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ppt/notesSlides/notesSlide9.xml" ContentType="application/vnd.openxmlformats-officedocument.presentationml.notesSlide+xml"/>
  <Override PartName="/ppt/charts/chart4.xml" ContentType="application/vnd.openxmlformats-officedocument.drawingml.chart+xml"/>
  <Override PartName="/ppt/drawings/drawing3.xml" ContentType="application/vnd.openxmlformats-officedocument.drawingml.chartshapes+xml"/>
  <Override PartName="/ppt/charts/chart5.xml" ContentType="application/vnd.openxmlformats-officedocument.drawingml.chart+xml"/>
  <Override PartName="/ppt/drawings/drawing4.xml" ContentType="application/vnd.openxmlformats-officedocument.drawingml.chartshapes+xml"/>
  <Override PartName="/ppt/notesSlides/notesSlide10.xml" ContentType="application/vnd.openxmlformats-officedocument.presentationml.notesSlide+xml"/>
  <Override PartName="/ppt/charts/chart6.xml" ContentType="application/vnd.openxmlformats-officedocument.drawingml.chart+xml"/>
  <Override PartName="/ppt/drawings/drawing5.xml" ContentType="application/vnd.openxmlformats-officedocument.drawingml.chartshapes+xml"/>
  <Override PartName="/ppt/notesSlides/notesSlide11.xml" ContentType="application/vnd.openxmlformats-officedocument.presentationml.notesSlide+xml"/>
  <Override PartName="/ppt/charts/chart7.xml" ContentType="application/vnd.openxmlformats-officedocument.drawingml.chart+xml"/>
  <Override PartName="/ppt/drawings/drawing6.xml" ContentType="application/vnd.openxmlformats-officedocument.drawingml.chartshapes+xml"/>
  <Override PartName="/ppt/notesSlides/notesSlide12.xml" ContentType="application/vnd.openxmlformats-officedocument.presentationml.notesSlide+xml"/>
  <Override PartName="/ppt/charts/chart8.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9.xml" ContentType="application/vnd.openxmlformats-officedocument.drawingml.chart+xml"/>
  <Override PartName="/ppt/notesSlides/notesSlide15.xml" ContentType="application/vnd.openxmlformats-officedocument.presentationml.notesSlide+xml"/>
  <Override PartName="/ppt/charts/chart10.xml" ContentType="application/vnd.openxmlformats-officedocument.drawingml.chart+xml"/>
  <Override PartName="/ppt/notesSlides/notesSlide16.xml" ContentType="application/vnd.openxmlformats-officedocument.presentationml.notesSlide+xml"/>
  <Override PartName="/ppt/charts/chart11.xml" ContentType="application/vnd.openxmlformats-officedocument.drawingml.chart+xml"/>
  <Override PartName="/ppt/notesSlides/notesSlide17.xml" ContentType="application/vnd.openxmlformats-officedocument.presentationml.notesSlide+xml"/>
  <Override PartName="/ppt/charts/chart12.xml" ContentType="application/vnd.openxmlformats-officedocument.drawingml.chart+xml"/>
  <Override PartName="/ppt/notesSlides/notesSlide18.xml" ContentType="application/vnd.openxmlformats-officedocument.presentationml.notesSlide+xml"/>
  <Override PartName="/ppt/charts/chart13.xml" ContentType="application/vnd.openxmlformats-officedocument.drawingml.chart+xml"/>
  <Override PartName="/ppt/notesSlides/notesSlide19.xml" ContentType="application/vnd.openxmlformats-officedocument.presentationml.notesSlide+xml"/>
  <Override PartName="/ppt/charts/chart14.xml" ContentType="application/vnd.openxmlformats-officedocument.drawingml.chart+xml"/>
  <Override PartName="/ppt/notesSlides/notesSlide20.xml" ContentType="application/vnd.openxmlformats-officedocument.presentationml.notesSlide+xml"/>
  <Override PartName="/ppt/charts/chart15.xml" ContentType="application/vnd.openxmlformats-officedocument.drawingml.chart+xml"/>
  <Override PartName="/ppt/drawings/drawing7.xml" ContentType="application/vnd.openxmlformats-officedocument.drawingml.chartshapes+xml"/>
  <Override PartName="/ppt/notesSlides/notesSlide21.xml" ContentType="application/vnd.openxmlformats-officedocument.presentationml.notesSlide+xml"/>
  <Override PartName="/ppt/charts/chart16.xml" ContentType="application/vnd.openxmlformats-officedocument.drawingml.chart+xml"/>
  <Override PartName="/ppt/drawings/drawing8.xml" ContentType="application/vnd.openxmlformats-officedocument.drawingml.chartshapes+xml"/>
  <Override PartName="/ppt/notesSlides/notesSlide22.xml" ContentType="application/vnd.openxmlformats-officedocument.presentationml.notesSlide+xml"/>
  <Override PartName="/ppt/charts/chart17.xml" ContentType="application/vnd.openxmlformats-officedocument.drawingml.chart+xml"/>
  <Override PartName="/ppt/notesSlides/notesSlide23.xml" ContentType="application/vnd.openxmlformats-officedocument.presentationml.notesSlide+xml"/>
  <Override PartName="/ppt/charts/chart18.xml" ContentType="application/vnd.openxmlformats-officedocument.drawingml.chart+xml"/>
  <Override PartName="/ppt/notesSlides/notesSlide24.xml" ContentType="application/vnd.openxmlformats-officedocument.presentationml.notesSlide+xml"/>
  <Override PartName="/ppt/charts/chart19.xml" ContentType="application/vnd.openxmlformats-officedocument.drawingml.chart+xml"/>
  <Override PartName="/ppt/notesSlides/notesSlide25.xml" ContentType="application/vnd.openxmlformats-officedocument.presentationml.notesSlide+xml"/>
  <Override PartName="/ppt/charts/chart20.xml" ContentType="application/vnd.openxmlformats-officedocument.drawingml.chart+xml"/>
  <Override PartName="/ppt/drawings/drawing9.xml" ContentType="application/vnd.openxmlformats-officedocument.drawingml.chartshapes+xml"/>
  <Override PartName="/ppt/notesSlides/notesSlide26.xml" ContentType="application/vnd.openxmlformats-officedocument.presentationml.notesSlide+xml"/>
  <Override PartName="/ppt/charts/chart2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7.xml" ContentType="application/vnd.openxmlformats-officedocument.presentationml.notesSlide+xml"/>
  <Override PartName="/ppt/charts/chart22.xml" ContentType="application/vnd.openxmlformats-officedocument.drawingml.chart+xml"/>
  <Override PartName="/ppt/drawings/drawing10.xml" ContentType="application/vnd.openxmlformats-officedocument.drawingml.chartshapes+xml"/>
  <Override PartName="/ppt/notesSlides/notesSlide28.xml" ContentType="application/vnd.openxmlformats-officedocument.presentationml.notesSlide+xml"/>
  <Override PartName="/ppt/charts/chart23.xml" ContentType="application/vnd.openxmlformats-officedocument.drawingml.chart+xml"/>
  <Override PartName="/ppt/drawings/drawing11.xml" ContentType="application/vnd.openxmlformats-officedocument.drawingml.chartshape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2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1.xml" ContentType="application/vnd.openxmlformats-officedocument.presentationml.notesSlide+xml"/>
  <Override PartName="/ppt/charts/chart25.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32.xml" ContentType="application/vnd.openxmlformats-officedocument.presentationml.notesSlide+xml"/>
  <Override PartName="/ppt/charts/chart26.xml" ContentType="application/vnd.openxmlformats-officedocument.drawingml.chart+xml"/>
  <Override PartName="/ppt/drawings/drawing12.xml" ContentType="application/vnd.openxmlformats-officedocument.drawingml.chartshapes+xml"/>
  <Override PartName="/ppt/tags/tag3.xml" ContentType="application/vnd.openxmlformats-officedocument.presentationml.tags+xml"/>
  <Override PartName="/ppt/tags/tag4.xml" ContentType="application/vnd.openxmlformats-officedocument.presentationml.tags+xml"/>
  <Override PartName="/ppt/notesSlides/notesSlide33.xml" ContentType="application/vnd.openxmlformats-officedocument.presentationml.notesSlide+xml"/>
  <Override PartName="/ppt/charts/chart27.xml" ContentType="application/vnd.openxmlformats-officedocument.drawingml.chart+xml"/>
  <Override PartName="/ppt/drawings/drawing13.xml" ContentType="application/vnd.openxmlformats-officedocument.drawingml.chartshapes+xml"/>
  <Override PartName="/ppt/notesSlides/notesSlide34.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notesSlides/notesSlide35.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notesSlides/notesSlide36.xml" ContentType="application/vnd.openxmlformats-officedocument.presentationml.notesSlide+xml"/>
  <Override PartName="/ppt/charts/chart32.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7.xml" ContentType="application/vnd.openxmlformats-officedocument.presentationml.notesSlide+xml"/>
  <Override PartName="/ppt/charts/chart33.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8.xml" ContentType="application/vnd.openxmlformats-officedocument.presentationml.notesSlide+xml"/>
  <Override PartName="/ppt/charts/chart34.xml" ContentType="application/vnd.openxmlformats-officedocument.drawingml.chart+xml"/>
  <Override PartName="/ppt/notesSlides/notesSlide39.xml" ContentType="application/vnd.openxmlformats-officedocument.presentationml.notesSlide+xml"/>
  <Override PartName="/ppt/charts/chart35.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4.xml" ContentType="application/vnd.openxmlformats-officedocument.drawingml.chartshapes+xml"/>
  <Override PartName="/ppt/notesSlides/notesSlide40.xml" ContentType="application/vnd.openxmlformats-officedocument.presentationml.notesSlide+xml"/>
  <Override PartName="/ppt/charts/chart3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37.xml" ContentType="application/vnd.openxmlformats-officedocument.drawingml.chart+xml"/>
  <Override PartName="/ppt/drawings/drawing15.xml" ContentType="application/vnd.openxmlformats-officedocument.drawingml.chartshapes+xml"/>
  <Override PartName="/ppt/notesSlides/notesSlide43.xml" ContentType="application/vnd.openxmlformats-officedocument.presentationml.notesSlide+xml"/>
  <Override PartName="/ppt/charts/chart38.xml" ContentType="application/vnd.openxmlformats-officedocument.drawingml.chart+xml"/>
  <Override PartName="/ppt/drawings/drawing16.xml" ContentType="application/vnd.openxmlformats-officedocument.drawingml.chartshapes+xml"/>
  <Override PartName="/ppt/notesSlides/notesSlide44.xml" ContentType="application/vnd.openxmlformats-officedocument.presentationml.notesSlide+xml"/>
  <Override PartName="/ppt/charts/chart39.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7.xml" ContentType="application/vnd.openxmlformats-officedocument.drawingml.chartshapes+xml"/>
  <Override PartName="/ppt/notesSlides/notesSlide45.xml" ContentType="application/vnd.openxmlformats-officedocument.presentationml.notesSlide+xml"/>
  <Override PartName="/ppt/charts/chart40.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8.xml" ContentType="application/vnd.openxmlformats-officedocument.drawingml.chartshapes+xml"/>
  <Override PartName="/ppt/notesSlides/notesSlide46.xml" ContentType="application/vnd.openxmlformats-officedocument.presentationml.notesSlide+xml"/>
  <Override PartName="/ppt/charts/chart4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47.xml" ContentType="application/vnd.openxmlformats-officedocument.presentationml.notesSlide+xml"/>
  <Override PartName="/ppt/charts/chart4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48.xml" ContentType="application/vnd.openxmlformats-officedocument.presentationml.notesSlide+xml"/>
  <Override PartName="/ppt/charts/chart43.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9.xml" ContentType="application/vnd.openxmlformats-officedocument.presentationml.notesSlide+xml"/>
  <Override PartName="/ppt/charts/chart44.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50.xml" ContentType="application/vnd.openxmlformats-officedocument.presentationml.notesSlide+xml"/>
  <Override PartName="/ppt/charts/chart45.xml" ContentType="application/vnd.openxmlformats-officedocument.drawingml.chart+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6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7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tags/tag58.xml" ContentType="application/vnd.openxmlformats-officedocument.presentationml.tags+xml"/>
  <Override PartName="/ppt/notesSlides/notesSlide98.xml" ContentType="application/vnd.openxmlformats-officedocument.presentationml.notesSlide+xml"/>
  <Override PartName="/ppt/tags/tag59.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1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1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1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16.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tags/tag122.xml" ContentType="application/vnd.openxmlformats-officedocument.presentationml.tags+xml"/>
  <Override PartName="/ppt/notesSlides/notesSlide134.xml" ContentType="application/vnd.openxmlformats-officedocument.presentationml.notesSlide+xml"/>
  <Override PartName="/ppt/tags/tag123.xml" ContentType="application/vnd.openxmlformats-officedocument.presentationml.tags+xml"/>
  <Override PartName="/ppt/notesSlides/notesSlide135.xml" ContentType="application/vnd.openxmlformats-officedocument.presentationml.notesSlide+xml"/>
  <Override PartName="/ppt/tags/tag124.xml" ContentType="application/vnd.openxmlformats-officedocument.presentationml.tags+xml"/>
  <Override PartName="/ppt/notesSlides/notesSlide136.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tags/tag139.xml" ContentType="application/vnd.openxmlformats-officedocument.presentationml.tags+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234.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235.xml" ContentType="application/vnd.openxmlformats-officedocument.presentationml.notesSlide+xml"/>
  <Override PartName="/ppt/tags/tag190.xml" ContentType="application/vnd.openxmlformats-officedocument.presentationml.tags+xml"/>
  <Override PartName="/ppt/notesSlides/notesSlide236.xml" ContentType="application/vnd.openxmlformats-officedocument.presentationml.notesSlide+xml"/>
  <Override PartName="/ppt/tags/tag191.xml" ContentType="application/vnd.openxmlformats-officedocument.presentationml.tags+xml"/>
  <Override PartName="/ppt/notesSlides/notesSlide237.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238.xml" ContentType="application/vnd.openxmlformats-officedocument.presentationml.notesSlide+xml"/>
  <Override PartName="/ppt/tags/tag202.xml" ContentType="application/vnd.openxmlformats-officedocument.presentationml.tags+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261.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notesSlides/notesSlide310.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tags/tag223.xml" ContentType="application/vnd.openxmlformats-officedocument.presentationml.tags+xml"/>
  <Override PartName="/ppt/notesSlides/notesSlide315.xml" ContentType="application/vnd.openxmlformats-officedocument.presentationml.notesSlide+xml"/>
  <Override PartName="/ppt/tags/tag224.xml" ContentType="application/vnd.openxmlformats-officedocument.presentationml.tags+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tags/tag225.xml" ContentType="application/vnd.openxmlformats-officedocument.presentationml.tags+xml"/>
  <Override PartName="/ppt/notesSlides/notesSlide318.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369.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54"/>
  </p:notesMasterIdLst>
  <p:sldIdLst>
    <p:sldId id="722" r:id="rId5"/>
    <p:sldId id="724" r:id="rId6"/>
    <p:sldId id="725" r:id="rId7"/>
    <p:sldId id="270" r:id="rId8"/>
    <p:sldId id="271" r:id="rId9"/>
    <p:sldId id="272" r:id="rId10"/>
    <p:sldId id="273" r:id="rId11"/>
    <p:sldId id="274" r:id="rId12"/>
    <p:sldId id="276" r:id="rId13"/>
    <p:sldId id="269" r:id="rId14"/>
    <p:sldId id="264" r:id="rId15"/>
    <p:sldId id="277" r:id="rId16"/>
    <p:sldId id="278" r:id="rId17"/>
    <p:sldId id="279" r:id="rId18"/>
    <p:sldId id="280" r:id="rId19"/>
    <p:sldId id="281" r:id="rId20"/>
    <p:sldId id="282" r:id="rId21"/>
    <p:sldId id="283" r:id="rId22"/>
    <p:sldId id="284" r:id="rId23"/>
    <p:sldId id="285" r:id="rId24"/>
    <p:sldId id="286" r:id="rId25"/>
    <p:sldId id="287" r:id="rId26"/>
    <p:sldId id="288" r:id="rId27"/>
    <p:sldId id="289" r:id="rId28"/>
    <p:sldId id="290" r:id="rId29"/>
    <p:sldId id="291" r:id="rId30"/>
    <p:sldId id="292" r:id="rId31"/>
    <p:sldId id="293" r:id="rId32"/>
    <p:sldId id="294" r:id="rId33"/>
    <p:sldId id="295" r:id="rId34"/>
    <p:sldId id="296" r:id="rId35"/>
    <p:sldId id="297" r:id="rId36"/>
    <p:sldId id="298" r:id="rId37"/>
    <p:sldId id="299" r:id="rId38"/>
    <p:sldId id="300" r:id="rId39"/>
    <p:sldId id="301" r:id="rId40"/>
    <p:sldId id="302" r:id="rId41"/>
    <p:sldId id="303" r:id="rId42"/>
    <p:sldId id="304" r:id="rId43"/>
    <p:sldId id="305" r:id="rId44"/>
    <p:sldId id="306" r:id="rId45"/>
    <p:sldId id="266" r:id="rId46"/>
    <p:sldId id="267" r:id="rId47"/>
    <p:sldId id="307" r:id="rId48"/>
    <p:sldId id="308" r:id="rId49"/>
    <p:sldId id="309" r:id="rId50"/>
    <p:sldId id="310" r:id="rId51"/>
    <p:sldId id="311" r:id="rId52"/>
    <p:sldId id="312" r:id="rId53"/>
    <p:sldId id="313" r:id="rId54"/>
    <p:sldId id="314" r:id="rId55"/>
    <p:sldId id="315" r:id="rId56"/>
    <p:sldId id="316" r:id="rId57"/>
    <p:sldId id="317" r:id="rId58"/>
    <p:sldId id="318" r:id="rId59"/>
    <p:sldId id="319" r:id="rId60"/>
    <p:sldId id="320" r:id="rId61"/>
    <p:sldId id="268" r:id="rId62"/>
    <p:sldId id="256" r:id="rId63"/>
    <p:sldId id="321" r:id="rId64"/>
    <p:sldId id="322" r:id="rId65"/>
    <p:sldId id="323" r:id="rId66"/>
    <p:sldId id="352" r:id="rId67"/>
    <p:sldId id="353" r:id="rId68"/>
    <p:sldId id="354" r:id="rId69"/>
    <p:sldId id="355" r:id="rId70"/>
    <p:sldId id="356" r:id="rId71"/>
    <p:sldId id="357" r:id="rId72"/>
    <p:sldId id="358" r:id="rId73"/>
    <p:sldId id="333" r:id="rId74"/>
    <p:sldId id="359" r:id="rId75"/>
    <p:sldId id="360" r:id="rId76"/>
    <p:sldId id="361" r:id="rId77"/>
    <p:sldId id="362" r:id="rId78"/>
    <p:sldId id="363" r:id="rId79"/>
    <p:sldId id="364" r:id="rId80"/>
    <p:sldId id="365" r:id="rId81"/>
    <p:sldId id="366" r:id="rId82"/>
    <p:sldId id="367" r:id="rId83"/>
    <p:sldId id="368" r:id="rId84"/>
    <p:sldId id="369" r:id="rId85"/>
    <p:sldId id="370" r:id="rId86"/>
    <p:sldId id="371" r:id="rId87"/>
    <p:sldId id="372" r:id="rId88"/>
    <p:sldId id="373" r:id="rId89"/>
    <p:sldId id="334" r:id="rId90"/>
    <p:sldId id="374" r:id="rId91"/>
    <p:sldId id="375" r:id="rId92"/>
    <p:sldId id="376" r:id="rId93"/>
    <p:sldId id="377" r:id="rId94"/>
    <p:sldId id="378" r:id="rId95"/>
    <p:sldId id="379" r:id="rId96"/>
    <p:sldId id="380" r:id="rId97"/>
    <p:sldId id="381" r:id="rId98"/>
    <p:sldId id="382" r:id="rId99"/>
    <p:sldId id="383" r:id="rId100"/>
    <p:sldId id="384" r:id="rId101"/>
    <p:sldId id="335" r:id="rId102"/>
    <p:sldId id="406" r:id="rId103"/>
    <p:sldId id="407" r:id="rId104"/>
    <p:sldId id="408" r:id="rId105"/>
    <p:sldId id="409" r:id="rId106"/>
    <p:sldId id="410" r:id="rId107"/>
    <p:sldId id="411" r:id="rId108"/>
    <p:sldId id="412" r:id="rId109"/>
    <p:sldId id="413" r:id="rId110"/>
    <p:sldId id="414" r:id="rId111"/>
    <p:sldId id="415" r:id="rId112"/>
    <p:sldId id="324" r:id="rId113"/>
    <p:sldId id="326" r:id="rId114"/>
    <p:sldId id="416" r:id="rId115"/>
    <p:sldId id="417" r:id="rId116"/>
    <p:sldId id="418" r:id="rId117"/>
    <p:sldId id="419" r:id="rId118"/>
    <p:sldId id="420" r:id="rId119"/>
    <p:sldId id="421" r:id="rId120"/>
    <p:sldId id="720" r:id="rId121"/>
    <p:sldId id="422" r:id="rId122"/>
    <p:sldId id="423" r:id="rId123"/>
    <p:sldId id="327" r:id="rId124"/>
    <p:sldId id="424" r:id="rId125"/>
    <p:sldId id="425" r:id="rId126"/>
    <p:sldId id="426" r:id="rId127"/>
    <p:sldId id="427" r:id="rId128"/>
    <p:sldId id="429" r:id="rId129"/>
    <p:sldId id="428" r:id="rId130"/>
    <p:sldId id="430" r:id="rId131"/>
    <p:sldId id="431" r:id="rId132"/>
    <p:sldId id="432" r:id="rId133"/>
    <p:sldId id="329" r:id="rId134"/>
    <p:sldId id="433" r:id="rId135"/>
    <p:sldId id="434" r:id="rId136"/>
    <p:sldId id="435" r:id="rId137"/>
    <p:sldId id="436" r:id="rId138"/>
    <p:sldId id="437" r:id="rId139"/>
    <p:sldId id="438" r:id="rId140"/>
    <p:sldId id="439" r:id="rId141"/>
    <p:sldId id="330" r:id="rId142"/>
    <p:sldId id="440" r:id="rId143"/>
    <p:sldId id="441" r:id="rId144"/>
    <p:sldId id="442" r:id="rId145"/>
    <p:sldId id="443" r:id="rId146"/>
    <p:sldId id="331" r:id="rId147"/>
    <p:sldId id="444" r:id="rId148"/>
    <p:sldId id="445" r:id="rId149"/>
    <p:sldId id="336" r:id="rId150"/>
    <p:sldId id="446" r:id="rId151"/>
    <p:sldId id="447" r:id="rId152"/>
    <p:sldId id="448" r:id="rId153"/>
    <p:sldId id="449" r:id="rId154"/>
    <p:sldId id="450" r:id="rId155"/>
    <p:sldId id="451" r:id="rId156"/>
    <p:sldId id="452" r:id="rId157"/>
    <p:sldId id="453" r:id="rId158"/>
    <p:sldId id="454" r:id="rId159"/>
    <p:sldId id="455" r:id="rId160"/>
    <p:sldId id="337" r:id="rId161"/>
    <p:sldId id="456" r:id="rId162"/>
    <p:sldId id="457" r:id="rId163"/>
    <p:sldId id="458" r:id="rId164"/>
    <p:sldId id="459" r:id="rId165"/>
    <p:sldId id="460" r:id="rId166"/>
    <p:sldId id="461" r:id="rId167"/>
    <p:sldId id="462" r:id="rId168"/>
    <p:sldId id="463" r:id="rId169"/>
    <p:sldId id="465" r:id="rId170"/>
    <p:sldId id="466" r:id="rId171"/>
    <p:sldId id="467" r:id="rId172"/>
    <p:sldId id="468" r:id="rId173"/>
    <p:sldId id="469" r:id="rId174"/>
    <p:sldId id="470" r:id="rId175"/>
    <p:sldId id="471" r:id="rId176"/>
    <p:sldId id="464" r:id="rId177"/>
    <p:sldId id="472" r:id="rId178"/>
    <p:sldId id="473" r:id="rId179"/>
    <p:sldId id="474" r:id="rId180"/>
    <p:sldId id="477" r:id="rId181"/>
    <p:sldId id="478" r:id="rId182"/>
    <p:sldId id="479" r:id="rId183"/>
    <p:sldId id="475" r:id="rId184"/>
    <p:sldId id="480" r:id="rId185"/>
    <p:sldId id="328" r:id="rId186"/>
    <p:sldId id="338" r:id="rId187"/>
    <p:sldId id="481" r:id="rId188"/>
    <p:sldId id="482" r:id="rId189"/>
    <p:sldId id="483" r:id="rId190"/>
    <p:sldId id="476" r:id="rId191"/>
    <p:sldId id="484" r:id="rId192"/>
    <p:sldId id="485" r:id="rId193"/>
    <p:sldId id="486" r:id="rId194"/>
    <p:sldId id="487" r:id="rId195"/>
    <p:sldId id="489" r:id="rId196"/>
    <p:sldId id="490" r:id="rId197"/>
    <p:sldId id="491" r:id="rId198"/>
    <p:sldId id="492" r:id="rId199"/>
    <p:sldId id="488" r:id="rId200"/>
    <p:sldId id="493" r:id="rId201"/>
    <p:sldId id="494" r:id="rId202"/>
    <p:sldId id="495" r:id="rId203"/>
    <p:sldId id="496" r:id="rId204"/>
    <p:sldId id="497" r:id="rId205"/>
    <p:sldId id="498" r:id="rId206"/>
    <p:sldId id="499" r:id="rId207"/>
    <p:sldId id="500" r:id="rId208"/>
    <p:sldId id="502" r:id="rId209"/>
    <p:sldId id="503" r:id="rId210"/>
    <p:sldId id="504" r:id="rId211"/>
    <p:sldId id="505" r:id="rId212"/>
    <p:sldId id="506" r:id="rId213"/>
    <p:sldId id="507" r:id="rId214"/>
    <p:sldId id="508" r:id="rId215"/>
    <p:sldId id="509" r:id="rId216"/>
    <p:sldId id="510" r:id="rId217"/>
    <p:sldId id="511" r:id="rId218"/>
    <p:sldId id="512" r:id="rId219"/>
    <p:sldId id="513" r:id="rId220"/>
    <p:sldId id="501" r:id="rId221"/>
    <p:sldId id="514" r:id="rId222"/>
    <p:sldId id="515" r:id="rId223"/>
    <p:sldId id="516" r:id="rId224"/>
    <p:sldId id="518" r:id="rId225"/>
    <p:sldId id="339" r:id="rId226"/>
    <p:sldId id="519" r:id="rId227"/>
    <p:sldId id="520" r:id="rId228"/>
    <p:sldId id="517" r:id="rId229"/>
    <p:sldId id="521" r:id="rId230"/>
    <p:sldId id="522" r:id="rId231"/>
    <p:sldId id="523" r:id="rId232"/>
    <p:sldId id="524" r:id="rId233"/>
    <p:sldId id="525" r:id="rId234"/>
    <p:sldId id="526" r:id="rId235"/>
    <p:sldId id="527" r:id="rId236"/>
    <p:sldId id="528" r:id="rId237"/>
    <p:sldId id="529" r:id="rId238"/>
    <p:sldId id="530" r:id="rId239"/>
    <p:sldId id="531" r:id="rId240"/>
    <p:sldId id="532" r:id="rId241"/>
    <p:sldId id="533" r:id="rId242"/>
    <p:sldId id="534" r:id="rId243"/>
    <p:sldId id="535" r:id="rId244"/>
    <p:sldId id="340" r:id="rId245"/>
    <p:sldId id="536" r:id="rId246"/>
    <p:sldId id="537" r:id="rId247"/>
    <p:sldId id="538" r:id="rId248"/>
    <p:sldId id="539" r:id="rId249"/>
    <p:sldId id="540" r:id="rId250"/>
    <p:sldId id="541" r:id="rId251"/>
    <p:sldId id="542" r:id="rId252"/>
    <p:sldId id="544" r:id="rId253"/>
    <p:sldId id="545" r:id="rId254"/>
    <p:sldId id="546" r:id="rId255"/>
    <p:sldId id="547" r:id="rId256"/>
    <p:sldId id="548" r:id="rId257"/>
    <p:sldId id="549" r:id="rId258"/>
    <p:sldId id="550" r:id="rId259"/>
    <p:sldId id="543" r:id="rId260"/>
    <p:sldId id="551" r:id="rId261"/>
    <p:sldId id="552" r:id="rId262"/>
    <p:sldId id="553" r:id="rId263"/>
    <p:sldId id="554" r:id="rId264"/>
    <p:sldId id="332" r:id="rId265"/>
    <p:sldId id="341" r:id="rId266"/>
    <p:sldId id="387" r:id="rId267"/>
    <p:sldId id="386" r:id="rId268"/>
    <p:sldId id="388" r:id="rId269"/>
    <p:sldId id="389" r:id="rId270"/>
    <p:sldId id="390" r:id="rId271"/>
    <p:sldId id="391" r:id="rId272"/>
    <p:sldId id="392" r:id="rId273"/>
    <p:sldId id="393" r:id="rId274"/>
    <p:sldId id="394" r:id="rId275"/>
    <p:sldId id="395" r:id="rId276"/>
    <p:sldId id="396" r:id="rId277"/>
    <p:sldId id="397" r:id="rId278"/>
    <p:sldId id="398" r:id="rId279"/>
    <p:sldId id="399" r:id="rId280"/>
    <p:sldId id="400" r:id="rId281"/>
    <p:sldId id="401" r:id="rId282"/>
    <p:sldId id="402" r:id="rId283"/>
    <p:sldId id="403" r:id="rId284"/>
    <p:sldId id="404" r:id="rId285"/>
    <p:sldId id="405" r:id="rId286"/>
    <p:sldId id="385" r:id="rId287"/>
    <p:sldId id="555" r:id="rId288"/>
    <p:sldId id="556" r:id="rId289"/>
    <p:sldId id="557" r:id="rId290"/>
    <p:sldId id="558" r:id="rId291"/>
    <p:sldId id="559" r:id="rId292"/>
    <p:sldId id="560" r:id="rId293"/>
    <p:sldId id="342" r:id="rId294"/>
    <p:sldId id="561" r:id="rId295"/>
    <p:sldId id="562" r:id="rId296"/>
    <p:sldId id="563" r:id="rId297"/>
    <p:sldId id="564" r:id="rId298"/>
    <p:sldId id="565" r:id="rId299"/>
    <p:sldId id="566" r:id="rId300"/>
    <p:sldId id="567" r:id="rId301"/>
    <p:sldId id="568" r:id="rId302"/>
    <p:sldId id="569" r:id="rId303"/>
    <p:sldId id="570" r:id="rId304"/>
    <p:sldId id="571" r:id="rId305"/>
    <p:sldId id="572" r:id="rId306"/>
    <p:sldId id="573" r:id="rId307"/>
    <p:sldId id="574" r:id="rId308"/>
    <p:sldId id="575" r:id="rId309"/>
    <p:sldId id="576" r:id="rId310"/>
    <p:sldId id="577" r:id="rId311"/>
    <p:sldId id="343" r:id="rId312"/>
    <p:sldId id="578" r:id="rId313"/>
    <p:sldId id="579" r:id="rId314"/>
    <p:sldId id="580" r:id="rId315"/>
    <p:sldId id="581" r:id="rId316"/>
    <p:sldId id="582" r:id="rId317"/>
    <p:sldId id="584" r:id="rId318"/>
    <p:sldId id="585" r:id="rId319"/>
    <p:sldId id="586" r:id="rId320"/>
    <p:sldId id="587" r:id="rId321"/>
    <p:sldId id="583" r:id="rId322"/>
    <p:sldId id="588" r:id="rId323"/>
    <p:sldId id="589" r:id="rId324"/>
    <p:sldId id="590" r:id="rId325"/>
    <p:sldId id="591" r:id="rId326"/>
    <p:sldId id="592" r:id="rId327"/>
    <p:sldId id="593" r:id="rId328"/>
    <p:sldId id="594" r:id="rId329"/>
    <p:sldId id="595" r:id="rId330"/>
    <p:sldId id="596" r:id="rId331"/>
    <p:sldId id="597" r:id="rId332"/>
    <p:sldId id="598" r:id="rId333"/>
    <p:sldId id="599" r:id="rId334"/>
    <p:sldId id="600" r:id="rId335"/>
    <p:sldId id="601" r:id="rId336"/>
    <p:sldId id="602" r:id="rId337"/>
    <p:sldId id="603" r:id="rId338"/>
    <p:sldId id="344" r:id="rId339"/>
    <p:sldId id="604" r:id="rId340"/>
    <p:sldId id="605" r:id="rId341"/>
    <p:sldId id="606" r:id="rId342"/>
    <p:sldId id="607" r:id="rId343"/>
    <p:sldId id="608" r:id="rId344"/>
    <p:sldId id="609" r:id="rId345"/>
    <p:sldId id="610" r:id="rId346"/>
    <p:sldId id="611" r:id="rId347"/>
    <p:sldId id="612" r:id="rId348"/>
    <p:sldId id="325" r:id="rId349"/>
    <p:sldId id="345" r:id="rId350"/>
    <p:sldId id="613" r:id="rId351"/>
    <p:sldId id="617" r:id="rId352"/>
    <p:sldId id="614" r:id="rId353"/>
    <p:sldId id="618" r:id="rId354"/>
    <p:sldId id="622" r:id="rId355"/>
    <p:sldId id="615" r:id="rId356"/>
    <p:sldId id="619" r:id="rId357"/>
    <p:sldId id="620" r:id="rId358"/>
    <p:sldId id="621" r:id="rId359"/>
    <p:sldId id="616" r:id="rId360"/>
    <p:sldId id="623" r:id="rId361"/>
    <p:sldId id="624" r:id="rId362"/>
    <p:sldId id="625" r:id="rId363"/>
    <p:sldId id="626" r:id="rId364"/>
    <p:sldId id="627" r:id="rId365"/>
    <p:sldId id="628" r:id="rId366"/>
    <p:sldId id="629" r:id="rId367"/>
    <p:sldId id="346" r:id="rId368"/>
    <p:sldId id="630" r:id="rId369"/>
    <p:sldId id="631" r:id="rId370"/>
    <p:sldId id="632" r:id="rId371"/>
    <p:sldId id="633" r:id="rId372"/>
    <p:sldId id="634" r:id="rId373"/>
    <p:sldId id="635" r:id="rId374"/>
    <p:sldId id="636" r:id="rId375"/>
    <p:sldId id="637" r:id="rId376"/>
    <p:sldId id="638" r:id="rId377"/>
    <p:sldId id="639" r:id="rId378"/>
    <p:sldId id="640" r:id="rId379"/>
    <p:sldId id="641" r:id="rId380"/>
    <p:sldId id="642" r:id="rId381"/>
    <p:sldId id="643" r:id="rId382"/>
    <p:sldId id="644" r:id="rId383"/>
    <p:sldId id="645" r:id="rId384"/>
    <p:sldId id="646" r:id="rId385"/>
    <p:sldId id="647" r:id="rId386"/>
    <p:sldId id="648" r:id="rId387"/>
    <p:sldId id="649" r:id="rId388"/>
    <p:sldId id="650" r:id="rId389"/>
    <p:sldId id="651" r:id="rId390"/>
    <p:sldId id="652" r:id="rId391"/>
    <p:sldId id="653" r:id="rId392"/>
    <p:sldId id="721" r:id="rId393"/>
    <p:sldId id="654" r:id="rId394"/>
    <p:sldId id="655" r:id="rId395"/>
    <p:sldId id="348" r:id="rId396"/>
    <p:sldId id="664" r:id="rId397"/>
    <p:sldId id="665" r:id="rId398"/>
    <p:sldId id="666" r:id="rId399"/>
    <p:sldId id="667" r:id="rId400"/>
    <p:sldId id="669" r:id="rId401"/>
    <p:sldId id="670" r:id="rId402"/>
    <p:sldId id="671" r:id="rId403"/>
    <p:sldId id="672" r:id="rId404"/>
    <p:sldId id="673" r:id="rId405"/>
    <p:sldId id="674" r:id="rId406"/>
    <p:sldId id="675" r:id="rId407"/>
    <p:sldId id="668" r:id="rId408"/>
    <p:sldId id="676" r:id="rId409"/>
    <p:sldId id="349" r:id="rId410"/>
    <p:sldId id="680" r:id="rId411"/>
    <p:sldId id="677" r:id="rId412"/>
    <p:sldId id="678" r:id="rId413"/>
    <p:sldId id="679" r:id="rId414"/>
    <p:sldId id="681" r:id="rId415"/>
    <p:sldId id="682" r:id="rId416"/>
    <p:sldId id="683" r:id="rId417"/>
    <p:sldId id="684" r:id="rId418"/>
    <p:sldId id="350" r:id="rId419"/>
    <p:sldId id="685" r:id="rId420"/>
    <p:sldId id="686" r:id="rId421"/>
    <p:sldId id="687" r:id="rId422"/>
    <p:sldId id="688" r:id="rId423"/>
    <p:sldId id="689" r:id="rId424"/>
    <p:sldId id="690" r:id="rId425"/>
    <p:sldId id="691" r:id="rId426"/>
    <p:sldId id="692" r:id="rId427"/>
    <p:sldId id="693" r:id="rId428"/>
    <p:sldId id="694" r:id="rId429"/>
    <p:sldId id="695" r:id="rId430"/>
    <p:sldId id="696" r:id="rId431"/>
    <p:sldId id="698" r:id="rId432"/>
    <p:sldId id="699" r:id="rId433"/>
    <p:sldId id="700" r:id="rId434"/>
    <p:sldId id="701" r:id="rId435"/>
    <p:sldId id="702" r:id="rId436"/>
    <p:sldId id="703" r:id="rId437"/>
    <p:sldId id="704" r:id="rId438"/>
    <p:sldId id="697" r:id="rId439"/>
    <p:sldId id="351" r:id="rId440"/>
    <p:sldId id="705" r:id="rId441"/>
    <p:sldId id="706" r:id="rId442"/>
    <p:sldId id="707" r:id="rId443"/>
    <p:sldId id="708" r:id="rId444"/>
    <p:sldId id="709" r:id="rId445"/>
    <p:sldId id="710" r:id="rId446"/>
    <p:sldId id="712" r:id="rId447"/>
    <p:sldId id="713" r:id="rId448"/>
    <p:sldId id="714" r:id="rId449"/>
    <p:sldId id="711" r:id="rId450"/>
    <p:sldId id="715" r:id="rId451"/>
    <p:sldId id="717" r:id="rId452"/>
    <p:sldId id="719" r:id="rId4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9643A7D-3EF1-4F72-A259-DF310C0DC3F9}">
          <p14:sldIdLst>
            <p14:sldId id="722"/>
            <p14:sldId id="724"/>
          </p14:sldIdLst>
        </p14:section>
        <p14:section name="Slide Kit" id="{2A96A525-7F39-044F-B5D7-7076758FE0D1}">
          <p14:sldIdLst>
            <p14:sldId id="725"/>
            <p14:sldId id="270"/>
            <p14:sldId id="271"/>
            <p14:sldId id="272"/>
            <p14:sldId id="273"/>
            <p14:sldId id="274"/>
            <p14:sldId id="276"/>
            <p14:sldId id="269"/>
            <p14:sldId id="264"/>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1"/>
            <p14:sldId id="302"/>
            <p14:sldId id="303"/>
            <p14:sldId id="304"/>
            <p14:sldId id="305"/>
            <p14:sldId id="306"/>
            <p14:sldId id="266"/>
            <p14:sldId id="267"/>
            <p14:sldId id="307"/>
            <p14:sldId id="308"/>
            <p14:sldId id="309"/>
            <p14:sldId id="310"/>
            <p14:sldId id="311"/>
            <p14:sldId id="312"/>
            <p14:sldId id="313"/>
            <p14:sldId id="314"/>
            <p14:sldId id="315"/>
            <p14:sldId id="316"/>
            <p14:sldId id="317"/>
            <p14:sldId id="318"/>
            <p14:sldId id="319"/>
            <p14:sldId id="320"/>
            <p14:sldId id="268"/>
          </p14:sldIdLst>
        </p14:section>
        <p14:section name="Visual Library Intro" id="{AAC5272B-6E32-435D-B721-14858264D3BC}">
          <p14:sldIdLst>
            <p14:sldId id="256"/>
            <p14:sldId id="321"/>
          </p14:sldIdLst>
        </p14:section>
        <p14:section name="Charts" id="{7E3E2C57-95CF-4C6E-9C33-EAEB34A0C081}">
          <p14:sldIdLst>
            <p14:sldId id="322"/>
            <p14:sldId id="323"/>
            <p14:sldId id="352"/>
            <p14:sldId id="353"/>
            <p14:sldId id="354"/>
            <p14:sldId id="355"/>
            <p14:sldId id="356"/>
            <p14:sldId id="357"/>
            <p14:sldId id="358"/>
            <p14:sldId id="333"/>
            <p14:sldId id="359"/>
            <p14:sldId id="360"/>
            <p14:sldId id="361"/>
            <p14:sldId id="362"/>
            <p14:sldId id="363"/>
            <p14:sldId id="364"/>
            <p14:sldId id="365"/>
            <p14:sldId id="366"/>
            <p14:sldId id="367"/>
            <p14:sldId id="368"/>
            <p14:sldId id="369"/>
            <p14:sldId id="370"/>
            <p14:sldId id="371"/>
            <p14:sldId id="372"/>
            <p14:sldId id="373"/>
            <p14:sldId id="334"/>
            <p14:sldId id="374"/>
            <p14:sldId id="375"/>
            <p14:sldId id="376"/>
            <p14:sldId id="377"/>
            <p14:sldId id="378"/>
            <p14:sldId id="379"/>
            <p14:sldId id="380"/>
            <p14:sldId id="381"/>
            <p14:sldId id="382"/>
            <p14:sldId id="383"/>
            <p14:sldId id="384"/>
            <p14:sldId id="335"/>
            <p14:sldId id="406"/>
            <p14:sldId id="407"/>
            <p14:sldId id="408"/>
            <p14:sldId id="409"/>
            <p14:sldId id="410"/>
            <p14:sldId id="411"/>
            <p14:sldId id="412"/>
            <p14:sldId id="413"/>
            <p14:sldId id="414"/>
            <p14:sldId id="415"/>
          </p14:sldIdLst>
        </p14:section>
        <p14:section name="Dynamic Concepts" id="{2A3A682A-64BB-4755-B78F-B17549C8E151}">
          <p14:sldIdLst>
            <p14:sldId id="324"/>
            <p14:sldId id="326"/>
            <p14:sldId id="416"/>
            <p14:sldId id="417"/>
            <p14:sldId id="418"/>
            <p14:sldId id="419"/>
            <p14:sldId id="420"/>
            <p14:sldId id="421"/>
            <p14:sldId id="720"/>
            <p14:sldId id="422"/>
            <p14:sldId id="423"/>
            <p14:sldId id="327"/>
            <p14:sldId id="424"/>
            <p14:sldId id="425"/>
            <p14:sldId id="426"/>
            <p14:sldId id="427"/>
            <p14:sldId id="429"/>
            <p14:sldId id="428"/>
            <p14:sldId id="430"/>
            <p14:sldId id="431"/>
            <p14:sldId id="432"/>
            <p14:sldId id="329"/>
            <p14:sldId id="433"/>
            <p14:sldId id="434"/>
            <p14:sldId id="435"/>
            <p14:sldId id="436"/>
            <p14:sldId id="437"/>
            <p14:sldId id="438"/>
            <p14:sldId id="439"/>
            <p14:sldId id="330"/>
            <p14:sldId id="440"/>
            <p14:sldId id="441"/>
            <p14:sldId id="442"/>
            <p14:sldId id="443"/>
            <p14:sldId id="331"/>
            <p14:sldId id="444"/>
            <p14:sldId id="445"/>
            <p14:sldId id="336"/>
            <p14:sldId id="446"/>
            <p14:sldId id="447"/>
            <p14:sldId id="448"/>
            <p14:sldId id="449"/>
            <p14:sldId id="450"/>
            <p14:sldId id="451"/>
            <p14:sldId id="452"/>
            <p14:sldId id="453"/>
            <p14:sldId id="454"/>
            <p14:sldId id="455"/>
            <p14:sldId id="337"/>
            <p14:sldId id="456"/>
            <p14:sldId id="457"/>
            <p14:sldId id="458"/>
            <p14:sldId id="459"/>
            <p14:sldId id="460"/>
            <p14:sldId id="461"/>
            <p14:sldId id="462"/>
            <p14:sldId id="463"/>
            <p14:sldId id="465"/>
            <p14:sldId id="466"/>
            <p14:sldId id="467"/>
            <p14:sldId id="468"/>
            <p14:sldId id="469"/>
            <p14:sldId id="470"/>
            <p14:sldId id="471"/>
            <p14:sldId id="464"/>
            <p14:sldId id="472"/>
            <p14:sldId id="473"/>
            <p14:sldId id="474"/>
            <p14:sldId id="477"/>
            <p14:sldId id="478"/>
            <p14:sldId id="479"/>
            <p14:sldId id="475"/>
            <p14:sldId id="480"/>
          </p14:sldIdLst>
        </p14:section>
        <p14:section name="Processes" id="{C85E5EE1-4F2B-4569-B765-A4A6FF92022A}">
          <p14:sldIdLst>
            <p14:sldId id="328"/>
            <p14:sldId id="338"/>
            <p14:sldId id="481"/>
            <p14:sldId id="482"/>
            <p14:sldId id="483"/>
            <p14:sldId id="476"/>
            <p14:sldId id="484"/>
            <p14:sldId id="485"/>
            <p14:sldId id="486"/>
            <p14:sldId id="487"/>
            <p14:sldId id="489"/>
            <p14:sldId id="490"/>
            <p14:sldId id="491"/>
            <p14:sldId id="492"/>
            <p14:sldId id="488"/>
            <p14:sldId id="493"/>
            <p14:sldId id="494"/>
            <p14:sldId id="495"/>
            <p14:sldId id="496"/>
            <p14:sldId id="497"/>
            <p14:sldId id="498"/>
            <p14:sldId id="499"/>
            <p14:sldId id="500"/>
            <p14:sldId id="502"/>
            <p14:sldId id="503"/>
            <p14:sldId id="504"/>
            <p14:sldId id="505"/>
            <p14:sldId id="506"/>
            <p14:sldId id="507"/>
            <p14:sldId id="508"/>
            <p14:sldId id="509"/>
            <p14:sldId id="510"/>
            <p14:sldId id="511"/>
            <p14:sldId id="512"/>
            <p14:sldId id="513"/>
            <p14:sldId id="501"/>
            <p14:sldId id="514"/>
            <p14:sldId id="515"/>
            <p14:sldId id="516"/>
            <p14:sldId id="518"/>
            <p14:sldId id="339"/>
            <p14:sldId id="519"/>
            <p14:sldId id="520"/>
            <p14:sldId id="517"/>
            <p14:sldId id="521"/>
            <p14:sldId id="522"/>
            <p14:sldId id="523"/>
            <p14:sldId id="524"/>
            <p14:sldId id="525"/>
            <p14:sldId id="526"/>
            <p14:sldId id="527"/>
            <p14:sldId id="528"/>
            <p14:sldId id="529"/>
            <p14:sldId id="530"/>
            <p14:sldId id="531"/>
            <p14:sldId id="532"/>
            <p14:sldId id="533"/>
            <p14:sldId id="534"/>
            <p14:sldId id="535"/>
            <p14:sldId id="340"/>
            <p14:sldId id="536"/>
            <p14:sldId id="537"/>
            <p14:sldId id="538"/>
            <p14:sldId id="539"/>
            <p14:sldId id="540"/>
            <p14:sldId id="541"/>
            <p14:sldId id="542"/>
            <p14:sldId id="544"/>
            <p14:sldId id="545"/>
            <p14:sldId id="546"/>
            <p14:sldId id="547"/>
            <p14:sldId id="548"/>
            <p14:sldId id="549"/>
            <p14:sldId id="550"/>
            <p14:sldId id="543"/>
            <p14:sldId id="551"/>
            <p14:sldId id="552"/>
            <p14:sldId id="553"/>
            <p14:sldId id="554"/>
          </p14:sldIdLst>
        </p14:section>
        <p14:section name="Static Objects" id="{C7411872-2E16-42A6-A329-74CCC7932AAA}">
          <p14:sldIdLst>
            <p14:sldId id="332"/>
            <p14:sldId id="341"/>
            <p14:sldId id="387"/>
            <p14:sldId id="386"/>
            <p14:sldId id="388"/>
            <p14:sldId id="389"/>
            <p14:sldId id="390"/>
            <p14:sldId id="391"/>
            <p14:sldId id="392"/>
            <p14:sldId id="393"/>
            <p14:sldId id="394"/>
            <p14:sldId id="395"/>
            <p14:sldId id="396"/>
            <p14:sldId id="397"/>
            <p14:sldId id="398"/>
            <p14:sldId id="399"/>
            <p14:sldId id="400"/>
            <p14:sldId id="401"/>
            <p14:sldId id="402"/>
            <p14:sldId id="403"/>
            <p14:sldId id="404"/>
            <p14:sldId id="405"/>
            <p14:sldId id="385"/>
            <p14:sldId id="555"/>
            <p14:sldId id="556"/>
            <p14:sldId id="557"/>
            <p14:sldId id="558"/>
            <p14:sldId id="559"/>
            <p14:sldId id="560"/>
            <p14:sldId id="342"/>
            <p14:sldId id="561"/>
            <p14:sldId id="562"/>
            <p14:sldId id="563"/>
            <p14:sldId id="564"/>
            <p14:sldId id="565"/>
            <p14:sldId id="566"/>
            <p14:sldId id="567"/>
            <p14:sldId id="568"/>
            <p14:sldId id="569"/>
            <p14:sldId id="570"/>
            <p14:sldId id="571"/>
            <p14:sldId id="572"/>
            <p14:sldId id="573"/>
            <p14:sldId id="574"/>
            <p14:sldId id="575"/>
            <p14:sldId id="576"/>
            <p14:sldId id="577"/>
            <p14:sldId id="343"/>
            <p14:sldId id="578"/>
            <p14:sldId id="579"/>
            <p14:sldId id="580"/>
            <p14:sldId id="581"/>
            <p14:sldId id="582"/>
            <p14:sldId id="584"/>
            <p14:sldId id="585"/>
            <p14:sldId id="586"/>
            <p14:sldId id="587"/>
            <p14:sldId id="583"/>
            <p14:sldId id="588"/>
            <p14:sldId id="589"/>
            <p14:sldId id="590"/>
            <p14:sldId id="591"/>
            <p14:sldId id="592"/>
            <p14:sldId id="593"/>
            <p14:sldId id="594"/>
            <p14:sldId id="595"/>
            <p14:sldId id="596"/>
            <p14:sldId id="597"/>
            <p14:sldId id="598"/>
            <p14:sldId id="599"/>
            <p14:sldId id="600"/>
            <p14:sldId id="601"/>
            <p14:sldId id="602"/>
            <p14:sldId id="603"/>
            <p14:sldId id="344"/>
            <p14:sldId id="604"/>
            <p14:sldId id="605"/>
            <p14:sldId id="606"/>
            <p14:sldId id="607"/>
            <p14:sldId id="608"/>
            <p14:sldId id="609"/>
            <p14:sldId id="610"/>
            <p14:sldId id="611"/>
            <p14:sldId id="612"/>
          </p14:sldIdLst>
        </p14:section>
        <p14:section name="Standard Visuals" id="{9276B529-7987-43F9-87E2-9469FA94D9DC}">
          <p14:sldIdLst>
            <p14:sldId id="325"/>
            <p14:sldId id="345"/>
            <p14:sldId id="613"/>
            <p14:sldId id="617"/>
            <p14:sldId id="614"/>
            <p14:sldId id="618"/>
            <p14:sldId id="622"/>
            <p14:sldId id="615"/>
            <p14:sldId id="619"/>
            <p14:sldId id="620"/>
            <p14:sldId id="621"/>
            <p14:sldId id="616"/>
            <p14:sldId id="623"/>
            <p14:sldId id="624"/>
            <p14:sldId id="625"/>
            <p14:sldId id="626"/>
            <p14:sldId id="627"/>
            <p14:sldId id="628"/>
            <p14:sldId id="629"/>
            <p14:sldId id="346"/>
            <p14:sldId id="630"/>
            <p14:sldId id="631"/>
            <p14:sldId id="632"/>
            <p14:sldId id="633"/>
            <p14:sldId id="634"/>
            <p14:sldId id="635"/>
            <p14:sldId id="636"/>
            <p14:sldId id="637"/>
            <p14:sldId id="638"/>
            <p14:sldId id="639"/>
            <p14:sldId id="640"/>
            <p14:sldId id="641"/>
            <p14:sldId id="642"/>
            <p14:sldId id="643"/>
            <p14:sldId id="644"/>
            <p14:sldId id="645"/>
            <p14:sldId id="646"/>
            <p14:sldId id="647"/>
            <p14:sldId id="648"/>
            <p14:sldId id="649"/>
            <p14:sldId id="650"/>
            <p14:sldId id="651"/>
            <p14:sldId id="652"/>
            <p14:sldId id="653"/>
            <p14:sldId id="721"/>
            <p14:sldId id="654"/>
            <p14:sldId id="655"/>
            <p14:sldId id="348"/>
            <p14:sldId id="664"/>
            <p14:sldId id="665"/>
            <p14:sldId id="666"/>
            <p14:sldId id="667"/>
            <p14:sldId id="669"/>
            <p14:sldId id="670"/>
            <p14:sldId id="671"/>
            <p14:sldId id="672"/>
            <p14:sldId id="673"/>
            <p14:sldId id="674"/>
            <p14:sldId id="675"/>
            <p14:sldId id="668"/>
            <p14:sldId id="676"/>
            <p14:sldId id="349"/>
            <p14:sldId id="680"/>
            <p14:sldId id="677"/>
            <p14:sldId id="678"/>
            <p14:sldId id="679"/>
            <p14:sldId id="681"/>
            <p14:sldId id="682"/>
            <p14:sldId id="683"/>
            <p14:sldId id="684"/>
            <p14:sldId id="350"/>
            <p14:sldId id="685"/>
            <p14:sldId id="686"/>
            <p14:sldId id="687"/>
            <p14:sldId id="688"/>
            <p14:sldId id="689"/>
            <p14:sldId id="690"/>
            <p14:sldId id="691"/>
            <p14:sldId id="692"/>
            <p14:sldId id="693"/>
            <p14:sldId id="694"/>
            <p14:sldId id="695"/>
            <p14:sldId id="696"/>
            <p14:sldId id="698"/>
            <p14:sldId id="699"/>
            <p14:sldId id="700"/>
            <p14:sldId id="701"/>
            <p14:sldId id="702"/>
            <p14:sldId id="703"/>
            <p14:sldId id="704"/>
            <p14:sldId id="697"/>
            <p14:sldId id="351"/>
            <p14:sldId id="705"/>
            <p14:sldId id="706"/>
            <p14:sldId id="707"/>
            <p14:sldId id="708"/>
            <p14:sldId id="709"/>
            <p14:sldId id="710"/>
            <p14:sldId id="712"/>
            <p14:sldId id="713"/>
            <p14:sldId id="714"/>
            <p14:sldId id="711"/>
            <p14:sldId id="715"/>
            <p14:sldId id="717"/>
            <p14:sldId id="71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246"/>
    <a:srgbClr val="8700DA"/>
    <a:srgbClr val="460073"/>
    <a:srgbClr val="DCAFFF"/>
    <a:srgbClr val="E6DCFF"/>
    <a:srgbClr val="0041F0"/>
    <a:srgbClr val="FF50A0"/>
    <a:srgbClr val="00FFFF"/>
    <a:srgbClr val="D4D4D4"/>
    <a:srgbClr val="BE82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C278B3-5B6C-2945-B8A5-5BBD8EA431D3}" v="5" dt="2020-10-23T05:14:12.4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14" autoAdjust="0"/>
    <p:restoredTop sz="95952" autoAdjust="0"/>
  </p:normalViewPr>
  <p:slideViewPr>
    <p:cSldViewPr snapToGrid="0" showGuides="1">
      <p:cViewPr varScale="1">
        <p:scale>
          <a:sx n="110" d="100"/>
          <a:sy n="110" d="100"/>
        </p:scale>
        <p:origin x="588" y="96"/>
      </p:cViewPr>
      <p:guideLst/>
    </p:cSldViewPr>
  </p:slideViewPr>
  <p:outlineViewPr>
    <p:cViewPr>
      <p:scale>
        <a:sx n="33" d="100"/>
        <a:sy n="33" d="100"/>
      </p:scale>
      <p:origin x="0" y="-1368"/>
    </p:cViewPr>
  </p:outlineViewPr>
  <p:notesTextViewPr>
    <p:cViewPr>
      <p:scale>
        <a:sx n="1" d="1"/>
        <a:sy n="1" d="1"/>
      </p:scale>
      <p:origin x="0" y="0"/>
    </p:cViewPr>
  </p:notesTextViewPr>
  <p:sorterViewPr>
    <p:cViewPr>
      <p:scale>
        <a:sx n="66" d="100"/>
        <a:sy n="66" d="100"/>
      </p:scale>
      <p:origin x="0" y="-38136"/>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366" Type="http://schemas.openxmlformats.org/officeDocument/2006/relationships/slide" Target="slides/slide362.xml"/><Relationship Id="rId170" Type="http://schemas.openxmlformats.org/officeDocument/2006/relationships/slide" Target="slides/slide166.xml"/><Relationship Id="rId226" Type="http://schemas.openxmlformats.org/officeDocument/2006/relationships/slide" Target="slides/slide222.xml"/><Relationship Id="rId433" Type="http://schemas.openxmlformats.org/officeDocument/2006/relationships/slide" Target="slides/slide429.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slide" Target="slides/slide331.xml"/><Relationship Id="rId377" Type="http://schemas.openxmlformats.org/officeDocument/2006/relationships/slide" Target="slides/slide373.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402" Type="http://schemas.openxmlformats.org/officeDocument/2006/relationships/slide" Target="slides/slide398.xml"/><Relationship Id="rId279" Type="http://schemas.openxmlformats.org/officeDocument/2006/relationships/slide" Target="slides/slide275.xml"/><Relationship Id="rId444" Type="http://schemas.openxmlformats.org/officeDocument/2006/relationships/slide" Target="slides/slide440.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346" Type="http://schemas.openxmlformats.org/officeDocument/2006/relationships/slide" Target="slides/slide342.xml"/><Relationship Id="rId388" Type="http://schemas.openxmlformats.org/officeDocument/2006/relationships/slide" Target="slides/slide384.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248" Type="http://schemas.openxmlformats.org/officeDocument/2006/relationships/slide" Target="slides/slide244.xml"/><Relationship Id="rId455" Type="http://schemas.openxmlformats.org/officeDocument/2006/relationships/presProps" Target="presProps.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399" Type="http://schemas.openxmlformats.org/officeDocument/2006/relationships/slide" Target="slides/slide395.xml"/><Relationship Id="rId259" Type="http://schemas.openxmlformats.org/officeDocument/2006/relationships/slide" Target="slides/slide255.xml"/><Relationship Id="rId424" Type="http://schemas.openxmlformats.org/officeDocument/2006/relationships/slide" Target="slides/slide420.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337" Type="http://schemas.openxmlformats.org/officeDocument/2006/relationships/slide" Target="slides/slide333.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openxmlformats.org/officeDocument/2006/relationships/slide" Target="slides/slide386.xml"/><Relationship Id="rId404" Type="http://schemas.openxmlformats.org/officeDocument/2006/relationships/slide" Target="slides/slide400.xml"/><Relationship Id="rId446" Type="http://schemas.openxmlformats.org/officeDocument/2006/relationships/slide" Target="slides/slide442.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457" Type="http://schemas.openxmlformats.org/officeDocument/2006/relationships/theme" Target="theme/theme1.xml"/><Relationship Id="rId261" Type="http://schemas.openxmlformats.org/officeDocument/2006/relationships/slide" Target="slides/slide257.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426" Type="http://schemas.openxmlformats.org/officeDocument/2006/relationships/slide" Target="slides/slide422.xml"/><Relationship Id="rId230" Type="http://schemas.openxmlformats.org/officeDocument/2006/relationships/slide" Target="slides/slide226.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37" Type="http://schemas.openxmlformats.org/officeDocument/2006/relationships/slide" Target="slides/slide433.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196" Type="http://schemas.openxmlformats.org/officeDocument/2006/relationships/slide" Target="slides/slide192.xml"/><Relationship Id="rId417" Type="http://schemas.openxmlformats.org/officeDocument/2006/relationships/slide" Target="slides/slide413.xml"/><Relationship Id="rId459" Type="http://schemas.microsoft.com/office/2015/10/relationships/revisionInfo" Target="revisionInfo.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41" Type="http://schemas.openxmlformats.org/officeDocument/2006/relationships/slide" Target="slides/slide437.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343" Type="http://schemas.openxmlformats.org/officeDocument/2006/relationships/slide" Target="slides/slide339.xml"/><Relationship Id="rId364" Type="http://schemas.openxmlformats.org/officeDocument/2006/relationships/slide" Target="slides/slide360.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385" Type="http://schemas.openxmlformats.org/officeDocument/2006/relationships/slide" Target="slides/slide381.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410" Type="http://schemas.openxmlformats.org/officeDocument/2006/relationships/slide" Target="slides/slide406.xml"/><Relationship Id="rId431" Type="http://schemas.openxmlformats.org/officeDocument/2006/relationships/slide" Target="slides/slide427.xml"/><Relationship Id="rId452" Type="http://schemas.openxmlformats.org/officeDocument/2006/relationships/slide" Target="slides/slide448.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slide" Target="slides/slide329.xml"/><Relationship Id="rId354" Type="http://schemas.openxmlformats.org/officeDocument/2006/relationships/slide" Target="slides/slide350.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75" Type="http://schemas.openxmlformats.org/officeDocument/2006/relationships/slide" Target="slides/slide371.xml"/><Relationship Id="rId396" Type="http://schemas.openxmlformats.org/officeDocument/2006/relationships/slide" Target="slides/slide392.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400" Type="http://schemas.openxmlformats.org/officeDocument/2006/relationships/slide" Target="slides/slide396.xml"/><Relationship Id="rId421" Type="http://schemas.openxmlformats.org/officeDocument/2006/relationships/slide" Target="slides/slide417.xml"/><Relationship Id="rId442" Type="http://schemas.openxmlformats.org/officeDocument/2006/relationships/slide" Target="slides/slide438.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344" Type="http://schemas.openxmlformats.org/officeDocument/2006/relationships/slide" Target="slides/slide340.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365" Type="http://schemas.openxmlformats.org/officeDocument/2006/relationships/slide" Target="slides/slide361.xml"/><Relationship Id="rId386" Type="http://schemas.openxmlformats.org/officeDocument/2006/relationships/slide" Target="slides/slide382.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411" Type="http://schemas.openxmlformats.org/officeDocument/2006/relationships/slide" Target="slides/slide407.xml"/><Relationship Id="rId432" Type="http://schemas.openxmlformats.org/officeDocument/2006/relationships/slide" Target="slides/slide428.xml"/><Relationship Id="rId453" Type="http://schemas.openxmlformats.org/officeDocument/2006/relationships/slide" Target="slides/slide449.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slide" Target="slides/slide330.xml"/><Relationship Id="rId355" Type="http://schemas.openxmlformats.org/officeDocument/2006/relationships/slide" Target="slides/slide351.xml"/><Relationship Id="rId376" Type="http://schemas.openxmlformats.org/officeDocument/2006/relationships/slide" Target="slides/slide372.xml"/><Relationship Id="rId397" Type="http://schemas.openxmlformats.org/officeDocument/2006/relationships/slide" Target="slides/slide393.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01" Type="http://schemas.openxmlformats.org/officeDocument/2006/relationships/slide" Target="slides/slide397.xml"/><Relationship Id="rId422" Type="http://schemas.openxmlformats.org/officeDocument/2006/relationships/slide" Target="slides/slide418.xml"/><Relationship Id="rId443" Type="http://schemas.openxmlformats.org/officeDocument/2006/relationships/slide" Target="slides/slide439.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notesMaster" Target="notesMasters/notesMaster1.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viewProps" Target="viewProps.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240" Type="http://schemas.openxmlformats.org/officeDocument/2006/relationships/slide" Target="slides/slide236.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251" Type="http://schemas.openxmlformats.org/officeDocument/2006/relationships/slide" Target="slides/slide247.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220" Type="http://schemas.openxmlformats.org/officeDocument/2006/relationships/slide" Target="slides/slide216.xml"/><Relationship Id="rId458" Type="http://schemas.openxmlformats.org/officeDocument/2006/relationships/tableStyles" Target="tableStyles.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242" Type="http://schemas.openxmlformats.org/officeDocument/2006/relationships/slide" Target="slides/slide238.xml"/><Relationship Id="rId284" Type="http://schemas.openxmlformats.org/officeDocument/2006/relationships/slide" Target="slides/slide280.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xml"/><Relationship Id="rId1" Type="http://schemas.microsoft.com/office/2011/relationships/chartStyle" Target="style1.xml"/></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xml"/><Relationship Id="rId1" Type="http://schemas.microsoft.com/office/2011/relationships/chartStyle" Target="style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3.xml"/><Relationship Id="rId1" Type="http://schemas.microsoft.com/office/2011/relationships/chartStyle" Target="style3.xml"/></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2" Type="http://schemas.openxmlformats.org/officeDocument/2006/relationships/chartUserShapes" Target="../drawings/drawing13.xml"/><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4.xml"/><Relationship Id="rId1" Type="http://schemas.microsoft.com/office/2011/relationships/chartStyle" Target="style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5.xml"/><Relationship Id="rId1" Type="http://schemas.microsoft.com/office/2011/relationships/chartStyle" Target="style5.xml"/></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7.xml"/><Relationship Id="rId1" Type="http://schemas.microsoft.com/office/2011/relationships/chartStyle" Target="style7.xml"/></Relationships>
</file>

<file path=ppt/charts/_rels/chart37.xml.rels><?xml version="1.0" encoding="UTF-8" standalone="yes"?>
<Relationships xmlns="http://schemas.openxmlformats.org/package/2006/relationships"><Relationship Id="rId2" Type="http://schemas.openxmlformats.org/officeDocument/2006/relationships/chartUserShapes" Target="../drawings/drawing15.xml"/><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7.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8.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0.xml"/><Relationship Id="rId1" Type="http://schemas.microsoft.com/office/2011/relationships/chartStyle" Target="style10.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1.xml"/><Relationship Id="rId1" Type="http://schemas.microsoft.com/office/2011/relationships/chartStyle" Target="style11.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168984723"/>
          <c:y val="3.9329059974344521E-2"/>
          <c:w val="0.80554889534690488"/>
          <c:h val="0.94117647058823561"/>
        </c:manualLayout>
      </c:layout>
      <c:barChart>
        <c:barDir val="bar"/>
        <c:grouping val="clustered"/>
        <c:varyColors val="0"/>
        <c:ser>
          <c:idx val="0"/>
          <c:order val="0"/>
          <c:tx>
            <c:strRef>
              <c:f>Sheet1!$A$2</c:f>
              <c:strCache>
                <c:ptCount val="1"/>
                <c:pt idx="0">
                  <c:v>Label A</c:v>
                </c:pt>
              </c:strCache>
            </c:strRef>
          </c:tx>
          <c:spPr>
            <a:solidFill>
              <a:schemeClr val="accent3"/>
            </a:solidFill>
            <a:ln w="25470">
              <a:noFill/>
            </a:ln>
          </c:spPr>
          <c:invertIfNegative val="0"/>
          <c:dPt>
            <c:idx val="0"/>
            <c:invertIfNegative val="0"/>
            <c:bubble3D val="0"/>
            <c:spPr>
              <a:solidFill>
                <a:srgbClr val="460073"/>
              </a:solidFill>
              <a:ln w="25470">
                <a:noFill/>
              </a:ln>
            </c:spPr>
            <c:extLst>
              <c:ext xmlns:c16="http://schemas.microsoft.com/office/drawing/2014/chart" uri="{C3380CC4-5D6E-409C-BE32-E72D297353CC}">
                <c16:uniqueId val="{00000001-9F6D-49E5-8C98-606B4FE46235}"/>
              </c:ext>
            </c:extLst>
          </c:dPt>
          <c:dLbls>
            <c:dLbl>
              <c:idx val="0"/>
              <c:spPr>
                <a:noFill/>
                <a:ln w="25470">
                  <a:noFill/>
                </a:ln>
              </c:spPr>
              <c:txPr>
                <a:bodyPr/>
                <a:lstStyle/>
                <a:p>
                  <a:pPr>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9F6D-49E5-8C98-606B4FE46235}"/>
                </c:ext>
              </c:extLst>
            </c:dLbl>
            <c:spPr>
              <a:noFill/>
              <a:ln w="2547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B$1</c:f>
              <c:numCache>
                <c:formatCode>General</c:formatCode>
                <c:ptCount val="1"/>
              </c:numCache>
            </c:numRef>
          </c:cat>
          <c:val>
            <c:numRef>
              <c:f>Sheet1!$B$2:$B$2</c:f>
              <c:numCache>
                <c:formatCode>General</c:formatCode>
                <c:ptCount val="1"/>
                <c:pt idx="0">
                  <c:v>5</c:v>
                </c:pt>
              </c:numCache>
            </c:numRef>
          </c:val>
          <c:extLst>
            <c:ext xmlns:c16="http://schemas.microsoft.com/office/drawing/2014/chart" uri="{C3380CC4-5D6E-409C-BE32-E72D297353CC}">
              <c16:uniqueId val="{00000002-9F6D-49E5-8C98-606B4FE46235}"/>
            </c:ext>
          </c:extLst>
        </c:ser>
        <c:ser>
          <c:idx val="1"/>
          <c:order val="1"/>
          <c:tx>
            <c:strRef>
              <c:f>Sheet1!$A$3</c:f>
              <c:strCache>
                <c:ptCount val="1"/>
                <c:pt idx="0">
                  <c:v>Label B</c:v>
                </c:pt>
              </c:strCache>
            </c:strRef>
          </c:tx>
          <c:spPr>
            <a:solidFill>
              <a:srgbClr val="460073"/>
            </a:solidFill>
            <a:ln w="25470">
              <a:noFill/>
            </a:ln>
          </c:spPr>
          <c:invertIfNegative val="0"/>
          <c:dLbls>
            <c:spPr>
              <a:noFill/>
              <a:ln w="2547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B$1</c:f>
              <c:numCache>
                <c:formatCode>General</c:formatCode>
                <c:ptCount val="1"/>
              </c:numCache>
            </c:numRef>
          </c:cat>
          <c:val>
            <c:numRef>
              <c:f>Sheet1!$B$3:$B$3</c:f>
              <c:numCache>
                <c:formatCode>General</c:formatCode>
                <c:ptCount val="1"/>
                <c:pt idx="0">
                  <c:v>4</c:v>
                </c:pt>
              </c:numCache>
            </c:numRef>
          </c:val>
          <c:extLst>
            <c:ext xmlns:c16="http://schemas.microsoft.com/office/drawing/2014/chart" uri="{C3380CC4-5D6E-409C-BE32-E72D297353CC}">
              <c16:uniqueId val="{00000003-9F6D-49E5-8C98-606B4FE46235}"/>
            </c:ext>
          </c:extLst>
        </c:ser>
        <c:ser>
          <c:idx val="2"/>
          <c:order val="2"/>
          <c:tx>
            <c:strRef>
              <c:f>Sheet1!$A$4</c:f>
              <c:strCache>
                <c:ptCount val="1"/>
                <c:pt idx="0">
                  <c:v>Label C</c:v>
                </c:pt>
              </c:strCache>
            </c:strRef>
          </c:tx>
          <c:spPr>
            <a:solidFill>
              <a:schemeClr val="accent1"/>
            </a:solidFill>
            <a:ln w="25470">
              <a:noFill/>
            </a:ln>
          </c:spPr>
          <c:invertIfNegative val="0"/>
          <c:dLbls>
            <c:spPr>
              <a:noFill/>
              <a:ln w="2547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B$1</c:f>
              <c:numCache>
                <c:formatCode>General</c:formatCode>
                <c:ptCount val="1"/>
              </c:numCache>
            </c:numRef>
          </c:cat>
          <c:val>
            <c:numRef>
              <c:f>Sheet1!$B$4:$B$4</c:f>
              <c:numCache>
                <c:formatCode>General</c:formatCode>
                <c:ptCount val="1"/>
                <c:pt idx="0">
                  <c:v>-1</c:v>
                </c:pt>
              </c:numCache>
            </c:numRef>
          </c:val>
          <c:extLst>
            <c:ext xmlns:c16="http://schemas.microsoft.com/office/drawing/2014/chart" uri="{C3380CC4-5D6E-409C-BE32-E72D297353CC}">
              <c16:uniqueId val="{00000004-9F6D-49E5-8C98-606B4FE46235}"/>
            </c:ext>
          </c:extLst>
        </c:ser>
        <c:ser>
          <c:idx val="3"/>
          <c:order val="3"/>
          <c:tx>
            <c:strRef>
              <c:f>Sheet1!$A$5</c:f>
              <c:strCache>
                <c:ptCount val="1"/>
                <c:pt idx="0">
                  <c:v>Label D</c:v>
                </c:pt>
              </c:strCache>
            </c:strRef>
          </c:tx>
          <c:spPr>
            <a:solidFill>
              <a:schemeClr val="accent1"/>
            </a:solidFill>
            <a:ln w="25470">
              <a:noFill/>
            </a:ln>
          </c:spPr>
          <c:invertIfNegative val="0"/>
          <c:dLbls>
            <c:spPr>
              <a:noFill/>
              <a:ln w="25470">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B$1</c:f>
              <c:numCache>
                <c:formatCode>General</c:formatCode>
                <c:ptCount val="1"/>
              </c:numCache>
            </c:numRef>
          </c:cat>
          <c:val>
            <c:numRef>
              <c:f>Sheet1!$B$5:$B$5</c:f>
              <c:numCache>
                <c:formatCode>General</c:formatCode>
                <c:ptCount val="1"/>
                <c:pt idx="0">
                  <c:v>-3</c:v>
                </c:pt>
              </c:numCache>
            </c:numRef>
          </c:val>
          <c:extLst>
            <c:ext xmlns:c16="http://schemas.microsoft.com/office/drawing/2014/chart" uri="{C3380CC4-5D6E-409C-BE32-E72D297353CC}">
              <c16:uniqueId val="{00000005-9F6D-49E5-8C98-606B4FE46235}"/>
            </c:ext>
          </c:extLst>
        </c:ser>
        <c:dLbls>
          <c:showLegendKey val="0"/>
          <c:showVal val="1"/>
          <c:showCatName val="0"/>
          <c:showSerName val="0"/>
          <c:showPercent val="0"/>
          <c:showBubbleSize val="0"/>
        </c:dLbls>
        <c:gapWidth val="106"/>
        <c:overlap val="-100"/>
        <c:axId val="542582776"/>
        <c:axId val="542583168"/>
      </c:barChart>
      <c:catAx>
        <c:axId val="542582776"/>
        <c:scaling>
          <c:orientation val="minMax"/>
        </c:scaling>
        <c:delete val="0"/>
        <c:axPos val="l"/>
        <c:numFmt formatCode="General" sourceLinked="1"/>
        <c:majorTickMark val="none"/>
        <c:minorTickMark val="none"/>
        <c:tickLblPos val="none"/>
        <c:spPr>
          <a:ln w="12735">
            <a:solidFill>
              <a:schemeClr val="tx2">
                <a:lumMod val="60000"/>
                <a:lumOff val="40000"/>
              </a:schemeClr>
            </a:solidFill>
            <a:prstDash val="solid"/>
          </a:ln>
        </c:spPr>
        <c:crossAx val="542583168"/>
        <c:crosses val="autoZero"/>
        <c:auto val="1"/>
        <c:lblAlgn val="ctr"/>
        <c:lblOffset val="100"/>
        <c:tickMarkSkip val="1"/>
        <c:noMultiLvlLbl val="0"/>
      </c:catAx>
      <c:valAx>
        <c:axId val="542583168"/>
        <c:scaling>
          <c:orientation val="minMax"/>
        </c:scaling>
        <c:delete val="1"/>
        <c:axPos val="b"/>
        <c:numFmt formatCode="General" sourceLinked="1"/>
        <c:majorTickMark val="out"/>
        <c:minorTickMark val="none"/>
        <c:tickLblPos val="none"/>
        <c:crossAx val="542582776"/>
        <c:crosses val="autoZero"/>
        <c:crossBetween val="between"/>
      </c:valAx>
      <c:spPr>
        <a:noFill/>
        <a:ln w="25470">
          <a:noFill/>
        </a:ln>
      </c:spPr>
    </c:plotArea>
    <c:plotVisOnly val="1"/>
    <c:dispBlanksAs val="gap"/>
    <c:showDLblsOverMax val="0"/>
  </c:chart>
  <c:spPr>
    <a:noFill/>
    <a:ln>
      <a:noFill/>
    </a:ln>
  </c:spPr>
  <c:txPr>
    <a:bodyPr/>
    <a:lstStyle/>
    <a:p>
      <a:pPr>
        <a:defRPr sz="1800" b="1" i="0" u="none" strike="noStrike" baseline="0">
          <a:solidFill>
            <a:schemeClr val="tx1"/>
          </a:solidFill>
          <a:latin typeface="Graphik" panose="020B0503030202060203" pitchFamily="34" charset="0"/>
          <a:ea typeface="Arial"/>
          <a:cs typeface="Arial"/>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684298098801938"/>
        </c:manualLayout>
      </c:layout>
      <c:barChart>
        <c:barDir val="col"/>
        <c:grouping val="stacked"/>
        <c:varyColors val="0"/>
        <c:ser>
          <c:idx val="0"/>
          <c:order val="0"/>
          <c:tx>
            <c:strRef>
              <c:f>Sheet1!$A$2</c:f>
              <c:strCache>
                <c:ptCount val="1"/>
                <c:pt idx="0">
                  <c:v>East</c:v>
                </c:pt>
              </c:strCache>
            </c:strRef>
          </c:tx>
          <c:spPr>
            <a:noFill/>
            <a:ln w="25304">
              <a:noFill/>
            </a:ln>
          </c:spPr>
          <c:invertIfNegative val="0"/>
          <c:cat>
            <c:strRef>
              <c:f>Sheet1!$B$1:$H$1</c:f>
              <c:strCache>
                <c:ptCount val="7"/>
                <c:pt idx="0">
                  <c:v>Label A</c:v>
                </c:pt>
                <c:pt idx="1">
                  <c:v>Label B</c:v>
                </c:pt>
                <c:pt idx="2">
                  <c:v>Label C</c:v>
                </c:pt>
                <c:pt idx="3">
                  <c:v>Label D</c:v>
                </c:pt>
                <c:pt idx="4">
                  <c:v>Label E</c:v>
                </c:pt>
                <c:pt idx="5">
                  <c:v>Label F</c:v>
                </c:pt>
                <c:pt idx="6">
                  <c:v>Total</c:v>
                </c:pt>
              </c:strCache>
            </c:strRef>
          </c:cat>
          <c:val>
            <c:numRef>
              <c:f>Sheet1!$B$2:$H$2</c:f>
              <c:numCache>
                <c:formatCode>General</c:formatCode>
                <c:ptCount val="7"/>
                <c:pt idx="1">
                  <c:v>5</c:v>
                </c:pt>
                <c:pt idx="2">
                  <c:v>9</c:v>
                </c:pt>
                <c:pt idx="3">
                  <c:v>12</c:v>
                </c:pt>
                <c:pt idx="4">
                  <c:v>14</c:v>
                </c:pt>
                <c:pt idx="5">
                  <c:v>15.5</c:v>
                </c:pt>
              </c:numCache>
            </c:numRef>
          </c:val>
          <c:extLst>
            <c:ext xmlns:c16="http://schemas.microsoft.com/office/drawing/2014/chart" uri="{C3380CC4-5D6E-409C-BE32-E72D297353CC}">
              <c16:uniqueId val="{00000000-E6C4-4FE6-91DF-20EEE241E9E4}"/>
            </c:ext>
          </c:extLst>
        </c:ser>
        <c:ser>
          <c:idx val="1"/>
          <c:order val="1"/>
          <c:tx>
            <c:strRef>
              <c:f>Sheet1!$A$3</c:f>
              <c:strCache>
                <c:ptCount val="1"/>
              </c:strCache>
            </c:strRef>
          </c:tx>
          <c:spPr>
            <a:solidFill>
              <a:schemeClr val="accent1"/>
            </a:solidFill>
            <a:ln w="25304">
              <a:noFill/>
            </a:ln>
          </c:spPr>
          <c:invertIfNegative val="0"/>
          <c:dLbls>
            <c:spPr>
              <a:noFill/>
              <a:ln w="25304">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3:$H$3</c:f>
              <c:numCache>
                <c:formatCode>General</c:formatCode>
                <c:ptCount val="7"/>
                <c:pt idx="0">
                  <c:v>5</c:v>
                </c:pt>
                <c:pt idx="6">
                  <c:v>5</c:v>
                </c:pt>
              </c:numCache>
            </c:numRef>
          </c:val>
          <c:extLst>
            <c:ext xmlns:c16="http://schemas.microsoft.com/office/drawing/2014/chart" uri="{C3380CC4-5D6E-409C-BE32-E72D297353CC}">
              <c16:uniqueId val="{00000001-E6C4-4FE6-91DF-20EEE241E9E4}"/>
            </c:ext>
          </c:extLst>
        </c:ser>
        <c:ser>
          <c:idx val="2"/>
          <c:order val="2"/>
          <c:tx>
            <c:strRef>
              <c:f>Sheet1!$A$4</c:f>
              <c:strCache>
                <c:ptCount val="1"/>
              </c:strCache>
            </c:strRef>
          </c:tx>
          <c:spPr>
            <a:solidFill>
              <a:schemeClr val="accent2"/>
            </a:solidFill>
            <a:ln w="25304">
              <a:noFill/>
            </a:ln>
          </c:spPr>
          <c:invertIfNegative val="0"/>
          <c:dLbls>
            <c:spPr>
              <a:noFill/>
              <a:ln w="25304">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4:$H$4</c:f>
              <c:numCache>
                <c:formatCode>General</c:formatCode>
                <c:ptCount val="7"/>
                <c:pt idx="1">
                  <c:v>4</c:v>
                </c:pt>
                <c:pt idx="6">
                  <c:v>4</c:v>
                </c:pt>
              </c:numCache>
            </c:numRef>
          </c:val>
          <c:extLst>
            <c:ext xmlns:c16="http://schemas.microsoft.com/office/drawing/2014/chart" uri="{C3380CC4-5D6E-409C-BE32-E72D297353CC}">
              <c16:uniqueId val="{00000002-E6C4-4FE6-91DF-20EEE241E9E4}"/>
            </c:ext>
          </c:extLst>
        </c:ser>
        <c:ser>
          <c:idx val="3"/>
          <c:order val="3"/>
          <c:tx>
            <c:strRef>
              <c:f>Sheet1!$A$5</c:f>
              <c:strCache>
                <c:ptCount val="1"/>
              </c:strCache>
            </c:strRef>
          </c:tx>
          <c:spPr>
            <a:solidFill>
              <a:schemeClr val="accent3"/>
            </a:solidFill>
            <a:ln w="25304">
              <a:noFill/>
            </a:ln>
          </c:spPr>
          <c:invertIfNegative val="0"/>
          <c:dLbls>
            <c:spPr>
              <a:noFill/>
              <a:ln w="25304">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5:$H$5</c:f>
              <c:numCache>
                <c:formatCode>General</c:formatCode>
                <c:ptCount val="7"/>
                <c:pt idx="2">
                  <c:v>3</c:v>
                </c:pt>
                <c:pt idx="6">
                  <c:v>3</c:v>
                </c:pt>
              </c:numCache>
            </c:numRef>
          </c:val>
          <c:extLst>
            <c:ext xmlns:c16="http://schemas.microsoft.com/office/drawing/2014/chart" uri="{C3380CC4-5D6E-409C-BE32-E72D297353CC}">
              <c16:uniqueId val="{00000003-E6C4-4FE6-91DF-20EEE241E9E4}"/>
            </c:ext>
          </c:extLst>
        </c:ser>
        <c:ser>
          <c:idx val="4"/>
          <c:order val="4"/>
          <c:tx>
            <c:strRef>
              <c:f>Sheet1!$A$6</c:f>
              <c:strCache>
                <c:ptCount val="1"/>
              </c:strCache>
            </c:strRef>
          </c:tx>
          <c:spPr>
            <a:solidFill>
              <a:schemeClr val="accent4"/>
            </a:solidFill>
            <a:ln w="25304">
              <a:noFill/>
            </a:ln>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4-E6C4-4FE6-91DF-20EEE241E9E4}"/>
                </c:ext>
              </c:extLst>
            </c:dLbl>
            <c:spPr>
              <a:noFill/>
              <a:ln w="25304">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6:$H$6</c:f>
              <c:numCache>
                <c:formatCode>General</c:formatCode>
                <c:ptCount val="7"/>
                <c:pt idx="3">
                  <c:v>2</c:v>
                </c:pt>
                <c:pt idx="6">
                  <c:v>2</c:v>
                </c:pt>
              </c:numCache>
            </c:numRef>
          </c:val>
          <c:extLst>
            <c:ext xmlns:c16="http://schemas.microsoft.com/office/drawing/2014/chart" uri="{C3380CC4-5D6E-409C-BE32-E72D297353CC}">
              <c16:uniqueId val="{00000005-E6C4-4FE6-91DF-20EEE241E9E4}"/>
            </c:ext>
          </c:extLst>
        </c:ser>
        <c:ser>
          <c:idx val="5"/>
          <c:order val="5"/>
          <c:tx>
            <c:strRef>
              <c:f>Sheet1!$A$7</c:f>
              <c:strCache>
                <c:ptCount val="1"/>
              </c:strCache>
            </c:strRef>
          </c:tx>
          <c:spPr>
            <a:solidFill>
              <a:schemeClr val="accent5"/>
            </a:solidFill>
            <a:ln w="25304">
              <a:noFill/>
            </a:ln>
          </c:spPr>
          <c:invertIfNegative val="0"/>
          <c:dLbls>
            <c:spPr>
              <a:noFill/>
              <a:ln w="25304">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7:$H$7</c:f>
              <c:numCache>
                <c:formatCode>General</c:formatCode>
                <c:ptCount val="7"/>
                <c:pt idx="4">
                  <c:v>1.5</c:v>
                </c:pt>
                <c:pt idx="6">
                  <c:v>1.5</c:v>
                </c:pt>
              </c:numCache>
            </c:numRef>
          </c:val>
          <c:extLst>
            <c:ext xmlns:c16="http://schemas.microsoft.com/office/drawing/2014/chart" uri="{C3380CC4-5D6E-409C-BE32-E72D297353CC}">
              <c16:uniqueId val="{00000006-E6C4-4FE6-91DF-20EEE241E9E4}"/>
            </c:ext>
          </c:extLst>
        </c:ser>
        <c:ser>
          <c:idx val="6"/>
          <c:order val="6"/>
          <c:tx>
            <c:strRef>
              <c:f>Sheet1!$A$8</c:f>
              <c:strCache>
                <c:ptCount val="1"/>
              </c:strCache>
            </c:strRef>
          </c:tx>
          <c:spPr>
            <a:solidFill>
              <a:schemeClr val="accent6"/>
            </a:solidFill>
            <a:ln w="25304">
              <a:noFill/>
            </a:ln>
          </c:spPr>
          <c:invertIfNegative val="0"/>
          <c:dLbls>
            <c:spPr>
              <a:noFill/>
              <a:ln w="25304">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Label A</c:v>
                </c:pt>
                <c:pt idx="1">
                  <c:v>Label B</c:v>
                </c:pt>
                <c:pt idx="2">
                  <c:v>Label C</c:v>
                </c:pt>
                <c:pt idx="3">
                  <c:v>Label D</c:v>
                </c:pt>
                <c:pt idx="4">
                  <c:v>Label E</c:v>
                </c:pt>
                <c:pt idx="5">
                  <c:v>Label F</c:v>
                </c:pt>
                <c:pt idx="6">
                  <c:v>Total</c:v>
                </c:pt>
              </c:strCache>
            </c:strRef>
          </c:cat>
          <c:val>
            <c:numRef>
              <c:f>Sheet1!$B$8:$H$8</c:f>
              <c:numCache>
                <c:formatCode>General</c:formatCode>
                <c:ptCount val="7"/>
                <c:pt idx="5">
                  <c:v>1.5</c:v>
                </c:pt>
                <c:pt idx="6">
                  <c:v>1.5</c:v>
                </c:pt>
              </c:numCache>
            </c:numRef>
          </c:val>
          <c:extLst>
            <c:ext xmlns:c16="http://schemas.microsoft.com/office/drawing/2014/chart" uri="{C3380CC4-5D6E-409C-BE32-E72D297353CC}">
              <c16:uniqueId val="{00000007-E6C4-4FE6-91DF-20EEE241E9E4}"/>
            </c:ext>
          </c:extLst>
        </c:ser>
        <c:dLbls>
          <c:showLegendKey val="0"/>
          <c:showVal val="0"/>
          <c:showCatName val="0"/>
          <c:showSerName val="0"/>
          <c:showPercent val="0"/>
          <c:showBubbleSize val="0"/>
        </c:dLbls>
        <c:gapWidth val="30"/>
        <c:overlap val="100"/>
        <c:axId val="524922168"/>
        <c:axId val="524922560"/>
      </c:barChart>
      <c:catAx>
        <c:axId val="524922168"/>
        <c:scaling>
          <c:orientation val="minMax"/>
        </c:scaling>
        <c:delete val="0"/>
        <c:axPos val="b"/>
        <c:numFmt formatCode="General" sourceLinked="1"/>
        <c:majorTickMark val="none"/>
        <c:minorTickMark val="none"/>
        <c:tickLblPos val="nextTo"/>
        <c:spPr>
          <a:ln w="12652">
            <a:solidFill>
              <a:schemeClr val="tx2">
                <a:lumMod val="60000"/>
                <a:lumOff val="40000"/>
              </a:schemeClr>
            </a:solidFill>
            <a:prstDash val="solid"/>
          </a:ln>
        </c:spPr>
        <c:txPr>
          <a:bodyPr rot="0" vert="horz"/>
          <a:lstStyle/>
          <a:p>
            <a:pPr>
              <a:defRPr sz="1400" b="0">
                <a:solidFill>
                  <a:schemeClr val="tx2"/>
                </a:solidFill>
              </a:defRPr>
            </a:pPr>
            <a:endParaRPr lang="en-US"/>
          </a:p>
        </c:txPr>
        <c:crossAx val="524922560"/>
        <c:crosses val="autoZero"/>
        <c:auto val="1"/>
        <c:lblAlgn val="ctr"/>
        <c:lblOffset val="100"/>
        <c:tickLblSkip val="1"/>
        <c:tickMarkSkip val="1"/>
        <c:noMultiLvlLbl val="0"/>
      </c:catAx>
      <c:valAx>
        <c:axId val="524922560"/>
        <c:scaling>
          <c:orientation val="minMax"/>
        </c:scaling>
        <c:delete val="1"/>
        <c:axPos val="l"/>
        <c:numFmt formatCode="General" sourceLinked="1"/>
        <c:majorTickMark val="out"/>
        <c:minorTickMark val="none"/>
        <c:tickLblPos val="none"/>
        <c:crossAx val="524922168"/>
        <c:crosses val="autoZero"/>
        <c:crossBetween val="between"/>
      </c:valAx>
      <c:spPr>
        <a:noFill/>
        <a:ln w="25304">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64912280701754E-2"/>
          <c:y val="2.7100271002710102E-2"/>
          <c:w val="0.97807017543859953"/>
          <c:h val="0.82655826558265411"/>
        </c:manualLayout>
      </c:layout>
      <c:barChart>
        <c:barDir val="col"/>
        <c:grouping val="stacked"/>
        <c:varyColors val="0"/>
        <c:ser>
          <c:idx val="0"/>
          <c:order val="0"/>
          <c:tx>
            <c:strRef>
              <c:f>Sheet1!$A$2</c:f>
              <c:strCache>
                <c:ptCount val="1"/>
                <c:pt idx="0">
                  <c:v>East</c:v>
                </c:pt>
              </c:strCache>
            </c:strRef>
          </c:tx>
          <c:spPr>
            <a:noFill/>
            <a:ln w="25311">
              <a:noFill/>
            </a:ln>
          </c:spPr>
          <c:invertIfNegative val="0"/>
          <c:cat>
            <c:strRef>
              <c:f>Sheet1!$B$1:$F$1</c:f>
              <c:strCache>
                <c:ptCount val="5"/>
                <c:pt idx="0">
                  <c:v>Total</c:v>
                </c:pt>
                <c:pt idx="1">
                  <c:v>Label A</c:v>
                </c:pt>
                <c:pt idx="2">
                  <c:v>Label B</c:v>
                </c:pt>
                <c:pt idx="3">
                  <c:v>Label C</c:v>
                </c:pt>
                <c:pt idx="4">
                  <c:v>Label D</c:v>
                </c:pt>
              </c:strCache>
            </c:strRef>
          </c:cat>
          <c:val>
            <c:numRef>
              <c:f>Sheet1!$B$2:$F$2</c:f>
              <c:numCache>
                <c:formatCode>General</c:formatCode>
                <c:ptCount val="5"/>
                <c:pt idx="1">
                  <c:v>10</c:v>
                </c:pt>
                <c:pt idx="2">
                  <c:v>8</c:v>
                </c:pt>
                <c:pt idx="3">
                  <c:v>5</c:v>
                </c:pt>
              </c:numCache>
            </c:numRef>
          </c:val>
          <c:extLst>
            <c:ext xmlns:c16="http://schemas.microsoft.com/office/drawing/2014/chart" uri="{C3380CC4-5D6E-409C-BE32-E72D297353CC}">
              <c16:uniqueId val="{00000000-5D89-48FE-B620-C078B9AA9858}"/>
            </c:ext>
          </c:extLst>
        </c:ser>
        <c:ser>
          <c:idx val="2"/>
          <c:order val="1"/>
          <c:tx>
            <c:strRef>
              <c:f>Sheet1!$A$4</c:f>
              <c:strCache>
                <c:ptCount val="1"/>
              </c:strCache>
            </c:strRef>
          </c:tx>
          <c:spPr>
            <a:solidFill>
              <a:schemeClr val="accent1"/>
            </a:solidFill>
            <a:ln w="25311">
              <a:noFill/>
            </a:ln>
          </c:spPr>
          <c:invertIfNegative val="0"/>
          <c:dPt>
            <c:idx val="0"/>
            <c:invertIfNegative val="0"/>
            <c:bubble3D val="0"/>
            <c:spPr>
              <a:solidFill>
                <a:schemeClr val="accent5"/>
              </a:solidFill>
              <a:ln w="25311">
                <a:noFill/>
              </a:ln>
            </c:spPr>
            <c:extLst>
              <c:ext xmlns:c16="http://schemas.microsoft.com/office/drawing/2014/chart" uri="{C3380CC4-5D6E-409C-BE32-E72D297353CC}">
                <c16:uniqueId val="{00000002-5D89-48FE-B620-C078B9AA9858}"/>
              </c:ext>
            </c:extLst>
          </c:dPt>
          <c:dLbls>
            <c:spPr>
              <a:noFill/>
              <a:ln w="25311">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1">
                  <c:v>Label A</c:v>
                </c:pt>
                <c:pt idx="2">
                  <c:v>Label B</c:v>
                </c:pt>
                <c:pt idx="3">
                  <c:v>Label C</c:v>
                </c:pt>
                <c:pt idx="4">
                  <c:v>Label D</c:v>
                </c:pt>
              </c:strCache>
            </c:strRef>
          </c:cat>
          <c:val>
            <c:numRef>
              <c:f>Sheet1!$B$4:$F$4</c:f>
              <c:numCache>
                <c:formatCode>General</c:formatCode>
                <c:ptCount val="5"/>
                <c:pt idx="0">
                  <c:v>11</c:v>
                </c:pt>
                <c:pt idx="1">
                  <c:v>1</c:v>
                </c:pt>
                <c:pt idx="2">
                  <c:v>2</c:v>
                </c:pt>
                <c:pt idx="3">
                  <c:v>3</c:v>
                </c:pt>
                <c:pt idx="4">
                  <c:v>5</c:v>
                </c:pt>
              </c:numCache>
            </c:numRef>
          </c:val>
          <c:extLst>
            <c:ext xmlns:c16="http://schemas.microsoft.com/office/drawing/2014/chart" uri="{C3380CC4-5D6E-409C-BE32-E72D297353CC}">
              <c16:uniqueId val="{00000003-5D89-48FE-B620-C078B9AA9858}"/>
            </c:ext>
          </c:extLst>
        </c:ser>
        <c:dLbls>
          <c:showLegendKey val="0"/>
          <c:showVal val="0"/>
          <c:showCatName val="0"/>
          <c:showSerName val="0"/>
          <c:showPercent val="0"/>
          <c:showBubbleSize val="0"/>
        </c:dLbls>
        <c:gapWidth val="50"/>
        <c:overlap val="100"/>
        <c:axId val="524923344"/>
        <c:axId val="524923736"/>
      </c:barChart>
      <c:catAx>
        <c:axId val="524923344"/>
        <c:scaling>
          <c:orientation val="minMax"/>
        </c:scaling>
        <c:delete val="0"/>
        <c:axPos val="b"/>
        <c:numFmt formatCode="General" sourceLinked="1"/>
        <c:majorTickMark val="none"/>
        <c:minorTickMark val="none"/>
        <c:tickLblPos val="nextTo"/>
        <c:spPr>
          <a:ln w="12656">
            <a:solidFill>
              <a:schemeClr val="tx2">
                <a:lumMod val="60000"/>
                <a:lumOff val="40000"/>
              </a:schemeClr>
            </a:solidFill>
            <a:prstDash val="solid"/>
          </a:ln>
        </c:spPr>
        <c:txPr>
          <a:bodyPr rot="0" vert="horz"/>
          <a:lstStyle/>
          <a:p>
            <a:pPr>
              <a:defRPr sz="1400" b="0">
                <a:solidFill>
                  <a:schemeClr val="tx2"/>
                </a:solidFill>
              </a:defRPr>
            </a:pPr>
            <a:endParaRPr lang="en-US"/>
          </a:p>
        </c:txPr>
        <c:crossAx val="524923736"/>
        <c:crosses val="autoZero"/>
        <c:auto val="1"/>
        <c:lblAlgn val="ctr"/>
        <c:lblOffset val="100"/>
        <c:tickLblSkip val="1"/>
        <c:tickMarkSkip val="1"/>
        <c:noMultiLvlLbl val="0"/>
      </c:catAx>
      <c:valAx>
        <c:axId val="524923736"/>
        <c:scaling>
          <c:orientation val="minMax"/>
        </c:scaling>
        <c:delete val="1"/>
        <c:axPos val="l"/>
        <c:numFmt formatCode="General" sourceLinked="1"/>
        <c:majorTickMark val="out"/>
        <c:minorTickMark val="none"/>
        <c:tickLblPos val="none"/>
        <c:crossAx val="524923344"/>
        <c:crosses val="autoZero"/>
        <c:crossBetween val="between"/>
      </c:valAx>
      <c:spPr>
        <a:noFill/>
        <a:ln w="25311">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27298601574644"/>
        </c:manualLayout>
      </c:layout>
      <c:barChart>
        <c:barDir val="col"/>
        <c:grouping val="stacked"/>
        <c:varyColors val="0"/>
        <c:ser>
          <c:idx val="0"/>
          <c:order val="0"/>
          <c:tx>
            <c:strRef>
              <c:f>Sheet1!$A$2</c:f>
              <c:strCache>
                <c:ptCount val="1"/>
                <c:pt idx="0">
                  <c:v>East</c:v>
                </c:pt>
              </c:strCache>
            </c:strRef>
          </c:tx>
          <c:spPr>
            <a:noFill/>
            <a:ln w="25300">
              <a:noFill/>
            </a:ln>
          </c:spPr>
          <c:invertIfNegative val="0"/>
          <c:cat>
            <c:strRef>
              <c:f>Sheet1!$B$1:$H$1</c:f>
              <c:strCache>
                <c:ptCount val="7"/>
                <c:pt idx="0">
                  <c:v>Total</c:v>
                </c:pt>
                <c:pt idx="1">
                  <c:v>Label A</c:v>
                </c:pt>
                <c:pt idx="2">
                  <c:v>Label B</c:v>
                </c:pt>
                <c:pt idx="3">
                  <c:v>Label C</c:v>
                </c:pt>
                <c:pt idx="4">
                  <c:v>Label D</c:v>
                </c:pt>
                <c:pt idx="5">
                  <c:v>Label E</c:v>
                </c:pt>
                <c:pt idx="6">
                  <c:v>Label F</c:v>
                </c:pt>
              </c:strCache>
            </c:strRef>
          </c:cat>
          <c:val>
            <c:numRef>
              <c:f>Sheet1!$B$2:$H$2</c:f>
              <c:numCache>
                <c:formatCode>General</c:formatCode>
                <c:ptCount val="7"/>
                <c:pt idx="1">
                  <c:v>15.5</c:v>
                </c:pt>
                <c:pt idx="2">
                  <c:v>14</c:v>
                </c:pt>
                <c:pt idx="3">
                  <c:v>12</c:v>
                </c:pt>
                <c:pt idx="4">
                  <c:v>9</c:v>
                </c:pt>
                <c:pt idx="5">
                  <c:v>5</c:v>
                </c:pt>
              </c:numCache>
            </c:numRef>
          </c:val>
          <c:extLst>
            <c:ext xmlns:c16="http://schemas.microsoft.com/office/drawing/2014/chart" uri="{C3380CC4-5D6E-409C-BE32-E72D297353CC}">
              <c16:uniqueId val="{00000000-A042-4F83-8237-45511098E66D}"/>
            </c:ext>
          </c:extLst>
        </c:ser>
        <c:ser>
          <c:idx val="1"/>
          <c:order val="1"/>
          <c:tx>
            <c:strRef>
              <c:f>Sheet1!$A$3</c:f>
              <c:strCache>
                <c:ptCount val="1"/>
              </c:strCache>
            </c:strRef>
          </c:tx>
          <c:spPr>
            <a:solidFill>
              <a:schemeClr val="accent1"/>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3:$H$3</c:f>
              <c:numCache>
                <c:formatCode>General</c:formatCode>
                <c:ptCount val="7"/>
                <c:pt idx="0">
                  <c:v>5</c:v>
                </c:pt>
                <c:pt idx="6">
                  <c:v>5</c:v>
                </c:pt>
              </c:numCache>
            </c:numRef>
          </c:val>
          <c:extLst>
            <c:ext xmlns:c16="http://schemas.microsoft.com/office/drawing/2014/chart" uri="{C3380CC4-5D6E-409C-BE32-E72D297353CC}">
              <c16:uniqueId val="{00000001-A042-4F83-8237-45511098E66D}"/>
            </c:ext>
          </c:extLst>
        </c:ser>
        <c:ser>
          <c:idx val="2"/>
          <c:order val="2"/>
          <c:tx>
            <c:strRef>
              <c:f>Sheet1!$A$4</c:f>
              <c:strCache>
                <c:ptCount val="1"/>
              </c:strCache>
            </c:strRef>
          </c:tx>
          <c:spPr>
            <a:solidFill>
              <a:schemeClr val="accent2"/>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4:$H$4</c:f>
              <c:numCache>
                <c:formatCode>General</c:formatCode>
                <c:ptCount val="7"/>
                <c:pt idx="0">
                  <c:v>4</c:v>
                </c:pt>
                <c:pt idx="5">
                  <c:v>4</c:v>
                </c:pt>
              </c:numCache>
            </c:numRef>
          </c:val>
          <c:extLst>
            <c:ext xmlns:c16="http://schemas.microsoft.com/office/drawing/2014/chart" uri="{C3380CC4-5D6E-409C-BE32-E72D297353CC}">
              <c16:uniqueId val="{00000002-A042-4F83-8237-45511098E66D}"/>
            </c:ext>
          </c:extLst>
        </c:ser>
        <c:ser>
          <c:idx val="3"/>
          <c:order val="3"/>
          <c:tx>
            <c:strRef>
              <c:f>Sheet1!$A$5</c:f>
              <c:strCache>
                <c:ptCount val="1"/>
              </c:strCache>
            </c:strRef>
          </c:tx>
          <c:spPr>
            <a:solidFill>
              <a:schemeClr val="accent3"/>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5:$H$5</c:f>
              <c:numCache>
                <c:formatCode>General</c:formatCode>
                <c:ptCount val="7"/>
                <c:pt idx="0">
                  <c:v>3</c:v>
                </c:pt>
                <c:pt idx="4">
                  <c:v>3</c:v>
                </c:pt>
              </c:numCache>
            </c:numRef>
          </c:val>
          <c:extLst>
            <c:ext xmlns:c16="http://schemas.microsoft.com/office/drawing/2014/chart" uri="{C3380CC4-5D6E-409C-BE32-E72D297353CC}">
              <c16:uniqueId val="{00000003-A042-4F83-8237-45511098E66D}"/>
            </c:ext>
          </c:extLst>
        </c:ser>
        <c:ser>
          <c:idx val="4"/>
          <c:order val="4"/>
          <c:tx>
            <c:strRef>
              <c:f>Sheet1!$A$6</c:f>
              <c:strCache>
                <c:ptCount val="1"/>
              </c:strCache>
            </c:strRef>
          </c:tx>
          <c:spPr>
            <a:solidFill>
              <a:schemeClr val="accent4"/>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6:$H$6</c:f>
              <c:numCache>
                <c:formatCode>General</c:formatCode>
                <c:ptCount val="7"/>
                <c:pt idx="0">
                  <c:v>2</c:v>
                </c:pt>
                <c:pt idx="3">
                  <c:v>2</c:v>
                </c:pt>
              </c:numCache>
            </c:numRef>
          </c:val>
          <c:extLst>
            <c:ext xmlns:c16="http://schemas.microsoft.com/office/drawing/2014/chart" uri="{C3380CC4-5D6E-409C-BE32-E72D297353CC}">
              <c16:uniqueId val="{00000004-A042-4F83-8237-45511098E66D}"/>
            </c:ext>
          </c:extLst>
        </c:ser>
        <c:ser>
          <c:idx val="5"/>
          <c:order val="5"/>
          <c:tx>
            <c:strRef>
              <c:f>Sheet1!$A$7</c:f>
              <c:strCache>
                <c:ptCount val="1"/>
              </c:strCache>
            </c:strRef>
          </c:tx>
          <c:spPr>
            <a:solidFill>
              <a:schemeClr val="accent5"/>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7:$H$7</c:f>
              <c:numCache>
                <c:formatCode>General</c:formatCode>
                <c:ptCount val="7"/>
                <c:pt idx="0">
                  <c:v>1.5</c:v>
                </c:pt>
                <c:pt idx="2">
                  <c:v>1.5</c:v>
                </c:pt>
              </c:numCache>
            </c:numRef>
          </c:val>
          <c:extLst>
            <c:ext xmlns:c16="http://schemas.microsoft.com/office/drawing/2014/chart" uri="{C3380CC4-5D6E-409C-BE32-E72D297353CC}">
              <c16:uniqueId val="{00000005-A042-4F83-8237-45511098E66D}"/>
            </c:ext>
          </c:extLst>
        </c:ser>
        <c:ser>
          <c:idx val="6"/>
          <c:order val="6"/>
          <c:tx>
            <c:strRef>
              <c:f>Sheet1!$A$8</c:f>
              <c:strCache>
                <c:ptCount val="1"/>
              </c:strCache>
            </c:strRef>
          </c:tx>
          <c:spPr>
            <a:solidFill>
              <a:schemeClr val="accent6"/>
            </a:solidFill>
            <a:ln w="12650">
              <a:solidFill>
                <a:schemeClr val="bg1"/>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8:$H$8</c:f>
              <c:numCache>
                <c:formatCode>General</c:formatCode>
                <c:ptCount val="7"/>
                <c:pt idx="0">
                  <c:v>1.5</c:v>
                </c:pt>
                <c:pt idx="1">
                  <c:v>1.5</c:v>
                </c:pt>
              </c:numCache>
            </c:numRef>
          </c:val>
          <c:extLst>
            <c:ext xmlns:c16="http://schemas.microsoft.com/office/drawing/2014/chart" uri="{C3380CC4-5D6E-409C-BE32-E72D297353CC}">
              <c16:uniqueId val="{00000006-A042-4F83-8237-45511098E66D}"/>
            </c:ext>
          </c:extLst>
        </c:ser>
        <c:dLbls>
          <c:showLegendKey val="0"/>
          <c:showVal val="0"/>
          <c:showCatName val="0"/>
          <c:showSerName val="0"/>
          <c:showPercent val="0"/>
          <c:showBubbleSize val="0"/>
        </c:dLbls>
        <c:gapWidth val="40"/>
        <c:overlap val="100"/>
        <c:axId val="628211744"/>
        <c:axId val="628212136"/>
      </c:barChart>
      <c:catAx>
        <c:axId val="628211744"/>
        <c:scaling>
          <c:orientation val="minMax"/>
        </c:scaling>
        <c:delete val="0"/>
        <c:axPos val="b"/>
        <c:numFmt formatCode="General" sourceLinked="1"/>
        <c:majorTickMark val="none"/>
        <c:minorTickMark val="none"/>
        <c:tickLblPos val="nextTo"/>
        <c:spPr>
          <a:ln w="12650">
            <a:solidFill>
              <a:schemeClr val="tx2">
                <a:lumMod val="60000"/>
                <a:lumOff val="40000"/>
              </a:schemeClr>
            </a:solidFill>
            <a:prstDash val="solid"/>
          </a:ln>
        </c:spPr>
        <c:txPr>
          <a:bodyPr rot="0" vert="horz"/>
          <a:lstStyle/>
          <a:p>
            <a:pPr>
              <a:defRPr sz="1400" b="0">
                <a:solidFill>
                  <a:schemeClr val="tx2"/>
                </a:solidFill>
              </a:defRPr>
            </a:pPr>
            <a:endParaRPr lang="en-US"/>
          </a:p>
        </c:txPr>
        <c:crossAx val="628212136"/>
        <c:crosses val="autoZero"/>
        <c:auto val="1"/>
        <c:lblAlgn val="ctr"/>
        <c:lblOffset val="100"/>
        <c:tickLblSkip val="1"/>
        <c:tickMarkSkip val="1"/>
        <c:noMultiLvlLbl val="0"/>
      </c:catAx>
      <c:valAx>
        <c:axId val="628212136"/>
        <c:scaling>
          <c:orientation val="minMax"/>
        </c:scaling>
        <c:delete val="1"/>
        <c:axPos val="l"/>
        <c:numFmt formatCode="General" sourceLinked="1"/>
        <c:majorTickMark val="out"/>
        <c:minorTickMark val="none"/>
        <c:tickLblPos val="none"/>
        <c:crossAx val="628211744"/>
        <c:crosses val="autoZero"/>
        <c:crossBetween val="between"/>
      </c:valAx>
      <c:spPr>
        <a:noFill/>
        <a:ln w="25300">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3938903918250417E-3"/>
          <c:w val="1"/>
          <c:h val="0.86648555361003132"/>
        </c:manualLayout>
      </c:layout>
      <c:barChart>
        <c:barDir val="col"/>
        <c:grouping val="stacked"/>
        <c:varyColors val="0"/>
        <c:ser>
          <c:idx val="0"/>
          <c:order val="0"/>
          <c:tx>
            <c:strRef>
              <c:f>Sheet1!$A$2</c:f>
              <c:strCache>
                <c:ptCount val="1"/>
                <c:pt idx="0">
                  <c:v>East</c:v>
                </c:pt>
              </c:strCache>
            </c:strRef>
          </c:tx>
          <c:spPr>
            <a:noFill/>
            <a:ln w="25300">
              <a:noFill/>
            </a:ln>
          </c:spPr>
          <c:invertIfNegative val="0"/>
          <c:cat>
            <c:strRef>
              <c:f>Sheet1!$B$1:$F$1</c:f>
              <c:strCache>
                <c:ptCount val="5"/>
                <c:pt idx="0">
                  <c:v>Total 1</c:v>
                </c:pt>
                <c:pt idx="1">
                  <c:v>Label A</c:v>
                </c:pt>
                <c:pt idx="2">
                  <c:v>Label B</c:v>
                </c:pt>
                <c:pt idx="3">
                  <c:v>Label C</c:v>
                </c:pt>
                <c:pt idx="4">
                  <c:v>Total 2</c:v>
                </c:pt>
              </c:strCache>
            </c:strRef>
          </c:cat>
          <c:val>
            <c:numRef>
              <c:f>Sheet1!$B$2:$F$2</c:f>
              <c:numCache>
                <c:formatCode>General</c:formatCode>
                <c:ptCount val="5"/>
                <c:pt idx="1">
                  <c:v>5</c:v>
                </c:pt>
                <c:pt idx="3">
                  <c:v>5</c:v>
                </c:pt>
              </c:numCache>
            </c:numRef>
          </c:val>
          <c:extLst>
            <c:ext xmlns:c16="http://schemas.microsoft.com/office/drawing/2014/chart" uri="{C3380CC4-5D6E-409C-BE32-E72D297353CC}">
              <c16:uniqueId val="{00000000-D1D1-4819-B92D-303256196928}"/>
            </c:ext>
          </c:extLst>
        </c:ser>
        <c:ser>
          <c:idx val="2"/>
          <c:order val="1"/>
          <c:tx>
            <c:strRef>
              <c:f>Sheet1!$A$4</c:f>
              <c:strCache>
                <c:ptCount val="1"/>
              </c:strCache>
            </c:strRef>
          </c:tx>
          <c:spPr>
            <a:solidFill>
              <a:schemeClr val="accent1"/>
            </a:solidFill>
            <a:ln w="25300">
              <a:noFill/>
            </a:ln>
          </c:spPr>
          <c:invertIfNegative val="0"/>
          <c:dPt>
            <c:idx val="0"/>
            <c:invertIfNegative val="0"/>
            <c:bubble3D val="0"/>
            <c:spPr>
              <a:solidFill>
                <a:schemeClr val="accent5"/>
              </a:solidFill>
              <a:ln w="25300">
                <a:noFill/>
              </a:ln>
            </c:spPr>
            <c:extLst>
              <c:ext xmlns:c16="http://schemas.microsoft.com/office/drawing/2014/chart" uri="{C3380CC4-5D6E-409C-BE32-E72D297353CC}">
                <c16:uniqueId val="{00000002-D1D1-4819-B92D-303256196928}"/>
              </c:ext>
            </c:extLst>
          </c:dPt>
          <c:dPt>
            <c:idx val="4"/>
            <c:invertIfNegative val="0"/>
            <c:bubble3D val="0"/>
            <c:spPr>
              <a:solidFill>
                <a:schemeClr val="accent5"/>
              </a:solidFill>
              <a:ln w="25300">
                <a:noFill/>
              </a:ln>
            </c:spPr>
            <c:extLst>
              <c:ext xmlns:c16="http://schemas.microsoft.com/office/drawing/2014/chart" uri="{C3380CC4-5D6E-409C-BE32-E72D297353CC}">
                <c16:uniqueId val="{00000004-D1D1-4819-B92D-303256196928}"/>
              </c:ext>
            </c:extLst>
          </c:dPt>
          <c:dLbls>
            <c:spPr>
              <a:noFill/>
              <a:ln w="25300">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 1</c:v>
                </c:pt>
                <c:pt idx="1">
                  <c:v>Label A</c:v>
                </c:pt>
                <c:pt idx="2">
                  <c:v>Label B</c:v>
                </c:pt>
                <c:pt idx="3">
                  <c:v>Label C</c:v>
                </c:pt>
                <c:pt idx="4">
                  <c:v>Total 2</c:v>
                </c:pt>
              </c:strCache>
            </c:strRef>
          </c:cat>
          <c:val>
            <c:numRef>
              <c:f>Sheet1!$B$4:$F$4</c:f>
              <c:numCache>
                <c:formatCode>General</c:formatCode>
                <c:ptCount val="5"/>
                <c:pt idx="0">
                  <c:v>11</c:v>
                </c:pt>
                <c:pt idx="1">
                  <c:v>6</c:v>
                </c:pt>
                <c:pt idx="2">
                  <c:v>5</c:v>
                </c:pt>
                <c:pt idx="3">
                  <c:v>3</c:v>
                </c:pt>
                <c:pt idx="4">
                  <c:v>8</c:v>
                </c:pt>
              </c:numCache>
            </c:numRef>
          </c:val>
          <c:extLst>
            <c:ext xmlns:c16="http://schemas.microsoft.com/office/drawing/2014/chart" uri="{C3380CC4-5D6E-409C-BE32-E72D297353CC}">
              <c16:uniqueId val="{00000005-D1D1-4819-B92D-303256196928}"/>
            </c:ext>
          </c:extLst>
        </c:ser>
        <c:dLbls>
          <c:showLegendKey val="0"/>
          <c:showVal val="0"/>
          <c:showCatName val="0"/>
          <c:showSerName val="0"/>
          <c:showPercent val="0"/>
          <c:showBubbleSize val="0"/>
        </c:dLbls>
        <c:gapWidth val="90"/>
        <c:overlap val="100"/>
        <c:axId val="628212920"/>
        <c:axId val="628213312"/>
      </c:barChart>
      <c:catAx>
        <c:axId val="628212920"/>
        <c:scaling>
          <c:orientation val="minMax"/>
        </c:scaling>
        <c:delete val="0"/>
        <c:axPos val="b"/>
        <c:numFmt formatCode="General" sourceLinked="1"/>
        <c:majorTickMark val="none"/>
        <c:minorTickMark val="none"/>
        <c:tickLblPos val="nextTo"/>
        <c:spPr>
          <a:ln w="12650">
            <a:solidFill>
              <a:schemeClr val="tx2">
                <a:lumMod val="60000"/>
                <a:lumOff val="40000"/>
              </a:schemeClr>
            </a:solidFill>
            <a:prstDash val="solid"/>
          </a:ln>
        </c:spPr>
        <c:txPr>
          <a:bodyPr rot="0" vert="horz"/>
          <a:lstStyle/>
          <a:p>
            <a:pPr>
              <a:defRPr sz="1400" b="0">
                <a:solidFill>
                  <a:schemeClr val="tx2"/>
                </a:solidFill>
              </a:defRPr>
            </a:pPr>
            <a:endParaRPr lang="en-US"/>
          </a:p>
        </c:txPr>
        <c:crossAx val="628213312"/>
        <c:crosses val="autoZero"/>
        <c:auto val="1"/>
        <c:lblAlgn val="ctr"/>
        <c:lblOffset val="100"/>
        <c:tickLblSkip val="1"/>
        <c:tickMarkSkip val="1"/>
        <c:noMultiLvlLbl val="0"/>
      </c:catAx>
      <c:valAx>
        <c:axId val="628213312"/>
        <c:scaling>
          <c:orientation val="minMax"/>
        </c:scaling>
        <c:delete val="1"/>
        <c:axPos val="l"/>
        <c:numFmt formatCode="General" sourceLinked="1"/>
        <c:majorTickMark val="out"/>
        <c:minorTickMark val="none"/>
        <c:tickLblPos val="none"/>
        <c:crossAx val="628212920"/>
        <c:crosses val="autoZero"/>
        <c:crossBetween val="between"/>
      </c:valAx>
      <c:spPr>
        <a:noFill/>
        <a:ln w="25300">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086474501108681E-2"/>
          <c:y val="2.2727272727272853E-2"/>
          <c:w val="0.97782705099778433"/>
          <c:h val="0.85454545454545672"/>
        </c:manualLayout>
      </c:layout>
      <c:barChart>
        <c:barDir val="col"/>
        <c:grouping val="stacked"/>
        <c:varyColors val="0"/>
        <c:ser>
          <c:idx val="0"/>
          <c:order val="0"/>
          <c:tx>
            <c:strRef>
              <c:f>Sheet1!$A$2</c:f>
              <c:strCache>
                <c:ptCount val="1"/>
                <c:pt idx="0">
                  <c:v>East</c:v>
                </c:pt>
              </c:strCache>
            </c:strRef>
          </c:tx>
          <c:spPr>
            <a:noFill/>
            <a:ln w="25312">
              <a:noFill/>
            </a:ln>
          </c:spPr>
          <c:invertIfNegative val="0"/>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2:$I$2</c:f>
              <c:numCache>
                <c:formatCode>General</c:formatCode>
                <c:ptCount val="8"/>
                <c:pt idx="1">
                  <c:v>15</c:v>
                </c:pt>
                <c:pt idx="2">
                  <c:v>14</c:v>
                </c:pt>
                <c:pt idx="3">
                  <c:v>12</c:v>
                </c:pt>
                <c:pt idx="4">
                  <c:v>9</c:v>
                </c:pt>
                <c:pt idx="6">
                  <c:v>9</c:v>
                </c:pt>
              </c:numCache>
            </c:numRef>
          </c:val>
          <c:extLst>
            <c:ext xmlns:c16="http://schemas.microsoft.com/office/drawing/2014/chart" uri="{C3380CC4-5D6E-409C-BE32-E72D297353CC}">
              <c16:uniqueId val="{00000000-8E4D-4626-83FA-DE1478DC0548}"/>
            </c:ext>
          </c:extLst>
        </c:ser>
        <c:ser>
          <c:idx val="1"/>
          <c:order val="1"/>
          <c:tx>
            <c:strRef>
              <c:f>Sheet1!$A$3</c:f>
              <c:strCache>
                <c:ptCount val="1"/>
              </c:strCache>
            </c:strRef>
          </c:tx>
          <c:spPr>
            <a:solidFill>
              <a:schemeClr val="accent1"/>
            </a:solidFill>
            <a:ln w="25312">
              <a:noFill/>
            </a:ln>
          </c:spPr>
          <c:invertIfNegative val="0"/>
          <c:dLbls>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3:$I$3</c:f>
              <c:numCache>
                <c:formatCode>General</c:formatCode>
                <c:ptCount val="8"/>
                <c:pt idx="0">
                  <c:v>5</c:v>
                </c:pt>
              </c:numCache>
            </c:numRef>
          </c:val>
          <c:extLst>
            <c:ext xmlns:c16="http://schemas.microsoft.com/office/drawing/2014/chart" uri="{C3380CC4-5D6E-409C-BE32-E72D297353CC}">
              <c16:uniqueId val="{00000001-8E4D-4626-83FA-DE1478DC0548}"/>
            </c:ext>
          </c:extLst>
        </c:ser>
        <c:ser>
          <c:idx val="2"/>
          <c:order val="2"/>
          <c:tx>
            <c:strRef>
              <c:f>Sheet1!$A$4</c:f>
              <c:strCache>
                <c:ptCount val="1"/>
              </c:strCache>
            </c:strRef>
          </c:tx>
          <c:spPr>
            <a:solidFill>
              <a:schemeClr val="accent2"/>
            </a:solidFill>
            <a:ln w="25312">
              <a:noFill/>
            </a:ln>
          </c:spPr>
          <c:invertIfNegative val="0"/>
          <c:dLbls>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4:$I$4</c:f>
              <c:numCache>
                <c:formatCode>General</c:formatCode>
                <c:ptCount val="8"/>
                <c:pt idx="0">
                  <c:v>4</c:v>
                </c:pt>
                <c:pt idx="5">
                  <c:v>9</c:v>
                </c:pt>
              </c:numCache>
            </c:numRef>
          </c:val>
          <c:extLst>
            <c:ext xmlns:c16="http://schemas.microsoft.com/office/drawing/2014/chart" uri="{C3380CC4-5D6E-409C-BE32-E72D297353CC}">
              <c16:uniqueId val="{00000002-8E4D-4626-83FA-DE1478DC0548}"/>
            </c:ext>
          </c:extLst>
        </c:ser>
        <c:ser>
          <c:idx val="3"/>
          <c:order val="3"/>
          <c:tx>
            <c:strRef>
              <c:f>Sheet1!$A$5</c:f>
              <c:strCache>
                <c:ptCount val="1"/>
              </c:strCache>
            </c:strRef>
          </c:tx>
          <c:spPr>
            <a:solidFill>
              <a:schemeClr val="accent3"/>
            </a:solidFill>
            <a:ln w="25312">
              <a:noFill/>
            </a:ln>
          </c:spPr>
          <c:invertIfNegative val="0"/>
          <c:dPt>
            <c:idx val="7"/>
            <c:invertIfNegative val="0"/>
            <c:bubble3D val="0"/>
            <c:extLst>
              <c:ext xmlns:c16="http://schemas.microsoft.com/office/drawing/2014/chart" uri="{C3380CC4-5D6E-409C-BE32-E72D297353CC}">
                <c16:uniqueId val="{00000003-8E4D-4626-83FA-DE1478DC0548}"/>
              </c:ext>
            </c:extLst>
          </c:dPt>
          <c:dLbls>
            <c:spPr>
              <a:noFill/>
              <a:ln w="25312">
                <a:noFill/>
              </a:ln>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5:$I$5</c:f>
              <c:numCache>
                <c:formatCode>General</c:formatCode>
                <c:ptCount val="8"/>
                <c:pt idx="0">
                  <c:v>3</c:v>
                </c:pt>
                <c:pt idx="2">
                  <c:v>1</c:v>
                </c:pt>
                <c:pt idx="4">
                  <c:v>3</c:v>
                </c:pt>
                <c:pt idx="6">
                  <c:v>4</c:v>
                </c:pt>
                <c:pt idx="7">
                  <c:v>13</c:v>
                </c:pt>
              </c:numCache>
            </c:numRef>
          </c:val>
          <c:extLst>
            <c:ext xmlns:c16="http://schemas.microsoft.com/office/drawing/2014/chart" uri="{C3380CC4-5D6E-409C-BE32-E72D297353CC}">
              <c16:uniqueId val="{00000004-8E4D-4626-83FA-DE1478DC0548}"/>
            </c:ext>
          </c:extLst>
        </c:ser>
        <c:ser>
          <c:idx val="4"/>
          <c:order val="4"/>
          <c:tx>
            <c:strRef>
              <c:f>Sheet1!$A$6</c:f>
              <c:strCache>
                <c:ptCount val="1"/>
              </c:strCache>
            </c:strRef>
          </c:tx>
          <c:spPr>
            <a:solidFill>
              <a:schemeClr val="accent4"/>
            </a:solidFill>
            <a:ln w="25312">
              <a:noFill/>
            </a:ln>
          </c:spPr>
          <c:invertIfNegative val="0"/>
          <c:dLbls>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6:$I$6</c:f>
              <c:numCache>
                <c:formatCode>General</c:formatCode>
                <c:ptCount val="8"/>
                <c:pt idx="0">
                  <c:v>2</c:v>
                </c:pt>
                <c:pt idx="3">
                  <c:v>2</c:v>
                </c:pt>
              </c:numCache>
            </c:numRef>
          </c:val>
          <c:extLst>
            <c:ext xmlns:c16="http://schemas.microsoft.com/office/drawing/2014/chart" uri="{C3380CC4-5D6E-409C-BE32-E72D297353CC}">
              <c16:uniqueId val="{00000005-8E4D-4626-83FA-DE1478DC0548}"/>
            </c:ext>
          </c:extLst>
        </c:ser>
        <c:ser>
          <c:idx val="5"/>
          <c:order val="5"/>
          <c:tx>
            <c:strRef>
              <c:f>Sheet1!$A$7</c:f>
              <c:strCache>
                <c:ptCount val="1"/>
              </c:strCache>
            </c:strRef>
          </c:tx>
          <c:spPr>
            <a:solidFill>
              <a:schemeClr val="accent5"/>
            </a:solidFill>
            <a:ln w="25312">
              <a:noFill/>
            </a:ln>
          </c:spPr>
          <c:invertIfNegative val="0"/>
          <c:dLbls>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7:$I$7</c:f>
              <c:numCache>
                <c:formatCode>General</c:formatCode>
                <c:ptCount val="8"/>
                <c:pt idx="0">
                  <c:v>1</c:v>
                </c:pt>
              </c:numCache>
            </c:numRef>
          </c:val>
          <c:extLst>
            <c:ext xmlns:c16="http://schemas.microsoft.com/office/drawing/2014/chart" uri="{C3380CC4-5D6E-409C-BE32-E72D297353CC}">
              <c16:uniqueId val="{00000006-8E4D-4626-83FA-DE1478DC0548}"/>
            </c:ext>
          </c:extLst>
        </c:ser>
        <c:ser>
          <c:idx val="6"/>
          <c:order val="6"/>
          <c:tx>
            <c:strRef>
              <c:f>Sheet1!$A$8</c:f>
              <c:strCache>
                <c:ptCount val="1"/>
              </c:strCache>
            </c:strRef>
          </c:tx>
          <c:spPr>
            <a:solidFill>
              <a:schemeClr val="accent6"/>
            </a:solidFill>
            <a:ln w="25312">
              <a:noFill/>
            </a:ln>
          </c:spPr>
          <c:invertIfNegative val="0"/>
          <c:dLbls>
            <c:dLbl>
              <c:idx val="1"/>
              <c:tx>
                <c:rich>
                  <a:bodyPr/>
                  <a:lstStyle/>
                  <a:p>
                    <a:r>
                      <a:rPr lang="en-US" sz="1800" b="1" baseline="0" dirty="0"/>
                      <a:t>1</a:t>
                    </a:r>
                    <a:endParaRPr lang="en-US" sz="1800" baseline="0" dirty="0"/>
                  </a:p>
                </c:rich>
              </c:tx>
              <c:dLblPos val="ct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E4D-4626-83FA-DE1478DC0548}"/>
                </c:ext>
              </c:extLst>
            </c:dLbl>
            <c:spPr>
              <a:noFill/>
              <a:ln w="25312">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 1</c:v>
                </c:pt>
                <c:pt idx="1">
                  <c:v>Label A</c:v>
                </c:pt>
                <c:pt idx="2">
                  <c:v>Label B</c:v>
                </c:pt>
                <c:pt idx="3">
                  <c:v>Label C</c:v>
                </c:pt>
                <c:pt idx="4">
                  <c:v>Label D</c:v>
                </c:pt>
                <c:pt idx="5">
                  <c:v>Label E</c:v>
                </c:pt>
                <c:pt idx="6">
                  <c:v>Label F</c:v>
                </c:pt>
                <c:pt idx="7">
                  <c:v>Total 2</c:v>
                </c:pt>
              </c:strCache>
            </c:strRef>
          </c:cat>
          <c:val>
            <c:numRef>
              <c:f>Sheet1!$B$8:$I$8</c:f>
              <c:numCache>
                <c:formatCode>General</c:formatCode>
                <c:ptCount val="8"/>
                <c:pt idx="0">
                  <c:v>1</c:v>
                </c:pt>
                <c:pt idx="1">
                  <c:v>1</c:v>
                </c:pt>
              </c:numCache>
            </c:numRef>
          </c:val>
          <c:extLst>
            <c:ext xmlns:c16="http://schemas.microsoft.com/office/drawing/2014/chart" uri="{C3380CC4-5D6E-409C-BE32-E72D297353CC}">
              <c16:uniqueId val="{00000008-8E4D-4626-83FA-DE1478DC0548}"/>
            </c:ext>
          </c:extLst>
        </c:ser>
        <c:dLbls>
          <c:showLegendKey val="0"/>
          <c:showVal val="0"/>
          <c:showCatName val="0"/>
          <c:showSerName val="0"/>
          <c:showPercent val="0"/>
          <c:showBubbleSize val="0"/>
        </c:dLbls>
        <c:gapWidth val="50"/>
        <c:overlap val="100"/>
        <c:axId val="548707760"/>
        <c:axId val="548708152"/>
      </c:barChart>
      <c:catAx>
        <c:axId val="548707760"/>
        <c:scaling>
          <c:orientation val="minMax"/>
        </c:scaling>
        <c:delete val="0"/>
        <c:axPos val="b"/>
        <c:numFmt formatCode="General" sourceLinked="1"/>
        <c:majorTickMark val="none"/>
        <c:minorTickMark val="none"/>
        <c:tickLblPos val="nextTo"/>
        <c:spPr>
          <a:ln w="12656">
            <a:solidFill>
              <a:schemeClr val="tx2">
                <a:lumMod val="60000"/>
                <a:lumOff val="40000"/>
              </a:schemeClr>
            </a:solidFill>
            <a:prstDash val="solid"/>
          </a:ln>
        </c:spPr>
        <c:txPr>
          <a:bodyPr rot="0" vert="horz"/>
          <a:lstStyle/>
          <a:p>
            <a:pPr>
              <a:defRPr sz="1400" b="0">
                <a:solidFill>
                  <a:schemeClr val="tx2"/>
                </a:solidFill>
              </a:defRPr>
            </a:pPr>
            <a:endParaRPr lang="en-US"/>
          </a:p>
        </c:txPr>
        <c:crossAx val="548708152"/>
        <c:crosses val="autoZero"/>
        <c:auto val="1"/>
        <c:lblAlgn val="ctr"/>
        <c:lblOffset val="100"/>
        <c:tickLblSkip val="1"/>
        <c:tickMarkSkip val="1"/>
        <c:noMultiLvlLbl val="0"/>
      </c:catAx>
      <c:valAx>
        <c:axId val="548708152"/>
        <c:scaling>
          <c:orientation val="minMax"/>
        </c:scaling>
        <c:delete val="1"/>
        <c:axPos val="l"/>
        <c:numFmt formatCode="General" sourceLinked="1"/>
        <c:majorTickMark val="out"/>
        <c:minorTickMark val="none"/>
        <c:tickLblPos val="none"/>
        <c:crossAx val="548707760"/>
        <c:crosses val="autoZero"/>
        <c:crossBetween val="between"/>
      </c:valAx>
      <c:spPr>
        <a:noFill/>
        <a:ln w="25312">
          <a:noFill/>
        </a:ln>
      </c:spPr>
    </c:plotArea>
    <c:plotVisOnly val="1"/>
    <c:dispBlanksAs val="gap"/>
    <c:showDLblsOverMax val="0"/>
  </c:chart>
  <c:spPr>
    <a:noFill/>
    <a:ln>
      <a:noFill/>
    </a:ln>
  </c:spPr>
  <c:txPr>
    <a:bodyPr/>
    <a:lstStyle/>
    <a:p>
      <a:pPr>
        <a:defRPr sz="1800" b="1" i="0" u="none" strike="noStrike" baseline="0">
          <a:solidFill>
            <a:schemeClr val="bg1"/>
          </a:solidFill>
          <a:latin typeface="+mn-lt"/>
          <a:ea typeface="Arial"/>
          <a:cs typeface="Arial"/>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1765512307684796"/>
        </c:manualLayout>
      </c:layout>
      <c:barChart>
        <c:barDir val="col"/>
        <c:grouping val="clustered"/>
        <c:varyColors val="0"/>
        <c:ser>
          <c:idx val="0"/>
          <c:order val="0"/>
          <c:tx>
            <c:strRef>
              <c:f>Sheet1!$A$2</c:f>
              <c:strCache>
                <c:ptCount val="1"/>
                <c:pt idx="0">
                  <c:v>Label A</c:v>
                </c:pt>
              </c:strCache>
            </c:strRef>
          </c:tx>
          <c:spPr>
            <a:solidFill>
              <a:schemeClr val="accent1"/>
            </a:solidFill>
            <a:ln w="25309">
              <a:noFill/>
            </a:ln>
          </c:spPr>
          <c:invertIfNegative val="0"/>
          <c:dLbls>
            <c:spPr>
              <a:noFill/>
              <a:ln>
                <a:noFill/>
              </a:ln>
              <a:effectLst/>
            </c:spPr>
            <c:txPr>
              <a:bodyPr wrap="square" lIns="38100" tIns="19050" rIns="38100" bIns="19050" anchor="ctr">
                <a:spAutoFit/>
              </a:bodyPr>
              <a:lstStyle/>
              <a:p>
                <a:pPr>
                  <a:defRPr>
                    <a:solidFill>
                      <a:schemeClr val="accent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B$1</c:f>
              <c:numCache>
                <c:formatCode>General</c:formatCode>
                <c:ptCount val="1"/>
              </c:numCache>
            </c:numRef>
          </c:cat>
          <c:val>
            <c:numRef>
              <c:f>Sheet1!$B$2:$B$2</c:f>
              <c:numCache>
                <c:formatCode>General</c:formatCode>
                <c:ptCount val="1"/>
                <c:pt idx="0">
                  <c:v>5</c:v>
                </c:pt>
              </c:numCache>
            </c:numRef>
          </c:val>
          <c:extLst>
            <c:ext xmlns:c16="http://schemas.microsoft.com/office/drawing/2014/chart" uri="{C3380CC4-5D6E-409C-BE32-E72D297353CC}">
              <c16:uniqueId val="{00000000-B3B1-4684-B65F-8AB2A4D931DC}"/>
            </c:ext>
          </c:extLst>
        </c:ser>
        <c:ser>
          <c:idx val="1"/>
          <c:order val="1"/>
          <c:tx>
            <c:strRef>
              <c:f>Sheet1!$A$3</c:f>
              <c:strCache>
                <c:ptCount val="1"/>
                <c:pt idx="0">
                  <c:v>Label B</c:v>
                </c:pt>
              </c:strCache>
            </c:strRef>
          </c:tx>
          <c:spPr>
            <a:solidFill>
              <a:schemeClr val="accent1"/>
            </a:solidFill>
            <a:ln w="25309">
              <a:noFill/>
            </a:ln>
          </c:spPr>
          <c:invertIfNegative val="0"/>
          <c:dLbls>
            <c:spPr>
              <a:noFill/>
              <a:ln>
                <a:noFill/>
              </a:ln>
              <a:effectLst/>
            </c:spPr>
            <c:txPr>
              <a:bodyPr wrap="square" lIns="38100" tIns="19050" rIns="38100" bIns="19050" anchor="ctr">
                <a:spAutoFit/>
              </a:bodyPr>
              <a:lstStyle/>
              <a:p>
                <a:pPr>
                  <a:defRPr>
                    <a:solidFill>
                      <a:schemeClr val="accent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B$1</c:f>
              <c:numCache>
                <c:formatCode>General</c:formatCode>
                <c:ptCount val="1"/>
              </c:numCache>
            </c:numRef>
          </c:cat>
          <c:val>
            <c:numRef>
              <c:f>Sheet1!$B$3:$B$3</c:f>
              <c:numCache>
                <c:formatCode>General</c:formatCode>
                <c:ptCount val="1"/>
                <c:pt idx="0">
                  <c:v>4</c:v>
                </c:pt>
              </c:numCache>
            </c:numRef>
          </c:val>
          <c:extLst>
            <c:ext xmlns:c16="http://schemas.microsoft.com/office/drawing/2014/chart" uri="{C3380CC4-5D6E-409C-BE32-E72D297353CC}">
              <c16:uniqueId val="{00000001-B3B1-4684-B65F-8AB2A4D931DC}"/>
            </c:ext>
          </c:extLst>
        </c:ser>
        <c:ser>
          <c:idx val="2"/>
          <c:order val="2"/>
          <c:tx>
            <c:strRef>
              <c:f>Sheet1!$A$4</c:f>
              <c:strCache>
                <c:ptCount val="1"/>
                <c:pt idx="0">
                  <c:v>Label C</c:v>
                </c:pt>
              </c:strCache>
            </c:strRef>
          </c:tx>
          <c:spPr>
            <a:pattFill prst="dkUpDiag">
              <a:fgClr>
                <a:schemeClr val="accent3"/>
              </a:fgClr>
              <a:bgClr>
                <a:schemeClr val="bg1"/>
              </a:bgClr>
            </a:pattFill>
            <a:ln w="25309">
              <a:noFill/>
            </a:ln>
          </c:spPr>
          <c:invertIfNegative val="0"/>
          <c:dLbls>
            <c:spPr>
              <a:noFill/>
              <a:ln>
                <a:noFill/>
              </a:ln>
              <a:effectLst/>
            </c:spPr>
            <c:txPr>
              <a:bodyPr wrap="square" lIns="38100" tIns="19050" rIns="38100" bIns="19050" anchor="ctr">
                <a:spAutoFit/>
              </a:bodyPr>
              <a:lstStyle/>
              <a:p>
                <a:pPr>
                  <a:defRPr>
                    <a:solidFill>
                      <a:schemeClr val="accent3"/>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B$1</c:f>
              <c:numCache>
                <c:formatCode>General</c:formatCode>
                <c:ptCount val="1"/>
              </c:numCache>
            </c:numRef>
          </c:cat>
          <c:val>
            <c:numRef>
              <c:f>Sheet1!$B$4:$B$4</c:f>
              <c:numCache>
                <c:formatCode>General</c:formatCode>
                <c:ptCount val="1"/>
                <c:pt idx="0">
                  <c:v>-1</c:v>
                </c:pt>
              </c:numCache>
            </c:numRef>
          </c:val>
          <c:extLst>
            <c:ext xmlns:c16="http://schemas.microsoft.com/office/drawing/2014/chart" uri="{C3380CC4-5D6E-409C-BE32-E72D297353CC}">
              <c16:uniqueId val="{00000002-B3B1-4684-B65F-8AB2A4D931DC}"/>
            </c:ext>
          </c:extLst>
        </c:ser>
        <c:ser>
          <c:idx val="3"/>
          <c:order val="3"/>
          <c:tx>
            <c:strRef>
              <c:f>Sheet1!$A$5</c:f>
              <c:strCache>
                <c:ptCount val="1"/>
                <c:pt idx="0">
                  <c:v>Label D</c:v>
                </c:pt>
              </c:strCache>
            </c:strRef>
          </c:tx>
          <c:spPr>
            <a:pattFill prst="dkUpDiag">
              <a:fgClr>
                <a:schemeClr val="accent3"/>
              </a:fgClr>
              <a:bgClr>
                <a:schemeClr val="bg1"/>
              </a:bgClr>
            </a:pattFill>
            <a:ln w="25309">
              <a:noFill/>
            </a:ln>
          </c:spPr>
          <c:invertIfNegative val="0"/>
          <c:dLbls>
            <c:spPr>
              <a:noFill/>
              <a:ln>
                <a:noFill/>
              </a:ln>
              <a:effectLst/>
            </c:spPr>
            <c:txPr>
              <a:bodyPr wrap="square" lIns="38100" tIns="19050" rIns="38100" bIns="19050" anchor="ctr">
                <a:spAutoFit/>
              </a:bodyPr>
              <a:lstStyle/>
              <a:p>
                <a:pPr>
                  <a:defRPr>
                    <a:solidFill>
                      <a:schemeClr val="accent3"/>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B$1</c:f>
              <c:numCache>
                <c:formatCode>General</c:formatCode>
                <c:ptCount val="1"/>
              </c:numCache>
            </c:numRef>
          </c:cat>
          <c:val>
            <c:numRef>
              <c:f>Sheet1!$B$5:$B$5</c:f>
              <c:numCache>
                <c:formatCode>General</c:formatCode>
                <c:ptCount val="1"/>
                <c:pt idx="0">
                  <c:v>-3</c:v>
                </c:pt>
              </c:numCache>
            </c:numRef>
          </c:val>
          <c:extLst>
            <c:ext xmlns:c16="http://schemas.microsoft.com/office/drawing/2014/chart" uri="{C3380CC4-5D6E-409C-BE32-E72D297353CC}">
              <c16:uniqueId val="{00000003-B3B1-4684-B65F-8AB2A4D931DC}"/>
            </c:ext>
          </c:extLst>
        </c:ser>
        <c:dLbls>
          <c:dLblPos val="outEnd"/>
          <c:showLegendKey val="0"/>
          <c:showVal val="1"/>
          <c:showCatName val="0"/>
          <c:showSerName val="0"/>
          <c:showPercent val="0"/>
          <c:showBubbleSize val="0"/>
        </c:dLbls>
        <c:gapWidth val="279"/>
        <c:overlap val="-100"/>
        <c:axId val="548708936"/>
        <c:axId val="592971552"/>
      </c:barChart>
      <c:catAx>
        <c:axId val="548708936"/>
        <c:scaling>
          <c:orientation val="minMax"/>
        </c:scaling>
        <c:delete val="0"/>
        <c:axPos val="b"/>
        <c:numFmt formatCode="General" sourceLinked="1"/>
        <c:majorTickMark val="none"/>
        <c:minorTickMark val="none"/>
        <c:tickLblPos val="nextTo"/>
        <c:spPr>
          <a:ln w="12655">
            <a:solidFill>
              <a:schemeClr val="tx2">
                <a:lumMod val="60000"/>
                <a:lumOff val="40000"/>
              </a:schemeClr>
            </a:solidFill>
            <a:prstDash val="solid"/>
          </a:ln>
        </c:spPr>
        <c:txPr>
          <a:bodyPr rot="0" vert="horz"/>
          <a:lstStyle/>
          <a:p>
            <a:pPr>
              <a:defRPr/>
            </a:pPr>
            <a:endParaRPr lang="en-US"/>
          </a:p>
        </c:txPr>
        <c:crossAx val="592971552"/>
        <c:crosses val="autoZero"/>
        <c:auto val="1"/>
        <c:lblAlgn val="ctr"/>
        <c:lblOffset val="100"/>
        <c:tickLblSkip val="1"/>
        <c:tickMarkSkip val="1"/>
        <c:noMultiLvlLbl val="0"/>
      </c:catAx>
      <c:valAx>
        <c:axId val="592971552"/>
        <c:scaling>
          <c:orientation val="minMax"/>
        </c:scaling>
        <c:delete val="1"/>
        <c:axPos val="l"/>
        <c:numFmt formatCode="General" sourceLinked="1"/>
        <c:majorTickMark val="out"/>
        <c:minorTickMark val="none"/>
        <c:tickLblPos val="nextTo"/>
        <c:crossAx val="548708936"/>
        <c:crosses val="autoZero"/>
        <c:crossBetween val="between"/>
      </c:valAx>
      <c:spPr>
        <a:noFill/>
        <a:ln w="25309">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122510698932023E-2"/>
          <c:y val="2.3127544282538232E-2"/>
          <c:w val="0.96773171521198642"/>
          <c:h val="0.85795541740497083"/>
        </c:manualLayout>
      </c:layout>
      <c:barChart>
        <c:barDir val="col"/>
        <c:grouping val="stacked"/>
        <c:varyColors val="0"/>
        <c:ser>
          <c:idx val="0"/>
          <c:order val="0"/>
          <c:tx>
            <c:strRef>
              <c:f>Sheet1!$A$2</c:f>
              <c:strCache>
                <c:ptCount val="1"/>
                <c:pt idx="0">
                  <c:v>Space</c:v>
                </c:pt>
              </c:strCache>
            </c:strRef>
          </c:tx>
          <c:spPr>
            <a:noFill/>
            <a:ln w="25316">
              <a:noFill/>
            </a:ln>
          </c:spPr>
          <c:invertIfNegative val="0"/>
          <c:cat>
            <c:strRef>
              <c:f>Sheet1!$B$1:$E$1</c:f>
              <c:strCache>
                <c:ptCount val="4"/>
                <c:pt idx="0">
                  <c:v>Label A</c:v>
                </c:pt>
                <c:pt idx="1">
                  <c:v>Label B</c:v>
                </c:pt>
                <c:pt idx="2">
                  <c:v>Label C</c:v>
                </c:pt>
                <c:pt idx="3">
                  <c:v>Label D</c:v>
                </c:pt>
              </c:strCache>
            </c:strRef>
          </c:cat>
          <c:val>
            <c:numRef>
              <c:f>Sheet1!$B$2:$E$2</c:f>
              <c:numCache>
                <c:formatCode>General</c:formatCode>
                <c:ptCount val="4"/>
                <c:pt idx="0">
                  <c:v>10</c:v>
                </c:pt>
                <c:pt idx="1">
                  <c:v>25</c:v>
                </c:pt>
                <c:pt idx="2">
                  <c:v>40</c:v>
                </c:pt>
                <c:pt idx="3">
                  <c:v>22</c:v>
                </c:pt>
              </c:numCache>
            </c:numRef>
          </c:val>
          <c:extLst>
            <c:ext xmlns:c16="http://schemas.microsoft.com/office/drawing/2014/chart" uri="{C3380CC4-5D6E-409C-BE32-E72D297353CC}">
              <c16:uniqueId val="{00000000-76D4-45DC-AA49-730E72F56C44}"/>
            </c:ext>
          </c:extLst>
        </c:ser>
        <c:ser>
          <c:idx val="1"/>
          <c:order val="1"/>
          <c:tx>
            <c:strRef>
              <c:f>Sheet1!$A$3</c:f>
              <c:strCache>
                <c:ptCount val="1"/>
                <c:pt idx="0">
                  <c:v>Group 2</c:v>
                </c:pt>
              </c:strCache>
            </c:strRef>
          </c:tx>
          <c:spPr>
            <a:solidFill>
              <a:schemeClr val="accent1"/>
            </a:solidFill>
            <a:ln w="25316">
              <a:noFill/>
            </a:ln>
          </c:spPr>
          <c:invertIfNegative val="0"/>
          <c:dPt>
            <c:idx val="1"/>
            <c:invertIfNegative val="0"/>
            <c:bubble3D val="0"/>
            <c:spPr>
              <a:solidFill>
                <a:schemeClr val="accent2"/>
              </a:solidFill>
              <a:ln w="25316">
                <a:noFill/>
              </a:ln>
            </c:spPr>
            <c:extLst>
              <c:ext xmlns:c16="http://schemas.microsoft.com/office/drawing/2014/chart" uri="{C3380CC4-5D6E-409C-BE32-E72D297353CC}">
                <c16:uniqueId val="{00000002-76D4-45DC-AA49-730E72F56C44}"/>
              </c:ext>
            </c:extLst>
          </c:dPt>
          <c:dPt>
            <c:idx val="2"/>
            <c:invertIfNegative val="0"/>
            <c:bubble3D val="0"/>
            <c:spPr>
              <a:solidFill>
                <a:schemeClr val="accent3"/>
              </a:solidFill>
              <a:ln w="25316">
                <a:noFill/>
              </a:ln>
            </c:spPr>
            <c:extLst>
              <c:ext xmlns:c16="http://schemas.microsoft.com/office/drawing/2014/chart" uri="{C3380CC4-5D6E-409C-BE32-E72D297353CC}">
                <c16:uniqueId val="{00000004-76D4-45DC-AA49-730E72F56C44}"/>
              </c:ext>
            </c:extLst>
          </c:dPt>
          <c:dPt>
            <c:idx val="3"/>
            <c:invertIfNegative val="0"/>
            <c:bubble3D val="0"/>
            <c:spPr>
              <a:solidFill>
                <a:schemeClr val="accent5"/>
              </a:solidFill>
              <a:ln w="25316">
                <a:noFill/>
              </a:ln>
            </c:spPr>
            <c:extLst>
              <c:ext xmlns:c16="http://schemas.microsoft.com/office/drawing/2014/chart" uri="{C3380CC4-5D6E-409C-BE32-E72D297353CC}">
                <c16:uniqueId val="{00000006-76D4-45DC-AA49-730E72F56C44}"/>
              </c:ext>
            </c:extLst>
          </c:dPt>
          <c:dLbls>
            <c:numFmt formatCode="0" sourceLinked="0"/>
            <c:spPr>
              <a:noFill/>
              <a:ln w="25316">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2</c:v>
                </c:pt>
                <c:pt idx="2">
                  <c:v>34</c:v>
                </c:pt>
                <c:pt idx="3">
                  <c:v>32</c:v>
                </c:pt>
              </c:numCache>
            </c:numRef>
          </c:val>
          <c:extLst>
            <c:ext xmlns:c16="http://schemas.microsoft.com/office/drawing/2014/chart" uri="{C3380CC4-5D6E-409C-BE32-E72D297353CC}">
              <c16:uniqueId val="{00000007-76D4-45DC-AA49-730E72F56C44}"/>
            </c:ext>
          </c:extLst>
        </c:ser>
        <c:dLbls>
          <c:showLegendKey val="0"/>
          <c:showVal val="0"/>
          <c:showCatName val="0"/>
          <c:showSerName val="0"/>
          <c:showPercent val="0"/>
          <c:showBubbleSize val="0"/>
        </c:dLbls>
        <c:gapWidth val="130"/>
        <c:overlap val="100"/>
        <c:axId val="592971944"/>
        <c:axId val="592972336"/>
      </c:barChart>
      <c:catAx>
        <c:axId val="592971944"/>
        <c:scaling>
          <c:orientation val="minMax"/>
        </c:scaling>
        <c:delete val="0"/>
        <c:axPos val="b"/>
        <c:numFmt formatCode="General" sourceLinked="1"/>
        <c:majorTickMark val="none"/>
        <c:minorTickMark val="none"/>
        <c:tickLblPos val="nextTo"/>
        <c:spPr>
          <a:ln w="12700">
            <a:solidFill>
              <a:schemeClr val="tx2">
                <a:lumMod val="60000"/>
                <a:lumOff val="40000"/>
              </a:schemeClr>
            </a:solidFill>
          </a:ln>
        </c:spPr>
        <c:txPr>
          <a:bodyPr rot="0" vert="horz"/>
          <a:lstStyle/>
          <a:p>
            <a:pPr>
              <a:defRPr sz="1400" b="0">
                <a:solidFill>
                  <a:schemeClr val="tx2"/>
                </a:solidFill>
              </a:defRPr>
            </a:pPr>
            <a:endParaRPr lang="en-US"/>
          </a:p>
        </c:txPr>
        <c:crossAx val="592972336"/>
        <c:crosses val="autoZero"/>
        <c:auto val="1"/>
        <c:lblAlgn val="ctr"/>
        <c:lblOffset val="100"/>
        <c:tickLblSkip val="1"/>
        <c:tickMarkSkip val="1"/>
        <c:noMultiLvlLbl val="0"/>
      </c:catAx>
      <c:valAx>
        <c:axId val="592972336"/>
        <c:scaling>
          <c:orientation val="minMax"/>
        </c:scaling>
        <c:delete val="0"/>
        <c:axPos val="l"/>
        <c:majorGridlines>
          <c:spPr>
            <a:ln>
              <a:solidFill>
                <a:schemeClr val="tx2">
                  <a:lumMod val="20000"/>
                  <a:lumOff val="80000"/>
                </a:schemeClr>
              </a:solidFill>
            </a:ln>
          </c:spPr>
        </c:majorGridlines>
        <c:numFmt formatCode="General" sourceLinked="1"/>
        <c:majorTickMark val="out"/>
        <c:minorTickMark val="none"/>
        <c:tickLblPos val="nextTo"/>
        <c:spPr>
          <a:ln w="3164">
            <a:noFill/>
            <a:prstDash val="solid"/>
          </a:ln>
        </c:spPr>
        <c:txPr>
          <a:bodyPr rot="0" vert="horz"/>
          <a:lstStyle/>
          <a:p>
            <a:pPr>
              <a:defRPr sz="1400" b="0" i="0">
                <a:solidFill>
                  <a:schemeClr val="tx2"/>
                </a:solidFill>
              </a:defRPr>
            </a:pPr>
            <a:endParaRPr lang="en-US"/>
          </a:p>
        </c:txPr>
        <c:crossAx val="592971944"/>
        <c:crosses val="autoZero"/>
        <c:crossBetween val="between"/>
      </c:valAx>
      <c:spPr>
        <a:noFill/>
        <a:ln w="25316">
          <a:noFill/>
        </a:ln>
      </c:spPr>
    </c:plotArea>
    <c:plotVisOnly val="1"/>
    <c:dispBlanksAs val="gap"/>
    <c:showDLblsOverMax val="0"/>
  </c:chart>
  <c:spPr>
    <a:noFill/>
    <a:ln>
      <a:noFill/>
    </a:ln>
  </c:spPr>
  <c:txPr>
    <a:bodyPr/>
    <a:lstStyle/>
    <a:p>
      <a:pPr>
        <a:defRPr sz="1800" b="1" i="0" u="none" strike="noStrike" baseline="0">
          <a:solidFill>
            <a:schemeClr val="bg1"/>
          </a:solidFill>
          <a:latin typeface="+mn-lt"/>
          <a:ea typeface="Arial"/>
          <a:cs typeface="Arial"/>
        </a:defRPr>
      </a:pPr>
      <a:endParaRPr lang="en-US"/>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3389759225669478E-3"/>
          <c:w val="1"/>
          <c:h val="0.80180835161580066"/>
        </c:manualLayout>
      </c:layout>
      <c:barChart>
        <c:barDir val="col"/>
        <c:grouping val="clustered"/>
        <c:varyColors val="0"/>
        <c:ser>
          <c:idx val="0"/>
          <c:order val="0"/>
          <c:tx>
            <c:strRef>
              <c:f>Sheet1!$A$2</c:f>
              <c:strCache>
                <c:ptCount val="1"/>
                <c:pt idx="0">
                  <c:v>Group 1</c:v>
                </c:pt>
              </c:strCache>
            </c:strRef>
          </c:tx>
          <c:spPr>
            <a:solidFill>
              <a:schemeClr val="accent1"/>
            </a:solidFill>
            <a:ln w="25314">
              <a:noFill/>
            </a:ln>
          </c:spPr>
          <c:invertIfNegative val="0"/>
          <c:dLbls>
            <c:spPr>
              <a:noFill/>
              <a:ln w="25314">
                <a:noFill/>
              </a:ln>
            </c:spPr>
            <c:txPr>
              <a:bodyPr/>
              <a:lstStyle/>
              <a:p>
                <a:pPr>
                  <a:defRPr>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0-ABFB-49D5-8090-DA8F5292799D}"/>
            </c:ext>
          </c:extLst>
        </c:ser>
        <c:ser>
          <c:idx val="1"/>
          <c:order val="1"/>
          <c:tx>
            <c:strRef>
              <c:f>Sheet1!$A$3</c:f>
              <c:strCache>
                <c:ptCount val="1"/>
                <c:pt idx="0">
                  <c:v>Group 2</c:v>
                </c:pt>
              </c:strCache>
            </c:strRef>
          </c:tx>
          <c:spPr>
            <a:solidFill>
              <a:srgbClr val="DCAFFF"/>
            </a:solidFill>
            <a:ln w="25314">
              <a:noFill/>
            </a:ln>
          </c:spPr>
          <c:invertIfNegative val="0"/>
          <c:dLbls>
            <c:spPr>
              <a:noFill/>
              <a:ln w="25314">
                <a:noFill/>
              </a:ln>
            </c:spPr>
            <c:txPr>
              <a:bodyPr/>
              <a:lstStyle/>
              <a:p>
                <a:pPr>
                  <a:defRPr>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9</c:v>
                </c:pt>
                <c:pt idx="2">
                  <c:v>35</c:v>
                </c:pt>
                <c:pt idx="3">
                  <c:v>32</c:v>
                </c:pt>
              </c:numCache>
            </c:numRef>
          </c:val>
          <c:extLst>
            <c:ext xmlns:c16="http://schemas.microsoft.com/office/drawing/2014/chart" uri="{C3380CC4-5D6E-409C-BE32-E72D297353CC}">
              <c16:uniqueId val="{00000001-ABFB-49D5-8090-DA8F5292799D}"/>
            </c:ext>
          </c:extLst>
        </c:ser>
        <c:dLbls>
          <c:showLegendKey val="0"/>
          <c:showVal val="1"/>
          <c:showCatName val="0"/>
          <c:showSerName val="0"/>
          <c:showPercent val="0"/>
          <c:showBubbleSize val="0"/>
        </c:dLbls>
        <c:gapWidth val="300"/>
        <c:axId val="592973120"/>
        <c:axId val="592973512"/>
      </c:barChart>
      <c:catAx>
        <c:axId val="592973120"/>
        <c:scaling>
          <c:orientation val="minMax"/>
        </c:scaling>
        <c:delete val="0"/>
        <c:axPos val="b"/>
        <c:numFmt formatCode="General" sourceLinked="1"/>
        <c:majorTickMark val="none"/>
        <c:minorTickMark val="none"/>
        <c:tickLblPos val="nextTo"/>
        <c:spPr>
          <a:ln w="12657">
            <a:solidFill>
              <a:schemeClr val="tx2">
                <a:lumMod val="60000"/>
                <a:lumOff val="40000"/>
              </a:schemeClr>
            </a:solidFill>
            <a:prstDash val="solid"/>
          </a:ln>
        </c:spPr>
        <c:txPr>
          <a:bodyPr rot="0" vert="horz"/>
          <a:lstStyle/>
          <a:p>
            <a:pPr>
              <a:defRPr sz="1400" b="0">
                <a:solidFill>
                  <a:schemeClr val="tx2"/>
                </a:solidFill>
              </a:defRPr>
            </a:pPr>
            <a:endParaRPr lang="en-US"/>
          </a:p>
        </c:txPr>
        <c:crossAx val="592973512"/>
        <c:crosses val="autoZero"/>
        <c:auto val="1"/>
        <c:lblAlgn val="ctr"/>
        <c:lblOffset val="100"/>
        <c:tickLblSkip val="1"/>
        <c:tickMarkSkip val="1"/>
        <c:noMultiLvlLbl val="0"/>
      </c:catAx>
      <c:valAx>
        <c:axId val="592973512"/>
        <c:scaling>
          <c:orientation val="minMax"/>
        </c:scaling>
        <c:delete val="1"/>
        <c:axPos val="l"/>
        <c:numFmt formatCode="General" sourceLinked="1"/>
        <c:majorTickMark val="out"/>
        <c:minorTickMark val="none"/>
        <c:tickLblPos val="none"/>
        <c:crossAx val="592973120"/>
        <c:crosses val="autoZero"/>
        <c:crossBetween val="between"/>
      </c:valAx>
      <c:spPr>
        <a:noFill/>
        <a:ln w="25314">
          <a:noFill/>
        </a:ln>
      </c:spPr>
    </c:plotArea>
    <c:legend>
      <c:legendPos val="b"/>
      <c:layout>
        <c:manualLayout>
          <c:xMode val="edge"/>
          <c:yMode val="edge"/>
          <c:x val="0.39340659340659434"/>
          <c:y val="0.93087557603686799"/>
          <c:w val="0.21208791208791244"/>
          <c:h val="6.4516129032258132E-2"/>
        </c:manualLayout>
      </c:layout>
      <c:overlay val="0"/>
      <c:spPr>
        <a:solidFill>
          <a:schemeClr val="bg1"/>
        </a:solidFill>
        <a:ln w="25314">
          <a:noFill/>
        </a:ln>
      </c:spPr>
      <c:txPr>
        <a:bodyPr/>
        <a:lstStyle/>
        <a:p>
          <a:pPr>
            <a:defRPr sz="1400" b="0">
              <a:solidFill>
                <a:schemeClr val="tx2"/>
              </a:solidFill>
            </a:defRPr>
          </a:pPr>
          <a:endParaRPr lang="en-US"/>
        </a:p>
      </c:txPr>
    </c:legend>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3389759225669478E-3"/>
          <c:w val="1"/>
          <c:h val="0.80180835161580066"/>
        </c:manualLayout>
      </c:layout>
      <c:barChart>
        <c:barDir val="col"/>
        <c:grouping val="clustered"/>
        <c:varyColors val="0"/>
        <c:ser>
          <c:idx val="0"/>
          <c:order val="0"/>
          <c:tx>
            <c:strRef>
              <c:f>Sheet1!$A$2</c:f>
              <c:strCache>
                <c:ptCount val="1"/>
                <c:pt idx="0">
                  <c:v>Group 1</c:v>
                </c:pt>
              </c:strCache>
            </c:strRef>
          </c:tx>
          <c:spPr>
            <a:pattFill prst="dkUpDiag">
              <a:fgClr>
                <a:schemeClr val="accent1"/>
              </a:fgClr>
              <a:bgClr>
                <a:schemeClr val="bg1"/>
              </a:bgClr>
            </a:pattFill>
            <a:ln w="25314">
              <a:noFill/>
            </a:ln>
          </c:spPr>
          <c:invertIfNegative val="0"/>
          <c:dLbls>
            <c:spPr>
              <a:noFill/>
              <a:ln w="25314">
                <a:noFill/>
              </a:ln>
            </c:spPr>
            <c:txPr>
              <a:bodyPr/>
              <a:lstStyle/>
              <a:p>
                <a:pPr>
                  <a:defRPr>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0-0866-4AB5-9FC1-8844F94D22C9}"/>
            </c:ext>
          </c:extLst>
        </c:ser>
        <c:ser>
          <c:idx val="1"/>
          <c:order val="1"/>
          <c:tx>
            <c:strRef>
              <c:f>Sheet1!$A$3</c:f>
              <c:strCache>
                <c:ptCount val="1"/>
                <c:pt idx="0">
                  <c:v>Group 2</c:v>
                </c:pt>
              </c:strCache>
            </c:strRef>
          </c:tx>
          <c:spPr>
            <a:solidFill>
              <a:schemeClr val="accent1"/>
            </a:solidFill>
            <a:ln w="25314">
              <a:noFill/>
            </a:ln>
          </c:spPr>
          <c:invertIfNegative val="0"/>
          <c:dLbls>
            <c:spPr>
              <a:noFill/>
              <a:ln w="25314">
                <a:noFill/>
              </a:ln>
            </c:spPr>
            <c:txPr>
              <a:bodyPr/>
              <a:lstStyle/>
              <a:p>
                <a:pPr>
                  <a:defRPr>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9</c:v>
                </c:pt>
                <c:pt idx="2">
                  <c:v>35</c:v>
                </c:pt>
                <c:pt idx="3">
                  <c:v>32</c:v>
                </c:pt>
              </c:numCache>
            </c:numRef>
          </c:val>
          <c:extLst>
            <c:ext xmlns:c16="http://schemas.microsoft.com/office/drawing/2014/chart" uri="{C3380CC4-5D6E-409C-BE32-E72D297353CC}">
              <c16:uniqueId val="{00000001-0866-4AB5-9FC1-8844F94D22C9}"/>
            </c:ext>
          </c:extLst>
        </c:ser>
        <c:dLbls>
          <c:showLegendKey val="0"/>
          <c:showVal val="1"/>
          <c:showCatName val="0"/>
          <c:showSerName val="0"/>
          <c:showPercent val="0"/>
          <c:showBubbleSize val="0"/>
        </c:dLbls>
        <c:gapWidth val="300"/>
        <c:overlap val="21"/>
        <c:axId val="592973120"/>
        <c:axId val="592973512"/>
      </c:barChart>
      <c:catAx>
        <c:axId val="592973120"/>
        <c:scaling>
          <c:orientation val="minMax"/>
        </c:scaling>
        <c:delete val="0"/>
        <c:axPos val="b"/>
        <c:numFmt formatCode="General" sourceLinked="1"/>
        <c:majorTickMark val="none"/>
        <c:minorTickMark val="none"/>
        <c:tickLblPos val="nextTo"/>
        <c:spPr>
          <a:ln w="12657">
            <a:solidFill>
              <a:schemeClr val="tx2">
                <a:lumMod val="60000"/>
                <a:lumOff val="40000"/>
              </a:schemeClr>
            </a:solidFill>
            <a:prstDash val="solid"/>
          </a:ln>
        </c:spPr>
        <c:txPr>
          <a:bodyPr rot="0" vert="horz"/>
          <a:lstStyle/>
          <a:p>
            <a:pPr>
              <a:defRPr sz="1400" b="0">
                <a:solidFill>
                  <a:schemeClr val="tx2"/>
                </a:solidFill>
              </a:defRPr>
            </a:pPr>
            <a:endParaRPr lang="en-US"/>
          </a:p>
        </c:txPr>
        <c:crossAx val="592973512"/>
        <c:crosses val="autoZero"/>
        <c:auto val="1"/>
        <c:lblAlgn val="ctr"/>
        <c:lblOffset val="100"/>
        <c:tickLblSkip val="1"/>
        <c:tickMarkSkip val="1"/>
        <c:noMultiLvlLbl val="0"/>
      </c:catAx>
      <c:valAx>
        <c:axId val="592973512"/>
        <c:scaling>
          <c:orientation val="minMax"/>
        </c:scaling>
        <c:delete val="1"/>
        <c:axPos val="l"/>
        <c:numFmt formatCode="General" sourceLinked="1"/>
        <c:majorTickMark val="out"/>
        <c:minorTickMark val="none"/>
        <c:tickLblPos val="none"/>
        <c:crossAx val="592973120"/>
        <c:crosses val="autoZero"/>
        <c:crossBetween val="between"/>
      </c:valAx>
      <c:spPr>
        <a:noFill/>
        <a:ln w="25314">
          <a:noFill/>
        </a:ln>
      </c:spPr>
    </c:plotArea>
    <c:legend>
      <c:legendPos val="b"/>
      <c:layout>
        <c:manualLayout>
          <c:xMode val="edge"/>
          <c:yMode val="edge"/>
          <c:x val="0.39340659340659434"/>
          <c:y val="0.93087557603686799"/>
          <c:w val="0.21208791208791244"/>
          <c:h val="6.4516129032258132E-2"/>
        </c:manualLayout>
      </c:layout>
      <c:overlay val="0"/>
      <c:spPr>
        <a:solidFill>
          <a:schemeClr val="bg1"/>
        </a:solidFill>
        <a:ln w="25314">
          <a:noFill/>
        </a:ln>
      </c:spPr>
      <c:txPr>
        <a:bodyPr/>
        <a:lstStyle/>
        <a:p>
          <a:pPr>
            <a:defRPr sz="1400" b="0">
              <a:solidFill>
                <a:schemeClr val="tx2"/>
              </a:solidFill>
            </a:defRPr>
          </a:pPr>
          <a:endParaRPr lang="en-US"/>
        </a:p>
      </c:txPr>
    </c:legend>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22631835636326"/>
          <c:y val="2.4752475247524754E-2"/>
          <c:w val="0.89077368164363668"/>
          <c:h val="0.84158415841584155"/>
        </c:manualLayout>
      </c:layout>
      <c:barChart>
        <c:barDir val="col"/>
        <c:grouping val="stacked"/>
        <c:varyColors val="0"/>
        <c:ser>
          <c:idx val="3"/>
          <c:order val="0"/>
          <c:tx>
            <c:strRef>
              <c:f>Sheet1!$A$2</c:f>
              <c:strCache>
                <c:ptCount val="1"/>
                <c:pt idx="0">
                  <c:v>Group 1</c:v>
                </c:pt>
              </c:strCache>
            </c:strRef>
          </c:tx>
          <c:spPr>
            <a:solidFill>
              <a:schemeClr val="accent1"/>
            </a:solidFill>
            <a:ln w="25298">
              <a:noFill/>
            </a:ln>
          </c:spPr>
          <c:invertIfNegative val="0"/>
          <c:dLbls>
            <c:spPr>
              <a:noFill/>
              <a:ln w="25298">
                <a:noFill/>
              </a:ln>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0-6E52-4EDA-B5A6-4FC5CA96DD09}"/>
            </c:ext>
          </c:extLst>
        </c:ser>
        <c:ser>
          <c:idx val="0"/>
          <c:order val="1"/>
          <c:tx>
            <c:strRef>
              <c:f>Sheet1!$A$3</c:f>
              <c:strCache>
                <c:ptCount val="1"/>
                <c:pt idx="0">
                  <c:v>Group 2</c:v>
                </c:pt>
              </c:strCache>
            </c:strRef>
          </c:tx>
          <c:spPr>
            <a:solidFill>
              <a:schemeClr val="accent5"/>
            </a:solidFill>
            <a:ln w="25298">
              <a:noFill/>
            </a:ln>
          </c:spPr>
          <c:invertIfNegative val="0"/>
          <c:dLbls>
            <c:spPr>
              <a:noFill/>
              <a:ln w="25298">
                <a:noFill/>
              </a:ln>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9</c:v>
                </c:pt>
                <c:pt idx="2">
                  <c:v>35</c:v>
                </c:pt>
                <c:pt idx="3">
                  <c:v>20</c:v>
                </c:pt>
              </c:numCache>
            </c:numRef>
          </c:val>
          <c:extLst>
            <c:ext xmlns:c16="http://schemas.microsoft.com/office/drawing/2014/chart" uri="{C3380CC4-5D6E-409C-BE32-E72D297353CC}">
              <c16:uniqueId val="{00000001-6E52-4EDA-B5A6-4FC5CA96DD09}"/>
            </c:ext>
          </c:extLst>
        </c:ser>
        <c:ser>
          <c:idx val="1"/>
          <c:order val="2"/>
          <c:tx>
            <c:strRef>
              <c:f>Sheet1!$A$4</c:f>
              <c:strCache>
                <c:ptCount val="1"/>
              </c:strCache>
            </c:strRef>
          </c:tx>
          <c:spPr>
            <a:noFill/>
            <a:ln w="25298">
              <a:noFill/>
            </a:ln>
          </c:spPr>
          <c:invertIfNegative val="0"/>
          <c:dLbls>
            <c:dLbl>
              <c:idx val="0"/>
              <c:layout>
                <c:manualLayout>
                  <c:x val="-3.1662092881448012E-5"/>
                  <c:y val="3.58423555708299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E52-4EDA-B5A6-4FC5CA96DD09}"/>
                </c:ext>
              </c:extLst>
            </c:dLbl>
            <c:dLbl>
              <c:idx val="1"/>
              <c:layout>
                <c:manualLayout>
                  <c:x val="5.79521196754939E-4"/>
                  <c:y val="7.606504292336566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E52-4EDA-B5A6-4FC5CA96DD09}"/>
                </c:ext>
              </c:extLst>
            </c:dLbl>
            <c:dLbl>
              <c:idx val="2"/>
              <c:layout>
                <c:manualLayout>
                  <c:x val="-2.3199514560227831E-3"/>
                  <c:y val="0.200941133228785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E52-4EDA-B5A6-4FC5CA96DD09}"/>
                </c:ext>
              </c:extLst>
            </c:dLbl>
            <c:dLbl>
              <c:idx val="3"/>
              <c:layout>
                <c:manualLayout>
                  <c:x val="6.6919906344078094E-3"/>
                  <c:y val="5.84906893861909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E52-4EDA-B5A6-4FC5CA96DD09}"/>
                </c:ext>
              </c:extLst>
            </c:dLbl>
            <c:spPr>
              <a:noFill/>
              <a:ln w="25298">
                <a:noFill/>
              </a:ln>
            </c:spPr>
            <c:txPr>
              <a:bodyPr/>
              <a:lstStyle/>
              <a:p>
                <a:pPr>
                  <a:defRPr b="1">
                    <a:solidFill>
                      <a:schemeClr val="accent3"/>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51</c:v>
                </c:pt>
                <c:pt idx="1">
                  <c:v>66</c:v>
                </c:pt>
                <c:pt idx="2">
                  <c:v>125</c:v>
                </c:pt>
                <c:pt idx="3">
                  <c:v>52</c:v>
                </c:pt>
              </c:numCache>
            </c:numRef>
          </c:val>
          <c:extLst>
            <c:ext xmlns:c16="http://schemas.microsoft.com/office/drawing/2014/chart" uri="{C3380CC4-5D6E-409C-BE32-E72D297353CC}">
              <c16:uniqueId val="{00000006-6E52-4EDA-B5A6-4FC5CA96DD09}"/>
            </c:ext>
          </c:extLst>
        </c:ser>
        <c:dLbls>
          <c:showLegendKey val="0"/>
          <c:showVal val="1"/>
          <c:showCatName val="0"/>
          <c:showSerName val="0"/>
          <c:showPercent val="0"/>
          <c:showBubbleSize val="0"/>
        </c:dLbls>
        <c:gapWidth val="250"/>
        <c:overlap val="100"/>
        <c:axId val="593002272"/>
        <c:axId val="593002664"/>
      </c:barChart>
      <c:catAx>
        <c:axId val="593002272"/>
        <c:scaling>
          <c:orientation val="minMax"/>
        </c:scaling>
        <c:delete val="0"/>
        <c:axPos val="b"/>
        <c:numFmt formatCode="General" sourceLinked="1"/>
        <c:majorTickMark val="none"/>
        <c:minorTickMark val="none"/>
        <c:tickLblPos val="nextTo"/>
        <c:spPr>
          <a:ln w="12649">
            <a:solidFill>
              <a:schemeClr val="tx2">
                <a:lumMod val="60000"/>
                <a:lumOff val="40000"/>
              </a:schemeClr>
            </a:solidFill>
            <a:prstDash val="solid"/>
          </a:ln>
        </c:spPr>
        <c:txPr>
          <a:bodyPr rot="0" vert="horz"/>
          <a:lstStyle/>
          <a:p>
            <a:pPr>
              <a:defRPr sz="1400">
                <a:solidFill>
                  <a:schemeClr val="tx2"/>
                </a:solidFill>
              </a:defRPr>
            </a:pPr>
            <a:endParaRPr lang="en-US"/>
          </a:p>
        </c:txPr>
        <c:crossAx val="593002664"/>
        <c:crosses val="autoZero"/>
        <c:auto val="1"/>
        <c:lblAlgn val="ctr"/>
        <c:lblOffset val="100"/>
        <c:tickLblSkip val="1"/>
        <c:tickMarkSkip val="1"/>
        <c:noMultiLvlLbl val="0"/>
      </c:catAx>
      <c:valAx>
        <c:axId val="593002664"/>
        <c:scaling>
          <c:orientation val="minMax"/>
          <c:max val="200"/>
        </c:scaling>
        <c:delete val="1"/>
        <c:axPos val="l"/>
        <c:numFmt formatCode="General" sourceLinked="1"/>
        <c:majorTickMark val="out"/>
        <c:minorTickMark val="none"/>
        <c:tickLblPos val="none"/>
        <c:crossAx val="593002272"/>
        <c:crosses val="autoZero"/>
        <c:crossBetween val="between"/>
      </c:valAx>
      <c:spPr>
        <a:noFill/>
        <a:ln w="25298">
          <a:noFill/>
        </a:ln>
      </c:spPr>
    </c:plotArea>
    <c:plotVisOnly val="1"/>
    <c:dispBlanksAs val="gap"/>
    <c:showDLblsOverMax val="0"/>
  </c:chart>
  <c:spPr>
    <a:noFill/>
    <a:ln>
      <a:noFill/>
    </a:ln>
  </c:spPr>
  <c:txPr>
    <a:bodyPr/>
    <a:lstStyle/>
    <a:p>
      <a:pPr>
        <a:defRPr sz="1800" b="0" i="0" u="none" strike="noStrike" baseline="0">
          <a:solidFill>
            <a:schemeClr val="tx1"/>
          </a:solidFill>
          <a:latin typeface="+mn-lt"/>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492891905993615E-2"/>
          <c:y val="2.7989821882951682E-2"/>
          <c:w val="0.91277010557414751"/>
          <c:h val="0.83715012722646309"/>
        </c:manualLayout>
      </c:layout>
      <c:barChart>
        <c:barDir val="bar"/>
        <c:grouping val="stacked"/>
        <c:varyColors val="0"/>
        <c:ser>
          <c:idx val="0"/>
          <c:order val="0"/>
          <c:tx>
            <c:strRef>
              <c:f>Sheet1!$A$2</c:f>
              <c:strCache>
                <c:ptCount val="1"/>
              </c:strCache>
            </c:strRef>
          </c:tx>
          <c:spPr>
            <a:pattFill prst="dkUpDiag">
              <a:fgClr>
                <a:schemeClr val="accent1"/>
              </a:fgClr>
              <a:bgClr>
                <a:schemeClr val="bg1"/>
              </a:bgClr>
            </a:pattFill>
            <a:ln w="12690">
              <a:noFill/>
              <a:prstDash val="solid"/>
            </a:ln>
          </c:spPr>
          <c:invertIfNegative val="0"/>
          <c:cat>
            <c:strRef>
              <c:f>Sheet1!$B$1:$E$1</c:f>
              <c:strCache>
                <c:ptCount val="4"/>
                <c:pt idx="0">
                  <c:v>Label A</c:v>
                </c:pt>
                <c:pt idx="1">
                  <c:v>Label B</c:v>
                </c:pt>
                <c:pt idx="2">
                  <c:v>Label C</c:v>
                </c:pt>
                <c:pt idx="3">
                  <c:v>Label D</c:v>
                </c:pt>
              </c:strCache>
            </c:strRef>
          </c:cat>
          <c:val>
            <c:numRef>
              <c:f>Sheet1!$B$2:$E$2</c:f>
              <c:numCache>
                <c:formatCode>General</c:formatCode>
                <c:ptCount val="4"/>
                <c:pt idx="0">
                  <c:v>11</c:v>
                </c:pt>
                <c:pt idx="1">
                  <c:v>25</c:v>
                </c:pt>
                <c:pt idx="2">
                  <c:v>40</c:v>
                </c:pt>
                <c:pt idx="3">
                  <c:v>22</c:v>
                </c:pt>
              </c:numCache>
            </c:numRef>
          </c:val>
          <c:extLst>
            <c:ext xmlns:c16="http://schemas.microsoft.com/office/drawing/2014/chart" uri="{C3380CC4-5D6E-409C-BE32-E72D297353CC}">
              <c16:uniqueId val="{00000000-DBF1-4243-AAB2-54DCA8883349}"/>
            </c:ext>
          </c:extLst>
        </c:ser>
        <c:ser>
          <c:idx val="2"/>
          <c:order val="1"/>
          <c:tx>
            <c:strRef>
              <c:f>Sheet1!$A$4</c:f>
              <c:strCache>
                <c:ptCount val="1"/>
                <c:pt idx="0">
                  <c:v>North</c:v>
                </c:pt>
              </c:strCache>
            </c:strRef>
          </c:tx>
          <c:spPr>
            <a:solidFill>
              <a:srgbClr val="A100FF"/>
            </a:solidFill>
            <a:ln w="25380">
              <a:noFill/>
            </a:ln>
          </c:spPr>
          <c:invertIfNegative val="0"/>
          <c:dPt>
            <c:idx val="0"/>
            <c:invertIfNegative val="0"/>
            <c:bubble3D val="0"/>
            <c:extLst>
              <c:ext xmlns:c16="http://schemas.microsoft.com/office/drawing/2014/chart" uri="{C3380CC4-5D6E-409C-BE32-E72D297353CC}">
                <c16:uniqueId val="{00000001-DBF1-4243-AAB2-54DCA8883349}"/>
              </c:ext>
            </c:extLst>
          </c:dPt>
          <c:dPt>
            <c:idx val="1"/>
            <c:invertIfNegative val="0"/>
            <c:bubble3D val="0"/>
            <c:extLst>
              <c:ext xmlns:c16="http://schemas.microsoft.com/office/drawing/2014/chart" uri="{C3380CC4-5D6E-409C-BE32-E72D297353CC}">
                <c16:uniqueId val="{00000002-DBF1-4243-AAB2-54DCA8883349}"/>
              </c:ext>
            </c:extLst>
          </c:dPt>
          <c:dPt>
            <c:idx val="2"/>
            <c:invertIfNegative val="0"/>
            <c:bubble3D val="0"/>
            <c:extLst>
              <c:ext xmlns:c16="http://schemas.microsoft.com/office/drawing/2014/chart" uri="{C3380CC4-5D6E-409C-BE32-E72D297353CC}">
                <c16:uniqueId val="{00000003-DBF1-4243-AAB2-54DCA8883349}"/>
              </c:ext>
            </c:extLst>
          </c:dPt>
          <c:dPt>
            <c:idx val="3"/>
            <c:invertIfNegative val="0"/>
            <c:bubble3D val="0"/>
            <c:extLst>
              <c:ext xmlns:c16="http://schemas.microsoft.com/office/drawing/2014/chart" uri="{C3380CC4-5D6E-409C-BE32-E72D297353CC}">
                <c16:uniqueId val="{00000004-DBF1-4243-AAB2-54DCA8883349}"/>
              </c:ext>
            </c:extLst>
          </c:dPt>
          <c:dLbls>
            <c:spPr>
              <a:noFill/>
              <a:ln w="25380">
                <a:noFill/>
              </a:ln>
            </c:spPr>
            <c:txPr>
              <a:bodyPr/>
              <a:lstStyle/>
              <a:p>
                <a:pPr>
                  <a:defRPr sz="18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31</c:v>
                </c:pt>
                <c:pt idx="1">
                  <c:v>32</c:v>
                </c:pt>
                <c:pt idx="2">
                  <c:v>34</c:v>
                </c:pt>
                <c:pt idx="3">
                  <c:v>32</c:v>
                </c:pt>
              </c:numCache>
            </c:numRef>
          </c:val>
          <c:extLst>
            <c:ext xmlns:c16="http://schemas.microsoft.com/office/drawing/2014/chart" uri="{C3380CC4-5D6E-409C-BE32-E72D297353CC}">
              <c16:uniqueId val="{00000005-DBF1-4243-AAB2-54DCA8883349}"/>
            </c:ext>
          </c:extLst>
        </c:ser>
        <c:dLbls>
          <c:showLegendKey val="0"/>
          <c:showVal val="0"/>
          <c:showCatName val="0"/>
          <c:showSerName val="0"/>
          <c:showPercent val="0"/>
          <c:showBubbleSize val="0"/>
        </c:dLbls>
        <c:gapWidth val="110"/>
        <c:overlap val="100"/>
        <c:axId val="542584344"/>
        <c:axId val="309145144"/>
      </c:barChart>
      <c:catAx>
        <c:axId val="542584344"/>
        <c:scaling>
          <c:orientation val="minMax"/>
        </c:scaling>
        <c:delete val="0"/>
        <c:axPos val="l"/>
        <c:numFmt formatCode="General" sourceLinked="1"/>
        <c:majorTickMark val="none"/>
        <c:minorTickMark val="none"/>
        <c:tickLblPos val="nextTo"/>
        <c:spPr>
          <a:ln w="9517">
            <a:noFill/>
          </a:ln>
        </c:spPr>
        <c:txPr>
          <a:bodyPr rot="0" vert="horz"/>
          <a:lstStyle/>
          <a:p>
            <a:pPr>
              <a:defRPr sz="1400">
                <a:solidFill>
                  <a:schemeClr val="tx2"/>
                </a:solidFill>
                <a:latin typeface="Graphik" panose="020B0503030202060203" pitchFamily="34" charset="0"/>
              </a:defRPr>
            </a:pPr>
            <a:endParaRPr lang="en-US"/>
          </a:p>
        </c:txPr>
        <c:crossAx val="309145144"/>
        <c:crossesAt val="0"/>
        <c:auto val="1"/>
        <c:lblAlgn val="ctr"/>
        <c:lblOffset val="100"/>
        <c:tickLblSkip val="1"/>
        <c:tickMarkSkip val="1"/>
        <c:noMultiLvlLbl val="0"/>
      </c:catAx>
      <c:valAx>
        <c:axId val="309145144"/>
        <c:scaling>
          <c:orientation val="minMax"/>
          <c:max val="80"/>
          <c:min val="0"/>
        </c:scaling>
        <c:delete val="0"/>
        <c:axPos val="b"/>
        <c:numFmt formatCode="General" sourceLinked="1"/>
        <c:majorTickMark val="out"/>
        <c:minorTickMark val="none"/>
        <c:tickLblPos val="nextTo"/>
        <c:spPr>
          <a:ln w="12690">
            <a:solidFill>
              <a:schemeClr val="tx2">
                <a:lumMod val="60000"/>
                <a:lumOff val="40000"/>
              </a:schemeClr>
            </a:solidFill>
            <a:prstDash val="solid"/>
          </a:ln>
        </c:spPr>
        <c:txPr>
          <a:bodyPr rot="0" vert="horz"/>
          <a:lstStyle/>
          <a:p>
            <a:pPr>
              <a:defRPr sz="1200">
                <a:solidFill>
                  <a:schemeClr val="tx2"/>
                </a:solidFill>
              </a:defRPr>
            </a:pPr>
            <a:endParaRPr lang="en-US"/>
          </a:p>
        </c:txPr>
        <c:crossAx val="542584344"/>
        <c:crosses val="autoZero"/>
        <c:crossBetween val="between"/>
        <c:majorUnit val="10"/>
        <c:minorUnit val="5"/>
      </c:valAx>
      <c:spPr>
        <a:noFill/>
        <a:ln w="25380">
          <a:noFill/>
        </a:ln>
      </c:spPr>
    </c:plotArea>
    <c:plotVisOnly val="1"/>
    <c:dispBlanksAs val="gap"/>
    <c:showDLblsOverMax val="0"/>
  </c:chart>
  <c:spPr>
    <a:noFill/>
    <a:ln>
      <a:noFill/>
    </a:ln>
  </c:spPr>
  <c:txPr>
    <a:bodyPr/>
    <a:lstStyle/>
    <a:p>
      <a:pPr>
        <a:defRPr sz="1649" b="0" i="0" u="none" strike="noStrike" baseline="0">
          <a:solidFill>
            <a:schemeClr val="bg2"/>
          </a:solidFill>
          <a:latin typeface="+mn-lt"/>
          <a:ea typeface="Arial"/>
          <a:cs typeface="Aria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70808209458804E-2"/>
          <c:y val="2.4070021881838068E-2"/>
          <c:w val="0.90199655877956009"/>
          <c:h val="0.85557986870897162"/>
        </c:manualLayout>
      </c:layout>
      <c:barChart>
        <c:barDir val="col"/>
        <c:grouping val="percentStacked"/>
        <c:varyColors val="0"/>
        <c:ser>
          <c:idx val="3"/>
          <c:order val="0"/>
          <c:tx>
            <c:strRef>
              <c:f>Sheet1!$A$2</c:f>
              <c:strCache>
                <c:ptCount val="1"/>
                <c:pt idx="0">
                  <c:v>Group 1</c:v>
                </c:pt>
              </c:strCache>
            </c:strRef>
          </c:tx>
          <c:spPr>
            <a:solidFill>
              <a:schemeClr val="accent1"/>
            </a:solidFill>
            <a:ln w="25346">
              <a:noFill/>
            </a:ln>
          </c:spPr>
          <c:invertIfNegative val="0"/>
          <c:dLbls>
            <c:spPr>
              <a:noFill/>
              <a:ln w="25346">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0%</c:formatCode>
                <c:ptCount val="4"/>
                <c:pt idx="0">
                  <c:v>0.27</c:v>
                </c:pt>
                <c:pt idx="1">
                  <c:v>0.33000000000000107</c:v>
                </c:pt>
                <c:pt idx="2">
                  <c:v>0.6400000000000019</c:v>
                </c:pt>
                <c:pt idx="3">
                  <c:v>0.31000000000000083</c:v>
                </c:pt>
              </c:numCache>
            </c:numRef>
          </c:val>
          <c:extLst>
            <c:ext xmlns:c16="http://schemas.microsoft.com/office/drawing/2014/chart" uri="{C3380CC4-5D6E-409C-BE32-E72D297353CC}">
              <c16:uniqueId val="{00000000-BCA8-489A-A28D-A3AFA912543D}"/>
            </c:ext>
          </c:extLst>
        </c:ser>
        <c:ser>
          <c:idx val="0"/>
          <c:order val="1"/>
          <c:tx>
            <c:strRef>
              <c:f>Sheet1!$A$3</c:f>
              <c:strCache>
                <c:ptCount val="1"/>
                <c:pt idx="0">
                  <c:v>Group 2</c:v>
                </c:pt>
              </c:strCache>
            </c:strRef>
          </c:tx>
          <c:spPr>
            <a:solidFill>
              <a:schemeClr val="accent3"/>
            </a:solidFill>
            <a:ln w="25346">
              <a:noFill/>
            </a:ln>
          </c:spPr>
          <c:invertIfNegative val="0"/>
          <c:dLbls>
            <c:spPr>
              <a:noFill/>
              <a:ln w="25346">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0%</c:formatCode>
                <c:ptCount val="4"/>
                <c:pt idx="0">
                  <c:v>0.41000000000000031</c:v>
                </c:pt>
                <c:pt idx="1">
                  <c:v>0.47000000000000008</c:v>
                </c:pt>
                <c:pt idx="2">
                  <c:v>0.25</c:v>
                </c:pt>
                <c:pt idx="3">
                  <c:v>0.48000000000000032</c:v>
                </c:pt>
              </c:numCache>
            </c:numRef>
          </c:val>
          <c:extLst>
            <c:ext xmlns:c16="http://schemas.microsoft.com/office/drawing/2014/chart" uri="{C3380CC4-5D6E-409C-BE32-E72D297353CC}">
              <c16:uniqueId val="{00000001-BCA8-489A-A28D-A3AFA912543D}"/>
            </c:ext>
          </c:extLst>
        </c:ser>
        <c:ser>
          <c:idx val="2"/>
          <c:order val="2"/>
          <c:tx>
            <c:strRef>
              <c:f>Sheet1!$A$4</c:f>
              <c:strCache>
                <c:ptCount val="1"/>
                <c:pt idx="0">
                  <c:v>Group 3</c:v>
                </c:pt>
              </c:strCache>
            </c:strRef>
          </c:tx>
          <c:spPr>
            <a:solidFill>
              <a:schemeClr val="accent6"/>
            </a:solidFill>
            <a:ln w="25346">
              <a:noFill/>
            </a:ln>
          </c:spPr>
          <c:invertIfNegative val="0"/>
          <c:dLbls>
            <c:spPr>
              <a:noFill/>
              <a:ln w="25346">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0%</c:formatCode>
                <c:ptCount val="4"/>
                <c:pt idx="0">
                  <c:v>0.32000000000000095</c:v>
                </c:pt>
                <c:pt idx="1">
                  <c:v>0.2</c:v>
                </c:pt>
                <c:pt idx="2">
                  <c:v>0.11</c:v>
                </c:pt>
                <c:pt idx="3">
                  <c:v>0.21000000000000021</c:v>
                </c:pt>
              </c:numCache>
            </c:numRef>
          </c:val>
          <c:extLst>
            <c:ext xmlns:c16="http://schemas.microsoft.com/office/drawing/2014/chart" uri="{C3380CC4-5D6E-409C-BE32-E72D297353CC}">
              <c16:uniqueId val="{00000002-BCA8-489A-A28D-A3AFA912543D}"/>
            </c:ext>
          </c:extLst>
        </c:ser>
        <c:dLbls>
          <c:showLegendKey val="0"/>
          <c:showVal val="1"/>
          <c:showCatName val="0"/>
          <c:showSerName val="0"/>
          <c:showPercent val="0"/>
          <c:showBubbleSize val="0"/>
        </c:dLbls>
        <c:gapWidth val="250"/>
        <c:overlap val="100"/>
        <c:serLines>
          <c:spPr>
            <a:ln w="15875" cap="rnd">
              <a:solidFill>
                <a:schemeClr val="tx2">
                  <a:lumMod val="60000"/>
                  <a:lumOff val="40000"/>
                </a:schemeClr>
              </a:solidFill>
              <a:prstDash val="sysDot"/>
            </a:ln>
          </c:spPr>
        </c:serLines>
        <c:axId val="593003448"/>
        <c:axId val="593003840"/>
      </c:barChart>
      <c:catAx>
        <c:axId val="593003448"/>
        <c:scaling>
          <c:orientation val="minMax"/>
        </c:scaling>
        <c:delete val="0"/>
        <c:axPos val="b"/>
        <c:numFmt formatCode="General" sourceLinked="1"/>
        <c:majorTickMark val="none"/>
        <c:minorTickMark val="none"/>
        <c:tickLblPos val="nextTo"/>
        <c:spPr>
          <a:ln w="12673">
            <a:solidFill>
              <a:schemeClr val="tx2">
                <a:lumMod val="60000"/>
                <a:lumOff val="40000"/>
              </a:schemeClr>
            </a:solidFill>
            <a:prstDash val="solid"/>
          </a:ln>
        </c:spPr>
        <c:txPr>
          <a:bodyPr rot="0" vert="horz"/>
          <a:lstStyle/>
          <a:p>
            <a:pPr>
              <a:defRPr/>
            </a:pPr>
            <a:endParaRPr lang="en-US"/>
          </a:p>
        </c:txPr>
        <c:crossAx val="593003840"/>
        <c:crosses val="autoZero"/>
        <c:auto val="1"/>
        <c:lblAlgn val="ctr"/>
        <c:lblOffset val="100"/>
        <c:tickLblSkip val="1"/>
        <c:tickMarkSkip val="1"/>
        <c:noMultiLvlLbl val="0"/>
      </c:catAx>
      <c:valAx>
        <c:axId val="593003840"/>
        <c:scaling>
          <c:orientation val="minMax"/>
          <c:max val="1"/>
          <c:min val="0"/>
        </c:scaling>
        <c:delete val="1"/>
        <c:axPos val="l"/>
        <c:numFmt formatCode="0%" sourceLinked="1"/>
        <c:majorTickMark val="out"/>
        <c:minorTickMark val="none"/>
        <c:tickLblPos val="none"/>
        <c:crossAx val="593003448"/>
        <c:crosses val="autoZero"/>
        <c:crossBetween val="between"/>
        <c:majorUnit val="0.2"/>
        <c:minorUnit val="2.0000000000000052E-3"/>
      </c:valAx>
      <c:spPr>
        <a:noFill/>
        <a:ln w="25346">
          <a:noFill/>
        </a:ln>
      </c:spPr>
    </c:plotArea>
    <c:plotVisOnly val="1"/>
    <c:dispBlanksAs val="gap"/>
    <c:showDLblsOverMax val="0"/>
  </c:chart>
  <c:spPr>
    <a:noFill/>
    <a:ln>
      <a:noFill/>
    </a:ln>
  </c:spPr>
  <c:txPr>
    <a:bodyPr/>
    <a:lstStyle/>
    <a:p>
      <a:pPr>
        <a:defRPr sz="1800" b="1" i="0" u="none" strike="noStrike" baseline="0">
          <a:solidFill>
            <a:schemeClr val="bg1"/>
          </a:solidFill>
          <a:latin typeface="+mn-lt"/>
          <a:ea typeface="Arial"/>
          <a:cs typeface="Arial"/>
        </a:defRPr>
      </a:pPr>
      <a:endParaRPr lang="en-US"/>
    </a:p>
  </c:txPr>
  <c:externalData r:id="rId1">
    <c:autoUpdate val="0"/>
  </c:externalData>
  <c:userShapes r:id="rId2"/>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872779529634389E-4"/>
          <c:y val="2.9673590504451126E-2"/>
          <c:w val="0.99970245753569509"/>
          <c:h val="0.81008902077151335"/>
        </c:manualLayout>
      </c:layout>
      <c:barChart>
        <c:barDir val="col"/>
        <c:grouping val="stacked"/>
        <c:varyColors val="0"/>
        <c:ser>
          <c:idx val="0"/>
          <c:order val="0"/>
          <c:tx>
            <c:strRef>
              <c:f>Sheet1!$A$2</c:f>
              <c:strCache>
                <c:ptCount val="1"/>
                <c:pt idx="0">
                  <c:v>East</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C7B7-4BFA-B631-9832E1390E9D}"/>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3-C7B7-4BFA-B631-9832E1390E9D}"/>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5-C7B7-4BFA-B631-9832E1390E9D}"/>
              </c:ext>
            </c:extLst>
          </c:dPt>
          <c:dLbls>
            <c:dLbl>
              <c:idx val="0"/>
              <c:layout>
                <c:manualLayout>
                  <c:x val="-1.108999294165616E-4"/>
                  <c:y val="-0.13155353378824897"/>
                </c:manualLayout>
              </c:layout>
              <c:spPr>
                <a:noFill/>
                <a:ln w="25401">
                  <a:noFill/>
                </a:ln>
                <a:effectLst/>
              </c:spPr>
              <c:txPr>
                <a:bodyPr rot="0" spcFirstLastPara="1" vertOverflow="ellipsis" vert="horz" wrap="square" anchor="ctr" anchorCtr="1"/>
                <a:lstStyle/>
                <a:p>
                  <a:pPr>
                    <a:defRPr sz="1800" b="1" i="0" u="none" strike="noStrike" kern="1200" baseline="0">
                      <a:solidFill>
                        <a:schemeClr val="accent1"/>
                      </a:solidFill>
                      <a:latin typeface="+mn-lt"/>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7B7-4BFA-B631-9832E1390E9D}"/>
                </c:ext>
              </c:extLst>
            </c:dLbl>
            <c:dLbl>
              <c:idx val="1"/>
              <c:layout>
                <c:manualLayout>
                  <c:x val="7.8743461983239345E-3"/>
                  <c:y val="-0.15661288377485721"/>
                </c:manualLayout>
              </c:layout>
              <c:spPr>
                <a:noFill/>
                <a:ln w="25401">
                  <a:noFill/>
                </a:ln>
                <a:effectLst/>
              </c:spPr>
              <c:txPr>
                <a:bodyPr rot="0" spcFirstLastPara="1" vertOverflow="ellipsis" vert="horz" wrap="square" anchor="ctr" anchorCtr="1"/>
                <a:lstStyle/>
                <a:p>
                  <a:pPr>
                    <a:defRPr sz="1800" b="1" i="0" u="none" strike="noStrike" kern="1200" baseline="0">
                      <a:solidFill>
                        <a:schemeClr val="accent2"/>
                      </a:solidFill>
                      <a:latin typeface="+mn-lt"/>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7B7-4BFA-B631-9832E1390E9D}"/>
                </c:ext>
              </c:extLst>
            </c:dLbl>
            <c:dLbl>
              <c:idx val="2"/>
              <c:layout>
                <c:manualLayout>
                  <c:x val="4.8030812695532546E-3"/>
                  <c:y val="-0.41775534225967331"/>
                </c:manualLayout>
              </c:layout>
              <c:spPr>
                <a:noFill/>
                <a:ln w="25401">
                  <a:noFill/>
                </a:ln>
                <a:effectLst/>
              </c:spPr>
              <c:txPr>
                <a:bodyPr rot="0" spcFirstLastPara="1" vertOverflow="ellipsis" vert="horz" wrap="square" anchor="ctr" anchorCtr="1"/>
                <a:lstStyle/>
                <a:p>
                  <a:pPr>
                    <a:defRPr sz="1800" b="1" i="0" u="none" strike="noStrike" kern="1200" baseline="0">
                      <a:solidFill>
                        <a:schemeClr val="accent3"/>
                      </a:solidFill>
                      <a:latin typeface="+mn-lt"/>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7B7-4BFA-B631-9832E1390E9D}"/>
                </c:ext>
              </c:extLst>
            </c:dLbl>
            <c:dLbl>
              <c:idx val="3"/>
              <c:layout>
                <c:manualLayout>
                  <c:x val="5.0331511228134248E-4"/>
                  <c:y val="-0.13155353378824897"/>
                </c:manualLayout>
              </c:layout>
              <c:spPr>
                <a:noFill/>
                <a:ln w="25401">
                  <a:noFill/>
                </a:ln>
                <a:effectLst/>
              </c:spPr>
              <c:txPr>
                <a:bodyPr rot="0" spcFirstLastPara="1" vertOverflow="ellipsis" vert="horz" wrap="square" anchor="ctr" anchorCtr="1"/>
                <a:lstStyle/>
                <a:p>
                  <a:pPr>
                    <a:defRPr sz="1800" b="1" i="0" u="none" strike="noStrike" kern="1200" baseline="0">
                      <a:solidFill>
                        <a:schemeClr val="accent5"/>
                      </a:solidFill>
                      <a:latin typeface="+mn-lt"/>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7B7-4BFA-B631-9832E1390E9D}"/>
                </c:ext>
              </c:extLst>
            </c:dLbl>
            <c:spPr>
              <a:noFill/>
              <a:ln w="25401">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000000"/>
                    </a:solidFill>
                    <a:latin typeface="+mn-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7-C7B7-4BFA-B631-9832E1390E9D}"/>
            </c:ext>
          </c:extLst>
        </c:ser>
        <c:dLbls>
          <c:showLegendKey val="0"/>
          <c:showVal val="1"/>
          <c:showCatName val="0"/>
          <c:showSerName val="0"/>
          <c:showPercent val="0"/>
          <c:showBubbleSize val="0"/>
        </c:dLbls>
        <c:gapWidth val="0"/>
        <c:overlap val="12"/>
        <c:axId val="548771368"/>
        <c:axId val="548771760"/>
      </c:barChart>
      <c:catAx>
        <c:axId val="548771368"/>
        <c:scaling>
          <c:orientation val="minMax"/>
        </c:scaling>
        <c:delete val="0"/>
        <c:axPos val="b"/>
        <c:numFmt formatCode="General" sourceLinked="1"/>
        <c:majorTickMark val="none"/>
        <c:minorTickMark val="none"/>
        <c:tickLblPos val="nextTo"/>
        <c:spPr>
          <a:noFill/>
          <a:ln w="12700" cap="flat" cmpd="sng" algn="ctr">
            <a:solidFill>
              <a:schemeClr val="tx2">
                <a:lumMod val="60000"/>
                <a:lumOff val="40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Arial"/>
                <a:cs typeface="Arial"/>
              </a:defRPr>
            </a:pPr>
            <a:endParaRPr lang="en-US"/>
          </a:p>
        </c:txPr>
        <c:crossAx val="548771760"/>
        <c:crosses val="autoZero"/>
        <c:auto val="1"/>
        <c:lblAlgn val="ctr"/>
        <c:lblOffset val="100"/>
        <c:tickLblSkip val="1"/>
        <c:tickMarkSkip val="1"/>
        <c:noMultiLvlLbl val="0"/>
      </c:catAx>
      <c:valAx>
        <c:axId val="548771760"/>
        <c:scaling>
          <c:orientation val="minMax"/>
        </c:scaling>
        <c:delete val="1"/>
        <c:axPos val="l"/>
        <c:numFmt formatCode="General" sourceLinked="1"/>
        <c:majorTickMark val="out"/>
        <c:minorTickMark val="none"/>
        <c:tickLblPos val="none"/>
        <c:crossAx val="548771368"/>
        <c:crosses val="autoZero"/>
        <c:crossBetween val="between"/>
      </c:valAx>
      <c:spPr>
        <a:noFill/>
        <a:ln w="25401">
          <a:noFill/>
        </a:ln>
        <a:effectLst/>
      </c:spPr>
    </c:plotArea>
    <c:plotVisOnly val="1"/>
    <c:dispBlanksAs val="gap"/>
    <c:showDLblsOverMax val="0"/>
  </c:chart>
  <c:spPr>
    <a:noFill/>
    <a:ln w="6350" cap="flat" cmpd="sng" algn="ctr">
      <a:noFill/>
      <a:prstDash val="solid"/>
      <a:miter lim="800000"/>
    </a:ln>
    <a:effectLst/>
  </c:spPr>
  <c:txPr>
    <a:bodyPr/>
    <a:lstStyle/>
    <a:p>
      <a:pPr>
        <a:defRPr sz="1800" b="1" i="0" u="none" strike="noStrike" baseline="0">
          <a:solidFill>
            <a:srgbClr val="000000"/>
          </a:solidFill>
          <a:latin typeface="+mn-lt"/>
          <a:ea typeface="Arial"/>
          <a:cs typeface="Aria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99821107229534"/>
          <c:y val="7.3106124281253154E-2"/>
          <c:w val="0.86291468259701798"/>
          <c:h val="0.78096080224274278"/>
        </c:manualLayout>
      </c:layout>
      <c:barChart>
        <c:barDir val="col"/>
        <c:grouping val="clustered"/>
        <c:varyColors val="0"/>
        <c:ser>
          <c:idx val="0"/>
          <c:order val="0"/>
          <c:tx>
            <c:strRef>
              <c:f>Sheet1!$A$2</c:f>
              <c:strCache>
                <c:ptCount val="1"/>
                <c:pt idx="0">
                  <c:v>Group 1</c:v>
                </c:pt>
              </c:strCache>
            </c:strRef>
          </c:tx>
          <c:spPr>
            <a:solidFill>
              <a:schemeClr val="accent1"/>
            </a:solidFill>
            <a:ln w="25291">
              <a:noFill/>
            </a:ln>
          </c:spPr>
          <c:invertIfNegative val="0"/>
          <c:dPt>
            <c:idx val="0"/>
            <c:invertIfNegative val="0"/>
            <c:bubble3D val="0"/>
            <c:spPr>
              <a:solidFill>
                <a:schemeClr val="accent1">
                  <a:lumMod val="60000"/>
                  <a:lumOff val="40000"/>
                </a:schemeClr>
              </a:solidFill>
              <a:ln w="25291">
                <a:noFill/>
              </a:ln>
            </c:spPr>
            <c:extLst>
              <c:ext xmlns:c16="http://schemas.microsoft.com/office/drawing/2014/chart" uri="{C3380CC4-5D6E-409C-BE32-E72D297353CC}">
                <c16:uniqueId val="{00000001-5C1F-47B6-B2F7-E25B25F668BB}"/>
              </c:ext>
            </c:extLst>
          </c:dPt>
          <c:dPt>
            <c:idx val="2"/>
            <c:invertIfNegative val="0"/>
            <c:bubble3D val="0"/>
            <c:spPr>
              <a:solidFill>
                <a:schemeClr val="accent2"/>
              </a:solidFill>
              <a:ln w="25291">
                <a:noFill/>
              </a:ln>
            </c:spPr>
            <c:extLst>
              <c:ext xmlns:c16="http://schemas.microsoft.com/office/drawing/2014/chart" uri="{C3380CC4-5D6E-409C-BE32-E72D297353CC}">
                <c16:uniqueId val="{00000003-5C1F-47B6-B2F7-E25B25F668BB}"/>
              </c:ext>
            </c:extLst>
          </c:dPt>
          <c:dPt>
            <c:idx val="3"/>
            <c:invertIfNegative val="0"/>
            <c:bubble3D val="0"/>
            <c:spPr>
              <a:solidFill>
                <a:schemeClr val="accent4"/>
              </a:solidFill>
              <a:ln w="25291">
                <a:noFill/>
              </a:ln>
            </c:spPr>
            <c:extLst>
              <c:ext xmlns:c16="http://schemas.microsoft.com/office/drawing/2014/chart" uri="{C3380CC4-5D6E-409C-BE32-E72D297353CC}">
                <c16:uniqueId val="{00000005-5C1F-47B6-B2F7-E25B25F668BB}"/>
              </c:ext>
            </c:extLst>
          </c:dPt>
          <c:dPt>
            <c:idx val="4"/>
            <c:invertIfNegative val="0"/>
            <c:bubble3D val="0"/>
            <c:spPr>
              <a:solidFill>
                <a:schemeClr val="accent5"/>
              </a:solidFill>
              <a:ln w="25291">
                <a:noFill/>
              </a:ln>
            </c:spPr>
            <c:extLst>
              <c:ext xmlns:c16="http://schemas.microsoft.com/office/drawing/2014/chart" uri="{C3380CC4-5D6E-409C-BE32-E72D297353CC}">
                <c16:uniqueId val="{00000007-5C1F-47B6-B2F7-E25B25F668BB}"/>
              </c:ext>
            </c:extLst>
          </c:dPt>
          <c:dPt>
            <c:idx val="5"/>
            <c:invertIfNegative val="0"/>
            <c:bubble3D val="0"/>
            <c:spPr>
              <a:solidFill>
                <a:schemeClr val="accent6"/>
              </a:solidFill>
              <a:ln w="25291">
                <a:noFill/>
              </a:ln>
            </c:spPr>
            <c:extLst>
              <c:ext xmlns:c16="http://schemas.microsoft.com/office/drawing/2014/chart" uri="{C3380CC4-5D6E-409C-BE32-E72D297353CC}">
                <c16:uniqueId val="{00000009-5C1F-47B6-B2F7-E25B25F668BB}"/>
              </c:ext>
            </c:extLst>
          </c:dPt>
          <c:dLbls>
            <c:dLbl>
              <c:idx val="0"/>
              <c:numFmt formatCode="0" sourceLinked="0"/>
              <c:spPr>
                <a:noFill/>
                <a:ln w="25291">
                  <a:noFill/>
                </a:ln>
              </c:spPr>
              <c:txPr>
                <a:bodyPr/>
                <a:lstStyle/>
                <a:p>
                  <a:pPr>
                    <a:defRPr>
                      <a:solidFill>
                        <a:schemeClr val="accent1">
                          <a:lumMod val="60000"/>
                          <a:lumOff val="40000"/>
                        </a:schemeClr>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5C1F-47B6-B2F7-E25B25F668BB}"/>
                </c:ext>
              </c:extLst>
            </c:dLbl>
            <c:dLbl>
              <c:idx val="2"/>
              <c:numFmt formatCode="0" sourceLinked="0"/>
              <c:spPr>
                <a:noFill/>
                <a:ln w="25291">
                  <a:noFill/>
                </a:ln>
              </c:spPr>
              <c:txPr>
                <a:bodyPr/>
                <a:lstStyle/>
                <a:p>
                  <a:pPr>
                    <a:defRPr>
                      <a:solidFill>
                        <a:schemeClr val="accent2"/>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5C1F-47B6-B2F7-E25B25F668BB}"/>
                </c:ext>
              </c:extLst>
            </c:dLbl>
            <c:dLbl>
              <c:idx val="3"/>
              <c:numFmt formatCode="0" sourceLinked="0"/>
              <c:spPr>
                <a:noFill/>
                <a:ln w="25291">
                  <a:noFill/>
                </a:ln>
              </c:spPr>
              <c:txPr>
                <a:bodyPr/>
                <a:lstStyle/>
                <a:p>
                  <a:pPr>
                    <a:defRPr>
                      <a:solidFill>
                        <a:schemeClr val="accent4"/>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5C1F-47B6-B2F7-E25B25F668BB}"/>
                </c:ext>
              </c:extLst>
            </c:dLbl>
            <c:dLbl>
              <c:idx val="4"/>
              <c:numFmt formatCode="0" sourceLinked="0"/>
              <c:spPr>
                <a:noFill/>
                <a:ln w="25291">
                  <a:noFill/>
                </a:ln>
              </c:spPr>
              <c:txPr>
                <a:bodyPr/>
                <a:lstStyle/>
                <a:p>
                  <a:pPr>
                    <a:defRPr>
                      <a:solidFill>
                        <a:schemeClr val="accent5"/>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5C1F-47B6-B2F7-E25B25F668BB}"/>
                </c:ext>
              </c:extLst>
            </c:dLbl>
            <c:dLbl>
              <c:idx val="5"/>
              <c:numFmt formatCode="0" sourceLinked="0"/>
              <c:spPr>
                <a:noFill/>
                <a:ln w="25291">
                  <a:noFill/>
                </a:ln>
              </c:spPr>
              <c:txPr>
                <a:bodyPr/>
                <a:lstStyle/>
                <a:p>
                  <a:pPr>
                    <a:defRPr>
                      <a:solidFill>
                        <a:schemeClr val="accent6"/>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5C1F-47B6-B2F7-E25B25F668BB}"/>
                </c:ext>
              </c:extLst>
            </c:dLbl>
            <c:numFmt formatCode="0" sourceLinked="0"/>
            <c:spPr>
              <a:noFill/>
              <a:ln w="25291">
                <a:noFill/>
              </a:ln>
            </c:spPr>
            <c:txPr>
              <a:bodyPr/>
              <a:lstStyle/>
              <a:p>
                <a:pPr>
                  <a:defRPr>
                    <a:solidFill>
                      <a:schemeClr val="accent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Label A</c:v>
                </c:pt>
                <c:pt idx="1">
                  <c:v>Label B</c:v>
                </c:pt>
                <c:pt idx="2">
                  <c:v>Label C</c:v>
                </c:pt>
                <c:pt idx="3">
                  <c:v>Label D</c:v>
                </c:pt>
                <c:pt idx="4">
                  <c:v>Label E</c:v>
                </c:pt>
                <c:pt idx="5">
                  <c:v>Label F</c:v>
                </c:pt>
              </c:strCache>
            </c:strRef>
          </c:cat>
          <c:val>
            <c:numRef>
              <c:f>Sheet1!$B$2:$G$2</c:f>
              <c:numCache>
                <c:formatCode>General</c:formatCode>
                <c:ptCount val="6"/>
                <c:pt idx="0">
                  <c:v>20.399999999999999</c:v>
                </c:pt>
                <c:pt idx="1">
                  <c:v>27.4</c:v>
                </c:pt>
                <c:pt idx="2">
                  <c:v>90</c:v>
                </c:pt>
                <c:pt idx="3">
                  <c:v>20.399999999999999</c:v>
                </c:pt>
                <c:pt idx="4">
                  <c:v>40</c:v>
                </c:pt>
                <c:pt idx="5">
                  <c:v>55</c:v>
                </c:pt>
              </c:numCache>
            </c:numRef>
          </c:val>
          <c:extLst>
            <c:ext xmlns:c16="http://schemas.microsoft.com/office/drawing/2014/chart" uri="{C3380CC4-5D6E-409C-BE32-E72D297353CC}">
              <c16:uniqueId val="{0000000A-5C1F-47B6-B2F7-E25B25F668BB}"/>
            </c:ext>
          </c:extLst>
        </c:ser>
        <c:dLbls>
          <c:showLegendKey val="0"/>
          <c:showVal val="0"/>
          <c:showCatName val="0"/>
          <c:showSerName val="0"/>
          <c:showPercent val="0"/>
          <c:showBubbleSize val="0"/>
        </c:dLbls>
        <c:gapWidth val="275"/>
        <c:overlap val="100"/>
        <c:axId val="308165800"/>
        <c:axId val="308166192"/>
      </c:barChart>
      <c:lineChart>
        <c:grouping val="standard"/>
        <c:varyColors val="0"/>
        <c:ser>
          <c:idx val="1"/>
          <c:order val="1"/>
          <c:tx>
            <c:strRef>
              <c:f>Sheet1!$A$3</c:f>
              <c:strCache>
                <c:ptCount val="1"/>
                <c:pt idx="0">
                  <c:v>Group 2</c:v>
                </c:pt>
              </c:strCache>
            </c:strRef>
          </c:tx>
          <c:spPr>
            <a:ln w="19050">
              <a:solidFill>
                <a:schemeClr val="accent3"/>
              </a:solidFill>
              <a:prstDash val="solid"/>
            </a:ln>
          </c:spPr>
          <c:marker>
            <c:symbol val="circle"/>
            <c:size val="11"/>
            <c:spPr>
              <a:solidFill>
                <a:schemeClr val="accent3"/>
              </a:solidFill>
              <a:ln w="22225">
                <a:solidFill>
                  <a:schemeClr val="accent3"/>
                </a:solidFill>
              </a:ln>
            </c:spPr>
          </c:marker>
          <c:cat>
            <c:strRef>
              <c:f>Sheet1!$B$1:$G$1</c:f>
              <c:strCache>
                <c:ptCount val="6"/>
                <c:pt idx="0">
                  <c:v>Label A</c:v>
                </c:pt>
                <c:pt idx="1">
                  <c:v>Label B</c:v>
                </c:pt>
                <c:pt idx="2">
                  <c:v>Label C</c:v>
                </c:pt>
                <c:pt idx="3">
                  <c:v>Label D</c:v>
                </c:pt>
                <c:pt idx="4">
                  <c:v>Label E</c:v>
                </c:pt>
                <c:pt idx="5">
                  <c:v>Label F</c:v>
                </c:pt>
              </c:strCache>
            </c:strRef>
          </c:cat>
          <c:val>
            <c:numRef>
              <c:f>Sheet1!$B$3:$G$3</c:f>
              <c:numCache>
                <c:formatCode>General</c:formatCode>
                <c:ptCount val="6"/>
                <c:pt idx="0">
                  <c:v>5</c:v>
                </c:pt>
                <c:pt idx="1">
                  <c:v>3</c:v>
                </c:pt>
                <c:pt idx="2">
                  <c:v>6</c:v>
                </c:pt>
                <c:pt idx="3">
                  <c:v>9</c:v>
                </c:pt>
                <c:pt idx="4">
                  <c:v>10</c:v>
                </c:pt>
                <c:pt idx="5">
                  <c:v>3</c:v>
                </c:pt>
              </c:numCache>
            </c:numRef>
          </c:val>
          <c:smooth val="0"/>
          <c:extLst>
            <c:ext xmlns:c16="http://schemas.microsoft.com/office/drawing/2014/chart" uri="{C3380CC4-5D6E-409C-BE32-E72D297353CC}">
              <c16:uniqueId val="{0000000B-5C1F-47B6-B2F7-E25B25F668BB}"/>
            </c:ext>
          </c:extLst>
        </c:ser>
        <c:dLbls>
          <c:showLegendKey val="0"/>
          <c:showVal val="0"/>
          <c:showCatName val="0"/>
          <c:showSerName val="0"/>
          <c:showPercent val="0"/>
          <c:showBubbleSize val="0"/>
        </c:dLbls>
        <c:marker val="1"/>
        <c:smooth val="0"/>
        <c:axId val="548772544"/>
        <c:axId val="308165408"/>
      </c:lineChart>
      <c:catAx>
        <c:axId val="548772544"/>
        <c:scaling>
          <c:orientation val="minMax"/>
        </c:scaling>
        <c:delete val="0"/>
        <c:axPos val="b"/>
        <c:numFmt formatCode="General" sourceLinked="1"/>
        <c:majorTickMark val="none"/>
        <c:minorTickMark val="none"/>
        <c:tickLblPos val="nextTo"/>
        <c:spPr>
          <a:ln w="12645">
            <a:solidFill>
              <a:schemeClr val="tx2">
                <a:lumMod val="60000"/>
                <a:lumOff val="40000"/>
              </a:schemeClr>
            </a:solidFill>
            <a:prstDash val="solid"/>
          </a:ln>
        </c:spPr>
        <c:txPr>
          <a:bodyPr rot="0" vert="horz"/>
          <a:lstStyle/>
          <a:p>
            <a:pPr>
              <a:defRPr sz="1400" b="0">
                <a:solidFill>
                  <a:schemeClr val="tx2"/>
                </a:solidFill>
              </a:defRPr>
            </a:pPr>
            <a:endParaRPr lang="en-US"/>
          </a:p>
        </c:txPr>
        <c:crossAx val="308165408"/>
        <c:crosses val="autoZero"/>
        <c:auto val="1"/>
        <c:lblAlgn val="ctr"/>
        <c:lblOffset val="100"/>
        <c:tickLblSkip val="1"/>
        <c:tickMarkSkip val="1"/>
        <c:noMultiLvlLbl val="0"/>
      </c:catAx>
      <c:valAx>
        <c:axId val="308165408"/>
        <c:scaling>
          <c:orientation val="minMax"/>
        </c:scaling>
        <c:delete val="0"/>
        <c:axPos val="r"/>
        <c:majorGridlines>
          <c:spPr>
            <a:ln>
              <a:solidFill>
                <a:schemeClr val="tx2">
                  <a:lumMod val="20000"/>
                  <a:lumOff val="80000"/>
                </a:schemeClr>
              </a:solidFill>
            </a:ln>
          </c:spPr>
        </c:majorGridlines>
        <c:numFmt formatCode="General" sourceLinked="1"/>
        <c:majorTickMark val="out"/>
        <c:minorTickMark val="none"/>
        <c:tickLblPos val="nextTo"/>
        <c:spPr>
          <a:ln w="12645">
            <a:noFill/>
            <a:prstDash val="solid"/>
          </a:ln>
        </c:spPr>
        <c:txPr>
          <a:bodyPr rot="0" vert="horz"/>
          <a:lstStyle/>
          <a:p>
            <a:pPr>
              <a:defRPr sz="1400" b="0">
                <a:solidFill>
                  <a:schemeClr val="tx2"/>
                </a:solidFill>
              </a:defRPr>
            </a:pPr>
            <a:endParaRPr lang="en-US"/>
          </a:p>
        </c:txPr>
        <c:crossAx val="548772544"/>
        <c:crosses val="max"/>
        <c:crossBetween val="between"/>
      </c:valAx>
      <c:catAx>
        <c:axId val="308165800"/>
        <c:scaling>
          <c:orientation val="minMax"/>
        </c:scaling>
        <c:delete val="1"/>
        <c:axPos val="b"/>
        <c:numFmt formatCode="General" sourceLinked="1"/>
        <c:majorTickMark val="out"/>
        <c:minorTickMark val="none"/>
        <c:tickLblPos val="none"/>
        <c:crossAx val="308166192"/>
        <c:crosses val="autoZero"/>
        <c:auto val="1"/>
        <c:lblAlgn val="ctr"/>
        <c:lblOffset val="100"/>
        <c:noMultiLvlLbl val="0"/>
      </c:catAx>
      <c:valAx>
        <c:axId val="308166192"/>
        <c:scaling>
          <c:orientation val="minMax"/>
        </c:scaling>
        <c:delete val="0"/>
        <c:axPos val="r"/>
        <c:numFmt formatCode="General" sourceLinked="1"/>
        <c:majorTickMark val="none"/>
        <c:minorTickMark val="none"/>
        <c:tickLblPos val="none"/>
        <c:spPr>
          <a:ln w="9484">
            <a:noFill/>
          </a:ln>
        </c:spPr>
        <c:crossAx val="308165800"/>
        <c:crosses val="max"/>
        <c:crossBetween val="between"/>
      </c:valAx>
      <c:spPr>
        <a:noFill/>
        <a:ln w="25291">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userShapes r:id="rId2"/>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8801604745673"/>
          <c:y val="6.1176513211922127E-2"/>
          <c:w val="0.85889190966036955"/>
          <c:h val="0.81647058823529417"/>
        </c:manualLayout>
      </c:layout>
      <c:barChart>
        <c:barDir val="col"/>
        <c:grouping val="clustered"/>
        <c:varyColors val="0"/>
        <c:ser>
          <c:idx val="0"/>
          <c:order val="1"/>
          <c:tx>
            <c:strRef>
              <c:f>Sheet1!$A$3</c:f>
              <c:strCache>
                <c:ptCount val="1"/>
                <c:pt idx="0">
                  <c:v>Group 1</c:v>
                </c:pt>
              </c:strCache>
            </c:strRef>
          </c:tx>
          <c:spPr>
            <a:solidFill>
              <a:schemeClr val="accent1"/>
            </a:solidFill>
            <a:ln w="25381">
              <a:noFill/>
            </a:ln>
          </c:spPr>
          <c:invertIfNegative val="0"/>
          <c:dLbls>
            <c:numFmt formatCode="0" sourceLinked="0"/>
            <c:spPr>
              <a:noFill/>
              <a:ln w="25381">
                <a:noFill/>
              </a:ln>
            </c:spPr>
            <c:txPr>
              <a:bodyPr/>
              <a:lstStyle/>
              <a:p>
                <a:pPr>
                  <a:defRPr sz="1800">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Label A</c:v>
                </c:pt>
                <c:pt idx="1">
                  <c:v>Label B</c:v>
                </c:pt>
                <c:pt idx="2">
                  <c:v>Label C</c:v>
                </c:pt>
                <c:pt idx="3">
                  <c:v>Label D</c:v>
                </c:pt>
                <c:pt idx="4">
                  <c:v>Label E</c:v>
                </c:pt>
                <c:pt idx="5">
                  <c:v>Label F</c:v>
                </c:pt>
              </c:strCache>
            </c:strRef>
          </c:cat>
          <c:val>
            <c:numRef>
              <c:f>Sheet1!$B$3:$G$3</c:f>
              <c:numCache>
                <c:formatCode>General</c:formatCode>
                <c:ptCount val="6"/>
                <c:pt idx="0">
                  <c:v>20.399999999999999</c:v>
                </c:pt>
                <c:pt idx="1">
                  <c:v>50</c:v>
                </c:pt>
                <c:pt idx="2">
                  <c:v>90</c:v>
                </c:pt>
                <c:pt idx="3">
                  <c:v>20.399999999999999</c:v>
                </c:pt>
                <c:pt idx="4">
                  <c:v>40</c:v>
                </c:pt>
                <c:pt idx="5">
                  <c:v>55</c:v>
                </c:pt>
              </c:numCache>
            </c:numRef>
          </c:val>
          <c:extLst>
            <c:ext xmlns:c16="http://schemas.microsoft.com/office/drawing/2014/chart" uri="{C3380CC4-5D6E-409C-BE32-E72D297353CC}">
              <c16:uniqueId val="{00000000-3D72-40DE-9927-6BAB7CFDDC4A}"/>
            </c:ext>
          </c:extLst>
        </c:ser>
        <c:ser>
          <c:idx val="2"/>
          <c:order val="2"/>
          <c:tx>
            <c:strRef>
              <c:f>Sheet1!$A$4</c:f>
              <c:strCache>
                <c:ptCount val="1"/>
                <c:pt idx="0">
                  <c:v>Group 2</c:v>
                </c:pt>
              </c:strCache>
            </c:strRef>
          </c:tx>
          <c:spPr>
            <a:solidFill>
              <a:schemeClr val="accent2"/>
            </a:solidFill>
            <a:ln w="25381">
              <a:noFill/>
            </a:ln>
          </c:spPr>
          <c:invertIfNegative val="0"/>
          <c:dLbls>
            <c:spPr>
              <a:noFill/>
              <a:ln w="25381">
                <a:noFill/>
              </a:ln>
            </c:spPr>
            <c:txPr>
              <a:bodyPr/>
              <a:lstStyle/>
              <a:p>
                <a:pPr>
                  <a:defRPr sz="1800">
                    <a:solidFill>
                      <a:schemeClr val="accent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Label A</c:v>
                </c:pt>
                <c:pt idx="1">
                  <c:v>Label B</c:v>
                </c:pt>
                <c:pt idx="2">
                  <c:v>Label C</c:v>
                </c:pt>
                <c:pt idx="3">
                  <c:v>Label D</c:v>
                </c:pt>
                <c:pt idx="4">
                  <c:v>Label E</c:v>
                </c:pt>
                <c:pt idx="5">
                  <c:v>Label F</c:v>
                </c:pt>
              </c:strCache>
            </c:strRef>
          </c:cat>
          <c:val>
            <c:numRef>
              <c:f>Sheet1!$B$4:$G$4</c:f>
              <c:numCache>
                <c:formatCode>General</c:formatCode>
                <c:ptCount val="6"/>
                <c:pt idx="0">
                  <c:v>-10</c:v>
                </c:pt>
                <c:pt idx="1">
                  <c:v>-15</c:v>
                </c:pt>
                <c:pt idx="2">
                  <c:v>-40</c:v>
                </c:pt>
                <c:pt idx="3">
                  <c:v>-10</c:v>
                </c:pt>
                <c:pt idx="4">
                  <c:v>-45</c:v>
                </c:pt>
                <c:pt idx="5">
                  <c:v>-50</c:v>
                </c:pt>
              </c:numCache>
            </c:numRef>
          </c:val>
          <c:extLst>
            <c:ext xmlns:c16="http://schemas.microsoft.com/office/drawing/2014/chart" uri="{C3380CC4-5D6E-409C-BE32-E72D297353CC}">
              <c16:uniqueId val="{00000001-3D72-40DE-9927-6BAB7CFDDC4A}"/>
            </c:ext>
          </c:extLst>
        </c:ser>
        <c:dLbls>
          <c:showLegendKey val="0"/>
          <c:showVal val="0"/>
          <c:showCatName val="0"/>
          <c:showSerName val="0"/>
          <c:showPercent val="0"/>
          <c:showBubbleSize val="0"/>
        </c:dLbls>
        <c:gapWidth val="100"/>
        <c:axId val="593346984"/>
        <c:axId val="593347376"/>
      </c:barChart>
      <c:lineChart>
        <c:grouping val="standard"/>
        <c:varyColors val="0"/>
        <c:ser>
          <c:idx val="4"/>
          <c:order val="0"/>
          <c:tx>
            <c:strRef>
              <c:f>Sheet1!$A$2</c:f>
              <c:strCache>
                <c:ptCount val="1"/>
                <c:pt idx="0">
                  <c:v>Line 1</c:v>
                </c:pt>
              </c:strCache>
            </c:strRef>
          </c:tx>
          <c:spPr>
            <a:ln w="19050">
              <a:solidFill>
                <a:schemeClr val="accent3"/>
              </a:solidFill>
              <a:prstDash val="solid"/>
            </a:ln>
          </c:spPr>
          <c:marker>
            <c:symbol val="circle"/>
            <c:size val="11"/>
            <c:spPr>
              <a:solidFill>
                <a:schemeClr val="accent3"/>
              </a:solidFill>
              <a:ln w="22225">
                <a:solidFill>
                  <a:schemeClr val="accent3"/>
                </a:solidFill>
                <a:prstDash val="solid"/>
              </a:ln>
            </c:spPr>
          </c:marker>
          <c:cat>
            <c:strRef>
              <c:f>Sheet1!$B$1:$G$1</c:f>
              <c:strCache>
                <c:ptCount val="6"/>
                <c:pt idx="0">
                  <c:v>Label A</c:v>
                </c:pt>
                <c:pt idx="1">
                  <c:v>Label B</c:v>
                </c:pt>
                <c:pt idx="2">
                  <c:v>Label C</c:v>
                </c:pt>
                <c:pt idx="3">
                  <c:v>Label D</c:v>
                </c:pt>
                <c:pt idx="4">
                  <c:v>Label E</c:v>
                </c:pt>
                <c:pt idx="5">
                  <c:v>Label F</c:v>
                </c:pt>
              </c:strCache>
            </c:strRef>
          </c:cat>
          <c:val>
            <c:numRef>
              <c:f>Sheet1!$B$2:$G$2</c:f>
              <c:numCache>
                <c:formatCode>General</c:formatCode>
                <c:ptCount val="6"/>
                <c:pt idx="0">
                  <c:v>6</c:v>
                </c:pt>
                <c:pt idx="1">
                  <c:v>8</c:v>
                </c:pt>
                <c:pt idx="2">
                  <c:v>-10</c:v>
                </c:pt>
                <c:pt idx="3">
                  <c:v>4</c:v>
                </c:pt>
                <c:pt idx="4">
                  <c:v>-8</c:v>
                </c:pt>
                <c:pt idx="5">
                  <c:v>12</c:v>
                </c:pt>
              </c:numCache>
            </c:numRef>
          </c:val>
          <c:smooth val="0"/>
          <c:extLst>
            <c:ext xmlns:c16="http://schemas.microsoft.com/office/drawing/2014/chart" uri="{C3380CC4-5D6E-409C-BE32-E72D297353CC}">
              <c16:uniqueId val="{00000002-3D72-40DE-9927-6BAB7CFDDC4A}"/>
            </c:ext>
          </c:extLst>
        </c:ser>
        <c:dLbls>
          <c:showLegendKey val="0"/>
          <c:showVal val="0"/>
          <c:showCatName val="0"/>
          <c:showSerName val="0"/>
          <c:showPercent val="0"/>
          <c:showBubbleSize val="0"/>
        </c:dLbls>
        <c:marker val="1"/>
        <c:smooth val="0"/>
        <c:axId val="308166976"/>
        <c:axId val="593346592"/>
      </c:lineChart>
      <c:catAx>
        <c:axId val="308166976"/>
        <c:scaling>
          <c:orientation val="minMax"/>
        </c:scaling>
        <c:delete val="0"/>
        <c:axPos val="b"/>
        <c:numFmt formatCode="General" sourceLinked="1"/>
        <c:majorTickMark val="none"/>
        <c:minorTickMark val="none"/>
        <c:tickLblPos val="low"/>
        <c:spPr>
          <a:ln w="12690">
            <a:solidFill>
              <a:schemeClr val="tx2">
                <a:lumMod val="60000"/>
                <a:lumOff val="40000"/>
              </a:schemeClr>
            </a:solidFill>
            <a:prstDash val="solid"/>
          </a:ln>
        </c:spPr>
        <c:txPr>
          <a:bodyPr rot="0" vert="horz"/>
          <a:lstStyle/>
          <a:p>
            <a:pPr>
              <a:defRPr sz="1400" b="0">
                <a:solidFill>
                  <a:schemeClr val="tx2"/>
                </a:solidFill>
              </a:defRPr>
            </a:pPr>
            <a:endParaRPr lang="en-US"/>
          </a:p>
        </c:txPr>
        <c:crossAx val="593346592"/>
        <c:crosses val="autoZero"/>
        <c:auto val="1"/>
        <c:lblAlgn val="ctr"/>
        <c:lblOffset val="100"/>
        <c:tickLblSkip val="1"/>
        <c:tickMarkSkip val="1"/>
        <c:noMultiLvlLbl val="0"/>
      </c:catAx>
      <c:valAx>
        <c:axId val="593346592"/>
        <c:scaling>
          <c:orientation val="minMax"/>
          <c:max val="20"/>
          <c:min val="-15"/>
        </c:scaling>
        <c:delete val="0"/>
        <c:axPos val="r"/>
        <c:majorGridlines>
          <c:spPr>
            <a:ln>
              <a:solidFill>
                <a:schemeClr val="tx2">
                  <a:lumMod val="20000"/>
                  <a:lumOff val="80000"/>
                </a:schemeClr>
              </a:solidFill>
            </a:ln>
          </c:spPr>
        </c:majorGridlines>
        <c:numFmt formatCode="General" sourceLinked="1"/>
        <c:majorTickMark val="out"/>
        <c:minorTickMark val="none"/>
        <c:tickLblPos val="nextTo"/>
        <c:spPr>
          <a:ln w="3173">
            <a:noFill/>
            <a:prstDash val="solid"/>
          </a:ln>
        </c:spPr>
        <c:txPr>
          <a:bodyPr rot="0" vert="horz"/>
          <a:lstStyle/>
          <a:p>
            <a:pPr>
              <a:defRPr sz="1400" b="0">
                <a:solidFill>
                  <a:schemeClr val="tx2"/>
                </a:solidFill>
              </a:defRPr>
            </a:pPr>
            <a:endParaRPr lang="en-US"/>
          </a:p>
        </c:txPr>
        <c:crossAx val="308166976"/>
        <c:crosses val="max"/>
        <c:crossBetween val="between"/>
      </c:valAx>
      <c:catAx>
        <c:axId val="593346984"/>
        <c:scaling>
          <c:orientation val="minMax"/>
        </c:scaling>
        <c:delete val="1"/>
        <c:axPos val="b"/>
        <c:numFmt formatCode="General" sourceLinked="1"/>
        <c:majorTickMark val="out"/>
        <c:minorTickMark val="none"/>
        <c:tickLblPos val="none"/>
        <c:crossAx val="593347376"/>
        <c:crosses val="autoZero"/>
        <c:auto val="1"/>
        <c:lblAlgn val="ctr"/>
        <c:lblOffset val="100"/>
        <c:noMultiLvlLbl val="0"/>
      </c:catAx>
      <c:valAx>
        <c:axId val="593347376"/>
        <c:scaling>
          <c:orientation val="minMax"/>
          <c:max val="100"/>
          <c:min val="-75"/>
        </c:scaling>
        <c:delete val="0"/>
        <c:axPos val="l"/>
        <c:numFmt formatCode="General" sourceLinked="1"/>
        <c:majorTickMark val="none"/>
        <c:minorTickMark val="none"/>
        <c:tickLblPos val="none"/>
        <c:spPr>
          <a:ln w="9518">
            <a:noFill/>
          </a:ln>
        </c:spPr>
        <c:crossAx val="593346984"/>
        <c:crosses val="autoZero"/>
        <c:crossBetween val="between"/>
      </c:valAx>
      <c:spPr>
        <a:noFill/>
        <a:ln w="25381">
          <a:noFill/>
        </a:ln>
      </c:spPr>
    </c:plotArea>
    <c:plotVisOnly val="1"/>
    <c:dispBlanksAs val="gap"/>
    <c:showDLblsOverMax val="0"/>
  </c:chart>
  <c:spPr>
    <a:noFill/>
    <a:ln>
      <a:noFill/>
    </a:ln>
  </c:spPr>
  <c:txPr>
    <a:bodyPr/>
    <a:lstStyle/>
    <a:p>
      <a:pPr>
        <a:defRPr sz="2000" b="1" i="0" u="none" strike="noStrike" baseline="0">
          <a:solidFill>
            <a:schemeClr val="tx1"/>
          </a:solidFill>
          <a:latin typeface="+mn-lt"/>
          <a:ea typeface="Arial"/>
          <a:cs typeface="Arial"/>
        </a:defRPr>
      </a:pPr>
      <a:endParaRPr lang="en-US"/>
    </a:p>
  </c:txPr>
  <c:externalData r:id="rId1">
    <c:autoUpdate val="0"/>
  </c:externalData>
  <c:userShapes r:id="rId2"/>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954-46F9-B277-F556706C3F0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954-46F9-B277-F556706C3F0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954-46F9-B277-F556706C3F06}"/>
              </c:ext>
            </c:extLst>
          </c:dPt>
          <c:cat>
            <c:strRef>
              <c:f>Sheet1!$A$2:$A$4</c:f>
              <c:strCache>
                <c:ptCount val="3"/>
                <c:pt idx="0">
                  <c:v>1st Qtr</c:v>
                </c:pt>
                <c:pt idx="1">
                  <c:v>2nd Qtr</c:v>
                </c:pt>
                <c:pt idx="2">
                  <c:v>3rd Qtr</c:v>
                </c:pt>
              </c:strCache>
            </c:strRef>
          </c:cat>
          <c:val>
            <c:numRef>
              <c:f>Sheet1!$B$2:$B$4</c:f>
              <c:numCache>
                <c:formatCode>General</c:formatCode>
                <c:ptCount val="3"/>
                <c:pt idx="0">
                  <c:v>33.33</c:v>
                </c:pt>
                <c:pt idx="1">
                  <c:v>33.33</c:v>
                </c:pt>
                <c:pt idx="2">
                  <c:v>33.33</c:v>
                </c:pt>
              </c:numCache>
            </c:numRef>
          </c:val>
          <c:extLst>
            <c:ext xmlns:c16="http://schemas.microsoft.com/office/drawing/2014/chart" uri="{C3380CC4-5D6E-409C-BE32-E72D297353CC}">
              <c16:uniqueId val="{00000006-2954-46F9-B277-F556706C3F0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954-46F9-B277-F556706C3F0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954-46F9-B277-F556706C3F0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954-46F9-B277-F556706C3F06}"/>
              </c:ext>
            </c:extLst>
          </c:dPt>
          <c:cat>
            <c:strRef>
              <c:f>Sheet1!$A$2:$A$4</c:f>
              <c:strCache>
                <c:ptCount val="3"/>
                <c:pt idx="0">
                  <c:v>1st Qtr</c:v>
                </c:pt>
                <c:pt idx="1">
                  <c:v>2nd Qtr</c:v>
                </c:pt>
                <c:pt idx="2">
                  <c:v>3rd Qtr</c:v>
                </c:pt>
              </c:strCache>
            </c:strRef>
          </c:cat>
          <c:val>
            <c:numRef>
              <c:f>Sheet1!$B$2:$B$4</c:f>
              <c:numCache>
                <c:formatCode>General</c:formatCode>
                <c:ptCount val="3"/>
                <c:pt idx="0">
                  <c:v>33.33</c:v>
                </c:pt>
                <c:pt idx="1">
                  <c:v>33.33</c:v>
                </c:pt>
                <c:pt idx="2">
                  <c:v>33.33</c:v>
                </c:pt>
              </c:numCache>
            </c:numRef>
          </c:val>
          <c:extLst>
            <c:ext xmlns:c16="http://schemas.microsoft.com/office/drawing/2014/chart" uri="{C3380CC4-5D6E-409C-BE32-E72D297353CC}">
              <c16:uniqueId val="{00000006-2954-46F9-B277-F556706C3F0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37709862998416"/>
          <c:y val="0"/>
          <c:w val="0.31917836232975139"/>
          <c:h val="0.85558686661759242"/>
        </c:manualLayout>
      </c:layout>
      <c:pie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DDC3-4B11-83A9-D916B530AD0F}"/>
              </c:ext>
            </c:extLst>
          </c:dPt>
          <c:dPt>
            <c:idx val="1"/>
            <c:bubble3D val="0"/>
            <c:spPr>
              <a:solidFill>
                <a:schemeClr val="accent2"/>
              </a:solidFill>
              <a:ln>
                <a:noFill/>
              </a:ln>
              <a:effectLst/>
            </c:spPr>
            <c:extLst>
              <c:ext xmlns:c16="http://schemas.microsoft.com/office/drawing/2014/chart" uri="{C3380CC4-5D6E-409C-BE32-E72D297353CC}">
                <c16:uniqueId val="{00000003-DDC3-4B11-83A9-D916B530AD0F}"/>
              </c:ext>
            </c:extLst>
          </c:dPt>
          <c:dPt>
            <c:idx val="2"/>
            <c:bubble3D val="0"/>
            <c:spPr>
              <a:solidFill>
                <a:schemeClr val="accent3"/>
              </a:solidFill>
              <a:ln>
                <a:noFill/>
              </a:ln>
              <a:effectLst/>
            </c:spPr>
            <c:extLst>
              <c:ext xmlns:c16="http://schemas.microsoft.com/office/drawing/2014/chart" uri="{C3380CC4-5D6E-409C-BE32-E72D297353CC}">
                <c16:uniqueId val="{00000005-DDC3-4B11-83A9-D916B530AD0F}"/>
              </c:ext>
            </c:extLst>
          </c:dPt>
          <c:dPt>
            <c:idx val="3"/>
            <c:bubble3D val="0"/>
            <c:spPr>
              <a:solidFill>
                <a:schemeClr val="accent5"/>
              </a:solidFill>
              <a:ln>
                <a:noFill/>
              </a:ln>
              <a:effectLst/>
            </c:spPr>
            <c:extLst>
              <c:ext xmlns:c16="http://schemas.microsoft.com/office/drawing/2014/chart" uri="{C3380CC4-5D6E-409C-BE32-E72D297353CC}">
                <c16:uniqueId val="{00000007-DDC3-4B11-83A9-D916B530AD0F}"/>
              </c:ext>
            </c:extLst>
          </c:dPt>
          <c:dLbls>
            <c:dLbl>
              <c:idx val="0"/>
              <c:layout>
                <c:manualLayout>
                  <c:x val="-0.1172312096938553"/>
                  <c:y val="-8.858929524960143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DC3-4B11-83A9-D916B530AD0F}"/>
                </c:ext>
              </c:extLst>
            </c:dLbl>
            <c:dLbl>
              <c:idx val="3"/>
              <c:layout>
                <c:manualLayout>
                  <c:x val="4.3681405602763693E-2"/>
                  <c:y val="6.741335750297400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DC3-4B11-83A9-D916B530AD0F}"/>
                </c:ext>
              </c:extLst>
            </c:dLbl>
            <c:numFmt formatCode="0%" sourceLinked="0"/>
            <c:spPr>
              <a:noFill/>
              <a:ln>
                <a:noFill/>
              </a:ln>
              <a:effectLst/>
            </c:spPr>
            <c:txPr>
              <a:bodyPr rot="0" spcFirstLastPara="1" vertOverflow="ellipsis" vert="horz" wrap="square" anchor="ctr" anchorCtr="1"/>
              <a:lstStyle/>
              <a:p>
                <a:pPr>
                  <a:lnSpc>
                    <a:spcPct val="90000"/>
                  </a:lnSpc>
                  <a:defRPr sz="1800" b="1" i="0" u="none" strike="noStrike" kern="1200" baseline="0">
                    <a:solidFill>
                      <a:schemeClr val="bg1"/>
                    </a:solidFill>
                    <a:latin typeface="+mn-lt"/>
                    <a:ea typeface="+mn-ea"/>
                    <a:cs typeface="+mn-cs"/>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Other</c:v>
                </c:pt>
              </c:strCache>
            </c:strRef>
          </c:cat>
          <c:val>
            <c:numRef>
              <c:f>Sheet1!$B$2:$E$2</c:f>
              <c:numCache>
                <c:formatCode>s\t\a\nd\a\rd</c:formatCode>
                <c:ptCount val="4"/>
                <c:pt idx="0">
                  <c:v>90</c:v>
                </c:pt>
                <c:pt idx="1">
                  <c:v>27.4</c:v>
                </c:pt>
                <c:pt idx="2">
                  <c:v>20.399999999999999</c:v>
                </c:pt>
                <c:pt idx="3">
                  <c:v>15</c:v>
                </c:pt>
              </c:numCache>
            </c:numRef>
          </c:val>
          <c:extLst>
            <c:ext xmlns:c16="http://schemas.microsoft.com/office/drawing/2014/chart" uri="{C3380CC4-5D6E-409C-BE32-E72D297353CC}">
              <c16:uniqueId val="{00000008-DDC3-4B11-83A9-D916B530AD0F}"/>
            </c:ext>
          </c:extLst>
        </c:ser>
        <c:ser>
          <c:idx val="1"/>
          <c:order val="1"/>
          <c:tx>
            <c:strRef>
              <c:f>Sheet1!$A$6</c:f>
              <c:strCache>
                <c:ptCount val="1"/>
                <c:pt idx="0">
                  <c:v>3</c:v>
                </c:pt>
              </c:strCache>
            </c:strRef>
          </c:tx>
          <c:dPt>
            <c:idx val="0"/>
            <c:bubble3D val="0"/>
            <c:spPr>
              <a:solidFill>
                <a:schemeClr val="accent1"/>
              </a:solidFill>
              <a:ln>
                <a:noFill/>
              </a:ln>
              <a:effectLst/>
            </c:spPr>
            <c:extLst>
              <c:ext xmlns:c16="http://schemas.microsoft.com/office/drawing/2014/chart" uri="{C3380CC4-5D6E-409C-BE32-E72D297353CC}">
                <c16:uniqueId val="{00000009-A4A6-224D-9E7E-E57CFA93DA2C}"/>
              </c:ext>
            </c:extLst>
          </c:dPt>
          <c:dPt>
            <c:idx val="1"/>
            <c:bubble3D val="0"/>
            <c:spPr>
              <a:solidFill>
                <a:schemeClr val="accent2"/>
              </a:solidFill>
              <a:ln>
                <a:noFill/>
              </a:ln>
              <a:effectLst/>
            </c:spPr>
            <c:extLst>
              <c:ext xmlns:c16="http://schemas.microsoft.com/office/drawing/2014/chart" uri="{C3380CC4-5D6E-409C-BE32-E72D297353CC}">
                <c16:uniqueId val="{0000000B-A4A6-224D-9E7E-E57CFA93DA2C}"/>
              </c:ext>
            </c:extLst>
          </c:dPt>
          <c:dPt>
            <c:idx val="2"/>
            <c:bubble3D val="0"/>
            <c:spPr>
              <a:solidFill>
                <a:schemeClr val="accent3"/>
              </a:solidFill>
              <a:ln>
                <a:noFill/>
              </a:ln>
              <a:effectLst/>
            </c:spPr>
            <c:extLst>
              <c:ext xmlns:c16="http://schemas.microsoft.com/office/drawing/2014/chart" uri="{C3380CC4-5D6E-409C-BE32-E72D297353CC}">
                <c16:uniqueId val="{0000000D-A4A6-224D-9E7E-E57CFA93DA2C}"/>
              </c:ext>
            </c:extLst>
          </c:dPt>
          <c:dPt>
            <c:idx val="3"/>
            <c:bubble3D val="0"/>
            <c:spPr>
              <a:solidFill>
                <a:schemeClr val="accent4"/>
              </a:solidFill>
              <a:ln>
                <a:noFill/>
              </a:ln>
              <a:effectLst/>
            </c:spPr>
            <c:extLst>
              <c:ext xmlns:c16="http://schemas.microsoft.com/office/drawing/2014/chart" uri="{C3380CC4-5D6E-409C-BE32-E72D297353CC}">
                <c16:uniqueId val="{0000000F-A4A6-224D-9E7E-E57CFA93DA2C}"/>
              </c:ext>
            </c:extLst>
          </c:dPt>
          <c:cat>
            <c:strRef>
              <c:f>Sheet1!$B$1:$E$1</c:f>
              <c:strCache>
                <c:ptCount val="4"/>
                <c:pt idx="0">
                  <c:v>Label A</c:v>
                </c:pt>
                <c:pt idx="1">
                  <c:v>Label B</c:v>
                </c:pt>
                <c:pt idx="2">
                  <c:v>Label C</c:v>
                </c:pt>
                <c:pt idx="3">
                  <c:v>Other</c:v>
                </c:pt>
              </c:strCache>
            </c:strRef>
          </c:cat>
          <c:val>
            <c:numRef>
              <c:f>Sheet1!$B$6:$E$6</c:f>
              <c:numCache>
                <c:formatCode>General</c:formatCode>
                <c:ptCount val="4"/>
                <c:pt idx="0" formatCode="s\t\a\nd\a\rd">
                  <c:v>0</c:v>
                </c:pt>
              </c:numCache>
            </c:numRef>
          </c:val>
          <c:extLst>
            <c:ext xmlns:c16="http://schemas.microsoft.com/office/drawing/2014/chart" uri="{C3380CC4-5D6E-409C-BE32-E72D297353CC}">
              <c16:uniqueId val="{00000009-DDC3-4B11-83A9-D916B530AD0F}"/>
            </c:ext>
          </c:extLst>
        </c:ser>
        <c:dLbls>
          <c:showLegendKey val="0"/>
          <c:showVal val="0"/>
          <c:showCatName val="0"/>
          <c:showSerName val="0"/>
          <c:showPercent val="0"/>
          <c:showBubbleSize val="0"/>
          <c:showLeaderLines val="0"/>
        </c:dLbls>
        <c:firstSliceAng val="36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bg1"/>
          </a:solidFill>
        </a:defRPr>
      </a:pPr>
      <a:endParaRPr lang="en-US"/>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380086738189214"/>
          <c:y val="1.0424285360885091E-3"/>
          <c:w val="0.41991772711959263"/>
          <c:h val="0.99895757146391151"/>
        </c:manualLayout>
      </c:layout>
      <c:doughnut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6CB4-469E-A48C-E8EDAC39A96D}"/>
              </c:ext>
            </c:extLst>
          </c:dPt>
          <c:dPt>
            <c:idx val="1"/>
            <c:bubble3D val="0"/>
            <c:spPr>
              <a:solidFill>
                <a:schemeClr val="accent2"/>
              </a:solidFill>
              <a:ln>
                <a:noFill/>
              </a:ln>
              <a:effectLst/>
            </c:spPr>
            <c:extLst>
              <c:ext xmlns:c16="http://schemas.microsoft.com/office/drawing/2014/chart" uri="{C3380CC4-5D6E-409C-BE32-E72D297353CC}">
                <c16:uniqueId val="{00000003-6CB4-469E-A48C-E8EDAC39A96D}"/>
              </c:ext>
            </c:extLst>
          </c:dPt>
          <c:dPt>
            <c:idx val="2"/>
            <c:bubble3D val="0"/>
            <c:spPr>
              <a:solidFill>
                <a:schemeClr val="accent3"/>
              </a:solidFill>
              <a:ln>
                <a:noFill/>
              </a:ln>
              <a:effectLst/>
            </c:spPr>
            <c:extLst>
              <c:ext xmlns:c16="http://schemas.microsoft.com/office/drawing/2014/chart" uri="{C3380CC4-5D6E-409C-BE32-E72D297353CC}">
                <c16:uniqueId val="{00000005-6CB4-469E-A48C-E8EDAC39A96D}"/>
              </c:ext>
            </c:extLst>
          </c:dPt>
          <c:dPt>
            <c:idx val="3"/>
            <c:bubble3D val="0"/>
            <c:spPr>
              <a:solidFill>
                <a:schemeClr val="accent5"/>
              </a:solidFill>
              <a:ln>
                <a:noFill/>
              </a:ln>
              <a:effectLst/>
            </c:spPr>
            <c:extLst>
              <c:ext xmlns:c16="http://schemas.microsoft.com/office/drawing/2014/chart" uri="{C3380CC4-5D6E-409C-BE32-E72D297353CC}">
                <c16:uniqueId val="{00000007-6CB4-469E-A48C-E8EDAC39A96D}"/>
              </c:ext>
            </c:extLst>
          </c:dPt>
          <c:dLbls>
            <c:dLbl>
              <c:idx val="0"/>
              <c:layout>
                <c:manualLayout>
                  <c:x val="5.2346624026732083E-3"/>
                  <c:y val="-0.11089897887883546"/>
                </c:manualLayout>
              </c:layout>
              <c:showLegendKey val="0"/>
              <c:showVal val="0"/>
              <c:showCatName val="0"/>
              <c:showSerName val="0"/>
              <c:showPercent val="1"/>
              <c:showBubbleSize val="0"/>
              <c:extLst>
                <c:ext xmlns:c15="http://schemas.microsoft.com/office/drawing/2012/chart" uri="{CE6537A1-D6FC-4f65-9D91-7224C49458BB}">
                  <c15:layout>
                    <c:manualLayout>
                      <c:w val="4.6365977057347595E-2"/>
                      <c:h val="5.9396313184054979E-2"/>
                    </c:manualLayout>
                  </c15:layout>
                </c:ext>
                <c:ext xmlns:c16="http://schemas.microsoft.com/office/drawing/2014/chart" uri="{C3380CC4-5D6E-409C-BE32-E72D297353CC}">
                  <c16:uniqueId val="{00000001-6CB4-469E-A48C-E8EDAC39A96D}"/>
                </c:ext>
              </c:extLst>
            </c:dLbl>
            <c:dLbl>
              <c:idx val="1"/>
              <c:layout>
                <c:manualLayout>
                  <c:x val="-4.0453724658958936E-17"/>
                  <c:y val="2.6246713735772337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CB4-469E-A48C-E8EDAC39A96D}"/>
                </c:ext>
              </c:extLst>
            </c:dLbl>
            <c:dLbl>
              <c:idx val="2"/>
              <c:layout>
                <c:manualLayout>
                  <c:x val="0"/>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CB4-469E-A48C-E8EDAC39A96D}"/>
                </c:ext>
              </c:extLst>
            </c:dLbl>
            <c:dLbl>
              <c:idx val="3"/>
              <c:layout>
                <c:manualLayout>
                  <c:x val="1.7561520922404227E-3"/>
                  <c:y val="1.7965565551580889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6CB4-469E-A48C-E8EDAC39A96D}"/>
                </c:ext>
              </c:extLst>
            </c:dLbl>
            <c:spPr>
              <a:noFill/>
              <a:ln>
                <a:noFill/>
              </a:ln>
              <a:effectLst/>
            </c:spPr>
            <c:txPr>
              <a:bodyPr rot="0" spcFirstLastPara="1" vertOverflow="ellipsis" vert="horz" wrap="square" anchor="ctr" anchorCtr="1"/>
              <a:lstStyle/>
              <a:p>
                <a:pPr>
                  <a:lnSpc>
                    <a:spcPct val="90000"/>
                  </a:lnSpc>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Other</c:v>
                </c:pt>
              </c:strCache>
            </c:strRef>
          </c:cat>
          <c:val>
            <c:numRef>
              <c:f>Sheet1!$B$2:$E$2</c:f>
              <c:numCache>
                <c:formatCode>s\t\a\nd\a\rd</c:formatCode>
                <c:ptCount val="4"/>
                <c:pt idx="0">
                  <c:v>90</c:v>
                </c:pt>
                <c:pt idx="1">
                  <c:v>27.4</c:v>
                </c:pt>
                <c:pt idx="2">
                  <c:v>20.399999999999999</c:v>
                </c:pt>
                <c:pt idx="3">
                  <c:v>15</c:v>
                </c:pt>
              </c:numCache>
            </c:numRef>
          </c:val>
          <c:extLst>
            <c:ext xmlns:c16="http://schemas.microsoft.com/office/drawing/2014/chart" uri="{C3380CC4-5D6E-409C-BE32-E72D297353CC}">
              <c16:uniqueId val="{00000008-6CB4-469E-A48C-E8EDAC39A96D}"/>
            </c:ext>
          </c:extLst>
        </c:ser>
        <c:ser>
          <c:idx val="1"/>
          <c:order val="1"/>
          <c:tx>
            <c:strRef>
              <c:f>Sheet1!$A$6</c:f>
              <c:strCache>
                <c:ptCount val="1"/>
                <c:pt idx="0">
                  <c:v>3</c:v>
                </c:pt>
              </c:strCache>
            </c:strRef>
          </c:tx>
          <c:dPt>
            <c:idx val="0"/>
            <c:bubble3D val="0"/>
            <c:spPr>
              <a:solidFill>
                <a:schemeClr val="accent1"/>
              </a:solidFill>
              <a:ln>
                <a:noFill/>
              </a:ln>
              <a:effectLst/>
            </c:spPr>
            <c:extLst>
              <c:ext xmlns:c16="http://schemas.microsoft.com/office/drawing/2014/chart" uri="{C3380CC4-5D6E-409C-BE32-E72D297353CC}">
                <c16:uniqueId val="{00000009-6F85-BF46-9D93-BF65609A0165}"/>
              </c:ext>
            </c:extLst>
          </c:dPt>
          <c:dPt>
            <c:idx val="1"/>
            <c:bubble3D val="0"/>
            <c:spPr>
              <a:solidFill>
                <a:schemeClr val="accent2"/>
              </a:solidFill>
              <a:ln>
                <a:noFill/>
              </a:ln>
              <a:effectLst/>
            </c:spPr>
            <c:extLst>
              <c:ext xmlns:c16="http://schemas.microsoft.com/office/drawing/2014/chart" uri="{C3380CC4-5D6E-409C-BE32-E72D297353CC}">
                <c16:uniqueId val="{0000000B-6F85-BF46-9D93-BF65609A0165}"/>
              </c:ext>
            </c:extLst>
          </c:dPt>
          <c:dPt>
            <c:idx val="2"/>
            <c:bubble3D val="0"/>
            <c:spPr>
              <a:solidFill>
                <a:schemeClr val="accent3"/>
              </a:solidFill>
              <a:ln>
                <a:noFill/>
              </a:ln>
              <a:effectLst/>
            </c:spPr>
            <c:extLst>
              <c:ext xmlns:c16="http://schemas.microsoft.com/office/drawing/2014/chart" uri="{C3380CC4-5D6E-409C-BE32-E72D297353CC}">
                <c16:uniqueId val="{0000000D-6F85-BF46-9D93-BF65609A0165}"/>
              </c:ext>
            </c:extLst>
          </c:dPt>
          <c:dPt>
            <c:idx val="3"/>
            <c:bubble3D val="0"/>
            <c:spPr>
              <a:solidFill>
                <a:schemeClr val="accent4"/>
              </a:solidFill>
              <a:ln>
                <a:noFill/>
              </a:ln>
              <a:effectLst/>
            </c:spPr>
            <c:extLst>
              <c:ext xmlns:c16="http://schemas.microsoft.com/office/drawing/2014/chart" uri="{C3380CC4-5D6E-409C-BE32-E72D297353CC}">
                <c16:uniqueId val="{0000000F-6F85-BF46-9D93-BF65609A0165}"/>
              </c:ext>
            </c:extLst>
          </c:dPt>
          <c:cat>
            <c:strRef>
              <c:f>Sheet1!$B$1:$E$1</c:f>
              <c:strCache>
                <c:ptCount val="4"/>
                <c:pt idx="0">
                  <c:v>Label A</c:v>
                </c:pt>
                <c:pt idx="1">
                  <c:v>Label B</c:v>
                </c:pt>
                <c:pt idx="2">
                  <c:v>Label C</c:v>
                </c:pt>
                <c:pt idx="3">
                  <c:v>Other</c:v>
                </c:pt>
              </c:strCache>
            </c:strRef>
          </c:cat>
          <c:val>
            <c:numRef>
              <c:f>Sheet1!$B$6:$E$6</c:f>
              <c:numCache>
                <c:formatCode>General</c:formatCode>
                <c:ptCount val="4"/>
                <c:pt idx="0" formatCode="s\t\a\nd\a\rd">
                  <c:v>0</c:v>
                </c:pt>
              </c:numCache>
            </c:numRef>
          </c:val>
          <c:extLst>
            <c:ext xmlns:c16="http://schemas.microsoft.com/office/drawing/2014/chart" uri="{C3380CC4-5D6E-409C-BE32-E72D297353CC}">
              <c16:uniqueId val="{00000009-6CB4-469E-A48C-E8EDAC39A96D}"/>
            </c:ext>
          </c:extLst>
        </c:ser>
        <c:dLbls>
          <c:showLegendKey val="0"/>
          <c:showVal val="0"/>
          <c:showCatName val="0"/>
          <c:showSerName val="0"/>
          <c:showPercent val="0"/>
          <c:showBubbleSize val="0"/>
          <c:showLeaderLines val="0"/>
        </c:dLbls>
        <c:firstSliceAng val="36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bg1"/>
          </a:solidFill>
        </a:defRPr>
      </a:pPr>
      <a:endParaRPr lang="en-US"/>
    </a:p>
  </c:txPr>
  <c:externalData r:id="rId1">
    <c:autoUpdate val="0"/>
  </c:externalData>
  <c:userShapes r:id="rId2"/>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77847089082897E-4"/>
          <c:y val="4.5845272206303717E-2"/>
          <c:w val="0.99915022152910915"/>
          <c:h val="0.92889083850591103"/>
        </c:manualLayout>
      </c:layout>
      <c:pie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5195-A04B-9C45-292227F9AC4B}"/>
              </c:ext>
            </c:extLst>
          </c:dPt>
          <c:dPt>
            <c:idx val="1"/>
            <c:bubble3D val="0"/>
            <c:spPr>
              <a:solidFill>
                <a:schemeClr val="accent2"/>
              </a:solidFill>
              <a:ln>
                <a:noFill/>
              </a:ln>
              <a:effectLst/>
            </c:spPr>
            <c:extLst>
              <c:ext xmlns:c16="http://schemas.microsoft.com/office/drawing/2014/chart" uri="{C3380CC4-5D6E-409C-BE32-E72D297353CC}">
                <c16:uniqueId val="{00000001-BDAF-4FD7-AE55-DA4B8B64050E}"/>
              </c:ext>
            </c:extLst>
          </c:dPt>
          <c:dPt>
            <c:idx val="2"/>
            <c:bubble3D val="0"/>
            <c:spPr>
              <a:solidFill>
                <a:schemeClr val="accent3"/>
              </a:solidFill>
              <a:ln>
                <a:noFill/>
              </a:ln>
              <a:effectLst/>
            </c:spPr>
            <c:extLst>
              <c:ext xmlns:c16="http://schemas.microsoft.com/office/drawing/2014/chart" uri="{C3380CC4-5D6E-409C-BE32-E72D297353CC}">
                <c16:uniqueId val="{00000003-BDAF-4FD7-AE55-DA4B8B64050E}"/>
              </c:ext>
            </c:extLst>
          </c:dPt>
          <c:cat>
            <c:strRef>
              <c:f>Sheet1!$B$1:$D$1</c:f>
              <c:strCache>
                <c:ptCount val="3"/>
                <c:pt idx="0">
                  <c:v>Label A</c:v>
                </c:pt>
                <c:pt idx="1">
                  <c:v>Label B</c:v>
                </c:pt>
                <c:pt idx="2">
                  <c:v>Label C</c:v>
                </c:pt>
              </c:strCache>
            </c:strRef>
          </c:cat>
          <c:val>
            <c:numRef>
              <c:f>Sheet1!$B$2:$D$2</c:f>
              <c:numCache>
                <c:formatCode>s\t\a\nd\a\rd</c:formatCode>
                <c:ptCount val="3"/>
                <c:pt idx="0">
                  <c:v>30</c:v>
                </c:pt>
                <c:pt idx="1">
                  <c:v>20</c:v>
                </c:pt>
                <c:pt idx="2">
                  <c:v>10</c:v>
                </c:pt>
              </c:numCache>
            </c:numRef>
          </c:val>
          <c:extLst>
            <c:ext xmlns:c16="http://schemas.microsoft.com/office/drawing/2014/chart" uri="{C3380CC4-5D6E-409C-BE32-E72D297353CC}">
              <c16:uniqueId val="{00000004-BDAF-4FD7-AE55-DA4B8B64050E}"/>
            </c:ext>
          </c:extLst>
        </c:ser>
        <c:ser>
          <c:idx val="1"/>
          <c:order val="1"/>
          <c:tx>
            <c:strRef>
              <c:f>Sheet1!$A$3</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7-5195-A04B-9C45-292227F9AC4B}"/>
              </c:ext>
            </c:extLst>
          </c:dPt>
          <c:dPt>
            <c:idx val="1"/>
            <c:bubble3D val="0"/>
            <c:spPr>
              <a:solidFill>
                <a:schemeClr val="accent2"/>
              </a:solidFill>
              <a:ln>
                <a:noFill/>
              </a:ln>
              <a:effectLst/>
            </c:spPr>
            <c:extLst>
              <c:ext xmlns:c16="http://schemas.microsoft.com/office/drawing/2014/chart" uri="{C3380CC4-5D6E-409C-BE32-E72D297353CC}">
                <c16:uniqueId val="{00000009-5195-A04B-9C45-292227F9AC4B}"/>
              </c:ext>
            </c:extLst>
          </c:dPt>
          <c:dPt>
            <c:idx val="2"/>
            <c:bubble3D val="0"/>
            <c:spPr>
              <a:solidFill>
                <a:schemeClr val="accent3"/>
              </a:solidFill>
              <a:ln>
                <a:noFill/>
              </a:ln>
              <a:effectLst/>
            </c:spPr>
            <c:extLst>
              <c:ext xmlns:c16="http://schemas.microsoft.com/office/drawing/2014/chart" uri="{C3380CC4-5D6E-409C-BE32-E72D297353CC}">
                <c16:uniqueId val="{0000000B-5195-A04B-9C45-292227F9AC4B}"/>
              </c:ext>
            </c:extLst>
          </c:dPt>
          <c:cat>
            <c:strRef>
              <c:f>Sheet1!$B$1:$D$1</c:f>
              <c:strCache>
                <c:ptCount val="3"/>
                <c:pt idx="0">
                  <c:v>Label A</c:v>
                </c:pt>
                <c:pt idx="1">
                  <c:v>Label B</c:v>
                </c:pt>
                <c:pt idx="2">
                  <c:v>Label C</c:v>
                </c:pt>
              </c:strCache>
            </c:strRef>
          </c:cat>
          <c:val>
            <c:numRef>
              <c:f>Sheet1!$B$3:$D$3</c:f>
              <c:numCache>
                <c:formatCode>General</c:formatCode>
                <c:ptCount val="3"/>
              </c:numCache>
            </c:numRef>
          </c:val>
          <c:extLst>
            <c:ext xmlns:c16="http://schemas.microsoft.com/office/drawing/2014/chart" uri="{C3380CC4-5D6E-409C-BE32-E72D297353CC}">
              <c16:uniqueId val="{00000005-BDAF-4FD7-AE55-DA4B8B64050E}"/>
            </c:ext>
          </c:extLst>
        </c:ser>
        <c:dLbls>
          <c:showLegendKey val="0"/>
          <c:showVal val="0"/>
          <c:showCatName val="0"/>
          <c:showSerName val="0"/>
          <c:showPercent val="0"/>
          <c:showBubbleSize val="0"/>
          <c:showLeaderLines val="0"/>
        </c:dLbls>
        <c:firstSliceAng val="18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77847089082897E-4"/>
          <c:y val="4.5845272206303717E-2"/>
          <c:w val="0.99915022152910915"/>
          <c:h val="0.92889083850591103"/>
        </c:manualLayout>
      </c:layout>
      <c:pie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00EB-1444-A79A-438D5D100C4E}"/>
              </c:ext>
            </c:extLst>
          </c:dPt>
          <c:dPt>
            <c:idx val="1"/>
            <c:bubble3D val="0"/>
            <c:spPr>
              <a:solidFill>
                <a:schemeClr val="accent2"/>
              </a:solidFill>
              <a:ln>
                <a:noFill/>
              </a:ln>
              <a:effectLst/>
            </c:spPr>
            <c:extLst>
              <c:ext xmlns:c16="http://schemas.microsoft.com/office/drawing/2014/chart" uri="{C3380CC4-5D6E-409C-BE32-E72D297353CC}">
                <c16:uniqueId val="{00000001-3365-483C-8914-40F1CE8972AE}"/>
              </c:ext>
            </c:extLst>
          </c:dPt>
          <c:dPt>
            <c:idx val="2"/>
            <c:bubble3D val="0"/>
            <c:spPr>
              <a:solidFill>
                <a:schemeClr val="accent3"/>
              </a:solidFill>
              <a:ln>
                <a:noFill/>
              </a:ln>
              <a:effectLst/>
            </c:spPr>
            <c:extLst>
              <c:ext xmlns:c16="http://schemas.microsoft.com/office/drawing/2014/chart" uri="{C3380CC4-5D6E-409C-BE32-E72D297353CC}">
                <c16:uniqueId val="{00000003-3365-483C-8914-40F1CE8972AE}"/>
              </c:ext>
            </c:extLst>
          </c:dPt>
          <c:cat>
            <c:strRef>
              <c:f>Sheet1!$B$1:$D$1</c:f>
              <c:strCache>
                <c:ptCount val="3"/>
                <c:pt idx="0">
                  <c:v>Label A</c:v>
                </c:pt>
                <c:pt idx="1">
                  <c:v>Label B</c:v>
                </c:pt>
                <c:pt idx="2">
                  <c:v>Label C</c:v>
                </c:pt>
              </c:strCache>
            </c:strRef>
          </c:cat>
          <c:val>
            <c:numRef>
              <c:f>Sheet1!$B$2:$D$2</c:f>
              <c:numCache>
                <c:formatCode>General</c:formatCode>
                <c:ptCount val="3"/>
                <c:pt idx="0">
                  <c:v>40</c:v>
                </c:pt>
                <c:pt idx="1">
                  <c:v>35</c:v>
                </c:pt>
                <c:pt idx="2">
                  <c:v>20</c:v>
                </c:pt>
              </c:numCache>
            </c:numRef>
          </c:val>
          <c:extLst>
            <c:ext xmlns:c16="http://schemas.microsoft.com/office/drawing/2014/chart" uri="{C3380CC4-5D6E-409C-BE32-E72D297353CC}">
              <c16:uniqueId val="{00000004-3365-483C-8914-40F1CE8972AE}"/>
            </c:ext>
          </c:extLst>
        </c:ser>
        <c:ser>
          <c:idx val="1"/>
          <c:order val="1"/>
          <c:tx>
            <c:strRef>
              <c:f>Sheet1!$A$3</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7-00EB-1444-A79A-438D5D100C4E}"/>
              </c:ext>
            </c:extLst>
          </c:dPt>
          <c:dPt>
            <c:idx val="1"/>
            <c:bubble3D val="0"/>
            <c:spPr>
              <a:solidFill>
                <a:schemeClr val="accent2"/>
              </a:solidFill>
              <a:ln>
                <a:noFill/>
              </a:ln>
              <a:effectLst/>
            </c:spPr>
            <c:extLst>
              <c:ext xmlns:c16="http://schemas.microsoft.com/office/drawing/2014/chart" uri="{C3380CC4-5D6E-409C-BE32-E72D297353CC}">
                <c16:uniqueId val="{00000009-00EB-1444-A79A-438D5D100C4E}"/>
              </c:ext>
            </c:extLst>
          </c:dPt>
          <c:dPt>
            <c:idx val="2"/>
            <c:bubble3D val="0"/>
            <c:spPr>
              <a:solidFill>
                <a:schemeClr val="accent3"/>
              </a:solidFill>
              <a:ln>
                <a:noFill/>
              </a:ln>
              <a:effectLst/>
            </c:spPr>
            <c:extLst>
              <c:ext xmlns:c16="http://schemas.microsoft.com/office/drawing/2014/chart" uri="{C3380CC4-5D6E-409C-BE32-E72D297353CC}">
                <c16:uniqueId val="{0000000B-00EB-1444-A79A-438D5D100C4E}"/>
              </c:ext>
            </c:extLst>
          </c:dPt>
          <c:cat>
            <c:strRef>
              <c:f>Sheet1!$B$1:$D$1</c:f>
              <c:strCache>
                <c:ptCount val="3"/>
                <c:pt idx="0">
                  <c:v>Label A</c:v>
                </c:pt>
                <c:pt idx="1">
                  <c:v>Label B</c:v>
                </c:pt>
                <c:pt idx="2">
                  <c:v>Label C</c:v>
                </c:pt>
              </c:strCache>
            </c:strRef>
          </c:cat>
          <c:val>
            <c:numRef>
              <c:f>Sheet1!$B$3:$D$3</c:f>
              <c:numCache>
                <c:formatCode>General</c:formatCode>
                <c:ptCount val="3"/>
              </c:numCache>
            </c:numRef>
          </c:val>
          <c:extLst>
            <c:ext xmlns:c16="http://schemas.microsoft.com/office/drawing/2014/chart" uri="{C3380CC4-5D6E-409C-BE32-E72D297353CC}">
              <c16:uniqueId val="{00000005-3365-483C-8914-40F1CE8972AE}"/>
            </c:ext>
          </c:extLst>
        </c:ser>
        <c:dLbls>
          <c:showLegendKey val="0"/>
          <c:showVal val="0"/>
          <c:showCatName val="0"/>
          <c:showSerName val="0"/>
          <c:showPercent val="0"/>
          <c:showBubbleSize val="0"/>
          <c:showLeaderLines val="0"/>
        </c:dLbls>
        <c:firstSliceAng val="208"/>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09838107098406"/>
          <c:y val="3.133159268929514E-2"/>
          <c:w val="0.87671232876712257"/>
          <c:h val="0.94255874673629247"/>
        </c:manualLayout>
      </c:layout>
      <c:barChart>
        <c:barDir val="bar"/>
        <c:grouping val="stacked"/>
        <c:varyColors val="0"/>
        <c:ser>
          <c:idx val="0"/>
          <c:order val="0"/>
          <c:tx>
            <c:strRef>
              <c:f>Sheet1!$A$2</c:f>
              <c:strCache>
                <c:ptCount val="1"/>
              </c:strCache>
            </c:strRef>
          </c:tx>
          <c:spPr>
            <a:solidFill>
              <a:schemeClr val="accent3"/>
            </a:solidFill>
            <a:ln w="3187">
              <a:noFill/>
              <a:prstDash val="solid"/>
            </a:ln>
          </c:spPr>
          <c:invertIfNegative val="0"/>
          <c:dLbls>
            <c:spPr>
              <a:noFill/>
              <a:ln w="25499">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2:$E$2</c:f>
              <c:numCache>
                <c:formatCode>General</c:formatCode>
                <c:ptCount val="4"/>
                <c:pt idx="0">
                  <c:v>1</c:v>
                </c:pt>
                <c:pt idx="1">
                  <c:v>3</c:v>
                </c:pt>
                <c:pt idx="2">
                  <c:v>2</c:v>
                </c:pt>
                <c:pt idx="3">
                  <c:v>4</c:v>
                </c:pt>
              </c:numCache>
            </c:numRef>
          </c:val>
          <c:extLst>
            <c:ext xmlns:c16="http://schemas.microsoft.com/office/drawing/2014/chart" uri="{C3380CC4-5D6E-409C-BE32-E72D297353CC}">
              <c16:uniqueId val="{00000000-2713-4177-8C7B-A76AD16643B4}"/>
            </c:ext>
          </c:extLst>
        </c:ser>
        <c:ser>
          <c:idx val="1"/>
          <c:order val="1"/>
          <c:tx>
            <c:strRef>
              <c:f>Sheet1!$A$3</c:f>
              <c:strCache>
                <c:ptCount val="1"/>
              </c:strCache>
            </c:strRef>
          </c:tx>
          <c:spPr>
            <a:solidFill>
              <a:schemeClr val="accent1"/>
            </a:solidFill>
            <a:ln w="25499">
              <a:noFill/>
            </a:ln>
          </c:spPr>
          <c:invertIfNegative val="0"/>
          <c:dLbls>
            <c:spPr>
              <a:noFill/>
              <a:ln w="25499">
                <a:no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3:$E$3</c:f>
              <c:numCache>
                <c:formatCode>General</c:formatCode>
                <c:ptCount val="4"/>
                <c:pt idx="0">
                  <c:v>-2</c:v>
                </c:pt>
                <c:pt idx="1">
                  <c:v>-1</c:v>
                </c:pt>
                <c:pt idx="2">
                  <c:v>-3</c:v>
                </c:pt>
                <c:pt idx="3">
                  <c:v>-2</c:v>
                </c:pt>
              </c:numCache>
            </c:numRef>
          </c:val>
          <c:extLst>
            <c:ext xmlns:c16="http://schemas.microsoft.com/office/drawing/2014/chart" uri="{C3380CC4-5D6E-409C-BE32-E72D297353CC}">
              <c16:uniqueId val="{00000001-2713-4177-8C7B-A76AD16643B4}"/>
            </c:ext>
          </c:extLst>
        </c:ser>
        <c:dLbls>
          <c:showLegendKey val="0"/>
          <c:showVal val="0"/>
          <c:showCatName val="0"/>
          <c:showSerName val="0"/>
          <c:showPercent val="0"/>
          <c:showBubbleSize val="0"/>
        </c:dLbls>
        <c:gapWidth val="106"/>
        <c:overlap val="100"/>
        <c:axId val="309145928"/>
        <c:axId val="309146320"/>
      </c:barChart>
      <c:catAx>
        <c:axId val="309145928"/>
        <c:scaling>
          <c:orientation val="minMax"/>
        </c:scaling>
        <c:delete val="0"/>
        <c:axPos val="l"/>
        <c:numFmt formatCode="General" sourceLinked="1"/>
        <c:majorTickMark val="none"/>
        <c:minorTickMark val="none"/>
        <c:tickLblPos val="nextTo"/>
        <c:spPr>
          <a:ln w="12749">
            <a:solidFill>
              <a:schemeClr val="tx2">
                <a:lumMod val="60000"/>
                <a:lumOff val="40000"/>
              </a:schemeClr>
            </a:solidFill>
            <a:prstDash val="solid"/>
          </a:ln>
        </c:spPr>
        <c:txPr>
          <a:bodyPr rot="0" vert="horz"/>
          <a:lstStyle/>
          <a:p>
            <a:pPr>
              <a:defRPr/>
            </a:pPr>
            <a:endParaRPr lang="en-US"/>
          </a:p>
        </c:txPr>
        <c:crossAx val="309146320"/>
        <c:crosses val="autoZero"/>
        <c:auto val="1"/>
        <c:lblAlgn val="ctr"/>
        <c:lblOffset val="100"/>
        <c:tickLblSkip val="1"/>
        <c:tickMarkSkip val="1"/>
        <c:noMultiLvlLbl val="0"/>
      </c:catAx>
      <c:valAx>
        <c:axId val="309146320"/>
        <c:scaling>
          <c:orientation val="minMax"/>
        </c:scaling>
        <c:delete val="1"/>
        <c:axPos val="b"/>
        <c:numFmt formatCode="General" sourceLinked="1"/>
        <c:majorTickMark val="out"/>
        <c:minorTickMark val="none"/>
        <c:tickLblPos val="none"/>
        <c:crossAx val="309145928"/>
        <c:crosses val="autoZero"/>
        <c:crossBetween val="between"/>
      </c:valAx>
      <c:spPr>
        <a:noFill/>
        <a:ln w="25499">
          <a:noFill/>
        </a:ln>
      </c:spPr>
    </c:plotArea>
    <c:plotVisOnly val="1"/>
    <c:dispBlanksAs val="gap"/>
    <c:showDLblsOverMax val="0"/>
  </c:chart>
  <c:spPr>
    <a:noFill/>
    <a:ln>
      <a:noFill/>
    </a:ln>
  </c:spPr>
  <c:txPr>
    <a:bodyPr/>
    <a:lstStyle/>
    <a:p>
      <a:pPr>
        <a:defRPr sz="1800" b="1" i="0" u="none" strike="noStrike" baseline="0">
          <a:solidFill>
            <a:schemeClr val="bg1"/>
          </a:solidFill>
          <a:latin typeface="+mn-lt"/>
          <a:ea typeface="Arial"/>
          <a:cs typeface="Arial"/>
        </a:defRPr>
      </a:pPr>
      <a:endParaRPr lang="en-US"/>
    </a:p>
  </c:txPr>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77847089082897E-4"/>
          <c:y val="4.5845272206303717E-2"/>
          <c:w val="0.99915022152910915"/>
          <c:h val="0.92889083850591103"/>
        </c:manualLayout>
      </c:layout>
      <c:doughnut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49F8-E644-8EDE-8F60098D2ED2}"/>
              </c:ext>
            </c:extLst>
          </c:dPt>
          <c:dPt>
            <c:idx val="1"/>
            <c:bubble3D val="0"/>
            <c:spPr>
              <a:solidFill>
                <a:schemeClr val="accent2"/>
              </a:solidFill>
              <a:ln>
                <a:noFill/>
              </a:ln>
              <a:effectLst/>
            </c:spPr>
            <c:extLst>
              <c:ext xmlns:c16="http://schemas.microsoft.com/office/drawing/2014/chart" uri="{C3380CC4-5D6E-409C-BE32-E72D297353CC}">
                <c16:uniqueId val="{00000001-1D32-41B1-AA21-CBE18364AA44}"/>
              </c:ext>
            </c:extLst>
          </c:dPt>
          <c:dPt>
            <c:idx val="2"/>
            <c:bubble3D val="0"/>
            <c:spPr>
              <a:solidFill>
                <a:schemeClr val="accent3"/>
              </a:solidFill>
              <a:ln>
                <a:noFill/>
              </a:ln>
              <a:effectLst/>
            </c:spPr>
            <c:extLst>
              <c:ext xmlns:c16="http://schemas.microsoft.com/office/drawing/2014/chart" uri="{C3380CC4-5D6E-409C-BE32-E72D297353CC}">
                <c16:uniqueId val="{00000003-1D32-41B1-AA21-CBE18364AA44}"/>
              </c:ext>
            </c:extLst>
          </c:dPt>
          <c:cat>
            <c:strRef>
              <c:f>Sheet1!$B$1:$D$1</c:f>
              <c:strCache>
                <c:ptCount val="3"/>
                <c:pt idx="0">
                  <c:v>Label A</c:v>
                </c:pt>
                <c:pt idx="1">
                  <c:v>Label B</c:v>
                </c:pt>
                <c:pt idx="2">
                  <c:v>Label C</c:v>
                </c:pt>
              </c:strCache>
            </c:strRef>
          </c:cat>
          <c:val>
            <c:numRef>
              <c:f>Sheet1!$B$2:$D$2</c:f>
              <c:numCache>
                <c:formatCode>s\t\a\nd\a\rd</c:formatCode>
                <c:ptCount val="3"/>
                <c:pt idx="0">
                  <c:v>30</c:v>
                </c:pt>
                <c:pt idx="1">
                  <c:v>20</c:v>
                </c:pt>
                <c:pt idx="2">
                  <c:v>10</c:v>
                </c:pt>
              </c:numCache>
            </c:numRef>
          </c:val>
          <c:extLst>
            <c:ext xmlns:c16="http://schemas.microsoft.com/office/drawing/2014/chart" uri="{C3380CC4-5D6E-409C-BE32-E72D297353CC}">
              <c16:uniqueId val="{00000004-1D32-41B1-AA21-CBE18364AA44}"/>
            </c:ext>
          </c:extLst>
        </c:ser>
        <c:ser>
          <c:idx val="1"/>
          <c:order val="1"/>
          <c:tx>
            <c:strRef>
              <c:f>Sheet1!$A$3</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7-49F8-E644-8EDE-8F60098D2ED2}"/>
              </c:ext>
            </c:extLst>
          </c:dPt>
          <c:dPt>
            <c:idx val="1"/>
            <c:bubble3D val="0"/>
            <c:spPr>
              <a:solidFill>
                <a:schemeClr val="accent2"/>
              </a:solidFill>
              <a:ln>
                <a:noFill/>
              </a:ln>
              <a:effectLst/>
            </c:spPr>
            <c:extLst>
              <c:ext xmlns:c16="http://schemas.microsoft.com/office/drawing/2014/chart" uri="{C3380CC4-5D6E-409C-BE32-E72D297353CC}">
                <c16:uniqueId val="{00000009-49F8-E644-8EDE-8F60098D2ED2}"/>
              </c:ext>
            </c:extLst>
          </c:dPt>
          <c:dPt>
            <c:idx val="2"/>
            <c:bubble3D val="0"/>
            <c:spPr>
              <a:solidFill>
                <a:schemeClr val="accent3"/>
              </a:solidFill>
              <a:ln>
                <a:noFill/>
              </a:ln>
              <a:effectLst/>
            </c:spPr>
            <c:extLst>
              <c:ext xmlns:c16="http://schemas.microsoft.com/office/drawing/2014/chart" uri="{C3380CC4-5D6E-409C-BE32-E72D297353CC}">
                <c16:uniqueId val="{0000000B-49F8-E644-8EDE-8F60098D2ED2}"/>
              </c:ext>
            </c:extLst>
          </c:dPt>
          <c:cat>
            <c:strRef>
              <c:f>Sheet1!$B$1:$D$1</c:f>
              <c:strCache>
                <c:ptCount val="3"/>
                <c:pt idx="0">
                  <c:v>Label A</c:v>
                </c:pt>
                <c:pt idx="1">
                  <c:v>Label B</c:v>
                </c:pt>
                <c:pt idx="2">
                  <c:v>Label C</c:v>
                </c:pt>
              </c:strCache>
            </c:strRef>
          </c:cat>
          <c:val>
            <c:numRef>
              <c:f>Sheet1!$B$3:$D$3</c:f>
              <c:numCache>
                <c:formatCode>General</c:formatCode>
                <c:ptCount val="3"/>
              </c:numCache>
            </c:numRef>
          </c:val>
          <c:extLst>
            <c:ext xmlns:c16="http://schemas.microsoft.com/office/drawing/2014/chart" uri="{C3380CC4-5D6E-409C-BE32-E72D297353CC}">
              <c16:uniqueId val="{00000005-1D32-41B1-AA21-CBE18364AA44}"/>
            </c:ext>
          </c:extLst>
        </c:ser>
        <c:dLbls>
          <c:showLegendKey val="0"/>
          <c:showVal val="0"/>
          <c:showCatName val="0"/>
          <c:showSerName val="0"/>
          <c:showPercent val="0"/>
          <c:showBubbleSize val="0"/>
          <c:showLeaderLines val="0"/>
        </c:dLbls>
        <c:firstSliceAng val="180"/>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77847089082897E-4"/>
          <c:y val="4.5845272206303717E-2"/>
          <c:w val="0.99915022152910915"/>
          <c:h val="0.92889083850591103"/>
        </c:manualLayout>
      </c:layout>
      <c:doughnutChart>
        <c:varyColors val="1"/>
        <c:ser>
          <c:idx val="0"/>
          <c:order val="0"/>
          <c:tx>
            <c:strRef>
              <c:f>Sheet1!$A$2</c:f>
              <c:strCache>
                <c:ptCount val="1"/>
                <c:pt idx="0">
                  <c:v>Group 1</c:v>
                </c:pt>
              </c:strCache>
            </c:strRef>
          </c:tx>
          <c:dPt>
            <c:idx val="0"/>
            <c:bubble3D val="0"/>
            <c:spPr>
              <a:solidFill>
                <a:schemeClr val="accent1"/>
              </a:solidFill>
              <a:ln>
                <a:noFill/>
              </a:ln>
              <a:effectLst/>
            </c:spPr>
            <c:extLst>
              <c:ext xmlns:c16="http://schemas.microsoft.com/office/drawing/2014/chart" uri="{C3380CC4-5D6E-409C-BE32-E72D297353CC}">
                <c16:uniqueId val="{00000001-89D3-CD48-85BF-E9ABE7A549C2}"/>
              </c:ext>
            </c:extLst>
          </c:dPt>
          <c:dPt>
            <c:idx val="1"/>
            <c:bubble3D val="0"/>
            <c:spPr>
              <a:solidFill>
                <a:schemeClr val="accent2"/>
              </a:solidFill>
              <a:ln>
                <a:noFill/>
              </a:ln>
              <a:effectLst/>
            </c:spPr>
            <c:extLst>
              <c:ext xmlns:c16="http://schemas.microsoft.com/office/drawing/2014/chart" uri="{C3380CC4-5D6E-409C-BE32-E72D297353CC}">
                <c16:uniqueId val="{00000001-87E3-4D36-81EA-5C4E175AF2D5}"/>
              </c:ext>
            </c:extLst>
          </c:dPt>
          <c:dPt>
            <c:idx val="2"/>
            <c:bubble3D val="0"/>
            <c:spPr>
              <a:solidFill>
                <a:schemeClr val="accent3"/>
              </a:solidFill>
              <a:ln>
                <a:noFill/>
              </a:ln>
              <a:effectLst/>
            </c:spPr>
            <c:extLst>
              <c:ext xmlns:c16="http://schemas.microsoft.com/office/drawing/2014/chart" uri="{C3380CC4-5D6E-409C-BE32-E72D297353CC}">
                <c16:uniqueId val="{00000003-87E3-4D36-81EA-5C4E175AF2D5}"/>
              </c:ext>
            </c:extLst>
          </c:dPt>
          <c:cat>
            <c:strRef>
              <c:f>Sheet1!$B$1:$D$1</c:f>
              <c:strCache>
                <c:ptCount val="3"/>
                <c:pt idx="0">
                  <c:v>Label A</c:v>
                </c:pt>
                <c:pt idx="1">
                  <c:v>Label B</c:v>
                </c:pt>
                <c:pt idx="2">
                  <c:v>Label C</c:v>
                </c:pt>
              </c:strCache>
            </c:strRef>
          </c:cat>
          <c:val>
            <c:numRef>
              <c:f>Sheet1!$B$2:$D$2</c:f>
              <c:numCache>
                <c:formatCode>General</c:formatCode>
                <c:ptCount val="3"/>
                <c:pt idx="0">
                  <c:v>40</c:v>
                </c:pt>
                <c:pt idx="1">
                  <c:v>35</c:v>
                </c:pt>
                <c:pt idx="2">
                  <c:v>20</c:v>
                </c:pt>
              </c:numCache>
            </c:numRef>
          </c:val>
          <c:extLst>
            <c:ext xmlns:c16="http://schemas.microsoft.com/office/drawing/2014/chart" uri="{C3380CC4-5D6E-409C-BE32-E72D297353CC}">
              <c16:uniqueId val="{00000004-87E3-4D36-81EA-5C4E175AF2D5}"/>
            </c:ext>
          </c:extLst>
        </c:ser>
        <c:ser>
          <c:idx val="1"/>
          <c:order val="1"/>
          <c:tx>
            <c:strRef>
              <c:f>Sheet1!$A$3</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7-89D3-CD48-85BF-E9ABE7A549C2}"/>
              </c:ext>
            </c:extLst>
          </c:dPt>
          <c:dPt>
            <c:idx val="1"/>
            <c:bubble3D val="0"/>
            <c:spPr>
              <a:solidFill>
                <a:schemeClr val="accent2"/>
              </a:solidFill>
              <a:ln>
                <a:noFill/>
              </a:ln>
              <a:effectLst/>
            </c:spPr>
            <c:extLst>
              <c:ext xmlns:c16="http://schemas.microsoft.com/office/drawing/2014/chart" uri="{C3380CC4-5D6E-409C-BE32-E72D297353CC}">
                <c16:uniqueId val="{00000009-89D3-CD48-85BF-E9ABE7A549C2}"/>
              </c:ext>
            </c:extLst>
          </c:dPt>
          <c:dPt>
            <c:idx val="2"/>
            <c:bubble3D val="0"/>
            <c:spPr>
              <a:solidFill>
                <a:schemeClr val="accent3"/>
              </a:solidFill>
              <a:ln>
                <a:noFill/>
              </a:ln>
              <a:effectLst/>
            </c:spPr>
            <c:extLst>
              <c:ext xmlns:c16="http://schemas.microsoft.com/office/drawing/2014/chart" uri="{C3380CC4-5D6E-409C-BE32-E72D297353CC}">
                <c16:uniqueId val="{0000000B-89D3-CD48-85BF-E9ABE7A549C2}"/>
              </c:ext>
            </c:extLst>
          </c:dPt>
          <c:cat>
            <c:strRef>
              <c:f>Sheet1!$B$1:$D$1</c:f>
              <c:strCache>
                <c:ptCount val="3"/>
                <c:pt idx="0">
                  <c:v>Label A</c:v>
                </c:pt>
                <c:pt idx="1">
                  <c:v>Label B</c:v>
                </c:pt>
                <c:pt idx="2">
                  <c:v>Label C</c:v>
                </c:pt>
              </c:strCache>
            </c:strRef>
          </c:cat>
          <c:val>
            <c:numRef>
              <c:f>Sheet1!$B$3:$D$3</c:f>
              <c:numCache>
                <c:formatCode>General</c:formatCode>
                <c:ptCount val="3"/>
              </c:numCache>
            </c:numRef>
          </c:val>
          <c:extLst>
            <c:ext xmlns:c16="http://schemas.microsoft.com/office/drawing/2014/chart" uri="{C3380CC4-5D6E-409C-BE32-E72D297353CC}">
              <c16:uniqueId val="{00000005-87E3-4D36-81EA-5C4E175AF2D5}"/>
            </c:ext>
          </c:extLst>
        </c:ser>
        <c:dLbls>
          <c:showLegendKey val="0"/>
          <c:showVal val="0"/>
          <c:showCatName val="0"/>
          <c:showSerName val="0"/>
          <c:showPercent val="0"/>
          <c:showBubbleSize val="0"/>
          <c:showLeaderLines val="0"/>
        </c:dLbls>
        <c:firstSliceAng val="208"/>
        <c:holeSize val="5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98884350413111E-3"/>
          <c:y val="7.5879363945252859E-4"/>
          <c:w val="0.97848850513102203"/>
          <c:h val="0.9952479945563617"/>
        </c:manualLayout>
      </c:layout>
      <c:ofPieChart>
        <c:ofPieType val="bar"/>
        <c:varyColors val="1"/>
        <c:ser>
          <c:idx val="0"/>
          <c:order val="0"/>
          <c:tx>
            <c:strRef>
              <c:f>Sheet1!$A$2</c:f>
              <c:strCache>
                <c:ptCount val="1"/>
                <c:pt idx="0">
                  <c:v>Group 1</c:v>
                </c:pt>
              </c:strCache>
            </c:strRef>
          </c:tx>
          <c:dPt>
            <c:idx val="0"/>
            <c:bubble3D val="0"/>
            <c:spPr>
              <a:solidFill>
                <a:schemeClr val="accent2"/>
              </a:solidFill>
              <a:ln>
                <a:noFill/>
              </a:ln>
              <a:effectLst/>
            </c:spPr>
            <c:extLst>
              <c:ext xmlns:c16="http://schemas.microsoft.com/office/drawing/2014/chart" uri="{C3380CC4-5D6E-409C-BE32-E72D297353CC}">
                <c16:uniqueId val="{00000008-DE2F-4AA4-BA88-599556EAC435}"/>
              </c:ext>
            </c:extLst>
          </c:dPt>
          <c:dPt>
            <c:idx val="1"/>
            <c:bubble3D val="0"/>
            <c:spPr>
              <a:solidFill>
                <a:schemeClr val="accent3"/>
              </a:solidFill>
              <a:ln>
                <a:noFill/>
              </a:ln>
              <a:effectLst/>
            </c:spPr>
            <c:extLst>
              <c:ext xmlns:c16="http://schemas.microsoft.com/office/drawing/2014/chart" uri="{C3380CC4-5D6E-409C-BE32-E72D297353CC}">
                <c16:uniqueId val="{00000001-DE2F-4AA4-BA88-599556EAC435}"/>
              </c:ext>
            </c:extLst>
          </c:dPt>
          <c:dPt>
            <c:idx val="2"/>
            <c:bubble3D val="0"/>
            <c:spPr>
              <a:solidFill>
                <a:schemeClr val="accent6"/>
              </a:solidFill>
              <a:ln>
                <a:noFill/>
              </a:ln>
              <a:effectLst/>
            </c:spPr>
            <c:extLst>
              <c:ext xmlns:c16="http://schemas.microsoft.com/office/drawing/2014/chart" uri="{C3380CC4-5D6E-409C-BE32-E72D297353CC}">
                <c16:uniqueId val="{00000003-DE2F-4AA4-BA88-599556EAC435}"/>
              </c:ext>
            </c:extLst>
          </c:dPt>
          <c:dPt>
            <c:idx val="3"/>
            <c:bubble3D val="0"/>
            <c:spPr>
              <a:solidFill>
                <a:schemeClr val="accent1">
                  <a:lumMod val="40000"/>
                  <a:lumOff val="60000"/>
                </a:schemeClr>
              </a:solidFill>
              <a:ln>
                <a:noFill/>
              </a:ln>
              <a:effectLst/>
            </c:spPr>
            <c:extLst>
              <c:ext xmlns:c16="http://schemas.microsoft.com/office/drawing/2014/chart" uri="{C3380CC4-5D6E-409C-BE32-E72D297353CC}">
                <c16:uniqueId val="{00000005-DE2F-4AA4-BA88-599556EAC435}"/>
              </c:ext>
            </c:extLst>
          </c:dPt>
          <c:dPt>
            <c:idx val="4"/>
            <c:bubble3D val="0"/>
            <c:spPr>
              <a:solidFill>
                <a:schemeClr val="accent1"/>
              </a:solidFill>
              <a:ln>
                <a:noFill/>
              </a:ln>
              <a:effectLst/>
            </c:spPr>
            <c:extLst>
              <c:ext xmlns:c16="http://schemas.microsoft.com/office/drawing/2014/chart" uri="{C3380CC4-5D6E-409C-BE32-E72D297353CC}">
                <c16:uniqueId val="{00000007-DE2F-4AA4-BA88-599556EAC435}"/>
              </c:ext>
            </c:extLst>
          </c:dPt>
          <c:dLbls>
            <c:dLbl>
              <c:idx val="4"/>
              <c:tx>
                <c:rich>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r>
                      <a:rPr lang="en-US">
                        <a:solidFill>
                          <a:schemeClr val="bg1"/>
                        </a:solidFill>
                      </a:rPr>
                      <a:t>Label C
34%</a:t>
                    </a:r>
                  </a:p>
                </c:rich>
              </c:tx>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E2F-4AA4-BA88-599556EAC435}"/>
                </c:ext>
              </c:extLst>
            </c:dLbl>
            <c:numFmt formatCode="0%" sourceLinked="0"/>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en-US"/>
              </a:p>
            </c:txPr>
            <c:dLblPos val="ctr"/>
            <c:showLegendKey val="0"/>
            <c:showVal val="0"/>
            <c:showCatName val="1"/>
            <c:showSerName val="0"/>
            <c:showPercent val="1"/>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B$1:$F$1</c:f>
              <c:strCache>
                <c:ptCount val="4"/>
                <c:pt idx="0">
                  <c:v>Label A</c:v>
                </c:pt>
                <c:pt idx="1">
                  <c:v>Label B</c:v>
                </c:pt>
                <c:pt idx="2">
                  <c:v>Label C1</c:v>
                </c:pt>
                <c:pt idx="3">
                  <c:v>Label C2</c:v>
                </c:pt>
              </c:strCache>
            </c:strRef>
          </c:cat>
          <c:val>
            <c:numRef>
              <c:f>Sheet1!$B$2:$F$2</c:f>
              <c:numCache>
                <c:formatCode>s\t\a\nd\a\rd</c:formatCode>
                <c:ptCount val="4"/>
                <c:pt idx="0">
                  <c:v>38</c:v>
                </c:pt>
                <c:pt idx="1">
                  <c:v>28</c:v>
                </c:pt>
                <c:pt idx="2">
                  <c:v>14</c:v>
                </c:pt>
                <c:pt idx="3" formatCode="0">
                  <c:v>20</c:v>
                </c:pt>
              </c:numCache>
            </c:numRef>
          </c:val>
          <c:extLst>
            <c:ext xmlns:c16="http://schemas.microsoft.com/office/drawing/2014/chart" uri="{C3380CC4-5D6E-409C-BE32-E72D297353CC}">
              <c16:uniqueId val="{00000009-DE2F-4AA4-BA88-599556EAC435}"/>
            </c:ext>
          </c:extLst>
        </c:ser>
        <c:dLbls>
          <c:showLegendKey val="0"/>
          <c:showVal val="0"/>
          <c:showCatName val="0"/>
          <c:showSerName val="0"/>
          <c:showPercent val="0"/>
          <c:showBubbleSize val="0"/>
          <c:showLeaderLines val="1"/>
        </c:dLbls>
        <c:gapWidth val="185"/>
        <c:splitType val="pos"/>
        <c:splitPos val="2"/>
        <c:secondPieSize val="100"/>
        <c:serLines>
          <c:spPr>
            <a:ln w="19050" cap="rnd" cmpd="sng" algn="ctr">
              <a:solidFill>
                <a:schemeClr val="tx2">
                  <a:lumMod val="60000"/>
                  <a:lumOff val="40000"/>
                </a:schemeClr>
              </a:solidFill>
              <a:prstDash val="sysDot"/>
              <a:round/>
            </a:ln>
            <a:effectLst/>
          </c:spPr>
        </c:serLines>
      </c:of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b="1"/>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064102564102401E-2"/>
          <c:y val="2.2123893805309812E-3"/>
          <c:w val="0.72115384615384859"/>
          <c:h val="0.99557522123893749"/>
        </c:manualLayout>
      </c:layout>
      <c:doughnutChart>
        <c:varyColors val="1"/>
        <c:ser>
          <c:idx val="0"/>
          <c:order val="0"/>
          <c:tx>
            <c:strRef>
              <c:f>Sheet1!$A$2</c:f>
              <c:strCache>
                <c:ptCount val="1"/>
                <c:pt idx="0">
                  <c:v>Graph 1</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2-A8D0-476A-976A-877EF72095F2}"/>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1-A8D0-476A-976A-877EF72095F2}"/>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3-A8D0-476A-976A-877EF72095F2}"/>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04-A8D0-476A-976A-877EF72095F2}"/>
              </c:ext>
            </c:extLst>
          </c:dPt>
          <c:dLbls>
            <c:dLbl>
              <c:idx val="0"/>
              <c:layout>
                <c:manualLayout>
                  <c:x val="8.9166498776496756E-3"/>
                  <c:y val="-2.57931018386376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8D0-476A-976A-877EF72095F2}"/>
                </c:ext>
              </c:extLst>
            </c:dLbl>
            <c:dLbl>
              <c:idx val="1"/>
              <c:tx>
                <c:rich>
                  <a:bodyPr/>
                  <a:lstStyle/>
                  <a:p>
                    <a:r>
                      <a:rPr lang="en-US" sz="1200" b="1">
                        <a:solidFill>
                          <a:schemeClr val="bg1"/>
                        </a:solidFill>
                      </a:rPr>
                      <a:t>27,4</a:t>
                    </a:r>
                    <a:endParaRPr lang="en-US"/>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8D0-476A-976A-877EF72095F2}"/>
                </c:ext>
              </c:extLst>
            </c:dLbl>
            <c:dLbl>
              <c:idx val="2"/>
              <c:layout>
                <c:manualLayout>
                  <c:x val="2.248370993252411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8D0-476A-976A-877EF72095F2}"/>
                </c:ext>
              </c:extLst>
            </c:dLbl>
            <c:dLbl>
              <c:idx val="3"/>
              <c:tx>
                <c:rich>
                  <a:bodyPr/>
                  <a:lstStyle/>
                  <a:p>
                    <a:r>
                      <a:rPr lang="en-US" sz="1200" b="1">
                        <a:solidFill>
                          <a:schemeClr val="bg1"/>
                        </a:solidFill>
                      </a:rPr>
                      <a:t>20,4</a:t>
                    </a:r>
                    <a:endParaRPr lang="en-US">
                      <a:solidFill>
                        <a:schemeClr val="tx1"/>
                      </a:solidFill>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8D0-476A-976A-877EF72095F2}"/>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5-A8D0-476A-976A-877EF72095F2}"/>
            </c:ext>
          </c:extLst>
        </c:ser>
        <c:ser>
          <c:idx val="1"/>
          <c:order val="1"/>
          <c:tx>
            <c:strRef>
              <c:f>Sheet1!$A$3</c:f>
              <c:strCache>
                <c:ptCount val="1"/>
                <c:pt idx="0">
                  <c:v>Graph 2</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8-A8D0-476A-976A-877EF72095F2}"/>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7-A8D0-476A-976A-877EF72095F2}"/>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D-8DE6-A043-B053-B51F1C0AA2BD}"/>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09-A8D0-476A-976A-877EF72095F2}"/>
              </c:ext>
            </c:extLst>
          </c:dPt>
          <c:dLbls>
            <c:dLbl>
              <c:idx val="0"/>
              <c:layout>
                <c:manualLayout>
                  <c:x val="1.1241854966262047E-2"/>
                  <c:y val="1.23506195002667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8D0-476A-976A-877EF72095F2}"/>
                </c:ext>
              </c:extLst>
            </c:dLbl>
            <c:dLbl>
              <c:idx val="1"/>
              <c:tx>
                <c:rich>
                  <a:bodyPr/>
                  <a:lstStyle/>
                  <a:p>
                    <a:r>
                      <a:rPr lang="en-US" sz="1200" b="1">
                        <a:solidFill>
                          <a:schemeClr val="bg1"/>
                        </a:solidFill>
                      </a:rPr>
                      <a:t>38,6</a:t>
                    </a:r>
                    <a:endParaRPr lang="en-US"/>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8D0-476A-976A-877EF72095F2}"/>
                </c:ext>
              </c:extLst>
            </c:dLbl>
            <c:dLbl>
              <c:idx val="3"/>
              <c:tx>
                <c:rich>
                  <a:bodyPr/>
                  <a:lstStyle/>
                  <a:p>
                    <a:r>
                      <a:rPr lang="en-US" sz="1200" b="1">
                        <a:solidFill>
                          <a:schemeClr val="bg1"/>
                        </a:solidFill>
                      </a:rPr>
                      <a:t>31,6</a:t>
                    </a:r>
                    <a:endParaRPr lang="en-US">
                      <a:solidFill>
                        <a:schemeClr val="tx1"/>
                      </a:solidFill>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8D0-476A-976A-877EF72095F2}"/>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A-A8D0-476A-976A-877EF72095F2}"/>
            </c:ext>
          </c:extLst>
        </c:ser>
        <c:ser>
          <c:idx val="2"/>
          <c:order val="2"/>
          <c:tx>
            <c:strRef>
              <c:f>Sheet1!$A$4</c:f>
              <c:strCache>
                <c:ptCount val="1"/>
                <c:pt idx="0">
                  <c:v>Graph 3</c:v>
                </c:pt>
              </c:strCache>
            </c:strRef>
          </c:tx>
          <c:spPr>
            <a:ln w="19050">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D-A8D0-476A-976A-877EF72095F2}"/>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C-A8D0-476A-976A-877EF72095F2}"/>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E-A8D0-476A-976A-877EF72095F2}"/>
              </c:ext>
            </c:extLst>
          </c:dPt>
          <c:dPt>
            <c:idx val="3"/>
            <c:bubble3D val="0"/>
            <c:spPr>
              <a:solidFill>
                <a:schemeClr val="accent5"/>
              </a:solidFill>
              <a:ln w="19050">
                <a:solidFill>
                  <a:schemeClr val="bg1"/>
                </a:solidFill>
              </a:ln>
              <a:effectLst/>
            </c:spPr>
            <c:extLst>
              <c:ext xmlns:c16="http://schemas.microsoft.com/office/drawing/2014/chart" uri="{C3380CC4-5D6E-409C-BE32-E72D297353CC}">
                <c16:uniqueId val="{0000000F-A8D0-476A-976A-877EF72095F2}"/>
              </c:ext>
            </c:extLst>
          </c:dPt>
          <c:dLbls>
            <c:dLbl>
              <c:idx val="0"/>
              <c:layout>
                <c:manualLayout>
                  <c:x val="-2.4732080925776494E-2"/>
                  <c:y val="-3.70518585008001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8D0-476A-976A-877EF72095F2}"/>
                </c:ext>
              </c:extLst>
            </c:dLbl>
            <c:dLbl>
              <c:idx val="1"/>
              <c:tx>
                <c:rich>
                  <a:bodyPr/>
                  <a:lstStyle/>
                  <a:p>
                    <a:r>
                      <a:rPr lang="en-US" sz="1200" b="1">
                        <a:solidFill>
                          <a:schemeClr val="bg1"/>
                        </a:solidFill>
                      </a:rPr>
                      <a:t>46,9</a:t>
                    </a:r>
                    <a:endParaRPr lang="en-US"/>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8D0-476A-976A-877EF72095F2}"/>
                </c:ext>
              </c:extLst>
            </c:dLbl>
            <c:dLbl>
              <c:idx val="2"/>
              <c:layout>
                <c:manualLayout>
                  <c:x val="2.248370993252410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8D0-476A-976A-877EF72095F2}"/>
                </c:ext>
              </c:extLst>
            </c:dLbl>
            <c:dLbl>
              <c:idx val="3"/>
              <c:tx>
                <c:rich>
                  <a:bodyPr/>
                  <a:lstStyle/>
                  <a:p>
                    <a:r>
                      <a:rPr lang="en-US" sz="1200" b="1">
                        <a:solidFill>
                          <a:schemeClr val="bg1"/>
                        </a:solidFill>
                      </a:rPr>
                      <a:t>43,9</a:t>
                    </a:r>
                    <a:endParaRPr lang="en-US">
                      <a:solidFill>
                        <a:schemeClr val="tx1"/>
                      </a:solidFill>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8D0-476A-976A-877EF72095F2}"/>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10-A8D0-476A-976A-877EF72095F2}"/>
            </c:ext>
          </c:extLst>
        </c:ser>
        <c:dLbls>
          <c:showLegendKey val="0"/>
          <c:showVal val="1"/>
          <c:showCatName val="0"/>
          <c:showSerName val="0"/>
          <c:showPercent val="0"/>
          <c:showBubbleSize val="0"/>
          <c:showLeaderLines val="0"/>
        </c:dLbls>
        <c:firstSliceAng val="0"/>
        <c:holeSize val="10"/>
      </c:doughnutChart>
      <c:spPr>
        <a:noFill/>
        <a:ln>
          <a:solidFill>
            <a:schemeClr val="bg1"/>
          </a:solidFill>
        </a:ln>
        <a:effectLst/>
      </c:spPr>
    </c:plotArea>
    <c:legend>
      <c:legendPos val="r"/>
      <c:layout>
        <c:manualLayout>
          <c:xMode val="edge"/>
          <c:yMode val="edge"/>
          <c:x val="0.75963922674449813"/>
          <c:y val="0.72036374033162875"/>
          <c:w val="0.17252671224073363"/>
          <c:h val="0.2763548362157118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A$2</c:f>
              <c:strCache>
                <c:ptCount val="1"/>
                <c:pt idx="0">
                  <c:v>Graph 1</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1-E031-A847-9CD4-D87432C1764A}"/>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1-86CD-47DA-9F55-CCBA921D8C91}"/>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5-E031-A847-9CD4-D87432C1764A}"/>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07-E031-A847-9CD4-D87432C1764A}"/>
              </c:ext>
            </c:extLst>
          </c:dPt>
          <c:cat>
            <c:strRef>
              <c:f>Sheet1!$B$1:$E$1</c:f>
              <c:strCache>
                <c:ptCount val="4"/>
                <c:pt idx="0">
                  <c:v>Label A</c:v>
                </c:pt>
                <c:pt idx="1">
                  <c:v>Label B</c:v>
                </c:pt>
                <c:pt idx="2">
                  <c:v>Label C</c:v>
                </c:pt>
                <c:pt idx="3">
                  <c:v>Label D</c:v>
                </c:pt>
              </c:strCache>
            </c:strRef>
          </c:cat>
          <c:val>
            <c:numRef>
              <c:f>Sheet1!$B$2:$E$2</c:f>
              <c:numCache>
                <c:formatCode>s\t\a\nd\a\rd</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2-86CD-47DA-9F55-CCBA921D8C91}"/>
            </c:ext>
          </c:extLst>
        </c:ser>
        <c:ser>
          <c:idx val="1"/>
          <c:order val="1"/>
          <c:tx>
            <c:strRef>
              <c:f>Sheet1!$A$3</c:f>
              <c:strCache>
                <c:ptCount val="1"/>
                <c:pt idx="0">
                  <c:v>Graph 2</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09-E031-A847-9CD4-D87432C1764A}"/>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4-86CD-47DA-9F55-CCBA921D8C91}"/>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0D-E031-A847-9CD4-D87432C1764A}"/>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0F-E031-A847-9CD4-D87432C1764A}"/>
              </c:ext>
            </c:extLst>
          </c:dPt>
          <c:cat>
            <c:strRef>
              <c:f>Sheet1!$B$1:$E$1</c:f>
              <c:strCache>
                <c:ptCount val="4"/>
                <c:pt idx="0">
                  <c:v>Label A</c:v>
                </c:pt>
                <c:pt idx="1">
                  <c:v>Label B</c:v>
                </c:pt>
                <c:pt idx="2">
                  <c:v>Label C</c:v>
                </c:pt>
                <c:pt idx="3">
                  <c:v>Label D</c:v>
                </c:pt>
              </c:strCache>
            </c:strRef>
          </c:cat>
          <c:val>
            <c:numRef>
              <c:f>Sheet1!$B$3:$E$3</c:f>
              <c:numCache>
                <c:formatCode>s\t\a\nd\a\rd</c:formatCode>
                <c:ptCount val="4"/>
                <c:pt idx="0">
                  <c:v>30.6</c:v>
                </c:pt>
                <c:pt idx="1">
                  <c:v>38.6</c:v>
                </c:pt>
                <c:pt idx="2">
                  <c:v>34.6</c:v>
                </c:pt>
                <c:pt idx="3">
                  <c:v>31.6</c:v>
                </c:pt>
              </c:numCache>
            </c:numRef>
          </c:val>
          <c:extLst>
            <c:ext xmlns:c16="http://schemas.microsoft.com/office/drawing/2014/chart" uri="{C3380CC4-5D6E-409C-BE32-E72D297353CC}">
              <c16:uniqueId val="{00000005-86CD-47DA-9F55-CCBA921D8C91}"/>
            </c:ext>
          </c:extLst>
        </c:ser>
        <c:ser>
          <c:idx val="2"/>
          <c:order val="2"/>
          <c:tx>
            <c:strRef>
              <c:f>Sheet1!$A$4</c:f>
              <c:strCache>
                <c:ptCount val="1"/>
                <c:pt idx="0">
                  <c:v>Graph 3</c:v>
                </c:pt>
              </c:strCache>
            </c:strRef>
          </c:tx>
          <c:spPr>
            <a:ln>
              <a:solidFill>
                <a:schemeClr val="bg1"/>
              </a:solidFill>
            </a:ln>
          </c:spPr>
          <c:dPt>
            <c:idx val="0"/>
            <c:bubble3D val="0"/>
            <c:spPr>
              <a:solidFill>
                <a:schemeClr val="accent1"/>
              </a:solidFill>
              <a:ln>
                <a:solidFill>
                  <a:schemeClr val="bg1"/>
                </a:solidFill>
              </a:ln>
              <a:effectLst/>
            </c:spPr>
            <c:extLst>
              <c:ext xmlns:c16="http://schemas.microsoft.com/office/drawing/2014/chart" uri="{C3380CC4-5D6E-409C-BE32-E72D297353CC}">
                <c16:uniqueId val="{00000011-E031-A847-9CD4-D87432C1764A}"/>
              </c:ext>
            </c:extLst>
          </c:dPt>
          <c:dPt>
            <c:idx val="1"/>
            <c:bubble3D val="0"/>
            <c:spPr>
              <a:solidFill>
                <a:schemeClr val="accent2"/>
              </a:solidFill>
              <a:ln>
                <a:solidFill>
                  <a:schemeClr val="bg1"/>
                </a:solidFill>
              </a:ln>
              <a:effectLst/>
            </c:spPr>
            <c:extLst>
              <c:ext xmlns:c16="http://schemas.microsoft.com/office/drawing/2014/chart" uri="{C3380CC4-5D6E-409C-BE32-E72D297353CC}">
                <c16:uniqueId val="{00000007-86CD-47DA-9F55-CCBA921D8C91}"/>
              </c:ext>
            </c:extLst>
          </c:dPt>
          <c:dPt>
            <c:idx val="2"/>
            <c:bubble3D val="0"/>
            <c:spPr>
              <a:solidFill>
                <a:schemeClr val="accent3"/>
              </a:solidFill>
              <a:ln>
                <a:solidFill>
                  <a:schemeClr val="bg1"/>
                </a:solidFill>
              </a:ln>
              <a:effectLst/>
            </c:spPr>
            <c:extLst>
              <c:ext xmlns:c16="http://schemas.microsoft.com/office/drawing/2014/chart" uri="{C3380CC4-5D6E-409C-BE32-E72D297353CC}">
                <c16:uniqueId val="{00000015-E031-A847-9CD4-D87432C1764A}"/>
              </c:ext>
            </c:extLst>
          </c:dPt>
          <c:dPt>
            <c:idx val="3"/>
            <c:bubble3D val="0"/>
            <c:spPr>
              <a:solidFill>
                <a:schemeClr val="accent5"/>
              </a:solidFill>
              <a:ln>
                <a:solidFill>
                  <a:schemeClr val="bg1"/>
                </a:solidFill>
              </a:ln>
              <a:effectLst/>
            </c:spPr>
            <c:extLst>
              <c:ext xmlns:c16="http://schemas.microsoft.com/office/drawing/2014/chart" uri="{C3380CC4-5D6E-409C-BE32-E72D297353CC}">
                <c16:uniqueId val="{00000017-E031-A847-9CD4-D87432C1764A}"/>
              </c:ext>
            </c:extLst>
          </c:dPt>
          <c:cat>
            <c:strRef>
              <c:f>Sheet1!$B$1:$E$1</c:f>
              <c:strCache>
                <c:ptCount val="4"/>
                <c:pt idx="0">
                  <c:v>Label A</c:v>
                </c:pt>
                <c:pt idx="1">
                  <c:v>Label B</c:v>
                </c:pt>
                <c:pt idx="2">
                  <c:v>Label C</c:v>
                </c:pt>
                <c:pt idx="3">
                  <c:v>Label D</c:v>
                </c:pt>
              </c:strCache>
            </c:strRef>
          </c:cat>
          <c:val>
            <c:numRef>
              <c:f>Sheet1!$B$4:$E$4</c:f>
              <c:numCache>
                <c:formatCode>s\t\a\nd\a\rd</c:formatCode>
                <c:ptCount val="4"/>
                <c:pt idx="0">
                  <c:v>45.9</c:v>
                </c:pt>
                <c:pt idx="1">
                  <c:v>46.9</c:v>
                </c:pt>
                <c:pt idx="2">
                  <c:v>45</c:v>
                </c:pt>
                <c:pt idx="3">
                  <c:v>43.9</c:v>
                </c:pt>
              </c:numCache>
            </c:numRef>
          </c:val>
          <c:extLst>
            <c:ext xmlns:c16="http://schemas.microsoft.com/office/drawing/2014/chart" uri="{C3380CC4-5D6E-409C-BE32-E72D297353CC}">
              <c16:uniqueId val="{00000008-86CD-47DA-9F55-CCBA921D8C91}"/>
            </c:ext>
          </c:extLst>
        </c:ser>
        <c:dLbls>
          <c:showLegendKey val="0"/>
          <c:showVal val="0"/>
          <c:showCatName val="0"/>
          <c:showSerName val="0"/>
          <c:showPercent val="0"/>
          <c:showBubbleSize val="0"/>
          <c:showLeaderLines val="0"/>
        </c:dLbls>
        <c:firstSliceAng val="0"/>
        <c:holeSize val="10"/>
      </c:doughnutChart>
      <c:spPr>
        <a:noFill/>
        <a:ln>
          <a:solidFill>
            <a:schemeClr val="bg1"/>
          </a:solidFill>
        </a:ln>
        <a:effectLst/>
      </c:spPr>
    </c:plotArea>
    <c:legend>
      <c:legendPos val="r"/>
      <c:layout>
        <c:manualLayout>
          <c:xMode val="edge"/>
          <c:yMode val="edge"/>
          <c:x val="0.76021022493465951"/>
          <c:y val="0.72378355325943977"/>
          <c:w val="0.14382681874577563"/>
          <c:h val="0.2460153297687661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657172016414"/>
          <c:y val="0"/>
          <c:w val="0.61228615774963302"/>
          <c:h val="1"/>
        </c:manualLayout>
      </c:layout>
      <c:doughnutChart>
        <c:varyColors val="1"/>
        <c:ser>
          <c:idx val="0"/>
          <c:order val="0"/>
          <c:tx>
            <c:strRef>
              <c:f>Sheet1!$B$1</c:f>
              <c:strCache>
                <c:ptCount val="1"/>
                <c:pt idx="0">
                  <c:v>Name 1</c:v>
                </c:pt>
              </c:strCache>
            </c:strRef>
          </c:tx>
          <c:spPr>
            <a:ln w="25400">
              <a:solidFill>
                <a:schemeClr val="bg1"/>
              </a:solidFill>
            </a:ln>
          </c:spPr>
          <c:dPt>
            <c:idx val="0"/>
            <c:bubble3D val="0"/>
            <c:spPr>
              <a:solidFill>
                <a:schemeClr val="accent6"/>
              </a:solidFill>
              <a:ln w="25400">
                <a:solidFill>
                  <a:schemeClr val="bg1"/>
                </a:solidFill>
              </a:ln>
              <a:effectLst/>
            </c:spPr>
            <c:extLst>
              <c:ext xmlns:c16="http://schemas.microsoft.com/office/drawing/2014/chart" uri="{C3380CC4-5D6E-409C-BE32-E72D297353CC}">
                <c16:uniqueId val="{00000001-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3-41DC-43DC-8AB8-D2D92F8BC00C}"/>
              </c:ext>
            </c:extLst>
          </c:dPt>
          <c:cat>
            <c:strRef>
              <c:f>Sheet1!$A$2:$A$3</c:f>
              <c:strCache>
                <c:ptCount val="2"/>
                <c:pt idx="0">
                  <c:v>Active</c:v>
                </c:pt>
                <c:pt idx="1">
                  <c:v>other</c:v>
                </c:pt>
              </c:strCache>
            </c:strRef>
          </c:cat>
          <c:val>
            <c:numRef>
              <c:f>Sheet1!$B$2:$B$3</c:f>
              <c:numCache>
                <c:formatCode>0%</c:formatCode>
                <c:ptCount val="2"/>
                <c:pt idx="0">
                  <c:v>0.52</c:v>
                </c:pt>
                <c:pt idx="1">
                  <c:v>0.48</c:v>
                </c:pt>
              </c:numCache>
            </c:numRef>
          </c:val>
          <c:extLst>
            <c:ext xmlns:c16="http://schemas.microsoft.com/office/drawing/2014/chart" uri="{C3380CC4-5D6E-409C-BE32-E72D297353CC}">
              <c16:uniqueId val="{00000004-41DC-43DC-8AB8-D2D92F8BC00C}"/>
            </c:ext>
          </c:extLst>
        </c:ser>
        <c:ser>
          <c:idx val="1"/>
          <c:order val="1"/>
          <c:tx>
            <c:strRef>
              <c:f>Sheet1!$C$1</c:f>
              <c:strCache>
                <c:ptCount val="1"/>
                <c:pt idx="0">
                  <c:v>Name 2</c:v>
                </c:pt>
              </c:strCache>
            </c:strRef>
          </c:tx>
          <c:spPr>
            <a:ln w="25400">
              <a:solidFill>
                <a:schemeClr val="bg1"/>
              </a:solidFill>
            </a:ln>
          </c:spPr>
          <c:dPt>
            <c:idx val="0"/>
            <c:bubble3D val="0"/>
            <c:spPr>
              <a:solidFill>
                <a:schemeClr val="accent5"/>
              </a:solidFill>
              <a:ln w="25400">
                <a:solidFill>
                  <a:schemeClr val="bg1"/>
                </a:solidFill>
              </a:ln>
              <a:effectLst/>
            </c:spPr>
            <c:extLst>
              <c:ext xmlns:c16="http://schemas.microsoft.com/office/drawing/2014/chart" uri="{C3380CC4-5D6E-409C-BE32-E72D297353CC}">
                <c16:uniqueId val="{00000006-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8-41DC-43DC-8AB8-D2D92F8BC00C}"/>
              </c:ext>
            </c:extLst>
          </c:dPt>
          <c:cat>
            <c:strRef>
              <c:f>Sheet1!$A$2:$A$3</c:f>
              <c:strCache>
                <c:ptCount val="2"/>
                <c:pt idx="0">
                  <c:v>Active</c:v>
                </c:pt>
                <c:pt idx="1">
                  <c:v>other</c:v>
                </c:pt>
              </c:strCache>
            </c:strRef>
          </c:cat>
          <c:val>
            <c:numRef>
              <c:f>Sheet1!$C$2:$C$3</c:f>
              <c:numCache>
                <c:formatCode>0%</c:formatCode>
                <c:ptCount val="2"/>
                <c:pt idx="0">
                  <c:v>0.53</c:v>
                </c:pt>
                <c:pt idx="1">
                  <c:v>0.47</c:v>
                </c:pt>
              </c:numCache>
            </c:numRef>
          </c:val>
          <c:extLst>
            <c:ext xmlns:c16="http://schemas.microsoft.com/office/drawing/2014/chart" uri="{C3380CC4-5D6E-409C-BE32-E72D297353CC}">
              <c16:uniqueId val="{00000009-41DC-43DC-8AB8-D2D92F8BC00C}"/>
            </c:ext>
          </c:extLst>
        </c:ser>
        <c:ser>
          <c:idx val="2"/>
          <c:order val="2"/>
          <c:tx>
            <c:strRef>
              <c:f>Sheet1!$D$1</c:f>
              <c:strCache>
                <c:ptCount val="1"/>
                <c:pt idx="0">
                  <c:v>Name 3</c:v>
                </c:pt>
              </c:strCache>
            </c:strRef>
          </c:tx>
          <c:spPr>
            <a:ln w="25400">
              <a:solidFill>
                <a:schemeClr val="bg1"/>
              </a:solidFill>
            </a:ln>
          </c:spPr>
          <c:dPt>
            <c:idx val="0"/>
            <c:bubble3D val="0"/>
            <c:spPr>
              <a:solidFill>
                <a:schemeClr val="accent4"/>
              </a:solidFill>
              <a:ln w="25400">
                <a:solidFill>
                  <a:schemeClr val="bg1"/>
                </a:solidFill>
              </a:ln>
              <a:effectLst/>
            </c:spPr>
            <c:extLst>
              <c:ext xmlns:c16="http://schemas.microsoft.com/office/drawing/2014/chart" uri="{C3380CC4-5D6E-409C-BE32-E72D297353CC}">
                <c16:uniqueId val="{0000000B-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D-41DC-43DC-8AB8-D2D92F8BC00C}"/>
              </c:ext>
            </c:extLst>
          </c:dPt>
          <c:cat>
            <c:strRef>
              <c:f>Sheet1!$A$2:$A$3</c:f>
              <c:strCache>
                <c:ptCount val="2"/>
                <c:pt idx="0">
                  <c:v>Active</c:v>
                </c:pt>
                <c:pt idx="1">
                  <c:v>other</c:v>
                </c:pt>
              </c:strCache>
            </c:strRef>
          </c:cat>
          <c:val>
            <c:numRef>
              <c:f>Sheet1!$D$2:$D$3</c:f>
              <c:numCache>
                <c:formatCode>0%</c:formatCode>
                <c:ptCount val="2"/>
                <c:pt idx="0">
                  <c:v>0.72</c:v>
                </c:pt>
                <c:pt idx="1">
                  <c:v>0.28000000000000003</c:v>
                </c:pt>
              </c:numCache>
            </c:numRef>
          </c:val>
          <c:extLst>
            <c:ext xmlns:c16="http://schemas.microsoft.com/office/drawing/2014/chart" uri="{C3380CC4-5D6E-409C-BE32-E72D297353CC}">
              <c16:uniqueId val="{0000000E-41DC-43DC-8AB8-D2D92F8BC00C}"/>
            </c:ext>
          </c:extLst>
        </c:ser>
        <c:ser>
          <c:idx val="3"/>
          <c:order val="3"/>
          <c:tx>
            <c:strRef>
              <c:f>Sheet1!$E$1</c:f>
              <c:strCache>
                <c:ptCount val="1"/>
                <c:pt idx="0">
                  <c:v>Name 4</c:v>
                </c:pt>
              </c:strCache>
            </c:strRef>
          </c:tx>
          <c:spPr>
            <a:ln w="25400">
              <a:solidFill>
                <a:schemeClr val="bg1"/>
              </a:solidFill>
            </a:ln>
          </c:spPr>
          <c:dPt>
            <c:idx val="0"/>
            <c:bubble3D val="0"/>
            <c:spPr>
              <a:solidFill>
                <a:schemeClr val="accent3"/>
              </a:solidFill>
              <a:ln w="25400">
                <a:solidFill>
                  <a:schemeClr val="bg1"/>
                </a:solidFill>
              </a:ln>
              <a:effectLst/>
            </c:spPr>
            <c:extLst>
              <c:ext xmlns:c16="http://schemas.microsoft.com/office/drawing/2014/chart" uri="{C3380CC4-5D6E-409C-BE32-E72D297353CC}">
                <c16:uniqueId val="{00000010-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12-41DC-43DC-8AB8-D2D92F8BC00C}"/>
              </c:ext>
            </c:extLst>
          </c:dPt>
          <c:cat>
            <c:strRef>
              <c:f>Sheet1!$A$2:$A$3</c:f>
              <c:strCache>
                <c:ptCount val="2"/>
                <c:pt idx="0">
                  <c:v>Active</c:v>
                </c:pt>
                <c:pt idx="1">
                  <c:v>other</c:v>
                </c:pt>
              </c:strCache>
            </c:strRef>
          </c:cat>
          <c:val>
            <c:numRef>
              <c:f>Sheet1!$E$2:$E$3</c:f>
              <c:numCache>
                <c:formatCode>0%</c:formatCode>
                <c:ptCount val="2"/>
                <c:pt idx="0">
                  <c:v>0.75</c:v>
                </c:pt>
                <c:pt idx="1">
                  <c:v>0.25</c:v>
                </c:pt>
              </c:numCache>
            </c:numRef>
          </c:val>
          <c:extLst>
            <c:ext xmlns:c16="http://schemas.microsoft.com/office/drawing/2014/chart" uri="{C3380CC4-5D6E-409C-BE32-E72D297353CC}">
              <c16:uniqueId val="{00000013-41DC-43DC-8AB8-D2D92F8BC00C}"/>
            </c:ext>
          </c:extLst>
        </c:ser>
        <c:ser>
          <c:idx val="4"/>
          <c:order val="4"/>
          <c:tx>
            <c:strRef>
              <c:f>Sheet1!$F$1</c:f>
              <c:strCache>
                <c:ptCount val="1"/>
                <c:pt idx="0">
                  <c:v>Name 5</c:v>
                </c:pt>
              </c:strCache>
            </c:strRef>
          </c:tx>
          <c:spPr>
            <a:ln w="25400">
              <a:solidFill>
                <a:schemeClr val="bg1"/>
              </a:solidFill>
            </a:ln>
          </c:spPr>
          <c:dPt>
            <c:idx val="0"/>
            <c:bubble3D val="0"/>
            <c:spPr>
              <a:solidFill>
                <a:schemeClr val="accent1"/>
              </a:solidFill>
              <a:ln w="25400">
                <a:solidFill>
                  <a:schemeClr val="bg1"/>
                </a:solidFill>
              </a:ln>
              <a:effectLst/>
            </c:spPr>
            <c:extLst>
              <c:ext xmlns:c16="http://schemas.microsoft.com/office/drawing/2014/chart" uri="{C3380CC4-5D6E-409C-BE32-E72D297353CC}">
                <c16:uniqueId val="{00000015-41DC-43DC-8AB8-D2D92F8BC00C}"/>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17-41DC-43DC-8AB8-D2D92F8BC00C}"/>
              </c:ext>
            </c:extLst>
          </c:dPt>
          <c:cat>
            <c:strRef>
              <c:f>Sheet1!$A$2:$A$3</c:f>
              <c:strCache>
                <c:ptCount val="2"/>
                <c:pt idx="0">
                  <c:v>Active</c:v>
                </c:pt>
                <c:pt idx="1">
                  <c:v>other</c:v>
                </c:pt>
              </c:strCache>
            </c:strRef>
          </c:cat>
          <c:val>
            <c:numRef>
              <c:f>Sheet1!$F$2:$F$3</c:f>
              <c:numCache>
                <c:formatCode>0%</c:formatCode>
                <c:ptCount val="2"/>
                <c:pt idx="0">
                  <c:v>0.8</c:v>
                </c:pt>
                <c:pt idx="1">
                  <c:v>0.2</c:v>
                </c:pt>
              </c:numCache>
            </c:numRef>
          </c:val>
          <c:extLst>
            <c:ext xmlns:c16="http://schemas.microsoft.com/office/drawing/2014/chart" uri="{C3380CC4-5D6E-409C-BE32-E72D297353CC}">
              <c16:uniqueId val="{00000018-41DC-43DC-8AB8-D2D92F8BC00C}"/>
            </c:ext>
          </c:extLst>
        </c:ser>
        <c:dLbls>
          <c:showLegendKey val="0"/>
          <c:showVal val="0"/>
          <c:showCatName val="0"/>
          <c:showSerName val="0"/>
          <c:showPercent val="0"/>
          <c:showBubbleSize val="0"/>
          <c:showLeaderLines val="1"/>
        </c:dLbls>
        <c:firstSliceAng val="0"/>
        <c:holeSize val="47"/>
      </c:doughnutChart>
      <c:spPr>
        <a:noFill/>
        <a:ln>
          <a:noFill/>
        </a:ln>
        <a:effectLst/>
      </c:spPr>
    </c:plotArea>
    <c:plotVisOnly val="1"/>
    <c:dispBlanksAs val="gap"/>
    <c:showDLblsOverMax val="0"/>
  </c:chart>
  <c:spPr>
    <a:noFill/>
    <a:ln>
      <a:noFill/>
    </a:ln>
    <a:effectLst/>
  </c:spPr>
  <c:txPr>
    <a:bodyPr/>
    <a:lstStyle/>
    <a:p>
      <a:pPr>
        <a:defRPr b="1"/>
      </a:pPr>
      <a:endParaRPr lang="en-US"/>
    </a:p>
  </c:txPr>
  <c:externalData r:id="rId3">
    <c:autoUpdate val="0"/>
  </c:externalData>
  <c:userShapes r:id="rId4"/>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601474837637374"/>
          <c:y val="3.2564394788434019E-3"/>
          <c:w val="0.32536950430381056"/>
          <c:h val="0.84456719639525391"/>
        </c:manualLayout>
      </c:layout>
      <c:doughnutChart>
        <c:varyColors val="1"/>
        <c:ser>
          <c:idx val="0"/>
          <c:order val="0"/>
          <c:tx>
            <c:strRef>
              <c:f>Sheet1!$B$1</c:f>
              <c:strCache>
                <c:ptCount val="1"/>
                <c:pt idx="0">
                  <c:v>Sales</c:v>
                </c:pt>
              </c:strCache>
            </c:strRef>
          </c:tx>
          <c:spPr>
            <a:ln>
              <a:noFill/>
            </a:ln>
          </c:spPr>
          <c:dPt>
            <c:idx val="0"/>
            <c:bubble3D val="0"/>
            <c:spPr>
              <a:solidFill>
                <a:schemeClr val="accent6">
                  <a:alpha val="26000"/>
                </a:schemeClr>
              </a:solidFill>
              <a:ln w="19050">
                <a:noFill/>
              </a:ln>
              <a:effectLst/>
            </c:spPr>
            <c:extLst>
              <c:ext xmlns:c16="http://schemas.microsoft.com/office/drawing/2014/chart" uri="{C3380CC4-5D6E-409C-BE32-E72D297353CC}">
                <c16:uniqueId val="{00000001-EA8B-4FC5-BE4A-BF939259C067}"/>
              </c:ext>
            </c:extLst>
          </c:dPt>
          <c:dPt>
            <c:idx val="1"/>
            <c:bubble3D val="0"/>
            <c:spPr>
              <a:solidFill>
                <a:schemeClr val="accent1">
                  <a:lumMod val="40000"/>
                  <a:lumOff val="60000"/>
                </a:schemeClr>
              </a:solidFill>
              <a:ln w="19050">
                <a:noFill/>
              </a:ln>
              <a:effectLst/>
            </c:spPr>
            <c:extLst>
              <c:ext xmlns:c16="http://schemas.microsoft.com/office/drawing/2014/chart" uri="{C3380CC4-5D6E-409C-BE32-E72D297353CC}">
                <c16:uniqueId val="{00000003-EA8B-4FC5-BE4A-BF939259C067}"/>
              </c:ext>
            </c:extLst>
          </c:dPt>
          <c:dPt>
            <c:idx val="2"/>
            <c:bubble3D val="0"/>
            <c:spPr>
              <a:solidFill>
                <a:schemeClr val="accent1">
                  <a:lumMod val="60000"/>
                  <a:lumOff val="40000"/>
                </a:schemeClr>
              </a:solidFill>
              <a:ln w="19050">
                <a:noFill/>
              </a:ln>
              <a:effectLst/>
            </c:spPr>
            <c:extLst>
              <c:ext xmlns:c16="http://schemas.microsoft.com/office/drawing/2014/chart" uri="{C3380CC4-5D6E-409C-BE32-E72D297353CC}">
                <c16:uniqueId val="{00000005-EA8B-4FC5-BE4A-BF939259C067}"/>
              </c:ext>
            </c:extLst>
          </c:dPt>
          <c:dPt>
            <c:idx val="3"/>
            <c:bubble3D val="0"/>
            <c:spPr>
              <a:solidFill>
                <a:schemeClr val="accent4">
                  <a:lumMod val="60000"/>
                  <a:lumOff val="40000"/>
                </a:schemeClr>
              </a:solidFill>
              <a:ln w="19050">
                <a:noFill/>
              </a:ln>
              <a:effectLst/>
            </c:spPr>
            <c:extLst>
              <c:ext xmlns:c16="http://schemas.microsoft.com/office/drawing/2014/chart" uri="{C3380CC4-5D6E-409C-BE32-E72D297353CC}">
                <c16:uniqueId val="{00000007-EA8B-4FC5-BE4A-BF939259C067}"/>
              </c:ext>
            </c:extLst>
          </c:dPt>
          <c:dPt>
            <c:idx val="4"/>
            <c:bubble3D val="0"/>
            <c:spPr>
              <a:solidFill>
                <a:schemeClr val="accent4">
                  <a:lumMod val="40000"/>
                  <a:lumOff val="60000"/>
                </a:schemeClr>
              </a:solidFill>
              <a:ln w="19050">
                <a:noFill/>
              </a:ln>
              <a:effectLst/>
            </c:spPr>
            <c:extLst>
              <c:ext xmlns:c16="http://schemas.microsoft.com/office/drawing/2014/chart" uri="{C3380CC4-5D6E-409C-BE32-E72D297353CC}">
                <c16:uniqueId val="{00000009-EA8B-4FC5-BE4A-BF939259C067}"/>
              </c:ext>
            </c:extLst>
          </c:dPt>
          <c:dPt>
            <c:idx val="5"/>
            <c:bubble3D val="0"/>
            <c:spPr>
              <a:solidFill>
                <a:schemeClr val="accent3">
                  <a:lumMod val="60000"/>
                  <a:lumOff val="40000"/>
                </a:schemeClr>
              </a:solidFill>
              <a:ln w="19050">
                <a:noFill/>
              </a:ln>
              <a:effectLst/>
            </c:spPr>
            <c:extLst>
              <c:ext xmlns:c16="http://schemas.microsoft.com/office/drawing/2014/chart" uri="{C3380CC4-5D6E-409C-BE32-E72D297353CC}">
                <c16:uniqueId val="{0000000B-EA8B-4FC5-BE4A-BF939259C067}"/>
              </c:ext>
            </c:extLst>
          </c:dPt>
          <c:dPt>
            <c:idx val="6"/>
            <c:bubble3D val="0"/>
            <c:spPr>
              <a:solidFill>
                <a:schemeClr val="accent3">
                  <a:lumMod val="40000"/>
                  <a:lumOff val="60000"/>
                </a:schemeClr>
              </a:solidFill>
              <a:ln w="19050">
                <a:noFill/>
              </a:ln>
              <a:effectLst/>
            </c:spPr>
            <c:extLst>
              <c:ext xmlns:c16="http://schemas.microsoft.com/office/drawing/2014/chart" uri="{C3380CC4-5D6E-409C-BE32-E72D297353CC}">
                <c16:uniqueId val="{0000000D-EA8B-4FC5-BE4A-BF939259C067}"/>
              </c:ext>
            </c:extLst>
          </c:dPt>
          <c:dLbls>
            <c:dLbl>
              <c:idx val="3"/>
              <c:layout>
                <c:manualLayout>
                  <c:x val="-4.1239819921220248E-3"/>
                  <c:y val="-5.35313460205412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A8B-4FC5-BE4A-BF939259C06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Item 1</c:v>
                </c:pt>
                <c:pt idx="1">
                  <c:v>Item 2</c:v>
                </c:pt>
                <c:pt idx="2">
                  <c:v>Item 3</c:v>
                </c:pt>
                <c:pt idx="3">
                  <c:v>Item 4</c:v>
                </c:pt>
                <c:pt idx="4">
                  <c:v>Item 5</c:v>
                </c:pt>
                <c:pt idx="5">
                  <c:v>Item 6</c:v>
                </c:pt>
                <c:pt idx="6">
                  <c:v>Item 7</c:v>
                </c:pt>
              </c:strCache>
            </c:strRef>
          </c:cat>
          <c:val>
            <c:numRef>
              <c:f>Sheet1!$B$2:$B$8</c:f>
              <c:numCache>
                <c:formatCode>0%</c:formatCode>
                <c:ptCount val="7"/>
                <c:pt idx="0">
                  <c:v>7.0000000000000007E-2</c:v>
                </c:pt>
                <c:pt idx="1">
                  <c:v>0.12</c:v>
                </c:pt>
                <c:pt idx="2">
                  <c:v>0.18</c:v>
                </c:pt>
                <c:pt idx="3">
                  <c:v>0.32</c:v>
                </c:pt>
                <c:pt idx="4">
                  <c:v>0.03</c:v>
                </c:pt>
                <c:pt idx="5">
                  <c:v>0.21</c:v>
                </c:pt>
                <c:pt idx="6">
                  <c:v>7.0000000000000007E-2</c:v>
                </c:pt>
              </c:numCache>
            </c:numRef>
          </c:val>
          <c:extLst>
            <c:ext xmlns:c16="http://schemas.microsoft.com/office/drawing/2014/chart" uri="{C3380CC4-5D6E-409C-BE32-E72D297353CC}">
              <c16:uniqueId val="{0000000E-EA8B-4FC5-BE4A-BF939259C067}"/>
            </c:ext>
          </c:extLst>
        </c:ser>
        <c:ser>
          <c:idx val="1"/>
          <c:order val="1"/>
          <c:tx>
            <c:strRef>
              <c:f>Sheet1!$C$1</c:f>
              <c:strCache>
                <c:ptCount val="1"/>
                <c:pt idx="0">
                  <c:v>Column1</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10-EA8B-4FC5-BE4A-BF939259C067}"/>
              </c:ext>
            </c:extLst>
          </c:dPt>
          <c:dPt>
            <c:idx val="1"/>
            <c:bubble3D val="0"/>
            <c:spPr>
              <a:solidFill>
                <a:schemeClr val="accent1"/>
              </a:solidFill>
              <a:ln w="19050">
                <a:noFill/>
              </a:ln>
              <a:effectLst/>
            </c:spPr>
            <c:extLst>
              <c:ext xmlns:c16="http://schemas.microsoft.com/office/drawing/2014/chart" uri="{C3380CC4-5D6E-409C-BE32-E72D297353CC}">
                <c16:uniqueId val="{00000012-EA8B-4FC5-BE4A-BF939259C067}"/>
              </c:ext>
            </c:extLst>
          </c:dPt>
          <c:dPt>
            <c:idx val="2"/>
            <c:bubble3D val="0"/>
            <c:spPr>
              <a:solidFill>
                <a:schemeClr val="accent4"/>
              </a:solidFill>
              <a:ln w="19050">
                <a:noFill/>
              </a:ln>
              <a:effectLst/>
            </c:spPr>
            <c:extLst>
              <c:ext xmlns:c16="http://schemas.microsoft.com/office/drawing/2014/chart" uri="{C3380CC4-5D6E-409C-BE32-E72D297353CC}">
                <c16:uniqueId val="{00000014-EA8B-4FC5-BE4A-BF939259C067}"/>
              </c:ext>
            </c:extLst>
          </c:dPt>
          <c:dPt>
            <c:idx val="3"/>
            <c:bubble3D val="0"/>
            <c:spPr>
              <a:solidFill>
                <a:schemeClr val="accent3"/>
              </a:solidFill>
              <a:ln w="19050">
                <a:noFill/>
              </a:ln>
              <a:effectLst/>
            </c:spPr>
            <c:extLst>
              <c:ext xmlns:c16="http://schemas.microsoft.com/office/drawing/2014/chart" uri="{C3380CC4-5D6E-409C-BE32-E72D297353CC}">
                <c16:uniqueId val="{00000016-EA8B-4FC5-BE4A-BF939259C067}"/>
              </c:ext>
            </c:extLst>
          </c:dPt>
          <c:dPt>
            <c:idx val="4"/>
            <c:bubble3D val="0"/>
            <c:spPr>
              <a:solidFill>
                <a:schemeClr val="accent5"/>
              </a:solidFill>
              <a:ln w="19050">
                <a:noFill/>
              </a:ln>
              <a:effectLst/>
            </c:spPr>
            <c:extLst>
              <c:ext xmlns:c16="http://schemas.microsoft.com/office/drawing/2014/chart" uri="{C3380CC4-5D6E-409C-BE32-E72D297353CC}">
                <c16:uniqueId val="{00000018-EA8B-4FC5-BE4A-BF939259C067}"/>
              </c:ext>
            </c:extLst>
          </c:dPt>
          <c:dPt>
            <c:idx val="5"/>
            <c:bubble3D val="0"/>
            <c:spPr>
              <a:solidFill>
                <a:schemeClr val="accent6"/>
              </a:solidFill>
              <a:ln w="19050">
                <a:noFill/>
              </a:ln>
              <a:effectLst/>
            </c:spPr>
            <c:extLst>
              <c:ext xmlns:c16="http://schemas.microsoft.com/office/drawing/2014/chart" uri="{C3380CC4-5D6E-409C-BE32-E72D297353CC}">
                <c16:uniqueId val="{0000001A-EA8B-4FC5-BE4A-BF939259C067}"/>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1C-EA8B-4FC5-BE4A-BF939259C067}"/>
              </c:ext>
            </c:extLst>
          </c:dPt>
          <c:dLbls>
            <c:dLbl>
              <c:idx val="1"/>
              <c:layout>
                <c:manualLayout>
                  <c:x val="5.4005043192740972E-3"/>
                  <c:y val="1.12679886654889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A8B-4FC5-BE4A-BF939259C067}"/>
                </c:ext>
              </c:extLst>
            </c:dLbl>
            <c:dLbl>
              <c:idx val="2"/>
              <c:layout>
                <c:manualLayout>
                  <c:x val="-1.2369339764999659E-2"/>
                  <c:y val="-2.67645455123553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A8B-4FC5-BE4A-BF939259C06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8</c:f>
              <c:strCache>
                <c:ptCount val="7"/>
                <c:pt idx="0">
                  <c:v>Item 1</c:v>
                </c:pt>
                <c:pt idx="1">
                  <c:v>Item 2</c:v>
                </c:pt>
                <c:pt idx="2">
                  <c:v>Item 3</c:v>
                </c:pt>
                <c:pt idx="3">
                  <c:v>Item 4</c:v>
                </c:pt>
                <c:pt idx="4">
                  <c:v>Item 5</c:v>
                </c:pt>
                <c:pt idx="5">
                  <c:v>Item 6</c:v>
                </c:pt>
                <c:pt idx="6">
                  <c:v>Item 7</c:v>
                </c:pt>
              </c:strCache>
            </c:strRef>
          </c:cat>
          <c:val>
            <c:numRef>
              <c:f>Sheet1!$C$2:$C$8</c:f>
              <c:numCache>
                <c:formatCode>0%</c:formatCode>
                <c:ptCount val="7"/>
                <c:pt idx="0">
                  <c:v>7.0000000000000007E-2</c:v>
                </c:pt>
                <c:pt idx="1">
                  <c:v>0.3</c:v>
                </c:pt>
                <c:pt idx="2">
                  <c:v>0.35</c:v>
                </c:pt>
                <c:pt idx="3">
                  <c:v>0.28000000000000003</c:v>
                </c:pt>
              </c:numCache>
            </c:numRef>
          </c:val>
          <c:extLst>
            <c:ext xmlns:c16="http://schemas.microsoft.com/office/drawing/2014/chart" uri="{C3380CC4-5D6E-409C-BE32-E72D297353CC}">
              <c16:uniqueId val="{0000001D-EA8B-4FC5-BE4A-BF939259C067}"/>
            </c:ext>
          </c:extLst>
        </c:ser>
        <c:dLbls>
          <c:showLegendKey val="0"/>
          <c:showVal val="0"/>
          <c:showCatName val="0"/>
          <c:showSerName val="0"/>
          <c:showPercent val="0"/>
          <c:showBubbleSize val="0"/>
          <c:showLeaderLines val="1"/>
        </c:dLbls>
        <c:firstSliceAng val="335"/>
        <c:holeSize val="51"/>
      </c:doughnutChart>
      <c:spPr>
        <a:noFill/>
        <a:ln>
          <a:noFill/>
        </a:ln>
        <a:effectLst/>
      </c:spPr>
    </c:plotArea>
    <c:legend>
      <c:legendPos val="r"/>
      <c:layout>
        <c:manualLayout>
          <c:xMode val="edge"/>
          <c:yMode val="edge"/>
          <c:x val="0.73497549553199815"/>
          <c:y val="0.42599193884090508"/>
          <c:w val="6.4281942725551516E-2"/>
          <c:h val="0.42761125134679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34853576964289E-2"/>
          <c:y val="9.9977946931514627E-2"/>
          <c:w val="0.8385372134839818"/>
          <c:h val="0.82989492539565701"/>
        </c:manualLayout>
      </c:layout>
      <c:lineChart>
        <c:grouping val="standard"/>
        <c:varyColors val="0"/>
        <c:ser>
          <c:idx val="0"/>
          <c:order val="0"/>
          <c:tx>
            <c:strRef>
              <c:f>Sheet1!$A$2</c:f>
              <c:strCache>
                <c:ptCount val="1"/>
                <c:pt idx="0">
                  <c:v>Label A</c:v>
                </c:pt>
              </c:strCache>
            </c:strRef>
          </c:tx>
          <c:spPr>
            <a:ln w="12700">
              <a:solidFill>
                <a:schemeClr val="accent6"/>
              </a:solidFill>
              <a:prstDash val="lgDash"/>
            </a:ln>
          </c:spPr>
          <c:marker>
            <c:symbol val="none"/>
          </c:marker>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2</c:v>
                </c:pt>
                <c:pt idx="1">
                  <c:v>10</c:v>
                </c:pt>
                <c:pt idx="2">
                  <c:v>15</c:v>
                </c:pt>
                <c:pt idx="3">
                  <c:v>40</c:v>
                </c:pt>
              </c:numCache>
            </c:numRef>
          </c:val>
          <c:smooth val="0"/>
          <c:extLst>
            <c:ext xmlns:c16="http://schemas.microsoft.com/office/drawing/2014/chart" uri="{C3380CC4-5D6E-409C-BE32-E72D297353CC}">
              <c16:uniqueId val="{00000000-25B1-4167-830D-2054A0755FDA}"/>
            </c:ext>
          </c:extLst>
        </c:ser>
        <c:ser>
          <c:idx val="1"/>
          <c:order val="1"/>
          <c:tx>
            <c:strRef>
              <c:f>Sheet1!$A$3</c:f>
              <c:strCache>
                <c:ptCount val="1"/>
                <c:pt idx="0">
                  <c:v>Label B</c:v>
                </c:pt>
              </c:strCache>
            </c:strRef>
          </c:tx>
          <c:spPr>
            <a:ln w="25400">
              <a:solidFill>
                <a:schemeClr val="accent3"/>
              </a:solidFill>
            </a:ln>
          </c:spPr>
          <c:marker>
            <c:symbol val="none"/>
          </c:marker>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8</c:v>
                </c:pt>
                <c:pt idx="1">
                  <c:v>2</c:v>
                </c:pt>
                <c:pt idx="2">
                  <c:v>25</c:v>
                </c:pt>
                <c:pt idx="3">
                  <c:v>30</c:v>
                </c:pt>
              </c:numCache>
            </c:numRef>
          </c:val>
          <c:smooth val="0"/>
          <c:extLst>
            <c:ext xmlns:c16="http://schemas.microsoft.com/office/drawing/2014/chart" uri="{C3380CC4-5D6E-409C-BE32-E72D297353CC}">
              <c16:uniqueId val="{00000001-25B1-4167-830D-2054A0755FDA}"/>
            </c:ext>
          </c:extLst>
        </c:ser>
        <c:ser>
          <c:idx val="2"/>
          <c:order val="2"/>
          <c:tx>
            <c:strRef>
              <c:f>Sheet1!$A$4</c:f>
              <c:strCache>
                <c:ptCount val="1"/>
                <c:pt idx="0">
                  <c:v>Label C</c:v>
                </c:pt>
              </c:strCache>
            </c:strRef>
          </c:tx>
          <c:spPr>
            <a:ln w="12700">
              <a:solidFill>
                <a:schemeClr val="accent4"/>
              </a:solidFill>
              <a:prstDash val="lgDash"/>
            </a:ln>
          </c:spPr>
          <c:marker>
            <c:symbol val="none"/>
          </c:marker>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45</c:v>
                </c:pt>
                <c:pt idx="1">
                  <c:v>35</c:v>
                </c:pt>
                <c:pt idx="2">
                  <c:v>45</c:v>
                </c:pt>
                <c:pt idx="3">
                  <c:v>43.9</c:v>
                </c:pt>
              </c:numCache>
            </c:numRef>
          </c:val>
          <c:smooth val="0"/>
          <c:extLst>
            <c:ext xmlns:c16="http://schemas.microsoft.com/office/drawing/2014/chart" uri="{C3380CC4-5D6E-409C-BE32-E72D297353CC}">
              <c16:uniqueId val="{00000002-25B1-4167-830D-2054A0755FDA}"/>
            </c:ext>
          </c:extLst>
        </c:ser>
        <c:ser>
          <c:idx val="3"/>
          <c:order val="3"/>
          <c:tx>
            <c:strRef>
              <c:f>Sheet1!$A$5</c:f>
              <c:strCache>
                <c:ptCount val="1"/>
                <c:pt idx="0">
                  <c:v>Label D</c:v>
                </c:pt>
              </c:strCache>
            </c:strRef>
          </c:tx>
          <c:spPr>
            <a:ln w="25400">
              <a:solidFill>
                <a:schemeClr val="accent1"/>
              </a:solidFill>
              <a:prstDash val="solid"/>
            </a:ln>
          </c:spPr>
          <c:marker>
            <c:symbol val="none"/>
          </c:marker>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30</c:v>
                </c:pt>
                <c:pt idx="1">
                  <c:v>40</c:v>
                </c:pt>
                <c:pt idx="2">
                  <c:v>25</c:v>
                </c:pt>
                <c:pt idx="3">
                  <c:v>35</c:v>
                </c:pt>
              </c:numCache>
            </c:numRef>
          </c:val>
          <c:smooth val="0"/>
          <c:extLst>
            <c:ext xmlns:c16="http://schemas.microsoft.com/office/drawing/2014/chart" uri="{C3380CC4-5D6E-409C-BE32-E72D297353CC}">
              <c16:uniqueId val="{00000003-25B1-4167-830D-2054A0755FDA}"/>
            </c:ext>
          </c:extLst>
        </c:ser>
        <c:dLbls>
          <c:showLegendKey val="0"/>
          <c:showVal val="0"/>
          <c:showCatName val="0"/>
          <c:showSerName val="0"/>
          <c:showPercent val="0"/>
          <c:showBubbleSize val="0"/>
        </c:dLbls>
        <c:smooth val="0"/>
        <c:axId val="549478920"/>
        <c:axId val="549479312"/>
      </c:lineChart>
      <c:catAx>
        <c:axId val="549478920"/>
        <c:scaling>
          <c:orientation val="minMax"/>
        </c:scaling>
        <c:delete val="0"/>
        <c:axPos val="b"/>
        <c:numFmt formatCode="General" sourceLinked="1"/>
        <c:majorTickMark val="none"/>
        <c:minorTickMark val="none"/>
        <c:tickLblPos val="nextTo"/>
        <c:spPr>
          <a:ln w="12700">
            <a:solidFill>
              <a:schemeClr val="tx2">
                <a:lumMod val="60000"/>
                <a:lumOff val="40000"/>
              </a:schemeClr>
            </a:solidFill>
          </a:ln>
        </c:spPr>
        <c:txPr>
          <a:bodyPr rot="0" vert="horz"/>
          <a:lstStyle/>
          <a:p>
            <a:pPr>
              <a:defRPr/>
            </a:pPr>
            <a:endParaRPr lang="en-US"/>
          </a:p>
        </c:txPr>
        <c:crossAx val="549479312"/>
        <c:crosses val="autoZero"/>
        <c:auto val="1"/>
        <c:lblAlgn val="ctr"/>
        <c:lblOffset val="100"/>
        <c:tickLblSkip val="1"/>
        <c:tickMarkSkip val="1"/>
        <c:noMultiLvlLbl val="0"/>
      </c:catAx>
      <c:valAx>
        <c:axId val="549479312"/>
        <c:scaling>
          <c:orientation val="minMax"/>
        </c:scaling>
        <c:delete val="0"/>
        <c:axPos val="l"/>
        <c:numFmt formatCode="General" sourceLinked="1"/>
        <c:majorTickMark val="none"/>
        <c:minorTickMark val="none"/>
        <c:tickLblPos val="nextTo"/>
        <c:spPr>
          <a:ln w="12700">
            <a:noFill/>
          </a:ln>
        </c:spPr>
        <c:txPr>
          <a:bodyPr rot="0" vert="horz"/>
          <a:lstStyle/>
          <a:p>
            <a:pPr>
              <a:defRPr/>
            </a:pPr>
            <a:endParaRPr lang="en-US"/>
          </a:p>
        </c:txPr>
        <c:crossAx val="549478920"/>
        <c:crosses val="autoZero"/>
        <c:crossBetween val="midCat"/>
        <c:majorUnit val="10"/>
      </c:valAx>
      <c:spPr>
        <a:ln>
          <a:noFill/>
        </a:ln>
      </c:spPr>
    </c:plotArea>
    <c:plotVisOnly val="1"/>
    <c:dispBlanksAs val="gap"/>
    <c:showDLblsOverMax val="0"/>
  </c:chart>
  <c:txPr>
    <a:bodyPr/>
    <a:lstStyle/>
    <a:p>
      <a:pPr>
        <a:defRPr sz="1400">
          <a:solidFill>
            <a:schemeClr val="tx2"/>
          </a:solidFill>
          <a:latin typeface="+mn-lt"/>
        </a:defRPr>
      </a:pPr>
      <a:endParaRPr lang="en-US"/>
    </a:p>
  </c:txPr>
  <c:externalData r:id="rId1">
    <c:autoUpdate val="0"/>
  </c:externalData>
  <c:userShapes r:id="rId2"/>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34853576964289E-2"/>
          <c:y val="9.9977946931514627E-2"/>
          <c:w val="0.8418471019190229"/>
          <c:h val="0.82989492539565701"/>
        </c:manualLayout>
      </c:layout>
      <c:lineChart>
        <c:grouping val="standard"/>
        <c:varyColors val="0"/>
        <c:ser>
          <c:idx val="0"/>
          <c:order val="0"/>
          <c:tx>
            <c:strRef>
              <c:f>Sheet1!$A$2</c:f>
              <c:strCache>
                <c:ptCount val="1"/>
                <c:pt idx="0">
                  <c:v>Label A</c:v>
                </c:pt>
              </c:strCache>
            </c:strRef>
          </c:tx>
          <c:spPr>
            <a:ln w="25400">
              <a:solidFill>
                <a:schemeClr val="accent6"/>
              </a:solidFill>
            </a:ln>
          </c:spPr>
          <c:marker>
            <c:symbol val="none"/>
          </c:marker>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2</c:v>
                </c:pt>
                <c:pt idx="1">
                  <c:v>10</c:v>
                </c:pt>
                <c:pt idx="2">
                  <c:v>15</c:v>
                </c:pt>
                <c:pt idx="3">
                  <c:v>40</c:v>
                </c:pt>
              </c:numCache>
            </c:numRef>
          </c:val>
          <c:smooth val="1"/>
          <c:extLst>
            <c:ext xmlns:c16="http://schemas.microsoft.com/office/drawing/2014/chart" uri="{C3380CC4-5D6E-409C-BE32-E72D297353CC}">
              <c16:uniqueId val="{00000000-511C-4EF9-BD4D-6E72747B2024}"/>
            </c:ext>
          </c:extLst>
        </c:ser>
        <c:ser>
          <c:idx val="1"/>
          <c:order val="1"/>
          <c:tx>
            <c:strRef>
              <c:f>Sheet1!$A$3</c:f>
              <c:strCache>
                <c:ptCount val="1"/>
                <c:pt idx="0">
                  <c:v>Label B</c:v>
                </c:pt>
              </c:strCache>
            </c:strRef>
          </c:tx>
          <c:spPr>
            <a:ln w="25400">
              <a:solidFill>
                <a:schemeClr val="accent3"/>
              </a:solidFill>
            </a:ln>
          </c:spPr>
          <c:marker>
            <c:symbol val="none"/>
          </c:marker>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8</c:v>
                </c:pt>
                <c:pt idx="1">
                  <c:v>2</c:v>
                </c:pt>
                <c:pt idx="2">
                  <c:v>25</c:v>
                </c:pt>
                <c:pt idx="3">
                  <c:v>30</c:v>
                </c:pt>
              </c:numCache>
            </c:numRef>
          </c:val>
          <c:smooth val="1"/>
          <c:extLst>
            <c:ext xmlns:c16="http://schemas.microsoft.com/office/drawing/2014/chart" uri="{C3380CC4-5D6E-409C-BE32-E72D297353CC}">
              <c16:uniqueId val="{00000001-511C-4EF9-BD4D-6E72747B2024}"/>
            </c:ext>
          </c:extLst>
        </c:ser>
        <c:ser>
          <c:idx val="2"/>
          <c:order val="2"/>
          <c:tx>
            <c:strRef>
              <c:f>Sheet1!$A$4</c:f>
              <c:strCache>
                <c:ptCount val="1"/>
                <c:pt idx="0">
                  <c:v>Label C</c:v>
                </c:pt>
              </c:strCache>
            </c:strRef>
          </c:tx>
          <c:spPr>
            <a:ln w="25400">
              <a:solidFill>
                <a:schemeClr val="accent4"/>
              </a:solidFill>
            </a:ln>
          </c:spPr>
          <c:marker>
            <c:symbol val="none"/>
          </c:marker>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45</c:v>
                </c:pt>
                <c:pt idx="1">
                  <c:v>35</c:v>
                </c:pt>
                <c:pt idx="2">
                  <c:v>45</c:v>
                </c:pt>
                <c:pt idx="3">
                  <c:v>43.9</c:v>
                </c:pt>
              </c:numCache>
            </c:numRef>
          </c:val>
          <c:smooth val="1"/>
          <c:extLst>
            <c:ext xmlns:c16="http://schemas.microsoft.com/office/drawing/2014/chart" uri="{C3380CC4-5D6E-409C-BE32-E72D297353CC}">
              <c16:uniqueId val="{00000002-511C-4EF9-BD4D-6E72747B2024}"/>
            </c:ext>
          </c:extLst>
        </c:ser>
        <c:ser>
          <c:idx val="3"/>
          <c:order val="3"/>
          <c:tx>
            <c:strRef>
              <c:f>Sheet1!$A$5</c:f>
              <c:strCache>
                <c:ptCount val="1"/>
                <c:pt idx="0">
                  <c:v>Label D</c:v>
                </c:pt>
              </c:strCache>
            </c:strRef>
          </c:tx>
          <c:spPr>
            <a:ln w="25400">
              <a:solidFill>
                <a:schemeClr val="accent1"/>
              </a:solidFill>
            </a:ln>
          </c:spPr>
          <c:marker>
            <c:symbol val="none"/>
          </c:marker>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30</c:v>
                </c:pt>
                <c:pt idx="1">
                  <c:v>40</c:v>
                </c:pt>
                <c:pt idx="2">
                  <c:v>25</c:v>
                </c:pt>
                <c:pt idx="3">
                  <c:v>35</c:v>
                </c:pt>
              </c:numCache>
            </c:numRef>
          </c:val>
          <c:smooth val="1"/>
          <c:extLst>
            <c:ext xmlns:c16="http://schemas.microsoft.com/office/drawing/2014/chart" uri="{C3380CC4-5D6E-409C-BE32-E72D297353CC}">
              <c16:uniqueId val="{00000003-511C-4EF9-BD4D-6E72747B2024}"/>
            </c:ext>
          </c:extLst>
        </c:ser>
        <c:dLbls>
          <c:showLegendKey val="0"/>
          <c:showVal val="0"/>
          <c:showCatName val="0"/>
          <c:showSerName val="0"/>
          <c:showPercent val="0"/>
          <c:showBubbleSize val="0"/>
        </c:dLbls>
        <c:smooth val="0"/>
        <c:axId val="549480096"/>
        <c:axId val="549480488"/>
      </c:lineChart>
      <c:catAx>
        <c:axId val="549480096"/>
        <c:scaling>
          <c:orientation val="minMax"/>
        </c:scaling>
        <c:delete val="0"/>
        <c:axPos val="b"/>
        <c:numFmt formatCode="General" sourceLinked="1"/>
        <c:majorTickMark val="none"/>
        <c:minorTickMark val="none"/>
        <c:tickLblPos val="nextTo"/>
        <c:txPr>
          <a:bodyPr rot="0" vert="horz"/>
          <a:lstStyle/>
          <a:p>
            <a:pPr>
              <a:defRPr/>
            </a:pPr>
            <a:endParaRPr lang="en-US"/>
          </a:p>
        </c:txPr>
        <c:crossAx val="549480488"/>
        <c:crosses val="autoZero"/>
        <c:auto val="1"/>
        <c:lblAlgn val="ctr"/>
        <c:lblOffset val="100"/>
        <c:tickLblSkip val="1"/>
        <c:tickMarkSkip val="1"/>
        <c:noMultiLvlLbl val="0"/>
      </c:catAx>
      <c:valAx>
        <c:axId val="549480488"/>
        <c:scaling>
          <c:orientation val="minMax"/>
        </c:scaling>
        <c:delete val="0"/>
        <c:axPos val="l"/>
        <c:majorGridlines>
          <c:spPr>
            <a:ln>
              <a:noFill/>
            </a:ln>
          </c:spPr>
        </c:majorGridlines>
        <c:numFmt formatCode="General" sourceLinked="1"/>
        <c:majorTickMark val="none"/>
        <c:minorTickMark val="none"/>
        <c:tickLblPos val="nextTo"/>
        <c:spPr>
          <a:ln>
            <a:noFill/>
          </a:ln>
        </c:spPr>
        <c:txPr>
          <a:bodyPr rot="0" vert="horz"/>
          <a:lstStyle/>
          <a:p>
            <a:pPr>
              <a:defRPr/>
            </a:pPr>
            <a:endParaRPr lang="en-US"/>
          </a:p>
        </c:txPr>
        <c:crossAx val="549480096"/>
        <c:crosses val="autoZero"/>
        <c:crossBetween val="midCat"/>
        <c:majorUnit val="10"/>
      </c:valAx>
    </c:plotArea>
    <c:plotVisOnly val="1"/>
    <c:dispBlanksAs val="gap"/>
    <c:showDLblsOverMax val="0"/>
  </c:chart>
  <c:txPr>
    <a:bodyPr/>
    <a:lstStyle/>
    <a:p>
      <a:pPr>
        <a:defRPr sz="1400">
          <a:solidFill>
            <a:schemeClr val="tx2"/>
          </a:solidFill>
        </a:defRPr>
      </a:pPr>
      <a:endParaRPr lang="en-US"/>
    </a:p>
  </c:txPr>
  <c:externalData r:id="rId1">
    <c:autoUpdate val="0"/>
  </c:externalData>
  <c:userShapes r:id="rId2"/>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4.0678054669043069E-2"/>
          <c:y val="2.3127544282538232E-2"/>
          <c:w val="0.81965311015063858"/>
          <c:h val="0.90119037666501245"/>
        </c:manualLayout>
      </c:layout>
      <c:areaChart>
        <c:grouping val="stacked"/>
        <c:varyColors val="0"/>
        <c:ser>
          <c:idx val="0"/>
          <c:order val="0"/>
          <c:tx>
            <c:strRef>
              <c:f>Sheet1!$A$2</c:f>
              <c:strCache>
                <c:ptCount val="1"/>
                <c:pt idx="0">
                  <c:v>Label A</c:v>
                </c:pt>
              </c:strCache>
            </c:strRef>
          </c:tx>
          <c:spPr>
            <a:solidFill>
              <a:schemeClr val="accent1">
                <a:shade val="53000"/>
              </a:schemeClr>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12</c:v>
                </c:pt>
                <c:pt idx="1">
                  <c:v>15</c:v>
                </c:pt>
                <c:pt idx="2">
                  <c:v>10</c:v>
                </c:pt>
                <c:pt idx="3">
                  <c:v>14</c:v>
                </c:pt>
              </c:numCache>
            </c:numRef>
          </c:val>
          <c:extLst>
            <c:ext xmlns:c16="http://schemas.microsoft.com/office/drawing/2014/chart" uri="{C3380CC4-5D6E-409C-BE32-E72D297353CC}">
              <c16:uniqueId val="{00000000-A5DF-424B-9213-3312C914D9D5}"/>
            </c:ext>
          </c:extLst>
        </c:ser>
        <c:ser>
          <c:idx val="1"/>
          <c:order val="1"/>
          <c:tx>
            <c:strRef>
              <c:f>Sheet1!$A$3</c:f>
              <c:strCache>
                <c:ptCount val="1"/>
                <c:pt idx="0">
                  <c:v>Label B</c:v>
                </c:pt>
              </c:strCache>
            </c:strRef>
          </c:tx>
          <c:spPr>
            <a:solidFill>
              <a:schemeClr val="accent1">
                <a:shade val="76000"/>
              </a:schemeClr>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15</c:v>
                </c:pt>
                <c:pt idx="1">
                  <c:v>20</c:v>
                </c:pt>
                <c:pt idx="2">
                  <c:v>21</c:v>
                </c:pt>
                <c:pt idx="3">
                  <c:v>22</c:v>
                </c:pt>
              </c:numCache>
            </c:numRef>
          </c:val>
          <c:extLst>
            <c:ext xmlns:c16="http://schemas.microsoft.com/office/drawing/2014/chart" uri="{C3380CC4-5D6E-409C-BE32-E72D297353CC}">
              <c16:uniqueId val="{00000001-A5DF-424B-9213-3312C914D9D5}"/>
            </c:ext>
          </c:extLst>
        </c:ser>
        <c:ser>
          <c:idx val="2"/>
          <c:order val="2"/>
          <c:tx>
            <c:strRef>
              <c:f>Sheet1!$A$4</c:f>
              <c:strCache>
                <c:ptCount val="1"/>
                <c:pt idx="0">
                  <c:v>Label C</c:v>
                </c:pt>
              </c:strCache>
            </c:strRef>
          </c:tx>
          <c:spPr>
            <a:solidFill>
              <a:schemeClr val="accent1"/>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11</c:v>
                </c:pt>
                <c:pt idx="1">
                  <c:v>12</c:v>
                </c:pt>
                <c:pt idx="2">
                  <c:v>12</c:v>
                </c:pt>
                <c:pt idx="3">
                  <c:v>15</c:v>
                </c:pt>
              </c:numCache>
            </c:numRef>
          </c:val>
          <c:extLst>
            <c:ext xmlns:c16="http://schemas.microsoft.com/office/drawing/2014/chart" uri="{C3380CC4-5D6E-409C-BE32-E72D297353CC}">
              <c16:uniqueId val="{00000002-A5DF-424B-9213-3312C914D9D5}"/>
            </c:ext>
          </c:extLst>
        </c:ser>
        <c:ser>
          <c:idx val="3"/>
          <c:order val="3"/>
          <c:tx>
            <c:strRef>
              <c:f>Sheet1!$A$5</c:f>
              <c:strCache>
                <c:ptCount val="1"/>
                <c:pt idx="0">
                  <c:v>Label D</c:v>
                </c:pt>
              </c:strCache>
            </c:strRef>
          </c:tx>
          <c:spPr>
            <a:solidFill>
              <a:schemeClr val="accent1">
                <a:tint val="77000"/>
              </a:schemeClr>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11</c:v>
                </c:pt>
                <c:pt idx="1">
                  <c:v>16</c:v>
                </c:pt>
                <c:pt idx="2">
                  <c:v>10</c:v>
                </c:pt>
                <c:pt idx="3">
                  <c:v>15</c:v>
                </c:pt>
              </c:numCache>
            </c:numRef>
          </c:val>
          <c:extLst>
            <c:ext xmlns:c16="http://schemas.microsoft.com/office/drawing/2014/chart" uri="{C3380CC4-5D6E-409C-BE32-E72D297353CC}">
              <c16:uniqueId val="{00000003-A5DF-424B-9213-3312C914D9D5}"/>
            </c:ext>
          </c:extLst>
        </c:ser>
        <c:ser>
          <c:idx val="4"/>
          <c:order val="4"/>
          <c:tx>
            <c:strRef>
              <c:f>Sheet1!$A$6</c:f>
              <c:strCache>
                <c:ptCount val="1"/>
                <c:pt idx="0">
                  <c:v>Label E</c:v>
                </c:pt>
              </c:strCache>
            </c:strRef>
          </c:tx>
          <c:spPr>
            <a:solidFill>
              <a:schemeClr val="accent1">
                <a:tint val="54000"/>
              </a:schemeClr>
            </a:solidFill>
            <a:ln>
              <a:noFill/>
            </a:ln>
            <a:effectLst/>
          </c:spPr>
          <c:dLbls>
            <c:delete val="1"/>
          </c:dLbls>
          <c:cat>
            <c:numRef>
              <c:f>Sheet1!$B$1:$E$1</c:f>
              <c:numCache>
                <c:formatCode>General</c:formatCode>
                <c:ptCount val="4"/>
                <c:pt idx="0">
                  <c:v>2000</c:v>
                </c:pt>
                <c:pt idx="1">
                  <c:v>2001</c:v>
                </c:pt>
                <c:pt idx="2">
                  <c:v>2002</c:v>
                </c:pt>
                <c:pt idx="3">
                  <c:v>2003</c:v>
                </c:pt>
              </c:numCache>
            </c:numRef>
          </c:cat>
          <c:val>
            <c:numRef>
              <c:f>Sheet1!$B$6:$E$6</c:f>
              <c:numCache>
                <c:formatCode>General</c:formatCode>
                <c:ptCount val="4"/>
                <c:pt idx="0">
                  <c:v>13</c:v>
                </c:pt>
                <c:pt idx="1">
                  <c:v>14</c:v>
                </c:pt>
                <c:pt idx="2">
                  <c:v>14</c:v>
                </c:pt>
                <c:pt idx="3">
                  <c:v>12</c:v>
                </c:pt>
              </c:numCache>
            </c:numRef>
          </c:val>
          <c:extLst>
            <c:ext xmlns:c16="http://schemas.microsoft.com/office/drawing/2014/chart" uri="{C3380CC4-5D6E-409C-BE32-E72D297353CC}">
              <c16:uniqueId val="{00000004-A5DF-424B-9213-3312C914D9D5}"/>
            </c:ext>
          </c:extLst>
        </c:ser>
        <c:dLbls>
          <c:showLegendKey val="0"/>
          <c:showVal val="0"/>
          <c:showCatName val="0"/>
          <c:showSerName val="1"/>
          <c:showPercent val="0"/>
          <c:showBubbleSize val="0"/>
        </c:dLbls>
        <c:axId val="549482056"/>
        <c:axId val="549482448"/>
      </c:areaChart>
      <c:catAx>
        <c:axId val="549482056"/>
        <c:scaling>
          <c:orientation val="minMax"/>
        </c:scaling>
        <c:delete val="0"/>
        <c:axPos val="b"/>
        <c:numFmt formatCode="General" sourceLinked="1"/>
        <c:majorTickMark val="none"/>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en-US"/>
          </a:p>
        </c:txPr>
        <c:crossAx val="549482448"/>
        <c:crosses val="autoZero"/>
        <c:auto val="0"/>
        <c:lblAlgn val="ctr"/>
        <c:lblOffset val="100"/>
        <c:tickLblSkip val="1"/>
        <c:tickMarkSkip val="1"/>
        <c:noMultiLvlLbl val="0"/>
      </c:catAx>
      <c:valAx>
        <c:axId val="549482448"/>
        <c:scaling>
          <c:orientation val="minMax"/>
          <c:max val="100"/>
        </c:scaling>
        <c:delete val="0"/>
        <c:axPos val="l"/>
        <c:numFmt formatCode="0" sourceLinked="0"/>
        <c:majorTickMark val="out"/>
        <c:minorTickMark val="none"/>
        <c:tickLblPos val="nextTo"/>
        <c:spPr>
          <a:noFill/>
          <a:ln w="6350" cap="flat" cmpd="sng" algn="ctr">
            <a:no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en-US"/>
          </a:p>
        </c:txPr>
        <c:crossAx val="549482056"/>
        <c:crosses val="autoZero"/>
        <c:crossBetween val="midCat"/>
        <c:majorUnit val="25"/>
      </c:valAx>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tx2"/>
          </a:solidFill>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442495126705652E-2"/>
          <c:y val="3.0726256983240208E-2"/>
          <c:w val="0.79727095516569202"/>
          <c:h val="0.94413407821229045"/>
        </c:manualLayout>
      </c:layout>
      <c:barChart>
        <c:barDir val="bar"/>
        <c:grouping val="clustered"/>
        <c:varyColors val="0"/>
        <c:ser>
          <c:idx val="2"/>
          <c:order val="0"/>
          <c:tx>
            <c:strRef>
              <c:f>Sheet1!$A$2</c:f>
              <c:strCache>
                <c:ptCount val="1"/>
                <c:pt idx="0">
                  <c:v>Group 2</c:v>
                </c:pt>
              </c:strCache>
            </c:strRef>
          </c:tx>
          <c:spPr>
            <a:solidFill>
              <a:schemeClr val="accent1"/>
            </a:solidFill>
            <a:ln w="25399">
              <a:noFill/>
            </a:ln>
          </c:spPr>
          <c:invertIfNegative val="0"/>
          <c:dPt>
            <c:idx val="1"/>
            <c:invertIfNegative val="0"/>
            <c:bubble3D val="0"/>
            <c:spPr>
              <a:solidFill>
                <a:schemeClr val="accent3"/>
              </a:solidFill>
              <a:ln w="25399">
                <a:noFill/>
              </a:ln>
            </c:spPr>
            <c:extLst>
              <c:ext xmlns:c16="http://schemas.microsoft.com/office/drawing/2014/chart" uri="{C3380CC4-5D6E-409C-BE32-E72D297353CC}">
                <c16:uniqueId val="{00000001-33A6-4024-97C8-718625DCC573}"/>
              </c:ext>
            </c:extLst>
          </c:dPt>
          <c:dPt>
            <c:idx val="2"/>
            <c:invertIfNegative val="0"/>
            <c:bubble3D val="0"/>
            <c:spPr>
              <a:solidFill>
                <a:schemeClr val="accent2"/>
              </a:solidFill>
              <a:ln w="25399">
                <a:noFill/>
              </a:ln>
            </c:spPr>
            <c:extLst>
              <c:ext xmlns:c16="http://schemas.microsoft.com/office/drawing/2014/chart" uri="{C3380CC4-5D6E-409C-BE32-E72D297353CC}">
                <c16:uniqueId val="{00000003-33A6-4024-97C8-718625DCC573}"/>
              </c:ext>
            </c:extLst>
          </c:dPt>
          <c:dPt>
            <c:idx val="3"/>
            <c:invertIfNegative val="0"/>
            <c:bubble3D val="0"/>
            <c:spPr>
              <a:solidFill>
                <a:schemeClr val="accent6"/>
              </a:solidFill>
              <a:ln w="25399">
                <a:noFill/>
              </a:ln>
            </c:spPr>
            <c:extLst>
              <c:ext xmlns:c16="http://schemas.microsoft.com/office/drawing/2014/chart" uri="{C3380CC4-5D6E-409C-BE32-E72D297353CC}">
                <c16:uniqueId val="{00000005-33A6-4024-97C8-718625DCC573}"/>
              </c:ext>
            </c:extLst>
          </c:dPt>
          <c:dLbls>
            <c:spPr>
              <a:noFill/>
              <a:ln w="25399">
                <a:noFill/>
              </a:ln>
            </c:spPr>
            <c:txPr>
              <a:bodyPr/>
              <a:lstStyle/>
              <a:p>
                <a:pPr algn="just">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32</c:v>
                </c:pt>
                <c:pt idx="1">
                  <c:v>30</c:v>
                </c:pt>
                <c:pt idx="2">
                  <c:v>35</c:v>
                </c:pt>
                <c:pt idx="3">
                  <c:v>27</c:v>
                </c:pt>
              </c:numCache>
            </c:numRef>
          </c:val>
          <c:extLst>
            <c:ext xmlns:c16="http://schemas.microsoft.com/office/drawing/2014/chart" uri="{C3380CC4-5D6E-409C-BE32-E72D297353CC}">
              <c16:uniqueId val="{00000006-33A6-4024-97C8-718625DCC573}"/>
            </c:ext>
          </c:extLst>
        </c:ser>
        <c:dLbls>
          <c:showLegendKey val="0"/>
          <c:showVal val="0"/>
          <c:showCatName val="0"/>
          <c:showSerName val="0"/>
          <c:showPercent val="0"/>
          <c:showBubbleSize val="0"/>
        </c:dLbls>
        <c:gapWidth val="106"/>
        <c:overlap val="100"/>
        <c:axId val="543230208"/>
        <c:axId val="543230600"/>
      </c:barChart>
      <c:catAx>
        <c:axId val="543230208"/>
        <c:scaling>
          <c:orientation val="maxMin"/>
        </c:scaling>
        <c:delete val="0"/>
        <c:axPos val="r"/>
        <c:numFmt formatCode="General" sourceLinked="1"/>
        <c:majorTickMark val="out"/>
        <c:minorTickMark val="none"/>
        <c:tickLblPos val="nextTo"/>
        <c:spPr>
          <a:ln w="12700">
            <a:solidFill>
              <a:schemeClr val="tx2">
                <a:lumMod val="60000"/>
                <a:lumOff val="40000"/>
              </a:schemeClr>
            </a:solidFill>
            <a:prstDash val="solid"/>
          </a:ln>
        </c:spPr>
        <c:txPr>
          <a:bodyPr rot="0" vert="horz"/>
          <a:lstStyle/>
          <a:p>
            <a:pPr>
              <a:defRPr sz="1400" b="0">
                <a:solidFill>
                  <a:schemeClr val="tx2"/>
                </a:solidFill>
              </a:defRPr>
            </a:pPr>
            <a:endParaRPr lang="en-US"/>
          </a:p>
        </c:txPr>
        <c:crossAx val="543230600"/>
        <c:crosses val="autoZero"/>
        <c:auto val="1"/>
        <c:lblAlgn val="ctr"/>
        <c:lblOffset val="100"/>
        <c:tickLblSkip val="1"/>
        <c:tickMarkSkip val="1"/>
        <c:noMultiLvlLbl val="0"/>
      </c:catAx>
      <c:valAx>
        <c:axId val="543230600"/>
        <c:scaling>
          <c:orientation val="maxMin"/>
        </c:scaling>
        <c:delete val="1"/>
        <c:axPos val="t"/>
        <c:numFmt formatCode="General" sourceLinked="1"/>
        <c:majorTickMark val="out"/>
        <c:minorTickMark val="none"/>
        <c:tickLblPos val="none"/>
        <c:crossAx val="543230208"/>
        <c:crosses val="autoZero"/>
        <c:crossBetween val="between"/>
      </c:valAx>
      <c:spPr>
        <a:noFill/>
        <a:ln w="25399">
          <a:noFill/>
        </a:ln>
      </c:spPr>
    </c:plotArea>
    <c:plotVisOnly val="1"/>
    <c:dispBlanksAs val="zero"/>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userShapes r:id="rId2"/>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6.92105097117722E-2"/>
          <c:y val="3.9364145064013284E-2"/>
          <c:w val="0.77030971937498849"/>
          <c:h val="0.865562678104144"/>
        </c:manualLayout>
      </c:layout>
      <c:areaChart>
        <c:grouping val="percentStacked"/>
        <c:varyColors val="0"/>
        <c:ser>
          <c:idx val="0"/>
          <c:order val="0"/>
          <c:tx>
            <c:strRef>
              <c:f>Sheet1!$A$2</c:f>
              <c:strCache>
                <c:ptCount val="1"/>
                <c:pt idx="0">
                  <c:v>Label A</c:v>
                </c:pt>
              </c:strCache>
            </c:strRef>
          </c:tx>
          <c:spPr>
            <a:solidFill>
              <a:schemeClr val="accent1">
                <a:shade val="53000"/>
              </a:schemeClr>
            </a:solidFill>
            <a:ln>
              <a:noFill/>
            </a:ln>
            <a:effectLst/>
          </c:spPr>
          <c:cat>
            <c:numRef>
              <c:f>Sheet1!$B$1:$E$1</c:f>
              <c:numCache>
                <c:formatCode>General</c:formatCode>
                <c:ptCount val="4"/>
                <c:pt idx="0">
                  <c:v>2000</c:v>
                </c:pt>
                <c:pt idx="1">
                  <c:v>2001</c:v>
                </c:pt>
                <c:pt idx="2">
                  <c:v>2002</c:v>
                </c:pt>
                <c:pt idx="3">
                  <c:v>2003</c:v>
                </c:pt>
              </c:numCache>
            </c:numRef>
          </c:cat>
          <c:val>
            <c:numRef>
              <c:f>Sheet1!$B$2:$E$2</c:f>
              <c:numCache>
                <c:formatCode>General</c:formatCode>
                <c:ptCount val="4"/>
                <c:pt idx="0">
                  <c:v>20</c:v>
                </c:pt>
                <c:pt idx="1">
                  <c:v>18</c:v>
                </c:pt>
                <c:pt idx="2">
                  <c:v>14</c:v>
                </c:pt>
                <c:pt idx="3">
                  <c:v>12</c:v>
                </c:pt>
              </c:numCache>
            </c:numRef>
          </c:val>
          <c:extLst>
            <c:ext xmlns:c16="http://schemas.microsoft.com/office/drawing/2014/chart" uri="{C3380CC4-5D6E-409C-BE32-E72D297353CC}">
              <c16:uniqueId val="{00000000-7884-44EB-941E-11E4260D826E}"/>
            </c:ext>
          </c:extLst>
        </c:ser>
        <c:ser>
          <c:idx val="1"/>
          <c:order val="1"/>
          <c:tx>
            <c:strRef>
              <c:f>Sheet1!$A$3</c:f>
              <c:strCache>
                <c:ptCount val="1"/>
                <c:pt idx="0">
                  <c:v>Label B</c:v>
                </c:pt>
              </c:strCache>
            </c:strRef>
          </c:tx>
          <c:spPr>
            <a:solidFill>
              <a:schemeClr val="accent1">
                <a:shade val="76000"/>
              </a:schemeClr>
            </a:solidFill>
            <a:ln>
              <a:noFill/>
            </a:ln>
            <a:effectLst/>
          </c:spPr>
          <c:cat>
            <c:numRef>
              <c:f>Sheet1!$B$1:$E$1</c:f>
              <c:numCache>
                <c:formatCode>General</c:formatCode>
                <c:ptCount val="4"/>
                <c:pt idx="0">
                  <c:v>2000</c:v>
                </c:pt>
                <c:pt idx="1">
                  <c:v>2001</c:v>
                </c:pt>
                <c:pt idx="2">
                  <c:v>2002</c:v>
                </c:pt>
                <c:pt idx="3">
                  <c:v>2003</c:v>
                </c:pt>
              </c:numCache>
            </c:numRef>
          </c:cat>
          <c:val>
            <c:numRef>
              <c:f>Sheet1!$B$3:$E$3</c:f>
              <c:numCache>
                <c:formatCode>General</c:formatCode>
                <c:ptCount val="4"/>
                <c:pt idx="0">
                  <c:v>15</c:v>
                </c:pt>
                <c:pt idx="1">
                  <c:v>16</c:v>
                </c:pt>
                <c:pt idx="2">
                  <c:v>19</c:v>
                </c:pt>
                <c:pt idx="3">
                  <c:v>18</c:v>
                </c:pt>
              </c:numCache>
            </c:numRef>
          </c:val>
          <c:extLst>
            <c:ext xmlns:c16="http://schemas.microsoft.com/office/drawing/2014/chart" uri="{C3380CC4-5D6E-409C-BE32-E72D297353CC}">
              <c16:uniqueId val="{00000001-7884-44EB-941E-11E4260D826E}"/>
            </c:ext>
          </c:extLst>
        </c:ser>
        <c:ser>
          <c:idx val="2"/>
          <c:order val="2"/>
          <c:tx>
            <c:strRef>
              <c:f>Sheet1!$A$4</c:f>
              <c:strCache>
                <c:ptCount val="1"/>
                <c:pt idx="0">
                  <c:v>Label C</c:v>
                </c:pt>
              </c:strCache>
            </c:strRef>
          </c:tx>
          <c:spPr>
            <a:solidFill>
              <a:schemeClr val="accent1"/>
            </a:solidFill>
            <a:ln>
              <a:noFill/>
            </a:ln>
            <a:effectLst/>
          </c:spPr>
          <c:cat>
            <c:numRef>
              <c:f>Sheet1!$B$1:$E$1</c:f>
              <c:numCache>
                <c:formatCode>General</c:formatCode>
                <c:ptCount val="4"/>
                <c:pt idx="0">
                  <c:v>2000</c:v>
                </c:pt>
                <c:pt idx="1">
                  <c:v>2001</c:v>
                </c:pt>
                <c:pt idx="2">
                  <c:v>2002</c:v>
                </c:pt>
                <c:pt idx="3">
                  <c:v>2003</c:v>
                </c:pt>
              </c:numCache>
            </c:numRef>
          </c:cat>
          <c:val>
            <c:numRef>
              <c:f>Sheet1!$B$4:$E$4</c:f>
              <c:numCache>
                <c:formatCode>General</c:formatCode>
                <c:ptCount val="4"/>
                <c:pt idx="0">
                  <c:v>11</c:v>
                </c:pt>
                <c:pt idx="1">
                  <c:v>12</c:v>
                </c:pt>
                <c:pt idx="2">
                  <c:v>13</c:v>
                </c:pt>
                <c:pt idx="3">
                  <c:v>16</c:v>
                </c:pt>
              </c:numCache>
            </c:numRef>
          </c:val>
          <c:extLst>
            <c:ext xmlns:c16="http://schemas.microsoft.com/office/drawing/2014/chart" uri="{C3380CC4-5D6E-409C-BE32-E72D297353CC}">
              <c16:uniqueId val="{00000002-7884-44EB-941E-11E4260D826E}"/>
            </c:ext>
          </c:extLst>
        </c:ser>
        <c:ser>
          <c:idx val="3"/>
          <c:order val="3"/>
          <c:tx>
            <c:strRef>
              <c:f>Sheet1!$A$5</c:f>
              <c:strCache>
                <c:ptCount val="1"/>
                <c:pt idx="0">
                  <c:v>Label D</c:v>
                </c:pt>
              </c:strCache>
            </c:strRef>
          </c:tx>
          <c:spPr>
            <a:solidFill>
              <a:schemeClr val="accent1">
                <a:tint val="77000"/>
              </a:schemeClr>
            </a:solidFill>
            <a:ln>
              <a:noFill/>
            </a:ln>
            <a:effectLst/>
          </c:spPr>
          <c:cat>
            <c:numRef>
              <c:f>Sheet1!$B$1:$E$1</c:f>
              <c:numCache>
                <c:formatCode>General</c:formatCode>
                <c:ptCount val="4"/>
                <c:pt idx="0">
                  <c:v>2000</c:v>
                </c:pt>
                <c:pt idx="1">
                  <c:v>2001</c:v>
                </c:pt>
                <c:pt idx="2">
                  <c:v>2002</c:v>
                </c:pt>
                <c:pt idx="3">
                  <c:v>2003</c:v>
                </c:pt>
              </c:numCache>
            </c:numRef>
          </c:cat>
          <c:val>
            <c:numRef>
              <c:f>Sheet1!$B$5:$E$5</c:f>
              <c:numCache>
                <c:formatCode>General</c:formatCode>
                <c:ptCount val="4"/>
                <c:pt idx="0">
                  <c:v>4</c:v>
                </c:pt>
                <c:pt idx="1">
                  <c:v>6</c:v>
                </c:pt>
                <c:pt idx="2">
                  <c:v>8</c:v>
                </c:pt>
                <c:pt idx="3">
                  <c:v>12</c:v>
                </c:pt>
              </c:numCache>
            </c:numRef>
          </c:val>
          <c:extLst>
            <c:ext xmlns:c16="http://schemas.microsoft.com/office/drawing/2014/chart" uri="{C3380CC4-5D6E-409C-BE32-E72D297353CC}">
              <c16:uniqueId val="{00000003-7884-44EB-941E-11E4260D826E}"/>
            </c:ext>
          </c:extLst>
        </c:ser>
        <c:ser>
          <c:idx val="4"/>
          <c:order val="4"/>
          <c:tx>
            <c:strRef>
              <c:f>Sheet1!$A$6</c:f>
              <c:strCache>
                <c:ptCount val="1"/>
                <c:pt idx="0">
                  <c:v>Label E</c:v>
                </c:pt>
              </c:strCache>
            </c:strRef>
          </c:tx>
          <c:spPr>
            <a:solidFill>
              <a:schemeClr val="accent1">
                <a:tint val="54000"/>
              </a:schemeClr>
            </a:solidFill>
            <a:ln>
              <a:noFill/>
            </a:ln>
            <a:effectLst/>
          </c:spPr>
          <c:cat>
            <c:numRef>
              <c:f>Sheet1!$B$1:$E$1</c:f>
              <c:numCache>
                <c:formatCode>General</c:formatCode>
                <c:ptCount val="4"/>
                <c:pt idx="0">
                  <c:v>2000</c:v>
                </c:pt>
                <c:pt idx="1">
                  <c:v>2001</c:v>
                </c:pt>
                <c:pt idx="2">
                  <c:v>2002</c:v>
                </c:pt>
                <c:pt idx="3">
                  <c:v>2003</c:v>
                </c:pt>
              </c:numCache>
            </c:numRef>
          </c:cat>
          <c:val>
            <c:numRef>
              <c:f>Sheet1!$B$6:$E$6</c:f>
              <c:numCache>
                <c:formatCode>General</c:formatCode>
                <c:ptCount val="4"/>
                <c:pt idx="0">
                  <c:v>4</c:v>
                </c:pt>
                <c:pt idx="1">
                  <c:v>5</c:v>
                </c:pt>
                <c:pt idx="2">
                  <c:v>8</c:v>
                </c:pt>
                <c:pt idx="3">
                  <c:v>14</c:v>
                </c:pt>
              </c:numCache>
            </c:numRef>
          </c:val>
          <c:extLst>
            <c:ext xmlns:c16="http://schemas.microsoft.com/office/drawing/2014/chart" uri="{C3380CC4-5D6E-409C-BE32-E72D297353CC}">
              <c16:uniqueId val="{00000004-7884-44EB-941E-11E4260D826E}"/>
            </c:ext>
          </c:extLst>
        </c:ser>
        <c:dLbls>
          <c:showLegendKey val="0"/>
          <c:showVal val="0"/>
          <c:showCatName val="0"/>
          <c:showSerName val="0"/>
          <c:showPercent val="0"/>
          <c:showBubbleSize val="0"/>
        </c:dLbls>
        <c:axId val="549483232"/>
        <c:axId val="549483624"/>
      </c:areaChart>
      <c:catAx>
        <c:axId val="549483232"/>
        <c:scaling>
          <c:orientation val="minMax"/>
        </c:scaling>
        <c:delete val="0"/>
        <c:axPos val="b"/>
        <c:numFmt formatCode="General" sourceLinked="1"/>
        <c:majorTickMark val="none"/>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en-US"/>
          </a:p>
        </c:txPr>
        <c:crossAx val="549483624"/>
        <c:crosses val="autoZero"/>
        <c:auto val="0"/>
        <c:lblAlgn val="ctr"/>
        <c:lblOffset val="100"/>
        <c:tickLblSkip val="1"/>
        <c:tickMarkSkip val="1"/>
        <c:noMultiLvlLbl val="0"/>
      </c:catAx>
      <c:valAx>
        <c:axId val="549483624"/>
        <c:scaling>
          <c:orientation val="minMax"/>
          <c:max val="1"/>
        </c:scaling>
        <c:delete val="0"/>
        <c:axPos val="l"/>
        <c:majorGridlines>
          <c:spPr>
            <a:ln w="6350" cap="flat" cmpd="sng" algn="ctr">
              <a:noFill/>
              <a:prstDash val="solid"/>
              <a:round/>
            </a:ln>
            <a:effectLst/>
          </c:spPr>
        </c:majorGridlines>
        <c:numFmt formatCode="0%" sourceLinked="1"/>
        <c:majorTickMark val="none"/>
        <c:minorTickMark val="none"/>
        <c:tickLblPos val="nextTo"/>
        <c:spPr>
          <a:noFill/>
          <a:ln w="6350" cap="flat" cmpd="sng" algn="ctr">
            <a:no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en-US"/>
          </a:p>
        </c:txPr>
        <c:crossAx val="549483232"/>
        <c:crosses val="autoZero"/>
        <c:crossBetween val="midCat"/>
        <c:majorUnit val="0.25"/>
      </c:valAx>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400">
          <a:solidFill>
            <a:schemeClr val="tx2"/>
          </a:solidFill>
        </a:defRPr>
      </a:pPr>
      <a:endParaRPr lang="en-US"/>
    </a:p>
  </c:txPr>
  <c:externalData r:id="rId3">
    <c:autoUpdate val="0"/>
  </c:externalData>
  <c:userShapes r:id="rId4"/>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76156866819649E-2"/>
          <c:y val="0.11871676757439768"/>
          <c:w val="0.95640946430020357"/>
          <c:h val="0.74026864689404537"/>
        </c:manualLayout>
      </c:layout>
      <c:scatterChart>
        <c:scatterStyle val="lineMarker"/>
        <c:varyColors val="0"/>
        <c:ser>
          <c:idx val="0"/>
          <c:order val="0"/>
          <c:tx>
            <c:strRef>
              <c:f>Sheet1!$A$2</c:f>
              <c:strCache>
                <c:ptCount val="1"/>
                <c:pt idx="0">
                  <c:v>Group 1</c:v>
                </c:pt>
              </c:strCache>
            </c:strRef>
          </c:tx>
          <c:spPr>
            <a:ln w="28575" cap="rnd" cmpd="sng" algn="ctr">
              <a:noFill/>
              <a:prstDash val="solid"/>
              <a:round/>
            </a:ln>
            <a:effectLst/>
          </c:spPr>
          <c:marker>
            <c:symbol val="diamond"/>
            <c:size val="11"/>
            <c:spPr>
              <a:solidFill>
                <a:schemeClr val="accent1"/>
              </a:solidFill>
              <a:ln w="6350" cap="flat" cmpd="sng" algn="ctr">
                <a:solidFill>
                  <a:schemeClr val="accent1"/>
                </a:solidFill>
                <a:prstDash val="solid"/>
                <a:round/>
              </a:ln>
              <a:effectLst/>
            </c:spPr>
          </c:marker>
          <c:trendline>
            <c:spPr>
              <a:ln w="12700" cap="rnd" cmpd="sng" algn="ctr">
                <a:solidFill>
                  <a:schemeClr val="accent1"/>
                </a:solidFill>
                <a:prstDash val="solid"/>
                <a:round/>
              </a:ln>
              <a:effectLst/>
            </c:spPr>
            <c:trendlineType val="linear"/>
            <c:dispRSqr val="0"/>
            <c:dispEq val="0"/>
          </c:trendline>
          <c:xVal>
            <c:strRef>
              <c:f>Sheet1!$B$1:$H$1</c:f>
              <c:strCache>
                <c:ptCount val="7"/>
                <c:pt idx="0">
                  <c:v>Label A</c:v>
                </c:pt>
                <c:pt idx="1">
                  <c:v>Label B</c:v>
                </c:pt>
                <c:pt idx="2">
                  <c:v>Label C</c:v>
                </c:pt>
                <c:pt idx="3">
                  <c:v>Label D</c:v>
                </c:pt>
                <c:pt idx="4">
                  <c:v>Label E</c:v>
                </c:pt>
                <c:pt idx="5">
                  <c:v>Label F</c:v>
                </c:pt>
                <c:pt idx="6">
                  <c:v>Label G</c:v>
                </c:pt>
              </c:strCache>
            </c:strRef>
          </c:xVal>
          <c:yVal>
            <c:numRef>
              <c:f>Sheet1!$B$2:$H$2</c:f>
              <c:numCache>
                <c:formatCode>General</c:formatCode>
                <c:ptCount val="7"/>
                <c:pt idx="0">
                  <c:v>2</c:v>
                </c:pt>
                <c:pt idx="1">
                  <c:v>5</c:v>
                </c:pt>
                <c:pt idx="2">
                  <c:v>3</c:v>
                </c:pt>
                <c:pt idx="3">
                  <c:v>8</c:v>
                </c:pt>
                <c:pt idx="4">
                  <c:v>9</c:v>
                </c:pt>
                <c:pt idx="5">
                  <c:v>12</c:v>
                </c:pt>
                <c:pt idx="6">
                  <c:v>16</c:v>
                </c:pt>
              </c:numCache>
            </c:numRef>
          </c:yVal>
          <c:smooth val="0"/>
          <c:extLst>
            <c:ext xmlns:c16="http://schemas.microsoft.com/office/drawing/2014/chart" uri="{C3380CC4-5D6E-409C-BE32-E72D297353CC}">
              <c16:uniqueId val="{00000001-1D2C-4F90-A9BA-89318E47AC28}"/>
            </c:ext>
          </c:extLst>
        </c:ser>
        <c:ser>
          <c:idx val="1"/>
          <c:order val="1"/>
          <c:tx>
            <c:strRef>
              <c:f>Sheet1!$A$3</c:f>
              <c:strCache>
                <c:ptCount val="1"/>
                <c:pt idx="0">
                  <c:v>Group 2</c:v>
                </c:pt>
              </c:strCache>
            </c:strRef>
          </c:tx>
          <c:spPr>
            <a:ln w="28575" cap="rnd" cmpd="sng" algn="ctr">
              <a:noFill/>
              <a:prstDash val="solid"/>
              <a:round/>
            </a:ln>
            <a:effectLst/>
          </c:spPr>
          <c:marker>
            <c:symbol val="circle"/>
            <c:size val="11"/>
            <c:spPr>
              <a:solidFill>
                <a:schemeClr val="accent2"/>
              </a:solidFill>
              <a:ln w="6350" cap="flat" cmpd="sng" algn="ctr">
                <a:solidFill>
                  <a:schemeClr val="accent2"/>
                </a:solidFill>
                <a:prstDash val="solid"/>
                <a:round/>
              </a:ln>
              <a:effectLst/>
            </c:spPr>
          </c:marker>
          <c:trendline>
            <c:spPr>
              <a:ln w="12700" cap="rnd" cmpd="sng" algn="ctr">
                <a:solidFill>
                  <a:schemeClr val="accent3"/>
                </a:solidFill>
                <a:prstDash val="dash"/>
                <a:round/>
              </a:ln>
              <a:effectLst/>
            </c:spPr>
            <c:trendlineType val="linear"/>
            <c:dispRSqr val="0"/>
            <c:dispEq val="0"/>
          </c:trendline>
          <c:xVal>
            <c:strRef>
              <c:f>Sheet1!$B$1:$H$1</c:f>
              <c:strCache>
                <c:ptCount val="7"/>
                <c:pt idx="0">
                  <c:v>Label A</c:v>
                </c:pt>
                <c:pt idx="1">
                  <c:v>Label B</c:v>
                </c:pt>
                <c:pt idx="2">
                  <c:v>Label C</c:v>
                </c:pt>
                <c:pt idx="3">
                  <c:v>Label D</c:v>
                </c:pt>
                <c:pt idx="4">
                  <c:v>Label E</c:v>
                </c:pt>
                <c:pt idx="5">
                  <c:v>Label F</c:v>
                </c:pt>
                <c:pt idx="6">
                  <c:v>Label G</c:v>
                </c:pt>
              </c:strCache>
            </c:strRef>
          </c:xVal>
          <c:yVal>
            <c:numRef>
              <c:f>Sheet1!$B$3:$H$3</c:f>
              <c:numCache>
                <c:formatCode>General</c:formatCode>
                <c:ptCount val="7"/>
                <c:pt idx="0">
                  <c:v>12</c:v>
                </c:pt>
                <c:pt idx="1">
                  <c:v>10</c:v>
                </c:pt>
                <c:pt idx="2">
                  <c:v>8</c:v>
                </c:pt>
                <c:pt idx="3">
                  <c:v>6</c:v>
                </c:pt>
                <c:pt idx="4">
                  <c:v>3</c:v>
                </c:pt>
                <c:pt idx="5">
                  <c:v>5</c:v>
                </c:pt>
                <c:pt idx="6">
                  <c:v>1</c:v>
                </c:pt>
              </c:numCache>
            </c:numRef>
          </c:yVal>
          <c:smooth val="0"/>
          <c:extLst>
            <c:ext xmlns:c16="http://schemas.microsoft.com/office/drawing/2014/chart" uri="{C3380CC4-5D6E-409C-BE32-E72D297353CC}">
              <c16:uniqueId val="{00000003-1D2C-4F90-A9BA-89318E47AC28}"/>
            </c:ext>
          </c:extLst>
        </c:ser>
        <c:dLbls>
          <c:showLegendKey val="0"/>
          <c:showVal val="0"/>
          <c:showCatName val="0"/>
          <c:showSerName val="0"/>
          <c:showPercent val="0"/>
          <c:showBubbleSize val="0"/>
        </c:dLbls>
        <c:axId val="549484408"/>
        <c:axId val="549484800"/>
      </c:scatterChart>
      <c:valAx>
        <c:axId val="549484408"/>
        <c:scaling>
          <c:orientation val="minMax"/>
        </c:scaling>
        <c:delete val="0"/>
        <c:axPos val="b"/>
        <c:title>
          <c:tx>
            <c:rich>
              <a:bodyPr rot="0" spcFirstLastPara="1" vertOverflow="ellipsis" vert="horz" wrap="square" anchor="ctr" anchorCtr="1"/>
              <a:lstStyle/>
              <a:p>
                <a:pPr algn="r">
                  <a:defRPr sz="1600" b="1" i="0" u="none" strike="noStrike" kern="1200" baseline="0">
                    <a:solidFill>
                      <a:schemeClr val="tx2"/>
                    </a:solidFill>
                    <a:latin typeface="+mn-lt"/>
                    <a:ea typeface="+mn-ea"/>
                    <a:cs typeface="+mn-cs"/>
                  </a:defRPr>
                </a:pPr>
                <a:r>
                  <a:rPr lang="de-DE" sz="1600" dirty="0"/>
                  <a:t>x-axis</a:t>
                </a:r>
              </a:p>
            </c:rich>
          </c:tx>
          <c:layout>
            <c:manualLayout>
              <c:xMode val="edge"/>
              <c:yMode val="edge"/>
              <c:x val="0.94183196851835671"/>
              <c:y val="0.92927322999125295"/>
            </c:manualLayout>
          </c:layout>
          <c:overlay val="0"/>
          <c:spPr>
            <a:noFill/>
            <a:ln>
              <a:noFill/>
            </a:ln>
            <a:effectLst/>
          </c:spPr>
          <c:txPr>
            <a:bodyPr rot="0" spcFirstLastPara="1" vertOverflow="ellipsis" vert="horz" wrap="square" anchor="ctr" anchorCtr="1"/>
            <a:lstStyle/>
            <a:p>
              <a:pPr algn="r">
                <a:defRPr sz="1600" b="1" i="0" u="none" strike="noStrike" kern="1200" baseline="0">
                  <a:solidFill>
                    <a:schemeClr val="tx2"/>
                  </a:solidFill>
                  <a:latin typeface="+mn-lt"/>
                  <a:ea typeface="+mn-ea"/>
                  <a:cs typeface="+mn-cs"/>
                </a:defRPr>
              </a:pPr>
              <a:endParaRPr lang="en-US"/>
            </a:p>
          </c:txPr>
        </c:title>
        <c:numFmt formatCode="@" sourceLinked="0"/>
        <c:majorTickMark val="none"/>
        <c:minorTickMark val="none"/>
        <c:tickLblPos val="nextTo"/>
        <c:spPr>
          <a:noFill/>
          <a:ln w="12700" cap="flat" cmpd="sng" algn="ctr">
            <a:solidFill>
              <a:schemeClr val="tx2">
                <a:lumMod val="60000"/>
                <a:lumOff val="40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en-US"/>
          </a:p>
        </c:txPr>
        <c:crossAx val="549484800"/>
        <c:crosses val="autoZero"/>
        <c:crossBetween val="midCat"/>
      </c:valAx>
      <c:valAx>
        <c:axId val="549484800"/>
        <c:scaling>
          <c:orientation val="minMax"/>
        </c:scaling>
        <c:delete val="0"/>
        <c:axPos val="l"/>
        <c:title>
          <c:tx>
            <c:rich>
              <a:bodyPr rot="0" spcFirstLastPara="1" vertOverflow="ellipsis" wrap="square" anchor="ctr" anchorCtr="1"/>
              <a:lstStyle/>
              <a:p>
                <a:pPr algn="l">
                  <a:defRPr sz="1600" b="1" i="0" u="none" strike="noStrike" kern="1200" baseline="0">
                    <a:solidFill>
                      <a:schemeClr val="tx2"/>
                    </a:solidFill>
                    <a:latin typeface="+mn-lt"/>
                    <a:ea typeface="+mn-ea"/>
                    <a:cs typeface="+mn-cs"/>
                  </a:defRPr>
                </a:pPr>
                <a:r>
                  <a:rPr lang="de-DE" sz="1600"/>
                  <a:t>y-axis</a:t>
                </a:r>
              </a:p>
            </c:rich>
          </c:tx>
          <c:layout>
            <c:manualLayout>
              <c:xMode val="edge"/>
              <c:yMode val="edge"/>
              <c:x val="4.3132798110184241E-4"/>
              <c:y val="2.4784668203783394E-3"/>
            </c:manualLayout>
          </c:layout>
          <c:overlay val="0"/>
          <c:spPr>
            <a:noFill/>
            <a:ln>
              <a:noFill/>
            </a:ln>
            <a:effectLst/>
          </c:spPr>
          <c:txPr>
            <a:bodyPr rot="0" spcFirstLastPara="1" vertOverflow="ellipsis" wrap="square" anchor="ctr" anchorCtr="1"/>
            <a:lstStyle/>
            <a:p>
              <a:pPr algn="l">
                <a:defRPr sz="1600"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w="6350" cap="flat" cmpd="sng" algn="ctr">
            <a:solidFill>
              <a:schemeClr val="tx2">
                <a:lumMod val="60000"/>
                <a:lumOff val="40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en-US"/>
          </a:p>
        </c:txPr>
        <c:crossAx val="549484408"/>
        <c:crosses val="autoZero"/>
        <c:crossBetween val="midCat"/>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solidFill>
            <a:schemeClr val="tx2"/>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021228807809456"/>
          <c:y val="7.3333322465928955E-2"/>
          <c:w val="0.36286845530373568"/>
          <c:h val="0.89277597831673372"/>
        </c:manualLayout>
      </c:layout>
      <c:radarChart>
        <c:radarStyle val="filled"/>
        <c:varyColors val="0"/>
        <c:ser>
          <c:idx val="0"/>
          <c:order val="0"/>
          <c:tx>
            <c:strRef>
              <c:f>Sheet1!$A$2</c:f>
              <c:strCache>
                <c:ptCount val="1"/>
                <c:pt idx="0">
                  <c:v>Label A</c:v>
                </c:pt>
              </c:strCache>
            </c:strRef>
          </c:tx>
          <c:spPr>
            <a:solidFill>
              <a:schemeClr val="accent1"/>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2:$F$2</c:f>
              <c:numCache>
                <c:formatCode>s\t\a\nd\a\rd</c:formatCode>
                <c:ptCount val="5"/>
                <c:pt idx="0">
                  <c:v>100</c:v>
                </c:pt>
                <c:pt idx="1">
                  <c:v>80</c:v>
                </c:pt>
                <c:pt idx="2">
                  <c:v>90</c:v>
                </c:pt>
                <c:pt idx="3">
                  <c:v>70</c:v>
                </c:pt>
                <c:pt idx="4">
                  <c:v>50</c:v>
                </c:pt>
              </c:numCache>
            </c:numRef>
          </c:val>
          <c:extLst>
            <c:ext xmlns:c16="http://schemas.microsoft.com/office/drawing/2014/chart" uri="{C3380CC4-5D6E-409C-BE32-E72D297353CC}">
              <c16:uniqueId val="{00000000-5B5D-442A-9502-74B5BDD2D376}"/>
            </c:ext>
          </c:extLst>
        </c:ser>
        <c:ser>
          <c:idx val="1"/>
          <c:order val="1"/>
          <c:tx>
            <c:strRef>
              <c:f>Sheet1!$A$3</c:f>
              <c:strCache>
                <c:ptCount val="1"/>
                <c:pt idx="0">
                  <c:v>Label B</c:v>
                </c:pt>
              </c:strCache>
            </c:strRef>
          </c:tx>
          <c:spPr>
            <a:solidFill>
              <a:schemeClr val="accent2"/>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3:$F$3</c:f>
              <c:numCache>
                <c:formatCode>s\t\a\nd\a\rd</c:formatCode>
                <c:ptCount val="5"/>
                <c:pt idx="0">
                  <c:v>40</c:v>
                </c:pt>
                <c:pt idx="1">
                  <c:v>60</c:v>
                </c:pt>
                <c:pt idx="2">
                  <c:v>80</c:v>
                </c:pt>
                <c:pt idx="3">
                  <c:v>50</c:v>
                </c:pt>
                <c:pt idx="4">
                  <c:v>60</c:v>
                </c:pt>
              </c:numCache>
            </c:numRef>
          </c:val>
          <c:extLst>
            <c:ext xmlns:c16="http://schemas.microsoft.com/office/drawing/2014/chart" uri="{C3380CC4-5D6E-409C-BE32-E72D297353CC}">
              <c16:uniqueId val="{00000001-5B5D-442A-9502-74B5BDD2D376}"/>
            </c:ext>
          </c:extLst>
        </c:ser>
        <c:ser>
          <c:idx val="2"/>
          <c:order val="2"/>
          <c:tx>
            <c:strRef>
              <c:f>Sheet1!$A$4</c:f>
              <c:strCache>
                <c:ptCount val="1"/>
                <c:pt idx="0">
                  <c:v>Label C</c:v>
                </c:pt>
              </c:strCache>
            </c:strRef>
          </c:tx>
          <c:spPr>
            <a:solidFill>
              <a:schemeClr val="accent3"/>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4:$F$4</c:f>
              <c:numCache>
                <c:formatCode>s\t\a\nd\a\rd</c:formatCode>
                <c:ptCount val="5"/>
                <c:pt idx="0">
                  <c:v>30</c:v>
                </c:pt>
                <c:pt idx="1">
                  <c:v>40</c:v>
                </c:pt>
                <c:pt idx="2">
                  <c:v>10</c:v>
                </c:pt>
                <c:pt idx="3">
                  <c:v>40</c:v>
                </c:pt>
                <c:pt idx="4">
                  <c:v>30</c:v>
                </c:pt>
              </c:numCache>
            </c:numRef>
          </c:val>
          <c:extLst>
            <c:ext xmlns:c16="http://schemas.microsoft.com/office/drawing/2014/chart" uri="{C3380CC4-5D6E-409C-BE32-E72D297353CC}">
              <c16:uniqueId val="{00000002-5B5D-442A-9502-74B5BDD2D376}"/>
            </c:ext>
          </c:extLst>
        </c:ser>
        <c:dLbls>
          <c:showLegendKey val="0"/>
          <c:showVal val="0"/>
          <c:showCatName val="0"/>
          <c:showSerName val="0"/>
          <c:showPercent val="0"/>
          <c:showBubbleSize val="0"/>
        </c:dLbls>
        <c:axId val="549485584"/>
        <c:axId val="637844352"/>
      </c:radarChart>
      <c:catAx>
        <c:axId val="549485584"/>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400" b="0" i="0" u="none" strike="noStrike" kern="1200" baseline="0">
                <a:solidFill>
                  <a:schemeClr val="tx2"/>
                </a:solidFill>
                <a:latin typeface="+mn-lt"/>
                <a:ea typeface="+mn-ea"/>
                <a:cs typeface="+mn-cs"/>
              </a:defRPr>
            </a:pPr>
            <a:endParaRPr lang="en-US"/>
          </a:p>
        </c:txPr>
        <c:crossAx val="637844352"/>
        <c:crosses val="autoZero"/>
        <c:auto val="0"/>
        <c:lblAlgn val="ctr"/>
        <c:lblOffset val="100"/>
        <c:noMultiLvlLbl val="0"/>
      </c:catAx>
      <c:valAx>
        <c:axId val="637844352"/>
        <c:scaling>
          <c:orientation val="minMax"/>
        </c:scaling>
        <c:delete val="0"/>
        <c:axPos val="l"/>
        <c:minorGridlines>
          <c:spPr>
            <a:ln w="6350" cap="flat" cmpd="sng" algn="ctr">
              <a:solidFill>
                <a:schemeClr val="tx2">
                  <a:lumMod val="40000"/>
                  <a:lumOff val="60000"/>
                </a:schemeClr>
              </a:solidFill>
              <a:prstDash val="solid"/>
              <a:round/>
            </a:ln>
            <a:effectLst/>
          </c:spPr>
        </c:minorGridlines>
        <c:numFmt formatCode="s\t\a\nd\a\rd" sourceLinked="1"/>
        <c:majorTickMark val="none"/>
        <c:minorTickMark val="cross"/>
        <c:tickLblPos val="none"/>
        <c:spPr>
          <a:noFill/>
          <a:ln w="12700" cap="flat" cmpd="sng" algn="ctr">
            <a:solidFill>
              <a:schemeClr val="tx2">
                <a:lumMod val="40000"/>
                <a:lumOff val="60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49485584"/>
        <c:crosses val="autoZero"/>
        <c:crossBetween val="between"/>
        <c:minorUnit val="20"/>
      </c:valAx>
      <c:spPr>
        <a:noFill/>
        <a:ln>
          <a:noFill/>
        </a:ln>
        <a:effectLst/>
      </c:spPr>
    </c:plotArea>
    <c:legend>
      <c:legendPos val="r"/>
      <c:layout>
        <c:manualLayout>
          <c:xMode val="edge"/>
          <c:yMode val="edge"/>
          <c:x val="0.76544254077113627"/>
          <c:y val="0.68467907895021807"/>
          <c:w val="8.0177920837545977E-2"/>
          <c:h val="0.2154619721963668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400">
          <a:solidFill>
            <a:schemeClr val="tx2"/>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99153737658676"/>
          <c:y val="7.3170731707317069E-2"/>
          <c:w val="0.58533145275035259"/>
          <c:h val="0.92017738359201751"/>
        </c:manualLayout>
      </c:layout>
      <c:radarChart>
        <c:radarStyle val="marker"/>
        <c:varyColors val="0"/>
        <c:ser>
          <c:idx val="0"/>
          <c:order val="0"/>
          <c:tx>
            <c:strRef>
              <c:f>Sheet1!$A$2</c:f>
              <c:strCache>
                <c:ptCount val="1"/>
                <c:pt idx="0">
                  <c:v>Label A</c:v>
                </c:pt>
              </c:strCache>
            </c:strRef>
          </c:tx>
          <c:cat>
            <c:strRef>
              <c:f>Sheet1!$B$1:$F$1</c:f>
              <c:strCache>
                <c:ptCount val="5"/>
                <c:pt idx="0">
                  <c:v>Criterion 1</c:v>
                </c:pt>
                <c:pt idx="1">
                  <c:v>Criterion 2</c:v>
                </c:pt>
                <c:pt idx="2">
                  <c:v>Criterion 3</c:v>
                </c:pt>
                <c:pt idx="3">
                  <c:v>Criterion 4</c:v>
                </c:pt>
                <c:pt idx="4">
                  <c:v>Criterion 5</c:v>
                </c:pt>
              </c:strCache>
            </c:strRef>
          </c:cat>
          <c:val>
            <c:numRef>
              <c:f>Sheet1!$B$2:$F$2</c:f>
              <c:numCache>
                <c:formatCode>s\t\a\nd\a\rd</c:formatCode>
                <c:ptCount val="5"/>
                <c:pt idx="0">
                  <c:v>50</c:v>
                </c:pt>
                <c:pt idx="1">
                  <c:v>80</c:v>
                </c:pt>
                <c:pt idx="2">
                  <c:v>90</c:v>
                </c:pt>
                <c:pt idx="3">
                  <c:v>70</c:v>
                </c:pt>
                <c:pt idx="4">
                  <c:v>50</c:v>
                </c:pt>
              </c:numCache>
            </c:numRef>
          </c:val>
          <c:extLst>
            <c:ext xmlns:c16="http://schemas.microsoft.com/office/drawing/2014/chart" uri="{C3380CC4-5D6E-409C-BE32-E72D297353CC}">
              <c16:uniqueId val="{00000000-73CC-47B5-BDC2-9C3EDCD43331}"/>
            </c:ext>
          </c:extLst>
        </c:ser>
        <c:ser>
          <c:idx val="3"/>
          <c:order val="1"/>
          <c:tx>
            <c:strRef>
              <c:f>Sheet1!$A$3</c:f>
              <c:strCache>
                <c:ptCount val="1"/>
                <c:pt idx="0">
                  <c:v>Label B</c:v>
                </c:pt>
              </c:strCache>
            </c:strRef>
          </c:tx>
          <c:spPr>
            <a:ln w="12700">
              <a:prstDash val="sysDash"/>
            </a:ln>
          </c:spPr>
          <c:marker>
            <c:spPr>
              <a:ln w="12700">
                <a:prstDash val="sysDash"/>
              </a:ln>
            </c:spPr>
          </c:marker>
          <c:cat>
            <c:strRef>
              <c:f>Sheet1!$B$1:$F$1</c:f>
              <c:strCache>
                <c:ptCount val="5"/>
                <c:pt idx="0">
                  <c:v>Criterion 1</c:v>
                </c:pt>
                <c:pt idx="1">
                  <c:v>Criterion 2</c:v>
                </c:pt>
                <c:pt idx="2">
                  <c:v>Criterion 3</c:v>
                </c:pt>
                <c:pt idx="3">
                  <c:v>Criterion 4</c:v>
                </c:pt>
                <c:pt idx="4">
                  <c:v>Criterion 5</c:v>
                </c:pt>
              </c:strCache>
            </c:strRef>
          </c:cat>
          <c:val>
            <c:numRef>
              <c:f>Sheet1!$B$3:$F$3</c:f>
              <c:numCache>
                <c:formatCode>s\t\a\nd\a\rd</c:formatCode>
                <c:ptCount val="5"/>
                <c:pt idx="0">
                  <c:v>80</c:v>
                </c:pt>
                <c:pt idx="1">
                  <c:v>60</c:v>
                </c:pt>
                <c:pt idx="2">
                  <c:v>50</c:v>
                </c:pt>
                <c:pt idx="3">
                  <c:v>30</c:v>
                </c:pt>
                <c:pt idx="4">
                  <c:v>80</c:v>
                </c:pt>
              </c:numCache>
            </c:numRef>
          </c:val>
          <c:extLst>
            <c:ext xmlns:c16="http://schemas.microsoft.com/office/drawing/2014/chart" uri="{C3380CC4-5D6E-409C-BE32-E72D297353CC}">
              <c16:uniqueId val="{00000001-73CC-47B5-BDC2-9C3EDCD43331}"/>
            </c:ext>
          </c:extLst>
        </c:ser>
        <c:ser>
          <c:idx val="1"/>
          <c:order val="2"/>
          <c:tx>
            <c:strRef>
              <c:f>Sheet1!$A$4</c:f>
              <c:strCache>
                <c:ptCount val="1"/>
                <c:pt idx="0">
                  <c:v>Label C</c:v>
                </c:pt>
              </c:strCache>
            </c:strRef>
          </c:tx>
          <c:spPr>
            <a:ln w="12700">
              <a:solidFill>
                <a:schemeClr val="accent2">
                  <a:lumMod val="50000"/>
                </a:schemeClr>
              </a:solidFill>
              <a:prstDash val="dash"/>
            </a:ln>
          </c:spPr>
          <c:marker>
            <c:spPr>
              <a:solidFill>
                <a:schemeClr val="accent2">
                  <a:lumMod val="50000"/>
                </a:schemeClr>
              </a:solidFill>
              <a:ln w="12700">
                <a:solidFill>
                  <a:schemeClr val="accent2">
                    <a:lumMod val="50000"/>
                  </a:schemeClr>
                </a:solidFill>
                <a:prstDash val="dash"/>
              </a:ln>
            </c:spPr>
          </c:marker>
          <c:cat>
            <c:strRef>
              <c:f>Sheet1!$B$1:$F$1</c:f>
              <c:strCache>
                <c:ptCount val="5"/>
                <c:pt idx="0">
                  <c:v>Criterion 1</c:v>
                </c:pt>
                <c:pt idx="1">
                  <c:v>Criterion 2</c:v>
                </c:pt>
                <c:pt idx="2">
                  <c:v>Criterion 3</c:v>
                </c:pt>
                <c:pt idx="3">
                  <c:v>Criterion 4</c:v>
                </c:pt>
                <c:pt idx="4">
                  <c:v>Criterion 5</c:v>
                </c:pt>
              </c:strCache>
            </c:strRef>
          </c:cat>
          <c:val>
            <c:numRef>
              <c:f>Sheet1!$B$4:$F$4</c:f>
              <c:numCache>
                <c:formatCode>s\t\a\nd\a\rd</c:formatCode>
                <c:ptCount val="5"/>
                <c:pt idx="0">
                  <c:v>40</c:v>
                </c:pt>
                <c:pt idx="1">
                  <c:v>60</c:v>
                </c:pt>
                <c:pt idx="2">
                  <c:v>80</c:v>
                </c:pt>
                <c:pt idx="3">
                  <c:v>50</c:v>
                </c:pt>
                <c:pt idx="4">
                  <c:v>60</c:v>
                </c:pt>
              </c:numCache>
            </c:numRef>
          </c:val>
          <c:extLst>
            <c:ext xmlns:c16="http://schemas.microsoft.com/office/drawing/2014/chart" uri="{C3380CC4-5D6E-409C-BE32-E72D297353CC}">
              <c16:uniqueId val="{00000002-73CC-47B5-BDC2-9C3EDCD43331}"/>
            </c:ext>
          </c:extLst>
        </c:ser>
        <c:ser>
          <c:idx val="2"/>
          <c:order val="3"/>
          <c:tx>
            <c:strRef>
              <c:f>Sheet1!$A$5</c:f>
              <c:strCache>
                <c:ptCount val="1"/>
                <c:pt idx="0">
                  <c:v>Label D</c:v>
                </c:pt>
              </c:strCache>
            </c:strRef>
          </c:tx>
          <c:cat>
            <c:strRef>
              <c:f>Sheet1!$B$1:$F$1</c:f>
              <c:strCache>
                <c:ptCount val="5"/>
                <c:pt idx="0">
                  <c:v>Criterion 1</c:v>
                </c:pt>
                <c:pt idx="1">
                  <c:v>Criterion 2</c:v>
                </c:pt>
                <c:pt idx="2">
                  <c:v>Criterion 3</c:v>
                </c:pt>
                <c:pt idx="3">
                  <c:v>Criterion 4</c:v>
                </c:pt>
                <c:pt idx="4">
                  <c:v>Criterion 5</c:v>
                </c:pt>
              </c:strCache>
            </c:strRef>
          </c:cat>
          <c:val>
            <c:numRef>
              <c:f>Sheet1!$B$5:$F$5</c:f>
              <c:numCache>
                <c:formatCode>s\t\a\nd\a\rd</c:formatCode>
                <c:ptCount val="5"/>
                <c:pt idx="0">
                  <c:v>30</c:v>
                </c:pt>
                <c:pt idx="1">
                  <c:v>40</c:v>
                </c:pt>
                <c:pt idx="2">
                  <c:v>10</c:v>
                </c:pt>
                <c:pt idx="3">
                  <c:v>40</c:v>
                </c:pt>
                <c:pt idx="4">
                  <c:v>30</c:v>
                </c:pt>
              </c:numCache>
            </c:numRef>
          </c:val>
          <c:extLst>
            <c:ext xmlns:c16="http://schemas.microsoft.com/office/drawing/2014/chart" uri="{C3380CC4-5D6E-409C-BE32-E72D297353CC}">
              <c16:uniqueId val="{00000003-73CC-47B5-BDC2-9C3EDCD43331}"/>
            </c:ext>
          </c:extLst>
        </c:ser>
        <c:dLbls>
          <c:showLegendKey val="0"/>
          <c:showVal val="0"/>
          <c:showCatName val="0"/>
          <c:showSerName val="0"/>
          <c:showPercent val="0"/>
          <c:showBubbleSize val="0"/>
        </c:dLbls>
        <c:axId val="637843568"/>
        <c:axId val="637842392"/>
      </c:radarChart>
      <c:catAx>
        <c:axId val="637843568"/>
        <c:scaling>
          <c:orientation val="minMax"/>
        </c:scaling>
        <c:delete val="0"/>
        <c:axPos val="b"/>
        <c:majorGridlines/>
        <c:numFmt formatCode="General" sourceLinked="1"/>
        <c:majorTickMark val="out"/>
        <c:minorTickMark val="none"/>
        <c:tickLblPos val="nextTo"/>
        <c:txPr>
          <a:bodyPr rot="0" vert="horz"/>
          <a:lstStyle/>
          <a:p>
            <a:pPr>
              <a:defRPr/>
            </a:pPr>
            <a:endParaRPr lang="en-US"/>
          </a:p>
        </c:txPr>
        <c:crossAx val="637842392"/>
        <c:crosses val="autoZero"/>
        <c:auto val="0"/>
        <c:lblAlgn val="ctr"/>
        <c:lblOffset val="100"/>
        <c:noMultiLvlLbl val="0"/>
      </c:catAx>
      <c:valAx>
        <c:axId val="637842392"/>
        <c:scaling>
          <c:orientation val="minMax"/>
        </c:scaling>
        <c:delete val="0"/>
        <c:axPos val="l"/>
        <c:numFmt formatCode="s\t\a\nd\a\rd" sourceLinked="1"/>
        <c:majorTickMark val="none"/>
        <c:minorTickMark val="cross"/>
        <c:tickLblPos val="none"/>
        <c:crossAx val="637843568"/>
        <c:crosses val="autoZero"/>
        <c:crossBetween val="between"/>
        <c:minorUnit val="20"/>
      </c:valAx>
    </c:plotArea>
    <c:legend>
      <c:legendPos val="r"/>
      <c:layout>
        <c:manualLayout>
          <c:xMode val="edge"/>
          <c:yMode val="edge"/>
          <c:x val="0.70545385231174484"/>
          <c:y val="0.64517478774042825"/>
          <c:w val="9.8370579279125417E-2"/>
          <c:h val="0.259688737355872"/>
        </c:manualLayout>
      </c:layout>
      <c:overlay val="0"/>
    </c:legend>
    <c:plotVisOnly val="1"/>
    <c:dispBlanksAs val="gap"/>
    <c:showDLblsOverMax val="0"/>
  </c:chart>
  <c:txPr>
    <a:bodyPr/>
    <a:lstStyle/>
    <a:p>
      <a:pPr>
        <a:defRPr sz="1400">
          <a:solidFill>
            <a:schemeClr val="tx2"/>
          </a:solidFill>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99638989169717"/>
          <c:y val="3.1180400890868598E-2"/>
          <c:w val="0.68411552346570392"/>
          <c:h val="0.84855233853006651"/>
        </c:manualLayout>
      </c:layout>
      <c:scatterChart>
        <c:scatterStyle val="lineMarker"/>
        <c:varyColors val="0"/>
        <c:ser>
          <c:idx val="0"/>
          <c:order val="0"/>
          <c:tx>
            <c:strRef>
              <c:f>Sheet1!$A$2</c:f>
              <c:strCache>
                <c:ptCount val="1"/>
                <c:pt idx="0">
                  <c:v>Y-Value</c:v>
                </c:pt>
              </c:strCache>
            </c:strRef>
          </c:tx>
          <c:spPr>
            <a:ln w="28575">
              <a:noFill/>
            </a:ln>
          </c:spPr>
          <c:marker>
            <c:symbol val="diamond"/>
            <c:size val="11"/>
            <c:spPr>
              <a:solidFill>
                <a:schemeClr val="accent1"/>
              </a:solidFill>
              <a:ln>
                <a:noFill/>
              </a:ln>
            </c:spPr>
          </c:marker>
          <c:dLbls>
            <c:dLbl>
              <c:idx val="4"/>
              <c:layout>
                <c:manualLayout>
                  <c:x val="-5.2015604681404422E-3"/>
                  <c:y val="-8.9119951009757128E-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EE-4E71-9D8A-08A83D096BB8}"/>
                </c:ext>
              </c:extLst>
            </c:dLbl>
            <c:dLbl>
              <c:idx val="5"/>
              <c:layout>
                <c:manualLayout>
                  <c:x val="-5.2015604681404422E-3"/>
                  <c:y val="1.4853325168292861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EE-4E71-9D8A-08A83D096BB8}"/>
                </c:ext>
              </c:extLst>
            </c:dLbl>
            <c:spPr>
              <a:noFill/>
              <a:ln>
                <a:noFill/>
              </a:ln>
              <a:effectLst/>
            </c:spPr>
            <c:txPr>
              <a:bodyPr/>
              <a:lstStyle/>
              <a:p>
                <a:pPr>
                  <a:defRPr b="0"/>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1:$J$1</c:f>
              <c:numCache>
                <c:formatCode>0%</c:formatCode>
                <c:ptCount val="9"/>
                <c:pt idx="0">
                  <c:v>0.70000000000000051</c:v>
                </c:pt>
                <c:pt idx="1">
                  <c:v>0.79</c:v>
                </c:pt>
                <c:pt idx="2">
                  <c:v>0.74000000000000055</c:v>
                </c:pt>
                <c:pt idx="3">
                  <c:v>0.54</c:v>
                </c:pt>
                <c:pt idx="4">
                  <c:v>0.5</c:v>
                </c:pt>
                <c:pt idx="5">
                  <c:v>0.44</c:v>
                </c:pt>
                <c:pt idx="6">
                  <c:v>0.68</c:v>
                </c:pt>
                <c:pt idx="7">
                  <c:v>0.3300000000000004</c:v>
                </c:pt>
                <c:pt idx="8">
                  <c:v>0.39000000000000035</c:v>
                </c:pt>
              </c:numCache>
            </c:numRef>
          </c:xVal>
          <c:yVal>
            <c:numRef>
              <c:f>Sheet1!$B$2:$J$2</c:f>
              <c:numCache>
                <c:formatCode>0%</c:formatCode>
                <c:ptCount val="9"/>
                <c:pt idx="0">
                  <c:v>0.45</c:v>
                </c:pt>
                <c:pt idx="1">
                  <c:v>0.3300000000000004</c:v>
                </c:pt>
                <c:pt idx="2">
                  <c:v>0.21000000000000013</c:v>
                </c:pt>
                <c:pt idx="3">
                  <c:v>0.29000000000000026</c:v>
                </c:pt>
                <c:pt idx="4">
                  <c:v>0.41000000000000025</c:v>
                </c:pt>
                <c:pt idx="5">
                  <c:v>0.38000000000000034</c:v>
                </c:pt>
                <c:pt idx="6">
                  <c:v>0.54</c:v>
                </c:pt>
                <c:pt idx="7">
                  <c:v>0.5</c:v>
                </c:pt>
                <c:pt idx="8">
                  <c:v>0.1</c:v>
                </c:pt>
              </c:numCache>
            </c:numRef>
          </c:yVal>
          <c:smooth val="0"/>
          <c:extLst>
            <c:ext xmlns:c16="http://schemas.microsoft.com/office/drawing/2014/chart" uri="{C3380CC4-5D6E-409C-BE32-E72D297353CC}">
              <c16:uniqueId val="{00000002-45EE-4E71-9D8A-08A83D096BB8}"/>
            </c:ext>
          </c:extLst>
        </c:ser>
        <c:dLbls>
          <c:showLegendKey val="0"/>
          <c:showVal val="0"/>
          <c:showCatName val="1"/>
          <c:showSerName val="0"/>
          <c:showPercent val="0"/>
          <c:showBubbleSize val="0"/>
        </c:dLbls>
        <c:axId val="176143920"/>
        <c:axId val="176144312"/>
      </c:scatterChart>
      <c:valAx>
        <c:axId val="176143920"/>
        <c:scaling>
          <c:orientation val="minMax"/>
          <c:max val="1"/>
          <c:min val="0"/>
        </c:scaling>
        <c:delete val="0"/>
        <c:axPos val="b"/>
        <c:numFmt formatCode="0%" sourceLinked="1"/>
        <c:majorTickMark val="none"/>
        <c:minorTickMark val="none"/>
        <c:tickLblPos val="none"/>
        <c:spPr>
          <a:ln>
            <a:noFill/>
          </a:ln>
        </c:spPr>
        <c:crossAx val="176144312"/>
        <c:crosses val="autoZero"/>
        <c:crossBetween val="midCat"/>
        <c:majorUnit val="1"/>
        <c:minorUnit val="1"/>
      </c:valAx>
      <c:valAx>
        <c:axId val="176144312"/>
        <c:scaling>
          <c:orientation val="minMax"/>
          <c:max val="1"/>
          <c:min val="0"/>
        </c:scaling>
        <c:delete val="1"/>
        <c:axPos val="l"/>
        <c:numFmt formatCode="0%" sourceLinked="1"/>
        <c:majorTickMark val="none"/>
        <c:minorTickMark val="none"/>
        <c:tickLblPos val="none"/>
        <c:crossAx val="176143920"/>
        <c:crosses val="autoZero"/>
        <c:crossBetween val="midCat"/>
        <c:majorUnit val="10"/>
        <c:minorUnit val="10"/>
      </c:valAx>
      <c:spPr>
        <a:noFill/>
        <a:ln w="25400">
          <a:noFill/>
        </a:ln>
      </c:spPr>
    </c:plotArea>
    <c:plotVisOnly val="1"/>
    <c:dispBlanksAs val="gap"/>
    <c:showDLblsOverMax val="0"/>
  </c:chart>
  <c:txPr>
    <a:bodyPr/>
    <a:lstStyle/>
    <a:p>
      <a:pPr>
        <a:defRPr sz="1200"/>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4699853587395E-2"/>
          <c:y val="5.8823529411764705E-2"/>
          <c:w val="0.56661786237189105"/>
          <c:h val="0.84967320261438395"/>
        </c:manualLayout>
      </c:layout>
      <c:bubbleChart>
        <c:varyColors val="0"/>
        <c:ser>
          <c:idx val="0"/>
          <c:order val="0"/>
          <c:tx>
            <c:strRef>
              <c:f>Sheet1!$A$2</c:f>
              <c:strCache>
                <c:ptCount val="1"/>
                <c:pt idx="0">
                  <c:v>Y Value</c:v>
                </c:pt>
              </c:strCache>
            </c:strRef>
          </c:tx>
          <c:invertIfNegative val="1"/>
          <c:dPt>
            <c:idx val="0"/>
            <c:invertIfNegative val="1"/>
            <c:bubble3D val="0"/>
            <c:spPr>
              <a:solidFill>
                <a:schemeClr val="accent3">
                  <a:lumMod val="20000"/>
                  <a:lumOff val="80000"/>
                </a:schemeClr>
              </a:solidFill>
            </c:spPr>
            <c:extLst>
              <c:ext xmlns:c16="http://schemas.microsoft.com/office/drawing/2014/chart" uri="{C3380CC4-5D6E-409C-BE32-E72D297353CC}">
                <c16:uniqueId val="{00000001-D270-4E9C-9F09-56B00A8EC7DE}"/>
              </c:ext>
            </c:extLst>
          </c:dPt>
          <c:dPt>
            <c:idx val="1"/>
            <c:invertIfNegative val="1"/>
            <c:bubble3D val="0"/>
            <c:spPr>
              <a:solidFill>
                <a:schemeClr val="accent3">
                  <a:lumMod val="60000"/>
                  <a:lumOff val="40000"/>
                </a:schemeClr>
              </a:solidFill>
            </c:spPr>
            <c:extLst>
              <c:ext xmlns:c16="http://schemas.microsoft.com/office/drawing/2014/chart" uri="{C3380CC4-5D6E-409C-BE32-E72D297353CC}">
                <c16:uniqueId val="{00000003-D270-4E9C-9F09-56B00A8EC7DE}"/>
              </c:ext>
            </c:extLst>
          </c:dPt>
          <c:dPt>
            <c:idx val="2"/>
            <c:invertIfNegative val="1"/>
            <c:bubble3D val="0"/>
            <c:spPr>
              <a:solidFill>
                <a:schemeClr val="accent3">
                  <a:lumMod val="40000"/>
                  <a:lumOff val="60000"/>
                </a:schemeClr>
              </a:solidFill>
            </c:spPr>
            <c:extLst>
              <c:ext xmlns:c16="http://schemas.microsoft.com/office/drawing/2014/chart" uri="{C3380CC4-5D6E-409C-BE32-E72D297353CC}">
                <c16:uniqueId val="{00000005-D270-4E9C-9F09-56B00A8EC7DE}"/>
              </c:ext>
            </c:extLst>
          </c:dPt>
          <c:dPt>
            <c:idx val="3"/>
            <c:invertIfNegative val="1"/>
            <c:bubble3D val="0"/>
            <c:spPr>
              <a:solidFill>
                <a:schemeClr val="accent4"/>
              </a:solidFill>
            </c:spPr>
            <c:extLst>
              <c:ext xmlns:c16="http://schemas.microsoft.com/office/drawing/2014/chart" uri="{C3380CC4-5D6E-409C-BE32-E72D297353CC}">
                <c16:uniqueId val="{00000007-D270-4E9C-9F09-56B00A8EC7DE}"/>
              </c:ext>
            </c:extLst>
          </c:dPt>
          <c:xVal>
            <c:numRef>
              <c:f>Sheet1!$B$1:$J$1</c:f>
              <c:numCache>
                <c:formatCode>s\t\a\nd\a\rd</c:formatCode>
                <c:ptCount val="9"/>
                <c:pt idx="0">
                  <c:v>20</c:v>
                </c:pt>
                <c:pt idx="1">
                  <c:v>30</c:v>
                </c:pt>
                <c:pt idx="2">
                  <c:v>80</c:v>
                </c:pt>
                <c:pt idx="3">
                  <c:v>50</c:v>
                </c:pt>
              </c:numCache>
            </c:numRef>
          </c:xVal>
          <c:yVal>
            <c:numRef>
              <c:f>Sheet1!$B$2:$J$2</c:f>
              <c:numCache>
                <c:formatCode>s\t\a\nd\a\rd</c:formatCode>
                <c:ptCount val="9"/>
                <c:pt idx="0">
                  <c:v>20</c:v>
                </c:pt>
                <c:pt idx="1">
                  <c:v>50</c:v>
                </c:pt>
                <c:pt idx="2">
                  <c:v>40</c:v>
                </c:pt>
                <c:pt idx="3">
                  <c:v>75</c:v>
                </c:pt>
              </c:numCache>
            </c:numRef>
          </c:yVal>
          <c:bubbleSize>
            <c:numRef>
              <c:f>Sheet1!$B$3:$J$3</c:f>
              <c:numCache>
                <c:formatCode>s\t\a\nd\a\rd</c:formatCode>
                <c:ptCount val="9"/>
                <c:pt idx="0">
                  <c:v>1</c:v>
                </c:pt>
                <c:pt idx="1">
                  <c:v>5</c:v>
                </c:pt>
                <c:pt idx="2">
                  <c:v>2</c:v>
                </c:pt>
                <c:pt idx="3">
                  <c:v>4</c:v>
                </c:pt>
              </c:numCache>
            </c:numRef>
          </c:bubbleSize>
          <c:bubble3D val="0"/>
          <c:extLst>
            <c:ext xmlns:c16="http://schemas.microsoft.com/office/drawing/2014/chart" uri="{C3380CC4-5D6E-409C-BE32-E72D297353CC}">
              <c16:uniqueId val="{00000008-D270-4E9C-9F09-56B00A8EC7DE}"/>
            </c:ext>
          </c:extLst>
        </c:ser>
        <c:dLbls>
          <c:showLegendKey val="0"/>
          <c:showVal val="0"/>
          <c:showCatName val="0"/>
          <c:showSerName val="0"/>
          <c:showPercent val="0"/>
          <c:showBubbleSize val="0"/>
        </c:dLbls>
        <c:bubbleScale val="100"/>
        <c:showNegBubbles val="0"/>
        <c:axId val="176145880"/>
        <c:axId val="176146272"/>
      </c:bubbleChart>
      <c:valAx>
        <c:axId val="176145880"/>
        <c:scaling>
          <c:orientation val="minMax"/>
          <c:max val="100"/>
          <c:min val="0"/>
        </c:scaling>
        <c:delete val="1"/>
        <c:axPos val="b"/>
        <c:numFmt formatCode="s\t\a\nd\a\rd" sourceLinked="1"/>
        <c:majorTickMark val="out"/>
        <c:minorTickMark val="none"/>
        <c:tickLblPos val="none"/>
        <c:crossAx val="176146272"/>
        <c:crossesAt val="0"/>
        <c:crossBetween val="midCat"/>
        <c:majorUnit val="20"/>
        <c:minorUnit val="4"/>
      </c:valAx>
      <c:valAx>
        <c:axId val="176146272"/>
        <c:scaling>
          <c:orientation val="minMax"/>
          <c:max val="100"/>
          <c:min val="0"/>
        </c:scaling>
        <c:delete val="1"/>
        <c:axPos val="l"/>
        <c:numFmt formatCode="s\t\a\nd\a\rd" sourceLinked="1"/>
        <c:majorTickMark val="out"/>
        <c:minorTickMark val="none"/>
        <c:tickLblPos val="none"/>
        <c:crossAx val="176145880"/>
        <c:crossesAt val="0"/>
        <c:crossBetween val="midCat"/>
        <c:majorUnit val="10"/>
        <c:minorUnit val="2"/>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30734966592476"/>
          <c:y val="3.0812324929972011E-2"/>
          <c:w val="0.741648106904233"/>
          <c:h val="0.94397759103641454"/>
        </c:manualLayout>
      </c:layout>
      <c:barChart>
        <c:barDir val="bar"/>
        <c:grouping val="clustered"/>
        <c:varyColors val="0"/>
        <c:ser>
          <c:idx val="2"/>
          <c:order val="0"/>
          <c:tx>
            <c:strRef>
              <c:f>Sheet1!$A$2</c:f>
              <c:strCache>
                <c:ptCount val="1"/>
                <c:pt idx="0">
                  <c:v>Group 2</c:v>
                </c:pt>
              </c:strCache>
            </c:strRef>
          </c:tx>
          <c:spPr>
            <a:solidFill>
              <a:schemeClr val="accent1"/>
            </a:solidFill>
            <a:ln w="25355">
              <a:noFill/>
            </a:ln>
          </c:spPr>
          <c:invertIfNegative val="0"/>
          <c:dPt>
            <c:idx val="1"/>
            <c:invertIfNegative val="0"/>
            <c:bubble3D val="0"/>
            <c:spPr>
              <a:solidFill>
                <a:schemeClr val="accent3"/>
              </a:solidFill>
              <a:ln w="25355">
                <a:noFill/>
              </a:ln>
            </c:spPr>
            <c:extLst>
              <c:ext xmlns:c16="http://schemas.microsoft.com/office/drawing/2014/chart" uri="{C3380CC4-5D6E-409C-BE32-E72D297353CC}">
                <c16:uniqueId val="{00000001-9478-4FAB-8C38-2CE87BEBC936}"/>
              </c:ext>
            </c:extLst>
          </c:dPt>
          <c:dPt>
            <c:idx val="2"/>
            <c:invertIfNegative val="0"/>
            <c:bubble3D val="0"/>
            <c:spPr>
              <a:solidFill>
                <a:schemeClr val="accent2"/>
              </a:solidFill>
              <a:ln w="25355">
                <a:noFill/>
              </a:ln>
            </c:spPr>
            <c:extLst>
              <c:ext xmlns:c16="http://schemas.microsoft.com/office/drawing/2014/chart" uri="{C3380CC4-5D6E-409C-BE32-E72D297353CC}">
                <c16:uniqueId val="{00000003-9478-4FAB-8C38-2CE87BEBC936}"/>
              </c:ext>
            </c:extLst>
          </c:dPt>
          <c:dPt>
            <c:idx val="3"/>
            <c:invertIfNegative val="0"/>
            <c:bubble3D val="0"/>
            <c:spPr>
              <a:solidFill>
                <a:schemeClr val="accent6"/>
              </a:solidFill>
              <a:ln w="25355">
                <a:noFill/>
              </a:ln>
            </c:spPr>
            <c:extLst>
              <c:ext xmlns:c16="http://schemas.microsoft.com/office/drawing/2014/chart" uri="{C3380CC4-5D6E-409C-BE32-E72D297353CC}">
                <c16:uniqueId val="{00000005-9478-4FAB-8C38-2CE87BEBC936}"/>
              </c:ext>
            </c:extLst>
          </c:dPt>
          <c:dLbls>
            <c:spPr>
              <a:noFill/>
              <a:ln w="25355">
                <a:noFill/>
              </a:ln>
            </c:spPr>
            <c:txPr>
              <a:bodyPr/>
              <a:lstStyle/>
              <a:p>
                <a:pPr>
                  <a:defRPr sz="1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2:$E$2</c:f>
              <c:numCache>
                <c:formatCode>General</c:formatCode>
                <c:ptCount val="4"/>
                <c:pt idx="0">
                  <c:v>32</c:v>
                </c:pt>
                <c:pt idx="1">
                  <c:v>30</c:v>
                </c:pt>
                <c:pt idx="2">
                  <c:v>35</c:v>
                </c:pt>
                <c:pt idx="3">
                  <c:v>27</c:v>
                </c:pt>
              </c:numCache>
            </c:numRef>
          </c:val>
          <c:extLst>
            <c:ext xmlns:c16="http://schemas.microsoft.com/office/drawing/2014/chart" uri="{C3380CC4-5D6E-409C-BE32-E72D297353CC}">
              <c16:uniqueId val="{00000006-9478-4FAB-8C38-2CE87BEBC936}"/>
            </c:ext>
          </c:extLst>
        </c:ser>
        <c:dLbls>
          <c:showLegendKey val="0"/>
          <c:showVal val="0"/>
          <c:showCatName val="0"/>
          <c:showSerName val="0"/>
          <c:showPercent val="0"/>
          <c:showBubbleSize val="0"/>
        </c:dLbls>
        <c:gapWidth val="106"/>
        <c:overlap val="100"/>
        <c:axId val="543231384"/>
        <c:axId val="543231776"/>
      </c:barChart>
      <c:catAx>
        <c:axId val="543231384"/>
        <c:scaling>
          <c:orientation val="maxMin"/>
        </c:scaling>
        <c:delete val="0"/>
        <c:axPos val="l"/>
        <c:numFmt formatCode="General" sourceLinked="1"/>
        <c:majorTickMark val="out"/>
        <c:minorTickMark val="none"/>
        <c:tickLblPos val="nextTo"/>
        <c:spPr>
          <a:ln w="12677">
            <a:solidFill>
              <a:schemeClr val="tx2">
                <a:lumMod val="60000"/>
                <a:lumOff val="40000"/>
              </a:schemeClr>
            </a:solidFill>
            <a:prstDash val="solid"/>
          </a:ln>
        </c:spPr>
        <c:txPr>
          <a:bodyPr rot="0" vert="horz"/>
          <a:lstStyle/>
          <a:p>
            <a:pPr>
              <a:defRPr/>
            </a:pPr>
            <a:endParaRPr lang="en-US"/>
          </a:p>
        </c:txPr>
        <c:crossAx val="543231776"/>
        <c:crosses val="autoZero"/>
        <c:auto val="1"/>
        <c:lblAlgn val="ctr"/>
        <c:lblOffset val="100"/>
        <c:tickLblSkip val="1"/>
        <c:tickMarkSkip val="1"/>
        <c:noMultiLvlLbl val="0"/>
      </c:catAx>
      <c:valAx>
        <c:axId val="543231776"/>
        <c:scaling>
          <c:orientation val="minMax"/>
        </c:scaling>
        <c:delete val="1"/>
        <c:axPos val="b"/>
        <c:numFmt formatCode="General" sourceLinked="1"/>
        <c:majorTickMark val="out"/>
        <c:minorTickMark val="none"/>
        <c:tickLblPos val="none"/>
        <c:crossAx val="543231384"/>
        <c:crosses val="max"/>
        <c:crossBetween val="between"/>
      </c:valAx>
      <c:spPr>
        <a:noFill/>
        <a:ln w="25355">
          <a:noFill/>
        </a:ln>
      </c:spPr>
    </c:plotArea>
    <c:plotVisOnly val="1"/>
    <c:dispBlanksAs val="zero"/>
    <c:showDLblsOverMax val="0"/>
  </c:chart>
  <c:spPr>
    <a:noFill/>
    <a:ln>
      <a:noFill/>
    </a:ln>
  </c:spPr>
  <c:txPr>
    <a:bodyPr/>
    <a:lstStyle/>
    <a:p>
      <a:pPr>
        <a:defRPr sz="1572" b="1" i="0" u="none" strike="noStrike" baseline="0">
          <a:solidFill>
            <a:schemeClr val="tx1"/>
          </a:solidFill>
          <a:latin typeface="+mn-lt"/>
          <a:ea typeface="Arial"/>
          <a:cs typeface="Arial"/>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051965943419847E-2"/>
          <c:y val="8.9080424303832131E-2"/>
          <c:w val="0.80812802613717249"/>
          <c:h val="0.88879571383360811"/>
        </c:manualLayout>
      </c:layout>
      <c:barChart>
        <c:barDir val="bar"/>
        <c:grouping val="stacked"/>
        <c:varyColors val="0"/>
        <c:ser>
          <c:idx val="0"/>
          <c:order val="0"/>
          <c:tx>
            <c:strRef>
              <c:f>Sheet1!$A$2</c:f>
              <c:strCache>
                <c:ptCount val="1"/>
                <c:pt idx="0">
                  <c:v>Group 1</c:v>
                </c:pt>
              </c:strCache>
            </c:strRef>
          </c:tx>
          <c:spPr>
            <a:solidFill>
              <a:schemeClr val="accent1"/>
            </a:solidFill>
            <a:ln w="23380">
              <a:noFill/>
            </a:ln>
          </c:spPr>
          <c:invertIfNegative val="0"/>
          <c:dLbls>
            <c:numFmt formatCode="0" sourceLinked="0"/>
            <c:spPr>
              <a:noFill/>
              <a:ln w="23380">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s\t\a\nd\a\rd</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0-44D5-4F9E-B58B-CAE03821802B}"/>
            </c:ext>
          </c:extLst>
        </c:ser>
        <c:ser>
          <c:idx val="1"/>
          <c:order val="1"/>
          <c:tx>
            <c:strRef>
              <c:f>Sheet1!$A$3</c:f>
              <c:strCache>
                <c:ptCount val="1"/>
                <c:pt idx="0">
                  <c:v>Group 2</c:v>
                </c:pt>
              </c:strCache>
            </c:strRef>
          </c:tx>
          <c:spPr>
            <a:solidFill>
              <a:schemeClr val="accent3"/>
            </a:solidFill>
            <a:ln w="23380">
              <a:noFill/>
            </a:ln>
          </c:spPr>
          <c:invertIfNegative val="0"/>
          <c:dLbls>
            <c:numFmt formatCode="0" sourceLinked="0"/>
            <c:spPr>
              <a:noFill/>
              <a:ln w="23380">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s\t\a\nd\a\rd</c:formatCode>
                <c:ptCount val="4"/>
                <c:pt idx="0">
                  <c:v>30.6</c:v>
                </c:pt>
                <c:pt idx="1">
                  <c:v>38.6</c:v>
                </c:pt>
                <c:pt idx="2">
                  <c:v>34.6</c:v>
                </c:pt>
                <c:pt idx="3">
                  <c:v>31.6</c:v>
                </c:pt>
              </c:numCache>
            </c:numRef>
          </c:val>
          <c:extLst>
            <c:ext xmlns:c16="http://schemas.microsoft.com/office/drawing/2014/chart" uri="{C3380CC4-5D6E-409C-BE32-E72D297353CC}">
              <c16:uniqueId val="{00000001-44D5-4F9E-B58B-CAE03821802B}"/>
            </c:ext>
          </c:extLst>
        </c:ser>
        <c:ser>
          <c:idx val="2"/>
          <c:order val="2"/>
          <c:tx>
            <c:strRef>
              <c:f>Sheet1!$A$4</c:f>
              <c:strCache>
                <c:ptCount val="1"/>
                <c:pt idx="0">
                  <c:v>Sum</c:v>
                </c:pt>
              </c:strCache>
            </c:strRef>
          </c:tx>
          <c:spPr>
            <a:noFill/>
            <a:ln w="23380">
              <a:noFill/>
            </a:ln>
          </c:spPr>
          <c:invertIfNegative val="0"/>
          <c:dLbls>
            <c:numFmt formatCode="0" sourceLinked="0"/>
            <c:spPr>
              <a:noFill/>
              <a:ln w="23380">
                <a:noFill/>
              </a:ln>
            </c:spPr>
            <c:txPr>
              <a:bodyPr/>
              <a:lstStyle/>
              <a:p>
                <a:pPr>
                  <a:defRPr>
                    <a:solidFill>
                      <a:schemeClr val="accent6"/>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s\t\a\nd\a\rd</c:formatCode>
                <c:ptCount val="4"/>
                <c:pt idx="0">
                  <c:v>51</c:v>
                </c:pt>
                <c:pt idx="1">
                  <c:v>66</c:v>
                </c:pt>
                <c:pt idx="2">
                  <c:v>124.6</c:v>
                </c:pt>
                <c:pt idx="3">
                  <c:v>52</c:v>
                </c:pt>
              </c:numCache>
            </c:numRef>
          </c:val>
          <c:extLst>
            <c:ext xmlns:c16="http://schemas.microsoft.com/office/drawing/2014/chart" uri="{C3380CC4-5D6E-409C-BE32-E72D297353CC}">
              <c16:uniqueId val="{00000002-44D5-4F9E-B58B-CAE03821802B}"/>
            </c:ext>
          </c:extLst>
        </c:ser>
        <c:dLbls>
          <c:showLegendKey val="0"/>
          <c:showVal val="0"/>
          <c:showCatName val="0"/>
          <c:showSerName val="0"/>
          <c:showPercent val="0"/>
          <c:showBubbleSize val="0"/>
        </c:dLbls>
        <c:gapWidth val="106"/>
        <c:overlap val="100"/>
        <c:axId val="632863056"/>
        <c:axId val="632863448"/>
      </c:barChart>
      <c:catAx>
        <c:axId val="632863056"/>
        <c:scaling>
          <c:orientation val="minMax"/>
        </c:scaling>
        <c:delete val="0"/>
        <c:axPos val="l"/>
        <c:numFmt formatCode="General" sourceLinked="1"/>
        <c:majorTickMark val="none"/>
        <c:minorTickMark val="none"/>
        <c:tickLblPos val="nextTo"/>
        <c:spPr>
          <a:ln w="12700">
            <a:solidFill>
              <a:schemeClr val="tx2">
                <a:lumMod val="60000"/>
                <a:lumOff val="40000"/>
              </a:schemeClr>
            </a:solidFill>
            <a:prstDash val="solid"/>
          </a:ln>
        </c:spPr>
        <c:txPr>
          <a:bodyPr rot="0" vert="horz"/>
          <a:lstStyle/>
          <a:p>
            <a:pPr>
              <a:defRPr sz="1200" b="0">
                <a:solidFill>
                  <a:schemeClr val="tx2"/>
                </a:solidFill>
              </a:defRPr>
            </a:pPr>
            <a:endParaRPr lang="en-US"/>
          </a:p>
        </c:txPr>
        <c:crossAx val="632863448"/>
        <c:crosses val="autoZero"/>
        <c:auto val="1"/>
        <c:lblAlgn val="ctr"/>
        <c:lblOffset val="100"/>
        <c:tickLblSkip val="1"/>
        <c:tickMarkSkip val="1"/>
        <c:noMultiLvlLbl val="0"/>
      </c:catAx>
      <c:valAx>
        <c:axId val="632863448"/>
        <c:scaling>
          <c:orientation val="minMax"/>
          <c:max val="135"/>
        </c:scaling>
        <c:delete val="1"/>
        <c:axPos val="b"/>
        <c:numFmt formatCode="s\t\a\nd\a\rd" sourceLinked="1"/>
        <c:majorTickMark val="out"/>
        <c:minorTickMark val="none"/>
        <c:tickLblPos val="none"/>
        <c:crossAx val="632863056"/>
        <c:crosses val="autoZero"/>
        <c:crossBetween val="between"/>
      </c:valAx>
      <c:spPr>
        <a:noFill/>
        <a:ln w="23380">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336946990182057E-2"/>
          <c:y val="5.6338028169014086E-2"/>
          <c:w val="0.931663053009818"/>
          <c:h val="0.91314553990610325"/>
        </c:manualLayout>
      </c:layout>
      <c:barChart>
        <c:barDir val="bar"/>
        <c:grouping val="percentStacked"/>
        <c:varyColors val="0"/>
        <c:ser>
          <c:idx val="0"/>
          <c:order val="0"/>
          <c:tx>
            <c:strRef>
              <c:f>Sheet1!$A$2</c:f>
              <c:strCache>
                <c:ptCount val="1"/>
                <c:pt idx="0">
                  <c:v>Group 1</c:v>
                </c:pt>
              </c:strCache>
            </c:strRef>
          </c:tx>
          <c:spPr>
            <a:solidFill>
              <a:schemeClr val="accent1"/>
            </a:solidFill>
            <a:ln w="23428">
              <a:noFill/>
            </a:ln>
          </c:spPr>
          <c:invertIfNegative val="0"/>
          <c:dLbls>
            <c:spPr>
              <a:noFill/>
              <a:ln w="2342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0%</c:formatCode>
                <c:ptCount val="4"/>
                <c:pt idx="0">
                  <c:v>0.27</c:v>
                </c:pt>
                <c:pt idx="1">
                  <c:v>0.33000000000000007</c:v>
                </c:pt>
                <c:pt idx="2">
                  <c:v>0.64000000000000012</c:v>
                </c:pt>
                <c:pt idx="3">
                  <c:v>0.31000000000000005</c:v>
                </c:pt>
              </c:numCache>
            </c:numRef>
          </c:val>
          <c:extLst>
            <c:ext xmlns:c16="http://schemas.microsoft.com/office/drawing/2014/chart" uri="{C3380CC4-5D6E-409C-BE32-E72D297353CC}">
              <c16:uniqueId val="{00000000-A23C-490E-9D87-67CC3CF03015}"/>
            </c:ext>
          </c:extLst>
        </c:ser>
        <c:ser>
          <c:idx val="1"/>
          <c:order val="1"/>
          <c:tx>
            <c:strRef>
              <c:f>Sheet1!$A$3</c:f>
              <c:strCache>
                <c:ptCount val="1"/>
                <c:pt idx="0">
                  <c:v>Group 2</c:v>
                </c:pt>
              </c:strCache>
            </c:strRef>
          </c:tx>
          <c:spPr>
            <a:solidFill>
              <a:schemeClr val="accent3"/>
            </a:solidFill>
            <a:ln w="23428">
              <a:noFill/>
            </a:ln>
          </c:spPr>
          <c:invertIfNegative val="0"/>
          <c:dLbls>
            <c:spPr>
              <a:noFill/>
              <a:ln w="2342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0%</c:formatCode>
                <c:ptCount val="4"/>
                <c:pt idx="0">
                  <c:v>0.41000000000000003</c:v>
                </c:pt>
                <c:pt idx="1">
                  <c:v>0.47000000000000003</c:v>
                </c:pt>
                <c:pt idx="2">
                  <c:v>0.25</c:v>
                </c:pt>
                <c:pt idx="3">
                  <c:v>0.48000000000000004</c:v>
                </c:pt>
              </c:numCache>
            </c:numRef>
          </c:val>
          <c:extLst>
            <c:ext xmlns:c16="http://schemas.microsoft.com/office/drawing/2014/chart" uri="{C3380CC4-5D6E-409C-BE32-E72D297353CC}">
              <c16:uniqueId val="{00000001-A23C-490E-9D87-67CC3CF03015}"/>
            </c:ext>
          </c:extLst>
        </c:ser>
        <c:ser>
          <c:idx val="2"/>
          <c:order val="2"/>
          <c:tx>
            <c:strRef>
              <c:f>Sheet1!$A$4</c:f>
              <c:strCache>
                <c:ptCount val="1"/>
                <c:pt idx="0">
                  <c:v>Group 3</c:v>
                </c:pt>
              </c:strCache>
            </c:strRef>
          </c:tx>
          <c:spPr>
            <a:solidFill>
              <a:schemeClr val="accent6"/>
            </a:solidFill>
            <a:ln w="23428">
              <a:noFill/>
            </a:ln>
          </c:spPr>
          <c:invertIfNegative val="0"/>
          <c:dLbls>
            <c:spPr>
              <a:noFill/>
              <a:ln w="2342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0%</c:formatCode>
                <c:ptCount val="4"/>
                <c:pt idx="0">
                  <c:v>0.32000000000000006</c:v>
                </c:pt>
                <c:pt idx="1">
                  <c:v>0.2</c:v>
                </c:pt>
                <c:pt idx="2">
                  <c:v>0.11</c:v>
                </c:pt>
                <c:pt idx="3">
                  <c:v>0.21000000000000002</c:v>
                </c:pt>
              </c:numCache>
            </c:numRef>
          </c:val>
          <c:extLst>
            <c:ext xmlns:c16="http://schemas.microsoft.com/office/drawing/2014/chart" uri="{C3380CC4-5D6E-409C-BE32-E72D297353CC}">
              <c16:uniqueId val="{00000002-A23C-490E-9D87-67CC3CF03015}"/>
            </c:ext>
          </c:extLst>
        </c:ser>
        <c:dLbls>
          <c:showLegendKey val="0"/>
          <c:showVal val="0"/>
          <c:showCatName val="0"/>
          <c:showSerName val="0"/>
          <c:showPercent val="0"/>
          <c:showBubbleSize val="0"/>
        </c:dLbls>
        <c:gapWidth val="106"/>
        <c:overlap val="100"/>
        <c:serLines>
          <c:spPr>
            <a:ln w="19050" cap="rnd">
              <a:solidFill>
                <a:schemeClr val="tx2">
                  <a:lumMod val="60000"/>
                  <a:lumOff val="40000"/>
                </a:schemeClr>
              </a:solidFill>
              <a:prstDash val="sysDot"/>
            </a:ln>
          </c:spPr>
        </c:serLines>
        <c:axId val="632864232"/>
        <c:axId val="632864624"/>
      </c:barChart>
      <c:catAx>
        <c:axId val="632864232"/>
        <c:scaling>
          <c:orientation val="minMax"/>
        </c:scaling>
        <c:delete val="0"/>
        <c:axPos val="l"/>
        <c:numFmt formatCode="General" sourceLinked="1"/>
        <c:majorTickMark val="none"/>
        <c:minorTickMark val="none"/>
        <c:tickLblPos val="nextTo"/>
        <c:spPr>
          <a:ln w="12700">
            <a:solidFill>
              <a:schemeClr val="tx2">
                <a:lumMod val="60000"/>
                <a:lumOff val="40000"/>
              </a:schemeClr>
            </a:solidFill>
            <a:prstDash val="solid"/>
          </a:ln>
        </c:spPr>
        <c:txPr>
          <a:bodyPr rot="0" vert="horz"/>
          <a:lstStyle/>
          <a:p>
            <a:pPr>
              <a:defRPr sz="1400" b="0">
                <a:solidFill>
                  <a:schemeClr val="tx2"/>
                </a:solidFill>
              </a:defRPr>
            </a:pPr>
            <a:endParaRPr lang="en-US"/>
          </a:p>
        </c:txPr>
        <c:crossAx val="632864624"/>
        <c:crosses val="autoZero"/>
        <c:auto val="1"/>
        <c:lblAlgn val="ctr"/>
        <c:lblOffset val="100"/>
        <c:tickLblSkip val="1"/>
        <c:tickMarkSkip val="1"/>
        <c:noMultiLvlLbl val="0"/>
      </c:catAx>
      <c:valAx>
        <c:axId val="632864624"/>
        <c:scaling>
          <c:orientation val="minMax"/>
        </c:scaling>
        <c:delete val="1"/>
        <c:axPos val="b"/>
        <c:numFmt formatCode="0%" sourceLinked="1"/>
        <c:majorTickMark val="out"/>
        <c:minorTickMark val="none"/>
        <c:tickLblPos val="none"/>
        <c:crossAx val="632864232"/>
        <c:crosses val="autoZero"/>
        <c:crossBetween val="between"/>
      </c:valAx>
      <c:spPr>
        <a:noFill/>
        <a:ln w="9525" cap="rnd">
          <a:noFill/>
          <a:prstDash val="sysDot"/>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372565212186431E-2"/>
          <c:y val="8.6580086580086875E-3"/>
          <c:w val="0.93162743478781351"/>
          <c:h val="0.87012987012987386"/>
        </c:manualLayout>
      </c:layout>
      <c:barChart>
        <c:barDir val="bar"/>
        <c:grouping val="clustered"/>
        <c:varyColors val="0"/>
        <c:ser>
          <c:idx val="0"/>
          <c:order val="0"/>
          <c:tx>
            <c:strRef>
              <c:f>Sheet1!$A$2</c:f>
              <c:strCache>
                <c:ptCount val="1"/>
                <c:pt idx="0">
                  <c:v>Group 1</c:v>
                </c:pt>
              </c:strCache>
            </c:strRef>
          </c:tx>
          <c:spPr>
            <a:solidFill>
              <a:schemeClr val="accent3"/>
            </a:solidFill>
            <a:ln w="2926">
              <a:noFill/>
              <a:prstDash val="solid"/>
            </a:ln>
          </c:spPr>
          <c:invertIfNegative val="0"/>
          <c:dLbls>
            <c:numFmt formatCode="0" sourceLinked="0"/>
            <c:spPr>
              <a:noFill/>
              <a:ln w="23409">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s\t\a\nd\a\rd</c:formatCode>
                <c:ptCount val="4"/>
                <c:pt idx="0">
                  <c:v>20.399999999999999</c:v>
                </c:pt>
                <c:pt idx="1">
                  <c:v>60</c:v>
                </c:pt>
                <c:pt idx="2">
                  <c:v>90</c:v>
                </c:pt>
                <c:pt idx="3">
                  <c:v>20.399999999999999</c:v>
                </c:pt>
              </c:numCache>
            </c:numRef>
          </c:val>
          <c:extLst>
            <c:ext xmlns:c16="http://schemas.microsoft.com/office/drawing/2014/chart" uri="{C3380CC4-5D6E-409C-BE32-E72D297353CC}">
              <c16:uniqueId val="{00000000-3653-4CFE-93F0-A86B1BF9803B}"/>
            </c:ext>
          </c:extLst>
        </c:ser>
        <c:ser>
          <c:idx val="1"/>
          <c:order val="1"/>
          <c:tx>
            <c:strRef>
              <c:f>Sheet1!$A$3</c:f>
              <c:strCache>
                <c:ptCount val="1"/>
                <c:pt idx="0">
                  <c:v>Group 2</c:v>
                </c:pt>
              </c:strCache>
            </c:strRef>
          </c:tx>
          <c:spPr>
            <a:solidFill>
              <a:schemeClr val="accent1"/>
            </a:solidFill>
            <a:ln w="23409">
              <a:noFill/>
            </a:ln>
          </c:spPr>
          <c:invertIfNegative val="0"/>
          <c:dLbls>
            <c:numFmt formatCode="0" sourceLinked="0"/>
            <c:spPr>
              <a:noFill/>
              <a:ln w="23409">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s\t\a\nd\a\rd</c:formatCode>
                <c:ptCount val="4"/>
                <c:pt idx="0">
                  <c:v>30.6</c:v>
                </c:pt>
                <c:pt idx="1">
                  <c:v>38.6</c:v>
                </c:pt>
                <c:pt idx="2">
                  <c:v>34.6</c:v>
                </c:pt>
                <c:pt idx="3">
                  <c:v>31.6</c:v>
                </c:pt>
              </c:numCache>
            </c:numRef>
          </c:val>
          <c:extLst>
            <c:ext xmlns:c16="http://schemas.microsoft.com/office/drawing/2014/chart" uri="{C3380CC4-5D6E-409C-BE32-E72D297353CC}">
              <c16:uniqueId val="{00000001-3653-4CFE-93F0-A86B1BF9803B}"/>
            </c:ext>
          </c:extLst>
        </c:ser>
        <c:dLbls>
          <c:showLegendKey val="0"/>
          <c:showVal val="0"/>
          <c:showCatName val="0"/>
          <c:showSerName val="0"/>
          <c:showPercent val="0"/>
          <c:showBubbleSize val="0"/>
        </c:dLbls>
        <c:gapWidth val="106"/>
        <c:axId val="632865408"/>
        <c:axId val="632865800"/>
      </c:barChart>
      <c:catAx>
        <c:axId val="632865408"/>
        <c:scaling>
          <c:orientation val="minMax"/>
        </c:scaling>
        <c:delete val="0"/>
        <c:axPos val="l"/>
        <c:numFmt formatCode="General" sourceLinked="1"/>
        <c:majorTickMark val="none"/>
        <c:minorTickMark val="none"/>
        <c:tickLblPos val="nextTo"/>
        <c:spPr>
          <a:ln w="12700">
            <a:solidFill>
              <a:schemeClr val="tx2">
                <a:lumMod val="60000"/>
                <a:lumOff val="40000"/>
              </a:schemeClr>
            </a:solidFill>
            <a:prstDash val="solid"/>
          </a:ln>
        </c:spPr>
        <c:txPr>
          <a:bodyPr rot="0" vert="horz"/>
          <a:lstStyle/>
          <a:p>
            <a:pPr>
              <a:defRPr sz="1400" b="0">
                <a:solidFill>
                  <a:schemeClr val="tx2"/>
                </a:solidFill>
              </a:defRPr>
            </a:pPr>
            <a:endParaRPr lang="en-US"/>
          </a:p>
        </c:txPr>
        <c:crossAx val="632865800"/>
        <c:crosses val="autoZero"/>
        <c:auto val="1"/>
        <c:lblAlgn val="ctr"/>
        <c:lblOffset val="100"/>
        <c:tickLblSkip val="1"/>
        <c:tickMarkSkip val="1"/>
        <c:noMultiLvlLbl val="0"/>
      </c:catAx>
      <c:valAx>
        <c:axId val="632865800"/>
        <c:scaling>
          <c:orientation val="minMax"/>
        </c:scaling>
        <c:delete val="1"/>
        <c:axPos val="b"/>
        <c:numFmt formatCode="s\t\a\nd\a\rd" sourceLinked="1"/>
        <c:majorTickMark val="out"/>
        <c:minorTickMark val="none"/>
        <c:tickLblPos val="none"/>
        <c:crossAx val="632865408"/>
        <c:crosses val="autoZero"/>
        <c:crossBetween val="between"/>
      </c:valAx>
      <c:spPr>
        <a:noFill/>
        <a:ln w="23409">
          <a:noFill/>
        </a:ln>
      </c:spPr>
    </c:plotArea>
    <c:legend>
      <c:legendPos val="b"/>
      <c:legendEntry>
        <c:idx val="0"/>
        <c:txPr>
          <a:bodyPr/>
          <a:lstStyle/>
          <a:p>
            <a:pPr>
              <a:defRPr sz="1400" b="0">
                <a:solidFill>
                  <a:schemeClr val="tx2"/>
                </a:solidFill>
              </a:defRPr>
            </a:pPr>
            <a:endParaRPr lang="en-US"/>
          </a:p>
        </c:txPr>
      </c:legendEntry>
      <c:legendEntry>
        <c:idx val="1"/>
        <c:txPr>
          <a:bodyPr/>
          <a:lstStyle/>
          <a:p>
            <a:pPr>
              <a:defRPr sz="1400" b="0">
                <a:solidFill>
                  <a:schemeClr val="tx2"/>
                </a:solidFill>
              </a:defRPr>
            </a:pPr>
            <a:endParaRPr lang="en-US"/>
          </a:p>
        </c:txPr>
      </c:legendEntry>
      <c:layout>
        <c:manualLayout>
          <c:xMode val="edge"/>
          <c:yMode val="edge"/>
          <c:x val="0.14485288023711659"/>
          <c:y val="0.89954699224789236"/>
          <c:w val="0.18220918460159977"/>
          <c:h val="6.0606060606060622E-2"/>
        </c:manualLayout>
      </c:layout>
      <c:overlay val="0"/>
      <c:spPr>
        <a:solidFill>
          <a:schemeClr val="bg1"/>
        </a:solidFill>
        <a:ln w="23409">
          <a:noFill/>
        </a:ln>
      </c:spPr>
      <c:txPr>
        <a:bodyPr/>
        <a:lstStyle/>
        <a:p>
          <a:pPr>
            <a:defRPr sz="1400" b="0">
              <a:solidFill>
                <a:schemeClr val="tx2"/>
              </a:solidFill>
            </a:defRPr>
          </a:pPr>
          <a:endParaRPr lang="en-US"/>
        </a:p>
      </c:txPr>
    </c:legend>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40919037199124E-2"/>
          <c:y val="2.5706940874036001E-2"/>
          <c:w val="0.97811816192559997"/>
          <c:h val="0.83547557840616971"/>
        </c:manualLayout>
      </c:layout>
      <c:barChart>
        <c:barDir val="col"/>
        <c:grouping val="stacked"/>
        <c:varyColors val="0"/>
        <c:ser>
          <c:idx val="0"/>
          <c:order val="0"/>
          <c:tx>
            <c:strRef>
              <c:f>Sheet1!$A$2</c:f>
              <c:strCache>
                <c:ptCount val="1"/>
                <c:pt idx="0">
                  <c:v>East</c:v>
                </c:pt>
              </c:strCache>
            </c:strRef>
          </c:tx>
          <c:spPr>
            <a:noFill/>
            <a:ln w="25308">
              <a:noFill/>
            </a:ln>
          </c:spPr>
          <c:invertIfNegative val="0"/>
          <c:cat>
            <c:strRef>
              <c:f>Sheet1!$B$1:$F$1</c:f>
              <c:strCache>
                <c:ptCount val="5"/>
                <c:pt idx="0">
                  <c:v>Label A</c:v>
                </c:pt>
                <c:pt idx="1">
                  <c:v>Label B</c:v>
                </c:pt>
                <c:pt idx="2">
                  <c:v>Label C</c:v>
                </c:pt>
                <c:pt idx="3">
                  <c:v>Label D</c:v>
                </c:pt>
                <c:pt idx="4">
                  <c:v>Total</c:v>
                </c:pt>
              </c:strCache>
            </c:strRef>
          </c:cat>
          <c:val>
            <c:numRef>
              <c:f>Sheet1!$B$2:$F$2</c:f>
              <c:numCache>
                <c:formatCode>General</c:formatCode>
                <c:ptCount val="5"/>
                <c:pt idx="1">
                  <c:v>5</c:v>
                </c:pt>
                <c:pt idx="2">
                  <c:v>8</c:v>
                </c:pt>
                <c:pt idx="3">
                  <c:v>10</c:v>
                </c:pt>
              </c:numCache>
            </c:numRef>
          </c:val>
          <c:extLst>
            <c:ext xmlns:c16="http://schemas.microsoft.com/office/drawing/2014/chart" uri="{C3380CC4-5D6E-409C-BE32-E72D297353CC}">
              <c16:uniqueId val="{00000000-7F6D-44B8-B83E-560C5E6695A9}"/>
            </c:ext>
          </c:extLst>
        </c:ser>
        <c:ser>
          <c:idx val="2"/>
          <c:order val="1"/>
          <c:tx>
            <c:strRef>
              <c:f>Sheet1!$A$4</c:f>
              <c:strCache>
                <c:ptCount val="1"/>
              </c:strCache>
            </c:strRef>
          </c:tx>
          <c:spPr>
            <a:solidFill>
              <a:schemeClr val="accent1"/>
            </a:solidFill>
            <a:ln w="25308">
              <a:noFill/>
            </a:ln>
          </c:spPr>
          <c:invertIfNegative val="0"/>
          <c:dPt>
            <c:idx val="4"/>
            <c:invertIfNegative val="0"/>
            <c:bubble3D val="0"/>
            <c:spPr>
              <a:pattFill prst="dkUpDiag">
                <a:fgClr>
                  <a:schemeClr val="accent3"/>
                </a:fgClr>
                <a:bgClr>
                  <a:schemeClr val="bg1"/>
                </a:bgClr>
              </a:pattFill>
              <a:ln w="25308">
                <a:noFill/>
              </a:ln>
            </c:spPr>
            <c:extLst>
              <c:ext xmlns:c16="http://schemas.microsoft.com/office/drawing/2014/chart" uri="{C3380CC4-5D6E-409C-BE32-E72D297353CC}">
                <c16:uniqueId val="{00000002-7F6D-44B8-B83E-560C5E6695A9}"/>
              </c:ext>
            </c:extLst>
          </c:dPt>
          <c:dLbls>
            <c:dLbl>
              <c:idx val="4"/>
              <c:spPr>
                <a:noFill/>
                <a:ln w="25308">
                  <a:noFill/>
                </a:ln>
              </c:spPr>
              <c:txPr>
                <a:bodyPr/>
                <a:lstStyle/>
                <a:p>
                  <a:pPr>
                    <a:defRPr>
                      <a:solidFill>
                        <a:schemeClr val="accent3">
                          <a:lumMod val="75000"/>
                        </a:schemeClr>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F6D-44B8-B83E-560C5E6695A9}"/>
                </c:ext>
              </c:extLst>
            </c:dLbl>
            <c:spPr>
              <a:noFill/>
              <a:ln w="2530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Label A</c:v>
                </c:pt>
                <c:pt idx="1">
                  <c:v>Label B</c:v>
                </c:pt>
                <c:pt idx="2">
                  <c:v>Label C</c:v>
                </c:pt>
                <c:pt idx="3">
                  <c:v>Label D</c:v>
                </c:pt>
                <c:pt idx="4">
                  <c:v>Total</c:v>
                </c:pt>
              </c:strCache>
            </c:strRef>
          </c:cat>
          <c:val>
            <c:numRef>
              <c:f>Sheet1!$B$4:$F$4</c:f>
              <c:numCache>
                <c:formatCode>General</c:formatCode>
                <c:ptCount val="5"/>
                <c:pt idx="0">
                  <c:v>5</c:v>
                </c:pt>
                <c:pt idx="1">
                  <c:v>3</c:v>
                </c:pt>
                <c:pt idx="2">
                  <c:v>2</c:v>
                </c:pt>
                <c:pt idx="3">
                  <c:v>1</c:v>
                </c:pt>
                <c:pt idx="4">
                  <c:v>11</c:v>
                </c:pt>
              </c:numCache>
            </c:numRef>
          </c:val>
          <c:extLst>
            <c:ext xmlns:c16="http://schemas.microsoft.com/office/drawing/2014/chart" uri="{C3380CC4-5D6E-409C-BE32-E72D297353CC}">
              <c16:uniqueId val="{00000003-7F6D-44B8-B83E-560C5E6695A9}"/>
            </c:ext>
          </c:extLst>
        </c:ser>
        <c:dLbls>
          <c:showLegendKey val="0"/>
          <c:showVal val="0"/>
          <c:showCatName val="0"/>
          <c:showSerName val="0"/>
          <c:showPercent val="0"/>
          <c:showBubbleSize val="0"/>
        </c:dLbls>
        <c:gapWidth val="50"/>
        <c:overlap val="100"/>
        <c:axId val="524920992"/>
        <c:axId val="524921384"/>
      </c:barChart>
      <c:catAx>
        <c:axId val="524920992"/>
        <c:scaling>
          <c:orientation val="minMax"/>
        </c:scaling>
        <c:delete val="0"/>
        <c:axPos val="b"/>
        <c:numFmt formatCode="General" sourceLinked="1"/>
        <c:majorTickMark val="none"/>
        <c:minorTickMark val="none"/>
        <c:tickLblPos val="nextTo"/>
        <c:spPr>
          <a:ln w="12654">
            <a:solidFill>
              <a:schemeClr val="tx2">
                <a:lumMod val="60000"/>
                <a:lumOff val="40000"/>
              </a:schemeClr>
            </a:solidFill>
            <a:prstDash val="solid"/>
          </a:ln>
        </c:spPr>
        <c:txPr>
          <a:bodyPr rot="0" vert="horz"/>
          <a:lstStyle/>
          <a:p>
            <a:pPr>
              <a:defRPr sz="1400" b="0">
                <a:solidFill>
                  <a:schemeClr val="tx2"/>
                </a:solidFill>
              </a:defRPr>
            </a:pPr>
            <a:endParaRPr lang="en-US"/>
          </a:p>
        </c:txPr>
        <c:crossAx val="524921384"/>
        <c:crosses val="autoZero"/>
        <c:auto val="1"/>
        <c:lblAlgn val="ctr"/>
        <c:lblOffset val="100"/>
        <c:tickLblSkip val="1"/>
        <c:tickMarkSkip val="1"/>
        <c:noMultiLvlLbl val="0"/>
      </c:catAx>
      <c:valAx>
        <c:axId val="524921384"/>
        <c:scaling>
          <c:orientation val="minMax"/>
        </c:scaling>
        <c:delete val="1"/>
        <c:axPos val="l"/>
        <c:numFmt formatCode="General" sourceLinked="1"/>
        <c:majorTickMark val="out"/>
        <c:minorTickMark val="none"/>
        <c:tickLblPos val="none"/>
        <c:crossAx val="524920992"/>
        <c:crosses val="autoZero"/>
        <c:crossBetween val="between"/>
      </c:valAx>
      <c:spPr>
        <a:noFill/>
        <a:ln w="25308">
          <a:noFill/>
        </a:ln>
      </c:spPr>
    </c:plotArea>
    <c:plotVisOnly val="1"/>
    <c:dispBlanksAs val="gap"/>
    <c:showDLblsOverMax val="0"/>
  </c:chart>
  <c:spPr>
    <a:noFill/>
    <a:ln>
      <a:noFill/>
    </a:ln>
  </c:spPr>
  <c:txPr>
    <a:bodyPr/>
    <a:lstStyle/>
    <a:p>
      <a:pPr>
        <a:defRPr sz="1800" b="1" i="0" u="none" strike="noStrike" baseline="0">
          <a:solidFill>
            <a:schemeClr val="tx1"/>
          </a:solidFill>
          <a:latin typeface="+mn-lt"/>
          <a:ea typeface="Arial"/>
          <a:cs typeface="Arial"/>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00074</cdr:x>
      <cdr:y>0.82471</cdr:y>
    </cdr:from>
    <cdr:to>
      <cdr:x>0.20992</cdr:x>
      <cdr:y>0.89607</cdr:y>
    </cdr:to>
    <cdr:sp macro="" textlink="">
      <cdr:nvSpPr>
        <cdr:cNvPr id="1025" name="Text Box 1"/>
        <cdr:cNvSpPr txBox="1">
          <a:spLocks xmlns:a="http://schemas.openxmlformats.org/drawingml/2006/main" noChangeArrowheads="1"/>
        </cdr:cNvSpPr>
      </cdr:nvSpPr>
      <cdr:spPr bwMode="auto">
        <a:xfrm xmlns:a="http://schemas.openxmlformats.org/drawingml/2006/main">
          <a:off x="8482" y="3129971"/>
          <a:ext cx="2410533" cy="27084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27432" rIns="0" bIns="27432" anchor="ctr"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Graphik" panose="020B0503030202060203" pitchFamily="34" charset="0"/>
              <a:cs typeface="Arial"/>
            </a:rPr>
            <a:t>Label A</a:t>
          </a:r>
        </a:p>
      </cdr:txBody>
    </cdr:sp>
  </cdr:relSizeAnchor>
  <cdr:relSizeAnchor xmlns:cdr="http://schemas.openxmlformats.org/drawingml/2006/chartDrawing">
    <cdr:from>
      <cdr:x>0</cdr:x>
      <cdr:y>0.59342</cdr:y>
    </cdr:from>
    <cdr:to>
      <cdr:x>0.20918</cdr:x>
      <cdr:y>0.66479</cdr:y>
    </cdr:to>
    <cdr:sp macro="" textlink="">
      <cdr:nvSpPr>
        <cdr:cNvPr id="1026" name="Text Box 2"/>
        <cdr:cNvSpPr txBox="1">
          <a:spLocks xmlns:a="http://schemas.openxmlformats.org/drawingml/2006/main" noChangeArrowheads="1"/>
        </cdr:cNvSpPr>
      </cdr:nvSpPr>
      <cdr:spPr bwMode="auto">
        <a:xfrm xmlns:a="http://schemas.openxmlformats.org/drawingml/2006/main">
          <a:off x="0" y="2252178"/>
          <a:ext cx="2410533" cy="27084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27432" rIns="0" bIns="27432" anchor="ctr"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Graphik" panose="020B0503030202060203" pitchFamily="34" charset="0"/>
              <a:cs typeface="Arial"/>
            </a:rPr>
            <a:t>Label B</a:t>
          </a:r>
        </a:p>
      </cdr:txBody>
    </cdr:sp>
  </cdr:relSizeAnchor>
  <cdr:relSizeAnchor xmlns:cdr="http://schemas.openxmlformats.org/drawingml/2006/chartDrawing">
    <cdr:from>
      <cdr:x>8.6778E-8</cdr:x>
      <cdr:y>0.35947</cdr:y>
    </cdr:from>
    <cdr:to>
      <cdr:x>0.2116</cdr:x>
      <cdr:y>0.43084</cdr:y>
    </cdr:to>
    <cdr:sp macro="" textlink="">
      <cdr:nvSpPr>
        <cdr:cNvPr id="1027" name="Text Box 3"/>
        <cdr:cNvSpPr txBox="1">
          <a:spLocks xmlns:a="http://schemas.openxmlformats.org/drawingml/2006/main" noChangeArrowheads="1"/>
        </cdr:cNvSpPr>
      </cdr:nvSpPr>
      <cdr:spPr bwMode="auto">
        <a:xfrm xmlns:a="http://schemas.openxmlformats.org/drawingml/2006/main">
          <a:off x="1" y="1364284"/>
          <a:ext cx="2438400" cy="27084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27432" rIns="0" bIns="27432" anchor="ctr"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Graphik" panose="020B0503030202060203" pitchFamily="34" charset="0"/>
              <a:cs typeface="Arial"/>
            </a:rPr>
            <a:t>Label C</a:t>
          </a:r>
        </a:p>
      </cdr:txBody>
    </cdr:sp>
  </cdr:relSizeAnchor>
  <cdr:relSizeAnchor xmlns:cdr="http://schemas.openxmlformats.org/drawingml/2006/chartDrawing">
    <cdr:from>
      <cdr:x>8.6778E-8</cdr:x>
      <cdr:y>0.12256</cdr:y>
    </cdr:from>
    <cdr:to>
      <cdr:x>0.2116</cdr:x>
      <cdr:y>0.19392</cdr:y>
    </cdr:to>
    <cdr:sp macro="" textlink="">
      <cdr:nvSpPr>
        <cdr:cNvPr id="1028" name="Text Box 4"/>
        <cdr:cNvSpPr txBox="1">
          <a:spLocks xmlns:a="http://schemas.openxmlformats.org/drawingml/2006/main" noChangeArrowheads="1"/>
        </cdr:cNvSpPr>
      </cdr:nvSpPr>
      <cdr:spPr bwMode="auto">
        <a:xfrm xmlns:a="http://schemas.openxmlformats.org/drawingml/2006/main">
          <a:off x="1" y="465137"/>
          <a:ext cx="2438400" cy="27084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27432" rIns="0" bIns="27432" anchor="ctr"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Graphik" panose="020B0503030202060203" pitchFamily="34" charset="0"/>
              <a:cs typeface="Arial"/>
            </a:rPr>
            <a:t>Label D</a:t>
          </a:r>
        </a:p>
      </cdr:txBody>
    </cdr:sp>
  </cdr:relSizeAnchor>
</c:userShapes>
</file>

<file path=ppt/drawings/drawing10.xml><?xml version="1.0" encoding="utf-8"?>
<c:userShapes xmlns:c="http://schemas.openxmlformats.org/drawingml/2006/chart">
  <cdr:relSizeAnchor xmlns:cdr="http://schemas.openxmlformats.org/drawingml/2006/chartDrawing">
    <cdr:from>
      <cdr:x>0</cdr:x>
      <cdr:y>0.75839</cdr:y>
    </cdr:from>
    <cdr:to>
      <cdr:x>0.09218</cdr:x>
      <cdr:y>0.82064</cdr:y>
    </cdr:to>
    <cdr:sp macro="" textlink="">
      <cdr:nvSpPr>
        <cdr:cNvPr id="1025" name="Text Box 1"/>
        <cdr:cNvSpPr txBox="1">
          <a:spLocks xmlns:a="http://schemas.openxmlformats.org/drawingml/2006/main" noChangeArrowheads="1"/>
        </cdr:cNvSpPr>
      </cdr:nvSpPr>
      <cdr:spPr bwMode="auto">
        <a:xfrm xmlns:a="http://schemas.openxmlformats.org/drawingml/2006/main">
          <a:off x="0" y="3256668"/>
          <a:ext cx="1062288" cy="267312"/>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36576" tIns="27432" rIns="0" bIns="0" anchor="t" upright="1"/>
        <a:lstStyle xmlns:a="http://schemas.openxmlformats.org/drawingml/2006/main"/>
        <a:p xmlns:a="http://schemas.openxmlformats.org/drawingml/2006/main">
          <a:pPr algn="l" rtl="0">
            <a:defRPr sz="1000"/>
          </a:pPr>
          <a:r>
            <a:rPr lang="de-DE" sz="1400" b="1" i="0" strike="noStrike" cap="all" baseline="0" dirty="0">
              <a:solidFill>
                <a:schemeClr val="accent2"/>
              </a:solidFill>
              <a:latin typeface="+mj-lt"/>
              <a:cs typeface="Arial"/>
            </a:rPr>
            <a:t>Group 1</a:t>
          </a:r>
        </a:p>
      </cdr:txBody>
    </cdr:sp>
  </cdr:relSizeAnchor>
</c:userShapes>
</file>

<file path=ppt/drawings/drawing11.xml><?xml version="1.0" encoding="utf-8"?>
<c:userShapes xmlns:c="http://schemas.openxmlformats.org/drawingml/2006/chart">
  <cdr:relSizeAnchor xmlns:cdr="http://schemas.openxmlformats.org/drawingml/2006/chartDrawing">
    <cdr:from>
      <cdr:x>0</cdr:x>
      <cdr:y>0.45325</cdr:y>
    </cdr:from>
    <cdr:to>
      <cdr:x>0.07354</cdr:x>
      <cdr:y>0.62222</cdr:y>
    </cdr:to>
    <cdr:grpSp>
      <cdr:nvGrpSpPr>
        <cdr:cNvPr id="2" name="Group 1">
          <a:extLst xmlns:a="http://schemas.openxmlformats.org/drawingml/2006/main">
            <a:ext uri="{FF2B5EF4-FFF2-40B4-BE49-F238E27FC236}">
              <a16:creationId xmlns:a16="http://schemas.microsoft.com/office/drawing/2014/main" id="{1E9F6FDC-3104-4813-BFC0-BE29A5FB00FB}"/>
            </a:ext>
          </a:extLst>
        </cdr:cNvPr>
        <cdr:cNvGrpSpPr/>
      </cdr:nvGrpSpPr>
      <cdr:grpSpPr>
        <a:xfrm xmlns:a="http://schemas.openxmlformats.org/drawingml/2006/main">
          <a:off x="0" y="1765851"/>
          <a:ext cx="840796" cy="658303"/>
          <a:chOff x="0" y="1765851"/>
          <a:chExt cx="840808" cy="658319"/>
        </a:xfrm>
      </cdr:grpSpPr>
      <cdr:sp macro="" textlink="">
        <cdr:nvSpPr>
          <cdr:cNvPr id="1025" name="Text Box 1"/>
          <cdr:cNvSpPr txBox="1">
            <a:spLocks xmlns:a="http://schemas.openxmlformats.org/drawingml/2006/main" noChangeArrowheads="1"/>
          </cdr:cNvSpPr>
        </cdr:nvSpPr>
        <cdr:spPr bwMode="auto">
          <a:xfrm xmlns:a="http://schemas.openxmlformats.org/drawingml/2006/main">
            <a:off x="0" y="1765851"/>
            <a:ext cx="819583"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27432" tIns="32004" rIns="0" bIns="0" anchor="t" upright="1">
            <a:spAutoFit/>
          </a:bodyPr>
          <a:lstStyle xmlns:a="http://schemas.openxmlformats.org/drawingml/2006/main"/>
          <a:p xmlns:a="http://schemas.openxmlformats.org/drawingml/2006/main">
            <a:pPr algn="l" rtl="0">
              <a:defRPr sz="1000"/>
            </a:pPr>
            <a:r>
              <a:rPr lang="de-DE" sz="1400" b="1" i="0" strike="noStrike" cap="all" baseline="0" dirty="0">
                <a:solidFill>
                  <a:schemeClr val="accent1"/>
                </a:solidFill>
                <a:latin typeface="+mj-lt"/>
                <a:cs typeface="Arial"/>
              </a:rPr>
              <a:t>Group 1</a:t>
            </a:r>
          </a:p>
        </cdr:txBody>
      </cdr:sp>
      <cdr:sp macro="" textlink="">
        <cdr:nvSpPr>
          <cdr:cNvPr id="1026" name="Text Box 2"/>
          <cdr:cNvSpPr txBox="1">
            <a:spLocks xmlns:a="http://schemas.openxmlformats.org/drawingml/2006/main" noChangeArrowheads="1"/>
          </cdr:cNvSpPr>
        </cdr:nvSpPr>
        <cdr:spPr bwMode="auto">
          <a:xfrm xmlns:a="http://schemas.openxmlformats.org/drawingml/2006/main">
            <a:off x="0" y="2185643"/>
            <a:ext cx="840808"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18288" tIns="22860" rIns="0" bIns="0" anchor="t" upright="1">
            <a:spAutoFit/>
          </a:bodyPr>
          <a:lstStyle xmlns:a="http://schemas.openxmlformats.org/drawingml/2006/main"/>
          <a:p xmlns:a="http://schemas.openxmlformats.org/drawingml/2006/main">
            <a:pPr algn="l" rtl="0">
              <a:defRPr sz="1000"/>
            </a:pPr>
            <a:r>
              <a:rPr lang="de-DE" sz="1400" b="1" i="0" strike="noStrike" cap="all" baseline="0" dirty="0">
                <a:solidFill>
                  <a:schemeClr val="accent2"/>
                </a:solidFill>
                <a:latin typeface="+mj-lt"/>
                <a:cs typeface="Arial"/>
              </a:rPr>
              <a:t>Group 2</a:t>
            </a:r>
          </a:p>
        </cdr:txBody>
      </cdr:sp>
    </cdr:grpSp>
  </cdr:relSizeAnchor>
</c:userShapes>
</file>

<file path=ppt/drawings/drawing12.xml><?xml version="1.0" encoding="utf-8"?>
<c:userShapes xmlns:c="http://schemas.openxmlformats.org/drawingml/2006/chart">
  <cdr:relSizeAnchor xmlns:cdr="http://schemas.openxmlformats.org/drawingml/2006/chartDrawing">
    <cdr:from>
      <cdr:x>0.7042</cdr:x>
      <cdr:y>0.35294</cdr:y>
    </cdr:from>
    <cdr:to>
      <cdr:x>0.85571</cdr:x>
      <cdr:y>0.5</cdr:y>
    </cdr:to>
    <cdr:sp macro="" textlink="">
      <cdr:nvSpPr>
        <cdr:cNvPr id="2" name="Inhaltsplatzhalter 9"/>
        <cdr:cNvSpPr>
          <a:spLocks xmlns:a="http://schemas.openxmlformats.org/drawingml/2006/main" noGrp="1"/>
        </cdr:cNvSpPr>
      </cdr:nvSpPr>
      <cdr:spPr bwMode="auto">
        <a:xfrm xmlns:a="http://schemas.openxmlformats.org/drawingml/2006/main">
          <a:off x="8049023" y="1557612"/>
          <a:ext cx="1731759" cy="649013"/>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vert="horz" wrap="square" lIns="0" tIns="108000" rIns="0" bIns="108000" numCol="1" anchor="t" anchorCtr="0" compatLnSpc="1">
          <a:prstTxWarp prst="textNoShape">
            <a:avLst/>
          </a:prstTxWarp>
          <a:spAutoFit/>
        </a:bodyPr>
        <a:lstStyle xmlns:a="http://schemas.openxmlformats.org/drawingml/2006/main">
          <a:lvl1pPr marL="0" indent="0" algn="l" rtl="0" eaLnBrk="0" fontAlgn="base" hangingPunct="0">
            <a:spcBef>
              <a:spcPts val="300"/>
            </a:spcBef>
            <a:spcAft>
              <a:spcPts val="300"/>
            </a:spcAft>
            <a:buFont typeface="Arial" charset="0"/>
            <a:buNone/>
            <a:defRPr lang="de-DE" sz="2000" b="1" kern="1200" dirty="0" smtClean="0">
              <a:solidFill>
                <a:schemeClr val="accent2"/>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algn="ctr"/>
          <a:r>
            <a:rPr lang="en-US" sz="2800" b="0" cap="all" baseline="0" dirty="0">
              <a:solidFill>
                <a:schemeClr val="tx1"/>
              </a:solidFill>
              <a:latin typeface="+mj-lt"/>
            </a:rPr>
            <a:t>$150M</a:t>
          </a:r>
          <a:endParaRPr lang="de-DE" sz="3200" b="0" cap="all" baseline="0" dirty="0">
            <a:solidFill>
              <a:schemeClr val="tx1"/>
            </a:solidFill>
            <a:latin typeface="+mj-lt"/>
          </a:endParaRPr>
        </a:p>
      </cdr:txBody>
    </cdr:sp>
  </cdr:relSizeAnchor>
</c:userShapes>
</file>

<file path=ppt/drawings/drawing13.xml><?xml version="1.0" encoding="utf-8"?>
<c:userShapes xmlns:c="http://schemas.openxmlformats.org/drawingml/2006/chart">
  <cdr:relSizeAnchor xmlns:cdr="http://schemas.openxmlformats.org/drawingml/2006/chartDrawing">
    <cdr:from>
      <cdr:x>0.38629</cdr:x>
      <cdr:y>0.45043</cdr:y>
    </cdr:from>
    <cdr:to>
      <cdr:x>0.59966</cdr:x>
      <cdr:y>0.5712</cdr:y>
    </cdr:to>
    <cdr:sp macro="" textlink="">
      <cdr:nvSpPr>
        <cdr:cNvPr id="2" name="Inhaltsplatzhalter 9"/>
        <cdr:cNvSpPr>
          <a:spLocks xmlns:a="http://schemas.openxmlformats.org/drawingml/2006/main" noGrp="1"/>
        </cdr:cNvSpPr>
      </cdr:nvSpPr>
      <cdr:spPr bwMode="auto">
        <a:xfrm xmlns:a="http://schemas.openxmlformats.org/drawingml/2006/main">
          <a:off x="4446570" y="2179496"/>
          <a:ext cx="2456093" cy="584363"/>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vert="horz" wrap="square" lIns="0" tIns="108000" rIns="0" bIns="108000" numCol="1" anchor="t" anchorCtr="0" compatLnSpc="1">
          <a:prstTxWarp prst="textNoShape">
            <a:avLst/>
          </a:prstTxWarp>
          <a:spAutoFit/>
        </a:bodyPr>
        <a:lstStyle xmlns:a="http://schemas.openxmlformats.org/drawingml/2006/main">
          <a:lvl1pPr marL="0" indent="0" algn="l" rtl="0" eaLnBrk="0" fontAlgn="base" hangingPunct="0">
            <a:spcBef>
              <a:spcPts val="300"/>
            </a:spcBef>
            <a:spcAft>
              <a:spcPts val="300"/>
            </a:spcAft>
            <a:buFont typeface="Arial" charset="0"/>
            <a:buNone/>
            <a:defRPr lang="de-DE" sz="2000" b="1" kern="1200" dirty="0" smtClean="0">
              <a:solidFill>
                <a:schemeClr val="accent2"/>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algn="ctr">
            <a:lnSpc>
              <a:spcPct val="85000"/>
            </a:lnSpc>
          </a:pPr>
          <a:r>
            <a:rPr lang="en-US" sz="2800" b="0" dirty="0">
              <a:solidFill>
                <a:schemeClr val="tx1"/>
              </a:solidFill>
              <a:latin typeface="+mj-lt"/>
            </a:rPr>
            <a:t>$150M</a:t>
          </a:r>
          <a:endParaRPr lang="de-DE" sz="3200" b="0" dirty="0">
            <a:solidFill>
              <a:schemeClr val="tx1"/>
            </a:solidFill>
            <a:latin typeface="+mj-lt"/>
          </a:endParaRPr>
        </a:p>
      </cdr:txBody>
    </cdr:sp>
  </cdr:relSizeAnchor>
  <cdr:relSizeAnchor xmlns:cdr="http://schemas.openxmlformats.org/drawingml/2006/chartDrawing">
    <cdr:from>
      <cdr:x>0.67448</cdr:x>
      <cdr:y>0.45213</cdr:y>
    </cdr:from>
    <cdr:to>
      <cdr:x>0.80462</cdr:x>
      <cdr:y>0.52002</cdr:y>
    </cdr:to>
    <cdr:sp macro="" textlink="">
      <cdr:nvSpPr>
        <cdr:cNvPr id="3" name="Text Box 1"/>
        <cdr:cNvSpPr txBox="1">
          <a:spLocks xmlns:a="http://schemas.openxmlformats.org/drawingml/2006/main" noChangeArrowheads="1"/>
        </cdr:cNvSpPr>
      </cdr:nvSpPr>
      <cdr:spPr bwMode="auto">
        <a:xfrm xmlns:a="http://schemas.openxmlformats.org/drawingml/2006/main">
          <a:off x="7763903" y="2187722"/>
          <a:ext cx="1498059" cy="328499"/>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400" b="0" i="0" strike="noStrike" dirty="0">
              <a:solidFill>
                <a:schemeClr val="tx2"/>
              </a:solidFill>
              <a:latin typeface="+mn-lt"/>
              <a:cs typeface="Arial"/>
            </a:rPr>
            <a:t>Label A</a:t>
          </a:r>
        </a:p>
      </cdr:txBody>
    </cdr:sp>
  </cdr:relSizeAnchor>
  <cdr:relSizeAnchor xmlns:cdr="http://schemas.openxmlformats.org/drawingml/2006/chartDrawing">
    <cdr:from>
      <cdr:x>0.19303</cdr:x>
      <cdr:y>0.61918</cdr:y>
    </cdr:from>
    <cdr:to>
      <cdr:x>0.32511</cdr:x>
      <cdr:y>0.68688</cdr:y>
    </cdr:to>
    <cdr:sp macro="" textlink="">
      <cdr:nvSpPr>
        <cdr:cNvPr id="4" name="Text Box 2"/>
        <cdr:cNvSpPr txBox="1">
          <a:spLocks xmlns:a="http://schemas.openxmlformats.org/drawingml/2006/main" noChangeArrowheads="1"/>
        </cdr:cNvSpPr>
      </cdr:nvSpPr>
      <cdr:spPr bwMode="auto">
        <a:xfrm xmlns:a="http://schemas.openxmlformats.org/drawingml/2006/main">
          <a:off x="2221977" y="2996017"/>
          <a:ext cx="1520369" cy="3276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mn-lt"/>
              <a:cs typeface="Arial"/>
            </a:rPr>
            <a:t>Label B</a:t>
          </a:r>
        </a:p>
      </cdr:txBody>
    </cdr:sp>
  </cdr:relSizeAnchor>
  <cdr:relSizeAnchor xmlns:cdr="http://schemas.openxmlformats.org/drawingml/2006/chartDrawing">
    <cdr:from>
      <cdr:x>0.19303</cdr:x>
      <cdr:y>0.31341</cdr:y>
    </cdr:from>
    <cdr:to>
      <cdr:x>0.32427</cdr:x>
      <cdr:y>0.38112</cdr:y>
    </cdr:to>
    <cdr:sp macro="" textlink="">
      <cdr:nvSpPr>
        <cdr:cNvPr id="5" name="Text Box 3"/>
        <cdr:cNvSpPr txBox="1">
          <a:spLocks xmlns:a="http://schemas.openxmlformats.org/drawingml/2006/main" noChangeArrowheads="1"/>
        </cdr:cNvSpPr>
      </cdr:nvSpPr>
      <cdr:spPr bwMode="auto">
        <a:xfrm xmlns:a="http://schemas.openxmlformats.org/drawingml/2006/main">
          <a:off x="2221977" y="1516512"/>
          <a:ext cx="1510642" cy="3276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mn-lt"/>
              <a:cs typeface="Arial"/>
            </a:rPr>
            <a:t>Label C</a:t>
          </a:r>
        </a:p>
      </cdr:txBody>
    </cdr:sp>
  </cdr:relSizeAnchor>
  <cdr:relSizeAnchor xmlns:cdr="http://schemas.openxmlformats.org/drawingml/2006/chartDrawing">
    <cdr:from>
      <cdr:x>0.19303</cdr:x>
      <cdr:y>0.09648</cdr:y>
    </cdr:from>
    <cdr:to>
      <cdr:x>0.2936</cdr:x>
      <cdr:y>0.16418</cdr:y>
    </cdr:to>
    <cdr:sp macro="" textlink="">
      <cdr:nvSpPr>
        <cdr:cNvPr id="6" name="Text Box 4"/>
        <cdr:cNvSpPr txBox="1">
          <a:spLocks xmlns:a="http://schemas.openxmlformats.org/drawingml/2006/main" noChangeArrowheads="1"/>
        </cdr:cNvSpPr>
      </cdr:nvSpPr>
      <cdr:spPr bwMode="auto">
        <a:xfrm xmlns:a="http://schemas.openxmlformats.org/drawingml/2006/main">
          <a:off x="2221977" y="466825"/>
          <a:ext cx="1157591" cy="3276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mn-lt"/>
              <a:cs typeface="Arial"/>
            </a:rPr>
            <a:t>Label D</a:t>
          </a:r>
        </a:p>
      </cdr:txBody>
    </cdr:sp>
  </cdr:relSizeAnchor>
</c:userShapes>
</file>

<file path=ppt/drawings/drawing14.xml><?xml version="1.0" encoding="utf-8"?>
<c:userShapes xmlns:c="http://schemas.openxmlformats.org/drawingml/2006/chart">
  <cdr:relSizeAnchor xmlns:cdr="http://schemas.openxmlformats.org/drawingml/2006/chartDrawing">
    <cdr:from>
      <cdr:x>0.27861</cdr:x>
      <cdr:y>0</cdr:y>
    </cdr:from>
    <cdr:to>
      <cdr:x>0.49753</cdr:x>
      <cdr:y>0.04192</cdr:y>
    </cdr:to>
    <cdr:sp macro="" textlink="">
      <cdr:nvSpPr>
        <cdr:cNvPr id="2" name="Text Box 1"/>
        <cdr:cNvSpPr txBox="1">
          <a:spLocks xmlns:a="http://schemas.openxmlformats.org/drawingml/2006/main" noChangeArrowheads="1"/>
        </cdr:cNvSpPr>
      </cdr:nvSpPr>
      <cdr:spPr bwMode="auto">
        <a:xfrm xmlns:a="http://schemas.openxmlformats.org/drawingml/2006/main">
          <a:off x="3207055" y="0"/>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1"/>
              </a:solidFill>
              <a:latin typeface="+mj-lt"/>
              <a:cs typeface="Arial"/>
            </a:rPr>
            <a:t>Label A</a:t>
          </a:r>
        </a:p>
      </cdr:txBody>
    </cdr:sp>
  </cdr:relSizeAnchor>
  <cdr:relSizeAnchor xmlns:cdr="http://schemas.openxmlformats.org/drawingml/2006/chartDrawing">
    <cdr:from>
      <cdr:x>0.27861</cdr:x>
      <cdr:y>0.05682</cdr:y>
    </cdr:from>
    <cdr:to>
      <cdr:x>0.49753</cdr:x>
      <cdr:y>0.09873</cdr:y>
    </cdr:to>
    <cdr:sp macro="" textlink="">
      <cdr:nvSpPr>
        <cdr:cNvPr id="3" name="Text Box 2"/>
        <cdr:cNvSpPr txBox="1">
          <a:spLocks xmlns:a="http://schemas.openxmlformats.org/drawingml/2006/main" noChangeArrowheads="1"/>
        </cdr:cNvSpPr>
      </cdr:nvSpPr>
      <cdr:spPr bwMode="auto">
        <a:xfrm xmlns:a="http://schemas.openxmlformats.org/drawingml/2006/main">
          <a:off x="3207055" y="243982"/>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3"/>
              </a:solidFill>
              <a:latin typeface="+mj-lt"/>
              <a:cs typeface="Arial"/>
            </a:rPr>
            <a:t>Label B</a:t>
          </a:r>
        </a:p>
      </cdr:txBody>
    </cdr:sp>
  </cdr:relSizeAnchor>
  <cdr:relSizeAnchor xmlns:cdr="http://schemas.openxmlformats.org/drawingml/2006/chartDrawing">
    <cdr:from>
      <cdr:x>0.27861</cdr:x>
      <cdr:y>0.1127</cdr:y>
    </cdr:from>
    <cdr:to>
      <cdr:x>0.49753</cdr:x>
      <cdr:y>0.15462</cdr:y>
    </cdr:to>
    <cdr:sp macro="" textlink="">
      <cdr:nvSpPr>
        <cdr:cNvPr id="4" name="Text Box 3"/>
        <cdr:cNvSpPr txBox="1">
          <a:spLocks xmlns:a="http://schemas.openxmlformats.org/drawingml/2006/main" noChangeArrowheads="1"/>
        </cdr:cNvSpPr>
      </cdr:nvSpPr>
      <cdr:spPr bwMode="auto">
        <a:xfrm xmlns:a="http://schemas.openxmlformats.org/drawingml/2006/main">
          <a:off x="3207055" y="483947"/>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4"/>
              </a:solidFill>
              <a:latin typeface="+mj-lt"/>
              <a:cs typeface="Arial"/>
            </a:rPr>
            <a:t>Label C</a:t>
          </a:r>
        </a:p>
      </cdr:txBody>
    </cdr:sp>
  </cdr:relSizeAnchor>
  <cdr:relSizeAnchor xmlns:cdr="http://schemas.openxmlformats.org/drawingml/2006/chartDrawing">
    <cdr:from>
      <cdr:x>0.27861</cdr:x>
      <cdr:y>0.1622</cdr:y>
    </cdr:from>
    <cdr:to>
      <cdr:x>0.49753</cdr:x>
      <cdr:y>0.20412</cdr:y>
    </cdr:to>
    <cdr:sp macro="" textlink="">
      <cdr:nvSpPr>
        <cdr:cNvPr id="5" name="Text Box 4"/>
        <cdr:cNvSpPr txBox="1">
          <a:spLocks xmlns:a="http://schemas.openxmlformats.org/drawingml/2006/main" noChangeArrowheads="1"/>
        </cdr:cNvSpPr>
      </cdr:nvSpPr>
      <cdr:spPr bwMode="auto">
        <a:xfrm xmlns:a="http://schemas.openxmlformats.org/drawingml/2006/main">
          <a:off x="3207055" y="696530"/>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5"/>
              </a:solidFill>
              <a:latin typeface="+mj-lt"/>
              <a:cs typeface="Arial"/>
            </a:rPr>
            <a:t>Label D</a:t>
          </a:r>
        </a:p>
      </cdr:txBody>
    </cdr:sp>
  </cdr:relSizeAnchor>
  <cdr:relSizeAnchor xmlns:cdr="http://schemas.openxmlformats.org/drawingml/2006/chartDrawing">
    <cdr:from>
      <cdr:x>0.27861</cdr:x>
      <cdr:y>0.21775</cdr:y>
    </cdr:from>
    <cdr:to>
      <cdr:x>0.49753</cdr:x>
      <cdr:y>0.25967</cdr:y>
    </cdr:to>
    <cdr:sp macro="" textlink="">
      <cdr:nvSpPr>
        <cdr:cNvPr id="6" name="Text Box 4"/>
        <cdr:cNvSpPr txBox="1">
          <a:spLocks xmlns:a="http://schemas.openxmlformats.org/drawingml/2006/main" noChangeArrowheads="1"/>
        </cdr:cNvSpPr>
      </cdr:nvSpPr>
      <cdr:spPr bwMode="auto">
        <a:xfrm xmlns:a="http://schemas.openxmlformats.org/drawingml/2006/main">
          <a:off x="3207055" y="935069"/>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1" i="0" strike="noStrike" baseline="0" dirty="0">
              <a:solidFill>
                <a:schemeClr val="accent6"/>
              </a:solidFill>
              <a:latin typeface="+mj-lt"/>
              <a:cs typeface="Arial"/>
            </a:rPr>
            <a:t>Label </a:t>
          </a:r>
          <a:r>
            <a:rPr lang="de-DE" sz="1200" b="1" i="0" strike="noStrike" cap="all" baseline="0" dirty="0">
              <a:solidFill>
                <a:schemeClr val="accent6"/>
              </a:solidFill>
              <a:latin typeface="+mj-lt"/>
              <a:cs typeface="Arial"/>
            </a:rPr>
            <a:t>e</a:t>
          </a:r>
        </a:p>
      </cdr:txBody>
    </cdr:sp>
  </cdr:relSizeAnchor>
</c:userShapes>
</file>

<file path=ppt/drawings/drawing15.xml><?xml version="1.0" encoding="utf-8"?>
<c:userShapes xmlns:c="http://schemas.openxmlformats.org/drawingml/2006/chart">
  <cdr:relSizeAnchor xmlns:cdr="http://schemas.openxmlformats.org/drawingml/2006/chartDrawing">
    <cdr:from>
      <cdr:x>0.87803</cdr:x>
      <cdr:y>0.23474</cdr:y>
    </cdr:from>
    <cdr:to>
      <cdr:x>1</cdr:x>
      <cdr:y>0.28504</cdr:y>
    </cdr:to>
    <cdr:sp macro="" textlink="">
      <cdr:nvSpPr>
        <cdr:cNvPr id="2" name="Text Box 1"/>
        <cdr:cNvSpPr txBox="1">
          <a:spLocks xmlns:a="http://schemas.openxmlformats.org/drawingml/2006/main" noChangeArrowheads="1"/>
        </cdr:cNvSpPr>
      </cdr:nvSpPr>
      <cdr:spPr bwMode="auto">
        <a:xfrm xmlns:a="http://schemas.openxmlformats.org/drawingml/2006/main">
          <a:off x="10114172" y="1008027"/>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6"/>
              </a:solidFill>
              <a:latin typeface="+mj-lt"/>
              <a:cs typeface="Arial"/>
            </a:rPr>
            <a:t>Group </a:t>
          </a:r>
          <a:r>
            <a:rPr lang="de-DE" sz="1200" b="1" i="0" strike="noStrike" cap="all" baseline="0" dirty="0">
              <a:solidFill>
                <a:schemeClr val="accent6"/>
              </a:solidFill>
              <a:latin typeface="+mj-lt"/>
              <a:cs typeface="Arial"/>
            </a:rPr>
            <a:t>A</a:t>
          </a:r>
        </a:p>
      </cdr:txBody>
    </cdr:sp>
  </cdr:relSizeAnchor>
  <cdr:relSizeAnchor xmlns:cdr="http://schemas.openxmlformats.org/drawingml/2006/chartDrawing">
    <cdr:from>
      <cdr:x>0.87803</cdr:x>
      <cdr:y>0.39673</cdr:y>
    </cdr:from>
    <cdr:to>
      <cdr:x>1</cdr:x>
      <cdr:y>0.44703</cdr:y>
    </cdr:to>
    <cdr:sp macro="" textlink="">
      <cdr:nvSpPr>
        <cdr:cNvPr id="3" name="Text Box 2"/>
        <cdr:cNvSpPr txBox="1">
          <a:spLocks xmlns:a="http://schemas.openxmlformats.org/drawingml/2006/main" noChangeArrowheads="1"/>
        </cdr:cNvSpPr>
      </cdr:nvSpPr>
      <cdr:spPr bwMode="auto">
        <a:xfrm xmlns:a="http://schemas.openxmlformats.org/drawingml/2006/main">
          <a:off x="10114172" y="1703624"/>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3"/>
              </a:solidFill>
              <a:latin typeface="+mj-lt"/>
              <a:cs typeface="Arial"/>
            </a:rPr>
            <a:t>Group </a:t>
          </a:r>
          <a:r>
            <a:rPr lang="de-DE" sz="1200" b="1" i="0" strike="noStrike" cap="all" baseline="0" dirty="0">
              <a:solidFill>
                <a:schemeClr val="accent3"/>
              </a:solidFill>
              <a:latin typeface="+mj-lt"/>
              <a:cs typeface="Arial"/>
            </a:rPr>
            <a:t>B</a:t>
          </a:r>
        </a:p>
      </cdr:txBody>
    </cdr:sp>
  </cdr:relSizeAnchor>
  <cdr:relSizeAnchor xmlns:cdr="http://schemas.openxmlformats.org/drawingml/2006/chartDrawing">
    <cdr:from>
      <cdr:x>0.87803</cdr:x>
      <cdr:y>0.15375</cdr:y>
    </cdr:from>
    <cdr:to>
      <cdr:x>1</cdr:x>
      <cdr:y>0.20405</cdr:y>
    </cdr:to>
    <cdr:sp macro="" textlink="">
      <cdr:nvSpPr>
        <cdr:cNvPr id="4" name="Text Box 3"/>
        <cdr:cNvSpPr txBox="1">
          <a:spLocks xmlns:a="http://schemas.openxmlformats.org/drawingml/2006/main" noChangeArrowheads="1"/>
        </cdr:cNvSpPr>
      </cdr:nvSpPr>
      <cdr:spPr bwMode="auto">
        <a:xfrm xmlns:a="http://schemas.openxmlformats.org/drawingml/2006/main">
          <a:off x="10114172" y="660228"/>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4"/>
              </a:solidFill>
              <a:latin typeface="+mj-lt"/>
              <a:cs typeface="Arial"/>
            </a:rPr>
            <a:t>Group </a:t>
          </a:r>
          <a:r>
            <a:rPr lang="de-DE" sz="1200" b="1" i="0" strike="noStrike" cap="all" baseline="0" dirty="0">
              <a:solidFill>
                <a:schemeClr val="accent4"/>
              </a:solidFill>
              <a:latin typeface="+mj-lt"/>
              <a:cs typeface="Arial"/>
            </a:rPr>
            <a:t>C</a:t>
          </a:r>
        </a:p>
      </cdr:txBody>
    </cdr:sp>
  </cdr:relSizeAnchor>
  <cdr:relSizeAnchor xmlns:cdr="http://schemas.openxmlformats.org/drawingml/2006/chartDrawing">
    <cdr:from>
      <cdr:x>0.87803</cdr:x>
      <cdr:y>0.31574</cdr:y>
    </cdr:from>
    <cdr:to>
      <cdr:x>1</cdr:x>
      <cdr:y>0.36604</cdr:y>
    </cdr:to>
    <cdr:sp macro="" textlink="">
      <cdr:nvSpPr>
        <cdr:cNvPr id="5" name="Text Box 4"/>
        <cdr:cNvSpPr txBox="1">
          <a:spLocks xmlns:a="http://schemas.openxmlformats.org/drawingml/2006/main" noChangeArrowheads="1"/>
        </cdr:cNvSpPr>
      </cdr:nvSpPr>
      <cdr:spPr bwMode="auto">
        <a:xfrm xmlns:a="http://schemas.openxmlformats.org/drawingml/2006/main">
          <a:off x="10114172" y="1355826"/>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1"/>
              </a:solidFill>
              <a:latin typeface="+mj-lt"/>
              <a:cs typeface="Arial"/>
            </a:rPr>
            <a:t>Group </a:t>
          </a:r>
          <a:r>
            <a:rPr lang="de-DE" sz="1200" b="1" i="0" strike="noStrike" cap="all" baseline="0" dirty="0">
              <a:solidFill>
                <a:schemeClr val="accent1"/>
              </a:solidFill>
              <a:latin typeface="+mj-lt"/>
              <a:cs typeface="Arial"/>
            </a:rPr>
            <a:t>D</a:t>
          </a:r>
        </a:p>
      </cdr:txBody>
    </cdr:sp>
  </cdr:relSizeAnchor>
</c:userShapes>
</file>

<file path=ppt/drawings/drawing16.xml><?xml version="1.0" encoding="utf-8"?>
<c:userShapes xmlns:c="http://schemas.openxmlformats.org/drawingml/2006/chart">
  <cdr:relSizeAnchor xmlns:cdr="http://schemas.openxmlformats.org/drawingml/2006/chartDrawing">
    <cdr:from>
      <cdr:x>0.87803</cdr:x>
      <cdr:y>0.2383</cdr:y>
    </cdr:from>
    <cdr:to>
      <cdr:x>1</cdr:x>
      <cdr:y>0.2886</cdr:y>
    </cdr:to>
    <cdr:sp macro="" textlink="">
      <cdr:nvSpPr>
        <cdr:cNvPr id="2" name="Text Box 1"/>
        <cdr:cNvSpPr txBox="1">
          <a:spLocks xmlns:a="http://schemas.openxmlformats.org/drawingml/2006/main" noChangeArrowheads="1"/>
        </cdr:cNvSpPr>
      </cdr:nvSpPr>
      <cdr:spPr bwMode="auto">
        <a:xfrm xmlns:a="http://schemas.openxmlformats.org/drawingml/2006/main">
          <a:off x="10042853" y="890223"/>
          <a:ext cx="1395085" cy="18790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6"/>
              </a:solidFill>
              <a:latin typeface="+mj-lt"/>
              <a:cs typeface="Arial"/>
            </a:rPr>
            <a:t>Group </a:t>
          </a:r>
          <a:r>
            <a:rPr lang="de-DE" sz="1200" b="1" i="0" strike="noStrike" cap="all" baseline="0" dirty="0">
              <a:solidFill>
                <a:schemeClr val="accent6"/>
              </a:solidFill>
              <a:latin typeface="+mj-lt"/>
              <a:cs typeface="Arial"/>
            </a:rPr>
            <a:t>A</a:t>
          </a:r>
        </a:p>
      </cdr:txBody>
    </cdr:sp>
  </cdr:relSizeAnchor>
  <cdr:relSizeAnchor xmlns:cdr="http://schemas.openxmlformats.org/drawingml/2006/chartDrawing">
    <cdr:from>
      <cdr:x>0.87803</cdr:x>
      <cdr:y>0.38327</cdr:y>
    </cdr:from>
    <cdr:to>
      <cdr:x>1</cdr:x>
      <cdr:y>0.43357</cdr:y>
    </cdr:to>
    <cdr:sp macro="" textlink="">
      <cdr:nvSpPr>
        <cdr:cNvPr id="3" name="Text Box 2"/>
        <cdr:cNvSpPr txBox="1">
          <a:spLocks xmlns:a="http://schemas.openxmlformats.org/drawingml/2006/main" noChangeArrowheads="1"/>
        </cdr:cNvSpPr>
      </cdr:nvSpPr>
      <cdr:spPr bwMode="auto">
        <a:xfrm xmlns:a="http://schemas.openxmlformats.org/drawingml/2006/main">
          <a:off x="10042853" y="1431770"/>
          <a:ext cx="1395085" cy="18790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3"/>
              </a:solidFill>
              <a:latin typeface="+mj-lt"/>
              <a:cs typeface="Arial"/>
            </a:rPr>
            <a:t>Group </a:t>
          </a:r>
          <a:r>
            <a:rPr lang="de-DE" sz="1200" b="1" i="0" strike="noStrike" cap="all" baseline="0" dirty="0">
              <a:solidFill>
                <a:schemeClr val="accent3"/>
              </a:solidFill>
              <a:latin typeface="+mj-lt"/>
              <a:cs typeface="Arial"/>
            </a:rPr>
            <a:t>B</a:t>
          </a:r>
        </a:p>
      </cdr:txBody>
    </cdr:sp>
  </cdr:relSizeAnchor>
  <cdr:relSizeAnchor xmlns:cdr="http://schemas.openxmlformats.org/drawingml/2006/chartDrawing">
    <cdr:from>
      <cdr:x>0.87803</cdr:x>
      <cdr:y>0.16582</cdr:y>
    </cdr:from>
    <cdr:to>
      <cdr:x>1</cdr:x>
      <cdr:y>0.21612</cdr:y>
    </cdr:to>
    <cdr:sp macro="" textlink="">
      <cdr:nvSpPr>
        <cdr:cNvPr id="4" name="Text Box 3"/>
        <cdr:cNvSpPr txBox="1">
          <a:spLocks xmlns:a="http://schemas.openxmlformats.org/drawingml/2006/main" noChangeArrowheads="1"/>
        </cdr:cNvSpPr>
      </cdr:nvSpPr>
      <cdr:spPr bwMode="auto">
        <a:xfrm xmlns:a="http://schemas.openxmlformats.org/drawingml/2006/main">
          <a:off x="10042853" y="619449"/>
          <a:ext cx="1395085" cy="18790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4"/>
              </a:solidFill>
              <a:latin typeface="+mj-lt"/>
              <a:cs typeface="Arial"/>
            </a:rPr>
            <a:t>Group </a:t>
          </a:r>
          <a:r>
            <a:rPr lang="de-DE" sz="1200" b="1" i="0" strike="noStrike" cap="all" baseline="0" dirty="0">
              <a:solidFill>
                <a:schemeClr val="accent4"/>
              </a:solidFill>
              <a:latin typeface="+mj-lt"/>
              <a:cs typeface="Arial"/>
            </a:rPr>
            <a:t>C</a:t>
          </a:r>
        </a:p>
      </cdr:txBody>
    </cdr:sp>
  </cdr:relSizeAnchor>
  <cdr:relSizeAnchor xmlns:cdr="http://schemas.openxmlformats.org/drawingml/2006/chartDrawing">
    <cdr:from>
      <cdr:x>0.87803</cdr:x>
      <cdr:y>0.31079</cdr:y>
    </cdr:from>
    <cdr:to>
      <cdr:x>1</cdr:x>
      <cdr:y>0.36109</cdr:y>
    </cdr:to>
    <cdr:sp macro="" textlink="">
      <cdr:nvSpPr>
        <cdr:cNvPr id="5" name="Text Box 4"/>
        <cdr:cNvSpPr txBox="1">
          <a:spLocks xmlns:a="http://schemas.openxmlformats.org/drawingml/2006/main" noChangeArrowheads="1"/>
        </cdr:cNvSpPr>
      </cdr:nvSpPr>
      <cdr:spPr bwMode="auto">
        <a:xfrm xmlns:a="http://schemas.openxmlformats.org/drawingml/2006/main">
          <a:off x="10042853" y="1160997"/>
          <a:ext cx="1395085" cy="18790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1" i="0" strike="noStrike" baseline="0" dirty="0">
              <a:solidFill>
                <a:schemeClr val="accent1"/>
              </a:solidFill>
              <a:latin typeface="+mj-lt"/>
              <a:cs typeface="Arial"/>
            </a:rPr>
            <a:t>Group </a:t>
          </a:r>
          <a:r>
            <a:rPr lang="de-DE" sz="1200" b="1" i="0" strike="noStrike" cap="all" baseline="0" dirty="0">
              <a:solidFill>
                <a:schemeClr val="accent1"/>
              </a:solidFill>
              <a:latin typeface="+mj-lt"/>
              <a:cs typeface="Arial"/>
            </a:rPr>
            <a:t>D</a:t>
          </a:r>
        </a:p>
      </cdr:txBody>
    </cdr:sp>
  </cdr:relSizeAnchor>
</c:userShapes>
</file>

<file path=ppt/drawings/drawing17.xml><?xml version="1.0" encoding="utf-8"?>
<c:userShapes xmlns:c="http://schemas.openxmlformats.org/drawingml/2006/chart">
  <cdr:relSizeAnchor xmlns:cdr="http://schemas.openxmlformats.org/drawingml/2006/chartDrawing">
    <cdr:from>
      <cdr:x>0.5085</cdr:x>
      <cdr:y>0.47275</cdr:y>
    </cdr:from>
    <cdr:to>
      <cdr:x>0.516</cdr:x>
      <cdr:y>0.52</cdr:y>
    </cdr:to>
    <cdr:sp macro="" textlink="">
      <cdr:nvSpPr>
        <cdr:cNvPr id="1025" name="Text 1"/>
        <cdr:cNvSpPr txBox="1">
          <a:spLocks xmlns:a="http://schemas.openxmlformats.org/drawingml/2006/main" noChangeArrowheads="1"/>
        </cdr:cNvSpPr>
      </cdr:nvSpPr>
      <cdr:spPr bwMode="auto">
        <a:xfrm xmlns:a="http://schemas.openxmlformats.org/drawingml/2006/main">
          <a:off x="3908674" y="1810183"/>
          <a:ext cx="57650" cy="180923"/>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dr:relSizeAnchor xmlns:cdr="http://schemas.openxmlformats.org/drawingml/2006/chartDrawing">
    <cdr:from>
      <cdr:x>0.87803</cdr:x>
      <cdr:y>0.36612</cdr:y>
    </cdr:from>
    <cdr:to>
      <cdr:x>1</cdr:x>
      <cdr:y>0.41642</cdr:y>
    </cdr:to>
    <cdr:sp macro="" textlink="">
      <cdr:nvSpPr>
        <cdr:cNvPr id="3" name="Text Box 1"/>
        <cdr:cNvSpPr txBox="1">
          <a:spLocks xmlns:a="http://schemas.openxmlformats.org/drawingml/2006/main" noChangeArrowheads="1"/>
        </cdr:cNvSpPr>
      </cdr:nvSpPr>
      <cdr:spPr bwMode="auto">
        <a:xfrm xmlns:a="http://schemas.openxmlformats.org/drawingml/2006/main">
          <a:off x="10115325" y="1572206"/>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D</a:t>
          </a:r>
        </a:p>
      </cdr:txBody>
    </cdr:sp>
  </cdr:relSizeAnchor>
  <cdr:relSizeAnchor xmlns:cdr="http://schemas.openxmlformats.org/drawingml/2006/chartDrawing">
    <cdr:from>
      <cdr:x>0.87803</cdr:x>
      <cdr:y>0.66339</cdr:y>
    </cdr:from>
    <cdr:to>
      <cdr:x>1</cdr:x>
      <cdr:y>0.71369</cdr:y>
    </cdr:to>
    <cdr:sp macro="" textlink="">
      <cdr:nvSpPr>
        <cdr:cNvPr id="4" name="Text Box 2"/>
        <cdr:cNvSpPr txBox="1">
          <a:spLocks xmlns:a="http://schemas.openxmlformats.org/drawingml/2006/main" noChangeArrowheads="1"/>
        </cdr:cNvSpPr>
      </cdr:nvSpPr>
      <cdr:spPr bwMode="auto">
        <a:xfrm xmlns:a="http://schemas.openxmlformats.org/drawingml/2006/main">
          <a:off x="10115325" y="2848716"/>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B</a:t>
          </a:r>
        </a:p>
      </cdr:txBody>
    </cdr:sp>
  </cdr:relSizeAnchor>
  <cdr:relSizeAnchor xmlns:cdr="http://schemas.openxmlformats.org/drawingml/2006/chartDrawing">
    <cdr:from>
      <cdr:x>0.87803</cdr:x>
      <cdr:y>0.23503</cdr:y>
    </cdr:from>
    <cdr:to>
      <cdr:x>1</cdr:x>
      <cdr:y>0.28533</cdr:y>
    </cdr:to>
    <cdr:sp macro="" textlink="">
      <cdr:nvSpPr>
        <cdr:cNvPr id="5" name="Text Box 3"/>
        <cdr:cNvSpPr txBox="1">
          <a:spLocks xmlns:a="http://schemas.openxmlformats.org/drawingml/2006/main" noChangeArrowheads="1"/>
        </cdr:cNvSpPr>
      </cdr:nvSpPr>
      <cdr:spPr bwMode="auto">
        <a:xfrm xmlns:a="http://schemas.openxmlformats.org/drawingml/2006/main">
          <a:off x="10115325" y="1009254"/>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E</a:t>
          </a:r>
        </a:p>
      </cdr:txBody>
    </cdr:sp>
  </cdr:relSizeAnchor>
  <cdr:relSizeAnchor xmlns:cdr="http://schemas.openxmlformats.org/drawingml/2006/chartDrawing">
    <cdr:from>
      <cdr:x>0.87803</cdr:x>
      <cdr:y>0.5</cdr:y>
    </cdr:from>
    <cdr:to>
      <cdr:x>1</cdr:x>
      <cdr:y>0.5503</cdr:y>
    </cdr:to>
    <cdr:sp macro="" textlink="">
      <cdr:nvSpPr>
        <cdr:cNvPr id="6" name="Text Box 4"/>
        <cdr:cNvSpPr txBox="1">
          <a:spLocks xmlns:a="http://schemas.openxmlformats.org/drawingml/2006/main" noChangeArrowheads="1"/>
        </cdr:cNvSpPr>
      </cdr:nvSpPr>
      <cdr:spPr bwMode="auto">
        <a:xfrm xmlns:a="http://schemas.openxmlformats.org/drawingml/2006/main">
          <a:off x="10115325" y="2147093"/>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C</a:t>
          </a:r>
        </a:p>
      </cdr:txBody>
    </cdr:sp>
  </cdr:relSizeAnchor>
  <cdr:relSizeAnchor xmlns:cdr="http://schemas.openxmlformats.org/drawingml/2006/chartDrawing">
    <cdr:from>
      <cdr:x>0.87803</cdr:x>
      <cdr:y>0.83625</cdr:y>
    </cdr:from>
    <cdr:to>
      <cdr:x>1</cdr:x>
      <cdr:y>0.88655</cdr:y>
    </cdr:to>
    <cdr:sp macro="" textlink="">
      <cdr:nvSpPr>
        <cdr:cNvPr id="7" name="Text Box 2"/>
        <cdr:cNvSpPr txBox="1">
          <a:spLocks xmlns:a="http://schemas.openxmlformats.org/drawingml/2006/main" noChangeArrowheads="1"/>
        </cdr:cNvSpPr>
      </cdr:nvSpPr>
      <cdr:spPr bwMode="auto">
        <a:xfrm xmlns:a="http://schemas.openxmlformats.org/drawingml/2006/main">
          <a:off x="10115325" y="3590993"/>
          <a:ext cx="1405162"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400" dirty="0">
              <a:solidFill>
                <a:schemeClr val="tx2"/>
              </a:solidFill>
            </a:rPr>
            <a:t>Label A</a:t>
          </a:r>
        </a:p>
      </cdr:txBody>
    </cdr:sp>
  </cdr:relSizeAnchor>
</c:userShapes>
</file>

<file path=ppt/drawings/drawing18.xml><?xml version="1.0" encoding="utf-8"?>
<c:userShapes xmlns:c="http://schemas.openxmlformats.org/drawingml/2006/chart">
  <cdr:relSizeAnchor xmlns:cdr="http://schemas.openxmlformats.org/drawingml/2006/chartDrawing">
    <cdr:from>
      <cdr:x>0.52225</cdr:x>
      <cdr:y>0.488</cdr:y>
    </cdr:from>
    <cdr:to>
      <cdr:x>0.5265</cdr:x>
      <cdr:y>0.53425</cdr:y>
    </cdr:to>
    <cdr:sp macro="" textlink="">
      <cdr:nvSpPr>
        <cdr:cNvPr id="1025" name="Text 1"/>
        <cdr:cNvSpPr txBox="1">
          <a:spLocks xmlns:a="http://schemas.openxmlformats.org/drawingml/2006/main" noChangeArrowheads="1"/>
        </cdr:cNvSpPr>
      </cdr:nvSpPr>
      <cdr:spPr bwMode="auto">
        <a:xfrm xmlns:a="http://schemas.openxmlformats.org/drawingml/2006/main">
          <a:off x="4651093" y="1905762"/>
          <a:ext cx="37850" cy="180618"/>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dr:relSizeAnchor xmlns:cdr="http://schemas.openxmlformats.org/drawingml/2006/chartDrawing">
    <cdr:from>
      <cdr:x>0.85721</cdr:x>
      <cdr:y>0.26125</cdr:y>
    </cdr:from>
    <cdr:to>
      <cdr:x>0.98694</cdr:x>
      <cdr:y>0.31155</cdr:y>
    </cdr:to>
    <cdr:sp macro="" textlink="">
      <cdr:nvSpPr>
        <cdr:cNvPr id="3" name="Text Box 1">
          <a:extLst xmlns:a="http://schemas.openxmlformats.org/drawingml/2006/main">
            <a:ext uri="{FF2B5EF4-FFF2-40B4-BE49-F238E27FC236}">
              <a16:creationId xmlns:a16="http://schemas.microsoft.com/office/drawing/2014/main" id="{392AC87A-6FE3-4122-ABCE-FB47320111C1}"/>
            </a:ext>
          </a:extLst>
        </cdr:cNvPr>
        <cdr:cNvSpPr txBox="1">
          <a:spLocks xmlns:a="http://schemas.openxmlformats.org/drawingml/2006/main" noChangeArrowheads="1"/>
        </cdr:cNvSpPr>
      </cdr:nvSpPr>
      <cdr:spPr bwMode="auto">
        <a:xfrm xmlns:a="http://schemas.openxmlformats.org/drawingml/2006/main">
          <a:off x="8749352" y="1121865"/>
          <a:ext cx="1324086"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D</a:t>
          </a:r>
        </a:p>
      </cdr:txBody>
    </cdr:sp>
  </cdr:relSizeAnchor>
  <cdr:relSizeAnchor xmlns:cdr="http://schemas.openxmlformats.org/drawingml/2006/chartDrawing">
    <cdr:from>
      <cdr:x>0.85721</cdr:x>
      <cdr:y>0.63617</cdr:y>
    </cdr:from>
    <cdr:to>
      <cdr:x>0.98694</cdr:x>
      <cdr:y>0.68648</cdr:y>
    </cdr:to>
    <cdr:sp macro="" textlink="">
      <cdr:nvSpPr>
        <cdr:cNvPr id="4" name="Text Box 2">
          <a:extLst xmlns:a="http://schemas.openxmlformats.org/drawingml/2006/main">
            <a:ext uri="{FF2B5EF4-FFF2-40B4-BE49-F238E27FC236}">
              <a16:creationId xmlns:a16="http://schemas.microsoft.com/office/drawing/2014/main" id="{12ECA8A5-97E2-4D49-AA90-228AB9DE035A}"/>
            </a:ext>
          </a:extLst>
        </cdr:cNvPr>
        <cdr:cNvSpPr txBox="1">
          <a:spLocks xmlns:a="http://schemas.openxmlformats.org/drawingml/2006/main" noChangeArrowheads="1"/>
        </cdr:cNvSpPr>
      </cdr:nvSpPr>
      <cdr:spPr bwMode="auto">
        <a:xfrm xmlns:a="http://schemas.openxmlformats.org/drawingml/2006/main">
          <a:off x="8749352" y="2731842"/>
          <a:ext cx="1324086" cy="21604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B</a:t>
          </a:r>
        </a:p>
      </cdr:txBody>
    </cdr:sp>
  </cdr:relSizeAnchor>
  <cdr:relSizeAnchor xmlns:cdr="http://schemas.openxmlformats.org/drawingml/2006/chartDrawing">
    <cdr:from>
      <cdr:x>0.85721</cdr:x>
      <cdr:y>0.11534</cdr:y>
    </cdr:from>
    <cdr:to>
      <cdr:x>0.98694</cdr:x>
      <cdr:y>0.16564</cdr:y>
    </cdr:to>
    <cdr:sp macro="" textlink="">
      <cdr:nvSpPr>
        <cdr:cNvPr id="5" name="Text Box 3">
          <a:extLst xmlns:a="http://schemas.openxmlformats.org/drawingml/2006/main">
            <a:ext uri="{FF2B5EF4-FFF2-40B4-BE49-F238E27FC236}">
              <a16:creationId xmlns:a16="http://schemas.microsoft.com/office/drawing/2014/main" id="{FC613C2C-5707-45F4-B89F-58968C615826}"/>
            </a:ext>
          </a:extLst>
        </cdr:cNvPr>
        <cdr:cNvSpPr txBox="1">
          <a:spLocks xmlns:a="http://schemas.openxmlformats.org/drawingml/2006/main" noChangeArrowheads="1"/>
        </cdr:cNvSpPr>
      </cdr:nvSpPr>
      <cdr:spPr bwMode="auto">
        <a:xfrm xmlns:a="http://schemas.openxmlformats.org/drawingml/2006/main">
          <a:off x="8749352" y="495300"/>
          <a:ext cx="1324086"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E</a:t>
          </a:r>
        </a:p>
      </cdr:txBody>
    </cdr:sp>
  </cdr:relSizeAnchor>
  <cdr:relSizeAnchor xmlns:cdr="http://schemas.openxmlformats.org/drawingml/2006/chartDrawing">
    <cdr:from>
      <cdr:x>0.85721</cdr:x>
      <cdr:y>0.42519</cdr:y>
    </cdr:from>
    <cdr:to>
      <cdr:x>0.98694</cdr:x>
      <cdr:y>0.47549</cdr:y>
    </cdr:to>
    <cdr:sp macro="" textlink="">
      <cdr:nvSpPr>
        <cdr:cNvPr id="6" name="Text Box 4">
          <a:extLst xmlns:a="http://schemas.openxmlformats.org/drawingml/2006/main">
            <a:ext uri="{FF2B5EF4-FFF2-40B4-BE49-F238E27FC236}">
              <a16:creationId xmlns:a16="http://schemas.microsoft.com/office/drawing/2014/main" id="{2B678EE8-C271-4541-80F0-5B8E551472E8}"/>
            </a:ext>
          </a:extLst>
        </cdr:cNvPr>
        <cdr:cNvSpPr txBox="1">
          <a:spLocks xmlns:a="http://schemas.openxmlformats.org/drawingml/2006/main" noChangeArrowheads="1"/>
        </cdr:cNvSpPr>
      </cdr:nvSpPr>
      <cdr:spPr bwMode="auto">
        <a:xfrm xmlns:a="http://schemas.openxmlformats.org/drawingml/2006/main">
          <a:off x="8749352" y="1825854"/>
          <a:ext cx="1324086"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C</a:t>
          </a:r>
        </a:p>
      </cdr:txBody>
    </cdr:sp>
  </cdr:relSizeAnchor>
  <cdr:relSizeAnchor xmlns:cdr="http://schemas.openxmlformats.org/drawingml/2006/chartDrawing">
    <cdr:from>
      <cdr:x>0.85721</cdr:x>
      <cdr:y>0.80347</cdr:y>
    </cdr:from>
    <cdr:to>
      <cdr:x>0.98694</cdr:x>
      <cdr:y>0.85377</cdr:y>
    </cdr:to>
    <cdr:sp macro="" textlink="">
      <cdr:nvSpPr>
        <cdr:cNvPr id="7" name="Text Box 2">
          <a:extLst xmlns:a="http://schemas.openxmlformats.org/drawingml/2006/main">
            <a:ext uri="{FF2B5EF4-FFF2-40B4-BE49-F238E27FC236}">
              <a16:creationId xmlns:a16="http://schemas.microsoft.com/office/drawing/2014/main" id="{C1C74A96-3811-4E89-BDBA-72E5EF110E77}"/>
            </a:ext>
          </a:extLst>
        </cdr:cNvPr>
        <cdr:cNvSpPr txBox="1">
          <a:spLocks xmlns:a="http://schemas.openxmlformats.org/drawingml/2006/main" noChangeArrowheads="1"/>
        </cdr:cNvSpPr>
      </cdr:nvSpPr>
      <cdr:spPr bwMode="auto">
        <a:xfrm xmlns:a="http://schemas.openxmlformats.org/drawingml/2006/main">
          <a:off x="8749352" y="3450268"/>
          <a:ext cx="1324086"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400" dirty="0">
              <a:solidFill>
                <a:schemeClr val="tx2"/>
              </a:solidFill>
            </a:rPr>
            <a:t>Label A</a:t>
          </a:r>
        </a:p>
      </cdr:txBody>
    </cdr:sp>
  </cdr:relSizeAnchor>
</c:userShapes>
</file>

<file path=ppt/drawings/drawing2.xml><?xml version="1.0" encoding="utf-8"?>
<c:userShapes xmlns:c="http://schemas.openxmlformats.org/drawingml/2006/chart">
  <cdr:relSizeAnchor xmlns:cdr="http://schemas.openxmlformats.org/drawingml/2006/chartDrawing">
    <cdr:from>
      <cdr:x>0.00197</cdr:x>
      <cdr:y>0.82555</cdr:y>
    </cdr:from>
    <cdr:to>
      <cdr:x>0.18567</cdr:x>
      <cdr:y>0.89085</cdr:y>
    </cdr:to>
    <cdr:sp macro="" textlink="">
      <cdr:nvSpPr>
        <cdr:cNvPr id="1025" name="Text Box 1"/>
        <cdr:cNvSpPr txBox="1">
          <a:spLocks xmlns:a="http://schemas.openxmlformats.org/drawingml/2006/main" noChangeArrowheads="1"/>
        </cdr:cNvSpPr>
      </cdr:nvSpPr>
      <cdr:spPr bwMode="auto">
        <a:xfrm xmlns:a="http://schemas.openxmlformats.org/drawingml/2006/main">
          <a:off x="22677" y="3132472"/>
          <a:ext cx="2116899"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mn-lt"/>
              <a:cs typeface="Arial"/>
            </a:rPr>
            <a:t>Label A</a:t>
          </a:r>
        </a:p>
      </cdr:txBody>
    </cdr:sp>
  </cdr:relSizeAnchor>
  <cdr:relSizeAnchor xmlns:cdr="http://schemas.openxmlformats.org/drawingml/2006/chartDrawing">
    <cdr:from>
      <cdr:x>0.00197</cdr:x>
      <cdr:y>0.58929</cdr:y>
    </cdr:from>
    <cdr:to>
      <cdr:x>0.18567</cdr:x>
      <cdr:y>0.65459</cdr:y>
    </cdr:to>
    <cdr:sp macro="" textlink="">
      <cdr:nvSpPr>
        <cdr:cNvPr id="1026" name="Text Box 2"/>
        <cdr:cNvSpPr txBox="1">
          <a:spLocks xmlns:a="http://schemas.openxmlformats.org/drawingml/2006/main" noChangeArrowheads="1"/>
        </cdr:cNvSpPr>
      </cdr:nvSpPr>
      <cdr:spPr bwMode="auto">
        <a:xfrm xmlns:a="http://schemas.openxmlformats.org/drawingml/2006/main">
          <a:off x="22677" y="2236006"/>
          <a:ext cx="2116899"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mn-lt"/>
              <a:cs typeface="Arial"/>
            </a:rPr>
            <a:t>Label B</a:t>
          </a:r>
        </a:p>
      </cdr:txBody>
    </cdr:sp>
  </cdr:relSizeAnchor>
  <cdr:relSizeAnchor xmlns:cdr="http://schemas.openxmlformats.org/drawingml/2006/chartDrawing">
    <cdr:from>
      <cdr:x>0.00197</cdr:x>
      <cdr:y>0.35273</cdr:y>
    </cdr:from>
    <cdr:to>
      <cdr:x>0.18846</cdr:x>
      <cdr:y>0.41803</cdr:y>
    </cdr:to>
    <cdr:sp macro="" textlink="">
      <cdr:nvSpPr>
        <cdr:cNvPr id="1027" name="Text Box 3"/>
        <cdr:cNvSpPr txBox="1">
          <a:spLocks xmlns:a="http://schemas.openxmlformats.org/drawingml/2006/main" noChangeArrowheads="1"/>
        </cdr:cNvSpPr>
      </cdr:nvSpPr>
      <cdr:spPr bwMode="auto">
        <a:xfrm xmlns:a="http://schemas.openxmlformats.org/drawingml/2006/main">
          <a:off x="22677" y="1338397"/>
          <a:ext cx="2149023"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mn-lt"/>
              <a:cs typeface="Arial"/>
            </a:rPr>
            <a:t>Label C</a:t>
          </a:r>
        </a:p>
      </cdr:txBody>
    </cdr:sp>
  </cdr:relSizeAnchor>
  <cdr:relSizeAnchor xmlns:cdr="http://schemas.openxmlformats.org/drawingml/2006/chartDrawing">
    <cdr:from>
      <cdr:x>0.00197</cdr:x>
      <cdr:y>0.11798</cdr:y>
    </cdr:from>
    <cdr:to>
      <cdr:x>0.18846</cdr:x>
      <cdr:y>0.18328</cdr:y>
    </cdr:to>
    <cdr:sp macro="" textlink="">
      <cdr:nvSpPr>
        <cdr:cNvPr id="1028" name="Text Box 4"/>
        <cdr:cNvSpPr txBox="1">
          <a:spLocks xmlns:a="http://schemas.openxmlformats.org/drawingml/2006/main" noChangeArrowheads="1"/>
        </cdr:cNvSpPr>
      </cdr:nvSpPr>
      <cdr:spPr bwMode="auto">
        <a:xfrm xmlns:a="http://schemas.openxmlformats.org/drawingml/2006/main">
          <a:off x="22677" y="447661"/>
          <a:ext cx="2149023"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l" rtl="0">
            <a:defRPr sz="1000"/>
          </a:pPr>
          <a:r>
            <a:rPr lang="de-DE" sz="1400" b="0" i="0" u="none" strike="noStrike" baseline="0" dirty="0">
              <a:solidFill>
                <a:schemeClr val="tx2"/>
              </a:solidFill>
              <a:latin typeface="+mn-lt"/>
              <a:cs typeface="Arial"/>
            </a:rPr>
            <a:t>Label D</a:t>
          </a:r>
        </a:p>
      </cdr:txBody>
    </cdr:sp>
  </cdr:relSizeAnchor>
</c:userShapes>
</file>

<file path=ppt/drawings/drawing3.xml><?xml version="1.0" encoding="utf-8"?>
<c:userShapes xmlns:c="http://schemas.openxmlformats.org/drawingml/2006/chart">
  <cdr:relSizeAnchor xmlns:cdr="http://schemas.openxmlformats.org/drawingml/2006/chartDrawing">
    <cdr:from>
      <cdr:x>0.0555</cdr:x>
      <cdr:y>0</cdr:y>
    </cdr:from>
    <cdr:to>
      <cdr:x>0.073</cdr:x>
      <cdr:y>0.06975</cdr:y>
    </cdr:to>
    <cdr:sp macro="" textlink="">
      <cdr:nvSpPr>
        <cdr:cNvPr id="1025" name="Text Box 1"/>
        <cdr:cNvSpPr txBox="1">
          <a:spLocks xmlns:a="http://schemas.openxmlformats.org/drawingml/2006/main" noChangeArrowheads="1"/>
        </cdr:cNvSpPr>
      </cdr:nvSpPr>
      <cdr:spPr bwMode="auto">
        <a:xfrm xmlns:a="http://schemas.openxmlformats.org/drawingml/2006/main">
          <a:off x="271191" y="-80986"/>
          <a:ext cx="85511" cy="237844"/>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userShapes>
</file>

<file path=ppt/drawings/drawing4.xml><?xml version="1.0" encoding="utf-8"?>
<c:userShapes xmlns:c="http://schemas.openxmlformats.org/drawingml/2006/chart">
  <cdr:relSizeAnchor xmlns:cdr="http://schemas.openxmlformats.org/drawingml/2006/chartDrawing">
    <cdr:from>
      <cdr:x>0.27225</cdr:x>
      <cdr:y>0</cdr:y>
    </cdr:from>
    <cdr:to>
      <cdr:x>0.29225</cdr:x>
      <cdr:y>0.0645</cdr:y>
    </cdr:to>
    <cdr:sp macro="" textlink="">
      <cdr:nvSpPr>
        <cdr:cNvPr id="1025" name="Text Box 1"/>
        <cdr:cNvSpPr txBox="1">
          <a:spLocks xmlns:a="http://schemas.openxmlformats.org/drawingml/2006/main" noChangeArrowheads="1"/>
        </cdr:cNvSpPr>
      </cdr:nvSpPr>
      <cdr:spPr bwMode="auto">
        <a:xfrm xmlns:a="http://schemas.openxmlformats.org/drawingml/2006/main">
          <a:off x="1164338" y="-94362"/>
          <a:ext cx="85535" cy="219328"/>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userShapes>
</file>

<file path=ppt/drawings/drawing5.xml><?xml version="1.0" encoding="utf-8"?>
<c:userShapes xmlns:c="http://schemas.openxmlformats.org/drawingml/2006/chart">
  <cdr:relSizeAnchor xmlns:cdr="http://schemas.openxmlformats.org/drawingml/2006/chartDrawing">
    <cdr:from>
      <cdr:x>0.1895</cdr:x>
      <cdr:y>0</cdr:y>
    </cdr:from>
    <cdr:to>
      <cdr:x>0.19775</cdr:x>
      <cdr:y>0.07075</cdr:y>
    </cdr:to>
    <cdr:sp macro="" textlink="">
      <cdr:nvSpPr>
        <cdr:cNvPr id="1025" name="Text Box 1"/>
        <cdr:cNvSpPr txBox="1">
          <a:spLocks xmlns:a="http://schemas.openxmlformats.org/drawingml/2006/main" noChangeArrowheads="1"/>
        </cdr:cNvSpPr>
      </cdr:nvSpPr>
      <cdr:spPr bwMode="auto">
        <a:xfrm xmlns:a="http://schemas.openxmlformats.org/drawingml/2006/main">
          <a:off x="1328471" y="-519865"/>
          <a:ext cx="57836" cy="304600"/>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dr:relSizeAnchor xmlns:cdr="http://schemas.openxmlformats.org/drawingml/2006/chartDrawing">
    <cdr:from>
      <cdr:x>0.05944</cdr:x>
      <cdr:y>0.05539</cdr:y>
    </cdr:from>
    <cdr:to>
      <cdr:x>0.1786</cdr:x>
      <cdr:y>0.11309</cdr:y>
    </cdr:to>
    <cdr:sp macro="" textlink="">
      <cdr:nvSpPr>
        <cdr:cNvPr id="1026" name="Text Box 2"/>
        <cdr:cNvSpPr txBox="1">
          <a:spLocks xmlns:a="http://schemas.openxmlformats.org/drawingml/2006/main" noChangeArrowheads="1"/>
        </cdr:cNvSpPr>
      </cdr:nvSpPr>
      <cdr:spPr bwMode="auto">
        <a:xfrm xmlns:a="http://schemas.openxmlformats.org/drawingml/2006/main">
          <a:off x="684213" y="237867"/>
          <a:ext cx="1371600"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1"/>
              </a:solidFill>
              <a:latin typeface="+mj-lt"/>
              <a:cs typeface="Arial"/>
            </a:rPr>
            <a:t>Group 1</a:t>
          </a:r>
        </a:p>
      </cdr:txBody>
    </cdr:sp>
  </cdr:relSizeAnchor>
  <cdr:relSizeAnchor xmlns:cdr="http://schemas.openxmlformats.org/drawingml/2006/chartDrawing">
    <cdr:from>
      <cdr:x>0.18604</cdr:x>
      <cdr:y>0.05539</cdr:y>
    </cdr:from>
    <cdr:to>
      <cdr:x>0.35898</cdr:x>
      <cdr:y>0.11309</cdr:y>
    </cdr:to>
    <cdr:sp macro="" textlink="">
      <cdr:nvSpPr>
        <cdr:cNvPr id="1027" name="Text Box 3"/>
        <cdr:cNvSpPr txBox="1">
          <a:spLocks xmlns:a="http://schemas.openxmlformats.org/drawingml/2006/main" noChangeArrowheads="1"/>
        </cdr:cNvSpPr>
      </cdr:nvSpPr>
      <cdr:spPr bwMode="auto">
        <a:xfrm xmlns:a="http://schemas.openxmlformats.org/drawingml/2006/main">
          <a:off x="2141537" y="237867"/>
          <a:ext cx="1990725" cy="24776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3"/>
              </a:solidFill>
              <a:latin typeface="+mj-lt"/>
              <a:cs typeface="Arial"/>
            </a:rPr>
            <a:t>Group 2</a:t>
          </a:r>
        </a:p>
      </cdr:txBody>
    </cdr:sp>
  </cdr:relSizeAnchor>
</c:userShapes>
</file>

<file path=ppt/drawings/drawing6.xml><?xml version="1.0" encoding="utf-8"?>
<c:userShapes xmlns:c="http://schemas.openxmlformats.org/drawingml/2006/chart">
  <cdr:relSizeAnchor xmlns:cdr="http://schemas.openxmlformats.org/drawingml/2006/chartDrawing">
    <cdr:from>
      <cdr:x>0.06771</cdr:x>
      <cdr:y>0.017</cdr:y>
    </cdr:from>
    <cdr:to>
      <cdr:x>0.35733</cdr:x>
      <cdr:y>0.07255</cdr:y>
    </cdr:to>
    <cdr:sp macro="" textlink="">
      <cdr:nvSpPr>
        <cdr:cNvPr id="1028" name="Text Box 4"/>
        <cdr:cNvSpPr txBox="1">
          <a:spLocks xmlns:a="http://schemas.openxmlformats.org/drawingml/2006/main" noChangeArrowheads="1"/>
        </cdr:cNvSpPr>
      </cdr:nvSpPr>
      <cdr:spPr bwMode="auto">
        <a:xfrm xmlns:a="http://schemas.openxmlformats.org/drawingml/2006/main">
          <a:off x="779462" y="73001"/>
          <a:ext cx="3333750"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1"/>
              </a:solidFill>
              <a:latin typeface="+mj-lt"/>
            </a:rPr>
            <a:t>Group 1</a:t>
          </a:r>
        </a:p>
      </cdr:txBody>
    </cdr:sp>
  </cdr:relSizeAnchor>
  <cdr:relSizeAnchor xmlns:cdr="http://schemas.openxmlformats.org/drawingml/2006/chartDrawing">
    <cdr:from>
      <cdr:x>0.35733</cdr:x>
      <cdr:y>0.017</cdr:y>
    </cdr:from>
    <cdr:to>
      <cdr:x>0.80168</cdr:x>
      <cdr:y>0.07255</cdr:y>
    </cdr:to>
    <cdr:sp macro="" textlink="">
      <cdr:nvSpPr>
        <cdr:cNvPr id="1029" name="Text Box 5"/>
        <cdr:cNvSpPr txBox="1">
          <a:spLocks xmlns:a="http://schemas.openxmlformats.org/drawingml/2006/main" noChangeArrowheads="1"/>
        </cdr:cNvSpPr>
      </cdr:nvSpPr>
      <cdr:spPr bwMode="auto">
        <a:xfrm xmlns:a="http://schemas.openxmlformats.org/drawingml/2006/main">
          <a:off x="4113211" y="73001"/>
          <a:ext cx="5114925"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3"/>
              </a:solidFill>
              <a:latin typeface="+mj-lt"/>
            </a:rPr>
            <a:t>Group 2</a:t>
          </a:r>
        </a:p>
      </cdr:txBody>
    </cdr:sp>
  </cdr:relSizeAnchor>
  <cdr:relSizeAnchor xmlns:cdr="http://schemas.openxmlformats.org/drawingml/2006/chartDrawing">
    <cdr:from>
      <cdr:x>0.80416</cdr:x>
      <cdr:y>0.017</cdr:y>
    </cdr:from>
    <cdr:to>
      <cdr:x>1</cdr:x>
      <cdr:y>0.07255</cdr:y>
    </cdr:to>
    <cdr:sp macro="" textlink="">
      <cdr:nvSpPr>
        <cdr:cNvPr id="1030" name="Text Box 6"/>
        <cdr:cNvSpPr txBox="1">
          <a:spLocks xmlns:a="http://schemas.openxmlformats.org/drawingml/2006/main" noChangeArrowheads="1"/>
        </cdr:cNvSpPr>
      </cdr:nvSpPr>
      <cdr:spPr bwMode="auto">
        <a:xfrm xmlns:a="http://schemas.openxmlformats.org/drawingml/2006/main">
          <a:off x="9256712" y="73001"/>
          <a:ext cx="2254250"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1" i="0" u="none" strike="noStrike" cap="all" baseline="0" dirty="0">
              <a:solidFill>
                <a:schemeClr val="accent6"/>
              </a:solidFill>
              <a:latin typeface="+mj-lt"/>
            </a:rPr>
            <a:t>Group 3</a:t>
          </a:r>
        </a:p>
      </cdr:txBody>
    </cdr:sp>
  </cdr:relSizeAnchor>
</c:userShapes>
</file>

<file path=ppt/drawings/drawing7.xml><?xml version="1.0" encoding="utf-8"?>
<c:userShapes xmlns:c="http://schemas.openxmlformats.org/drawingml/2006/chart">
  <cdr:relSizeAnchor xmlns:cdr="http://schemas.openxmlformats.org/drawingml/2006/chartDrawing">
    <cdr:from>
      <cdr:x>0.14247</cdr:x>
      <cdr:y>0.827</cdr:y>
    </cdr:from>
    <cdr:to>
      <cdr:x>0.24388</cdr:x>
      <cdr:y>0.95075</cdr:y>
    </cdr:to>
    <cdr:sp macro="" textlink="">
      <cdr:nvSpPr>
        <cdr:cNvPr id="1025" name="Text Box 1"/>
        <cdr:cNvSpPr txBox="1">
          <a:spLocks xmlns:a="http://schemas.openxmlformats.org/drawingml/2006/main" noChangeArrowheads="1"/>
        </cdr:cNvSpPr>
      </cdr:nvSpPr>
      <cdr:spPr bwMode="auto">
        <a:xfrm xmlns:a="http://schemas.openxmlformats.org/drawingml/2006/main">
          <a:off x="1639955" y="3551293"/>
          <a:ext cx="1167319" cy="53140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45720" bIns="0" anchor="t" upright="1"/>
        <a:lstStyle xmlns:a="http://schemas.openxmlformats.org/drawingml/2006/main"/>
        <a:p xmlns:a="http://schemas.openxmlformats.org/drawingml/2006/main">
          <a:pPr algn="ctr" rtl="0">
            <a:defRPr sz="1000"/>
          </a:pPr>
          <a:r>
            <a:rPr lang="de-DE" sz="1400" b="0" i="0" strike="noStrike" dirty="0">
              <a:solidFill>
                <a:schemeClr val="tx2"/>
              </a:solidFill>
              <a:latin typeface="+mn-lt"/>
              <a:cs typeface="Arial"/>
            </a:rPr>
            <a:t>Label A</a:t>
          </a:r>
        </a:p>
      </cdr:txBody>
    </cdr:sp>
  </cdr:relSizeAnchor>
  <cdr:relSizeAnchor xmlns:cdr="http://schemas.openxmlformats.org/drawingml/2006/chartDrawing">
    <cdr:from>
      <cdr:x>0.34782</cdr:x>
      <cdr:y>0.827</cdr:y>
    </cdr:from>
    <cdr:to>
      <cdr:x>0.45008</cdr:x>
      <cdr:y>0.95075</cdr:y>
    </cdr:to>
    <cdr:sp macro="" textlink="">
      <cdr:nvSpPr>
        <cdr:cNvPr id="1026" name="Text Box 2"/>
        <cdr:cNvSpPr txBox="1">
          <a:spLocks xmlns:a="http://schemas.openxmlformats.org/drawingml/2006/main" noChangeArrowheads="1"/>
        </cdr:cNvSpPr>
      </cdr:nvSpPr>
      <cdr:spPr bwMode="auto">
        <a:xfrm xmlns:a="http://schemas.openxmlformats.org/drawingml/2006/main">
          <a:off x="4003776" y="3551293"/>
          <a:ext cx="1177047" cy="53140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45720" bIns="0" anchor="t" upright="1"/>
        <a:lstStyle xmlns:a="http://schemas.openxmlformats.org/drawingml/2006/main"/>
        <a:p xmlns:a="http://schemas.openxmlformats.org/drawingml/2006/main">
          <a:pPr algn="ctr" rtl="0">
            <a:defRPr sz="1000"/>
          </a:pPr>
          <a:r>
            <a:rPr lang="de-DE" sz="1400" b="0" i="0" strike="noStrike" dirty="0">
              <a:solidFill>
                <a:schemeClr val="tx2"/>
              </a:solidFill>
              <a:latin typeface="+mn-lt"/>
              <a:cs typeface="Arial"/>
            </a:rPr>
            <a:t>Label B</a:t>
          </a:r>
        </a:p>
      </cdr:txBody>
    </cdr:sp>
  </cdr:relSizeAnchor>
  <cdr:relSizeAnchor xmlns:cdr="http://schemas.openxmlformats.org/drawingml/2006/chartDrawing">
    <cdr:from>
      <cdr:x>0.55149</cdr:x>
      <cdr:y>0.827</cdr:y>
    </cdr:from>
    <cdr:to>
      <cdr:x>0.65205</cdr:x>
      <cdr:y>0.95075</cdr:y>
    </cdr:to>
    <cdr:sp macro="" textlink="">
      <cdr:nvSpPr>
        <cdr:cNvPr id="1027" name="Text Box 3"/>
        <cdr:cNvSpPr txBox="1">
          <a:spLocks xmlns:a="http://schemas.openxmlformats.org/drawingml/2006/main" noChangeArrowheads="1"/>
        </cdr:cNvSpPr>
      </cdr:nvSpPr>
      <cdr:spPr bwMode="auto">
        <a:xfrm xmlns:a="http://schemas.openxmlformats.org/drawingml/2006/main">
          <a:off x="6348142" y="3551293"/>
          <a:ext cx="1157591" cy="53140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45720" bIns="0" anchor="t" upright="1"/>
        <a:lstStyle xmlns:a="http://schemas.openxmlformats.org/drawingml/2006/main"/>
        <a:p xmlns:a="http://schemas.openxmlformats.org/drawingml/2006/main">
          <a:pPr algn="ctr" rtl="0">
            <a:defRPr sz="1000"/>
          </a:pPr>
          <a:r>
            <a:rPr lang="de-DE" sz="1400" b="0" i="0" strike="noStrike" dirty="0">
              <a:solidFill>
                <a:schemeClr val="tx2"/>
              </a:solidFill>
              <a:latin typeface="+mn-lt"/>
              <a:cs typeface="Arial"/>
            </a:rPr>
            <a:t>Label C</a:t>
          </a:r>
        </a:p>
      </cdr:txBody>
    </cdr:sp>
  </cdr:relSizeAnchor>
  <cdr:relSizeAnchor xmlns:cdr="http://schemas.openxmlformats.org/drawingml/2006/chartDrawing">
    <cdr:from>
      <cdr:x>0.75515</cdr:x>
      <cdr:y>0.827</cdr:y>
    </cdr:from>
    <cdr:to>
      <cdr:x>0.85571</cdr:x>
      <cdr:y>0.95075</cdr:y>
    </cdr:to>
    <cdr:sp macro="" textlink="">
      <cdr:nvSpPr>
        <cdr:cNvPr id="1028" name="Text Box 4"/>
        <cdr:cNvSpPr txBox="1">
          <a:spLocks xmlns:a="http://schemas.openxmlformats.org/drawingml/2006/main" noChangeArrowheads="1"/>
        </cdr:cNvSpPr>
      </cdr:nvSpPr>
      <cdr:spPr bwMode="auto">
        <a:xfrm xmlns:a="http://schemas.openxmlformats.org/drawingml/2006/main">
          <a:off x="8692508" y="3551293"/>
          <a:ext cx="1157591" cy="53140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45720" bIns="0" anchor="t" upright="1"/>
        <a:lstStyle xmlns:a="http://schemas.openxmlformats.org/drawingml/2006/main"/>
        <a:p xmlns:a="http://schemas.openxmlformats.org/drawingml/2006/main">
          <a:pPr algn="ctr" rtl="0">
            <a:defRPr sz="1000"/>
          </a:pPr>
          <a:r>
            <a:rPr lang="de-DE" sz="1400" b="0" i="0" strike="noStrike" dirty="0">
              <a:solidFill>
                <a:schemeClr val="tx2"/>
              </a:solidFill>
              <a:latin typeface="+mn-lt"/>
              <a:cs typeface="Arial"/>
            </a:rPr>
            <a:t>Label D</a:t>
          </a:r>
        </a:p>
      </cdr:txBody>
    </cdr:sp>
  </cdr:relSizeAnchor>
</c:userShapes>
</file>

<file path=ppt/drawings/drawing8.xml><?xml version="1.0" encoding="utf-8"?>
<c:userShapes xmlns:c="http://schemas.openxmlformats.org/drawingml/2006/chart">
  <cdr:relSizeAnchor xmlns:cdr="http://schemas.openxmlformats.org/drawingml/2006/chartDrawing">
    <cdr:from>
      <cdr:x>0.148</cdr:x>
      <cdr:y>0</cdr:y>
    </cdr:from>
    <cdr:to>
      <cdr:x>0.1545</cdr:x>
      <cdr:y>0.077</cdr:y>
    </cdr:to>
    <cdr:sp macro="" textlink="">
      <cdr:nvSpPr>
        <cdr:cNvPr id="1025" name="Text Box 1"/>
        <cdr:cNvSpPr txBox="1">
          <a:spLocks xmlns:a="http://schemas.openxmlformats.org/drawingml/2006/main" noChangeArrowheads="1"/>
        </cdr:cNvSpPr>
      </cdr:nvSpPr>
      <cdr:spPr bwMode="auto">
        <a:xfrm xmlns:a="http://schemas.openxmlformats.org/drawingml/2006/main">
          <a:off x="1311021" y="-602718"/>
          <a:ext cx="57579" cy="286036"/>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userShapes>
</file>

<file path=ppt/drawings/drawing9.xml><?xml version="1.0" encoding="utf-8"?>
<c:userShapes xmlns:c="http://schemas.openxmlformats.org/drawingml/2006/chart">
  <cdr:relSizeAnchor xmlns:cdr="http://schemas.openxmlformats.org/drawingml/2006/chartDrawing">
    <cdr:from>
      <cdr:x>0</cdr:x>
      <cdr:y>0.446</cdr:y>
    </cdr:from>
    <cdr:to>
      <cdr:x>0.06108</cdr:x>
      <cdr:y>0.49438</cdr:y>
    </cdr:to>
    <cdr:sp macro="" textlink="">
      <cdr:nvSpPr>
        <cdr:cNvPr id="1027" name="Text Box 3"/>
        <cdr:cNvSpPr txBox="1">
          <a:spLocks xmlns:a="http://schemas.openxmlformats.org/drawingml/2006/main" noChangeArrowheads="1"/>
        </cdr:cNvSpPr>
      </cdr:nvSpPr>
      <cdr:spPr bwMode="auto">
        <a:xfrm xmlns:a="http://schemas.openxmlformats.org/drawingml/2006/main">
          <a:off x="0" y="1915207"/>
          <a:ext cx="703719" cy="207749"/>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0" tIns="22860" rIns="0" bIns="0" anchor="t" upright="1">
          <a:spAutoFit/>
        </a:bodyPr>
        <a:lstStyle xmlns:a="http://schemas.openxmlformats.org/drawingml/2006/main"/>
        <a:p xmlns:a="http://schemas.openxmlformats.org/drawingml/2006/main">
          <a:pPr algn="l" rtl="0">
            <a:defRPr sz="1000"/>
          </a:pPr>
          <a:r>
            <a:rPr lang="de-DE" sz="1200" b="1" i="0" strike="noStrike" cap="all" baseline="0" dirty="0">
              <a:solidFill>
                <a:schemeClr val="accent3"/>
              </a:solidFill>
              <a:latin typeface="+mj-lt"/>
              <a:cs typeface="Arial"/>
            </a:rPr>
            <a:t>Group 2</a:t>
          </a:r>
        </a:p>
      </cdr:txBody>
    </cdr:sp>
  </cdr:relSizeAnchor>
  <cdr:relSizeAnchor xmlns:cdr="http://schemas.openxmlformats.org/drawingml/2006/chartDrawing">
    <cdr:from>
      <cdr:x>0</cdr:x>
      <cdr:y>0.73</cdr:y>
    </cdr:from>
    <cdr:to>
      <cdr:x>0.05885</cdr:x>
      <cdr:y>0.77838</cdr:y>
    </cdr:to>
    <cdr:sp macro="" textlink="">
      <cdr:nvSpPr>
        <cdr:cNvPr id="1028" name="Text Box 4"/>
        <cdr:cNvSpPr txBox="1">
          <a:spLocks xmlns:a="http://schemas.openxmlformats.org/drawingml/2006/main" noChangeArrowheads="1"/>
        </cdr:cNvSpPr>
      </cdr:nvSpPr>
      <cdr:spPr bwMode="auto">
        <a:xfrm xmlns:a="http://schemas.openxmlformats.org/drawingml/2006/main">
          <a:off x="0" y="3134757"/>
          <a:ext cx="678071" cy="207749"/>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0" tIns="22860" rIns="0" bIns="0" anchor="t" upright="1">
          <a:spAutoFit/>
        </a:bodyPr>
        <a:lstStyle xmlns:a="http://schemas.openxmlformats.org/drawingml/2006/main"/>
        <a:p xmlns:a="http://schemas.openxmlformats.org/drawingml/2006/main">
          <a:pPr algn="l" rtl="0">
            <a:defRPr sz="1000"/>
          </a:pPr>
          <a:r>
            <a:rPr lang="de-DE" sz="1200" b="1" i="0" strike="noStrike" cap="all" baseline="0" dirty="0">
              <a:solidFill>
                <a:schemeClr val="accent1"/>
              </a:solidFill>
              <a:latin typeface="+mj-lt"/>
            </a:rPr>
            <a:t>Group 1</a:t>
          </a:r>
        </a:p>
      </cdr:txBody>
    </cdr:sp>
  </cdr:relSizeAnchor>
  <cdr:relSizeAnchor xmlns:cdr="http://schemas.openxmlformats.org/drawingml/2006/chartDrawing">
    <cdr:from>
      <cdr:x>0</cdr:x>
      <cdr:y>0.132</cdr:y>
    </cdr:from>
    <cdr:to>
      <cdr:x>0.06149</cdr:x>
      <cdr:y>0.18145</cdr:y>
    </cdr:to>
    <cdr:sp macro="" textlink="">
      <cdr:nvSpPr>
        <cdr:cNvPr id="1029" name="Text Box 5"/>
        <cdr:cNvSpPr txBox="1">
          <a:spLocks xmlns:a="http://schemas.openxmlformats.org/drawingml/2006/main" noChangeArrowheads="1"/>
        </cdr:cNvSpPr>
      </cdr:nvSpPr>
      <cdr:spPr bwMode="auto">
        <a:xfrm xmlns:a="http://schemas.openxmlformats.org/drawingml/2006/main">
          <a:off x="0" y="566833"/>
          <a:ext cx="708527" cy="212366"/>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lIns="0" tIns="27432" rIns="0" bIns="0" anchor="t" upright="1">
          <a:spAutoFit/>
        </a:bodyPr>
        <a:lstStyle xmlns:a="http://schemas.openxmlformats.org/drawingml/2006/main"/>
        <a:p xmlns:a="http://schemas.openxmlformats.org/drawingml/2006/main">
          <a:pPr algn="l" rtl="0">
            <a:defRPr sz="1000"/>
          </a:pPr>
          <a:r>
            <a:rPr lang="de-DE" sz="1200" b="1" i="0" strike="noStrike" cap="all" baseline="0" dirty="0">
              <a:solidFill>
                <a:schemeClr val="accent5"/>
              </a:solidFill>
              <a:latin typeface="+mj-lt"/>
              <a:cs typeface="Arial"/>
            </a:rPr>
            <a:t>Group 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raphik" panose="020B0503030202060203"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raphik" panose="020B0503030202060203" pitchFamily="34" charset="0"/>
              </a:defRPr>
            </a:lvl1pPr>
          </a:lstStyle>
          <a:p>
            <a:fld id="{1DE7078C-3525-4C9B-BF62-C9FD13B9A875}" type="datetimeFigureOut">
              <a:rPr lang="en-US" smtClean="0"/>
              <a:pPr/>
              <a:t>8/27/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raphik" panose="020B050303020206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raphik" panose="020B0503030202060203" pitchFamily="34" charset="0"/>
              </a:defRPr>
            </a:lvl1pPr>
          </a:lstStyle>
          <a:p>
            <a:fld id="{436E8A87-18DA-4CCE-A8C2-BDBC489258C6}" type="slidenum">
              <a:rPr lang="en-US" smtClean="0"/>
              <a:pPr/>
              <a:t>‹nº›</a:t>
            </a:fld>
            <a:endParaRPr lang="en-US" dirty="0"/>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raphik" panose="020B050303020206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573210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2681192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283379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0092855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3543384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9068888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6236640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43757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2640063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444533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9787208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1139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0318817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046186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5314121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27205440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2741409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6959705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54965206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6382475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684669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4211431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08052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8199490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0795517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9420585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5788639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3752335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3912841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5165107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1914228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5506664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6459639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265716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4771283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2352843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4103221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8213754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4413407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0409495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4092579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9482091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6098900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4025557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674782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728465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3240291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723269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2992434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1307089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30884719"/>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57296413"/>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1318336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098273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3108571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24168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8800741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5590820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2646872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0121782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6422652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7726994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7487201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1198306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9899900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844772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18820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788166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18391483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179530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1312566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319664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83139427"/>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1139005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59342805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31681474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851061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2735350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8967377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78146251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91199147"/>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861174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7627873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70646827"/>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93793137"/>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4068616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8102456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7850392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681983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88719623"/>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6582674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4672356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7626763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9871277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22334586"/>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86554827"/>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3137152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9199354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7388863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414832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45987231"/>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7082352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3039247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0579569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1374211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455511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58686811"/>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56163710"/>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384320977"/>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563466066"/>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02157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5219756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3976746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19644389"/>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8667673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13360655"/>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74500391"/>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4386916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48569571"/>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9982945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3636330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9486910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51589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06262546"/>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60533122"/>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4992340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971111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35535764"/>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2129407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17318312"/>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28840205"/>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4619182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75304197"/>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02758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6674366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22580180"/>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50091962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7658562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09544851"/>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35711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75379982"/>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1800492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14675028"/>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7887247"/>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2342058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5108353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584938830"/>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79087507"/>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1065695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2624748"/>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24462926"/>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5772637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129127024"/>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52233516"/>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68738973"/>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105273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73765037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5641309"/>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88178989"/>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12483564"/>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98117471"/>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0195013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08089598"/>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58567491"/>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32569290"/>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37116208"/>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880498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57329160"/>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62623150"/>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02302942"/>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08884409"/>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88527693"/>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6483410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128115069"/>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83666683"/>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95059152"/>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5641687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972267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48943991"/>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58211718"/>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08210667"/>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04465948"/>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81537206"/>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61093588"/>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54333545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572346161"/>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71126208"/>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48278677"/>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808892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2878758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39772087"/>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03925936"/>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99458538"/>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11614540"/>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764432202"/>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552134716"/>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5854279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7934651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46463758"/>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3885676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42588904"/>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72873406"/>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69344146"/>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09271441"/>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85797684"/>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3871560"/>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45284791"/>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35308758"/>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4373912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25593742"/>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135813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7861608"/>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351914159"/>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4094507"/>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26807876"/>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67323891"/>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23396279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30095826"/>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56186823"/>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26851784"/>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05124930"/>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01070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024436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54050290"/>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12421539"/>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13352093"/>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27728977"/>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968092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67712177"/>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22089323"/>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58444455"/>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47427112"/>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21439539"/>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004648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5214763"/>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27121706"/>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97000887"/>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561784763"/>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38136674"/>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00503641"/>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0946904"/>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91542037"/>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01857195"/>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190861268"/>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873654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18425856"/>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28672327"/>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34763751"/>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347877018"/>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01595872"/>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83556937"/>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73521943"/>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31241391"/>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12067047"/>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453531"/>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72995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99243335"/>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5392972"/>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26021274"/>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32948737"/>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20719096"/>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553742244"/>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20151813"/>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83328261"/>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1247826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05968597"/>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516273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28928304"/>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2156233"/>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02835886"/>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51125579"/>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9317479"/>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73143355"/>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63122622"/>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08397567"/>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89027538"/>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00193721"/>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424808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36542037"/>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79297977"/>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17091568"/>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70185102"/>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6533467"/>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0528017"/>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9383090"/>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3819223"/>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19372275"/>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78707104"/>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030053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41134760"/>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52272789"/>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02978246"/>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02882198"/>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59203087"/>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77373352"/>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44382890"/>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05524522"/>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18664136"/>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32805689"/>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629098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93518938"/>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611670156"/>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77091239"/>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62689249"/>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12976094"/>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85196391"/>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55801814"/>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91547319"/>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54533976"/>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46925924"/>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804779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568770758"/>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07588362"/>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40688635"/>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11504147"/>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00528774"/>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788424748"/>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60665473"/>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68278683"/>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61990561"/>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91224553"/>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703624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325090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554651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8161527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345255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469940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3681964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5773748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940536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061422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907811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596781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923333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494245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2578040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594192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37123709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500828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7948219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0454907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1546332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9223467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1811950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50137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1003568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2902811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56961732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9248837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584536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710065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94086395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796975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676853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2285708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062207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7760759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080385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486737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9993420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34205799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212679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5286800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0307987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881700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4690533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8257314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2732212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1040566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7061570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5869353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06265244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61464508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61898594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6416036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6361666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09420586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1149667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70676900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770815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6213319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8356728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55868737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07742703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9121001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47732877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4266992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419064089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9790954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reetings Slide - GTS">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Welcome</a:t>
            </a:r>
            <a:endParaRPr lang="en-US" dirty="0"/>
          </a:p>
        </p:txBody>
      </p:sp>
      <p:pic>
        <p:nvPicPr>
          <p:cNvPr id="5" name="Picture 4" descr="A picture containing card, drawing, crosswalk, table&#10;&#10;Description automatically generated">
            <a:extLst>
              <a:ext uri="{FF2B5EF4-FFF2-40B4-BE49-F238E27FC236}">
                <a16:creationId xmlns:a16="http://schemas.microsoft.com/office/drawing/2014/main" id="{89528D09-D9F4-47CA-BBA9-7AF13078DF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60607" y="5376231"/>
            <a:ext cx="670786" cy="710244"/>
          </a:xfrm>
          <a:prstGeom prst="rect">
            <a:avLst/>
          </a:prstGeom>
        </p:spPr>
      </p:pic>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Tree>
    <p:extLst>
      <p:ext uri="{BB962C8B-B14F-4D97-AF65-F5344CB8AC3E}">
        <p14:creationId xmlns:p14="http://schemas.microsoft.com/office/powerpoint/2010/main" val="267145585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GTS">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201D5A-B05B-463A-A39A-D6351436BF33}"/>
              </a:ext>
            </a:extLst>
          </p:cNvPr>
          <p:cNvSpPr/>
          <p:nvPr userDrawn="1"/>
        </p:nvSpPr>
        <p:spPr>
          <a:xfrm>
            <a:off x="0" y="0"/>
            <a:ext cx="7965831" cy="6858000"/>
          </a:xfrm>
          <a:prstGeom prst="rect">
            <a:avLst/>
          </a:prstGeom>
          <a:gradFill flip="none" rotWithShape="1">
            <a:gsLst>
              <a:gs pos="0">
                <a:schemeClr val="bg1">
                  <a:alpha val="48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Friday, August 27, 2021</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spTree>
    <p:extLst>
      <p:ext uri="{BB962C8B-B14F-4D97-AF65-F5344CB8AC3E}">
        <p14:creationId xmlns:p14="http://schemas.microsoft.com/office/powerpoint/2010/main" val="25221076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6345ECE-0A07-4C4B-9368-0CE4479DD27C}"/>
              </a:ext>
            </a:extLst>
          </p:cNvPr>
          <p:cNvSpPr/>
          <p:nvPr userDrawn="1"/>
        </p:nvSpPr>
        <p:spPr>
          <a:xfrm>
            <a:off x="0" y="0"/>
            <a:ext cx="7965831" cy="6858000"/>
          </a:xfrm>
          <a:prstGeom prst="rect">
            <a:avLst/>
          </a:prstGeom>
          <a:gradFill flip="none" rotWithShape="1">
            <a:gsLst>
              <a:gs pos="0">
                <a:schemeClr val="bg1">
                  <a:alpha val="48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Friday, August 27, 2021</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001" y="5813885"/>
            <a:ext cx="1884233" cy="498015"/>
          </a:xfrm>
          <a:prstGeom prst="rect">
            <a:avLst/>
          </a:prstGeom>
        </p:spPr>
      </p:pic>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Tree>
    <p:extLst>
      <p:ext uri="{BB962C8B-B14F-4D97-AF65-F5344CB8AC3E}">
        <p14:creationId xmlns:p14="http://schemas.microsoft.com/office/powerpoint/2010/main" val="4897091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GTS, with Image">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9C8654-2CC9-F541-A924-257D0187B5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89" y="0"/>
            <a:ext cx="12210089" cy="6858000"/>
          </a:xfrm>
          <a:prstGeom prst="rect">
            <a:avLst/>
          </a:prstGeom>
        </p:spPr>
      </p:pic>
      <p:sp>
        <p:nvSpPr>
          <p:cNvPr id="5" name="Rectangle 4">
            <a:extLst>
              <a:ext uri="{FF2B5EF4-FFF2-40B4-BE49-F238E27FC236}">
                <a16:creationId xmlns:a16="http://schemas.microsoft.com/office/drawing/2014/main" id="{E9EB74AD-1B7B-4DBD-AD4A-8DA48458B4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Friday, August 27, 2021</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spTree>
    <p:extLst>
      <p:ext uri="{BB962C8B-B14F-4D97-AF65-F5344CB8AC3E}">
        <p14:creationId xmlns:p14="http://schemas.microsoft.com/office/powerpoint/2010/main" val="177265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with Image">
    <p:bg>
      <p:bgPr>
        <a:solidFill>
          <a:schemeClr val="accent3"/>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62C8E55-8CAE-FC4A-BA3A-F66815D734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18" name="Rectangle 17">
            <a:extLst>
              <a:ext uri="{FF2B5EF4-FFF2-40B4-BE49-F238E27FC236}">
                <a16:creationId xmlns:a16="http://schemas.microsoft.com/office/drawing/2014/main" id="{AD922CB3-850F-0445-AC8B-17707616DE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Friday, August 27, 2021</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001" y="5813885"/>
            <a:ext cx="1884233" cy="498015"/>
          </a:xfrm>
          <a:prstGeom prst="rect">
            <a:avLst/>
          </a:prstGeom>
        </p:spPr>
      </p:pic>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Tree>
    <p:extLst>
      <p:ext uri="{BB962C8B-B14F-4D97-AF65-F5344CB8AC3E}">
        <p14:creationId xmlns:p14="http://schemas.microsoft.com/office/powerpoint/2010/main" val="41605010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Basic - Dark, White Tex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7140DB58-C382-4D4A-B4C9-306C0CDE029A}" type="datetime2">
              <a:rPr lang="en-US" smtClean="0"/>
              <a:t>Friday, August 27, 2021</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26" name="TextBox 25">
            <a:extLst>
              <a:ext uri="{FF2B5EF4-FFF2-40B4-BE49-F238E27FC236}">
                <a16:creationId xmlns:a16="http://schemas.microsoft.com/office/drawing/2014/main" id="{95C777F7-C185-0145-A86B-3A8769FF5A97}"/>
              </a:ext>
            </a:extLst>
          </p:cNvPr>
          <p:cNvSpPr txBox="1"/>
          <p:nvPr userDrawn="1"/>
        </p:nvSpPr>
        <p:spPr>
          <a:xfrm>
            <a:off x="1149093" y="5959153"/>
            <a:ext cx="3102015" cy="115747"/>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dirty="0">
                <a:solidFill>
                  <a:schemeClr val="tx1"/>
                </a:solidFill>
              </a:rPr>
              <a:t>Copyright © 2020 Accenture. All rights reserved.</a:t>
            </a:r>
            <a:endParaRPr lang="en-US" sz="800" dirty="0">
              <a:solidFill>
                <a:schemeClr val="tx1"/>
              </a:solidFill>
            </a:endParaRPr>
          </a:p>
          <a:p>
            <a:pPr algn="r" defTabSz="228600">
              <a:spcAft>
                <a:spcPts val="1200"/>
              </a:spcAft>
            </a:pPr>
            <a:endParaRPr lang="en-US" noProof="0" dirty="0">
              <a:solidFill>
                <a:schemeClr val="tx1"/>
              </a:solidFill>
            </a:endParaRPr>
          </a:p>
        </p:txBody>
      </p:sp>
      <p:sp>
        <p:nvSpPr>
          <p:cNvPr id="4" name="TextBox 3">
            <a:extLst>
              <a:ext uri="{FF2B5EF4-FFF2-40B4-BE49-F238E27FC236}">
                <a16:creationId xmlns:a16="http://schemas.microsoft.com/office/drawing/2014/main" id="{844FA456-2D38-40C1-B831-1BBEA124254A}"/>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or Mid Purple (Accent 2)</a:t>
            </a:r>
            <a:endParaRPr kumimoji="0" lang="en-US" sz="800" b="0" i="0" u="none" strike="noStrike" kern="0" cap="none" spc="0" normalizeH="0" baseline="0" noProof="0" dirty="0">
              <a:ln>
                <a:noFill/>
              </a:ln>
              <a:solidFill>
                <a:schemeClr val="bg2"/>
              </a:solidFill>
              <a:effectLst/>
              <a:uLnTx/>
              <a:uFillTx/>
            </a:endParaRPr>
          </a:p>
        </p:txBody>
      </p:sp>
    </p:spTree>
    <p:extLst>
      <p:ext uri="{BB962C8B-B14F-4D97-AF65-F5344CB8AC3E}">
        <p14:creationId xmlns:p14="http://schemas.microsoft.com/office/powerpoint/2010/main" val="10785629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Basic - Light, Black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24pt</a:t>
            </a:r>
          </a:p>
        </p:txBody>
      </p:sp>
      <p:pic>
        <p:nvPicPr>
          <p:cNvPr id="8" name="Graphic 7">
            <a:extLst>
              <a:ext uri="{FF2B5EF4-FFF2-40B4-BE49-F238E27FC236}">
                <a16:creationId xmlns:a16="http://schemas.microsoft.com/office/drawing/2014/main" id="{4F59C2A9-CAAD-4437-A35B-5F02FAD0D90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fld id="{8A775A16-A4B2-4AE5-AFA0-950C115C747E}" type="datetime2">
              <a:rPr lang="en-US" smtClean="0"/>
              <a:t>Friday, August 27, 2021</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26" name="TextBox 25">
            <a:extLst>
              <a:ext uri="{FF2B5EF4-FFF2-40B4-BE49-F238E27FC236}">
                <a16:creationId xmlns:a16="http://schemas.microsoft.com/office/drawing/2014/main" id="{B49246FF-2C3D-9D46-B1DB-1D6FABA657CD}"/>
              </a:ext>
            </a:extLst>
          </p:cNvPr>
          <p:cNvSpPr txBox="1"/>
          <p:nvPr userDrawn="1"/>
        </p:nvSpPr>
        <p:spPr>
          <a:xfrm>
            <a:off x="1149093" y="5970728"/>
            <a:ext cx="3102015" cy="115747"/>
          </a:xfrm>
          <a:prstGeom prst="rect">
            <a:avLst/>
          </a:prstGeom>
          <a:noFill/>
        </p:spPr>
        <p:txBody>
          <a:bodyPr wrap="square" lIns="0" tIns="0" rIns="0" bIns="0" rtlCol="0" anchor="b">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dirty="0">
                <a:solidFill>
                  <a:schemeClr val="tx2"/>
                </a:solidFill>
              </a:rPr>
              <a:t>Copyright © 2020 Accenture. All rights reserved.</a:t>
            </a:r>
            <a:endParaRPr lang="en-US" noProof="0" dirty="0">
              <a:solidFill>
                <a:schemeClr val="tx2"/>
              </a:solidFill>
            </a:endParaRPr>
          </a:p>
        </p:txBody>
      </p:sp>
    </p:spTree>
    <p:extLst>
      <p:ext uri="{BB962C8B-B14F-4D97-AF65-F5344CB8AC3E}">
        <p14:creationId xmlns:p14="http://schemas.microsoft.com/office/powerpoint/2010/main" val="8553992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userDrawn="1">
          <p15:clr>
            <a:srgbClr val="5ACBF0"/>
          </p15:clr>
        </p15:guide>
        <p15:guide id="2" orient="horz" pos="2520" userDrawn="1">
          <p15:clr>
            <a:srgbClr val="5ACBF0"/>
          </p15:clr>
        </p15:guide>
        <p15:guide id="3" pos="720"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dirty="0"/>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dirty="0"/>
              <a:t>Agenda</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dirty="0"/>
              <a:t>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dirty="0"/>
              <a:t>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dirty="0"/>
              <a:t>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dirty="0"/>
              <a:t>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dirty="0"/>
              <a:t>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dirty="0"/>
              <a:t>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dirty="0"/>
              <a:t>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dirty="0"/>
              <a:t>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dirty="0"/>
              <a:t>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dirty="0"/>
              <a:t>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dirty="0"/>
              <a:t>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dirty="0"/>
              <a:t>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dirty="0"/>
              <a:t>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dirty="0"/>
              <a:t>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dirty="0"/>
              <a:t>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dirty="0"/>
              <a:t>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3236876317"/>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lang="en-US" sz="2400" b="0" kern="1200" dirty="0">
                <a:solidFill>
                  <a:schemeClr val="tx1"/>
                </a:solidFill>
                <a:latin typeface="GT Sectra Fine" pitchFamily="2" charset="77"/>
                <a:ea typeface="+mn-ea"/>
                <a:cs typeface="+mn-cs"/>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marL="0" lvl="0" indent="0" algn="l" defTabSz="228600" rtl="0" eaLnBrk="1" latinLnBrk="0" hangingPunct="1">
              <a:lnSpc>
                <a:spcPct val="90000"/>
              </a:lnSpc>
              <a:spcBef>
                <a:spcPts val="0"/>
              </a:spcBef>
              <a:spcAft>
                <a:spcPts val="0"/>
              </a:spcAft>
              <a:buFont typeface="Arial" panose="020B0604020202020204" pitchFamily="34" charset="0"/>
              <a:buNone/>
            </a:pPr>
            <a:r>
              <a:rPr lang="en-GB" dirty="0"/>
              <a:t>Place subtitle here in GT Sectra Fine 24pt</a:t>
            </a:r>
            <a:endParaRPr lang="en-US" dirty="0"/>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Tree>
    <p:extLst>
      <p:ext uri="{BB962C8B-B14F-4D97-AF65-F5344CB8AC3E}">
        <p14:creationId xmlns:p14="http://schemas.microsoft.com/office/powerpoint/2010/main" val="24821521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userDrawn="1">
          <p15:clr>
            <a:srgbClr val="5ACBF0"/>
          </p15:clr>
        </p15:guide>
        <p15:guide id="2" orient="horz" pos="2904"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Mid">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dirty="0"/>
              <a:t>Place subtitle here in GT Sectra Fine 24pt</a:t>
            </a:r>
            <a:endParaRPr lang="en-US" dirty="0"/>
          </a:p>
        </p:txBody>
      </p:sp>
    </p:spTree>
    <p:extLst>
      <p:ext uri="{BB962C8B-B14F-4D97-AF65-F5344CB8AC3E}">
        <p14:creationId xmlns:p14="http://schemas.microsoft.com/office/powerpoint/2010/main" val="30860008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userDrawn="1">
          <p15:clr>
            <a:srgbClr val="5ACBF0"/>
          </p15:clr>
        </p15:guide>
        <p15:guide id="2" orient="horz" pos="2904"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1" name="Text Placeholder 15">
            <a:extLst>
              <a:ext uri="{FF2B5EF4-FFF2-40B4-BE49-F238E27FC236}">
                <a16:creationId xmlns:a16="http://schemas.microsoft.com/office/drawing/2014/main" id="{C1BA4F43-9A33-40BF-9D42-10A895373950}"/>
              </a:ext>
            </a:extLst>
          </p:cNvPr>
          <p:cNvSpPr>
            <a:spLocks noGrp="1"/>
          </p:cNvSpPr>
          <p:nvPr>
            <p:ph type="body" sz="quarter" idx="14" hasCustomPrompt="1"/>
          </p:nvPr>
        </p:nvSpPr>
        <p:spPr>
          <a:xfrm>
            <a:off x="1142999" y="4610100"/>
            <a:ext cx="4952999" cy="1474214"/>
          </a:xfrm>
        </p:spPr>
        <p:txBody>
          <a:bodyPr vert="horz" lIns="0" tIns="0" rIns="0" bIns="0" rtlCol="0">
            <a:noAutofit/>
          </a:bodyPr>
          <a:lstStyle>
            <a:lvl1pPr marL="12700" indent="-12700" algn="l">
              <a:lnSpc>
                <a:spcPct val="90000"/>
              </a:lnSpc>
              <a:spcAft>
                <a:spcPts val="0"/>
              </a:spcAft>
              <a:buNone/>
              <a:tabLst/>
              <a:defRPr lang="en-US" sz="2400" b="0" kern="1200" dirty="0">
                <a:solidFill>
                  <a:schemeClr val="tx1"/>
                </a:solidFill>
                <a:latin typeface="GT Sectra Fine" pitchFamily="2" charset="77"/>
                <a:ea typeface="+mn-ea"/>
                <a:cs typeface="+mn-cs"/>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0" lvl="0" indent="0" algn="l" defTabSz="228600" rtl="0" eaLnBrk="1" latinLnBrk="0" hangingPunct="1">
              <a:lnSpc>
                <a:spcPct val="90000"/>
              </a:lnSpc>
              <a:spcBef>
                <a:spcPts val="0"/>
              </a:spcBef>
              <a:spcAft>
                <a:spcPts val="0"/>
              </a:spcAft>
              <a:buFont typeface="Arial" panose="020B0604020202020204" pitchFamily="34" charset="0"/>
              <a:buNone/>
            </a:pPr>
            <a:r>
              <a:rPr lang="en-GB" dirty="0"/>
              <a:t>Place subtitle here in GT </a:t>
            </a:r>
            <a:r>
              <a:rPr lang="en-GB" dirty="0" err="1"/>
              <a:t>Sectra</a:t>
            </a:r>
            <a:r>
              <a:rPr lang="en-GB" dirty="0"/>
              <a:t> Fine 24pt</a:t>
            </a:r>
            <a:endParaRPr lang="en-US" dirty="0"/>
          </a:p>
        </p:txBody>
      </p:sp>
    </p:spTree>
    <p:extLst>
      <p:ext uri="{BB962C8B-B14F-4D97-AF65-F5344CB8AC3E}">
        <p14:creationId xmlns:p14="http://schemas.microsoft.com/office/powerpoint/2010/main" val="21849181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Welcome</a:t>
            </a:r>
            <a:endParaRPr lang="en-US" dirty="0"/>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53884" y="5376231"/>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Tree>
    <p:extLst>
      <p:ext uri="{BB962C8B-B14F-4D97-AF65-F5344CB8AC3E}">
        <p14:creationId xmlns:p14="http://schemas.microsoft.com/office/powerpoint/2010/main" val="247005577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Light">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DF230BE-E12B-4B12-B01F-61A3FEC1006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4" cy="6857997"/>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2999" cy="5703315"/>
          </a:xfrm>
          <a:noFill/>
        </p:spPr>
        <p:txBody>
          <a:bodyPr tIns="274320" bIns="274320" anchor="ctr"/>
          <a:lstStyle>
            <a:lvl1pPr marL="0" indent="0" algn="ctr">
              <a:buNone/>
              <a:defRPr sz="1400" b="0">
                <a:solidFill>
                  <a:schemeClr val="tx1"/>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8" cy="3915092"/>
          </a:xfrm>
        </p:spPr>
        <p:txBody>
          <a:bodyPr anchor="b"/>
          <a:lstStyle>
            <a:lvl1pPr>
              <a:defRPr sz="5400">
                <a:solidFill>
                  <a:schemeClr val="tx1"/>
                </a:solidFill>
              </a:defRPr>
            </a:lvl1pPr>
          </a:lstStyle>
          <a:p>
            <a:r>
              <a:rPr lang="en-US" dirty="0"/>
              <a:t>Section title 54pt</a:t>
            </a:r>
          </a:p>
        </p:txBody>
      </p:sp>
      <p:sp>
        <p:nvSpPr>
          <p:cNvPr id="27" name="TextBox 26">
            <a:extLst>
              <a:ext uri="{FF2B5EF4-FFF2-40B4-BE49-F238E27FC236}">
                <a16:creationId xmlns:a16="http://schemas.microsoft.com/office/drawing/2014/main" id="{5B5705D7-5365-4FDC-B41B-8DBB58CDEE10}"/>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29" name="TextBox 28">
            <a:extLst>
              <a:ext uri="{FF2B5EF4-FFF2-40B4-BE49-F238E27FC236}">
                <a16:creationId xmlns:a16="http://schemas.microsoft.com/office/drawing/2014/main" id="{8F437B85-F911-4C8D-9468-5AF6FC49DE17}"/>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nº›</a:t>
            </a:fld>
            <a:endParaRPr lang="en-US" noProof="0" dirty="0">
              <a:solidFill>
                <a:schemeClr val="tx1">
                  <a:alpha val="75000"/>
                </a:schemeClr>
              </a:solidFill>
            </a:endParaRPr>
          </a:p>
        </p:txBody>
      </p:sp>
      <p:pic>
        <p:nvPicPr>
          <p:cNvPr id="33" name="Picture 32">
            <a:extLst>
              <a:ext uri="{FF2B5EF4-FFF2-40B4-BE49-F238E27FC236}">
                <a16:creationId xmlns:a16="http://schemas.microsoft.com/office/drawing/2014/main" id="{A9E94FE1-7A96-4985-B027-96607E09045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6" cy="202327"/>
          </a:xfrm>
          <a:prstGeom prst="rect">
            <a:avLst/>
          </a:prstGeom>
        </p:spPr>
      </p:pic>
      <p:sp>
        <p:nvSpPr>
          <p:cNvPr id="9" name="Text Placeholder 8">
            <a:extLst>
              <a:ext uri="{FF2B5EF4-FFF2-40B4-BE49-F238E27FC236}">
                <a16:creationId xmlns:a16="http://schemas.microsoft.com/office/drawing/2014/main" id="{BD15763B-29DE-5842-9F25-C3613114D2A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lang="en-US" sz="2400" b="0" kern="1200" dirty="0">
                <a:solidFill>
                  <a:schemeClr val="tx1"/>
                </a:solidFill>
                <a:latin typeface="GT Sectra Fine" pitchFamily="2" charset="77"/>
                <a:ea typeface="+mn-ea"/>
                <a:cs typeface="+mn-cs"/>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marL="0" lvl="0" indent="0" algn="l" defTabSz="228600" rtl="0" eaLnBrk="1" latinLnBrk="0" hangingPunct="1">
              <a:lnSpc>
                <a:spcPct val="90000"/>
              </a:lnSpc>
              <a:spcBef>
                <a:spcPts val="0"/>
              </a:spcBef>
              <a:spcAft>
                <a:spcPts val="0"/>
              </a:spcAft>
              <a:buFont typeface="Arial" panose="020B0604020202020204" pitchFamily="34" charset="0"/>
              <a:buNone/>
            </a:pPr>
            <a:r>
              <a:rPr lang="en-GB" dirty="0"/>
              <a:t>Place subtitle here in GT Sectra Fine 24pt</a:t>
            </a:r>
            <a:endParaRPr lang="en-US" dirty="0"/>
          </a:p>
        </p:txBody>
      </p:sp>
    </p:spTree>
    <p:extLst>
      <p:ext uri="{BB962C8B-B14F-4D97-AF65-F5344CB8AC3E}">
        <p14:creationId xmlns:p14="http://schemas.microsoft.com/office/powerpoint/2010/main" val="3779604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Dark Purple">
    <p:bg>
      <p:bgPr>
        <a:solidFill>
          <a:schemeClr val="accent3"/>
        </a:solidFill>
        <a:effectLst/>
      </p:bgPr>
    </p:bg>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22C143E8-DD15-4271-878B-9FB6C450FC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482" b="19537"/>
          <a:stretch/>
        </p:blipFill>
        <p:spPr>
          <a:xfrm>
            <a:off x="0" y="0"/>
            <a:ext cx="12192000" cy="3427713"/>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36233B92-45BF-2844-92CF-A75DE09F6EBC}"/>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dirty="0"/>
              <a:t>Place subtitle here in GT Sectra Fine 24pt</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Tree>
    <p:extLst>
      <p:ext uri="{BB962C8B-B14F-4D97-AF65-F5344CB8AC3E}">
        <p14:creationId xmlns:p14="http://schemas.microsoft.com/office/powerpoint/2010/main" val="29955934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22" name="Picture 21" descr="Background pattern&#10;&#10;Description automatically generated">
            <a:extLst>
              <a:ext uri="{FF2B5EF4-FFF2-40B4-BE49-F238E27FC236}">
                <a16:creationId xmlns:a16="http://schemas.microsoft.com/office/drawing/2014/main" id="{0CD753C7-2DCF-4C34-80DC-870F688988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3425952"/>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dirty="0"/>
              <a:t>Place subtitle here in GT Sectra Fine 24pt</a:t>
            </a:r>
            <a:endParaRPr lang="en-US" dirty="0"/>
          </a:p>
        </p:txBody>
      </p:sp>
    </p:spTree>
    <p:extLst>
      <p:ext uri="{BB962C8B-B14F-4D97-AF65-F5344CB8AC3E}">
        <p14:creationId xmlns:p14="http://schemas.microsoft.com/office/powerpoint/2010/main" val="25298933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Core Purpl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dirty="0"/>
              <a:t>Place subtitle here in GT Sectra Fine 24pt</a:t>
            </a:r>
            <a:endParaRPr lang="en-US" dirty="0"/>
          </a:p>
        </p:txBody>
      </p:sp>
    </p:spTree>
    <p:extLst>
      <p:ext uri="{BB962C8B-B14F-4D97-AF65-F5344CB8AC3E}">
        <p14:creationId xmlns:p14="http://schemas.microsoft.com/office/powerpoint/2010/main" val="37061314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Light">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8F4B10C-5234-40B6-8CA6-79B2DF02B8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6" name="Rectangle 5">
            <a:extLst>
              <a:ext uri="{FF2B5EF4-FFF2-40B4-BE49-F238E27FC236}">
                <a16:creationId xmlns:a16="http://schemas.microsoft.com/office/drawing/2014/main" id="{DAB64210-BE23-4613-90AC-3738A40ED78F}"/>
              </a:ext>
            </a:extLst>
          </p:cNvPr>
          <p:cNvSpPr/>
          <p:nvPr userDrawn="1"/>
        </p:nvSpPr>
        <p:spPr>
          <a:xfrm>
            <a:off x="0" y="3428999"/>
            <a:ext cx="12192000" cy="3429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85602A9B-7D88-4730-BA84-E2AEAFB9998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5" name="TextBox 4">
            <a:extLst>
              <a:ext uri="{FF2B5EF4-FFF2-40B4-BE49-F238E27FC236}">
                <a16:creationId xmlns:a16="http://schemas.microsoft.com/office/drawing/2014/main" id="{BD20B5CF-ECAF-4871-B303-435D56BF9C7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8" name="TextBox 7">
            <a:extLst>
              <a:ext uri="{FF2B5EF4-FFF2-40B4-BE49-F238E27FC236}">
                <a16:creationId xmlns:a16="http://schemas.microsoft.com/office/drawing/2014/main" id="{FC829F91-EB74-4AA2-B649-E33D7237FE06}"/>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nº›</a:t>
            </a:fld>
            <a:endParaRPr lang="en-US" noProof="0" dirty="0">
              <a:solidFill>
                <a:schemeClr val="tx1">
                  <a:alpha val="75000"/>
                </a:schemeClr>
              </a:solidFill>
            </a:endParaRPr>
          </a:p>
        </p:txBody>
      </p:sp>
      <p:sp>
        <p:nvSpPr>
          <p:cNvPr id="12" name="Text Placeholder 8">
            <a:extLst>
              <a:ext uri="{FF2B5EF4-FFF2-40B4-BE49-F238E27FC236}">
                <a16:creationId xmlns:a16="http://schemas.microsoft.com/office/drawing/2014/main" id="{0741A08E-B93F-E14E-AB8A-C62CD19AED61}"/>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dirty="0"/>
              <a:t>Place subtitle here in GT Sectra Fine 24pt</a:t>
            </a:r>
            <a:endParaRPr lang="en-US" dirty="0"/>
          </a:p>
        </p:txBody>
      </p:sp>
    </p:spTree>
    <p:extLst>
      <p:ext uri="{BB962C8B-B14F-4D97-AF65-F5344CB8AC3E}">
        <p14:creationId xmlns:p14="http://schemas.microsoft.com/office/powerpoint/2010/main" val="25381325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0092443"/>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7445675"/>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dirty="0"/>
              <a:t>Place sub-headline here in GT </a:t>
            </a:r>
            <a:r>
              <a:rPr lang="en-US" dirty="0" err="1"/>
              <a:t>Sectra</a:t>
            </a:r>
            <a:r>
              <a:rPr lang="en-US" dirty="0"/>
              <a:t> Fine,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Tree>
    <p:extLst>
      <p:ext uri="{BB962C8B-B14F-4D97-AF65-F5344CB8AC3E}">
        <p14:creationId xmlns:p14="http://schemas.microsoft.com/office/powerpoint/2010/main" val="247685601"/>
      </p:ext>
    </p:extLst>
  </p:cSld>
  <p:clrMapOvr>
    <a:masterClrMapping/>
  </p:clrMapOvr>
  <p:extLst>
    <p:ext uri="{DCECCB84-F9BA-43D5-87BE-67443E8EF086}">
      <p15:sldGuideLst xmlns:p15="http://schemas.microsoft.com/office/powerpoint/2012/main">
        <p15:guide id="1" orient="horz" pos="864" userDrawn="1">
          <p15:clr>
            <a:srgbClr val="5ACBF0"/>
          </p15:clr>
        </p15:guide>
        <p15:guide id="2" pos="3720" userDrawn="1">
          <p15:clr>
            <a:srgbClr val="5ACBF0"/>
          </p15:clr>
        </p15:guide>
        <p15:guide id="3" pos="3960"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dirty="0"/>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1059450818"/>
      </p:ext>
    </p:extLst>
  </p:cSld>
  <p:clrMapOvr>
    <a:masterClrMapping/>
  </p:clrMapOvr>
  <p:extLst>
    <p:ext uri="{DCECCB84-F9BA-43D5-87BE-67443E8EF086}">
      <p15:sldGuideLst xmlns:p15="http://schemas.microsoft.com/office/powerpoint/2012/main">
        <p15:guide id="1" orient="horz" pos="864" userDrawn="1">
          <p15:clr>
            <a:srgbClr val="5ACBF0"/>
          </p15:clr>
        </p15:guide>
        <p15:guide id="2" pos="3720" userDrawn="1">
          <p15:clr>
            <a:srgbClr val="5ACBF0"/>
          </p15:clr>
        </p15:guide>
        <p15:guide id="3" pos="3960"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dirty="0"/>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dirty="0"/>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Tree>
    <p:extLst>
      <p:ext uri="{BB962C8B-B14F-4D97-AF65-F5344CB8AC3E}">
        <p14:creationId xmlns:p14="http://schemas.microsoft.com/office/powerpoint/2010/main" val="3268099797"/>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L Blank">
    <p:bg>
      <p:bgPr>
        <a:solidFill>
          <a:schemeClr val="accent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dirty="0"/>
              <a:t>Welcome</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5" name="TextBox 4">
            <a:extLst>
              <a:ext uri="{FF2B5EF4-FFF2-40B4-BE49-F238E27FC236}">
                <a16:creationId xmlns:a16="http://schemas.microsoft.com/office/drawing/2014/main" id="{6D546AA4-146F-4349-A95C-2FE9F58C88E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Tree>
    <p:extLst>
      <p:ext uri="{BB962C8B-B14F-4D97-AF65-F5344CB8AC3E}">
        <p14:creationId xmlns:p14="http://schemas.microsoft.com/office/powerpoint/2010/main" val="481446463"/>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3560975919"/>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Tree>
    <p:extLst>
      <p:ext uri="{BB962C8B-B14F-4D97-AF65-F5344CB8AC3E}">
        <p14:creationId xmlns:p14="http://schemas.microsoft.com/office/powerpoint/2010/main" val="3655126605"/>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ull Name</a:t>
            </a:r>
          </a:p>
          <a:p>
            <a:pPr lvl="1"/>
            <a:r>
              <a:rPr lang="en-US" dirty="0"/>
              <a:t>Role</a:t>
            </a:r>
          </a:p>
          <a:p>
            <a:pPr lvl="2"/>
            <a:r>
              <a:rPr lang="en-US" dirty="0"/>
              <a:t>Short bio</a:t>
            </a:r>
          </a:p>
          <a:p>
            <a:pPr lvl="3"/>
            <a:r>
              <a:rPr lang="en-US" dirty="0"/>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Tree>
    <p:extLst>
      <p:ext uri="{BB962C8B-B14F-4D97-AF65-F5344CB8AC3E}">
        <p14:creationId xmlns:p14="http://schemas.microsoft.com/office/powerpoint/2010/main" val="2311186519"/>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Tree>
    <p:extLst>
      <p:ext uri="{BB962C8B-B14F-4D97-AF65-F5344CB8AC3E}">
        <p14:creationId xmlns:p14="http://schemas.microsoft.com/office/powerpoint/2010/main" val="379903455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6 -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pic>
        <p:nvPicPr>
          <p:cNvPr id="4" name="Picture 3">
            <a:extLst>
              <a:ext uri="{FF2B5EF4-FFF2-40B4-BE49-F238E27FC236}">
                <a16:creationId xmlns:a16="http://schemas.microsoft.com/office/drawing/2014/main" id="{DB3CD3D7-329E-47BB-94A7-43044FF6B3F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2826028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p>
            <a:pPr lvl="0"/>
            <a:r>
              <a:rPr lang="en-GB" dirty="0"/>
              <a:t>Place text here, use indent to access other level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7061921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dirty="0"/>
              <a:t>Place sub-headline here in GT </a:t>
            </a:r>
            <a:r>
              <a:rPr lang="en-US" dirty="0" err="1"/>
              <a:t>Sectra</a:t>
            </a:r>
            <a:r>
              <a:rPr lang="en-US" dirty="0"/>
              <a:t> Fine,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Add image,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nº›</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Tree>
    <p:extLst>
      <p:ext uri="{BB962C8B-B14F-4D97-AF65-F5344CB8AC3E}">
        <p14:creationId xmlns:p14="http://schemas.microsoft.com/office/powerpoint/2010/main" val="5801817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noFill/>
        </p:spPr>
        <p:txBody>
          <a:bodyPr anchor="ctr"/>
          <a:lstStyle>
            <a:lvl1pPr marL="0" indent="0" algn="ctr">
              <a:buNone/>
              <a:defRPr sz="1400" b="0">
                <a:solidFill>
                  <a:schemeClr val="tx1"/>
                </a:solidFill>
              </a:defRPr>
            </a:lvl1pPr>
          </a:lstStyle>
          <a:p>
            <a:r>
              <a:rPr lang="en-GB" dirty="0"/>
              <a:t>Add image here</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GT Sectra Fine" panose="00000500000000000000" pitchFamily="50" charset="0"/>
              </a:defRPr>
            </a:lvl1pPr>
            <a:lvl2pPr marL="0" indent="0">
              <a:buNone/>
              <a:defRPr sz="1800">
                <a:solidFill>
                  <a:schemeClr val="tx1"/>
                </a:solidFill>
              </a:defRPr>
            </a:lvl2pPr>
            <a:lvl3pPr marL="228600">
              <a:buFont typeface="Arial" panose="020B0604020202020204" pitchFamily="34" charset="0"/>
              <a:buChar char="•"/>
              <a:defRPr sz="1800">
                <a:solidFill>
                  <a:schemeClr val="tx1"/>
                </a:solidFill>
              </a:defRPr>
            </a:lvl3pPr>
            <a:lvl4pPr marL="457200">
              <a:buFont typeface="System Font"/>
              <a:buChar char="–"/>
              <a:defRPr sz="1600">
                <a:solidFill>
                  <a:schemeClr val="tx1"/>
                </a:solidFill>
              </a:defRPr>
            </a:lvl4pPr>
            <a:lvl5pPr marL="685800">
              <a:buFont typeface="Arial" panose="020B0604020202020204" pitchFamily="34" charset="0"/>
              <a:buChar char="•"/>
              <a:defRPr sz="1600">
                <a:solidFill>
                  <a:schemeClr val="tx1"/>
                </a:solidFill>
              </a:defRPr>
            </a:lvl5pPr>
          </a:lstStyle>
          <a:p>
            <a:pPr lvl="0"/>
            <a:r>
              <a:rPr lang="en-US" dirty="0"/>
              <a:t>Place sub-headline here in GT </a:t>
            </a:r>
            <a:r>
              <a:rPr lang="en-US" dirty="0" err="1"/>
              <a:t>Sectra</a:t>
            </a:r>
            <a:r>
              <a:rPr lang="en-US" dirty="0"/>
              <a:t> Fine,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Tree>
    <p:extLst>
      <p:ext uri="{BB962C8B-B14F-4D97-AF65-F5344CB8AC3E}">
        <p14:creationId xmlns:p14="http://schemas.microsoft.com/office/powerpoint/2010/main" val="29491802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dirty="0"/>
              <a:t>Add image</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a:t>
            </a:r>
          </a:p>
        </p:txBody>
      </p:sp>
    </p:spTree>
    <p:extLst>
      <p:ext uri="{BB962C8B-B14F-4D97-AF65-F5344CB8AC3E}">
        <p14:creationId xmlns:p14="http://schemas.microsoft.com/office/powerpoint/2010/main" val="3533115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dirty="0"/>
              <a:t>Add image here</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rPr>
              <a:t>Copyright © 2020 Accenture. All rights reserved.</a:t>
            </a:r>
            <a:endParaRPr lang="en-US" noProof="0" dirty="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nº›</a:t>
            </a:fld>
            <a:endParaRPr lang="en-US" noProof="0" dirty="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Tree>
    <p:extLst>
      <p:ext uri="{BB962C8B-B14F-4D97-AF65-F5344CB8AC3E}">
        <p14:creationId xmlns:p14="http://schemas.microsoft.com/office/powerpoint/2010/main" val="1162012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Welcome</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870882387"/>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dirty="0"/>
              <a:t>Add image here</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dirty="0"/>
              <a:t>Add image here</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0000"/>
                </a:solidFill>
                <a:effectLst/>
                <a:uLnTx/>
                <a:uFillTx/>
                <a:latin typeface="Graphik"/>
                <a:ea typeface="+mj-ea"/>
                <a:cs typeface="+mj-cs"/>
              </a:rPr>
              <a:t>P</a:t>
            </a:r>
            <a:r>
              <a:rPr kumimoji="0" lang="en-US" sz="3600" b="1" i="0" u="none" strike="noStrike" kern="1200" cap="none" spc="0" normalizeH="0" baseline="0" noProof="0" dirty="0">
                <a:ln>
                  <a:noFill/>
                </a:ln>
                <a:solidFill>
                  <a:srgbClr val="000000"/>
                </a:solidFill>
                <a:effectLst/>
                <a:uLnTx/>
                <a:uFillTx/>
                <a:latin typeface="Graphik"/>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rPr>
              <a:t>Copyright © 2020 Accenture. All rights reserved.</a:t>
            </a:r>
            <a:endParaRPr lang="en-US" noProof="0" dirty="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nº›</a:t>
            </a:fld>
            <a:endParaRPr lang="en-US" noProof="0" dirty="0">
              <a:solidFill>
                <a:schemeClr val="bg1">
                  <a:alpha val="75000"/>
                </a:schemeClr>
              </a:solidFill>
            </a:endParaRPr>
          </a:p>
        </p:txBody>
      </p:sp>
    </p:spTree>
    <p:extLst>
      <p:ext uri="{BB962C8B-B14F-4D97-AF65-F5344CB8AC3E}">
        <p14:creationId xmlns:p14="http://schemas.microsoft.com/office/powerpoint/2010/main" val="41362061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5ACBF0"/>
          </p15:clr>
        </p15:guide>
        <p15:guide id="2" pos="1920" userDrawn="1">
          <p15:clr>
            <a:srgbClr val="5ACBF0"/>
          </p15:clr>
        </p15:guide>
        <p15:guide id="3" pos="5760" userDrawn="1">
          <p15:clr>
            <a:srgbClr val="5ACBF0"/>
          </p15:clr>
        </p15:guide>
        <p15:guide id="4" orient="horz" pos="1985"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Tree>
    <p:extLst>
      <p:ext uri="{BB962C8B-B14F-4D97-AF65-F5344CB8AC3E}">
        <p14:creationId xmlns:p14="http://schemas.microsoft.com/office/powerpoint/2010/main" val="4223365089"/>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Light 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77A31FE-1E07-4053-A99E-D3461DEE40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7" y="668"/>
            <a:ext cx="12189628" cy="6857332"/>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key message here</a:t>
            </a:r>
          </a:p>
        </p:txBody>
      </p:sp>
      <p:sp>
        <p:nvSpPr>
          <p:cNvPr id="6" name="TextBox 5">
            <a:extLst>
              <a:ext uri="{FF2B5EF4-FFF2-40B4-BE49-F238E27FC236}">
                <a16:creationId xmlns:a16="http://schemas.microsoft.com/office/drawing/2014/main" id="{C36B84D5-0A22-4711-8F52-BDC8137A168E}"/>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8" name="TextBox 7">
            <a:extLst>
              <a:ext uri="{FF2B5EF4-FFF2-40B4-BE49-F238E27FC236}">
                <a16:creationId xmlns:a16="http://schemas.microsoft.com/office/drawing/2014/main" id="{3CADCD88-2176-4497-B5B6-CEC45FAC70F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nº›</a:t>
            </a:fld>
            <a:endParaRPr lang="en-US" noProof="0" dirty="0">
              <a:solidFill>
                <a:schemeClr val="tx1">
                  <a:alpha val="75000"/>
                </a:schemeClr>
              </a:solidFill>
            </a:endParaRPr>
          </a:p>
        </p:txBody>
      </p:sp>
      <p:pic>
        <p:nvPicPr>
          <p:cNvPr id="4" name="Picture 3">
            <a:extLst>
              <a:ext uri="{FF2B5EF4-FFF2-40B4-BE49-F238E27FC236}">
                <a16:creationId xmlns:a16="http://schemas.microsoft.com/office/drawing/2014/main" id="{23951368-DA63-486C-A3F0-C29653258BF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6" cy="202327"/>
          </a:xfrm>
          <a:prstGeom prst="rect">
            <a:avLst/>
          </a:prstGeom>
        </p:spPr>
      </p:pic>
    </p:spTree>
    <p:extLst>
      <p:ext uri="{BB962C8B-B14F-4D97-AF65-F5344CB8AC3E}">
        <p14:creationId xmlns:p14="http://schemas.microsoft.com/office/powerpoint/2010/main" val="709745234"/>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nº›</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spTree>
    <p:extLst>
      <p:ext uri="{BB962C8B-B14F-4D97-AF65-F5344CB8AC3E}">
        <p14:creationId xmlns:p14="http://schemas.microsoft.com/office/powerpoint/2010/main" val="3536137899"/>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nº›</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Tree>
    <p:extLst>
      <p:ext uri="{BB962C8B-B14F-4D97-AF65-F5344CB8AC3E}">
        <p14:creationId xmlns:p14="http://schemas.microsoft.com/office/powerpoint/2010/main" val="101723486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Tree>
    <p:extLst>
      <p:ext uri="{BB962C8B-B14F-4D97-AF65-F5344CB8AC3E}">
        <p14:creationId xmlns:p14="http://schemas.microsoft.com/office/powerpoint/2010/main" val="1434423322"/>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Tree>
    <p:extLst>
      <p:ext uri="{BB962C8B-B14F-4D97-AF65-F5344CB8AC3E}">
        <p14:creationId xmlns:p14="http://schemas.microsoft.com/office/powerpoint/2010/main" val="10432450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S with Image">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4FFA725-883D-D243-B475-CEF8C282ED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Welcome</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0999" y="5376231"/>
            <a:ext cx="670786" cy="710244"/>
          </a:xfrm>
          <a:prstGeom prst="rect">
            <a:avLst/>
          </a:prstGeom>
        </p:spPr>
      </p:pic>
    </p:spTree>
    <p:extLst>
      <p:ext uri="{BB962C8B-B14F-4D97-AF65-F5344CB8AC3E}">
        <p14:creationId xmlns:p14="http://schemas.microsoft.com/office/powerpoint/2010/main" val="3715861355"/>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S ">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Welcome</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0999" y="5376231"/>
            <a:ext cx="670786" cy="710244"/>
          </a:xfrm>
          <a:prstGeom prst="rect">
            <a:avLst/>
          </a:prstGeom>
        </p:spPr>
      </p:pic>
    </p:spTree>
    <p:extLst>
      <p:ext uri="{BB962C8B-B14F-4D97-AF65-F5344CB8AC3E}">
        <p14:creationId xmlns:p14="http://schemas.microsoft.com/office/powerpoint/2010/main" val="304173096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Image - Centered, GTS">
    <p:bg>
      <p:bgPr>
        <a:solidFill>
          <a:schemeClr val="accent3"/>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6A165409-AACC-4605-8892-1A883468FD7E}"/>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provided selections in the image library</a:t>
            </a:r>
            <a:endParaRPr lang="en-US" noProof="0" dirty="0"/>
          </a:p>
        </p:txBody>
      </p:sp>
      <p:pic>
        <p:nvPicPr>
          <p:cNvPr id="2" name="Picture 1" descr="A picture containing card, drawing, crosswalk, table&#10;&#10;Description automatically generated">
            <a:extLst>
              <a:ext uri="{FF2B5EF4-FFF2-40B4-BE49-F238E27FC236}">
                <a16:creationId xmlns:a16="http://schemas.microsoft.com/office/drawing/2014/main" id="{3C7C075D-013F-4D6D-8EA2-7E4465FC22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60607" y="5376231"/>
            <a:ext cx="670786" cy="710244"/>
          </a:xfrm>
          <a:prstGeom prst="rect">
            <a:avLst/>
          </a:prstGeom>
        </p:spPr>
      </p:pic>
      <p:sp>
        <p:nvSpPr>
          <p:cNvPr id="5" name="TextBox 4">
            <a:extLst>
              <a:ext uri="{FF2B5EF4-FFF2-40B4-BE49-F238E27FC236}">
                <a16:creationId xmlns:a16="http://schemas.microsoft.com/office/drawing/2014/main" id="{C12FF000-7B73-46EF-AF03-BC821DE671E7}"/>
              </a:ext>
            </a:extLst>
          </p:cNvPr>
          <p:cNvSpPr txBox="1"/>
          <p:nvPr userDrawn="1"/>
        </p:nvSpPr>
        <p:spPr>
          <a:xfrm>
            <a:off x="8698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fld id="{4202F806-53EB-4AFB-B0F7-2A7BC4E5136F}" type="datetime2">
              <a:rPr lang="en-US" smtClean="0"/>
              <a:t>Friday, August 27, 2021</a:t>
            </a:fld>
            <a:endParaRPr lang="en-US" dirty="0"/>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dirty="0"/>
              <a:t>Place subtitle here in GT Sectra Fine 24pt</a:t>
            </a:r>
          </a:p>
        </p:txBody>
      </p:sp>
    </p:spTree>
    <p:extLst>
      <p:ext uri="{BB962C8B-B14F-4D97-AF65-F5344CB8AC3E}">
        <p14:creationId xmlns:p14="http://schemas.microsoft.com/office/powerpoint/2010/main" val="2257348301"/>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Image - Centered, Logo">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fld id="{6074C878-35E6-4631-95D1-AE66D6398682}" type="datetime2">
              <a:rPr lang="en-US" smtClean="0"/>
              <a:t>Friday, August 27, 2021</a:t>
            </a:fld>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10" name="TextBox 9">
            <a:extLst>
              <a:ext uri="{FF2B5EF4-FFF2-40B4-BE49-F238E27FC236}">
                <a16:creationId xmlns:a16="http://schemas.microsoft.com/office/drawing/2014/main" id="{175A7BBE-17FB-4B75-B79B-F6834CE3706C}"/>
              </a:ext>
            </a:extLst>
          </p:cNvPr>
          <p:cNvSpPr txBox="1"/>
          <p:nvPr userDrawn="1"/>
        </p:nvSpPr>
        <p:spPr>
          <a:xfrm>
            <a:off x="8698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dirty="0"/>
              <a:t>Place subtitle here in GT Sectra Fine 24pt</a:t>
            </a:r>
          </a:p>
        </p:txBody>
      </p:sp>
      <p:sp>
        <p:nvSpPr>
          <p:cNvPr id="18" name="TextBox 17">
            <a:extLst>
              <a:ext uri="{FF2B5EF4-FFF2-40B4-BE49-F238E27FC236}">
                <a16:creationId xmlns:a16="http://schemas.microsoft.com/office/drawing/2014/main" id="{6A165409-AACC-4605-8892-1A883468FD7E}"/>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provided selections in the image library</a:t>
            </a:r>
            <a:endParaRPr lang="en-US" noProof="0" dirty="0"/>
          </a:p>
        </p:txBody>
      </p:sp>
      <p:pic>
        <p:nvPicPr>
          <p:cNvPr id="5" name="Graphic 5">
            <a:extLst>
              <a:ext uri="{FF2B5EF4-FFF2-40B4-BE49-F238E27FC236}">
                <a16:creationId xmlns:a16="http://schemas.microsoft.com/office/drawing/2014/main" id="{AB0147B5-7C98-4E5D-8901-C96CE8A29E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53884" y="5376231"/>
            <a:ext cx="1884233" cy="498015"/>
          </a:xfrm>
          <a:prstGeom prst="rect">
            <a:avLst/>
          </a:prstGeom>
        </p:spPr>
      </p:pic>
    </p:spTree>
    <p:extLst>
      <p:ext uri="{BB962C8B-B14F-4D97-AF65-F5344CB8AC3E}">
        <p14:creationId xmlns:p14="http://schemas.microsoft.com/office/powerpoint/2010/main" val="4143053903"/>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t>Friday, August 27, 2021</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9" name="TextBox 8">
            <a:extLst>
              <a:ext uri="{FF2B5EF4-FFF2-40B4-BE49-F238E27FC236}">
                <a16:creationId xmlns:a16="http://schemas.microsoft.com/office/drawing/2014/main" id="{F9D1A883-A380-48BD-9784-E5D4EAA2714C}"/>
              </a:ext>
            </a:extLst>
          </p:cNvPr>
          <p:cNvSpPr txBox="1"/>
          <p:nvPr userDrawn="1"/>
        </p:nvSpPr>
        <p:spPr>
          <a:xfrm>
            <a:off x="381000" y="6058209"/>
            <a:ext cx="3112110" cy="253691"/>
          </a:xfrm>
          <a:prstGeom prst="rect">
            <a:avLst/>
          </a:prstGeom>
          <a:noFill/>
        </p:spPr>
        <p:txBody>
          <a:bodyPr wrap="square" lIns="0" tIns="0" rIns="0" bIns="0" rtlCol="0" anchor="b">
            <a:noAutofit/>
          </a:bodyPr>
          <a:lstStyle/>
          <a:p>
            <a:pPr marL="0" marR="0" lvl="0" indent="0" algn="l"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dirty="0"/>
              <a:t>Place subtitle here in GT Sectra Fine 24pt</a:t>
            </a:r>
          </a:p>
        </p:txBody>
      </p:sp>
    </p:spTree>
    <p:extLst>
      <p:ext uri="{BB962C8B-B14F-4D97-AF65-F5344CB8AC3E}">
        <p14:creationId xmlns:p14="http://schemas.microsoft.com/office/powerpoint/2010/main" val="26060915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nº›</a:t>
            </a:fld>
            <a:endParaRPr lang="en-US" noProof="0" dirty="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nº›</a:t>
            </a:fld>
            <a:endParaRPr lang="en-US" dirty="0"/>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Friday, August 27, 2021</a:t>
            </a:fld>
            <a:endParaRPr lang="en-US" dirty="0"/>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48" cstate="print">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666" r:id="rId1"/>
    <p:sldLayoutId id="2147483729" r:id="rId2"/>
    <p:sldLayoutId id="2147483741" r:id="rId3"/>
    <p:sldLayoutId id="2147483682" r:id="rId4"/>
    <p:sldLayoutId id="2147483734" r:id="rId5"/>
    <p:sldLayoutId id="2147483742" r:id="rId6"/>
    <p:sldLayoutId id="2147483733" r:id="rId7"/>
    <p:sldLayoutId id="2147483730" r:id="rId8"/>
    <p:sldLayoutId id="2147483728" r:id="rId9"/>
    <p:sldLayoutId id="2147483743" r:id="rId10"/>
    <p:sldLayoutId id="2147483744" r:id="rId11"/>
    <p:sldLayoutId id="2147483732" r:id="rId12"/>
    <p:sldLayoutId id="2147483731" r:id="rId13"/>
    <p:sldLayoutId id="2147483681" r:id="rId14"/>
    <p:sldLayoutId id="2147483649" r:id="rId15"/>
    <p:sldLayoutId id="2147483737" r:id="rId16"/>
    <p:sldLayoutId id="2147483651" r:id="rId17"/>
    <p:sldLayoutId id="2147483721" r:id="rId18"/>
    <p:sldLayoutId id="2147483750" r:id="rId19"/>
    <p:sldLayoutId id="2147483745" r:id="rId20"/>
    <p:sldLayoutId id="2147483746" r:id="rId21"/>
    <p:sldLayoutId id="2147483747" r:id="rId22"/>
    <p:sldLayoutId id="2147483739" r:id="rId23"/>
    <p:sldLayoutId id="2147483748" r:id="rId24"/>
    <p:sldLayoutId id="2147483724" r:id="rId25"/>
    <p:sldLayoutId id="2147483723" r:id="rId26"/>
    <p:sldLayoutId id="2147483725" r:id="rId27"/>
    <p:sldLayoutId id="2147483673" r:id="rId28"/>
    <p:sldLayoutId id="2147483653" r:id="rId29"/>
    <p:sldLayoutId id="2147483722" r:id="rId30"/>
    <p:sldLayoutId id="2147483693" r:id="rId31"/>
    <p:sldLayoutId id="2147483701" r:id="rId32"/>
    <p:sldLayoutId id="2147483668" r:id="rId33"/>
    <p:sldLayoutId id="2147483707" r:id="rId34"/>
    <p:sldLayoutId id="2147483714" r:id="rId35"/>
    <p:sldLayoutId id="2147483657" r:id="rId36"/>
    <p:sldLayoutId id="2147483679" r:id="rId37"/>
    <p:sldLayoutId id="2147483661" r:id="rId38"/>
    <p:sldLayoutId id="2147483678" r:id="rId39"/>
    <p:sldLayoutId id="2147483663" r:id="rId40"/>
    <p:sldLayoutId id="2147483667" r:id="rId41"/>
    <p:sldLayoutId id="2147483749" r:id="rId42"/>
    <p:sldLayoutId id="2147483726" r:id="rId43"/>
    <p:sldLayoutId id="2147483688" r:id="rId44"/>
    <p:sldLayoutId id="2147483751" r:id="rId45"/>
    <p:sldLayoutId id="2147483655" r:id="rId46"/>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5ACBF0"/>
          </p15:clr>
        </p15:guide>
        <p15:guide id="2" orient="horz" pos="3976" userDrawn="1">
          <p15:clr>
            <a:srgbClr val="5ACBF0"/>
          </p15:clr>
        </p15:guide>
        <p15:guide id="3" pos="240" userDrawn="1">
          <p15:clr>
            <a:srgbClr val="5ACBF0"/>
          </p15:clr>
        </p15:guide>
        <p15:guide id="4" pos="7440" userDrawn="1">
          <p15:clr>
            <a:srgbClr val="5ACBF0"/>
          </p15:clr>
        </p15:guide>
        <p15:guide id="5" orient="horz" pos="4148"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6.xml"/></Relationships>
</file>

<file path=ppt/slides/_rels/slide10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43.xml"/><Relationship Id="rId1" Type="http://schemas.openxmlformats.org/officeDocument/2006/relationships/slideLayout" Target="../slideLayouts/slideLayout26.xml"/><Relationship Id="rId4" Type="http://schemas.openxmlformats.org/officeDocument/2006/relationships/chart" Target="../charts/chart38.xml"/></Relationships>
</file>

<file path=ppt/slides/_rels/slide10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44.xml"/><Relationship Id="rId1" Type="http://schemas.openxmlformats.org/officeDocument/2006/relationships/slideLayout" Target="../slideLayouts/slideLayout26.xml"/><Relationship Id="rId4" Type="http://schemas.openxmlformats.org/officeDocument/2006/relationships/chart" Target="../charts/chart39.xml"/></Relationships>
</file>

<file path=ppt/slides/_rels/slide10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45.xml"/><Relationship Id="rId1" Type="http://schemas.openxmlformats.org/officeDocument/2006/relationships/slideLayout" Target="../slideLayouts/slideLayout26.xml"/><Relationship Id="rId4" Type="http://schemas.openxmlformats.org/officeDocument/2006/relationships/chart" Target="../charts/chart40.xml"/></Relationships>
</file>

<file path=ppt/slides/_rels/slide10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46.xml"/><Relationship Id="rId1" Type="http://schemas.openxmlformats.org/officeDocument/2006/relationships/slideLayout" Target="../slideLayouts/slideLayout26.xml"/><Relationship Id="rId4" Type="http://schemas.openxmlformats.org/officeDocument/2006/relationships/chart" Target="../charts/chart41.xml"/></Relationships>
</file>

<file path=ppt/slides/_rels/slide10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47.xml"/><Relationship Id="rId1" Type="http://schemas.openxmlformats.org/officeDocument/2006/relationships/slideLayout" Target="../slideLayouts/slideLayout26.xml"/><Relationship Id="rId4" Type="http://schemas.openxmlformats.org/officeDocument/2006/relationships/chart" Target="../charts/chart42.xml"/></Relationships>
</file>

<file path=ppt/slides/_rels/slide10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48.xml"/><Relationship Id="rId1" Type="http://schemas.openxmlformats.org/officeDocument/2006/relationships/slideLayout" Target="../slideLayouts/slideLayout26.xml"/><Relationship Id="rId4" Type="http://schemas.openxmlformats.org/officeDocument/2006/relationships/chart" Target="../charts/chart43.xml"/></Relationships>
</file>

<file path=ppt/slides/_rels/slide106.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slideLayout" Target="../slideLayouts/slideLayout26.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2" Type="http://schemas.openxmlformats.org/officeDocument/2006/relationships/tags" Target="../tags/tag6.xml"/><Relationship Id="rId16" Type="http://schemas.openxmlformats.org/officeDocument/2006/relationships/chart" Target="../charts/chart44.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slide" Target="slide60.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notesSlide" Target="../notesSlides/notesSlide49.xml"/></Relationships>
</file>

<file path=ppt/slides/_rels/slide10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Layout" Target="../slideLayouts/slideLayout26.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2" Type="http://schemas.openxmlformats.org/officeDocument/2006/relationships/tags" Target="../tags/tag18.xml"/><Relationship Id="rId16" Type="http://schemas.openxmlformats.org/officeDocument/2006/relationships/chart" Target="../charts/chart45.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slide" Target="slide60.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notesSlide" Target="../notesSlides/notesSlide50.xml"/></Relationships>
</file>

<file path=ppt/slides/_rels/slide10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1.xml"/><Relationship Id="rId1" Type="http://schemas.openxmlformats.org/officeDocument/2006/relationships/slideLayout" Target="../slideLayouts/slideLayout26.xml"/></Relationships>
</file>

<file path=ppt/slides/_rels/slide109.xml.rels><?xml version="1.0" encoding="UTF-8" standalone="yes"?>
<Relationships xmlns="http://schemas.openxmlformats.org/package/2006/relationships"><Relationship Id="rId8" Type="http://schemas.openxmlformats.org/officeDocument/2006/relationships/slide" Target="slide146.xml"/><Relationship Id="rId3" Type="http://schemas.openxmlformats.org/officeDocument/2006/relationships/slide" Target="slide110.xml"/><Relationship Id="rId7" Type="http://schemas.openxmlformats.org/officeDocument/2006/relationships/slide" Target="slide143.xml"/><Relationship Id="rId2" Type="http://schemas.openxmlformats.org/officeDocument/2006/relationships/notesSlide" Target="../notesSlides/notesSlide52.xml"/><Relationship Id="rId1" Type="http://schemas.openxmlformats.org/officeDocument/2006/relationships/slideLayout" Target="../slideLayouts/slideLayout19.xml"/><Relationship Id="rId6" Type="http://schemas.openxmlformats.org/officeDocument/2006/relationships/slide" Target="slide138.xml"/><Relationship Id="rId5" Type="http://schemas.openxmlformats.org/officeDocument/2006/relationships/slide" Target="slide130.xml"/><Relationship Id="rId10" Type="http://schemas.openxmlformats.org/officeDocument/2006/relationships/slide" Target="slide60.xml"/><Relationship Id="rId4" Type="http://schemas.openxmlformats.org/officeDocument/2006/relationships/slide" Target="slide120.xml"/><Relationship Id="rId9" Type="http://schemas.openxmlformats.org/officeDocument/2006/relationships/slide" Target="slide15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3.xml"/><Relationship Id="rId1" Type="http://schemas.openxmlformats.org/officeDocument/2006/relationships/slideLayout" Target="../slideLayouts/slideLayout23.xml"/><Relationship Id="rId4" Type="http://schemas.openxmlformats.org/officeDocument/2006/relationships/slide" Target="slide109.xml"/></Relationships>
</file>

<file path=ppt/slides/_rels/slide11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4.xml"/><Relationship Id="rId1" Type="http://schemas.openxmlformats.org/officeDocument/2006/relationships/slideLayout" Target="../slideLayouts/slideLayout46.xml"/></Relationships>
</file>

<file path=ppt/slides/_rels/slide11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5.xml"/><Relationship Id="rId1" Type="http://schemas.openxmlformats.org/officeDocument/2006/relationships/slideLayout" Target="../slideLayouts/slideLayout46.xml"/></Relationships>
</file>

<file path=ppt/slides/_rels/slide11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6.xml"/><Relationship Id="rId1" Type="http://schemas.openxmlformats.org/officeDocument/2006/relationships/slideLayout" Target="../slideLayouts/slideLayout46.xml"/></Relationships>
</file>

<file path=ppt/slides/_rels/slide11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7.xml"/><Relationship Id="rId1" Type="http://schemas.openxmlformats.org/officeDocument/2006/relationships/slideLayout" Target="../slideLayouts/slideLayout46.xml"/></Relationships>
</file>

<file path=ppt/slides/_rels/slide11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8.xml"/><Relationship Id="rId1" Type="http://schemas.openxmlformats.org/officeDocument/2006/relationships/slideLayout" Target="../slideLayouts/slideLayout46.xml"/></Relationships>
</file>

<file path=ppt/slides/_rels/slide11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9.xml"/><Relationship Id="rId1" Type="http://schemas.openxmlformats.org/officeDocument/2006/relationships/slideLayout" Target="../slideLayouts/slideLayout46.xml"/></Relationships>
</file>

<file path=ppt/slides/_rels/slide11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60.xml"/><Relationship Id="rId1" Type="http://schemas.openxmlformats.org/officeDocument/2006/relationships/slideLayout" Target="../slideLayouts/slideLayout46.xml"/></Relationships>
</file>

<file path=ppt/slides/_rels/slide11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61.xml"/><Relationship Id="rId1" Type="http://schemas.openxmlformats.org/officeDocument/2006/relationships/slideLayout" Target="../slideLayouts/slideLayout46.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slide" Target="slide60.xml"/><Relationship Id="rId4" Type="http://schemas.openxmlformats.org/officeDocument/2006/relationships/notesSlide" Target="../notesSlides/notesSlide6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63.xml"/><Relationship Id="rId1" Type="http://schemas.openxmlformats.org/officeDocument/2006/relationships/slideLayout" Target="../slideLayouts/slideLayout23.xml"/><Relationship Id="rId4" Type="http://schemas.openxmlformats.org/officeDocument/2006/relationships/slide" Target="slide109.xml"/></Relationships>
</file>

<file path=ppt/slides/_rels/slide12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64.xml"/><Relationship Id="rId1" Type="http://schemas.openxmlformats.org/officeDocument/2006/relationships/slideLayout" Target="../slideLayouts/slideLayout46.xml"/></Relationships>
</file>

<file path=ppt/slides/_rels/slide12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65.xml"/><Relationship Id="rId1" Type="http://schemas.openxmlformats.org/officeDocument/2006/relationships/slideLayout" Target="../slideLayouts/slideLayout46.xml"/></Relationships>
</file>

<file path=ppt/slides/_rels/slide12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66.xml"/><Relationship Id="rId1" Type="http://schemas.openxmlformats.org/officeDocument/2006/relationships/slideLayout" Target="../slideLayouts/slideLayout46.xml"/></Relationships>
</file>

<file path=ppt/slides/_rels/slide12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67.xml"/><Relationship Id="rId1" Type="http://schemas.openxmlformats.org/officeDocument/2006/relationships/slideLayout" Target="../slideLayouts/slideLayout46.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 Target="slide60.xml"/><Relationship Id="rId4" Type="http://schemas.openxmlformats.org/officeDocument/2006/relationships/notesSlide" Target="../notesSlides/notesSlide68.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slide" Target="slide60.xml"/><Relationship Id="rId4" Type="http://schemas.openxmlformats.org/officeDocument/2006/relationships/notesSlide" Target="../notesSlides/notesSlide69.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slide" Target="slide60.xml"/><Relationship Id="rId4" Type="http://schemas.openxmlformats.org/officeDocument/2006/relationships/notesSlide" Target="../notesSlides/notesSlide70.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 Target="slide60.xml"/><Relationship Id="rId4" Type="http://schemas.openxmlformats.org/officeDocument/2006/relationships/notesSlide" Target="../notesSlides/notesSlide71.xml"/></Relationships>
</file>

<file path=ppt/slides/_rels/slide12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72.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73.xml"/><Relationship Id="rId1" Type="http://schemas.openxmlformats.org/officeDocument/2006/relationships/slideLayout" Target="../slideLayouts/slideLayout23.xml"/><Relationship Id="rId4" Type="http://schemas.openxmlformats.org/officeDocument/2006/relationships/slide" Target="slide109.xml"/></Relationships>
</file>

<file path=ppt/slides/_rels/slide13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74.xml"/><Relationship Id="rId1" Type="http://schemas.openxmlformats.org/officeDocument/2006/relationships/slideLayout" Target="../slideLayouts/slideLayout46.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slide" Target="slide60.xml"/><Relationship Id="rId4" Type="http://schemas.openxmlformats.org/officeDocument/2006/relationships/notesSlide" Target="../notesSlides/notesSlide75.xml"/></Relationships>
</file>

<file path=ppt/slides/_rels/slide13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76.xml"/><Relationship Id="rId1" Type="http://schemas.openxmlformats.org/officeDocument/2006/relationships/slideLayout" Target="../slideLayouts/slideLayout46.xml"/></Relationships>
</file>

<file path=ppt/slides/_rels/slide134.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slide" Target="slide60.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notesSlide" Target="../notesSlides/notesSlide77.xml"/><Relationship Id="rId5" Type="http://schemas.openxmlformats.org/officeDocument/2006/relationships/slideLayout" Target="../slideLayouts/slideLayout46.xml"/><Relationship Id="rId4" Type="http://schemas.openxmlformats.org/officeDocument/2006/relationships/tags" Target="../tags/tag44.xml"/></Relationships>
</file>

<file path=ppt/slides/_rels/slide13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78.xml"/><Relationship Id="rId1" Type="http://schemas.openxmlformats.org/officeDocument/2006/relationships/slideLayout" Target="../slideLayouts/slideLayout46.xml"/></Relationships>
</file>

<file path=ppt/slides/_rels/slide136.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slide" Target="slide60.xml"/><Relationship Id="rId5" Type="http://schemas.openxmlformats.org/officeDocument/2006/relationships/tags" Target="../tags/tag49.xml"/><Relationship Id="rId10" Type="http://schemas.openxmlformats.org/officeDocument/2006/relationships/notesSlide" Target="../notesSlides/notesSlide79.xml"/><Relationship Id="rId4" Type="http://schemas.openxmlformats.org/officeDocument/2006/relationships/tags" Target="../tags/tag48.xml"/><Relationship Id="rId9" Type="http://schemas.openxmlformats.org/officeDocument/2006/relationships/slideLayout" Target="../slideLayouts/slideLayout46.xml"/></Relationships>
</file>

<file path=ppt/slides/_rels/slide13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0.xml"/><Relationship Id="rId1" Type="http://schemas.openxmlformats.org/officeDocument/2006/relationships/slideLayout" Target="../slideLayouts/slideLayout46.xml"/></Relationships>
</file>

<file path=ppt/slides/_rels/slide13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1.xml"/><Relationship Id="rId1" Type="http://schemas.openxmlformats.org/officeDocument/2006/relationships/slideLayout" Target="../slideLayouts/slideLayout23.xml"/><Relationship Id="rId4" Type="http://schemas.openxmlformats.org/officeDocument/2006/relationships/slide" Target="slide109.xml"/></Relationships>
</file>

<file path=ppt/slides/_rels/slide13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 Target="slide60.xml"/><Relationship Id="rId4" Type="http://schemas.openxmlformats.org/officeDocument/2006/relationships/notesSlide" Target="../notesSlides/notesSlide8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3.xml"/><Relationship Id="rId1" Type="http://schemas.openxmlformats.org/officeDocument/2006/relationships/slideLayout" Target="../slideLayouts/slideLayout46.xml"/></Relationships>
</file>

<file path=ppt/slides/_rels/slide141.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 Target="slide60.xml"/><Relationship Id="rId5" Type="http://schemas.openxmlformats.org/officeDocument/2006/relationships/notesSlide" Target="../notesSlides/notesSlide84.xml"/><Relationship Id="rId4" Type="http://schemas.openxmlformats.org/officeDocument/2006/relationships/slideLayout" Target="../slideLayouts/slideLayout46.xml"/></Relationships>
</file>

<file path=ppt/slides/_rels/slide14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5.xml"/><Relationship Id="rId1" Type="http://schemas.openxmlformats.org/officeDocument/2006/relationships/slideLayout" Target="../slideLayouts/slideLayout46.xml"/></Relationships>
</file>

<file path=ppt/slides/_rels/slide14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6.xml"/><Relationship Id="rId1" Type="http://schemas.openxmlformats.org/officeDocument/2006/relationships/slideLayout" Target="../slideLayouts/slideLayout23.xml"/><Relationship Id="rId4" Type="http://schemas.openxmlformats.org/officeDocument/2006/relationships/slide" Target="slide109.xml"/></Relationships>
</file>

<file path=ppt/slides/_rels/slide14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7.xml"/><Relationship Id="rId1" Type="http://schemas.openxmlformats.org/officeDocument/2006/relationships/slideLayout" Target="../slideLayouts/slideLayout46.xml"/></Relationships>
</file>

<file path=ppt/slides/_rels/slide14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8.xml"/><Relationship Id="rId1" Type="http://schemas.openxmlformats.org/officeDocument/2006/relationships/slideLayout" Target="../slideLayouts/slideLayout46.xml"/></Relationships>
</file>

<file path=ppt/slides/_rels/slide14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9.xml"/><Relationship Id="rId1" Type="http://schemas.openxmlformats.org/officeDocument/2006/relationships/slideLayout" Target="../slideLayouts/slideLayout23.xml"/><Relationship Id="rId4" Type="http://schemas.openxmlformats.org/officeDocument/2006/relationships/slide" Target="slide109.xml"/></Relationships>
</file>

<file path=ppt/slides/_rels/slide14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0.xml"/><Relationship Id="rId1" Type="http://schemas.openxmlformats.org/officeDocument/2006/relationships/slideLayout" Target="../slideLayouts/slideLayout46.xml"/></Relationships>
</file>

<file path=ppt/slides/_rels/slide14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1.xml"/><Relationship Id="rId1" Type="http://schemas.openxmlformats.org/officeDocument/2006/relationships/slideLayout" Target="../slideLayouts/slideLayout46.xml"/></Relationships>
</file>

<file path=ppt/slides/_rels/slide14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2.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3.xml"/><Relationship Id="rId1" Type="http://schemas.openxmlformats.org/officeDocument/2006/relationships/slideLayout" Target="../slideLayouts/slideLayout46.xml"/></Relationships>
</file>

<file path=ppt/slides/_rels/slide15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4.xml"/><Relationship Id="rId1" Type="http://schemas.openxmlformats.org/officeDocument/2006/relationships/slideLayout" Target="../slideLayouts/slideLayout46.xml"/></Relationships>
</file>

<file path=ppt/slides/_rels/slide15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5.xml"/><Relationship Id="rId1" Type="http://schemas.openxmlformats.org/officeDocument/2006/relationships/slideLayout" Target="../slideLayouts/slideLayout46.xml"/></Relationships>
</file>

<file path=ppt/slides/_rels/slide15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6.xml"/><Relationship Id="rId1" Type="http://schemas.openxmlformats.org/officeDocument/2006/relationships/slideLayout" Target="../slideLayouts/slideLayout46.xml"/></Relationships>
</file>

<file path=ppt/slides/_rels/slide15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7.xml"/><Relationship Id="rId1" Type="http://schemas.openxmlformats.org/officeDocument/2006/relationships/slideLayout" Target="../slideLayouts/slideLayout46.xml"/></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46.xml"/><Relationship Id="rId1" Type="http://schemas.openxmlformats.org/officeDocument/2006/relationships/tags" Target="../tags/tag58.xml"/><Relationship Id="rId4" Type="http://schemas.openxmlformats.org/officeDocument/2006/relationships/slide" Target="slide60.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46.xml"/><Relationship Id="rId1" Type="http://schemas.openxmlformats.org/officeDocument/2006/relationships/tags" Target="../tags/tag59.xml"/><Relationship Id="rId4" Type="http://schemas.openxmlformats.org/officeDocument/2006/relationships/slide" Target="slide60.xml"/></Relationships>
</file>

<file path=ppt/slides/_rels/slide15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0.xml"/><Relationship Id="rId1" Type="http://schemas.openxmlformats.org/officeDocument/2006/relationships/slideLayout" Target="../slideLayouts/slideLayout23.xml"/><Relationship Id="rId4" Type="http://schemas.openxmlformats.org/officeDocument/2006/relationships/slide" Target="slide109.xml"/></Relationships>
</file>

<file path=ppt/slides/_rels/slide15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1.xml"/><Relationship Id="rId1" Type="http://schemas.openxmlformats.org/officeDocument/2006/relationships/slideLayout" Target="../slideLayouts/slideLayout46.xml"/></Relationships>
</file>

<file path=ppt/slides/_rels/slide15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2.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3.xml"/><Relationship Id="rId1" Type="http://schemas.openxmlformats.org/officeDocument/2006/relationships/slideLayout" Target="../slideLayouts/slideLayout46.xml"/></Relationships>
</file>

<file path=ppt/slides/_rels/slide16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4.xml"/><Relationship Id="rId1" Type="http://schemas.openxmlformats.org/officeDocument/2006/relationships/slideLayout" Target="../slideLayouts/slideLayout46.xml"/></Relationships>
</file>

<file path=ppt/slides/_rels/slide16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5.xml"/><Relationship Id="rId1" Type="http://schemas.openxmlformats.org/officeDocument/2006/relationships/slideLayout" Target="../slideLayouts/slideLayout46.xml"/></Relationships>
</file>

<file path=ppt/slides/_rels/slide163.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slide" Target="slide60.xml"/><Relationship Id="rId5" Type="http://schemas.openxmlformats.org/officeDocument/2006/relationships/notesSlide" Target="../notesSlides/notesSlide106.xml"/><Relationship Id="rId4" Type="http://schemas.openxmlformats.org/officeDocument/2006/relationships/slideLayout" Target="../slideLayouts/slideLayout46.xml"/></Relationships>
</file>

<file path=ppt/slides/_rels/slide16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7.xml"/><Relationship Id="rId1" Type="http://schemas.openxmlformats.org/officeDocument/2006/relationships/slideLayout" Target="../slideLayouts/slideLayout46.xml"/></Relationships>
</file>

<file path=ppt/slides/_rels/slide16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8.xml"/><Relationship Id="rId1" Type="http://schemas.openxmlformats.org/officeDocument/2006/relationships/slideLayout" Target="../slideLayouts/slideLayout46.xml"/></Relationships>
</file>

<file path=ppt/slides/_rels/slide16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9.xml"/><Relationship Id="rId1" Type="http://schemas.openxmlformats.org/officeDocument/2006/relationships/slideLayout" Target="../slideLayouts/slideLayout46.xml"/></Relationships>
</file>

<file path=ppt/slides/_rels/slide16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10.xml"/><Relationship Id="rId1" Type="http://schemas.openxmlformats.org/officeDocument/2006/relationships/slideLayout" Target="../slideLayouts/slideLayout46.xml"/></Relationships>
</file>

<file path=ppt/slides/_rels/slide16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11.xml"/><Relationship Id="rId1" Type="http://schemas.openxmlformats.org/officeDocument/2006/relationships/slideLayout" Target="../slideLayouts/slideLayout46.xml"/></Relationships>
</file>

<file path=ppt/slides/_rels/slide16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12.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2" Type="http://schemas.openxmlformats.org/officeDocument/2006/relationships/tags" Target="../tags/tag64.xml"/><Relationship Id="rId16" Type="http://schemas.openxmlformats.org/officeDocument/2006/relationships/slide" Target="slide60.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notesSlide" Target="../notesSlides/notesSlide113.xml"/><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slideLayout" Target="../slideLayouts/slideLayout46.xml"/></Relationships>
</file>

<file path=ppt/slides/_rels/slide171.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slide" Target="slide60.xml"/><Relationship Id="rId2" Type="http://schemas.openxmlformats.org/officeDocument/2006/relationships/tags" Target="../tags/tag77.xml"/><Relationship Id="rId16" Type="http://schemas.openxmlformats.org/officeDocument/2006/relationships/notesSlide" Target="../notesSlides/notesSlide114.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slideLayout" Target="../slideLayouts/slideLayout46.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s>
</file>

<file path=ppt/slides/_rels/slide172.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 Target="slide60.xml"/><Relationship Id="rId2" Type="http://schemas.openxmlformats.org/officeDocument/2006/relationships/tags" Target="../tags/tag91.xml"/><Relationship Id="rId16" Type="http://schemas.openxmlformats.org/officeDocument/2006/relationships/notesSlide" Target="../notesSlides/notesSlide115.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slideLayout" Target="../slideLayouts/slideLayout46.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s/_rels/slide17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slide" Target="slide60.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notesSlide" Target="../notesSlides/notesSlide116.xml"/><Relationship Id="rId5" Type="http://schemas.openxmlformats.org/officeDocument/2006/relationships/slideLayout" Target="../slideLayouts/slideLayout46.xml"/><Relationship Id="rId4" Type="http://schemas.openxmlformats.org/officeDocument/2006/relationships/tags" Target="../tags/tag107.xml"/></Relationships>
</file>

<file path=ppt/slides/_rels/slide174.xml.rels><?xml version="1.0" encoding="UTF-8" standalone="yes"?>
<Relationships xmlns="http://schemas.openxmlformats.org/package/2006/relationships"><Relationship Id="rId8" Type="http://schemas.openxmlformats.org/officeDocument/2006/relationships/notesSlide" Target="../notesSlides/notesSlide117.xml"/><Relationship Id="rId3" Type="http://schemas.openxmlformats.org/officeDocument/2006/relationships/tags" Target="../tags/tag110.xml"/><Relationship Id="rId7" Type="http://schemas.openxmlformats.org/officeDocument/2006/relationships/slideLayout" Target="../slideLayouts/slideLayout46.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slide" Target="slide60.xml"/></Relationships>
</file>

<file path=ppt/slides/_rels/slide17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18.xml"/><Relationship Id="rId1" Type="http://schemas.openxmlformats.org/officeDocument/2006/relationships/slideLayout" Target="../slideLayouts/slideLayout46.xml"/></Relationships>
</file>

<file path=ppt/slides/_rels/slide176.xml.rels><?xml version="1.0" encoding="UTF-8" standalone="yes"?>
<Relationships xmlns="http://schemas.openxmlformats.org/package/2006/relationships"><Relationship Id="rId8" Type="http://schemas.openxmlformats.org/officeDocument/2006/relationships/tags" Target="../tags/tag121.xml"/><Relationship Id="rId3" Type="http://schemas.openxmlformats.org/officeDocument/2006/relationships/tags" Target="../tags/tag116.xml"/><Relationship Id="rId7" Type="http://schemas.openxmlformats.org/officeDocument/2006/relationships/tags" Target="../tags/tag120.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10" Type="http://schemas.openxmlformats.org/officeDocument/2006/relationships/slide" Target="slide60.xml"/><Relationship Id="rId4" Type="http://schemas.openxmlformats.org/officeDocument/2006/relationships/tags" Target="../tags/tag117.xml"/><Relationship Id="rId9" Type="http://schemas.openxmlformats.org/officeDocument/2006/relationships/slideLayout" Target="../slideLayouts/slideLayout46.xml"/></Relationships>
</file>

<file path=ppt/slides/_rels/slide17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19.xml"/><Relationship Id="rId1" Type="http://schemas.openxmlformats.org/officeDocument/2006/relationships/slideLayout" Target="../slideLayouts/slideLayout46.xml"/></Relationships>
</file>

<file path=ppt/slides/_rels/slide17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0.xml"/><Relationship Id="rId1" Type="http://schemas.openxmlformats.org/officeDocument/2006/relationships/slideLayout" Target="../slideLayouts/slideLayout46.xml"/></Relationships>
</file>

<file path=ppt/slides/_rels/slide17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1.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2.xml"/><Relationship Id="rId1" Type="http://schemas.openxmlformats.org/officeDocument/2006/relationships/slideLayout" Target="../slideLayouts/slideLayout46.xml"/></Relationships>
</file>

<file path=ppt/slides/_rels/slide18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3.xml"/><Relationship Id="rId1" Type="http://schemas.openxmlformats.org/officeDocument/2006/relationships/slideLayout" Target="../slideLayouts/slideLayout46.xml"/></Relationships>
</file>

<file path=ppt/slides/_rels/slide182.xml.rels><?xml version="1.0" encoding="UTF-8" standalone="yes"?>
<Relationships xmlns="http://schemas.openxmlformats.org/package/2006/relationships"><Relationship Id="rId3" Type="http://schemas.openxmlformats.org/officeDocument/2006/relationships/slide" Target="slide183.xml"/><Relationship Id="rId2" Type="http://schemas.openxmlformats.org/officeDocument/2006/relationships/notesSlide" Target="../notesSlides/notesSlide124.xml"/><Relationship Id="rId1" Type="http://schemas.openxmlformats.org/officeDocument/2006/relationships/slideLayout" Target="../slideLayouts/slideLayout19.xml"/><Relationship Id="rId6" Type="http://schemas.openxmlformats.org/officeDocument/2006/relationships/slide" Target="slide60.xml"/><Relationship Id="rId5" Type="http://schemas.openxmlformats.org/officeDocument/2006/relationships/slide" Target="slide241.xml"/><Relationship Id="rId4" Type="http://schemas.openxmlformats.org/officeDocument/2006/relationships/slide" Target="slide222.xml"/></Relationships>
</file>

<file path=ppt/slides/_rels/slide183.xml.rels><?xml version="1.0" encoding="UTF-8" standalone="yes"?>
<Relationships xmlns="http://schemas.openxmlformats.org/package/2006/relationships"><Relationship Id="rId3" Type="http://schemas.openxmlformats.org/officeDocument/2006/relationships/slide" Target="slide182.xml"/><Relationship Id="rId2" Type="http://schemas.openxmlformats.org/officeDocument/2006/relationships/notesSlide" Target="../notesSlides/notesSlide125.xml"/><Relationship Id="rId1" Type="http://schemas.openxmlformats.org/officeDocument/2006/relationships/slideLayout" Target="../slideLayouts/slideLayout23.xml"/><Relationship Id="rId4" Type="http://schemas.openxmlformats.org/officeDocument/2006/relationships/slide" Target="slide60.xml"/></Relationships>
</file>

<file path=ppt/slides/_rels/slide18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6.xml"/><Relationship Id="rId1" Type="http://schemas.openxmlformats.org/officeDocument/2006/relationships/slideLayout" Target="../slideLayouts/slideLayout46.xml"/></Relationships>
</file>

<file path=ppt/slides/_rels/slide18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7.xml"/><Relationship Id="rId1" Type="http://schemas.openxmlformats.org/officeDocument/2006/relationships/slideLayout" Target="../slideLayouts/slideLayout46.xml"/></Relationships>
</file>

<file path=ppt/slides/_rels/slide18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8.xml"/><Relationship Id="rId1" Type="http://schemas.openxmlformats.org/officeDocument/2006/relationships/slideLayout" Target="../slideLayouts/slideLayout46.xml"/></Relationships>
</file>

<file path=ppt/slides/_rels/slide18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9.xml"/><Relationship Id="rId1" Type="http://schemas.openxmlformats.org/officeDocument/2006/relationships/slideLayout" Target="../slideLayouts/slideLayout46.xml"/></Relationships>
</file>

<file path=ppt/slides/_rels/slide18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30.xml"/><Relationship Id="rId1" Type="http://schemas.openxmlformats.org/officeDocument/2006/relationships/slideLayout" Target="../slideLayouts/slideLayout46.xml"/></Relationships>
</file>

<file path=ppt/slides/_rels/slide18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31.xml"/><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32.xml"/><Relationship Id="rId1" Type="http://schemas.openxmlformats.org/officeDocument/2006/relationships/slideLayout" Target="../slideLayouts/slideLayout46.xml"/></Relationships>
</file>

<file path=ppt/slides/_rels/slide19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33.xml"/><Relationship Id="rId1" Type="http://schemas.openxmlformats.org/officeDocument/2006/relationships/slideLayout" Target="../slideLayouts/slideLayout46.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46.xml"/><Relationship Id="rId1" Type="http://schemas.openxmlformats.org/officeDocument/2006/relationships/tags" Target="../tags/tag122.xml"/><Relationship Id="rId4" Type="http://schemas.openxmlformats.org/officeDocument/2006/relationships/slide" Target="slide60.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46.xml"/><Relationship Id="rId1" Type="http://schemas.openxmlformats.org/officeDocument/2006/relationships/tags" Target="../tags/tag123.xml"/><Relationship Id="rId4" Type="http://schemas.openxmlformats.org/officeDocument/2006/relationships/slide" Target="slide60.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46.xml"/><Relationship Id="rId1" Type="http://schemas.openxmlformats.org/officeDocument/2006/relationships/tags" Target="../tags/tag124.xml"/><Relationship Id="rId4" Type="http://schemas.openxmlformats.org/officeDocument/2006/relationships/slide" Target="slide60.xml"/></Relationships>
</file>

<file path=ppt/slides/_rels/slide195.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slide" Target="slide60.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notesSlide" Target="../notesSlides/notesSlide137.xml"/><Relationship Id="rId5" Type="http://schemas.openxmlformats.org/officeDocument/2006/relationships/slideLayout" Target="../slideLayouts/slideLayout46.xml"/><Relationship Id="rId4" Type="http://schemas.openxmlformats.org/officeDocument/2006/relationships/tags" Target="../tags/tag128.xml"/></Relationships>
</file>

<file path=ppt/slides/_rels/slide19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38.xml"/><Relationship Id="rId1" Type="http://schemas.openxmlformats.org/officeDocument/2006/relationships/slideLayout" Target="../slideLayouts/slideLayout46.xml"/></Relationships>
</file>

<file path=ppt/slides/_rels/slide19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39.xml"/><Relationship Id="rId1" Type="http://schemas.openxmlformats.org/officeDocument/2006/relationships/slideLayout" Target="../slideLayouts/slideLayout46.xml"/></Relationships>
</file>

<file path=ppt/slides/_rels/slide19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0.xml"/><Relationship Id="rId1" Type="http://schemas.openxmlformats.org/officeDocument/2006/relationships/slideLayout" Target="../slideLayouts/slideLayout46.xml"/></Relationships>
</file>

<file path=ppt/slides/_rels/slide199.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slide" Target="slide60.xml"/><Relationship Id="rId4" Type="http://schemas.openxmlformats.org/officeDocument/2006/relationships/tags" Target="../tags/tag132.xml"/><Relationship Id="rId9" Type="http://schemas.openxmlformats.org/officeDocument/2006/relationships/notesSlide" Target="../notesSlides/notesSlide1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2.xml"/><Relationship Id="rId1" Type="http://schemas.openxmlformats.org/officeDocument/2006/relationships/slideLayout" Target="../slideLayouts/slideLayout46.xml"/></Relationships>
</file>

<file path=ppt/slides/_rels/slide20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3.xml"/><Relationship Id="rId1" Type="http://schemas.openxmlformats.org/officeDocument/2006/relationships/slideLayout" Target="../slideLayouts/slideLayout46.xml"/></Relationships>
</file>

<file path=ppt/slides/_rels/slide20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4.xml"/><Relationship Id="rId1" Type="http://schemas.openxmlformats.org/officeDocument/2006/relationships/slideLayout" Target="../slideLayouts/slideLayout46.xml"/></Relationships>
</file>

<file path=ppt/slides/_rels/slide20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5.xml"/><Relationship Id="rId1" Type="http://schemas.openxmlformats.org/officeDocument/2006/relationships/slideLayout" Target="../slideLayouts/slideLayout46.xml"/></Relationships>
</file>

<file path=ppt/slides/_rels/slide20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6.xml"/><Relationship Id="rId1" Type="http://schemas.openxmlformats.org/officeDocument/2006/relationships/slideLayout" Target="../slideLayouts/slideLayout46.xml"/></Relationships>
</file>

<file path=ppt/slides/_rels/slide20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7.xml"/><Relationship Id="rId1" Type="http://schemas.openxmlformats.org/officeDocument/2006/relationships/slideLayout" Target="../slideLayouts/slideLayout46.xml"/></Relationships>
</file>

<file path=ppt/slides/_rels/slide20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8.xml"/><Relationship Id="rId1" Type="http://schemas.openxmlformats.org/officeDocument/2006/relationships/slideLayout" Target="../slideLayouts/slideLayout46.xml"/></Relationships>
</file>

<file path=ppt/slides/_rels/slide20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9.xml"/><Relationship Id="rId1" Type="http://schemas.openxmlformats.org/officeDocument/2006/relationships/slideLayout" Target="../slideLayouts/slideLayout46.xml"/></Relationships>
</file>

<file path=ppt/slides/_rels/slide20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0.xml"/><Relationship Id="rId1" Type="http://schemas.openxmlformats.org/officeDocument/2006/relationships/slideLayout" Target="../slideLayouts/slideLayout46.xml"/></Relationships>
</file>

<file path=ppt/slides/_rels/slide209.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slide" Target="slide60.xml"/><Relationship Id="rId5" Type="http://schemas.openxmlformats.org/officeDocument/2006/relationships/notesSlide" Target="../notesSlides/notesSlide151.xml"/><Relationship Id="rId4"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2.xml"/><Relationship Id="rId1" Type="http://schemas.openxmlformats.org/officeDocument/2006/relationships/slideLayout" Target="../slideLayouts/slideLayout46.xml"/></Relationships>
</file>

<file path=ppt/slides/_rels/slide21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3.xml"/><Relationship Id="rId1" Type="http://schemas.openxmlformats.org/officeDocument/2006/relationships/slideLayout" Target="../slideLayouts/slideLayout46.xml"/></Relationships>
</file>

<file path=ppt/slides/_rels/slide21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4.xml"/><Relationship Id="rId1" Type="http://schemas.openxmlformats.org/officeDocument/2006/relationships/slideLayout" Target="../slideLayouts/slideLayout46.xml"/></Relationships>
</file>

<file path=ppt/slides/_rels/slide21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5.xml"/><Relationship Id="rId1" Type="http://schemas.openxmlformats.org/officeDocument/2006/relationships/slideLayout" Target="../slideLayouts/slideLayout46.xml"/></Relationships>
</file>

<file path=ppt/slides/_rels/slide21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6.xml"/><Relationship Id="rId1" Type="http://schemas.openxmlformats.org/officeDocument/2006/relationships/slideLayout" Target="../slideLayouts/slideLayout46.xml"/></Relationships>
</file>

<file path=ppt/slides/_rels/slide21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7.xml"/><Relationship Id="rId1" Type="http://schemas.openxmlformats.org/officeDocument/2006/relationships/slideLayout" Target="../slideLayouts/slideLayout46.xml"/></Relationships>
</file>

<file path=ppt/slides/_rels/slide21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8.xml"/><Relationship Id="rId1" Type="http://schemas.openxmlformats.org/officeDocument/2006/relationships/slideLayout" Target="../slideLayouts/slideLayout46.xml"/></Relationships>
</file>

<file path=ppt/slides/_rels/slide21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9.xml"/><Relationship Id="rId1" Type="http://schemas.openxmlformats.org/officeDocument/2006/relationships/slideLayout" Target="../slideLayouts/slideLayout46.xml"/></Relationships>
</file>

<file path=ppt/slides/_rels/slide21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0.xml"/><Relationship Id="rId1" Type="http://schemas.openxmlformats.org/officeDocument/2006/relationships/slideLayout" Target="../slideLayouts/slideLayout46.xml"/></Relationships>
</file>

<file path=ppt/slides/_rels/slide21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1.xml"/><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2.xml"/><Relationship Id="rId1" Type="http://schemas.openxmlformats.org/officeDocument/2006/relationships/slideLayout" Target="../slideLayouts/slideLayout46.xml"/></Relationships>
</file>

<file path=ppt/slides/_rels/slide22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3.xml"/><Relationship Id="rId1" Type="http://schemas.openxmlformats.org/officeDocument/2006/relationships/slideLayout" Target="../slideLayouts/slideLayout46.xml"/></Relationships>
</file>

<file path=ppt/slides/_rels/slide222.xml.rels><?xml version="1.0" encoding="UTF-8" standalone="yes"?>
<Relationships xmlns="http://schemas.openxmlformats.org/package/2006/relationships"><Relationship Id="rId3" Type="http://schemas.openxmlformats.org/officeDocument/2006/relationships/slide" Target="slide182.xml"/><Relationship Id="rId2" Type="http://schemas.openxmlformats.org/officeDocument/2006/relationships/notesSlide" Target="../notesSlides/notesSlide164.xml"/><Relationship Id="rId1" Type="http://schemas.openxmlformats.org/officeDocument/2006/relationships/slideLayout" Target="../slideLayouts/slideLayout23.xml"/><Relationship Id="rId4" Type="http://schemas.openxmlformats.org/officeDocument/2006/relationships/slide" Target="slide60.xml"/></Relationships>
</file>

<file path=ppt/slides/_rels/slide22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5.xml"/><Relationship Id="rId1" Type="http://schemas.openxmlformats.org/officeDocument/2006/relationships/slideLayout" Target="../slideLayouts/slideLayout26.xml"/></Relationships>
</file>

<file path=ppt/slides/_rels/slide22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6.xml"/><Relationship Id="rId1" Type="http://schemas.openxmlformats.org/officeDocument/2006/relationships/slideLayout" Target="../slideLayouts/slideLayout26.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26.xml"/><Relationship Id="rId1" Type="http://schemas.openxmlformats.org/officeDocument/2006/relationships/tags" Target="../tags/tag139.xml"/><Relationship Id="rId4" Type="http://schemas.openxmlformats.org/officeDocument/2006/relationships/slide" Target="slide60.xml"/></Relationships>
</file>

<file path=ppt/slides/_rels/slide22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8.xml"/><Relationship Id="rId1" Type="http://schemas.openxmlformats.org/officeDocument/2006/relationships/slideLayout" Target="../slideLayouts/slideLayout46.xml"/></Relationships>
</file>

<file path=ppt/slides/_rels/slide22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9.xml"/><Relationship Id="rId1" Type="http://schemas.openxmlformats.org/officeDocument/2006/relationships/slideLayout" Target="../slideLayouts/slideLayout46.xml"/></Relationships>
</file>

<file path=ppt/slides/_rels/slide22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0.xml"/><Relationship Id="rId1" Type="http://schemas.openxmlformats.org/officeDocument/2006/relationships/slideLayout" Target="../slideLayouts/slideLayout46.xml"/></Relationships>
</file>

<file path=ppt/slides/_rels/slide22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1.xml"/><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2.xml"/><Relationship Id="rId1" Type="http://schemas.openxmlformats.org/officeDocument/2006/relationships/slideLayout" Target="../slideLayouts/slideLayout46.xml"/></Relationships>
</file>

<file path=ppt/slides/_rels/slide23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3.xml"/><Relationship Id="rId1" Type="http://schemas.openxmlformats.org/officeDocument/2006/relationships/slideLayout" Target="../slideLayouts/slideLayout46.xml"/></Relationships>
</file>

<file path=ppt/slides/_rels/slide23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4.xml"/><Relationship Id="rId1" Type="http://schemas.openxmlformats.org/officeDocument/2006/relationships/slideLayout" Target="../slideLayouts/slideLayout46.xml"/></Relationships>
</file>

<file path=ppt/slides/_rels/slide23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5.xml"/><Relationship Id="rId1" Type="http://schemas.openxmlformats.org/officeDocument/2006/relationships/slideLayout" Target="../slideLayouts/slideLayout46.xml"/></Relationships>
</file>

<file path=ppt/slides/_rels/slide23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6.xml"/><Relationship Id="rId1" Type="http://schemas.openxmlformats.org/officeDocument/2006/relationships/slideLayout" Target="../slideLayouts/slideLayout46.xml"/></Relationships>
</file>

<file path=ppt/slides/_rels/slide23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7.xml"/><Relationship Id="rId1" Type="http://schemas.openxmlformats.org/officeDocument/2006/relationships/slideLayout" Target="../slideLayouts/slideLayout46.xml"/></Relationships>
</file>

<file path=ppt/slides/_rels/slide23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8.xml"/><Relationship Id="rId1" Type="http://schemas.openxmlformats.org/officeDocument/2006/relationships/slideLayout" Target="../slideLayouts/slideLayout46.xml"/></Relationships>
</file>

<file path=ppt/slides/_rels/slide23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9.xml"/><Relationship Id="rId1" Type="http://schemas.openxmlformats.org/officeDocument/2006/relationships/slideLayout" Target="../slideLayouts/slideLayout46.xml"/></Relationships>
</file>

<file path=ppt/slides/_rels/slide23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0.xml"/><Relationship Id="rId1" Type="http://schemas.openxmlformats.org/officeDocument/2006/relationships/slideLayout" Target="../slideLayouts/slideLayout46.xml"/></Relationships>
</file>

<file path=ppt/slides/_rels/slide23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1.xml"/><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2.xml"/><Relationship Id="rId1" Type="http://schemas.openxmlformats.org/officeDocument/2006/relationships/slideLayout" Target="../slideLayouts/slideLayout46.xml"/></Relationships>
</file>

<file path=ppt/slides/_rels/slide241.xml.rels><?xml version="1.0" encoding="UTF-8" standalone="yes"?>
<Relationships xmlns="http://schemas.openxmlformats.org/package/2006/relationships"><Relationship Id="rId3" Type="http://schemas.openxmlformats.org/officeDocument/2006/relationships/slide" Target="slide182.xml"/><Relationship Id="rId2" Type="http://schemas.openxmlformats.org/officeDocument/2006/relationships/notesSlide" Target="../notesSlides/notesSlide183.xml"/><Relationship Id="rId1" Type="http://schemas.openxmlformats.org/officeDocument/2006/relationships/slideLayout" Target="../slideLayouts/slideLayout23.xml"/><Relationship Id="rId4" Type="http://schemas.openxmlformats.org/officeDocument/2006/relationships/slide" Target="slide60.xml"/></Relationships>
</file>

<file path=ppt/slides/_rels/slide24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4.xml"/><Relationship Id="rId1" Type="http://schemas.openxmlformats.org/officeDocument/2006/relationships/slideLayout" Target="../slideLayouts/slideLayout46.xml"/></Relationships>
</file>

<file path=ppt/slides/_rels/slide24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5.xml"/><Relationship Id="rId1" Type="http://schemas.openxmlformats.org/officeDocument/2006/relationships/slideLayout" Target="../slideLayouts/slideLayout46.xml"/></Relationships>
</file>

<file path=ppt/slides/_rels/slide24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6.xml"/><Relationship Id="rId1" Type="http://schemas.openxmlformats.org/officeDocument/2006/relationships/slideLayout" Target="../slideLayouts/slideLayout46.xml"/></Relationships>
</file>

<file path=ppt/slides/_rels/slide24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7.xml"/><Relationship Id="rId1" Type="http://schemas.openxmlformats.org/officeDocument/2006/relationships/slideLayout" Target="../slideLayouts/slideLayout46.xml"/></Relationships>
</file>

<file path=ppt/slides/_rels/slide24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8.xml"/><Relationship Id="rId1" Type="http://schemas.openxmlformats.org/officeDocument/2006/relationships/slideLayout" Target="../slideLayouts/slideLayout46.xml"/></Relationships>
</file>

<file path=ppt/slides/_rels/slide24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9.xml"/><Relationship Id="rId1" Type="http://schemas.openxmlformats.org/officeDocument/2006/relationships/slideLayout" Target="../slideLayouts/slideLayout46.xml"/></Relationships>
</file>

<file path=ppt/slides/_rels/slide24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0.xml"/><Relationship Id="rId1" Type="http://schemas.openxmlformats.org/officeDocument/2006/relationships/slideLayout" Target="../slideLayouts/slideLayout46.xml"/></Relationships>
</file>

<file path=ppt/slides/_rels/slide24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1.xml"/><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2.xml"/><Relationship Id="rId1" Type="http://schemas.openxmlformats.org/officeDocument/2006/relationships/slideLayout" Target="../slideLayouts/slideLayout46.xml"/></Relationships>
</file>

<file path=ppt/slides/_rels/slide25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3.xml"/><Relationship Id="rId1" Type="http://schemas.openxmlformats.org/officeDocument/2006/relationships/slideLayout" Target="../slideLayouts/slideLayout46.xml"/></Relationships>
</file>

<file path=ppt/slides/_rels/slide25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4.xml"/><Relationship Id="rId1" Type="http://schemas.openxmlformats.org/officeDocument/2006/relationships/slideLayout" Target="../slideLayouts/slideLayout46.xml"/></Relationships>
</file>

<file path=ppt/slides/_rels/slide25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5.xml"/><Relationship Id="rId1" Type="http://schemas.openxmlformats.org/officeDocument/2006/relationships/slideLayout" Target="../slideLayouts/slideLayout46.xml"/></Relationships>
</file>

<file path=ppt/slides/_rels/slide254.xml.rels><?xml version="1.0" encoding="UTF-8" standalone="yes"?>
<Relationships xmlns="http://schemas.openxmlformats.org/package/2006/relationships"><Relationship Id="rId8" Type="http://schemas.openxmlformats.org/officeDocument/2006/relationships/notesSlide" Target="../notesSlides/notesSlide196.xml"/><Relationship Id="rId3" Type="http://schemas.openxmlformats.org/officeDocument/2006/relationships/tags" Target="../tags/tag142.xml"/><Relationship Id="rId7" Type="http://schemas.openxmlformats.org/officeDocument/2006/relationships/slideLayout" Target="../slideLayouts/slideLayout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4" Type="http://schemas.openxmlformats.org/officeDocument/2006/relationships/tags" Target="../tags/tag143.xml"/><Relationship Id="rId9" Type="http://schemas.openxmlformats.org/officeDocument/2006/relationships/slide" Target="slide60.xml"/></Relationships>
</file>

<file path=ppt/slides/_rels/slide25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7.xml"/><Relationship Id="rId1" Type="http://schemas.openxmlformats.org/officeDocument/2006/relationships/slideLayout" Target="../slideLayouts/slideLayout46.xml"/></Relationships>
</file>

<file path=ppt/slides/_rels/slide25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8.xml"/><Relationship Id="rId1" Type="http://schemas.openxmlformats.org/officeDocument/2006/relationships/slideLayout" Target="../slideLayouts/slideLayout46.xml"/></Relationships>
</file>

<file path=ppt/slides/_rels/slide25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9.xml"/><Relationship Id="rId1" Type="http://schemas.openxmlformats.org/officeDocument/2006/relationships/slideLayout" Target="../slideLayouts/slideLayout46.xml"/></Relationships>
</file>

<file path=ppt/slides/_rels/slide25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00.xml"/><Relationship Id="rId1" Type="http://schemas.openxmlformats.org/officeDocument/2006/relationships/slideLayout" Target="../slideLayouts/slideLayout46.xml"/></Relationships>
</file>

<file path=ppt/slides/_rels/slide25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01.xml"/><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0.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slide" Target="slide60.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notesSlide" Target="../notesSlides/notesSlide202.xml"/><Relationship Id="rId5" Type="http://schemas.openxmlformats.org/officeDocument/2006/relationships/slideLayout" Target="../slideLayouts/slideLayout46.xml"/><Relationship Id="rId4" Type="http://schemas.openxmlformats.org/officeDocument/2006/relationships/tags" Target="../tags/tag149.xml"/></Relationships>
</file>

<file path=ppt/slides/_rels/slide261.xml.rels><?xml version="1.0" encoding="UTF-8" standalone="yes"?>
<Relationships xmlns="http://schemas.openxmlformats.org/package/2006/relationships"><Relationship Id="rId3" Type="http://schemas.openxmlformats.org/officeDocument/2006/relationships/slide" Target="slide283.xml"/><Relationship Id="rId7" Type="http://schemas.openxmlformats.org/officeDocument/2006/relationships/slide" Target="slide60.xml"/><Relationship Id="rId2" Type="http://schemas.openxmlformats.org/officeDocument/2006/relationships/notesSlide" Target="../notesSlides/notesSlide203.xml"/><Relationship Id="rId1" Type="http://schemas.openxmlformats.org/officeDocument/2006/relationships/slideLayout" Target="../slideLayouts/slideLayout20.xml"/><Relationship Id="rId6" Type="http://schemas.openxmlformats.org/officeDocument/2006/relationships/slide" Target="slide335.xml"/><Relationship Id="rId5" Type="http://schemas.openxmlformats.org/officeDocument/2006/relationships/slide" Target="slide308.xml"/><Relationship Id="rId4" Type="http://schemas.openxmlformats.org/officeDocument/2006/relationships/slide" Target="slide290.xml"/></Relationships>
</file>

<file path=ppt/slides/_rels/slide262.xml.rels><?xml version="1.0" encoding="UTF-8" standalone="yes"?>
<Relationships xmlns="http://schemas.openxmlformats.org/package/2006/relationships"><Relationship Id="rId3" Type="http://schemas.openxmlformats.org/officeDocument/2006/relationships/slide" Target="slide261.xml"/><Relationship Id="rId2" Type="http://schemas.openxmlformats.org/officeDocument/2006/relationships/notesSlide" Target="../notesSlides/notesSlide204.xml"/><Relationship Id="rId1" Type="http://schemas.openxmlformats.org/officeDocument/2006/relationships/slideLayout" Target="../slideLayouts/slideLayout24.xml"/><Relationship Id="rId4" Type="http://schemas.openxmlformats.org/officeDocument/2006/relationships/slide" Target="slide60.xml"/></Relationships>
</file>

<file path=ppt/slides/_rels/slide26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05.xml"/><Relationship Id="rId1" Type="http://schemas.openxmlformats.org/officeDocument/2006/relationships/slideLayout" Target="../slideLayouts/slideLayout46.xml"/></Relationships>
</file>

<file path=ppt/slides/_rels/slide26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06.xml"/><Relationship Id="rId1" Type="http://schemas.openxmlformats.org/officeDocument/2006/relationships/slideLayout" Target="../slideLayouts/slideLayout46.xml"/></Relationships>
</file>

<file path=ppt/slides/_rels/slide26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07.xml"/><Relationship Id="rId1" Type="http://schemas.openxmlformats.org/officeDocument/2006/relationships/slideLayout" Target="../slideLayouts/slideLayout46.xml"/></Relationships>
</file>

<file path=ppt/slides/_rels/slide26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08.xml"/><Relationship Id="rId1" Type="http://schemas.openxmlformats.org/officeDocument/2006/relationships/slideLayout" Target="../slideLayouts/slideLayout46.xml"/></Relationships>
</file>

<file path=ppt/slides/_rels/slide26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09.xml"/><Relationship Id="rId1" Type="http://schemas.openxmlformats.org/officeDocument/2006/relationships/slideLayout" Target="../slideLayouts/slideLayout46.xml"/></Relationships>
</file>

<file path=ppt/slides/_rels/slide26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0.xml"/><Relationship Id="rId1" Type="http://schemas.openxmlformats.org/officeDocument/2006/relationships/slideLayout" Target="../slideLayouts/slideLayout46.xml"/></Relationships>
</file>

<file path=ppt/slides/_rels/slide26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1.xml"/><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2.xml"/><Relationship Id="rId1" Type="http://schemas.openxmlformats.org/officeDocument/2006/relationships/slideLayout" Target="../slideLayouts/slideLayout46.xml"/></Relationships>
</file>

<file path=ppt/slides/_rels/slide27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3.xml"/><Relationship Id="rId1" Type="http://schemas.openxmlformats.org/officeDocument/2006/relationships/slideLayout" Target="../slideLayouts/slideLayout46.xml"/></Relationships>
</file>

<file path=ppt/slides/_rels/slide27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4.xml"/><Relationship Id="rId1" Type="http://schemas.openxmlformats.org/officeDocument/2006/relationships/slideLayout" Target="../slideLayouts/slideLayout46.xml"/></Relationships>
</file>

<file path=ppt/slides/_rels/slide27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5.xml"/><Relationship Id="rId1" Type="http://schemas.openxmlformats.org/officeDocument/2006/relationships/slideLayout" Target="../slideLayouts/slideLayout46.xml"/></Relationships>
</file>

<file path=ppt/slides/_rels/slide27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 Target="slide60.xml"/><Relationship Id="rId5" Type="http://schemas.openxmlformats.org/officeDocument/2006/relationships/tags" Target="../tags/tag154.xml"/><Relationship Id="rId10" Type="http://schemas.openxmlformats.org/officeDocument/2006/relationships/notesSlide" Target="../notesSlides/notesSlide216.xml"/><Relationship Id="rId4" Type="http://schemas.openxmlformats.org/officeDocument/2006/relationships/tags" Target="../tags/tag153.xml"/><Relationship Id="rId9" Type="http://schemas.openxmlformats.org/officeDocument/2006/relationships/slideLayout" Target="../slideLayouts/slideLayout46.xml"/></Relationships>
</file>

<file path=ppt/slides/_rels/slide27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7.xml"/><Relationship Id="rId1" Type="http://schemas.openxmlformats.org/officeDocument/2006/relationships/slideLayout" Target="../slideLayouts/slideLayout46.xml"/></Relationships>
</file>

<file path=ppt/slides/_rels/slide27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8.xml"/><Relationship Id="rId1" Type="http://schemas.openxmlformats.org/officeDocument/2006/relationships/slideLayout" Target="../slideLayouts/slideLayout46.xml"/></Relationships>
</file>

<file path=ppt/slides/_rels/slide27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9.xml"/><Relationship Id="rId1" Type="http://schemas.openxmlformats.org/officeDocument/2006/relationships/slideLayout" Target="../slideLayouts/slideLayout46.xml"/></Relationships>
</file>

<file path=ppt/slides/_rels/slide27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0.xml"/><Relationship Id="rId1" Type="http://schemas.openxmlformats.org/officeDocument/2006/relationships/slideLayout" Target="../slideLayouts/slideLayout46.xml"/></Relationships>
</file>

<file path=ppt/slides/_rels/slide27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1.xml"/><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0.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slide" Target="slide60.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notesSlide" Target="../notesSlides/notesSlide222.xml"/><Relationship Id="rId2" Type="http://schemas.openxmlformats.org/officeDocument/2006/relationships/tags" Target="../tags/tag159.xml"/><Relationship Id="rId16" Type="http://schemas.openxmlformats.org/officeDocument/2006/relationships/slideLayout" Target="../slideLayouts/slideLayout46.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tags" Target="../tags/tag172.xml"/><Relationship Id="rId10" Type="http://schemas.openxmlformats.org/officeDocument/2006/relationships/tags" Target="../tags/tag167.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s>
</file>

<file path=ppt/slides/_rels/slide28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3.xml"/><Relationship Id="rId1" Type="http://schemas.openxmlformats.org/officeDocument/2006/relationships/slideLayout" Target="../slideLayouts/slideLayout46.xml"/></Relationships>
</file>

<file path=ppt/slides/_rels/slide28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4.xml"/><Relationship Id="rId1" Type="http://schemas.openxmlformats.org/officeDocument/2006/relationships/slideLayout" Target="../slideLayouts/slideLayout46.xml"/></Relationships>
</file>

<file path=ppt/slides/_rels/slide28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slide" Target="slide261.xml"/><Relationship Id="rId1" Type="http://schemas.openxmlformats.org/officeDocument/2006/relationships/slideLayout" Target="../slideLayouts/slideLayout24.xml"/></Relationships>
</file>

<file path=ppt/slides/_rels/slide28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5.xml"/><Relationship Id="rId1" Type="http://schemas.openxmlformats.org/officeDocument/2006/relationships/slideLayout" Target="../slideLayouts/slideLayout46.xml"/></Relationships>
</file>

<file path=ppt/slides/_rels/slide28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6.xml"/><Relationship Id="rId1" Type="http://schemas.openxmlformats.org/officeDocument/2006/relationships/slideLayout" Target="../slideLayouts/slideLayout46.xml"/></Relationships>
</file>

<file path=ppt/slides/_rels/slide28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7.xml"/><Relationship Id="rId1" Type="http://schemas.openxmlformats.org/officeDocument/2006/relationships/slideLayout" Target="../slideLayouts/slideLayout46.xml"/></Relationships>
</file>

<file path=ppt/slides/_rels/slide28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8.xml"/><Relationship Id="rId1" Type="http://schemas.openxmlformats.org/officeDocument/2006/relationships/slideLayout" Target="../slideLayouts/slideLayout46.xml"/></Relationships>
</file>

<file path=ppt/slides/_rels/slide28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9.xml"/><Relationship Id="rId1" Type="http://schemas.openxmlformats.org/officeDocument/2006/relationships/slideLayout" Target="../slideLayouts/slideLayout46.xml"/></Relationships>
</file>

<file path=ppt/slides/_rels/slide28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30.xml"/><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0.xml.rels><?xml version="1.0" encoding="UTF-8" standalone="yes"?>
<Relationships xmlns="http://schemas.openxmlformats.org/package/2006/relationships"><Relationship Id="rId3" Type="http://schemas.openxmlformats.org/officeDocument/2006/relationships/slide" Target="slide261.xml"/><Relationship Id="rId2" Type="http://schemas.openxmlformats.org/officeDocument/2006/relationships/notesSlide" Target="../notesSlides/notesSlide231.xml"/><Relationship Id="rId1" Type="http://schemas.openxmlformats.org/officeDocument/2006/relationships/slideLayout" Target="../slideLayouts/slideLayout24.xml"/><Relationship Id="rId4" Type="http://schemas.openxmlformats.org/officeDocument/2006/relationships/slide" Target="slide60.xml"/></Relationships>
</file>

<file path=ppt/slides/_rels/slide29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32.xml"/><Relationship Id="rId1" Type="http://schemas.openxmlformats.org/officeDocument/2006/relationships/slideLayout" Target="../slideLayouts/slideLayout46.xml"/></Relationships>
</file>

<file path=ppt/slides/_rels/slide29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33.xml"/><Relationship Id="rId1" Type="http://schemas.openxmlformats.org/officeDocument/2006/relationships/slideLayout" Target="../slideLayouts/slideLayout46.xml"/></Relationships>
</file>

<file path=ppt/slides/_rels/slide293.xml.rels><?xml version="1.0" encoding="UTF-8" standalone="yes"?>
<Relationships xmlns="http://schemas.openxmlformats.org/package/2006/relationships"><Relationship Id="rId8" Type="http://schemas.openxmlformats.org/officeDocument/2006/relationships/tags" Target="../tags/tag180.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slide" Target="slide60.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notesSlide" Target="../notesSlides/notesSlide234.xml"/><Relationship Id="rId5" Type="http://schemas.openxmlformats.org/officeDocument/2006/relationships/tags" Target="../tags/tag177.xml"/><Relationship Id="rId10" Type="http://schemas.openxmlformats.org/officeDocument/2006/relationships/slideLayout" Target="../slideLayouts/slideLayout46.xml"/><Relationship Id="rId4" Type="http://schemas.openxmlformats.org/officeDocument/2006/relationships/tags" Target="../tags/tag176.xml"/><Relationship Id="rId9" Type="http://schemas.openxmlformats.org/officeDocument/2006/relationships/tags" Target="../tags/tag181.xml"/></Relationships>
</file>

<file path=ppt/slides/_rels/slide294.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slide" Target="slide60.xml"/><Relationship Id="rId5" Type="http://schemas.openxmlformats.org/officeDocument/2006/relationships/tags" Target="../tags/tag186.xml"/><Relationship Id="rId10" Type="http://schemas.openxmlformats.org/officeDocument/2006/relationships/notesSlide" Target="../notesSlides/notesSlide235.xml"/><Relationship Id="rId4" Type="http://schemas.openxmlformats.org/officeDocument/2006/relationships/tags" Target="../tags/tag185.xml"/><Relationship Id="rId9" Type="http://schemas.openxmlformats.org/officeDocument/2006/relationships/slideLayout" Target="../slideLayouts/slideLayout46.xml"/></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46.xml"/><Relationship Id="rId1" Type="http://schemas.openxmlformats.org/officeDocument/2006/relationships/tags" Target="../tags/tag190.xml"/><Relationship Id="rId4" Type="http://schemas.openxmlformats.org/officeDocument/2006/relationships/slide" Target="slide60.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46.xml"/><Relationship Id="rId1" Type="http://schemas.openxmlformats.org/officeDocument/2006/relationships/tags" Target="../tags/tag191.xml"/><Relationship Id="rId4" Type="http://schemas.openxmlformats.org/officeDocument/2006/relationships/slide" Target="slide60.xml"/></Relationships>
</file>

<file path=ppt/slides/_rels/slide297.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slide" Target="slide60.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notesSlide" Target="../notesSlides/notesSlide23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slideLayout" Target="../slideLayouts/slideLayout46.xml"/><Relationship Id="rId5" Type="http://schemas.openxmlformats.org/officeDocument/2006/relationships/tags" Target="../tags/tag196.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46.xml"/><Relationship Id="rId1" Type="http://schemas.openxmlformats.org/officeDocument/2006/relationships/tags" Target="../tags/tag202.xml"/><Relationship Id="rId4" Type="http://schemas.openxmlformats.org/officeDocument/2006/relationships/slide" Target="slide60.xml"/></Relationships>
</file>

<file path=ppt/slides/_rels/slide29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0.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1.xml"/><Relationship Id="rId1" Type="http://schemas.openxmlformats.org/officeDocument/2006/relationships/slideLayout" Target="../slideLayouts/slideLayout46.xml"/></Relationships>
</file>

<file path=ppt/slides/_rels/slide30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2.xml"/><Relationship Id="rId1" Type="http://schemas.openxmlformats.org/officeDocument/2006/relationships/slideLayout" Target="../slideLayouts/slideLayout46.xml"/></Relationships>
</file>

<file path=ppt/slides/_rels/slide30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3.xml"/><Relationship Id="rId1" Type="http://schemas.openxmlformats.org/officeDocument/2006/relationships/slideLayout" Target="../slideLayouts/slideLayout46.xml"/></Relationships>
</file>

<file path=ppt/slides/_rels/slide30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4.xml"/><Relationship Id="rId1" Type="http://schemas.openxmlformats.org/officeDocument/2006/relationships/slideLayout" Target="../slideLayouts/slideLayout46.xml"/></Relationships>
</file>

<file path=ppt/slides/_rels/slide30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5.xml"/><Relationship Id="rId1" Type="http://schemas.openxmlformats.org/officeDocument/2006/relationships/slideLayout" Target="../slideLayouts/slideLayout46.xml"/></Relationships>
</file>

<file path=ppt/slides/_rels/slide30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6.xml"/><Relationship Id="rId1" Type="http://schemas.openxmlformats.org/officeDocument/2006/relationships/slideLayout" Target="../slideLayouts/slideLayout46.xml"/></Relationships>
</file>

<file path=ppt/slides/_rels/slide30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7.xml"/><Relationship Id="rId1" Type="http://schemas.openxmlformats.org/officeDocument/2006/relationships/slideLayout" Target="../slideLayouts/slideLayout46.xml"/></Relationships>
</file>

<file path=ppt/slides/_rels/slide30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8.xml"/><Relationship Id="rId1" Type="http://schemas.openxmlformats.org/officeDocument/2006/relationships/slideLayout" Target="../slideLayouts/slideLayout46.xml"/></Relationships>
</file>

<file path=ppt/slides/_rels/slide308.xml.rels><?xml version="1.0" encoding="UTF-8" standalone="yes"?>
<Relationships xmlns="http://schemas.openxmlformats.org/package/2006/relationships"><Relationship Id="rId3" Type="http://schemas.openxmlformats.org/officeDocument/2006/relationships/slide" Target="slide261.xml"/><Relationship Id="rId2" Type="http://schemas.openxmlformats.org/officeDocument/2006/relationships/notesSlide" Target="../notesSlides/notesSlide249.xml"/><Relationship Id="rId1" Type="http://schemas.openxmlformats.org/officeDocument/2006/relationships/slideLayout" Target="../slideLayouts/slideLayout24.xml"/><Relationship Id="rId4" Type="http://schemas.openxmlformats.org/officeDocument/2006/relationships/slide" Target="slide60.xml"/></Relationships>
</file>

<file path=ppt/slides/_rels/slide30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0.xml"/><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0.xml.rels><?xml version="1.0" encoding="UTF-8" standalone="yes"?>
<Relationships xmlns="http://schemas.openxmlformats.org/package/2006/relationships"><Relationship Id="rId2" Type="http://schemas.openxmlformats.org/officeDocument/2006/relationships/slide" Target="slide60.xml"/><Relationship Id="rId1" Type="http://schemas.openxmlformats.org/officeDocument/2006/relationships/slideLayout" Target="../slideLayouts/slideLayout46.xml"/></Relationships>
</file>

<file path=ppt/slides/_rels/slide31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1.xml"/><Relationship Id="rId1" Type="http://schemas.openxmlformats.org/officeDocument/2006/relationships/slideLayout" Target="../slideLayouts/slideLayout46.xml"/></Relationships>
</file>

<file path=ppt/slides/_rels/slide31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2.xml"/><Relationship Id="rId1" Type="http://schemas.openxmlformats.org/officeDocument/2006/relationships/slideLayout" Target="../slideLayouts/slideLayout46.xml"/></Relationships>
</file>

<file path=ppt/slides/_rels/slide31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3.xml"/><Relationship Id="rId1" Type="http://schemas.openxmlformats.org/officeDocument/2006/relationships/slideLayout" Target="../slideLayouts/slideLayout46.xml"/></Relationships>
</file>

<file path=ppt/slides/_rels/slide31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4.xml"/><Relationship Id="rId1" Type="http://schemas.openxmlformats.org/officeDocument/2006/relationships/slideLayout" Target="../slideLayouts/slideLayout46.xml"/></Relationships>
</file>

<file path=ppt/slides/_rels/slide31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5.xml"/><Relationship Id="rId1" Type="http://schemas.openxmlformats.org/officeDocument/2006/relationships/slideLayout" Target="../slideLayouts/slideLayout46.xml"/></Relationships>
</file>

<file path=ppt/slides/_rels/slide31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6.xml"/><Relationship Id="rId1" Type="http://schemas.openxmlformats.org/officeDocument/2006/relationships/slideLayout" Target="../slideLayouts/slideLayout46.xml"/></Relationships>
</file>

<file path=ppt/slides/_rels/slide31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7.xml"/><Relationship Id="rId1" Type="http://schemas.openxmlformats.org/officeDocument/2006/relationships/slideLayout" Target="../slideLayouts/slideLayout46.xml"/></Relationships>
</file>

<file path=ppt/slides/_rels/slide31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8.xml"/><Relationship Id="rId1" Type="http://schemas.openxmlformats.org/officeDocument/2006/relationships/slideLayout" Target="../slideLayouts/slideLayout46.xml"/></Relationships>
</file>

<file path=ppt/slides/_rels/slide31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9.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2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60.xml"/><Relationship Id="rId1" Type="http://schemas.openxmlformats.org/officeDocument/2006/relationships/slideLayout" Target="../slideLayouts/slideLayout46.xml"/></Relationships>
</file>

<file path=ppt/slides/_rels/slide321.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slide" Target="slide60.xml"/><Relationship Id="rId5" Type="http://schemas.openxmlformats.org/officeDocument/2006/relationships/tags" Target="../tags/tag207.xml"/><Relationship Id="rId10" Type="http://schemas.openxmlformats.org/officeDocument/2006/relationships/notesSlide" Target="../notesSlides/notesSlide261.xml"/><Relationship Id="rId4" Type="http://schemas.openxmlformats.org/officeDocument/2006/relationships/tags" Target="../tags/tag206.xml"/><Relationship Id="rId9" Type="http://schemas.openxmlformats.org/officeDocument/2006/relationships/slideLayout" Target="../slideLayouts/slideLayout46.xml"/></Relationships>
</file>

<file path=ppt/slides/_rels/slide322.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slide" Target="slide60.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notesSlide" Target="../notesSlides/notesSlide262.xml"/><Relationship Id="rId5" Type="http://schemas.openxmlformats.org/officeDocument/2006/relationships/slideLayout" Target="../slideLayouts/slideLayout46.xml"/><Relationship Id="rId4" Type="http://schemas.openxmlformats.org/officeDocument/2006/relationships/tags" Target="../tags/tag214.xml"/></Relationships>
</file>

<file path=ppt/slides/_rels/slide32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63.xml"/><Relationship Id="rId1" Type="http://schemas.openxmlformats.org/officeDocument/2006/relationships/slideLayout" Target="../slideLayouts/slideLayout46.xml"/></Relationships>
</file>

<file path=ppt/slides/_rels/slide32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64.xml"/><Relationship Id="rId1" Type="http://schemas.openxmlformats.org/officeDocument/2006/relationships/slideLayout" Target="../slideLayouts/slideLayout46.xml"/><Relationship Id="rId4" Type="http://schemas.openxmlformats.org/officeDocument/2006/relationships/image" Target="../media/image31.png"/></Relationships>
</file>

<file path=ppt/slides/_rels/slide32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65.xml"/><Relationship Id="rId1" Type="http://schemas.openxmlformats.org/officeDocument/2006/relationships/slideLayout" Target="../slideLayouts/slideLayout46.xml"/></Relationships>
</file>

<file path=ppt/slides/_rels/slide326.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slide" Target="slide60.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notesSlide" Target="../notesSlides/notesSlide266.xml"/><Relationship Id="rId5" Type="http://schemas.openxmlformats.org/officeDocument/2006/relationships/slideLayout" Target="../slideLayouts/slideLayout46.xml"/><Relationship Id="rId4" Type="http://schemas.openxmlformats.org/officeDocument/2006/relationships/tags" Target="../tags/tag218.xml"/></Relationships>
</file>

<file path=ppt/slides/_rels/slide32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67.xml"/><Relationship Id="rId1" Type="http://schemas.openxmlformats.org/officeDocument/2006/relationships/slideLayout" Target="../slideLayouts/slideLayout46.xml"/></Relationships>
</file>

<file path=ppt/slides/_rels/slide32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68.xml"/><Relationship Id="rId1" Type="http://schemas.openxmlformats.org/officeDocument/2006/relationships/slideLayout" Target="../slideLayouts/slideLayout46.xml"/></Relationships>
</file>

<file path=ppt/slides/_rels/slide32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69.xml"/><Relationship Id="rId1" Type="http://schemas.openxmlformats.org/officeDocument/2006/relationships/slideLayout" Target="../slideLayouts/slideLayout4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0.xml"/><Relationship Id="rId1" Type="http://schemas.openxmlformats.org/officeDocument/2006/relationships/slideLayout" Target="../slideLayouts/slideLayout46.xml"/></Relationships>
</file>

<file path=ppt/slides/_rels/slide33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1.xml"/><Relationship Id="rId1" Type="http://schemas.openxmlformats.org/officeDocument/2006/relationships/slideLayout" Target="../slideLayouts/slideLayout46.xml"/></Relationships>
</file>

<file path=ppt/slides/_rels/slide33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2.xml"/><Relationship Id="rId1" Type="http://schemas.openxmlformats.org/officeDocument/2006/relationships/slideLayout" Target="../slideLayouts/slideLayout46.xml"/></Relationships>
</file>

<file path=ppt/slides/_rels/slide33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3.xml"/><Relationship Id="rId1" Type="http://schemas.openxmlformats.org/officeDocument/2006/relationships/slideLayout" Target="../slideLayouts/slideLayout46.xml"/></Relationships>
</file>

<file path=ppt/slides/_rels/slide33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4.xml"/><Relationship Id="rId1" Type="http://schemas.openxmlformats.org/officeDocument/2006/relationships/slideLayout" Target="../slideLayouts/slideLayout46.xml"/></Relationships>
</file>

<file path=ppt/slides/_rels/slide335.xml.rels><?xml version="1.0" encoding="UTF-8" standalone="yes"?>
<Relationships xmlns="http://schemas.openxmlformats.org/package/2006/relationships"><Relationship Id="rId3" Type="http://schemas.openxmlformats.org/officeDocument/2006/relationships/slide" Target="slide261.xml"/><Relationship Id="rId2" Type="http://schemas.openxmlformats.org/officeDocument/2006/relationships/notesSlide" Target="../notesSlides/notesSlide275.xml"/><Relationship Id="rId1" Type="http://schemas.openxmlformats.org/officeDocument/2006/relationships/slideLayout" Target="../slideLayouts/slideLayout24.xml"/><Relationship Id="rId4" Type="http://schemas.openxmlformats.org/officeDocument/2006/relationships/slide" Target="slide60.xml"/></Relationships>
</file>

<file path=ppt/slides/_rels/slide33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6.xml"/><Relationship Id="rId1" Type="http://schemas.openxmlformats.org/officeDocument/2006/relationships/slideLayout" Target="../slideLayouts/slideLayout46.xml"/></Relationships>
</file>

<file path=ppt/slides/_rels/slide33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7.xml"/><Relationship Id="rId1" Type="http://schemas.openxmlformats.org/officeDocument/2006/relationships/slideLayout" Target="../slideLayouts/slideLayout46.xml"/></Relationships>
</file>

<file path=ppt/slides/_rels/slide33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8.xml"/><Relationship Id="rId1" Type="http://schemas.openxmlformats.org/officeDocument/2006/relationships/slideLayout" Target="../slideLayouts/slideLayout46.xml"/></Relationships>
</file>

<file path=ppt/slides/_rels/slide33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9.xml"/><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0.xml"/><Relationship Id="rId1" Type="http://schemas.openxmlformats.org/officeDocument/2006/relationships/slideLayout" Target="../slideLayouts/slideLayout46.xml"/></Relationships>
</file>

<file path=ppt/slides/_rels/slide34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1.xml"/><Relationship Id="rId1" Type="http://schemas.openxmlformats.org/officeDocument/2006/relationships/slideLayout" Target="../slideLayouts/slideLayout46.xml"/></Relationships>
</file>

<file path=ppt/slides/_rels/slide34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2.xml"/><Relationship Id="rId1" Type="http://schemas.openxmlformats.org/officeDocument/2006/relationships/slideLayout" Target="../slideLayouts/slideLayout46.xml"/></Relationships>
</file>

<file path=ppt/slides/_rels/slide34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3.xml"/><Relationship Id="rId1" Type="http://schemas.openxmlformats.org/officeDocument/2006/relationships/slideLayout" Target="../slideLayouts/slideLayout46.xml"/></Relationships>
</file>

<file path=ppt/slides/_rels/slide34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4.xml"/><Relationship Id="rId1" Type="http://schemas.openxmlformats.org/officeDocument/2006/relationships/slideLayout" Target="../slideLayouts/slideLayout46.xml"/></Relationships>
</file>

<file path=ppt/slides/_rels/slide345.xml.rels><?xml version="1.0" encoding="UTF-8" standalone="yes"?>
<Relationships xmlns="http://schemas.openxmlformats.org/package/2006/relationships"><Relationship Id="rId8" Type="http://schemas.openxmlformats.org/officeDocument/2006/relationships/slide" Target="slide436.xml"/><Relationship Id="rId3" Type="http://schemas.openxmlformats.org/officeDocument/2006/relationships/slide" Target="slide346.xml"/><Relationship Id="rId7" Type="http://schemas.openxmlformats.org/officeDocument/2006/relationships/slide" Target="slide415.xml"/><Relationship Id="rId2" Type="http://schemas.openxmlformats.org/officeDocument/2006/relationships/notesSlide" Target="../notesSlides/notesSlide285.xml"/><Relationship Id="rId1" Type="http://schemas.openxmlformats.org/officeDocument/2006/relationships/slideLayout" Target="../slideLayouts/slideLayout17.xml"/><Relationship Id="rId6" Type="http://schemas.openxmlformats.org/officeDocument/2006/relationships/slide" Target="slide406.xml"/><Relationship Id="rId5" Type="http://schemas.openxmlformats.org/officeDocument/2006/relationships/slide" Target="slide392.xml"/><Relationship Id="rId4" Type="http://schemas.openxmlformats.org/officeDocument/2006/relationships/slide" Target="slide364.xml"/><Relationship Id="rId9" Type="http://schemas.openxmlformats.org/officeDocument/2006/relationships/slide" Target="slide60.xml"/></Relationships>
</file>

<file path=ppt/slides/_rels/slide346.xml.rels><?xml version="1.0" encoding="UTF-8" standalone="yes"?>
<Relationships xmlns="http://schemas.openxmlformats.org/package/2006/relationships"><Relationship Id="rId3" Type="http://schemas.openxmlformats.org/officeDocument/2006/relationships/slide" Target="slide345.xml"/><Relationship Id="rId2" Type="http://schemas.openxmlformats.org/officeDocument/2006/relationships/notesSlide" Target="../notesSlides/notesSlide286.xml"/><Relationship Id="rId1" Type="http://schemas.openxmlformats.org/officeDocument/2006/relationships/slideLayout" Target="../slideLayouts/slideLayout21.xml"/><Relationship Id="rId4" Type="http://schemas.openxmlformats.org/officeDocument/2006/relationships/slide" Target="slide60.xml"/></Relationships>
</file>

<file path=ppt/slides/_rels/slide34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7.xml"/><Relationship Id="rId1" Type="http://schemas.openxmlformats.org/officeDocument/2006/relationships/slideLayout" Target="../slideLayouts/slideLayout46.xml"/></Relationships>
</file>

<file path=ppt/slides/_rels/slide34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8.xml"/><Relationship Id="rId1" Type="http://schemas.openxmlformats.org/officeDocument/2006/relationships/slideLayout" Target="../slideLayouts/slideLayout46.xml"/></Relationships>
</file>

<file path=ppt/slides/_rels/slide34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9.xml"/><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0.xml"/><Relationship Id="rId1" Type="http://schemas.openxmlformats.org/officeDocument/2006/relationships/slideLayout" Target="../slideLayouts/slideLayout46.xml"/></Relationships>
</file>

<file path=ppt/slides/_rels/slide35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1.xml"/><Relationship Id="rId1" Type="http://schemas.openxmlformats.org/officeDocument/2006/relationships/slideLayout" Target="../slideLayouts/slideLayout46.xml"/></Relationships>
</file>

<file path=ppt/slides/_rels/slide35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2.xml"/><Relationship Id="rId1" Type="http://schemas.openxmlformats.org/officeDocument/2006/relationships/slideLayout" Target="../slideLayouts/slideLayout46.xml"/></Relationships>
</file>

<file path=ppt/slides/_rels/slide35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3.xml"/><Relationship Id="rId1" Type="http://schemas.openxmlformats.org/officeDocument/2006/relationships/slideLayout" Target="../slideLayouts/slideLayout46.xml"/></Relationships>
</file>

<file path=ppt/slides/_rels/slide35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4.xml"/><Relationship Id="rId1" Type="http://schemas.openxmlformats.org/officeDocument/2006/relationships/slideLayout" Target="../slideLayouts/slideLayout46.xml"/></Relationships>
</file>

<file path=ppt/slides/_rels/slide35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5.xml"/><Relationship Id="rId1" Type="http://schemas.openxmlformats.org/officeDocument/2006/relationships/slideLayout" Target="../slideLayouts/slideLayout46.xml"/></Relationships>
</file>

<file path=ppt/slides/_rels/slide35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6.xml"/><Relationship Id="rId1" Type="http://schemas.openxmlformats.org/officeDocument/2006/relationships/slideLayout" Target="../slideLayouts/slideLayout46.xml"/></Relationships>
</file>

<file path=ppt/slides/_rels/slide35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7.xml"/><Relationship Id="rId1" Type="http://schemas.openxmlformats.org/officeDocument/2006/relationships/slideLayout" Target="../slideLayouts/slideLayout46.xml"/></Relationships>
</file>

<file path=ppt/slides/_rels/slide35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8.xml"/><Relationship Id="rId1" Type="http://schemas.openxmlformats.org/officeDocument/2006/relationships/slideLayout" Target="../slideLayouts/slideLayout46.xml"/></Relationships>
</file>

<file path=ppt/slides/_rels/slide35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9.xml"/><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00.xml"/><Relationship Id="rId1" Type="http://schemas.openxmlformats.org/officeDocument/2006/relationships/slideLayout" Target="../slideLayouts/slideLayout46.xml"/><Relationship Id="rId4" Type="http://schemas.openxmlformats.org/officeDocument/2006/relationships/slide" Target="slide60.xml"/></Relationships>
</file>

<file path=ppt/slides/_rels/slide36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1.xml"/><Relationship Id="rId1" Type="http://schemas.openxmlformats.org/officeDocument/2006/relationships/slideLayout" Target="../slideLayouts/slideLayout46.xml"/></Relationships>
</file>

<file path=ppt/slides/_rels/slide36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2.xml"/><Relationship Id="rId1" Type="http://schemas.openxmlformats.org/officeDocument/2006/relationships/slideLayout" Target="../slideLayouts/slideLayout46.xml"/></Relationships>
</file>

<file path=ppt/slides/_rels/slide36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3.xml"/><Relationship Id="rId1" Type="http://schemas.openxmlformats.org/officeDocument/2006/relationships/slideLayout" Target="../slideLayouts/slideLayout46.xml"/></Relationships>
</file>

<file path=ppt/slides/_rels/slide36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4.xml"/><Relationship Id="rId1" Type="http://schemas.openxmlformats.org/officeDocument/2006/relationships/slideLayout" Target="../slideLayouts/slideLayout21.xml"/><Relationship Id="rId4" Type="http://schemas.openxmlformats.org/officeDocument/2006/relationships/slide" Target="slide345.xml"/></Relationships>
</file>

<file path=ppt/slides/_rels/slide36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5.xml"/><Relationship Id="rId1" Type="http://schemas.openxmlformats.org/officeDocument/2006/relationships/slideLayout" Target="../slideLayouts/slideLayout46.xml"/></Relationships>
</file>

<file path=ppt/slides/_rels/slide36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6.xml"/><Relationship Id="rId1" Type="http://schemas.openxmlformats.org/officeDocument/2006/relationships/slideLayout" Target="../slideLayouts/slideLayout46.xml"/></Relationships>
</file>

<file path=ppt/slides/_rels/slide36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7.xml"/><Relationship Id="rId1" Type="http://schemas.openxmlformats.org/officeDocument/2006/relationships/slideLayout" Target="../slideLayouts/slideLayout46.xml"/></Relationships>
</file>

<file path=ppt/slides/_rels/slide36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8.xml"/><Relationship Id="rId1" Type="http://schemas.openxmlformats.org/officeDocument/2006/relationships/slideLayout" Target="../slideLayouts/slideLayout46.xml"/></Relationships>
</file>

<file path=ppt/slides/_rels/slide36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09.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70.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slide" Target="slide60.xml"/><Relationship Id="rId4" Type="http://schemas.openxmlformats.org/officeDocument/2006/relationships/notesSlide" Target="../notesSlides/notesSlide310.xml"/></Relationships>
</file>

<file path=ppt/slides/_rels/slide37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222.xml"/><Relationship Id="rId1" Type="http://schemas.openxmlformats.org/officeDocument/2006/relationships/tags" Target="../tags/tag221.xml"/><Relationship Id="rId5" Type="http://schemas.openxmlformats.org/officeDocument/2006/relationships/slide" Target="slide60.xml"/><Relationship Id="rId4" Type="http://schemas.openxmlformats.org/officeDocument/2006/relationships/notesSlide" Target="../notesSlides/notesSlide311.xml"/></Relationships>
</file>

<file path=ppt/slides/_rels/slide37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12.xml"/><Relationship Id="rId1" Type="http://schemas.openxmlformats.org/officeDocument/2006/relationships/slideLayout" Target="../slideLayouts/slideLayout46.xml"/></Relationships>
</file>

<file path=ppt/slides/_rels/slide37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13.xml"/><Relationship Id="rId1" Type="http://schemas.openxmlformats.org/officeDocument/2006/relationships/slideLayout" Target="../slideLayouts/slideLayout46.xml"/></Relationships>
</file>

<file path=ppt/slides/_rels/slide37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14.xml"/><Relationship Id="rId1" Type="http://schemas.openxmlformats.org/officeDocument/2006/relationships/slideLayout" Target="../slideLayouts/slideLayout46.xml"/></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46.xml"/><Relationship Id="rId1" Type="http://schemas.openxmlformats.org/officeDocument/2006/relationships/tags" Target="../tags/tag223.xml"/><Relationship Id="rId4" Type="http://schemas.openxmlformats.org/officeDocument/2006/relationships/slide" Target="slide60.xml"/></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46.xml"/><Relationship Id="rId1" Type="http://schemas.openxmlformats.org/officeDocument/2006/relationships/tags" Target="../tags/tag224.xml"/><Relationship Id="rId4" Type="http://schemas.openxmlformats.org/officeDocument/2006/relationships/slide" Target="slide60.xml"/></Relationships>
</file>

<file path=ppt/slides/_rels/slide37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17.xml"/><Relationship Id="rId1" Type="http://schemas.openxmlformats.org/officeDocument/2006/relationships/slideLayout" Target="../slideLayouts/slideLayout46.xml"/></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46.xml"/><Relationship Id="rId1" Type="http://schemas.openxmlformats.org/officeDocument/2006/relationships/tags" Target="../tags/tag225.xml"/><Relationship Id="rId4" Type="http://schemas.openxmlformats.org/officeDocument/2006/relationships/slide" Target="slide60.xml"/></Relationships>
</file>

<file path=ppt/slides/_rels/slide379.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34.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33.gif"/><Relationship Id="rId5" Type="http://schemas.openxmlformats.org/officeDocument/2006/relationships/slide" Target="slide60.xml"/><Relationship Id="rId4" Type="http://schemas.openxmlformats.org/officeDocument/2006/relationships/notesSlide" Target="../notesSlides/notesSlide3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8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0.xml"/><Relationship Id="rId1" Type="http://schemas.openxmlformats.org/officeDocument/2006/relationships/slideLayout" Target="../slideLayouts/slideLayout46.xml"/></Relationships>
</file>

<file path=ppt/slides/_rels/slide38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1.xml"/><Relationship Id="rId1" Type="http://schemas.openxmlformats.org/officeDocument/2006/relationships/slideLayout" Target="../slideLayouts/slideLayout46.xml"/></Relationships>
</file>

<file path=ppt/slides/_rels/slide38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2.xml"/><Relationship Id="rId1" Type="http://schemas.openxmlformats.org/officeDocument/2006/relationships/slideLayout" Target="../slideLayouts/slideLayout46.xml"/></Relationships>
</file>

<file path=ppt/slides/_rels/slide38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3.xml"/><Relationship Id="rId1" Type="http://schemas.openxmlformats.org/officeDocument/2006/relationships/slideLayout" Target="../slideLayouts/slideLayout46.xml"/></Relationships>
</file>

<file path=ppt/slides/_rels/slide38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4.xml"/><Relationship Id="rId1" Type="http://schemas.openxmlformats.org/officeDocument/2006/relationships/slideLayout" Target="../slideLayouts/slideLayout4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hyperlink" Target="https://kx.accenture.com/Repositories/ContributionForm.aspx?path=C21/27/3&amp;mode=Read" TargetMode="External"/></Relationships>
</file>

<file path=ppt/slides/_rels/slide38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5.xml"/><Relationship Id="rId1" Type="http://schemas.openxmlformats.org/officeDocument/2006/relationships/slideLayout" Target="../slideLayouts/slideLayout46.xml"/><Relationship Id="rId4" Type="http://schemas.openxmlformats.org/officeDocument/2006/relationships/image" Target="../media/image37.png"/></Relationships>
</file>

<file path=ppt/slides/_rels/slide38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6.xml"/><Relationship Id="rId1" Type="http://schemas.openxmlformats.org/officeDocument/2006/relationships/slideLayout" Target="../slideLayouts/slideLayout46.xml"/></Relationships>
</file>

<file path=ppt/slides/_rels/slide38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7.xml"/><Relationship Id="rId1" Type="http://schemas.openxmlformats.org/officeDocument/2006/relationships/slideLayout" Target="../slideLayouts/slideLayout46.xml"/></Relationships>
</file>

<file path=ppt/slides/_rels/slide38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8.xml"/><Relationship Id="rId1" Type="http://schemas.openxmlformats.org/officeDocument/2006/relationships/slideLayout" Target="../slideLayouts/slideLayout46.xml"/></Relationships>
</file>

<file path=ppt/slides/_rels/slide38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29.xml"/><Relationship Id="rId1" Type="http://schemas.openxmlformats.org/officeDocument/2006/relationships/slideLayout" Target="../slideLayouts/slideLayout4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9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0.xml"/><Relationship Id="rId1" Type="http://schemas.openxmlformats.org/officeDocument/2006/relationships/slideLayout" Target="../slideLayouts/slideLayout46.xml"/></Relationships>
</file>

<file path=ppt/slides/_rels/slide39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1.xml"/><Relationship Id="rId1" Type="http://schemas.openxmlformats.org/officeDocument/2006/relationships/slideLayout" Target="../slideLayouts/slideLayout46.xml"/></Relationships>
</file>

<file path=ppt/slides/_rels/slide39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2.xml"/><Relationship Id="rId1" Type="http://schemas.openxmlformats.org/officeDocument/2006/relationships/slideLayout" Target="../slideLayouts/slideLayout21.xml"/><Relationship Id="rId4" Type="http://schemas.openxmlformats.org/officeDocument/2006/relationships/slide" Target="slide345.xml"/></Relationships>
</file>

<file path=ppt/slides/_rels/slide39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3.xml"/><Relationship Id="rId1" Type="http://schemas.openxmlformats.org/officeDocument/2006/relationships/slideLayout" Target="../slideLayouts/slideLayout46.xml"/></Relationships>
</file>

<file path=ppt/slides/_rels/slide39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4.xml"/><Relationship Id="rId1" Type="http://schemas.openxmlformats.org/officeDocument/2006/relationships/slideLayout" Target="../slideLayouts/slideLayout46.xml"/></Relationships>
</file>

<file path=ppt/slides/_rels/slide39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5.xml"/><Relationship Id="rId1" Type="http://schemas.openxmlformats.org/officeDocument/2006/relationships/slideLayout" Target="../slideLayouts/slideLayout46.xml"/></Relationships>
</file>

<file path=ppt/slides/_rels/slide39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6.xml"/><Relationship Id="rId1" Type="http://schemas.openxmlformats.org/officeDocument/2006/relationships/slideLayout" Target="../slideLayouts/slideLayout46.xml"/></Relationships>
</file>

<file path=ppt/slides/_rels/slide39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7.xml"/><Relationship Id="rId1" Type="http://schemas.openxmlformats.org/officeDocument/2006/relationships/slideLayout" Target="../slideLayouts/slideLayout46.xml"/></Relationships>
</file>

<file path=ppt/slides/_rels/slide39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8.xml"/><Relationship Id="rId1" Type="http://schemas.openxmlformats.org/officeDocument/2006/relationships/slideLayout" Target="../slideLayouts/slideLayout46.xml"/></Relationships>
</file>

<file path=ppt/slides/_rels/slide39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39.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hyperlink" Target="mailto:brandsupport@accenture.com" TargetMode="External"/><Relationship Id="rId2" Type="http://schemas.openxmlformats.org/officeDocument/2006/relationships/hyperlink" Target="https://ts.accenture.com/sites/brandspace/" TargetMode="External"/><Relationship Id="rId1" Type="http://schemas.openxmlformats.org/officeDocument/2006/relationships/slideLayout" Target="../slideLayouts/slideLayout26.xml"/><Relationship Id="rId4" Type="http://schemas.openxmlformats.org/officeDocument/2006/relationships/hyperlink" Target="https://kxdocuments.accenture.com/contribution/204f6372-653e-48fa-a0a0-11ac5b1fb4e9"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0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0.xml"/><Relationship Id="rId1" Type="http://schemas.openxmlformats.org/officeDocument/2006/relationships/slideLayout" Target="../slideLayouts/slideLayout46.xml"/></Relationships>
</file>

<file path=ppt/slides/_rels/slide40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1.xml"/><Relationship Id="rId1" Type="http://schemas.openxmlformats.org/officeDocument/2006/relationships/slideLayout" Target="../slideLayouts/slideLayout46.xml"/></Relationships>
</file>

<file path=ppt/slides/_rels/slide40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2.xml"/><Relationship Id="rId1" Type="http://schemas.openxmlformats.org/officeDocument/2006/relationships/slideLayout" Target="../slideLayouts/slideLayout46.xml"/></Relationships>
</file>

<file path=ppt/slides/_rels/slide40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3.xml"/><Relationship Id="rId1" Type="http://schemas.openxmlformats.org/officeDocument/2006/relationships/slideLayout" Target="../slideLayouts/slideLayout26.xml"/></Relationships>
</file>

<file path=ppt/slides/_rels/slide40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4.xml"/><Relationship Id="rId1" Type="http://schemas.openxmlformats.org/officeDocument/2006/relationships/slideLayout" Target="../slideLayouts/slideLayout46.xml"/></Relationships>
</file>

<file path=ppt/slides/_rels/slide40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5.xml"/><Relationship Id="rId1" Type="http://schemas.openxmlformats.org/officeDocument/2006/relationships/slideLayout" Target="../slideLayouts/slideLayout46.xml"/></Relationships>
</file>

<file path=ppt/slides/_rels/slide40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6.xml"/><Relationship Id="rId1" Type="http://schemas.openxmlformats.org/officeDocument/2006/relationships/slideLayout" Target="../slideLayouts/slideLayout21.xml"/><Relationship Id="rId4" Type="http://schemas.openxmlformats.org/officeDocument/2006/relationships/slide" Target="slide345.xml"/></Relationships>
</file>

<file path=ppt/slides/_rels/slide40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7.xml"/><Relationship Id="rId1" Type="http://schemas.openxmlformats.org/officeDocument/2006/relationships/slideLayout" Target="../slideLayouts/slideLayout46.xml"/></Relationships>
</file>

<file path=ppt/slides/_rels/slide408.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3" Type="http://schemas.openxmlformats.org/officeDocument/2006/relationships/tags" Target="../tags/tag230.xml"/><Relationship Id="rId21" Type="http://schemas.openxmlformats.org/officeDocument/2006/relationships/slideLayout" Target="../slideLayouts/slideLayout46.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slide" Target="slide60.xml"/><Relationship Id="rId10" Type="http://schemas.openxmlformats.org/officeDocument/2006/relationships/tags" Target="../tags/tag237.xml"/><Relationship Id="rId19" Type="http://schemas.openxmlformats.org/officeDocument/2006/relationships/tags" Target="../tags/tag246.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notesSlide" Target="../notesSlides/notesSlide348.xml"/></Relationships>
</file>

<file path=ppt/slides/_rels/slide40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9.xml"/><Relationship Id="rId1" Type="http://schemas.openxmlformats.org/officeDocument/2006/relationships/slideLayout" Target="../slideLayouts/slideLayout4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1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0.xml"/><Relationship Id="rId1" Type="http://schemas.openxmlformats.org/officeDocument/2006/relationships/slideLayout" Target="../slideLayouts/slideLayout46.xml"/></Relationships>
</file>

<file path=ppt/slides/_rels/slide41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1.xml"/><Relationship Id="rId1" Type="http://schemas.openxmlformats.org/officeDocument/2006/relationships/slideLayout" Target="../slideLayouts/slideLayout46.xml"/></Relationships>
</file>

<file path=ppt/slides/_rels/slide41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2.xml"/><Relationship Id="rId1" Type="http://schemas.openxmlformats.org/officeDocument/2006/relationships/slideLayout" Target="../slideLayouts/slideLayout46.xml"/></Relationships>
</file>

<file path=ppt/slides/_rels/slide413.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slide" Target="slide60.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notesSlide" Target="../notesSlides/notesSlide353.xml"/><Relationship Id="rId5" Type="http://schemas.openxmlformats.org/officeDocument/2006/relationships/slideLayout" Target="../slideLayouts/slideLayout46.xml"/><Relationship Id="rId4" Type="http://schemas.openxmlformats.org/officeDocument/2006/relationships/tags" Target="../tags/tag251.xml"/></Relationships>
</file>

<file path=ppt/slides/_rels/slide41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4.xml"/><Relationship Id="rId1" Type="http://schemas.openxmlformats.org/officeDocument/2006/relationships/slideLayout" Target="../slideLayouts/slideLayout46.xml"/></Relationships>
</file>

<file path=ppt/slides/_rels/slide41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5.xml"/><Relationship Id="rId1" Type="http://schemas.openxmlformats.org/officeDocument/2006/relationships/slideLayout" Target="../slideLayouts/slideLayout21.xml"/><Relationship Id="rId4" Type="http://schemas.openxmlformats.org/officeDocument/2006/relationships/slide" Target="slide345.xml"/></Relationships>
</file>

<file path=ppt/slides/_rels/slide41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6.xml"/><Relationship Id="rId1" Type="http://schemas.openxmlformats.org/officeDocument/2006/relationships/slideLayout" Target="../slideLayouts/slideLayout46.xml"/></Relationships>
</file>

<file path=ppt/slides/_rels/slide41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7.xml"/><Relationship Id="rId1" Type="http://schemas.openxmlformats.org/officeDocument/2006/relationships/slideLayout" Target="../slideLayouts/slideLayout46.xml"/></Relationships>
</file>

<file path=ppt/slides/_rels/slide418.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slideLayout" Target="../slideLayouts/slideLayout46.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 Target="slide60.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notesSlide" Target="../notesSlides/notesSlide358.xml"/></Relationships>
</file>

<file path=ppt/slides/_rels/slide41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9.xml"/><Relationship Id="rId1" Type="http://schemas.openxmlformats.org/officeDocument/2006/relationships/slideLayout" Target="../slideLayouts/slideLayout4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2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0.xml"/><Relationship Id="rId1" Type="http://schemas.openxmlformats.org/officeDocument/2006/relationships/slideLayout" Target="../slideLayouts/slideLayout46.xml"/></Relationships>
</file>

<file path=ppt/slides/_rels/slide42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1.xml"/><Relationship Id="rId1" Type="http://schemas.openxmlformats.org/officeDocument/2006/relationships/slideLayout" Target="../slideLayouts/slideLayout46.xml"/></Relationships>
</file>

<file path=ppt/slides/_rels/slide42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2.xml"/><Relationship Id="rId1" Type="http://schemas.openxmlformats.org/officeDocument/2006/relationships/slideLayout" Target="../slideLayouts/slideLayout46.xml"/></Relationships>
</file>

<file path=ppt/slides/_rels/slide42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3.xml"/><Relationship Id="rId1" Type="http://schemas.openxmlformats.org/officeDocument/2006/relationships/slideLayout" Target="../slideLayouts/slideLayout46.xml"/></Relationships>
</file>

<file path=ppt/slides/_rels/slide42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4.xml"/><Relationship Id="rId1" Type="http://schemas.openxmlformats.org/officeDocument/2006/relationships/slideLayout" Target="../slideLayouts/slideLayout46.xml"/></Relationships>
</file>

<file path=ppt/slides/_rels/slide42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5.xml"/><Relationship Id="rId1" Type="http://schemas.openxmlformats.org/officeDocument/2006/relationships/slideLayout" Target="../slideLayouts/slideLayout46.xml"/></Relationships>
</file>

<file path=ppt/slides/_rels/slide42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6.xml"/><Relationship Id="rId1" Type="http://schemas.openxmlformats.org/officeDocument/2006/relationships/slideLayout" Target="../slideLayouts/slideLayout46.xml"/></Relationships>
</file>

<file path=ppt/slides/_rels/slide427.xml.rels><?xml version="1.0" encoding="UTF-8" standalone="yes"?>
<Relationships xmlns="http://schemas.openxmlformats.org/package/2006/relationships"><Relationship Id="rId8" Type="http://schemas.openxmlformats.org/officeDocument/2006/relationships/tags" Target="../tags/tag271.xml"/><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slide" Target="slide60.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notesSlide" Target="../notesSlides/notesSlide367.xml"/><Relationship Id="rId5" Type="http://schemas.openxmlformats.org/officeDocument/2006/relationships/tags" Target="../tags/tag268.xml"/><Relationship Id="rId10" Type="http://schemas.openxmlformats.org/officeDocument/2006/relationships/slideLayout" Target="../slideLayouts/slideLayout46.xml"/><Relationship Id="rId4" Type="http://schemas.openxmlformats.org/officeDocument/2006/relationships/tags" Target="../tags/tag267.xml"/><Relationship Id="rId9" Type="http://schemas.openxmlformats.org/officeDocument/2006/relationships/tags" Target="../tags/tag272.xml"/></Relationships>
</file>

<file path=ppt/slides/_rels/slide42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8.xml"/><Relationship Id="rId1" Type="http://schemas.openxmlformats.org/officeDocument/2006/relationships/slideLayout" Target="../slideLayouts/slideLayout46.xml"/></Relationships>
</file>

<file path=ppt/slides/_rels/slide429.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notesSlide" Target="../notesSlides/notesSlide369.xml"/><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slideLayout" Target="../slideLayouts/slideLayout46.xml"/><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11" Type="http://schemas.openxmlformats.org/officeDocument/2006/relationships/tags" Target="../tags/tag283.xml"/><Relationship Id="rId5" Type="http://schemas.openxmlformats.org/officeDocument/2006/relationships/tags" Target="../tags/tag277.xml"/><Relationship Id="rId10" Type="http://schemas.openxmlformats.org/officeDocument/2006/relationships/tags" Target="../tags/tag282.xml"/><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slide" Target="slide6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3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70.xml"/><Relationship Id="rId1" Type="http://schemas.openxmlformats.org/officeDocument/2006/relationships/slideLayout" Target="../slideLayouts/slideLayout46.xml"/></Relationships>
</file>

<file path=ppt/slides/_rels/slide43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71.xml"/><Relationship Id="rId1" Type="http://schemas.openxmlformats.org/officeDocument/2006/relationships/slideLayout" Target="../slideLayouts/slideLayout46.xml"/></Relationships>
</file>

<file path=ppt/slides/_rels/slide43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72.xml"/><Relationship Id="rId1" Type="http://schemas.openxmlformats.org/officeDocument/2006/relationships/slideLayout" Target="../slideLayouts/slideLayout46.xml"/></Relationships>
</file>

<file path=ppt/slides/_rels/slide43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73.xml"/><Relationship Id="rId1" Type="http://schemas.openxmlformats.org/officeDocument/2006/relationships/slideLayout" Target="../slideLayouts/slideLayout46.xml"/></Relationships>
</file>

<file path=ppt/slides/_rels/slide43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74.xml"/><Relationship Id="rId1" Type="http://schemas.openxmlformats.org/officeDocument/2006/relationships/slideLayout" Target="../slideLayouts/slideLayout46.xml"/></Relationships>
</file>

<file path=ppt/slides/_rels/slide43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75.xml"/><Relationship Id="rId1" Type="http://schemas.openxmlformats.org/officeDocument/2006/relationships/slideLayout" Target="../slideLayouts/slideLayout46.xml"/></Relationships>
</file>

<file path=ppt/slides/_rels/slide436.xml.rels><?xml version="1.0" encoding="UTF-8" standalone="yes"?>
<Relationships xmlns="http://schemas.openxmlformats.org/package/2006/relationships"><Relationship Id="rId3" Type="http://schemas.openxmlformats.org/officeDocument/2006/relationships/slide" Target="slide345.xml"/><Relationship Id="rId2" Type="http://schemas.openxmlformats.org/officeDocument/2006/relationships/notesSlide" Target="../notesSlides/notesSlide376.xml"/><Relationship Id="rId1" Type="http://schemas.openxmlformats.org/officeDocument/2006/relationships/slideLayout" Target="../slideLayouts/slideLayout21.xml"/><Relationship Id="rId4" Type="http://schemas.openxmlformats.org/officeDocument/2006/relationships/slide" Target="slide60.xml"/></Relationships>
</file>

<file path=ppt/slides/_rels/slide437.xml.rels><?xml version="1.0" encoding="UTF-8" standalone="yes"?>
<Relationships xmlns="http://schemas.openxmlformats.org/package/2006/relationships"><Relationship Id="rId3" Type="http://schemas.openxmlformats.org/officeDocument/2006/relationships/tags" Target="../tags/tag286.xml"/><Relationship Id="rId7" Type="http://schemas.openxmlformats.org/officeDocument/2006/relationships/slide" Target="slide60.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notesSlide" Target="../notesSlides/notesSlide377.xml"/><Relationship Id="rId5" Type="http://schemas.openxmlformats.org/officeDocument/2006/relationships/slideLayout" Target="../slideLayouts/slideLayout46.xml"/><Relationship Id="rId4" Type="http://schemas.openxmlformats.org/officeDocument/2006/relationships/tags" Target="../tags/tag287.xml"/></Relationships>
</file>

<file path=ppt/slides/_rels/slide43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78.xml"/><Relationship Id="rId1" Type="http://schemas.openxmlformats.org/officeDocument/2006/relationships/slideLayout" Target="../slideLayouts/slideLayout46.xml"/></Relationships>
</file>

<file path=ppt/slides/_rels/slide43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79.xml"/><Relationship Id="rId1" Type="http://schemas.openxmlformats.org/officeDocument/2006/relationships/slideLayout" Target="../slideLayouts/slideLayout4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4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0.xml"/><Relationship Id="rId1" Type="http://schemas.openxmlformats.org/officeDocument/2006/relationships/slideLayout" Target="../slideLayouts/slideLayout46.xml"/></Relationships>
</file>

<file path=ppt/slides/_rels/slide44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1.xml"/><Relationship Id="rId1" Type="http://schemas.openxmlformats.org/officeDocument/2006/relationships/slideLayout" Target="../slideLayouts/slideLayout46.xml"/></Relationships>
</file>

<file path=ppt/slides/_rels/slide44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2.xml"/><Relationship Id="rId1" Type="http://schemas.openxmlformats.org/officeDocument/2006/relationships/slideLayout" Target="../slideLayouts/slideLayout46.xml"/></Relationships>
</file>

<file path=ppt/slides/_rels/slide44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3.xml"/><Relationship Id="rId1" Type="http://schemas.openxmlformats.org/officeDocument/2006/relationships/slideLayout" Target="../slideLayouts/slideLayout46.xml"/></Relationships>
</file>

<file path=ppt/slides/_rels/slide44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4.xml"/><Relationship Id="rId1" Type="http://schemas.openxmlformats.org/officeDocument/2006/relationships/slideLayout" Target="../slideLayouts/slideLayout46.xml"/></Relationships>
</file>

<file path=ppt/slides/_rels/slide44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5.xml"/><Relationship Id="rId1" Type="http://schemas.openxmlformats.org/officeDocument/2006/relationships/slideLayout" Target="../slideLayouts/slideLayout46.xml"/></Relationships>
</file>

<file path=ppt/slides/_rels/slide44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6.xml"/><Relationship Id="rId1" Type="http://schemas.openxmlformats.org/officeDocument/2006/relationships/slideLayout" Target="../slideLayouts/slideLayout46.xml"/></Relationships>
</file>

<file path=ppt/slides/_rels/slide44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7.xml"/><Relationship Id="rId1" Type="http://schemas.openxmlformats.org/officeDocument/2006/relationships/slideLayout" Target="../slideLayouts/slideLayout46.xml"/></Relationships>
</file>

<file path=ppt/slides/_rels/slide44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8.xml"/><Relationship Id="rId1" Type="http://schemas.openxmlformats.org/officeDocument/2006/relationships/slideLayout" Target="../slideLayouts/slideLayout26.xml"/></Relationships>
</file>

<file path=ppt/slides/_rels/slide44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9.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0.xml.rels><?xml version="1.0" encoding="UTF-8" standalone="yes"?>
<Relationships xmlns="http://schemas.openxmlformats.org/package/2006/relationships"><Relationship Id="rId13" Type="http://schemas.openxmlformats.org/officeDocument/2006/relationships/slide" Target="slide364.xml"/><Relationship Id="rId18" Type="http://schemas.openxmlformats.org/officeDocument/2006/relationships/slide" Target="slide183.xml"/><Relationship Id="rId26" Type="http://schemas.openxmlformats.org/officeDocument/2006/relationships/slide" Target="slide62.xml"/><Relationship Id="rId3" Type="http://schemas.openxmlformats.org/officeDocument/2006/relationships/slide" Target="slide61.xml"/><Relationship Id="rId21" Type="http://schemas.openxmlformats.org/officeDocument/2006/relationships/slide" Target="slide262.xml"/><Relationship Id="rId34" Type="http://schemas.openxmlformats.org/officeDocument/2006/relationships/slide" Target="slide143.xml"/><Relationship Id="rId7" Type="http://schemas.openxmlformats.org/officeDocument/2006/relationships/slide" Target="slide109.xml"/><Relationship Id="rId12" Type="http://schemas.openxmlformats.org/officeDocument/2006/relationships/slide" Target="slide346.xml"/><Relationship Id="rId17" Type="http://schemas.openxmlformats.org/officeDocument/2006/relationships/slide" Target="slide392.xml"/><Relationship Id="rId25" Type="http://schemas.openxmlformats.org/officeDocument/2006/relationships/slide" Target="slide335.xml"/><Relationship Id="rId33" Type="http://schemas.openxmlformats.org/officeDocument/2006/relationships/slide" Target="slide138.xml"/><Relationship Id="rId2" Type="http://schemas.openxmlformats.org/officeDocument/2006/relationships/notesSlide" Target="../notesSlides/notesSlide3.xml"/><Relationship Id="rId16" Type="http://schemas.openxmlformats.org/officeDocument/2006/relationships/slide" Target="slide436.xml"/><Relationship Id="rId20" Type="http://schemas.openxmlformats.org/officeDocument/2006/relationships/slide" Target="slide241.xml"/><Relationship Id="rId29" Type="http://schemas.openxmlformats.org/officeDocument/2006/relationships/slide" Target="slide98.xml"/><Relationship Id="rId1" Type="http://schemas.openxmlformats.org/officeDocument/2006/relationships/slideLayout" Target="../slideLayouts/slideLayout26.xml"/><Relationship Id="rId6" Type="http://schemas.openxmlformats.org/officeDocument/2006/relationships/slide" Target="slide108.xml"/><Relationship Id="rId11" Type="http://schemas.openxmlformats.org/officeDocument/2006/relationships/image" Target="../media/image30.png"/><Relationship Id="rId24" Type="http://schemas.openxmlformats.org/officeDocument/2006/relationships/slide" Target="slide308.xml"/><Relationship Id="rId32" Type="http://schemas.openxmlformats.org/officeDocument/2006/relationships/slide" Target="slide130.xml"/><Relationship Id="rId5" Type="http://schemas.openxmlformats.org/officeDocument/2006/relationships/slide" Target="slide345.xml"/><Relationship Id="rId15" Type="http://schemas.openxmlformats.org/officeDocument/2006/relationships/slide" Target="slide415.xml"/><Relationship Id="rId23" Type="http://schemas.openxmlformats.org/officeDocument/2006/relationships/slide" Target="slide290.xml"/><Relationship Id="rId28" Type="http://schemas.openxmlformats.org/officeDocument/2006/relationships/slide" Target="slide89.xml"/><Relationship Id="rId36" Type="http://schemas.openxmlformats.org/officeDocument/2006/relationships/slide" Target="slide157.xml"/><Relationship Id="rId10" Type="http://schemas.openxmlformats.org/officeDocument/2006/relationships/slide" Target="slide261.xml"/><Relationship Id="rId19" Type="http://schemas.openxmlformats.org/officeDocument/2006/relationships/slide" Target="slide222.xml"/><Relationship Id="rId31" Type="http://schemas.openxmlformats.org/officeDocument/2006/relationships/slide" Target="slide120.xml"/><Relationship Id="rId4" Type="http://schemas.openxmlformats.org/officeDocument/2006/relationships/slide" Target="slide182.xml"/><Relationship Id="rId9" Type="http://schemas.openxmlformats.org/officeDocument/2006/relationships/hyperlink" Target="https://kx.accenture.com/repositories/contributionform.aspx?path=C30/28/79&amp;mode=read" TargetMode="External"/><Relationship Id="rId14" Type="http://schemas.openxmlformats.org/officeDocument/2006/relationships/slide" Target="slide406.xml"/><Relationship Id="rId22" Type="http://schemas.openxmlformats.org/officeDocument/2006/relationships/slide" Target="slide283.xml"/><Relationship Id="rId27" Type="http://schemas.openxmlformats.org/officeDocument/2006/relationships/slide" Target="slide70.xml"/><Relationship Id="rId30" Type="http://schemas.openxmlformats.org/officeDocument/2006/relationships/slide" Target="slide110.xml"/><Relationship Id="rId35" Type="http://schemas.openxmlformats.org/officeDocument/2006/relationships/slide" Target="slide146.xml"/><Relationship Id="rId8" Type="http://schemas.openxmlformats.org/officeDocument/2006/relationships/image" Target="../media/image29.png"/></Relationships>
</file>

<file path=ppt/slides/_rels/slide61.xml.rels><?xml version="1.0" encoding="UTF-8" standalone="yes"?>
<Relationships xmlns="http://schemas.openxmlformats.org/package/2006/relationships"><Relationship Id="rId3" Type="http://schemas.openxmlformats.org/officeDocument/2006/relationships/slide" Target="slide62.xml"/><Relationship Id="rId7" Type="http://schemas.openxmlformats.org/officeDocument/2006/relationships/slide" Target="slide60.xml"/><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slide" Target="slide98.xml"/><Relationship Id="rId5" Type="http://schemas.openxmlformats.org/officeDocument/2006/relationships/slide" Target="slide86.xml"/><Relationship Id="rId4" Type="http://schemas.openxmlformats.org/officeDocument/2006/relationships/slide" Target="slide70.xml"/></Relationships>
</file>

<file path=ppt/slides/_rels/slide6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slide" Target="slide61.xml"/></Relationships>
</file>

<file path=ppt/slides/_rels/slide6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6.xml"/><Relationship Id="rId4" Type="http://schemas.openxmlformats.org/officeDocument/2006/relationships/slide" Target="slide60.xml"/></Relationships>
</file>

<file path=ppt/slides/_rels/slide6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chart" Target="../charts/chart2.xml"/></Relationships>
</file>

<file path=ppt/slides/_rels/slide6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8.xml"/><Relationship Id="rId1" Type="http://schemas.openxmlformats.org/officeDocument/2006/relationships/slideLayout" Target="../slideLayouts/slideLayout46.xml"/><Relationship Id="rId4" Type="http://schemas.openxmlformats.org/officeDocument/2006/relationships/chart" Target="../charts/chart3.xml"/></Relationships>
</file>

<file path=ppt/slides/_rels/slide6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9.xml"/><Relationship Id="rId1" Type="http://schemas.openxmlformats.org/officeDocument/2006/relationships/slideLayout" Target="../slideLayouts/slideLayout26.xml"/><Relationship Id="rId5" Type="http://schemas.openxmlformats.org/officeDocument/2006/relationships/chart" Target="../charts/chart5.xml"/><Relationship Id="rId4" Type="http://schemas.openxmlformats.org/officeDocument/2006/relationships/chart" Target="../charts/chart4.xml"/></Relationships>
</file>

<file path=ppt/slides/_rels/slide6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0.xml"/><Relationship Id="rId1" Type="http://schemas.openxmlformats.org/officeDocument/2006/relationships/slideLayout" Target="../slideLayouts/slideLayout26.xml"/><Relationship Id="rId4" Type="http://schemas.openxmlformats.org/officeDocument/2006/relationships/chart" Target="../charts/chart6.xml"/></Relationships>
</file>

<file path=ppt/slides/_rels/slide6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1.xml"/><Relationship Id="rId1" Type="http://schemas.openxmlformats.org/officeDocument/2006/relationships/slideLayout" Target="../slideLayouts/slideLayout26.xml"/><Relationship Id="rId4" Type="http://schemas.openxmlformats.org/officeDocument/2006/relationships/chart" Target="../charts/chart7.xml"/></Relationships>
</file>

<file path=ppt/slides/_rels/slide6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8.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6.xml"/><Relationship Id="rId4" Type="http://schemas.openxmlformats.org/officeDocument/2006/relationships/image" Target="../media/image26.png"/></Relationships>
</file>

<file path=ppt/slides/_rels/slide7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3.xml"/><Relationship Id="rId1" Type="http://schemas.openxmlformats.org/officeDocument/2006/relationships/slideLayout" Target="../slideLayouts/slideLayout21.xml"/><Relationship Id="rId4" Type="http://schemas.openxmlformats.org/officeDocument/2006/relationships/slide" Target="slide61.xml"/></Relationships>
</file>

<file path=ppt/slides/_rels/slide7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chart" Target="../charts/chart9.xml"/></Relationships>
</file>

<file path=ppt/slides/_rels/slide7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5.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7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6.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7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7.xml"/><Relationship Id="rId1" Type="http://schemas.openxmlformats.org/officeDocument/2006/relationships/slideLayout" Target="../slideLayouts/slideLayout26.xml"/><Relationship Id="rId4" Type="http://schemas.openxmlformats.org/officeDocument/2006/relationships/chart" Target="../charts/chart12.xml"/></Relationships>
</file>

<file path=ppt/slides/_rels/slide7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8.xml"/><Relationship Id="rId1" Type="http://schemas.openxmlformats.org/officeDocument/2006/relationships/slideLayout" Target="../slideLayouts/slideLayout26.xml"/><Relationship Id="rId4" Type="http://schemas.openxmlformats.org/officeDocument/2006/relationships/chart" Target="../charts/chart13.xml"/></Relationships>
</file>

<file path=ppt/slides/_rels/slide7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4.xml"/></Relationships>
</file>

<file path=ppt/slides/_rels/slide7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15.xml"/></Relationships>
</file>

<file path=ppt/slides/_rels/slide78.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1.xml"/><Relationship Id="rId1" Type="http://schemas.openxmlformats.org/officeDocument/2006/relationships/slideLayout" Target="../slideLayouts/slideLayout26.xml"/><Relationship Id="rId4" Type="http://schemas.openxmlformats.org/officeDocument/2006/relationships/chart" Target="../charts/chart16.xml"/></Relationships>
</file>

<file path=ppt/slides/_rels/slide7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2.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8.xml.rels><?xml version="1.0" encoding="UTF-8" standalone="yes"?>
<Relationships xmlns="http://schemas.openxmlformats.org/package/2006/relationships"><Relationship Id="rId3" Type="http://schemas.openxmlformats.org/officeDocument/2006/relationships/hyperlink" Target="https://ts.accenture.com/sites/brandspace/" TargetMode="External"/><Relationship Id="rId2" Type="http://schemas.openxmlformats.org/officeDocument/2006/relationships/image" Target="../media/image27.png"/><Relationship Id="rId1" Type="http://schemas.openxmlformats.org/officeDocument/2006/relationships/slideLayout" Target="../slideLayouts/slideLayout26.xml"/></Relationships>
</file>

<file path=ppt/slides/_rels/slide80.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3.xml"/><Relationship Id="rId1" Type="http://schemas.openxmlformats.org/officeDocument/2006/relationships/slideLayout" Target="../slideLayouts/slideLayout26.xml"/><Relationship Id="rId4" Type="http://schemas.openxmlformats.org/officeDocument/2006/relationships/chart" Target="../charts/chart18.xml"/></Relationships>
</file>

<file path=ppt/slides/_rels/slide8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4.xml"/><Relationship Id="rId1" Type="http://schemas.openxmlformats.org/officeDocument/2006/relationships/slideLayout" Target="../slideLayouts/slideLayout26.xml"/><Relationship Id="rId4" Type="http://schemas.openxmlformats.org/officeDocument/2006/relationships/chart" Target="../charts/chart19.xml"/></Relationships>
</file>

<file path=ppt/slides/_rels/slide8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5.xml"/><Relationship Id="rId1" Type="http://schemas.openxmlformats.org/officeDocument/2006/relationships/slideLayout" Target="../slideLayouts/slideLayout26.xml"/><Relationship Id="rId4" Type="http://schemas.openxmlformats.org/officeDocument/2006/relationships/chart" Target="../charts/chart20.xml"/></Relationships>
</file>

<file path=ppt/slides/_rels/slide8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6.xml"/><Relationship Id="rId1" Type="http://schemas.openxmlformats.org/officeDocument/2006/relationships/slideLayout" Target="../slideLayouts/slideLayout26.xml"/><Relationship Id="rId4" Type="http://schemas.openxmlformats.org/officeDocument/2006/relationships/chart" Target="../charts/chart21.xml"/></Relationships>
</file>

<file path=ppt/slides/_rels/slide84.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7.xml"/><Relationship Id="rId1" Type="http://schemas.openxmlformats.org/officeDocument/2006/relationships/slideLayout" Target="../slideLayouts/slideLayout26.xml"/><Relationship Id="rId4" Type="http://schemas.openxmlformats.org/officeDocument/2006/relationships/chart" Target="../charts/chart22.xml"/></Relationships>
</file>

<file path=ppt/slides/_rels/slide8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8.xml"/><Relationship Id="rId1" Type="http://schemas.openxmlformats.org/officeDocument/2006/relationships/slideLayout" Target="../slideLayouts/slideLayout26.xml"/><Relationship Id="rId4" Type="http://schemas.openxmlformats.org/officeDocument/2006/relationships/chart" Target="../charts/chart23.xml"/></Relationships>
</file>

<file path=ppt/slides/_rels/slide8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29.xml"/><Relationship Id="rId1" Type="http://schemas.openxmlformats.org/officeDocument/2006/relationships/slideLayout" Target="../slideLayouts/slideLayout21.xml"/><Relationship Id="rId4" Type="http://schemas.openxmlformats.org/officeDocument/2006/relationships/slide" Target="slide61.xml"/></Relationships>
</file>

<file path=ppt/slides/_rels/slide87.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0.xml"/><Relationship Id="rId1" Type="http://schemas.openxmlformats.org/officeDocument/2006/relationships/slideLayout" Target="../slideLayouts/slideLayout26.xml"/><Relationship Id="rId4" Type="http://schemas.openxmlformats.org/officeDocument/2006/relationships/slide" Target="slide60.xml"/></Relationships>
</file>

<file path=ppt/slides/_rels/slide88.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1.xml"/><Relationship Id="rId1" Type="http://schemas.openxmlformats.org/officeDocument/2006/relationships/slideLayout" Target="../slideLayouts/slideLayout26.xml"/><Relationship Id="rId4" Type="http://schemas.openxmlformats.org/officeDocument/2006/relationships/slide" Target="slide60.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60.xml"/><Relationship Id="rId5" Type="http://schemas.openxmlformats.org/officeDocument/2006/relationships/chart" Target="../charts/chart26.xml"/><Relationship Id="rId4" Type="http://schemas.openxmlformats.org/officeDocument/2006/relationships/notesSlide" Target="../notesSlides/notesSlide32.xml"/></Relationships>
</file>

<file path=ppt/slides/_rels/slide9.xml.rels><?xml version="1.0" encoding="UTF-8" standalone="yes"?>
<Relationships xmlns="http://schemas.openxmlformats.org/package/2006/relationships"><Relationship Id="rId3" Type="http://schemas.openxmlformats.org/officeDocument/2006/relationships/hyperlink" Target="mailto:brandsupport@accenture.com" TargetMode="External"/><Relationship Id="rId2" Type="http://schemas.openxmlformats.org/officeDocument/2006/relationships/hyperlink" Target="https://ts.accenture.com/sites/brandspace/" TargetMode="External"/><Relationship Id="rId1" Type="http://schemas.openxmlformats.org/officeDocument/2006/relationships/slideLayout" Target="../slideLayouts/slideLayout26.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60.xml"/><Relationship Id="rId5" Type="http://schemas.openxmlformats.org/officeDocument/2006/relationships/chart" Target="../charts/chart27.xml"/><Relationship Id="rId4" Type="http://schemas.openxmlformats.org/officeDocument/2006/relationships/notesSlide" Target="../notesSlides/notesSlide33.xml"/></Relationships>
</file>

<file path=ppt/slides/_rels/slide9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4.xml"/><Relationship Id="rId1" Type="http://schemas.openxmlformats.org/officeDocument/2006/relationships/slideLayout" Target="../slideLayouts/slideLayout26.xml"/><Relationship Id="rId5" Type="http://schemas.openxmlformats.org/officeDocument/2006/relationships/chart" Target="../charts/chart29.xml"/><Relationship Id="rId4" Type="http://schemas.openxmlformats.org/officeDocument/2006/relationships/chart" Target="../charts/chart28.xml"/></Relationships>
</file>

<file path=ppt/slides/_rels/slide92.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5.xml"/><Relationship Id="rId1" Type="http://schemas.openxmlformats.org/officeDocument/2006/relationships/slideLayout" Target="../slideLayouts/slideLayout26.xml"/><Relationship Id="rId5" Type="http://schemas.openxmlformats.org/officeDocument/2006/relationships/chart" Target="../charts/chart31.xml"/><Relationship Id="rId4" Type="http://schemas.openxmlformats.org/officeDocument/2006/relationships/chart" Target="../charts/chart30.xml"/></Relationships>
</file>

<file path=ppt/slides/_rels/slide93.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6.xml"/><Relationship Id="rId1" Type="http://schemas.openxmlformats.org/officeDocument/2006/relationships/slideLayout" Target="../slideLayouts/slideLayout26.xml"/><Relationship Id="rId4" Type="http://schemas.openxmlformats.org/officeDocument/2006/relationships/chart" Target="../charts/chart32.xml"/></Relationships>
</file>

<file path=ppt/slides/_rels/slide94.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7.xml"/><Relationship Id="rId1" Type="http://schemas.openxmlformats.org/officeDocument/2006/relationships/slideLayout" Target="../slideLayouts/slideLayout26.xml"/><Relationship Id="rId4" Type="http://schemas.openxmlformats.org/officeDocument/2006/relationships/slide" Target="slide60.xml"/></Relationships>
</file>

<file path=ppt/slides/_rels/slide95.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8.xml"/><Relationship Id="rId1" Type="http://schemas.openxmlformats.org/officeDocument/2006/relationships/slideLayout" Target="../slideLayouts/slideLayout26.xml"/><Relationship Id="rId4" Type="http://schemas.openxmlformats.org/officeDocument/2006/relationships/chart" Target="../charts/chart34.xml"/></Relationships>
</file>

<file path=ppt/slides/_rels/slide9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39.xml"/><Relationship Id="rId1" Type="http://schemas.openxmlformats.org/officeDocument/2006/relationships/slideLayout" Target="../slideLayouts/slideLayout26.xml"/><Relationship Id="rId4" Type="http://schemas.openxmlformats.org/officeDocument/2006/relationships/chart" Target="../charts/chart35.xml"/></Relationships>
</file>

<file path=ppt/slides/_rels/slide9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40.xml"/><Relationship Id="rId1" Type="http://schemas.openxmlformats.org/officeDocument/2006/relationships/slideLayout" Target="../slideLayouts/slideLayout26.xml"/><Relationship Id="rId4" Type="http://schemas.openxmlformats.org/officeDocument/2006/relationships/chart" Target="../charts/chart36.xml"/></Relationships>
</file>

<file path=ppt/slides/_rels/slide98.xml.rels><?xml version="1.0" encoding="UTF-8" standalone="yes"?>
<Relationships xmlns="http://schemas.openxmlformats.org/package/2006/relationships"><Relationship Id="rId3" Type="http://schemas.openxmlformats.org/officeDocument/2006/relationships/slide" Target="slide61.xml"/><Relationship Id="rId2" Type="http://schemas.openxmlformats.org/officeDocument/2006/relationships/notesSlide" Target="../notesSlides/notesSlide41.xml"/><Relationship Id="rId1" Type="http://schemas.openxmlformats.org/officeDocument/2006/relationships/slideLayout" Target="../slideLayouts/slideLayout21.xml"/><Relationship Id="rId4" Type="http://schemas.openxmlformats.org/officeDocument/2006/relationships/slide" Target="slide60.xml"/></Relationships>
</file>

<file path=ppt/slides/_rels/slide99.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42.xml"/><Relationship Id="rId1" Type="http://schemas.openxmlformats.org/officeDocument/2006/relationships/slideLayout" Target="../slideLayouts/slideLayout26.xml"/><Relationship Id="rId4" Type="http://schemas.openxmlformats.org/officeDocument/2006/relationships/chart" Target="../charts/chart3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26449-81B9-48EC-A5A8-A278FD073C99}"/>
              </a:ext>
            </a:extLst>
          </p:cNvPr>
          <p:cNvSpPr>
            <a:spLocks noGrp="1"/>
          </p:cNvSpPr>
          <p:nvPr>
            <p:ph type="title"/>
          </p:nvPr>
        </p:nvSpPr>
        <p:spPr/>
        <p:txBody>
          <a:bodyPr/>
          <a:lstStyle/>
          <a:p>
            <a:r>
              <a:rPr lang="en-US" dirty="0"/>
              <a:t>Accenture </a:t>
            </a:r>
            <a:br>
              <a:rPr lang="en-US" dirty="0"/>
            </a:br>
            <a:r>
              <a:rPr lang="en-US" dirty="0"/>
              <a:t>PPT Starter Pack</a:t>
            </a:r>
          </a:p>
        </p:txBody>
      </p:sp>
    </p:spTree>
    <p:extLst>
      <p:ext uri="{BB962C8B-B14F-4D97-AF65-F5344CB8AC3E}">
        <p14:creationId xmlns:p14="http://schemas.microsoft.com/office/powerpoint/2010/main" val="22928775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FA893CE-2B2B-466D-BD24-C2D75019EE05}"/>
              </a:ext>
            </a:extLst>
          </p:cNvPr>
          <p:cNvSpPr txBox="1">
            <a:spLocks/>
          </p:cNvSpPr>
          <p:nvPr/>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noProof="0" dirty="0"/>
              <a:t>Slide layouts </a:t>
            </a:r>
          </a:p>
        </p:txBody>
      </p:sp>
      <p:sp>
        <p:nvSpPr>
          <p:cNvPr id="7" name="TextBox 6">
            <a:extLst>
              <a:ext uri="{FF2B5EF4-FFF2-40B4-BE49-F238E27FC236}">
                <a16:creationId xmlns:a16="http://schemas.microsoft.com/office/drawing/2014/main" id="{CA9A5821-693F-4BD8-AE67-D9D968659418}"/>
              </a:ext>
            </a:extLst>
          </p:cNvPr>
          <p:cNvSpPr txBox="1"/>
          <p:nvPr/>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dirty="0"/>
              <a:t>The following snapshots show some of the slide layouts included within this template. </a:t>
            </a:r>
            <a:br>
              <a:rPr lang="en-GB" sz="1600" dirty="0"/>
            </a:br>
            <a:r>
              <a:rPr lang="en-GB" sz="1600" dirty="0"/>
              <a:t>Access them through </a:t>
            </a:r>
            <a:r>
              <a:rPr lang="en-GB" sz="1600" b="1" dirty="0">
                <a:solidFill>
                  <a:schemeClr val="accent1"/>
                </a:solidFill>
              </a:rPr>
              <a:t>Home (Ribbon) &gt; Slides &gt; Layout</a:t>
            </a:r>
            <a:r>
              <a:rPr lang="en-GB" sz="1600" dirty="0">
                <a:solidFill>
                  <a:schemeClr val="accent1"/>
                </a:solidFill>
              </a:rPr>
              <a:t> OR </a:t>
            </a:r>
            <a:r>
              <a:rPr lang="en-GB" sz="1600" b="1" dirty="0">
                <a:solidFill>
                  <a:schemeClr val="accent1"/>
                </a:solidFill>
              </a:rPr>
              <a:t>View (Ribbon) &gt; Slide Master</a:t>
            </a:r>
            <a:r>
              <a:rPr lang="en-GB" sz="1600" b="0" dirty="0">
                <a:solidFill>
                  <a:schemeClr val="tx1"/>
                </a:solidFill>
              </a:rPr>
              <a:t>.</a:t>
            </a:r>
          </a:p>
        </p:txBody>
      </p:sp>
      <p:sp>
        <p:nvSpPr>
          <p:cNvPr id="2" name="TextBox 1">
            <a:extLst>
              <a:ext uri="{FF2B5EF4-FFF2-40B4-BE49-F238E27FC236}">
                <a16:creationId xmlns:a16="http://schemas.microsoft.com/office/drawing/2014/main" id="{E32ED384-FC9E-4CD3-B6A0-81D43F8E9489}"/>
              </a:ext>
            </a:extLst>
          </p:cNvPr>
          <p:cNvSpPr txBox="1"/>
          <p:nvPr/>
        </p:nvSpPr>
        <p:spPr>
          <a:xfrm rot="16200000">
            <a:off x="142495" y="1844963"/>
            <a:ext cx="713231" cy="236223"/>
          </a:xfrm>
          <a:prstGeom prst="rect">
            <a:avLst/>
          </a:prstGeom>
          <a:noFill/>
        </p:spPr>
        <p:txBody>
          <a:bodyPr wrap="square" lIns="0" tIns="0" rIns="0" bIns="0" rtlCol="0" anchor="b">
            <a:noAutofit/>
          </a:bodyPr>
          <a:lstStyle/>
          <a:p>
            <a:pPr algn="ctr" defTabSz="228600">
              <a:lnSpc>
                <a:spcPct val="90000"/>
              </a:lnSpc>
              <a:spcAft>
                <a:spcPts val="1200"/>
              </a:spcAft>
            </a:pPr>
            <a:r>
              <a:rPr lang="en-US" sz="1000" b="1" noProof="0" dirty="0">
                <a:solidFill>
                  <a:schemeClr val="tx1"/>
                </a:solidFill>
              </a:rPr>
              <a:t>Intro &amp;</a:t>
            </a:r>
            <a:br>
              <a:rPr lang="en-US" sz="1000" b="1" noProof="0" dirty="0">
                <a:solidFill>
                  <a:schemeClr val="tx1"/>
                </a:solidFill>
              </a:rPr>
            </a:br>
            <a:r>
              <a:rPr lang="en-US" sz="1000" b="1" noProof="0" dirty="0">
                <a:solidFill>
                  <a:schemeClr val="tx1"/>
                </a:solidFill>
              </a:rPr>
              <a:t>Covers</a:t>
            </a:r>
          </a:p>
        </p:txBody>
      </p:sp>
      <p:sp>
        <p:nvSpPr>
          <p:cNvPr id="3" name="TextBox 2">
            <a:extLst>
              <a:ext uri="{FF2B5EF4-FFF2-40B4-BE49-F238E27FC236}">
                <a16:creationId xmlns:a16="http://schemas.microsoft.com/office/drawing/2014/main" id="{1132834B-EBC9-4E1F-9C86-922D68C96B36}"/>
              </a:ext>
            </a:extLst>
          </p:cNvPr>
          <p:cNvSpPr txBox="1"/>
          <p:nvPr/>
        </p:nvSpPr>
        <p:spPr>
          <a:xfrm rot="16200000">
            <a:off x="141088" y="2630026"/>
            <a:ext cx="716046" cy="236222"/>
          </a:xfrm>
          <a:prstGeom prst="rect">
            <a:avLst/>
          </a:prstGeom>
          <a:noFill/>
        </p:spPr>
        <p:txBody>
          <a:bodyPr wrap="square" lIns="0" tIns="0" rIns="0" bIns="0" rtlCol="0" anchor="b">
            <a:noAutofit/>
          </a:bodyPr>
          <a:lstStyle/>
          <a:p>
            <a:pPr algn="ctr" defTabSz="228600">
              <a:lnSpc>
                <a:spcPct val="90000"/>
              </a:lnSpc>
              <a:spcAft>
                <a:spcPts val="1200"/>
              </a:spcAft>
            </a:pPr>
            <a:r>
              <a:rPr lang="en-US" sz="1000" b="1" noProof="0" dirty="0">
                <a:solidFill>
                  <a:schemeClr val="tx1"/>
                </a:solidFill>
              </a:rPr>
              <a:t>Section Dividers</a:t>
            </a:r>
          </a:p>
        </p:txBody>
      </p:sp>
      <p:sp>
        <p:nvSpPr>
          <p:cNvPr id="4" name="TextBox 3">
            <a:extLst>
              <a:ext uri="{FF2B5EF4-FFF2-40B4-BE49-F238E27FC236}">
                <a16:creationId xmlns:a16="http://schemas.microsoft.com/office/drawing/2014/main" id="{66875CFA-1AD5-43C6-B1C4-D225614EC082}"/>
              </a:ext>
            </a:extLst>
          </p:cNvPr>
          <p:cNvSpPr txBox="1"/>
          <p:nvPr/>
        </p:nvSpPr>
        <p:spPr>
          <a:xfrm rot="16200000">
            <a:off x="-642485" y="4197258"/>
            <a:ext cx="2283191" cy="236222"/>
          </a:xfrm>
          <a:prstGeom prst="rect">
            <a:avLst/>
          </a:prstGeom>
          <a:noFill/>
        </p:spPr>
        <p:txBody>
          <a:bodyPr wrap="square" lIns="0" tIns="0" rIns="0" bIns="0" rtlCol="0" anchor="b">
            <a:noAutofit/>
          </a:bodyPr>
          <a:lstStyle/>
          <a:p>
            <a:pPr algn="ctr" defTabSz="228600">
              <a:lnSpc>
                <a:spcPct val="90000"/>
              </a:lnSpc>
              <a:spcAft>
                <a:spcPts val="1200"/>
              </a:spcAft>
            </a:pPr>
            <a:r>
              <a:rPr lang="en-US" sz="1000" b="1" noProof="0" dirty="0">
                <a:solidFill>
                  <a:schemeClr val="tx1"/>
                </a:solidFill>
              </a:rPr>
              <a:t>Content Layouts</a:t>
            </a:r>
          </a:p>
        </p:txBody>
      </p:sp>
      <p:pic>
        <p:nvPicPr>
          <p:cNvPr id="8" name="Picture 7">
            <a:extLst>
              <a:ext uri="{FF2B5EF4-FFF2-40B4-BE49-F238E27FC236}">
                <a16:creationId xmlns:a16="http://schemas.microsoft.com/office/drawing/2014/main" id="{5771DCF7-4540-7844-A5FD-D197A6E5A27C}"/>
              </a:ext>
            </a:extLst>
          </p:cNvPr>
          <p:cNvPicPr>
            <a:picLocks noChangeAspect="1"/>
          </p:cNvPicPr>
          <p:nvPr/>
        </p:nvPicPr>
        <p:blipFill>
          <a:blip r:embed="rId2"/>
          <a:stretch>
            <a:fillRect/>
          </a:stretch>
        </p:blipFill>
        <p:spPr>
          <a:xfrm>
            <a:off x="708660" y="1610931"/>
            <a:ext cx="10717697" cy="3871296"/>
          </a:xfrm>
          <a:prstGeom prst="rect">
            <a:avLst/>
          </a:prstGeom>
        </p:spPr>
      </p:pic>
    </p:spTree>
    <p:extLst>
      <p:ext uri="{BB962C8B-B14F-4D97-AF65-F5344CB8AC3E}">
        <p14:creationId xmlns:p14="http://schemas.microsoft.com/office/powerpoint/2010/main" val="211771522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US" dirty="0"/>
              <a:t>Smooth Line Chart</a:t>
            </a:r>
          </a:p>
        </p:txBody>
      </p:sp>
      <p:sp>
        <p:nvSpPr>
          <p:cNvPr id="21" name="Freeform: Shape 20">
            <a:hlinkClick r:id="rId3" action="ppaction://hlinksldjump"/>
            <a:extLst>
              <a:ext uri="{FF2B5EF4-FFF2-40B4-BE49-F238E27FC236}">
                <a16:creationId xmlns:a16="http://schemas.microsoft.com/office/drawing/2014/main" id="{9B3E91C7-734A-4957-B9D9-8D519FE5A1EC}"/>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3">
            <a:extLst>
              <a:ext uri="{FF2B5EF4-FFF2-40B4-BE49-F238E27FC236}">
                <a16:creationId xmlns:a16="http://schemas.microsoft.com/office/drawing/2014/main" id="{81B63E79-9B9B-4DC4-8F6F-E65C15A7195D}"/>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lin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lin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Edit the y-axis label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Edit the labels manually</a:t>
            </a:r>
          </a:p>
        </p:txBody>
      </p:sp>
      <p:sp>
        <p:nvSpPr>
          <p:cNvPr id="4" name="Rectangle 3">
            <a:hlinkClick r:id="rId3" action="ppaction://hlinksldjump"/>
            <a:extLst>
              <a:ext uri="{FF2B5EF4-FFF2-40B4-BE49-F238E27FC236}">
                <a16:creationId xmlns:a16="http://schemas.microsoft.com/office/drawing/2014/main" id="{BFCF3875-7A2C-4D54-A7F8-8CCCD715C77B}"/>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BB6D0526-547E-4062-A07E-7F07B255DDE2}"/>
              </a:ext>
            </a:extLst>
          </p:cNvPr>
          <p:cNvGraphicFramePr>
            <a:graphicFrameLocks/>
          </p:cNvGraphicFramePr>
          <p:nvPr>
            <p:extLst>
              <p:ext uri="{D42A27DB-BD31-4B8C-83A1-F6EECF244321}">
                <p14:modId xmlns:p14="http://schemas.microsoft.com/office/powerpoint/2010/main" val="1085084317"/>
              </p:ext>
            </p:extLst>
          </p:nvPr>
        </p:nvGraphicFramePr>
        <p:xfrm>
          <a:off x="381000" y="1037063"/>
          <a:ext cx="11437938" cy="37356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3664502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Area Chart</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lin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lin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Edit the y-axis label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Edit the labels manually</a:t>
            </a:r>
          </a:p>
        </p:txBody>
      </p:sp>
      <p:sp>
        <p:nvSpPr>
          <p:cNvPr id="14" name="Freeform: Shape 13">
            <a:hlinkClick r:id="rId3" action="ppaction://hlinksldjump"/>
            <a:extLst>
              <a:ext uri="{FF2B5EF4-FFF2-40B4-BE49-F238E27FC236}">
                <a16:creationId xmlns:a16="http://schemas.microsoft.com/office/drawing/2014/main" id="{18FDE4B5-554B-4450-B07C-18897D91D7E5}"/>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663BFF0F-0214-482A-B3EA-D3C4B90DEE91}"/>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8" name="Object 2">
            <a:hlinkClick r:id="" action="ppaction://ole?verb=0"/>
            <a:extLst>
              <a:ext uri="{FF2B5EF4-FFF2-40B4-BE49-F238E27FC236}">
                <a16:creationId xmlns:a16="http://schemas.microsoft.com/office/drawing/2014/main" id="{4B310ED1-19C7-429E-84B2-2350A9D6EDC1}"/>
              </a:ext>
            </a:extLst>
          </p:cNvPr>
          <p:cNvGraphicFramePr>
            <a:graphicFrameLocks/>
          </p:cNvGraphicFramePr>
          <p:nvPr>
            <p:extLst>
              <p:ext uri="{D42A27DB-BD31-4B8C-83A1-F6EECF244321}">
                <p14:modId xmlns:p14="http://schemas.microsoft.com/office/powerpoint/2010/main" val="3835323039"/>
              </p:ext>
            </p:extLst>
          </p:nvPr>
        </p:nvGraphicFramePr>
        <p:xfrm>
          <a:off x="379414" y="1038224"/>
          <a:ext cx="11431586" cy="375457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388626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Area Chart 100%</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lin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lin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Edit the y-axis label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Edit the labels manually</a:t>
            </a:r>
          </a:p>
        </p:txBody>
      </p:sp>
      <p:sp>
        <p:nvSpPr>
          <p:cNvPr id="4" name="Freeform: Shape 3">
            <a:hlinkClick r:id="rId3" action="ppaction://hlinksldjump"/>
            <a:extLst>
              <a:ext uri="{FF2B5EF4-FFF2-40B4-BE49-F238E27FC236}">
                <a16:creationId xmlns:a16="http://schemas.microsoft.com/office/drawing/2014/main" id="{A4CFFEF5-506A-4EB2-AC1A-A2D1FF81091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hlinkClick r:id="rId3" action="ppaction://hlinksldjump"/>
            <a:extLst>
              <a:ext uri="{FF2B5EF4-FFF2-40B4-BE49-F238E27FC236}">
                <a16:creationId xmlns:a16="http://schemas.microsoft.com/office/drawing/2014/main" id="{812B0385-C022-404A-93DE-EEF555501E44}"/>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20" name="Object 2">
            <a:hlinkClick r:id="" action="ppaction://ole?verb=0"/>
            <a:extLst>
              <a:ext uri="{FF2B5EF4-FFF2-40B4-BE49-F238E27FC236}">
                <a16:creationId xmlns:a16="http://schemas.microsoft.com/office/drawing/2014/main" id="{CABA59C5-EEF9-4E02-92BC-AC9156DECE00}"/>
              </a:ext>
            </a:extLst>
          </p:cNvPr>
          <p:cNvGraphicFramePr>
            <a:graphicFrameLocks/>
          </p:cNvGraphicFramePr>
          <p:nvPr>
            <p:extLst>
              <p:ext uri="{D42A27DB-BD31-4B8C-83A1-F6EECF244321}">
                <p14:modId xmlns:p14="http://schemas.microsoft.com/office/powerpoint/2010/main" val="392684194"/>
              </p:ext>
            </p:extLst>
          </p:nvPr>
        </p:nvGraphicFramePr>
        <p:xfrm>
          <a:off x="381000" y="1057275"/>
          <a:ext cx="11429366" cy="392271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5302417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Grouped Correlation Chart</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area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line/dot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Edit the axes labels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Select "Trend lines" in Data Point Options to add or remove the trend line</a:t>
            </a:r>
          </a:p>
        </p:txBody>
      </p:sp>
      <p:sp>
        <p:nvSpPr>
          <p:cNvPr id="4" name="Freeform: Shape 3">
            <a:hlinkClick r:id="rId3" action="ppaction://hlinksldjump"/>
            <a:extLst>
              <a:ext uri="{FF2B5EF4-FFF2-40B4-BE49-F238E27FC236}">
                <a16:creationId xmlns:a16="http://schemas.microsoft.com/office/drawing/2014/main" id="{A4CFFEF5-506A-4EB2-AC1A-A2D1FF81091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B34E2CF-8C82-4ED9-BF55-7C80065EED28}"/>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2DF81472-DC8C-43F0-8BB1-7AFC00932A7F}"/>
              </a:ext>
            </a:extLst>
          </p:cNvPr>
          <p:cNvGraphicFramePr>
            <a:graphicFrameLocks/>
          </p:cNvGraphicFramePr>
          <p:nvPr>
            <p:extLst>
              <p:ext uri="{D42A27DB-BD31-4B8C-83A1-F6EECF244321}">
                <p14:modId xmlns:p14="http://schemas.microsoft.com/office/powerpoint/2010/main" val="3326998942"/>
              </p:ext>
            </p:extLst>
          </p:nvPr>
        </p:nvGraphicFramePr>
        <p:xfrm>
          <a:off x="381317" y="1052513"/>
          <a:ext cx="11429366" cy="41179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800011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Radar Chart 1</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555218"/>
            <a:ext cx="4780560"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area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n area to change the color</a:t>
            </a:r>
          </a:p>
        </p:txBody>
      </p:sp>
      <p:sp>
        <p:nvSpPr>
          <p:cNvPr id="4" name="Freeform: Shape 3">
            <a:hlinkClick r:id="rId3" action="ppaction://hlinksldjump"/>
            <a:extLst>
              <a:ext uri="{FF2B5EF4-FFF2-40B4-BE49-F238E27FC236}">
                <a16:creationId xmlns:a16="http://schemas.microsoft.com/office/drawing/2014/main" id="{A4CFFEF5-506A-4EB2-AC1A-A2D1FF81091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F63500D-7D5A-4FE4-8DA8-854DD3A714E4}"/>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31FA6C6E-9242-4A2A-B854-A18B81D2C8EC}"/>
              </a:ext>
            </a:extLst>
          </p:cNvPr>
          <p:cNvGraphicFramePr>
            <a:graphicFrameLocks/>
          </p:cNvGraphicFramePr>
          <p:nvPr>
            <p:extLst>
              <p:ext uri="{D42A27DB-BD31-4B8C-83A1-F6EECF244321}">
                <p14:modId xmlns:p14="http://schemas.microsoft.com/office/powerpoint/2010/main" val="472973644"/>
              </p:ext>
            </p:extLst>
          </p:nvPr>
        </p:nvGraphicFramePr>
        <p:xfrm>
          <a:off x="381000" y="1019077"/>
          <a:ext cx="11437938" cy="45361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5799305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Radar Chart 1</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555218"/>
            <a:ext cx="4780560"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area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n area to change the color</a:t>
            </a:r>
          </a:p>
        </p:txBody>
      </p:sp>
      <p:sp>
        <p:nvSpPr>
          <p:cNvPr id="4" name="Freeform: Shape 3">
            <a:hlinkClick r:id="rId3" action="ppaction://hlinksldjump"/>
            <a:extLst>
              <a:ext uri="{FF2B5EF4-FFF2-40B4-BE49-F238E27FC236}">
                <a16:creationId xmlns:a16="http://schemas.microsoft.com/office/drawing/2014/main" id="{A4CFFEF5-506A-4EB2-AC1A-A2D1FF81091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59E6B9F7-4D29-4775-A913-C466304AE33B}"/>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F4368141-62AD-4FC2-A107-548468CB75D6}"/>
              </a:ext>
            </a:extLst>
          </p:cNvPr>
          <p:cNvGraphicFramePr>
            <a:graphicFrameLocks/>
          </p:cNvGraphicFramePr>
          <p:nvPr>
            <p:extLst>
              <p:ext uri="{D42A27DB-BD31-4B8C-83A1-F6EECF244321}">
                <p14:modId xmlns:p14="http://schemas.microsoft.com/office/powerpoint/2010/main" val="203856450"/>
              </p:ext>
            </p:extLst>
          </p:nvPr>
        </p:nvGraphicFramePr>
        <p:xfrm>
          <a:off x="447676" y="1038225"/>
          <a:ext cx="11295062" cy="45169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951791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Portfolio in Two Dimensions</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290950"/>
            <a:ext cx="4780560" cy="987551"/>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538163" marR="0" lvl="0" indent="-538163" algn="l" defTabSz="914400" rtl="0" eaLnBrk="1" fontAlgn="auto" latinLnBrk="0" hangingPunct="1">
              <a:lnSpc>
                <a:spcPct val="100000"/>
              </a:lnSpc>
              <a:spcBef>
                <a:spcPct val="0"/>
              </a:spcBef>
              <a:spcAft>
                <a:spcPts val="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Insert the values for the coordinates x and y</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he x- and y-axis are hidden. To get the right scaling, make them visible</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he axis and legend is drawn in PowerPoint. Resize and rescale them if necessary</a:t>
            </a:r>
          </a:p>
        </p:txBody>
      </p:sp>
      <p:sp>
        <p:nvSpPr>
          <p:cNvPr id="4" name="Freeform: Shape 3">
            <a:hlinkClick r:id="rId15" action="ppaction://hlinksldjump"/>
            <a:extLst>
              <a:ext uri="{FF2B5EF4-FFF2-40B4-BE49-F238E27FC236}">
                <a16:creationId xmlns:a16="http://schemas.microsoft.com/office/drawing/2014/main" id="{A4CFFEF5-506A-4EB2-AC1A-A2D1FF81091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hlinkClick r:id="rId15" action="ppaction://hlinksldjump"/>
            <a:extLst>
              <a:ext uri="{FF2B5EF4-FFF2-40B4-BE49-F238E27FC236}">
                <a16:creationId xmlns:a16="http://schemas.microsoft.com/office/drawing/2014/main" id="{9EFE92D9-CF80-483E-A1A7-D6D1BA0907F1}"/>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3" name="Group 55">
            <a:extLst>
              <a:ext uri="{FF2B5EF4-FFF2-40B4-BE49-F238E27FC236}">
                <a16:creationId xmlns:a16="http://schemas.microsoft.com/office/drawing/2014/main" id="{B3CD2453-56DC-49B6-945A-8020777FA94C}"/>
              </a:ext>
            </a:extLst>
          </p:cNvPr>
          <p:cNvGrpSpPr>
            <a:grpSpLocks/>
          </p:cNvGrpSpPr>
          <p:nvPr>
            <p:custDataLst>
              <p:tags r:id="rId1"/>
            </p:custDataLst>
          </p:nvPr>
        </p:nvGrpSpPr>
        <p:grpSpPr bwMode="auto">
          <a:xfrm>
            <a:off x="4295131" y="1291194"/>
            <a:ext cx="3598862" cy="3598862"/>
            <a:chOff x="730" y="1414"/>
            <a:chExt cx="2266" cy="2266"/>
          </a:xfrm>
        </p:grpSpPr>
        <p:sp>
          <p:nvSpPr>
            <p:cNvPr id="40" name="Rectangle 56">
              <a:extLst>
                <a:ext uri="{FF2B5EF4-FFF2-40B4-BE49-F238E27FC236}">
                  <a16:creationId xmlns:a16="http://schemas.microsoft.com/office/drawing/2014/main" id="{D8DF591B-1C50-44AC-BDB4-5CE5156E4488}"/>
                </a:ext>
              </a:extLst>
            </p:cNvPr>
            <p:cNvSpPr>
              <a:spLocks noChangeArrowheads="1"/>
            </p:cNvSpPr>
            <p:nvPr/>
          </p:nvSpPr>
          <p:spPr bwMode="auto">
            <a:xfrm>
              <a:off x="1863"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41" name="Rectangle 57">
              <a:extLst>
                <a:ext uri="{FF2B5EF4-FFF2-40B4-BE49-F238E27FC236}">
                  <a16:creationId xmlns:a16="http://schemas.microsoft.com/office/drawing/2014/main" id="{8E70F21F-45CE-46E8-9A5E-7E9ACFA64F8B}"/>
                </a:ext>
              </a:extLst>
            </p:cNvPr>
            <p:cNvSpPr>
              <a:spLocks noChangeArrowheads="1"/>
            </p:cNvSpPr>
            <p:nvPr/>
          </p:nvSpPr>
          <p:spPr bwMode="auto">
            <a:xfrm>
              <a:off x="730"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42" name="Rectangle 58">
              <a:extLst>
                <a:ext uri="{FF2B5EF4-FFF2-40B4-BE49-F238E27FC236}">
                  <a16:creationId xmlns:a16="http://schemas.microsoft.com/office/drawing/2014/main" id="{9D569F04-4762-4AC5-B39A-6594B38ED132}"/>
                </a:ext>
              </a:extLst>
            </p:cNvPr>
            <p:cNvSpPr>
              <a:spLocks noChangeArrowheads="1"/>
            </p:cNvSpPr>
            <p:nvPr/>
          </p:nvSpPr>
          <p:spPr bwMode="auto">
            <a:xfrm>
              <a:off x="730"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43" name="Rectangle 59">
              <a:extLst>
                <a:ext uri="{FF2B5EF4-FFF2-40B4-BE49-F238E27FC236}">
                  <a16:creationId xmlns:a16="http://schemas.microsoft.com/office/drawing/2014/main" id="{ECC3BD63-D470-4D1D-9263-28267D6C2606}"/>
                </a:ext>
              </a:extLst>
            </p:cNvPr>
            <p:cNvSpPr>
              <a:spLocks noChangeArrowheads="1"/>
            </p:cNvSpPr>
            <p:nvPr/>
          </p:nvSpPr>
          <p:spPr bwMode="auto">
            <a:xfrm>
              <a:off x="1863"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grpSp>
      <p:sp>
        <p:nvSpPr>
          <p:cNvPr id="44" name="Freeform 60">
            <a:extLst>
              <a:ext uri="{FF2B5EF4-FFF2-40B4-BE49-F238E27FC236}">
                <a16:creationId xmlns:a16="http://schemas.microsoft.com/office/drawing/2014/main" id="{DC19A5C4-E312-4C11-BC18-D08E71F300C2}"/>
              </a:ext>
            </a:extLst>
          </p:cNvPr>
          <p:cNvSpPr>
            <a:spLocks/>
          </p:cNvSpPr>
          <p:nvPr>
            <p:custDataLst>
              <p:tags r:id="rId2"/>
            </p:custDataLst>
          </p:nvPr>
        </p:nvSpPr>
        <p:spPr bwMode="auto">
          <a:xfrm>
            <a:off x="4295131" y="1005160"/>
            <a:ext cx="3885892" cy="3884898"/>
          </a:xfrm>
          <a:custGeom>
            <a:avLst/>
            <a:gdLst/>
            <a:ahLst/>
            <a:cxnLst>
              <a:cxn ang="0">
                <a:pos x="0" y="0"/>
              </a:cxn>
              <a:cxn ang="0">
                <a:pos x="0" y="2268"/>
              </a:cxn>
              <a:cxn ang="0">
                <a:pos x="2268" y="2268"/>
              </a:cxn>
            </a:cxnLst>
            <a:rect l="0" t="0" r="r" b="b"/>
            <a:pathLst>
              <a:path w="2268" h="2268">
                <a:moveTo>
                  <a:pt x="0" y="0"/>
                </a:moveTo>
                <a:lnTo>
                  <a:pt x="0" y="2268"/>
                </a:lnTo>
                <a:lnTo>
                  <a:pt x="2268" y="2268"/>
                </a:lnTo>
              </a:path>
            </a:pathLst>
          </a:custGeom>
          <a:noFill/>
          <a:ln w="12700" cap="flat" cmpd="sng">
            <a:solidFill>
              <a:schemeClr val="tx1"/>
            </a:solidFill>
            <a:prstDash val="solid"/>
            <a:round/>
            <a:headEnd type="triangle" w="med" len="med"/>
            <a:tailEnd type="triangle" w="med" len="med"/>
          </a:ln>
          <a:effectLst/>
        </p:spPr>
        <p:txBody>
          <a:bodyPr wrap="none" lIns="45720" rIns="45720"/>
          <a:lstStyle/>
          <a:p>
            <a:endParaRPr lang="de-DE"/>
          </a:p>
        </p:txBody>
      </p:sp>
      <p:sp>
        <p:nvSpPr>
          <p:cNvPr id="45" name="Text Box 61">
            <a:extLst>
              <a:ext uri="{FF2B5EF4-FFF2-40B4-BE49-F238E27FC236}">
                <a16:creationId xmlns:a16="http://schemas.microsoft.com/office/drawing/2014/main" id="{B6324501-65BC-4134-BBC9-AF04ECC36B85}"/>
              </a:ext>
            </a:extLst>
          </p:cNvPr>
          <p:cNvSpPr txBox="1">
            <a:spLocks noChangeArrowheads="1"/>
          </p:cNvSpPr>
          <p:nvPr>
            <p:custDataLst>
              <p:tags r:id="rId3"/>
            </p:custDataLst>
          </p:nvPr>
        </p:nvSpPr>
        <p:spPr bwMode="auto">
          <a:xfrm>
            <a:off x="7992419" y="2112422"/>
            <a:ext cx="731873" cy="156966"/>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dirty="0">
                <a:solidFill>
                  <a:schemeClr val="tx2"/>
                </a:solidFill>
                <a:latin typeface="+mj-lt"/>
              </a:rPr>
              <a:t>High</a:t>
            </a:r>
          </a:p>
        </p:txBody>
      </p:sp>
      <p:sp>
        <p:nvSpPr>
          <p:cNvPr id="46" name="Text Box 62">
            <a:extLst>
              <a:ext uri="{FF2B5EF4-FFF2-40B4-BE49-F238E27FC236}">
                <a16:creationId xmlns:a16="http://schemas.microsoft.com/office/drawing/2014/main" id="{67DA1EB2-5FC0-4F15-B9A2-9CC0FC3F1BF4}"/>
              </a:ext>
            </a:extLst>
          </p:cNvPr>
          <p:cNvSpPr txBox="1">
            <a:spLocks noChangeArrowheads="1"/>
          </p:cNvSpPr>
          <p:nvPr>
            <p:custDataLst>
              <p:tags r:id="rId4"/>
            </p:custDataLst>
          </p:nvPr>
        </p:nvSpPr>
        <p:spPr bwMode="auto">
          <a:xfrm>
            <a:off x="7992419" y="3922176"/>
            <a:ext cx="731873" cy="156966"/>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dirty="0">
                <a:solidFill>
                  <a:schemeClr val="tx2"/>
                </a:solidFill>
                <a:latin typeface="+mj-lt"/>
              </a:rPr>
              <a:t>Low</a:t>
            </a:r>
          </a:p>
        </p:txBody>
      </p:sp>
      <p:sp>
        <p:nvSpPr>
          <p:cNvPr id="47" name="Text Box 63">
            <a:extLst>
              <a:ext uri="{FF2B5EF4-FFF2-40B4-BE49-F238E27FC236}">
                <a16:creationId xmlns:a16="http://schemas.microsoft.com/office/drawing/2014/main" id="{C68AEE06-E13B-4750-92CE-D1D994404201}"/>
              </a:ext>
            </a:extLst>
          </p:cNvPr>
          <p:cNvSpPr txBox="1">
            <a:spLocks noChangeArrowheads="1"/>
          </p:cNvSpPr>
          <p:nvPr>
            <p:custDataLst>
              <p:tags r:id="rId5"/>
            </p:custDataLst>
          </p:nvPr>
        </p:nvSpPr>
        <p:spPr bwMode="auto">
          <a:xfrm>
            <a:off x="4926563" y="1033403"/>
            <a:ext cx="536567" cy="193318"/>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dirty="0">
                <a:solidFill>
                  <a:schemeClr val="tx2"/>
                </a:solidFill>
                <a:latin typeface="+mj-lt"/>
              </a:rPr>
              <a:t>Low</a:t>
            </a:r>
          </a:p>
        </p:txBody>
      </p:sp>
      <p:sp>
        <p:nvSpPr>
          <p:cNvPr id="48" name="Text Box 64">
            <a:extLst>
              <a:ext uri="{FF2B5EF4-FFF2-40B4-BE49-F238E27FC236}">
                <a16:creationId xmlns:a16="http://schemas.microsoft.com/office/drawing/2014/main" id="{9E9A6B87-2AAB-4F3C-9C1D-F094D2F7379E}"/>
              </a:ext>
            </a:extLst>
          </p:cNvPr>
          <p:cNvSpPr txBox="1">
            <a:spLocks noChangeArrowheads="1"/>
          </p:cNvSpPr>
          <p:nvPr>
            <p:custDataLst>
              <p:tags r:id="rId6"/>
            </p:custDataLst>
          </p:nvPr>
        </p:nvSpPr>
        <p:spPr bwMode="auto">
          <a:xfrm>
            <a:off x="6675183" y="1033403"/>
            <a:ext cx="638191" cy="193318"/>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dirty="0">
                <a:solidFill>
                  <a:schemeClr val="tx2"/>
                </a:solidFill>
                <a:latin typeface="+mj-lt"/>
              </a:rPr>
              <a:t>High</a:t>
            </a:r>
          </a:p>
        </p:txBody>
      </p:sp>
      <p:sp>
        <p:nvSpPr>
          <p:cNvPr id="49" name="Text Box 65">
            <a:extLst>
              <a:ext uri="{FF2B5EF4-FFF2-40B4-BE49-F238E27FC236}">
                <a16:creationId xmlns:a16="http://schemas.microsoft.com/office/drawing/2014/main" id="{EF0A6536-5338-4424-9D3B-302457DE4A08}"/>
              </a:ext>
            </a:extLst>
          </p:cNvPr>
          <p:cNvSpPr txBox="1">
            <a:spLocks noChangeArrowheads="1"/>
          </p:cNvSpPr>
          <p:nvPr>
            <p:custDataLst>
              <p:tags r:id="rId7"/>
            </p:custDataLst>
          </p:nvPr>
        </p:nvSpPr>
        <p:spPr bwMode="auto">
          <a:xfrm>
            <a:off x="3894652" y="4933138"/>
            <a:ext cx="296038"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dirty="0">
                <a:solidFill>
                  <a:schemeClr val="tx2"/>
                </a:solidFill>
              </a:rPr>
              <a:t>0%</a:t>
            </a:r>
          </a:p>
        </p:txBody>
      </p:sp>
      <p:sp>
        <p:nvSpPr>
          <p:cNvPr id="50" name="Text Box 66">
            <a:extLst>
              <a:ext uri="{FF2B5EF4-FFF2-40B4-BE49-F238E27FC236}">
                <a16:creationId xmlns:a16="http://schemas.microsoft.com/office/drawing/2014/main" id="{341FBB28-5D4C-4AD7-9658-8788FA5A025E}"/>
              </a:ext>
            </a:extLst>
          </p:cNvPr>
          <p:cNvSpPr txBox="1">
            <a:spLocks noChangeArrowheads="1"/>
          </p:cNvSpPr>
          <p:nvPr>
            <p:custDataLst>
              <p:tags r:id="rId8"/>
            </p:custDataLst>
          </p:nvPr>
        </p:nvSpPr>
        <p:spPr bwMode="auto">
          <a:xfrm>
            <a:off x="7992419" y="4943648"/>
            <a:ext cx="458459"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dirty="0">
                <a:solidFill>
                  <a:schemeClr val="tx2"/>
                </a:solidFill>
              </a:rPr>
              <a:t>100%</a:t>
            </a:r>
          </a:p>
        </p:txBody>
      </p:sp>
      <p:sp>
        <p:nvSpPr>
          <p:cNvPr id="51" name="Text Box 67">
            <a:extLst>
              <a:ext uri="{FF2B5EF4-FFF2-40B4-BE49-F238E27FC236}">
                <a16:creationId xmlns:a16="http://schemas.microsoft.com/office/drawing/2014/main" id="{30125A58-5D94-42F0-8E2F-912703E40FA4}"/>
              </a:ext>
            </a:extLst>
          </p:cNvPr>
          <p:cNvSpPr txBox="1">
            <a:spLocks noChangeArrowheads="1"/>
          </p:cNvSpPr>
          <p:nvPr>
            <p:custDataLst>
              <p:tags r:id="rId9"/>
            </p:custDataLst>
          </p:nvPr>
        </p:nvSpPr>
        <p:spPr bwMode="auto">
          <a:xfrm>
            <a:off x="3404600" y="1176816"/>
            <a:ext cx="722349" cy="215444"/>
          </a:xfrm>
          <a:prstGeom prst="rect">
            <a:avLst/>
          </a:prstGeom>
          <a:noFill/>
          <a:ln w="3175">
            <a:noFill/>
            <a:miter lim="800000"/>
            <a:headEnd/>
            <a:tailEnd/>
          </a:ln>
          <a:effectLst/>
        </p:spPr>
        <p:txBody>
          <a:bodyPr wrap="square" lIns="0" tIns="0" rIns="0" bIns="0" anchor="ctr">
            <a:spAutoFit/>
          </a:bodyPr>
          <a:lstStyle/>
          <a:p>
            <a:pPr algn="r" eaLnBrk="0" hangingPunct="0">
              <a:spcBef>
                <a:spcPct val="0"/>
              </a:spcBef>
            </a:pPr>
            <a:r>
              <a:rPr lang="en-US" sz="1400" dirty="0">
                <a:solidFill>
                  <a:schemeClr val="tx2"/>
                </a:solidFill>
              </a:rPr>
              <a:t>100%</a:t>
            </a:r>
          </a:p>
        </p:txBody>
      </p:sp>
      <p:sp>
        <p:nvSpPr>
          <p:cNvPr id="52" name="Text Box 68">
            <a:extLst>
              <a:ext uri="{FF2B5EF4-FFF2-40B4-BE49-F238E27FC236}">
                <a16:creationId xmlns:a16="http://schemas.microsoft.com/office/drawing/2014/main" id="{3B749BB7-947E-40C0-9BA3-134AEFF90CBD}"/>
              </a:ext>
            </a:extLst>
          </p:cNvPr>
          <p:cNvSpPr txBox="1">
            <a:spLocks noChangeArrowheads="1"/>
          </p:cNvSpPr>
          <p:nvPr>
            <p:custDataLst>
              <p:tags r:id="rId10"/>
            </p:custDataLst>
          </p:nvPr>
        </p:nvSpPr>
        <p:spPr bwMode="auto">
          <a:xfrm rot="16200000">
            <a:off x="2263081" y="3009381"/>
            <a:ext cx="3578218" cy="183127"/>
          </a:xfrm>
          <a:prstGeom prst="rect">
            <a:avLst/>
          </a:prstGeom>
          <a:noFill/>
          <a:ln w="3175">
            <a:noFill/>
            <a:miter lim="800000"/>
            <a:headEnd/>
            <a:tailEnd/>
          </a:ln>
          <a:effectLst/>
        </p:spPr>
        <p:txBody>
          <a:bodyPr wrap="square" lIns="0" tIns="0" rIns="0" bIns="0" anchor="b" anchorCtr="0">
            <a:spAutoFit/>
          </a:bodyPr>
          <a:lstStyle/>
          <a:p>
            <a:pPr algn="ctr" eaLnBrk="0" hangingPunct="0">
              <a:lnSpc>
                <a:spcPct val="85000"/>
              </a:lnSpc>
              <a:spcBef>
                <a:spcPct val="0"/>
              </a:spcBef>
            </a:pPr>
            <a:r>
              <a:rPr lang="en-US" sz="1400" b="1" cap="all" dirty="0">
                <a:solidFill>
                  <a:schemeClr val="accent1"/>
                </a:solidFill>
                <a:latin typeface="+mj-lt"/>
              </a:rPr>
              <a:t>Y-Axis</a:t>
            </a:r>
          </a:p>
        </p:txBody>
      </p:sp>
      <p:sp>
        <p:nvSpPr>
          <p:cNvPr id="53" name="Text Box 69">
            <a:extLst>
              <a:ext uri="{FF2B5EF4-FFF2-40B4-BE49-F238E27FC236}">
                <a16:creationId xmlns:a16="http://schemas.microsoft.com/office/drawing/2014/main" id="{C3D9BD80-E245-4989-AD9A-46DCDCA24FA1}"/>
              </a:ext>
            </a:extLst>
          </p:cNvPr>
          <p:cNvSpPr txBox="1">
            <a:spLocks noChangeArrowheads="1"/>
          </p:cNvSpPr>
          <p:nvPr>
            <p:custDataLst>
              <p:tags r:id="rId11"/>
            </p:custDataLst>
          </p:nvPr>
        </p:nvSpPr>
        <p:spPr bwMode="auto">
          <a:xfrm>
            <a:off x="4273470" y="5058333"/>
            <a:ext cx="3642184" cy="180000"/>
          </a:xfrm>
          <a:prstGeom prst="rect">
            <a:avLst/>
          </a:prstGeom>
          <a:noFill/>
          <a:ln w="3175">
            <a:noFill/>
            <a:miter lim="800000"/>
            <a:headEnd/>
            <a:tailEnd/>
          </a:ln>
          <a:effectLst/>
        </p:spPr>
        <p:txBody>
          <a:bodyPr wrap="square" lIns="0" tIns="0" rIns="0" bIns="0" anchor="t" anchorCtr="0">
            <a:noAutofit/>
          </a:bodyPr>
          <a:lstStyle/>
          <a:p>
            <a:pPr algn="ctr" eaLnBrk="0" hangingPunct="0">
              <a:lnSpc>
                <a:spcPct val="85000"/>
              </a:lnSpc>
              <a:spcBef>
                <a:spcPct val="0"/>
              </a:spcBef>
            </a:pPr>
            <a:r>
              <a:rPr lang="en-US" sz="1400" b="1" cap="all" dirty="0">
                <a:solidFill>
                  <a:schemeClr val="accent1"/>
                </a:solidFill>
                <a:latin typeface="+mj-lt"/>
              </a:rPr>
              <a:t>X-Axis</a:t>
            </a:r>
          </a:p>
        </p:txBody>
      </p:sp>
      <p:graphicFrame>
        <p:nvGraphicFramePr>
          <p:cNvPr id="54" name="Object 4">
            <a:extLst>
              <a:ext uri="{FF2B5EF4-FFF2-40B4-BE49-F238E27FC236}">
                <a16:creationId xmlns:a16="http://schemas.microsoft.com/office/drawing/2014/main" id="{FB7F491E-D471-47A4-8FC9-08C8E7A2452F}"/>
              </a:ext>
            </a:extLst>
          </p:cNvPr>
          <p:cNvGraphicFramePr>
            <a:graphicFrameLocks noChangeAspect="1"/>
          </p:cNvGraphicFramePr>
          <p:nvPr>
            <p:custDataLst>
              <p:tags r:id="rId12"/>
            </p:custDataLst>
            <p:extLst>
              <p:ext uri="{D42A27DB-BD31-4B8C-83A1-F6EECF244321}">
                <p14:modId xmlns:p14="http://schemas.microsoft.com/office/powerpoint/2010/main" val="2114543145"/>
              </p:ext>
            </p:extLst>
          </p:nvPr>
        </p:nvGraphicFramePr>
        <p:xfrm>
          <a:off x="3404600" y="1143558"/>
          <a:ext cx="4883150" cy="4275137"/>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416988227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56EE-6908-41C2-85C3-0AD308BB87FD}"/>
              </a:ext>
            </a:extLst>
          </p:cNvPr>
          <p:cNvSpPr>
            <a:spLocks noGrp="1"/>
          </p:cNvSpPr>
          <p:nvPr>
            <p:ph type="title"/>
          </p:nvPr>
        </p:nvSpPr>
        <p:spPr/>
        <p:txBody>
          <a:bodyPr/>
          <a:lstStyle/>
          <a:p>
            <a:r>
              <a:rPr lang="en-US" dirty="0"/>
              <a:t>Portfolio in Three Dimensions</a:t>
            </a:r>
          </a:p>
        </p:txBody>
      </p:sp>
      <p:sp>
        <p:nvSpPr>
          <p:cNvPr id="6" name="Rectangle 3">
            <a:extLst>
              <a:ext uri="{FF2B5EF4-FFF2-40B4-BE49-F238E27FC236}">
                <a16:creationId xmlns:a16="http://schemas.microsoft.com/office/drawing/2014/main" id="{DA9C9CF2-90B4-449A-9F7E-F8217BCE2AA8}"/>
              </a:ext>
            </a:extLst>
          </p:cNvPr>
          <p:cNvSpPr>
            <a:spLocks noChangeArrowheads="1"/>
          </p:cNvSpPr>
          <p:nvPr/>
        </p:nvSpPr>
        <p:spPr bwMode="auto">
          <a:xfrm>
            <a:off x="381000" y="5290950"/>
            <a:ext cx="4780560" cy="987551"/>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538163" marR="0" lvl="0" indent="-538163" algn="l" defTabSz="914400" rtl="0" eaLnBrk="1" fontAlgn="auto" latinLnBrk="0" hangingPunct="1">
              <a:lnSpc>
                <a:spcPct val="100000"/>
              </a:lnSpc>
              <a:spcBef>
                <a:spcPct val="0"/>
              </a:spcBef>
              <a:spcAft>
                <a:spcPts val="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Insert the values for the coordinates x and y</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Insert the size of the bubbles in the row “size“</a:t>
            </a:r>
          </a:p>
          <a:p>
            <a:pPr marL="119063" marR="0" lvl="0" indent="-119063" algn="l" defTabSz="914400" rtl="0" eaLnBrk="1" fontAlgn="auto" latinLnBrk="0" hangingPunct="1">
              <a:lnSpc>
                <a:spcPct val="100000"/>
              </a:lnSpc>
              <a:spcBef>
                <a:spcPct val="0"/>
              </a:spcBef>
              <a:spcAft>
                <a:spcPts val="0"/>
              </a:spcAft>
              <a:buClr>
                <a:srgbClr val="000000"/>
              </a:buClr>
              <a:buSzPct val="100000"/>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he axis and legend is drawn in PowerPoint. Resize and rescale them if necessary</a:t>
            </a:r>
          </a:p>
        </p:txBody>
      </p:sp>
      <p:sp>
        <p:nvSpPr>
          <p:cNvPr id="4" name="Freeform: Shape 3">
            <a:hlinkClick r:id="rId15" action="ppaction://hlinksldjump"/>
            <a:extLst>
              <a:ext uri="{FF2B5EF4-FFF2-40B4-BE49-F238E27FC236}">
                <a16:creationId xmlns:a16="http://schemas.microsoft.com/office/drawing/2014/main" id="{A4CFFEF5-506A-4EB2-AC1A-A2D1FF81091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5" action="ppaction://hlinksldjump"/>
            <a:extLst>
              <a:ext uri="{FF2B5EF4-FFF2-40B4-BE49-F238E27FC236}">
                <a16:creationId xmlns:a16="http://schemas.microsoft.com/office/drawing/2014/main" id="{867EFD08-B7C3-4CD6-918F-812254E0A029}"/>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2" name="Group 55">
            <a:extLst>
              <a:ext uri="{FF2B5EF4-FFF2-40B4-BE49-F238E27FC236}">
                <a16:creationId xmlns:a16="http://schemas.microsoft.com/office/drawing/2014/main" id="{6CDF3A52-BF6D-473D-9375-CD12EAF14529}"/>
              </a:ext>
            </a:extLst>
          </p:cNvPr>
          <p:cNvGrpSpPr>
            <a:grpSpLocks/>
          </p:cNvGrpSpPr>
          <p:nvPr>
            <p:custDataLst>
              <p:tags r:id="rId1"/>
            </p:custDataLst>
          </p:nvPr>
        </p:nvGrpSpPr>
        <p:grpSpPr bwMode="auto">
          <a:xfrm>
            <a:off x="4295131" y="1292832"/>
            <a:ext cx="3598862" cy="3598862"/>
            <a:chOff x="730" y="1414"/>
            <a:chExt cx="2266" cy="2266"/>
          </a:xfrm>
        </p:grpSpPr>
        <p:sp>
          <p:nvSpPr>
            <p:cNvPr id="23" name="Rectangle 56">
              <a:extLst>
                <a:ext uri="{FF2B5EF4-FFF2-40B4-BE49-F238E27FC236}">
                  <a16:creationId xmlns:a16="http://schemas.microsoft.com/office/drawing/2014/main" id="{1C44465B-7AA9-43A0-BC6D-C065122E04E6}"/>
                </a:ext>
              </a:extLst>
            </p:cNvPr>
            <p:cNvSpPr>
              <a:spLocks noChangeArrowheads="1"/>
            </p:cNvSpPr>
            <p:nvPr/>
          </p:nvSpPr>
          <p:spPr bwMode="auto">
            <a:xfrm>
              <a:off x="1863"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24" name="Rectangle 57">
              <a:extLst>
                <a:ext uri="{FF2B5EF4-FFF2-40B4-BE49-F238E27FC236}">
                  <a16:creationId xmlns:a16="http://schemas.microsoft.com/office/drawing/2014/main" id="{CC7CD410-E13D-46D9-A40C-7940330EA0D5}"/>
                </a:ext>
              </a:extLst>
            </p:cNvPr>
            <p:cNvSpPr>
              <a:spLocks noChangeArrowheads="1"/>
            </p:cNvSpPr>
            <p:nvPr/>
          </p:nvSpPr>
          <p:spPr bwMode="auto">
            <a:xfrm>
              <a:off x="730"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25" name="Rectangle 58">
              <a:extLst>
                <a:ext uri="{FF2B5EF4-FFF2-40B4-BE49-F238E27FC236}">
                  <a16:creationId xmlns:a16="http://schemas.microsoft.com/office/drawing/2014/main" id="{286C4C7B-63ED-4149-B235-60CA28EBFAF1}"/>
                </a:ext>
              </a:extLst>
            </p:cNvPr>
            <p:cNvSpPr>
              <a:spLocks noChangeArrowheads="1"/>
            </p:cNvSpPr>
            <p:nvPr/>
          </p:nvSpPr>
          <p:spPr bwMode="auto">
            <a:xfrm>
              <a:off x="730"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sp>
          <p:nvSpPr>
            <p:cNvPr id="26" name="Rectangle 59">
              <a:extLst>
                <a:ext uri="{FF2B5EF4-FFF2-40B4-BE49-F238E27FC236}">
                  <a16:creationId xmlns:a16="http://schemas.microsoft.com/office/drawing/2014/main" id="{8420E496-A962-49D2-BEB0-88C03B24D648}"/>
                </a:ext>
              </a:extLst>
            </p:cNvPr>
            <p:cNvSpPr>
              <a:spLocks noChangeArrowheads="1"/>
            </p:cNvSpPr>
            <p:nvPr/>
          </p:nvSpPr>
          <p:spPr bwMode="auto">
            <a:xfrm>
              <a:off x="1863"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p>
          </p:txBody>
        </p:sp>
      </p:grpSp>
      <p:sp>
        <p:nvSpPr>
          <p:cNvPr id="27" name="Freeform 60">
            <a:extLst>
              <a:ext uri="{FF2B5EF4-FFF2-40B4-BE49-F238E27FC236}">
                <a16:creationId xmlns:a16="http://schemas.microsoft.com/office/drawing/2014/main" id="{FCFCD241-0687-49EB-8EE3-A40CC5CE7BF2}"/>
              </a:ext>
            </a:extLst>
          </p:cNvPr>
          <p:cNvSpPr>
            <a:spLocks/>
          </p:cNvSpPr>
          <p:nvPr>
            <p:custDataLst>
              <p:tags r:id="rId2"/>
            </p:custDataLst>
          </p:nvPr>
        </p:nvSpPr>
        <p:spPr bwMode="auto">
          <a:xfrm>
            <a:off x="4295131" y="1006798"/>
            <a:ext cx="3885892" cy="3884898"/>
          </a:xfrm>
          <a:custGeom>
            <a:avLst/>
            <a:gdLst/>
            <a:ahLst/>
            <a:cxnLst>
              <a:cxn ang="0">
                <a:pos x="0" y="0"/>
              </a:cxn>
              <a:cxn ang="0">
                <a:pos x="0" y="2268"/>
              </a:cxn>
              <a:cxn ang="0">
                <a:pos x="2268" y="2268"/>
              </a:cxn>
            </a:cxnLst>
            <a:rect l="0" t="0" r="r" b="b"/>
            <a:pathLst>
              <a:path w="2268" h="2268">
                <a:moveTo>
                  <a:pt x="0" y="0"/>
                </a:moveTo>
                <a:lnTo>
                  <a:pt x="0" y="2268"/>
                </a:lnTo>
                <a:lnTo>
                  <a:pt x="2268" y="2268"/>
                </a:lnTo>
              </a:path>
            </a:pathLst>
          </a:custGeom>
          <a:noFill/>
          <a:ln w="12700" cap="flat" cmpd="sng">
            <a:solidFill>
              <a:schemeClr val="tx1"/>
            </a:solidFill>
            <a:prstDash val="solid"/>
            <a:round/>
            <a:headEnd type="triangle" w="med" len="med"/>
            <a:tailEnd type="triangle" w="med" len="med"/>
          </a:ln>
          <a:effectLst/>
        </p:spPr>
        <p:txBody>
          <a:bodyPr wrap="none" lIns="45720" rIns="45720"/>
          <a:lstStyle/>
          <a:p>
            <a:endParaRPr lang="de-DE"/>
          </a:p>
        </p:txBody>
      </p:sp>
      <p:sp>
        <p:nvSpPr>
          <p:cNvPr id="28" name="Text Box 61">
            <a:extLst>
              <a:ext uri="{FF2B5EF4-FFF2-40B4-BE49-F238E27FC236}">
                <a16:creationId xmlns:a16="http://schemas.microsoft.com/office/drawing/2014/main" id="{307C7BD8-93CE-4F86-8446-A0DE055B9A3E}"/>
              </a:ext>
            </a:extLst>
          </p:cNvPr>
          <p:cNvSpPr txBox="1">
            <a:spLocks noChangeArrowheads="1"/>
          </p:cNvSpPr>
          <p:nvPr>
            <p:custDataLst>
              <p:tags r:id="rId3"/>
            </p:custDataLst>
          </p:nvPr>
        </p:nvSpPr>
        <p:spPr bwMode="auto">
          <a:xfrm>
            <a:off x="7992419" y="2114060"/>
            <a:ext cx="731873" cy="156966"/>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dirty="0">
                <a:solidFill>
                  <a:schemeClr val="tx2"/>
                </a:solidFill>
                <a:latin typeface="+mj-lt"/>
              </a:rPr>
              <a:t>High</a:t>
            </a:r>
          </a:p>
        </p:txBody>
      </p:sp>
      <p:sp>
        <p:nvSpPr>
          <p:cNvPr id="29" name="Text Box 62">
            <a:extLst>
              <a:ext uri="{FF2B5EF4-FFF2-40B4-BE49-F238E27FC236}">
                <a16:creationId xmlns:a16="http://schemas.microsoft.com/office/drawing/2014/main" id="{1B1C797B-C246-4B81-8C11-F8C9D4845668}"/>
              </a:ext>
            </a:extLst>
          </p:cNvPr>
          <p:cNvSpPr txBox="1">
            <a:spLocks noChangeArrowheads="1"/>
          </p:cNvSpPr>
          <p:nvPr>
            <p:custDataLst>
              <p:tags r:id="rId4"/>
            </p:custDataLst>
          </p:nvPr>
        </p:nvSpPr>
        <p:spPr bwMode="auto">
          <a:xfrm>
            <a:off x="7992419" y="3923814"/>
            <a:ext cx="731873" cy="156966"/>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dirty="0">
                <a:solidFill>
                  <a:schemeClr val="tx2"/>
                </a:solidFill>
                <a:latin typeface="+mj-lt"/>
              </a:rPr>
              <a:t>Low</a:t>
            </a:r>
          </a:p>
        </p:txBody>
      </p:sp>
      <p:sp>
        <p:nvSpPr>
          <p:cNvPr id="30" name="Text Box 63">
            <a:extLst>
              <a:ext uri="{FF2B5EF4-FFF2-40B4-BE49-F238E27FC236}">
                <a16:creationId xmlns:a16="http://schemas.microsoft.com/office/drawing/2014/main" id="{3C3AEFC0-5E5D-472E-9CE4-966C1D1D9FD2}"/>
              </a:ext>
            </a:extLst>
          </p:cNvPr>
          <p:cNvSpPr txBox="1">
            <a:spLocks noChangeArrowheads="1"/>
          </p:cNvSpPr>
          <p:nvPr>
            <p:custDataLst>
              <p:tags r:id="rId5"/>
            </p:custDataLst>
          </p:nvPr>
        </p:nvSpPr>
        <p:spPr bwMode="auto">
          <a:xfrm>
            <a:off x="4926563" y="1035041"/>
            <a:ext cx="536567" cy="193318"/>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dirty="0">
                <a:solidFill>
                  <a:schemeClr val="tx2"/>
                </a:solidFill>
                <a:latin typeface="+mj-lt"/>
              </a:rPr>
              <a:t>Low</a:t>
            </a:r>
          </a:p>
        </p:txBody>
      </p:sp>
      <p:sp>
        <p:nvSpPr>
          <p:cNvPr id="31" name="Text Box 64">
            <a:extLst>
              <a:ext uri="{FF2B5EF4-FFF2-40B4-BE49-F238E27FC236}">
                <a16:creationId xmlns:a16="http://schemas.microsoft.com/office/drawing/2014/main" id="{A8E44371-E270-4714-8D95-B146635221A0}"/>
              </a:ext>
            </a:extLst>
          </p:cNvPr>
          <p:cNvSpPr txBox="1">
            <a:spLocks noChangeArrowheads="1"/>
          </p:cNvSpPr>
          <p:nvPr>
            <p:custDataLst>
              <p:tags r:id="rId6"/>
            </p:custDataLst>
          </p:nvPr>
        </p:nvSpPr>
        <p:spPr bwMode="auto">
          <a:xfrm>
            <a:off x="6675183" y="1035041"/>
            <a:ext cx="638191" cy="193318"/>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dirty="0">
                <a:solidFill>
                  <a:schemeClr val="tx2"/>
                </a:solidFill>
                <a:latin typeface="+mj-lt"/>
              </a:rPr>
              <a:t>High</a:t>
            </a:r>
          </a:p>
        </p:txBody>
      </p:sp>
      <p:sp>
        <p:nvSpPr>
          <p:cNvPr id="32" name="Text Box 65">
            <a:extLst>
              <a:ext uri="{FF2B5EF4-FFF2-40B4-BE49-F238E27FC236}">
                <a16:creationId xmlns:a16="http://schemas.microsoft.com/office/drawing/2014/main" id="{77D23463-667F-42D6-B0C0-9349265B1200}"/>
              </a:ext>
            </a:extLst>
          </p:cNvPr>
          <p:cNvSpPr txBox="1">
            <a:spLocks noChangeArrowheads="1"/>
          </p:cNvSpPr>
          <p:nvPr>
            <p:custDataLst>
              <p:tags r:id="rId7"/>
            </p:custDataLst>
          </p:nvPr>
        </p:nvSpPr>
        <p:spPr bwMode="auto">
          <a:xfrm>
            <a:off x="3894652" y="4934776"/>
            <a:ext cx="296038"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dirty="0">
                <a:solidFill>
                  <a:schemeClr val="tx2"/>
                </a:solidFill>
              </a:rPr>
              <a:t>0%</a:t>
            </a:r>
          </a:p>
        </p:txBody>
      </p:sp>
      <p:sp>
        <p:nvSpPr>
          <p:cNvPr id="33" name="Text Box 66">
            <a:extLst>
              <a:ext uri="{FF2B5EF4-FFF2-40B4-BE49-F238E27FC236}">
                <a16:creationId xmlns:a16="http://schemas.microsoft.com/office/drawing/2014/main" id="{71E462CB-E792-4092-9D3D-BBA5E2A58272}"/>
              </a:ext>
            </a:extLst>
          </p:cNvPr>
          <p:cNvSpPr txBox="1">
            <a:spLocks noChangeArrowheads="1"/>
          </p:cNvSpPr>
          <p:nvPr>
            <p:custDataLst>
              <p:tags r:id="rId8"/>
            </p:custDataLst>
          </p:nvPr>
        </p:nvSpPr>
        <p:spPr bwMode="auto">
          <a:xfrm>
            <a:off x="7992419" y="4945286"/>
            <a:ext cx="458459"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dirty="0">
                <a:solidFill>
                  <a:schemeClr val="tx2"/>
                </a:solidFill>
              </a:rPr>
              <a:t>100%</a:t>
            </a:r>
          </a:p>
        </p:txBody>
      </p:sp>
      <p:sp>
        <p:nvSpPr>
          <p:cNvPr id="34" name="Text Box 67">
            <a:extLst>
              <a:ext uri="{FF2B5EF4-FFF2-40B4-BE49-F238E27FC236}">
                <a16:creationId xmlns:a16="http://schemas.microsoft.com/office/drawing/2014/main" id="{2B182817-7CF0-4D11-8913-813D35F90153}"/>
              </a:ext>
            </a:extLst>
          </p:cNvPr>
          <p:cNvSpPr txBox="1">
            <a:spLocks noChangeArrowheads="1"/>
          </p:cNvSpPr>
          <p:nvPr>
            <p:custDataLst>
              <p:tags r:id="rId9"/>
            </p:custDataLst>
          </p:nvPr>
        </p:nvSpPr>
        <p:spPr bwMode="auto">
          <a:xfrm>
            <a:off x="3404600" y="1178454"/>
            <a:ext cx="722349" cy="215444"/>
          </a:xfrm>
          <a:prstGeom prst="rect">
            <a:avLst/>
          </a:prstGeom>
          <a:noFill/>
          <a:ln w="3175">
            <a:noFill/>
            <a:miter lim="800000"/>
            <a:headEnd/>
            <a:tailEnd/>
          </a:ln>
          <a:effectLst/>
        </p:spPr>
        <p:txBody>
          <a:bodyPr wrap="square" lIns="0" tIns="0" rIns="0" bIns="0" anchor="ctr">
            <a:spAutoFit/>
          </a:bodyPr>
          <a:lstStyle/>
          <a:p>
            <a:pPr algn="r" eaLnBrk="0" hangingPunct="0">
              <a:spcBef>
                <a:spcPct val="0"/>
              </a:spcBef>
            </a:pPr>
            <a:r>
              <a:rPr lang="en-US" sz="1400" dirty="0">
                <a:solidFill>
                  <a:schemeClr val="tx2"/>
                </a:solidFill>
              </a:rPr>
              <a:t>100%</a:t>
            </a:r>
          </a:p>
        </p:txBody>
      </p:sp>
      <p:sp>
        <p:nvSpPr>
          <p:cNvPr id="35" name="Text Box 68">
            <a:extLst>
              <a:ext uri="{FF2B5EF4-FFF2-40B4-BE49-F238E27FC236}">
                <a16:creationId xmlns:a16="http://schemas.microsoft.com/office/drawing/2014/main" id="{AFF39B11-F9F1-416B-8438-B193882209AD}"/>
              </a:ext>
            </a:extLst>
          </p:cNvPr>
          <p:cNvSpPr txBox="1">
            <a:spLocks noChangeArrowheads="1"/>
          </p:cNvSpPr>
          <p:nvPr>
            <p:custDataLst>
              <p:tags r:id="rId10"/>
            </p:custDataLst>
          </p:nvPr>
        </p:nvSpPr>
        <p:spPr bwMode="auto">
          <a:xfrm rot="16200000">
            <a:off x="2263081" y="3011019"/>
            <a:ext cx="3578218" cy="183127"/>
          </a:xfrm>
          <a:prstGeom prst="rect">
            <a:avLst/>
          </a:prstGeom>
          <a:noFill/>
          <a:ln w="3175">
            <a:noFill/>
            <a:miter lim="800000"/>
            <a:headEnd/>
            <a:tailEnd/>
          </a:ln>
          <a:effectLst/>
        </p:spPr>
        <p:txBody>
          <a:bodyPr wrap="square" lIns="0" tIns="0" rIns="0" bIns="0" anchor="b" anchorCtr="0">
            <a:spAutoFit/>
          </a:bodyPr>
          <a:lstStyle/>
          <a:p>
            <a:pPr algn="ctr" eaLnBrk="0" hangingPunct="0">
              <a:lnSpc>
                <a:spcPct val="85000"/>
              </a:lnSpc>
              <a:spcBef>
                <a:spcPct val="0"/>
              </a:spcBef>
            </a:pPr>
            <a:r>
              <a:rPr lang="en-US" sz="1400" b="1" cap="all" dirty="0">
                <a:solidFill>
                  <a:schemeClr val="accent1"/>
                </a:solidFill>
                <a:latin typeface="+mj-lt"/>
              </a:rPr>
              <a:t>Y-Axis</a:t>
            </a:r>
          </a:p>
        </p:txBody>
      </p:sp>
      <p:sp>
        <p:nvSpPr>
          <p:cNvPr id="36" name="Text Box 69">
            <a:extLst>
              <a:ext uri="{FF2B5EF4-FFF2-40B4-BE49-F238E27FC236}">
                <a16:creationId xmlns:a16="http://schemas.microsoft.com/office/drawing/2014/main" id="{737946D6-EB9E-4997-8C23-2EACA226F67D}"/>
              </a:ext>
            </a:extLst>
          </p:cNvPr>
          <p:cNvSpPr txBox="1">
            <a:spLocks noChangeArrowheads="1"/>
          </p:cNvSpPr>
          <p:nvPr>
            <p:custDataLst>
              <p:tags r:id="rId11"/>
            </p:custDataLst>
          </p:nvPr>
        </p:nvSpPr>
        <p:spPr bwMode="auto">
          <a:xfrm>
            <a:off x="4273470" y="5059971"/>
            <a:ext cx="3642184" cy="180000"/>
          </a:xfrm>
          <a:prstGeom prst="rect">
            <a:avLst/>
          </a:prstGeom>
          <a:noFill/>
          <a:ln w="3175">
            <a:noFill/>
            <a:miter lim="800000"/>
            <a:headEnd/>
            <a:tailEnd/>
          </a:ln>
          <a:effectLst/>
        </p:spPr>
        <p:txBody>
          <a:bodyPr wrap="square" lIns="0" tIns="0" rIns="0" bIns="0" anchor="t" anchorCtr="0">
            <a:noAutofit/>
          </a:bodyPr>
          <a:lstStyle/>
          <a:p>
            <a:pPr algn="ctr" eaLnBrk="0" hangingPunct="0">
              <a:lnSpc>
                <a:spcPct val="85000"/>
              </a:lnSpc>
              <a:spcBef>
                <a:spcPct val="0"/>
              </a:spcBef>
            </a:pPr>
            <a:r>
              <a:rPr lang="en-US" sz="1400" b="1" cap="all" dirty="0">
                <a:solidFill>
                  <a:schemeClr val="accent1"/>
                </a:solidFill>
                <a:latin typeface="+mj-lt"/>
              </a:rPr>
              <a:t>X-Axis</a:t>
            </a:r>
          </a:p>
        </p:txBody>
      </p:sp>
      <p:graphicFrame>
        <p:nvGraphicFramePr>
          <p:cNvPr id="37" name="Object 3">
            <a:extLst>
              <a:ext uri="{FF2B5EF4-FFF2-40B4-BE49-F238E27FC236}">
                <a16:creationId xmlns:a16="http://schemas.microsoft.com/office/drawing/2014/main" id="{5F6E998D-DE0D-48F4-BD7D-053A8E086388}"/>
              </a:ext>
            </a:extLst>
          </p:cNvPr>
          <p:cNvGraphicFramePr>
            <a:graphicFrameLocks/>
          </p:cNvGraphicFramePr>
          <p:nvPr>
            <p:custDataLst>
              <p:tags r:id="rId12"/>
            </p:custDataLst>
            <p:extLst>
              <p:ext uri="{D42A27DB-BD31-4B8C-83A1-F6EECF244321}">
                <p14:modId xmlns:p14="http://schemas.microsoft.com/office/powerpoint/2010/main" val="1148621014"/>
              </p:ext>
            </p:extLst>
          </p:nvPr>
        </p:nvGraphicFramePr>
        <p:xfrm>
          <a:off x="3740150" y="1131700"/>
          <a:ext cx="6632575" cy="4445000"/>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82491954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EC6A1-391E-4CB0-986C-5046E35B312E}"/>
              </a:ext>
            </a:extLst>
          </p:cNvPr>
          <p:cNvSpPr>
            <a:spLocks noGrp="1"/>
          </p:cNvSpPr>
          <p:nvPr>
            <p:ph type="title"/>
          </p:nvPr>
        </p:nvSpPr>
        <p:spPr/>
        <p:txBody>
          <a:bodyPr/>
          <a:lstStyle/>
          <a:p>
            <a:r>
              <a:rPr lang="en-US" dirty="0"/>
              <a:t>Hints for Drawing Charts</a:t>
            </a:r>
          </a:p>
        </p:txBody>
      </p:sp>
      <p:sp>
        <p:nvSpPr>
          <p:cNvPr id="3" name="Content Placeholder 2">
            <a:extLst>
              <a:ext uri="{FF2B5EF4-FFF2-40B4-BE49-F238E27FC236}">
                <a16:creationId xmlns:a16="http://schemas.microsoft.com/office/drawing/2014/main" id="{C4F0353B-AA11-4C4F-B89E-968163A13173}"/>
              </a:ext>
            </a:extLst>
          </p:cNvPr>
          <p:cNvSpPr>
            <a:spLocks noGrp="1"/>
          </p:cNvSpPr>
          <p:nvPr>
            <p:ph sz="quarter" idx="10"/>
          </p:nvPr>
        </p:nvSpPr>
        <p:spPr>
          <a:xfrm>
            <a:off x="381001" y="1371601"/>
            <a:ext cx="5451628" cy="4940300"/>
          </a:xfrm>
        </p:spPr>
        <p:txBody>
          <a:bodyPr/>
          <a:lstStyle/>
          <a:p>
            <a:r>
              <a:rPr lang="en-GB" sz="1400" b="1" dirty="0">
                <a:solidFill>
                  <a:schemeClr val="accent1"/>
                </a:solidFill>
              </a:rPr>
              <a:t>Editing charts</a:t>
            </a:r>
          </a:p>
          <a:p>
            <a:pPr lvl="1"/>
            <a:r>
              <a:rPr lang="en-GB" sz="1400" dirty="0"/>
              <a:t>To edit data only: Select the chart and right click – select ‘Edit data’.</a:t>
            </a:r>
          </a:p>
          <a:p>
            <a:pPr lvl="1"/>
            <a:r>
              <a:rPr lang="en-GB" sz="1400" dirty="0"/>
              <a:t>Alternatively select the chart by clicking on it. On the top bar, go the tab named ‘Layout’ (only visible when the chart is selected) and select what you want to edit.</a:t>
            </a:r>
            <a:br>
              <a:rPr lang="en-GB" sz="1400" dirty="0"/>
            </a:br>
            <a:endParaRPr lang="en-GB" sz="1400" dirty="0"/>
          </a:p>
          <a:p>
            <a:r>
              <a:rPr lang="en-GB" sz="1400" b="1" dirty="0">
                <a:solidFill>
                  <a:schemeClr val="accent1"/>
                </a:solidFill>
              </a:rPr>
              <a:t>Adding graphic elements or text to a chart</a:t>
            </a:r>
          </a:p>
          <a:p>
            <a:pPr lvl="1"/>
            <a:r>
              <a:rPr lang="en-GB" sz="1400" dirty="0"/>
              <a:t>There are two ways to add graphical elements:</a:t>
            </a:r>
          </a:p>
          <a:p>
            <a:pPr lvl="2"/>
            <a:r>
              <a:rPr lang="en-GB" sz="1400" dirty="0"/>
              <a:t>Double-click on the chart to work in the chart module, click on the draw icon in the top menu bar and start drawing.</a:t>
            </a:r>
          </a:p>
          <a:p>
            <a:pPr lvl="2"/>
            <a:r>
              <a:rPr lang="en-GB" sz="1400" dirty="0"/>
              <a:t>Draw or write the text in PowerPoint an place it over </a:t>
            </a:r>
            <a:br>
              <a:rPr lang="en-GB" sz="1400" dirty="0"/>
            </a:br>
            <a:r>
              <a:rPr lang="en-GB" sz="1400" dirty="0"/>
              <a:t>the chart module.</a:t>
            </a:r>
          </a:p>
          <a:p>
            <a:pPr lvl="1"/>
            <a:r>
              <a:rPr lang="en-GB" sz="1400" dirty="0"/>
              <a:t>Be careful if you are using the chart module to draw. Occasionally all graphic elements move a bit if you </a:t>
            </a:r>
            <a:br>
              <a:rPr lang="en-GB" sz="1400" dirty="0"/>
            </a:br>
            <a:r>
              <a:rPr lang="en-GB" sz="1400" dirty="0"/>
              <a:t>leave the module.</a:t>
            </a:r>
          </a:p>
        </p:txBody>
      </p:sp>
      <p:sp>
        <p:nvSpPr>
          <p:cNvPr id="5" name="Content Placeholder 2">
            <a:extLst>
              <a:ext uri="{FF2B5EF4-FFF2-40B4-BE49-F238E27FC236}">
                <a16:creationId xmlns:a16="http://schemas.microsoft.com/office/drawing/2014/main" id="{58FAAD00-B7D4-4519-9C5B-0246311BE8CF}"/>
              </a:ext>
            </a:extLst>
          </p:cNvPr>
          <p:cNvSpPr txBox="1">
            <a:spLocks/>
          </p:cNvSpPr>
          <p:nvPr/>
        </p:nvSpPr>
        <p:spPr>
          <a:xfrm>
            <a:off x="6359371" y="1371601"/>
            <a:ext cx="5451628" cy="4940300"/>
          </a:xfrm>
          <a:prstGeom prst="rect">
            <a:avLst/>
          </a:prstGeom>
        </p:spPr>
        <p:txBody>
          <a:bodyPr vert="horz" lIns="0" tIns="0" rIns="0" bIns="0" rtlCol="0">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A100FF"/>
                </a:solidFill>
                <a:effectLst/>
                <a:uLnTx/>
                <a:uFillTx/>
                <a:latin typeface="Graphik"/>
                <a:ea typeface="+mn-ea"/>
                <a:cs typeface="+mn-cs"/>
              </a:rPr>
              <a:t>Resizing</a:t>
            </a:r>
          </a:p>
          <a:p>
            <a:pPr marL="228600" marR="0" lvl="1" indent="-22860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Graphik"/>
                <a:ea typeface="+mn-ea"/>
                <a:cs typeface="+mn-cs"/>
              </a:rPr>
              <a:t>Before you resize the chart, make sure that you double-clicked on it and a wider </a:t>
            </a:r>
            <a:r>
              <a:rPr kumimoji="0" lang="en-GB" sz="1400" b="0" i="0" u="none" strike="noStrike" kern="1200" cap="none" spc="0" normalizeH="0" baseline="0" noProof="0" dirty="0" err="1">
                <a:ln>
                  <a:noFill/>
                </a:ln>
                <a:solidFill>
                  <a:srgbClr val="000000"/>
                </a:solidFill>
                <a:effectLst/>
                <a:uLnTx/>
                <a:uFillTx/>
                <a:latin typeface="Graphik"/>
                <a:ea typeface="+mn-ea"/>
                <a:cs typeface="+mn-cs"/>
              </a:rPr>
              <a:t>gray</a:t>
            </a:r>
            <a:r>
              <a:rPr kumimoji="0" lang="en-GB" sz="1400" b="0" i="0" u="none" strike="noStrike" kern="1200" cap="none" spc="0" normalizeH="0" baseline="0" noProof="0" dirty="0">
                <a:ln>
                  <a:noFill/>
                </a:ln>
                <a:solidFill>
                  <a:srgbClr val="000000"/>
                </a:solidFill>
                <a:effectLst/>
                <a:uLnTx/>
                <a:uFillTx/>
                <a:latin typeface="Graphik"/>
                <a:ea typeface="+mn-ea"/>
                <a:cs typeface="+mn-cs"/>
              </a:rPr>
              <a:t> line surrounds the chart, otherwise all letters and graphic elements will bend if you resize the chart.</a:t>
            </a:r>
          </a:p>
          <a:p>
            <a:pPr marL="228600" marR="0" lvl="1" indent="-22860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Graphik"/>
                <a:ea typeface="+mn-ea"/>
                <a:cs typeface="+mn-cs"/>
              </a:rPr>
              <a:t>Take care that the text is still readable after resizing.</a:t>
            </a:r>
            <a:br>
              <a:rPr kumimoji="0" lang="en-GB" sz="1400" b="0" i="0" u="none" strike="noStrike" kern="1200" cap="none" spc="0" normalizeH="0" baseline="0" noProof="0" dirty="0">
                <a:ln>
                  <a:noFill/>
                </a:ln>
                <a:solidFill>
                  <a:srgbClr val="000000"/>
                </a:solidFill>
                <a:effectLst/>
                <a:uLnTx/>
                <a:uFillTx/>
                <a:latin typeface="Graphik"/>
                <a:ea typeface="+mn-ea"/>
                <a:cs typeface="+mn-cs"/>
              </a:rPr>
            </a:br>
            <a:endParaRPr kumimoji="0" lang="en-GB" sz="1400" b="0" i="0" u="none" strike="noStrike" kern="1200" cap="none" spc="0" normalizeH="0" baseline="0" noProof="0" dirty="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A100FF"/>
                </a:solidFill>
                <a:effectLst/>
                <a:uLnTx/>
                <a:uFillTx/>
                <a:latin typeface="Graphik"/>
                <a:ea typeface="+mn-ea"/>
                <a:cs typeface="+mn-cs"/>
              </a:rPr>
              <a:t>Discontinuous axis marks</a:t>
            </a:r>
          </a:p>
          <a:p>
            <a:pPr marL="228600" marR="0" lvl="1" indent="-22860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Graphik"/>
                <a:ea typeface="+mn-ea"/>
                <a:cs typeface="+mn-cs"/>
              </a:rPr>
              <a:t>To create a discontinuous axis in a chart, copy one </a:t>
            </a:r>
            <a:br>
              <a:rPr kumimoji="0" lang="en-GB" sz="1400" b="0" i="0" u="none" strike="noStrike" kern="1200" cap="none" spc="0" normalizeH="0" baseline="0" noProof="0" dirty="0">
                <a:ln>
                  <a:noFill/>
                </a:ln>
                <a:solidFill>
                  <a:srgbClr val="000000"/>
                </a:solidFill>
                <a:effectLst/>
                <a:uLnTx/>
                <a:uFillTx/>
                <a:latin typeface="Graphik"/>
                <a:ea typeface="+mn-ea"/>
                <a:cs typeface="+mn-cs"/>
              </a:rPr>
            </a:br>
            <a:r>
              <a:rPr kumimoji="0" lang="en-GB" sz="1400" b="0" i="0" u="none" strike="noStrike" kern="1200" cap="none" spc="0" normalizeH="0" baseline="0" noProof="0" dirty="0">
                <a:ln>
                  <a:noFill/>
                </a:ln>
                <a:solidFill>
                  <a:srgbClr val="000000"/>
                </a:solidFill>
                <a:effectLst/>
                <a:uLnTx/>
                <a:uFillTx/>
                <a:latin typeface="Graphik"/>
                <a:ea typeface="+mn-ea"/>
                <a:cs typeface="+mn-cs"/>
              </a:rPr>
              <a:t>of the marks on the right and place it over the chart axis </a:t>
            </a:r>
            <a:br>
              <a:rPr kumimoji="0" lang="en-GB" sz="1400" b="0" i="0" u="none" strike="noStrike" kern="1200" cap="none" spc="0" normalizeH="0" baseline="0" noProof="0" dirty="0">
                <a:ln>
                  <a:noFill/>
                </a:ln>
                <a:solidFill>
                  <a:srgbClr val="000000"/>
                </a:solidFill>
                <a:effectLst/>
                <a:uLnTx/>
                <a:uFillTx/>
                <a:latin typeface="Graphik"/>
                <a:ea typeface="+mn-ea"/>
                <a:cs typeface="+mn-cs"/>
              </a:rPr>
            </a:br>
            <a:r>
              <a:rPr kumimoji="0" lang="en-GB" sz="1400" b="0" i="0" u="none" strike="noStrike" kern="1200" cap="none" spc="0" normalizeH="0" baseline="0" noProof="0" dirty="0">
                <a:ln>
                  <a:noFill/>
                </a:ln>
                <a:solidFill>
                  <a:srgbClr val="000000"/>
                </a:solidFill>
                <a:effectLst/>
                <a:uLnTx/>
                <a:uFillTx/>
                <a:latin typeface="Graphik"/>
                <a:ea typeface="+mn-ea"/>
                <a:cs typeface="+mn-cs"/>
              </a:rPr>
              <a:t>(in PowerPoint, not in the Chart Module).</a:t>
            </a:r>
          </a:p>
          <a:p>
            <a:pPr marL="228600" marR="0" lvl="1" indent="-22860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Graphik"/>
                <a:ea typeface="+mn-ea"/>
                <a:cs typeface="+mn-cs"/>
              </a:rPr>
              <a:t>Both marks consist of several grouped elements therefore take care that those elements are still grouped before you </a:t>
            </a:r>
            <a:br>
              <a:rPr kumimoji="0" lang="en-GB" sz="1400" b="0" i="0" u="none" strike="noStrike" kern="1200" cap="none" spc="0" normalizeH="0" baseline="0" noProof="0" dirty="0">
                <a:ln>
                  <a:noFill/>
                </a:ln>
                <a:solidFill>
                  <a:srgbClr val="000000"/>
                </a:solidFill>
                <a:effectLst/>
                <a:uLnTx/>
                <a:uFillTx/>
                <a:latin typeface="Graphik"/>
                <a:ea typeface="+mn-ea"/>
                <a:cs typeface="+mn-cs"/>
              </a:rPr>
            </a:br>
            <a:r>
              <a:rPr kumimoji="0" lang="en-GB" sz="1400" b="0" i="0" u="none" strike="noStrike" kern="1200" cap="none" spc="0" normalizeH="0" baseline="0" noProof="0" dirty="0">
                <a:ln>
                  <a:noFill/>
                </a:ln>
                <a:solidFill>
                  <a:srgbClr val="000000"/>
                </a:solidFill>
                <a:effectLst/>
                <a:uLnTx/>
                <a:uFillTx/>
                <a:latin typeface="Graphik"/>
                <a:ea typeface="+mn-ea"/>
                <a:cs typeface="+mn-cs"/>
              </a:rPr>
              <a:t>resize them.</a:t>
            </a:r>
          </a:p>
        </p:txBody>
      </p:sp>
      <p:sp>
        <p:nvSpPr>
          <p:cNvPr id="4" name="Freeform: Shape 3">
            <a:hlinkClick r:id="rId3" action="ppaction://hlinksldjump"/>
            <a:extLst>
              <a:ext uri="{FF2B5EF4-FFF2-40B4-BE49-F238E27FC236}">
                <a16:creationId xmlns:a16="http://schemas.microsoft.com/office/drawing/2014/main" id="{10464352-89AE-4E76-B5FC-9CDBC557ACCB}"/>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8" name="Rectangle 7">
            <a:hlinkClick r:id="rId3" action="ppaction://hlinksldjump"/>
            <a:extLst>
              <a:ext uri="{FF2B5EF4-FFF2-40B4-BE49-F238E27FC236}">
                <a16:creationId xmlns:a16="http://schemas.microsoft.com/office/drawing/2014/main" id="{CBD689C3-3738-4FBC-8D7F-8EFF43C68516}"/>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26175551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Dynamic Concepts</a:t>
            </a:r>
          </a:p>
        </p:txBody>
      </p:sp>
      <p:sp>
        <p:nvSpPr>
          <p:cNvPr id="2" name="Text Placeholder 1">
            <a:extLst>
              <a:ext uri="{FF2B5EF4-FFF2-40B4-BE49-F238E27FC236}">
                <a16:creationId xmlns:a16="http://schemas.microsoft.com/office/drawing/2014/main" id="{436D4DC6-5702-421B-A70C-6E8A33B9FF2A}"/>
              </a:ext>
            </a:extLst>
          </p:cNvPr>
          <p:cNvSpPr>
            <a:spLocks noGrp="1"/>
          </p:cNvSpPr>
          <p:nvPr>
            <p:ph type="body" sz="quarter" idx="14"/>
          </p:nvPr>
        </p:nvSpPr>
        <p:spPr>
          <a:xfrm>
            <a:off x="1142999" y="4610100"/>
            <a:ext cx="7640054" cy="1474214"/>
          </a:xfrm>
        </p:spPr>
        <p:txBody>
          <a:bodyPr numCol="2"/>
          <a:lstStyle/>
          <a:p>
            <a:pPr>
              <a:lnSpc>
                <a:spcPct val="100000"/>
              </a:lnSpc>
              <a:spcAft>
                <a:spcPts val="0"/>
              </a:spcAft>
            </a:pPr>
            <a:r>
              <a:rPr lang="en-US" dirty="0">
                <a:hlinkClick r:id="rId3" action="ppaction://hlinksldjump">
                  <a:extLst>
                    <a:ext uri="{A12FA001-AC4F-418D-AE19-62706E023703}">
                      <ahyp:hlinkClr xmlns:ahyp="http://schemas.microsoft.com/office/drawing/2018/hyperlinkcolor" val="tx"/>
                    </a:ext>
                  </a:extLst>
                </a:hlinkClick>
              </a:rPr>
              <a:t>Balance/Imbalance</a:t>
            </a:r>
            <a:endParaRPr lang="en-US" dirty="0"/>
          </a:p>
          <a:p>
            <a:pPr>
              <a:lnSpc>
                <a:spcPct val="100000"/>
              </a:lnSpc>
              <a:spcAft>
                <a:spcPts val="0"/>
              </a:spcAft>
            </a:pPr>
            <a:r>
              <a:rPr lang="en-US" dirty="0">
                <a:hlinkClick r:id="rId4" action="ppaction://hlinksldjump">
                  <a:extLst>
                    <a:ext uri="{A12FA001-AC4F-418D-AE19-62706E023703}">
                      <ahyp:hlinkClr xmlns:ahyp="http://schemas.microsoft.com/office/drawing/2018/hyperlinkcolor" val="tx"/>
                    </a:ext>
                  </a:extLst>
                </a:hlinkClick>
              </a:rPr>
              <a:t>Interaction/Feedback</a:t>
            </a:r>
            <a:endParaRPr lang="en-US" dirty="0"/>
          </a:p>
          <a:p>
            <a:pPr>
              <a:lnSpc>
                <a:spcPct val="100000"/>
              </a:lnSpc>
              <a:spcAft>
                <a:spcPts val="0"/>
              </a:spcAft>
            </a:pPr>
            <a:r>
              <a:rPr lang="en-US" dirty="0">
                <a:hlinkClick r:id="rId5" action="ppaction://hlinksldjump">
                  <a:extLst>
                    <a:ext uri="{A12FA001-AC4F-418D-AE19-62706E023703}">
                      <ahyp:hlinkClr xmlns:ahyp="http://schemas.microsoft.com/office/drawing/2018/hyperlinkcolor" val="tx"/>
                    </a:ext>
                  </a:extLst>
                </a:hlinkClick>
              </a:rPr>
              <a:t>Separation/Synthesis</a:t>
            </a:r>
            <a:endParaRPr lang="en-US" dirty="0"/>
          </a:p>
          <a:p>
            <a:pPr>
              <a:lnSpc>
                <a:spcPct val="100000"/>
              </a:lnSpc>
              <a:spcAft>
                <a:spcPts val="0"/>
              </a:spcAft>
            </a:pPr>
            <a:r>
              <a:rPr lang="en-US" dirty="0">
                <a:hlinkClick r:id="rId6" action="ppaction://hlinksldjump">
                  <a:extLst>
                    <a:ext uri="{A12FA001-AC4F-418D-AE19-62706E023703}">
                      <ahyp:hlinkClr xmlns:ahyp="http://schemas.microsoft.com/office/drawing/2018/hyperlinkcolor" val="tx"/>
                    </a:ext>
                  </a:extLst>
                </a:hlinkClick>
              </a:rPr>
              <a:t>Causes</a:t>
            </a:r>
            <a:endParaRPr lang="en-US" dirty="0"/>
          </a:p>
          <a:p>
            <a:pPr>
              <a:lnSpc>
                <a:spcPct val="100000"/>
              </a:lnSpc>
              <a:spcAft>
                <a:spcPts val="0"/>
              </a:spcAft>
            </a:pPr>
            <a:r>
              <a:rPr lang="en-US" dirty="0">
                <a:hlinkClick r:id="rId7" action="ppaction://hlinksldjump">
                  <a:extLst>
                    <a:ext uri="{A12FA001-AC4F-418D-AE19-62706E023703}">
                      <ahyp:hlinkClr xmlns:ahyp="http://schemas.microsoft.com/office/drawing/2018/hyperlinkcolor" val="tx"/>
                    </a:ext>
                  </a:extLst>
                </a:hlinkClick>
              </a:rPr>
              <a:t>Conflicts</a:t>
            </a:r>
            <a:endParaRPr lang="en-US" dirty="0"/>
          </a:p>
          <a:p>
            <a:pPr>
              <a:lnSpc>
                <a:spcPct val="100000"/>
              </a:lnSpc>
              <a:spcAft>
                <a:spcPts val="0"/>
              </a:spcAft>
            </a:pPr>
            <a:r>
              <a:rPr lang="en-US" dirty="0">
                <a:hlinkClick r:id="rId8" action="ppaction://hlinksldjump">
                  <a:extLst>
                    <a:ext uri="{A12FA001-AC4F-418D-AE19-62706E023703}">
                      <ahyp:hlinkClr xmlns:ahyp="http://schemas.microsoft.com/office/drawing/2018/hyperlinkcolor" val="tx"/>
                    </a:ext>
                  </a:extLst>
                </a:hlinkClick>
              </a:rPr>
              <a:t>Barriers/Resistance</a:t>
            </a:r>
            <a:endParaRPr lang="en-US" dirty="0"/>
          </a:p>
          <a:p>
            <a:pPr algn="just">
              <a:lnSpc>
                <a:spcPct val="100000"/>
              </a:lnSpc>
              <a:spcAft>
                <a:spcPts val="0"/>
              </a:spcAft>
            </a:pPr>
            <a:r>
              <a:rPr lang="en-US" dirty="0">
                <a:hlinkClick r:id="rId9" action="ppaction://hlinksldjump">
                  <a:extLst>
                    <a:ext uri="{A12FA001-AC4F-418D-AE19-62706E023703}">
                      <ahyp:hlinkClr xmlns:ahyp="http://schemas.microsoft.com/office/drawing/2018/hyperlinkcolor" val="tx"/>
                    </a:ext>
                  </a:extLst>
                </a:hlinkClick>
              </a:rPr>
              <a:t>Forces/Influence</a:t>
            </a:r>
            <a:endParaRPr lang="en-US" dirty="0"/>
          </a:p>
        </p:txBody>
      </p:sp>
      <p:sp>
        <p:nvSpPr>
          <p:cNvPr id="7" name="Freeform: Shape 6">
            <a:hlinkClick r:id="rId10" action="ppaction://hlinksldjump"/>
            <a:extLst>
              <a:ext uri="{FF2B5EF4-FFF2-40B4-BE49-F238E27FC236}">
                <a16:creationId xmlns:a16="http://schemas.microsoft.com/office/drawing/2014/main" id="{9E8F5F98-AA17-4013-826E-974C099C6525}"/>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Rectangle 2">
            <a:hlinkClick r:id="rId10" action="ppaction://hlinksldjump"/>
            <a:extLst>
              <a:ext uri="{FF2B5EF4-FFF2-40B4-BE49-F238E27FC236}">
                <a16:creationId xmlns:a16="http://schemas.microsoft.com/office/drawing/2014/main" id="{1D4BD7C0-9464-456B-90E4-AF42744FEAE0}"/>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274688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42A30-2EB9-47B8-96C1-FF988AB5A1D1}"/>
              </a:ext>
            </a:extLst>
          </p:cNvPr>
          <p:cNvSpPr>
            <a:spLocks noGrp="1"/>
          </p:cNvSpPr>
          <p:nvPr>
            <p:ph type="title"/>
          </p:nvPr>
        </p:nvSpPr>
        <p:spPr/>
        <p:txBody>
          <a:bodyPr/>
          <a:lstStyle/>
          <a:p>
            <a:r>
              <a:rPr lang="en-US" dirty="0"/>
              <a:t>Get started</a:t>
            </a:r>
          </a:p>
        </p:txBody>
      </p:sp>
    </p:spTree>
    <p:extLst>
      <p:ext uri="{BB962C8B-B14F-4D97-AF65-F5344CB8AC3E}">
        <p14:creationId xmlns:p14="http://schemas.microsoft.com/office/powerpoint/2010/main" val="290420465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Balance/</a:t>
            </a:r>
            <a:br>
              <a:rPr lang="en-US" dirty="0"/>
            </a:br>
            <a:r>
              <a:rPr lang="en-US" dirty="0"/>
              <a:t>Imbalance</a:t>
            </a:r>
          </a:p>
        </p:txBody>
      </p:sp>
      <p:sp>
        <p:nvSpPr>
          <p:cNvPr id="5" name="Freeform: Shape 4">
            <a:hlinkClick r:id="rId3" action="ppaction://hlinksldjump"/>
            <a:extLst>
              <a:ext uri="{FF2B5EF4-FFF2-40B4-BE49-F238E27FC236}">
                <a16:creationId xmlns:a16="http://schemas.microsoft.com/office/drawing/2014/main" id="{72CB057A-9A88-4C07-B685-41BCF99C99C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Text Placeholder 4">
            <a:extLst>
              <a:ext uri="{FF2B5EF4-FFF2-40B4-BE49-F238E27FC236}">
                <a16:creationId xmlns:a16="http://schemas.microsoft.com/office/drawing/2014/main" id="{880A6603-DDA5-4C82-8ED0-E621930EA5D2}"/>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t>Part of </a:t>
            </a:r>
            <a:b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b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hlinkClick r:id="rId4" action="ppaction://hlinksldjump">
                  <a:extLst>
                    <a:ext uri="{A12FA001-AC4F-418D-AE19-62706E023703}">
                      <ahyp:hlinkClr xmlns:ahyp="http://schemas.microsoft.com/office/drawing/2018/hyperlinkcolor" val="tx"/>
                    </a:ext>
                  </a:extLst>
                </a:hlinkClick>
              </a:rPr>
              <a:t>Dynamic Concept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2" name="Rectangle 1">
            <a:hlinkClick r:id="rId3" action="ppaction://hlinksldjump"/>
            <a:extLst>
              <a:ext uri="{FF2B5EF4-FFF2-40B4-BE49-F238E27FC236}">
                <a16:creationId xmlns:a16="http://schemas.microsoft.com/office/drawing/2014/main" id="{0FA92FB6-8AB0-4346-B38D-4B60E254C33D}"/>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3812710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823F5-B468-4BBD-B36C-F52560EB880B}"/>
              </a:ext>
            </a:extLst>
          </p:cNvPr>
          <p:cNvSpPr>
            <a:spLocks noGrp="1"/>
          </p:cNvSpPr>
          <p:nvPr>
            <p:ph type="title"/>
          </p:nvPr>
        </p:nvSpPr>
        <p:spPr/>
        <p:txBody>
          <a:bodyPr/>
          <a:lstStyle/>
          <a:p>
            <a:r>
              <a:rPr lang="en-US" dirty="0"/>
              <a:t>Balance 1</a:t>
            </a:r>
          </a:p>
        </p:txBody>
      </p:sp>
      <p:sp>
        <p:nvSpPr>
          <p:cNvPr id="14" name="Freeform: Shape 13">
            <a:hlinkClick r:id="rId3" action="ppaction://hlinksldjump"/>
            <a:extLst>
              <a:ext uri="{FF2B5EF4-FFF2-40B4-BE49-F238E27FC236}">
                <a16:creationId xmlns:a16="http://schemas.microsoft.com/office/drawing/2014/main" id="{24318CCB-0AC6-4C0C-A3B3-9F5475B39DEB}"/>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675415C-EC42-421D-95FF-E72C7D09EAE0}"/>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AutoShape 4">
            <a:extLst>
              <a:ext uri="{FF2B5EF4-FFF2-40B4-BE49-F238E27FC236}">
                <a16:creationId xmlns:a16="http://schemas.microsoft.com/office/drawing/2014/main" id="{DA3868B9-3BE5-4BF2-96C7-6D7610DFDE5A}"/>
              </a:ext>
            </a:extLst>
          </p:cNvPr>
          <p:cNvSpPr>
            <a:spLocks noChangeArrowheads="1"/>
          </p:cNvSpPr>
          <p:nvPr/>
        </p:nvSpPr>
        <p:spPr bwMode="auto">
          <a:xfrm rot="5400000">
            <a:off x="1800501" y="1398313"/>
            <a:ext cx="2041170" cy="1997273"/>
          </a:xfrm>
          <a:prstGeom prst="homePlate">
            <a:avLst>
              <a:gd name="adj" fmla="val 37373"/>
            </a:avLst>
          </a:prstGeom>
          <a:solidFill>
            <a:schemeClr val="accent1"/>
          </a:solidFill>
          <a:ln w="6350">
            <a:noFill/>
            <a:miter lim="800000"/>
            <a:headEnd/>
            <a:tailEnd/>
          </a:ln>
          <a:effectLst/>
        </p:spPr>
        <p:txBody>
          <a:bodyPr rot="10800000" vert="eaVert" lIns="72000" tIns="72000" rIns="72000" bIns="72000" anchor="ctr"/>
          <a:lstStyle/>
          <a:p>
            <a:pPr algn="ctr" eaLnBrk="0" hangingPunct="0"/>
            <a:r>
              <a:rPr lang="en-US" b="1">
                <a:solidFill>
                  <a:schemeClr val="bg1"/>
                </a:solidFill>
              </a:rPr>
              <a:t>Text</a:t>
            </a:r>
          </a:p>
        </p:txBody>
      </p:sp>
      <p:sp>
        <p:nvSpPr>
          <p:cNvPr id="5" name="Rectangle 4">
            <a:extLst>
              <a:ext uri="{FF2B5EF4-FFF2-40B4-BE49-F238E27FC236}">
                <a16:creationId xmlns:a16="http://schemas.microsoft.com/office/drawing/2014/main" id="{99F15505-5855-4F8D-8F30-6A68BA2ABB35}"/>
              </a:ext>
            </a:extLst>
          </p:cNvPr>
          <p:cNvSpPr>
            <a:spLocks noChangeArrowheads="1"/>
          </p:cNvSpPr>
          <p:nvPr/>
        </p:nvSpPr>
        <p:spPr bwMode="auto">
          <a:xfrm>
            <a:off x="1822450" y="3415094"/>
            <a:ext cx="8540749" cy="599914"/>
          </a:xfrm>
          <a:prstGeom prst="rect">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lnSpc>
                <a:spcPct val="85000"/>
              </a:lnSpc>
            </a:pPr>
            <a:r>
              <a:rPr lang="en-US" b="1" cap="all" dirty="0">
                <a:latin typeface="+mj-lt"/>
              </a:rPr>
              <a:t>Text</a:t>
            </a:r>
          </a:p>
        </p:txBody>
      </p:sp>
      <p:sp>
        <p:nvSpPr>
          <p:cNvPr id="6" name="AutoShape 6">
            <a:extLst>
              <a:ext uri="{FF2B5EF4-FFF2-40B4-BE49-F238E27FC236}">
                <a16:creationId xmlns:a16="http://schemas.microsoft.com/office/drawing/2014/main" id="{2D10298C-A456-4C69-8DC0-3234EC57AB84}"/>
              </a:ext>
            </a:extLst>
          </p:cNvPr>
          <p:cNvSpPr>
            <a:spLocks noChangeArrowheads="1"/>
          </p:cNvSpPr>
          <p:nvPr/>
        </p:nvSpPr>
        <p:spPr bwMode="auto">
          <a:xfrm rot="16200000" flipV="1">
            <a:off x="8343978" y="4039396"/>
            <a:ext cx="2041169" cy="1997273"/>
          </a:xfrm>
          <a:prstGeom prst="homePlate">
            <a:avLst>
              <a:gd name="adj" fmla="val 37373"/>
            </a:avLst>
          </a:prstGeom>
          <a:solidFill>
            <a:schemeClr val="accent3"/>
          </a:solidFill>
          <a:ln w="6350">
            <a:noFill/>
            <a:miter lim="800000"/>
            <a:headEnd/>
            <a:tailEnd/>
          </a:ln>
          <a:effectLst/>
        </p:spPr>
        <p:txBody>
          <a:bodyPr rot="10800000" vert="eaVert" lIns="72000" tIns="72000" rIns="72000" bIns="72000" anchor="ctr"/>
          <a:lstStyle/>
          <a:p>
            <a:pPr algn="ctr" eaLnBrk="0" hangingPunct="0"/>
            <a:r>
              <a:rPr lang="en-US" b="1" dirty="0">
                <a:solidFill>
                  <a:schemeClr val="bg1"/>
                </a:solidFill>
              </a:rPr>
              <a:t>Text</a:t>
            </a:r>
          </a:p>
        </p:txBody>
      </p:sp>
    </p:spTree>
    <p:extLst>
      <p:ext uri="{BB962C8B-B14F-4D97-AF65-F5344CB8AC3E}">
        <p14:creationId xmlns:p14="http://schemas.microsoft.com/office/powerpoint/2010/main" val="38112324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823F5-B468-4BBD-B36C-F52560EB880B}"/>
              </a:ext>
            </a:extLst>
          </p:cNvPr>
          <p:cNvSpPr>
            <a:spLocks noGrp="1"/>
          </p:cNvSpPr>
          <p:nvPr>
            <p:ph type="title"/>
          </p:nvPr>
        </p:nvSpPr>
        <p:spPr/>
        <p:txBody>
          <a:bodyPr/>
          <a:lstStyle/>
          <a:p>
            <a:r>
              <a:rPr lang="en-US" dirty="0"/>
              <a:t>Balance 2</a:t>
            </a:r>
          </a:p>
        </p:txBody>
      </p:sp>
      <p:sp>
        <p:nvSpPr>
          <p:cNvPr id="28" name="Freeform: Shape 27">
            <a:hlinkClick r:id="rId3" action="ppaction://hlinksldjump"/>
            <a:extLst>
              <a:ext uri="{FF2B5EF4-FFF2-40B4-BE49-F238E27FC236}">
                <a16:creationId xmlns:a16="http://schemas.microsoft.com/office/drawing/2014/main" id="{6EE276B5-2D3A-45F1-A049-CC8E53A91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D7A0228-87A4-4ACD-9673-03C96A0EDEA4}"/>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Rectangle 3">
            <a:extLst>
              <a:ext uri="{FF2B5EF4-FFF2-40B4-BE49-F238E27FC236}">
                <a16:creationId xmlns:a16="http://schemas.microsoft.com/office/drawing/2014/main" id="{8CBBA113-9C41-471B-9AB4-A12AA2C18446}"/>
              </a:ext>
            </a:extLst>
          </p:cNvPr>
          <p:cNvSpPr>
            <a:spLocks noChangeArrowheads="1"/>
          </p:cNvSpPr>
          <p:nvPr/>
        </p:nvSpPr>
        <p:spPr bwMode="auto">
          <a:xfrm>
            <a:off x="4292723" y="1376363"/>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5" name="Rectangle 4">
            <a:extLst>
              <a:ext uri="{FF2B5EF4-FFF2-40B4-BE49-F238E27FC236}">
                <a16:creationId xmlns:a16="http://schemas.microsoft.com/office/drawing/2014/main" id="{0E5336D2-B5B4-431C-8CB7-D0BB9B2E62F5}"/>
              </a:ext>
            </a:extLst>
          </p:cNvPr>
          <p:cNvSpPr>
            <a:spLocks noChangeArrowheads="1"/>
          </p:cNvSpPr>
          <p:nvPr/>
        </p:nvSpPr>
        <p:spPr bwMode="auto">
          <a:xfrm>
            <a:off x="4292723" y="2061526"/>
            <a:ext cx="6232297" cy="570562"/>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r>
              <a:rPr lang="en-US" b="1">
                <a:solidFill>
                  <a:schemeClr val="bg1"/>
                </a:solidFill>
              </a:rPr>
              <a:t>Text</a:t>
            </a:r>
          </a:p>
        </p:txBody>
      </p:sp>
      <p:sp>
        <p:nvSpPr>
          <p:cNvPr id="6" name="Rectangle 5">
            <a:extLst>
              <a:ext uri="{FF2B5EF4-FFF2-40B4-BE49-F238E27FC236}">
                <a16:creationId xmlns:a16="http://schemas.microsoft.com/office/drawing/2014/main" id="{7EA49FE4-CC02-457A-A950-B7B4B8ACB7BC}"/>
              </a:ext>
            </a:extLst>
          </p:cNvPr>
          <p:cNvSpPr>
            <a:spLocks noChangeArrowheads="1"/>
          </p:cNvSpPr>
          <p:nvPr/>
        </p:nvSpPr>
        <p:spPr bwMode="auto">
          <a:xfrm>
            <a:off x="1664234" y="2746688"/>
            <a:ext cx="6232297" cy="570562"/>
          </a:xfrm>
          <a:prstGeom prst="rect">
            <a:avLst/>
          </a:prstGeom>
          <a:solidFill>
            <a:schemeClr val="accent3"/>
          </a:solidFill>
          <a:ln w="6350">
            <a:noFill/>
            <a:miter lim="800000"/>
            <a:headEnd/>
            <a:tailEnd/>
          </a:ln>
          <a:effectLst/>
        </p:spPr>
        <p:txBody>
          <a:bodyPr wrap="none" lIns="72000" tIns="72000" rIns="72000" bIns="72000" anchor="ctr"/>
          <a:lstStyle/>
          <a:p>
            <a:pPr algn="ctr" eaLnBrk="0" hangingPunct="0"/>
            <a:r>
              <a:rPr lang="en-US" b="1">
                <a:solidFill>
                  <a:schemeClr val="bg1"/>
                </a:solidFill>
              </a:rPr>
              <a:t>Text</a:t>
            </a:r>
          </a:p>
        </p:txBody>
      </p:sp>
      <p:sp>
        <p:nvSpPr>
          <p:cNvPr id="7" name="Rectangle 6">
            <a:extLst>
              <a:ext uri="{FF2B5EF4-FFF2-40B4-BE49-F238E27FC236}">
                <a16:creationId xmlns:a16="http://schemas.microsoft.com/office/drawing/2014/main" id="{1A3BF232-F74B-4469-BFF0-A594D26AB405}"/>
              </a:ext>
            </a:extLst>
          </p:cNvPr>
          <p:cNvSpPr>
            <a:spLocks noChangeArrowheads="1"/>
          </p:cNvSpPr>
          <p:nvPr/>
        </p:nvSpPr>
        <p:spPr bwMode="auto">
          <a:xfrm>
            <a:off x="4292723" y="3431851"/>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8" name="Rectangle 7">
            <a:extLst>
              <a:ext uri="{FF2B5EF4-FFF2-40B4-BE49-F238E27FC236}">
                <a16:creationId xmlns:a16="http://schemas.microsoft.com/office/drawing/2014/main" id="{CB94828E-1835-471F-AEB5-C725247DEBC7}"/>
              </a:ext>
            </a:extLst>
          </p:cNvPr>
          <p:cNvSpPr>
            <a:spLocks noChangeArrowheads="1"/>
          </p:cNvSpPr>
          <p:nvPr/>
        </p:nvSpPr>
        <p:spPr bwMode="auto">
          <a:xfrm>
            <a:off x="4292723" y="4117013"/>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9" name="Rectangle 8">
            <a:extLst>
              <a:ext uri="{FF2B5EF4-FFF2-40B4-BE49-F238E27FC236}">
                <a16:creationId xmlns:a16="http://schemas.microsoft.com/office/drawing/2014/main" id="{20379733-D1B6-4CBC-BA26-F1A89DE39342}"/>
              </a:ext>
            </a:extLst>
          </p:cNvPr>
          <p:cNvSpPr>
            <a:spLocks noChangeArrowheads="1"/>
          </p:cNvSpPr>
          <p:nvPr/>
        </p:nvSpPr>
        <p:spPr bwMode="auto">
          <a:xfrm>
            <a:off x="4292723" y="4802177"/>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
        <p:nvSpPr>
          <p:cNvPr id="10" name="Rectangle 9">
            <a:extLst>
              <a:ext uri="{FF2B5EF4-FFF2-40B4-BE49-F238E27FC236}">
                <a16:creationId xmlns:a16="http://schemas.microsoft.com/office/drawing/2014/main" id="{7B9DBEF9-0BFD-496C-BA0D-DEDC0CD34F59}"/>
              </a:ext>
            </a:extLst>
          </p:cNvPr>
          <p:cNvSpPr>
            <a:spLocks noChangeArrowheads="1"/>
          </p:cNvSpPr>
          <p:nvPr/>
        </p:nvSpPr>
        <p:spPr bwMode="auto">
          <a:xfrm>
            <a:off x="4292723" y="5487338"/>
            <a:ext cx="3603809" cy="570562"/>
          </a:xfrm>
          <a:prstGeom prst="rect">
            <a:avLst/>
          </a:prstGeom>
          <a:solidFill>
            <a:schemeClr val="tx2">
              <a:lumMod val="20000"/>
              <a:lumOff val="80000"/>
            </a:schemeClr>
          </a:solidFill>
          <a:ln w="6350">
            <a:noFill/>
            <a:miter lim="800000"/>
            <a:headEnd/>
            <a:tailEnd/>
          </a:ln>
          <a:effectLst/>
        </p:spPr>
        <p:txBody>
          <a:bodyPr wrap="none" lIns="72000" tIns="72000" rIns="72000" bIns="72000" anchor="ctr"/>
          <a:lstStyle/>
          <a:p>
            <a:pPr algn="ctr" eaLnBrk="0" hangingPunct="0"/>
            <a:r>
              <a:rPr lang="en-US">
                <a:solidFill>
                  <a:schemeClr val="tx1"/>
                </a:solidFill>
              </a:rPr>
              <a:t>Text</a:t>
            </a:r>
          </a:p>
        </p:txBody>
      </p:sp>
    </p:spTree>
    <p:extLst>
      <p:ext uri="{BB962C8B-B14F-4D97-AF65-F5344CB8AC3E}">
        <p14:creationId xmlns:p14="http://schemas.microsoft.com/office/powerpoint/2010/main" val="377081778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4CEA5-1305-45B0-BE17-EC91B45957CD}"/>
              </a:ext>
            </a:extLst>
          </p:cNvPr>
          <p:cNvSpPr>
            <a:spLocks noGrp="1"/>
          </p:cNvSpPr>
          <p:nvPr>
            <p:ph type="title"/>
          </p:nvPr>
        </p:nvSpPr>
        <p:spPr/>
        <p:txBody>
          <a:bodyPr/>
          <a:lstStyle/>
          <a:p>
            <a:r>
              <a:rPr lang="en-US" dirty="0"/>
              <a:t>Balance 3</a:t>
            </a:r>
          </a:p>
        </p:txBody>
      </p:sp>
      <p:sp>
        <p:nvSpPr>
          <p:cNvPr id="32" name="Freeform: Shape 31">
            <a:hlinkClick r:id="rId3" action="ppaction://hlinksldjump"/>
            <a:extLst>
              <a:ext uri="{FF2B5EF4-FFF2-40B4-BE49-F238E27FC236}">
                <a16:creationId xmlns:a16="http://schemas.microsoft.com/office/drawing/2014/main" id="{5BAD16C1-4783-482F-AA9F-99AE81022C4C}"/>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686BA732-4897-4CFE-8EDB-8E8E8F067D3F}"/>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AutoShape 4">
            <a:extLst>
              <a:ext uri="{FF2B5EF4-FFF2-40B4-BE49-F238E27FC236}">
                <a16:creationId xmlns:a16="http://schemas.microsoft.com/office/drawing/2014/main" id="{3D530377-3FD4-4455-86F7-A1F00E53BC14}"/>
              </a:ext>
            </a:extLst>
          </p:cNvPr>
          <p:cNvSpPr>
            <a:spLocks noChangeAspect="1" noChangeArrowheads="1"/>
          </p:cNvSpPr>
          <p:nvPr/>
        </p:nvSpPr>
        <p:spPr bwMode="auto">
          <a:xfrm>
            <a:off x="2550469" y="4644049"/>
            <a:ext cx="1158638" cy="1076966"/>
          </a:xfrm>
          <a:prstGeom prst="triangle">
            <a:avLst>
              <a:gd name="adj" fmla="val 50000"/>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r>
              <a:rPr lang="en-US" sz="1400">
                <a:solidFill>
                  <a:schemeClr val="bg1"/>
                </a:solidFill>
              </a:rPr>
              <a:t> </a:t>
            </a:r>
          </a:p>
        </p:txBody>
      </p:sp>
      <p:sp>
        <p:nvSpPr>
          <p:cNvPr id="5" name="Rectangle 5">
            <a:extLst>
              <a:ext uri="{FF2B5EF4-FFF2-40B4-BE49-F238E27FC236}">
                <a16:creationId xmlns:a16="http://schemas.microsoft.com/office/drawing/2014/main" id="{F246698D-0089-4E01-A122-93E944431C21}"/>
              </a:ext>
            </a:extLst>
          </p:cNvPr>
          <p:cNvSpPr>
            <a:spLocks noChangeArrowheads="1"/>
          </p:cNvSpPr>
          <p:nvPr/>
        </p:nvSpPr>
        <p:spPr bwMode="auto">
          <a:xfrm>
            <a:off x="703009" y="3144647"/>
            <a:ext cx="2160000" cy="1350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6" name="Rectangle 6">
            <a:extLst>
              <a:ext uri="{FF2B5EF4-FFF2-40B4-BE49-F238E27FC236}">
                <a16:creationId xmlns:a16="http://schemas.microsoft.com/office/drawing/2014/main" id="{49273AE3-69BD-4D5F-9EC8-978AD9652D0D}"/>
              </a:ext>
            </a:extLst>
          </p:cNvPr>
          <p:cNvSpPr>
            <a:spLocks noChangeArrowheads="1"/>
          </p:cNvSpPr>
          <p:nvPr/>
        </p:nvSpPr>
        <p:spPr bwMode="auto">
          <a:xfrm>
            <a:off x="3396568" y="3144647"/>
            <a:ext cx="2160000" cy="1350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7" name="Rectangle 7">
            <a:extLst>
              <a:ext uri="{FF2B5EF4-FFF2-40B4-BE49-F238E27FC236}">
                <a16:creationId xmlns:a16="http://schemas.microsoft.com/office/drawing/2014/main" id="{A5A52C1B-9E0F-4295-89A1-BD7A7E924DE7}"/>
              </a:ext>
            </a:extLst>
          </p:cNvPr>
          <p:cNvSpPr>
            <a:spLocks noChangeAspect="1" noChangeArrowheads="1"/>
          </p:cNvSpPr>
          <p:nvPr/>
        </p:nvSpPr>
        <p:spPr bwMode="auto">
          <a:xfrm>
            <a:off x="339788" y="4494733"/>
            <a:ext cx="5580000" cy="149808"/>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pPr algn="ctr" eaLnBrk="0" hangingPunct="0"/>
            <a:endParaRPr lang="de-DE" sz="1400">
              <a:solidFill>
                <a:schemeClr val="tx1"/>
              </a:solidFill>
            </a:endParaRPr>
          </a:p>
        </p:txBody>
      </p:sp>
      <p:sp>
        <p:nvSpPr>
          <p:cNvPr id="8" name="Rectangle 12">
            <a:extLst>
              <a:ext uri="{FF2B5EF4-FFF2-40B4-BE49-F238E27FC236}">
                <a16:creationId xmlns:a16="http://schemas.microsoft.com/office/drawing/2014/main" id="{49882A22-EE78-4CDF-88E2-4A9562BFBDCC}"/>
              </a:ext>
            </a:extLst>
          </p:cNvPr>
          <p:cNvSpPr>
            <a:spLocks noChangeAspect="1" noChangeArrowheads="1"/>
          </p:cNvSpPr>
          <p:nvPr/>
        </p:nvSpPr>
        <p:spPr bwMode="auto">
          <a:xfrm>
            <a:off x="6277823" y="4494734"/>
            <a:ext cx="5580000" cy="149229"/>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pPr algn="ctr" eaLnBrk="0" hangingPunct="0"/>
            <a:endParaRPr lang="de-DE" sz="1400">
              <a:solidFill>
                <a:schemeClr val="tx1"/>
              </a:solidFill>
            </a:endParaRPr>
          </a:p>
        </p:txBody>
      </p:sp>
      <p:sp>
        <p:nvSpPr>
          <p:cNvPr id="9" name="Rectangle 10">
            <a:extLst>
              <a:ext uri="{FF2B5EF4-FFF2-40B4-BE49-F238E27FC236}">
                <a16:creationId xmlns:a16="http://schemas.microsoft.com/office/drawing/2014/main" id="{26114665-048F-4AF5-A010-9D2E8CA24A74}"/>
              </a:ext>
            </a:extLst>
          </p:cNvPr>
          <p:cNvSpPr>
            <a:spLocks noChangeArrowheads="1"/>
          </p:cNvSpPr>
          <p:nvPr/>
        </p:nvSpPr>
        <p:spPr bwMode="auto">
          <a:xfrm>
            <a:off x="6640312" y="3144647"/>
            <a:ext cx="2160000" cy="1350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10" name="Rectangle 11">
            <a:extLst>
              <a:ext uri="{FF2B5EF4-FFF2-40B4-BE49-F238E27FC236}">
                <a16:creationId xmlns:a16="http://schemas.microsoft.com/office/drawing/2014/main" id="{FF6E4E0A-77DA-4A7F-98B6-F41F8168AA6C}"/>
              </a:ext>
            </a:extLst>
          </p:cNvPr>
          <p:cNvSpPr>
            <a:spLocks noChangeArrowheads="1"/>
          </p:cNvSpPr>
          <p:nvPr/>
        </p:nvSpPr>
        <p:spPr bwMode="auto">
          <a:xfrm>
            <a:off x="9335334" y="3144647"/>
            <a:ext cx="2160000" cy="1350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11" name="Rectangle 13">
            <a:extLst>
              <a:ext uri="{FF2B5EF4-FFF2-40B4-BE49-F238E27FC236}">
                <a16:creationId xmlns:a16="http://schemas.microsoft.com/office/drawing/2014/main" id="{ECEF9A62-373E-4F3F-AD0F-ED5EB4E2BD32}"/>
              </a:ext>
            </a:extLst>
          </p:cNvPr>
          <p:cNvSpPr>
            <a:spLocks noChangeArrowheads="1"/>
          </p:cNvSpPr>
          <p:nvPr/>
        </p:nvSpPr>
        <p:spPr bwMode="auto">
          <a:xfrm>
            <a:off x="9335334" y="1739095"/>
            <a:ext cx="2160000" cy="1350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
        <p:nvSpPr>
          <p:cNvPr id="12" name="AutoShape 4">
            <a:extLst>
              <a:ext uri="{FF2B5EF4-FFF2-40B4-BE49-F238E27FC236}">
                <a16:creationId xmlns:a16="http://schemas.microsoft.com/office/drawing/2014/main" id="{1B357622-D0AB-4AFA-9D57-AEF55020F166}"/>
              </a:ext>
            </a:extLst>
          </p:cNvPr>
          <p:cNvSpPr>
            <a:spLocks noChangeAspect="1" noChangeArrowheads="1"/>
          </p:cNvSpPr>
          <p:nvPr/>
        </p:nvSpPr>
        <p:spPr bwMode="auto">
          <a:xfrm>
            <a:off x="8488504" y="4644049"/>
            <a:ext cx="1158638" cy="1076966"/>
          </a:xfrm>
          <a:prstGeom prst="triangle">
            <a:avLst>
              <a:gd name="adj" fmla="val 50000"/>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r>
              <a:rPr lang="en-US" sz="1400">
                <a:solidFill>
                  <a:schemeClr val="bg1"/>
                </a:solidFill>
              </a:rPr>
              <a:t> </a:t>
            </a:r>
          </a:p>
        </p:txBody>
      </p:sp>
    </p:spTree>
    <p:extLst>
      <p:ext uri="{BB962C8B-B14F-4D97-AF65-F5344CB8AC3E}">
        <p14:creationId xmlns:p14="http://schemas.microsoft.com/office/powerpoint/2010/main" val="59971202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D504F-06E8-4F3B-91FD-76888EDFFD98}"/>
              </a:ext>
            </a:extLst>
          </p:cNvPr>
          <p:cNvSpPr>
            <a:spLocks noGrp="1"/>
          </p:cNvSpPr>
          <p:nvPr>
            <p:ph type="title"/>
          </p:nvPr>
        </p:nvSpPr>
        <p:spPr/>
        <p:txBody>
          <a:bodyPr/>
          <a:lstStyle/>
          <a:p>
            <a:r>
              <a:rPr lang="en-US" dirty="0"/>
              <a:t>Balance/Imbalance </a:t>
            </a:r>
          </a:p>
        </p:txBody>
      </p:sp>
      <p:sp>
        <p:nvSpPr>
          <p:cNvPr id="20" name="Freeform: Shape 19">
            <a:hlinkClick r:id="rId3" action="ppaction://hlinksldjump"/>
            <a:extLst>
              <a:ext uri="{FF2B5EF4-FFF2-40B4-BE49-F238E27FC236}">
                <a16:creationId xmlns:a16="http://schemas.microsoft.com/office/drawing/2014/main" id="{532535CE-65A1-4630-AEED-D89653C2B13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AF477E6-1AF4-4F45-B10B-0AC970CECFDD}"/>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9" name="AutoShape 5">
            <a:extLst>
              <a:ext uri="{FF2B5EF4-FFF2-40B4-BE49-F238E27FC236}">
                <a16:creationId xmlns:a16="http://schemas.microsoft.com/office/drawing/2014/main" id="{86EC4C0C-1A8B-4EB0-B9B1-F6A8A5B58BCC}"/>
              </a:ext>
            </a:extLst>
          </p:cNvPr>
          <p:cNvSpPr>
            <a:spLocks noChangeAspect="1" noChangeArrowheads="1"/>
          </p:cNvSpPr>
          <p:nvPr/>
        </p:nvSpPr>
        <p:spPr bwMode="auto">
          <a:xfrm>
            <a:off x="5181909" y="4545165"/>
            <a:ext cx="1752298" cy="1116992"/>
          </a:xfrm>
          <a:prstGeom prst="triangle">
            <a:avLst>
              <a:gd name="adj" fmla="val 50000"/>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r>
              <a:rPr lang="en-US" sz="1400" dirty="0">
                <a:solidFill>
                  <a:schemeClr val="bg1"/>
                </a:solidFill>
              </a:rPr>
              <a:t> </a:t>
            </a:r>
          </a:p>
        </p:txBody>
      </p:sp>
      <p:grpSp>
        <p:nvGrpSpPr>
          <p:cNvPr id="21" name="Group 20">
            <a:extLst>
              <a:ext uri="{FF2B5EF4-FFF2-40B4-BE49-F238E27FC236}">
                <a16:creationId xmlns:a16="http://schemas.microsoft.com/office/drawing/2014/main" id="{7BC71846-D08E-4D3E-BAF5-09378DBBE0A5}"/>
              </a:ext>
            </a:extLst>
          </p:cNvPr>
          <p:cNvGrpSpPr/>
          <p:nvPr/>
        </p:nvGrpSpPr>
        <p:grpSpPr>
          <a:xfrm>
            <a:off x="1987938" y="3045103"/>
            <a:ext cx="8001939" cy="1515368"/>
            <a:chOff x="2007394" y="2606473"/>
            <a:chExt cx="8001939" cy="1515368"/>
          </a:xfrm>
        </p:grpSpPr>
        <p:sp>
          <p:nvSpPr>
            <p:cNvPr id="22" name="Rectangle 4">
              <a:extLst>
                <a:ext uri="{FF2B5EF4-FFF2-40B4-BE49-F238E27FC236}">
                  <a16:creationId xmlns:a16="http://schemas.microsoft.com/office/drawing/2014/main" id="{8615C1C5-7504-4E15-A890-149879A3B610}"/>
                </a:ext>
              </a:extLst>
            </p:cNvPr>
            <p:cNvSpPr>
              <a:spLocks noChangeAspect="1" noChangeArrowheads="1"/>
            </p:cNvSpPr>
            <p:nvPr/>
          </p:nvSpPr>
          <p:spPr bwMode="auto">
            <a:xfrm>
              <a:off x="2403857" y="2606473"/>
              <a:ext cx="3114435" cy="1361188"/>
            </a:xfrm>
            <a:prstGeom prst="rect">
              <a:avLst/>
            </a:prstGeom>
            <a:noFill/>
            <a:ln w="12700">
              <a:solidFill>
                <a:schemeClr val="tx2">
                  <a:lumMod val="60000"/>
                  <a:lumOff val="40000"/>
                </a:schemeClr>
              </a:solidFill>
              <a:prstDash val="dash"/>
              <a:miter lim="800000"/>
              <a:headEnd/>
              <a:tailEnd/>
            </a:ln>
            <a:effectLst/>
          </p:spPr>
          <p:txBody>
            <a:bodyPr lIns="72000" tIns="72000" rIns="72000" bIns="72000" anchor="ctr"/>
            <a:lstStyle/>
            <a:p>
              <a:pPr algn="ctr" eaLnBrk="0" hangingPunct="0"/>
              <a:endParaRPr lang="de-DE" sz="1400">
                <a:solidFill>
                  <a:schemeClr val="tx1"/>
                </a:solidFill>
              </a:endParaRPr>
            </a:p>
          </p:txBody>
        </p:sp>
        <p:sp>
          <p:nvSpPr>
            <p:cNvPr id="23" name="Rectangle 6">
              <a:extLst>
                <a:ext uri="{FF2B5EF4-FFF2-40B4-BE49-F238E27FC236}">
                  <a16:creationId xmlns:a16="http://schemas.microsoft.com/office/drawing/2014/main" id="{24235578-CA12-4FBF-AE5E-BAB64A39EA3B}"/>
                </a:ext>
              </a:extLst>
            </p:cNvPr>
            <p:cNvSpPr>
              <a:spLocks noChangeAspect="1" noChangeArrowheads="1"/>
            </p:cNvSpPr>
            <p:nvPr/>
          </p:nvSpPr>
          <p:spPr bwMode="auto">
            <a:xfrm>
              <a:off x="6502841" y="2606473"/>
              <a:ext cx="3114435" cy="1361188"/>
            </a:xfrm>
            <a:prstGeom prst="rect">
              <a:avLst/>
            </a:prstGeom>
            <a:noFill/>
            <a:ln w="12700">
              <a:solidFill>
                <a:schemeClr val="tx2">
                  <a:lumMod val="60000"/>
                  <a:lumOff val="40000"/>
                </a:schemeClr>
              </a:solidFill>
              <a:prstDash val="dash"/>
              <a:miter lim="800000"/>
              <a:headEnd/>
              <a:tailEnd/>
            </a:ln>
            <a:effectLst/>
          </p:spPr>
          <p:txBody>
            <a:bodyPr lIns="72000" tIns="72000" rIns="72000" bIns="72000" anchor="ctr"/>
            <a:lstStyle/>
            <a:p>
              <a:pPr algn="ctr" eaLnBrk="0" hangingPunct="0"/>
              <a:endParaRPr lang="de-DE" sz="1400">
                <a:solidFill>
                  <a:schemeClr val="tx1"/>
                </a:solidFill>
              </a:endParaRPr>
            </a:p>
          </p:txBody>
        </p:sp>
        <p:sp>
          <p:nvSpPr>
            <p:cNvPr id="24" name="Rectangle 7">
              <a:extLst>
                <a:ext uri="{FF2B5EF4-FFF2-40B4-BE49-F238E27FC236}">
                  <a16:creationId xmlns:a16="http://schemas.microsoft.com/office/drawing/2014/main" id="{31E8FBB5-2F72-443C-A514-FF4E8ADC9634}"/>
                </a:ext>
              </a:extLst>
            </p:cNvPr>
            <p:cNvSpPr>
              <a:spLocks noChangeAspect="1" noChangeArrowheads="1"/>
            </p:cNvSpPr>
            <p:nvPr/>
          </p:nvSpPr>
          <p:spPr bwMode="auto">
            <a:xfrm>
              <a:off x="2007394" y="3967661"/>
              <a:ext cx="8001939" cy="154180"/>
            </a:xfrm>
            <a:prstGeom prst="rect">
              <a:avLst/>
            </a:prstGeom>
            <a:noFill/>
            <a:ln w="12700">
              <a:solidFill>
                <a:schemeClr val="tx2">
                  <a:lumMod val="60000"/>
                  <a:lumOff val="40000"/>
                </a:schemeClr>
              </a:solidFill>
              <a:prstDash val="dash"/>
              <a:miter lim="800000"/>
              <a:headEnd/>
              <a:tailEnd/>
            </a:ln>
            <a:effectLst/>
          </p:spPr>
          <p:txBody>
            <a:bodyPr wrap="none" lIns="72000" tIns="72000" rIns="72000" bIns="72000" anchor="ctr"/>
            <a:lstStyle/>
            <a:p>
              <a:pPr algn="ctr" eaLnBrk="0" hangingPunct="0"/>
              <a:endParaRPr lang="de-DE" sz="1400">
                <a:solidFill>
                  <a:schemeClr val="tx1"/>
                </a:solidFill>
              </a:endParaRPr>
            </a:p>
          </p:txBody>
        </p:sp>
      </p:grpSp>
      <p:sp>
        <p:nvSpPr>
          <p:cNvPr id="25" name="Rectangle 8">
            <a:extLst>
              <a:ext uri="{FF2B5EF4-FFF2-40B4-BE49-F238E27FC236}">
                <a16:creationId xmlns:a16="http://schemas.microsoft.com/office/drawing/2014/main" id="{26C17A97-E0B9-4147-A4AF-919C21C1DB98}"/>
              </a:ext>
            </a:extLst>
          </p:cNvPr>
          <p:cNvSpPr>
            <a:spLocks noChangeAspect="1" noChangeArrowheads="1"/>
          </p:cNvSpPr>
          <p:nvPr/>
        </p:nvSpPr>
        <p:spPr bwMode="auto">
          <a:xfrm rot="1350694">
            <a:off x="2898216" y="2306639"/>
            <a:ext cx="3114435" cy="1365594"/>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US" dirty="0">
                <a:solidFill>
                  <a:schemeClr val="bg1"/>
                </a:solidFill>
              </a:rPr>
              <a:t>Text</a:t>
            </a:r>
          </a:p>
        </p:txBody>
      </p:sp>
      <p:sp>
        <p:nvSpPr>
          <p:cNvPr id="26" name="Rectangle 9">
            <a:extLst>
              <a:ext uri="{FF2B5EF4-FFF2-40B4-BE49-F238E27FC236}">
                <a16:creationId xmlns:a16="http://schemas.microsoft.com/office/drawing/2014/main" id="{ABEE23E7-044B-46BB-B5A4-CBE00A6E9EF7}"/>
              </a:ext>
            </a:extLst>
          </p:cNvPr>
          <p:cNvSpPr>
            <a:spLocks noChangeAspect="1" noChangeArrowheads="1"/>
          </p:cNvSpPr>
          <p:nvPr/>
        </p:nvSpPr>
        <p:spPr bwMode="auto">
          <a:xfrm rot="1350694">
            <a:off x="2009597" y="4379861"/>
            <a:ext cx="8001938" cy="151977"/>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pPr algn="ctr" eaLnBrk="0" hangingPunct="0"/>
            <a:endParaRPr lang="de-DE" sz="1400">
              <a:solidFill>
                <a:schemeClr val="bg1"/>
              </a:solidFill>
            </a:endParaRPr>
          </a:p>
        </p:txBody>
      </p:sp>
      <p:sp>
        <p:nvSpPr>
          <p:cNvPr id="27" name="Rectangle 10">
            <a:extLst>
              <a:ext uri="{FF2B5EF4-FFF2-40B4-BE49-F238E27FC236}">
                <a16:creationId xmlns:a16="http://schemas.microsoft.com/office/drawing/2014/main" id="{F0731067-88A4-447B-9554-2055091E7AE8}"/>
              </a:ext>
            </a:extLst>
          </p:cNvPr>
          <p:cNvSpPr>
            <a:spLocks noChangeAspect="1" noChangeArrowheads="1"/>
          </p:cNvSpPr>
          <p:nvPr/>
        </p:nvSpPr>
        <p:spPr bwMode="auto">
          <a:xfrm rot="1350694">
            <a:off x="6615347" y="3862368"/>
            <a:ext cx="3114435" cy="1365594"/>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US">
                <a:solidFill>
                  <a:schemeClr val="bg1"/>
                </a:solidFill>
              </a:rPr>
              <a:t>Text</a:t>
            </a:r>
          </a:p>
        </p:txBody>
      </p:sp>
    </p:spTree>
    <p:extLst>
      <p:ext uri="{BB962C8B-B14F-4D97-AF65-F5344CB8AC3E}">
        <p14:creationId xmlns:p14="http://schemas.microsoft.com/office/powerpoint/2010/main" val="21558589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34DEF-3F2A-4769-9DDD-6BE1A94ACCA9}"/>
              </a:ext>
            </a:extLst>
          </p:cNvPr>
          <p:cNvSpPr>
            <a:spLocks noGrp="1"/>
          </p:cNvSpPr>
          <p:nvPr>
            <p:ph type="title"/>
          </p:nvPr>
        </p:nvSpPr>
        <p:spPr/>
        <p:txBody>
          <a:bodyPr/>
          <a:lstStyle/>
          <a:p>
            <a:r>
              <a:rPr lang="en-US" dirty="0"/>
              <a:t>Imbalance</a:t>
            </a:r>
          </a:p>
        </p:txBody>
      </p:sp>
      <p:sp>
        <p:nvSpPr>
          <p:cNvPr id="16" name="Freeform: Shape 15">
            <a:hlinkClick r:id="rId3" action="ppaction://hlinksldjump"/>
            <a:extLst>
              <a:ext uri="{FF2B5EF4-FFF2-40B4-BE49-F238E27FC236}">
                <a16:creationId xmlns:a16="http://schemas.microsoft.com/office/drawing/2014/main" id="{F2F215A2-1A0A-412C-8D04-76E004954CFB}"/>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12227F1-AF14-477F-AA10-D13374B2079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AutoShape 5">
            <a:extLst>
              <a:ext uri="{FF2B5EF4-FFF2-40B4-BE49-F238E27FC236}">
                <a16:creationId xmlns:a16="http://schemas.microsoft.com/office/drawing/2014/main" id="{8F17F3E2-24FF-4858-94FD-44114A767E49}"/>
              </a:ext>
            </a:extLst>
          </p:cNvPr>
          <p:cNvSpPr>
            <a:spLocks noChangeAspect="1" noChangeArrowheads="1"/>
          </p:cNvSpPr>
          <p:nvPr/>
        </p:nvSpPr>
        <p:spPr bwMode="auto">
          <a:xfrm>
            <a:off x="5181909" y="4545165"/>
            <a:ext cx="1752298" cy="1116992"/>
          </a:xfrm>
          <a:prstGeom prst="triangle">
            <a:avLst>
              <a:gd name="adj" fmla="val 50000"/>
            </a:avLst>
          </a:prstGeom>
          <a:pattFill prst="dkUpDiag">
            <a:fgClr>
              <a:schemeClr val="tx2">
                <a:lumMod val="40000"/>
                <a:lumOff val="60000"/>
              </a:schemeClr>
            </a:fgClr>
            <a:bgClr>
              <a:schemeClr val="bg1"/>
            </a:bgClr>
          </a:pattFill>
          <a:ln w="6350">
            <a:noFill/>
            <a:miter lim="800000"/>
            <a:headEnd/>
            <a:tailEnd/>
          </a:ln>
          <a:effectLst/>
        </p:spPr>
        <p:txBody>
          <a:bodyPr lIns="72000" tIns="72000" rIns="72000" bIns="72000" anchor="ctr"/>
          <a:lstStyle/>
          <a:p>
            <a:pPr algn="ctr" eaLnBrk="0" hangingPunct="0"/>
            <a:r>
              <a:rPr lang="en-US" sz="1400" dirty="0">
                <a:solidFill>
                  <a:schemeClr val="bg1"/>
                </a:solidFill>
              </a:rPr>
              <a:t> </a:t>
            </a:r>
          </a:p>
        </p:txBody>
      </p:sp>
      <p:sp>
        <p:nvSpPr>
          <p:cNvPr id="5" name="Rectangle 8">
            <a:extLst>
              <a:ext uri="{FF2B5EF4-FFF2-40B4-BE49-F238E27FC236}">
                <a16:creationId xmlns:a16="http://schemas.microsoft.com/office/drawing/2014/main" id="{5A88E8C3-EFD8-42C7-AC7B-2388F8AF73D3}"/>
              </a:ext>
            </a:extLst>
          </p:cNvPr>
          <p:cNvSpPr>
            <a:spLocks noChangeAspect="1" noChangeArrowheads="1"/>
          </p:cNvSpPr>
          <p:nvPr/>
        </p:nvSpPr>
        <p:spPr bwMode="auto">
          <a:xfrm rot="1350694">
            <a:off x="2898216" y="2306639"/>
            <a:ext cx="3114435" cy="1365594"/>
          </a:xfrm>
          <a:prstGeom prst="rect">
            <a:avLst/>
          </a:prstGeom>
          <a:solidFill>
            <a:schemeClr val="accent3">
              <a:lumMod val="20000"/>
              <a:lumOff val="80000"/>
            </a:schemeClr>
          </a:solidFill>
          <a:ln w="6350">
            <a:noFill/>
            <a:miter lim="800000"/>
            <a:headEnd/>
            <a:tailEnd/>
          </a:ln>
          <a:effectLst/>
        </p:spPr>
        <p:txBody>
          <a:bodyPr lIns="252000" tIns="180000" rIns="72000" bIns="108000" anchor="t" anchorCtr="0"/>
          <a:lstStyle/>
          <a:p>
            <a:pPr eaLnBrk="0" hangingPunct="0">
              <a:lnSpc>
                <a:spcPct val="85000"/>
              </a:lnSpc>
              <a:spcBef>
                <a:spcPts val="100"/>
              </a:spcBef>
              <a:spcAft>
                <a:spcPts val="300"/>
              </a:spcAft>
              <a:buClr>
                <a:schemeClr val="folHlink"/>
              </a:buClr>
            </a:pPr>
            <a:r>
              <a:rPr lang="en-US" b="1" cap="all" dirty="0">
                <a:solidFill>
                  <a:schemeClr val="accent3"/>
                </a:solidFill>
                <a:latin typeface="+mj-lt"/>
              </a:rPr>
              <a:t>Text</a:t>
            </a:r>
          </a:p>
          <a:p>
            <a:pPr marL="180000" indent="-180000" eaLnBrk="0" hangingPunct="0">
              <a:spcBef>
                <a:spcPts val="100"/>
              </a:spcBef>
              <a:spcAft>
                <a:spcPts val="100"/>
              </a:spcAft>
              <a:buFontTx/>
              <a:buChar char="•"/>
            </a:pPr>
            <a:r>
              <a:rPr lang="en-US" dirty="0">
                <a:solidFill>
                  <a:schemeClr val="accent3"/>
                </a:solidFill>
              </a:rPr>
              <a:t>Text</a:t>
            </a:r>
          </a:p>
          <a:p>
            <a:pPr marL="180000" indent="-180000" eaLnBrk="0" hangingPunct="0">
              <a:spcBef>
                <a:spcPts val="100"/>
              </a:spcBef>
              <a:spcAft>
                <a:spcPts val="100"/>
              </a:spcAft>
              <a:buFontTx/>
              <a:buChar char="•"/>
            </a:pPr>
            <a:r>
              <a:rPr lang="en-US" dirty="0">
                <a:solidFill>
                  <a:schemeClr val="accent3"/>
                </a:solidFill>
              </a:rPr>
              <a:t>Text</a:t>
            </a:r>
          </a:p>
        </p:txBody>
      </p:sp>
      <p:sp>
        <p:nvSpPr>
          <p:cNvPr id="6" name="Rectangle 9">
            <a:extLst>
              <a:ext uri="{FF2B5EF4-FFF2-40B4-BE49-F238E27FC236}">
                <a16:creationId xmlns:a16="http://schemas.microsoft.com/office/drawing/2014/main" id="{890989BF-39C1-4E99-9DCC-AF7DA0A97000}"/>
              </a:ext>
            </a:extLst>
          </p:cNvPr>
          <p:cNvSpPr>
            <a:spLocks noChangeAspect="1" noChangeArrowheads="1"/>
          </p:cNvSpPr>
          <p:nvPr/>
        </p:nvSpPr>
        <p:spPr bwMode="auto">
          <a:xfrm rot="1350694">
            <a:off x="2009597" y="4379861"/>
            <a:ext cx="8001938" cy="151977"/>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pPr algn="ctr" eaLnBrk="0" hangingPunct="0"/>
            <a:endParaRPr lang="de-DE" sz="1400">
              <a:solidFill>
                <a:schemeClr val="bg1"/>
              </a:solidFill>
            </a:endParaRPr>
          </a:p>
        </p:txBody>
      </p:sp>
      <p:sp>
        <p:nvSpPr>
          <p:cNvPr id="7" name="Rectangle 10">
            <a:extLst>
              <a:ext uri="{FF2B5EF4-FFF2-40B4-BE49-F238E27FC236}">
                <a16:creationId xmlns:a16="http://schemas.microsoft.com/office/drawing/2014/main" id="{A7E88255-24D3-4C13-9DD0-6733ED8D4014}"/>
              </a:ext>
            </a:extLst>
          </p:cNvPr>
          <p:cNvSpPr>
            <a:spLocks noChangeAspect="1" noChangeArrowheads="1"/>
          </p:cNvSpPr>
          <p:nvPr/>
        </p:nvSpPr>
        <p:spPr bwMode="auto">
          <a:xfrm rot="1350694">
            <a:off x="6749312" y="3189234"/>
            <a:ext cx="3114435" cy="2065389"/>
          </a:xfrm>
          <a:prstGeom prst="rect">
            <a:avLst/>
          </a:prstGeom>
          <a:solidFill>
            <a:schemeClr val="accent3"/>
          </a:solidFill>
          <a:ln w="6350">
            <a:noFill/>
            <a:miter lim="800000"/>
            <a:headEnd/>
            <a:tailEnd/>
          </a:ln>
          <a:effectLst/>
        </p:spPr>
        <p:txBody>
          <a:bodyPr lIns="252000" tIns="180000" rIns="72000" bIns="108000" anchor="t" anchorCtr="0"/>
          <a:lstStyle/>
          <a:p>
            <a:pPr eaLnBrk="0" hangingPunct="0">
              <a:spcBef>
                <a:spcPts val="100"/>
              </a:spcBef>
              <a:spcAft>
                <a:spcPts val="100"/>
              </a:spcAft>
              <a:buClr>
                <a:schemeClr val="folHlink"/>
              </a:buClr>
            </a:pPr>
            <a:r>
              <a:rPr lang="en-US" b="1" cap="all" dirty="0">
                <a:solidFill>
                  <a:schemeClr val="bg1"/>
                </a:solidFill>
                <a:latin typeface="+mj-lt"/>
              </a:rPr>
              <a:t>Text</a:t>
            </a:r>
          </a:p>
          <a:p>
            <a:pPr marL="180000" indent="-180000" eaLnBrk="0" hangingPunct="0">
              <a:spcBef>
                <a:spcPts val="100"/>
              </a:spcBef>
              <a:spcAft>
                <a:spcPts val="100"/>
              </a:spcAft>
              <a:buFontTx/>
              <a:buChar char="•"/>
            </a:pPr>
            <a:r>
              <a:rPr lang="en-US" dirty="0">
                <a:solidFill>
                  <a:schemeClr val="bg1"/>
                </a:solidFill>
              </a:rPr>
              <a:t>Text</a:t>
            </a:r>
          </a:p>
          <a:p>
            <a:pPr marL="180000" indent="-180000" eaLnBrk="0" hangingPunct="0">
              <a:spcBef>
                <a:spcPts val="100"/>
              </a:spcBef>
              <a:spcAft>
                <a:spcPts val="100"/>
              </a:spcAft>
              <a:buFontTx/>
              <a:buChar char="•"/>
            </a:pPr>
            <a:r>
              <a:rPr lang="en-US" dirty="0">
                <a:solidFill>
                  <a:schemeClr val="bg1"/>
                </a:solidFill>
              </a:rPr>
              <a:t>Text</a:t>
            </a:r>
          </a:p>
          <a:p>
            <a:pPr marL="180000" indent="-180000"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90077389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D91C4-E3C9-44E8-994D-3C3239BF2A54}"/>
              </a:ext>
            </a:extLst>
          </p:cNvPr>
          <p:cNvSpPr>
            <a:spLocks noGrp="1"/>
          </p:cNvSpPr>
          <p:nvPr>
            <p:ph type="title"/>
          </p:nvPr>
        </p:nvSpPr>
        <p:spPr/>
        <p:txBody>
          <a:bodyPr/>
          <a:lstStyle/>
          <a:p>
            <a:r>
              <a:rPr lang="en-US" dirty="0"/>
              <a:t>Dependence</a:t>
            </a:r>
          </a:p>
        </p:txBody>
      </p:sp>
      <p:sp>
        <p:nvSpPr>
          <p:cNvPr id="18" name="Freeform: Shape 17">
            <a:hlinkClick r:id="rId3" action="ppaction://hlinksldjump"/>
            <a:extLst>
              <a:ext uri="{FF2B5EF4-FFF2-40B4-BE49-F238E27FC236}">
                <a16:creationId xmlns:a16="http://schemas.microsoft.com/office/drawing/2014/main" id="{0AAF09F4-9C87-4FA9-90AE-9B4066F6173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FF73853-F489-4AD7-AE7F-A163254DB6A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7" name="Freeform 4">
            <a:extLst>
              <a:ext uri="{FF2B5EF4-FFF2-40B4-BE49-F238E27FC236}">
                <a16:creationId xmlns:a16="http://schemas.microsoft.com/office/drawing/2014/main" id="{9F2FC97E-BF99-4447-874F-49AA27DD9DC6}"/>
              </a:ext>
            </a:extLst>
          </p:cNvPr>
          <p:cNvSpPr>
            <a:spLocks/>
          </p:cNvSpPr>
          <p:nvPr/>
        </p:nvSpPr>
        <p:spPr bwMode="auto">
          <a:xfrm>
            <a:off x="1879243" y="2284695"/>
            <a:ext cx="3644941" cy="3043259"/>
          </a:xfrm>
          <a:custGeom>
            <a:avLst/>
            <a:gdLst/>
            <a:ahLst/>
            <a:cxnLst>
              <a:cxn ang="0">
                <a:pos x="1328" y="1332"/>
              </a:cxn>
              <a:cxn ang="0">
                <a:pos x="0" y="1332"/>
              </a:cxn>
              <a:cxn ang="0">
                <a:pos x="0" y="258"/>
              </a:cxn>
              <a:cxn ang="0">
                <a:pos x="670" y="0"/>
              </a:cxn>
              <a:cxn ang="0">
                <a:pos x="1328" y="246"/>
              </a:cxn>
              <a:cxn ang="0">
                <a:pos x="1328" y="1332"/>
              </a:cxn>
            </a:cxnLst>
            <a:rect l="0" t="0" r="r" b="b"/>
            <a:pathLst>
              <a:path w="1328" h="1332">
                <a:moveTo>
                  <a:pt x="1328" y="1332"/>
                </a:moveTo>
                <a:lnTo>
                  <a:pt x="0" y="1332"/>
                </a:lnTo>
                <a:lnTo>
                  <a:pt x="0" y="258"/>
                </a:lnTo>
                <a:lnTo>
                  <a:pt x="670" y="0"/>
                </a:lnTo>
                <a:lnTo>
                  <a:pt x="1328" y="246"/>
                </a:lnTo>
                <a:lnTo>
                  <a:pt x="1328" y="1332"/>
                </a:lnTo>
                <a:close/>
              </a:path>
            </a:pathLst>
          </a:custGeom>
          <a:pattFill prst="dkUpDiag">
            <a:fgClr>
              <a:schemeClr val="accent1">
                <a:lumMod val="20000"/>
                <a:lumOff val="80000"/>
              </a:schemeClr>
            </a:fgClr>
            <a:bgClr>
              <a:schemeClr val="bg1"/>
            </a:bgClr>
          </a:pattFill>
          <a:ln w="6350" cmpd="sng">
            <a:noFill/>
            <a:prstDash val="solid"/>
            <a:round/>
            <a:headEnd/>
            <a:tailEnd/>
          </a:ln>
        </p:spPr>
        <p:txBody>
          <a:bodyPr lIns="72000" tIns="72000" rIns="72000" bIns="72000" anchor="ctr"/>
          <a:lstStyle/>
          <a:p>
            <a:endParaRPr lang="de-DE" sz="1400"/>
          </a:p>
        </p:txBody>
      </p:sp>
      <p:sp>
        <p:nvSpPr>
          <p:cNvPr id="19" name="Rectangle 5">
            <a:extLst>
              <a:ext uri="{FF2B5EF4-FFF2-40B4-BE49-F238E27FC236}">
                <a16:creationId xmlns:a16="http://schemas.microsoft.com/office/drawing/2014/main" id="{A665FE70-5F17-48FC-A315-7EC1B7C304BA}"/>
              </a:ext>
            </a:extLst>
          </p:cNvPr>
          <p:cNvSpPr>
            <a:spLocks noChangeArrowheads="1"/>
          </p:cNvSpPr>
          <p:nvPr/>
        </p:nvSpPr>
        <p:spPr bwMode="auto">
          <a:xfrm>
            <a:off x="2032568" y="2967686"/>
            <a:ext cx="3340616" cy="2241790"/>
          </a:xfrm>
          <a:prstGeom prst="rect">
            <a:avLst/>
          </a:prstGeom>
          <a:solidFill>
            <a:schemeClr val="accent1"/>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
        <p:nvSpPr>
          <p:cNvPr id="20" name="Freeform 6">
            <a:extLst>
              <a:ext uri="{FF2B5EF4-FFF2-40B4-BE49-F238E27FC236}">
                <a16:creationId xmlns:a16="http://schemas.microsoft.com/office/drawing/2014/main" id="{CA7518E9-E60B-46A3-95F8-8FD7B7135641}"/>
              </a:ext>
            </a:extLst>
          </p:cNvPr>
          <p:cNvSpPr>
            <a:spLocks/>
          </p:cNvSpPr>
          <p:nvPr/>
        </p:nvSpPr>
        <p:spPr bwMode="auto">
          <a:xfrm>
            <a:off x="6660180" y="3014148"/>
            <a:ext cx="3647265" cy="3045582"/>
          </a:xfrm>
          <a:custGeom>
            <a:avLst/>
            <a:gdLst/>
            <a:ahLst/>
            <a:cxnLst>
              <a:cxn ang="0">
                <a:pos x="1329" y="1333"/>
              </a:cxn>
              <a:cxn ang="0">
                <a:pos x="0" y="1333"/>
              </a:cxn>
              <a:cxn ang="0">
                <a:pos x="0" y="258"/>
              </a:cxn>
              <a:cxn ang="0">
                <a:pos x="671" y="0"/>
              </a:cxn>
              <a:cxn ang="0">
                <a:pos x="1329" y="252"/>
              </a:cxn>
              <a:cxn ang="0">
                <a:pos x="1329" y="1333"/>
              </a:cxn>
            </a:cxnLst>
            <a:rect l="0" t="0" r="r" b="b"/>
            <a:pathLst>
              <a:path w="1329" h="1333">
                <a:moveTo>
                  <a:pt x="1329" y="1333"/>
                </a:moveTo>
                <a:lnTo>
                  <a:pt x="0" y="1333"/>
                </a:lnTo>
                <a:lnTo>
                  <a:pt x="0" y="258"/>
                </a:lnTo>
                <a:lnTo>
                  <a:pt x="671" y="0"/>
                </a:lnTo>
                <a:lnTo>
                  <a:pt x="1329" y="252"/>
                </a:lnTo>
                <a:lnTo>
                  <a:pt x="1329" y="1333"/>
                </a:lnTo>
                <a:close/>
              </a:path>
            </a:pathLst>
          </a:custGeom>
          <a:pattFill prst="dkUpDiag">
            <a:fgClr>
              <a:schemeClr val="accent3">
                <a:lumMod val="20000"/>
                <a:lumOff val="80000"/>
              </a:schemeClr>
            </a:fgClr>
            <a:bgClr>
              <a:schemeClr val="bg1"/>
            </a:bgClr>
          </a:pattFill>
          <a:ln w="6350" cmpd="sng">
            <a:noFill/>
            <a:prstDash val="solid"/>
            <a:round/>
            <a:headEnd/>
            <a:tailEnd/>
          </a:ln>
        </p:spPr>
        <p:txBody>
          <a:bodyPr lIns="72000" tIns="72000" rIns="72000" bIns="72000" anchor="ctr"/>
          <a:lstStyle/>
          <a:p>
            <a:endParaRPr lang="de-DE" sz="1400"/>
          </a:p>
        </p:txBody>
      </p:sp>
      <p:sp>
        <p:nvSpPr>
          <p:cNvPr id="21" name="Rectangle 7">
            <a:extLst>
              <a:ext uri="{FF2B5EF4-FFF2-40B4-BE49-F238E27FC236}">
                <a16:creationId xmlns:a16="http://schemas.microsoft.com/office/drawing/2014/main" id="{DFBD5810-FBDE-430B-A87C-2EE17B3419F6}"/>
              </a:ext>
            </a:extLst>
          </p:cNvPr>
          <p:cNvSpPr>
            <a:spLocks noChangeArrowheads="1"/>
          </p:cNvSpPr>
          <p:nvPr/>
        </p:nvSpPr>
        <p:spPr bwMode="auto">
          <a:xfrm>
            <a:off x="6811181" y="3694816"/>
            <a:ext cx="3342940" cy="2246437"/>
          </a:xfrm>
          <a:prstGeom prst="rect">
            <a:avLst/>
          </a:prstGeom>
          <a:solidFill>
            <a:schemeClr val="accent3"/>
          </a:solid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b="1" cap="all" dirty="0">
                <a:solidFill>
                  <a:schemeClr val="bg1"/>
                </a:solidFill>
                <a:latin typeface="+mj-lt"/>
              </a:rPr>
              <a:t>Text</a:t>
            </a:r>
          </a:p>
          <a:p>
            <a:pPr marL="180975" indent="-180975" eaLnBrk="0" hangingPunct="0">
              <a:spcBef>
                <a:spcPts val="100"/>
              </a:spcBef>
              <a:spcAft>
                <a:spcPts val="100"/>
              </a:spcAft>
              <a:buFont typeface="Arial" panose="020B0604020202020204" pitchFamily="34" charset="0"/>
              <a:buChar char="•"/>
            </a:pPr>
            <a:r>
              <a:rPr lang="en-US" dirty="0">
                <a:solidFill>
                  <a:schemeClr val="bg1"/>
                </a:solidFill>
              </a:rPr>
              <a:t>Text</a:t>
            </a:r>
          </a:p>
          <a:p>
            <a:pPr marL="180975" indent="-180975" eaLnBrk="0" hangingPunct="0">
              <a:spcBef>
                <a:spcPts val="100"/>
              </a:spcBef>
              <a:spcAft>
                <a:spcPts val="100"/>
              </a:spcAft>
              <a:buFont typeface="Arial" panose="020B0604020202020204" pitchFamily="34" charset="0"/>
              <a:buChar char="•"/>
            </a:pPr>
            <a:r>
              <a:rPr lang="en-US" dirty="0">
                <a:solidFill>
                  <a:schemeClr val="bg1"/>
                </a:solidFill>
              </a:rPr>
              <a:t>Text</a:t>
            </a:r>
          </a:p>
          <a:p>
            <a:pPr marL="180975" indent="-180975" eaLnBrk="0" hangingPunct="0">
              <a:spcBef>
                <a:spcPts val="100"/>
              </a:spcBef>
              <a:spcAft>
                <a:spcPts val="100"/>
              </a:spcAft>
              <a:buFont typeface="Arial" panose="020B0604020202020204" pitchFamily="34" charset="0"/>
              <a:buChar char="•"/>
            </a:pPr>
            <a:r>
              <a:rPr lang="en-US" dirty="0">
                <a:solidFill>
                  <a:schemeClr val="bg1"/>
                </a:solidFill>
              </a:rPr>
              <a:t>Text</a:t>
            </a:r>
          </a:p>
        </p:txBody>
      </p:sp>
      <p:sp>
        <p:nvSpPr>
          <p:cNvPr id="22" name="Rectangle 8">
            <a:extLst>
              <a:ext uri="{FF2B5EF4-FFF2-40B4-BE49-F238E27FC236}">
                <a16:creationId xmlns:a16="http://schemas.microsoft.com/office/drawing/2014/main" id="{0CA6E3F7-26EB-4FA8-AEE8-EFB68740252F}"/>
              </a:ext>
            </a:extLst>
          </p:cNvPr>
          <p:cNvSpPr>
            <a:spLocks noChangeArrowheads="1"/>
          </p:cNvSpPr>
          <p:nvPr/>
        </p:nvSpPr>
        <p:spPr bwMode="auto">
          <a:xfrm>
            <a:off x="3779921" y="1390877"/>
            <a:ext cx="527343" cy="527344"/>
          </a:xfrm>
          <a:prstGeom prst="rect">
            <a:avLst/>
          </a:prstGeom>
          <a:pattFill prst="dkUpDiag">
            <a:fgClr>
              <a:schemeClr val="tx2">
                <a:lumMod val="20000"/>
                <a:lumOff val="80000"/>
              </a:schemeClr>
            </a:fgClr>
            <a:bgClr>
              <a:schemeClr val="bg1"/>
            </a:bgClr>
          </a:pattFill>
          <a:ln w="6350">
            <a:noFill/>
            <a:miter lim="800000"/>
            <a:headEnd/>
            <a:tailEnd/>
          </a:ln>
        </p:spPr>
        <p:txBody>
          <a:bodyPr lIns="72000" tIns="72000" rIns="72000" bIns="72000" anchor="ctr"/>
          <a:lstStyle/>
          <a:p>
            <a:endParaRPr lang="de-DE" sz="1400"/>
          </a:p>
        </p:txBody>
      </p:sp>
      <p:sp>
        <p:nvSpPr>
          <p:cNvPr id="23" name="Rectangle 10">
            <a:extLst>
              <a:ext uri="{FF2B5EF4-FFF2-40B4-BE49-F238E27FC236}">
                <a16:creationId xmlns:a16="http://schemas.microsoft.com/office/drawing/2014/main" id="{FECFAC36-2BB9-4C77-BFB0-921FD34EEC8F}"/>
              </a:ext>
            </a:extLst>
          </p:cNvPr>
          <p:cNvSpPr>
            <a:spLocks noChangeArrowheads="1"/>
          </p:cNvSpPr>
          <p:nvPr/>
        </p:nvSpPr>
        <p:spPr bwMode="auto">
          <a:xfrm>
            <a:off x="7911851" y="1390877"/>
            <a:ext cx="527343" cy="527344"/>
          </a:xfrm>
          <a:prstGeom prst="rect">
            <a:avLst/>
          </a:prstGeom>
          <a:pattFill prst="dkUpDiag">
            <a:fgClr>
              <a:schemeClr val="tx2">
                <a:lumMod val="20000"/>
                <a:lumOff val="80000"/>
              </a:schemeClr>
            </a:fgClr>
            <a:bgClr>
              <a:schemeClr val="bg1"/>
            </a:bgClr>
          </a:pattFill>
          <a:ln w="6350">
            <a:noFill/>
            <a:miter lim="800000"/>
            <a:headEnd/>
            <a:tailEnd/>
          </a:ln>
        </p:spPr>
        <p:txBody>
          <a:bodyPr lIns="72000" tIns="72000" rIns="72000" bIns="72000" anchor="ctr"/>
          <a:lstStyle/>
          <a:p>
            <a:endParaRPr lang="de-DE" sz="1400"/>
          </a:p>
        </p:txBody>
      </p:sp>
      <p:cxnSp>
        <p:nvCxnSpPr>
          <p:cNvPr id="24" name="AutoShape 11">
            <a:extLst>
              <a:ext uri="{FF2B5EF4-FFF2-40B4-BE49-F238E27FC236}">
                <a16:creationId xmlns:a16="http://schemas.microsoft.com/office/drawing/2014/main" id="{046627A9-0406-47D4-A8AB-BCA31D091876}"/>
              </a:ext>
            </a:extLst>
          </p:cNvPr>
          <p:cNvCxnSpPr>
            <a:cxnSpLocks noChangeShapeType="1"/>
            <a:stCxn id="17" idx="3"/>
            <a:endCxn id="20" idx="3"/>
          </p:cNvCxnSpPr>
          <p:nvPr/>
        </p:nvCxnSpPr>
        <p:spPr bwMode="auto">
          <a:xfrm rot="5400000" flipV="1">
            <a:off x="5746040" y="257793"/>
            <a:ext cx="729453" cy="4783259"/>
          </a:xfrm>
          <a:prstGeom prst="bentConnector3">
            <a:avLst>
              <a:gd name="adj1" fmla="val -130259"/>
            </a:avLst>
          </a:prstGeom>
          <a:noFill/>
          <a:ln w="19050">
            <a:solidFill>
              <a:schemeClr val="tx2">
                <a:lumMod val="60000"/>
                <a:lumOff val="40000"/>
              </a:schemeClr>
            </a:solidFill>
            <a:miter lim="800000"/>
            <a:headEnd/>
            <a:tailEnd/>
          </a:ln>
          <a:effectLst/>
        </p:spPr>
      </p:cxnSp>
    </p:spTree>
    <p:extLst>
      <p:ext uri="{BB962C8B-B14F-4D97-AF65-F5344CB8AC3E}">
        <p14:creationId xmlns:p14="http://schemas.microsoft.com/office/powerpoint/2010/main" val="200104980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D91C4-E3C9-44E8-994D-3C3239BF2A54}"/>
              </a:ext>
            </a:extLst>
          </p:cNvPr>
          <p:cNvSpPr>
            <a:spLocks noGrp="1"/>
          </p:cNvSpPr>
          <p:nvPr>
            <p:ph type="title"/>
          </p:nvPr>
        </p:nvSpPr>
        <p:spPr/>
        <p:txBody>
          <a:bodyPr/>
          <a:lstStyle/>
          <a:p>
            <a:r>
              <a:rPr lang="en-US" dirty="0"/>
              <a:t>Balancing Steps</a:t>
            </a:r>
          </a:p>
        </p:txBody>
      </p:sp>
      <p:sp>
        <p:nvSpPr>
          <p:cNvPr id="18" name="Freeform: Shape 17">
            <a:hlinkClick r:id="rId3" action="ppaction://hlinksldjump"/>
            <a:extLst>
              <a:ext uri="{FF2B5EF4-FFF2-40B4-BE49-F238E27FC236}">
                <a16:creationId xmlns:a16="http://schemas.microsoft.com/office/drawing/2014/main" id="{0AAF09F4-9C87-4FA9-90AE-9B4066F6173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8D99316-04EF-4F8D-B88D-628B2865360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Line 4">
            <a:extLst>
              <a:ext uri="{FF2B5EF4-FFF2-40B4-BE49-F238E27FC236}">
                <a16:creationId xmlns:a16="http://schemas.microsoft.com/office/drawing/2014/main" id="{2D696C39-41C4-48A0-BC17-2B63A4DDECBC}"/>
              </a:ext>
            </a:extLst>
          </p:cNvPr>
          <p:cNvSpPr>
            <a:spLocks noChangeShapeType="1"/>
          </p:cNvSpPr>
          <p:nvPr/>
        </p:nvSpPr>
        <p:spPr bwMode="auto">
          <a:xfrm>
            <a:off x="1976354" y="6054111"/>
            <a:ext cx="8178649" cy="2252"/>
          </a:xfrm>
          <a:prstGeom prst="line">
            <a:avLst/>
          </a:prstGeom>
          <a:noFill/>
          <a:ln w="6350">
            <a:solidFill>
              <a:schemeClr val="tx2">
                <a:lumMod val="60000"/>
                <a:lumOff val="40000"/>
              </a:schemeClr>
            </a:solidFill>
            <a:round/>
            <a:headEnd/>
            <a:tailEnd/>
          </a:ln>
        </p:spPr>
        <p:txBody>
          <a:bodyPr/>
          <a:lstStyle/>
          <a:p>
            <a:endParaRPr lang="de-DE" sz="1400"/>
          </a:p>
        </p:txBody>
      </p:sp>
      <p:sp>
        <p:nvSpPr>
          <p:cNvPr id="5" name="AutoShape 5">
            <a:extLst>
              <a:ext uri="{FF2B5EF4-FFF2-40B4-BE49-F238E27FC236}">
                <a16:creationId xmlns:a16="http://schemas.microsoft.com/office/drawing/2014/main" id="{586CE6FB-21E1-4350-99D6-DD77BA3D7CB0}"/>
              </a:ext>
            </a:extLst>
          </p:cNvPr>
          <p:cNvSpPr>
            <a:spLocks noChangeArrowheads="1"/>
          </p:cNvSpPr>
          <p:nvPr/>
        </p:nvSpPr>
        <p:spPr bwMode="auto">
          <a:xfrm rot="16573680">
            <a:off x="7395734" y="2654806"/>
            <a:ext cx="3580943" cy="2342994"/>
          </a:xfrm>
          <a:prstGeom prst="homePlate">
            <a:avLst>
              <a:gd name="adj" fmla="val 35271"/>
            </a:avLst>
          </a:prstGeom>
          <a:solidFill>
            <a:schemeClr val="accent3"/>
          </a:solidFill>
          <a:ln w="6350">
            <a:noFill/>
            <a:miter lim="800000"/>
            <a:headEnd/>
            <a:tailEnd/>
          </a:ln>
          <a:effectLst/>
        </p:spPr>
        <p:txBody>
          <a:bodyPr vert="eaVert" lIns="72000" tIns="180000" rIns="72000" bIns="72000" anchor="ctr"/>
          <a:lstStyle/>
          <a:p>
            <a:pPr algn="l" eaLnBrk="0" hangingPunct="0">
              <a:lnSpc>
                <a:spcPct val="85000"/>
              </a:lnSpc>
              <a:spcBef>
                <a:spcPts val="100"/>
              </a:spcBef>
              <a:spcAft>
                <a:spcPts val="300"/>
              </a:spcAft>
              <a:buClr>
                <a:schemeClr val="folHlink"/>
              </a:buClr>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6" name="AutoShape 6">
            <a:extLst>
              <a:ext uri="{FF2B5EF4-FFF2-40B4-BE49-F238E27FC236}">
                <a16:creationId xmlns:a16="http://schemas.microsoft.com/office/drawing/2014/main" id="{7164FC55-CB24-4DDD-AB09-BDE566B336C4}"/>
              </a:ext>
            </a:extLst>
          </p:cNvPr>
          <p:cNvSpPr>
            <a:spLocks noChangeArrowheads="1"/>
          </p:cNvSpPr>
          <p:nvPr/>
        </p:nvSpPr>
        <p:spPr bwMode="auto">
          <a:xfrm rot="5773680">
            <a:off x="1621209" y="2004165"/>
            <a:ext cx="3578691" cy="2347152"/>
          </a:xfrm>
          <a:prstGeom prst="homePlate">
            <a:avLst>
              <a:gd name="adj" fmla="val 35186"/>
            </a:avLst>
          </a:prstGeom>
          <a:solidFill>
            <a:schemeClr val="accent3">
              <a:lumMod val="20000"/>
              <a:lumOff val="80000"/>
            </a:schemeClr>
          </a:solidFill>
          <a:ln w="6350">
            <a:noFill/>
            <a:miter lim="800000"/>
            <a:headEnd/>
            <a:tailEnd/>
          </a:ln>
          <a:effectLst/>
        </p:spPr>
        <p:txBody>
          <a:bodyPr rot="10800000" vert="eaVert" wrap="none" lIns="72000" tIns="180000" rIns="72000" bIns="72000" anchor="ctr"/>
          <a:lstStyle/>
          <a:p>
            <a:pPr algn="l" eaLnBrk="0" hangingPunct="0">
              <a:lnSpc>
                <a:spcPct val="85000"/>
              </a:lnSpc>
              <a:spcBef>
                <a:spcPts val="100"/>
              </a:spcBef>
              <a:spcAft>
                <a:spcPts val="300"/>
              </a:spcAft>
              <a:buClr>
                <a:schemeClr val="folHlink"/>
              </a:buClr>
            </a:pPr>
            <a:r>
              <a:rPr lang="en-US" b="1" cap="all" dirty="0">
                <a:solidFill>
                  <a:schemeClr val="accent3"/>
                </a:solidFill>
                <a:latin typeface="+mj-lt"/>
              </a:rPr>
              <a:t>Text</a:t>
            </a:r>
          </a:p>
          <a:p>
            <a:pPr marL="179388" indent="-179388" algn="l" eaLnBrk="0" hangingPunct="0">
              <a:spcBef>
                <a:spcPts val="100"/>
              </a:spcBef>
              <a:spcAft>
                <a:spcPts val="100"/>
              </a:spcAft>
              <a:buFontTx/>
              <a:buChar char="•"/>
            </a:pPr>
            <a:r>
              <a:rPr lang="en-US" dirty="0">
                <a:solidFill>
                  <a:schemeClr val="accent3"/>
                </a:solidFill>
              </a:rPr>
              <a:t>Text</a:t>
            </a:r>
          </a:p>
          <a:p>
            <a:pPr marL="179388" indent="-179388" algn="l" eaLnBrk="0" hangingPunct="0">
              <a:spcBef>
                <a:spcPts val="100"/>
              </a:spcBef>
              <a:spcAft>
                <a:spcPts val="100"/>
              </a:spcAft>
              <a:buFontTx/>
              <a:buChar char="•"/>
            </a:pPr>
            <a:r>
              <a:rPr lang="en-US" dirty="0">
                <a:solidFill>
                  <a:schemeClr val="accent3"/>
                </a:solidFill>
              </a:rPr>
              <a:t>Text</a:t>
            </a:r>
          </a:p>
          <a:p>
            <a:pPr marL="179388" indent="-179388" algn="l" eaLnBrk="0" hangingPunct="0">
              <a:spcBef>
                <a:spcPts val="100"/>
              </a:spcBef>
              <a:spcAft>
                <a:spcPts val="100"/>
              </a:spcAft>
              <a:buFontTx/>
              <a:buChar char="•"/>
            </a:pPr>
            <a:r>
              <a:rPr lang="en-US" dirty="0">
                <a:solidFill>
                  <a:schemeClr val="accent3"/>
                </a:solidFill>
              </a:rPr>
              <a:t>Text</a:t>
            </a:r>
          </a:p>
          <a:p>
            <a:pPr marL="179388" indent="-179388" algn="l" eaLnBrk="0" hangingPunct="0">
              <a:spcBef>
                <a:spcPts val="100"/>
              </a:spcBef>
              <a:spcAft>
                <a:spcPts val="100"/>
              </a:spcAft>
              <a:buFontTx/>
              <a:buChar char="•"/>
            </a:pPr>
            <a:r>
              <a:rPr lang="en-US" dirty="0">
                <a:solidFill>
                  <a:schemeClr val="accent3"/>
                </a:solidFill>
              </a:rPr>
              <a:t>Text</a:t>
            </a:r>
          </a:p>
        </p:txBody>
      </p:sp>
      <p:sp>
        <p:nvSpPr>
          <p:cNvPr id="7" name="Rectangle 7">
            <a:extLst>
              <a:ext uri="{FF2B5EF4-FFF2-40B4-BE49-F238E27FC236}">
                <a16:creationId xmlns:a16="http://schemas.microsoft.com/office/drawing/2014/main" id="{9D4E6526-F7FE-44E2-ABF6-10E667C085AF}"/>
              </a:ext>
            </a:extLst>
          </p:cNvPr>
          <p:cNvSpPr>
            <a:spLocks noChangeAspect="1" noChangeArrowheads="1"/>
          </p:cNvSpPr>
          <p:nvPr/>
        </p:nvSpPr>
        <p:spPr bwMode="auto">
          <a:xfrm rot="373680">
            <a:off x="1990907" y="5288375"/>
            <a:ext cx="8189044" cy="277016"/>
          </a:xfrm>
          <a:prstGeom prst="rect">
            <a:avLst/>
          </a:prstGeom>
          <a:pattFill prst="dkUpDiag">
            <a:fgClr>
              <a:schemeClr val="tx2">
                <a:lumMod val="40000"/>
                <a:lumOff val="60000"/>
              </a:schemeClr>
            </a:fgClr>
            <a:bgClr>
              <a:schemeClr val="bg1"/>
            </a:bgClr>
          </a:pattFill>
          <a:ln w="6350">
            <a:noFill/>
            <a:miter lim="800000"/>
            <a:headEnd/>
            <a:tailEnd/>
          </a:ln>
          <a:effectLst/>
        </p:spPr>
        <p:txBody>
          <a:bodyPr wrap="none" lIns="45720" rIns="45720" anchor="ctr"/>
          <a:lstStyle/>
          <a:p>
            <a:pPr eaLnBrk="0" hangingPunct="0">
              <a:spcBef>
                <a:spcPct val="0"/>
              </a:spcBef>
            </a:pPr>
            <a:r>
              <a:rPr lang="en-US" sz="1400">
                <a:solidFill>
                  <a:schemeClr val="bg1"/>
                </a:solidFill>
              </a:rPr>
              <a:t> </a:t>
            </a:r>
          </a:p>
        </p:txBody>
      </p:sp>
      <p:sp>
        <p:nvSpPr>
          <p:cNvPr id="8" name="Oval 8">
            <a:extLst>
              <a:ext uri="{FF2B5EF4-FFF2-40B4-BE49-F238E27FC236}">
                <a16:creationId xmlns:a16="http://schemas.microsoft.com/office/drawing/2014/main" id="{1AB374F1-0F1F-44FA-A6B2-FB7F4239E6BE}"/>
              </a:ext>
            </a:extLst>
          </p:cNvPr>
          <p:cNvSpPr>
            <a:spLocks noChangeArrowheads="1"/>
          </p:cNvSpPr>
          <p:nvPr/>
        </p:nvSpPr>
        <p:spPr bwMode="auto">
          <a:xfrm>
            <a:off x="5866098" y="5567643"/>
            <a:ext cx="449056" cy="486468"/>
          </a:xfrm>
          <a:prstGeom prst="ellipse">
            <a:avLst/>
          </a:prstGeom>
          <a:pattFill prst="dkUpDiag">
            <a:fgClr>
              <a:schemeClr val="tx2">
                <a:lumMod val="40000"/>
                <a:lumOff val="60000"/>
              </a:schemeClr>
            </a:fgClr>
            <a:bgClr>
              <a:schemeClr val="bg1"/>
            </a:bgClr>
          </a:pattFill>
          <a:ln w="6350">
            <a:noFill/>
            <a:round/>
            <a:headEnd type="none" w="sm" len="sm"/>
            <a:tailEnd type="none" w="sm" len="sm"/>
          </a:ln>
          <a:effectLst/>
        </p:spPr>
        <p:txBody>
          <a:bodyPr wrap="none" anchor="ctr"/>
          <a:lstStyle/>
          <a:p>
            <a:endParaRPr lang="de-DE" sz="1400"/>
          </a:p>
        </p:txBody>
      </p:sp>
    </p:spTree>
    <p:extLst>
      <p:ext uri="{BB962C8B-B14F-4D97-AF65-F5344CB8AC3E}">
        <p14:creationId xmlns:p14="http://schemas.microsoft.com/office/powerpoint/2010/main" val="169075804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06760-70A1-4980-AA93-96EC7518B293}"/>
              </a:ext>
            </a:extLst>
          </p:cNvPr>
          <p:cNvSpPr>
            <a:spLocks noGrp="1"/>
          </p:cNvSpPr>
          <p:nvPr>
            <p:ph type="title"/>
          </p:nvPr>
        </p:nvSpPr>
        <p:spPr/>
        <p:txBody>
          <a:bodyPr/>
          <a:lstStyle/>
          <a:p>
            <a:r>
              <a:rPr lang="en-US" dirty="0"/>
              <a:t>Rethinking</a:t>
            </a:r>
          </a:p>
        </p:txBody>
      </p:sp>
      <p:sp>
        <p:nvSpPr>
          <p:cNvPr id="9" name="Freeform: Shape 8">
            <a:hlinkClick r:id="rId3" action="ppaction://hlinksldjump"/>
            <a:extLst>
              <a:ext uri="{FF2B5EF4-FFF2-40B4-BE49-F238E27FC236}">
                <a16:creationId xmlns:a16="http://schemas.microsoft.com/office/drawing/2014/main" id="{882A5871-EB15-4900-9F7F-C856FC9A363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8" name="Rectangle 7">
            <a:hlinkClick r:id="rId3" action="ppaction://hlinksldjump"/>
            <a:extLst>
              <a:ext uri="{FF2B5EF4-FFF2-40B4-BE49-F238E27FC236}">
                <a16:creationId xmlns:a16="http://schemas.microsoft.com/office/drawing/2014/main" id="{EE24A521-B540-445D-AA5B-5A3079BE5ED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1" name="AutoShape 6">
            <a:extLst>
              <a:ext uri="{FF2B5EF4-FFF2-40B4-BE49-F238E27FC236}">
                <a16:creationId xmlns:a16="http://schemas.microsoft.com/office/drawing/2014/main" id="{5B0E0CAD-48DA-4CA0-AE2B-B828AB543065}"/>
              </a:ext>
            </a:extLst>
          </p:cNvPr>
          <p:cNvSpPr>
            <a:spLocks noChangeArrowheads="1"/>
          </p:cNvSpPr>
          <p:nvPr/>
        </p:nvSpPr>
        <p:spPr bwMode="auto">
          <a:xfrm>
            <a:off x="1468438" y="1400427"/>
            <a:ext cx="4464000" cy="4680000"/>
          </a:xfrm>
          <a:prstGeom prst="triangle">
            <a:avLst>
              <a:gd name="adj" fmla="val 50000"/>
            </a:avLst>
          </a:prstGeom>
          <a:solidFill>
            <a:schemeClr val="accent1">
              <a:lumMod val="20000"/>
              <a:lumOff val="80000"/>
            </a:schemeClr>
          </a:solidFill>
          <a:ln w="6350">
            <a:noFill/>
            <a:miter lim="800000"/>
            <a:headEnd/>
            <a:tailEnd/>
          </a:ln>
          <a:effectLst/>
        </p:spPr>
        <p:txBody>
          <a:bodyPr wrap="none" lIns="72000" tIns="72000" rIns="72000" bIns="720000" anchor="b"/>
          <a:lstStyle/>
          <a:p>
            <a:pPr algn="ctr" eaLnBrk="0" hangingPunct="0">
              <a:spcBef>
                <a:spcPct val="0"/>
              </a:spcBef>
            </a:pPr>
            <a:r>
              <a:rPr lang="en-US" b="1" dirty="0">
                <a:solidFill>
                  <a:schemeClr val="accent1"/>
                </a:solidFill>
              </a:rPr>
              <a:t>Text</a:t>
            </a: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a:p>
            <a:pPr algn="ctr" eaLnBrk="0" hangingPunct="0">
              <a:spcBef>
                <a:spcPct val="0"/>
              </a:spcBef>
            </a:pPr>
            <a:endParaRPr lang="en-US" b="1" dirty="0">
              <a:solidFill>
                <a:schemeClr val="accent1"/>
              </a:solidFill>
            </a:endParaRPr>
          </a:p>
        </p:txBody>
      </p:sp>
      <p:sp>
        <p:nvSpPr>
          <p:cNvPr id="13" name="AutoShape 4">
            <a:extLst>
              <a:ext uri="{FF2B5EF4-FFF2-40B4-BE49-F238E27FC236}">
                <a16:creationId xmlns:a16="http://schemas.microsoft.com/office/drawing/2014/main" id="{959A624E-4022-4FC1-A7E5-5E80C4DBBA4E}"/>
              </a:ext>
            </a:extLst>
          </p:cNvPr>
          <p:cNvSpPr>
            <a:spLocks noChangeArrowheads="1"/>
          </p:cNvSpPr>
          <p:nvPr/>
        </p:nvSpPr>
        <p:spPr bwMode="auto">
          <a:xfrm flipV="1">
            <a:off x="6272213" y="1407307"/>
            <a:ext cx="4464000" cy="4680000"/>
          </a:xfrm>
          <a:prstGeom prst="triangle">
            <a:avLst>
              <a:gd name="adj" fmla="val 50000"/>
            </a:avLst>
          </a:prstGeom>
          <a:solidFill>
            <a:schemeClr val="accent3"/>
          </a:solidFill>
          <a:ln w="6350">
            <a:noFill/>
            <a:miter lim="800000"/>
            <a:headEnd/>
            <a:tailEnd/>
          </a:ln>
          <a:effectLst/>
        </p:spPr>
        <p:txBody>
          <a:bodyPr rot="10800000" wrap="none" lIns="72000" tIns="792000" rIns="72000" bIns="72000"/>
          <a:lstStyle/>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endParaRPr lang="en-US" b="1" dirty="0">
              <a:solidFill>
                <a:schemeClr val="bg1"/>
              </a:solidFill>
            </a:endParaRPr>
          </a:p>
          <a:p>
            <a:pPr algn="ctr" eaLnBrk="0" hangingPunct="0">
              <a:spcBef>
                <a:spcPct val="0"/>
              </a:spcBef>
            </a:pPr>
            <a:r>
              <a:rPr lang="en-US" b="1" dirty="0">
                <a:solidFill>
                  <a:schemeClr val="bg1"/>
                </a:solidFill>
              </a:rPr>
              <a:t>Text</a:t>
            </a:r>
          </a:p>
        </p:txBody>
      </p:sp>
      <p:sp>
        <p:nvSpPr>
          <p:cNvPr id="15" name="AutoShape 5">
            <a:extLst>
              <a:ext uri="{FF2B5EF4-FFF2-40B4-BE49-F238E27FC236}">
                <a16:creationId xmlns:a16="http://schemas.microsoft.com/office/drawing/2014/main" id="{597D49FC-F98F-40D7-A2EF-6059DAA832F4}"/>
              </a:ext>
            </a:extLst>
          </p:cNvPr>
          <p:cNvSpPr>
            <a:spLocks noChangeArrowheads="1"/>
          </p:cNvSpPr>
          <p:nvPr/>
        </p:nvSpPr>
        <p:spPr bwMode="auto">
          <a:xfrm>
            <a:off x="6272213" y="1407307"/>
            <a:ext cx="4464000" cy="2140125"/>
          </a:xfrm>
          <a:custGeom>
            <a:avLst/>
            <a:gdLst>
              <a:gd name="G0" fmla="+- 4940 0 0"/>
              <a:gd name="G1" fmla="+- 21600 0 4940"/>
              <a:gd name="G2" fmla="*/ 4940 1 2"/>
              <a:gd name="G3" fmla="+- 21600 0 G2"/>
              <a:gd name="G4" fmla="+/ 4940 21600 2"/>
              <a:gd name="G5" fmla="+/ G1 0 2"/>
              <a:gd name="G6" fmla="*/ 21600 21600 4940"/>
              <a:gd name="G7" fmla="*/ G6 1 2"/>
              <a:gd name="G8" fmla="+- 21600 0 G7"/>
              <a:gd name="G9" fmla="*/ 21600 1 2"/>
              <a:gd name="G10" fmla="+- 4940 0 G9"/>
              <a:gd name="G11" fmla="?: G10 G8 0"/>
              <a:gd name="G12" fmla="?: G10 G7 21600"/>
              <a:gd name="T0" fmla="*/ 19130 w 21600"/>
              <a:gd name="T1" fmla="*/ 10800 h 21600"/>
              <a:gd name="T2" fmla="*/ 10800 w 21600"/>
              <a:gd name="T3" fmla="*/ 21600 h 21600"/>
              <a:gd name="T4" fmla="*/ 2470 w 21600"/>
              <a:gd name="T5" fmla="*/ 10800 h 21600"/>
              <a:gd name="T6" fmla="*/ 10800 w 21600"/>
              <a:gd name="T7" fmla="*/ 0 h 21600"/>
              <a:gd name="T8" fmla="*/ 4270 w 21600"/>
              <a:gd name="T9" fmla="*/ 4270 h 21600"/>
              <a:gd name="T10" fmla="*/ 17330 w 21600"/>
              <a:gd name="T11" fmla="*/ 17330 h 21600"/>
            </a:gdLst>
            <a:ahLst/>
            <a:cxnLst>
              <a:cxn ang="0">
                <a:pos x="T0" y="T1"/>
              </a:cxn>
              <a:cxn ang="0">
                <a:pos x="T2" y="T3"/>
              </a:cxn>
              <a:cxn ang="0">
                <a:pos x="T4" y="T5"/>
              </a:cxn>
              <a:cxn ang="0">
                <a:pos x="T6" y="T7"/>
              </a:cxn>
            </a:cxnLst>
            <a:rect l="T8" t="T9" r="T10" b="T11"/>
            <a:pathLst>
              <a:path w="21600" h="21600">
                <a:moveTo>
                  <a:pt x="0" y="0"/>
                </a:moveTo>
                <a:lnTo>
                  <a:pt x="4940" y="21600"/>
                </a:lnTo>
                <a:lnTo>
                  <a:pt x="16660" y="21600"/>
                </a:lnTo>
                <a:lnTo>
                  <a:pt x="21600" y="0"/>
                </a:lnTo>
                <a:close/>
              </a:path>
            </a:pathLst>
          </a:custGeom>
          <a:solidFill>
            <a:schemeClr val="accent3">
              <a:lumMod val="20000"/>
              <a:lumOff val="80000"/>
            </a:schemeClr>
          </a:solidFill>
          <a:ln w="6350">
            <a:noFill/>
            <a:miter lim="800000"/>
            <a:headEnd/>
            <a:tailEnd/>
          </a:ln>
          <a:effectLst/>
        </p:spPr>
        <p:txBody>
          <a:bodyPr wrap="none" lIns="72000" tIns="72000" rIns="72000" bIns="72000" anchor="ctr"/>
          <a:lstStyle/>
          <a:p>
            <a:pPr algn="ctr" eaLnBrk="0" hangingPunct="0">
              <a:spcBef>
                <a:spcPct val="0"/>
              </a:spcBef>
            </a:pPr>
            <a:r>
              <a:rPr lang="en-US" b="1">
                <a:solidFill>
                  <a:schemeClr val="accent3"/>
                </a:solidFill>
              </a:rPr>
              <a:t>Text</a:t>
            </a:r>
          </a:p>
        </p:txBody>
      </p:sp>
      <p:sp>
        <p:nvSpPr>
          <p:cNvPr id="17" name="AutoShape 7">
            <a:extLst>
              <a:ext uri="{FF2B5EF4-FFF2-40B4-BE49-F238E27FC236}">
                <a16:creationId xmlns:a16="http://schemas.microsoft.com/office/drawing/2014/main" id="{C430D9E7-E461-4A27-9E97-0E49369D70A5}"/>
              </a:ext>
            </a:extLst>
          </p:cNvPr>
          <p:cNvSpPr>
            <a:spLocks noChangeArrowheads="1"/>
          </p:cNvSpPr>
          <p:nvPr/>
        </p:nvSpPr>
        <p:spPr bwMode="auto">
          <a:xfrm flipV="1">
            <a:off x="1468438" y="3940302"/>
            <a:ext cx="4464000" cy="2140125"/>
          </a:xfrm>
          <a:custGeom>
            <a:avLst/>
            <a:gdLst>
              <a:gd name="G0" fmla="+- 4940 0 0"/>
              <a:gd name="G1" fmla="+- 21600 0 4940"/>
              <a:gd name="G2" fmla="*/ 4940 1 2"/>
              <a:gd name="G3" fmla="+- 21600 0 G2"/>
              <a:gd name="G4" fmla="+/ 4940 21600 2"/>
              <a:gd name="G5" fmla="+/ G1 0 2"/>
              <a:gd name="G6" fmla="*/ 21600 21600 4940"/>
              <a:gd name="G7" fmla="*/ G6 1 2"/>
              <a:gd name="G8" fmla="+- 21600 0 G7"/>
              <a:gd name="G9" fmla="*/ 21600 1 2"/>
              <a:gd name="G10" fmla="+- 4940 0 G9"/>
              <a:gd name="G11" fmla="?: G10 G8 0"/>
              <a:gd name="G12" fmla="?: G10 G7 21600"/>
              <a:gd name="T0" fmla="*/ 19130 w 21600"/>
              <a:gd name="T1" fmla="*/ 10800 h 21600"/>
              <a:gd name="T2" fmla="*/ 10800 w 21600"/>
              <a:gd name="T3" fmla="*/ 21600 h 21600"/>
              <a:gd name="T4" fmla="*/ 2470 w 21600"/>
              <a:gd name="T5" fmla="*/ 10800 h 21600"/>
              <a:gd name="T6" fmla="*/ 10800 w 21600"/>
              <a:gd name="T7" fmla="*/ 0 h 21600"/>
              <a:gd name="T8" fmla="*/ 4270 w 21600"/>
              <a:gd name="T9" fmla="*/ 4270 h 21600"/>
              <a:gd name="T10" fmla="*/ 17330 w 21600"/>
              <a:gd name="T11" fmla="*/ 17330 h 21600"/>
            </a:gdLst>
            <a:ahLst/>
            <a:cxnLst>
              <a:cxn ang="0">
                <a:pos x="T0" y="T1"/>
              </a:cxn>
              <a:cxn ang="0">
                <a:pos x="T2" y="T3"/>
              </a:cxn>
              <a:cxn ang="0">
                <a:pos x="T4" y="T5"/>
              </a:cxn>
              <a:cxn ang="0">
                <a:pos x="T6" y="T7"/>
              </a:cxn>
            </a:cxnLst>
            <a:rect l="T8" t="T9" r="T10" b="T11"/>
            <a:pathLst>
              <a:path w="21600" h="21600">
                <a:moveTo>
                  <a:pt x="0" y="0"/>
                </a:moveTo>
                <a:lnTo>
                  <a:pt x="4940" y="21600"/>
                </a:lnTo>
                <a:lnTo>
                  <a:pt x="16660" y="21600"/>
                </a:lnTo>
                <a:lnTo>
                  <a:pt x="21600" y="0"/>
                </a:lnTo>
                <a:close/>
              </a:path>
            </a:pathLst>
          </a:custGeom>
          <a:solidFill>
            <a:schemeClr val="accent1"/>
          </a:solidFill>
          <a:ln w="6350">
            <a:noFill/>
            <a:miter lim="800000"/>
            <a:headEnd/>
            <a:tailEnd/>
          </a:ln>
          <a:effectLst/>
        </p:spPr>
        <p:txBody>
          <a:bodyPr rot="10800000" wrap="none" lIns="72000" tIns="72000" rIns="72000" bIns="72000" anchor="ctr"/>
          <a:lstStyle/>
          <a:p>
            <a:pPr algn="ctr" eaLnBrk="0" hangingPunct="0">
              <a:spcBef>
                <a:spcPct val="0"/>
              </a:spcBef>
            </a:pPr>
            <a:r>
              <a:rPr lang="en-US" b="1" dirty="0">
                <a:solidFill>
                  <a:schemeClr val="bg1"/>
                </a:solidFill>
              </a:rPr>
              <a:t>Text</a:t>
            </a:r>
          </a:p>
        </p:txBody>
      </p:sp>
      <p:sp>
        <p:nvSpPr>
          <p:cNvPr id="19" name="Arrow: Chevron 18">
            <a:extLst>
              <a:ext uri="{FF2B5EF4-FFF2-40B4-BE49-F238E27FC236}">
                <a16:creationId xmlns:a16="http://schemas.microsoft.com/office/drawing/2014/main" id="{69748354-F623-46D9-935A-5472A83FC440}"/>
              </a:ext>
            </a:extLst>
          </p:cNvPr>
          <p:cNvSpPr/>
          <p:nvPr/>
        </p:nvSpPr>
        <p:spPr>
          <a:xfrm>
            <a:off x="5966685" y="3740427"/>
            <a:ext cx="570072"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10042322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64D27-8095-4E81-992C-9001F65F5141}"/>
              </a:ext>
            </a:extLst>
          </p:cNvPr>
          <p:cNvSpPr>
            <a:spLocks noGrp="1"/>
          </p:cNvSpPr>
          <p:nvPr>
            <p:ph type="title"/>
          </p:nvPr>
        </p:nvSpPr>
        <p:spPr/>
        <p:txBody>
          <a:bodyPr/>
          <a:lstStyle/>
          <a:p>
            <a:r>
              <a:rPr lang="de-DE" dirty="0"/>
              <a:t>Pro and Con</a:t>
            </a:r>
            <a:endParaRPr lang="en-US" dirty="0"/>
          </a:p>
        </p:txBody>
      </p:sp>
      <p:grpSp>
        <p:nvGrpSpPr>
          <p:cNvPr id="36" name="Group 35">
            <a:extLst>
              <a:ext uri="{FF2B5EF4-FFF2-40B4-BE49-F238E27FC236}">
                <a16:creationId xmlns:a16="http://schemas.microsoft.com/office/drawing/2014/main" id="{B3F86175-FB3F-4B71-8D2C-785CDAE77A0B}"/>
              </a:ext>
            </a:extLst>
          </p:cNvPr>
          <p:cNvGrpSpPr/>
          <p:nvPr/>
        </p:nvGrpSpPr>
        <p:grpSpPr>
          <a:xfrm>
            <a:off x="380999" y="1288295"/>
            <a:ext cx="11430001" cy="4787749"/>
            <a:chOff x="345017" y="1288295"/>
            <a:chExt cx="11512800" cy="4787749"/>
          </a:xfrm>
        </p:grpSpPr>
        <p:sp>
          <p:nvSpPr>
            <p:cNvPr id="25" name="Rectangle 24">
              <a:extLst>
                <a:ext uri="{FF2B5EF4-FFF2-40B4-BE49-F238E27FC236}">
                  <a16:creationId xmlns:a16="http://schemas.microsoft.com/office/drawing/2014/main" id="{F795CDD8-30DD-4140-936C-C83D07A78824}"/>
                </a:ext>
              </a:extLst>
            </p:cNvPr>
            <p:cNvSpPr/>
            <p:nvPr/>
          </p:nvSpPr>
          <p:spPr>
            <a:xfrm>
              <a:off x="345017" y="2759285"/>
              <a:ext cx="5714579" cy="2918345"/>
            </a:xfrm>
            <a:prstGeom prst="rect">
              <a:avLst/>
            </a:prstGeom>
            <a:solidFill>
              <a:srgbClr val="96968C">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26" name="Rectangle 25">
              <a:extLst>
                <a:ext uri="{FF2B5EF4-FFF2-40B4-BE49-F238E27FC236}">
                  <a16:creationId xmlns:a16="http://schemas.microsoft.com/office/drawing/2014/main" id="{FE9835DB-E9B8-4019-B581-6A286B601406}"/>
                </a:ext>
              </a:extLst>
            </p:cNvPr>
            <p:cNvSpPr/>
            <p:nvPr/>
          </p:nvSpPr>
          <p:spPr>
            <a:xfrm>
              <a:off x="6140871" y="2759285"/>
              <a:ext cx="5714579" cy="2918345"/>
            </a:xfrm>
            <a:prstGeom prst="rect">
              <a:avLst/>
            </a:prstGeom>
            <a:solidFill>
              <a:srgbClr val="96968C">
                <a:lumMod val="20000"/>
                <a:lumOff val="8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27" name="Text Box 10">
              <a:extLst>
                <a:ext uri="{FF2B5EF4-FFF2-40B4-BE49-F238E27FC236}">
                  <a16:creationId xmlns:a16="http://schemas.microsoft.com/office/drawing/2014/main" id="{80AF0235-256E-4E1B-B5F0-260691588478}"/>
                </a:ext>
              </a:extLst>
            </p:cNvPr>
            <p:cNvSpPr txBox="1">
              <a:spLocks noChangeArrowheads="1"/>
            </p:cNvSpPr>
            <p:nvPr>
              <p:custDataLst>
                <p:tags r:id="rId1"/>
              </p:custDataLst>
            </p:nvPr>
          </p:nvSpPr>
          <p:spPr bwMode="auto">
            <a:xfrm>
              <a:off x="345018" y="5677631"/>
              <a:ext cx="5714578" cy="398413"/>
            </a:xfrm>
            <a:prstGeom prst="rect">
              <a:avLst/>
            </a:prstGeom>
            <a:solidFill>
              <a:schemeClr val="accent3"/>
            </a:solidFill>
            <a:ln w="9525">
              <a:noFill/>
              <a:miter lim="800000"/>
              <a:headEnd/>
              <a:tailEnd/>
            </a:ln>
          </p:spPr>
          <p:txBody>
            <a:bodyPr lIns="180000" tIns="46800" rIns="90000" bIns="46800" anchor="ctr"/>
            <a:lstStyle/>
            <a:p>
              <a:pPr marL="0" marR="0" lvl="0" indent="0" algn="l" defTabSz="762000" rtl="0" eaLnBrk="0" fontAlgn="auto" latinLnBrk="0" hangingPunct="0">
                <a:lnSpc>
                  <a:spcPct val="100000"/>
                </a:lnSpc>
                <a:spcBef>
                  <a:spcPct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Graphik"/>
                  <a:ea typeface="+mn-ea"/>
                  <a:cs typeface="+mn-cs"/>
                </a:rPr>
                <a:t>Pro</a:t>
              </a:r>
            </a:p>
          </p:txBody>
        </p:sp>
        <p:sp>
          <p:nvSpPr>
            <p:cNvPr id="28" name="Text Box 11">
              <a:extLst>
                <a:ext uri="{FF2B5EF4-FFF2-40B4-BE49-F238E27FC236}">
                  <a16:creationId xmlns:a16="http://schemas.microsoft.com/office/drawing/2014/main" id="{57010416-0560-4D3F-AB81-EBB88D571433}"/>
                </a:ext>
              </a:extLst>
            </p:cNvPr>
            <p:cNvSpPr txBox="1">
              <a:spLocks noChangeArrowheads="1"/>
            </p:cNvSpPr>
            <p:nvPr>
              <p:custDataLst>
                <p:tags r:id="rId2"/>
              </p:custDataLst>
            </p:nvPr>
          </p:nvSpPr>
          <p:spPr bwMode="auto">
            <a:xfrm>
              <a:off x="6142457" y="5677631"/>
              <a:ext cx="5714582" cy="396820"/>
            </a:xfrm>
            <a:prstGeom prst="rect">
              <a:avLst/>
            </a:prstGeom>
            <a:solidFill>
              <a:srgbClr val="A100FF"/>
            </a:solidFill>
            <a:ln w="9525">
              <a:noFill/>
              <a:miter lim="800000"/>
              <a:headEnd/>
              <a:tailEnd/>
            </a:ln>
          </p:spPr>
          <p:txBody>
            <a:bodyPr lIns="180000" tIns="46800" rIns="90000" bIns="46800" anchor="ctr"/>
            <a:lstStyle>
              <a:defPPr>
                <a:defRPr lang="en-US"/>
              </a:defPPr>
              <a:lvl1pPr defTabSz="762000" eaLnBrk="0" hangingPunct="0">
                <a:spcBef>
                  <a:spcPct val="0"/>
                </a:spcBef>
                <a:buClrTx/>
                <a:buFontTx/>
                <a:buNone/>
                <a:defRPr sz="1600" b="1">
                  <a:solidFill>
                    <a:schemeClr val="bg1"/>
                  </a:solidFill>
                </a:defRPr>
              </a:lvl1pPr>
            </a:lstStyle>
            <a:p>
              <a:pPr marL="0" marR="0" lvl="0" indent="0" algn="l" defTabSz="762000" rtl="0" eaLnBrk="0" fontAlgn="auto" latinLnBrk="0" hangingPunct="0">
                <a:lnSpc>
                  <a:spcPct val="100000"/>
                </a:lnSpc>
                <a:spcBef>
                  <a:spcPct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Graphik"/>
                  <a:ea typeface="+mn-ea"/>
                  <a:cs typeface="+mn-cs"/>
                </a:rPr>
                <a:t>Con</a:t>
              </a:r>
            </a:p>
          </p:txBody>
        </p:sp>
        <p:sp>
          <p:nvSpPr>
            <p:cNvPr id="29" name="Rectangle 13">
              <a:extLst>
                <a:ext uri="{FF2B5EF4-FFF2-40B4-BE49-F238E27FC236}">
                  <a16:creationId xmlns:a16="http://schemas.microsoft.com/office/drawing/2014/main" id="{0E1B2D11-665D-40B7-9D3C-A6A68985DABD}"/>
                </a:ext>
              </a:extLst>
            </p:cNvPr>
            <p:cNvSpPr>
              <a:spLocks noChangeArrowheads="1"/>
            </p:cNvSpPr>
            <p:nvPr/>
          </p:nvSpPr>
          <p:spPr bwMode="auto">
            <a:xfrm>
              <a:off x="8459747" y="4187208"/>
              <a:ext cx="1080000" cy="372055"/>
            </a:xfrm>
            <a:prstGeom prst="rect">
              <a:avLst/>
            </a:prstGeom>
            <a:solidFill>
              <a:srgbClr val="FFFFFF">
                <a:alpha val="40000"/>
              </a:srgbClr>
            </a:solidFill>
            <a:ln w="9525" algn="ctr">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14">
              <a:extLst>
                <a:ext uri="{FF2B5EF4-FFF2-40B4-BE49-F238E27FC236}">
                  <a16:creationId xmlns:a16="http://schemas.microsoft.com/office/drawing/2014/main" id="{E3E4C624-75BE-4141-AA7B-40E832AA5AF9}"/>
                </a:ext>
              </a:extLst>
            </p:cNvPr>
            <p:cNvSpPr>
              <a:spLocks/>
            </p:cNvSpPr>
            <p:nvPr/>
          </p:nvSpPr>
          <p:spPr bwMode="auto">
            <a:xfrm>
              <a:off x="2662307" y="3833235"/>
              <a:ext cx="1080000" cy="1080000"/>
            </a:xfrm>
            <a:custGeom>
              <a:avLst/>
              <a:gdLst>
                <a:gd name="T0" fmla="*/ 409 w 1270"/>
                <a:gd name="T1" fmla="*/ 0 h 1293"/>
                <a:gd name="T2" fmla="*/ 862 w 1270"/>
                <a:gd name="T3" fmla="*/ 0 h 1293"/>
                <a:gd name="T4" fmla="*/ 862 w 1270"/>
                <a:gd name="T5" fmla="*/ 408 h 1293"/>
                <a:gd name="T6" fmla="*/ 1270 w 1270"/>
                <a:gd name="T7" fmla="*/ 408 h 1293"/>
                <a:gd name="T8" fmla="*/ 1270 w 1270"/>
                <a:gd name="T9" fmla="*/ 862 h 1293"/>
                <a:gd name="T10" fmla="*/ 862 w 1270"/>
                <a:gd name="T11" fmla="*/ 862 h 1293"/>
                <a:gd name="T12" fmla="*/ 862 w 1270"/>
                <a:gd name="T13" fmla="*/ 1293 h 1293"/>
                <a:gd name="T14" fmla="*/ 409 w 1270"/>
                <a:gd name="T15" fmla="*/ 1293 h 1293"/>
                <a:gd name="T16" fmla="*/ 409 w 1270"/>
                <a:gd name="T17" fmla="*/ 862 h 1293"/>
                <a:gd name="T18" fmla="*/ 0 w 1270"/>
                <a:gd name="T19" fmla="*/ 862 h 1293"/>
                <a:gd name="T20" fmla="*/ 0 w 1270"/>
                <a:gd name="T21" fmla="*/ 408 h 1293"/>
                <a:gd name="T22" fmla="*/ 409 w 1270"/>
                <a:gd name="T23" fmla="*/ 408 h 1293"/>
                <a:gd name="T24" fmla="*/ 409 w 1270"/>
                <a:gd name="T25" fmla="*/ 0 h 129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0"/>
                <a:gd name="T40" fmla="*/ 0 h 1293"/>
                <a:gd name="T41" fmla="*/ 1270 w 1270"/>
                <a:gd name="T42" fmla="*/ 1293 h 129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0" h="1293">
                  <a:moveTo>
                    <a:pt x="409" y="0"/>
                  </a:moveTo>
                  <a:lnTo>
                    <a:pt x="862" y="0"/>
                  </a:lnTo>
                  <a:lnTo>
                    <a:pt x="862" y="408"/>
                  </a:lnTo>
                  <a:lnTo>
                    <a:pt x="1270" y="408"/>
                  </a:lnTo>
                  <a:lnTo>
                    <a:pt x="1270" y="862"/>
                  </a:lnTo>
                  <a:lnTo>
                    <a:pt x="862" y="862"/>
                  </a:lnTo>
                  <a:lnTo>
                    <a:pt x="862" y="1293"/>
                  </a:lnTo>
                  <a:lnTo>
                    <a:pt x="409" y="1293"/>
                  </a:lnTo>
                  <a:lnTo>
                    <a:pt x="409" y="862"/>
                  </a:lnTo>
                  <a:lnTo>
                    <a:pt x="0" y="862"/>
                  </a:lnTo>
                  <a:lnTo>
                    <a:pt x="0" y="408"/>
                  </a:lnTo>
                  <a:lnTo>
                    <a:pt x="409" y="408"/>
                  </a:lnTo>
                  <a:lnTo>
                    <a:pt x="409" y="0"/>
                  </a:lnTo>
                  <a:close/>
                </a:path>
              </a:pathLst>
            </a:custGeom>
            <a:solidFill>
              <a:srgbClr val="FFFFFF">
                <a:alpha val="40000"/>
              </a:srgbClr>
            </a:solidFill>
            <a:ln w="9525" cap="flat" cmpd="sng">
              <a:noFill/>
              <a:prstDash val="solid"/>
              <a:round/>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 name="Shape 68">
              <a:extLst>
                <a:ext uri="{FF2B5EF4-FFF2-40B4-BE49-F238E27FC236}">
                  <a16:creationId xmlns:a16="http://schemas.microsoft.com/office/drawing/2014/main" id="{7B16A7F1-7D34-4D6F-BD09-2B07ACFB3BF6}"/>
                </a:ext>
              </a:extLst>
            </p:cNvPr>
            <p:cNvSpPr/>
            <p:nvPr/>
          </p:nvSpPr>
          <p:spPr>
            <a:xfrm>
              <a:off x="345017" y="1699285"/>
              <a:ext cx="11512800" cy="0"/>
            </a:xfrm>
            <a:prstGeom prst="line">
              <a:avLst/>
            </a:prstGeom>
            <a:ln w="12700" cmpd="sng">
              <a:solidFill>
                <a:srgbClr val="96968C">
                  <a:lumMod val="60000"/>
                  <a:lumOff val="40000"/>
                </a:srgbClr>
              </a:solidFill>
              <a:prstDash val="solid"/>
              <a:miter lim="400000"/>
              <a:headEnd type="none" len="sm"/>
              <a:tailEnd type="none" len="sm"/>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pPr>
              <a:endParaRPr kumimoji="0" lang="en-US" sz="3199" b="0" i="0" u="none" strike="noStrike" kern="0" cap="none" spc="0" normalizeH="0" baseline="0" noProof="0">
                <a:ln>
                  <a:noFill/>
                </a:ln>
                <a:solidFill>
                  <a:srgbClr val="000000"/>
                </a:solidFill>
                <a:effectLst/>
                <a:uLnTx/>
                <a:uFillTx/>
                <a:latin typeface="Graphik"/>
                <a:ea typeface="+mn-ea"/>
                <a:cs typeface="+mn-cs"/>
              </a:endParaRPr>
            </a:p>
          </p:txBody>
        </p:sp>
        <p:sp>
          <p:nvSpPr>
            <p:cNvPr id="32" name="TextBox 31">
              <a:extLst>
                <a:ext uri="{FF2B5EF4-FFF2-40B4-BE49-F238E27FC236}">
                  <a16:creationId xmlns:a16="http://schemas.microsoft.com/office/drawing/2014/main" id="{3FD9609A-3A96-4517-B3EC-E410D30CA290}"/>
                </a:ext>
              </a:extLst>
            </p:cNvPr>
            <p:cNvSpPr txBox="1"/>
            <p:nvPr/>
          </p:nvSpPr>
          <p:spPr>
            <a:xfrm>
              <a:off x="345018" y="1288295"/>
              <a:ext cx="11510432" cy="355939"/>
            </a:xfrm>
            <a:prstGeom prst="rect">
              <a:avLst/>
            </a:prstGeom>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all" spc="0" normalizeH="0" baseline="0" noProof="0" dirty="0">
                  <a:ln>
                    <a:noFill/>
                  </a:ln>
                  <a:solidFill>
                    <a:srgbClr val="000000"/>
                  </a:solidFill>
                  <a:effectLst/>
                  <a:uLnTx/>
                  <a:uFillTx/>
                  <a:latin typeface="Graphik Black"/>
                  <a:ea typeface="+mn-ea"/>
                  <a:cs typeface="+mn-cs"/>
                </a:rPr>
                <a:t>Title</a:t>
              </a:r>
            </a:p>
          </p:txBody>
        </p:sp>
        <p:sp>
          <p:nvSpPr>
            <p:cNvPr id="33" name="Rectangle 6">
              <a:extLst>
                <a:ext uri="{FF2B5EF4-FFF2-40B4-BE49-F238E27FC236}">
                  <a16:creationId xmlns:a16="http://schemas.microsoft.com/office/drawing/2014/main" id="{FB27E2ED-60EE-46F3-8017-99389587EF8C}"/>
                </a:ext>
              </a:extLst>
            </p:cNvPr>
            <p:cNvSpPr>
              <a:spLocks noChangeArrowheads="1"/>
            </p:cNvSpPr>
            <p:nvPr/>
          </p:nvSpPr>
          <p:spPr bwMode="auto">
            <a:xfrm>
              <a:off x="345018" y="1912060"/>
              <a:ext cx="11510432" cy="634452"/>
            </a:xfrm>
            <a:prstGeom prst="rect">
              <a:avLst/>
            </a:prstGeom>
            <a:noFill/>
            <a:ln w="9525">
              <a:noFill/>
              <a:miter lim="800000"/>
              <a:headEnd/>
              <a:tailEnd/>
            </a:ln>
          </p:spPr>
          <p:txBody>
            <a:bodyPr lIns="0" tIns="0" rIns="0" bIns="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Graphik"/>
                  <a:ea typeface="+mn-ea"/>
                  <a:cs typeface="+mn-cs"/>
                </a:rPr>
                <a:t>Description</a:t>
              </a:r>
            </a:p>
          </p:txBody>
        </p:sp>
        <p:sp>
          <p:nvSpPr>
            <p:cNvPr id="34" name="Rectangle 6">
              <a:extLst>
                <a:ext uri="{FF2B5EF4-FFF2-40B4-BE49-F238E27FC236}">
                  <a16:creationId xmlns:a16="http://schemas.microsoft.com/office/drawing/2014/main" id="{50BF7F1A-F423-4D25-90FC-BD7279471498}"/>
                </a:ext>
              </a:extLst>
            </p:cNvPr>
            <p:cNvSpPr>
              <a:spLocks noChangeArrowheads="1"/>
            </p:cNvSpPr>
            <p:nvPr/>
          </p:nvSpPr>
          <p:spPr bwMode="auto">
            <a:xfrm>
              <a:off x="487381" y="2871686"/>
              <a:ext cx="5463172" cy="2706155"/>
            </a:xfrm>
            <a:prstGeom prst="rect">
              <a:avLst/>
            </a:prstGeom>
            <a:noFill/>
            <a:ln w="9525">
              <a:noFill/>
              <a:miter lim="800000"/>
              <a:headEnd/>
              <a:tailEnd/>
            </a:ln>
          </p:spPr>
          <p:txBody>
            <a:bodyPr lIns="0" tIns="36000" rIns="0" bIns="0">
              <a:noAutofit/>
            </a:bodyPr>
            <a:lstStyle/>
            <a:p>
              <a:pPr marL="0" marR="0" lvl="0" indent="0" algn="l" defTabSz="844550" rtl="0" eaLnBrk="0" fontAlgn="auto" latinLnBrk="0" hangingPunct="0">
                <a:lnSpc>
                  <a:spcPct val="100000"/>
                </a:lnSpc>
                <a:spcBef>
                  <a:spcPct val="2000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5" name="Rectangle 7">
              <a:extLst>
                <a:ext uri="{FF2B5EF4-FFF2-40B4-BE49-F238E27FC236}">
                  <a16:creationId xmlns:a16="http://schemas.microsoft.com/office/drawing/2014/main" id="{90CC1759-35BB-4CDE-A05C-1D3D067084E7}"/>
                </a:ext>
              </a:extLst>
            </p:cNvPr>
            <p:cNvSpPr>
              <a:spLocks noChangeArrowheads="1"/>
            </p:cNvSpPr>
            <p:nvPr/>
          </p:nvSpPr>
          <p:spPr bwMode="auto">
            <a:xfrm>
              <a:off x="6283234" y="2871687"/>
              <a:ext cx="5381897" cy="2706154"/>
            </a:xfrm>
            <a:prstGeom prst="rect">
              <a:avLst/>
            </a:prstGeom>
            <a:noFill/>
            <a:ln w="9525">
              <a:noFill/>
              <a:miter lim="800000"/>
              <a:headEnd/>
              <a:tailEnd/>
            </a:ln>
          </p:spPr>
          <p:txBody>
            <a:bodyPr lIns="0" tIns="36000" rIns="0" bIns="0">
              <a:noAutofit/>
            </a:bodyPr>
            <a:lstStyle/>
            <a:p>
              <a:pPr marL="0" marR="0" lvl="0" indent="0" algn="l" defTabSz="844550" rtl="0" eaLnBrk="0" fontAlgn="auto" latinLnBrk="0" hangingPunct="0">
                <a:lnSpc>
                  <a:spcPct val="100000"/>
                </a:lnSpc>
                <a:spcBef>
                  <a:spcPct val="2000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Graphik"/>
                  <a:ea typeface="+mn-ea"/>
                  <a:cs typeface="+mn-cs"/>
                </a:rPr>
                <a:t>Text</a:t>
              </a:r>
            </a:p>
          </p:txBody>
        </p:sp>
      </p:grpSp>
      <p:sp>
        <p:nvSpPr>
          <p:cNvPr id="38" name="Freeform: Shape 37">
            <a:hlinkClick r:id="rId5" action="ppaction://hlinksldjump"/>
            <a:extLst>
              <a:ext uri="{FF2B5EF4-FFF2-40B4-BE49-F238E27FC236}">
                <a16:creationId xmlns:a16="http://schemas.microsoft.com/office/drawing/2014/main" id="{D60F02D8-0557-4082-9EC2-8C9E1F3BEF1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5" action="ppaction://hlinksldjump"/>
            <a:extLst>
              <a:ext uri="{FF2B5EF4-FFF2-40B4-BE49-F238E27FC236}">
                <a16:creationId xmlns:a16="http://schemas.microsoft.com/office/drawing/2014/main" id="{D4C54A99-6B0C-47EE-962D-0029BD99D52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17866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4BD2E8-4285-AD4D-9DA7-23A453181C78}"/>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53431490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Interaction/</a:t>
            </a:r>
            <a:br>
              <a:rPr lang="en-US" dirty="0"/>
            </a:br>
            <a:r>
              <a:rPr lang="en-US" dirty="0"/>
              <a:t>Feedback</a:t>
            </a:r>
          </a:p>
        </p:txBody>
      </p:sp>
      <p:sp>
        <p:nvSpPr>
          <p:cNvPr id="5" name="Freeform: Shape 4">
            <a:hlinkClick r:id="rId3" action="ppaction://hlinksldjump"/>
            <a:extLst>
              <a:ext uri="{FF2B5EF4-FFF2-40B4-BE49-F238E27FC236}">
                <a16:creationId xmlns:a16="http://schemas.microsoft.com/office/drawing/2014/main" id="{FEC70F8F-14E4-4D25-B76B-630483F37AF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7" name="Text Placeholder 4">
            <a:extLst>
              <a:ext uri="{FF2B5EF4-FFF2-40B4-BE49-F238E27FC236}">
                <a16:creationId xmlns:a16="http://schemas.microsoft.com/office/drawing/2014/main" id="{AF8F1646-0744-4AB7-B3C4-8F4E0BBFB8EB}"/>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t>Part of </a:t>
            </a:r>
            <a:b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b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hlinkClick r:id="rId4" action="ppaction://hlinksldjump">
                  <a:extLst>
                    <a:ext uri="{A12FA001-AC4F-418D-AE19-62706E023703}">
                      <ahyp:hlinkClr xmlns:ahyp="http://schemas.microsoft.com/office/drawing/2018/hyperlinkcolor" val="tx"/>
                    </a:ext>
                  </a:extLst>
                </a:hlinkClick>
              </a:rPr>
              <a:t>Dynamic Concept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2" name="Rectangle 1">
            <a:hlinkClick r:id="rId3" action="ppaction://hlinksldjump"/>
            <a:extLst>
              <a:ext uri="{FF2B5EF4-FFF2-40B4-BE49-F238E27FC236}">
                <a16:creationId xmlns:a16="http://schemas.microsoft.com/office/drawing/2014/main" id="{383FFE06-EB8D-4CDD-9756-2642B0DBEF2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9229759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EB942-7B08-4ECA-B929-EC0248727074}"/>
              </a:ext>
            </a:extLst>
          </p:cNvPr>
          <p:cNvSpPr>
            <a:spLocks noGrp="1"/>
          </p:cNvSpPr>
          <p:nvPr>
            <p:ph type="title"/>
          </p:nvPr>
        </p:nvSpPr>
        <p:spPr/>
        <p:txBody>
          <a:bodyPr/>
          <a:lstStyle/>
          <a:p>
            <a:r>
              <a:rPr lang="en-US" dirty="0"/>
              <a:t>Interaction</a:t>
            </a:r>
          </a:p>
        </p:txBody>
      </p:sp>
      <p:sp>
        <p:nvSpPr>
          <p:cNvPr id="54" name="Freeform: Shape 53">
            <a:hlinkClick r:id="rId3" action="ppaction://hlinksldjump"/>
            <a:extLst>
              <a:ext uri="{FF2B5EF4-FFF2-40B4-BE49-F238E27FC236}">
                <a16:creationId xmlns:a16="http://schemas.microsoft.com/office/drawing/2014/main" id="{CCCBEACB-DD8A-400A-9D08-1CA60423910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F3F3CF3-4B31-47D8-A07A-358FE118D2C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3" name="Content Placeholder 1">
            <a:extLst>
              <a:ext uri="{FF2B5EF4-FFF2-40B4-BE49-F238E27FC236}">
                <a16:creationId xmlns:a16="http://schemas.microsoft.com/office/drawing/2014/main" id="{499044D0-86FD-44D4-AAE6-E9848C50C8E1}"/>
              </a:ext>
            </a:extLst>
          </p:cNvPr>
          <p:cNvSpPr txBox="1">
            <a:spLocks/>
          </p:cNvSpPr>
          <p:nvPr/>
        </p:nvSpPr>
        <p:spPr>
          <a:xfrm>
            <a:off x="3837212"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endParaRPr lang="en-US" sz="1400" b="0" cap="all" dirty="0"/>
          </a:p>
        </p:txBody>
      </p:sp>
      <p:grpSp>
        <p:nvGrpSpPr>
          <p:cNvPr id="55" name="Group 54">
            <a:extLst>
              <a:ext uri="{FF2B5EF4-FFF2-40B4-BE49-F238E27FC236}">
                <a16:creationId xmlns:a16="http://schemas.microsoft.com/office/drawing/2014/main" id="{DF635177-C711-4780-B853-6009327268DA}"/>
              </a:ext>
            </a:extLst>
          </p:cNvPr>
          <p:cNvGrpSpPr/>
          <p:nvPr/>
        </p:nvGrpSpPr>
        <p:grpSpPr>
          <a:xfrm>
            <a:off x="1278046" y="1662350"/>
            <a:ext cx="6362007" cy="535682"/>
            <a:chOff x="1278046" y="1662350"/>
            <a:chExt cx="6362007" cy="535682"/>
          </a:xfrm>
        </p:grpSpPr>
        <p:cxnSp>
          <p:nvCxnSpPr>
            <p:cNvPr id="56" name="Straight Connector 55">
              <a:extLst>
                <a:ext uri="{FF2B5EF4-FFF2-40B4-BE49-F238E27FC236}">
                  <a16:creationId xmlns:a16="http://schemas.microsoft.com/office/drawing/2014/main" id="{28717FD6-A43A-4830-8321-622B079D2AB5}"/>
                </a:ext>
              </a:extLst>
            </p:cNvPr>
            <p:cNvCxnSpPr/>
            <p:nvPr/>
          </p:nvCxnSpPr>
          <p:spPr>
            <a:xfrm>
              <a:off x="1278046" y="1919352"/>
              <a:ext cx="6362007" cy="0"/>
            </a:xfrm>
            <a:prstGeom prst="line">
              <a:avLst/>
            </a:prstGeom>
            <a:ln w="635000">
              <a:gradFill flip="none" rotWithShape="1">
                <a:gsLst>
                  <a:gs pos="0">
                    <a:schemeClr val="accent1"/>
                  </a:gs>
                  <a:gs pos="69000">
                    <a:schemeClr val="accent5"/>
                  </a:gs>
                </a:gsLst>
                <a:lin ang="0" scaled="1"/>
                <a:tileRect/>
              </a:gradFill>
              <a:prstDash val="solid"/>
              <a:headEnd type="none" w="sm" len="sm"/>
              <a:tailEnd type="non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952B106A-5A0E-42FF-BF8E-6416E8C65E18}"/>
                </a:ext>
              </a:extLst>
            </p:cNvPr>
            <p:cNvCxnSpPr/>
            <p:nvPr/>
          </p:nvCxnSpPr>
          <p:spPr>
            <a:xfrm>
              <a:off x="2024448" y="1918376"/>
              <a:ext cx="1648636"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7266438F-74CC-48BA-B6A2-1E6DD772F34E}"/>
                </a:ext>
              </a:extLst>
            </p:cNvPr>
            <p:cNvCxnSpPr/>
            <p:nvPr/>
          </p:nvCxnSpPr>
          <p:spPr>
            <a:xfrm>
              <a:off x="4366855" y="1918376"/>
              <a:ext cx="1615291"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975416C9-92EC-4953-AB31-DB9AC1F3D102}"/>
                </a:ext>
              </a:extLst>
            </p:cNvPr>
            <p:cNvSpPr/>
            <p:nvPr/>
          </p:nvSpPr>
          <p:spPr>
            <a:xfrm>
              <a:off x="3752616"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2</a:t>
              </a:r>
              <a:endParaRPr lang="en-GB" sz="2000" dirty="0">
                <a:solidFill>
                  <a:schemeClr val="bg1"/>
                </a:solidFill>
                <a:latin typeface="+mj-lt"/>
              </a:endParaRPr>
            </a:p>
          </p:txBody>
        </p:sp>
        <p:sp>
          <p:nvSpPr>
            <p:cNvPr id="60" name="Oval 59">
              <a:extLst>
                <a:ext uri="{FF2B5EF4-FFF2-40B4-BE49-F238E27FC236}">
                  <a16:creationId xmlns:a16="http://schemas.microsoft.com/office/drawing/2014/main" id="{1AD95A6F-3928-4536-904D-A2508822608A}"/>
                </a:ext>
              </a:extLst>
            </p:cNvPr>
            <p:cNvSpPr/>
            <p:nvPr/>
          </p:nvSpPr>
          <p:spPr>
            <a:xfrm>
              <a:off x="1456822" y="166235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1</a:t>
              </a:r>
              <a:endParaRPr lang="en-GB" sz="2000" dirty="0">
                <a:solidFill>
                  <a:schemeClr val="bg1"/>
                </a:solidFill>
                <a:latin typeface="+mj-lt"/>
              </a:endParaRPr>
            </a:p>
          </p:txBody>
        </p:sp>
      </p:grpSp>
      <p:sp>
        <p:nvSpPr>
          <p:cNvPr id="61" name="Content Placeholder 1">
            <a:extLst>
              <a:ext uri="{FF2B5EF4-FFF2-40B4-BE49-F238E27FC236}">
                <a16:creationId xmlns:a16="http://schemas.microsoft.com/office/drawing/2014/main" id="{95DFCDC4-2D12-4F87-9038-652911600134}"/>
              </a:ext>
            </a:extLst>
          </p:cNvPr>
          <p:cNvSpPr txBox="1">
            <a:spLocks/>
          </p:cNvSpPr>
          <p:nvPr/>
        </p:nvSpPr>
        <p:spPr>
          <a:xfrm>
            <a:off x="1532326"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endParaRPr lang="en-US" sz="1400" b="0" cap="all" dirty="0"/>
          </a:p>
        </p:txBody>
      </p:sp>
      <p:sp>
        <p:nvSpPr>
          <p:cNvPr id="62" name="Content Placeholder 1">
            <a:extLst>
              <a:ext uri="{FF2B5EF4-FFF2-40B4-BE49-F238E27FC236}">
                <a16:creationId xmlns:a16="http://schemas.microsoft.com/office/drawing/2014/main" id="{DAE9EBBD-6EF2-4D4B-B694-E2659B0D3316}"/>
              </a:ext>
            </a:extLst>
          </p:cNvPr>
          <p:cNvSpPr txBox="1">
            <a:spLocks/>
          </p:cNvSpPr>
          <p:nvPr/>
        </p:nvSpPr>
        <p:spPr>
          <a:xfrm>
            <a:off x="7293367"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endParaRPr lang="en-US" sz="1400" b="0" cap="all" dirty="0"/>
          </a:p>
        </p:txBody>
      </p:sp>
      <p:sp>
        <p:nvSpPr>
          <p:cNvPr id="63" name="TextBox 62">
            <a:extLst>
              <a:ext uri="{FF2B5EF4-FFF2-40B4-BE49-F238E27FC236}">
                <a16:creationId xmlns:a16="http://schemas.microsoft.com/office/drawing/2014/main" id="{47E0C202-1E95-430C-A763-D3F406F8A315}"/>
              </a:ext>
            </a:extLst>
          </p:cNvPr>
          <p:cNvSpPr txBox="1"/>
          <p:nvPr/>
        </p:nvSpPr>
        <p:spPr>
          <a:xfrm>
            <a:off x="7077878" y="3608501"/>
            <a:ext cx="804707" cy="344710"/>
          </a:xfrm>
          <a:prstGeom prst="rect">
            <a:avLst/>
          </a:prstGeom>
        </p:spPr>
        <p:txBody>
          <a:bodyPr vert="horz" wrap="none" lIns="0" tIns="0" rIns="0" bIns="0" rtlCol="0" anchor="ctr">
            <a:spAutoFit/>
          </a:bodyPr>
          <a:lstStyle/>
          <a:p>
            <a:pPr algn="ctr">
              <a:lnSpc>
                <a:spcPct val="80000"/>
              </a:lnSpc>
            </a:pPr>
            <a:r>
              <a:rPr lang="en-AU" sz="2800" dirty="0">
                <a:ln w="6350">
                  <a:noFill/>
                </a:ln>
                <a:latin typeface="+mj-lt"/>
              </a:rPr>
              <a:t>Text</a:t>
            </a:r>
            <a:endParaRPr lang="en-GB" sz="2800" cap="all" dirty="0" err="1">
              <a:ln w="6350">
                <a:noFill/>
              </a:ln>
              <a:latin typeface="+mj-lt"/>
            </a:endParaRPr>
          </a:p>
        </p:txBody>
      </p:sp>
      <p:sp>
        <p:nvSpPr>
          <p:cNvPr id="64" name="Content Placeholder 1">
            <a:extLst>
              <a:ext uri="{FF2B5EF4-FFF2-40B4-BE49-F238E27FC236}">
                <a16:creationId xmlns:a16="http://schemas.microsoft.com/office/drawing/2014/main" id="{CD069CA9-7441-4C57-B5D2-675442608AA4}"/>
              </a:ext>
            </a:extLst>
          </p:cNvPr>
          <p:cNvSpPr txBox="1">
            <a:spLocks/>
          </p:cNvSpPr>
          <p:nvPr/>
        </p:nvSpPr>
        <p:spPr>
          <a:xfrm>
            <a:off x="4829170" y="3578164"/>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r"/>
            <a:r>
              <a:rPr lang="en-US" sz="1400" b="0" dirty="0"/>
              <a:t>Text</a:t>
            </a:r>
            <a:endParaRPr lang="en-US" sz="1400" b="0" cap="all" dirty="0"/>
          </a:p>
        </p:txBody>
      </p:sp>
      <p:sp>
        <p:nvSpPr>
          <p:cNvPr id="65" name="Content Placeholder 1">
            <a:extLst>
              <a:ext uri="{FF2B5EF4-FFF2-40B4-BE49-F238E27FC236}">
                <a16:creationId xmlns:a16="http://schemas.microsoft.com/office/drawing/2014/main" id="{5FE2EA67-FA73-4DAA-AE49-892832FC80A8}"/>
              </a:ext>
            </a:extLst>
          </p:cNvPr>
          <p:cNvSpPr txBox="1">
            <a:spLocks/>
          </p:cNvSpPr>
          <p:nvPr/>
        </p:nvSpPr>
        <p:spPr>
          <a:xfrm>
            <a:off x="9744400" y="3578164"/>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sz="1400" b="0" dirty="0"/>
              <a:t>Text</a:t>
            </a:r>
            <a:endParaRPr lang="en-US" sz="1400" b="0" cap="all" dirty="0"/>
          </a:p>
        </p:txBody>
      </p:sp>
      <p:grpSp>
        <p:nvGrpSpPr>
          <p:cNvPr id="66" name="Group 65">
            <a:extLst>
              <a:ext uri="{FF2B5EF4-FFF2-40B4-BE49-F238E27FC236}">
                <a16:creationId xmlns:a16="http://schemas.microsoft.com/office/drawing/2014/main" id="{F9FA11C7-6369-4A49-A299-F3E2FDF1474E}"/>
              </a:ext>
            </a:extLst>
          </p:cNvPr>
          <p:cNvGrpSpPr/>
          <p:nvPr/>
        </p:nvGrpSpPr>
        <p:grpSpPr>
          <a:xfrm>
            <a:off x="5462725" y="1662350"/>
            <a:ext cx="4021325" cy="4036306"/>
            <a:chOff x="5462725" y="1662350"/>
            <a:chExt cx="4021325" cy="4036306"/>
          </a:xfrm>
        </p:grpSpPr>
        <p:sp>
          <p:nvSpPr>
            <p:cNvPr id="67" name="Oval 66">
              <a:extLst>
                <a:ext uri="{FF2B5EF4-FFF2-40B4-BE49-F238E27FC236}">
                  <a16:creationId xmlns:a16="http://schemas.microsoft.com/office/drawing/2014/main" id="{287BC8DE-2478-4220-AC77-96A8E67FB49C}"/>
                </a:ext>
              </a:extLst>
            </p:cNvPr>
            <p:cNvSpPr/>
            <p:nvPr/>
          </p:nvSpPr>
          <p:spPr>
            <a:xfrm rot="16200000">
              <a:off x="5720701" y="1919352"/>
              <a:ext cx="3511824" cy="3511824"/>
            </a:xfrm>
            <a:prstGeom prst="ellipse">
              <a:avLst/>
            </a:prstGeom>
            <a:noFill/>
            <a:ln w="635000">
              <a:solidFill>
                <a:schemeClr val="accent5"/>
              </a:solidFill>
              <a:headEnd type="arrow" w="sm"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68" name="Group 67">
              <a:extLst>
                <a:ext uri="{FF2B5EF4-FFF2-40B4-BE49-F238E27FC236}">
                  <a16:creationId xmlns:a16="http://schemas.microsoft.com/office/drawing/2014/main" id="{437AC323-4E5E-4E61-87BC-96E12A2F3224}"/>
                </a:ext>
              </a:extLst>
            </p:cNvPr>
            <p:cNvGrpSpPr/>
            <p:nvPr/>
          </p:nvGrpSpPr>
          <p:grpSpPr>
            <a:xfrm>
              <a:off x="5740430" y="1939079"/>
              <a:ext cx="3472367" cy="3472367"/>
              <a:chOff x="6111329" y="2422187"/>
              <a:chExt cx="2698028" cy="2698028"/>
            </a:xfrm>
          </p:grpSpPr>
          <p:sp>
            <p:nvSpPr>
              <p:cNvPr id="76" name="Arc 75">
                <a:extLst>
                  <a:ext uri="{FF2B5EF4-FFF2-40B4-BE49-F238E27FC236}">
                    <a16:creationId xmlns:a16="http://schemas.microsoft.com/office/drawing/2014/main" id="{F9F674E6-3980-40EA-B415-62E0C005EE78}"/>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Arc 76">
                <a:extLst>
                  <a:ext uri="{FF2B5EF4-FFF2-40B4-BE49-F238E27FC236}">
                    <a16:creationId xmlns:a16="http://schemas.microsoft.com/office/drawing/2014/main" id="{FDD130E3-D571-417A-84BB-18FC209B5BD4}"/>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69" name="Group 68">
              <a:extLst>
                <a:ext uri="{FF2B5EF4-FFF2-40B4-BE49-F238E27FC236}">
                  <a16:creationId xmlns:a16="http://schemas.microsoft.com/office/drawing/2014/main" id="{A03250DF-C020-4E42-BC03-F8B9A5451CF9}"/>
                </a:ext>
              </a:extLst>
            </p:cNvPr>
            <p:cNvGrpSpPr/>
            <p:nvPr/>
          </p:nvGrpSpPr>
          <p:grpSpPr>
            <a:xfrm rot="10800000">
              <a:off x="5740430" y="1939079"/>
              <a:ext cx="3472367" cy="3472367"/>
              <a:chOff x="6111329" y="2422187"/>
              <a:chExt cx="2698028" cy="2698028"/>
            </a:xfrm>
          </p:grpSpPr>
          <p:sp>
            <p:nvSpPr>
              <p:cNvPr id="74" name="Arc 73">
                <a:extLst>
                  <a:ext uri="{FF2B5EF4-FFF2-40B4-BE49-F238E27FC236}">
                    <a16:creationId xmlns:a16="http://schemas.microsoft.com/office/drawing/2014/main" id="{308CBFAF-AE6A-4C38-AC05-60DB19F79642}"/>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5" name="Arc 74">
                <a:extLst>
                  <a:ext uri="{FF2B5EF4-FFF2-40B4-BE49-F238E27FC236}">
                    <a16:creationId xmlns:a16="http://schemas.microsoft.com/office/drawing/2014/main" id="{6EFD8F79-3509-4846-AB06-608717AE767C}"/>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70" name="Oval 69">
              <a:extLst>
                <a:ext uri="{FF2B5EF4-FFF2-40B4-BE49-F238E27FC236}">
                  <a16:creationId xmlns:a16="http://schemas.microsoft.com/office/drawing/2014/main" id="{A102DDA0-4803-4915-91A8-BFFD29AE5E23}"/>
                </a:ext>
              </a:extLst>
            </p:cNvPr>
            <p:cNvSpPr/>
            <p:nvPr/>
          </p:nvSpPr>
          <p:spPr>
            <a:xfrm>
              <a:off x="7208772"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3</a:t>
              </a:r>
              <a:endParaRPr lang="en-GB" sz="2000" dirty="0">
                <a:solidFill>
                  <a:schemeClr val="bg1"/>
                </a:solidFill>
                <a:latin typeface="+mj-lt"/>
              </a:endParaRPr>
            </a:p>
          </p:txBody>
        </p:sp>
        <p:sp>
          <p:nvSpPr>
            <p:cNvPr id="71" name="Oval 70">
              <a:extLst>
                <a:ext uri="{FF2B5EF4-FFF2-40B4-BE49-F238E27FC236}">
                  <a16:creationId xmlns:a16="http://schemas.microsoft.com/office/drawing/2014/main" id="{FCF249E8-140C-43A0-B2CB-FB65CDBD356A}"/>
                </a:ext>
              </a:extLst>
            </p:cNvPr>
            <p:cNvSpPr/>
            <p:nvPr/>
          </p:nvSpPr>
          <p:spPr>
            <a:xfrm>
              <a:off x="5462725"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6</a:t>
              </a:r>
              <a:endParaRPr lang="en-GB" sz="2000" dirty="0">
                <a:solidFill>
                  <a:schemeClr val="bg1"/>
                </a:solidFill>
                <a:latin typeface="+mj-lt"/>
              </a:endParaRPr>
            </a:p>
          </p:txBody>
        </p:sp>
        <p:sp>
          <p:nvSpPr>
            <p:cNvPr id="72" name="Oval 71">
              <a:extLst>
                <a:ext uri="{FF2B5EF4-FFF2-40B4-BE49-F238E27FC236}">
                  <a16:creationId xmlns:a16="http://schemas.microsoft.com/office/drawing/2014/main" id="{843DE797-6C51-4E1B-BCD0-E49184D6D2C3}"/>
                </a:ext>
              </a:extLst>
            </p:cNvPr>
            <p:cNvSpPr/>
            <p:nvPr/>
          </p:nvSpPr>
          <p:spPr>
            <a:xfrm>
              <a:off x="8948369"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4</a:t>
              </a:r>
              <a:endParaRPr lang="en-GB" sz="2000" dirty="0">
                <a:solidFill>
                  <a:schemeClr val="bg1"/>
                </a:solidFill>
                <a:latin typeface="+mj-lt"/>
              </a:endParaRPr>
            </a:p>
          </p:txBody>
        </p:sp>
        <p:sp>
          <p:nvSpPr>
            <p:cNvPr id="73" name="Oval 72">
              <a:extLst>
                <a:ext uri="{FF2B5EF4-FFF2-40B4-BE49-F238E27FC236}">
                  <a16:creationId xmlns:a16="http://schemas.microsoft.com/office/drawing/2014/main" id="{7ED06273-1DA4-4DD7-BAD5-4FF516B7FC8E}"/>
                </a:ext>
              </a:extLst>
            </p:cNvPr>
            <p:cNvSpPr/>
            <p:nvPr/>
          </p:nvSpPr>
          <p:spPr>
            <a:xfrm>
              <a:off x="7208772" y="5162975"/>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5</a:t>
              </a:r>
              <a:endParaRPr lang="en-GB" sz="2000" dirty="0">
                <a:solidFill>
                  <a:schemeClr val="bg1"/>
                </a:solidFill>
                <a:latin typeface="+mj-lt"/>
              </a:endParaRPr>
            </a:p>
          </p:txBody>
        </p:sp>
      </p:grpSp>
      <p:sp>
        <p:nvSpPr>
          <p:cNvPr id="78" name="Content Placeholder 1">
            <a:extLst>
              <a:ext uri="{FF2B5EF4-FFF2-40B4-BE49-F238E27FC236}">
                <a16:creationId xmlns:a16="http://schemas.microsoft.com/office/drawing/2014/main" id="{A4F869B5-E92F-4700-A444-79ADB813B21D}"/>
              </a:ext>
            </a:extLst>
          </p:cNvPr>
          <p:cNvSpPr txBox="1">
            <a:spLocks/>
          </p:cNvSpPr>
          <p:nvPr/>
        </p:nvSpPr>
        <p:spPr>
          <a:xfrm>
            <a:off x="7293367" y="5864626"/>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endParaRPr lang="en-US" sz="1400" b="0" cap="all" dirty="0"/>
          </a:p>
        </p:txBody>
      </p:sp>
    </p:spTree>
    <p:extLst>
      <p:ext uri="{BB962C8B-B14F-4D97-AF65-F5344CB8AC3E}">
        <p14:creationId xmlns:p14="http://schemas.microsoft.com/office/powerpoint/2010/main" val="188186269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B9BFF-6320-4BF2-9858-5765876823DC}"/>
              </a:ext>
            </a:extLst>
          </p:cNvPr>
          <p:cNvSpPr>
            <a:spLocks noGrp="1"/>
          </p:cNvSpPr>
          <p:nvPr>
            <p:ph type="title"/>
          </p:nvPr>
        </p:nvSpPr>
        <p:spPr/>
        <p:txBody>
          <a:bodyPr/>
          <a:lstStyle/>
          <a:p>
            <a:r>
              <a:rPr lang="en-US" dirty="0"/>
              <a:t>Feedback 1</a:t>
            </a:r>
          </a:p>
        </p:txBody>
      </p:sp>
      <p:sp>
        <p:nvSpPr>
          <p:cNvPr id="14" name="Freeform: Shape 13">
            <a:hlinkClick r:id="rId3" action="ppaction://hlinksldjump"/>
            <a:extLst>
              <a:ext uri="{FF2B5EF4-FFF2-40B4-BE49-F238E27FC236}">
                <a16:creationId xmlns:a16="http://schemas.microsoft.com/office/drawing/2014/main" id="{6A10A1DF-0CFD-4D79-AED4-5A8CBE6B8E4D}"/>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32C9965-C141-421E-8B20-29CB9D4EC75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3" name="Straight Arrow Connector 12">
            <a:extLst>
              <a:ext uri="{FF2B5EF4-FFF2-40B4-BE49-F238E27FC236}">
                <a16:creationId xmlns:a16="http://schemas.microsoft.com/office/drawing/2014/main" id="{168C900D-1AE5-4247-AFAB-5A6DD6C3CD45}"/>
              </a:ext>
            </a:extLst>
          </p:cNvPr>
          <p:cNvCxnSpPr>
            <a:stCxn id="16" idx="3"/>
            <a:endCxn id="17" idx="1"/>
          </p:cNvCxnSpPr>
          <p:nvPr/>
        </p:nvCxnSpPr>
        <p:spPr>
          <a:xfrm>
            <a:off x="4348438" y="2366438"/>
            <a:ext cx="3488775" cy="0"/>
          </a:xfrm>
          <a:prstGeom prst="straightConnector1">
            <a:avLst/>
          </a:prstGeom>
          <a:ln w="19050">
            <a:solidFill>
              <a:schemeClr val="tx2">
                <a:lumMod val="60000"/>
                <a:lumOff val="4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8DB0A18C-F609-4F76-91CD-DDA672A413F3}"/>
              </a:ext>
            </a:extLst>
          </p:cNvPr>
          <p:cNvCxnSpPr>
            <a:stCxn id="17" idx="2"/>
            <a:endCxn id="16" idx="2"/>
          </p:cNvCxnSpPr>
          <p:nvPr/>
        </p:nvCxnSpPr>
        <p:spPr>
          <a:xfrm rot="5400000">
            <a:off x="6092826" y="316051"/>
            <a:ext cx="12700" cy="6368775"/>
          </a:xfrm>
          <a:prstGeom prst="bentConnector3">
            <a:avLst>
              <a:gd name="adj1" fmla="val 11159984"/>
            </a:avLst>
          </a:prstGeom>
          <a:ln w="19050">
            <a:solidFill>
              <a:schemeClr val="tx2">
                <a:lumMod val="60000"/>
                <a:lumOff val="4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6" name="Rectangle 3">
            <a:extLst>
              <a:ext uri="{FF2B5EF4-FFF2-40B4-BE49-F238E27FC236}">
                <a16:creationId xmlns:a16="http://schemas.microsoft.com/office/drawing/2014/main" id="{A744216A-D4FE-4087-81A6-66D7DDB2FBA4}"/>
              </a:ext>
            </a:extLst>
          </p:cNvPr>
          <p:cNvSpPr>
            <a:spLocks noChangeArrowheads="1"/>
          </p:cNvSpPr>
          <p:nvPr/>
        </p:nvSpPr>
        <p:spPr bwMode="auto">
          <a:xfrm>
            <a:off x="1468438" y="1232438"/>
            <a:ext cx="2880000" cy="2268000"/>
          </a:xfrm>
          <a:prstGeom prst="rect">
            <a:avLst/>
          </a:prstGeom>
          <a:solidFill>
            <a:schemeClr val="accent1"/>
          </a:solidFill>
          <a:ln w="6350">
            <a:noFill/>
            <a:miter lim="800000"/>
            <a:headEnd/>
            <a:tailEnd/>
          </a:ln>
          <a:effectLst/>
        </p:spPr>
        <p:txBody>
          <a:bodyPr lIns="180000" tIns="180000" rIns="72000" bIns="72000" anchor="t"/>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17" name="Rectangle 4">
            <a:extLst>
              <a:ext uri="{FF2B5EF4-FFF2-40B4-BE49-F238E27FC236}">
                <a16:creationId xmlns:a16="http://schemas.microsoft.com/office/drawing/2014/main" id="{1D1F1F43-FE58-42F3-AD65-ED8A8AC41D2E}"/>
              </a:ext>
            </a:extLst>
          </p:cNvPr>
          <p:cNvSpPr>
            <a:spLocks noChangeArrowheads="1"/>
          </p:cNvSpPr>
          <p:nvPr/>
        </p:nvSpPr>
        <p:spPr bwMode="auto">
          <a:xfrm>
            <a:off x="7837213" y="1232438"/>
            <a:ext cx="2880000" cy="2268000"/>
          </a:xfrm>
          <a:prstGeom prst="rect">
            <a:avLst/>
          </a:prstGeom>
          <a:solidFill>
            <a:schemeClr val="accent3"/>
          </a:solidFill>
          <a:ln w="6350">
            <a:noFill/>
            <a:miter lim="800000"/>
            <a:headEnd/>
            <a:tailEnd/>
          </a:ln>
          <a:effectLst/>
        </p:spPr>
        <p:txBody>
          <a:bodyPr lIns="180000" tIns="180000" rIns="72000" bIns="72000" anchor="t"/>
          <a:lstStyle/>
          <a:p>
            <a:pPr eaLnBrk="0" hangingPunct="0">
              <a:lnSpc>
                <a:spcPct val="85000"/>
              </a:lnSpc>
              <a:spcBef>
                <a:spcPts val="100"/>
              </a:spcBef>
              <a:spcAft>
                <a:spcPts val="300"/>
              </a:spcAft>
              <a:buClr>
                <a:schemeClr val="tx1"/>
              </a:buClr>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18" name="Rectangle 7">
            <a:extLst>
              <a:ext uri="{FF2B5EF4-FFF2-40B4-BE49-F238E27FC236}">
                <a16:creationId xmlns:a16="http://schemas.microsoft.com/office/drawing/2014/main" id="{3C2F08FE-7C2A-4A72-9125-4244CA307997}"/>
              </a:ext>
            </a:extLst>
          </p:cNvPr>
          <p:cNvSpPr>
            <a:spLocks noChangeArrowheads="1"/>
          </p:cNvSpPr>
          <p:nvPr/>
        </p:nvSpPr>
        <p:spPr bwMode="auto">
          <a:xfrm>
            <a:off x="4652825" y="3789900"/>
            <a:ext cx="2880000" cy="2268000"/>
          </a:xfrm>
          <a:prstGeom prst="rect">
            <a:avLst/>
          </a:prstGeom>
          <a:solidFill>
            <a:schemeClr val="accent2"/>
          </a:solidFill>
          <a:ln w="6350">
            <a:noFill/>
            <a:miter lim="800000"/>
            <a:headEnd/>
            <a:tailEnd/>
          </a:ln>
          <a:effectLst/>
        </p:spPr>
        <p:txBody>
          <a:bodyPr lIns="180000" tIns="180000" rIns="72000" bIns="72000" anchor="t"/>
          <a:lstStyle/>
          <a:p>
            <a:pPr eaLnBrk="0" hangingPunct="0">
              <a:lnSpc>
                <a:spcPct val="85000"/>
              </a:lnSpc>
              <a:spcBef>
                <a:spcPts val="100"/>
              </a:spcBef>
              <a:spcAft>
                <a:spcPts val="300"/>
              </a:spcAft>
              <a:buClr>
                <a:schemeClr val="tx1"/>
              </a:buClr>
            </a:pPr>
            <a:r>
              <a:rPr lang="en-US" b="1" cap="all" dirty="0">
                <a:solidFill>
                  <a:schemeClr val="bg1"/>
                </a:solidFill>
                <a:latin typeface="+mj-lt"/>
              </a:rPr>
              <a:t>Text</a:t>
            </a:r>
          </a:p>
          <a:p>
            <a:pPr marL="182563" indent="-182563" algn="l" eaLnBrk="0" hangingPunct="0">
              <a:spcBef>
                <a:spcPts val="100"/>
              </a:spcBef>
              <a:spcAft>
                <a:spcPts val="100"/>
              </a:spcAft>
              <a:buFontTx/>
              <a:buChar char="•"/>
            </a:pPr>
            <a:r>
              <a:rPr lang="en-US" dirty="0">
                <a:solidFill>
                  <a:schemeClr val="bg1"/>
                </a:solidFill>
              </a:rPr>
              <a:t>Text</a:t>
            </a:r>
          </a:p>
          <a:p>
            <a:pPr marL="182563" indent="-182563" algn="l" eaLnBrk="0" hangingPunct="0">
              <a:spcBef>
                <a:spcPts val="100"/>
              </a:spcBef>
              <a:spcAft>
                <a:spcPts val="100"/>
              </a:spcAft>
              <a:buFontTx/>
              <a:buChar char="•"/>
            </a:pPr>
            <a:r>
              <a:rPr lang="en-US" dirty="0">
                <a:solidFill>
                  <a:schemeClr val="bg1"/>
                </a:solidFill>
              </a:rPr>
              <a:t>Text</a:t>
            </a:r>
          </a:p>
          <a:p>
            <a:pPr marL="182563" indent="-182563"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39991032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5F7F0-EE7E-460C-B6DE-57B51373D265}"/>
              </a:ext>
            </a:extLst>
          </p:cNvPr>
          <p:cNvSpPr>
            <a:spLocks noGrp="1"/>
          </p:cNvSpPr>
          <p:nvPr>
            <p:ph type="title"/>
          </p:nvPr>
        </p:nvSpPr>
        <p:spPr/>
        <p:txBody>
          <a:bodyPr/>
          <a:lstStyle/>
          <a:p>
            <a:r>
              <a:rPr lang="en-US" dirty="0"/>
              <a:t>Feedback 2</a:t>
            </a:r>
          </a:p>
        </p:txBody>
      </p:sp>
      <p:sp>
        <p:nvSpPr>
          <p:cNvPr id="4" name="Freeform: Shape 3">
            <a:hlinkClick r:id="rId3" action="ppaction://hlinksldjump"/>
            <a:extLst>
              <a:ext uri="{FF2B5EF4-FFF2-40B4-BE49-F238E27FC236}">
                <a16:creationId xmlns:a16="http://schemas.microsoft.com/office/drawing/2014/main" id="{3D2907FA-8832-4D83-BC62-2C41BC34DE5E}"/>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8C98CEE-9340-4B56-9CAE-752BDF82B36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 name="Freeform: Shape 4">
            <a:extLst>
              <a:ext uri="{FF2B5EF4-FFF2-40B4-BE49-F238E27FC236}">
                <a16:creationId xmlns:a16="http://schemas.microsoft.com/office/drawing/2014/main" id="{987F2EB7-FDB3-4155-A36C-80B8B464510C}"/>
              </a:ext>
            </a:extLst>
          </p:cNvPr>
          <p:cNvSpPr/>
          <p:nvPr/>
        </p:nvSpPr>
        <p:spPr>
          <a:xfrm>
            <a:off x="6479828" y="2063931"/>
            <a:ext cx="2429041" cy="3317966"/>
          </a:xfrm>
          <a:custGeom>
            <a:avLst/>
            <a:gdLst>
              <a:gd name="connsiteX0" fmla="*/ 26126 w 2416629"/>
              <a:gd name="connsiteY0" fmla="*/ 0 h 3317966"/>
              <a:gd name="connsiteX1" fmla="*/ 2416629 w 2416629"/>
              <a:gd name="connsiteY1" fmla="*/ 0 h 3317966"/>
              <a:gd name="connsiteX2" fmla="*/ 2416629 w 2416629"/>
              <a:gd name="connsiteY2" fmla="*/ 3317966 h 3317966"/>
              <a:gd name="connsiteX3" fmla="*/ 0 w 2416629"/>
              <a:gd name="connsiteY3" fmla="*/ 3317966 h 3317966"/>
              <a:gd name="connsiteX0" fmla="*/ 0 w 2439347"/>
              <a:gd name="connsiteY0" fmla="*/ 0 h 3317966"/>
              <a:gd name="connsiteX1" fmla="*/ 2439347 w 2439347"/>
              <a:gd name="connsiteY1" fmla="*/ 0 h 3317966"/>
              <a:gd name="connsiteX2" fmla="*/ 2439347 w 2439347"/>
              <a:gd name="connsiteY2" fmla="*/ 3317966 h 3317966"/>
              <a:gd name="connsiteX3" fmla="*/ 22718 w 2439347"/>
              <a:gd name="connsiteY3" fmla="*/ 3317966 h 3317966"/>
              <a:gd name="connsiteX0" fmla="*/ 0 w 2439347"/>
              <a:gd name="connsiteY0" fmla="*/ 0 h 3317966"/>
              <a:gd name="connsiteX1" fmla="*/ 2439347 w 2439347"/>
              <a:gd name="connsiteY1" fmla="*/ 0 h 3317966"/>
              <a:gd name="connsiteX2" fmla="*/ 2439347 w 2439347"/>
              <a:gd name="connsiteY2" fmla="*/ 3317966 h 3317966"/>
              <a:gd name="connsiteX3" fmla="*/ 71563 w 2439347"/>
              <a:gd name="connsiteY3" fmla="*/ 3308239 h 3317966"/>
            </a:gdLst>
            <a:ahLst/>
            <a:cxnLst>
              <a:cxn ang="0">
                <a:pos x="connsiteX0" y="connsiteY0"/>
              </a:cxn>
              <a:cxn ang="0">
                <a:pos x="connsiteX1" y="connsiteY1"/>
              </a:cxn>
              <a:cxn ang="0">
                <a:pos x="connsiteX2" y="connsiteY2"/>
              </a:cxn>
              <a:cxn ang="0">
                <a:pos x="connsiteX3" y="connsiteY3"/>
              </a:cxn>
            </a:cxnLst>
            <a:rect l="l" t="t" r="r" b="b"/>
            <a:pathLst>
              <a:path w="2439347" h="3317966">
                <a:moveTo>
                  <a:pt x="0" y="0"/>
                </a:moveTo>
                <a:lnTo>
                  <a:pt x="2439347" y="0"/>
                </a:lnTo>
                <a:lnTo>
                  <a:pt x="2439347" y="3317966"/>
                </a:lnTo>
                <a:lnTo>
                  <a:pt x="71563" y="3308239"/>
                </a:lnTo>
              </a:path>
            </a:pathLst>
          </a:custGeom>
          <a:ln w="19050">
            <a:solidFill>
              <a:schemeClr val="tx2">
                <a:lumMod val="60000"/>
                <a:lumOff val="40000"/>
              </a:schemeClr>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Rectangle 7">
            <a:extLst>
              <a:ext uri="{FF2B5EF4-FFF2-40B4-BE49-F238E27FC236}">
                <a16:creationId xmlns:a16="http://schemas.microsoft.com/office/drawing/2014/main" id="{4F2FDA54-FDC3-4AA3-9F6F-6EDC341E313B}"/>
              </a:ext>
            </a:extLst>
          </p:cNvPr>
          <p:cNvSpPr>
            <a:spLocks noChangeArrowheads="1"/>
          </p:cNvSpPr>
          <p:nvPr/>
        </p:nvSpPr>
        <p:spPr bwMode="auto">
          <a:xfrm>
            <a:off x="7615646" y="2625596"/>
            <a:ext cx="2566116" cy="2181536"/>
          </a:xfrm>
          <a:prstGeom prst="rect">
            <a:avLst/>
          </a:prstGeom>
          <a:solidFill>
            <a:schemeClr val="tx2">
              <a:lumMod val="20000"/>
              <a:lumOff val="80000"/>
            </a:schemeClr>
          </a:solidFill>
          <a:ln w="6350">
            <a:noFill/>
            <a:miter lim="800000"/>
            <a:headEnd/>
            <a:tailEnd/>
          </a:ln>
          <a:effectLst/>
        </p:spPr>
        <p:txBody>
          <a:bodyPr lIns="180000" tIns="180000" rIns="72000" bIns="72000" anchor="t"/>
          <a:lstStyle/>
          <a:p>
            <a:pPr eaLnBrk="0" hangingPunct="0">
              <a:lnSpc>
                <a:spcPct val="85000"/>
              </a:lnSpc>
              <a:spcBef>
                <a:spcPts val="100"/>
              </a:spcBef>
              <a:spcAft>
                <a:spcPts val="300"/>
              </a:spcAft>
              <a:buClr>
                <a:schemeClr val="bg1"/>
              </a:buClr>
            </a:pPr>
            <a:r>
              <a:rPr lang="en-US" b="1" cap="all" dirty="0">
                <a:latin typeface="+mj-lt"/>
              </a:rPr>
              <a:t>Text</a:t>
            </a:r>
          </a:p>
          <a:p>
            <a:pPr marL="182563" indent="-182563" algn="l" eaLnBrk="0" hangingPunct="0">
              <a:spcBef>
                <a:spcPts val="100"/>
              </a:spcBef>
              <a:spcAft>
                <a:spcPts val="100"/>
              </a:spcAft>
              <a:buFontTx/>
              <a:buChar char="•"/>
            </a:pPr>
            <a:r>
              <a:rPr lang="en-US" dirty="0"/>
              <a:t>Text</a:t>
            </a:r>
          </a:p>
          <a:p>
            <a:pPr marL="182563" indent="-182563" algn="l" eaLnBrk="0" hangingPunct="0">
              <a:spcBef>
                <a:spcPts val="100"/>
              </a:spcBef>
              <a:spcAft>
                <a:spcPts val="100"/>
              </a:spcAft>
              <a:buFontTx/>
              <a:buChar char="•"/>
            </a:pPr>
            <a:r>
              <a:rPr lang="en-US" dirty="0"/>
              <a:t>Text</a:t>
            </a:r>
          </a:p>
          <a:p>
            <a:pPr marL="182563" indent="-182563" algn="l" eaLnBrk="0" hangingPunct="0">
              <a:spcBef>
                <a:spcPts val="100"/>
              </a:spcBef>
              <a:spcAft>
                <a:spcPts val="100"/>
              </a:spcAft>
              <a:buFontTx/>
              <a:buChar char="•"/>
            </a:pPr>
            <a:r>
              <a:rPr lang="en-US" dirty="0"/>
              <a:t>Text</a:t>
            </a:r>
          </a:p>
        </p:txBody>
      </p:sp>
      <p:sp>
        <p:nvSpPr>
          <p:cNvPr id="7" name="Rectangle 4">
            <a:extLst>
              <a:ext uri="{FF2B5EF4-FFF2-40B4-BE49-F238E27FC236}">
                <a16:creationId xmlns:a16="http://schemas.microsoft.com/office/drawing/2014/main" id="{4FE2F04D-5B69-4298-8023-726E21DD9E40}"/>
              </a:ext>
            </a:extLst>
          </p:cNvPr>
          <p:cNvSpPr>
            <a:spLocks noChangeArrowheads="1"/>
          </p:cNvSpPr>
          <p:nvPr/>
        </p:nvSpPr>
        <p:spPr bwMode="auto">
          <a:xfrm>
            <a:off x="1822450" y="1376363"/>
            <a:ext cx="4680000" cy="4680000"/>
          </a:xfrm>
          <a:prstGeom prst="rect">
            <a:avLst/>
          </a:prstGeom>
          <a:solidFill>
            <a:schemeClr val="accent2"/>
          </a:solidFill>
          <a:ln w="6350">
            <a:noFill/>
            <a:miter lim="800000"/>
            <a:headEnd/>
            <a:tailEnd/>
          </a:ln>
          <a:effectLst/>
        </p:spPr>
        <p:txBody>
          <a:bodyPr lIns="180000" tIns="180000" rIns="72000" bIns="72000" anchor="t"/>
          <a:lstStyle/>
          <a:p>
            <a:pPr algn="l" eaLnBrk="0" hangingPunct="0">
              <a:lnSpc>
                <a:spcPct val="85000"/>
              </a:lnSpc>
              <a:spcBef>
                <a:spcPts val="100"/>
              </a:spcBef>
              <a:spcAft>
                <a:spcPts val="300"/>
              </a:spcAft>
              <a:buClr>
                <a:schemeClr val="bg1"/>
              </a:buClr>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24475212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234F8-78A5-48CC-8C6D-CFD96F6F85F7}"/>
              </a:ext>
            </a:extLst>
          </p:cNvPr>
          <p:cNvSpPr>
            <a:spLocks noGrp="1"/>
          </p:cNvSpPr>
          <p:nvPr>
            <p:ph type="title"/>
          </p:nvPr>
        </p:nvSpPr>
        <p:spPr/>
        <p:txBody>
          <a:bodyPr/>
          <a:lstStyle/>
          <a:p>
            <a:r>
              <a:rPr lang="en-US" dirty="0"/>
              <a:t>Cross-fertilization 1</a:t>
            </a:r>
          </a:p>
        </p:txBody>
      </p:sp>
      <p:sp>
        <p:nvSpPr>
          <p:cNvPr id="4" name="Freeform: Shape 3">
            <a:hlinkClick r:id="rId3" action="ppaction://hlinksldjump"/>
            <a:extLst>
              <a:ext uri="{FF2B5EF4-FFF2-40B4-BE49-F238E27FC236}">
                <a16:creationId xmlns:a16="http://schemas.microsoft.com/office/drawing/2014/main" id="{E6650121-AC1E-4963-8476-D9007EDFACD6}"/>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4733014-E49F-4625-ADD4-31D6A063ED6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Oval 10">
            <a:extLst>
              <a:ext uri="{FF2B5EF4-FFF2-40B4-BE49-F238E27FC236}">
                <a16:creationId xmlns:a16="http://schemas.microsoft.com/office/drawing/2014/main" id="{5126627D-7178-44DA-B848-55FBBDC4F0CF}"/>
              </a:ext>
            </a:extLst>
          </p:cNvPr>
          <p:cNvSpPr>
            <a:spLocks noChangeArrowheads="1"/>
          </p:cNvSpPr>
          <p:nvPr/>
        </p:nvSpPr>
        <p:spPr bwMode="auto">
          <a:xfrm>
            <a:off x="2294463" y="1533939"/>
            <a:ext cx="4535488" cy="4533900"/>
          </a:xfrm>
          <a:prstGeom prst="ellipse">
            <a:avLst/>
          </a:prstGeom>
          <a:solidFill>
            <a:schemeClr val="accent1">
              <a:lumMod val="20000"/>
              <a:lumOff val="80000"/>
            </a:schemeClr>
          </a:solidFill>
          <a:ln w="6350">
            <a:noFill/>
            <a:round/>
            <a:headEnd/>
            <a:tailEnd/>
          </a:ln>
          <a:effectLst/>
        </p:spPr>
        <p:txBody>
          <a:bodyPr lIns="72000" tIns="72000" rIns="72000" bIns="72000" anchor="ctr"/>
          <a:lstStyle/>
          <a:p>
            <a:pPr marL="179388" indent="-179388" eaLnBrk="0" hangingPunct="0">
              <a:spcBef>
                <a:spcPts val="100"/>
              </a:spcBef>
              <a:spcAft>
                <a:spcPts val="100"/>
              </a:spcAft>
              <a:buFontTx/>
              <a:buChar char="•"/>
            </a:pPr>
            <a:r>
              <a:rPr lang="en-US" dirty="0">
                <a:solidFill>
                  <a:schemeClr val="accent1"/>
                </a:solidFill>
              </a:rPr>
              <a:t>Text</a:t>
            </a:r>
          </a:p>
          <a:p>
            <a:pPr marL="179388" indent="-179388" eaLnBrk="0" hangingPunct="0">
              <a:spcBef>
                <a:spcPts val="100"/>
              </a:spcBef>
              <a:spcAft>
                <a:spcPts val="100"/>
              </a:spcAft>
              <a:buFontTx/>
              <a:buChar char="•"/>
            </a:pPr>
            <a:r>
              <a:rPr lang="en-US" dirty="0">
                <a:solidFill>
                  <a:schemeClr val="accent1"/>
                </a:solidFill>
              </a:rPr>
              <a:t>Text</a:t>
            </a:r>
          </a:p>
          <a:p>
            <a:pPr marL="179388" indent="-179388" eaLnBrk="0" hangingPunct="0">
              <a:spcBef>
                <a:spcPts val="100"/>
              </a:spcBef>
              <a:spcAft>
                <a:spcPts val="100"/>
              </a:spcAft>
              <a:buFontTx/>
              <a:buChar char="•"/>
            </a:pPr>
            <a:r>
              <a:rPr lang="en-US" dirty="0">
                <a:solidFill>
                  <a:schemeClr val="accent1"/>
                </a:solidFill>
              </a:rPr>
              <a:t>Text</a:t>
            </a:r>
          </a:p>
        </p:txBody>
      </p:sp>
      <p:sp>
        <p:nvSpPr>
          <p:cNvPr id="13" name="Oval 11">
            <a:extLst>
              <a:ext uri="{FF2B5EF4-FFF2-40B4-BE49-F238E27FC236}">
                <a16:creationId xmlns:a16="http://schemas.microsoft.com/office/drawing/2014/main" id="{EBDB51FD-A02F-4DB5-96C0-04F546331465}"/>
              </a:ext>
            </a:extLst>
          </p:cNvPr>
          <p:cNvSpPr>
            <a:spLocks noChangeArrowheads="1"/>
          </p:cNvSpPr>
          <p:nvPr/>
        </p:nvSpPr>
        <p:spPr bwMode="auto">
          <a:xfrm>
            <a:off x="5372626" y="1533939"/>
            <a:ext cx="4535487" cy="4533900"/>
          </a:xfrm>
          <a:prstGeom prst="ellipse">
            <a:avLst/>
          </a:prstGeom>
          <a:solidFill>
            <a:schemeClr val="accent2">
              <a:lumMod val="20000"/>
              <a:lumOff val="80000"/>
            </a:schemeClr>
          </a:solidFill>
          <a:ln w="6350">
            <a:noFill/>
            <a:round/>
            <a:headEnd/>
            <a:tailEnd/>
          </a:ln>
          <a:effectLst/>
        </p:spPr>
        <p:txBody>
          <a:bodyPr lIns="1512000" tIns="72000" rIns="72000" bIns="72000" anchor="ctr"/>
          <a:lstStyle/>
          <a:p>
            <a:pPr marL="179388" indent="-179388" algn="l" eaLnBrk="0" hangingPunct="0">
              <a:spcBef>
                <a:spcPts val="100"/>
              </a:spcBef>
              <a:spcAft>
                <a:spcPts val="100"/>
              </a:spcAft>
              <a:buFontTx/>
              <a:buChar char="•"/>
            </a:pPr>
            <a:r>
              <a:rPr lang="en-US" dirty="0">
                <a:solidFill>
                  <a:schemeClr val="accent2"/>
                </a:solidFill>
              </a:rPr>
              <a:t>Text</a:t>
            </a:r>
          </a:p>
          <a:p>
            <a:pPr marL="179388" indent="-179388" algn="l" eaLnBrk="0" hangingPunct="0">
              <a:spcBef>
                <a:spcPts val="100"/>
              </a:spcBef>
              <a:spcAft>
                <a:spcPts val="100"/>
              </a:spcAft>
              <a:buFontTx/>
              <a:buChar char="•"/>
            </a:pPr>
            <a:r>
              <a:rPr lang="en-US" dirty="0">
                <a:solidFill>
                  <a:schemeClr val="accent2"/>
                </a:solidFill>
              </a:rPr>
              <a:t>Text</a:t>
            </a:r>
          </a:p>
          <a:p>
            <a:pPr marL="179388" indent="-179388" algn="l" eaLnBrk="0" hangingPunct="0">
              <a:spcBef>
                <a:spcPts val="100"/>
              </a:spcBef>
              <a:spcAft>
                <a:spcPts val="100"/>
              </a:spcAft>
              <a:buFontTx/>
              <a:buChar char="•"/>
            </a:pPr>
            <a:r>
              <a:rPr lang="en-US" dirty="0">
                <a:solidFill>
                  <a:schemeClr val="accent2"/>
                </a:solidFill>
              </a:rPr>
              <a:t>Text</a:t>
            </a:r>
          </a:p>
        </p:txBody>
      </p:sp>
      <p:grpSp>
        <p:nvGrpSpPr>
          <p:cNvPr id="14" name="Group 13">
            <a:extLst>
              <a:ext uri="{FF2B5EF4-FFF2-40B4-BE49-F238E27FC236}">
                <a16:creationId xmlns:a16="http://schemas.microsoft.com/office/drawing/2014/main" id="{182FF821-CC54-42D7-A550-774D63FE3F54}"/>
              </a:ext>
            </a:extLst>
          </p:cNvPr>
          <p:cNvGrpSpPr/>
          <p:nvPr/>
        </p:nvGrpSpPr>
        <p:grpSpPr>
          <a:xfrm>
            <a:off x="4900439" y="2756263"/>
            <a:ext cx="2401698" cy="2129246"/>
            <a:chOff x="4562207" y="2756263"/>
            <a:chExt cx="3078162" cy="2129246"/>
          </a:xfrm>
        </p:grpSpPr>
        <p:cxnSp>
          <p:nvCxnSpPr>
            <p:cNvPr id="15" name="Straight Arrow Connector 14">
              <a:extLst>
                <a:ext uri="{FF2B5EF4-FFF2-40B4-BE49-F238E27FC236}">
                  <a16:creationId xmlns:a16="http://schemas.microsoft.com/office/drawing/2014/main" id="{3E3ADAFC-C185-48B1-BF45-B881769538DD}"/>
                </a:ext>
              </a:extLst>
            </p:cNvPr>
            <p:cNvCxnSpPr/>
            <p:nvPr/>
          </p:nvCxnSpPr>
          <p:spPr>
            <a:xfrm>
              <a:off x="4562207" y="2756263"/>
              <a:ext cx="3078162" cy="0"/>
            </a:xfrm>
            <a:prstGeom prst="straightConnector1">
              <a:avLst/>
            </a:prstGeom>
            <a:ln w="1905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8EE2AC5-E91C-4125-B98F-D8B921DDB362}"/>
                </a:ext>
              </a:extLst>
            </p:cNvPr>
            <p:cNvCxnSpPr/>
            <p:nvPr/>
          </p:nvCxnSpPr>
          <p:spPr>
            <a:xfrm>
              <a:off x="4562207" y="4885509"/>
              <a:ext cx="3078162" cy="0"/>
            </a:xfrm>
            <a:prstGeom prst="straightConnector1">
              <a:avLst/>
            </a:prstGeom>
            <a:ln w="1905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7" name="Freeform 12">
            <a:extLst>
              <a:ext uri="{FF2B5EF4-FFF2-40B4-BE49-F238E27FC236}">
                <a16:creationId xmlns:a16="http://schemas.microsoft.com/office/drawing/2014/main" id="{E083B7F6-8500-45D7-898B-3E873C431D81}"/>
              </a:ext>
            </a:extLst>
          </p:cNvPr>
          <p:cNvSpPr>
            <a:spLocks/>
          </p:cNvSpPr>
          <p:nvPr/>
        </p:nvSpPr>
        <p:spPr bwMode="auto">
          <a:xfrm>
            <a:off x="5372626" y="2140364"/>
            <a:ext cx="1455737" cy="3332163"/>
          </a:xfrm>
          <a:custGeom>
            <a:avLst/>
            <a:gdLst/>
            <a:ahLst/>
            <a:cxnLst>
              <a:cxn ang="0">
                <a:pos x="384" y="1925"/>
              </a:cxn>
              <a:cxn ang="0">
                <a:pos x="293" y="1824"/>
              </a:cxn>
              <a:cxn ang="0">
                <a:pos x="213" y="1712"/>
              </a:cxn>
              <a:cxn ang="0">
                <a:pos x="146" y="1595"/>
              </a:cxn>
              <a:cxn ang="0">
                <a:pos x="90" y="1469"/>
              </a:cxn>
              <a:cxn ang="0">
                <a:pos x="46" y="1338"/>
              </a:cxn>
              <a:cxn ang="0">
                <a:pos x="17" y="1200"/>
              </a:cxn>
              <a:cxn ang="0">
                <a:pos x="4" y="1094"/>
              </a:cxn>
              <a:cxn ang="0">
                <a:pos x="0" y="1023"/>
              </a:cxn>
              <a:cxn ang="0">
                <a:pos x="0" y="950"/>
              </a:cxn>
              <a:cxn ang="0">
                <a:pos x="4" y="878"/>
              </a:cxn>
              <a:cxn ang="0">
                <a:pos x="17" y="772"/>
              </a:cxn>
              <a:cxn ang="0">
                <a:pos x="46" y="634"/>
              </a:cxn>
              <a:cxn ang="0">
                <a:pos x="90" y="503"/>
              </a:cxn>
              <a:cxn ang="0">
                <a:pos x="146" y="377"/>
              </a:cxn>
              <a:cxn ang="0">
                <a:pos x="213" y="260"/>
              </a:cxn>
              <a:cxn ang="0">
                <a:pos x="293" y="148"/>
              </a:cxn>
              <a:cxn ang="0">
                <a:pos x="384" y="47"/>
              </a:cxn>
              <a:cxn ang="0">
                <a:pos x="479" y="47"/>
              </a:cxn>
              <a:cxn ang="0">
                <a:pos x="570" y="148"/>
              </a:cxn>
              <a:cxn ang="0">
                <a:pos x="650" y="260"/>
              </a:cxn>
              <a:cxn ang="0">
                <a:pos x="717" y="377"/>
              </a:cxn>
              <a:cxn ang="0">
                <a:pos x="773" y="503"/>
              </a:cxn>
              <a:cxn ang="0">
                <a:pos x="817" y="634"/>
              </a:cxn>
              <a:cxn ang="0">
                <a:pos x="846" y="772"/>
              </a:cxn>
              <a:cxn ang="0">
                <a:pos x="859" y="878"/>
              </a:cxn>
              <a:cxn ang="0">
                <a:pos x="863" y="950"/>
              </a:cxn>
              <a:cxn ang="0">
                <a:pos x="863" y="1023"/>
              </a:cxn>
              <a:cxn ang="0">
                <a:pos x="859" y="1094"/>
              </a:cxn>
              <a:cxn ang="0">
                <a:pos x="846" y="1200"/>
              </a:cxn>
              <a:cxn ang="0">
                <a:pos x="817" y="1338"/>
              </a:cxn>
              <a:cxn ang="0">
                <a:pos x="773" y="1469"/>
              </a:cxn>
              <a:cxn ang="0">
                <a:pos x="717" y="1595"/>
              </a:cxn>
              <a:cxn ang="0">
                <a:pos x="650" y="1712"/>
              </a:cxn>
              <a:cxn ang="0">
                <a:pos x="570" y="1824"/>
              </a:cxn>
              <a:cxn ang="0">
                <a:pos x="479" y="1925"/>
              </a:cxn>
            </a:cxnLst>
            <a:rect l="0" t="0" r="r" b="b"/>
            <a:pathLst>
              <a:path w="863" h="1972">
                <a:moveTo>
                  <a:pt x="432" y="1972"/>
                </a:moveTo>
                <a:lnTo>
                  <a:pt x="384" y="1925"/>
                </a:lnTo>
                <a:lnTo>
                  <a:pt x="337" y="1876"/>
                </a:lnTo>
                <a:lnTo>
                  <a:pt x="293" y="1824"/>
                </a:lnTo>
                <a:lnTo>
                  <a:pt x="251" y="1770"/>
                </a:lnTo>
                <a:lnTo>
                  <a:pt x="213" y="1712"/>
                </a:lnTo>
                <a:lnTo>
                  <a:pt x="178" y="1655"/>
                </a:lnTo>
                <a:lnTo>
                  <a:pt x="146" y="1595"/>
                </a:lnTo>
                <a:lnTo>
                  <a:pt x="115" y="1534"/>
                </a:lnTo>
                <a:lnTo>
                  <a:pt x="90" y="1469"/>
                </a:lnTo>
                <a:lnTo>
                  <a:pt x="65" y="1405"/>
                </a:lnTo>
                <a:lnTo>
                  <a:pt x="46" y="1338"/>
                </a:lnTo>
                <a:lnTo>
                  <a:pt x="28" y="1269"/>
                </a:lnTo>
                <a:lnTo>
                  <a:pt x="17" y="1200"/>
                </a:lnTo>
                <a:lnTo>
                  <a:pt x="7" y="1131"/>
                </a:lnTo>
                <a:lnTo>
                  <a:pt x="4" y="1094"/>
                </a:lnTo>
                <a:lnTo>
                  <a:pt x="2" y="1060"/>
                </a:lnTo>
                <a:lnTo>
                  <a:pt x="0" y="1023"/>
                </a:lnTo>
                <a:lnTo>
                  <a:pt x="0" y="987"/>
                </a:lnTo>
                <a:lnTo>
                  <a:pt x="0" y="950"/>
                </a:lnTo>
                <a:lnTo>
                  <a:pt x="2" y="914"/>
                </a:lnTo>
                <a:lnTo>
                  <a:pt x="4" y="878"/>
                </a:lnTo>
                <a:lnTo>
                  <a:pt x="7" y="843"/>
                </a:lnTo>
                <a:lnTo>
                  <a:pt x="17" y="772"/>
                </a:lnTo>
                <a:lnTo>
                  <a:pt x="28" y="703"/>
                </a:lnTo>
                <a:lnTo>
                  <a:pt x="46" y="634"/>
                </a:lnTo>
                <a:lnTo>
                  <a:pt x="65" y="569"/>
                </a:lnTo>
                <a:lnTo>
                  <a:pt x="90" y="503"/>
                </a:lnTo>
                <a:lnTo>
                  <a:pt x="115" y="440"/>
                </a:lnTo>
                <a:lnTo>
                  <a:pt x="146" y="377"/>
                </a:lnTo>
                <a:lnTo>
                  <a:pt x="178" y="317"/>
                </a:lnTo>
                <a:lnTo>
                  <a:pt x="213" y="260"/>
                </a:lnTo>
                <a:lnTo>
                  <a:pt x="251" y="204"/>
                </a:lnTo>
                <a:lnTo>
                  <a:pt x="293" y="148"/>
                </a:lnTo>
                <a:lnTo>
                  <a:pt x="337" y="96"/>
                </a:lnTo>
                <a:lnTo>
                  <a:pt x="384" y="47"/>
                </a:lnTo>
                <a:lnTo>
                  <a:pt x="432" y="0"/>
                </a:lnTo>
                <a:lnTo>
                  <a:pt x="479" y="47"/>
                </a:lnTo>
                <a:lnTo>
                  <a:pt x="526" y="96"/>
                </a:lnTo>
                <a:lnTo>
                  <a:pt x="570" y="148"/>
                </a:lnTo>
                <a:lnTo>
                  <a:pt x="612" y="204"/>
                </a:lnTo>
                <a:lnTo>
                  <a:pt x="650" y="260"/>
                </a:lnTo>
                <a:lnTo>
                  <a:pt x="685" y="317"/>
                </a:lnTo>
                <a:lnTo>
                  <a:pt x="717" y="377"/>
                </a:lnTo>
                <a:lnTo>
                  <a:pt x="748" y="440"/>
                </a:lnTo>
                <a:lnTo>
                  <a:pt x="773" y="503"/>
                </a:lnTo>
                <a:lnTo>
                  <a:pt x="798" y="569"/>
                </a:lnTo>
                <a:lnTo>
                  <a:pt x="817" y="634"/>
                </a:lnTo>
                <a:lnTo>
                  <a:pt x="835" y="703"/>
                </a:lnTo>
                <a:lnTo>
                  <a:pt x="846" y="772"/>
                </a:lnTo>
                <a:lnTo>
                  <a:pt x="856" y="843"/>
                </a:lnTo>
                <a:lnTo>
                  <a:pt x="859" y="878"/>
                </a:lnTo>
                <a:lnTo>
                  <a:pt x="861" y="914"/>
                </a:lnTo>
                <a:lnTo>
                  <a:pt x="863" y="950"/>
                </a:lnTo>
                <a:lnTo>
                  <a:pt x="863" y="987"/>
                </a:lnTo>
                <a:lnTo>
                  <a:pt x="863" y="1023"/>
                </a:lnTo>
                <a:lnTo>
                  <a:pt x="861" y="1060"/>
                </a:lnTo>
                <a:lnTo>
                  <a:pt x="859" y="1094"/>
                </a:lnTo>
                <a:lnTo>
                  <a:pt x="856" y="1131"/>
                </a:lnTo>
                <a:lnTo>
                  <a:pt x="846" y="1200"/>
                </a:lnTo>
                <a:lnTo>
                  <a:pt x="835" y="1269"/>
                </a:lnTo>
                <a:lnTo>
                  <a:pt x="817" y="1338"/>
                </a:lnTo>
                <a:lnTo>
                  <a:pt x="798" y="1405"/>
                </a:lnTo>
                <a:lnTo>
                  <a:pt x="773" y="1469"/>
                </a:lnTo>
                <a:lnTo>
                  <a:pt x="748" y="1534"/>
                </a:lnTo>
                <a:lnTo>
                  <a:pt x="717" y="1595"/>
                </a:lnTo>
                <a:lnTo>
                  <a:pt x="685" y="1655"/>
                </a:lnTo>
                <a:lnTo>
                  <a:pt x="650" y="1712"/>
                </a:lnTo>
                <a:lnTo>
                  <a:pt x="612" y="1770"/>
                </a:lnTo>
                <a:lnTo>
                  <a:pt x="570" y="1824"/>
                </a:lnTo>
                <a:lnTo>
                  <a:pt x="526" y="1876"/>
                </a:lnTo>
                <a:lnTo>
                  <a:pt x="479" y="1925"/>
                </a:lnTo>
                <a:lnTo>
                  <a:pt x="432" y="1972"/>
                </a:lnTo>
              </a:path>
            </a:pathLst>
          </a:custGeom>
          <a:solidFill>
            <a:schemeClr val="accent3"/>
          </a:solidFill>
          <a:ln w="6350" cmpd="sng">
            <a:noFill/>
            <a:prstDash val="solid"/>
            <a:round/>
            <a:headEnd/>
            <a:tailEnd/>
          </a:ln>
        </p:spPr>
        <p:txBody>
          <a:bodyPr lIns="45720" rIns="45720" anchor="ctr" anchorCtr="1"/>
          <a:lstStyle/>
          <a:p>
            <a:endParaRPr lang="en-US"/>
          </a:p>
        </p:txBody>
      </p:sp>
      <p:sp>
        <p:nvSpPr>
          <p:cNvPr id="18" name="Rectangle 13">
            <a:extLst>
              <a:ext uri="{FF2B5EF4-FFF2-40B4-BE49-F238E27FC236}">
                <a16:creationId xmlns:a16="http://schemas.microsoft.com/office/drawing/2014/main" id="{C5EC0470-C47F-446E-B0CC-D4EC2BC5988A}"/>
              </a:ext>
            </a:extLst>
          </p:cNvPr>
          <p:cNvSpPr>
            <a:spLocks noChangeArrowheads="1"/>
          </p:cNvSpPr>
          <p:nvPr/>
        </p:nvSpPr>
        <p:spPr bwMode="auto">
          <a:xfrm>
            <a:off x="5589596" y="3365299"/>
            <a:ext cx="1020210" cy="882293"/>
          </a:xfrm>
          <a:prstGeom prst="rect">
            <a:avLst/>
          </a:prstGeom>
          <a:noFill/>
          <a:ln w="6350">
            <a:noFill/>
            <a:miter lim="800000"/>
            <a:headEnd/>
            <a:tailEnd/>
          </a:ln>
          <a:effectLst/>
        </p:spPr>
        <p:txBody>
          <a:bodyPr wrap="square" lIns="0" tIns="0" rIns="0" bIns="0" anchor="ctr" anchorCtr="1">
            <a:spAutoFit/>
          </a:bodyPr>
          <a:lstStyle/>
          <a:p>
            <a:pPr marL="179388" indent="-179388" eaLnBrk="0" hangingPunct="0">
              <a:spcBef>
                <a:spcPts val="100"/>
              </a:spcBef>
              <a:spcAft>
                <a:spcPts val="100"/>
              </a:spcAft>
              <a:buFontTx/>
              <a:buChar char="•"/>
            </a:pPr>
            <a:r>
              <a:rPr lang="en-US" dirty="0">
                <a:solidFill>
                  <a:schemeClr val="bg1"/>
                </a:solidFill>
              </a:rPr>
              <a:t>Text</a:t>
            </a:r>
          </a:p>
          <a:p>
            <a:pPr marL="179388" indent="-179388" eaLnBrk="0" hangingPunct="0">
              <a:spcBef>
                <a:spcPts val="100"/>
              </a:spcBef>
              <a:spcAft>
                <a:spcPts val="100"/>
              </a:spcAft>
              <a:buFontTx/>
              <a:buChar char="•"/>
            </a:pPr>
            <a:r>
              <a:rPr lang="en-US" dirty="0">
                <a:solidFill>
                  <a:schemeClr val="bg1"/>
                </a:solidFill>
              </a:rPr>
              <a:t>Text</a:t>
            </a:r>
          </a:p>
          <a:p>
            <a:pPr marL="179388" indent="-179388" eaLnBrk="0" hangingPunct="0">
              <a:spcBef>
                <a:spcPts val="100"/>
              </a:spcBef>
              <a:spcAft>
                <a:spcPts val="100"/>
              </a:spcAft>
              <a:buFontTx/>
              <a:buChar char="•"/>
            </a:pPr>
            <a:r>
              <a:rPr lang="en-US" dirty="0">
                <a:solidFill>
                  <a:schemeClr val="bg1"/>
                </a:solidFill>
              </a:rPr>
              <a:t>Text</a:t>
            </a:r>
            <a:endParaRPr lang="en-US" b="1" dirty="0">
              <a:solidFill>
                <a:schemeClr val="bg1"/>
              </a:solidFill>
            </a:endParaRPr>
          </a:p>
        </p:txBody>
      </p:sp>
    </p:spTree>
    <p:extLst>
      <p:ext uri="{BB962C8B-B14F-4D97-AF65-F5344CB8AC3E}">
        <p14:creationId xmlns:p14="http://schemas.microsoft.com/office/powerpoint/2010/main" val="39982799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42D42-FF16-4076-9E9A-9DF26F8F39F1}"/>
              </a:ext>
            </a:extLst>
          </p:cNvPr>
          <p:cNvSpPr>
            <a:spLocks noGrp="1"/>
          </p:cNvSpPr>
          <p:nvPr>
            <p:ph type="title"/>
          </p:nvPr>
        </p:nvSpPr>
        <p:spPr/>
        <p:txBody>
          <a:bodyPr/>
          <a:lstStyle/>
          <a:p>
            <a:r>
              <a:rPr lang="en-US" dirty="0"/>
              <a:t>Cross-fertilization 2</a:t>
            </a:r>
          </a:p>
        </p:txBody>
      </p:sp>
      <p:sp>
        <p:nvSpPr>
          <p:cNvPr id="4" name="Freeform: Shape 3">
            <a:hlinkClick r:id="rId5" action="ppaction://hlinksldjump"/>
            <a:extLst>
              <a:ext uri="{FF2B5EF4-FFF2-40B4-BE49-F238E27FC236}">
                <a16:creationId xmlns:a16="http://schemas.microsoft.com/office/drawing/2014/main" id="{413CA566-8C6F-42F1-B5F9-B44063B8B2B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5" action="ppaction://hlinksldjump"/>
            <a:extLst>
              <a:ext uri="{FF2B5EF4-FFF2-40B4-BE49-F238E27FC236}">
                <a16:creationId xmlns:a16="http://schemas.microsoft.com/office/drawing/2014/main" id="{8C7D38D2-8669-4AB1-9353-FF16955FB5E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5">
            <a:extLst>
              <a:ext uri="{FF2B5EF4-FFF2-40B4-BE49-F238E27FC236}">
                <a16:creationId xmlns:a16="http://schemas.microsoft.com/office/drawing/2014/main" id="{FEDAD511-F121-46BC-84CE-EE00102743FE}"/>
              </a:ext>
            </a:extLst>
          </p:cNvPr>
          <p:cNvSpPr>
            <a:spLocks/>
          </p:cNvSpPr>
          <p:nvPr/>
        </p:nvSpPr>
        <p:spPr bwMode="auto">
          <a:xfrm>
            <a:off x="2042377" y="1639888"/>
            <a:ext cx="4256088" cy="4416425"/>
          </a:xfrm>
          <a:custGeom>
            <a:avLst/>
            <a:gdLst>
              <a:gd name="T0" fmla="*/ 2681 w 2681"/>
              <a:gd name="T1" fmla="*/ 0 h 2782"/>
              <a:gd name="T2" fmla="*/ 0 w 2681"/>
              <a:gd name="T3" fmla="*/ 0 h 2782"/>
              <a:gd name="T4" fmla="*/ 0 w 2681"/>
              <a:gd name="T5" fmla="*/ 2782 h 2782"/>
              <a:gd name="T6" fmla="*/ 2174 w 2681"/>
              <a:gd name="T7" fmla="*/ 2782 h 2782"/>
              <a:gd name="T8" fmla="*/ 2681 w 2681"/>
              <a:gd name="T9" fmla="*/ 0 h 2782"/>
            </a:gdLst>
            <a:ahLst/>
            <a:cxnLst>
              <a:cxn ang="0">
                <a:pos x="T0" y="T1"/>
              </a:cxn>
              <a:cxn ang="0">
                <a:pos x="T2" y="T3"/>
              </a:cxn>
              <a:cxn ang="0">
                <a:pos x="T4" y="T5"/>
              </a:cxn>
              <a:cxn ang="0">
                <a:pos x="T6" y="T7"/>
              </a:cxn>
              <a:cxn ang="0">
                <a:pos x="T8" y="T9"/>
              </a:cxn>
            </a:cxnLst>
            <a:rect l="0" t="0" r="r" b="b"/>
            <a:pathLst>
              <a:path w="2681" h="2782">
                <a:moveTo>
                  <a:pt x="2681" y="0"/>
                </a:moveTo>
                <a:lnTo>
                  <a:pt x="0" y="0"/>
                </a:lnTo>
                <a:lnTo>
                  <a:pt x="0" y="2782"/>
                </a:lnTo>
                <a:lnTo>
                  <a:pt x="2174" y="2782"/>
                </a:lnTo>
                <a:lnTo>
                  <a:pt x="268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6">
            <a:extLst>
              <a:ext uri="{FF2B5EF4-FFF2-40B4-BE49-F238E27FC236}">
                <a16:creationId xmlns:a16="http://schemas.microsoft.com/office/drawing/2014/main" id="{6A3E0B10-977E-4F0E-A5CE-5303EAD68BD6}"/>
              </a:ext>
            </a:extLst>
          </p:cNvPr>
          <p:cNvSpPr>
            <a:spLocks/>
          </p:cNvSpPr>
          <p:nvPr/>
        </p:nvSpPr>
        <p:spPr bwMode="auto">
          <a:xfrm>
            <a:off x="5893535" y="1639888"/>
            <a:ext cx="4256088" cy="4416425"/>
          </a:xfrm>
          <a:custGeom>
            <a:avLst/>
            <a:gdLst>
              <a:gd name="T0" fmla="*/ 507 w 2681"/>
              <a:gd name="T1" fmla="*/ 0 h 2782"/>
              <a:gd name="T2" fmla="*/ 0 w 2681"/>
              <a:gd name="T3" fmla="*/ 2782 h 2782"/>
              <a:gd name="T4" fmla="*/ 2681 w 2681"/>
              <a:gd name="T5" fmla="*/ 2782 h 2782"/>
              <a:gd name="T6" fmla="*/ 2681 w 2681"/>
              <a:gd name="T7" fmla="*/ 0 h 2782"/>
              <a:gd name="T8" fmla="*/ 507 w 2681"/>
              <a:gd name="T9" fmla="*/ 0 h 2782"/>
            </a:gdLst>
            <a:ahLst/>
            <a:cxnLst>
              <a:cxn ang="0">
                <a:pos x="T0" y="T1"/>
              </a:cxn>
              <a:cxn ang="0">
                <a:pos x="T2" y="T3"/>
              </a:cxn>
              <a:cxn ang="0">
                <a:pos x="T4" y="T5"/>
              </a:cxn>
              <a:cxn ang="0">
                <a:pos x="T6" y="T7"/>
              </a:cxn>
              <a:cxn ang="0">
                <a:pos x="T8" y="T9"/>
              </a:cxn>
            </a:cxnLst>
            <a:rect l="0" t="0" r="r" b="b"/>
            <a:pathLst>
              <a:path w="2681" h="2782">
                <a:moveTo>
                  <a:pt x="507" y="0"/>
                </a:moveTo>
                <a:lnTo>
                  <a:pt x="0" y="2782"/>
                </a:lnTo>
                <a:lnTo>
                  <a:pt x="2681" y="2782"/>
                </a:lnTo>
                <a:lnTo>
                  <a:pt x="2681" y="0"/>
                </a:lnTo>
                <a:lnTo>
                  <a:pt x="507"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F4A02C23-FE1C-40CD-AFAF-11EC292AE1C3}"/>
              </a:ext>
            </a:extLst>
          </p:cNvPr>
          <p:cNvSpPr>
            <a:spLocks noChangeArrowheads="1"/>
          </p:cNvSpPr>
          <p:nvPr>
            <p:custDataLst>
              <p:tags r:id="rId1"/>
            </p:custDataLst>
          </p:nvPr>
        </p:nvSpPr>
        <p:spPr bwMode="auto">
          <a:xfrm>
            <a:off x="2042377" y="1639888"/>
            <a:ext cx="3335176" cy="4418011"/>
          </a:xfrm>
          <a:prstGeom prst="rect">
            <a:avLst/>
          </a:prstGeom>
          <a:noFill/>
          <a:ln w="6350">
            <a:noFill/>
            <a:miter lim="800000"/>
            <a:headEnd/>
            <a:tailEnd/>
          </a:ln>
          <a:effectLst/>
        </p:spPr>
        <p:txBody>
          <a:bodyPr lIns="180000" tIns="180000" rIns="72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18" name="Rectangle 7">
            <a:extLst>
              <a:ext uri="{FF2B5EF4-FFF2-40B4-BE49-F238E27FC236}">
                <a16:creationId xmlns:a16="http://schemas.microsoft.com/office/drawing/2014/main" id="{FA0725FC-B1F3-4CEC-94B2-7DF409F08280}"/>
              </a:ext>
            </a:extLst>
          </p:cNvPr>
          <p:cNvSpPr>
            <a:spLocks noChangeArrowheads="1"/>
          </p:cNvSpPr>
          <p:nvPr>
            <p:custDataLst>
              <p:tags r:id="rId2"/>
            </p:custDataLst>
          </p:nvPr>
        </p:nvSpPr>
        <p:spPr bwMode="auto">
          <a:xfrm>
            <a:off x="6721748" y="1639888"/>
            <a:ext cx="3427875" cy="4418011"/>
          </a:xfrm>
          <a:prstGeom prst="rect">
            <a:avLst/>
          </a:prstGeom>
          <a:noFill/>
          <a:ln w="6350">
            <a:noFill/>
            <a:miter lim="800000"/>
            <a:headEnd/>
            <a:tailEnd/>
          </a:ln>
          <a:effectLst/>
        </p:spPr>
        <p:txBody>
          <a:bodyPr lIns="180000" tIns="180000" rIns="72000" bIns="72000"/>
          <a:lstStyle/>
          <a:p>
            <a:pPr eaLnBrk="0" hangingPunct="0">
              <a:lnSpc>
                <a:spcPct val="85000"/>
              </a:lnSpc>
              <a:spcBef>
                <a:spcPts val="100"/>
              </a:spcBef>
              <a:spcAft>
                <a:spcPts val="300"/>
              </a:spcAft>
            </a:pPr>
            <a:r>
              <a:rPr lang="en-US" b="1" cap="all"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20" name="Arrow: Right 19">
            <a:extLst>
              <a:ext uri="{FF2B5EF4-FFF2-40B4-BE49-F238E27FC236}">
                <a16:creationId xmlns:a16="http://schemas.microsoft.com/office/drawing/2014/main" id="{FF87FD0C-A517-4D87-82C8-CEF83D52AB3B}"/>
              </a:ext>
            </a:extLst>
          </p:cNvPr>
          <p:cNvSpPr/>
          <p:nvPr/>
        </p:nvSpPr>
        <p:spPr>
          <a:xfrm>
            <a:off x="5685863" y="2920621"/>
            <a:ext cx="1005919" cy="71595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2" name="Arrow: Right 21">
            <a:extLst>
              <a:ext uri="{FF2B5EF4-FFF2-40B4-BE49-F238E27FC236}">
                <a16:creationId xmlns:a16="http://schemas.microsoft.com/office/drawing/2014/main" id="{BE4D8458-B570-4E39-ADEB-0445D098DB6D}"/>
              </a:ext>
            </a:extLst>
          </p:cNvPr>
          <p:cNvSpPr/>
          <p:nvPr/>
        </p:nvSpPr>
        <p:spPr>
          <a:xfrm flipH="1">
            <a:off x="5508751" y="4009618"/>
            <a:ext cx="1005919" cy="715959"/>
          </a:xfrm>
          <a:prstGeom prst="rightArrow">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0006135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B978C-A086-4280-89FD-5A6E07A714C5}"/>
              </a:ext>
            </a:extLst>
          </p:cNvPr>
          <p:cNvSpPr>
            <a:spLocks noGrp="1"/>
          </p:cNvSpPr>
          <p:nvPr>
            <p:ph type="title"/>
          </p:nvPr>
        </p:nvSpPr>
        <p:spPr/>
        <p:txBody>
          <a:bodyPr/>
          <a:lstStyle/>
          <a:p>
            <a:r>
              <a:rPr lang="en-US" dirty="0"/>
              <a:t>Cross-fertilization 3</a:t>
            </a:r>
          </a:p>
        </p:txBody>
      </p:sp>
      <p:sp>
        <p:nvSpPr>
          <p:cNvPr id="4" name="Freeform: Shape 3">
            <a:hlinkClick r:id="rId5" action="ppaction://hlinksldjump"/>
            <a:extLst>
              <a:ext uri="{FF2B5EF4-FFF2-40B4-BE49-F238E27FC236}">
                <a16:creationId xmlns:a16="http://schemas.microsoft.com/office/drawing/2014/main" id="{3FB678FB-BE45-4133-BD78-17F52525EB36}"/>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5" action="ppaction://hlinksldjump"/>
            <a:extLst>
              <a:ext uri="{FF2B5EF4-FFF2-40B4-BE49-F238E27FC236}">
                <a16:creationId xmlns:a16="http://schemas.microsoft.com/office/drawing/2014/main" id="{9733BED8-9A38-41C9-8169-EDE268BAF77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 name="Freeform 5">
            <a:extLst>
              <a:ext uri="{FF2B5EF4-FFF2-40B4-BE49-F238E27FC236}">
                <a16:creationId xmlns:a16="http://schemas.microsoft.com/office/drawing/2014/main" id="{FD42E306-4DB0-4227-B587-15FF4E46D539}"/>
              </a:ext>
            </a:extLst>
          </p:cNvPr>
          <p:cNvSpPr>
            <a:spLocks/>
          </p:cNvSpPr>
          <p:nvPr/>
        </p:nvSpPr>
        <p:spPr bwMode="auto">
          <a:xfrm>
            <a:off x="2042377" y="1639888"/>
            <a:ext cx="4256088" cy="4416425"/>
          </a:xfrm>
          <a:custGeom>
            <a:avLst/>
            <a:gdLst>
              <a:gd name="T0" fmla="*/ 2681 w 2681"/>
              <a:gd name="T1" fmla="*/ 0 h 2782"/>
              <a:gd name="T2" fmla="*/ 0 w 2681"/>
              <a:gd name="T3" fmla="*/ 0 h 2782"/>
              <a:gd name="T4" fmla="*/ 0 w 2681"/>
              <a:gd name="T5" fmla="*/ 2782 h 2782"/>
              <a:gd name="T6" fmla="*/ 2174 w 2681"/>
              <a:gd name="T7" fmla="*/ 2782 h 2782"/>
              <a:gd name="T8" fmla="*/ 2681 w 2681"/>
              <a:gd name="T9" fmla="*/ 0 h 2782"/>
            </a:gdLst>
            <a:ahLst/>
            <a:cxnLst>
              <a:cxn ang="0">
                <a:pos x="T0" y="T1"/>
              </a:cxn>
              <a:cxn ang="0">
                <a:pos x="T2" y="T3"/>
              </a:cxn>
              <a:cxn ang="0">
                <a:pos x="T4" y="T5"/>
              </a:cxn>
              <a:cxn ang="0">
                <a:pos x="T6" y="T7"/>
              </a:cxn>
              <a:cxn ang="0">
                <a:pos x="T8" y="T9"/>
              </a:cxn>
            </a:cxnLst>
            <a:rect l="0" t="0" r="r" b="b"/>
            <a:pathLst>
              <a:path w="2681" h="2782">
                <a:moveTo>
                  <a:pt x="2681" y="0"/>
                </a:moveTo>
                <a:lnTo>
                  <a:pt x="0" y="0"/>
                </a:lnTo>
                <a:lnTo>
                  <a:pt x="0" y="2782"/>
                </a:lnTo>
                <a:lnTo>
                  <a:pt x="2174" y="2782"/>
                </a:lnTo>
                <a:lnTo>
                  <a:pt x="268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6">
            <a:extLst>
              <a:ext uri="{FF2B5EF4-FFF2-40B4-BE49-F238E27FC236}">
                <a16:creationId xmlns:a16="http://schemas.microsoft.com/office/drawing/2014/main" id="{41727CC8-EE3A-4AA7-BA88-02CB783D2723}"/>
              </a:ext>
            </a:extLst>
          </p:cNvPr>
          <p:cNvSpPr>
            <a:spLocks/>
          </p:cNvSpPr>
          <p:nvPr/>
        </p:nvSpPr>
        <p:spPr bwMode="auto">
          <a:xfrm>
            <a:off x="5893535" y="1639888"/>
            <a:ext cx="4256088" cy="4416425"/>
          </a:xfrm>
          <a:custGeom>
            <a:avLst/>
            <a:gdLst>
              <a:gd name="T0" fmla="*/ 507 w 2681"/>
              <a:gd name="T1" fmla="*/ 0 h 2782"/>
              <a:gd name="T2" fmla="*/ 0 w 2681"/>
              <a:gd name="T3" fmla="*/ 2782 h 2782"/>
              <a:gd name="T4" fmla="*/ 2681 w 2681"/>
              <a:gd name="T5" fmla="*/ 2782 h 2782"/>
              <a:gd name="T6" fmla="*/ 2681 w 2681"/>
              <a:gd name="T7" fmla="*/ 0 h 2782"/>
              <a:gd name="T8" fmla="*/ 507 w 2681"/>
              <a:gd name="T9" fmla="*/ 0 h 2782"/>
            </a:gdLst>
            <a:ahLst/>
            <a:cxnLst>
              <a:cxn ang="0">
                <a:pos x="T0" y="T1"/>
              </a:cxn>
              <a:cxn ang="0">
                <a:pos x="T2" y="T3"/>
              </a:cxn>
              <a:cxn ang="0">
                <a:pos x="T4" y="T5"/>
              </a:cxn>
              <a:cxn ang="0">
                <a:pos x="T6" y="T7"/>
              </a:cxn>
              <a:cxn ang="0">
                <a:pos x="T8" y="T9"/>
              </a:cxn>
            </a:cxnLst>
            <a:rect l="0" t="0" r="r" b="b"/>
            <a:pathLst>
              <a:path w="2681" h="2782">
                <a:moveTo>
                  <a:pt x="507" y="0"/>
                </a:moveTo>
                <a:lnTo>
                  <a:pt x="0" y="2782"/>
                </a:lnTo>
                <a:lnTo>
                  <a:pt x="2681" y="2782"/>
                </a:lnTo>
                <a:lnTo>
                  <a:pt x="2681" y="0"/>
                </a:lnTo>
                <a:lnTo>
                  <a:pt x="507" y="0"/>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 name="Rectangle 6">
            <a:extLst>
              <a:ext uri="{FF2B5EF4-FFF2-40B4-BE49-F238E27FC236}">
                <a16:creationId xmlns:a16="http://schemas.microsoft.com/office/drawing/2014/main" id="{BE41E700-9E71-4C80-95F9-4A823576BB17}"/>
              </a:ext>
            </a:extLst>
          </p:cNvPr>
          <p:cNvSpPr>
            <a:spLocks noChangeArrowheads="1"/>
          </p:cNvSpPr>
          <p:nvPr>
            <p:custDataLst>
              <p:tags r:id="rId1"/>
            </p:custDataLst>
          </p:nvPr>
        </p:nvSpPr>
        <p:spPr bwMode="auto">
          <a:xfrm>
            <a:off x="2042377" y="1639888"/>
            <a:ext cx="3335176" cy="4418011"/>
          </a:xfrm>
          <a:prstGeom prst="rect">
            <a:avLst/>
          </a:prstGeom>
          <a:noFill/>
          <a:ln w="6350">
            <a:noFill/>
            <a:miter lim="800000"/>
            <a:headEnd/>
            <a:tailEnd/>
          </a:ln>
          <a:effectLst/>
        </p:spPr>
        <p:txBody>
          <a:bodyPr lIns="180000" tIns="180000" rIns="72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8" name="Rectangle 7">
            <a:extLst>
              <a:ext uri="{FF2B5EF4-FFF2-40B4-BE49-F238E27FC236}">
                <a16:creationId xmlns:a16="http://schemas.microsoft.com/office/drawing/2014/main" id="{E39A8DB3-D140-49FC-A0D7-06F8520E4F43}"/>
              </a:ext>
            </a:extLst>
          </p:cNvPr>
          <p:cNvSpPr>
            <a:spLocks noChangeArrowheads="1"/>
          </p:cNvSpPr>
          <p:nvPr>
            <p:custDataLst>
              <p:tags r:id="rId2"/>
            </p:custDataLst>
          </p:nvPr>
        </p:nvSpPr>
        <p:spPr bwMode="auto">
          <a:xfrm>
            <a:off x="6721748" y="1639888"/>
            <a:ext cx="3427875" cy="4418011"/>
          </a:xfrm>
          <a:prstGeom prst="rect">
            <a:avLst/>
          </a:prstGeom>
          <a:noFill/>
          <a:ln w="6350">
            <a:noFill/>
            <a:miter lim="800000"/>
            <a:headEnd/>
            <a:tailEnd/>
          </a:ln>
          <a:effectLst/>
        </p:spPr>
        <p:txBody>
          <a:bodyPr lIns="180000" tIns="180000" rIns="72000" bIns="72000"/>
          <a:lstStyle/>
          <a:p>
            <a:pPr eaLnBrk="0" hangingPunct="0">
              <a:lnSpc>
                <a:spcPct val="85000"/>
              </a:lnSpc>
              <a:spcBef>
                <a:spcPts val="100"/>
              </a:spcBef>
              <a:spcAft>
                <a:spcPts val="300"/>
              </a:spcAft>
            </a:pPr>
            <a:r>
              <a:rPr lang="en-US" b="1" cap="all"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9" name="Arrow: Right 8">
            <a:extLst>
              <a:ext uri="{FF2B5EF4-FFF2-40B4-BE49-F238E27FC236}">
                <a16:creationId xmlns:a16="http://schemas.microsoft.com/office/drawing/2014/main" id="{39132984-AED0-43D4-B789-15DFEAE5AA68}"/>
              </a:ext>
            </a:extLst>
          </p:cNvPr>
          <p:cNvSpPr/>
          <p:nvPr/>
        </p:nvSpPr>
        <p:spPr>
          <a:xfrm>
            <a:off x="5685863" y="2920621"/>
            <a:ext cx="1005919" cy="71595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 name="Arrow: Right 9">
            <a:extLst>
              <a:ext uri="{FF2B5EF4-FFF2-40B4-BE49-F238E27FC236}">
                <a16:creationId xmlns:a16="http://schemas.microsoft.com/office/drawing/2014/main" id="{3F26F5A0-018E-4102-9CE5-B83A5A2D6F3A}"/>
              </a:ext>
            </a:extLst>
          </p:cNvPr>
          <p:cNvSpPr/>
          <p:nvPr/>
        </p:nvSpPr>
        <p:spPr>
          <a:xfrm flipH="1">
            <a:off x="5508751" y="4009618"/>
            <a:ext cx="1005919" cy="715959"/>
          </a:xfrm>
          <a:prstGeom prst="rightArrow">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3781191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A072D-B236-4AA3-800D-5CE49E1D53E5}"/>
              </a:ext>
            </a:extLst>
          </p:cNvPr>
          <p:cNvSpPr>
            <a:spLocks noGrp="1"/>
          </p:cNvSpPr>
          <p:nvPr>
            <p:ph type="title"/>
          </p:nvPr>
        </p:nvSpPr>
        <p:spPr/>
        <p:txBody>
          <a:bodyPr/>
          <a:lstStyle/>
          <a:p>
            <a:r>
              <a:rPr lang="en-US" dirty="0"/>
              <a:t>Cross-fertilization 4</a:t>
            </a:r>
          </a:p>
        </p:txBody>
      </p:sp>
      <p:sp>
        <p:nvSpPr>
          <p:cNvPr id="4" name="Freeform: Shape 3">
            <a:hlinkClick r:id="rId5" action="ppaction://hlinksldjump"/>
            <a:extLst>
              <a:ext uri="{FF2B5EF4-FFF2-40B4-BE49-F238E27FC236}">
                <a16:creationId xmlns:a16="http://schemas.microsoft.com/office/drawing/2014/main" id="{87655E39-B9CF-4472-8B65-060FF0CC321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5" action="ppaction://hlinksldjump"/>
            <a:extLst>
              <a:ext uri="{FF2B5EF4-FFF2-40B4-BE49-F238E27FC236}">
                <a16:creationId xmlns:a16="http://schemas.microsoft.com/office/drawing/2014/main" id="{0A3FB7EF-106F-4046-956B-AC3A8848B4D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 name="Freeform 5">
            <a:extLst>
              <a:ext uri="{FF2B5EF4-FFF2-40B4-BE49-F238E27FC236}">
                <a16:creationId xmlns:a16="http://schemas.microsoft.com/office/drawing/2014/main" id="{4F821499-5C61-4600-93C6-D09A94416EA0}"/>
              </a:ext>
            </a:extLst>
          </p:cNvPr>
          <p:cNvSpPr>
            <a:spLocks/>
          </p:cNvSpPr>
          <p:nvPr/>
        </p:nvSpPr>
        <p:spPr bwMode="auto">
          <a:xfrm>
            <a:off x="1822449" y="1520384"/>
            <a:ext cx="8550275" cy="2233613"/>
          </a:xfrm>
          <a:custGeom>
            <a:avLst/>
            <a:gdLst>
              <a:gd name="T0" fmla="*/ 5556 w 5556"/>
              <a:gd name="T1" fmla="*/ 1407 h 1407"/>
              <a:gd name="T2" fmla="*/ 5556 w 5556"/>
              <a:gd name="T3" fmla="*/ 0 h 1407"/>
              <a:gd name="T4" fmla="*/ 0 w 5556"/>
              <a:gd name="T5" fmla="*/ 0 h 1407"/>
              <a:gd name="T6" fmla="*/ 0 w 5556"/>
              <a:gd name="T7" fmla="*/ 1207 h 1407"/>
              <a:gd name="T8" fmla="*/ 5556 w 5556"/>
              <a:gd name="T9" fmla="*/ 1407 h 1407"/>
            </a:gdLst>
            <a:ahLst/>
            <a:cxnLst>
              <a:cxn ang="0">
                <a:pos x="T0" y="T1"/>
              </a:cxn>
              <a:cxn ang="0">
                <a:pos x="T2" y="T3"/>
              </a:cxn>
              <a:cxn ang="0">
                <a:pos x="T4" y="T5"/>
              </a:cxn>
              <a:cxn ang="0">
                <a:pos x="T6" y="T7"/>
              </a:cxn>
              <a:cxn ang="0">
                <a:pos x="T8" y="T9"/>
              </a:cxn>
            </a:cxnLst>
            <a:rect l="0" t="0" r="r" b="b"/>
            <a:pathLst>
              <a:path w="5556" h="1407">
                <a:moveTo>
                  <a:pt x="5556" y="1407"/>
                </a:moveTo>
                <a:lnTo>
                  <a:pt x="5556" y="0"/>
                </a:lnTo>
                <a:lnTo>
                  <a:pt x="0" y="0"/>
                </a:lnTo>
                <a:lnTo>
                  <a:pt x="0" y="1207"/>
                </a:lnTo>
                <a:lnTo>
                  <a:pt x="5556" y="140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6">
            <a:extLst>
              <a:ext uri="{FF2B5EF4-FFF2-40B4-BE49-F238E27FC236}">
                <a16:creationId xmlns:a16="http://schemas.microsoft.com/office/drawing/2014/main" id="{A6B7B75F-CF7C-4115-BCAF-9D64C1BD0ABC}"/>
              </a:ext>
            </a:extLst>
          </p:cNvPr>
          <p:cNvSpPr>
            <a:spLocks/>
          </p:cNvSpPr>
          <p:nvPr/>
        </p:nvSpPr>
        <p:spPr bwMode="auto">
          <a:xfrm>
            <a:off x="1822449" y="3827462"/>
            <a:ext cx="8550275" cy="2230438"/>
          </a:xfrm>
          <a:custGeom>
            <a:avLst/>
            <a:gdLst>
              <a:gd name="T0" fmla="*/ 0 w 5556"/>
              <a:gd name="T1" fmla="*/ 0 h 1405"/>
              <a:gd name="T2" fmla="*/ 0 w 5556"/>
              <a:gd name="T3" fmla="*/ 1405 h 1405"/>
              <a:gd name="T4" fmla="*/ 5556 w 5556"/>
              <a:gd name="T5" fmla="*/ 1405 h 1405"/>
              <a:gd name="T6" fmla="*/ 5556 w 5556"/>
              <a:gd name="T7" fmla="*/ 200 h 1405"/>
              <a:gd name="T8" fmla="*/ 0 w 5556"/>
              <a:gd name="T9" fmla="*/ 0 h 1405"/>
            </a:gdLst>
            <a:ahLst/>
            <a:cxnLst>
              <a:cxn ang="0">
                <a:pos x="T0" y="T1"/>
              </a:cxn>
              <a:cxn ang="0">
                <a:pos x="T2" y="T3"/>
              </a:cxn>
              <a:cxn ang="0">
                <a:pos x="T4" y="T5"/>
              </a:cxn>
              <a:cxn ang="0">
                <a:pos x="T6" y="T7"/>
              </a:cxn>
              <a:cxn ang="0">
                <a:pos x="T8" y="T9"/>
              </a:cxn>
            </a:cxnLst>
            <a:rect l="0" t="0" r="r" b="b"/>
            <a:pathLst>
              <a:path w="5556" h="1405">
                <a:moveTo>
                  <a:pt x="0" y="0"/>
                </a:moveTo>
                <a:lnTo>
                  <a:pt x="0" y="1405"/>
                </a:lnTo>
                <a:lnTo>
                  <a:pt x="5556" y="1405"/>
                </a:lnTo>
                <a:lnTo>
                  <a:pt x="5556" y="200"/>
                </a:lnTo>
                <a:lnTo>
                  <a:pt x="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Rectangle 6">
            <a:extLst>
              <a:ext uri="{FF2B5EF4-FFF2-40B4-BE49-F238E27FC236}">
                <a16:creationId xmlns:a16="http://schemas.microsoft.com/office/drawing/2014/main" id="{B51DEE67-BAFF-4A23-95CC-2C360B85E5D0}"/>
              </a:ext>
            </a:extLst>
          </p:cNvPr>
          <p:cNvSpPr>
            <a:spLocks noChangeArrowheads="1"/>
          </p:cNvSpPr>
          <p:nvPr>
            <p:custDataLst>
              <p:tags r:id="rId1"/>
            </p:custDataLst>
          </p:nvPr>
        </p:nvSpPr>
        <p:spPr bwMode="auto">
          <a:xfrm>
            <a:off x="1822448" y="1520384"/>
            <a:ext cx="8550275" cy="1874457"/>
          </a:xfrm>
          <a:prstGeom prst="rect">
            <a:avLst/>
          </a:prstGeom>
          <a:noFill/>
          <a:ln w="6350">
            <a:noFill/>
            <a:miter lim="800000"/>
            <a:headEnd/>
            <a:tailEnd/>
          </a:ln>
          <a:effectLst/>
        </p:spPr>
        <p:txBody>
          <a:bodyPr lIns="180000" tIns="180000" rIns="144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8" name="Rectangle 7">
            <a:extLst>
              <a:ext uri="{FF2B5EF4-FFF2-40B4-BE49-F238E27FC236}">
                <a16:creationId xmlns:a16="http://schemas.microsoft.com/office/drawing/2014/main" id="{811E50D0-F729-4167-9309-0B710E6C4A1B}"/>
              </a:ext>
            </a:extLst>
          </p:cNvPr>
          <p:cNvSpPr>
            <a:spLocks noChangeArrowheads="1"/>
          </p:cNvSpPr>
          <p:nvPr>
            <p:custDataLst>
              <p:tags r:id="rId2"/>
            </p:custDataLst>
          </p:nvPr>
        </p:nvSpPr>
        <p:spPr bwMode="auto">
          <a:xfrm>
            <a:off x="1822449" y="4166166"/>
            <a:ext cx="8550274" cy="1751158"/>
          </a:xfrm>
          <a:prstGeom prst="rect">
            <a:avLst/>
          </a:prstGeom>
          <a:noFill/>
          <a:ln w="6350">
            <a:noFill/>
            <a:miter lim="800000"/>
            <a:headEnd/>
            <a:tailEnd/>
          </a:ln>
          <a:effectLst/>
        </p:spPr>
        <p:txBody>
          <a:bodyPr lIns="180000" tIns="180000" rIns="144000" bIns="72000"/>
          <a:lstStyle/>
          <a:p>
            <a:pPr eaLnBrk="0" hangingPunct="0">
              <a:lnSpc>
                <a:spcPct val="85000"/>
              </a:lnSpc>
              <a:spcBef>
                <a:spcPts val="100"/>
              </a:spcBef>
              <a:spcAft>
                <a:spcPts val="300"/>
              </a:spcAft>
            </a:pPr>
            <a:r>
              <a:rPr lang="en-US" b="1" cap="all"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9" name="Arrow: Right 8">
            <a:extLst>
              <a:ext uri="{FF2B5EF4-FFF2-40B4-BE49-F238E27FC236}">
                <a16:creationId xmlns:a16="http://schemas.microsoft.com/office/drawing/2014/main" id="{28C14490-D579-4D48-9627-57B8E71C93AF}"/>
              </a:ext>
            </a:extLst>
          </p:cNvPr>
          <p:cNvSpPr/>
          <p:nvPr/>
        </p:nvSpPr>
        <p:spPr>
          <a:xfrm rot="16200000" flipH="1">
            <a:off x="5050128" y="3469596"/>
            <a:ext cx="1005919" cy="71595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 name="Arrow: Right 9">
            <a:extLst>
              <a:ext uri="{FF2B5EF4-FFF2-40B4-BE49-F238E27FC236}">
                <a16:creationId xmlns:a16="http://schemas.microsoft.com/office/drawing/2014/main" id="{93B9517C-4F74-4EBC-9253-ACA582AD17D7}"/>
              </a:ext>
            </a:extLst>
          </p:cNvPr>
          <p:cNvSpPr/>
          <p:nvPr/>
        </p:nvSpPr>
        <p:spPr>
          <a:xfrm rot="16200000">
            <a:off x="6139125" y="3418604"/>
            <a:ext cx="1005919" cy="715959"/>
          </a:xfrm>
          <a:prstGeom prst="rightArrow">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7697267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A0BBA-C6D2-4269-BA7F-6075EC0660C1}"/>
              </a:ext>
            </a:extLst>
          </p:cNvPr>
          <p:cNvSpPr>
            <a:spLocks noGrp="1"/>
          </p:cNvSpPr>
          <p:nvPr>
            <p:ph type="title"/>
          </p:nvPr>
        </p:nvSpPr>
        <p:spPr/>
        <p:txBody>
          <a:bodyPr/>
          <a:lstStyle/>
          <a:p>
            <a:r>
              <a:rPr lang="en-US" dirty="0"/>
              <a:t>Cross-fertilization 5</a:t>
            </a:r>
          </a:p>
        </p:txBody>
      </p:sp>
      <p:sp>
        <p:nvSpPr>
          <p:cNvPr id="10" name="Freeform: Shape 9">
            <a:hlinkClick r:id="rId5" action="ppaction://hlinksldjump"/>
            <a:extLst>
              <a:ext uri="{FF2B5EF4-FFF2-40B4-BE49-F238E27FC236}">
                <a16:creationId xmlns:a16="http://schemas.microsoft.com/office/drawing/2014/main" id="{39E10127-3695-4649-9154-50919E11D00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Rectangle 8">
            <a:hlinkClick r:id="rId5" action="ppaction://hlinksldjump"/>
            <a:extLst>
              <a:ext uri="{FF2B5EF4-FFF2-40B4-BE49-F238E27FC236}">
                <a16:creationId xmlns:a16="http://schemas.microsoft.com/office/drawing/2014/main" id="{32C1214D-0262-4EC2-8768-DA722E85CD4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5">
            <a:extLst>
              <a:ext uri="{FF2B5EF4-FFF2-40B4-BE49-F238E27FC236}">
                <a16:creationId xmlns:a16="http://schemas.microsoft.com/office/drawing/2014/main" id="{7B23A6F4-551F-4F23-837C-070EA7805FF8}"/>
              </a:ext>
            </a:extLst>
          </p:cNvPr>
          <p:cNvSpPr>
            <a:spLocks/>
          </p:cNvSpPr>
          <p:nvPr/>
        </p:nvSpPr>
        <p:spPr bwMode="auto">
          <a:xfrm>
            <a:off x="1822449" y="1520384"/>
            <a:ext cx="8550275" cy="2233613"/>
          </a:xfrm>
          <a:custGeom>
            <a:avLst/>
            <a:gdLst>
              <a:gd name="T0" fmla="*/ 5556 w 5556"/>
              <a:gd name="T1" fmla="*/ 1407 h 1407"/>
              <a:gd name="T2" fmla="*/ 5556 w 5556"/>
              <a:gd name="T3" fmla="*/ 0 h 1407"/>
              <a:gd name="T4" fmla="*/ 0 w 5556"/>
              <a:gd name="T5" fmla="*/ 0 h 1407"/>
              <a:gd name="T6" fmla="*/ 0 w 5556"/>
              <a:gd name="T7" fmla="*/ 1207 h 1407"/>
              <a:gd name="T8" fmla="*/ 5556 w 5556"/>
              <a:gd name="T9" fmla="*/ 1407 h 1407"/>
            </a:gdLst>
            <a:ahLst/>
            <a:cxnLst>
              <a:cxn ang="0">
                <a:pos x="T0" y="T1"/>
              </a:cxn>
              <a:cxn ang="0">
                <a:pos x="T2" y="T3"/>
              </a:cxn>
              <a:cxn ang="0">
                <a:pos x="T4" y="T5"/>
              </a:cxn>
              <a:cxn ang="0">
                <a:pos x="T6" y="T7"/>
              </a:cxn>
              <a:cxn ang="0">
                <a:pos x="T8" y="T9"/>
              </a:cxn>
            </a:cxnLst>
            <a:rect l="0" t="0" r="r" b="b"/>
            <a:pathLst>
              <a:path w="5556" h="1407">
                <a:moveTo>
                  <a:pt x="5556" y="1407"/>
                </a:moveTo>
                <a:lnTo>
                  <a:pt x="5556" y="0"/>
                </a:lnTo>
                <a:lnTo>
                  <a:pt x="0" y="0"/>
                </a:lnTo>
                <a:lnTo>
                  <a:pt x="0" y="1207"/>
                </a:lnTo>
                <a:lnTo>
                  <a:pt x="5556" y="140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6">
            <a:extLst>
              <a:ext uri="{FF2B5EF4-FFF2-40B4-BE49-F238E27FC236}">
                <a16:creationId xmlns:a16="http://schemas.microsoft.com/office/drawing/2014/main" id="{D466D0FA-BD4A-478D-BEB0-742BE06A7908}"/>
              </a:ext>
            </a:extLst>
          </p:cNvPr>
          <p:cNvSpPr>
            <a:spLocks/>
          </p:cNvSpPr>
          <p:nvPr/>
        </p:nvSpPr>
        <p:spPr bwMode="auto">
          <a:xfrm>
            <a:off x="1822449" y="3827462"/>
            <a:ext cx="8550275" cy="2230438"/>
          </a:xfrm>
          <a:custGeom>
            <a:avLst/>
            <a:gdLst>
              <a:gd name="T0" fmla="*/ 0 w 5556"/>
              <a:gd name="T1" fmla="*/ 0 h 1405"/>
              <a:gd name="T2" fmla="*/ 0 w 5556"/>
              <a:gd name="T3" fmla="*/ 1405 h 1405"/>
              <a:gd name="T4" fmla="*/ 5556 w 5556"/>
              <a:gd name="T5" fmla="*/ 1405 h 1405"/>
              <a:gd name="T6" fmla="*/ 5556 w 5556"/>
              <a:gd name="T7" fmla="*/ 200 h 1405"/>
              <a:gd name="T8" fmla="*/ 0 w 5556"/>
              <a:gd name="T9" fmla="*/ 0 h 1405"/>
            </a:gdLst>
            <a:ahLst/>
            <a:cxnLst>
              <a:cxn ang="0">
                <a:pos x="T0" y="T1"/>
              </a:cxn>
              <a:cxn ang="0">
                <a:pos x="T2" y="T3"/>
              </a:cxn>
              <a:cxn ang="0">
                <a:pos x="T4" y="T5"/>
              </a:cxn>
              <a:cxn ang="0">
                <a:pos x="T6" y="T7"/>
              </a:cxn>
              <a:cxn ang="0">
                <a:pos x="T8" y="T9"/>
              </a:cxn>
            </a:cxnLst>
            <a:rect l="0" t="0" r="r" b="b"/>
            <a:pathLst>
              <a:path w="5556" h="1405">
                <a:moveTo>
                  <a:pt x="0" y="0"/>
                </a:moveTo>
                <a:lnTo>
                  <a:pt x="0" y="1405"/>
                </a:lnTo>
                <a:lnTo>
                  <a:pt x="5556" y="1405"/>
                </a:lnTo>
                <a:lnTo>
                  <a:pt x="5556" y="200"/>
                </a:lnTo>
                <a:lnTo>
                  <a:pt x="0" y="0"/>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Rectangle 6">
            <a:extLst>
              <a:ext uri="{FF2B5EF4-FFF2-40B4-BE49-F238E27FC236}">
                <a16:creationId xmlns:a16="http://schemas.microsoft.com/office/drawing/2014/main" id="{0366238A-E767-4EDD-B8E1-0B431C0CF87E}"/>
              </a:ext>
            </a:extLst>
          </p:cNvPr>
          <p:cNvSpPr>
            <a:spLocks noChangeArrowheads="1"/>
          </p:cNvSpPr>
          <p:nvPr>
            <p:custDataLst>
              <p:tags r:id="rId1"/>
            </p:custDataLst>
          </p:nvPr>
        </p:nvSpPr>
        <p:spPr bwMode="auto">
          <a:xfrm>
            <a:off x="1822448" y="1520384"/>
            <a:ext cx="8550275" cy="1874457"/>
          </a:xfrm>
          <a:prstGeom prst="rect">
            <a:avLst/>
          </a:prstGeom>
          <a:noFill/>
          <a:ln w="6350">
            <a:noFill/>
            <a:miter lim="800000"/>
            <a:headEnd/>
            <a:tailEnd/>
          </a:ln>
          <a:effectLst/>
        </p:spPr>
        <p:txBody>
          <a:bodyPr lIns="180000" tIns="180000" rIns="144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18" name="Rectangle 7">
            <a:extLst>
              <a:ext uri="{FF2B5EF4-FFF2-40B4-BE49-F238E27FC236}">
                <a16:creationId xmlns:a16="http://schemas.microsoft.com/office/drawing/2014/main" id="{88F5CEFA-C0C4-478A-A9AB-96B24FFE6F76}"/>
              </a:ext>
            </a:extLst>
          </p:cNvPr>
          <p:cNvSpPr>
            <a:spLocks noChangeArrowheads="1"/>
          </p:cNvSpPr>
          <p:nvPr>
            <p:custDataLst>
              <p:tags r:id="rId2"/>
            </p:custDataLst>
          </p:nvPr>
        </p:nvSpPr>
        <p:spPr bwMode="auto">
          <a:xfrm>
            <a:off x="1822449" y="4166166"/>
            <a:ext cx="8550274" cy="1751158"/>
          </a:xfrm>
          <a:prstGeom prst="rect">
            <a:avLst/>
          </a:prstGeom>
          <a:noFill/>
          <a:ln w="6350">
            <a:noFill/>
            <a:miter lim="800000"/>
            <a:headEnd/>
            <a:tailEnd/>
          </a:ln>
          <a:effectLst/>
        </p:spPr>
        <p:txBody>
          <a:bodyPr lIns="180000" tIns="180000" rIns="144000" bIns="72000"/>
          <a:lstStyle/>
          <a:p>
            <a:pPr eaLnBrk="0" hangingPunct="0">
              <a:lnSpc>
                <a:spcPct val="85000"/>
              </a:lnSpc>
              <a:spcBef>
                <a:spcPts val="100"/>
              </a:spcBef>
              <a:spcAft>
                <a:spcPts val="300"/>
              </a:spcAft>
            </a:pPr>
            <a:r>
              <a:rPr lang="en-US" b="1" cap="all"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20" name="Arrow: Right 19">
            <a:extLst>
              <a:ext uri="{FF2B5EF4-FFF2-40B4-BE49-F238E27FC236}">
                <a16:creationId xmlns:a16="http://schemas.microsoft.com/office/drawing/2014/main" id="{131C3DF5-1CE2-4E86-B05D-7A1562398158}"/>
              </a:ext>
            </a:extLst>
          </p:cNvPr>
          <p:cNvSpPr/>
          <p:nvPr/>
        </p:nvSpPr>
        <p:spPr>
          <a:xfrm rot="16200000" flipH="1">
            <a:off x="5050128" y="3469596"/>
            <a:ext cx="1005919" cy="715959"/>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2" name="Arrow: Right 21">
            <a:extLst>
              <a:ext uri="{FF2B5EF4-FFF2-40B4-BE49-F238E27FC236}">
                <a16:creationId xmlns:a16="http://schemas.microsoft.com/office/drawing/2014/main" id="{44921417-3E02-4FA7-B34B-40B144FA042F}"/>
              </a:ext>
            </a:extLst>
          </p:cNvPr>
          <p:cNvSpPr/>
          <p:nvPr/>
        </p:nvSpPr>
        <p:spPr>
          <a:xfrm rot="16200000">
            <a:off x="6139125" y="3418604"/>
            <a:ext cx="1005919" cy="715959"/>
          </a:xfrm>
          <a:prstGeom prst="rightArrow">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98790509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Cross-fertilization 6</a:t>
            </a:r>
          </a:p>
        </p:txBody>
      </p:sp>
      <p:sp>
        <p:nvSpPr>
          <p:cNvPr id="3" name="Rectangle 2">
            <a:extLst>
              <a:ext uri="{FF2B5EF4-FFF2-40B4-BE49-F238E27FC236}">
                <a16:creationId xmlns:a16="http://schemas.microsoft.com/office/drawing/2014/main" id="{18C60943-FF25-42A9-8080-5F10CEC3A451}"/>
              </a:ext>
            </a:extLst>
          </p:cNvPr>
          <p:cNvSpPr/>
          <p:nvPr/>
        </p:nvSpPr>
        <p:spPr>
          <a:xfrm>
            <a:off x="1468437" y="1763714"/>
            <a:ext cx="3906525" cy="4294186"/>
          </a:xfrm>
          <a:prstGeom prst="rect">
            <a:avLst/>
          </a:prstGeom>
          <a:solidFill>
            <a:srgbClr val="96968C">
              <a:lumMod val="20000"/>
              <a:lumOff val="80000"/>
            </a:srgbClr>
          </a:solidFill>
          <a:ln w="9525" cap="flat" cmpd="sng" algn="ctr">
            <a:noFill/>
            <a:prstDash val="solid"/>
          </a:ln>
          <a:effectLst/>
        </p:spPr>
        <p:txBody>
          <a:bodyPr lIns="180000" tIns="180000" rtlCol="0" anchor="t" anchorCtr="0"/>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4" name="TextBox 3">
            <a:extLst>
              <a:ext uri="{FF2B5EF4-FFF2-40B4-BE49-F238E27FC236}">
                <a16:creationId xmlns:a16="http://schemas.microsoft.com/office/drawing/2014/main" id="{649A01F9-88CF-4DB6-9D07-0BF675A32499}"/>
              </a:ext>
            </a:extLst>
          </p:cNvPr>
          <p:cNvSpPr txBox="1"/>
          <p:nvPr/>
        </p:nvSpPr>
        <p:spPr>
          <a:xfrm>
            <a:off x="1468436" y="1376363"/>
            <a:ext cx="3906525" cy="387350"/>
          </a:xfrm>
          <a:prstGeom prst="rect">
            <a:avLst/>
          </a:prstGeom>
          <a:solidFill>
            <a:schemeClr val="accent1"/>
          </a:solidFill>
          <a:ln w="19050">
            <a:noFill/>
          </a:ln>
        </p:spPr>
        <p:txBody>
          <a:bodyPr vert="horz" wrap="square" lIns="0" tIns="36000" rIns="0" bIns="0"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AU" sz="1800" b="0" i="0" u="none" strike="noStrike" kern="0" cap="all" spc="0" normalizeH="0" baseline="0" noProof="0" dirty="0">
                <a:ln>
                  <a:noFill/>
                </a:ln>
                <a:solidFill>
                  <a:srgbClr val="FFFFFF"/>
                </a:solidFill>
                <a:effectLst/>
                <a:uLnTx/>
                <a:uFillTx/>
                <a:latin typeface="Graphik Black"/>
                <a:ea typeface="+mn-ea"/>
                <a:cs typeface="+mn-cs"/>
              </a:rPr>
              <a:t>Text</a:t>
            </a:r>
          </a:p>
        </p:txBody>
      </p:sp>
      <p:sp>
        <p:nvSpPr>
          <p:cNvPr id="5" name="Rectangle 4">
            <a:extLst>
              <a:ext uri="{FF2B5EF4-FFF2-40B4-BE49-F238E27FC236}">
                <a16:creationId xmlns:a16="http://schemas.microsoft.com/office/drawing/2014/main" id="{D8A1D92D-883F-4134-9138-E8B9CF0EFBFA}"/>
              </a:ext>
            </a:extLst>
          </p:cNvPr>
          <p:cNvSpPr/>
          <p:nvPr/>
        </p:nvSpPr>
        <p:spPr>
          <a:xfrm>
            <a:off x="6817038" y="1763714"/>
            <a:ext cx="3906000" cy="4294186"/>
          </a:xfrm>
          <a:prstGeom prst="rect">
            <a:avLst/>
          </a:prstGeom>
          <a:solidFill>
            <a:srgbClr val="96968C">
              <a:lumMod val="20000"/>
              <a:lumOff val="80000"/>
            </a:srgbClr>
          </a:solidFill>
          <a:ln w="9525" cap="flat" cmpd="sng" algn="ctr">
            <a:noFill/>
            <a:prstDash val="solid"/>
          </a:ln>
          <a:effectLst/>
        </p:spPr>
        <p:txBody>
          <a:bodyPr lIns="180000" tIns="180000" rtlCol="0" anchor="t" anchorCtr="0"/>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TextBox 5">
            <a:extLst>
              <a:ext uri="{FF2B5EF4-FFF2-40B4-BE49-F238E27FC236}">
                <a16:creationId xmlns:a16="http://schemas.microsoft.com/office/drawing/2014/main" id="{655F1995-990F-4449-B0A4-66759CED9872}"/>
              </a:ext>
            </a:extLst>
          </p:cNvPr>
          <p:cNvSpPr txBox="1"/>
          <p:nvPr/>
        </p:nvSpPr>
        <p:spPr>
          <a:xfrm>
            <a:off x="6817038" y="1376363"/>
            <a:ext cx="3906000" cy="387350"/>
          </a:xfrm>
          <a:prstGeom prst="rect">
            <a:avLst/>
          </a:prstGeom>
          <a:solidFill>
            <a:schemeClr val="accent3"/>
          </a:solidFill>
          <a:ln w="19050">
            <a:noFill/>
          </a:ln>
        </p:spPr>
        <p:txBody>
          <a:bodyPr vert="horz" wrap="square" lIns="0" tIns="36000" rIns="0" bIns="0"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AU" sz="1800" b="0" i="0" u="none" strike="noStrike" kern="0" cap="all" spc="0" normalizeH="0" baseline="0" noProof="0" dirty="0">
                <a:ln>
                  <a:noFill/>
                </a:ln>
                <a:solidFill>
                  <a:srgbClr val="FFFFFF"/>
                </a:solidFill>
                <a:effectLst/>
                <a:uLnTx/>
                <a:uFillTx/>
                <a:latin typeface="Graphik Black"/>
                <a:ea typeface="+mn-ea"/>
                <a:cs typeface="+mn-cs"/>
              </a:rPr>
              <a:t>Text</a:t>
            </a:r>
          </a:p>
        </p:txBody>
      </p:sp>
      <p:sp>
        <p:nvSpPr>
          <p:cNvPr id="7" name="Arrow: Chevron 6">
            <a:extLst>
              <a:ext uri="{FF2B5EF4-FFF2-40B4-BE49-F238E27FC236}">
                <a16:creationId xmlns:a16="http://schemas.microsoft.com/office/drawing/2014/main" id="{FC063827-AEA4-448D-963C-ECEB84C695F6}"/>
              </a:ext>
            </a:extLst>
          </p:cNvPr>
          <p:cNvSpPr/>
          <p:nvPr/>
        </p:nvSpPr>
        <p:spPr>
          <a:xfrm>
            <a:off x="5810964" y="2868068"/>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Arrow: Chevron 7">
            <a:extLst>
              <a:ext uri="{FF2B5EF4-FFF2-40B4-BE49-F238E27FC236}">
                <a16:creationId xmlns:a16="http://schemas.microsoft.com/office/drawing/2014/main" id="{83D42DFA-513F-436E-990E-A032293A9D75}"/>
              </a:ext>
            </a:extLst>
          </p:cNvPr>
          <p:cNvSpPr/>
          <p:nvPr/>
        </p:nvSpPr>
        <p:spPr>
          <a:xfrm flipH="1">
            <a:off x="5810964" y="4244923"/>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Rectangle 8">
            <a:hlinkClick r:id="rId3" action="ppaction://hlinksldjump"/>
            <a:extLst>
              <a:ext uri="{FF2B5EF4-FFF2-40B4-BE49-F238E27FC236}">
                <a16:creationId xmlns:a16="http://schemas.microsoft.com/office/drawing/2014/main" id="{AE57A42E-543D-4401-A947-1584253C8B7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88927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C9594-24F6-0049-9F6B-6826E41FD03B}"/>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29416468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Separation/</a:t>
            </a:r>
            <a:br>
              <a:rPr lang="en-US" dirty="0"/>
            </a:br>
            <a:r>
              <a:rPr lang="en-US" dirty="0"/>
              <a:t>Synthesis</a:t>
            </a:r>
          </a:p>
        </p:txBody>
      </p:sp>
      <p:sp>
        <p:nvSpPr>
          <p:cNvPr id="2" name="Freeform: Shape 1">
            <a:hlinkClick r:id="rId3" action="ppaction://hlinksldjump"/>
            <a:extLst>
              <a:ext uri="{FF2B5EF4-FFF2-40B4-BE49-F238E27FC236}">
                <a16:creationId xmlns:a16="http://schemas.microsoft.com/office/drawing/2014/main" id="{234F386F-64A4-4E4A-9131-DC203FD8D2CE}"/>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Text Placeholder 4">
            <a:extLst>
              <a:ext uri="{FF2B5EF4-FFF2-40B4-BE49-F238E27FC236}">
                <a16:creationId xmlns:a16="http://schemas.microsoft.com/office/drawing/2014/main" id="{942C54CA-D73B-4DE8-A8C7-963A4315A0A2}"/>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t>Part of </a:t>
            </a:r>
            <a:b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b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hlinkClick r:id="rId4" action="ppaction://hlinksldjump">
                  <a:extLst>
                    <a:ext uri="{A12FA001-AC4F-418D-AE19-62706E023703}">
                      <ahyp:hlinkClr xmlns:ahyp="http://schemas.microsoft.com/office/drawing/2018/hyperlinkcolor" val="tx"/>
                    </a:ext>
                  </a:extLst>
                </a:hlinkClick>
              </a:rPr>
              <a:t>Dynamic Concept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6" name="Rectangle 5">
            <a:hlinkClick r:id="rId3" action="ppaction://hlinksldjump"/>
            <a:extLst>
              <a:ext uri="{FF2B5EF4-FFF2-40B4-BE49-F238E27FC236}">
                <a16:creationId xmlns:a16="http://schemas.microsoft.com/office/drawing/2014/main" id="{06776F81-B069-48DF-923D-FFB7EBD789A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15856969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Separation 1</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82F3C5E4-680F-4805-887A-9D8C5DE30DF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AutoShape 6">
            <a:extLst>
              <a:ext uri="{FF2B5EF4-FFF2-40B4-BE49-F238E27FC236}">
                <a16:creationId xmlns:a16="http://schemas.microsoft.com/office/drawing/2014/main" id="{4A18DD16-AF64-474A-B6D6-8F9D9FEFDF09}"/>
              </a:ext>
            </a:extLst>
          </p:cNvPr>
          <p:cNvSpPr>
            <a:spLocks noChangeAspect="1" noChangeArrowheads="1"/>
          </p:cNvSpPr>
          <p:nvPr/>
        </p:nvSpPr>
        <p:spPr bwMode="auto">
          <a:xfrm flipH="1">
            <a:off x="1822450" y="1763712"/>
            <a:ext cx="4207794" cy="2628709"/>
          </a:xfrm>
          <a:prstGeom prst="homePlate">
            <a:avLst>
              <a:gd name="adj" fmla="val 32103"/>
            </a:avLst>
          </a:prstGeom>
          <a:solidFill>
            <a:schemeClr val="accent3"/>
          </a:solidFill>
          <a:ln w="6350">
            <a:noFill/>
            <a:miter lim="800000"/>
            <a:headEnd/>
            <a:tailEnd/>
          </a:ln>
          <a:effectLst/>
        </p:spPr>
        <p:txBody>
          <a:bodyPr lIns="720000" tIns="180000" rIns="72000" bIns="72000" anchor="t"/>
          <a:lstStyle/>
          <a:p>
            <a:pPr marL="0" lvl="1" eaLnBrk="0" hangingPunct="0">
              <a:lnSpc>
                <a:spcPct val="85000"/>
              </a:lnSpc>
              <a:spcBef>
                <a:spcPts val="100"/>
              </a:spcBef>
              <a:spcAft>
                <a:spcPts val="300"/>
              </a:spcAft>
              <a:buClr>
                <a:schemeClr val="folHlink"/>
              </a:buClr>
            </a:pPr>
            <a:r>
              <a:rPr lang="en-US" b="1" cap="all" dirty="0">
                <a:solidFill>
                  <a:schemeClr val="bg1"/>
                </a:solidFill>
                <a:latin typeface="+mj-lt"/>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p:txBody>
      </p:sp>
      <p:sp>
        <p:nvSpPr>
          <p:cNvPr id="5" name="AutoShape 7">
            <a:extLst>
              <a:ext uri="{FF2B5EF4-FFF2-40B4-BE49-F238E27FC236}">
                <a16:creationId xmlns:a16="http://schemas.microsoft.com/office/drawing/2014/main" id="{49F98B2A-F599-4866-840A-B336E468184D}"/>
              </a:ext>
            </a:extLst>
          </p:cNvPr>
          <p:cNvSpPr>
            <a:spLocks noChangeAspect="1" noChangeArrowheads="1"/>
          </p:cNvSpPr>
          <p:nvPr/>
        </p:nvSpPr>
        <p:spPr bwMode="auto">
          <a:xfrm>
            <a:off x="6164930" y="1763712"/>
            <a:ext cx="4207794" cy="2628709"/>
          </a:xfrm>
          <a:prstGeom prst="homePlate">
            <a:avLst>
              <a:gd name="adj" fmla="val 32103"/>
            </a:avLst>
          </a:prstGeom>
          <a:solidFill>
            <a:schemeClr val="accent1"/>
          </a:soli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cap="all" dirty="0">
                <a:solidFill>
                  <a:schemeClr val="bg1"/>
                </a:solidFill>
                <a:latin typeface="+mj-lt"/>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371537471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Separation 2</a:t>
            </a:r>
          </a:p>
        </p:txBody>
      </p:sp>
      <p:sp>
        <p:nvSpPr>
          <p:cNvPr id="10" name="Freeform: Shape 9">
            <a:hlinkClick r:id="rId5"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5" action="ppaction://hlinksldjump"/>
            <a:extLst>
              <a:ext uri="{FF2B5EF4-FFF2-40B4-BE49-F238E27FC236}">
                <a16:creationId xmlns:a16="http://schemas.microsoft.com/office/drawing/2014/main" id="{EAF28307-6CE2-4F79-BA2E-029AE31BD4B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Freeform 5">
            <a:extLst>
              <a:ext uri="{FF2B5EF4-FFF2-40B4-BE49-F238E27FC236}">
                <a16:creationId xmlns:a16="http://schemas.microsoft.com/office/drawing/2014/main" id="{5DA70FE2-2EDC-4F5C-ADF1-0EC6636C5E5A}"/>
              </a:ext>
            </a:extLst>
          </p:cNvPr>
          <p:cNvSpPr>
            <a:spLocks/>
          </p:cNvSpPr>
          <p:nvPr/>
        </p:nvSpPr>
        <p:spPr bwMode="auto">
          <a:xfrm>
            <a:off x="3736975" y="1542141"/>
            <a:ext cx="4714875" cy="2295525"/>
          </a:xfrm>
          <a:custGeom>
            <a:avLst/>
            <a:gdLst>
              <a:gd name="T0" fmla="*/ 2970 w 2970"/>
              <a:gd name="T1" fmla="*/ 1446 h 1446"/>
              <a:gd name="T2" fmla="*/ 2970 w 2970"/>
              <a:gd name="T3" fmla="*/ 0 h 1446"/>
              <a:gd name="T4" fmla="*/ 0 w 2970"/>
              <a:gd name="T5" fmla="*/ 0 h 1446"/>
              <a:gd name="T6" fmla="*/ 0 w 2970"/>
              <a:gd name="T7" fmla="*/ 1246 h 1446"/>
              <a:gd name="T8" fmla="*/ 2970 w 2970"/>
              <a:gd name="T9" fmla="*/ 1446 h 1446"/>
            </a:gdLst>
            <a:ahLst/>
            <a:cxnLst>
              <a:cxn ang="0">
                <a:pos x="T0" y="T1"/>
              </a:cxn>
              <a:cxn ang="0">
                <a:pos x="T2" y="T3"/>
              </a:cxn>
              <a:cxn ang="0">
                <a:pos x="T4" y="T5"/>
              </a:cxn>
              <a:cxn ang="0">
                <a:pos x="T6" y="T7"/>
              </a:cxn>
              <a:cxn ang="0">
                <a:pos x="T8" y="T9"/>
              </a:cxn>
            </a:cxnLst>
            <a:rect l="0" t="0" r="r" b="b"/>
            <a:pathLst>
              <a:path w="2970" h="1446">
                <a:moveTo>
                  <a:pt x="2970" y="1446"/>
                </a:moveTo>
                <a:lnTo>
                  <a:pt x="2970" y="0"/>
                </a:lnTo>
                <a:lnTo>
                  <a:pt x="0" y="0"/>
                </a:lnTo>
                <a:lnTo>
                  <a:pt x="0" y="1246"/>
                </a:lnTo>
                <a:lnTo>
                  <a:pt x="2970" y="144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B6D215E2-0FED-465E-935A-522EF9C28115}"/>
              </a:ext>
            </a:extLst>
          </p:cNvPr>
          <p:cNvSpPr>
            <a:spLocks/>
          </p:cNvSpPr>
          <p:nvPr/>
        </p:nvSpPr>
        <p:spPr bwMode="auto">
          <a:xfrm>
            <a:off x="3736975" y="3771900"/>
            <a:ext cx="4714875" cy="2286000"/>
          </a:xfrm>
          <a:custGeom>
            <a:avLst/>
            <a:gdLst>
              <a:gd name="T0" fmla="*/ 0 w 2970"/>
              <a:gd name="T1" fmla="*/ 0 h 1440"/>
              <a:gd name="T2" fmla="*/ 0 w 2970"/>
              <a:gd name="T3" fmla="*/ 1440 h 1440"/>
              <a:gd name="T4" fmla="*/ 2970 w 2970"/>
              <a:gd name="T5" fmla="*/ 1440 h 1440"/>
              <a:gd name="T6" fmla="*/ 2970 w 2970"/>
              <a:gd name="T7" fmla="*/ 201 h 1440"/>
              <a:gd name="T8" fmla="*/ 0 w 2970"/>
              <a:gd name="T9" fmla="*/ 0 h 1440"/>
            </a:gdLst>
            <a:ahLst/>
            <a:cxnLst>
              <a:cxn ang="0">
                <a:pos x="T0" y="T1"/>
              </a:cxn>
              <a:cxn ang="0">
                <a:pos x="T2" y="T3"/>
              </a:cxn>
              <a:cxn ang="0">
                <a:pos x="T4" y="T5"/>
              </a:cxn>
              <a:cxn ang="0">
                <a:pos x="T6" y="T7"/>
              </a:cxn>
              <a:cxn ang="0">
                <a:pos x="T8" y="T9"/>
              </a:cxn>
            </a:cxnLst>
            <a:rect l="0" t="0" r="r" b="b"/>
            <a:pathLst>
              <a:path w="2970" h="1440">
                <a:moveTo>
                  <a:pt x="0" y="0"/>
                </a:moveTo>
                <a:lnTo>
                  <a:pt x="0" y="1440"/>
                </a:lnTo>
                <a:lnTo>
                  <a:pt x="2970" y="1440"/>
                </a:lnTo>
                <a:lnTo>
                  <a:pt x="2970" y="201"/>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sp>
        <p:nvSpPr>
          <p:cNvPr id="14" name="Rectangle 6">
            <a:extLst>
              <a:ext uri="{FF2B5EF4-FFF2-40B4-BE49-F238E27FC236}">
                <a16:creationId xmlns:a16="http://schemas.microsoft.com/office/drawing/2014/main" id="{AB07E943-B293-4E27-8CD9-D62FFCFEA495}"/>
              </a:ext>
            </a:extLst>
          </p:cNvPr>
          <p:cNvSpPr>
            <a:spLocks noChangeArrowheads="1"/>
          </p:cNvSpPr>
          <p:nvPr>
            <p:custDataLst>
              <p:tags r:id="rId1"/>
            </p:custDataLst>
          </p:nvPr>
        </p:nvSpPr>
        <p:spPr bwMode="auto">
          <a:xfrm>
            <a:off x="3736975" y="1542141"/>
            <a:ext cx="4714875" cy="1874457"/>
          </a:xfrm>
          <a:prstGeom prst="rect">
            <a:avLst/>
          </a:prstGeom>
          <a:noFill/>
          <a:ln w="6350">
            <a:noFill/>
            <a:miter lim="800000"/>
            <a:headEnd/>
            <a:tailEnd/>
          </a:ln>
          <a:effectLst/>
        </p:spPr>
        <p:txBody>
          <a:bodyPr lIns="180000" tIns="180000" rIns="144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a:p>
            <a:pPr marL="179388" indent="-179388" algn="l" eaLnBrk="0" hangingPunct="0">
              <a:spcBef>
                <a:spcPts val="100"/>
              </a:spcBef>
              <a:spcAft>
                <a:spcPts val="100"/>
              </a:spcAft>
              <a:buFontTx/>
              <a:buChar char="•"/>
            </a:pPr>
            <a:r>
              <a:rPr lang="en-US" dirty="0">
                <a:solidFill>
                  <a:schemeClr val="bg1"/>
                </a:solidFill>
              </a:rPr>
              <a:t>Text</a:t>
            </a:r>
          </a:p>
        </p:txBody>
      </p:sp>
      <p:sp>
        <p:nvSpPr>
          <p:cNvPr id="16" name="Rectangle 7">
            <a:extLst>
              <a:ext uri="{FF2B5EF4-FFF2-40B4-BE49-F238E27FC236}">
                <a16:creationId xmlns:a16="http://schemas.microsoft.com/office/drawing/2014/main" id="{5E5E664B-9CD3-460B-9606-E66AE505605E}"/>
              </a:ext>
            </a:extLst>
          </p:cNvPr>
          <p:cNvSpPr>
            <a:spLocks noChangeArrowheads="1"/>
          </p:cNvSpPr>
          <p:nvPr>
            <p:custDataLst>
              <p:tags r:id="rId2"/>
            </p:custDataLst>
          </p:nvPr>
        </p:nvSpPr>
        <p:spPr bwMode="auto">
          <a:xfrm>
            <a:off x="3736976" y="4078017"/>
            <a:ext cx="4714874" cy="1979883"/>
          </a:xfrm>
          <a:prstGeom prst="rect">
            <a:avLst/>
          </a:prstGeom>
          <a:noFill/>
          <a:ln w="6350">
            <a:noFill/>
            <a:miter lim="800000"/>
            <a:headEnd/>
            <a:tailEnd/>
          </a:ln>
          <a:effectLst/>
        </p:spPr>
        <p:txBody>
          <a:bodyPr lIns="180000" tIns="180000" rIns="144000" bIns="72000"/>
          <a:lstStyle/>
          <a:p>
            <a:pPr eaLnBrk="0" hangingPunct="0">
              <a:lnSpc>
                <a:spcPct val="85000"/>
              </a:lnSpc>
              <a:spcBef>
                <a:spcPts val="100"/>
              </a:spcBef>
              <a:spcAft>
                <a:spcPts val="300"/>
              </a:spcAft>
            </a:pPr>
            <a:r>
              <a:rPr lang="en-US" b="1" cap="all"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19809154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Synthesis</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A1285A01-2100-44ED-BD8F-A201E7619A6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4" name="Straight Arrow Connector 13">
            <a:extLst>
              <a:ext uri="{FF2B5EF4-FFF2-40B4-BE49-F238E27FC236}">
                <a16:creationId xmlns:a16="http://schemas.microsoft.com/office/drawing/2014/main" id="{F6B853BE-56E2-4936-9876-226F0BFB0887}"/>
              </a:ext>
            </a:extLst>
          </p:cNvPr>
          <p:cNvCxnSpPr/>
          <p:nvPr/>
        </p:nvCxnSpPr>
        <p:spPr>
          <a:xfrm>
            <a:off x="6096000" y="3658497"/>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CDE856A9-9F76-4BB6-9130-0B0DEF716C50}"/>
              </a:ext>
            </a:extLst>
          </p:cNvPr>
          <p:cNvCxnSpPr/>
          <p:nvPr/>
        </p:nvCxnSpPr>
        <p:spPr>
          <a:xfrm flipV="1">
            <a:off x="4051358" y="3658497"/>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B2C631D9-7F87-4BA3-AA68-949B8197A7C9}"/>
              </a:ext>
            </a:extLst>
          </p:cNvPr>
          <p:cNvCxnSpPr/>
          <p:nvPr/>
        </p:nvCxnSpPr>
        <p:spPr>
          <a:xfrm flipV="1">
            <a:off x="8132705" y="3658497"/>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E1BE35C7-A8B9-4C21-BBD9-1DDE68478EF8}"/>
              </a:ext>
            </a:extLst>
          </p:cNvPr>
          <p:cNvSpPr/>
          <p:nvPr/>
        </p:nvSpPr>
        <p:spPr>
          <a:xfrm>
            <a:off x="1468437" y="2006362"/>
            <a:ext cx="9247188" cy="150359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18" name="TextBox 17">
            <a:extLst>
              <a:ext uri="{FF2B5EF4-FFF2-40B4-BE49-F238E27FC236}">
                <a16:creationId xmlns:a16="http://schemas.microsoft.com/office/drawing/2014/main" id="{F19E125F-27B8-435F-A59D-BBC299B84348}"/>
              </a:ext>
            </a:extLst>
          </p:cNvPr>
          <p:cNvSpPr txBox="1"/>
          <p:nvPr/>
        </p:nvSpPr>
        <p:spPr>
          <a:xfrm>
            <a:off x="1468436" y="1619011"/>
            <a:ext cx="9247188" cy="387350"/>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cap="all" dirty="0">
                <a:solidFill>
                  <a:schemeClr val="bg1"/>
                </a:solidFill>
                <a:latin typeface="+mj-lt"/>
              </a:rPr>
              <a:t>Text</a:t>
            </a:r>
          </a:p>
        </p:txBody>
      </p:sp>
      <p:sp>
        <p:nvSpPr>
          <p:cNvPr id="19" name="Rectangle 18">
            <a:extLst>
              <a:ext uri="{FF2B5EF4-FFF2-40B4-BE49-F238E27FC236}">
                <a16:creationId xmlns:a16="http://schemas.microsoft.com/office/drawing/2014/main" id="{3CAB6978-98A6-4B29-9BB4-22EB1470BBD8}"/>
              </a:ext>
            </a:extLst>
          </p:cNvPr>
          <p:cNvSpPr/>
          <p:nvPr/>
        </p:nvSpPr>
        <p:spPr>
          <a:xfrm>
            <a:off x="1468437" y="4554307"/>
            <a:ext cx="4451351" cy="150359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20" name="TextBox 19">
            <a:extLst>
              <a:ext uri="{FF2B5EF4-FFF2-40B4-BE49-F238E27FC236}">
                <a16:creationId xmlns:a16="http://schemas.microsoft.com/office/drawing/2014/main" id="{C12E1295-7C2E-4C0B-AD70-DA765B44411C}"/>
              </a:ext>
            </a:extLst>
          </p:cNvPr>
          <p:cNvSpPr txBox="1"/>
          <p:nvPr/>
        </p:nvSpPr>
        <p:spPr>
          <a:xfrm>
            <a:off x="1468436" y="4166956"/>
            <a:ext cx="4451351" cy="387350"/>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cap="all" dirty="0">
                <a:solidFill>
                  <a:schemeClr val="bg1"/>
                </a:solidFill>
                <a:latin typeface="+mj-lt"/>
              </a:rPr>
              <a:t>Text</a:t>
            </a:r>
          </a:p>
        </p:txBody>
      </p:sp>
      <p:sp>
        <p:nvSpPr>
          <p:cNvPr id="21" name="Rectangle 20">
            <a:extLst>
              <a:ext uri="{FF2B5EF4-FFF2-40B4-BE49-F238E27FC236}">
                <a16:creationId xmlns:a16="http://schemas.microsoft.com/office/drawing/2014/main" id="{1365A725-9D55-4B51-8C1E-391602BA16C2}"/>
              </a:ext>
            </a:extLst>
          </p:cNvPr>
          <p:cNvSpPr/>
          <p:nvPr/>
        </p:nvSpPr>
        <p:spPr>
          <a:xfrm>
            <a:off x="6272214" y="4554307"/>
            <a:ext cx="4451351" cy="150359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22" name="TextBox 21">
            <a:extLst>
              <a:ext uri="{FF2B5EF4-FFF2-40B4-BE49-F238E27FC236}">
                <a16:creationId xmlns:a16="http://schemas.microsoft.com/office/drawing/2014/main" id="{8A6AB462-4392-49F7-A1D9-5EDB990B0D0F}"/>
              </a:ext>
            </a:extLst>
          </p:cNvPr>
          <p:cNvSpPr txBox="1"/>
          <p:nvPr/>
        </p:nvSpPr>
        <p:spPr>
          <a:xfrm>
            <a:off x="6272213" y="4166956"/>
            <a:ext cx="4451351" cy="387350"/>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cap="all" dirty="0">
                <a:solidFill>
                  <a:schemeClr val="bg1"/>
                </a:solidFill>
                <a:latin typeface="+mj-lt"/>
              </a:rPr>
              <a:t>Text</a:t>
            </a:r>
          </a:p>
        </p:txBody>
      </p:sp>
    </p:spTree>
    <p:extLst>
      <p:ext uri="{BB962C8B-B14F-4D97-AF65-F5344CB8AC3E}">
        <p14:creationId xmlns:p14="http://schemas.microsoft.com/office/powerpoint/2010/main" val="96465196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Centralization</a:t>
            </a:r>
          </a:p>
        </p:txBody>
      </p:sp>
      <p:sp>
        <p:nvSpPr>
          <p:cNvPr id="10" name="Freeform: Shape 9">
            <a:hlinkClick r:id="rId7"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7" action="ppaction://hlinksldjump"/>
            <a:extLst>
              <a:ext uri="{FF2B5EF4-FFF2-40B4-BE49-F238E27FC236}">
                <a16:creationId xmlns:a16="http://schemas.microsoft.com/office/drawing/2014/main" id="{5398DCCD-1198-4637-9BDD-C95CBC230F8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Isosceles Triangle 13">
            <a:extLst>
              <a:ext uri="{FF2B5EF4-FFF2-40B4-BE49-F238E27FC236}">
                <a16:creationId xmlns:a16="http://schemas.microsoft.com/office/drawing/2014/main" id="{FFE46D50-77A5-4F31-AEB7-C5313BF9F8E4}"/>
              </a:ext>
            </a:extLst>
          </p:cNvPr>
          <p:cNvSpPr/>
          <p:nvPr/>
        </p:nvSpPr>
        <p:spPr>
          <a:xfrm rot="5400000">
            <a:off x="2653480" y="2616199"/>
            <a:ext cx="4421757" cy="2226530"/>
          </a:xfrm>
          <a:prstGeom prst="triangle">
            <a:avLst>
              <a:gd name="adj" fmla="val 4966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 name="Isosceles Triangle 15">
            <a:extLst>
              <a:ext uri="{FF2B5EF4-FFF2-40B4-BE49-F238E27FC236}">
                <a16:creationId xmlns:a16="http://schemas.microsoft.com/office/drawing/2014/main" id="{38EBA688-F153-48DA-9C4F-233E71F71FC7}"/>
              </a:ext>
            </a:extLst>
          </p:cNvPr>
          <p:cNvSpPr/>
          <p:nvPr/>
        </p:nvSpPr>
        <p:spPr>
          <a:xfrm rot="16200000" flipH="1">
            <a:off x="5108237" y="2616207"/>
            <a:ext cx="4421757" cy="2226530"/>
          </a:xfrm>
          <a:prstGeom prst="triangle">
            <a:avLst>
              <a:gd name="adj" fmla="val 4966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 name="Isosceles Triangle 17">
            <a:extLst>
              <a:ext uri="{FF2B5EF4-FFF2-40B4-BE49-F238E27FC236}">
                <a16:creationId xmlns:a16="http://schemas.microsoft.com/office/drawing/2014/main" id="{545456DA-CF1E-4F4D-A1DB-0DC096F0FB7B}"/>
              </a:ext>
            </a:extLst>
          </p:cNvPr>
          <p:cNvSpPr/>
          <p:nvPr/>
        </p:nvSpPr>
        <p:spPr>
          <a:xfrm rot="10800000">
            <a:off x="3864404" y="1368481"/>
            <a:ext cx="4421757" cy="2226530"/>
          </a:xfrm>
          <a:prstGeom prst="triangle">
            <a:avLst>
              <a:gd name="adj" fmla="val 4966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0" name="Isosceles Triangle 19">
            <a:extLst>
              <a:ext uri="{FF2B5EF4-FFF2-40B4-BE49-F238E27FC236}">
                <a16:creationId xmlns:a16="http://schemas.microsoft.com/office/drawing/2014/main" id="{6E28F06F-C320-4142-A946-F96ABB89E014}"/>
              </a:ext>
            </a:extLst>
          </p:cNvPr>
          <p:cNvSpPr/>
          <p:nvPr/>
        </p:nvSpPr>
        <p:spPr>
          <a:xfrm flipH="1">
            <a:off x="3868315" y="3831371"/>
            <a:ext cx="4421757" cy="2226530"/>
          </a:xfrm>
          <a:prstGeom prst="triangle">
            <a:avLst>
              <a:gd name="adj" fmla="val 4966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2" name="Rectangle 6">
            <a:extLst>
              <a:ext uri="{FF2B5EF4-FFF2-40B4-BE49-F238E27FC236}">
                <a16:creationId xmlns:a16="http://schemas.microsoft.com/office/drawing/2014/main" id="{BB2A3334-E914-4F07-974A-5239C4ECF6BA}"/>
              </a:ext>
            </a:extLst>
          </p:cNvPr>
          <p:cNvSpPr>
            <a:spLocks noChangeArrowheads="1"/>
          </p:cNvSpPr>
          <p:nvPr>
            <p:custDataLst>
              <p:tags r:id="rId1"/>
            </p:custDataLst>
          </p:nvPr>
        </p:nvSpPr>
        <p:spPr bwMode="auto">
          <a:xfrm>
            <a:off x="3751093" y="2792235"/>
            <a:ext cx="2226531" cy="1874457"/>
          </a:xfrm>
          <a:prstGeom prst="rect">
            <a:avLst/>
          </a:prstGeom>
          <a:noFill/>
          <a:ln w="6350">
            <a:noFill/>
            <a:miter lim="800000"/>
            <a:headEnd/>
            <a:tailEnd/>
          </a:ln>
          <a:effectLst/>
        </p:spPr>
        <p:txBody>
          <a:bodyPr lIns="180000" tIns="180000" rIns="144000" bIns="72000"/>
          <a:lstStyle/>
          <a:p>
            <a:pPr algn="l" eaLnBrk="0" hangingPunct="0">
              <a:lnSpc>
                <a:spcPct val="85000"/>
              </a:lnSpc>
              <a:spcBef>
                <a:spcPts val="100"/>
              </a:spcBef>
              <a:spcAft>
                <a:spcPts val="300"/>
              </a:spcAft>
            </a:pPr>
            <a:r>
              <a:rPr lang="en-US" b="1" cap="all" dirty="0">
                <a:solidFill>
                  <a:schemeClr val="bg1"/>
                </a:solidFill>
                <a:latin typeface="+mj-lt"/>
              </a:rPr>
              <a:t>Text</a:t>
            </a:r>
          </a:p>
          <a:p>
            <a:pPr algn="l" eaLnBrk="0" hangingPunct="0">
              <a:spcBef>
                <a:spcPts val="100"/>
              </a:spcBef>
              <a:spcAft>
                <a:spcPts val="100"/>
              </a:spcAft>
            </a:pPr>
            <a:r>
              <a:rPr lang="en-US" dirty="0">
                <a:solidFill>
                  <a:schemeClr val="bg1"/>
                </a:solidFill>
              </a:rPr>
              <a:t>Text</a:t>
            </a:r>
          </a:p>
        </p:txBody>
      </p:sp>
      <p:sp>
        <p:nvSpPr>
          <p:cNvPr id="24" name="Rectangle 6">
            <a:extLst>
              <a:ext uri="{FF2B5EF4-FFF2-40B4-BE49-F238E27FC236}">
                <a16:creationId xmlns:a16="http://schemas.microsoft.com/office/drawing/2014/main" id="{BA9444B6-90D8-45DB-B9DA-D22A986434E0}"/>
              </a:ext>
            </a:extLst>
          </p:cNvPr>
          <p:cNvSpPr>
            <a:spLocks noChangeArrowheads="1"/>
          </p:cNvSpPr>
          <p:nvPr>
            <p:custDataLst>
              <p:tags r:id="rId2"/>
            </p:custDataLst>
          </p:nvPr>
        </p:nvSpPr>
        <p:spPr bwMode="auto">
          <a:xfrm>
            <a:off x="6205850" y="2792235"/>
            <a:ext cx="2226531" cy="1874457"/>
          </a:xfrm>
          <a:prstGeom prst="rect">
            <a:avLst/>
          </a:prstGeom>
          <a:noFill/>
          <a:ln w="6350">
            <a:noFill/>
            <a:miter lim="800000"/>
            <a:headEnd/>
            <a:tailEnd/>
          </a:ln>
          <a:effectLst/>
        </p:spPr>
        <p:txBody>
          <a:bodyPr lIns="144000" tIns="180000" rIns="180000" bIns="72000"/>
          <a:lstStyle/>
          <a:p>
            <a:pPr algn="r" eaLnBrk="0" hangingPunct="0">
              <a:lnSpc>
                <a:spcPct val="85000"/>
              </a:lnSpc>
              <a:spcBef>
                <a:spcPts val="100"/>
              </a:spcBef>
              <a:spcAft>
                <a:spcPts val="300"/>
              </a:spcAft>
            </a:pPr>
            <a:r>
              <a:rPr lang="en-US" b="1" cap="all" dirty="0">
                <a:solidFill>
                  <a:schemeClr val="bg1"/>
                </a:solidFill>
                <a:latin typeface="+mj-lt"/>
              </a:rPr>
              <a:t>Text</a:t>
            </a:r>
          </a:p>
          <a:p>
            <a:pPr algn="r" eaLnBrk="0" hangingPunct="0">
              <a:spcBef>
                <a:spcPts val="100"/>
              </a:spcBef>
              <a:spcAft>
                <a:spcPts val="100"/>
              </a:spcAft>
            </a:pPr>
            <a:r>
              <a:rPr lang="en-US" dirty="0">
                <a:solidFill>
                  <a:schemeClr val="bg1"/>
                </a:solidFill>
              </a:rPr>
              <a:t>Text</a:t>
            </a:r>
          </a:p>
        </p:txBody>
      </p:sp>
      <p:sp>
        <p:nvSpPr>
          <p:cNvPr id="26" name="Rectangle 6">
            <a:extLst>
              <a:ext uri="{FF2B5EF4-FFF2-40B4-BE49-F238E27FC236}">
                <a16:creationId xmlns:a16="http://schemas.microsoft.com/office/drawing/2014/main" id="{1845F570-C479-40FB-920F-1D9E9B27B4C6}"/>
              </a:ext>
            </a:extLst>
          </p:cNvPr>
          <p:cNvSpPr>
            <a:spLocks noChangeArrowheads="1"/>
          </p:cNvSpPr>
          <p:nvPr>
            <p:custDataLst>
              <p:tags r:id="rId3"/>
            </p:custDataLst>
          </p:nvPr>
        </p:nvSpPr>
        <p:spPr bwMode="auto">
          <a:xfrm>
            <a:off x="4522544" y="1368480"/>
            <a:ext cx="3105478" cy="1874457"/>
          </a:xfrm>
          <a:prstGeom prst="rect">
            <a:avLst/>
          </a:prstGeom>
          <a:noFill/>
          <a:ln w="6350">
            <a:noFill/>
            <a:miter lim="800000"/>
            <a:headEnd/>
            <a:tailEnd/>
          </a:ln>
          <a:effectLst/>
        </p:spPr>
        <p:txBody>
          <a:bodyPr lIns="180000" tIns="180000" rIns="144000" bIns="72000"/>
          <a:lstStyle/>
          <a:p>
            <a:pPr algn="ctr" eaLnBrk="0" hangingPunct="0">
              <a:lnSpc>
                <a:spcPct val="85000"/>
              </a:lnSpc>
              <a:spcBef>
                <a:spcPts val="100"/>
              </a:spcBef>
              <a:spcAft>
                <a:spcPts val="300"/>
              </a:spcAft>
            </a:pPr>
            <a:r>
              <a:rPr lang="en-US" b="1" cap="all" dirty="0">
                <a:solidFill>
                  <a:schemeClr val="bg1"/>
                </a:solidFill>
                <a:latin typeface="+mj-lt"/>
              </a:rPr>
              <a:t>Text</a:t>
            </a:r>
          </a:p>
          <a:p>
            <a:pPr algn="ctr" eaLnBrk="0" hangingPunct="0">
              <a:spcBef>
                <a:spcPts val="100"/>
              </a:spcBef>
              <a:spcAft>
                <a:spcPts val="100"/>
              </a:spcAft>
            </a:pPr>
            <a:r>
              <a:rPr lang="en-US" dirty="0">
                <a:solidFill>
                  <a:schemeClr val="bg1"/>
                </a:solidFill>
              </a:rPr>
              <a:t>Text</a:t>
            </a:r>
          </a:p>
        </p:txBody>
      </p:sp>
      <p:sp>
        <p:nvSpPr>
          <p:cNvPr id="28" name="Rectangle 6">
            <a:extLst>
              <a:ext uri="{FF2B5EF4-FFF2-40B4-BE49-F238E27FC236}">
                <a16:creationId xmlns:a16="http://schemas.microsoft.com/office/drawing/2014/main" id="{6D0C4C31-777A-4721-8EDC-408D962DE7DC}"/>
              </a:ext>
            </a:extLst>
          </p:cNvPr>
          <p:cNvSpPr>
            <a:spLocks noChangeArrowheads="1"/>
          </p:cNvSpPr>
          <p:nvPr>
            <p:custDataLst>
              <p:tags r:id="rId4"/>
            </p:custDataLst>
          </p:nvPr>
        </p:nvSpPr>
        <p:spPr bwMode="auto">
          <a:xfrm>
            <a:off x="4522544" y="4516579"/>
            <a:ext cx="3105478" cy="1541322"/>
          </a:xfrm>
          <a:prstGeom prst="rect">
            <a:avLst/>
          </a:prstGeom>
          <a:noFill/>
          <a:ln w="6350">
            <a:noFill/>
            <a:miter lim="800000"/>
            <a:headEnd/>
            <a:tailEnd/>
          </a:ln>
          <a:effectLst/>
        </p:spPr>
        <p:txBody>
          <a:bodyPr lIns="180000" tIns="180000" rIns="144000" bIns="72000"/>
          <a:lstStyle/>
          <a:p>
            <a:pPr algn="ctr" eaLnBrk="0" hangingPunct="0">
              <a:lnSpc>
                <a:spcPct val="85000"/>
              </a:lnSpc>
              <a:spcBef>
                <a:spcPts val="100"/>
              </a:spcBef>
              <a:spcAft>
                <a:spcPts val="300"/>
              </a:spcAft>
            </a:pPr>
            <a:r>
              <a:rPr lang="en-US" b="1" cap="all" dirty="0">
                <a:solidFill>
                  <a:schemeClr val="bg1"/>
                </a:solidFill>
                <a:latin typeface="+mj-lt"/>
              </a:rPr>
              <a:t>Text</a:t>
            </a:r>
          </a:p>
          <a:p>
            <a:pPr algn="ctr" eaLnBrk="0" hangingPunct="0">
              <a:spcBef>
                <a:spcPts val="100"/>
              </a:spcBef>
              <a:spcAft>
                <a:spcPts val="100"/>
              </a:spcAft>
            </a:pPr>
            <a:r>
              <a:rPr lang="en-US" dirty="0">
                <a:solidFill>
                  <a:schemeClr val="bg1"/>
                </a:solidFill>
              </a:rPr>
              <a:t>Text</a:t>
            </a:r>
          </a:p>
        </p:txBody>
      </p:sp>
    </p:spTree>
    <p:extLst>
      <p:ext uri="{BB962C8B-B14F-4D97-AF65-F5344CB8AC3E}">
        <p14:creationId xmlns:p14="http://schemas.microsoft.com/office/powerpoint/2010/main" val="269509133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Decentralization 1</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DCED1A56-9F84-4544-B1E9-819D85AB565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Oval 13">
            <a:extLst>
              <a:ext uri="{FF2B5EF4-FFF2-40B4-BE49-F238E27FC236}">
                <a16:creationId xmlns:a16="http://schemas.microsoft.com/office/drawing/2014/main" id="{A12E6BC7-40D9-4C76-895D-2450ED705821}"/>
              </a:ext>
            </a:extLst>
          </p:cNvPr>
          <p:cNvSpPr>
            <a:spLocks noChangeArrowheads="1"/>
          </p:cNvSpPr>
          <p:nvPr/>
        </p:nvSpPr>
        <p:spPr bwMode="auto">
          <a:xfrm>
            <a:off x="4839836" y="2349382"/>
            <a:ext cx="2570614" cy="2570614"/>
          </a:xfrm>
          <a:prstGeom prst="ellipse">
            <a:avLst/>
          </a:prstGeom>
          <a:solidFill>
            <a:schemeClr val="accent2"/>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cap="all"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cxnSp>
        <p:nvCxnSpPr>
          <p:cNvPr id="15" name="Straight Arrow Connector 14">
            <a:extLst>
              <a:ext uri="{FF2B5EF4-FFF2-40B4-BE49-F238E27FC236}">
                <a16:creationId xmlns:a16="http://schemas.microsoft.com/office/drawing/2014/main" id="{1FAE4813-38C4-433D-8E96-35DBD3C47E9E}"/>
              </a:ext>
            </a:extLst>
          </p:cNvPr>
          <p:cNvCxnSpPr>
            <a:stCxn id="14" idx="6"/>
          </p:cNvCxnSpPr>
          <p:nvPr/>
        </p:nvCxnSpPr>
        <p:spPr bwMode="auto">
          <a:xfrm>
            <a:off x="7410450" y="3634689"/>
            <a:ext cx="700867" cy="0"/>
          </a:xfrm>
          <a:prstGeom prst="straightConnector1">
            <a:avLst/>
          </a:prstGeom>
          <a:ln w="19050">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8DC80EC-B38D-4370-95C9-08D0AFCA8408}"/>
              </a:ext>
            </a:extLst>
          </p:cNvPr>
          <p:cNvCxnSpPr>
            <a:stCxn id="14" idx="0"/>
          </p:cNvCxnSpPr>
          <p:nvPr/>
        </p:nvCxnSpPr>
        <p:spPr bwMode="auto">
          <a:xfrm flipV="1">
            <a:off x="6125143" y="1488912"/>
            <a:ext cx="0" cy="860470"/>
          </a:xfrm>
          <a:prstGeom prst="straightConnector1">
            <a:avLst/>
          </a:prstGeom>
          <a:ln w="19050">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6A57570-7197-4A21-8777-EB545F300C9B}"/>
              </a:ext>
            </a:extLst>
          </p:cNvPr>
          <p:cNvCxnSpPr>
            <a:stCxn id="14" idx="2"/>
          </p:cNvCxnSpPr>
          <p:nvPr/>
        </p:nvCxnSpPr>
        <p:spPr bwMode="auto">
          <a:xfrm flipH="1">
            <a:off x="4109019" y="3634689"/>
            <a:ext cx="730817" cy="1"/>
          </a:xfrm>
          <a:prstGeom prst="straightConnector1">
            <a:avLst/>
          </a:prstGeom>
          <a:ln w="19050">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B422FAE6-665A-4509-A16C-19F4F7BC1695}"/>
              </a:ext>
            </a:extLst>
          </p:cNvPr>
          <p:cNvCxnSpPr>
            <a:stCxn id="14" idx="4"/>
          </p:cNvCxnSpPr>
          <p:nvPr/>
        </p:nvCxnSpPr>
        <p:spPr bwMode="auto">
          <a:xfrm>
            <a:off x="6125143" y="4919996"/>
            <a:ext cx="0" cy="870866"/>
          </a:xfrm>
          <a:prstGeom prst="straightConnector1">
            <a:avLst/>
          </a:prstGeom>
          <a:ln w="19050">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Rectangle 7">
            <a:extLst>
              <a:ext uri="{FF2B5EF4-FFF2-40B4-BE49-F238E27FC236}">
                <a16:creationId xmlns:a16="http://schemas.microsoft.com/office/drawing/2014/main" id="{A7BA8EFC-B2B0-4A26-BABC-1D3B40CA4A15}"/>
              </a:ext>
            </a:extLst>
          </p:cNvPr>
          <p:cNvSpPr>
            <a:spLocks noChangeArrowheads="1"/>
          </p:cNvSpPr>
          <p:nvPr/>
        </p:nvSpPr>
        <p:spPr bwMode="auto">
          <a:xfrm>
            <a:off x="4839836" y="1162153"/>
            <a:ext cx="2570614" cy="254567"/>
          </a:xfrm>
          <a:prstGeom prst="rect">
            <a:avLst/>
          </a:prstGeom>
          <a:noFill/>
          <a:ln w="6350">
            <a:noFill/>
            <a:miter lim="800000"/>
            <a:headEnd/>
            <a:tailEnd/>
          </a:ln>
          <a:effectLst/>
        </p:spPr>
        <p:txBody>
          <a:bodyPr wrap="none" lIns="45720" rIns="45720"/>
          <a:lstStyle/>
          <a:p>
            <a:pPr algn="ctr" eaLnBrk="0" hangingPunct="0"/>
            <a:r>
              <a:rPr lang="en-US" b="1" cap="all" dirty="0">
                <a:solidFill>
                  <a:schemeClr val="accent1"/>
                </a:solidFill>
                <a:latin typeface="+mj-lt"/>
              </a:rPr>
              <a:t>Text</a:t>
            </a:r>
          </a:p>
        </p:txBody>
      </p:sp>
      <p:sp>
        <p:nvSpPr>
          <p:cNvPr id="20" name="Rectangle 8">
            <a:extLst>
              <a:ext uri="{FF2B5EF4-FFF2-40B4-BE49-F238E27FC236}">
                <a16:creationId xmlns:a16="http://schemas.microsoft.com/office/drawing/2014/main" id="{027AA0B2-014F-429D-80A9-E7002F79B955}"/>
              </a:ext>
            </a:extLst>
          </p:cNvPr>
          <p:cNvSpPr>
            <a:spLocks noChangeArrowheads="1"/>
          </p:cNvSpPr>
          <p:nvPr/>
        </p:nvSpPr>
        <p:spPr bwMode="auto">
          <a:xfrm>
            <a:off x="4839836" y="5790862"/>
            <a:ext cx="2570614" cy="339231"/>
          </a:xfrm>
          <a:prstGeom prst="rect">
            <a:avLst/>
          </a:prstGeom>
          <a:noFill/>
          <a:ln w="6350">
            <a:noFill/>
            <a:miter lim="800000"/>
            <a:headEnd/>
            <a:tailEnd/>
          </a:ln>
          <a:effectLst/>
        </p:spPr>
        <p:txBody>
          <a:bodyPr wrap="none" lIns="45720" rIns="45720"/>
          <a:lstStyle/>
          <a:p>
            <a:pPr algn="ctr" eaLnBrk="0" hangingPunct="0"/>
            <a:r>
              <a:rPr lang="en-US" b="1" cap="all" dirty="0">
                <a:solidFill>
                  <a:schemeClr val="accent1"/>
                </a:solidFill>
                <a:latin typeface="+mj-lt"/>
              </a:rPr>
              <a:t>Text</a:t>
            </a:r>
          </a:p>
        </p:txBody>
      </p:sp>
      <p:sp>
        <p:nvSpPr>
          <p:cNvPr id="21" name="Rectangle 9">
            <a:extLst>
              <a:ext uri="{FF2B5EF4-FFF2-40B4-BE49-F238E27FC236}">
                <a16:creationId xmlns:a16="http://schemas.microsoft.com/office/drawing/2014/main" id="{E53E7E38-7C37-4F67-8EFE-737AC30187BB}"/>
              </a:ext>
            </a:extLst>
          </p:cNvPr>
          <p:cNvSpPr>
            <a:spLocks noChangeArrowheads="1"/>
          </p:cNvSpPr>
          <p:nvPr/>
        </p:nvSpPr>
        <p:spPr bwMode="auto">
          <a:xfrm>
            <a:off x="8183507" y="3475915"/>
            <a:ext cx="2570400" cy="317548"/>
          </a:xfrm>
          <a:prstGeom prst="rect">
            <a:avLst/>
          </a:prstGeom>
          <a:noFill/>
          <a:ln w="6350">
            <a:noFill/>
            <a:miter lim="800000"/>
            <a:headEnd/>
            <a:tailEnd/>
          </a:ln>
          <a:effectLst/>
        </p:spPr>
        <p:txBody>
          <a:bodyPr wrap="none" lIns="45720" rIns="45720" anchor="ctr" anchorCtr="0"/>
          <a:lstStyle/>
          <a:p>
            <a:pPr eaLnBrk="0" hangingPunct="0"/>
            <a:r>
              <a:rPr lang="en-US" b="1" cap="all" dirty="0">
                <a:solidFill>
                  <a:schemeClr val="accent1"/>
                </a:solidFill>
                <a:latin typeface="+mj-lt"/>
              </a:rPr>
              <a:t>Text</a:t>
            </a:r>
          </a:p>
        </p:txBody>
      </p:sp>
      <p:sp>
        <p:nvSpPr>
          <p:cNvPr id="22" name="Rectangle 10">
            <a:extLst>
              <a:ext uri="{FF2B5EF4-FFF2-40B4-BE49-F238E27FC236}">
                <a16:creationId xmlns:a16="http://schemas.microsoft.com/office/drawing/2014/main" id="{E0E9A336-72F1-48E1-95BE-62FF0F75D07B}"/>
              </a:ext>
            </a:extLst>
          </p:cNvPr>
          <p:cNvSpPr>
            <a:spLocks noChangeArrowheads="1"/>
          </p:cNvSpPr>
          <p:nvPr/>
        </p:nvSpPr>
        <p:spPr bwMode="auto">
          <a:xfrm>
            <a:off x="1466429" y="3507406"/>
            <a:ext cx="2570400" cy="254567"/>
          </a:xfrm>
          <a:prstGeom prst="rect">
            <a:avLst/>
          </a:prstGeom>
          <a:noFill/>
          <a:ln w="6350">
            <a:noFill/>
            <a:miter lim="800000"/>
            <a:headEnd/>
            <a:tailEnd/>
          </a:ln>
          <a:effectLst/>
        </p:spPr>
        <p:txBody>
          <a:bodyPr wrap="none" lIns="45720" rIns="45720" anchor="ctr" anchorCtr="0"/>
          <a:lstStyle/>
          <a:p>
            <a:pPr algn="r" eaLnBrk="0" hangingPunct="0"/>
            <a:r>
              <a:rPr lang="en-US" b="1" cap="all" dirty="0">
                <a:solidFill>
                  <a:schemeClr val="accent1"/>
                </a:solidFill>
                <a:latin typeface="+mj-lt"/>
              </a:rPr>
              <a:t>Text</a:t>
            </a:r>
          </a:p>
        </p:txBody>
      </p:sp>
    </p:spTree>
    <p:extLst>
      <p:ext uri="{BB962C8B-B14F-4D97-AF65-F5344CB8AC3E}">
        <p14:creationId xmlns:p14="http://schemas.microsoft.com/office/powerpoint/2010/main" val="120056393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Decentralization 2</a:t>
            </a:r>
          </a:p>
        </p:txBody>
      </p:sp>
      <p:sp>
        <p:nvSpPr>
          <p:cNvPr id="10" name="Freeform: Shape 9">
            <a:hlinkClick r:id="rId11"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3">
            <a:extLst>
              <a:ext uri="{FF2B5EF4-FFF2-40B4-BE49-F238E27FC236}">
                <a16:creationId xmlns:a16="http://schemas.microsoft.com/office/drawing/2014/main" id="{FB74D547-7283-46D2-9B93-3183F8E41913}"/>
              </a:ext>
            </a:extLst>
          </p:cNvPr>
          <p:cNvSpPr/>
          <p:nvPr/>
        </p:nvSpPr>
        <p:spPr>
          <a:xfrm>
            <a:off x="4892322" y="2429251"/>
            <a:ext cx="2403086" cy="2403607"/>
          </a:xfrm>
          <a:prstGeom prst="rect">
            <a:avLst/>
          </a:prstGeom>
          <a:noFill/>
          <a:ln w="9525" cap="flat" cmpd="sng" algn="ctr">
            <a:noFill/>
            <a:prstDash val="solid"/>
          </a:ln>
          <a:effectLst/>
        </p:spPr>
        <p:txBody>
          <a:bodyPr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2400" b="1" i="0" u="none" strike="noStrike" kern="0" cap="all" spc="0" normalizeH="0" baseline="0" noProof="0" dirty="0">
                <a:ln>
                  <a:noFill/>
                </a:ln>
                <a:solidFill>
                  <a:schemeClr val="accent2"/>
                </a:solidFill>
                <a:effectLst/>
                <a:uLnTx/>
                <a:uFillTx/>
                <a:latin typeface="Graphik Black"/>
                <a:ea typeface="+mn-ea"/>
                <a:cs typeface="+mn-cs"/>
              </a:rPr>
              <a:t>Text</a:t>
            </a:r>
          </a:p>
        </p:txBody>
      </p:sp>
      <p:grpSp>
        <p:nvGrpSpPr>
          <p:cNvPr id="5" name="Group 4">
            <a:extLst>
              <a:ext uri="{FF2B5EF4-FFF2-40B4-BE49-F238E27FC236}">
                <a16:creationId xmlns:a16="http://schemas.microsoft.com/office/drawing/2014/main" id="{1B8601A3-7EC1-472E-99B9-25A8779175BE}"/>
              </a:ext>
            </a:extLst>
          </p:cNvPr>
          <p:cNvGrpSpPr/>
          <p:nvPr/>
        </p:nvGrpSpPr>
        <p:grpSpPr>
          <a:xfrm>
            <a:off x="3682011" y="2429251"/>
            <a:ext cx="4823709" cy="2403607"/>
            <a:chOff x="677918" y="1518586"/>
            <a:chExt cx="8873861" cy="4421759"/>
          </a:xfrm>
          <a:solidFill>
            <a:schemeClr val="accent1"/>
          </a:solidFill>
        </p:grpSpPr>
        <p:sp>
          <p:nvSpPr>
            <p:cNvPr id="6" name="Isosceles Triangle 5">
              <a:extLst>
                <a:ext uri="{FF2B5EF4-FFF2-40B4-BE49-F238E27FC236}">
                  <a16:creationId xmlns:a16="http://schemas.microsoft.com/office/drawing/2014/main" id="{C722B60A-C1BC-4190-9E04-143B4680CBAE}"/>
                </a:ext>
              </a:extLst>
            </p:cNvPr>
            <p:cNvSpPr/>
            <p:nvPr/>
          </p:nvSpPr>
          <p:spPr>
            <a:xfrm rot="5400000">
              <a:off x="6227635" y="2616200"/>
              <a:ext cx="4421757" cy="2226530"/>
            </a:xfrm>
            <a:prstGeom prst="triangle">
              <a:avLst>
                <a:gd name="adj" fmla="val 49660"/>
              </a:avLst>
            </a:pr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7" name="Isosceles Triangle 6">
              <a:extLst>
                <a:ext uri="{FF2B5EF4-FFF2-40B4-BE49-F238E27FC236}">
                  <a16:creationId xmlns:a16="http://schemas.microsoft.com/office/drawing/2014/main" id="{006B7533-0DF0-4735-BEB4-BE5C8CA7935C}"/>
                </a:ext>
              </a:extLst>
            </p:cNvPr>
            <p:cNvSpPr/>
            <p:nvPr/>
          </p:nvSpPr>
          <p:spPr>
            <a:xfrm rot="16200000" flipH="1">
              <a:off x="-419696" y="2616202"/>
              <a:ext cx="4421757" cy="2226530"/>
            </a:xfrm>
            <a:prstGeom prst="triangle">
              <a:avLst>
                <a:gd name="adj" fmla="val 49660"/>
              </a:avLst>
            </a:pr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grpSp>
      <p:grpSp>
        <p:nvGrpSpPr>
          <p:cNvPr id="8" name="Group 7">
            <a:extLst>
              <a:ext uri="{FF2B5EF4-FFF2-40B4-BE49-F238E27FC236}">
                <a16:creationId xmlns:a16="http://schemas.microsoft.com/office/drawing/2014/main" id="{61EBBAB5-7738-442F-AEE8-542AD7316F0F}"/>
              </a:ext>
            </a:extLst>
          </p:cNvPr>
          <p:cNvGrpSpPr/>
          <p:nvPr/>
        </p:nvGrpSpPr>
        <p:grpSpPr>
          <a:xfrm rot="5400000">
            <a:off x="3682011" y="2429251"/>
            <a:ext cx="4823709" cy="2403607"/>
            <a:chOff x="677918" y="1518586"/>
            <a:chExt cx="8873861" cy="4421759"/>
          </a:xfrm>
          <a:solidFill>
            <a:schemeClr val="accent2"/>
          </a:solidFill>
        </p:grpSpPr>
        <p:sp>
          <p:nvSpPr>
            <p:cNvPr id="9" name="Isosceles Triangle 8">
              <a:extLst>
                <a:ext uri="{FF2B5EF4-FFF2-40B4-BE49-F238E27FC236}">
                  <a16:creationId xmlns:a16="http://schemas.microsoft.com/office/drawing/2014/main" id="{DB9E9E1C-C7E9-4482-9B96-0E0F32DA8F49}"/>
                </a:ext>
              </a:extLst>
            </p:cNvPr>
            <p:cNvSpPr/>
            <p:nvPr/>
          </p:nvSpPr>
          <p:spPr>
            <a:xfrm rot="5400000">
              <a:off x="6227635" y="2616200"/>
              <a:ext cx="4421757" cy="2226530"/>
            </a:xfrm>
            <a:prstGeom prst="triangle">
              <a:avLst>
                <a:gd name="adj" fmla="val 49660"/>
              </a:avLst>
            </a:pr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11" name="Isosceles Triangle 10">
              <a:extLst>
                <a:ext uri="{FF2B5EF4-FFF2-40B4-BE49-F238E27FC236}">
                  <a16:creationId xmlns:a16="http://schemas.microsoft.com/office/drawing/2014/main" id="{BC3D86AE-9FB6-435B-8563-7808031C685F}"/>
                </a:ext>
              </a:extLst>
            </p:cNvPr>
            <p:cNvSpPr/>
            <p:nvPr/>
          </p:nvSpPr>
          <p:spPr>
            <a:xfrm rot="16200000" flipH="1">
              <a:off x="-419696" y="2616202"/>
              <a:ext cx="4421757" cy="2226530"/>
            </a:xfrm>
            <a:prstGeom prst="triangle">
              <a:avLst>
                <a:gd name="adj" fmla="val 49660"/>
              </a:avLst>
            </a:prstGeom>
            <a:grp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grpSp>
      <p:sp>
        <p:nvSpPr>
          <p:cNvPr id="12" name="Rectangle 6">
            <a:extLst>
              <a:ext uri="{FF2B5EF4-FFF2-40B4-BE49-F238E27FC236}">
                <a16:creationId xmlns:a16="http://schemas.microsoft.com/office/drawing/2014/main" id="{05B4E2CA-9B57-4577-BA0A-FBBDB35C3BE0}"/>
              </a:ext>
            </a:extLst>
          </p:cNvPr>
          <p:cNvSpPr>
            <a:spLocks noChangeArrowheads="1"/>
          </p:cNvSpPr>
          <p:nvPr>
            <p:custDataLst>
              <p:tags r:id="rId1"/>
            </p:custDataLst>
          </p:nvPr>
        </p:nvSpPr>
        <p:spPr bwMode="auto">
          <a:xfrm>
            <a:off x="3682010" y="3291537"/>
            <a:ext cx="1210052" cy="657465"/>
          </a:xfrm>
          <a:prstGeom prst="rect">
            <a:avLst/>
          </a:prstGeom>
          <a:noFill/>
          <a:ln w="6350">
            <a:noFill/>
            <a:miter lim="800000"/>
            <a:headEnd/>
            <a:tailEnd/>
          </a:ln>
          <a:effectLst/>
        </p:spPr>
        <p:txBody>
          <a:bodyPr lIns="0" tIns="0" rIns="0" bIns="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1200" cap="all" spc="0" normalizeH="0" baseline="0" noProof="0" dirty="0">
                <a:ln>
                  <a:noFill/>
                </a:ln>
                <a:solidFill>
                  <a:srgbClr val="FFFFFF"/>
                </a:solidFill>
                <a:effectLst/>
                <a:uLnTx/>
                <a:uFillTx/>
                <a:latin typeface="Graphik Black"/>
                <a:ea typeface="+mn-ea"/>
                <a:cs typeface="+mn-cs"/>
              </a:rPr>
              <a:t>Text</a:t>
            </a:r>
          </a:p>
        </p:txBody>
      </p:sp>
      <p:sp>
        <p:nvSpPr>
          <p:cNvPr id="13" name="Rectangle 6">
            <a:extLst>
              <a:ext uri="{FF2B5EF4-FFF2-40B4-BE49-F238E27FC236}">
                <a16:creationId xmlns:a16="http://schemas.microsoft.com/office/drawing/2014/main" id="{380B7D1B-AC7A-403A-BB12-DFA1C79A0B94}"/>
              </a:ext>
            </a:extLst>
          </p:cNvPr>
          <p:cNvSpPr>
            <a:spLocks noChangeArrowheads="1"/>
          </p:cNvSpPr>
          <p:nvPr>
            <p:custDataLst>
              <p:tags r:id="rId2"/>
            </p:custDataLst>
          </p:nvPr>
        </p:nvSpPr>
        <p:spPr bwMode="auto">
          <a:xfrm>
            <a:off x="7295668" y="3291537"/>
            <a:ext cx="1210052" cy="657465"/>
          </a:xfrm>
          <a:prstGeom prst="rect">
            <a:avLst/>
          </a:prstGeom>
          <a:noFill/>
          <a:ln w="6350">
            <a:noFill/>
            <a:miter lim="800000"/>
            <a:headEnd/>
            <a:tailEnd/>
          </a:ln>
          <a:effectLst/>
        </p:spPr>
        <p:txBody>
          <a:bodyPr lIns="0" tIns="0" rIns="0" bIns="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1200" cap="all" spc="0" normalizeH="0" baseline="0" noProof="0" dirty="0">
                <a:ln>
                  <a:noFill/>
                </a:ln>
                <a:solidFill>
                  <a:srgbClr val="FFFFFF"/>
                </a:solidFill>
                <a:effectLst/>
                <a:uLnTx/>
                <a:uFillTx/>
                <a:latin typeface="Graphik Black"/>
                <a:ea typeface="+mn-ea"/>
                <a:cs typeface="+mn-cs"/>
              </a:rPr>
              <a:t>Text</a:t>
            </a:r>
          </a:p>
        </p:txBody>
      </p:sp>
      <p:sp>
        <p:nvSpPr>
          <p:cNvPr id="14" name="Rectangle 6">
            <a:extLst>
              <a:ext uri="{FF2B5EF4-FFF2-40B4-BE49-F238E27FC236}">
                <a16:creationId xmlns:a16="http://schemas.microsoft.com/office/drawing/2014/main" id="{EDC1AC6E-5F82-429F-8B4E-8DCCA40E8279}"/>
              </a:ext>
            </a:extLst>
          </p:cNvPr>
          <p:cNvSpPr>
            <a:spLocks noChangeArrowheads="1"/>
          </p:cNvSpPr>
          <p:nvPr>
            <p:custDataLst>
              <p:tags r:id="rId3"/>
            </p:custDataLst>
          </p:nvPr>
        </p:nvSpPr>
        <p:spPr bwMode="auto">
          <a:xfrm>
            <a:off x="5488839" y="1771785"/>
            <a:ext cx="1210052" cy="657465"/>
          </a:xfrm>
          <a:prstGeom prst="rect">
            <a:avLst/>
          </a:prstGeom>
          <a:noFill/>
          <a:ln w="6350">
            <a:noFill/>
            <a:miter lim="800000"/>
            <a:headEnd/>
            <a:tailEnd/>
          </a:ln>
          <a:effectLst/>
        </p:spPr>
        <p:txBody>
          <a:bodyPr lIns="0" tIns="0" rIns="0" bIns="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1200" cap="all" spc="0" normalizeH="0" baseline="0" noProof="0" dirty="0">
                <a:ln>
                  <a:noFill/>
                </a:ln>
                <a:solidFill>
                  <a:srgbClr val="FFFFFF"/>
                </a:solidFill>
                <a:effectLst/>
                <a:uLnTx/>
                <a:uFillTx/>
                <a:latin typeface="Graphik Black"/>
                <a:ea typeface="+mn-ea"/>
                <a:cs typeface="+mn-cs"/>
              </a:rPr>
              <a:t>Text</a:t>
            </a:r>
          </a:p>
        </p:txBody>
      </p:sp>
      <p:sp>
        <p:nvSpPr>
          <p:cNvPr id="15" name="Rectangle 6">
            <a:extLst>
              <a:ext uri="{FF2B5EF4-FFF2-40B4-BE49-F238E27FC236}">
                <a16:creationId xmlns:a16="http://schemas.microsoft.com/office/drawing/2014/main" id="{E50ACCBD-5417-48CB-BF0F-DCD10A9B0784}"/>
              </a:ext>
            </a:extLst>
          </p:cNvPr>
          <p:cNvSpPr>
            <a:spLocks noChangeArrowheads="1"/>
          </p:cNvSpPr>
          <p:nvPr>
            <p:custDataLst>
              <p:tags r:id="rId4"/>
            </p:custDataLst>
          </p:nvPr>
        </p:nvSpPr>
        <p:spPr bwMode="auto">
          <a:xfrm>
            <a:off x="5488839" y="4832337"/>
            <a:ext cx="1210052" cy="657465"/>
          </a:xfrm>
          <a:prstGeom prst="rect">
            <a:avLst/>
          </a:prstGeom>
          <a:noFill/>
          <a:ln w="6350">
            <a:noFill/>
            <a:miter lim="800000"/>
            <a:headEnd/>
            <a:tailEnd/>
          </a:ln>
          <a:effectLst/>
        </p:spPr>
        <p:txBody>
          <a:bodyPr lIns="0" tIns="0" rIns="0" bIns="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1200" cap="all" spc="0" normalizeH="0" baseline="0" noProof="0" dirty="0">
                <a:ln>
                  <a:noFill/>
                </a:ln>
                <a:solidFill>
                  <a:srgbClr val="FFFFFF"/>
                </a:solidFill>
                <a:effectLst/>
                <a:uLnTx/>
                <a:uFillTx/>
                <a:latin typeface="Graphik Black"/>
                <a:ea typeface="+mn-ea"/>
                <a:cs typeface="+mn-cs"/>
              </a:rPr>
              <a:t>Text</a:t>
            </a:r>
          </a:p>
        </p:txBody>
      </p:sp>
      <p:sp>
        <p:nvSpPr>
          <p:cNvPr id="16" name="Rectangle 7">
            <a:extLst>
              <a:ext uri="{FF2B5EF4-FFF2-40B4-BE49-F238E27FC236}">
                <a16:creationId xmlns:a16="http://schemas.microsoft.com/office/drawing/2014/main" id="{2AC0A91B-7036-4E05-9BEA-F34D2705C46B}"/>
              </a:ext>
            </a:extLst>
          </p:cNvPr>
          <p:cNvSpPr>
            <a:spLocks noChangeArrowheads="1"/>
          </p:cNvSpPr>
          <p:nvPr>
            <p:custDataLst>
              <p:tags r:id="rId5"/>
            </p:custDataLst>
          </p:nvPr>
        </p:nvSpPr>
        <p:spPr bwMode="auto">
          <a:xfrm>
            <a:off x="453436" y="2712144"/>
            <a:ext cx="2026901" cy="1816249"/>
          </a:xfrm>
          <a:prstGeom prst="rect">
            <a:avLst/>
          </a:prstGeom>
          <a:noFill/>
          <a:ln w="6350">
            <a:noFill/>
            <a:miter lim="800000"/>
            <a:headEnd/>
            <a:tailEnd/>
          </a:ln>
          <a:effectLst/>
        </p:spPr>
        <p:txBody>
          <a:bodyPr lIns="0" tIns="0" rIns="0" bIns="0" anchor="ctr" anchorCtr="0"/>
          <a:lstStyle/>
          <a:p>
            <a:pPr marL="0" marR="0" lvl="0" indent="0" algn="r" defTabSz="914400" rtl="0" eaLnBrk="0" fontAlgn="auto" latinLnBrk="0" hangingPunct="0">
              <a:lnSpc>
                <a:spcPct val="90000"/>
              </a:lnSpc>
              <a:spcBef>
                <a:spcPts val="1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Insert text here</a:t>
            </a:r>
          </a:p>
        </p:txBody>
      </p:sp>
      <p:cxnSp>
        <p:nvCxnSpPr>
          <p:cNvPr id="17" name="Straight Arrow Connector 16">
            <a:extLst>
              <a:ext uri="{FF2B5EF4-FFF2-40B4-BE49-F238E27FC236}">
                <a16:creationId xmlns:a16="http://schemas.microsoft.com/office/drawing/2014/main" id="{332D662B-F74A-43B4-B8B6-1B1D4B41160D}"/>
              </a:ext>
            </a:extLst>
          </p:cNvPr>
          <p:cNvCxnSpPr/>
          <p:nvPr/>
        </p:nvCxnSpPr>
        <p:spPr>
          <a:xfrm flipH="1">
            <a:off x="2719271" y="3621505"/>
            <a:ext cx="832223" cy="0"/>
          </a:xfrm>
          <a:prstGeom prst="straightConnector1">
            <a:avLst/>
          </a:prstGeom>
          <a:noFill/>
          <a:ln w="19050" cap="flat" cmpd="sng" algn="ctr">
            <a:solidFill>
              <a:srgbClr val="96968C">
                <a:lumMod val="60000"/>
                <a:lumOff val="40000"/>
              </a:srgbClr>
            </a:solidFill>
            <a:prstDash val="sysDot"/>
            <a:tailEnd type="triangle"/>
          </a:ln>
          <a:effectLst/>
        </p:spPr>
      </p:cxnSp>
      <p:cxnSp>
        <p:nvCxnSpPr>
          <p:cNvPr id="18" name="Straight Arrow Connector 17">
            <a:extLst>
              <a:ext uri="{FF2B5EF4-FFF2-40B4-BE49-F238E27FC236}">
                <a16:creationId xmlns:a16="http://schemas.microsoft.com/office/drawing/2014/main" id="{EAAD22A6-92D2-447B-AA56-0D21118E565A}"/>
              </a:ext>
            </a:extLst>
          </p:cNvPr>
          <p:cNvCxnSpPr/>
          <p:nvPr/>
        </p:nvCxnSpPr>
        <p:spPr>
          <a:xfrm>
            <a:off x="8638625" y="3621505"/>
            <a:ext cx="832223" cy="0"/>
          </a:xfrm>
          <a:prstGeom prst="straightConnector1">
            <a:avLst/>
          </a:prstGeom>
          <a:noFill/>
          <a:ln w="19050" cap="flat" cmpd="sng" algn="ctr">
            <a:solidFill>
              <a:srgbClr val="96968C">
                <a:lumMod val="60000"/>
                <a:lumOff val="40000"/>
              </a:srgbClr>
            </a:solidFill>
            <a:prstDash val="sysDot"/>
            <a:tailEnd type="triangle"/>
          </a:ln>
          <a:effectLst/>
        </p:spPr>
      </p:cxnSp>
      <p:sp>
        <p:nvSpPr>
          <p:cNvPr id="19" name="Rectangle 7">
            <a:extLst>
              <a:ext uri="{FF2B5EF4-FFF2-40B4-BE49-F238E27FC236}">
                <a16:creationId xmlns:a16="http://schemas.microsoft.com/office/drawing/2014/main" id="{3A398743-51D8-4D16-8E60-8A3AE97F271F}"/>
              </a:ext>
            </a:extLst>
          </p:cNvPr>
          <p:cNvSpPr>
            <a:spLocks noChangeArrowheads="1"/>
          </p:cNvSpPr>
          <p:nvPr>
            <p:custDataLst>
              <p:tags r:id="rId6"/>
            </p:custDataLst>
          </p:nvPr>
        </p:nvSpPr>
        <p:spPr bwMode="auto">
          <a:xfrm>
            <a:off x="9698494" y="2712144"/>
            <a:ext cx="2026901" cy="1816249"/>
          </a:xfrm>
          <a:prstGeom prst="rect">
            <a:avLst/>
          </a:prstGeom>
          <a:noFill/>
          <a:ln w="6350">
            <a:noFill/>
            <a:miter lim="800000"/>
            <a:headEnd/>
            <a:tailEnd/>
          </a:ln>
          <a:effectLst/>
        </p:spPr>
        <p:txBody>
          <a:bodyPr lIns="0" tIns="0" rIns="0" bIns="0" anchor="ctr" anchorCtr="0"/>
          <a:lstStyle/>
          <a:p>
            <a:pPr marL="0" marR="0" lvl="0" indent="0" algn="l" defTabSz="914400" rtl="0" eaLnBrk="0" fontAlgn="auto" latinLnBrk="0" hangingPunct="0">
              <a:lnSpc>
                <a:spcPct val="90000"/>
              </a:lnSpc>
              <a:spcBef>
                <a:spcPts val="1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Insert text here</a:t>
            </a:r>
          </a:p>
        </p:txBody>
      </p:sp>
      <p:cxnSp>
        <p:nvCxnSpPr>
          <p:cNvPr id="20" name="Straight Arrow Connector 19">
            <a:extLst>
              <a:ext uri="{FF2B5EF4-FFF2-40B4-BE49-F238E27FC236}">
                <a16:creationId xmlns:a16="http://schemas.microsoft.com/office/drawing/2014/main" id="{B689B1A8-30F5-4EC0-BCA2-DFE1F3A4880D}"/>
              </a:ext>
            </a:extLst>
          </p:cNvPr>
          <p:cNvCxnSpPr/>
          <p:nvPr/>
        </p:nvCxnSpPr>
        <p:spPr>
          <a:xfrm>
            <a:off x="6257386" y="1206181"/>
            <a:ext cx="832223" cy="0"/>
          </a:xfrm>
          <a:prstGeom prst="straightConnector1">
            <a:avLst/>
          </a:prstGeom>
          <a:noFill/>
          <a:ln w="19050" cap="flat" cmpd="sng" algn="ctr">
            <a:solidFill>
              <a:srgbClr val="96968C">
                <a:lumMod val="60000"/>
                <a:lumOff val="40000"/>
              </a:srgbClr>
            </a:solidFill>
            <a:prstDash val="sysDot"/>
            <a:tailEnd type="triangle"/>
          </a:ln>
          <a:effectLst/>
        </p:spPr>
      </p:cxnSp>
      <p:sp>
        <p:nvSpPr>
          <p:cNvPr id="21" name="Rectangle 7">
            <a:extLst>
              <a:ext uri="{FF2B5EF4-FFF2-40B4-BE49-F238E27FC236}">
                <a16:creationId xmlns:a16="http://schemas.microsoft.com/office/drawing/2014/main" id="{E6547FD6-F74C-487B-B2B1-9BCB1EAB8757}"/>
              </a:ext>
            </a:extLst>
          </p:cNvPr>
          <p:cNvSpPr>
            <a:spLocks noChangeArrowheads="1"/>
          </p:cNvSpPr>
          <p:nvPr>
            <p:custDataLst>
              <p:tags r:id="rId7"/>
            </p:custDataLst>
          </p:nvPr>
        </p:nvSpPr>
        <p:spPr bwMode="auto">
          <a:xfrm>
            <a:off x="7317255" y="1100322"/>
            <a:ext cx="2026901" cy="972516"/>
          </a:xfrm>
          <a:prstGeom prst="rect">
            <a:avLst/>
          </a:prstGeom>
          <a:noFill/>
          <a:ln w="6350">
            <a:noFill/>
            <a:miter lim="800000"/>
            <a:headEnd/>
            <a:tailEnd/>
          </a:ln>
          <a:effectLst/>
        </p:spPr>
        <p:txBody>
          <a:bodyPr lIns="0" tIns="0" rIns="0" bIns="0" anchor="t" anchorCtr="0"/>
          <a:lstStyle/>
          <a:p>
            <a:pPr marL="0" marR="0" lvl="0" indent="0" algn="l" defTabSz="914400" rtl="0" eaLnBrk="0" fontAlgn="auto" latinLnBrk="0" hangingPunct="0">
              <a:lnSpc>
                <a:spcPct val="90000"/>
              </a:lnSpc>
              <a:spcBef>
                <a:spcPts val="1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Insert text here</a:t>
            </a:r>
          </a:p>
        </p:txBody>
      </p:sp>
      <p:cxnSp>
        <p:nvCxnSpPr>
          <p:cNvPr id="22" name="Straight Arrow Connector 21">
            <a:extLst>
              <a:ext uri="{FF2B5EF4-FFF2-40B4-BE49-F238E27FC236}">
                <a16:creationId xmlns:a16="http://schemas.microsoft.com/office/drawing/2014/main" id="{0753D421-E3D1-431E-ADDD-F8C1EE356F41}"/>
              </a:ext>
            </a:extLst>
          </p:cNvPr>
          <p:cNvCxnSpPr/>
          <p:nvPr/>
        </p:nvCxnSpPr>
        <p:spPr>
          <a:xfrm flipH="1">
            <a:off x="5072727" y="6027439"/>
            <a:ext cx="832223" cy="0"/>
          </a:xfrm>
          <a:prstGeom prst="straightConnector1">
            <a:avLst/>
          </a:prstGeom>
          <a:noFill/>
          <a:ln w="19050" cap="flat" cmpd="sng" algn="ctr">
            <a:solidFill>
              <a:srgbClr val="96968C">
                <a:lumMod val="60000"/>
                <a:lumOff val="40000"/>
              </a:srgbClr>
            </a:solidFill>
            <a:prstDash val="sysDot"/>
            <a:tailEnd type="triangle"/>
          </a:ln>
          <a:effectLst/>
        </p:spPr>
      </p:cxnSp>
      <p:sp>
        <p:nvSpPr>
          <p:cNvPr id="23" name="Rectangle 7">
            <a:extLst>
              <a:ext uri="{FF2B5EF4-FFF2-40B4-BE49-F238E27FC236}">
                <a16:creationId xmlns:a16="http://schemas.microsoft.com/office/drawing/2014/main" id="{35C24641-CBCA-4AC3-A26E-B26C52635D3C}"/>
              </a:ext>
            </a:extLst>
          </p:cNvPr>
          <p:cNvSpPr>
            <a:spLocks noChangeArrowheads="1"/>
          </p:cNvSpPr>
          <p:nvPr>
            <p:custDataLst>
              <p:tags r:id="rId8"/>
            </p:custDataLst>
          </p:nvPr>
        </p:nvSpPr>
        <p:spPr bwMode="auto">
          <a:xfrm>
            <a:off x="2921699" y="5166648"/>
            <a:ext cx="2026901" cy="972516"/>
          </a:xfrm>
          <a:prstGeom prst="rect">
            <a:avLst/>
          </a:prstGeom>
          <a:noFill/>
          <a:ln w="6350">
            <a:noFill/>
            <a:miter lim="800000"/>
            <a:headEnd/>
            <a:tailEnd/>
          </a:ln>
          <a:effectLst/>
        </p:spPr>
        <p:txBody>
          <a:bodyPr lIns="0" tIns="0" rIns="0" bIns="0" anchor="b" anchorCtr="0"/>
          <a:lstStyle/>
          <a:p>
            <a:pPr marL="0" marR="0" lvl="0" indent="0" algn="r" defTabSz="914400" rtl="0" eaLnBrk="0" fontAlgn="auto" latinLnBrk="0" hangingPunct="0">
              <a:lnSpc>
                <a:spcPct val="90000"/>
              </a:lnSpc>
              <a:spcBef>
                <a:spcPts val="1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Insert text here</a:t>
            </a:r>
          </a:p>
        </p:txBody>
      </p:sp>
      <p:sp>
        <p:nvSpPr>
          <p:cNvPr id="3" name="Rectangle 2">
            <a:hlinkClick r:id="rId11" action="ppaction://hlinksldjump"/>
            <a:extLst>
              <a:ext uri="{FF2B5EF4-FFF2-40B4-BE49-F238E27FC236}">
                <a16:creationId xmlns:a16="http://schemas.microsoft.com/office/drawing/2014/main" id="{9E5E4188-28D2-4A0E-BB81-1BF8473B03E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29994365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Centralization/Decentralization</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406A0C1-F7F3-4641-8F66-E674F082EEF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8" name="TextBox 27">
            <a:extLst>
              <a:ext uri="{FF2B5EF4-FFF2-40B4-BE49-F238E27FC236}">
                <a16:creationId xmlns:a16="http://schemas.microsoft.com/office/drawing/2014/main" id="{0E362D33-0408-483A-A0CF-CAE15A687B2D}"/>
              </a:ext>
            </a:extLst>
          </p:cNvPr>
          <p:cNvSpPr txBox="1"/>
          <p:nvPr/>
        </p:nvSpPr>
        <p:spPr>
          <a:xfrm>
            <a:off x="396382" y="1288295"/>
            <a:ext cx="5524813" cy="355939"/>
          </a:xfrm>
          <a:prstGeom prst="rect">
            <a:avLst/>
          </a:prstGeom>
        </p:spPr>
        <p:txBody>
          <a:bodyPr vert="horz" wrap="square" lIns="0" tIns="0" rIns="0" bIns="0" rtlCol="0" anchor="b" anchorCtr="0">
            <a:noAutofit/>
          </a:bodyPr>
          <a:lstStyle/>
          <a:p>
            <a:r>
              <a:rPr lang="en-AU" sz="1400" b="1" dirty="0">
                <a:latin typeface="+mj-lt"/>
              </a:rPr>
              <a:t>Centralization</a:t>
            </a:r>
            <a:endParaRPr lang="en-AU" sz="1400" b="1" cap="all" dirty="0">
              <a:latin typeface="+mj-lt"/>
            </a:endParaRPr>
          </a:p>
        </p:txBody>
      </p:sp>
      <p:cxnSp>
        <p:nvCxnSpPr>
          <p:cNvPr id="29" name="Straight Arrow Connector 28">
            <a:extLst>
              <a:ext uri="{FF2B5EF4-FFF2-40B4-BE49-F238E27FC236}">
                <a16:creationId xmlns:a16="http://schemas.microsoft.com/office/drawing/2014/main" id="{A61B664C-8624-4EAA-B03E-94564FE0FAFB}"/>
              </a:ext>
            </a:extLst>
          </p:cNvPr>
          <p:cNvCxnSpPr/>
          <p:nvPr/>
        </p:nvCxnSpPr>
        <p:spPr>
          <a:xfrm>
            <a:off x="381000" y="1758224"/>
            <a:ext cx="5540195" cy="0"/>
          </a:xfrm>
          <a:prstGeom prst="straightConnector1">
            <a:avLst/>
          </a:prstGeom>
          <a:ln w="190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CAD22914-A55A-4FB7-98D6-FC9D5A17CD3E}"/>
              </a:ext>
            </a:extLst>
          </p:cNvPr>
          <p:cNvSpPr txBox="1"/>
          <p:nvPr/>
        </p:nvSpPr>
        <p:spPr>
          <a:xfrm>
            <a:off x="1802751" y="2259536"/>
            <a:ext cx="2706672" cy="809995"/>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sz="1400" b="1" cap="all" dirty="0">
                <a:solidFill>
                  <a:schemeClr val="bg1"/>
                </a:solidFill>
                <a:latin typeface="+mj-lt"/>
              </a:rPr>
              <a:t>Text</a:t>
            </a:r>
          </a:p>
        </p:txBody>
      </p:sp>
      <p:sp>
        <p:nvSpPr>
          <p:cNvPr id="31" name="Rectangle 16">
            <a:extLst>
              <a:ext uri="{FF2B5EF4-FFF2-40B4-BE49-F238E27FC236}">
                <a16:creationId xmlns:a16="http://schemas.microsoft.com/office/drawing/2014/main" id="{75AAB7A3-2C39-4226-B22A-763BCE740778}"/>
              </a:ext>
            </a:extLst>
          </p:cNvPr>
          <p:cNvSpPr>
            <a:spLocks noChangeArrowheads="1"/>
          </p:cNvSpPr>
          <p:nvPr/>
        </p:nvSpPr>
        <p:spPr bwMode="auto">
          <a:xfrm>
            <a:off x="390977" y="3706826"/>
            <a:ext cx="1282239" cy="1630349"/>
          </a:xfrm>
          <a:prstGeom prst="rect">
            <a:avLst/>
          </a:prstGeom>
          <a:solidFill>
            <a:schemeClr val="tx2">
              <a:lumMod val="20000"/>
              <a:lumOff val="80000"/>
            </a:schemeClr>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tx1"/>
                </a:solidFill>
              </a:rPr>
              <a:t>Text</a:t>
            </a:r>
          </a:p>
        </p:txBody>
      </p:sp>
      <p:sp>
        <p:nvSpPr>
          <p:cNvPr id="32" name="Rectangle 23">
            <a:extLst>
              <a:ext uri="{FF2B5EF4-FFF2-40B4-BE49-F238E27FC236}">
                <a16:creationId xmlns:a16="http://schemas.microsoft.com/office/drawing/2014/main" id="{56ED9D35-00CA-4B70-AAB8-1E82F42F73BE}"/>
              </a:ext>
            </a:extLst>
          </p:cNvPr>
          <p:cNvSpPr>
            <a:spLocks noChangeArrowheads="1"/>
          </p:cNvSpPr>
          <p:nvPr/>
        </p:nvSpPr>
        <p:spPr bwMode="auto">
          <a:xfrm>
            <a:off x="1808982" y="3706826"/>
            <a:ext cx="1282239" cy="1630349"/>
          </a:xfrm>
          <a:prstGeom prst="rect">
            <a:avLst/>
          </a:prstGeom>
          <a:solidFill>
            <a:schemeClr val="tx2">
              <a:lumMod val="20000"/>
              <a:lumOff val="80000"/>
            </a:schemeClr>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tx1"/>
                </a:solidFill>
              </a:rPr>
              <a:t>Text</a:t>
            </a:r>
          </a:p>
        </p:txBody>
      </p:sp>
      <p:sp>
        <p:nvSpPr>
          <p:cNvPr id="33" name="Rectangle 24">
            <a:extLst>
              <a:ext uri="{FF2B5EF4-FFF2-40B4-BE49-F238E27FC236}">
                <a16:creationId xmlns:a16="http://schemas.microsoft.com/office/drawing/2014/main" id="{FB3167A0-1E57-421A-A53F-8636A7E525CE}"/>
              </a:ext>
            </a:extLst>
          </p:cNvPr>
          <p:cNvSpPr>
            <a:spLocks noChangeArrowheads="1"/>
          </p:cNvSpPr>
          <p:nvPr/>
        </p:nvSpPr>
        <p:spPr bwMode="auto">
          <a:xfrm>
            <a:off x="3223970" y="3706826"/>
            <a:ext cx="1282239" cy="1630349"/>
          </a:xfrm>
          <a:prstGeom prst="rect">
            <a:avLst/>
          </a:prstGeom>
          <a:solidFill>
            <a:schemeClr val="tx2">
              <a:lumMod val="20000"/>
              <a:lumOff val="80000"/>
            </a:schemeClr>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tx1"/>
                </a:solidFill>
              </a:rPr>
              <a:t>Text</a:t>
            </a:r>
          </a:p>
        </p:txBody>
      </p:sp>
      <p:sp>
        <p:nvSpPr>
          <p:cNvPr id="34" name="Rectangle 25">
            <a:extLst>
              <a:ext uri="{FF2B5EF4-FFF2-40B4-BE49-F238E27FC236}">
                <a16:creationId xmlns:a16="http://schemas.microsoft.com/office/drawing/2014/main" id="{29B8A8FD-4377-479C-AE42-67B3B8B7AB23}"/>
              </a:ext>
            </a:extLst>
          </p:cNvPr>
          <p:cNvSpPr>
            <a:spLocks noChangeArrowheads="1"/>
          </p:cNvSpPr>
          <p:nvPr/>
        </p:nvSpPr>
        <p:spPr bwMode="auto">
          <a:xfrm>
            <a:off x="4638958" y="3706826"/>
            <a:ext cx="1282239" cy="1630349"/>
          </a:xfrm>
          <a:prstGeom prst="rect">
            <a:avLst/>
          </a:prstGeom>
          <a:solidFill>
            <a:schemeClr val="tx2">
              <a:lumMod val="20000"/>
              <a:lumOff val="80000"/>
            </a:schemeClr>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dirty="0">
                <a:solidFill>
                  <a:schemeClr val="tx1"/>
                </a:solidFill>
              </a:rPr>
              <a:t>Text</a:t>
            </a:r>
          </a:p>
        </p:txBody>
      </p:sp>
      <p:cxnSp>
        <p:nvCxnSpPr>
          <p:cNvPr id="35" name="Connector: Elbow 34">
            <a:extLst>
              <a:ext uri="{FF2B5EF4-FFF2-40B4-BE49-F238E27FC236}">
                <a16:creationId xmlns:a16="http://schemas.microsoft.com/office/drawing/2014/main" id="{C7CE8B10-9D73-41CE-9590-B2FFC14F37F1}"/>
              </a:ext>
            </a:extLst>
          </p:cNvPr>
          <p:cNvCxnSpPr>
            <a:stCxn id="30" idx="2"/>
            <a:endCxn id="32" idx="0"/>
          </p:cNvCxnSpPr>
          <p:nvPr/>
        </p:nvCxnSpPr>
        <p:spPr>
          <a:xfrm rot="5400000">
            <a:off x="2484447" y="3035186"/>
            <a:ext cx="637295" cy="705986"/>
          </a:xfrm>
          <a:prstGeom prst="bentConnector3">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98925D3D-185F-485C-918E-AE22E8389C62}"/>
              </a:ext>
            </a:extLst>
          </p:cNvPr>
          <p:cNvCxnSpPr>
            <a:stCxn id="30" idx="2"/>
            <a:endCxn id="33" idx="0"/>
          </p:cNvCxnSpPr>
          <p:nvPr/>
        </p:nvCxnSpPr>
        <p:spPr>
          <a:xfrm rot="16200000" flipH="1">
            <a:off x="3191941" y="3033677"/>
            <a:ext cx="637295" cy="709003"/>
          </a:xfrm>
          <a:prstGeom prst="bentConnector3">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54576FCE-6947-4AB8-A047-1F2C29EEF687}"/>
              </a:ext>
            </a:extLst>
          </p:cNvPr>
          <p:cNvCxnSpPr>
            <a:stCxn id="30" idx="2"/>
            <a:endCxn id="31" idx="0"/>
          </p:cNvCxnSpPr>
          <p:nvPr/>
        </p:nvCxnSpPr>
        <p:spPr>
          <a:xfrm rot="5400000">
            <a:off x="1775445" y="2326183"/>
            <a:ext cx="637295" cy="2123991"/>
          </a:xfrm>
          <a:prstGeom prst="bentConnector3">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615354D8-B4B5-49C7-905C-509F495968EB}"/>
              </a:ext>
            </a:extLst>
          </p:cNvPr>
          <p:cNvCxnSpPr>
            <a:stCxn id="30" idx="2"/>
            <a:endCxn id="34" idx="0"/>
          </p:cNvCxnSpPr>
          <p:nvPr/>
        </p:nvCxnSpPr>
        <p:spPr>
          <a:xfrm rot="16200000" flipH="1">
            <a:off x="3899435" y="2326182"/>
            <a:ext cx="637295" cy="2123991"/>
          </a:xfrm>
          <a:prstGeom prst="bentConnector3">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8BAD250-8873-4900-AD63-0291FFD8E993}"/>
              </a:ext>
            </a:extLst>
          </p:cNvPr>
          <p:cNvSpPr txBox="1"/>
          <p:nvPr/>
        </p:nvSpPr>
        <p:spPr>
          <a:xfrm>
            <a:off x="6286187" y="1288295"/>
            <a:ext cx="5524813" cy="355939"/>
          </a:xfrm>
          <a:prstGeom prst="rect">
            <a:avLst/>
          </a:prstGeom>
        </p:spPr>
        <p:txBody>
          <a:bodyPr vert="horz" wrap="square" lIns="0" tIns="0" rIns="0" bIns="0" rtlCol="0" anchor="b" anchorCtr="0">
            <a:noAutofit/>
          </a:bodyPr>
          <a:lstStyle/>
          <a:p>
            <a:r>
              <a:rPr lang="en-AU" sz="1400" b="1" dirty="0">
                <a:latin typeface="+mj-lt"/>
              </a:rPr>
              <a:t>Decentralization</a:t>
            </a:r>
            <a:endParaRPr lang="en-AU" sz="1400" b="1" cap="all" dirty="0">
              <a:latin typeface="+mj-lt"/>
            </a:endParaRPr>
          </a:p>
        </p:txBody>
      </p:sp>
      <p:cxnSp>
        <p:nvCxnSpPr>
          <p:cNvPr id="40" name="Straight Arrow Connector 39">
            <a:extLst>
              <a:ext uri="{FF2B5EF4-FFF2-40B4-BE49-F238E27FC236}">
                <a16:creationId xmlns:a16="http://schemas.microsoft.com/office/drawing/2014/main" id="{A3DDE8DD-70C7-49D7-B7CC-29CA9499AD61}"/>
              </a:ext>
            </a:extLst>
          </p:cNvPr>
          <p:cNvCxnSpPr/>
          <p:nvPr/>
        </p:nvCxnSpPr>
        <p:spPr>
          <a:xfrm>
            <a:off x="6270805" y="1758224"/>
            <a:ext cx="5540195" cy="0"/>
          </a:xfrm>
          <a:prstGeom prst="straightConnector1">
            <a:avLst/>
          </a:prstGeom>
          <a:ln w="190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1" name="Rectangle 5">
            <a:extLst>
              <a:ext uri="{FF2B5EF4-FFF2-40B4-BE49-F238E27FC236}">
                <a16:creationId xmlns:a16="http://schemas.microsoft.com/office/drawing/2014/main" id="{F936897E-89BD-4437-AF4F-FF08BAE955C9}"/>
              </a:ext>
            </a:extLst>
          </p:cNvPr>
          <p:cNvSpPr>
            <a:spLocks noChangeArrowheads="1"/>
          </p:cNvSpPr>
          <p:nvPr/>
        </p:nvSpPr>
        <p:spPr bwMode="auto">
          <a:xfrm>
            <a:off x="6867275" y="3405790"/>
            <a:ext cx="1171791" cy="1494219"/>
          </a:xfrm>
          <a:prstGeom prst="rect">
            <a:avLst/>
          </a:prstGeom>
          <a:solidFill>
            <a:schemeClr val="accent6"/>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bg1"/>
                </a:solidFill>
              </a:rPr>
              <a:t>Text</a:t>
            </a:r>
          </a:p>
        </p:txBody>
      </p:sp>
      <p:sp>
        <p:nvSpPr>
          <p:cNvPr id="42" name="Rectangle 6">
            <a:extLst>
              <a:ext uri="{FF2B5EF4-FFF2-40B4-BE49-F238E27FC236}">
                <a16:creationId xmlns:a16="http://schemas.microsoft.com/office/drawing/2014/main" id="{64D8408E-8902-467A-8318-849AB739C2EE}"/>
              </a:ext>
            </a:extLst>
          </p:cNvPr>
          <p:cNvSpPr>
            <a:spLocks noChangeArrowheads="1"/>
          </p:cNvSpPr>
          <p:nvPr/>
        </p:nvSpPr>
        <p:spPr bwMode="auto">
          <a:xfrm>
            <a:off x="8451678" y="2247900"/>
            <a:ext cx="1171791" cy="1494219"/>
          </a:xfrm>
          <a:prstGeom prst="rect">
            <a:avLst/>
          </a:prstGeom>
          <a:solidFill>
            <a:schemeClr val="accent1"/>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bg1"/>
                </a:solidFill>
              </a:rPr>
              <a:t>Text</a:t>
            </a:r>
          </a:p>
        </p:txBody>
      </p:sp>
      <p:sp>
        <p:nvSpPr>
          <p:cNvPr id="43" name="Rectangle 7">
            <a:extLst>
              <a:ext uri="{FF2B5EF4-FFF2-40B4-BE49-F238E27FC236}">
                <a16:creationId xmlns:a16="http://schemas.microsoft.com/office/drawing/2014/main" id="{DF87DC0A-BD9B-4688-B106-165A28411BB2}"/>
              </a:ext>
            </a:extLst>
          </p:cNvPr>
          <p:cNvSpPr>
            <a:spLocks noChangeArrowheads="1"/>
          </p:cNvSpPr>
          <p:nvPr/>
        </p:nvSpPr>
        <p:spPr bwMode="auto">
          <a:xfrm>
            <a:off x="10042737" y="3405790"/>
            <a:ext cx="1171791" cy="1494219"/>
          </a:xfrm>
          <a:prstGeom prst="rect">
            <a:avLst/>
          </a:prstGeom>
          <a:solidFill>
            <a:schemeClr val="accent3"/>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bg1"/>
                </a:solidFill>
              </a:rPr>
              <a:t>Text</a:t>
            </a:r>
          </a:p>
        </p:txBody>
      </p:sp>
      <p:sp>
        <p:nvSpPr>
          <p:cNvPr id="44" name="Rectangle 8">
            <a:extLst>
              <a:ext uri="{FF2B5EF4-FFF2-40B4-BE49-F238E27FC236}">
                <a16:creationId xmlns:a16="http://schemas.microsoft.com/office/drawing/2014/main" id="{EC2ABCB5-90E0-4335-BA69-2DDF7D46556D}"/>
              </a:ext>
            </a:extLst>
          </p:cNvPr>
          <p:cNvSpPr>
            <a:spLocks noChangeArrowheads="1"/>
          </p:cNvSpPr>
          <p:nvPr/>
        </p:nvSpPr>
        <p:spPr bwMode="auto">
          <a:xfrm>
            <a:off x="8451678" y="4563681"/>
            <a:ext cx="1171791" cy="1494219"/>
          </a:xfrm>
          <a:prstGeom prst="rect">
            <a:avLst/>
          </a:prstGeom>
          <a:solidFill>
            <a:schemeClr val="accent4"/>
          </a:solidFill>
          <a:ln w="6350">
            <a:noFill/>
            <a:miter lim="800000"/>
            <a:headEnd/>
            <a:tailEnd/>
          </a:ln>
          <a:effectLst/>
        </p:spPr>
        <p:txBody>
          <a:bodyPr lIns="72000" tIns="180000" rIns="72000" bIns="72000"/>
          <a:lstStyle/>
          <a:p>
            <a:pPr marL="92075" indent="-92075" algn="ctr" eaLnBrk="0" hangingPunct="0">
              <a:spcBef>
                <a:spcPct val="0"/>
              </a:spcBef>
              <a:buClr>
                <a:schemeClr val="folHlink"/>
              </a:buClr>
            </a:pPr>
            <a:r>
              <a:rPr lang="en-US" sz="1400">
                <a:solidFill>
                  <a:schemeClr val="bg1"/>
                </a:solidFill>
              </a:rPr>
              <a:t>Text</a:t>
            </a:r>
          </a:p>
        </p:txBody>
      </p:sp>
      <p:cxnSp>
        <p:nvCxnSpPr>
          <p:cNvPr id="45" name="AutoShape 9">
            <a:extLst>
              <a:ext uri="{FF2B5EF4-FFF2-40B4-BE49-F238E27FC236}">
                <a16:creationId xmlns:a16="http://schemas.microsoft.com/office/drawing/2014/main" id="{B4AF6389-3EAD-474B-ABD0-F59A3A7AE9D6}"/>
              </a:ext>
            </a:extLst>
          </p:cNvPr>
          <p:cNvCxnSpPr>
            <a:cxnSpLocks noChangeShapeType="1"/>
            <a:stCxn id="42" idx="2"/>
            <a:endCxn id="44" idx="0"/>
          </p:cNvCxnSpPr>
          <p:nvPr/>
        </p:nvCxnSpPr>
        <p:spPr bwMode="auto">
          <a:xfrm>
            <a:off x="9037575" y="3742119"/>
            <a:ext cx="0" cy="821562"/>
          </a:xfrm>
          <a:prstGeom prst="straightConnector1">
            <a:avLst/>
          </a:prstGeom>
          <a:noFill/>
          <a:ln w="19050" cap="rnd">
            <a:solidFill>
              <a:schemeClr val="tx2">
                <a:lumMod val="60000"/>
                <a:lumOff val="40000"/>
              </a:schemeClr>
            </a:solidFill>
            <a:prstDash val="sysDot"/>
            <a:round/>
            <a:headEnd/>
            <a:tailEnd/>
          </a:ln>
          <a:effectLst/>
        </p:spPr>
      </p:cxnSp>
      <p:cxnSp>
        <p:nvCxnSpPr>
          <p:cNvPr id="46" name="AutoShape 10">
            <a:extLst>
              <a:ext uri="{FF2B5EF4-FFF2-40B4-BE49-F238E27FC236}">
                <a16:creationId xmlns:a16="http://schemas.microsoft.com/office/drawing/2014/main" id="{AC285A26-D624-452C-887D-46E26853B8E0}"/>
              </a:ext>
            </a:extLst>
          </p:cNvPr>
          <p:cNvCxnSpPr>
            <a:cxnSpLocks noChangeShapeType="1"/>
            <a:stCxn id="41" idx="3"/>
            <a:endCxn id="43" idx="1"/>
          </p:cNvCxnSpPr>
          <p:nvPr/>
        </p:nvCxnSpPr>
        <p:spPr bwMode="auto">
          <a:xfrm>
            <a:off x="8039066" y="4152900"/>
            <a:ext cx="2003672" cy="0"/>
          </a:xfrm>
          <a:prstGeom prst="straightConnector1">
            <a:avLst/>
          </a:prstGeom>
          <a:noFill/>
          <a:ln w="19050" cap="rnd">
            <a:solidFill>
              <a:schemeClr val="tx2">
                <a:lumMod val="60000"/>
                <a:lumOff val="40000"/>
              </a:schemeClr>
            </a:solidFill>
            <a:prstDash val="sysDot"/>
            <a:round/>
            <a:headEnd/>
            <a:tailEnd/>
          </a:ln>
          <a:effectLst/>
        </p:spPr>
      </p:cxnSp>
      <p:cxnSp>
        <p:nvCxnSpPr>
          <p:cNvPr id="47" name="AutoShape 11">
            <a:extLst>
              <a:ext uri="{FF2B5EF4-FFF2-40B4-BE49-F238E27FC236}">
                <a16:creationId xmlns:a16="http://schemas.microsoft.com/office/drawing/2014/main" id="{35985ACF-9965-4FE1-836F-BA9164FB74CF}"/>
              </a:ext>
            </a:extLst>
          </p:cNvPr>
          <p:cNvCxnSpPr>
            <a:cxnSpLocks noChangeShapeType="1"/>
            <a:stCxn id="41" idx="0"/>
            <a:endCxn id="42" idx="1"/>
          </p:cNvCxnSpPr>
          <p:nvPr/>
        </p:nvCxnSpPr>
        <p:spPr bwMode="auto">
          <a:xfrm flipV="1">
            <a:off x="7453170" y="2995010"/>
            <a:ext cx="998508" cy="410780"/>
          </a:xfrm>
          <a:prstGeom prst="straightConnector1">
            <a:avLst/>
          </a:prstGeom>
          <a:noFill/>
          <a:ln w="19050" cap="rnd">
            <a:solidFill>
              <a:schemeClr val="tx2">
                <a:lumMod val="60000"/>
                <a:lumOff val="40000"/>
              </a:schemeClr>
            </a:solidFill>
            <a:prstDash val="sysDot"/>
            <a:round/>
            <a:headEnd/>
            <a:tailEnd/>
          </a:ln>
          <a:effectLst/>
        </p:spPr>
      </p:cxnSp>
      <p:cxnSp>
        <p:nvCxnSpPr>
          <p:cNvPr id="48" name="AutoShape 12">
            <a:extLst>
              <a:ext uri="{FF2B5EF4-FFF2-40B4-BE49-F238E27FC236}">
                <a16:creationId xmlns:a16="http://schemas.microsoft.com/office/drawing/2014/main" id="{776687A2-F96B-40CC-97EE-C8615F1EF489}"/>
              </a:ext>
            </a:extLst>
          </p:cNvPr>
          <p:cNvCxnSpPr>
            <a:cxnSpLocks noChangeShapeType="1"/>
            <a:stCxn id="42" idx="3"/>
            <a:endCxn id="43" idx="0"/>
          </p:cNvCxnSpPr>
          <p:nvPr/>
        </p:nvCxnSpPr>
        <p:spPr bwMode="auto">
          <a:xfrm>
            <a:off x="9623470" y="2995010"/>
            <a:ext cx="1005164" cy="410780"/>
          </a:xfrm>
          <a:prstGeom prst="straightConnector1">
            <a:avLst/>
          </a:prstGeom>
          <a:noFill/>
          <a:ln w="19050" cap="rnd">
            <a:solidFill>
              <a:schemeClr val="tx2">
                <a:lumMod val="60000"/>
                <a:lumOff val="40000"/>
              </a:schemeClr>
            </a:solidFill>
            <a:prstDash val="sysDot"/>
            <a:round/>
            <a:headEnd/>
            <a:tailEnd/>
          </a:ln>
          <a:effectLst/>
        </p:spPr>
      </p:cxnSp>
      <p:cxnSp>
        <p:nvCxnSpPr>
          <p:cNvPr id="49" name="AutoShape 13">
            <a:extLst>
              <a:ext uri="{FF2B5EF4-FFF2-40B4-BE49-F238E27FC236}">
                <a16:creationId xmlns:a16="http://schemas.microsoft.com/office/drawing/2014/main" id="{72867176-85DC-40D8-A2F2-163CF3AA7419}"/>
              </a:ext>
            </a:extLst>
          </p:cNvPr>
          <p:cNvCxnSpPr>
            <a:cxnSpLocks noChangeShapeType="1"/>
            <a:stCxn id="41" idx="2"/>
            <a:endCxn id="44" idx="1"/>
          </p:cNvCxnSpPr>
          <p:nvPr/>
        </p:nvCxnSpPr>
        <p:spPr bwMode="auto">
          <a:xfrm>
            <a:off x="7453170" y="4900009"/>
            <a:ext cx="998508" cy="410781"/>
          </a:xfrm>
          <a:prstGeom prst="straightConnector1">
            <a:avLst/>
          </a:prstGeom>
          <a:noFill/>
          <a:ln w="19050" cap="rnd">
            <a:solidFill>
              <a:schemeClr val="tx2">
                <a:lumMod val="60000"/>
                <a:lumOff val="40000"/>
              </a:schemeClr>
            </a:solidFill>
            <a:prstDash val="sysDot"/>
            <a:round/>
            <a:headEnd/>
            <a:tailEnd/>
          </a:ln>
          <a:effectLst/>
        </p:spPr>
      </p:cxnSp>
      <p:cxnSp>
        <p:nvCxnSpPr>
          <p:cNvPr id="50" name="AutoShape 14">
            <a:extLst>
              <a:ext uri="{FF2B5EF4-FFF2-40B4-BE49-F238E27FC236}">
                <a16:creationId xmlns:a16="http://schemas.microsoft.com/office/drawing/2014/main" id="{8C873BE9-5321-4791-83B0-945AB5FC0A6D}"/>
              </a:ext>
            </a:extLst>
          </p:cNvPr>
          <p:cNvCxnSpPr>
            <a:cxnSpLocks noChangeShapeType="1"/>
            <a:stCxn id="44" idx="3"/>
            <a:endCxn id="43" idx="2"/>
          </p:cNvCxnSpPr>
          <p:nvPr/>
        </p:nvCxnSpPr>
        <p:spPr bwMode="auto">
          <a:xfrm flipV="1">
            <a:off x="9623470" y="4900009"/>
            <a:ext cx="1005164" cy="410781"/>
          </a:xfrm>
          <a:prstGeom prst="straightConnector1">
            <a:avLst/>
          </a:prstGeom>
          <a:noFill/>
          <a:ln w="19050" cap="rnd">
            <a:solidFill>
              <a:schemeClr val="tx2">
                <a:lumMod val="60000"/>
                <a:lumOff val="40000"/>
              </a:schemeClr>
            </a:solidFill>
            <a:prstDash val="sysDot"/>
            <a:round/>
            <a:headEnd/>
            <a:tailEnd/>
          </a:ln>
          <a:effectLst/>
        </p:spPr>
      </p:cxnSp>
    </p:spTree>
    <p:extLst>
      <p:ext uri="{BB962C8B-B14F-4D97-AF65-F5344CB8AC3E}">
        <p14:creationId xmlns:p14="http://schemas.microsoft.com/office/powerpoint/2010/main" val="244975127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Causes</a:t>
            </a:r>
          </a:p>
        </p:txBody>
      </p:sp>
      <p:sp>
        <p:nvSpPr>
          <p:cNvPr id="2" name="Freeform: Shape 1">
            <a:hlinkClick r:id="rId3" action="ppaction://hlinksldjump"/>
            <a:extLst>
              <a:ext uri="{FF2B5EF4-FFF2-40B4-BE49-F238E27FC236}">
                <a16:creationId xmlns:a16="http://schemas.microsoft.com/office/drawing/2014/main" id="{2B4A4B06-F52B-488B-B17B-0094A9B594C5}"/>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Text Placeholder 4">
            <a:extLst>
              <a:ext uri="{FF2B5EF4-FFF2-40B4-BE49-F238E27FC236}">
                <a16:creationId xmlns:a16="http://schemas.microsoft.com/office/drawing/2014/main" id="{D8B00CAE-475C-4603-9B5C-5905AD0BB028}"/>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t>Part of </a:t>
            </a:r>
            <a:b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b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hlinkClick r:id="rId4" action="ppaction://hlinksldjump">
                  <a:extLst>
                    <a:ext uri="{A12FA001-AC4F-418D-AE19-62706E023703}">
                      <ahyp:hlinkClr xmlns:ahyp="http://schemas.microsoft.com/office/drawing/2018/hyperlinkcolor" val="tx"/>
                    </a:ext>
                  </a:extLst>
                </a:hlinkClick>
              </a:rPr>
              <a:t>Dynamic Concept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6" name="Rectangle 5">
            <a:hlinkClick r:id="rId3" action="ppaction://hlinksldjump"/>
            <a:extLst>
              <a:ext uri="{FF2B5EF4-FFF2-40B4-BE49-F238E27FC236}">
                <a16:creationId xmlns:a16="http://schemas.microsoft.com/office/drawing/2014/main" id="{A80EA7AD-B2BC-4FEC-AB10-6FA0FEC61BA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82904579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Magnified Proportions</a:t>
            </a:r>
          </a:p>
        </p:txBody>
      </p:sp>
      <p:sp>
        <p:nvSpPr>
          <p:cNvPr id="10" name="Freeform: Shape 9">
            <a:hlinkClick r:id="rId5"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5" action="ppaction://hlinksldjump"/>
            <a:extLst>
              <a:ext uri="{FF2B5EF4-FFF2-40B4-BE49-F238E27FC236}">
                <a16:creationId xmlns:a16="http://schemas.microsoft.com/office/drawing/2014/main" id="{2840BCCD-D164-4E29-89CA-C4915B6510E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Arrow: Right 3">
            <a:extLst>
              <a:ext uri="{FF2B5EF4-FFF2-40B4-BE49-F238E27FC236}">
                <a16:creationId xmlns:a16="http://schemas.microsoft.com/office/drawing/2014/main" id="{8B19CEDF-BF51-46B2-99DF-2DB08FE383BB}"/>
              </a:ext>
            </a:extLst>
          </p:cNvPr>
          <p:cNvSpPr/>
          <p:nvPr/>
        </p:nvSpPr>
        <p:spPr>
          <a:xfrm>
            <a:off x="1366843" y="2408541"/>
            <a:ext cx="2790732" cy="2156475"/>
          </a:xfrm>
          <a:prstGeom prst="rightArrow">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lnSpc>
                <a:spcPct val="85000"/>
              </a:lnSpc>
              <a:spcBef>
                <a:spcPts val="100"/>
              </a:spcBef>
              <a:spcAft>
                <a:spcPts val="300"/>
              </a:spcAft>
            </a:pPr>
            <a:r>
              <a:rPr lang="en-AU" b="1" dirty="0">
                <a:solidFill>
                  <a:schemeClr val="accent1"/>
                </a:solidFill>
                <a:latin typeface="+mj-lt"/>
              </a:rPr>
              <a:t>Text</a:t>
            </a:r>
            <a:endParaRPr lang="en-GB" b="1" cap="all" dirty="0">
              <a:solidFill>
                <a:schemeClr val="accent1"/>
              </a:solidFill>
              <a:latin typeface="+mj-lt"/>
            </a:endParaRPr>
          </a:p>
        </p:txBody>
      </p:sp>
      <p:sp>
        <p:nvSpPr>
          <p:cNvPr id="5" name="AutoShape 4">
            <a:extLst>
              <a:ext uri="{FF2B5EF4-FFF2-40B4-BE49-F238E27FC236}">
                <a16:creationId xmlns:a16="http://schemas.microsoft.com/office/drawing/2014/main" id="{CF226542-40B1-4E38-98E1-6D5539AE2B67}"/>
              </a:ext>
            </a:extLst>
          </p:cNvPr>
          <p:cNvSpPr>
            <a:spLocks noChangeArrowheads="1"/>
          </p:cNvSpPr>
          <p:nvPr/>
        </p:nvSpPr>
        <p:spPr bwMode="auto">
          <a:xfrm>
            <a:off x="5505317" y="1238191"/>
            <a:ext cx="4949190" cy="4491366"/>
          </a:xfrm>
          <a:prstGeom prst="rightArrow">
            <a:avLst>
              <a:gd name="adj1" fmla="val 50750"/>
              <a:gd name="adj2" fmla="val 50000"/>
            </a:avLst>
          </a:prstGeom>
          <a:solidFill>
            <a:schemeClr val="accent2"/>
          </a:solidFill>
          <a:ln w="6350">
            <a:noFill/>
            <a:miter lim="800000"/>
            <a:headEnd/>
            <a:tailEnd/>
          </a:ln>
          <a:effectLst/>
        </p:spPr>
        <p:txBody>
          <a:bodyPr wrap="none" lIns="72000" tIns="72000" rIns="72000" bIns="72000" anchor="ctr" anchorCtr="1"/>
          <a:lstStyle/>
          <a:p>
            <a:pPr marL="533400" indent="-177800" algn="l" eaLnBrk="0" hangingPunct="0">
              <a:spcBef>
                <a:spcPts val="100"/>
              </a:spcBef>
              <a:spcAft>
                <a:spcPts val="100"/>
              </a:spcAft>
              <a:buClr>
                <a:schemeClr val="folHlink"/>
              </a:buClr>
            </a:pPr>
            <a:endParaRPr lang="en-US" sz="1400" dirty="0">
              <a:solidFill>
                <a:schemeClr val="bg1"/>
              </a:solidFill>
            </a:endParaRPr>
          </a:p>
        </p:txBody>
      </p:sp>
      <p:sp>
        <p:nvSpPr>
          <p:cNvPr id="6" name="Oval 6">
            <a:extLst>
              <a:ext uri="{FF2B5EF4-FFF2-40B4-BE49-F238E27FC236}">
                <a16:creationId xmlns:a16="http://schemas.microsoft.com/office/drawing/2014/main" id="{2DB6A5B3-90DE-4776-B87B-B82A545B3BA4}"/>
              </a:ext>
            </a:extLst>
          </p:cNvPr>
          <p:cNvSpPr>
            <a:spLocks noChangeArrowheads="1"/>
          </p:cNvSpPr>
          <p:nvPr/>
        </p:nvSpPr>
        <p:spPr bwMode="auto">
          <a:xfrm>
            <a:off x="4374033" y="2341411"/>
            <a:ext cx="2262568" cy="2284929"/>
          </a:xfrm>
          <a:prstGeom prst="ellipse">
            <a:avLst/>
          </a:prstGeom>
          <a:solidFill>
            <a:schemeClr val="accent1"/>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endParaRPr lang="en-US" b="1" cap="all" dirty="0">
              <a:solidFill>
                <a:schemeClr val="bg1"/>
              </a:solidFill>
              <a:latin typeface="+mj-lt"/>
            </a:endParaRPr>
          </a:p>
        </p:txBody>
      </p:sp>
      <p:sp>
        <p:nvSpPr>
          <p:cNvPr id="7" name="Rectangle 7">
            <a:extLst>
              <a:ext uri="{FF2B5EF4-FFF2-40B4-BE49-F238E27FC236}">
                <a16:creationId xmlns:a16="http://schemas.microsoft.com/office/drawing/2014/main" id="{901D4969-3EAF-4DE9-B172-556D595DA559}"/>
              </a:ext>
            </a:extLst>
          </p:cNvPr>
          <p:cNvSpPr>
            <a:spLocks noChangeArrowheads="1"/>
          </p:cNvSpPr>
          <p:nvPr>
            <p:custDataLst>
              <p:tags r:id="rId1"/>
            </p:custDataLst>
          </p:nvPr>
        </p:nvSpPr>
        <p:spPr bwMode="auto">
          <a:xfrm>
            <a:off x="6853059" y="2341411"/>
            <a:ext cx="2773261" cy="2284929"/>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solidFill>
                  <a:schemeClr val="bg1"/>
                </a:solidFill>
                <a:latin typeface="+mj-lt"/>
              </a:rPr>
              <a:t>Text</a:t>
            </a:r>
            <a:endParaRPr lang="en-US" b="1" cap="all" dirty="0">
              <a:solidFill>
                <a:schemeClr val="bg1"/>
              </a:solidFill>
              <a:latin typeface="+mj-lt"/>
            </a:endParaRPr>
          </a:p>
          <a:p>
            <a:pPr marL="344488" indent="-165100" algn="l" eaLnBrk="0" hangingPunct="0">
              <a:spcBef>
                <a:spcPts val="100"/>
              </a:spcBef>
              <a:spcAft>
                <a:spcPts val="100"/>
              </a:spcAft>
              <a:buFontTx/>
              <a:buChar char="•"/>
            </a:pPr>
            <a:r>
              <a:rPr lang="en-US" dirty="0">
                <a:solidFill>
                  <a:schemeClr val="bg1"/>
                </a:solidFill>
              </a:rPr>
              <a:t>Text</a:t>
            </a:r>
          </a:p>
          <a:p>
            <a:pPr marL="344488" indent="-165100" algn="l" eaLnBrk="0" hangingPunct="0">
              <a:spcBef>
                <a:spcPts val="100"/>
              </a:spcBef>
              <a:spcAft>
                <a:spcPts val="100"/>
              </a:spcAft>
              <a:buFontTx/>
              <a:buChar char="•"/>
            </a:pPr>
            <a:r>
              <a:rPr lang="en-US" dirty="0">
                <a:solidFill>
                  <a:schemeClr val="bg1"/>
                </a:solidFill>
              </a:rPr>
              <a:t>Text</a:t>
            </a:r>
          </a:p>
          <a:p>
            <a:pPr marL="344488" indent="-165100" algn="l" eaLnBrk="0" hangingPunct="0">
              <a:spcBef>
                <a:spcPts val="100"/>
              </a:spcBef>
              <a:spcAft>
                <a:spcPts val="100"/>
              </a:spcAft>
              <a:buFontTx/>
              <a:buChar char="•"/>
            </a:pPr>
            <a:r>
              <a:rPr lang="en-US" dirty="0">
                <a:solidFill>
                  <a:schemeClr val="bg1"/>
                </a:solidFill>
              </a:rPr>
              <a:t>Text</a:t>
            </a:r>
          </a:p>
        </p:txBody>
      </p:sp>
      <p:sp>
        <p:nvSpPr>
          <p:cNvPr id="8" name="Rectangle 6">
            <a:extLst>
              <a:ext uri="{FF2B5EF4-FFF2-40B4-BE49-F238E27FC236}">
                <a16:creationId xmlns:a16="http://schemas.microsoft.com/office/drawing/2014/main" id="{70B8BDEA-9007-4184-A966-D19E89366D86}"/>
              </a:ext>
            </a:extLst>
          </p:cNvPr>
          <p:cNvSpPr>
            <a:spLocks noChangeArrowheads="1"/>
          </p:cNvSpPr>
          <p:nvPr>
            <p:custDataLst>
              <p:tags r:id="rId2"/>
            </p:custDataLst>
          </p:nvPr>
        </p:nvSpPr>
        <p:spPr bwMode="auto">
          <a:xfrm>
            <a:off x="1366843" y="4297607"/>
            <a:ext cx="2099838" cy="657465"/>
          </a:xfrm>
          <a:prstGeom prst="rect">
            <a:avLst/>
          </a:prstGeom>
          <a:noFill/>
          <a:ln w="6350">
            <a:noFill/>
            <a:miter lim="800000"/>
            <a:headEnd/>
            <a:tailEnd/>
          </a:ln>
          <a:effectLst/>
        </p:spPr>
        <p:txBody>
          <a:bodyPr lIns="144000" tIns="0" rIns="0" bIns="0" anchor="ctr" anchorCtr="0"/>
          <a:lstStyle/>
          <a:p>
            <a:pPr marL="179388" indent="-179388" algn="ctr" eaLnBrk="0" hangingPunct="0">
              <a:lnSpc>
                <a:spcPct val="85000"/>
              </a:lnSpc>
              <a:spcBef>
                <a:spcPts val="100"/>
              </a:spcBef>
              <a:spcAft>
                <a:spcPts val="300"/>
              </a:spcAft>
            </a:pPr>
            <a:r>
              <a:rPr lang="en-US" b="1" cap="all" dirty="0">
                <a:solidFill>
                  <a:schemeClr val="bg1"/>
                </a:solidFill>
                <a:latin typeface="+mj-lt"/>
              </a:rPr>
              <a:t>Text</a:t>
            </a:r>
          </a:p>
        </p:txBody>
      </p:sp>
    </p:spTree>
    <p:extLst>
      <p:ext uri="{BB962C8B-B14F-4D97-AF65-F5344CB8AC3E}">
        <p14:creationId xmlns:p14="http://schemas.microsoft.com/office/powerpoint/2010/main" val="9997472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5F3C8-4176-2240-B215-F909CF6B2102}"/>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98501330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Causal Chain</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4A591933-C787-4FB0-B33A-23A1E49FD6D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7" name="Oval 16">
            <a:extLst>
              <a:ext uri="{FF2B5EF4-FFF2-40B4-BE49-F238E27FC236}">
                <a16:creationId xmlns:a16="http://schemas.microsoft.com/office/drawing/2014/main" id="{18346B80-DF7B-4394-9F5F-A23BC39080CF}"/>
              </a:ext>
            </a:extLst>
          </p:cNvPr>
          <p:cNvSpPr>
            <a:spLocks noChangeAspect="1" noChangeArrowheads="1"/>
          </p:cNvSpPr>
          <p:nvPr/>
        </p:nvSpPr>
        <p:spPr bwMode="auto">
          <a:xfrm>
            <a:off x="3104757" y="3537175"/>
            <a:ext cx="1800000" cy="1800000"/>
          </a:xfrm>
          <a:prstGeom prst="ellipse">
            <a:avLst/>
          </a:prstGeom>
          <a:solidFill>
            <a:schemeClr val="accent3"/>
          </a:solidFill>
          <a:ln w="6350">
            <a:noFill/>
            <a:round/>
            <a:headEnd/>
            <a:tailEnd/>
          </a:ln>
          <a:effectLst/>
        </p:spPr>
        <p:txBody>
          <a:bodyPr wrap="none" lIns="72000" tIns="72000" rIns="72000" bIns="72000" anchor="ctr"/>
          <a:lstStyle/>
          <a:p>
            <a:pPr algn="ctr" eaLnBrk="0" hangingPunct="0">
              <a:spcBef>
                <a:spcPct val="0"/>
              </a:spcBef>
            </a:pPr>
            <a:r>
              <a:rPr lang="en-US" b="1">
                <a:solidFill>
                  <a:schemeClr val="bg1"/>
                </a:solidFill>
              </a:rPr>
              <a:t>Text</a:t>
            </a:r>
          </a:p>
        </p:txBody>
      </p:sp>
      <p:sp>
        <p:nvSpPr>
          <p:cNvPr id="19" name="Oval 18">
            <a:extLst>
              <a:ext uri="{FF2B5EF4-FFF2-40B4-BE49-F238E27FC236}">
                <a16:creationId xmlns:a16="http://schemas.microsoft.com/office/drawing/2014/main" id="{BE4A8B1D-7F91-451B-B485-D79E635096E4}"/>
              </a:ext>
            </a:extLst>
          </p:cNvPr>
          <p:cNvSpPr>
            <a:spLocks noChangeAspect="1" noChangeArrowheads="1"/>
          </p:cNvSpPr>
          <p:nvPr/>
        </p:nvSpPr>
        <p:spPr bwMode="auto">
          <a:xfrm>
            <a:off x="6067031" y="3537175"/>
            <a:ext cx="1800000" cy="1800000"/>
          </a:xfrm>
          <a:prstGeom prst="ellipse">
            <a:avLst/>
          </a:prstGeom>
          <a:solidFill>
            <a:schemeClr val="accent3"/>
          </a:solidFill>
          <a:ln w="6350">
            <a:noFill/>
            <a:round/>
            <a:headEnd/>
            <a:tailEnd/>
          </a:ln>
          <a:effectLst/>
        </p:spPr>
        <p:txBody>
          <a:bodyPr wrap="none" lIns="72000" tIns="72000" rIns="72000" bIns="72000" anchor="ctr"/>
          <a:lstStyle/>
          <a:p>
            <a:pPr algn="ctr" eaLnBrk="0" hangingPunct="0">
              <a:spcBef>
                <a:spcPct val="0"/>
              </a:spcBef>
            </a:pPr>
            <a:r>
              <a:rPr lang="en-US" b="1">
                <a:solidFill>
                  <a:schemeClr val="bg1"/>
                </a:solidFill>
              </a:rPr>
              <a:t>Text</a:t>
            </a:r>
          </a:p>
        </p:txBody>
      </p:sp>
      <p:sp>
        <p:nvSpPr>
          <p:cNvPr id="21" name="Oval 20">
            <a:extLst>
              <a:ext uri="{FF2B5EF4-FFF2-40B4-BE49-F238E27FC236}">
                <a16:creationId xmlns:a16="http://schemas.microsoft.com/office/drawing/2014/main" id="{464CAECE-00C6-4581-8B8F-28E3A329AAD7}"/>
              </a:ext>
            </a:extLst>
          </p:cNvPr>
          <p:cNvSpPr>
            <a:spLocks noChangeAspect="1" noChangeArrowheads="1"/>
          </p:cNvSpPr>
          <p:nvPr/>
        </p:nvSpPr>
        <p:spPr bwMode="auto">
          <a:xfrm>
            <a:off x="9029307" y="3537175"/>
            <a:ext cx="1800000" cy="1800000"/>
          </a:xfrm>
          <a:prstGeom prst="ellipse">
            <a:avLst/>
          </a:prstGeom>
          <a:solidFill>
            <a:schemeClr val="accent3"/>
          </a:solidFill>
          <a:ln w="6350">
            <a:noFill/>
            <a:round/>
            <a:headEnd/>
            <a:tailEnd/>
          </a:ln>
          <a:effectLst/>
        </p:spPr>
        <p:txBody>
          <a:bodyPr wrap="none" lIns="72000" tIns="72000" rIns="72000" bIns="72000" anchor="ctr"/>
          <a:lstStyle/>
          <a:p>
            <a:pPr algn="ctr" eaLnBrk="0" hangingPunct="0">
              <a:spcBef>
                <a:spcPct val="0"/>
              </a:spcBef>
            </a:pPr>
            <a:r>
              <a:rPr lang="en-US" b="1">
                <a:solidFill>
                  <a:schemeClr val="bg1"/>
                </a:solidFill>
              </a:rPr>
              <a:t>Text</a:t>
            </a:r>
          </a:p>
        </p:txBody>
      </p:sp>
      <p:sp>
        <p:nvSpPr>
          <p:cNvPr id="23" name="Text Box 13">
            <a:extLst>
              <a:ext uri="{FF2B5EF4-FFF2-40B4-BE49-F238E27FC236}">
                <a16:creationId xmlns:a16="http://schemas.microsoft.com/office/drawing/2014/main" id="{31EDC6AE-D8C5-43C1-A74A-AB1EE10FADDA}"/>
              </a:ext>
            </a:extLst>
          </p:cNvPr>
          <p:cNvSpPr txBox="1">
            <a:spLocks noChangeArrowheads="1"/>
          </p:cNvSpPr>
          <p:nvPr/>
        </p:nvSpPr>
        <p:spPr bwMode="auto">
          <a:xfrm>
            <a:off x="381000" y="2468900"/>
            <a:ext cx="2723757" cy="336550"/>
          </a:xfrm>
          <a:prstGeom prst="rect">
            <a:avLst/>
          </a:prstGeom>
          <a:noFill/>
          <a:ln w="6350">
            <a:noFill/>
            <a:miter lim="800000"/>
            <a:headEnd/>
            <a:tailEnd/>
          </a:ln>
          <a:effectLst/>
        </p:spPr>
        <p:txBody>
          <a:bodyPr lIns="0" tIns="0" rIns="0" bIns="0" anchor="ctr"/>
          <a:lstStyle/>
          <a:p>
            <a:pPr algn="l" eaLnBrk="0" hangingPunct="0">
              <a:spcBef>
                <a:spcPct val="50000"/>
              </a:spcBef>
            </a:pPr>
            <a:r>
              <a:rPr lang="en-US" b="1" dirty="0">
                <a:solidFill>
                  <a:schemeClr val="accent1"/>
                </a:solidFill>
                <a:latin typeface="+mj-lt"/>
              </a:rPr>
              <a:t>Label </a:t>
            </a:r>
            <a:r>
              <a:rPr lang="en-US" b="1" cap="all" dirty="0">
                <a:solidFill>
                  <a:schemeClr val="accent1"/>
                </a:solidFill>
                <a:latin typeface="+mj-lt"/>
              </a:rPr>
              <a:t>A</a:t>
            </a:r>
          </a:p>
        </p:txBody>
      </p:sp>
      <p:sp>
        <p:nvSpPr>
          <p:cNvPr id="25" name="Text Box 14">
            <a:extLst>
              <a:ext uri="{FF2B5EF4-FFF2-40B4-BE49-F238E27FC236}">
                <a16:creationId xmlns:a16="http://schemas.microsoft.com/office/drawing/2014/main" id="{EB22EEA0-74D1-4C56-A810-0E03EC14C0DF}"/>
              </a:ext>
            </a:extLst>
          </p:cNvPr>
          <p:cNvSpPr txBox="1">
            <a:spLocks noChangeArrowheads="1"/>
          </p:cNvSpPr>
          <p:nvPr/>
        </p:nvSpPr>
        <p:spPr bwMode="auto">
          <a:xfrm>
            <a:off x="381000" y="4268900"/>
            <a:ext cx="2723757" cy="336550"/>
          </a:xfrm>
          <a:prstGeom prst="rect">
            <a:avLst/>
          </a:prstGeom>
          <a:noFill/>
          <a:ln w="6350">
            <a:noFill/>
            <a:miter lim="800000"/>
            <a:headEnd/>
            <a:tailEnd/>
          </a:ln>
          <a:effectLst/>
        </p:spPr>
        <p:txBody>
          <a:bodyPr lIns="0" tIns="0" rIns="0" bIns="0" anchor="ctr"/>
          <a:lstStyle/>
          <a:p>
            <a:pPr algn="l" eaLnBrk="0" hangingPunct="0">
              <a:spcBef>
                <a:spcPct val="50000"/>
              </a:spcBef>
            </a:pPr>
            <a:r>
              <a:rPr lang="en-US" b="1" dirty="0">
                <a:solidFill>
                  <a:schemeClr val="accent3"/>
                </a:solidFill>
                <a:latin typeface="+mj-lt"/>
              </a:rPr>
              <a:t>Label </a:t>
            </a:r>
            <a:r>
              <a:rPr lang="en-US" b="1" cap="all" dirty="0">
                <a:solidFill>
                  <a:schemeClr val="accent3"/>
                </a:solidFill>
                <a:latin typeface="+mj-lt"/>
              </a:rPr>
              <a:t>B</a:t>
            </a:r>
          </a:p>
        </p:txBody>
      </p:sp>
      <p:sp>
        <p:nvSpPr>
          <p:cNvPr id="27" name="Arc 26">
            <a:extLst>
              <a:ext uri="{FF2B5EF4-FFF2-40B4-BE49-F238E27FC236}">
                <a16:creationId xmlns:a16="http://schemas.microsoft.com/office/drawing/2014/main" id="{F1A73F16-A2D7-4639-9999-064A0B9B4650}"/>
              </a:ext>
            </a:extLst>
          </p:cNvPr>
          <p:cNvSpPr/>
          <p:nvPr/>
        </p:nvSpPr>
        <p:spPr>
          <a:xfrm flipH="1">
            <a:off x="4004757" y="2994244"/>
            <a:ext cx="1784221" cy="1784222"/>
          </a:xfrm>
          <a:prstGeom prst="arc">
            <a:avLst>
              <a:gd name="adj1" fmla="val 17459294"/>
              <a:gd name="adj2" fmla="val 19682725"/>
            </a:avLst>
          </a:prstGeom>
          <a:ln w="19050" cap="rnd">
            <a:solidFill>
              <a:schemeClr val="tx2">
                <a:lumMod val="60000"/>
                <a:lumOff val="40000"/>
              </a:schemeClr>
            </a:solidFill>
            <a:prstDash val="sysDot"/>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Oval 28">
            <a:extLst>
              <a:ext uri="{FF2B5EF4-FFF2-40B4-BE49-F238E27FC236}">
                <a16:creationId xmlns:a16="http://schemas.microsoft.com/office/drawing/2014/main" id="{6653C1B0-1213-40D2-B62F-29069D52CDCD}"/>
              </a:ext>
            </a:extLst>
          </p:cNvPr>
          <p:cNvSpPr>
            <a:spLocks noChangeAspect="1" noChangeArrowheads="1"/>
          </p:cNvSpPr>
          <p:nvPr/>
        </p:nvSpPr>
        <p:spPr bwMode="auto">
          <a:xfrm>
            <a:off x="4585894" y="1737175"/>
            <a:ext cx="1800000" cy="1800000"/>
          </a:xfrm>
          <a:prstGeom prst="ellipse">
            <a:avLst/>
          </a:prstGeom>
          <a:solidFill>
            <a:schemeClr val="accent1"/>
          </a:solidFill>
          <a:ln w="6350">
            <a:noFill/>
            <a:round/>
            <a:headEnd/>
            <a:tailEnd/>
          </a:ln>
          <a:effectLst/>
        </p:spPr>
        <p:txBody>
          <a:bodyPr wrap="none" lIns="72000" tIns="72000" rIns="72000" bIns="72000" anchor="ctr"/>
          <a:lstStyle/>
          <a:p>
            <a:pPr algn="ctr" eaLnBrk="0" hangingPunct="0">
              <a:spcBef>
                <a:spcPct val="0"/>
              </a:spcBef>
            </a:pPr>
            <a:r>
              <a:rPr lang="en-US" b="1" dirty="0">
                <a:solidFill>
                  <a:schemeClr val="bg1"/>
                </a:solidFill>
              </a:rPr>
              <a:t>Text</a:t>
            </a:r>
          </a:p>
        </p:txBody>
      </p:sp>
      <p:sp>
        <p:nvSpPr>
          <p:cNvPr id="31" name="Oval 30">
            <a:extLst>
              <a:ext uri="{FF2B5EF4-FFF2-40B4-BE49-F238E27FC236}">
                <a16:creationId xmlns:a16="http://schemas.microsoft.com/office/drawing/2014/main" id="{7CD93AEE-6779-4C25-A531-B33BFCEA8EF7}"/>
              </a:ext>
            </a:extLst>
          </p:cNvPr>
          <p:cNvSpPr>
            <a:spLocks noChangeAspect="1" noChangeArrowheads="1"/>
          </p:cNvSpPr>
          <p:nvPr/>
        </p:nvSpPr>
        <p:spPr bwMode="auto">
          <a:xfrm>
            <a:off x="7548168" y="1737175"/>
            <a:ext cx="1800000" cy="1800000"/>
          </a:xfrm>
          <a:prstGeom prst="ellipse">
            <a:avLst/>
          </a:prstGeom>
          <a:solidFill>
            <a:schemeClr val="accent1"/>
          </a:solidFill>
          <a:ln w="6350">
            <a:noFill/>
            <a:round/>
            <a:headEnd/>
            <a:tailEnd/>
          </a:ln>
          <a:effectLst/>
        </p:spPr>
        <p:txBody>
          <a:bodyPr wrap="none" lIns="72000" tIns="72000" rIns="72000" bIns="72000" anchor="ctr"/>
          <a:lstStyle/>
          <a:p>
            <a:pPr algn="ctr" eaLnBrk="0" hangingPunct="0">
              <a:spcBef>
                <a:spcPct val="0"/>
              </a:spcBef>
            </a:pPr>
            <a:r>
              <a:rPr lang="en-US" b="1">
                <a:solidFill>
                  <a:schemeClr val="bg1"/>
                </a:solidFill>
              </a:rPr>
              <a:t>Text</a:t>
            </a:r>
          </a:p>
        </p:txBody>
      </p:sp>
      <p:sp>
        <p:nvSpPr>
          <p:cNvPr id="33" name="Arc 32">
            <a:extLst>
              <a:ext uri="{FF2B5EF4-FFF2-40B4-BE49-F238E27FC236}">
                <a16:creationId xmlns:a16="http://schemas.microsoft.com/office/drawing/2014/main" id="{07A9FC13-83B6-4255-8C4C-F3860AD810E6}"/>
              </a:ext>
            </a:extLst>
          </p:cNvPr>
          <p:cNvSpPr/>
          <p:nvPr/>
        </p:nvSpPr>
        <p:spPr>
          <a:xfrm>
            <a:off x="5174592" y="2994244"/>
            <a:ext cx="1784221" cy="1784222"/>
          </a:xfrm>
          <a:prstGeom prst="arc">
            <a:avLst>
              <a:gd name="adj1" fmla="val 17459294"/>
              <a:gd name="adj2" fmla="val 19682725"/>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Arc 34">
            <a:extLst>
              <a:ext uri="{FF2B5EF4-FFF2-40B4-BE49-F238E27FC236}">
                <a16:creationId xmlns:a16="http://schemas.microsoft.com/office/drawing/2014/main" id="{C21FD328-9E0F-4D7A-AAAD-F8D5943BE8B8}"/>
              </a:ext>
            </a:extLst>
          </p:cNvPr>
          <p:cNvSpPr/>
          <p:nvPr/>
        </p:nvSpPr>
        <p:spPr>
          <a:xfrm flipH="1">
            <a:off x="6950746" y="2994244"/>
            <a:ext cx="1784221" cy="1784222"/>
          </a:xfrm>
          <a:prstGeom prst="arc">
            <a:avLst>
              <a:gd name="adj1" fmla="val 17459294"/>
              <a:gd name="adj2" fmla="val 19682725"/>
            </a:avLst>
          </a:prstGeom>
          <a:ln w="19050" cap="rnd">
            <a:solidFill>
              <a:schemeClr val="tx2">
                <a:lumMod val="60000"/>
                <a:lumOff val="40000"/>
              </a:schemeClr>
            </a:solidFill>
            <a:prstDash val="sysDot"/>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Arc 36">
            <a:extLst>
              <a:ext uri="{FF2B5EF4-FFF2-40B4-BE49-F238E27FC236}">
                <a16:creationId xmlns:a16="http://schemas.microsoft.com/office/drawing/2014/main" id="{19FA1C03-EBCA-4D2D-B3FB-E64E7C4DE86C}"/>
              </a:ext>
            </a:extLst>
          </p:cNvPr>
          <p:cNvSpPr/>
          <p:nvPr/>
        </p:nvSpPr>
        <p:spPr>
          <a:xfrm>
            <a:off x="8120581" y="2994244"/>
            <a:ext cx="1784221" cy="1784222"/>
          </a:xfrm>
          <a:prstGeom prst="arc">
            <a:avLst>
              <a:gd name="adj1" fmla="val 17459294"/>
              <a:gd name="adj2" fmla="val 19682725"/>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41066720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de-DE" dirty="0"/>
              <a:t>Cause and Effect</a:t>
            </a:r>
            <a:endParaRPr lang="en-US" dirty="0"/>
          </a:p>
        </p:txBody>
      </p:sp>
      <p:sp>
        <p:nvSpPr>
          <p:cNvPr id="10" name="Freeform: Shape 9">
            <a:hlinkClick r:id="rId6"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6" action="ppaction://hlinksldjump"/>
            <a:extLst>
              <a:ext uri="{FF2B5EF4-FFF2-40B4-BE49-F238E27FC236}">
                <a16:creationId xmlns:a16="http://schemas.microsoft.com/office/drawing/2014/main" id="{D7077BB8-2C0F-46B4-AF46-8ECCD14D792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9" name="Group 18">
            <a:extLst>
              <a:ext uri="{FF2B5EF4-FFF2-40B4-BE49-F238E27FC236}">
                <a16:creationId xmlns:a16="http://schemas.microsoft.com/office/drawing/2014/main" id="{BB3BCA9C-72E5-4F25-A6FB-3A792DCF3B64}"/>
              </a:ext>
            </a:extLst>
          </p:cNvPr>
          <p:cNvGrpSpPr/>
          <p:nvPr/>
        </p:nvGrpSpPr>
        <p:grpSpPr>
          <a:xfrm>
            <a:off x="1927957" y="1323139"/>
            <a:ext cx="8346343" cy="4245237"/>
            <a:chOff x="996593" y="1116465"/>
            <a:chExt cx="9588858" cy="4877223"/>
          </a:xfrm>
        </p:grpSpPr>
        <p:sp>
          <p:nvSpPr>
            <p:cNvPr id="20" name="Arc 37">
              <a:extLst>
                <a:ext uri="{FF2B5EF4-FFF2-40B4-BE49-F238E27FC236}">
                  <a16:creationId xmlns:a16="http://schemas.microsoft.com/office/drawing/2014/main" id="{67DF407E-FB5D-4A63-BDBA-948043E9EF58}"/>
                </a:ext>
              </a:extLst>
            </p:cNvPr>
            <p:cNvSpPr>
              <a:spLocks/>
            </p:cNvSpPr>
            <p:nvPr/>
          </p:nvSpPr>
          <p:spPr bwMode="auto">
            <a:xfrm flipH="1" flipV="1">
              <a:off x="1758994" y="3165647"/>
              <a:ext cx="851352" cy="1359980"/>
            </a:xfrm>
            <a:custGeom>
              <a:avLst/>
              <a:gdLst>
                <a:gd name="T0" fmla="*/ 0 w 14781"/>
                <a:gd name="T1" fmla="*/ 0 h 21600"/>
                <a:gd name="T2" fmla="*/ 390 w 14781"/>
                <a:gd name="T3" fmla="*/ 169 h 21600"/>
                <a:gd name="T4" fmla="*/ 0 w 14781"/>
                <a:gd name="T5" fmla="*/ 623 h 21600"/>
                <a:gd name="T6" fmla="*/ 0 60000 65536"/>
                <a:gd name="T7" fmla="*/ 0 60000 65536"/>
                <a:gd name="T8" fmla="*/ 0 60000 65536"/>
                <a:gd name="T9" fmla="*/ 0 w 14781"/>
                <a:gd name="T10" fmla="*/ 0 h 21600"/>
                <a:gd name="T11" fmla="*/ 14781 w 14781"/>
                <a:gd name="T12" fmla="*/ 21600 h 21600"/>
              </a:gdLst>
              <a:ahLst/>
              <a:cxnLst>
                <a:cxn ang="T6">
                  <a:pos x="T0" y="T1"/>
                </a:cxn>
                <a:cxn ang="T7">
                  <a:pos x="T2" y="T3"/>
                </a:cxn>
                <a:cxn ang="T8">
                  <a:pos x="T4" y="T5"/>
                </a:cxn>
              </a:cxnLst>
              <a:rect l="T9" t="T10" r="T11" b="T12"/>
              <a:pathLst>
                <a:path w="14781" h="21600" fill="none" extrusionOk="0">
                  <a:moveTo>
                    <a:pt x="-1" y="0"/>
                  </a:moveTo>
                  <a:cubicBezTo>
                    <a:pt x="5491" y="0"/>
                    <a:pt x="10776" y="2091"/>
                    <a:pt x="14781" y="5849"/>
                  </a:cubicBezTo>
                </a:path>
                <a:path w="14781" h="21600" stroke="0" extrusionOk="0">
                  <a:moveTo>
                    <a:pt x="-1" y="0"/>
                  </a:moveTo>
                  <a:cubicBezTo>
                    <a:pt x="5491" y="0"/>
                    <a:pt x="10776" y="2091"/>
                    <a:pt x="14781" y="5849"/>
                  </a:cubicBezTo>
                  <a:lnTo>
                    <a:pt x="0" y="21600"/>
                  </a:lnTo>
                  <a:close/>
                </a:path>
              </a:pathLst>
            </a:custGeom>
            <a:noFill/>
            <a:ln w="12700">
              <a:solidFill>
                <a:schemeClr val="tx2">
                  <a:lumMod val="60000"/>
                  <a:lumOff val="40000"/>
                </a:schemeClr>
              </a:solidFill>
              <a:round/>
              <a:headEnd type="triangle" w="med" len="med"/>
              <a:tailEnd/>
            </a:ln>
          </p:spPr>
          <p:txBody>
            <a:bodyPr wrap="none" anchor="ctr"/>
            <a:lstStyle/>
            <a:p>
              <a:endParaRPr lang="en-US"/>
            </a:p>
          </p:txBody>
        </p:sp>
        <p:sp>
          <p:nvSpPr>
            <p:cNvPr id="21" name="Arc 39">
              <a:extLst>
                <a:ext uri="{FF2B5EF4-FFF2-40B4-BE49-F238E27FC236}">
                  <a16:creationId xmlns:a16="http://schemas.microsoft.com/office/drawing/2014/main" id="{C96CDC42-1BFE-449B-BD4F-AE3B70548806}"/>
                </a:ext>
              </a:extLst>
            </p:cNvPr>
            <p:cNvSpPr>
              <a:spLocks/>
            </p:cNvSpPr>
            <p:nvPr/>
          </p:nvSpPr>
          <p:spPr bwMode="auto">
            <a:xfrm>
              <a:off x="6101790" y="1116465"/>
              <a:ext cx="853535" cy="1364346"/>
            </a:xfrm>
            <a:custGeom>
              <a:avLst/>
              <a:gdLst>
                <a:gd name="T0" fmla="*/ 0 w 14781"/>
                <a:gd name="T1" fmla="*/ 0 h 21600"/>
                <a:gd name="T2" fmla="*/ 391 w 14781"/>
                <a:gd name="T3" fmla="*/ 169 h 21600"/>
                <a:gd name="T4" fmla="*/ 0 w 14781"/>
                <a:gd name="T5" fmla="*/ 625 h 21600"/>
                <a:gd name="T6" fmla="*/ 0 60000 65536"/>
                <a:gd name="T7" fmla="*/ 0 60000 65536"/>
                <a:gd name="T8" fmla="*/ 0 60000 65536"/>
                <a:gd name="T9" fmla="*/ 0 w 14781"/>
                <a:gd name="T10" fmla="*/ 0 h 21600"/>
                <a:gd name="T11" fmla="*/ 14781 w 14781"/>
                <a:gd name="T12" fmla="*/ 21600 h 21600"/>
              </a:gdLst>
              <a:ahLst/>
              <a:cxnLst>
                <a:cxn ang="T6">
                  <a:pos x="T0" y="T1"/>
                </a:cxn>
                <a:cxn ang="T7">
                  <a:pos x="T2" y="T3"/>
                </a:cxn>
                <a:cxn ang="T8">
                  <a:pos x="T4" y="T5"/>
                </a:cxn>
              </a:cxnLst>
              <a:rect l="T9" t="T10" r="T11" b="T12"/>
              <a:pathLst>
                <a:path w="14781" h="21600" fill="none" extrusionOk="0">
                  <a:moveTo>
                    <a:pt x="-1" y="0"/>
                  </a:moveTo>
                  <a:cubicBezTo>
                    <a:pt x="5491" y="0"/>
                    <a:pt x="10776" y="2091"/>
                    <a:pt x="14781" y="5849"/>
                  </a:cubicBezTo>
                </a:path>
                <a:path w="14781" h="21600" stroke="0" extrusionOk="0">
                  <a:moveTo>
                    <a:pt x="-1" y="0"/>
                  </a:moveTo>
                  <a:cubicBezTo>
                    <a:pt x="5491" y="0"/>
                    <a:pt x="10776" y="2091"/>
                    <a:pt x="14781" y="5849"/>
                  </a:cubicBezTo>
                  <a:lnTo>
                    <a:pt x="0" y="21600"/>
                  </a:lnTo>
                  <a:close/>
                </a:path>
              </a:pathLst>
            </a:custGeom>
            <a:noFill/>
            <a:ln w="12700">
              <a:solidFill>
                <a:schemeClr val="tx2">
                  <a:lumMod val="60000"/>
                  <a:lumOff val="40000"/>
                </a:schemeClr>
              </a:solidFill>
              <a:round/>
              <a:headEnd type="triangle" w="med" len="med"/>
              <a:tailEnd/>
            </a:ln>
          </p:spPr>
          <p:txBody>
            <a:bodyPr wrap="none" anchor="ctr"/>
            <a:lstStyle/>
            <a:p>
              <a:endParaRPr lang="en-US"/>
            </a:p>
          </p:txBody>
        </p:sp>
        <p:sp>
          <p:nvSpPr>
            <p:cNvPr id="22" name="Arc 40">
              <a:extLst>
                <a:ext uri="{FF2B5EF4-FFF2-40B4-BE49-F238E27FC236}">
                  <a16:creationId xmlns:a16="http://schemas.microsoft.com/office/drawing/2014/main" id="{0B464F9F-2C12-4112-9977-6C5DAA44B04A}"/>
                </a:ext>
              </a:extLst>
            </p:cNvPr>
            <p:cNvSpPr>
              <a:spLocks/>
            </p:cNvSpPr>
            <p:nvPr/>
          </p:nvSpPr>
          <p:spPr bwMode="auto">
            <a:xfrm flipH="1" flipV="1">
              <a:off x="6806225" y="3791088"/>
              <a:ext cx="1456030" cy="2202600"/>
            </a:xfrm>
            <a:custGeom>
              <a:avLst/>
              <a:gdLst>
                <a:gd name="T0" fmla="*/ 0 w 16440"/>
                <a:gd name="T1" fmla="*/ 0 h 21600"/>
                <a:gd name="T2" fmla="*/ 667 w 16440"/>
                <a:gd name="T3" fmla="*/ 355 h 21600"/>
                <a:gd name="T4" fmla="*/ 0 w 16440"/>
                <a:gd name="T5" fmla="*/ 1009 h 21600"/>
                <a:gd name="T6" fmla="*/ 0 60000 65536"/>
                <a:gd name="T7" fmla="*/ 0 60000 65536"/>
                <a:gd name="T8" fmla="*/ 0 60000 65536"/>
                <a:gd name="T9" fmla="*/ 0 w 16440"/>
                <a:gd name="T10" fmla="*/ 0 h 21600"/>
                <a:gd name="T11" fmla="*/ 16440 w 16440"/>
                <a:gd name="T12" fmla="*/ 21600 h 21600"/>
              </a:gdLst>
              <a:ahLst/>
              <a:cxnLst>
                <a:cxn ang="T6">
                  <a:pos x="T0" y="T1"/>
                </a:cxn>
                <a:cxn ang="T7">
                  <a:pos x="T2" y="T3"/>
                </a:cxn>
                <a:cxn ang="T8">
                  <a:pos x="T4" y="T5"/>
                </a:cxn>
              </a:cxnLst>
              <a:rect l="T9" t="T10" r="T11" b="T12"/>
              <a:pathLst>
                <a:path w="16440" h="21600" fill="none" extrusionOk="0">
                  <a:moveTo>
                    <a:pt x="-1" y="0"/>
                  </a:moveTo>
                  <a:cubicBezTo>
                    <a:pt x="6327" y="0"/>
                    <a:pt x="12336" y="2774"/>
                    <a:pt x="16440" y="7589"/>
                  </a:cubicBezTo>
                </a:path>
                <a:path w="16440" h="21600" stroke="0" extrusionOk="0">
                  <a:moveTo>
                    <a:pt x="-1" y="0"/>
                  </a:moveTo>
                  <a:cubicBezTo>
                    <a:pt x="6327" y="0"/>
                    <a:pt x="12336" y="2774"/>
                    <a:pt x="16440" y="7589"/>
                  </a:cubicBezTo>
                  <a:lnTo>
                    <a:pt x="0" y="21600"/>
                  </a:lnTo>
                  <a:close/>
                </a:path>
              </a:pathLst>
            </a:custGeom>
            <a:noFill/>
            <a:ln w="12700">
              <a:solidFill>
                <a:schemeClr val="tx2">
                  <a:lumMod val="60000"/>
                  <a:lumOff val="40000"/>
                </a:schemeClr>
              </a:solidFill>
              <a:round/>
              <a:headEnd/>
              <a:tailEnd type="triangle" w="med" len="med"/>
            </a:ln>
          </p:spPr>
          <p:txBody>
            <a:bodyPr wrap="none" anchor="ctr"/>
            <a:lstStyle/>
            <a:p>
              <a:endParaRPr lang="en-US"/>
            </a:p>
          </p:txBody>
        </p:sp>
        <p:sp>
          <p:nvSpPr>
            <p:cNvPr id="23" name="Freeform 5">
              <a:extLst>
                <a:ext uri="{FF2B5EF4-FFF2-40B4-BE49-F238E27FC236}">
                  <a16:creationId xmlns:a16="http://schemas.microsoft.com/office/drawing/2014/main" id="{5AFC0CDA-6DFC-4F53-B8A9-5501046ED503}"/>
                </a:ext>
              </a:extLst>
            </p:cNvPr>
            <p:cNvSpPr>
              <a:spLocks noEditPoints="1"/>
            </p:cNvSpPr>
            <p:nvPr/>
          </p:nvSpPr>
          <p:spPr bwMode="auto">
            <a:xfrm>
              <a:off x="6764338" y="1798638"/>
              <a:ext cx="3821113" cy="3835401"/>
            </a:xfrm>
            <a:custGeom>
              <a:avLst/>
              <a:gdLst>
                <a:gd name="T0" fmla="*/ 335 w 342"/>
                <a:gd name="T1" fmla="*/ 143 h 343"/>
                <a:gd name="T2" fmla="*/ 294 w 342"/>
                <a:gd name="T3" fmla="*/ 143 h 343"/>
                <a:gd name="T4" fmla="*/ 283 w 342"/>
                <a:gd name="T5" fmla="*/ 110 h 343"/>
                <a:gd name="T6" fmla="*/ 312 w 342"/>
                <a:gd name="T7" fmla="*/ 81 h 343"/>
                <a:gd name="T8" fmla="*/ 314 w 342"/>
                <a:gd name="T9" fmla="*/ 76 h 343"/>
                <a:gd name="T10" fmla="*/ 312 w 342"/>
                <a:gd name="T11" fmla="*/ 70 h 343"/>
                <a:gd name="T12" fmla="*/ 272 w 342"/>
                <a:gd name="T13" fmla="*/ 30 h 343"/>
                <a:gd name="T14" fmla="*/ 262 w 342"/>
                <a:gd name="T15" fmla="*/ 30 h 343"/>
                <a:gd name="T16" fmla="*/ 233 w 342"/>
                <a:gd name="T17" fmla="*/ 59 h 343"/>
                <a:gd name="T18" fmla="*/ 200 w 342"/>
                <a:gd name="T19" fmla="*/ 48 h 343"/>
                <a:gd name="T20" fmla="*/ 200 w 342"/>
                <a:gd name="T21" fmla="*/ 7 h 343"/>
                <a:gd name="T22" fmla="*/ 192 w 342"/>
                <a:gd name="T23" fmla="*/ 0 h 343"/>
                <a:gd name="T24" fmla="*/ 150 w 342"/>
                <a:gd name="T25" fmla="*/ 0 h 343"/>
                <a:gd name="T26" fmla="*/ 142 w 342"/>
                <a:gd name="T27" fmla="*/ 7 h 343"/>
                <a:gd name="T28" fmla="*/ 142 w 342"/>
                <a:gd name="T29" fmla="*/ 48 h 343"/>
                <a:gd name="T30" fmla="*/ 109 w 342"/>
                <a:gd name="T31" fmla="*/ 59 h 343"/>
                <a:gd name="T32" fmla="*/ 80 w 342"/>
                <a:gd name="T33" fmla="*/ 30 h 343"/>
                <a:gd name="T34" fmla="*/ 70 w 342"/>
                <a:gd name="T35" fmla="*/ 30 h 343"/>
                <a:gd name="T36" fmla="*/ 30 w 342"/>
                <a:gd name="T37" fmla="*/ 70 h 343"/>
                <a:gd name="T38" fmla="*/ 28 w 342"/>
                <a:gd name="T39" fmla="*/ 76 h 343"/>
                <a:gd name="T40" fmla="*/ 30 w 342"/>
                <a:gd name="T41" fmla="*/ 81 h 343"/>
                <a:gd name="T42" fmla="*/ 59 w 342"/>
                <a:gd name="T43" fmla="*/ 110 h 343"/>
                <a:gd name="T44" fmla="*/ 48 w 342"/>
                <a:gd name="T45" fmla="*/ 143 h 343"/>
                <a:gd name="T46" fmla="*/ 7 w 342"/>
                <a:gd name="T47" fmla="*/ 143 h 343"/>
                <a:gd name="T48" fmla="*/ 0 w 342"/>
                <a:gd name="T49" fmla="*/ 150 h 343"/>
                <a:gd name="T50" fmla="*/ 0 w 342"/>
                <a:gd name="T51" fmla="*/ 193 h 343"/>
                <a:gd name="T52" fmla="*/ 7 w 342"/>
                <a:gd name="T53" fmla="*/ 200 h 343"/>
                <a:gd name="T54" fmla="*/ 48 w 342"/>
                <a:gd name="T55" fmla="*/ 200 h 343"/>
                <a:gd name="T56" fmla="*/ 59 w 342"/>
                <a:gd name="T57" fmla="*/ 233 h 343"/>
                <a:gd name="T58" fmla="*/ 30 w 342"/>
                <a:gd name="T59" fmla="*/ 262 h 343"/>
                <a:gd name="T60" fmla="*/ 28 w 342"/>
                <a:gd name="T61" fmla="*/ 267 h 343"/>
                <a:gd name="T62" fmla="*/ 30 w 342"/>
                <a:gd name="T63" fmla="*/ 272 h 343"/>
                <a:gd name="T64" fmla="*/ 70 w 342"/>
                <a:gd name="T65" fmla="*/ 313 h 343"/>
                <a:gd name="T66" fmla="*/ 80 w 342"/>
                <a:gd name="T67" fmla="*/ 313 h 343"/>
                <a:gd name="T68" fmla="*/ 109 w 342"/>
                <a:gd name="T69" fmla="*/ 284 h 343"/>
                <a:gd name="T70" fmla="*/ 142 w 342"/>
                <a:gd name="T71" fmla="*/ 295 h 343"/>
                <a:gd name="T72" fmla="*/ 142 w 342"/>
                <a:gd name="T73" fmla="*/ 336 h 343"/>
                <a:gd name="T74" fmla="*/ 150 w 342"/>
                <a:gd name="T75" fmla="*/ 343 h 343"/>
                <a:gd name="T76" fmla="*/ 192 w 342"/>
                <a:gd name="T77" fmla="*/ 343 h 343"/>
                <a:gd name="T78" fmla="*/ 200 w 342"/>
                <a:gd name="T79" fmla="*/ 336 h 343"/>
                <a:gd name="T80" fmla="*/ 200 w 342"/>
                <a:gd name="T81" fmla="*/ 295 h 343"/>
                <a:gd name="T82" fmla="*/ 233 w 342"/>
                <a:gd name="T83" fmla="*/ 284 h 343"/>
                <a:gd name="T84" fmla="*/ 262 w 342"/>
                <a:gd name="T85" fmla="*/ 313 h 343"/>
                <a:gd name="T86" fmla="*/ 272 w 342"/>
                <a:gd name="T87" fmla="*/ 313 h 343"/>
                <a:gd name="T88" fmla="*/ 312 w 342"/>
                <a:gd name="T89" fmla="*/ 272 h 343"/>
                <a:gd name="T90" fmla="*/ 312 w 342"/>
                <a:gd name="T91" fmla="*/ 262 h 343"/>
                <a:gd name="T92" fmla="*/ 283 w 342"/>
                <a:gd name="T93" fmla="*/ 233 h 343"/>
                <a:gd name="T94" fmla="*/ 294 w 342"/>
                <a:gd name="T95" fmla="*/ 200 h 343"/>
                <a:gd name="T96" fmla="*/ 335 w 342"/>
                <a:gd name="T97" fmla="*/ 200 h 343"/>
                <a:gd name="T98" fmla="*/ 342 w 342"/>
                <a:gd name="T99" fmla="*/ 193 h 343"/>
                <a:gd name="T100" fmla="*/ 342 w 342"/>
                <a:gd name="T101" fmla="*/ 150 h 343"/>
                <a:gd name="T102" fmla="*/ 335 w 342"/>
                <a:gd name="T103" fmla="*/ 143 h 343"/>
                <a:gd name="T104" fmla="*/ 171 w 342"/>
                <a:gd name="T105" fmla="*/ 243 h 343"/>
                <a:gd name="T106" fmla="*/ 100 w 342"/>
                <a:gd name="T107" fmla="*/ 171 h 343"/>
                <a:gd name="T108" fmla="*/ 171 w 342"/>
                <a:gd name="T109" fmla="*/ 100 h 343"/>
                <a:gd name="T110" fmla="*/ 242 w 342"/>
                <a:gd name="T111" fmla="*/ 171 h 343"/>
                <a:gd name="T112" fmla="*/ 171 w 342"/>
                <a:gd name="T113" fmla="*/ 2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 h="343">
                  <a:moveTo>
                    <a:pt x="335" y="143"/>
                  </a:moveTo>
                  <a:cubicBezTo>
                    <a:pt x="294" y="143"/>
                    <a:pt x="294" y="143"/>
                    <a:pt x="294" y="143"/>
                  </a:cubicBezTo>
                  <a:cubicBezTo>
                    <a:pt x="291" y="132"/>
                    <a:pt x="288" y="119"/>
                    <a:pt x="283" y="110"/>
                  </a:cubicBezTo>
                  <a:cubicBezTo>
                    <a:pt x="312" y="81"/>
                    <a:pt x="312" y="81"/>
                    <a:pt x="312" y="81"/>
                  </a:cubicBezTo>
                  <a:cubicBezTo>
                    <a:pt x="314" y="79"/>
                    <a:pt x="314" y="77"/>
                    <a:pt x="314" y="76"/>
                  </a:cubicBezTo>
                  <a:cubicBezTo>
                    <a:pt x="314" y="74"/>
                    <a:pt x="314" y="72"/>
                    <a:pt x="312" y="70"/>
                  </a:cubicBezTo>
                  <a:cubicBezTo>
                    <a:pt x="272" y="30"/>
                    <a:pt x="272" y="30"/>
                    <a:pt x="272" y="30"/>
                  </a:cubicBezTo>
                  <a:cubicBezTo>
                    <a:pt x="269" y="27"/>
                    <a:pt x="265" y="27"/>
                    <a:pt x="262" y="30"/>
                  </a:cubicBezTo>
                  <a:cubicBezTo>
                    <a:pt x="233" y="59"/>
                    <a:pt x="233" y="59"/>
                    <a:pt x="233" y="59"/>
                  </a:cubicBezTo>
                  <a:cubicBezTo>
                    <a:pt x="223" y="54"/>
                    <a:pt x="211" y="51"/>
                    <a:pt x="200" y="48"/>
                  </a:cubicBezTo>
                  <a:cubicBezTo>
                    <a:pt x="200" y="7"/>
                    <a:pt x="200" y="7"/>
                    <a:pt x="200" y="7"/>
                  </a:cubicBezTo>
                  <a:cubicBezTo>
                    <a:pt x="200" y="3"/>
                    <a:pt x="196" y="0"/>
                    <a:pt x="192" y="0"/>
                  </a:cubicBezTo>
                  <a:cubicBezTo>
                    <a:pt x="150" y="0"/>
                    <a:pt x="150" y="0"/>
                    <a:pt x="150" y="0"/>
                  </a:cubicBezTo>
                  <a:cubicBezTo>
                    <a:pt x="146" y="0"/>
                    <a:pt x="142" y="3"/>
                    <a:pt x="142" y="7"/>
                  </a:cubicBezTo>
                  <a:cubicBezTo>
                    <a:pt x="142" y="48"/>
                    <a:pt x="142" y="48"/>
                    <a:pt x="142" y="48"/>
                  </a:cubicBezTo>
                  <a:cubicBezTo>
                    <a:pt x="131" y="51"/>
                    <a:pt x="119" y="54"/>
                    <a:pt x="109" y="59"/>
                  </a:cubicBezTo>
                  <a:cubicBezTo>
                    <a:pt x="80" y="30"/>
                    <a:pt x="80" y="30"/>
                    <a:pt x="80" y="30"/>
                  </a:cubicBezTo>
                  <a:cubicBezTo>
                    <a:pt x="77" y="27"/>
                    <a:pt x="73" y="27"/>
                    <a:pt x="70" y="30"/>
                  </a:cubicBezTo>
                  <a:cubicBezTo>
                    <a:pt x="30" y="70"/>
                    <a:pt x="30" y="70"/>
                    <a:pt x="30" y="70"/>
                  </a:cubicBezTo>
                  <a:cubicBezTo>
                    <a:pt x="28" y="72"/>
                    <a:pt x="28" y="74"/>
                    <a:pt x="28" y="76"/>
                  </a:cubicBezTo>
                  <a:cubicBezTo>
                    <a:pt x="28" y="77"/>
                    <a:pt x="28" y="79"/>
                    <a:pt x="30" y="81"/>
                  </a:cubicBezTo>
                  <a:cubicBezTo>
                    <a:pt x="59" y="110"/>
                    <a:pt x="59" y="110"/>
                    <a:pt x="59" y="110"/>
                  </a:cubicBezTo>
                  <a:cubicBezTo>
                    <a:pt x="54" y="119"/>
                    <a:pt x="50" y="132"/>
                    <a:pt x="48" y="143"/>
                  </a:cubicBezTo>
                  <a:cubicBezTo>
                    <a:pt x="7" y="143"/>
                    <a:pt x="7" y="143"/>
                    <a:pt x="7" y="143"/>
                  </a:cubicBezTo>
                  <a:cubicBezTo>
                    <a:pt x="3" y="143"/>
                    <a:pt x="0" y="146"/>
                    <a:pt x="0" y="150"/>
                  </a:cubicBezTo>
                  <a:cubicBezTo>
                    <a:pt x="0" y="193"/>
                    <a:pt x="0" y="193"/>
                    <a:pt x="0" y="193"/>
                  </a:cubicBezTo>
                  <a:cubicBezTo>
                    <a:pt x="0" y="197"/>
                    <a:pt x="3" y="200"/>
                    <a:pt x="7" y="200"/>
                  </a:cubicBezTo>
                  <a:cubicBezTo>
                    <a:pt x="48" y="200"/>
                    <a:pt x="48" y="200"/>
                    <a:pt x="48" y="200"/>
                  </a:cubicBezTo>
                  <a:cubicBezTo>
                    <a:pt x="50" y="211"/>
                    <a:pt x="54" y="224"/>
                    <a:pt x="59" y="233"/>
                  </a:cubicBezTo>
                  <a:cubicBezTo>
                    <a:pt x="30" y="262"/>
                    <a:pt x="30" y="262"/>
                    <a:pt x="30" y="262"/>
                  </a:cubicBezTo>
                  <a:cubicBezTo>
                    <a:pt x="28" y="264"/>
                    <a:pt x="28" y="265"/>
                    <a:pt x="28" y="267"/>
                  </a:cubicBezTo>
                  <a:cubicBezTo>
                    <a:pt x="28" y="269"/>
                    <a:pt x="28" y="271"/>
                    <a:pt x="30" y="272"/>
                  </a:cubicBezTo>
                  <a:cubicBezTo>
                    <a:pt x="70" y="313"/>
                    <a:pt x="70" y="313"/>
                    <a:pt x="70" y="313"/>
                  </a:cubicBezTo>
                  <a:cubicBezTo>
                    <a:pt x="73" y="315"/>
                    <a:pt x="77" y="315"/>
                    <a:pt x="80" y="313"/>
                  </a:cubicBezTo>
                  <a:cubicBezTo>
                    <a:pt x="109" y="284"/>
                    <a:pt x="109" y="284"/>
                    <a:pt x="109" y="284"/>
                  </a:cubicBezTo>
                  <a:cubicBezTo>
                    <a:pt x="119" y="288"/>
                    <a:pt x="131" y="292"/>
                    <a:pt x="142" y="295"/>
                  </a:cubicBezTo>
                  <a:cubicBezTo>
                    <a:pt x="142" y="336"/>
                    <a:pt x="142" y="336"/>
                    <a:pt x="142" y="336"/>
                  </a:cubicBezTo>
                  <a:cubicBezTo>
                    <a:pt x="142" y="339"/>
                    <a:pt x="146" y="343"/>
                    <a:pt x="150" y="343"/>
                  </a:cubicBezTo>
                  <a:cubicBezTo>
                    <a:pt x="192" y="343"/>
                    <a:pt x="192" y="343"/>
                    <a:pt x="192" y="343"/>
                  </a:cubicBezTo>
                  <a:cubicBezTo>
                    <a:pt x="196" y="343"/>
                    <a:pt x="200" y="339"/>
                    <a:pt x="200" y="336"/>
                  </a:cubicBezTo>
                  <a:cubicBezTo>
                    <a:pt x="200" y="295"/>
                    <a:pt x="200" y="295"/>
                    <a:pt x="200" y="295"/>
                  </a:cubicBezTo>
                  <a:cubicBezTo>
                    <a:pt x="211" y="292"/>
                    <a:pt x="223" y="288"/>
                    <a:pt x="233" y="284"/>
                  </a:cubicBezTo>
                  <a:cubicBezTo>
                    <a:pt x="262" y="313"/>
                    <a:pt x="262" y="313"/>
                    <a:pt x="262" y="313"/>
                  </a:cubicBezTo>
                  <a:cubicBezTo>
                    <a:pt x="265" y="315"/>
                    <a:pt x="269" y="315"/>
                    <a:pt x="272" y="313"/>
                  </a:cubicBezTo>
                  <a:cubicBezTo>
                    <a:pt x="312" y="272"/>
                    <a:pt x="312" y="272"/>
                    <a:pt x="312" y="272"/>
                  </a:cubicBezTo>
                  <a:cubicBezTo>
                    <a:pt x="315" y="270"/>
                    <a:pt x="315" y="265"/>
                    <a:pt x="312" y="262"/>
                  </a:cubicBezTo>
                  <a:cubicBezTo>
                    <a:pt x="283" y="233"/>
                    <a:pt x="283" y="233"/>
                    <a:pt x="283" y="233"/>
                  </a:cubicBezTo>
                  <a:cubicBezTo>
                    <a:pt x="288" y="224"/>
                    <a:pt x="291" y="211"/>
                    <a:pt x="294" y="200"/>
                  </a:cubicBezTo>
                  <a:cubicBezTo>
                    <a:pt x="335" y="200"/>
                    <a:pt x="335" y="200"/>
                    <a:pt x="335" y="200"/>
                  </a:cubicBezTo>
                  <a:cubicBezTo>
                    <a:pt x="339" y="200"/>
                    <a:pt x="342" y="197"/>
                    <a:pt x="342" y="193"/>
                  </a:cubicBezTo>
                  <a:cubicBezTo>
                    <a:pt x="342" y="150"/>
                    <a:pt x="342" y="150"/>
                    <a:pt x="342" y="150"/>
                  </a:cubicBezTo>
                  <a:cubicBezTo>
                    <a:pt x="342" y="146"/>
                    <a:pt x="339" y="143"/>
                    <a:pt x="335" y="143"/>
                  </a:cubicBezTo>
                  <a:close/>
                  <a:moveTo>
                    <a:pt x="171" y="243"/>
                  </a:moveTo>
                  <a:cubicBezTo>
                    <a:pt x="132" y="243"/>
                    <a:pt x="100" y="211"/>
                    <a:pt x="100" y="171"/>
                  </a:cubicBezTo>
                  <a:cubicBezTo>
                    <a:pt x="100" y="132"/>
                    <a:pt x="132" y="100"/>
                    <a:pt x="171" y="100"/>
                  </a:cubicBezTo>
                  <a:cubicBezTo>
                    <a:pt x="210" y="100"/>
                    <a:pt x="242" y="132"/>
                    <a:pt x="242" y="171"/>
                  </a:cubicBezTo>
                  <a:cubicBezTo>
                    <a:pt x="242" y="211"/>
                    <a:pt x="210" y="243"/>
                    <a:pt x="171" y="24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9">
              <a:extLst>
                <a:ext uri="{FF2B5EF4-FFF2-40B4-BE49-F238E27FC236}">
                  <a16:creationId xmlns:a16="http://schemas.microsoft.com/office/drawing/2014/main" id="{2398AD2F-E544-4D6B-B8B6-6FBC2A0ECE7F}"/>
                </a:ext>
              </a:extLst>
            </p:cNvPr>
            <p:cNvSpPr>
              <a:spLocks noEditPoints="1"/>
            </p:cNvSpPr>
            <p:nvPr/>
          </p:nvSpPr>
          <p:spPr bwMode="auto">
            <a:xfrm rot="1387047">
              <a:off x="4713288" y="1379538"/>
              <a:ext cx="2452688" cy="2465388"/>
            </a:xfrm>
            <a:custGeom>
              <a:avLst/>
              <a:gdLst>
                <a:gd name="T0" fmla="*/ 335 w 342"/>
                <a:gd name="T1" fmla="*/ 143 h 343"/>
                <a:gd name="T2" fmla="*/ 294 w 342"/>
                <a:gd name="T3" fmla="*/ 143 h 343"/>
                <a:gd name="T4" fmla="*/ 283 w 342"/>
                <a:gd name="T5" fmla="*/ 110 h 343"/>
                <a:gd name="T6" fmla="*/ 312 w 342"/>
                <a:gd name="T7" fmla="*/ 81 h 343"/>
                <a:gd name="T8" fmla="*/ 314 w 342"/>
                <a:gd name="T9" fmla="*/ 76 h 343"/>
                <a:gd name="T10" fmla="*/ 312 w 342"/>
                <a:gd name="T11" fmla="*/ 70 h 343"/>
                <a:gd name="T12" fmla="*/ 272 w 342"/>
                <a:gd name="T13" fmla="*/ 30 h 343"/>
                <a:gd name="T14" fmla="*/ 262 w 342"/>
                <a:gd name="T15" fmla="*/ 30 h 343"/>
                <a:gd name="T16" fmla="*/ 233 w 342"/>
                <a:gd name="T17" fmla="*/ 59 h 343"/>
                <a:gd name="T18" fmla="*/ 200 w 342"/>
                <a:gd name="T19" fmla="*/ 48 h 343"/>
                <a:gd name="T20" fmla="*/ 200 w 342"/>
                <a:gd name="T21" fmla="*/ 7 h 343"/>
                <a:gd name="T22" fmla="*/ 192 w 342"/>
                <a:gd name="T23" fmla="*/ 0 h 343"/>
                <a:gd name="T24" fmla="*/ 150 w 342"/>
                <a:gd name="T25" fmla="*/ 0 h 343"/>
                <a:gd name="T26" fmla="*/ 142 w 342"/>
                <a:gd name="T27" fmla="*/ 7 h 343"/>
                <a:gd name="T28" fmla="*/ 142 w 342"/>
                <a:gd name="T29" fmla="*/ 48 h 343"/>
                <a:gd name="T30" fmla="*/ 109 w 342"/>
                <a:gd name="T31" fmla="*/ 59 h 343"/>
                <a:gd name="T32" fmla="*/ 80 w 342"/>
                <a:gd name="T33" fmla="*/ 30 h 343"/>
                <a:gd name="T34" fmla="*/ 70 w 342"/>
                <a:gd name="T35" fmla="*/ 30 h 343"/>
                <a:gd name="T36" fmla="*/ 30 w 342"/>
                <a:gd name="T37" fmla="*/ 70 h 343"/>
                <a:gd name="T38" fmla="*/ 28 w 342"/>
                <a:gd name="T39" fmla="*/ 76 h 343"/>
                <a:gd name="T40" fmla="*/ 30 w 342"/>
                <a:gd name="T41" fmla="*/ 81 h 343"/>
                <a:gd name="T42" fmla="*/ 59 w 342"/>
                <a:gd name="T43" fmla="*/ 110 h 343"/>
                <a:gd name="T44" fmla="*/ 48 w 342"/>
                <a:gd name="T45" fmla="*/ 143 h 343"/>
                <a:gd name="T46" fmla="*/ 7 w 342"/>
                <a:gd name="T47" fmla="*/ 143 h 343"/>
                <a:gd name="T48" fmla="*/ 0 w 342"/>
                <a:gd name="T49" fmla="*/ 150 h 343"/>
                <a:gd name="T50" fmla="*/ 0 w 342"/>
                <a:gd name="T51" fmla="*/ 193 h 343"/>
                <a:gd name="T52" fmla="*/ 7 w 342"/>
                <a:gd name="T53" fmla="*/ 200 h 343"/>
                <a:gd name="T54" fmla="*/ 48 w 342"/>
                <a:gd name="T55" fmla="*/ 200 h 343"/>
                <a:gd name="T56" fmla="*/ 59 w 342"/>
                <a:gd name="T57" fmla="*/ 233 h 343"/>
                <a:gd name="T58" fmla="*/ 30 w 342"/>
                <a:gd name="T59" fmla="*/ 262 h 343"/>
                <a:gd name="T60" fmla="*/ 28 w 342"/>
                <a:gd name="T61" fmla="*/ 267 h 343"/>
                <a:gd name="T62" fmla="*/ 30 w 342"/>
                <a:gd name="T63" fmla="*/ 272 h 343"/>
                <a:gd name="T64" fmla="*/ 70 w 342"/>
                <a:gd name="T65" fmla="*/ 313 h 343"/>
                <a:gd name="T66" fmla="*/ 80 w 342"/>
                <a:gd name="T67" fmla="*/ 313 h 343"/>
                <a:gd name="T68" fmla="*/ 109 w 342"/>
                <a:gd name="T69" fmla="*/ 284 h 343"/>
                <a:gd name="T70" fmla="*/ 142 w 342"/>
                <a:gd name="T71" fmla="*/ 295 h 343"/>
                <a:gd name="T72" fmla="*/ 142 w 342"/>
                <a:gd name="T73" fmla="*/ 336 h 343"/>
                <a:gd name="T74" fmla="*/ 150 w 342"/>
                <a:gd name="T75" fmla="*/ 343 h 343"/>
                <a:gd name="T76" fmla="*/ 192 w 342"/>
                <a:gd name="T77" fmla="*/ 343 h 343"/>
                <a:gd name="T78" fmla="*/ 200 w 342"/>
                <a:gd name="T79" fmla="*/ 336 h 343"/>
                <a:gd name="T80" fmla="*/ 200 w 342"/>
                <a:gd name="T81" fmla="*/ 295 h 343"/>
                <a:gd name="T82" fmla="*/ 233 w 342"/>
                <a:gd name="T83" fmla="*/ 284 h 343"/>
                <a:gd name="T84" fmla="*/ 262 w 342"/>
                <a:gd name="T85" fmla="*/ 313 h 343"/>
                <a:gd name="T86" fmla="*/ 272 w 342"/>
                <a:gd name="T87" fmla="*/ 313 h 343"/>
                <a:gd name="T88" fmla="*/ 312 w 342"/>
                <a:gd name="T89" fmla="*/ 272 h 343"/>
                <a:gd name="T90" fmla="*/ 312 w 342"/>
                <a:gd name="T91" fmla="*/ 262 h 343"/>
                <a:gd name="T92" fmla="*/ 283 w 342"/>
                <a:gd name="T93" fmla="*/ 233 h 343"/>
                <a:gd name="T94" fmla="*/ 294 w 342"/>
                <a:gd name="T95" fmla="*/ 200 h 343"/>
                <a:gd name="T96" fmla="*/ 335 w 342"/>
                <a:gd name="T97" fmla="*/ 200 h 343"/>
                <a:gd name="T98" fmla="*/ 342 w 342"/>
                <a:gd name="T99" fmla="*/ 193 h 343"/>
                <a:gd name="T100" fmla="*/ 342 w 342"/>
                <a:gd name="T101" fmla="*/ 150 h 343"/>
                <a:gd name="T102" fmla="*/ 335 w 342"/>
                <a:gd name="T103" fmla="*/ 143 h 343"/>
                <a:gd name="T104" fmla="*/ 171 w 342"/>
                <a:gd name="T105" fmla="*/ 243 h 343"/>
                <a:gd name="T106" fmla="*/ 100 w 342"/>
                <a:gd name="T107" fmla="*/ 171 h 343"/>
                <a:gd name="T108" fmla="*/ 171 w 342"/>
                <a:gd name="T109" fmla="*/ 100 h 343"/>
                <a:gd name="T110" fmla="*/ 242 w 342"/>
                <a:gd name="T111" fmla="*/ 171 h 343"/>
                <a:gd name="T112" fmla="*/ 171 w 342"/>
                <a:gd name="T113" fmla="*/ 2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 h="343">
                  <a:moveTo>
                    <a:pt x="335" y="143"/>
                  </a:moveTo>
                  <a:cubicBezTo>
                    <a:pt x="294" y="143"/>
                    <a:pt x="294" y="143"/>
                    <a:pt x="294" y="143"/>
                  </a:cubicBezTo>
                  <a:cubicBezTo>
                    <a:pt x="291" y="132"/>
                    <a:pt x="288" y="119"/>
                    <a:pt x="283" y="110"/>
                  </a:cubicBezTo>
                  <a:cubicBezTo>
                    <a:pt x="312" y="81"/>
                    <a:pt x="312" y="81"/>
                    <a:pt x="312" y="81"/>
                  </a:cubicBezTo>
                  <a:cubicBezTo>
                    <a:pt x="314" y="79"/>
                    <a:pt x="314" y="77"/>
                    <a:pt x="314" y="76"/>
                  </a:cubicBezTo>
                  <a:cubicBezTo>
                    <a:pt x="314" y="74"/>
                    <a:pt x="314" y="72"/>
                    <a:pt x="312" y="70"/>
                  </a:cubicBezTo>
                  <a:cubicBezTo>
                    <a:pt x="272" y="30"/>
                    <a:pt x="272" y="30"/>
                    <a:pt x="272" y="30"/>
                  </a:cubicBezTo>
                  <a:cubicBezTo>
                    <a:pt x="269" y="27"/>
                    <a:pt x="265" y="27"/>
                    <a:pt x="262" y="30"/>
                  </a:cubicBezTo>
                  <a:cubicBezTo>
                    <a:pt x="233" y="59"/>
                    <a:pt x="233" y="59"/>
                    <a:pt x="233" y="59"/>
                  </a:cubicBezTo>
                  <a:cubicBezTo>
                    <a:pt x="223" y="54"/>
                    <a:pt x="211" y="51"/>
                    <a:pt x="200" y="48"/>
                  </a:cubicBezTo>
                  <a:cubicBezTo>
                    <a:pt x="200" y="7"/>
                    <a:pt x="200" y="7"/>
                    <a:pt x="200" y="7"/>
                  </a:cubicBezTo>
                  <a:cubicBezTo>
                    <a:pt x="200" y="3"/>
                    <a:pt x="196" y="0"/>
                    <a:pt x="192" y="0"/>
                  </a:cubicBezTo>
                  <a:cubicBezTo>
                    <a:pt x="150" y="0"/>
                    <a:pt x="150" y="0"/>
                    <a:pt x="150" y="0"/>
                  </a:cubicBezTo>
                  <a:cubicBezTo>
                    <a:pt x="146" y="0"/>
                    <a:pt x="142" y="3"/>
                    <a:pt x="142" y="7"/>
                  </a:cubicBezTo>
                  <a:cubicBezTo>
                    <a:pt x="142" y="48"/>
                    <a:pt x="142" y="48"/>
                    <a:pt x="142" y="48"/>
                  </a:cubicBezTo>
                  <a:cubicBezTo>
                    <a:pt x="131" y="51"/>
                    <a:pt x="119" y="54"/>
                    <a:pt x="109" y="59"/>
                  </a:cubicBezTo>
                  <a:cubicBezTo>
                    <a:pt x="80" y="30"/>
                    <a:pt x="80" y="30"/>
                    <a:pt x="80" y="30"/>
                  </a:cubicBezTo>
                  <a:cubicBezTo>
                    <a:pt x="77" y="27"/>
                    <a:pt x="73" y="27"/>
                    <a:pt x="70" y="30"/>
                  </a:cubicBezTo>
                  <a:cubicBezTo>
                    <a:pt x="30" y="70"/>
                    <a:pt x="30" y="70"/>
                    <a:pt x="30" y="70"/>
                  </a:cubicBezTo>
                  <a:cubicBezTo>
                    <a:pt x="28" y="72"/>
                    <a:pt x="28" y="74"/>
                    <a:pt x="28" y="76"/>
                  </a:cubicBezTo>
                  <a:cubicBezTo>
                    <a:pt x="28" y="77"/>
                    <a:pt x="28" y="79"/>
                    <a:pt x="30" y="81"/>
                  </a:cubicBezTo>
                  <a:cubicBezTo>
                    <a:pt x="59" y="110"/>
                    <a:pt x="59" y="110"/>
                    <a:pt x="59" y="110"/>
                  </a:cubicBezTo>
                  <a:cubicBezTo>
                    <a:pt x="54" y="119"/>
                    <a:pt x="50" y="132"/>
                    <a:pt x="48" y="143"/>
                  </a:cubicBezTo>
                  <a:cubicBezTo>
                    <a:pt x="7" y="143"/>
                    <a:pt x="7" y="143"/>
                    <a:pt x="7" y="143"/>
                  </a:cubicBezTo>
                  <a:cubicBezTo>
                    <a:pt x="3" y="143"/>
                    <a:pt x="0" y="146"/>
                    <a:pt x="0" y="150"/>
                  </a:cubicBezTo>
                  <a:cubicBezTo>
                    <a:pt x="0" y="193"/>
                    <a:pt x="0" y="193"/>
                    <a:pt x="0" y="193"/>
                  </a:cubicBezTo>
                  <a:cubicBezTo>
                    <a:pt x="0" y="197"/>
                    <a:pt x="3" y="200"/>
                    <a:pt x="7" y="200"/>
                  </a:cubicBezTo>
                  <a:cubicBezTo>
                    <a:pt x="48" y="200"/>
                    <a:pt x="48" y="200"/>
                    <a:pt x="48" y="200"/>
                  </a:cubicBezTo>
                  <a:cubicBezTo>
                    <a:pt x="50" y="211"/>
                    <a:pt x="54" y="224"/>
                    <a:pt x="59" y="233"/>
                  </a:cubicBezTo>
                  <a:cubicBezTo>
                    <a:pt x="30" y="262"/>
                    <a:pt x="30" y="262"/>
                    <a:pt x="30" y="262"/>
                  </a:cubicBezTo>
                  <a:cubicBezTo>
                    <a:pt x="28" y="264"/>
                    <a:pt x="28" y="265"/>
                    <a:pt x="28" y="267"/>
                  </a:cubicBezTo>
                  <a:cubicBezTo>
                    <a:pt x="28" y="269"/>
                    <a:pt x="28" y="271"/>
                    <a:pt x="30" y="272"/>
                  </a:cubicBezTo>
                  <a:cubicBezTo>
                    <a:pt x="70" y="313"/>
                    <a:pt x="70" y="313"/>
                    <a:pt x="70" y="313"/>
                  </a:cubicBezTo>
                  <a:cubicBezTo>
                    <a:pt x="73" y="315"/>
                    <a:pt x="77" y="315"/>
                    <a:pt x="80" y="313"/>
                  </a:cubicBezTo>
                  <a:cubicBezTo>
                    <a:pt x="109" y="284"/>
                    <a:pt x="109" y="284"/>
                    <a:pt x="109" y="284"/>
                  </a:cubicBezTo>
                  <a:cubicBezTo>
                    <a:pt x="119" y="288"/>
                    <a:pt x="131" y="292"/>
                    <a:pt x="142" y="295"/>
                  </a:cubicBezTo>
                  <a:cubicBezTo>
                    <a:pt x="142" y="336"/>
                    <a:pt x="142" y="336"/>
                    <a:pt x="142" y="336"/>
                  </a:cubicBezTo>
                  <a:cubicBezTo>
                    <a:pt x="142" y="339"/>
                    <a:pt x="146" y="343"/>
                    <a:pt x="150" y="343"/>
                  </a:cubicBezTo>
                  <a:cubicBezTo>
                    <a:pt x="192" y="343"/>
                    <a:pt x="192" y="343"/>
                    <a:pt x="192" y="343"/>
                  </a:cubicBezTo>
                  <a:cubicBezTo>
                    <a:pt x="196" y="343"/>
                    <a:pt x="200" y="339"/>
                    <a:pt x="200" y="336"/>
                  </a:cubicBezTo>
                  <a:cubicBezTo>
                    <a:pt x="200" y="295"/>
                    <a:pt x="200" y="295"/>
                    <a:pt x="200" y="295"/>
                  </a:cubicBezTo>
                  <a:cubicBezTo>
                    <a:pt x="211" y="292"/>
                    <a:pt x="223" y="288"/>
                    <a:pt x="233" y="284"/>
                  </a:cubicBezTo>
                  <a:cubicBezTo>
                    <a:pt x="262" y="313"/>
                    <a:pt x="262" y="313"/>
                    <a:pt x="262" y="313"/>
                  </a:cubicBezTo>
                  <a:cubicBezTo>
                    <a:pt x="265" y="315"/>
                    <a:pt x="269" y="315"/>
                    <a:pt x="272" y="313"/>
                  </a:cubicBezTo>
                  <a:cubicBezTo>
                    <a:pt x="312" y="272"/>
                    <a:pt x="312" y="272"/>
                    <a:pt x="312" y="272"/>
                  </a:cubicBezTo>
                  <a:cubicBezTo>
                    <a:pt x="315" y="270"/>
                    <a:pt x="315" y="265"/>
                    <a:pt x="312" y="262"/>
                  </a:cubicBezTo>
                  <a:cubicBezTo>
                    <a:pt x="283" y="233"/>
                    <a:pt x="283" y="233"/>
                    <a:pt x="283" y="233"/>
                  </a:cubicBezTo>
                  <a:cubicBezTo>
                    <a:pt x="288" y="224"/>
                    <a:pt x="291" y="211"/>
                    <a:pt x="294" y="200"/>
                  </a:cubicBezTo>
                  <a:cubicBezTo>
                    <a:pt x="335" y="200"/>
                    <a:pt x="335" y="200"/>
                    <a:pt x="335" y="200"/>
                  </a:cubicBezTo>
                  <a:cubicBezTo>
                    <a:pt x="339" y="200"/>
                    <a:pt x="342" y="197"/>
                    <a:pt x="342" y="193"/>
                  </a:cubicBezTo>
                  <a:cubicBezTo>
                    <a:pt x="342" y="150"/>
                    <a:pt x="342" y="150"/>
                    <a:pt x="342" y="150"/>
                  </a:cubicBezTo>
                  <a:cubicBezTo>
                    <a:pt x="342" y="146"/>
                    <a:pt x="339" y="143"/>
                    <a:pt x="335" y="143"/>
                  </a:cubicBezTo>
                  <a:close/>
                  <a:moveTo>
                    <a:pt x="171" y="243"/>
                  </a:moveTo>
                  <a:cubicBezTo>
                    <a:pt x="132" y="243"/>
                    <a:pt x="100" y="211"/>
                    <a:pt x="100" y="171"/>
                  </a:cubicBezTo>
                  <a:cubicBezTo>
                    <a:pt x="100" y="132"/>
                    <a:pt x="132" y="100"/>
                    <a:pt x="171" y="100"/>
                  </a:cubicBezTo>
                  <a:cubicBezTo>
                    <a:pt x="210" y="100"/>
                    <a:pt x="242" y="132"/>
                    <a:pt x="242" y="171"/>
                  </a:cubicBezTo>
                  <a:cubicBezTo>
                    <a:pt x="242" y="211"/>
                    <a:pt x="210" y="243"/>
                    <a:pt x="171" y="24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13">
              <a:extLst>
                <a:ext uri="{FF2B5EF4-FFF2-40B4-BE49-F238E27FC236}">
                  <a16:creationId xmlns:a16="http://schemas.microsoft.com/office/drawing/2014/main" id="{37CBD49A-7983-4187-9F35-35CAFF813C58}"/>
                </a:ext>
              </a:extLst>
            </p:cNvPr>
            <p:cNvSpPr>
              <a:spLocks noEditPoints="1"/>
            </p:cNvSpPr>
            <p:nvPr/>
          </p:nvSpPr>
          <p:spPr bwMode="auto">
            <a:xfrm rot="813566">
              <a:off x="2916238" y="3019425"/>
              <a:ext cx="2452688" cy="2463799"/>
            </a:xfrm>
            <a:custGeom>
              <a:avLst/>
              <a:gdLst>
                <a:gd name="T0" fmla="*/ 335 w 342"/>
                <a:gd name="T1" fmla="*/ 143 h 343"/>
                <a:gd name="T2" fmla="*/ 294 w 342"/>
                <a:gd name="T3" fmla="*/ 143 h 343"/>
                <a:gd name="T4" fmla="*/ 283 w 342"/>
                <a:gd name="T5" fmla="*/ 110 h 343"/>
                <a:gd name="T6" fmla="*/ 312 w 342"/>
                <a:gd name="T7" fmla="*/ 81 h 343"/>
                <a:gd name="T8" fmla="*/ 314 w 342"/>
                <a:gd name="T9" fmla="*/ 76 h 343"/>
                <a:gd name="T10" fmla="*/ 312 w 342"/>
                <a:gd name="T11" fmla="*/ 70 h 343"/>
                <a:gd name="T12" fmla="*/ 272 w 342"/>
                <a:gd name="T13" fmla="*/ 30 h 343"/>
                <a:gd name="T14" fmla="*/ 262 w 342"/>
                <a:gd name="T15" fmla="*/ 30 h 343"/>
                <a:gd name="T16" fmla="*/ 233 w 342"/>
                <a:gd name="T17" fmla="*/ 59 h 343"/>
                <a:gd name="T18" fmla="*/ 200 w 342"/>
                <a:gd name="T19" fmla="*/ 48 h 343"/>
                <a:gd name="T20" fmla="*/ 200 w 342"/>
                <a:gd name="T21" fmla="*/ 7 h 343"/>
                <a:gd name="T22" fmla="*/ 192 w 342"/>
                <a:gd name="T23" fmla="*/ 0 h 343"/>
                <a:gd name="T24" fmla="*/ 150 w 342"/>
                <a:gd name="T25" fmla="*/ 0 h 343"/>
                <a:gd name="T26" fmla="*/ 142 w 342"/>
                <a:gd name="T27" fmla="*/ 7 h 343"/>
                <a:gd name="T28" fmla="*/ 142 w 342"/>
                <a:gd name="T29" fmla="*/ 48 h 343"/>
                <a:gd name="T30" fmla="*/ 109 w 342"/>
                <a:gd name="T31" fmla="*/ 59 h 343"/>
                <a:gd name="T32" fmla="*/ 80 w 342"/>
                <a:gd name="T33" fmla="*/ 30 h 343"/>
                <a:gd name="T34" fmla="*/ 70 w 342"/>
                <a:gd name="T35" fmla="*/ 30 h 343"/>
                <a:gd name="T36" fmla="*/ 30 w 342"/>
                <a:gd name="T37" fmla="*/ 70 h 343"/>
                <a:gd name="T38" fmla="*/ 28 w 342"/>
                <a:gd name="T39" fmla="*/ 76 h 343"/>
                <a:gd name="T40" fmla="*/ 30 w 342"/>
                <a:gd name="T41" fmla="*/ 81 h 343"/>
                <a:gd name="T42" fmla="*/ 59 w 342"/>
                <a:gd name="T43" fmla="*/ 110 h 343"/>
                <a:gd name="T44" fmla="*/ 48 w 342"/>
                <a:gd name="T45" fmla="*/ 143 h 343"/>
                <a:gd name="T46" fmla="*/ 7 w 342"/>
                <a:gd name="T47" fmla="*/ 143 h 343"/>
                <a:gd name="T48" fmla="*/ 0 w 342"/>
                <a:gd name="T49" fmla="*/ 150 h 343"/>
                <a:gd name="T50" fmla="*/ 0 w 342"/>
                <a:gd name="T51" fmla="*/ 193 h 343"/>
                <a:gd name="T52" fmla="*/ 7 w 342"/>
                <a:gd name="T53" fmla="*/ 200 h 343"/>
                <a:gd name="T54" fmla="*/ 48 w 342"/>
                <a:gd name="T55" fmla="*/ 200 h 343"/>
                <a:gd name="T56" fmla="*/ 59 w 342"/>
                <a:gd name="T57" fmla="*/ 233 h 343"/>
                <a:gd name="T58" fmla="*/ 30 w 342"/>
                <a:gd name="T59" fmla="*/ 262 h 343"/>
                <a:gd name="T60" fmla="*/ 28 w 342"/>
                <a:gd name="T61" fmla="*/ 267 h 343"/>
                <a:gd name="T62" fmla="*/ 30 w 342"/>
                <a:gd name="T63" fmla="*/ 272 h 343"/>
                <a:gd name="T64" fmla="*/ 70 w 342"/>
                <a:gd name="T65" fmla="*/ 313 h 343"/>
                <a:gd name="T66" fmla="*/ 80 w 342"/>
                <a:gd name="T67" fmla="*/ 313 h 343"/>
                <a:gd name="T68" fmla="*/ 109 w 342"/>
                <a:gd name="T69" fmla="*/ 284 h 343"/>
                <a:gd name="T70" fmla="*/ 142 w 342"/>
                <a:gd name="T71" fmla="*/ 295 h 343"/>
                <a:gd name="T72" fmla="*/ 142 w 342"/>
                <a:gd name="T73" fmla="*/ 336 h 343"/>
                <a:gd name="T74" fmla="*/ 150 w 342"/>
                <a:gd name="T75" fmla="*/ 343 h 343"/>
                <a:gd name="T76" fmla="*/ 192 w 342"/>
                <a:gd name="T77" fmla="*/ 343 h 343"/>
                <a:gd name="T78" fmla="*/ 200 w 342"/>
                <a:gd name="T79" fmla="*/ 336 h 343"/>
                <a:gd name="T80" fmla="*/ 200 w 342"/>
                <a:gd name="T81" fmla="*/ 295 h 343"/>
                <a:gd name="T82" fmla="*/ 233 w 342"/>
                <a:gd name="T83" fmla="*/ 284 h 343"/>
                <a:gd name="T84" fmla="*/ 262 w 342"/>
                <a:gd name="T85" fmla="*/ 313 h 343"/>
                <a:gd name="T86" fmla="*/ 272 w 342"/>
                <a:gd name="T87" fmla="*/ 313 h 343"/>
                <a:gd name="T88" fmla="*/ 312 w 342"/>
                <a:gd name="T89" fmla="*/ 272 h 343"/>
                <a:gd name="T90" fmla="*/ 312 w 342"/>
                <a:gd name="T91" fmla="*/ 262 h 343"/>
                <a:gd name="T92" fmla="*/ 283 w 342"/>
                <a:gd name="T93" fmla="*/ 233 h 343"/>
                <a:gd name="T94" fmla="*/ 294 w 342"/>
                <a:gd name="T95" fmla="*/ 200 h 343"/>
                <a:gd name="T96" fmla="*/ 335 w 342"/>
                <a:gd name="T97" fmla="*/ 200 h 343"/>
                <a:gd name="T98" fmla="*/ 342 w 342"/>
                <a:gd name="T99" fmla="*/ 193 h 343"/>
                <a:gd name="T100" fmla="*/ 342 w 342"/>
                <a:gd name="T101" fmla="*/ 150 h 343"/>
                <a:gd name="T102" fmla="*/ 335 w 342"/>
                <a:gd name="T103" fmla="*/ 143 h 343"/>
                <a:gd name="T104" fmla="*/ 171 w 342"/>
                <a:gd name="T105" fmla="*/ 243 h 343"/>
                <a:gd name="T106" fmla="*/ 100 w 342"/>
                <a:gd name="T107" fmla="*/ 171 h 343"/>
                <a:gd name="T108" fmla="*/ 171 w 342"/>
                <a:gd name="T109" fmla="*/ 100 h 343"/>
                <a:gd name="T110" fmla="*/ 242 w 342"/>
                <a:gd name="T111" fmla="*/ 171 h 343"/>
                <a:gd name="T112" fmla="*/ 171 w 342"/>
                <a:gd name="T113" fmla="*/ 2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 h="343">
                  <a:moveTo>
                    <a:pt x="335" y="143"/>
                  </a:moveTo>
                  <a:cubicBezTo>
                    <a:pt x="294" y="143"/>
                    <a:pt x="294" y="143"/>
                    <a:pt x="294" y="143"/>
                  </a:cubicBezTo>
                  <a:cubicBezTo>
                    <a:pt x="291" y="132"/>
                    <a:pt x="288" y="119"/>
                    <a:pt x="283" y="110"/>
                  </a:cubicBezTo>
                  <a:cubicBezTo>
                    <a:pt x="312" y="81"/>
                    <a:pt x="312" y="81"/>
                    <a:pt x="312" y="81"/>
                  </a:cubicBezTo>
                  <a:cubicBezTo>
                    <a:pt x="314" y="79"/>
                    <a:pt x="314" y="77"/>
                    <a:pt x="314" y="76"/>
                  </a:cubicBezTo>
                  <a:cubicBezTo>
                    <a:pt x="314" y="74"/>
                    <a:pt x="314" y="72"/>
                    <a:pt x="312" y="70"/>
                  </a:cubicBezTo>
                  <a:cubicBezTo>
                    <a:pt x="272" y="30"/>
                    <a:pt x="272" y="30"/>
                    <a:pt x="272" y="30"/>
                  </a:cubicBezTo>
                  <a:cubicBezTo>
                    <a:pt x="269" y="27"/>
                    <a:pt x="265" y="27"/>
                    <a:pt x="262" y="30"/>
                  </a:cubicBezTo>
                  <a:cubicBezTo>
                    <a:pt x="233" y="59"/>
                    <a:pt x="233" y="59"/>
                    <a:pt x="233" y="59"/>
                  </a:cubicBezTo>
                  <a:cubicBezTo>
                    <a:pt x="223" y="54"/>
                    <a:pt x="211" y="51"/>
                    <a:pt x="200" y="48"/>
                  </a:cubicBezTo>
                  <a:cubicBezTo>
                    <a:pt x="200" y="7"/>
                    <a:pt x="200" y="7"/>
                    <a:pt x="200" y="7"/>
                  </a:cubicBezTo>
                  <a:cubicBezTo>
                    <a:pt x="200" y="3"/>
                    <a:pt x="196" y="0"/>
                    <a:pt x="192" y="0"/>
                  </a:cubicBezTo>
                  <a:cubicBezTo>
                    <a:pt x="150" y="0"/>
                    <a:pt x="150" y="0"/>
                    <a:pt x="150" y="0"/>
                  </a:cubicBezTo>
                  <a:cubicBezTo>
                    <a:pt x="146" y="0"/>
                    <a:pt x="142" y="3"/>
                    <a:pt x="142" y="7"/>
                  </a:cubicBezTo>
                  <a:cubicBezTo>
                    <a:pt x="142" y="48"/>
                    <a:pt x="142" y="48"/>
                    <a:pt x="142" y="48"/>
                  </a:cubicBezTo>
                  <a:cubicBezTo>
                    <a:pt x="131" y="51"/>
                    <a:pt x="119" y="54"/>
                    <a:pt x="109" y="59"/>
                  </a:cubicBezTo>
                  <a:cubicBezTo>
                    <a:pt x="80" y="30"/>
                    <a:pt x="80" y="30"/>
                    <a:pt x="80" y="30"/>
                  </a:cubicBezTo>
                  <a:cubicBezTo>
                    <a:pt x="77" y="27"/>
                    <a:pt x="73" y="27"/>
                    <a:pt x="70" y="30"/>
                  </a:cubicBezTo>
                  <a:cubicBezTo>
                    <a:pt x="30" y="70"/>
                    <a:pt x="30" y="70"/>
                    <a:pt x="30" y="70"/>
                  </a:cubicBezTo>
                  <a:cubicBezTo>
                    <a:pt x="28" y="72"/>
                    <a:pt x="28" y="74"/>
                    <a:pt x="28" y="76"/>
                  </a:cubicBezTo>
                  <a:cubicBezTo>
                    <a:pt x="28" y="77"/>
                    <a:pt x="28" y="79"/>
                    <a:pt x="30" y="81"/>
                  </a:cubicBezTo>
                  <a:cubicBezTo>
                    <a:pt x="59" y="110"/>
                    <a:pt x="59" y="110"/>
                    <a:pt x="59" y="110"/>
                  </a:cubicBezTo>
                  <a:cubicBezTo>
                    <a:pt x="54" y="119"/>
                    <a:pt x="50" y="132"/>
                    <a:pt x="48" y="143"/>
                  </a:cubicBezTo>
                  <a:cubicBezTo>
                    <a:pt x="7" y="143"/>
                    <a:pt x="7" y="143"/>
                    <a:pt x="7" y="143"/>
                  </a:cubicBezTo>
                  <a:cubicBezTo>
                    <a:pt x="3" y="143"/>
                    <a:pt x="0" y="146"/>
                    <a:pt x="0" y="150"/>
                  </a:cubicBezTo>
                  <a:cubicBezTo>
                    <a:pt x="0" y="193"/>
                    <a:pt x="0" y="193"/>
                    <a:pt x="0" y="193"/>
                  </a:cubicBezTo>
                  <a:cubicBezTo>
                    <a:pt x="0" y="197"/>
                    <a:pt x="3" y="200"/>
                    <a:pt x="7" y="200"/>
                  </a:cubicBezTo>
                  <a:cubicBezTo>
                    <a:pt x="48" y="200"/>
                    <a:pt x="48" y="200"/>
                    <a:pt x="48" y="200"/>
                  </a:cubicBezTo>
                  <a:cubicBezTo>
                    <a:pt x="50" y="211"/>
                    <a:pt x="54" y="224"/>
                    <a:pt x="59" y="233"/>
                  </a:cubicBezTo>
                  <a:cubicBezTo>
                    <a:pt x="30" y="262"/>
                    <a:pt x="30" y="262"/>
                    <a:pt x="30" y="262"/>
                  </a:cubicBezTo>
                  <a:cubicBezTo>
                    <a:pt x="28" y="264"/>
                    <a:pt x="28" y="265"/>
                    <a:pt x="28" y="267"/>
                  </a:cubicBezTo>
                  <a:cubicBezTo>
                    <a:pt x="28" y="269"/>
                    <a:pt x="28" y="271"/>
                    <a:pt x="30" y="272"/>
                  </a:cubicBezTo>
                  <a:cubicBezTo>
                    <a:pt x="70" y="313"/>
                    <a:pt x="70" y="313"/>
                    <a:pt x="70" y="313"/>
                  </a:cubicBezTo>
                  <a:cubicBezTo>
                    <a:pt x="73" y="315"/>
                    <a:pt x="77" y="315"/>
                    <a:pt x="80" y="313"/>
                  </a:cubicBezTo>
                  <a:cubicBezTo>
                    <a:pt x="109" y="284"/>
                    <a:pt x="109" y="284"/>
                    <a:pt x="109" y="284"/>
                  </a:cubicBezTo>
                  <a:cubicBezTo>
                    <a:pt x="119" y="288"/>
                    <a:pt x="131" y="292"/>
                    <a:pt x="142" y="295"/>
                  </a:cubicBezTo>
                  <a:cubicBezTo>
                    <a:pt x="142" y="336"/>
                    <a:pt x="142" y="336"/>
                    <a:pt x="142" y="336"/>
                  </a:cubicBezTo>
                  <a:cubicBezTo>
                    <a:pt x="142" y="339"/>
                    <a:pt x="146" y="343"/>
                    <a:pt x="150" y="343"/>
                  </a:cubicBezTo>
                  <a:cubicBezTo>
                    <a:pt x="192" y="343"/>
                    <a:pt x="192" y="343"/>
                    <a:pt x="192" y="343"/>
                  </a:cubicBezTo>
                  <a:cubicBezTo>
                    <a:pt x="196" y="343"/>
                    <a:pt x="200" y="339"/>
                    <a:pt x="200" y="336"/>
                  </a:cubicBezTo>
                  <a:cubicBezTo>
                    <a:pt x="200" y="295"/>
                    <a:pt x="200" y="295"/>
                    <a:pt x="200" y="295"/>
                  </a:cubicBezTo>
                  <a:cubicBezTo>
                    <a:pt x="211" y="292"/>
                    <a:pt x="223" y="288"/>
                    <a:pt x="233" y="284"/>
                  </a:cubicBezTo>
                  <a:cubicBezTo>
                    <a:pt x="262" y="313"/>
                    <a:pt x="262" y="313"/>
                    <a:pt x="262" y="313"/>
                  </a:cubicBezTo>
                  <a:cubicBezTo>
                    <a:pt x="265" y="315"/>
                    <a:pt x="269" y="315"/>
                    <a:pt x="272" y="313"/>
                  </a:cubicBezTo>
                  <a:cubicBezTo>
                    <a:pt x="312" y="272"/>
                    <a:pt x="312" y="272"/>
                    <a:pt x="312" y="272"/>
                  </a:cubicBezTo>
                  <a:cubicBezTo>
                    <a:pt x="315" y="270"/>
                    <a:pt x="315" y="265"/>
                    <a:pt x="312" y="262"/>
                  </a:cubicBezTo>
                  <a:cubicBezTo>
                    <a:pt x="283" y="233"/>
                    <a:pt x="283" y="233"/>
                    <a:pt x="283" y="233"/>
                  </a:cubicBezTo>
                  <a:cubicBezTo>
                    <a:pt x="288" y="224"/>
                    <a:pt x="291" y="211"/>
                    <a:pt x="294" y="200"/>
                  </a:cubicBezTo>
                  <a:cubicBezTo>
                    <a:pt x="335" y="200"/>
                    <a:pt x="335" y="200"/>
                    <a:pt x="335" y="200"/>
                  </a:cubicBezTo>
                  <a:cubicBezTo>
                    <a:pt x="339" y="200"/>
                    <a:pt x="342" y="197"/>
                    <a:pt x="342" y="193"/>
                  </a:cubicBezTo>
                  <a:cubicBezTo>
                    <a:pt x="342" y="150"/>
                    <a:pt x="342" y="150"/>
                    <a:pt x="342" y="150"/>
                  </a:cubicBezTo>
                  <a:cubicBezTo>
                    <a:pt x="342" y="146"/>
                    <a:pt x="339" y="143"/>
                    <a:pt x="335" y="143"/>
                  </a:cubicBezTo>
                  <a:close/>
                  <a:moveTo>
                    <a:pt x="171" y="243"/>
                  </a:moveTo>
                  <a:cubicBezTo>
                    <a:pt x="132" y="243"/>
                    <a:pt x="100" y="211"/>
                    <a:pt x="100" y="171"/>
                  </a:cubicBezTo>
                  <a:cubicBezTo>
                    <a:pt x="100" y="132"/>
                    <a:pt x="132" y="100"/>
                    <a:pt x="171" y="100"/>
                  </a:cubicBezTo>
                  <a:cubicBezTo>
                    <a:pt x="210" y="100"/>
                    <a:pt x="242" y="132"/>
                    <a:pt x="242" y="171"/>
                  </a:cubicBezTo>
                  <a:cubicBezTo>
                    <a:pt x="242" y="211"/>
                    <a:pt x="210" y="243"/>
                    <a:pt x="171" y="24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FC36F9B7-A48E-4899-8B71-971F5F9ABB30}"/>
                </a:ext>
              </a:extLst>
            </p:cNvPr>
            <p:cNvSpPr>
              <a:spLocks noEditPoints="1"/>
            </p:cNvSpPr>
            <p:nvPr/>
          </p:nvSpPr>
          <p:spPr bwMode="auto">
            <a:xfrm>
              <a:off x="996593" y="1503977"/>
              <a:ext cx="2454275" cy="2463801"/>
            </a:xfrm>
            <a:custGeom>
              <a:avLst/>
              <a:gdLst>
                <a:gd name="T0" fmla="*/ 335 w 342"/>
                <a:gd name="T1" fmla="*/ 143 h 343"/>
                <a:gd name="T2" fmla="*/ 294 w 342"/>
                <a:gd name="T3" fmla="*/ 143 h 343"/>
                <a:gd name="T4" fmla="*/ 283 w 342"/>
                <a:gd name="T5" fmla="*/ 110 h 343"/>
                <a:gd name="T6" fmla="*/ 312 w 342"/>
                <a:gd name="T7" fmla="*/ 81 h 343"/>
                <a:gd name="T8" fmla="*/ 314 w 342"/>
                <a:gd name="T9" fmla="*/ 76 h 343"/>
                <a:gd name="T10" fmla="*/ 312 w 342"/>
                <a:gd name="T11" fmla="*/ 70 h 343"/>
                <a:gd name="T12" fmla="*/ 272 w 342"/>
                <a:gd name="T13" fmla="*/ 30 h 343"/>
                <a:gd name="T14" fmla="*/ 262 w 342"/>
                <a:gd name="T15" fmla="*/ 30 h 343"/>
                <a:gd name="T16" fmla="*/ 233 w 342"/>
                <a:gd name="T17" fmla="*/ 59 h 343"/>
                <a:gd name="T18" fmla="*/ 200 w 342"/>
                <a:gd name="T19" fmla="*/ 48 h 343"/>
                <a:gd name="T20" fmla="*/ 200 w 342"/>
                <a:gd name="T21" fmla="*/ 7 h 343"/>
                <a:gd name="T22" fmla="*/ 192 w 342"/>
                <a:gd name="T23" fmla="*/ 0 h 343"/>
                <a:gd name="T24" fmla="*/ 150 w 342"/>
                <a:gd name="T25" fmla="*/ 0 h 343"/>
                <a:gd name="T26" fmla="*/ 142 w 342"/>
                <a:gd name="T27" fmla="*/ 7 h 343"/>
                <a:gd name="T28" fmla="*/ 142 w 342"/>
                <a:gd name="T29" fmla="*/ 48 h 343"/>
                <a:gd name="T30" fmla="*/ 109 w 342"/>
                <a:gd name="T31" fmla="*/ 59 h 343"/>
                <a:gd name="T32" fmla="*/ 80 w 342"/>
                <a:gd name="T33" fmla="*/ 30 h 343"/>
                <a:gd name="T34" fmla="*/ 70 w 342"/>
                <a:gd name="T35" fmla="*/ 30 h 343"/>
                <a:gd name="T36" fmla="*/ 30 w 342"/>
                <a:gd name="T37" fmla="*/ 70 h 343"/>
                <a:gd name="T38" fmla="*/ 28 w 342"/>
                <a:gd name="T39" fmla="*/ 76 h 343"/>
                <a:gd name="T40" fmla="*/ 30 w 342"/>
                <a:gd name="T41" fmla="*/ 81 h 343"/>
                <a:gd name="T42" fmla="*/ 59 w 342"/>
                <a:gd name="T43" fmla="*/ 110 h 343"/>
                <a:gd name="T44" fmla="*/ 48 w 342"/>
                <a:gd name="T45" fmla="*/ 143 h 343"/>
                <a:gd name="T46" fmla="*/ 7 w 342"/>
                <a:gd name="T47" fmla="*/ 143 h 343"/>
                <a:gd name="T48" fmla="*/ 0 w 342"/>
                <a:gd name="T49" fmla="*/ 150 h 343"/>
                <a:gd name="T50" fmla="*/ 0 w 342"/>
                <a:gd name="T51" fmla="*/ 193 h 343"/>
                <a:gd name="T52" fmla="*/ 7 w 342"/>
                <a:gd name="T53" fmla="*/ 200 h 343"/>
                <a:gd name="T54" fmla="*/ 48 w 342"/>
                <a:gd name="T55" fmla="*/ 200 h 343"/>
                <a:gd name="T56" fmla="*/ 59 w 342"/>
                <a:gd name="T57" fmla="*/ 233 h 343"/>
                <a:gd name="T58" fmla="*/ 30 w 342"/>
                <a:gd name="T59" fmla="*/ 262 h 343"/>
                <a:gd name="T60" fmla="*/ 28 w 342"/>
                <a:gd name="T61" fmla="*/ 267 h 343"/>
                <a:gd name="T62" fmla="*/ 30 w 342"/>
                <a:gd name="T63" fmla="*/ 272 h 343"/>
                <a:gd name="T64" fmla="*/ 70 w 342"/>
                <a:gd name="T65" fmla="*/ 313 h 343"/>
                <a:gd name="T66" fmla="*/ 80 w 342"/>
                <a:gd name="T67" fmla="*/ 313 h 343"/>
                <a:gd name="T68" fmla="*/ 109 w 342"/>
                <a:gd name="T69" fmla="*/ 284 h 343"/>
                <a:gd name="T70" fmla="*/ 142 w 342"/>
                <a:gd name="T71" fmla="*/ 295 h 343"/>
                <a:gd name="T72" fmla="*/ 142 w 342"/>
                <a:gd name="T73" fmla="*/ 336 h 343"/>
                <a:gd name="T74" fmla="*/ 150 w 342"/>
                <a:gd name="T75" fmla="*/ 343 h 343"/>
                <a:gd name="T76" fmla="*/ 192 w 342"/>
                <a:gd name="T77" fmla="*/ 343 h 343"/>
                <a:gd name="T78" fmla="*/ 200 w 342"/>
                <a:gd name="T79" fmla="*/ 336 h 343"/>
                <a:gd name="T80" fmla="*/ 200 w 342"/>
                <a:gd name="T81" fmla="*/ 295 h 343"/>
                <a:gd name="T82" fmla="*/ 233 w 342"/>
                <a:gd name="T83" fmla="*/ 284 h 343"/>
                <a:gd name="T84" fmla="*/ 262 w 342"/>
                <a:gd name="T85" fmla="*/ 313 h 343"/>
                <a:gd name="T86" fmla="*/ 272 w 342"/>
                <a:gd name="T87" fmla="*/ 313 h 343"/>
                <a:gd name="T88" fmla="*/ 312 w 342"/>
                <a:gd name="T89" fmla="*/ 272 h 343"/>
                <a:gd name="T90" fmla="*/ 312 w 342"/>
                <a:gd name="T91" fmla="*/ 262 h 343"/>
                <a:gd name="T92" fmla="*/ 283 w 342"/>
                <a:gd name="T93" fmla="*/ 233 h 343"/>
                <a:gd name="T94" fmla="*/ 294 w 342"/>
                <a:gd name="T95" fmla="*/ 200 h 343"/>
                <a:gd name="T96" fmla="*/ 335 w 342"/>
                <a:gd name="T97" fmla="*/ 200 h 343"/>
                <a:gd name="T98" fmla="*/ 342 w 342"/>
                <a:gd name="T99" fmla="*/ 193 h 343"/>
                <a:gd name="T100" fmla="*/ 342 w 342"/>
                <a:gd name="T101" fmla="*/ 150 h 343"/>
                <a:gd name="T102" fmla="*/ 335 w 342"/>
                <a:gd name="T103" fmla="*/ 143 h 343"/>
                <a:gd name="T104" fmla="*/ 171 w 342"/>
                <a:gd name="T105" fmla="*/ 243 h 343"/>
                <a:gd name="T106" fmla="*/ 100 w 342"/>
                <a:gd name="T107" fmla="*/ 171 h 343"/>
                <a:gd name="T108" fmla="*/ 171 w 342"/>
                <a:gd name="T109" fmla="*/ 100 h 343"/>
                <a:gd name="T110" fmla="*/ 242 w 342"/>
                <a:gd name="T111" fmla="*/ 171 h 343"/>
                <a:gd name="T112" fmla="*/ 171 w 342"/>
                <a:gd name="T113" fmla="*/ 2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 h="343">
                  <a:moveTo>
                    <a:pt x="335" y="143"/>
                  </a:moveTo>
                  <a:cubicBezTo>
                    <a:pt x="294" y="143"/>
                    <a:pt x="294" y="143"/>
                    <a:pt x="294" y="143"/>
                  </a:cubicBezTo>
                  <a:cubicBezTo>
                    <a:pt x="291" y="132"/>
                    <a:pt x="288" y="119"/>
                    <a:pt x="283" y="110"/>
                  </a:cubicBezTo>
                  <a:cubicBezTo>
                    <a:pt x="312" y="81"/>
                    <a:pt x="312" y="81"/>
                    <a:pt x="312" y="81"/>
                  </a:cubicBezTo>
                  <a:cubicBezTo>
                    <a:pt x="314" y="79"/>
                    <a:pt x="314" y="77"/>
                    <a:pt x="314" y="76"/>
                  </a:cubicBezTo>
                  <a:cubicBezTo>
                    <a:pt x="314" y="74"/>
                    <a:pt x="314" y="72"/>
                    <a:pt x="312" y="70"/>
                  </a:cubicBezTo>
                  <a:cubicBezTo>
                    <a:pt x="272" y="30"/>
                    <a:pt x="272" y="30"/>
                    <a:pt x="272" y="30"/>
                  </a:cubicBezTo>
                  <a:cubicBezTo>
                    <a:pt x="269" y="27"/>
                    <a:pt x="265" y="27"/>
                    <a:pt x="262" y="30"/>
                  </a:cubicBezTo>
                  <a:cubicBezTo>
                    <a:pt x="233" y="59"/>
                    <a:pt x="233" y="59"/>
                    <a:pt x="233" y="59"/>
                  </a:cubicBezTo>
                  <a:cubicBezTo>
                    <a:pt x="223" y="54"/>
                    <a:pt x="211" y="51"/>
                    <a:pt x="200" y="48"/>
                  </a:cubicBezTo>
                  <a:cubicBezTo>
                    <a:pt x="200" y="7"/>
                    <a:pt x="200" y="7"/>
                    <a:pt x="200" y="7"/>
                  </a:cubicBezTo>
                  <a:cubicBezTo>
                    <a:pt x="200" y="3"/>
                    <a:pt x="196" y="0"/>
                    <a:pt x="192" y="0"/>
                  </a:cubicBezTo>
                  <a:cubicBezTo>
                    <a:pt x="150" y="0"/>
                    <a:pt x="150" y="0"/>
                    <a:pt x="150" y="0"/>
                  </a:cubicBezTo>
                  <a:cubicBezTo>
                    <a:pt x="146" y="0"/>
                    <a:pt x="142" y="3"/>
                    <a:pt x="142" y="7"/>
                  </a:cubicBezTo>
                  <a:cubicBezTo>
                    <a:pt x="142" y="48"/>
                    <a:pt x="142" y="48"/>
                    <a:pt x="142" y="48"/>
                  </a:cubicBezTo>
                  <a:cubicBezTo>
                    <a:pt x="131" y="51"/>
                    <a:pt x="119" y="54"/>
                    <a:pt x="109" y="59"/>
                  </a:cubicBezTo>
                  <a:cubicBezTo>
                    <a:pt x="80" y="30"/>
                    <a:pt x="80" y="30"/>
                    <a:pt x="80" y="30"/>
                  </a:cubicBezTo>
                  <a:cubicBezTo>
                    <a:pt x="77" y="27"/>
                    <a:pt x="73" y="27"/>
                    <a:pt x="70" y="30"/>
                  </a:cubicBezTo>
                  <a:cubicBezTo>
                    <a:pt x="30" y="70"/>
                    <a:pt x="30" y="70"/>
                    <a:pt x="30" y="70"/>
                  </a:cubicBezTo>
                  <a:cubicBezTo>
                    <a:pt x="28" y="72"/>
                    <a:pt x="28" y="74"/>
                    <a:pt x="28" y="76"/>
                  </a:cubicBezTo>
                  <a:cubicBezTo>
                    <a:pt x="28" y="77"/>
                    <a:pt x="28" y="79"/>
                    <a:pt x="30" y="81"/>
                  </a:cubicBezTo>
                  <a:cubicBezTo>
                    <a:pt x="59" y="110"/>
                    <a:pt x="59" y="110"/>
                    <a:pt x="59" y="110"/>
                  </a:cubicBezTo>
                  <a:cubicBezTo>
                    <a:pt x="54" y="119"/>
                    <a:pt x="50" y="132"/>
                    <a:pt x="48" y="143"/>
                  </a:cubicBezTo>
                  <a:cubicBezTo>
                    <a:pt x="7" y="143"/>
                    <a:pt x="7" y="143"/>
                    <a:pt x="7" y="143"/>
                  </a:cubicBezTo>
                  <a:cubicBezTo>
                    <a:pt x="3" y="143"/>
                    <a:pt x="0" y="146"/>
                    <a:pt x="0" y="150"/>
                  </a:cubicBezTo>
                  <a:cubicBezTo>
                    <a:pt x="0" y="193"/>
                    <a:pt x="0" y="193"/>
                    <a:pt x="0" y="193"/>
                  </a:cubicBezTo>
                  <a:cubicBezTo>
                    <a:pt x="0" y="197"/>
                    <a:pt x="3" y="200"/>
                    <a:pt x="7" y="200"/>
                  </a:cubicBezTo>
                  <a:cubicBezTo>
                    <a:pt x="48" y="200"/>
                    <a:pt x="48" y="200"/>
                    <a:pt x="48" y="200"/>
                  </a:cubicBezTo>
                  <a:cubicBezTo>
                    <a:pt x="50" y="211"/>
                    <a:pt x="54" y="224"/>
                    <a:pt x="59" y="233"/>
                  </a:cubicBezTo>
                  <a:cubicBezTo>
                    <a:pt x="30" y="262"/>
                    <a:pt x="30" y="262"/>
                    <a:pt x="30" y="262"/>
                  </a:cubicBezTo>
                  <a:cubicBezTo>
                    <a:pt x="28" y="264"/>
                    <a:pt x="28" y="265"/>
                    <a:pt x="28" y="267"/>
                  </a:cubicBezTo>
                  <a:cubicBezTo>
                    <a:pt x="28" y="269"/>
                    <a:pt x="28" y="271"/>
                    <a:pt x="30" y="272"/>
                  </a:cubicBezTo>
                  <a:cubicBezTo>
                    <a:pt x="70" y="313"/>
                    <a:pt x="70" y="313"/>
                    <a:pt x="70" y="313"/>
                  </a:cubicBezTo>
                  <a:cubicBezTo>
                    <a:pt x="73" y="315"/>
                    <a:pt x="77" y="315"/>
                    <a:pt x="80" y="313"/>
                  </a:cubicBezTo>
                  <a:cubicBezTo>
                    <a:pt x="109" y="284"/>
                    <a:pt x="109" y="284"/>
                    <a:pt x="109" y="284"/>
                  </a:cubicBezTo>
                  <a:cubicBezTo>
                    <a:pt x="119" y="288"/>
                    <a:pt x="131" y="292"/>
                    <a:pt x="142" y="295"/>
                  </a:cubicBezTo>
                  <a:cubicBezTo>
                    <a:pt x="142" y="336"/>
                    <a:pt x="142" y="336"/>
                    <a:pt x="142" y="336"/>
                  </a:cubicBezTo>
                  <a:cubicBezTo>
                    <a:pt x="142" y="339"/>
                    <a:pt x="146" y="343"/>
                    <a:pt x="150" y="343"/>
                  </a:cubicBezTo>
                  <a:cubicBezTo>
                    <a:pt x="192" y="343"/>
                    <a:pt x="192" y="343"/>
                    <a:pt x="192" y="343"/>
                  </a:cubicBezTo>
                  <a:cubicBezTo>
                    <a:pt x="196" y="343"/>
                    <a:pt x="200" y="339"/>
                    <a:pt x="200" y="336"/>
                  </a:cubicBezTo>
                  <a:cubicBezTo>
                    <a:pt x="200" y="295"/>
                    <a:pt x="200" y="295"/>
                    <a:pt x="200" y="295"/>
                  </a:cubicBezTo>
                  <a:cubicBezTo>
                    <a:pt x="211" y="292"/>
                    <a:pt x="223" y="288"/>
                    <a:pt x="233" y="284"/>
                  </a:cubicBezTo>
                  <a:cubicBezTo>
                    <a:pt x="262" y="313"/>
                    <a:pt x="262" y="313"/>
                    <a:pt x="262" y="313"/>
                  </a:cubicBezTo>
                  <a:cubicBezTo>
                    <a:pt x="265" y="315"/>
                    <a:pt x="269" y="315"/>
                    <a:pt x="272" y="313"/>
                  </a:cubicBezTo>
                  <a:cubicBezTo>
                    <a:pt x="312" y="272"/>
                    <a:pt x="312" y="272"/>
                    <a:pt x="312" y="272"/>
                  </a:cubicBezTo>
                  <a:cubicBezTo>
                    <a:pt x="315" y="270"/>
                    <a:pt x="315" y="265"/>
                    <a:pt x="312" y="262"/>
                  </a:cubicBezTo>
                  <a:cubicBezTo>
                    <a:pt x="283" y="233"/>
                    <a:pt x="283" y="233"/>
                    <a:pt x="283" y="233"/>
                  </a:cubicBezTo>
                  <a:cubicBezTo>
                    <a:pt x="288" y="224"/>
                    <a:pt x="291" y="211"/>
                    <a:pt x="294" y="200"/>
                  </a:cubicBezTo>
                  <a:cubicBezTo>
                    <a:pt x="335" y="200"/>
                    <a:pt x="335" y="200"/>
                    <a:pt x="335" y="200"/>
                  </a:cubicBezTo>
                  <a:cubicBezTo>
                    <a:pt x="339" y="200"/>
                    <a:pt x="342" y="197"/>
                    <a:pt x="342" y="193"/>
                  </a:cubicBezTo>
                  <a:cubicBezTo>
                    <a:pt x="342" y="150"/>
                    <a:pt x="342" y="150"/>
                    <a:pt x="342" y="150"/>
                  </a:cubicBezTo>
                  <a:cubicBezTo>
                    <a:pt x="342" y="146"/>
                    <a:pt x="339" y="143"/>
                    <a:pt x="335" y="143"/>
                  </a:cubicBezTo>
                  <a:close/>
                  <a:moveTo>
                    <a:pt x="171" y="243"/>
                  </a:moveTo>
                  <a:cubicBezTo>
                    <a:pt x="132" y="243"/>
                    <a:pt x="100" y="211"/>
                    <a:pt x="100" y="171"/>
                  </a:cubicBezTo>
                  <a:cubicBezTo>
                    <a:pt x="100" y="132"/>
                    <a:pt x="132" y="100"/>
                    <a:pt x="171" y="100"/>
                  </a:cubicBezTo>
                  <a:cubicBezTo>
                    <a:pt x="210" y="100"/>
                    <a:pt x="242" y="132"/>
                    <a:pt x="242" y="171"/>
                  </a:cubicBezTo>
                  <a:cubicBezTo>
                    <a:pt x="242" y="211"/>
                    <a:pt x="210" y="243"/>
                    <a:pt x="171" y="243"/>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Arc 37">
              <a:extLst>
                <a:ext uri="{FF2B5EF4-FFF2-40B4-BE49-F238E27FC236}">
                  <a16:creationId xmlns:a16="http://schemas.microsoft.com/office/drawing/2014/main" id="{C6B96A5D-FE7F-41CE-A9DD-496AB3B0D225}"/>
                </a:ext>
              </a:extLst>
            </p:cNvPr>
            <p:cNvSpPr>
              <a:spLocks/>
            </p:cNvSpPr>
            <p:nvPr/>
          </p:nvSpPr>
          <p:spPr bwMode="auto">
            <a:xfrm flipH="1">
              <a:off x="3673678" y="2431108"/>
              <a:ext cx="851352" cy="1359980"/>
            </a:xfrm>
            <a:custGeom>
              <a:avLst/>
              <a:gdLst>
                <a:gd name="T0" fmla="*/ 0 w 14781"/>
                <a:gd name="T1" fmla="*/ 0 h 21600"/>
                <a:gd name="T2" fmla="*/ 390 w 14781"/>
                <a:gd name="T3" fmla="*/ 169 h 21600"/>
                <a:gd name="T4" fmla="*/ 0 w 14781"/>
                <a:gd name="T5" fmla="*/ 623 h 21600"/>
                <a:gd name="T6" fmla="*/ 0 60000 65536"/>
                <a:gd name="T7" fmla="*/ 0 60000 65536"/>
                <a:gd name="T8" fmla="*/ 0 60000 65536"/>
                <a:gd name="T9" fmla="*/ 0 w 14781"/>
                <a:gd name="T10" fmla="*/ 0 h 21600"/>
                <a:gd name="T11" fmla="*/ 14781 w 14781"/>
                <a:gd name="T12" fmla="*/ 21600 h 21600"/>
              </a:gdLst>
              <a:ahLst/>
              <a:cxnLst>
                <a:cxn ang="T6">
                  <a:pos x="T0" y="T1"/>
                </a:cxn>
                <a:cxn ang="T7">
                  <a:pos x="T2" y="T3"/>
                </a:cxn>
                <a:cxn ang="T8">
                  <a:pos x="T4" y="T5"/>
                </a:cxn>
              </a:cxnLst>
              <a:rect l="T9" t="T10" r="T11" b="T12"/>
              <a:pathLst>
                <a:path w="14781" h="21600" fill="none" extrusionOk="0">
                  <a:moveTo>
                    <a:pt x="-1" y="0"/>
                  </a:moveTo>
                  <a:cubicBezTo>
                    <a:pt x="5491" y="0"/>
                    <a:pt x="10776" y="2091"/>
                    <a:pt x="14781" y="5849"/>
                  </a:cubicBezTo>
                </a:path>
                <a:path w="14781" h="21600" stroke="0" extrusionOk="0">
                  <a:moveTo>
                    <a:pt x="-1" y="0"/>
                  </a:moveTo>
                  <a:cubicBezTo>
                    <a:pt x="5491" y="0"/>
                    <a:pt x="10776" y="2091"/>
                    <a:pt x="14781" y="5849"/>
                  </a:cubicBezTo>
                  <a:lnTo>
                    <a:pt x="0" y="21600"/>
                  </a:lnTo>
                  <a:close/>
                </a:path>
              </a:pathLst>
            </a:custGeom>
            <a:noFill/>
            <a:ln w="12700">
              <a:solidFill>
                <a:schemeClr val="tx2">
                  <a:lumMod val="60000"/>
                  <a:lumOff val="40000"/>
                </a:schemeClr>
              </a:solidFill>
              <a:round/>
              <a:headEnd type="triangle" w="med" len="med"/>
              <a:tailEnd/>
            </a:ln>
          </p:spPr>
          <p:txBody>
            <a:bodyPr wrap="none" anchor="ctr"/>
            <a:lstStyle/>
            <a:p>
              <a:endParaRPr lang="en-US"/>
            </a:p>
          </p:txBody>
        </p:sp>
        <p:sp>
          <p:nvSpPr>
            <p:cNvPr id="28" name="Rectangle 27">
              <a:extLst>
                <a:ext uri="{FF2B5EF4-FFF2-40B4-BE49-F238E27FC236}">
                  <a16:creationId xmlns:a16="http://schemas.microsoft.com/office/drawing/2014/main" id="{831BEE85-5672-4F5C-8AF6-043E34DF33CA}"/>
                </a:ext>
              </a:extLst>
            </p:cNvPr>
            <p:cNvSpPr/>
            <p:nvPr/>
          </p:nvSpPr>
          <p:spPr>
            <a:xfrm>
              <a:off x="7316492" y="2919046"/>
              <a:ext cx="2716804" cy="15774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lnSpc>
                  <a:spcPct val="85000"/>
                </a:lnSpc>
                <a:spcBef>
                  <a:spcPts val="100"/>
                </a:spcBef>
                <a:spcAft>
                  <a:spcPts val="300"/>
                </a:spcAft>
              </a:pPr>
              <a:r>
                <a:rPr lang="en-US" b="1" dirty="0">
                  <a:solidFill>
                    <a:schemeClr val="accent3"/>
                  </a:solidFill>
                  <a:latin typeface="+mj-lt"/>
                </a:rPr>
                <a:t>Text</a:t>
              </a:r>
              <a:endParaRPr lang="en-US" b="1" cap="all" dirty="0">
                <a:solidFill>
                  <a:schemeClr val="accent3"/>
                </a:solidFill>
                <a:latin typeface="+mj-lt"/>
              </a:endParaRPr>
            </a:p>
          </p:txBody>
        </p:sp>
        <p:sp>
          <p:nvSpPr>
            <p:cNvPr id="29" name="Rectangle 6">
              <a:extLst>
                <a:ext uri="{FF2B5EF4-FFF2-40B4-BE49-F238E27FC236}">
                  <a16:creationId xmlns:a16="http://schemas.microsoft.com/office/drawing/2014/main" id="{A555A922-D977-49BE-8A22-93FB917F44F4}"/>
                </a:ext>
              </a:extLst>
            </p:cNvPr>
            <p:cNvSpPr>
              <a:spLocks noChangeArrowheads="1"/>
            </p:cNvSpPr>
            <p:nvPr>
              <p:custDataLst>
                <p:tags r:id="rId1"/>
              </p:custDataLst>
            </p:nvPr>
          </p:nvSpPr>
          <p:spPr bwMode="auto">
            <a:xfrm>
              <a:off x="1539719" y="2371146"/>
              <a:ext cx="1368022" cy="743296"/>
            </a:xfrm>
            <a:prstGeom prst="rect">
              <a:avLst/>
            </a:prstGeom>
            <a:noFill/>
            <a:ln w="6350">
              <a:noFill/>
              <a:miter lim="800000"/>
              <a:headEnd/>
              <a:tailEnd/>
            </a:ln>
            <a:effectLst/>
          </p:spPr>
          <p:txBody>
            <a:bodyPr lIns="0" tIns="0" rIns="0" bIns="0" anchor="ctr" anchorCtr="0"/>
            <a:lstStyle/>
            <a:p>
              <a:pPr algn="ctr" eaLnBrk="0" hangingPunct="0">
                <a:lnSpc>
                  <a:spcPct val="85000"/>
                </a:lnSpc>
                <a:spcBef>
                  <a:spcPts val="100"/>
                </a:spcBef>
                <a:spcAft>
                  <a:spcPts val="300"/>
                </a:spcAft>
              </a:pPr>
              <a:r>
                <a:rPr lang="en-US" sz="1400" b="1" dirty="0">
                  <a:solidFill>
                    <a:schemeClr val="accent5"/>
                  </a:solidFill>
                  <a:latin typeface="+mj-lt"/>
                </a:rPr>
                <a:t>Text</a:t>
              </a:r>
              <a:endParaRPr lang="en-US" sz="1400" b="1" cap="all" dirty="0">
                <a:solidFill>
                  <a:schemeClr val="accent5"/>
                </a:solidFill>
                <a:latin typeface="+mj-lt"/>
              </a:endParaRPr>
            </a:p>
          </p:txBody>
        </p:sp>
        <p:sp>
          <p:nvSpPr>
            <p:cNvPr id="30" name="Rectangle 6">
              <a:extLst>
                <a:ext uri="{FF2B5EF4-FFF2-40B4-BE49-F238E27FC236}">
                  <a16:creationId xmlns:a16="http://schemas.microsoft.com/office/drawing/2014/main" id="{96EF1B66-FE61-41BA-BBF8-1A4A46630273}"/>
                </a:ext>
              </a:extLst>
            </p:cNvPr>
            <p:cNvSpPr>
              <a:spLocks noChangeArrowheads="1"/>
            </p:cNvSpPr>
            <p:nvPr>
              <p:custDataLst>
                <p:tags r:id="rId2"/>
              </p:custDataLst>
            </p:nvPr>
          </p:nvSpPr>
          <p:spPr bwMode="auto">
            <a:xfrm>
              <a:off x="3458571" y="3903122"/>
              <a:ext cx="1368022" cy="743296"/>
            </a:xfrm>
            <a:prstGeom prst="rect">
              <a:avLst/>
            </a:prstGeom>
            <a:noFill/>
            <a:ln w="6350">
              <a:noFill/>
              <a:miter lim="800000"/>
              <a:headEnd/>
              <a:tailEnd/>
            </a:ln>
            <a:effectLst/>
          </p:spPr>
          <p:txBody>
            <a:bodyPr lIns="0" tIns="0" rIns="0" bIns="0" anchor="ctr" anchorCtr="0"/>
            <a:lstStyle/>
            <a:p>
              <a:pPr algn="ctr" eaLnBrk="0" hangingPunct="0">
                <a:lnSpc>
                  <a:spcPct val="85000"/>
                </a:lnSpc>
                <a:spcBef>
                  <a:spcPts val="100"/>
                </a:spcBef>
                <a:spcAft>
                  <a:spcPts val="300"/>
                </a:spcAft>
              </a:pPr>
              <a:r>
                <a:rPr lang="en-US" sz="1400" b="1" dirty="0">
                  <a:solidFill>
                    <a:schemeClr val="accent1"/>
                  </a:solidFill>
                  <a:latin typeface="+mj-lt"/>
                </a:rPr>
                <a:t>Text</a:t>
              </a:r>
              <a:endParaRPr lang="en-US" sz="1400" b="1" cap="all" dirty="0">
                <a:solidFill>
                  <a:schemeClr val="accent1"/>
                </a:solidFill>
                <a:latin typeface="+mj-lt"/>
              </a:endParaRPr>
            </a:p>
          </p:txBody>
        </p:sp>
        <p:sp>
          <p:nvSpPr>
            <p:cNvPr id="31" name="Rectangle 6">
              <a:extLst>
                <a:ext uri="{FF2B5EF4-FFF2-40B4-BE49-F238E27FC236}">
                  <a16:creationId xmlns:a16="http://schemas.microsoft.com/office/drawing/2014/main" id="{651403E6-FCC5-42BC-9281-85F4B399C8B8}"/>
                </a:ext>
              </a:extLst>
            </p:cNvPr>
            <p:cNvSpPr>
              <a:spLocks noChangeArrowheads="1"/>
            </p:cNvSpPr>
            <p:nvPr>
              <p:custDataLst>
                <p:tags r:id="rId3"/>
              </p:custDataLst>
            </p:nvPr>
          </p:nvSpPr>
          <p:spPr bwMode="auto">
            <a:xfrm>
              <a:off x="5255621" y="2276356"/>
              <a:ext cx="1368022" cy="743296"/>
            </a:xfrm>
            <a:prstGeom prst="rect">
              <a:avLst/>
            </a:prstGeom>
            <a:noFill/>
            <a:ln w="6350">
              <a:noFill/>
              <a:miter lim="800000"/>
              <a:headEnd/>
              <a:tailEnd/>
            </a:ln>
            <a:effectLst/>
          </p:spPr>
          <p:txBody>
            <a:bodyPr lIns="0" tIns="0" rIns="0" bIns="0" anchor="ctr" anchorCtr="0"/>
            <a:lstStyle/>
            <a:p>
              <a:pPr algn="ctr" eaLnBrk="0" hangingPunct="0">
                <a:lnSpc>
                  <a:spcPct val="85000"/>
                </a:lnSpc>
                <a:spcBef>
                  <a:spcPts val="100"/>
                </a:spcBef>
                <a:spcAft>
                  <a:spcPts val="300"/>
                </a:spcAft>
              </a:pPr>
              <a:r>
                <a:rPr lang="en-US" sz="1400" b="1" dirty="0">
                  <a:solidFill>
                    <a:schemeClr val="accent2"/>
                  </a:solidFill>
                  <a:latin typeface="+mj-lt"/>
                </a:rPr>
                <a:t>Text</a:t>
              </a:r>
              <a:endParaRPr lang="en-US" sz="1400" b="1" cap="all" dirty="0">
                <a:solidFill>
                  <a:schemeClr val="accent2"/>
                </a:solidFill>
                <a:latin typeface="+mj-lt"/>
              </a:endParaRPr>
            </a:p>
          </p:txBody>
        </p:sp>
      </p:grpSp>
      <p:sp>
        <p:nvSpPr>
          <p:cNvPr id="32" name="Rectangle 31">
            <a:extLst>
              <a:ext uri="{FF2B5EF4-FFF2-40B4-BE49-F238E27FC236}">
                <a16:creationId xmlns:a16="http://schemas.microsoft.com/office/drawing/2014/main" id="{19FF188E-7BA2-4B88-851C-5BE674FB321C}"/>
              </a:ext>
            </a:extLst>
          </p:cNvPr>
          <p:cNvSpPr/>
          <p:nvPr/>
        </p:nvSpPr>
        <p:spPr>
          <a:xfrm>
            <a:off x="334964" y="5352847"/>
            <a:ext cx="6036664" cy="1173953"/>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lIns="180000" tIns="108000" rtlCol="0" anchor="t" anchorCtr="0"/>
          <a:lstStyle/>
          <a:p>
            <a:pPr eaLnBrk="0" hangingPunct="0">
              <a:spcBef>
                <a:spcPts val="100"/>
              </a:spcBef>
              <a:spcAft>
                <a:spcPts val="100"/>
              </a:spcAft>
            </a:pPr>
            <a:r>
              <a:rPr lang="en-US" sz="1600" b="1" dirty="0">
                <a:solidFill>
                  <a:schemeClr val="tx1"/>
                </a:solidFill>
              </a:rPr>
              <a:t>Summary</a:t>
            </a:r>
          </a:p>
          <a:p>
            <a:pPr marL="176213" indent="-176213" eaLnBrk="0" hangingPunct="0">
              <a:spcBef>
                <a:spcPts val="100"/>
              </a:spcBef>
              <a:spcAft>
                <a:spcPts val="100"/>
              </a:spcAft>
              <a:buFontTx/>
              <a:buChar char="•"/>
            </a:pPr>
            <a:r>
              <a:rPr lang="en-US" sz="1600" dirty="0">
                <a:solidFill>
                  <a:schemeClr val="tx1"/>
                </a:solidFill>
              </a:rPr>
              <a:t>Text</a:t>
            </a:r>
          </a:p>
        </p:txBody>
      </p:sp>
    </p:spTree>
    <p:extLst>
      <p:ext uri="{BB962C8B-B14F-4D97-AF65-F5344CB8AC3E}">
        <p14:creationId xmlns:p14="http://schemas.microsoft.com/office/powerpoint/2010/main" val="27212492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Subcontracting and collaboration</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FB25426C-6674-402F-8BC4-BB500C4313E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7" name="Freeform 211">
            <a:extLst>
              <a:ext uri="{FF2B5EF4-FFF2-40B4-BE49-F238E27FC236}">
                <a16:creationId xmlns:a16="http://schemas.microsoft.com/office/drawing/2014/main" id="{CAAD629A-84BC-4E40-8393-B862A859005B}"/>
              </a:ext>
            </a:extLst>
          </p:cNvPr>
          <p:cNvSpPr>
            <a:spLocks noEditPoints="1"/>
          </p:cNvSpPr>
          <p:nvPr/>
        </p:nvSpPr>
        <p:spPr bwMode="auto">
          <a:xfrm>
            <a:off x="4360095" y="1172850"/>
            <a:ext cx="4502208" cy="4576620"/>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211">
            <a:extLst>
              <a:ext uri="{FF2B5EF4-FFF2-40B4-BE49-F238E27FC236}">
                <a16:creationId xmlns:a16="http://schemas.microsoft.com/office/drawing/2014/main" id="{0A739E72-7CC5-4936-AEE7-EF93286830B4}"/>
              </a:ext>
            </a:extLst>
          </p:cNvPr>
          <p:cNvSpPr>
            <a:spLocks noEditPoints="1"/>
          </p:cNvSpPr>
          <p:nvPr/>
        </p:nvSpPr>
        <p:spPr bwMode="auto">
          <a:xfrm>
            <a:off x="2317935" y="1195180"/>
            <a:ext cx="3776641" cy="3839060"/>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Rectangle 20">
            <a:extLst>
              <a:ext uri="{FF2B5EF4-FFF2-40B4-BE49-F238E27FC236}">
                <a16:creationId xmlns:a16="http://schemas.microsoft.com/office/drawing/2014/main" id="{7CCC6285-AFF8-4295-BE1C-9188DB5ECA52}"/>
              </a:ext>
            </a:extLst>
          </p:cNvPr>
          <p:cNvSpPr/>
          <p:nvPr/>
        </p:nvSpPr>
        <p:spPr>
          <a:xfrm>
            <a:off x="381000" y="1794027"/>
            <a:ext cx="11429366" cy="433213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3" name="Oval 12">
            <a:extLst>
              <a:ext uri="{FF2B5EF4-FFF2-40B4-BE49-F238E27FC236}">
                <a16:creationId xmlns:a16="http://schemas.microsoft.com/office/drawing/2014/main" id="{92024C6F-C75E-4D00-A294-E61E7858EED9}"/>
              </a:ext>
            </a:extLst>
          </p:cNvPr>
          <p:cNvSpPr>
            <a:spLocks noChangeArrowheads="1"/>
          </p:cNvSpPr>
          <p:nvPr/>
        </p:nvSpPr>
        <p:spPr bwMode="auto">
          <a:xfrm>
            <a:off x="5896704" y="2576432"/>
            <a:ext cx="1512000" cy="1512000"/>
          </a:xfrm>
          <a:prstGeom prst="ellipse">
            <a:avLst/>
          </a:prstGeom>
          <a:solidFill>
            <a:schemeClr val="bg1"/>
          </a:solidFill>
          <a:ln w="12700">
            <a:noFill/>
            <a:round/>
            <a:headEnd/>
            <a:tailEnd/>
          </a:ln>
        </p:spPr>
        <p:txBody>
          <a:bodyPr wrap="square" lIns="83520" tIns="41027" rIns="83520" bIns="41027" anchor="ctr">
            <a:noAutofit/>
          </a:bodyPr>
          <a:lstStyle/>
          <a:p>
            <a:pPr algn="ctr"/>
            <a:r>
              <a:rPr lang="en-US" sz="1200" b="1" dirty="0"/>
              <a:t>Accenture</a:t>
            </a:r>
          </a:p>
        </p:txBody>
      </p:sp>
      <p:sp>
        <p:nvSpPr>
          <p:cNvPr id="25" name="Oval 20">
            <a:extLst>
              <a:ext uri="{FF2B5EF4-FFF2-40B4-BE49-F238E27FC236}">
                <a16:creationId xmlns:a16="http://schemas.microsoft.com/office/drawing/2014/main" id="{D20EEE90-7313-440C-8F01-547C93352C1F}"/>
              </a:ext>
            </a:extLst>
          </p:cNvPr>
          <p:cNvSpPr>
            <a:spLocks noChangeArrowheads="1"/>
          </p:cNvSpPr>
          <p:nvPr/>
        </p:nvSpPr>
        <p:spPr bwMode="auto">
          <a:xfrm>
            <a:off x="8298255" y="3119020"/>
            <a:ext cx="864000" cy="864000"/>
          </a:xfrm>
          <a:prstGeom prst="ellipse">
            <a:avLst/>
          </a:prstGeom>
          <a:solidFill>
            <a:schemeClr val="bg1"/>
          </a:solidFill>
          <a:ln w="12700">
            <a:noFill/>
            <a:round/>
            <a:headEnd/>
            <a:tailEnd/>
          </a:ln>
        </p:spPr>
        <p:txBody>
          <a:bodyPr wrap="none" anchor="ctr"/>
          <a:lstStyle/>
          <a:p>
            <a:pPr algn="ctr"/>
            <a:r>
              <a:rPr lang="en-US" sz="1200" b="1"/>
              <a:t>3</a:t>
            </a:r>
            <a:r>
              <a:rPr lang="en-US" sz="1200" b="1" baseline="30000"/>
              <a:t>rd</a:t>
            </a:r>
            <a:r>
              <a:rPr lang="en-US" sz="1200" b="1"/>
              <a:t> party</a:t>
            </a:r>
            <a:br>
              <a:rPr lang="en-US" sz="1200" b="1"/>
            </a:br>
            <a:r>
              <a:rPr lang="en-US" sz="1200" b="1"/>
              <a:t>vendor</a:t>
            </a:r>
            <a:endParaRPr lang="en-US" sz="1200" b="1" dirty="0"/>
          </a:p>
        </p:txBody>
      </p:sp>
      <p:sp>
        <p:nvSpPr>
          <p:cNvPr id="27" name="Oval 34">
            <a:extLst>
              <a:ext uri="{FF2B5EF4-FFF2-40B4-BE49-F238E27FC236}">
                <a16:creationId xmlns:a16="http://schemas.microsoft.com/office/drawing/2014/main" id="{ECCF0666-F852-45C0-9A64-4563864AD62B}"/>
              </a:ext>
            </a:extLst>
          </p:cNvPr>
          <p:cNvSpPr>
            <a:spLocks noChangeArrowheads="1"/>
          </p:cNvSpPr>
          <p:nvPr/>
        </p:nvSpPr>
        <p:spPr bwMode="auto">
          <a:xfrm>
            <a:off x="3597367" y="2484168"/>
            <a:ext cx="1283306" cy="1283306"/>
          </a:xfrm>
          <a:prstGeom prst="ellipse">
            <a:avLst/>
          </a:prstGeom>
          <a:solidFill>
            <a:schemeClr val="bg1"/>
          </a:solidFill>
          <a:ln w="12700">
            <a:noFill/>
            <a:round/>
            <a:headEnd/>
            <a:tailEnd/>
          </a:ln>
        </p:spPr>
        <p:txBody>
          <a:bodyPr wrap="none" anchor="ctr"/>
          <a:lstStyle/>
          <a:p>
            <a:pPr algn="ctr"/>
            <a:r>
              <a:rPr lang="en-US" sz="1200" b="1" dirty="0"/>
              <a:t>client</a:t>
            </a:r>
          </a:p>
        </p:txBody>
      </p:sp>
      <p:sp>
        <p:nvSpPr>
          <p:cNvPr id="29" name="Freeform 211">
            <a:extLst>
              <a:ext uri="{FF2B5EF4-FFF2-40B4-BE49-F238E27FC236}">
                <a16:creationId xmlns:a16="http://schemas.microsoft.com/office/drawing/2014/main" id="{B8BF4F53-F598-462C-8AEF-DBF6D6407FFE}"/>
              </a:ext>
            </a:extLst>
          </p:cNvPr>
          <p:cNvSpPr>
            <a:spLocks noEditPoints="1"/>
          </p:cNvSpPr>
          <p:nvPr/>
        </p:nvSpPr>
        <p:spPr bwMode="auto">
          <a:xfrm>
            <a:off x="5244621" y="1904998"/>
            <a:ext cx="2833194" cy="2880021"/>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11">
            <a:extLst>
              <a:ext uri="{FF2B5EF4-FFF2-40B4-BE49-F238E27FC236}">
                <a16:creationId xmlns:a16="http://schemas.microsoft.com/office/drawing/2014/main" id="{5B40697A-28E6-44EE-B054-634E2DE53553}"/>
              </a:ext>
            </a:extLst>
          </p:cNvPr>
          <p:cNvSpPr>
            <a:spLocks noEditPoints="1"/>
          </p:cNvSpPr>
          <p:nvPr/>
        </p:nvSpPr>
        <p:spPr bwMode="auto">
          <a:xfrm>
            <a:off x="3042840" y="1919050"/>
            <a:ext cx="2376602" cy="2415882"/>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11">
            <a:extLst>
              <a:ext uri="{FF2B5EF4-FFF2-40B4-BE49-F238E27FC236}">
                <a16:creationId xmlns:a16="http://schemas.microsoft.com/office/drawing/2014/main" id="{446BF9B7-50AA-4F9E-8723-6AF22185F3F2}"/>
              </a:ext>
            </a:extLst>
          </p:cNvPr>
          <p:cNvSpPr>
            <a:spLocks noEditPoints="1"/>
          </p:cNvSpPr>
          <p:nvPr/>
        </p:nvSpPr>
        <p:spPr bwMode="auto">
          <a:xfrm>
            <a:off x="8012837" y="2810930"/>
            <a:ext cx="1441385" cy="1465208"/>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11">
            <a:extLst>
              <a:ext uri="{FF2B5EF4-FFF2-40B4-BE49-F238E27FC236}">
                <a16:creationId xmlns:a16="http://schemas.microsoft.com/office/drawing/2014/main" id="{03D243F2-42BC-46EC-B258-ACC9B6B2E15E}"/>
              </a:ext>
            </a:extLst>
          </p:cNvPr>
          <p:cNvSpPr>
            <a:spLocks noEditPoints="1"/>
          </p:cNvSpPr>
          <p:nvPr/>
        </p:nvSpPr>
        <p:spPr bwMode="auto">
          <a:xfrm>
            <a:off x="6856602" y="4547737"/>
            <a:ext cx="1441385" cy="1465208"/>
          </a:xfrm>
          <a:custGeom>
            <a:avLst/>
            <a:gdLst>
              <a:gd name="T0" fmla="*/ 597 w 608"/>
              <a:gd name="T1" fmla="*/ 273 h 618"/>
              <a:gd name="T2" fmla="*/ 541 w 608"/>
              <a:gd name="T3" fmla="*/ 209 h 618"/>
              <a:gd name="T4" fmla="*/ 576 w 608"/>
              <a:gd name="T5" fmla="*/ 170 h 618"/>
              <a:gd name="T6" fmla="*/ 545 w 608"/>
              <a:gd name="T7" fmla="*/ 129 h 618"/>
              <a:gd name="T8" fmla="*/ 459 w 608"/>
              <a:gd name="T9" fmla="*/ 104 h 618"/>
              <a:gd name="T10" fmla="*/ 464 w 608"/>
              <a:gd name="T11" fmla="*/ 55 h 618"/>
              <a:gd name="T12" fmla="*/ 415 w 608"/>
              <a:gd name="T13" fmla="*/ 39 h 618"/>
              <a:gd name="T14" fmla="*/ 328 w 608"/>
              <a:gd name="T15" fmla="*/ 56 h 618"/>
              <a:gd name="T16" fmla="*/ 315 w 608"/>
              <a:gd name="T17" fmla="*/ 8 h 618"/>
              <a:gd name="T18" fmla="*/ 269 w 608"/>
              <a:gd name="T19" fmla="*/ 6 h 618"/>
              <a:gd name="T20" fmla="*/ 257 w 608"/>
              <a:gd name="T21" fmla="*/ 58 h 618"/>
              <a:gd name="T22" fmla="*/ 165 w 608"/>
              <a:gd name="T23" fmla="*/ 43 h 618"/>
              <a:gd name="T24" fmla="*/ 118 w 608"/>
              <a:gd name="T25" fmla="*/ 64 h 618"/>
              <a:gd name="T26" fmla="*/ 131 w 608"/>
              <a:gd name="T27" fmla="*/ 122 h 618"/>
              <a:gd name="T28" fmla="*/ 55 w 608"/>
              <a:gd name="T29" fmla="*/ 145 h 618"/>
              <a:gd name="T30" fmla="*/ 25 w 608"/>
              <a:gd name="T31" fmla="*/ 186 h 618"/>
              <a:gd name="T32" fmla="*/ 63 w 608"/>
              <a:gd name="T33" fmla="*/ 228 h 618"/>
              <a:gd name="T34" fmla="*/ 8 w 608"/>
              <a:gd name="T35" fmla="*/ 292 h 618"/>
              <a:gd name="T36" fmla="*/ 5 w 608"/>
              <a:gd name="T37" fmla="*/ 343 h 618"/>
              <a:gd name="T38" fmla="*/ 54 w 608"/>
              <a:gd name="T39" fmla="*/ 356 h 618"/>
              <a:gd name="T40" fmla="*/ 48 w 608"/>
              <a:gd name="T41" fmla="*/ 439 h 618"/>
              <a:gd name="T42" fmla="*/ 56 w 608"/>
              <a:gd name="T43" fmla="*/ 489 h 618"/>
              <a:gd name="T44" fmla="*/ 117 w 608"/>
              <a:gd name="T45" fmla="*/ 491 h 618"/>
              <a:gd name="T46" fmla="*/ 146 w 608"/>
              <a:gd name="T47" fmla="*/ 509 h 618"/>
              <a:gd name="T48" fmla="*/ 140 w 608"/>
              <a:gd name="T49" fmla="*/ 563 h 618"/>
              <a:gd name="T50" fmla="*/ 183 w 608"/>
              <a:gd name="T51" fmla="*/ 589 h 618"/>
              <a:gd name="T52" fmla="*/ 220 w 608"/>
              <a:gd name="T53" fmla="*/ 550 h 618"/>
              <a:gd name="T54" fmla="*/ 269 w 608"/>
              <a:gd name="T55" fmla="*/ 563 h 618"/>
              <a:gd name="T56" fmla="*/ 296 w 608"/>
              <a:gd name="T57" fmla="*/ 617 h 618"/>
              <a:gd name="T58" fmla="*/ 345 w 608"/>
              <a:gd name="T59" fmla="*/ 604 h 618"/>
              <a:gd name="T60" fmla="*/ 399 w 608"/>
              <a:gd name="T61" fmla="*/ 547 h 618"/>
              <a:gd name="T62" fmla="*/ 440 w 608"/>
              <a:gd name="T63" fmla="*/ 587 h 618"/>
              <a:gd name="T64" fmla="*/ 482 w 608"/>
              <a:gd name="T65" fmla="*/ 558 h 618"/>
              <a:gd name="T66" fmla="*/ 471 w 608"/>
              <a:gd name="T67" fmla="*/ 504 h 618"/>
              <a:gd name="T68" fmla="*/ 507 w 608"/>
              <a:gd name="T69" fmla="*/ 471 h 618"/>
              <a:gd name="T70" fmla="*/ 568 w 608"/>
              <a:gd name="T71" fmla="*/ 473 h 618"/>
              <a:gd name="T72" fmla="*/ 580 w 608"/>
              <a:gd name="T73" fmla="*/ 424 h 618"/>
              <a:gd name="T74" fmla="*/ 559 w 608"/>
              <a:gd name="T75" fmla="*/ 345 h 618"/>
              <a:gd name="T76" fmla="*/ 608 w 608"/>
              <a:gd name="T77" fmla="*/ 323 h 618"/>
              <a:gd name="T78" fmla="*/ 103 w 608"/>
              <a:gd name="T79" fmla="*/ 326 h 618"/>
              <a:gd name="T80" fmla="*/ 103 w 608"/>
              <a:gd name="T81" fmla="*/ 300 h 618"/>
              <a:gd name="T82" fmla="*/ 103 w 608"/>
              <a:gd name="T83" fmla="*/ 326 h 618"/>
              <a:gd name="T84" fmla="*/ 456 w 608"/>
              <a:gd name="T85" fmla="*/ 161 h 618"/>
              <a:gd name="T86" fmla="*/ 438 w 608"/>
              <a:gd name="T87" fmla="*/ 180 h 618"/>
              <a:gd name="T88" fmla="*/ 304 w 608"/>
              <a:gd name="T89" fmla="*/ 98 h 618"/>
              <a:gd name="T90" fmla="*/ 304 w 608"/>
              <a:gd name="T91" fmla="*/ 125 h 618"/>
              <a:gd name="T92" fmla="*/ 304 w 608"/>
              <a:gd name="T93" fmla="*/ 98 h 618"/>
              <a:gd name="T94" fmla="*/ 171 w 608"/>
              <a:gd name="T95" fmla="*/ 161 h 618"/>
              <a:gd name="T96" fmla="*/ 153 w 608"/>
              <a:gd name="T97" fmla="*/ 180 h 618"/>
              <a:gd name="T98" fmla="*/ 171 w 608"/>
              <a:gd name="T99" fmla="*/ 464 h 618"/>
              <a:gd name="T100" fmla="*/ 153 w 608"/>
              <a:gd name="T101" fmla="*/ 446 h 618"/>
              <a:gd name="T102" fmla="*/ 171 w 608"/>
              <a:gd name="T103" fmla="*/ 464 h 618"/>
              <a:gd name="T104" fmla="*/ 291 w 608"/>
              <a:gd name="T105" fmla="*/ 514 h 618"/>
              <a:gd name="T106" fmla="*/ 318 w 608"/>
              <a:gd name="T107" fmla="*/ 514 h 618"/>
              <a:gd name="T108" fmla="*/ 456 w 608"/>
              <a:gd name="T109" fmla="*/ 464 h 618"/>
              <a:gd name="T110" fmla="*/ 438 w 608"/>
              <a:gd name="T111" fmla="*/ 446 h 618"/>
              <a:gd name="T112" fmla="*/ 456 w 608"/>
              <a:gd name="T113" fmla="*/ 464 h 618"/>
              <a:gd name="T114" fmla="*/ 129 w 608"/>
              <a:gd name="T115" fmla="*/ 309 h 618"/>
              <a:gd name="T116" fmla="*/ 480 w 608"/>
              <a:gd name="T117" fmla="*/ 309 h 618"/>
              <a:gd name="T118" fmla="*/ 506 w 608"/>
              <a:gd name="T119" fmla="*/ 326 h 618"/>
              <a:gd name="T120" fmla="*/ 506 w 608"/>
              <a:gd name="T121" fmla="*/ 300 h 618"/>
              <a:gd name="T122" fmla="*/ 506 w 608"/>
              <a:gd name="T123" fmla="*/ 3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618">
                <a:moveTo>
                  <a:pt x="606" y="280"/>
                </a:moveTo>
                <a:cubicBezTo>
                  <a:pt x="606" y="276"/>
                  <a:pt x="602" y="272"/>
                  <a:pt x="597" y="273"/>
                </a:cubicBezTo>
                <a:cubicBezTo>
                  <a:pt x="557" y="264"/>
                  <a:pt x="557" y="264"/>
                  <a:pt x="557" y="264"/>
                </a:cubicBezTo>
                <a:cubicBezTo>
                  <a:pt x="554" y="245"/>
                  <a:pt x="548" y="227"/>
                  <a:pt x="541" y="209"/>
                </a:cubicBezTo>
                <a:cubicBezTo>
                  <a:pt x="572" y="180"/>
                  <a:pt x="572" y="180"/>
                  <a:pt x="572" y="180"/>
                </a:cubicBezTo>
                <a:cubicBezTo>
                  <a:pt x="576" y="178"/>
                  <a:pt x="578" y="174"/>
                  <a:pt x="576" y="170"/>
                </a:cubicBezTo>
                <a:cubicBezTo>
                  <a:pt x="556" y="132"/>
                  <a:pt x="556" y="132"/>
                  <a:pt x="556" y="132"/>
                </a:cubicBezTo>
                <a:cubicBezTo>
                  <a:pt x="554" y="128"/>
                  <a:pt x="549" y="127"/>
                  <a:pt x="545" y="129"/>
                </a:cubicBezTo>
                <a:cubicBezTo>
                  <a:pt x="496" y="139"/>
                  <a:pt x="496" y="139"/>
                  <a:pt x="496" y="139"/>
                </a:cubicBezTo>
                <a:cubicBezTo>
                  <a:pt x="485" y="126"/>
                  <a:pt x="472" y="114"/>
                  <a:pt x="459" y="104"/>
                </a:cubicBezTo>
                <a:cubicBezTo>
                  <a:pt x="467" y="65"/>
                  <a:pt x="467" y="65"/>
                  <a:pt x="467" y="65"/>
                </a:cubicBezTo>
                <a:cubicBezTo>
                  <a:pt x="469" y="61"/>
                  <a:pt x="468" y="57"/>
                  <a:pt x="464" y="55"/>
                </a:cubicBezTo>
                <a:cubicBezTo>
                  <a:pt x="426" y="35"/>
                  <a:pt x="426" y="35"/>
                  <a:pt x="426" y="35"/>
                </a:cubicBezTo>
                <a:cubicBezTo>
                  <a:pt x="422" y="33"/>
                  <a:pt x="417" y="35"/>
                  <a:pt x="415" y="39"/>
                </a:cubicBezTo>
                <a:cubicBezTo>
                  <a:pt x="382" y="67"/>
                  <a:pt x="382" y="67"/>
                  <a:pt x="382" y="67"/>
                </a:cubicBezTo>
                <a:cubicBezTo>
                  <a:pt x="366" y="62"/>
                  <a:pt x="343" y="58"/>
                  <a:pt x="328" y="56"/>
                </a:cubicBezTo>
                <a:cubicBezTo>
                  <a:pt x="328" y="55"/>
                  <a:pt x="328" y="55"/>
                  <a:pt x="328" y="55"/>
                </a:cubicBezTo>
                <a:cubicBezTo>
                  <a:pt x="315" y="8"/>
                  <a:pt x="315" y="8"/>
                  <a:pt x="315" y="8"/>
                </a:cubicBezTo>
                <a:cubicBezTo>
                  <a:pt x="314" y="4"/>
                  <a:pt x="314" y="0"/>
                  <a:pt x="310" y="1"/>
                </a:cubicBezTo>
                <a:cubicBezTo>
                  <a:pt x="269" y="6"/>
                  <a:pt x="269" y="6"/>
                  <a:pt x="269" y="6"/>
                </a:cubicBezTo>
                <a:cubicBezTo>
                  <a:pt x="265" y="6"/>
                  <a:pt x="263" y="10"/>
                  <a:pt x="263" y="15"/>
                </a:cubicBezTo>
                <a:cubicBezTo>
                  <a:pt x="257" y="58"/>
                  <a:pt x="257" y="58"/>
                  <a:pt x="257" y="58"/>
                </a:cubicBezTo>
                <a:cubicBezTo>
                  <a:pt x="238" y="62"/>
                  <a:pt x="219" y="67"/>
                  <a:pt x="202" y="75"/>
                </a:cubicBezTo>
                <a:cubicBezTo>
                  <a:pt x="165" y="43"/>
                  <a:pt x="165" y="43"/>
                  <a:pt x="165" y="43"/>
                </a:cubicBezTo>
                <a:cubicBezTo>
                  <a:pt x="162" y="39"/>
                  <a:pt x="157" y="38"/>
                  <a:pt x="154" y="40"/>
                </a:cubicBezTo>
                <a:cubicBezTo>
                  <a:pt x="118" y="64"/>
                  <a:pt x="118" y="64"/>
                  <a:pt x="118" y="64"/>
                </a:cubicBezTo>
                <a:cubicBezTo>
                  <a:pt x="115" y="66"/>
                  <a:pt x="114" y="71"/>
                  <a:pt x="116" y="75"/>
                </a:cubicBezTo>
                <a:cubicBezTo>
                  <a:pt x="131" y="122"/>
                  <a:pt x="131" y="122"/>
                  <a:pt x="131" y="122"/>
                </a:cubicBezTo>
                <a:cubicBezTo>
                  <a:pt x="121" y="132"/>
                  <a:pt x="111" y="142"/>
                  <a:pt x="102" y="154"/>
                </a:cubicBezTo>
                <a:cubicBezTo>
                  <a:pt x="55" y="145"/>
                  <a:pt x="55" y="145"/>
                  <a:pt x="55" y="145"/>
                </a:cubicBezTo>
                <a:cubicBezTo>
                  <a:pt x="51" y="143"/>
                  <a:pt x="46" y="144"/>
                  <a:pt x="44" y="148"/>
                </a:cubicBezTo>
                <a:cubicBezTo>
                  <a:pt x="25" y="186"/>
                  <a:pt x="25" y="186"/>
                  <a:pt x="25" y="186"/>
                </a:cubicBezTo>
                <a:cubicBezTo>
                  <a:pt x="23" y="190"/>
                  <a:pt x="25" y="195"/>
                  <a:pt x="29" y="197"/>
                </a:cubicBezTo>
                <a:cubicBezTo>
                  <a:pt x="63" y="228"/>
                  <a:pt x="63" y="228"/>
                  <a:pt x="63" y="228"/>
                </a:cubicBezTo>
                <a:cubicBezTo>
                  <a:pt x="58" y="243"/>
                  <a:pt x="54" y="258"/>
                  <a:pt x="52" y="274"/>
                </a:cubicBezTo>
                <a:cubicBezTo>
                  <a:pt x="8" y="292"/>
                  <a:pt x="8" y="292"/>
                  <a:pt x="8" y="292"/>
                </a:cubicBezTo>
                <a:cubicBezTo>
                  <a:pt x="4" y="293"/>
                  <a:pt x="0" y="296"/>
                  <a:pt x="1" y="300"/>
                </a:cubicBezTo>
                <a:cubicBezTo>
                  <a:pt x="5" y="343"/>
                  <a:pt x="5" y="343"/>
                  <a:pt x="5" y="343"/>
                </a:cubicBezTo>
                <a:cubicBezTo>
                  <a:pt x="6" y="347"/>
                  <a:pt x="10" y="350"/>
                  <a:pt x="15" y="350"/>
                </a:cubicBezTo>
                <a:cubicBezTo>
                  <a:pt x="54" y="356"/>
                  <a:pt x="54" y="356"/>
                  <a:pt x="54" y="356"/>
                </a:cubicBezTo>
                <a:cubicBezTo>
                  <a:pt x="58" y="379"/>
                  <a:pt x="65" y="400"/>
                  <a:pt x="75" y="420"/>
                </a:cubicBezTo>
                <a:cubicBezTo>
                  <a:pt x="48" y="439"/>
                  <a:pt x="48" y="439"/>
                  <a:pt x="48" y="439"/>
                </a:cubicBezTo>
                <a:cubicBezTo>
                  <a:pt x="44" y="440"/>
                  <a:pt x="41" y="444"/>
                  <a:pt x="42" y="448"/>
                </a:cubicBezTo>
                <a:cubicBezTo>
                  <a:pt x="56" y="489"/>
                  <a:pt x="56" y="489"/>
                  <a:pt x="56" y="489"/>
                </a:cubicBezTo>
                <a:cubicBezTo>
                  <a:pt x="57" y="493"/>
                  <a:pt x="62" y="495"/>
                  <a:pt x="66" y="494"/>
                </a:cubicBezTo>
                <a:cubicBezTo>
                  <a:pt x="117" y="491"/>
                  <a:pt x="117" y="491"/>
                  <a:pt x="117" y="491"/>
                </a:cubicBezTo>
                <a:cubicBezTo>
                  <a:pt x="119" y="490"/>
                  <a:pt x="121" y="489"/>
                  <a:pt x="122" y="487"/>
                </a:cubicBezTo>
                <a:cubicBezTo>
                  <a:pt x="130" y="495"/>
                  <a:pt x="138" y="502"/>
                  <a:pt x="146" y="509"/>
                </a:cubicBezTo>
                <a:cubicBezTo>
                  <a:pt x="145" y="512"/>
                  <a:pt x="145" y="512"/>
                  <a:pt x="145" y="512"/>
                </a:cubicBezTo>
                <a:cubicBezTo>
                  <a:pt x="140" y="563"/>
                  <a:pt x="140" y="563"/>
                  <a:pt x="140" y="563"/>
                </a:cubicBezTo>
                <a:cubicBezTo>
                  <a:pt x="138" y="567"/>
                  <a:pt x="139" y="571"/>
                  <a:pt x="143" y="573"/>
                </a:cubicBezTo>
                <a:cubicBezTo>
                  <a:pt x="183" y="589"/>
                  <a:pt x="183" y="589"/>
                  <a:pt x="183" y="589"/>
                </a:cubicBezTo>
                <a:cubicBezTo>
                  <a:pt x="187" y="591"/>
                  <a:pt x="192" y="588"/>
                  <a:pt x="193" y="584"/>
                </a:cubicBezTo>
                <a:cubicBezTo>
                  <a:pt x="220" y="550"/>
                  <a:pt x="220" y="550"/>
                  <a:pt x="220" y="550"/>
                </a:cubicBezTo>
                <a:cubicBezTo>
                  <a:pt x="235" y="556"/>
                  <a:pt x="252" y="560"/>
                  <a:pt x="269" y="562"/>
                </a:cubicBezTo>
                <a:cubicBezTo>
                  <a:pt x="269" y="563"/>
                  <a:pt x="269" y="563"/>
                  <a:pt x="269" y="563"/>
                </a:cubicBezTo>
                <a:cubicBezTo>
                  <a:pt x="288" y="610"/>
                  <a:pt x="288" y="610"/>
                  <a:pt x="288" y="610"/>
                </a:cubicBezTo>
                <a:cubicBezTo>
                  <a:pt x="288" y="614"/>
                  <a:pt x="292" y="618"/>
                  <a:pt x="296" y="617"/>
                </a:cubicBezTo>
                <a:cubicBezTo>
                  <a:pt x="339" y="613"/>
                  <a:pt x="339" y="613"/>
                  <a:pt x="339" y="613"/>
                </a:cubicBezTo>
                <a:cubicBezTo>
                  <a:pt x="343" y="612"/>
                  <a:pt x="346" y="608"/>
                  <a:pt x="345" y="604"/>
                </a:cubicBezTo>
                <a:cubicBezTo>
                  <a:pt x="353" y="560"/>
                  <a:pt x="353" y="560"/>
                  <a:pt x="353" y="560"/>
                </a:cubicBezTo>
                <a:cubicBezTo>
                  <a:pt x="369" y="557"/>
                  <a:pt x="384" y="553"/>
                  <a:pt x="399" y="547"/>
                </a:cubicBezTo>
                <a:cubicBezTo>
                  <a:pt x="430" y="582"/>
                  <a:pt x="430" y="582"/>
                  <a:pt x="430" y="582"/>
                </a:cubicBezTo>
                <a:cubicBezTo>
                  <a:pt x="432" y="587"/>
                  <a:pt x="436" y="589"/>
                  <a:pt x="440" y="587"/>
                </a:cubicBezTo>
                <a:cubicBezTo>
                  <a:pt x="479" y="568"/>
                  <a:pt x="479" y="568"/>
                  <a:pt x="479" y="568"/>
                </a:cubicBezTo>
                <a:cubicBezTo>
                  <a:pt x="483" y="567"/>
                  <a:pt x="484" y="562"/>
                  <a:pt x="482" y="558"/>
                </a:cubicBezTo>
                <a:cubicBezTo>
                  <a:pt x="474" y="508"/>
                  <a:pt x="474" y="508"/>
                  <a:pt x="474" y="508"/>
                </a:cubicBezTo>
                <a:cubicBezTo>
                  <a:pt x="471" y="504"/>
                  <a:pt x="471" y="504"/>
                  <a:pt x="471" y="504"/>
                </a:cubicBezTo>
                <a:cubicBezTo>
                  <a:pt x="483" y="493"/>
                  <a:pt x="494" y="482"/>
                  <a:pt x="504" y="470"/>
                </a:cubicBezTo>
                <a:cubicBezTo>
                  <a:pt x="507" y="471"/>
                  <a:pt x="507" y="471"/>
                  <a:pt x="507" y="471"/>
                </a:cubicBezTo>
                <a:cubicBezTo>
                  <a:pt x="557" y="477"/>
                  <a:pt x="557" y="477"/>
                  <a:pt x="557" y="477"/>
                </a:cubicBezTo>
                <a:cubicBezTo>
                  <a:pt x="561" y="479"/>
                  <a:pt x="566" y="477"/>
                  <a:pt x="568" y="473"/>
                </a:cubicBezTo>
                <a:cubicBezTo>
                  <a:pt x="584" y="433"/>
                  <a:pt x="584" y="433"/>
                  <a:pt x="584" y="433"/>
                </a:cubicBezTo>
                <a:cubicBezTo>
                  <a:pt x="586" y="430"/>
                  <a:pt x="584" y="425"/>
                  <a:pt x="580" y="424"/>
                </a:cubicBezTo>
                <a:cubicBezTo>
                  <a:pt x="546" y="397"/>
                  <a:pt x="546" y="397"/>
                  <a:pt x="546" y="397"/>
                </a:cubicBezTo>
                <a:cubicBezTo>
                  <a:pt x="552" y="380"/>
                  <a:pt x="556" y="363"/>
                  <a:pt x="559" y="345"/>
                </a:cubicBezTo>
                <a:cubicBezTo>
                  <a:pt x="600" y="331"/>
                  <a:pt x="600" y="331"/>
                  <a:pt x="600" y="331"/>
                </a:cubicBezTo>
                <a:cubicBezTo>
                  <a:pt x="605" y="330"/>
                  <a:pt x="608" y="327"/>
                  <a:pt x="608" y="323"/>
                </a:cubicBezTo>
                <a:lnTo>
                  <a:pt x="606" y="280"/>
                </a:lnTo>
                <a:close/>
                <a:moveTo>
                  <a:pt x="103" y="326"/>
                </a:moveTo>
                <a:cubicBezTo>
                  <a:pt x="96" y="326"/>
                  <a:pt x="90" y="320"/>
                  <a:pt x="90" y="313"/>
                </a:cubicBezTo>
                <a:cubicBezTo>
                  <a:pt x="90" y="306"/>
                  <a:pt x="96" y="300"/>
                  <a:pt x="103" y="300"/>
                </a:cubicBezTo>
                <a:cubicBezTo>
                  <a:pt x="110" y="300"/>
                  <a:pt x="116" y="306"/>
                  <a:pt x="116" y="313"/>
                </a:cubicBezTo>
                <a:cubicBezTo>
                  <a:pt x="116" y="320"/>
                  <a:pt x="110" y="326"/>
                  <a:pt x="103" y="326"/>
                </a:cubicBezTo>
                <a:close/>
                <a:moveTo>
                  <a:pt x="438" y="161"/>
                </a:moveTo>
                <a:cubicBezTo>
                  <a:pt x="443" y="156"/>
                  <a:pt x="451" y="156"/>
                  <a:pt x="456" y="161"/>
                </a:cubicBezTo>
                <a:cubicBezTo>
                  <a:pt x="461" y="166"/>
                  <a:pt x="461" y="175"/>
                  <a:pt x="456" y="180"/>
                </a:cubicBezTo>
                <a:cubicBezTo>
                  <a:pt x="451" y="185"/>
                  <a:pt x="443" y="185"/>
                  <a:pt x="438" y="180"/>
                </a:cubicBezTo>
                <a:cubicBezTo>
                  <a:pt x="432" y="175"/>
                  <a:pt x="432" y="166"/>
                  <a:pt x="438" y="161"/>
                </a:cubicBezTo>
                <a:close/>
                <a:moveTo>
                  <a:pt x="304" y="98"/>
                </a:moveTo>
                <a:cubicBezTo>
                  <a:pt x="312" y="98"/>
                  <a:pt x="318" y="104"/>
                  <a:pt x="318" y="111"/>
                </a:cubicBezTo>
                <a:cubicBezTo>
                  <a:pt x="318" y="119"/>
                  <a:pt x="312" y="125"/>
                  <a:pt x="304" y="125"/>
                </a:cubicBezTo>
                <a:cubicBezTo>
                  <a:pt x="297" y="125"/>
                  <a:pt x="291" y="119"/>
                  <a:pt x="291" y="111"/>
                </a:cubicBezTo>
                <a:cubicBezTo>
                  <a:pt x="291" y="104"/>
                  <a:pt x="297" y="98"/>
                  <a:pt x="304" y="98"/>
                </a:cubicBezTo>
                <a:close/>
                <a:moveTo>
                  <a:pt x="153" y="161"/>
                </a:moveTo>
                <a:cubicBezTo>
                  <a:pt x="158" y="156"/>
                  <a:pt x="166" y="156"/>
                  <a:pt x="171" y="161"/>
                </a:cubicBezTo>
                <a:cubicBezTo>
                  <a:pt x="176" y="166"/>
                  <a:pt x="176" y="175"/>
                  <a:pt x="171" y="180"/>
                </a:cubicBezTo>
                <a:cubicBezTo>
                  <a:pt x="166" y="185"/>
                  <a:pt x="158" y="185"/>
                  <a:pt x="153" y="180"/>
                </a:cubicBezTo>
                <a:cubicBezTo>
                  <a:pt x="148" y="175"/>
                  <a:pt x="148" y="166"/>
                  <a:pt x="153" y="161"/>
                </a:cubicBezTo>
                <a:close/>
                <a:moveTo>
                  <a:pt x="171" y="464"/>
                </a:moveTo>
                <a:cubicBezTo>
                  <a:pt x="166" y="470"/>
                  <a:pt x="158" y="470"/>
                  <a:pt x="153" y="464"/>
                </a:cubicBezTo>
                <a:cubicBezTo>
                  <a:pt x="148" y="459"/>
                  <a:pt x="148" y="451"/>
                  <a:pt x="153" y="446"/>
                </a:cubicBezTo>
                <a:cubicBezTo>
                  <a:pt x="158" y="441"/>
                  <a:pt x="166" y="441"/>
                  <a:pt x="171" y="446"/>
                </a:cubicBezTo>
                <a:cubicBezTo>
                  <a:pt x="176" y="451"/>
                  <a:pt x="176" y="459"/>
                  <a:pt x="171" y="464"/>
                </a:cubicBezTo>
                <a:close/>
                <a:moveTo>
                  <a:pt x="304" y="527"/>
                </a:moveTo>
                <a:cubicBezTo>
                  <a:pt x="297" y="527"/>
                  <a:pt x="291" y="521"/>
                  <a:pt x="291" y="514"/>
                </a:cubicBezTo>
                <a:cubicBezTo>
                  <a:pt x="291" y="507"/>
                  <a:pt x="297" y="501"/>
                  <a:pt x="304" y="501"/>
                </a:cubicBezTo>
                <a:cubicBezTo>
                  <a:pt x="312" y="501"/>
                  <a:pt x="318" y="507"/>
                  <a:pt x="318" y="514"/>
                </a:cubicBezTo>
                <a:cubicBezTo>
                  <a:pt x="318" y="521"/>
                  <a:pt x="312" y="527"/>
                  <a:pt x="304" y="527"/>
                </a:cubicBezTo>
                <a:close/>
                <a:moveTo>
                  <a:pt x="456" y="464"/>
                </a:moveTo>
                <a:cubicBezTo>
                  <a:pt x="451" y="470"/>
                  <a:pt x="443" y="470"/>
                  <a:pt x="438" y="464"/>
                </a:cubicBezTo>
                <a:cubicBezTo>
                  <a:pt x="432" y="459"/>
                  <a:pt x="432" y="451"/>
                  <a:pt x="438" y="446"/>
                </a:cubicBezTo>
                <a:cubicBezTo>
                  <a:pt x="443" y="441"/>
                  <a:pt x="451" y="441"/>
                  <a:pt x="456" y="446"/>
                </a:cubicBezTo>
                <a:cubicBezTo>
                  <a:pt x="461" y="451"/>
                  <a:pt x="461" y="459"/>
                  <a:pt x="456" y="464"/>
                </a:cubicBezTo>
                <a:close/>
                <a:moveTo>
                  <a:pt x="304" y="484"/>
                </a:moveTo>
                <a:cubicBezTo>
                  <a:pt x="208" y="484"/>
                  <a:pt x="129" y="406"/>
                  <a:pt x="129" y="309"/>
                </a:cubicBezTo>
                <a:cubicBezTo>
                  <a:pt x="129" y="212"/>
                  <a:pt x="208" y="134"/>
                  <a:pt x="304" y="134"/>
                </a:cubicBezTo>
                <a:cubicBezTo>
                  <a:pt x="401" y="134"/>
                  <a:pt x="480" y="212"/>
                  <a:pt x="480" y="309"/>
                </a:cubicBezTo>
                <a:cubicBezTo>
                  <a:pt x="480" y="406"/>
                  <a:pt x="401" y="484"/>
                  <a:pt x="304" y="484"/>
                </a:cubicBezTo>
                <a:close/>
                <a:moveTo>
                  <a:pt x="506" y="326"/>
                </a:moveTo>
                <a:cubicBezTo>
                  <a:pt x="499" y="326"/>
                  <a:pt x="493" y="320"/>
                  <a:pt x="493" y="313"/>
                </a:cubicBezTo>
                <a:cubicBezTo>
                  <a:pt x="493" y="306"/>
                  <a:pt x="499" y="300"/>
                  <a:pt x="506" y="300"/>
                </a:cubicBezTo>
                <a:cubicBezTo>
                  <a:pt x="513" y="300"/>
                  <a:pt x="519" y="306"/>
                  <a:pt x="519" y="313"/>
                </a:cubicBezTo>
                <a:cubicBezTo>
                  <a:pt x="519" y="320"/>
                  <a:pt x="513" y="326"/>
                  <a:pt x="506" y="326"/>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Oval 20">
            <a:extLst>
              <a:ext uri="{FF2B5EF4-FFF2-40B4-BE49-F238E27FC236}">
                <a16:creationId xmlns:a16="http://schemas.microsoft.com/office/drawing/2014/main" id="{340EB301-1285-41B5-83FE-F16336C25649}"/>
              </a:ext>
            </a:extLst>
          </p:cNvPr>
          <p:cNvSpPr>
            <a:spLocks noChangeArrowheads="1"/>
          </p:cNvSpPr>
          <p:nvPr/>
        </p:nvSpPr>
        <p:spPr bwMode="auto">
          <a:xfrm>
            <a:off x="7183784" y="4886831"/>
            <a:ext cx="787020" cy="787020"/>
          </a:xfrm>
          <a:prstGeom prst="ellipse">
            <a:avLst/>
          </a:prstGeom>
          <a:solidFill>
            <a:schemeClr val="bg1"/>
          </a:solidFill>
          <a:ln w="12700">
            <a:noFill/>
            <a:round/>
            <a:headEnd/>
            <a:tailEnd/>
          </a:ln>
        </p:spPr>
        <p:txBody>
          <a:bodyPr wrap="none" anchor="ctr"/>
          <a:lstStyle/>
          <a:p>
            <a:pPr algn="ctr"/>
            <a:r>
              <a:rPr lang="en-US" sz="1200" b="1" dirty="0"/>
              <a:t>3</a:t>
            </a:r>
            <a:r>
              <a:rPr lang="en-US" sz="1200" b="1" baseline="30000" dirty="0"/>
              <a:t>rd</a:t>
            </a:r>
            <a:r>
              <a:rPr lang="en-US" sz="1200" b="1" dirty="0"/>
              <a:t> party</a:t>
            </a:r>
            <a:br>
              <a:rPr lang="en-US" sz="1200" b="1" dirty="0"/>
            </a:br>
            <a:r>
              <a:rPr lang="en-US" sz="1200" b="1" dirty="0"/>
              <a:t>vendor</a:t>
            </a:r>
          </a:p>
        </p:txBody>
      </p:sp>
    </p:spTree>
    <p:extLst>
      <p:ext uri="{BB962C8B-B14F-4D97-AF65-F5344CB8AC3E}">
        <p14:creationId xmlns:p14="http://schemas.microsoft.com/office/powerpoint/2010/main" val="149746350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Conflicts</a:t>
            </a:r>
          </a:p>
        </p:txBody>
      </p:sp>
      <p:sp>
        <p:nvSpPr>
          <p:cNvPr id="2" name="Freeform: Shape 1">
            <a:hlinkClick r:id="rId3" action="ppaction://hlinksldjump"/>
            <a:extLst>
              <a:ext uri="{FF2B5EF4-FFF2-40B4-BE49-F238E27FC236}">
                <a16:creationId xmlns:a16="http://schemas.microsoft.com/office/drawing/2014/main" id="{300C6EC9-AF3D-4669-BDE2-C9558BA9E28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Text Placeholder 4">
            <a:extLst>
              <a:ext uri="{FF2B5EF4-FFF2-40B4-BE49-F238E27FC236}">
                <a16:creationId xmlns:a16="http://schemas.microsoft.com/office/drawing/2014/main" id="{754AA197-89FF-4314-A9D4-51FC32EE42DD}"/>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t>Part of </a:t>
            </a:r>
            <a:b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b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hlinkClick r:id="rId4" action="ppaction://hlinksldjump">
                  <a:extLst>
                    <a:ext uri="{A12FA001-AC4F-418D-AE19-62706E023703}">
                      <ahyp:hlinkClr xmlns:ahyp="http://schemas.microsoft.com/office/drawing/2018/hyperlinkcolor" val="tx"/>
                    </a:ext>
                  </a:extLst>
                </a:hlinkClick>
              </a:rPr>
              <a:t>Dynamic Concept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6" name="Rectangle 5">
            <a:hlinkClick r:id="rId3" action="ppaction://hlinksldjump"/>
            <a:extLst>
              <a:ext uri="{FF2B5EF4-FFF2-40B4-BE49-F238E27FC236}">
                <a16:creationId xmlns:a16="http://schemas.microsoft.com/office/drawing/2014/main" id="{7D7CC3DB-15BF-489D-83D7-ABFDAE77667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82072462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Action/Reaction 1</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B9758D7-6794-4416-B507-9730BD82249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 name="AutoShape 6">
            <a:extLst>
              <a:ext uri="{FF2B5EF4-FFF2-40B4-BE49-F238E27FC236}">
                <a16:creationId xmlns:a16="http://schemas.microsoft.com/office/drawing/2014/main" id="{35AEA00A-8199-40E2-9E9F-156F8A21E8E7}"/>
              </a:ext>
            </a:extLst>
          </p:cNvPr>
          <p:cNvSpPr>
            <a:spLocks noChangeAspect="1" noChangeArrowheads="1"/>
          </p:cNvSpPr>
          <p:nvPr/>
        </p:nvSpPr>
        <p:spPr bwMode="auto">
          <a:xfrm flipH="1">
            <a:off x="6164930" y="1763712"/>
            <a:ext cx="4207794" cy="2628709"/>
          </a:xfrm>
          <a:prstGeom prst="homePlate">
            <a:avLst>
              <a:gd name="adj" fmla="val 32103"/>
            </a:avLst>
          </a:prstGeom>
          <a:solidFill>
            <a:schemeClr val="accent3"/>
          </a:solidFill>
          <a:ln w="6350">
            <a:noFill/>
            <a:miter lim="800000"/>
            <a:headEnd/>
            <a:tailEnd/>
          </a:ln>
          <a:effectLst/>
        </p:spPr>
        <p:txBody>
          <a:bodyPr lIns="720000" tIns="180000" rIns="72000" bIns="72000" anchor="t"/>
          <a:lstStyle/>
          <a:p>
            <a:pPr marL="0" lvl="1"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p:txBody>
      </p:sp>
      <p:sp>
        <p:nvSpPr>
          <p:cNvPr id="8" name="AutoShape 7">
            <a:extLst>
              <a:ext uri="{FF2B5EF4-FFF2-40B4-BE49-F238E27FC236}">
                <a16:creationId xmlns:a16="http://schemas.microsoft.com/office/drawing/2014/main" id="{22AAD2B8-1C24-44B1-8F73-18ED5D5A9CCF}"/>
              </a:ext>
            </a:extLst>
          </p:cNvPr>
          <p:cNvSpPr>
            <a:spLocks noChangeAspect="1" noChangeArrowheads="1"/>
          </p:cNvSpPr>
          <p:nvPr/>
        </p:nvSpPr>
        <p:spPr bwMode="auto">
          <a:xfrm>
            <a:off x="1822450" y="1763712"/>
            <a:ext cx="4207794" cy="2628709"/>
          </a:xfrm>
          <a:prstGeom prst="homePlate">
            <a:avLst>
              <a:gd name="adj" fmla="val 32103"/>
            </a:avLst>
          </a:prstGeom>
          <a:solidFill>
            <a:schemeClr val="accent1"/>
          </a:soli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235645301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Action/Reaction 2</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D3DB324D-90C1-465F-8D08-99DCA6F3E56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 name="AutoShape 6">
            <a:extLst>
              <a:ext uri="{FF2B5EF4-FFF2-40B4-BE49-F238E27FC236}">
                <a16:creationId xmlns:a16="http://schemas.microsoft.com/office/drawing/2014/main" id="{D576C33B-F2DC-4434-8F41-6A145DE00C1E}"/>
              </a:ext>
            </a:extLst>
          </p:cNvPr>
          <p:cNvSpPr>
            <a:spLocks noChangeAspect="1" noChangeArrowheads="1"/>
          </p:cNvSpPr>
          <p:nvPr/>
        </p:nvSpPr>
        <p:spPr bwMode="auto">
          <a:xfrm flipH="1">
            <a:off x="5740308" y="3170482"/>
            <a:ext cx="4207794" cy="2628709"/>
          </a:xfrm>
          <a:prstGeom prst="homePlate">
            <a:avLst>
              <a:gd name="adj" fmla="val 32103"/>
            </a:avLst>
          </a:prstGeom>
          <a:solidFill>
            <a:schemeClr val="accent3"/>
          </a:solidFill>
          <a:ln w="6350">
            <a:noFill/>
            <a:miter lim="800000"/>
            <a:headEnd/>
            <a:tailEnd/>
          </a:ln>
          <a:effectLst/>
        </p:spPr>
        <p:txBody>
          <a:bodyPr lIns="720000" tIns="180000" rIns="72000" bIns="72000" anchor="t"/>
          <a:lstStyle/>
          <a:p>
            <a:pPr marL="0" lvl="1"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p:txBody>
      </p:sp>
      <p:sp>
        <p:nvSpPr>
          <p:cNvPr id="8" name="AutoShape 7">
            <a:extLst>
              <a:ext uri="{FF2B5EF4-FFF2-40B4-BE49-F238E27FC236}">
                <a16:creationId xmlns:a16="http://schemas.microsoft.com/office/drawing/2014/main" id="{2EBDFA5B-A80F-4966-A758-63AA52EFF1F7}"/>
              </a:ext>
            </a:extLst>
          </p:cNvPr>
          <p:cNvSpPr>
            <a:spLocks noChangeAspect="1" noChangeArrowheads="1"/>
          </p:cNvSpPr>
          <p:nvPr/>
        </p:nvSpPr>
        <p:spPr bwMode="auto">
          <a:xfrm>
            <a:off x="2256205" y="1763712"/>
            <a:ext cx="4207794" cy="2628709"/>
          </a:xfrm>
          <a:prstGeom prst="homePlate">
            <a:avLst>
              <a:gd name="adj" fmla="val 32103"/>
            </a:avLst>
          </a:prstGeom>
          <a:solidFill>
            <a:schemeClr val="accent1"/>
          </a:soli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382317491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Barriers/</a:t>
            </a:r>
            <a:br>
              <a:rPr lang="en-US" dirty="0"/>
            </a:br>
            <a:r>
              <a:rPr lang="en-US" dirty="0"/>
              <a:t>Resistance</a:t>
            </a:r>
          </a:p>
        </p:txBody>
      </p:sp>
      <p:sp>
        <p:nvSpPr>
          <p:cNvPr id="2" name="Freeform: Shape 1">
            <a:hlinkClick r:id="rId3" action="ppaction://hlinksldjump"/>
            <a:extLst>
              <a:ext uri="{FF2B5EF4-FFF2-40B4-BE49-F238E27FC236}">
                <a16:creationId xmlns:a16="http://schemas.microsoft.com/office/drawing/2014/main" id="{300C6EC9-AF3D-4669-BDE2-C9558BA9E28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Text Placeholder 4">
            <a:extLst>
              <a:ext uri="{FF2B5EF4-FFF2-40B4-BE49-F238E27FC236}">
                <a16:creationId xmlns:a16="http://schemas.microsoft.com/office/drawing/2014/main" id="{0EA9E4B1-1995-434D-A8EE-91519E0D6F68}"/>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t>Part of </a:t>
            </a:r>
            <a:b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b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hlinkClick r:id="rId4" action="ppaction://hlinksldjump">
                  <a:extLst>
                    <a:ext uri="{A12FA001-AC4F-418D-AE19-62706E023703}">
                      <ahyp:hlinkClr xmlns:ahyp="http://schemas.microsoft.com/office/drawing/2018/hyperlinkcolor" val="tx"/>
                    </a:ext>
                  </a:extLst>
                </a:hlinkClick>
              </a:rPr>
              <a:t>Dynamic Concept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6" name="Rectangle 5">
            <a:hlinkClick r:id="rId3" action="ppaction://hlinksldjump"/>
            <a:extLst>
              <a:ext uri="{FF2B5EF4-FFF2-40B4-BE49-F238E27FC236}">
                <a16:creationId xmlns:a16="http://schemas.microsoft.com/office/drawing/2014/main" id="{07FE9945-972B-461B-9CE1-7F613FDF685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91711696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arriers/Obstacles 1</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626B5BB-0B37-4456-999B-8DF5549FDE3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7" name="Rectangle 4">
            <a:extLst>
              <a:ext uri="{FF2B5EF4-FFF2-40B4-BE49-F238E27FC236}">
                <a16:creationId xmlns:a16="http://schemas.microsoft.com/office/drawing/2014/main" id="{DB3928D1-C925-4698-94B5-74A2E8165B1E}"/>
              </a:ext>
            </a:extLst>
          </p:cNvPr>
          <p:cNvSpPr>
            <a:spLocks noChangeAspect="1" noChangeArrowheads="1"/>
          </p:cNvSpPr>
          <p:nvPr/>
        </p:nvSpPr>
        <p:spPr bwMode="auto">
          <a:xfrm>
            <a:off x="1822450" y="3382522"/>
            <a:ext cx="8540750" cy="552239"/>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US" dirty="0">
                <a:solidFill>
                  <a:schemeClr val="bg1"/>
                </a:solidFill>
                <a:latin typeface="+mj-lt"/>
              </a:rPr>
              <a:t>Text</a:t>
            </a:r>
            <a:endParaRPr lang="en-US" cap="all" dirty="0">
              <a:solidFill>
                <a:schemeClr val="bg1"/>
              </a:solidFill>
              <a:latin typeface="+mj-lt"/>
            </a:endParaRPr>
          </a:p>
        </p:txBody>
      </p:sp>
      <p:sp>
        <p:nvSpPr>
          <p:cNvPr id="9" name="Rectangle 5">
            <a:extLst>
              <a:ext uri="{FF2B5EF4-FFF2-40B4-BE49-F238E27FC236}">
                <a16:creationId xmlns:a16="http://schemas.microsoft.com/office/drawing/2014/main" id="{23DB85F3-D47E-438D-90CD-C7F84C0FCE44}"/>
              </a:ext>
            </a:extLst>
          </p:cNvPr>
          <p:cNvSpPr>
            <a:spLocks noChangeAspect="1" noChangeArrowheads="1"/>
          </p:cNvSpPr>
          <p:nvPr/>
        </p:nvSpPr>
        <p:spPr bwMode="auto">
          <a:xfrm>
            <a:off x="4438650" y="1376362"/>
            <a:ext cx="3323160" cy="1871640"/>
          </a:xfrm>
          <a:prstGeom prst="rect">
            <a:avLst/>
          </a:prstGeom>
          <a:solidFill>
            <a:schemeClr val="tx2">
              <a:lumMod val="20000"/>
              <a:lumOff val="80000"/>
            </a:schemeClr>
          </a:solidFill>
          <a:ln w="6350">
            <a:noFill/>
            <a:miter lim="800000"/>
            <a:headEnd/>
            <a:tailEnd/>
          </a:ln>
          <a:effectLst/>
        </p:spPr>
        <p:txBody>
          <a:bodyPr lIns="180000" tIns="180000" rIns="72000" bIns="72000"/>
          <a:lstStyle/>
          <a:p>
            <a:pPr marL="174625" indent="-174625" algn="l" eaLnBrk="0" hangingPunct="0">
              <a:spcBef>
                <a:spcPts val="100"/>
              </a:spcBef>
              <a:spcAft>
                <a:spcPts val="100"/>
              </a:spcAft>
              <a:buClr>
                <a:schemeClr val="tx1"/>
              </a:buClr>
            </a:pPr>
            <a:r>
              <a:rPr lang="en-US" dirty="0">
                <a:latin typeface="+mj-lt"/>
              </a:rPr>
              <a:t>Text</a:t>
            </a:r>
            <a:endParaRPr lang="en-US" cap="all" dirty="0">
              <a:latin typeface="+mj-lt"/>
            </a:endParaRP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p:txBody>
      </p:sp>
      <p:sp>
        <p:nvSpPr>
          <p:cNvPr id="13" name="AutoShape 6">
            <a:extLst>
              <a:ext uri="{FF2B5EF4-FFF2-40B4-BE49-F238E27FC236}">
                <a16:creationId xmlns:a16="http://schemas.microsoft.com/office/drawing/2014/main" id="{542D213C-8747-4F2B-AFA8-622E61DAE537}"/>
              </a:ext>
            </a:extLst>
          </p:cNvPr>
          <p:cNvSpPr>
            <a:spLocks noChangeAspect="1" noChangeArrowheads="1"/>
          </p:cNvSpPr>
          <p:nvPr/>
        </p:nvSpPr>
        <p:spPr bwMode="auto">
          <a:xfrm rot="5400000">
            <a:off x="5105921" y="3402010"/>
            <a:ext cx="1988617" cy="3323160"/>
          </a:xfrm>
          <a:prstGeom prst="homePlate">
            <a:avLst>
              <a:gd name="adj" fmla="val 25000"/>
            </a:avLst>
          </a:prstGeom>
          <a:solidFill>
            <a:schemeClr val="tx2">
              <a:lumMod val="20000"/>
              <a:lumOff val="80000"/>
            </a:schemeClr>
          </a:solidFill>
          <a:ln w="6350">
            <a:noFill/>
            <a:miter lim="800000"/>
            <a:headEnd/>
            <a:tailEnd/>
          </a:ln>
          <a:effectLst/>
        </p:spPr>
        <p:txBody>
          <a:bodyPr rot="10800000" vert="eaVert" lIns="72000" tIns="72000" rIns="72000" bIns="72000" anchor="ctr" anchorCtr="1"/>
          <a:lstStyle/>
          <a:p>
            <a:pPr eaLnBrk="0" hangingPunct="0">
              <a:spcBef>
                <a:spcPct val="0"/>
              </a:spcBef>
              <a:buClr>
                <a:schemeClr val="folHlink"/>
              </a:buClr>
            </a:pPr>
            <a:endParaRPr lang="de-DE"/>
          </a:p>
        </p:txBody>
      </p:sp>
    </p:spTree>
    <p:extLst>
      <p:ext uri="{BB962C8B-B14F-4D97-AF65-F5344CB8AC3E}">
        <p14:creationId xmlns:p14="http://schemas.microsoft.com/office/powerpoint/2010/main" val="319552640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arriers/Obstacles 2</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7071A19-14F3-4CFE-ABB5-BDFF7670D73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AutoShape 4">
            <a:extLst>
              <a:ext uri="{FF2B5EF4-FFF2-40B4-BE49-F238E27FC236}">
                <a16:creationId xmlns:a16="http://schemas.microsoft.com/office/drawing/2014/main" id="{47F98249-0B95-48C7-8939-074A68E71A64}"/>
              </a:ext>
            </a:extLst>
          </p:cNvPr>
          <p:cNvSpPr>
            <a:spLocks noChangeAspect="1" noChangeArrowheads="1"/>
          </p:cNvSpPr>
          <p:nvPr/>
        </p:nvSpPr>
        <p:spPr bwMode="auto">
          <a:xfrm>
            <a:off x="1410570" y="1955592"/>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dirty="0"/>
              <a:t>Text</a:t>
            </a:r>
          </a:p>
        </p:txBody>
      </p:sp>
      <p:sp>
        <p:nvSpPr>
          <p:cNvPr id="16" name="AutoShape 7">
            <a:extLst>
              <a:ext uri="{FF2B5EF4-FFF2-40B4-BE49-F238E27FC236}">
                <a16:creationId xmlns:a16="http://schemas.microsoft.com/office/drawing/2014/main" id="{91A991E6-E420-4E97-9897-B982B76996D0}"/>
              </a:ext>
            </a:extLst>
          </p:cNvPr>
          <p:cNvSpPr>
            <a:spLocks noChangeAspect="1" noChangeArrowheads="1"/>
          </p:cNvSpPr>
          <p:nvPr/>
        </p:nvSpPr>
        <p:spPr bwMode="auto">
          <a:xfrm>
            <a:off x="3632334" y="1955592"/>
            <a:ext cx="1935480" cy="1022794"/>
          </a:xfrm>
          <a:prstGeom prst="homePlate">
            <a:avLst>
              <a:gd name="adj" fmla="val 33247"/>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18" name="AutoShape 8">
            <a:extLst>
              <a:ext uri="{FF2B5EF4-FFF2-40B4-BE49-F238E27FC236}">
                <a16:creationId xmlns:a16="http://schemas.microsoft.com/office/drawing/2014/main" id="{E1EC64FA-ECCE-442A-BBF1-11B6159500D4}"/>
              </a:ext>
            </a:extLst>
          </p:cNvPr>
          <p:cNvSpPr>
            <a:spLocks noChangeAspect="1" noChangeArrowheads="1"/>
          </p:cNvSpPr>
          <p:nvPr/>
        </p:nvSpPr>
        <p:spPr bwMode="auto">
          <a:xfrm>
            <a:off x="2281660" y="3134986"/>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20" name="AutoShape 9">
            <a:extLst>
              <a:ext uri="{FF2B5EF4-FFF2-40B4-BE49-F238E27FC236}">
                <a16:creationId xmlns:a16="http://schemas.microsoft.com/office/drawing/2014/main" id="{D70AFC99-679E-4274-9C32-181A124CE3DA}"/>
              </a:ext>
            </a:extLst>
          </p:cNvPr>
          <p:cNvSpPr>
            <a:spLocks noChangeAspect="1" noChangeArrowheads="1"/>
          </p:cNvSpPr>
          <p:nvPr/>
        </p:nvSpPr>
        <p:spPr bwMode="auto">
          <a:xfrm>
            <a:off x="4505870" y="3134986"/>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22" name="AutoShape 10">
            <a:extLst>
              <a:ext uri="{FF2B5EF4-FFF2-40B4-BE49-F238E27FC236}">
                <a16:creationId xmlns:a16="http://schemas.microsoft.com/office/drawing/2014/main" id="{D5338148-B2AE-4F12-A226-3ACF61809F0F}"/>
              </a:ext>
            </a:extLst>
          </p:cNvPr>
          <p:cNvSpPr>
            <a:spLocks noChangeAspect="1" noChangeArrowheads="1"/>
          </p:cNvSpPr>
          <p:nvPr/>
        </p:nvSpPr>
        <p:spPr bwMode="auto">
          <a:xfrm>
            <a:off x="1315144" y="4314381"/>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24" name="AutoShape 11">
            <a:extLst>
              <a:ext uri="{FF2B5EF4-FFF2-40B4-BE49-F238E27FC236}">
                <a16:creationId xmlns:a16="http://schemas.microsoft.com/office/drawing/2014/main" id="{73516520-8417-4BFB-AE2E-97F33F232469}"/>
              </a:ext>
            </a:extLst>
          </p:cNvPr>
          <p:cNvSpPr>
            <a:spLocks noChangeAspect="1" noChangeArrowheads="1"/>
          </p:cNvSpPr>
          <p:nvPr/>
        </p:nvSpPr>
        <p:spPr bwMode="auto">
          <a:xfrm>
            <a:off x="3539353" y="4314381"/>
            <a:ext cx="1933033" cy="1022794"/>
          </a:xfrm>
          <a:prstGeom prst="homePlate">
            <a:avLst>
              <a:gd name="adj" fmla="val 33205"/>
            </a:avLst>
          </a:prstGeom>
          <a:solidFill>
            <a:schemeClr val="tx2">
              <a:lumMod val="20000"/>
              <a:lumOff val="80000"/>
            </a:schemeClr>
          </a:solidFill>
          <a:ln w="6350">
            <a:noFill/>
            <a:miter lim="800000"/>
            <a:headEnd/>
            <a:tailEnd/>
          </a:ln>
          <a:effectLst/>
        </p:spPr>
        <p:txBody>
          <a:bodyPr lIns="72000" tIns="72000" rIns="72000" bIns="72000" anchor="ctr" anchorCtr="1"/>
          <a:lstStyle/>
          <a:p>
            <a:pPr eaLnBrk="0" hangingPunct="0"/>
            <a:r>
              <a:rPr lang="en-US"/>
              <a:t>Text</a:t>
            </a:r>
          </a:p>
        </p:txBody>
      </p:sp>
      <p:sp>
        <p:nvSpPr>
          <p:cNvPr id="26" name="AutoShape 7">
            <a:extLst>
              <a:ext uri="{FF2B5EF4-FFF2-40B4-BE49-F238E27FC236}">
                <a16:creationId xmlns:a16="http://schemas.microsoft.com/office/drawing/2014/main" id="{FB8F6737-CC12-4EEB-9C5C-AA5D72E3E5EA}"/>
              </a:ext>
            </a:extLst>
          </p:cNvPr>
          <p:cNvSpPr>
            <a:spLocks noChangeAspect="1" noChangeArrowheads="1"/>
          </p:cNvSpPr>
          <p:nvPr/>
        </p:nvSpPr>
        <p:spPr bwMode="auto">
          <a:xfrm>
            <a:off x="7302321" y="1955592"/>
            <a:ext cx="3413313" cy="3381583"/>
          </a:xfrm>
          <a:prstGeom prst="homePlate">
            <a:avLst>
              <a:gd name="adj" fmla="val 32103"/>
            </a:avLst>
          </a:prstGeom>
          <a:solidFill>
            <a:schemeClr val="accent3"/>
          </a:solidFill>
          <a:ln w="6350">
            <a:noFill/>
            <a:miter lim="800000"/>
            <a:headEnd/>
            <a:tailEnd/>
          </a:ln>
          <a:effectLst/>
        </p:spPr>
        <p:txBody>
          <a:bodyPr lIns="216000" tIns="180000" rIns="72000" bIns="72000" anchor="t"/>
          <a:lstStyle/>
          <a:p>
            <a:pPr marL="0" lvl="1" algn="l" eaLnBrk="0" hangingPunct="0">
              <a:lnSpc>
                <a:spcPct val="85000"/>
              </a:lnSpc>
              <a:spcBef>
                <a:spcPts val="100"/>
              </a:spcBef>
              <a:spcAft>
                <a:spcPts val="300"/>
              </a:spcAft>
              <a:buClr>
                <a:schemeClr val="folHlink"/>
              </a:buClr>
            </a:pPr>
            <a:r>
              <a:rPr lang="en-US" sz="1600" b="1" dirty="0">
                <a:solidFill>
                  <a:schemeClr val="bg1"/>
                </a:solidFill>
                <a:latin typeface="+mj-lt"/>
              </a:rPr>
              <a:t>Text</a:t>
            </a:r>
            <a:endParaRPr lang="en-US" sz="1600" b="1" cap="all" dirty="0">
              <a:solidFill>
                <a:schemeClr val="bg1"/>
              </a:solidFill>
              <a:latin typeface="+mj-lt"/>
            </a:endParaRPr>
          </a:p>
          <a:p>
            <a:pPr marL="177800" lvl="1" indent="-177800" algn="l" eaLnBrk="0" hangingPunct="0">
              <a:spcBef>
                <a:spcPts val="100"/>
              </a:spcBef>
              <a:spcAft>
                <a:spcPts val="100"/>
              </a:spcAft>
              <a:buFontTx/>
              <a:buChar char="•"/>
            </a:pPr>
            <a:r>
              <a:rPr lang="en-US" sz="1600" dirty="0">
                <a:solidFill>
                  <a:schemeClr val="bg1"/>
                </a:solidFill>
              </a:rPr>
              <a:t>Text</a:t>
            </a:r>
          </a:p>
          <a:p>
            <a:pPr marL="177800" lvl="1" indent="-177800" algn="l" eaLnBrk="0" hangingPunct="0">
              <a:spcBef>
                <a:spcPts val="100"/>
              </a:spcBef>
              <a:spcAft>
                <a:spcPts val="100"/>
              </a:spcAft>
              <a:buFontTx/>
              <a:buChar char="•"/>
            </a:pPr>
            <a:r>
              <a:rPr lang="en-US" sz="1600" dirty="0">
                <a:solidFill>
                  <a:schemeClr val="bg1"/>
                </a:solidFill>
              </a:rPr>
              <a:t>Text</a:t>
            </a:r>
          </a:p>
          <a:p>
            <a:pPr marL="177800" lvl="1" indent="-177800" algn="l" eaLnBrk="0" hangingPunct="0">
              <a:spcBef>
                <a:spcPts val="100"/>
              </a:spcBef>
              <a:spcAft>
                <a:spcPts val="100"/>
              </a:spcAft>
              <a:buFontTx/>
              <a:buChar char="•"/>
            </a:pPr>
            <a:r>
              <a:rPr lang="en-US" sz="1600" dirty="0">
                <a:solidFill>
                  <a:schemeClr val="bg1"/>
                </a:solidFill>
              </a:rPr>
              <a:t>Text</a:t>
            </a:r>
          </a:p>
        </p:txBody>
      </p:sp>
      <p:sp>
        <p:nvSpPr>
          <p:cNvPr id="28" name="Rectangle 27">
            <a:extLst>
              <a:ext uri="{FF2B5EF4-FFF2-40B4-BE49-F238E27FC236}">
                <a16:creationId xmlns:a16="http://schemas.microsoft.com/office/drawing/2014/main" id="{EE850A22-4F3B-41B0-9CF9-E16CF2D25657}"/>
              </a:ext>
            </a:extLst>
          </p:cNvPr>
          <p:cNvSpPr>
            <a:spLocks noChangeAspect="1" noChangeArrowheads="1"/>
          </p:cNvSpPr>
          <p:nvPr/>
        </p:nvSpPr>
        <p:spPr bwMode="auto">
          <a:xfrm rot="16200000">
            <a:off x="4459096" y="3370264"/>
            <a:ext cx="4823032" cy="552239"/>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US" dirty="0">
                <a:solidFill>
                  <a:schemeClr val="bg1"/>
                </a:solidFill>
                <a:latin typeface="+mj-lt"/>
              </a:rPr>
              <a:t>Text</a:t>
            </a:r>
            <a:endParaRPr lang="en-US" cap="all" dirty="0">
              <a:solidFill>
                <a:schemeClr val="bg1"/>
              </a:solidFill>
              <a:latin typeface="+mj-lt"/>
            </a:endParaRPr>
          </a:p>
        </p:txBody>
      </p:sp>
    </p:spTree>
    <p:extLst>
      <p:ext uri="{BB962C8B-B14F-4D97-AF65-F5344CB8AC3E}">
        <p14:creationId xmlns:p14="http://schemas.microsoft.com/office/powerpoint/2010/main" val="98998267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arriers/Obstacles 3</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Rectangle 12">
            <a:extLst>
              <a:ext uri="{FF2B5EF4-FFF2-40B4-BE49-F238E27FC236}">
                <a16:creationId xmlns:a16="http://schemas.microsoft.com/office/drawing/2014/main" id="{FF8C1697-04DE-471B-8C84-59C7C6EAC653}"/>
              </a:ext>
            </a:extLst>
          </p:cNvPr>
          <p:cNvSpPr>
            <a:spLocks noChangeAspect="1" noChangeArrowheads="1"/>
          </p:cNvSpPr>
          <p:nvPr/>
        </p:nvSpPr>
        <p:spPr bwMode="auto">
          <a:xfrm rot="16200000">
            <a:off x="4459096" y="3370264"/>
            <a:ext cx="4823032" cy="552239"/>
          </a:xfrm>
          <a:prstGeom prst="rect">
            <a:avLst/>
          </a:prstGeom>
          <a:solidFill>
            <a:schemeClr val="accent2"/>
          </a:solidFill>
          <a:ln w="19050">
            <a:noFill/>
          </a:ln>
        </p:spPr>
        <p:txBody>
          <a:bodyPr vert="horz" wrap="square" lIns="0" tIns="36000" rIns="0" bIns="0"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Graphik Black"/>
                <a:ea typeface="+mn-ea"/>
                <a:cs typeface="+mn-cs"/>
              </a:rPr>
              <a:t>Text</a:t>
            </a:r>
            <a:endParaRPr kumimoji="0" lang="en-US" sz="1800" b="0" i="0" u="none" strike="noStrike" kern="0" cap="all" spc="0" normalizeH="0" baseline="0" noProof="0" dirty="0">
              <a:ln>
                <a:noFill/>
              </a:ln>
              <a:solidFill>
                <a:srgbClr val="FFFFFF"/>
              </a:solidFill>
              <a:effectLst/>
              <a:uLnTx/>
              <a:uFillTx/>
              <a:latin typeface="Graphik Black"/>
              <a:ea typeface="+mn-ea"/>
              <a:cs typeface="+mn-cs"/>
            </a:endParaRPr>
          </a:p>
        </p:txBody>
      </p:sp>
      <p:sp>
        <p:nvSpPr>
          <p:cNvPr id="14" name="Arrow: Right 13">
            <a:extLst>
              <a:ext uri="{FF2B5EF4-FFF2-40B4-BE49-F238E27FC236}">
                <a16:creationId xmlns:a16="http://schemas.microsoft.com/office/drawing/2014/main" id="{8284E2DA-70EA-4DB8-82C2-62823AA0660F}"/>
              </a:ext>
            </a:extLst>
          </p:cNvPr>
          <p:cNvSpPr/>
          <p:nvPr/>
        </p:nvSpPr>
        <p:spPr>
          <a:xfrm>
            <a:off x="1822450" y="2568146"/>
            <a:ext cx="4772039" cy="2156475"/>
          </a:xfrm>
          <a:prstGeom prst="rightArrow">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AU" sz="1800" b="1" i="0" u="none" strike="noStrike" kern="0" cap="none" spc="0" normalizeH="0" baseline="0" noProof="0" dirty="0">
                <a:ln>
                  <a:noFill/>
                </a:ln>
                <a:solidFill>
                  <a:schemeClr val="accent1"/>
                </a:solidFill>
                <a:effectLst/>
                <a:uLnTx/>
                <a:uFillTx/>
                <a:latin typeface="Graphik Black"/>
                <a:ea typeface="+mn-ea"/>
                <a:cs typeface="+mn-cs"/>
              </a:rPr>
              <a:t>Text</a:t>
            </a:r>
            <a:endParaRPr kumimoji="0" lang="en-GB" sz="1800" b="1" i="0" u="none" strike="noStrike" kern="0" cap="all" spc="0" normalizeH="0" baseline="0" noProof="0" dirty="0">
              <a:ln>
                <a:noFill/>
              </a:ln>
              <a:solidFill>
                <a:schemeClr val="accent1"/>
              </a:solidFill>
              <a:effectLst/>
              <a:uLnTx/>
              <a:uFillTx/>
              <a:latin typeface="Graphik Black"/>
              <a:ea typeface="+mn-ea"/>
              <a:cs typeface="+mn-cs"/>
            </a:endParaRPr>
          </a:p>
        </p:txBody>
      </p:sp>
      <p:sp>
        <p:nvSpPr>
          <p:cNvPr id="3" name="Rectangle 2">
            <a:hlinkClick r:id="rId3" action="ppaction://hlinksldjump"/>
            <a:extLst>
              <a:ext uri="{FF2B5EF4-FFF2-40B4-BE49-F238E27FC236}">
                <a16:creationId xmlns:a16="http://schemas.microsoft.com/office/drawing/2014/main" id="{DDA9411B-ED6A-4D27-99AA-B3D5D30EE8F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7905323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890A2D-8919-AE4B-BFEB-B007F9CF551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5480167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Penetrable Barrier</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3">
            <a:extLst>
              <a:ext uri="{FF2B5EF4-FFF2-40B4-BE49-F238E27FC236}">
                <a16:creationId xmlns:a16="http://schemas.microsoft.com/office/drawing/2014/main" id="{AD2D030E-557A-4B20-AA20-7DB942E8BFD7}"/>
              </a:ext>
            </a:extLst>
          </p:cNvPr>
          <p:cNvSpPr>
            <a:spLocks noChangeAspect="1" noChangeArrowheads="1"/>
          </p:cNvSpPr>
          <p:nvPr/>
        </p:nvSpPr>
        <p:spPr bwMode="auto">
          <a:xfrm>
            <a:off x="1822450" y="4151313"/>
            <a:ext cx="8557156" cy="552239"/>
          </a:xfrm>
          <a:prstGeom prst="rect">
            <a:avLst/>
          </a:prstGeom>
          <a:solidFill>
            <a:schemeClr val="accent2"/>
          </a:solidFill>
          <a:ln w="19050">
            <a:noFill/>
          </a:ln>
        </p:spPr>
        <p:txBody>
          <a:bodyPr vert="horz" wrap="square" lIns="0" tIns="36000" rIns="0" bIns="0"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Graphik Black"/>
                <a:ea typeface="+mn-ea"/>
                <a:cs typeface="+mn-cs"/>
              </a:rPr>
              <a:t>Text</a:t>
            </a:r>
            <a:endParaRPr kumimoji="0" lang="en-US" sz="1800" b="0" i="0" u="none" strike="noStrike" kern="0" cap="all" spc="0" normalizeH="0" baseline="0" noProof="0" dirty="0">
              <a:ln>
                <a:noFill/>
              </a:ln>
              <a:solidFill>
                <a:srgbClr val="FFFFFF"/>
              </a:solidFill>
              <a:effectLst/>
              <a:uLnTx/>
              <a:uFillTx/>
              <a:latin typeface="Graphik Black"/>
              <a:ea typeface="+mn-ea"/>
              <a:cs typeface="+mn-cs"/>
            </a:endParaRPr>
          </a:p>
        </p:txBody>
      </p:sp>
      <p:sp>
        <p:nvSpPr>
          <p:cNvPr id="5" name="AutoShape 5">
            <a:extLst>
              <a:ext uri="{FF2B5EF4-FFF2-40B4-BE49-F238E27FC236}">
                <a16:creationId xmlns:a16="http://schemas.microsoft.com/office/drawing/2014/main" id="{444FE11E-B55C-48DC-B757-0C64F937143A}"/>
              </a:ext>
            </a:extLst>
          </p:cNvPr>
          <p:cNvSpPr>
            <a:spLocks noChangeArrowheads="1"/>
          </p:cNvSpPr>
          <p:nvPr/>
        </p:nvSpPr>
        <p:spPr bwMode="auto">
          <a:xfrm rot="16200000" flipH="1">
            <a:off x="2003630" y="2020276"/>
            <a:ext cx="3048000" cy="2265000"/>
          </a:xfrm>
          <a:prstGeom prst="rightArrow">
            <a:avLst>
              <a:gd name="adj1" fmla="val 50000"/>
              <a:gd name="adj2" fmla="val 45387"/>
            </a:avLst>
          </a:prstGeom>
          <a:solidFill>
            <a:srgbClr val="E4E7E7"/>
          </a:solidFill>
          <a:ln w="6350">
            <a:noFill/>
            <a:miter lim="800000"/>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AutoShape 6">
            <a:extLst>
              <a:ext uri="{FF2B5EF4-FFF2-40B4-BE49-F238E27FC236}">
                <a16:creationId xmlns:a16="http://schemas.microsoft.com/office/drawing/2014/main" id="{F0D0DAAE-121F-416F-832A-917C2A7DF837}"/>
              </a:ext>
            </a:extLst>
          </p:cNvPr>
          <p:cNvSpPr>
            <a:spLocks noChangeArrowheads="1"/>
          </p:cNvSpPr>
          <p:nvPr/>
        </p:nvSpPr>
        <p:spPr bwMode="auto">
          <a:xfrm rot="16200000" flipH="1">
            <a:off x="7150427" y="2020277"/>
            <a:ext cx="3048000" cy="2264998"/>
          </a:xfrm>
          <a:prstGeom prst="rightArrow">
            <a:avLst>
              <a:gd name="adj1" fmla="val 50000"/>
              <a:gd name="adj2" fmla="val 45387"/>
            </a:avLst>
          </a:prstGeom>
          <a:solidFill>
            <a:srgbClr val="E4E7E7"/>
          </a:solidFill>
          <a:ln w="6350">
            <a:noFill/>
            <a:miter lim="800000"/>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4DDFA08A-BF9D-4811-9326-E03067E82F7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66154543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Resistance 1</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Freeform 4">
            <a:extLst>
              <a:ext uri="{FF2B5EF4-FFF2-40B4-BE49-F238E27FC236}">
                <a16:creationId xmlns:a16="http://schemas.microsoft.com/office/drawing/2014/main" id="{EA42DAAC-640C-4717-A200-2045D86637C4}"/>
              </a:ext>
            </a:extLst>
          </p:cNvPr>
          <p:cNvSpPr>
            <a:spLocks/>
          </p:cNvSpPr>
          <p:nvPr/>
        </p:nvSpPr>
        <p:spPr bwMode="auto">
          <a:xfrm>
            <a:off x="7097976" y="2694450"/>
            <a:ext cx="3416633" cy="1840220"/>
          </a:xfrm>
          <a:custGeom>
            <a:avLst/>
            <a:gdLst/>
            <a:ahLst/>
            <a:cxnLst>
              <a:cxn ang="0">
                <a:pos x="0" y="280"/>
              </a:cxn>
              <a:cxn ang="0">
                <a:pos x="1533" y="280"/>
              </a:cxn>
              <a:cxn ang="0">
                <a:pos x="1533" y="0"/>
              </a:cxn>
              <a:cxn ang="0">
                <a:pos x="2139" y="567"/>
              </a:cxn>
              <a:cxn ang="0">
                <a:pos x="1533" y="1134"/>
              </a:cxn>
              <a:cxn ang="0">
                <a:pos x="1533" y="854"/>
              </a:cxn>
              <a:cxn ang="0">
                <a:pos x="0" y="854"/>
              </a:cxn>
              <a:cxn ang="0">
                <a:pos x="0" y="280"/>
              </a:cxn>
            </a:cxnLst>
            <a:rect l="0" t="0" r="r" b="b"/>
            <a:pathLst>
              <a:path w="2140" h="1135">
                <a:moveTo>
                  <a:pt x="0" y="280"/>
                </a:moveTo>
                <a:lnTo>
                  <a:pt x="1533" y="280"/>
                </a:lnTo>
                <a:lnTo>
                  <a:pt x="1533" y="0"/>
                </a:lnTo>
                <a:lnTo>
                  <a:pt x="2139" y="567"/>
                </a:lnTo>
                <a:lnTo>
                  <a:pt x="1533" y="1134"/>
                </a:lnTo>
                <a:lnTo>
                  <a:pt x="1533" y="854"/>
                </a:lnTo>
                <a:lnTo>
                  <a:pt x="0" y="854"/>
                </a:lnTo>
                <a:lnTo>
                  <a:pt x="0" y="280"/>
                </a:lnTo>
              </a:path>
            </a:pathLst>
          </a:custGeom>
          <a:solidFill>
            <a:schemeClr val="accent1"/>
          </a:solidFill>
          <a:ln w="6350" cap="rnd" cmpd="sng">
            <a:noFill/>
            <a:prstDash val="solid"/>
            <a:round/>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5" name="Freeform 5">
            <a:extLst>
              <a:ext uri="{FF2B5EF4-FFF2-40B4-BE49-F238E27FC236}">
                <a16:creationId xmlns:a16="http://schemas.microsoft.com/office/drawing/2014/main" id="{9228E409-B521-439F-B39A-1AEBE0E9A838}"/>
              </a:ext>
            </a:extLst>
          </p:cNvPr>
          <p:cNvSpPr>
            <a:spLocks/>
          </p:cNvSpPr>
          <p:nvPr/>
        </p:nvSpPr>
        <p:spPr bwMode="auto">
          <a:xfrm>
            <a:off x="1468438" y="2694450"/>
            <a:ext cx="3927089" cy="1840220"/>
          </a:xfrm>
          <a:custGeom>
            <a:avLst/>
            <a:gdLst/>
            <a:ahLst/>
            <a:cxnLst>
              <a:cxn ang="0">
                <a:pos x="0" y="280"/>
              </a:cxn>
              <a:cxn ang="0">
                <a:pos x="1852" y="280"/>
              </a:cxn>
              <a:cxn ang="0">
                <a:pos x="1852" y="0"/>
              </a:cxn>
              <a:cxn ang="0">
                <a:pos x="2458" y="567"/>
              </a:cxn>
              <a:cxn ang="0">
                <a:pos x="1852" y="1134"/>
              </a:cxn>
              <a:cxn ang="0">
                <a:pos x="1852" y="854"/>
              </a:cxn>
              <a:cxn ang="0">
                <a:pos x="0" y="854"/>
              </a:cxn>
              <a:cxn ang="0">
                <a:pos x="0" y="280"/>
              </a:cxn>
            </a:cxnLst>
            <a:rect l="0" t="0" r="r" b="b"/>
            <a:pathLst>
              <a:path w="2459" h="1135">
                <a:moveTo>
                  <a:pt x="0" y="280"/>
                </a:moveTo>
                <a:lnTo>
                  <a:pt x="1852" y="280"/>
                </a:lnTo>
                <a:lnTo>
                  <a:pt x="1852" y="0"/>
                </a:lnTo>
                <a:lnTo>
                  <a:pt x="2458" y="567"/>
                </a:lnTo>
                <a:lnTo>
                  <a:pt x="1852" y="1134"/>
                </a:lnTo>
                <a:lnTo>
                  <a:pt x="1852" y="854"/>
                </a:lnTo>
                <a:lnTo>
                  <a:pt x="0" y="854"/>
                </a:lnTo>
                <a:lnTo>
                  <a:pt x="0" y="280"/>
                </a:lnTo>
              </a:path>
            </a:pathLst>
          </a:custGeom>
          <a:solidFill>
            <a:schemeClr val="accent1"/>
          </a:solidFill>
          <a:ln w="6350" cap="rnd" cmpd="sng">
            <a:noFill/>
            <a:round/>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Freeform 6">
            <a:extLst>
              <a:ext uri="{FF2B5EF4-FFF2-40B4-BE49-F238E27FC236}">
                <a16:creationId xmlns:a16="http://schemas.microsoft.com/office/drawing/2014/main" id="{FD86DF9F-60AB-4817-805D-267B60406F0C}"/>
              </a:ext>
            </a:extLst>
          </p:cNvPr>
          <p:cNvSpPr>
            <a:spLocks/>
          </p:cNvSpPr>
          <p:nvPr/>
        </p:nvSpPr>
        <p:spPr bwMode="auto">
          <a:xfrm>
            <a:off x="5026282" y="1562007"/>
            <a:ext cx="2423944" cy="4117975"/>
          </a:xfrm>
          <a:custGeom>
            <a:avLst/>
            <a:gdLst/>
            <a:ahLst/>
            <a:cxnLst>
              <a:cxn ang="0">
                <a:pos x="0" y="8"/>
              </a:cxn>
              <a:cxn ang="0">
                <a:pos x="0" y="910"/>
              </a:cxn>
              <a:cxn ang="0">
                <a:pos x="389" y="1277"/>
              </a:cxn>
              <a:cxn ang="0">
                <a:pos x="34" y="1604"/>
              </a:cxn>
              <a:cxn ang="0">
                <a:pos x="34" y="2538"/>
              </a:cxn>
              <a:cxn ang="0">
                <a:pos x="1446" y="2538"/>
              </a:cxn>
              <a:cxn ang="0">
                <a:pos x="1446" y="0"/>
              </a:cxn>
              <a:cxn ang="0">
                <a:pos x="0" y="0"/>
              </a:cxn>
              <a:cxn ang="0">
                <a:pos x="0" y="8"/>
              </a:cxn>
            </a:cxnLst>
            <a:rect l="0" t="0" r="r" b="b"/>
            <a:pathLst>
              <a:path w="1447" h="2539">
                <a:moveTo>
                  <a:pt x="0" y="8"/>
                </a:moveTo>
                <a:lnTo>
                  <a:pt x="0" y="910"/>
                </a:lnTo>
                <a:lnTo>
                  <a:pt x="389" y="1277"/>
                </a:lnTo>
                <a:lnTo>
                  <a:pt x="34" y="1604"/>
                </a:lnTo>
                <a:lnTo>
                  <a:pt x="34" y="2538"/>
                </a:lnTo>
                <a:lnTo>
                  <a:pt x="1446" y="2538"/>
                </a:lnTo>
                <a:lnTo>
                  <a:pt x="1446" y="0"/>
                </a:lnTo>
                <a:lnTo>
                  <a:pt x="0" y="0"/>
                </a:lnTo>
                <a:lnTo>
                  <a:pt x="0" y="8"/>
                </a:lnTo>
              </a:path>
            </a:pathLst>
          </a:custGeom>
          <a:solidFill>
            <a:schemeClr val="accent3">
              <a:lumMod val="20000"/>
              <a:lumOff val="80000"/>
            </a:schemeClr>
          </a:solidFill>
          <a:ln w="6350" cap="rnd" cmpd="sng">
            <a:noFill/>
            <a:prstDash val="solid"/>
            <a:round/>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Text Box 8">
            <a:extLst>
              <a:ext uri="{FF2B5EF4-FFF2-40B4-BE49-F238E27FC236}">
                <a16:creationId xmlns:a16="http://schemas.microsoft.com/office/drawing/2014/main" id="{1B08FFD8-5561-4697-B152-0C93E7F57E0C}"/>
              </a:ext>
            </a:extLst>
          </p:cNvPr>
          <p:cNvSpPr txBox="1">
            <a:spLocks noChangeArrowheads="1"/>
          </p:cNvSpPr>
          <p:nvPr/>
        </p:nvSpPr>
        <p:spPr bwMode="auto">
          <a:xfrm>
            <a:off x="1601172" y="3447268"/>
            <a:ext cx="3165138" cy="237373"/>
          </a:xfrm>
          <a:prstGeom prst="rect">
            <a:avLst/>
          </a:prstGeom>
          <a:noFill/>
          <a:ln w="19050">
            <a:noFill/>
          </a:ln>
        </p:spPr>
        <p:txBody>
          <a:bodyPr vert="horz" wrap="square" lIns="0" tIns="36000" rIns="0" bIns="0" rtlCol="0" anchor="ctr">
            <a:noAutofit/>
          </a:bodyPr>
          <a:lstStyle>
            <a:defPPr>
              <a:defRPr lang="en-US"/>
            </a:defPPr>
            <a:lvl1pPr algn="ctr">
              <a:lnSpc>
                <a:spcPct val="85000"/>
              </a:lnSpc>
              <a:defRPr cap="all">
                <a:solidFill>
                  <a:schemeClr val="bg1"/>
                </a:solidFill>
                <a:latin typeface="+mj-lt"/>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raphik Black"/>
                <a:ea typeface="+mn-ea"/>
                <a:cs typeface="+mn-cs"/>
              </a:rPr>
              <a:t>Text</a:t>
            </a:r>
            <a:endParaRPr kumimoji="0" lang="en-US" sz="1800" b="0" i="0" u="none" strike="noStrike" kern="1200" cap="all" spc="0" normalizeH="0" baseline="0" noProof="0" dirty="0">
              <a:ln>
                <a:noFill/>
              </a:ln>
              <a:solidFill>
                <a:srgbClr val="FFFFFF"/>
              </a:solidFill>
              <a:effectLst/>
              <a:uLnTx/>
              <a:uFillTx/>
              <a:latin typeface="Graphik Black"/>
              <a:ea typeface="+mn-ea"/>
              <a:cs typeface="+mn-cs"/>
            </a:endParaRPr>
          </a:p>
        </p:txBody>
      </p:sp>
      <p:sp>
        <p:nvSpPr>
          <p:cNvPr id="8" name="Text Box 9">
            <a:extLst>
              <a:ext uri="{FF2B5EF4-FFF2-40B4-BE49-F238E27FC236}">
                <a16:creationId xmlns:a16="http://schemas.microsoft.com/office/drawing/2014/main" id="{452610BF-BBEC-4D68-AECB-B5B517E3BB98}"/>
              </a:ext>
            </a:extLst>
          </p:cNvPr>
          <p:cNvSpPr txBox="1">
            <a:spLocks noChangeArrowheads="1"/>
          </p:cNvSpPr>
          <p:nvPr/>
        </p:nvSpPr>
        <p:spPr bwMode="auto">
          <a:xfrm>
            <a:off x="5940301" y="1969515"/>
            <a:ext cx="707777" cy="374237"/>
          </a:xfrm>
          <a:prstGeom prst="rect">
            <a:avLst/>
          </a:prstGeom>
          <a:noFill/>
          <a:ln w="6350">
            <a:noFill/>
            <a:miter lim="800000"/>
            <a:headEnd/>
            <a:tailEnd/>
          </a:ln>
          <a:effectLst/>
        </p:spPr>
        <p:txBody>
          <a:bodyPr lIns="0" tIns="0" rIns="0" bIns="0">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Graphik"/>
                <a:ea typeface="+mn-ea"/>
                <a:cs typeface="+mn-cs"/>
              </a:rPr>
              <a:t>Text</a:t>
            </a:r>
          </a:p>
        </p:txBody>
      </p:sp>
      <p:sp>
        <p:nvSpPr>
          <p:cNvPr id="9" name="AutoShape 10">
            <a:extLst>
              <a:ext uri="{FF2B5EF4-FFF2-40B4-BE49-F238E27FC236}">
                <a16:creationId xmlns:a16="http://schemas.microsoft.com/office/drawing/2014/main" id="{3C3B0199-8ED8-4DE5-AC25-F4AD3E49A08E}"/>
              </a:ext>
            </a:extLst>
          </p:cNvPr>
          <p:cNvSpPr>
            <a:spLocks noChangeArrowheads="1"/>
          </p:cNvSpPr>
          <p:nvPr/>
        </p:nvSpPr>
        <p:spPr bwMode="auto">
          <a:xfrm>
            <a:off x="5395527" y="1594179"/>
            <a:ext cx="1814483" cy="997321"/>
          </a:xfrm>
          <a:prstGeom prst="leftArrow">
            <a:avLst>
              <a:gd name="adj1" fmla="val 50537"/>
              <a:gd name="adj2" fmla="val 54623"/>
            </a:avLst>
          </a:prstGeom>
          <a:solidFill>
            <a:schemeClr val="accent3"/>
          </a:solidFill>
          <a:ln w="6350">
            <a:noFill/>
            <a:miter lim="800000"/>
            <a:headEnd type="none" w="sm" len="sm"/>
            <a:tailEnd type="none" w="sm" len="sm"/>
          </a:ln>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Graphik"/>
                <a:ea typeface="+mn-ea"/>
                <a:cs typeface="+mn-cs"/>
              </a:rPr>
              <a:t>Text</a:t>
            </a:r>
          </a:p>
        </p:txBody>
      </p:sp>
      <p:sp>
        <p:nvSpPr>
          <p:cNvPr id="11" name="AutoShape 11">
            <a:extLst>
              <a:ext uri="{FF2B5EF4-FFF2-40B4-BE49-F238E27FC236}">
                <a16:creationId xmlns:a16="http://schemas.microsoft.com/office/drawing/2014/main" id="{0934B1B2-2F47-4623-9E7B-4EA55283DE47}"/>
              </a:ext>
            </a:extLst>
          </p:cNvPr>
          <p:cNvSpPr>
            <a:spLocks noChangeArrowheads="1"/>
          </p:cNvSpPr>
          <p:nvPr/>
        </p:nvSpPr>
        <p:spPr bwMode="auto">
          <a:xfrm>
            <a:off x="5395527" y="2612949"/>
            <a:ext cx="1814483" cy="997323"/>
          </a:xfrm>
          <a:prstGeom prst="leftArrow">
            <a:avLst>
              <a:gd name="adj1" fmla="val 50537"/>
              <a:gd name="adj2" fmla="val 54623"/>
            </a:avLst>
          </a:prstGeom>
          <a:solidFill>
            <a:schemeClr val="accent3"/>
          </a:solidFill>
          <a:ln w="6350">
            <a:noFill/>
            <a:miter lim="800000"/>
            <a:headEnd type="none" w="sm" len="sm"/>
            <a:tailEnd type="none" w="sm" len="sm"/>
          </a:ln>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12" name="AutoShape 12">
            <a:extLst>
              <a:ext uri="{FF2B5EF4-FFF2-40B4-BE49-F238E27FC236}">
                <a16:creationId xmlns:a16="http://schemas.microsoft.com/office/drawing/2014/main" id="{0B2206A6-C9CA-4CB6-9B99-0C27CD47AEB7}"/>
              </a:ext>
            </a:extLst>
          </p:cNvPr>
          <p:cNvSpPr>
            <a:spLocks noChangeArrowheads="1"/>
          </p:cNvSpPr>
          <p:nvPr/>
        </p:nvSpPr>
        <p:spPr bwMode="auto">
          <a:xfrm>
            <a:off x="5395527" y="3631719"/>
            <a:ext cx="1814483" cy="997321"/>
          </a:xfrm>
          <a:prstGeom prst="leftArrow">
            <a:avLst>
              <a:gd name="adj1" fmla="val 50537"/>
              <a:gd name="adj2" fmla="val 54623"/>
            </a:avLst>
          </a:prstGeom>
          <a:solidFill>
            <a:schemeClr val="accent3"/>
          </a:solidFill>
          <a:ln w="6350">
            <a:noFill/>
            <a:miter lim="800000"/>
            <a:headEnd type="none" w="sm" len="sm"/>
            <a:tailEnd type="none" w="sm" len="sm"/>
          </a:ln>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Graphik"/>
                <a:ea typeface="+mn-ea"/>
                <a:cs typeface="+mn-cs"/>
              </a:rPr>
              <a:t>Text</a:t>
            </a:r>
          </a:p>
        </p:txBody>
      </p:sp>
      <p:sp>
        <p:nvSpPr>
          <p:cNvPr id="13" name="AutoShape 13">
            <a:extLst>
              <a:ext uri="{FF2B5EF4-FFF2-40B4-BE49-F238E27FC236}">
                <a16:creationId xmlns:a16="http://schemas.microsoft.com/office/drawing/2014/main" id="{EC392535-5F78-4157-B265-EBB1DC67A569}"/>
              </a:ext>
            </a:extLst>
          </p:cNvPr>
          <p:cNvSpPr>
            <a:spLocks noChangeArrowheads="1"/>
          </p:cNvSpPr>
          <p:nvPr/>
        </p:nvSpPr>
        <p:spPr bwMode="auto">
          <a:xfrm>
            <a:off x="5395527" y="4650488"/>
            <a:ext cx="1814483" cy="997323"/>
          </a:xfrm>
          <a:prstGeom prst="leftArrow">
            <a:avLst>
              <a:gd name="adj1" fmla="val 50537"/>
              <a:gd name="adj2" fmla="val 54623"/>
            </a:avLst>
          </a:prstGeom>
          <a:solidFill>
            <a:schemeClr val="accent3"/>
          </a:solidFill>
          <a:ln w="6350">
            <a:noFill/>
            <a:miter lim="800000"/>
            <a:headEnd type="none" w="sm" len="sm"/>
            <a:tailEnd type="none" w="sm" len="sm"/>
          </a:ln>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334F5188-CA00-4F82-A5B0-B097742F21A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0640890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Resistance 2</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837FD3EC-E230-4146-A1D5-DB8A1196014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AutoShape 4">
            <a:extLst>
              <a:ext uri="{FF2B5EF4-FFF2-40B4-BE49-F238E27FC236}">
                <a16:creationId xmlns:a16="http://schemas.microsoft.com/office/drawing/2014/main" id="{3F263377-C1E7-4C5E-8742-6C655F7336D3}"/>
              </a:ext>
            </a:extLst>
          </p:cNvPr>
          <p:cNvSpPr>
            <a:spLocks noChangeArrowheads="1"/>
          </p:cNvSpPr>
          <p:nvPr/>
        </p:nvSpPr>
        <p:spPr bwMode="auto">
          <a:xfrm>
            <a:off x="1822897" y="1367243"/>
            <a:ext cx="6157530" cy="3969932"/>
          </a:xfrm>
          <a:prstGeom prst="homePlate">
            <a:avLst>
              <a:gd name="adj" fmla="val 17194"/>
            </a:avLst>
          </a:prstGeom>
          <a:pattFill prst="dkUpDiag">
            <a:fgClr>
              <a:schemeClr val="accent1">
                <a:lumMod val="20000"/>
                <a:lumOff val="80000"/>
              </a:schemeClr>
            </a:fgClr>
            <a:bgClr>
              <a:schemeClr val="bg1"/>
            </a:bgClr>
          </a:pattFill>
          <a:ln w="6350">
            <a:noFill/>
            <a:miter lim="800000"/>
            <a:headEnd/>
            <a:tailEnd/>
          </a:ln>
          <a:effectLst/>
        </p:spPr>
        <p:txBody>
          <a:bodyPr wrap="none" lIns="180000" tIns="180000" rIns="72000" bIns="72000"/>
          <a:lstStyle/>
          <a:p>
            <a:pPr marL="0" lvl="1" eaLnBrk="0" hangingPunct="0">
              <a:lnSpc>
                <a:spcPct val="85000"/>
              </a:lnSpc>
              <a:spcBef>
                <a:spcPts val="100"/>
              </a:spcBef>
              <a:spcAft>
                <a:spcPts val="300"/>
              </a:spcAft>
              <a:buClr>
                <a:schemeClr val="folHlink"/>
              </a:buClr>
            </a:pPr>
            <a:r>
              <a:rPr lang="en-US" sz="1600" b="1" dirty="0">
                <a:solidFill>
                  <a:schemeClr val="accent1"/>
                </a:solidFill>
                <a:latin typeface="+mj-lt"/>
              </a:rPr>
              <a:t>Text</a:t>
            </a:r>
            <a:endParaRPr lang="en-US" sz="1600" b="1" cap="all" dirty="0">
              <a:solidFill>
                <a:schemeClr val="accent1"/>
              </a:solidFill>
              <a:latin typeface="+mj-lt"/>
            </a:endParaRPr>
          </a:p>
        </p:txBody>
      </p:sp>
      <p:sp>
        <p:nvSpPr>
          <p:cNvPr id="12" name="AutoShape 5">
            <a:extLst>
              <a:ext uri="{FF2B5EF4-FFF2-40B4-BE49-F238E27FC236}">
                <a16:creationId xmlns:a16="http://schemas.microsoft.com/office/drawing/2014/main" id="{01B94EAD-79C3-4AAF-8A6C-07890269CAB4}"/>
              </a:ext>
            </a:extLst>
          </p:cNvPr>
          <p:cNvSpPr>
            <a:spLocks noChangeArrowheads="1"/>
          </p:cNvSpPr>
          <p:nvPr/>
        </p:nvSpPr>
        <p:spPr bwMode="auto">
          <a:xfrm flipH="1">
            <a:off x="4512519" y="1930711"/>
            <a:ext cx="2589146" cy="2842996"/>
          </a:xfrm>
          <a:prstGeom prst="chevron">
            <a:avLst>
              <a:gd name="adj" fmla="val 23315"/>
            </a:avLst>
          </a:prstGeom>
          <a:solidFill>
            <a:schemeClr val="accent1">
              <a:lumMod val="60000"/>
              <a:lumOff val="40000"/>
            </a:schemeClr>
          </a:solidFill>
          <a:ln w="6350">
            <a:noFill/>
            <a:miter lim="800000"/>
            <a:headEnd/>
            <a:tailEnd/>
          </a:ln>
          <a:effectLst/>
        </p:spPr>
        <p:txBody>
          <a:bodyPr wrap="none" lIns="180000" tIns="180000" rIns="72000" bIns="72000" anchor="t"/>
          <a:lstStyle/>
          <a:p>
            <a:pPr marL="0" lvl="1" indent="-179388" eaLnBrk="0" hangingPunct="0">
              <a:lnSpc>
                <a:spcPct val="85000"/>
              </a:lnSpc>
              <a:spcBef>
                <a:spcPts val="100"/>
              </a:spcBef>
              <a:spcAft>
                <a:spcPts val="300"/>
              </a:spcAft>
              <a:buClr>
                <a:schemeClr val="folHlink"/>
              </a:buClr>
            </a:pPr>
            <a:r>
              <a:rPr lang="en-US" sz="1600" b="1" dirty="0">
                <a:solidFill>
                  <a:schemeClr val="bg1"/>
                </a:solidFill>
                <a:latin typeface="+mj-lt"/>
              </a:rPr>
              <a:t>Text</a:t>
            </a:r>
            <a:endParaRPr lang="en-US" sz="1600" b="1" cap="all" dirty="0">
              <a:solidFill>
                <a:schemeClr val="bg1"/>
              </a:solidFill>
              <a:latin typeface="+mj-lt"/>
            </a:endParaRPr>
          </a:p>
          <a:p>
            <a:pPr marL="177800" lvl="1" indent="-177800" eaLnBrk="0" hangingPunct="0">
              <a:spcBef>
                <a:spcPts val="100"/>
              </a:spcBef>
              <a:spcAft>
                <a:spcPts val="100"/>
              </a:spcAft>
              <a:buFontTx/>
              <a:buChar char="•"/>
            </a:pPr>
            <a:r>
              <a:rPr lang="en-US" sz="1600" dirty="0">
                <a:solidFill>
                  <a:schemeClr val="bg1"/>
                </a:solidFill>
              </a:rPr>
              <a:t>Text</a:t>
            </a:r>
          </a:p>
          <a:p>
            <a:pPr marL="177800" lvl="1" indent="-177800" eaLnBrk="0" hangingPunct="0">
              <a:spcBef>
                <a:spcPts val="100"/>
              </a:spcBef>
              <a:spcAft>
                <a:spcPts val="100"/>
              </a:spcAft>
              <a:buFontTx/>
              <a:buChar char="•"/>
            </a:pPr>
            <a:r>
              <a:rPr lang="en-US" sz="1600" dirty="0">
                <a:solidFill>
                  <a:schemeClr val="bg1"/>
                </a:solidFill>
              </a:rPr>
              <a:t>Text</a:t>
            </a:r>
          </a:p>
          <a:p>
            <a:pPr marL="177800" lvl="1" indent="-177800" eaLnBrk="0" hangingPunct="0">
              <a:spcBef>
                <a:spcPts val="100"/>
              </a:spcBef>
              <a:spcAft>
                <a:spcPts val="100"/>
              </a:spcAft>
              <a:buFontTx/>
              <a:buChar char="•"/>
            </a:pPr>
            <a:r>
              <a:rPr lang="en-US" sz="1600" dirty="0">
                <a:solidFill>
                  <a:schemeClr val="bg1"/>
                </a:solidFill>
              </a:rPr>
              <a:t>Text</a:t>
            </a:r>
          </a:p>
        </p:txBody>
      </p:sp>
      <p:sp>
        <p:nvSpPr>
          <p:cNvPr id="14" name="AutoShape 6">
            <a:extLst>
              <a:ext uri="{FF2B5EF4-FFF2-40B4-BE49-F238E27FC236}">
                <a16:creationId xmlns:a16="http://schemas.microsoft.com/office/drawing/2014/main" id="{D0CF278F-32A3-4979-AD82-A4E5E45F215D}"/>
              </a:ext>
            </a:extLst>
          </p:cNvPr>
          <p:cNvSpPr>
            <a:spLocks noChangeArrowheads="1"/>
          </p:cNvSpPr>
          <p:nvPr/>
        </p:nvSpPr>
        <p:spPr bwMode="auto">
          <a:xfrm flipH="1">
            <a:off x="2232212" y="1930711"/>
            <a:ext cx="2586823" cy="2842996"/>
          </a:xfrm>
          <a:prstGeom prst="chevron">
            <a:avLst>
              <a:gd name="adj" fmla="val 23315"/>
            </a:avLst>
          </a:prstGeom>
          <a:solidFill>
            <a:schemeClr val="accent1"/>
          </a:solidFill>
          <a:ln w="6350">
            <a:noFill/>
            <a:miter lim="800000"/>
            <a:headEnd/>
            <a:tailEnd/>
          </a:ln>
          <a:effectLst/>
        </p:spPr>
        <p:txBody>
          <a:bodyPr wrap="none" lIns="180000" tIns="180000" rIns="72000" bIns="72000" anchor="t"/>
          <a:lstStyle/>
          <a:p>
            <a:pPr marL="0" lvl="1" indent="-179388" eaLnBrk="0" hangingPunct="0">
              <a:lnSpc>
                <a:spcPct val="85000"/>
              </a:lnSpc>
              <a:spcBef>
                <a:spcPts val="100"/>
              </a:spcBef>
              <a:spcAft>
                <a:spcPts val="300"/>
              </a:spcAft>
              <a:buClr>
                <a:schemeClr val="folHlink"/>
              </a:buClr>
            </a:pPr>
            <a:r>
              <a:rPr lang="en-US" sz="1600" b="1" dirty="0">
                <a:solidFill>
                  <a:schemeClr val="bg1"/>
                </a:solidFill>
                <a:latin typeface="+mj-lt"/>
              </a:rPr>
              <a:t>Text</a:t>
            </a:r>
            <a:endParaRPr lang="en-US" sz="1600" b="1" cap="all" dirty="0">
              <a:solidFill>
                <a:schemeClr val="bg1"/>
              </a:solidFill>
              <a:latin typeface="+mj-lt"/>
            </a:endParaRPr>
          </a:p>
          <a:p>
            <a:pPr marL="177800" lvl="1" indent="-177800" eaLnBrk="0" hangingPunct="0">
              <a:spcBef>
                <a:spcPts val="100"/>
              </a:spcBef>
              <a:spcAft>
                <a:spcPts val="100"/>
              </a:spcAft>
              <a:buFontTx/>
              <a:buChar char="•"/>
            </a:pPr>
            <a:r>
              <a:rPr lang="en-US" sz="1600" dirty="0">
                <a:solidFill>
                  <a:schemeClr val="bg1"/>
                </a:solidFill>
              </a:rPr>
              <a:t>Text</a:t>
            </a:r>
          </a:p>
          <a:p>
            <a:pPr marL="177800" lvl="1" indent="-177800" eaLnBrk="0" hangingPunct="0">
              <a:spcBef>
                <a:spcPts val="100"/>
              </a:spcBef>
              <a:spcAft>
                <a:spcPts val="100"/>
              </a:spcAft>
              <a:buFontTx/>
              <a:buChar char="•"/>
            </a:pPr>
            <a:r>
              <a:rPr lang="en-US" sz="1600" dirty="0">
                <a:solidFill>
                  <a:schemeClr val="bg1"/>
                </a:solidFill>
              </a:rPr>
              <a:t>Text</a:t>
            </a:r>
          </a:p>
          <a:p>
            <a:pPr marL="177800" lvl="1" indent="-177800" eaLnBrk="0" hangingPunct="0">
              <a:spcBef>
                <a:spcPts val="100"/>
              </a:spcBef>
              <a:spcAft>
                <a:spcPts val="100"/>
              </a:spcAft>
              <a:buFontTx/>
              <a:buChar char="•"/>
            </a:pPr>
            <a:r>
              <a:rPr lang="en-US" sz="1600" dirty="0">
                <a:solidFill>
                  <a:schemeClr val="bg1"/>
                </a:solidFill>
              </a:rPr>
              <a:t>Text</a:t>
            </a:r>
          </a:p>
        </p:txBody>
      </p:sp>
      <p:sp>
        <p:nvSpPr>
          <p:cNvPr id="16" name="Oval 6">
            <a:extLst>
              <a:ext uri="{FF2B5EF4-FFF2-40B4-BE49-F238E27FC236}">
                <a16:creationId xmlns:a16="http://schemas.microsoft.com/office/drawing/2014/main" id="{B3374019-C48C-4928-AC00-A0E41BE4B69C}"/>
              </a:ext>
            </a:extLst>
          </p:cNvPr>
          <p:cNvSpPr>
            <a:spLocks noChangeArrowheads="1"/>
          </p:cNvSpPr>
          <p:nvPr/>
        </p:nvSpPr>
        <p:spPr bwMode="auto">
          <a:xfrm>
            <a:off x="8110157" y="2209745"/>
            <a:ext cx="2262568" cy="2284929"/>
          </a:xfrm>
          <a:prstGeom prst="ellipse">
            <a:avLst/>
          </a:prstGeom>
          <a:solidFill>
            <a:schemeClr val="accent3"/>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endParaRPr lang="en-US" b="1" cap="all" dirty="0">
              <a:solidFill>
                <a:schemeClr val="bg1"/>
              </a:solidFill>
              <a:latin typeface="+mj-lt"/>
            </a:endParaRPr>
          </a:p>
        </p:txBody>
      </p:sp>
    </p:spTree>
    <p:extLst>
      <p:ext uri="{BB962C8B-B14F-4D97-AF65-F5344CB8AC3E}">
        <p14:creationId xmlns:p14="http://schemas.microsoft.com/office/powerpoint/2010/main" val="111946252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Penetration</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F35CEF74-D7B9-49EB-AC0D-ABC75F299C2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Rectangle 4">
            <a:extLst>
              <a:ext uri="{FF2B5EF4-FFF2-40B4-BE49-F238E27FC236}">
                <a16:creationId xmlns:a16="http://schemas.microsoft.com/office/drawing/2014/main" id="{82E78ADB-33ED-4831-951F-0D9C85C23033}"/>
              </a:ext>
            </a:extLst>
          </p:cNvPr>
          <p:cNvSpPr>
            <a:spLocks noChangeArrowheads="1"/>
          </p:cNvSpPr>
          <p:nvPr/>
        </p:nvSpPr>
        <p:spPr bwMode="auto">
          <a:xfrm>
            <a:off x="3444481" y="1373672"/>
            <a:ext cx="5027166" cy="4684228"/>
          </a:xfrm>
          <a:prstGeom prst="rect">
            <a:avLst/>
          </a:prstGeom>
          <a:pattFill prst="dkUpDiag">
            <a:fgClr>
              <a:schemeClr val="tx2">
                <a:lumMod val="40000"/>
                <a:lumOff val="60000"/>
              </a:schemeClr>
            </a:fgClr>
            <a:bgClr>
              <a:schemeClr val="bg1"/>
            </a:bgClr>
          </a:pattFill>
          <a:ln w="6350">
            <a:noFill/>
            <a:miter lim="800000"/>
            <a:headEnd/>
            <a:tailEnd/>
          </a:ln>
          <a:effectLst/>
        </p:spPr>
        <p:txBody>
          <a:bodyPr lIns="180000" tIns="180000" rIns="72000" bIns="72000"/>
          <a:lstStyle/>
          <a:p>
            <a:pPr marL="174625" indent="-174625" eaLnBrk="0" hangingPunct="0">
              <a:spcBef>
                <a:spcPts val="100"/>
              </a:spcBef>
              <a:spcAft>
                <a:spcPts val="100"/>
              </a:spcAft>
              <a:buClr>
                <a:schemeClr val="tx1"/>
              </a:buClr>
            </a:pPr>
            <a:r>
              <a:rPr lang="en-US" b="1" dirty="0">
                <a:latin typeface="+mj-lt"/>
              </a:rPr>
              <a:t>Text</a:t>
            </a:r>
            <a:endParaRPr lang="en-US" b="1" cap="all" dirty="0">
              <a:latin typeface="+mj-lt"/>
            </a:endParaRPr>
          </a:p>
          <a:p>
            <a:pPr marL="174625" indent="-174625" eaLnBrk="0" hangingPunct="0">
              <a:spcBef>
                <a:spcPts val="100"/>
              </a:spcBef>
              <a:spcAft>
                <a:spcPts val="100"/>
              </a:spcAft>
              <a:buClr>
                <a:schemeClr val="tx1"/>
              </a:buClr>
              <a:buFontTx/>
              <a:buChar char="•"/>
            </a:pPr>
            <a:r>
              <a:rPr lang="en-US" dirty="0"/>
              <a:t>Text</a:t>
            </a:r>
          </a:p>
          <a:p>
            <a:pPr marL="174625" indent="-174625" eaLnBrk="0" hangingPunct="0">
              <a:spcBef>
                <a:spcPts val="100"/>
              </a:spcBef>
              <a:spcAft>
                <a:spcPts val="100"/>
              </a:spcAft>
              <a:buClr>
                <a:schemeClr val="tx1"/>
              </a:buClr>
              <a:buFontTx/>
              <a:buChar char="•"/>
            </a:pPr>
            <a:r>
              <a:rPr lang="en-US" dirty="0"/>
              <a:t>Text</a:t>
            </a:r>
          </a:p>
          <a:p>
            <a:pPr marL="174625" indent="-174625" eaLnBrk="0" hangingPunct="0">
              <a:spcBef>
                <a:spcPts val="100"/>
              </a:spcBef>
              <a:spcAft>
                <a:spcPts val="100"/>
              </a:spcAft>
              <a:buClr>
                <a:schemeClr val="tx1"/>
              </a:buClr>
              <a:buFontTx/>
              <a:buChar char="•"/>
            </a:pPr>
            <a:r>
              <a:rPr lang="en-US" dirty="0"/>
              <a:t>Text</a:t>
            </a:r>
          </a:p>
        </p:txBody>
      </p:sp>
      <p:sp>
        <p:nvSpPr>
          <p:cNvPr id="14" name="Freeform 6">
            <a:extLst>
              <a:ext uri="{FF2B5EF4-FFF2-40B4-BE49-F238E27FC236}">
                <a16:creationId xmlns:a16="http://schemas.microsoft.com/office/drawing/2014/main" id="{CC84F464-1172-45CE-974A-ACC258173DD8}"/>
              </a:ext>
            </a:extLst>
          </p:cNvPr>
          <p:cNvSpPr>
            <a:spLocks/>
          </p:cNvSpPr>
          <p:nvPr/>
        </p:nvSpPr>
        <p:spPr bwMode="auto">
          <a:xfrm>
            <a:off x="8232517" y="2275687"/>
            <a:ext cx="1906565" cy="2877965"/>
          </a:xfrm>
          <a:custGeom>
            <a:avLst/>
            <a:gdLst/>
            <a:ahLst/>
            <a:cxnLst>
              <a:cxn ang="0">
                <a:pos x="0" y="234"/>
              </a:cxn>
              <a:cxn ang="0">
                <a:pos x="266" y="234"/>
              </a:cxn>
              <a:cxn ang="0">
                <a:pos x="266" y="0"/>
              </a:cxn>
              <a:cxn ang="0">
                <a:pos x="502" y="429"/>
              </a:cxn>
              <a:cxn ang="0">
                <a:pos x="266" y="854"/>
              </a:cxn>
              <a:cxn ang="0">
                <a:pos x="266" y="625"/>
              </a:cxn>
              <a:cxn ang="0">
                <a:pos x="0" y="625"/>
              </a:cxn>
              <a:cxn ang="0">
                <a:pos x="0" y="234"/>
              </a:cxn>
            </a:cxnLst>
            <a:rect l="0" t="0" r="r" b="b"/>
            <a:pathLst>
              <a:path w="503" h="855">
                <a:moveTo>
                  <a:pt x="0" y="234"/>
                </a:moveTo>
                <a:lnTo>
                  <a:pt x="266" y="234"/>
                </a:lnTo>
                <a:lnTo>
                  <a:pt x="266" y="0"/>
                </a:lnTo>
                <a:lnTo>
                  <a:pt x="502" y="429"/>
                </a:lnTo>
                <a:lnTo>
                  <a:pt x="266" y="854"/>
                </a:lnTo>
                <a:lnTo>
                  <a:pt x="266" y="625"/>
                </a:lnTo>
                <a:lnTo>
                  <a:pt x="0" y="625"/>
                </a:lnTo>
                <a:lnTo>
                  <a:pt x="0" y="234"/>
                </a:lnTo>
              </a:path>
            </a:pathLst>
          </a:custGeom>
          <a:solidFill>
            <a:schemeClr val="accent2"/>
          </a:solidFill>
          <a:ln w="6350" cap="rnd" cmpd="sng">
            <a:noFill/>
            <a:prstDash val="solid"/>
            <a:round/>
            <a:headEnd/>
            <a:tailEnd/>
          </a:ln>
          <a:effectLst/>
        </p:spPr>
        <p:txBody>
          <a:bodyPr lIns="72000" tIns="72000" rIns="72000" bIns="72000"/>
          <a:lstStyle/>
          <a:p>
            <a:endParaRPr lang="de-DE" sz="1400"/>
          </a:p>
        </p:txBody>
      </p:sp>
      <p:sp>
        <p:nvSpPr>
          <p:cNvPr id="16" name="Freeform 7">
            <a:extLst>
              <a:ext uri="{FF2B5EF4-FFF2-40B4-BE49-F238E27FC236}">
                <a16:creationId xmlns:a16="http://schemas.microsoft.com/office/drawing/2014/main" id="{0FE5DB96-BB6E-4ACE-B8DB-2F0E7CBC2743}"/>
              </a:ext>
            </a:extLst>
          </p:cNvPr>
          <p:cNvSpPr>
            <a:spLocks/>
          </p:cNvSpPr>
          <p:nvPr/>
        </p:nvSpPr>
        <p:spPr bwMode="auto">
          <a:xfrm>
            <a:off x="2528769" y="3052671"/>
            <a:ext cx="1515181" cy="1321766"/>
          </a:xfrm>
          <a:custGeom>
            <a:avLst/>
            <a:gdLst/>
            <a:ahLst/>
            <a:cxnLst>
              <a:cxn ang="0">
                <a:pos x="0" y="0"/>
              </a:cxn>
              <a:cxn ang="0">
                <a:pos x="351" y="0"/>
              </a:cxn>
              <a:cxn ang="0">
                <a:pos x="351" y="392"/>
              </a:cxn>
              <a:cxn ang="0">
                <a:pos x="0" y="392"/>
              </a:cxn>
              <a:cxn ang="0">
                <a:pos x="0" y="0"/>
              </a:cxn>
            </a:cxnLst>
            <a:rect l="0" t="0" r="r" b="b"/>
            <a:pathLst>
              <a:path w="352" h="393">
                <a:moveTo>
                  <a:pt x="0" y="0"/>
                </a:moveTo>
                <a:lnTo>
                  <a:pt x="351" y="0"/>
                </a:lnTo>
                <a:lnTo>
                  <a:pt x="351" y="392"/>
                </a:lnTo>
                <a:lnTo>
                  <a:pt x="0" y="392"/>
                </a:lnTo>
                <a:lnTo>
                  <a:pt x="0" y="0"/>
                </a:lnTo>
              </a:path>
            </a:pathLst>
          </a:custGeom>
          <a:solidFill>
            <a:schemeClr val="accent2"/>
          </a:solidFill>
          <a:ln w="6350" cap="rnd" cmpd="sng">
            <a:noFill/>
            <a:prstDash val="solid"/>
            <a:round/>
            <a:headEnd/>
            <a:tailEnd/>
          </a:ln>
          <a:effectLst/>
        </p:spPr>
        <p:txBody>
          <a:bodyPr lIns="72000" tIns="72000" rIns="72000" bIns="72000"/>
          <a:lstStyle/>
          <a:p>
            <a:endParaRPr lang="de-DE" sz="1400"/>
          </a:p>
        </p:txBody>
      </p:sp>
      <p:sp>
        <p:nvSpPr>
          <p:cNvPr id="18" name="Freeform 8">
            <a:extLst>
              <a:ext uri="{FF2B5EF4-FFF2-40B4-BE49-F238E27FC236}">
                <a16:creationId xmlns:a16="http://schemas.microsoft.com/office/drawing/2014/main" id="{92FAFD15-F8BF-4FA7-8F09-AEA0C4C45908}"/>
              </a:ext>
            </a:extLst>
          </p:cNvPr>
          <p:cNvSpPr>
            <a:spLocks/>
          </p:cNvSpPr>
          <p:nvPr/>
        </p:nvSpPr>
        <p:spPr bwMode="auto">
          <a:xfrm>
            <a:off x="4539613" y="3052671"/>
            <a:ext cx="1252551" cy="1321766"/>
          </a:xfrm>
          <a:custGeom>
            <a:avLst/>
            <a:gdLst/>
            <a:ahLst/>
            <a:cxnLst>
              <a:cxn ang="0">
                <a:pos x="0" y="0"/>
              </a:cxn>
              <a:cxn ang="0">
                <a:pos x="399" y="0"/>
              </a:cxn>
              <a:cxn ang="0">
                <a:pos x="399" y="392"/>
              </a:cxn>
              <a:cxn ang="0">
                <a:pos x="0" y="392"/>
              </a:cxn>
              <a:cxn ang="0">
                <a:pos x="0" y="0"/>
              </a:cxn>
            </a:cxnLst>
            <a:rect l="0" t="0" r="r" b="b"/>
            <a:pathLst>
              <a:path w="400" h="393">
                <a:moveTo>
                  <a:pt x="0" y="0"/>
                </a:moveTo>
                <a:lnTo>
                  <a:pt x="399" y="0"/>
                </a:lnTo>
                <a:lnTo>
                  <a:pt x="399" y="392"/>
                </a:lnTo>
                <a:lnTo>
                  <a:pt x="0" y="392"/>
                </a:lnTo>
                <a:lnTo>
                  <a:pt x="0" y="0"/>
                </a:lnTo>
              </a:path>
            </a:pathLst>
          </a:custGeom>
          <a:solidFill>
            <a:schemeClr val="accent2"/>
          </a:solidFill>
          <a:ln w="6350" cap="rnd" cmpd="sng">
            <a:noFill/>
            <a:prstDash val="solid"/>
            <a:round/>
            <a:headEnd/>
            <a:tailEnd/>
          </a:ln>
          <a:effectLst/>
        </p:spPr>
        <p:txBody>
          <a:bodyPr lIns="72000" tIns="72000" rIns="72000" bIns="72000"/>
          <a:lstStyle/>
          <a:p>
            <a:endParaRPr lang="de-DE" sz="1400"/>
          </a:p>
        </p:txBody>
      </p:sp>
      <p:sp>
        <p:nvSpPr>
          <p:cNvPr id="20" name="Freeform 9">
            <a:extLst>
              <a:ext uri="{FF2B5EF4-FFF2-40B4-BE49-F238E27FC236}">
                <a16:creationId xmlns:a16="http://schemas.microsoft.com/office/drawing/2014/main" id="{9A943B2D-B316-447E-8B06-A0E8887ACEBF}"/>
              </a:ext>
            </a:extLst>
          </p:cNvPr>
          <p:cNvSpPr>
            <a:spLocks/>
          </p:cNvSpPr>
          <p:nvPr/>
        </p:nvSpPr>
        <p:spPr bwMode="auto">
          <a:xfrm>
            <a:off x="6488769" y="3052671"/>
            <a:ext cx="1254784" cy="1321766"/>
          </a:xfrm>
          <a:custGeom>
            <a:avLst/>
            <a:gdLst/>
            <a:ahLst/>
            <a:cxnLst>
              <a:cxn ang="0">
                <a:pos x="0" y="0"/>
              </a:cxn>
              <a:cxn ang="0">
                <a:pos x="400" y="0"/>
              </a:cxn>
              <a:cxn ang="0">
                <a:pos x="400" y="392"/>
              </a:cxn>
              <a:cxn ang="0">
                <a:pos x="0" y="392"/>
              </a:cxn>
              <a:cxn ang="0">
                <a:pos x="0" y="0"/>
              </a:cxn>
            </a:cxnLst>
            <a:rect l="0" t="0" r="r" b="b"/>
            <a:pathLst>
              <a:path w="401" h="393">
                <a:moveTo>
                  <a:pt x="0" y="0"/>
                </a:moveTo>
                <a:lnTo>
                  <a:pt x="400" y="0"/>
                </a:lnTo>
                <a:lnTo>
                  <a:pt x="400" y="392"/>
                </a:lnTo>
                <a:lnTo>
                  <a:pt x="0" y="392"/>
                </a:lnTo>
                <a:lnTo>
                  <a:pt x="0" y="0"/>
                </a:lnTo>
              </a:path>
            </a:pathLst>
          </a:custGeom>
          <a:solidFill>
            <a:schemeClr val="accent2"/>
          </a:solidFill>
          <a:ln w="6350" cap="rnd" cmpd="sng">
            <a:noFill/>
            <a:prstDash val="solid"/>
            <a:round/>
            <a:headEnd/>
            <a:tailEnd/>
          </a:ln>
          <a:effectLst/>
        </p:spPr>
        <p:txBody>
          <a:bodyPr lIns="72000" tIns="72000" rIns="72000" bIns="72000"/>
          <a:lstStyle/>
          <a:p>
            <a:endParaRPr lang="de-DE" sz="1400"/>
          </a:p>
        </p:txBody>
      </p:sp>
      <p:sp>
        <p:nvSpPr>
          <p:cNvPr id="22" name="Text Box 10">
            <a:extLst>
              <a:ext uri="{FF2B5EF4-FFF2-40B4-BE49-F238E27FC236}">
                <a16:creationId xmlns:a16="http://schemas.microsoft.com/office/drawing/2014/main" id="{B6FC4750-21C4-4B03-B2BB-FF7BA1B86A21}"/>
              </a:ext>
            </a:extLst>
          </p:cNvPr>
          <p:cNvSpPr txBox="1">
            <a:spLocks noChangeArrowheads="1"/>
          </p:cNvSpPr>
          <p:nvPr/>
        </p:nvSpPr>
        <p:spPr bwMode="auto">
          <a:xfrm>
            <a:off x="334963" y="3541639"/>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r"/>
            <a:r>
              <a:rPr lang="en-US" b="1" cap="none" dirty="0">
                <a:solidFill>
                  <a:schemeClr val="accent2"/>
                </a:solidFill>
              </a:rPr>
              <a:t>Text</a:t>
            </a:r>
            <a:endParaRPr lang="en-US" b="1" dirty="0">
              <a:solidFill>
                <a:schemeClr val="accent2"/>
              </a:solidFill>
            </a:endParaRPr>
          </a:p>
        </p:txBody>
      </p:sp>
    </p:spTree>
    <p:extLst>
      <p:ext uri="{BB962C8B-B14F-4D97-AF65-F5344CB8AC3E}">
        <p14:creationId xmlns:p14="http://schemas.microsoft.com/office/powerpoint/2010/main" val="400106256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Filter </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9EC1B96D-7CF5-4B82-B743-5E86A76138A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35" name="Group 34">
            <a:extLst>
              <a:ext uri="{FF2B5EF4-FFF2-40B4-BE49-F238E27FC236}">
                <a16:creationId xmlns:a16="http://schemas.microsoft.com/office/drawing/2014/main" id="{3B6B173E-A0C6-4A50-8E41-ABC156A96765}"/>
              </a:ext>
            </a:extLst>
          </p:cNvPr>
          <p:cNvGrpSpPr/>
          <p:nvPr/>
        </p:nvGrpSpPr>
        <p:grpSpPr>
          <a:xfrm>
            <a:off x="2957922" y="2236930"/>
            <a:ext cx="2817400" cy="2595298"/>
            <a:chOff x="3269142" y="1516205"/>
            <a:chExt cx="2817400" cy="2595298"/>
          </a:xfrm>
        </p:grpSpPr>
        <p:sp>
          <p:nvSpPr>
            <p:cNvPr id="36" name="Line 4">
              <a:extLst>
                <a:ext uri="{FF2B5EF4-FFF2-40B4-BE49-F238E27FC236}">
                  <a16:creationId xmlns:a16="http://schemas.microsoft.com/office/drawing/2014/main" id="{00FA432C-78E6-4DE1-8903-01909AE0972E}"/>
                </a:ext>
              </a:extLst>
            </p:cNvPr>
            <p:cNvSpPr>
              <a:spLocks noChangeShapeType="1"/>
            </p:cNvSpPr>
            <p:nvPr/>
          </p:nvSpPr>
          <p:spPr bwMode="auto">
            <a:xfrm flipH="1">
              <a:off x="3458339" y="2281221"/>
              <a:ext cx="2628202" cy="1830282"/>
            </a:xfrm>
            <a:prstGeom prst="line">
              <a:avLst/>
            </a:prstGeom>
            <a:noFill/>
            <a:ln w="12700">
              <a:solidFill>
                <a:srgbClr val="96968C">
                  <a:lumMod val="60000"/>
                  <a:lumOff val="40000"/>
                </a:srgbClr>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37" name="Line 8">
              <a:extLst>
                <a:ext uri="{FF2B5EF4-FFF2-40B4-BE49-F238E27FC236}">
                  <a16:creationId xmlns:a16="http://schemas.microsoft.com/office/drawing/2014/main" id="{8FD8152F-4E44-46A4-B239-AC139AC80DB5}"/>
                </a:ext>
              </a:extLst>
            </p:cNvPr>
            <p:cNvSpPr>
              <a:spLocks noChangeShapeType="1"/>
            </p:cNvSpPr>
            <p:nvPr/>
          </p:nvSpPr>
          <p:spPr bwMode="auto">
            <a:xfrm>
              <a:off x="3269142" y="1516205"/>
              <a:ext cx="2817400" cy="760904"/>
            </a:xfrm>
            <a:prstGeom prst="line">
              <a:avLst/>
            </a:prstGeom>
            <a:noFill/>
            <a:ln w="12700">
              <a:solidFill>
                <a:srgbClr val="96968C">
                  <a:lumMod val="60000"/>
                  <a:lumOff val="40000"/>
                </a:srgbClr>
              </a:solidFill>
              <a:round/>
              <a:headEnd type="none" w="sm" len="sm"/>
              <a:tailEnd type="none" w="sm" len="sm"/>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grpSp>
      <p:grpSp>
        <p:nvGrpSpPr>
          <p:cNvPr id="38" name="Group 37">
            <a:extLst>
              <a:ext uri="{FF2B5EF4-FFF2-40B4-BE49-F238E27FC236}">
                <a16:creationId xmlns:a16="http://schemas.microsoft.com/office/drawing/2014/main" id="{F485E7A7-4886-41C3-BEBB-0C7A150E25D9}"/>
              </a:ext>
            </a:extLst>
          </p:cNvPr>
          <p:cNvGrpSpPr/>
          <p:nvPr/>
        </p:nvGrpSpPr>
        <p:grpSpPr>
          <a:xfrm>
            <a:off x="2957922" y="3018398"/>
            <a:ext cx="2821513" cy="2035932"/>
            <a:chOff x="3269142" y="2297673"/>
            <a:chExt cx="2821513" cy="2035932"/>
          </a:xfrm>
        </p:grpSpPr>
        <p:sp>
          <p:nvSpPr>
            <p:cNvPr id="39" name="Line 5">
              <a:extLst>
                <a:ext uri="{FF2B5EF4-FFF2-40B4-BE49-F238E27FC236}">
                  <a16:creationId xmlns:a16="http://schemas.microsoft.com/office/drawing/2014/main" id="{C129BF8A-1D46-4791-BB87-4FCC770CB9DF}"/>
                </a:ext>
              </a:extLst>
            </p:cNvPr>
            <p:cNvSpPr>
              <a:spLocks noChangeShapeType="1"/>
            </p:cNvSpPr>
            <p:nvPr/>
          </p:nvSpPr>
          <p:spPr bwMode="auto">
            <a:xfrm flipH="1">
              <a:off x="4305616" y="3054464"/>
              <a:ext cx="1785039" cy="1279141"/>
            </a:xfrm>
            <a:prstGeom prst="line">
              <a:avLst/>
            </a:prstGeom>
            <a:noFill/>
            <a:ln w="12700">
              <a:solidFill>
                <a:srgbClr val="96968C">
                  <a:lumMod val="60000"/>
                  <a:lumOff val="40000"/>
                </a:srgbClr>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40" name="Line 10">
              <a:extLst>
                <a:ext uri="{FF2B5EF4-FFF2-40B4-BE49-F238E27FC236}">
                  <a16:creationId xmlns:a16="http://schemas.microsoft.com/office/drawing/2014/main" id="{F7B352BF-A1BD-4EA2-BAD3-FDF28333712B}"/>
                </a:ext>
              </a:extLst>
            </p:cNvPr>
            <p:cNvSpPr>
              <a:spLocks noChangeShapeType="1"/>
            </p:cNvSpPr>
            <p:nvPr/>
          </p:nvSpPr>
          <p:spPr bwMode="auto">
            <a:xfrm>
              <a:off x="3269142" y="2297673"/>
              <a:ext cx="2817400" cy="760904"/>
            </a:xfrm>
            <a:prstGeom prst="line">
              <a:avLst/>
            </a:prstGeom>
            <a:noFill/>
            <a:ln w="12700">
              <a:solidFill>
                <a:srgbClr val="96968C">
                  <a:lumMod val="60000"/>
                  <a:lumOff val="40000"/>
                </a:srgbClr>
              </a:solidFill>
              <a:round/>
              <a:headEnd type="none" w="sm" len="sm"/>
              <a:tailEnd type="none" w="sm" len="sm"/>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grpSp>
      <p:grpSp>
        <p:nvGrpSpPr>
          <p:cNvPr id="41" name="Group 40">
            <a:extLst>
              <a:ext uri="{FF2B5EF4-FFF2-40B4-BE49-F238E27FC236}">
                <a16:creationId xmlns:a16="http://schemas.microsoft.com/office/drawing/2014/main" id="{98862ED9-20D6-4ECC-B9C6-10BE7B53AE62}"/>
              </a:ext>
            </a:extLst>
          </p:cNvPr>
          <p:cNvGrpSpPr/>
          <p:nvPr/>
        </p:nvGrpSpPr>
        <p:grpSpPr>
          <a:xfrm>
            <a:off x="2951753" y="3795754"/>
            <a:ext cx="2827681" cy="1410757"/>
            <a:chOff x="3262973" y="3075029"/>
            <a:chExt cx="2827681" cy="1410757"/>
          </a:xfrm>
        </p:grpSpPr>
        <p:sp>
          <p:nvSpPr>
            <p:cNvPr id="42" name="Line 6">
              <a:extLst>
                <a:ext uri="{FF2B5EF4-FFF2-40B4-BE49-F238E27FC236}">
                  <a16:creationId xmlns:a16="http://schemas.microsoft.com/office/drawing/2014/main" id="{8C11F90B-BEC4-48E3-85F4-DCF39E59E895}"/>
                </a:ext>
              </a:extLst>
            </p:cNvPr>
            <p:cNvSpPr>
              <a:spLocks noChangeShapeType="1"/>
            </p:cNvSpPr>
            <p:nvPr/>
          </p:nvSpPr>
          <p:spPr bwMode="auto">
            <a:xfrm flipH="1">
              <a:off x="5196079" y="3844159"/>
              <a:ext cx="894575" cy="641627"/>
            </a:xfrm>
            <a:prstGeom prst="line">
              <a:avLst/>
            </a:prstGeom>
            <a:noFill/>
            <a:ln w="12700">
              <a:solidFill>
                <a:srgbClr val="96968C">
                  <a:lumMod val="60000"/>
                  <a:lumOff val="40000"/>
                </a:srgbClr>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43" name="Line 11">
              <a:extLst>
                <a:ext uri="{FF2B5EF4-FFF2-40B4-BE49-F238E27FC236}">
                  <a16:creationId xmlns:a16="http://schemas.microsoft.com/office/drawing/2014/main" id="{92C3F7D3-0FE5-428C-BCB6-C57E693BCFA9}"/>
                </a:ext>
              </a:extLst>
            </p:cNvPr>
            <p:cNvSpPr>
              <a:spLocks noChangeShapeType="1"/>
            </p:cNvSpPr>
            <p:nvPr/>
          </p:nvSpPr>
          <p:spPr bwMode="auto">
            <a:xfrm>
              <a:off x="3262973" y="3075029"/>
              <a:ext cx="2823569" cy="765017"/>
            </a:xfrm>
            <a:prstGeom prst="line">
              <a:avLst/>
            </a:prstGeom>
            <a:noFill/>
            <a:ln w="12700">
              <a:solidFill>
                <a:srgbClr val="96968C">
                  <a:lumMod val="60000"/>
                  <a:lumOff val="40000"/>
                </a:srgbClr>
              </a:solidFill>
              <a:round/>
              <a:headEnd type="none" w="sm" len="sm"/>
              <a:tailEnd type="none" w="sm" len="sm"/>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grpSp>
      <p:sp>
        <p:nvSpPr>
          <p:cNvPr id="44" name="Rectangle 43">
            <a:extLst>
              <a:ext uri="{FF2B5EF4-FFF2-40B4-BE49-F238E27FC236}">
                <a16:creationId xmlns:a16="http://schemas.microsoft.com/office/drawing/2014/main" id="{9D28921A-D2C8-4FFB-B7F6-27202903A833}"/>
              </a:ext>
            </a:extLst>
          </p:cNvPr>
          <p:cNvSpPr>
            <a:spLocks noChangeAspect="1" noChangeArrowheads="1"/>
          </p:cNvSpPr>
          <p:nvPr/>
        </p:nvSpPr>
        <p:spPr bwMode="auto">
          <a:xfrm rot="16200000">
            <a:off x="4042378" y="3730627"/>
            <a:ext cx="4102307" cy="552239"/>
          </a:xfrm>
          <a:prstGeom prst="rect">
            <a:avLst/>
          </a:prstGeom>
          <a:solidFill>
            <a:schemeClr val="accent2"/>
          </a:solidFill>
          <a:ln w="19050">
            <a:noFill/>
          </a:ln>
        </p:spPr>
        <p:txBody>
          <a:bodyPr vert="horz" wrap="square" lIns="0" tIns="36000" rIns="0" bIns="0" rtlCol="0" anchor="ctr">
            <a:noAutofit/>
          </a:bodyPr>
          <a:lstStyle/>
          <a:p>
            <a:pPr marL="0" marR="0" lvl="0" indent="0" algn="ctr" defTabSz="914400" eaLnBrk="1" fontAlgn="auto" latinLnBrk="0" hangingPunct="1">
              <a:lnSpc>
                <a:spcPct val="8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raphik Black"/>
            </a:endParaRPr>
          </a:p>
        </p:txBody>
      </p:sp>
      <p:sp>
        <p:nvSpPr>
          <p:cNvPr id="45" name="Line 9">
            <a:extLst>
              <a:ext uri="{FF2B5EF4-FFF2-40B4-BE49-F238E27FC236}">
                <a16:creationId xmlns:a16="http://schemas.microsoft.com/office/drawing/2014/main" id="{CCD105A2-E9BE-4A40-8843-7FA7943758A8}"/>
              </a:ext>
            </a:extLst>
          </p:cNvPr>
          <p:cNvSpPr>
            <a:spLocks noChangeShapeType="1"/>
          </p:cNvSpPr>
          <p:nvPr/>
        </p:nvSpPr>
        <p:spPr bwMode="auto">
          <a:xfrm>
            <a:off x="2951753" y="2625608"/>
            <a:ext cx="6235297" cy="1651366"/>
          </a:xfrm>
          <a:prstGeom prst="line">
            <a:avLst/>
          </a:prstGeom>
          <a:noFill/>
          <a:ln w="12700">
            <a:solidFill>
              <a:schemeClr val="accent2"/>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46" name="Line 12">
            <a:extLst>
              <a:ext uri="{FF2B5EF4-FFF2-40B4-BE49-F238E27FC236}">
                <a16:creationId xmlns:a16="http://schemas.microsoft.com/office/drawing/2014/main" id="{44221C9F-C7DF-4B3B-B479-CF4B1795D5D2}"/>
              </a:ext>
            </a:extLst>
          </p:cNvPr>
          <p:cNvSpPr>
            <a:spLocks noChangeShapeType="1"/>
          </p:cNvSpPr>
          <p:nvPr/>
        </p:nvSpPr>
        <p:spPr bwMode="auto">
          <a:xfrm>
            <a:off x="2951753" y="3405020"/>
            <a:ext cx="6235297" cy="1651367"/>
          </a:xfrm>
          <a:prstGeom prst="line">
            <a:avLst/>
          </a:prstGeom>
          <a:noFill/>
          <a:ln w="12700">
            <a:solidFill>
              <a:schemeClr val="accent2"/>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47" name="Line 13">
            <a:extLst>
              <a:ext uri="{FF2B5EF4-FFF2-40B4-BE49-F238E27FC236}">
                <a16:creationId xmlns:a16="http://schemas.microsoft.com/office/drawing/2014/main" id="{009C0EB3-C530-4147-9D4F-1D3B7E42B693}"/>
              </a:ext>
            </a:extLst>
          </p:cNvPr>
          <p:cNvSpPr>
            <a:spLocks noChangeShapeType="1"/>
          </p:cNvSpPr>
          <p:nvPr/>
        </p:nvSpPr>
        <p:spPr bwMode="auto">
          <a:xfrm>
            <a:off x="2951753" y="4186488"/>
            <a:ext cx="6235297" cy="1649310"/>
          </a:xfrm>
          <a:prstGeom prst="line">
            <a:avLst/>
          </a:prstGeom>
          <a:noFill/>
          <a:ln w="12700">
            <a:solidFill>
              <a:schemeClr val="accent2"/>
            </a:solidFill>
            <a:round/>
            <a:headEnd type="none" w="sm" len="sm"/>
            <a:tailEnd type="triangle" w="med" len="med"/>
          </a:ln>
          <a:effectLst/>
        </p:spPr>
        <p:txBody>
          <a:bodyPr lIns="45720" rIns="45720"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48" name="Text Box 10">
            <a:extLst>
              <a:ext uri="{FF2B5EF4-FFF2-40B4-BE49-F238E27FC236}">
                <a16:creationId xmlns:a16="http://schemas.microsoft.com/office/drawing/2014/main" id="{38730C00-ACD8-4887-B8F6-796D9F7ED86E}"/>
              </a:ext>
            </a:extLst>
          </p:cNvPr>
          <p:cNvSpPr txBox="1">
            <a:spLocks noChangeArrowheads="1"/>
          </p:cNvSpPr>
          <p:nvPr/>
        </p:nvSpPr>
        <p:spPr bwMode="auto">
          <a:xfrm>
            <a:off x="345018" y="2125043"/>
            <a:ext cx="2248085"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r"/>
            <a:r>
              <a:rPr lang="en-US" cap="none" dirty="0">
                <a:solidFill>
                  <a:srgbClr val="96968C"/>
                </a:solidFill>
                <a:latin typeface="Graphik Black"/>
              </a:rPr>
              <a:t>Text</a:t>
            </a:r>
          </a:p>
        </p:txBody>
      </p:sp>
      <p:sp>
        <p:nvSpPr>
          <p:cNvPr id="49" name="Text Box 10">
            <a:extLst>
              <a:ext uri="{FF2B5EF4-FFF2-40B4-BE49-F238E27FC236}">
                <a16:creationId xmlns:a16="http://schemas.microsoft.com/office/drawing/2014/main" id="{4ADFD11F-E7B1-44A4-86F2-D1D2E676C449}"/>
              </a:ext>
            </a:extLst>
          </p:cNvPr>
          <p:cNvSpPr txBox="1">
            <a:spLocks noChangeArrowheads="1"/>
          </p:cNvSpPr>
          <p:nvPr/>
        </p:nvSpPr>
        <p:spPr bwMode="auto">
          <a:xfrm>
            <a:off x="5179363" y="1522146"/>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cap="none" dirty="0">
                <a:solidFill>
                  <a:schemeClr val="accent2"/>
                </a:solidFill>
                <a:latin typeface="Graphik Black"/>
              </a:rPr>
              <a:t>Text</a:t>
            </a:r>
          </a:p>
        </p:txBody>
      </p:sp>
    </p:spTree>
    <p:extLst>
      <p:ext uri="{BB962C8B-B14F-4D97-AF65-F5344CB8AC3E}">
        <p14:creationId xmlns:p14="http://schemas.microsoft.com/office/powerpoint/2010/main" val="74404155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roken link</a:t>
            </a:r>
          </a:p>
        </p:txBody>
      </p:sp>
      <p:sp>
        <p:nvSpPr>
          <p:cNvPr id="10" name="Freeform: Shape 9">
            <a:hlinkClick r:id="rId4"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C38C8E7D-8E45-4794-B630-2EBC48CF1CD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7" name="AutoShape 7">
            <a:extLst>
              <a:ext uri="{FF2B5EF4-FFF2-40B4-BE49-F238E27FC236}">
                <a16:creationId xmlns:a16="http://schemas.microsoft.com/office/drawing/2014/main" id="{B4A8D08F-AAEA-4C64-8DC1-53CB100F061E}"/>
              </a:ext>
            </a:extLst>
          </p:cNvPr>
          <p:cNvSpPr>
            <a:spLocks noChangeArrowheads="1"/>
          </p:cNvSpPr>
          <p:nvPr/>
        </p:nvSpPr>
        <p:spPr bwMode="auto">
          <a:xfrm>
            <a:off x="2036921" y="1219199"/>
            <a:ext cx="8363008" cy="4117975"/>
          </a:xfrm>
          <a:prstGeom prst="rightArrow">
            <a:avLst>
              <a:gd name="adj1" fmla="val 50000"/>
              <a:gd name="adj2" fmla="val 50240"/>
            </a:avLst>
          </a:prstGeom>
          <a:gradFill>
            <a:gsLst>
              <a:gs pos="0">
                <a:schemeClr val="accent1"/>
              </a:gs>
              <a:gs pos="100000">
                <a:schemeClr val="accent5"/>
              </a:gs>
            </a:gsLst>
            <a:lin ang="1200000" scaled="0"/>
          </a:gradFill>
          <a:ln w="6350" algn="ctr">
            <a:solidFill>
              <a:srgbClr val="E4E7E7"/>
            </a:solidFill>
            <a:miter lim="800000"/>
            <a:headEnd/>
            <a:tailEnd/>
          </a:ln>
          <a:effectLst/>
        </p:spPr>
        <p:txBody>
          <a:bodyPr wrap="none" lIns="180000" tIns="180000" rIns="72000" bIns="72000" anchor="ctr" anchorCtr="0"/>
          <a:lstStyle/>
          <a:p>
            <a:pPr marL="0" lvl="1" eaLnBrk="0" hangingPunct="0">
              <a:lnSpc>
                <a:spcPct val="85000"/>
              </a:lnSpc>
              <a:spcBef>
                <a:spcPts val="100"/>
              </a:spcBef>
              <a:spcAft>
                <a:spcPts val="300"/>
              </a:spcAft>
              <a:buClr>
                <a:schemeClr val="folHlink"/>
              </a:buClr>
            </a:pPr>
            <a:r>
              <a:rPr lang="en-US" b="1" dirty="0">
                <a:solidFill>
                  <a:schemeClr val="bg1"/>
                </a:solidFill>
                <a:latin typeface="+mj-lt"/>
              </a:rPr>
              <a:t>Text</a:t>
            </a:r>
          </a:p>
          <a:p>
            <a:pPr marL="177800" lvl="1" indent="-177800" eaLnBrk="0" hangingPunct="0">
              <a:spcBef>
                <a:spcPts val="100"/>
              </a:spcBef>
              <a:spcAft>
                <a:spcPts val="100"/>
              </a:spcAft>
              <a:buFontTx/>
              <a:buChar char="•"/>
            </a:pPr>
            <a:r>
              <a:rPr lang="en-US" dirty="0">
                <a:solidFill>
                  <a:schemeClr val="bg1"/>
                </a:solidFill>
              </a:rPr>
              <a:t>Text</a:t>
            </a:r>
          </a:p>
          <a:p>
            <a:pPr marL="177800" lvl="1" indent="-177800" eaLnBrk="0" hangingPunct="0">
              <a:spcBef>
                <a:spcPts val="100"/>
              </a:spcBef>
              <a:spcAft>
                <a:spcPts val="100"/>
              </a:spcAft>
              <a:buFontTx/>
              <a:buChar char="•"/>
            </a:pPr>
            <a:r>
              <a:rPr lang="en-US" dirty="0">
                <a:solidFill>
                  <a:schemeClr val="bg1"/>
                </a:solidFill>
              </a:rPr>
              <a:t>Text</a:t>
            </a:r>
          </a:p>
          <a:p>
            <a:pPr marL="177800" lvl="1" indent="-177800" eaLnBrk="0" hangingPunct="0">
              <a:spcBef>
                <a:spcPts val="100"/>
              </a:spcBef>
              <a:spcAft>
                <a:spcPts val="100"/>
              </a:spcAft>
              <a:buFontTx/>
              <a:buChar char="•"/>
            </a:pPr>
            <a:r>
              <a:rPr lang="en-US" dirty="0">
                <a:solidFill>
                  <a:schemeClr val="bg1"/>
                </a:solidFill>
              </a:rPr>
              <a:t>Text</a:t>
            </a:r>
          </a:p>
        </p:txBody>
      </p:sp>
      <p:sp>
        <p:nvSpPr>
          <p:cNvPr id="9" name="Line 8">
            <a:extLst>
              <a:ext uri="{FF2B5EF4-FFF2-40B4-BE49-F238E27FC236}">
                <a16:creationId xmlns:a16="http://schemas.microsoft.com/office/drawing/2014/main" id="{9600B4F4-4F0E-4965-B5D5-C5D99627F5AB}"/>
              </a:ext>
            </a:extLst>
          </p:cNvPr>
          <p:cNvSpPr>
            <a:spLocks noChangeShapeType="1"/>
          </p:cNvSpPr>
          <p:nvPr/>
        </p:nvSpPr>
        <p:spPr bwMode="auto">
          <a:xfrm flipH="1">
            <a:off x="4713500" y="1981556"/>
            <a:ext cx="1572620" cy="2724487"/>
          </a:xfrm>
          <a:prstGeom prst="line">
            <a:avLst/>
          </a:prstGeom>
          <a:noFill/>
          <a:ln w="254000">
            <a:solidFill>
              <a:schemeClr val="bg1"/>
            </a:solidFill>
            <a:round/>
            <a:headEnd/>
            <a:tailEnd/>
          </a:ln>
          <a:effectLst/>
        </p:spPr>
        <p:txBody>
          <a:bodyPr wrap="none" lIns="72000" tIns="72000" rIns="72000" bIns="72000" anchor="ctr"/>
          <a:lstStyle/>
          <a:p>
            <a:endParaRPr lang="de-DE" sz="1400" dirty="0"/>
          </a:p>
        </p:txBody>
      </p:sp>
      <p:sp>
        <p:nvSpPr>
          <p:cNvPr id="13" name="Rectangle 7">
            <a:extLst>
              <a:ext uri="{FF2B5EF4-FFF2-40B4-BE49-F238E27FC236}">
                <a16:creationId xmlns:a16="http://schemas.microsoft.com/office/drawing/2014/main" id="{B28E5076-BEB8-4223-997C-9580DA235530}"/>
              </a:ext>
            </a:extLst>
          </p:cNvPr>
          <p:cNvSpPr>
            <a:spLocks noChangeArrowheads="1"/>
          </p:cNvSpPr>
          <p:nvPr>
            <p:custDataLst>
              <p:tags r:id="rId1"/>
            </p:custDataLst>
          </p:nvPr>
        </p:nvSpPr>
        <p:spPr bwMode="auto">
          <a:xfrm>
            <a:off x="6286120" y="2259106"/>
            <a:ext cx="3113374" cy="2009021"/>
          </a:xfrm>
          <a:prstGeom prst="rect">
            <a:avLst/>
          </a:prstGeom>
          <a:noFill/>
          <a:ln w="6350">
            <a:noFill/>
            <a:miter lim="800000"/>
            <a:headEnd/>
            <a:tailEnd/>
          </a:ln>
          <a:effectLst/>
        </p:spPr>
        <p:txBody>
          <a:bodyPr lIns="180000" tIns="180000" rIns="144000" bIns="72000" anchor="ctr"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222936254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Dead end</a:t>
            </a:r>
          </a:p>
        </p:txBody>
      </p:sp>
      <p:sp>
        <p:nvSpPr>
          <p:cNvPr id="10" name="Freeform: Shape 9">
            <a:hlinkClick r:id="rId4"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4A7C9F44-29B3-4400-A352-F717A9638E1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7" name="Freeform 4">
            <a:extLst>
              <a:ext uri="{FF2B5EF4-FFF2-40B4-BE49-F238E27FC236}">
                <a16:creationId xmlns:a16="http://schemas.microsoft.com/office/drawing/2014/main" id="{AE4A42FD-D136-44AC-9377-3AEDD9E67F35}"/>
              </a:ext>
            </a:extLst>
          </p:cNvPr>
          <p:cNvSpPr>
            <a:spLocks/>
          </p:cNvSpPr>
          <p:nvPr/>
        </p:nvSpPr>
        <p:spPr bwMode="auto">
          <a:xfrm>
            <a:off x="1468438" y="1376362"/>
            <a:ext cx="8916512" cy="4681537"/>
          </a:xfrm>
          <a:custGeom>
            <a:avLst/>
            <a:gdLst/>
            <a:ahLst/>
            <a:cxnLst>
              <a:cxn ang="0">
                <a:pos x="0" y="664"/>
              </a:cxn>
              <a:cxn ang="0">
                <a:pos x="3208" y="664"/>
              </a:cxn>
              <a:cxn ang="0">
                <a:pos x="3208" y="0"/>
              </a:cxn>
              <a:cxn ang="0">
                <a:pos x="3984" y="0"/>
              </a:cxn>
              <a:cxn ang="0">
                <a:pos x="3984" y="2344"/>
              </a:cxn>
              <a:cxn ang="0">
                <a:pos x="3208" y="2344"/>
              </a:cxn>
              <a:cxn ang="0">
                <a:pos x="3208" y="1688"/>
              </a:cxn>
              <a:cxn ang="0">
                <a:pos x="0" y="1688"/>
              </a:cxn>
              <a:cxn ang="0">
                <a:pos x="0" y="664"/>
              </a:cxn>
            </a:cxnLst>
            <a:rect l="0" t="0" r="r" b="b"/>
            <a:pathLst>
              <a:path w="3985" h="2345">
                <a:moveTo>
                  <a:pt x="0" y="664"/>
                </a:moveTo>
                <a:lnTo>
                  <a:pt x="3208" y="664"/>
                </a:lnTo>
                <a:lnTo>
                  <a:pt x="3208" y="0"/>
                </a:lnTo>
                <a:lnTo>
                  <a:pt x="3984" y="0"/>
                </a:lnTo>
                <a:lnTo>
                  <a:pt x="3984" y="2344"/>
                </a:lnTo>
                <a:lnTo>
                  <a:pt x="3208" y="2344"/>
                </a:lnTo>
                <a:lnTo>
                  <a:pt x="3208" y="1688"/>
                </a:lnTo>
                <a:lnTo>
                  <a:pt x="0" y="1688"/>
                </a:lnTo>
                <a:lnTo>
                  <a:pt x="0" y="664"/>
                </a:lnTo>
              </a:path>
            </a:pathLst>
          </a:custGeom>
          <a:pattFill prst="dkUpDiag">
            <a:fgClr>
              <a:schemeClr val="accent1">
                <a:lumMod val="20000"/>
                <a:lumOff val="80000"/>
              </a:schemeClr>
            </a:fgClr>
            <a:bgClr>
              <a:schemeClr val="bg1"/>
            </a:bgClr>
          </a:pattFill>
          <a:ln w="6350">
            <a:noFill/>
            <a:miter lim="800000"/>
            <a:headEnd/>
            <a:tailEnd/>
          </a:ln>
          <a:effectLst/>
        </p:spPr>
        <p:txBody>
          <a:bodyPr wrap="none" lIns="180000" tIns="180000" rIns="72000" bIns="72000"/>
          <a:lstStyle/>
          <a:p>
            <a:endParaRPr lang="de-DE" dirty="0"/>
          </a:p>
        </p:txBody>
      </p:sp>
      <p:sp>
        <p:nvSpPr>
          <p:cNvPr id="9" name="Arrow: Right 8">
            <a:extLst>
              <a:ext uri="{FF2B5EF4-FFF2-40B4-BE49-F238E27FC236}">
                <a16:creationId xmlns:a16="http://schemas.microsoft.com/office/drawing/2014/main" id="{DA6D2940-303A-413A-B5AA-56E5369E2443}"/>
              </a:ext>
            </a:extLst>
          </p:cNvPr>
          <p:cNvSpPr/>
          <p:nvPr/>
        </p:nvSpPr>
        <p:spPr>
          <a:xfrm>
            <a:off x="2531650" y="3037474"/>
            <a:ext cx="5403771" cy="135686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9388" indent="-179388" algn="ctr" eaLnBrk="0" hangingPunct="0">
              <a:lnSpc>
                <a:spcPct val="85000"/>
              </a:lnSpc>
              <a:spcBef>
                <a:spcPts val="100"/>
              </a:spcBef>
              <a:spcAft>
                <a:spcPts val="300"/>
              </a:spcAft>
            </a:pPr>
            <a:r>
              <a:rPr lang="en-AU" b="1" dirty="0">
                <a:solidFill>
                  <a:schemeClr val="bg1"/>
                </a:solidFill>
                <a:latin typeface="+mj-lt"/>
              </a:rPr>
              <a:t>Text</a:t>
            </a:r>
            <a:endParaRPr lang="en-GB" b="1" dirty="0">
              <a:solidFill>
                <a:schemeClr val="bg1"/>
              </a:solidFill>
              <a:latin typeface="+mj-lt"/>
            </a:endParaRPr>
          </a:p>
        </p:txBody>
      </p:sp>
      <p:sp>
        <p:nvSpPr>
          <p:cNvPr id="13" name="Rectangle 7">
            <a:extLst>
              <a:ext uri="{FF2B5EF4-FFF2-40B4-BE49-F238E27FC236}">
                <a16:creationId xmlns:a16="http://schemas.microsoft.com/office/drawing/2014/main" id="{3094CC7E-9114-405F-BA93-408EDA9F7E1E}"/>
              </a:ext>
            </a:extLst>
          </p:cNvPr>
          <p:cNvSpPr>
            <a:spLocks noChangeArrowheads="1"/>
          </p:cNvSpPr>
          <p:nvPr>
            <p:custDataLst>
              <p:tags r:id="rId1"/>
            </p:custDataLst>
          </p:nvPr>
        </p:nvSpPr>
        <p:spPr bwMode="auto">
          <a:xfrm>
            <a:off x="8684273" y="1376362"/>
            <a:ext cx="1700677" cy="2590520"/>
          </a:xfrm>
          <a:prstGeom prst="rect">
            <a:avLst/>
          </a:prstGeom>
          <a:noFill/>
          <a:ln w="6350">
            <a:noFill/>
            <a:miter lim="800000"/>
            <a:headEnd/>
            <a:tailEnd/>
          </a:ln>
          <a:effectLst/>
        </p:spPr>
        <p:txBody>
          <a:bodyPr lIns="180000" tIns="180000" rIns="144000" bIns="72000"/>
          <a:lstStyle/>
          <a:p>
            <a:pPr eaLnBrk="0" hangingPunct="0">
              <a:lnSpc>
                <a:spcPct val="85000"/>
              </a:lnSpc>
              <a:spcBef>
                <a:spcPts val="100"/>
              </a:spcBef>
              <a:spcAft>
                <a:spcPts val="300"/>
              </a:spcAft>
            </a:pPr>
            <a:r>
              <a:rPr lang="en-US" b="1"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Tree>
    <p:extLst>
      <p:ext uri="{BB962C8B-B14F-4D97-AF65-F5344CB8AC3E}">
        <p14:creationId xmlns:p14="http://schemas.microsoft.com/office/powerpoint/2010/main" val="139995400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Forces/</a:t>
            </a:r>
            <a:br>
              <a:rPr lang="en-US" dirty="0"/>
            </a:br>
            <a:r>
              <a:rPr lang="en-US" dirty="0"/>
              <a:t>Influence</a:t>
            </a:r>
          </a:p>
        </p:txBody>
      </p:sp>
      <p:sp>
        <p:nvSpPr>
          <p:cNvPr id="2" name="Freeform: Shape 1">
            <a:hlinkClick r:id="rId3" action="ppaction://hlinksldjump"/>
            <a:extLst>
              <a:ext uri="{FF2B5EF4-FFF2-40B4-BE49-F238E27FC236}">
                <a16:creationId xmlns:a16="http://schemas.microsoft.com/office/drawing/2014/main" id="{300C6EC9-AF3D-4669-BDE2-C9558BA9E28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Text Placeholder 4">
            <a:extLst>
              <a:ext uri="{FF2B5EF4-FFF2-40B4-BE49-F238E27FC236}">
                <a16:creationId xmlns:a16="http://schemas.microsoft.com/office/drawing/2014/main" id="{0BBF94E8-1BF2-415D-96EB-28DA8876A2C3}"/>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t>Part of </a:t>
            </a:r>
            <a:b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rPr>
            </a:br>
            <a:r>
              <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hlinkClick r:id="rId4" action="ppaction://hlinksldjump">
                  <a:extLst>
                    <a:ext uri="{A12FA001-AC4F-418D-AE19-62706E023703}">
                      <ahyp:hlinkClr xmlns:ahyp="http://schemas.microsoft.com/office/drawing/2018/hyperlinkcolor" val="tx"/>
                    </a:ext>
                  </a:extLst>
                </a:hlinkClick>
              </a:rPr>
              <a:t>Dynamic Concept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6" name="Rectangle 5">
            <a:hlinkClick r:id="rId3" action="ppaction://hlinksldjump"/>
            <a:extLst>
              <a:ext uri="{FF2B5EF4-FFF2-40B4-BE49-F238E27FC236}">
                <a16:creationId xmlns:a16="http://schemas.microsoft.com/office/drawing/2014/main" id="{8F69A8F2-60BA-4E84-B95F-205B8FC0288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1164118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5FD3C-6829-4AF5-8BEB-3F3335BF4791}"/>
              </a:ext>
            </a:extLst>
          </p:cNvPr>
          <p:cNvSpPr>
            <a:spLocks noGrp="1"/>
          </p:cNvSpPr>
          <p:nvPr>
            <p:ph type="title"/>
          </p:nvPr>
        </p:nvSpPr>
        <p:spPr/>
        <p:txBody>
          <a:bodyPr/>
          <a:lstStyle/>
          <a:p>
            <a:r>
              <a:rPr lang="en-US" dirty="0"/>
              <a:t>Butterfly Diagram</a:t>
            </a:r>
          </a:p>
        </p:txBody>
      </p:sp>
      <p:sp>
        <p:nvSpPr>
          <p:cNvPr id="10" name="Freeform: Shape 9">
            <a:hlinkClick r:id="rId3" action="ppaction://hlinksldjump"/>
            <a:extLst>
              <a:ext uri="{FF2B5EF4-FFF2-40B4-BE49-F238E27FC236}">
                <a16:creationId xmlns:a16="http://schemas.microsoft.com/office/drawing/2014/main" id="{16BD2E34-C249-45AE-8E85-3631464D19D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3" name="Group 2">
            <a:extLst>
              <a:ext uri="{FF2B5EF4-FFF2-40B4-BE49-F238E27FC236}">
                <a16:creationId xmlns:a16="http://schemas.microsoft.com/office/drawing/2014/main" id="{C97C3FC5-5CD3-4F49-8F34-A3C4D4D9572A}"/>
              </a:ext>
            </a:extLst>
          </p:cNvPr>
          <p:cNvGrpSpPr/>
          <p:nvPr/>
        </p:nvGrpSpPr>
        <p:grpSpPr>
          <a:xfrm>
            <a:off x="425450" y="1371600"/>
            <a:ext cx="11384916" cy="4628411"/>
            <a:chOff x="334851" y="1375311"/>
            <a:chExt cx="11520599" cy="4683571"/>
          </a:xfrm>
        </p:grpSpPr>
        <p:sp>
          <p:nvSpPr>
            <p:cNvPr id="7" name="Oval 6">
              <a:extLst>
                <a:ext uri="{FF2B5EF4-FFF2-40B4-BE49-F238E27FC236}">
                  <a16:creationId xmlns:a16="http://schemas.microsoft.com/office/drawing/2014/main" id="{7E39F725-C434-4047-B409-B16E9A47CF78}"/>
                </a:ext>
              </a:extLst>
            </p:cNvPr>
            <p:cNvSpPr>
              <a:spLocks noChangeArrowheads="1"/>
            </p:cNvSpPr>
            <p:nvPr/>
          </p:nvSpPr>
          <p:spPr bwMode="auto">
            <a:xfrm>
              <a:off x="5166162" y="2980390"/>
              <a:ext cx="1859676" cy="1878056"/>
            </a:xfrm>
            <a:prstGeom prst="ellipse">
              <a:avLst/>
            </a:prstGeom>
            <a:solidFill>
              <a:schemeClr val="accent2"/>
            </a:solidFill>
            <a:ln w="6350">
              <a:noFill/>
              <a:round/>
              <a:headEnd/>
              <a:tailEnd/>
            </a:ln>
            <a:effectLst/>
          </p:spPr>
          <p:txBody>
            <a:bodyPr wrap="none" lIns="72000" tIns="72000" rIns="72000" bIns="72000" anchor="ctr" anchorCtr="1"/>
            <a:lstStyle/>
            <a:p>
              <a:pPr marL="179388" marR="0" lvl="0" indent="-179388"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endParaRPr kumimoji="0" lang="en-US" sz="1800" b="1" i="0" u="none" strike="noStrike" kern="0" cap="all" spc="0" normalizeH="0" baseline="0" noProof="0" dirty="0">
                <a:ln>
                  <a:noFill/>
                </a:ln>
                <a:solidFill>
                  <a:srgbClr val="FFFFFF"/>
                </a:solidFill>
                <a:effectLst/>
                <a:uLnTx/>
                <a:uFillTx/>
                <a:latin typeface="Graphik Black"/>
                <a:ea typeface="+mn-ea"/>
                <a:cs typeface="+mn-cs"/>
              </a:endParaRPr>
            </a:p>
          </p:txBody>
        </p:sp>
        <p:sp>
          <p:nvSpPr>
            <p:cNvPr id="8" name="Rektangel 124">
              <a:extLst>
                <a:ext uri="{FF2B5EF4-FFF2-40B4-BE49-F238E27FC236}">
                  <a16:creationId xmlns:a16="http://schemas.microsoft.com/office/drawing/2014/main" id="{52EBD352-42A8-4223-B449-F0783E9DEB4B}"/>
                </a:ext>
              </a:extLst>
            </p:cNvPr>
            <p:cNvSpPr>
              <a:spLocks noChangeArrowheads="1"/>
            </p:cNvSpPr>
            <p:nvPr/>
          </p:nvSpPr>
          <p:spPr bwMode="auto">
            <a:xfrm>
              <a:off x="334963" y="1375311"/>
              <a:ext cx="356193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9" name="Rektangel 134">
              <a:extLst>
                <a:ext uri="{FF2B5EF4-FFF2-40B4-BE49-F238E27FC236}">
                  <a16:creationId xmlns:a16="http://schemas.microsoft.com/office/drawing/2014/main" id="{238A662D-ACCA-46F5-AFE0-A1C667129D2C}"/>
                </a:ext>
              </a:extLst>
            </p:cNvPr>
            <p:cNvSpPr>
              <a:spLocks noChangeArrowheads="1"/>
            </p:cNvSpPr>
            <p:nvPr/>
          </p:nvSpPr>
          <p:spPr bwMode="auto">
            <a:xfrm>
              <a:off x="334851" y="2189625"/>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1" name="Rektangel 137">
              <a:extLst>
                <a:ext uri="{FF2B5EF4-FFF2-40B4-BE49-F238E27FC236}">
                  <a16:creationId xmlns:a16="http://schemas.microsoft.com/office/drawing/2014/main" id="{578249F1-D703-4ED3-A90C-A4E870DA6D99}"/>
                </a:ext>
              </a:extLst>
            </p:cNvPr>
            <p:cNvSpPr>
              <a:spLocks noChangeArrowheads="1"/>
            </p:cNvSpPr>
            <p:nvPr/>
          </p:nvSpPr>
          <p:spPr bwMode="auto">
            <a:xfrm>
              <a:off x="334963" y="3003939"/>
              <a:ext cx="356193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2" name="Rektangel 146">
              <a:extLst>
                <a:ext uri="{FF2B5EF4-FFF2-40B4-BE49-F238E27FC236}">
                  <a16:creationId xmlns:a16="http://schemas.microsoft.com/office/drawing/2014/main" id="{C0C96DBD-4EE8-479B-B086-F4DD7AED6279}"/>
                </a:ext>
              </a:extLst>
            </p:cNvPr>
            <p:cNvSpPr>
              <a:spLocks noChangeArrowheads="1"/>
            </p:cNvSpPr>
            <p:nvPr/>
          </p:nvSpPr>
          <p:spPr bwMode="auto">
            <a:xfrm>
              <a:off x="334851" y="4632567"/>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3" name="Rektangel 153">
              <a:extLst>
                <a:ext uri="{FF2B5EF4-FFF2-40B4-BE49-F238E27FC236}">
                  <a16:creationId xmlns:a16="http://schemas.microsoft.com/office/drawing/2014/main" id="{BC40AE9A-EF5A-400D-8E01-284F6EFDBF80}"/>
                </a:ext>
              </a:extLst>
            </p:cNvPr>
            <p:cNvSpPr>
              <a:spLocks noChangeArrowheads="1"/>
            </p:cNvSpPr>
            <p:nvPr/>
          </p:nvSpPr>
          <p:spPr bwMode="auto">
            <a:xfrm>
              <a:off x="334851" y="3818253"/>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4" name="Rektangel 166">
              <a:extLst>
                <a:ext uri="{FF2B5EF4-FFF2-40B4-BE49-F238E27FC236}">
                  <a16:creationId xmlns:a16="http://schemas.microsoft.com/office/drawing/2014/main" id="{5816AA64-437A-41FC-AB57-F90AE3791BBB}"/>
                </a:ext>
              </a:extLst>
            </p:cNvPr>
            <p:cNvSpPr>
              <a:spLocks noChangeArrowheads="1"/>
            </p:cNvSpPr>
            <p:nvPr/>
          </p:nvSpPr>
          <p:spPr bwMode="auto">
            <a:xfrm>
              <a:off x="334851" y="5446882"/>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5" name="Rektangel 124">
              <a:extLst>
                <a:ext uri="{FF2B5EF4-FFF2-40B4-BE49-F238E27FC236}">
                  <a16:creationId xmlns:a16="http://schemas.microsoft.com/office/drawing/2014/main" id="{F49C4242-7CB0-499F-A8EB-4463ED4B29DE}"/>
                </a:ext>
              </a:extLst>
            </p:cNvPr>
            <p:cNvSpPr>
              <a:spLocks noChangeArrowheads="1"/>
            </p:cNvSpPr>
            <p:nvPr/>
          </p:nvSpPr>
          <p:spPr bwMode="auto">
            <a:xfrm>
              <a:off x="8290766" y="1375311"/>
              <a:ext cx="356193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6" name="Rektangel 134">
              <a:extLst>
                <a:ext uri="{FF2B5EF4-FFF2-40B4-BE49-F238E27FC236}">
                  <a16:creationId xmlns:a16="http://schemas.microsoft.com/office/drawing/2014/main" id="{FB345E8E-A5AE-4577-BB57-5AE3EBFF3F8C}"/>
                </a:ext>
              </a:extLst>
            </p:cNvPr>
            <p:cNvSpPr>
              <a:spLocks noChangeArrowheads="1"/>
            </p:cNvSpPr>
            <p:nvPr/>
          </p:nvSpPr>
          <p:spPr bwMode="auto">
            <a:xfrm>
              <a:off x="8290654" y="2189625"/>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7" name="Rektangel 137">
              <a:extLst>
                <a:ext uri="{FF2B5EF4-FFF2-40B4-BE49-F238E27FC236}">
                  <a16:creationId xmlns:a16="http://schemas.microsoft.com/office/drawing/2014/main" id="{C7B62B35-E7AF-4344-82E5-05B469E54570}"/>
                </a:ext>
              </a:extLst>
            </p:cNvPr>
            <p:cNvSpPr>
              <a:spLocks noChangeArrowheads="1"/>
            </p:cNvSpPr>
            <p:nvPr/>
          </p:nvSpPr>
          <p:spPr bwMode="auto">
            <a:xfrm>
              <a:off x="8290766" y="3003939"/>
              <a:ext cx="356193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8" name="Rektangel 146">
              <a:extLst>
                <a:ext uri="{FF2B5EF4-FFF2-40B4-BE49-F238E27FC236}">
                  <a16:creationId xmlns:a16="http://schemas.microsoft.com/office/drawing/2014/main" id="{90800164-28BE-494E-B2F1-5CFFE2922EFB}"/>
                </a:ext>
              </a:extLst>
            </p:cNvPr>
            <p:cNvSpPr>
              <a:spLocks noChangeArrowheads="1"/>
            </p:cNvSpPr>
            <p:nvPr/>
          </p:nvSpPr>
          <p:spPr bwMode="auto">
            <a:xfrm>
              <a:off x="8290654" y="4632567"/>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19" name="Rektangel 153">
              <a:extLst>
                <a:ext uri="{FF2B5EF4-FFF2-40B4-BE49-F238E27FC236}">
                  <a16:creationId xmlns:a16="http://schemas.microsoft.com/office/drawing/2014/main" id="{169DE570-3BDD-403E-B82B-2921DF6B2EC3}"/>
                </a:ext>
              </a:extLst>
            </p:cNvPr>
            <p:cNvSpPr>
              <a:spLocks noChangeArrowheads="1"/>
            </p:cNvSpPr>
            <p:nvPr/>
          </p:nvSpPr>
          <p:spPr bwMode="auto">
            <a:xfrm>
              <a:off x="8290654" y="3818253"/>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sp>
          <p:nvSpPr>
            <p:cNvPr id="20" name="Rektangel 166">
              <a:extLst>
                <a:ext uri="{FF2B5EF4-FFF2-40B4-BE49-F238E27FC236}">
                  <a16:creationId xmlns:a16="http://schemas.microsoft.com/office/drawing/2014/main" id="{E206780B-3095-4D3C-9866-00D0ED9E11EE}"/>
                </a:ext>
              </a:extLst>
            </p:cNvPr>
            <p:cNvSpPr>
              <a:spLocks noChangeArrowheads="1"/>
            </p:cNvSpPr>
            <p:nvPr/>
          </p:nvSpPr>
          <p:spPr bwMode="auto">
            <a:xfrm>
              <a:off x="8290654" y="5446882"/>
              <a:ext cx="3564796" cy="612000"/>
            </a:xfrm>
            <a:prstGeom prst="rect">
              <a:avLst/>
            </a:prstGeom>
            <a:solidFill>
              <a:srgbClr val="96968C">
                <a:lumMod val="20000"/>
                <a:lumOff val="80000"/>
              </a:srgbClr>
            </a:solidFill>
            <a:ln w="9525" cap="flat" cmpd="sng" algn="ctr">
              <a:noFill/>
              <a:prstDash val="solid"/>
            </a:ln>
            <a:effectLst/>
          </p:spPr>
          <p:txBody>
            <a:bodyPr lIns="180000" tIns="72000" rIns="108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0" cap="none" spc="0" normalizeH="0" baseline="0" noProof="0" dirty="0">
                  <a:ln>
                    <a:noFill/>
                  </a:ln>
                  <a:solidFill>
                    <a:srgbClr val="000000"/>
                  </a:solidFill>
                  <a:effectLst/>
                  <a:uLnTx/>
                  <a:uFillTx/>
                  <a:latin typeface="Graphik"/>
                  <a:ea typeface="+mn-ea"/>
                  <a:cs typeface="+mn-cs"/>
                </a:rPr>
                <a:t>Example text</a:t>
              </a:r>
            </a:p>
          </p:txBody>
        </p:sp>
        <p:cxnSp>
          <p:nvCxnSpPr>
            <p:cNvPr id="21" name="Straight Arrow Connector 20">
              <a:extLst>
                <a:ext uri="{FF2B5EF4-FFF2-40B4-BE49-F238E27FC236}">
                  <a16:creationId xmlns:a16="http://schemas.microsoft.com/office/drawing/2014/main" id="{EF31D9C8-AAA5-466D-B648-A0DD5DC7FF79}"/>
                </a:ext>
              </a:extLst>
            </p:cNvPr>
            <p:cNvCxnSpPr>
              <a:stCxn id="8" idx="3"/>
            </p:cNvCxnSpPr>
            <p:nvPr/>
          </p:nvCxnSpPr>
          <p:spPr>
            <a:xfrm>
              <a:off x="3896899" y="1681311"/>
              <a:ext cx="1503440" cy="1322628"/>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2" name="Straight Arrow Connector 21">
              <a:extLst>
                <a:ext uri="{FF2B5EF4-FFF2-40B4-BE49-F238E27FC236}">
                  <a16:creationId xmlns:a16="http://schemas.microsoft.com/office/drawing/2014/main" id="{347C4362-6AD4-4259-8354-3D5DDABC459E}"/>
                </a:ext>
              </a:extLst>
            </p:cNvPr>
            <p:cNvCxnSpPr>
              <a:stCxn id="9" idx="3"/>
            </p:cNvCxnSpPr>
            <p:nvPr/>
          </p:nvCxnSpPr>
          <p:spPr>
            <a:xfrm>
              <a:off x="3899647" y="2495625"/>
              <a:ext cx="1229306" cy="812840"/>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3" name="Straight Arrow Connector 22">
              <a:extLst>
                <a:ext uri="{FF2B5EF4-FFF2-40B4-BE49-F238E27FC236}">
                  <a16:creationId xmlns:a16="http://schemas.microsoft.com/office/drawing/2014/main" id="{0242C306-4E33-421E-B7D7-B3BE7797EB76}"/>
                </a:ext>
              </a:extLst>
            </p:cNvPr>
            <p:cNvCxnSpPr>
              <a:stCxn id="11" idx="3"/>
            </p:cNvCxnSpPr>
            <p:nvPr/>
          </p:nvCxnSpPr>
          <p:spPr>
            <a:xfrm>
              <a:off x="3896899" y="3309939"/>
              <a:ext cx="1090737" cy="339348"/>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4" name="Straight Arrow Connector 23">
              <a:extLst>
                <a:ext uri="{FF2B5EF4-FFF2-40B4-BE49-F238E27FC236}">
                  <a16:creationId xmlns:a16="http://schemas.microsoft.com/office/drawing/2014/main" id="{9549CF82-5A1E-4B7E-AFB9-E87CEE701E09}"/>
                </a:ext>
              </a:extLst>
            </p:cNvPr>
            <p:cNvCxnSpPr>
              <a:stCxn id="13" idx="3"/>
            </p:cNvCxnSpPr>
            <p:nvPr/>
          </p:nvCxnSpPr>
          <p:spPr>
            <a:xfrm flipV="1">
              <a:off x="3899647" y="4017196"/>
              <a:ext cx="1087989" cy="107057"/>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5" name="Straight Arrow Connector 24">
              <a:extLst>
                <a:ext uri="{FF2B5EF4-FFF2-40B4-BE49-F238E27FC236}">
                  <a16:creationId xmlns:a16="http://schemas.microsoft.com/office/drawing/2014/main" id="{429ECCFC-9B2F-48AE-8471-F3F721CB8580}"/>
                </a:ext>
              </a:extLst>
            </p:cNvPr>
            <p:cNvCxnSpPr>
              <a:stCxn id="12" idx="3"/>
            </p:cNvCxnSpPr>
            <p:nvPr/>
          </p:nvCxnSpPr>
          <p:spPr>
            <a:xfrm flipV="1">
              <a:off x="3899647" y="4464424"/>
              <a:ext cx="1188720" cy="474143"/>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6" name="Straight Arrow Connector 25">
              <a:extLst>
                <a:ext uri="{FF2B5EF4-FFF2-40B4-BE49-F238E27FC236}">
                  <a16:creationId xmlns:a16="http://schemas.microsoft.com/office/drawing/2014/main" id="{A8B51565-66E7-4E68-994C-97F8DE2F5ABD}"/>
                </a:ext>
              </a:extLst>
            </p:cNvPr>
            <p:cNvCxnSpPr/>
            <p:nvPr/>
          </p:nvCxnSpPr>
          <p:spPr>
            <a:xfrm flipV="1">
              <a:off x="3896899" y="4817225"/>
              <a:ext cx="1489748" cy="927360"/>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7" name="Straight Arrow Connector 26">
              <a:extLst>
                <a:ext uri="{FF2B5EF4-FFF2-40B4-BE49-F238E27FC236}">
                  <a16:creationId xmlns:a16="http://schemas.microsoft.com/office/drawing/2014/main" id="{647674F6-A2E2-40CF-8CAB-3B55462FBBD6}"/>
                </a:ext>
              </a:extLst>
            </p:cNvPr>
            <p:cNvCxnSpPr>
              <a:stCxn id="15" idx="1"/>
            </p:cNvCxnSpPr>
            <p:nvPr/>
          </p:nvCxnSpPr>
          <p:spPr>
            <a:xfrm flipH="1">
              <a:off x="6800906" y="1681311"/>
              <a:ext cx="1489860" cy="1322628"/>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8" name="Straight Arrow Connector 27">
              <a:extLst>
                <a:ext uri="{FF2B5EF4-FFF2-40B4-BE49-F238E27FC236}">
                  <a16:creationId xmlns:a16="http://schemas.microsoft.com/office/drawing/2014/main" id="{6E0C6F2E-5B83-4026-B42D-AF13DDC482D6}"/>
                </a:ext>
              </a:extLst>
            </p:cNvPr>
            <p:cNvCxnSpPr>
              <a:stCxn id="16" idx="1"/>
            </p:cNvCxnSpPr>
            <p:nvPr/>
          </p:nvCxnSpPr>
          <p:spPr>
            <a:xfrm flipH="1">
              <a:off x="7072292" y="2495625"/>
              <a:ext cx="1218362" cy="812840"/>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29" name="Straight Arrow Connector 28">
              <a:extLst>
                <a:ext uri="{FF2B5EF4-FFF2-40B4-BE49-F238E27FC236}">
                  <a16:creationId xmlns:a16="http://schemas.microsoft.com/office/drawing/2014/main" id="{78CE26BB-5DCC-4D88-AC36-C00D4FFFDC50}"/>
                </a:ext>
              </a:extLst>
            </p:cNvPr>
            <p:cNvCxnSpPr>
              <a:stCxn id="17" idx="1"/>
            </p:cNvCxnSpPr>
            <p:nvPr/>
          </p:nvCxnSpPr>
          <p:spPr>
            <a:xfrm flipH="1">
              <a:off x="7213610" y="3309939"/>
              <a:ext cx="1077156" cy="339348"/>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30" name="Straight Arrow Connector 29">
              <a:extLst>
                <a:ext uri="{FF2B5EF4-FFF2-40B4-BE49-F238E27FC236}">
                  <a16:creationId xmlns:a16="http://schemas.microsoft.com/office/drawing/2014/main" id="{926E7427-2308-418C-B2B2-CF40F6BFEBC9}"/>
                </a:ext>
              </a:extLst>
            </p:cNvPr>
            <p:cNvCxnSpPr>
              <a:stCxn id="19" idx="1"/>
            </p:cNvCxnSpPr>
            <p:nvPr/>
          </p:nvCxnSpPr>
          <p:spPr>
            <a:xfrm flipH="1" flipV="1">
              <a:off x="7213610" y="4017196"/>
              <a:ext cx="1077044" cy="107057"/>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31" name="Straight Arrow Connector 30">
              <a:extLst>
                <a:ext uri="{FF2B5EF4-FFF2-40B4-BE49-F238E27FC236}">
                  <a16:creationId xmlns:a16="http://schemas.microsoft.com/office/drawing/2014/main" id="{5A73FE36-A541-48F8-8220-0B8D0B3A652B}"/>
                </a:ext>
              </a:extLst>
            </p:cNvPr>
            <p:cNvCxnSpPr>
              <a:stCxn id="18" idx="1"/>
            </p:cNvCxnSpPr>
            <p:nvPr/>
          </p:nvCxnSpPr>
          <p:spPr>
            <a:xfrm flipH="1" flipV="1">
              <a:off x="7112878" y="4464425"/>
              <a:ext cx="1177776" cy="474142"/>
            </a:xfrm>
            <a:prstGeom prst="straightConnector1">
              <a:avLst/>
            </a:prstGeom>
            <a:noFill/>
            <a:ln w="12700" cap="flat" cmpd="sng" algn="ctr">
              <a:solidFill>
                <a:srgbClr val="96968C">
                  <a:lumMod val="60000"/>
                  <a:lumOff val="40000"/>
                </a:srgbClr>
              </a:solidFill>
              <a:prstDash val="solid"/>
              <a:tailEnd type="triangle"/>
            </a:ln>
            <a:effectLst/>
          </p:spPr>
        </p:cxnSp>
        <p:cxnSp>
          <p:nvCxnSpPr>
            <p:cNvPr id="32" name="Straight Arrow Connector 31">
              <a:extLst>
                <a:ext uri="{FF2B5EF4-FFF2-40B4-BE49-F238E27FC236}">
                  <a16:creationId xmlns:a16="http://schemas.microsoft.com/office/drawing/2014/main" id="{2864A825-6F79-47A3-B732-D875C05891C5}"/>
                </a:ext>
              </a:extLst>
            </p:cNvPr>
            <p:cNvCxnSpPr>
              <a:stCxn id="20" idx="1"/>
            </p:cNvCxnSpPr>
            <p:nvPr/>
          </p:nvCxnSpPr>
          <p:spPr>
            <a:xfrm flipH="1" flipV="1">
              <a:off x="6814598" y="4817225"/>
              <a:ext cx="1476056" cy="935657"/>
            </a:xfrm>
            <a:prstGeom prst="straightConnector1">
              <a:avLst/>
            </a:prstGeom>
            <a:noFill/>
            <a:ln w="12700" cap="flat" cmpd="sng" algn="ctr">
              <a:solidFill>
                <a:srgbClr val="96968C">
                  <a:lumMod val="60000"/>
                  <a:lumOff val="40000"/>
                </a:srgbClr>
              </a:solidFill>
              <a:prstDash val="solid"/>
              <a:tailEnd type="triangle"/>
            </a:ln>
            <a:effectLst/>
          </p:spPr>
        </p:cxnSp>
      </p:grpSp>
      <p:sp>
        <p:nvSpPr>
          <p:cNvPr id="4" name="Rectangle 3">
            <a:hlinkClick r:id="rId3" action="ppaction://hlinksldjump"/>
            <a:extLst>
              <a:ext uri="{FF2B5EF4-FFF2-40B4-BE49-F238E27FC236}">
                <a16:creationId xmlns:a16="http://schemas.microsoft.com/office/drawing/2014/main" id="{0CC2543A-ABBB-4BD6-9E31-AB93D364C83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53663561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4C8CCC6-2610-4E04-8E3B-05095AC938A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1" name="Group 10">
            <a:extLst>
              <a:ext uri="{FF2B5EF4-FFF2-40B4-BE49-F238E27FC236}">
                <a16:creationId xmlns:a16="http://schemas.microsoft.com/office/drawing/2014/main" id="{D315B1F4-18C5-4E64-93CD-A16C87CC023C}"/>
              </a:ext>
            </a:extLst>
          </p:cNvPr>
          <p:cNvGrpSpPr/>
          <p:nvPr/>
        </p:nvGrpSpPr>
        <p:grpSpPr>
          <a:xfrm>
            <a:off x="4286393" y="1297022"/>
            <a:ext cx="3646451" cy="4863146"/>
            <a:chOff x="4297950" y="1297022"/>
            <a:chExt cx="3646451" cy="4863146"/>
          </a:xfrm>
        </p:grpSpPr>
        <p:sp>
          <p:nvSpPr>
            <p:cNvPr id="12" name="AutoShape 5">
              <a:extLst>
                <a:ext uri="{FF2B5EF4-FFF2-40B4-BE49-F238E27FC236}">
                  <a16:creationId xmlns:a16="http://schemas.microsoft.com/office/drawing/2014/main" id="{EB1EBDCA-9084-41C0-82E3-C7F793399725}"/>
                </a:ext>
              </a:extLst>
            </p:cNvPr>
            <p:cNvSpPr>
              <a:spLocks noChangeArrowheads="1"/>
            </p:cNvSpPr>
            <p:nvPr/>
          </p:nvSpPr>
          <p:spPr bwMode="auto">
            <a:xfrm rot="5400000" flipH="1">
              <a:off x="4972637" y="2979000"/>
              <a:ext cx="4163452" cy="1511224"/>
            </a:xfrm>
            <a:prstGeom prst="rightArrow">
              <a:avLst>
                <a:gd name="adj1" fmla="val 50000"/>
                <a:gd name="adj2" fmla="val 45387"/>
              </a:avLst>
            </a:prstGeom>
            <a:solidFill>
              <a:schemeClr val="accent3"/>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3" name="AutoShape 5">
              <a:extLst>
                <a:ext uri="{FF2B5EF4-FFF2-40B4-BE49-F238E27FC236}">
                  <a16:creationId xmlns:a16="http://schemas.microsoft.com/office/drawing/2014/main" id="{92FC91AE-15DA-4EBD-9D84-80D1011ADD93}"/>
                </a:ext>
              </a:extLst>
            </p:cNvPr>
            <p:cNvSpPr>
              <a:spLocks noChangeArrowheads="1"/>
            </p:cNvSpPr>
            <p:nvPr/>
          </p:nvSpPr>
          <p:spPr bwMode="auto">
            <a:xfrm rot="16200000" flipH="1">
              <a:off x="3106263" y="2979000"/>
              <a:ext cx="4163452" cy="1511224"/>
            </a:xfrm>
            <a:prstGeom prst="rightArrow">
              <a:avLst>
                <a:gd name="adj1" fmla="val 50000"/>
                <a:gd name="adj2" fmla="val 45387"/>
              </a:avLst>
            </a:prstGeom>
            <a:solidFill>
              <a:schemeClr val="accent2"/>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4" name="Text Box 10">
              <a:extLst>
                <a:ext uri="{FF2B5EF4-FFF2-40B4-BE49-F238E27FC236}">
                  <a16:creationId xmlns:a16="http://schemas.microsoft.com/office/drawing/2014/main" id="{E546B7DE-DCC8-4E73-A31F-28D2FF666E09}"/>
                </a:ext>
              </a:extLst>
            </p:cNvPr>
            <p:cNvSpPr txBox="1">
              <a:spLocks noChangeArrowheads="1"/>
            </p:cNvSpPr>
            <p:nvPr/>
          </p:nvSpPr>
          <p:spPr bwMode="auto">
            <a:xfrm>
              <a:off x="4297950" y="5816337"/>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accent2"/>
                  </a:solidFill>
                </a:rPr>
                <a:t>Text</a:t>
              </a:r>
            </a:p>
          </p:txBody>
        </p:sp>
        <p:sp>
          <p:nvSpPr>
            <p:cNvPr id="15" name="Text Box 10">
              <a:extLst>
                <a:ext uri="{FF2B5EF4-FFF2-40B4-BE49-F238E27FC236}">
                  <a16:creationId xmlns:a16="http://schemas.microsoft.com/office/drawing/2014/main" id="{518F2996-F1F2-401B-B06B-F6C2F3EC6C59}"/>
                </a:ext>
              </a:extLst>
            </p:cNvPr>
            <p:cNvSpPr txBox="1">
              <a:spLocks noChangeArrowheads="1"/>
            </p:cNvSpPr>
            <p:nvPr/>
          </p:nvSpPr>
          <p:spPr bwMode="auto">
            <a:xfrm>
              <a:off x="6164325" y="1297022"/>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accent3"/>
                  </a:solidFill>
                </a:rPr>
                <a:t>Text</a:t>
              </a:r>
            </a:p>
          </p:txBody>
        </p:sp>
      </p:grpSp>
      <p:sp>
        <p:nvSpPr>
          <p:cNvPr id="16" name="Rectangle 5">
            <a:extLst>
              <a:ext uri="{FF2B5EF4-FFF2-40B4-BE49-F238E27FC236}">
                <a16:creationId xmlns:a16="http://schemas.microsoft.com/office/drawing/2014/main" id="{733BF97F-2DCA-4A35-97AD-54F9D183EC7B}"/>
              </a:ext>
            </a:extLst>
          </p:cNvPr>
          <p:cNvSpPr>
            <a:spLocks noChangeArrowheads="1"/>
          </p:cNvSpPr>
          <p:nvPr/>
        </p:nvSpPr>
        <p:spPr bwMode="auto">
          <a:xfrm>
            <a:off x="1822449" y="2764830"/>
            <a:ext cx="8550275" cy="1915454"/>
          </a:xfrm>
          <a:prstGeom prst="rect">
            <a:avLst/>
          </a:prstGeom>
          <a:solidFill>
            <a:schemeClr val="tx2">
              <a:lumMod val="20000"/>
              <a:lumOff val="8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latin typeface="+mj-lt"/>
              </a:rPr>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p:txBody>
      </p:sp>
    </p:spTree>
    <p:extLst>
      <p:ext uri="{BB962C8B-B14F-4D97-AF65-F5344CB8AC3E}">
        <p14:creationId xmlns:p14="http://schemas.microsoft.com/office/powerpoint/2010/main" val="20026595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83329E-9E9D-104D-8ED4-F07F00BE2515}"/>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10244928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930C007A-5077-4D4A-A804-7CB92F1C223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AutoShape 4">
            <a:extLst>
              <a:ext uri="{FF2B5EF4-FFF2-40B4-BE49-F238E27FC236}">
                <a16:creationId xmlns:a16="http://schemas.microsoft.com/office/drawing/2014/main" id="{9C23BF65-3D66-47CD-BEDD-7CEC7BBD81D3}"/>
              </a:ext>
            </a:extLst>
          </p:cNvPr>
          <p:cNvSpPr>
            <a:spLocks noChangeArrowheads="1"/>
          </p:cNvSpPr>
          <p:nvPr/>
        </p:nvSpPr>
        <p:spPr bwMode="auto">
          <a:xfrm rot="16200000" flipH="1">
            <a:off x="2302432" y="1420889"/>
            <a:ext cx="3416346" cy="3341054"/>
          </a:xfrm>
          <a:prstGeom prst="homePlate">
            <a:avLst>
              <a:gd name="adj" fmla="val 15916"/>
            </a:avLst>
          </a:prstGeom>
          <a:solidFill>
            <a:schemeClr val="tx2">
              <a:lumMod val="20000"/>
              <a:lumOff val="80000"/>
            </a:schemeClr>
          </a:solidFill>
          <a:ln w="6350">
            <a:noFill/>
            <a:miter lim="800000"/>
            <a:headEnd/>
            <a:tailEnd/>
          </a:ln>
        </p:spPr>
        <p:txBody>
          <a:bodyPr vert="vert" lIns="144000" tIns="216000" rIns="180000" bIns="72000"/>
          <a:lstStyle/>
          <a:p>
            <a:pPr eaLnBrk="0" hangingPunct="0">
              <a:lnSpc>
                <a:spcPct val="85000"/>
              </a:lnSpc>
              <a:spcBef>
                <a:spcPts val="100"/>
              </a:spcBef>
              <a:spcAft>
                <a:spcPts val="300"/>
              </a:spcAft>
            </a:pPr>
            <a:r>
              <a:rPr lang="en-US" b="1" dirty="0">
                <a:latin typeface="+mj-lt"/>
              </a:rPr>
              <a:t>Text</a:t>
            </a:r>
          </a:p>
          <a:p>
            <a:pPr marL="174625" indent="-174625" eaLnBrk="0" hangingPunct="0">
              <a:lnSpc>
                <a:spcPct val="85000"/>
              </a:lnSpc>
              <a:spcBef>
                <a:spcPts val="100"/>
              </a:spcBef>
              <a:spcAft>
                <a:spcPts val="100"/>
              </a:spcAft>
              <a:buFontTx/>
              <a:buChar char="•"/>
            </a:pPr>
            <a:r>
              <a:rPr lang="en-US" dirty="0"/>
              <a:t>Text</a:t>
            </a:r>
          </a:p>
          <a:p>
            <a:pPr marL="174625" indent="-174625" eaLnBrk="0" hangingPunct="0">
              <a:lnSpc>
                <a:spcPct val="85000"/>
              </a:lnSpc>
              <a:spcBef>
                <a:spcPts val="100"/>
              </a:spcBef>
              <a:spcAft>
                <a:spcPts val="100"/>
              </a:spcAft>
              <a:buFontTx/>
              <a:buChar char="•"/>
            </a:pPr>
            <a:r>
              <a:rPr lang="en-US" dirty="0"/>
              <a:t>Text</a:t>
            </a:r>
          </a:p>
          <a:p>
            <a:pPr marL="174625" indent="-174625" eaLnBrk="0" hangingPunct="0">
              <a:lnSpc>
                <a:spcPct val="85000"/>
              </a:lnSpc>
              <a:spcBef>
                <a:spcPts val="100"/>
              </a:spcBef>
              <a:spcAft>
                <a:spcPts val="100"/>
              </a:spcAft>
              <a:buFontTx/>
              <a:buChar char="•"/>
            </a:pPr>
            <a:r>
              <a:rPr lang="en-US" dirty="0"/>
              <a:t>Text</a:t>
            </a:r>
          </a:p>
        </p:txBody>
      </p:sp>
      <p:sp>
        <p:nvSpPr>
          <p:cNvPr id="12" name="Freeform 5">
            <a:extLst>
              <a:ext uri="{FF2B5EF4-FFF2-40B4-BE49-F238E27FC236}">
                <a16:creationId xmlns:a16="http://schemas.microsoft.com/office/drawing/2014/main" id="{764C4576-7E7C-436C-9E85-E49EEE93740C}"/>
              </a:ext>
            </a:extLst>
          </p:cNvPr>
          <p:cNvSpPr>
            <a:spLocks/>
          </p:cNvSpPr>
          <p:nvPr/>
        </p:nvSpPr>
        <p:spPr bwMode="auto">
          <a:xfrm>
            <a:off x="1822450" y="4390192"/>
            <a:ext cx="8550275" cy="1510533"/>
          </a:xfrm>
          <a:custGeom>
            <a:avLst/>
            <a:gdLst/>
            <a:ahLst/>
            <a:cxnLst>
              <a:cxn ang="0">
                <a:pos x="0" y="0"/>
              </a:cxn>
              <a:cxn ang="0">
                <a:pos x="294" y="0"/>
              </a:cxn>
              <a:cxn ang="0">
                <a:pos x="1263" y="247"/>
              </a:cxn>
              <a:cxn ang="0">
                <a:pos x="2232" y="0"/>
              </a:cxn>
              <a:cxn ang="0">
                <a:pos x="2675" y="0"/>
              </a:cxn>
              <a:cxn ang="0">
                <a:pos x="3644" y="247"/>
              </a:cxn>
              <a:cxn ang="0">
                <a:pos x="4613" y="0"/>
              </a:cxn>
              <a:cxn ang="0">
                <a:pos x="4908" y="0"/>
              </a:cxn>
              <a:cxn ang="0">
                <a:pos x="4908" y="718"/>
              </a:cxn>
              <a:cxn ang="0">
                <a:pos x="0" y="718"/>
              </a:cxn>
              <a:cxn ang="0">
                <a:pos x="0" y="0"/>
              </a:cxn>
            </a:cxnLst>
            <a:rect l="0" t="0" r="r" b="b"/>
            <a:pathLst>
              <a:path w="4909" h="719">
                <a:moveTo>
                  <a:pt x="0" y="0"/>
                </a:moveTo>
                <a:lnTo>
                  <a:pt x="294" y="0"/>
                </a:lnTo>
                <a:lnTo>
                  <a:pt x="1263" y="247"/>
                </a:lnTo>
                <a:lnTo>
                  <a:pt x="2232" y="0"/>
                </a:lnTo>
                <a:lnTo>
                  <a:pt x="2675" y="0"/>
                </a:lnTo>
                <a:lnTo>
                  <a:pt x="3644" y="247"/>
                </a:lnTo>
                <a:lnTo>
                  <a:pt x="4613" y="0"/>
                </a:lnTo>
                <a:lnTo>
                  <a:pt x="4908" y="0"/>
                </a:lnTo>
                <a:lnTo>
                  <a:pt x="4908" y="718"/>
                </a:lnTo>
                <a:lnTo>
                  <a:pt x="0" y="718"/>
                </a:lnTo>
                <a:lnTo>
                  <a:pt x="0" y="0"/>
                </a:lnTo>
              </a:path>
            </a:pathLst>
          </a:custGeom>
          <a:solidFill>
            <a:schemeClr val="accent2"/>
          </a:solidFill>
          <a:ln w="6350" cap="rnd" cmpd="sng">
            <a:noFill/>
            <a:prstDash val="solid"/>
            <a:round/>
            <a:headEnd/>
            <a:tailEnd/>
          </a:ln>
          <a:effectLst/>
        </p:spPr>
        <p:txBody>
          <a:bodyPr/>
          <a:lstStyle/>
          <a:p>
            <a:endParaRPr lang="de-DE" sz="1400" dirty="0"/>
          </a:p>
        </p:txBody>
      </p:sp>
      <p:sp>
        <p:nvSpPr>
          <p:cNvPr id="14" name="AutoShape 6">
            <a:extLst>
              <a:ext uri="{FF2B5EF4-FFF2-40B4-BE49-F238E27FC236}">
                <a16:creationId xmlns:a16="http://schemas.microsoft.com/office/drawing/2014/main" id="{821C6FDE-E051-4528-AC29-D62470E204D9}"/>
              </a:ext>
            </a:extLst>
          </p:cNvPr>
          <p:cNvSpPr>
            <a:spLocks noChangeArrowheads="1"/>
          </p:cNvSpPr>
          <p:nvPr/>
        </p:nvSpPr>
        <p:spPr bwMode="auto">
          <a:xfrm rot="16200000" flipH="1">
            <a:off x="6481103" y="1420889"/>
            <a:ext cx="3416346" cy="3341054"/>
          </a:xfrm>
          <a:prstGeom prst="homePlate">
            <a:avLst>
              <a:gd name="adj" fmla="val 15215"/>
            </a:avLst>
          </a:prstGeom>
          <a:solidFill>
            <a:schemeClr val="tx2">
              <a:lumMod val="20000"/>
              <a:lumOff val="80000"/>
            </a:schemeClr>
          </a:solidFill>
          <a:ln w="6350">
            <a:noFill/>
            <a:miter lim="800000"/>
            <a:headEnd/>
            <a:tailEnd/>
          </a:ln>
        </p:spPr>
        <p:txBody>
          <a:bodyPr vert="vert" lIns="144000" tIns="216000" rIns="180000" bIns="72000"/>
          <a:lstStyle/>
          <a:p>
            <a:pPr eaLnBrk="0" hangingPunct="0">
              <a:lnSpc>
                <a:spcPct val="85000"/>
              </a:lnSpc>
              <a:spcBef>
                <a:spcPts val="100"/>
              </a:spcBef>
              <a:spcAft>
                <a:spcPts val="300"/>
              </a:spcAft>
            </a:pPr>
            <a:r>
              <a:rPr lang="en-US" b="1" dirty="0">
                <a:latin typeface="+mj-lt"/>
              </a:rPr>
              <a:t>Text</a:t>
            </a:r>
          </a:p>
          <a:p>
            <a:pPr marL="174625" indent="-174625" eaLnBrk="0" hangingPunct="0">
              <a:lnSpc>
                <a:spcPct val="85000"/>
              </a:lnSpc>
              <a:spcBef>
                <a:spcPts val="100"/>
              </a:spcBef>
              <a:spcAft>
                <a:spcPts val="100"/>
              </a:spcAft>
              <a:buFontTx/>
              <a:buChar char="•"/>
            </a:pPr>
            <a:r>
              <a:rPr lang="en-US" dirty="0"/>
              <a:t>Text</a:t>
            </a:r>
          </a:p>
          <a:p>
            <a:pPr marL="174625" indent="-174625" eaLnBrk="0" hangingPunct="0">
              <a:lnSpc>
                <a:spcPct val="85000"/>
              </a:lnSpc>
              <a:spcBef>
                <a:spcPts val="100"/>
              </a:spcBef>
              <a:spcAft>
                <a:spcPts val="100"/>
              </a:spcAft>
              <a:buFontTx/>
              <a:buChar char="•"/>
            </a:pPr>
            <a:r>
              <a:rPr lang="en-US" dirty="0"/>
              <a:t>Text</a:t>
            </a:r>
          </a:p>
          <a:p>
            <a:pPr marL="174625" indent="-174625" eaLnBrk="0" hangingPunct="0">
              <a:lnSpc>
                <a:spcPct val="85000"/>
              </a:lnSpc>
              <a:spcBef>
                <a:spcPts val="100"/>
              </a:spcBef>
              <a:spcAft>
                <a:spcPts val="100"/>
              </a:spcAft>
              <a:buFontTx/>
              <a:buChar char="•"/>
            </a:pPr>
            <a:r>
              <a:rPr lang="en-US" dirty="0"/>
              <a:t>Text</a:t>
            </a:r>
          </a:p>
        </p:txBody>
      </p:sp>
      <p:sp>
        <p:nvSpPr>
          <p:cNvPr id="16" name="Rectangle 15">
            <a:extLst>
              <a:ext uri="{FF2B5EF4-FFF2-40B4-BE49-F238E27FC236}">
                <a16:creationId xmlns:a16="http://schemas.microsoft.com/office/drawing/2014/main" id="{BED65550-4192-4A99-9DC6-52B95A740CE7}"/>
              </a:ext>
            </a:extLst>
          </p:cNvPr>
          <p:cNvSpPr/>
          <p:nvPr/>
        </p:nvSpPr>
        <p:spPr>
          <a:xfrm>
            <a:off x="3274668" y="5085348"/>
            <a:ext cx="5645838" cy="329706"/>
          </a:xfrm>
          <a:prstGeom prst="rect">
            <a:avLst/>
          </a:prstGeom>
        </p:spPr>
        <p:txBody>
          <a:bodyPr wrap="square">
            <a:spAutoFit/>
          </a:bodyPr>
          <a:lstStyle/>
          <a:p>
            <a:pPr marL="179388" indent="-179388" algn="ctr" eaLnBrk="0" hangingPunct="0">
              <a:lnSpc>
                <a:spcPct val="85000"/>
              </a:lnSpc>
              <a:spcBef>
                <a:spcPts val="100"/>
              </a:spcBef>
              <a:spcAft>
                <a:spcPts val="300"/>
              </a:spcAft>
            </a:pPr>
            <a:r>
              <a:rPr lang="en-US" b="1" dirty="0">
                <a:solidFill>
                  <a:schemeClr val="bg1"/>
                </a:solidFill>
                <a:latin typeface="+mj-lt"/>
              </a:rPr>
              <a:t>Text</a:t>
            </a:r>
          </a:p>
        </p:txBody>
      </p:sp>
    </p:spTree>
    <p:extLst>
      <p:ext uri="{BB962C8B-B14F-4D97-AF65-F5344CB8AC3E}">
        <p14:creationId xmlns:p14="http://schemas.microsoft.com/office/powerpoint/2010/main" val="220403320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3</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D7D83BA9-95B7-473E-8ED5-D1101473104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1" name="AutoShape 8">
            <a:extLst>
              <a:ext uri="{FF2B5EF4-FFF2-40B4-BE49-F238E27FC236}">
                <a16:creationId xmlns:a16="http://schemas.microsoft.com/office/drawing/2014/main" id="{F6528E39-0D90-4740-8080-4CDE81983BEF}"/>
              </a:ext>
            </a:extLst>
          </p:cNvPr>
          <p:cNvSpPr>
            <a:spLocks noChangeArrowheads="1"/>
          </p:cNvSpPr>
          <p:nvPr/>
        </p:nvSpPr>
        <p:spPr bwMode="auto">
          <a:xfrm flipV="1">
            <a:off x="1299991" y="1763713"/>
            <a:ext cx="4320000" cy="2002186"/>
          </a:xfrm>
          <a:prstGeom prst="triangle">
            <a:avLst>
              <a:gd name="adj" fmla="val 49995"/>
            </a:avLst>
          </a:prstGeom>
          <a:solidFill>
            <a:schemeClr val="accent1">
              <a:lumMod val="20000"/>
              <a:lumOff val="80000"/>
            </a:schemeClr>
          </a:solidFill>
          <a:ln w="6350">
            <a:noFill/>
            <a:miter lim="800000"/>
            <a:headEnd/>
            <a:tailEnd/>
          </a:ln>
          <a:effectLst/>
        </p:spPr>
        <p:txBody>
          <a:bodyPr rot="10800000" wrap="none" lIns="72000" tIns="180000" rIns="72000" bIns="72000"/>
          <a:lstStyle/>
          <a:p>
            <a:pPr algn="ctr" eaLnBrk="0" hangingPunct="0">
              <a:spcBef>
                <a:spcPct val="0"/>
              </a:spcBef>
            </a:pPr>
            <a:r>
              <a:rPr lang="en-US" dirty="0">
                <a:solidFill>
                  <a:schemeClr val="tx1"/>
                </a:solidFill>
              </a:rPr>
              <a:t>Text</a:t>
            </a:r>
          </a:p>
        </p:txBody>
      </p:sp>
      <p:sp>
        <p:nvSpPr>
          <p:cNvPr id="13" name="AutoShape 9">
            <a:extLst>
              <a:ext uri="{FF2B5EF4-FFF2-40B4-BE49-F238E27FC236}">
                <a16:creationId xmlns:a16="http://schemas.microsoft.com/office/drawing/2014/main" id="{B7AC945F-A826-4F24-9E50-B138ED50660D}"/>
              </a:ext>
            </a:extLst>
          </p:cNvPr>
          <p:cNvSpPr>
            <a:spLocks noChangeArrowheads="1"/>
          </p:cNvSpPr>
          <p:nvPr/>
        </p:nvSpPr>
        <p:spPr bwMode="auto">
          <a:xfrm flipV="1">
            <a:off x="6063705" y="1763713"/>
            <a:ext cx="4320000" cy="2002186"/>
          </a:xfrm>
          <a:prstGeom prst="triangle">
            <a:avLst>
              <a:gd name="adj" fmla="val 49995"/>
            </a:avLst>
          </a:prstGeom>
          <a:solidFill>
            <a:schemeClr val="accent3">
              <a:lumMod val="20000"/>
              <a:lumOff val="80000"/>
            </a:schemeClr>
          </a:solidFill>
          <a:ln w="6350">
            <a:noFill/>
            <a:miter lim="800000"/>
            <a:headEnd/>
            <a:tailEnd/>
          </a:ln>
          <a:effectLst/>
        </p:spPr>
        <p:txBody>
          <a:bodyPr rot="10800000" wrap="none" lIns="72000" tIns="180000" rIns="72000" bIns="72000"/>
          <a:lstStyle/>
          <a:p>
            <a:pPr algn="ctr" eaLnBrk="0" hangingPunct="0">
              <a:spcBef>
                <a:spcPct val="0"/>
              </a:spcBef>
            </a:pPr>
            <a:r>
              <a:rPr lang="en-US" dirty="0">
                <a:solidFill>
                  <a:schemeClr val="tx1"/>
                </a:solidFill>
              </a:rPr>
              <a:t>Text</a:t>
            </a:r>
          </a:p>
        </p:txBody>
      </p:sp>
      <p:sp>
        <p:nvSpPr>
          <p:cNvPr id="15" name="TextBox 14">
            <a:extLst>
              <a:ext uri="{FF2B5EF4-FFF2-40B4-BE49-F238E27FC236}">
                <a16:creationId xmlns:a16="http://schemas.microsoft.com/office/drawing/2014/main" id="{493424F8-C299-412E-A461-23265533D410}"/>
              </a:ext>
            </a:extLst>
          </p:cNvPr>
          <p:cNvSpPr txBox="1"/>
          <p:nvPr/>
        </p:nvSpPr>
        <p:spPr>
          <a:xfrm>
            <a:off x="1299991" y="1376363"/>
            <a:ext cx="4320000" cy="387350"/>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7" name="TextBox 16">
            <a:extLst>
              <a:ext uri="{FF2B5EF4-FFF2-40B4-BE49-F238E27FC236}">
                <a16:creationId xmlns:a16="http://schemas.microsoft.com/office/drawing/2014/main" id="{AB1AF1B4-F8BD-4119-96DC-67DC83B7432D}"/>
              </a:ext>
            </a:extLst>
          </p:cNvPr>
          <p:cNvSpPr txBox="1"/>
          <p:nvPr/>
        </p:nvSpPr>
        <p:spPr>
          <a:xfrm>
            <a:off x="6063705" y="1376363"/>
            <a:ext cx="4320000" cy="387350"/>
          </a:xfrm>
          <a:prstGeom prst="rect">
            <a:avLst/>
          </a:prstGeom>
          <a:solidFill>
            <a:schemeClr val="accent5"/>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9" name="AutoShape 7">
            <a:extLst>
              <a:ext uri="{FF2B5EF4-FFF2-40B4-BE49-F238E27FC236}">
                <a16:creationId xmlns:a16="http://schemas.microsoft.com/office/drawing/2014/main" id="{8495E083-0176-42C4-9E95-BC8EC47D0BA5}"/>
              </a:ext>
            </a:extLst>
          </p:cNvPr>
          <p:cNvSpPr>
            <a:spLocks noChangeAspect="1" noChangeArrowheads="1"/>
          </p:cNvSpPr>
          <p:nvPr/>
        </p:nvSpPr>
        <p:spPr bwMode="auto">
          <a:xfrm>
            <a:off x="1299991" y="3728716"/>
            <a:ext cx="9576556" cy="1517052"/>
          </a:xfrm>
          <a:prstGeom prst="homePlate">
            <a:avLst>
              <a:gd name="adj" fmla="val 32103"/>
            </a:avLst>
          </a:prstGeom>
          <a:gradFill>
            <a:gsLst>
              <a:gs pos="0">
                <a:schemeClr val="accent1"/>
              </a:gs>
              <a:gs pos="100000">
                <a:schemeClr val="accent5"/>
              </a:gs>
            </a:gsLst>
            <a:lin ang="1200000" scaled="0"/>
          </a:gra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dirty="0">
                <a:solidFill>
                  <a:schemeClr val="bg1"/>
                </a:solidFill>
                <a:latin typeface="+mj-lt"/>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266363633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4</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8341317D-C781-4E95-A036-C9EF84A2605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1" name="Arrow: Right 20">
            <a:extLst>
              <a:ext uri="{FF2B5EF4-FFF2-40B4-BE49-F238E27FC236}">
                <a16:creationId xmlns:a16="http://schemas.microsoft.com/office/drawing/2014/main" id="{DABFA6DD-3C3F-4936-B435-6B846144C98F}"/>
              </a:ext>
            </a:extLst>
          </p:cNvPr>
          <p:cNvSpPr/>
          <p:nvPr/>
        </p:nvSpPr>
        <p:spPr>
          <a:xfrm>
            <a:off x="381001" y="2860276"/>
            <a:ext cx="11430000" cy="1572107"/>
          </a:xfrm>
          <a:prstGeom prst="rightArrow">
            <a:avLst/>
          </a:prstGeom>
          <a:pattFill prst="dkUpDiag">
            <a:fgClr>
              <a:schemeClr val="accent5"/>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 name="Rectangle 22">
            <a:extLst>
              <a:ext uri="{FF2B5EF4-FFF2-40B4-BE49-F238E27FC236}">
                <a16:creationId xmlns:a16="http://schemas.microsoft.com/office/drawing/2014/main" id="{33249731-E075-48AF-A16B-DC4C0E3C7DA4}"/>
              </a:ext>
            </a:extLst>
          </p:cNvPr>
          <p:cNvSpPr/>
          <p:nvPr/>
        </p:nvSpPr>
        <p:spPr>
          <a:xfrm>
            <a:off x="1314451" y="1955486"/>
            <a:ext cx="4415779" cy="338168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25" name="TextBox 24">
            <a:extLst>
              <a:ext uri="{FF2B5EF4-FFF2-40B4-BE49-F238E27FC236}">
                <a16:creationId xmlns:a16="http://schemas.microsoft.com/office/drawing/2014/main" id="{606C9395-A12A-4517-8C99-0E7B6037A6CC}"/>
              </a:ext>
            </a:extLst>
          </p:cNvPr>
          <p:cNvSpPr txBox="1"/>
          <p:nvPr/>
        </p:nvSpPr>
        <p:spPr>
          <a:xfrm>
            <a:off x="1314450" y="1568135"/>
            <a:ext cx="4415779" cy="387350"/>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7" name="Rectangle 26">
            <a:extLst>
              <a:ext uri="{FF2B5EF4-FFF2-40B4-BE49-F238E27FC236}">
                <a16:creationId xmlns:a16="http://schemas.microsoft.com/office/drawing/2014/main" id="{80E77DBE-86CE-4CF1-9929-CA7394DAC31A}"/>
              </a:ext>
            </a:extLst>
          </p:cNvPr>
          <p:cNvSpPr/>
          <p:nvPr/>
        </p:nvSpPr>
        <p:spPr>
          <a:xfrm>
            <a:off x="6079840" y="1955486"/>
            <a:ext cx="4415779" cy="338168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180000" rtlCol="0" anchor="t" anchorCtr="0"/>
          <a:lstStyle/>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a:p>
            <a:pPr marL="344488" indent="-165100" eaLnBrk="0" hangingPunct="0">
              <a:spcBef>
                <a:spcPts val="100"/>
              </a:spcBef>
              <a:spcAft>
                <a:spcPts val="100"/>
              </a:spcAft>
              <a:buFontTx/>
              <a:buChar char="•"/>
            </a:pPr>
            <a:r>
              <a:rPr lang="en-US" dirty="0">
                <a:solidFill>
                  <a:schemeClr val="tx1"/>
                </a:solidFill>
              </a:rPr>
              <a:t>Text</a:t>
            </a:r>
          </a:p>
        </p:txBody>
      </p:sp>
      <p:sp>
        <p:nvSpPr>
          <p:cNvPr id="29" name="TextBox 28">
            <a:extLst>
              <a:ext uri="{FF2B5EF4-FFF2-40B4-BE49-F238E27FC236}">
                <a16:creationId xmlns:a16="http://schemas.microsoft.com/office/drawing/2014/main" id="{9D62D52D-FF97-45D5-B43A-EEDABA3CFB8C}"/>
              </a:ext>
            </a:extLst>
          </p:cNvPr>
          <p:cNvSpPr txBox="1"/>
          <p:nvPr/>
        </p:nvSpPr>
        <p:spPr>
          <a:xfrm>
            <a:off x="6079839" y="1568135"/>
            <a:ext cx="4415779" cy="387350"/>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Tree>
    <p:extLst>
      <p:ext uri="{BB962C8B-B14F-4D97-AF65-F5344CB8AC3E}">
        <p14:creationId xmlns:p14="http://schemas.microsoft.com/office/powerpoint/2010/main" val="324762561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fluence 5</a:t>
            </a:r>
          </a:p>
        </p:txBody>
      </p:sp>
      <p:sp>
        <p:nvSpPr>
          <p:cNvPr id="4" name="Freeform: Shape 3">
            <a:hlinkClick r:id="rId6"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6" action="ppaction://hlinksldjump"/>
            <a:extLst>
              <a:ext uri="{FF2B5EF4-FFF2-40B4-BE49-F238E27FC236}">
                <a16:creationId xmlns:a16="http://schemas.microsoft.com/office/drawing/2014/main" id="{6257A144-0FB1-40E9-9F7E-9A58B784D30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3" name="Arrow: Right 12">
            <a:extLst>
              <a:ext uri="{FF2B5EF4-FFF2-40B4-BE49-F238E27FC236}">
                <a16:creationId xmlns:a16="http://schemas.microsoft.com/office/drawing/2014/main" id="{082E0A3F-A7CA-4B62-A60C-A24F2610639C}"/>
              </a:ext>
            </a:extLst>
          </p:cNvPr>
          <p:cNvSpPr/>
          <p:nvPr/>
        </p:nvSpPr>
        <p:spPr>
          <a:xfrm>
            <a:off x="3751093" y="2568146"/>
            <a:ext cx="6194291" cy="2156475"/>
          </a:xfrm>
          <a:prstGeom prst="rightArrow">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lIns="2160000" rtlCol="0" anchor="ctr"/>
          <a:lstStyle/>
          <a:p>
            <a:pPr algn="ctr" eaLnBrk="0" hangingPunct="0">
              <a:lnSpc>
                <a:spcPct val="85000"/>
              </a:lnSpc>
              <a:spcBef>
                <a:spcPts val="100"/>
              </a:spcBef>
              <a:spcAft>
                <a:spcPts val="300"/>
              </a:spcAft>
            </a:pPr>
            <a:r>
              <a:rPr lang="en-AU" b="1" dirty="0">
                <a:solidFill>
                  <a:schemeClr val="tx1"/>
                </a:solidFill>
                <a:latin typeface="+mj-lt"/>
              </a:rPr>
              <a:t>Text</a:t>
            </a:r>
            <a:endParaRPr lang="en-GB" b="1" dirty="0">
              <a:solidFill>
                <a:schemeClr val="tx1"/>
              </a:solidFill>
              <a:latin typeface="+mj-lt"/>
            </a:endParaRPr>
          </a:p>
        </p:txBody>
      </p:sp>
      <p:sp>
        <p:nvSpPr>
          <p:cNvPr id="15" name="Isosceles Triangle 14">
            <a:extLst>
              <a:ext uri="{FF2B5EF4-FFF2-40B4-BE49-F238E27FC236}">
                <a16:creationId xmlns:a16="http://schemas.microsoft.com/office/drawing/2014/main" id="{FA79B00C-A2EF-4821-8091-B22C1C40DB5A}"/>
              </a:ext>
            </a:extLst>
          </p:cNvPr>
          <p:cNvSpPr/>
          <p:nvPr/>
        </p:nvSpPr>
        <p:spPr>
          <a:xfrm rot="5400000">
            <a:off x="2800641" y="2816031"/>
            <a:ext cx="3616273" cy="1820937"/>
          </a:xfrm>
          <a:prstGeom prst="triangle">
            <a:avLst>
              <a:gd name="adj" fmla="val 4966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Isosceles Triangle 16">
            <a:extLst>
              <a:ext uri="{FF2B5EF4-FFF2-40B4-BE49-F238E27FC236}">
                <a16:creationId xmlns:a16="http://schemas.microsoft.com/office/drawing/2014/main" id="{D184D62C-6DBC-44FB-9E14-1AABEE7E2006}"/>
              </a:ext>
            </a:extLst>
          </p:cNvPr>
          <p:cNvSpPr/>
          <p:nvPr/>
        </p:nvSpPr>
        <p:spPr>
          <a:xfrm rot="10800000">
            <a:off x="3790978" y="1795603"/>
            <a:ext cx="3616274" cy="1820937"/>
          </a:xfrm>
          <a:prstGeom prst="triangle">
            <a:avLst>
              <a:gd name="adj" fmla="val 4966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 name="Isosceles Triangle 18">
            <a:extLst>
              <a:ext uri="{FF2B5EF4-FFF2-40B4-BE49-F238E27FC236}">
                <a16:creationId xmlns:a16="http://schemas.microsoft.com/office/drawing/2014/main" id="{889957F5-28CB-4B62-B60F-91450EB05DFF}"/>
              </a:ext>
            </a:extLst>
          </p:cNvPr>
          <p:cNvSpPr/>
          <p:nvPr/>
        </p:nvSpPr>
        <p:spPr>
          <a:xfrm flipH="1">
            <a:off x="3794176" y="3809843"/>
            <a:ext cx="3616274" cy="1820937"/>
          </a:xfrm>
          <a:prstGeom prst="triangle">
            <a:avLst>
              <a:gd name="adj" fmla="val 4966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1" name="Rectangle 6">
            <a:extLst>
              <a:ext uri="{FF2B5EF4-FFF2-40B4-BE49-F238E27FC236}">
                <a16:creationId xmlns:a16="http://schemas.microsoft.com/office/drawing/2014/main" id="{62B181DE-6B50-44A5-B3AE-D3D0AE23026D}"/>
              </a:ext>
            </a:extLst>
          </p:cNvPr>
          <p:cNvSpPr>
            <a:spLocks noChangeArrowheads="1"/>
          </p:cNvSpPr>
          <p:nvPr>
            <p:custDataLst>
              <p:tags r:id="rId1"/>
            </p:custDataLst>
          </p:nvPr>
        </p:nvSpPr>
        <p:spPr bwMode="auto">
          <a:xfrm>
            <a:off x="3698308" y="2960000"/>
            <a:ext cx="1820938" cy="1532999"/>
          </a:xfrm>
          <a:prstGeom prst="rect">
            <a:avLst/>
          </a:prstGeom>
          <a:noFill/>
          <a:ln w="6350">
            <a:noFill/>
            <a:miter lim="800000"/>
            <a:headEnd/>
            <a:tailEnd/>
          </a:ln>
          <a:effectLst/>
        </p:spPr>
        <p:txBody>
          <a:bodyPr lIns="180000" tIns="180000" rIns="144000" bIns="72000" anchor="ctr" anchorCtr="0"/>
          <a:lstStyle/>
          <a:p>
            <a:pPr algn="l" eaLnBrk="0" hangingPunct="0">
              <a:lnSpc>
                <a:spcPct val="85000"/>
              </a:lnSpc>
              <a:spcBef>
                <a:spcPts val="100"/>
              </a:spcBef>
              <a:spcAft>
                <a:spcPts val="300"/>
              </a:spcAft>
            </a:pPr>
            <a:r>
              <a:rPr lang="en-US" b="1" dirty="0">
                <a:solidFill>
                  <a:schemeClr val="bg1"/>
                </a:solidFill>
                <a:latin typeface="+mj-lt"/>
              </a:rPr>
              <a:t>Text</a:t>
            </a:r>
          </a:p>
        </p:txBody>
      </p:sp>
      <p:sp>
        <p:nvSpPr>
          <p:cNvPr id="23" name="Rectangle 6">
            <a:extLst>
              <a:ext uri="{FF2B5EF4-FFF2-40B4-BE49-F238E27FC236}">
                <a16:creationId xmlns:a16="http://schemas.microsoft.com/office/drawing/2014/main" id="{7CCE5AAD-B615-4ABC-BED1-37EC4BAB585B}"/>
              </a:ext>
            </a:extLst>
          </p:cNvPr>
          <p:cNvSpPr>
            <a:spLocks noChangeArrowheads="1"/>
          </p:cNvSpPr>
          <p:nvPr>
            <p:custDataLst>
              <p:tags r:id="rId2"/>
            </p:custDataLst>
          </p:nvPr>
        </p:nvSpPr>
        <p:spPr bwMode="auto">
          <a:xfrm>
            <a:off x="4329229" y="1795602"/>
            <a:ext cx="2539773" cy="1532999"/>
          </a:xfrm>
          <a:prstGeom prst="rect">
            <a:avLst/>
          </a:prstGeom>
          <a:noFill/>
          <a:ln w="6350">
            <a:noFill/>
            <a:miter lim="800000"/>
            <a:headEnd/>
            <a:tailEnd/>
          </a:ln>
          <a:effectLst/>
        </p:spPr>
        <p:txBody>
          <a:bodyPr lIns="180000" tIns="180000" rIns="144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p:txBody>
      </p:sp>
      <p:sp>
        <p:nvSpPr>
          <p:cNvPr id="25" name="Rectangle 6">
            <a:extLst>
              <a:ext uri="{FF2B5EF4-FFF2-40B4-BE49-F238E27FC236}">
                <a16:creationId xmlns:a16="http://schemas.microsoft.com/office/drawing/2014/main" id="{006EF808-87B9-421F-8EB3-A6E9F253575B}"/>
              </a:ext>
            </a:extLst>
          </p:cNvPr>
          <p:cNvSpPr>
            <a:spLocks noChangeArrowheads="1"/>
          </p:cNvSpPr>
          <p:nvPr>
            <p:custDataLst>
              <p:tags r:id="rId3"/>
            </p:custDataLst>
          </p:nvPr>
        </p:nvSpPr>
        <p:spPr bwMode="auto">
          <a:xfrm>
            <a:off x="4329229" y="4370231"/>
            <a:ext cx="2539773" cy="1260549"/>
          </a:xfrm>
          <a:prstGeom prst="rect">
            <a:avLst/>
          </a:prstGeom>
          <a:noFill/>
          <a:ln w="6350">
            <a:noFill/>
            <a:miter lim="800000"/>
            <a:headEnd/>
            <a:tailEnd/>
          </a:ln>
          <a:effectLst/>
        </p:spPr>
        <p:txBody>
          <a:bodyPr lIns="180000" tIns="180000" rIns="144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p:txBody>
      </p:sp>
    </p:spTree>
    <p:extLst>
      <p:ext uri="{BB962C8B-B14F-4D97-AF65-F5344CB8AC3E}">
        <p14:creationId xmlns:p14="http://schemas.microsoft.com/office/powerpoint/2010/main" val="219587152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pPr lvl="0"/>
            <a:r>
              <a:rPr lang="de-DE" noProof="0" dirty="0"/>
              <a:t>3 keypoints infographic</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mj-lt"/>
              <a:ea typeface="+mn-ea"/>
              <a:cs typeface="+mn-cs"/>
            </a:endParaRPr>
          </a:p>
        </p:txBody>
      </p:sp>
      <p:sp>
        <p:nvSpPr>
          <p:cNvPr id="3" name="Rectangle 2">
            <a:hlinkClick r:id="rId3" action="ppaction://hlinksldjump"/>
            <a:extLst>
              <a:ext uri="{FF2B5EF4-FFF2-40B4-BE49-F238E27FC236}">
                <a16:creationId xmlns:a16="http://schemas.microsoft.com/office/drawing/2014/main" id="{5C8075E6-B7E3-4971-A3F9-9BB25E8E963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latin typeface="+mj-lt"/>
            </a:endParaRPr>
          </a:p>
        </p:txBody>
      </p:sp>
      <p:grpSp>
        <p:nvGrpSpPr>
          <p:cNvPr id="206" name="Group 205">
            <a:extLst>
              <a:ext uri="{FF2B5EF4-FFF2-40B4-BE49-F238E27FC236}">
                <a16:creationId xmlns:a16="http://schemas.microsoft.com/office/drawing/2014/main" id="{8FB24B53-C130-486B-93FE-47F50EA9792C}"/>
              </a:ext>
            </a:extLst>
          </p:cNvPr>
          <p:cNvGrpSpPr/>
          <p:nvPr/>
        </p:nvGrpSpPr>
        <p:grpSpPr>
          <a:xfrm>
            <a:off x="421195" y="381000"/>
            <a:ext cx="10965879" cy="5741174"/>
            <a:chOff x="421195" y="381000"/>
            <a:chExt cx="10965879" cy="5741174"/>
          </a:xfrm>
        </p:grpSpPr>
        <p:cxnSp>
          <p:nvCxnSpPr>
            <p:cNvPr id="105" name="Straight Connector 104">
              <a:extLst>
                <a:ext uri="{FF2B5EF4-FFF2-40B4-BE49-F238E27FC236}">
                  <a16:creationId xmlns:a16="http://schemas.microsoft.com/office/drawing/2014/main" id="{EE083FF9-595B-4D87-89D3-71515E9BB2A9}"/>
                </a:ext>
              </a:extLst>
            </p:cNvPr>
            <p:cNvCxnSpPr>
              <a:cxnSpLocks/>
            </p:cNvCxnSpPr>
            <p:nvPr/>
          </p:nvCxnSpPr>
          <p:spPr>
            <a:xfrm flipV="1">
              <a:off x="7513237" y="4704609"/>
              <a:ext cx="921837" cy="169567"/>
            </a:xfrm>
            <a:prstGeom prst="line">
              <a:avLst/>
            </a:prstGeom>
            <a:noFill/>
            <a:ln w="9525" cap="flat" cmpd="sng" algn="ctr">
              <a:solidFill>
                <a:schemeClr val="accent2"/>
              </a:solidFill>
              <a:prstDash val="dash"/>
            </a:ln>
            <a:effectLst/>
          </p:spPr>
        </p:cxnSp>
        <p:cxnSp>
          <p:nvCxnSpPr>
            <p:cNvPr id="106" name="Straight Connector 105">
              <a:extLst>
                <a:ext uri="{FF2B5EF4-FFF2-40B4-BE49-F238E27FC236}">
                  <a16:creationId xmlns:a16="http://schemas.microsoft.com/office/drawing/2014/main" id="{0E9ADA16-B7D7-4818-ADD9-7E6C1D75D9B8}"/>
                </a:ext>
              </a:extLst>
            </p:cNvPr>
            <p:cNvCxnSpPr>
              <a:cxnSpLocks/>
              <a:endCxn id="154" idx="1"/>
            </p:cNvCxnSpPr>
            <p:nvPr/>
          </p:nvCxnSpPr>
          <p:spPr>
            <a:xfrm flipV="1">
              <a:off x="6725422" y="1582555"/>
              <a:ext cx="1708154" cy="1244920"/>
            </a:xfrm>
            <a:prstGeom prst="line">
              <a:avLst/>
            </a:prstGeom>
            <a:noFill/>
            <a:ln w="9525" cap="flat" cmpd="sng" algn="ctr">
              <a:solidFill>
                <a:schemeClr val="accent1"/>
              </a:solidFill>
              <a:prstDash val="dash"/>
            </a:ln>
            <a:effectLst/>
          </p:spPr>
        </p:cxnSp>
        <p:cxnSp>
          <p:nvCxnSpPr>
            <p:cNvPr id="107" name="Straight Connector 106">
              <a:extLst>
                <a:ext uri="{FF2B5EF4-FFF2-40B4-BE49-F238E27FC236}">
                  <a16:creationId xmlns:a16="http://schemas.microsoft.com/office/drawing/2014/main" id="{320F8BAA-92FA-471B-8895-F219AFEE5B7B}"/>
                </a:ext>
              </a:extLst>
            </p:cNvPr>
            <p:cNvCxnSpPr>
              <a:cxnSpLocks/>
              <a:stCxn id="129" idx="3"/>
            </p:cNvCxnSpPr>
            <p:nvPr/>
          </p:nvCxnSpPr>
          <p:spPr>
            <a:xfrm flipV="1">
              <a:off x="3641631" y="3907336"/>
              <a:ext cx="688939" cy="74447"/>
            </a:xfrm>
            <a:prstGeom prst="line">
              <a:avLst/>
            </a:prstGeom>
            <a:noFill/>
            <a:ln w="9525" cap="flat" cmpd="sng" algn="ctr">
              <a:solidFill>
                <a:schemeClr val="accent3"/>
              </a:solidFill>
              <a:prstDash val="dash"/>
            </a:ln>
            <a:effectLst/>
          </p:spPr>
        </p:cxnSp>
        <p:sp>
          <p:nvSpPr>
            <p:cNvPr id="108" name="Freeform 8">
              <a:extLst>
                <a:ext uri="{FF2B5EF4-FFF2-40B4-BE49-F238E27FC236}">
                  <a16:creationId xmlns:a16="http://schemas.microsoft.com/office/drawing/2014/main" id="{4A3FD50C-244B-4521-970D-DB3DEA0D2F4A}"/>
                </a:ext>
              </a:extLst>
            </p:cNvPr>
            <p:cNvSpPr>
              <a:spLocks/>
            </p:cNvSpPr>
            <p:nvPr/>
          </p:nvSpPr>
          <p:spPr bwMode="auto">
            <a:xfrm rot="2576790">
              <a:off x="6904017" y="3415527"/>
              <a:ext cx="1076626" cy="461646"/>
            </a:xfrm>
            <a:custGeom>
              <a:avLst/>
              <a:gdLst>
                <a:gd name="T0" fmla="*/ 0 w 948"/>
                <a:gd name="T1" fmla="*/ 287 h 406"/>
                <a:gd name="T2" fmla="*/ 704 w 948"/>
                <a:gd name="T3" fmla="*/ 359 h 406"/>
                <a:gd name="T4" fmla="*/ 791 w 948"/>
                <a:gd name="T5" fmla="*/ 103 h 406"/>
                <a:gd name="T6" fmla="*/ 612 w 948"/>
                <a:gd name="T7" fmla="*/ 3 h 406"/>
                <a:gd name="T8" fmla="*/ 0 w 948"/>
                <a:gd name="T9" fmla="*/ 287 h 406"/>
              </a:gdLst>
              <a:ahLst/>
              <a:cxnLst>
                <a:cxn ang="0">
                  <a:pos x="T0" y="T1"/>
                </a:cxn>
                <a:cxn ang="0">
                  <a:pos x="T2" y="T3"/>
                </a:cxn>
                <a:cxn ang="0">
                  <a:pos x="T4" y="T5"/>
                </a:cxn>
                <a:cxn ang="0">
                  <a:pos x="T6" y="T7"/>
                </a:cxn>
                <a:cxn ang="0">
                  <a:pos x="T8" y="T9"/>
                </a:cxn>
              </a:cxnLst>
              <a:rect l="0" t="0" r="r" b="b"/>
              <a:pathLst>
                <a:path w="948" h="406">
                  <a:moveTo>
                    <a:pt x="0" y="287"/>
                  </a:moveTo>
                  <a:cubicBezTo>
                    <a:pt x="218" y="353"/>
                    <a:pt x="466" y="406"/>
                    <a:pt x="704" y="359"/>
                  </a:cubicBezTo>
                  <a:cubicBezTo>
                    <a:pt x="843" y="331"/>
                    <a:pt x="948" y="247"/>
                    <a:pt x="791" y="103"/>
                  </a:cubicBezTo>
                  <a:cubicBezTo>
                    <a:pt x="742" y="58"/>
                    <a:pt x="676" y="0"/>
                    <a:pt x="612" y="3"/>
                  </a:cubicBezTo>
                  <a:cubicBezTo>
                    <a:pt x="371" y="16"/>
                    <a:pt x="256" y="11"/>
                    <a:pt x="0" y="287"/>
                  </a:cubicBezTo>
                  <a:close/>
                </a:path>
              </a:pathLst>
            </a:custGeom>
            <a:solidFill>
              <a:schemeClr val="accent1"/>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09" name="Freeform 7">
              <a:extLst>
                <a:ext uri="{FF2B5EF4-FFF2-40B4-BE49-F238E27FC236}">
                  <a16:creationId xmlns:a16="http://schemas.microsoft.com/office/drawing/2014/main" id="{A9FFDAF6-1904-4A6D-BA2B-10A053614F79}"/>
                </a:ext>
              </a:extLst>
            </p:cNvPr>
            <p:cNvSpPr>
              <a:spLocks/>
            </p:cNvSpPr>
            <p:nvPr/>
          </p:nvSpPr>
          <p:spPr bwMode="auto">
            <a:xfrm rot="2576790">
              <a:off x="5377927" y="2157031"/>
              <a:ext cx="2415400" cy="1978484"/>
            </a:xfrm>
            <a:custGeom>
              <a:avLst/>
              <a:gdLst>
                <a:gd name="T0" fmla="*/ 2125 w 2125"/>
                <a:gd name="T1" fmla="*/ 502 h 1739"/>
                <a:gd name="T2" fmla="*/ 234 w 2125"/>
                <a:gd name="T3" fmla="*/ 533 h 1739"/>
                <a:gd name="T4" fmla="*/ 194 w 2125"/>
                <a:gd name="T5" fmla="*/ 1371 h 1739"/>
                <a:gd name="T6" fmla="*/ 1271 w 2125"/>
                <a:gd name="T7" fmla="*/ 1108 h 1739"/>
                <a:gd name="T8" fmla="*/ 2125 w 2125"/>
                <a:gd name="T9" fmla="*/ 502 h 1739"/>
              </a:gdLst>
              <a:ahLst/>
              <a:cxnLst>
                <a:cxn ang="0">
                  <a:pos x="T0" y="T1"/>
                </a:cxn>
                <a:cxn ang="0">
                  <a:pos x="T2" y="T3"/>
                </a:cxn>
                <a:cxn ang="0">
                  <a:pos x="T4" y="T5"/>
                </a:cxn>
                <a:cxn ang="0">
                  <a:pos x="T6" y="T7"/>
                </a:cxn>
                <a:cxn ang="0">
                  <a:pos x="T8" y="T9"/>
                </a:cxn>
              </a:cxnLst>
              <a:rect l="0" t="0" r="r" b="b"/>
              <a:pathLst>
                <a:path w="2125" h="1739">
                  <a:moveTo>
                    <a:pt x="2125" y="502"/>
                  </a:moveTo>
                  <a:cubicBezTo>
                    <a:pt x="1392" y="0"/>
                    <a:pt x="709" y="125"/>
                    <a:pt x="234" y="533"/>
                  </a:cubicBezTo>
                  <a:cubicBezTo>
                    <a:pt x="0" y="733"/>
                    <a:pt x="7" y="1158"/>
                    <a:pt x="194" y="1371"/>
                  </a:cubicBezTo>
                  <a:cubicBezTo>
                    <a:pt x="515" y="1739"/>
                    <a:pt x="1002" y="1690"/>
                    <a:pt x="1271" y="1108"/>
                  </a:cubicBezTo>
                  <a:cubicBezTo>
                    <a:pt x="1477" y="662"/>
                    <a:pt x="1687" y="441"/>
                    <a:pt x="2125" y="502"/>
                  </a:cubicBezTo>
                  <a:close/>
                </a:path>
              </a:pathLst>
            </a:custGeom>
            <a:solidFill>
              <a:schemeClr val="accent1">
                <a:lumMod val="60000"/>
                <a:lumOff val="40000"/>
              </a:schemeClr>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0" name="Freeform 10">
              <a:extLst>
                <a:ext uri="{FF2B5EF4-FFF2-40B4-BE49-F238E27FC236}">
                  <a16:creationId xmlns:a16="http://schemas.microsoft.com/office/drawing/2014/main" id="{AD14DB71-04EB-4D0C-A400-146500757A5A}"/>
                </a:ext>
              </a:extLst>
            </p:cNvPr>
            <p:cNvSpPr>
              <a:spLocks/>
            </p:cNvSpPr>
            <p:nvPr/>
          </p:nvSpPr>
          <p:spPr bwMode="auto">
            <a:xfrm rot="2576790">
              <a:off x="4758222" y="2460843"/>
              <a:ext cx="675982" cy="900210"/>
            </a:xfrm>
            <a:custGeom>
              <a:avLst/>
              <a:gdLst>
                <a:gd name="T0" fmla="*/ 594 w 594"/>
                <a:gd name="T1" fmla="*/ 792 h 792"/>
                <a:gd name="T2" fmla="*/ 293 w 594"/>
                <a:gd name="T3" fmla="*/ 152 h 792"/>
                <a:gd name="T4" fmla="*/ 29 w 594"/>
                <a:gd name="T5" fmla="*/ 208 h 792"/>
                <a:gd name="T6" fmla="*/ 36 w 594"/>
                <a:gd name="T7" fmla="*/ 414 h 792"/>
                <a:gd name="T8" fmla="*/ 594 w 594"/>
                <a:gd name="T9" fmla="*/ 792 h 792"/>
              </a:gdLst>
              <a:ahLst/>
              <a:cxnLst>
                <a:cxn ang="0">
                  <a:pos x="T0" y="T1"/>
                </a:cxn>
                <a:cxn ang="0">
                  <a:pos x="T2" y="T3"/>
                </a:cxn>
                <a:cxn ang="0">
                  <a:pos x="T4" y="T5"/>
                </a:cxn>
                <a:cxn ang="0">
                  <a:pos x="T6" y="T7"/>
                </a:cxn>
                <a:cxn ang="0">
                  <a:pos x="T8" y="T9"/>
                </a:cxn>
              </a:cxnLst>
              <a:rect l="0" t="0" r="r" b="b"/>
              <a:pathLst>
                <a:path w="594" h="792">
                  <a:moveTo>
                    <a:pt x="594" y="792"/>
                  </a:moveTo>
                  <a:cubicBezTo>
                    <a:pt x="539" y="571"/>
                    <a:pt x="457" y="332"/>
                    <a:pt x="293" y="152"/>
                  </a:cubicBezTo>
                  <a:cubicBezTo>
                    <a:pt x="198" y="47"/>
                    <a:pt x="72" y="0"/>
                    <a:pt x="29" y="208"/>
                  </a:cubicBezTo>
                  <a:cubicBezTo>
                    <a:pt x="16" y="274"/>
                    <a:pt x="0" y="361"/>
                    <a:pt x="36" y="414"/>
                  </a:cubicBezTo>
                  <a:cubicBezTo>
                    <a:pt x="171" y="613"/>
                    <a:pt x="226" y="714"/>
                    <a:pt x="594" y="792"/>
                  </a:cubicBezTo>
                  <a:close/>
                </a:path>
              </a:pathLst>
            </a:custGeom>
            <a:solidFill>
              <a:schemeClr val="accent3"/>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1" name="Freeform 12">
              <a:extLst>
                <a:ext uri="{FF2B5EF4-FFF2-40B4-BE49-F238E27FC236}">
                  <a16:creationId xmlns:a16="http://schemas.microsoft.com/office/drawing/2014/main" id="{7BB86089-6020-42A7-999D-FC2DFA25962D}"/>
                </a:ext>
              </a:extLst>
            </p:cNvPr>
            <p:cNvSpPr>
              <a:spLocks/>
            </p:cNvSpPr>
            <p:nvPr/>
          </p:nvSpPr>
          <p:spPr bwMode="auto">
            <a:xfrm rot="2576790">
              <a:off x="5332932" y="4789931"/>
              <a:ext cx="649602" cy="954619"/>
            </a:xfrm>
            <a:custGeom>
              <a:avLst/>
              <a:gdLst>
                <a:gd name="T0" fmla="*/ 463 w 572"/>
                <a:gd name="T1" fmla="*/ 0 h 839"/>
                <a:gd name="T2" fmla="*/ 47 w 572"/>
                <a:gd name="T3" fmla="*/ 572 h 839"/>
                <a:gd name="T4" fmla="*/ 223 w 572"/>
                <a:gd name="T5" fmla="*/ 776 h 839"/>
                <a:gd name="T6" fmla="*/ 400 w 572"/>
                <a:gd name="T7" fmla="*/ 671 h 839"/>
                <a:gd name="T8" fmla="*/ 463 w 572"/>
                <a:gd name="T9" fmla="*/ 0 h 839"/>
              </a:gdLst>
              <a:ahLst/>
              <a:cxnLst>
                <a:cxn ang="0">
                  <a:pos x="T0" y="T1"/>
                </a:cxn>
                <a:cxn ang="0">
                  <a:pos x="T2" y="T3"/>
                </a:cxn>
                <a:cxn ang="0">
                  <a:pos x="T4" y="T5"/>
                </a:cxn>
                <a:cxn ang="0">
                  <a:pos x="T6" y="T7"/>
                </a:cxn>
                <a:cxn ang="0">
                  <a:pos x="T8" y="T9"/>
                </a:cxn>
              </a:cxnLst>
              <a:rect l="0" t="0" r="r" b="b"/>
              <a:pathLst>
                <a:path w="572" h="839">
                  <a:moveTo>
                    <a:pt x="463" y="0"/>
                  </a:moveTo>
                  <a:cubicBezTo>
                    <a:pt x="296" y="155"/>
                    <a:pt x="126" y="342"/>
                    <a:pt x="47" y="572"/>
                  </a:cubicBezTo>
                  <a:cubicBezTo>
                    <a:pt x="0" y="706"/>
                    <a:pt x="20" y="839"/>
                    <a:pt x="223" y="776"/>
                  </a:cubicBezTo>
                  <a:cubicBezTo>
                    <a:pt x="287" y="756"/>
                    <a:pt x="371" y="729"/>
                    <a:pt x="400" y="671"/>
                  </a:cubicBezTo>
                  <a:cubicBezTo>
                    <a:pt x="510" y="457"/>
                    <a:pt x="572" y="360"/>
                    <a:pt x="463" y="0"/>
                  </a:cubicBezTo>
                  <a:close/>
                </a:path>
              </a:pathLst>
            </a:custGeom>
            <a:solidFill>
              <a:schemeClr val="accent2"/>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2" name="Freeform 9">
              <a:extLst>
                <a:ext uri="{FF2B5EF4-FFF2-40B4-BE49-F238E27FC236}">
                  <a16:creationId xmlns:a16="http://schemas.microsoft.com/office/drawing/2014/main" id="{60413648-E1EF-4962-AFC3-0CB9C95C7457}"/>
                </a:ext>
              </a:extLst>
            </p:cNvPr>
            <p:cNvSpPr>
              <a:spLocks/>
            </p:cNvSpPr>
            <p:nvPr/>
          </p:nvSpPr>
          <p:spPr bwMode="auto">
            <a:xfrm rot="2576790">
              <a:off x="3912278" y="3091937"/>
              <a:ext cx="2207659" cy="1937266"/>
            </a:xfrm>
            <a:custGeom>
              <a:avLst/>
              <a:gdLst>
                <a:gd name="T0" fmla="*/ 52 w 1942"/>
                <a:gd name="T1" fmla="*/ 0 h 1702"/>
                <a:gd name="T2" fmla="*/ 1052 w 1942"/>
                <a:gd name="T3" fmla="*/ 1605 h 1702"/>
                <a:gd name="T4" fmla="*/ 1792 w 1942"/>
                <a:gd name="T5" fmla="*/ 1207 h 1702"/>
                <a:gd name="T6" fmla="*/ 1011 w 1942"/>
                <a:gd name="T7" fmla="*/ 419 h 1702"/>
                <a:gd name="T8" fmla="*/ 52 w 1942"/>
                <a:gd name="T9" fmla="*/ 0 h 1702"/>
              </a:gdLst>
              <a:ahLst/>
              <a:cxnLst>
                <a:cxn ang="0">
                  <a:pos x="T0" y="T1"/>
                </a:cxn>
                <a:cxn ang="0">
                  <a:pos x="T2" y="T3"/>
                </a:cxn>
                <a:cxn ang="0">
                  <a:pos x="T4" y="T5"/>
                </a:cxn>
                <a:cxn ang="0">
                  <a:pos x="T6" y="T7"/>
                </a:cxn>
                <a:cxn ang="0">
                  <a:pos x="T8" y="T9"/>
                </a:cxn>
              </a:cxnLst>
              <a:rect l="0" t="0" r="r" b="b"/>
              <a:pathLst>
                <a:path w="1942" h="1702">
                  <a:moveTo>
                    <a:pt x="52" y="0"/>
                  </a:moveTo>
                  <a:cubicBezTo>
                    <a:pt x="0" y="886"/>
                    <a:pt x="459" y="1408"/>
                    <a:pt x="1052" y="1605"/>
                  </a:cubicBezTo>
                  <a:cubicBezTo>
                    <a:pt x="1345" y="1702"/>
                    <a:pt x="1705" y="1477"/>
                    <a:pt x="1792" y="1207"/>
                  </a:cubicBezTo>
                  <a:cubicBezTo>
                    <a:pt x="1942" y="743"/>
                    <a:pt x="1649" y="350"/>
                    <a:pt x="1011" y="419"/>
                  </a:cubicBezTo>
                  <a:cubicBezTo>
                    <a:pt x="523" y="472"/>
                    <a:pt x="225" y="406"/>
                    <a:pt x="52" y="0"/>
                  </a:cubicBezTo>
                  <a:close/>
                </a:path>
              </a:pathLst>
            </a:custGeom>
            <a:solidFill>
              <a:srgbClr val="8700DA"/>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3" name="Freeform 11">
              <a:extLst>
                <a:ext uri="{FF2B5EF4-FFF2-40B4-BE49-F238E27FC236}">
                  <a16:creationId xmlns:a16="http://schemas.microsoft.com/office/drawing/2014/main" id="{96CC0CF3-340A-41BA-8567-7E7903CCCCA9}"/>
                </a:ext>
              </a:extLst>
            </p:cNvPr>
            <p:cNvSpPr>
              <a:spLocks/>
            </p:cNvSpPr>
            <p:nvPr/>
          </p:nvSpPr>
          <p:spPr bwMode="auto">
            <a:xfrm rot="2576790">
              <a:off x="5689702" y="3663907"/>
              <a:ext cx="1704794" cy="2458267"/>
            </a:xfrm>
            <a:custGeom>
              <a:avLst/>
              <a:gdLst>
                <a:gd name="T0" fmla="*/ 461 w 1500"/>
                <a:gd name="T1" fmla="*/ 2160 h 2160"/>
                <a:gd name="T2" fmla="*/ 1387 w 1500"/>
                <a:gd name="T3" fmla="*/ 511 h 2160"/>
                <a:gd name="T4" fmla="*/ 682 w 1500"/>
                <a:gd name="T5" fmla="*/ 54 h 2160"/>
                <a:gd name="T6" fmla="*/ 367 w 1500"/>
                <a:gd name="T7" fmla="*/ 1117 h 2160"/>
                <a:gd name="T8" fmla="*/ 461 w 1500"/>
                <a:gd name="T9" fmla="*/ 2160 h 2160"/>
              </a:gdLst>
              <a:ahLst/>
              <a:cxnLst>
                <a:cxn ang="0">
                  <a:pos x="T0" y="T1"/>
                </a:cxn>
                <a:cxn ang="0">
                  <a:pos x="T2" y="T3"/>
                </a:cxn>
                <a:cxn ang="0">
                  <a:pos x="T4" y="T5"/>
                </a:cxn>
                <a:cxn ang="0">
                  <a:pos x="T6" y="T7"/>
                </a:cxn>
                <a:cxn ang="0">
                  <a:pos x="T8" y="T9"/>
                </a:cxn>
              </a:cxnLst>
              <a:rect l="0" t="0" r="r" b="b"/>
              <a:pathLst>
                <a:path w="1500" h="2160">
                  <a:moveTo>
                    <a:pt x="461" y="2160"/>
                  </a:moveTo>
                  <a:cubicBezTo>
                    <a:pt x="1263" y="1780"/>
                    <a:pt x="1500" y="1126"/>
                    <a:pt x="1387" y="511"/>
                  </a:cubicBezTo>
                  <a:cubicBezTo>
                    <a:pt x="1331" y="208"/>
                    <a:pt x="961" y="0"/>
                    <a:pt x="682" y="54"/>
                  </a:cubicBezTo>
                  <a:cubicBezTo>
                    <a:pt x="203" y="146"/>
                    <a:pt x="0" y="591"/>
                    <a:pt x="367" y="1117"/>
                  </a:cubicBezTo>
                  <a:cubicBezTo>
                    <a:pt x="649" y="1520"/>
                    <a:pt x="733" y="1813"/>
                    <a:pt x="461" y="2160"/>
                  </a:cubicBezTo>
                  <a:close/>
                </a:path>
              </a:pathLst>
            </a:custGeom>
            <a:solidFill>
              <a:schemeClr val="accent2">
                <a:lumMod val="60000"/>
                <a:lumOff val="40000"/>
              </a:schemeClr>
            </a:solidFill>
            <a:ln w="12" cap="flat">
              <a:noFill/>
              <a:prstDash val="solid"/>
              <a:miter lim="800000"/>
              <a:headEnd/>
              <a:tailEnd/>
            </a:ln>
          </p:spPr>
          <p:txBody>
            <a:bodyPr vert="horz" wrap="square" lIns="48768" tIns="24384" rIns="48768" bIns="24384" numCol="1" anchor="t" anchorCtr="0" compatLnSpc="1">
              <a:prstTxWarp prst="textNoShape">
                <a:avLst/>
              </a:prstTxWarp>
            </a:bodyPr>
            <a:lstStyle/>
            <a:p>
              <a:pPr marL="0" marR="0" lvl="0" indent="0" defTabSz="487650" eaLnBrk="1" fontAlgn="auto" latinLnBrk="0" hangingPunct="1">
                <a:lnSpc>
                  <a:spcPct val="100000"/>
                </a:lnSpc>
                <a:spcBef>
                  <a:spcPts val="0"/>
                </a:spcBef>
                <a:spcAft>
                  <a:spcPts val="0"/>
                </a:spcAft>
                <a:buClrTx/>
                <a:buSzTx/>
                <a:buFontTx/>
                <a:buNone/>
                <a:tabLst/>
                <a:defRPr/>
              </a:pPr>
              <a:endParaRPr kumimoji="0" lang="en-US" sz="960" b="0" i="0" u="none" strike="noStrike" kern="0" cap="none" spc="0" normalizeH="0" baseline="0" noProof="0" dirty="0">
                <a:ln>
                  <a:noFill/>
                </a:ln>
                <a:solidFill>
                  <a:sysClr val="windowText" lastClr="000000"/>
                </a:solidFill>
                <a:effectLst/>
                <a:uLnTx/>
                <a:uFillTx/>
                <a:latin typeface="+mj-lt"/>
              </a:endParaRPr>
            </a:p>
          </p:txBody>
        </p:sp>
        <p:sp>
          <p:nvSpPr>
            <p:cNvPr id="114" name="Oval 113">
              <a:extLst>
                <a:ext uri="{FF2B5EF4-FFF2-40B4-BE49-F238E27FC236}">
                  <a16:creationId xmlns:a16="http://schemas.microsoft.com/office/drawing/2014/main" id="{D06B0FF3-6517-447F-A799-D599C5A7CAB7}"/>
                </a:ext>
              </a:extLst>
            </p:cNvPr>
            <p:cNvSpPr/>
            <p:nvPr/>
          </p:nvSpPr>
          <p:spPr>
            <a:xfrm>
              <a:off x="5533453" y="2297013"/>
              <a:ext cx="1259000" cy="1259000"/>
            </a:xfrm>
            <a:prstGeom prst="ellipse">
              <a:avLst/>
            </a:prstGeom>
            <a:solidFill>
              <a:schemeClr val="accent1"/>
            </a:solidFill>
            <a:ln w="25400" cap="flat" cmpd="sng" algn="ctr">
              <a:noFill/>
              <a:prstDash val="solid"/>
            </a:ln>
            <a:effectLst/>
          </p:spPr>
          <p:txBody>
            <a:bodyPr rtlCol="0" anchor="ctr"/>
            <a:lstStyle/>
            <a:p>
              <a:pPr marL="0" marR="0" lvl="0" indent="0" algn="ctr" defTabSz="975299" eaLnBrk="1" fontAlgn="auto" latinLnBrk="0" hangingPunct="1">
                <a:lnSpc>
                  <a:spcPct val="100000"/>
                </a:lnSpc>
                <a:spcBef>
                  <a:spcPts val="0"/>
                </a:spcBef>
                <a:spcAft>
                  <a:spcPts val="0"/>
                </a:spcAft>
                <a:buClrTx/>
                <a:buSzTx/>
                <a:buFontTx/>
                <a:buNone/>
                <a:tabLst/>
                <a:defRPr/>
              </a:pPr>
              <a:endParaRPr kumimoji="0" lang="en-US" sz="1920" b="0" i="0" u="none" strike="noStrike" kern="0" cap="none" spc="0" normalizeH="0" baseline="0" noProof="0" dirty="0">
                <a:ln>
                  <a:noFill/>
                </a:ln>
                <a:solidFill>
                  <a:srgbClr val="FFFFFF"/>
                </a:solidFill>
                <a:effectLst/>
                <a:uLnTx/>
                <a:uFillTx/>
                <a:latin typeface="+mj-lt"/>
                <a:ea typeface="+mn-ea"/>
                <a:cs typeface="+mn-cs"/>
              </a:endParaRPr>
            </a:p>
          </p:txBody>
        </p:sp>
        <p:sp>
          <p:nvSpPr>
            <p:cNvPr id="115" name="Oval 114">
              <a:extLst>
                <a:ext uri="{FF2B5EF4-FFF2-40B4-BE49-F238E27FC236}">
                  <a16:creationId xmlns:a16="http://schemas.microsoft.com/office/drawing/2014/main" id="{F6A7761D-B6C1-4674-A5B2-9B17B2A5A459}"/>
                </a:ext>
              </a:extLst>
            </p:cNvPr>
            <p:cNvSpPr/>
            <p:nvPr/>
          </p:nvSpPr>
          <p:spPr>
            <a:xfrm>
              <a:off x="6279774" y="3919726"/>
              <a:ext cx="1259000" cy="1259000"/>
            </a:xfrm>
            <a:prstGeom prst="ellipse">
              <a:avLst/>
            </a:prstGeom>
            <a:solidFill>
              <a:schemeClr val="accent2"/>
            </a:solidFill>
            <a:ln w="25400" cap="flat" cmpd="sng" algn="ctr">
              <a:noFill/>
              <a:prstDash val="solid"/>
            </a:ln>
            <a:effectLst/>
          </p:spPr>
          <p:txBody>
            <a:bodyPr rtlCol="0" anchor="ctr"/>
            <a:lstStyle/>
            <a:p>
              <a:pPr marL="0" marR="0" lvl="0" indent="0" algn="ctr" defTabSz="975299" eaLnBrk="1" fontAlgn="auto" latinLnBrk="0" hangingPunct="1">
                <a:lnSpc>
                  <a:spcPct val="100000"/>
                </a:lnSpc>
                <a:spcBef>
                  <a:spcPts val="0"/>
                </a:spcBef>
                <a:spcAft>
                  <a:spcPts val="0"/>
                </a:spcAft>
                <a:buClrTx/>
                <a:buSzTx/>
                <a:buFontTx/>
                <a:buNone/>
                <a:tabLst/>
                <a:defRPr/>
              </a:pPr>
              <a:endParaRPr kumimoji="0" lang="en-US" sz="1920" b="0" i="0" u="none" strike="noStrike" kern="0" cap="none" spc="0" normalizeH="0" baseline="0" noProof="0" dirty="0">
                <a:ln>
                  <a:noFill/>
                </a:ln>
                <a:solidFill>
                  <a:srgbClr val="FFFFFF"/>
                </a:solidFill>
                <a:effectLst/>
                <a:uLnTx/>
                <a:uFillTx/>
                <a:latin typeface="+mj-lt"/>
                <a:ea typeface="+mn-ea"/>
                <a:cs typeface="+mn-cs"/>
              </a:endParaRPr>
            </a:p>
          </p:txBody>
        </p:sp>
        <p:sp>
          <p:nvSpPr>
            <p:cNvPr id="116" name="Oval 115">
              <a:extLst>
                <a:ext uri="{FF2B5EF4-FFF2-40B4-BE49-F238E27FC236}">
                  <a16:creationId xmlns:a16="http://schemas.microsoft.com/office/drawing/2014/main" id="{5D23795E-3732-46BD-A31A-E2F575170192}"/>
                </a:ext>
              </a:extLst>
            </p:cNvPr>
            <p:cNvSpPr/>
            <p:nvPr/>
          </p:nvSpPr>
          <p:spPr>
            <a:xfrm>
              <a:off x="4451226" y="3741152"/>
              <a:ext cx="1259000" cy="1259000"/>
            </a:xfrm>
            <a:prstGeom prst="ellipse">
              <a:avLst/>
            </a:prstGeom>
            <a:solidFill>
              <a:schemeClr val="accent3"/>
            </a:solidFill>
            <a:ln w="25400" cap="flat" cmpd="sng" algn="ctr">
              <a:noFill/>
              <a:prstDash val="solid"/>
            </a:ln>
            <a:effectLst/>
          </p:spPr>
          <p:txBody>
            <a:bodyPr rtlCol="0" anchor="ctr"/>
            <a:lstStyle/>
            <a:p>
              <a:pPr marL="0" marR="0" lvl="0" indent="0" algn="ctr" defTabSz="975299" eaLnBrk="1" fontAlgn="auto" latinLnBrk="0" hangingPunct="1">
                <a:lnSpc>
                  <a:spcPct val="100000"/>
                </a:lnSpc>
                <a:spcBef>
                  <a:spcPts val="0"/>
                </a:spcBef>
                <a:spcAft>
                  <a:spcPts val="0"/>
                </a:spcAft>
                <a:buClrTx/>
                <a:buSzTx/>
                <a:buFontTx/>
                <a:buNone/>
                <a:tabLst/>
                <a:defRPr/>
              </a:pPr>
              <a:endParaRPr kumimoji="0" lang="en-US" sz="1920" b="0" i="0" u="none" strike="noStrike" kern="0" cap="none" spc="0" normalizeH="0" baseline="0" noProof="0" dirty="0">
                <a:ln>
                  <a:noFill/>
                </a:ln>
                <a:solidFill>
                  <a:srgbClr val="FFFFFF"/>
                </a:solidFill>
                <a:effectLst/>
                <a:uLnTx/>
                <a:uFillTx/>
                <a:latin typeface="+mj-lt"/>
                <a:ea typeface="+mn-ea"/>
                <a:cs typeface="+mn-cs"/>
              </a:endParaRPr>
            </a:p>
          </p:txBody>
        </p:sp>
        <p:grpSp>
          <p:nvGrpSpPr>
            <p:cNvPr id="117" name="Group 121">
              <a:extLst>
                <a:ext uri="{FF2B5EF4-FFF2-40B4-BE49-F238E27FC236}">
                  <a16:creationId xmlns:a16="http://schemas.microsoft.com/office/drawing/2014/main" id="{7C5E7429-79E1-49BA-9ED3-698237F4A895}"/>
                </a:ext>
              </a:extLst>
            </p:cNvPr>
            <p:cNvGrpSpPr>
              <a:grpSpLocks noChangeAspect="1"/>
            </p:cNvGrpSpPr>
            <p:nvPr/>
          </p:nvGrpSpPr>
          <p:grpSpPr bwMode="auto">
            <a:xfrm>
              <a:off x="6603274" y="4245367"/>
              <a:ext cx="612000" cy="607719"/>
              <a:chOff x="1549" y="3225"/>
              <a:chExt cx="429" cy="426"/>
            </a:xfrm>
            <a:solidFill>
              <a:sysClr val="window" lastClr="FFFFFF"/>
            </a:solidFill>
          </p:grpSpPr>
          <p:sp>
            <p:nvSpPr>
              <p:cNvPr id="118" name="Freeform 122">
                <a:extLst>
                  <a:ext uri="{FF2B5EF4-FFF2-40B4-BE49-F238E27FC236}">
                    <a16:creationId xmlns:a16="http://schemas.microsoft.com/office/drawing/2014/main" id="{11BA72D5-CBFD-4668-B341-F0803A34EB3E}"/>
                  </a:ext>
                </a:extLst>
              </p:cNvPr>
              <p:cNvSpPr>
                <a:spLocks/>
              </p:cNvSpPr>
              <p:nvPr/>
            </p:nvSpPr>
            <p:spPr bwMode="auto">
              <a:xfrm>
                <a:off x="1860" y="3225"/>
                <a:ext cx="118" cy="116"/>
              </a:xfrm>
              <a:custGeom>
                <a:avLst/>
                <a:gdLst>
                  <a:gd name="T0" fmla="*/ 7 w 80"/>
                  <a:gd name="T1" fmla="*/ 78 h 78"/>
                  <a:gd name="T2" fmla="*/ 3 w 80"/>
                  <a:gd name="T3" fmla="*/ 77 h 78"/>
                  <a:gd name="T4" fmla="*/ 3 w 80"/>
                  <a:gd name="T5" fmla="*/ 68 h 78"/>
                  <a:gd name="T6" fmla="*/ 69 w 80"/>
                  <a:gd name="T7" fmla="*/ 2 h 78"/>
                  <a:gd name="T8" fmla="*/ 77 w 80"/>
                  <a:gd name="T9" fmla="*/ 2 h 78"/>
                  <a:gd name="T10" fmla="*/ 77 w 80"/>
                  <a:gd name="T11" fmla="*/ 10 h 78"/>
                  <a:gd name="T12" fmla="*/ 11 w 80"/>
                  <a:gd name="T13" fmla="*/ 77 h 78"/>
                  <a:gd name="T14" fmla="*/ 7 w 8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8">
                    <a:moveTo>
                      <a:pt x="7" y="78"/>
                    </a:moveTo>
                    <a:cubicBezTo>
                      <a:pt x="5" y="78"/>
                      <a:pt x="4" y="78"/>
                      <a:pt x="3" y="77"/>
                    </a:cubicBezTo>
                    <a:cubicBezTo>
                      <a:pt x="0" y="74"/>
                      <a:pt x="0" y="70"/>
                      <a:pt x="3" y="68"/>
                    </a:cubicBezTo>
                    <a:cubicBezTo>
                      <a:pt x="69" y="2"/>
                      <a:pt x="69" y="2"/>
                      <a:pt x="69" y="2"/>
                    </a:cubicBezTo>
                    <a:cubicBezTo>
                      <a:pt x="71" y="0"/>
                      <a:pt x="75" y="0"/>
                      <a:pt x="77" y="2"/>
                    </a:cubicBezTo>
                    <a:cubicBezTo>
                      <a:pt x="80" y="4"/>
                      <a:pt x="80" y="8"/>
                      <a:pt x="77" y="10"/>
                    </a:cubicBezTo>
                    <a:cubicBezTo>
                      <a:pt x="11" y="77"/>
                      <a:pt x="11" y="77"/>
                      <a:pt x="11" y="77"/>
                    </a:cubicBezTo>
                    <a:cubicBezTo>
                      <a:pt x="10" y="78"/>
                      <a:pt x="8" y="78"/>
                      <a:pt x="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19" name="Freeform 123">
                <a:extLst>
                  <a:ext uri="{FF2B5EF4-FFF2-40B4-BE49-F238E27FC236}">
                    <a16:creationId xmlns:a16="http://schemas.microsoft.com/office/drawing/2014/main" id="{8C683419-8621-4EB2-A724-E64F79698898}"/>
                  </a:ext>
                </a:extLst>
              </p:cNvPr>
              <p:cNvSpPr>
                <a:spLocks/>
              </p:cNvSpPr>
              <p:nvPr/>
            </p:nvSpPr>
            <p:spPr bwMode="auto">
              <a:xfrm>
                <a:off x="1549" y="3536"/>
                <a:ext cx="117" cy="115"/>
              </a:xfrm>
              <a:custGeom>
                <a:avLst/>
                <a:gdLst>
                  <a:gd name="T0" fmla="*/ 7 w 79"/>
                  <a:gd name="T1" fmla="*/ 78 h 78"/>
                  <a:gd name="T2" fmla="*/ 3 w 79"/>
                  <a:gd name="T3" fmla="*/ 76 h 78"/>
                  <a:gd name="T4" fmla="*/ 3 w 79"/>
                  <a:gd name="T5" fmla="*/ 68 h 78"/>
                  <a:gd name="T6" fmla="*/ 69 w 79"/>
                  <a:gd name="T7" fmla="*/ 2 h 78"/>
                  <a:gd name="T8" fmla="*/ 77 w 79"/>
                  <a:gd name="T9" fmla="*/ 2 h 78"/>
                  <a:gd name="T10" fmla="*/ 77 w 79"/>
                  <a:gd name="T11" fmla="*/ 11 h 78"/>
                  <a:gd name="T12" fmla="*/ 11 w 79"/>
                  <a:gd name="T13" fmla="*/ 76 h 78"/>
                  <a:gd name="T14" fmla="*/ 7 w 79"/>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8">
                    <a:moveTo>
                      <a:pt x="7" y="78"/>
                    </a:moveTo>
                    <a:cubicBezTo>
                      <a:pt x="6" y="78"/>
                      <a:pt x="4" y="78"/>
                      <a:pt x="3" y="76"/>
                    </a:cubicBezTo>
                    <a:cubicBezTo>
                      <a:pt x="0" y="74"/>
                      <a:pt x="0" y="70"/>
                      <a:pt x="3" y="68"/>
                    </a:cubicBezTo>
                    <a:cubicBezTo>
                      <a:pt x="69" y="2"/>
                      <a:pt x="69" y="2"/>
                      <a:pt x="69" y="2"/>
                    </a:cubicBezTo>
                    <a:cubicBezTo>
                      <a:pt x="71" y="0"/>
                      <a:pt x="75" y="0"/>
                      <a:pt x="77" y="2"/>
                    </a:cubicBezTo>
                    <a:cubicBezTo>
                      <a:pt x="79" y="4"/>
                      <a:pt x="79" y="8"/>
                      <a:pt x="77" y="11"/>
                    </a:cubicBezTo>
                    <a:cubicBezTo>
                      <a:pt x="11" y="76"/>
                      <a:pt x="11" y="76"/>
                      <a:pt x="11" y="76"/>
                    </a:cubicBezTo>
                    <a:cubicBezTo>
                      <a:pt x="10" y="78"/>
                      <a:pt x="9" y="78"/>
                      <a:pt x="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0" name="Freeform 124">
                <a:extLst>
                  <a:ext uri="{FF2B5EF4-FFF2-40B4-BE49-F238E27FC236}">
                    <a16:creationId xmlns:a16="http://schemas.microsoft.com/office/drawing/2014/main" id="{448C7C5C-CBAD-4BBF-8B4A-0411EB93164F}"/>
                  </a:ext>
                </a:extLst>
              </p:cNvPr>
              <p:cNvSpPr>
                <a:spLocks/>
              </p:cNvSpPr>
              <p:nvPr/>
            </p:nvSpPr>
            <p:spPr bwMode="auto">
              <a:xfrm>
                <a:off x="1550" y="3545"/>
                <a:ext cx="107" cy="106"/>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9" y="0"/>
                      <a:pt x="12" y="3"/>
                      <a:pt x="12" y="6"/>
                    </a:cubicBezTo>
                    <a:cubicBezTo>
                      <a:pt x="12" y="60"/>
                      <a:pt x="12" y="60"/>
                      <a:pt x="12" y="60"/>
                    </a:cubicBezTo>
                    <a:cubicBezTo>
                      <a:pt x="66" y="60"/>
                      <a:pt x="66" y="60"/>
                      <a:pt x="66" y="60"/>
                    </a:cubicBezTo>
                    <a:cubicBezTo>
                      <a:pt x="69" y="60"/>
                      <a:pt x="72" y="63"/>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1" name="Freeform 125">
                <a:extLst>
                  <a:ext uri="{FF2B5EF4-FFF2-40B4-BE49-F238E27FC236}">
                    <a16:creationId xmlns:a16="http://schemas.microsoft.com/office/drawing/2014/main" id="{522F5F97-AD67-4D0B-9508-CEC4A866A1BB}"/>
                  </a:ext>
                </a:extLst>
              </p:cNvPr>
              <p:cNvSpPr>
                <a:spLocks/>
              </p:cNvSpPr>
              <p:nvPr/>
            </p:nvSpPr>
            <p:spPr bwMode="auto">
              <a:xfrm>
                <a:off x="1870" y="3225"/>
                <a:ext cx="107" cy="107"/>
              </a:xfrm>
              <a:custGeom>
                <a:avLst/>
                <a:gdLst>
                  <a:gd name="T0" fmla="*/ 66 w 72"/>
                  <a:gd name="T1" fmla="*/ 72 h 72"/>
                  <a:gd name="T2" fmla="*/ 60 w 72"/>
                  <a:gd name="T3" fmla="*/ 66 h 72"/>
                  <a:gd name="T4" fmla="*/ 60 w 72"/>
                  <a:gd name="T5" fmla="*/ 12 h 72"/>
                  <a:gd name="T6" fmla="*/ 6 w 72"/>
                  <a:gd name="T7" fmla="*/ 12 h 72"/>
                  <a:gd name="T8" fmla="*/ 0 w 72"/>
                  <a:gd name="T9" fmla="*/ 6 h 72"/>
                  <a:gd name="T10" fmla="*/ 6 w 72"/>
                  <a:gd name="T11" fmla="*/ 0 h 72"/>
                  <a:gd name="T12" fmla="*/ 66 w 72"/>
                  <a:gd name="T13" fmla="*/ 0 h 72"/>
                  <a:gd name="T14" fmla="*/ 72 w 72"/>
                  <a:gd name="T15" fmla="*/ 6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3" y="72"/>
                      <a:pt x="60" y="69"/>
                      <a:pt x="60" y="66"/>
                    </a:cubicBezTo>
                    <a:cubicBezTo>
                      <a:pt x="60" y="12"/>
                      <a:pt x="60" y="12"/>
                      <a:pt x="60" y="12"/>
                    </a:cubicBez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66"/>
                      <a:pt x="72" y="66"/>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2" name="Freeform 126">
                <a:extLst>
                  <a:ext uri="{FF2B5EF4-FFF2-40B4-BE49-F238E27FC236}">
                    <a16:creationId xmlns:a16="http://schemas.microsoft.com/office/drawing/2014/main" id="{F02DF31F-1B3C-4A3E-8503-8800F450DBD3}"/>
                  </a:ext>
                </a:extLst>
              </p:cNvPr>
              <p:cNvSpPr>
                <a:spLocks/>
              </p:cNvSpPr>
              <p:nvPr/>
            </p:nvSpPr>
            <p:spPr bwMode="auto">
              <a:xfrm>
                <a:off x="1860" y="3534"/>
                <a:ext cx="118" cy="117"/>
              </a:xfrm>
              <a:custGeom>
                <a:avLst/>
                <a:gdLst>
                  <a:gd name="T0" fmla="*/ 73 w 80"/>
                  <a:gd name="T1" fmla="*/ 79 h 79"/>
                  <a:gd name="T2" fmla="*/ 69 w 80"/>
                  <a:gd name="T3" fmla="*/ 77 h 79"/>
                  <a:gd name="T4" fmla="*/ 3 w 80"/>
                  <a:gd name="T5" fmla="*/ 11 h 79"/>
                  <a:gd name="T6" fmla="*/ 3 w 80"/>
                  <a:gd name="T7" fmla="*/ 3 h 79"/>
                  <a:gd name="T8" fmla="*/ 11 w 80"/>
                  <a:gd name="T9" fmla="*/ 3 h 79"/>
                  <a:gd name="T10" fmla="*/ 77 w 80"/>
                  <a:gd name="T11" fmla="*/ 69 h 79"/>
                  <a:gd name="T12" fmla="*/ 77 w 80"/>
                  <a:gd name="T13" fmla="*/ 77 h 79"/>
                  <a:gd name="T14" fmla="*/ 73 w 80"/>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9">
                    <a:moveTo>
                      <a:pt x="73" y="79"/>
                    </a:moveTo>
                    <a:cubicBezTo>
                      <a:pt x="72" y="79"/>
                      <a:pt x="70" y="79"/>
                      <a:pt x="69" y="77"/>
                    </a:cubicBezTo>
                    <a:cubicBezTo>
                      <a:pt x="3" y="11"/>
                      <a:pt x="3" y="11"/>
                      <a:pt x="3" y="11"/>
                    </a:cubicBezTo>
                    <a:cubicBezTo>
                      <a:pt x="0" y="9"/>
                      <a:pt x="0" y="5"/>
                      <a:pt x="3" y="3"/>
                    </a:cubicBezTo>
                    <a:cubicBezTo>
                      <a:pt x="5" y="0"/>
                      <a:pt x="9" y="0"/>
                      <a:pt x="11" y="3"/>
                    </a:cubicBezTo>
                    <a:cubicBezTo>
                      <a:pt x="77" y="69"/>
                      <a:pt x="77" y="69"/>
                      <a:pt x="77" y="69"/>
                    </a:cubicBezTo>
                    <a:cubicBezTo>
                      <a:pt x="80" y="71"/>
                      <a:pt x="80" y="75"/>
                      <a:pt x="77" y="77"/>
                    </a:cubicBezTo>
                    <a:cubicBezTo>
                      <a:pt x="76" y="79"/>
                      <a:pt x="75" y="79"/>
                      <a:pt x="7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3" name="Freeform 127">
                <a:extLst>
                  <a:ext uri="{FF2B5EF4-FFF2-40B4-BE49-F238E27FC236}">
                    <a16:creationId xmlns:a16="http://schemas.microsoft.com/office/drawing/2014/main" id="{8B9EFF11-F60C-4B8C-A0A8-D4758B668FB3}"/>
                  </a:ext>
                </a:extLst>
              </p:cNvPr>
              <p:cNvSpPr>
                <a:spLocks/>
              </p:cNvSpPr>
              <p:nvPr/>
            </p:nvSpPr>
            <p:spPr bwMode="auto">
              <a:xfrm>
                <a:off x="1549" y="3225"/>
                <a:ext cx="117" cy="116"/>
              </a:xfrm>
              <a:custGeom>
                <a:avLst/>
                <a:gdLst>
                  <a:gd name="T0" fmla="*/ 73 w 79"/>
                  <a:gd name="T1" fmla="*/ 78 h 78"/>
                  <a:gd name="T2" fmla="*/ 69 w 79"/>
                  <a:gd name="T3" fmla="*/ 76 h 78"/>
                  <a:gd name="T4" fmla="*/ 3 w 79"/>
                  <a:gd name="T5" fmla="*/ 10 h 78"/>
                  <a:gd name="T6" fmla="*/ 3 w 79"/>
                  <a:gd name="T7" fmla="*/ 2 h 78"/>
                  <a:gd name="T8" fmla="*/ 11 w 79"/>
                  <a:gd name="T9" fmla="*/ 2 h 78"/>
                  <a:gd name="T10" fmla="*/ 77 w 79"/>
                  <a:gd name="T11" fmla="*/ 68 h 78"/>
                  <a:gd name="T12" fmla="*/ 77 w 79"/>
                  <a:gd name="T13" fmla="*/ 76 h 78"/>
                  <a:gd name="T14" fmla="*/ 73 w 79"/>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8">
                    <a:moveTo>
                      <a:pt x="73" y="78"/>
                    </a:moveTo>
                    <a:cubicBezTo>
                      <a:pt x="71" y="78"/>
                      <a:pt x="70" y="77"/>
                      <a:pt x="69" y="76"/>
                    </a:cubicBezTo>
                    <a:cubicBezTo>
                      <a:pt x="3" y="10"/>
                      <a:pt x="3" y="10"/>
                      <a:pt x="3" y="10"/>
                    </a:cubicBezTo>
                    <a:cubicBezTo>
                      <a:pt x="0" y="8"/>
                      <a:pt x="0" y="4"/>
                      <a:pt x="3" y="2"/>
                    </a:cubicBezTo>
                    <a:cubicBezTo>
                      <a:pt x="5" y="0"/>
                      <a:pt x="9" y="0"/>
                      <a:pt x="11" y="2"/>
                    </a:cubicBezTo>
                    <a:cubicBezTo>
                      <a:pt x="77" y="68"/>
                      <a:pt x="77" y="68"/>
                      <a:pt x="77" y="68"/>
                    </a:cubicBezTo>
                    <a:cubicBezTo>
                      <a:pt x="79" y="70"/>
                      <a:pt x="79" y="74"/>
                      <a:pt x="77" y="76"/>
                    </a:cubicBezTo>
                    <a:cubicBezTo>
                      <a:pt x="76" y="77"/>
                      <a:pt x="74" y="78"/>
                      <a:pt x="7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4" name="Freeform 128">
                <a:extLst>
                  <a:ext uri="{FF2B5EF4-FFF2-40B4-BE49-F238E27FC236}">
                    <a16:creationId xmlns:a16="http://schemas.microsoft.com/office/drawing/2014/main" id="{78824600-9894-44C2-A957-76322F83D6A1}"/>
                  </a:ext>
                </a:extLst>
              </p:cNvPr>
              <p:cNvSpPr>
                <a:spLocks/>
              </p:cNvSpPr>
              <p:nvPr/>
            </p:nvSpPr>
            <p:spPr bwMode="auto">
              <a:xfrm>
                <a:off x="1550" y="3225"/>
                <a:ext cx="107" cy="107"/>
              </a:xfrm>
              <a:custGeom>
                <a:avLst/>
                <a:gdLst>
                  <a:gd name="T0" fmla="*/ 6 w 72"/>
                  <a:gd name="T1" fmla="*/ 72 h 72"/>
                  <a:gd name="T2" fmla="*/ 0 w 72"/>
                  <a:gd name="T3" fmla="*/ 66 h 72"/>
                  <a:gd name="T4" fmla="*/ 0 w 72"/>
                  <a:gd name="T5" fmla="*/ 6 h 72"/>
                  <a:gd name="T6" fmla="*/ 6 w 72"/>
                  <a:gd name="T7" fmla="*/ 0 h 72"/>
                  <a:gd name="T8" fmla="*/ 66 w 72"/>
                  <a:gd name="T9" fmla="*/ 0 h 72"/>
                  <a:gd name="T10" fmla="*/ 72 w 72"/>
                  <a:gd name="T11" fmla="*/ 6 h 72"/>
                  <a:gd name="T12" fmla="*/ 66 w 72"/>
                  <a:gd name="T13" fmla="*/ 12 h 72"/>
                  <a:gd name="T14" fmla="*/ 12 w 72"/>
                  <a:gd name="T15" fmla="*/ 12 h 72"/>
                  <a:gd name="T16" fmla="*/ 12 w 72"/>
                  <a:gd name="T17" fmla="*/ 66 h 72"/>
                  <a:gd name="T18" fmla="*/ 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 y="72"/>
                    </a:moveTo>
                    <a:cubicBezTo>
                      <a:pt x="3" y="72"/>
                      <a:pt x="0" y="69"/>
                      <a:pt x="0" y="66"/>
                    </a:cubicBezTo>
                    <a:cubicBezTo>
                      <a:pt x="0" y="6"/>
                      <a:pt x="0" y="6"/>
                      <a:pt x="0" y="6"/>
                    </a:cubicBezTo>
                    <a:cubicBezTo>
                      <a:pt x="0" y="3"/>
                      <a:pt x="3" y="0"/>
                      <a:pt x="6" y="0"/>
                    </a:cubicBezTo>
                    <a:cubicBezTo>
                      <a:pt x="66" y="0"/>
                      <a:pt x="66" y="0"/>
                      <a:pt x="66" y="0"/>
                    </a:cubicBezTo>
                    <a:cubicBezTo>
                      <a:pt x="69" y="0"/>
                      <a:pt x="72" y="3"/>
                      <a:pt x="72" y="6"/>
                    </a:cubicBezTo>
                    <a:cubicBezTo>
                      <a:pt x="72" y="9"/>
                      <a:pt x="69" y="12"/>
                      <a:pt x="66" y="12"/>
                    </a:cubicBezTo>
                    <a:cubicBezTo>
                      <a:pt x="12" y="12"/>
                      <a:pt x="12" y="12"/>
                      <a:pt x="12" y="12"/>
                    </a:cubicBezTo>
                    <a:cubicBezTo>
                      <a:pt x="12" y="66"/>
                      <a:pt x="12" y="66"/>
                      <a:pt x="12" y="66"/>
                    </a:cubicBezTo>
                    <a:cubicBezTo>
                      <a:pt x="12" y="69"/>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5" name="Freeform 129">
                <a:extLst>
                  <a:ext uri="{FF2B5EF4-FFF2-40B4-BE49-F238E27FC236}">
                    <a16:creationId xmlns:a16="http://schemas.microsoft.com/office/drawing/2014/main" id="{4199DF51-ECDE-4225-8EF6-E4D9841EB6F5}"/>
                  </a:ext>
                </a:extLst>
              </p:cNvPr>
              <p:cNvSpPr>
                <a:spLocks/>
              </p:cNvSpPr>
              <p:nvPr/>
            </p:nvSpPr>
            <p:spPr bwMode="auto">
              <a:xfrm>
                <a:off x="1870" y="3545"/>
                <a:ext cx="107" cy="106"/>
              </a:xfrm>
              <a:custGeom>
                <a:avLst/>
                <a:gdLst>
                  <a:gd name="T0" fmla="*/ 66 w 72"/>
                  <a:gd name="T1" fmla="*/ 72 h 72"/>
                  <a:gd name="T2" fmla="*/ 6 w 72"/>
                  <a:gd name="T3" fmla="*/ 72 h 72"/>
                  <a:gd name="T4" fmla="*/ 0 w 72"/>
                  <a:gd name="T5" fmla="*/ 66 h 72"/>
                  <a:gd name="T6" fmla="*/ 6 w 72"/>
                  <a:gd name="T7" fmla="*/ 60 h 72"/>
                  <a:gd name="T8" fmla="*/ 60 w 72"/>
                  <a:gd name="T9" fmla="*/ 60 h 72"/>
                  <a:gd name="T10" fmla="*/ 60 w 72"/>
                  <a:gd name="T11" fmla="*/ 6 h 72"/>
                  <a:gd name="T12" fmla="*/ 66 w 72"/>
                  <a:gd name="T13" fmla="*/ 0 h 72"/>
                  <a:gd name="T14" fmla="*/ 72 w 72"/>
                  <a:gd name="T15" fmla="*/ 6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3"/>
                      <a:pt x="3" y="60"/>
                      <a:pt x="6" y="60"/>
                    </a:cubicBezTo>
                    <a:cubicBezTo>
                      <a:pt x="60" y="60"/>
                      <a:pt x="60" y="60"/>
                      <a:pt x="60" y="60"/>
                    </a:cubicBezTo>
                    <a:cubicBezTo>
                      <a:pt x="60" y="6"/>
                      <a:pt x="60" y="6"/>
                      <a:pt x="60" y="6"/>
                    </a:cubicBezTo>
                    <a:cubicBezTo>
                      <a:pt x="60" y="3"/>
                      <a:pt x="63" y="0"/>
                      <a:pt x="66" y="0"/>
                    </a:cubicBezTo>
                    <a:cubicBezTo>
                      <a:pt x="69" y="0"/>
                      <a:pt x="72" y="3"/>
                      <a:pt x="72" y="6"/>
                    </a:cubicBezTo>
                    <a:cubicBezTo>
                      <a:pt x="72" y="66"/>
                      <a:pt x="72" y="66"/>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6" name="Freeform 130">
                <a:extLst>
                  <a:ext uri="{FF2B5EF4-FFF2-40B4-BE49-F238E27FC236}">
                    <a16:creationId xmlns:a16="http://schemas.microsoft.com/office/drawing/2014/main" id="{1151B469-7E5B-4235-92FE-9084C09098A4}"/>
                  </a:ext>
                </a:extLst>
              </p:cNvPr>
              <p:cNvSpPr>
                <a:spLocks noEditPoints="1"/>
              </p:cNvSpPr>
              <p:nvPr/>
            </p:nvSpPr>
            <p:spPr bwMode="auto">
              <a:xfrm>
                <a:off x="1701" y="3278"/>
                <a:ext cx="125"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8" y="72"/>
                      <a:pt x="72" y="59"/>
                      <a:pt x="72" y="42"/>
                    </a:cubicBezTo>
                    <a:cubicBezTo>
                      <a:pt x="72" y="26"/>
                      <a:pt x="58"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27" name="Freeform 131">
                <a:extLst>
                  <a:ext uri="{FF2B5EF4-FFF2-40B4-BE49-F238E27FC236}">
                    <a16:creationId xmlns:a16="http://schemas.microsoft.com/office/drawing/2014/main" id="{7227653C-DF87-433A-B372-307701E89749}"/>
                  </a:ext>
                </a:extLst>
              </p:cNvPr>
              <p:cNvSpPr>
                <a:spLocks noEditPoints="1"/>
              </p:cNvSpPr>
              <p:nvPr/>
            </p:nvSpPr>
            <p:spPr bwMode="auto">
              <a:xfrm>
                <a:off x="1675" y="3420"/>
                <a:ext cx="177" cy="196"/>
              </a:xfrm>
              <a:custGeom>
                <a:avLst/>
                <a:gdLst>
                  <a:gd name="T0" fmla="*/ 78 w 120"/>
                  <a:gd name="T1" fmla="*/ 132 h 132"/>
                  <a:gd name="T2" fmla="*/ 42 w 120"/>
                  <a:gd name="T3" fmla="*/ 132 h 132"/>
                  <a:gd name="T4" fmla="*/ 36 w 120"/>
                  <a:gd name="T5" fmla="*/ 126 h 132"/>
                  <a:gd name="T6" fmla="*/ 36 w 120"/>
                  <a:gd name="T7" fmla="*/ 78 h 132"/>
                  <a:gd name="T8" fmla="*/ 0 w 120"/>
                  <a:gd name="T9" fmla="*/ 6 h 132"/>
                  <a:gd name="T10" fmla="*/ 6 w 120"/>
                  <a:gd name="T11" fmla="*/ 0 h 132"/>
                  <a:gd name="T12" fmla="*/ 114 w 120"/>
                  <a:gd name="T13" fmla="*/ 0 h 132"/>
                  <a:gd name="T14" fmla="*/ 120 w 120"/>
                  <a:gd name="T15" fmla="*/ 6 h 132"/>
                  <a:gd name="T16" fmla="*/ 84 w 120"/>
                  <a:gd name="T17" fmla="*/ 78 h 132"/>
                  <a:gd name="T18" fmla="*/ 84 w 120"/>
                  <a:gd name="T19" fmla="*/ 126 h 132"/>
                  <a:gd name="T20" fmla="*/ 78 w 120"/>
                  <a:gd name="T21" fmla="*/ 132 h 132"/>
                  <a:gd name="T22" fmla="*/ 48 w 120"/>
                  <a:gd name="T23" fmla="*/ 120 h 132"/>
                  <a:gd name="T24" fmla="*/ 72 w 120"/>
                  <a:gd name="T25" fmla="*/ 120 h 132"/>
                  <a:gd name="T26" fmla="*/ 72 w 120"/>
                  <a:gd name="T27" fmla="*/ 74 h 132"/>
                  <a:gd name="T28" fmla="*/ 76 w 120"/>
                  <a:gd name="T29" fmla="*/ 69 h 132"/>
                  <a:gd name="T30" fmla="*/ 107 w 120"/>
                  <a:gd name="T31" fmla="*/ 12 h 132"/>
                  <a:gd name="T32" fmla="*/ 12 w 120"/>
                  <a:gd name="T33" fmla="*/ 12 h 132"/>
                  <a:gd name="T34" fmla="*/ 44 w 120"/>
                  <a:gd name="T35" fmla="*/ 69 h 132"/>
                  <a:gd name="T36" fmla="*/ 48 w 120"/>
                  <a:gd name="T37" fmla="*/ 74 h 132"/>
                  <a:gd name="T38" fmla="*/ 48 w 120"/>
                  <a:gd name="T39"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32">
                    <a:moveTo>
                      <a:pt x="78" y="132"/>
                    </a:moveTo>
                    <a:cubicBezTo>
                      <a:pt x="42" y="132"/>
                      <a:pt x="42" y="132"/>
                      <a:pt x="42" y="132"/>
                    </a:cubicBezTo>
                    <a:cubicBezTo>
                      <a:pt x="38" y="132"/>
                      <a:pt x="36" y="129"/>
                      <a:pt x="36" y="126"/>
                    </a:cubicBezTo>
                    <a:cubicBezTo>
                      <a:pt x="36" y="78"/>
                      <a:pt x="36" y="78"/>
                      <a:pt x="36" y="78"/>
                    </a:cubicBezTo>
                    <a:cubicBezTo>
                      <a:pt x="12" y="67"/>
                      <a:pt x="0" y="34"/>
                      <a:pt x="0" y="6"/>
                    </a:cubicBezTo>
                    <a:cubicBezTo>
                      <a:pt x="0" y="3"/>
                      <a:pt x="2" y="0"/>
                      <a:pt x="6" y="0"/>
                    </a:cubicBezTo>
                    <a:cubicBezTo>
                      <a:pt x="114" y="0"/>
                      <a:pt x="114" y="0"/>
                      <a:pt x="114" y="0"/>
                    </a:cubicBezTo>
                    <a:cubicBezTo>
                      <a:pt x="117" y="0"/>
                      <a:pt x="120" y="3"/>
                      <a:pt x="120" y="6"/>
                    </a:cubicBezTo>
                    <a:cubicBezTo>
                      <a:pt x="120" y="34"/>
                      <a:pt x="107" y="67"/>
                      <a:pt x="84" y="78"/>
                    </a:cubicBezTo>
                    <a:cubicBezTo>
                      <a:pt x="84" y="126"/>
                      <a:pt x="84" y="126"/>
                      <a:pt x="84" y="126"/>
                    </a:cubicBezTo>
                    <a:cubicBezTo>
                      <a:pt x="84" y="129"/>
                      <a:pt x="81" y="132"/>
                      <a:pt x="78" y="132"/>
                    </a:cubicBezTo>
                    <a:close/>
                    <a:moveTo>
                      <a:pt x="48" y="120"/>
                    </a:moveTo>
                    <a:cubicBezTo>
                      <a:pt x="72" y="120"/>
                      <a:pt x="72" y="120"/>
                      <a:pt x="72" y="120"/>
                    </a:cubicBezTo>
                    <a:cubicBezTo>
                      <a:pt x="72" y="74"/>
                      <a:pt x="72" y="74"/>
                      <a:pt x="72" y="74"/>
                    </a:cubicBezTo>
                    <a:cubicBezTo>
                      <a:pt x="72" y="72"/>
                      <a:pt x="73" y="70"/>
                      <a:pt x="76" y="69"/>
                    </a:cubicBezTo>
                    <a:cubicBezTo>
                      <a:pt x="94" y="62"/>
                      <a:pt x="106" y="36"/>
                      <a:pt x="107" y="12"/>
                    </a:cubicBezTo>
                    <a:cubicBezTo>
                      <a:pt x="12" y="12"/>
                      <a:pt x="12" y="12"/>
                      <a:pt x="12" y="12"/>
                    </a:cubicBezTo>
                    <a:cubicBezTo>
                      <a:pt x="14" y="36"/>
                      <a:pt x="25" y="62"/>
                      <a:pt x="44" y="69"/>
                    </a:cubicBezTo>
                    <a:cubicBezTo>
                      <a:pt x="46" y="70"/>
                      <a:pt x="48" y="72"/>
                      <a:pt x="48" y="74"/>
                    </a:cubicBezTo>
                    <a:lnTo>
                      <a:pt x="4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grpSp>
        <p:grpSp>
          <p:nvGrpSpPr>
            <p:cNvPr id="128" name="Group 127">
              <a:extLst>
                <a:ext uri="{FF2B5EF4-FFF2-40B4-BE49-F238E27FC236}">
                  <a16:creationId xmlns:a16="http://schemas.microsoft.com/office/drawing/2014/main" id="{1396DB0F-E695-4B80-B1DA-E626BFDFA7E4}"/>
                </a:ext>
              </a:extLst>
            </p:cNvPr>
            <p:cNvGrpSpPr/>
            <p:nvPr/>
          </p:nvGrpSpPr>
          <p:grpSpPr>
            <a:xfrm>
              <a:off x="526114" y="2580942"/>
              <a:ext cx="3115517" cy="2801681"/>
              <a:chOff x="2719009" y="1792266"/>
              <a:chExt cx="2462223" cy="2801681"/>
            </a:xfrm>
            <a:solidFill>
              <a:schemeClr val="accent3">
                <a:lumMod val="60000"/>
                <a:lumOff val="40000"/>
              </a:schemeClr>
            </a:solidFill>
          </p:grpSpPr>
          <p:sp>
            <p:nvSpPr>
              <p:cNvPr id="129" name="Rectangle 128">
                <a:extLst>
                  <a:ext uri="{FF2B5EF4-FFF2-40B4-BE49-F238E27FC236}">
                    <a16:creationId xmlns:a16="http://schemas.microsoft.com/office/drawing/2014/main" id="{09ACFB13-32CD-40C6-A80C-2E9A1BA2404B}"/>
                  </a:ext>
                </a:extLst>
              </p:cNvPr>
              <p:cNvSpPr/>
              <p:nvPr/>
            </p:nvSpPr>
            <p:spPr>
              <a:xfrm>
                <a:off x="2719009" y="1792266"/>
                <a:ext cx="2462223" cy="2801681"/>
              </a:xfrm>
              <a:prstGeom prst="rect">
                <a:avLst/>
              </a:prstGeom>
              <a:grp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prstClr val="white"/>
                  </a:solidFill>
                  <a:effectLst/>
                  <a:uLnTx/>
                  <a:uFillTx/>
                  <a:latin typeface="+mj-lt"/>
                  <a:ea typeface="+mn-ea"/>
                  <a:cs typeface="+mn-cs"/>
                </a:endParaRPr>
              </a:p>
            </p:txBody>
          </p:sp>
          <p:sp>
            <p:nvSpPr>
              <p:cNvPr id="130" name="TextBox 129">
                <a:extLst>
                  <a:ext uri="{FF2B5EF4-FFF2-40B4-BE49-F238E27FC236}">
                    <a16:creationId xmlns:a16="http://schemas.microsoft.com/office/drawing/2014/main" id="{0E821EF2-98C8-42B4-8AE0-D8AD36D6C39C}"/>
                  </a:ext>
                </a:extLst>
              </p:cNvPr>
              <p:cNvSpPr txBox="1"/>
              <p:nvPr/>
            </p:nvSpPr>
            <p:spPr>
              <a:xfrm>
                <a:off x="2723538" y="1860194"/>
                <a:ext cx="2457694" cy="345511"/>
              </a:xfrm>
              <a:prstGeom prst="rect">
                <a:avLst/>
              </a:prstGeom>
              <a:grpFill/>
            </p:spPr>
            <p:txBody>
              <a:bodyPr vert="horz"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300" normalizeH="0" baseline="0" noProof="0" dirty="0">
                    <a:ln>
                      <a:noFill/>
                    </a:ln>
                    <a:solidFill>
                      <a:schemeClr val="bg1"/>
                    </a:solidFill>
                    <a:effectLst/>
                    <a:uLnTx/>
                    <a:uFillTx/>
                    <a:latin typeface="+mj-lt"/>
                  </a:rPr>
                  <a:t>Location</a:t>
                </a:r>
              </a:p>
            </p:txBody>
          </p:sp>
        </p:grpSp>
        <p:grpSp>
          <p:nvGrpSpPr>
            <p:cNvPr id="131" name="Group 130">
              <a:extLst>
                <a:ext uri="{FF2B5EF4-FFF2-40B4-BE49-F238E27FC236}">
                  <a16:creationId xmlns:a16="http://schemas.microsoft.com/office/drawing/2014/main" id="{BFFCCDA7-D7A9-4756-B08D-A2CB25EF095F}"/>
                </a:ext>
              </a:extLst>
            </p:cNvPr>
            <p:cNvGrpSpPr/>
            <p:nvPr/>
          </p:nvGrpSpPr>
          <p:grpSpPr>
            <a:xfrm>
              <a:off x="421195" y="2951013"/>
              <a:ext cx="2756201" cy="2254194"/>
              <a:chOff x="475893" y="3299078"/>
              <a:chExt cx="2756201" cy="2254194"/>
            </a:xfrm>
            <a:solidFill>
              <a:schemeClr val="accent3"/>
            </a:solidFill>
          </p:grpSpPr>
          <p:grpSp>
            <p:nvGrpSpPr>
              <p:cNvPr id="132" name="Group 131">
                <a:extLst>
                  <a:ext uri="{FF2B5EF4-FFF2-40B4-BE49-F238E27FC236}">
                    <a16:creationId xmlns:a16="http://schemas.microsoft.com/office/drawing/2014/main" id="{F58547C5-07DE-445E-B95A-F9B5D6E7E31C}"/>
                  </a:ext>
                </a:extLst>
              </p:cNvPr>
              <p:cNvGrpSpPr/>
              <p:nvPr/>
            </p:nvGrpSpPr>
            <p:grpSpPr>
              <a:xfrm>
                <a:off x="475893" y="3299078"/>
                <a:ext cx="2756201" cy="216055"/>
                <a:chOff x="475893" y="3299078"/>
                <a:chExt cx="2756201" cy="216055"/>
              </a:xfrm>
              <a:grpFill/>
            </p:grpSpPr>
            <p:sp>
              <p:nvSpPr>
                <p:cNvPr id="151" name="Right Triangle 150">
                  <a:extLst>
                    <a:ext uri="{FF2B5EF4-FFF2-40B4-BE49-F238E27FC236}">
                      <a16:creationId xmlns:a16="http://schemas.microsoft.com/office/drawing/2014/main" id="{D32CD014-7ECF-4C4E-A768-7D8FE60E5974}"/>
                    </a:ext>
                  </a:extLst>
                </p:cNvPr>
                <p:cNvSpPr/>
                <p:nvPr/>
              </p:nvSpPr>
              <p:spPr>
                <a:xfrm rot="16200000">
                  <a:off x="510902" y="326406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52" name="Rectangle 151">
                  <a:extLst>
                    <a:ext uri="{FF2B5EF4-FFF2-40B4-BE49-F238E27FC236}">
                      <a16:creationId xmlns:a16="http://schemas.microsoft.com/office/drawing/2014/main" id="{333E0907-3845-423F-81BB-54634AF8BE9B}"/>
                    </a:ext>
                  </a:extLst>
                </p:cNvPr>
                <p:cNvSpPr/>
                <p:nvPr/>
              </p:nvSpPr>
              <p:spPr>
                <a:xfrm>
                  <a:off x="475894" y="333507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Europ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3" name="Group 132">
                <a:extLst>
                  <a:ext uri="{FF2B5EF4-FFF2-40B4-BE49-F238E27FC236}">
                    <a16:creationId xmlns:a16="http://schemas.microsoft.com/office/drawing/2014/main" id="{2891BF01-3355-45C2-9E52-EF067257B326}"/>
                  </a:ext>
                </a:extLst>
              </p:cNvPr>
              <p:cNvGrpSpPr/>
              <p:nvPr/>
            </p:nvGrpSpPr>
            <p:grpSpPr>
              <a:xfrm>
                <a:off x="475893" y="5337217"/>
                <a:ext cx="2756201" cy="216055"/>
                <a:chOff x="475893" y="5337217"/>
                <a:chExt cx="2756201" cy="216055"/>
              </a:xfrm>
              <a:grpFill/>
            </p:grpSpPr>
            <p:sp>
              <p:nvSpPr>
                <p:cNvPr id="149" name="Right Triangle 148">
                  <a:extLst>
                    <a:ext uri="{FF2B5EF4-FFF2-40B4-BE49-F238E27FC236}">
                      <a16:creationId xmlns:a16="http://schemas.microsoft.com/office/drawing/2014/main" id="{D85E5DD2-BBFB-44AB-81D8-3313B0623C31}"/>
                    </a:ext>
                  </a:extLst>
                </p:cNvPr>
                <p:cNvSpPr/>
                <p:nvPr/>
              </p:nvSpPr>
              <p:spPr>
                <a:xfrm rot="16200000">
                  <a:off x="510902" y="5302208"/>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50" name="Rectangle 149">
                  <a:extLst>
                    <a:ext uri="{FF2B5EF4-FFF2-40B4-BE49-F238E27FC236}">
                      <a16:creationId xmlns:a16="http://schemas.microsoft.com/office/drawing/2014/main" id="{52042B45-8F9D-4FA8-9130-B54082CC0B43}"/>
                    </a:ext>
                  </a:extLst>
                </p:cNvPr>
                <p:cNvSpPr/>
                <p:nvPr/>
              </p:nvSpPr>
              <p:spPr>
                <a:xfrm>
                  <a:off x="475894" y="5373218"/>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Russia</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4" name="Group 133">
                <a:extLst>
                  <a:ext uri="{FF2B5EF4-FFF2-40B4-BE49-F238E27FC236}">
                    <a16:creationId xmlns:a16="http://schemas.microsoft.com/office/drawing/2014/main" id="{91829109-CD62-4FF1-AF2F-4021B199D93F}"/>
                  </a:ext>
                </a:extLst>
              </p:cNvPr>
              <p:cNvGrpSpPr/>
              <p:nvPr/>
            </p:nvGrpSpPr>
            <p:grpSpPr>
              <a:xfrm>
                <a:off x="475893" y="3638768"/>
                <a:ext cx="2756201" cy="216055"/>
                <a:chOff x="475893" y="3638768"/>
                <a:chExt cx="2756201" cy="216055"/>
              </a:xfrm>
              <a:grpFill/>
            </p:grpSpPr>
            <p:sp>
              <p:nvSpPr>
                <p:cNvPr id="147" name="Right Triangle 146">
                  <a:extLst>
                    <a:ext uri="{FF2B5EF4-FFF2-40B4-BE49-F238E27FC236}">
                      <a16:creationId xmlns:a16="http://schemas.microsoft.com/office/drawing/2014/main" id="{0CC69905-32FE-4881-A14A-CE29F543E0B9}"/>
                    </a:ext>
                  </a:extLst>
                </p:cNvPr>
                <p:cNvSpPr/>
                <p:nvPr/>
              </p:nvSpPr>
              <p:spPr>
                <a:xfrm rot="16200000">
                  <a:off x="510902" y="360375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48" name="Rectangle 147">
                  <a:extLst>
                    <a:ext uri="{FF2B5EF4-FFF2-40B4-BE49-F238E27FC236}">
                      <a16:creationId xmlns:a16="http://schemas.microsoft.com/office/drawing/2014/main" id="{E36C6E91-0C6A-4877-826A-09CCB0BC2F7F}"/>
                    </a:ext>
                  </a:extLst>
                </p:cNvPr>
                <p:cNvSpPr/>
                <p:nvPr/>
              </p:nvSpPr>
              <p:spPr>
                <a:xfrm>
                  <a:off x="475894" y="367476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China</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5" name="Group 134">
                <a:extLst>
                  <a:ext uri="{FF2B5EF4-FFF2-40B4-BE49-F238E27FC236}">
                    <a16:creationId xmlns:a16="http://schemas.microsoft.com/office/drawing/2014/main" id="{0AB5C74B-40B9-48A6-A45E-62A5B89473CE}"/>
                  </a:ext>
                </a:extLst>
              </p:cNvPr>
              <p:cNvGrpSpPr/>
              <p:nvPr/>
            </p:nvGrpSpPr>
            <p:grpSpPr>
              <a:xfrm>
                <a:off x="475893" y="3978458"/>
                <a:ext cx="2756201" cy="216055"/>
                <a:chOff x="475893" y="3978458"/>
                <a:chExt cx="2756201" cy="216055"/>
              </a:xfrm>
              <a:grpFill/>
            </p:grpSpPr>
            <p:sp>
              <p:nvSpPr>
                <p:cNvPr id="145" name="Right Triangle 144">
                  <a:extLst>
                    <a:ext uri="{FF2B5EF4-FFF2-40B4-BE49-F238E27FC236}">
                      <a16:creationId xmlns:a16="http://schemas.microsoft.com/office/drawing/2014/main" id="{F93AE998-E45B-4E78-9DFE-69EBC6EF8C22}"/>
                    </a:ext>
                  </a:extLst>
                </p:cNvPr>
                <p:cNvSpPr/>
                <p:nvPr/>
              </p:nvSpPr>
              <p:spPr>
                <a:xfrm rot="16200000">
                  <a:off x="510902" y="394344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46" name="Rectangle 145">
                  <a:extLst>
                    <a:ext uri="{FF2B5EF4-FFF2-40B4-BE49-F238E27FC236}">
                      <a16:creationId xmlns:a16="http://schemas.microsoft.com/office/drawing/2014/main" id="{C7606F04-308D-4271-981D-4455FC0B1E1A}"/>
                    </a:ext>
                  </a:extLst>
                </p:cNvPr>
                <p:cNvSpPr/>
                <p:nvPr/>
              </p:nvSpPr>
              <p:spPr>
                <a:xfrm>
                  <a:off x="475894" y="401445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India</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6" name="Group 135">
                <a:extLst>
                  <a:ext uri="{FF2B5EF4-FFF2-40B4-BE49-F238E27FC236}">
                    <a16:creationId xmlns:a16="http://schemas.microsoft.com/office/drawing/2014/main" id="{5809D956-05D1-418F-A9A5-E1AD1B943FAD}"/>
                  </a:ext>
                </a:extLst>
              </p:cNvPr>
              <p:cNvGrpSpPr/>
              <p:nvPr/>
            </p:nvGrpSpPr>
            <p:grpSpPr>
              <a:xfrm>
                <a:off x="475893" y="4318148"/>
                <a:ext cx="2756201" cy="216055"/>
                <a:chOff x="475893" y="4318148"/>
                <a:chExt cx="2756201" cy="216055"/>
              </a:xfrm>
              <a:grpFill/>
            </p:grpSpPr>
            <p:sp>
              <p:nvSpPr>
                <p:cNvPr id="143" name="Right Triangle 142">
                  <a:extLst>
                    <a:ext uri="{FF2B5EF4-FFF2-40B4-BE49-F238E27FC236}">
                      <a16:creationId xmlns:a16="http://schemas.microsoft.com/office/drawing/2014/main" id="{16FB070B-8E48-4B87-843A-6D32FD0D903D}"/>
                    </a:ext>
                  </a:extLst>
                </p:cNvPr>
                <p:cNvSpPr/>
                <p:nvPr/>
              </p:nvSpPr>
              <p:spPr>
                <a:xfrm rot="16200000">
                  <a:off x="510902" y="428313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44" name="Rectangle 143">
                  <a:extLst>
                    <a:ext uri="{FF2B5EF4-FFF2-40B4-BE49-F238E27FC236}">
                      <a16:creationId xmlns:a16="http://schemas.microsoft.com/office/drawing/2014/main" id="{11E0F7C2-C7F7-4CEA-B967-839C8381D40C}"/>
                    </a:ext>
                  </a:extLst>
                </p:cNvPr>
                <p:cNvSpPr/>
                <p:nvPr/>
              </p:nvSpPr>
              <p:spPr>
                <a:xfrm>
                  <a:off x="475894" y="435414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UK</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37" name="Group 136">
                <a:extLst>
                  <a:ext uri="{FF2B5EF4-FFF2-40B4-BE49-F238E27FC236}">
                    <a16:creationId xmlns:a16="http://schemas.microsoft.com/office/drawing/2014/main" id="{3A6B59E4-B7D5-4B5B-90F2-0768914B1555}"/>
                  </a:ext>
                </a:extLst>
              </p:cNvPr>
              <p:cNvGrpSpPr/>
              <p:nvPr/>
            </p:nvGrpSpPr>
            <p:grpSpPr>
              <a:xfrm>
                <a:off x="475893" y="4997528"/>
                <a:ext cx="2756201" cy="216055"/>
                <a:chOff x="475893" y="4997528"/>
                <a:chExt cx="2756201" cy="216055"/>
              </a:xfrm>
              <a:grpFill/>
            </p:grpSpPr>
            <p:sp>
              <p:nvSpPr>
                <p:cNvPr id="141" name="Rectangle 140">
                  <a:extLst>
                    <a:ext uri="{FF2B5EF4-FFF2-40B4-BE49-F238E27FC236}">
                      <a16:creationId xmlns:a16="http://schemas.microsoft.com/office/drawing/2014/main" id="{844CD7B1-3162-44BF-A6B1-A32DADF115E0}"/>
                    </a:ext>
                  </a:extLst>
                </p:cNvPr>
                <p:cNvSpPr/>
                <p:nvPr/>
              </p:nvSpPr>
              <p:spPr>
                <a:xfrm>
                  <a:off x="475894" y="503352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Canada</a:t>
                  </a:r>
                  <a:endParaRPr kumimoji="0" lang="de-DE" sz="1200" b="1" i="0" u="none" strike="noStrike" kern="0" cap="none" spc="0" normalizeH="0" baseline="0" noProof="0" dirty="0">
                    <a:ln>
                      <a:noFill/>
                    </a:ln>
                    <a:solidFill>
                      <a:prstClr val="white"/>
                    </a:solidFill>
                    <a:effectLst/>
                    <a:uLnTx/>
                    <a:uFillTx/>
                    <a:latin typeface="+mj-lt"/>
                    <a:ea typeface="+mn-ea"/>
                  </a:endParaRPr>
                </a:p>
              </p:txBody>
            </p:sp>
            <p:sp>
              <p:nvSpPr>
                <p:cNvPr id="142" name="Right Triangle 141">
                  <a:extLst>
                    <a:ext uri="{FF2B5EF4-FFF2-40B4-BE49-F238E27FC236}">
                      <a16:creationId xmlns:a16="http://schemas.microsoft.com/office/drawing/2014/main" id="{895DF4A1-8B26-41E6-94F9-F4AEF154516E}"/>
                    </a:ext>
                  </a:extLst>
                </p:cNvPr>
                <p:cNvSpPr/>
                <p:nvPr/>
              </p:nvSpPr>
              <p:spPr>
                <a:xfrm rot="16200000">
                  <a:off x="510902" y="496251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grpSp>
          <p:grpSp>
            <p:nvGrpSpPr>
              <p:cNvPr id="138" name="Group 137">
                <a:extLst>
                  <a:ext uri="{FF2B5EF4-FFF2-40B4-BE49-F238E27FC236}">
                    <a16:creationId xmlns:a16="http://schemas.microsoft.com/office/drawing/2014/main" id="{330A38C2-CD1A-47D5-B74A-228FD0382DEA}"/>
                  </a:ext>
                </a:extLst>
              </p:cNvPr>
              <p:cNvGrpSpPr/>
              <p:nvPr/>
            </p:nvGrpSpPr>
            <p:grpSpPr>
              <a:xfrm>
                <a:off x="475893" y="4657838"/>
                <a:ext cx="2756201" cy="216055"/>
                <a:chOff x="475893" y="4657838"/>
                <a:chExt cx="2756201" cy="216055"/>
              </a:xfrm>
              <a:grpFill/>
            </p:grpSpPr>
            <p:sp>
              <p:nvSpPr>
                <p:cNvPr id="139" name="Right Triangle 138">
                  <a:extLst>
                    <a:ext uri="{FF2B5EF4-FFF2-40B4-BE49-F238E27FC236}">
                      <a16:creationId xmlns:a16="http://schemas.microsoft.com/office/drawing/2014/main" id="{9CBA86A9-410D-4265-85D4-2EA577E5CF5B}"/>
                    </a:ext>
                  </a:extLst>
                </p:cNvPr>
                <p:cNvSpPr/>
                <p:nvPr/>
              </p:nvSpPr>
              <p:spPr>
                <a:xfrm rot="16200000">
                  <a:off x="510902" y="462282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40" name="Rectangle 139">
                  <a:extLst>
                    <a:ext uri="{FF2B5EF4-FFF2-40B4-BE49-F238E27FC236}">
                      <a16:creationId xmlns:a16="http://schemas.microsoft.com/office/drawing/2014/main" id="{A520D004-24A3-43B7-93E2-A8477D6614E9}"/>
                    </a:ext>
                  </a:extLst>
                </p:cNvPr>
                <p:cNvSpPr/>
                <p:nvPr/>
              </p:nvSpPr>
              <p:spPr>
                <a:xfrm>
                  <a:off x="475894" y="4693839"/>
                  <a:ext cx="27562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US</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grpSp>
          <p:nvGrpSpPr>
            <p:cNvPr id="153" name="Group 152">
              <a:extLst>
                <a:ext uri="{FF2B5EF4-FFF2-40B4-BE49-F238E27FC236}">
                  <a16:creationId xmlns:a16="http://schemas.microsoft.com/office/drawing/2014/main" id="{82AA4057-6B22-4368-A4AB-36B1B015E903}"/>
                </a:ext>
              </a:extLst>
            </p:cNvPr>
            <p:cNvGrpSpPr/>
            <p:nvPr/>
          </p:nvGrpSpPr>
          <p:grpSpPr>
            <a:xfrm>
              <a:off x="8433576" y="381000"/>
              <a:ext cx="2952000" cy="2403109"/>
              <a:chOff x="355599" y="1792265"/>
              <a:chExt cx="2332994" cy="2626630"/>
            </a:xfrm>
            <a:solidFill>
              <a:schemeClr val="accent1">
                <a:lumMod val="20000"/>
                <a:lumOff val="80000"/>
              </a:schemeClr>
            </a:solidFill>
          </p:grpSpPr>
          <p:sp>
            <p:nvSpPr>
              <p:cNvPr id="154" name="Rectangle 153">
                <a:extLst>
                  <a:ext uri="{FF2B5EF4-FFF2-40B4-BE49-F238E27FC236}">
                    <a16:creationId xmlns:a16="http://schemas.microsoft.com/office/drawing/2014/main" id="{08036F06-D746-4249-BF5D-F1961C02389E}"/>
                  </a:ext>
                </a:extLst>
              </p:cNvPr>
              <p:cNvSpPr/>
              <p:nvPr/>
            </p:nvSpPr>
            <p:spPr>
              <a:xfrm>
                <a:off x="355599" y="1792265"/>
                <a:ext cx="2332994" cy="2626630"/>
              </a:xfrm>
              <a:prstGeom prst="rect">
                <a:avLst/>
              </a:prstGeom>
              <a:grp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prstClr val="white"/>
                  </a:solidFill>
                  <a:effectLst/>
                  <a:uLnTx/>
                  <a:uFillTx/>
                  <a:latin typeface="+mj-lt"/>
                  <a:ea typeface="+mn-ea"/>
                  <a:cs typeface="+mn-cs"/>
                </a:endParaRPr>
              </a:p>
            </p:txBody>
          </p:sp>
          <p:sp>
            <p:nvSpPr>
              <p:cNvPr id="155" name="TextBox 154">
                <a:extLst>
                  <a:ext uri="{FF2B5EF4-FFF2-40B4-BE49-F238E27FC236}">
                    <a16:creationId xmlns:a16="http://schemas.microsoft.com/office/drawing/2014/main" id="{6FA6E802-7CD8-4351-8D7F-3C77A13F5576}"/>
                  </a:ext>
                </a:extLst>
              </p:cNvPr>
              <p:cNvSpPr txBox="1"/>
              <p:nvPr/>
            </p:nvSpPr>
            <p:spPr>
              <a:xfrm>
                <a:off x="355601" y="1860194"/>
                <a:ext cx="2332992" cy="345511"/>
              </a:xfrm>
              <a:prstGeom prst="rect">
                <a:avLst/>
              </a:prstGeom>
              <a:grpFill/>
            </p:spPr>
            <p:txBody>
              <a:bodyPr vert="horz"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300" normalizeH="0" baseline="0" noProof="0" dirty="0">
                    <a:ln>
                      <a:noFill/>
                    </a:ln>
                    <a:solidFill>
                      <a:schemeClr val="accent1"/>
                    </a:solidFill>
                    <a:effectLst/>
                    <a:uLnTx/>
                    <a:uFillTx/>
                    <a:latin typeface="+mj-lt"/>
                  </a:rPr>
                  <a:t>Structure</a:t>
                </a:r>
              </a:p>
            </p:txBody>
          </p:sp>
        </p:grpSp>
        <p:grpSp>
          <p:nvGrpSpPr>
            <p:cNvPr id="156" name="Group 155">
              <a:extLst>
                <a:ext uri="{FF2B5EF4-FFF2-40B4-BE49-F238E27FC236}">
                  <a16:creationId xmlns:a16="http://schemas.microsoft.com/office/drawing/2014/main" id="{F6B16D9A-87D2-411D-BA79-C81B87482CF2}"/>
                </a:ext>
              </a:extLst>
            </p:cNvPr>
            <p:cNvGrpSpPr/>
            <p:nvPr/>
          </p:nvGrpSpPr>
          <p:grpSpPr>
            <a:xfrm>
              <a:off x="8327029" y="744567"/>
              <a:ext cx="2882330" cy="1815280"/>
              <a:chOff x="8840957" y="903058"/>
              <a:chExt cx="2882330" cy="1815280"/>
            </a:xfrm>
            <a:solidFill>
              <a:schemeClr val="accent1"/>
            </a:solidFill>
          </p:grpSpPr>
          <p:grpSp>
            <p:nvGrpSpPr>
              <p:cNvPr id="157" name="Group 156">
                <a:extLst>
                  <a:ext uri="{FF2B5EF4-FFF2-40B4-BE49-F238E27FC236}">
                    <a16:creationId xmlns:a16="http://schemas.microsoft.com/office/drawing/2014/main" id="{CBE244B6-BAAA-44A4-8D35-9C72A62F1462}"/>
                  </a:ext>
                </a:extLst>
              </p:cNvPr>
              <p:cNvGrpSpPr/>
              <p:nvPr/>
            </p:nvGrpSpPr>
            <p:grpSpPr>
              <a:xfrm>
                <a:off x="8840957" y="903058"/>
                <a:ext cx="2880000" cy="216055"/>
                <a:chOff x="440140" y="3072451"/>
                <a:chExt cx="2617973" cy="216055"/>
              </a:xfrm>
              <a:grpFill/>
            </p:grpSpPr>
            <p:sp>
              <p:nvSpPr>
                <p:cNvPr id="170" name="Right Triangle 169">
                  <a:extLst>
                    <a:ext uri="{FF2B5EF4-FFF2-40B4-BE49-F238E27FC236}">
                      <a16:creationId xmlns:a16="http://schemas.microsoft.com/office/drawing/2014/main" id="{29606062-A5D7-448E-AA1C-5788D9335B1B}"/>
                    </a:ext>
                  </a:extLst>
                </p:cNvPr>
                <p:cNvSpPr/>
                <p:nvPr/>
              </p:nvSpPr>
              <p:spPr>
                <a:xfrm rot="16200000">
                  <a:off x="470326" y="3042265"/>
                  <a:ext cx="36000" cy="96372"/>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71" name="Rectangle 170">
                  <a:extLst>
                    <a:ext uri="{FF2B5EF4-FFF2-40B4-BE49-F238E27FC236}">
                      <a16:creationId xmlns:a16="http://schemas.microsoft.com/office/drawing/2014/main" id="{B6F39CF9-72F8-45A3-9D0D-925550B362D3}"/>
                    </a:ext>
                  </a:extLst>
                </p:cNvPr>
                <p:cNvSpPr/>
                <p:nvPr/>
              </p:nvSpPr>
              <p:spPr>
                <a:xfrm>
                  <a:off x="440140" y="3108452"/>
                  <a:ext cx="2617973"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	</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a:t>
                  </a:r>
                  <a:r>
                    <a:rPr kumimoji="0" lang="de-DE" sz="1200" b="1" i="0" u="none" strike="noStrike" kern="0" cap="none" spc="0" normalizeH="0" baseline="0" noProof="0" dirty="0">
                      <a:ln>
                        <a:noFill/>
                      </a:ln>
                      <a:solidFill>
                        <a:prstClr val="white"/>
                      </a:solidFill>
                      <a:effectLst/>
                      <a:uLnTx/>
                      <a:uFillTx/>
                      <a:latin typeface="+mj-lt"/>
                      <a:ea typeface="+mn-ea"/>
                    </a:rPr>
                    <a:t>n/a</a:t>
                  </a:r>
                </a:p>
              </p:txBody>
            </p:sp>
          </p:grpSp>
          <p:grpSp>
            <p:nvGrpSpPr>
              <p:cNvPr id="158" name="Group 157">
                <a:extLst>
                  <a:ext uri="{FF2B5EF4-FFF2-40B4-BE49-F238E27FC236}">
                    <a16:creationId xmlns:a16="http://schemas.microsoft.com/office/drawing/2014/main" id="{BA3234DB-DF02-4246-BA1B-E7AA75E99586}"/>
                  </a:ext>
                </a:extLst>
              </p:cNvPr>
              <p:cNvGrpSpPr/>
              <p:nvPr/>
            </p:nvGrpSpPr>
            <p:grpSpPr>
              <a:xfrm>
                <a:off x="8840957" y="1243951"/>
                <a:ext cx="2880000" cy="396001"/>
                <a:chOff x="440140" y="3072451"/>
                <a:chExt cx="2617973" cy="396001"/>
              </a:xfrm>
              <a:grpFill/>
            </p:grpSpPr>
            <p:sp>
              <p:nvSpPr>
                <p:cNvPr id="168" name="Right Triangle 167">
                  <a:extLst>
                    <a:ext uri="{FF2B5EF4-FFF2-40B4-BE49-F238E27FC236}">
                      <a16:creationId xmlns:a16="http://schemas.microsoft.com/office/drawing/2014/main" id="{716974E1-EAC0-4134-B3B5-D77A6F257CB3}"/>
                    </a:ext>
                  </a:extLst>
                </p:cNvPr>
                <p:cNvSpPr/>
                <p:nvPr/>
              </p:nvSpPr>
              <p:spPr>
                <a:xfrm rot="16200000">
                  <a:off x="470326" y="3042265"/>
                  <a:ext cx="36000" cy="96372"/>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69" name="Rectangle 168">
                  <a:extLst>
                    <a:ext uri="{FF2B5EF4-FFF2-40B4-BE49-F238E27FC236}">
                      <a16:creationId xmlns:a16="http://schemas.microsoft.com/office/drawing/2014/main" id="{41862196-9832-4897-BBD3-3A5518D340B3}"/>
                    </a:ext>
                  </a:extLst>
                </p:cNvPr>
                <p:cNvSpPr/>
                <p:nvPr/>
              </p:nvSpPr>
              <p:spPr>
                <a:xfrm>
                  <a:off x="440140" y="3108452"/>
                  <a:ext cx="2617973" cy="36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59" name="Group 158">
                <a:extLst>
                  <a:ext uri="{FF2B5EF4-FFF2-40B4-BE49-F238E27FC236}">
                    <a16:creationId xmlns:a16="http://schemas.microsoft.com/office/drawing/2014/main" id="{F160DFC0-20BA-4D66-ACAF-26B0A8D0E6D8}"/>
                  </a:ext>
                </a:extLst>
              </p:cNvPr>
              <p:cNvGrpSpPr/>
              <p:nvPr/>
            </p:nvGrpSpPr>
            <p:grpSpPr>
              <a:xfrm>
                <a:off x="8843287" y="2502283"/>
                <a:ext cx="2880000" cy="216055"/>
                <a:chOff x="440140" y="3072451"/>
                <a:chExt cx="2617973" cy="216055"/>
              </a:xfrm>
              <a:grpFill/>
            </p:grpSpPr>
            <p:sp>
              <p:nvSpPr>
                <p:cNvPr id="166" name="Right Triangle 165">
                  <a:extLst>
                    <a:ext uri="{FF2B5EF4-FFF2-40B4-BE49-F238E27FC236}">
                      <a16:creationId xmlns:a16="http://schemas.microsoft.com/office/drawing/2014/main" id="{B504BB8A-C81D-428F-8D32-B078F6323297}"/>
                    </a:ext>
                  </a:extLst>
                </p:cNvPr>
                <p:cNvSpPr/>
                <p:nvPr/>
              </p:nvSpPr>
              <p:spPr>
                <a:xfrm rot="16200000">
                  <a:off x="470326" y="3042265"/>
                  <a:ext cx="36000" cy="96372"/>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67" name="Rectangle 166">
                  <a:extLst>
                    <a:ext uri="{FF2B5EF4-FFF2-40B4-BE49-F238E27FC236}">
                      <a16:creationId xmlns:a16="http://schemas.microsoft.com/office/drawing/2014/main" id="{CBFB6756-970D-46E6-8910-C016C872B7EE}"/>
                    </a:ext>
                  </a:extLst>
                </p:cNvPr>
                <p:cNvSpPr/>
                <p:nvPr/>
              </p:nvSpPr>
              <p:spPr>
                <a:xfrm>
                  <a:off x="440140" y="3108452"/>
                  <a:ext cx="2617973"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D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name</a:t>
                  </a:r>
                </a:p>
              </p:txBody>
            </p:sp>
          </p:grpSp>
          <p:grpSp>
            <p:nvGrpSpPr>
              <p:cNvPr id="160" name="Group 159">
                <a:extLst>
                  <a:ext uri="{FF2B5EF4-FFF2-40B4-BE49-F238E27FC236}">
                    <a16:creationId xmlns:a16="http://schemas.microsoft.com/office/drawing/2014/main" id="{2881A076-063A-4A0D-801D-1871E27FD837}"/>
                  </a:ext>
                </a:extLst>
              </p:cNvPr>
              <p:cNvGrpSpPr/>
              <p:nvPr/>
            </p:nvGrpSpPr>
            <p:grpSpPr>
              <a:xfrm>
                <a:off x="8840957" y="1764790"/>
                <a:ext cx="2880000" cy="576001"/>
                <a:chOff x="8584713" y="2634740"/>
                <a:chExt cx="2880000" cy="576001"/>
              </a:xfrm>
              <a:grpFill/>
            </p:grpSpPr>
            <p:grpSp>
              <p:nvGrpSpPr>
                <p:cNvPr id="162" name="Group 161">
                  <a:extLst>
                    <a:ext uri="{FF2B5EF4-FFF2-40B4-BE49-F238E27FC236}">
                      <a16:creationId xmlns:a16="http://schemas.microsoft.com/office/drawing/2014/main" id="{75E98598-A3B8-43B8-B9C3-BDC3D09B9632}"/>
                    </a:ext>
                  </a:extLst>
                </p:cNvPr>
                <p:cNvGrpSpPr/>
                <p:nvPr/>
              </p:nvGrpSpPr>
              <p:grpSpPr>
                <a:xfrm>
                  <a:off x="8584713" y="2634740"/>
                  <a:ext cx="2880000" cy="576001"/>
                  <a:chOff x="440140" y="3072451"/>
                  <a:chExt cx="2617973" cy="576001"/>
                </a:xfrm>
                <a:grpFill/>
              </p:grpSpPr>
              <p:sp>
                <p:nvSpPr>
                  <p:cNvPr id="164" name="Right Triangle 163">
                    <a:extLst>
                      <a:ext uri="{FF2B5EF4-FFF2-40B4-BE49-F238E27FC236}">
                        <a16:creationId xmlns:a16="http://schemas.microsoft.com/office/drawing/2014/main" id="{879504CC-75E9-4A8F-A5DF-8CA77623C75E}"/>
                      </a:ext>
                    </a:extLst>
                  </p:cNvPr>
                  <p:cNvSpPr/>
                  <p:nvPr/>
                </p:nvSpPr>
                <p:spPr>
                  <a:xfrm rot="16200000">
                    <a:off x="470326" y="3042265"/>
                    <a:ext cx="36000" cy="96372"/>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65" name="Rectangle 164">
                    <a:extLst>
                      <a:ext uri="{FF2B5EF4-FFF2-40B4-BE49-F238E27FC236}">
                        <a16:creationId xmlns:a16="http://schemas.microsoft.com/office/drawing/2014/main" id="{DCFFF447-111A-4359-B15C-5FB3BC3FF038}"/>
                      </a:ext>
                    </a:extLst>
                  </p:cNvPr>
                  <p:cNvSpPr/>
                  <p:nvPr/>
                </p:nvSpPr>
                <p:spPr>
                  <a:xfrm>
                    <a:off x="440140" y="3108452"/>
                    <a:ext cx="2617973" cy="54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sp>
              <p:nvSpPr>
                <p:cNvPr id="163" name="Rectangle 162">
                  <a:extLst>
                    <a:ext uri="{FF2B5EF4-FFF2-40B4-BE49-F238E27FC236}">
                      <a16:creationId xmlns:a16="http://schemas.microsoft.com/office/drawing/2014/main" id="{02D329B0-1942-4650-8A34-B26B7D9F0C3B}"/>
                    </a:ext>
                  </a:extLst>
                </p:cNvPr>
                <p:cNvSpPr/>
                <p:nvPr/>
              </p:nvSpPr>
              <p:spPr>
                <a:xfrm>
                  <a:off x="8710448" y="2813650"/>
                  <a:ext cx="298480" cy="276999"/>
                </a:xfrm>
                <a:prstGeom prst="rect">
                  <a:avLst/>
                </a:prstGeom>
                <a:grp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rPr>
                    <a:t>C</a:t>
                  </a:r>
                </a:p>
              </p:txBody>
            </p:sp>
          </p:grpSp>
          <p:sp>
            <p:nvSpPr>
              <p:cNvPr id="161" name="Rectangle 160">
                <a:extLst>
                  <a:ext uri="{FF2B5EF4-FFF2-40B4-BE49-F238E27FC236}">
                    <a16:creationId xmlns:a16="http://schemas.microsoft.com/office/drawing/2014/main" id="{B0967889-C0FF-4B5A-9D82-BD4248CF9987}"/>
                  </a:ext>
                </a:extLst>
              </p:cNvPr>
              <p:cNvSpPr/>
              <p:nvPr/>
            </p:nvSpPr>
            <p:spPr>
              <a:xfrm>
                <a:off x="8975698" y="1314855"/>
                <a:ext cx="287258" cy="276999"/>
              </a:xfrm>
              <a:prstGeom prst="rect">
                <a:avLst/>
              </a:prstGeom>
              <a:grp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rPr>
                  <a:t>B</a:t>
                </a:r>
              </a:p>
            </p:txBody>
          </p:sp>
        </p:grpSp>
        <p:sp>
          <p:nvSpPr>
            <p:cNvPr id="172" name="Rectangle 171">
              <a:extLst>
                <a:ext uri="{FF2B5EF4-FFF2-40B4-BE49-F238E27FC236}">
                  <a16:creationId xmlns:a16="http://schemas.microsoft.com/office/drawing/2014/main" id="{5C1E3C22-E2E1-4AA2-B237-A7800FE01E90}"/>
                </a:ext>
              </a:extLst>
            </p:cNvPr>
            <p:cNvSpPr/>
            <p:nvPr/>
          </p:nvSpPr>
          <p:spPr>
            <a:xfrm>
              <a:off x="8435074" y="3120877"/>
              <a:ext cx="2952000" cy="2846795"/>
            </a:xfrm>
            <a:prstGeom prst="rect">
              <a:avLst/>
            </a:prstGeom>
            <a:solidFill>
              <a:schemeClr val="accent2">
                <a:lumMod val="40000"/>
                <a:lumOff val="60000"/>
                <a:alpha val="50000"/>
              </a:scheme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prstClr val="white"/>
                </a:solidFill>
                <a:effectLst/>
                <a:uLnTx/>
                <a:uFillTx/>
                <a:latin typeface="+mj-lt"/>
                <a:ea typeface="+mn-ea"/>
                <a:cs typeface="+mn-cs"/>
              </a:endParaRPr>
            </a:p>
          </p:txBody>
        </p:sp>
        <p:sp>
          <p:nvSpPr>
            <p:cNvPr id="173" name="TextBox 172">
              <a:extLst>
                <a:ext uri="{FF2B5EF4-FFF2-40B4-BE49-F238E27FC236}">
                  <a16:creationId xmlns:a16="http://schemas.microsoft.com/office/drawing/2014/main" id="{564B9979-A319-42D8-9006-9986359AD56E}"/>
                </a:ext>
              </a:extLst>
            </p:cNvPr>
            <p:cNvSpPr txBox="1"/>
            <p:nvPr/>
          </p:nvSpPr>
          <p:spPr>
            <a:xfrm>
              <a:off x="8440466" y="3176407"/>
              <a:ext cx="2946608" cy="345511"/>
            </a:xfrm>
            <a:prstGeom prst="rect">
              <a:avLst/>
            </a:prstGeom>
          </p:spPr>
          <p:txBody>
            <a:bodyPr vert="horz" wrap="square" lIns="0" tIns="0" rIns="0" bIns="0" rtlCol="0" anchor="ctr">
              <a:noAutofit/>
            </a:bodyPr>
            <a:lstStyle/>
            <a:p>
              <a:pPr algn="ctr"/>
              <a:r>
                <a:rPr lang="de-DE" sz="1400" b="1" spc="300" dirty="0">
                  <a:solidFill>
                    <a:schemeClr val="accent2"/>
                  </a:solidFill>
                  <a:latin typeface="+mj-lt"/>
                </a:rPr>
                <a:t>Type of work</a:t>
              </a:r>
            </a:p>
          </p:txBody>
        </p:sp>
        <p:grpSp>
          <p:nvGrpSpPr>
            <p:cNvPr id="174" name="Group 173">
              <a:extLst>
                <a:ext uri="{FF2B5EF4-FFF2-40B4-BE49-F238E27FC236}">
                  <a16:creationId xmlns:a16="http://schemas.microsoft.com/office/drawing/2014/main" id="{25A3669C-2BDE-4F28-99F0-C86EFF022A62}"/>
                </a:ext>
              </a:extLst>
            </p:cNvPr>
            <p:cNvGrpSpPr/>
            <p:nvPr/>
          </p:nvGrpSpPr>
          <p:grpSpPr>
            <a:xfrm>
              <a:off x="8329176" y="3822685"/>
              <a:ext cx="2880000" cy="576001"/>
              <a:chOff x="8266472" y="3981176"/>
              <a:chExt cx="2880000" cy="576001"/>
            </a:xfrm>
            <a:solidFill>
              <a:schemeClr val="accent2"/>
            </a:solidFill>
          </p:grpSpPr>
          <p:sp>
            <p:nvSpPr>
              <p:cNvPr id="175" name="Right Triangle 174">
                <a:extLst>
                  <a:ext uri="{FF2B5EF4-FFF2-40B4-BE49-F238E27FC236}">
                    <a16:creationId xmlns:a16="http://schemas.microsoft.com/office/drawing/2014/main" id="{5C7850BC-6B7A-405D-987D-1EB2B5CA981C}"/>
                  </a:ext>
                </a:extLst>
              </p:cNvPr>
              <p:cNvSpPr/>
              <p:nvPr/>
            </p:nvSpPr>
            <p:spPr>
              <a:xfrm rot="16200000">
                <a:off x="8301481" y="3946167"/>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76" name="Rectangle 175">
                <a:extLst>
                  <a:ext uri="{FF2B5EF4-FFF2-40B4-BE49-F238E27FC236}">
                    <a16:creationId xmlns:a16="http://schemas.microsoft.com/office/drawing/2014/main" id="{82FC9E34-D481-4EBA-84D6-E0FE8E04DE0D}"/>
                  </a:ext>
                </a:extLst>
              </p:cNvPr>
              <p:cNvSpPr/>
              <p:nvPr/>
            </p:nvSpPr>
            <p:spPr>
              <a:xfrm>
                <a:off x="8266472" y="4017177"/>
                <a:ext cx="2880000" cy="54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Consulting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78" name="Group 177">
              <a:extLst>
                <a:ext uri="{FF2B5EF4-FFF2-40B4-BE49-F238E27FC236}">
                  <a16:creationId xmlns:a16="http://schemas.microsoft.com/office/drawing/2014/main" id="{3CCF43D9-FFB4-4478-B3F7-B93056BA0FFE}"/>
                </a:ext>
              </a:extLst>
            </p:cNvPr>
            <p:cNvGrpSpPr/>
            <p:nvPr/>
          </p:nvGrpSpPr>
          <p:grpSpPr>
            <a:xfrm>
              <a:off x="8329176" y="3482807"/>
              <a:ext cx="2880000" cy="216055"/>
              <a:chOff x="8266472" y="3641298"/>
              <a:chExt cx="2880000" cy="216055"/>
            </a:xfrm>
            <a:solidFill>
              <a:schemeClr val="accent2"/>
            </a:solidFill>
          </p:grpSpPr>
          <p:sp>
            <p:nvSpPr>
              <p:cNvPr id="179" name="Right Triangle 178">
                <a:extLst>
                  <a:ext uri="{FF2B5EF4-FFF2-40B4-BE49-F238E27FC236}">
                    <a16:creationId xmlns:a16="http://schemas.microsoft.com/office/drawing/2014/main" id="{57612932-8C26-4828-88D4-8ED08FF32597}"/>
                  </a:ext>
                </a:extLst>
              </p:cNvPr>
              <p:cNvSpPr/>
              <p:nvPr/>
            </p:nvSpPr>
            <p:spPr>
              <a:xfrm rot="16200000">
                <a:off x="8301481" y="3606289"/>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80" name="Rectangle 179">
                <a:extLst>
                  <a:ext uri="{FF2B5EF4-FFF2-40B4-BE49-F238E27FC236}">
                    <a16:creationId xmlns:a16="http://schemas.microsoft.com/office/drawing/2014/main" id="{C3D8BFF0-25D3-4F07-A339-A7004006B96E}"/>
                  </a:ext>
                </a:extLst>
              </p:cNvPr>
              <p:cNvSpPr/>
              <p:nvPr/>
            </p:nvSpPr>
            <p:spPr>
              <a:xfrm>
                <a:off x="8266472" y="3677299"/>
                <a:ext cx="28800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Strategy	</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81" name="Group 180">
              <a:extLst>
                <a:ext uri="{FF2B5EF4-FFF2-40B4-BE49-F238E27FC236}">
                  <a16:creationId xmlns:a16="http://schemas.microsoft.com/office/drawing/2014/main" id="{5B9772AC-6464-4228-BDA9-721AA1062EA7}"/>
                </a:ext>
              </a:extLst>
            </p:cNvPr>
            <p:cNvGrpSpPr/>
            <p:nvPr/>
          </p:nvGrpSpPr>
          <p:grpSpPr>
            <a:xfrm>
              <a:off x="8329176" y="4862646"/>
              <a:ext cx="2880000" cy="576001"/>
              <a:chOff x="8266472" y="5021137"/>
              <a:chExt cx="2880000" cy="576001"/>
            </a:xfrm>
            <a:solidFill>
              <a:schemeClr val="accent2"/>
            </a:solidFill>
          </p:grpSpPr>
          <p:sp>
            <p:nvSpPr>
              <p:cNvPr id="182" name="Right Triangle 181">
                <a:extLst>
                  <a:ext uri="{FF2B5EF4-FFF2-40B4-BE49-F238E27FC236}">
                    <a16:creationId xmlns:a16="http://schemas.microsoft.com/office/drawing/2014/main" id="{0CA23D89-844E-41DD-A14C-1EA4344BE0FB}"/>
                  </a:ext>
                </a:extLst>
              </p:cNvPr>
              <p:cNvSpPr/>
              <p:nvPr/>
            </p:nvSpPr>
            <p:spPr>
              <a:xfrm rot="16200000">
                <a:off x="8301481" y="4986128"/>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83" name="Rectangle 182">
                <a:extLst>
                  <a:ext uri="{FF2B5EF4-FFF2-40B4-BE49-F238E27FC236}">
                    <a16:creationId xmlns:a16="http://schemas.microsoft.com/office/drawing/2014/main" id="{3B78C4F9-80FC-450A-A9A9-8831C9C30486}"/>
                  </a:ext>
                </a:extLst>
              </p:cNvPr>
              <p:cNvSpPr/>
              <p:nvPr/>
            </p:nvSpPr>
            <p:spPr>
              <a:xfrm>
                <a:off x="8266472" y="5057138"/>
                <a:ext cx="2880000" cy="54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Technology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85" name="Group 184">
              <a:extLst>
                <a:ext uri="{FF2B5EF4-FFF2-40B4-BE49-F238E27FC236}">
                  <a16:creationId xmlns:a16="http://schemas.microsoft.com/office/drawing/2014/main" id="{61A205D2-428E-4D0B-8F55-03D25B660FFC}"/>
                </a:ext>
              </a:extLst>
            </p:cNvPr>
            <p:cNvGrpSpPr/>
            <p:nvPr/>
          </p:nvGrpSpPr>
          <p:grpSpPr>
            <a:xfrm>
              <a:off x="8329176" y="4522509"/>
              <a:ext cx="2880000" cy="216055"/>
              <a:chOff x="8266472" y="4681000"/>
              <a:chExt cx="2880000" cy="216055"/>
            </a:xfrm>
            <a:solidFill>
              <a:schemeClr val="accent2"/>
            </a:solidFill>
          </p:grpSpPr>
          <p:sp>
            <p:nvSpPr>
              <p:cNvPr id="186" name="Right Triangle 185">
                <a:extLst>
                  <a:ext uri="{FF2B5EF4-FFF2-40B4-BE49-F238E27FC236}">
                    <a16:creationId xmlns:a16="http://schemas.microsoft.com/office/drawing/2014/main" id="{2AD3DB66-8508-40F6-898B-FBB42BC4F24B}"/>
                  </a:ext>
                </a:extLst>
              </p:cNvPr>
              <p:cNvSpPr/>
              <p:nvPr/>
            </p:nvSpPr>
            <p:spPr>
              <a:xfrm rot="16200000">
                <a:off x="8301481" y="4645991"/>
                <a:ext cx="36000" cy="106018"/>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87" name="Rectangle 186">
                <a:extLst>
                  <a:ext uri="{FF2B5EF4-FFF2-40B4-BE49-F238E27FC236}">
                    <a16:creationId xmlns:a16="http://schemas.microsoft.com/office/drawing/2014/main" id="{80DDAD7F-792F-4DA2-A280-4FD985E5D1E6}"/>
                  </a:ext>
                </a:extLst>
              </p:cNvPr>
              <p:cNvSpPr/>
              <p:nvPr/>
            </p:nvSpPr>
            <p:spPr>
              <a:xfrm>
                <a:off x="8266472" y="4717001"/>
                <a:ext cx="2880000" cy="180054"/>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Digital	</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 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88" name="Group 187">
              <a:extLst>
                <a:ext uri="{FF2B5EF4-FFF2-40B4-BE49-F238E27FC236}">
                  <a16:creationId xmlns:a16="http://schemas.microsoft.com/office/drawing/2014/main" id="{82951546-3102-4CD1-B4C2-E1370E9119B5}"/>
                </a:ext>
              </a:extLst>
            </p:cNvPr>
            <p:cNvGrpSpPr/>
            <p:nvPr/>
          </p:nvGrpSpPr>
          <p:grpSpPr>
            <a:xfrm>
              <a:off x="8329176" y="5562471"/>
              <a:ext cx="2880000" cy="216001"/>
              <a:chOff x="8266471" y="5720962"/>
              <a:chExt cx="2880000" cy="216001"/>
            </a:xfrm>
            <a:solidFill>
              <a:schemeClr val="accent2"/>
            </a:solidFill>
          </p:grpSpPr>
          <p:sp>
            <p:nvSpPr>
              <p:cNvPr id="189" name="Right Triangle 188">
                <a:extLst>
                  <a:ext uri="{FF2B5EF4-FFF2-40B4-BE49-F238E27FC236}">
                    <a16:creationId xmlns:a16="http://schemas.microsoft.com/office/drawing/2014/main" id="{0B62EF15-1794-4442-8FB5-7F16C5B595E2}"/>
                  </a:ext>
                </a:extLst>
              </p:cNvPr>
              <p:cNvSpPr/>
              <p:nvPr/>
            </p:nvSpPr>
            <p:spPr>
              <a:xfrm rot="16200000">
                <a:off x="8300671" y="5686762"/>
                <a:ext cx="36000" cy="104400"/>
              </a:xfrm>
              <a:prstGeom prst="rtTriangle">
                <a:avLst/>
              </a:prstGeom>
              <a:grpFill/>
              <a:ln w="25400" cap="flat" cmpd="sng" algn="ctr">
                <a:noFill/>
                <a:prstDash val="solid"/>
              </a:ln>
              <a:effectLst/>
            </p:spPr>
            <p:txBody>
              <a:bodyPr rtlCol="0" anchor="ctr"/>
              <a:lstStyle/>
              <a:p>
                <a:pPr marL="0" marR="0" lvl="0" indent="0" defTabSz="97529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j-lt"/>
                  <a:ea typeface="+mn-ea"/>
                  <a:cs typeface="+mn-cs"/>
                </a:endParaRPr>
              </a:p>
            </p:txBody>
          </p:sp>
          <p:sp>
            <p:nvSpPr>
              <p:cNvPr id="190" name="Rectangle 189">
                <a:extLst>
                  <a:ext uri="{FF2B5EF4-FFF2-40B4-BE49-F238E27FC236}">
                    <a16:creationId xmlns:a16="http://schemas.microsoft.com/office/drawing/2014/main" id="{BFAE778D-D536-4A11-BB60-43BBAC54AEE4}"/>
                  </a:ext>
                </a:extLst>
              </p:cNvPr>
              <p:cNvSpPr/>
              <p:nvPr/>
            </p:nvSpPr>
            <p:spPr>
              <a:xfrm>
                <a:off x="8266472" y="5756963"/>
                <a:ext cx="2879999" cy="180000"/>
              </a:xfrm>
              <a:prstGeom prst="rect">
                <a:avLst/>
              </a:prstGeom>
              <a:grp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mj-lt"/>
                    <a:ea typeface="+mn-ea"/>
                  </a:rPr>
                  <a:t>Operations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a:t>
                </a:r>
                <a:r>
                  <a:rPr kumimoji="0" lang="de-DE" sz="1200" b="1" i="0" u="none" strike="noStrike" kern="0" cap="none" spc="0" normalizeH="0" baseline="0" noProof="0" dirty="0">
                    <a:ln>
                      <a:noFill/>
                    </a:ln>
                    <a:solidFill>
                      <a:prstClr val="white"/>
                    </a:solidFill>
                    <a:effectLst/>
                    <a:uLnTx/>
                    <a:uFillTx/>
                    <a:latin typeface="+mj-lt"/>
                    <a:ea typeface="+mn-ea"/>
                  </a:rPr>
                  <a:t> </a:t>
                </a:r>
                <a:r>
                  <a:rPr kumimoji="0" lang="de-DE" sz="1200" b="1" i="0" u="none" strike="noStrike" kern="0" cap="none" spc="0" normalizeH="0" baseline="0" noProof="0" dirty="0">
                    <a:ln>
                      <a:noFill/>
                    </a:ln>
                    <a:solidFill>
                      <a:prstClr val="white"/>
                    </a:solidFill>
                    <a:effectLst/>
                    <a:uLnTx/>
                    <a:uFillTx/>
                    <a:latin typeface="+mj-lt"/>
                    <a:ea typeface="+mn-ea"/>
                    <a:cs typeface="Arial" panose="020B0604020202020204" pitchFamily="34" charset="0"/>
                  </a:rPr>
                  <a:t>NAME</a:t>
                </a:r>
                <a:endParaRPr kumimoji="0" lang="de-DE" sz="1200" b="1" i="0" u="none" strike="noStrike" kern="0" cap="none" spc="0" normalizeH="0" baseline="0" noProof="0" dirty="0">
                  <a:ln>
                    <a:noFill/>
                  </a:ln>
                  <a:solidFill>
                    <a:prstClr val="white"/>
                  </a:solidFill>
                  <a:effectLst/>
                  <a:uLnTx/>
                  <a:uFillTx/>
                  <a:latin typeface="+mj-lt"/>
                  <a:ea typeface="+mn-ea"/>
                </a:endParaRPr>
              </a:p>
            </p:txBody>
          </p:sp>
        </p:grpSp>
        <p:grpSp>
          <p:nvGrpSpPr>
            <p:cNvPr id="191" name="Group 33">
              <a:extLst>
                <a:ext uri="{FF2B5EF4-FFF2-40B4-BE49-F238E27FC236}">
                  <a16:creationId xmlns:a16="http://schemas.microsoft.com/office/drawing/2014/main" id="{366937FC-9B83-49C1-9CD9-3204D8D58365}"/>
                </a:ext>
              </a:extLst>
            </p:cNvPr>
            <p:cNvGrpSpPr>
              <a:grpSpLocks noChangeAspect="1"/>
            </p:cNvGrpSpPr>
            <p:nvPr/>
          </p:nvGrpSpPr>
          <p:grpSpPr bwMode="auto">
            <a:xfrm>
              <a:off x="4720726" y="4015760"/>
              <a:ext cx="720000" cy="709784"/>
              <a:chOff x="2404" y="445"/>
              <a:chExt cx="423" cy="417"/>
            </a:xfrm>
            <a:solidFill>
              <a:sysClr val="window" lastClr="FFFFFF"/>
            </a:solidFill>
          </p:grpSpPr>
          <p:sp>
            <p:nvSpPr>
              <p:cNvPr id="192" name="Freeform 34">
                <a:extLst>
                  <a:ext uri="{FF2B5EF4-FFF2-40B4-BE49-F238E27FC236}">
                    <a16:creationId xmlns:a16="http://schemas.microsoft.com/office/drawing/2014/main" id="{9B5120D3-AC0C-47DD-89F6-FB4F409F3850}"/>
                  </a:ext>
                </a:extLst>
              </p:cNvPr>
              <p:cNvSpPr>
                <a:spLocks noEditPoints="1"/>
              </p:cNvSpPr>
              <p:nvPr/>
            </p:nvSpPr>
            <p:spPr bwMode="auto">
              <a:xfrm>
                <a:off x="2404" y="445"/>
                <a:ext cx="417" cy="417"/>
              </a:xfrm>
              <a:custGeom>
                <a:avLst/>
                <a:gdLst>
                  <a:gd name="T0" fmla="*/ 269 w 282"/>
                  <a:gd name="T1" fmla="*/ 134 h 282"/>
                  <a:gd name="T2" fmla="*/ 205 w 282"/>
                  <a:gd name="T3" fmla="*/ 135 h 282"/>
                  <a:gd name="T4" fmla="*/ 195 w 282"/>
                  <a:gd name="T5" fmla="*/ 74 h 282"/>
                  <a:gd name="T6" fmla="*/ 208 w 282"/>
                  <a:gd name="T7" fmla="*/ 72 h 282"/>
                  <a:gd name="T8" fmla="*/ 208 w 282"/>
                  <a:gd name="T9" fmla="*/ 60 h 282"/>
                  <a:gd name="T10" fmla="*/ 189 w 282"/>
                  <a:gd name="T11" fmla="*/ 59 h 282"/>
                  <a:gd name="T12" fmla="*/ 161 w 282"/>
                  <a:gd name="T13" fmla="*/ 14 h 282"/>
                  <a:gd name="T14" fmla="*/ 217 w 282"/>
                  <a:gd name="T15" fmla="*/ 38 h 282"/>
                  <a:gd name="T16" fmla="*/ 141 w 282"/>
                  <a:gd name="T17" fmla="*/ 0 h 282"/>
                  <a:gd name="T18" fmla="*/ 0 w 282"/>
                  <a:gd name="T19" fmla="*/ 138 h 282"/>
                  <a:gd name="T20" fmla="*/ 148 w 282"/>
                  <a:gd name="T21" fmla="*/ 282 h 282"/>
                  <a:gd name="T22" fmla="*/ 276 w 282"/>
                  <a:gd name="T23" fmla="*/ 102 h 282"/>
                  <a:gd name="T24" fmla="*/ 137 w 282"/>
                  <a:gd name="T25" fmla="*/ 13 h 282"/>
                  <a:gd name="T26" fmla="*/ 139 w 282"/>
                  <a:gd name="T27" fmla="*/ 13 h 282"/>
                  <a:gd name="T28" fmla="*/ 144 w 282"/>
                  <a:gd name="T29" fmla="*/ 13 h 282"/>
                  <a:gd name="T30" fmla="*/ 175 w 282"/>
                  <a:gd name="T31" fmla="*/ 58 h 282"/>
                  <a:gd name="T32" fmla="*/ 105 w 282"/>
                  <a:gd name="T33" fmla="*/ 60 h 282"/>
                  <a:gd name="T34" fmla="*/ 137 w 282"/>
                  <a:gd name="T35" fmla="*/ 13 h 282"/>
                  <a:gd name="T36" fmla="*/ 117 w 282"/>
                  <a:gd name="T37" fmla="*/ 15 h 282"/>
                  <a:gd name="T38" fmla="*/ 118 w 282"/>
                  <a:gd name="T39" fmla="*/ 17 h 282"/>
                  <a:gd name="T40" fmla="*/ 92 w 282"/>
                  <a:gd name="T41" fmla="*/ 60 h 282"/>
                  <a:gd name="T42" fmla="*/ 41 w 282"/>
                  <a:gd name="T43" fmla="*/ 58 h 282"/>
                  <a:gd name="T44" fmla="*/ 32 w 282"/>
                  <a:gd name="T45" fmla="*/ 209 h 282"/>
                  <a:gd name="T46" fmla="*/ 90 w 282"/>
                  <a:gd name="T47" fmla="*/ 207 h 282"/>
                  <a:gd name="T48" fmla="*/ 120 w 282"/>
                  <a:gd name="T49" fmla="*/ 266 h 282"/>
                  <a:gd name="T50" fmla="*/ 119 w 282"/>
                  <a:gd name="T51" fmla="*/ 268 h 282"/>
                  <a:gd name="T52" fmla="*/ 258 w 282"/>
                  <a:gd name="T53" fmla="*/ 194 h 282"/>
                  <a:gd name="T54" fmla="*/ 220 w 282"/>
                  <a:gd name="T55" fmla="*/ 195 h 282"/>
                  <a:gd name="T56" fmla="*/ 221 w 282"/>
                  <a:gd name="T57" fmla="*/ 207 h 282"/>
                  <a:gd name="T58" fmla="*/ 249 w 282"/>
                  <a:gd name="T59" fmla="*/ 209 h 282"/>
                  <a:gd name="T60" fmla="*/ 160 w 282"/>
                  <a:gd name="T61" fmla="*/ 268 h 282"/>
                  <a:gd name="T62" fmla="*/ 179 w 282"/>
                  <a:gd name="T63" fmla="*/ 237 h 282"/>
                  <a:gd name="T64" fmla="*/ 144 w 282"/>
                  <a:gd name="T65" fmla="*/ 269 h 282"/>
                  <a:gd name="T66" fmla="*/ 142 w 282"/>
                  <a:gd name="T67" fmla="*/ 270 h 282"/>
                  <a:gd name="T68" fmla="*/ 139 w 282"/>
                  <a:gd name="T69" fmla="*/ 270 h 282"/>
                  <a:gd name="T70" fmla="*/ 138 w 282"/>
                  <a:gd name="T71" fmla="*/ 269 h 282"/>
                  <a:gd name="T72" fmla="*/ 103 w 282"/>
                  <a:gd name="T73" fmla="*/ 207 h 282"/>
                  <a:gd name="T74" fmla="*/ 152 w 282"/>
                  <a:gd name="T75" fmla="*/ 203 h 282"/>
                  <a:gd name="T76" fmla="*/ 98 w 282"/>
                  <a:gd name="T77" fmla="*/ 195 h 282"/>
                  <a:gd name="T78" fmla="*/ 93 w 282"/>
                  <a:gd name="T79" fmla="*/ 174 h 282"/>
                  <a:gd name="T80" fmla="*/ 80 w 282"/>
                  <a:gd name="T81" fmla="*/ 175 h 282"/>
                  <a:gd name="T82" fmla="*/ 85 w 282"/>
                  <a:gd name="T83" fmla="*/ 195 h 282"/>
                  <a:gd name="T84" fmla="*/ 24 w 282"/>
                  <a:gd name="T85" fmla="*/ 194 h 282"/>
                  <a:gd name="T86" fmla="*/ 12 w 282"/>
                  <a:gd name="T87" fmla="*/ 147 h 282"/>
                  <a:gd name="T88" fmla="*/ 48 w 282"/>
                  <a:gd name="T89" fmla="*/ 141 h 282"/>
                  <a:gd name="T90" fmla="*/ 12 w 282"/>
                  <a:gd name="T91" fmla="*/ 135 h 282"/>
                  <a:gd name="T92" fmla="*/ 30 w 282"/>
                  <a:gd name="T93" fmla="*/ 73 h 282"/>
                  <a:gd name="T94" fmla="*/ 87 w 282"/>
                  <a:gd name="T95" fmla="*/ 72 h 282"/>
                  <a:gd name="T96" fmla="*/ 78 w 282"/>
                  <a:gd name="T97" fmla="*/ 107 h 282"/>
                  <a:gd name="T98" fmla="*/ 90 w 282"/>
                  <a:gd name="T99" fmla="*/ 107 h 282"/>
                  <a:gd name="T100" fmla="*/ 100 w 282"/>
                  <a:gd name="T101" fmla="*/ 72 h 282"/>
                  <a:gd name="T102" fmla="*/ 182 w 282"/>
                  <a:gd name="T103" fmla="*/ 73 h 282"/>
                  <a:gd name="T104" fmla="*/ 193 w 282"/>
                  <a:gd name="T105" fmla="*/ 135 h 282"/>
                  <a:gd name="T106" fmla="*/ 117 w 282"/>
                  <a:gd name="T107" fmla="*/ 141 h 282"/>
                  <a:gd name="T108" fmla="*/ 193 w 282"/>
                  <a:gd name="T109" fmla="*/ 147 h 282"/>
                  <a:gd name="T110" fmla="*/ 190 w 282"/>
                  <a:gd name="T111" fmla="*/ 169 h 282"/>
                  <a:gd name="T112" fmla="*/ 205 w 282"/>
                  <a:gd name="T113" fmla="*/ 149 h 282"/>
                  <a:gd name="T114" fmla="*/ 269 w 282"/>
                  <a:gd name="T115" fmla="*/ 14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2" h="282">
                    <a:moveTo>
                      <a:pt x="265" y="107"/>
                    </a:moveTo>
                    <a:cubicBezTo>
                      <a:pt x="267" y="116"/>
                      <a:pt x="269" y="125"/>
                      <a:pt x="269" y="134"/>
                    </a:cubicBezTo>
                    <a:cubicBezTo>
                      <a:pt x="269" y="135"/>
                      <a:pt x="269" y="135"/>
                      <a:pt x="269" y="135"/>
                    </a:cubicBezTo>
                    <a:cubicBezTo>
                      <a:pt x="205" y="135"/>
                      <a:pt x="205" y="135"/>
                      <a:pt x="205" y="135"/>
                    </a:cubicBezTo>
                    <a:cubicBezTo>
                      <a:pt x="205" y="134"/>
                      <a:pt x="205" y="134"/>
                      <a:pt x="205" y="134"/>
                    </a:cubicBezTo>
                    <a:cubicBezTo>
                      <a:pt x="205" y="113"/>
                      <a:pt x="202" y="93"/>
                      <a:pt x="195" y="74"/>
                    </a:cubicBezTo>
                    <a:cubicBezTo>
                      <a:pt x="195" y="72"/>
                      <a:pt x="195" y="72"/>
                      <a:pt x="195" y="72"/>
                    </a:cubicBezTo>
                    <a:cubicBezTo>
                      <a:pt x="208" y="72"/>
                      <a:pt x="208" y="72"/>
                      <a:pt x="208" y="72"/>
                    </a:cubicBezTo>
                    <a:cubicBezTo>
                      <a:pt x="208" y="70"/>
                      <a:pt x="208" y="68"/>
                      <a:pt x="208" y="65"/>
                    </a:cubicBezTo>
                    <a:cubicBezTo>
                      <a:pt x="208" y="64"/>
                      <a:pt x="208" y="62"/>
                      <a:pt x="208" y="60"/>
                    </a:cubicBezTo>
                    <a:cubicBezTo>
                      <a:pt x="190" y="60"/>
                      <a:pt x="190" y="60"/>
                      <a:pt x="190" y="60"/>
                    </a:cubicBezTo>
                    <a:cubicBezTo>
                      <a:pt x="189" y="59"/>
                      <a:pt x="189" y="59"/>
                      <a:pt x="189" y="59"/>
                    </a:cubicBezTo>
                    <a:cubicBezTo>
                      <a:pt x="183" y="44"/>
                      <a:pt x="174" y="30"/>
                      <a:pt x="164" y="17"/>
                    </a:cubicBezTo>
                    <a:cubicBezTo>
                      <a:pt x="161" y="14"/>
                      <a:pt x="161" y="14"/>
                      <a:pt x="161" y="14"/>
                    </a:cubicBezTo>
                    <a:cubicBezTo>
                      <a:pt x="165" y="15"/>
                      <a:pt x="165" y="15"/>
                      <a:pt x="165" y="15"/>
                    </a:cubicBezTo>
                    <a:cubicBezTo>
                      <a:pt x="184" y="18"/>
                      <a:pt x="202" y="26"/>
                      <a:pt x="217" y="38"/>
                    </a:cubicBezTo>
                    <a:cubicBezTo>
                      <a:pt x="220" y="35"/>
                      <a:pt x="223" y="32"/>
                      <a:pt x="227" y="29"/>
                    </a:cubicBezTo>
                    <a:cubicBezTo>
                      <a:pt x="203" y="11"/>
                      <a:pt x="173" y="0"/>
                      <a:pt x="141" y="0"/>
                    </a:cubicBezTo>
                    <a:cubicBezTo>
                      <a:pt x="139" y="0"/>
                      <a:pt x="137" y="0"/>
                      <a:pt x="135" y="0"/>
                    </a:cubicBezTo>
                    <a:cubicBezTo>
                      <a:pt x="58" y="3"/>
                      <a:pt x="0" y="63"/>
                      <a:pt x="0" y="138"/>
                    </a:cubicBezTo>
                    <a:cubicBezTo>
                      <a:pt x="0" y="215"/>
                      <a:pt x="58" y="278"/>
                      <a:pt x="133" y="282"/>
                    </a:cubicBezTo>
                    <a:cubicBezTo>
                      <a:pt x="148" y="282"/>
                      <a:pt x="148" y="282"/>
                      <a:pt x="148" y="282"/>
                    </a:cubicBezTo>
                    <a:cubicBezTo>
                      <a:pt x="223" y="278"/>
                      <a:pt x="282" y="216"/>
                      <a:pt x="282" y="141"/>
                    </a:cubicBezTo>
                    <a:cubicBezTo>
                      <a:pt x="282" y="127"/>
                      <a:pt x="280" y="114"/>
                      <a:pt x="276" y="102"/>
                    </a:cubicBezTo>
                    <a:cubicBezTo>
                      <a:pt x="273" y="104"/>
                      <a:pt x="269" y="106"/>
                      <a:pt x="265" y="107"/>
                    </a:cubicBezTo>
                    <a:close/>
                    <a:moveTo>
                      <a:pt x="137" y="13"/>
                    </a:moveTo>
                    <a:cubicBezTo>
                      <a:pt x="138" y="13"/>
                      <a:pt x="138" y="13"/>
                      <a:pt x="138" y="13"/>
                    </a:cubicBezTo>
                    <a:cubicBezTo>
                      <a:pt x="139" y="13"/>
                      <a:pt x="139" y="13"/>
                      <a:pt x="139" y="13"/>
                    </a:cubicBezTo>
                    <a:cubicBezTo>
                      <a:pt x="140" y="12"/>
                      <a:pt x="141" y="12"/>
                      <a:pt x="142" y="13"/>
                    </a:cubicBezTo>
                    <a:cubicBezTo>
                      <a:pt x="144" y="13"/>
                      <a:pt x="144" y="13"/>
                      <a:pt x="144" y="13"/>
                    </a:cubicBezTo>
                    <a:cubicBezTo>
                      <a:pt x="144" y="13"/>
                      <a:pt x="144" y="13"/>
                      <a:pt x="144" y="13"/>
                    </a:cubicBezTo>
                    <a:cubicBezTo>
                      <a:pt x="157" y="27"/>
                      <a:pt x="167" y="42"/>
                      <a:pt x="175" y="58"/>
                    </a:cubicBezTo>
                    <a:cubicBezTo>
                      <a:pt x="176" y="60"/>
                      <a:pt x="176" y="60"/>
                      <a:pt x="176" y="60"/>
                    </a:cubicBezTo>
                    <a:cubicBezTo>
                      <a:pt x="105" y="60"/>
                      <a:pt x="105" y="60"/>
                      <a:pt x="105" y="60"/>
                    </a:cubicBezTo>
                    <a:cubicBezTo>
                      <a:pt x="106" y="58"/>
                      <a:pt x="106" y="58"/>
                      <a:pt x="106" y="58"/>
                    </a:cubicBezTo>
                    <a:cubicBezTo>
                      <a:pt x="114" y="42"/>
                      <a:pt x="125" y="27"/>
                      <a:pt x="137" y="13"/>
                    </a:cubicBezTo>
                    <a:close/>
                    <a:moveTo>
                      <a:pt x="41" y="58"/>
                    </a:moveTo>
                    <a:cubicBezTo>
                      <a:pt x="60" y="35"/>
                      <a:pt x="87" y="20"/>
                      <a:pt x="117" y="15"/>
                    </a:cubicBezTo>
                    <a:cubicBezTo>
                      <a:pt x="120" y="14"/>
                      <a:pt x="120" y="14"/>
                      <a:pt x="120" y="14"/>
                    </a:cubicBezTo>
                    <a:cubicBezTo>
                      <a:pt x="118" y="17"/>
                      <a:pt x="118" y="17"/>
                      <a:pt x="118" y="17"/>
                    </a:cubicBezTo>
                    <a:cubicBezTo>
                      <a:pt x="107" y="30"/>
                      <a:pt x="99" y="44"/>
                      <a:pt x="92" y="59"/>
                    </a:cubicBezTo>
                    <a:cubicBezTo>
                      <a:pt x="92" y="60"/>
                      <a:pt x="92" y="60"/>
                      <a:pt x="92" y="60"/>
                    </a:cubicBezTo>
                    <a:cubicBezTo>
                      <a:pt x="39" y="60"/>
                      <a:pt x="39" y="60"/>
                      <a:pt x="39" y="60"/>
                    </a:cubicBezTo>
                    <a:lnTo>
                      <a:pt x="41" y="58"/>
                    </a:lnTo>
                    <a:close/>
                    <a:moveTo>
                      <a:pt x="119" y="268"/>
                    </a:moveTo>
                    <a:cubicBezTo>
                      <a:pt x="83" y="262"/>
                      <a:pt x="52" y="240"/>
                      <a:pt x="32" y="209"/>
                    </a:cubicBezTo>
                    <a:cubicBezTo>
                      <a:pt x="31" y="207"/>
                      <a:pt x="31" y="207"/>
                      <a:pt x="31" y="207"/>
                    </a:cubicBezTo>
                    <a:cubicBezTo>
                      <a:pt x="90" y="207"/>
                      <a:pt x="90" y="207"/>
                      <a:pt x="90" y="207"/>
                    </a:cubicBezTo>
                    <a:cubicBezTo>
                      <a:pt x="90" y="208"/>
                      <a:pt x="90" y="208"/>
                      <a:pt x="90" y="208"/>
                    </a:cubicBezTo>
                    <a:cubicBezTo>
                      <a:pt x="97" y="228"/>
                      <a:pt x="107" y="247"/>
                      <a:pt x="120" y="266"/>
                    </a:cubicBezTo>
                    <a:cubicBezTo>
                      <a:pt x="122" y="268"/>
                      <a:pt x="122" y="268"/>
                      <a:pt x="122" y="268"/>
                    </a:cubicBezTo>
                    <a:lnTo>
                      <a:pt x="119" y="268"/>
                    </a:lnTo>
                    <a:close/>
                    <a:moveTo>
                      <a:pt x="269" y="149"/>
                    </a:moveTo>
                    <a:cubicBezTo>
                      <a:pt x="268" y="164"/>
                      <a:pt x="264" y="180"/>
                      <a:pt x="258" y="194"/>
                    </a:cubicBezTo>
                    <a:cubicBezTo>
                      <a:pt x="257" y="195"/>
                      <a:pt x="257" y="195"/>
                      <a:pt x="257" y="195"/>
                    </a:cubicBezTo>
                    <a:cubicBezTo>
                      <a:pt x="220" y="195"/>
                      <a:pt x="220" y="195"/>
                      <a:pt x="220" y="195"/>
                    </a:cubicBezTo>
                    <a:cubicBezTo>
                      <a:pt x="220" y="198"/>
                      <a:pt x="221" y="200"/>
                      <a:pt x="221" y="203"/>
                    </a:cubicBezTo>
                    <a:cubicBezTo>
                      <a:pt x="221" y="205"/>
                      <a:pt x="221" y="206"/>
                      <a:pt x="221" y="207"/>
                    </a:cubicBezTo>
                    <a:cubicBezTo>
                      <a:pt x="251" y="207"/>
                      <a:pt x="251" y="207"/>
                      <a:pt x="251" y="207"/>
                    </a:cubicBezTo>
                    <a:cubicBezTo>
                      <a:pt x="249" y="209"/>
                      <a:pt x="249" y="209"/>
                      <a:pt x="249" y="209"/>
                    </a:cubicBezTo>
                    <a:cubicBezTo>
                      <a:pt x="230" y="240"/>
                      <a:pt x="198" y="262"/>
                      <a:pt x="163" y="268"/>
                    </a:cubicBezTo>
                    <a:cubicBezTo>
                      <a:pt x="160" y="268"/>
                      <a:pt x="160" y="268"/>
                      <a:pt x="160" y="268"/>
                    </a:cubicBezTo>
                    <a:cubicBezTo>
                      <a:pt x="161" y="266"/>
                      <a:pt x="161" y="266"/>
                      <a:pt x="161" y="266"/>
                    </a:cubicBezTo>
                    <a:cubicBezTo>
                      <a:pt x="168" y="256"/>
                      <a:pt x="174" y="246"/>
                      <a:pt x="179" y="237"/>
                    </a:cubicBezTo>
                    <a:cubicBezTo>
                      <a:pt x="175" y="236"/>
                      <a:pt x="171" y="234"/>
                      <a:pt x="167" y="232"/>
                    </a:cubicBezTo>
                    <a:cubicBezTo>
                      <a:pt x="161" y="244"/>
                      <a:pt x="153" y="257"/>
                      <a:pt x="144" y="269"/>
                    </a:cubicBezTo>
                    <a:cubicBezTo>
                      <a:pt x="143" y="270"/>
                      <a:pt x="143" y="270"/>
                      <a:pt x="143" y="270"/>
                    </a:cubicBezTo>
                    <a:cubicBezTo>
                      <a:pt x="142" y="270"/>
                      <a:pt x="142" y="270"/>
                      <a:pt x="142" y="270"/>
                    </a:cubicBezTo>
                    <a:cubicBezTo>
                      <a:pt x="141" y="270"/>
                      <a:pt x="141" y="270"/>
                      <a:pt x="140" y="270"/>
                    </a:cubicBezTo>
                    <a:cubicBezTo>
                      <a:pt x="140" y="270"/>
                      <a:pt x="140" y="270"/>
                      <a:pt x="139" y="270"/>
                    </a:cubicBezTo>
                    <a:cubicBezTo>
                      <a:pt x="138" y="270"/>
                      <a:pt x="138" y="270"/>
                      <a:pt x="138" y="270"/>
                    </a:cubicBezTo>
                    <a:cubicBezTo>
                      <a:pt x="138" y="269"/>
                      <a:pt x="138" y="269"/>
                      <a:pt x="138" y="269"/>
                    </a:cubicBezTo>
                    <a:cubicBezTo>
                      <a:pt x="123" y="249"/>
                      <a:pt x="112" y="229"/>
                      <a:pt x="103" y="209"/>
                    </a:cubicBezTo>
                    <a:cubicBezTo>
                      <a:pt x="103" y="207"/>
                      <a:pt x="103" y="207"/>
                      <a:pt x="103" y="207"/>
                    </a:cubicBezTo>
                    <a:cubicBezTo>
                      <a:pt x="152" y="207"/>
                      <a:pt x="152" y="207"/>
                      <a:pt x="152" y="207"/>
                    </a:cubicBezTo>
                    <a:cubicBezTo>
                      <a:pt x="152" y="206"/>
                      <a:pt x="152" y="205"/>
                      <a:pt x="152" y="203"/>
                    </a:cubicBezTo>
                    <a:cubicBezTo>
                      <a:pt x="152" y="200"/>
                      <a:pt x="152" y="198"/>
                      <a:pt x="153" y="195"/>
                    </a:cubicBezTo>
                    <a:cubicBezTo>
                      <a:pt x="98" y="195"/>
                      <a:pt x="98" y="195"/>
                      <a:pt x="98" y="195"/>
                    </a:cubicBezTo>
                    <a:cubicBezTo>
                      <a:pt x="98" y="194"/>
                      <a:pt x="98" y="194"/>
                      <a:pt x="98" y="194"/>
                    </a:cubicBezTo>
                    <a:cubicBezTo>
                      <a:pt x="96" y="187"/>
                      <a:pt x="94" y="181"/>
                      <a:pt x="93" y="174"/>
                    </a:cubicBezTo>
                    <a:cubicBezTo>
                      <a:pt x="89" y="175"/>
                      <a:pt x="86" y="175"/>
                      <a:pt x="83" y="175"/>
                    </a:cubicBezTo>
                    <a:cubicBezTo>
                      <a:pt x="82" y="175"/>
                      <a:pt x="81" y="175"/>
                      <a:pt x="80" y="175"/>
                    </a:cubicBezTo>
                    <a:cubicBezTo>
                      <a:pt x="82" y="181"/>
                      <a:pt x="83" y="187"/>
                      <a:pt x="85" y="193"/>
                    </a:cubicBezTo>
                    <a:cubicBezTo>
                      <a:pt x="85" y="195"/>
                      <a:pt x="85" y="195"/>
                      <a:pt x="85" y="195"/>
                    </a:cubicBezTo>
                    <a:cubicBezTo>
                      <a:pt x="25" y="195"/>
                      <a:pt x="25" y="195"/>
                      <a:pt x="25" y="195"/>
                    </a:cubicBezTo>
                    <a:cubicBezTo>
                      <a:pt x="24" y="194"/>
                      <a:pt x="24" y="194"/>
                      <a:pt x="24" y="194"/>
                    </a:cubicBezTo>
                    <a:cubicBezTo>
                      <a:pt x="18" y="180"/>
                      <a:pt x="14" y="165"/>
                      <a:pt x="12" y="149"/>
                    </a:cubicBezTo>
                    <a:cubicBezTo>
                      <a:pt x="12" y="147"/>
                      <a:pt x="12" y="147"/>
                      <a:pt x="12" y="147"/>
                    </a:cubicBezTo>
                    <a:cubicBezTo>
                      <a:pt x="49" y="147"/>
                      <a:pt x="49" y="147"/>
                      <a:pt x="49" y="147"/>
                    </a:cubicBezTo>
                    <a:cubicBezTo>
                      <a:pt x="49" y="145"/>
                      <a:pt x="48" y="143"/>
                      <a:pt x="48" y="141"/>
                    </a:cubicBezTo>
                    <a:cubicBezTo>
                      <a:pt x="48" y="139"/>
                      <a:pt x="49" y="137"/>
                      <a:pt x="49" y="135"/>
                    </a:cubicBezTo>
                    <a:cubicBezTo>
                      <a:pt x="12" y="135"/>
                      <a:pt x="12" y="135"/>
                      <a:pt x="12" y="135"/>
                    </a:cubicBezTo>
                    <a:cubicBezTo>
                      <a:pt x="12" y="134"/>
                      <a:pt x="12" y="134"/>
                      <a:pt x="12" y="134"/>
                    </a:cubicBezTo>
                    <a:cubicBezTo>
                      <a:pt x="13" y="112"/>
                      <a:pt x="19" y="91"/>
                      <a:pt x="30" y="73"/>
                    </a:cubicBezTo>
                    <a:cubicBezTo>
                      <a:pt x="30" y="72"/>
                      <a:pt x="30" y="72"/>
                      <a:pt x="30" y="72"/>
                    </a:cubicBezTo>
                    <a:cubicBezTo>
                      <a:pt x="87" y="72"/>
                      <a:pt x="87" y="72"/>
                      <a:pt x="87" y="72"/>
                    </a:cubicBezTo>
                    <a:cubicBezTo>
                      <a:pt x="86" y="74"/>
                      <a:pt x="86" y="74"/>
                      <a:pt x="86" y="74"/>
                    </a:cubicBezTo>
                    <a:cubicBezTo>
                      <a:pt x="83" y="85"/>
                      <a:pt x="80" y="96"/>
                      <a:pt x="78" y="107"/>
                    </a:cubicBezTo>
                    <a:cubicBezTo>
                      <a:pt x="80" y="107"/>
                      <a:pt x="81" y="107"/>
                      <a:pt x="83" y="107"/>
                    </a:cubicBezTo>
                    <a:cubicBezTo>
                      <a:pt x="85" y="107"/>
                      <a:pt x="88" y="107"/>
                      <a:pt x="90" y="107"/>
                    </a:cubicBezTo>
                    <a:cubicBezTo>
                      <a:pt x="92" y="96"/>
                      <a:pt x="95" y="84"/>
                      <a:pt x="100" y="73"/>
                    </a:cubicBezTo>
                    <a:cubicBezTo>
                      <a:pt x="100" y="72"/>
                      <a:pt x="100" y="72"/>
                      <a:pt x="100" y="72"/>
                    </a:cubicBezTo>
                    <a:cubicBezTo>
                      <a:pt x="181" y="72"/>
                      <a:pt x="181" y="72"/>
                      <a:pt x="181" y="72"/>
                    </a:cubicBezTo>
                    <a:cubicBezTo>
                      <a:pt x="182" y="73"/>
                      <a:pt x="182" y="73"/>
                      <a:pt x="182" y="73"/>
                    </a:cubicBezTo>
                    <a:cubicBezTo>
                      <a:pt x="189" y="93"/>
                      <a:pt x="193" y="113"/>
                      <a:pt x="193" y="134"/>
                    </a:cubicBezTo>
                    <a:cubicBezTo>
                      <a:pt x="193" y="135"/>
                      <a:pt x="193" y="135"/>
                      <a:pt x="193" y="135"/>
                    </a:cubicBezTo>
                    <a:cubicBezTo>
                      <a:pt x="117" y="135"/>
                      <a:pt x="117" y="135"/>
                      <a:pt x="117" y="135"/>
                    </a:cubicBezTo>
                    <a:cubicBezTo>
                      <a:pt x="117" y="137"/>
                      <a:pt x="117" y="139"/>
                      <a:pt x="117" y="141"/>
                    </a:cubicBezTo>
                    <a:cubicBezTo>
                      <a:pt x="117" y="143"/>
                      <a:pt x="117" y="145"/>
                      <a:pt x="117" y="147"/>
                    </a:cubicBezTo>
                    <a:cubicBezTo>
                      <a:pt x="193" y="147"/>
                      <a:pt x="193" y="147"/>
                      <a:pt x="193" y="147"/>
                    </a:cubicBezTo>
                    <a:cubicBezTo>
                      <a:pt x="193" y="149"/>
                      <a:pt x="193" y="149"/>
                      <a:pt x="193" y="149"/>
                    </a:cubicBezTo>
                    <a:cubicBezTo>
                      <a:pt x="192" y="155"/>
                      <a:pt x="191" y="162"/>
                      <a:pt x="190" y="169"/>
                    </a:cubicBezTo>
                    <a:cubicBezTo>
                      <a:pt x="194" y="169"/>
                      <a:pt x="198" y="170"/>
                      <a:pt x="202" y="172"/>
                    </a:cubicBezTo>
                    <a:cubicBezTo>
                      <a:pt x="203" y="164"/>
                      <a:pt x="204" y="156"/>
                      <a:pt x="205" y="149"/>
                    </a:cubicBezTo>
                    <a:cubicBezTo>
                      <a:pt x="205" y="147"/>
                      <a:pt x="205" y="147"/>
                      <a:pt x="205" y="147"/>
                    </a:cubicBezTo>
                    <a:cubicBezTo>
                      <a:pt x="269" y="147"/>
                      <a:pt x="269" y="147"/>
                      <a:pt x="269" y="147"/>
                    </a:cubicBezTo>
                    <a:lnTo>
                      <a:pt x="269"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3" name="Freeform 35">
                <a:extLst>
                  <a:ext uri="{FF2B5EF4-FFF2-40B4-BE49-F238E27FC236}">
                    <a16:creationId xmlns:a16="http://schemas.microsoft.com/office/drawing/2014/main" id="{1AADFE76-0881-44F4-8BB8-517B75437EA9}"/>
                  </a:ext>
                </a:extLst>
              </p:cNvPr>
              <p:cNvSpPr>
                <a:spLocks noEditPoints="1"/>
              </p:cNvSpPr>
              <p:nvPr/>
            </p:nvSpPr>
            <p:spPr bwMode="auto">
              <a:xfrm>
                <a:off x="2490" y="616"/>
                <a:ext cx="74" cy="74"/>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8 h 50"/>
                  <a:gd name="T12" fmla="*/ 12 w 50"/>
                  <a:gd name="T13" fmla="*/ 25 h 50"/>
                  <a:gd name="T14" fmla="*/ 25 w 50"/>
                  <a:gd name="T15" fmla="*/ 12 h 50"/>
                  <a:gd name="T16" fmla="*/ 38 w 50"/>
                  <a:gd name="T17" fmla="*/ 25 h 50"/>
                  <a:gd name="T18" fmla="*/ 25 w 50"/>
                  <a:gd name="T19"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1"/>
                      <a:pt x="0" y="25"/>
                    </a:cubicBezTo>
                    <a:cubicBezTo>
                      <a:pt x="0" y="39"/>
                      <a:pt x="11" y="50"/>
                      <a:pt x="25" y="50"/>
                    </a:cubicBezTo>
                    <a:cubicBezTo>
                      <a:pt x="39" y="50"/>
                      <a:pt x="50" y="39"/>
                      <a:pt x="50" y="25"/>
                    </a:cubicBezTo>
                    <a:cubicBezTo>
                      <a:pt x="50" y="11"/>
                      <a:pt x="39" y="0"/>
                      <a:pt x="25" y="0"/>
                    </a:cubicBezTo>
                    <a:close/>
                    <a:moveTo>
                      <a:pt x="25" y="38"/>
                    </a:moveTo>
                    <a:cubicBezTo>
                      <a:pt x="18" y="38"/>
                      <a:pt x="12" y="32"/>
                      <a:pt x="12" y="25"/>
                    </a:cubicBezTo>
                    <a:cubicBezTo>
                      <a:pt x="12" y="18"/>
                      <a:pt x="18" y="12"/>
                      <a:pt x="25" y="12"/>
                    </a:cubicBezTo>
                    <a:cubicBezTo>
                      <a:pt x="32" y="12"/>
                      <a:pt x="38" y="18"/>
                      <a:pt x="38" y="25"/>
                    </a:cubicBezTo>
                    <a:cubicBezTo>
                      <a:pt x="38" y="32"/>
                      <a:pt x="32" y="38"/>
                      <a:pt x="25"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4" name="Freeform 36">
                <a:extLst>
                  <a:ext uri="{FF2B5EF4-FFF2-40B4-BE49-F238E27FC236}">
                    <a16:creationId xmlns:a16="http://schemas.microsoft.com/office/drawing/2014/main" id="{10EDDD3C-9495-41CB-88B9-5ADA03CCB04E}"/>
                  </a:ext>
                </a:extLst>
              </p:cNvPr>
              <p:cNvSpPr>
                <a:spLocks noEditPoints="1"/>
              </p:cNvSpPr>
              <p:nvPr/>
            </p:nvSpPr>
            <p:spPr bwMode="auto">
              <a:xfrm>
                <a:off x="2642" y="708"/>
                <a:ext cx="74" cy="74"/>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8 h 50"/>
                  <a:gd name="T12" fmla="*/ 12 w 50"/>
                  <a:gd name="T13" fmla="*/ 25 h 50"/>
                  <a:gd name="T14" fmla="*/ 25 w 50"/>
                  <a:gd name="T15" fmla="*/ 12 h 50"/>
                  <a:gd name="T16" fmla="*/ 38 w 50"/>
                  <a:gd name="T17" fmla="*/ 25 h 50"/>
                  <a:gd name="T18" fmla="*/ 25 w 50"/>
                  <a:gd name="T19"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2" y="0"/>
                      <a:pt x="0" y="11"/>
                      <a:pt x="0" y="25"/>
                    </a:cubicBezTo>
                    <a:cubicBezTo>
                      <a:pt x="0" y="39"/>
                      <a:pt x="12" y="50"/>
                      <a:pt x="25" y="50"/>
                    </a:cubicBezTo>
                    <a:cubicBezTo>
                      <a:pt x="39" y="50"/>
                      <a:pt x="50" y="39"/>
                      <a:pt x="50" y="25"/>
                    </a:cubicBezTo>
                    <a:cubicBezTo>
                      <a:pt x="50" y="11"/>
                      <a:pt x="39" y="0"/>
                      <a:pt x="25" y="0"/>
                    </a:cubicBezTo>
                    <a:close/>
                    <a:moveTo>
                      <a:pt x="25" y="38"/>
                    </a:moveTo>
                    <a:cubicBezTo>
                      <a:pt x="18" y="38"/>
                      <a:pt x="12" y="32"/>
                      <a:pt x="12" y="25"/>
                    </a:cubicBezTo>
                    <a:cubicBezTo>
                      <a:pt x="12" y="18"/>
                      <a:pt x="18" y="12"/>
                      <a:pt x="25" y="12"/>
                    </a:cubicBezTo>
                    <a:cubicBezTo>
                      <a:pt x="33" y="12"/>
                      <a:pt x="38" y="18"/>
                      <a:pt x="38" y="25"/>
                    </a:cubicBezTo>
                    <a:cubicBezTo>
                      <a:pt x="38" y="32"/>
                      <a:pt x="33" y="38"/>
                      <a:pt x="25"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5" name="Freeform 37">
                <a:extLst>
                  <a:ext uri="{FF2B5EF4-FFF2-40B4-BE49-F238E27FC236}">
                    <a16:creationId xmlns:a16="http://schemas.microsoft.com/office/drawing/2014/main" id="{9DFECE5C-F8D7-47B9-A927-324446643D3E}"/>
                  </a:ext>
                </a:extLst>
              </p:cNvPr>
              <p:cNvSpPr>
                <a:spLocks noEditPoints="1"/>
              </p:cNvSpPr>
              <p:nvPr/>
            </p:nvSpPr>
            <p:spPr bwMode="auto">
              <a:xfrm>
                <a:off x="2725" y="491"/>
                <a:ext cx="102" cy="102"/>
              </a:xfrm>
              <a:custGeom>
                <a:avLst/>
                <a:gdLst>
                  <a:gd name="T0" fmla="*/ 35 w 69"/>
                  <a:gd name="T1" fmla="*/ 69 h 69"/>
                  <a:gd name="T2" fmla="*/ 69 w 69"/>
                  <a:gd name="T3" fmla="*/ 34 h 69"/>
                  <a:gd name="T4" fmla="*/ 35 w 69"/>
                  <a:gd name="T5" fmla="*/ 0 h 69"/>
                  <a:gd name="T6" fmla="*/ 0 w 69"/>
                  <a:gd name="T7" fmla="*/ 34 h 69"/>
                  <a:gd name="T8" fmla="*/ 35 w 69"/>
                  <a:gd name="T9" fmla="*/ 69 h 69"/>
                  <a:gd name="T10" fmla="*/ 35 w 69"/>
                  <a:gd name="T11" fmla="*/ 12 h 69"/>
                  <a:gd name="T12" fmla="*/ 57 w 69"/>
                  <a:gd name="T13" fmla="*/ 34 h 69"/>
                  <a:gd name="T14" fmla="*/ 35 w 69"/>
                  <a:gd name="T15" fmla="*/ 57 h 69"/>
                  <a:gd name="T16" fmla="*/ 12 w 69"/>
                  <a:gd name="T17" fmla="*/ 34 h 69"/>
                  <a:gd name="T18" fmla="*/ 35 w 69"/>
                  <a:gd name="T19"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5" y="69"/>
                    </a:moveTo>
                    <a:cubicBezTo>
                      <a:pt x="54" y="69"/>
                      <a:pt x="69" y="53"/>
                      <a:pt x="69" y="34"/>
                    </a:cubicBezTo>
                    <a:cubicBezTo>
                      <a:pt x="69" y="15"/>
                      <a:pt x="54" y="0"/>
                      <a:pt x="35" y="0"/>
                    </a:cubicBezTo>
                    <a:cubicBezTo>
                      <a:pt x="16" y="0"/>
                      <a:pt x="0" y="15"/>
                      <a:pt x="0" y="34"/>
                    </a:cubicBezTo>
                    <a:cubicBezTo>
                      <a:pt x="0" y="53"/>
                      <a:pt x="16" y="69"/>
                      <a:pt x="35" y="69"/>
                    </a:cubicBezTo>
                    <a:close/>
                    <a:moveTo>
                      <a:pt x="35" y="12"/>
                    </a:moveTo>
                    <a:cubicBezTo>
                      <a:pt x="47" y="12"/>
                      <a:pt x="57" y="22"/>
                      <a:pt x="57" y="34"/>
                    </a:cubicBezTo>
                    <a:cubicBezTo>
                      <a:pt x="57" y="47"/>
                      <a:pt x="47" y="57"/>
                      <a:pt x="35" y="57"/>
                    </a:cubicBezTo>
                    <a:cubicBezTo>
                      <a:pt x="22" y="57"/>
                      <a:pt x="12" y="47"/>
                      <a:pt x="12" y="34"/>
                    </a:cubicBezTo>
                    <a:cubicBezTo>
                      <a:pt x="12" y="22"/>
                      <a:pt x="22" y="12"/>
                      <a:pt x="3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grpSp>
        <p:grpSp>
          <p:nvGrpSpPr>
            <p:cNvPr id="196" name="Group 65">
              <a:extLst>
                <a:ext uri="{FF2B5EF4-FFF2-40B4-BE49-F238E27FC236}">
                  <a16:creationId xmlns:a16="http://schemas.microsoft.com/office/drawing/2014/main" id="{1DBE86DF-522A-484D-90D5-1CDACC926805}"/>
                </a:ext>
              </a:extLst>
            </p:cNvPr>
            <p:cNvGrpSpPr>
              <a:grpSpLocks noChangeAspect="1"/>
            </p:cNvGrpSpPr>
            <p:nvPr/>
          </p:nvGrpSpPr>
          <p:grpSpPr bwMode="auto">
            <a:xfrm rot="10800000">
              <a:off x="5838375" y="2627901"/>
              <a:ext cx="649156" cy="597224"/>
              <a:chOff x="1359" y="1738"/>
              <a:chExt cx="425" cy="391"/>
            </a:xfrm>
            <a:solidFill>
              <a:sysClr val="window" lastClr="FFFFFF"/>
            </a:solidFill>
          </p:grpSpPr>
          <p:sp>
            <p:nvSpPr>
              <p:cNvPr id="197" name="Freeform 66">
                <a:extLst>
                  <a:ext uri="{FF2B5EF4-FFF2-40B4-BE49-F238E27FC236}">
                    <a16:creationId xmlns:a16="http://schemas.microsoft.com/office/drawing/2014/main" id="{4A327541-F24D-439D-9988-6432958E4852}"/>
                  </a:ext>
                </a:extLst>
              </p:cNvPr>
              <p:cNvSpPr>
                <a:spLocks noEditPoints="1"/>
              </p:cNvSpPr>
              <p:nvPr/>
            </p:nvSpPr>
            <p:spPr bwMode="auto">
              <a:xfrm>
                <a:off x="1473" y="1842"/>
                <a:ext cx="197" cy="199"/>
              </a:xfrm>
              <a:custGeom>
                <a:avLst/>
                <a:gdLst>
                  <a:gd name="T0" fmla="*/ 64 w 134"/>
                  <a:gd name="T1" fmla="*/ 1 h 135"/>
                  <a:gd name="T2" fmla="*/ 0 w 134"/>
                  <a:gd name="T3" fmla="*/ 66 h 135"/>
                  <a:gd name="T4" fmla="*/ 134 w 134"/>
                  <a:gd name="T5" fmla="*/ 67 h 135"/>
                  <a:gd name="T6" fmla="*/ 40 w 134"/>
                  <a:gd name="T7" fmla="*/ 95 h 135"/>
                  <a:gd name="T8" fmla="*/ 12 w 134"/>
                  <a:gd name="T9" fmla="*/ 69 h 135"/>
                  <a:gd name="T10" fmla="*/ 40 w 134"/>
                  <a:gd name="T11" fmla="*/ 95 h 135"/>
                  <a:gd name="T12" fmla="*/ 18 w 134"/>
                  <a:gd name="T13" fmla="*/ 41 h 135"/>
                  <a:gd name="T14" fmla="*/ 35 w 134"/>
                  <a:gd name="T15" fmla="*/ 57 h 135"/>
                  <a:gd name="T16" fmla="*/ 52 w 134"/>
                  <a:gd name="T17" fmla="*/ 121 h 135"/>
                  <a:gd name="T18" fmla="*/ 44 w 134"/>
                  <a:gd name="T19" fmla="*/ 107 h 135"/>
                  <a:gd name="T20" fmla="*/ 88 w 134"/>
                  <a:gd name="T21" fmla="*/ 69 h 135"/>
                  <a:gd name="T22" fmla="*/ 52 w 134"/>
                  <a:gd name="T23" fmla="*/ 95 h 135"/>
                  <a:gd name="T24" fmla="*/ 88 w 134"/>
                  <a:gd name="T25" fmla="*/ 69 h 135"/>
                  <a:gd name="T26" fmla="*/ 50 w 134"/>
                  <a:gd name="T27" fmla="*/ 41 h 135"/>
                  <a:gd name="T28" fmla="*/ 87 w 134"/>
                  <a:gd name="T29" fmla="*/ 57 h 135"/>
                  <a:gd name="T30" fmla="*/ 107 w 134"/>
                  <a:gd name="T31" fmla="*/ 29 h 135"/>
                  <a:gd name="T32" fmla="*/ 84 w 134"/>
                  <a:gd name="T33" fmla="*/ 15 h 135"/>
                  <a:gd name="T34" fmla="*/ 79 w 134"/>
                  <a:gd name="T35" fmla="*/ 29 h 135"/>
                  <a:gd name="T36" fmla="*/ 67 w 134"/>
                  <a:gd name="T37" fmla="*/ 13 h 135"/>
                  <a:gd name="T38" fmla="*/ 27 w 134"/>
                  <a:gd name="T39" fmla="*/ 29 h 135"/>
                  <a:gd name="T40" fmla="*/ 42 w 134"/>
                  <a:gd name="T41" fmla="*/ 29 h 135"/>
                  <a:gd name="T42" fmla="*/ 58 w 134"/>
                  <a:gd name="T43" fmla="*/ 107 h 135"/>
                  <a:gd name="T44" fmla="*/ 67 w 134"/>
                  <a:gd name="T45" fmla="*/ 122 h 135"/>
                  <a:gd name="T46" fmla="*/ 67 w 134"/>
                  <a:gd name="T47" fmla="*/ 124 h 135"/>
                  <a:gd name="T48" fmla="*/ 67 w 134"/>
                  <a:gd name="T49" fmla="*/ 124 h 135"/>
                  <a:gd name="T50" fmla="*/ 82 w 134"/>
                  <a:gd name="T51" fmla="*/ 121 h 135"/>
                  <a:gd name="T52" fmla="*/ 105 w 134"/>
                  <a:gd name="T53" fmla="*/ 107 h 135"/>
                  <a:gd name="T54" fmla="*/ 96 w 134"/>
                  <a:gd name="T55" fmla="*/ 41 h 135"/>
                  <a:gd name="T56" fmla="*/ 121 w 134"/>
                  <a:gd name="T57" fmla="*/ 57 h 135"/>
                  <a:gd name="T58" fmla="*/ 122 w 134"/>
                  <a:gd name="T59" fmla="*/ 69 h 135"/>
                  <a:gd name="T60" fmla="*/ 94 w 134"/>
                  <a:gd name="T61" fmla="*/ 95 h 135"/>
                  <a:gd name="T62" fmla="*/ 122 w 134"/>
                  <a:gd name="T63"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135">
                    <a:moveTo>
                      <a:pt x="114" y="19"/>
                    </a:moveTo>
                    <a:cubicBezTo>
                      <a:pt x="100" y="7"/>
                      <a:pt x="83" y="0"/>
                      <a:pt x="64" y="1"/>
                    </a:cubicBezTo>
                    <a:cubicBezTo>
                      <a:pt x="64" y="1"/>
                      <a:pt x="64" y="1"/>
                      <a:pt x="64" y="1"/>
                    </a:cubicBezTo>
                    <a:cubicBezTo>
                      <a:pt x="27" y="2"/>
                      <a:pt x="0" y="30"/>
                      <a:pt x="0" y="66"/>
                    </a:cubicBezTo>
                    <a:cubicBezTo>
                      <a:pt x="0" y="104"/>
                      <a:pt x="30" y="135"/>
                      <a:pt x="67" y="135"/>
                    </a:cubicBezTo>
                    <a:cubicBezTo>
                      <a:pt x="104" y="135"/>
                      <a:pt x="134" y="105"/>
                      <a:pt x="134" y="67"/>
                    </a:cubicBezTo>
                    <a:cubicBezTo>
                      <a:pt x="134" y="49"/>
                      <a:pt x="127" y="32"/>
                      <a:pt x="114" y="19"/>
                    </a:cubicBezTo>
                    <a:close/>
                    <a:moveTo>
                      <a:pt x="40" y="95"/>
                    </a:moveTo>
                    <a:cubicBezTo>
                      <a:pt x="19" y="95"/>
                      <a:pt x="19" y="95"/>
                      <a:pt x="19" y="95"/>
                    </a:cubicBezTo>
                    <a:cubicBezTo>
                      <a:pt x="15" y="87"/>
                      <a:pt x="12" y="78"/>
                      <a:pt x="12" y="69"/>
                    </a:cubicBezTo>
                    <a:cubicBezTo>
                      <a:pt x="35" y="69"/>
                      <a:pt x="35" y="69"/>
                      <a:pt x="35" y="69"/>
                    </a:cubicBezTo>
                    <a:cubicBezTo>
                      <a:pt x="35" y="78"/>
                      <a:pt x="37" y="86"/>
                      <a:pt x="40" y="95"/>
                    </a:cubicBezTo>
                    <a:close/>
                    <a:moveTo>
                      <a:pt x="13" y="57"/>
                    </a:moveTo>
                    <a:cubicBezTo>
                      <a:pt x="13" y="52"/>
                      <a:pt x="15" y="46"/>
                      <a:pt x="18" y="41"/>
                    </a:cubicBezTo>
                    <a:cubicBezTo>
                      <a:pt x="38" y="41"/>
                      <a:pt x="38" y="41"/>
                      <a:pt x="38" y="41"/>
                    </a:cubicBezTo>
                    <a:cubicBezTo>
                      <a:pt x="36" y="46"/>
                      <a:pt x="35" y="52"/>
                      <a:pt x="35" y="57"/>
                    </a:cubicBezTo>
                    <a:lnTo>
                      <a:pt x="13" y="57"/>
                    </a:lnTo>
                    <a:close/>
                    <a:moveTo>
                      <a:pt x="52" y="121"/>
                    </a:moveTo>
                    <a:cubicBezTo>
                      <a:pt x="43" y="118"/>
                      <a:pt x="35" y="113"/>
                      <a:pt x="29" y="107"/>
                    </a:cubicBezTo>
                    <a:cubicBezTo>
                      <a:pt x="44" y="107"/>
                      <a:pt x="44" y="107"/>
                      <a:pt x="44" y="107"/>
                    </a:cubicBezTo>
                    <a:cubicBezTo>
                      <a:pt x="46" y="112"/>
                      <a:pt x="49" y="116"/>
                      <a:pt x="52" y="121"/>
                    </a:cubicBezTo>
                    <a:close/>
                    <a:moveTo>
                      <a:pt x="88" y="69"/>
                    </a:moveTo>
                    <a:cubicBezTo>
                      <a:pt x="87" y="78"/>
                      <a:pt x="85" y="86"/>
                      <a:pt x="82" y="95"/>
                    </a:cubicBezTo>
                    <a:cubicBezTo>
                      <a:pt x="52" y="95"/>
                      <a:pt x="52" y="95"/>
                      <a:pt x="52" y="95"/>
                    </a:cubicBezTo>
                    <a:cubicBezTo>
                      <a:pt x="49" y="86"/>
                      <a:pt x="47" y="78"/>
                      <a:pt x="46" y="69"/>
                    </a:cubicBezTo>
                    <a:lnTo>
                      <a:pt x="88" y="69"/>
                    </a:lnTo>
                    <a:close/>
                    <a:moveTo>
                      <a:pt x="47" y="57"/>
                    </a:moveTo>
                    <a:cubicBezTo>
                      <a:pt x="47" y="52"/>
                      <a:pt x="48" y="46"/>
                      <a:pt x="50" y="41"/>
                    </a:cubicBezTo>
                    <a:cubicBezTo>
                      <a:pt x="84" y="41"/>
                      <a:pt x="84" y="41"/>
                      <a:pt x="84" y="41"/>
                    </a:cubicBezTo>
                    <a:cubicBezTo>
                      <a:pt x="86" y="46"/>
                      <a:pt x="87" y="52"/>
                      <a:pt x="87" y="57"/>
                    </a:cubicBezTo>
                    <a:lnTo>
                      <a:pt x="47" y="57"/>
                    </a:lnTo>
                    <a:close/>
                    <a:moveTo>
                      <a:pt x="107" y="29"/>
                    </a:moveTo>
                    <a:cubicBezTo>
                      <a:pt x="92" y="29"/>
                      <a:pt x="92" y="29"/>
                      <a:pt x="92" y="29"/>
                    </a:cubicBezTo>
                    <a:cubicBezTo>
                      <a:pt x="90" y="24"/>
                      <a:pt x="87" y="20"/>
                      <a:pt x="84" y="15"/>
                    </a:cubicBezTo>
                    <a:cubicBezTo>
                      <a:pt x="93" y="18"/>
                      <a:pt x="100" y="23"/>
                      <a:pt x="107" y="29"/>
                    </a:cubicBezTo>
                    <a:close/>
                    <a:moveTo>
                      <a:pt x="79" y="29"/>
                    </a:moveTo>
                    <a:cubicBezTo>
                      <a:pt x="55" y="29"/>
                      <a:pt x="55" y="29"/>
                      <a:pt x="55" y="29"/>
                    </a:cubicBezTo>
                    <a:cubicBezTo>
                      <a:pt x="58" y="23"/>
                      <a:pt x="62" y="18"/>
                      <a:pt x="67" y="13"/>
                    </a:cubicBezTo>
                    <a:cubicBezTo>
                      <a:pt x="72" y="18"/>
                      <a:pt x="76" y="23"/>
                      <a:pt x="79" y="29"/>
                    </a:cubicBezTo>
                    <a:close/>
                    <a:moveTo>
                      <a:pt x="27" y="29"/>
                    </a:moveTo>
                    <a:cubicBezTo>
                      <a:pt x="33" y="22"/>
                      <a:pt x="41" y="18"/>
                      <a:pt x="50" y="15"/>
                    </a:cubicBezTo>
                    <a:cubicBezTo>
                      <a:pt x="47" y="19"/>
                      <a:pt x="44" y="24"/>
                      <a:pt x="42" y="29"/>
                    </a:cubicBezTo>
                    <a:lnTo>
                      <a:pt x="27" y="29"/>
                    </a:lnTo>
                    <a:close/>
                    <a:moveTo>
                      <a:pt x="58" y="107"/>
                    </a:moveTo>
                    <a:cubicBezTo>
                      <a:pt x="76" y="107"/>
                      <a:pt x="76" y="107"/>
                      <a:pt x="76" y="107"/>
                    </a:cubicBezTo>
                    <a:cubicBezTo>
                      <a:pt x="74" y="112"/>
                      <a:pt x="71" y="117"/>
                      <a:pt x="67" y="122"/>
                    </a:cubicBezTo>
                    <a:cubicBezTo>
                      <a:pt x="63" y="117"/>
                      <a:pt x="60" y="112"/>
                      <a:pt x="58" y="107"/>
                    </a:cubicBezTo>
                    <a:close/>
                    <a:moveTo>
                      <a:pt x="67" y="124"/>
                    </a:moveTo>
                    <a:cubicBezTo>
                      <a:pt x="67" y="124"/>
                      <a:pt x="67" y="124"/>
                      <a:pt x="67" y="124"/>
                    </a:cubicBezTo>
                    <a:cubicBezTo>
                      <a:pt x="67" y="124"/>
                      <a:pt x="67" y="124"/>
                      <a:pt x="67" y="124"/>
                    </a:cubicBezTo>
                    <a:close/>
                    <a:moveTo>
                      <a:pt x="105" y="107"/>
                    </a:moveTo>
                    <a:cubicBezTo>
                      <a:pt x="99" y="113"/>
                      <a:pt x="91" y="118"/>
                      <a:pt x="82" y="121"/>
                    </a:cubicBezTo>
                    <a:cubicBezTo>
                      <a:pt x="85" y="116"/>
                      <a:pt x="88" y="112"/>
                      <a:pt x="90" y="107"/>
                    </a:cubicBezTo>
                    <a:lnTo>
                      <a:pt x="105" y="107"/>
                    </a:lnTo>
                    <a:close/>
                    <a:moveTo>
                      <a:pt x="99" y="57"/>
                    </a:moveTo>
                    <a:cubicBezTo>
                      <a:pt x="99" y="52"/>
                      <a:pt x="98" y="46"/>
                      <a:pt x="96" y="41"/>
                    </a:cubicBezTo>
                    <a:cubicBezTo>
                      <a:pt x="115" y="41"/>
                      <a:pt x="115" y="41"/>
                      <a:pt x="115" y="41"/>
                    </a:cubicBezTo>
                    <a:cubicBezTo>
                      <a:pt x="118" y="46"/>
                      <a:pt x="120" y="52"/>
                      <a:pt x="121" y="57"/>
                    </a:cubicBezTo>
                    <a:lnTo>
                      <a:pt x="99" y="57"/>
                    </a:lnTo>
                    <a:close/>
                    <a:moveTo>
                      <a:pt x="122" y="69"/>
                    </a:moveTo>
                    <a:cubicBezTo>
                      <a:pt x="122" y="78"/>
                      <a:pt x="119" y="87"/>
                      <a:pt x="115" y="95"/>
                    </a:cubicBezTo>
                    <a:cubicBezTo>
                      <a:pt x="94" y="95"/>
                      <a:pt x="94" y="95"/>
                      <a:pt x="94" y="95"/>
                    </a:cubicBezTo>
                    <a:cubicBezTo>
                      <a:pt x="97" y="86"/>
                      <a:pt x="99" y="78"/>
                      <a:pt x="99" y="69"/>
                    </a:cubicBezTo>
                    <a:lnTo>
                      <a:pt x="122"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8" name="Freeform 67">
                <a:extLst>
                  <a:ext uri="{FF2B5EF4-FFF2-40B4-BE49-F238E27FC236}">
                    <a16:creationId xmlns:a16="http://schemas.microsoft.com/office/drawing/2014/main" id="{B489FF14-B1C0-4F77-A5F3-256E6A94411C}"/>
                  </a:ext>
                </a:extLst>
              </p:cNvPr>
              <p:cNvSpPr>
                <a:spLocks noEditPoints="1"/>
              </p:cNvSpPr>
              <p:nvPr/>
            </p:nvSpPr>
            <p:spPr bwMode="auto">
              <a:xfrm>
                <a:off x="1650" y="1738"/>
                <a:ext cx="134" cy="135"/>
              </a:xfrm>
              <a:custGeom>
                <a:avLst/>
                <a:gdLst>
                  <a:gd name="T0" fmla="*/ 11 w 91"/>
                  <a:gd name="T1" fmla="*/ 88 h 91"/>
                  <a:gd name="T2" fmla="*/ 45 w 91"/>
                  <a:gd name="T3" fmla="*/ 55 h 91"/>
                  <a:gd name="T4" fmla="*/ 61 w 91"/>
                  <a:gd name="T5" fmla="*/ 60 h 91"/>
                  <a:gd name="T6" fmla="*/ 91 w 91"/>
                  <a:gd name="T7" fmla="*/ 30 h 91"/>
                  <a:gd name="T8" fmla="*/ 61 w 91"/>
                  <a:gd name="T9" fmla="*/ 0 h 91"/>
                  <a:gd name="T10" fmla="*/ 31 w 91"/>
                  <a:gd name="T11" fmla="*/ 30 h 91"/>
                  <a:gd name="T12" fmla="*/ 36 w 91"/>
                  <a:gd name="T13" fmla="*/ 47 h 91"/>
                  <a:gd name="T14" fmla="*/ 3 w 91"/>
                  <a:gd name="T15" fmla="*/ 80 h 91"/>
                  <a:gd name="T16" fmla="*/ 3 w 91"/>
                  <a:gd name="T17" fmla="*/ 88 h 91"/>
                  <a:gd name="T18" fmla="*/ 11 w 91"/>
                  <a:gd name="T19" fmla="*/ 88 h 91"/>
                  <a:gd name="T20" fmla="*/ 61 w 91"/>
                  <a:gd name="T21" fmla="*/ 12 h 91"/>
                  <a:gd name="T22" fmla="*/ 79 w 91"/>
                  <a:gd name="T23" fmla="*/ 30 h 91"/>
                  <a:gd name="T24" fmla="*/ 61 w 91"/>
                  <a:gd name="T25" fmla="*/ 48 h 91"/>
                  <a:gd name="T26" fmla="*/ 43 w 91"/>
                  <a:gd name="T27" fmla="*/ 30 h 91"/>
                  <a:gd name="T28" fmla="*/ 61 w 91"/>
                  <a:gd name="T29" fmla="*/ 1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1">
                    <a:moveTo>
                      <a:pt x="11" y="88"/>
                    </a:moveTo>
                    <a:cubicBezTo>
                      <a:pt x="45" y="55"/>
                      <a:pt x="45" y="55"/>
                      <a:pt x="45" y="55"/>
                    </a:cubicBezTo>
                    <a:cubicBezTo>
                      <a:pt x="49" y="58"/>
                      <a:pt x="55" y="60"/>
                      <a:pt x="61" y="60"/>
                    </a:cubicBezTo>
                    <a:cubicBezTo>
                      <a:pt x="77" y="60"/>
                      <a:pt x="91" y="46"/>
                      <a:pt x="91" y="30"/>
                    </a:cubicBezTo>
                    <a:cubicBezTo>
                      <a:pt x="91" y="13"/>
                      <a:pt x="77" y="0"/>
                      <a:pt x="61" y="0"/>
                    </a:cubicBezTo>
                    <a:cubicBezTo>
                      <a:pt x="44" y="0"/>
                      <a:pt x="31" y="13"/>
                      <a:pt x="31" y="30"/>
                    </a:cubicBezTo>
                    <a:cubicBezTo>
                      <a:pt x="31" y="36"/>
                      <a:pt x="33" y="42"/>
                      <a:pt x="36" y="47"/>
                    </a:cubicBezTo>
                    <a:cubicBezTo>
                      <a:pt x="3" y="80"/>
                      <a:pt x="3" y="80"/>
                      <a:pt x="3" y="80"/>
                    </a:cubicBezTo>
                    <a:cubicBezTo>
                      <a:pt x="0" y="82"/>
                      <a:pt x="0" y="86"/>
                      <a:pt x="3" y="88"/>
                    </a:cubicBezTo>
                    <a:cubicBezTo>
                      <a:pt x="5" y="91"/>
                      <a:pt x="9" y="91"/>
                      <a:pt x="11" y="88"/>
                    </a:cubicBezTo>
                    <a:close/>
                    <a:moveTo>
                      <a:pt x="61" y="12"/>
                    </a:moveTo>
                    <a:cubicBezTo>
                      <a:pt x="71" y="12"/>
                      <a:pt x="79" y="20"/>
                      <a:pt x="79" y="30"/>
                    </a:cubicBezTo>
                    <a:cubicBezTo>
                      <a:pt x="79" y="40"/>
                      <a:pt x="71" y="48"/>
                      <a:pt x="61" y="48"/>
                    </a:cubicBezTo>
                    <a:cubicBezTo>
                      <a:pt x="51" y="48"/>
                      <a:pt x="43" y="40"/>
                      <a:pt x="43" y="30"/>
                    </a:cubicBezTo>
                    <a:cubicBezTo>
                      <a:pt x="43" y="20"/>
                      <a:pt x="51" y="12"/>
                      <a:pt x="6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199" name="Freeform 68">
                <a:extLst>
                  <a:ext uri="{FF2B5EF4-FFF2-40B4-BE49-F238E27FC236}">
                    <a16:creationId xmlns:a16="http://schemas.microsoft.com/office/drawing/2014/main" id="{567552D6-A137-4BB1-8EC7-5013B98AEF24}"/>
                  </a:ext>
                </a:extLst>
              </p:cNvPr>
              <p:cNvSpPr>
                <a:spLocks noEditPoints="1"/>
              </p:cNvSpPr>
              <p:nvPr/>
            </p:nvSpPr>
            <p:spPr bwMode="auto">
              <a:xfrm>
                <a:off x="1668" y="2012"/>
                <a:ext cx="116" cy="117"/>
              </a:xfrm>
              <a:custGeom>
                <a:avLst/>
                <a:gdLst>
                  <a:gd name="T0" fmla="*/ 49 w 79"/>
                  <a:gd name="T1" fmla="*/ 19 h 79"/>
                  <a:gd name="T2" fmla="*/ 32 w 79"/>
                  <a:gd name="T3" fmla="*/ 24 h 79"/>
                  <a:gd name="T4" fmla="*/ 11 w 79"/>
                  <a:gd name="T5" fmla="*/ 2 h 79"/>
                  <a:gd name="T6" fmla="*/ 2 w 79"/>
                  <a:gd name="T7" fmla="*/ 2 h 79"/>
                  <a:gd name="T8" fmla="*/ 2 w 79"/>
                  <a:gd name="T9" fmla="*/ 11 h 79"/>
                  <a:gd name="T10" fmla="*/ 24 w 79"/>
                  <a:gd name="T11" fmla="*/ 33 h 79"/>
                  <a:gd name="T12" fmla="*/ 19 w 79"/>
                  <a:gd name="T13" fmla="*/ 49 h 79"/>
                  <a:gd name="T14" fmla="*/ 49 w 79"/>
                  <a:gd name="T15" fmla="*/ 79 h 79"/>
                  <a:gd name="T16" fmla="*/ 79 w 79"/>
                  <a:gd name="T17" fmla="*/ 49 h 79"/>
                  <a:gd name="T18" fmla="*/ 49 w 79"/>
                  <a:gd name="T19" fmla="*/ 19 h 79"/>
                  <a:gd name="T20" fmla="*/ 49 w 79"/>
                  <a:gd name="T21" fmla="*/ 67 h 79"/>
                  <a:gd name="T22" fmla="*/ 31 w 79"/>
                  <a:gd name="T23" fmla="*/ 49 h 79"/>
                  <a:gd name="T24" fmla="*/ 49 w 79"/>
                  <a:gd name="T25" fmla="*/ 31 h 79"/>
                  <a:gd name="T26" fmla="*/ 67 w 79"/>
                  <a:gd name="T27" fmla="*/ 49 h 79"/>
                  <a:gd name="T28" fmla="*/ 49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49" y="19"/>
                    </a:moveTo>
                    <a:cubicBezTo>
                      <a:pt x="43" y="19"/>
                      <a:pt x="37" y="21"/>
                      <a:pt x="32" y="24"/>
                    </a:cubicBezTo>
                    <a:cubicBezTo>
                      <a:pt x="11" y="2"/>
                      <a:pt x="11" y="2"/>
                      <a:pt x="11" y="2"/>
                    </a:cubicBezTo>
                    <a:cubicBezTo>
                      <a:pt x="8" y="0"/>
                      <a:pt x="5" y="0"/>
                      <a:pt x="2" y="2"/>
                    </a:cubicBezTo>
                    <a:cubicBezTo>
                      <a:pt x="0" y="5"/>
                      <a:pt x="0" y="9"/>
                      <a:pt x="2" y="11"/>
                    </a:cubicBezTo>
                    <a:cubicBezTo>
                      <a:pt x="24" y="33"/>
                      <a:pt x="24" y="33"/>
                      <a:pt x="24" y="33"/>
                    </a:cubicBezTo>
                    <a:cubicBezTo>
                      <a:pt x="21" y="37"/>
                      <a:pt x="19" y="43"/>
                      <a:pt x="19" y="49"/>
                    </a:cubicBezTo>
                    <a:cubicBezTo>
                      <a:pt x="19" y="65"/>
                      <a:pt x="32" y="79"/>
                      <a:pt x="49" y="79"/>
                    </a:cubicBezTo>
                    <a:cubicBezTo>
                      <a:pt x="65" y="79"/>
                      <a:pt x="79" y="65"/>
                      <a:pt x="79" y="49"/>
                    </a:cubicBezTo>
                    <a:cubicBezTo>
                      <a:pt x="79" y="32"/>
                      <a:pt x="65" y="19"/>
                      <a:pt x="49" y="19"/>
                    </a:cubicBezTo>
                    <a:close/>
                    <a:moveTo>
                      <a:pt x="49" y="67"/>
                    </a:moveTo>
                    <a:cubicBezTo>
                      <a:pt x="39" y="67"/>
                      <a:pt x="31" y="59"/>
                      <a:pt x="31" y="49"/>
                    </a:cubicBezTo>
                    <a:cubicBezTo>
                      <a:pt x="31" y="39"/>
                      <a:pt x="39" y="31"/>
                      <a:pt x="49" y="31"/>
                    </a:cubicBezTo>
                    <a:cubicBezTo>
                      <a:pt x="59" y="31"/>
                      <a:pt x="67" y="39"/>
                      <a:pt x="67" y="49"/>
                    </a:cubicBezTo>
                    <a:cubicBezTo>
                      <a:pt x="67" y="59"/>
                      <a:pt x="59" y="67"/>
                      <a:pt x="4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200" name="Freeform 69">
                <a:extLst>
                  <a:ext uri="{FF2B5EF4-FFF2-40B4-BE49-F238E27FC236}">
                    <a16:creationId xmlns:a16="http://schemas.microsoft.com/office/drawing/2014/main" id="{79599A01-D968-42F5-9B66-CC3C513176E7}"/>
                  </a:ext>
                </a:extLst>
              </p:cNvPr>
              <p:cNvSpPr>
                <a:spLocks noEditPoints="1"/>
              </p:cNvSpPr>
              <p:nvPr/>
            </p:nvSpPr>
            <p:spPr bwMode="auto">
              <a:xfrm>
                <a:off x="1359" y="1738"/>
                <a:ext cx="134" cy="135"/>
              </a:xfrm>
              <a:custGeom>
                <a:avLst/>
                <a:gdLst>
                  <a:gd name="T0" fmla="*/ 30 w 91"/>
                  <a:gd name="T1" fmla="*/ 60 h 91"/>
                  <a:gd name="T2" fmla="*/ 46 w 91"/>
                  <a:gd name="T3" fmla="*/ 55 h 91"/>
                  <a:gd name="T4" fmla="*/ 80 w 91"/>
                  <a:gd name="T5" fmla="*/ 88 h 91"/>
                  <a:gd name="T6" fmla="*/ 88 w 91"/>
                  <a:gd name="T7" fmla="*/ 88 h 91"/>
                  <a:gd name="T8" fmla="*/ 88 w 91"/>
                  <a:gd name="T9" fmla="*/ 80 h 91"/>
                  <a:gd name="T10" fmla="*/ 55 w 91"/>
                  <a:gd name="T11" fmla="*/ 47 h 91"/>
                  <a:gd name="T12" fmla="*/ 60 w 91"/>
                  <a:gd name="T13" fmla="*/ 30 h 91"/>
                  <a:gd name="T14" fmla="*/ 30 w 91"/>
                  <a:gd name="T15" fmla="*/ 0 h 91"/>
                  <a:gd name="T16" fmla="*/ 0 w 91"/>
                  <a:gd name="T17" fmla="*/ 30 h 91"/>
                  <a:gd name="T18" fmla="*/ 30 w 91"/>
                  <a:gd name="T19" fmla="*/ 60 h 91"/>
                  <a:gd name="T20" fmla="*/ 30 w 91"/>
                  <a:gd name="T21" fmla="*/ 12 h 91"/>
                  <a:gd name="T22" fmla="*/ 48 w 91"/>
                  <a:gd name="T23" fmla="*/ 30 h 91"/>
                  <a:gd name="T24" fmla="*/ 30 w 91"/>
                  <a:gd name="T25" fmla="*/ 48 h 91"/>
                  <a:gd name="T26" fmla="*/ 12 w 91"/>
                  <a:gd name="T27" fmla="*/ 30 h 91"/>
                  <a:gd name="T28" fmla="*/ 30 w 91"/>
                  <a:gd name="T29" fmla="*/ 1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1">
                    <a:moveTo>
                      <a:pt x="30" y="60"/>
                    </a:moveTo>
                    <a:cubicBezTo>
                      <a:pt x="36" y="60"/>
                      <a:pt x="42" y="58"/>
                      <a:pt x="46" y="55"/>
                    </a:cubicBezTo>
                    <a:cubicBezTo>
                      <a:pt x="80" y="88"/>
                      <a:pt x="80" y="88"/>
                      <a:pt x="80" y="88"/>
                    </a:cubicBezTo>
                    <a:cubicBezTo>
                      <a:pt x="82" y="91"/>
                      <a:pt x="86" y="91"/>
                      <a:pt x="88" y="88"/>
                    </a:cubicBezTo>
                    <a:cubicBezTo>
                      <a:pt x="91" y="86"/>
                      <a:pt x="91" y="82"/>
                      <a:pt x="88" y="80"/>
                    </a:cubicBezTo>
                    <a:cubicBezTo>
                      <a:pt x="55" y="47"/>
                      <a:pt x="55" y="47"/>
                      <a:pt x="55" y="47"/>
                    </a:cubicBezTo>
                    <a:cubicBezTo>
                      <a:pt x="58" y="42"/>
                      <a:pt x="60" y="36"/>
                      <a:pt x="60" y="30"/>
                    </a:cubicBezTo>
                    <a:cubicBezTo>
                      <a:pt x="60" y="13"/>
                      <a:pt x="47" y="0"/>
                      <a:pt x="30" y="0"/>
                    </a:cubicBezTo>
                    <a:cubicBezTo>
                      <a:pt x="14" y="0"/>
                      <a:pt x="0" y="13"/>
                      <a:pt x="0" y="30"/>
                    </a:cubicBezTo>
                    <a:cubicBezTo>
                      <a:pt x="0" y="46"/>
                      <a:pt x="14" y="60"/>
                      <a:pt x="30" y="60"/>
                    </a:cubicBezTo>
                    <a:close/>
                    <a:moveTo>
                      <a:pt x="30" y="12"/>
                    </a:moveTo>
                    <a:cubicBezTo>
                      <a:pt x="40" y="12"/>
                      <a:pt x="48" y="20"/>
                      <a:pt x="48" y="30"/>
                    </a:cubicBezTo>
                    <a:cubicBezTo>
                      <a:pt x="48" y="40"/>
                      <a:pt x="40" y="48"/>
                      <a:pt x="30" y="48"/>
                    </a:cubicBezTo>
                    <a:cubicBezTo>
                      <a:pt x="20" y="48"/>
                      <a:pt x="12" y="40"/>
                      <a:pt x="12" y="30"/>
                    </a:cubicBezTo>
                    <a:cubicBezTo>
                      <a:pt x="12" y="20"/>
                      <a:pt x="2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201" name="Freeform 70">
                <a:extLst>
                  <a:ext uri="{FF2B5EF4-FFF2-40B4-BE49-F238E27FC236}">
                    <a16:creationId xmlns:a16="http://schemas.microsoft.com/office/drawing/2014/main" id="{27F9C951-34E7-499C-AA07-D3BADD54715A}"/>
                  </a:ext>
                </a:extLst>
              </p:cNvPr>
              <p:cNvSpPr>
                <a:spLocks noEditPoints="1"/>
              </p:cNvSpPr>
              <p:nvPr/>
            </p:nvSpPr>
            <p:spPr bwMode="auto">
              <a:xfrm>
                <a:off x="1359" y="2012"/>
                <a:ext cx="117" cy="117"/>
              </a:xfrm>
              <a:custGeom>
                <a:avLst/>
                <a:gdLst>
                  <a:gd name="T0" fmla="*/ 68 w 79"/>
                  <a:gd name="T1" fmla="*/ 2 h 79"/>
                  <a:gd name="T2" fmla="*/ 47 w 79"/>
                  <a:gd name="T3" fmla="*/ 24 h 79"/>
                  <a:gd name="T4" fmla="*/ 30 w 79"/>
                  <a:gd name="T5" fmla="*/ 19 h 79"/>
                  <a:gd name="T6" fmla="*/ 0 w 79"/>
                  <a:gd name="T7" fmla="*/ 49 h 79"/>
                  <a:gd name="T8" fmla="*/ 30 w 79"/>
                  <a:gd name="T9" fmla="*/ 79 h 79"/>
                  <a:gd name="T10" fmla="*/ 60 w 79"/>
                  <a:gd name="T11" fmla="*/ 49 h 79"/>
                  <a:gd name="T12" fmla="*/ 55 w 79"/>
                  <a:gd name="T13" fmla="*/ 33 h 79"/>
                  <a:gd name="T14" fmla="*/ 77 w 79"/>
                  <a:gd name="T15" fmla="*/ 11 h 79"/>
                  <a:gd name="T16" fmla="*/ 77 w 79"/>
                  <a:gd name="T17" fmla="*/ 2 h 79"/>
                  <a:gd name="T18" fmla="*/ 68 w 79"/>
                  <a:gd name="T19" fmla="*/ 2 h 79"/>
                  <a:gd name="T20" fmla="*/ 30 w 79"/>
                  <a:gd name="T21" fmla="*/ 67 h 79"/>
                  <a:gd name="T22" fmla="*/ 12 w 79"/>
                  <a:gd name="T23" fmla="*/ 49 h 79"/>
                  <a:gd name="T24" fmla="*/ 30 w 79"/>
                  <a:gd name="T25" fmla="*/ 31 h 79"/>
                  <a:gd name="T26" fmla="*/ 48 w 79"/>
                  <a:gd name="T27" fmla="*/ 49 h 79"/>
                  <a:gd name="T28" fmla="*/ 30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68" y="2"/>
                    </a:moveTo>
                    <a:cubicBezTo>
                      <a:pt x="47" y="24"/>
                      <a:pt x="47" y="24"/>
                      <a:pt x="47" y="24"/>
                    </a:cubicBezTo>
                    <a:cubicBezTo>
                      <a:pt x="42" y="21"/>
                      <a:pt x="36" y="19"/>
                      <a:pt x="30" y="19"/>
                    </a:cubicBezTo>
                    <a:cubicBezTo>
                      <a:pt x="14" y="19"/>
                      <a:pt x="0" y="32"/>
                      <a:pt x="0" y="49"/>
                    </a:cubicBezTo>
                    <a:cubicBezTo>
                      <a:pt x="0" y="65"/>
                      <a:pt x="14" y="79"/>
                      <a:pt x="30" y="79"/>
                    </a:cubicBezTo>
                    <a:cubicBezTo>
                      <a:pt x="47" y="79"/>
                      <a:pt x="60" y="65"/>
                      <a:pt x="60" y="49"/>
                    </a:cubicBezTo>
                    <a:cubicBezTo>
                      <a:pt x="60" y="43"/>
                      <a:pt x="58" y="37"/>
                      <a:pt x="55" y="33"/>
                    </a:cubicBezTo>
                    <a:cubicBezTo>
                      <a:pt x="77" y="11"/>
                      <a:pt x="77" y="11"/>
                      <a:pt x="77" y="11"/>
                    </a:cubicBezTo>
                    <a:cubicBezTo>
                      <a:pt x="79" y="9"/>
                      <a:pt x="79" y="5"/>
                      <a:pt x="77" y="2"/>
                    </a:cubicBezTo>
                    <a:cubicBezTo>
                      <a:pt x="74" y="0"/>
                      <a:pt x="71" y="0"/>
                      <a:pt x="68" y="2"/>
                    </a:cubicBezTo>
                    <a:close/>
                    <a:moveTo>
                      <a:pt x="30" y="67"/>
                    </a:moveTo>
                    <a:cubicBezTo>
                      <a:pt x="20" y="67"/>
                      <a:pt x="12" y="59"/>
                      <a:pt x="12" y="49"/>
                    </a:cubicBezTo>
                    <a:cubicBezTo>
                      <a:pt x="12" y="39"/>
                      <a:pt x="20" y="31"/>
                      <a:pt x="30" y="31"/>
                    </a:cubicBezTo>
                    <a:cubicBezTo>
                      <a:pt x="40" y="31"/>
                      <a:pt x="48" y="39"/>
                      <a:pt x="48" y="49"/>
                    </a:cubicBezTo>
                    <a:cubicBezTo>
                      <a:pt x="48" y="59"/>
                      <a:pt x="40" y="67"/>
                      <a:pt x="3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202" name="Freeform 71">
                <a:extLst>
                  <a:ext uri="{FF2B5EF4-FFF2-40B4-BE49-F238E27FC236}">
                    <a16:creationId xmlns:a16="http://schemas.microsoft.com/office/drawing/2014/main" id="{67ACA1EC-735D-4DB3-9CD3-9608AF2C6D89}"/>
                  </a:ext>
                </a:extLst>
              </p:cNvPr>
              <p:cNvSpPr>
                <a:spLocks noEditPoints="1"/>
              </p:cNvSpPr>
              <p:nvPr/>
            </p:nvSpPr>
            <p:spPr bwMode="auto">
              <a:xfrm>
                <a:off x="1654" y="1898"/>
                <a:ext cx="130" cy="89"/>
              </a:xfrm>
              <a:custGeom>
                <a:avLst/>
                <a:gdLst>
                  <a:gd name="T0" fmla="*/ 58 w 88"/>
                  <a:gd name="T1" fmla="*/ 60 h 60"/>
                  <a:gd name="T2" fmla="*/ 88 w 88"/>
                  <a:gd name="T3" fmla="*/ 30 h 60"/>
                  <a:gd name="T4" fmla="*/ 58 w 88"/>
                  <a:gd name="T5" fmla="*/ 0 h 60"/>
                  <a:gd name="T6" fmla="*/ 28 w 88"/>
                  <a:gd name="T7" fmla="*/ 24 h 60"/>
                  <a:gd name="T8" fmla="*/ 6 w 88"/>
                  <a:gd name="T9" fmla="*/ 24 h 60"/>
                  <a:gd name="T10" fmla="*/ 0 w 88"/>
                  <a:gd name="T11" fmla="*/ 30 h 60"/>
                  <a:gd name="T12" fmla="*/ 6 w 88"/>
                  <a:gd name="T13" fmla="*/ 36 h 60"/>
                  <a:gd name="T14" fmla="*/ 28 w 88"/>
                  <a:gd name="T15" fmla="*/ 36 h 60"/>
                  <a:gd name="T16" fmla="*/ 58 w 88"/>
                  <a:gd name="T17" fmla="*/ 60 h 60"/>
                  <a:gd name="T18" fmla="*/ 58 w 88"/>
                  <a:gd name="T19" fmla="*/ 12 h 60"/>
                  <a:gd name="T20" fmla="*/ 76 w 88"/>
                  <a:gd name="T21" fmla="*/ 30 h 60"/>
                  <a:gd name="T22" fmla="*/ 58 w 88"/>
                  <a:gd name="T23" fmla="*/ 48 h 60"/>
                  <a:gd name="T24" fmla="*/ 40 w 88"/>
                  <a:gd name="T25" fmla="*/ 30 h 60"/>
                  <a:gd name="T26" fmla="*/ 40 w 88"/>
                  <a:gd name="T27" fmla="*/ 30 h 60"/>
                  <a:gd name="T28" fmla="*/ 40 w 88"/>
                  <a:gd name="T29" fmla="*/ 30 h 60"/>
                  <a:gd name="T30" fmla="*/ 58 w 88"/>
                  <a:gd name="T31"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60">
                    <a:moveTo>
                      <a:pt x="58" y="60"/>
                    </a:moveTo>
                    <a:cubicBezTo>
                      <a:pt x="74" y="60"/>
                      <a:pt x="88" y="46"/>
                      <a:pt x="88" y="30"/>
                    </a:cubicBezTo>
                    <a:cubicBezTo>
                      <a:pt x="88" y="13"/>
                      <a:pt x="74" y="0"/>
                      <a:pt x="58" y="0"/>
                    </a:cubicBezTo>
                    <a:cubicBezTo>
                      <a:pt x="43" y="0"/>
                      <a:pt x="31" y="10"/>
                      <a:pt x="28" y="24"/>
                    </a:cubicBezTo>
                    <a:cubicBezTo>
                      <a:pt x="6" y="24"/>
                      <a:pt x="6" y="24"/>
                      <a:pt x="6" y="24"/>
                    </a:cubicBezTo>
                    <a:cubicBezTo>
                      <a:pt x="2" y="24"/>
                      <a:pt x="0" y="26"/>
                      <a:pt x="0" y="30"/>
                    </a:cubicBezTo>
                    <a:cubicBezTo>
                      <a:pt x="0" y="33"/>
                      <a:pt x="2" y="36"/>
                      <a:pt x="6" y="36"/>
                    </a:cubicBezTo>
                    <a:cubicBezTo>
                      <a:pt x="28" y="36"/>
                      <a:pt x="28" y="36"/>
                      <a:pt x="28" y="36"/>
                    </a:cubicBezTo>
                    <a:cubicBezTo>
                      <a:pt x="31" y="49"/>
                      <a:pt x="43" y="60"/>
                      <a:pt x="58" y="60"/>
                    </a:cubicBezTo>
                    <a:close/>
                    <a:moveTo>
                      <a:pt x="58" y="12"/>
                    </a:moveTo>
                    <a:cubicBezTo>
                      <a:pt x="68" y="12"/>
                      <a:pt x="76" y="20"/>
                      <a:pt x="76" y="30"/>
                    </a:cubicBezTo>
                    <a:cubicBezTo>
                      <a:pt x="76" y="40"/>
                      <a:pt x="68" y="48"/>
                      <a:pt x="58" y="48"/>
                    </a:cubicBezTo>
                    <a:cubicBezTo>
                      <a:pt x="48" y="48"/>
                      <a:pt x="40" y="40"/>
                      <a:pt x="40" y="30"/>
                    </a:cubicBezTo>
                    <a:cubicBezTo>
                      <a:pt x="40" y="30"/>
                      <a:pt x="40" y="30"/>
                      <a:pt x="40" y="30"/>
                    </a:cubicBezTo>
                    <a:cubicBezTo>
                      <a:pt x="40" y="30"/>
                      <a:pt x="40" y="30"/>
                      <a:pt x="40" y="30"/>
                    </a:cubicBezTo>
                    <a:cubicBezTo>
                      <a:pt x="40" y="20"/>
                      <a:pt x="48" y="12"/>
                      <a:pt x="5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sp>
            <p:nvSpPr>
              <p:cNvPr id="203" name="Freeform 72">
                <a:extLst>
                  <a:ext uri="{FF2B5EF4-FFF2-40B4-BE49-F238E27FC236}">
                    <a16:creationId xmlns:a16="http://schemas.microsoft.com/office/drawing/2014/main" id="{A0B7B5AE-2C94-430E-8D10-95CB4ABB6F03}"/>
                  </a:ext>
                </a:extLst>
              </p:cNvPr>
              <p:cNvSpPr>
                <a:spLocks noEditPoints="1"/>
              </p:cNvSpPr>
              <p:nvPr/>
            </p:nvSpPr>
            <p:spPr bwMode="auto">
              <a:xfrm>
                <a:off x="1359" y="1898"/>
                <a:ext cx="131" cy="89"/>
              </a:xfrm>
              <a:custGeom>
                <a:avLst/>
                <a:gdLst>
                  <a:gd name="T0" fmla="*/ 30 w 89"/>
                  <a:gd name="T1" fmla="*/ 60 h 60"/>
                  <a:gd name="T2" fmla="*/ 60 w 89"/>
                  <a:gd name="T3" fmla="*/ 36 h 60"/>
                  <a:gd name="T4" fmla="*/ 83 w 89"/>
                  <a:gd name="T5" fmla="*/ 36 h 60"/>
                  <a:gd name="T6" fmla="*/ 89 w 89"/>
                  <a:gd name="T7" fmla="*/ 30 h 60"/>
                  <a:gd name="T8" fmla="*/ 83 w 89"/>
                  <a:gd name="T9" fmla="*/ 24 h 60"/>
                  <a:gd name="T10" fmla="*/ 60 w 89"/>
                  <a:gd name="T11" fmla="*/ 24 h 60"/>
                  <a:gd name="T12" fmla="*/ 30 w 89"/>
                  <a:gd name="T13" fmla="*/ 0 h 60"/>
                  <a:gd name="T14" fmla="*/ 0 w 89"/>
                  <a:gd name="T15" fmla="*/ 30 h 60"/>
                  <a:gd name="T16" fmla="*/ 30 w 89"/>
                  <a:gd name="T17" fmla="*/ 60 h 60"/>
                  <a:gd name="T18" fmla="*/ 30 w 89"/>
                  <a:gd name="T19" fmla="*/ 12 h 60"/>
                  <a:gd name="T20" fmla="*/ 48 w 89"/>
                  <a:gd name="T21" fmla="*/ 30 h 60"/>
                  <a:gd name="T22" fmla="*/ 30 w 89"/>
                  <a:gd name="T23" fmla="*/ 48 h 60"/>
                  <a:gd name="T24" fmla="*/ 12 w 89"/>
                  <a:gd name="T25" fmla="*/ 30 h 60"/>
                  <a:gd name="T26" fmla="*/ 30 w 89"/>
                  <a:gd name="T27"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60">
                    <a:moveTo>
                      <a:pt x="30" y="60"/>
                    </a:moveTo>
                    <a:cubicBezTo>
                      <a:pt x="45" y="60"/>
                      <a:pt x="57" y="49"/>
                      <a:pt x="60" y="36"/>
                    </a:cubicBezTo>
                    <a:cubicBezTo>
                      <a:pt x="83" y="36"/>
                      <a:pt x="83" y="36"/>
                      <a:pt x="83" y="36"/>
                    </a:cubicBezTo>
                    <a:cubicBezTo>
                      <a:pt x="86" y="36"/>
                      <a:pt x="89" y="33"/>
                      <a:pt x="89" y="30"/>
                    </a:cubicBezTo>
                    <a:cubicBezTo>
                      <a:pt x="89" y="26"/>
                      <a:pt x="86" y="24"/>
                      <a:pt x="83" y="24"/>
                    </a:cubicBezTo>
                    <a:cubicBezTo>
                      <a:pt x="60" y="24"/>
                      <a:pt x="60" y="24"/>
                      <a:pt x="60" y="24"/>
                    </a:cubicBezTo>
                    <a:cubicBezTo>
                      <a:pt x="57" y="10"/>
                      <a:pt x="45" y="0"/>
                      <a:pt x="30" y="0"/>
                    </a:cubicBezTo>
                    <a:cubicBezTo>
                      <a:pt x="14" y="0"/>
                      <a:pt x="0" y="13"/>
                      <a:pt x="0" y="30"/>
                    </a:cubicBezTo>
                    <a:cubicBezTo>
                      <a:pt x="0" y="46"/>
                      <a:pt x="14" y="60"/>
                      <a:pt x="30" y="60"/>
                    </a:cubicBezTo>
                    <a:close/>
                    <a:moveTo>
                      <a:pt x="30" y="12"/>
                    </a:moveTo>
                    <a:cubicBezTo>
                      <a:pt x="40" y="12"/>
                      <a:pt x="48" y="20"/>
                      <a:pt x="48" y="30"/>
                    </a:cubicBezTo>
                    <a:cubicBezTo>
                      <a:pt x="48" y="40"/>
                      <a:pt x="40" y="48"/>
                      <a:pt x="30" y="48"/>
                    </a:cubicBezTo>
                    <a:cubicBezTo>
                      <a:pt x="20" y="48"/>
                      <a:pt x="12" y="40"/>
                      <a:pt x="12" y="30"/>
                    </a:cubicBezTo>
                    <a:cubicBezTo>
                      <a:pt x="12" y="20"/>
                      <a:pt x="2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black"/>
                  </a:solidFill>
                  <a:effectLst/>
                  <a:uLnTx/>
                  <a:uFillTx/>
                  <a:latin typeface="+mj-lt"/>
                </a:endParaRPr>
              </a:p>
            </p:txBody>
          </p:sp>
        </p:grpSp>
      </p:grpSp>
    </p:spTree>
    <p:extLst>
      <p:ext uri="{BB962C8B-B14F-4D97-AF65-F5344CB8AC3E}">
        <p14:creationId xmlns:p14="http://schemas.microsoft.com/office/powerpoint/2010/main" val="280447316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Pressure</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C4D0054B-03A7-4BDB-9A0B-80E0291FDCF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3" name="Group 3">
            <a:extLst>
              <a:ext uri="{FF2B5EF4-FFF2-40B4-BE49-F238E27FC236}">
                <a16:creationId xmlns:a16="http://schemas.microsoft.com/office/drawing/2014/main" id="{2D6ED59F-2ECF-445C-B2D7-5C1FBF51C767}"/>
              </a:ext>
            </a:extLst>
          </p:cNvPr>
          <p:cNvGrpSpPr>
            <a:grpSpLocks/>
          </p:cNvGrpSpPr>
          <p:nvPr/>
        </p:nvGrpSpPr>
        <p:grpSpPr bwMode="auto">
          <a:xfrm>
            <a:off x="3751555" y="1366837"/>
            <a:ext cx="4698946" cy="4721225"/>
            <a:chOff x="2096" y="1411"/>
            <a:chExt cx="2050" cy="1901"/>
          </a:xfrm>
        </p:grpSpPr>
        <p:sp>
          <p:nvSpPr>
            <p:cNvPr id="14" name="Oval 4">
              <a:extLst>
                <a:ext uri="{FF2B5EF4-FFF2-40B4-BE49-F238E27FC236}">
                  <a16:creationId xmlns:a16="http://schemas.microsoft.com/office/drawing/2014/main" id="{71748AC7-34FE-4BC7-BD36-0F380271DC81}"/>
                </a:ext>
              </a:extLst>
            </p:cNvPr>
            <p:cNvSpPr>
              <a:spLocks noChangeArrowheads="1"/>
            </p:cNvSpPr>
            <p:nvPr/>
          </p:nvSpPr>
          <p:spPr bwMode="auto">
            <a:xfrm>
              <a:off x="2534" y="1817"/>
              <a:ext cx="1175" cy="1090"/>
            </a:xfrm>
            <a:prstGeom prst="ellipse">
              <a:avLst/>
            </a:prstGeom>
            <a:solidFill>
              <a:schemeClr val="accent2"/>
            </a:solidFill>
            <a:ln w="6350">
              <a:solidFill>
                <a:schemeClr val="folHlink"/>
              </a:solidFill>
              <a:round/>
              <a:headEnd/>
              <a:tailEnd/>
            </a:ln>
            <a:effectLst/>
          </p:spPr>
          <p:txBody>
            <a:bodyPr wrap="none" lIns="45720" rIns="45720" anchor="ctr" anchorCtr="1"/>
            <a:lstStyle/>
            <a:p>
              <a:pPr algn="ctr">
                <a:lnSpc>
                  <a:spcPct val="85000"/>
                </a:lnSpc>
                <a:spcBef>
                  <a:spcPct val="0"/>
                </a:spcBef>
              </a:pPr>
              <a:r>
                <a:rPr lang="en-US" b="1" cap="all" dirty="0">
                  <a:solidFill>
                    <a:schemeClr val="bg1"/>
                  </a:solidFill>
                  <a:latin typeface="+mj-lt"/>
                </a:rPr>
                <a:t>Text</a:t>
              </a:r>
            </a:p>
          </p:txBody>
        </p:sp>
        <p:grpSp>
          <p:nvGrpSpPr>
            <p:cNvPr id="15" name="Group 5">
              <a:extLst>
                <a:ext uri="{FF2B5EF4-FFF2-40B4-BE49-F238E27FC236}">
                  <a16:creationId xmlns:a16="http://schemas.microsoft.com/office/drawing/2014/main" id="{A7FF7A64-7E6A-4AE6-9415-C57740CE0207}"/>
                </a:ext>
              </a:extLst>
            </p:cNvPr>
            <p:cNvGrpSpPr>
              <a:grpSpLocks/>
            </p:cNvGrpSpPr>
            <p:nvPr/>
          </p:nvGrpSpPr>
          <p:grpSpPr bwMode="auto">
            <a:xfrm>
              <a:off x="2096" y="1411"/>
              <a:ext cx="2050" cy="1901"/>
              <a:chOff x="2928" y="1631"/>
              <a:chExt cx="2429" cy="2429"/>
            </a:xfrm>
          </p:grpSpPr>
          <p:sp>
            <p:nvSpPr>
              <p:cNvPr id="16" name="AutoShape 6">
                <a:extLst>
                  <a:ext uri="{FF2B5EF4-FFF2-40B4-BE49-F238E27FC236}">
                    <a16:creationId xmlns:a16="http://schemas.microsoft.com/office/drawing/2014/main" id="{20E14922-58CE-4B90-985F-6A7B6B023D6B}"/>
                  </a:ext>
                </a:extLst>
              </p:cNvPr>
              <p:cNvSpPr>
                <a:spLocks noChangeArrowheads="1"/>
              </p:cNvSpPr>
              <p:nvPr/>
            </p:nvSpPr>
            <p:spPr bwMode="auto">
              <a:xfrm>
                <a:off x="2928" y="1631"/>
                <a:ext cx="2429" cy="2429"/>
              </a:xfrm>
              <a:custGeom>
                <a:avLst/>
                <a:gdLst>
                  <a:gd name="G0" fmla="+- 4704 0 0"/>
                  <a:gd name="G1" fmla="+- 21600 0 4704"/>
                  <a:gd name="G2" fmla="+- 21600 0 4704"/>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4704" y="10800"/>
                    </a:moveTo>
                    <a:cubicBezTo>
                      <a:pt x="4704" y="14167"/>
                      <a:pt x="7433" y="16896"/>
                      <a:pt x="10800" y="16896"/>
                    </a:cubicBezTo>
                    <a:cubicBezTo>
                      <a:pt x="14167" y="16896"/>
                      <a:pt x="16896" y="14167"/>
                      <a:pt x="16896" y="10800"/>
                    </a:cubicBezTo>
                    <a:cubicBezTo>
                      <a:pt x="16896" y="7433"/>
                      <a:pt x="14167" y="4704"/>
                      <a:pt x="10800" y="4704"/>
                    </a:cubicBezTo>
                    <a:cubicBezTo>
                      <a:pt x="7433" y="4704"/>
                      <a:pt x="4704" y="7433"/>
                      <a:pt x="4704" y="10800"/>
                    </a:cubicBezTo>
                    <a:close/>
                  </a:path>
                </a:pathLst>
              </a:custGeom>
              <a:pattFill prst="dkUpDiag">
                <a:fgClr>
                  <a:schemeClr val="tx2">
                    <a:lumMod val="40000"/>
                    <a:lumOff val="60000"/>
                  </a:schemeClr>
                </a:fgClr>
                <a:bgClr>
                  <a:schemeClr val="bg1"/>
                </a:bgClr>
              </a:pattFill>
              <a:ln w="6350">
                <a:noFill/>
                <a:round/>
                <a:headEnd/>
                <a:tailEnd/>
              </a:ln>
              <a:effectLst/>
            </p:spPr>
            <p:txBody>
              <a:bodyPr wrap="none" lIns="45720" rIns="45720"/>
              <a:lstStyle/>
              <a:p>
                <a:endParaRPr lang="de-DE"/>
              </a:p>
            </p:txBody>
          </p:sp>
          <p:sp>
            <p:nvSpPr>
              <p:cNvPr id="17" name="Freeform 7">
                <a:extLst>
                  <a:ext uri="{FF2B5EF4-FFF2-40B4-BE49-F238E27FC236}">
                    <a16:creationId xmlns:a16="http://schemas.microsoft.com/office/drawing/2014/main" id="{49CEA2AC-A399-45A8-BE0F-996D971D2C41}"/>
                  </a:ext>
                </a:extLst>
              </p:cNvPr>
              <p:cNvSpPr>
                <a:spLocks/>
              </p:cNvSpPr>
              <p:nvPr/>
            </p:nvSpPr>
            <p:spPr bwMode="auto">
              <a:xfrm>
                <a:off x="3451" y="2656"/>
                <a:ext cx="243" cy="380"/>
              </a:xfrm>
              <a:custGeom>
                <a:avLst/>
                <a:gdLst/>
                <a:ahLst/>
                <a:cxnLst>
                  <a:cxn ang="0">
                    <a:pos x="0" y="272"/>
                  </a:cxn>
                  <a:cxn ang="0">
                    <a:pos x="96" y="272"/>
                  </a:cxn>
                  <a:cxn ang="0">
                    <a:pos x="96" y="368"/>
                  </a:cxn>
                  <a:cxn ang="0">
                    <a:pos x="216" y="184"/>
                  </a:cxn>
                  <a:cxn ang="0">
                    <a:pos x="96" y="0"/>
                  </a:cxn>
                  <a:cxn ang="0">
                    <a:pos x="96" y="96"/>
                  </a:cxn>
                  <a:cxn ang="0">
                    <a:pos x="0" y="96"/>
                  </a:cxn>
                </a:cxnLst>
                <a:rect l="0" t="0" r="r" b="b"/>
                <a:pathLst>
                  <a:path w="217" h="369">
                    <a:moveTo>
                      <a:pt x="0" y="272"/>
                    </a:moveTo>
                    <a:lnTo>
                      <a:pt x="96" y="272"/>
                    </a:lnTo>
                    <a:lnTo>
                      <a:pt x="96" y="368"/>
                    </a:lnTo>
                    <a:lnTo>
                      <a:pt x="216" y="184"/>
                    </a:lnTo>
                    <a:lnTo>
                      <a:pt x="96" y="0"/>
                    </a:lnTo>
                    <a:lnTo>
                      <a:pt x="96" y="96"/>
                    </a:lnTo>
                    <a:lnTo>
                      <a:pt x="0" y="96"/>
                    </a:lnTo>
                  </a:path>
                </a:pathLst>
              </a:custGeom>
              <a:pattFill prst="dkUpDiag">
                <a:fgClr>
                  <a:schemeClr val="tx2">
                    <a:lumMod val="40000"/>
                    <a:lumOff val="60000"/>
                  </a:schemeClr>
                </a:fgClr>
                <a:bgClr>
                  <a:schemeClr val="bg1"/>
                </a:bgClr>
              </a:pattFill>
              <a:ln w="6350" cap="rnd" cmpd="sng">
                <a:noFill/>
                <a:prstDash val="solid"/>
                <a:round/>
                <a:headEnd type="none" w="med" len="med"/>
                <a:tailEnd type="none" w="med" len="med"/>
              </a:ln>
              <a:effectLst/>
            </p:spPr>
            <p:txBody>
              <a:bodyPr lIns="45720" rIns="45720"/>
              <a:lstStyle/>
              <a:p>
                <a:endParaRPr lang="de-DE"/>
              </a:p>
            </p:txBody>
          </p:sp>
          <p:sp>
            <p:nvSpPr>
              <p:cNvPr id="18" name="Freeform 8">
                <a:extLst>
                  <a:ext uri="{FF2B5EF4-FFF2-40B4-BE49-F238E27FC236}">
                    <a16:creationId xmlns:a16="http://schemas.microsoft.com/office/drawing/2014/main" id="{65D163F0-CCB4-41A5-ADA3-010109A3B62A}"/>
                  </a:ext>
                </a:extLst>
              </p:cNvPr>
              <p:cNvSpPr>
                <a:spLocks/>
              </p:cNvSpPr>
              <p:nvPr/>
            </p:nvSpPr>
            <p:spPr bwMode="auto">
              <a:xfrm>
                <a:off x="4590" y="2655"/>
                <a:ext cx="253" cy="381"/>
              </a:xfrm>
              <a:custGeom>
                <a:avLst/>
                <a:gdLst/>
                <a:ahLst/>
                <a:cxnLst>
                  <a:cxn ang="0">
                    <a:pos x="225" y="96"/>
                  </a:cxn>
                  <a:cxn ang="0">
                    <a:pos x="125" y="96"/>
                  </a:cxn>
                  <a:cxn ang="0">
                    <a:pos x="125" y="0"/>
                  </a:cxn>
                  <a:cxn ang="0">
                    <a:pos x="0" y="184"/>
                  </a:cxn>
                  <a:cxn ang="0">
                    <a:pos x="125" y="368"/>
                  </a:cxn>
                  <a:cxn ang="0">
                    <a:pos x="125" y="264"/>
                  </a:cxn>
                  <a:cxn ang="0">
                    <a:pos x="225" y="264"/>
                  </a:cxn>
                </a:cxnLst>
                <a:rect l="0" t="0" r="r" b="b"/>
                <a:pathLst>
                  <a:path w="226" h="369">
                    <a:moveTo>
                      <a:pt x="225" y="96"/>
                    </a:moveTo>
                    <a:lnTo>
                      <a:pt x="125" y="96"/>
                    </a:lnTo>
                    <a:lnTo>
                      <a:pt x="125" y="0"/>
                    </a:lnTo>
                    <a:lnTo>
                      <a:pt x="0" y="184"/>
                    </a:lnTo>
                    <a:lnTo>
                      <a:pt x="125" y="368"/>
                    </a:lnTo>
                    <a:lnTo>
                      <a:pt x="125" y="264"/>
                    </a:lnTo>
                    <a:lnTo>
                      <a:pt x="225" y="264"/>
                    </a:lnTo>
                  </a:path>
                </a:pathLst>
              </a:custGeom>
              <a:pattFill prst="dkUpDiag">
                <a:fgClr>
                  <a:schemeClr val="tx2">
                    <a:lumMod val="40000"/>
                    <a:lumOff val="60000"/>
                  </a:schemeClr>
                </a:fgClr>
                <a:bgClr>
                  <a:schemeClr val="bg1"/>
                </a:bgClr>
              </a:pattFill>
              <a:ln w="6350" cap="rnd" cmpd="sng">
                <a:noFill/>
                <a:prstDash val="solid"/>
                <a:round/>
                <a:headEnd type="none" w="med" len="med"/>
                <a:tailEnd type="none" w="med" len="med"/>
              </a:ln>
              <a:effectLst/>
            </p:spPr>
            <p:txBody>
              <a:bodyPr lIns="45720" rIns="45720"/>
              <a:lstStyle/>
              <a:p>
                <a:endParaRPr lang="de-DE"/>
              </a:p>
            </p:txBody>
          </p:sp>
          <p:sp>
            <p:nvSpPr>
              <p:cNvPr id="19" name="Freeform 9">
                <a:extLst>
                  <a:ext uri="{FF2B5EF4-FFF2-40B4-BE49-F238E27FC236}">
                    <a16:creationId xmlns:a16="http://schemas.microsoft.com/office/drawing/2014/main" id="{0B4FCF45-1297-4B83-821C-491567699C25}"/>
                  </a:ext>
                </a:extLst>
              </p:cNvPr>
              <p:cNvSpPr>
                <a:spLocks/>
              </p:cNvSpPr>
              <p:nvPr/>
            </p:nvSpPr>
            <p:spPr bwMode="auto">
              <a:xfrm>
                <a:off x="3936" y="3305"/>
                <a:ext cx="412" cy="237"/>
              </a:xfrm>
              <a:custGeom>
                <a:avLst/>
                <a:gdLst/>
                <a:ahLst/>
                <a:cxnLst>
                  <a:cxn ang="0">
                    <a:pos x="272" y="229"/>
                  </a:cxn>
                  <a:cxn ang="0">
                    <a:pos x="272" y="229"/>
                  </a:cxn>
                  <a:cxn ang="0">
                    <a:pos x="272" y="123"/>
                  </a:cxn>
                  <a:cxn ang="0">
                    <a:pos x="368" y="123"/>
                  </a:cxn>
                  <a:cxn ang="0">
                    <a:pos x="184" y="0"/>
                  </a:cxn>
                  <a:cxn ang="0">
                    <a:pos x="0" y="123"/>
                  </a:cxn>
                  <a:cxn ang="0">
                    <a:pos x="104" y="123"/>
                  </a:cxn>
                  <a:cxn ang="0">
                    <a:pos x="104" y="229"/>
                  </a:cxn>
                </a:cxnLst>
                <a:rect l="0" t="0" r="r" b="b"/>
                <a:pathLst>
                  <a:path w="369" h="230">
                    <a:moveTo>
                      <a:pt x="272" y="229"/>
                    </a:moveTo>
                    <a:lnTo>
                      <a:pt x="272" y="229"/>
                    </a:lnTo>
                    <a:lnTo>
                      <a:pt x="272" y="123"/>
                    </a:lnTo>
                    <a:lnTo>
                      <a:pt x="368" y="123"/>
                    </a:lnTo>
                    <a:lnTo>
                      <a:pt x="184" y="0"/>
                    </a:lnTo>
                    <a:lnTo>
                      <a:pt x="0" y="123"/>
                    </a:lnTo>
                    <a:lnTo>
                      <a:pt x="104" y="123"/>
                    </a:lnTo>
                    <a:lnTo>
                      <a:pt x="104" y="229"/>
                    </a:lnTo>
                  </a:path>
                </a:pathLst>
              </a:custGeom>
              <a:pattFill prst="dkUpDiag">
                <a:fgClr>
                  <a:schemeClr val="tx2">
                    <a:lumMod val="40000"/>
                    <a:lumOff val="60000"/>
                  </a:schemeClr>
                </a:fgClr>
                <a:bgClr>
                  <a:schemeClr val="bg1"/>
                </a:bgClr>
              </a:pattFill>
              <a:ln w="6350" cap="rnd" cmpd="sng">
                <a:noFill/>
                <a:prstDash val="solid"/>
                <a:round/>
                <a:headEnd type="none" w="med" len="med"/>
                <a:tailEnd type="none" w="med" len="med"/>
              </a:ln>
              <a:effectLst/>
            </p:spPr>
            <p:txBody>
              <a:bodyPr lIns="45720" rIns="45720"/>
              <a:lstStyle/>
              <a:p>
                <a:endParaRPr lang="de-DE"/>
              </a:p>
            </p:txBody>
          </p:sp>
          <p:sp>
            <p:nvSpPr>
              <p:cNvPr id="20" name="Freeform 10">
                <a:extLst>
                  <a:ext uri="{FF2B5EF4-FFF2-40B4-BE49-F238E27FC236}">
                    <a16:creationId xmlns:a16="http://schemas.microsoft.com/office/drawing/2014/main" id="{C3DADC01-667E-45FC-B343-D7A962EC141A}"/>
                  </a:ext>
                </a:extLst>
              </p:cNvPr>
              <p:cNvSpPr>
                <a:spLocks/>
              </p:cNvSpPr>
              <p:nvPr/>
            </p:nvSpPr>
            <p:spPr bwMode="auto">
              <a:xfrm>
                <a:off x="3936" y="2160"/>
                <a:ext cx="412" cy="234"/>
              </a:xfrm>
              <a:custGeom>
                <a:avLst/>
                <a:gdLst/>
                <a:ahLst/>
                <a:cxnLst>
                  <a:cxn ang="0">
                    <a:pos x="104" y="0"/>
                  </a:cxn>
                  <a:cxn ang="0">
                    <a:pos x="104" y="0"/>
                  </a:cxn>
                  <a:cxn ang="0">
                    <a:pos x="104" y="105"/>
                  </a:cxn>
                  <a:cxn ang="0">
                    <a:pos x="0" y="105"/>
                  </a:cxn>
                  <a:cxn ang="0">
                    <a:pos x="184" y="226"/>
                  </a:cxn>
                  <a:cxn ang="0">
                    <a:pos x="368" y="105"/>
                  </a:cxn>
                  <a:cxn ang="0">
                    <a:pos x="272" y="105"/>
                  </a:cxn>
                  <a:cxn ang="0">
                    <a:pos x="272" y="0"/>
                  </a:cxn>
                </a:cxnLst>
                <a:rect l="0" t="0" r="r" b="b"/>
                <a:pathLst>
                  <a:path w="369" h="227">
                    <a:moveTo>
                      <a:pt x="104" y="0"/>
                    </a:moveTo>
                    <a:lnTo>
                      <a:pt x="104" y="0"/>
                    </a:lnTo>
                    <a:lnTo>
                      <a:pt x="104" y="105"/>
                    </a:lnTo>
                    <a:lnTo>
                      <a:pt x="0" y="105"/>
                    </a:lnTo>
                    <a:lnTo>
                      <a:pt x="184" y="226"/>
                    </a:lnTo>
                    <a:lnTo>
                      <a:pt x="368" y="105"/>
                    </a:lnTo>
                    <a:lnTo>
                      <a:pt x="272" y="105"/>
                    </a:lnTo>
                    <a:lnTo>
                      <a:pt x="272" y="0"/>
                    </a:lnTo>
                  </a:path>
                </a:pathLst>
              </a:custGeom>
              <a:pattFill prst="dkUpDiag">
                <a:fgClr>
                  <a:schemeClr val="tx2">
                    <a:lumMod val="40000"/>
                    <a:lumOff val="60000"/>
                  </a:schemeClr>
                </a:fgClr>
                <a:bgClr>
                  <a:schemeClr val="bg1"/>
                </a:bgClr>
              </a:pattFill>
              <a:ln w="6350" cap="rnd" cmpd="sng">
                <a:noFill/>
                <a:prstDash val="solid"/>
                <a:round/>
                <a:headEnd type="none" w="med" len="med"/>
                <a:tailEnd type="none" w="med" len="med"/>
              </a:ln>
              <a:effectLst/>
            </p:spPr>
            <p:txBody>
              <a:bodyPr lIns="45720" rIns="45720"/>
              <a:lstStyle/>
              <a:p>
                <a:endParaRPr lang="de-DE"/>
              </a:p>
            </p:txBody>
          </p:sp>
        </p:grpSp>
      </p:grpSp>
    </p:spTree>
    <p:extLst>
      <p:ext uri="{BB962C8B-B14F-4D97-AF65-F5344CB8AC3E}">
        <p14:creationId xmlns:p14="http://schemas.microsoft.com/office/powerpoint/2010/main" val="343612403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A77A094F-7E8A-42B1-9622-7F69B4A6B24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Oval 9">
            <a:extLst>
              <a:ext uri="{FF2B5EF4-FFF2-40B4-BE49-F238E27FC236}">
                <a16:creationId xmlns:a16="http://schemas.microsoft.com/office/drawing/2014/main" id="{5CE744CE-B7C9-4980-9DC8-13033C2FABB6}"/>
              </a:ext>
            </a:extLst>
          </p:cNvPr>
          <p:cNvSpPr>
            <a:spLocks noChangeAspect="1" noChangeArrowheads="1"/>
          </p:cNvSpPr>
          <p:nvPr/>
        </p:nvSpPr>
        <p:spPr bwMode="auto">
          <a:xfrm>
            <a:off x="4348090" y="1799809"/>
            <a:ext cx="3564000" cy="3564000"/>
          </a:xfrm>
          <a:prstGeom prst="ellipse">
            <a:avLst/>
          </a:prstGeom>
          <a:solidFill>
            <a:schemeClr val="accent2"/>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cxnSp>
        <p:nvCxnSpPr>
          <p:cNvPr id="11" name="Straight Arrow Connector 10">
            <a:extLst>
              <a:ext uri="{FF2B5EF4-FFF2-40B4-BE49-F238E27FC236}">
                <a16:creationId xmlns:a16="http://schemas.microsoft.com/office/drawing/2014/main" id="{541A4D08-38CE-49F7-A6C5-D922425D8127}"/>
              </a:ext>
            </a:extLst>
          </p:cNvPr>
          <p:cNvCxnSpPr/>
          <p:nvPr/>
        </p:nvCxnSpPr>
        <p:spPr bwMode="auto">
          <a:xfrm>
            <a:off x="8085221" y="3567381"/>
            <a:ext cx="974558" cy="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70A22B4-E123-44BA-AD99-9ECA385F78CB}"/>
              </a:ext>
            </a:extLst>
          </p:cNvPr>
          <p:cNvCxnSpPr/>
          <p:nvPr/>
        </p:nvCxnSpPr>
        <p:spPr bwMode="auto">
          <a:xfrm flipH="1">
            <a:off x="3190507" y="3567381"/>
            <a:ext cx="984451" cy="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3" name="Rectangle 9">
            <a:extLst>
              <a:ext uri="{FF2B5EF4-FFF2-40B4-BE49-F238E27FC236}">
                <a16:creationId xmlns:a16="http://schemas.microsoft.com/office/drawing/2014/main" id="{3F0AA54C-AE81-4DB8-9A6B-9CDA196C77A8}"/>
              </a:ext>
            </a:extLst>
          </p:cNvPr>
          <p:cNvSpPr>
            <a:spLocks noChangeArrowheads="1"/>
          </p:cNvSpPr>
          <p:nvPr/>
        </p:nvSpPr>
        <p:spPr bwMode="auto">
          <a:xfrm>
            <a:off x="9177050" y="3408607"/>
            <a:ext cx="2570400" cy="317548"/>
          </a:xfrm>
          <a:prstGeom prst="rect">
            <a:avLst/>
          </a:prstGeom>
          <a:noFill/>
          <a:ln w="6350">
            <a:noFill/>
            <a:miter lim="800000"/>
            <a:headEnd/>
            <a:tailEnd/>
          </a:ln>
          <a:effectLst/>
        </p:spPr>
        <p:txBody>
          <a:bodyPr wrap="none" lIns="45720" rIns="45720" anchor="ctr" anchorCtr="0"/>
          <a:lstStyle/>
          <a:p>
            <a:pPr eaLnBrk="0" hangingPunct="0"/>
            <a:r>
              <a:rPr lang="en-US" b="1" dirty="0">
                <a:solidFill>
                  <a:schemeClr val="accent2"/>
                </a:solidFill>
                <a:latin typeface="+mj-lt"/>
              </a:rPr>
              <a:t>Text</a:t>
            </a:r>
          </a:p>
        </p:txBody>
      </p:sp>
      <p:sp>
        <p:nvSpPr>
          <p:cNvPr id="14" name="Rectangle 10">
            <a:extLst>
              <a:ext uri="{FF2B5EF4-FFF2-40B4-BE49-F238E27FC236}">
                <a16:creationId xmlns:a16="http://schemas.microsoft.com/office/drawing/2014/main" id="{3E3EF1E3-F019-41A4-8675-B27CB4C91D1D}"/>
              </a:ext>
            </a:extLst>
          </p:cNvPr>
          <p:cNvSpPr>
            <a:spLocks noChangeArrowheads="1"/>
          </p:cNvSpPr>
          <p:nvPr/>
        </p:nvSpPr>
        <p:spPr bwMode="auto">
          <a:xfrm>
            <a:off x="502836" y="3440098"/>
            <a:ext cx="2570400" cy="254567"/>
          </a:xfrm>
          <a:prstGeom prst="rect">
            <a:avLst/>
          </a:prstGeom>
          <a:noFill/>
          <a:ln w="6350">
            <a:noFill/>
            <a:miter lim="800000"/>
            <a:headEnd/>
            <a:tailEnd/>
          </a:ln>
          <a:effectLst/>
        </p:spPr>
        <p:txBody>
          <a:bodyPr wrap="none" lIns="45720" rIns="45720" anchor="ctr" anchorCtr="0"/>
          <a:lstStyle/>
          <a:p>
            <a:pPr algn="r" eaLnBrk="0" hangingPunct="0"/>
            <a:r>
              <a:rPr lang="en-US" b="1" dirty="0">
                <a:solidFill>
                  <a:schemeClr val="accent2"/>
                </a:solidFill>
                <a:latin typeface="+mj-lt"/>
              </a:rPr>
              <a:t>Text</a:t>
            </a:r>
          </a:p>
        </p:txBody>
      </p:sp>
    </p:spTree>
    <p:extLst>
      <p:ext uri="{BB962C8B-B14F-4D97-AF65-F5344CB8AC3E}">
        <p14:creationId xmlns:p14="http://schemas.microsoft.com/office/powerpoint/2010/main" val="68041712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3BCD4AB-0980-4A8E-9258-0C22BF85B11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4" name="Straight Arrow Connector 13">
            <a:extLst>
              <a:ext uri="{FF2B5EF4-FFF2-40B4-BE49-F238E27FC236}">
                <a16:creationId xmlns:a16="http://schemas.microsoft.com/office/drawing/2014/main" id="{F554A83A-3830-451D-A1D3-69737A26B57B}"/>
              </a:ext>
            </a:extLst>
          </p:cNvPr>
          <p:cNvCxnSpPr/>
          <p:nvPr/>
        </p:nvCxnSpPr>
        <p:spPr bwMode="auto">
          <a:xfrm>
            <a:off x="7934827" y="3555429"/>
            <a:ext cx="540000" cy="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7D0AC7B-8EFE-4A27-BF21-D9EBF869CD80}"/>
              </a:ext>
            </a:extLst>
          </p:cNvPr>
          <p:cNvCxnSpPr/>
          <p:nvPr/>
        </p:nvCxnSpPr>
        <p:spPr bwMode="auto">
          <a:xfrm flipV="1">
            <a:off x="6125143" y="1217956"/>
            <a:ext cx="0" cy="54000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42AFC66-12E6-4271-8E57-85B369CFF763}"/>
              </a:ext>
            </a:extLst>
          </p:cNvPr>
          <p:cNvCxnSpPr/>
          <p:nvPr/>
        </p:nvCxnSpPr>
        <p:spPr bwMode="auto">
          <a:xfrm flipH="1">
            <a:off x="3755178" y="3555429"/>
            <a:ext cx="540000" cy="1"/>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96291AB-D457-41D8-8839-057C91110FA3}"/>
              </a:ext>
            </a:extLst>
          </p:cNvPr>
          <p:cNvCxnSpPr/>
          <p:nvPr/>
        </p:nvCxnSpPr>
        <p:spPr bwMode="auto">
          <a:xfrm>
            <a:off x="6125143" y="5345918"/>
            <a:ext cx="0" cy="54000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8" name="Rectangle 7">
            <a:extLst>
              <a:ext uri="{FF2B5EF4-FFF2-40B4-BE49-F238E27FC236}">
                <a16:creationId xmlns:a16="http://schemas.microsoft.com/office/drawing/2014/main" id="{192EDFE0-F7DB-4421-912A-D8D1448F213E}"/>
              </a:ext>
            </a:extLst>
          </p:cNvPr>
          <p:cNvSpPr>
            <a:spLocks noChangeArrowheads="1"/>
          </p:cNvSpPr>
          <p:nvPr/>
        </p:nvSpPr>
        <p:spPr bwMode="auto">
          <a:xfrm>
            <a:off x="4839836" y="861342"/>
            <a:ext cx="2570614" cy="254567"/>
          </a:xfrm>
          <a:prstGeom prst="rect">
            <a:avLst/>
          </a:prstGeom>
          <a:noFill/>
          <a:ln w="6350">
            <a:noFill/>
            <a:miter lim="800000"/>
            <a:headEnd/>
            <a:tailEnd/>
          </a:ln>
          <a:effectLst/>
        </p:spPr>
        <p:txBody>
          <a:bodyPr wrap="none" lIns="45720" rIns="45720"/>
          <a:lstStyle/>
          <a:p>
            <a:pPr algn="ctr" eaLnBrk="0" hangingPunct="0"/>
            <a:r>
              <a:rPr lang="en-US" b="1" dirty="0">
                <a:solidFill>
                  <a:schemeClr val="accent2"/>
                </a:solidFill>
                <a:latin typeface="+mj-lt"/>
              </a:rPr>
              <a:t>Text</a:t>
            </a:r>
          </a:p>
        </p:txBody>
      </p:sp>
      <p:sp>
        <p:nvSpPr>
          <p:cNvPr id="19" name="Rectangle 8">
            <a:extLst>
              <a:ext uri="{FF2B5EF4-FFF2-40B4-BE49-F238E27FC236}">
                <a16:creationId xmlns:a16="http://schemas.microsoft.com/office/drawing/2014/main" id="{342DAF04-A6F6-4FA2-B1EA-8AA8904FEA37}"/>
              </a:ext>
            </a:extLst>
          </p:cNvPr>
          <p:cNvSpPr>
            <a:spLocks noChangeArrowheads="1"/>
          </p:cNvSpPr>
          <p:nvPr/>
        </p:nvSpPr>
        <p:spPr bwMode="auto">
          <a:xfrm>
            <a:off x="4839836" y="5885918"/>
            <a:ext cx="2570614" cy="339231"/>
          </a:xfrm>
          <a:prstGeom prst="rect">
            <a:avLst/>
          </a:prstGeom>
          <a:noFill/>
          <a:ln w="6350">
            <a:noFill/>
            <a:miter lim="800000"/>
            <a:headEnd/>
            <a:tailEnd/>
          </a:ln>
          <a:effectLst/>
        </p:spPr>
        <p:txBody>
          <a:bodyPr wrap="none" lIns="45720" rIns="45720"/>
          <a:lstStyle/>
          <a:p>
            <a:pPr algn="ctr" eaLnBrk="0" hangingPunct="0"/>
            <a:r>
              <a:rPr lang="en-US" b="1" dirty="0">
                <a:solidFill>
                  <a:schemeClr val="accent2"/>
                </a:solidFill>
                <a:latin typeface="+mj-lt"/>
              </a:rPr>
              <a:t>Text</a:t>
            </a:r>
          </a:p>
        </p:txBody>
      </p:sp>
      <p:sp>
        <p:nvSpPr>
          <p:cNvPr id="20" name="Rectangle 9">
            <a:extLst>
              <a:ext uri="{FF2B5EF4-FFF2-40B4-BE49-F238E27FC236}">
                <a16:creationId xmlns:a16="http://schemas.microsoft.com/office/drawing/2014/main" id="{E92E1320-3892-474D-AA0F-4B8E4B8B225F}"/>
              </a:ext>
            </a:extLst>
          </p:cNvPr>
          <p:cNvSpPr>
            <a:spLocks noChangeArrowheads="1"/>
          </p:cNvSpPr>
          <p:nvPr/>
        </p:nvSpPr>
        <p:spPr bwMode="auto">
          <a:xfrm>
            <a:off x="8534984" y="3396655"/>
            <a:ext cx="2570400" cy="317548"/>
          </a:xfrm>
          <a:prstGeom prst="rect">
            <a:avLst/>
          </a:prstGeom>
          <a:noFill/>
          <a:ln w="6350">
            <a:noFill/>
            <a:miter lim="800000"/>
            <a:headEnd/>
            <a:tailEnd/>
          </a:ln>
          <a:effectLst/>
        </p:spPr>
        <p:txBody>
          <a:bodyPr wrap="none" lIns="45720" rIns="45720" anchor="ctr" anchorCtr="0"/>
          <a:lstStyle/>
          <a:p>
            <a:pPr eaLnBrk="0" hangingPunct="0"/>
            <a:r>
              <a:rPr lang="en-US" b="1" dirty="0">
                <a:solidFill>
                  <a:schemeClr val="accent2"/>
                </a:solidFill>
                <a:latin typeface="+mj-lt"/>
              </a:rPr>
              <a:t>Text</a:t>
            </a:r>
          </a:p>
        </p:txBody>
      </p:sp>
      <p:sp>
        <p:nvSpPr>
          <p:cNvPr id="21" name="Rectangle 10">
            <a:extLst>
              <a:ext uri="{FF2B5EF4-FFF2-40B4-BE49-F238E27FC236}">
                <a16:creationId xmlns:a16="http://schemas.microsoft.com/office/drawing/2014/main" id="{F2E7C7F6-D0AF-40EF-BDEC-370F7F48C838}"/>
              </a:ext>
            </a:extLst>
          </p:cNvPr>
          <p:cNvSpPr>
            <a:spLocks noChangeArrowheads="1"/>
          </p:cNvSpPr>
          <p:nvPr/>
        </p:nvSpPr>
        <p:spPr bwMode="auto">
          <a:xfrm>
            <a:off x="1142668" y="3428146"/>
            <a:ext cx="2570400" cy="254567"/>
          </a:xfrm>
          <a:prstGeom prst="rect">
            <a:avLst/>
          </a:prstGeom>
          <a:noFill/>
          <a:ln w="6350">
            <a:noFill/>
            <a:miter lim="800000"/>
            <a:headEnd/>
            <a:tailEnd/>
          </a:ln>
          <a:effectLst/>
        </p:spPr>
        <p:txBody>
          <a:bodyPr wrap="none" lIns="45720" rIns="45720" anchor="ctr" anchorCtr="0"/>
          <a:lstStyle/>
          <a:p>
            <a:pPr algn="r" eaLnBrk="0" hangingPunct="0"/>
            <a:r>
              <a:rPr lang="en-US" b="1" dirty="0">
                <a:solidFill>
                  <a:schemeClr val="accent2"/>
                </a:solidFill>
                <a:latin typeface="+mj-lt"/>
              </a:rPr>
              <a:t>Text</a:t>
            </a:r>
          </a:p>
        </p:txBody>
      </p:sp>
      <p:sp>
        <p:nvSpPr>
          <p:cNvPr id="22" name="Rectangle 21">
            <a:extLst>
              <a:ext uri="{FF2B5EF4-FFF2-40B4-BE49-F238E27FC236}">
                <a16:creationId xmlns:a16="http://schemas.microsoft.com/office/drawing/2014/main" id="{E3976A8C-22FF-4671-9549-3758341F98C5}"/>
              </a:ext>
            </a:extLst>
          </p:cNvPr>
          <p:cNvSpPr>
            <a:spLocks noChangeAspect="1" noChangeArrowheads="1"/>
          </p:cNvSpPr>
          <p:nvPr/>
        </p:nvSpPr>
        <p:spPr bwMode="auto">
          <a:xfrm>
            <a:off x="4367368" y="1798771"/>
            <a:ext cx="3513316" cy="3513316"/>
          </a:xfrm>
          <a:prstGeom prst="rect">
            <a:avLst/>
          </a:prstGeom>
          <a:solidFill>
            <a:schemeClr val="accent2"/>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spTree>
    <p:extLst>
      <p:ext uri="{BB962C8B-B14F-4D97-AF65-F5344CB8AC3E}">
        <p14:creationId xmlns:p14="http://schemas.microsoft.com/office/powerpoint/2010/main" val="368617260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3</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CA203E8A-FB72-41ED-8E8B-D00D137A97B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9" name="Oval 8">
            <a:extLst>
              <a:ext uri="{FF2B5EF4-FFF2-40B4-BE49-F238E27FC236}">
                <a16:creationId xmlns:a16="http://schemas.microsoft.com/office/drawing/2014/main" id="{86E95D25-CD15-44EB-9A6D-FC4082949981}"/>
              </a:ext>
            </a:extLst>
          </p:cNvPr>
          <p:cNvSpPr>
            <a:spLocks noChangeArrowheads="1"/>
          </p:cNvSpPr>
          <p:nvPr/>
        </p:nvSpPr>
        <p:spPr bwMode="auto">
          <a:xfrm>
            <a:off x="4781550" y="1990536"/>
            <a:ext cx="2628900" cy="2628000"/>
          </a:xfrm>
          <a:prstGeom prst="ellipse">
            <a:avLst/>
          </a:prstGeom>
          <a:solidFill>
            <a:schemeClr val="accent2"/>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p>
        </p:txBody>
      </p:sp>
      <p:sp>
        <p:nvSpPr>
          <p:cNvPr id="11" name="AutoShape 6">
            <a:extLst>
              <a:ext uri="{FF2B5EF4-FFF2-40B4-BE49-F238E27FC236}">
                <a16:creationId xmlns:a16="http://schemas.microsoft.com/office/drawing/2014/main" id="{F660DC36-41BF-4D5C-ACBE-1405867E7124}"/>
              </a:ext>
            </a:extLst>
          </p:cNvPr>
          <p:cNvSpPr>
            <a:spLocks noChangeAspect="1" noChangeArrowheads="1"/>
          </p:cNvSpPr>
          <p:nvPr/>
        </p:nvSpPr>
        <p:spPr bwMode="auto">
          <a:xfrm flipH="1">
            <a:off x="7182045" y="1990182"/>
            <a:ext cx="4207794" cy="2628709"/>
          </a:xfrm>
          <a:prstGeom prst="homePlate">
            <a:avLst>
              <a:gd name="adj" fmla="val 32103"/>
            </a:avLst>
          </a:prstGeom>
          <a:solidFill>
            <a:schemeClr val="tx2">
              <a:lumMod val="20000"/>
              <a:lumOff val="80000"/>
            </a:schemeClr>
          </a:solidFill>
          <a:ln w="6350">
            <a:noFill/>
            <a:miter lim="800000"/>
            <a:headEnd/>
            <a:tailEnd/>
          </a:ln>
          <a:effectLst/>
        </p:spPr>
        <p:txBody>
          <a:bodyPr lIns="720000" tIns="180000" rIns="72000" bIns="72000" anchor="t"/>
          <a:lstStyle/>
          <a:p>
            <a:pPr marL="0" lvl="1" eaLnBrk="0" hangingPunct="0">
              <a:lnSpc>
                <a:spcPct val="85000"/>
              </a:lnSpc>
              <a:spcBef>
                <a:spcPts val="100"/>
              </a:spcBef>
              <a:spcAft>
                <a:spcPts val="300"/>
              </a:spcAft>
              <a:buClr>
                <a:schemeClr val="folHlink"/>
              </a:buClr>
            </a:pPr>
            <a:r>
              <a:rPr lang="en-US" b="1" dirty="0">
                <a:latin typeface="+mj-lt"/>
              </a:rPr>
              <a:t>Text</a:t>
            </a:r>
          </a:p>
          <a:p>
            <a:pPr marL="177800" indent="-177800" algn="l" eaLnBrk="0" hangingPunct="0">
              <a:spcBef>
                <a:spcPts val="100"/>
              </a:spcBef>
              <a:spcAft>
                <a:spcPts val="100"/>
              </a:spcAft>
              <a:buFontTx/>
              <a:buChar char="•"/>
            </a:pPr>
            <a:r>
              <a:rPr lang="en-US" dirty="0"/>
              <a:t>Text</a:t>
            </a:r>
          </a:p>
          <a:p>
            <a:pPr marL="177800" indent="-177800" algn="l" eaLnBrk="0" hangingPunct="0">
              <a:spcBef>
                <a:spcPts val="100"/>
              </a:spcBef>
              <a:spcAft>
                <a:spcPts val="100"/>
              </a:spcAft>
              <a:buFontTx/>
              <a:buChar char="•"/>
            </a:pPr>
            <a:r>
              <a:rPr lang="en-US" dirty="0"/>
              <a:t>Text</a:t>
            </a:r>
          </a:p>
          <a:p>
            <a:pPr marL="177800" indent="-177800" algn="l" eaLnBrk="0" hangingPunct="0">
              <a:spcBef>
                <a:spcPts val="100"/>
              </a:spcBef>
              <a:spcAft>
                <a:spcPts val="100"/>
              </a:spcAft>
              <a:buFontTx/>
              <a:buChar char="•"/>
            </a:pPr>
            <a:r>
              <a:rPr lang="en-US" dirty="0"/>
              <a:t>Text</a:t>
            </a:r>
          </a:p>
        </p:txBody>
      </p:sp>
      <p:sp>
        <p:nvSpPr>
          <p:cNvPr id="13" name="AutoShape 7">
            <a:extLst>
              <a:ext uri="{FF2B5EF4-FFF2-40B4-BE49-F238E27FC236}">
                <a16:creationId xmlns:a16="http://schemas.microsoft.com/office/drawing/2014/main" id="{1BB139B3-2BAC-4A2A-8845-442AE47F24AD}"/>
              </a:ext>
            </a:extLst>
          </p:cNvPr>
          <p:cNvSpPr>
            <a:spLocks noChangeAspect="1" noChangeArrowheads="1"/>
          </p:cNvSpPr>
          <p:nvPr/>
        </p:nvSpPr>
        <p:spPr bwMode="auto">
          <a:xfrm>
            <a:off x="802161" y="1990004"/>
            <a:ext cx="4207794" cy="2628709"/>
          </a:xfrm>
          <a:prstGeom prst="homePlate">
            <a:avLst>
              <a:gd name="adj" fmla="val 32103"/>
            </a:avLst>
          </a:prstGeom>
          <a:solidFill>
            <a:schemeClr val="tx2">
              <a:lumMod val="20000"/>
              <a:lumOff val="80000"/>
            </a:schemeClr>
          </a:solidFill>
          <a:ln w="6350">
            <a:noFill/>
            <a:miter lim="800000"/>
            <a:headEnd/>
            <a:tailEnd/>
          </a:ln>
          <a:effectLst/>
        </p:spPr>
        <p:txBody>
          <a:bodyPr lIns="324000" tIns="180000" rIns="72000" bIns="72000" anchor="t"/>
          <a:lstStyle/>
          <a:p>
            <a:pPr marL="0" lvl="1" algn="l" eaLnBrk="0" hangingPunct="0">
              <a:lnSpc>
                <a:spcPct val="85000"/>
              </a:lnSpc>
              <a:spcBef>
                <a:spcPts val="100"/>
              </a:spcBef>
              <a:spcAft>
                <a:spcPts val="300"/>
              </a:spcAft>
              <a:buClr>
                <a:schemeClr val="folHlink"/>
              </a:buClr>
            </a:pPr>
            <a:r>
              <a:rPr lang="en-US" b="1" dirty="0">
                <a:latin typeface="+mj-lt"/>
              </a:rPr>
              <a:t>Text</a:t>
            </a:r>
          </a:p>
          <a:p>
            <a:pPr marL="177800" lvl="1" indent="-177800" algn="l" eaLnBrk="0" hangingPunct="0">
              <a:spcBef>
                <a:spcPts val="100"/>
              </a:spcBef>
              <a:spcAft>
                <a:spcPts val="100"/>
              </a:spcAft>
              <a:buFontTx/>
              <a:buChar char="•"/>
            </a:pPr>
            <a:r>
              <a:rPr lang="en-US" dirty="0"/>
              <a:t>Text</a:t>
            </a:r>
          </a:p>
          <a:p>
            <a:pPr marL="177800" lvl="1" indent="-177800" algn="l" eaLnBrk="0" hangingPunct="0">
              <a:spcBef>
                <a:spcPts val="100"/>
              </a:spcBef>
              <a:spcAft>
                <a:spcPts val="100"/>
              </a:spcAft>
              <a:buFontTx/>
              <a:buChar char="•"/>
            </a:pPr>
            <a:r>
              <a:rPr lang="en-US" dirty="0"/>
              <a:t>Text</a:t>
            </a:r>
          </a:p>
          <a:p>
            <a:pPr marL="177800" lvl="1" indent="-177800" algn="l" eaLnBrk="0" hangingPunct="0">
              <a:spcBef>
                <a:spcPts val="100"/>
              </a:spcBef>
              <a:spcAft>
                <a:spcPts val="100"/>
              </a:spcAft>
              <a:buFontTx/>
              <a:buChar char="•"/>
            </a:pPr>
            <a:r>
              <a:rPr lang="en-US" dirty="0"/>
              <a:t>Text</a:t>
            </a:r>
          </a:p>
        </p:txBody>
      </p:sp>
    </p:spTree>
    <p:extLst>
      <p:ext uri="{BB962C8B-B14F-4D97-AF65-F5344CB8AC3E}">
        <p14:creationId xmlns:p14="http://schemas.microsoft.com/office/powerpoint/2010/main" val="235210508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4</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E07AEA88-D81E-4D0D-B49D-84E3EF02B33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4" name="Straight Arrow Connector 13">
            <a:extLst>
              <a:ext uri="{FF2B5EF4-FFF2-40B4-BE49-F238E27FC236}">
                <a16:creationId xmlns:a16="http://schemas.microsoft.com/office/drawing/2014/main" id="{C8272CC4-A866-489D-9BCC-036C61F0C3F3}"/>
              </a:ext>
            </a:extLst>
          </p:cNvPr>
          <p:cNvCxnSpPr/>
          <p:nvPr/>
        </p:nvCxnSpPr>
        <p:spPr bwMode="auto">
          <a:xfrm>
            <a:off x="7465595" y="3555429"/>
            <a:ext cx="540000" cy="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197A5F2-E85B-47A4-B144-29D42C8A903B}"/>
              </a:ext>
            </a:extLst>
          </p:cNvPr>
          <p:cNvCxnSpPr/>
          <p:nvPr/>
        </p:nvCxnSpPr>
        <p:spPr bwMode="auto">
          <a:xfrm flipV="1">
            <a:off x="6125143" y="1684000"/>
            <a:ext cx="0" cy="54000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736F7D4-BFC0-4964-AA8A-95B866FF4050}"/>
              </a:ext>
            </a:extLst>
          </p:cNvPr>
          <p:cNvCxnSpPr/>
          <p:nvPr/>
        </p:nvCxnSpPr>
        <p:spPr bwMode="auto">
          <a:xfrm flipH="1">
            <a:off x="4224410" y="3555429"/>
            <a:ext cx="540000" cy="1"/>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C99A67D-83B8-429F-A669-DE6227BF1187}"/>
              </a:ext>
            </a:extLst>
          </p:cNvPr>
          <p:cNvCxnSpPr/>
          <p:nvPr/>
        </p:nvCxnSpPr>
        <p:spPr bwMode="auto">
          <a:xfrm>
            <a:off x="6125143" y="4877883"/>
            <a:ext cx="0" cy="540000"/>
          </a:xfrm>
          <a:prstGeom prst="straightConnector1">
            <a:avLst/>
          </a:prstGeom>
          <a:ln w="19050" cap="rnd">
            <a:solidFill>
              <a:schemeClr val="tx2">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8" name="Rectangle 7">
            <a:extLst>
              <a:ext uri="{FF2B5EF4-FFF2-40B4-BE49-F238E27FC236}">
                <a16:creationId xmlns:a16="http://schemas.microsoft.com/office/drawing/2014/main" id="{9708B750-CB16-4C9F-8ED7-BB6C340A160C}"/>
              </a:ext>
            </a:extLst>
          </p:cNvPr>
          <p:cNvSpPr>
            <a:spLocks noChangeArrowheads="1"/>
          </p:cNvSpPr>
          <p:nvPr/>
        </p:nvSpPr>
        <p:spPr bwMode="auto">
          <a:xfrm>
            <a:off x="4839836" y="1327386"/>
            <a:ext cx="2570614" cy="254567"/>
          </a:xfrm>
          <a:prstGeom prst="rect">
            <a:avLst/>
          </a:prstGeom>
          <a:noFill/>
          <a:ln w="6350">
            <a:noFill/>
            <a:miter lim="800000"/>
            <a:headEnd/>
            <a:tailEnd/>
          </a:ln>
          <a:effectLst/>
        </p:spPr>
        <p:txBody>
          <a:bodyPr wrap="none" lIns="45720" rIns="45720"/>
          <a:lstStyle/>
          <a:p>
            <a:pPr algn="ctr" eaLnBrk="0" hangingPunct="0"/>
            <a:r>
              <a:rPr lang="en-US" b="1" dirty="0">
                <a:solidFill>
                  <a:schemeClr val="accent2"/>
                </a:solidFill>
                <a:latin typeface="+mj-lt"/>
              </a:rPr>
              <a:t>Text</a:t>
            </a:r>
          </a:p>
        </p:txBody>
      </p:sp>
      <p:sp>
        <p:nvSpPr>
          <p:cNvPr id="19" name="Rectangle 8">
            <a:extLst>
              <a:ext uri="{FF2B5EF4-FFF2-40B4-BE49-F238E27FC236}">
                <a16:creationId xmlns:a16="http://schemas.microsoft.com/office/drawing/2014/main" id="{714DFCE5-1F20-4D6F-9AA1-31E741D6A0F6}"/>
              </a:ext>
            </a:extLst>
          </p:cNvPr>
          <p:cNvSpPr>
            <a:spLocks noChangeArrowheads="1"/>
          </p:cNvSpPr>
          <p:nvPr/>
        </p:nvSpPr>
        <p:spPr bwMode="auto">
          <a:xfrm>
            <a:off x="4839836" y="5417883"/>
            <a:ext cx="2570614" cy="339231"/>
          </a:xfrm>
          <a:prstGeom prst="rect">
            <a:avLst/>
          </a:prstGeom>
          <a:noFill/>
          <a:ln w="6350">
            <a:noFill/>
            <a:miter lim="800000"/>
            <a:headEnd/>
            <a:tailEnd/>
          </a:ln>
          <a:effectLst/>
        </p:spPr>
        <p:txBody>
          <a:bodyPr wrap="none" lIns="45720" rIns="45720"/>
          <a:lstStyle/>
          <a:p>
            <a:pPr algn="ctr" eaLnBrk="0" hangingPunct="0"/>
            <a:r>
              <a:rPr lang="en-US" b="1" dirty="0">
                <a:solidFill>
                  <a:schemeClr val="accent2"/>
                </a:solidFill>
                <a:latin typeface="+mj-lt"/>
              </a:rPr>
              <a:t>Text</a:t>
            </a:r>
          </a:p>
        </p:txBody>
      </p:sp>
      <p:sp>
        <p:nvSpPr>
          <p:cNvPr id="20" name="Rectangle 9">
            <a:extLst>
              <a:ext uri="{FF2B5EF4-FFF2-40B4-BE49-F238E27FC236}">
                <a16:creationId xmlns:a16="http://schemas.microsoft.com/office/drawing/2014/main" id="{26F2D0AA-8ACA-43D4-9183-4F49FDFDF553}"/>
              </a:ext>
            </a:extLst>
          </p:cNvPr>
          <p:cNvSpPr>
            <a:spLocks noChangeArrowheads="1"/>
          </p:cNvSpPr>
          <p:nvPr/>
        </p:nvSpPr>
        <p:spPr bwMode="auto">
          <a:xfrm>
            <a:off x="8065752" y="3396655"/>
            <a:ext cx="2570400" cy="317548"/>
          </a:xfrm>
          <a:prstGeom prst="rect">
            <a:avLst/>
          </a:prstGeom>
          <a:noFill/>
          <a:ln w="6350">
            <a:noFill/>
            <a:miter lim="800000"/>
            <a:headEnd/>
            <a:tailEnd/>
          </a:ln>
          <a:effectLst/>
        </p:spPr>
        <p:txBody>
          <a:bodyPr wrap="none" lIns="45720" rIns="45720" anchor="ctr" anchorCtr="0"/>
          <a:lstStyle/>
          <a:p>
            <a:pPr eaLnBrk="0" hangingPunct="0"/>
            <a:r>
              <a:rPr lang="en-US" b="1" dirty="0">
                <a:solidFill>
                  <a:schemeClr val="accent2"/>
                </a:solidFill>
                <a:latin typeface="+mj-lt"/>
              </a:rPr>
              <a:t>Text</a:t>
            </a:r>
          </a:p>
        </p:txBody>
      </p:sp>
      <p:sp>
        <p:nvSpPr>
          <p:cNvPr id="21" name="Rectangle 10">
            <a:extLst>
              <a:ext uri="{FF2B5EF4-FFF2-40B4-BE49-F238E27FC236}">
                <a16:creationId xmlns:a16="http://schemas.microsoft.com/office/drawing/2014/main" id="{C0914C65-795F-44F7-ACE2-8A800A61D70C}"/>
              </a:ext>
            </a:extLst>
          </p:cNvPr>
          <p:cNvSpPr>
            <a:spLocks noChangeArrowheads="1"/>
          </p:cNvSpPr>
          <p:nvPr/>
        </p:nvSpPr>
        <p:spPr bwMode="auto">
          <a:xfrm>
            <a:off x="1611900" y="3428146"/>
            <a:ext cx="2570400" cy="254567"/>
          </a:xfrm>
          <a:prstGeom prst="rect">
            <a:avLst/>
          </a:prstGeom>
          <a:noFill/>
          <a:ln w="6350">
            <a:noFill/>
            <a:miter lim="800000"/>
            <a:headEnd/>
            <a:tailEnd/>
          </a:ln>
          <a:effectLst/>
        </p:spPr>
        <p:txBody>
          <a:bodyPr wrap="none" lIns="45720" rIns="45720" anchor="ctr" anchorCtr="0"/>
          <a:lstStyle/>
          <a:p>
            <a:pPr algn="r" eaLnBrk="0" hangingPunct="0"/>
            <a:r>
              <a:rPr lang="en-US" b="1" dirty="0">
                <a:solidFill>
                  <a:schemeClr val="accent2"/>
                </a:solidFill>
                <a:latin typeface="+mj-lt"/>
              </a:rPr>
              <a:t>Text</a:t>
            </a:r>
          </a:p>
        </p:txBody>
      </p:sp>
      <p:sp>
        <p:nvSpPr>
          <p:cNvPr id="22" name="Rectangle 21">
            <a:extLst>
              <a:ext uri="{FF2B5EF4-FFF2-40B4-BE49-F238E27FC236}">
                <a16:creationId xmlns:a16="http://schemas.microsoft.com/office/drawing/2014/main" id="{F95E425A-AEF6-4E18-B9DF-3FD306526544}"/>
              </a:ext>
            </a:extLst>
          </p:cNvPr>
          <p:cNvSpPr>
            <a:spLocks noChangeAspect="1" noChangeArrowheads="1"/>
          </p:cNvSpPr>
          <p:nvPr/>
        </p:nvSpPr>
        <p:spPr bwMode="auto">
          <a:xfrm>
            <a:off x="4878855" y="2310258"/>
            <a:ext cx="2490342" cy="2490342"/>
          </a:xfrm>
          <a:prstGeom prst="rect">
            <a:avLst/>
          </a:prstGeom>
          <a:pattFill prst="dkUpDiag">
            <a:fgClr>
              <a:schemeClr val="tx2">
                <a:lumMod val="40000"/>
                <a:lumOff val="60000"/>
              </a:schemeClr>
            </a:fgClr>
            <a:bgClr>
              <a:schemeClr val="bg1"/>
            </a:bgClr>
          </a:patt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accent3"/>
                </a:solidFill>
                <a:latin typeface="+mj-lt"/>
              </a:rPr>
              <a:t>Text</a:t>
            </a:r>
          </a:p>
        </p:txBody>
      </p:sp>
    </p:spTree>
    <p:extLst>
      <p:ext uri="{BB962C8B-B14F-4D97-AF65-F5344CB8AC3E}">
        <p14:creationId xmlns:p14="http://schemas.microsoft.com/office/powerpoint/2010/main" val="40305689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19F846-ADB6-BC4F-9281-91A72502E614}"/>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20489545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5</a:t>
            </a:r>
          </a:p>
        </p:txBody>
      </p:sp>
      <p:sp>
        <p:nvSpPr>
          <p:cNvPr id="4" name="Freeform: Shape 3">
            <a:hlinkClick r:id="rId16"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6" action="ppaction://hlinksldjump"/>
            <a:extLst>
              <a:ext uri="{FF2B5EF4-FFF2-40B4-BE49-F238E27FC236}">
                <a16:creationId xmlns:a16="http://schemas.microsoft.com/office/drawing/2014/main" id="{3D0B7577-ABDE-4222-92EC-7C079A5313D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8" name="AutoShape 38">
            <a:extLst>
              <a:ext uri="{FF2B5EF4-FFF2-40B4-BE49-F238E27FC236}">
                <a16:creationId xmlns:a16="http://schemas.microsoft.com/office/drawing/2014/main" id="{CEB8A882-A0D7-4DEF-8B58-AFD0C2AFE9AD}"/>
              </a:ext>
            </a:extLst>
          </p:cNvPr>
          <p:cNvCxnSpPr>
            <a:cxnSpLocks noChangeShapeType="1"/>
            <a:stCxn id="24" idx="0"/>
          </p:cNvCxnSpPr>
          <p:nvPr>
            <p:custDataLst>
              <p:tags r:id="rId1"/>
            </p:custDataLst>
          </p:nvPr>
        </p:nvCxnSpPr>
        <p:spPr bwMode="auto">
          <a:xfrm flipV="1">
            <a:off x="6129777" y="4229555"/>
            <a:ext cx="0" cy="532620"/>
          </a:xfrm>
          <a:prstGeom prst="straightConnector1">
            <a:avLst/>
          </a:prstGeom>
          <a:noFill/>
          <a:ln w="19050" cap="rnd">
            <a:solidFill>
              <a:schemeClr val="tx2">
                <a:lumMod val="60000"/>
                <a:lumOff val="40000"/>
              </a:schemeClr>
            </a:solidFill>
            <a:prstDash val="sysDot"/>
            <a:round/>
            <a:headEnd/>
            <a:tailEnd type="triangle"/>
          </a:ln>
          <a:effectLst/>
        </p:spPr>
      </p:cxnSp>
      <p:cxnSp>
        <p:nvCxnSpPr>
          <p:cNvPr id="19" name="AutoShape 42">
            <a:extLst>
              <a:ext uri="{FF2B5EF4-FFF2-40B4-BE49-F238E27FC236}">
                <a16:creationId xmlns:a16="http://schemas.microsoft.com/office/drawing/2014/main" id="{4589FCCB-4B7C-41EB-8AA2-EB4326775FEC}"/>
              </a:ext>
            </a:extLst>
          </p:cNvPr>
          <p:cNvCxnSpPr>
            <a:cxnSpLocks noChangeShapeType="1"/>
            <a:endCxn id="20" idx="4"/>
          </p:cNvCxnSpPr>
          <p:nvPr>
            <p:custDataLst>
              <p:tags r:id="rId2"/>
            </p:custDataLst>
          </p:nvPr>
        </p:nvCxnSpPr>
        <p:spPr bwMode="auto">
          <a:xfrm flipV="1">
            <a:off x="6129777" y="2514925"/>
            <a:ext cx="0" cy="530646"/>
          </a:xfrm>
          <a:prstGeom prst="straightConnector1">
            <a:avLst/>
          </a:prstGeom>
          <a:noFill/>
          <a:ln w="19050" cap="rnd">
            <a:solidFill>
              <a:schemeClr val="tx2">
                <a:lumMod val="60000"/>
                <a:lumOff val="40000"/>
              </a:schemeClr>
            </a:solidFill>
            <a:prstDash val="sysDot"/>
            <a:round/>
            <a:headEnd type="triangle"/>
            <a:tailEnd/>
          </a:ln>
          <a:effectLst/>
        </p:spPr>
      </p:cxnSp>
      <p:sp>
        <p:nvSpPr>
          <p:cNvPr id="20" name="Oval 29">
            <a:extLst>
              <a:ext uri="{FF2B5EF4-FFF2-40B4-BE49-F238E27FC236}">
                <a16:creationId xmlns:a16="http://schemas.microsoft.com/office/drawing/2014/main" id="{FDE714E5-1922-4BF0-9D91-BDB6B4A1EB97}"/>
              </a:ext>
            </a:extLst>
          </p:cNvPr>
          <p:cNvSpPr>
            <a:spLocks noChangeArrowheads="1"/>
          </p:cNvSpPr>
          <p:nvPr>
            <p:custDataLst>
              <p:tags r:id="rId3"/>
            </p:custDataLst>
          </p:nvPr>
        </p:nvSpPr>
        <p:spPr bwMode="auto">
          <a:xfrm>
            <a:off x="5481914" y="1219200"/>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1" name="Oval 30">
            <a:extLst>
              <a:ext uri="{FF2B5EF4-FFF2-40B4-BE49-F238E27FC236}">
                <a16:creationId xmlns:a16="http://schemas.microsoft.com/office/drawing/2014/main" id="{A510A980-CFE6-48AE-B25E-A1ED42AF55CF}"/>
              </a:ext>
            </a:extLst>
          </p:cNvPr>
          <p:cNvSpPr>
            <a:spLocks noChangeArrowheads="1"/>
          </p:cNvSpPr>
          <p:nvPr>
            <p:custDataLst>
              <p:tags r:id="rId4"/>
            </p:custDataLst>
          </p:nvPr>
        </p:nvSpPr>
        <p:spPr bwMode="auto">
          <a:xfrm>
            <a:off x="8309956" y="1950137"/>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2" name="Oval 31">
            <a:extLst>
              <a:ext uri="{FF2B5EF4-FFF2-40B4-BE49-F238E27FC236}">
                <a16:creationId xmlns:a16="http://schemas.microsoft.com/office/drawing/2014/main" id="{15DF910F-9373-48C0-8761-2CE3EF50E88E}"/>
              </a:ext>
            </a:extLst>
          </p:cNvPr>
          <p:cNvSpPr>
            <a:spLocks noChangeArrowheads="1"/>
          </p:cNvSpPr>
          <p:nvPr>
            <p:custDataLst>
              <p:tags r:id="rId5"/>
            </p:custDataLst>
          </p:nvPr>
        </p:nvSpPr>
        <p:spPr bwMode="auto">
          <a:xfrm>
            <a:off x="8322447" y="3999341"/>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3" name="Oval 32">
            <a:extLst>
              <a:ext uri="{FF2B5EF4-FFF2-40B4-BE49-F238E27FC236}">
                <a16:creationId xmlns:a16="http://schemas.microsoft.com/office/drawing/2014/main" id="{CAB9FF94-007C-438D-99F8-E641AA721F40}"/>
              </a:ext>
            </a:extLst>
          </p:cNvPr>
          <p:cNvSpPr>
            <a:spLocks noChangeArrowheads="1"/>
          </p:cNvSpPr>
          <p:nvPr>
            <p:custDataLst>
              <p:tags r:id="rId6"/>
            </p:custDataLst>
          </p:nvPr>
        </p:nvSpPr>
        <p:spPr bwMode="auto">
          <a:xfrm>
            <a:off x="2653872" y="3999341"/>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4" name="Oval 34">
            <a:extLst>
              <a:ext uri="{FF2B5EF4-FFF2-40B4-BE49-F238E27FC236}">
                <a16:creationId xmlns:a16="http://schemas.microsoft.com/office/drawing/2014/main" id="{1BAF8E32-4A86-4230-96C7-108F1BC020A6}"/>
              </a:ext>
            </a:extLst>
          </p:cNvPr>
          <p:cNvSpPr>
            <a:spLocks noChangeArrowheads="1"/>
          </p:cNvSpPr>
          <p:nvPr>
            <p:custDataLst>
              <p:tags r:id="rId7"/>
            </p:custDataLst>
          </p:nvPr>
        </p:nvSpPr>
        <p:spPr bwMode="auto">
          <a:xfrm>
            <a:off x="5481914" y="4762175"/>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5" name="Oval 35">
            <a:extLst>
              <a:ext uri="{FF2B5EF4-FFF2-40B4-BE49-F238E27FC236}">
                <a16:creationId xmlns:a16="http://schemas.microsoft.com/office/drawing/2014/main" id="{1AF173A5-E8CC-4A1D-8397-A224FBCDD8CB}"/>
              </a:ext>
            </a:extLst>
          </p:cNvPr>
          <p:cNvSpPr>
            <a:spLocks noChangeArrowheads="1"/>
          </p:cNvSpPr>
          <p:nvPr>
            <p:custDataLst>
              <p:tags r:id="rId8"/>
            </p:custDataLst>
          </p:nvPr>
        </p:nvSpPr>
        <p:spPr bwMode="auto">
          <a:xfrm>
            <a:off x="2653872" y="1950137"/>
            <a:ext cx="1295725" cy="1295725"/>
          </a:xfrm>
          <a:prstGeom prst="ellipse">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6" name="Oval 36">
            <a:extLst>
              <a:ext uri="{FF2B5EF4-FFF2-40B4-BE49-F238E27FC236}">
                <a16:creationId xmlns:a16="http://schemas.microsoft.com/office/drawing/2014/main" id="{25964C26-6354-46F5-97FF-584719E4E473}"/>
              </a:ext>
            </a:extLst>
          </p:cNvPr>
          <p:cNvSpPr>
            <a:spLocks noChangeArrowheads="1"/>
          </p:cNvSpPr>
          <p:nvPr>
            <p:custDataLst>
              <p:tags r:id="rId9"/>
            </p:custDataLst>
          </p:nvPr>
        </p:nvSpPr>
        <p:spPr bwMode="auto">
          <a:xfrm>
            <a:off x="4713317" y="3125393"/>
            <a:ext cx="2832920" cy="1028752"/>
          </a:xfrm>
          <a:prstGeom prst="rect">
            <a:avLst/>
          </a:prstGeom>
          <a:solidFill>
            <a:schemeClr val="accent2"/>
          </a:solidFill>
          <a:ln w="6350">
            <a:noFill/>
            <a:round/>
            <a:headEnd/>
            <a:tailEnd/>
          </a:ln>
          <a:effectLst/>
        </p:spPr>
        <p:txBody>
          <a:bodyPr wrap="none" lIns="45720" rIns="45720" anchor="ctr" anchorCtr="1"/>
          <a:lstStyle/>
          <a:p>
            <a:pPr marL="179388" indent="-179388" algn="ctr" eaLnBrk="0" hangingPunct="0">
              <a:lnSpc>
                <a:spcPct val="85000"/>
              </a:lnSpc>
              <a:spcBef>
                <a:spcPts val="100"/>
              </a:spcBef>
              <a:spcAft>
                <a:spcPts val="300"/>
              </a:spcAft>
            </a:pPr>
            <a:r>
              <a:rPr lang="en-GB" b="1" dirty="0">
                <a:solidFill>
                  <a:schemeClr val="bg1"/>
                </a:solidFill>
                <a:latin typeface="+mj-lt"/>
              </a:rPr>
              <a:t>Text</a:t>
            </a:r>
            <a:endParaRPr lang="en-US" b="1" dirty="0">
              <a:solidFill>
                <a:schemeClr val="bg1"/>
              </a:solidFill>
              <a:latin typeface="+mj-lt"/>
            </a:endParaRPr>
          </a:p>
        </p:txBody>
      </p:sp>
      <p:cxnSp>
        <p:nvCxnSpPr>
          <p:cNvPr id="27" name="AutoShape 40">
            <a:extLst>
              <a:ext uri="{FF2B5EF4-FFF2-40B4-BE49-F238E27FC236}">
                <a16:creationId xmlns:a16="http://schemas.microsoft.com/office/drawing/2014/main" id="{70E75FAC-571A-47A3-84CB-EE267D1FC04D}"/>
              </a:ext>
            </a:extLst>
          </p:cNvPr>
          <p:cNvCxnSpPr>
            <a:cxnSpLocks noChangeShapeType="1"/>
          </p:cNvCxnSpPr>
          <p:nvPr>
            <p:custDataLst>
              <p:tags r:id="rId10"/>
            </p:custDataLst>
          </p:nvPr>
        </p:nvCxnSpPr>
        <p:spPr bwMode="auto">
          <a:xfrm flipH="1" flipV="1">
            <a:off x="3949598" y="2808481"/>
            <a:ext cx="647861" cy="274840"/>
          </a:xfrm>
          <a:prstGeom prst="straightConnector1">
            <a:avLst/>
          </a:prstGeom>
          <a:noFill/>
          <a:ln w="19050" cap="rnd">
            <a:solidFill>
              <a:schemeClr val="tx2">
                <a:lumMod val="60000"/>
                <a:lumOff val="40000"/>
              </a:schemeClr>
            </a:solidFill>
            <a:prstDash val="sysDot"/>
            <a:round/>
            <a:headEnd type="triangle"/>
            <a:tailEnd/>
          </a:ln>
          <a:effectLst/>
        </p:spPr>
      </p:cxnSp>
      <p:cxnSp>
        <p:nvCxnSpPr>
          <p:cNvPr id="28" name="AutoShape 40">
            <a:extLst>
              <a:ext uri="{FF2B5EF4-FFF2-40B4-BE49-F238E27FC236}">
                <a16:creationId xmlns:a16="http://schemas.microsoft.com/office/drawing/2014/main" id="{6CDA31D4-7370-494F-921E-D475D3F86440}"/>
              </a:ext>
            </a:extLst>
          </p:cNvPr>
          <p:cNvCxnSpPr>
            <a:cxnSpLocks noChangeShapeType="1"/>
          </p:cNvCxnSpPr>
          <p:nvPr>
            <p:custDataLst>
              <p:tags r:id="rId11"/>
            </p:custDataLst>
          </p:nvPr>
        </p:nvCxnSpPr>
        <p:spPr bwMode="auto">
          <a:xfrm flipH="1">
            <a:off x="3949598" y="4186577"/>
            <a:ext cx="647861" cy="274840"/>
          </a:xfrm>
          <a:prstGeom prst="straightConnector1">
            <a:avLst/>
          </a:prstGeom>
          <a:noFill/>
          <a:ln w="19050" cap="rnd">
            <a:solidFill>
              <a:schemeClr val="tx2">
                <a:lumMod val="60000"/>
                <a:lumOff val="40000"/>
              </a:schemeClr>
            </a:solidFill>
            <a:prstDash val="sysDot"/>
            <a:round/>
            <a:headEnd type="triangle"/>
            <a:tailEnd/>
          </a:ln>
          <a:effectLst/>
        </p:spPr>
      </p:cxnSp>
      <p:cxnSp>
        <p:nvCxnSpPr>
          <p:cNvPr id="29" name="AutoShape 40">
            <a:extLst>
              <a:ext uri="{FF2B5EF4-FFF2-40B4-BE49-F238E27FC236}">
                <a16:creationId xmlns:a16="http://schemas.microsoft.com/office/drawing/2014/main" id="{4DA523B1-258E-4234-82A3-6C8C5D18A8D9}"/>
              </a:ext>
            </a:extLst>
          </p:cNvPr>
          <p:cNvCxnSpPr>
            <a:cxnSpLocks noChangeShapeType="1"/>
          </p:cNvCxnSpPr>
          <p:nvPr>
            <p:custDataLst>
              <p:tags r:id="rId12"/>
            </p:custDataLst>
          </p:nvPr>
        </p:nvCxnSpPr>
        <p:spPr bwMode="auto">
          <a:xfrm flipV="1">
            <a:off x="7691945" y="2808481"/>
            <a:ext cx="647861" cy="274840"/>
          </a:xfrm>
          <a:prstGeom prst="straightConnector1">
            <a:avLst/>
          </a:prstGeom>
          <a:noFill/>
          <a:ln w="19050" cap="rnd">
            <a:solidFill>
              <a:schemeClr val="tx2">
                <a:lumMod val="60000"/>
                <a:lumOff val="40000"/>
              </a:schemeClr>
            </a:solidFill>
            <a:prstDash val="sysDot"/>
            <a:round/>
            <a:headEnd type="triangle"/>
            <a:tailEnd/>
          </a:ln>
          <a:effectLst/>
        </p:spPr>
      </p:cxnSp>
      <p:cxnSp>
        <p:nvCxnSpPr>
          <p:cNvPr id="30" name="AutoShape 40">
            <a:extLst>
              <a:ext uri="{FF2B5EF4-FFF2-40B4-BE49-F238E27FC236}">
                <a16:creationId xmlns:a16="http://schemas.microsoft.com/office/drawing/2014/main" id="{FE0BD34B-2D5C-4E70-88E4-A2CD9021D942}"/>
              </a:ext>
            </a:extLst>
          </p:cNvPr>
          <p:cNvCxnSpPr>
            <a:cxnSpLocks noChangeShapeType="1"/>
          </p:cNvCxnSpPr>
          <p:nvPr>
            <p:custDataLst>
              <p:tags r:id="rId13"/>
            </p:custDataLst>
          </p:nvPr>
        </p:nvCxnSpPr>
        <p:spPr bwMode="auto">
          <a:xfrm>
            <a:off x="7691945" y="4186577"/>
            <a:ext cx="647861" cy="274840"/>
          </a:xfrm>
          <a:prstGeom prst="straightConnector1">
            <a:avLst/>
          </a:prstGeom>
          <a:noFill/>
          <a:ln w="19050" cap="rnd">
            <a:solidFill>
              <a:schemeClr val="tx2">
                <a:lumMod val="60000"/>
                <a:lumOff val="40000"/>
              </a:schemeClr>
            </a:solidFill>
            <a:prstDash val="sysDot"/>
            <a:round/>
            <a:headEnd type="triangle"/>
            <a:tailEnd/>
          </a:ln>
          <a:effectLst/>
        </p:spPr>
      </p:cxnSp>
    </p:spTree>
    <p:extLst>
      <p:ext uri="{BB962C8B-B14F-4D97-AF65-F5344CB8AC3E}">
        <p14:creationId xmlns:p14="http://schemas.microsoft.com/office/powerpoint/2010/main" val="194273835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6</a:t>
            </a:r>
          </a:p>
        </p:txBody>
      </p:sp>
      <p:sp>
        <p:nvSpPr>
          <p:cNvPr id="4" name="Freeform: Shape 3">
            <a:hlinkClick r:id="rId17"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7" action="ppaction://hlinksldjump"/>
            <a:extLst>
              <a:ext uri="{FF2B5EF4-FFF2-40B4-BE49-F238E27FC236}">
                <a16:creationId xmlns:a16="http://schemas.microsoft.com/office/drawing/2014/main" id="{481BBC23-5180-42B0-BF74-994EB065D81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3" name="Oval 22">
            <a:extLst>
              <a:ext uri="{FF2B5EF4-FFF2-40B4-BE49-F238E27FC236}">
                <a16:creationId xmlns:a16="http://schemas.microsoft.com/office/drawing/2014/main" id="{ABF89616-7DD1-4F2A-A6D1-BEE26C46EC53}"/>
              </a:ext>
            </a:extLst>
          </p:cNvPr>
          <p:cNvSpPr/>
          <p:nvPr/>
        </p:nvSpPr>
        <p:spPr>
          <a:xfrm>
            <a:off x="4149776" y="1387588"/>
            <a:ext cx="4320000" cy="4320000"/>
          </a:xfrm>
          <a:prstGeom prst="ellipse">
            <a:avLst/>
          </a:prstGeom>
          <a:no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24" name="AutoShape 38">
            <a:extLst>
              <a:ext uri="{FF2B5EF4-FFF2-40B4-BE49-F238E27FC236}">
                <a16:creationId xmlns:a16="http://schemas.microsoft.com/office/drawing/2014/main" id="{13465C84-6C56-4EAF-B361-5C9C6E09BCB9}"/>
              </a:ext>
            </a:extLst>
          </p:cNvPr>
          <p:cNvCxnSpPr>
            <a:cxnSpLocks noChangeShapeType="1"/>
            <a:stCxn id="30" idx="0"/>
          </p:cNvCxnSpPr>
          <p:nvPr>
            <p:custDataLst>
              <p:tags r:id="rId1"/>
            </p:custDataLst>
          </p:nvPr>
        </p:nvCxnSpPr>
        <p:spPr bwMode="auto">
          <a:xfrm flipV="1">
            <a:off x="6309777" y="4651976"/>
            <a:ext cx="0" cy="684000"/>
          </a:xfrm>
          <a:prstGeom prst="straightConnector1">
            <a:avLst/>
          </a:prstGeom>
          <a:noFill/>
          <a:ln w="12700" cap="rnd">
            <a:solidFill>
              <a:schemeClr val="accent1"/>
            </a:solidFill>
            <a:prstDash val="solid"/>
            <a:round/>
            <a:headEnd/>
            <a:tailEnd type="triangle"/>
          </a:ln>
          <a:effectLst/>
        </p:spPr>
      </p:cxnSp>
      <p:cxnSp>
        <p:nvCxnSpPr>
          <p:cNvPr id="25" name="AutoShape 42">
            <a:extLst>
              <a:ext uri="{FF2B5EF4-FFF2-40B4-BE49-F238E27FC236}">
                <a16:creationId xmlns:a16="http://schemas.microsoft.com/office/drawing/2014/main" id="{33943C9E-8CEC-4B0B-8FF1-F2D56BD10E26}"/>
              </a:ext>
            </a:extLst>
          </p:cNvPr>
          <p:cNvCxnSpPr>
            <a:cxnSpLocks noChangeShapeType="1"/>
            <a:endCxn id="26" idx="2"/>
          </p:cNvCxnSpPr>
          <p:nvPr>
            <p:custDataLst>
              <p:tags r:id="rId2"/>
            </p:custDataLst>
          </p:nvPr>
        </p:nvCxnSpPr>
        <p:spPr bwMode="auto">
          <a:xfrm flipV="1">
            <a:off x="6322268" y="1759199"/>
            <a:ext cx="0" cy="684000"/>
          </a:xfrm>
          <a:prstGeom prst="straightConnector1">
            <a:avLst/>
          </a:prstGeom>
          <a:noFill/>
          <a:ln w="12700" cap="rnd">
            <a:solidFill>
              <a:schemeClr val="accent1"/>
            </a:solidFill>
            <a:prstDash val="solid"/>
            <a:round/>
            <a:headEnd type="triangle"/>
            <a:tailEnd/>
          </a:ln>
          <a:effectLst/>
        </p:spPr>
      </p:cxnSp>
      <p:sp>
        <p:nvSpPr>
          <p:cNvPr id="26" name="Oval 29">
            <a:extLst>
              <a:ext uri="{FF2B5EF4-FFF2-40B4-BE49-F238E27FC236}">
                <a16:creationId xmlns:a16="http://schemas.microsoft.com/office/drawing/2014/main" id="{98753135-7F51-4D3D-8DFC-539240B90516}"/>
              </a:ext>
            </a:extLst>
          </p:cNvPr>
          <p:cNvSpPr>
            <a:spLocks noChangeArrowheads="1"/>
          </p:cNvSpPr>
          <p:nvPr>
            <p:custDataLst>
              <p:tags r:id="rId3"/>
            </p:custDataLst>
          </p:nvPr>
        </p:nvSpPr>
        <p:spPr bwMode="auto">
          <a:xfrm>
            <a:off x="5242268" y="1219200"/>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sp>
        <p:nvSpPr>
          <p:cNvPr id="27" name="Oval 30">
            <a:extLst>
              <a:ext uri="{FF2B5EF4-FFF2-40B4-BE49-F238E27FC236}">
                <a16:creationId xmlns:a16="http://schemas.microsoft.com/office/drawing/2014/main" id="{11FC5E0F-7796-4164-ABEE-EA74D9F6DFD9}"/>
              </a:ext>
            </a:extLst>
          </p:cNvPr>
          <p:cNvSpPr>
            <a:spLocks noChangeArrowheads="1"/>
          </p:cNvSpPr>
          <p:nvPr>
            <p:custDataLst>
              <p:tags r:id="rId4"/>
            </p:custDataLst>
          </p:nvPr>
        </p:nvSpPr>
        <p:spPr bwMode="auto">
          <a:xfrm>
            <a:off x="7939591" y="2248394"/>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sp>
        <p:nvSpPr>
          <p:cNvPr id="28" name="Oval 31">
            <a:extLst>
              <a:ext uri="{FF2B5EF4-FFF2-40B4-BE49-F238E27FC236}">
                <a16:creationId xmlns:a16="http://schemas.microsoft.com/office/drawing/2014/main" id="{C04796B8-7A03-4062-A34D-4022647030A7}"/>
              </a:ext>
            </a:extLst>
          </p:cNvPr>
          <p:cNvSpPr>
            <a:spLocks noChangeArrowheads="1"/>
          </p:cNvSpPr>
          <p:nvPr>
            <p:custDataLst>
              <p:tags r:id="rId5"/>
            </p:custDataLst>
          </p:nvPr>
        </p:nvSpPr>
        <p:spPr bwMode="auto">
          <a:xfrm>
            <a:off x="7939591" y="4306782"/>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sp>
        <p:nvSpPr>
          <p:cNvPr id="29" name="Oval 32">
            <a:extLst>
              <a:ext uri="{FF2B5EF4-FFF2-40B4-BE49-F238E27FC236}">
                <a16:creationId xmlns:a16="http://schemas.microsoft.com/office/drawing/2014/main" id="{C3497533-D90F-4127-908E-81C3643419FE}"/>
              </a:ext>
            </a:extLst>
          </p:cNvPr>
          <p:cNvSpPr>
            <a:spLocks noChangeArrowheads="1"/>
          </p:cNvSpPr>
          <p:nvPr>
            <p:custDataLst>
              <p:tags r:id="rId6"/>
            </p:custDataLst>
          </p:nvPr>
        </p:nvSpPr>
        <p:spPr bwMode="auto">
          <a:xfrm>
            <a:off x="2532452" y="4306782"/>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sp>
        <p:nvSpPr>
          <p:cNvPr id="30" name="Oval 34">
            <a:extLst>
              <a:ext uri="{FF2B5EF4-FFF2-40B4-BE49-F238E27FC236}">
                <a16:creationId xmlns:a16="http://schemas.microsoft.com/office/drawing/2014/main" id="{52DED51A-9AAB-4708-9ADA-5E081198AFD6}"/>
              </a:ext>
            </a:extLst>
          </p:cNvPr>
          <p:cNvSpPr>
            <a:spLocks noChangeArrowheads="1"/>
          </p:cNvSpPr>
          <p:nvPr>
            <p:custDataLst>
              <p:tags r:id="rId7"/>
            </p:custDataLst>
          </p:nvPr>
        </p:nvSpPr>
        <p:spPr bwMode="auto">
          <a:xfrm>
            <a:off x="5229777" y="5335976"/>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sp>
        <p:nvSpPr>
          <p:cNvPr id="31" name="Oval 35">
            <a:extLst>
              <a:ext uri="{FF2B5EF4-FFF2-40B4-BE49-F238E27FC236}">
                <a16:creationId xmlns:a16="http://schemas.microsoft.com/office/drawing/2014/main" id="{B0063C5F-E3C6-4EDA-B5C5-06206024EE8B}"/>
              </a:ext>
            </a:extLst>
          </p:cNvPr>
          <p:cNvSpPr>
            <a:spLocks noChangeArrowheads="1"/>
          </p:cNvSpPr>
          <p:nvPr>
            <p:custDataLst>
              <p:tags r:id="rId8"/>
            </p:custDataLst>
          </p:nvPr>
        </p:nvSpPr>
        <p:spPr bwMode="auto">
          <a:xfrm>
            <a:off x="2544943" y="2248394"/>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32" name="AutoShape 40">
            <a:extLst>
              <a:ext uri="{FF2B5EF4-FFF2-40B4-BE49-F238E27FC236}">
                <a16:creationId xmlns:a16="http://schemas.microsoft.com/office/drawing/2014/main" id="{D96F9D8D-1A70-4BE5-BC66-A4352BBB3F7F}"/>
              </a:ext>
            </a:extLst>
          </p:cNvPr>
          <p:cNvCxnSpPr>
            <a:cxnSpLocks noChangeShapeType="1"/>
            <a:endCxn id="31" idx="3"/>
          </p:cNvCxnSpPr>
          <p:nvPr>
            <p:custDataLst>
              <p:tags r:id="rId9"/>
            </p:custDataLst>
          </p:nvPr>
        </p:nvCxnSpPr>
        <p:spPr bwMode="auto">
          <a:xfrm flipH="1" flipV="1">
            <a:off x="4704943" y="2518394"/>
            <a:ext cx="573821" cy="499794"/>
          </a:xfrm>
          <a:prstGeom prst="straightConnector1">
            <a:avLst/>
          </a:prstGeom>
          <a:noFill/>
          <a:ln w="12700" cap="rnd">
            <a:solidFill>
              <a:schemeClr val="accent1"/>
            </a:solidFill>
            <a:prstDash val="solid"/>
            <a:round/>
            <a:headEnd type="triangle"/>
            <a:tailEnd/>
          </a:ln>
          <a:effectLst/>
        </p:spPr>
      </p:cxnSp>
      <p:cxnSp>
        <p:nvCxnSpPr>
          <p:cNvPr id="33" name="AutoShape 40">
            <a:extLst>
              <a:ext uri="{FF2B5EF4-FFF2-40B4-BE49-F238E27FC236}">
                <a16:creationId xmlns:a16="http://schemas.microsoft.com/office/drawing/2014/main" id="{9948DD3A-C856-4B3F-ABF7-D4E659A6D882}"/>
              </a:ext>
            </a:extLst>
          </p:cNvPr>
          <p:cNvCxnSpPr>
            <a:cxnSpLocks noChangeShapeType="1"/>
            <a:endCxn id="29" idx="3"/>
          </p:cNvCxnSpPr>
          <p:nvPr>
            <p:custDataLst>
              <p:tags r:id="rId10"/>
            </p:custDataLst>
          </p:nvPr>
        </p:nvCxnSpPr>
        <p:spPr bwMode="auto">
          <a:xfrm flipH="1">
            <a:off x="4692452" y="4061964"/>
            <a:ext cx="573821" cy="514818"/>
          </a:xfrm>
          <a:prstGeom prst="straightConnector1">
            <a:avLst/>
          </a:prstGeom>
          <a:noFill/>
          <a:ln w="12700" cap="rnd">
            <a:solidFill>
              <a:schemeClr val="accent1"/>
            </a:solidFill>
            <a:prstDash val="solid"/>
            <a:round/>
            <a:headEnd type="triangle"/>
            <a:tailEnd/>
          </a:ln>
          <a:effectLst/>
        </p:spPr>
      </p:cxnSp>
      <p:cxnSp>
        <p:nvCxnSpPr>
          <p:cNvPr id="34" name="AutoShape 40">
            <a:extLst>
              <a:ext uri="{FF2B5EF4-FFF2-40B4-BE49-F238E27FC236}">
                <a16:creationId xmlns:a16="http://schemas.microsoft.com/office/drawing/2014/main" id="{0E6DCC59-5FFD-4AE3-B306-7EE154762C8F}"/>
              </a:ext>
            </a:extLst>
          </p:cNvPr>
          <p:cNvCxnSpPr>
            <a:cxnSpLocks noChangeShapeType="1"/>
            <a:endCxn id="27" idx="1"/>
          </p:cNvCxnSpPr>
          <p:nvPr>
            <p:custDataLst>
              <p:tags r:id="rId11"/>
            </p:custDataLst>
          </p:nvPr>
        </p:nvCxnSpPr>
        <p:spPr bwMode="auto">
          <a:xfrm flipV="1">
            <a:off x="7365770" y="2518394"/>
            <a:ext cx="573821" cy="499794"/>
          </a:xfrm>
          <a:prstGeom prst="straightConnector1">
            <a:avLst/>
          </a:prstGeom>
          <a:noFill/>
          <a:ln w="12700" cap="rnd">
            <a:solidFill>
              <a:schemeClr val="accent1"/>
            </a:solidFill>
            <a:prstDash val="solid"/>
            <a:round/>
            <a:headEnd type="triangle"/>
            <a:tailEnd/>
          </a:ln>
          <a:effectLst/>
        </p:spPr>
      </p:cxnSp>
      <p:cxnSp>
        <p:nvCxnSpPr>
          <p:cNvPr id="35" name="AutoShape 40">
            <a:extLst>
              <a:ext uri="{FF2B5EF4-FFF2-40B4-BE49-F238E27FC236}">
                <a16:creationId xmlns:a16="http://schemas.microsoft.com/office/drawing/2014/main" id="{6C6E0433-22D6-4A0E-AF29-5DCE02922539}"/>
              </a:ext>
            </a:extLst>
          </p:cNvPr>
          <p:cNvCxnSpPr>
            <a:cxnSpLocks noChangeShapeType="1"/>
            <a:endCxn id="28" idx="1"/>
          </p:cNvCxnSpPr>
          <p:nvPr>
            <p:custDataLst>
              <p:tags r:id="rId12"/>
            </p:custDataLst>
          </p:nvPr>
        </p:nvCxnSpPr>
        <p:spPr bwMode="auto">
          <a:xfrm>
            <a:off x="7353279" y="4076988"/>
            <a:ext cx="586312" cy="499794"/>
          </a:xfrm>
          <a:prstGeom prst="straightConnector1">
            <a:avLst/>
          </a:prstGeom>
          <a:noFill/>
          <a:ln w="12700" cap="rnd">
            <a:solidFill>
              <a:schemeClr val="accent1"/>
            </a:solidFill>
            <a:prstDash val="solid"/>
            <a:round/>
            <a:headEnd type="triangle"/>
            <a:tailEnd/>
          </a:ln>
          <a:effectLst/>
        </p:spPr>
      </p:cxnSp>
      <p:sp>
        <p:nvSpPr>
          <p:cNvPr id="36" name="Oval 30">
            <a:extLst>
              <a:ext uri="{FF2B5EF4-FFF2-40B4-BE49-F238E27FC236}">
                <a16:creationId xmlns:a16="http://schemas.microsoft.com/office/drawing/2014/main" id="{E2EC55C9-F6EB-4CC7-8EE7-F6DEE9FF519B}"/>
              </a:ext>
            </a:extLst>
          </p:cNvPr>
          <p:cNvSpPr>
            <a:spLocks noChangeArrowheads="1"/>
          </p:cNvSpPr>
          <p:nvPr>
            <p:custDataLst>
              <p:tags r:id="rId13"/>
            </p:custDataLst>
          </p:nvPr>
        </p:nvSpPr>
        <p:spPr bwMode="auto">
          <a:xfrm>
            <a:off x="8198438" y="3277588"/>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sp>
        <p:nvSpPr>
          <p:cNvPr id="37" name="Oval 35">
            <a:extLst>
              <a:ext uri="{FF2B5EF4-FFF2-40B4-BE49-F238E27FC236}">
                <a16:creationId xmlns:a16="http://schemas.microsoft.com/office/drawing/2014/main" id="{7DABD721-6D4D-44ED-8987-CC1A958E83E4}"/>
              </a:ext>
            </a:extLst>
          </p:cNvPr>
          <p:cNvSpPr>
            <a:spLocks noChangeArrowheads="1"/>
          </p:cNvSpPr>
          <p:nvPr>
            <p:custDataLst>
              <p:tags r:id="rId14"/>
            </p:custDataLst>
          </p:nvPr>
        </p:nvSpPr>
        <p:spPr bwMode="auto">
          <a:xfrm>
            <a:off x="2273605" y="3272323"/>
            <a:ext cx="2160000" cy="540000"/>
          </a:xfrm>
          <a:prstGeom prst="rect">
            <a:avLst/>
          </a:prstGeom>
          <a:solidFill>
            <a:schemeClr val="tx2">
              <a:lumMod val="20000"/>
              <a:lumOff val="80000"/>
            </a:schemeClr>
          </a:solidFill>
          <a:ln w="6350">
            <a:noFill/>
            <a:round/>
            <a:headEnd/>
            <a:tailEnd/>
          </a:ln>
          <a:effectLst/>
        </p:spPr>
        <p:txBody>
          <a:bodyPr wrap="none" lIns="72000" tIns="72000" rIns="72000" bIns="72000" anchor="ctr" anchorCtr="1"/>
          <a:lstStyle/>
          <a:p>
            <a:pPr eaLnBrk="0" hangingPunct="0"/>
            <a:r>
              <a:rPr lang="en-GB" dirty="0"/>
              <a:t>Text</a:t>
            </a:r>
            <a:endParaRPr lang="en-US" dirty="0"/>
          </a:p>
        </p:txBody>
      </p:sp>
      <p:cxnSp>
        <p:nvCxnSpPr>
          <p:cNvPr id="38" name="Straight Arrow Connector 37">
            <a:extLst>
              <a:ext uri="{FF2B5EF4-FFF2-40B4-BE49-F238E27FC236}">
                <a16:creationId xmlns:a16="http://schemas.microsoft.com/office/drawing/2014/main" id="{DAB31DF2-1B09-4D26-8CA2-C2B3983ADF61}"/>
              </a:ext>
            </a:extLst>
          </p:cNvPr>
          <p:cNvCxnSpPr>
            <a:stCxn id="37" idx="3"/>
          </p:cNvCxnSpPr>
          <p:nvPr/>
        </p:nvCxnSpPr>
        <p:spPr>
          <a:xfrm>
            <a:off x="4433605" y="3542323"/>
            <a:ext cx="80866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2E8A020-50A2-4B87-84B7-0BF952D4110B}"/>
              </a:ext>
            </a:extLst>
          </p:cNvPr>
          <p:cNvCxnSpPr>
            <a:stCxn id="36" idx="1"/>
          </p:cNvCxnSpPr>
          <p:nvPr/>
        </p:nvCxnSpPr>
        <p:spPr>
          <a:xfrm flipH="1">
            <a:off x="7353279" y="3547588"/>
            <a:ext cx="845159"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 name="Oval 6">
            <a:extLst>
              <a:ext uri="{FF2B5EF4-FFF2-40B4-BE49-F238E27FC236}">
                <a16:creationId xmlns:a16="http://schemas.microsoft.com/office/drawing/2014/main" id="{43F6201C-3865-4295-B6B0-7199D3DC0AF8}"/>
              </a:ext>
            </a:extLst>
          </p:cNvPr>
          <p:cNvSpPr>
            <a:spLocks noChangeArrowheads="1"/>
          </p:cNvSpPr>
          <p:nvPr/>
        </p:nvSpPr>
        <p:spPr bwMode="auto">
          <a:xfrm>
            <a:off x="5379938" y="2608560"/>
            <a:ext cx="1859676" cy="1878056"/>
          </a:xfrm>
          <a:prstGeom prst="ellipse">
            <a:avLst/>
          </a:prstGeom>
          <a:solidFill>
            <a:schemeClr val="accent2"/>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p>
        </p:txBody>
      </p:sp>
    </p:spTree>
    <p:extLst>
      <p:ext uri="{BB962C8B-B14F-4D97-AF65-F5344CB8AC3E}">
        <p14:creationId xmlns:p14="http://schemas.microsoft.com/office/powerpoint/2010/main" val="243692208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orces 7</a:t>
            </a:r>
          </a:p>
        </p:txBody>
      </p:sp>
      <p:sp>
        <p:nvSpPr>
          <p:cNvPr id="4" name="Freeform: Shape 3">
            <a:hlinkClick r:id="rId17"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7" action="ppaction://hlinksldjump"/>
            <a:extLst>
              <a:ext uri="{FF2B5EF4-FFF2-40B4-BE49-F238E27FC236}">
                <a16:creationId xmlns:a16="http://schemas.microsoft.com/office/drawing/2014/main" id="{E1EA3955-32ED-4EEA-B937-8E7151CF4AF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3" name="Oval 22">
            <a:extLst>
              <a:ext uri="{FF2B5EF4-FFF2-40B4-BE49-F238E27FC236}">
                <a16:creationId xmlns:a16="http://schemas.microsoft.com/office/drawing/2014/main" id="{C3335C0F-B3ED-4FCA-BCFF-BD843F5B3FF9}"/>
              </a:ext>
            </a:extLst>
          </p:cNvPr>
          <p:cNvSpPr/>
          <p:nvPr/>
        </p:nvSpPr>
        <p:spPr>
          <a:xfrm>
            <a:off x="4149776" y="1387588"/>
            <a:ext cx="4320000" cy="4320000"/>
          </a:xfrm>
          <a:prstGeom prst="ellipse">
            <a:avLst/>
          </a:prstGeom>
          <a:pattFill prst="dkUpDiag">
            <a:fgClr>
              <a:schemeClr val="tx2">
                <a:lumMod val="20000"/>
                <a:lumOff val="8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24" name="AutoShape 38">
            <a:extLst>
              <a:ext uri="{FF2B5EF4-FFF2-40B4-BE49-F238E27FC236}">
                <a16:creationId xmlns:a16="http://schemas.microsoft.com/office/drawing/2014/main" id="{52E80851-AD7A-481F-8583-74E9A93A72CD}"/>
              </a:ext>
            </a:extLst>
          </p:cNvPr>
          <p:cNvCxnSpPr>
            <a:cxnSpLocks noChangeShapeType="1"/>
            <a:stCxn id="30" idx="0"/>
          </p:cNvCxnSpPr>
          <p:nvPr>
            <p:custDataLst>
              <p:tags r:id="rId1"/>
            </p:custDataLst>
          </p:nvPr>
        </p:nvCxnSpPr>
        <p:spPr bwMode="auto">
          <a:xfrm flipV="1">
            <a:off x="6309777" y="4651976"/>
            <a:ext cx="0" cy="684000"/>
          </a:xfrm>
          <a:prstGeom prst="straightConnector1">
            <a:avLst/>
          </a:prstGeom>
          <a:noFill/>
          <a:ln w="12700" cap="rnd">
            <a:solidFill>
              <a:schemeClr val="accent2"/>
            </a:solidFill>
            <a:prstDash val="solid"/>
            <a:round/>
            <a:headEnd/>
            <a:tailEnd type="triangle"/>
          </a:ln>
          <a:effectLst/>
        </p:spPr>
      </p:cxnSp>
      <p:cxnSp>
        <p:nvCxnSpPr>
          <p:cNvPr id="25" name="AutoShape 42">
            <a:extLst>
              <a:ext uri="{FF2B5EF4-FFF2-40B4-BE49-F238E27FC236}">
                <a16:creationId xmlns:a16="http://schemas.microsoft.com/office/drawing/2014/main" id="{BAFFEA64-012B-40C2-B708-182A7A61E185}"/>
              </a:ext>
            </a:extLst>
          </p:cNvPr>
          <p:cNvCxnSpPr>
            <a:cxnSpLocks noChangeShapeType="1"/>
            <a:endCxn id="26" idx="2"/>
          </p:cNvCxnSpPr>
          <p:nvPr>
            <p:custDataLst>
              <p:tags r:id="rId2"/>
            </p:custDataLst>
          </p:nvPr>
        </p:nvCxnSpPr>
        <p:spPr bwMode="auto">
          <a:xfrm flipV="1">
            <a:off x="6309777" y="1759199"/>
            <a:ext cx="0" cy="684000"/>
          </a:xfrm>
          <a:prstGeom prst="straightConnector1">
            <a:avLst/>
          </a:prstGeom>
          <a:noFill/>
          <a:ln w="12700" cap="rnd">
            <a:solidFill>
              <a:schemeClr val="accent2"/>
            </a:solidFill>
            <a:prstDash val="solid"/>
            <a:round/>
            <a:headEnd type="triangle"/>
            <a:tailEnd/>
          </a:ln>
          <a:effectLst/>
        </p:spPr>
      </p:cxnSp>
      <p:sp>
        <p:nvSpPr>
          <p:cNvPr id="26" name="Oval 29">
            <a:extLst>
              <a:ext uri="{FF2B5EF4-FFF2-40B4-BE49-F238E27FC236}">
                <a16:creationId xmlns:a16="http://schemas.microsoft.com/office/drawing/2014/main" id="{F5D558CB-779A-4E6C-8F28-3F3E3E3D9073}"/>
              </a:ext>
            </a:extLst>
          </p:cNvPr>
          <p:cNvSpPr>
            <a:spLocks noChangeArrowheads="1"/>
          </p:cNvSpPr>
          <p:nvPr>
            <p:custDataLst>
              <p:tags r:id="rId3"/>
            </p:custDataLst>
          </p:nvPr>
        </p:nvSpPr>
        <p:spPr bwMode="auto">
          <a:xfrm>
            <a:off x="5229777" y="1219200"/>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7" name="Oval 30">
            <a:extLst>
              <a:ext uri="{FF2B5EF4-FFF2-40B4-BE49-F238E27FC236}">
                <a16:creationId xmlns:a16="http://schemas.microsoft.com/office/drawing/2014/main" id="{9EF2D2CB-9B51-4581-B970-87CD997AF912}"/>
              </a:ext>
            </a:extLst>
          </p:cNvPr>
          <p:cNvSpPr>
            <a:spLocks noChangeArrowheads="1"/>
          </p:cNvSpPr>
          <p:nvPr>
            <p:custDataLst>
              <p:tags r:id="rId4"/>
            </p:custDataLst>
          </p:nvPr>
        </p:nvSpPr>
        <p:spPr bwMode="auto">
          <a:xfrm>
            <a:off x="7927100" y="2248394"/>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8" name="Oval 31">
            <a:extLst>
              <a:ext uri="{FF2B5EF4-FFF2-40B4-BE49-F238E27FC236}">
                <a16:creationId xmlns:a16="http://schemas.microsoft.com/office/drawing/2014/main" id="{26F0F21D-E590-452A-B0F4-2A20141B664F}"/>
              </a:ext>
            </a:extLst>
          </p:cNvPr>
          <p:cNvSpPr>
            <a:spLocks noChangeArrowheads="1"/>
          </p:cNvSpPr>
          <p:nvPr>
            <p:custDataLst>
              <p:tags r:id="rId5"/>
            </p:custDataLst>
          </p:nvPr>
        </p:nvSpPr>
        <p:spPr bwMode="auto">
          <a:xfrm>
            <a:off x="7939591" y="4306782"/>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9" name="Oval 32">
            <a:extLst>
              <a:ext uri="{FF2B5EF4-FFF2-40B4-BE49-F238E27FC236}">
                <a16:creationId xmlns:a16="http://schemas.microsoft.com/office/drawing/2014/main" id="{EBFC42FF-CBD2-4C80-A1D9-479887AD2DDD}"/>
              </a:ext>
            </a:extLst>
          </p:cNvPr>
          <p:cNvSpPr>
            <a:spLocks noChangeArrowheads="1"/>
          </p:cNvSpPr>
          <p:nvPr>
            <p:custDataLst>
              <p:tags r:id="rId6"/>
            </p:custDataLst>
          </p:nvPr>
        </p:nvSpPr>
        <p:spPr bwMode="auto">
          <a:xfrm>
            <a:off x="2532452" y="4306782"/>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30" name="Oval 34">
            <a:extLst>
              <a:ext uri="{FF2B5EF4-FFF2-40B4-BE49-F238E27FC236}">
                <a16:creationId xmlns:a16="http://schemas.microsoft.com/office/drawing/2014/main" id="{C45A55B3-A8C7-4978-891B-64842C5D30C4}"/>
              </a:ext>
            </a:extLst>
          </p:cNvPr>
          <p:cNvSpPr>
            <a:spLocks noChangeArrowheads="1"/>
          </p:cNvSpPr>
          <p:nvPr>
            <p:custDataLst>
              <p:tags r:id="rId7"/>
            </p:custDataLst>
          </p:nvPr>
        </p:nvSpPr>
        <p:spPr bwMode="auto">
          <a:xfrm>
            <a:off x="5229777" y="5335976"/>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31" name="Oval 35">
            <a:extLst>
              <a:ext uri="{FF2B5EF4-FFF2-40B4-BE49-F238E27FC236}">
                <a16:creationId xmlns:a16="http://schemas.microsoft.com/office/drawing/2014/main" id="{30DB9F3A-14B8-4D55-8505-19E1EAB4D2B6}"/>
              </a:ext>
            </a:extLst>
          </p:cNvPr>
          <p:cNvSpPr>
            <a:spLocks noChangeArrowheads="1"/>
          </p:cNvSpPr>
          <p:nvPr>
            <p:custDataLst>
              <p:tags r:id="rId8"/>
            </p:custDataLst>
          </p:nvPr>
        </p:nvSpPr>
        <p:spPr bwMode="auto">
          <a:xfrm>
            <a:off x="2532452" y="2248394"/>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32" name="AutoShape 40">
            <a:extLst>
              <a:ext uri="{FF2B5EF4-FFF2-40B4-BE49-F238E27FC236}">
                <a16:creationId xmlns:a16="http://schemas.microsoft.com/office/drawing/2014/main" id="{09CD994C-17A9-4170-A2D8-752ADB9DFAB4}"/>
              </a:ext>
            </a:extLst>
          </p:cNvPr>
          <p:cNvCxnSpPr>
            <a:cxnSpLocks noChangeShapeType="1"/>
            <a:endCxn id="31" idx="3"/>
          </p:cNvCxnSpPr>
          <p:nvPr>
            <p:custDataLst>
              <p:tags r:id="rId9"/>
            </p:custDataLst>
          </p:nvPr>
        </p:nvCxnSpPr>
        <p:spPr bwMode="auto">
          <a:xfrm flipH="1" flipV="1">
            <a:off x="4692452" y="2518394"/>
            <a:ext cx="573821" cy="499794"/>
          </a:xfrm>
          <a:prstGeom prst="straightConnector1">
            <a:avLst/>
          </a:prstGeom>
          <a:noFill/>
          <a:ln w="12700" cap="rnd">
            <a:solidFill>
              <a:schemeClr val="accent2"/>
            </a:solidFill>
            <a:prstDash val="solid"/>
            <a:round/>
            <a:headEnd type="triangle"/>
            <a:tailEnd/>
          </a:ln>
          <a:effectLst/>
        </p:spPr>
      </p:cxnSp>
      <p:cxnSp>
        <p:nvCxnSpPr>
          <p:cNvPr id="33" name="AutoShape 40">
            <a:extLst>
              <a:ext uri="{FF2B5EF4-FFF2-40B4-BE49-F238E27FC236}">
                <a16:creationId xmlns:a16="http://schemas.microsoft.com/office/drawing/2014/main" id="{C31CD73D-BDD7-4D35-A674-DBA5B1F35777}"/>
              </a:ext>
            </a:extLst>
          </p:cNvPr>
          <p:cNvCxnSpPr>
            <a:cxnSpLocks noChangeShapeType="1"/>
            <a:endCxn id="29" idx="3"/>
          </p:cNvCxnSpPr>
          <p:nvPr>
            <p:custDataLst>
              <p:tags r:id="rId10"/>
            </p:custDataLst>
          </p:nvPr>
        </p:nvCxnSpPr>
        <p:spPr bwMode="auto">
          <a:xfrm flipH="1">
            <a:off x="4692452" y="4061964"/>
            <a:ext cx="573821" cy="514818"/>
          </a:xfrm>
          <a:prstGeom prst="straightConnector1">
            <a:avLst/>
          </a:prstGeom>
          <a:noFill/>
          <a:ln w="12700" cap="rnd">
            <a:solidFill>
              <a:schemeClr val="accent2"/>
            </a:solidFill>
            <a:prstDash val="solid"/>
            <a:round/>
            <a:headEnd type="triangle"/>
            <a:tailEnd/>
          </a:ln>
          <a:effectLst/>
        </p:spPr>
      </p:cxnSp>
      <p:cxnSp>
        <p:nvCxnSpPr>
          <p:cNvPr id="34" name="AutoShape 40">
            <a:extLst>
              <a:ext uri="{FF2B5EF4-FFF2-40B4-BE49-F238E27FC236}">
                <a16:creationId xmlns:a16="http://schemas.microsoft.com/office/drawing/2014/main" id="{F0EABF0A-A4F0-4803-9AFD-6B52F95E3394}"/>
              </a:ext>
            </a:extLst>
          </p:cNvPr>
          <p:cNvCxnSpPr>
            <a:cxnSpLocks noChangeShapeType="1"/>
            <a:endCxn id="27" idx="1"/>
          </p:cNvCxnSpPr>
          <p:nvPr>
            <p:custDataLst>
              <p:tags r:id="rId11"/>
            </p:custDataLst>
          </p:nvPr>
        </p:nvCxnSpPr>
        <p:spPr bwMode="auto">
          <a:xfrm flipV="1">
            <a:off x="7353279" y="2518394"/>
            <a:ext cx="573821" cy="499794"/>
          </a:xfrm>
          <a:prstGeom prst="straightConnector1">
            <a:avLst/>
          </a:prstGeom>
          <a:noFill/>
          <a:ln w="12700" cap="rnd">
            <a:solidFill>
              <a:schemeClr val="accent2"/>
            </a:solidFill>
            <a:prstDash val="solid"/>
            <a:round/>
            <a:headEnd type="triangle"/>
            <a:tailEnd/>
          </a:ln>
          <a:effectLst/>
        </p:spPr>
      </p:cxnSp>
      <p:cxnSp>
        <p:nvCxnSpPr>
          <p:cNvPr id="35" name="AutoShape 40">
            <a:extLst>
              <a:ext uri="{FF2B5EF4-FFF2-40B4-BE49-F238E27FC236}">
                <a16:creationId xmlns:a16="http://schemas.microsoft.com/office/drawing/2014/main" id="{A009EDEA-CEB3-4A3E-9333-32CD7A2A5B5E}"/>
              </a:ext>
            </a:extLst>
          </p:cNvPr>
          <p:cNvCxnSpPr>
            <a:cxnSpLocks noChangeShapeType="1"/>
            <a:endCxn id="28" idx="1"/>
          </p:cNvCxnSpPr>
          <p:nvPr>
            <p:custDataLst>
              <p:tags r:id="rId12"/>
            </p:custDataLst>
          </p:nvPr>
        </p:nvCxnSpPr>
        <p:spPr bwMode="auto">
          <a:xfrm>
            <a:off x="7353279" y="4076988"/>
            <a:ext cx="586312" cy="499794"/>
          </a:xfrm>
          <a:prstGeom prst="straightConnector1">
            <a:avLst/>
          </a:prstGeom>
          <a:noFill/>
          <a:ln w="12700" cap="rnd">
            <a:solidFill>
              <a:schemeClr val="accent2"/>
            </a:solidFill>
            <a:prstDash val="solid"/>
            <a:round/>
            <a:headEnd type="triangle"/>
            <a:tailEnd/>
          </a:ln>
          <a:effectLst/>
        </p:spPr>
      </p:cxnSp>
      <p:sp>
        <p:nvSpPr>
          <p:cNvPr id="36" name="Oval 30">
            <a:extLst>
              <a:ext uri="{FF2B5EF4-FFF2-40B4-BE49-F238E27FC236}">
                <a16:creationId xmlns:a16="http://schemas.microsoft.com/office/drawing/2014/main" id="{F5E36134-27CB-4781-97C7-C70F0F957253}"/>
              </a:ext>
            </a:extLst>
          </p:cNvPr>
          <p:cNvSpPr>
            <a:spLocks noChangeArrowheads="1"/>
          </p:cNvSpPr>
          <p:nvPr>
            <p:custDataLst>
              <p:tags r:id="rId13"/>
            </p:custDataLst>
          </p:nvPr>
        </p:nvSpPr>
        <p:spPr bwMode="auto">
          <a:xfrm>
            <a:off x="8464363" y="3277588"/>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37" name="Oval 35">
            <a:extLst>
              <a:ext uri="{FF2B5EF4-FFF2-40B4-BE49-F238E27FC236}">
                <a16:creationId xmlns:a16="http://schemas.microsoft.com/office/drawing/2014/main" id="{9D1802BB-FF98-4542-A919-69E3EE1C118E}"/>
              </a:ext>
            </a:extLst>
          </p:cNvPr>
          <p:cNvSpPr>
            <a:spLocks noChangeArrowheads="1"/>
          </p:cNvSpPr>
          <p:nvPr>
            <p:custDataLst>
              <p:tags r:id="rId14"/>
            </p:custDataLst>
          </p:nvPr>
        </p:nvSpPr>
        <p:spPr bwMode="auto">
          <a:xfrm>
            <a:off x="1995189" y="3277588"/>
            <a:ext cx="2160000" cy="540000"/>
          </a:xfrm>
          <a:prstGeom prst="rect">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cxnSp>
        <p:nvCxnSpPr>
          <p:cNvPr id="38" name="Straight Arrow Connector 37">
            <a:extLst>
              <a:ext uri="{FF2B5EF4-FFF2-40B4-BE49-F238E27FC236}">
                <a16:creationId xmlns:a16="http://schemas.microsoft.com/office/drawing/2014/main" id="{1BF1B279-BEBE-4B94-A42D-1A2FF2EA21D0}"/>
              </a:ext>
            </a:extLst>
          </p:cNvPr>
          <p:cNvCxnSpPr>
            <a:stCxn id="37" idx="3"/>
          </p:cNvCxnSpPr>
          <p:nvPr/>
        </p:nvCxnSpPr>
        <p:spPr>
          <a:xfrm>
            <a:off x="4155189" y="3547588"/>
            <a:ext cx="1111084"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3868A215-CA8D-45D8-9BB1-A4137769FD01}"/>
              </a:ext>
            </a:extLst>
          </p:cNvPr>
          <p:cNvCxnSpPr>
            <a:cxnSpLocks/>
            <a:stCxn id="36" idx="1"/>
          </p:cNvCxnSpPr>
          <p:nvPr/>
        </p:nvCxnSpPr>
        <p:spPr>
          <a:xfrm flipH="1">
            <a:off x="7353279" y="3547588"/>
            <a:ext cx="1111084"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0" name="Oval 6">
            <a:extLst>
              <a:ext uri="{FF2B5EF4-FFF2-40B4-BE49-F238E27FC236}">
                <a16:creationId xmlns:a16="http://schemas.microsoft.com/office/drawing/2014/main" id="{68246178-6609-4025-A38D-22F2A346FEFD}"/>
              </a:ext>
            </a:extLst>
          </p:cNvPr>
          <p:cNvSpPr>
            <a:spLocks noChangeArrowheads="1"/>
          </p:cNvSpPr>
          <p:nvPr/>
        </p:nvSpPr>
        <p:spPr bwMode="auto">
          <a:xfrm>
            <a:off x="5379938" y="2608560"/>
            <a:ext cx="1859676" cy="1878056"/>
          </a:xfrm>
          <a:prstGeom prst="ellipse">
            <a:avLst/>
          </a:prstGeom>
          <a:solidFill>
            <a:schemeClr val="accent1"/>
          </a:solidFill>
          <a:ln w="6350">
            <a:noFill/>
            <a:round/>
            <a:headEnd/>
            <a:tailEnd/>
          </a:ln>
          <a:effectLst/>
        </p:spPr>
        <p:txBody>
          <a:bodyPr wrap="none" lIns="72000" tIns="72000" rIns="72000" bIns="72000" anchor="ctr" anchorCtr="1"/>
          <a:lstStyle/>
          <a:p>
            <a:pPr marL="179388" indent="-179388" algn="ctr" eaLnBrk="0" hangingPunct="0">
              <a:lnSpc>
                <a:spcPct val="85000"/>
              </a:lnSpc>
              <a:spcBef>
                <a:spcPts val="100"/>
              </a:spcBef>
              <a:spcAft>
                <a:spcPts val="300"/>
              </a:spcAft>
            </a:pPr>
            <a:r>
              <a:rPr lang="en-US" b="1" dirty="0">
                <a:solidFill>
                  <a:schemeClr val="bg1"/>
                </a:solidFill>
                <a:latin typeface="+mj-lt"/>
              </a:rPr>
              <a:t>Text</a:t>
            </a:r>
          </a:p>
        </p:txBody>
      </p:sp>
    </p:spTree>
    <p:extLst>
      <p:ext uri="{BB962C8B-B14F-4D97-AF65-F5344CB8AC3E}">
        <p14:creationId xmlns:p14="http://schemas.microsoft.com/office/powerpoint/2010/main" val="186587655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Porter’s five forces</a:t>
            </a:r>
          </a:p>
        </p:txBody>
      </p:sp>
      <p:sp>
        <p:nvSpPr>
          <p:cNvPr id="4" name="Freeform: Shape 3">
            <a:hlinkClick r:id="rId7"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7" action="ppaction://hlinksldjump"/>
            <a:extLst>
              <a:ext uri="{FF2B5EF4-FFF2-40B4-BE49-F238E27FC236}">
                <a16:creationId xmlns:a16="http://schemas.microsoft.com/office/drawing/2014/main" id="{2797486E-2D9A-49AB-A025-78FFB429F2E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7" name="Group 16">
            <a:extLst>
              <a:ext uri="{FF2B5EF4-FFF2-40B4-BE49-F238E27FC236}">
                <a16:creationId xmlns:a16="http://schemas.microsoft.com/office/drawing/2014/main" id="{6E80E624-0646-43B7-AE70-8C7967E8148B}"/>
              </a:ext>
            </a:extLst>
          </p:cNvPr>
          <p:cNvGrpSpPr>
            <a:grpSpLocks noChangeAspect="1"/>
          </p:cNvGrpSpPr>
          <p:nvPr/>
        </p:nvGrpSpPr>
        <p:grpSpPr>
          <a:xfrm>
            <a:off x="4238936" y="1822369"/>
            <a:ext cx="3780000" cy="3780000"/>
            <a:chOff x="4250007" y="1487819"/>
            <a:chExt cx="4424338" cy="4424338"/>
          </a:xfrm>
        </p:grpSpPr>
        <p:sp>
          <p:nvSpPr>
            <p:cNvPr id="18" name="Rectangle 17">
              <a:extLst>
                <a:ext uri="{FF2B5EF4-FFF2-40B4-BE49-F238E27FC236}">
                  <a16:creationId xmlns:a16="http://schemas.microsoft.com/office/drawing/2014/main" id="{1CAFCBC5-7462-4711-BD2C-E902AC0BD22E}"/>
                </a:ext>
              </a:extLst>
            </p:cNvPr>
            <p:cNvSpPr/>
            <p:nvPr/>
          </p:nvSpPr>
          <p:spPr>
            <a:xfrm>
              <a:off x="4250007" y="1487819"/>
              <a:ext cx="4424338" cy="4424338"/>
            </a:xfrm>
            <a:prstGeom prst="rect">
              <a:avLst/>
            </a:prstGeom>
            <a:solidFill>
              <a:schemeClr val="tx2">
                <a:lumMod val="20000"/>
                <a:lumOff val="80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 name="Rectangle 18">
              <a:extLst>
                <a:ext uri="{FF2B5EF4-FFF2-40B4-BE49-F238E27FC236}">
                  <a16:creationId xmlns:a16="http://schemas.microsoft.com/office/drawing/2014/main" id="{C7FF5BD1-C51A-4C1A-ADB5-09BAFA651D73}"/>
                </a:ext>
              </a:extLst>
            </p:cNvPr>
            <p:cNvSpPr/>
            <p:nvPr/>
          </p:nvSpPr>
          <p:spPr>
            <a:xfrm>
              <a:off x="4617634" y="1855446"/>
              <a:ext cx="3689084" cy="3689084"/>
            </a:xfrm>
            <a:prstGeom prst="rect">
              <a:avLst/>
            </a:prstGeom>
            <a:pattFill prst="dkUpDiag">
              <a:fgClr>
                <a:schemeClr val="tx2">
                  <a:lumMod val="20000"/>
                  <a:lumOff val="80000"/>
                </a:schemeClr>
              </a:fgClr>
              <a:bgClr>
                <a:schemeClr val="bg1"/>
              </a:bgClr>
            </a:patt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0" name="Diamond 19">
              <a:extLst>
                <a:ext uri="{FF2B5EF4-FFF2-40B4-BE49-F238E27FC236}">
                  <a16:creationId xmlns:a16="http://schemas.microsoft.com/office/drawing/2014/main" id="{5A9A146A-392F-4218-8D55-4E615C360949}"/>
                </a:ext>
              </a:extLst>
            </p:cNvPr>
            <p:cNvSpPr>
              <a:spLocks noChangeAspect="1"/>
            </p:cNvSpPr>
            <p:nvPr/>
          </p:nvSpPr>
          <p:spPr>
            <a:xfrm>
              <a:off x="4250007" y="1487819"/>
              <a:ext cx="4424338" cy="4424338"/>
            </a:xfrm>
            <a:prstGeom prst="diamond">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eaLnBrk="0" hangingPunct="0">
                <a:lnSpc>
                  <a:spcPct val="85000"/>
                </a:lnSpc>
                <a:spcBef>
                  <a:spcPts val="100"/>
                </a:spcBef>
                <a:spcAft>
                  <a:spcPts val="300"/>
                </a:spcAft>
              </a:pPr>
              <a:r>
                <a:rPr lang="en-US" b="1" dirty="0">
                  <a:solidFill>
                    <a:schemeClr val="bg1"/>
                  </a:solidFill>
                  <a:latin typeface="+mj-lt"/>
                </a:rPr>
                <a:t>Internal competition</a:t>
              </a:r>
            </a:p>
            <a:p>
              <a:pPr algn="ctr" eaLnBrk="0" hangingPunct="0">
                <a:spcBef>
                  <a:spcPts val="100"/>
                </a:spcBef>
                <a:spcAft>
                  <a:spcPts val="100"/>
                </a:spcAft>
              </a:pPr>
              <a:r>
                <a:rPr lang="en-US" dirty="0">
                  <a:solidFill>
                    <a:schemeClr val="bg1"/>
                  </a:solidFill>
                </a:rPr>
                <a:t>Insert text</a:t>
              </a:r>
            </a:p>
          </p:txBody>
        </p:sp>
      </p:grpSp>
      <p:sp>
        <p:nvSpPr>
          <p:cNvPr id="21" name="Rectangle 7">
            <a:extLst>
              <a:ext uri="{FF2B5EF4-FFF2-40B4-BE49-F238E27FC236}">
                <a16:creationId xmlns:a16="http://schemas.microsoft.com/office/drawing/2014/main" id="{4A691253-33B7-404F-9F10-23319E627187}"/>
              </a:ext>
            </a:extLst>
          </p:cNvPr>
          <p:cNvSpPr>
            <a:spLocks noChangeArrowheads="1"/>
          </p:cNvSpPr>
          <p:nvPr>
            <p:custDataLst>
              <p:tags r:id="rId1"/>
            </p:custDataLst>
          </p:nvPr>
        </p:nvSpPr>
        <p:spPr bwMode="auto">
          <a:xfrm>
            <a:off x="345019" y="3712370"/>
            <a:ext cx="2690488" cy="1890000"/>
          </a:xfrm>
          <a:prstGeom prst="rect">
            <a:avLst/>
          </a:prstGeom>
          <a:noFill/>
          <a:ln w="6350">
            <a:noFill/>
            <a:miter lim="800000"/>
            <a:headEnd/>
            <a:tailEnd/>
          </a:ln>
          <a:effectLst/>
        </p:spPr>
        <p:txBody>
          <a:bodyPr lIns="0" tIns="0" rIns="0" bIns="0" anchor="ctr" anchorCtr="0"/>
          <a:lstStyle/>
          <a:p>
            <a:pPr algn="r" eaLnBrk="0" hangingPunct="0">
              <a:lnSpc>
                <a:spcPct val="80000"/>
              </a:lnSpc>
            </a:pPr>
            <a:r>
              <a:rPr lang="en-US" b="1" dirty="0">
                <a:solidFill>
                  <a:schemeClr val="accent2"/>
                </a:solidFill>
                <a:latin typeface="+mj-lt"/>
              </a:rPr>
              <a:t>Suppliers</a:t>
            </a:r>
          </a:p>
          <a:p>
            <a:pPr algn="r" eaLnBrk="0" hangingPunct="0">
              <a:lnSpc>
                <a:spcPct val="90000"/>
              </a:lnSpc>
              <a:spcBef>
                <a:spcPts val="100"/>
              </a:spcBef>
              <a:spcAft>
                <a:spcPts val="1200"/>
              </a:spcAft>
            </a:pPr>
            <a:r>
              <a:rPr lang="en-US" dirty="0"/>
              <a:t>Insert text here</a:t>
            </a:r>
          </a:p>
        </p:txBody>
      </p:sp>
      <p:sp>
        <p:nvSpPr>
          <p:cNvPr id="22" name="Rectangle 7">
            <a:extLst>
              <a:ext uri="{FF2B5EF4-FFF2-40B4-BE49-F238E27FC236}">
                <a16:creationId xmlns:a16="http://schemas.microsoft.com/office/drawing/2014/main" id="{A6786F16-C30B-479E-AE55-F08783788B4D}"/>
              </a:ext>
            </a:extLst>
          </p:cNvPr>
          <p:cNvSpPr>
            <a:spLocks noChangeArrowheads="1"/>
          </p:cNvSpPr>
          <p:nvPr>
            <p:custDataLst>
              <p:tags r:id="rId2"/>
            </p:custDataLst>
          </p:nvPr>
        </p:nvSpPr>
        <p:spPr bwMode="auto">
          <a:xfrm>
            <a:off x="9161245" y="3712369"/>
            <a:ext cx="2694205" cy="1890001"/>
          </a:xfrm>
          <a:prstGeom prst="rect">
            <a:avLst/>
          </a:prstGeom>
          <a:noFill/>
          <a:ln w="6350">
            <a:noFill/>
            <a:miter lim="800000"/>
            <a:headEnd/>
            <a:tailEnd/>
          </a:ln>
          <a:effectLst/>
        </p:spPr>
        <p:txBody>
          <a:bodyPr lIns="0" tIns="0" rIns="0" bIns="0" anchor="ctr" anchorCtr="0"/>
          <a:lstStyle/>
          <a:p>
            <a:pPr eaLnBrk="0" hangingPunct="0">
              <a:lnSpc>
                <a:spcPct val="80000"/>
              </a:lnSpc>
            </a:pPr>
            <a:r>
              <a:rPr lang="en-US" b="1" dirty="0">
                <a:solidFill>
                  <a:schemeClr val="accent2"/>
                </a:solidFill>
                <a:latin typeface="+mj-lt"/>
              </a:rPr>
              <a:t>Substitutes</a:t>
            </a:r>
          </a:p>
          <a:p>
            <a:pPr eaLnBrk="0" hangingPunct="0">
              <a:lnSpc>
                <a:spcPct val="90000"/>
              </a:lnSpc>
              <a:spcBef>
                <a:spcPts val="100"/>
              </a:spcBef>
              <a:spcAft>
                <a:spcPts val="1200"/>
              </a:spcAft>
            </a:pPr>
            <a:r>
              <a:rPr lang="en-US" dirty="0"/>
              <a:t>Insert text here</a:t>
            </a:r>
          </a:p>
        </p:txBody>
      </p:sp>
      <p:sp>
        <p:nvSpPr>
          <p:cNvPr id="23" name="Rectangle 7">
            <a:extLst>
              <a:ext uri="{FF2B5EF4-FFF2-40B4-BE49-F238E27FC236}">
                <a16:creationId xmlns:a16="http://schemas.microsoft.com/office/drawing/2014/main" id="{9973C8D6-A13B-453B-A3D6-B154606E7A60}"/>
              </a:ext>
            </a:extLst>
          </p:cNvPr>
          <p:cNvSpPr>
            <a:spLocks noChangeArrowheads="1"/>
          </p:cNvSpPr>
          <p:nvPr>
            <p:custDataLst>
              <p:tags r:id="rId3"/>
            </p:custDataLst>
          </p:nvPr>
        </p:nvSpPr>
        <p:spPr bwMode="auto">
          <a:xfrm>
            <a:off x="345019" y="1822369"/>
            <a:ext cx="2690488" cy="1890000"/>
          </a:xfrm>
          <a:prstGeom prst="rect">
            <a:avLst/>
          </a:prstGeom>
          <a:noFill/>
          <a:ln w="6350">
            <a:noFill/>
            <a:miter lim="800000"/>
            <a:headEnd/>
            <a:tailEnd/>
          </a:ln>
          <a:effectLst/>
        </p:spPr>
        <p:txBody>
          <a:bodyPr lIns="0" tIns="0" rIns="0" bIns="0" anchor="ctr" anchorCtr="0"/>
          <a:lstStyle/>
          <a:p>
            <a:pPr algn="r" eaLnBrk="0" hangingPunct="0">
              <a:lnSpc>
                <a:spcPct val="80000"/>
              </a:lnSpc>
            </a:pPr>
            <a:r>
              <a:rPr lang="en-US" b="1" dirty="0">
                <a:solidFill>
                  <a:schemeClr val="accent2"/>
                </a:solidFill>
                <a:latin typeface="+mj-lt"/>
              </a:rPr>
              <a:t>New entrants</a:t>
            </a:r>
          </a:p>
          <a:p>
            <a:pPr algn="r" eaLnBrk="0" hangingPunct="0">
              <a:lnSpc>
                <a:spcPct val="90000"/>
              </a:lnSpc>
              <a:spcBef>
                <a:spcPts val="100"/>
              </a:spcBef>
              <a:spcAft>
                <a:spcPts val="1200"/>
              </a:spcAft>
            </a:pPr>
            <a:r>
              <a:rPr lang="en-US" dirty="0"/>
              <a:t>Insert text here</a:t>
            </a:r>
          </a:p>
        </p:txBody>
      </p:sp>
      <p:cxnSp>
        <p:nvCxnSpPr>
          <p:cNvPr id="24" name="Straight Arrow Connector 23">
            <a:extLst>
              <a:ext uri="{FF2B5EF4-FFF2-40B4-BE49-F238E27FC236}">
                <a16:creationId xmlns:a16="http://schemas.microsoft.com/office/drawing/2014/main" id="{E5AA5FD4-4ED5-4210-A44C-869E60143A07}"/>
              </a:ext>
            </a:extLst>
          </p:cNvPr>
          <p:cNvCxnSpPr/>
          <p:nvPr/>
        </p:nvCxnSpPr>
        <p:spPr>
          <a:xfrm>
            <a:off x="3170963" y="4694244"/>
            <a:ext cx="1676459" cy="0"/>
          </a:xfrm>
          <a:prstGeom prst="straightConnector1">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F06F13B-70C6-4933-A76F-5C8D9DD8F93B}"/>
              </a:ext>
            </a:extLst>
          </p:cNvPr>
          <p:cNvCxnSpPr/>
          <p:nvPr/>
        </p:nvCxnSpPr>
        <p:spPr>
          <a:xfrm>
            <a:off x="3170963" y="2804243"/>
            <a:ext cx="1676459" cy="0"/>
          </a:xfrm>
          <a:prstGeom prst="straightConnector1">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Rectangle 7">
            <a:extLst>
              <a:ext uri="{FF2B5EF4-FFF2-40B4-BE49-F238E27FC236}">
                <a16:creationId xmlns:a16="http://schemas.microsoft.com/office/drawing/2014/main" id="{6D3DB0E7-2DA2-4683-9ECC-FA25564D81E3}"/>
              </a:ext>
            </a:extLst>
          </p:cNvPr>
          <p:cNvSpPr>
            <a:spLocks noChangeArrowheads="1"/>
          </p:cNvSpPr>
          <p:nvPr>
            <p:custDataLst>
              <p:tags r:id="rId4"/>
            </p:custDataLst>
          </p:nvPr>
        </p:nvSpPr>
        <p:spPr bwMode="auto">
          <a:xfrm>
            <a:off x="9161245" y="1822368"/>
            <a:ext cx="2694205" cy="1890001"/>
          </a:xfrm>
          <a:prstGeom prst="rect">
            <a:avLst/>
          </a:prstGeom>
          <a:noFill/>
          <a:ln w="6350">
            <a:noFill/>
            <a:miter lim="800000"/>
            <a:headEnd/>
            <a:tailEnd/>
          </a:ln>
          <a:effectLst/>
        </p:spPr>
        <p:txBody>
          <a:bodyPr lIns="0" tIns="0" rIns="0" bIns="0" anchor="ctr" anchorCtr="0"/>
          <a:lstStyle/>
          <a:p>
            <a:pPr eaLnBrk="0" hangingPunct="0">
              <a:lnSpc>
                <a:spcPct val="80000"/>
              </a:lnSpc>
            </a:pPr>
            <a:r>
              <a:rPr lang="en-US" b="1" dirty="0">
                <a:solidFill>
                  <a:schemeClr val="accent2"/>
                </a:solidFill>
                <a:latin typeface="+mj-lt"/>
              </a:rPr>
              <a:t>Customers</a:t>
            </a:r>
          </a:p>
          <a:p>
            <a:pPr eaLnBrk="0" hangingPunct="0">
              <a:lnSpc>
                <a:spcPct val="90000"/>
              </a:lnSpc>
              <a:spcBef>
                <a:spcPts val="100"/>
              </a:spcBef>
              <a:spcAft>
                <a:spcPts val="1200"/>
              </a:spcAft>
            </a:pPr>
            <a:r>
              <a:rPr lang="en-US" dirty="0"/>
              <a:t>Insert text here</a:t>
            </a:r>
          </a:p>
        </p:txBody>
      </p:sp>
      <p:cxnSp>
        <p:nvCxnSpPr>
          <p:cNvPr id="27" name="Straight Arrow Connector 26">
            <a:extLst>
              <a:ext uri="{FF2B5EF4-FFF2-40B4-BE49-F238E27FC236}">
                <a16:creationId xmlns:a16="http://schemas.microsoft.com/office/drawing/2014/main" id="{93C8E3F4-8C53-479F-B3E6-68F8B0428245}"/>
              </a:ext>
            </a:extLst>
          </p:cNvPr>
          <p:cNvCxnSpPr/>
          <p:nvPr/>
        </p:nvCxnSpPr>
        <p:spPr>
          <a:xfrm flipH="1">
            <a:off x="7410450" y="4694244"/>
            <a:ext cx="1676459" cy="0"/>
          </a:xfrm>
          <a:prstGeom prst="straightConnector1">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FAF3EAD-F480-42AC-A64B-7FBAEBC644CD}"/>
              </a:ext>
            </a:extLst>
          </p:cNvPr>
          <p:cNvCxnSpPr/>
          <p:nvPr/>
        </p:nvCxnSpPr>
        <p:spPr>
          <a:xfrm flipH="1">
            <a:off x="7410450" y="2804243"/>
            <a:ext cx="1676459" cy="0"/>
          </a:xfrm>
          <a:prstGeom prst="straightConnector1">
            <a:avLst/>
          </a:prstGeom>
          <a:ln w="19050" cap="rnd">
            <a:solidFill>
              <a:schemeClr val="tx2">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73379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actors 1</a:t>
            </a:r>
          </a:p>
        </p:txBody>
      </p:sp>
      <p:sp>
        <p:nvSpPr>
          <p:cNvPr id="4" name="Freeform: Shape 3">
            <a:hlinkClick r:id="rId9"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9" action="ppaction://hlinksldjump"/>
            <a:extLst>
              <a:ext uri="{FF2B5EF4-FFF2-40B4-BE49-F238E27FC236}">
                <a16:creationId xmlns:a16="http://schemas.microsoft.com/office/drawing/2014/main" id="{37C30AB9-C812-4CB7-B4EE-C4544E6F6DB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3" name="Oval 12">
            <a:extLst>
              <a:ext uri="{FF2B5EF4-FFF2-40B4-BE49-F238E27FC236}">
                <a16:creationId xmlns:a16="http://schemas.microsoft.com/office/drawing/2014/main" id="{55F8D428-6806-4834-8FA7-78C8FD532ACC}"/>
              </a:ext>
            </a:extLst>
          </p:cNvPr>
          <p:cNvSpPr>
            <a:spLocks noChangeAspect="1" noChangeArrowheads="1"/>
          </p:cNvSpPr>
          <p:nvPr/>
        </p:nvSpPr>
        <p:spPr bwMode="auto">
          <a:xfrm>
            <a:off x="4348090" y="1799809"/>
            <a:ext cx="3564000" cy="3564000"/>
          </a:xfrm>
          <a:prstGeom prst="ellipse">
            <a:avLst/>
          </a:prstGeom>
          <a:solidFill>
            <a:schemeClr val="tx2">
              <a:lumMod val="20000"/>
              <a:lumOff val="80000"/>
            </a:schemeClr>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accent2"/>
                </a:solidFill>
                <a:latin typeface="+mj-lt"/>
              </a:rPr>
              <a:t>Text</a:t>
            </a:r>
          </a:p>
          <a:p>
            <a:pPr algn="ctr" eaLnBrk="0" hangingPunct="0">
              <a:spcBef>
                <a:spcPts val="100"/>
              </a:spcBef>
              <a:spcAft>
                <a:spcPts val="100"/>
              </a:spcAft>
            </a:pPr>
            <a:r>
              <a:rPr lang="en-US" dirty="0"/>
              <a:t>Text</a:t>
            </a:r>
          </a:p>
          <a:p>
            <a:pPr algn="ctr" eaLnBrk="0" hangingPunct="0">
              <a:spcBef>
                <a:spcPts val="100"/>
              </a:spcBef>
              <a:spcAft>
                <a:spcPts val="100"/>
              </a:spcAft>
            </a:pPr>
            <a:r>
              <a:rPr lang="en-US" dirty="0"/>
              <a:t>Text</a:t>
            </a:r>
          </a:p>
          <a:p>
            <a:pPr algn="ctr" eaLnBrk="0" hangingPunct="0">
              <a:spcBef>
                <a:spcPts val="100"/>
              </a:spcBef>
              <a:spcAft>
                <a:spcPts val="100"/>
              </a:spcAft>
            </a:pPr>
            <a:r>
              <a:rPr lang="en-US" dirty="0"/>
              <a:t>Text</a:t>
            </a:r>
          </a:p>
        </p:txBody>
      </p:sp>
      <p:sp>
        <p:nvSpPr>
          <p:cNvPr id="15" name="Oval 29">
            <a:extLst>
              <a:ext uri="{FF2B5EF4-FFF2-40B4-BE49-F238E27FC236}">
                <a16:creationId xmlns:a16="http://schemas.microsoft.com/office/drawing/2014/main" id="{D768426B-4AFF-4FAC-8FF9-0051994B4937}"/>
              </a:ext>
            </a:extLst>
          </p:cNvPr>
          <p:cNvSpPr>
            <a:spLocks noChangeArrowheads="1"/>
          </p:cNvSpPr>
          <p:nvPr>
            <p:custDataLst>
              <p:tags r:id="rId1"/>
            </p:custDataLst>
          </p:nvPr>
        </p:nvSpPr>
        <p:spPr bwMode="auto">
          <a:xfrm>
            <a:off x="5481914" y="1219200"/>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17" name="Oval 30">
            <a:extLst>
              <a:ext uri="{FF2B5EF4-FFF2-40B4-BE49-F238E27FC236}">
                <a16:creationId xmlns:a16="http://schemas.microsoft.com/office/drawing/2014/main" id="{4394D79F-276E-4950-9727-EFFC5701AE41}"/>
              </a:ext>
            </a:extLst>
          </p:cNvPr>
          <p:cNvSpPr>
            <a:spLocks noChangeArrowheads="1"/>
          </p:cNvSpPr>
          <p:nvPr>
            <p:custDataLst>
              <p:tags r:id="rId2"/>
            </p:custDataLst>
          </p:nvPr>
        </p:nvSpPr>
        <p:spPr bwMode="auto">
          <a:xfrm>
            <a:off x="7263600" y="1995663"/>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19" name="Oval 31">
            <a:extLst>
              <a:ext uri="{FF2B5EF4-FFF2-40B4-BE49-F238E27FC236}">
                <a16:creationId xmlns:a16="http://schemas.microsoft.com/office/drawing/2014/main" id="{5DCD7F2C-8FC8-4651-93DB-C36EB43A3E1A}"/>
              </a:ext>
            </a:extLst>
          </p:cNvPr>
          <p:cNvSpPr>
            <a:spLocks noChangeArrowheads="1"/>
          </p:cNvSpPr>
          <p:nvPr>
            <p:custDataLst>
              <p:tags r:id="rId3"/>
            </p:custDataLst>
          </p:nvPr>
        </p:nvSpPr>
        <p:spPr bwMode="auto">
          <a:xfrm>
            <a:off x="7263600" y="3826471"/>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1" name="Oval 32">
            <a:extLst>
              <a:ext uri="{FF2B5EF4-FFF2-40B4-BE49-F238E27FC236}">
                <a16:creationId xmlns:a16="http://schemas.microsoft.com/office/drawing/2014/main" id="{F6F98FAA-9122-4BA0-942B-F5324CA61522}"/>
              </a:ext>
            </a:extLst>
          </p:cNvPr>
          <p:cNvSpPr>
            <a:spLocks noChangeArrowheads="1"/>
          </p:cNvSpPr>
          <p:nvPr>
            <p:custDataLst>
              <p:tags r:id="rId4"/>
            </p:custDataLst>
          </p:nvPr>
        </p:nvSpPr>
        <p:spPr bwMode="auto">
          <a:xfrm>
            <a:off x="3788323" y="3826471"/>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3" name="Oval 34">
            <a:extLst>
              <a:ext uri="{FF2B5EF4-FFF2-40B4-BE49-F238E27FC236}">
                <a16:creationId xmlns:a16="http://schemas.microsoft.com/office/drawing/2014/main" id="{563A10A9-9D75-4BE0-BC28-501076352AEB}"/>
              </a:ext>
            </a:extLst>
          </p:cNvPr>
          <p:cNvSpPr>
            <a:spLocks noChangeArrowheads="1"/>
          </p:cNvSpPr>
          <p:nvPr>
            <p:custDataLst>
              <p:tags r:id="rId5"/>
            </p:custDataLst>
          </p:nvPr>
        </p:nvSpPr>
        <p:spPr bwMode="auto">
          <a:xfrm>
            <a:off x="5481914" y="4762175"/>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
        <p:nvSpPr>
          <p:cNvPr id="25" name="Oval 35">
            <a:extLst>
              <a:ext uri="{FF2B5EF4-FFF2-40B4-BE49-F238E27FC236}">
                <a16:creationId xmlns:a16="http://schemas.microsoft.com/office/drawing/2014/main" id="{17FB21E7-3E58-4BC5-9BC0-97F8955C1A18}"/>
              </a:ext>
            </a:extLst>
          </p:cNvPr>
          <p:cNvSpPr>
            <a:spLocks noChangeArrowheads="1"/>
          </p:cNvSpPr>
          <p:nvPr>
            <p:custDataLst>
              <p:tags r:id="rId6"/>
            </p:custDataLst>
          </p:nvPr>
        </p:nvSpPr>
        <p:spPr bwMode="auto">
          <a:xfrm>
            <a:off x="3788323" y="1995663"/>
            <a:ext cx="1295725" cy="1295725"/>
          </a:xfrm>
          <a:prstGeom prst="ellipse">
            <a:avLst/>
          </a:prstGeom>
          <a:solidFill>
            <a:schemeClr val="accent2"/>
          </a:solidFill>
          <a:ln w="6350">
            <a:noFill/>
            <a:round/>
            <a:headEnd/>
            <a:tailEnd/>
          </a:ln>
          <a:effectLst/>
        </p:spPr>
        <p:txBody>
          <a:bodyPr wrap="none" lIns="72000" tIns="72000" rIns="72000" bIns="72000" anchor="ctr" anchorCtr="1"/>
          <a:lstStyle/>
          <a:p>
            <a:pPr eaLnBrk="0" hangingPunct="0"/>
            <a:r>
              <a:rPr lang="en-GB" dirty="0">
                <a:solidFill>
                  <a:schemeClr val="bg1"/>
                </a:solidFill>
              </a:rPr>
              <a:t>Text</a:t>
            </a:r>
            <a:endParaRPr lang="en-US" dirty="0">
              <a:solidFill>
                <a:schemeClr val="bg1"/>
              </a:solidFill>
            </a:endParaRPr>
          </a:p>
        </p:txBody>
      </p:sp>
    </p:spTree>
    <p:extLst>
      <p:ext uri="{BB962C8B-B14F-4D97-AF65-F5344CB8AC3E}">
        <p14:creationId xmlns:p14="http://schemas.microsoft.com/office/powerpoint/2010/main" val="53072374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a:t>Factors 2</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cxnSp>
        <p:nvCxnSpPr>
          <p:cNvPr id="5" name="Straight Arrow Connector 4">
            <a:extLst>
              <a:ext uri="{FF2B5EF4-FFF2-40B4-BE49-F238E27FC236}">
                <a16:creationId xmlns:a16="http://schemas.microsoft.com/office/drawing/2014/main" id="{BD82D708-5DB0-4574-98D5-828AE5742094}"/>
              </a:ext>
            </a:extLst>
          </p:cNvPr>
          <p:cNvCxnSpPr>
            <a:endCxn id="6" idx="3"/>
          </p:cNvCxnSpPr>
          <p:nvPr/>
        </p:nvCxnSpPr>
        <p:spPr bwMode="auto">
          <a:xfrm flipH="1">
            <a:off x="3617720" y="3781802"/>
            <a:ext cx="915232" cy="0"/>
          </a:xfrm>
          <a:prstGeom prst="straightConnector1">
            <a:avLst/>
          </a:prstGeom>
          <a:noFill/>
          <a:ln w="19050" cap="rnd" cmpd="sng" algn="ctr">
            <a:solidFill>
              <a:srgbClr val="96968C">
                <a:lumMod val="60000"/>
                <a:lumOff val="40000"/>
              </a:srgbClr>
            </a:solidFill>
            <a:prstDash val="sysDot"/>
            <a:headEnd type="triangle"/>
            <a:tailEnd type="none"/>
          </a:ln>
          <a:effectLst/>
        </p:spPr>
      </p:cxnSp>
      <p:sp>
        <p:nvSpPr>
          <p:cNvPr id="6" name="Rectangle 10">
            <a:extLst>
              <a:ext uri="{FF2B5EF4-FFF2-40B4-BE49-F238E27FC236}">
                <a16:creationId xmlns:a16="http://schemas.microsoft.com/office/drawing/2014/main" id="{FBA1918E-9DDE-46D9-8209-F25DF0161DEC}"/>
              </a:ext>
            </a:extLst>
          </p:cNvPr>
          <p:cNvSpPr>
            <a:spLocks noChangeArrowheads="1"/>
          </p:cNvSpPr>
          <p:nvPr/>
        </p:nvSpPr>
        <p:spPr bwMode="auto">
          <a:xfrm>
            <a:off x="295895" y="3617308"/>
            <a:ext cx="3321825" cy="328987"/>
          </a:xfrm>
          <a:prstGeom prst="rect">
            <a:avLst/>
          </a:prstGeom>
          <a:noFill/>
          <a:ln w="6350">
            <a:noFill/>
            <a:miter lim="800000"/>
            <a:headEnd/>
            <a:tailEnd/>
          </a:ln>
          <a:effectLst/>
        </p:spPr>
        <p:txBody>
          <a:bodyPr wrap="none" lIns="72000" rIns="72000" anchor="ctr" anchorCtr="0"/>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Hexagon 6">
            <a:extLst>
              <a:ext uri="{FF2B5EF4-FFF2-40B4-BE49-F238E27FC236}">
                <a16:creationId xmlns:a16="http://schemas.microsoft.com/office/drawing/2014/main" id="{E4AA4D43-2082-402E-8246-0C2DCB56CE5D}"/>
              </a:ext>
            </a:extLst>
          </p:cNvPr>
          <p:cNvSpPr/>
          <p:nvPr/>
        </p:nvSpPr>
        <p:spPr>
          <a:xfrm>
            <a:off x="4723874" y="2542620"/>
            <a:ext cx="2821020" cy="2431914"/>
          </a:xfrm>
          <a:prstGeom prst="hexagon">
            <a:avLst/>
          </a:prstGeom>
          <a:solidFill>
            <a:schemeClr val="accent2"/>
          </a:solidFill>
          <a:ln w="9525" cap="flat" cmpd="sng" algn="ctr">
            <a:noFill/>
            <a:prstDash val="solid"/>
          </a:ln>
          <a:effectLst/>
        </p:spPr>
        <p:txBody>
          <a:bodyPr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8" name="Rectangle 10">
            <a:extLst>
              <a:ext uri="{FF2B5EF4-FFF2-40B4-BE49-F238E27FC236}">
                <a16:creationId xmlns:a16="http://schemas.microsoft.com/office/drawing/2014/main" id="{44E2A45C-FBC2-4BE3-8025-9440745B890A}"/>
              </a:ext>
            </a:extLst>
          </p:cNvPr>
          <p:cNvSpPr>
            <a:spLocks noChangeArrowheads="1"/>
          </p:cNvSpPr>
          <p:nvPr/>
        </p:nvSpPr>
        <p:spPr bwMode="auto">
          <a:xfrm>
            <a:off x="295895" y="4974534"/>
            <a:ext cx="3321825" cy="328987"/>
          </a:xfrm>
          <a:prstGeom prst="rect">
            <a:avLst/>
          </a:prstGeom>
          <a:noFill/>
          <a:ln w="6350">
            <a:noFill/>
            <a:miter lim="800000"/>
            <a:headEnd/>
            <a:tailEnd/>
          </a:ln>
          <a:effectLst/>
        </p:spPr>
        <p:txBody>
          <a:bodyPr wrap="none" lIns="72000" rIns="72000" anchor="ctr" anchorCtr="0"/>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9" name="Freeform: Shape 8">
            <a:extLst>
              <a:ext uri="{FF2B5EF4-FFF2-40B4-BE49-F238E27FC236}">
                <a16:creationId xmlns:a16="http://schemas.microsoft.com/office/drawing/2014/main" id="{A637FBDA-99DB-4F3F-946E-513944FFCF15}"/>
              </a:ext>
            </a:extLst>
          </p:cNvPr>
          <p:cNvSpPr/>
          <p:nvPr/>
        </p:nvSpPr>
        <p:spPr>
          <a:xfrm>
            <a:off x="3643347" y="4753237"/>
            <a:ext cx="1341046" cy="398331"/>
          </a:xfrm>
          <a:custGeom>
            <a:avLst/>
            <a:gdLst>
              <a:gd name="connsiteX0" fmla="*/ 0 w 1037690"/>
              <a:gd name="connsiteY0" fmla="*/ 308225 h 308225"/>
              <a:gd name="connsiteX1" fmla="*/ 678095 w 1037690"/>
              <a:gd name="connsiteY1" fmla="*/ 308225 h 308225"/>
              <a:gd name="connsiteX2" fmla="*/ 1037690 w 1037690"/>
              <a:gd name="connsiteY2" fmla="*/ 0 h 308225"/>
            </a:gdLst>
            <a:ahLst/>
            <a:cxnLst>
              <a:cxn ang="0">
                <a:pos x="connsiteX0" y="connsiteY0"/>
              </a:cxn>
              <a:cxn ang="0">
                <a:pos x="connsiteX1" y="connsiteY1"/>
              </a:cxn>
              <a:cxn ang="0">
                <a:pos x="connsiteX2" y="connsiteY2"/>
              </a:cxn>
            </a:cxnLst>
            <a:rect l="l" t="t" r="r" b="b"/>
            <a:pathLst>
              <a:path w="1037690" h="308225">
                <a:moveTo>
                  <a:pt x="0" y="308225"/>
                </a:moveTo>
                <a:lnTo>
                  <a:pt x="678095" y="308225"/>
                </a:lnTo>
                <a:lnTo>
                  <a:pt x="1037690" y="0"/>
                </a:lnTo>
              </a:path>
            </a:pathLst>
          </a:custGeom>
          <a:noFill/>
          <a:ln w="19050" cap="rnd" cmpd="sng" algn="ctr">
            <a:solidFill>
              <a:srgbClr val="96968C">
                <a:lumMod val="60000"/>
                <a:lumOff val="40000"/>
              </a:srgbClr>
            </a:solidFill>
            <a:prstDash val="sysDot"/>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Rectangle 10">
            <a:extLst>
              <a:ext uri="{FF2B5EF4-FFF2-40B4-BE49-F238E27FC236}">
                <a16:creationId xmlns:a16="http://schemas.microsoft.com/office/drawing/2014/main" id="{D2C95440-B671-4DE7-A397-32B1EF9290B8}"/>
              </a:ext>
            </a:extLst>
          </p:cNvPr>
          <p:cNvSpPr>
            <a:spLocks noChangeArrowheads="1"/>
          </p:cNvSpPr>
          <p:nvPr/>
        </p:nvSpPr>
        <p:spPr bwMode="auto">
          <a:xfrm>
            <a:off x="295895" y="2178729"/>
            <a:ext cx="3321825" cy="328987"/>
          </a:xfrm>
          <a:prstGeom prst="rect">
            <a:avLst/>
          </a:prstGeom>
          <a:noFill/>
          <a:ln w="6350">
            <a:noFill/>
            <a:miter lim="800000"/>
            <a:headEnd/>
            <a:tailEnd/>
          </a:ln>
          <a:effectLst/>
        </p:spPr>
        <p:txBody>
          <a:bodyPr wrap="none" lIns="72000" rIns="72000" anchor="ctr" anchorCtr="0"/>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1" name="Freeform: Shape 10">
            <a:extLst>
              <a:ext uri="{FF2B5EF4-FFF2-40B4-BE49-F238E27FC236}">
                <a16:creationId xmlns:a16="http://schemas.microsoft.com/office/drawing/2014/main" id="{ADB81060-70F0-46D3-A908-FAD684C89311}"/>
              </a:ext>
            </a:extLst>
          </p:cNvPr>
          <p:cNvSpPr/>
          <p:nvPr/>
        </p:nvSpPr>
        <p:spPr>
          <a:xfrm flipV="1">
            <a:off x="3643347" y="2343223"/>
            <a:ext cx="1341046" cy="398331"/>
          </a:xfrm>
          <a:custGeom>
            <a:avLst/>
            <a:gdLst>
              <a:gd name="connsiteX0" fmla="*/ 0 w 1037690"/>
              <a:gd name="connsiteY0" fmla="*/ 308225 h 308225"/>
              <a:gd name="connsiteX1" fmla="*/ 678095 w 1037690"/>
              <a:gd name="connsiteY1" fmla="*/ 308225 h 308225"/>
              <a:gd name="connsiteX2" fmla="*/ 1037690 w 1037690"/>
              <a:gd name="connsiteY2" fmla="*/ 0 h 308225"/>
            </a:gdLst>
            <a:ahLst/>
            <a:cxnLst>
              <a:cxn ang="0">
                <a:pos x="connsiteX0" y="connsiteY0"/>
              </a:cxn>
              <a:cxn ang="0">
                <a:pos x="connsiteX1" y="connsiteY1"/>
              </a:cxn>
              <a:cxn ang="0">
                <a:pos x="connsiteX2" y="connsiteY2"/>
              </a:cxn>
            </a:cxnLst>
            <a:rect l="l" t="t" r="r" b="b"/>
            <a:pathLst>
              <a:path w="1037690" h="308225">
                <a:moveTo>
                  <a:pt x="0" y="308225"/>
                </a:moveTo>
                <a:lnTo>
                  <a:pt x="678095" y="308225"/>
                </a:lnTo>
                <a:lnTo>
                  <a:pt x="1037690" y="0"/>
                </a:lnTo>
              </a:path>
            </a:pathLst>
          </a:custGeom>
          <a:noFill/>
          <a:ln w="19050" cap="rnd" cmpd="sng" algn="ctr">
            <a:solidFill>
              <a:srgbClr val="96968C">
                <a:lumMod val="60000"/>
                <a:lumOff val="40000"/>
              </a:srgbClr>
            </a:solidFill>
            <a:prstDash val="sysDot"/>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Rectangle 10">
            <a:extLst>
              <a:ext uri="{FF2B5EF4-FFF2-40B4-BE49-F238E27FC236}">
                <a16:creationId xmlns:a16="http://schemas.microsoft.com/office/drawing/2014/main" id="{E27AEC0E-AD9E-49EE-9971-B646C59C2414}"/>
              </a:ext>
            </a:extLst>
          </p:cNvPr>
          <p:cNvSpPr>
            <a:spLocks noChangeArrowheads="1"/>
          </p:cNvSpPr>
          <p:nvPr/>
        </p:nvSpPr>
        <p:spPr bwMode="auto">
          <a:xfrm>
            <a:off x="8592363" y="3617308"/>
            <a:ext cx="3321825" cy="328987"/>
          </a:xfrm>
          <a:prstGeom prst="rect">
            <a:avLst/>
          </a:prstGeom>
          <a:noFill/>
          <a:ln w="6350">
            <a:noFill/>
            <a:miter lim="800000"/>
            <a:headEnd/>
            <a:tailEnd/>
          </a:ln>
          <a:effectLst/>
        </p:spPr>
        <p:txBody>
          <a:bodyPr wrap="none" lIns="72000" rIns="7200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Rectangle 10">
            <a:extLst>
              <a:ext uri="{FF2B5EF4-FFF2-40B4-BE49-F238E27FC236}">
                <a16:creationId xmlns:a16="http://schemas.microsoft.com/office/drawing/2014/main" id="{232905A1-683D-40FC-8690-3DC00E5B884C}"/>
              </a:ext>
            </a:extLst>
          </p:cNvPr>
          <p:cNvSpPr>
            <a:spLocks noChangeArrowheads="1"/>
          </p:cNvSpPr>
          <p:nvPr/>
        </p:nvSpPr>
        <p:spPr bwMode="auto">
          <a:xfrm>
            <a:off x="8592363" y="4974534"/>
            <a:ext cx="3321825" cy="328987"/>
          </a:xfrm>
          <a:prstGeom prst="rect">
            <a:avLst/>
          </a:prstGeom>
          <a:noFill/>
          <a:ln w="6350">
            <a:noFill/>
            <a:miter lim="800000"/>
            <a:headEnd/>
            <a:tailEnd/>
          </a:ln>
          <a:effectLst/>
        </p:spPr>
        <p:txBody>
          <a:bodyPr wrap="none" lIns="72000" rIns="7200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Rectangle 10">
            <a:extLst>
              <a:ext uri="{FF2B5EF4-FFF2-40B4-BE49-F238E27FC236}">
                <a16:creationId xmlns:a16="http://schemas.microsoft.com/office/drawing/2014/main" id="{716BC5C5-9B17-4ACD-A905-117B1D889F04}"/>
              </a:ext>
            </a:extLst>
          </p:cNvPr>
          <p:cNvSpPr>
            <a:spLocks noChangeArrowheads="1"/>
          </p:cNvSpPr>
          <p:nvPr/>
        </p:nvSpPr>
        <p:spPr bwMode="auto">
          <a:xfrm>
            <a:off x="8592363" y="2178729"/>
            <a:ext cx="3321825" cy="328987"/>
          </a:xfrm>
          <a:prstGeom prst="rect">
            <a:avLst/>
          </a:prstGeom>
          <a:noFill/>
          <a:ln w="6350">
            <a:noFill/>
            <a:miter lim="800000"/>
            <a:headEnd/>
            <a:tailEnd/>
          </a:ln>
          <a:effectLst/>
        </p:spPr>
        <p:txBody>
          <a:bodyPr wrap="none" lIns="72000" rIns="7200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cxnSp>
        <p:nvCxnSpPr>
          <p:cNvPr id="15" name="Straight Arrow Connector 14">
            <a:extLst>
              <a:ext uri="{FF2B5EF4-FFF2-40B4-BE49-F238E27FC236}">
                <a16:creationId xmlns:a16="http://schemas.microsoft.com/office/drawing/2014/main" id="{A78E9025-DF12-44DA-B89C-A3851148C641}"/>
              </a:ext>
            </a:extLst>
          </p:cNvPr>
          <p:cNvCxnSpPr/>
          <p:nvPr/>
        </p:nvCxnSpPr>
        <p:spPr bwMode="auto">
          <a:xfrm>
            <a:off x="7677131" y="3781802"/>
            <a:ext cx="915232" cy="0"/>
          </a:xfrm>
          <a:prstGeom prst="straightConnector1">
            <a:avLst/>
          </a:prstGeom>
          <a:noFill/>
          <a:ln w="19050" cap="rnd" cmpd="sng" algn="ctr">
            <a:solidFill>
              <a:srgbClr val="96968C">
                <a:lumMod val="60000"/>
                <a:lumOff val="40000"/>
              </a:srgbClr>
            </a:solidFill>
            <a:prstDash val="sysDot"/>
            <a:headEnd type="triangle"/>
            <a:tailEnd type="none"/>
          </a:ln>
          <a:effectLst/>
        </p:spPr>
      </p:cxnSp>
      <p:sp>
        <p:nvSpPr>
          <p:cNvPr id="16" name="Freeform: Shape 15">
            <a:extLst>
              <a:ext uri="{FF2B5EF4-FFF2-40B4-BE49-F238E27FC236}">
                <a16:creationId xmlns:a16="http://schemas.microsoft.com/office/drawing/2014/main" id="{EDBD3AF3-CC18-4856-B131-4F001A4600CD}"/>
              </a:ext>
            </a:extLst>
          </p:cNvPr>
          <p:cNvSpPr/>
          <p:nvPr/>
        </p:nvSpPr>
        <p:spPr>
          <a:xfrm flipH="1">
            <a:off x="7251318" y="4753237"/>
            <a:ext cx="1341046" cy="398331"/>
          </a:xfrm>
          <a:custGeom>
            <a:avLst/>
            <a:gdLst>
              <a:gd name="connsiteX0" fmla="*/ 0 w 1037690"/>
              <a:gd name="connsiteY0" fmla="*/ 308225 h 308225"/>
              <a:gd name="connsiteX1" fmla="*/ 678095 w 1037690"/>
              <a:gd name="connsiteY1" fmla="*/ 308225 h 308225"/>
              <a:gd name="connsiteX2" fmla="*/ 1037690 w 1037690"/>
              <a:gd name="connsiteY2" fmla="*/ 0 h 308225"/>
            </a:gdLst>
            <a:ahLst/>
            <a:cxnLst>
              <a:cxn ang="0">
                <a:pos x="connsiteX0" y="connsiteY0"/>
              </a:cxn>
              <a:cxn ang="0">
                <a:pos x="connsiteX1" y="connsiteY1"/>
              </a:cxn>
              <a:cxn ang="0">
                <a:pos x="connsiteX2" y="connsiteY2"/>
              </a:cxn>
            </a:cxnLst>
            <a:rect l="l" t="t" r="r" b="b"/>
            <a:pathLst>
              <a:path w="1037690" h="308225">
                <a:moveTo>
                  <a:pt x="0" y="308225"/>
                </a:moveTo>
                <a:lnTo>
                  <a:pt x="678095" y="308225"/>
                </a:lnTo>
                <a:lnTo>
                  <a:pt x="1037690" y="0"/>
                </a:lnTo>
              </a:path>
            </a:pathLst>
          </a:custGeom>
          <a:noFill/>
          <a:ln w="19050" cap="rnd" cmpd="sng" algn="ctr">
            <a:solidFill>
              <a:srgbClr val="96968C">
                <a:lumMod val="60000"/>
                <a:lumOff val="40000"/>
              </a:srgbClr>
            </a:solidFill>
            <a:prstDash val="sysDot"/>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7" name="Freeform: Shape 16">
            <a:extLst>
              <a:ext uri="{FF2B5EF4-FFF2-40B4-BE49-F238E27FC236}">
                <a16:creationId xmlns:a16="http://schemas.microsoft.com/office/drawing/2014/main" id="{58BB4F19-A7D4-4063-A44D-E080704AC569}"/>
              </a:ext>
            </a:extLst>
          </p:cNvPr>
          <p:cNvSpPr/>
          <p:nvPr/>
        </p:nvSpPr>
        <p:spPr>
          <a:xfrm flipH="1" flipV="1">
            <a:off x="7251318" y="2343223"/>
            <a:ext cx="1341046" cy="398331"/>
          </a:xfrm>
          <a:custGeom>
            <a:avLst/>
            <a:gdLst>
              <a:gd name="connsiteX0" fmla="*/ 0 w 1037690"/>
              <a:gd name="connsiteY0" fmla="*/ 308225 h 308225"/>
              <a:gd name="connsiteX1" fmla="*/ 678095 w 1037690"/>
              <a:gd name="connsiteY1" fmla="*/ 308225 h 308225"/>
              <a:gd name="connsiteX2" fmla="*/ 1037690 w 1037690"/>
              <a:gd name="connsiteY2" fmla="*/ 0 h 308225"/>
            </a:gdLst>
            <a:ahLst/>
            <a:cxnLst>
              <a:cxn ang="0">
                <a:pos x="connsiteX0" y="connsiteY0"/>
              </a:cxn>
              <a:cxn ang="0">
                <a:pos x="connsiteX1" y="connsiteY1"/>
              </a:cxn>
              <a:cxn ang="0">
                <a:pos x="connsiteX2" y="connsiteY2"/>
              </a:cxn>
            </a:cxnLst>
            <a:rect l="l" t="t" r="r" b="b"/>
            <a:pathLst>
              <a:path w="1037690" h="308225">
                <a:moveTo>
                  <a:pt x="0" y="308225"/>
                </a:moveTo>
                <a:lnTo>
                  <a:pt x="678095" y="308225"/>
                </a:lnTo>
                <a:lnTo>
                  <a:pt x="1037690" y="0"/>
                </a:lnTo>
              </a:path>
            </a:pathLst>
          </a:custGeom>
          <a:noFill/>
          <a:ln w="19050" cap="rnd" cmpd="sng" algn="ctr">
            <a:solidFill>
              <a:srgbClr val="96968C">
                <a:lumMod val="60000"/>
                <a:lumOff val="40000"/>
              </a:srgbClr>
            </a:solidFill>
            <a:prstDash val="sysDot"/>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FDE4C93A-2152-4BAB-9C0A-A48BBD2D16D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38516464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Factors 3</a:t>
            </a:r>
          </a:p>
        </p:txBody>
      </p:sp>
      <p:sp>
        <p:nvSpPr>
          <p:cNvPr id="4" name="Freeform: Shape 3">
            <a:hlinkClick r:id="rId10"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0" action="ppaction://hlinksldjump"/>
            <a:extLst>
              <a:ext uri="{FF2B5EF4-FFF2-40B4-BE49-F238E27FC236}">
                <a16:creationId xmlns:a16="http://schemas.microsoft.com/office/drawing/2014/main" id="{E53029E6-4609-49B6-8F80-F32BD29D443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20" name="AutoShape 42">
            <a:extLst>
              <a:ext uri="{FF2B5EF4-FFF2-40B4-BE49-F238E27FC236}">
                <a16:creationId xmlns:a16="http://schemas.microsoft.com/office/drawing/2014/main" id="{64CED433-1BC9-4C49-9F33-AB44D461AE02}"/>
              </a:ext>
            </a:extLst>
          </p:cNvPr>
          <p:cNvCxnSpPr>
            <a:cxnSpLocks noChangeShapeType="1"/>
          </p:cNvCxnSpPr>
          <p:nvPr>
            <p:custDataLst>
              <p:tags r:id="rId1"/>
            </p:custDataLst>
          </p:nvPr>
        </p:nvCxnSpPr>
        <p:spPr bwMode="auto">
          <a:xfrm flipV="1">
            <a:off x="6101028" y="2181150"/>
            <a:ext cx="1" cy="317327"/>
          </a:xfrm>
          <a:prstGeom prst="straightConnector1">
            <a:avLst/>
          </a:prstGeom>
          <a:noFill/>
          <a:ln w="19050" cap="rnd">
            <a:solidFill>
              <a:schemeClr val="tx2">
                <a:lumMod val="60000"/>
                <a:lumOff val="40000"/>
              </a:schemeClr>
            </a:solidFill>
            <a:prstDash val="sysDot"/>
            <a:round/>
            <a:headEnd type="triangle"/>
            <a:tailEnd/>
          </a:ln>
          <a:effectLst/>
        </p:spPr>
      </p:cxnSp>
      <p:sp>
        <p:nvSpPr>
          <p:cNvPr id="21" name="Oval 29">
            <a:extLst>
              <a:ext uri="{FF2B5EF4-FFF2-40B4-BE49-F238E27FC236}">
                <a16:creationId xmlns:a16="http://schemas.microsoft.com/office/drawing/2014/main" id="{C09DD1A9-862B-41D1-AE64-3874CAD5B0CB}"/>
              </a:ext>
            </a:extLst>
          </p:cNvPr>
          <p:cNvSpPr>
            <a:spLocks noChangeArrowheads="1"/>
          </p:cNvSpPr>
          <p:nvPr>
            <p:custDataLst>
              <p:tags r:id="rId2"/>
            </p:custDataLst>
          </p:nvPr>
        </p:nvSpPr>
        <p:spPr bwMode="auto">
          <a:xfrm>
            <a:off x="5453166" y="885424"/>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grpSp>
        <p:nvGrpSpPr>
          <p:cNvPr id="22" name="Group 21">
            <a:extLst>
              <a:ext uri="{FF2B5EF4-FFF2-40B4-BE49-F238E27FC236}">
                <a16:creationId xmlns:a16="http://schemas.microsoft.com/office/drawing/2014/main" id="{B954F83D-11FF-4BD2-824D-AFF27C574344}"/>
              </a:ext>
            </a:extLst>
          </p:cNvPr>
          <p:cNvGrpSpPr/>
          <p:nvPr/>
        </p:nvGrpSpPr>
        <p:grpSpPr>
          <a:xfrm>
            <a:off x="4157930" y="2498477"/>
            <a:ext cx="3886196" cy="1929626"/>
            <a:chOff x="4744029" y="2686050"/>
            <a:chExt cx="3130665" cy="1554480"/>
          </a:xfrm>
        </p:grpSpPr>
        <p:sp>
          <p:nvSpPr>
            <p:cNvPr id="23" name="Freeform: Shape 22">
              <a:extLst>
                <a:ext uri="{FF2B5EF4-FFF2-40B4-BE49-F238E27FC236}">
                  <a16:creationId xmlns:a16="http://schemas.microsoft.com/office/drawing/2014/main" id="{778EA437-2CE3-44FC-9F53-04C8E1A3BB44}"/>
                </a:ext>
              </a:extLst>
            </p:cNvPr>
            <p:cNvSpPr/>
            <p:nvPr/>
          </p:nvSpPr>
          <p:spPr>
            <a:xfrm>
              <a:off x="4744029" y="2686050"/>
              <a:ext cx="3130665" cy="1554480"/>
            </a:xfrm>
            <a:custGeom>
              <a:avLst/>
              <a:gdLst>
                <a:gd name="connsiteX0" fmla="*/ 1565332 w 3130665"/>
                <a:gd name="connsiteY0" fmla="*/ 0 h 1554480"/>
                <a:gd name="connsiteX1" fmla="*/ 3123158 w 3130665"/>
                <a:gd name="connsiteY1" fmla="*/ 1405805 h 1554480"/>
                <a:gd name="connsiteX2" fmla="*/ 3130665 w 3130665"/>
                <a:gd name="connsiteY2" fmla="*/ 1554480 h 1554480"/>
                <a:gd name="connsiteX3" fmla="*/ 0 w 3130665"/>
                <a:gd name="connsiteY3" fmla="*/ 1554480 h 1554480"/>
                <a:gd name="connsiteX4" fmla="*/ 7507 w 3130665"/>
                <a:gd name="connsiteY4" fmla="*/ 1405805 h 1554480"/>
                <a:gd name="connsiteX5" fmla="*/ 1565332 w 3130665"/>
                <a:gd name="connsiteY5" fmla="*/ 0 h 155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0665" h="1554480">
                  <a:moveTo>
                    <a:pt x="1565332" y="0"/>
                  </a:moveTo>
                  <a:cubicBezTo>
                    <a:pt x="2376108" y="0"/>
                    <a:pt x="3042967" y="616186"/>
                    <a:pt x="3123158" y="1405805"/>
                  </a:cubicBezTo>
                  <a:lnTo>
                    <a:pt x="3130665" y="1554480"/>
                  </a:lnTo>
                  <a:lnTo>
                    <a:pt x="0" y="1554480"/>
                  </a:lnTo>
                  <a:lnTo>
                    <a:pt x="7507" y="1405805"/>
                  </a:lnTo>
                  <a:cubicBezTo>
                    <a:pt x="87697" y="616186"/>
                    <a:pt x="754556" y="0"/>
                    <a:pt x="1565332"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 name="Rectangle 7">
              <a:extLst>
                <a:ext uri="{FF2B5EF4-FFF2-40B4-BE49-F238E27FC236}">
                  <a16:creationId xmlns:a16="http://schemas.microsoft.com/office/drawing/2014/main" id="{3F8AC9B7-A288-42BE-B10E-9097EB3AAF59}"/>
                </a:ext>
              </a:extLst>
            </p:cNvPr>
            <p:cNvSpPr>
              <a:spLocks noChangeArrowheads="1"/>
            </p:cNvSpPr>
            <p:nvPr>
              <p:custDataLst>
                <p:tags r:id="rId8"/>
              </p:custDataLst>
            </p:nvPr>
          </p:nvSpPr>
          <p:spPr bwMode="auto">
            <a:xfrm>
              <a:off x="5109213" y="2734497"/>
              <a:ext cx="2400298" cy="1506033"/>
            </a:xfrm>
            <a:prstGeom prst="rect">
              <a:avLst/>
            </a:prstGeom>
            <a:noFill/>
            <a:ln w="6350">
              <a:noFill/>
              <a:miter lim="800000"/>
              <a:headEnd/>
              <a:tailEnd/>
            </a:ln>
            <a:effectLst/>
          </p:spPr>
          <p:txBody>
            <a:bodyPr lIns="180000" tIns="180000" rIns="144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Insert text</a:t>
              </a:r>
            </a:p>
          </p:txBody>
        </p:sp>
      </p:grpSp>
      <p:sp>
        <p:nvSpPr>
          <p:cNvPr id="25" name="Rectangle 24">
            <a:extLst>
              <a:ext uri="{FF2B5EF4-FFF2-40B4-BE49-F238E27FC236}">
                <a16:creationId xmlns:a16="http://schemas.microsoft.com/office/drawing/2014/main" id="{2EF68329-0446-4857-84EF-D0742A08B518}"/>
              </a:ext>
            </a:extLst>
          </p:cNvPr>
          <p:cNvSpPr>
            <a:spLocks noChangeArrowheads="1"/>
          </p:cNvSpPr>
          <p:nvPr/>
        </p:nvSpPr>
        <p:spPr bwMode="auto">
          <a:xfrm>
            <a:off x="2349396" y="4968124"/>
            <a:ext cx="7503264" cy="707672"/>
          </a:xfrm>
          <a:prstGeom prst="rect">
            <a:avLst/>
          </a:prstGeom>
          <a:pattFill prst="dkUpDiag">
            <a:fgClr>
              <a:schemeClr val="tx2">
                <a:lumMod val="40000"/>
                <a:lumOff val="60000"/>
              </a:schemeClr>
            </a:fgClr>
            <a:bgClr>
              <a:schemeClr val="bg1"/>
            </a:bgClr>
          </a:pattFill>
          <a:ln w="6350">
            <a:noFill/>
            <a:round/>
            <a:headEnd/>
            <a:tailEnd/>
          </a:ln>
          <a:effectLst/>
        </p:spPr>
        <p:txBody>
          <a:bodyPr wrap="none" lIns="72000" tIns="108000" rIns="72000" bIns="72000" anchor="ctr" anchorCtr="1"/>
          <a:lstStyle/>
          <a:p>
            <a:pPr algn="ctr" eaLnBrk="0" hangingPunct="0">
              <a:lnSpc>
                <a:spcPct val="85000"/>
              </a:lnSpc>
              <a:spcBef>
                <a:spcPts val="100"/>
              </a:spcBef>
              <a:spcAft>
                <a:spcPts val="300"/>
              </a:spcAft>
            </a:pPr>
            <a:r>
              <a:rPr lang="en-US" b="1" dirty="0">
                <a:latin typeface="+mj-lt"/>
              </a:rPr>
              <a:t>Text</a:t>
            </a:r>
          </a:p>
        </p:txBody>
      </p:sp>
      <p:sp>
        <p:nvSpPr>
          <p:cNvPr id="26" name="Oval 29">
            <a:extLst>
              <a:ext uri="{FF2B5EF4-FFF2-40B4-BE49-F238E27FC236}">
                <a16:creationId xmlns:a16="http://schemas.microsoft.com/office/drawing/2014/main" id="{D7B06C09-F91D-4D55-A3DC-95FDCF659E3E}"/>
              </a:ext>
            </a:extLst>
          </p:cNvPr>
          <p:cNvSpPr>
            <a:spLocks noChangeArrowheads="1"/>
          </p:cNvSpPr>
          <p:nvPr>
            <p:custDataLst>
              <p:tags r:id="rId3"/>
            </p:custDataLst>
          </p:nvPr>
        </p:nvSpPr>
        <p:spPr bwMode="auto">
          <a:xfrm>
            <a:off x="3418390" y="1533286"/>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7" name="Oval 29">
            <a:extLst>
              <a:ext uri="{FF2B5EF4-FFF2-40B4-BE49-F238E27FC236}">
                <a16:creationId xmlns:a16="http://schemas.microsoft.com/office/drawing/2014/main" id="{285DB225-8DA1-407D-883B-FA7F42807A28}"/>
              </a:ext>
            </a:extLst>
          </p:cNvPr>
          <p:cNvSpPr>
            <a:spLocks noChangeArrowheads="1"/>
          </p:cNvSpPr>
          <p:nvPr>
            <p:custDataLst>
              <p:tags r:id="rId4"/>
            </p:custDataLst>
          </p:nvPr>
        </p:nvSpPr>
        <p:spPr bwMode="auto">
          <a:xfrm>
            <a:off x="2441000" y="3029600"/>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8" name="Oval 29">
            <a:extLst>
              <a:ext uri="{FF2B5EF4-FFF2-40B4-BE49-F238E27FC236}">
                <a16:creationId xmlns:a16="http://schemas.microsoft.com/office/drawing/2014/main" id="{FFC079C4-4801-48D0-8CEA-86D3EB62EB8D}"/>
              </a:ext>
            </a:extLst>
          </p:cNvPr>
          <p:cNvSpPr>
            <a:spLocks noChangeArrowheads="1"/>
          </p:cNvSpPr>
          <p:nvPr>
            <p:custDataLst>
              <p:tags r:id="rId5"/>
            </p:custDataLst>
          </p:nvPr>
        </p:nvSpPr>
        <p:spPr bwMode="auto">
          <a:xfrm>
            <a:off x="7487942" y="1533286"/>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sp>
        <p:nvSpPr>
          <p:cNvPr id="29" name="Oval 29">
            <a:extLst>
              <a:ext uri="{FF2B5EF4-FFF2-40B4-BE49-F238E27FC236}">
                <a16:creationId xmlns:a16="http://schemas.microsoft.com/office/drawing/2014/main" id="{126C2001-38A2-4C8E-A25A-B4BA5238D633}"/>
              </a:ext>
            </a:extLst>
          </p:cNvPr>
          <p:cNvSpPr>
            <a:spLocks noChangeArrowheads="1"/>
          </p:cNvSpPr>
          <p:nvPr>
            <p:custDataLst>
              <p:tags r:id="rId6"/>
            </p:custDataLst>
          </p:nvPr>
        </p:nvSpPr>
        <p:spPr bwMode="auto">
          <a:xfrm>
            <a:off x="8465331" y="3029600"/>
            <a:ext cx="1295725" cy="1295725"/>
          </a:xfrm>
          <a:prstGeom prst="ellipse">
            <a:avLst/>
          </a:prstGeom>
          <a:solidFill>
            <a:schemeClr val="accent2">
              <a:lumMod val="20000"/>
              <a:lumOff val="80000"/>
            </a:schemeClr>
          </a:solidFill>
          <a:ln w="6350">
            <a:noFill/>
            <a:round/>
            <a:headEnd/>
            <a:tailEnd/>
          </a:ln>
          <a:effectLst/>
        </p:spPr>
        <p:txBody>
          <a:bodyPr wrap="none" lIns="72000" tIns="72000" rIns="72000" bIns="72000" anchor="ctr" anchorCtr="1"/>
          <a:lstStyle/>
          <a:p>
            <a:pPr eaLnBrk="0" hangingPunct="0"/>
            <a:r>
              <a:rPr lang="en-GB" b="1" dirty="0">
                <a:solidFill>
                  <a:schemeClr val="accent2"/>
                </a:solidFill>
              </a:rPr>
              <a:t>Text</a:t>
            </a:r>
            <a:endParaRPr lang="en-US" b="1" dirty="0">
              <a:solidFill>
                <a:schemeClr val="accent2"/>
              </a:solidFill>
            </a:endParaRPr>
          </a:p>
        </p:txBody>
      </p:sp>
      <p:cxnSp>
        <p:nvCxnSpPr>
          <p:cNvPr id="30" name="Straight Arrow Connector 29">
            <a:extLst>
              <a:ext uri="{FF2B5EF4-FFF2-40B4-BE49-F238E27FC236}">
                <a16:creationId xmlns:a16="http://schemas.microsoft.com/office/drawing/2014/main" id="{FC21E2E3-CBA1-48C7-8225-249E36EED908}"/>
              </a:ext>
            </a:extLst>
          </p:cNvPr>
          <p:cNvCxnSpPr>
            <a:stCxn id="26" idx="5"/>
          </p:cNvCxnSpPr>
          <p:nvPr/>
        </p:nvCxnSpPr>
        <p:spPr>
          <a:xfrm>
            <a:off x="4524360" y="2639256"/>
            <a:ext cx="310530" cy="298254"/>
          </a:xfrm>
          <a:prstGeom prst="straightConnector1">
            <a:avLst/>
          </a:prstGeom>
          <a:noFill/>
          <a:ln w="19050" cap="rnd">
            <a:solidFill>
              <a:schemeClr val="tx2">
                <a:lumMod val="60000"/>
                <a:lumOff val="40000"/>
              </a:schemeClr>
            </a:solidFill>
            <a:prstDash val="sysDot"/>
            <a:round/>
            <a:headEnd type="none"/>
            <a:tailEnd type="triangle"/>
          </a:ln>
          <a:effectLst/>
        </p:spPr>
      </p:cxnSp>
      <p:cxnSp>
        <p:nvCxnSpPr>
          <p:cNvPr id="31" name="Straight Arrow Connector 30">
            <a:extLst>
              <a:ext uri="{FF2B5EF4-FFF2-40B4-BE49-F238E27FC236}">
                <a16:creationId xmlns:a16="http://schemas.microsoft.com/office/drawing/2014/main" id="{27ECA010-6D3C-43C2-8879-96E979BEA8DE}"/>
              </a:ext>
            </a:extLst>
          </p:cNvPr>
          <p:cNvCxnSpPr>
            <a:stCxn id="27" idx="6"/>
          </p:cNvCxnSpPr>
          <p:nvPr/>
        </p:nvCxnSpPr>
        <p:spPr>
          <a:xfrm flipV="1">
            <a:off x="3736725" y="3677462"/>
            <a:ext cx="508653" cy="1"/>
          </a:xfrm>
          <a:prstGeom prst="straightConnector1">
            <a:avLst/>
          </a:prstGeom>
          <a:noFill/>
          <a:ln w="19050" cap="rnd">
            <a:solidFill>
              <a:schemeClr val="tx2">
                <a:lumMod val="60000"/>
                <a:lumOff val="40000"/>
              </a:schemeClr>
            </a:solidFill>
            <a:prstDash val="sysDot"/>
            <a:round/>
            <a:headEnd type="none"/>
            <a:tailEnd type="triangle"/>
          </a:ln>
          <a:effectLst/>
        </p:spPr>
      </p:cxnSp>
      <p:cxnSp>
        <p:nvCxnSpPr>
          <p:cNvPr id="32" name="Straight Arrow Connector 31">
            <a:extLst>
              <a:ext uri="{FF2B5EF4-FFF2-40B4-BE49-F238E27FC236}">
                <a16:creationId xmlns:a16="http://schemas.microsoft.com/office/drawing/2014/main" id="{2FCBDD9A-78CF-465A-BD0A-EC6F82B91C09}"/>
              </a:ext>
            </a:extLst>
          </p:cNvPr>
          <p:cNvCxnSpPr>
            <a:stCxn id="28" idx="3"/>
          </p:cNvCxnSpPr>
          <p:nvPr/>
        </p:nvCxnSpPr>
        <p:spPr>
          <a:xfrm flipH="1">
            <a:off x="7367167" y="2639256"/>
            <a:ext cx="310530" cy="327603"/>
          </a:xfrm>
          <a:prstGeom prst="straightConnector1">
            <a:avLst/>
          </a:prstGeom>
          <a:noFill/>
          <a:ln w="19050" cap="rnd">
            <a:solidFill>
              <a:schemeClr val="tx2">
                <a:lumMod val="60000"/>
                <a:lumOff val="40000"/>
              </a:schemeClr>
            </a:solidFill>
            <a:prstDash val="sysDot"/>
            <a:round/>
            <a:headEnd type="none"/>
            <a:tailEnd type="triangle"/>
          </a:ln>
          <a:effectLst/>
        </p:spPr>
      </p:cxnSp>
      <p:cxnSp>
        <p:nvCxnSpPr>
          <p:cNvPr id="33" name="Straight Arrow Connector 32">
            <a:extLst>
              <a:ext uri="{FF2B5EF4-FFF2-40B4-BE49-F238E27FC236}">
                <a16:creationId xmlns:a16="http://schemas.microsoft.com/office/drawing/2014/main" id="{436D0D0D-8328-412E-931C-8A48AE5031F7}"/>
              </a:ext>
            </a:extLst>
          </p:cNvPr>
          <p:cNvCxnSpPr>
            <a:stCxn id="29" idx="2"/>
          </p:cNvCxnSpPr>
          <p:nvPr/>
        </p:nvCxnSpPr>
        <p:spPr>
          <a:xfrm flipH="1" flipV="1">
            <a:off x="7886700" y="3677462"/>
            <a:ext cx="578631" cy="1"/>
          </a:xfrm>
          <a:prstGeom prst="straightConnector1">
            <a:avLst/>
          </a:prstGeom>
          <a:noFill/>
          <a:ln w="19050" cap="rnd">
            <a:solidFill>
              <a:schemeClr val="tx2">
                <a:lumMod val="60000"/>
                <a:lumOff val="40000"/>
              </a:schemeClr>
            </a:solidFill>
            <a:prstDash val="sysDot"/>
            <a:round/>
            <a:headEnd type="none"/>
            <a:tailEnd type="triangle"/>
          </a:ln>
          <a:effectLst/>
        </p:spPr>
      </p:cxnSp>
      <p:cxnSp>
        <p:nvCxnSpPr>
          <p:cNvPr id="34" name="AutoShape 42">
            <a:extLst>
              <a:ext uri="{FF2B5EF4-FFF2-40B4-BE49-F238E27FC236}">
                <a16:creationId xmlns:a16="http://schemas.microsoft.com/office/drawing/2014/main" id="{2346E9DE-BB6E-4CB6-A904-CE07CCA88AEA}"/>
              </a:ext>
            </a:extLst>
          </p:cNvPr>
          <p:cNvCxnSpPr>
            <a:cxnSpLocks noChangeShapeType="1"/>
            <a:endCxn id="24" idx="2"/>
          </p:cNvCxnSpPr>
          <p:nvPr>
            <p:custDataLst>
              <p:tags r:id="rId7"/>
            </p:custDataLst>
          </p:nvPr>
        </p:nvCxnSpPr>
        <p:spPr bwMode="auto">
          <a:xfrm flipV="1">
            <a:off x="6101028" y="4428103"/>
            <a:ext cx="1" cy="455408"/>
          </a:xfrm>
          <a:prstGeom prst="straightConnector1">
            <a:avLst/>
          </a:prstGeom>
          <a:noFill/>
          <a:ln w="19050" cap="rnd">
            <a:solidFill>
              <a:schemeClr val="tx2">
                <a:lumMod val="60000"/>
                <a:lumOff val="40000"/>
              </a:schemeClr>
            </a:solidFill>
            <a:prstDash val="sysDot"/>
            <a:round/>
            <a:headEnd type="triangle"/>
            <a:tailEnd/>
          </a:ln>
          <a:effectLst/>
        </p:spPr>
      </p:cxnSp>
    </p:spTree>
    <p:extLst>
      <p:ext uri="{BB962C8B-B14F-4D97-AF65-F5344CB8AC3E}">
        <p14:creationId xmlns:p14="http://schemas.microsoft.com/office/powerpoint/2010/main" val="106265420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Goal-setting</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CB7975F6-5845-44DD-8429-E956B770C64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9" name="Freeform 5">
            <a:extLst>
              <a:ext uri="{FF2B5EF4-FFF2-40B4-BE49-F238E27FC236}">
                <a16:creationId xmlns:a16="http://schemas.microsoft.com/office/drawing/2014/main" id="{DD3FA0B2-CABE-4936-B4D2-5330D863DCF0}"/>
              </a:ext>
            </a:extLst>
          </p:cNvPr>
          <p:cNvSpPr>
            <a:spLocks/>
          </p:cNvSpPr>
          <p:nvPr/>
        </p:nvSpPr>
        <p:spPr bwMode="auto">
          <a:xfrm>
            <a:off x="1822450" y="3712369"/>
            <a:ext cx="6256887" cy="2345531"/>
          </a:xfrm>
          <a:custGeom>
            <a:avLst/>
            <a:gdLst/>
            <a:ahLst/>
            <a:cxnLst>
              <a:cxn ang="0">
                <a:pos x="0" y="1008"/>
              </a:cxn>
              <a:cxn ang="0">
                <a:pos x="3022" y="1008"/>
              </a:cxn>
              <a:cxn ang="0">
                <a:pos x="3724" y="0"/>
              </a:cxn>
              <a:cxn ang="0">
                <a:pos x="17" y="0"/>
              </a:cxn>
            </a:cxnLst>
            <a:rect l="0" t="0" r="r" b="b"/>
            <a:pathLst>
              <a:path w="3725" h="1009">
                <a:moveTo>
                  <a:pt x="0" y="1008"/>
                </a:moveTo>
                <a:lnTo>
                  <a:pt x="3022" y="1008"/>
                </a:lnTo>
                <a:lnTo>
                  <a:pt x="3724" y="0"/>
                </a:lnTo>
                <a:lnTo>
                  <a:pt x="17" y="0"/>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1" name="Freeform 6">
            <a:extLst>
              <a:ext uri="{FF2B5EF4-FFF2-40B4-BE49-F238E27FC236}">
                <a16:creationId xmlns:a16="http://schemas.microsoft.com/office/drawing/2014/main" id="{40D74665-08E9-4105-A2BC-8B708D6EC5ED}"/>
              </a:ext>
            </a:extLst>
          </p:cNvPr>
          <p:cNvSpPr>
            <a:spLocks/>
          </p:cNvSpPr>
          <p:nvPr/>
        </p:nvSpPr>
        <p:spPr bwMode="auto">
          <a:xfrm>
            <a:off x="1822450" y="3712369"/>
            <a:ext cx="5714343" cy="1492399"/>
          </a:xfrm>
          <a:custGeom>
            <a:avLst/>
            <a:gdLst/>
            <a:ahLst/>
            <a:cxnLst>
              <a:cxn ang="0">
                <a:pos x="0" y="641"/>
              </a:cxn>
              <a:cxn ang="0">
                <a:pos x="2936" y="641"/>
              </a:cxn>
              <a:cxn ang="0">
                <a:pos x="3401" y="0"/>
              </a:cxn>
              <a:cxn ang="0">
                <a:pos x="9" y="0"/>
              </a:cxn>
            </a:cxnLst>
            <a:rect l="0" t="0" r="r" b="b"/>
            <a:pathLst>
              <a:path w="3402" h="642">
                <a:moveTo>
                  <a:pt x="0" y="641"/>
                </a:moveTo>
                <a:lnTo>
                  <a:pt x="2936" y="641"/>
                </a:lnTo>
                <a:lnTo>
                  <a:pt x="3401" y="0"/>
                </a:lnTo>
                <a:lnTo>
                  <a:pt x="9" y="0"/>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3" name="Freeform 7">
            <a:extLst>
              <a:ext uri="{FF2B5EF4-FFF2-40B4-BE49-F238E27FC236}">
                <a16:creationId xmlns:a16="http://schemas.microsoft.com/office/drawing/2014/main" id="{4BCDD141-24CE-41EC-AE6B-C82B9AEE080F}"/>
              </a:ext>
            </a:extLst>
          </p:cNvPr>
          <p:cNvSpPr>
            <a:spLocks/>
          </p:cNvSpPr>
          <p:nvPr/>
        </p:nvSpPr>
        <p:spPr bwMode="auto">
          <a:xfrm>
            <a:off x="1822450" y="3712369"/>
            <a:ext cx="5133167" cy="739226"/>
          </a:xfrm>
          <a:custGeom>
            <a:avLst/>
            <a:gdLst/>
            <a:ahLst/>
            <a:cxnLst>
              <a:cxn ang="0">
                <a:pos x="0" y="317"/>
              </a:cxn>
              <a:cxn ang="0">
                <a:pos x="2858" y="317"/>
              </a:cxn>
              <a:cxn ang="0">
                <a:pos x="3055" y="0"/>
              </a:cxn>
              <a:cxn ang="0">
                <a:pos x="3" y="0"/>
              </a:cxn>
            </a:cxnLst>
            <a:rect l="0" t="0" r="r" b="b"/>
            <a:pathLst>
              <a:path w="3056" h="318">
                <a:moveTo>
                  <a:pt x="0" y="317"/>
                </a:moveTo>
                <a:lnTo>
                  <a:pt x="2858" y="317"/>
                </a:lnTo>
                <a:lnTo>
                  <a:pt x="3055" y="0"/>
                </a:lnTo>
                <a:lnTo>
                  <a:pt x="3" y="0"/>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5" name="Freeform 8">
            <a:extLst>
              <a:ext uri="{FF2B5EF4-FFF2-40B4-BE49-F238E27FC236}">
                <a16:creationId xmlns:a16="http://schemas.microsoft.com/office/drawing/2014/main" id="{EB29C102-DCE9-4ED4-BE4E-34FE8E3C2B5E}"/>
              </a:ext>
            </a:extLst>
          </p:cNvPr>
          <p:cNvSpPr>
            <a:spLocks/>
          </p:cNvSpPr>
          <p:nvPr/>
        </p:nvSpPr>
        <p:spPr bwMode="auto">
          <a:xfrm>
            <a:off x="1822450" y="1366838"/>
            <a:ext cx="6266965" cy="2347856"/>
          </a:xfrm>
          <a:custGeom>
            <a:avLst/>
            <a:gdLst/>
            <a:ahLst/>
            <a:cxnLst>
              <a:cxn ang="0">
                <a:pos x="0" y="0"/>
              </a:cxn>
              <a:cxn ang="0">
                <a:pos x="3027" y="0"/>
              </a:cxn>
              <a:cxn ang="0">
                <a:pos x="3730" y="1009"/>
              </a:cxn>
              <a:cxn ang="0">
                <a:pos x="15" y="1009"/>
              </a:cxn>
            </a:cxnLst>
            <a:rect l="0" t="0" r="r" b="b"/>
            <a:pathLst>
              <a:path w="3731" h="1010">
                <a:moveTo>
                  <a:pt x="0" y="0"/>
                </a:moveTo>
                <a:lnTo>
                  <a:pt x="3027" y="0"/>
                </a:lnTo>
                <a:lnTo>
                  <a:pt x="3730" y="1009"/>
                </a:lnTo>
                <a:lnTo>
                  <a:pt x="15" y="1009"/>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7" name="Freeform 9">
            <a:extLst>
              <a:ext uri="{FF2B5EF4-FFF2-40B4-BE49-F238E27FC236}">
                <a16:creationId xmlns:a16="http://schemas.microsoft.com/office/drawing/2014/main" id="{83E236EC-E010-41DD-B3ED-E5E2C72722DA}"/>
              </a:ext>
            </a:extLst>
          </p:cNvPr>
          <p:cNvSpPr>
            <a:spLocks/>
          </p:cNvSpPr>
          <p:nvPr/>
        </p:nvSpPr>
        <p:spPr bwMode="auto">
          <a:xfrm>
            <a:off x="1822450" y="2219970"/>
            <a:ext cx="5700906" cy="1494724"/>
          </a:xfrm>
          <a:custGeom>
            <a:avLst/>
            <a:gdLst/>
            <a:ahLst/>
            <a:cxnLst>
              <a:cxn ang="0">
                <a:pos x="0" y="0"/>
              </a:cxn>
              <a:cxn ang="0">
                <a:pos x="2928" y="0"/>
              </a:cxn>
              <a:cxn ang="0">
                <a:pos x="3393" y="642"/>
              </a:cxn>
              <a:cxn ang="0">
                <a:pos x="0" y="642"/>
              </a:cxn>
            </a:cxnLst>
            <a:rect l="0" t="0" r="r" b="b"/>
            <a:pathLst>
              <a:path w="3394" h="643">
                <a:moveTo>
                  <a:pt x="0" y="0"/>
                </a:moveTo>
                <a:lnTo>
                  <a:pt x="2928" y="0"/>
                </a:lnTo>
                <a:lnTo>
                  <a:pt x="3393" y="642"/>
                </a:lnTo>
                <a:lnTo>
                  <a:pt x="0" y="642"/>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29" name="Freeform 10">
            <a:extLst>
              <a:ext uri="{FF2B5EF4-FFF2-40B4-BE49-F238E27FC236}">
                <a16:creationId xmlns:a16="http://schemas.microsoft.com/office/drawing/2014/main" id="{64585770-7064-46DE-81EB-15D5A7488402}"/>
              </a:ext>
            </a:extLst>
          </p:cNvPr>
          <p:cNvSpPr>
            <a:spLocks/>
          </p:cNvSpPr>
          <p:nvPr/>
        </p:nvSpPr>
        <p:spPr bwMode="auto">
          <a:xfrm>
            <a:off x="1822450" y="2973143"/>
            <a:ext cx="5146604" cy="741550"/>
          </a:xfrm>
          <a:custGeom>
            <a:avLst/>
            <a:gdLst/>
            <a:ahLst/>
            <a:cxnLst>
              <a:cxn ang="0">
                <a:pos x="0" y="0"/>
              </a:cxn>
              <a:cxn ang="0">
                <a:pos x="2858" y="0"/>
              </a:cxn>
              <a:cxn ang="0">
                <a:pos x="3063" y="318"/>
              </a:cxn>
              <a:cxn ang="0">
                <a:pos x="8" y="318"/>
              </a:cxn>
            </a:cxnLst>
            <a:rect l="0" t="0" r="r" b="b"/>
            <a:pathLst>
              <a:path w="3064" h="319">
                <a:moveTo>
                  <a:pt x="0" y="0"/>
                </a:moveTo>
                <a:lnTo>
                  <a:pt x="2858" y="0"/>
                </a:lnTo>
                <a:lnTo>
                  <a:pt x="3063" y="318"/>
                </a:lnTo>
                <a:lnTo>
                  <a:pt x="8" y="318"/>
                </a:lnTo>
              </a:path>
            </a:pathLst>
          </a:custGeom>
          <a:noFill/>
          <a:ln w="12700" cap="rnd" cmpd="sng">
            <a:solidFill>
              <a:schemeClr val="tx2">
                <a:lumMod val="40000"/>
                <a:lumOff val="60000"/>
              </a:schemeClr>
            </a:solidFill>
            <a:prstDash val="solid"/>
            <a:round/>
            <a:headEnd type="none" w="sm" len="sm"/>
            <a:tailEnd type="none" w="sm" len="sm"/>
          </a:ln>
          <a:effectLst/>
        </p:spPr>
        <p:txBody>
          <a:bodyPr lIns="72000" tIns="72000" rIns="72000" bIns="72000"/>
          <a:lstStyle/>
          <a:p>
            <a:endParaRPr lang="de-DE" sz="1400" dirty="0"/>
          </a:p>
        </p:txBody>
      </p:sp>
      <p:sp>
        <p:nvSpPr>
          <p:cNvPr id="31" name="Rectangle 30">
            <a:extLst>
              <a:ext uri="{FF2B5EF4-FFF2-40B4-BE49-F238E27FC236}">
                <a16:creationId xmlns:a16="http://schemas.microsoft.com/office/drawing/2014/main" id="{22751444-DD11-4E9D-85CD-536AA747947A}"/>
              </a:ext>
            </a:extLst>
          </p:cNvPr>
          <p:cNvSpPr>
            <a:spLocks noChangeArrowheads="1"/>
          </p:cNvSpPr>
          <p:nvPr/>
        </p:nvSpPr>
        <p:spPr bwMode="auto">
          <a:xfrm>
            <a:off x="1822450" y="1366838"/>
            <a:ext cx="4803452" cy="852699"/>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r>
              <a:rPr lang="en-US" b="1" dirty="0"/>
              <a:t> </a:t>
            </a:r>
          </a:p>
        </p:txBody>
      </p:sp>
      <p:sp>
        <p:nvSpPr>
          <p:cNvPr id="33" name="Rectangle 32">
            <a:extLst>
              <a:ext uri="{FF2B5EF4-FFF2-40B4-BE49-F238E27FC236}">
                <a16:creationId xmlns:a16="http://schemas.microsoft.com/office/drawing/2014/main" id="{5D3AD9AB-4794-4E51-A8F3-2256294BB8BA}"/>
              </a:ext>
            </a:extLst>
          </p:cNvPr>
          <p:cNvSpPr>
            <a:spLocks noChangeArrowheads="1"/>
          </p:cNvSpPr>
          <p:nvPr/>
        </p:nvSpPr>
        <p:spPr bwMode="auto">
          <a:xfrm>
            <a:off x="1822450" y="2219537"/>
            <a:ext cx="4803452" cy="757411"/>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35" name="Rectangle 34">
            <a:extLst>
              <a:ext uri="{FF2B5EF4-FFF2-40B4-BE49-F238E27FC236}">
                <a16:creationId xmlns:a16="http://schemas.microsoft.com/office/drawing/2014/main" id="{1E1A7495-AE8F-4689-A83F-352EA3B98EF6}"/>
              </a:ext>
            </a:extLst>
          </p:cNvPr>
          <p:cNvSpPr>
            <a:spLocks noChangeArrowheads="1"/>
          </p:cNvSpPr>
          <p:nvPr/>
        </p:nvSpPr>
        <p:spPr bwMode="auto">
          <a:xfrm>
            <a:off x="1822450" y="2979391"/>
            <a:ext cx="4803452" cy="732978"/>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37" name="Rectangle 36">
            <a:extLst>
              <a:ext uri="{FF2B5EF4-FFF2-40B4-BE49-F238E27FC236}">
                <a16:creationId xmlns:a16="http://schemas.microsoft.com/office/drawing/2014/main" id="{BE452F43-1CD9-408D-8A54-D1ABC9BEA02B}"/>
              </a:ext>
            </a:extLst>
          </p:cNvPr>
          <p:cNvSpPr>
            <a:spLocks noChangeArrowheads="1"/>
          </p:cNvSpPr>
          <p:nvPr/>
        </p:nvSpPr>
        <p:spPr bwMode="auto">
          <a:xfrm>
            <a:off x="1822450" y="3712369"/>
            <a:ext cx="4803452" cy="740309"/>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39" name="Rectangle 38">
            <a:extLst>
              <a:ext uri="{FF2B5EF4-FFF2-40B4-BE49-F238E27FC236}">
                <a16:creationId xmlns:a16="http://schemas.microsoft.com/office/drawing/2014/main" id="{64458DDB-1338-4019-97E1-FDBFA0610A71}"/>
              </a:ext>
            </a:extLst>
          </p:cNvPr>
          <p:cNvSpPr>
            <a:spLocks noChangeArrowheads="1"/>
          </p:cNvSpPr>
          <p:nvPr/>
        </p:nvSpPr>
        <p:spPr bwMode="auto">
          <a:xfrm>
            <a:off x="1822450" y="4452678"/>
            <a:ext cx="4803452" cy="737865"/>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41" name="Rectangle 40">
            <a:extLst>
              <a:ext uri="{FF2B5EF4-FFF2-40B4-BE49-F238E27FC236}">
                <a16:creationId xmlns:a16="http://schemas.microsoft.com/office/drawing/2014/main" id="{E8C3F0CC-9B87-4DF7-BD1A-CA1456836333}"/>
              </a:ext>
            </a:extLst>
          </p:cNvPr>
          <p:cNvSpPr>
            <a:spLocks noChangeArrowheads="1"/>
          </p:cNvSpPr>
          <p:nvPr/>
        </p:nvSpPr>
        <p:spPr bwMode="auto">
          <a:xfrm>
            <a:off x="1822450" y="5190543"/>
            <a:ext cx="4803452" cy="852697"/>
          </a:xfrm>
          <a:prstGeom prst="rect">
            <a:avLst/>
          </a:prstGeom>
          <a:noFill/>
          <a:ln w="6350">
            <a:noFill/>
            <a:miter lim="800000"/>
            <a:headEnd/>
            <a:tailEnd/>
          </a:ln>
          <a:effectLst/>
        </p:spPr>
        <p:txBody>
          <a:bodyPr lIns="72000" tIns="72000" rIns="72000" bIns="72000" anchor="ctr"/>
          <a:lstStyle/>
          <a:p>
            <a:pPr algn="l" defTabSz="885825" eaLnBrk="0" hangingPunct="0">
              <a:spcBef>
                <a:spcPct val="0"/>
              </a:spcBef>
            </a:pPr>
            <a:r>
              <a:rPr lang="en-US" dirty="0"/>
              <a:t>Text</a:t>
            </a:r>
          </a:p>
        </p:txBody>
      </p:sp>
      <p:sp>
        <p:nvSpPr>
          <p:cNvPr id="43" name="Oval 42">
            <a:extLst>
              <a:ext uri="{FF2B5EF4-FFF2-40B4-BE49-F238E27FC236}">
                <a16:creationId xmlns:a16="http://schemas.microsoft.com/office/drawing/2014/main" id="{8DF44452-C028-4A00-8ED9-87DD7BB878FC}"/>
              </a:ext>
            </a:extLst>
          </p:cNvPr>
          <p:cNvSpPr>
            <a:spLocks noChangeArrowheads="1"/>
          </p:cNvSpPr>
          <p:nvPr/>
        </p:nvSpPr>
        <p:spPr bwMode="auto">
          <a:xfrm>
            <a:off x="8089415" y="2603128"/>
            <a:ext cx="2216039" cy="2216039"/>
          </a:xfrm>
          <a:prstGeom prst="ellipse">
            <a:avLst/>
          </a:prstGeom>
          <a:solidFill>
            <a:schemeClr val="accent2"/>
          </a:solidFill>
          <a:ln w="6350">
            <a:noFill/>
            <a:round/>
            <a:headEnd/>
            <a:tailEnd/>
          </a:ln>
          <a:effectLst/>
        </p:spPr>
        <p:txBody>
          <a:bodyPr wrap="none" lIns="72000" tIns="72000" rIns="72000" bIns="72000" anchor="ctr" anchorCtr="1"/>
          <a:lstStyle/>
          <a:p>
            <a:pPr algn="ctr" eaLnBrk="0" hangingPunct="0">
              <a:lnSpc>
                <a:spcPct val="85000"/>
              </a:lnSpc>
              <a:spcBef>
                <a:spcPts val="100"/>
              </a:spcBef>
              <a:spcAft>
                <a:spcPts val="300"/>
              </a:spcAft>
            </a:pPr>
            <a:r>
              <a:rPr lang="en-US" b="1" dirty="0">
                <a:solidFill>
                  <a:schemeClr val="bg1"/>
                </a:solidFill>
                <a:latin typeface="+mj-lt"/>
              </a:rPr>
              <a:t>Goal</a:t>
            </a:r>
          </a:p>
        </p:txBody>
      </p:sp>
    </p:spTree>
    <p:extLst>
      <p:ext uri="{BB962C8B-B14F-4D97-AF65-F5344CB8AC3E}">
        <p14:creationId xmlns:p14="http://schemas.microsoft.com/office/powerpoint/2010/main" val="58591822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Reduction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FF2B6648-ABF0-40BF-934F-D54C79E7589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AutoShape 5">
            <a:extLst>
              <a:ext uri="{FF2B5EF4-FFF2-40B4-BE49-F238E27FC236}">
                <a16:creationId xmlns:a16="http://schemas.microsoft.com/office/drawing/2014/main" id="{7B8CEEFB-AF45-48D7-A17E-378F2040D387}"/>
              </a:ext>
            </a:extLst>
          </p:cNvPr>
          <p:cNvSpPr>
            <a:spLocks noChangeArrowheads="1"/>
          </p:cNvSpPr>
          <p:nvPr/>
        </p:nvSpPr>
        <p:spPr bwMode="auto">
          <a:xfrm rot="16200000" flipH="1">
            <a:off x="2314878" y="2420219"/>
            <a:ext cx="198000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cxnSp>
        <p:nvCxnSpPr>
          <p:cNvPr id="13" name="Straight Arrow Connector 12">
            <a:extLst>
              <a:ext uri="{FF2B5EF4-FFF2-40B4-BE49-F238E27FC236}">
                <a16:creationId xmlns:a16="http://schemas.microsoft.com/office/drawing/2014/main" id="{859D6A7D-406B-4653-ADB4-B49115E0D815}"/>
              </a:ext>
            </a:extLst>
          </p:cNvPr>
          <p:cNvCxnSpPr/>
          <p:nvPr/>
        </p:nvCxnSpPr>
        <p:spPr>
          <a:xfrm>
            <a:off x="3304878" y="4050291"/>
            <a:ext cx="5605924" cy="1286884"/>
          </a:xfrm>
          <a:prstGeom prst="straightConnector1">
            <a:avLst/>
          </a:prstGeom>
          <a:ln w="28575">
            <a:solidFill>
              <a:schemeClr val="accent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4" name="AutoShape 5">
            <a:extLst>
              <a:ext uri="{FF2B5EF4-FFF2-40B4-BE49-F238E27FC236}">
                <a16:creationId xmlns:a16="http://schemas.microsoft.com/office/drawing/2014/main" id="{2C53646E-28C4-44F0-83B2-6CF5B4F0DD0D}"/>
              </a:ext>
            </a:extLst>
          </p:cNvPr>
          <p:cNvSpPr>
            <a:spLocks noChangeArrowheads="1"/>
          </p:cNvSpPr>
          <p:nvPr/>
        </p:nvSpPr>
        <p:spPr bwMode="auto">
          <a:xfrm rot="16200000" flipH="1">
            <a:off x="4827680" y="2776863"/>
            <a:ext cx="256032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5" name="AutoShape 5">
            <a:extLst>
              <a:ext uri="{FF2B5EF4-FFF2-40B4-BE49-F238E27FC236}">
                <a16:creationId xmlns:a16="http://schemas.microsoft.com/office/drawing/2014/main" id="{8D714427-B9AA-4F85-BE3B-A040EDAF28AC}"/>
              </a:ext>
            </a:extLst>
          </p:cNvPr>
          <p:cNvSpPr>
            <a:spLocks noChangeArrowheads="1"/>
          </p:cNvSpPr>
          <p:nvPr/>
        </p:nvSpPr>
        <p:spPr bwMode="auto">
          <a:xfrm rot="16200000" flipH="1">
            <a:off x="7310602" y="3096903"/>
            <a:ext cx="320040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6" name="Text Box 10">
            <a:extLst>
              <a:ext uri="{FF2B5EF4-FFF2-40B4-BE49-F238E27FC236}">
                <a16:creationId xmlns:a16="http://schemas.microsoft.com/office/drawing/2014/main" id="{F589C558-1CBF-4A53-8F7D-86E84157FFBB}"/>
              </a:ext>
            </a:extLst>
          </p:cNvPr>
          <p:cNvSpPr txBox="1">
            <a:spLocks noChangeArrowheads="1"/>
          </p:cNvSpPr>
          <p:nvPr/>
        </p:nvSpPr>
        <p:spPr bwMode="auto">
          <a:xfrm>
            <a:off x="2414840" y="1416161"/>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17" name="Text Box 10">
            <a:extLst>
              <a:ext uri="{FF2B5EF4-FFF2-40B4-BE49-F238E27FC236}">
                <a16:creationId xmlns:a16="http://schemas.microsoft.com/office/drawing/2014/main" id="{77D2000E-0844-4EAC-A415-8FE8110DB455}"/>
              </a:ext>
            </a:extLst>
          </p:cNvPr>
          <p:cNvSpPr txBox="1">
            <a:spLocks noChangeArrowheads="1"/>
          </p:cNvSpPr>
          <p:nvPr/>
        </p:nvSpPr>
        <p:spPr bwMode="auto">
          <a:xfrm>
            <a:off x="5217802" y="1416161"/>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18" name="Text Box 10">
            <a:extLst>
              <a:ext uri="{FF2B5EF4-FFF2-40B4-BE49-F238E27FC236}">
                <a16:creationId xmlns:a16="http://schemas.microsoft.com/office/drawing/2014/main" id="{DDDE0F5A-58C8-4910-A9FF-370A1861A8A6}"/>
              </a:ext>
            </a:extLst>
          </p:cNvPr>
          <p:cNvSpPr txBox="1">
            <a:spLocks noChangeArrowheads="1"/>
          </p:cNvSpPr>
          <p:nvPr/>
        </p:nvSpPr>
        <p:spPr bwMode="auto">
          <a:xfrm>
            <a:off x="8020764" y="1416161"/>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Tree>
    <p:extLst>
      <p:ext uri="{BB962C8B-B14F-4D97-AF65-F5344CB8AC3E}">
        <p14:creationId xmlns:p14="http://schemas.microsoft.com/office/powerpoint/2010/main" val="40082313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Reduction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F481221-06EB-4E76-8982-91F87D1AB0F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5" name="Arrow: Right 14">
            <a:extLst>
              <a:ext uri="{FF2B5EF4-FFF2-40B4-BE49-F238E27FC236}">
                <a16:creationId xmlns:a16="http://schemas.microsoft.com/office/drawing/2014/main" id="{3041F94D-3BB8-49B9-A224-3542FD3FB5DC}"/>
              </a:ext>
            </a:extLst>
          </p:cNvPr>
          <p:cNvSpPr/>
          <p:nvPr/>
        </p:nvSpPr>
        <p:spPr>
          <a:xfrm rot="739882">
            <a:off x="2308861" y="4355521"/>
            <a:ext cx="7680960" cy="439345"/>
          </a:xfrm>
          <a:prstGeom prst="rightArrow">
            <a:avLst/>
          </a:prstGeom>
          <a:gradFill flip="none" rotWithShape="1">
            <a:gsLst>
              <a:gs pos="0">
                <a:schemeClr val="accent3"/>
              </a:gs>
              <a:gs pos="100000">
                <a:schemeClr val="accent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id="{B1C1F565-22A7-4DB2-8BF8-3435FE70D0DD}"/>
              </a:ext>
            </a:extLst>
          </p:cNvPr>
          <p:cNvGrpSpPr/>
          <p:nvPr/>
        </p:nvGrpSpPr>
        <p:grpSpPr>
          <a:xfrm>
            <a:off x="2414841" y="1297622"/>
            <a:ext cx="1780076" cy="2242774"/>
            <a:chOff x="3009200" y="1366838"/>
            <a:chExt cx="1780076" cy="2242774"/>
          </a:xfrm>
        </p:grpSpPr>
        <p:sp>
          <p:nvSpPr>
            <p:cNvPr id="17" name="Text Box 10">
              <a:extLst>
                <a:ext uri="{FF2B5EF4-FFF2-40B4-BE49-F238E27FC236}">
                  <a16:creationId xmlns:a16="http://schemas.microsoft.com/office/drawing/2014/main" id="{E0062E3B-7D6E-47B7-88F1-0C80EF1F198C}"/>
                </a:ext>
              </a:extLst>
            </p:cNvPr>
            <p:cNvSpPr txBox="1">
              <a:spLocks noChangeArrowheads="1"/>
            </p:cNvSpPr>
            <p:nvPr/>
          </p:nvSpPr>
          <p:spPr bwMode="auto">
            <a:xfrm>
              <a:off x="3009200" y="1366838"/>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accent3"/>
                  </a:solidFill>
                </a:rPr>
                <a:t>Text</a:t>
              </a:r>
            </a:p>
          </p:txBody>
        </p:sp>
        <p:cxnSp>
          <p:nvCxnSpPr>
            <p:cNvPr id="18" name="Straight Arrow Connector 17">
              <a:extLst>
                <a:ext uri="{FF2B5EF4-FFF2-40B4-BE49-F238E27FC236}">
                  <a16:creationId xmlns:a16="http://schemas.microsoft.com/office/drawing/2014/main" id="{C7570391-9F7D-4A4C-B6EC-C8B92F22DA95}"/>
                </a:ext>
              </a:extLst>
            </p:cNvPr>
            <p:cNvCxnSpPr/>
            <p:nvPr/>
          </p:nvCxnSpPr>
          <p:spPr>
            <a:xfrm>
              <a:off x="3899238" y="1805940"/>
              <a:ext cx="0" cy="1803672"/>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694AEC61-EB84-43DA-8C6B-EB49337799AB}"/>
              </a:ext>
            </a:extLst>
          </p:cNvPr>
          <p:cNvGrpSpPr/>
          <p:nvPr/>
        </p:nvGrpSpPr>
        <p:grpSpPr>
          <a:xfrm>
            <a:off x="5217803" y="1297622"/>
            <a:ext cx="1780076" cy="3045142"/>
            <a:chOff x="5812162" y="1366838"/>
            <a:chExt cx="1780076" cy="3045142"/>
          </a:xfrm>
        </p:grpSpPr>
        <p:sp>
          <p:nvSpPr>
            <p:cNvPr id="20" name="Text Box 10">
              <a:extLst>
                <a:ext uri="{FF2B5EF4-FFF2-40B4-BE49-F238E27FC236}">
                  <a16:creationId xmlns:a16="http://schemas.microsoft.com/office/drawing/2014/main" id="{1FEE92E7-38B0-4B60-8BD7-67717A90B426}"/>
                </a:ext>
              </a:extLst>
            </p:cNvPr>
            <p:cNvSpPr txBox="1">
              <a:spLocks noChangeArrowheads="1"/>
            </p:cNvSpPr>
            <p:nvPr/>
          </p:nvSpPr>
          <p:spPr bwMode="auto">
            <a:xfrm>
              <a:off x="5812162" y="1366838"/>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accent2"/>
                  </a:solidFill>
                </a:rPr>
                <a:t>Text</a:t>
              </a:r>
            </a:p>
          </p:txBody>
        </p:sp>
        <p:cxnSp>
          <p:nvCxnSpPr>
            <p:cNvPr id="21" name="Straight Arrow Connector 20">
              <a:extLst>
                <a:ext uri="{FF2B5EF4-FFF2-40B4-BE49-F238E27FC236}">
                  <a16:creationId xmlns:a16="http://schemas.microsoft.com/office/drawing/2014/main" id="{FC26A555-264F-42F0-A6D8-58898BC73CC5}"/>
                </a:ext>
              </a:extLst>
            </p:cNvPr>
            <p:cNvCxnSpPr/>
            <p:nvPr/>
          </p:nvCxnSpPr>
          <p:spPr>
            <a:xfrm>
              <a:off x="6702200" y="1805940"/>
              <a:ext cx="0" cy="260604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89ACD567-1821-4227-A489-F184EA06D65C}"/>
              </a:ext>
            </a:extLst>
          </p:cNvPr>
          <p:cNvGrpSpPr/>
          <p:nvPr/>
        </p:nvGrpSpPr>
        <p:grpSpPr>
          <a:xfrm>
            <a:off x="8020765" y="1297622"/>
            <a:ext cx="1780076" cy="3628072"/>
            <a:chOff x="8615124" y="1366838"/>
            <a:chExt cx="1780076" cy="3628072"/>
          </a:xfrm>
        </p:grpSpPr>
        <p:sp>
          <p:nvSpPr>
            <p:cNvPr id="23" name="Text Box 10">
              <a:extLst>
                <a:ext uri="{FF2B5EF4-FFF2-40B4-BE49-F238E27FC236}">
                  <a16:creationId xmlns:a16="http://schemas.microsoft.com/office/drawing/2014/main" id="{747D8E67-8075-4CDC-8766-502214985B76}"/>
                </a:ext>
              </a:extLst>
            </p:cNvPr>
            <p:cNvSpPr txBox="1">
              <a:spLocks noChangeArrowheads="1"/>
            </p:cNvSpPr>
            <p:nvPr/>
          </p:nvSpPr>
          <p:spPr bwMode="auto">
            <a:xfrm>
              <a:off x="8615124" y="1366838"/>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t>Text</a:t>
              </a:r>
            </a:p>
          </p:txBody>
        </p:sp>
        <p:cxnSp>
          <p:nvCxnSpPr>
            <p:cNvPr id="24" name="Straight Arrow Connector 23">
              <a:extLst>
                <a:ext uri="{FF2B5EF4-FFF2-40B4-BE49-F238E27FC236}">
                  <a16:creationId xmlns:a16="http://schemas.microsoft.com/office/drawing/2014/main" id="{A2677D12-306D-4EEA-8677-56A64E3345D8}"/>
                </a:ext>
              </a:extLst>
            </p:cNvPr>
            <p:cNvCxnSpPr/>
            <p:nvPr/>
          </p:nvCxnSpPr>
          <p:spPr>
            <a:xfrm>
              <a:off x="9505162" y="1805940"/>
              <a:ext cx="0" cy="31889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69877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03203E-7D42-ED4F-94F2-E19E6FE3F56A}"/>
              </a:ext>
            </a:extLst>
          </p:cNvPr>
          <p:cNvSpPr>
            <a:spLocks noGrp="1"/>
          </p:cNvSpPr>
          <p:nvPr>
            <p:ph type="ctrTitle"/>
          </p:nvPr>
        </p:nvSpPr>
        <p:spPr/>
        <p:txBody>
          <a:bodyPr/>
          <a:lstStyle/>
          <a:p>
            <a:endParaRPr lang="en-US"/>
          </a:p>
        </p:txBody>
      </p:sp>
      <p:sp>
        <p:nvSpPr>
          <p:cNvPr id="4" name="Text Placeholder 3">
            <a:extLst>
              <a:ext uri="{FF2B5EF4-FFF2-40B4-BE49-F238E27FC236}">
                <a16:creationId xmlns:a16="http://schemas.microsoft.com/office/drawing/2014/main" id="{9BC3CAEA-3B0C-914C-A7FF-7749CC2A87A7}"/>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FEE42ED8-5215-CE49-9C03-3FF8E543D189}"/>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51915596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crease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F615684-550D-42A6-8AE5-856FA9F96B4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3" name="Group 12">
            <a:extLst>
              <a:ext uri="{FF2B5EF4-FFF2-40B4-BE49-F238E27FC236}">
                <a16:creationId xmlns:a16="http://schemas.microsoft.com/office/drawing/2014/main" id="{42D0BE2D-A0B3-41B4-8F9E-5D34592A1DD8}"/>
              </a:ext>
            </a:extLst>
          </p:cNvPr>
          <p:cNvGrpSpPr/>
          <p:nvPr/>
        </p:nvGrpSpPr>
        <p:grpSpPr>
          <a:xfrm flipV="1">
            <a:off x="2854878" y="1625156"/>
            <a:ext cx="6505924" cy="3456956"/>
            <a:chOff x="2854878" y="1830896"/>
            <a:chExt cx="6505924" cy="3456956"/>
          </a:xfrm>
        </p:grpSpPr>
        <p:sp>
          <p:nvSpPr>
            <p:cNvPr id="14" name="AutoShape 5">
              <a:extLst>
                <a:ext uri="{FF2B5EF4-FFF2-40B4-BE49-F238E27FC236}">
                  <a16:creationId xmlns:a16="http://schemas.microsoft.com/office/drawing/2014/main" id="{43FFE540-47A1-45B8-A8D4-1B25F19E5A5C}"/>
                </a:ext>
              </a:extLst>
            </p:cNvPr>
            <p:cNvSpPr>
              <a:spLocks noChangeArrowheads="1"/>
            </p:cNvSpPr>
            <p:nvPr/>
          </p:nvSpPr>
          <p:spPr bwMode="auto">
            <a:xfrm rot="16200000" flipH="1">
              <a:off x="2314878" y="2370896"/>
              <a:ext cx="198000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cxnSp>
          <p:nvCxnSpPr>
            <p:cNvPr id="15" name="Straight Arrow Connector 14">
              <a:extLst>
                <a:ext uri="{FF2B5EF4-FFF2-40B4-BE49-F238E27FC236}">
                  <a16:creationId xmlns:a16="http://schemas.microsoft.com/office/drawing/2014/main" id="{7DB7814E-E08D-456D-A3D2-73D03E4ED5F5}"/>
                </a:ext>
              </a:extLst>
            </p:cNvPr>
            <p:cNvCxnSpPr/>
            <p:nvPr/>
          </p:nvCxnSpPr>
          <p:spPr>
            <a:xfrm>
              <a:off x="3304878" y="4000968"/>
              <a:ext cx="5605924" cy="1286884"/>
            </a:xfrm>
            <a:prstGeom prst="straightConnector1">
              <a:avLst/>
            </a:prstGeom>
            <a:ln w="28575">
              <a:solidFill>
                <a:schemeClr val="accent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6" name="AutoShape 5">
              <a:extLst>
                <a:ext uri="{FF2B5EF4-FFF2-40B4-BE49-F238E27FC236}">
                  <a16:creationId xmlns:a16="http://schemas.microsoft.com/office/drawing/2014/main" id="{DD28861F-0423-44BC-BC0F-5A92ABAD48C2}"/>
                </a:ext>
              </a:extLst>
            </p:cNvPr>
            <p:cNvSpPr>
              <a:spLocks noChangeArrowheads="1"/>
            </p:cNvSpPr>
            <p:nvPr/>
          </p:nvSpPr>
          <p:spPr bwMode="auto">
            <a:xfrm rot="16200000" flipH="1">
              <a:off x="4827680" y="2727540"/>
              <a:ext cx="256032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sp>
          <p:nvSpPr>
            <p:cNvPr id="17" name="AutoShape 5">
              <a:extLst>
                <a:ext uri="{FF2B5EF4-FFF2-40B4-BE49-F238E27FC236}">
                  <a16:creationId xmlns:a16="http://schemas.microsoft.com/office/drawing/2014/main" id="{938CD1AA-5B00-4165-97BD-819D1E735B5F}"/>
                </a:ext>
              </a:extLst>
            </p:cNvPr>
            <p:cNvSpPr>
              <a:spLocks noChangeArrowheads="1"/>
            </p:cNvSpPr>
            <p:nvPr/>
          </p:nvSpPr>
          <p:spPr bwMode="auto">
            <a:xfrm rot="16200000" flipH="1">
              <a:off x="7310602" y="3047580"/>
              <a:ext cx="3200400" cy="900000"/>
            </a:xfrm>
            <a:prstGeom prst="rightArrow">
              <a:avLst>
                <a:gd name="adj1" fmla="val 50000"/>
                <a:gd name="adj2" fmla="val 45387"/>
              </a:avLst>
            </a:prstGeom>
            <a:solidFill>
              <a:schemeClr val="tx2">
                <a:lumMod val="40000"/>
                <a:lumOff val="60000"/>
              </a:schemeClr>
            </a:solidFill>
            <a:ln w="6350">
              <a:noFill/>
              <a:miter lim="800000"/>
              <a:headEnd/>
              <a:tailEnd/>
            </a:ln>
            <a:effectLst/>
          </p:spPr>
          <p:txBody>
            <a:bodyPr vert="eaVert" wrap="none" lIns="72000" tIns="72000" rIns="72000" bIns="72000" anchor="ctr"/>
            <a:lstStyle/>
            <a:p>
              <a:pPr algn="ctr" eaLnBrk="0" hangingPunct="0"/>
              <a:endParaRPr lang="en-US" dirty="0">
                <a:solidFill>
                  <a:schemeClr val="tx1"/>
                </a:solidFill>
              </a:endParaRPr>
            </a:p>
          </p:txBody>
        </p:sp>
      </p:grpSp>
      <p:sp>
        <p:nvSpPr>
          <p:cNvPr id="18" name="Text Box 10">
            <a:extLst>
              <a:ext uri="{FF2B5EF4-FFF2-40B4-BE49-F238E27FC236}">
                <a16:creationId xmlns:a16="http://schemas.microsoft.com/office/drawing/2014/main" id="{808747B4-0422-4124-A1F4-1135277F7785}"/>
              </a:ext>
            </a:extLst>
          </p:cNvPr>
          <p:cNvSpPr txBox="1">
            <a:spLocks noChangeArrowheads="1"/>
          </p:cNvSpPr>
          <p:nvPr/>
        </p:nvSpPr>
        <p:spPr bwMode="auto">
          <a:xfrm>
            <a:off x="2414840" y="5082112"/>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19" name="Text Box 10">
            <a:extLst>
              <a:ext uri="{FF2B5EF4-FFF2-40B4-BE49-F238E27FC236}">
                <a16:creationId xmlns:a16="http://schemas.microsoft.com/office/drawing/2014/main" id="{CA76C602-30BC-4047-AE54-0EA9EF539890}"/>
              </a:ext>
            </a:extLst>
          </p:cNvPr>
          <p:cNvSpPr txBox="1">
            <a:spLocks noChangeArrowheads="1"/>
          </p:cNvSpPr>
          <p:nvPr/>
        </p:nvSpPr>
        <p:spPr bwMode="auto">
          <a:xfrm>
            <a:off x="5217802" y="5082112"/>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
        <p:nvSpPr>
          <p:cNvPr id="20" name="Text Box 10">
            <a:extLst>
              <a:ext uri="{FF2B5EF4-FFF2-40B4-BE49-F238E27FC236}">
                <a16:creationId xmlns:a16="http://schemas.microsoft.com/office/drawing/2014/main" id="{FE8AA1C3-2ABE-492F-9BFA-58B6D5855F3C}"/>
              </a:ext>
            </a:extLst>
          </p:cNvPr>
          <p:cNvSpPr txBox="1">
            <a:spLocks noChangeArrowheads="1"/>
          </p:cNvSpPr>
          <p:nvPr/>
        </p:nvSpPr>
        <p:spPr bwMode="auto">
          <a:xfrm>
            <a:off x="8020764" y="5082112"/>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algn="ctr"/>
            <a:r>
              <a:rPr lang="en-US" b="1" cap="none" dirty="0">
                <a:solidFill>
                  <a:schemeClr val="tx1"/>
                </a:solidFill>
              </a:rPr>
              <a:t>Text</a:t>
            </a:r>
          </a:p>
        </p:txBody>
      </p:sp>
    </p:spTree>
    <p:extLst>
      <p:ext uri="{BB962C8B-B14F-4D97-AF65-F5344CB8AC3E}">
        <p14:creationId xmlns:p14="http://schemas.microsoft.com/office/powerpoint/2010/main" val="158197496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Increase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Text Box 10">
            <a:extLst>
              <a:ext uri="{FF2B5EF4-FFF2-40B4-BE49-F238E27FC236}">
                <a16:creationId xmlns:a16="http://schemas.microsoft.com/office/drawing/2014/main" id="{D49CC600-5F06-4779-84CB-410936EE1C2D}"/>
              </a:ext>
            </a:extLst>
          </p:cNvPr>
          <p:cNvSpPr txBox="1">
            <a:spLocks noChangeArrowheads="1"/>
          </p:cNvSpPr>
          <p:nvPr/>
        </p:nvSpPr>
        <p:spPr bwMode="auto">
          <a:xfrm>
            <a:off x="2414841" y="4963913"/>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chemeClr val="accent3"/>
                </a:solidFill>
                <a:effectLst/>
                <a:uLnTx/>
                <a:uFillTx/>
                <a:latin typeface="Graphik Black"/>
                <a:ea typeface="+mn-ea"/>
                <a:cs typeface="+mn-cs"/>
              </a:rPr>
              <a:t>Text</a:t>
            </a:r>
          </a:p>
        </p:txBody>
      </p:sp>
      <p:sp>
        <p:nvSpPr>
          <p:cNvPr id="6" name="Text Box 10">
            <a:extLst>
              <a:ext uri="{FF2B5EF4-FFF2-40B4-BE49-F238E27FC236}">
                <a16:creationId xmlns:a16="http://schemas.microsoft.com/office/drawing/2014/main" id="{048F45E9-8F49-45B4-A867-234076F5BA17}"/>
              </a:ext>
            </a:extLst>
          </p:cNvPr>
          <p:cNvSpPr txBox="1">
            <a:spLocks noChangeArrowheads="1"/>
          </p:cNvSpPr>
          <p:nvPr/>
        </p:nvSpPr>
        <p:spPr bwMode="auto">
          <a:xfrm>
            <a:off x="5217803" y="4963913"/>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Graphik Black"/>
                <a:ea typeface="+mn-ea"/>
                <a:cs typeface="+mn-cs"/>
              </a:rPr>
              <a:t>Text</a:t>
            </a:r>
          </a:p>
        </p:txBody>
      </p:sp>
      <p:sp>
        <p:nvSpPr>
          <p:cNvPr id="7" name="Text Box 10">
            <a:extLst>
              <a:ext uri="{FF2B5EF4-FFF2-40B4-BE49-F238E27FC236}">
                <a16:creationId xmlns:a16="http://schemas.microsoft.com/office/drawing/2014/main" id="{17E7A0BD-F7DE-496D-A005-BD04EF3A4996}"/>
              </a:ext>
            </a:extLst>
          </p:cNvPr>
          <p:cNvSpPr txBox="1">
            <a:spLocks noChangeArrowheads="1"/>
          </p:cNvSpPr>
          <p:nvPr/>
        </p:nvSpPr>
        <p:spPr bwMode="auto">
          <a:xfrm>
            <a:off x="8020765" y="4963913"/>
            <a:ext cx="1780076" cy="343831"/>
          </a:xfrm>
          <a:prstGeom prst="rect">
            <a:avLst/>
          </a:prstGeom>
          <a:noFill/>
          <a:ln w="6350">
            <a:noFill/>
            <a:miter lim="800000"/>
            <a:headEnd/>
            <a:tailEnd/>
          </a:ln>
          <a:effectLst/>
        </p:spPr>
        <p:txBody>
          <a:bodyPr lIns="0" tIns="0" rIns="0" bIns="0" anchor="ctr"/>
          <a:lstStyle>
            <a:defPPr>
              <a:defRPr lang="en-US"/>
            </a:defPPr>
            <a:lvl1pPr eaLnBrk="0" hangingPunct="0">
              <a:spcBef>
                <a:spcPct val="50000"/>
              </a:spcBef>
              <a:defRPr cap="all">
                <a:solidFill>
                  <a:schemeClr val="accent1"/>
                </a:solidFill>
                <a:latin typeface="+mj-lt"/>
              </a:defRPr>
            </a:lvl1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effectLst/>
                <a:uLnTx/>
                <a:uFillTx/>
                <a:latin typeface="Graphik Black"/>
                <a:ea typeface="+mn-ea"/>
                <a:cs typeface="+mn-cs"/>
              </a:rPr>
              <a:t>Text</a:t>
            </a:r>
          </a:p>
        </p:txBody>
      </p:sp>
      <p:sp>
        <p:nvSpPr>
          <p:cNvPr id="9" name="Arrow: Right 8">
            <a:extLst>
              <a:ext uri="{FF2B5EF4-FFF2-40B4-BE49-F238E27FC236}">
                <a16:creationId xmlns:a16="http://schemas.microsoft.com/office/drawing/2014/main" id="{39669C00-609D-46D6-AFC2-D9A4AEBAD78A}"/>
              </a:ext>
            </a:extLst>
          </p:cNvPr>
          <p:cNvSpPr/>
          <p:nvPr/>
        </p:nvSpPr>
        <p:spPr>
          <a:xfrm rot="20860118" flipV="1">
            <a:off x="2308861" y="1867552"/>
            <a:ext cx="7680960" cy="439345"/>
          </a:xfrm>
          <a:prstGeom prst="rightArrow">
            <a:avLst/>
          </a:prstGeom>
          <a:gradFill flip="none" rotWithShape="1">
            <a:gsLst>
              <a:gs pos="0">
                <a:schemeClr val="accent3"/>
              </a:gs>
              <a:gs pos="100000">
                <a:schemeClr val="accent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lt1"/>
              </a:solidFill>
            </a:endParaRPr>
          </a:p>
        </p:txBody>
      </p:sp>
      <p:cxnSp>
        <p:nvCxnSpPr>
          <p:cNvPr id="10" name="Straight Arrow Connector 9">
            <a:extLst>
              <a:ext uri="{FF2B5EF4-FFF2-40B4-BE49-F238E27FC236}">
                <a16:creationId xmlns:a16="http://schemas.microsoft.com/office/drawing/2014/main" id="{79CFBC9F-FE4E-4FC0-9AF6-32975BA34C1D}"/>
              </a:ext>
            </a:extLst>
          </p:cNvPr>
          <p:cNvCxnSpPr/>
          <p:nvPr/>
        </p:nvCxnSpPr>
        <p:spPr>
          <a:xfrm flipV="1">
            <a:off x="3304879" y="3122022"/>
            <a:ext cx="0" cy="1803672"/>
          </a:xfrm>
          <a:prstGeom prst="straightConnector1">
            <a:avLst/>
          </a:prstGeom>
          <a:noFill/>
          <a:ln w="19050" cap="flat" cmpd="sng" algn="ctr">
            <a:solidFill>
              <a:srgbClr val="A100FF"/>
            </a:solidFill>
            <a:prstDash val="solid"/>
            <a:tailEnd type="triangle"/>
          </a:ln>
          <a:effectLst/>
        </p:spPr>
      </p:cxnSp>
      <p:cxnSp>
        <p:nvCxnSpPr>
          <p:cNvPr id="11" name="Straight Arrow Connector 10">
            <a:extLst>
              <a:ext uri="{FF2B5EF4-FFF2-40B4-BE49-F238E27FC236}">
                <a16:creationId xmlns:a16="http://schemas.microsoft.com/office/drawing/2014/main" id="{65032183-23C4-408A-8F8F-B239F8D981B0}"/>
              </a:ext>
            </a:extLst>
          </p:cNvPr>
          <p:cNvCxnSpPr/>
          <p:nvPr/>
        </p:nvCxnSpPr>
        <p:spPr>
          <a:xfrm flipV="1">
            <a:off x="6107841" y="2319654"/>
            <a:ext cx="0" cy="2606040"/>
          </a:xfrm>
          <a:prstGeom prst="straightConnector1">
            <a:avLst/>
          </a:prstGeom>
          <a:noFill/>
          <a:ln w="19050" cap="flat" cmpd="sng" algn="ctr">
            <a:solidFill>
              <a:schemeClr val="accent2"/>
            </a:solidFill>
            <a:prstDash val="solid"/>
            <a:tailEnd type="triangle"/>
          </a:ln>
          <a:effectLst/>
        </p:spPr>
      </p:cxnSp>
      <p:cxnSp>
        <p:nvCxnSpPr>
          <p:cNvPr id="12" name="Straight Arrow Connector 11">
            <a:extLst>
              <a:ext uri="{FF2B5EF4-FFF2-40B4-BE49-F238E27FC236}">
                <a16:creationId xmlns:a16="http://schemas.microsoft.com/office/drawing/2014/main" id="{6C2DDF66-417C-4F9D-8711-001C28153F3D}"/>
              </a:ext>
            </a:extLst>
          </p:cNvPr>
          <p:cNvCxnSpPr/>
          <p:nvPr/>
        </p:nvCxnSpPr>
        <p:spPr>
          <a:xfrm flipV="1">
            <a:off x="8910803" y="1736724"/>
            <a:ext cx="0" cy="3188970"/>
          </a:xfrm>
          <a:prstGeom prst="straightConnector1">
            <a:avLst/>
          </a:prstGeom>
          <a:noFill/>
          <a:ln w="19050" cap="flat" cmpd="sng" algn="ctr">
            <a:solidFill>
              <a:schemeClr val="accent1"/>
            </a:solidFill>
            <a:prstDash val="solid"/>
            <a:tailEnd type="triangle"/>
          </a:ln>
          <a:effectLst/>
        </p:spPr>
      </p:cxnSp>
      <p:sp>
        <p:nvSpPr>
          <p:cNvPr id="3" name="Rectangle 2">
            <a:hlinkClick r:id="rId3" action="ppaction://hlinksldjump"/>
            <a:extLst>
              <a:ext uri="{FF2B5EF4-FFF2-40B4-BE49-F238E27FC236}">
                <a16:creationId xmlns:a16="http://schemas.microsoft.com/office/drawing/2014/main" id="{453DC43F-5BF4-404D-B36B-AD005BFE5E4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4165379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Processes</a:t>
            </a:r>
          </a:p>
        </p:txBody>
      </p:sp>
      <p:sp>
        <p:nvSpPr>
          <p:cNvPr id="2" name="Text Placeholder 1">
            <a:extLst>
              <a:ext uri="{FF2B5EF4-FFF2-40B4-BE49-F238E27FC236}">
                <a16:creationId xmlns:a16="http://schemas.microsoft.com/office/drawing/2014/main" id="{436D4DC6-5702-421B-A70C-6E8A33B9FF2A}"/>
              </a:ext>
            </a:extLst>
          </p:cNvPr>
          <p:cNvSpPr>
            <a:spLocks noGrp="1"/>
          </p:cNvSpPr>
          <p:nvPr>
            <p:ph type="body" sz="quarter" idx="14"/>
          </p:nvPr>
        </p:nvSpPr>
        <p:spPr/>
        <p:txBody>
          <a:bodyPr numCol="1"/>
          <a:lstStyle/>
          <a:p>
            <a:pPr marL="0" indent="0"/>
            <a:r>
              <a:rPr lang="en-US" dirty="0">
                <a:hlinkClick r:id="rId3" action="ppaction://hlinksldjump">
                  <a:extLst>
                    <a:ext uri="{A12FA001-AC4F-418D-AE19-62706E023703}">
                      <ahyp:hlinkClr xmlns:ahyp="http://schemas.microsoft.com/office/drawing/2018/hyperlinkcolor" val="tx"/>
                    </a:ext>
                  </a:extLst>
                </a:hlinkClick>
              </a:rPr>
              <a:t>Linear Flows</a:t>
            </a:r>
            <a:endParaRPr lang="en-US" dirty="0"/>
          </a:p>
          <a:p>
            <a:pPr marL="0" indent="0"/>
            <a:r>
              <a:rPr lang="en-US" dirty="0">
                <a:hlinkClick r:id="rId4" action="ppaction://hlinksldjump">
                  <a:extLst>
                    <a:ext uri="{A12FA001-AC4F-418D-AE19-62706E023703}">
                      <ahyp:hlinkClr xmlns:ahyp="http://schemas.microsoft.com/office/drawing/2018/hyperlinkcolor" val="tx"/>
                    </a:ext>
                  </a:extLst>
                </a:hlinkClick>
              </a:rPr>
              <a:t>Issue to Outcome Flows</a:t>
            </a:r>
            <a:endParaRPr lang="en-US" dirty="0"/>
          </a:p>
          <a:p>
            <a:pPr marL="0" indent="0"/>
            <a:r>
              <a:rPr lang="en-US" dirty="0">
                <a:hlinkClick r:id="rId5" action="ppaction://hlinksldjump">
                  <a:extLst>
                    <a:ext uri="{A12FA001-AC4F-418D-AE19-62706E023703}">
                      <ahyp:hlinkClr xmlns:ahyp="http://schemas.microsoft.com/office/drawing/2018/hyperlinkcolor" val="tx"/>
                    </a:ext>
                  </a:extLst>
                </a:hlinkClick>
              </a:rPr>
              <a:t>Circular Flows</a:t>
            </a:r>
            <a:endParaRPr lang="en-US" dirty="0"/>
          </a:p>
        </p:txBody>
      </p:sp>
      <p:sp>
        <p:nvSpPr>
          <p:cNvPr id="11" name="Freeform: Shape 10">
            <a:hlinkClick r:id="rId6" action="ppaction://hlinksldjump"/>
            <a:extLst>
              <a:ext uri="{FF2B5EF4-FFF2-40B4-BE49-F238E27FC236}">
                <a16:creationId xmlns:a16="http://schemas.microsoft.com/office/drawing/2014/main" id="{C6C9AC4F-DBB0-464A-AC4C-AEB4735F4D7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TextBox 2">
            <a:extLst>
              <a:ext uri="{FF2B5EF4-FFF2-40B4-BE49-F238E27FC236}">
                <a16:creationId xmlns:a16="http://schemas.microsoft.com/office/drawing/2014/main" id="{CB76D598-0EC5-1143-B4C0-51512661FA49}"/>
              </a:ext>
            </a:extLst>
          </p:cNvPr>
          <p:cNvSpPr txBox="1"/>
          <p:nvPr/>
        </p:nvSpPr>
        <p:spPr>
          <a:xfrm>
            <a:off x="11661569" y="54626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5" name="Rectangle 4">
            <a:hlinkClick r:id="rId6" action="ppaction://hlinksldjump"/>
            <a:extLst>
              <a:ext uri="{FF2B5EF4-FFF2-40B4-BE49-F238E27FC236}">
                <a16:creationId xmlns:a16="http://schemas.microsoft.com/office/drawing/2014/main" id="{707D9961-168D-48DA-A923-9BFB9C9484E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43930638"/>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ECF093D-0477-4181-9DF7-3E067A21B120}"/>
              </a:ext>
            </a:extLst>
          </p:cNvPr>
          <p:cNvSpPr>
            <a:spLocks noGrp="1"/>
          </p:cNvSpPr>
          <p:nvPr>
            <p:ph type="title"/>
          </p:nvPr>
        </p:nvSpPr>
        <p:spPr/>
        <p:txBody>
          <a:bodyPr/>
          <a:lstStyle/>
          <a:p>
            <a:r>
              <a:rPr lang="en-US" dirty="0"/>
              <a:t>Linear Flows</a:t>
            </a:r>
          </a:p>
        </p:txBody>
      </p:sp>
      <p:sp>
        <p:nvSpPr>
          <p:cNvPr id="2" name="Text Placeholder 1">
            <a:extLst>
              <a:ext uri="{FF2B5EF4-FFF2-40B4-BE49-F238E27FC236}">
                <a16:creationId xmlns:a16="http://schemas.microsoft.com/office/drawing/2014/main" id="{11C41B9D-847D-40CF-A145-F5F1B756E7ED}"/>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Processes</a:t>
            </a:r>
            <a:endParaRPr lang="en-US" dirty="0"/>
          </a:p>
        </p:txBody>
      </p:sp>
      <p:sp>
        <p:nvSpPr>
          <p:cNvPr id="19" name="Freeform: Shape 18">
            <a:hlinkClick r:id="rId4" action="ppaction://hlinksldjump"/>
            <a:extLst>
              <a:ext uri="{FF2B5EF4-FFF2-40B4-BE49-F238E27FC236}">
                <a16:creationId xmlns:a16="http://schemas.microsoft.com/office/drawing/2014/main" id="{340D133B-25C2-40F9-8E2C-AEDDFAFE7AE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21" name="TextBox 20">
            <a:extLst>
              <a:ext uri="{FF2B5EF4-FFF2-40B4-BE49-F238E27FC236}">
                <a16:creationId xmlns:a16="http://schemas.microsoft.com/office/drawing/2014/main" id="{F3A1255E-7DD4-4E6A-B47B-562C39BD1720}"/>
              </a:ext>
            </a:extLst>
          </p:cNvPr>
          <p:cNvSpPr txBox="1"/>
          <p:nvPr/>
        </p:nvSpPr>
        <p:spPr>
          <a:xfrm>
            <a:off x="11661569" y="54626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3" name="Rectangle 22">
            <a:hlinkClick r:id="rId4" action="ppaction://hlinksldjump"/>
            <a:extLst>
              <a:ext uri="{FF2B5EF4-FFF2-40B4-BE49-F238E27FC236}">
                <a16:creationId xmlns:a16="http://schemas.microsoft.com/office/drawing/2014/main" id="{06A59F80-FE9A-453A-928F-800D26F3441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5194790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C612206E-1AA6-466C-8DD3-797AF9F9962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AutoShape 5">
            <a:extLst>
              <a:ext uri="{FF2B5EF4-FFF2-40B4-BE49-F238E27FC236}">
                <a16:creationId xmlns:a16="http://schemas.microsoft.com/office/drawing/2014/main" id="{A1441FC2-8DE4-4F74-8545-87F4525BB05B}"/>
              </a:ext>
            </a:extLst>
          </p:cNvPr>
          <p:cNvSpPr>
            <a:spLocks noChangeArrowheads="1"/>
          </p:cNvSpPr>
          <p:nvPr/>
        </p:nvSpPr>
        <p:spPr bwMode="auto">
          <a:xfrm>
            <a:off x="345018" y="2185102"/>
            <a:ext cx="3960000" cy="1766918"/>
          </a:xfrm>
          <a:prstGeom prst="homePlate">
            <a:avLst>
              <a:gd name="adj" fmla="val 16553"/>
            </a:avLst>
          </a:prstGeom>
          <a:solidFill>
            <a:schemeClr val="tx2">
              <a:lumMod val="20000"/>
              <a:lumOff val="80000"/>
            </a:schemeClr>
          </a:solidFill>
          <a:ln w="6350">
            <a:noFill/>
            <a:miter lim="800000"/>
            <a:headEnd/>
            <a:tailEnd/>
          </a:ln>
          <a:effectLst/>
        </p:spPr>
        <p:txBody>
          <a:bodyPr wrap="square" lIns="180000" tIns="108000" rIns="108000" bIns="72000" anchor="t" anchorCtr="0"/>
          <a:lstStyle/>
          <a:p>
            <a:pPr algn="l" eaLnBrk="0" hangingPunct="0"/>
            <a:r>
              <a:rPr lang="en-US" dirty="0">
                <a:solidFill>
                  <a:schemeClr val="tx1"/>
                </a:solidFill>
              </a:rPr>
              <a:t>Text</a:t>
            </a:r>
          </a:p>
        </p:txBody>
      </p:sp>
      <p:sp>
        <p:nvSpPr>
          <p:cNvPr id="14" name="AutoShape 6">
            <a:extLst>
              <a:ext uri="{FF2B5EF4-FFF2-40B4-BE49-F238E27FC236}">
                <a16:creationId xmlns:a16="http://schemas.microsoft.com/office/drawing/2014/main" id="{D531378D-F453-45A5-9004-8D4D25D141B8}"/>
              </a:ext>
            </a:extLst>
          </p:cNvPr>
          <p:cNvSpPr>
            <a:spLocks noChangeAspect="1" noChangeArrowheads="1"/>
          </p:cNvSpPr>
          <p:nvPr/>
        </p:nvSpPr>
        <p:spPr bwMode="auto">
          <a:xfrm>
            <a:off x="4015754" y="1777072"/>
            <a:ext cx="4032000" cy="2582978"/>
          </a:xfrm>
          <a:prstGeom prst="chevron">
            <a:avLst>
              <a:gd name="adj" fmla="val 15929"/>
            </a:avLst>
          </a:prstGeom>
          <a:solidFill>
            <a:schemeClr val="accent2"/>
          </a:solidFill>
          <a:ln w="6350">
            <a:noFill/>
            <a:miter lim="800000"/>
            <a:headEnd/>
            <a:tailEnd/>
          </a:ln>
          <a:effectLst/>
        </p:spPr>
        <p:txBody>
          <a:bodyPr lIns="72000" tIns="486000" rIns="72000" bIns="72000"/>
          <a:lstStyle/>
          <a:p>
            <a:pPr algn="l" eaLnBrk="0" hangingPunct="0"/>
            <a:r>
              <a:rPr lang="en-US" b="1">
                <a:solidFill>
                  <a:schemeClr val="bg1"/>
                </a:solidFill>
              </a:rPr>
              <a:t>Text</a:t>
            </a:r>
          </a:p>
        </p:txBody>
      </p:sp>
      <p:sp>
        <p:nvSpPr>
          <p:cNvPr id="16" name="Text Box 7">
            <a:extLst>
              <a:ext uri="{FF2B5EF4-FFF2-40B4-BE49-F238E27FC236}">
                <a16:creationId xmlns:a16="http://schemas.microsoft.com/office/drawing/2014/main" id="{288BDAA2-F566-411F-AD9C-DD3E9F49CBB7}"/>
              </a:ext>
            </a:extLst>
          </p:cNvPr>
          <p:cNvSpPr txBox="1">
            <a:spLocks noChangeArrowheads="1"/>
          </p:cNvSpPr>
          <p:nvPr/>
        </p:nvSpPr>
        <p:spPr bwMode="auto">
          <a:xfrm>
            <a:off x="514348" y="4480561"/>
            <a:ext cx="3240615"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18" name="Arrow: Chevron 17">
            <a:extLst>
              <a:ext uri="{FF2B5EF4-FFF2-40B4-BE49-F238E27FC236}">
                <a16:creationId xmlns:a16="http://schemas.microsoft.com/office/drawing/2014/main" id="{82F097C8-1AF3-4AF0-B2F1-585036C47B43}"/>
              </a:ext>
            </a:extLst>
          </p:cNvPr>
          <p:cNvSpPr/>
          <p:nvPr/>
        </p:nvSpPr>
        <p:spPr>
          <a:xfrm>
            <a:off x="7893862" y="2185102"/>
            <a:ext cx="3961588"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72000" rtlCol="0" anchor="t" anchorCtr="0"/>
          <a:lstStyle/>
          <a:p>
            <a:pPr eaLnBrk="0" hangingPunct="0"/>
            <a:r>
              <a:rPr lang="en-US">
                <a:solidFill>
                  <a:schemeClr val="tx1"/>
                </a:solidFill>
              </a:rPr>
              <a:t>Text</a:t>
            </a:r>
            <a:endParaRPr lang="en-US" dirty="0">
              <a:solidFill>
                <a:schemeClr val="tx1"/>
              </a:solidFill>
            </a:endParaRPr>
          </a:p>
        </p:txBody>
      </p:sp>
      <p:sp>
        <p:nvSpPr>
          <p:cNvPr id="20" name="Text Box 7">
            <a:extLst>
              <a:ext uri="{FF2B5EF4-FFF2-40B4-BE49-F238E27FC236}">
                <a16:creationId xmlns:a16="http://schemas.microsoft.com/office/drawing/2014/main" id="{4646B0CB-38B0-437E-B5B8-EFD763BFD5A9}"/>
              </a:ext>
            </a:extLst>
          </p:cNvPr>
          <p:cNvSpPr txBox="1">
            <a:spLocks noChangeArrowheads="1"/>
          </p:cNvSpPr>
          <p:nvPr/>
        </p:nvSpPr>
        <p:spPr bwMode="auto">
          <a:xfrm>
            <a:off x="4514850" y="4480560"/>
            <a:ext cx="3120390"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2" name="Text Box 7">
            <a:extLst>
              <a:ext uri="{FF2B5EF4-FFF2-40B4-BE49-F238E27FC236}">
                <a16:creationId xmlns:a16="http://schemas.microsoft.com/office/drawing/2014/main" id="{16F594C7-FCBF-4C89-9AA8-38892E4DC9A7}"/>
              </a:ext>
            </a:extLst>
          </p:cNvPr>
          <p:cNvSpPr txBox="1">
            <a:spLocks noChangeArrowheads="1"/>
          </p:cNvSpPr>
          <p:nvPr/>
        </p:nvSpPr>
        <p:spPr bwMode="auto">
          <a:xfrm>
            <a:off x="8355329" y="4480560"/>
            <a:ext cx="295853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Tree>
    <p:extLst>
      <p:ext uri="{BB962C8B-B14F-4D97-AF65-F5344CB8AC3E}">
        <p14:creationId xmlns:p14="http://schemas.microsoft.com/office/powerpoint/2010/main" val="271692736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D6DD30BF-0444-4883-8311-0D4995F93CF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5" name="Text Box 7">
            <a:extLst>
              <a:ext uri="{FF2B5EF4-FFF2-40B4-BE49-F238E27FC236}">
                <a16:creationId xmlns:a16="http://schemas.microsoft.com/office/drawing/2014/main" id="{8B934D26-A551-4D09-9E95-C8B8419B1807}"/>
              </a:ext>
            </a:extLst>
          </p:cNvPr>
          <p:cNvSpPr txBox="1">
            <a:spLocks noChangeArrowheads="1"/>
          </p:cNvSpPr>
          <p:nvPr/>
        </p:nvSpPr>
        <p:spPr bwMode="auto">
          <a:xfrm>
            <a:off x="514349" y="4480561"/>
            <a:ext cx="2547430"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grpSp>
        <p:nvGrpSpPr>
          <p:cNvPr id="16" name="Group 15">
            <a:extLst>
              <a:ext uri="{FF2B5EF4-FFF2-40B4-BE49-F238E27FC236}">
                <a16:creationId xmlns:a16="http://schemas.microsoft.com/office/drawing/2014/main" id="{98D523F9-596D-4251-BD16-A82580B845FD}"/>
              </a:ext>
            </a:extLst>
          </p:cNvPr>
          <p:cNvGrpSpPr/>
          <p:nvPr/>
        </p:nvGrpSpPr>
        <p:grpSpPr>
          <a:xfrm>
            <a:off x="337788" y="1754010"/>
            <a:ext cx="11517662" cy="2582978"/>
            <a:chOff x="348302" y="1754010"/>
            <a:chExt cx="15142665" cy="2582978"/>
          </a:xfrm>
        </p:grpSpPr>
        <p:sp>
          <p:nvSpPr>
            <p:cNvPr id="17" name="AutoShape 5">
              <a:extLst>
                <a:ext uri="{FF2B5EF4-FFF2-40B4-BE49-F238E27FC236}">
                  <a16:creationId xmlns:a16="http://schemas.microsoft.com/office/drawing/2014/main" id="{822D7F20-B6FD-4A36-8974-A7278BB3A10C}"/>
                </a:ext>
              </a:extLst>
            </p:cNvPr>
            <p:cNvSpPr>
              <a:spLocks noChangeArrowheads="1"/>
            </p:cNvSpPr>
            <p:nvPr/>
          </p:nvSpPr>
          <p:spPr bwMode="auto">
            <a:xfrm>
              <a:off x="348302" y="2162040"/>
              <a:ext cx="3959999" cy="1766918"/>
            </a:xfrm>
            <a:prstGeom prst="homePlate">
              <a:avLst>
                <a:gd name="adj" fmla="val 16553"/>
              </a:avLst>
            </a:prstGeom>
            <a:solidFill>
              <a:schemeClr val="tx2">
                <a:lumMod val="20000"/>
                <a:lumOff val="80000"/>
              </a:schemeClr>
            </a:solidFill>
            <a:ln w="6350">
              <a:noFill/>
              <a:miter lim="800000"/>
              <a:headEnd/>
              <a:tailEnd/>
            </a:ln>
            <a:effectLst/>
          </p:spPr>
          <p:txBody>
            <a:bodyPr wrap="square" lIns="180000" tIns="108000" rIns="108000" bIns="72000" anchor="t" anchorCtr="0"/>
            <a:lstStyle/>
            <a:p>
              <a:pPr algn="l" eaLnBrk="0" hangingPunct="0"/>
              <a:r>
                <a:rPr lang="en-US" dirty="0">
                  <a:solidFill>
                    <a:schemeClr val="tx1"/>
                  </a:solidFill>
                </a:rPr>
                <a:t>Text</a:t>
              </a:r>
            </a:p>
          </p:txBody>
        </p:sp>
        <p:sp>
          <p:nvSpPr>
            <p:cNvPr id="18" name="AutoShape 6">
              <a:extLst>
                <a:ext uri="{FF2B5EF4-FFF2-40B4-BE49-F238E27FC236}">
                  <a16:creationId xmlns:a16="http://schemas.microsoft.com/office/drawing/2014/main" id="{6430E63B-1D0D-420D-B90F-AD6168AA446B}"/>
                </a:ext>
              </a:extLst>
            </p:cNvPr>
            <p:cNvSpPr>
              <a:spLocks noChangeAspect="1" noChangeArrowheads="1"/>
            </p:cNvSpPr>
            <p:nvPr/>
          </p:nvSpPr>
          <p:spPr bwMode="auto">
            <a:xfrm>
              <a:off x="3929625" y="1754010"/>
              <a:ext cx="4032001" cy="2582978"/>
            </a:xfrm>
            <a:prstGeom prst="chevron">
              <a:avLst>
                <a:gd name="adj" fmla="val 15929"/>
              </a:avLst>
            </a:prstGeom>
            <a:solidFill>
              <a:schemeClr val="accent2"/>
            </a:solidFill>
            <a:ln w="6350">
              <a:noFill/>
              <a:miter lim="800000"/>
              <a:headEnd/>
              <a:tailEnd/>
            </a:ln>
            <a:effectLst/>
          </p:spPr>
          <p:txBody>
            <a:bodyPr lIns="72000" tIns="486000" rIns="72000" bIns="72000"/>
            <a:lstStyle/>
            <a:p>
              <a:pPr algn="l" eaLnBrk="0" hangingPunct="0"/>
              <a:r>
                <a:rPr lang="en-US" b="1">
                  <a:solidFill>
                    <a:schemeClr val="bg1"/>
                  </a:solidFill>
                </a:rPr>
                <a:t>Text</a:t>
              </a:r>
            </a:p>
          </p:txBody>
        </p:sp>
        <p:sp>
          <p:nvSpPr>
            <p:cNvPr id="19" name="Arrow: Chevron 18">
              <a:extLst>
                <a:ext uri="{FF2B5EF4-FFF2-40B4-BE49-F238E27FC236}">
                  <a16:creationId xmlns:a16="http://schemas.microsoft.com/office/drawing/2014/main" id="{B19ABD02-23A5-4264-B39A-394834CE2F6B}"/>
                </a:ext>
              </a:extLst>
            </p:cNvPr>
            <p:cNvSpPr/>
            <p:nvPr/>
          </p:nvSpPr>
          <p:spPr>
            <a:xfrm>
              <a:off x="7893862" y="2162040"/>
              <a:ext cx="3961588"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72000" rtlCol="0" anchor="t" anchorCtr="0"/>
            <a:lstStyle/>
            <a:p>
              <a:pPr eaLnBrk="0" hangingPunct="0"/>
              <a:r>
                <a:rPr lang="en-US">
                  <a:solidFill>
                    <a:schemeClr val="tx1"/>
                  </a:solidFill>
                </a:rPr>
                <a:t>Text</a:t>
              </a:r>
              <a:endParaRPr lang="en-US" dirty="0">
                <a:solidFill>
                  <a:schemeClr val="tx1"/>
                </a:solidFill>
              </a:endParaRPr>
            </a:p>
          </p:txBody>
        </p:sp>
        <p:sp>
          <p:nvSpPr>
            <p:cNvPr id="20" name="Arrow: Chevron 19">
              <a:extLst>
                <a:ext uri="{FF2B5EF4-FFF2-40B4-BE49-F238E27FC236}">
                  <a16:creationId xmlns:a16="http://schemas.microsoft.com/office/drawing/2014/main" id="{EC78E030-77EB-432E-8BF2-C51AD994EE8B}"/>
                </a:ext>
              </a:extLst>
            </p:cNvPr>
            <p:cNvSpPr/>
            <p:nvPr/>
          </p:nvSpPr>
          <p:spPr>
            <a:xfrm>
              <a:off x="11657892" y="2162040"/>
              <a:ext cx="3833075"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72000" rtlCol="0" anchor="t" anchorCtr="0"/>
            <a:lstStyle/>
            <a:p>
              <a:pPr eaLnBrk="0" hangingPunct="0"/>
              <a:r>
                <a:rPr lang="en-US" dirty="0">
                  <a:solidFill>
                    <a:schemeClr val="tx1"/>
                  </a:solidFill>
                </a:rPr>
                <a:t>Text</a:t>
              </a:r>
            </a:p>
          </p:txBody>
        </p:sp>
        <p:sp>
          <p:nvSpPr>
            <p:cNvPr id="21" name="Arrow: Chevron 20">
              <a:extLst>
                <a:ext uri="{FF2B5EF4-FFF2-40B4-BE49-F238E27FC236}">
                  <a16:creationId xmlns:a16="http://schemas.microsoft.com/office/drawing/2014/main" id="{BAA1F1C8-B3AD-485E-8D7E-29C80ABCA810}"/>
                </a:ext>
              </a:extLst>
            </p:cNvPr>
            <p:cNvSpPr/>
            <p:nvPr/>
          </p:nvSpPr>
          <p:spPr>
            <a:xfrm>
              <a:off x="7761509" y="2162040"/>
              <a:ext cx="3961587"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72000" rtlCol="0" anchor="t" anchorCtr="0"/>
            <a:lstStyle/>
            <a:p>
              <a:pPr eaLnBrk="0" hangingPunct="0"/>
              <a:r>
                <a:rPr lang="en-US">
                  <a:solidFill>
                    <a:schemeClr val="tx1"/>
                  </a:solidFill>
                </a:rPr>
                <a:t>Text</a:t>
              </a:r>
              <a:endParaRPr lang="en-US" dirty="0">
                <a:solidFill>
                  <a:schemeClr val="tx1"/>
                </a:solidFill>
              </a:endParaRPr>
            </a:p>
          </p:txBody>
        </p:sp>
      </p:grpSp>
      <p:sp>
        <p:nvSpPr>
          <p:cNvPr id="22" name="Text Box 7">
            <a:extLst>
              <a:ext uri="{FF2B5EF4-FFF2-40B4-BE49-F238E27FC236}">
                <a16:creationId xmlns:a16="http://schemas.microsoft.com/office/drawing/2014/main" id="{A935E040-8E09-4786-8329-7ACA0A8F1BA2}"/>
              </a:ext>
            </a:extLst>
          </p:cNvPr>
          <p:cNvSpPr txBox="1">
            <a:spLocks noChangeArrowheads="1"/>
          </p:cNvSpPr>
          <p:nvPr/>
        </p:nvSpPr>
        <p:spPr bwMode="auto">
          <a:xfrm>
            <a:off x="3551944" y="4480561"/>
            <a:ext cx="2547430"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3" name="Text Box 7">
            <a:extLst>
              <a:ext uri="{FF2B5EF4-FFF2-40B4-BE49-F238E27FC236}">
                <a16:creationId xmlns:a16="http://schemas.microsoft.com/office/drawing/2014/main" id="{1DC36B56-6979-4BA8-8D49-A6FAE37D1818}"/>
              </a:ext>
            </a:extLst>
          </p:cNvPr>
          <p:cNvSpPr txBox="1">
            <a:spLocks noChangeArrowheads="1"/>
          </p:cNvSpPr>
          <p:nvPr/>
        </p:nvSpPr>
        <p:spPr bwMode="auto">
          <a:xfrm>
            <a:off x="6442140" y="4480561"/>
            <a:ext cx="2361392"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4" name="Text Box 7">
            <a:extLst>
              <a:ext uri="{FF2B5EF4-FFF2-40B4-BE49-F238E27FC236}">
                <a16:creationId xmlns:a16="http://schemas.microsoft.com/office/drawing/2014/main" id="{CEC0306A-3643-4A8F-8466-7DDC9B8BF2B8}"/>
              </a:ext>
            </a:extLst>
          </p:cNvPr>
          <p:cNvSpPr txBox="1">
            <a:spLocks noChangeArrowheads="1"/>
          </p:cNvSpPr>
          <p:nvPr/>
        </p:nvSpPr>
        <p:spPr bwMode="auto">
          <a:xfrm>
            <a:off x="9399348" y="4480561"/>
            <a:ext cx="2361392" cy="1548599"/>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Tree>
    <p:extLst>
      <p:ext uri="{BB962C8B-B14F-4D97-AF65-F5344CB8AC3E}">
        <p14:creationId xmlns:p14="http://schemas.microsoft.com/office/powerpoint/2010/main" val="413986046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3</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Text Box 7">
            <a:extLst>
              <a:ext uri="{FF2B5EF4-FFF2-40B4-BE49-F238E27FC236}">
                <a16:creationId xmlns:a16="http://schemas.microsoft.com/office/drawing/2014/main" id="{8182DF73-8A30-4EBA-927E-94BD18E1FA6E}"/>
              </a:ext>
            </a:extLst>
          </p:cNvPr>
          <p:cNvSpPr txBox="1">
            <a:spLocks noChangeArrowheads="1"/>
          </p:cNvSpPr>
          <p:nvPr/>
        </p:nvSpPr>
        <p:spPr bwMode="auto">
          <a:xfrm>
            <a:off x="514349" y="4480561"/>
            <a:ext cx="1990872"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p:txBody>
      </p:sp>
      <p:grpSp>
        <p:nvGrpSpPr>
          <p:cNvPr id="6" name="Group 5">
            <a:extLst>
              <a:ext uri="{FF2B5EF4-FFF2-40B4-BE49-F238E27FC236}">
                <a16:creationId xmlns:a16="http://schemas.microsoft.com/office/drawing/2014/main" id="{8F29CE52-1143-4D34-8F99-360C98298AC3}"/>
              </a:ext>
            </a:extLst>
          </p:cNvPr>
          <p:cNvGrpSpPr/>
          <p:nvPr/>
        </p:nvGrpSpPr>
        <p:grpSpPr>
          <a:xfrm>
            <a:off x="337788" y="1754010"/>
            <a:ext cx="11519251" cy="2582978"/>
            <a:chOff x="348302" y="1754010"/>
            <a:chExt cx="18673506" cy="2582978"/>
          </a:xfrm>
        </p:grpSpPr>
        <p:sp>
          <p:nvSpPr>
            <p:cNvPr id="7" name="AutoShape 5">
              <a:extLst>
                <a:ext uri="{FF2B5EF4-FFF2-40B4-BE49-F238E27FC236}">
                  <a16:creationId xmlns:a16="http://schemas.microsoft.com/office/drawing/2014/main" id="{69C5595B-5F87-4D51-9F5F-FBB166D27B81}"/>
                </a:ext>
              </a:extLst>
            </p:cNvPr>
            <p:cNvSpPr>
              <a:spLocks noChangeArrowheads="1"/>
            </p:cNvSpPr>
            <p:nvPr/>
          </p:nvSpPr>
          <p:spPr bwMode="auto">
            <a:xfrm>
              <a:off x="348302" y="2162040"/>
              <a:ext cx="3959999" cy="1766918"/>
            </a:xfrm>
            <a:prstGeom prst="homePlate">
              <a:avLst>
                <a:gd name="adj" fmla="val 16553"/>
              </a:avLst>
            </a:prstGeom>
            <a:solidFill>
              <a:srgbClr val="96968C">
                <a:lumMod val="20000"/>
                <a:lumOff val="80000"/>
              </a:srgbClr>
            </a:solidFill>
            <a:ln w="6350">
              <a:noFill/>
              <a:miter lim="800000"/>
              <a:headEnd/>
              <a:tailEnd/>
            </a:ln>
            <a:effectLst/>
          </p:spPr>
          <p:txBody>
            <a:bodyPr wrap="square" lIns="180000" tIns="108000" rIns="108000" bIns="7200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AutoShape 6">
              <a:extLst>
                <a:ext uri="{FF2B5EF4-FFF2-40B4-BE49-F238E27FC236}">
                  <a16:creationId xmlns:a16="http://schemas.microsoft.com/office/drawing/2014/main" id="{9265F570-56D3-4C17-A227-41DED37AC2E4}"/>
                </a:ext>
              </a:extLst>
            </p:cNvPr>
            <p:cNvSpPr>
              <a:spLocks noChangeAspect="1" noChangeArrowheads="1"/>
            </p:cNvSpPr>
            <p:nvPr/>
          </p:nvSpPr>
          <p:spPr bwMode="auto">
            <a:xfrm>
              <a:off x="3861862" y="1754010"/>
              <a:ext cx="4032000" cy="2582978"/>
            </a:xfrm>
            <a:prstGeom prst="chevron">
              <a:avLst>
                <a:gd name="adj" fmla="val 15929"/>
              </a:avLst>
            </a:prstGeom>
            <a:solidFill>
              <a:schemeClr val="accent2"/>
            </a:solidFill>
            <a:ln w="6350">
              <a:noFill/>
              <a:miter lim="800000"/>
              <a:headEnd/>
              <a:tailEnd/>
            </a:ln>
            <a:effectLst/>
          </p:spPr>
          <p:txBody>
            <a:bodyPr lIns="72000" tIns="486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Graphik"/>
                  <a:ea typeface="+mn-ea"/>
                  <a:cs typeface="+mn-cs"/>
                </a:rPr>
                <a:t>Text</a:t>
              </a:r>
            </a:p>
          </p:txBody>
        </p:sp>
        <p:sp>
          <p:nvSpPr>
            <p:cNvPr id="9" name="Arrow: Chevron 8">
              <a:extLst>
                <a:ext uri="{FF2B5EF4-FFF2-40B4-BE49-F238E27FC236}">
                  <a16:creationId xmlns:a16="http://schemas.microsoft.com/office/drawing/2014/main" id="{EA70E064-B558-4DD7-8305-591614739C98}"/>
                </a:ext>
              </a:extLst>
            </p:cNvPr>
            <p:cNvSpPr/>
            <p:nvPr/>
          </p:nvSpPr>
          <p:spPr>
            <a:xfrm>
              <a:off x="7893862" y="2162040"/>
              <a:ext cx="3961588" cy="1766918"/>
            </a:xfrm>
            <a:prstGeom prst="chevron">
              <a:avLst>
                <a:gd name="adj" fmla="val 15715"/>
              </a:avLst>
            </a:prstGeom>
            <a:solidFill>
              <a:srgbClr val="96968C">
                <a:lumMod val="20000"/>
                <a:lumOff val="80000"/>
              </a:srgbClr>
            </a:solidFill>
            <a:ln w="9525" cap="flat" cmpd="sng" algn="ctr">
              <a:noFill/>
              <a:prstDash val="solid"/>
            </a:ln>
            <a:effectLst/>
          </p:spPr>
          <p:txBody>
            <a:bodyPr wrap="square" lIns="180000" tIns="108000" rIns="108000" bIns="72000" rtlCol="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Graphik"/>
                  <a:ea typeface="+mn-ea"/>
                  <a:cs typeface="+mn-cs"/>
                </a:rPr>
                <a:t>Text</a:t>
              </a: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Arrow: Chevron 9">
              <a:extLst>
                <a:ext uri="{FF2B5EF4-FFF2-40B4-BE49-F238E27FC236}">
                  <a16:creationId xmlns:a16="http://schemas.microsoft.com/office/drawing/2014/main" id="{69D5B229-A476-49C7-A301-FD542FF2E193}"/>
                </a:ext>
              </a:extLst>
            </p:cNvPr>
            <p:cNvSpPr/>
            <p:nvPr/>
          </p:nvSpPr>
          <p:spPr>
            <a:xfrm>
              <a:off x="11612122" y="2162040"/>
              <a:ext cx="3961587" cy="1766918"/>
            </a:xfrm>
            <a:prstGeom prst="chevron">
              <a:avLst>
                <a:gd name="adj" fmla="val 15715"/>
              </a:avLst>
            </a:prstGeom>
            <a:solidFill>
              <a:srgbClr val="96968C">
                <a:lumMod val="20000"/>
                <a:lumOff val="80000"/>
              </a:srgbClr>
            </a:solidFill>
            <a:ln w="9525" cap="flat" cmpd="sng" algn="ctr">
              <a:noFill/>
              <a:prstDash val="solid"/>
            </a:ln>
            <a:effectLst/>
          </p:spPr>
          <p:txBody>
            <a:bodyPr wrap="square" lIns="180000" tIns="108000" rIns="108000" bIns="72000" rtlCol="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1" name="Arrow: Chevron 10">
              <a:extLst>
                <a:ext uri="{FF2B5EF4-FFF2-40B4-BE49-F238E27FC236}">
                  <a16:creationId xmlns:a16="http://schemas.microsoft.com/office/drawing/2014/main" id="{E8CFA55E-DE4E-472B-B6FF-3AC2C7B284F5}"/>
                </a:ext>
              </a:extLst>
            </p:cNvPr>
            <p:cNvSpPr/>
            <p:nvPr/>
          </p:nvSpPr>
          <p:spPr>
            <a:xfrm>
              <a:off x="7650534" y="2162040"/>
              <a:ext cx="3961587" cy="1766918"/>
            </a:xfrm>
            <a:prstGeom prst="chevron">
              <a:avLst>
                <a:gd name="adj" fmla="val 15715"/>
              </a:avLst>
            </a:prstGeom>
            <a:solidFill>
              <a:srgbClr val="96968C">
                <a:lumMod val="20000"/>
                <a:lumOff val="80000"/>
              </a:srgbClr>
            </a:solidFill>
            <a:ln w="9525" cap="flat" cmpd="sng" algn="ctr">
              <a:noFill/>
              <a:prstDash val="solid"/>
            </a:ln>
            <a:effectLst/>
          </p:spPr>
          <p:txBody>
            <a:bodyPr wrap="square" lIns="180000" tIns="108000" rIns="108000" bIns="72000" rtlCol="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Graphik"/>
                  <a:ea typeface="+mn-ea"/>
                  <a:cs typeface="+mn-cs"/>
                </a:rPr>
                <a:t>Text</a:t>
              </a: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Arrow: Chevron 11">
              <a:extLst>
                <a:ext uri="{FF2B5EF4-FFF2-40B4-BE49-F238E27FC236}">
                  <a16:creationId xmlns:a16="http://schemas.microsoft.com/office/drawing/2014/main" id="{B01D5F03-E64A-4577-BE5B-A88152A72AE4}"/>
                </a:ext>
              </a:extLst>
            </p:cNvPr>
            <p:cNvSpPr/>
            <p:nvPr/>
          </p:nvSpPr>
          <p:spPr>
            <a:xfrm>
              <a:off x="15330383" y="2162040"/>
              <a:ext cx="3691425" cy="1766918"/>
            </a:xfrm>
            <a:prstGeom prst="chevron">
              <a:avLst>
                <a:gd name="adj" fmla="val 15715"/>
              </a:avLst>
            </a:prstGeom>
            <a:solidFill>
              <a:srgbClr val="96968C">
                <a:lumMod val="20000"/>
                <a:lumOff val="80000"/>
              </a:srgbClr>
            </a:solidFill>
            <a:ln w="9525" cap="flat" cmpd="sng" algn="ctr">
              <a:noFill/>
              <a:prstDash val="solid"/>
            </a:ln>
            <a:effectLst/>
          </p:spPr>
          <p:txBody>
            <a:bodyPr wrap="square" lIns="180000" tIns="108000" rIns="108000" bIns="72000" rtlCol="0" anchor="t"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grpSp>
      <p:sp>
        <p:nvSpPr>
          <p:cNvPr id="13" name="Text Box 7">
            <a:extLst>
              <a:ext uri="{FF2B5EF4-FFF2-40B4-BE49-F238E27FC236}">
                <a16:creationId xmlns:a16="http://schemas.microsoft.com/office/drawing/2014/main" id="{5D49E6DE-08E7-4D63-BBD7-298A824B5EE5}"/>
              </a:ext>
            </a:extLst>
          </p:cNvPr>
          <p:cNvSpPr txBox="1">
            <a:spLocks noChangeArrowheads="1"/>
          </p:cNvSpPr>
          <p:nvPr/>
        </p:nvSpPr>
        <p:spPr bwMode="auto">
          <a:xfrm>
            <a:off x="2967571" y="4480561"/>
            <a:ext cx="1799638"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p:txBody>
      </p:sp>
      <p:sp>
        <p:nvSpPr>
          <p:cNvPr id="14" name="Text Box 7">
            <a:extLst>
              <a:ext uri="{FF2B5EF4-FFF2-40B4-BE49-F238E27FC236}">
                <a16:creationId xmlns:a16="http://schemas.microsoft.com/office/drawing/2014/main" id="{29EB8345-E50A-4165-8B38-18C32E4E92E3}"/>
              </a:ext>
            </a:extLst>
          </p:cNvPr>
          <p:cNvSpPr txBox="1">
            <a:spLocks noChangeArrowheads="1"/>
          </p:cNvSpPr>
          <p:nvPr/>
        </p:nvSpPr>
        <p:spPr bwMode="auto">
          <a:xfrm>
            <a:off x="5301477" y="4480561"/>
            <a:ext cx="1799638"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p:txBody>
      </p:sp>
      <p:sp>
        <p:nvSpPr>
          <p:cNvPr id="15" name="Text Box 7">
            <a:extLst>
              <a:ext uri="{FF2B5EF4-FFF2-40B4-BE49-F238E27FC236}">
                <a16:creationId xmlns:a16="http://schemas.microsoft.com/office/drawing/2014/main" id="{859A52AD-0622-485C-AE63-A6591EFF3A08}"/>
              </a:ext>
            </a:extLst>
          </p:cNvPr>
          <p:cNvSpPr txBox="1">
            <a:spLocks noChangeArrowheads="1"/>
          </p:cNvSpPr>
          <p:nvPr/>
        </p:nvSpPr>
        <p:spPr bwMode="auto">
          <a:xfrm>
            <a:off x="7738135" y="4480561"/>
            <a:ext cx="1799638"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p:txBody>
      </p:sp>
      <p:sp>
        <p:nvSpPr>
          <p:cNvPr id="16" name="Text Box 7">
            <a:extLst>
              <a:ext uri="{FF2B5EF4-FFF2-40B4-BE49-F238E27FC236}">
                <a16:creationId xmlns:a16="http://schemas.microsoft.com/office/drawing/2014/main" id="{AF3CA7C7-EC07-4FA7-8B55-8C9259C68A5A}"/>
              </a:ext>
            </a:extLst>
          </p:cNvPr>
          <p:cNvSpPr txBox="1">
            <a:spLocks noChangeArrowheads="1"/>
          </p:cNvSpPr>
          <p:nvPr/>
        </p:nvSpPr>
        <p:spPr bwMode="auto">
          <a:xfrm>
            <a:off x="10026685" y="4480561"/>
            <a:ext cx="1799638" cy="1548599"/>
          </a:xfrm>
          <a:prstGeom prst="rect">
            <a:avLst/>
          </a:prstGeom>
          <a:noFill/>
          <a:ln w="3175">
            <a:noFill/>
            <a:miter lim="800000"/>
            <a:headEnd/>
            <a:tailEnd/>
          </a:ln>
          <a:effectLst/>
        </p:spPr>
        <p:txBody>
          <a:bodyPr lIns="0" tIns="72000" rIns="0" bIns="0"/>
          <a:lstStyle/>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p:txBody>
      </p:sp>
      <p:sp>
        <p:nvSpPr>
          <p:cNvPr id="3" name="Rectangle 2">
            <a:hlinkClick r:id="rId3" action="ppaction://hlinksldjump"/>
            <a:extLst>
              <a:ext uri="{FF2B5EF4-FFF2-40B4-BE49-F238E27FC236}">
                <a16:creationId xmlns:a16="http://schemas.microsoft.com/office/drawing/2014/main" id="{3D327AC2-3268-4A20-A14B-5D53FAE470E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90462821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4</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5C48FD01-440E-47F7-9E49-5AF8BD014B8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1" name="TextBox 20">
            <a:extLst>
              <a:ext uri="{FF2B5EF4-FFF2-40B4-BE49-F238E27FC236}">
                <a16:creationId xmlns:a16="http://schemas.microsoft.com/office/drawing/2014/main" id="{FA0ABFAE-4FCC-4D77-9296-804AA1CCD902}"/>
              </a:ext>
            </a:extLst>
          </p:cNvPr>
          <p:cNvSpPr txBox="1"/>
          <p:nvPr/>
        </p:nvSpPr>
        <p:spPr>
          <a:xfrm>
            <a:off x="345018" y="1623102"/>
            <a:ext cx="11512020" cy="2616389"/>
          </a:xfrm>
          <a:prstGeom prst="rect">
            <a:avLst/>
          </a:prstGeom>
          <a:solidFill>
            <a:schemeClr val="tx2">
              <a:lumMod val="20000"/>
              <a:lumOff val="80000"/>
            </a:schemeClr>
          </a:solidFill>
          <a:ln w="19050">
            <a:noFill/>
          </a:ln>
        </p:spPr>
        <p:txBody>
          <a:bodyPr vert="horz" wrap="square" lIns="0" tIns="144000" rIns="0" bIns="0" rtlCol="0" anchor="t" anchorCtr="0">
            <a:noAutofit/>
          </a:bodyPr>
          <a:lstStyle/>
          <a:p>
            <a:pPr algn="ctr">
              <a:lnSpc>
                <a:spcPct val="85000"/>
              </a:lnSpc>
            </a:pPr>
            <a:r>
              <a:rPr lang="en-AU" sz="1600" b="1" cap="all" dirty="0">
                <a:solidFill>
                  <a:schemeClr val="accent3"/>
                </a:solidFill>
                <a:latin typeface="+mj-lt"/>
              </a:rPr>
              <a:t>Text</a:t>
            </a:r>
          </a:p>
        </p:txBody>
      </p:sp>
      <p:cxnSp>
        <p:nvCxnSpPr>
          <p:cNvPr id="22" name="Straight Connector 21">
            <a:extLst>
              <a:ext uri="{FF2B5EF4-FFF2-40B4-BE49-F238E27FC236}">
                <a16:creationId xmlns:a16="http://schemas.microsoft.com/office/drawing/2014/main" id="{593953C1-F60B-4B6C-B79B-4FD68E37CC87}"/>
              </a:ext>
            </a:extLst>
          </p:cNvPr>
          <p:cNvCxnSpPr/>
          <p:nvPr/>
        </p:nvCxnSpPr>
        <p:spPr>
          <a:xfrm>
            <a:off x="591324" y="3928958"/>
            <a:ext cx="0" cy="77879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CAB08D5-7181-4CAE-A4FB-24732467F838}"/>
              </a:ext>
            </a:extLst>
          </p:cNvPr>
          <p:cNvCxnSpPr/>
          <p:nvPr/>
        </p:nvCxnSpPr>
        <p:spPr>
          <a:xfrm>
            <a:off x="2584282" y="3928958"/>
            <a:ext cx="9055168" cy="77879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F35C6F74-86AF-4247-B7A3-318EA41B392C}"/>
              </a:ext>
            </a:extLst>
          </p:cNvPr>
          <p:cNvGrpSpPr/>
          <p:nvPr/>
        </p:nvGrpSpPr>
        <p:grpSpPr>
          <a:xfrm>
            <a:off x="591324" y="2162040"/>
            <a:ext cx="11048126" cy="1766918"/>
            <a:chOff x="337788" y="2162040"/>
            <a:chExt cx="11540738" cy="1766918"/>
          </a:xfrm>
        </p:grpSpPr>
        <p:sp>
          <p:nvSpPr>
            <p:cNvPr id="25" name="Arrow: Chevron 24">
              <a:extLst>
                <a:ext uri="{FF2B5EF4-FFF2-40B4-BE49-F238E27FC236}">
                  <a16:creationId xmlns:a16="http://schemas.microsoft.com/office/drawing/2014/main" id="{0C197748-D85D-4A4A-A435-8B746157FDDE}"/>
                </a:ext>
              </a:extLst>
            </p:cNvPr>
            <p:cNvSpPr/>
            <p:nvPr/>
          </p:nvSpPr>
          <p:spPr>
            <a:xfrm>
              <a:off x="4885467" y="2162040"/>
              <a:ext cx="2443811" cy="1766918"/>
            </a:xfrm>
            <a:prstGeom prst="chevron">
              <a:avLst>
                <a:gd name="adj" fmla="val 1571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a:solidFill>
                    <a:schemeClr val="bg1"/>
                  </a:solidFill>
                </a:rPr>
                <a:t>Text</a:t>
              </a:r>
              <a:endParaRPr lang="en-US" dirty="0">
                <a:solidFill>
                  <a:schemeClr val="bg1"/>
                </a:solidFill>
              </a:endParaRPr>
            </a:p>
          </p:txBody>
        </p:sp>
        <p:sp>
          <p:nvSpPr>
            <p:cNvPr id="26" name="AutoShape 5">
              <a:extLst>
                <a:ext uri="{FF2B5EF4-FFF2-40B4-BE49-F238E27FC236}">
                  <a16:creationId xmlns:a16="http://schemas.microsoft.com/office/drawing/2014/main" id="{F74DF5B4-2FF5-4A8A-8CAD-3803EF302583}"/>
                </a:ext>
              </a:extLst>
            </p:cNvPr>
            <p:cNvSpPr>
              <a:spLocks noChangeArrowheads="1"/>
            </p:cNvSpPr>
            <p:nvPr/>
          </p:nvSpPr>
          <p:spPr bwMode="auto">
            <a:xfrm>
              <a:off x="337788" y="2162040"/>
              <a:ext cx="2442831" cy="1766918"/>
            </a:xfrm>
            <a:prstGeom prst="homePlate">
              <a:avLst>
                <a:gd name="adj" fmla="val 16553"/>
              </a:avLst>
            </a:prstGeom>
            <a:solidFill>
              <a:schemeClr val="accent1"/>
            </a:solidFill>
            <a:ln w="6350">
              <a:noFill/>
              <a:miter lim="800000"/>
              <a:headEnd/>
              <a:tailEnd/>
            </a:ln>
            <a:effectLst/>
          </p:spPr>
          <p:txBody>
            <a:bodyPr wrap="square" lIns="180000" tIns="108000" rIns="108000" bIns="108000" anchor="ctr" anchorCtr="0"/>
            <a:lstStyle/>
            <a:p>
              <a:pPr algn="l" eaLnBrk="0" hangingPunct="0"/>
              <a:r>
                <a:rPr lang="en-US" dirty="0">
                  <a:solidFill>
                    <a:schemeClr val="bg1"/>
                  </a:solidFill>
                </a:rPr>
                <a:t>Text</a:t>
              </a:r>
            </a:p>
          </p:txBody>
        </p:sp>
        <p:sp>
          <p:nvSpPr>
            <p:cNvPr id="27" name="Arrow: Chevron 26">
              <a:extLst>
                <a:ext uri="{FF2B5EF4-FFF2-40B4-BE49-F238E27FC236}">
                  <a16:creationId xmlns:a16="http://schemas.microsoft.com/office/drawing/2014/main" id="{9CDA3D5D-46E8-49DC-ADAC-A288D9813754}"/>
                </a:ext>
              </a:extLst>
            </p:cNvPr>
            <p:cNvSpPr/>
            <p:nvPr/>
          </p:nvSpPr>
          <p:spPr>
            <a:xfrm>
              <a:off x="9434126" y="2162040"/>
              <a:ext cx="2444400" cy="1766918"/>
            </a:xfrm>
            <a:prstGeom prst="chevron">
              <a:avLst>
                <a:gd name="adj" fmla="val 1571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bg1"/>
                  </a:solidFill>
                </a:rPr>
                <a:t>Text</a:t>
              </a:r>
            </a:p>
          </p:txBody>
        </p:sp>
        <p:sp>
          <p:nvSpPr>
            <p:cNvPr id="28" name="Arrow: Chevron 27">
              <a:extLst>
                <a:ext uri="{FF2B5EF4-FFF2-40B4-BE49-F238E27FC236}">
                  <a16:creationId xmlns:a16="http://schemas.microsoft.com/office/drawing/2014/main" id="{310F3CC7-527C-4EB6-A0BB-452B95891439}"/>
                </a:ext>
              </a:extLst>
            </p:cNvPr>
            <p:cNvSpPr/>
            <p:nvPr/>
          </p:nvSpPr>
          <p:spPr>
            <a:xfrm>
              <a:off x="2611138" y="2162040"/>
              <a:ext cx="2443811" cy="1766918"/>
            </a:xfrm>
            <a:prstGeom prst="chevron">
              <a:avLst>
                <a:gd name="adj" fmla="val 1571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a:solidFill>
                    <a:schemeClr val="bg1"/>
                  </a:solidFill>
                </a:rPr>
                <a:t>Text</a:t>
              </a:r>
              <a:endParaRPr lang="en-US" dirty="0">
                <a:solidFill>
                  <a:schemeClr val="bg1"/>
                </a:solidFill>
              </a:endParaRPr>
            </a:p>
          </p:txBody>
        </p:sp>
        <p:sp>
          <p:nvSpPr>
            <p:cNvPr id="29" name="Arrow: Chevron 28">
              <a:extLst>
                <a:ext uri="{FF2B5EF4-FFF2-40B4-BE49-F238E27FC236}">
                  <a16:creationId xmlns:a16="http://schemas.microsoft.com/office/drawing/2014/main" id="{711784D0-9C1A-4C08-80B5-D23A06B3AEC2}"/>
                </a:ext>
              </a:extLst>
            </p:cNvPr>
            <p:cNvSpPr/>
            <p:nvPr/>
          </p:nvSpPr>
          <p:spPr>
            <a:xfrm>
              <a:off x="7159796" y="2162040"/>
              <a:ext cx="2443811" cy="1766918"/>
            </a:xfrm>
            <a:prstGeom prst="chevron">
              <a:avLst>
                <a:gd name="adj" fmla="val 1571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a:solidFill>
                    <a:schemeClr val="bg1"/>
                  </a:solidFill>
                </a:rPr>
                <a:t>Text</a:t>
              </a:r>
              <a:endParaRPr lang="en-US" dirty="0">
                <a:solidFill>
                  <a:schemeClr val="bg1"/>
                </a:solidFill>
              </a:endParaRPr>
            </a:p>
          </p:txBody>
        </p:sp>
      </p:grpSp>
      <p:grpSp>
        <p:nvGrpSpPr>
          <p:cNvPr id="30" name="Group 29">
            <a:extLst>
              <a:ext uri="{FF2B5EF4-FFF2-40B4-BE49-F238E27FC236}">
                <a16:creationId xmlns:a16="http://schemas.microsoft.com/office/drawing/2014/main" id="{634F2FC0-C464-424F-BDC9-137FBCAC36A3}"/>
              </a:ext>
            </a:extLst>
          </p:cNvPr>
          <p:cNvGrpSpPr/>
          <p:nvPr/>
        </p:nvGrpSpPr>
        <p:grpSpPr>
          <a:xfrm>
            <a:off x="590043" y="4707756"/>
            <a:ext cx="11272637" cy="1368111"/>
            <a:chOff x="336218" y="4080545"/>
            <a:chExt cx="13817227" cy="1766918"/>
          </a:xfrm>
          <a:solidFill>
            <a:schemeClr val="accent1">
              <a:lumMod val="20000"/>
              <a:lumOff val="80000"/>
            </a:schemeClr>
          </a:solidFill>
        </p:grpSpPr>
        <p:sp>
          <p:nvSpPr>
            <p:cNvPr id="31" name="Arrow: Chevron 30">
              <a:extLst>
                <a:ext uri="{FF2B5EF4-FFF2-40B4-BE49-F238E27FC236}">
                  <a16:creationId xmlns:a16="http://schemas.microsoft.com/office/drawing/2014/main" id="{B7355813-13AD-4AED-8A1C-5C7D85727372}"/>
                </a:ext>
              </a:extLst>
            </p:cNvPr>
            <p:cNvSpPr/>
            <p:nvPr/>
          </p:nvSpPr>
          <p:spPr>
            <a:xfrm>
              <a:off x="4885467"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a:solidFill>
                    <a:schemeClr val="tx1"/>
                  </a:solidFill>
                </a:rPr>
                <a:t>Text</a:t>
              </a:r>
              <a:endParaRPr lang="en-US" sz="1600" dirty="0">
                <a:solidFill>
                  <a:schemeClr val="tx1"/>
                </a:solidFill>
              </a:endParaRPr>
            </a:p>
          </p:txBody>
        </p:sp>
        <p:sp>
          <p:nvSpPr>
            <p:cNvPr id="32" name="Arrow: Chevron 31">
              <a:extLst>
                <a:ext uri="{FF2B5EF4-FFF2-40B4-BE49-F238E27FC236}">
                  <a16:creationId xmlns:a16="http://schemas.microsoft.com/office/drawing/2014/main" id="{92E5D4CE-256A-4AD6-A0DC-D3972590EBEA}"/>
                </a:ext>
              </a:extLst>
            </p:cNvPr>
            <p:cNvSpPr/>
            <p:nvPr/>
          </p:nvSpPr>
          <p:spPr>
            <a:xfrm>
              <a:off x="9434126" y="4080545"/>
              <a:ext cx="2444400"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3" name="Arrow: Chevron 32">
              <a:extLst>
                <a:ext uri="{FF2B5EF4-FFF2-40B4-BE49-F238E27FC236}">
                  <a16:creationId xmlns:a16="http://schemas.microsoft.com/office/drawing/2014/main" id="{46150F7B-F2D2-4AB7-823D-7A74DDD49ACC}"/>
                </a:ext>
              </a:extLst>
            </p:cNvPr>
            <p:cNvSpPr/>
            <p:nvPr/>
          </p:nvSpPr>
          <p:spPr>
            <a:xfrm>
              <a:off x="2611138"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a:solidFill>
                    <a:schemeClr val="tx1"/>
                  </a:solidFill>
                </a:rPr>
                <a:t>Text</a:t>
              </a:r>
              <a:endParaRPr lang="en-US" sz="1600" dirty="0">
                <a:solidFill>
                  <a:schemeClr val="tx1"/>
                </a:solidFill>
              </a:endParaRPr>
            </a:p>
          </p:txBody>
        </p:sp>
        <p:sp>
          <p:nvSpPr>
            <p:cNvPr id="34" name="Arrow: Chevron 33">
              <a:extLst>
                <a:ext uri="{FF2B5EF4-FFF2-40B4-BE49-F238E27FC236}">
                  <a16:creationId xmlns:a16="http://schemas.microsoft.com/office/drawing/2014/main" id="{9514B491-8527-4420-8572-4159E673FDAF}"/>
                </a:ext>
              </a:extLst>
            </p:cNvPr>
            <p:cNvSpPr/>
            <p:nvPr/>
          </p:nvSpPr>
          <p:spPr>
            <a:xfrm>
              <a:off x="7159796"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a:solidFill>
                    <a:schemeClr val="tx1"/>
                  </a:solidFill>
                </a:rPr>
                <a:t>Text</a:t>
              </a:r>
              <a:endParaRPr lang="en-US" sz="1600" dirty="0">
                <a:solidFill>
                  <a:schemeClr val="tx1"/>
                </a:solidFill>
              </a:endParaRPr>
            </a:p>
          </p:txBody>
        </p:sp>
        <p:sp>
          <p:nvSpPr>
            <p:cNvPr id="35" name="Arrow: Chevron 34">
              <a:extLst>
                <a:ext uri="{FF2B5EF4-FFF2-40B4-BE49-F238E27FC236}">
                  <a16:creationId xmlns:a16="http://schemas.microsoft.com/office/drawing/2014/main" id="{E60C30A2-BCC3-4752-8C53-80F254F68643}"/>
                </a:ext>
              </a:extLst>
            </p:cNvPr>
            <p:cNvSpPr/>
            <p:nvPr/>
          </p:nvSpPr>
          <p:spPr>
            <a:xfrm>
              <a:off x="11709045" y="4080545"/>
              <a:ext cx="2444400"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6" name="Arrow: Chevron 35">
              <a:extLst>
                <a:ext uri="{FF2B5EF4-FFF2-40B4-BE49-F238E27FC236}">
                  <a16:creationId xmlns:a16="http://schemas.microsoft.com/office/drawing/2014/main" id="{109B8260-39DA-4D5D-AB42-8058AA1EBC5D}"/>
                </a:ext>
              </a:extLst>
            </p:cNvPr>
            <p:cNvSpPr/>
            <p:nvPr/>
          </p:nvSpPr>
          <p:spPr>
            <a:xfrm>
              <a:off x="336218"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a:solidFill>
                    <a:schemeClr val="tx1"/>
                  </a:solidFill>
                </a:rPr>
                <a:t>Text</a:t>
              </a:r>
              <a:endParaRPr lang="en-US" sz="1600" dirty="0">
                <a:solidFill>
                  <a:schemeClr val="tx1"/>
                </a:solidFill>
              </a:endParaRPr>
            </a:p>
          </p:txBody>
        </p:sp>
      </p:grpSp>
    </p:spTree>
    <p:extLst>
      <p:ext uri="{BB962C8B-B14F-4D97-AF65-F5344CB8AC3E}">
        <p14:creationId xmlns:p14="http://schemas.microsoft.com/office/powerpoint/2010/main" val="305066403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5</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9681EF1-38AC-44E9-965F-BCCBACFAE9D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39" name="Group 38">
            <a:extLst>
              <a:ext uri="{FF2B5EF4-FFF2-40B4-BE49-F238E27FC236}">
                <a16:creationId xmlns:a16="http://schemas.microsoft.com/office/drawing/2014/main" id="{3009E178-F508-43AC-B7AC-FFC5AC826784}"/>
              </a:ext>
            </a:extLst>
          </p:cNvPr>
          <p:cNvGrpSpPr/>
          <p:nvPr/>
        </p:nvGrpSpPr>
        <p:grpSpPr>
          <a:xfrm>
            <a:off x="381000" y="1131885"/>
            <a:ext cx="11445698" cy="4787572"/>
            <a:chOff x="345017" y="1288295"/>
            <a:chExt cx="11517664" cy="4787572"/>
          </a:xfrm>
        </p:grpSpPr>
        <p:cxnSp>
          <p:nvCxnSpPr>
            <p:cNvPr id="22" name="Straight Connector 21">
              <a:extLst>
                <a:ext uri="{FF2B5EF4-FFF2-40B4-BE49-F238E27FC236}">
                  <a16:creationId xmlns:a16="http://schemas.microsoft.com/office/drawing/2014/main" id="{CEBFD199-B74A-4457-8BC4-0D6AA4EDEBEC}"/>
                </a:ext>
              </a:extLst>
            </p:cNvPr>
            <p:cNvCxnSpPr/>
            <p:nvPr/>
          </p:nvCxnSpPr>
          <p:spPr>
            <a:xfrm>
              <a:off x="591324" y="3678957"/>
              <a:ext cx="0" cy="1028799"/>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F4E9126-9852-4FB3-8BB2-F8558086009F}"/>
                </a:ext>
              </a:extLst>
            </p:cNvPr>
            <p:cNvCxnSpPr/>
            <p:nvPr/>
          </p:nvCxnSpPr>
          <p:spPr>
            <a:xfrm>
              <a:off x="2466474" y="3678957"/>
              <a:ext cx="9172976" cy="1028799"/>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B2B6D51-B7F0-4F58-8DEE-372145921CB2}"/>
                </a:ext>
              </a:extLst>
            </p:cNvPr>
            <p:cNvGrpSpPr/>
            <p:nvPr/>
          </p:nvGrpSpPr>
          <p:grpSpPr>
            <a:xfrm>
              <a:off x="345018" y="1912039"/>
              <a:ext cx="11510432" cy="1766918"/>
              <a:chOff x="337788" y="2162040"/>
              <a:chExt cx="11540738" cy="1766918"/>
            </a:xfrm>
          </p:grpSpPr>
          <p:sp>
            <p:nvSpPr>
              <p:cNvPr id="25" name="Arrow: Chevron 24">
                <a:extLst>
                  <a:ext uri="{FF2B5EF4-FFF2-40B4-BE49-F238E27FC236}">
                    <a16:creationId xmlns:a16="http://schemas.microsoft.com/office/drawing/2014/main" id="{4365DB9B-63BE-402F-B902-A0B80437BBD9}"/>
                  </a:ext>
                </a:extLst>
              </p:cNvPr>
              <p:cNvSpPr/>
              <p:nvPr/>
            </p:nvSpPr>
            <p:spPr>
              <a:xfrm>
                <a:off x="4885467" y="2162040"/>
                <a:ext cx="2443811"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tx1"/>
                    </a:solidFill>
                  </a:rPr>
                  <a:t>Text</a:t>
                </a:r>
              </a:p>
            </p:txBody>
          </p:sp>
          <p:sp>
            <p:nvSpPr>
              <p:cNvPr id="26" name="AutoShape 5">
                <a:extLst>
                  <a:ext uri="{FF2B5EF4-FFF2-40B4-BE49-F238E27FC236}">
                    <a16:creationId xmlns:a16="http://schemas.microsoft.com/office/drawing/2014/main" id="{BCBF9ED9-EF34-421E-8343-6F8C64F1B400}"/>
                  </a:ext>
                </a:extLst>
              </p:cNvPr>
              <p:cNvSpPr>
                <a:spLocks noChangeArrowheads="1"/>
              </p:cNvSpPr>
              <p:nvPr/>
            </p:nvSpPr>
            <p:spPr bwMode="auto">
              <a:xfrm>
                <a:off x="337788" y="2162040"/>
                <a:ext cx="2442831" cy="1766918"/>
              </a:xfrm>
              <a:prstGeom prst="homePlate">
                <a:avLst>
                  <a:gd name="adj" fmla="val 16553"/>
                </a:avLst>
              </a:prstGeom>
              <a:solidFill>
                <a:schemeClr val="accent1"/>
              </a:solidFill>
              <a:ln w="6350">
                <a:noFill/>
                <a:miter lim="800000"/>
                <a:headEnd/>
                <a:tailEnd/>
              </a:ln>
              <a:effectLst/>
            </p:spPr>
            <p:txBody>
              <a:bodyPr wrap="square" lIns="180000" tIns="108000" rIns="108000" bIns="108000" anchor="ctr" anchorCtr="0"/>
              <a:lstStyle/>
              <a:p>
                <a:pPr algn="l" eaLnBrk="0" hangingPunct="0"/>
                <a:r>
                  <a:rPr lang="en-US" dirty="0">
                    <a:solidFill>
                      <a:schemeClr val="bg1"/>
                    </a:solidFill>
                  </a:rPr>
                  <a:t>Text</a:t>
                </a:r>
              </a:p>
            </p:txBody>
          </p:sp>
          <p:sp>
            <p:nvSpPr>
              <p:cNvPr id="27" name="Arrow: Chevron 26">
                <a:extLst>
                  <a:ext uri="{FF2B5EF4-FFF2-40B4-BE49-F238E27FC236}">
                    <a16:creationId xmlns:a16="http://schemas.microsoft.com/office/drawing/2014/main" id="{554BAE68-FF54-4042-83CB-74DBDA50D55E}"/>
                  </a:ext>
                </a:extLst>
              </p:cNvPr>
              <p:cNvSpPr/>
              <p:nvPr/>
            </p:nvSpPr>
            <p:spPr>
              <a:xfrm>
                <a:off x="9434126" y="2162040"/>
                <a:ext cx="2444400"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tx1"/>
                    </a:solidFill>
                  </a:rPr>
                  <a:t>Text</a:t>
                </a:r>
              </a:p>
            </p:txBody>
          </p:sp>
          <p:sp>
            <p:nvSpPr>
              <p:cNvPr id="28" name="Arrow: Chevron 27">
                <a:extLst>
                  <a:ext uri="{FF2B5EF4-FFF2-40B4-BE49-F238E27FC236}">
                    <a16:creationId xmlns:a16="http://schemas.microsoft.com/office/drawing/2014/main" id="{DB20B16C-13E1-43B5-A700-90AB212E45A4}"/>
                  </a:ext>
                </a:extLst>
              </p:cNvPr>
              <p:cNvSpPr/>
              <p:nvPr/>
            </p:nvSpPr>
            <p:spPr>
              <a:xfrm>
                <a:off x="2611138" y="2162040"/>
                <a:ext cx="2443811"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tx1"/>
                    </a:solidFill>
                  </a:rPr>
                  <a:t>Text</a:t>
                </a:r>
              </a:p>
            </p:txBody>
          </p:sp>
          <p:sp>
            <p:nvSpPr>
              <p:cNvPr id="29" name="Arrow: Chevron 28">
                <a:extLst>
                  <a:ext uri="{FF2B5EF4-FFF2-40B4-BE49-F238E27FC236}">
                    <a16:creationId xmlns:a16="http://schemas.microsoft.com/office/drawing/2014/main" id="{359730C3-0D48-4EFE-9DD8-399A164FF253}"/>
                  </a:ext>
                </a:extLst>
              </p:cNvPr>
              <p:cNvSpPr/>
              <p:nvPr/>
            </p:nvSpPr>
            <p:spPr>
              <a:xfrm>
                <a:off x="7159796" y="2162040"/>
                <a:ext cx="2443811" cy="1766918"/>
              </a:xfrm>
              <a:prstGeom prst="chevron">
                <a:avLst>
                  <a:gd name="adj" fmla="val 1571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dirty="0">
                    <a:solidFill>
                      <a:schemeClr val="tx1"/>
                    </a:solidFill>
                  </a:rPr>
                  <a:t>Text</a:t>
                </a:r>
              </a:p>
            </p:txBody>
          </p:sp>
        </p:grpSp>
        <p:grpSp>
          <p:nvGrpSpPr>
            <p:cNvPr id="30" name="Group 29">
              <a:extLst>
                <a:ext uri="{FF2B5EF4-FFF2-40B4-BE49-F238E27FC236}">
                  <a16:creationId xmlns:a16="http://schemas.microsoft.com/office/drawing/2014/main" id="{1D27EA06-0B36-4369-A5CE-0BD6B9DBDA2E}"/>
                </a:ext>
              </a:extLst>
            </p:cNvPr>
            <p:cNvGrpSpPr/>
            <p:nvPr/>
          </p:nvGrpSpPr>
          <p:grpSpPr>
            <a:xfrm>
              <a:off x="345019" y="4707756"/>
              <a:ext cx="11517662" cy="1368111"/>
              <a:chOff x="336218" y="4080545"/>
              <a:chExt cx="13817227" cy="1766918"/>
            </a:xfrm>
            <a:solidFill>
              <a:schemeClr val="accent1">
                <a:lumMod val="20000"/>
                <a:lumOff val="80000"/>
              </a:schemeClr>
            </a:solidFill>
          </p:grpSpPr>
          <p:sp>
            <p:nvSpPr>
              <p:cNvPr id="31" name="Arrow: Chevron 30">
                <a:extLst>
                  <a:ext uri="{FF2B5EF4-FFF2-40B4-BE49-F238E27FC236}">
                    <a16:creationId xmlns:a16="http://schemas.microsoft.com/office/drawing/2014/main" id="{8A4F7CAA-1FB5-47C7-9B49-9671EF5DFE59}"/>
                  </a:ext>
                </a:extLst>
              </p:cNvPr>
              <p:cNvSpPr/>
              <p:nvPr/>
            </p:nvSpPr>
            <p:spPr>
              <a:xfrm>
                <a:off x="4885467"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2" name="Arrow: Chevron 31">
                <a:extLst>
                  <a:ext uri="{FF2B5EF4-FFF2-40B4-BE49-F238E27FC236}">
                    <a16:creationId xmlns:a16="http://schemas.microsoft.com/office/drawing/2014/main" id="{9BB9BA1E-EB1F-4770-A632-15ADA80284C7}"/>
                  </a:ext>
                </a:extLst>
              </p:cNvPr>
              <p:cNvSpPr/>
              <p:nvPr/>
            </p:nvSpPr>
            <p:spPr>
              <a:xfrm>
                <a:off x="9434126" y="4080545"/>
                <a:ext cx="2444400"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3" name="Arrow: Chevron 32">
                <a:extLst>
                  <a:ext uri="{FF2B5EF4-FFF2-40B4-BE49-F238E27FC236}">
                    <a16:creationId xmlns:a16="http://schemas.microsoft.com/office/drawing/2014/main" id="{BEBE1CB5-AA00-4DBC-9C64-375C61F9AD1C}"/>
                  </a:ext>
                </a:extLst>
              </p:cNvPr>
              <p:cNvSpPr/>
              <p:nvPr/>
            </p:nvSpPr>
            <p:spPr>
              <a:xfrm>
                <a:off x="2611138"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4" name="Arrow: Chevron 33">
                <a:extLst>
                  <a:ext uri="{FF2B5EF4-FFF2-40B4-BE49-F238E27FC236}">
                    <a16:creationId xmlns:a16="http://schemas.microsoft.com/office/drawing/2014/main" id="{31602C5D-1109-49E7-A820-905F0BD3FA88}"/>
                  </a:ext>
                </a:extLst>
              </p:cNvPr>
              <p:cNvSpPr/>
              <p:nvPr/>
            </p:nvSpPr>
            <p:spPr>
              <a:xfrm>
                <a:off x="7159796"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5" name="Arrow: Chevron 34">
                <a:extLst>
                  <a:ext uri="{FF2B5EF4-FFF2-40B4-BE49-F238E27FC236}">
                    <a16:creationId xmlns:a16="http://schemas.microsoft.com/office/drawing/2014/main" id="{6EE4C096-AD3A-4B69-A430-D91E1D21B59A}"/>
                  </a:ext>
                </a:extLst>
              </p:cNvPr>
              <p:cNvSpPr/>
              <p:nvPr/>
            </p:nvSpPr>
            <p:spPr>
              <a:xfrm>
                <a:off x="11709045" y="4080545"/>
                <a:ext cx="2444400"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sp>
            <p:nvSpPr>
              <p:cNvPr id="36" name="Arrow: Chevron 35">
                <a:extLst>
                  <a:ext uri="{FF2B5EF4-FFF2-40B4-BE49-F238E27FC236}">
                    <a16:creationId xmlns:a16="http://schemas.microsoft.com/office/drawing/2014/main" id="{AAEE2D4C-5516-4990-B780-2A5865F4478E}"/>
                  </a:ext>
                </a:extLst>
              </p:cNvPr>
              <p:cNvSpPr/>
              <p:nvPr/>
            </p:nvSpPr>
            <p:spPr>
              <a:xfrm>
                <a:off x="336218" y="4080545"/>
                <a:ext cx="2443811" cy="1766918"/>
              </a:xfrm>
              <a:prstGeom prst="chevron">
                <a:avLst>
                  <a:gd name="adj" fmla="val 15715"/>
                </a:avLst>
              </a:prstGeom>
              <a:grp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r>
                  <a:rPr lang="en-US" sz="1600" dirty="0">
                    <a:solidFill>
                      <a:schemeClr val="tx1"/>
                    </a:solidFill>
                  </a:rPr>
                  <a:t>Text</a:t>
                </a:r>
              </a:p>
            </p:txBody>
          </p:sp>
        </p:grpSp>
        <p:sp>
          <p:nvSpPr>
            <p:cNvPr id="37" name="Shape 68">
              <a:extLst>
                <a:ext uri="{FF2B5EF4-FFF2-40B4-BE49-F238E27FC236}">
                  <a16:creationId xmlns:a16="http://schemas.microsoft.com/office/drawing/2014/main" id="{1E778218-BADE-4775-AF00-02025682DF9A}"/>
                </a:ext>
              </a:extLst>
            </p:cNvPr>
            <p:cNvSpPr/>
            <p:nvPr/>
          </p:nvSpPr>
          <p:spPr>
            <a:xfrm>
              <a:off x="345017" y="1699285"/>
              <a:ext cx="11512800" cy="0"/>
            </a:xfrm>
            <a:prstGeom prst="line">
              <a:avLst/>
            </a:prstGeom>
            <a:ln w="12700" cmpd="sng">
              <a:solidFill>
                <a:schemeClr val="tx2">
                  <a:lumMod val="60000"/>
                  <a:lumOff val="40000"/>
                </a:schemeClr>
              </a:solidFill>
              <a:prstDash val="solid"/>
              <a:miter lim="400000"/>
              <a:headEnd type="none" len="sm"/>
              <a:tailEnd type="none" len="sm"/>
            </a:ln>
          </p:spPr>
          <p:txBody>
            <a:bodyPr lIns="0" tIns="0" rIns="0" bIns="0" anchor="ctr"/>
            <a:lstStyle/>
            <a:p>
              <a:pPr>
                <a:defRPr sz="3200"/>
              </a:pPr>
              <a:endParaRPr lang="en-US" sz="3199" dirty="0"/>
            </a:p>
          </p:txBody>
        </p:sp>
        <p:sp>
          <p:nvSpPr>
            <p:cNvPr id="38" name="TextBox 37">
              <a:extLst>
                <a:ext uri="{FF2B5EF4-FFF2-40B4-BE49-F238E27FC236}">
                  <a16:creationId xmlns:a16="http://schemas.microsoft.com/office/drawing/2014/main" id="{9683DAC1-6F1A-4790-9497-97107FC333E6}"/>
                </a:ext>
              </a:extLst>
            </p:cNvPr>
            <p:cNvSpPr txBox="1"/>
            <p:nvPr/>
          </p:nvSpPr>
          <p:spPr>
            <a:xfrm>
              <a:off x="345018" y="1288295"/>
              <a:ext cx="11463047" cy="355939"/>
            </a:xfrm>
            <a:prstGeom prst="rect">
              <a:avLst/>
            </a:prstGeom>
          </p:spPr>
          <p:txBody>
            <a:bodyPr vert="horz" wrap="square" lIns="0" tIns="0" rIns="0" bIns="0" rtlCol="0" anchor="b" anchorCtr="0">
              <a:noAutofit/>
            </a:bodyPr>
            <a:lstStyle/>
            <a:p>
              <a:r>
                <a:rPr lang="en-AU" b="1" dirty="0">
                  <a:latin typeface="+mj-lt"/>
                </a:rPr>
                <a:t>Title</a:t>
              </a:r>
            </a:p>
          </p:txBody>
        </p:sp>
      </p:grpSp>
    </p:spTree>
    <p:extLst>
      <p:ext uri="{BB962C8B-B14F-4D97-AF65-F5344CB8AC3E}">
        <p14:creationId xmlns:p14="http://schemas.microsoft.com/office/powerpoint/2010/main" val="100336797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6</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A7093F7C-1769-4166-9526-039C87742C5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 name="AutoShape 4">
            <a:extLst>
              <a:ext uri="{FF2B5EF4-FFF2-40B4-BE49-F238E27FC236}">
                <a16:creationId xmlns:a16="http://schemas.microsoft.com/office/drawing/2014/main" id="{8F1158FA-70A7-49E4-A32A-8202A0B1C4C9}"/>
              </a:ext>
            </a:extLst>
          </p:cNvPr>
          <p:cNvSpPr>
            <a:spLocks noChangeArrowheads="1"/>
          </p:cNvSpPr>
          <p:nvPr/>
        </p:nvSpPr>
        <p:spPr bwMode="auto">
          <a:xfrm>
            <a:off x="334962" y="3172050"/>
            <a:ext cx="8520280" cy="1188000"/>
          </a:xfrm>
          <a:prstGeom prst="homePlate">
            <a:avLst>
              <a:gd name="adj" fmla="val 32315"/>
            </a:avLst>
          </a:prstGeom>
          <a:solidFill>
            <a:schemeClr val="tx2">
              <a:lumMod val="20000"/>
              <a:lumOff val="80000"/>
            </a:schemeClr>
          </a:solidFill>
          <a:ln w="6350">
            <a:noFill/>
            <a:miter lim="800000"/>
            <a:headEnd/>
            <a:tailEnd/>
          </a:ln>
          <a:effectLst/>
        </p:spPr>
        <p:txBody>
          <a:bodyPr lIns="180000" tIns="180000" rIns="1080000" bIns="72000"/>
          <a:lstStyle/>
          <a:p>
            <a:pPr algn="l" eaLnBrk="0" hangingPunct="0"/>
            <a:r>
              <a:rPr lang="en-US">
                <a:solidFill>
                  <a:schemeClr val="tx1"/>
                </a:solidFill>
              </a:rPr>
              <a:t>Text</a:t>
            </a:r>
          </a:p>
        </p:txBody>
      </p:sp>
      <p:sp>
        <p:nvSpPr>
          <p:cNvPr id="14" name="AutoShape 4">
            <a:extLst>
              <a:ext uri="{FF2B5EF4-FFF2-40B4-BE49-F238E27FC236}">
                <a16:creationId xmlns:a16="http://schemas.microsoft.com/office/drawing/2014/main" id="{93FE6D7D-A440-40A4-9D67-32669DAD4877}"/>
              </a:ext>
            </a:extLst>
          </p:cNvPr>
          <p:cNvSpPr>
            <a:spLocks noChangeArrowheads="1"/>
          </p:cNvSpPr>
          <p:nvPr/>
        </p:nvSpPr>
        <p:spPr bwMode="auto">
          <a:xfrm>
            <a:off x="334962" y="1777072"/>
            <a:ext cx="8520280" cy="1188000"/>
          </a:xfrm>
          <a:prstGeom prst="homePlate">
            <a:avLst>
              <a:gd name="adj" fmla="val 32315"/>
            </a:avLst>
          </a:prstGeom>
          <a:solidFill>
            <a:schemeClr val="tx2">
              <a:lumMod val="20000"/>
              <a:lumOff val="80000"/>
            </a:schemeClr>
          </a:solidFill>
          <a:ln w="6350">
            <a:noFill/>
            <a:miter lim="800000"/>
            <a:headEnd/>
            <a:tailEnd/>
          </a:ln>
          <a:effectLst/>
        </p:spPr>
        <p:txBody>
          <a:bodyPr lIns="180000" tIns="180000" rIns="1080000" bIns="72000"/>
          <a:lstStyle/>
          <a:p>
            <a:pPr algn="l" eaLnBrk="0" hangingPunct="0"/>
            <a:r>
              <a:rPr lang="en-US">
                <a:solidFill>
                  <a:schemeClr val="tx1"/>
                </a:solidFill>
              </a:rPr>
              <a:t>Text</a:t>
            </a:r>
          </a:p>
        </p:txBody>
      </p:sp>
      <p:sp>
        <p:nvSpPr>
          <p:cNvPr id="16" name="AutoShape 6">
            <a:extLst>
              <a:ext uri="{FF2B5EF4-FFF2-40B4-BE49-F238E27FC236}">
                <a16:creationId xmlns:a16="http://schemas.microsoft.com/office/drawing/2014/main" id="{029F4210-573B-43F5-8B98-9A9EA295B2D3}"/>
              </a:ext>
            </a:extLst>
          </p:cNvPr>
          <p:cNvSpPr>
            <a:spLocks noChangeAspect="1" noChangeArrowheads="1"/>
          </p:cNvSpPr>
          <p:nvPr/>
        </p:nvSpPr>
        <p:spPr bwMode="auto">
          <a:xfrm>
            <a:off x="7823450" y="1777072"/>
            <a:ext cx="4032000" cy="2582978"/>
          </a:xfrm>
          <a:prstGeom prst="chevron">
            <a:avLst>
              <a:gd name="adj" fmla="val 15929"/>
            </a:avLst>
          </a:prstGeom>
          <a:solidFill>
            <a:schemeClr val="accent2"/>
          </a:solidFill>
          <a:ln w="6350">
            <a:noFill/>
            <a:miter lim="800000"/>
            <a:headEnd/>
            <a:tailEnd/>
          </a:ln>
          <a:effectLst/>
        </p:spPr>
        <p:txBody>
          <a:bodyPr lIns="72000" tIns="486000" rIns="72000" bIns="72000"/>
          <a:lstStyle/>
          <a:p>
            <a:pPr algn="l" eaLnBrk="0" hangingPunct="0"/>
            <a:r>
              <a:rPr lang="en-US" b="1">
                <a:solidFill>
                  <a:schemeClr val="bg1"/>
                </a:solidFill>
              </a:rPr>
              <a:t>Text</a:t>
            </a:r>
          </a:p>
        </p:txBody>
      </p:sp>
      <p:sp>
        <p:nvSpPr>
          <p:cNvPr id="18" name="Text Box 7">
            <a:extLst>
              <a:ext uri="{FF2B5EF4-FFF2-40B4-BE49-F238E27FC236}">
                <a16:creationId xmlns:a16="http://schemas.microsoft.com/office/drawing/2014/main" id="{22D176C4-3F5B-417A-93DC-D1112A52A7A7}"/>
              </a:ext>
            </a:extLst>
          </p:cNvPr>
          <p:cNvSpPr txBox="1">
            <a:spLocks noChangeArrowheads="1"/>
          </p:cNvSpPr>
          <p:nvPr/>
        </p:nvSpPr>
        <p:spPr bwMode="auto">
          <a:xfrm>
            <a:off x="8322546" y="4480560"/>
            <a:ext cx="3120390"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a:solidFill>
                  <a:schemeClr val="tx1"/>
                </a:solidFill>
              </a:rPr>
              <a:t>Text </a:t>
            </a:r>
          </a:p>
          <a:p>
            <a:pPr marL="179388" indent="-179388" eaLnBrk="0" hangingPunct="0">
              <a:spcBef>
                <a:spcPts val="100"/>
              </a:spcBef>
              <a:spcAft>
                <a:spcPts val="100"/>
              </a:spcAft>
              <a:buClr>
                <a:schemeClr val="tx1"/>
              </a:buClr>
              <a:buFontTx/>
              <a:buChar char="•"/>
            </a:pPr>
            <a:r>
              <a:rPr lang="en-US" sz="1400"/>
              <a:t>Text </a:t>
            </a:r>
          </a:p>
          <a:p>
            <a:pPr marL="179388" indent="-179388" eaLnBrk="0" hangingPunct="0">
              <a:spcBef>
                <a:spcPts val="100"/>
              </a:spcBef>
              <a:spcAft>
                <a:spcPts val="100"/>
              </a:spcAft>
              <a:buClr>
                <a:schemeClr val="tx1"/>
              </a:buClr>
              <a:buFontTx/>
              <a:buChar char="•"/>
            </a:pPr>
            <a:r>
              <a:rPr lang="en-US" sz="1400"/>
              <a:t>Text </a:t>
            </a:r>
            <a:endParaRPr lang="en-US" sz="1400" dirty="0"/>
          </a:p>
        </p:txBody>
      </p:sp>
      <p:sp>
        <p:nvSpPr>
          <p:cNvPr id="20" name="Text Box 7">
            <a:extLst>
              <a:ext uri="{FF2B5EF4-FFF2-40B4-BE49-F238E27FC236}">
                <a16:creationId xmlns:a16="http://schemas.microsoft.com/office/drawing/2014/main" id="{91DAC9BA-98D8-47BC-B6C1-644BEACD3D2F}"/>
              </a:ext>
            </a:extLst>
          </p:cNvPr>
          <p:cNvSpPr txBox="1">
            <a:spLocks noChangeArrowheads="1"/>
          </p:cNvSpPr>
          <p:nvPr/>
        </p:nvSpPr>
        <p:spPr bwMode="auto">
          <a:xfrm>
            <a:off x="514050" y="4480560"/>
            <a:ext cx="6896399"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a:solidFill>
                  <a:schemeClr val="tx1"/>
                </a:solidFill>
              </a:rPr>
              <a:t>Text </a:t>
            </a:r>
          </a:p>
          <a:p>
            <a:pPr marL="179388" indent="-179388" eaLnBrk="0" hangingPunct="0">
              <a:spcBef>
                <a:spcPts val="100"/>
              </a:spcBef>
              <a:spcAft>
                <a:spcPts val="100"/>
              </a:spcAft>
              <a:buClr>
                <a:schemeClr val="tx1"/>
              </a:buClr>
              <a:buFontTx/>
              <a:buChar char="•"/>
            </a:pPr>
            <a:r>
              <a:rPr lang="en-US" sz="1400"/>
              <a:t>Text </a:t>
            </a:r>
          </a:p>
          <a:p>
            <a:pPr marL="179388" indent="-179388" eaLnBrk="0" hangingPunct="0">
              <a:spcBef>
                <a:spcPts val="100"/>
              </a:spcBef>
              <a:spcAft>
                <a:spcPts val="100"/>
              </a:spcAft>
              <a:buClr>
                <a:schemeClr val="tx1"/>
              </a:buClr>
              <a:buFontTx/>
              <a:buChar char="•"/>
            </a:pPr>
            <a:r>
              <a:rPr lang="en-US" sz="1400"/>
              <a:t>Text </a:t>
            </a:r>
            <a:endParaRPr lang="en-US" sz="1400" dirty="0"/>
          </a:p>
        </p:txBody>
      </p:sp>
    </p:spTree>
    <p:extLst>
      <p:ext uri="{BB962C8B-B14F-4D97-AF65-F5344CB8AC3E}">
        <p14:creationId xmlns:p14="http://schemas.microsoft.com/office/powerpoint/2010/main" val="38734440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4E93A2-5ADF-DB4F-81FC-E222CE2D6191}"/>
              </a:ext>
            </a:extLst>
          </p:cNvPr>
          <p:cNvSpPr>
            <a:spLocks noGrp="1"/>
          </p:cNvSpPr>
          <p:nvPr>
            <p:ph type="ctrTitle"/>
          </p:nvPr>
        </p:nvSpPr>
        <p:spPr/>
        <p:txBody>
          <a:bodyPr/>
          <a:lstStyle/>
          <a:p>
            <a:endParaRPr lang="en-US"/>
          </a:p>
        </p:txBody>
      </p:sp>
      <p:sp>
        <p:nvSpPr>
          <p:cNvPr id="4" name="Text Placeholder 3">
            <a:extLst>
              <a:ext uri="{FF2B5EF4-FFF2-40B4-BE49-F238E27FC236}">
                <a16:creationId xmlns:a16="http://schemas.microsoft.com/office/drawing/2014/main" id="{B2FC189E-1E9C-7140-924B-D55C68E9FDE4}"/>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C613DD24-10AB-754B-82A5-A2EBBBD8F13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4314875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7</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A616F304-C59B-4EEF-9C93-EA4EB4A1C93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 name="Arrow: Pentagon 4">
            <a:extLst>
              <a:ext uri="{FF2B5EF4-FFF2-40B4-BE49-F238E27FC236}">
                <a16:creationId xmlns:a16="http://schemas.microsoft.com/office/drawing/2014/main" id="{093FA37E-5120-41D6-835E-709A49EB6098}"/>
              </a:ext>
            </a:extLst>
          </p:cNvPr>
          <p:cNvSpPr/>
          <p:nvPr/>
        </p:nvSpPr>
        <p:spPr>
          <a:xfrm>
            <a:off x="7640053" y="1628800"/>
            <a:ext cx="4215397" cy="2731250"/>
          </a:xfrm>
          <a:prstGeom prst="homePlate">
            <a:avLst>
              <a:gd name="adj" fmla="val 18484"/>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468000" tIns="180000" rIns="144000" rtlCol="0" anchor="t" anchorCtr="0"/>
          <a:lstStyle/>
          <a:p>
            <a:r>
              <a:rPr lang="en-AU" b="1"/>
              <a:t>Text</a:t>
            </a:r>
            <a:endParaRPr lang="en-AU" b="1" dirty="0"/>
          </a:p>
        </p:txBody>
      </p:sp>
      <p:sp>
        <p:nvSpPr>
          <p:cNvPr id="14" name="Text Box 7">
            <a:extLst>
              <a:ext uri="{FF2B5EF4-FFF2-40B4-BE49-F238E27FC236}">
                <a16:creationId xmlns:a16="http://schemas.microsoft.com/office/drawing/2014/main" id="{F3341E4A-3DC5-44F3-8043-1886DE54D0D8}"/>
              </a:ext>
            </a:extLst>
          </p:cNvPr>
          <p:cNvSpPr txBox="1">
            <a:spLocks noChangeArrowheads="1"/>
          </p:cNvSpPr>
          <p:nvPr/>
        </p:nvSpPr>
        <p:spPr bwMode="auto">
          <a:xfrm>
            <a:off x="514050"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16" name="Arrow: Pentagon 15">
            <a:extLst>
              <a:ext uri="{FF2B5EF4-FFF2-40B4-BE49-F238E27FC236}">
                <a16:creationId xmlns:a16="http://schemas.microsoft.com/office/drawing/2014/main" id="{8DA8E00B-C8AF-491C-8CDF-2E09D0CAE156}"/>
              </a:ext>
            </a:extLst>
          </p:cNvPr>
          <p:cNvSpPr/>
          <p:nvPr/>
        </p:nvSpPr>
        <p:spPr>
          <a:xfrm>
            <a:off x="3958389" y="2145156"/>
            <a:ext cx="4104000" cy="2214894"/>
          </a:xfrm>
          <a:prstGeom prst="homePlate">
            <a:avLst>
              <a:gd name="adj" fmla="val 18484"/>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468000" tIns="180000" rIns="144000" rtlCol="0" anchor="t" anchorCtr="0"/>
          <a:lstStyle/>
          <a:p>
            <a:r>
              <a:rPr lang="en-AU" b="1" dirty="0"/>
              <a:t>Text</a:t>
            </a:r>
          </a:p>
        </p:txBody>
      </p:sp>
      <p:sp>
        <p:nvSpPr>
          <p:cNvPr id="18" name="Arrow: Pentagon 17">
            <a:extLst>
              <a:ext uri="{FF2B5EF4-FFF2-40B4-BE49-F238E27FC236}">
                <a16:creationId xmlns:a16="http://schemas.microsoft.com/office/drawing/2014/main" id="{71D3C868-7F34-45CD-AF32-625FE8A168ED}"/>
              </a:ext>
            </a:extLst>
          </p:cNvPr>
          <p:cNvSpPr/>
          <p:nvPr/>
        </p:nvSpPr>
        <p:spPr>
          <a:xfrm>
            <a:off x="334962" y="2642100"/>
            <a:ext cx="3960000" cy="1717950"/>
          </a:xfrm>
          <a:prstGeom prst="homePlate">
            <a:avLst>
              <a:gd name="adj" fmla="val 18484"/>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44000" rtlCol="0" anchor="t" anchorCtr="0"/>
          <a:lstStyle/>
          <a:p>
            <a:r>
              <a:rPr lang="en-AU" b="1" dirty="0"/>
              <a:t>Text</a:t>
            </a:r>
          </a:p>
        </p:txBody>
      </p:sp>
      <p:sp>
        <p:nvSpPr>
          <p:cNvPr id="20" name="Text Box 7">
            <a:extLst>
              <a:ext uri="{FF2B5EF4-FFF2-40B4-BE49-F238E27FC236}">
                <a16:creationId xmlns:a16="http://schemas.microsoft.com/office/drawing/2014/main" id="{DFAB0A70-F727-4ACA-8C2E-870A7BB5C166}"/>
              </a:ext>
            </a:extLst>
          </p:cNvPr>
          <p:cNvSpPr txBox="1">
            <a:spLocks noChangeArrowheads="1"/>
          </p:cNvSpPr>
          <p:nvPr/>
        </p:nvSpPr>
        <p:spPr bwMode="auto">
          <a:xfrm>
            <a:off x="4443527"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2" name="Text Box 7">
            <a:extLst>
              <a:ext uri="{FF2B5EF4-FFF2-40B4-BE49-F238E27FC236}">
                <a16:creationId xmlns:a16="http://schemas.microsoft.com/office/drawing/2014/main" id="{C59B6A19-DD1A-42EE-A722-B61CE9D30B6A}"/>
              </a:ext>
            </a:extLst>
          </p:cNvPr>
          <p:cNvSpPr txBox="1">
            <a:spLocks noChangeArrowheads="1"/>
          </p:cNvSpPr>
          <p:nvPr/>
        </p:nvSpPr>
        <p:spPr bwMode="auto">
          <a:xfrm>
            <a:off x="8117144"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Tree>
    <p:extLst>
      <p:ext uri="{BB962C8B-B14F-4D97-AF65-F5344CB8AC3E}">
        <p14:creationId xmlns:p14="http://schemas.microsoft.com/office/powerpoint/2010/main" val="424623355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8</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285A40C-B463-41C5-A630-0BA751035A9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Arrow: Pentagon 11">
            <a:extLst>
              <a:ext uri="{FF2B5EF4-FFF2-40B4-BE49-F238E27FC236}">
                <a16:creationId xmlns:a16="http://schemas.microsoft.com/office/drawing/2014/main" id="{2AFC9B2A-7832-495B-BAD1-A9A6DE61147E}"/>
              </a:ext>
            </a:extLst>
          </p:cNvPr>
          <p:cNvSpPr/>
          <p:nvPr/>
        </p:nvSpPr>
        <p:spPr>
          <a:xfrm>
            <a:off x="7640053" y="1628800"/>
            <a:ext cx="4215397" cy="2731250"/>
          </a:xfrm>
          <a:prstGeom prst="homePlate">
            <a:avLst>
              <a:gd name="adj" fmla="val 18484"/>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468000" tIns="180000" rIns="144000" rtlCol="0" anchor="t" anchorCtr="0"/>
          <a:lstStyle/>
          <a:p>
            <a:r>
              <a:rPr lang="en-AU" b="1"/>
              <a:t>Text</a:t>
            </a:r>
            <a:endParaRPr lang="en-AU" b="1" dirty="0"/>
          </a:p>
        </p:txBody>
      </p:sp>
      <p:sp>
        <p:nvSpPr>
          <p:cNvPr id="14" name="Text Box 7">
            <a:extLst>
              <a:ext uri="{FF2B5EF4-FFF2-40B4-BE49-F238E27FC236}">
                <a16:creationId xmlns:a16="http://schemas.microsoft.com/office/drawing/2014/main" id="{65F93068-5642-452C-9257-69201206A85A}"/>
              </a:ext>
            </a:extLst>
          </p:cNvPr>
          <p:cNvSpPr txBox="1">
            <a:spLocks noChangeArrowheads="1"/>
          </p:cNvSpPr>
          <p:nvPr/>
        </p:nvSpPr>
        <p:spPr bwMode="auto">
          <a:xfrm>
            <a:off x="514050"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16" name="Arrow: Pentagon 15">
            <a:extLst>
              <a:ext uri="{FF2B5EF4-FFF2-40B4-BE49-F238E27FC236}">
                <a16:creationId xmlns:a16="http://schemas.microsoft.com/office/drawing/2014/main" id="{7338316E-AD77-4053-ACC5-3E43174B44AF}"/>
              </a:ext>
            </a:extLst>
          </p:cNvPr>
          <p:cNvSpPr/>
          <p:nvPr/>
        </p:nvSpPr>
        <p:spPr>
          <a:xfrm>
            <a:off x="3958389" y="1886978"/>
            <a:ext cx="4104000" cy="2214894"/>
          </a:xfrm>
          <a:prstGeom prst="homePlate">
            <a:avLst>
              <a:gd name="adj" fmla="val 18484"/>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468000" tIns="180000" rIns="144000" rtlCol="0" anchor="t" anchorCtr="0"/>
          <a:lstStyle/>
          <a:p>
            <a:r>
              <a:rPr lang="en-AU" b="1" dirty="0"/>
              <a:t>Text</a:t>
            </a:r>
          </a:p>
        </p:txBody>
      </p:sp>
      <p:sp>
        <p:nvSpPr>
          <p:cNvPr id="18" name="Arrow: Pentagon 17">
            <a:extLst>
              <a:ext uri="{FF2B5EF4-FFF2-40B4-BE49-F238E27FC236}">
                <a16:creationId xmlns:a16="http://schemas.microsoft.com/office/drawing/2014/main" id="{A1C2DD89-A3B2-4011-8265-A391C37AF3E2}"/>
              </a:ext>
            </a:extLst>
          </p:cNvPr>
          <p:cNvSpPr/>
          <p:nvPr/>
        </p:nvSpPr>
        <p:spPr>
          <a:xfrm>
            <a:off x="334962" y="2135450"/>
            <a:ext cx="3960000" cy="1717950"/>
          </a:xfrm>
          <a:prstGeom prst="homePlate">
            <a:avLst>
              <a:gd name="adj" fmla="val 18484"/>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44000" rtlCol="0" anchor="t" anchorCtr="0"/>
          <a:lstStyle/>
          <a:p>
            <a:r>
              <a:rPr lang="en-AU" b="1" dirty="0"/>
              <a:t>Text</a:t>
            </a:r>
          </a:p>
        </p:txBody>
      </p:sp>
      <p:sp>
        <p:nvSpPr>
          <p:cNvPr id="20" name="Text Box 7">
            <a:extLst>
              <a:ext uri="{FF2B5EF4-FFF2-40B4-BE49-F238E27FC236}">
                <a16:creationId xmlns:a16="http://schemas.microsoft.com/office/drawing/2014/main" id="{3CD6A851-05DE-49B0-864D-6C9365A32504}"/>
              </a:ext>
            </a:extLst>
          </p:cNvPr>
          <p:cNvSpPr txBox="1">
            <a:spLocks noChangeArrowheads="1"/>
          </p:cNvSpPr>
          <p:nvPr/>
        </p:nvSpPr>
        <p:spPr bwMode="auto">
          <a:xfrm>
            <a:off x="4443527"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
        <p:nvSpPr>
          <p:cNvPr id="22" name="Text Box 7">
            <a:extLst>
              <a:ext uri="{FF2B5EF4-FFF2-40B4-BE49-F238E27FC236}">
                <a16:creationId xmlns:a16="http://schemas.microsoft.com/office/drawing/2014/main" id="{9E22BD54-8D89-4370-AF12-203C4D1239B6}"/>
              </a:ext>
            </a:extLst>
          </p:cNvPr>
          <p:cNvSpPr txBox="1">
            <a:spLocks noChangeArrowheads="1"/>
          </p:cNvSpPr>
          <p:nvPr/>
        </p:nvSpPr>
        <p:spPr bwMode="auto">
          <a:xfrm>
            <a:off x="8117144" y="4480560"/>
            <a:ext cx="3228411" cy="1577340"/>
          </a:xfrm>
          <a:prstGeom prst="rect">
            <a:avLst/>
          </a:prstGeom>
          <a:noFill/>
          <a:ln w="3175">
            <a:noFill/>
            <a:miter lim="800000"/>
            <a:headEnd/>
            <a:tailEnd/>
          </a:ln>
          <a:effectLst/>
        </p:spPr>
        <p:txBody>
          <a:bodyPr lIns="0" tIns="72000" rIns="0" bIns="0"/>
          <a:lstStyle/>
          <a:p>
            <a:pPr marL="179388" indent="-179388" algn="l" eaLnBrk="0" hangingPunct="0">
              <a:spcBef>
                <a:spcPts val="100"/>
              </a:spcBef>
              <a:spcAft>
                <a:spcPts val="100"/>
              </a:spcAft>
              <a:buClr>
                <a:schemeClr val="tx1"/>
              </a:buClr>
              <a:buFontTx/>
              <a:buChar char="•"/>
            </a:pPr>
            <a:r>
              <a:rPr lang="en-US" sz="1400" dirty="0">
                <a:solidFill>
                  <a:schemeClr val="tx1"/>
                </a:solidFill>
              </a:rPr>
              <a:t>Text </a:t>
            </a:r>
          </a:p>
          <a:p>
            <a:pPr marL="179388" indent="-179388" eaLnBrk="0" hangingPunct="0">
              <a:spcBef>
                <a:spcPts val="100"/>
              </a:spcBef>
              <a:spcAft>
                <a:spcPts val="100"/>
              </a:spcAft>
              <a:buClr>
                <a:schemeClr val="tx1"/>
              </a:buClr>
              <a:buFontTx/>
              <a:buChar char="•"/>
            </a:pPr>
            <a:r>
              <a:rPr lang="en-US" sz="1400" dirty="0"/>
              <a:t>Text </a:t>
            </a:r>
          </a:p>
          <a:p>
            <a:pPr marL="179388" indent="-179388" eaLnBrk="0" hangingPunct="0">
              <a:spcBef>
                <a:spcPts val="100"/>
              </a:spcBef>
              <a:spcAft>
                <a:spcPts val="100"/>
              </a:spcAft>
              <a:buClr>
                <a:schemeClr val="tx1"/>
              </a:buClr>
              <a:buFontTx/>
              <a:buChar char="•"/>
            </a:pPr>
            <a:r>
              <a:rPr lang="en-US" sz="1400" dirty="0"/>
              <a:t>Text </a:t>
            </a:r>
          </a:p>
        </p:txBody>
      </p:sp>
    </p:spTree>
    <p:extLst>
      <p:ext uri="{BB962C8B-B14F-4D97-AF65-F5344CB8AC3E}">
        <p14:creationId xmlns:p14="http://schemas.microsoft.com/office/powerpoint/2010/main" val="417078437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9</a:t>
            </a:r>
            <a:endParaRPr lang="en-US" dirty="0"/>
          </a:p>
        </p:txBody>
      </p:sp>
      <p:sp>
        <p:nvSpPr>
          <p:cNvPr id="4" name="Freeform: Shape 3">
            <a:hlinkClick r:id="rId4"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D42FC845-4C0A-4EF9-9854-4299067E665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AutoShape 2">
            <a:extLst>
              <a:ext uri="{FF2B5EF4-FFF2-40B4-BE49-F238E27FC236}">
                <a16:creationId xmlns:a16="http://schemas.microsoft.com/office/drawing/2014/main" id="{DD96D137-0CF1-4716-917E-68B8DED0C5DB}"/>
              </a:ext>
            </a:extLst>
          </p:cNvPr>
          <p:cNvSpPr>
            <a:spLocks noChangeArrowheads="1"/>
          </p:cNvSpPr>
          <p:nvPr/>
        </p:nvSpPr>
        <p:spPr bwMode="auto">
          <a:xfrm>
            <a:off x="5398925" y="1326903"/>
            <a:ext cx="4964275" cy="4730997"/>
          </a:xfrm>
          <a:prstGeom prst="rightArrow">
            <a:avLst>
              <a:gd name="adj1" fmla="val 69787"/>
              <a:gd name="adj2" fmla="val 35949"/>
            </a:avLst>
          </a:prstGeom>
          <a:solidFill>
            <a:schemeClr val="accent2"/>
          </a:solidFill>
          <a:ln w="6350" cap="rnd">
            <a:noFill/>
            <a:miter lim="800000"/>
            <a:headEnd/>
            <a:tailEnd/>
          </a:ln>
          <a:effectLst/>
        </p:spPr>
        <p:txBody>
          <a:bodyPr wrap="none" lIns="72000" tIns="72000" rIns="72000" bIns="72000" anchor="ctr" anchorCtr="1"/>
          <a:lstStyle/>
          <a:p>
            <a:pPr marL="174625" indent="-174625" algn="l" eaLnBrk="0" hangingPunct="0">
              <a:spcBef>
                <a:spcPts val="100"/>
              </a:spcBef>
              <a:spcAft>
                <a:spcPts val="100"/>
              </a:spcAft>
            </a:pPr>
            <a:endParaRPr lang="en-US" dirty="0"/>
          </a:p>
        </p:txBody>
      </p:sp>
      <p:sp>
        <p:nvSpPr>
          <p:cNvPr id="16" name="Rectangle 7">
            <a:extLst>
              <a:ext uri="{FF2B5EF4-FFF2-40B4-BE49-F238E27FC236}">
                <a16:creationId xmlns:a16="http://schemas.microsoft.com/office/drawing/2014/main" id="{363CC3AC-8D96-443E-853F-C48998739CB0}"/>
              </a:ext>
            </a:extLst>
          </p:cNvPr>
          <p:cNvSpPr>
            <a:spLocks noChangeArrowheads="1"/>
          </p:cNvSpPr>
          <p:nvPr>
            <p:custDataLst>
              <p:tags r:id="rId1"/>
            </p:custDataLst>
          </p:nvPr>
        </p:nvSpPr>
        <p:spPr bwMode="auto">
          <a:xfrm>
            <a:off x="6722180" y="2549937"/>
            <a:ext cx="2773261" cy="2284929"/>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18" name="Freeform 3">
            <a:extLst>
              <a:ext uri="{FF2B5EF4-FFF2-40B4-BE49-F238E27FC236}">
                <a16:creationId xmlns:a16="http://schemas.microsoft.com/office/drawing/2014/main" id="{7907D27F-41E8-453A-AD86-B7E6F7100F6A}"/>
              </a:ext>
            </a:extLst>
          </p:cNvPr>
          <p:cNvSpPr>
            <a:spLocks/>
          </p:cNvSpPr>
          <p:nvPr/>
        </p:nvSpPr>
        <p:spPr bwMode="auto">
          <a:xfrm>
            <a:off x="1471505" y="4094958"/>
            <a:ext cx="4772404" cy="1259044"/>
          </a:xfrm>
          <a:custGeom>
            <a:avLst/>
            <a:gdLst/>
            <a:ahLst/>
            <a:cxnLst>
              <a:cxn ang="0">
                <a:pos x="1503" y="275"/>
              </a:cxn>
              <a:cxn ang="0">
                <a:pos x="1503" y="635"/>
              </a:cxn>
              <a:cxn ang="0">
                <a:pos x="1827" y="0"/>
              </a:cxn>
              <a:cxn ang="0">
                <a:pos x="0" y="0"/>
              </a:cxn>
              <a:cxn ang="0">
                <a:pos x="0" y="275"/>
              </a:cxn>
              <a:cxn ang="0">
                <a:pos x="1503" y="275"/>
              </a:cxn>
            </a:cxnLst>
            <a:rect l="0" t="0" r="r" b="b"/>
            <a:pathLst>
              <a:path w="1828" h="636">
                <a:moveTo>
                  <a:pt x="1503" y="275"/>
                </a:moveTo>
                <a:lnTo>
                  <a:pt x="1503" y="635"/>
                </a:lnTo>
                <a:lnTo>
                  <a:pt x="1827" y="0"/>
                </a:lnTo>
                <a:lnTo>
                  <a:pt x="0" y="0"/>
                </a:lnTo>
                <a:lnTo>
                  <a:pt x="0" y="275"/>
                </a:lnTo>
                <a:lnTo>
                  <a:pt x="1503" y="275"/>
                </a:lnTo>
              </a:path>
            </a:pathLst>
          </a:custGeom>
          <a:solidFill>
            <a:schemeClr val="accent2">
              <a:lumMod val="60000"/>
              <a:lumOff val="40000"/>
            </a:schemeClr>
          </a:solidFill>
          <a:ln w="6350" cap="rnd" cmpd="sng">
            <a:noFill/>
            <a:prstDash val="solid"/>
            <a:round/>
            <a:headEnd/>
            <a:tailEnd/>
          </a:ln>
          <a:effectLst/>
        </p:spPr>
        <p:txBody>
          <a:bodyPr lIns="72000" tIns="72000" rIns="72000" bIns="72000"/>
          <a:lstStyle/>
          <a:p>
            <a:endParaRPr lang="en-US" dirty="0"/>
          </a:p>
        </p:txBody>
      </p:sp>
      <p:sp>
        <p:nvSpPr>
          <p:cNvPr id="20" name="Freeform 4">
            <a:extLst>
              <a:ext uri="{FF2B5EF4-FFF2-40B4-BE49-F238E27FC236}">
                <a16:creationId xmlns:a16="http://schemas.microsoft.com/office/drawing/2014/main" id="{241655EE-1490-4F77-BB08-0A4DA43838F9}"/>
              </a:ext>
            </a:extLst>
          </p:cNvPr>
          <p:cNvSpPr>
            <a:spLocks/>
          </p:cNvSpPr>
          <p:nvPr/>
        </p:nvSpPr>
        <p:spPr bwMode="auto">
          <a:xfrm>
            <a:off x="1471505" y="2030801"/>
            <a:ext cx="4760135" cy="1255977"/>
          </a:xfrm>
          <a:custGeom>
            <a:avLst/>
            <a:gdLst/>
            <a:ahLst/>
            <a:cxnLst>
              <a:cxn ang="0">
                <a:pos x="1503" y="358"/>
              </a:cxn>
              <a:cxn ang="0">
                <a:pos x="1503" y="0"/>
              </a:cxn>
              <a:cxn ang="0">
                <a:pos x="1827" y="634"/>
              </a:cxn>
              <a:cxn ang="0">
                <a:pos x="0" y="634"/>
              </a:cxn>
              <a:cxn ang="0">
                <a:pos x="0" y="358"/>
              </a:cxn>
              <a:cxn ang="0">
                <a:pos x="1503" y="358"/>
              </a:cxn>
            </a:cxnLst>
            <a:rect l="0" t="0" r="r" b="b"/>
            <a:pathLst>
              <a:path w="1828" h="635">
                <a:moveTo>
                  <a:pt x="1503" y="358"/>
                </a:moveTo>
                <a:lnTo>
                  <a:pt x="1503" y="0"/>
                </a:lnTo>
                <a:lnTo>
                  <a:pt x="1827" y="634"/>
                </a:lnTo>
                <a:lnTo>
                  <a:pt x="0" y="634"/>
                </a:lnTo>
                <a:lnTo>
                  <a:pt x="0" y="358"/>
                </a:lnTo>
                <a:lnTo>
                  <a:pt x="1503" y="358"/>
                </a:lnTo>
              </a:path>
            </a:pathLst>
          </a:custGeom>
          <a:solidFill>
            <a:schemeClr val="accent2">
              <a:lumMod val="20000"/>
              <a:lumOff val="80000"/>
            </a:schemeClr>
          </a:solidFill>
          <a:ln w="6350" cap="rnd" cmpd="sng">
            <a:noFill/>
            <a:prstDash val="solid"/>
            <a:round/>
            <a:headEnd/>
            <a:tailEnd/>
          </a:ln>
          <a:effectLst/>
        </p:spPr>
        <p:txBody>
          <a:bodyPr lIns="72000" tIns="72000" rIns="72000" bIns="72000"/>
          <a:lstStyle/>
          <a:p>
            <a:endParaRPr lang="en-US" b="1" dirty="0"/>
          </a:p>
        </p:txBody>
      </p:sp>
      <p:sp>
        <p:nvSpPr>
          <p:cNvPr id="22" name="Freeform 5">
            <a:extLst>
              <a:ext uri="{FF2B5EF4-FFF2-40B4-BE49-F238E27FC236}">
                <a16:creationId xmlns:a16="http://schemas.microsoft.com/office/drawing/2014/main" id="{026924F2-E9A4-4184-B710-3657C2C97AD1}"/>
              </a:ext>
            </a:extLst>
          </p:cNvPr>
          <p:cNvSpPr>
            <a:spLocks/>
          </p:cNvSpPr>
          <p:nvPr/>
        </p:nvSpPr>
        <p:spPr bwMode="auto">
          <a:xfrm>
            <a:off x="1471505" y="3381858"/>
            <a:ext cx="5023906" cy="633355"/>
          </a:xfrm>
          <a:custGeom>
            <a:avLst/>
            <a:gdLst/>
            <a:ahLst/>
            <a:cxnLst>
              <a:cxn ang="0">
                <a:pos x="0" y="0"/>
              </a:cxn>
              <a:cxn ang="0">
                <a:pos x="1856" y="0"/>
              </a:cxn>
              <a:cxn ang="0">
                <a:pos x="1928" y="162"/>
              </a:cxn>
              <a:cxn ang="0">
                <a:pos x="1853" y="319"/>
              </a:cxn>
              <a:cxn ang="0">
                <a:pos x="0" y="318"/>
              </a:cxn>
              <a:cxn ang="0">
                <a:pos x="0" y="0"/>
              </a:cxn>
            </a:cxnLst>
            <a:rect l="0" t="0" r="r" b="b"/>
            <a:pathLst>
              <a:path w="1929" h="320">
                <a:moveTo>
                  <a:pt x="0" y="0"/>
                </a:moveTo>
                <a:lnTo>
                  <a:pt x="1856" y="0"/>
                </a:lnTo>
                <a:lnTo>
                  <a:pt x="1928" y="162"/>
                </a:lnTo>
                <a:lnTo>
                  <a:pt x="1853" y="319"/>
                </a:lnTo>
                <a:lnTo>
                  <a:pt x="0" y="318"/>
                </a:lnTo>
                <a:lnTo>
                  <a:pt x="0" y="0"/>
                </a:lnTo>
              </a:path>
            </a:pathLst>
          </a:custGeom>
          <a:solidFill>
            <a:schemeClr val="accent2">
              <a:lumMod val="40000"/>
              <a:lumOff val="60000"/>
            </a:schemeClr>
          </a:solidFill>
          <a:ln w="6350" cap="rnd" cmpd="sng">
            <a:noFill/>
            <a:prstDash val="solid"/>
            <a:round/>
            <a:headEnd/>
            <a:tailEnd/>
          </a:ln>
          <a:effectLst/>
        </p:spPr>
        <p:txBody>
          <a:bodyPr lIns="72000" tIns="72000" rIns="72000" bIns="72000"/>
          <a:lstStyle/>
          <a:p>
            <a:endParaRPr lang="en-US" dirty="0"/>
          </a:p>
        </p:txBody>
      </p:sp>
      <p:sp>
        <p:nvSpPr>
          <p:cNvPr id="24" name="Rectangle 6">
            <a:extLst>
              <a:ext uri="{FF2B5EF4-FFF2-40B4-BE49-F238E27FC236}">
                <a16:creationId xmlns:a16="http://schemas.microsoft.com/office/drawing/2014/main" id="{CB883C4D-6364-46CF-94BD-EE072474A589}"/>
              </a:ext>
            </a:extLst>
          </p:cNvPr>
          <p:cNvSpPr>
            <a:spLocks noChangeArrowheads="1"/>
          </p:cNvSpPr>
          <p:nvPr/>
        </p:nvSpPr>
        <p:spPr bwMode="auto">
          <a:xfrm>
            <a:off x="1471505" y="2736234"/>
            <a:ext cx="3824671" cy="550544"/>
          </a:xfrm>
          <a:prstGeom prst="rect">
            <a:avLst/>
          </a:prstGeom>
          <a:noFill/>
          <a:ln w="6350">
            <a:noFill/>
            <a:miter lim="800000"/>
            <a:headEnd/>
            <a:tailEnd/>
          </a:ln>
          <a:effectLst/>
        </p:spPr>
        <p:txBody>
          <a:bodyPr lIns="180000" tIns="72000" rIns="72000" bIns="72000" anchor="ctr"/>
          <a:lstStyle/>
          <a:p>
            <a:pPr algn="l" defTabSz="885825" eaLnBrk="0" hangingPunct="0">
              <a:spcBef>
                <a:spcPct val="0"/>
              </a:spcBef>
            </a:pPr>
            <a:r>
              <a:rPr lang="en-GB" dirty="0"/>
              <a:t>Text </a:t>
            </a:r>
          </a:p>
        </p:txBody>
      </p:sp>
      <p:sp>
        <p:nvSpPr>
          <p:cNvPr id="26" name="Rectangle 7">
            <a:extLst>
              <a:ext uri="{FF2B5EF4-FFF2-40B4-BE49-F238E27FC236}">
                <a16:creationId xmlns:a16="http://schemas.microsoft.com/office/drawing/2014/main" id="{E15AF4CF-6C38-4E41-946F-EF8DA9C86E30}"/>
              </a:ext>
            </a:extLst>
          </p:cNvPr>
          <p:cNvSpPr>
            <a:spLocks noChangeArrowheads="1"/>
          </p:cNvSpPr>
          <p:nvPr/>
        </p:nvSpPr>
        <p:spPr bwMode="auto">
          <a:xfrm>
            <a:off x="1471505" y="3378791"/>
            <a:ext cx="3824671" cy="636422"/>
          </a:xfrm>
          <a:prstGeom prst="rect">
            <a:avLst/>
          </a:prstGeom>
          <a:noFill/>
          <a:ln w="6350">
            <a:noFill/>
            <a:miter lim="800000"/>
            <a:headEnd/>
            <a:tailEnd/>
          </a:ln>
          <a:effectLst/>
        </p:spPr>
        <p:txBody>
          <a:bodyPr lIns="180000" tIns="72000" rIns="72000" bIns="72000" anchor="ctr"/>
          <a:lstStyle/>
          <a:p>
            <a:pPr algn="l" defTabSz="885825" eaLnBrk="0" hangingPunct="0">
              <a:spcBef>
                <a:spcPct val="0"/>
              </a:spcBef>
            </a:pPr>
            <a:r>
              <a:rPr lang="en-GB" dirty="0"/>
              <a:t>Text </a:t>
            </a:r>
          </a:p>
        </p:txBody>
      </p:sp>
      <p:sp>
        <p:nvSpPr>
          <p:cNvPr id="28" name="Rectangle 8">
            <a:extLst>
              <a:ext uri="{FF2B5EF4-FFF2-40B4-BE49-F238E27FC236}">
                <a16:creationId xmlns:a16="http://schemas.microsoft.com/office/drawing/2014/main" id="{97FE36EA-6597-42C6-B909-7445E0C751E4}"/>
              </a:ext>
            </a:extLst>
          </p:cNvPr>
          <p:cNvSpPr>
            <a:spLocks noChangeArrowheads="1"/>
          </p:cNvSpPr>
          <p:nvPr/>
        </p:nvSpPr>
        <p:spPr bwMode="auto">
          <a:xfrm>
            <a:off x="1468438" y="4094958"/>
            <a:ext cx="3818536" cy="535209"/>
          </a:xfrm>
          <a:prstGeom prst="rect">
            <a:avLst/>
          </a:prstGeom>
          <a:noFill/>
          <a:ln w="6350">
            <a:noFill/>
            <a:miter lim="800000"/>
            <a:headEnd/>
            <a:tailEnd/>
          </a:ln>
          <a:effectLst/>
        </p:spPr>
        <p:txBody>
          <a:bodyPr lIns="180000" tIns="72000" rIns="72000" bIns="72000" anchor="ctr"/>
          <a:lstStyle/>
          <a:p>
            <a:pPr algn="l" defTabSz="885825" eaLnBrk="0" hangingPunct="0">
              <a:spcBef>
                <a:spcPct val="0"/>
              </a:spcBef>
            </a:pPr>
            <a:r>
              <a:rPr lang="en-GB" dirty="0"/>
              <a:t>Text </a:t>
            </a:r>
          </a:p>
        </p:txBody>
      </p:sp>
    </p:spTree>
    <p:extLst>
      <p:ext uri="{BB962C8B-B14F-4D97-AF65-F5344CB8AC3E}">
        <p14:creationId xmlns:p14="http://schemas.microsoft.com/office/powerpoint/2010/main" val="25206108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10</a:t>
            </a:r>
          </a:p>
        </p:txBody>
      </p:sp>
      <p:sp>
        <p:nvSpPr>
          <p:cNvPr id="4" name="Freeform: Shape 3">
            <a:hlinkClick r:id="rId4"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1CEC51F5-0879-4745-B2A6-086D0E86EF9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1" name="AutoShape 3">
            <a:extLst>
              <a:ext uri="{FF2B5EF4-FFF2-40B4-BE49-F238E27FC236}">
                <a16:creationId xmlns:a16="http://schemas.microsoft.com/office/drawing/2014/main" id="{15B3E77B-B06C-4903-B0C0-324A182592CB}"/>
              </a:ext>
            </a:extLst>
          </p:cNvPr>
          <p:cNvSpPr>
            <a:spLocks noChangeAspect="1" noChangeArrowheads="1"/>
          </p:cNvSpPr>
          <p:nvPr/>
        </p:nvSpPr>
        <p:spPr bwMode="auto">
          <a:xfrm>
            <a:off x="1822450" y="2568621"/>
            <a:ext cx="2864463" cy="2364697"/>
          </a:xfrm>
          <a:prstGeom prst="homePlate">
            <a:avLst>
              <a:gd name="adj" fmla="val 22135"/>
            </a:avLst>
          </a:prstGeom>
          <a:solidFill>
            <a:schemeClr val="tx2">
              <a:lumMod val="20000"/>
              <a:lumOff val="80000"/>
            </a:schemeClr>
          </a:solidFill>
          <a:ln w="6350">
            <a:noFill/>
            <a:miter lim="800000"/>
            <a:headEnd/>
            <a:tailEnd/>
          </a:ln>
          <a:effectLst/>
        </p:spPr>
        <p:txBody>
          <a:bodyPr lIns="180000" tIns="180000" rIns="72000" bIns="72000"/>
          <a:lstStyle/>
          <a:p>
            <a:pPr marL="180000" indent="-180000"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13" name="AutoShape 4">
            <a:extLst>
              <a:ext uri="{FF2B5EF4-FFF2-40B4-BE49-F238E27FC236}">
                <a16:creationId xmlns:a16="http://schemas.microsoft.com/office/drawing/2014/main" id="{EE3A9A6C-A755-459E-ACC4-433078D2DBA4}"/>
              </a:ext>
            </a:extLst>
          </p:cNvPr>
          <p:cNvSpPr>
            <a:spLocks noChangeArrowheads="1"/>
          </p:cNvSpPr>
          <p:nvPr/>
        </p:nvSpPr>
        <p:spPr bwMode="auto">
          <a:xfrm flipH="1">
            <a:off x="4302431" y="2568622"/>
            <a:ext cx="3296430" cy="1134222"/>
          </a:xfrm>
          <a:prstGeom prst="parallelogram">
            <a:avLst>
              <a:gd name="adj" fmla="val 43924"/>
            </a:avLst>
          </a:prstGeom>
          <a:solidFill>
            <a:schemeClr val="accent2">
              <a:lumMod val="40000"/>
              <a:lumOff val="60000"/>
            </a:schemeClr>
          </a:solidFill>
          <a:ln w="6350" cap="rnd">
            <a:noFill/>
            <a:miter lim="800000"/>
            <a:headEnd/>
            <a:tailEnd/>
          </a:ln>
          <a:effectLst/>
        </p:spPr>
        <p:txBody>
          <a:bodyPr wrap="none" lIns="72000" tIns="72000" rIns="72000" bIns="72000" anchor="ctr"/>
          <a:lstStyle/>
          <a:p>
            <a:pPr marL="180000" indent="-180000" eaLnBrk="0" hangingPunct="0">
              <a:spcBef>
                <a:spcPts val="100"/>
              </a:spcBef>
              <a:spcAft>
                <a:spcPts val="100"/>
              </a:spcAft>
              <a:buClr>
                <a:schemeClr val="tx1"/>
              </a:buClr>
            </a:pPr>
            <a:r>
              <a:rPr lang="en-US" sz="1400" b="1" dirty="0">
                <a:latin typeface="+mj-lt"/>
              </a:rPr>
              <a:t>Text</a:t>
            </a:r>
          </a:p>
          <a:p>
            <a:pPr eaLnBrk="0" hangingPunct="0">
              <a:spcBef>
                <a:spcPts val="100"/>
              </a:spcBef>
              <a:spcAft>
                <a:spcPts val="100"/>
              </a:spcAft>
            </a:pPr>
            <a:r>
              <a:rPr lang="en-US" sz="1400" dirty="0"/>
              <a:t>Insert text</a:t>
            </a:r>
          </a:p>
        </p:txBody>
      </p:sp>
      <p:sp>
        <p:nvSpPr>
          <p:cNvPr id="15" name="AutoShape 5">
            <a:extLst>
              <a:ext uri="{FF2B5EF4-FFF2-40B4-BE49-F238E27FC236}">
                <a16:creationId xmlns:a16="http://schemas.microsoft.com/office/drawing/2014/main" id="{DA14CEE6-D38C-46F2-A8F8-6880E60DEF37}"/>
              </a:ext>
            </a:extLst>
          </p:cNvPr>
          <p:cNvSpPr>
            <a:spLocks noChangeArrowheads="1"/>
          </p:cNvSpPr>
          <p:nvPr/>
        </p:nvSpPr>
        <p:spPr bwMode="auto">
          <a:xfrm>
            <a:off x="4302431" y="3799096"/>
            <a:ext cx="3296430" cy="1134222"/>
          </a:xfrm>
          <a:prstGeom prst="parallelogram">
            <a:avLst>
              <a:gd name="adj" fmla="val 43924"/>
            </a:avLst>
          </a:prstGeom>
          <a:solidFill>
            <a:schemeClr val="accent2">
              <a:lumMod val="40000"/>
              <a:lumOff val="60000"/>
            </a:schemeClr>
          </a:solidFill>
          <a:ln w="6350" cap="rnd">
            <a:noFill/>
            <a:miter lim="800000"/>
            <a:headEnd/>
            <a:tailEnd/>
          </a:ln>
          <a:effectLst/>
        </p:spPr>
        <p:txBody>
          <a:bodyPr wrap="none" lIns="72000" tIns="72000" rIns="72000" bIns="72000" anchor="ctr"/>
          <a:lstStyle/>
          <a:p>
            <a:pPr marL="180000" indent="-180000" eaLnBrk="0" hangingPunct="0">
              <a:spcBef>
                <a:spcPts val="100"/>
              </a:spcBef>
              <a:spcAft>
                <a:spcPts val="100"/>
              </a:spcAft>
              <a:buClr>
                <a:schemeClr val="tx1"/>
              </a:buClr>
            </a:pPr>
            <a:r>
              <a:rPr lang="en-US" sz="1400" b="1" dirty="0">
                <a:latin typeface="+mj-lt"/>
              </a:rPr>
              <a:t>Text</a:t>
            </a:r>
          </a:p>
          <a:p>
            <a:pPr eaLnBrk="0" hangingPunct="0">
              <a:spcBef>
                <a:spcPts val="100"/>
              </a:spcBef>
              <a:spcAft>
                <a:spcPts val="100"/>
              </a:spcAft>
            </a:pPr>
            <a:r>
              <a:rPr lang="en-US" sz="1400" dirty="0"/>
              <a:t>Insert text</a:t>
            </a:r>
          </a:p>
        </p:txBody>
      </p:sp>
      <p:sp>
        <p:nvSpPr>
          <p:cNvPr id="17" name="AutoShape 6">
            <a:extLst>
              <a:ext uri="{FF2B5EF4-FFF2-40B4-BE49-F238E27FC236}">
                <a16:creationId xmlns:a16="http://schemas.microsoft.com/office/drawing/2014/main" id="{145BDF3B-7398-4319-A40C-AA246BF4C2B1}"/>
              </a:ext>
            </a:extLst>
          </p:cNvPr>
          <p:cNvSpPr>
            <a:spLocks noChangeArrowheads="1"/>
          </p:cNvSpPr>
          <p:nvPr/>
        </p:nvSpPr>
        <p:spPr bwMode="auto">
          <a:xfrm>
            <a:off x="7238888" y="1474637"/>
            <a:ext cx="3296430" cy="4545340"/>
          </a:xfrm>
          <a:prstGeom prst="notchedRightArrow">
            <a:avLst>
              <a:gd name="adj1" fmla="val 52152"/>
              <a:gd name="adj2" fmla="val 30044"/>
            </a:avLst>
          </a:prstGeom>
          <a:solidFill>
            <a:schemeClr val="accent2"/>
          </a:solidFill>
          <a:ln w="6350" cap="rnd">
            <a:noFill/>
            <a:miter lim="800000"/>
            <a:headEnd/>
            <a:tailEnd/>
          </a:ln>
          <a:effectLst/>
        </p:spPr>
        <p:txBody>
          <a:bodyPr wrap="none" lIns="72000" tIns="72000" rIns="72000" bIns="72000" anchor="ctr"/>
          <a:lstStyle/>
          <a:p>
            <a:pPr marL="180000" indent="-180000" algn="l" eaLnBrk="0" hangingPunct="0">
              <a:spcBef>
                <a:spcPts val="100"/>
              </a:spcBef>
              <a:spcAft>
                <a:spcPts val="100"/>
              </a:spcAft>
            </a:pPr>
            <a:endParaRPr lang="en-US" dirty="0">
              <a:solidFill>
                <a:schemeClr val="bg1"/>
              </a:solidFill>
            </a:endParaRPr>
          </a:p>
        </p:txBody>
      </p:sp>
      <p:sp>
        <p:nvSpPr>
          <p:cNvPr id="19" name="Rectangle 7">
            <a:extLst>
              <a:ext uri="{FF2B5EF4-FFF2-40B4-BE49-F238E27FC236}">
                <a16:creationId xmlns:a16="http://schemas.microsoft.com/office/drawing/2014/main" id="{341E9330-C28B-40E2-A4E1-C1242F392CA7}"/>
              </a:ext>
            </a:extLst>
          </p:cNvPr>
          <p:cNvSpPr>
            <a:spLocks noChangeArrowheads="1"/>
          </p:cNvSpPr>
          <p:nvPr>
            <p:custDataLst>
              <p:tags r:id="rId1"/>
            </p:custDataLst>
          </p:nvPr>
        </p:nvSpPr>
        <p:spPr bwMode="auto">
          <a:xfrm>
            <a:off x="7842445" y="2568621"/>
            <a:ext cx="2236397" cy="2364697"/>
          </a:xfrm>
          <a:prstGeom prst="rect">
            <a:avLst/>
          </a:prstGeom>
          <a:noFill/>
          <a:ln w="6350">
            <a:noFill/>
            <a:miter lim="800000"/>
            <a:headEnd/>
            <a:tailEnd/>
          </a:ln>
          <a:effectLst/>
        </p:spPr>
        <p:txBody>
          <a:bodyPr lIns="180000" tIns="180000" rIns="144000" bIns="180000" anchor="ctr" anchorCtr="0"/>
          <a:lstStyle/>
          <a:p>
            <a:pPr marL="180000" indent="-180000" eaLnBrk="0" hangingPunct="0">
              <a:spcBef>
                <a:spcPts val="100"/>
              </a:spcBef>
              <a:spcAft>
                <a:spcPts val="100"/>
              </a:spcAft>
              <a:buClr>
                <a:schemeClr val="tx1"/>
              </a:buClr>
            </a:pPr>
            <a:r>
              <a:rPr lang="en-US" sz="1400" b="1" dirty="0">
                <a:solidFill>
                  <a:schemeClr val="bg1"/>
                </a:solidFill>
                <a:latin typeface="+mj-lt"/>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p:txBody>
      </p:sp>
    </p:spTree>
    <p:extLst>
      <p:ext uri="{BB962C8B-B14F-4D97-AF65-F5344CB8AC3E}">
        <p14:creationId xmlns:p14="http://schemas.microsoft.com/office/powerpoint/2010/main" val="204639240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Linear Flow 11</a:t>
            </a:r>
          </a:p>
        </p:txBody>
      </p:sp>
      <p:sp>
        <p:nvSpPr>
          <p:cNvPr id="4" name="Freeform: Shape 3">
            <a:hlinkClick r:id="rId4"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B1ABD4AE-F146-4EBE-A5C6-AAB6D785838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2" name="Group 4">
            <a:extLst>
              <a:ext uri="{FF2B5EF4-FFF2-40B4-BE49-F238E27FC236}">
                <a16:creationId xmlns:a16="http://schemas.microsoft.com/office/drawing/2014/main" id="{6A64E5E0-BAF6-485B-BF67-C8C6B1A0061F}"/>
              </a:ext>
            </a:extLst>
          </p:cNvPr>
          <p:cNvGrpSpPr>
            <a:grpSpLocks/>
          </p:cNvGrpSpPr>
          <p:nvPr/>
        </p:nvGrpSpPr>
        <p:grpSpPr bwMode="auto">
          <a:xfrm>
            <a:off x="4839534" y="1503326"/>
            <a:ext cx="6283917" cy="4502848"/>
            <a:chOff x="1943" y="1659"/>
            <a:chExt cx="2692" cy="1947"/>
          </a:xfrm>
        </p:grpSpPr>
        <p:sp>
          <p:nvSpPr>
            <p:cNvPr id="13" name="Freeform 5">
              <a:extLst>
                <a:ext uri="{FF2B5EF4-FFF2-40B4-BE49-F238E27FC236}">
                  <a16:creationId xmlns:a16="http://schemas.microsoft.com/office/drawing/2014/main" id="{4D2957AA-FDE2-4266-800F-054BC6B8A1C5}"/>
                </a:ext>
              </a:extLst>
            </p:cNvPr>
            <p:cNvSpPr>
              <a:spLocks/>
            </p:cNvSpPr>
            <p:nvPr/>
          </p:nvSpPr>
          <p:spPr bwMode="auto">
            <a:xfrm>
              <a:off x="1943" y="2632"/>
              <a:ext cx="2692" cy="974"/>
            </a:xfrm>
            <a:custGeom>
              <a:avLst/>
              <a:gdLst/>
              <a:ahLst/>
              <a:cxnLst>
                <a:cxn ang="0">
                  <a:pos x="0" y="794"/>
                </a:cxn>
                <a:cxn ang="0">
                  <a:pos x="1355" y="794"/>
                </a:cxn>
                <a:cxn ang="0">
                  <a:pos x="1355" y="927"/>
                </a:cxn>
                <a:cxn ang="0">
                  <a:pos x="1867" y="0"/>
                </a:cxn>
                <a:cxn ang="0">
                  <a:pos x="105" y="0"/>
                </a:cxn>
                <a:cxn ang="0">
                  <a:pos x="0" y="0"/>
                </a:cxn>
                <a:cxn ang="0">
                  <a:pos x="0" y="794"/>
                </a:cxn>
              </a:cxnLst>
              <a:rect l="0" t="0" r="r" b="b"/>
              <a:pathLst>
                <a:path w="1868" h="928">
                  <a:moveTo>
                    <a:pt x="0" y="794"/>
                  </a:moveTo>
                  <a:lnTo>
                    <a:pt x="1355" y="794"/>
                  </a:lnTo>
                  <a:lnTo>
                    <a:pt x="1355" y="927"/>
                  </a:lnTo>
                  <a:lnTo>
                    <a:pt x="1867" y="0"/>
                  </a:lnTo>
                  <a:lnTo>
                    <a:pt x="105" y="0"/>
                  </a:lnTo>
                  <a:lnTo>
                    <a:pt x="0" y="0"/>
                  </a:lnTo>
                  <a:lnTo>
                    <a:pt x="0" y="794"/>
                  </a:lnTo>
                </a:path>
              </a:pathLst>
            </a:custGeom>
            <a:solidFill>
              <a:schemeClr val="tx2">
                <a:lumMod val="20000"/>
                <a:lumOff val="80000"/>
              </a:schemeClr>
            </a:solidFill>
            <a:ln w="6350" cap="rnd" cmpd="sng">
              <a:noFill/>
              <a:prstDash val="solid"/>
              <a:round/>
              <a:headEnd type="none" w="med" len="med"/>
              <a:tailEnd type="none" w="med" len="med"/>
            </a:ln>
            <a:effectLst/>
          </p:spPr>
          <p:txBody>
            <a:bodyPr lIns="72000" tIns="72000" rIns="72000" bIns="72000"/>
            <a:lstStyle/>
            <a:p>
              <a:endParaRPr lang="en-US" dirty="0"/>
            </a:p>
          </p:txBody>
        </p:sp>
        <p:sp>
          <p:nvSpPr>
            <p:cNvPr id="14" name="Freeform 6">
              <a:extLst>
                <a:ext uri="{FF2B5EF4-FFF2-40B4-BE49-F238E27FC236}">
                  <a16:creationId xmlns:a16="http://schemas.microsoft.com/office/drawing/2014/main" id="{6543F5E2-7AEF-4843-8D72-555171183060}"/>
                </a:ext>
              </a:extLst>
            </p:cNvPr>
            <p:cNvSpPr>
              <a:spLocks/>
            </p:cNvSpPr>
            <p:nvPr/>
          </p:nvSpPr>
          <p:spPr bwMode="auto">
            <a:xfrm>
              <a:off x="1943" y="1659"/>
              <a:ext cx="2692" cy="974"/>
            </a:xfrm>
            <a:custGeom>
              <a:avLst/>
              <a:gdLst/>
              <a:ahLst/>
              <a:cxnLst>
                <a:cxn ang="0">
                  <a:pos x="0" y="133"/>
                </a:cxn>
                <a:cxn ang="0">
                  <a:pos x="1355" y="133"/>
                </a:cxn>
                <a:cxn ang="0">
                  <a:pos x="1355" y="0"/>
                </a:cxn>
                <a:cxn ang="0">
                  <a:pos x="1867" y="927"/>
                </a:cxn>
                <a:cxn ang="0">
                  <a:pos x="105" y="927"/>
                </a:cxn>
                <a:cxn ang="0">
                  <a:pos x="0" y="927"/>
                </a:cxn>
                <a:cxn ang="0">
                  <a:pos x="0" y="133"/>
                </a:cxn>
              </a:cxnLst>
              <a:rect l="0" t="0" r="r" b="b"/>
              <a:pathLst>
                <a:path w="1868" h="928">
                  <a:moveTo>
                    <a:pt x="0" y="133"/>
                  </a:moveTo>
                  <a:lnTo>
                    <a:pt x="1355" y="133"/>
                  </a:lnTo>
                  <a:lnTo>
                    <a:pt x="1355" y="0"/>
                  </a:lnTo>
                  <a:lnTo>
                    <a:pt x="1867" y="927"/>
                  </a:lnTo>
                  <a:lnTo>
                    <a:pt x="105" y="927"/>
                  </a:lnTo>
                  <a:lnTo>
                    <a:pt x="0" y="927"/>
                  </a:lnTo>
                  <a:lnTo>
                    <a:pt x="0" y="133"/>
                  </a:lnTo>
                </a:path>
              </a:pathLst>
            </a:custGeom>
            <a:solidFill>
              <a:schemeClr val="accent2">
                <a:lumMod val="40000"/>
                <a:lumOff val="60000"/>
              </a:schemeClr>
            </a:solidFill>
            <a:ln w="12700" cap="rnd" cmpd="sng">
              <a:noFill/>
              <a:prstDash val="solid"/>
              <a:round/>
              <a:headEnd type="none" w="med" len="med"/>
              <a:tailEnd type="none" w="med" len="med"/>
            </a:ln>
            <a:effectLst/>
          </p:spPr>
          <p:txBody>
            <a:bodyPr lIns="72000" tIns="72000" rIns="72000" bIns="72000"/>
            <a:lstStyle/>
            <a:p>
              <a:endParaRPr lang="en-US" dirty="0"/>
            </a:p>
          </p:txBody>
        </p:sp>
        <p:sp>
          <p:nvSpPr>
            <p:cNvPr id="15" name="Rectangle 8">
              <a:extLst>
                <a:ext uri="{FF2B5EF4-FFF2-40B4-BE49-F238E27FC236}">
                  <a16:creationId xmlns:a16="http://schemas.microsoft.com/office/drawing/2014/main" id="{84476495-2175-45C8-988B-7556D6B71D17}"/>
                </a:ext>
              </a:extLst>
            </p:cNvPr>
            <p:cNvSpPr>
              <a:spLocks noChangeArrowheads="1"/>
            </p:cNvSpPr>
            <p:nvPr/>
          </p:nvSpPr>
          <p:spPr bwMode="auto">
            <a:xfrm>
              <a:off x="3004" y="1797"/>
              <a:ext cx="966" cy="829"/>
            </a:xfrm>
            <a:prstGeom prst="rect">
              <a:avLst/>
            </a:prstGeom>
            <a:noFill/>
            <a:ln w="6350">
              <a:noFill/>
              <a:miter lim="800000"/>
              <a:headEnd/>
              <a:tailEnd/>
            </a:ln>
            <a:effectLst/>
          </p:spPr>
          <p:txBody>
            <a:bodyPr lIns="72000" tIns="72000" rIns="72000" bIns="72000" anchor="ctr" anchorCtr="0">
              <a:noAutofit/>
            </a:bodyPr>
            <a:lstStyle/>
            <a:p>
              <a:pPr indent="-177800" eaLnBrk="0" hangingPunct="0">
                <a:lnSpc>
                  <a:spcPct val="85000"/>
                </a:lnSpc>
                <a:spcBef>
                  <a:spcPts val="100"/>
                </a:spcBef>
                <a:spcAft>
                  <a:spcPts val="300"/>
                </a:spcAft>
                <a:buClr>
                  <a:schemeClr val="bg1"/>
                </a:buClr>
              </a:pPr>
              <a:r>
                <a:rPr lang="en-GB" b="1" dirty="0">
                  <a:latin typeface="+mj-lt"/>
                </a:rPr>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p:txBody>
        </p:sp>
        <p:sp>
          <p:nvSpPr>
            <p:cNvPr id="16" name="Rectangle 9">
              <a:extLst>
                <a:ext uri="{FF2B5EF4-FFF2-40B4-BE49-F238E27FC236}">
                  <a16:creationId xmlns:a16="http://schemas.microsoft.com/office/drawing/2014/main" id="{1883C7B1-13B5-43B5-BA31-86C15F725045}"/>
                </a:ext>
              </a:extLst>
            </p:cNvPr>
            <p:cNvSpPr>
              <a:spLocks noChangeArrowheads="1"/>
            </p:cNvSpPr>
            <p:nvPr/>
          </p:nvSpPr>
          <p:spPr bwMode="auto">
            <a:xfrm>
              <a:off x="3004" y="2633"/>
              <a:ext cx="966" cy="835"/>
            </a:xfrm>
            <a:prstGeom prst="rect">
              <a:avLst/>
            </a:prstGeom>
            <a:noFill/>
            <a:ln w="6350">
              <a:noFill/>
              <a:miter lim="800000"/>
              <a:headEnd/>
              <a:tailEnd/>
            </a:ln>
            <a:effectLst/>
          </p:spPr>
          <p:txBody>
            <a:bodyPr lIns="72000" tIns="72000" rIns="72000" bIns="72000" anchor="ctr" anchorCtr="0">
              <a:noAutofit/>
            </a:bodyPr>
            <a:lstStyle/>
            <a:p>
              <a:pPr indent="-177800" eaLnBrk="0" hangingPunct="0">
                <a:lnSpc>
                  <a:spcPct val="85000"/>
                </a:lnSpc>
                <a:spcBef>
                  <a:spcPts val="100"/>
                </a:spcBef>
                <a:spcAft>
                  <a:spcPts val="300"/>
                </a:spcAft>
                <a:buClr>
                  <a:schemeClr val="bg1"/>
                </a:buClr>
              </a:pPr>
              <a:r>
                <a:rPr lang="en-GB" b="1" dirty="0">
                  <a:latin typeface="+mj-lt"/>
                </a:rPr>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p:txBody>
        </p:sp>
      </p:grpSp>
      <p:sp>
        <p:nvSpPr>
          <p:cNvPr id="17" name="AutoShape 7">
            <a:extLst>
              <a:ext uri="{FF2B5EF4-FFF2-40B4-BE49-F238E27FC236}">
                <a16:creationId xmlns:a16="http://schemas.microsoft.com/office/drawing/2014/main" id="{3AAD5FD6-92AD-4B95-AB6C-3F07D7537ABD}"/>
              </a:ext>
            </a:extLst>
          </p:cNvPr>
          <p:cNvSpPr>
            <a:spLocks noChangeArrowheads="1"/>
          </p:cNvSpPr>
          <p:nvPr/>
        </p:nvSpPr>
        <p:spPr bwMode="auto">
          <a:xfrm>
            <a:off x="2165350" y="2486228"/>
            <a:ext cx="4883341" cy="2537044"/>
          </a:xfrm>
          <a:prstGeom prst="rightArrow">
            <a:avLst>
              <a:gd name="adj1" fmla="val 75000"/>
              <a:gd name="adj2" fmla="val 38529"/>
            </a:avLst>
          </a:prstGeom>
          <a:solidFill>
            <a:schemeClr val="accent2"/>
          </a:solidFill>
          <a:ln w="25400">
            <a:noFill/>
            <a:miter lim="800000"/>
            <a:headEnd/>
            <a:tailEnd/>
          </a:ln>
          <a:effectLst/>
        </p:spPr>
        <p:txBody>
          <a:bodyPr wrap="none" lIns="72000" tIns="72000" rIns="72000" bIns="72000"/>
          <a:lstStyle/>
          <a:p>
            <a:pPr marL="177800" indent="-177800" algn="l" defTabSz="1044575" eaLnBrk="0" hangingPunct="0">
              <a:spcBef>
                <a:spcPts val="100"/>
              </a:spcBef>
              <a:spcAft>
                <a:spcPts val="100"/>
              </a:spcAft>
            </a:pPr>
            <a:endParaRPr lang="en-GB" sz="1400" dirty="0">
              <a:solidFill>
                <a:schemeClr val="bg1"/>
              </a:solidFill>
            </a:endParaRPr>
          </a:p>
        </p:txBody>
      </p:sp>
      <p:sp>
        <p:nvSpPr>
          <p:cNvPr id="18" name="Rectangle 7">
            <a:extLst>
              <a:ext uri="{FF2B5EF4-FFF2-40B4-BE49-F238E27FC236}">
                <a16:creationId xmlns:a16="http://schemas.microsoft.com/office/drawing/2014/main" id="{A9A0FD9F-45E1-4BED-8AE2-F4F413631728}"/>
              </a:ext>
            </a:extLst>
          </p:cNvPr>
          <p:cNvSpPr>
            <a:spLocks noChangeArrowheads="1"/>
          </p:cNvSpPr>
          <p:nvPr>
            <p:custDataLst>
              <p:tags r:id="rId1"/>
            </p:custDataLst>
          </p:nvPr>
        </p:nvSpPr>
        <p:spPr bwMode="auto">
          <a:xfrm>
            <a:off x="2324349" y="2830239"/>
            <a:ext cx="2773261" cy="1819254"/>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70784957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2</a:t>
            </a:r>
          </a:p>
        </p:txBody>
      </p:sp>
      <p:sp>
        <p:nvSpPr>
          <p:cNvPr id="4" name="Freeform: Shape 3">
            <a:hlinkClick r:id="rId7"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7" action="ppaction://hlinksldjump"/>
            <a:extLst>
              <a:ext uri="{FF2B5EF4-FFF2-40B4-BE49-F238E27FC236}">
                <a16:creationId xmlns:a16="http://schemas.microsoft.com/office/drawing/2014/main" id="{546AE8AC-F861-4B0C-84A7-7BA370E7290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 name="AutoShape 7">
            <a:extLst>
              <a:ext uri="{FF2B5EF4-FFF2-40B4-BE49-F238E27FC236}">
                <a16:creationId xmlns:a16="http://schemas.microsoft.com/office/drawing/2014/main" id="{67277FFC-43C4-438E-AF87-2AC41C9D985E}"/>
              </a:ext>
            </a:extLst>
          </p:cNvPr>
          <p:cNvSpPr>
            <a:spLocks noChangeArrowheads="1"/>
          </p:cNvSpPr>
          <p:nvPr/>
        </p:nvSpPr>
        <p:spPr bwMode="auto">
          <a:xfrm>
            <a:off x="345018" y="2331245"/>
            <a:ext cx="2932259" cy="2537044"/>
          </a:xfrm>
          <a:prstGeom prst="rightArrow">
            <a:avLst>
              <a:gd name="adj1" fmla="val 75000"/>
              <a:gd name="adj2" fmla="val 38529"/>
            </a:avLst>
          </a:prstGeom>
          <a:solidFill>
            <a:schemeClr val="tx2">
              <a:lumMod val="20000"/>
              <a:lumOff val="80000"/>
            </a:schemeClr>
          </a:solidFill>
          <a:ln w="25400">
            <a:noFill/>
            <a:miter lim="800000"/>
            <a:headEnd/>
            <a:tailEnd/>
          </a:ln>
          <a:effectLst/>
        </p:spPr>
        <p:txBody>
          <a:bodyPr wrap="none" lIns="72000" tIns="72000" rIns="72000" bIns="72000"/>
          <a:lstStyle/>
          <a:p>
            <a:pPr marL="177800" indent="-177800" algn="l" defTabSz="1044575" eaLnBrk="0" hangingPunct="0">
              <a:spcBef>
                <a:spcPts val="100"/>
              </a:spcBef>
              <a:spcAft>
                <a:spcPts val="100"/>
              </a:spcAft>
            </a:pPr>
            <a:endParaRPr lang="en-GB" sz="1400" dirty="0">
              <a:solidFill>
                <a:schemeClr val="bg1"/>
              </a:solidFill>
            </a:endParaRPr>
          </a:p>
        </p:txBody>
      </p:sp>
      <p:sp>
        <p:nvSpPr>
          <p:cNvPr id="6" name="Rectangle 7">
            <a:extLst>
              <a:ext uri="{FF2B5EF4-FFF2-40B4-BE49-F238E27FC236}">
                <a16:creationId xmlns:a16="http://schemas.microsoft.com/office/drawing/2014/main" id="{E851890D-8A15-488E-A722-858848B9C259}"/>
              </a:ext>
            </a:extLst>
          </p:cNvPr>
          <p:cNvSpPr>
            <a:spLocks noChangeArrowheads="1"/>
          </p:cNvSpPr>
          <p:nvPr>
            <p:custDataLst>
              <p:tags r:id="rId1"/>
            </p:custDataLst>
          </p:nvPr>
        </p:nvSpPr>
        <p:spPr bwMode="auto">
          <a:xfrm>
            <a:off x="504016" y="2675256"/>
            <a:ext cx="2773261" cy="1819254"/>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8" name="AutoShape 7">
            <a:extLst>
              <a:ext uri="{FF2B5EF4-FFF2-40B4-BE49-F238E27FC236}">
                <a16:creationId xmlns:a16="http://schemas.microsoft.com/office/drawing/2014/main" id="{F26F347E-6DE6-48AE-9B52-4749CD5178E3}"/>
              </a:ext>
            </a:extLst>
          </p:cNvPr>
          <p:cNvSpPr>
            <a:spLocks noChangeArrowheads="1"/>
          </p:cNvSpPr>
          <p:nvPr/>
        </p:nvSpPr>
        <p:spPr bwMode="auto">
          <a:xfrm>
            <a:off x="7761288" y="1269609"/>
            <a:ext cx="4130859" cy="4660316"/>
          </a:xfrm>
          <a:prstGeom prst="rightArrow">
            <a:avLst>
              <a:gd name="adj1" fmla="val 75000"/>
              <a:gd name="adj2" fmla="val 38529"/>
            </a:avLst>
          </a:prstGeom>
          <a:solidFill>
            <a:schemeClr val="accent2"/>
          </a:solidFill>
          <a:ln w="25400">
            <a:noFill/>
            <a:miter lim="800000"/>
            <a:headEnd/>
            <a:tailEnd/>
          </a:ln>
          <a:effectLst/>
        </p:spPr>
        <p:txBody>
          <a:bodyPr wrap="none" lIns="72000" tIns="72000" rIns="72000" bIns="72000"/>
          <a:lstStyle/>
          <a:p>
            <a:pPr marL="177800" indent="-177800" algn="l" defTabSz="1044575" eaLnBrk="0" hangingPunct="0">
              <a:spcBef>
                <a:spcPts val="100"/>
              </a:spcBef>
              <a:spcAft>
                <a:spcPts val="100"/>
              </a:spcAft>
            </a:pPr>
            <a:endParaRPr lang="en-GB" sz="1400" dirty="0">
              <a:solidFill>
                <a:schemeClr val="bg1"/>
              </a:solidFill>
            </a:endParaRPr>
          </a:p>
        </p:txBody>
      </p:sp>
      <p:sp>
        <p:nvSpPr>
          <p:cNvPr id="9" name="Rectangle 7">
            <a:extLst>
              <a:ext uri="{FF2B5EF4-FFF2-40B4-BE49-F238E27FC236}">
                <a16:creationId xmlns:a16="http://schemas.microsoft.com/office/drawing/2014/main" id="{D0BA931B-CB75-4453-97C0-C2BD5EEAC357}"/>
              </a:ext>
            </a:extLst>
          </p:cNvPr>
          <p:cNvSpPr>
            <a:spLocks noChangeArrowheads="1"/>
          </p:cNvSpPr>
          <p:nvPr>
            <p:custDataLst>
              <p:tags r:id="rId2"/>
            </p:custDataLst>
          </p:nvPr>
        </p:nvSpPr>
        <p:spPr bwMode="auto">
          <a:xfrm>
            <a:off x="8081219" y="2675256"/>
            <a:ext cx="2773261" cy="1819254"/>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10" name="Freeform 5">
            <a:extLst>
              <a:ext uri="{FF2B5EF4-FFF2-40B4-BE49-F238E27FC236}">
                <a16:creationId xmlns:a16="http://schemas.microsoft.com/office/drawing/2014/main" id="{D08519AF-AC16-47CF-B1B0-4B96D35273CD}"/>
              </a:ext>
            </a:extLst>
          </p:cNvPr>
          <p:cNvSpPr>
            <a:spLocks/>
          </p:cNvSpPr>
          <p:nvPr/>
        </p:nvSpPr>
        <p:spPr bwMode="auto">
          <a:xfrm>
            <a:off x="3722232" y="3672792"/>
            <a:ext cx="3594100" cy="1844675"/>
          </a:xfrm>
          <a:custGeom>
            <a:avLst/>
            <a:gdLst>
              <a:gd name="T0" fmla="*/ 0 w 2264"/>
              <a:gd name="T1" fmla="*/ 0 h 1162"/>
              <a:gd name="T2" fmla="*/ 2264 w 2264"/>
              <a:gd name="T3" fmla="*/ 0 h 1162"/>
              <a:gd name="T4" fmla="*/ 1413 w 2264"/>
              <a:gd name="T5" fmla="*/ 1162 h 1162"/>
              <a:gd name="T6" fmla="*/ 1413 w 2264"/>
              <a:gd name="T7" fmla="*/ 861 h 1162"/>
              <a:gd name="T8" fmla="*/ 0 w 2264"/>
              <a:gd name="T9" fmla="*/ 861 h 1162"/>
              <a:gd name="T10" fmla="*/ 0 w 2264"/>
              <a:gd name="T11" fmla="*/ 0 h 1162"/>
              <a:gd name="T12" fmla="*/ 0 w 2264"/>
              <a:gd name="T13" fmla="*/ 0 h 1162"/>
            </a:gdLst>
            <a:ahLst/>
            <a:cxnLst>
              <a:cxn ang="0">
                <a:pos x="T0" y="T1"/>
              </a:cxn>
              <a:cxn ang="0">
                <a:pos x="T2" y="T3"/>
              </a:cxn>
              <a:cxn ang="0">
                <a:pos x="T4" y="T5"/>
              </a:cxn>
              <a:cxn ang="0">
                <a:pos x="T6" y="T7"/>
              </a:cxn>
              <a:cxn ang="0">
                <a:pos x="T8" y="T9"/>
              </a:cxn>
              <a:cxn ang="0">
                <a:pos x="T10" y="T11"/>
              </a:cxn>
              <a:cxn ang="0">
                <a:pos x="T12" y="T13"/>
              </a:cxn>
            </a:cxnLst>
            <a:rect l="0" t="0" r="r" b="b"/>
            <a:pathLst>
              <a:path w="2264" h="1162">
                <a:moveTo>
                  <a:pt x="0" y="0"/>
                </a:moveTo>
                <a:lnTo>
                  <a:pt x="2264" y="0"/>
                </a:lnTo>
                <a:lnTo>
                  <a:pt x="1413" y="1162"/>
                </a:lnTo>
                <a:lnTo>
                  <a:pt x="1413" y="861"/>
                </a:lnTo>
                <a:lnTo>
                  <a:pt x="0" y="861"/>
                </a:lnTo>
                <a:lnTo>
                  <a:pt x="0" y="0"/>
                </a:lnTo>
                <a:lnTo>
                  <a:pt x="0"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Freeform 6">
            <a:extLst>
              <a:ext uri="{FF2B5EF4-FFF2-40B4-BE49-F238E27FC236}">
                <a16:creationId xmlns:a16="http://schemas.microsoft.com/office/drawing/2014/main" id="{DD9C7F1B-41A6-4287-968F-3B4B568F889D}"/>
              </a:ext>
            </a:extLst>
          </p:cNvPr>
          <p:cNvSpPr>
            <a:spLocks/>
          </p:cNvSpPr>
          <p:nvPr/>
        </p:nvSpPr>
        <p:spPr bwMode="auto">
          <a:xfrm>
            <a:off x="3722232" y="1682067"/>
            <a:ext cx="3594100" cy="1844675"/>
          </a:xfrm>
          <a:custGeom>
            <a:avLst/>
            <a:gdLst>
              <a:gd name="T0" fmla="*/ 1413 w 2264"/>
              <a:gd name="T1" fmla="*/ 0 h 1162"/>
              <a:gd name="T2" fmla="*/ 2264 w 2264"/>
              <a:gd name="T3" fmla="*/ 1162 h 1162"/>
              <a:gd name="T4" fmla="*/ 0 w 2264"/>
              <a:gd name="T5" fmla="*/ 1162 h 1162"/>
              <a:gd name="T6" fmla="*/ 0 w 2264"/>
              <a:gd name="T7" fmla="*/ 301 h 1162"/>
              <a:gd name="T8" fmla="*/ 1413 w 2264"/>
              <a:gd name="T9" fmla="*/ 301 h 1162"/>
              <a:gd name="T10" fmla="*/ 1413 w 2264"/>
              <a:gd name="T11" fmla="*/ 0 h 1162"/>
              <a:gd name="T12" fmla="*/ 1413 w 2264"/>
              <a:gd name="T13" fmla="*/ 0 h 1162"/>
            </a:gdLst>
            <a:ahLst/>
            <a:cxnLst>
              <a:cxn ang="0">
                <a:pos x="T0" y="T1"/>
              </a:cxn>
              <a:cxn ang="0">
                <a:pos x="T2" y="T3"/>
              </a:cxn>
              <a:cxn ang="0">
                <a:pos x="T4" y="T5"/>
              </a:cxn>
              <a:cxn ang="0">
                <a:pos x="T6" y="T7"/>
              </a:cxn>
              <a:cxn ang="0">
                <a:pos x="T8" y="T9"/>
              </a:cxn>
              <a:cxn ang="0">
                <a:pos x="T10" y="T11"/>
              </a:cxn>
              <a:cxn ang="0">
                <a:pos x="T12" y="T13"/>
              </a:cxn>
            </a:cxnLst>
            <a:rect l="0" t="0" r="r" b="b"/>
            <a:pathLst>
              <a:path w="2264" h="1162">
                <a:moveTo>
                  <a:pt x="1413" y="0"/>
                </a:moveTo>
                <a:lnTo>
                  <a:pt x="2264" y="1162"/>
                </a:lnTo>
                <a:lnTo>
                  <a:pt x="0" y="1162"/>
                </a:lnTo>
                <a:lnTo>
                  <a:pt x="0" y="301"/>
                </a:lnTo>
                <a:lnTo>
                  <a:pt x="1413" y="301"/>
                </a:lnTo>
                <a:lnTo>
                  <a:pt x="1413" y="0"/>
                </a:lnTo>
                <a:lnTo>
                  <a:pt x="1413"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Rectangle 7">
            <a:extLst>
              <a:ext uri="{FF2B5EF4-FFF2-40B4-BE49-F238E27FC236}">
                <a16:creationId xmlns:a16="http://schemas.microsoft.com/office/drawing/2014/main" id="{E2F2C6F7-39DB-49DF-9AC3-3A49B8A599DA}"/>
              </a:ext>
            </a:extLst>
          </p:cNvPr>
          <p:cNvSpPr>
            <a:spLocks noChangeArrowheads="1"/>
          </p:cNvSpPr>
          <p:nvPr>
            <p:custDataLst>
              <p:tags r:id="rId3"/>
            </p:custDataLst>
          </p:nvPr>
        </p:nvSpPr>
        <p:spPr bwMode="auto">
          <a:xfrm>
            <a:off x="3888368" y="2154263"/>
            <a:ext cx="2773261" cy="1372479"/>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latin typeface="+mj-lt"/>
              </a:rPr>
              <a:t>Text</a:t>
            </a:r>
          </a:p>
          <a:p>
            <a:pPr algn="l" eaLnBrk="0" hangingPunct="0">
              <a:spcBef>
                <a:spcPts val="100"/>
              </a:spcBef>
              <a:spcAft>
                <a:spcPts val="100"/>
              </a:spcAft>
            </a:pPr>
            <a:r>
              <a:rPr lang="en-US" dirty="0"/>
              <a:t>Insert text</a:t>
            </a:r>
          </a:p>
        </p:txBody>
      </p:sp>
      <p:sp>
        <p:nvSpPr>
          <p:cNvPr id="29" name="Rectangle 7">
            <a:extLst>
              <a:ext uri="{FF2B5EF4-FFF2-40B4-BE49-F238E27FC236}">
                <a16:creationId xmlns:a16="http://schemas.microsoft.com/office/drawing/2014/main" id="{D2D68F33-7886-4971-84CF-E7ED0461FEDE}"/>
              </a:ext>
            </a:extLst>
          </p:cNvPr>
          <p:cNvSpPr>
            <a:spLocks noChangeArrowheads="1"/>
          </p:cNvSpPr>
          <p:nvPr>
            <p:custDataLst>
              <p:tags r:id="rId4"/>
            </p:custDataLst>
          </p:nvPr>
        </p:nvSpPr>
        <p:spPr bwMode="auto">
          <a:xfrm>
            <a:off x="3888368" y="3672792"/>
            <a:ext cx="2773261" cy="1372479"/>
          </a:xfrm>
          <a:prstGeom prst="rect">
            <a:avLst/>
          </a:prstGeom>
          <a:noFill/>
          <a:ln w="6350">
            <a:noFill/>
            <a:miter lim="800000"/>
            <a:headEnd/>
            <a:tailEnd/>
          </a:ln>
          <a:effectLst/>
        </p:spPr>
        <p:txBody>
          <a:bodyPr lIns="180000" tIns="180000" rIns="144000" bIns="180000" anchor="ctr" anchorCtr="0"/>
          <a:lstStyle/>
          <a:p>
            <a:pPr eaLnBrk="0" hangingPunct="0">
              <a:lnSpc>
                <a:spcPct val="85000"/>
              </a:lnSpc>
              <a:spcBef>
                <a:spcPts val="100"/>
              </a:spcBef>
              <a:spcAft>
                <a:spcPts val="300"/>
              </a:spcAft>
            </a:pPr>
            <a:r>
              <a:rPr lang="en-US" b="1" dirty="0">
                <a:latin typeface="+mj-lt"/>
              </a:rPr>
              <a:t>Text</a:t>
            </a:r>
          </a:p>
          <a:p>
            <a:pPr algn="l" eaLnBrk="0" hangingPunct="0">
              <a:spcBef>
                <a:spcPts val="100"/>
              </a:spcBef>
              <a:spcAft>
                <a:spcPts val="100"/>
              </a:spcAft>
            </a:pPr>
            <a:r>
              <a:rPr lang="en-US" dirty="0"/>
              <a:t>Insert text</a:t>
            </a:r>
          </a:p>
        </p:txBody>
      </p:sp>
    </p:spTree>
    <p:extLst>
      <p:ext uri="{BB962C8B-B14F-4D97-AF65-F5344CB8AC3E}">
        <p14:creationId xmlns:p14="http://schemas.microsoft.com/office/powerpoint/2010/main" val="384422559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3</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46339BA9-EEE5-48A0-8F12-CA91201F250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AutoShape 3">
            <a:extLst>
              <a:ext uri="{FF2B5EF4-FFF2-40B4-BE49-F238E27FC236}">
                <a16:creationId xmlns:a16="http://schemas.microsoft.com/office/drawing/2014/main" id="{FB3491EE-5381-483F-8A4F-116E2945C6B5}"/>
              </a:ext>
            </a:extLst>
          </p:cNvPr>
          <p:cNvSpPr>
            <a:spLocks noChangeArrowheads="1"/>
          </p:cNvSpPr>
          <p:nvPr/>
        </p:nvSpPr>
        <p:spPr bwMode="auto">
          <a:xfrm>
            <a:off x="7608862" y="1239269"/>
            <a:ext cx="4248176" cy="4522338"/>
          </a:xfrm>
          <a:prstGeom prst="rightArrow">
            <a:avLst>
              <a:gd name="adj1" fmla="val 75000"/>
              <a:gd name="adj2" fmla="val 31986"/>
            </a:avLst>
          </a:prstGeom>
          <a:solidFill>
            <a:schemeClr val="accent3"/>
          </a:solidFill>
          <a:ln w="6350">
            <a:noFill/>
            <a:miter lim="800000"/>
            <a:headEnd/>
            <a:tailEnd/>
          </a:ln>
          <a:effectLst/>
        </p:spPr>
        <p:txBody>
          <a:bodyPr wrap="none" lIns="216000" tIns="72000" rIns="72000" bIns="72000" anchor="ctr" anchorCtr="1"/>
          <a:lstStyle/>
          <a:p>
            <a:pPr indent="-177800" eaLnBrk="0" hangingPunct="0">
              <a:lnSpc>
                <a:spcPct val="85000"/>
              </a:lnSpc>
              <a:spcBef>
                <a:spcPts val="100"/>
              </a:spcBef>
              <a:spcAft>
                <a:spcPts val="300"/>
              </a:spcAft>
              <a:buClr>
                <a:schemeClr val="bg1"/>
              </a:buClr>
              <a:tabLst>
                <a:tab pos="474663" algn="l"/>
              </a:tabLst>
            </a:pPr>
            <a:r>
              <a:rPr lang="en-GB" b="1" dirty="0">
                <a:solidFill>
                  <a:schemeClr val="bg1"/>
                </a:solidFill>
                <a:latin typeface="+mj-lt"/>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p:txBody>
      </p:sp>
      <p:sp>
        <p:nvSpPr>
          <p:cNvPr id="12" name="AutoShape 4">
            <a:extLst>
              <a:ext uri="{FF2B5EF4-FFF2-40B4-BE49-F238E27FC236}">
                <a16:creationId xmlns:a16="http://schemas.microsoft.com/office/drawing/2014/main" id="{B0E38681-FFAB-471E-BB90-DCC9FBA37106}"/>
              </a:ext>
            </a:extLst>
          </p:cNvPr>
          <p:cNvSpPr>
            <a:spLocks noChangeArrowheads="1"/>
          </p:cNvSpPr>
          <p:nvPr/>
        </p:nvSpPr>
        <p:spPr bwMode="auto">
          <a:xfrm>
            <a:off x="4978219" y="1674645"/>
            <a:ext cx="3744848" cy="3653052"/>
          </a:xfrm>
          <a:prstGeom prst="rightArrow">
            <a:avLst>
              <a:gd name="adj1" fmla="val 75000"/>
              <a:gd name="adj2" fmla="val 31986"/>
            </a:avLst>
          </a:prstGeom>
          <a:solidFill>
            <a:schemeClr val="accent3">
              <a:lumMod val="60000"/>
              <a:lumOff val="40000"/>
            </a:schemeClr>
          </a:solidFill>
          <a:ln w="6350">
            <a:noFill/>
            <a:miter lim="800000"/>
            <a:headEnd/>
            <a:tailEnd/>
          </a:ln>
          <a:effectLst/>
        </p:spPr>
        <p:txBody>
          <a:bodyPr wrap="none" lIns="288000" tIns="72000" rIns="72000" bIns="72000" anchor="ctr" anchorCtr="1"/>
          <a:lstStyle/>
          <a:p>
            <a:pPr indent="-177800" eaLnBrk="0" hangingPunct="0">
              <a:lnSpc>
                <a:spcPct val="85000"/>
              </a:lnSpc>
              <a:spcBef>
                <a:spcPts val="100"/>
              </a:spcBef>
              <a:spcAft>
                <a:spcPts val="300"/>
              </a:spcAft>
              <a:buClr>
                <a:schemeClr val="bg1"/>
              </a:buClr>
              <a:tabLst>
                <a:tab pos="474663" algn="l"/>
              </a:tabLst>
            </a:pPr>
            <a:r>
              <a:rPr lang="en-GB" b="1" dirty="0">
                <a:solidFill>
                  <a:schemeClr val="bg1"/>
                </a:solidFill>
                <a:latin typeface="+mj-lt"/>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p:txBody>
      </p:sp>
      <p:sp>
        <p:nvSpPr>
          <p:cNvPr id="14" name="AutoShape 5">
            <a:extLst>
              <a:ext uri="{FF2B5EF4-FFF2-40B4-BE49-F238E27FC236}">
                <a16:creationId xmlns:a16="http://schemas.microsoft.com/office/drawing/2014/main" id="{11334F73-A409-4392-A5FC-8CBC53F6AEED}"/>
              </a:ext>
            </a:extLst>
          </p:cNvPr>
          <p:cNvSpPr>
            <a:spLocks noChangeArrowheads="1"/>
          </p:cNvSpPr>
          <p:nvPr/>
        </p:nvSpPr>
        <p:spPr bwMode="auto">
          <a:xfrm>
            <a:off x="2420709" y="2004475"/>
            <a:ext cx="3499644" cy="2962608"/>
          </a:xfrm>
          <a:prstGeom prst="rightArrow">
            <a:avLst>
              <a:gd name="adj1" fmla="val 75000"/>
              <a:gd name="adj2" fmla="val 31986"/>
            </a:avLst>
          </a:prstGeom>
          <a:solidFill>
            <a:schemeClr val="accent3">
              <a:lumMod val="20000"/>
              <a:lumOff val="80000"/>
            </a:schemeClr>
          </a:solidFill>
          <a:ln w="6350">
            <a:noFill/>
            <a:miter lim="800000"/>
            <a:headEnd/>
            <a:tailEnd/>
          </a:ln>
          <a:effectLst/>
        </p:spPr>
        <p:txBody>
          <a:bodyPr wrap="none" lIns="72000" tIns="72000" rIns="72000" bIns="72000" anchor="ctr" anchorCtr="1"/>
          <a:lstStyle/>
          <a:p>
            <a:pPr indent="-177800" eaLnBrk="0" hangingPunct="0">
              <a:lnSpc>
                <a:spcPct val="85000"/>
              </a:lnSpc>
              <a:spcBef>
                <a:spcPts val="100"/>
              </a:spcBef>
              <a:spcAft>
                <a:spcPts val="300"/>
              </a:spcAft>
              <a:tabLst>
                <a:tab pos="474663" algn="l"/>
              </a:tabLst>
            </a:pPr>
            <a:r>
              <a:rPr lang="en-GB" b="1" dirty="0">
                <a:latin typeface="+mj-lt"/>
              </a:rPr>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p:txBody>
      </p:sp>
      <p:sp>
        <p:nvSpPr>
          <p:cNvPr id="16" name="AutoShape 6">
            <a:extLst>
              <a:ext uri="{FF2B5EF4-FFF2-40B4-BE49-F238E27FC236}">
                <a16:creationId xmlns:a16="http://schemas.microsoft.com/office/drawing/2014/main" id="{E35FB674-1DB7-40D4-8A1F-FCACA92E9734}"/>
              </a:ext>
            </a:extLst>
          </p:cNvPr>
          <p:cNvSpPr>
            <a:spLocks noChangeArrowheads="1"/>
          </p:cNvSpPr>
          <p:nvPr/>
        </p:nvSpPr>
        <p:spPr bwMode="auto">
          <a:xfrm>
            <a:off x="345018" y="2288862"/>
            <a:ext cx="2832135" cy="2421686"/>
          </a:xfrm>
          <a:prstGeom prst="rightArrow">
            <a:avLst>
              <a:gd name="adj1" fmla="val 75000"/>
              <a:gd name="adj2" fmla="val 31986"/>
            </a:avLst>
          </a:prstGeom>
          <a:solidFill>
            <a:schemeClr val="tx2">
              <a:lumMod val="20000"/>
              <a:lumOff val="80000"/>
            </a:schemeClr>
          </a:solidFill>
          <a:ln w="6350">
            <a:noFill/>
            <a:miter lim="800000"/>
            <a:headEnd/>
            <a:tailEnd/>
          </a:ln>
          <a:effectLst/>
        </p:spPr>
        <p:txBody>
          <a:bodyPr wrap="none" lIns="216000" tIns="72000" rIns="72000" bIns="72000" anchor="ctr"/>
          <a:lstStyle/>
          <a:p>
            <a:pPr indent="-177800" eaLnBrk="0" hangingPunct="0">
              <a:lnSpc>
                <a:spcPct val="85000"/>
              </a:lnSpc>
              <a:spcBef>
                <a:spcPts val="100"/>
              </a:spcBef>
              <a:spcAft>
                <a:spcPts val="300"/>
              </a:spcAft>
              <a:tabLst>
                <a:tab pos="474663" algn="l"/>
              </a:tabLst>
            </a:pPr>
            <a:r>
              <a:rPr lang="en-GB" b="1" dirty="0">
                <a:latin typeface="+mj-lt"/>
              </a:rPr>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p:txBody>
      </p:sp>
    </p:spTree>
    <p:extLst>
      <p:ext uri="{BB962C8B-B14F-4D97-AF65-F5344CB8AC3E}">
        <p14:creationId xmlns:p14="http://schemas.microsoft.com/office/powerpoint/2010/main" val="229265873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4</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A820BFA-0C18-470F-8523-B06F7FA6CC9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9" name="AutoShape 3">
            <a:extLst>
              <a:ext uri="{FF2B5EF4-FFF2-40B4-BE49-F238E27FC236}">
                <a16:creationId xmlns:a16="http://schemas.microsoft.com/office/drawing/2014/main" id="{929C69C0-B11E-483E-AFB5-8BA9B1D5E263}"/>
              </a:ext>
            </a:extLst>
          </p:cNvPr>
          <p:cNvSpPr>
            <a:spLocks noChangeArrowheads="1"/>
          </p:cNvSpPr>
          <p:nvPr/>
        </p:nvSpPr>
        <p:spPr bwMode="auto">
          <a:xfrm>
            <a:off x="6656591" y="1239269"/>
            <a:ext cx="4248176" cy="4522338"/>
          </a:xfrm>
          <a:prstGeom prst="rightArrow">
            <a:avLst>
              <a:gd name="adj1" fmla="val 75000"/>
              <a:gd name="adj2" fmla="val 31986"/>
            </a:avLst>
          </a:prstGeom>
          <a:solidFill>
            <a:schemeClr val="accent3"/>
          </a:solidFill>
          <a:ln w="6350">
            <a:noFill/>
            <a:miter lim="800000"/>
            <a:headEnd/>
            <a:tailEnd/>
          </a:ln>
          <a:effectLst/>
        </p:spPr>
        <p:txBody>
          <a:bodyPr wrap="none" lIns="216000" tIns="72000" rIns="72000" bIns="72000" anchor="ctr" anchorCtr="1"/>
          <a:lstStyle/>
          <a:p>
            <a:pPr indent="-177800" eaLnBrk="0" hangingPunct="0">
              <a:lnSpc>
                <a:spcPct val="85000"/>
              </a:lnSpc>
              <a:spcBef>
                <a:spcPts val="100"/>
              </a:spcBef>
              <a:spcAft>
                <a:spcPts val="300"/>
              </a:spcAft>
              <a:buClr>
                <a:schemeClr val="bg1"/>
              </a:buClr>
              <a:tabLst>
                <a:tab pos="474663" algn="l"/>
              </a:tabLst>
            </a:pPr>
            <a:r>
              <a:rPr lang="en-GB" b="1" dirty="0">
                <a:solidFill>
                  <a:schemeClr val="bg1"/>
                </a:solidFill>
                <a:latin typeface="+mj-lt"/>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p:txBody>
      </p:sp>
      <p:sp>
        <p:nvSpPr>
          <p:cNvPr id="11" name="AutoShape 4">
            <a:extLst>
              <a:ext uri="{FF2B5EF4-FFF2-40B4-BE49-F238E27FC236}">
                <a16:creationId xmlns:a16="http://schemas.microsoft.com/office/drawing/2014/main" id="{B20100E0-A880-432F-AA8C-B90D6798DC25}"/>
              </a:ext>
            </a:extLst>
          </p:cNvPr>
          <p:cNvSpPr>
            <a:spLocks noChangeArrowheads="1"/>
          </p:cNvSpPr>
          <p:nvPr/>
        </p:nvSpPr>
        <p:spPr bwMode="auto">
          <a:xfrm>
            <a:off x="4025948" y="1674645"/>
            <a:ext cx="3744848" cy="3653052"/>
          </a:xfrm>
          <a:prstGeom prst="rightArrow">
            <a:avLst>
              <a:gd name="adj1" fmla="val 75000"/>
              <a:gd name="adj2" fmla="val 31986"/>
            </a:avLst>
          </a:prstGeom>
          <a:solidFill>
            <a:schemeClr val="accent3">
              <a:lumMod val="60000"/>
              <a:lumOff val="40000"/>
            </a:schemeClr>
          </a:solidFill>
          <a:ln w="6350">
            <a:noFill/>
            <a:miter lim="800000"/>
            <a:headEnd/>
            <a:tailEnd/>
          </a:ln>
          <a:effectLst/>
        </p:spPr>
        <p:txBody>
          <a:bodyPr wrap="none" lIns="288000" tIns="72000" rIns="72000" bIns="72000" anchor="ctr" anchorCtr="1"/>
          <a:lstStyle/>
          <a:p>
            <a:pPr indent="-177800" eaLnBrk="0" hangingPunct="0">
              <a:lnSpc>
                <a:spcPct val="85000"/>
              </a:lnSpc>
              <a:spcBef>
                <a:spcPts val="100"/>
              </a:spcBef>
              <a:spcAft>
                <a:spcPts val="300"/>
              </a:spcAft>
              <a:buClr>
                <a:schemeClr val="bg1"/>
              </a:buClr>
              <a:tabLst>
                <a:tab pos="474663" algn="l"/>
              </a:tabLst>
            </a:pPr>
            <a:r>
              <a:rPr lang="en-GB" b="1" dirty="0">
                <a:solidFill>
                  <a:schemeClr val="bg1"/>
                </a:solidFill>
                <a:latin typeface="+mj-lt"/>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a:p>
            <a:pPr marL="165100" indent="-165100" eaLnBrk="0" hangingPunct="0">
              <a:spcBef>
                <a:spcPts val="100"/>
              </a:spcBef>
              <a:spcAft>
                <a:spcPts val="100"/>
              </a:spcAft>
              <a:buFontTx/>
              <a:buChar char="•"/>
              <a:tabLst>
                <a:tab pos="474663" algn="l"/>
              </a:tabLst>
            </a:pPr>
            <a:r>
              <a:rPr lang="en-GB" dirty="0">
                <a:solidFill>
                  <a:schemeClr val="bg1"/>
                </a:solidFill>
              </a:rPr>
              <a:t>Text</a:t>
            </a:r>
          </a:p>
        </p:txBody>
      </p:sp>
      <p:sp>
        <p:nvSpPr>
          <p:cNvPr id="13" name="AutoShape 6">
            <a:extLst>
              <a:ext uri="{FF2B5EF4-FFF2-40B4-BE49-F238E27FC236}">
                <a16:creationId xmlns:a16="http://schemas.microsoft.com/office/drawing/2014/main" id="{4FF52A9D-A849-4FF6-833E-B7ECA35A7A3B}"/>
              </a:ext>
            </a:extLst>
          </p:cNvPr>
          <p:cNvSpPr>
            <a:spLocks noChangeArrowheads="1"/>
          </p:cNvSpPr>
          <p:nvPr/>
        </p:nvSpPr>
        <p:spPr bwMode="auto">
          <a:xfrm>
            <a:off x="1468882" y="2004475"/>
            <a:ext cx="3499200" cy="2962800"/>
          </a:xfrm>
          <a:prstGeom prst="rightArrow">
            <a:avLst>
              <a:gd name="adj1" fmla="val 75000"/>
              <a:gd name="adj2" fmla="val 31986"/>
            </a:avLst>
          </a:prstGeom>
          <a:solidFill>
            <a:schemeClr val="tx2">
              <a:lumMod val="20000"/>
              <a:lumOff val="80000"/>
            </a:schemeClr>
          </a:solidFill>
          <a:ln w="6350">
            <a:noFill/>
            <a:miter lim="800000"/>
            <a:headEnd/>
            <a:tailEnd/>
          </a:ln>
          <a:effectLst/>
        </p:spPr>
        <p:txBody>
          <a:bodyPr wrap="none" lIns="216000" tIns="72000" rIns="72000" bIns="72000" anchor="ctr"/>
          <a:lstStyle/>
          <a:p>
            <a:pPr indent="-177800" eaLnBrk="0" hangingPunct="0">
              <a:lnSpc>
                <a:spcPct val="85000"/>
              </a:lnSpc>
              <a:spcBef>
                <a:spcPts val="100"/>
              </a:spcBef>
              <a:spcAft>
                <a:spcPts val="300"/>
              </a:spcAft>
              <a:tabLst>
                <a:tab pos="474663" algn="l"/>
              </a:tabLst>
            </a:pPr>
            <a:r>
              <a:rPr lang="en-GB" b="1" dirty="0">
                <a:latin typeface="+mj-lt"/>
              </a:rPr>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a:p>
            <a:pPr marL="165100" indent="-165100" eaLnBrk="0" hangingPunct="0">
              <a:spcBef>
                <a:spcPts val="100"/>
              </a:spcBef>
              <a:spcAft>
                <a:spcPts val="100"/>
              </a:spcAft>
              <a:buFontTx/>
              <a:buChar char="•"/>
              <a:tabLst>
                <a:tab pos="474663" algn="l"/>
              </a:tabLst>
            </a:pPr>
            <a:r>
              <a:rPr lang="en-GB" dirty="0"/>
              <a:t>Text</a:t>
            </a:r>
          </a:p>
        </p:txBody>
      </p:sp>
    </p:spTree>
    <p:extLst>
      <p:ext uri="{BB962C8B-B14F-4D97-AF65-F5344CB8AC3E}">
        <p14:creationId xmlns:p14="http://schemas.microsoft.com/office/powerpoint/2010/main" val="71138805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5</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hlinkClick r:id="rId3" action="ppaction://hlinksldjump"/>
            <a:extLst>
              <a:ext uri="{FF2B5EF4-FFF2-40B4-BE49-F238E27FC236}">
                <a16:creationId xmlns:a16="http://schemas.microsoft.com/office/drawing/2014/main" id="{30E6E8D7-2C7C-45DF-BC0C-F54BECDFB77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2" name="Group 2">
            <a:extLst>
              <a:ext uri="{FF2B5EF4-FFF2-40B4-BE49-F238E27FC236}">
                <a16:creationId xmlns:a16="http://schemas.microsoft.com/office/drawing/2014/main" id="{4897F697-8521-429E-8A5B-B930098DEDBD}"/>
              </a:ext>
            </a:extLst>
          </p:cNvPr>
          <p:cNvGrpSpPr>
            <a:grpSpLocks/>
          </p:cNvGrpSpPr>
          <p:nvPr/>
        </p:nvGrpSpPr>
        <p:grpSpPr bwMode="auto">
          <a:xfrm>
            <a:off x="1681129" y="1256841"/>
            <a:ext cx="8203427" cy="4510507"/>
            <a:chOff x="198" y="1003"/>
            <a:chExt cx="5358" cy="3085"/>
          </a:xfrm>
        </p:grpSpPr>
        <p:sp>
          <p:nvSpPr>
            <p:cNvPr id="13" name="Freeform 3">
              <a:extLst>
                <a:ext uri="{FF2B5EF4-FFF2-40B4-BE49-F238E27FC236}">
                  <a16:creationId xmlns:a16="http://schemas.microsoft.com/office/drawing/2014/main" id="{2C35241E-0C72-460B-A20C-B4D857D99053}"/>
                </a:ext>
              </a:extLst>
            </p:cNvPr>
            <p:cNvSpPr>
              <a:spLocks/>
            </p:cNvSpPr>
            <p:nvPr/>
          </p:nvSpPr>
          <p:spPr bwMode="auto">
            <a:xfrm>
              <a:off x="201" y="1003"/>
              <a:ext cx="4470" cy="1160"/>
            </a:xfrm>
            <a:custGeom>
              <a:avLst/>
              <a:gdLst/>
              <a:ahLst/>
              <a:cxnLst>
                <a:cxn ang="0">
                  <a:pos x="0" y="437"/>
                </a:cxn>
                <a:cxn ang="0">
                  <a:pos x="2898" y="437"/>
                </a:cxn>
                <a:cxn ang="0">
                  <a:pos x="2622" y="0"/>
                </a:cxn>
                <a:cxn ang="0">
                  <a:pos x="3016" y="0"/>
                </a:cxn>
                <a:cxn ang="0">
                  <a:pos x="3504" y="790"/>
                </a:cxn>
                <a:cxn ang="0">
                  <a:pos x="0" y="790"/>
                </a:cxn>
                <a:cxn ang="0">
                  <a:pos x="0" y="437"/>
                </a:cxn>
              </a:cxnLst>
              <a:rect l="0" t="0" r="r" b="b"/>
              <a:pathLst>
                <a:path w="3504" h="790">
                  <a:moveTo>
                    <a:pt x="0" y="437"/>
                  </a:moveTo>
                  <a:lnTo>
                    <a:pt x="2898" y="437"/>
                  </a:lnTo>
                  <a:lnTo>
                    <a:pt x="2622" y="0"/>
                  </a:lnTo>
                  <a:lnTo>
                    <a:pt x="3016" y="0"/>
                  </a:lnTo>
                  <a:lnTo>
                    <a:pt x="3504" y="790"/>
                  </a:lnTo>
                  <a:lnTo>
                    <a:pt x="0" y="790"/>
                  </a:lnTo>
                  <a:lnTo>
                    <a:pt x="0" y="437"/>
                  </a:lnTo>
                  <a:close/>
                </a:path>
              </a:pathLst>
            </a:custGeom>
            <a:solidFill>
              <a:schemeClr val="tx2">
                <a:lumMod val="40000"/>
                <a:lumOff val="60000"/>
              </a:schemeClr>
            </a:solidFill>
            <a:ln w="6350" cap="rnd" cmpd="sng">
              <a:noFill/>
              <a:prstDash val="solid"/>
              <a:round/>
              <a:headEnd type="none" w="sm" len="sm"/>
              <a:tailEnd type="none" w="sm" len="sm"/>
            </a:ln>
            <a:effectLst/>
          </p:spPr>
          <p:txBody>
            <a:bodyPr lIns="216000" tIns="72000" rIns="72000" bIns="72000"/>
            <a:lstStyle/>
            <a:p>
              <a:endParaRPr lang="en-US"/>
            </a:p>
          </p:txBody>
        </p:sp>
        <p:sp>
          <p:nvSpPr>
            <p:cNvPr id="14" name="Freeform 4">
              <a:extLst>
                <a:ext uri="{FF2B5EF4-FFF2-40B4-BE49-F238E27FC236}">
                  <a16:creationId xmlns:a16="http://schemas.microsoft.com/office/drawing/2014/main" id="{33285420-0A86-4591-A677-AC9811EAD5BA}"/>
                </a:ext>
              </a:extLst>
            </p:cNvPr>
            <p:cNvSpPr>
              <a:spLocks/>
            </p:cNvSpPr>
            <p:nvPr/>
          </p:nvSpPr>
          <p:spPr bwMode="auto">
            <a:xfrm>
              <a:off x="201" y="2928"/>
              <a:ext cx="4470" cy="1160"/>
            </a:xfrm>
            <a:custGeom>
              <a:avLst/>
              <a:gdLst/>
              <a:ahLst/>
              <a:cxnLst>
                <a:cxn ang="0">
                  <a:pos x="0" y="352"/>
                </a:cxn>
                <a:cxn ang="0">
                  <a:pos x="2898" y="352"/>
                </a:cxn>
                <a:cxn ang="0">
                  <a:pos x="2646" y="790"/>
                </a:cxn>
                <a:cxn ang="0">
                  <a:pos x="3040" y="790"/>
                </a:cxn>
                <a:cxn ang="0">
                  <a:pos x="3504" y="0"/>
                </a:cxn>
                <a:cxn ang="0">
                  <a:pos x="0" y="0"/>
                </a:cxn>
                <a:cxn ang="0">
                  <a:pos x="0" y="352"/>
                </a:cxn>
              </a:cxnLst>
              <a:rect l="0" t="0" r="r" b="b"/>
              <a:pathLst>
                <a:path w="3504" h="790">
                  <a:moveTo>
                    <a:pt x="0" y="352"/>
                  </a:moveTo>
                  <a:lnTo>
                    <a:pt x="2898" y="352"/>
                  </a:lnTo>
                  <a:lnTo>
                    <a:pt x="2646" y="790"/>
                  </a:lnTo>
                  <a:lnTo>
                    <a:pt x="3040" y="790"/>
                  </a:lnTo>
                  <a:lnTo>
                    <a:pt x="3504" y="0"/>
                  </a:lnTo>
                  <a:lnTo>
                    <a:pt x="0" y="0"/>
                  </a:lnTo>
                  <a:lnTo>
                    <a:pt x="0" y="352"/>
                  </a:lnTo>
                  <a:close/>
                </a:path>
              </a:pathLst>
            </a:custGeom>
            <a:solidFill>
              <a:schemeClr val="tx2">
                <a:lumMod val="40000"/>
                <a:lumOff val="60000"/>
              </a:schemeClr>
            </a:solidFill>
            <a:ln w="6350" cap="rnd" cmpd="sng">
              <a:noFill/>
              <a:prstDash val="solid"/>
              <a:round/>
              <a:headEnd type="none" w="sm" len="sm"/>
              <a:tailEnd type="none" w="sm" len="sm"/>
            </a:ln>
            <a:effectLst/>
          </p:spPr>
          <p:txBody>
            <a:bodyPr lIns="216000" tIns="72000" rIns="72000" bIns="72000"/>
            <a:lstStyle/>
            <a:p>
              <a:endParaRPr lang="en-US"/>
            </a:p>
          </p:txBody>
        </p:sp>
        <p:sp>
          <p:nvSpPr>
            <p:cNvPr id="15" name="Freeform 5">
              <a:extLst>
                <a:ext uri="{FF2B5EF4-FFF2-40B4-BE49-F238E27FC236}">
                  <a16:creationId xmlns:a16="http://schemas.microsoft.com/office/drawing/2014/main" id="{D3B1F535-995E-4535-8B29-CB19288676F2}"/>
                </a:ext>
              </a:extLst>
            </p:cNvPr>
            <p:cNvSpPr>
              <a:spLocks/>
            </p:cNvSpPr>
            <p:nvPr/>
          </p:nvSpPr>
          <p:spPr bwMode="auto">
            <a:xfrm>
              <a:off x="201" y="1003"/>
              <a:ext cx="5355" cy="3085"/>
            </a:xfrm>
            <a:custGeom>
              <a:avLst/>
              <a:gdLst/>
              <a:ahLst/>
              <a:cxnLst>
                <a:cxn ang="0">
                  <a:pos x="0" y="874"/>
                </a:cxn>
                <a:cxn ang="0">
                  <a:pos x="3693" y="874"/>
                </a:cxn>
                <a:cxn ang="0">
                  <a:pos x="3158" y="0"/>
                </a:cxn>
                <a:cxn ang="0">
                  <a:pos x="3575" y="0"/>
                </a:cxn>
                <a:cxn ang="0">
                  <a:pos x="4198" y="1065"/>
                </a:cxn>
                <a:cxn ang="0">
                  <a:pos x="3575" y="2102"/>
                </a:cxn>
                <a:cxn ang="0">
                  <a:pos x="3205" y="2102"/>
                </a:cxn>
                <a:cxn ang="0">
                  <a:pos x="3717" y="1227"/>
                </a:cxn>
                <a:cxn ang="0">
                  <a:pos x="0" y="1227"/>
                </a:cxn>
                <a:cxn ang="0">
                  <a:pos x="0" y="874"/>
                </a:cxn>
              </a:cxnLst>
              <a:rect l="0" t="0" r="r" b="b"/>
              <a:pathLst>
                <a:path w="4198" h="2102">
                  <a:moveTo>
                    <a:pt x="0" y="874"/>
                  </a:moveTo>
                  <a:lnTo>
                    <a:pt x="3693" y="874"/>
                  </a:lnTo>
                  <a:lnTo>
                    <a:pt x="3158" y="0"/>
                  </a:lnTo>
                  <a:lnTo>
                    <a:pt x="3575" y="0"/>
                  </a:lnTo>
                  <a:lnTo>
                    <a:pt x="4198" y="1065"/>
                  </a:lnTo>
                  <a:lnTo>
                    <a:pt x="3575" y="2102"/>
                  </a:lnTo>
                  <a:lnTo>
                    <a:pt x="3205" y="2102"/>
                  </a:lnTo>
                  <a:lnTo>
                    <a:pt x="3717" y="1227"/>
                  </a:lnTo>
                  <a:lnTo>
                    <a:pt x="0" y="1227"/>
                  </a:lnTo>
                  <a:lnTo>
                    <a:pt x="0" y="874"/>
                  </a:lnTo>
                  <a:close/>
                </a:path>
              </a:pathLst>
            </a:custGeom>
            <a:solidFill>
              <a:schemeClr val="accent1"/>
            </a:solidFill>
            <a:ln w="6350" cap="rnd" cmpd="sng">
              <a:noFill/>
              <a:prstDash val="solid"/>
              <a:round/>
              <a:headEnd type="none" w="sm" len="sm"/>
              <a:tailEnd type="none" w="sm" len="sm"/>
            </a:ln>
            <a:effectLst/>
          </p:spPr>
          <p:txBody>
            <a:bodyPr lIns="216000" tIns="72000" rIns="72000" bIns="72000"/>
            <a:lstStyle/>
            <a:p>
              <a:endParaRPr lang="en-US"/>
            </a:p>
          </p:txBody>
        </p:sp>
        <p:sp>
          <p:nvSpPr>
            <p:cNvPr id="16" name="Rectangle 6">
              <a:extLst>
                <a:ext uri="{FF2B5EF4-FFF2-40B4-BE49-F238E27FC236}">
                  <a16:creationId xmlns:a16="http://schemas.microsoft.com/office/drawing/2014/main" id="{B39CC4E1-530B-4562-AC82-8DA3F693CC0C}"/>
                </a:ext>
              </a:extLst>
            </p:cNvPr>
            <p:cNvSpPr>
              <a:spLocks noChangeArrowheads="1"/>
            </p:cNvSpPr>
            <p:nvPr/>
          </p:nvSpPr>
          <p:spPr bwMode="auto">
            <a:xfrm>
              <a:off x="198" y="1642"/>
              <a:ext cx="3729" cy="511"/>
            </a:xfrm>
            <a:prstGeom prst="rect">
              <a:avLst/>
            </a:prstGeom>
            <a:noFill/>
            <a:ln w="6350">
              <a:noFill/>
              <a:miter lim="800000"/>
              <a:headEnd/>
              <a:tailEnd/>
            </a:ln>
            <a:effectLst/>
          </p:spPr>
          <p:txBody>
            <a:bodyPr lIns="216000" tIns="72000" rIns="72000" bIns="72000" anchor="ctr"/>
            <a:lstStyle/>
            <a:p>
              <a:pPr algn="l" defTabSz="885825" eaLnBrk="0" hangingPunct="0"/>
              <a:r>
                <a:rPr lang="en-GB" b="1" dirty="0"/>
                <a:t>Text </a:t>
              </a:r>
            </a:p>
          </p:txBody>
        </p:sp>
        <p:sp>
          <p:nvSpPr>
            <p:cNvPr id="17" name="Rectangle 7">
              <a:extLst>
                <a:ext uri="{FF2B5EF4-FFF2-40B4-BE49-F238E27FC236}">
                  <a16:creationId xmlns:a16="http://schemas.microsoft.com/office/drawing/2014/main" id="{3F2AC79E-049E-4238-B03F-A202D0087C13}"/>
                </a:ext>
              </a:extLst>
            </p:cNvPr>
            <p:cNvSpPr>
              <a:spLocks noChangeArrowheads="1"/>
            </p:cNvSpPr>
            <p:nvPr/>
          </p:nvSpPr>
          <p:spPr bwMode="auto">
            <a:xfrm>
              <a:off x="198" y="2285"/>
              <a:ext cx="4754" cy="511"/>
            </a:xfrm>
            <a:prstGeom prst="rect">
              <a:avLst/>
            </a:prstGeom>
            <a:noFill/>
            <a:ln w="6350">
              <a:noFill/>
              <a:miter lim="800000"/>
              <a:headEnd/>
              <a:tailEnd/>
            </a:ln>
            <a:effectLst/>
          </p:spPr>
          <p:txBody>
            <a:bodyPr lIns="216000" tIns="72000" rIns="72000" bIns="72000" anchor="ctr"/>
            <a:lstStyle/>
            <a:p>
              <a:pPr algn="l" defTabSz="885825" eaLnBrk="0" hangingPunct="0"/>
              <a:r>
                <a:rPr lang="en-GB" b="1">
                  <a:solidFill>
                    <a:schemeClr val="bg1"/>
                  </a:solidFill>
                </a:rPr>
                <a:t>Text </a:t>
              </a:r>
            </a:p>
          </p:txBody>
        </p:sp>
        <p:sp>
          <p:nvSpPr>
            <p:cNvPr id="18" name="Rectangle 8">
              <a:extLst>
                <a:ext uri="{FF2B5EF4-FFF2-40B4-BE49-F238E27FC236}">
                  <a16:creationId xmlns:a16="http://schemas.microsoft.com/office/drawing/2014/main" id="{D7B0231F-746A-4C31-B5E1-6492D749357F}"/>
                </a:ext>
              </a:extLst>
            </p:cNvPr>
            <p:cNvSpPr>
              <a:spLocks noChangeArrowheads="1"/>
            </p:cNvSpPr>
            <p:nvPr/>
          </p:nvSpPr>
          <p:spPr bwMode="auto">
            <a:xfrm>
              <a:off x="198" y="2930"/>
              <a:ext cx="3729" cy="510"/>
            </a:xfrm>
            <a:prstGeom prst="rect">
              <a:avLst/>
            </a:prstGeom>
            <a:noFill/>
            <a:ln w="6350">
              <a:noFill/>
              <a:miter lim="800000"/>
              <a:headEnd/>
              <a:tailEnd/>
            </a:ln>
            <a:effectLst/>
          </p:spPr>
          <p:txBody>
            <a:bodyPr lIns="216000" tIns="72000" rIns="72000" bIns="72000" anchor="ctr"/>
            <a:lstStyle/>
            <a:p>
              <a:pPr algn="l" defTabSz="885825" eaLnBrk="0" hangingPunct="0"/>
              <a:r>
                <a:rPr lang="en-GB" b="1"/>
                <a:t>Text </a:t>
              </a:r>
            </a:p>
          </p:txBody>
        </p:sp>
      </p:grpSp>
    </p:spTree>
    <p:extLst>
      <p:ext uri="{BB962C8B-B14F-4D97-AF65-F5344CB8AC3E}">
        <p14:creationId xmlns:p14="http://schemas.microsoft.com/office/powerpoint/2010/main" val="289264177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6</a:t>
            </a:r>
          </a:p>
        </p:txBody>
      </p:sp>
      <p:sp>
        <p:nvSpPr>
          <p:cNvPr id="4" name="Freeform: Shape 3">
            <a:hlinkClick r:id="rId10"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0" action="ppaction://hlinksldjump"/>
            <a:extLst>
              <a:ext uri="{FF2B5EF4-FFF2-40B4-BE49-F238E27FC236}">
                <a16:creationId xmlns:a16="http://schemas.microsoft.com/office/drawing/2014/main" id="{60D6B0FA-54CA-4279-A10C-4C3AD7724D6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3" name="Group 12">
            <a:extLst>
              <a:ext uri="{FF2B5EF4-FFF2-40B4-BE49-F238E27FC236}">
                <a16:creationId xmlns:a16="http://schemas.microsoft.com/office/drawing/2014/main" id="{E2B3B4FC-05CA-406C-9C0E-D9863D2A0A05}"/>
              </a:ext>
            </a:extLst>
          </p:cNvPr>
          <p:cNvGrpSpPr/>
          <p:nvPr/>
        </p:nvGrpSpPr>
        <p:grpSpPr bwMode="auto">
          <a:xfrm>
            <a:off x="1822450" y="1624176"/>
            <a:ext cx="8540750" cy="4217155"/>
            <a:chOff x="331788" y="1844675"/>
            <a:chExt cx="8461375" cy="4349750"/>
          </a:xfrm>
        </p:grpSpPr>
        <p:sp>
          <p:nvSpPr>
            <p:cNvPr id="14" name="AutoShape 3">
              <a:extLst>
                <a:ext uri="{FF2B5EF4-FFF2-40B4-BE49-F238E27FC236}">
                  <a16:creationId xmlns:a16="http://schemas.microsoft.com/office/drawing/2014/main" id="{31469D23-FA60-49F8-BA00-315D3B3C3499}"/>
                </a:ext>
              </a:extLst>
            </p:cNvPr>
            <p:cNvSpPr>
              <a:spLocks noChangeArrowheads="1"/>
            </p:cNvSpPr>
            <p:nvPr>
              <p:custDataLst>
                <p:tags r:id="rId1"/>
              </p:custDataLst>
            </p:nvPr>
          </p:nvSpPr>
          <p:spPr bwMode="auto">
            <a:xfrm>
              <a:off x="2149475" y="2568575"/>
              <a:ext cx="6643688" cy="727075"/>
            </a:xfrm>
            <a:prstGeom prst="homePlate">
              <a:avLst>
                <a:gd name="adj" fmla="val 13368"/>
              </a:avLst>
            </a:prstGeom>
            <a:solidFill>
              <a:schemeClr val="accent2">
                <a:lumMod val="40000"/>
                <a:lumOff val="6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t>Text</a:t>
              </a:r>
            </a:p>
          </p:txBody>
        </p:sp>
        <p:sp>
          <p:nvSpPr>
            <p:cNvPr id="15" name="AutoShape 4">
              <a:extLst>
                <a:ext uri="{FF2B5EF4-FFF2-40B4-BE49-F238E27FC236}">
                  <a16:creationId xmlns:a16="http://schemas.microsoft.com/office/drawing/2014/main" id="{28D94C2F-4750-4CE1-8493-10EED047C8C0}"/>
                </a:ext>
              </a:extLst>
            </p:cNvPr>
            <p:cNvSpPr>
              <a:spLocks noChangeArrowheads="1"/>
            </p:cNvSpPr>
            <p:nvPr>
              <p:custDataLst>
                <p:tags r:id="rId2"/>
              </p:custDataLst>
            </p:nvPr>
          </p:nvSpPr>
          <p:spPr bwMode="auto">
            <a:xfrm>
              <a:off x="2149475" y="5465763"/>
              <a:ext cx="6643688" cy="728662"/>
            </a:xfrm>
            <a:prstGeom prst="homePlate">
              <a:avLst>
                <a:gd name="adj" fmla="val 13381"/>
              </a:avLst>
            </a:prstGeom>
            <a:solidFill>
              <a:schemeClr val="accent2">
                <a:lumMod val="40000"/>
                <a:lumOff val="6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t>Text</a:t>
              </a:r>
            </a:p>
          </p:txBody>
        </p:sp>
        <p:sp>
          <p:nvSpPr>
            <p:cNvPr id="16" name="AutoShape 5">
              <a:extLst>
                <a:ext uri="{FF2B5EF4-FFF2-40B4-BE49-F238E27FC236}">
                  <a16:creationId xmlns:a16="http://schemas.microsoft.com/office/drawing/2014/main" id="{84902E49-B92B-47DF-A0BC-B1258FCC0B1F}"/>
                </a:ext>
              </a:extLst>
            </p:cNvPr>
            <p:cNvSpPr>
              <a:spLocks noChangeArrowheads="1"/>
            </p:cNvSpPr>
            <p:nvPr>
              <p:custDataLst>
                <p:tags r:id="rId3"/>
              </p:custDataLst>
            </p:nvPr>
          </p:nvSpPr>
          <p:spPr bwMode="auto">
            <a:xfrm>
              <a:off x="2149475" y="4017963"/>
              <a:ext cx="6643688" cy="730250"/>
            </a:xfrm>
            <a:prstGeom prst="homePlate">
              <a:avLst>
                <a:gd name="adj" fmla="val 13352"/>
              </a:avLst>
            </a:prstGeom>
            <a:solidFill>
              <a:schemeClr val="accent2">
                <a:lumMod val="40000"/>
                <a:lumOff val="6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t>Text</a:t>
              </a:r>
            </a:p>
          </p:txBody>
        </p:sp>
        <p:sp>
          <p:nvSpPr>
            <p:cNvPr id="17" name="AutoShape 6">
              <a:extLst>
                <a:ext uri="{FF2B5EF4-FFF2-40B4-BE49-F238E27FC236}">
                  <a16:creationId xmlns:a16="http://schemas.microsoft.com/office/drawing/2014/main" id="{97F210A7-A4D8-4EF0-ABAD-D13CFBCC5E0C}"/>
                </a:ext>
              </a:extLst>
            </p:cNvPr>
            <p:cNvSpPr>
              <a:spLocks noChangeArrowheads="1"/>
            </p:cNvSpPr>
            <p:nvPr>
              <p:custDataLst>
                <p:tags r:id="rId4"/>
              </p:custDataLst>
            </p:nvPr>
          </p:nvSpPr>
          <p:spPr bwMode="auto">
            <a:xfrm>
              <a:off x="2149475" y="1844675"/>
              <a:ext cx="6643688" cy="728663"/>
            </a:xfrm>
            <a:prstGeom prst="homePlate">
              <a:avLst>
                <a:gd name="adj" fmla="val 13381"/>
              </a:avLst>
            </a:prstGeom>
            <a:solidFill>
              <a:schemeClr val="accent2">
                <a:lumMod val="20000"/>
                <a:lumOff val="8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solidFill>
                    <a:schemeClr val="tx1"/>
                  </a:solidFill>
                </a:rPr>
                <a:t>Text</a:t>
              </a:r>
            </a:p>
          </p:txBody>
        </p:sp>
        <p:sp>
          <p:nvSpPr>
            <p:cNvPr id="18" name="AutoShape 7">
              <a:extLst>
                <a:ext uri="{FF2B5EF4-FFF2-40B4-BE49-F238E27FC236}">
                  <a16:creationId xmlns:a16="http://schemas.microsoft.com/office/drawing/2014/main" id="{19A8C3E3-7AAD-4EDE-A4FC-DD16C0007483}"/>
                </a:ext>
              </a:extLst>
            </p:cNvPr>
            <p:cNvSpPr>
              <a:spLocks noChangeArrowheads="1"/>
            </p:cNvSpPr>
            <p:nvPr>
              <p:custDataLst>
                <p:tags r:id="rId5"/>
              </p:custDataLst>
            </p:nvPr>
          </p:nvSpPr>
          <p:spPr bwMode="auto">
            <a:xfrm>
              <a:off x="2149475" y="3290888"/>
              <a:ext cx="6643688" cy="730250"/>
            </a:xfrm>
            <a:prstGeom prst="homePlate">
              <a:avLst>
                <a:gd name="adj" fmla="val 13352"/>
              </a:avLst>
            </a:prstGeom>
            <a:solidFill>
              <a:schemeClr val="accent2">
                <a:lumMod val="20000"/>
                <a:lumOff val="8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solidFill>
                    <a:schemeClr val="tx1"/>
                  </a:solidFill>
                </a:rPr>
                <a:t>Text</a:t>
              </a:r>
            </a:p>
          </p:txBody>
        </p:sp>
        <p:sp>
          <p:nvSpPr>
            <p:cNvPr id="19" name="AutoShape 8">
              <a:extLst>
                <a:ext uri="{FF2B5EF4-FFF2-40B4-BE49-F238E27FC236}">
                  <a16:creationId xmlns:a16="http://schemas.microsoft.com/office/drawing/2014/main" id="{F1B5472C-ECEF-44B1-8B4B-E387AF5E3FEA}"/>
                </a:ext>
              </a:extLst>
            </p:cNvPr>
            <p:cNvSpPr>
              <a:spLocks noChangeArrowheads="1"/>
            </p:cNvSpPr>
            <p:nvPr>
              <p:custDataLst>
                <p:tags r:id="rId6"/>
              </p:custDataLst>
            </p:nvPr>
          </p:nvSpPr>
          <p:spPr bwMode="auto">
            <a:xfrm>
              <a:off x="2149475" y="4743450"/>
              <a:ext cx="6643688" cy="730250"/>
            </a:xfrm>
            <a:prstGeom prst="homePlate">
              <a:avLst>
                <a:gd name="adj" fmla="val 13352"/>
              </a:avLst>
            </a:prstGeom>
            <a:solidFill>
              <a:schemeClr val="accent2">
                <a:lumMod val="20000"/>
                <a:lumOff val="80000"/>
              </a:schemeClr>
            </a:solidFill>
            <a:ln w="6350">
              <a:noFill/>
              <a:miter lim="800000"/>
              <a:headEnd/>
              <a:tailEnd/>
            </a:ln>
            <a:effectLst/>
          </p:spPr>
          <p:txBody>
            <a:bodyPr wrap="none" lIns="45720" tIns="47625" rIns="45720" bIns="47625" anchor="ctr" anchorCtr="1"/>
            <a:lstStyle/>
            <a:p>
              <a:pPr defTabSz="990600" eaLnBrk="0" hangingPunct="0">
                <a:spcBef>
                  <a:spcPct val="0"/>
                </a:spcBef>
              </a:pPr>
              <a:r>
                <a:rPr lang="en-GB" dirty="0">
                  <a:solidFill>
                    <a:schemeClr val="tx1"/>
                  </a:solidFill>
                </a:rPr>
                <a:t>Text</a:t>
              </a:r>
            </a:p>
          </p:txBody>
        </p:sp>
        <p:sp>
          <p:nvSpPr>
            <p:cNvPr id="20" name="Rectangle 11">
              <a:extLst>
                <a:ext uri="{FF2B5EF4-FFF2-40B4-BE49-F238E27FC236}">
                  <a16:creationId xmlns:a16="http://schemas.microsoft.com/office/drawing/2014/main" id="{05364269-AC81-49BD-83FD-88D70F19AF5D}"/>
                </a:ext>
              </a:extLst>
            </p:cNvPr>
            <p:cNvSpPr>
              <a:spLocks noChangeArrowheads="1"/>
            </p:cNvSpPr>
            <p:nvPr>
              <p:custDataLst>
                <p:tags r:id="rId7"/>
              </p:custDataLst>
            </p:nvPr>
          </p:nvSpPr>
          <p:spPr bwMode="auto">
            <a:xfrm rot="16200000">
              <a:off x="-934243" y="3110706"/>
              <a:ext cx="4349750" cy="1817687"/>
            </a:xfrm>
            <a:prstGeom prst="rect">
              <a:avLst/>
            </a:prstGeom>
            <a:solidFill>
              <a:schemeClr val="accent2"/>
            </a:solidFill>
            <a:ln w="6350">
              <a:noFill/>
              <a:miter lim="800000"/>
              <a:headEnd/>
              <a:tailEnd/>
            </a:ln>
            <a:effectLst/>
          </p:spPr>
          <p:txBody>
            <a:bodyPr vert="eaVert" wrap="none" lIns="45720" tIns="47625" rIns="45720" bIns="47625" anchor="ctr" anchorCtr="1"/>
            <a:lstStyle/>
            <a:p>
              <a:pPr indent="-177800" eaLnBrk="0" hangingPunct="0">
                <a:lnSpc>
                  <a:spcPct val="85000"/>
                </a:lnSpc>
                <a:spcBef>
                  <a:spcPts val="100"/>
                </a:spcBef>
                <a:spcAft>
                  <a:spcPts val="300"/>
                </a:spcAft>
                <a:tabLst>
                  <a:tab pos="474663" algn="l"/>
                </a:tabLst>
              </a:pPr>
              <a:r>
                <a:rPr lang="en-GB" b="1" dirty="0">
                  <a:solidFill>
                    <a:schemeClr val="bg1"/>
                  </a:solidFill>
                  <a:latin typeface="+mj-lt"/>
                </a:rPr>
                <a:t>Text</a:t>
              </a:r>
            </a:p>
          </p:txBody>
        </p:sp>
      </p:grpSp>
    </p:spTree>
    <p:extLst>
      <p:ext uri="{BB962C8B-B14F-4D97-AF65-F5344CB8AC3E}">
        <p14:creationId xmlns:p14="http://schemas.microsoft.com/office/powerpoint/2010/main" val="3009891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21756-2C9E-314A-9425-31BA23FBE9A8}"/>
              </a:ext>
            </a:extLst>
          </p:cNvPr>
          <p:cNvSpPr>
            <a:spLocks noGrp="1"/>
          </p:cNvSpPr>
          <p:nvPr>
            <p:ph type="title"/>
          </p:nvPr>
        </p:nvSpPr>
        <p:spPr/>
        <p:txBody>
          <a:bodyPr/>
          <a:lstStyle/>
          <a:p>
            <a:r>
              <a:rPr lang="en-US" dirty="0"/>
              <a:t>Contents</a:t>
            </a:r>
          </a:p>
        </p:txBody>
      </p:sp>
      <p:sp>
        <p:nvSpPr>
          <p:cNvPr id="3" name="Content Placeholder 2">
            <a:extLst>
              <a:ext uri="{FF2B5EF4-FFF2-40B4-BE49-F238E27FC236}">
                <a16:creationId xmlns:a16="http://schemas.microsoft.com/office/drawing/2014/main" id="{46FA6938-5C00-C04A-84F8-7A56472F05F9}"/>
              </a:ext>
            </a:extLst>
          </p:cNvPr>
          <p:cNvSpPr>
            <a:spLocks noGrp="1"/>
          </p:cNvSpPr>
          <p:nvPr>
            <p:ph sz="quarter" idx="10"/>
          </p:nvPr>
        </p:nvSpPr>
        <p:spPr>
          <a:xfrm>
            <a:off x="381001" y="1371601"/>
            <a:ext cx="8625839" cy="4940300"/>
          </a:xfrm>
        </p:spPr>
        <p:txBody>
          <a:bodyPr/>
          <a:lstStyle/>
          <a:p>
            <a:r>
              <a:rPr lang="en-US" dirty="0"/>
              <a:t>This slide starter pack has two main sections:</a:t>
            </a:r>
          </a:p>
          <a:p>
            <a:pPr marL="457200" indent="-457200">
              <a:buAutoNum type="arabicPeriod"/>
            </a:pPr>
            <a:r>
              <a:rPr lang="en-US" dirty="0"/>
              <a:t>A new </a:t>
            </a:r>
            <a:r>
              <a:rPr lang="en-US" dirty="0">
                <a:solidFill>
                  <a:schemeClr val="accent1"/>
                </a:solidFill>
              </a:rPr>
              <a:t>Slide Kit </a:t>
            </a:r>
            <a:r>
              <a:rPr lang="en-US" dirty="0"/>
              <a:t>offers many different layout options that are available in the new PPT template master view. It also includes tips for creating an impactful presentation and provides an overview of the new colors, gradients, and fonts.</a:t>
            </a:r>
          </a:p>
          <a:p>
            <a:pPr marL="457200" indent="-457200">
              <a:buAutoNum type="arabicPeriod"/>
            </a:pPr>
            <a:r>
              <a:rPr lang="en-US" dirty="0"/>
              <a:t>The extensive </a:t>
            </a:r>
            <a:r>
              <a:rPr lang="en-US" dirty="0">
                <a:solidFill>
                  <a:schemeClr val="accent1"/>
                </a:solidFill>
              </a:rPr>
              <a:t>Visuals Library, </a:t>
            </a:r>
            <a:r>
              <a:rPr lang="en-US" dirty="0"/>
              <a:t>starting on page 59, contains a vast array of graphic tools to help illustrate your points and bring your presentations to life. </a:t>
            </a:r>
          </a:p>
        </p:txBody>
      </p:sp>
    </p:spTree>
    <p:extLst>
      <p:ext uri="{BB962C8B-B14F-4D97-AF65-F5344CB8AC3E}">
        <p14:creationId xmlns:p14="http://schemas.microsoft.com/office/powerpoint/2010/main" val="42617867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2A44F2-7242-6A4A-B5FB-1CCC14C2F9B9}"/>
              </a:ext>
            </a:extLst>
          </p:cNvPr>
          <p:cNvSpPr>
            <a:spLocks noGrp="1"/>
          </p:cNvSpPr>
          <p:nvPr>
            <p:ph type="body" sz="quarter" idx="12"/>
          </p:nvPr>
        </p:nvSpPr>
        <p:spPr/>
        <p:txBody>
          <a:bodyPr/>
          <a:lstStyle/>
          <a:p>
            <a:endParaRPr lang="en-US"/>
          </a:p>
        </p:txBody>
      </p:sp>
      <p:sp>
        <p:nvSpPr>
          <p:cNvPr id="3" name="Title 2">
            <a:extLst>
              <a:ext uri="{FF2B5EF4-FFF2-40B4-BE49-F238E27FC236}">
                <a16:creationId xmlns:a16="http://schemas.microsoft.com/office/drawing/2014/main" id="{F5883574-7CE1-D94F-8885-E8554103ED43}"/>
              </a:ext>
            </a:extLst>
          </p:cNvPr>
          <p:cNvSpPr>
            <a:spLocks noGrp="1"/>
          </p:cNvSpPr>
          <p:nvPr>
            <p:ph type="ctrTitle"/>
          </p:nvPr>
        </p:nvSpPr>
        <p:spPr/>
        <p:txBody>
          <a:bodyPr/>
          <a:lstStyle/>
          <a:p>
            <a:endParaRPr lang="en-US"/>
          </a:p>
        </p:txBody>
      </p:sp>
      <p:sp>
        <p:nvSpPr>
          <p:cNvPr id="5" name="Text Placeholder 4">
            <a:extLst>
              <a:ext uri="{FF2B5EF4-FFF2-40B4-BE49-F238E27FC236}">
                <a16:creationId xmlns:a16="http://schemas.microsoft.com/office/drawing/2014/main" id="{B5B14537-490B-5F4F-AF2C-1A3D857EF4A4}"/>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76231905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7</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E792481D-DEC4-4F1E-B588-776E974BEC7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4" name="Text Box 5">
            <a:extLst>
              <a:ext uri="{FF2B5EF4-FFF2-40B4-BE49-F238E27FC236}">
                <a16:creationId xmlns:a16="http://schemas.microsoft.com/office/drawing/2014/main" id="{1935305F-34A4-4B39-B9D7-7413A0EE6628}"/>
              </a:ext>
            </a:extLst>
          </p:cNvPr>
          <p:cNvSpPr txBox="1">
            <a:spLocks noChangeArrowheads="1"/>
          </p:cNvSpPr>
          <p:nvPr/>
        </p:nvSpPr>
        <p:spPr bwMode="auto">
          <a:xfrm>
            <a:off x="1532338" y="2625322"/>
            <a:ext cx="1908000" cy="1682094"/>
          </a:xfrm>
          <a:prstGeom prst="rect">
            <a:avLst/>
          </a:prstGeom>
          <a:solidFill>
            <a:schemeClr val="tx2">
              <a:lumMod val="20000"/>
              <a:lumOff val="80000"/>
            </a:schemeClr>
          </a:solidFill>
          <a:ln w="12700">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26" name="Text Box 6">
            <a:extLst>
              <a:ext uri="{FF2B5EF4-FFF2-40B4-BE49-F238E27FC236}">
                <a16:creationId xmlns:a16="http://schemas.microsoft.com/office/drawing/2014/main" id="{9E46BE9C-9253-4A63-A906-B2279A0AB125}"/>
              </a:ext>
            </a:extLst>
          </p:cNvPr>
          <p:cNvSpPr txBox="1">
            <a:spLocks noChangeArrowheads="1"/>
          </p:cNvSpPr>
          <p:nvPr/>
        </p:nvSpPr>
        <p:spPr bwMode="auto">
          <a:xfrm>
            <a:off x="1532338" y="4375806"/>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28" name="Text Box 8">
            <a:extLst>
              <a:ext uri="{FF2B5EF4-FFF2-40B4-BE49-F238E27FC236}">
                <a16:creationId xmlns:a16="http://schemas.microsoft.com/office/drawing/2014/main" id="{B33F7C9F-3893-40AD-8F03-50C9216DE97D}"/>
              </a:ext>
            </a:extLst>
          </p:cNvPr>
          <p:cNvSpPr txBox="1">
            <a:spLocks noChangeArrowheads="1"/>
          </p:cNvSpPr>
          <p:nvPr/>
        </p:nvSpPr>
        <p:spPr bwMode="auto">
          <a:xfrm>
            <a:off x="3490119" y="2625322"/>
            <a:ext cx="1908000" cy="1682094"/>
          </a:xfrm>
          <a:prstGeom prst="rect">
            <a:avLst/>
          </a:prstGeom>
          <a:solidFill>
            <a:schemeClr val="accent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0" name="Text Box 9">
            <a:extLst>
              <a:ext uri="{FF2B5EF4-FFF2-40B4-BE49-F238E27FC236}">
                <a16:creationId xmlns:a16="http://schemas.microsoft.com/office/drawing/2014/main" id="{C293115C-18C0-4423-B4C7-50618BA188DF}"/>
              </a:ext>
            </a:extLst>
          </p:cNvPr>
          <p:cNvSpPr txBox="1">
            <a:spLocks noChangeArrowheads="1"/>
          </p:cNvSpPr>
          <p:nvPr/>
        </p:nvSpPr>
        <p:spPr bwMode="auto">
          <a:xfrm>
            <a:off x="3490119" y="4375806"/>
            <a:ext cx="1908000" cy="1682094"/>
          </a:xfrm>
          <a:prstGeom prst="rect">
            <a:avLst/>
          </a:prstGeom>
          <a:solidFill>
            <a:schemeClr val="accent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2" name="Text Box 11">
            <a:extLst>
              <a:ext uri="{FF2B5EF4-FFF2-40B4-BE49-F238E27FC236}">
                <a16:creationId xmlns:a16="http://schemas.microsoft.com/office/drawing/2014/main" id="{DE1C8D9F-FA06-4A8A-AC2C-5B14DE1B3631}"/>
              </a:ext>
            </a:extLst>
          </p:cNvPr>
          <p:cNvSpPr txBox="1">
            <a:spLocks noChangeArrowheads="1"/>
          </p:cNvSpPr>
          <p:nvPr/>
        </p:nvSpPr>
        <p:spPr bwMode="auto">
          <a:xfrm>
            <a:off x="5448697" y="2625322"/>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4" name="Text Box 12">
            <a:extLst>
              <a:ext uri="{FF2B5EF4-FFF2-40B4-BE49-F238E27FC236}">
                <a16:creationId xmlns:a16="http://schemas.microsoft.com/office/drawing/2014/main" id="{7CEEEB6F-1A92-4EA1-BB11-4EF4A534F772}"/>
              </a:ext>
            </a:extLst>
          </p:cNvPr>
          <p:cNvSpPr txBox="1">
            <a:spLocks noChangeArrowheads="1"/>
          </p:cNvSpPr>
          <p:nvPr/>
        </p:nvSpPr>
        <p:spPr bwMode="auto">
          <a:xfrm>
            <a:off x="5448697" y="4375806"/>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6" name="Text Box 14">
            <a:extLst>
              <a:ext uri="{FF2B5EF4-FFF2-40B4-BE49-F238E27FC236}">
                <a16:creationId xmlns:a16="http://schemas.microsoft.com/office/drawing/2014/main" id="{EADEE2BF-8FBA-45AA-A89F-3EF840209FBE}"/>
              </a:ext>
            </a:extLst>
          </p:cNvPr>
          <p:cNvSpPr txBox="1">
            <a:spLocks noChangeArrowheads="1"/>
          </p:cNvSpPr>
          <p:nvPr/>
        </p:nvSpPr>
        <p:spPr bwMode="auto">
          <a:xfrm>
            <a:off x="7407275" y="2625322"/>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38" name="Text Box 15">
            <a:extLst>
              <a:ext uri="{FF2B5EF4-FFF2-40B4-BE49-F238E27FC236}">
                <a16:creationId xmlns:a16="http://schemas.microsoft.com/office/drawing/2014/main" id="{666C5C7C-7EC4-4679-A8EF-B2E9F54CEE50}"/>
              </a:ext>
            </a:extLst>
          </p:cNvPr>
          <p:cNvSpPr txBox="1">
            <a:spLocks noChangeArrowheads="1"/>
          </p:cNvSpPr>
          <p:nvPr/>
        </p:nvSpPr>
        <p:spPr bwMode="auto">
          <a:xfrm>
            <a:off x="7407275" y="4375806"/>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40" name="Text Box 17">
            <a:extLst>
              <a:ext uri="{FF2B5EF4-FFF2-40B4-BE49-F238E27FC236}">
                <a16:creationId xmlns:a16="http://schemas.microsoft.com/office/drawing/2014/main" id="{F0E6A4C1-490D-4481-8ABF-521E19BFF76D}"/>
              </a:ext>
            </a:extLst>
          </p:cNvPr>
          <p:cNvSpPr txBox="1">
            <a:spLocks noChangeArrowheads="1"/>
          </p:cNvSpPr>
          <p:nvPr/>
        </p:nvSpPr>
        <p:spPr bwMode="auto">
          <a:xfrm>
            <a:off x="9365852" y="2625322"/>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42" name="Text Box 18">
            <a:extLst>
              <a:ext uri="{FF2B5EF4-FFF2-40B4-BE49-F238E27FC236}">
                <a16:creationId xmlns:a16="http://schemas.microsoft.com/office/drawing/2014/main" id="{FA2F8972-4E62-496B-AF7B-D83D080EE2F4}"/>
              </a:ext>
            </a:extLst>
          </p:cNvPr>
          <p:cNvSpPr txBox="1">
            <a:spLocks noChangeArrowheads="1"/>
          </p:cNvSpPr>
          <p:nvPr/>
        </p:nvSpPr>
        <p:spPr bwMode="auto">
          <a:xfrm>
            <a:off x="9365852" y="4375806"/>
            <a:ext cx="1908000" cy="1682094"/>
          </a:xfrm>
          <a:prstGeom prst="rect">
            <a:avLst/>
          </a:prstGeom>
          <a:solidFill>
            <a:schemeClr val="tx2">
              <a:lumMod val="20000"/>
              <a:lumOff val="80000"/>
            </a:schemeClr>
          </a:solidFill>
          <a:ln w="12700" algn="ctr">
            <a:noFill/>
            <a:miter lim="800000"/>
            <a:headEnd/>
            <a:tailEnd/>
          </a:ln>
        </p:spPr>
        <p:txBody>
          <a:bodyPr lIns="72000" tIns="36000" rIns="36000" bIns="36000"/>
          <a:lstStyle/>
          <a:p>
            <a:pPr marL="88900" indent="-88900" algn="l" defTabSz="912813" eaLnBrk="0" hangingPunct="0">
              <a:lnSpc>
                <a:spcPct val="95000"/>
              </a:lnSpc>
              <a:spcBef>
                <a:spcPct val="20000"/>
              </a:spcBef>
            </a:pPr>
            <a:r>
              <a:rPr lang="de-DE" sz="1000" dirty="0"/>
              <a:t>Text</a:t>
            </a:r>
          </a:p>
        </p:txBody>
      </p:sp>
      <p:sp>
        <p:nvSpPr>
          <p:cNvPr id="44" name="Text Box 19">
            <a:extLst>
              <a:ext uri="{FF2B5EF4-FFF2-40B4-BE49-F238E27FC236}">
                <a16:creationId xmlns:a16="http://schemas.microsoft.com/office/drawing/2014/main" id="{F1A4D56F-BB54-49E2-8C29-5D8B93A73C2F}"/>
              </a:ext>
            </a:extLst>
          </p:cNvPr>
          <p:cNvSpPr txBox="1">
            <a:spLocks noChangeArrowheads="1"/>
          </p:cNvSpPr>
          <p:nvPr/>
        </p:nvSpPr>
        <p:spPr bwMode="auto">
          <a:xfrm rot="-5400000">
            <a:off x="426574" y="3252233"/>
            <a:ext cx="1682095" cy="428276"/>
          </a:xfrm>
          <a:prstGeom prst="rect">
            <a:avLst/>
          </a:prstGeom>
          <a:solidFill>
            <a:schemeClr val="tx2">
              <a:lumMod val="40000"/>
              <a:lumOff val="60000"/>
            </a:schemeClr>
          </a:solidFill>
          <a:ln w="12700">
            <a:noFill/>
            <a:miter lim="800000"/>
            <a:headEnd/>
            <a:tailEnd/>
          </a:ln>
        </p:spPr>
        <p:txBody>
          <a:bodyPr lIns="107987" tIns="36000" rIns="107987" bIns="0" anchor="ctr"/>
          <a:lstStyle/>
          <a:p>
            <a:pPr algn="ctr" eaLnBrk="0" hangingPunct="0">
              <a:lnSpc>
                <a:spcPct val="90000"/>
              </a:lnSpc>
              <a:buClr>
                <a:srgbClr val="990033"/>
              </a:buClr>
              <a:buFont typeface="Wingdings" pitchFamily="2" charset="2"/>
              <a:buNone/>
            </a:pPr>
            <a:r>
              <a:rPr lang="de-DE" sz="1200" b="1" dirty="0">
                <a:solidFill>
                  <a:schemeClr val="bg2"/>
                </a:solidFill>
                <a:latin typeface="+mj-lt"/>
              </a:rPr>
              <a:t>Text</a:t>
            </a:r>
          </a:p>
        </p:txBody>
      </p:sp>
      <p:sp>
        <p:nvSpPr>
          <p:cNvPr id="46" name="Text Box 19">
            <a:extLst>
              <a:ext uri="{FF2B5EF4-FFF2-40B4-BE49-F238E27FC236}">
                <a16:creationId xmlns:a16="http://schemas.microsoft.com/office/drawing/2014/main" id="{7D569E2B-E67B-4614-B94E-7D0998DF6C04}"/>
              </a:ext>
            </a:extLst>
          </p:cNvPr>
          <p:cNvSpPr txBox="1">
            <a:spLocks noChangeArrowheads="1"/>
          </p:cNvSpPr>
          <p:nvPr/>
        </p:nvSpPr>
        <p:spPr bwMode="auto">
          <a:xfrm rot="-5400000">
            <a:off x="426575" y="5002717"/>
            <a:ext cx="1682095" cy="428276"/>
          </a:xfrm>
          <a:prstGeom prst="rect">
            <a:avLst/>
          </a:prstGeom>
          <a:solidFill>
            <a:schemeClr val="tx2">
              <a:lumMod val="40000"/>
              <a:lumOff val="60000"/>
            </a:schemeClr>
          </a:solidFill>
          <a:ln w="12700">
            <a:noFill/>
            <a:miter lim="800000"/>
            <a:headEnd/>
            <a:tailEnd/>
          </a:ln>
        </p:spPr>
        <p:txBody>
          <a:bodyPr lIns="107987" tIns="36000" rIns="107987" bIns="0" anchor="ctr"/>
          <a:lstStyle/>
          <a:p>
            <a:pPr algn="ctr" eaLnBrk="0" hangingPunct="0">
              <a:lnSpc>
                <a:spcPct val="90000"/>
              </a:lnSpc>
              <a:buClr>
                <a:srgbClr val="990033"/>
              </a:buClr>
              <a:buFont typeface="Wingdings" pitchFamily="2" charset="2"/>
              <a:buNone/>
            </a:pPr>
            <a:r>
              <a:rPr lang="de-DE" sz="1200" b="1" dirty="0">
                <a:solidFill>
                  <a:schemeClr val="bg2"/>
                </a:solidFill>
                <a:latin typeface="+mj-lt"/>
              </a:rPr>
              <a:t>Text</a:t>
            </a:r>
          </a:p>
        </p:txBody>
      </p:sp>
      <p:sp>
        <p:nvSpPr>
          <p:cNvPr id="48" name="Arrow: Chevron 47">
            <a:extLst>
              <a:ext uri="{FF2B5EF4-FFF2-40B4-BE49-F238E27FC236}">
                <a16:creationId xmlns:a16="http://schemas.microsoft.com/office/drawing/2014/main" id="{678B4736-E05D-4EC0-A0CF-BEF185364964}"/>
              </a:ext>
            </a:extLst>
          </p:cNvPr>
          <p:cNvSpPr/>
          <p:nvPr/>
        </p:nvSpPr>
        <p:spPr>
          <a:xfrm>
            <a:off x="5448697" y="2068930"/>
            <a:ext cx="1988730" cy="502443"/>
          </a:xfrm>
          <a:prstGeom prst="chevron">
            <a:avLst>
              <a:gd name="adj" fmla="val 15715"/>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lnSpc>
                <a:spcPct val="90000"/>
              </a:lnSpc>
              <a:buClr>
                <a:srgbClr val="990033"/>
              </a:buClr>
            </a:pPr>
            <a:r>
              <a:rPr lang="en-US" sz="1200" b="1" dirty="0">
                <a:solidFill>
                  <a:schemeClr val="bg1"/>
                </a:solidFill>
                <a:latin typeface="+mj-lt"/>
              </a:rPr>
              <a:t>Text</a:t>
            </a:r>
          </a:p>
        </p:txBody>
      </p:sp>
      <p:sp>
        <p:nvSpPr>
          <p:cNvPr id="50" name="AutoShape 5">
            <a:extLst>
              <a:ext uri="{FF2B5EF4-FFF2-40B4-BE49-F238E27FC236}">
                <a16:creationId xmlns:a16="http://schemas.microsoft.com/office/drawing/2014/main" id="{442C0B2D-2585-41B9-B73D-9EFD3B955223}"/>
              </a:ext>
            </a:extLst>
          </p:cNvPr>
          <p:cNvSpPr>
            <a:spLocks noChangeArrowheads="1"/>
          </p:cNvSpPr>
          <p:nvPr/>
        </p:nvSpPr>
        <p:spPr bwMode="auto">
          <a:xfrm>
            <a:off x="1532338" y="2068930"/>
            <a:ext cx="1987933" cy="502443"/>
          </a:xfrm>
          <a:prstGeom prst="homePlate">
            <a:avLst>
              <a:gd name="adj" fmla="val 16553"/>
            </a:avLst>
          </a:prstGeom>
          <a:solidFill>
            <a:schemeClr val="tx2">
              <a:lumMod val="40000"/>
              <a:lumOff val="60000"/>
            </a:schemeClr>
          </a:solidFill>
          <a:ln w="6350">
            <a:noFill/>
            <a:miter lim="800000"/>
            <a:headEnd/>
            <a:tailEnd/>
          </a:ln>
          <a:effectLst/>
        </p:spPr>
        <p:txBody>
          <a:bodyPr wrap="square" lIns="180000" tIns="108000" rIns="108000" bIns="108000" anchor="ctr" anchorCtr="0"/>
          <a:lstStyle/>
          <a:p>
            <a:pPr eaLnBrk="0" hangingPunct="0">
              <a:lnSpc>
                <a:spcPct val="90000"/>
              </a:lnSpc>
              <a:buClr>
                <a:srgbClr val="990033"/>
              </a:buClr>
            </a:pPr>
            <a:r>
              <a:rPr lang="en-US" sz="1200" b="1" dirty="0">
                <a:solidFill>
                  <a:schemeClr val="bg1"/>
                </a:solidFill>
                <a:latin typeface="+mj-lt"/>
              </a:rPr>
              <a:t>Text</a:t>
            </a:r>
          </a:p>
        </p:txBody>
      </p:sp>
      <p:sp>
        <p:nvSpPr>
          <p:cNvPr id="52" name="Arrow: Chevron 51">
            <a:extLst>
              <a:ext uri="{FF2B5EF4-FFF2-40B4-BE49-F238E27FC236}">
                <a16:creationId xmlns:a16="http://schemas.microsoft.com/office/drawing/2014/main" id="{C951F2BB-3699-4FAB-B5FD-F5FA6CEED58C}"/>
              </a:ext>
            </a:extLst>
          </p:cNvPr>
          <p:cNvSpPr/>
          <p:nvPr/>
        </p:nvSpPr>
        <p:spPr>
          <a:xfrm>
            <a:off x="9365852" y="2068930"/>
            <a:ext cx="1989210" cy="502443"/>
          </a:xfrm>
          <a:prstGeom prst="chevron">
            <a:avLst>
              <a:gd name="adj" fmla="val 15715"/>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lnSpc>
                <a:spcPct val="90000"/>
              </a:lnSpc>
              <a:buClr>
                <a:srgbClr val="990033"/>
              </a:buClr>
            </a:pPr>
            <a:r>
              <a:rPr lang="en-US" sz="1200" b="1" dirty="0">
                <a:solidFill>
                  <a:schemeClr val="bg1"/>
                </a:solidFill>
                <a:latin typeface="+mj-lt"/>
              </a:rPr>
              <a:t>Text</a:t>
            </a:r>
          </a:p>
        </p:txBody>
      </p:sp>
      <p:sp>
        <p:nvSpPr>
          <p:cNvPr id="54" name="Arrow: Chevron 53">
            <a:extLst>
              <a:ext uri="{FF2B5EF4-FFF2-40B4-BE49-F238E27FC236}">
                <a16:creationId xmlns:a16="http://schemas.microsoft.com/office/drawing/2014/main" id="{7DE3548D-30C9-4735-9583-BE81E5971E9A}"/>
              </a:ext>
            </a:extLst>
          </p:cNvPr>
          <p:cNvSpPr/>
          <p:nvPr/>
        </p:nvSpPr>
        <p:spPr>
          <a:xfrm>
            <a:off x="3490119" y="2068930"/>
            <a:ext cx="1988730" cy="502443"/>
          </a:xfrm>
          <a:prstGeom prst="chevron">
            <a:avLst>
              <a:gd name="adj" fmla="val 15715"/>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lnSpc>
                <a:spcPct val="90000"/>
              </a:lnSpc>
              <a:buClr>
                <a:srgbClr val="990033"/>
              </a:buClr>
            </a:pPr>
            <a:r>
              <a:rPr lang="en-US" sz="1200" b="1" dirty="0">
                <a:solidFill>
                  <a:schemeClr val="bg1"/>
                </a:solidFill>
                <a:latin typeface="+mj-lt"/>
              </a:rPr>
              <a:t>Text</a:t>
            </a:r>
          </a:p>
        </p:txBody>
      </p:sp>
      <p:sp>
        <p:nvSpPr>
          <p:cNvPr id="56" name="Arrow: Chevron 55">
            <a:extLst>
              <a:ext uri="{FF2B5EF4-FFF2-40B4-BE49-F238E27FC236}">
                <a16:creationId xmlns:a16="http://schemas.microsoft.com/office/drawing/2014/main" id="{F1A16892-53A0-439F-BC62-13C182003FCB}"/>
              </a:ext>
            </a:extLst>
          </p:cNvPr>
          <p:cNvSpPr/>
          <p:nvPr/>
        </p:nvSpPr>
        <p:spPr>
          <a:xfrm>
            <a:off x="7407275" y="2068930"/>
            <a:ext cx="1988730" cy="502443"/>
          </a:xfrm>
          <a:prstGeom prst="chevron">
            <a:avLst>
              <a:gd name="adj" fmla="val 15715"/>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08000" rIns="108000" bIns="108000" rtlCol="0" anchor="ctr" anchorCtr="0"/>
          <a:lstStyle/>
          <a:p>
            <a:pPr eaLnBrk="0" hangingPunct="0">
              <a:lnSpc>
                <a:spcPct val="90000"/>
              </a:lnSpc>
              <a:buClr>
                <a:srgbClr val="990033"/>
              </a:buClr>
            </a:pPr>
            <a:r>
              <a:rPr lang="en-US" sz="1200" b="1" dirty="0">
                <a:solidFill>
                  <a:schemeClr val="bg1"/>
                </a:solidFill>
                <a:latin typeface="+mj-lt"/>
              </a:rPr>
              <a:t>Text</a:t>
            </a:r>
          </a:p>
        </p:txBody>
      </p:sp>
      <p:sp>
        <p:nvSpPr>
          <p:cNvPr id="58" name="AutoShape 5">
            <a:extLst>
              <a:ext uri="{FF2B5EF4-FFF2-40B4-BE49-F238E27FC236}">
                <a16:creationId xmlns:a16="http://schemas.microsoft.com/office/drawing/2014/main" id="{BF81DAB3-AF11-48B7-B00F-439F5CF1F0A8}"/>
              </a:ext>
            </a:extLst>
          </p:cNvPr>
          <p:cNvSpPr>
            <a:spLocks noChangeArrowheads="1"/>
          </p:cNvSpPr>
          <p:nvPr/>
        </p:nvSpPr>
        <p:spPr bwMode="auto">
          <a:xfrm>
            <a:off x="1532338" y="1512538"/>
            <a:ext cx="9822724" cy="502443"/>
          </a:xfrm>
          <a:prstGeom prst="homePlate">
            <a:avLst>
              <a:gd name="adj" fmla="val 16553"/>
            </a:avLst>
          </a:prstGeom>
          <a:pattFill prst="dkUpDiag">
            <a:fgClr>
              <a:schemeClr val="tx2">
                <a:lumMod val="40000"/>
                <a:lumOff val="60000"/>
              </a:schemeClr>
            </a:fgClr>
            <a:bgClr>
              <a:schemeClr val="bg1"/>
            </a:bgClr>
          </a:pattFill>
          <a:ln w="6350">
            <a:noFill/>
            <a:miter lim="800000"/>
            <a:headEnd/>
            <a:tailEnd/>
          </a:ln>
          <a:effectLst/>
        </p:spPr>
        <p:txBody>
          <a:bodyPr wrap="square" lIns="180000" tIns="108000" rIns="108000" bIns="108000" anchor="ctr" anchorCtr="0"/>
          <a:lstStyle/>
          <a:p>
            <a:pPr algn="ctr" eaLnBrk="0" hangingPunct="0">
              <a:lnSpc>
                <a:spcPct val="90000"/>
              </a:lnSpc>
              <a:buClr>
                <a:srgbClr val="990033"/>
              </a:buClr>
            </a:pPr>
            <a:r>
              <a:rPr lang="en-US" sz="1400" b="1" dirty="0">
                <a:solidFill>
                  <a:schemeClr val="accent2"/>
                </a:solidFill>
                <a:latin typeface="+mj-lt"/>
              </a:rPr>
              <a:t>Text</a:t>
            </a:r>
          </a:p>
        </p:txBody>
      </p:sp>
    </p:spTree>
    <p:extLst>
      <p:ext uri="{BB962C8B-B14F-4D97-AF65-F5344CB8AC3E}">
        <p14:creationId xmlns:p14="http://schemas.microsoft.com/office/powerpoint/2010/main" val="350747926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Linear Flow 18</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1" name="Rectangle 20">
            <a:hlinkClick r:id="rId3" action="ppaction://hlinksldjump"/>
            <a:extLst>
              <a:ext uri="{FF2B5EF4-FFF2-40B4-BE49-F238E27FC236}">
                <a16:creationId xmlns:a16="http://schemas.microsoft.com/office/drawing/2014/main" id="{ED5B9D94-8735-41DF-B835-2260C554602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2" name="Group 21">
            <a:extLst>
              <a:ext uri="{FF2B5EF4-FFF2-40B4-BE49-F238E27FC236}">
                <a16:creationId xmlns:a16="http://schemas.microsoft.com/office/drawing/2014/main" id="{DFB20E46-EE5A-48E0-ADEA-51A5DF150A01}"/>
              </a:ext>
            </a:extLst>
          </p:cNvPr>
          <p:cNvGrpSpPr/>
          <p:nvPr/>
        </p:nvGrpSpPr>
        <p:grpSpPr>
          <a:xfrm>
            <a:off x="345018" y="1376363"/>
            <a:ext cx="2628000" cy="4681537"/>
            <a:chOff x="345018" y="1376363"/>
            <a:chExt cx="2958570" cy="4681537"/>
          </a:xfrm>
        </p:grpSpPr>
        <p:sp>
          <p:nvSpPr>
            <p:cNvPr id="23" name="Rectangle 22">
              <a:extLst>
                <a:ext uri="{FF2B5EF4-FFF2-40B4-BE49-F238E27FC236}">
                  <a16:creationId xmlns:a16="http://schemas.microsoft.com/office/drawing/2014/main" id="{0AF111FC-181C-4930-B4AA-BBB8BABDACA1}"/>
                </a:ext>
              </a:extLst>
            </p:cNvPr>
            <p:cNvSpPr/>
            <p:nvPr/>
          </p:nvSpPr>
          <p:spPr>
            <a:xfrm>
              <a:off x="345019" y="1763714"/>
              <a:ext cx="2958569" cy="4294186"/>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4" name="TextBox 23">
              <a:extLst>
                <a:ext uri="{FF2B5EF4-FFF2-40B4-BE49-F238E27FC236}">
                  <a16:creationId xmlns:a16="http://schemas.microsoft.com/office/drawing/2014/main" id="{DC954F12-CD35-4180-8B34-2E153AB4675E}"/>
                </a:ext>
              </a:extLst>
            </p:cNvPr>
            <p:cNvSpPr txBox="1"/>
            <p:nvPr/>
          </p:nvSpPr>
          <p:spPr>
            <a:xfrm>
              <a:off x="345018" y="1376363"/>
              <a:ext cx="2958569" cy="387350"/>
            </a:xfrm>
            <a:prstGeom prst="rect">
              <a:avLst/>
            </a:prstGeom>
            <a:solidFill>
              <a:schemeClr val="tx2"/>
            </a:solidFill>
            <a:ln w="19050">
              <a:noFill/>
            </a:ln>
          </p:spPr>
          <p:txBody>
            <a:bodyPr vert="horz" wrap="square" lIns="0" tIns="36000" rIns="0" bIns="0" rtlCol="0" anchor="ctr">
              <a:noAutofit/>
            </a:bodyPr>
            <a:lstStyle/>
            <a:p>
              <a:pPr algn="ctr">
                <a:lnSpc>
                  <a:spcPct val="85000"/>
                </a:lnSpc>
              </a:pPr>
              <a:r>
                <a:rPr lang="en-AU" dirty="0">
                  <a:solidFill>
                    <a:schemeClr val="bg1"/>
                  </a:solidFill>
                  <a:latin typeface="+mj-lt"/>
                </a:rPr>
                <a:t>Text</a:t>
              </a:r>
            </a:p>
          </p:txBody>
        </p:sp>
      </p:grpSp>
      <p:grpSp>
        <p:nvGrpSpPr>
          <p:cNvPr id="25" name="Group 24">
            <a:extLst>
              <a:ext uri="{FF2B5EF4-FFF2-40B4-BE49-F238E27FC236}">
                <a16:creationId xmlns:a16="http://schemas.microsoft.com/office/drawing/2014/main" id="{3CB006F9-AA10-423D-BCB4-8D49BF8E0E60}"/>
              </a:ext>
            </a:extLst>
          </p:cNvPr>
          <p:cNvGrpSpPr/>
          <p:nvPr/>
        </p:nvGrpSpPr>
        <p:grpSpPr>
          <a:xfrm>
            <a:off x="3306359" y="1376363"/>
            <a:ext cx="2628000" cy="4681537"/>
            <a:chOff x="3561943" y="1376363"/>
            <a:chExt cx="2958570" cy="4681537"/>
          </a:xfrm>
        </p:grpSpPr>
        <p:sp>
          <p:nvSpPr>
            <p:cNvPr id="26" name="Rectangle 25">
              <a:extLst>
                <a:ext uri="{FF2B5EF4-FFF2-40B4-BE49-F238E27FC236}">
                  <a16:creationId xmlns:a16="http://schemas.microsoft.com/office/drawing/2014/main" id="{FB59C084-FC2B-49A7-97A3-7287BB98F30A}"/>
                </a:ext>
              </a:extLst>
            </p:cNvPr>
            <p:cNvSpPr/>
            <p:nvPr/>
          </p:nvSpPr>
          <p:spPr>
            <a:xfrm>
              <a:off x="3561944" y="1763714"/>
              <a:ext cx="2958569" cy="4294186"/>
            </a:xfrm>
            <a:prstGeom prst="rect">
              <a:avLst/>
            </a:prstGeom>
            <a:solidFill>
              <a:schemeClr val="accent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7" name="TextBox 26">
              <a:extLst>
                <a:ext uri="{FF2B5EF4-FFF2-40B4-BE49-F238E27FC236}">
                  <a16:creationId xmlns:a16="http://schemas.microsoft.com/office/drawing/2014/main" id="{3D599922-EE7F-47FC-9D8B-3CDA28D06736}"/>
                </a:ext>
              </a:extLst>
            </p:cNvPr>
            <p:cNvSpPr txBox="1"/>
            <p:nvPr/>
          </p:nvSpPr>
          <p:spPr>
            <a:xfrm>
              <a:off x="3561943" y="1376363"/>
              <a:ext cx="2958569" cy="387350"/>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dirty="0">
                  <a:solidFill>
                    <a:schemeClr val="bg1"/>
                  </a:solidFill>
                  <a:latin typeface="+mj-lt"/>
                </a:rPr>
                <a:t>Text</a:t>
              </a:r>
            </a:p>
          </p:txBody>
        </p:sp>
      </p:grpSp>
      <p:grpSp>
        <p:nvGrpSpPr>
          <p:cNvPr id="28" name="Group 27">
            <a:extLst>
              <a:ext uri="{FF2B5EF4-FFF2-40B4-BE49-F238E27FC236}">
                <a16:creationId xmlns:a16="http://schemas.microsoft.com/office/drawing/2014/main" id="{210D1914-4735-4A20-8276-7A2BA82D3AB4}"/>
              </a:ext>
            </a:extLst>
          </p:cNvPr>
          <p:cNvGrpSpPr/>
          <p:nvPr/>
        </p:nvGrpSpPr>
        <p:grpSpPr>
          <a:xfrm>
            <a:off x="6267700" y="1376363"/>
            <a:ext cx="2628000" cy="4681537"/>
            <a:chOff x="345018" y="1376363"/>
            <a:chExt cx="2958570" cy="4681537"/>
          </a:xfrm>
        </p:grpSpPr>
        <p:sp>
          <p:nvSpPr>
            <p:cNvPr id="29" name="Rectangle 28">
              <a:extLst>
                <a:ext uri="{FF2B5EF4-FFF2-40B4-BE49-F238E27FC236}">
                  <a16:creationId xmlns:a16="http://schemas.microsoft.com/office/drawing/2014/main" id="{A015C437-9492-4908-8C25-AA41C7443D24}"/>
                </a:ext>
              </a:extLst>
            </p:cNvPr>
            <p:cNvSpPr/>
            <p:nvPr/>
          </p:nvSpPr>
          <p:spPr>
            <a:xfrm>
              <a:off x="345019" y="1763714"/>
              <a:ext cx="2958569" cy="4294186"/>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30" name="TextBox 29">
              <a:extLst>
                <a:ext uri="{FF2B5EF4-FFF2-40B4-BE49-F238E27FC236}">
                  <a16:creationId xmlns:a16="http://schemas.microsoft.com/office/drawing/2014/main" id="{1F166D02-9DFA-4684-A517-D29976E4D488}"/>
                </a:ext>
              </a:extLst>
            </p:cNvPr>
            <p:cNvSpPr txBox="1"/>
            <p:nvPr/>
          </p:nvSpPr>
          <p:spPr>
            <a:xfrm>
              <a:off x="345018" y="1376363"/>
              <a:ext cx="2958569" cy="387350"/>
            </a:xfrm>
            <a:prstGeom prst="rect">
              <a:avLst/>
            </a:prstGeom>
            <a:solidFill>
              <a:schemeClr val="tx2"/>
            </a:solidFill>
            <a:ln w="19050">
              <a:noFill/>
            </a:ln>
          </p:spPr>
          <p:txBody>
            <a:bodyPr vert="horz" wrap="square" lIns="0" tIns="36000" rIns="0" bIns="0" rtlCol="0" anchor="ctr">
              <a:noAutofit/>
            </a:bodyPr>
            <a:lstStyle/>
            <a:p>
              <a:pPr algn="ctr">
                <a:lnSpc>
                  <a:spcPct val="85000"/>
                </a:lnSpc>
              </a:pPr>
              <a:r>
                <a:rPr lang="en-AU" dirty="0">
                  <a:solidFill>
                    <a:schemeClr val="bg1"/>
                  </a:solidFill>
                  <a:latin typeface="+mj-lt"/>
                </a:rPr>
                <a:t>Text</a:t>
              </a:r>
            </a:p>
          </p:txBody>
        </p:sp>
      </p:grpSp>
      <p:grpSp>
        <p:nvGrpSpPr>
          <p:cNvPr id="31" name="Group 30">
            <a:extLst>
              <a:ext uri="{FF2B5EF4-FFF2-40B4-BE49-F238E27FC236}">
                <a16:creationId xmlns:a16="http://schemas.microsoft.com/office/drawing/2014/main" id="{4292CD7C-BDCC-4A7D-B8BD-EA079DD58951}"/>
              </a:ext>
            </a:extLst>
          </p:cNvPr>
          <p:cNvGrpSpPr/>
          <p:nvPr/>
        </p:nvGrpSpPr>
        <p:grpSpPr>
          <a:xfrm>
            <a:off x="9229038" y="1376363"/>
            <a:ext cx="2628000" cy="4681537"/>
            <a:chOff x="3561943" y="1376363"/>
            <a:chExt cx="2958570" cy="4681537"/>
          </a:xfrm>
        </p:grpSpPr>
        <p:sp>
          <p:nvSpPr>
            <p:cNvPr id="32" name="Rectangle 31">
              <a:extLst>
                <a:ext uri="{FF2B5EF4-FFF2-40B4-BE49-F238E27FC236}">
                  <a16:creationId xmlns:a16="http://schemas.microsoft.com/office/drawing/2014/main" id="{B5A5F9FE-59FA-412C-9906-2CADFE834D82}"/>
                </a:ext>
              </a:extLst>
            </p:cNvPr>
            <p:cNvSpPr/>
            <p:nvPr/>
          </p:nvSpPr>
          <p:spPr>
            <a:xfrm>
              <a:off x="3561944" y="1763714"/>
              <a:ext cx="2958569" cy="4294186"/>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33" name="TextBox 32">
              <a:extLst>
                <a:ext uri="{FF2B5EF4-FFF2-40B4-BE49-F238E27FC236}">
                  <a16:creationId xmlns:a16="http://schemas.microsoft.com/office/drawing/2014/main" id="{25E8865D-A488-4E11-9FD7-BB324C971370}"/>
                </a:ext>
              </a:extLst>
            </p:cNvPr>
            <p:cNvSpPr txBox="1"/>
            <p:nvPr/>
          </p:nvSpPr>
          <p:spPr>
            <a:xfrm>
              <a:off x="3561943" y="1376363"/>
              <a:ext cx="2958569" cy="387350"/>
            </a:xfrm>
            <a:prstGeom prst="rect">
              <a:avLst/>
            </a:prstGeom>
            <a:solidFill>
              <a:schemeClr val="tx2"/>
            </a:solidFill>
            <a:ln w="19050">
              <a:noFill/>
            </a:ln>
          </p:spPr>
          <p:txBody>
            <a:bodyPr vert="horz" wrap="square" lIns="0" tIns="36000" rIns="0" bIns="0" rtlCol="0" anchor="ctr">
              <a:noAutofit/>
            </a:bodyPr>
            <a:lstStyle/>
            <a:p>
              <a:pPr algn="ctr">
                <a:lnSpc>
                  <a:spcPct val="85000"/>
                </a:lnSpc>
              </a:pPr>
              <a:r>
                <a:rPr lang="en-AU" dirty="0">
                  <a:solidFill>
                    <a:schemeClr val="bg1"/>
                  </a:solidFill>
                  <a:latin typeface="+mj-lt"/>
                </a:rPr>
                <a:t>Text</a:t>
              </a:r>
            </a:p>
          </p:txBody>
        </p:sp>
      </p:grpSp>
      <p:sp>
        <p:nvSpPr>
          <p:cNvPr id="34" name="Arrow: Chevron 33">
            <a:extLst>
              <a:ext uri="{FF2B5EF4-FFF2-40B4-BE49-F238E27FC236}">
                <a16:creationId xmlns:a16="http://schemas.microsoft.com/office/drawing/2014/main" id="{A7C7C76B-C2B4-434A-ACA0-2F6BBAB49DF9}"/>
              </a:ext>
            </a:extLst>
          </p:cNvPr>
          <p:cNvSpPr/>
          <p:nvPr/>
        </p:nvSpPr>
        <p:spPr>
          <a:xfrm>
            <a:off x="2986007" y="3505927"/>
            <a:ext cx="307363" cy="4224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35" name="Arrow: Chevron 34">
            <a:extLst>
              <a:ext uri="{FF2B5EF4-FFF2-40B4-BE49-F238E27FC236}">
                <a16:creationId xmlns:a16="http://schemas.microsoft.com/office/drawing/2014/main" id="{9F87B42E-C23D-4A7C-A029-16619D86D0F0}"/>
              </a:ext>
            </a:extLst>
          </p:cNvPr>
          <p:cNvSpPr/>
          <p:nvPr/>
        </p:nvSpPr>
        <p:spPr>
          <a:xfrm>
            <a:off x="5947348" y="3505927"/>
            <a:ext cx="307363" cy="4224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36" name="Arrow: Chevron 35">
            <a:extLst>
              <a:ext uri="{FF2B5EF4-FFF2-40B4-BE49-F238E27FC236}">
                <a16:creationId xmlns:a16="http://schemas.microsoft.com/office/drawing/2014/main" id="{0C51AE56-3B27-4758-808F-7ABD45F9F165}"/>
              </a:ext>
            </a:extLst>
          </p:cNvPr>
          <p:cNvSpPr/>
          <p:nvPr/>
        </p:nvSpPr>
        <p:spPr>
          <a:xfrm>
            <a:off x="8908689" y="3505927"/>
            <a:ext cx="307363" cy="4224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07642249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Chevrons</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2103951-435C-49AC-9C0F-3FE7CBE273D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1" name="Group 4">
            <a:extLst>
              <a:ext uri="{FF2B5EF4-FFF2-40B4-BE49-F238E27FC236}">
                <a16:creationId xmlns:a16="http://schemas.microsoft.com/office/drawing/2014/main" id="{6703905E-4DCF-45D3-ACDD-7964985BC8D7}"/>
              </a:ext>
            </a:extLst>
          </p:cNvPr>
          <p:cNvGrpSpPr>
            <a:grpSpLocks/>
          </p:cNvGrpSpPr>
          <p:nvPr/>
        </p:nvGrpSpPr>
        <p:grpSpPr bwMode="auto">
          <a:xfrm>
            <a:off x="3939647" y="1402270"/>
            <a:ext cx="4322762" cy="4675188"/>
            <a:chOff x="1999" y="1656"/>
            <a:chExt cx="1765" cy="1934"/>
          </a:xfrm>
        </p:grpSpPr>
        <p:sp>
          <p:nvSpPr>
            <p:cNvPr id="12" name="Freeform 5">
              <a:extLst>
                <a:ext uri="{FF2B5EF4-FFF2-40B4-BE49-F238E27FC236}">
                  <a16:creationId xmlns:a16="http://schemas.microsoft.com/office/drawing/2014/main" id="{B7274B3D-8CCB-471C-BCEB-7E0E5D03DEC7}"/>
                </a:ext>
              </a:extLst>
            </p:cNvPr>
            <p:cNvSpPr>
              <a:spLocks/>
            </p:cNvSpPr>
            <p:nvPr/>
          </p:nvSpPr>
          <p:spPr bwMode="auto">
            <a:xfrm>
              <a:off x="1999" y="2851"/>
              <a:ext cx="1765" cy="739"/>
            </a:xfrm>
            <a:custGeom>
              <a:avLst/>
              <a:gdLst/>
              <a:ahLst/>
              <a:cxnLst>
                <a:cxn ang="0">
                  <a:pos x="0" y="665"/>
                </a:cxn>
                <a:cxn ang="0">
                  <a:pos x="0" y="0"/>
                </a:cxn>
                <a:cxn ang="0">
                  <a:pos x="466" y="250"/>
                </a:cxn>
                <a:cxn ang="0">
                  <a:pos x="935" y="0"/>
                </a:cxn>
                <a:cxn ang="0">
                  <a:pos x="935" y="671"/>
                </a:cxn>
                <a:cxn ang="0">
                  <a:pos x="463" y="920"/>
                </a:cxn>
                <a:cxn ang="0">
                  <a:pos x="0" y="665"/>
                </a:cxn>
              </a:cxnLst>
              <a:rect l="0" t="0" r="r" b="b"/>
              <a:pathLst>
                <a:path w="936" h="921">
                  <a:moveTo>
                    <a:pt x="0" y="665"/>
                  </a:moveTo>
                  <a:lnTo>
                    <a:pt x="0" y="0"/>
                  </a:lnTo>
                  <a:lnTo>
                    <a:pt x="466" y="250"/>
                  </a:lnTo>
                  <a:lnTo>
                    <a:pt x="935" y="0"/>
                  </a:lnTo>
                  <a:lnTo>
                    <a:pt x="935" y="671"/>
                  </a:lnTo>
                  <a:lnTo>
                    <a:pt x="463" y="920"/>
                  </a:lnTo>
                  <a:lnTo>
                    <a:pt x="0" y="665"/>
                  </a:lnTo>
                </a:path>
              </a:pathLst>
            </a:custGeom>
            <a:solidFill>
              <a:schemeClr val="accent1"/>
            </a:solidFill>
            <a:ln w="6350" cap="rnd" cmpd="sng">
              <a:noFill/>
              <a:prstDash val="solid"/>
              <a:round/>
              <a:headEnd type="none" w="med" len="med"/>
              <a:tailEnd type="none" w="med" len="med"/>
            </a:ln>
            <a:effectLst/>
          </p:spPr>
          <p:txBody>
            <a:bodyPr lIns="45720" rIns="45720"/>
            <a:lstStyle/>
            <a:p>
              <a:endParaRPr lang="en-US"/>
            </a:p>
          </p:txBody>
        </p:sp>
        <p:sp>
          <p:nvSpPr>
            <p:cNvPr id="13" name="Freeform 6">
              <a:extLst>
                <a:ext uri="{FF2B5EF4-FFF2-40B4-BE49-F238E27FC236}">
                  <a16:creationId xmlns:a16="http://schemas.microsoft.com/office/drawing/2014/main" id="{EBE29E0B-9EE3-45CE-9CEB-CE3DA2EB347B}"/>
                </a:ext>
              </a:extLst>
            </p:cNvPr>
            <p:cNvSpPr>
              <a:spLocks/>
            </p:cNvSpPr>
            <p:nvPr/>
          </p:nvSpPr>
          <p:spPr bwMode="auto">
            <a:xfrm>
              <a:off x="1999" y="2257"/>
              <a:ext cx="1765" cy="739"/>
            </a:xfrm>
            <a:custGeom>
              <a:avLst/>
              <a:gdLst/>
              <a:ahLst/>
              <a:cxnLst>
                <a:cxn ang="0">
                  <a:pos x="0" y="665"/>
                </a:cxn>
                <a:cxn ang="0">
                  <a:pos x="0" y="0"/>
                </a:cxn>
                <a:cxn ang="0">
                  <a:pos x="466" y="250"/>
                </a:cxn>
                <a:cxn ang="0">
                  <a:pos x="935" y="0"/>
                </a:cxn>
                <a:cxn ang="0">
                  <a:pos x="935" y="672"/>
                </a:cxn>
                <a:cxn ang="0">
                  <a:pos x="464" y="921"/>
                </a:cxn>
                <a:cxn ang="0">
                  <a:pos x="0" y="665"/>
                </a:cxn>
              </a:cxnLst>
              <a:rect l="0" t="0" r="r" b="b"/>
              <a:pathLst>
                <a:path w="936" h="922">
                  <a:moveTo>
                    <a:pt x="0" y="665"/>
                  </a:moveTo>
                  <a:lnTo>
                    <a:pt x="0" y="0"/>
                  </a:lnTo>
                  <a:lnTo>
                    <a:pt x="466" y="250"/>
                  </a:lnTo>
                  <a:lnTo>
                    <a:pt x="935" y="0"/>
                  </a:lnTo>
                  <a:lnTo>
                    <a:pt x="935" y="672"/>
                  </a:lnTo>
                  <a:lnTo>
                    <a:pt x="464" y="921"/>
                  </a:lnTo>
                  <a:lnTo>
                    <a:pt x="0" y="665"/>
                  </a:lnTo>
                </a:path>
              </a:pathLst>
            </a:custGeom>
            <a:solidFill>
              <a:schemeClr val="accent2"/>
            </a:solidFill>
            <a:ln w="6350" cap="rnd" cmpd="sng">
              <a:noFill/>
              <a:prstDash val="solid"/>
              <a:round/>
              <a:headEnd type="none" w="med" len="med"/>
              <a:tailEnd type="none" w="med" len="med"/>
            </a:ln>
            <a:effectLst/>
          </p:spPr>
          <p:txBody>
            <a:bodyPr lIns="45720" rIns="45720"/>
            <a:lstStyle/>
            <a:p>
              <a:endParaRPr lang="en-US"/>
            </a:p>
          </p:txBody>
        </p:sp>
        <p:sp>
          <p:nvSpPr>
            <p:cNvPr id="14" name="Rectangle 7">
              <a:extLst>
                <a:ext uri="{FF2B5EF4-FFF2-40B4-BE49-F238E27FC236}">
                  <a16:creationId xmlns:a16="http://schemas.microsoft.com/office/drawing/2014/main" id="{AFB3E84A-84A5-4AAF-85FF-6D82192A6750}"/>
                </a:ext>
              </a:extLst>
            </p:cNvPr>
            <p:cNvSpPr>
              <a:spLocks noChangeArrowheads="1"/>
            </p:cNvSpPr>
            <p:nvPr/>
          </p:nvSpPr>
          <p:spPr bwMode="auto">
            <a:xfrm>
              <a:off x="2736" y="2578"/>
              <a:ext cx="291" cy="179"/>
            </a:xfrm>
            <a:prstGeom prst="rect">
              <a:avLst/>
            </a:prstGeom>
            <a:noFill/>
            <a:ln w="6350">
              <a:noFill/>
              <a:miter lim="800000"/>
              <a:headEnd/>
              <a:tailEnd/>
            </a:ln>
            <a:effectLst/>
          </p:spPr>
          <p:txBody>
            <a:bodyPr wrap="none" lIns="45720" rIns="45720"/>
            <a:lstStyle/>
            <a:p>
              <a:pPr marL="209550" indent="-209550" algn="ctr" defTabSz="922338" eaLnBrk="0" hangingPunct="0"/>
              <a:r>
                <a:rPr lang="en-GB" b="1" dirty="0">
                  <a:solidFill>
                    <a:schemeClr val="bg1"/>
                  </a:solidFill>
                </a:rPr>
                <a:t>Text</a:t>
              </a:r>
            </a:p>
          </p:txBody>
        </p:sp>
        <p:sp>
          <p:nvSpPr>
            <p:cNvPr id="15" name="Rectangle 8">
              <a:extLst>
                <a:ext uri="{FF2B5EF4-FFF2-40B4-BE49-F238E27FC236}">
                  <a16:creationId xmlns:a16="http://schemas.microsoft.com/office/drawing/2014/main" id="{C88974E8-5773-4926-9D71-ED83327EB30F}"/>
                </a:ext>
              </a:extLst>
            </p:cNvPr>
            <p:cNvSpPr>
              <a:spLocks noChangeArrowheads="1"/>
            </p:cNvSpPr>
            <p:nvPr/>
          </p:nvSpPr>
          <p:spPr bwMode="auto">
            <a:xfrm>
              <a:off x="2736" y="3185"/>
              <a:ext cx="291" cy="179"/>
            </a:xfrm>
            <a:prstGeom prst="rect">
              <a:avLst/>
            </a:prstGeom>
            <a:noFill/>
            <a:ln w="6350">
              <a:noFill/>
              <a:miter lim="800000"/>
              <a:headEnd/>
              <a:tailEnd/>
            </a:ln>
            <a:effectLst/>
          </p:spPr>
          <p:txBody>
            <a:bodyPr wrap="none" lIns="45720" rIns="45720"/>
            <a:lstStyle/>
            <a:p>
              <a:pPr marL="209550" indent="-209550" algn="ctr" defTabSz="922338" eaLnBrk="0" hangingPunct="0"/>
              <a:r>
                <a:rPr lang="en-GB" b="1">
                  <a:solidFill>
                    <a:schemeClr val="bg1"/>
                  </a:solidFill>
                </a:rPr>
                <a:t>Text</a:t>
              </a:r>
            </a:p>
          </p:txBody>
        </p:sp>
        <p:sp>
          <p:nvSpPr>
            <p:cNvPr id="16" name="AutoShape 9">
              <a:extLst>
                <a:ext uri="{FF2B5EF4-FFF2-40B4-BE49-F238E27FC236}">
                  <a16:creationId xmlns:a16="http://schemas.microsoft.com/office/drawing/2014/main" id="{54B0FAA4-8107-4269-89A9-2A0A82E71E17}"/>
                </a:ext>
              </a:extLst>
            </p:cNvPr>
            <p:cNvSpPr>
              <a:spLocks noChangeArrowheads="1"/>
            </p:cNvSpPr>
            <p:nvPr/>
          </p:nvSpPr>
          <p:spPr bwMode="auto">
            <a:xfrm rot="5400000">
              <a:off x="2512" y="1148"/>
              <a:ext cx="739" cy="1756"/>
            </a:xfrm>
            <a:prstGeom prst="homePlate">
              <a:avLst>
                <a:gd name="adj" fmla="val 26255"/>
              </a:avLst>
            </a:prstGeom>
            <a:solidFill>
              <a:schemeClr val="accent3"/>
            </a:solidFill>
            <a:ln w="6350" cap="rnd">
              <a:noFill/>
              <a:miter lim="800000"/>
              <a:headEnd/>
              <a:tailEnd/>
            </a:ln>
            <a:effectLst/>
          </p:spPr>
          <p:txBody>
            <a:bodyPr rot="10800000" vert="eaVert" wrap="none" lIns="45720" rIns="45720" anchor="ctr"/>
            <a:lstStyle/>
            <a:p>
              <a:pPr algn="ctr" eaLnBrk="0" hangingPunct="0"/>
              <a:r>
                <a:rPr lang="en-US" b="1" dirty="0">
                  <a:solidFill>
                    <a:schemeClr val="bg1"/>
                  </a:solidFill>
                </a:rPr>
                <a:t>Text</a:t>
              </a:r>
            </a:p>
          </p:txBody>
        </p:sp>
      </p:grpSp>
    </p:spTree>
    <p:extLst>
      <p:ext uri="{BB962C8B-B14F-4D97-AF65-F5344CB8AC3E}">
        <p14:creationId xmlns:p14="http://schemas.microsoft.com/office/powerpoint/2010/main" val="181343485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Steps – Descending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22229A6-9A47-47F1-8FAB-DF5625050F6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2" name="Group 4">
            <a:extLst>
              <a:ext uri="{FF2B5EF4-FFF2-40B4-BE49-F238E27FC236}">
                <a16:creationId xmlns:a16="http://schemas.microsoft.com/office/drawing/2014/main" id="{B4C83122-CBBC-4696-A98A-4D5C07F92560}"/>
              </a:ext>
            </a:extLst>
          </p:cNvPr>
          <p:cNvGrpSpPr>
            <a:grpSpLocks/>
          </p:cNvGrpSpPr>
          <p:nvPr/>
        </p:nvGrpSpPr>
        <p:grpSpPr bwMode="auto">
          <a:xfrm>
            <a:off x="345019" y="1879896"/>
            <a:ext cx="11512020" cy="3776400"/>
            <a:chOff x="202" y="1457"/>
            <a:chExt cx="5359" cy="2653"/>
          </a:xfrm>
          <a:solidFill>
            <a:schemeClr val="accent6"/>
          </a:solidFill>
        </p:grpSpPr>
        <p:sp>
          <p:nvSpPr>
            <p:cNvPr id="13" name="AutoShape 5">
              <a:extLst>
                <a:ext uri="{FF2B5EF4-FFF2-40B4-BE49-F238E27FC236}">
                  <a16:creationId xmlns:a16="http://schemas.microsoft.com/office/drawing/2014/main" id="{573B272D-4473-457B-86A9-D9C204BE6864}"/>
                </a:ext>
              </a:extLst>
            </p:cNvPr>
            <p:cNvSpPr>
              <a:spLocks noChangeArrowheads="1"/>
            </p:cNvSpPr>
            <p:nvPr/>
          </p:nvSpPr>
          <p:spPr bwMode="auto">
            <a:xfrm>
              <a:off x="4534" y="3621"/>
              <a:ext cx="1027" cy="489"/>
            </a:xfrm>
            <a:prstGeom prst="homePlate">
              <a:avLst>
                <a:gd name="adj" fmla="val 13399"/>
              </a:avLst>
            </a:prstGeom>
            <a:solidFill>
              <a:schemeClr val="accent4"/>
            </a:solidFill>
            <a:ln w="19050" cap="rnd">
              <a:solidFill>
                <a:schemeClr val="bg1"/>
              </a:solidFill>
              <a:miter lim="800000"/>
              <a:headEnd/>
              <a:tailEnd/>
            </a:ln>
            <a:effectLst/>
          </p:spPr>
          <p:txBody>
            <a:bodyPr wrap="none" lIns="180000" tIns="72000" rIns="72000" bIns="72000" anchor="ctr"/>
            <a:lstStyle/>
            <a:p>
              <a:pPr algn="l" eaLnBrk="0" hangingPunct="0"/>
              <a:r>
                <a:rPr lang="en-GB" sz="1400" b="1">
                  <a:solidFill>
                    <a:schemeClr val="bg1"/>
                  </a:solidFill>
                </a:rPr>
                <a:t>Text</a:t>
              </a:r>
            </a:p>
          </p:txBody>
        </p:sp>
        <p:sp>
          <p:nvSpPr>
            <p:cNvPr id="14" name="AutoShape 6">
              <a:extLst>
                <a:ext uri="{FF2B5EF4-FFF2-40B4-BE49-F238E27FC236}">
                  <a16:creationId xmlns:a16="http://schemas.microsoft.com/office/drawing/2014/main" id="{FA83883D-23B6-4DBA-B144-A9011BA213A3}"/>
                </a:ext>
              </a:extLst>
            </p:cNvPr>
            <p:cNvSpPr>
              <a:spLocks noChangeArrowheads="1"/>
            </p:cNvSpPr>
            <p:nvPr/>
          </p:nvSpPr>
          <p:spPr bwMode="auto">
            <a:xfrm>
              <a:off x="3666" y="3187"/>
              <a:ext cx="1030" cy="491"/>
            </a:xfrm>
            <a:prstGeom prst="homePlate">
              <a:avLst>
                <a:gd name="adj" fmla="val 13393"/>
              </a:avLst>
            </a:prstGeom>
            <a:solidFill>
              <a:schemeClr val="accent5"/>
            </a:solidFill>
            <a:ln w="19050" cap="rnd">
              <a:solidFill>
                <a:schemeClr val="bg1"/>
              </a:solidFill>
              <a:miter lim="800000"/>
              <a:headEnd/>
              <a:tailEnd/>
            </a:ln>
            <a:effectLst/>
          </p:spPr>
          <p:txBody>
            <a:bodyPr wrap="none" lIns="180000" tIns="72000" rIns="72000" bIns="72000" anchor="ctr"/>
            <a:lstStyle/>
            <a:p>
              <a:pPr algn="l" eaLnBrk="0" hangingPunct="0"/>
              <a:r>
                <a:rPr lang="en-GB" sz="1400" b="1">
                  <a:solidFill>
                    <a:schemeClr val="bg1"/>
                  </a:solidFill>
                </a:rPr>
                <a:t>Text</a:t>
              </a:r>
            </a:p>
          </p:txBody>
        </p:sp>
        <p:sp>
          <p:nvSpPr>
            <p:cNvPr id="15" name="AutoShape 7">
              <a:extLst>
                <a:ext uri="{FF2B5EF4-FFF2-40B4-BE49-F238E27FC236}">
                  <a16:creationId xmlns:a16="http://schemas.microsoft.com/office/drawing/2014/main" id="{D2B16384-1203-4714-9071-5304BA1D26CA}"/>
                </a:ext>
              </a:extLst>
            </p:cNvPr>
            <p:cNvSpPr>
              <a:spLocks noChangeArrowheads="1"/>
            </p:cNvSpPr>
            <p:nvPr/>
          </p:nvSpPr>
          <p:spPr bwMode="auto">
            <a:xfrm>
              <a:off x="2801" y="2755"/>
              <a:ext cx="1027" cy="489"/>
            </a:xfrm>
            <a:prstGeom prst="homePlate">
              <a:avLst>
                <a:gd name="adj" fmla="val 13399"/>
              </a:avLst>
            </a:prstGeom>
            <a:solidFill>
              <a:schemeClr val="accent6"/>
            </a:solidFill>
            <a:ln w="19050" cap="rnd">
              <a:solidFill>
                <a:schemeClr val="bg1"/>
              </a:solidFill>
              <a:miter lim="800000"/>
              <a:headEnd/>
              <a:tailEnd/>
            </a:ln>
            <a:effectLst/>
          </p:spPr>
          <p:txBody>
            <a:bodyPr wrap="none" lIns="180000" tIns="72000" rIns="72000" bIns="72000" anchor="ctr"/>
            <a:lstStyle/>
            <a:p>
              <a:pPr algn="l" eaLnBrk="0" hangingPunct="0"/>
              <a:r>
                <a:rPr lang="en-GB" sz="1400" b="1">
                  <a:solidFill>
                    <a:schemeClr val="bg1"/>
                  </a:solidFill>
                </a:rPr>
                <a:t>Text</a:t>
              </a:r>
            </a:p>
          </p:txBody>
        </p:sp>
        <p:sp>
          <p:nvSpPr>
            <p:cNvPr id="16" name="AutoShape 8">
              <a:extLst>
                <a:ext uri="{FF2B5EF4-FFF2-40B4-BE49-F238E27FC236}">
                  <a16:creationId xmlns:a16="http://schemas.microsoft.com/office/drawing/2014/main" id="{17E6149A-6E3B-4199-9CB4-91834A2ACFDC}"/>
                </a:ext>
              </a:extLst>
            </p:cNvPr>
            <p:cNvSpPr>
              <a:spLocks noChangeArrowheads="1"/>
            </p:cNvSpPr>
            <p:nvPr/>
          </p:nvSpPr>
          <p:spPr bwMode="auto">
            <a:xfrm>
              <a:off x="1935" y="2322"/>
              <a:ext cx="1027" cy="489"/>
            </a:xfrm>
            <a:prstGeom prst="homePlate">
              <a:avLst>
                <a:gd name="adj" fmla="val 13399"/>
              </a:avLst>
            </a:prstGeom>
            <a:solidFill>
              <a:schemeClr val="accent1"/>
            </a:solidFill>
            <a:ln w="19050" cap="rnd">
              <a:solidFill>
                <a:schemeClr val="bg1"/>
              </a:solidFill>
              <a:miter lim="800000"/>
              <a:headEnd/>
              <a:tailEnd/>
            </a:ln>
            <a:effectLst/>
          </p:spPr>
          <p:txBody>
            <a:bodyPr wrap="none" lIns="180000" tIns="72000" rIns="72000" bIns="72000" anchor="ctr"/>
            <a:lstStyle/>
            <a:p>
              <a:pPr algn="l" eaLnBrk="0" hangingPunct="0"/>
              <a:r>
                <a:rPr lang="en-GB" sz="1400" b="1">
                  <a:solidFill>
                    <a:schemeClr val="bg1"/>
                  </a:solidFill>
                </a:rPr>
                <a:t>Text</a:t>
              </a:r>
            </a:p>
          </p:txBody>
        </p:sp>
        <p:sp>
          <p:nvSpPr>
            <p:cNvPr id="17" name="AutoShape 9">
              <a:extLst>
                <a:ext uri="{FF2B5EF4-FFF2-40B4-BE49-F238E27FC236}">
                  <a16:creationId xmlns:a16="http://schemas.microsoft.com/office/drawing/2014/main" id="{42CC9FA1-1EB4-44F8-866C-76E8A0AEE937}"/>
                </a:ext>
              </a:extLst>
            </p:cNvPr>
            <p:cNvSpPr>
              <a:spLocks noChangeArrowheads="1"/>
            </p:cNvSpPr>
            <p:nvPr/>
          </p:nvSpPr>
          <p:spPr bwMode="auto">
            <a:xfrm>
              <a:off x="1069" y="1890"/>
              <a:ext cx="1028" cy="489"/>
            </a:xfrm>
            <a:prstGeom prst="homePlate">
              <a:avLst>
                <a:gd name="adj" fmla="val 13402"/>
              </a:avLst>
            </a:prstGeom>
            <a:solidFill>
              <a:schemeClr val="accent2"/>
            </a:solidFill>
            <a:ln w="19050" cap="rnd">
              <a:solidFill>
                <a:schemeClr val="bg1"/>
              </a:solidFill>
              <a:miter lim="800000"/>
              <a:headEnd/>
              <a:tailEnd/>
            </a:ln>
            <a:effectLst/>
          </p:spPr>
          <p:txBody>
            <a:bodyPr wrap="none" lIns="180000" tIns="72000" rIns="72000" bIns="72000" anchor="ctr"/>
            <a:lstStyle/>
            <a:p>
              <a:pPr algn="l" eaLnBrk="0" hangingPunct="0"/>
              <a:r>
                <a:rPr lang="en-GB" sz="1400" b="1">
                  <a:solidFill>
                    <a:schemeClr val="bg1"/>
                  </a:solidFill>
                </a:rPr>
                <a:t>Text</a:t>
              </a:r>
            </a:p>
          </p:txBody>
        </p:sp>
        <p:sp>
          <p:nvSpPr>
            <p:cNvPr id="18" name="AutoShape 10">
              <a:extLst>
                <a:ext uri="{FF2B5EF4-FFF2-40B4-BE49-F238E27FC236}">
                  <a16:creationId xmlns:a16="http://schemas.microsoft.com/office/drawing/2014/main" id="{C069DD61-7244-4B22-B0C6-C519C3072228}"/>
                </a:ext>
              </a:extLst>
            </p:cNvPr>
            <p:cNvSpPr>
              <a:spLocks noChangeArrowheads="1"/>
            </p:cNvSpPr>
            <p:nvPr/>
          </p:nvSpPr>
          <p:spPr bwMode="auto">
            <a:xfrm>
              <a:off x="202" y="1457"/>
              <a:ext cx="1027" cy="489"/>
            </a:xfrm>
            <a:prstGeom prst="homePlate">
              <a:avLst>
                <a:gd name="adj" fmla="val 13399"/>
              </a:avLst>
            </a:prstGeom>
            <a:solidFill>
              <a:schemeClr val="accent3"/>
            </a:solidFill>
            <a:ln w="19050" cap="rnd">
              <a:solidFill>
                <a:schemeClr val="bg1"/>
              </a:solidFill>
              <a:miter lim="800000"/>
              <a:headEnd/>
              <a:tailEnd/>
            </a:ln>
            <a:effectLst/>
          </p:spPr>
          <p:txBody>
            <a:bodyPr wrap="none" lIns="180000" tIns="72000" rIns="72000" bIns="72000" anchor="ctr"/>
            <a:lstStyle/>
            <a:p>
              <a:pPr algn="l" eaLnBrk="0" hangingPunct="0"/>
              <a:r>
                <a:rPr lang="en-GB" sz="1400" b="1" dirty="0">
                  <a:solidFill>
                    <a:schemeClr val="bg1"/>
                  </a:solidFill>
                </a:rPr>
                <a:t>Text</a:t>
              </a:r>
            </a:p>
          </p:txBody>
        </p:sp>
      </p:grpSp>
    </p:spTree>
    <p:extLst>
      <p:ext uri="{BB962C8B-B14F-4D97-AF65-F5344CB8AC3E}">
        <p14:creationId xmlns:p14="http://schemas.microsoft.com/office/powerpoint/2010/main" val="367983709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Steps – Descending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54C8FDDF-B749-45B1-9F93-4DF88749E92B}"/>
              </a:ext>
            </a:extLst>
          </p:cNvPr>
          <p:cNvGrpSpPr/>
          <p:nvPr/>
        </p:nvGrpSpPr>
        <p:grpSpPr>
          <a:xfrm>
            <a:off x="381000" y="1834150"/>
            <a:ext cx="11429366" cy="3780000"/>
            <a:chOff x="345018" y="1834151"/>
            <a:chExt cx="11510432" cy="3775097"/>
          </a:xfrm>
        </p:grpSpPr>
        <p:sp>
          <p:nvSpPr>
            <p:cNvPr id="6" name="Rectangle 3">
              <a:extLst>
                <a:ext uri="{FF2B5EF4-FFF2-40B4-BE49-F238E27FC236}">
                  <a16:creationId xmlns:a16="http://schemas.microsoft.com/office/drawing/2014/main" id="{A053FC23-3B6B-47E4-B9DD-6C566C6490A5}"/>
                </a:ext>
              </a:extLst>
            </p:cNvPr>
            <p:cNvSpPr>
              <a:spLocks noChangeArrowheads="1"/>
            </p:cNvSpPr>
            <p:nvPr/>
          </p:nvSpPr>
          <p:spPr bwMode="auto">
            <a:xfrm>
              <a:off x="345018" y="1834151"/>
              <a:ext cx="2795015" cy="720000"/>
            </a:xfrm>
            <a:prstGeom prst="rect">
              <a:avLst/>
            </a:prstGeom>
            <a:solidFill>
              <a:schemeClr val="accent3"/>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7" name="Rectangle 4">
              <a:extLst>
                <a:ext uri="{FF2B5EF4-FFF2-40B4-BE49-F238E27FC236}">
                  <a16:creationId xmlns:a16="http://schemas.microsoft.com/office/drawing/2014/main" id="{C21B0C8C-8C1C-4367-876C-5C6363EF50F1}"/>
                </a:ext>
              </a:extLst>
            </p:cNvPr>
            <p:cNvSpPr>
              <a:spLocks noChangeArrowheads="1"/>
            </p:cNvSpPr>
            <p:nvPr/>
          </p:nvSpPr>
          <p:spPr bwMode="auto">
            <a:xfrm>
              <a:off x="2522385" y="2597925"/>
              <a:ext cx="2795015" cy="720000"/>
            </a:xfrm>
            <a:prstGeom prst="rect">
              <a:avLst/>
            </a:prstGeom>
            <a:solidFill>
              <a:schemeClr val="accent2"/>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8" name="Rectangle 5">
              <a:extLst>
                <a:ext uri="{FF2B5EF4-FFF2-40B4-BE49-F238E27FC236}">
                  <a16:creationId xmlns:a16="http://schemas.microsoft.com/office/drawing/2014/main" id="{39937A53-E20D-4112-9B5D-D494F774B8F6}"/>
                </a:ext>
              </a:extLst>
            </p:cNvPr>
            <p:cNvSpPr>
              <a:spLocks noChangeArrowheads="1"/>
            </p:cNvSpPr>
            <p:nvPr/>
          </p:nvSpPr>
          <p:spPr bwMode="auto">
            <a:xfrm>
              <a:off x="4703718" y="3361699"/>
              <a:ext cx="2795015" cy="720000"/>
            </a:xfrm>
            <a:prstGeom prst="rect">
              <a:avLst/>
            </a:prstGeom>
            <a:solidFill>
              <a:schemeClr val="accent1"/>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9" name="Rectangle 6">
              <a:extLst>
                <a:ext uri="{FF2B5EF4-FFF2-40B4-BE49-F238E27FC236}">
                  <a16:creationId xmlns:a16="http://schemas.microsoft.com/office/drawing/2014/main" id="{A9D1E1B0-DCD0-45A3-A436-5744C49AF267}"/>
                </a:ext>
              </a:extLst>
            </p:cNvPr>
            <p:cNvSpPr>
              <a:spLocks noChangeArrowheads="1"/>
            </p:cNvSpPr>
            <p:nvPr/>
          </p:nvSpPr>
          <p:spPr bwMode="auto">
            <a:xfrm>
              <a:off x="6881085" y="4125473"/>
              <a:ext cx="2795015" cy="720000"/>
            </a:xfrm>
            <a:prstGeom prst="rect">
              <a:avLst/>
            </a:prstGeom>
            <a:solidFill>
              <a:schemeClr val="accent5"/>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0" name="Rectangle 7">
              <a:extLst>
                <a:ext uri="{FF2B5EF4-FFF2-40B4-BE49-F238E27FC236}">
                  <a16:creationId xmlns:a16="http://schemas.microsoft.com/office/drawing/2014/main" id="{07EF3F30-77BD-4492-8C63-6D2973B3E081}"/>
                </a:ext>
              </a:extLst>
            </p:cNvPr>
            <p:cNvSpPr>
              <a:spLocks noChangeArrowheads="1"/>
            </p:cNvSpPr>
            <p:nvPr/>
          </p:nvSpPr>
          <p:spPr bwMode="auto">
            <a:xfrm>
              <a:off x="9060435" y="4889248"/>
              <a:ext cx="2795015" cy="720000"/>
            </a:xfrm>
            <a:prstGeom prst="rect">
              <a:avLst/>
            </a:prstGeom>
            <a:solidFill>
              <a:schemeClr val="accent6"/>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148F7A8E-32A6-4D9F-8470-23F25E08742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59533559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Steps – Descending 3</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464108EE-5246-447F-A711-FF388BF4FA7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6" name="AutoShape 4">
            <a:extLst>
              <a:ext uri="{FF2B5EF4-FFF2-40B4-BE49-F238E27FC236}">
                <a16:creationId xmlns:a16="http://schemas.microsoft.com/office/drawing/2014/main" id="{174927C9-AEAB-44E5-A2D7-6E9BC7170D11}"/>
              </a:ext>
            </a:extLst>
          </p:cNvPr>
          <p:cNvSpPr>
            <a:spLocks noChangeArrowheads="1"/>
          </p:cNvSpPr>
          <p:nvPr/>
        </p:nvSpPr>
        <p:spPr bwMode="auto">
          <a:xfrm>
            <a:off x="4035475" y="4993355"/>
            <a:ext cx="2428683" cy="1064545"/>
          </a:xfrm>
          <a:prstGeom prst="homePlate">
            <a:avLst>
              <a:gd name="adj" fmla="val 13259"/>
            </a:avLst>
          </a:prstGeom>
          <a:solidFill>
            <a:schemeClr val="accent5"/>
          </a:solidFill>
          <a:ln w="9525">
            <a:noFill/>
            <a:miter lim="800000"/>
            <a:headEnd/>
            <a:tailEnd/>
          </a:ln>
        </p:spPr>
        <p:txBody>
          <a:bodyPr lIns="180000" rIns="108000" anchor="ctr"/>
          <a:lstStyle/>
          <a:p>
            <a:pPr algn="l" eaLnBrk="0" hangingPunct="0">
              <a:spcBef>
                <a:spcPct val="20000"/>
              </a:spcBef>
              <a:buClrTx/>
              <a:buFontTx/>
              <a:buNone/>
            </a:pPr>
            <a:r>
              <a:rPr lang="de-DE" sz="1600" b="1" dirty="0">
                <a:solidFill>
                  <a:schemeClr val="bg1"/>
                </a:solidFill>
                <a:latin typeface="+mj-lt"/>
              </a:rPr>
              <a:t>Text</a:t>
            </a:r>
          </a:p>
        </p:txBody>
      </p:sp>
      <p:sp>
        <p:nvSpPr>
          <p:cNvPr id="17" name="AutoShape 5">
            <a:extLst>
              <a:ext uri="{FF2B5EF4-FFF2-40B4-BE49-F238E27FC236}">
                <a16:creationId xmlns:a16="http://schemas.microsoft.com/office/drawing/2014/main" id="{CE91CEE0-4C0C-4E6E-8089-ABE5A08B7331}"/>
              </a:ext>
            </a:extLst>
          </p:cNvPr>
          <p:cNvSpPr>
            <a:spLocks noChangeArrowheads="1"/>
          </p:cNvSpPr>
          <p:nvPr/>
        </p:nvSpPr>
        <p:spPr bwMode="auto">
          <a:xfrm>
            <a:off x="3303757" y="3859153"/>
            <a:ext cx="2427271" cy="1064545"/>
          </a:xfrm>
          <a:prstGeom prst="homePlate">
            <a:avLst>
              <a:gd name="adj" fmla="val 13259"/>
            </a:avLst>
          </a:prstGeom>
          <a:solidFill>
            <a:schemeClr val="accent1"/>
          </a:solidFill>
          <a:ln w="9525" algn="ctr">
            <a:noFill/>
            <a:miter lim="800000"/>
            <a:headEnd/>
            <a:tailEnd/>
          </a:ln>
        </p:spPr>
        <p:txBody>
          <a:bodyPr lIns="180000" rIns="108000" anchor="ctr"/>
          <a:lstStyle/>
          <a:p>
            <a:pPr algn="l" eaLnBrk="0" hangingPunct="0">
              <a:spcBef>
                <a:spcPct val="20000"/>
              </a:spcBef>
              <a:buClrTx/>
              <a:buFontTx/>
              <a:buNone/>
            </a:pPr>
            <a:r>
              <a:rPr lang="de-DE" sz="1600" b="1" dirty="0">
                <a:solidFill>
                  <a:schemeClr val="bg1"/>
                </a:solidFill>
                <a:latin typeface="+mj-lt"/>
              </a:rPr>
              <a:t>Text</a:t>
            </a:r>
          </a:p>
        </p:txBody>
      </p:sp>
      <p:sp>
        <p:nvSpPr>
          <p:cNvPr id="18" name="Freeform 7">
            <a:extLst>
              <a:ext uri="{FF2B5EF4-FFF2-40B4-BE49-F238E27FC236}">
                <a16:creationId xmlns:a16="http://schemas.microsoft.com/office/drawing/2014/main" id="{97B1E3AC-ED49-4CD9-9B42-4B5AAF0DDF9F}"/>
              </a:ext>
            </a:extLst>
          </p:cNvPr>
          <p:cNvSpPr>
            <a:spLocks/>
          </p:cNvSpPr>
          <p:nvPr/>
        </p:nvSpPr>
        <p:spPr bwMode="auto">
          <a:xfrm>
            <a:off x="4134453" y="1592263"/>
            <a:ext cx="6238273" cy="1064545"/>
          </a:xfrm>
          <a:custGeom>
            <a:avLst/>
            <a:gdLst>
              <a:gd name="T0" fmla="*/ 0 w 4038"/>
              <a:gd name="T1" fmla="*/ 0 h 678"/>
              <a:gd name="T2" fmla="*/ 102 w 4038"/>
              <a:gd name="T3" fmla="*/ 336 h 678"/>
              <a:gd name="T4" fmla="*/ 0 w 4038"/>
              <a:gd name="T5" fmla="*/ 678 h 678"/>
              <a:gd name="T6" fmla="*/ 4038 w 4038"/>
              <a:gd name="T7" fmla="*/ 678 h 678"/>
              <a:gd name="T8" fmla="*/ 4038 w 4038"/>
              <a:gd name="T9" fmla="*/ 0 h 678"/>
              <a:gd name="T10" fmla="*/ 0 w 4038"/>
              <a:gd name="T11" fmla="*/ 0 h 678"/>
              <a:gd name="T12" fmla="*/ 0 60000 65536"/>
              <a:gd name="T13" fmla="*/ 0 60000 65536"/>
              <a:gd name="T14" fmla="*/ 0 60000 65536"/>
              <a:gd name="T15" fmla="*/ 0 60000 65536"/>
              <a:gd name="T16" fmla="*/ 0 60000 65536"/>
              <a:gd name="T17" fmla="*/ 0 60000 65536"/>
              <a:gd name="T18" fmla="*/ 0 w 4038"/>
              <a:gd name="T19" fmla="*/ 0 h 678"/>
              <a:gd name="T20" fmla="*/ 4038 w 403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4038" h="678">
                <a:moveTo>
                  <a:pt x="0" y="0"/>
                </a:moveTo>
                <a:lnTo>
                  <a:pt x="102" y="336"/>
                </a:lnTo>
                <a:lnTo>
                  <a:pt x="0" y="678"/>
                </a:lnTo>
                <a:lnTo>
                  <a:pt x="4038" y="678"/>
                </a:lnTo>
                <a:lnTo>
                  <a:pt x="4038" y="0"/>
                </a:lnTo>
                <a:lnTo>
                  <a:pt x="0" y="0"/>
                </a:lnTo>
                <a:close/>
              </a:path>
            </a:pathLst>
          </a:custGeom>
          <a:solidFill>
            <a:srgbClr val="E4E7E7"/>
          </a:solidFill>
          <a:ln w="9525" cap="flat" cmpd="sng">
            <a:noFill/>
            <a:prstDash val="solid"/>
            <a:round/>
            <a:headEnd type="none" w="sm" len="sm"/>
            <a:tailEnd type="none" w="sm" len="sm"/>
          </a:ln>
        </p:spPr>
        <p:txBody>
          <a:bodyPr wrap="none" lIns="396000" anchor="ctr"/>
          <a:lstStyle/>
          <a:p>
            <a:r>
              <a:rPr lang="en-US" dirty="0"/>
              <a:t>Text</a:t>
            </a:r>
          </a:p>
        </p:txBody>
      </p:sp>
      <p:sp>
        <p:nvSpPr>
          <p:cNvPr id="19" name="Freeform 9">
            <a:extLst>
              <a:ext uri="{FF2B5EF4-FFF2-40B4-BE49-F238E27FC236}">
                <a16:creationId xmlns:a16="http://schemas.microsoft.com/office/drawing/2014/main" id="{15FF336A-3F07-4813-A5E1-F7CB5314E982}"/>
              </a:ext>
            </a:extLst>
          </p:cNvPr>
          <p:cNvSpPr>
            <a:spLocks/>
          </p:cNvSpPr>
          <p:nvPr/>
        </p:nvSpPr>
        <p:spPr bwMode="auto">
          <a:xfrm>
            <a:off x="6396355" y="4993355"/>
            <a:ext cx="3976371" cy="1064545"/>
          </a:xfrm>
          <a:custGeom>
            <a:avLst/>
            <a:gdLst>
              <a:gd name="T0" fmla="*/ 0 w 3078"/>
              <a:gd name="T1" fmla="*/ 0 h 678"/>
              <a:gd name="T2" fmla="*/ 102 w 3078"/>
              <a:gd name="T3" fmla="*/ 342 h 678"/>
              <a:gd name="T4" fmla="*/ 0 w 3078"/>
              <a:gd name="T5" fmla="*/ 678 h 678"/>
              <a:gd name="T6" fmla="*/ 3078 w 3078"/>
              <a:gd name="T7" fmla="*/ 678 h 678"/>
              <a:gd name="T8" fmla="*/ 3078 w 3078"/>
              <a:gd name="T9" fmla="*/ 0 h 678"/>
              <a:gd name="T10" fmla="*/ 0 w 3078"/>
              <a:gd name="T11" fmla="*/ 0 h 678"/>
              <a:gd name="T12" fmla="*/ 0 60000 65536"/>
              <a:gd name="T13" fmla="*/ 0 60000 65536"/>
              <a:gd name="T14" fmla="*/ 0 60000 65536"/>
              <a:gd name="T15" fmla="*/ 0 60000 65536"/>
              <a:gd name="T16" fmla="*/ 0 60000 65536"/>
              <a:gd name="T17" fmla="*/ 0 60000 65536"/>
              <a:gd name="T18" fmla="*/ 0 w 3078"/>
              <a:gd name="T19" fmla="*/ 0 h 678"/>
              <a:gd name="T20" fmla="*/ 3078 w 307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3078" h="678">
                <a:moveTo>
                  <a:pt x="0" y="0"/>
                </a:moveTo>
                <a:lnTo>
                  <a:pt x="102" y="342"/>
                </a:lnTo>
                <a:lnTo>
                  <a:pt x="0" y="678"/>
                </a:lnTo>
                <a:lnTo>
                  <a:pt x="3078" y="678"/>
                </a:lnTo>
                <a:lnTo>
                  <a:pt x="3078" y="0"/>
                </a:lnTo>
                <a:lnTo>
                  <a:pt x="0" y="0"/>
                </a:lnTo>
                <a:close/>
              </a:path>
            </a:pathLst>
          </a:custGeom>
          <a:solidFill>
            <a:srgbClr val="E4E7E7"/>
          </a:solidFill>
          <a:ln w="9525" cap="flat" cmpd="sng">
            <a:noFill/>
            <a:prstDash val="solid"/>
            <a:round/>
            <a:headEnd type="none" w="sm" len="sm"/>
            <a:tailEnd type="none" w="sm" len="sm"/>
          </a:ln>
        </p:spPr>
        <p:txBody>
          <a:bodyPr wrap="none" lIns="396000" anchor="ctr"/>
          <a:lstStyle/>
          <a:p>
            <a:r>
              <a:rPr lang="en-US" dirty="0"/>
              <a:t>Text</a:t>
            </a:r>
          </a:p>
        </p:txBody>
      </p:sp>
      <p:sp>
        <p:nvSpPr>
          <p:cNvPr id="20" name="AutoShape 11">
            <a:extLst>
              <a:ext uri="{FF2B5EF4-FFF2-40B4-BE49-F238E27FC236}">
                <a16:creationId xmlns:a16="http://schemas.microsoft.com/office/drawing/2014/main" id="{2F4A470A-C4CB-4342-B98E-831E8F49DF04}"/>
              </a:ext>
            </a:extLst>
          </p:cNvPr>
          <p:cNvSpPr>
            <a:spLocks noChangeArrowheads="1"/>
          </p:cNvSpPr>
          <p:nvPr/>
        </p:nvSpPr>
        <p:spPr bwMode="auto">
          <a:xfrm>
            <a:off x="2555580" y="2725708"/>
            <a:ext cx="2427270" cy="1064545"/>
          </a:xfrm>
          <a:prstGeom prst="homePlate">
            <a:avLst>
              <a:gd name="adj" fmla="val 14656"/>
            </a:avLst>
          </a:prstGeom>
          <a:solidFill>
            <a:schemeClr val="accent2"/>
          </a:solidFill>
          <a:ln w="9525" algn="ctr">
            <a:noFill/>
            <a:miter lim="800000"/>
            <a:headEnd/>
            <a:tailEnd/>
          </a:ln>
        </p:spPr>
        <p:txBody>
          <a:bodyPr lIns="180000" rIns="108000" anchor="ctr"/>
          <a:lstStyle/>
          <a:p>
            <a:pPr algn="l" eaLnBrk="0" hangingPunct="0">
              <a:spcBef>
                <a:spcPct val="20000"/>
              </a:spcBef>
              <a:buClrTx/>
              <a:buFontTx/>
              <a:buNone/>
            </a:pPr>
            <a:r>
              <a:rPr lang="de-DE" sz="1600" b="1" dirty="0">
                <a:solidFill>
                  <a:schemeClr val="bg1"/>
                </a:solidFill>
                <a:latin typeface="+mj-lt"/>
              </a:rPr>
              <a:t>Text</a:t>
            </a:r>
          </a:p>
        </p:txBody>
      </p:sp>
      <p:sp>
        <p:nvSpPr>
          <p:cNvPr id="21" name="AutoShape 13">
            <a:extLst>
              <a:ext uri="{FF2B5EF4-FFF2-40B4-BE49-F238E27FC236}">
                <a16:creationId xmlns:a16="http://schemas.microsoft.com/office/drawing/2014/main" id="{CB3B7819-C0D2-45B2-87FB-C156A46B48BB}"/>
              </a:ext>
            </a:extLst>
          </p:cNvPr>
          <p:cNvSpPr>
            <a:spLocks noChangeArrowheads="1"/>
          </p:cNvSpPr>
          <p:nvPr/>
        </p:nvSpPr>
        <p:spPr bwMode="auto">
          <a:xfrm>
            <a:off x="1822450" y="1592263"/>
            <a:ext cx="2397173" cy="1064545"/>
          </a:xfrm>
          <a:prstGeom prst="homePlate">
            <a:avLst>
              <a:gd name="adj" fmla="val 16410"/>
            </a:avLst>
          </a:prstGeom>
          <a:solidFill>
            <a:schemeClr val="accent3"/>
          </a:solidFill>
          <a:ln w="9525" algn="ctr">
            <a:noFill/>
            <a:miter lim="800000"/>
            <a:headEnd/>
            <a:tailEnd/>
          </a:ln>
        </p:spPr>
        <p:txBody>
          <a:bodyPr lIns="180000" rIns="108000" anchor="ctr"/>
          <a:lstStyle/>
          <a:p>
            <a:pPr algn="l" eaLnBrk="0" hangingPunct="0">
              <a:spcBef>
                <a:spcPct val="20000"/>
              </a:spcBef>
              <a:buClrTx/>
              <a:buFontTx/>
              <a:buNone/>
            </a:pPr>
            <a:r>
              <a:rPr lang="de-DE" sz="1600" b="1" dirty="0">
                <a:solidFill>
                  <a:schemeClr val="bg1"/>
                </a:solidFill>
                <a:latin typeface="+mj-lt"/>
              </a:rPr>
              <a:t>Text</a:t>
            </a:r>
          </a:p>
        </p:txBody>
      </p:sp>
      <p:sp>
        <p:nvSpPr>
          <p:cNvPr id="22" name="Freeform 8">
            <a:extLst>
              <a:ext uri="{FF2B5EF4-FFF2-40B4-BE49-F238E27FC236}">
                <a16:creationId xmlns:a16="http://schemas.microsoft.com/office/drawing/2014/main" id="{73A62F17-9B9F-4706-89C0-25340F4C2D7E}"/>
              </a:ext>
            </a:extLst>
          </p:cNvPr>
          <p:cNvSpPr>
            <a:spLocks/>
          </p:cNvSpPr>
          <p:nvPr/>
        </p:nvSpPr>
        <p:spPr bwMode="auto">
          <a:xfrm>
            <a:off x="5663223" y="3859153"/>
            <a:ext cx="4709503" cy="1064545"/>
          </a:xfrm>
          <a:custGeom>
            <a:avLst/>
            <a:gdLst>
              <a:gd name="T0" fmla="*/ 0 w 3558"/>
              <a:gd name="T1" fmla="*/ 0 h 684"/>
              <a:gd name="T2" fmla="*/ 102 w 3558"/>
              <a:gd name="T3" fmla="*/ 342 h 684"/>
              <a:gd name="T4" fmla="*/ 0 w 3558"/>
              <a:gd name="T5" fmla="*/ 684 h 684"/>
              <a:gd name="T6" fmla="*/ 3558 w 3558"/>
              <a:gd name="T7" fmla="*/ 684 h 684"/>
              <a:gd name="T8" fmla="*/ 3558 w 3558"/>
              <a:gd name="T9" fmla="*/ 0 h 684"/>
              <a:gd name="T10" fmla="*/ 0 w 3558"/>
              <a:gd name="T11" fmla="*/ 0 h 684"/>
              <a:gd name="T12" fmla="*/ 0 60000 65536"/>
              <a:gd name="T13" fmla="*/ 0 60000 65536"/>
              <a:gd name="T14" fmla="*/ 0 60000 65536"/>
              <a:gd name="T15" fmla="*/ 0 60000 65536"/>
              <a:gd name="T16" fmla="*/ 0 60000 65536"/>
              <a:gd name="T17" fmla="*/ 0 60000 65536"/>
              <a:gd name="T18" fmla="*/ 0 w 3558"/>
              <a:gd name="T19" fmla="*/ 0 h 684"/>
              <a:gd name="T20" fmla="*/ 3558 w 3558"/>
              <a:gd name="T21" fmla="*/ 684 h 684"/>
            </a:gdLst>
            <a:ahLst/>
            <a:cxnLst>
              <a:cxn ang="T12">
                <a:pos x="T0" y="T1"/>
              </a:cxn>
              <a:cxn ang="T13">
                <a:pos x="T2" y="T3"/>
              </a:cxn>
              <a:cxn ang="T14">
                <a:pos x="T4" y="T5"/>
              </a:cxn>
              <a:cxn ang="T15">
                <a:pos x="T6" y="T7"/>
              </a:cxn>
              <a:cxn ang="T16">
                <a:pos x="T8" y="T9"/>
              </a:cxn>
              <a:cxn ang="T17">
                <a:pos x="T10" y="T11"/>
              </a:cxn>
            </a:cxnLst>
            <a:rect l="T18" t="T19" r="T20" b="T21"/>
            <a:pathLst>
              <a:path w="3558" h="684">
                <a:moveTo>
                  <a:pt x="0" y="0"/>
                </a:moveTo>
                <a:lnTo>
                  <a:pt x="102" y="342"/>
                </a:lnTo>
                <a:lnTo>
                  <a:pt x="0" y="684"/>
                </a:lnTo>
                <a:lnTo>
                  <a:pt x="3558" y="684"/>
                </a:lnTo>
                <a:lnTo>
                  <a:pt x="3558" y="0"/>
                </a:lnTo>
                <a:lnTo>
                  <a:pt x="0" y="0"/>
                </a:lnTo>
                <a:close/>
              </a:path>
            </a:pathLst>
          </a:custGeom>
          <a:solidFill>
            <a:srgbClr val="E4E7E7"/>
          </a:solidFill>
          <a:ln w="9525" cap="flat" cmpd="sng">
            <a:noFill/>
            <a:prstDash val="solid"/>
            <a:round/>
            <a:headEnd type="none" w="sm" len="sm"/>
            <a:tailEnd type="none" w="sm" len="sm"/>
          </a:ln>
        </p:spPr>
        <p:txBody>
          <a:bodyPr wrap="none" lIns="396000" anchor="ctr"/>
          <a:lstStyle/>
          <a:p>
            <a:r>
              <a:rPr lang="en-US" dirty="0"/>
              <a:t>Text</a:t>
            </a:r>
          </a:p>
        </p:txBody>
      </p:sp>
      <p:sp>
        <p:nvSpPr>
          <p:cNvPr id="23" name="Freeform 7">
            <a:extLst>
              <a:ext uri="{FF2B5EF4-FFF2-40B4-BE49-F238E27FC236}">
                <a16:creationId xmlns:a16="http://schemas.microsoft.com/office/drawing/2014/main" id="{5DB64371-5D41-4235-864C-454D44C15770}"/>
              </a:ext>
            </a:extLst>
          </p:cNvPr>
          <p:cNvSpPr>
            <a:spLocks/>
          </p:cNvSpPr>
          <p:nvPr/>
        </p:nvSpPr>
        <p:spPr bwMode="auto">
          <a:xfrm>
            <a:off x="4915047" y="2725708"/>
            <a:ext cx="5457679" cy="1064545"/>
          </a:xfrm>
          <a:custGeom>
            <a:avLst/>
            <a:gdLst>
              <a:gd name="T0" fmla="*/ 0 w 4038"/>
              <a:gd name="T1" fmla="*/ 0 h 678"/>
              <a:gd name="T2" fmla="*/ 102 w 4038"/>
              <a:gd name="T3" fmla="*/ 336 h 678"/>
              <a:gd name="T4" fmla="*/ 0 w 4038"/>
              <a:gd name="T5" fmla="*/ 678 h 678"/>
              <a:gd name="T6" fmla="*/ 4038 w 4038"/>
              <a:gd name="T7" fmla="*/ 678 h 678"/>
              <a:gd name="T8" fmla="*/ 4038 w 4038"/>
              <a:gd name="T9" fmla="*/ 0 h 678"/>
              <a:gd name="T10" fmla="*/ 0 w 4038"/>
              <a:gd name="T11" fmla="*/ 0 h 678"/>
              <a:gd name="T12" fmla="*/ 0 60000 65536"/>
              <a:gd name="T13" fmla="*/ 0 60000 65536"/>
              <a:gd name="T14" fmla="*/ 0 60000 65536"/>
              <a:gd name="T15" fmla="*/ 0 60000 65536"/>
              <a:gd name="T16" fmla="*/ 0 60000 65536"/>
              <a:gd name="T17" fmla="*/ 0 60000 65536"/>
              <a:gd name="T18" fmla="*/ 0 w 4038"/>
              <a:gd name="T19" fmla="*/ 0 h 678"/>
              <a:gd name="T20" fmla="*/ 4038 w 4038"/>
              <a:gd name="T21" fmla="*/ 678 h 678"/>
            </a:gdLst>
            <a:ahLst/>
            <a:cxnLst>
              <a:cxn ang="T12">
                <a:pos x="T0" y="T1"/>
              </a:cxn>
              <a:cxn ang="T13">
                <a:pos x="T2" y="T3"/>
              </a:cxn>
              <a:cxn ang="T14">
                <a:pos x="T4" y="T5"/>
              </a:cxn>
              <a:cxn ang="T15">
                <a:pos x="T6" y="T7"/>
              </a:cxn>
              <a:cxn ang="T16">
                <a:pos x="T8" y="T9"/>
              </a:cxn>
              <a:cxn ang="T17">
                <a:pos x="T10" y="T11"/>
              </a:cxn>
            </a:cxnLst>
            <a:rect l="T18" t="T19" r="T20" b="T21"/>
            <a:pathLst>
              <a:path w="4038" h="678">
                <a:moveTo>
                  <a:pt x="0" y="0"/>
                </a:moveTo>
                <a:lnTo>
                  <a:pt x="102" y="336"/>
                </a:lnTo>
                <a:lnTo>
                  <a:pt x="0" y="678"/>
                </a:lnTo>
                <a:lnTo>
                  <a:pt x="4038" y="678"/>
                </a:lnTo>
                <a:lnTo>
                  <a:pt x="4038" y="0"/>
                </a:lnTo>
                <a:lnTo>
                  <a:pt x="0" y="0"/>
                </a:lnTo>
                <a:close/>
              </a:path>
            </a:pathLst>
          </a:custGeom>
          <a:solidFill>
            <a:srgbClr val="E4E7E7"/>
          </a:solidFill>
          <a:ln w="9525" cap="flat" cmpd="sng">
            <a:noFill/>
            <a:prstDash val="solid"/>
            <a:round/>
            <a:headEnd type="none" w="sm" len="sm"/>
            <a:tailEnd type="none" w="sm" len="sm"/>
          </a:ln>
        </p:spPr>
        <p:txBody>
          <a:bodyPr wrap="none" lIns="396000" anchor="ctr"/>
          <a:lstStyle/>
          <a:p>
            <a:r>
              <a:rPr lang="en-US" dirty="0"/>
              <a:t>Text</a:t>
            </a:r>
          </a:p>
        </p:txBody>
      </p:sp>
      <p:cxnSp>
        <p:nvCxnSpPr>
          <p:cNvPr id="24" name="Connector: Elbow 23">
            <a:extLst>
              <a:ext uri="{FF2B5EF4-FFF2-40B4-BE49-F238E27FC236}">
                <a16:creationId xmlns:a16="http://schemas.microsoft.com/office/drawing/2014/main" id="{CDEB4841-D3F0-4354-8271-3FE56B55632A}"/>
              </a:ext>
            </a:extLst>
          </p:cNvPr>
          <p:cNvCxnSpPr/>
          <p:nvPr/>
        </p:nvCxnSpPr>
        <p:spPr>
          <a:xfrm rot="16200000" flipH="1">
            <a:off x="1957375" y="2731786"/>
            <a:ext cx="601930" cy="448948"/>
          </a:xfrm>
          <a:prstGeom prst="bentConnector2">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76DF6E13-2564-47AE-91F1-D4FA1A4AA1B5}"/>
              </a:ext>
            </a:extLst>
          </p:cNvPr>
          <p:cNvCxnSpPr/>
          <p:nvPr/>
        </p:nvCxnSpPr>
        <p:spPr>
          <a:xfrm rot="16200000" flipH="1">
            <a:off x="2690506" y="3865987"/>
            <a:ext cx="601930" cy="448948"/>
          </a:xfrm>
          <a:prstGeom prst="bentConnector2">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1D4A78C8-26D9-45F9-BFE8-FCA50D1D84CB}"/>
              </a:ext>
            </a:extLst>
          </p:cNvPr>
          <p:cNvCxnSpPr/>
          <p:nvPr/>
        </p:nvCxnSpPr>
        <p:spPr>
          <a:xfrm rot="16200000" flipH="1">
            <a:off x="3438682" y="5000190"/>
            <a:ext cx="601930" cy="448948"/>
          </a:xfrm>
          <a:prstGeom prst="bentConnector2">
            <a:avLst/>
          </a:prstGeom>
          <a:ln w="127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164750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Steps – Ascending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CE171420-35E4-49D0-84B3-6E889EB2A385}"/>
              </a:ext>
            </a:extLst>
          </p:cNvPr>
          <p:cNvGrpSpPr/>
          <p:nvPr/>
        </p:nvGrpSpPr>
        <p:grpSpPr>
          <a:xfrm>
            <a:off x="380999" y="1879896"/>
            <a:ext cx="11429367" cy="3776400"/>
            <a:chOff x="345019" y="1879896"/>
            <a:chExt cx="11512020" cy="3776400"/>
          </a:xfrm>
        </p:grpSpPr>
        <p:sp>
          <p:nvSpPr>
            <p:cNvPr id="6" name="AutoShape 5">
              <a:extLst>
                <a:ext uri="{FF2B5EF4-FFF2-40B4-BE49-F238E27FC236}">
                  <a16:creationId xmlns:a16="http://schemas.microsoft.com/office/drawing/2014/main" id="{D7D28C6B-C8FF-40A0-A3A4-3B46FD6872C1}"/>
                </a:ext>
              </a:extLst>
            </p:cNvPr>
            <p:cNvSpPr>
              <a:spLocks noChangeArrowheads="1"/>
            </p:cNvSpPr>
            <p:nvPr/>
          </p:nvSpPr>
          <p:spPr bwMode="auto">
            <a:xfrm>
              <a:off x="9650873" y="1879896"/>
              <a:ext cx="2206166" cy="696065"/>
            </a:xfrm>
            <a:prstGeom prst="homePlate">
              <a:avLst>
                <a:gd name="adj" fmla="val 13399"/>
              </a:avLst>
            </a:prstGeom>
            <a:solidFill>
              <a:schemeClr val="accent3"/>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Graphik"/>
                  <a:ea typeface="+mn-ea"/>
                  <a:cs typeface="+mn-cs"/>
                </a:rPr>
                <a:t>Text</a:t>
              </a:r>
            </a:p>
          </p:txBody>
        </p:sp>
        <p:sp>
          <p:nvSpPr>
            <p:cNvPr id="7" name="AutoShape 6">
              <a:extLst>
                <a:ext uri="{FF2B5EF4-FFF2-40B4-BE49-F238E27FC236}">
                  <a16:creationId xmlns:a16="http://schemas.microsoft.com/office/drawing/2014/main" id="{FC7DC6CB-BB2D-4FF0-AB47-4DCC6389AB88}"/>
                </a:ext>
              </a:extLst>
            </p:cNvPr>
            <p:cNvSpPr>
              <a:spLocks noChangeArrowheads="1"/>
            </p:cNvSpPr>
            <p:nvPr/>
          </p:nvSpPr>
          <p:spPr bwMode="auto">
            <a:xfrm>
              <a:off x="7786265" y="2496248"/>
              <a:ext cx="2212611" cy="698912"/>
            </a:xfrm>
            <a:prstGeom prst="homePlate">
              <a:avLst>
                <a:gd name="adj" fmla="val 13393"/>
              </a:avLst>
            </a:prstGeom>
            <a:solidFill>
              <a:schemeClr val="accent2"/>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8" name="AutoShape 7">
              <a:extLst>
                <a:ext uri="{FF2B5EF4-FFF2-40B4-BE49-F238E27FC236}">
                  <a16:creationId xmlns:a16="http://schemas.microsoft.com/office/drawing/2014/main" id="{794CA059-219E-4097-88CF-D6DF48B3B26E}"/>
                </a:ext>
              </a:extLst>
            </p:cNvPr>
            <p:cNvSpPr>
              <a:spLocks noChangeArrowheads="1"/>
            </p:cNvSpPr>
            <p:nvPr/>
          </p:nvSpPr>
          <p:spPr bwMode="auto">
            <a:xfrm>
              <a:off x="5928102" y="3111176"/>
              <a:ext cx="2206166" cy="696065"/>
            </a:xfrm>
            <a:prstGeom prst="homePlate">
              <a:avLst>
                <a:gd name="adj" fmla="val 13399"/>
              </a:avLst>
            </a:prstGeom>
            <a:solidFill>
              <a:schemeClr val="accent1"/>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Graphik"/>
                  <a:ea typeface="+mn-ea"/>
                  <a:cs typeface="+mn-cs"/>
                </a:rPr>
                <a:t>Text</a:t>
              </a:r>
            </a:p>
          </p:txBody>
        </p:sp>
        <p:sp>
          <p:nvSpPr>
            <p:cNvPr id="9" name="AutoShape 8">
              <a:extLst>
                <a:ext uri="{FF2B5EF4-FFF2-40B4-BE49-F238E27FC236}">
                  <a16:creationId xmlns:a16="http://schemas.microsoft.com/office/drawing/2014/main" id="{F6F4F395-DF83-4D65-8E2B-CD7000399402}"/>
                </a:ext>
              </a:extLst>
            </p:cNvPr>
            <p:cNvSpPr>
              <a:spLocks noChangeArrowheads="1"/>
            </p:cNvSpPr>
            <p:nvPr/>
          </p:nvSpPr>
          <p:spPr bwMode="auto">
            <a:xfrm>
              <a:off x="4067790" y="3727528"/>
              <a:ext cx="2206166" cy="696065"/>
            </a:xfrm>
            <a:prstGeom prst="homePlate">
              <a:avLst>
                <a:gd name="adj" fmla="val 13399"/>
              </a:avLst>
            </a:prstGeom>
            <a:solidFill>
              <a:schemeClr val="accent6"/>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0" name="AutoShape 9">
              <a:extLst>
                <a:ext uri="{FF2B5EF4-FFF2-40B4-BE49-F238E27FC236}">
                  <a16:creationId xmlns:a16="http://schemas.microsoft.com/office/drawing/2014/main" id="{52720FD2-40BD-4798-AFAA-AFF3D5185AFF}"/>
                </a:ext>
              </a:extLst>
            </p:cNvPr>
            <p:cNvSpPr>
              <a:spLocks noChangeArrowheads="1"/>
            </p:cNvSpPr>
            <p:nvPr/>
          </p:nvSpPr>
          <p:spPr bwMode="auto">
            <a:xfrm>
              <a:off x="2207479" y="4345303"/>
              <a:ext cx="2208314" cy="696065"/>
            </a:xfrm>
            <a:prstGeom prst="homePlate">
              <a:avLst>
                <a:gd name="adj" fmla="val 13402"/>
              </a:avLst>
            </a:prstGeom>
            <a:solidFill>
              <a:schemeClr val="accent5"/>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1" name="AutoShape 10">
              <a:extLst>
                <a:ext uri="{FF2B5EF4-FFF2-40B4-BE49-F238E27FC236}">
                  <a16:creationId xmlns:a16="http://schemas.microsoft.com/office/drawing/2014/main" id="{ED707A03-78CB-4A6D-8380-0C415135F0BA}"/>
                </a:ext>
              </a:extLst>
            </p:cNvPr>
            <p:cNvSpPr>
              <a:spLocks noChangeArrowheads="1"/>
            </p:cNvSpPr>
            <p:nvPr/>
          </p:nvSpPr>
          <p:spPr bwMode="auto">
            <a:xfrm>
              <a:off x="345019" y="4960231"/>
              <a:ext cx="2206166" cy="696065"/>
            </a:xfrm>
            <a:prstGeom prst="homePlate">
              <a:avLst>
                <a:gd name="adj" fmla="val 13399"/>
              </a:avLst>
            </a:prstGeom>
            <a:solidFill>
              <a:schemeClr val="accent4"/>
            </a:solidFill>
            <a:ln w="19050" cap="rnd">
              <a:solidFill>
                <a:srgbClr val="FFFFFF"/>
              </a:solid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6FDB906F-D1F3-4454-A583-8C851565B21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24625758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Steps – Ascending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A67D86B1-00C2-4254-B3D8-633466CA39EE}"/>
              </a:ext>
            </a:extLst>
          </p:cNvPr>
          <p:cNvGrpSpPr/>
          <p:nvPr/>
        </p:nvGrpSpPr>
        <p:grpSpPr>
          <a:xfrm>
            <a:off x="381000" y="1834150"/>
            <a:ext cx="11429366" cy="3780000"/>
            <a:chOff x="345018" y="1834150"/>
            <a:chExt cx="11510432" cy="3780000"/>
          </a:xfrm>
        </p:grpSpPr>
        <p:sp>
          <p:nvSpPr>
            <p:cNvPr id="6" name="Rectangle 3">
              <a:extLst>
                <a:ext uri="{FF2B5EF4-FFF2-40B4-BE49-F238E27FC236}">
                  <a16:creationId xmlns:a16="http://schemas.microsoft.com/office/drawing/2014/main" id="{1049DAA4-44AB-49C4-A6D6-67BD60A481C3}"/>
                </a:ext>
              </a:extLst>
            </p:cNvPr>
            <p:cNvSpPr>
              <a:spLocks noChangeArrowheads="1"/>
            </p:cNvSpPr>
            <p:nvPr/>
          </p:nvSpPr>
          <p:spPr bwMode="auto">
            <a:xfrm>
              <a:off x="345018" y="4893215"/>
              <a:ext cx="2795015" cy="720935"/>
            </a:xfrm>
            <a:prstGeom prst="rect">
              <a:avLst/>
            </a:prstGeom>
            <a:solidFill>
              <a:schemeClr val="accent6"/>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7" name="Rectangle 4">
              <a:extLst>
                <a:ext uri="{FF2B5EF4-FFF2-40B4-BE49-F238E27FC236}">
                  <a16:creationId xmlns:a16="http://schemas.microsoft.com/office/drawing/2014/main" id="{3866A23C-8C4B-4C7A-B667-114D59EACB34}"/>
                </a:ext>
              </a:extLst>
            </p:cNvPr>
            <p:cNvSpPr>
              <a:spLocks noChangeArrowheads="1"/>
            </p:cNvSpPr>
            <p:nvPr/>
          </p:nvSpPr>
          <p:spPr bwMode="auto">
            <a:xfrm>
              <a:off x="2522385" y="4128448"/>
              <a:ext cx="2795015" cy="720935"/>
            </a:xfrm>
            <a:prstGeom prst="rect">
              <a:avLst/>
            </a:prstGeom>
            <a:solidFill>
              <a:schemeClr val="accent5"/>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8" name="Rectangle 5">
              <a:extLst>
                <a:ext uri="{FF2B5EF4-FFF2-40B4-BE49-F238E27FC236}">
                  <a16:creationId xmlns:a16="http://schemas.microsoft.com/office/drawing/2014/main" id="{765D411F-EAFA-46EF-8212-17AA9A0E61E0}"/>
                </a:ext>
              </a:extLst>
            </p:cNvPr>
            <p:cNvSpPr>
              <a:spLocks noChangeArrowheads="1"/>
            </p:cNvSpPr>
            <p:nvPr/>
          </p:nvSpPr>
          <p:spPr bwMode="auto">
            <a:xfrm>
              <a:off x="4703718" y="3363682"/>
              <a:ext cx="2795015" cy="720935"/>
            </a:xfrm>
            <a:prstGeom prst="rect">
              <a:avLst/>
            </a:prstGeom>
            <a:solidFill>
              <a:schemeClr val="accent1"/>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9" name="Rectangle 6">
              <a:extLst>
                <a:ext uri="{FF2B5EF4-FFF2-40B4-BE49-F238E27FC236}">
                  <a16:creationId xmlns:a16="http://schemas.microsoft.com/office/drawing/2014/main" id="{AF16615B-F7AF-4229-98CF-FEF75794107C}"/>
                </a:ext>
              </a:extLst>
            </p:cNvPr>
            <p:cNvSpPr>
              <a:spLocks noChangeArrowheads="1"/>
            </p:cNvSpPr>
            <p:nvPr/>
          </p:nvSpPr>
          <p:spPr bwMode="auto">
            <a:xfrm>
              <a:off x="6881085" y="2598916"/>
              <a:ext cx="2795015" cy="720935"/>
            </a:xfrm>
            <a:prstGeom prst="rect">
              <a:avLst/>
            </a:prstGeom>
            <a:solidFill>
              <a:schemeClr val="accent2"/>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0" name="Rectangle 7">
              <a:extLst>
                <a:ext uri="{FF2B5EF4-FFF2-40B4-BE49-F238E27FC236}">
                  <a16:creationId xmlns:a16="http://schemas.microsoft.com/office/drawing/2014/main" id="{C35AA633-75AF-4505-801C-8C2C86B5E144}"/>
                </a:ext>
              </a:extLst>
            </p:cNvPr>
            <p:cNvSpPr>
              <a:spLocks noChangeArrowheads="1"/>
            </p:cNvSpPr>
            <p:nvPr/>
          </p:nvSpPr>
          <p:spPr bwMode="auto">
            <a:xfrm>
              <a:off x="9060435" y="1834150"/>
              <a:ext cx="2795015" cy="720935"/>
            </a:xfrm>
            <a:prstGeom prst="rect">
              <a:avLst/>
            </a:prstGeom>
            <a:solidFill>
              <a:schemeClr val="accent3"/>
            </a:solidFill>
            <a:ln w="6350" cap="rnd">
              <a:noFill/>
              <a:miter lim="800000"/>
              <a:headEnd/>
              <a:tailEnd/>
            </a:ln>
            <a:effectLst/>
          </p:spPr>
          <p:txBody>
            <a:bodyPr wrap="none" lIns="180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EAB6D6EE-75C4-47D9-B1D1-FE6A5ABAA3B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568022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Growth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10" name="Rectangle 9">
            <a:hlinkClick r:id="rId3" action="ppaction://hlinksldjump"/>
            <a:extLst>
              <a:ext uri="{FF2B5EF4-FFF2-40B4-BE49-F238E27FC236}">
                <a16:creationId xmlns:a16="http://schemas.microsoft.com/office/drawing/2014/main" id="{5589FA4F-841C-40DB-8C8C-EEC079E1D8B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9" name="Arrow: Right 8">
            <a:extLst>
              <a:ext uri="{FF2B5EF4-FFF2-40B4-BE49-F238E27FC236}">
                <a16:creationId xmlns:a16="http://schemas.microsoft.com/office/drawing/2014/main" id="{9FEB7032-2FD2-4942-985A-FAF03DCFEC77}"/>
              </a:ext>
            </a:extLst>
          </p:cNvPr>
          <p:cNvSpPr/>
          <p:nvPr/>
        </p:nvSpPr>
        <p:spPr>
          <a:xfrm>
            <a:off x="334963" y="2860276"/>
            <a:ext cx="11522075" cy="1572107"/>
          </a:xfrm>
          <a:prstGeom prst="rightArrow">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 name="Rectangle 5">
            <a:extLst>
              <a:ext uri="{FF2B5EF4-FFF2-40B4-BE49-F238E27FC236}">
                <a16:creationId xmlns:a16="http://schemas.microsoft.com/office/drawing/2014/main" id="{83C65797-F3EF-451C-822D-6695F4C48573}"/>
              </a:ext>
            </a:extLst>
          </p:cNvPr>
          <p:cNvSpPr>
            <a:spLocks noChangeArrowheads="1"/>
          </p:cNvSpPr>
          <p:nvPr/>
        </p:nvSpPr>
        <p:spPr bwMode="auto">
          <a:xfrm>
            <a:off x="334964" y="2764830"/>
            <a:ext cx="2609850" cy="1915454"/>
          </a:xfrm>
          <a:prstGeom prst="rect">
            <a:avLst/>
          </a:prstGeom>
          <a:solidFill>
            <a:schemeClr val="accent3">
              <a:lumMod val="20000"/>
              <a:lumOff val="8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latin typeface="+mj-lt"/>
              </a:rPr>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p:txBody>
      </p:sp>
      <p:sp>
        <p:nvSpPr>
          <p:cNvPr id="15" name="Rectangle 5">
            <a:extLst>
              <a:ext uri="{FF2B5EF4-FFF2-40B4-BE49-F238E27FC236}">
                <a16:creationId xmlns:a16="http://schemas.microsoft.com/office/drawing/2014/main" id="{778B693C-EE37-4C3A-843A-428309D73ACB}"/>
              </a:ext>
            </a:extLst>
          </p:cNvPr>
          <p:cNvSpPr>
            <a:spLocks noChangeArrowheads="1"/>
          </p:cNvSpPr>
          <p:nvPr/>
        </p:nvSpPr>
        <p:spPr bwMode="auto">
          <a:xfrm>
            <a:off x="4048920" y="2107939"/>
            <a:ext cx="2609850" cy="3229236"/>
          </a:xfrm>
          <a:prstGeom prst="rect">
            <a:avLst/>
          </a:prstGeom>
          <a:solidFill>
            <a:schemeClr val="accent3">
              <a:lumMod val="60000"/>
              <a:lumOff val="4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
        <p:nvSpPr>
          <p:cNvPr id="17" name="Rectangle 5">
            <a:extLst>
              <a:ext uri="{FF2B5EF4-FFF2-40B4-BE49-F238E27FC236}">
                <a16:creationId xmlns:a16="http://schemas.microsoft.com/office/drawing/2014/main" id="{581B6DF3-DF72-4863-8E5F-F18292C559F0}"/>
              </a:ext>
            </a:extLst>
          </p:cNvPr>
          <p:cNvSpPr>
            <a:spLocks noChangeArrowheads="1"/>
          </p:cNvSpPr>
          <p:nvPr/>
        </p:nvSpPr>
        <p:spPr bwMode="auto">
          <a:xfrm>
            <a:off x="7762875" y="1387214"/>
            <a:ext cx="2609850" cy="4670686"/>
          </a:xfrm>
          <a:prstGeom prst="rect">
            <a:avLst/>
          </a:prstGeom>
          <a:solidFill>
            <a:schemeClr val="accent3"/>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33231645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Growth 2</a:t>
            </a:r>
          </a:p>
        </p:txBody>
      </p:sp>
      <p:sp>
        <p:nvSpPr>
          <p:cNvPr id="4" name="Freeform: Shape 3">
            <a:hlinkClick r:id="rId6"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6" action="ppaction://hlinksldjump"/>
            <a:extLst>
              <a:ext uri="{FF2B5EF4-FFF2-40B4-BE49-F238E27FC236}">
                <a16:creationId xmlns:a16="http://schemas.microsoft.com/office/drawing/2014/main" id="{7FF2F765-8EDE-47CE-B2FB-D8C85CEF2D3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1" name="Group 10">
            <a:extLst>
              <a:ext uri="{FF2B5EF4-FFF2-40B4-BE49-F238E27FC236}">
                <a16:creationId xmlns:a16="http://schemas.microsoft.com/office/drawing/2014/main" id="{7CD714A5-B329-4583-B08D-8F3786277F4B}"/>
              </a:ext>
            </a:extLst>
          </p:cNvPr>
          <p:cNvGrpSpPr>
            <a:grpSpLocks/>
          </p:cNvGrpSpPr>
          <p:nvPr/>
        </p:nvGrpSpPr>
        <p:grpSpPr bwMode="auto">
          <a:xfrm>
            <a:off x="381000" y="1457990"/>
            <a:ext cx="11438468" cy="4294188"/>
            <a:chOff x="204" y="981"/>
            <a:chExt cx="5353" cy="3107"/>
          </a:xfrm>
        </p:grpSpPr>
        <p:sp>
          <p:nvSpPr>
            <p:cNvPr id="12" name="AutoShape 2">
              <a:extLst>
                <a:ext uri="{FF2B5EF4-FFF2-40B4-BE49-F238E27FC236}">
                  <a16:creationId xmlns:a16="http://schemas.microsoft.com/office/drawing/2014/main" id="{5772E79F-480E-46E2-A02F-09F144961D93}"/>
                </a:ext>
              </a:extLst>
            </p:cNvPr>
            <p:cNvSpPr>
              <a:spLocks noChangeArrowheads="1"/>
            </p:cNvSpPr>
            <p:nvPr/>
          </p:nvSpPr>
          <p:spPr bwMode="auto">
            <a:xfrm rot="27000000">
              <a:off x="1327" y="-142"/>
              <a:ext cx="3107" cy="5353"/>
            </a:xfrm>
            <a:prstGeom prst="rtTriangle">
              <a:avLst/>
            </a:prstGeom>
            <a:pattFill prst="dkUpDiag">
              <a:fgClr>
                <a:schemeClr val="tx2">
                  <a:lumMod val="40000"/>
                  <a:lumOff val="60000"/>
                </a:schemeClr>
              </a:fgClr>
              <a:bgClr>
                <a:schemeClr val="bg1"/>
              </a:bgClr>
            </a:pattFill>
            <a:ln w="6350">
              <a:noFill/>
              <a:miter lim="800000"/>
              <a:headEnd/>
              <a:tailEnd/>
            </a:ln>
            <a:effectLst/>
          </p:spPr>
          <p:txBody>
            <a:bodyPr wrap="none" lIns="72000" tIns="72000" rIns="72000" bIns="72000" anchor="ctr"/>
            <a:lstStyle/>
            <a:p>
              <a:endParaRPr lang="en-US" dirty="0"/>
            </a:p>
          </p:txBody>
        </p:sp>
        <p:sp>
          <p:nvSpPr>
            <p:cNvPr id="13" name="AutoShape 3">
              <a:extLst>
                <a:ext uri="{FF2B5EF4-FFF2-40B4-BE49-F238E27FC236}">
                  <a16:creationId xmlns:a16="http://schemas.microsoft.com/office/drawing/2014/main" id="{CABE8EB4-D2AE-4255-A187-B655583879C2}"/>
                </a:ext>
              </a:extLst>
            </p:cNvPr>
            <p:cNvSpPr>
              <a:spLocks noChangeArrowheads="1"/>
            </p:cNvSpPr>
            <p:nvPr/>
          </p:nvSpPr>
          <p:spPr bwMode="auto">
            <a:xfrm rot="16200000">
              <a:off x="1327" y="-142"/>
              <a:ext cx="3107" cy="5353"/>
            </a:xfrm>
            <a:prstGeom prst="rtTriangle">
              <a:avLst/>
            </a:prstGeom>
            <a:solidFill>
              <a:schemeClr val="accent1"/>
            </a:solidFill>
            <a:ln w="6350">
              <a:noFill/>
              <a:miter lim="800000"/>
              <a:headEnd/>
              <a:tailEnd/>
            </a:ln>
            <a:effectLst/>
          </p:spPr>
          <p:txBody>
            <a:bodyPr wrap="none" lIns="72000" tIns="72000" rIns="72000" bIns="72000" anchor="ctr"/>
            <a:lstStyle/>
            <a:p>
              <a:endParaRPr lang="en-US" dirty="0"/>
            </a:p>
          </p:txBody>
        </p:sp>
      </p:grpSp>
      <p:sp>
        <p:nvSpPr>
          <p:cNvPr id="14" name="Rectangle 7">
            <a:extLst>
              <a:ext uri="{FF2B5EF4-FFF2-40B4-BE49-F238E27FC236}">
                <a16:creationId xmlns:a16="http://schemas.microsoft.com/office/drawing/2014/main" id="{38976297-B07D-475A-AA95-B12F4498B630}"/>
              </a:ext>
            </a:extLst>
          </p:cNvPr>
          <p:cNvSpPr>
            <a:spLocks noChangeArrowheads="1"/>
          </p:cNvSpPr>
          <p:nvPr>
            <p:custDataLst>
              <p:tags r:id="rId1"/>
            </p:custDataLst>
          </p:nvPr>
        </p:nvSpPr>
        <p:spPr bwMode="auto">
          <a:xfrm>
            <a:off x="381000" y="1457990"/>
            <a:ext cx="2755922" cy="1819254"/>
          </a:xfrm>
          <a:prstGeom prst="rect">
            <a:avLst/>
          </a:prstGeom>
          <a:noFill/>
          <a:ln w="6350">
            <a:noFill/>
            <a:miter lim="800000"/>
            <a:headEnd/>
            <a:tailEnd/>
          </a:ln>
          <a:effectLst/>
        </p:spPr>
        <p:txBody>
          <a:bodyPr lIns="180000" tIns="180000" rIns="144000" bIns="180000" anchor="t" anchorCtr="0"/>
          <a:lstStyle/>
          <a:p>
            <a:pPr eaLnBrk="0" hangingPunct="0">
              <a:lnSpc>
                <a:spcPct val="85000"/>
              </a:lnSpc>
              <a:spcBef>
                <a:spcPts val="100"/>
              </a:spcBef>
              <a:spcAft>
                <a:spcPts val="300"/>
              </a:spcAft>
            </a:pPr>
            <a:r>
              <a:rPr lang="en-US" b="1" dirty="0">
                <a:latin typeface="+mj-lt"/>
              </a:rPr>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a:p>
            <a:pPr marL="165100" indent="-165100" algn="l" eaLnBrk="0" hangingPunct="0">
              <a:spcBef>
                <a:spcPts val="100"/>
              </a:spcBef>
              <a:spcAft>
                <a:spcPts val="100"/>
              </a:spcAft>
              <a:buFontTx/>
              <a:buChar char="•"/>
            </a:pPr>
            <a:r>
              <a:rPr lang="en-US" dirty="0"/>
              <a:t>Text</a:t>
            </a:r>
          </a:p>
        </p:txBody>
      </p:sp>
      <p:sp>
        <p:nvSpPr>
          <p:cNvPr id="15" name="Rectangle 7">
            <a:extLst>
              <a:ext uri="{FF2B5EF4-FFF2-40B4-BE49-F238E27FC236}">
                <a16:creationId xmlns:a16="http://schemas.microsoft.com/office/drawing/2014/main" id="{A61A1CFC-DC00-40F4-9BA4-9192FB103483}"/>
              </a:ext>
            </a:extLst>
          </p:cNvPr>
          <p:cNvSpPr>
            <a:spLocks noChangeArrowheads="1"/>
          </p:cNvSpPr>
          <p:nvPr>
            <p:custDataLst>
              <p:tags r:id="rId2"/>
            </p:custDataLst>
          </p:nvPr>
        </p:nvSpPr>
        <p:spPr bwMode="auto">
          <a:xfrm>
            <a:off x="5251434" y="3930102"/>
            <a:ext cx="2755922" cy="1822076"/>
          </a:xfrm>
          <a:prstGeom prst="rect">
            <a:avLst/>
          </a:prstGeom>
          <a:noFill/>
          <a:ln w="6350">
            <a:noFill/>
            <a:miter lim="800000"/>
            <a:headEnd/>
            <a:tailEnd/>
          </a:ln>
          <a:effectLst/>
        </p:spPr>
        <p:txBody>
          <a:bodyPr lIns="180000" tIns="180000" rIns="144000" bIns="180000" anchor="b"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
        <p:nvSpPr>
          <p:cNvPr id="16" name="Rectangle 7">
            <a:extLst>
              <a:ext uri="{FF2B5EF4-FFF2-40B4-BE49-F238E27FC236}">
                <a16:creationId xmlns:a16="http://schemas.microsoft.com/office/drawing/2014/main" id="{BF3EB538-83F4-46D5-B583-1EA2488449B0}"/>
              </a:ext>
            </a:extLst>
          </p:cNvPr>
          <p:cNvSpPr>
            <a:spLocks noChangeArrowheads="1"/>
          </p:cNvSpPr>
          <p:nvPr>
            <p:custDataLst>
              <p:tags r:id="rId3"/>
            </p:custDataLst>
          </p:nvPr>
        </p:nvSpPr>
        <p:spPr bwMode="auto">
          <a:xfrm>
            <a:off x="8714074" y="3930102"/>
            <a:ext cx="2755922" cy="1822076"/>
          </a:xfrm>
          <a:prstGeom prst="rect">
            <a:avLst/>
          </a:prstGeom>
          <a:noFill/>
          <a:ln w="6350">
            <a:noFill/>
            <a:miter lim="800000"/>
            <a:headEnd/>
            <a:tailEnd/>
          </a:ln>
          <a:effectLst/>
        </p:spPr>
        <p:txBody>
          <a:bodyPr lIns="180000" tIns="180000" rIns="144000" bIns="180000" anchor="b" anchorCtr="0"/>
          <a:lstStyle/>
          <a:p>
            <a:pPr eaLnBrk="0" hangingPunct="0">
              <a:lnSpc>
                <a:spcPct val="85000"/>
              </a:lnSpc>
              <a:spcBef>
                <a:spcPts val="100"/>
              </a:spcBef>
              <a:spcAft>
                <a:spcPts val="300"/>
              </a:spcAft>
            </a:pPr>
            <a:r>
              <a:rPr lang="en-US" b="1" dirty="0">
                <a:solidFill>
                  <a:schemeClr val="bg1"/>
                </a:solidFill>
                <a:latin typeface="+mj-lt"/>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a:p>
            <a:pPr marL="165100" indent="-1651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1528880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F32EE0-A28B-F94D-AB49-61B7BA7A001D}"/>
              </a:ext>
            </a:extLst>
          </p:cNvPr>
          <p:cNvSpPr>
            <a:spLocks noGrp="1"/>
          </p:cNvSpPr>
          <p:nvPr>
            <p:ph type="ctrTitle"/>
          </p:nvPr>
        </p:nvSpPr>
        <p:spPr/>
        <p:txBody>
          <a:bodyPr/>
          <a:lstStyle/>
          <a:p>
            <a:endParaRPr lang="en-US"/>
          </a:p>
        </p:txBody>
      </p:sp>
      <p:sp>
        <p:nvSpPr>
          <p:cNvPr id="4" name="Subtitle 3">
            <a:extLst>
              <a:ext uri="{FF2B5EF4-FFF2-40B4-BE49-F238E27FC236}">
                <a16:creationId xmlns:a16="http://schemas.microsoft.com/office/drawing/2014/main" id="{2DBD76B3-9CCE-9843-BCCB-A7D699BD9E29}"/>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DAC3939A-16F0-414E-A140-E4471007AA4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3930178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Development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Rectangle 10">
            <a:hlinkClick r:id="rId3" action="ppaction://hlinksldjump"/>
            <a:extLst>
              <a:ext uri="{FF2B5EF4-FFF2-40B4-BE49-F238E27FC236}">
                <a16:creationId xmlns:a16="http://schemas.microsoft.com/office/drawing/2014/main" id="{88AE94EC-41DD-4DC1-9E9A-83070AD7E80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Rectangle 5">
            <a:extLst>
              <a:ext uri="{FF2B5EF4-FFF2-40B4-BE49-F238E27FC236}">
                <a16:creationId xmlns:a16="http://schemas.microsoft.com/office/drawing/2014/main" id="{FC6F285C-36F7-4165-9834-68FA689010EC}"/>
              </a:ext>
            </a:extLst>
          </p:cNvPr>
          <p:cNvSpPr>
            <a:spLocks noChangeArrowheads="1"/>
          </p:cNvSpPr>
          <p:nvPr/>
        </p:nvSpPr>
        <p:spPr bwMode="auto">
          <a:xfrm>
            <a:off x="379414" y="1366838"/>
            <a:ext cx="3214998" cy="4691062"/>
          </a:xfrm>
          <a:prstGeom prst="rect">
            <a:avLst/>
          </a:prstGeom>
          <a:solidFill>
            <a:schemeClr val="accent3">
              <a:lumMod val="20000"/>
              <a:lumOff val="8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latin typeface="+mj-lt"/>
              </a:rPr>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a:p>
            <a:pPr marL="174625" indent="-174625" algn="l" eaLnBrk="0" hangingPunct="0">
              <a:spcBef>
                <a:spcPts val="100"/>
              </a:spcBef>
              <a:spcAft>
                <a:spcPts val="100"/>
              </a:spcAft>
              <a:buFontTx/>
              <a:buChar char="•"/>
            </a:pPr>
            <a:r>
              <a:rPr lang="en-US" dirty="0"/>
              <a:t>Text</a:t>
            </a:r>
          </a:p>
        </p:txBody>
      </p:sp>
      <p:sp>
        <p:nvSpPr>
          <p:cNvPr id="14" name="Rectangle 5">
            <a:extLst>
              <a:ext uri="{FF2B5EF4-FFF2-40B4-BE49-F238E27FC236}">
                <a16:creationId xmlns:a16="http://schemas.microsoft.com/office/drawing/2014/main" id="{A32A0F1C-0468-4BD4-ADF1-192F19A21F03}"/>
              </a:ext>
            </a:extLst>
          </p:cNvPr>
          <p:cNvSpPr>
            <a:spLocks noChangeArrowheads="1"/>
          </p:cNvSpPr>
          <p:nvPr/>
        </p:nvSpPr>
        <p:spPr bwMode="auto">
          <a:xfrm>
            <a:off x="4487708" y="1366838"/>
            <a:ext cx="3214998" cy="4691062"/>
          </a:xfrm>
          <a:prstGeom prst="rect">
            <a:avLst/>
          </a:prstGeom>
          <a:solidFill>
            <a:schemeClr val="accent3">
              <a:lumMod val="60000"/>
              <a:lumOff val="40000"/>
            </a:schemeClr>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
        <p:nvSpPr>
          <p:cNvPr id="16" name="Rectangle 5">
            <a:extLst>
              <a:ext uri="{FF2B5EF4-FFF2-40B4-BE49-F238E27FC236}">
                <a16:creationId xmlns:a16="http://schemas.microsoft.com/office/drawing/2014/main" id="{5F244F94-8DED-4725-AE56-7905FD3BDB00}"/>
              </a:ext>
            </a:extLst>
          </p:cNvPr>
          <p:cNvSpPr>
            <a:spLocks noChangeArrowheads="1"/>
          </p:cNvSpPr>
          <p:nvPr/>
        </p:nvSpPr>
        <p:spPr bwMode="auto">
          <a:xfrm>
            <a:off x="8596002" y="1387214"/>
            <a:ext cx="3214998" cy="4670686"/>
          </a:xfrm>
          <a:prstGeom prst="rect">
            <a:avLst/>
          </a:prstGeom>
          <a:solidFill>
            <a:schemeClr val="accent3"/>
          </a:solidFill>
          <a:ln w="6350">
            <a:noFill/>
            <a:miter lim="800000"/>
            <a:headEnd/>
            <a:tailEnd/>
          </a:ln>
        </p:spPr>
        <p:txBody>
          <a:bodyPr lIns="180000" tIns="144000" rIns="72000" bIns="72000"/>
          <a:lstStyle/>
          <a:p>
            <a:pPr algn="l" eaLnBrk="0" hangingPunct="0">
              <a:lnSpc>
                <a:spcPct val="85000"/>
              </a:lnSpc>
              <a:spcBef>
                <a:spcPts val="100"/>
              </a:spcBef>
              <a:spcAft>
                <a:spcPts val="300"/>
              </a:spcAft>
            </a:pPr>
            <a:r>
              <a:rPr lang="en-US" b="1" dirty="0">
                <a:solidFill>
                  <a:schemeClr val="bg1"/>
                </a:solidFill>
                <a:latin typeface="+mj-lt"/>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a:p>
            <a:pPr marL="174625" indent="-174625" algn="l" eaLnBrk="0" hangingPunct="0">
              <a:spcBef>
                <a:spcPts val="100"/>
              </a:spcBef>
              <a:spcAft>
                <a:spcPts val="100"/>
              </a:spcAft>
              <a:buFontTx/>
              <a:buChar char="•"/>
            </a:pPr>
            <a:r>
              <a:rPr lang="en-US" dirty="0">
                <a:solidFill>
                  <a:schemeClr val="bg1"/>
                </a:solidFill>
              </a:rPr>
              <a:t>Text</a:t>
            </a:r>
          </a:p>
        </p:txBody>
      </p:sp>
      <p:sp>
        <p:nvSpPr>
          <p:cNvPr id="18" name="Arrow: Chevron 17">
            <a:extLst>
              <a:ext uri="{FF2B5EF4-FFF2-40B4-BE49-F238E27FC236}">
                <a16:creationId xmlns:a16="http://schemas.microsoft.com/office/drawing/2014/main" id="{3DF55D15-51FF-408A-B3B8-C62AE0475CF9}"/>
              </a:ext>
            </a:extLst>
          </p:cNvPr>
          <p:cNvSpPr/>
          <p:nvPr/>
        </p:nvSpPr>
        <p:spPr>
          <a:xfrm>
            <a:off x="3758223" y="2868068"/>
            <a:ext cx="565673"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20" name="Arrow: Chevron 19">
            <a:extLst>
              <a:ext uri="{FF2B5EF4-FFF2-40B4-BE49-F238E27FC236}">
                <a16:creationId xmlns:a16="http://schemas.microsoft.com/office/drawing/2014/main" id="{9EDBED30-3E6D-4693-9168-913EC3912F12}"/>
              </a:ext>
            </a:extLst>
          </p:cNvPr>
          <p:cNvSpPr/>
          <p:nvPr/>
        </p:nvSpPr>
        <p:spPr>
          <a:xfrm>
            <a:off x="7866517" y="2868068"/>
            <a:ext cx="565673"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8471572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Development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FB506B61-49A8-4B64-AC2E-F47DAB2BEC9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Arrow: Right 9">
            <a:extLst>
              <a:ext uri="{FF2B5EF4-FFF2-40B4-BE49-F238E27FC236}">
                <a16:creationId xmlns:a16="http://schemas.microsoft.com/office/drawing/2014/main" id="{97502E12-E1B0-4841-B577-99D6CB7EA50E}"/>
              </a:ext>
            </a:extLst>
          </p:cNvPr>
          <p:cNvSpPr/>
          <p:nvPr/>
        </p:nvSpPr>
        <p:spPr>
          <a:xfrm>
            <a:off x="381001" y="2860276"/>
            <a:ext cx="11429365" cy="1572107"/>
          </a:xfrm>
          <a:prstGeom prst="rightArrow">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F1C3C676-DF0C-43B0-BF79-BC148C328275}"/>
              </a:ext>
            </a:extLst>
          </p:cNvPr>
          <p:cNvSpPr>
            <a:spLocks noChangeAspect="1" noChangeArrowheads="1"/>
          </p:cNvSpPr>
          <p:nvPr/>
        </p:nvSpPr>
        <p:spPr bwMode="auto">
          <a:xfrm>
            <a:off x="1102253" y="2228547"/>
            <a:ext cx="2880000" cy="2880000"/>
          </a:xfrm>
          <a:prstGeom prst="ellipse">
            <a:avLst/>
          </a:prstGeom>
          <a:solidFill>
            <a:schemeClr val="accent3"/>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sp>
        <p:nvSpPr>
          <p:cNvPr id="14" name="Oval 13">
            <a:extLst>
              <a:ext uri="{FF2B5EF4-FFF2-40B4-BE49-F238E27FC236}">
                <a16:creationId xmlns:a16="http://schemas.microsoft.com/office/drawing/2014/main" id="{810CE0C6-11CC-48B2-A39E-96B42C37B961}"/>
              </a:ext>
            </a:extLst>
          </p:cNvPr>
          <p:cNvSpPr>
            <a:spLocks noChangeAspect="1" noChangeArrowheads="1"/>
          </p:cNvSpPr>
          <p:nvPr/>
        </p:nvSpPr>
        <p:spPr bwMode="auto">
          <a:xfrm>
            <a:off x="4297489" y="2228547"/>
            <a:ext cx="2880000" cy="2880000"/>
          </a:xfrm>
          <a:prstGeom prst="ellipse">
            <a:avLst/>
          </a:prstGeom>
          <a:solidFill>
            <a:schemeClr val="accent2"/>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sp>
        <p:nvSpPr>
          <p:cNvPr id="16" name="Oval 15">
            <a:extLst>
              <a:ext uri="{FF2B5EF4-FFF2-40B4-BE49-F238E27FC236}">
                <a16:creationId xmlns:a16="http://schemas.microsoft.com/office/drawing/2014/main" id="{8B3C46AA-DF97-4FBE-A0E9-F7C15E581120}"/>
              </a:ext>
            </a:extLst>
          </p:cNvPr>
          <p:cNvSpPr>
            <a:spLocks noChangeAspect="1" noChangeArrowheads="1"/>
          </p:cNvSpPr>
          <p:nvPr/>
        </p:nvSpPr>
        <p:spPr bwMode="auto">
          <a:xfrm>
            <a:off x="7492725" y="2228547"/>
            <a:ext cx="2880000" cy="2880000"/>
          </a:xfrm>
          <a:prstGeom prst="ellipse">
            <a:avLst/>
          </a:prstGeom>
          <a:solidFill>
            <a:schemeClr val="accent1"/>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a:p>
            <a:pPr algn="ctr" eaLnBrk="0" hangingPunct="0">
              <a:spcBef>
                <a:spcPts val="100"/>
              </a:spcBef>
              <a:spcAft>
                <a:spcPts val="100"/>
              </a:spcAft>
            </a:pPr>
            <a:r>
              <a:rPr lang="en-US" dirty="0">
                <a:solidFill>
                  <a:schemeClr val="bg1"/>
                </a:solidFill>
              </a:rPr>
              <a:t>Text</a:t>
            </a:r>
          </a:p>
        </p:txBody>
      </p:sp>
    </p:spTree>
    <p:extLst>
      <p:ext uri="{BB962C8B-B14F-4D97-AF65-F5344CB8AC3E}">
        <p14:creationId xmlns:p14="http://schemas.microsoft.com/office/powerpoint/2010/main" val="305928062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rocess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642F6FEA-770F-4B80-B8B6-59D60DEC03E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2" name="Arrow: Chevron 21">
            <a:extLst>
              <a:ext uri="{FF2B5EF4-FFF2-40B4-BE49-F238E27FC236}">
                <a16:creationId xmlns:a16="http://schemas.microsoft.com/office/drawing/2014/main" id="{CB2D815B-E2D6-49B6-93C3-AB7584FEE935}"/>
              </a:ext>
            </a:extLst>
          </p:cNvPr>
          <p:cNvSpPr/>
          <p:nvPr/>
        </p:nvSpPr>
        <p:spPr>
          <a:xfrm>
            <a:off x="334964" y="1763713"/>
            <a:ext cx="2140035" cy="2419972"/>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3" name="Arrow: Chevron 22">
            <a:extLst>
              <a:ext uri="{FF2B5EF4-FFF2-40B4-BE49-F238E27FC236}">
                <a16:creationId xmlns:a16="http://schemas.microsoft.com/office/drawing/2014/main" id="{FF73984D-1118-43C7-8441-DF3D092387C5}"/>
              </a:ext>
            </a:extLst>
          </p:cNvPr>
          <p:cNvSpPr/>
          <p:nvPr/>
        </p:nvSpPr>
        <p:spPr>
          <a:xfrm>
            <a:off x="2211372" y="1763713"/>
            <a:ext cx="2140035" cy="2419972"/>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4" name="Arrow: Chevron 23">
            <a:extLst>
              <a:ext uri="{FF2B5EF4-FFF2-40B4-BE49-F238E27FC236}">
                <a16:creationId xmlns:a16="http://schemas.microsoft.com/office/drawing/2014/main" id="{E966AF0D-EE03-4AC5-AEFF-78B932121DFF}"/>
              </a:ext>
            </a:extLst>
          </p:cNvPr>
          <p:cNvSpPr/>
          <p:nvPr/>
        </p:nvSpPr>
        <p:spPr>
          <a:xfrm>
            <a:off x="4087779" y="1763713"/>
            <a:ext cx="2140035" cy="2419972"/>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5" name="Freeform: Shape 24">
            <a:extLst>
              <a:ext uri="{FF2B5EF4-FFF2-40B4-BE49-F238E27FC236}">
                <a16:creationId xmlns:a16="http://schemas.microsoft.com/office/drawing/2014/main" id="{07D42CE4-0829-4B94-88D2-93E47FBB1225}"/>
              </a:ext>
            </a:extLst>
          </p:cNvPr>
          <p:cNvSpPr/>
          <p:nvPr/>
        </p:nvSpPr>
        <p:spPr>
          <a:xfrm>
            <a:off x="5964187" y="1763713"/>
            <a:ext cx="2140035" cy="1735972"/>
          </a:xfrm>
          <a:custGeom>
            <a:avLst/>
            <a:gdLst>
              <a:gd name="connsiteX0" fmla="*/ 0 w 2140035"/>
              <a:gd name="connsiteY0" fmla="*/ 0 h 1735972"/>
              <a:gd name="connsiteX1" fmla="*/ 1628823 w 2140035"/>
              <a:gd name="connsiteY1" fmla="*/ 0 h 1735972"/>
              <a:gd name="connsiteX2" fmla="*/ 2140035 w 2140035"/>
              <a:gd name="connsiteY2" fmla="*/ 1209986 h 1735972"/>
              <a:gd name="connsiteX3" fmla="*/ 1917809 w 2140035"/>
              <a:gd name="connsiteY3" fmla="*/ 1735972 h 1735972"/>
              <a:gd name="connsiteX4" fmla="*/ 288986 w 2140035"/>
              <a:gd name="connsiteY4" fmla="*/ 1735972 h 1735972"/>
              <a:gd name="connsiteX5" fmla="*/ 511212 w 2140035"/>
              <a:gd name="connsiteY5" fmla="*/ 1209986 h 173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0035" h="1735972">
                <a:moveTo>
                  <a:pt x="0" y="0"/>
                </a:moveTo>
                <a:lnTo>
                  <a:pt x="1628823" y="0"/>
                </a:lnTo>
                <a:lnTo>
                  <a:pt x="2140035" y="1209986"/>
                </a:lnTo>
                <a:lnTo>
                  <a:pt x="1917809" y="1735972"/>
                </a:lnTo>
                <a:lnTo>
                  <a:pt x="288986" y="1735972"/>
                </a:lnTo>
                <a:lnTo>
                  <a:pt x="511212" y="1209986"/>
                </a:lnTo>
                <a:close/>
              </a:path>
            </a:pathLst>
          </a:cu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tIns="720000" rtlCol="0" anchor="ctr"/>
          <a:lstStyle/>
          <a:p>
            <a:pPr algn="ctr"/>
            <a:r>
              <a:rPr lang="en-AU" dirty="0">
                <a:solidFill>
                  <a:schemeClr val="tx1"/>
                </a:solidFill>
              </a:rPr>
              <a:t>Text</a:t>
            </a:r>
          </a:p>
        </p:txBody>
      </p:sp>
      <p:sp>
        <p:nvSpPr>
          <p:cNvPr id="26" name="Freeform: Shape 25">
            <a:extLst>
              <a:ext uri="{FF2B5EF4-FFF2-40B4-BE49-F238E27FC236}">
                <a16:creationId xmlns:a16="http://schemas.microsoft.com/office/drawing/2014/main" id="{32005861-CCFD-4027-8B47-E89BB6D51ABF}"/>
              </a:ext>
            </a:extLst>
          </p:cNvPr>
          <p:cNvSpPr/>
          <p:nvPr/>
        </p:nvSpPr>
        <p:spPr>
          <a:xfrm>
            <a:off x="7840595" y="1763713"/>
            <a:ext cx="2140035" cy="1735972"/>
          </a:xfrm>
          <a:custGeom>
            <a:avLst/>
            <a:gdLst>
              <a:gd name="connsiteX0" fmla="*/ 0 w 2140035"/>
              <a:gd name="connsiteY0" fmla="*/ 0 h 1735972"/>
              <a:gd name="connsiteX1" fmla="*/ 1628823 w 2140035"/>
              <a:gd name="connsiteY1" fmla="*/ 0 h 1735972"/>
              <a:gd name="connsiteX2" fmla="*/ 2140035 w 2140035"/>
              <a:gd name="connsiteY2" fmla="*/ 1209986 h 1735972"/>
              <a:gd name="connsiteX3" fmla="*/ 1917809 w 2140035"/>
              <a:gd name="connsiteY3" fmla="*/ 1735972 h 1735972"/>
              <a:gd name="connsiteX4" fmla="*/ 288986 w 2140035"/>
              <a:gd name="connsiteY4" fmla="*/ 1735972 h 1735972"/>
              <a:gd name="connsiteX5" fmla="*/ 511212 w 2140035"/>
              <a:gd name="connsiteY5" fmla="*/ 1209986 h 173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0035" h="1735972">
                <a:moveTo>
                  <a:pt x="0" y="0"/>
                </a:moveTo>
                <a:lnTo>
                  <a:pt x="1628823" y="0"/>
                </a:lnTo>
                <a:lnTo>
                  <a:pt x="2140035" y="1209986"/>
                </a:lnTo>
                <a:lnTo>
                  <a:pt x="1917809" y="1735972"/>
                </a:lnTo>
                <a:lnTo>
                  <a:pt x="288986" y="1735972"/>
                </a:lnTo>
                <a:lnTo>
                  <a:pt x="511212" y="1209986"/>
                </a:lnTo>
                <a:close/>
              </a:path>
            </a:pathLst>
          </a:cu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tIns="720000" rtlCol="0" anchor="ctr"/>
          <a:lstStyle/>
          <a:p>
            <a:pPr algn="ctr"/>
            <a:r>
              <a:rPr lang="en-AU" dirty="0">
                <a:solidFill>
                  <a:schemeClr val="tx1"/>
                </a:solidFill>
              </a:rPr>
              <a:t>Text</a:t>
            </a:r>
          </a:p>
        </p:txBody>
      </p:sp>
      <p:sp>
        <p:nvSpPr>
          <p:cNvPr id="27" name="Arrow: Chevron 26">
            <a:extLst>
              <a:ext uri="{FF2B5EF4-FFF2-40B4-BE49-F238E27FC236}">
                <a16:creationId xmlns:a16="http://schemas.microsoft.com/office/drawing/2014/main" id="{BAB86800-6DD8-496B-8A81-6F5EE681E284}"/>
              </a:ext>
            </a:extLst>
          </p:cNvPr>
          <p:cNvSpPr/>
          <p:nvPr/>
        </p:nvSpPr>
        <p:spPr>
          <a:xfrm>
            <a:off x="9717003" y="1763713"/>
            <a:ext cx="2140035" cy="2419972"/>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8" name="Rectangle 11">
            <a:extLst>
              <a:ext uri="{FF2B5EF4-FFF2-40B4-BE49-F238E27FC236}">
                <a16:creationId xmlns:a16="http://schemas.microsoft.com/office/drawing/2014/main" id="{11C65CFE-F051-4EC5-8B19-EC4D397F8686}"/>
              </a:ext>
            </a:extLst>
          </p:cNvPr>
          <p:cNvSpPr>
            <a:spLocks noChangeArrowheads="1"/>
          </p:cNvSpPr>
          <p:nvPr/>
        </p:nvSpPr>
        <p:spPr bwMode="auto">
          <a:xfrm>
            <a:off x="1264551" y="5103556"/>
            <a:ext cx="1656000" cy="720000"/>
          </a:xfrm>
          <a:prstGeom prst="rect">
            <a:avLst/>
          </a:prstGeom>
          <a:solidFill>
            <a:schemeClr val="accent1"/>
          </a:solidFill>
          <a:ln w="6350">
            <a:noFill/>
            <a:miter lim="800000"/>
            <a:headEnd/>
            <a:tailEnd/>
          </a:ln>
          <a:effectLst/>
        </p:spPr>
        <p:txBody>
          <a:bodyPr wrap="none" anchor="ctr"/>
          <a:lstStyle/>
          <a:p>
            <a:pPr algn="ctr" eaLnBrk="0" hangingPunct="0"/>
            <a:r>
              <a:rPr lang="en-GB" b="1">
                <a:solidFill>
                  <a:schemeClr val="bg1"/>
                </a:solidFill>
              </a:rPr>
              <a:t>Text</a:t>
            </a:r>
          </a:p>
        </p:txBody>
      </p:sp>
      <p:sp>
        <p:nvSpPr>
          <p:cNvPr id="29" name="Rectangle 12">
            <a:extLst>
              <a:ext uri="{FF2B5EF4-FFF2-40B4-BE49-F238E27FC236}">
                <a16:creationId xmlns:a16="http://schemas.microsoft.com/office/drawing/2014/main" id="{384823F1-7063-4065-BD00-671BD5A58602}"/>
              </a:ext>
            </a:extLst>
          </p:cNvPr>
          <p:cNvSpPr>
            <a:spLocks noChangeArrowheads="1"/>
          </p:cNvSpPr>
          <p:nvPr/>
        </p:nvSpPr>
        <p:spPr bwMode="auto">
          <a:xfrm>
            <a:off x="5020069" y="5103556"/>
            <a:ext cx="1656000" cy="720000"/>
          </a:xfrm>
          <a:prstGeom prst="rect">
            <a:avLst/>
          </a:prstGeom>
          <a:solidFill>
            <a:schemeClr val="accent1"/>
          </a:solidFill>
          <a:ln w="6350">
            <a:noFill/>
            <a:miter lim="800000"/>
            <a:headEnd/>
            <a:tailEnd/>
          </a:ln>
          <a:effectLst/>
        </p:spPr>
        <p:txBody>
          <a:bodyPr wrap="none" anchor="ctr"/>
          <a:lstStyle/>
          <a:p>
            <a:pPr algn="ctr" eaLnBrk="0" hangingPunct="0"/>
            <a:r>
              <a:rPr lang="en-GB" b="1">
                <a:solidFill>
                  <a:schemeClr val="bg1"/>
                </a:solidFill>
              </a:rPr>
              <a:t>Text</a:t>
            </a:r>
          </a:p>
        </p:txBody>
      </p:sp>
      <p:sp>
        <p:nvSpPr>
          <p:cNvPr id="30" name="Rectangle 13">
            <a:extLst>
              <a:ext uri="{FF2B5EF4-FFF2-40B4-BE49-F238E27FC236}">
                <a16:creationId xmlns:a16="http://schemas.microsoft.com/office/drawing/2014/main" id="{AF469A61-5A13-461A-85A4-380844CCEB53}"/>
              </a:ext>
            </a:extLst>
          </p:cNvPr>
          <p:cNvSpPr>
            <a:spLocks noChangeArrowheads="1"/>
          </p:cNvSpPr>
          <p:nvPr/>
        </p:nvSpPr>
        <p:spPr bwMode="auto">
          <a:xfrm>
            <a:off x="3142310" y="5103556"/>
            <a:ext cx="1656000" cy="720000"/>
          </a:xfrm>
          <a:prstGeom prst="rect">
            <a:avLst/>
          </a:prstGeom>
          <a:solidFill>
            <a:schemeClr val="accent1"/>
          </a:solidFill>
          <a:ln w="6350">
            <a:noFill/>
            <a:miter lim="800000"/>
            <a:headEnd/>
            <a:tailEnd/>
          </a:ln>
          <a:effectLst/>
        </p:spPr>
        <p:txBody>
          <a:bodyPr wrap="none" anchor="ctr"/>
          <a:lstStyle/>
          <a:p>
            <a:pPr algn="ctr" eaLnBrk="0" hangingPunct="0"/>
            <a:r>
              <a:rPr lang="en-GB" b="1">
                <a:solidFill>
                  <a:schemeClr val="bg1"/>
                </a:solidFill>
              </a:rPr>
              <a:t>Text</a:t>
            </a:r>
          </a:p>
        </p:txBody>
      </p:sp>
      <p:sp>
        <p:nvSpPr>
          <p:cNvPr id="31" name="Rectangle 14">
            <a:extLst>
              <a:ext uri="{FF2B5EF4-FFF2-40B4-BE49-F238E27FC236}">
                <a16:creationId xmlns:a16="http://schemas.microsoft.com/office/drawing/2014/main" id="{53A865C9-6DF5-4AA9-B73F-A9C813E0C509}"/>
              </a:ext>
            </a:extLst>
          </p:cNvPr>
          <p:cNvSpPr>
            <a:spLocks noChangeArrowheads="1"/>
          </p:cNvSpPr>
          <p:nvPr/>
        </p:nvSpPr>
        <p:spPr bwMode="auto">
          <a:xfrm>
            <a:off x="8768384" y="5103556"/>
            <a:ext cx="1656000" cy="720000"/>
          </a:xfrm>
          <a:prstGeom prst="rect">
            <a:avLst/>
          </a:prstGeom>
          <a:solidFill>
            <a:schemeClr val="accent1"/>
          </a:solidFill>
          <a:ln w="6350">
            <a:noFill/>
            <a:miter lim="800000"/>
            <a:headEnd/>
            <a:tailEnd/>
          </a:ln>
          <a:effectLst/>
        </p:spPr>
        <p:txBody>
          <a:bodyPr wrap="none" anchor="ctr"/>
          <a:lstStyle/>
          <a:p>
            <a:pPr algn="ctr" eaLnBrk="0" hangingPunct="0"/>
            <a:r>
              <a:rPr lang="en-GB" b="1">
                <a:solidFill>
                  <a:schemeClr val="bg1"/>
                </a:solidFill>
              </a:rPr>
              <a:t>Text</a:t>
            </a:r>
          </a:p>
        </p:txBody>
      </p:sp>
      <p:sp>
        <p:nvSpPr>
          <p:cNvPr id="32" name="Freeform: Shape 31">
            <a:extLst>
              <a:ext uri="{FF2B5EF4-FFF2-40B4-BE49-F238E27FC236}">
                <a16:creationId xmlns:a16="http://schemas.microsoft.com/office/drawing/2014/main" id="{5DB1A658-DC44-4444-BA35-58D30F4DCA5C}"/>
              </a:ext>
            </a:extLst>
          </p:cNvPr>
          <p:cNvSpPr/>
          <p:nvPr/>
        </p:nvSpPr>
        <p:spPr>
          <a:xfrm>
            <a:off x="5964187" y="3652671"/>
            <a:ext cx="3729581" cy="531014"/>
          </a:xfrm>
          <a:custGeom>
            <a:avLst/>
            <a:gdLst>
              <a:gd name="connsiteX0" fmla="*/ 224351 w 3729581"/>
              <a:gd name="connsiteY0" fmla="*/ 0 h 531014"/>
              <a:gd name="connsiteX1" fmla="*/ 3729581 w 3729581"/>
              <a:gd name="connsiteY1" fmla="*/ 0 h 531014"/>
              <a:gd name="connsiteX2" fmla="*/ 3505231 w 3729581"/>
              <a:gd name="connsiteY2" fmla="*/ 531014 h 531014"/>
              <a:gd name="connsiteX3" fmla="*/ 2727637 w 3729581"/>
              <a:gd name="connsiteY3" fmla="*/ 531014 h 531014"/>
              <a:gd name="connsiteX4" fmla="*/ 1876408 w 3729581"/>
              <a:gd name="connsiteY4" fmla="*/ 531014 h 531014"/>
              <a:gd name="connsiteX5" fmla="*/ 1628823 w 3729581"/>
              <a:gd name="connsiteY5" fmla="*/ 531014 h 531014"/>
              <a:gd name="connsiteX6" fmla="*/ 1089756 w 3729581"/>
              <a:gd name="connsiteY6" fmla="*/ 531014 h 531014"/>
              <a:gd name="connsiteX7" fmla="*/ 0 w 3729581"/>
              <a:gd name="connsiteY7" fmla="*/ 531014 h 531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9581" h="531014">
                <a:moveTo>
                  <a:pt x="224351" y="0"/>
                </a:moveTo>
                <a:lnTo>
                  <a:pt x="3729581" y="0"/>
                </a:lnTo>
                <a:lnTo>
                  <a:pt x="3505231" y="531014"/>
                </a:lnTo>
                <a:lnTo>
                  <a:pt x="2727637" y="531014"/>
                </a:lnTo>
                <a:lnTo>
                  <a:pt x="1876408" y="531014"/>
                </a:lnTo>
                <a:lnTo>
                  <a:pt x="1628823" y="531014"/>
                </a:lnTo>
                <a:lnTo>
                  <a:pt x="1089756" y="531014"/>
                </a:lnTo>
                <a:lnTo>
                  <a:pt x="0" y="531014"/>
                </a:lnTo>
                <a:close/>
              </a:path>
            </a:pathLst>
          </a:cu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cxnSp>
        <p:nvCxnSpPr>
          <p:cNvPr id="33" name="Straight Arrow Connector 32">
            <a:extLst>
              <a:ext uri="{FF2B5EF4-FFF2-40B4-BE49-F238E27FC236}">
                <a16:creationId xmlns:a16="http://schemas.microsoft.com/office/drawing/2014/main" id="{90F079E8-F4A5-4460-869C-5BD08FAC3FC2}"/>
              </a:ext>
            </a:extLst>
          </p:cNvPr>
          <p:cNvCxnSpPr/>
          <p:nvPr/>
        </p:nvCxnSpPr>
        <p:spPr>
          <a:xfrm flipV="1">
            <a:off x="7034204" y="3295859"/>
            <a:ext cx="0" cy="462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0D34BE0-732E-4E57-A2C6-E7B8092E427E}"/>
              </a:ext>
            </a:extLst>
          </p:cNvPr>
          <p:cNvCxnSpPr/>
          <p:nvPr/>
        </p:nvCxnSpPr>
        <p:spPr>
          <a:xfrm>
            <a:off x="8913245" y="3295859"/>
            <a:ext cx="0" cy="462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125DF614-98C3-48FA-A223-96E41087C541}"/>
              </a:ext>
            </a:extLst>
          </p:cNvPr>
          <p:cNvCxnSpPr/>
          <p:nvPr/>
        </p:nvCxnSpPr>
        <p:spPr>
          <a:xfrm>
            <a:off x="2092551" y="4552801"/>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78C65DB5-483C-4511-9C97-4D59C2CCF223}"/>
              </a:ext>
            </a:extLst>
          </p:cNvPr>
          <p:cNvCxnSpPr/>
          <p:nvPr/>
        </p:nvCxnSpPr>
        <p:spPr>
          <a:xfrm>
            <a:off x="3970310" y="4552801"/>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4B330C7F-BDFA-4BD2-9A14-8E95833E0816}"/>
              </a:ext>
            </a:extLst>
          </p:cNvPr>
          <p:cNvCxnSpPr/>
          <p:nvPr/>
        </p:nvCxnSpPr>
        <p:spPr>
          <a:xfrm>
            <a:off x="5848069" y="4552801"/>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977DEA03-83ED-4BA1-A98C-BBFD8B065BBA}"/>
              </a:ext>
            </a:extLst>
          </p:cNvPr>
          <p:cNvCxnSpPr/>
          <p:nvPr/>
        </p:nvCxnSpPr>
        <p:spPr>
          <a:xfrm>
            <a:off x="9596384" y="4552801"/>
            <a:ext cx="0" cy="359917"/>
          </a:xfrm>
          <a:prstGeom prst="straightConnector1">
            <a:avLst/>
          </a:prstGeom>
          <a:ln w="38100">
            <a:solidFill>
              <a:schemeClr val="accent2"/>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7013886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rocess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3" name="Rectangle 22">
            <a:hlinkClick r:id="rId3" action="ppaction://hlinksldjump"/>
            <a:extLst>
              <a:ext uri="{FF2B5EF4-FFF2-40B4-BE49-F238E27FC236}">
                <a16:creationId xmlns:a16="http://schemas.microsoft.com/office/drawing/2014/main" id="{0EF29BDA-6E04-4493-BF86-4C95294182E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2" name="Arrow: Chevron 21">
            <a:extLst>
              <a:ext uri="{FF2B5EF4-FFF2-40B4-BE49-F238E27FC236}">
                <a16:creationId xmlns:a16="http://schemas.microsoft.com/office/drawing/2014/main" id="{BC38E987-DC61-4FE0-9B3E-682B6F64B4C7}"/>
              </a:ext>
            </a:extLst>
          </p:cNvPr>
          <p:cNvSpPr/>
          <p:nvPr/>
        </p:nvSpPr>
        <p:spPr>
          <a:xfrm>
            <a:off x="427038" y="2116396"/>
            <a:ext cx="2499862" cy="2915431"/>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6" name="Arrow: Chevron 25">
            <a:extLst>
              <a:ext uri="{FF2B5EF4-FFF2-40B4-BE49-F238E27FC236}">
                <a16:creationId xmlns:a16="http://schemas.microsoft.com/office/drawing/2014/main" id="{95AAFD3A-8133-4CFE-9933-9A6EF00CF2EC}"/>
              </a:ext>
            </a:extLst>
          </p:cNvPr>
          <p:cNvSpPr/>
          <p:nvPr/>
        </p:nvSpPr>
        <p:spPr>
          <a:xfrm>
            <a:off x="9357176" y="2116396"/>
            <a:ext cx="2499862" cy="2915431"/>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28" name="Arrow: Chevron 27">
            <a:extLst>
              <a:ext uri="{FF2B5EF4-FFF2-40B4-BE49-F238E27FC236}">
                <a16:creationId xmlns:a16="http://schemas.microsoft.com/office/drawing/2014/main" id="{7F730E43-D14C-4649-9542-D529D53944D9}"/>
              </a:ext>
            </a:extLst>
          </p:cNvPr>
          <p:cNvSpPr/>
          <p:nvPr/>
        </p:nvSpPr>
        <p:spPr>
          <a:xfrm>
            <a:off x="7213751" y="2116396"/>
            <a:ext cx="2499862" cy="2915431"/>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a:solidFill>
                  <a:schemeClr val="tx1"/>
                </a:solidFill>
              </a:rPr>
              <a:t>Text</a:t>
            </a:r>
          </a:p>
        </p:txBody>
      </p:sp>
      <p:sp>
        <p:nvSpPr>
          <p:cNvPr id="30" name="Freeform 5">
            <a:extLst>
              <a:ext uri="{FF2B5EF4-FFF2-40B4-BE49-F238E27FC236}">
                <a16:creationId xmlns:a16="http://schemas.microsoft.com/office/drawing/2014/main" id="{F0BA0AAA-6BD0-4286-B073-B07CB75D5273}"/>
              </a:ext>
            </a:extLst>
          </p:cNvPr>
          <p:cNvSpPr>
            <a:spLocks/>
          </p:cNvSpPr>
          <p:nvPr/>
        </p:nvSpPr>
        <p:spPr bwMode="auto">
          <a:xfrm>
            <a:off x="2570464" y="2116396"/>
            <a:ext cx="4940164" cy="1368254"/>
          </a:xfrm>
          <a:custGeom>
            <a:avLst/>
            <a:gdLst>
              <a:gd name="T0" fmla="*/ 1901 w 3282"/>
              <a:gd name="T1" fmla="*/ 909 h 909"/>
              <a:gd name="T2" fmla="*/ 3282 w 3282"/>
              <a:gd name="T3" fmla="*/ 909 h 909"/>
              <a:gd name="T4" fmla="*/ 2906 w 3282"/>
              <a:gd name="T5" fmla="*/ 0 h 909"/>
              <a:gd name="T6" fmla="*/ 2544 w 3282"/>
              <a:gd name="T7" fmla="*/ 0 h 909"/>
              <a:gd name="T8" fmla="*/ 1525 w 3282"/>
              <a:gd name="T9" fmla="*/ 0 h 909"/>
              <a:gd name="T10" fmla="*/ 1382 w 3282"/>
              <a:gd name="T11" fmla="*/ 0 h 909"/>
              <a:gd name="T12" fmla="*/ 1149 w 3282"/>
              <a:gd name="T13" fmla="*/ 0 h 909"/>
              <a:gd name="T14" fmla="*/ 0 w 3282"/>
              <a:gd name="T15" fmla="*/ 0 h 909"/>
              <a:gd name="T16" fmla="*/ 376 w 3282"/>
              <a:gd name="T17" fmla="*/ 909 h 909"/>
              <a:gd name="T18" fmla="*/ 1758 w 3282"/>
              <a:gd name="T19" fmla="*/ 909 h 909"/>
              <a:gd name="T20" fmla="*/ 1756 w 3282"/>
              <a:gd name="T21" fmla="*/ 909 h 909"/>
              <a:gd name="T22" fmla="*/ 1901 w 3282"/>
              <a:gd name="T23" fmla="*/ 909 h 909"/>
              <a:gd name="T24" fmla="*/ 1901 w 3282"/>
              <a:gd name="T25"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2" h="909">
                <a:moveTo>
                  <a:pt x="1901" y="909"/>
                </a:moveTo>
                <a:lnTo>
                  <a:pt x="3282" y="909"/>
                </a:lnTo>
                <a:lnTo>
                  <a:pt x="2906" y="0"/>
                </a:lnTo>
                <a:lnTo>
                  <a:pt x="2544" y="0"/>
                </a:lnTo>
                <a:lnTo>
                  <a:pt x="1525" y="0"/>
                </a:lnTo>
                <a:lnTo>
                  <a:pt x="1382" y="0"/>
                </a:lnTo>
                <a:lnTo>
                  <a:pt x="1149" y="0"/>
                </a:lnTo>
                <a:lnTo>
                  <a:pt x="0" y="0"/>
                </a:lnTo>
                <a:lnTo>
                  <a:pt x="376" y="909"/>
                </a:lnTo>
                <a:lnTo>
                  <a:pt x="1758" y="909"/>
                </a:lnTo>
                <a:lnTo>
                  <a:pt x="1756" y="909"/>
                </a:lnTo>
                <a:lnTo>
                  <a:pt x="1901" y="909"/>
                </a:lnTo>
                <a:lnTo>
                  <a:pt x="1901" y="909"/>
                </a:lnTo>
                <a:close/>
              </a:path>
            </a:pathLst>
          </a:custGeom>
          <a:solidFill>
            <a:schemeClr val="accent1">
              <a:lumMod val="40000"/>
              <a:lumOff val="60000"/>
            </a:schemeClr>
          </a:solidFill>
          <a:ln>
            <a:noFill/>
          </a:ln>
        </p:spPr>
        <p:txBody>
          <a:bodyPr vert="horz" wrap="square" lIns="91440" tIns="45720" rIns="91440" bIns="45720" numCol="1" anchor="ctr" anchorCtr="0" compatLnSpc="1">
            <a:prstTxWarp prst="textNoShape">
              <a:avLst/>
            </a:prstTxWarp>
          </a:bodyPr>
          <a:lstStyle/>
          <a:p>
            <a:pPr algn="ctr"/>
            <a:r>
              <a:rPr lang="en-AU" dirty="0"/>
              <a:t>Text</a:t>
            </a:r>
          </a:p>
        </p:txBody>
      </p:sp>
      <p:sp>
        <p:nvSpPr>
          <p:cNvPr id="32" name="Freeform 6">
            <a:extLst>
              <a:ext uri="{FF2B5EF4-FFF2-40B4-BE49-F238E27FC236}">
                <a16:creationId xmlns:a16="http://schemas.microsoft.com/office/drawing/2014/main" id="{8C2E2EAF-ABF7-4708-BD96-BF63CFFF7922}"/>
              </a:ext>
            </a:extLst>
          </p:cNvPr>
          <p:cNvSpPr>
            <a:spLocks/>
          </p:cNvSpPr>
          <p:nvPr/>
        </p:nvSpPr>
        <p:spPr bwMode="auto">
          <a:xfrm>
            <a:off x="4865939" y="3662267"/>
            <a:ext cx="2644689" cy="1368254"/>
          </a:xfrm>
          <a:custGeom>
            <a:avLst/>
            <a:gdLst>
              <a:gd name="T0" fmla="*/ 1757 w 1757"/>
              <a:gd name="T1" fmla="*/ 0 h 909"/>
              <a:gd name="T2" fmla="*/ 376 w 1757"/>
              <a:gd name="T3" fmla="*/ 0 h 909"/>
              <a:gd name="T4" fmla="*/ 0 w 1757"/>
              <a:gd name="T5" fmla="*/ 909 h 909"/>
              <a:gd name="T6" fmla="*/ 1381 w 1757"/>
              <a:gd name="T7" fmla="*/ 909 h 909"/>
              <a:gd name="T8" fmla="*/ 1757 w 1757"/>
              <a:gd name="T9" fmla="*/ 0 h 909"/>
            </a:gdLst>
            <a:ahLst/>
            <a:cxnLst>
              <a:cxn ang="0">
                <a:pos x="T0" y="T1"/>
              </a:cxn>
              <a:cxn ang="0">
                <a:pos x="T2" y="T3"/>
              </a:cxn>
              <a:cxn ang="0">
                <a:pos x="T4" y="T5"/>
              </a:cxn>
              <a:cxn ang="0">
                <a:pos x="T6" y="T7"/>
              </a:cxn>
              <a:cxn ang="0">
                <a:pos x="T8" y="T9"/>
              </a:cxn>
            </a:cxnLst>
            <a:rect l="0" t="0" r="r" b="b"/>
            <a:pathLst>
              <a:path w="1757" h="909">
                <a:moveTo>
                  <a:pt x="1757" y="0"/>
                </a:moveTo>
                <a:lnTo>
                  <a:pt x="376" y="0"/>
                </a:lnTo>
                <a:lnTo>
                  <a:pt x="0" y="909"/>
                </a:lnTo>
                <a:lnTo>
                  <a:pt x="1381" y="909"/>
                </a:lnTo>
                <a:lnTo>
                  <a:pt x="1757" y="0"/>
                </a:lnTo>
                <a:close/>
              </a:path>
            </a:pathLst>
          </a:custGeom>
          <a:solidFill>
            <a:schemeClr val="accent1">
              <a:lumMod val="20000"/>
              <a:lumOff val="80000"/>
            </a:schemeClr>
          </a:solidFill>
          <a:ln>
            <a:noFill/>
          </a:ln>
        </p:spPr>
        <p:txBody>
          <a:bodyPr vert="horz" wrap="square" lIns="91440" tIns="45720" rIns="91440" bIns="45720" numCol="1" anchor="ctr" anchorCtr="0" compatLnSpc="1">
            <a:prstTxWarp prst="textNoShape">
              <a:avLst/>
            </a:prstTxWarp>
          </a:bodyPr>
          <a:lstStyle/>
          <a:p>
            <a:pPr algn="ctr"/>
            <a:r>
              <a:rPr lang="en-AU" dirty="0"/>
              <a:t>Text</a:t>
            </a:r>
          </a:p>
        </p:txBody>
      </p:sp>
      <p:sp>
        <p:nvSpPr>
          <p:cNvPr id="34" name="Freeform 7">
            <a:extLst>
              <a:ext uri="{FF2B5EF4-FFF2-40B4-BE49-F238E27FC236}">
                <a16:creationId xmlns:a16="http://schemas.microsoft.com/office/drawing/2014/main" id="{37850043-90D5-4CBE-BFC2-FA35F46D1EC6}"/>
              </a:ext>
            </a:extLst>
          </p:cNvPr>
          <p:cNvSpPr>
            <a:spLocks/>
          </p:cNvSpPr>
          <p:nvPr/>
        </p:nvSpPr>
        <p:spPr bwMode="auto">
          <a:xfrm>
            <a:off x="4865939" y="3662267"/>
            <a:ext cx="2644689" cy="1368254"/>
          </a:xfrm>
          <a:custGeom>
            <a:avLst/>
            <a:gdLst>
              <a:gd name="T0" fmla="*/ 1757 w 1757"/>
              <a:gd name="T1" fmla="*/ 0 h 909"/>
              <a:gd name="T2" fmla="*/ 376 w 1757"/>
              <a:gd name="T3" fmla="*/ 0 h 909"/>
              <a:gd name="T4" fmla="*/ 0 w 1757"/>
              <a:gd name="T5" fmla="*/ 909 h 909"/>
              <a:gd name="T6" fmla="*/ 1381 w 1757"/>
              <a:gd name="T7" fmla="*/ 909 h 909"/>
              <a:gd name="T8" fmla="*/ 1757 w 1757"/>
              <a:gd name="T9" fmla="*/ 0 h 909"/>
            </a:gdLst>
            <a:ahLst/>
            <a:cxnLst>
              <a:cxn ang="0">
                <a:pos x="T0" y="T1"/>
              </a:cxn>
              <a:cxn ang="0">
                <a:pos x="T2" y="T3"/>
              </a:cxn>
              <a:cxn ang="0">
                <a:pos x="T4" y="T5"/>
              </a:cxn>
              <a:cxn ang="0">
                <a:pos x="T6" y="T7"/>
              </a:cxn>
              <a:cxn ang="0">
                <a:pos x="T8" y="T9"/>
              </a:cxn>
            </a:cxnLst>
            <a:rect l="0" t="0" r="r" b="b"/>
            <a:pathLst>
              <a:path w="1757" h="909">
                <a:moveTo>
                  <a:pt x="1757" y="0"/>
                </a:moveTo>
                <a:lnTo>
                  <a:pt x="376" y="0"/>
                </a:lnTo>
                <a:lnTo>
                  <a:pt x="0" y="909"/>
                </a:lnTo>
                <a:lnTo>
                  <a:pt x="1381" y="909"/>
                </a:lnTo>
                <a:lnTo>
                  <a:pt x="1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8">
            <a:extLst>
              <a:ext uri="{FF2B5EF4-FFF2-40B4-BE49-F238E27FC236}">
                <a16:creationId xmlns:a16="http://schemas.microsoft.com/office/drawing/2014/main" id="{B30E56A0-09E8-45DD-8B92-ED2033B0D26C}"/>
              </a:ext>
            </a:extLst>
          </p:cNvPr>
          <p:cNvSpPr>
            <a:spLocks/>
          </p:cNvSpPr>
          <p:nvPr/>
        </p:nvSpPr>
        <p:spPr bwMode="auto">
          <a:xfrm>
            <a:off x="2570464" y="3662267"/>
            <a:ext cx="2646194" cy="1368254"/>
          </a:xfrm>
          <a:custGeom>
            <a:avLst/>
            <a:gdLst>
              <a:gd name="T0" fmla="*/ 1758 w 1758"/>
              <a:gd name="T1" fmla="*/ 0 h 909"/>
              <a:gd name="T2" fmla="*/ 376 w 1758"/>
              <a:gd name="T3" fmla="*/ 0 h 909"/>
              <a:gd name="T4" fmla="*/ 0 w 1758"/>
              <a:gd name="T5" fmla="*/ 909 h 909"/>
              <a:gd name="T6" fmla="*/ 1382 w 1758"/>
              <a:gd name="T7" fmla="*/ 909 h 909"/>
              <a:gd name="T8" fmla="*/ 1758 w 1758"/>
              <a:gd name="T9" fmla="*/ 0 h 909"/>
            </a:gdLst>
            <a:ahLst/>
            <a:cxnLst>
              <a:cxn ang="0">
                <a:pos x="T0" y="T1"/>
              </a:cxn>
              <a:cxn ang="0">
                <a:pos x="T2" y="T3"/>
              </a:cxn>
              <a:cxn ang="0">
                <a:pos x="T4" y="T5"/>
              </a:cxn>
              <a:cxn ang="0">
                <a:pos x="T6" y="T7"/>
              </a:cxn>
              <a:cxn ang="0">
                <a:pos x="T8" y="T9"/>
              </a:cxn>
            </a:cxnLst>
            <a:rect l="0" t="0" r="r" b="b"/>
            <a:pathLst>
              <a:path w="1758" h="909">
                <a:moveTo>
                  <a:pt x="1758" y="0"/>
                </a:moveTo>
                <a:lnTo>
                  <a:pt x="376" y="0"/>
                </a:lnTo>
                <a:lnTo>
                  <a:pt x="0" y="909"/>
                </a:lnTo>
                <a:lnTo>
                  <a:pt x="1382" y="909"/>
                </a:lnTo>
                <a:lnTo>
                  <a:pt x="1758" y="0"/>
                </a:lnTo>
                <a:close/>
              </a:path>
            </a:pathLst>
          </a:custGeom>
          <a:solidFill>
            <a:schemeClr val="accent1">
              <a:lumMod val="20000"/>
              <a:lumOff val="80000"/>
            </a:schemeClr>
          </a:solidFill>
          <a:ln>
            <a:noFill/>
          </a:ln>
        </p:spPr>
        <p:txBody>
          <a:bodyPr vert="horz" wrap="square" lIns="91440" tIns="45720" rIns="91440" bIns="45720" numCol="1" anchor="ctr" anchorCtr="0" compatLnSpc="1">
            <a:prstTxWarp prst="textNoShape">
              <a:avLst/>
            </a:prstTxWarp>
          </a:bodyPr>
          <a:lstStyle/>
          <a:p>
            <a:pPr algn="ctr"/>
            <a:r>
              <a:rPr lang="en-AU" dirty="0"/>
              <a:t>Text</a:t>
            </a:r>
          </a:p>
          <a:p>
            <a:pPr algn="ctr"/>
            <a:endParaRPr lang="en-GB" dirty="0"/>
          </a:p>
        </p:txBody>
      </p:sp>
      <p:sp>
        <p:nvSpPr>
          <p:cNvPr id="38" name="Freeform 9">
            <a:extLst>
              <a:ext uri="{FF2B5EF4-FFF2-40B4-BE49-F238E27FC236}">
                <a16:creationId xmlns:a16="http://schemas.microsoft.com/office/drawing/2014/main" id="{77A66578-29A1-4D80-A6DE-6490738DD5CE}"/>
              </a:ext>
            </a:extLst>
          </p:cNvPr>
          <p:cNvSpPr>
            <a:spLocks/>
          </p:cNvSpPr>
          <p:nvPr/>
        </p:nvSpPr>
        <p:spPr bwMode="auto">
          <a:xfrm>
            <a:off x="2570464" y="3662267"/>
            <a:ext cx="2646194" cy="1368254"/>
          </a:xfrm>
          <a:custGeom>
            <a:avLst/>
            <a:gdLst>
              <a:gd name="T0" fmla="*/ 1758 w 1758"/>
              <a:gd name="T1" fmla="*/ 0 h 909"/>
              <a:gd name="T2" fmla="*/ 376 w 1758"/>
              <a:gd name="T3" fmla="*/ 0 h 909"/>
              <a:gd name="T4" fmla="*/ 0 w 1758"/>
              <a:gd name="T5" fmla="*/ 909 h 909"/>
              <a:gd name="T6" fmla="*/ 1382 w 1758"/>
              <a:gd name="T7" fmla="*/ 909 h 909"/>
              <a:gd name="T8" fmla="*/ 1758 w 1758"/>
              <a:gd name="T9" fmla="*/ 0 h 909"/>
            </a:gdLst>
            <a:ahLst/>
            <a:cxnLst>
              <a:cxn ang="0">
                <a:pos x="T0" y="T1"/>
              </a:cxn>
              <a:cxn ang="0">
                <a:pos x="T2" y="T3"/>
              </a:cxn>
              <a:cxn ang="0">
                <a:pos x="T4" y="T5"/>
              </a:cxn>
              <a:cxn ang="0">
                <a:pos x="T6" y="T7"/>
              </a:cxn>
              <a:cxn ang="0">
                <a:pos x="T8" y="T9"/>
              </a:cxn>
            </a:cxnLst>
            <a:rect l="0" t="0" r="r" b="b"/>
            <a:pathLst>
              <a:path w="1758" h="909">
                <a:moveTo>
                  <a:pt x="1758" y="0"/>
                </a:moveTo>
                <a:lnTo>
                  <a:pt x="376" y="0"/>
                </a:lnTo>
                <a:lnTo>
                  <a:pt x="0" y="909"/>
                </a:lnTo>
                <a:lnTo>
                  <a:pt x="1382" y="909"/>
                </a:lnTo>
                <a:lnTo>
                  <a:pt x="1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Rectangle 11">
            <a:extLst>
              <a:ext uri="{FF2B5EF4-FFF2-40B4-BE49-F238E27FC236}">
                <a16:creationId xmlns:a16="http://schemas.microsoft.com/office/drawing/2014/main" id="{1978CBCA-1388-49C9-B2C2-B876F52E48F2}"/>
              </a:ext>
            </a:extLst>
          </p:cNvPr>
          <p:cNvSpPr>
            <a:spLocks noChangeArrowheads="1"/>
          </p:cNvSpPr>
          <p:nvPr/>
        </p:nvSpPr>
        <p:spPr bwMode="auto">
          <a:xfrm>
            <a:off x="437012" y="1555601"/>
            <a:ext cx="1887220" cy="440576"/>
          </a:xfrm>
          <a:prstGeom prst="rect">
            <a:avLst/>
          </a:prstGeom>
          <a:solidFill>
            <a:schemeClr val="tx2"/>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42" name="Rectangle 11">
            <a:extLst>
              <a:ext uri="{FF2B5EF4-FFF2-40B4-BE49-F238E27FC236}">
                <a16:creationId xmlns:a16="http://schemas.microsoft.com/office/drawing/2014/main" id="{BF3EA759-51AA-42AB-A1E2-12F12962BBEA}"/>
              </a:ext>
            </a:extLst>
          </p:cNvPr>
          <p:cNvSpPr>
            <a:spLocks noChangeArrowheads="1"/>
          </p:cNvSpPr>
          <p:nvPr/>
        </p:nvSpPr>
        <p:spPr bwMode="auto">
          <a:xfrm>
            <a:off x="2570464" y="1555601"/>
            <a:ext cx="4387593" cy="440576"/>
          </a:xfrm>
          <a:prstGeom prst="rect">
            <a:avLst/>
          </a:prstGeom>
          <a:solidFill>
            <a:schemeClr val="accent1"/>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44" name="Rectangle 11">
            <a:extLst>
              <a:ext uri="{FF2B5EF4-FFF2-40B4-BE49-F238E27FC236}">
                <a16:creationId xmlns:a16="http://schemas.microsoft.com/office/drawing/2014/main" id="{8FE8D9EB-2088-429B-B672-75A0239ADF02}"/>
              </a:ext>
            </a:extLst>
          </p:cNvPr>
          <p:cNvSpPr>
            <a:spLocks noChangeArrowheads="1"/>
          </p:cNvSpPr>
          <p:nvPr/>
        </p:nvSpPr>
        <p:spPr bwMode="auto">
          <a:xfrm>
            <a:off x="7204288" y="1555601"/>
            <a:ext cx="1887220" cy="440576"/>
          </a:xfrm>
          <a:prstGeom prst="rect">
            <a:avLst/>
          </a:prstGeom>
          <a:solidFill>
            <a:schemeClr val="tx2"/>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46" name="Rectangle 11">
            <a:extLst>
              <a:ext uri="{FF2B5EF4-FFF2-40B4-BE49-F238E27FC236}">
                <a16:creationId xmlns:a16="http://schemas.microsoft.com/office/drawing/2014/main" id="{1445801C-028A-4ED8-A99B-2A9C5340507E}"/>
              </a:ext>
            </a:extLst>
          </p:cNvPr>
          <p:cNvSpPr>
            <a:spLocks noChangeArrowheads="1"/>
          </p:cNvSpPr>
          <p:nvPr/>
        </p:nvSpPr>
        <p:spPr bwMode="auto">
          <a:xfrm>
            <a:off x="9337740" y="1555601"/>
            <a:ext cx="1887220" cy="440576"/>
          </a:xfrm>
          <a:prstGeom prst="rect">
            <a:avLst/>
          </a:prstGeom>
          <a:solidFill>
            <a:schemeClr val="tx2"/>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48" name="Rectangle 11">
            <a:extLst>
              <a:ext uri="{FF2B5EF4-FFF2-40B4-BE49-F238E27FC236}">
                <a16:creationId xmlns:a16="http://schemas.microsoft.com/office/drawing/2014/main" id="{2046F9AD-B1CC-446F-BC55-05A337BC2515}"/>
              </a:ext>
            </a:extLst>
          </p:cNvPr>
          <p:cNvSpPr>
            <a:spLocks noChangeArrowheads="1"/>
          </p:cNvSpPr>
          <p:nvPr/>
        </p:nvSpPr>
        <p:spPr bwMode="auto">
          <a:xfrm>
            <a:off x="437012" y="5152045"/>
            <a:ext cx="1887220"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50" name="Rectangle 11">
            <a:extLst>
              <a:ext uri="{FF2B5EF4-FFF2-40B4-BE49-F238E27FC236}">
                <a16:creationId xmlns:a16="http://schemas.microsoft.com/office/drawing/2014/main" id="{FB48E623-8A8E-45DF-BBD2-3CC9DA642BB9}"/>
              </a:ext>
            </a:extLst>
          </p:cNvPr>
          <p:cNvSpPr>
            <a:spLocks noChangeArrowheads="1"/>
          </p:cNvSpPr>
          <p:nvPr/>
        </p:nvSpPr>
        <p:spPr bwMode="auto">
          <a:xfrm>
            <a:off x="2570464" y="5152045"/>
            <a:ext cx="2092539"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52" name="Rectangle 11">
            <a:extLst>
              <a:ext uri="{FF2B5EF4-FFF2-40B4-BE49-F238E27FC236}">
                <a16:creationId xmlns:a16="http://schemas.microsoft.com/office/drawing/2014/main" id="{07799B5C-65C4-4ED2-AA78-FCA6ACBA5C98}"/>
              </a:ext>
            </a:extLst>
          </p:cNvPr>
          <p:cNvSpPr>
            <a:spLocks noChangeArrowheads="1"/>
          </p:cNvSpPr>
          <p:nvPr/>
        </p:nvSpPr>
        <p:spPr bwMode="auto">
          <a:xfrm>
            <a:off x="4867101" y="5152045"/>
            <a:ext cx="2092539"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54" name="Rectangle 11">
            <a:extLst>
              <a:ext uri="{FF2B5EF4-FFF2-40B4-BE49-F238E27FC236}">
                <a16:creationId xmlns:a16="http://schemas.microsoft.com/office/drawing/2014/main" id="{DD706D1E-4C20-4CBA-9C3A-8C73E5131591}"/>
              </a:ext>
            </a:extLst>
          </p:cNvPr>
          <p:cNvSpPr>
            <a:spLocks noChangeArrowheads="1"/>
          </p:cNvSpPr>
          <p:nvPr/>
        </p:nvSpPr>
        <p:spPr bwMode="auto">
          <a:xfrm>
            <a:off x="7213751" y="5152045"/>
            <a:ext cx="1887220"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
        <p:nvSpPr>
          <p:cNvPr id="56" name="Rectangle 11">
            <a:extLst>
              <a:ext uri="{FF2B5EF4-FFF2-40B4-BE49-F238E27FC236}">
                <a16:creationId xmlns:a16="http://schemas.microsoft.com/office/drawing/2014/main" id="{0EF26346-B641-4E3D-9431-D9508B1AE66E}"/>
              </a:ext>
            </a:extLst>
          </p:cNvPr>
          <p:cNvSpPr>
            <a:spLocks noChangeArrowheads="1"/>
          </p:cNvSpPr>
          <p:nvPr/>
        </p:nvSpPr>
        <p:spPr bwMode="auto">
          <a:xfrm>
            <a:off x="9355083" y="5152045"/>
            <a:ext cx="1887220" cy="440576"/>
          </a:xfrm>
          <a:prstGeom prst="rect">
            <a:avLst/>
          </a:prstGeom>
          <a:solidFill>
            <a:schemeClr val="accent5"/>
          </a:solidFill>
          <a:ln w="6350">
            <a:noFill/>
            <a:miter lim="800000"/>
            <a:headEnd/>
            <a:tailEnd/>
          </a:ln>
          <a:effectLst/>
        </p:spPr>
        <p:txBody>
          <a:bodyPr wrap="none" anchor="ctr"/>
          <a:lstStyle/>
          <a:p>
            <a:pPr algn="ctr" eaLnBrk="0" hangingPunct="0"/>
            <a:r>
              <a:rPr lang="en-GB" sz="1400" b="1" dirty="0">
                <a:solidFill>
                  <a:schemeClr val="bg1"/>
                </a:solidFill>
                <a:latin typeface="+mj-lt"/>
              </a:rPr>
              <a:t>Text</a:t>
            </a:r>
          </a:p>
        </p:txBody>
      </p:sp>
    </p:spTree>
    <p:extLst>
      <p:ext uri="{BB962C8B-B14F-4D97-AF65-F5344CB8AC3E}">
        <p14:creationId xmlns:p14="http://schemas.microsoft.com/office/powerpoint/2010/main" val="183303687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Decisions</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FC89783-041A-4DE2-B8EE-3EA2F533F61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Hexagon 9">
            <a:extLst>
              <a:ext uri="{FF2B5EF4-FFF2-40B4-BE49-F238E27FC236}">
                <a16:creationId xmlns:a16="http://schemas.microsoft.com/office/drawing/2014/main" id="{441ADA7E-2D1E-4A01-9323-A23E49DC2A0E}"/>
              </a:ext>
            </a:extLst>
          </p:cNvPr>
          <p:cNvSpPr>
            <a:spLocks noChangeAspect="1"/>
          </p:cNvSpPr>
          <p:nvPr/>
        </p:nvSpPr>
        <p:spPr>
          <a:xfrm>
            <a:off x="4017514" y="1969936"/>
            <a:ext cx="2088000" cy="1800000"/>
          </a:xfrm>
          <a:prstGeom prst="hexagon">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lnSpc>
                <a:spcPct val="85000"/>
              </a:lnSpc>
              <a:spcBef>
                <a:spcPts val="100"/>
              </a:spcBef>
              <a:spcAft>
                <a:spcPts val="300"/>
              </a:spcAft>
            </a:pPr>
            <a:r>
              <a:rPr lang="en-US" b="1" dirty="0">
                <a:solidFill>
                  <a:schemeClr val="bg1"/>
                </a:solidFill>
                <a:latin typeface="+mj-lt"/>
              </a:rPr>
              <a:t>Key decision point</a:t>
            </a:r>
          </a:p>
        </p:txBody>
      </p:sp>
      <p:sp>
        <p:nvSpPr>
          <p:cNvPr id="12" name="AutoShape 7">
            <a:extLst>
              <a:ext uri="{FF2B5EF4-FFF2-40B4-BE49-F238E27FC236}">
                <a16:creationId xmlns:a16="http://schemas.microsoft.com/office/drawing/2014/main" id="{0B79759D-ED5C-41B4-A4D1-17AD5F7F4A12}"/>
              </a:ext>
            </a:extLst>
          </p:cNvPr>
          <p:cNvSpPr>
            <a:spLocks noChangeAspect="1" noChangeArrowheads="1"/>
          </p:cNvSpPr>
          <p:nvPr/>
        </p:nvSpPr>
        <p:spPr bwMode="auto">
          <a:xfrm>
            <a:off x="324570" y="1839923"/>
            <a:ext cx="3564341" cy="2060027"/>
          </a:xfrm>
          <a:prstGeom prst="homePlate">
            <a:avLst>
              <a:gd name="adj" fmla="val 25015"/>
            </a:avLst>
          </a:prstGeom>
          <a:solidFill>
            <a:schemeClr val="tx2">
              <a:lumMod val="20000"/>
              <a:lumOff val="80000"/>
            </a:schemeClr>
          </a:solidFill>
          <a:ln w="6350">
            <a:noFill/>
            <a:miter lim="800000"/>
            <a:headEnd/>
            <a:tailEnd/>
          </a:ln>
          <a:effectLst/>
        </p:spPr>
        <p:txBody>
          <a:bodyPr wrap="square" lIns="288000" tIns="180000" rIns="72000" bIns="72000" anchor="ctr" anchorCtr="0"/>
          <a:lstStyle/>
          <a:p>
            <a:pPr marL="0" lvl="1" algn="l" eaLnBrk="0" hangingPunct="0">
              <a:lnSpc>
                <a:spcPct val="85000"/>
              </a:lnSpc>
              <a:spcBef>
                <a:spcPts val="100"/>
              </a:spcBef>
              <a:spcAft>
                <a:spcPts val="300"/>
              </a:spcAft>
              <a:buClr>
                <a:schemeClr val="folHlink"/>
              </a:buClr>
            </a:pPr>
            <a:r>
              <a:rPr lang="en-US" b="1" dirty="0">
                <a:latin typeface="+mj-lt"/>
              </a:rPr>
              <a:t>Text</a:t>
            </a:r>
          </a:p>
          <a:p>
            <a:pPr marL="177800" lvl="1" indent="-177800" algn="l" eaLnBrk="0" hangingPunct="0">
              <a:spcBef>
                <a:spcPts val="100"/>
              </a:spcBef>
              <a:spcAft>
                <a:spcPts val="100"/>
              </a:spcAft>
              <a:buFontTx/>
              <a:buChar char="•"/>
            </a:pPr>
            <a:r>
              <a:rPr lang="en-US" dirty="0"/>
              <a:t>Text</a:t>
            </a:r>
          </a:p>
          <a:p>
            <a:pPr marL="177800" lvl="1" indent="-177800" algn="l" eaLnBrk="0" hangingPunct="0">
              <a:spcBef>
                <a:spcPts val="100"/>
              </a:spcBef>
              <a:spcAft>
                <a:spcPts val="100"/>
              </a:spcAft>
              <a:buFontTx/>
              <a:buChar char="•"/>
            </a:pPr>
            <a:r>
              <a:rPr lang="en-US" dirty="0"/>
              <a:t>Text</a:t>
            </a:r>
          </a:p>
          <a:p>
            <a:pPr marL="177800" lvl="1" indent="-177800" algn="l" eaLnBrk="0" hangingPunct="0">
              <a:spcBef>
                <a:spcPts val="100"/>
              </a:spcBef>
              <a:spcAft>
                <a:spcPts val="100"/>
              </a:spcAft>
              <a:buFontTx/>
              <a:buChar char="•"/>
            </a:pPr>
            <a:r>
              <a:rPr lang="en-US" dirty="0"/>
              <a:t>Text</a:t>
            </a:r>
          </a:p>
        </p:txBody>
      </p:sp>
      <p:sp>
        <p:nvSpPr>
          <p:cNvPr id="14" name="Arrow: Chevron 13">
            <a:extLst>
              <a:ext uri="{FF2B5EF4-FFF2-40B4-BE49-F238E27FC236}">
                <a16:creationId xmlns:a16="http://schemas.microsoft.com/office/drawing/2014/main" id="{96FFB3C6-48A0-4854-8A00-7721E1B6A900}"/>
              </a:ext>
            </a:extLst>
          </p:cNvPr>
          <p:cNvSpPr/>
          <p:nvPr/>
        </p:nvSpPr>
        <p:spPr>
          <a:xfrm>
            <a:off x="5918808" y="1839923"/>
            <a:ext cx="3564855" cy="2060027"/>
          </a:xfrm>
          <a:prstGeom prst="chevron">
            <a:avLst>
              <a:gd name="adj" fmla="val 24501"/>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288000" rtlCol="0" anchor="ctr"/>
          <a:lstStyle/>
          <a:p>
            <a:pPr marL="0" lvl="1" eaLnBrk="0" hangingPunct="0">
              <a:lnSpc>
                <a:spcPct val="85000"/>
              </a:lnSpc>
              <a:spcBef>
                <a:spcPts val="100"/>
              </a:spcBef>
              <a:spcAft>
                <a:spcPts val="300"/>
              </a:spcAft>
              <a:buClr>
                <a:schemeClr val="folHlink"/>
              </a:buClr>
            </a:pPr>
            <a:r>
              <a:rPr lang="en-US" b="1" dirty="0">
                <a:solidFill>
                  <a:schemeClr val="tx1"/>
                </a:solidFill>
                <a:latin typeface="+mj-lt"/>
              </a:rPr>
              <a:t>Text</a:t>
            </a:r>
          </a:p>
          <a:p>
            <a:pPr marL="177800" lvl="1" indent="-177800" eaLnBrk="0" hangingPunct="0">
              <a:spcBef>
                <a:spcPts val="100"/>
              </a:spcBef>
              <a:spcAft>
                <a:spcPts val="100"/>
              </a:spcAft>
              <a:buFontTx/>
              <a:buChar char="•"/>
            </a:pPr>
            <a:r>
              <a:rPr lang="en-US" dirty="0">
                <a:solidFill>
                  <a:schemeClr val="tx1"/>
                </a:solidFill>
              </a:rPr>
              <a:t>Text</a:t>
            </a:r>
          </a:p>
          <a:p>
            <a:pPr marL="177800" lvl="1" indent="-177800" eaLnBrk="0" hangingPunct="0">
              <a:spcBef>
                <a:spcPts val="100"/>
              </a:spcBef>
              <a:spcAft>
                <a:spcPts val="100"/>
              </a:spcAft>
              <a:buFontTx/>
              <a:buChar char="•"/>
            </a:pPr>
            <a:r>
              <a:rPr lang="en-US" dirty="0">
                <a:solidFill>
                  <a:schemeClr val="tx1"/>
                </a:solidFill>
              </a:rPr>
              <a:t>Text</a:t>
            </a:r>
          </a:p>
          <a:p>
            <a:pPr marL="177800" lvl="1" indent="-177800" eaLnBrk="0" hangingPunct="0">
              <a:spcBef>
                <a:spcPts val="100"/>
              </a:spcBef>
              <a:spcAft>
                <a:spcPts val="100"/>
              </a:spcAft>
              <a:buFontTx/>
              <a:buChar char="•"/>
            </a:pPr>
            <a:r>
              <a:rPr lang="en-US" dirty="0">
                <a:solidFill>
                  <a:schemeClr val="tx1"/>
                </a:solidFill>
              </a:rPr>
              <a:t>Text</a:t>
            </a:r>
          </a:p>
        </p:txBody>
      </p:sp>
      <p:sp>
        <p:nvSpPr>
          <p:cNvPr id="16" name="Hexagon 15">
            <a:extLst>
              <a:ext uri="{FF2B5EF4-FFF2-40B4-BE49-F238E27FC236}">
                <a16:creationId xmlns:a16="http://schemas.microsoft.com/office/drawing/2014/main" id="{3D7E0926-6FB4-4566-B3A1-D74E55EEAB38}"/>
              </a:ext>
            </a:extLst>
          </p:cNvPr>
          <p:cNvSpPr>
            <a:spLocks noChangeAspect="1"/>
          </p:cNvSpPr>
          <p:nvPr/>
        </p:nvSpPr>
        <p:spPr>
          <a:xfrm>
            <a:off x="9659450" y="1969936"/>
            <a:ext cx="2088000" cy="1800000"/>
          </a:xfrm>
          <a:prstGeom prst="hexagon">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hangingPunct="0">
              <a:lnSpc>
                <a:spcPct val="85000"/>
              </a:lnSpc>
              <a:spcBef>
                <a:spcPts val="100"/>
              </a:spcBef>
              <a:spcAft>
                <a:spcPts val="300"/>
              </a:spcAft>
            </a:pPr>
            <a:r>
              <a:rPr lang="en-US" b="1" dirty="0">
                <a:solidFill>
                  <a:schemeClr val="bg1"/>
                </a:solidFill>
                <a:latin typeface="+mj-lt"/>
              </a:rPr>
              <a:t>Key decision point</a:t>
            </a:r>
          </a:p>
        </p:txBody>
      </p:sp>
    </p:spTree>
    <p:extLst>
      <p:ext uri="{BB962C8B-B14F-4D97-AF65-F5344CB8AC3E}">
        <p14:creationId xmlns:p14="http://schemas.microsoft.com/office/powerpoint/2010/main" val="351203296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US" dirty="0"/>
              <a:t>Changing Course</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60C6647-8FC3-4305-8E13-C1341C11D26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1" name="Freeform 5">
            <a:extLst>
              <a:ext uri="{FF2B5EF4-FFF2-40B4-BE49-F238E27FC236}">
                <a16:creationId xmlns:a16="http://schemas.microsoft.com/office/drawing/2014/main" id="{F89C5A32-427F-465F-BBDA-61F020FEB369}"/>
              </a:ext>
            </a:extLst>
          </p:cNvPr>
          <p:cNvSpPr>
            <a:spLocks/>
          </p:cNvSpPr>
          <p:nvPr/>
        </p:nvSpPr>
        <p:spPr bwMode="auto">
          <a:xfrm>
            <a:off x="-848" y="1514847"/>
            <a:ext cx="8961968" cy="4373769"/>
          </a:xfrm>
          <a:custGeom>
            <a:avLst/>
            <a:gdLst>
              <a:gd name="T0" fmla="*/ 5684 w 5684"/>
              <a:gd name="T1" fmla="*/ 382 h 2774"/>
              <a:gd name="T2" fmla="*/ 5302 w 5684"/>
              <a:gd name="T3" fmla="*/ 0 h 2774"/>
              <a:gd name="T4" fmla="*/ 5302 w 5684"/>
              <a:gd name="T5" fmla="*/ 190 h 2774"/>
              <a:gd name="T6" fmla="*/ 3818 w 5684"/>
              <a:gd name="T7" fmla="*/ 190 h 2774"/>
              <a:gd name="T8" fmla="*/ 3399 w 5684"/>
              <a:gd name="T9" fmla="*/ 190 h 2774"/>
              <a:gd name="T10" fmla="*/ 3258 w 5684"/>
              <a:gd name="T11" fmla="*/ 190 h 2774"/>
              <a:gd name="T12" fmla="*/ 2775 w 5684"/>
              <a:gd name="T13" fmla="*/ 920 h 2774"/>
              <a:gd name="T14" fmla="*/ 1803 w 5684"/>
              <a:gd name="T15" fmla="*/ 2388 h 2774"/>
              <a:gd name="T16" fmla="*/ 0 w 5684"/>
              <a:gd name="T17" fmla="*/ 2388 h 2774"/>
              <a:gd name="T18" fmla="*/ 0 w 5684"/>
              <a:gd name="T19" fmla="*/ 2774 h 2774"/>
              <a:gd name="T20" fmla="*/ 1449 w 5684"/>
              <a:gd name="T21" fmla="*/ 2774 h 2774"/>
              <a:gd name="T22" fmla="*/ 1882 w 5684"/>
              <a:gd name="T23" fmla="*/ 2774 h 2774"/>
              <a:gd name="T24" fmla="*/ 2009 w 5684"/>
              <a:gd name="T25" fmla="*/ 2774 h 2774"/>
              <a:gd name="T26" fmla="*/ 2493 w 5684"/>
              <a:gd name="T27" fmla="*/ 2044 h 2774"/>
              <a:gd name="T28" fmla="*/ 2493 w 5684"/>
              <a:gd name="T29" fmla="*/ 2044 h 2774"/>
              <a:gd name="T30" fmla="*/ 3465 w 5684"/>
              <a:gd name="T31" fmla="*/ 572 h 2774"/>
              <a:gd name="T32" fmla="*/ 5302 w 5684"/>
              <a:gd name="T33" fmla="*/ 572 h 2774"/>
              <a:gd name="T34" fmla="*/ 5302 w 5684"/>
              <a:gd name="T35" fmla="*/ 765 h 2774"/>
              <a:gd name="T36" fmla="*/ 5684 w 5684"/>
              <a:gd name="T37" fmla="*/ 382 h 2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84" h="2774">
                <a:moveTo>
                  <a:pt x="5684" y="382"/>
                </a:moveTo>
                <a:lnTo>
                  <a:pt x="5302" y="0"/>
                </a:lnTo>
                <a:lnTo>
                  <a:pt x="5302" y="190"/>
                </a:lnTo>
                <a:lnTo>
                  <a:pt x="3818" y="190"/>
                </a:lnTo>
                <a:lnTo>
                  <a:pt x="3399" y="190"/>
                </a:lnTo>
                <a:lnTo>
                  <a:pt x="3258" y="190"/>
                </a:lnTo>
                <a:lnTo>
                  <a:pt x="2775" y="920"/>
                </a:lnTo>
                <a:lnTo>
                  <a:pt x="1803" y="2388"/>
                </a:lnTo>
                <a:lnTo>
                  <a:pt x="0" y="2388"/>
                </a:lnTo>
                <a:lnTo>
                  <a:pt x="0" y="2774"/>
                </a:lnTo>
                <a:lnTo>
                  <a:pt x="1449" y="2774"/>
                </a:lnTo>
                <a:lnTo>
                  <a:pt x="1882" y="2774"/>
                </a:lnTo>
                <a:lnTo>
                  <a:pt x="2009" y="2774"/>
                </a:lnTo>
                <a:lnTo>
                  <a:pt x="2493" y="2044"/>
                </a:lnTo>
                <a:lnTo>
                  <a:pt x="2493" y="2044"/>
                </a:lnTo>
                <a:lnTo>
                  <a:pt x="3465" y="572"/>
                </a:lnTo>
                <a:lnTo>
                  <a:pt x="5302" y="572"/>
                </a:lnTo>
                <a:lnTo>
                  <a:pt x="5302" y="765"/>
                </a:lnTo>
                <a:lnTo>
                  <a:pt x="5684" y="382"/>
                </a:lnTo>
                <a:close/>
              </a:path>
            </a:pathLst>
          </a:custGeom>
          <a:pattFill prst="dkUpDiag">
            <a:fgClr>
              <a:schemeClr val="tx2">
                <a:lumMod val="60000"/>
                <a:lumOff val="40000"/>
              </a:schemeClr>
            </a:fgClr>
            <a:bgClr>
              <a:schemeClr val="bg1"/>
            </a:bgClr>
          </a:patt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6">
            <a:extLst>
              <a:ext uri="{FF2B5EF4-FFF2-40B4-BE49-F238E27FC236}">
                <a16:creationId xmlns:a16="http://schemas.microsoft.com/office/drawing/2014/main" id="{4558B1FA-5D62-4655-B49F-50AF85186C26}"/>
              </a:ext>
            </a:extLst>
          </p:cNvPr>
          <p:cNvSpPr>
            <a:spLocks/>
          </p:cNvSpPr>
          <p:nvPr/>
        </p:nvSpPr>
        <p:spPr bwMode="auto">
          <a:xfrm>
            <a:off x="-124691" y="2119383"/>
            <a:ext cx="8359668" cy="3471896"/>
          </a:xfrm>
          <a:custGeom>
            <a:avLst/>
            <a:gdLst>
              <a:gd name="T0" fmla="*/ 0 w 5302"/>
              <a:gd name="T1" fmla="*/ 2202 h 2202"/>
              <a:gd name="T2" fmla="*/ 2009 w 5302"/>
              <a:gd name="T3" fmla="*/ 2202 h 2202"/>
              <a:gd name="T4" fmla="*/ 3465 w 5302"/>
              <a:gd name="T5" fmla="*/ 0 h 2202"/>
              <a:gd name="T6" fmla="*/ 5302 w 5302"/>
              <a:gd name="T7" fmla="*/ 0 h 2202"/>
            </a:gdLst>
            <a:ahLst/>
            <a:cxnLst>
              <a:cxn ang="0">
                <a:pos x="T0" y="T1"/>
              </a:cxn>
              <a:cxn ang="0">
                <a:pos x="T2" y="T3"/>
              </a:cxn>
              <a:cxn ang="0">
                <a:pos x="T4" y="T5"/>
              </a:cxn>
              <a:cxn ang="0">
                <a:pos x="T6" y="T7"/>
              </a:cxn>
            </a:cxnLst>
            <a:rect l="0" t="0" r="r" b="b"/>
            <a:pathLst>
              <a:path w="5302" h="2202">
                <a:moveTo>
                  <a:pt x="0" y="2202"/>
                </a:moveTo>
                <a:lnTo>
                  <a:pt x="2009" y="2202"/>
                </a:lnTo>
                <a:lnTo>
                  <a:pt x="3465" y="0"/>
                </a:lnTo>
                <a:lnTo>
                  <a:pt x="5302" y="0"/>
                </a:lnTo>
              </a:path>
            </a:pathLst>
          </a:custGeom>
          <a:noFill/>
          <a:ln w="28575" cap="flat">
            <a:solidFill>
              <a:schemeClr val="bg1"/>
            </a:solidFill>
            <a:prstDash val="solid"/>
            <a:miter lim="800000"/>
            <a:headEnd/>
            <a:tailEnd type="triangle"/>
          </a:ln>
        </p:spPr>
        <p:txBody>
          <a:bodyPr vert="horz" wrap="square" lIns="91440" tIns="45720" rIns="91440" bIns="45720" numCol="1" anchor="t" anchorCtr="0" compatLnSpc="1">
            <a:prstTxWarp prst="textNoShape">
              <a:avLst/>
            </a:prstTxWarp>
          </a:bodyPr>
          <a:lstStyle/>
          <a:p>
            <a:endParaRPr lang="en-GB" dirty="0"/>
          </a:p>
        </p:txBody>
      </p:sp>
      <p:sp>
        <p:nvSpPr>
          <p:cNvPr id="25" name="Rectangle 9">
            <a:extLst>
              <a:ext uri="{FF2B5EF4-FFF2-40B4-BE49-F238E27FC236}">
                <a16:creationId xmlns:a16="http://schemas.microsoft.com/office/drawing/2014/main" id="{EB5D02AD-97B4-45BD-AB47-87D616BBBF3D}"/>
              </a:ext>
            </a:extLst>
          </p:cNvPr>
          <p:cNvSpPr>
            <a:spLocks noChangeArrowheads="1"/>
          </p:cNvSpPr>
          <p:nvPr/>
        </p:nvSpPr>
        <p:spPr bwMode="auto">
          <a:xfrm>
            <a:off x="345018" y="2654694"/>
            <a:ext cx="2254927" cy="1931114"/>
          </a:xfrm>
          <a:prstGeom prst="rect">
            <a:avLst/>
          </a:prstGeom>
          <a:noFill/>
          <a:ln w="6350">
            <a:noFill/>
            <a:miter lim="800000"/>
            <a:headEnd/>
            <a:tailEnd/>
          </a:ln>
          <a:effectLst/>
        </p:spPr>
        <p:txBody>
          <a:bodyPr lIns="72000" tIns="72000" rIns="72000" bIns="72000" anchor="t" anchorCtr="0">
            <a:noAutofit/>
          </a:bodyPr>
          <a:lstStyle/>
          <a:p>
            <a:pPr indent="-177800" eaLnBrk="0" hangingPunct="0">
              <a:lnSpc>
                <a:spcPct val="85000"/>
              </a:lnSpc>
              <a:spcBef>
                <a:spcPts val="100"/>
              </a:spcBef>
              <a:spcAft>
                <a:spcPts val="300"/>
              </a:spcAft>
              <a:buClr>
                <a:schemeClr val="bg1"/>
              </a:buClr>
            </a:pPr>
            <a:r>
              <a:rPr lang="en-GB" b="1" dirty="0">
                <a:solidFill>
                  <a:schemeClr val="accent1"/>
                </a:solidFill>
                <a:latin typeface="+mj-lt"/>
              </a:rPr>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p:txBody>
      </p:sp>
      <p:sp>
        <p:nvSpPr>
          <p:cNvPr id="27" name="Rectangle 9">
            <a:extLst>
              <a:ext uri="{FF2B5EF4-FFF2-40B4-BE49-F238E27FC236}">
                <a16:creationId xmlns:a16="http://schemas.microsoft.com/office/drawing/2014/main" id="{11B7A1A3-7217-47B6-A661-9998AC8862DE}"/>
              </a:ext>
            </a:extLst>
          </p:cNvPr>
          <p:cNvSpPr>
            <a:spLocks noChangeArrowheads="1"/>
          </p:cNvSpPr>
          <p:nvPr/>
        </p:nvSpPr>
        <p:spPr bwMode="auto">
          <a:xfrm>
            <a:off x="5640651" y="3957502"/>
            <a:ext cx="2254927" cy="1931114"/>
          </a:xfrm>
          <a:prstGeom prst="rect">
            <a:avLst/>
          </a:prstGeom>
          <a:noFill/>
          <a:ln w="6350">
            <a:noFill/>
            <a:miter lim="800000"/>
            <a:headEnd/>
            <a:tailEnd/>
          </a:ln>
          <a:effectLst/>
        </p:spPr>
        <p:txBody>
          <a:bodyPr lIns="72000" tIns="72000" rIns="72000" bIns="0" anchor="b" anchorCtr="0">
            <a:noAutofit/>
          </a:bodyPr>
          <a:lstStyle/>
          <a:p>
            <a:pPr indent="-177800" eaLnBrk="0" hangingPunct="0">
              <a:lnSpc>
                <a:spcPct val="85000"/>
              </a:lnSpc>
              <a:spcBef>
                <a:spcPts val="100"/>
              </a:spcBef>
              <a:spcAft>
                <a:spcPts val="300"/>
              </a:spcAft>
              <a:buClr>
                <a:schemeClr val="bg1"/>
              </a:buClr>
            </a:pPr>
            <a:r>
              <a:rPr lang="en-GB" b="1" dirty="0">
                <a:solidFill>
                  <a:schemeClr val="accent1"/>
                </a:solidFill>
                <a:latin typeface="+mj-lt"/>
              </a:rPr>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a:p>
            <a:pPr marL="165100" indent="-165100" eaLnBrk="0" hangingPunct="0">
              <a:spcBef>
                <a:spcPts val="100"/>
              </a:spcBef>
              <a:spcAft>
                <a:spcPts val="100"/>
              </a:spcAft>
              <a:buFontTx/>
              <a:buChar char="•"/>
            </a:pPr>
            <a:r>
              <a:rPr lang="en-GB" dirty="0"/>
              <a:t>Text</a:t>
            </a:r>
          </a:p>
        </p:txBody>
      </p:sp>
      <p:sp>
        <p:nvSpPr>
          <p:cNvPr id="29" name="Oval 28">
            <a:extLst>
              <a:ext uri="{FF2B5EF4-FFF2-40B4-BE49-F238E27FC236}">
                <a16:creationId xmlns:a16="http://schemas.microsoft.com/office/drawing/2014/main" id="{CE500378-8C6A-4B34-9DCC-C8F38772E57E}"/>
              </a:ext>
            </a:extLst>
          </p:cNvPr>
          <p:cNvSpPr>
            <a:spLocks noChangeAspect="1" noChangeArrowheads="1"/>
          </p:cNvSpPr>
          <p:nvPr/>
        </p:nvSpPr>
        <p:spPr bwMode="auto">
          <a:xfrm>
            <a:off x="9084963" y="965867"/>
            <a:ext cx="2307032" cy="2307032"/>
          </a:xfrm>
          <a:prstGeom prst="ellipse">
            <a:avLst/>
          </a:prstGeom>
          <a:solidFill>
            <a:schemeClr val="accent1"/>
          </a:solidFill>
          <a:ln w="6350">
            <a:noFill/>
            <a:round/>
            <a:headEnd/>
            <a:tailEnd/>
          </a:ln>
          <a:effectLst/>
        </p:spPr>
        <p:txBody>
          <a:bodyPr wrap="none" lIns="36000" tIns="36000" rIns="36000" bIns="36000" anchor="ctr" anchorCtr="1"/>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spcBef>
                <a:spcPts val="100"/>
              </a:spcBef>
              <a:spcAft>
                <a:spcPts val="100"/>
              </a:spcAft>
            </a:pPr>
            <a:r>
              <a:rPr lang="en-US" dirty="0">
                <a:solidFill>
                  <a:schemeClr val="bg1"/>
                </a:solidFill>
              </a:rPr>
              <a:t>Insert text</a:t>
            </a:r>
          </a:p>
        </p:txBody>
      </p:sp>
    </p:spTree>
    <p:extLst>
      <p:ext uri="{BB962C8B-B14F-4D97-AF65-F5344CB8AC3E}">
        <p14:creationId xmlns:p14="http://schemas.microsoft.com/office/powerpoint/2010/main" val="313751854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ipeline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8E710C4-0EF8-43D2-8E97-1C347D47763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2" name="Group 11">
            <a:extLst>
              <a:ext uri="{FF2B5EF4-FFF2-40B4-BE49-F238E27FC236}">
                <a16:creationId xmlns:a16="http://schemas.microsoft.com/office/drawing/2014/main" id="{D6EBB03A-334C-4EB1-87A6-22D8E85D0B24}"/>
              </a:ext>
            </a:extLst>
          </p:cNvPr>
          <p:cNvGrpSpPr>
            <a:grpSpLocks/>
          </p:cNvGrpSpPr>
          <p:nvPr/>
        </p:nvGrpSpPr>
        <p:grpSpPr bwMode="auto">
          <a:xfrm>
            <a:off x="345017" y="2247900"/>
            <a:ext cx="11515187" cy="2343456"/>
            <a:chOff x="1399" y="2071"/>
            <a:chExt cx="3272" cy="666"/>
          </a:xfrm>
        </p:grpSpPr>
        <p:sp>
          <p:nvSpPr>
            <p:cNvPr id="13" name="AutoShape 3">
              <a:extLst>
                <a:ext uri="{FF2B5EF4-FFF2-40B4-BE49-F238E27FC236}">
                  <a16:creationId xmlns:a16="http://schemas.microsoft.com/office/drawing/2014/main" id="{6D0982E1-831E-4564-84A9-4CD96AD600C8}"/>
                </a:ext>
              </a:extLst>
            </p:cNvPr>
            <p:cNvSpPr>
              <a:spLocks noChangeArrowheads="1"/>
            </p:cNvSpPr>
            <p:nvPr/>
          </p:nvSpPr>
          <p:spPr bwMode="auto">
            <a:xfrm rot="-5400000">
              <a:off x="2803" y="974"/>
              <a:ext cx="666" cy="2860"/>
            </a:xfrm>
            <a:custGeom>
              <a:avLst/>
              <a:gdLst>
                <a:gd name="G0" fmla="+- 6101 0 0"/>
                <a:gd name="G1" fmla="+- 21600 0 6101"/>
                <a:gd name="G2" fmla="*/ 6101 1 2"/>
                <a:gd name="G3" fmla="+- 21600 0 G2"/>
                <a:gd name="G4" fmla="+/ 6101 21600 2"/>
                <a:gd name="G5" fmla="+/ G1 0 2"/>
                <a:gd name="G6" fmla="*/ 21600 21600 6101"/>
                <a:gd name="G7" fmla="*/ G6 1 2"/>
                <a:gd name="G8" fmla="+- 21600 0 G7"/>
                <a:gd name="G9" fmla="*/ 21600 1 2"/>
                <a:gd name="G10" fmla="+- 6101 0 G9"/>
                <a:gd name="G11" fmla="?: G10 G8 0"/>
                <a:gd name="G12" fmla="?: G10 G7 21600"/>
                <a:gd name="T0" fmla="*/ 18549 w 21600"/>
                <a:gd name="T1" fmla="*/ 10800 h 21600"/>
                <a:gd name="T2" fmla="*/ 10800 w 21600"/>
                <a:gd name="T3" fmla="*/ 21600 h 21600"/>
                <a:gd name="T4" fmla="*/ 3051 w 21600"/>
                <a:gd name="T5" fmla="*/ 10800 h 21600"/>
                <a:gd name="T6" fmla="*/ 10800 w 21600"/>
                <a:gd name="T7" fmla="*/ 0 h 21600"/>
                <a:gd name="T8" fmla="*/ 4851 w 21600"/>
                <a:gd name="T9" fmla="*/ 4851 h 21600"/>
                <a:gd name="T10" fmla="*/ 16749 w 21600"/>
                <a:gd name="T11" fmla="*/ 16749 h 21600"/>
              </a:gdLst>
              <a:ahLst/>
              <a:cxnLst>
                <a:cxn ang="0">
                  <a:pos x="T0" y="T1"/>
                </a:cxn>
                <a:cxn ang="0">
                  <a:pos x="T2" y="T3"/>
                </a:cxn>
                <a:cxn ang="0">
                  <a:pos x="T4" y="T5"/>
                </a:cxn>
                <a:cxn ang="0">
                  <a:pos x="T6" y="T7"/>
                </a:cxn>
              </a:cxnLst>
              <a:rect l="T8" t="T9" r="T10" b="T11"/>
              <a:pathLst>
                <a:path w="21600" h="21600">
                  <a:moveTo>
                    <a:pt x="0" y="0"/>
                  </a:moveTo>
                  <a:lnTo>
                    <a:pt x="6101" y="21600"/>
                  </a:lnTo>
                  <a:lnTo>
                    <a:pt x="15499" y="21600"/>
                  </a:lnTo>
                  <a:lnTo>
                    <a:pt x="21600" y="0"/>
                  </a:lnTo>
                  <a:close/>
                </a:path>
              </a:pathLst>
            </a:custGeom>
            <a:pattFill prst="dkUpDiag">
              <a:fgClr>
                <a:schemeClr val="tx2">
                  <a:lumMod val="40000"/>
                  <a:lumOff val="60000"/>
                </a:schemeClr>
              </a:fgClr>
              <a:bgClr>
                <a:schemeClr val="bg1"/>
              </a:bgClr>
            </a:pattFill>
            <a:ln w="6350">
              <a:noFill/>
              <a:miter lim="800000"/>
              <a:headEnd/>
              <a:tailEnd/>
            </a:ln>
            <a:effectLst/>
          </p:spPr>
          <p:txBody>
            <a:bodyPr wrap="none" lIns="45720" rIns="45720" anchor="ctr"/>
            <a:lstStyle/>
            <a:p>
              <a:pPr algn="ctr"/>
              <a:endParaRPr lang="en-US" sz="1600"/>
            </a:p>
          </p:txBody>
        </p:sp>
        <p:sp>
          <p:nvSpPr>
            <p:cNvPr id="14" name="Oval 4">
              <a:extLst>
                <a:ext uri="{FF2B5EF4-FFF2-40B4-BE49-F238E27FC236}">
                  <a16:creationId xmlns:a16="http://schemas.microsoft.com/office/drawing/2014/main" id="{94C5210E-0306-4D7E-A67C-B79392159038}"/>
                </a:ext>
              </a:extLst>
            </p:cNvPr>
            <p:cNvSpPr>
              <a:spLocks noChangeArrowheads="1"/>
            </p:cNvSpPr>
            <p:nvPr/>
          </p:nvSpPr>
          <p:spPr bwMode="auto">
            <a:xfrm>
              <a:off x="1399" y="2072"/>
              <a:ext cx="664" cy="665"/>
            </a:xfrm>
            <a:prstGeom prst="ellipse">
              <a:avLst/>
            </a:prstGeom>
            <a:solidFill>
              <a:schemeClr val="accent3"/>
            </a:solidFill>
            <a:ln w="6350">
              <a:noFill/>
              <a:round/>
              <a:headEnd/>
              <a:tailEnd/>
            </a:ln>
            <a:effectLst/>
          </p:spPr>
          <p:txBody>
            <a:bodyPr wrap="none" lIns="45720" rIns="45720" anchor="ctr"/>
            <a:lstStyle/>
            <a:p>
              <a:pPr algn="ctr" eaLnBrk="0" hangingPunct="0"/>
              <a:r>
                <a:rPr lang="en-GB" sz="1600" b="1">
                  <a:solidFill>
                    <a:schemeClr val="bg1"/>
                  </a:solidFill>
                </a:rPr>
                <a:t>Text</a:t>
              </a:r>
            </a:p>
          </p:txBody>
        </p:sp>
        <p:sp>
          <p:nvSpPr>
            <p:cNvPr id="15" name="Oval 5">
              <a:extLst>
                <a:ext uri="{FF2B5EF4-FFF2-40B4-BE49-F238E27FC236}">
                  <a16:creationId xmlns:a16="http://schemas.microsoft.com/office/drawing/2014/main" id="{404D50EC-2D4E-43D1-8C8F-CE59776F7AAB}"/>
                </a:ext>
              </a:extLst>
            </p:cNvPr>
            <p:cNvSpPr>
              <a:spLocks noChangeArrowheads="1"/>
            </p:cNvSpPr>
            <p:nvPr/>
          </p:nvSpPr>
          <p:spPr bwMode="auto">
            <a:xfrm>
              <a:off x="2293" y="2125"/>
              <a:ext cx="558" cy="558"/>
            </a:xfrm>
            <a:prstGeom prst="ellipse">
              <a:avLst/>
            </a:prstGeom>
            <a:solidFill>
              <a:schemeClr val="accent2"/>
            </a:solidFill>
            <a:ln w="6350">
              <a:noFill/>
              <a:round/>
              <a:headEnd/>
              <a:tailEnd/>
            </a:ln>
            <a:effectLst/>
          </p:spPr>
          <p:txBody>
            <a:bodyPr wrap="none" lIns="45720" rIns="45720" anchor="ctr"/>
            <a:lstStyle/>
            <a:p>
              <a:pPr algn="ctr" eaLnBrk="0" hangingPunct="0"/>
              <a:r>
                <a:rPr lang="en-GB" sz="1600" b="1">
                  <a:solidFill>
                    <a:schemeClr val="bg1"/>
                  </a:solidFill>
                </a:rPr>
                <a:t>Text</a:t>
              </a:r>
            </a:p>
          </p:txBody>
        </p:sp>
        <p:sp>
          <p:nvSpPr>
            <p:cNvPr id="16" name="Oval 6">
              <a:extLst>
                <a:ext uri="{FF2B5EF4-FFF2-40B4-BE49-F238E27FC236}">
                  <a16:creationId xmlns:a16="http://schemas.microsoft.com/office/drawing/2014/main" id="{2E2052A0-0901-4BD7-8F3C-BBC58DEB4F7B}"/>
                </a:ext>
              </a:extLst>
            </p:cNvPr>
            <p:cNvSpPr>
              <a:spLocks noChangeArrowheads="1"/>
            </p:cNvSpPr>
            <p:nvPr/>
          </p:nvSpPr>
          <p:spPr bwMode="auto">
            <a:xfrm>
              <a:off x="3081" y="2172"/>
              <a:ext cx="465" cy="464"/>
            </a:xfrm>
            <a:prstGeom prst="ellipse">
              <a:avLst/>
            </a:prstGeom>
            <a:solidFill>
              <a:schemeClr val="accent1"/>
            </a:solidFill>
            <a:ln w="6350">
              <a:noFill/>
              <a:round/>
              <a:headEnd/>
              <a:tailEnd/>
            </a:ln>
            <a:effectLst/>
          </p:spPr>
          <p:txBody>
            <a:bodyPr wrap="none" lIns="45720" rIns="45720" anchor="ctr"/>
            <a:lstStyle/>
            <a:p>
              <a:pPr algn="ctr" eaLnBrk="0" hangingPunct="0"/>
              <a:r>
                <a:rPr lang="en-GB" sz="1600" b="1">
                  <a:solidFill>
                    <a:schemeClr val="bg1"/>
                  </a:solidFill>
                </a:rPr>
                <a:t>Text</a:t>
              </a:r>
            </a:p>
          </p:txBody>
        </p:sp>
        <p:sp>
          <p:nvSpPr>
            <p:cNvPr id="17" name="Oval 7">
              <a:extLst>
                <a:ext uri="{FF2B5EF4-FFF2-40B4-BE49-F238E27FC236}">
                  <a16:creationId xmlns:a16="http://schemas.microsoft.com/office/drawing/2014/main" id="{22699BED-850F-48C5-9B2F-B07D34291DED}"/>
                </a:ext>
              </a:extLst>
            </p:cNvPr>
            <p:cNvSpPr>
              <a:spLocks noChangeArrowheads="1"/>
            </p:cNvSpPr>
            <p:nvPr/>
          </p:nvSpPr>
          <p:spPr bwMode="auto">
            <a:xfrm>
              <a:off x="3776" y="2220"/>
              <a:ext cx="367" cy="368"/>
            </a:xfrm>
            <a:prstGeom prst="ellipse">
              <a:avLst/>
            </a:prstGeom>
            <a:solidFill>
              <a:schemeClr val="accent5"/>
            </a:solidFill>
            <a:ln w="6350">
              <a:noFill/>
              <a:round/>
              <a:headEnd/>
              <a:tailEnd/>
            </a:ln>
            <a:effectLst/>
          </p:spPr>
          <p:txBody>
            <a:bodyPr wrap="none" lIns="45720" rIns="45720" anchor="ctr"/>
            <a:lstStyle/>
            <a:p>
              <a:pPr algn="ctr" eaLnBrk="0" hangingPunct="0"/>
              <a:r>
                <a:rPr lang="en-GB" sz="1600" b="1">
                  <a:solidFill>
                    <a:schemeClr val="bg1"/>
                  </a:solidFill>
                </a:rPr>
                <a:t>Text</a:t>
              </a:r>
            </a:p>
          </p:txBody>
        </p:sp>
        <p:sp>
          <p:nvSpPr>
            <p:cNvPr id="18" name="Oval 8">
              <a:extLst>
                <a:ext uri="{FF2B5EF4-FFF2-40B4-BE49-F238E27FC236}">
                  <a16:creationId xmlns:a16="http://schemas.microsoft.com/office/drawing/2014/main" id="{A9B6B297-A2A5-40E2-95EF-46F6104A0607}"/>
                </a:ext>
              </a:extLst>
            </p:cNvPr>
            <p:cNvSpPr>
              <a:spLocks noChangeArrowheads="1"/>
            </p:cNvSpPr>
            <p:nvPr/>
          </p:nvSpPr>
          <p:spPr bwMode="auto">
            <a:xfrm>
              <a:off x="4374" y="2256"/>
              <a:ext cx="297" cy="296"/>
            </a:xfrm>
            <a:prstGeom prst="ellipse">
              <a:avLst/>
            </a:prstGeom>
            <a:solidFill>
              <a:schemeClr val="accent6"/>
            </a:solidFill>
            <a:ln w="6350">
              <a:noFill/>
              <a:round/>
              <a:headEnd/>
              <a:tailEnd/>
            </a:ln>
            <a:effectLst/>
          </p:spPr>
          <p:txBody>
            <a:bodyPr wrap="none" lIns="45720" rIns="45720" anchor="ctr"/>
            <a:lstStyle/>
            <a:p>
              <a:pPr algn="ctr" eaLnBrk="0" hangingPunct="0"/>
              <a:r>
                <a:rPr lang="en-GB" sz="1600" b="1">
                  <a:solidFill>
                    <a:schemeClr val="bg1"/>
                  </a:solidFill>
                </a:rPr>
                <a:t>Text</a:t>
              </a:r>
            </a:p>
          </p:txBody>
        </p:sp>
      </p:grpSp>
    </p:spTree>
    <p:extLst>
      <p:ext uri="{BB962C8B-B14F-4D97-AF65-F5344CB8AC3E}">
        <p14:creationId xmlns:p14="http://schemas.microsoft.com/office/powerpoint/2010/main" val="168500567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ipeline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13" name="Group 12">
            <a:extLst>
              <a:ext uri="{FF2B5EF4-FFF2-40B4-BE49-F238E27FC236}">
                <a16:creationId xmlns:a16="http://schemas.microsoft.com/office/drawing/2014/main" id="{70603C6C-DDE4-4168-9A6D-DF0520F6CE8E}"/>
              </a:ext>
            </a:extLst>
          </p:cNvPr>
          <p:cNvGrpSpPr>
            <a:grpSpLocks/>
          </p:cNvGrpSpPr>
          <p:nvPr/>
        </p:nvGrpSpPr>
        <p:grpSpPr bwMode="auto">
          <a:xfrm>
            <a:off x="5320507" y="1352550"/>
            <a:ext cx="1550987" cy="4705350"/>
            <a:chOff x="2427" y="1140"/>
            <a:chExt cx="890" cy="2700"/>
          </a:xfrm>
        </p:grpSpPr>
        <p:sp>
          <p:nvSpPr>
            <p:cNvPr id="14" name="AutoShape 3">
              <a:extLst>
                <a:ext uri="{FF2B5EF4-FFF2-40B4-BE49-F238E27FC236}">
                  <a16:creationId xmlns:a16="http://schemas.microsoft.com/office/drawing/2014/main" id="{157EB8A0-82C4-4844-905F-3FD075F46644}"/>
                </a:ext>
              </a:extLst>
            </p:cNvPr>
            <p:cNvSpPr>
              <a:spLocks noChangeArrowheads="1"/>
            </p:cNvSpPr>
            <p:nvPr/>
          </p:nvSpPr>
          <p:spPr bwMode="auto">
            <a:xfrm rot="-10800000">
              <a:off x="2427" y="1205"/>
              <a:ext cx="890" cy="2479"/>
            </a:xfrm>
            <a:custGeom>
              <a:avLst/>
              <a:gdLst>
                <a:gd name="G0" fmla="+- 6101 0 0"/>
                <a:gd name="G1" fmla="+- 21600 0 6101"/>
                <a:gd name="G2" fmla="*/ 6101 1 2"/>
                <a:gd name="G3" fmla="+- 21600 0 G2"/>
                <a:gd name="G4" fmla="+/ 6101 21600 2"/>
                <a:gd name="G5" fmla="+/ G1 0 2"/>
                <a:gd name="G6" fmla="*/ 21600 21600 6101"/>
                <a:gd name="G7" fmla="*/ G6 1 2"/>
                <a:gd name="G8" fmla="+- 21600 0 G7"/>
                <a:gd name="G9" fmla="*/ 21600 1 2"/>
                <a:gd name="G10" fmla="+- 6101 0 G9"/>
                <a:gd name="G11" fmla="?: G10 G8 0"/>
                <a:gd name="G12" fmla="?: G10 G7 21600"/>
                <a:gd name="T0" fmla="*/ 18549 w 21600"/>
                <a:gd name="T1" fmla="*/ 10800 h 21600"/>
                <a:gd name="T2" fmla="*/ 10800 w 21600"/>
                <a:gd name="T3" fmla="*/ 21600 h 21600"/>
                <a:gd name="T4" fmla="*/ 3051 w 21600"/>
                <a:gd name="T5" fmla="*/ 10800 h 21600"/>
                <a:gd name="T6" fmla="*/ 10800 w 21600"/>
                <a:gd name="T7" fmla="*/ 0 h 21600"/>
                <a:gd name="T8" fmla="*/ 4851 w 21600"/>
                <a:gd name="T9" fmla="*/ 4851 h 21600"/>
                <a:gd name="T10" fmla="*/ 16749 w 21600"/>
                <a:gd name="T11" fmla="*/ 16749 h 21600"/>
              </a:gdLst>
              <a:ahLst/>
              <a:cxnLst>
                <a:cxn ang="0">
                  <a:pos x="T0" y="T1"/>
                </a:cxn>
                <a:cxn ang="0">
                  <a:pos x="T2" y="T3"/>
                </a:cxn>
                <a:cxn ang="0">
                  <a:pos x="T4" y="T5"/>
                </a:cxn>
                <a:cxn ang="0">
                  <a:pos x="T6" y="T7"/>
                </a:cxn>
              </a:cxnLst>
              <a:rect l="T8" t="T9" r="T10" b="T11"/>
              <a:pathLst>
                <a:path w="21600" h="21600">
                  <a:moveTo>
                    <a:pt x="0" y="0"/>
                  </a:moveTo>
                  <a:lnTo>
                    <a:pt x="6101" y="21600"/>
                  </a:lnTo>
                  <a:lnTo>
                    <a:pt x="15499" y="21600"/>
                  </a:lnTo>
                  <a:lnTo>
                    <a:pt x="21600" y="0"/>
                  </a:lnTo>
                  <a:close/>
                </a:path>
              </a:pathLst>
            </a:custGeom>
            <a:pattFill prst="dkUpDiag">
              <a:fgClr>
                <a:srgbClr val="96968C">
                  <a:lumMod val="40000"/>
                  <a:lumOff val="60000"/>
                </a:srgbClr>
              </a:fgClr>
              <a:bgClr>
                <a:srgbClr val="FFFFFF"/>
              </a:bgClr>
            </a:pattFill>
            <a:ln w="6350">
              <a:no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Oval 4">
              <a:extLst>
                <a:ext uri="{FF2B5EF4-FFF2-40B4-BE49-F238E27FC236}">
                  <a16:creationId xmlns:a16="http://schemas.microsoft.com/office/drawing/2014/main" id="{D6BA91B6-6115-4DEE-B84E-90839659CEBB}"/>
                </a:ext>
              </a:extLst>
            </p:cNvPr>
            <p:cNvSpPr>
              <a:spLocks noChangeArrowheads="1"/>
            </p:cNvSpPr>
            <p:nvPr/>
          </p:nvSpPr>
          <p:spPr bwMode="auto">
            <a:xfrm rot="-5400000">
              <a:off x="2718" y="3241"/>
              <a:ext cx="309" cy="889"/>
            </a:xfrm>
            <a:prstGeom prst="ellipse">
              <a:avLst/>
            </a:prstGeom>
            <a:solidFill>
              <a:schemeClr val="accent3"/>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Graphik"/>
                  <a:ea typeface="+mn-ea"/>
                  <a:cs typeface="+mn-cs"/>
                </a:rPr>
                <a:t>Text</a:t>
              </a:r>
            </a:p>
          </p:txBody>
        </p:sp>
        <p:sp>
          <p:nvSpPr>
            <p:cNvPr id="16" name="Oval 5">
              <a:extLst>
                <a:ext uri="{FF2B5EF4-FFF2-40B4-BE49-F238E27FC236}">
                  <a16:creationId xmlns:a16="http://schemas.microsoft.com/office/drawing/2014/main" id="{3D2D760F-B68E-4CC4-824C-14B3D822F6CA}"/>
                </a:ext>
              </a:extLst>
            </p:cNvPr>
            <p:cNvSpPr>
              <a:spLocks noChangeArrowheads="1"/>
            </p:cNvSpPr>
            <p:nvPr/>
          </p:nvSpPr>
          <p:spPr bwMode="auto">
            <a:xfrm rot="-5400000">
              <a:off x="2746" y="2754"/>
              <a:ext cx="252" cy="773"/>
            </a:xfrm>
            <a:prstGeom prst="ellipse">
              <a:avLst/>
            </a:prstGeom>
            <a:solidFill>
              <a:schemeClr val="accent2"/>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Graphik"/>
                  <a:ea typeface="+mn-ea"/>
                  <a:cs typeface="+mn-cs"/>
                </a:rPr>
                <a:t>Text</a:t>
              </a:r>
            </a:p>
          </p:txBody>
        </p:sp>
        <p:sp>
          <p:nvSpPr>
            <p:cNvPr id="17" name="Oval 6">
              <a:extLst>
                <a:ext uri="{FF2B5EF4-FFF2-40B4-BE49-F238E27FC236}">
                  <a16:creationId xmlns:a16="http://schemas.microsoft.com/office/drawing/2014/main" id="{0D173F21-6CA9-42D7-A1B4-0436AED3ED7C}"/>
                </a:ext>
              </a:extLst>
            </p:cNvPr>
            <p:cNvSpPr>
              <a:spLocks noChangeArrowheads="1"/>
            </p:cNvSpPr>
            <p:nvPr/>
          </p:nvSpPr>
          <p:spPr bwMode="auto">
            <a:xfrm rot="-5400000">
              <a:off x="2752" y="2296"/>
              <a:ext cx="240" cy="671"/>
            </a:xfrm>
            <a:prstGeom prst="ellipse">
              <a:avLst/>
            </a:prstGeom>
            <a:solidFill>
              <a:schemeClr val="accent1"/>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18" name="Oval 7">
              <a:extLst>
                <a:ext uri="{FF2B5EF4-FFF2-40B4-BE49-F238E27FC236}">
                  <a16:creationId xmlns:a16="http://schemas.microsoft.com/office/drawing/2014/main" id="{C1534551-19A2-482B-8B8D-E7434D989F40}"/>
                </a:ext>
              </a:extLst>
            </p:cNvPr>
            <p:cNvSpPr>
              <a:spLocks noChangeArrowheads="1"/>
            </p:cNvSpPr>
            <p:nvPr/>
          </p:nvSpPr>
          <p:spPr bwMode="auto">
            <a:xfrm rot="-5400000">
              <a:off x="2751" y="1843"/>
              <a:ext cx="242" cy="571"/>
            </a:xfrm>
            <a:prstGeom prst="ellipse">
              <a:avLst/>
            </a:prstGeom>
            <a:solidFill>
              <a:schemeClr val="accent6"/>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Graphik"/>
                  <a:ea typeface="+mn-ea"/>
                  <a:cs typeface="+mn-cs"/>
                </a:rPr>
                <a:t>Text</a:t>
              </a:r>
            </a:p>
          </p:txBody>
        </p:sp>
        <p:sp>
          <p:nvSpPr>
            <p:cNvPr id="19" name="Oval 8">
              <a:extLst>
                <a:ext uri="{FF2B5EF4-FFF2-40B4-BE49-F238E27FC236}">
                  <a16:creationId xmlns:a16="http://schemas.microsoft.com/office/drawing/2014/main" id="{99CB851C-3E5F-44D6-B4BF-8758F18EE8A5}"/>
                </a:ext>
              </a:extLst>
            </p:cNvPr>
            <p:cNvSpPr>
              <a:spLocks noChangeArrowheads="1"/>
            </p:cNvSpPr>
            <p:nvPr/>
          </p:nvSpPr>
          <p:spPr bwMode="auto">
            <a:xfrm rot="-5400000">
              <a:off x="2774" y="1412"/>
              <a:ext cx="193" cy="474"/>
            </a:xfrm>
            <a:prstGeom prst="ellipse">
              <a:avLst/>
            </a:prstGeom>
            <a:solidFill>
              <a:schemeClr val="accent5"/>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Graphik"/>
                  <a:ea typeface="+mn-ea"/>
                  <a:cs typeface="+mn-cs"/>
                </a:rPr>
                <a:t>Text</a:t>
              </a:r>
            </a:p>
          </p:txBody>
        </p:sp>
        <p:sp>
          <p:nvSpPr>
            <p:cNvPr id="20" name="Oval 9">
              <a:extLst>
                <a:ext uri="{FF2B5EF4-FFF2-40B4-BE49-F238E27FC236}">
                  <a16:creationId xmlns:a16="http://schemas.microsoft.com/office/drawing/2014/main" id="{61995F40-A73C-40E9-801E-9C6246C479A0}"/>
                </a:ext>
              </a:extLst>
            </p:cNvPr>
            <p:cNvSpPr>
              <a:spLocks noChangeArrowheads="1"/>
            </p:cNvSpPr>
            <p:nvPr/>
          </p:nvSpPr>
          <p:spPr bwMode="auto">
            <a:xfrm rot="-5400000">
              <a:off x="2797" y="1017"/>
              <a:ext cx="150" cy="395"/>
            </a:xfrm>
            <a:prstGeom prst="ellipse">
              <a:avLst/>
            </a:prstGeom>
            <a:solidFill>
              <a:schemeClr val="accent4"/>
            </a:solidFill>
            <a:ln w="6350">
              <a:noFill/>
              <a:round/>
              <a:headEnd/>
              <a:tailEnd/>
            </a:ln>
            <a:effectLst/>
          </p:spPr>
          <p:txBody>
            <a:bodyPr vert="eaVert"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D20F26E0-B15B-41CE-800A-877BA1A8FFB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01223363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Pipeline 3</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13">
            <a:extLst>
              <a:ext uri="{FF2B5EF4-FFF2-40B4-BE49-F238E27FC236}">
                <a16:creationId xmlns:a16="http://schemas.microsoft.com/office/drawing/2014/main" id="{5FAAAFBF-F94B-4429-A096-3EA496E4B069}"/>
              </a:ext>
            </a:extLst>
          </p:cNvPr>
          <p:cNvGrpSpPr>
            <a:grpSpLocks/>
          </p:cNvGrpSpPr>
          <p:nvPr/>
        </p:nvGrpSpPr>
        <p:grpSpPr bwMode="auto">
          <a:xfrm>
            <a:off x="5574890" y="1287938"/>
            <a:ext cx="1042220" cy="4806000"/>
            <a:chOff x="2570" y="1115"/>
            <a:chExt cx="619" cy="2928"/>
          </a:xfrm>
        </p:grpSpPr>
        <p:sp>
          <p:nvSpPr>
            <p:cNvPr id="6" name="AutoShape 3">
              <a:extLst>
                <a:ext uri="{FF2B5EF4-FFF2-40B4-BE49-F238E27FC236}">
                  <a16:creationId xmlns:a16="http://schemas.microsoft.com/office/drawing/2014/main" id="{0350E14F-353A-4E7F-ABB4-1D59914CE7A6}"/>
                </a:ext>
              </a:extLst>
            </p:cNvPr>
            <p:cNvSpPr>
              <a:spLocks noChangeArrowheads="1"/>
            </p:cNvSpPr>
            <p:nvPr/>
          </p:nvSpPr>
          <p:spPr bwMode="auto">
            <a:xfrm flipV="1">
              <a:off x="2570" y="1288"/>
              <a:ext cx="619" cy="2449"/>
            </a:xfrm>
            <a:custGeom>
              <a:avLst/>
              <a:gdLst>
                <a:gd name="G0" fmla="+- 6101 0 0"/>
                <a:gd name="G1" fmla="+- 21600 0 6101"/>
                <a:gd name="G2" fmla="*/ 6101 1 2"/>
                <a:gd name="G3" fmla="+- 21600 0 G2"/>
                <a:gd name="G4" fmla="+/ 6101 21600 2"/>
                <a:gd name="G5" fmla="+/ G1 0 2"/>
                <a:gd name="G6" fmla="*/ 21600 21600 6101"/>
                <a:gd name="G7" fmla="*/ G6 1 2"/>
                <a:gd name="G8" fmla="+- 21600 0 G7"/>
                <a:gd name="G9" fmla="*/ 21600 1 2"/>
                <a:gd name="G10" fmla="+- 6101 0 G9"/>
                <a:gd name="G11" fmla="?: G10 G8 0"/>
                <a:gd name="G12" fmla="?: G10 G7 21600"/>
                <a:gd name="T0" fmla="*/ 18549 w 21600"/>
                <a:gd name="T1" fmla="*/ 10800 h 21600"/>
                <a:gd name="T2" fmla="*/ 10800 w 21600"/>
                <a:gd name="T3" fmla="*/ 21600 h 21600"/>
                <a:gd name="T4" fmla="*/ 3051 w 21600"/>
                <a:gd name="T5" fmla="*/ 10800 h 21600"/>
                <a:gd name="T6" fmla="*/ 10800 w 21600"/>
                <a:gd name="T7" fmla="*/ 0 h 21600"/>
                <a:gd name="T8" fmla="*/ 4851 w 21600"/>
                <a:gd name="T9" fmla="*/ 4851 h 21600"/>
                <a:gd name="T10" fmla="*/ 16749 w 21600"/>
                <a:gd name="T11" fmla="*/ 16749 h 21600"/>
              </a:gdLst>
              <a:ahLst/>
              <a:cxnLst>
                <a:cxn ang="0">
                  <a:pos x="T0" y="T1"/>
                </a:cxn>
                <a:cxn ang="0">
                  <a:pos x="T2" y="T3"/>
                </a:cxn>
                <a:cxn ang="0">
                  <a:pos x="T4" y="T5"/>
                </a:cxn>
                <a:cxn ang="0">
                  <a:pos x="T6" y="T7"/>
                </a:cxn>
              </a:cxnLst>
              <a:rect l="T8" t="T9" r="T10" b="T11"/>
              <a:pathLst>
                <a:path w="21600" h="21600">
                  <a:moveTo>
                    <a:pt x="0" y="0"/>
                  </a:moveTo>
                  <a:lnTo>
                    <a:pt x="6101" y="21600"/>
                  </a:lnTo>
                  <a:lnTo>
                    <a:pt x="15499" y="21600"/>
                  </a:lnTo>
                  <a:lnTo>
                    <a:pt x="21600" y="0"/>
                  </a:lnTo>
                  <a:close/>
                </a:path>
              </a:pathLst>
            </a:custGeom>
            <a:pattFill prst="dkUpDiag">
              <a:fgClr>
                <a:srgbClr val="96968C">
                  <a:lumMod val="40000"/>
                  <a:lumOff val="60000"/>
                </a:srgbClr>
              </a:fgClr>
              <a:bgClr>
                <a:srgbClr val="FFFFFF"/>
              </a:bgClr>
            </a:pattFill>
            <a:ln w="6350">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Oval 4">
              <a:extLst>
                <a:ext uri="{FF2B5EF4-FFF2-40B4-BE49-F238E27FC236}">
                  <a16:creationId xmlns:a16="http://schemas.microsoft.com/office/drawing/2014/main" id="{7BAFE05F-6349-486F-B54B-5AB1D96A159B}"/>
                </a:ext>
              </a:extLst>
            </p:cNvPr>
            <p:cNvSpPr>
              <a:spLocks noChangeArrowheads="1"/>
            </p:cNvSpPr>
            <p:nvPr/>
          </p:nvSpPr>
          <p:spPr bwMode="auto">
            <a:xfrm>
              <a:off x="2570" y="3425"/>
              <a:ext cx="617" cy="618"/>
            </a:xfrm>
            <a:prstGeom prst="ellipse">
              <a:avLst/>
            </a:prstGeom>
            <a:solidFill>
              <a:schemeClr val="accent3"/>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Graphik"/>
                  <a:ea typeface="+mn-ea"/>
                  <a:cs typeface="+mn-cs"/>
                </a:rPr>
                <a:t>Text</a:t>
              </a:r>
            </a:p>
          </p:txBody>
        </p:sp>
        <p:sp>
          <p:nvSpPr>
            <p:cNvPr id="8" name="Oval 5">
              <a:extLst>
                <a:ext uri="{FF2B5EF4-FFF2-40B4-BE49-F238E27FC236}">
                  <a16:creationId xmlns:a16="http://schemas.microsoft.com/office/drawing/2014/main" id="{0E5EB32E-8D2C-49B4-AB2B-5B13A8E98A64}"/>
                </a:ext>
              </a:extLst>
            </p:cNvPr>
            <p:cNvSpPr>
              <a:spLocks noChangeArrowheads="1"/>
            </p:cNvSpPr>
            <p:nvPr/>
          </p:nvSpPr>
          <p:spPr bwMode="auto">
            <a:xfrm>
              <a:off x="2619" y="2720"/>
              <a:ext cx="519" cy="519"/>
            </a:xfrm>
            <a:prstGeom prst="ellipse">
              <a:avLst/>
            </a:prstGeom>
            <a:solidFill>
              <a:schemeClr val="accent2"/>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Graphik"/>
                  <a:ea typeface="+mn-ea"/>
                  <a:cs typeface="+mn-cs"/>
                </a:rPr>
                <a:t>Text</a:t>
              </a:r>
            </a:p>
          </p:txBody>
        </p:sp>
        <p:sp>
          <p:nvSpPr>
            <p:cNvPr id="9" name="Oval 6">
              <a:extLst>
                <a:ext uri="{FF2B5EF4-FFF2-40B4-BE49-F238E27FC236}">
                  <a16:creationId xmlns:a16="http://schemas.microsoft.com/office/drawing/2014/main" id="{5CBCEB97-91DA-475A-889E-137AAAF7E875}"/>
                </a:ext>
              </a:extLst>
            </p:cNvPr>
            <p:cNvSpPr>
              <a:spLocks noChangeArrowheads="1"/>
            </p:cNvSpPr>
            <p:nvPr/>
          </p:nvSpPr>
          <p:spPr bwMode="auto">
            <a:xfrm>
              <a:off x="2663" y="2103"/>
              <a:ext cx="432" cy="432"/>
            </a:xfrm>
            <a:prstGeom prst="ellipse">
              <a:avLst/>
            </a:prstGeom>
            <a:solidFill>
              <a:schemeClr val="accent1"/>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Graphik"/>
                  <a:ea typeface="+mn-ea"/>
                  <a:cs typeface="+mn-cs"/>
                </a:rPr>
                <a:t>Text</a:t>
              </a:r>
            </a:p>
          </p:txBody>
        </p:sp>
        <p:sp>
          <p:nvSpPr>
            <p:cNvPr id="10" name="Oval 7">
              <a:extLst>
                <a:ext uri="{FF2B5EF4-FFF2-40B4-BE49-F238E27FC236}">
                  <a16:creationId xmlns:a16="http://schemas.microsoft.com/office/drawing/2014/main" id="{D48E335B-2CDF-4EE9-9B80-E997CB00AEEF}"/>
                </a:ext>
              </a:extLst>
            </p:cNvPr>
            <p:cNvSpPr>
              <a:spLocks noChangeArrowheads="1"/>
            </p:cNvSpPr>
            <p:nvPr/>
          </p:nvSpPr>
          <p:spPr bwMode="auto">
            <a:xfrm>
              <a:off x="2708" y="1575"/>
              <a:ext cx="341" cy="342"/>
            </a:xfrm>
            <a:prstGeom prst="ellipse">
              <a:avLst/>
            </a:prstGeom>
            <a:solidFill>
              <a:schemeClr val="accent5"/>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Graphik"/>
                  <a:ea typeface="+mn-ea"/>
                  <a:cs typeface="+mn-cs"/>
                </a:rPr>
                <a:t>Text</a:t>
              </a:r>
            </a:p>
          </p:txBody>
        </p:sp>
        <p:sp>
          <p:nvSpPr>
            <p:cNvPr id="11" name="Oval 12">
              <a:extLst>
                <a:ext uri="{FF2B5EF4-FFF2-40B4-BE49-F238E27FC236}">
                  <a16:creationId xmlns:a16="http://schemas.microsoft.com/office/drawing/2014/main" id="{30B68815-9B12-4C55-8FEF-75598F3C34CF}"/>
                </a:ext>
              </a:extLst>
            </p:cNvPr>
            <p:cNvSpPr>
              <a:spLocks noChangeArrowheads="1"/>
            </p:cNvSpPr>
            <p:nvPr/>
          </p:nvSpPr>
          <p:spPr bwMode="auto">
            <a:xfrm>
              <a:off x="2741" y="1115"/>
              <a:ext cx="276" cy="275"/>
            </a:xfrm>
            <a:prstGeom prst="ellipse">
              <a:avLst/>
            </a:prstGeom>
            <a:solidFill>
              <a:schemeClr val="accent6"/>
            </a:solidFill>
            <a:ln w="6350">
              <a:noFill/>
              <a:round/>
              <a:headEnd/>
              <a:tailEnd/>
            </a:ln>
            <a:effectLst/>
          </p:spPr>
          <p:txBody>
            <a:bodyPr wrap="none" lIns="45720" rIns="4572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D0509B50-7247-4AF5-9A0F-477910B90D0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6252259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Acceleration</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14" name="Group 13">
            <a:extLst>
              <a:ext uri="{FF2B5EF4-FFF2-40B4-BE49-F238E27FC236}">
                <a16:creationId xmlns:a16="http://schemas.microsoft.com/office/drawing/2014/main" id="{941D698C-4912-41E8-B674-C280EDEF6742}"/>
              </a:ext>
            </a:extLst>
          </p:cNvPr>
          <p:cNvGrpSpPr/>
          <p:nvPr/>
        </p:nvGrpSpPr>
        <p:grpSpPr>
          <a:xfrm>
            <a:off x="381000" y="2338108"/>
            <a:ext cx="9855214" cy="2181784"/>
            <a:chOff x="381000" y="2338108"/>
            <a:chExt cx="9855214" cy="2181784"/>
          </a:xfrm>
        </p:grpSpPr>
        <p:sp>
          <p:nvSpPr>
            <p:cNvPr id="6" name="Freeform 3">
              <a:extLst>
                <a:ext uri="{FF2B5EF4-FFF2-40B4-BE49-F238E27FC236}">
                  <a16:creationId xmlns:a16="http://schemas.microsoft.com/office/drawing/2014/main" id="{E2C05474-D531-441B-A0F4-2FDE6E1DDE59}"/>
                </a:ext>
              </a:extLst>
            </p:cNvPr>
            <p:cNvSpPr>
              <a:spLocks/>
            </p:cNvSpPr>
            <p:nvPr/>
          </p:nvSpPr>
          <p:spPr bwMode="auto">
            <a:xfrm>
              <a:off x="2737978" y="2338108"/>
              <a:ext cx="263654" cy="2181784"/>
            </a:xfrm>
            <a:custGeom>
              <a:avLst/>
              <a:gdLst/>
              <a:ahLst/>
              <a:cxnLst>
                <a:cxn ang="0">
                  <a:pos x="0" y="0"/>
                </a:cxn>
                <a:cxn ang="0">
                  <a:pos x="232" y="0"/>
                </a:cxn>
                <a:cxn ang="0">
                  <a:pos x="336" y="360"/>
                </a:cxn>
                <a:cxn ang="0">
                  <a:pos x="232" y="720"/>
                </a:cxn>
                <a:cxn ang="0">
                  <a:pos x="0" y="720"/>
                </a:cxn>
                <a:cxn ang="0">
                  <a:pos x="0" y="0"/>
                </a:cxn>
              </a:cxnLst>
              <a:rect l="0" t="0" r="r" b="b"/>
              <a:pathLst>
                <a:path w="337" h="721">
                  <a:moveTo>
                    <a:pt x="0" y="0"/>
                  </a:moveTo>
                  <a:lnTo>
                    <a:pt x="232" y="0"/>
                  </a:lnTo>
                  <a:lnTo>
                    <a:pt x="336" y="360"/>
                  </a:lnTo>
                  <a:lnTo>
                    <a:pt x="232" y="720"/>
                  </a:lnTo>
                  <a:lnTo>
                    <a:pt x="0" y="72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Freeform 4">
              <a:extLst>
                <a:ext uri="{FF2B5EF4-FFF2-40B4-BE49-F238E27FC236}">
                  <a16:creationId xmlns:a16="http://schemas.microsoft.com/office/drawing/2014/main" id="{6C1F5A9A-1C07-4B3F-ADFB-9BC97DBB96BC}"/>
                </a:ext>
              </a:extLst>
            </p:cNvPr>
            <p:cNvSpPr>
              <a:spLocks/>
            </p:cNvSpPr>
            <p:nvPr/>
          </p:nvSpPr>
          <p:spPr bwMode="auto">
            <a:xfrm>
              <a:off x="3001632" y="2338108"/>
              <a:ext cx="634134" cy="2181784"/>
            </a:xfrm>
            <a:custGeom>
              <a:avLst/>
              <a:gdLst/>
              <a:ahLst/>
              <a:cxnLst>
                <a:cxn ang="0">
                  <a:pos x="0" y="0"/>
                </a:cxn>
                <a:cxn ang="0">
                  <a:pos x="328" y="0"/>
                </a:cxn>
                <a:cxn ang="0">
                  <a:pos x="472" y="360"/>
                </a:cxn>
                <a:cxn ang="0">
                  <a:pos x="328" y="720"/>
                </a:cxn>
                <a:cxn ang="0">
                  <a:pos x="0" y="720"/>
                </a:cxn>
                <a:cxn ang="0">
                  <a:pos x="104" y="360"/>
                </a:cxn>
                <a:cxn ang="0">
                  <a:pos x="0" y="0"/>
                </a:cxn>
              </a:cxnLst>
              <a:rect l="0" t="0" r="r" b="b"/>
              <a:pathLst>
                <a:path w="473" h="721">
                  <a:moveTo>
                    <a:pt x="0" y="0"/>
                  </a:moveTo>
                  <a:lnTo>
                    <a:pt x="328" y="0"/>
                  </a:lnTo>
                  <a:lnTo>
                    <a:pt x="472" y="360"/>
                  </a:lnTo>
                  <a:lnTo>
                    <a:pt x="328" y="720"/>
                  </a:lnTo>
                  <a:lnTo>
                    <a:pt x="0" y="720"/>
                  </a:lnTo>
                  <a:lnTo>
                    <a:pt x="10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Freeform 5">
              <a:extLst>
                <a:ext uri="{FF2B5EF4-FFF2-40B4-BE49-F238E27FC236}">
                  <a16:creationId xmlns:a16="http://schemas.microsoft.com/office/drawing/2014/main" id="{3A2A4D88-F37F-4192-9482-A3B3F88A9242}"/>
                </a:ext>
              </a:extLst>
            </p:cNvPr>
            <p:cNvSpPr>
              <a:spLocks/>
            </p:cNvSpPr>
            <p:nvPr/>
          </p:nvSpPr>
          <p:spPr bwMode="auto">
            <a:xfrm>
              <a:off x="3574398" y="2338108"/>
              <a:ext cx="811419" cy="2181784"/>
            </a:xfrm>
            <a:custGeom>
              <a:avLst/>
              <a:gdLst/>
              <a:ahLst/>
              <a:cxnLst>
                <a:cxn ang="0">
                  <a:pos x="0" y="0"/>
                </a:cxn>
                <a:cxn ang="0">
                  <a:pos x="368" y="0"/>
                </a:cxn>
                <a:cxn ang="0">
                  <a:pos x="552" y="360"/>
                </a:cxn>
                <a:cxn ang="0">
                  <a:pos x="368" y="720"/>
                </a:cxn>
                <a:cxn ang="0">
                  <a:pos x="0" y="720"/>
                </a:cxn>
                <a:cxn ang="0">
                  <a:pos x="144" y="360"/>
                </a:cxn>
                <a:cxn ang="0">
                  <a:pos x="0" y="0"/>
                </a:cxn>
              </a:cxnLst>
              <a:rect l="0" t="0" r="r" b="b"/>
              <a:pathLst>
                <a:path w="553" h="721">
                  <a:moveTo>
                    <a:pt x="0" y="0"/>
                  </a:moveTo>
                  <a:lnTo>
                    <a:pt x="368" y="0"/>
                  </a:lnTo>
                  <a:lnTo>
                    <a:pt x="552" y="360"/>
                  </a:lnTo>
                  <a:lnTo>
                    <a:pt x="368" y="720"/>
                  </a:lnTo>
                  <a:lnTo>
                    <a:pt x="0" y="720"/>
                  </a:lnTo>
                  <a:lnTo>
                    <a:pt x="14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 name="Freeform 6">
              <a:extLst>
                <a:ext uri="{FF2B5EF4-FFF2-40B4-BE49-F238E27FC236}">
                  <a16:creationId xmlns:a16="http://schemas.microsoft.com/office/drawing/2014/main" id="{1CF8807A-10C8-4F39-AE8D-6B244E64CEF8}"/>
                </a:ext>
              </a:extLst>
            </p:cNvPr>
            <p:cNvSpPr>
              <a:spLocks/>
            </p:cNvSpPr>
            <p:nvPr/>
          </p:nvSpPr>
          <p:spPr bwMode="auto">
            <a:xfrm>
              <a:off x="4324449" y="2338108"/>
              <a:ext cx="1131895" cy="2181784"/>
            </a:xfrm>
            <a:custGeom>
              <a:avLst/>
              <a:gdLst/>
              <a:ahLst/>
              <a:cxnLst>
                <a:cxn ang="0">
                  <a:pos x="0" y="0"/>
                </a:cxn>
                <a:cxn ang="0">
                  <a:pos x="408" y="0"/>
                </a:cxn>
                <a:cxn ang="0">
                  <a:pos x="632" y="360"/>
                </a:cxn>
                <a:cxn ang="0">
                  <a:pos x="408" y="720"/>
                </a:cxn>
                <a:cxn ang="0">
                  <a:pos x="0" y="720"/>
                </a:cxn>
                <a:cxn ang="0">
                  <a:pos x="184" y="360"/>
                </a:cxn>
                <a:cxn ang="0">
                  <a:pos x="0" y="0"/>
                </a:cxn>
              </a:cxnLst>
              <a:rect l="0" t="0" r="r" b="b"/>
              <a:pathLst>
                <a:path w="633" h="721">
                  <a:moveTo>
                    <a:pt x="0" y="0"/>
                  </a:moveTo>
                  <a:lnTo>
                    <a:pt x="408" y="0"/>
                  </a:lnTo>
                  <a:lnTo>
                    <a:pt x="632" y="360"/>
                  </a:lnTo>
                  <a:lnTo>
                    <a:pt x="408" y="720"/>
                  </a:lnTo>
                  <a:lnTo>
                    <a:pt x="0" y="720"/>
                  </a:lnTo>
                  <a:lnTo>
                    <a:pt x="18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Freeform 7">
              <a:extLst>
                <a:ext uri="{FF2B5EF4-FFF2-40B4-BE49-F238E27FC236}">
                  <a16:creationId xmlns:a16="http://schemas.microsoft.com/office/drawing/2014/main" id="{4331F61B-DDFB-4655-982B-BA804D1827A4}"/>
                </a:ext>
              </a:extLst>
            </p:cNvPr>
            <p:cNvSpPr>
              <a:spLocks/>
            </p:cNvSpPr>
            <p:nvPr/>
          </p:nvSpPr>
          <p:spPr bwMode="auto">
            <a:xfrm>
              <a:off x="5276787" y="2338108"/>
              <a:ext cx="1431915" cy="2181784"/>
            </a:xfrm>
            <a:custGeom>
              <a:avLst/>
              <a:gdLst/>
              <a:ahLst/>
              <a:cxnLst>
                <a:cxn ang="0">
                  <a:pos x="0" y="0"/>
                </a:cxn>
                <a:cxn ang="0">
                  <a:pos x="448" y="0"/>
                </a:cxn>
                <a:cxn ang="0">
                  <a:pos x="712" y="360"/>
                </a:cxn>
                <a:cxn ang="0">
                  <a:pos x="448" y="720"/>
                </a:cxn>
                <a:cxn ang="0">
                  <a:pos x="0" y="720"/>
                </a:cxn>
                <a:cxn ang="0">
                  <a:pos x="224" y="360"/>
                </a:cxn>
                <a:cxn ang="0">
                  <a:pos x="0" y="0"/>
                </a:cxn>
              </a:cxnLst>
              <a:rect l="0" t="0" r="r" b="b"/>
              <a:pathLst>
                <a:path w="713" h="721">
                  <a:moveTo>
                    <a:pt x="0" y="0"/>
                  </a:moveTo>
                  <a:lnTo>
                    <a:pt x="448" y="0"/>
                  </a:lnTo>
                  <a:lnTo>
                    <a:pt x="712" y="360"/>
                  </a:lnTo>
                  <a:lnTo>
                    <a:pt x="448" y="720"/>
                  </a:lnTo>
                  <a:lnTo>
                    <a:pt x="0" y="720"/>
                  </a:lnTo>
                  <a:lnTo>
                    <a:pt x="22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Freeform 8">
              <a:extLst>
                <a:ext uri="{FF2B5EF4-FFF2-40B4-BE49-F238E27FC236}">
                  <a16:creationId xmlns:a16="http://schemas.microsoft.com/office/drawing/2014/main" id="{FE62EA82-0F20-44E2-96E1-C536448862C3}"/>
                </a:ext>
              </a:extLst>
            </p:cNvPr>
            <p:cNvSpPr>
              <a:spLocks/>
            </p:cNvSpPr>
            <p:nvPr/>
          </p:nvSpPr>
          <p:spPr bwMode="auto">
            <a:xfrm>
              <a:off x="6513234" y="2338108"/>
              <a:ext cx="1766029" cy="2181784"/>
            </a:xfrm>
            <a:custGeom>
              <a:avLst/>
              <a:gdLst/>
              <a:ahLst/>
              <a:cxnLst>
                <a:cxn ang="0">
                  <a:pos x="0" y="0"/>
                </a:cxn>
                <a:cxn ang="0">
                  <a:pos x="528" y="0"/>
                </a:cxn>
                <a:cxn ang="0">
                  <a:pos x="832" y="360"/>
                </a:cxn>
                <a:cxn ang="0">
                  <a:pos x="528" y="720"/>
                </a:cxn>
                <a:cxn ang="0">
                  <a:pos x="0" y="720"/>
                </a:cxn>
                <a:cxn ang="0">
                  <a:pos x="264" y="360"/>
                </a:cxn>
                <a:cxn ang="0">
                  <a:pos x="0" y="0"/>
                </a:cxn>
              </a:cxnLst>
              <a:rect l="0" t="0" r="r" b="b"/>
              <a:pathLst>
                <a:path w="833" h="721">
                  <a:moveTo>
                    <a:pt x="0" y="0"/>
                  </a:moveTo>
                  <a:lnTo>
                    <a:pt x="528" y="0"/>
                  </a:lnTo>
                  <a:lnTo>
                    <a:pt x="832" y="360"/>
                  </a:lnTo>
                  <a:lnTo>
                    <a:pt x="528" y="720"/>
                  </a:lnTo>
                  <a:lnTo>
                    <a:pt x="0" y="720"/>
                  </a:lnTo>
                  <a:lnTo>
                    <a:pt x="26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Freeform 9">
              <a:extLst>
                <a:ext uri="{FF2B5EF4-FFF2-40B4-BE49-F238E27FC236}">
                  <a16:creationId xmlns:a16="http://schemas.microsoft.com/office/drawing/2014/main" id="{27884873-2B90-43C0-82D8-038D45E74721}"/>
                </a:ext>
              </a:extLst>
            </p:cNvPr>
            <p:cNvSpPr>
              <a:spLocks/>
            </p:cNvSpPr>
            <p:nvPr/>
          </p:nvSpPr>
          <p:spPr bwMode="auto">
            <a:xfrm>
              <a:off x="7995153" y="2338108"/>
              <a:ext cx="2241061" cy="2181784"/>
            </a:xfrm>
            <a:custGeom>
              <a:avLst/>
              <a:gdLst/>
              <a:ahLst/>
              <a:cxnLst>
                <a:cxn ang="0">
                  <a:pos x="0" y="0"/>
                </a:cxn>
                <a:cxn ang="0">
                  <a:pos x="648" y="0"/>
                </a:cxn>
                <a:cxn ang="0">
                  <a:pos x="1008" y="360"/>
                </a:cxn>
                <a:cxn ang="0">
                  <a:pos x="648" y="720"/>
                </a:cxn>
                <a:cxn ang="0">
                  <a:pos x="0" y="720"/>
                </a:cxn>
                <a:cxn ang="0">
                  <a:pos x="264" y="360"/>
                </a:cxn>
                <a:cxn ang="0">
                  <a:pos x="0" y="0"/>
                </a:cxn>
              </a:cxnLst>
              <a:rect l="0" t="0" r="r" b="b"/>
              <a:pathLst>
                <a:path w="1009" h="721">
                  <a:moveTo>
                    <a:pt x="0" y="0"/>
                  </a:moveTo>
                  <a:lnTo>
                    <a:pt x="648" y="0"/>
                  </a:lnTo>
                  <a:lnTo>
                    <a:pt x="1008" y="360"/>
                  </a:lnTo>
                  <a:lnTo>
                    <a:pt x="648" y="720"/>
                  </a:lnTo>
                  <a:lnTo>
                    <a:pt x="0" y="720"/>
                  </a:lnTo>
                  <a:lnTo>
                    <a:pt x="264" y="360"/>
                  </a:lnTo>
                  <a:lnTo>
                    <a:pt x="0" y="0"/>
                  </a:lnTo>
                </a:path>
              </a:pathLst>
            </a:custGeom>
            <a:solidFill>
              <a:schemeClr val="accent1"/>
            </a:solidFill>
            <a:ln w="6350" cap="rnd"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 name="Rectangle 10">
              <a:extLst>
                <a:ext uri="{FF2B5EF4-FFF2-40B4-BE49-F238E27FC236}">
                  <a16:creationId xmlns:a16="http://schemas.microsoft.com/office/drawing/2014/main" id="{EEA699D4-B3C6-45E1-A051-CB811E32F660}"/>
                </a:ext>
              </a:extLst>
            </p:cNvPr>
            <p:cNvSpPr>
              <a:spLocks noChangeArrowheads="1"/>
            </p:cNvSpPr>
            <p:nvPr/>
          </p:nvSpPr>
          <p:spPr bwMode="auto">
            <a:xfrm>
              <a:off x="381000" y="3254003"/>
              <a:ext cx="2188785" cy="349995"/>
            </a:xfrm>
            <a:prstGeom prst="rect">
              <a:avLst/>
            </a:prstGeom>
            <a:noFill/>
            <a:ln w="6350">
              <a:noFill/>
              <a:miter lim="800000"/>
              <a:headEnd/>
              <a:tailEnd/>
            </a:ln>
            <a:effectLst/>
          </p:spPr>
          <p:txBody>
            <a:bodyPr lIns="0" tIns="0" rIns="0" bIns="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Black"/>
                  <a:ea typeface="+mn-ea"/>
                  <a:cs typeface="+mn-cs"/>
                </a:rPr>
                <a:t>Text</a:t>
              </a:r>
            </a:p>
          </p:txBody>
        </p:sp>
      </p:grpSp>
      <p:sp>
        <p:nvSpPr>
          <p:cNvPr id="3" name="Rectangle 2">
            <a:hlinkClick r:id="rId3" action="ppaction://hlinksldjump"/>
            <a:extLst>
              <a:ext uri="{FF2B5EF4-FFF2-40B4-BE49-F238E27FC236}">
                <a16:creationId xmlns:a16="http://schemas.microsoft.com/office/drawing/2014/main" id="{7C7DF1EB-797A-431A-B89F-34A7E5057C8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2392041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AD483C-2EDD-334C-9D9E-C5DBF9DD40D5}"/>
              </a:ext>
            </a:extLst>
          </p:cNvPr>
          <p:cNvSpPr>
            <a:spLocks noGrp="1"/>
          </p:cNvSpPr>
          <p:nvPr>
            <p:ph type="ctrTitle"/>
          </p:nvPr>
        </p:nvSpPr>
        <p:spPr/>
        <p:txBody>
          <a:bodyPr/>
          <a:lstStyle/>
          <a:p>
            <a:endParaRPr lang="en-US"/>
          </a:p>
        </p:txBody>
      </p:sp>
      <p:sp>
        <p:nvSpPr>
          <p:cNvPr id="5" name="Text Placeholder 4">
            <a:extLst>
              <a:ext uri="{FF2B5EF4-FFF2-40B4-BE49-F238E27FC236}">
                <a16:creationId xmlns:a16="http://schemas.microsoft.com/office/drawing/2014/main" id="{710DFFC6-A368-EF4D-8F2D-B98B98F95479}"/>
              </a:ext>
            </a:extLst>
          </p:cNvPr>
          <p:cNvSpPr>
            <a:spLocks noGrp="1"/>
          </p:cNvSpPr>
          <p:nvPr>
            <p:ph type="body" sz="quarter" idx="12"/>
          </p:nvPr>
        </p:nvSpPr>
        <p:spPr/>
        <p:txBody>
          <a:bodyPr/>
          <a:lstStyle/>
          <a:p>
            <a:endParaRPr lang="en-US"/>
          </a:p>
        </p:txBody>
      </p:sp>
      <p:sp>
        <p:nvSpPr>
          <p:cNvPr id="4" name="Subtitle 3">
            <a:extLst>
              <a:ext uri="{FF2B5EF4-FFF2-40B4-BE49-F238E27FC236}">
                <a16:creationId xmlns:a16="http://schemas.microsoft.com/office/drawing/2014/main" id="{7D08C906-5B16-6D42-9CFF-DE117E61437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751460346"/>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Vision 1</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Arc 3">
            <a:extLst>
              <a:ext uri="{FF2B5EF4-FFF2-40B4-BE49-F238E27FC236}">
                <a16:creationId xmlns:a16="http://schemas.microsoft.com/office/drawing/2014/main" id="{46A73EC3-594F-4DE7-BC53-B431F4A1C9E1}"/>
              </a:ext>
            </a:extLst>
          </p:cNvPr>
          <p:cNvSpPr>
            <a:spLocks/>
          </p:cNvSpPr>
          <p:nvPr/>
        </p:nvSpPr>
        <p:spPr bwMode="auto">
          <a:xfrm>
            <a:off x="4558959" y="1628800"/>
            <a:ext cx="3070151" cy="1535076"/>
          </a:xfrm>
          <a:custGeom>
            <a:avLst/>
            <a:gdLst>
              <a:gd name="G0" fmla="+- 21600 0 0"/>
              <a:gd name="G1" fmla="+- 21600 0 0"/>
              <a:gd name="G2" fmla="+- 21600 0 0"/>
              <a:gd name="T0" fmla="*/ 0 w 43200"/>
              <a:gd name="T1" fmla="*/ 21546 h 21600"/>
              <a:gd name="T2" fmla="*/ 43200 w 43200"/>
              <a:gd name="T3" fmla="*/ 21600 h 21600"/>
              <a:gd name="T4" fmla="*/ 21600 w 43200"/>
              <a:gd name="T5" fmla="*/ 21600 h 21600"/>
            </a:gdLst>
            <a:ahLst/>
            <a:cxnLst>
              <a:cxn ang="0">
                <a:pos x="T0" y="T1"/>
              </a:cxn>
              <a:cxn ang="0">
                <a:pos x="T2" y="T3"/>
              </a:cxn>
              <a:cxn ang="0">
                <a:pos x="T4" y="T5"/>
              </a:cxn>
            </a:cxnLst>
            <a:rect l="0" t="0" r="r" b="b"/>
            <a:pathLst>
              <a:path w="43200" h="21600" fill="none" extrusionOk="0">
                <a:moveTo>
                  <a:pt x="0" y="21546"/>
                </a:moveTo>
                <a:cubicBezTo>
                  <a:pt x="29" y="9637"/>
                  <a:pt x="9691" y="-1"/>
                  <a:pt x="21600" y="0"/>
                </a:cubicBezTo>
                <a:cubicBezTo>
                  <a:pt x="33529" y="0"/>
                  <a:pt x="43200" y="9670"/>
                  <a:pt x="43200" y="21600"/>
                </a:cubicBezTo>
              </a:path>
              <a:path w="43200" h="21600" stroke="0" extrusionOk="0">
                <a:moveTo>
                  <a:pt x="0" y="21546"/>
                </a:moveTo>
                <a:cubicBezTo>
                  <a:pt x="29" y="9637"/>
                  <a:pt x="9691" y="-1"/>
                  <a:pt x="21600" y="0"/>
                </a:cubicBezTo>
                <a:cubicBezTo>
                  <a:pt x="33529" y="0"/>
                  <a:pt x="43200" y="9670"/>
                  <a:pt x="43200" y="21600"/>
                </a:cubicBezTo>
                <a:lnTo>
                  <a:pt x="21600" y="21600"/>
                </a:lnTo>
                <a:close/>
              </a:path>
            </a:pathLst>
          </a:custGeom>
          <a:solidFill>
            <a:schemeClr val="accent3">
              <a:lumMod val="20000"/>
              <a:lumOff val="80000"/>
            </a:schemeClr>
          </a:solidFill>
          <a:ln w="6350" cap="rnd">
            <a:noFill/>
            <a:round/>
            <a:headEnd/>
            <a:tailEnd/>
          </a:ln>
          <a:effectLst/>
        </p:spPr>
        <p:txBody>
          <a:bodyPr lIns="45720" tIns="25200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1" i="0" u="none" strike="noStrike" kern="0" cap="all" spc="0" normalizeH="0" baseline="0" noProof="0">
                <a:ln>
                  <a:noFill/>
                </a:ln>
                <a:solidFill>
                  <a:srgbClr val="FFFFFF"/>
                </a:solidFill>
                <a:effectLst/>
                <a:uLnTx/>
                <a:uFillTx/>
                <a:latin typeface="Graphik Black"/>
                <a:ea typeface="+mn-ea"/>
                <a:cs typeface="+mn-cs"/>
              </a:rPr>
              <a:t>Vision</a:t>
            </a:r>
          </a:p>
        </p:txBody>
      </p:sp>
      <p:sp>
        <p:nvSpPr>
          <p:cNvPr id="6" name="Freeform 12">
            <a:extLst>
              <a:ext uri="{FF2B5EF4-FFF2-40B4-BE49-F238E27FC236}">
                <a16:creationId xmlns:a16="http://schemas.microsoft.com/office/drawing/2014/main" id="{079AAD45-697D-4AFD-A179-62FB690F9189}"/>
              </a:ext>
            </a:extLst>
          </p:cNvPr>
          <p:cNvSpPr>
            <a:spLocks/>
          </p:cNvSpPr>
          <p:nvPr/>
        </p:nvSpPr>
        <p:spPr bwMode="auto">
          <a:xfrm>
            <a:off x="5724081" y="3493917"/>
            <a:ext cx="753723" cy="310085"/>
          </a:xfrm>
          <a:custGeom>
            <a:avLst/>
            <a:gdLst/>
            <a:ahLst/>
            <a:cxnLst>
              <a:cxn ang="0">
                <a:pos x="51" y="208"/>
              </a:cxn>
              <a:cxn ang="0">
                <a:pos x="467" y="208"/>
              </a:cxn>
              <a:cxn ang="0">
                <a:pos x="346" y="40"/>
              </a:cxn>
              <a:cxn ang="0">
                <a:pos x="511" y="40"/>
              </a:cxn>
              <a:cxn ang="0">
                <a:pos x="268" y="0"/>
              </a:cxn>
              <a:cxn ang="0">
                <a:pos x="0" y="40"/>
              </a:cxn>
              <a:cxn ang="0">
                <a:pos x="164" y="40"/>
              </a:cxn>
              <a:cxn ang="0">
                <a:pos x="51" y="208"/>
              </a:cxn>
            </a:cxnLst>
            <a:rect l="0" t="0" r="r" b="b"/>
            <a:pathLst>
              <a:path w="512" h="209">
                <a:moveTo>
                  <a:pt x="51" y="208"/>
                </a:moveTo>
                <a:lnTo>
                  <a:pt x="467" y="208"/>
                </a:lnTo>
                <a:lnTo>
                  <a:pt x="346" y="40"/>
                </a:lnTo>
                <a:lnTo>
                  <a:pt x="511" y="40"/>
                </a:lnTo>
                <a:lnTo>
                  <a:pt x="268" y="0"/>
                </a:lnTo>
                <a:lnTo>
                  <a:pt x="0" y="40"/>
                </a:lnTo>
                <a:lnTo>
                  <a:pt x="164" y="40"/>
                </a:lnTo>
                <a:lnTo>
                  <a:pt x="51" y="208"/>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13">
            <a:extLst>
              <a:ext uri="{FF2B5EF4-FFF2-40B4-BE49-F238E27FC236}">
                <a16:creationId xmlns:a16="http://schemas.microsoft.com/office/drawing/2014/main" id="{F842428B-2C61-42B0-8E3E-2D5B68310B50}"/>
              </a:ext>
            </a:extLst>
          </p:cNvPr>
          <p:cNvSpPr>
            <a:spLocks/>
          </p:cNvSpPr>
          <p:nvPr/>
        </p:nvSpPr>
        <p:spPr bwMode="auto">
          <a:xfrm>
            <a:off x="4362469" y="3493917"/>
            <a:ext cx="1234201" cy="296269"/>
          </a:xfrm>
          <a:custGeom>
            <a:avLst/>
            <a:gdLst/>
            <a:ahLst/>
            <a:cxnLst>
              <a:cxn ang="0">
                <a:pos x="311" y="200"/>
              </a:cxn>
              <a:cxn ang="0">
                <a:pos x="0" y="168"/>
              </a:cxn>
              <a:cxn ang="0">
                <a:pos x="398" y="40"/>
              </a:cxn>
              <a:cxn ang="0">
                <a:pos x="207" y="40"/>
              </a:cxn>
              <a:cxn ang="0">
                <a:pos x="623" y="0"/>
              </a:cxn>
              <a:cxn ang="0">
                <a:pos x="839" y="40"/>
              </a:cxn>
              <a:cxn ang="0">
                <a:pos x="649" y="40"/>
              </a:cxn>
              <a:cxn ang="0">
                <a:pos x="311" y="200"/>
              </a:cxn>
            </a:cxnLst>
            <a:rect l="0" t="0" r="r" b="b"/>
            <a:pathLst>
              <a:path w="840" h="201">
                <a:moveTo>
                  <a:pt x="311" y="200"/>
                </a:moveTo>
                <a:lnTo>
                  <a:pt x="0" y="168"/>
                </a:lnTo>
                <a:lnTo>
                  <a:pt x="398" y="40"/>
                </a:lnTo>
                <a:lnTo>
                  <a:pt x="207" y="40"/>
                </a:lnTo>
                <a:lnTo>
                  <a:pt x="623" y="0"/>
                </a:lnTo>
                <a:lnTo>
                  <a:pt x="839" y="40"/>
                </a:lnTo>
                <a:lnTo>
                  <a:pt x="649" y="40"/>
                </a:lnTo>
                <a:lnTo>
                  <a:pt x="311" y="200"/>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14">
            <a:extLst>
              <a:ext uri="{FF2B5EF4-FFF2-40B4-BE49-F238E27FC236}">
                <a16:creationId xmlns:a16="http://schemas.microsoft.com/office/drawing/2014/main" id="{D951DE38-C0EF-408A-BE94-CADA738D3835}"/>
              </a:ext>
            </a:extLst>
          </p:cNvPr>
          <p:cNvSpPr>
            <a:spLocks/>
          </p:cNvSpPr>
          <p:nvPr/>
        </p:nvSpPr>
        <p:spPr bwMode="auto">
          <a:xfrm>
            <a:off x="6540741" y="3493917"/>
            <a:ext cx="1235736" cy="296269"/>
          </a:xfrm>
          <a:custGeom>
            <a:avLst/>
            <a:gdLst/>
            <a:ahLst/>
            <a:cxnLst>
              <a:cxn ang="0">
                <a:pos x="527" y="200"/>
              </a:cxn>
              <a:cxn ang="0">
                <a:pos x="839" y="168"/>
              </a:cxn>
              <a:cxn ang="0">
                <a:pos x="440" y="40"/>
              </a:cxn>
              <a:cxn ang="0">
                <a:pos x="622" y="40"/>
              </a:cxn>
              <a:cxn ang="0">
                <a:pos x="215" y="0"/>
              </a:cxn>
              <a:cxn ang="0">
                <a:pos x="0" y="40"/>
              </a:cxn>
              <a:cxn ang="0">
                <a:pos x="189" y="40"/>
              </a:cxn>
              <a:cxn ang="0">
                <a:pos x="527" y="200"/>
              </a:cxn>
            </a:cxnLst>
            <a:rect l="0" t="0" r="r" b="b"/>
            <a:pathLst>
              <a:path w="840" h="201">
                <a:moveTo>
                  <a:pt x="527" y="200"/>
                </a:moveTo>
                <a:lnTo>
                  <a:pt x="839" y="168"/>
                </a:lnTo>
                <a:lnTo>
                  <a:pt x="440" y="40"/>
                </a:lnTo>
                <a:lnTo>
                  <a:pt x="622" y="40"/>
                </a:lnTo>
                <a:lnTo>
                  <a:pt x="215" y="0"/>
                </a:lnTo>
                <a:lnTo>
                  <a:pt x="0" y="40"/>
                </a:lnTo>
                <a:lnTo>
                  <a:pt x="189" y="40"/>
                </a:lnTo>
                <a:lnTo>
                  <a:pt x="527" y="200"/>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9" name="Group 8">
            <a:extLst>
              <a:ext uri="{FF2B5EF4-FFF2-40B4-BE49-F238E27FC236}">
                <a16:creationId xmlns:a16="http://schemas.microsoft.com/office/drawing/2014/main" id="{258FBE0F-C3FF-47A6-B1E7-C76D01921938}"/>
              </a:ext>
            </a:extLst>
          </p:cNvPr>
          <p:cNvGrpSpPr/>
          <p:nvPr/>
        </p:nvGrpSpPr>
        <p:grpSpPr>
          <a:xfrm>
            <a:off x="1992313" y="3163876"/>
            <a:ext cx="8203443" cy="2899758"/>
            <a:chOff x="1992313" y="3163876"/>
            <a:chExt cx="8203443" cy="2899758"/>
          </a:xfrm>
        </p:grpSpPr>
        <p:sp>
          <p:nvSpPr>
            <p:cNvPr id="10" name="Line 4">
              <a:extLst>
                <a:ext uri="{FF2B5EF4-FFF2-40B4-BE49-F238E27FC236}">
                  <a16:creationId xmlns:a16="http://schemas.microsoft.com/office/drawing/2014/main" id="{C4AE4B15-D47C-4DAB-8DC8-03EBC726D3C4}"/>
                </a:ext>
              </a:extLst>
            </p:cNvPr>
            <p:cNvSpPr>
              <a:spLocks noChangeShapeType="1"/>
            </p:cNvSpPr>
            <p:nvPr/>
          </p:nvSpPr>
          <p:spPr bwMode="auto">
            <a:xfrm>
              <a:off x="1992313" y="3163876"/>
              <a:ext cx="8203443" cy="0"/>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11" name="Group 5">
              <a:extLst>
                <a:ext uri="{FF2B5EF4-FFF2-40B4-BE49-F238E27FC236}">
                  <a16:creationId xmlns:a16="http://schemas.microsoft.com/office/drawing/2014/main" id="{2C864672-2972-441A-9E62-974AA0040667}"/>
                </a:ext>
              </a:extLst>
            </p:cNvPr>
            <p:cNvGrpSpPr>
              <a:grpSpLocks/>
            </p:cNvGrpSpPr>
            <p:nvPr/>
          </p:nvGrpSpPr>
          <p:grpSpPr bwMode="auto">
            <a:xfrm>
              <a:off x="2044506" y="3166946"/>
              <a:ext cx="8088312" cy="882669"/>
              <a:chOff x="347" y="1356"/>
              <a:chExt cx="5497" cy="598"/>
            </a:xfrm>
          </p:grpSpPr>
          <p:sp>
            <p:nvSpPr>
              <p:cNvPr id="22" name="Line 6">
                <a:extLst>
                  <a:ext uri="{FF2B5EF4-FFF2-40B4-BE49-F238E27FC236}">
                    <a16:creationId xmlns:a16="http://schemas.microsoft.com/office/drawing/2014/main" id="{0375B38C-3017-4ACF-8EF3-39EF7717C8E5}"/>
                  </a:ext>
                </a:extLst>
              </p:cNvPr>
              <p:cNvSpPr>
                <a:spLocks noChangeShapeType="1"/>
              </p:cNvSpPr>
              <p:nvPr/>
            </p:nvSpPr>
            <p:spPr bwMode="auto">
              <a:xfrm flipV="1">
                <a:off x="347" y="1356"/>
                <a:ext cx="2761" cy="598"/>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Line 7">
                <a:extLst>
                  <a:ext uri="{FF2B5EF4-FFF2-40B4-BE49-F238E27FC236}">
                    <a16:creationId xmlns:a16="http://schemas.microsoft.com/office/drawing/2014/main" id="{D10FA852-2256-43D8-BB32-E6FF8F795A8A}"/>
                  </a:ext>
                </a:extLst>
              </p:cNvPr>
              <p:cNvSpPr>
                <a:spLocks noChangeShapeType="1"/>
              </p:cNvSpPr>
              <p:nvPr/>
            </p:nvSpPr>
            <p:spPr bwMode="auto">
              <a:xfrm>
                <a:off x="3095" y="1363"/>
                <a:ext cx="2749" cy="589"/>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12" name="Line 8">
              <a:extLst>
                <a:ext uri="{FF2B5EF4-FFF2-40B4-BE49-F238E27FC236}">
                  <a16:creationId xmlns:a16="http://schemas.microsoft.com/office/drawing/2014/main" id="{8D60B723-E21F-4006-BE13-921073C64C05}"/>
                </a:ext>
              </a:extLst>
            </p:cNvPr>
            <p:cNvSpPr>
              <a:spLocks noChangeShapeType="1"/>
            </p:cNvSpPr>
            <p:nvPr/>
          </p:nvSpPr>
          <p:spPr bwMode="auto">
            <a:xfrm flipV="1">
              <a:off x="3229584" y="3176156"/>
              <a:ext cx="2864451" cy="2887478"/>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Line 9">
              <a:extLst>
                <a:ext uri="{FF2B5EF4-FFF2-40B4-BE49-F238E27FC236}">
                  <a16:creationId xmlns:a16="http://schemas.microsoft.com/office/drawing/2014/main" id="{B890C4ED-0D23-4C5C-823C-C125A586ABF4}"/>
                </a:ext>
              </a:extLst>
            </p:cNvPr>
            <p:cNvSpPr>
              <a:spLocks noChangeShapeType="1"/>
            </p:cNvSpPr>
            <p:nvPr/>
          </p:nvSpPr>
          <p:spPr bwMode="auto">
            <a:xfrm>
              <a:off x="6094035" y="3176156"/>
              <a:ext cx="2853705" cy="2876732"/>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Arc 10">
              <a:extLst>
                <a:ext uri="{FF2B5EF4-FFF2-40B4-BE49-F238E27FC236}">
                  <a16:creationId xmlns:a16="http://schemas.microsoft.com/office/drawing/2014/main" id="{8A1E6C80-AAA1-4CFD-BF9D-F04455A31EEA}"/>
                </a:ext>
              </a:extLst>
            </p:cNvPr>
            <p:cNvSpPr>
              <a:spLocks/>
            </p:cNvSpPr>
            <p:nvPr/>
          </p:nvSpPr>
          <p:spPr bwMode="auto">
            <a:xfrm>
              <a:off x="4453038" y="3163876"/>
              <a:ext cx="3323439" cy="285524"/>
            </a:xfrm>
            <a:custGeom>
              <a:avLst/>
              <a:gdLst>
                <a:gd name="G0" fmla="+- 21600 0 0"/>
                <a:gd name="G1" fmla="+- 460 0 0"/>
                <a:gd name="G2" fmla="+- 21600 0 0"/>
                <a:gd name="T0" fmla="*/ 43195 w 43200"/>
                <a:gd name="T1" fmla="*/ 0 h 22060"/>
                <a:gd name="T2" fmla="*/ 5 w 43200"/>
                <a:gd name="T3" fmla="*/ 1 h 22060"/>
                <a:gd name="T4" fmla="*/ 21600 w 43200"/>
                <a:gd name="T5" fmla="*/ 460 h 22060"/>
              </a:gdLst>
              <a:ahLst/>
              <a:cxnLst>
                <a:cxn ang="0">
                  <a:pos x="T0" y="T1"/>
                </a:cxn>
                <a:cxn ang="0">
                  <a:pos x="T2" y="T3"/>
                </a:cxn>
                <a:cxn ang="0">
                  <a:pos x="T4" y="T5"/>
                </a:cxn>
              </a:cxnLst>
              <a:rect l="0" t="0" r="r" b="b"/>
              <a:pathLst>
                <a:path w="43200" h="22060" fill="none"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path>
                <a:path w="43200" h="22060" stroke="0"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lnTo>
                    <a:pt x="21600" y="460"/>
                  </a:lnTo>
                  <a:close/>
                </a:path>
              </a:pathLst>
            </a:custGeom>
            <a:noFill/>
            <a:ln w="12700" cap="rnd">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Arc 11">
              <a:extLst>
                <a:ext uri="{FF2B5EF4-FFF2-40B4-BE49-F238E27FC236}">
                  <a16:creationId xmlns:a16="http://schemas.microsoft.com/office/drawing/2014/main" id="{D0744334-4AFB-4051-87ED-E41E81CF2F6B}"/>
                </a:ext>
              </a:extLst>
            </p:cNvPr>
            <p:cNvSpPr>
              <a:spLocks/>
            </p:cNvSpPr>
            <p:nvPr/>
          </p:nvSpPr>
          <p:spPr bwMode="auto">
            <a:xfrm>
              <a:off x="2505028" y="3176156"/>
              <a:ext cx="7205644" cy="742977"/>
            </a:xfrm>
            <a:custGeom>
              <a:avLst/>
              <a:gdLst>
                <a:gd name="G0" fmla="+- 21600 0 0"/>
                <a:gd name="G1" fmla="+- 0 0 0"/>
                <a:gd name="G2" fmla="+- 21600 0 0"/>
                <a:gd name="T0" fmla="*/ 43200 w 43200"/>
                <a:gd name="T1" fmla="*/ 0 h 21600"/>
                <a:gd name="T2" fmla="*/ 0 w 43200"/>
                <a:gd name="T3" fmla="*/ 0 h 21600"/>
                <a:gd name="T4" fmla="*/ 21600 w 43200"/>
                <a:gd name="T5" fmla="*/ 0 h 21600"/>
              </a:gdLst>
              <a:ahLst/>
              <a:cxnLst>
                <a:cxn ang="0">
                  <a:pos x="T0" y="T1"/>
                </a:cxn>
                <a:cxn ang="0">
                  <a:pos x="T2" y="T3"/>
                </a:cxn>
                <a:cxn ang="0">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noFill/>
            <a:ln w="12700" cap="rnd">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16" name="Group 15">
              <a:extLst>
                <a:ext uri="{FF2B5EF4-FFF2-40B4-BE49-F238E27FC236}">
                  <a16:creationId xmlns:a16="http://schemas.microsoft.com/office/drawing/2014/main" id="{B470B87D-6B62-42DF-8C31-C953F3E1863A}"/>
                </a:ext>
              </a:extLst>
            </p:cNvPr>
            <p:cNvGrpSpPr>
              <a:grpSpLocks/>
            </p:cNvGrpSpPr>
            <p:nvPr/>
          </p:nvGrpSpPr>
          <p:grpSpPr bwMode="auto">
            <a:xfrm>
              <a:off x="2055251" y="3163876"/>
              <a:ext cx="8077567" cy="142763"/>
              <a:chOff x="355" y="1355"/>
              <a:chExt cx="5489" cy="96"/>
            </a:xfrm>
          </p:grpSpPr>
          <p:sp>
            <p:nvSpPr>
              <p:cNvPr id="20" name="Line 16">
                <a:extLst>
                  <a:ext uri="{FF2B5EF4-FFF2-40B4-BE49-F238E27FC236}">
                    <a16:creationId xmlns:a16="http://schemas.microsoft.com/office/drawing/2014/main" id="{9680304B-A9FA-4C34-BC43-3E0F8D1388E0}"/>
                  </a:ext>
                </a:extLst>
              </p:cNvPr>
              <p:cNvSpPr>
                <a:spLocks noChangeShapeType="1"/>
              </p:cNvSpPr>
              <p:nvPr/>
            </p:nvSpPr>
            <p:spPr bwMode="auto">
              <a:xfrm flipV="1">
                <a:off x="355" y="1355"/>
                <a:ext cx="2762" cy="96"/>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 name="Line 17">
                <a:extLst>
                  <a:ext uri="{FF2B5EF4-FFF2-40B4-BE49-F238E27FC236}">
                    <a16:creationId xmlns:a16="http://schemas.microsoft.com/office/drawing/2014/main" id="{B7AF75D3-E45B-4B38-9B40-E1E9F9671A15}"/>
                  </a:ext>
                </a:extLst>
              </p:cNvPr>
              <p:cNvSpPr>
                <a:spLocks noChangeShapeType="1"/>
              </p:cNvSpPr>
              <p:nvPr/>
            </p:nvSpPr>
            <p:spPr bwMode="auto">
              <a:xfrm>
                <a:off x="3099" y="1355"/>
                <a:ext cx="2745" cy="96"/>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7" name="Group 18">
              <a:extLst>
                <a:ext uri="{FF2B5EF4-FFF2-40B4-BE49-F238E27FC236}">
                  <a16:creationId xmlns:a16="http://schemas.microsoft.com/office/drawing/2014/main" id="{75421B36-F92F-4A40-83F6-FE8FE2E2ABF3}"/>
                </a:ext>
              </a:extLst>
            </p:cNvPr>
            <p:cNvGrpSpPr>
              <a:grpSpLocks/>
            </p:cNvGrpSpPr>
            <p:nvPr/>
          </p:nvGrpSpPr>
          <p:grpSpPr bwMode="auto">
            <a:xfrm>
              <a:off x="2044506" y="3163876"/>
              <a:ext cx="8088312" cy="448242"/>
              <a:chOff x="347" y="1355"/>
              <a:chExt cx="5497" cy="303"/>
            </a:xfrm>
          </p:grpSpPr>
          <p:sp>
            <p:nvSpPr>
              <p:cNvPr id="18" name="Line 19">
                <a:extLst>
                  <a:ext uri="{FF2B5EF4-FFF2-40B4-BE49-F238E27FC236}">
                    <a16:creationId xmlns:a16="http://schemas.microsoft.com/office/drawing/2014/main" id="{554649C2-64E4-4101-830E-F6E86893163E}"/>
                  </a:ext>
                </a:extLst>
              </p:cNvPr>
              <p:cNvSpPr>
                <a:spLocks noChangeShapeType="1"/>
              </p:cNvSpPr>
              <p:nvPr/>
            </p:nvSpPr>
            <p:spPr bwMode="auto">
              <a:xfrm flipV="1">
                <a:off x="347" y="1355"/>
                <a:ext cx="2770" cy="303"/>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Line 20">
                <a:extLst>
                  <a:ext uri="{FF2B5EF4-FFF2-40B4-BE49-F238E27FC236}">
                    <a16:creationId xmlns:a16="http://schemas.microsoft.com/office/drawing/2014/main" id="{263609E9-57E6-40C0-86A2-498A1A1CE3A9}"/>
                  </a:ext>
                </a:extLst>
              </p:cNvPr>
              <p:cNvSpPr>
                <a:spLocks noChangeShapeType="1"/>
              </p:cNvSpPr>
              <p:nvPr/>
            </p:nvSpPr>
            <p:spPr bwMode="auto">
              <a:xfrm>
                <a:off x="3099" y="1355"/>
                <a:ext cx="2745" cy="303"/>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sp>
        <p:nvSpPr>
          <p:cNvPr id="3" name="Rectangle 2">
            <a:hlinkClick r:id="rId3" action="ppaction://hlinksldjump"/>
            <a:extLst>
              <a:ext uri="{FF2B5EF4-FFF2-40B4-BE49-F238E27FC236}">
                <a16:creationId xmlns:a16="http://schemas.microsoft.com/office/drawing/2014/main" id="{959412AF-9730-43B9-A0EE-8A61A1AEEA2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5686491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de-DE" sz="3600" b="1" dirty="0"/>
              <a:t>Vision 2</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extLst>
              <a:ext uri="{FF2B5EF4-FFF2-40B4-BE49-F238E27FC236}">
                <a16:creationId xmlns:a16="http://schemas.microsoft.com/office/drawing/2014/main" id="{4965EF70-DF5C-4D9D-B209-13A3C22E704A}"/>
              </a:ext>
            </a:extLst>
          </p:cNvPr>
          <p:cNvSpPr/>
          <p:nvPr/>
        </p:nvSpPr>
        <p:spPr bwMode="auto">
          <a:xfrm>
            <a:off x="2044506" y="3153130"/>
            <a:ext cx="8088312" cy="2910504"/>
          </a:xfrm>
          <a:prstGeom prst="rect">
            <a:avLst/>
          </a:prstGeom>
          <a:solidFill>
            <a:srgbClr val="FFFFFF">
              <a:lumMod val="95000"/>
            </a:srgbClr>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6" name="Arc 3">
            <a:extLst>
              <a:ext uri="{FF2B5EF4-FFF2-40B4-BE49-F238E27FC236}">
                <a16:creationId xmlns:a16="http://schemas.microsoft.com/office/drawing/2014/main" id="{71FC690D-1E29-40C5-AB53-2ED09CDCB6AC}"/>
              </a:ext>
            </a:extLst>
          </p:cNvPr>
          <p:cNvSpPr>
            <a:spLocks/>
          </p:cNvSpPr>
          <p:nvPr/>
        </p:nvSpPr>
        <p:spPr bwMode="auto">
          <a:xfrm>
            <a:off x="4558959" y="1628800"/>
            <a:ext cx="3070151" cy="1535076"/>
          </a:xfrm>
          <a:custGeom>
            <a:avLst/>
            <a:gdLst>
              <a:gd name="G0" fmla="+- 21600 0 0"/>
              <a:gd name="G1" fmla="+- 21600 0 0"/>
              <a:gd name="G2" fmla="+- 21600 0 0"/>
              <a:gd name="T0" fmla="*/ 0 w 43200"/>
              <a:gd name="T1" fmla="*/ 21546 h 21600"/>
              <a:gd name="T2" fmla="*/ 43200 w 43200"/>
              <a:gd name="T3" fmla="*/ 21600 h 21600"/>
              <a:gd name="T4" fmla="*/ 21600 w 43200"/>
              <a:gd name="T5" fmla="*/ 21600 h 21600"/>
            </a:gdLst>
            <a:ahLst/>
            <a:cxnLst>
              <a:cxn ang="0">
                <a:pos x="T0" y="T1"/>
              </a:cxn>
              <a:cxn ang="0">
                <a:pos x="T2" y="T3"/>
              </a:cxn>
              <a:cxn ang="0">
                <a:pos x="T4" y="T5"/>
              </a:cxn>
            </a:cxnLst>
            <a:rect l="0" t="0" r="r" b="b"/>
            <a:pathLst>
              <a:path w="43200" h="21600" fill="none" extrusionOk="0">
                <a:moveTo>
                  <a:pt x="0" y="21546"/>
                </a:moveTo>
                <a:cubicBezTo>
                  <a:pt x="29" y="9637"/>
                  <a:pt x="9691" y="-1"/>
                  <a:pt x="21600" y="0"/>
                </a:cubicBezTo>
                <a:cubicBezTo>
                  <a:pt x="33529" y="0"/>
                  <a:pt x="43200" y="9670"/>
                  <a:pt x="43200" y="21600"/>
                </a:cubicBezTo>
              </a:path>
              <a:path w="43200" h="21600" stroke="0" extrusionOk="0">
                <a:moveTo>
                  <a:pt x="0" y="21546"/>
                </a:moveTo>
                <a:cubicBezTo>
                  <a:pt x="29" y="9637"/>
                  <a:pt x="9691" y="-1"/>
                  <a:pt x="21600" y="0"/>
                </a:cubicBezTo>
                <a:cubicBezTo>
                  <a:pt x="33529" y="0"/>
                  <a:pt x="43200" y="9670"/>
                  <a:pt x="43200" y="21600"/>
                </a:cubicBezTo>
                <a:lnTo>
                  <a:pt x="21600" y="21600"/>
                </a:lnTo>
                <a:close/>
              </a:path>
            </a:pathLst>
          </a:custGeom>
          <a:solidFill>
            <a:schemeClr val="accent3">
              <a:lumMod val="20000"/>
              <a:lumOff val="80000"/>
            </a:schemeClr>
          </a:solidFill>
          <a:ln w="6350" cap="rnd">
            <a:noFill/>
            <a:round/>
            <a:headEnd/>
            <a:tailEnd/>
          </a:ln>
          <a:effectLst/>
        </p:spPr>
        <p:txBody>
          <a:bodyPr lIns="45720" tIns="25200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1" i="0" u="none" strike="noStrike" kern="0" cap="all" spc="0" normalizeH="0" baseline="0" noProof="0" dirty="0">
                <a:ln>
                  <a:noFill/>
                </a:ln>
                <a:solidFill>
                  <a:srgbClr val="FFFFFF"/>
                </a:solidFill>
                <a:effectLst/>
                <a:uLnTx/>
                <a:uFillTx/>
                <a:latin typeface="Graphik Black"/>
                <a:ea typeface="+mn-ea"/>
                <a:cs typeface="+mn-cs"/>
              </a:rPr>
              <a:t>Vision</a:t>
            </a:r>
          </a:p>
        </p:txBody>
      </p:sp>
      <p:sp>
        <p:nvSpPr>
          <p:cNvPr id="7" name="Freeform 12">
            <a:extLst>
              <a:ext uri="{FF2B5EF4-FFF2-40B4-BE49-F238E27FC236}">
                <a16:creationId xmlns:a16="http://schemas.microsoft.com/office/drawing/2014/main" id="{AC92B782-2369-4DEE-9BF4-B20A56A9034E}"/>
              </a:ext>
            </a:extLst>
          </p:cNvPr>
          <p:cNvSpPr>
            <a:spLocks/>
          </p:cNvSpPr>
          <p:nvPr/>
        </p:nvSpPr>
        <p:spPr bwMode="auto">
          <a:xfrm>
            <a:off x="5724081" y="3493917"/>
            <a:ext cx="753723" cy="310085"/>
          </a:xfrm>
          <a:custGeom>
            <a:avLst/>
            <a:gdLst/>
            <a:ahLst/>
            <a:cxnLst>
              <a:cxn ang="0">
                <a:pos x="51" y="208"/>
              </a:cxn>
              <a:cxn ang="0">
                <a:pos x="467" y="208"/>
              </a:cxn>
              <a:cxn ang="0">
                <a:pos x="346" y="40"/>
              </a:cxn>
              <a:cxn ang="0">
                <a:pos x="511" y="40"/>
              </a:cxn>
              <a:cxn ang="0">
                <a:pos x="268" y="0"/>
              </a:cxn>
              <a:cxn ang="0">
                <a:pos x="0" y="40"/>
              </a:cxn>
              <a:cxn ang="0">
                <a:pos x="164" y="40"/>
              </a:cxn>
              <a:cxn ang="0">
                <a:pos x="51" y="208"/>
              </a:cxn>
            </a:cxnLst>
            <a:rect l="0" t="0" r="r" b="b"/>
            <a:pathLst>
              <a:path w="512" h="209">
                <a:moveTo>
                  <a:pt x="51" y="208"/>
                </a:moveTo>
                <a:lnTo>
                  <a:pt x="467" y="208"/>
                </a:lnTo>
                <a:lnTo>
                  <a:pt x="346" y="40"/>
                </a:lnTo>
                <a:lnTo>
                  <a:pt x="511" y="40"/>
                </a:lnTo>
                <a:lnTo>
                  <a:pt x="268" y="0"/>
                </a:lnTo>
                <a:lnTo>
                  <a:pt x="0" y="40"/>
                </a:lnTo>
                <a:lnTo>
                  <a:pt x="164" y="40"/>
                </a:lnTo>
                <a:lnTo>
                  <a:pt x="51" y="208"/>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13">
            <a:extLst>
              <a:ext uri="{FF2B5EF4-FFF2-40B4-BE49-F238E27FC236}">
                <a16:creationId xmlns:a16="http://schemas.microsoft.com/office/drawing/2014/main" id="{C5874C90-DA05-4729-B3E0-2FDBEA85199B}"/>
              </a:ext>
            </a:extLst>
          </p:cNvPr>
          <p:cNvSpPr>
            <a:spLocks/>
          </p:cNvSpPr>
          <p:nvPr/>
        </p:nvSpPr>
        <p:spPr bwMode="auto">
          <a:xfrm>
            <a:off x="4362469" y="3493917"/>
            <a:ext cx="1234201" cy="296269"/>
          </a:xfrm>
          <a:custGeom>
            <a:avLst/>
            <a:gdLst/>
            <a:ahLst/>
            <a:cxnLst>
              <a:cxn ang="0">
                <a:pos x="311" y="200"/>
              </a:cxn>
              <a:cxn ang="0">
                <a:pos x="0" y="168"/>
              </a:cxn>
              <a:cxn ang="0">
                <a:pos x="398" y="40"/>
              </a:cxn>
              <a:cxn ang="0">
                <a:pos x="207" y="40"/>
              </a:cxn>
              <a:cxn ang="0">
                <a:pos x="623" y="0"/>
              </a:cxn>
              <a:cxn ang="0">
                <a:pos x="839" y="40"/>
              </a:cxn>
              <a:cxn ang="0">
                <a:pos x="649" y="40"/>
              </a:cxn>
              <a:cxn ang="0">
                <a:pos x="311" y="200"/>
              </a:cxn>
            </a:cxnLst>
            <a:rect l="0" t="0" r="r" b="b"/>
            <a:pathLst>
              <a:path w="840" h="201">
                <a:moveTo>
                  <a:pt x="311" y="200"/>
                </a:moveTo>
                <a:lnTo>
                  <a:pt x="0" y="168"/>
                </a:lnTo>
                <a:lnTo>
                  <a:pt x="398" y="40"/>
                </a:lnTo>
                <a:lnTo>
                  <a:pt x="207" y="40"/>
                </a:lnTo>
                <a:lnTo>
                  <a:pt x="623" y="0"/>
                </a:lnTo>
                <a:lnTo>
                  <a:pt x="839" y="40"/>
                </a:lnTo>
                <a:lnTo>
                  <a:pt x="649" y="40"/>
                </a:lnTo>
                <a:lnTo>
                  <a:pt x="311" y="200"/>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14">
            <a:extLst>
              <a:ext uri="{FF2B5EF4-FFF2-40B4-BE49-F238E27FC236}">
                <a16:creationId xmlns:a16="http://schemas.microsoft.com/office/drawing/2014/main" id="{F634800A-4EF0-42C5-8BA1-3E3E4273D1C4}"/>
              </a:ext>
            </a:extLst>
          </p:cNvPr>
          <p:cNvSpPr>
            <a:spLocks/>
          </p:cNvSpPr>
          <p:nvPr/>
        </p:nvSpPr>
        <p:spPr bwMode="auto">
          <a:xfrm>
            <a:off x="6540741" y="3493917"/>
            <a:ext cx="1235736" cy="296269"/>
          </a:xfrm>
          <a:custGeom>
            <a:avLst/>
            <a:gdLst/>
            <a:ahLst/>
            <a:cxnLst>
              <a:cxn ang="0">
                <a:pos x="527" y="200"/>
              </a:cxn>
              <a:cxn ang="0">
                <a:pos x="839" y="168"/>
              </a:cxn>
              <a:cxn ang="0">
                <a:pos x="440" y="40"/>
              </a:cxn>
              <a:cxn ang="0">
                <a:pos x="622" y="40"/>
              </a:cxn>
              <a:cxn ang="0">
                <a:pos x="215" y="0"/>
              </a:cxn>
              <a:cxn ang="0">
                <a:pos x="0" y="40"/>
              </a:cxn>
              <a:cxn ang="0">
                <a:pos x="189" y="40"/>
              </a:cxn>
              <a:cxn ang="0">
                <a:pos x="527" y="200"/>
              </a:cxn>
            </a:cxnLst>
            <a:rect l="0" t="0" r="r" b="b"/>
            <a:pathLst>
              <a:path w="840" h="201">
                <a:moveTo>
                  <a:pt x="527" y="200"/>
                </a:moveTo>
                <a:lnTo>
                  <a:pt x="839" y="168"/>
                </a:lnTo>
                <a:lnTo>
                  <a:pt x="440" y="40"/>
                </a:lnTo>
                <a:lnTo>
                  <a:pt x="622" y="40"/>
                </a:lnTo>
                <a:lnTo>
                  <a:pt x="215" y="0"/>
                </a:lnTo>
                <a:lnTo>
                  <a:pt x="0" y="40"/>
                </a:lnTo>
                <a:lnTo>
                  <a:pt x="189" y="40"/>
                </a:lnTo>
                <a:lnTo>
                  <a:pt x="527" y="200"/>
                </a:lnTo>
              </a:path>
            </a:pathLst>
          </a:custGeom>
          <a:solidFill>
            <a:schemeClr val="accent3"/>
          </a:solidFill>
          <a:ln w="19050" cap="rnd" cmpd="sng">
            <a:noFill/>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10" name="Group 9">
            <a:extLst>
              <a:ext uri="{FF2B5EF4-FFF2-40B4-BE49-F238E27FC236}">
                <a16:creationId xmlns:a16="http://schemas.microsoft.com/office/drawing/2014/main" id="{5ADB9FE9-5242-4AD6-A3C7-A82863F1E064}"/>
              </a:ext>
            </a:extLst>
          </p:cNvPr>
          <p:cNvGrpSpPr/>
          <p:nvPr/>
        </p:nvGrpSpPr>
        <p:grpSpPr>
          <a:xfrm>
            <a:off x="1992313" y="3163876"/>
            <a:ext cx="8203443" cy="2899758"/>
            <a:chOff x="1992313" y="3163876"/>
            <a:chExt cx="8203443" cy="2899758"/>
          </a:xfrm>
        </p:grpSpPr>
        <p:sp>
          <p:nvSpPr>
            <p:cNvPr id="11" name="Line 4">
              <a:extLst>
                <a:ext uri="{FF2B5EF4-FFF2-40B4-BE49-F238E27FC236}">
                  <a16:creationId xmlns:a16="http://schemas.microsoft.com/office/drawing/2014/main" id="{66B2F12A-F348-4E6B-B346-1C79EFC4E507}"/>
                </a:ext>
              </a:extLst>
            </p:cNvPr>
            <p:cNvSpPr>
              <a:spLocks noChangeShapeType="1"/>
            </p:cNvSpPr>
            <p:nvPr/>
          </p:nvSpPr>
          <p:spPr bwMode="auto">
            <a:xfrm>
              <a:off x="1992313" y="3163876"/>
              <a:ext cx="8203443" cy="0"/>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12" name="Group 5">
              <a:extLst>
                <a:ext uri="{FF2B5EF4-FFF2-40B4-BE49-F238E27FC236}">
                  <a16:creationId xmlns:a16="http://schemas.microsoft.com/office/drawing/2014/main" id="{B167F57C-DE70-4556-AE2B-FBAA96E29694}"/>
                </a:ext>
              </a:extLst>
            </p:cNvPr>
            <p:cNvGrpSpPr>
              <a:grpSpLocks/>
            </p:cNvGrpSpPr>
            <p:nvPr/>
          </p:nvGrpSpPr>
          <p:grpSpPr bwMode="auto">
            <a:xfrm>
              <a:off x="2044506" y="3166946"/>
              <a:ext cx="8088312" cy="882669"/>
              <a:chOff x="347" y="1356"/>
              <a:chExt cx="5497" cy="598"/>
            </a:xfrm>
          </p:grpSpPr>
          <p:sp>
            <p:nvSpPr>
              <p:cNvPr id="23" name="Line 6">
                <a:extLst>
                  <a:ext uri="{FF2B5EF4-FFF2-40B4-BE49-F238E27FC236}">
                    <a16:creationId xmlns:a16="http://schemas.microsoft.com/office/drawing/2014/main" id="{385269F9-2F52-48ED-98AD-61D841E167A8}"/>
                  </a:ext>
                </a:extLst>
              </p:cNvPr>
              <p:cNvSpPr>
                <a:spLocks noChangeShapeType="1"/>
              </p:cNvSpPr>
              <p:nvPr/>
            </p:nvSpPr>
            <p:spPr bwMode="auto">
              <a:xfrm flipV="1">
                <a:off x="347" y="1356"/>
                <a:ext cx="2761" cy="598"/>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 name="Line 7">
                <a:extLst>
                  <a:ext uri="{FF2B5EF4-FFF2-40B4-BE49-F238E27FC236}">
                    <a16:creationId xmlns:a16="http://schemas.microsoft.com/office/drawing/2014/main" id="{65232298-B8D8-4E69-AE76-7CFF5FEB502A}"/>
                  </a:ext>
                </a:extLst>
              </p:cNvPr>
              <p:cNvSpPr>
                <a:spLocks noChangeShapeType="1"/>
              </p:cNvSpPr>
              <p:nvPr/>
            </p:nvSpPr>
            <p:spPr bwMode="auto">
              <a:xfrm>
                <a:off x="3095" y="1363"/>
                <a:ext cx="2749" cy="589"/>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13" name="Line 8">
              <a:extLst>
                <a:ext uri="{FF2B5EF4-FFF2-40B4-BE49-F238E27FC236}">
                  <a16:creationId xmlns:a16="http://schemas.microsoft.com/office/drawing/2014/main" id="{04F59836-673E-4FA6-8E84-2317FEF4FE71}"/>
                </a:ext>
              </a:extLst>
            </p:cNvPr>
            <p:cNvSpPr>
              <a:spLocks noChangeShapeType="1"/>
            </p:cNvSpPr>
            <p:nvPr/>
          </p:nvSpPr>
          <p:spPr bwMode="auto">
            <a:xfrm flipV="1">
              <a:off x="3229584" y="3176156"/>
              <a:ext cx="2864451" cy="2887478"/>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Line 9">
              <a:extLst>
                <a:ext uri="{FF2B5EF4-FFF2-40B4-BE49-F238E27FC236}">
                  <a16:creationId xmlns:a16="http://schemas.microsoft.com/office/drawing/2014/main" id="{08F20E03-5152-4421-9ECC-EA0E1245B4A8}"/>
                </a:ext>
              </a:extLst>
            </p:cNvPr>
            <p:cNvSpPr>
              <a:spLocks noChangeShapeType="1"/>
            </p:cNvSpPr>
            <p:nvPr/>
          </p:nvSpPr>
          <p:spPr bwMode="auto">
            <a:xfrm>
              <a:off x="6094035" y="3176156"/>
              <a:ext cx="2853705" cy="2876732"/>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Arc 10">
              <a:extLst>
                <a:ext uri="{FF2B5EF4-FFF2-40B4-BE49-F238E27FC236}">
                  <a16:creationId xmlns:a16="http://schemas.microsoft.com/office/drawing/2014/main" id="{244599E5-6FAD-46AF-828A-0E2A1C0FF6FA}"/>
                </a:ext>
              </a:extLst>
            </p:cNvPr>
            <p:cNvSpPr>
              <a:spLocks/>
            </p:cNvSpPr>
            <p:nvPr/>
          </p:nvSpPr>
          <p:spPr bwMode="auto">
            <a:xfrm>
              <a:off x="4453038" y="3163876"/>
              <a:ext cx="3323439" cy="285524"/>
            </a:xfrm>
            <a:custGeom>
              <a:avLst/>
              <a:gdLst>
                <a:gd name="G0" fmla="+- 21600 0 0"/>
                <a:gd name="G1" fmla="+- 460 0 0"/>
                <a:gd name="G2" fmla="+- 21600 0 0"/>
                <a:gd name="T0" fmla="*/ 43195 w 43200"/>
                <a:gd name="T1" fmla="*/ 0 h 22060"/>
                <a:gd name="T2" fmla="*/ 5 w 43200"/>
                <a:gd name="T3" fmla="*/ 1 h 22060"/>
                <a:gd name="T4" fmla="*/ 21600 w 43200"/>
                <a:gd name="T5" fmla="*/ 460 h 22060"/>
              </a:gdLst>
              <a:ahLst/>
              <a:cxnLst>
                <a:cxn ang="0">
                  <a:pos x="T0" y="T1"/>
                </a:cxn>
                <a:cxn ang="0">
                  <a:pos x="T2" y="T3"/>
                </a:cxn>
                <a:cxn ang="0">
                  <a:pos x="T4" y="T5"/>
                </a:cxn>
              </a:cxnLst>
              <a:rect l="0" t="0" r="r" b="b"/>
              <a:pathLst>
                <a:path w="43200" h="22060" fill="none"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path>
                <a:path w="43200" h="22060" stroke="0"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lnTo>
                    <a:pt x="21600" y="460"/>
                  </a:lnTo>
                  <a:close/>
                </a:path>
              </a:pathLst>
            </a:custGeom>
            <a:noFill/>
            <a:ln w="12700" cap="rnd">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Arc 11">
              <a:extLst>
                <a:ext uri="{FF2B5EF4-FFF2-40B4-BE49-F238E27FC236}">
                  <a16:creationId xmlns:a16="http://schemas.microsoft.com/office/drawing/2014/main" id="{C05B7E2A-F779-4E94-BC6F-7EAD56099504}"/>
                </a:ext>
              </a:extLst>
            </p:cNvPr>
            <p:cNvSpPr>
              <a:spLocks/>
            </p:cNvSpPr>
            <p:nvPr/>
          </p:nvSpPr>
          <p:spPr bwMode="auto">
            <a:xfrm>
              <a:off x="2505028" y="3176156"/>
              <a:ext cx="7205644" cy="742977"/>
            </a:xfrm>
            <a:custGeom>
              <a:avLst/>
              <a:gdLst>
                <a:gd name="G0" fmla="+- 21600 0 0"/>
                <a:gd name="G1" fmla="+- 0 0 0"/>
                <a:gd name="G2" fmla="+- 21600 0 0"/>
                <a:gd name="T0" fmla="*/ 43200 w 43200"/>
                <a:gd name="T1" fmla="*/ 0 h 21600"/>
                <a:gd name="T2" fmla="*/ 0 w 43200"/>
                <a:gd name="T3" fmla="*/ 0 h 21600"/>
                <a:gd name="T4" fmla="*/ 21600 w 43200"/>
                <a:gd name="T5" fmla="*/ 0 h 21600"/>
              </a:gdLst>
              <a:ahLst/>
              <a:cxnLst>
                <a:cxn ang="0">
                  <a:pos x="T0" y="T1"/>
                </a:cxn>
                <a:cxn ang="0">
                  <a:pos x="T2" y="T3"/>
                </a:cxn>
                <a:cxn ang="0">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noFill/>
            <a:ln w="12700" cap="rnd">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17" name="Group 15">
              <a:extLst>
                <a:ext uri="{FF2B5EF4-FFF2-40B4-BE49-F238E27FC236}">
                  <a16:creationId xmlns:a16="http://schemas.microsoft.com/office/drawing/2014/main" id="{D163F58B-5B69-42FA-930E-27A08FE99779}"/>
                </a:ext>
              </a:extLst>
            </p:cNvPr>
            <p:cNvGrpSpPr>
              <a:grpSpLocks/>
            </p:cNvGrpSpPr>
            <p:nvPr/>
          </p:nvGrpSpPr>
          <p:grpSpPr bwMode="auto">
            <a:xfrm>
              <a:off x="2055251" y="3163876"/>
              <a:ext cx="8077567" cy="142763"/>
              <a:chOff x="355" y="1355"/>
              <a:chExt cx="5489" cy="96"/>
            </a:xfrm>
          </p:grpSpPr>
          <p:sp>
            <p:nvSpPr>
              <p:cNvPr id="21" name="Line 16">
                <a:extLst>
                  <a:ext uri="{FF2B5EF4-FFF2-40B4-BE49-F238E27FC236}">
                    <a16:creationId xmlns:a16="http://schemas.microsoft.com/office/drawing/2014/main" id="{D3BD39BB-82AE-476A-B83D-BE9C6B167F1D}"/>
                  </a:ext>
                </a:extLst>
              </p:cNvPr>
              <p:cNvSpPr>
                <a:spLocks noChangeShapeType="1"/>
              </p:cNvSpPr>
              <p:nvPr/>
            </p:nvSpPr>
            <p:spPr bwMode="auto">
              <a:xfrm flipV="1">
                <a:off x="355" y="1355"/>
                <a:ext cx="2762" cy="96"/>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 name="Line 17">
                <a:extLst>
                  <a:ext uri="{FF2B5EF4-FFF2-40B4-BE49-F238E27FC236}">
                    <a16:creationId xmlns:a16="http://schemas.microsoft.com/office/drawing/2014/main" id="{EDFDF8A6-BE25-41DD-9F61-9EB83AFE5909}"/>
                  </a:ext>
                </a:extLst>
              </p:cNvPr>
              <p:cNvSpPr>
                <a:spLocks noChangeShapeType="1"/>
              </p:cNvSpPr>
              <p:nvPr/>
            </p:nvSpPr>
            <p:spPr bwMode="auto">
              <a:xfrm>
                <a:off x="3099" y="1355"/>
                <a:ext cx="2745" cy="96"/>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8" name="Group 18">
              <a:extLst>
                <a:ext uri="{FF2B5EF4-FFF2-40B4-BE49-F238E27FC236}">
                  <a16:creationId xmlns:a16="http://schemas.microsoft.com/office/drawing/2014/main" id="{3BFE7ED0-D3F5-4416-B45A-2801ABB10D13}"/>
                </a:ext>
              </a:extLst>
            </p:cNvPr>
            <p:cNvGrpSpPr>
              <a:grpSpLocks/>
            </p:cNvGrpSpPr>
            <p:nvPr/>
          </p:nvGrpSpPr>
          <p:grpSpPr bwMode="auto">
            <a:xfrm>
              <a:off x="2044506" y="3163876"/>
              <a:ext cx="8088312" cy="448242"/>
              <a:chOff x="347" y="1355"/>
              <a:chExt cx="5497" cy="303"/>
            </a:xfrm>
          </p:grpSpPr>
          <p:sp>
            <p:nvSpPr>
              <p:cNvPr id="19" name="Line 19">
                <a:extLst>
                  <a:ext uri="{FF2B5EF4-FFF2-40B4-BE49-F238E27FC236}">
                    <a16:creationId xmlns:a16="http://schemas.microsoft.com/office/drawing/2014/main" id="{163A3ECC-7C72-406A-BBC4-6F70117F75E3}"/>
                  </a:ext>
                </a:extLst>
              </p:cNvPr>
              <p:cNvSpPr>
                <a:spLocks noChangeShapeType="1"/>
              </p:cNvSpPr>
              <p:nvPr/>
            </p:nvSpPr>
            <p:spPr bwMode="auto">
              <a:xfrm flipV="1">
                <a:off x="347" y="1355"/>
                <a:ext cx="2770" cy="303"/>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Line 20">
                <a:extLst>
                  <a:ext uri="{FF2B5EF4-FFF2-40B4-BE49-F238E27FC236}">
                    <a16:creationId xmlns:a16="http://schemas.microsoft.com/office/drawing/2014/main" id="{DA0C7D4D-CA7D-420E-80A2-E3C7150FAE08}"/>
                  </a:ext>
                </a:extLst>
              </p:cNvPr>
              <p:cNvSpPr>
                <a:spLocks noChangeShapeType="1"/>
              </p:cNvSpPr>
              <p:nvPr/>
            </p:nvSpPr>
            <p:spPr bwMode="auto">
              <a:xfrm>
                <a:off x="3099" y="1355"/>
                <a:ext cx="2745" cy="303"/>
              </a:xfrm>
              <a:prstGeom prst="line">
                <a:avLst/>
              </a:prstGeom>
              <a:noFill/>
              <a:ln w="12700">
                <a:solidFill>
                  <a:srgbClr val="96968C">
                    <a:lumMod val="40000"/>
                    <a:lumOff val="60000"/>
                  </a:srgbClr>
                </a:solidFill>
                <a:round/>
                <a:headEnd type="none" w="sm" len="sm"/>
                <a:tailEnd type="none" w="sm" len="sm"/>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sp>
        <p:nvSpPr>
          <p:cNvPr id="3" name="Rectangle 2">
            <a:hlinkClick r:id="rId3" action="ppaction://hlinksldjump"/>
            <a:extLst>
              <a:ext uri="{FF2B5EF4-FFF2-40B4-BE49-F238E27FC236}">
                <a16:creationId xmlns:a16="http://schemas.microsoft.com/office/drawing/2014/main" id="{8F60B91B-2835-4B28-A96E-E2F257F4812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12480057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ECF093D-0477-4181-9DF7-3E067A21B120}"/>
              </a:ext>
            </a:extLst>
          </p:cNvPr>
          <p:cNvSpPr>
            <a:spLocks noGrp="1"/>
          </p:cNvSpPr>
          <p:nvPr>
            <p:ph type="title"/>
          </p:nvPr>
        </p:nvSpPr>
        <p:spPr/>
        <p:txBody>
          <a:bodyPr/>
          <a:lstStyle/>
          <a:p>
            <a:r>
              <a:rPr lang="en-US" dirty="0"/>
              <a:t>Issue to Outcome Flows</a:t>
            </a:r>
          </a:p>
        </p:txBody>
      </p:sp>
      <p:sp>
        <p:nvSpPr>
          <p:cNvPr id="3" name="Text Placeholder 9">
            <a:extLst>
              <a:ext uri="{FF2B5EF4-FFF2-40B4-BE49-F238E27FC236}">
                <a16:creationId xmlns:a16="http://schemas.microsoft.com/office/drawing/2014/main" id="{BDE72878-2E3A-435D-952B-9078DFF4B72E}"/>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GT Sectra Fine" pitchFamily="2" charset="77"/>
                <a:ea typeface="+mn-ea"/>
                <a:cs typeface="+mn-cs"/>
              </a:rPr>
              <a:t>Part of </a:t>
            </a:r>
            <a:r>
              <a:rPr kumimoji="0" lang="en-US" sz="2400" b="0" i="0" u="none" strike="noStrike" kern="1200" cap="none" spc="0" normalizeH="0" baseline="0" noProof="0">
                <a:ln>
                  <a:noFill/>
                </a:ln>
                <a:solidFill>
                  <a:srgbClr val="FFFFFF"/>
                </a:solidFill>
                <a:effectLst/>
                <a:uLnTx/>
                <a:uFillTx/>
                <a:latin typeface="GT Sectra Fine" pitchFamily="2" charset="77"/>
                <a:ea typeface="+mn-ea"/>
                <a:cs typeface="+mn-cs"/>
                <a:hlinkClick r:id="rId3" action="ppaction://hlinksldjump">
                  <a:extLst>
                    <a:ext uri="{A12FA001-AC4F-418D-AE19-62706E023703}">
                      <ahyp:hlinkClr xmlns:ahyp="http://schemas.microsoft.com/office/drawing/2018/hyperlinkcolor" val="tx"/>
                    </a:ext>
                  </a:extLst>
                </a:hlinkClick>
              </a:rPr>
              <a:t>Processe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13" name="Freeform: Shape 12">
            <a:hlinkClick r:id="rId4" action="ppaction://hlinksldjump"/>
            <a:extLst>
              <a:ext uri="{FF2B5EF4-FFF2-40B4-BE49-F238E27FC236}">
                <a16:creationId xmlns:a16="http://schemas.microsoft.com/office/drawing/2014/main" id="{7AEAD11E-56CC-49DD-B74C-D11B898E0C6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15" name="TextBox 14">
            <a:extLst>
              <a:ext uri="{FF2B5EF4-FFF2-40B4-BE49-F238E27FC236}">
                <a16:creationId xmlns:a16="http://schemas.microsoft.com/office/drawing/2014/main" id="{940E15E4-B979-4870-82A8-C9ADBEB01C52}"/>
              </a:ext>
            </a:extLst>
          </p:cNvPr>
          <p:cNvSpPr txBox="1"/>
          <p:nvPr/>
        </p:nvSpPr>
        <p:spPr>
          <a:xfrm>
            <a:off x="11661569" y="54626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17" name="Rectangle 16">
            <a:hlinkClick r:id="rId4" action="ppaction://hlinksldjump"/>
            <a:extLst>
              <a:ext uri="{FF2B5EF4-FFF2-40B4-BE49-F238E27FC236}">
                <a16:creationId xmlns:a16="http://schemas.microsoft.com/office/drawing/2014/main" id="{0DB14B29-E453-4180-9E05-C63D58B66E3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0757658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16D3-2D19-4D4B-B59E-7286FD9F5547}"/>
              </a:ext>
            </a:extLst>
          </p:cNvPr>
          <p:cNvSpPr>
            <a:spLocks noGrp="1"/>
          </p:cNvSpPr>
          <p:nvPr>
            <p:ph type="title"/>
          </p:nvPr>
        </p:nvSpPr>
        <p:spPr/>
        <p:txBody>
          <a:bodyPr/>
          <a:lstStyle/>
          <a:p>
            <a:r>
              <a:rPr lang="en-ZA" dirty="0"/>
              <a:t>Marketplace context</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7" name="Content Placeholder 6">
            <a:extLst>
              <a:ext uri="{FF2B5EF4-FFF2-40B4-BE49-F238E27FC236}">
                <a16:creationId xmlns:a16="http://schemas.microsoft.com/office/drawing/2014/main" id="{7A7203D1-A47C-4133-BE79-E7B624ED2F59}"/>
              </a:ext>
            </a:extLst>
          </p:cNvPr>
          <p:cNvGraphicFramePr>
            <a:graphicFrameLocks noGrp="1"/>
          </p:cNvGraphicFramePr>
          <p:nvPr>
            <p:ph sz="quarter" idx="10"/>
            <p:extLst>
              <p:ext uri="{D42A27DB-BD31-4B8C-83A1-F6EECF244321}">
                <p14:modId xmlns:p14="http://schemas.microsoft.com/office/powerpoint/2010/main" val="805191283"/>
              </p:ext>
            </p:extLst>
          </p:nvPr>
        </p:nvGraphicFramePr>
        <p:xfrm>
          <a:off x="381000" y="1371600"/>
          <a:ext cx="11430000" cy="4691062"/>
        </p:xfrm>
        <a:graphic>
          <a:graphicData uri="http://schemas.openxmlformats.org/drawingml/2006/table">
            <a:tbl>
              <a:tblPr firstRow="1" bandRow="1"/>
              <a:tblGrid>
                <a:gridCol w="2857500">
                  <a:extLst>
                    <a:ext uri="{9D8B030D-6E8A-4147-A177-3AD203B41FA5}">
                      <a16:colId xmlns:a16="http://schemas.microsoft.com/office/drawing/2014/main" val="20000"/>
                    </a:ext>
                  </a:extLst>
                </a:gridCol>
                <a:gridCol w="2857500">
                  <a:extLst>
                    <a:ext uri="{9D8B030D-6E8A-4147-A177-3AD203B41FA5}">
                      <a16:colId xmlns:a16="http://schemas.microsoft.com/office/drawing/2014/main" val="20001"/>
                    </a:ext>
                  </a:extLst>
                </a:gridCol>
                <a:gridCol w="2857500">
                  <a:extLst>
                    <a:ext uri="{9D8B030D-6E8A-4147-A177-3AD203B41FA5}">
                      <a16:colId xmlns:a16="http://schemas.microsoft.com/office/drawing/2014/main" val="20002"/>
                    </a:ext>
                  </a:extLst>
                </a:gridCol>
                <a:gridCol w="2857500">
                  <a:extLst>
                    <a:ext uri="{9D8B030D-6E8A-4147-A177-3AD203B41FA5}">
                      <a16:colId xmlns:a16="http://schemas.microsoft.com/office/drawing/2014/main" val="20003"/>
                    </a:ext>
                  </a:extLst>
                </a:gridCol>
              </a:tblGrid>
              <a:tr h="348708">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ctr">
                        <a:lnSpc>
                          <a:spcPct val="85000"/>
                        </a:lnSpc>
                      </a:pPr>
                      <a:r>
                        <a:rPr lang="en-US" sz="1400" cap="none" baseline="0" dirty="0">
                          <a:solidFill>
                            <a:schemeClr val="bg1"/>
                          </a:solidFill>
                          <a:latin typeface="+mj-lt"/>
                        </a:rPr>
                        <a:t>Industry context</a:t>
                      </a:r>
                    </a:p>
                  </a:txBody>
                  <a:tcPr marL="180000" marR="180000" marT="72000">
                    <a:lnL w="12700" cmpd="sng">
                      <a:noFill/>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ctr">
                        <a:lnSpc>
                          <a:spcPct val="85000"/>
                        </a:lnSpc>
                      </a:pPr>
                      <a:r>
                        <a:rPr lang="en-US" sz="1400" cap="none" baseline="0" dirty="0">
                          <a:solidFill>
                            <a:schemeClr val="bg1"/>
                          </a:solidFill>
                          <a:latin typeface="+mj-lt"/>
                        </a:rPr>
                        <a:t>Performance</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ctr">
                        <a:lnSpc>
                          <a:spcPct val="85000"/>
                        </a:lnSpc>
                      </a:pPr>
                      <a:r>
                        <a:rPr lang="en-US" sz="1400" cap="none" baseline="0" dirty="0">
                          <a:solidFill>
                            <a:schemeClr val="bg1"/>
                          </a:solidFill>
                          <a:latin typeface="+mj-lt"/>
                        </a:rPr>
                        <a:t>Opportunities</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ctr">
                        <a:lnSpc>
                          <a:spcPct val="85000"/>
                        </a:lnSpc>
                      </a:pPr>
                      <a:r>
                        <a:rPr lang="en-US" sz="1400" cap="none" baseline="0" dirty="0">
                          <a:solidFill>
                            <a:schemeClr val="bg1"/>
                          </a:solidFill>
                          <a:latin typeface="+mj-lt"/>
                        </a:rPr>
                        <a:t>Challenges</a:t>
                      </a:r>
                    </a:p>
                  </a:txBody>
                  <a:tcPr marL="180000" marR="180000" marT="72000">
                    <a:lnL w="12700" cap="flat" cmpd="sng" algn="ctr">
                      <a:noFill/>
                      <a:prstDash val="dot"/>
                      <a:round/>
                      <a:headEnd type="none" w="med" len="med"/>
                      <a:tailEnd type="none" w="med" len="med"/>
                    </a:lnL>
                    <a:lnR w="12700" cmpd="sng">
                      <a:noFill/>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4342354">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mpd="sng">
                      <a:noFill/>
                    </a:lnL>
                    <a:lnR w="12700" cap="flat" cmpd="sng" algn="ctr">
                      <a:solidFill>
                        <a:srgbClr val="96968C">
                          <a:lumMod val="60000"/>
                          <a:lumOff val="40000"/>
                        </a:srgb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ap="flat" cmpd="sng" algn="ctr">
                      <a:solidFill>
                        <a:srgbClr val="96968C">
                          <a:lumMod val="60000"/>
                          <a:lumOff val="40000"/>
                        </a:srgbClr>
                      </a:solidFill>
                      <a:prstDash val="dot"/>
                      <a:round/>
                      <a:headEnd type="none" w="med" len="med"/>
                      <a:tailEnd type="none" w="med" len="med"/>
                    </a:lnL>
                    <a:lnR w="12700" cmpd="sng">
                      <a:noFill/>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Rectangle 2">
            <a:hlinkClick r:id="rId3" action="ppaction://hlinksldjump"/>
            <a:extLst>
              <a:ext uri="{FF2B5EF4-FFF2-40B4-BE49-F238E27FC236}">
                <a16:creationId xmlns:a16="http://schemas.microsoft.com/office/drawing/2014/main" id="{3F124E51-742D-4EED-8B6C-3463B723003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54983229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667060-E9CB-43AD-AF61-1B3850D59440}"/>
              </a:ext>
            </a:extLst>
          </p:cNvPr>
          <p:cNvSpPr>
            <a:spLocks noGrp="1"/>
          </p:cNvSpPr>
          <p:nvPr>
            <p:ph type="title"/>
          </p:nvPr>
        </p:nvSpPr>
        <p:spPr/>
        <p:txBody>
          <a:bodyPr/>
          <a:lstStyle/>
          <a:p>
            <a:r>
              <a:rPr lang="en-ZA" dirty="0"/>
              <a:t>Internal Context</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9" name="Content Placeholder 8">
            <a:extLst>
              <a:ext uri="{FF2B5EF4-FFF2-40B4-BE49-F238E27FC236}">
                <a16:creationId xmlns:a16="http://schemas.microsoft.com/office/drawing/2014/main" id="{0E920BDC-01DF-449C-850A-4D66C7EF9837}"/>
              </a:ext>
            </a:extLst>
          </p:cNvPr>
          <p:cNvGraphicFramePr>
            <a:graphicFrameLocks noGrp="1"/>
          </p:cNvGraphicFramePr>
          <p:nvPr>
            <p:ph sz="quarter" idx="10"/>
            <p:extLst>
              <p:ext uri="{D42A27DB-BD31-4B8C-83A1-F6EECF244321}">
                <p14:modId xmlns:p14="http://schemas.microsoft.com/office/powerpoint/2010/main" val="3389304255"/>
              </p:ext>
            </p:extLst>
          </p:nvPr>
        </p:nvGraphicFramePr>
        <p:xfrm>
          <a:off x="381000" y="1371600"/>
          <a:ext cx="11430000" cy="4691062"/>
        </p:xfrm>
        <a:graphic>
          <a:graphicData uri="http://schemas.openxmlformats.org/drawingml/2006/table">
            <a:tbl>
              <a:tblPr firstRow="1" bandRow="1">
                <a:tableStyleId>{5C22544A-7EE6-4342-B048-85BDC9FD1C3A}</a:tableStyleId>
              </a:tblPr>
              <a:tblGrid>
                <a:gridCol w="5715000">
                  <a:extLst>
                    <a:ext uri="{9D8B030D-6E8A-4147-A177-3AD203B41FA5}">
                      <a16:colId xmlns:a16="http://schemas.microsoft.com/office/drawing/2014/main" val="20000"/>
                    </a:ext>
                  </a:extLst>
                </a:gridCol>
                <a:gridCol w="5715000">
                  <a:extLst>
                    <a:ext uri="{9D8B030D-6E8A-4147-A177-3AD203B41FA5}">
                      <a16:colId xmlns:a16="http://schemas.microsoft.com/office/drawing/2014/main" val="20002"/>
                    </a:ext>
                  </a:extLst>
                </a:gridCol>
              </a:tblGrid>
              <a:tr h="348708">
                <a:tc>
                  <a:txBody>
                    <a:bodyPr/>
                    <a:lstStyle/>
                    <a:p>
                      <a:pPr algn="ctr">
                        <a:lnSpc>
                          <a:spcPct val="85000"/>
                        </a:lnSpc>
                      </a:pPr>
                      <a:r>
                        <a:rPr lang="en-US" sz="1400" cap="none" baseline="0" dirty="0">
                          <a:solidFill>
                            <a:schemeClr val="bg1"/>
                          </a:solidFill>
                          <a:latin typeface="+mj-lt"/>
                        </a:rPr>
                        <a:t>Business model context</a:t>
                      </a:r>
                    </a:p>
                  </a:txBody>
                  <a:tcPr marL="180000" marR="180000" marT="72000">
                    <a:lnL w="12700" cmpd="sng">
                      <a:noFill/>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85000"/>
                        </a:lnSpc>
                      </a:pPr>
                      <a:r>
                        <a:rPr lang="en-US" sz="1400" cap="none" baseline="0" dirty="0">
                          <a:solidFill>
                            <a:schemeClr val="bg1"/>
                          </a:solidFill>
                          <a:latin typeface="+mj-lt"/>
                        </a:rPr>
                        <a:t>Operating model context</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342354">
                <a:tc>
                  <a:txBody>
                    <a:body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mpd="sng">
                      <a:noFill/>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400" b="0" i="0" u="none" strike="noStrike" kern="0" cap="none" spc="0" normalizeH="0" baseline="0" noProof="0" dirty="0">
                          <a:ln>
                            <a:noFill/>
                          </a:ln>
                          <a:solidFill>
                            <a:schemeClr val="tx1"/>
                          </a:solidFill>
                          <a:effectLst/>
                          <a:uLnTx/>
                          <a:uFillTx/>
                          <a:latin typeface="+mn-lt"/>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no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 name="Rectangle 1">
            <a:hlinkClick r:id="rId3" action="ppaction://hlinksldjump"/>
            <a:extLst>
              <a:ext uri="{FF2B5EF4-FFF2-40B4-BE49-F238E27FC236}">
                <a16:creationId xmlns:a16="http://schemas.microsoft.com/office/drawing/2014/main" id="{661BCA71-6BD1-40B9-88AF-92F1A53E593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92401801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AB01265-3C3C-4C1C-96F3-DE340DF20F43}"/>
              </a:ext>
            </a:extLst>
          </p:cNvPr>
          <p:cNvSpPr>
            <a:spLocks noGrp="1"/>
          </p:cNvSpPr>
          <p:nvPr>
            <p:ph type="title"/>
          </p:nvPr>
        </p:nvSpPr>
        <p:spPr/>
        <p:txBody>
          <a:bodyPr/>
          <a:lstStyle/>
          <a:p>
            <a:r>
              <a:rPr lang="en-ZA" dirty="0"/>
              <a:t>Outcomes</a:t>
            </a:r>
            <a:endParaRPr lang="en-US" dirty="0"/>
          </a:p>
        </p:txBody>
      </p:sp>
      <p:sp>
        <p:nvSpPr>
          <p:cNvPr id="4" name="Freeform: Shape 3">
            <a:hlinkClick r:id="rId4"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7" name="Content Placeholder 6">
            <a:extLst>
              <a:ext uri="{FF2B5EF4-FFF2-40B4-BE49-F238E27FC236}">
                <a16:creationId xmlns:a16="http://schemas.microsoft.com/office/drawing/2014/main" id="{16181F35-B447-4E2A-8A77-CC16D63E722B}"/>
              </a:ext>
            </a:extLst>
          </p:cNvPr>
          <p:cNvGraphicFramePr>
            <a:graphicFrameLocks noGrp="1"/>
          </p:cNvGraphicFramePr>
          <p:nvPr>
            <p:ph sz="quarter" idx="10"/>
            <p:extLst>
              <p:ext uri="{D42A27DB-BD31-4B8C-83A1-F6EECF244321}">
                <p14:modId xmlns:p14="http://schemas.microsoft.com/office/powerpoint/2010/main" val="1683339653"/>
              </p:ext>
            </p:extLst>
          </p:nvPr>
        </p:nvGraphicFramePr>
        <p:xfrm>
          <a:off x="381000" y="1909325"/>
          <a:ext cx="11430000" cy="4315108"/>
        </p:xfrm>
        <a:graphic>
          <a:graphicData uri="http://schemas.openxmlformats.org/drawingml/2006/table">
            <a:tbl>
              <a:tblPr firstRow="1" bandRow="1">
                <a:tableStyleId>{5C22544A-7EE6-4342-B048-85BDC9FD1C3A}</a:tableStyleId>
              </a:tblPr>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gridCol w="3810000">
                  <a:extLst>
                    <a:ext uri="{9D8B030D-6E8A-4147-A177-3AD203B41FA5}">
                      <a16:colId xmlns:a16="http://schemas.microsoft.com/office/drawing/2014/main" val="20002"/>
                    </a:ext>
                  </a:extLst>
                </a:gridCol>
              </a:tblGrid>
              <a:tr h="465347">
                <a:tc>
                  <a:txBody>
                    <a:bodyPr/>
                    <a:lstStyle/>
                    <a:p>
                      <a:pPr marL="0" algn="ctr" defTabSz="1734634" rtl="0" eaLnBrk="1" latinLnBrk="0" hangingPunct="1">
                        <a:lnSpc>
                          <a:spcPct val="85000"/>
                        </a:lnSpc>
                        <a:spcBef>
                          <a:spcPts val="0"/>
                        </a:spcBef>
                        <a:buNone/>
                      </a:pPr>
                      <a:r>
                        <a:rPr lang="en-US" sz="1400" b="1" kern="1200" cap="none" baseline="0" dirty="0">
                          <a:solidFill>
                            <a:schemeClr val="bg1"/>
                          </a:solidFill>
                          <a:latin typeface="Graphik" panose="020B0503030202060203" pitchFamily="34" charset="0"/>
                          <a:ea typeface="+mn-ea"/>
                          <a:cs typeface="+mn-cs"/>
                        </a:rPr>
                        <a:t>Interim outcomes</a:t>
                      </a:r>
                    </a:p>
                    <a:p>
                      <a:pPr marL="0" algn="ctr" defTabSz="1734634" rtl="0" eaLnBrk="1" latinLnBrk="0" hangingPunct="1">
                        <a:lnSpc>
                          <a:spcPct val="85000"/>
                        </a:lnSpc>
                        <a:spcBef>
                          <a:spcPts val="0"/>
                        </a:spcBef>
                        <a:buNone/>
                      </a:pPr>
                      <a:r>
                        <a:rPr lang="en-US" sz="1400" b="1" kern="1200" cap="none" baseline="0" dirty="0">
                          <a:solidFill>
                            <a:schemeClr val="bg1"/>
                          </a:solidFill>
                          <a:latin typeface="Graphik" panose="020B0503030202060203" pitchFamily="34" charset="0"/>
                          <a:ea typeface="+mn-ea"/>
                          <a:cs typeface="+mn-cs"/>
                        </a:rPr>
                        <a:t>Month/year</a:t>
                      </a:r>
                    </a:p>
                  </a:txBody>
                  <a:tcPr marL="180000" marR="180000" marT="72000">
                    <a:lnL w="12700" cmpd="sng">
                      <a:noFill/>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1734634" rtl="0" eaLnBrk="1" latinLnBrk="0" hangingPunct="1">
                        <a:lnSpc>
                          <a:spcPct val="85000"/>
                        </a:lnSpc>
                        <a:spcBef>
                          <a:spcPts val="0"/>
                        </a:spcBef>
                        <a:buClr>
                          <a:schemeClr val="tx1"/>
                        </a:buClr>
                        <a:buNone/>
                      </a:pPr>
                      <a:r>
                        <a:rPr lang="en-US" sz="1400" b="1" kern="1200" cap="none" baseline="0" dirty="0">
                          <a:solidFill>
                            <a:schemeClr val="bg1"/>
                          </a:solidFill>
                          <a:latin typeface="Graphik" panose="020B0503030202060203" pitchFamily="34" charset="0"/>
                          <a:ea typeface="+mn-ea"/>
                          <a:cs typeface="+mn-cs"/>
                        </a:rPr>
                        <a:t>Interim outcomes</a:t>
                      </a:r>
                    </a:p>
                    <a:p>
                      <a:pPr marL="0" lvl="0" indent="0" algn="ctr" defTabSz="1734634" rtl="0" eaLnBrk="1" latinLnBrk="0" hangingPunct="1">
                        <a:lnSpc>
                          <a:spcPct val="85000"/>
                        </a:lnSpc>
                        <a:spcBef>
                          <a:spcPts val="0"/>
                        </a:spcBef>
                        <a:buClr>
                          <a:schemeClr val="tx1"/>
                        </a:buClr>
                        <a:buNone/>
                      </a:pPr>
                      <a:r>
                        <a:rPr lang="en-US" sz="1400" b="1" kern="1200" cap="none" baseline="0" dirty="0">
                          <a:solidFill>
                            <a:schemeClr val="bg1"/>
                          </a:solidFill>
                          <a:latin typeface="Graphik" panose="020B0503030202060203" pitchFamily="34" charset="0"/>
                          <a:ea typeface="+mn-ea"/>
                          <a:cs typeface="+mn-cs"/>
                        </a:rPr>
                        <a:t>Month/year</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lvl="0" indent="0" algn="ctr" defTabSz="1734634" rtl="0" eaLnBrk="1" latinLnBrk="0" hangingPunct="1">
                        <a:lnSpc>
                          <a:spcPct val="85000"/>
                        </a:lnSpc>
                        <a:spcBef>
                          <a:spcPts val="0"/>
                        </a:spcBef>
                        <a:buClr>
                          <a:schemeClr val="tx1"/>
                        </a:buClr>
                        <a:buNone/>
                      </a:pPr>
                      <a:r>
                        <a:rPr lang="en-US" sz="1400" b="1" kern="1200" cap="none" baseline="0" dirty="0">
                          <a:solidFill>
                            <a:schemeClr val="bg1"/>
                          </a:solidFill>
                          <a:latin typeface="Graphik" panose="020B0503030202060203" pitchFamily="34" charset="0"/>
                          <a:ea typeface="+mn-ea"/>
                          <a:cs typeface="+mn-cs"/>
                        </a:rPr>
                        <a:t>Target outcomes</a:t>
                      </a:r>
                    </a:p>
                  </a:txBody>
                  <a:tcPr marL="180000" marR="180000" marT="72000">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mpd="sng">
                      <a:noFill/>
                    </a:lnT>
                    <a:lnB w="6350" cap="flat" cmpd="sng" algn="ctr">
                      <a:noFill/>
                      <a:prstDash val="dash"/>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278225">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mpd="sng">
                      <a:noFill/>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78226">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mpd="sng">
                      <a:noFill/>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1625180"/>
                  </a:ext>
                </a:extLst>
              </a:tr>
              <a:tr h="1278225">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mpd="sng">
                      <a:noFill/>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Economic</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Body copy</a:t>
                      </a:r>
                    </a:p>
                  </a:txBody>
                  <a:tcPr marL="180000" marR="180000">
                    <a:lnL w="12700" cap="flat" cmpd="sng" algn="ctr">
                      <a:solidFill>
                        <a:schemeClr val="tx2">
                          <a:lumMod val="60000"/>
                          <a:lumOff val="40000"/>
                        </a:schemeClr>
                      </a:solidFill>
                      <a:prstDash val="dot"/>
                      <a:round/>
                      <a:headEnd type="none" w="med" len="med"/>
                      <a:tailEnd type="none" w="med" len="med"/>
                    </a:lnL>
                    <a:lnR w="12700" cap="flat" cmpd="sng" algn="ctr">
                      <a:solidFill>
                        <a:schemeClr val="tx2">
                          <a:lumMod val="60000"/>
                          <a:lumOff val="40000"/>
                        </a:schemeClr>
                      </a:solidFill>
                      <a:prstDash val="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4846431"/>
                  </a:ext>
                </a:extLst>
              </a:tr>
            </a:tbl>
          </a:graphicData>
        </a:graphic>
      </p:graphicFrame>
      <p:sp>
        <p:nvSpPr>
          <p:cNvPr id="9" name="AcnSubjectTitle_ID_260107">
            <a:extLst>
              <a:ext uri="{FF2B5EF4-FFF2-40B4-BE49-F238E27FC236}">
                <a16:creationId xmlns:a16="http://schemas.microsoft.com/office/drawing/2014/main" id="{56D3A71B-6727-46D8-83FB-2CE11939D2FF}"/>
              </a:ext>
            </a:extLst>
          </p:cNvPr>
          <p:cNvSpPr txBox="1">
            <a:spLocks noChangeArrowheads="1"/>
          </p:cNvSpPr>
          <p:nvPr>
            <p:custDataLst>
              <p:tags r:id="rId1"/>
            </p:custDataLst>
          </p:nvPr>
        </p:nvSpPr>
        <p:spPr bwMode="auto">
          <a:xfrm>
            <a:off x="381000" y="876300"/>
            <a:ext cx="8949813" cy="797311"/>
          </a:xfrm>
          <a:prstGeom prst="rect">
            <a:avLst/>
          </a:prstGeom>
          <a:noFill/>
          <a:ln w="9525" algn="ctr">
            <a:noFill/>
            <a:miter lim="800000"/>
            <a:headEnd/>
            <a:tailEnd/>
          </a:ln>
          <a:effectLst/>
        </p:spPr>
        <p:txBody>
          <a:bodyPr wrap="square" lIns="0" tIns="18000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Graphik"/>
                <a:ea typeface="+mn-ea"/>
                <a:cs typeface="+mn-cs"/>
              </a:rPr>
              <a:t>&lt;Client’s&gt; business objectives in connection with the effort described in this proposal are focused around the following desired outcomes.</a:t>
            </a:r>
            <a:endParaRPr kumimoji="0" lang="en-US" altLang="ja-JP" sz="2000" b="1" i="0" u="none" strike="noStrike" kern="1200" cap="none" spc="0" normalizeH="0" baseline="0" noProof="0" dirty="0">
              <a:ln>
                <a:noFill/>
              </a:ln>
              <a:solidFill>
                <a:srgbClr val="000000"/>
              </a:solidFill>
              <a:effectLst/>
              <a:uLnTx/>
              <a:uFillTx/>
              <a:latin typeface="Graphik"/>
              <a:ea typeface="+mn-ea"/>
              <a:cs typeface="+mn-cs"/>
            </a:endParaRPr>
          </a:p>
        </p:txBody>
      </p:sp>
      <p:sp>
        <p:nvSpPr>
          <p:cNvPr id="2" name="Rectangle 1">
            <a:hlinkClick r:id="rId4" action="ppaction://hlinksldjump"/>
            <a:extLst>
              <a:ext uri="{FF2B5EF4-FFF2-40B4-BE49-F238E27FC236}">
                <a16:creationId xmlns:a16="http://schemas.microsoft.com/office/drawing/2014/main" id="{D86E3758-ED11-441F-AD23-C28C6D00551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76577734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20430A-7226-475E-B01B-DA888DDFB112}"/>
              </a:ext>
            </a:extLst>
          </p:cNvPr>
          <p:cNvSpPr>
            <a:spLocks noGrp="1"/>
          </p:cNvSpPr>
          <p:nvPr>
            <p:ph type="title"/>
          </p:nvPr>
        </p:nvSpPr>
        <p:spPr>
          <a:xfrm>
            <a:off x="381000" y="381000"/>
            <a:ext cx="11430000" cy="990600"/>
          </a:xfrm>
        </p:spPr>
        <p:txBody>
          <a:bodyPr/>
          <a:lstStyle/>
          <a:p>
            <a:r>
              <a:rPr lang="en-US" dirty="0"/>
              <a:t>Summary of your business </a:t>
            </a:r>
            <a:br>
              <a:rPr lang="en-US" dirty="0"/>
            </a:br>
            <a:r>
              <a:rPr lang="en-US" dirty="0"/>
              <a:t>issues and outcomes</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Rectangle 11">
            <a:extLst>
              <a:ext uri="{FF2B5EF4-FFF2-40B4-BE49-F238E27FC236}">
                <a16:creationId xmlns:a16="http://schemas.microsoft.com/office/drawing/2014/main" id="{D67ACCC9-A9C1-480B-B9AD-D86F56FDD252}"/>
              </a:ext>
            </a:extLst>
          </p:cNvPr>
          <p:cNvSpPr/>
          <p:nvPr/>
        </p:nvSpPr>
        <p:spPr bwMode="auto">
          <a:xfrm>
            <a:off x="390973" y="5298472"/>
            <a:ext cx="4134452" cy="922473"/>
          </a:xfrm>
          <a:prstGeom prst="rect">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User note: choose one of the following five 3-slide design options for showing a summary of the issues and outcomes, our understanding of the critical considerations and our value proposition.</a:t>
            </a:r>
          </a:p>
        </p:txBody>
      </p:sp>
      <p:sp>
        <p:nvSpPr>
          <p:cNvPr id="19" name="Content Placeholder 7">
            <a:extLst>
              <a:ext uri="{FF2B5EF4-FFF2-40B4-BE49-F238E27FC236}">
                <a16:creationId xmlns:a16="http://schemas.microsoft.com/office/drawing/2014/main" id="{5FF06301-73B8-4F14-8B50-2A91AADB1D40}"/>
              </a:ext>
            </a:extLst>
          </p:cNvPr>
          <p:cNvSpPr txBox="1">
            <a:spLocks/>
          </p:cNvSpPr>
          <p:nvPr/>
        </p:nvSpPr>
        <p:spPr bwMode="auto">
          <a:xfrm>
            <a:off x="6270477" y="2249489"/>
            <a:ext cx="5539889" cy="380841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20" name="Content Placeholder 7">
            <a:extLst>
              <a:ext uri="{FF2B5EF4-FFF2-40B4-BE49-F238E27FC236}">
                <a16:creationId xmlns:a16="http://schemas.microsoft.com/office/drawing/2014/main" id="{03C115BB-F692-4873-9628-01ED8CF90742}"/>
              </a:ext>
            </a:extLst>
          </p:cNvPr>
          <p:cNvSpPr txBox="1">
            <a:spLocks/>
          </p:cNvSpPr>
          <p:nvPr/>
        </p:nvSpPr>
        <p:spPr bwMode="auto">
          <a:xfrm>
            <a:off x="381000" y="2249488"/>
            <a:ext cx="5539888" cy="308768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21" name="Rectangle 20">
            <a:extLst>
              <a:ext uri="{FF2B5EF4-FFF2-40B4-BE49-F238E27FC236}">
                <a16:creationId xmlns:a16="http://schemas.microsoft.com/office/drawing/2014/main" id="{B4D1FB25-3F16-47DA-AE26-E8818B1816CA}"/>
              </a:ext>
            </a:extLst>
          </p:cNvPr>
          <p:cNvSpPr/>
          <p:nvPr/>
        </p:nvSpPr>
        <p:spPr bwMode="auto">
          <a:xfrm>
            <a:off x="390973" y="1398643"/>
            <a:ext cx="1315971"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100FF"/>
                </a:solidFill>
                <a:effectLst/>
                <a:uLnTx/>
                <a:uFillTx/>
                <a:latin typeface="Graphik Black"/>
                <a:ea typeface="+mn-ea"/>
                <a:cs typeface="+mn-cs"/>
              </a:rPr>
              <a:t>From issue</a:t>
            </a:r>
          </a:p>
        </p:txBody>
      </p:sp>
      <p:sp>
        <p:nvSpPr>
          <p:cNvPr id="22" name="Rectangle 21">
            <a:extLst>
              <a:ext uri="{FF2B5EF4-FFF2-40B4-BE49-F238E27FC236}">
                <a16:creationId xmlns:a16="http://schemas.microsoft.com/office/drawing/2014/main" id="{685BBC33-6BCF-4690-9B1A-8C193E43E34C}"/>
              </a:ext>
            </a:extLst>
          </p:cNvPr>
          <p:cNvSpPr/>
          <p:nvPr/>
        </p:nvSpPr>
        <p:spPr bwMode="auto">
          <a:xfrm>
            <a:off x="10379923" y="1398643"/>
            <a:ext cx="1428868" cy="369332"/>
          </a:xfrm>
          <a:prstGeom prst="rect">
            <a:avLst/>
          </a:prstGeom>
          <a:noFill/>
        </p:spPr>
        <p:txBody>
          <a:bodyPr wrap="square" l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BE82FF"/>
                </a:solidFill>
                <a:effectLst/>
                <a:uLnTx/>
                <a:uFillTx/>
                <a:latin typeface="Graphik Black"/>
                <a:ea typeface="+mn-ea"/>
                <a:cs typeface="+mn-cs"/>
              </a:rPr>
              <a:t>To outcome</a:t>
            </a:r>
          </a:p>
        </p:txBody>
      </p:sp>
      <p:cxnSp>
        <p:nvCxnSpPr>
          <p:cNvPr id="23" name="Straight Connector 22">
            <a:extLst>
              <a:ext uri="{FF2B5EF4-FFF2-40B4-BE49-F238E27FC236}">
                <a16:creationId xmlns:a16="http://schemas.microsoft.com/office/drawing/2014/main" id="{A2E57708-3DE2-46DD-A120-209026029F7D}"/>
              </a:ext>
            </a:extLst>
          </p:cNvPr>
          <p:cNvCxnSpPr>
            <a:cxnSpLocks/>
          </p:cNvCxnSpPr>
          <p:nvPr/>
        </p:nvCxnSpPr>
        <p:spPr bwMode="auto">
          <a:xfrm>
            <a:off x="381000" y="1862060"/>
            <a:ext cx="11427791" cy="0"/>
          </a:xfrm>
          <a:prstGeom prst="line">
            <a:avLst/>
          </a:prstGeom>
          <a:noFill/>
          <a:ln w="38100" cap="flat" cmpd="sng" algn="ctr">
            <a:gradFill>
              <a:gsLst>
                <a:gs pos="0">
                  <a:srgbClr val="A100FF"/>
                </a:gs>
                <a:gs pos="99000">
                  <a:srgbClr val="BE82FF"/>
                </a:gs>
              </a:gsLst>
              <a:lin ang="1200000" scaled="0"/>
            </a:gradFill>
            <a:prstDash val="solid"/>
            <a:tailEnd type="triangle"/>
          </a:ln>
          <a:effectLst/>
        </p:spPr>
      </p:cxnSp>
      <p:sp>
        <p:nvSpPr>
          <p:cNvPr id="26" name="TextBox 25">
            <a:extLst>
              <a:ext uri="{FF2B5EF4-FFF2-40B4-BE49-F238E27FC236}">
                <a16:creationId xmlns:a16="http://schemas.microsoft.com/office/drawing/2014/main" id="{97C52682-7688-46BE-8EA7-F41470E0F088}"/>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1</a:t>
            </a:r>
          </a:p>
        </p:txBody>
      </p:sp>
      <p:sp>
        <p:nvSpPr>
          <p:cNvPr id="2" name="Rectangle 1">
            <a:hlinkClick r:id="rId3" action="ppaction://hlinksldjump"/>
            <a:extLst>
              <a:ext uri="{FF2B5EF4-FFF2-40B4-BE49-F238E27FC236}">
                <a16:creationId xmlns:a16="http://schemas.microsoft.com/office/drawing/2014/main" id="{54119A4C-7EA8-4B11-BD53-BD8FE7498FF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50090475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14" name="Table 13">
            <a:extLst>
              <a:ext uri="{FF2B5EF4-FFF2-40B4-BE49-F238E27FC236}">
                <a16:creationId xmlns:a16="http://schemas.microsoft.com/office/drawing/2014/main" id="{8494881B-5E5B-406C-A93D-E057DC0E51CD}"/>
              </a:ext>
            </a:extLst>
          </p:cNvPr>
          <p:cNvGraphicFramePr>
            <a:graphicFrameLocks noGrp="1"/>
          </p:cNvGraphicFramePr>
          <p:nvPr>
            <p:extLst>
              <p:ext uri="{D42A27DB-BD31-4B8C-83A1-F6EECF244321}">
                <p14:modId xmlns:p14="http://schemas.microsoft.com/office/powerpoint/2010/main" val="1005322912"/>
              </p:ext>
            </p:extLst>
          </p:nvPr>
        </p:nvGraphicFramePr>
        <p:xfrm>
          <a:off x="380364" y="1669468"/>
          <a:ext cx="11430000" cy="660432"/>
        </p:xfrm>
        <a:graphic>
          <a:graphicData uri="http://schemas.openxmlformats.org/drawingml/2006/table">
            <a:tbl>
              <a:tblPr firstRow="1" bandRow="1"/>
              <a:tblGrid>
                <a:gridCol w="1905000">
                  <a:extLst>
                    <a:ext uri="{9D8B030D-6E8A-4147-A177-3AD203B41FA5}">
                      <a16:colId xmlns:a16="http://schemas.microsoft.com/office/drawing/2014/main" val="2946451248"/>
                    </a:ext>
                  </a:extLst>
                </a:gridCol>
                <a:gridCol w="1905000">
                  <a:extLst>
                    <a:ext uri="{9D8B030D-6E8A-4147-A177-3AD203B41FA5}">
                      <a16:colId xmlns:a16="http://schemas.microsoft.com/office/drawing/2014/main" val="3800481965"/>
                    </a:ext>
                  </a:extLst>
                </a:gridCol>
                <a:gridCol w="1905000">
                  <a:extLst>
                    <a:ext uri="{9D8B030D-6E8A-4147-A177-3AD203B41FA5}">
                      <a16:colId xmlns:a16="http://schemas.microsoft.com/office/drawing/2014/main" val="2148660868"/>
                    </a:ext>
                  </a:extLst>
                </a:gridCol>
                <a:gridCol w="1905000">
                  <a:extLst>
                    <a:ext uri="{9D8B030D-6E8A-4147-A177-3AD203B41FA5}">
                      <a16:colId xmlns:a16="http://schemas.microsoft.com/office/drawing/2014/main" val="1102821067"/>
                    </a:ext>
                  </a:extLst>
                </a:gridCol>
                <a:gridCol w="1905000">
                  <a:extLst>
                    <a:ext uri="{9D8B030D-6E8A-4147-A177-3AD203B41FA5}">
                      <a16:colId xmlns:a16="http://schemas.microsoft.com/office/drawing/2014/main" val="1561285184"/>
                    </a:ext>
                  </a:extLst>
                </a:gridCol>
                <a:gridCol w="1905000">
                  <a:extLst>
                    <a:ext uri="{9D8B030D-6E8A-4147-A177-3AD203B41FA5}">
                      <a16:colId xmlns:a16="http://schemas.microsoft.com/office/drawing/2014/main" val="2585088318"/>
                    </a:ext>
                  </a:extLst>
                </a:gridCol>
              </a:tblGrid>
              <a:tr h="438714">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tx2"/>
                          </a:solidFill>
                          <a:latin typeface="+mj-lt"/>
                        </a:rPr>
                        <a:t>From issue</a:t>
                      </a:r>
                    </a:p>
                  </a:txBody>
                  <a:tcPr marL="0"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accent1"/>
                          </a:solidFill>
                          <a:latin typeface="+mj-lt"/>
                        </a:rPr>
                        <a:t>Pac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accent1"/>
                          </a:solidFill>
                          <a:latin typeface="+mj-lt"/>
                        </a:rPr>
                        <a:t>Certainty</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nSpc>
                          <a:spcPct val="85000"/>
                        </a:lnSpc>
                        <a:defRPr/>
                      </a:pPr>
                      <a:r>
                        <a:rPr lang="en-US" sz="1400" b="1" cap="none" baseline="0" dirty="0">
                          <a:solidFill>
                            <a:schemeClr val="accent1"/>
                          </a:solidFill>
                          <a:latin typeface="+mj-lt"/>
                        </a:rPr>
                        <a:t>Strategic agility</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nSpc>
                          <a:spcPct val="85000"/>
                        </a:lnSpc>
                        <a:defRPr/>
                      </a:pPr>
                      <a:r>
                        <a:rPr lang="en-US" sz="1400" b="1" cap="none" baseline="0" dirty="0">
                          <a:solidFill>
                            <a:schemeClr val="accent1"/>
                          </a:solidFill>
                          <a:latin typeface="+mj-lt"/>
                        </a:rPr>
                        <a:t>Other        </a:t>
                      </a:r>
                    </a:p>
                    <a:p>
                      <a:pPr>
                        <a:lnSpc>
                          <a:spcPct val="85000"/>
                        </a:lnSpc>
                        <a:defRPr/>
                      </a:pPr>
                      <a:r>
                        <a:rPr lang="en-US" sz="1400" b="1" cap="none" baseline="0" dirty="0">
                          <a:solidFill>
                            <a:schemeClr val="accent1"/>
                          </a:solidFill>
                          <a:latin typeface="+mj-lt"/>
                        </a:rPr>
                        <a:t>(if applicabl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0" marR="0" lvl="0" indent="0" algn="r"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tx2"/>
                          </a:solidFill>
                          <a:latin typeface="+mj-lt"/>
                        </a:rPr>
                        <a:t>To outcom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4032906"/>
                  </a:ext>
                </a:extLst>
              </a:tr>
            </a:tbl>
          </a:graphicData>
        </a:graphic>
      </p:graphicFrame>
      <p:graphicFrame>
        <p:nvGraphicFramePr>
          <p:cNvPr id="15" name="Table 14">
            <a:extLst>
              <a:ext uri="{FF2B5EF4-FFF2-40B4-BE49-F238E27FC236}">
                <a16:creationId xmlns:a16="http://schemas.microsoft.com/office/drawing/2014/main" id="{75F2DABE-923D-40BC-B84D-30D3E3A559E4}"/>
              </a:ext>
            </a:extLst>
          </p:cNvPr>
          <p:cNvGraphicFramePr>
            <a:graphicFrameLocks noGrp="1"/>
          </p:cNvGraphicFramePr>
          <p:nvPr/>
        </p:nvGraphicFramePr>
        <p:xfrm>
          <a:off x="380364" y="2492939"/>
          <a:ext cx="11430000" cy="3166824"/>
        </p:xfrm>
        <a:graphic>
          <a:graphicData uri="http://schemas.openxmlformats.org/drawingml/2006/table">
            <a:tbl>
              <a:tblPr firstRow="1" bandRow="1"/>
              <a:tblGrid>
                <a:gridCol w="1905000">
                  <a:extLst>
                    <a:ext uri="{9D8B030D-6E8A-4147-A177-3AD203B41FA5}">
                      <a16:colId xmlns:a16="http://schemas.microsoft.com/office/drawing/2014/main" val="2946451248"/>
                    </a:ext>
                  </a:extLst>
                </a:gridCol>
                <a:gridCol w="1905000">
                  <a:extLst>
                    <a:ext uri="{9D8B030D-6E8A-4147-A177-3AD203B41FA5}">
                      <a16:colId xmlns:a16="http://schemas.microsoft.com/office/drawing/2014/main" val="3800481965"/>
                    </a:ext>
                  </a:extLst>
                </a:gridCol>
                <a:gridCol w="1905000">
                  <a:extLst>
                    <a:ext uri="{9D8B030D-6E8A-4147-A177-3AD203B41FA5}">
                      <a16:colId xmlns:a16="http://schemas.microsoft.com/office/drawing/2014/main" val="2148660868"/>
                    </a:ext>
                  </a:extLst>
                </a:gridCol>
                <a:gridCol w="1905000">
                  <a:extLst>
                    <a:ext uri="{9D8B030D-6E8A-4147-A177-3AD203B41FA5}">
                      <a16:colId xmlns:a16="http://schemas.microsoft.com/office/drawing/2014/main" val="1102821067"/>
                    </a:ext>
                  </a:extLst>
                </a:gridCol>
                <a:gridCol w="1905000">
                  <a:extLst>
                    <a:ext uri="{9D8B030D-6E8A-4147-A177-3AD203B41FA5}">
                      <a16:colId xmlns:a16="http://schemas.microsoft.com/office/drawing/2014/main" val="1561285184"/>
                    </a:ext>
                  </a:extLst>
                </a:gridCol>
                <a:gridCol w="1905000">
                  <a:extLst>
                    <a:ext uri="{9D8B030D-6E8A-4147-A177-3AD203B41FA5}">
                      <a16:colId xmlns:a16="http://schemas.microsoft.com/office/drawing/2014/main" val="2585088318"/>
                    </a:ext>
                  </a:extLst>
                </a:gridCol>
              </a:tblGrid>
              <a:tr h="1055608">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endParaRPr lang="en-GB" sz="1400"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endParaRPr lang="en-GB"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059020377"/>
                  </a:ext>
                </a:extLst>
              </a:tr>
              <a:tr h="1055608">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GB"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Arial"/>
                          <a:ea typeface="+mn-ea"/>
                          <a:cs typeface="+mn-cs"/>
                        </a:rPr>
                        <a:t>Body copy</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GB"/>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567835490"/>
                  </a:ext>
                </a:extLst>
              </a:tr>
              <a:tr h="1055608">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GB"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Arial"/>
                          <a:ea typeface="+mn-ea"/>
                          <a:cs typeface="+mn-cs"/>
                        </a:rPr>
                        <a:t>Body copy</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Arial"/>
                          <a:ea typeface="+mn-ea"/>
                          <a:cs typeface="+mn-cs"/>
                        </a:rPr>
                        <a:t>Body copy</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GB"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356234930"/>
                  </a:ext>
                </a:extLst>
              </a:tr>
            </a:tbl>
          </a:graphicData>
        </a:graphic>
      </p:graphicFrame>
      <p:cxnSp>
        <p:nvCxnSpPr>
          <p:cNvPr id="16" name="Straight Connector 15">
            <a:extLst>
              <a:ext uri="{FF2B5EF4-FFF2-40B4-BE49-F238E27FC236}">
                <a16:creationId xmlns:a16="http://schemas.microsoft.com/office/drawing/2014/main" id="{4FBEDEF3-7005-4160-BA5E-331A8E0B200B}"/>
              </a:ext>
            </a:extLst>
          </p:cNvPr>
          <p:cNvCxnSpPr>
            <a:cxnSpLocks/>
          </p:cNvCxnSpPr>
          <p:nvPr/>
        </p:nvCxnSpPr>
        <p:spPr bwMode="auto">
          <a:xfrm>
            <a:off x="370336" y="2166860"/>
            <a:ext cx="11438408" cy="0"/>
          </a:xfrm>
          <a:prstGeom prst="line">
            <a:avLst/>
          </a:prstGeom>
          <a:noFill/>
          <a:ln w="38100" cap="flat" cmpd="sng" algn="ctr">
            <a:gradFill>
              <a:gsLst>
                <a:gs pos="0">
                  <a:srgbClr val="A100FF"/>
                </a:gs>
                <a:gs pos="99000">
                  <a:srgbClr val="BE82FF"/>
                </a:gs>
              </a:gsLst>
              <a:lin ang="1200000" scaled="0"/>
            </a:gradFill>
            <a:prstDash val="solid"/>
            <a:tailEnd type="triangle"/>
          </a:ln>
          <a:effectLst/>
        </p:spPr>
      </p:cxnSp>
      <p:sp>
        <p:nvSpPr>
          <p:cNvPr id="24" name="TextBox 23">
            <a:extLst>
              <a:ext uri="{FF2B5EF4-FFF2-40B4-BE49-F238E27FC236}">
                <a16:creationId xmlns:a16="http://schemas.microsoft.com/office/drawing/2014/main" id="{2F3E49C3-36D6-416F-B152-E40CB45C8B7C}"/>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1</a:t>
            </a:r>
          </a:p>
        </p:txBody>
      </p:sp>
      <p:sp>
        <p:nvSpPr>
          <p:cNvPr id="2" name="Rectangle 1">
            <a:hlinkClick r:id="rId3" action="ppaction://hlinksldjump"/>
            <a:extLst>
              <a:ext uri="{FF2B5EF4-FFF2-40B4-BE49-F238E27FC236}">
                <a16:creationId xmlns:a16="http://schemas.microsoft.com/office/drawing/2014/main" id="{1E713841-492C-4585-B0D3-4AC91FD4E3F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45688244"/>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5" name="Table 4">
            <a:extLst>
              <a:ext uri="{FF2B5EF4-FFF2-40B4-BE49-F238E27FC236}">
                <a16:creationId xmlns:a16="http://schemas.microsoft.com/office/drawing/2014/main" id="{EC2E309D-F04A-40CA-8425-F82EAE7DDE2E}"/>
              </a:ext>
            </a:extLst>
          </p:cNvPr>
          <p:cNvGraphicFramePr>
            <a:graphicFrameLocks noGrp="1"/>
          </p:cNvGraphicFramePr>
          <p:nvPr/>
        </p:nvGraphicFramePr>
        <p:xfrm>
          <a:off x="380364" y="1669468"/>
          <a:ext cx="11430000" cy="660432"/>
        </p:xfrm>
        <a:graphic>
          <a:graphicData uri="http://schemas.openxmlformats.org/drawingml/2006/table">
            <a:tbl>
              <a:tblPr firstRow="1" bandRow="1"/>
              <a:tblGrid>
                <a:gridCol w="1905000">
                  <a:extLst>
                    <a:ext uri="{9D8B030D-6E8A-4147-A177-3AD203B41FA5}">
                      <a16:colId xmlns:a16="http://schemas.microsoft.com/office/drawing/2014/main" val="2946451248"/>
                    </a:ext>
                  </a:extLst>
                </a:gridCol>
                <a:gridCol w="1905000">
                  <a:extLst>
                    <a:ext uri="{9D8B030D-6E8A-4147-A177-3AD203B41FA5}">
                      <a16:colId xmlns:a16="http://schemas.microsoft.com/office/drawing/2014/main" val="3800481965"/>
                    </a:ext>
                  </a:extLst>
                </a:gridCol>
                <a:gridCol w="1905000">
                  <a:extLst>
                    <a:ext uri="{9D8B030D-6E8A-4147-A177-3AD203B41FA5}">
                      <a16:colId xmlns:a16="http://schemas.microsoft.com/office/drawing/2014/main" val="2148660868"/>
                    </a:ext>
                  </a:extLst>
                </a:gridCol>
                <a:gridCol w="1905000">
                  <a:extLst>
                    <a:ext uri="{9D8B030D-6E8A-4147-A177-3AD203B41FA5}">
                      <a16:colId xmlns:a16="http://schemas.microsoft.com/office/drawing/2014/main" val="1102821067"/>
                    </a:ext>
                  </a:extLst>
                </a:gridCol>
                <a:gridCol w="1905000">
                  <a:extLst>
                    <a:ext uri="{9D8B030D-6E8A-4147-A177-3AD203B41FA5}">
                      <a16:colId xmlns:a16="http://schemas.microsoft.com/office/drawing/2014/main" val="1561285184"/>
                    </a:ext>
                  </a:extLst>
                </a:gridCol>
                <a:gridCol w="1905000">
                  <a:extLst>
                    <a:ext uri="{9D8B030D-6E8A-4147-A177-3AD203B41FA5}">
                      <a16:colId xmlns:a16="http://schemas.microsoft.com/office/drawing/2014/main" val="2585088318"/>
                    </a:ext>
                  </a:extLst>
                </a:gridCol>
              </a:tblGrid>
              <a:tr h="438714">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accent1"/>
                          </a:solidFill>
                          <a:latin typeface="+mj-lt"/>
                        </a:rPr>
                        <a:t>From issue</a:t>
                      </a:r>
                    </a:p>
                  </a:txBody>
                  <a:tcPr marL="0"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tx2"/>
                          </a:solidFill>
                          <a:latin typeface="+mj-lt"/>
                        </a:rPr>
                        <a:t>Pac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0" marR="0" lvl="0" indent="0" algn="l"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tx2"/>
                          </a:solidFill>
                          <a:latin typeface="+mj-lt"/>
                        </a:rPr>
                        <a:t>Certainty</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nSpc>
                          <a:spcPct val="85000"/>
                        </a:lnSpc>
                        <a:defRPr/>
                      </a:pPr>
                      <a:r>
                        <a:rPr lang="en-US" sz="1400" b="1" cap="none" baseline="0" dirty="0">
                          <a:solidFill>
                            <a:schemeClr val="tx2"/>
                          </a:solidFill>
                          <a:latin typeface="+mj-lt"/>
                        </a:rPr>
                        <a:t>Strategic agility</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nSpc>
                          <a:spcPct val="85000"/>
                        </a:lnSpc>
                        <a:defRPr/>
                      </a:pPr>
                      <a:r>
                        <a:rPr lang="en-US" sz="1400" b="1" cap="none" baseline="0" dirty="0">
                          <a:solidFill>
                            <a:schemeClr val="tx2"/>
                          </a:solidFill>
                          <a:latin typeface="+mj-lt"/>
                        </a:rPr>
                        <a:t>Other        </a:t>
                      </a:r>
                    </a:p>
                    <a:p>
                      <a:pPr>
                        <a:lnSpc>
                          <a:spcPct val="85000"/>
                        </a:lnSpc>
                        <a:defRPr/>
                      </a:pPr>
                      <a:r>
                        <a:rPr lang="en-US" sz="1400" b="1" cap="none" baseline="0" dirty="0">
                          <a:solidFill>
                            <a:schemeClr val="tx2"/>
                          </a:solidFill>
                          <a:latin typeface="+mj-lt"/>
                        </a:rPr>
                        <a:t>(if applicabl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0" marR="0" lvl="0" indent="0" algn="r" defTabSz="1734634" rtl="0" eaLnBrk="1" fontAlgn="auto" latinLnBrk="0" hangingPunct="1">
                        <a:lnSpc>
                          <a:spcPct val="85000"/>
                        </a:lnSpc>
                        <a:spcBef>
                          <a:spcPts val="0"/>
                        </a:spcBef>
                        <a:spcAft>
                          <a:spcPts val="0"/>
                        </a:spcAft>
                        <a:buClrTx/>
                        <a:buSzTx/>
                        <a:buFontTx/>
                        <a:buNone/>
                        <a:tabLst/>
                        <a:defRPr/>
                      </a:pPr>
                      <a:r>
                        <a:rPr lang="en-US" sz="1400" b="1" cap="none" baseline="0" dirty="0">
                          <a:solidFill>
                            <a:schemeClr val="accent5"/>
                          </a:solidFill>
                          <a:latin typeface="+mj-lt"/>
                        </a:rPr>
                        <a:t>To outcome</a:t>
                      </a:r>
                    </a:p>
                  </a:txBody>
                  <a:tcPr marR="90000" marB="25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4032906"/>
                  </a:ext>
                </a:extLst>
              </a:tr>
            </a:tbl>
          </a:graphicData>
        </a:graphic>
      </p:graphicFrame>
      <p:graphicFrame>
        <p:nvGraphicFramePr>
          <p:cNvPr id="7" name="Table 6">
            <a:extLst>
              <a:ext uri="{FF2B5EF4-FFF2-40B4-BE49-F238E27FC236}">
                <a16:creationId xmlns:a16="http://schemas.microsoft.com/office/drawing/2014/main" id="{7B06045E-D5C3-4B8F-90F0-043AE6D0F8F0}"/>
              </a:ext>
            </a:extLst>
          </p:cNvPr>
          <p:cNvGraphicFramePr>
            <a:graphicFrameLocks noGrp="1"/>
          </p:cNvGraphicFramePr>
          <p:nvPr/>
        </p:nvGraphicFramePr>
        <p:xfrm>
          <a:off x="380364" y="2492939"/>
          <a:ext cx="11430000" cy="3166824"/>
        </p:xfrm>
        <a:graphic>
          <a:graphicData uri="http://schemas.openxmlformats.org/drawingml/2006/table">
            <a:tbl>
              <a:tblPr firstRow="1" bandRow="1"/>
              <a:tblGrid>
                <a:gridCol w="1905000">
                  <a:extLst>
                    <a:ext uri="{9D8B030D-6E8A-4147-A177-3AD203B41FA5}">
                      <a16:colId xmlns:a16="http://schemas.microsoft.com/office/drawing/2014/main" val="2946451248"/>
                    </a:ext>
                  </a:extLst>
                </a:gridCol>
                <a:gridCol w="1905000">
                  <a:extLst>
                    <a:ext uri="{9D8B030D-6E8A-4147-A177-3AD203B41FA5}">
                      <a16:colId xmlns:a16="http://schemas.microsoft.com/office/drawing/2014/main" val="3800481965"/>
                    </a:ext>
                  </a:extLst>
                </a:gridCol>
                <a:gridCol w="1905000">
                  <a:extLst>
                    <a:ext uri="{9D8B030D-6E8A-4147-A177-3AD203B41FA5}">
                      <a16:colId xmlns:a16="http://schemas.microsoft.com/office/drawing/2014/main" val="2148660868"/>
                    </a:ext>
                  </a:extLst>
                </a:gridCol>
                <a:gridCol w="1905000">
                  <a:extLst>
                    <a:ext uri="{9D8B030D-6E8A-4147-A177-3AD203B41FA5}">
                      <a16:colId xmlns:a16="http://schemas.microsoft.com/office/drawing/2014/main" val="1102821067"/>
                    </a:ext>
                  </a:extLst>
                </a:gridCol>
                <a:gridCol w="1905000">
                  <a:extLst>
                    <a:ext uri="{9D8B030D-6E8A-4147-A177-3AD203B41FA5}">
                      <a16:colId xmlns:a16="http://schemas.microsoft.com/office/drawing/2014/main" val="1561285184"/>
                    </a:ext>
                  </a:extLst>
                </a:gridCol>
                <a:gridCol w="1905000">
                  <a:extLst>
                    <a:ext uri="{9D8B030D-6E8A-4147-A177-3AD203B41FA5}">
                      <a16:colId xmlns:a16="http://schemas.microsoft.com/office/drawing/2014/main" val="2585088318"/>
                    </a:ext>
                  </a:extLst>
                </a:gridCol>
              </a:tblGrid>
              <a:tr h="1055608">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endParaRPr lang="en-GB" sz="1400" dirty="0">
                        <a:latin typeface="+mn-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endParaRPr lang="en-GB"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059020377"/>
                  </a:ext>
                </a:extLst>
              </a:tr>
              <a:tr h="1055608">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GB"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Arial"/>
                          <a:ea typeface="+mn-ea"/>
                          <a:cs typeface="+mn-cs"/>
                        </a:rPr>
                        <a:t>Body copy</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GB"/>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567835490"/>
                  </a:ext>
                </a:extLst>
              </a:tr>
              <a:tr h="1055608">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GB"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Arial"/>
                          <a:ea typeface="+mn-ea"/>
                          <a:cs typeface="+mn-cs"/>
                        </a:rPr>
                        <a:t>Body copy</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a:txBody>
                  <a:tcPr>
                    <a:lnL w="12700" cmpd="sng">
                      <a:solidFill>
                        <a:srgbClr val="FFFFFF"/>
                      </a:solidFill>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Arial"/>
                          <a:ea typeface="+mn-ea"/>
                          <a:cs typeface="+mn-cs"/>
                        </a:rPr>
                        <a:t>Body copy</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ap="flat" cmpd="sng" algn="ctr">
                      <a:solidFill>
                        <a:srgbClr val="96968C">
                          <a:lumMod val="60000"/>
                          <a:lumOff val="40000"/>
                        </a:srgbClr>
                      </a:solidFill>
                      <a:prstDash val="dot"/>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Body copy</a:t>
                      </a:r>
                    </a:p>
                  </a:txBody>
                  <a:tcPr>
                    <a:lnL w="12700" cap="flat" cmpd="sng" algn="ctr">
                      <a:solidFill>
                        <a:srgbClr val="96968C">
                          <a:lumMod val="60000"/>
                          <a:lumOff val="40000"/>
                        </a:srgbClr>
                      </a:solidFill>
                      <a:prstDash val="dot"/>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GB"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356234930"/>
                  </a:ext>
                </a:extLst>
              </a:tr>
            </a:tbl>
          </a:graphicData>
        </a:graphic>
      </p:graphicFrame>
      <p:cxnSp>
        <p:nvCxnSpPr>
          <p:cNvPr id="8" name="Straight Connector 7">
            <a:extLst>
              <a:ext uri="{FF2B5EF4-FFF2-40B4-BE49-F238E27FC236}">
                <a16:creationId xmlns:a16="http://schemas.microsoft.com/office/drawing/2014/main" id="{A16ACAF1-2223-4A74-96EB-2DD14A2BE1F0}"/>
              </a:ext>
            </a:extLst>
          </p:cNvPr>
          <p:cNvCxnSpPr>
            <a:cxnSpLocks/>
          </p:cNvCxnSpPr>
          <p:nvPr/>
        </p:nvCxnSpPr>
        <p:spPr bwMode="auto">
          <a:xfrm>
            <a:off x="370336" y="2166860"/>
            <a:ext cx="11438407" cy="0"/>
          </a:xfrm>
          <a:prstGeom prst="line">
            <a:avLst/>
          </a:prstGeom>
          <a:noFill/>
          <a:ln w="38100" cap="flat" cmpd="sng" algn="ctr">
            <a:gradFill>
              <a:gsLst>
                <a:gs pos="0">
                  <a:srgbClr val="A100FF"/>
                </a:gs>
                <a:gs pos="99000">
                  <a:srgbClr val="BE82FF"/>
                </a:gs>
              </a:gsLst>
              <a:lin ang="1200000" scaled="0"/>
            </a:gradFill>
            <a:prstDash val="solid"/>
            <a:tailEnd type="triangle"/>
          </a:ln>
          <a:effectLst/>
        </p:spPr>
      </p:cxnSp>
      <p:sp>
        <p:nvSpPr>
          <p:cNvPr id="14" name="TextBox 13">
            <a:extLst>
              <a:ext uri="{FF2B5EF4-FFF2-40B4-BE49-F238E27FC236}">
                <a16:creationId xmlns:a16="http://schemas.microsoft.com/office/drawing/2014/main" id="{A1C4C00D-C15D-40DF-996F-78D3CD9621FB}"/>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1</a:t>
            </a:r>
          </a:p>
        </p:txBody>
      </p:sp>
      <p:sp>
        <p:nvSpPr>
          <p:cNvPr id="2" name="Rectangle 1">
            <a:hlinkClick r:id="rId3" action="ppaction://hlinksldjump"/>
            <a:extLst>
              <a:ext uri="{FF2B5EF4-FFF2-40B4-BE49-F238E27FC236}">
                <a16:creationId xmlns:a16="http://schemas.microsoft.com/office/drawing/2014/main" id="{07BD9AD9-5DFE-4C83-8B91-11D4FB638C6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9178938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US" dirty="0"/>
              <a:t>Summary of your business </a:t>
            </a:r>
            <a:br>
              <a:rPr lang="en-US" dirty="0"/>
            </a:br>
            <a:r>
              <a:rPr lang="en-US" dirty="0"/>
              <a:t>issues and outcomes</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Content Placeholder 7">
            <a:extLst>
              <a:ext uri="{FF2B5EF4-FFF2-40B4-BE49-F238E27FC236}">
                <a16:creationId xmlns:a16="http://schemas.microsoft.com/office/drawing/2014/main" id="{7F430A76-B30A-4C5C-A376-8864B500C141}"/>
              </a:ext>
            </a:extLst>
          </p:cNvPr>
          <p:cNvSpPr txBox="1">
            <a:spLocks/>
          </p:cNvSpPr>
          <p:nvPr/>
        </p:nvSpPr>
        <p:spPr bwMode="auto">
          <a:xfrm>
            <a:off x="381000" y="3751442"/>
            <a:ext cx="2322090"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7" name="Content Placeholder 7">
            <a:extLst>
              <a:ext uri="{FF2B5EF4-FFF2-40B4-BE49-F238E27FC236}">
                <a16:creationId xmlns:a16="http://schemas.microsoft.com/office/drawing/2014/main" id="{33A4A438-64A1-43FC-ABC0-58557DA7C3D6}"/>
              </a:ext>
            </a:extLst>
          </p:cNvPr>
          <p:cNvSpPr txBox="1">
            <a:spLocks/>
          </p:cNvSpPr>
          <p:nvPr/>
        </p:nvSpPr>
        <p:spPr bwMode="auto">
          <a:xfrm>
            <a:off x="9526490" y="3751442"/>
            <a:ext cx="2203569"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8" name="AutoShape 5">
            <a:extLst>
              <a:ext uri="{FF2B5EF4-FFF2-40B4-BE49-F238E27FC236}">
                <a16:creationId xmlns:a16="http://schemas.microsoft.com/office/drawing/2014/main" id="{BA867934-9AE5-487E-A2D3-CD354DD2F45B}"/>
              </a:ext>
            </a:extLst>
          </p:cNvPr>
          <p:cNvSpPr>
            <a:spLocks noChangeArrowheads="1"/>
          </p:cNvSpPr>
          <p:nvPr/>
        </p:nvSpPr>
        <p:spPr bwMode="auto">
          <a:xfrm>
            <a:off x="381000" y="1763713"/>
            <a:ext cx="2282410" cy="1736725"/>
          </a:xfrm>
          <a:prstGeom prst="homePlate">
            <a:avLst>
              <a:gd name="adj" fmla="val 16553"/>
            </a:avLst>
          </a:prstGeom>
          <a:solidFill>
            <a:schemeClr val="accent3"/>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9" name="Arrow: Chevron 8">
            <a:extLst>
              <a:ext uri="{FF2B5EF4-FFF2-40B4-BE49-F238E27FC236}">
                <a16:creationId xmlns:a16="http://schemas.microsoft.com/office/drawing/2014/main" id="{BBD93B57-155A-41C8-A08B-53887837376F}"/>
              </a:ext>
            </a:extLst>
          </p:cNvPr>
          <p:cNvSpPr/>
          <p:nvPr/>
        </p:nvSpPr>
        <p:spPr>
          <a:xfrm>
            <a:off x="9526490" y="1763713"/>
            <a:ext cx="2283876" cy="1736725"/>
          </a:xfrm>
          <a:prstGeom prst="chevron">
            <a:avLst>
              <a:gd name="adj" fmla="val 15715"/>
            </a:avLst>
          </a:prstGeom>
          <a:solidFill>
            <a:schemeClr val="accent1"/>
          </a:solidFill>
          <a:ln w="9525" cap="flat" cmpd="sng" algn="ctr">
            <a:noFill/>
            <a:prstDash val="solid"/>
          </a:ln>
          <a:effectLst/>
        </p:spPr>
        <p:txBody>
          <a:bodyPr wrap="square" lIns="144000" tIns="108000" rIns="36000" bIns="108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3" name="TextBox 2">
            <a:extLst>
              <a:ext uri="{FF2B5EF4-FFF2-40B4-BE49-F238E27FC236}">
                <a16:creationId xmlns:a16="http://schemas.microsoft.com/office/drawing/2014/main" id="{1935B6A0-EDEC-4DD4-86A4-7CDA8201AC54}"/>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2</a:t>
            </a:r>
          </a:p>
        </p:txBody>
      </p:sp>
      <p:sp>
        <p:nvSpPr>
          <p:cNvPr id="2" name="Rectangle 1">
            <a:hlinkClick r:id="rId3" action="ppaction://hlinksldjump"/>
            <a:extLst>
              <a:ext uri="{FF2B5EF4-FFF2-40B4-BE49-F238E27FC236}">
                <a16:creationId xmlns:a16="http://schemas.microsoft.com/office/drawing/2014/main" id="{95FB8AFB-7710-49EA-A3D6-17998235E14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2701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953F64-B6BA-1D41-934A-DE2A2B6A6C2D}"/>
              </a:ext>
            </a:extLst>
          </p:cNvPr>
          <p:cNvSpPr>
            <a:spLocks noGrp="1"/>
          </p:cNvSpPr>
          <p:nvPr>
            <p:ph type="ctrTitle"/>
          </p:nvPr>
        </p:nvSpPr>
        <p:spPr/>
        <p:txBody>
          <a:bodyPr/>
          <a:lstStyle/>
          <a:p>
            <a:endParaRPr lang="en-US"/>
          </a:p>
        </p:txBody>
      </p:sp>
      <p:sp>
        <p:nvSpPr>
          <p:cNvPr id="4" name="Subtitle 3">
            <a:extLst>
              <a:ext uri="{FF2B5EF4-FFF2-40B4-BE49-F238E27FC236}">
                <a16:creationId xmlns:a16="http://schemas.microsoft.com/office/drawing/2014/main" id="{5AD0A77B-A04E-4C4A-A190-C19BEBB30ACA}"/>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AB957B7E-01B3-B343-B4D9-8DAA1A05D733}"/>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61250478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EFDC983D-C203-407D-BCB9-04444A350592}"/>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2</a:t>
            </a:r>
          </a:p>
        </p:txBody>
      </p:sp>
      <p:sp>
        <p:nvSpPr>
          <p:cNvPr id="7" name="Rectangle 6">
            <a:extLst>
              <a:ext uri="{FF2B5EF4-FFF2-40B4-BE49-F238E27FC236}">
                <a16:creationId xmlns:a16="http://schemas.microsoft.com/office/drawing/2014/main" id="{029B38F2-052E-4CC9-BC5E-5517D3E21644}"/>
              </a:ext>
            </a:extLst>
          </p:cNvPr>
          <p:cNvSpPr/>
          <p:nvPr/>
        </p:nvSpPr>
        <p:spPr bwMode="auto">
          <a:xfrm>
            <a:off x="1851816" y="3075364"/>
            <a:ext cx="8484041" cy="424516"/>
          </a:xfrm>
          <a:prstGeom prst="rect">
            <a:avLst/>
          </a:prstGeom>
          <a:solidFill>
            <a:schemeClr val="accent1">
              <a:lumMod val="40000"/>
              <a:lumOff val="60000"/>
            </a:scheme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0" i="0" u="none" strike="noStrike" kern="0" cap="none" spc="0" normalizeH="0" baseline="0" noProof="0" dirty="0">
                <a:ln>
                  <a:noFill/>
                </a:ln>
                <a:solidFill>
                  <a:srgbClr val="FFFFFF"/>
                </a:solidFill>
                <a:effectLst/>
                <a:uLnTx/>
                <a:uFillTx/>
                <a:latin typeface="Graphik Black"/>
                <a:ea typeface="+mn-ea"/>
                <a:cs typeface="Arial" pitchFamily="34" charset="0"/>
              </a:rPr>
              <a:t>&lt;Other if applicable&gt;</a:t>
            </a:r>
          </a:p>
        </p:txBody>
      </p:sp>
      <p:sp>
        <p:nvSpPr>
          <p:cNvPr id="8" name="Rectangle 7">
            <a:extLst>
              <a:ext uri="{FF2B5EF4-FFF2-40B4-BE49-F238E27FC236}">
                <a16:creationId xmlns:a16="http://schemas.microsoft.com/office/drawing/2014/main" id="{D145B8E1-DDA9-41F4-AE6C-CA8BE79CBDC9}"/>
              </a:ext>
            </a:extLst>
          </p:cNvPr>
          <p:cNvSpPr/>
          <p:nvPr/>
        </p:nvSpPr>
        <p:spPr bwMode="auto">
          <a:xfrm>
            <a:off x="1851816" y="1753880"/>
            <a:ext cx="8484041" cy="424516"/>
          </a:xfrm>
          <a:prstGeom prst="rect">
            <a:avLst/>
          </a:prstGeom>
          <a:solidFill>
            <a:schemeClr val="accent3">
              <a:lumMod val="60000"/>
              <a:lumOff val="40000"/>
            </a:scheme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0" i="0" u="none" strike="noStrike" kern="0" cap="none" spc="0" normalizeH="0" baseline="0" noProof="0" dirty="0">
                <a:ln>
                  <a:noFill/>
                </a:ln>
                <a:solidFill>
                  <a:srgbClr val="FFFFFF"/>
                </a:solidFill>
                <a:effectLst/>
                <a:uLnTx/>
                <a:uFillTx/>
                <a:latin typeface="Graphik Black"/>
                <a:ea typeface="+mn-ea"/>
                <a:cs typeface="Arial" pitchFamily="34" charset="0"/>
              </a:rPr>
              <a:t>Pace</a:t>
            </a:r>
          </a:p>
        </p:txBody>
      </p:sp>
      <p:sp>
        <p:nvSpPr>
          <p:cNvPr id="9" name="Rectangle 8">
            <a:extLst>
              <a:ext uri="{FF2B5EF4-FFF2-40B4-BE49-F238E27FC236}">
                <a16:creationId xmlns:a16="http://schemas.microsoft.com/office/drawing/2014/main" id="{D24A94AF-19C6-43C3-954D-40A3BD190EA9}"/>
              </a:ext>
            </a:extLst>
          </p:cNvPr>
          <p:cNvSpPr/>
          <p:nvPr/>
        </p:nvSpPr>
        <p:spPr bwMode="auto">
          <a:xfrm>
            <a:off x="1851816" y="2194376"/>
            <a:ext cx="8484041" cy="424515"/>
          </a:xfrm>
          <a:prstGeom prst="rect">
            <a:avLst/>
          </a:prstGeom>
          <a:solidFill>
            <a:schemeClr val="accent3">
              <a:lumMod val="40000"/>
              <a:lumOff val="60000"/>
            </a:scheme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0" i="0" u="none" strike="noStrike" kern="0" cap="none" spc="0" normalizeH="0" baseline="0" noProof="0" dirty="0">
                <a:ln>
                  <a:noFill/>
                </a:ln>
                <a:solidFill>
                  <a:srgbClr val="FFFFFF"/>
                </a:solidFill>
                <a:effectLst/>
                <a:uLnTx/>
                <a:uFillTx/>
                <a:latin typeface="Graphik Black"/>
                <a:ea typeface="+mn-ea"/>
                <a:cs typeface="Arial" pitchFamily="34" charset="0"/>
              </a:rPr>
              <a:t>Certainty</a:t>
            </a:r>
          </a:p>
        </p:txBody>
      </p:sp>
      <p:sp>
        <p:nvSpPr>
          <p:cNvPr id="10" name="Rectangle 9">
            <a:extLst>
              <a:ext uri="{FF2B5EF4-FFF2-40B4-BE49-F238E27FC236}">
                <a16:creationId xmlns:a16="http://schemas.microsoft.com/office/drawing/2014/main" id="{DA52E032-26EE-4E82-B243-290F5FF6F927}"/>
              </a:ext>
            </a:extLst>
          </p:cNvPr>
          <p:cNvSpPr/>
          <p:nvPr/>
        </p:nvSpPr>
        <p:spPr bwMode="auto">
          <a:xfrm>
            <a:off x="1854044" y="2634869"/>
            <a:ext cx="8484041" cy="424516"/>
          </a:xfrm>
          <a:prstGeom prst="rect">
            <a:avLst/>
          </a:prstGeom>
          <a:solidFill>
            <a:schemeClr val="accent2">
              <a:lumMod val="40000"/>
              <a:lumOff val="60000"/>
            </a:scheme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0" i="0" u="none" strike="noStrike" kern="0" cap="none" spc="0" normalizeH="0" baseline="0" noProof="0" dirty="0">
                <a:ln>
                  <a:noFill/>
                </a:ln>
                <a:solidFill>
                  <a:srgbClr val="FFFFFF"/>
                </a:solidFill>
                <a:effectLst/>
                <a:uLnTx/>
                <a:uFillTx/>
                <a:latin typeface="Graphik Black"/>
                <a:ea typeface="+mn-ea"/>
                <a:cs typeface="Arial" pitchFamily="34" charset="0"/>
              </a:rPr>
              <a:t>Strategic agility</a:t>
            </a:r>
          </a:p>
        </p:txBody>
      </p:sp>
      <p:sp>
        <p:nvSpPr>
          <p:cNvPr id="11" name="Content Placeholder 7">
            <a:extLst>
              <a:ext uri="{FF2B5EF4-FFF2-40B4-BE49-F238E27FC236}">
                <a16:creationId xmlns:a16="http://schemas.microsoft.com/office/drawing/2014/main" id="{FF0AD6EC-1437-4457-85E2-7AE0AF9D598F}"/>
              </a:ext>
            </a:extLst>
          </p:cNvPr>
          <p:cNvSpPr txBox="1">
            <a:spLocks/>
          </p:cNvSpPr>
          <p:nvPr/>
        </p:nvSpPr>
        <p:spPr bwMode="auto">
          <a:xfrm>
            <a:off x="2401059" y="3751442"/>
            <a:ext cx="7125430"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2" name="AutoShape 5">
            <a:extLst>
              <a:ext uri="{FF2B5EF4-FFF2-40B4-BE49-F238E27FC236}">
                <a16:creationId xmlns:a16="http://schemas.microsoft.com/office/drawing/2014/main" id="{9DC53711-F3EF-47EF-9875-1E645DF77AC0}"/>
              </a:ext>
            </a:extLst>
          </p:cNvPr>
          <p:cNvSpPr>
            <a:spLocks noChangeArrowheads="1"/>
          </p:cNvSpPr>
          <p:nvPr/>
        </p:nvSpPr>
        <p:spPr bwMode="auto">
          <a:xfrm>
            <a:off x="381000" y="1763713"/>
            <a:ext cx="2282410" cy="1736725"/>
          </a:xfrm>
          <a:prstGeom prst="homePlate">
            <a:avLst>
              <a:gd name="adj" fmla="val 16553"/>
            </a:avLst>
          </a:prstGeom>
          <a:solidFill>
            <a:srgbClr val="96968C">
              <a:lumMod val="40000"/>
              <a:lumOff val="60000"/>
            </a:srgbClr>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Graphik Black"/>
                <a:ea typeface="+mn-ea"/>
                <a:cs typeface="+mn-cs"/>
              </a:rPr>
              <a:t>From issue</a:t>
            </a:r>
          </a:p>
        </p:txBody>
      </p:sp>
      <p:sp>
        <p:nvSpPr>
          <p:cNvPr id="13" name="Arrow: Chevron 12">
            <a:extLst>
              <a:ext uri="{FF2B5EF4-FFF2-40B4-BE49-F238E27FC236}">
                <a16:creationId xmlns:a16="http://schemas.microsoft.com/office/drawing/2014/main" id="{FBDEE48C-E383-4868-A1CB-54E064751690}"/>
              </a:ext>
            </a:extLst>
          </p:cNvPr>
          <p:cNvSpPr/>
          <p:nvPr/>
        </p:nvSpPr>
        <p:spPr>
          <a:xfrm>
            <a:off x="9526490" y="1763713"/>
            <a:ext cx="2283876" cy="1736725"/>
          </a:xfrm>
          <a:prstGeom prst="chevron">
            <a:avLst>
              <a:gd name="adj" fmla="val 15715"/>
            </a:avLst>
          </a:prstGeom>
          <a:solidFill>
            <a:srgbClr val="96968C">
              <a:lumMod val="40000"/>
              <a:lumOff val="60000"/>
            </a:srgbClr>
          </a:solidFill>
          <a:ln w="9525" cap="flat" cmpd="sng" algn="ctr">
            <a:noFill/>
            <a:prstDash val="solid"/>
          </a:ln>
          <a:effectLst/>
        </p:spPr>
        <p:txBody>
          <a:bodyPr wrap="square" lIns="144000" tIns="108000" rIns="36000" bIns="108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Graphik Black"/>
                <a:ea typeface="+mn-ea"/>
                <a:cs typeface="+mn-cs"/>
              </a:rPr>
              <a:t>To outcome</a:t>
            </a:r>
          </a:p>
        </p:txBody>
      </p:sp>
      <p:sp>
        <p:nvSpPr>
          <p:cNvPr id="3" name="Rectangle 2">
            <a:hlinkClick r:id="rId3" action="ppaction://hlinksldjump"/>
            <a:extLst>
              <a:ext uri="{FF2B5EF4-FFF2-40B4-BE49-F238E27FC236}">
                <a16:creationId xmlns:a16="http://schemas.microsoft.com/office/drawing/2014/main" id="{83F30280-3369-451E-A9D8-A6B98D38E91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3078444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743D61B8-C496-4FA8-A07E-6CD224FA9A62}"/>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2</a:t>
            </a:r>
          </a:p>
        </p:txBody>
      </p:sp>
      <p:sp>
        <p:nvSpPr>
          <p:cNvPr id="7" name="Rectangle 6">
            <a:extLst>
              <a:ext uri="{FF2B5EF4-FFF2-40B4-BE49-F238E27FC236}">
                <a16:creationId xmlns:a16="http://schemas.microsoft.com/office/drawing/2014/main" id="{55530105-B089-45E6-B6A7-8BB65E26FAF5}"/>
              </a:ext>
            </a:extLst>
          </p:cNvPr>
          <p:cNvSpPr/>
          <p:nvPr/>
        </p:nvSpPr>
        <p:spPr bwMode="auto">
          <a:xfrm>
            <a:off x="1851816" y="3075364"/>
            <a:ext cx="8484041" cy="424516"/>
          </a:xfrm>
          <a:prstGeom prst="rect">
            <a:avLst/>
          </a:prstGeom>
          <a:solidFill>
            <a:srgbClr val="96968C">
              <a:lumMod val="40000"/>
              <a:lumOff val="60000"/>
            </a:srgb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0" i="0" u="none" strike="noStrike" kern="0" cap="none" spc="0" normalizeH="0" baseline="0" noProof="0" dirty="0">
                <a:ln>
                  <a:noFill/>
                </a:ln>
                <a:effectLst/>
                <a:uLnTx/>
                <a:uFillTx/>
                <a:latin typeface="Graphik Black"/>
                <a:ea typeface="+mn-ea"/>
                <a:cs typeface="Arial" pitchFamily="34" charset="0"/>
              </a:rPr>
              <a:t>&lt;Other if applicable&gt;</a:t>
            </a:r>
          </a:p>
        </p:txBody>
      </p:sp>
      <p:sp>
        <p:nvSpPr>
          <p:cNvPr id="8" name="Rectangle 7">
            <a:extLst>
              <a:ext uri="{FF2B5EF4-FFF2-40B4-BE49-F238E27FC236}">
                <a16:creationId xmlns:a16="http://schemas.microsoft.com/office/drawing/2014/main" id="{D14B0020-36DA-47CE-8E31-76576A955E7A}"/>
              </a:ext>
            </a:extLst>
          </p:cNvPr>
          <p:cNvSpPr/>
          <p:nvPr/>
        </p:nvSpPr>
        <p:spPr bwMode="auto">
          <a:xfrm>
            <a:off x="1851816" y="1753880"/>
            <a:ext cx="8484041" cy="424516"/>
          </a:xfrm>
          <a:prstGeom prst="rect">
            <a:avLst/>
          </a:prstGeom>
          <a:solidFill>
            <a:srgbClr val="96968C">
              <a:lumMod val="40000"/>
              <a:lumOff val="60000"/>
            </a:srgb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0" i="0" u="none" strike="noStrike" kern="0" cap="none" spc="0" normalizeH="0" baseline="0" noProof="0" dirty="0">
                <a:ln>
                  <a:noFill/>
                </a:ln>
                <a:effectLst/>
                <a:uLnTx/>
                <a:uFillTx/>
                <a:latin typeface="Graphik Black"/>
                <a:ea typeface="+mn-ea"/>
                <a:cs typeface="Arial" pitchFamily="34" charset="0"/>
              </a:rPr>
              <a:t>Pace</a:t>
            </a:r>
          </a:p>
        </p:txBody>
      </p:sp>
      <p:sp>
        <p:nvSpPr>
          <p:cNvPr id="9" name="Rectangle 8">
            <a:extLst>
              <a:ext uri="{FF2B5EF4-FFF2-40B4-BE49-F238E27FC236}">
                <a16:creationId xmlns:a16="http://schemas.microsoft.com/office/drawing/2014/main" id="{644806C1-45C4-45D8-830A-DFD69686864E}"/>
              </a:ext>
            </a:extLst>
          </p:cNvPr>
          <p:cNvSpPr/>
          <p:nvPr/>
        </p:nvSpPr>
        <p:spPr bwMode="auto">
          <a:xfrm>
            <a:off x="1851816" y="2194376"/>
            <a:ext cx="8484041" cy="424515"/>
          </a:xfrm>
          <a:prstGeom prst="rect">
            <a:avLst/>
          </a:prstGeom>
          <a:solidFill>
            <a:srgbClr val="96968C">
              <a:lumMod val="40000"/>
              <a:lumOff val="60000"/>
            </a:srgb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0" i="0" u="none" strike="noStrike" kern="0" cap="none" spc="0" normalizeH="0" baseline="0" noProof="0" dirty="0">
                <a:ln>
                  <a:noFill/>
                </a:ln>
                <a:effectLst/>
                <a:uLnTx/>
                <a:uFillTx/>
                <a:latin typeface="Graphik Black"/>
                <a:ea typeface="+mn-ea"/>
                <a:cs typeface="Arial" pitchFamily="34" charset="0"/>
              </a:rPr>
              <a:t>Certainty</a:t>
            </a:r>
          </a:p>
        </p:txBody>
      </p:sp>
      <p:sp>
        <p:nvSpPr>
          <p:cNvPr id="10" name="Rectangle 9">
            <a:extLst>
              <a:ext uri="{FF2B5EF4-FFF2-40B4-BE49-F238E27FC236}">
                <a16:creationId xmlns:a16="http://schemas.microsoft.com/office/drawing/2014/main" id="{748EEF55-2467-4720-9755-F854076B48BE}"/>
              </a:ext>
            </a:extLst>
          </p:cNvPr>
          <p:cNvSpPr/>
          <p:nvPr/>
        </p:nvSpPr>
        <p:spPr bwMode="auto">
          <a:xfrm>
            <a:off x="1854044" y="2634869"/>
            <a:ext cx="8484041" cy="424516"/>
          </a:xfrm>
          <a:prstGeom prst="rect">
            <a:avLst/>
          </a:prstGeom>
          <a:solidFill>
            <a:srgbClr val="96968C">
              <a:lumMod val="40000"/>
              <a:lumOff val="60000"/>
            </a:srgbClr>
          </a:solidFill>
          <a:ln w="6350">
            <a:solidFill>
              <a:srgbClr val="FFFFFF"/>
            </a:solidFill>
            <a:miter lim="800000"/>
            <a:headEnd/>
            <a:tailEnd/>
          </a:ln>
          <a:effectLst/>
        </p:spPr>
        <p:txBody>
          <a:bodyPr vert="horz" wrap="square" lIns="72009" tIns="72009" rIns="72009" bIns="72009" numCol="1" rtlCol="0" anchor="ctr" anchorCtr="0" compatLnSpc="1">
            <a:prstTxWarp prst="textNoShape">
              <a:avLst/>
            </a:prstTxWarp>
            <a:noAutofit/>
          </a:bodyPr>
          <a:lstStyle/>
          <a:p>
            <a:pPr marL="0" marR="0" lvl="0" indent="0" algn="ctr" defTabSz="914400" rtl="0" eaLnBrk="1" fontAlgn="ctr" latinLnBrk="0" hangingPunct="1">
              <a:lnSpc>
                <a:spcPct val="100000"/>
              </a:lnSpc>
              <a:spcBef>
                <a:spcPts val="0"/>
              </a:spcBef>
              <a:spcAft>
                <a:spcPts val="300"/>
              </a:spcAft>
              <a:buClrTx/>
              <a:buSzTx/>
              <a:buFontTx/>
              <a:buNone/>
              <a:tabLst/>
              <a:defRPr/>
            </a:pPr>
            <a:r>
              <a:rPr kumimoji="0" lang="en-IE" sz="1400" b="0" i="0" u="none" strike="noStrike" kern="0" cap="none" spc="0" normalizeH="0" baseline="0" noProof="0" dirty="0">
                <a:ln>
                  <a:noFill/>
                </a:ln>
                <a:effectLst/>
                <a:uLnTx/>
                <a:uFillTx/>
                <a:latin typeface="Graphik Black"/>
                <a:ea typeface="+mn-ea"/>
                <a:cs typeface="Arial" pitchFamily="34" charset="0"/>
              </a:rPr>
              <a:t>Strategic agility</a:t>
            </a:r>
          </a:p>
        </p:txBody>
      </p:sp>
      <p:sp>
        <p:nvSpPr>
          <p:cNvPr id="11" name="Content Placeholder 7">
            <a:extLst>
              <a:ext uri="{FF2B5EF4-FFF2-40B4-BE49-F238E27FC236}">
                <a16:creationId xmlns:a16="http://schemas.microsoft.com/office/drawing/2014/main" id="{BA3061B7-22DB-4491-9EA9-AD5288AAE191}"/>
              </a:ext>
            </a:extLst>
          </p:cNvPr>
          <p:cNvSpPr txBox="1">
            <a:spLocks/>
          </p:cNvSpPr>
          <p:nvPr/>
        </p:nvSpPr>
        <p:spPr bwMode="auto">
          <a:xfrm>
            <a:off x="3250444" y="3751442"/>
            <a:ext cx="5426662"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2" name="AutoShape 5">
            <a:extLst>
              <a:ext uri="{FF2B5EF4-FFF2-40B4-BE49-F238E27FC236}">
                <a16:creationId xmlns:a16="http://schemas.microsoft.com/office/drawing/2014/main" id="{52DF599A-A40F-4713-A84D-D9ADE3EFB130}"/>
              </a:ext>
            </a:extLst>
          </p:cNvPr>
          <p:cNvSpPr>
            <a:spLocks noChangeArrowheads="1"/>
          </p:cNvSpPr>
          <p:nvPr/>
        </p:nvSpPr>
        <p:spPr bwMode="auto">
          <a:xfrm>
            <a:off x="381000" y="1763713"/>
            <a:ext cx="2282410" cy="1736725"/>
          </a:xfrm>
          <a:prstGeom prst="homePlate">
            <a:avLst>
              <a:gd name="adj" fmla="val 16553"/>
            </a:avLst>
          </a:prstGeom>
          <a:solidFill>
            <a:schemeClr val="accent3"/>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13" name="Arrow: Chevron 12">
            <a:extLst>
              <a:ext uri="{FF2B5EF4-FFF2-40B4-BE49-F238E27FC236}">
                <a16:creationId xmlns:a16="http://schemas.microsoft.com/office/drawing/2014/main" id="{9B33C129-A767-48E8-962E-5B6F3655BAE7}"/>
              </a:ext>
            </a:extLst>
          </p:cNvPr>
          <p:cNvSpPr/>
          <p:nvPr/>
        </p:nvSpPr>
        <p:spPr>
          <a:xfrm>
            <a:off x="9526490" y="1763713"/>
            <a:ext cx="2283876" cy="1736725"/>
          </a:xfrm>
          <a:prstGeom prst="chevron">
            <a:avLst>
              <a:gd name="adj" fmla="val 15715"/>
            </a:avLst>
          </a:prstGeom>
          <a:solidFill>
            <a:schemeClr val="accent1"/>
          </a:solidFill>
          <a:ln w="9525" cap="flat" cmpd="sng" algn="ctr">
            <a:noFill/>
            <a:prstDash val="solid"/>
          </a:ln>
          <a:effectLst/>
        </p:spPr>
        <p:txBody>
          <a:bodyPr wrap="square" lIns="144000" tIns="108000" rIns="36000" bIns="108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14" name="Content Placeholder 7">
            <a:extLst>
              <a:ext uri="{FF2B5EF4-FFF2-40B4-BE49-F238E27FC236}">
                <a16:creationId xmlns:a16="http://schemas.microsoft.com/office/drawing/2014/main" id="{0369EEFD-2EC3-4761-8CDD-A1134908C1BE}"/>
              </a:ext>
            </a:extLst>
          </p:cNvPr>
          <p:cNvSpPr txBox="1">
            <a:spLocks/>
          </p:cNvSpPr>
          <p:nvPr/>
        </p:nvSpPr>
        <p:spPr bwMode="auto">
          <a:xfrm>
            <a:off x="381000" y="3751442"/>
            <a:ext cx="2322090"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5" name="Content Placeholder 7">
            <a:extLst>
              <a:ext uri="{FF2B5EF4-FFF2-40B4-BE49-F238E27FC236}">
                <a16:creationId xmlns:a16="http://schemas.microsoft.com/office/drawing/2014/main" id="{FFFB59AA-D933-40A6-BB8F-6043BE0850A8}"/>
              </a:ext>
            </a:extLst>
          </p:cNvPr>
          <p:cNvSpPr txBox="1">
            <a:spLocks/>
          </p:cNvSpPr>
          <p:nvPr/>
        </p:nvSpPr>
        <p:spPr bwMode="auto">
          <a:xfrm>
            <a:off x="9526490" y="3751442"/>
            <a:ext cx="2203569" cy="158573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 name="Rectangle 2">
            <a:hlinkClick r:id="rId3" action="ppaction://hlinksldjump"/>
            <a:extLst>
              <a:ext uri="{FF2B5EF4-FFF2-40B4-BE49-F238E27FC236}">
                <a16:creationId xmlns:a16="http://schemas.microsoft.com/office/drawing/2014/main" id="{DBCCBCC2-4EB9-4869-921E-13D4ED1762A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36391564"/>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US" dirty="0"/>
              <a:t>Summary of your business </a:t>
            </a:r>
            <a:br>
              <a:rPr lang="en-US" dirty="0"/>
            </a:br>
            <a:r>
              <a:rPr lang="en-US" dirty="0"/>
              <a:t>issues and outcomes</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C6103C4F-860D-4836-B336-1DA421BC538E}"/>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3</a:t>
            </a:r>
          </a:p>
        </p:txBody>
      </p:sp>
      <p:cxnSp>
        <p:nvCxnSpPr>
          <p:cNvPr id="7" name="Straight Arrow Connector 6">
            <a:extLst>
              <a:ext uri="{FF2B5EF4-FFF2-40B4-BE49-F238E27FC236}">
                <a16:creationId xmlns:a16="http://schemas.microsoft.com/office/drawing/2014/main" id="{2508467C-460B-4895-9183-F8B479F58F60}"/>
              </a:ext>
            </a:extLst>
          </p:cNvPr>
          <p:cNvCxnSpPr>
            <a:stCxn id="8" idx="0"/>
            <a:endCxn id="9" idx="3"/>
          </p:cNvCxnSpPr>
          <p:nvPr/>
        </p:nvCxnSpPr>
        <p:spPr>
          <a:xfrm flipV="1">
            <a:off x="1844744" y="2382666"/>
            <a:ext cx="8501879" cy="14758"/>
          </a:xfrm>
          <a:prstGeom prst="straightConnector1">
            <a:avLst/>
          </a:prstGeom>
          <a:noFill/>
          <a:ln w="15875" cap="flat" cmpd="sng" algn="ctr">
            <a:gradFill>
              <a:gsLst>
                <a:gs pos="0">
                  <a:schemeClr val="accent3"/>
                </a:gs>
                <a:gs pos="100000">
                  <a:schemeClr val="accent1"/>
                </a:gs>
              </a:gsLst>
              <a:lin ang="1200000" scaled="0"/>
            </a:gradFill>
            <a:prstDash val="solid"/>
            <a:tailEnd type="none"/>
          </a:ln>
          <a:effectLst/>
        </p:spPr>
      </p:cxnSp>
      <p:sp>
        <p:nvSpPr>
          <p:cNvPr id="8" name="AutoShape 4">
            <a:extLst>
              <a:ext uri="{FF2B5EF4-FFF2-40B4-BE49-F238E27FC236}">
                <a16:creationId xmlns:a16="http://schemas.microsoft.com/office/drawing/2014/main" id="{5501EB44-B07A-4E11-BCE5-1487978426C7}"/>
              </a:ext>
            </a:extLst>
          </p:cNvPr>
          <p:cNvSpPr>
            <a:spLocks noChangeArrowheads="1"/>
          </p:cNvSpPr>
          <p:nvPr/>
        </p:nvSpPr>
        <p:spPr bwMode="auto">
          <a:xfrm>
            <a:off x="381000" y="1763713"/>
            <a:ext cx="1463744" cy="1267422"/>
          </a:xfrm>
          <a:prstGeom prst="hexagon">
            <a:avLst>
              <a:gd name="adj" fmla="val 27042"/>
              <a:gd name="vf" fmla="val 115470"/>
            </a:avLst>
          </a:prstGeom>
          <a:solidFill>
            <a:schemeClr val="accent3"/>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9" name="AutoShape 4">
            <a:extLst>
              <a:ext uri="{FF2B5EF4-FFF2-40B4-BE49-F238E27FC236}">
                <a16:creationId xmlns:a16="http://schemas.microsoft.com/office/drawing/2014/main" id="{1233EB42-D65B-419B-8D29-CB79863AB476}"/>
              </a:ext>
            </a:extLst>
          </p:cNvPr>
          <p:cNvSpPr>
            <a:spLocks noChangeArrowheads="1"/>
          </p:cNvSpPr>
          <p:nvPr/>
        </p:nvSpPr>
        <p:spPr bwMode="auto">
          <a:xfrm>
            <a:off x="10346622" y="1763713"/>
            <a:ext cx="1463744" cy="1237905"/>
          </a:xfrm>
          <a:prstGeom prst="hexagon">
            <a:avLst>
              <a:gd name="adj" fmla="val 27042"/>
              <a:gd name="vf" fmla="val 115470"/>
            </a:avLst>
          </a:prstGeom>
          <a:solidFill>
            <a:schemeClr val="accent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10" name="Content Placeholder 7">
            <a:extLst>
              <a:ext uri="{FF2B5EF4-FFF2-40B4-BE49-F238E27FC236}">
                <a16:creationId xmlns:a16="http://schemas.microsoft.com/office/drawing/2014/main" id="{9D6BCF8B-3E29-4701-B172-75612E91001D}"/>
              </a:ext>
            </a:extLst>
          </p:cNvPr>
          <p:cNvSpPr txBox="1">
            <a:spLocks/>
          </p:cNvSpPr>
          <p:nvPr/>
        </p:nvSpPr>
        <p:spPr bwMode="auto">
          <a:xfrm>
            <a:off x="381000" y="3401961"/>
            <a:ext cx="1465347" cy="2655939"/>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1" name="Content Placeholder 7">
            <a:extLst>
              <a:ext uri="{FF2B5EF4-FFF2-40B4-BE49-F238E27FC236}">
                <a16:creationId xmlns:a16="http://schemas.microsoft.com/office/drawing/2014/main" id="{8F8BBCBA-56FF-4552-92B8-8A0A544A464B}"/>
              </a:ext>
            </a:extLst>
          </p:cNvPr>
          <p:cNvSpPr txBox="1">
            <a:spLocks/>
          </p:cNvSpPr>
          <p:nvPr/>
        </p:nvSpPr>
        <p:spPr bwMode="auto">
          <a:xfrm>
            <a:off x="10346622" y="3401961"/>
            <a:ext cx="1463744" cy="2655939"/>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 name="Rectangle 2">
            <a:hlinkClick r:id="rId3" action="ppaction://hlinksldjump"/>
            <a:extLst>
              <a:ext uri="{FF2B5EF4-FFF2-40B4-BE49-F238E27FC236}">
                <a16:creationId xmlns:a16="http://schemas.microsoft.com/office/drawing/2014/main" id="{30491BF4-57E5-4E56-BC29-28AE68FF89A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12849547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B18149EF-E98C-4B18-8526-F30EF72E40C4}"/>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3</a:t>
            </a:r>
          </a:p>
        </p:txBody>
      </p:sp>
      <p:cxnSp>
        <p:nvCxnSpPr>
          <p:cNvPr id="7" name="Straight Arrow Connector 6">
            <a:extLst>
              <a:ext uri="{FF2B5EF4-FFF2-40B4-BE49-F238E27FC236}">
                <a16:creationId xmlns:a16="http://schemas.microsoft.com/office/drawing/2014/main" id="{BC834832-F305-4CD8-8406-B36D7AE7990F}"/>
              </a:ext>
            </a:extLst>
          </p:cNvPr>
          <p:cNvCxnSpPr>
            <a:stCxn id="8" idx="0"/>
            <a:endCxn id="12" idx="3"/>
          </p:cNvCxnSpPr>
          <p:nvPr/>
        </p:nvCxnSpPr>
        <p:spPr>
          <a:xfrm flipV="1">
            <a:off x="1844744" y="2382666"/>
            <a:ext cx="8501879" cy="14758"/>
          </a:xfrm>
          <a:prstGeom prst="straightConnector1">
            <a:avLst/>
          </a:prstGeom>
          <a:noFill/>
          <a:ln w="15875" cap="flat" cmpd="sng" algn="ctr">
            <a:gradFill>
              <a:gsLst>
                <a:gs pos="0">
                  <a:schemeClr val="accent3"/>
                </a:gs>
                <a:gs pos="100000">
                  <a:schemeClr val="accent1"/>
                </a:gs>
              </a:gsLst>
              <a:lin ang="1200000" scaled="0"/>
            </a:gradFill>
            <a:prstDash val="solid"/>
            <a:tailEnd type="none"/>
          </a:ln>
          <a:effectLst/>
        </p:spPr>
      </p:cxnSp>
      <p:sp>
        <p:nvSpPr>
          <p:cNvPr id="8" name="AutoShape 4">
            <a:extLst>
              <a:ext uri="{FF2B5EF4-FFF2-40B4-BE49-F238E27FC236}">
                <a16:creationId xmlns:a16="http://schemas.microsoft.com/office/drawing/2014/main" id="{A0B3857E-2C1C-47F7-8EAC-F61329F3C716}"/>
              </a:ext>
            </a:extLst>
          </p:cNvPr>
          <p:cNvSpPr>
            <a:spLocks noChangeArrowheads="1"/>
          </p:cNvSpPr>
          <p:nvPr/>
        </p:nvSpPr>
        <p:spPr bwMode="auto">
          <a:xfrm>
            <a:off x="381000" y="1763713"/>
            <a:ext cx="1463744" cy="1267422"/>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From issue</a:t>
            </a:r>
          </a:p>
        </p:txBody>
      </p:sp>
      <p:sp>
        <p:nvSpPr>
          <p:cNvPr id="9" name="AutoShape 4">
            <a:extLst>
              <a:ext uri="{FF2B5EF4-FFF2-40B4-BE49-F238E27FC236}">
                <a16:creationId xmlns:a16="http://schemas.microsoft.com/office/drawing/2014/main" id="{8EF7D3E4-7454-43FB-9732-20A294A38530}"/>
              </a:ext>
            </a:extLst>
          </p:cNvPr>
          <p:cNvSpPr>
            <a:spLocks noChangeArrowheads="1"/>
          </p:cNvSpPr>
          <p:nvPr/>
        </p:nvSpPr>
        <p:spPr bwMode="auto">
          <a:xfrm>
            <a:off x="2374124" y="1763713"/>
            <a:ext cx="1463744"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Pace</a:t>
            </a:r>
          </a:p>
        </p:txBody>
      </p:sp>
      <p:sp>
        <p:nvSpPr>
          <p:cNvPr id="10" name="AutoShape 4">
            <a:extLst>
              <a:ext uri="{FF2B5EF4-FFF2-40B4-BE49-F238E27FC236}">
                <a16:creationId xmlns:a16="http://schemas.microsoft.com/office/drawing/2014/main" id="{C19A1700-BADA-41E7-B709-3B7C8B98B017}"/>
              </a:ext>
            </a:extLst>
          </p:cNvPr>
          <p:cNvSpPr>
            <a:spLocks noChangeArrowheads="1"/>
          </p:cNvSpPr>
          <p:nvPr/>
        </p:nvSpPr>
        <p:spPr bwMode="auto">
          <a:xfrm>
            <a:off x="4367248" y="1763713"/>
            <a:ext cx="1463744"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Certainty</a:t>
            </a:r>
          </a:p>
        </p:txBody>
      </p:sp>
      <p:sp>
        <p:nvSpPr>
          <p:cNvPr id="11" name="AutoShape 4">
            <a:extLst>
              <a:ext uri="{FF2B5EF4-FFF2-40B4-BE49-F238E27FC236}">
                <a16:creationId xmlns:a16="http://schemas.microsoft.com/office/drawing/2014/main" id="{896A6B25-81FD-4C74-8D90-B3353EFD5295}"/>
              </a:ext>
            </a:extLst>
          </p:cNvPr>
          <p:cNvSpPr>
            <a:spLocks noChangeArrowheads="1"/>
          </p:cNvSpPr>
          <p:nvPr/>
        </p:nvSpPr>
        <p:spPr bwMode="auto">
          <a:xfrm>
            <a:off x="6360372" y="1763713"/>
            <a:ext cx="1463744"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Strategic agility</a:t>
            </a:r>
          </a:p>
        </p:txBody>
      </p:sp>
      <p:sp>
        <p:nvSpPr>
          <p:cNvPr id="12" name="AutoShape 4">
            <a:extLst>
              <a:ext uri="{FF2B5EF4-FFF2-40B4-BE49-F238E27FC236}">
                <a16:creationId xmlns:a16="http://schemas.microsoft.com/office/drawing/2014/main" id="{688AFF1B-53A3-46BB-AEBC-EA5868C814EC}"/>
              </a:ext>
            </a:extLst>
          </p:cNvPr>
          <p:cNvSpPr>
            <a:spLocks noChangeArrowheads="1"/>
          </p:cNvSpPr>
          <p:nvPr/>
        </p:nvSpPr>
        <p:spPr bwMode="auto">
          <a:xfrm>
            <a:off x="10346622" y="1763713"/>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To outcome</a:t>
            </a:r>
          </a:p>
        </p:txBody>
      </p:sp>
      <p:sp>
        <p:nvSpPr>
          <p:cNvPr id="13" name="AutoShape 4">
            <a:extLst>
              <a:ext uri="{FF2B5EF4-FFF2-40B4-BE49-F238E27FC236}">
                <a16:creationId xmlns:a16="http://schemas.microsoft.com/office/drawing/2014/main" id="{011C19D8-8AAE-474D-BD4E-EE7CC3CC1BC1}"/>
              </a:ext>
            </a:extLst>
          </p:cNvPr>
          <p:cNvSpPr>
            <a:spLocks noChangeArrowheads="1"/>
          </p:cNvSpPr>
          <p:nvPr/>
        </p:nvSpPr>
        <p:spPr bwMode="auto">
          <a:xfrm>
            <a:off x="8353496" y="1747995"/>
            <a:ext cx="1463744"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Other  </a:t>
            </a:r>
            <a:br>
              <a:rPr kumimoji="0" lang="en-US" sz="1200" b="1" i="0" u="none" strike="noStrike" kern="0" cap="none" spc="0" normalizeH="0" baseline="0" noProof="0" dirty="0">
                <a:ln>
                  <a:noFill/>
                </a:ln>
                <a:solidFill>
                  <a:srgbClr val="FFFFFF"/>
                </a:solidFill>
                <a:effectLst/>
                <a:uLnTx/>
                <a:uFillTx/>
                <a:latin typeface="Graphik Black"/>
                <a:ea typeface="+mn-ea"/>
                <a:cs typeface="+mn-cs"/>
              </a:rPr>
            </a:br>
            <a:r>
              <a:rPr kumimoji="0" lang="en-US" sz="1100" b="0" i="0" u="none" strike="noStrike" kern="0" cap="none" spc="0" normalizeH="0" baseline="0" noProof="0" dirty="0">
                <a:ln>
                  <a:noFill/>
                </a:ln>
                <a:solidFill>
                  <a:srgbClr val="FFFFFF"/>
                </a:solidFill>
                <a:effectLst/>
                <a:uLnTx/>
                <a:uFillTx/>
                <a:latin typeface="Graphik"/>
                <a:ea typeface="+mn-ea"/>
                <a:cs typeface="+mn-cs"/>
              </a:rPr>
              <a:t>(if applicable)</a:t>
            </a:r>
            <a:endParaRPr kumimoji="0" lang="en-US" sz="1200" b="0" i="0" u="none" strike="noStrike" kern="0" cap="none" spc="0" normalizeH="0" baseline="0" noProof="0" dirty="0">
              <a:ln>
                <a:noFill/>
              </a:ln>
              <a:solidFill>
                <a:srgbClr val="FFFFFF"/>
              </a:solidFill>
              <a:effectLst/>
              <a:uLnTx/>
              <a:uFillTx/>
              <a:latin typeface="Graphik"/>
              <a:ea typeface="+mn-ea"/>
              <a:cs typeface="+mn-cs"/>
            </a:endParaRPr>
          </a:p>
        </p:txBody>
      </p:sp>
      <p:sp>
        <p:nvSpPr>
          <p:cNvPr id="14" name="Content Placeholder 7">
            <a:extLst>
              <a:ext uri="{FF2B5EF4-FFF2-40B4-BE49-F238E27FC236}">
                <a16:creationId xmlns:a16="http://schemas.microsoft.com/office/drawing/2014/main" id="{5777F958-62FD-4559-BAA9-80500912636B}"/>
              </a:ext>
            </a:extLst>
          </p:cNvPr>
          <p:cNvSpPr txBox="1">
            <a:spLocks/>
          </p:cNvSpPr>
          <p:nvPr/>
        </p:nvSpPr>
        <p:spPr bwMode="auto">
          <a:xfrm>
            <a:off x="381000"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5" name="Content Placeholder 7">
            <a:extLst>
              <a:ext uri="{FF2B5EF4-FFF2-40B4-BE49-F238E27FC236}">
                <a16:creationId xmlns:a16="http://schemas.microsoft.com/office/drawing/2014/main" id="{D2EA09BA-02DA-424C-BF85-6A5D4D242DF9}"/>
              </a:ext>
            </a:extLst>
          </p:cNvPr>
          <p:cNvSpPr txBox="1">
            <a:spLocks/>
          </p:cNvSpPr>
          <p:nvPr/>
        </p:nvSpPr>
        <p:spPr bwMode="auto">
          <a:xfrm>
            <a:off x="2374124"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6" name="Content Placeholder 7">
            <a:extLst>
              <a:ext uri="{FF2B5EF4-FFF2-40B4-BE49-F238E27FC236}">
                <a16:creationId xmlns:a16="http://schemas.microsoft.com/office/drawing/2014/main" id="{A2BDF42F-AE44-43EF-A5C2-99A434FBD7BB}"/>
              </a:ext>
            </a:extLst>
          </p:cNvPr>
          <p:cNvSpPr txBox="1">
            <a:spLocks/>
          </p:cNvSpPr>
          <p:nvPr/>
        </p:nvSpPr>
        <p:spPr bwMode="auto">
          <a:xfrm>
            <a:off x="4367248"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7" name="Content Placeholder 7">
            <a:extLst>
              <a:ext uri="{FF2B5EF4-FFF2-40B4-BE49-F238E27FC236}">
                <a16:creationId xmlns:a16="http://schemas.microsoft.com/office/drawing/2014/main" id="{10C46C62-FD0E-45EB-BDC2-D19BD42A6BE0}"/>
              </a:ext>
            </a:extLst>
          </p:cNvPr>
          <p:cNvSpPr txBox="1">
            <a:spLocks/>
          </p:cNvSpPr>
          <p:nvPr/>
        </p:nvSpPr>
        <p:spPr bwMode="auto">
          <a:xfrm>
            <a:off x="6360372"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8" name="Content Placeholder 7">
            <a:extLst>
              <a:ext uri="{FF2B5EF4-FFF2-40B4-BE49-F238E27FC236}">
                <a16:creationId xmlns:a16="http://schemas.microsoft.com/office/drawing/2014/main" id="{84BF1634-7EE0-4E01-82C3-CBF19F22D801}"/>
              </a:ext>
            </a:extLst>
          </p:cNvPr>
          <p:cNvSpPr txBox="1">
            <a:spLocks/>
          </p:cNvSpPr>
          <p:nvPr/>
        </p:nvSpPr>
        <p:spPr bwMode="auto">
          <a:xfrm>
            <a:off x="8353496"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grpSp>
        <p:nvGrpSpPr>
          <p:cNvPr id="19" name="Group 18">
            <a:extLst>
              <a:ext uri="{FF2B5EF4-FFF2-40B4-BE49-F238E27FC236}">
                <a16:creationId xmlns:a16="http://schemas.microsoft.com/office/drawing/2014/main" id="{50881CA7-F2FE-4FE1-9593-58C662D9AF93}"/>
              </a:ext>
            </a:extLst>
          </p:cNvPr>
          <p:cNvGrpSpPr/>
          <p:nvPr/>
        </p:nvGrpSpPr>
        <p:grpSpPr>
          <a:xfrm>
            <a:off x="2110236" y="3490452"/>
            <a:ext cx="7972496" cy="2567448"/>
            <a:chOff x="2086388" y="3490452"/>
            <a:chExt cx="8030456" cy="2605548"/>
          </a:xfrm>
        </p:grpSpPr>
        <p:cxnSp>
          <p:nvCxnSpPr>
            <p:cNvPr id="20" name="Straight Connector 19">
              <a:extLst>
                <a:ext uri="{FF2B5EF4-FFF2-40B4-BE49-F238E27FC236}">
                  <a16:creationId xmlns:a16="http://schemas.microsoft.com/office/drawing/2014/main" id="{DB73A4C1-3E58-4C0F-9809-A3E9F80EE1A6}"/>
                </a:ext>
              </a:extLst>
            </p:cNvPr>
            <p:cNvCxnSpPr/>
            <p:nvPr/>
          </p:nvCxnSpPr>
          <p:spPr>
            <a:xfrm>
              <a:off x="2086388" y="3490452"/>
              <a:ext cx="0" cy="2605548"/>
            </a:xfrm>
            <a:prstGeom prst="line">
              <a:avLst/>
            </a:prstGeom>
            <a:noFill/>
            <a:ln w="19050" cap="flat" cmpd="sng" algn="ctr">
              <a:solidFill>
                <a:srgbClr val="96968C">
                  <a:lumMod val="40000"/>
                  <a:lumOff val="60000"/>
                </a:srgbClr>
              </a:solidFill>
              <a:prstDash val="sysDot"/>
            </a:ln>
            <a:effectLst/>
          </p:spPr>
        </p:cxnSp>
        <p:cxnSp>
          <p:nvCxnSpPr>
            <p:cNvPr id="21" name="Straight Connector 20">
              <a:extLst>
                <a:ext uri="{FF2B5EF4-FFF2-40B4-BE49-F238E27FC236}">
                  <a16:creationId xmlns:a16="http://schemas.microsoft.com/office/drawing/2014/main" id="{B6AE6B93-8E75-410D-BF7C-8AB3630C4559}"/>
                </a:ext>
              </a:extLst>
            </p:cNvPr>
            <p:cNvCxnSpPr/>
            <p:nvPr/>
          </p:nvCxnSpPr>
          <p:spPr>
            <a:xfrm>
              <a:off x="4094002" y="3490452"/>
              <a:ext cx="0" cy="2605548"/>
            </a:xfrm>
            <a:prstGeom prst="line">
              <a:avLst/>
            </a:prstGeom>
            <a:noFill/>
            <a:ln w="19050" cap="flat" cmpd="sng" algn="ctr">
              <a:solidFill>
                <a:srgbClr val="96968C">
                  <a:lumMod val="40000"/>
                  <a:lumOff val="60000"/>
                </a:srgbClr>
              </a:solidFill>
              <a:prstDash val="sysDot"/>
            </a:ln>
            <a:effectLst/>
          </p:spPr>
        </p:cxnSp>
        <p:cxnSp>
          <p:nvCxnSpPr>
            <p:cNvPr id="22" name="Straight Connector 21">
              <a:extLst>
                <a:ext uri="{FF2B5EF4-FFF2-40B4-BE49-F238E27FC236}">
                  <a16:creationId xmlns:a16="http://schemas.microsoft.com/office/drawing/2014/main" id="{989F7B79-C751-481E-9A82-DE1A5BB22769}"/>
                </a:ext>
              </a:extLst>
            </p:cNvPr>
            <p:cNvCxnSpPr/>
            <p:nvPr/>
          </p:nvCxnSpPr>
          <p:spPr>
            <a:xfrm>
              <a:off x="6101616" y="3490452"/>
              <a:ext cx="0" cy="2605548"/>
            </a:xfrm>
            <a:prstGeom prst="line">
              <a:avLst/>
            </a:prstGeom>
            <a:noFill/>
            <a:ln w="19050" cap="flat" cmpd="sng" algn="ctr">
              <a:solidFill>
                <a:srgbClr val="96968C">
                  <a:lumMod val="40000"/>
                  <a:lumOff val="60000"/>
                </a:srgbClr>
              </a:solidFill>
              <a:prstDash val="sysDot"/>
            </a:ln>
            <a:effectLst/>
          </p:spPr>
        </p:cxnSp>
        <p:cxnSp>
          <p:nvCxnSpPr>
            <p:cNvPr id="23" name="Straight Connector 22">
              <a:extLst>
                <a:ext uri="{FF2B5EF4-FFF2-40B4-BE49-F238E27FC236}">
                  <a16:creationId xmlns:a16="http://schemas.microsoft.com/office/drawing/2014/main" id="{617E3D91-CEE5-48DC-9A20-395DD923216F}"/>
                </a:ext>
              </a:extLst>
            </p:cNvPr>
            <p:cNvCxnSpPr/>
            <p:nvPr/>
          </p:nvCxnSpPr>
          <p:spPr>
            <a:xfrm>
              <a:off x="8109230" y="3490452"/>
              <a:ext cx="0" cy="2605548"/>
            </a:xfrm>
            <a:prstGeom prst="line">
              <a:avLst/>
            </a:prstGeom>
            <a:noFill/>
            <a:ln w="19050" cap="flat" cmpd="sng" algn="ctr">
              <a:solidFill>
                <a:srgbClr val="96968C">
                  <a:lumMod val="40000"/>
                  <a:lumOff val="60000"/>
                </a:srgbClr>
              </a:solidFill>
              <a:prstDash val="sysDot"/>
            </a:ln>
            <a:effectLst/>
          </p:spPr>
        </p:cxnSp>
        <p:cxnSp>
          <p:nvCxnSpPr>
            <p:cNvPr id="24" name="Straight Connector 23">
              <a:extLst>
                <a:ext uri="{FF2B5EF4-FFF2-40B4-BE49-F238E27FC236}">
                  <a16:creationId xmlns:a16="http://schemas.microsoft.com/office/drawing/2014/main" id="{40306021-67F7-4E8E-9066-5E7973CA67EC}"/>
                </a:ext>
              </a:extLst>
            </p:cNvPr>
            <p:cNvCxnSpPr/>
            <p:nvPr/>
          </p:nvCxnSpPr>
          <p:spPr>
            <a:xfrm>
              <a:off x="10116844" y="3490452"/>
              <a:ext cx="0" cy="2605548"/>
            </a:xfrm>
            <a:prstGeom prst="line">
              <a:avLst/>
            </a:prstGeom>
            <a:noFill/>
            <a:ln w="19050" cap="flat" cmpd="sng" algn="ctr">
              <a:solidFill>
                <a:srgbClr val="96968C">
                  <a:lumMod val="40000"/>
                  <a:lumOff val="60000"/>
                </a:srgbClr>
              </a:solidFill>
              <a:prstDash val="sysDot"/>
            </a:ln>
            <a:effectLst/>
          </p:spPr>
        </p:cxnSp>
      </p:grpSp>
      <p:sp>
        <p:nvSpPr>
          <p:cNvPr id="25" name="Content Placeholder 7">
            <a:extLst>
              <a:ext uri="{FF2B5EF4-FFF2-40B4-BE49-F238E27FC236}">
                <a16:creationId xmlns:a16="http://schemas.microsoft.com/office/drawing/2014/main" id="{2EA8CC4D-3AB6-466F-A690-72B639764BE0}"/>
              </a:ext>
            </a:extLst>
          </p:cNvPr>
          <p:cNvSpPr txBox="1">
            <a:spLocks/>
          </p:cNvSpPr>
          <p:nvPr/>
        </p:nvSpPr>
        <p:spPr bwMode="auto">
          <a:xfrm>
            <a:off x="10346622" y="3500438"/>
            <a:ext cx="1463744"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 name="Rectangle 2">
            <a:hlinkClick r:id="rId3" action="ppaction://hlinksldjump"/>
            <a:extLst>
              <a:ext uri="{FF2B5EF4-FFF2-40B4-BE49-F238E27FC236}">
                <a16:creationId xmlns:a16="http://schemas.microsoft.com/office/drawing/2014/main" id="{AE3035BD-3AE0-4126-B013-17E06F9561A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1310782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7" name="Freeform: Shape 6">
            <a:hlinkClick r:id="rId3" action="ppaction://hlinksldjump"/>
            <a:extLst>
              <a:ext uri="{FF2B5EF4-FFF2-40B4-BE49-F238E27FC236}">
                <a16:creationId xmlns:a16="http://schemas.microsoft.com/office/drawing/2014/main" id="{B3C315E4-F386-4924-B760-39ECD0D190E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cxnSp>
        <p:nvCxnSpPr>
          <p:cNvPr id="48" name="Straight Arrow Connector 47">
            <a:extLst>
              <a:ext uri="{FF2B5EF4-FFF2-40B4-BE49-F238E27FC236}">
                <a16:creationId xmlns:a16="http://schemas.microsoft.com/office/drawing/2014/main" id="{00964921-9265-4431-81D2-975D5D3D444B}"/>
              </a:ext>
            </a:extLst>
          </p:cNvPr>
          <p:cNvCxnSpPr>
            <a:stCxn id="49" idx="0"/>
            <a:endCxn id="53" idx="3"/>
          </p:cNvCxnSpPr>
          <p:nvPr/>
        </p:nvCxnSpPr>
        <p:spPr>
          <a:xfrm flipV="1">
            <a:off x="1844744" y="2382666"/>
            <a:ext cx="8501879" cy="14758"/>
          </a:xfrm>
          <a:prstGeom prst="straightConnector1">
            <a:avLst/>
          </a:prstGeom>
          <a:noFill/>
          <a:ln w="15875" cap="flat" cmpd="sng" algn="ctr">
            <a:gradFill>
              <a:gsLst>
                <a:gs pos="0">
                  <a:schemeClr val="accent3"/>
                </a:gs>
                <a:gs pos="100000">
                  <a:schemeClr val="accent1"/>
                </a:gs>
              </a:gsLst>
              <a:lin ang="1200000" scaled="0"/>
            </a:gradFill>
            <a:prstDash val="solid"/>
            <a:tailEnd type="none"/>
          </a:ln>
          <a:effectLst/>
        </p:spPr>
      </p:cxnSp>
      <p:sp>
        <p:nvSpPr>
          <p:cNvPr id="49" name="AutoShape 4">
            <a:extLst>
              <a:ext uri="{FF2B5EF4-FFF2-40B4-BE49-F238E27FC236}">
                <a16:creationId xmlns:a16="http://schemas.microsoft.com/office/drawing/2014/main" id="{7754AC0B-E57D-4D90-B1DF-8F09149C623B}"/>
              </a:ext>
            </a:extLst>
          </p:cNvPr>
          <p:cNvSpPr>
            <a:spLocks noChangeArrowheads="1"/>
          </p:cNvSpPr>
          <p:nvPr/>
        </p:nvSpPr>
        <p:spPr bwMode="auto">
          <a:xfrm>
            <a:off x="381000" y="1763713"/>
            <a:ext cx="1463744" cy="1267422"/>
          </a:xfrm>
          <a:prstGeom prst="hexagon">
            <a:avLst>
              <a:gd name="adj" fmla="val 27042"/>
              <a:gd name="vf" fmla="val 115470"/>
            </a:avLst>
          </a:prstGeom>
          <a:solidFill>
            <a:schemeClr val="accent3"/>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50" name="AutoShape 4">
            <a:extLst>
              <a:ext uri="{FF2B5EF4-FFF2-40B4-BE49-F238E27FC236}">
                <a16:creationId xmlns:a16="http://schemas.microsoft.com/office/drawing/2014/main" id="{BF07B91D-DE53-4593-9345-8CFA4DDE6A2D}"/>
              </a:ext>
            </a:extLst>
          </p:cNvPr>
          <p:cNvSpPr>
            <a:spLocks noChangeArrowheads="1"/>
          </p:cNvSpPr>
          <p:nvPr/>
        </p:nvSpPr>
        <p:spPr bwMode="auto">
          <a:xfrm>
            <a:off x="2374124" y="1763713"/>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Pace</a:t>
            </a:r>
          </a:p>
        </p:txBody>
      </p:sp>
      <p:sp>
        <p:nvSpPr>
          <p:cNvPr id="51" name="AutoShape 4">
            <a:extLst>
              <a:ext uri="{FF2B5EF4-FFF2-40B4-BE49-F238E27FC236}">
                <a16:creationId xmlns:a16="http://schemas.microsoft.com/office/drawing/2014/main" id="{1FA83C6C-FD8E-4F35-B8FB-D8EEAA5E844C}"/>
              </a:ext>
            </a:extLst>
          </p:cNvPr>
          <p:cNvSpPr>
            <a:spLocks noChangeArrowheads="1"/>
          </p:cNvSpPr>
          <p:nvPr/>
        </p:nvSpPr>
        <p:spPr bwMode="auto">
          <a:xfrm>
            <a:off x="4367248" y="1763713"/>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Certainty</a:t>
            </a:r>
          </a:p>
        </p:txBody>
      </p:sp>
      <p:sp>
        <p:nvSpPr>
          <p:cNvPr id="52" name="AutoShape 4">
            <a:extLst>
              <a:ext uri="{FF2B5EF4-FFF2-40B4-BE49-F238E27FC236}">
                <a16:creationId xmlns:a16="http://schemas.microsoft.com/office/drawing/2014/main" id="{5AB46F9F-AD6D-419B-BC49-5E1592220780}"/>
              </a:ext>
            </a:extLst>
          </p:cNvPr>
          <p:cNvSpPr>
            <a:spLocks noChangeArrowheads="1"/>
          </p:cNvSpPr>
          <p:nvPr/>
        </p:nvSpPr>
        <p:spPr bwMode="auto">
          <a:xfrm>
            <a:off x="6360372" y="1763713"/>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Strategic agility</a:t>
            </a:r>
          </a:p>
        </p:txBody>
      </p:sp>
      <p:sp>
        <p:nvSpPr>
          <p:cNvPr id="53" name="AutoShape 4">
            <a:extLst>
              <a:ext uri="{FF2B5EF4-FFF2-40B4-BE49-F238E27FC236}">
                <a16:creationId xmlns:a16="http://schemas.microsoft.com/office/drawing/2014/main" id="{F675D14A-9B45-44C1-9371-CE589D8782FF}"/>
              </a:ext>
            </a:extLst>
          </p:cNvPr>
          <p:cNvSpPr>
            <a:spLocks noChangeArrowheads="1"/>
          </p:cNvSpPr>
          <p:nvPr/>
        </p:nvSpPr>
        <p:spPr bwMode="auto">
          <a:xfrm>
            <a:off x="10346622" y="1763713"/>
            <a:ext cx="1463744" cy="1237905"/>
          </a:xfrm>
          <a:prstGeom prst="hexagon">
            <a:avLst>
              <a:gd name="adj" fmla="val 27042"/>
              <a:gd name="vf" fmla="val 115470"/>
            </a:avLst>
          </a:prstGeom>
          <a:solidFill>
            <a:schemeClr val="accent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54" name="AutoShape 4">
            <a:extLst>
              <a:ext uri="{FF2B5EF4-FFF2-40B4-BE49-F238E27FC236}">
                <a16:creationId xmlns:a16="http://schemas.microsoft.com/office/drawing/2014/main" id="{43DD6E78-3A4F-4B4C-93D1-3C89987F34C0}"/>
              </a:ext>
            </a:extLst>
          </p:cNvPr>
          <p:cNvSpPr>
            <a:spLocks noChangeArrowheads="1"/>
          </p:cNvSpPr>
          <p:nvPr/>
        </p:nvSpPr>
        <p:spPr bwMode="auto">
          <a:xfrm>
            <a:off x="8353496" y="1747995"/>
            <a:ext cx="1463744" cy="1237905"/>
          </a:xfrm>
          <a:prstGeom prst="hexagon">
            <a:avLst>
              <a:gd name="adj" fmla="val 27042"/>
              <a:gd name="vf" fmla="val 115470"/>
            </a:avLst>
          </a:prstGeom>
          <a:solidFill>
            <a:srgbClr val="96968C">
              <a:lumMod val="40000"/>
              <a:lumOff val="60000"/>
            </a:srgbClr>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Other  </a:t>
            </a:r>
            <a:br>
              <a:rPr kumimoji="0" lang="en-US" sz="1200" b="1" i="0" u="none" strike="noStrike" kern="0" cap="none" spc="0" normalizeH="0" baseline="0" noProof="0" dirty="0">
                <a:ln>
                  <a:noFill/>
                </a:ln>
                <a:effectLst/>
                <a:uLnTx/>
                <a:uFillTx/>
                <a:latin typeface="Graphik Black"/>
                <a:ea typeface="+mn-ea"/>
                <a:cs typeface="+mn-cs"/>
              </a:rPr>
            </a:br>
            <a:r>
              <a:rPr kumimoji="0" lang="en-US" sz="1100" b="0" i="0" u="none" strike="noStrike" kern="0" cap="none" spc="0" normalizeH="0" baseline="0" noProof="0" dirty="0">
                <a:ln>
                  <a:noFill/>
                </a:ln>
                <a:effectLst/>
                <a:uLnTx/>
                <a:uFillTx/>
                <a:latin typeface="Graphik"/>
                <a:ea typeface="+mn-ea"/>
                <a:cs typeface="+mn-cs"/>
              </a:rPr>
              <a:t>(if applicable)</a:t>
            </a:r>
            <a:endParaRPr kumimoji="0" lang="en-US" sz="1200" b="0" i="0" u="none" strike="noStrike" kern="0" cap="none" spc="0" normalizeH="0" baseline="0" noProof="0" dirty="0">
              <a:ln>
                <a:noFill/>
              </a:ln>
              <a:effectLst/>
              <a:uLnTx/>
              <a:uFillTx/>
              <a:latin typeface="Graphik"/>
              <a:ea typeface="+mn-ea"/>
              <a:cs typeface="+mn-cs"/>
            </a:endParaRPr>
          </a:p>
        </p:txBody>
      </p:sp>
      <p:sp>
        <p:nvSpPr>
          <p:cNvPr id="55" name="Content Placeholder 7">
            <a:extLst>
              <a:ext uri="{FF2B5EF4-FFF2-40B4-BE49-F238E27FC236}">
                <a16:creationId xmlns:a16="http://schemas.microsoft.com/office/drawing/2014/main" id="{DBAE180B-70EC-42BC-B014-8E8A513DF4DF}"/>
              </a:ext>
            </a:extLst>
          </p:cNvPr>
          <p:cNvSpPr txBox="1">
            <a:spLocks/>
          </p:cNvSpPr>
          <p:nvPr/>
        </p:nvSpPr>
        <p:spPr bwMode="auto">
          <a:xfrm>
            <a:off x="381000"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56" name="Content Placeholder 7">
            <a:extLst>
              <a:ext uri="{FF2B5EF4-FFF2-40B4-BE49-F238E27FC236}">
                <a16:creationId xmlns:a16="http://schemas.microsoft.com/office/drawing/2014/main" id="{E39C63EE-34B6-4884-9D22-F16B9315B499}"/>
              </a:ext>
            </a:extLst>
          </p:cNvPr>
          <p:cNvSpPr txBox="1">
            <a:spLocks/>
          </p:cNvSpPr>
          <p:nvPr/>
        </p:nvSpPr>
        <p:spPr bwMode="auto">
          <a:xfrm>
            <a:off x="2374124"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57" name="Content Placeholder 7">
            <a:extLst>
              <a:ext uri="{FF2B5EF4-FFF2-40B4-BE49-F238E27FC236}">
                <a16:creationId xmlns:a16="http://schemas.microsoft.com/office/drawing/2014/main" id="{E238F721-FCF9-487C-8247-308D0D7CDBBD}"/>
              </a:ext>
            </a:extLst>
          </p:cNvPr>
          <p:cNvSpPr txBox="1">
            <a:spLocks/>
          </p:cNvSpPr>
          <p:nvPr/>
        </p:nvSpPr>
        <p:spPr bwMode="auto">
          <a:xfrm>
            <a:off x="4367248"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58" name="Content Placeholder 7">
            <a:extLst>
              <a:ext uri="{FF2B5EF4-FFF2-40B4-BE49-F238E27FC236}">
                <a16:creationId xmlns:a16="http://schemas.microsoft.com/office/drawing/2014/main" id="{83DA8964-C0BD-49C1-97DF-AFBACE8E8A4D}"/>
              </a:ext>
            </a:extLst>
          </p:cNvPr>
          <p:cNvSpPr txBox="1">
            <a:spLocks/>
          </p:cNvSpPr>
          <p:nvPr/>
        </p:nvSpPr>
        <p:spPr bwMode="auto">
          <a:xfrm>
            <a:off x="6360372"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59" name="Content Placeholder 7">
            <a:extLst>
              <a:ext uri="{FF2B5EF4-FFF2-40B4-BE49-F238E27FC236}">
                <a16:creationId xmlns:a16="http://schemas.microsoft.com/office/drawing/2014/main" id="{0063A75A-1481-4825-8AA7-3D7020BC2305}"/>
              </a:ext>
            </a:extLst>
          </p:cNvPr>
          <p:cNvSpPr txBox="1">
            <a:spLocks/>
          </p:cNvSpPr>
          <p:nvPr/>
        </p:nvSpPr>
        <p:spPr bwMode="auto">
          <a:xfrm>
            <a:off x="8353496" y="3500438"/>
            <a:ext cx="146534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grpSp>
        <p:nvGrpSpPr>
          <p:cNvPr id="60" name="Group 59">
            <a:extLst>
              <a:ext uri="{FF2B5EF4-FFF2-40B4-BE49-F238E27FC236}">
                <a16:creationId xmlns:a16="http://schemas.microsoft.com/office/drawing/2014/main" id="{B4EAB64E-8707-4BC2-AF17-70DD91CA2931}"/>
              </a:ext>
            </a:extLst>
          </p:cNvPr>
          <p:cNvGrpSpPr/>
          <p:nvPr/>
        </p:nvGrpSpPr>
        <p:grpSpPr>
          <a:xfrm>
            <a:off x="2110236" y="3490452"/>
            <a:ext cx="7972496" cy="2567448"/>
            <a:chOff x="2086388" y="3490452"/>
            <a:chExt cx="8030456" cy="2605548"/>
          </a:xfrm>
        </p:grpSpPr>
        <p:cxnSp>
          <p:nvCxnSpPr>
            <p:cNvPr id="61" name="Straight Connector 60">
              <a:extLst>
                <a:ext uri="{FF2B5EF4-FFF2-40B4-BE49-F238E27FC236}">
                  <a16:creationId xmlns:a16="http://schemas.microsoft.com/office/drawing/2014/main" id="{2260A575-5BC1-4916-8195-E159124166E1}"/>
                </a:ext>
              </a:extLst>
            </p:cNvPr>
            <p:cNvCxnSpPr/>
            <p:nvPr/>
          </p:nvCxnSpPr>
          <p:spPr>
            <a:xfrm>
              <a:off x="2086388" y="3490452"/>
              <a:ext cx="0" cy="2605548"/>
            </a:xfrm>
            <a:prstGeom prst="line">
              <a:avLst/>
            </a:prstGeom>
            <a:noFill/>
            <a:ln w="19050" cap="flat" cmpd="sng" algn="ctr">
              <a:solidFill>
                <a:srgbClr val="96968C">
                  <a:lumMod val="40000"/>
                  <a:lumOff val="60000"/>
                </a:srgbClr>
              </a:solidFill>
              <a:prstDash val="sysDot"/>
            </a:ln>
            <a:effectLst/>
          </p:spPr>
        </p:cxnSp>
        <p:cxnSp>
          <p:nvCxnSpPr>
            <p:cNvPr id="62" name="Straight Connector 61">
              <a:extLst>
                <a:ext uri="{FF2B5EF4-FFF2-40B4-BE49-F238E27FC236}">
                  <a16:creationId xmlns:a16="http://schemas.microsoft.com/office/drawing/2014/main" id="{6B596186-F10E-4DD3-BAC6-C597DC7EE43B}"/>
                </a:ext>
              </a:extLst>
            </p:cNvPr>
            <p:cNvCxnSpPr/>
            <p:nvPr/>
          </p:nvCxnSpPr>
          <p:spPr>
            <a:xfrm>
              <a:off x="4094002" y="3490452"/>
              <a:ext cx="0" cy="2605548"/>
            </a:xfrm>
            <a:prstGeom prst="line">
              <a:avLst/>
            </a:prstGeom>
            <a:noFill/>
            <a:ln w="19050" cap="flat" cmpd="sng" algn="ctr">
              <a:solidFill>
                <a:srgbClr val="96968C">
                  <a:lumMod val="40000"/>
                  <a:lumOff val="60000"/>
                </a:srgbClr>
              </a:solidFill>
              <a:prstDash val="sysDot"/>
            </a:ln>
            <a:effectLst/>
          </p:spPr>
        </p:cxnSp>
        <p:cxnSp>
          <p:nvCxnSpPr>
            <p:cNvPr id="63" name="Straight Connector 62">
              <a:extLst>
                <a:ext uri="{FF2B5EF4-FFF2-40B4-BE49-F238E27FC236}">
                  <a16:creationId xmlns:a16="http://schemas.microsoft.com/office/drawing/2014/main" id="{CCF24132-1828-4458-BC05-E66F7D9D42DB}"/>
                </a:ext>
              </a:extLst>
            </p:cNvPr>
            <p:cNvCxnSpPr/>
            <p:nvPr/>
          </p:nvCxnSpPr>
          <p:spPr>
            <a:xfrm>
              <a:off x="6101616" y="3490452"/>
              <a:ext cx="0" cy="2605548"/>
            </a:xfrm>
            <a:prstGeom prst="line">
              <a:avLst/>
            </a:prstGeom>
            <a:noFill/>
            <a:ln w="19050" cap="flat" cmpd="sng" algn="ctr">
              <a:solidFill>
                <a:srgbClr val="96968C">
                  <a:lumMod val="40000"/>
                  <a:lumOff val="60000"/>
                </a:srgbClr>
              </a:solidFill>
              <a:prstDash val="sysDot"/>
            </a:ln>
            <a:effectLst/>
          </p:spPr>
        </p:cxnSp>
        <p:cxnSp>
          <p:nvCxnSpPr>
            <p:cNvPr id="64" name="Straight Connector 63">
              <a:extLst>
                <a:ext uri="{FF2B5EF4-FFF2-40B4-BE49-F238E27FC236}">
                  <a16:creationId xmlns:a16="http://schemas.microsoft.com/office/drawing/2014/main" id="{EC46A07F-8432-4F16-ADA1-A7F051ABEB76}"/>
                </a:ext>
              </a:extLst>
            </p:cNvPr>
            <p:cNvCxnSpPr/>
            <p:nvPr/>
          </p:nvCxnSpPr>
          <p:spPr>
            <a:xfrm>
              <a:off x="8109230" y="3490452"/>
              <a:ext cx="0" cy="2605548"/>
            </a:xfrm>
            <a:prstGeom prst="line">
              <a:avLst/>
            </a:prstGeom>
            <a:noFill/>
            <a:ln w="19050" cap="flat" cmpd="sng" algn="ctr">
              <a:solidFill>
                <a:srgbClr val="96968C">
                  <a:lumMod val="40000"/>
                  <a:lumOff val="60000"/>
                </a:srgbClr>
              </a:solidFill>
              <a:prstDash val="sysDot"/>
            </a:ln>
            <a:effectLst/>
          </p:spPr>
        </p:cxnSp>
        <p:cxnSp>
          <p:nvCxnSpPr>
            <p:cNvPr id="65" name="Straight Connector 64">
              <a:extLst>
                <a:ext uri="{FF2B5EF4-FFF2-40B4-BE49-F238E27FC236}">
                  <a16:creationId xmlns:a16="http://schemas.microsoft.com/office/drawing/2014/main" id="{79094639-52CA-4FCA-B615-F6A5657EF531}"/>
                </a:ext>
              </a:extLst>
            </p:cNvPr>
            <p:cNvCxnSpPr/>
            <p:nvPr/>
          </p:nvCxnSpPr>
          <p:spPr>
            <a:xfrm>
              <a:off x="10116844" y="3490452"/>
              <a:ext cx="0" cy="2605548"/>
            </a:xfrm>
            <a:prstGeom prst="line">
              <a:avLst/>
            </a:prstGeom>
            <a:noFill/>
            <a:ln w="19050" cap="flat" cmpd="sng" algn="ctr">
              <a:solidFill>
                <a:srgbClr val="96968C">
                  <a:lumMod val="40000"/>
                  <a:lumOff val="60000"/>
                </a:srgbClr>
              </a:solidFill>
              <a:prstDash val="sysDot"/>
            </a:ln>
            <a:effectLst/>
          </p:spPr>
        </p:cxnSp>
      </p:grpSp>
      <p:sp>
        <p:nvSpPr>
          <p:cNvPr id="66" name="Content Placeholder 7">
            <a:extLst>
              <a:ext uri="{FF2B5EF4-FFF2-40B4-BE49-F238E27FC236}">
                <a16:creationId xmlns:a16="http://schemas.microsoft.com/office/drawing/2014/main" id="{93B08E01-4D73-40C7-8962-335E805DB30B}"/>
              </a:ext>
            </a:extLst>
          </p:cNvPr>
          <p:cNvSpPr txBox="1">
            <a:spLocks/>
          </p:cNvSpPr>
          <p:nvPr/>
        </p:nvSpPr>
        <p:spPr bwMode="auto">
          <a:xfrm>
            <a:off x="10346622" y="3500438"/>
            <a:ext cx="1463744"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68" name="TextBox 67">
            <a:extLst>
              <a:ext uri="{FF2B5EF4-FFF2-40B4-BE49-F238E27FC236}">
                <a16:creationId xmlns:a16="http://schemas.microsoft.com/office/drawing/2014/main" id="{DC1EEA0E-2025-49A8-AEAA-6D8F231C935B}"/>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3</a:t>
            </a:r>
          </a:p>
        </p:txBody>
      </p:sp>
      <p:sp>
        <p:nvSpPr>
          <p:cNvPr id="2" name="Rectangle 1">
            <a:hlinkClick r:id="rId3" action="ppaction://hlinksldjump"/>
            <a:extLst>
              <a:ext uri="{FF2B5EF4-FFF2-40B4-BE49-F238E27FC236}">
                <a16:creationId xmlns:a16="http://schemas.microsoft.com/office/drawing/2014/main" id="{DD8AD261-2A1E-4A9B-881F-A7E4DB33EA0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80732993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US" dirty="0"/>
              <a:t>Summary of your business </a:t>
            </a:r>
            <a:br>
              <a:rPr lang="en-US" dirty="0"/>
            </a:br>
            <a:r>
              <a:rPr lang="en-US" dirty="0"/>
              <a:t>issues and outcomes</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CE906929-6143-48DD-8828-E38070382F46}"/>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4</a:t>
            </a:r>
          </a:p>
        </p:txBody>
      </p:sp>
      <p:cxnSp>
        <p:nvCxnSpPr>
          <p:cNvPr id="25" name="Straight Arrow Connector 24">
            <a:extLst>
              <a:ext uri="{FF2B5EF4-FFF2-40B4-BE49-F238E27FC236}">
                <a16:creationId xmlns:a16="http://schemas.microsoft.com/office/drawing/2014/main" id="{EA882747-3A3E-4528-9893-453E2CBCCBD8}"/>
              </a:ext>
            </a:extLst>
          </p:cNvPr>
          <p:cNvCxnSpPr/>
          <p:nvPr/>
        </p:nvCxnSpPr>
        <p:spPr>
          <a:xfrm>
            <a:off x="2268286" y="2397424"/>
            <a:ext cx="7665047" cy="0"/>
          </a:xfrm>
          <a:prstGeom prst="straightConnector1">
            <a:avLst/>
          </a:prstGeom>
          <a:noFill/>
          <a:ln w="38100" cap="flat" cmpd="sng" algn="ctr">
            <a:solidFill>
              <a:schemeClr val="accent2"/>
            </a:solidFill>
            <a:prstDash val="solid"/>
            <a:tailEnd type="triangle"/>
          </a:ln>
          <a:effectLst/>
        </p:spPr>
      </p:cxnSp>
      <p:sp>
        <p:nvSpPr>
          <p:cNvPr id="26" name="AutoShape 4">
            <a:extLst>
              <a:ext uri="{FF2B5EF4-FFF2-40B4-BE49-F238E27FC236}">
                <a16:creationId xmlns:a16="http://schemas.microsoft.com/office/drawing/2014/main" id="{EB9E1AE5-4E6D-44BE-BCAC-A0CE2F498F72}"/>
              </a:ext>
            </a:extLst>
          </p:cNvPr>
          <p:cNvSpPr>
            <a:spLocks noChangeArrowheads="1"/>
          </p:cNvSpPr>
          <p:nvPr/>
        </p:nvSpPr>
        <p:spPr bwMode="auto">
          <a:xfrm>
            <a:off x="344581" y="1763713"/>
            <a:ext cx="1474385" cy="1267422"/>
          </a:xfrm>
          <a:prstGeom prst="hexagon">
            <a:avLst>
              <a:gd name="adj" fmla="val 27042"/>
              <a:gd name="vf" fmla="val 115470"/>
            </a:avLst>
          </a:prstGeom>
          <a:solidFill>
            <a:schemeClr val="accent3"/>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27" name="AutoShape 4">
            <a:extLst>
              <a:ext uri="{FF2B5EF4-FFF2-40B4-BE49-F238E27FC236}">
                <a16:creationId xmlns:a16="http://schemas.microsoft.com/office/drawing/2014/main" id="{B0779CB6-8EAB-460F-B280-9C134732FD91}"/>
              </a:ext>
            </a:extLst>
          </p:cNvPr>
          <p:cNvSpPr>
            <a:spLocks noChangeArrowheads="1"/>
          </p:cNvSpPr>
          <p:nvPr/>
        </p:nvSpPr>
        <p:spPr bwMode="auto">
          <a:xfrm>
            <a:off x="10382653" y="1778472"/>
            <a:ext cx="1474385" cy="1237905"/>
          </a:xfrm>
          <a:prstGeom prst="hexagon">
            <a:avLst>
              <a:gd name="adj" fmla="val 27042"/>
              <a:gd name="vf" fmla="val 115470"/>
            </a:avLst>
          </a:prstGeom>
          <a:solidFill>
            <a:schemeClr val="accent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28" name="Content Placeholder 7">
            <a:extLst>
              <a:ext uri="{FF2B5EF4-FFF2-40B4-BE49-F238E27FC236}">
                <a16:creationId xmlns:a16="http://schemas.microsoft.com/office/drawing/2014/main" id="{E6AE9374-C483-43CC-825D-BBE74865F1B4}"/>
              </a:ext>
            </a:extLst>
          </p:cNvPr>
          <p:cNvSpPr txBox="1">
            <a:spLocks/>
          </p:cNvSpPr>
          <p:nvPr/>
        </p:nvSpPr>
        <p:spPr bwMode="auto">
          <a:xfrm>
            <a:off x="344581" y="3401961"/>
            <a:ext cx="1476000" cy="2655939"/>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29" name="Content Placeholder 7">
            <a:extLst>
              <a:ext uri="{FF2B5EF4-FFF2-40B4-BE49-F238E27FC236}">
                <a16:creationId xmlns:a16="http://schemas.microsoft.com/office/drawing/2014/main" id="{04BBF10F-5078-49DB-AB54-82AEACEE30EB}"/>
              </a:ext>
            </a:extLst>
          </p:cNvPr>
          <p:cNvSpPr txBox="1">
            <a:spLocks/>
          </p:cNvSpPr>
          <p:nvPr/>
        </p:nvSpPr>
        <p:spPr bwMode="auto">
          <a:xfrm>
            <a:off x="10382653" y="3401961"/>
            <a:ext cx="1474385" cy="2655939"/>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 name="Rectangle 2">
            <a:hlinkClick r:id="rId3" action="ppaction://hlinksldjump"/>
            <a:extLst>
              <a:ext uri="{FF2B5EF4-FFF2-40B4-BE49-F238E27FC236}">
                <a16:creationId xmlns:a16="http://schemas.microsoft.com/office/drawing/2014/main" id="{3F261DA6-970D-4A39-AC77-7035ACDF3C3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2104729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046E6763-0B0A-4126-95A5-609EAAC522A0}"/>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4</a:t>
            </a:r>
          </a:p>
        </p:txBody>
      </p:sp>
      <p:cxnSp>
        <p:nvCxnSpPr>
          <p:cNvPr id="25" name="Straight Arrow Connector 24">
            <a:extLst>
              <a:ext uri="{FF2B5EF4-FFF2-40B4-BE49-F238E27FC236}">
                <a16:creationId xmlns:a16="http://schemas.microsoft.com/office/drawing/2014/main" id="{B52CC826-80B8-4318-80D3-4A7579625153}"/>
              </a:ext>
            </a:extLst>
          </p:cNvPr>
          <p:cNvCxnSpPr/>
          <p:nvPr/>
        </p:nvCxnSpPr>
        <p:spPr>
          <a:xfrm>
            <a:off x="2268286" y="2397424"/>
            <a:ext cx="7665047" cy="0"/>
          </a:xfrm>
          <a:prstGeom prst="straightConnector1">
            <a:avLst/>
          </a:prstGeom>
          <a:noFill/>
          <a:ln w="38100" cap="flat" cmpd="sng" algn="ctr">
            <a:solidFill>
              <a:schemeClr val="accent2"/>
            </a:solidFill>
            <a:prstDash val="solid"/>
            <a:tailEnd type="triangle"/>
          </a:ln>
          <a:effectLst/>
        </p:spPr>
      </p:cxnSp>
      <p:sp>
        <p:nvSpPr>
          <p:cNvPr id="26" name="AutoShape 4">
            <a:extLst>
              <a:ext uri="{FF2B5EF4-FFF2-40B4-BE49-F238E27FC236}">
                <a16:creationId xmlns:a16="http://schemas.microsoft.com/office/drawing/2014/main" id="{3BF4D0A5-33A8-4F4A-B91E-EFC02E89A1C6}"/>
              </a:ext>
            </a:extLst>
          </p:cNvPr>
          <p:cNvSpPr>
            <a:spLocks noChangeArrowheads="1"/>
          </p:cNvSpPr>
          <p:nvPr/>
        </p:nvSpPr>
        <p:spPr bwMode="auto">
          <a:xfrm>
            <a:off x="344581" y="1763713"/>
            <a:ext cx="1474385" cy="1267422"/>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From issue</a:t>
            </a:r>
          </a:p>
        </p:txBody>
      </p:sp>
      <p:sp>
        <p:nvSpPr>
          <p:cNvPr id="27" name="AutoShape 4">
            <a:extLst>
              <a:ext uri="{FF2B5EF4-FFF2-40B4-BE49-F238E27FC236}">
                <a16:creationId xmlns:a16="http://schemas.microsoft.com/office/drawing/2014/main" id="{600756D4-001D-45AB-94E7-7317FA35BBA0}"/>
              </a:ext>
            </a:extLst>
          </p:cNvPr>
          <p:cNvSpPr>
            <a:spLocks noChangeArrowheads="1"/>
          </p:cNvSpPr>
          <p:nvPr/>
        </p:nvSpPr>
        <p:spPr bwMode="auto">
          <a:xfrm>
            <a:off x="10382653" y="1778472"/>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To outcome</a:t>
            </a:r>
          </a:p>
        </p:txBody>
      </p:sp>
      <p:sp>
        <p:nvSpPr>
          <p:cNvPr id="28" name="Content Placeholder 7">
            <a:extLst>
              <a:ext uri="{FF2B5EF4-FFF2-40B4-BE49-F238E27FC236}">
                <a16:creationId xmlns:a16="http://schemas.microsoft.com/office/drawing/2014/main" id="{DFF859C0-14DF-4EF1-A9CC-89A440557325}"/>
              </a:ext>
            </a:extLst>
          </p:cNvPr>
          <p:cNvSpPr txBox="1">
            <a:spLocks/>
          </p:cNvSpPr>
          <p:nvPr/>
        </p:nvSpPr>
        <p:spPr bwMode="auto">
          <a:xfrm>
            <a:off x="344581" y="4394723"/>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29" name="Content Placeholder 7">
            <a:extLst>
              <a:ext uri="{FF2B5EF4-FFF2-40B4-BE49-F238E27FC236}">
                <a16:creationId xmlns:a16="http://schemas.microsoft.com/office/drawing/2014/main" id="{82BF1311-CD98-4A15-AEB5-6A77770215DB}"/>
              </a:ext>
            </a:extLst>
          </p:cNvPr>
          <p:cNvSpPr txBox="1">
            <a:spLocks/>
          </p:cNvSpPr>
          <p:nvPr/>
        </p:nvSpPr>
        <p:spPr bwMode="auto">
          <a:xfrm>
            <a:off x="10382653" y="4394723"/>
            <a:ext cx="1474385"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0" name="AutoShape 4">
            <a:extLst>
              <a:ext uri="{FF2B5EF4-FFF2-40B4-BE49-F238E27FC236}">
                <a16:creationId xmlns:a16="http://schemas.microsoft.com/office/drawing/2014/main" id="{AC8DD002-0E01-45DB-9654-9F1A38844ACE}"/>
              </a:ext>
            </a:extLst>
          </p:cNvPr>
          <p:cNvSpPr>
            <a:spLocks noChangeArrowheads="1"/>
          </p:cNvSpPr>
          <p:nvPr/>
        </p:nvSpPr>
        <p:spPr bwMode="auto">
          <a:xfrm>
            <a:off x="2352195" y="2783008"/>
            <a:ext cx="1474385"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Pace</a:t>
            </a:r>
          </a:p>
        </p:txBody>
      </p:sp>
      <p:sp>
        <p:nvSpPr>
          <p:cNvPr id="31" name="AutoShape 4">
            <a:extLst>
              <a:ext uri="{FF2B5EF4-FFF2-40B4-BE49-F238E27FC236}">
                <a16:creationId xmlns:a16="http://schemas.microsoft.com/office/drawing/2014/main" id="{FD672B5F-3CFE-492B-B9CF-D5DA5B18FEDF}"/>
              </a:ext>
            </a:extLst>
          </p:cNvPr>
          <p:cNvSpPr>
            <a:spLocks noChangeArrowheads="1"/>
          </p:cNvSpPr>
          <p:nvPr/>
        </p:nvSpPr>
        <p:spPr bwMode="auto">
          <a:xfrm>
            <a:off x="4359809" y="2783008"/>
            <a:ext cx="1474385"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Certainty</a:t>
            </a:r>
          </a:p>
        </p:txBody>
      </p:sp>
      <p:sp>
        <p:nvSpPr>
          <p:cNvPr id="32" name="AutoShape 4">
            <a:extLst>
              <a:ext uri="{FF2B5EF4-FFF2-40B4-BE49-F238E27FC236}">
                <a16:creationId xmlns:a16="http://schemas.microsoft.com/office/drawing/2014/main" id="{072C200F-1789-448E-9BA1-098778A9EE65}"/>
              </a:ext>
            </a:extLst>
          </p:cNvPr>
          <p:cNvSpPr>
            <a:spLocks noChangeArrowheads="1"/>
          </p:cNvSpPr>
          <p:nvPr/>
        </p:nvSpPr>
        <p:spPr bwMode="auto">
          <a:xfrm>
            <a:off x="6367423" y="2783008"/>
            <a:ext cx="1474385"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Strategic agility</a:t>
            </a:r>
          </a:p>
        </p:txBody>
      </p:sp>
      <p:sp>
        <p:nvSpPr>
          <p:cNvPr id="33" name="AutoShape 4">
            <a:extLst>
              <a:ext uri="{FF2B5EF4-FFF2-40B4-BE49-F238E27FC236}">
                <a16:creationId xmlns:a16="http://schemas.microsoft.com/office/drawing/2014/main" id="{77CB18D5-AC58-475A-94C9-8DE888D4E8AF}"/>
              </a:ext>
            </a:extLst>
          </p:cNvPr>
          <p:cNvSpPr>
            <a:spLocks noChangeArrowheads="1"/>
          </p:cNvSpPr>
          <p:nvPr/>
        </p:nvSpPr>
        <p:spPr bwMode="auto">
          <a:xfrm>
            <a:off x="8375037" y="2767290"/>
            <a:ext cx="1474385" cy="1237905"/>
          </a:xfrm>
          <a:prstGeom prst="hexagon">
            <a:avLst>
              <a:gd name="adj" fmla="val 27042"/>
              <a:gd name="vf" fmla="val 115470"/>
            </a:avLst>
          </a:prstGeom>
          <a:solidFill>
            <a:schemeClr val="accent2"/>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Other  </a:t>
            </a:r>
            <a:br>
              <a:rPr kumimoji="0" lang="en-US" sz="1200" b="1" i="0" u="none" strike="noStrike" kern="0" cap="none" spc="0" normalizeH="0" baseline="0" noProof="0" dirty="0">
                <a:ln>
                  <a:noFill/>
                </a:ln>
                <a:solidFill>
                  <a:srgbClr val="FFFFFF"/>
                </a:solidFill>
                <a:effectLst/>
                <a:uLnTx/>
                <a:uFillTx/>
                <a:latin typeface="Graphik Black"/>
                <a:ea typeface="+mn-ea"/>
                <a:cs typeface="+mn-cs"/>
              </a:rPr>
            </a:br>
            <a:r>
              <a:rPr kumimoji="0" lang="en-US" sz="1200" b="0" i="0" u="none" strike="noStrike" kern="0" cap="none" spc="0" normalizeH="0" baseline="0" noProof="0" dirty="0">
                <a:ln>
                  <a:noFill/>
                </a:ln>
                <a:solidFill>
                  <a:srgbClr val="FFFFFF"/>
                </a:solidFill>
                <a:effectLst/>
                <a:uLnTx/>
                <a:uFillTx/>
                <a:latin typeface="Graphik"/>
                <a:ea typeface="+mn-ea"/>
                <a:cs typeface="+mn-cs"/>
              </a:rPr>
              <a:t>(if applicable)</a:t>
            </a:r>
          </a:p>
        </p:txBody>
      </p:sp>
      <p:sp>
        <p:nvSpPr>
          <p:cNvPr id="34" name="Content Placeholder 7">
            <a:extLst>
              <a:ext uri="{FF2B5EF4-FFF2-40B4-BE49-F238E27FC236}">
                <a16:creationId xmlns:a16="http://schemas.microsoft.com/office/drawing/2014/main" id="{7F5678E9-FD8B-4C9F-8EE8-AE44E6CB7715}"/>
              </a:ext>
            </a:extLst>
          </p:cNvPr>
          <p:cNvSpPr txBox="1">
            <a:spLocks/>
          </p:cNvSpPr>
          <p:nvPr/>
        </p:nvSpPr>
        <p:spPr bwMode="auto">
          <a:xfrm>
            <a:off x="2352195"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5" name="Content Placeholder 7">
            <a:extLst>
              <a:ext uri="{FF2B5EF4-FFF2-40B4-BE49-F238E27FC236}">
                <a16:creationId xmlns:a16="http://schemas.microsoft.com/office/drawing/2014/main" id="{3ABF8B76-8975-4D29-BFF2-D1A25DDC25A7}"/>
              </a:ext>
            </a:extLst>
          </p:cNvPr>
          <p:cNvSpPr txBox="1">
            <a:spLocks/>
          </p:cNvSpPr>
          <p:nvPr/>
        </p:nvSpPr>
        <p:spPr bwMode="auto">
          <a:xfrm>
            <a:off x="4359809"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6" name="Content Placeholder 7">
            <a:extLst>
              <a:ext uri="{FF2B5EF4-FFF2-40B4-BE49-F238E27FC236}">
                <a16:creationId xmlns:a16="http://schemas.microsoft.com/office/drawing/2014/main" id="{EB8315DA-208A-4A67-9780-989044121916}"/>
              </a:ext>
            </a:extLst>
          </p:cNvPr>
          <p:cNvSpPr txBox="1">
            <a:spLocks/>
          </p:cNvSpPr>
          <p:nvPr/>
        </p:nvSpPr>
        <p:spPr bwMode="auto">
          <a:xfrm>
            <a:off x="6367423"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7" name="Content Placeholder 7">
            <a:extLst>
              <a:ext uri="{FF2B5EF4-FFF2-40B4-BE49-F238E27FC236}">
                <a16:creationId xmlns:a16="http://schemas.microsoft.com/office/drawing/2014/main" id="{D180D6E3-FFC2-4F77-9FD7-B4F76C3AE101}"/>
              </a:ext>
            </a:extLst>
          </p:cNvPr>
          <p:cNvSpPr txBox="1">
            <a:spLocks/>
          </p:cNvSpPr>
          <p:nvPr/>
        </p:nvSpPr>
        <p:spPr bwMode="auto">
          <a:xfrm>
            <a:off x="8375037"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8" name="Rectangle 9">
            <a:extLst>
              <a:ext uri="{FF2B5EF4-FFF2-40B4-BE49-F238E27FC236}">
                <a16:creationId xmlns:a16="http://schemas.microsoft.com/office/drawing/2014/main" id="{9E1339E6-D15C-4F60-9BC5-C194828C23D2}"/>
              </a:ext>
            </a:extLst>
          </p:cNvPr>
          <p:cNvSpPr>
            <a:spLocks noChangeArrowheads="1"/>
          </p:cNvSpPr>
          <p:nvPr/>
        </p:nvSpPr>
        <p:spPr bwMode="auto">
          <a:xfrm>
            <a:off x="2352195" y="2037091"/>
            <a:ext cx="7497227" cy="340672"/>
          </a:xfrm>
          <a:prstGeom prst="rect">
            <a:avLst/>
          </a:prstGeom>
          <a:noFill/>
          <a:ln w="6350">
            <a:noFill/>
            <a:miter lim="800000"/>
            <a:headEnd/>
            <a:tailEnd/>
          </a:ln>
          <a:effectLst/>
        </p:spPr>
        <p:txBody>
          <a:bodyPr lIns="72000" tIns="72000" rIns="72000" bIns="72000" anchor="ctr" anchorCtr="0">
            <a:noAutofit/>
          </a:bodyPr>
          <a:lstStyle/>
          <a:p>
            <a:pPr marL="0" marR="0" lvl="0" indent="-17780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400" b="1" i="0" u="none" strike="noStrike" kern="1200" cap="none" spc="0" normalizeH="0" baseline="0" noProof="0" dirty="0">
                <a:ln>
                  <a:noFill/>
                </a:ln>
                <a:solidFill>
                  <a:srgbClr val="000000"/>
                </a:solidFill>
                <a:effectLst/>
                <a:uLnTx/>
                <a:uFillTx/>
                <a:latin typeface="Graphik Black"/>
                <a:ea typeface="+mn-ea"/>
                <a:cs typeface="+mn-cs"/>
              </a:rPr>
              <a:t>Text</a:t>
            </a:r>
          </a:p>
        </p:txBody>
      </p:sp>
      <p:cxnSp>
        <p:nvCxnSpPr>
          <p:cNvPr id="39" name="Straight Arrow Connector 38">
            <a:extLst>
              <a:ext uri="{FF2B5EF4-FFF2-40B4-BE49-F238E27FC236}">
                <a16:creationId xmlns:a16="http://schemas.microsoft.com/office/drawing/2014/main" id="{3F7A9D70-90DD-41E2-9E46-24D7409C8F6F}"/>
              </a:ext>
            </a:extLst>
          </p:cNvPr>
          <p:cNvCxnSpPr/>
          <p:nvPr/>
        </p:nvCxnSpPr>
        <p:spPr>
          <a:xfrm>
            <a:off x="3089387" y="2397424"/>
            <a:ext cx="0" cy="369866"/>
          </a:xfrm>
          <a:prstGeom prst="straightConnector1">
            <a:avLst/>
          </a:prstGeom>
          <a:noFill/>
          <a:ln w="9525" cap="flat" cmpd="sng" algn="ctr">
            <a:solidFill>
              <a:schemeClr val="accent2"/>
            </a:solidFill>
            <a:prstDash val="solid"/>
            <a:headEnd type="triangle"/>
            <a:tailEnd type="triangle"/>
          </a:ln>
          <a:effectLst/>
        </p:spPr>
      </p:cxnSp>
      <p:cxnSp>
        <p:nvCxnSpPr>
          <p:cNvPr id="40" name="Straight Arrow Connector 39">
            <a:extLst>
              <a:ext uri="{FF2B5EF4-FFF2-40B4-BE49-F238E27FC236}">
                <a16:creationId xmlns:a16="http://schemas.microsoft.com/office/drawing/2014/main" id="{8CA1C682-E417-4382-B76A-059571414FF0}"/>
              </a:ext>
            </a:extLst>
          </p:cNvPr>
          <p:cNvCxnSpPr/>
          <p:nvPr/>
        </p:nvCxnSpPr>
        <p:spPr>
          <a:xfrm>
            <a:off x="5097001" y="2397424"/>
            <a:ext cx="0" cy="369866"/>
          </a:xfrm>
          <a:prstGeom prst="straightConnector1">
            <a:avLst/>
          </a:prstGeom>
          <a:noFill/>
          <a:ln w="9525" cap="flat" cmpd="sng" algn="ctr">
            <a:solidFill>
              <a:schemeClr val="accent2"/>
            </a:solidFill>
            <a:prstDash val="solid"/>
            <a:headEnd type="triangle"/>
            <a:tailEnd type="triangle"/>
          </a:ln>
          <a:effectLst/>
        </p:spPr>
      </p:cxnSp>
      <p:cxnSp>
        <p:nvCxnSpPr>
          <p:cNvPr id="41" name="Straight Arrow Connector 40">
            <a:extLst>
              <a:ext uri="{FF2B5EF4-FFF2-40B4-BE49-F238E27FC236}">
                <a16:creationId xmlns:a16="http://schemas.microsoft.com/office/drawing/2014/main" id="{58E5D210-4819-4BB6-8126-5081320D0088}"/>
              </a:ext>
            </a:extLst>
          </p:cNvPr>
          <p:cNvCxnSpPr/>
          <p:nvPr/>
        </p:nvCxnSpPr>
        <p:spPr>
          <a:xfrm>
            <a:off x="7104615" y="2397424"/>
            <a:ext cx="0" cy="369866"/>
          </a:xfrm>
          <a:prstGeom prst="straightConnector1">
            <a:avLst/>
          </a:prstGeom>
          <a:noFill/>
          <a:ln w="9525" cap="flat" cmpd="sng" algn="ctr">
            <a:solidFill>
              <a:schemeClr val="accent2"/>
            </a:solidFill>
            <a:prstDash val="solid"/>
            <a:headEnd type="triangle"/>
            <a:tailEnd type="triangle"/>
          </a:ln>
          <a:effectLst/>
        </p:spPr>
      </p:cxnSp>
      <p:cxnSp>
        <p:nvCxnSpPr>
          <p:cNvPr id="42" name="Straight Arrow Connector 41">
            <a:extLst>
              <a:ext uri="{FF2B5EF4-FFF2-40B4-BE49-F238E27FC236}">
                <a16:creationId xmlns:a16="http://schemas.microsoft.com/office/drawing/2014/main" id="{D92FDD7C-2572-4F73-93D5-1AF6B1CEC5E8}"/>
              </a:ext>
            </a:extLst>
          </p:cNvPr>
          <p:cNvCxnSpPr/>
          <p:nvPr/>
        </p:nvCxnSpPr>
        <p:spPr>
          <a:xfrm>
            <a:off x="9112229" y="2397424"/>
            <a:ext cx="0" cy="369866"/>
          </a:xfrm>
          <a:prstGeom prst="straightConnector1">
            <a:avLst/>
          </a:prstGeom>
          <a:noFill/>
          <a:ln w="9525" cap="flat" cmpd="sng" algn="ctr">
            <a:solidFill>
              <a:schemeClr val="accent2"/>
            </a:solidFill>
            <a:prstDash val="solid"/>
            <a:headEnd type="triangle"/>
            <a:tailEnd type="triangle"/>
          </a:ln>
          <a:effectLst/>
        </p:spPr>
      </p:cxnSp>
      <p:sp>
        <p:nvSpPr>
          <p:cNvPr id="3" name="Rectangle 2">
            <a:hlinkClick r:id="rId3" action="ppaction://hlinksldjump"/>
            <a:extLst>
              <a:ext uri="{FF2B5EF4-FFF2-40B4-BE49-F238E27FC236}">
                <a16:creationId xmlns:a16="http://schemas.microsoft.com/office/drawing/2014/main" id="{2658FA81-E0C4-45A2-9B45-0810FC67B4C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2308549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5036D664-B6DD-48AC-BCB0-837CE9588C46}"/>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4</a:t>
            </a:r>
          </a:p>
        </p:txBody>
      </p:sp>
      <p:sp>
        <p:nvSpPr>
          <p:cNvPr id="8" name="AutoShape 4">
            <a:extLst>
              <a:ext uri="{FF2B5EF4-FFF2-40B4-BE49-F238E27FC236}">
                <a16:creationId xmlns:a16="http://schemas.microsoft.com/office/drawing/2014/main" id="{6CCD98D6-B1E2-453D-B657-E5037BF97263}"/>
              </a:ext>
            </a:extLst>
          </p:cNvPr>
          <p:cNvSpPr>
            <a:spLocks noChangeArrowheads="1"/>
          </p:cNvSpPr>
          <p:nvPr/>
        </p:nvSpPr>
        <p:spPr bwMode="auto">
          <a:xfrm>
            <a:off x="344581" y="1763713"/>
            <a:ext cx="1474385" cy="1267422"/>
          </a:xfrm>
          <a:prstGeom prst="hexagon">
            <a:avLst>
              <a:gd name="adj" fmla="val 27042"/>
              <a:gd name="vf" fmla="val 115470"/>
            </a:avLst>
          </a:prstGeom>
          <a:solidFill>
            <a:schemeClr val="accent3"/>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9" name="AutoShape 4">
            <a:extLst>
              <a:ext uri="{FF2B5EF4-FFF2-40B4-BE49-F238E27FC236}">
                <a16:creationId xmlns:a16="http://schemas.microsoft.com/office/drawing/2014/main" id="{4FBFEC0F-9A17-41CA-8AA2-67C6576E70B1}"/>
              </a:ext>
            </a:extLst>
          </p:cNvPr>
          <p:cNvSpPr>
            <a:spLocks noChangeArrowheads="1"/>
          </p:cNvSpPr>
          <p:nvPr/>
        </p:nvSpPr>
        <p:spPr bwMode="auto">
          <a:xfrm>
            <a:off x="10382653" y="1778472"/>
            <a:ext cx="1474385" cy="1237905"/>
          </a:xfrm>
          <a:prstGeom prst="hexagon">
            <a:avLst>
              <a:gd name="adj" fmla="val 27042"/>
              <a:gd name="vf" fmla="val 115470"/>
            </a:avLst>
          </a:prstGeom>
          <a:solidFill>
            <a:schemeClr val="accent1"/>
          </a:solid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10" name="Content Placeholder 7">
            <a:extLst>
              <a:ext uri="{FF2B5EF4-FFF2-40B4-BE49-F238E27FC236}">
                <a16:creationId xmlns:a16="http://schemas.microsoft.com/office/drawing/2014/main" id="{E7D707CD-F36F-4BA7-9867-346B1E15CD5D}"/>
              </a:ext>
            </a:extLst>
          </p:cNvPr>
          <p:cNvSpPr txBox="1">
            <a:spLocks/>
          </p:cNvSpPr>
          <p:nvPr/>
        </p:nvSpPr>
        <p:spPr bwMode="auto">
          <a:xfrm>
            <a:off x="344581" y="4394723"/>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1" name="Content Placeholder 7">
            <a:extLst>
              <a:ext uri="{FF2B5EF4-FFF2-40B4-BE49-F238E27FC236}">
                <a16:creationId xmlns:a16="http://schemas.microsoft.com/office/drawing/2014/main" id="{7C039B41-2AF6-4F05-9017-C0C0FF6E695D}"/>
              </a:ext>
            </a:extLst>
          </p:cNvPr>
          <p:cNvSpPr txBox="1">
            <a:spLocks/>
          </p:cNvSpPr>
          <p:nvPr/>
        </p:nvSpPr>
        <p:spPr bwMode="auto">
          <a:xfrm>
            <a:off x="10382653" y="4394723"/>
            <a:ext cx="1474385"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2" name="AutoShape 4">
            <a:extLst>
              <a:ext uri="{FF2B5EF4-FFF2-40B4-BE49-F238E27FC236}">
                <a16:creationId xmlns:a16="http://schemas.microsoft.com/office/drawing/2014/main" id="{FED66C81-2961-48C2-AB99-E04120805D2D}"/>
              </a:ext>
            </a:extLst>
          </p:cNvPr>
          <p:cNvSpPr>
            <a:spLocks noChangeArrowheads="1"/>
          </p:cNvSpPr>
          <p:nvPr/>
        </p:nvSpPr>
        <p:spPr bwMode="auto">
          <a:xfrm>
            <a:off x="2352195" y="2783008"/>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Pace</a:t>
            </a:r>
          </a:p>
        </p:txBody>
      </p:sp>
      <p:sp>
        <p:nvSpPr>
          <p:cNvPr id="13" name="AutoShape 4">
            <a:extLst>
              <a:ext uri="{FF2B5EF4-FFF2-40B4-BE49-F238E27FC236}">
                <a16:creationId xmlns:a16="http://schemas.microsoft.com/office/drawing/2014/main" id="{0CF2E8CA-EA5E-4856-B9E0-3F4A2171021C}"/>
              </a:ext>
            </a:extLst>
          </p:cNvPr>
          <p:cNvSpPr>
            <a:spLocks noChangeArrowheads="1"/>
          </p:cNvSpPr>
          <p:nvPr/>
        </p:nvSpPr>
        <p:spPr bwMode="auto">
          <a:xfrm>
            <a:off x="4359809" y="2783008"/>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Certainty</a:t>
            </a:r>
          </a:p>
        </p:txBody>
      </p:sp>
      <p:sp>
        <p:nvSpPr>
          <p:cNvPr id="14" name="AutoShape 4">
            <a:extLst>
              <a:ext uri="{FF2B5EF4-FFF2-40B4-BE49-F238E27FC236}">
                <a16:creationId xmlns:a16="http://schemas.microsoft.com/office/drawing/2014/main" id="{5713AA75-CF05-4A6C-9974-805D129BCE86}"/>
              </a:ext>
            </a:extLst>
          </p:cNvPr>
          <p:cNvSpPr>
            <a:spLocks noChangeArrowheads="1"/>
          </p:cNvSpPr>
          <p:nvPr/>
        </p:nvSpPr>
        <p:spPr bwMode="auto">
          <a:xfrm>
            <a:off x="6367423" y="2783008"/>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Strategic agility</a:t>
            </a:r>
          </a:p>
        </p:txBody>
      </p:sp>
      <p:sp>
        <p:nvSpPr>
          <p:cNvPr id="15" name="AutoShape 4">
            <a:extLst>
              <a:ext uri="{FF2B5EF4-FFF2-40B4-BE49-F238E27FC236}">
                <a16:creationId xmlns:a16="http://schemas.microsoft.com/office/drawing/2014/main" id="{69D33915-7EEB-4D44-A7E6-CD523B420B8A}"/>
              </a:ext>
            </a:extLst>
          </p:cNvPr>
          <p:cNvSpPr>
            <a:spLocks noChangeArrowheads="1"/>
          </p:cNvSpPr>
          <p:nvPr/>
        </p:nvSpPr>
        <p:spPr bwMode="auto">
          <a:xfrm>
            <a:off x="8375037" y="2767290"/>
            <a:ext cx="1474385" cy="1237905"/>
          </a:xfrm>
          <a:prstGeom prst="hexagon">
            <a:avLst>
              <a:gd name="adj" fmla="val 27042"/>
              <a:gd name="vf" fmla="val 115470"/>
            </a:avLst>
          </a:prstGeom>
          <a:pattFill prst="dkUpDiag">
            <a:fgClr>
              <a:srgbClr val="96968C">
                <a:lumMod val="40000"/>
                <a:lumOff val="60000"/>
              </a:srgbClr>
            </a:fgClr>
            <a:bgClr>
              <a:srgbClr val="FFFFFF"/>
            </a:bgClr>
          </a:patt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Other  </a:t>
            </a:r>
            <a:br>
              <a:rPr kumimoji="0" lang="en-US" sz="1200" b="1" i="0" u="none" strike="noStrike" kern="0" cap="none" spc="0" normalizeH="0" baseline="0" noProof="0" dirty="0">
                <a:ln>
                  <a:noFill/>
                </a:ln>
                <a:effectLst/>
                <a:uLnTx/>
                <a:uFillTx/>
                <a:latin typeface="Graphik Black"/>
                <a:ea typeface="+mn-ea"/>
                <a:cs typeface="+mn-cs"/>
              </a:rPr>
            </a:br>
            <a:r>
              <a:rPr kumimoji="0" lang="en-US" sz="1200" b="0" i="0" u="none" strike="noStrike" kern="0" cap="none" spc="0" normalizeH="0" baseline="0" noProof="0" dirty="0">
                <a:ln>
                  <a:noFill/>
                </a:ln>
                <a:effectLst/>
                <a:uLnTx/>
                <a:uFillTx/>
                <a:latin typeface="Graphik"/>
                <a:ea typeface="+mn-ea"/>
                <a:cs typeface="+mn-cs"/>
              </a:rPr>
              <a:t>(if applicable)</a:t>
            </a:r>
          </a:p>
        </p:txBody>
      </p:sp>
      <p:sp>
        <p:nvSpPr>
          <p:cNvPr id="16" name="Content Placeholder 7">
            <a:extLst>
              <a:ext uri="{FF2B5EF4-FFF2-40B4-BE49-F238E27FC236}">
                <a16:creationId xmlns:a16="http://schemas.microsoft.com/office/drawing/2014/main" id="{361F8704-74B8-4905-8401-A551EFF0926C}"/>
              </a:ext>
            </a:extLst>
          </p:cNvPr>
          <p:cNvSpPr txBox="1">
            <a:spLocks/>
          </p:cNvSpPr>
          <p:nvPr/>
        </p:nvSpPr>
        <p:spPr bwMode="auto">
          <a:xfrm>
            <a:off x="2352195"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7" name="Content Placeholder 7">
            <a:extLst>
              <a:ext uri="{FF2B5EF4-FFF2-40B4-BE49-F238E27FC236}">
                <a16:creationId xmlns:a16="http://schemas.microsoft.com/office/drawing/2014/main" id="{26DB82C6-DE91-4605-B18F-B676458001EE}"/>
              </a:ext>
            </a:extLst>
          </p:cNvPr>
          <p:cNvSpPr txBox="1">
            <a:spLocks/>
          </p:cNvSpPr>
          <p:nvPr/>
        </p:nvSpPr>
        <p:spPr bwMode="auto">
          <a:xfrm>
            <a:off x="4359809"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8" name="Content Placeholder 7">
            <a:extLst>
              <a:ext uri="{FF2B5EF4-FFF2-40B4-BE49-F238E27FC236}">
                <a16:creationId xmlns:a16="http://schemas.microsoft.com/office/drawing/2014/main" id="{9BAC9544-34F0-4054-86CB-CE390396EB95}"/>
              </a:ext>
            </a:extLst>
          </p:cNvPr>
          <p:cNvSpPr txBox="1">
            <a:spLocks/>
          </p:cNvSpPr>
          <p:nvPr/>
        </p:nvSpPr>
        <p:spPr bwMode="auto">
          <a:xfrm>
            <a:off x="6367423"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9" name="Content Placeholder 7">
            <a:extLst>
              <a:ext uri="{FF2B5EF4-FFF2-40B4-BE49-F238E27FC236}">
                <a16:creationId xmlns:a16="http://schemas.microsoft.com/office/drawing/2014/main" id="{016F91E6-1C3D-41DF-A5DB-59FA4A463E02}"/>
              </a:ext>
            </a:extLst>
          </p:cNvPr>
          <p:cNvSpPr txBox="1">
            <a:spLocks/>
          </p:cNvSpPr>
          <p:nvPr/>
        </p:nvSpPr>
        <p:spPr bwMode="auto">
          <a:xfrm>
            <a:off x="8375037" y="4394722"/>
            <a:ext cx="1476000" cy="1663177"/>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20" name="Rectangle 9">
            <a:extLst>
              <a:ext uri="{FF2B5EF4-FFF2-40B4-BE49-F238E27FC236}">
                <a16:creationId xmlns:a16="http://schemas.microsoft.com/office/drawing/2014/main" id="{6DE851D6-843F-4B73-8585-50C7D019134F}"/>
              </a:ext>
            </a:extLst>
          </p:cNvPr>
          <p:cNvSpPr>
            <a:spLocks noChangeArrowheads="1"/>
          </p:cNvSpPr>
          <p:nvPr/>
        </p:nvSpPr>
        <p:spPr bwMode="auto">
          <a:xfrm>
            <a:off x="2352195" y="2037091"/>
            <a:ext cx="7497227" cy="340672"/>
          </a:xfrm>
          <a:prstGeom prst="rect">
            <a:avLst/>
          </a:prstGeom>
          <a:noFill/>
          <a:ln w="6350">
            <a:noFill/>
            <a:miter lim="800000"/>
            <a:headEnd/>
            <a:tailEnd/>
          </a:ln>
          <a:effectLst/>
        </p:spPr>
        <p:txBody>
          <a:bodyPr lIns="72000" tIns="72000" rIns="72000" bIns="72000" anchor="ctr" anchorCtr="0">
            <a:noAutofit/>
          </a:bodyPr>
          <a:lstStyle/>
          <a:p>
            <a:pPr marL="0" marR="0" lvl="0" indent="-17780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400" b="1" i="0" u="none" strike="noStrike" kern="1200" cap="none" spc="0" normalizeH="0" baseline="0" noProof="0" dirty="0">
                <a:ln>
                  <a:noFill/>
                </a:ln>
                <a:solidFill>
                  <a:srgbClr val="000000"/>
                </a:solidFill>
                <a:effectLst/>
                <a:uLnTx/>
                <a:uFillTx/>
                <a:latin typeface="Graphik Black"/>
                <a:ea typeface="+mn-ea"/>
                <a:cs typeface="+mn-cs"/>
              </a:rPr>
              <a:t>Text</a:t>
            </a:r>
          </a:p>
        </p:txBody>
      </p:sp>
      <p:sp>
        <p:nvSpPr>
          <p:cNvPr id="3" name="Rectangle 2">
            <a:hlinkClick r:id="rId3" action="ppaction://hlinksldjump"/>
            <a:extLst>
              <a:ext uri="{FF2B5EF4-FFF2-40B4-BE49-F238E27FC236}">
                <a16:creationId xmlns:a16="http://schemas.microsoft.com/office/drawing/2014/main" id="{23986061-EFFE-4DAF-BCFA-C7E896EF257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25" name="Straight Arrow Connector 24">
            <a:extLst>
              <a:ext uri="{FF2B5EF4-FFF2-40B4-BE49-F238E27FC236}">
                <a16:creationId xmlns:a16="http://schemas.microsoft.com/office/drawing/2014/main" id="{944C45AB-E499-4DCD-8D66-A3E24E1312FC}"/>
              </a:ext>
            </a:extLst>
          </p:cNvPr>
          <p:cNvCxnSpPr/>
          <p:nvPr/>
        </p:nvCxnSpPr>
        <p:spPr>
          <a:xfrm>
            <a:off x="2268286" y="2397424"/>
            <a:ext cx="7665047" cy="0"/>
          </a:xfrm>
          <a:prstGeom prst="straightConnector1">
            <a:avLst/>
          </a:prstGeom>
          <a:noFill/>
          <a:ln w="38100" cap="flat" cmpd="sng" algn="ctr">
            <a:solidFill>
              <a:schemeClr val="accent2"/>
            </a:solidFill>
            <a:prstDash val="solid"/>
            <a:tailEnd type="triangle"/>
          </a:ln>
          <a:effectLst/>
        </p:spPr>
      </p:cxnSp>
      <p:cxnSp>
        <p:nvCxnSpPr>
          <p:cNvPr id="26" name="Straight Arrow Connector 25">
            <a:extLst>
              <a:ext uri="{FF2B5EF4-FFF2-40B4-BE49-F238E27FC236}">
                <a16:creationId xmlns:a16="http://schemas.microsoft.com/office/drawing/2014/main" id="{8038C523-60C2-470F-A372-07F706BD38D9}"/>
              </a:ext>
            </a:extLst>
          </p:cNvPr>
          <p:cNvCxnSpPr/>
          <p:nvPr/>
        </p:nvCxnSpPr>
        <p:spPr>
          <a:xfrm>
            <a:off x="3089387" y="2397424"/>
            <a:ext cx="0" cy="369866"/>
          </a:xfrm>
          <a:prstGeom prst="straightConnector1">
            <a:avLst/>
          </a:prstGeom>
          <a:noFill/>
          <a:ln w="9525" cap="flat" cmpd="sng" algn="ctr">
            <a:solidFill>
              <a:schemeClr val="accent2"/>
            </a:solidFill>
            <a:prstDash val="solid"/>
            <a:headEnd type="triangle"/>
            <a:tailEnd type="triangle"/>
          </a:ln>
          <a:effectLst/>
        </p:spPr>
      </p:cxnSp>
      <p:cxnSp>
        <p:nvCxnSpPr>
          <p:cNvPr id="27" name="Straight Arrow Connector 26">
            <a:extLst>
              <a:ext uri="{FF2B5EF4-FFF2-40B4-BE49-F238E27FC236}">
                <a16:creationId xmlns:a16="http://schemas.microsoft.com/office/drawing/2014/main" id="{D5EC41C7-B26B-44DA-BF07-3E46301579F0}"/>
              </a:ext>
            </a:extLst>
          </p:cNvPr>
          <p:cNvCxnSpPr/>
          <p:nvPr/>
        </p:nvCxnSpPr>
        <p:spPr>
          <a:xfrm>
            <a:off x="5097001" y="2397424"/>
            <a:ext cx="0" cy="369866"/>
          </a:xfrm>
          <a:prstGeom prst="straightConnector1">
            <a:avLst/>
          </a:prstGeom>
          <a:noFill/>
          <a:ln w="9525" cap="flat" cmpd="sng" algn="ctr">
            <a:solidFill>
              <a:schemeClr val="accent2"/>
            </a:solidFill>
            <a:prstDash val="solid"/>
            <a:headEnd type="triangle"/>
            <a:tailEnd type="triangle"/>
          </a:ln>
          <a:effectLst/>
        </p:spPr>
      </p:cxnSp>
      <p:cxnSp>
        <p:nvCxnSpPr>
          <p:cNvPr id="28" name="Straight Arrow Connector 27">
            <a:extLst>
              <a:ext uri="{FF2B5EF4-FFF2-40B4-BE49-F238E27FC236}">
                <a16:creationId xmlns:a16="http://schemas.microsoft.com/office/drawing/2014/main" id="{D5E31667-9B0D-4C52-B024-7E502C48857D}"/>
              </a:ext>
            </a:extLst>
          </p:cNvPr>
          <p:cNvCxnSpPr/>
          <p:nvPr/>
        </p:nvCxnSpPr>
        <p:spPr>
          <a:xfrm>
            <a:off x="7104615" y="2397424"/>
            <a:ext cx="0" cy="369866"/>
          </a:xfrm>
          <a:prstGeom prst="straightConnector1">
            <a:avLst/>
          </a:prstGeom>
          <a:noFill/>
          <a:ln w="9525" cap="flat" cmpd="sng" algn="ctr">
            <a:solidFill>
              <a:schemeClr val="accent2"/>
            </a:solidFill>
            <a:prstDash val="solid"/>
            <a:headEnd type="triangle"/>
            <a:tailEnd type="triangle"/>
          </a:ln>
          <a:effectLst/>
        </p:spPr>
      </p:cxnSp>
      <p:cxnSp>
        <p:nvCxnSpPr>
          <p:cNvPr id="29" name="Straight Arrow Connector 28">
            <a:extLst>
              <a:ext uri="{FF2B5EF4-FFF2-40B4-BE49-F238E27FC236}">
                <a16:creationId xmlns:a16="http://schemas.microsoft.com/office/drawing/2014/main" id="{5274557E-953B-4B0A-A144-49E584E23954}"/>
              </a:ext>
            </a:extLst>
          </p:cNvPr>
          <p:cNvCxnSpPr/>
          <p:nvPr/>
        </p:nvCxnSpPr>
        <p:spPr>
          <a:xfrm>
            <a:off x="9112229" y="2397424"/>
            <a:ext cx="0" cy="369866"/>
          </a:xfrm>
          <a:prstGeom prst="straightConnector1">
            <a:avLst/>
          </a:prstGeom>
          <a:noFill/>
          <a:ln w="9525" cap="flat" cmpd="sng" algn="ctr">
            <a:solidFill>
              <a:schemeClr val="accent2"/>
            </a:solidFill>
            <a:prstDash val="solid"/>
            <a:headEnd type="triangle"/>
            <a:tailEnd type="triangle"/>
          </a:ln>
          <a:effectLst/>
        </p:spPr>
      </p:cxnSp>
    </p:spTree>
    <p:extLst>
      <p:ext uri="{BB962C8B-B14F-4D97-AF65-F5344CB8AC3E}">
        <p14:creationId xmlns:p14="http://schemas.microsoft.com/office/powerpoint/2010/main" val="3983574618"/>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US" dirty="0"/>
              <a:t>Summary of your business </a:t>
            </a:r>
            <a:br>
              <a:rPr lang="en-US" dirty="0"/>
            </a:br>
            <a:r>
              <a:rPr lang="en-US" dirty="0"/>
              <a:t>issues and outcomes</a:t>
            </a:r>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CE906929-6143-48DD-8828-E38070382F46}"/>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5</a:t>
            </a:r>
          </a:p>
        </p:txBody>
      </p:sp>
      <p:sp>
        <p:nvSpPr>
          <p:cNvPr id="5" name="Chevron 23">
            <a:extLst>
              <a:ext uri="{FF2B5EF4-FFF2-40B4-BE49-F238E27FC236}">
                <a16:creationId xmlns:a16="http://schemas.microsoft.com/office/drawing/2014/main" id="{09C8DCEF-E8F8-421C-8524-5E27F8F310D6}"/>
              </a:ext>
            </a:extLst>
          </p:cNvPr>
          <p:cNvSpPr/>
          <p:nvPr/>
        </p:nvSpPr>
        <p:spPr bwMode="auto">
          <a:xfrm>
            <a:off x="9672542" y="1763714"/>
            <a:ext cx="2182907" cy="1214436"/>
          </a:xfrm>
          <a:prstGeom prst="chevron">
            <a:avLst>
              <a:gd name="adj" fmla="val 20913"/>
            </a:avLst>
          </a:prstGeom>
          <a:solidFill>
            <a:schemeClr val="accent2"/>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7" name="Chevron 24">
            <a:extLst>
              <a:ext uri="{FF2B5EF4-FFF2-40B4-BE49-F238E27FC236}">
                <a16:creationId xmlns:a16="http://schemas.microsoft.com/office/drawing/2014/main" id="{40EF9840-404B-47B3-BBD9-9791C5A8686F}"/>
              </a:ext>
            </a:extLst>
          </p:cNvPr>
          <p:cNvSpPr/>
          <p:nvPr/>
        </p:nvSpPr>
        <p:spPr bwMode="auto">
          <a:xfrm>
            <a:off x="344580" y="1763713"/>
            <a:ext cx="2182907" cy="1214436"/>
          </a:xfrm>
          <a:prstGeom prst="chevron">
            <a:avLst>
              <a:gd name="adj" fmla="val 20913"/>
            </a:avLst>
          </a:prstGeom>
          <a:solidFill>
            <a:schemeClr val="accent3"/>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8" name="Content Placeholder 7">
            <a:extLst>
              <a:ext uri="{FF2B5EF4-FFF2-40B4-BE49-F238E27FC236}">
                <a16:creationId xmlns:a16="http://schemas.microsoft.com/office/drawing/2014/main" id="{763DECBA-D914-4555-A858-71187F39A711}"/>
              </a:ext>
            </a:extLst>
          </p:cNvPr>
          <p:cNvSpPr txBox="1">
            <a:spLocks/>
          </p:cNvSpPr>
          <p:nvPr/>
        </p:nvSpPr>
        <p:spPr bwMode="auto">
          <a:xfrm>
            <a:off x="344581"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9" name="Content Placeholder 7">
            <a:extLst>
              <a:ext uri="{FF2B5EF4-FFF2-40B4-BE49-F238E27FC236}">
                <a16:creationId xmlns:a16="http://schemas.microsoft.com/office/drawing/2014/main" id="{9079B8CE-B92F-406D-87EC-F678B36C58B4}"/>
              </a:ext>
            </a:extLst>
          </p:cNvPr>
          <p:cNvSpPr txBox="1">
            <a:spLocks/>
          </p:cNvSpPr>
          <p:nvPr/>
        </p:nvSpPr>
        <p:spPr bwMode="auto">
          <a:xfrm>
            <a:off x="10026802" y="3500438"/>
            <a:ext cx="1474385"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3" name="Rectangle 2">
            <a:hlinkClick r:id="rId3" action="ppaction://hlinksldjump"/>
            <a:extLst>
              <a:ext uri="{FF2B5EF4-FFF2-40B4-BE49-F238E27FC236}">
                <a16:creationId xmlns:a16="http://schemas.microsoft.com/office/drawing/2014/main" id="{2CFB0033-041D-449F-A17C-0A5EEEB7DF5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9127660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understanding of the </a:t>
            </a:r>
            <a:br>
              <a:rPr lang="en-ZA" dirty="0"/>
            </a:br>
            <a:r>
              <a:rPr lang="en-ZA" dirty="0"/>
              <a:t>critical considerations</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046E6763-0B0A-4126-95A5-609EAAC522A0}"/>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5</a:t>
            </a:r>
          </a:p>
        </p:txBody>
      </p:sp>
      <p:sp>
        <p:nvSpPr>
          <p:cNvPr id="5" name="Chevron 23">
            <a:extLst>
              <a:ext uri="{FF2B5EF4-FFF2-40B4-BE49-F238E27FC236}">
                <a16:creationId xmlns:a16="http://schemas.microsoft.com/office/drawing/2014/main" id="{86C6F08B-B349-4BED-BF1B-EC58F13641C3}"/>
              </a:ext>
            </a:extLst>
          </p:cNvPr>
          <p:cNvSpPr/>
          <p:nvPr/>
        </p:nvSpPr>
        <p:spPr bwMode="auto">
          <a:xfrm>
            <a:off x="9672542" y="1763714"/>
            <a:ext cx="2182907" cy="1214436"/>
          </a:xfrm>
          <a:prstGeom prst="chevron">
            <a:avLst>
              <a:gd name="adj" fmla="val 20913"/>
            </a:avLst>
          </a:prstGeom>
          <a:solidFill>
            <a:srgbClr val="96968C">
              <a:lumMod val="60000"/>
              <a:lumOff val="40000"/>
            </a:srgbClr>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7" name="Chevron 22">
            <a:extLst>
              <a:ext uri="{FF2B5EF4-FFF2-40B4-BE49-F238E27FC236}">
                <a16:creationId xmlns:a16="http://schemas.microsoft.com/office/drawing/2014/main" id="{4EA9C50E-9056-4C6D-8DCC-30F21065FCE7}"/>
              </a:ext>
            </a:extLst>
          </p:cNvPr>
          <p:cNvSpPr/>
          <p:nvPr/>
        </p:nvSpPr>
        <p:spPr bwMode="auto">
          <a:xfrm>
            <a:off x="2422230" y="1769495"/>
            <a:ext cx="7362756" cy="1214436"/>
          </a:xfrm>
          <a:prstGeom prst="chevron">
            <a:avLst>
              <a:gd name="adj" fmla="val 20913"/>
            </a:avLst>
          </a:prstGeom>
          <a:pattFill prst="dkUpDiag">
            <a:fgClr>
              <a:srgbClr val="96968C">
                <a:lumMod val="40000"/>
                <a:lumOff val="60000"/>
              </a:srgbClr>
            </a:fgClr>
            <a:bgClr>
              <a:srgbClr val="FFFFFF"/>
            </a:bgClr>
          </a:patt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0" cap="none" spc="0" normalizeH="0" baseline="0" noProof="0" dirty="0" err="1">
              <a:ln>
                <a:noFill/>
              </a:ln>
              <a:solidFill>
                <a:srgbClr val="FFFFFF"/>
              </a:solidFill>
              <a:effectLst/>
              <a:uLnTx/>
              <a:uFillTx/>
              <a:latin typeface="Graphik Black"/>
              <a:ea typeface="+mn-ea"/>
              <a:cs typeface="+mn-cs"/>
            </a:endParaRPr>
          </a:p>
        </p:txBody>
      </p:sp>
      <p:sp>
        <p:nvSpPr>
          <p:cNvPr id="8" name="Chevron 24">
            <a:extLst>
              <a:ext uri="{FF2B5EF4-FFF2-40B4-BE49-F238E27FC236}">
                <a16:creationId xmlns:a16="http://schemas.microsoft.com/office/drawing/2014/main" id="{A122F87C-F1D9-49E2-BCE4-2B7975304D0A}"/>
              </a:ext>
            </a:extLst>
          </p:cNvPr>
          <p:cNvSpPr/>
          <p:nvPr/>
        </p:nvSpPr>
        <p:spPr bwMode="auto">
          <a:xfrm>
            <a:off x="344580" y="1763713"/>
            <a:ext cx="2182907" cy="1214436"/>
          </a:xfrm>
          <a:prstGeom prst="chevron">
            <a:avLst>
              <a:gd name="adj" fmla="val 20913"/>
            </a:avLst>
          </a:prstGeom>
          <a:solidFill>
            <a:srgbClr val="96968C">
              <a:lumMod val="60000"/>
              <a:lumOff val="40000"/>
            </a:srgbClr>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9" name="Rectangle 8">
            <a:extLst>
              <a:ext uri="{FF2B5EF4-FFF2-40B4-BE49-F238E27FC236}">
                <a16:creationId xmlns:a16="http://schemas.microsoft.com/office/drawing/2014/main" id="{4D6B984C-DC6A-4CBE-9C79-5E565EE0D35F}"/>
              </a:ext>
            </a:extLst>
          </p:cNvPr>
          <p:cNvSpPr/>
          <p:nvPr/>
        </p:nvSpPr>
        <p:spPr bwMode="auto">
          <a:xfrm>
            <a:off x="5194059" y="1841911"/>
            <a:ext cx="1596912" cy="240066"/>
          </a:xfrm>
          <a:prstGeom prst="rect">
            <a:avLst/>
          </a:prstGeom>
        </p:spPr>
        <p:txBody>
          <a:bodyPr wrap="none">
            <a:spAutoFit/>
          </a:bodyP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Graphik Black"/>
                <a:ea typeface="+mn-ea"/>
                <a:cs typeface="+mn-cs"/>
              </a:rPr>
              <a:t>Value and benefits</a:t>
            </a:r>
          </a:p>
        </p:txBody>
      </p:sp>
      <p:grpSp>
        <p:nvGrpSpPr>
          <p:cNvPr id="10" name="Group 9">
            <a:extLst>
              <a:ext uri="{FF2B5EF4-FFF2-40B4-BE49-F238E27FC236}">
                <a16:creationId xmlns:a16="http://schemas.microsoft.com/office/drawing/2014/main" id="{60C37AAF-10CA-4A37-8F38-3E1AC981D621}"/>
              </a:ext>
            </a:extLst>
          </p:cNvPr>
          <p:cNvGrpSpPr/>
          <p:nvPr/>
        </p:nvGrpSpPr>
        <p:grpSpPr>
          <a:xfrm>
            <a:off x="2739547" y="2127969"/>
            <a:ext cx="6758414" cy="710502"/>
            <a:chOff x="3068770" y="2127969"/>
            <a:chExt cx="6099968" cy="710502"/>
          </a:xfrm>
          <a:solidFill>
            <a:schemeClr val="accent2"/>
          </a:solidFill>
        </p:grpSpPr>
        <p:sp>
          <p:nvSpPr>
            <p:cNvPr id="11" name="Chevron 9">
              <a:extLst>
                <a:ext uri="{FF2B5EF4-FFF2-40B4-BE49-F238E27FC236}">
                  <a16:creationId xmlns:a16="http://schemas.microsoft.com/office/drawing/2014/main" id="{C4348223-8ADE-4A81-B226-33F6E930291A}"/>
                </a:ext>
              </a:extLst>
            </p:cNvPr>
            <p:cNvSpPr/>
            <p:nvPr/>
          </p:nvSpPr>
          <p:spPr bwMode="auto">
            <a:xfrm>
              <a:off x="3068770" y="2129944"/>
              <a:ext cx="1557278" cy="708527"/>
            </a:xfrm>
            <a:prstGeom prst="chevron">
              <a:avLst>
                <a:gd name="adj" fmla="val 20913"/>
              </a:avLst>
            </a:prstGeom>
            <a:grp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Pace</a:t>
              </a:r>
            </a:p>
          </p:txBody>
        </p:sp>
        <p:sp>
          <p:nvSpPr>
            <p:cNvPr id="12" name="Chevron 20">
              <a:extLst>
                <a:ext uri="{FF2B5EF4-FFF2-40B4-BE49-F238E27FC236}">
                  <a16:creationId xmlns:a16="http://schemas.microsoft.com/office/drawing/2014/main" id="{522B1F93-8BB2-478C-98CF-C95E846CA72E}"/>
                </a:ext>
              </a:extLst>
            </p:cNvPr>
            <p:cNvSpPr/>
            <p:nvPr/>
          </p:nvSpPr>
          <p:spPr bwMode="auto">
            <a:xfrm>
              <a:off x="4598096" y="2129944"/>
              <a:ext cx="1557278" cy="708527"/>
            </a:xfrm>
            <a:prstGeom prst="chevron">
              <a:avLst>
                <a:gd name="adj" fmla="val 20913"/>
              </a:avLst>
            </a:prstGeom>
            <a:grp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Certainty</a:t>
              </a:r>
            </a:p>
          </p:txBody>
        </p:sp>
        <p:sp>
          <p:nvSpPr>
            <p:cNvPr id="13" name="Chevron 21">
              <a:extLst>
                <a:ext uri="{FF2B5EF4-FFF2-40B4-BE49-F238E27FC236}">
                  <a16:creationId xmlns:a16="http://schemas.microsoft.com/office/drawing/2014/main" id="{31EF2A45-DBC9-4F3C-9BB4-CDF0475CCF7C}"/>
                </a:ext>
              </a:extLst>
            </p:cNvPr>
            <p:cNvSpPr/>
            <p:nvPr/>
          </p:nvSpPr>
          <p:spPr bwMode="auto">
            <a:xfrm>
              <a:off x="6110902" y="2129944"/>
              <a:ext cx="1557278" cy="708527"/>
            </a:xfrm>
            <a:prstGeom prst="chevron">
              <a:avLst>
                <a:gd name="adj" fmla="val 20913"/>
              </a:avLst>
            </a:prstGeom>
            <a:grp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Strategic agility</a:t>
              </a:r>
            </a:p>
          </p:txBody>
        </p:sp>
        <p:sp>
          <p:nvSpPr>
            <p:cNvPr id="14" name="Chevron 19">
              <a:extLst>
                <a:ext uri="{FF2B5EF4-FFF2-40B4-BE49-F238E27FC236}">
                  <a16:creationId xmlns:a16="http://schemas.microsoft.com/office/drawing/2014/main" id="{05D910AA-8DA6-480C-8F3C-E361A2999104}"/>
                </a:ext>
              </a:extLst>
            </p:cNvPr>
            <p:cNvSpPr/>
            <p:nvPr/>
          </p:nvSpPr>
          <p:spPr bwMode="auto">
            <a:xfrm>
              <a:off x="7611460" y="2127969"/>
              <a:ext cx="1557278" cy="708527"/>
            </a:xfrm>
            <a:prstGeom prst="chevron">
              <a:avLst>
                <a:gd name="adj" fmla="val 20913"/>
              </a:avLst>
            </a:prstGeom>
            <a:grp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Black"/>
                  <a:ea typeface="+mn-ea"/>
                  <a:cs typeface="+mn-cs"/>
                </a:rPr>
                <a:t>Other</a:t>
              </a:r>
            </a:p>
          </p:txBody>
        </p:sp>
      </p:grpSp>
      <p:sp>
        <p:nvSpPr>
          <p:cNvPr id="15" name="Content Placeholder 7">
            <a:extLst>
              <a:ext uri="{FF2B5EF4-FFF2-40B4-BE49-F238E27FC236}">
                <a16:creationId xmlns:a16="http://schemas.microsoft.com/office/drawing/2014/main" id="{75BEA412-6E9A-417C-9409-24BAEA2EEAD2}"/>
              </a:ext>
            </a:extLst>
          </p:cNvPr>
          <p:cNvSpPr txBox="1">
            <a:spLocks/>
          </p:cNvSpPr>
          <p:nvPr/>
        </p:nvSpPr>
        <p:spPr bwMode="auto">
          <a:xfrm>
            <a:off x="344581"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6" name="Content Placeholder 7">
            <a:extLst>
              <a:ext uri="{FF2B5EF4-FFF2-40B4-BE49-F238E27FC236}">
                <a16:creationId xmlns:a16="http://schemas.microsoft.com/office/drawing/2014/main" id="{56551EE1-1436-41DA-BE30-E8178CB465A9}"/>
              </a:ext>
            </a:extLst>
          </p:cNvPr>
          <p:cNvSpPr txBox="1">
            <a:spLocks/>
          </p:cNvSpPr>
          <p:nvPr/>
        </p:nvSpPr>
        <p:spPr bwMode="auto">
          <a:xfrm>
            <a:off x="2739547"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7" name="Content Placeholder 7">
            <a:extLst>
              <a:ext uri="{FF2B5EF4-FFF2-40B4-BE49-F238E27FC236}">
                <a16:creationId xmlns:a16="http://schemas.microsoft.com/office/drawing/2014/main" id="{40BAB1D5-D789-474D-B879-BF12B3855D34}"/>
              </a:ext>
            </a:extLst>
          </p:cNvPr>
          <p:cNvSpPr txBox="1">
            <a:spLocks/>
          </p:cNvSpPr>
          <p:nvPr/>
        </p:nvSpPr>
        <p:spPr bwMode="auto">
          <a:xfrm>
            <a:off x="4438175"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8" name="Content Placeholder 7">
            <a:extLst>
              <a:ext uri="{FF2B5EF4-FFF2-40B4-BE49-F238E27FC236}">
                <a16:creationId xmlns:a16="http://schemas.microsoft.com/office/drawing/2014/main" id="{DC3BCDE7-E373-4692-87C9-FA796A66F359}"/>
              </a:ext>
            </a:extLst>
          </p:cNvPr>
          <p:cNvSpPr txBox="1">
            <a:spLocks/>
          </p:cNvSpPr>
          <p:nvPr/>
        </p:nvSpPr>
        <p:spPr bwMode="auto">
          <a:xfrm>
            <a:off x="6136803"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9" name="Content Placeholder 7">
            <a:extLst>
              <a:ext uri="{FF2B5EF4-FFF2-40B4-BE49-F238E27FC236}">
                <a16:creationId xmlns:a16="http://schemas.microsoft.com/office/drawing/2014/main" id="{B3284F27-AFFA-4DE6-837E-57C658F956F9}"/>
              </a:ext>
            </a:extLst>
          </p:cNvPr>
          <p:cNvSpPr txBox="1">
            <a:spLocks/>
          </p:cNvSpPr>
          <p:nvPr/>
        </p:nvSpPr>
        <p:spPr bwMode="auto">
          <a:xfrm>
            <a:off x="7835429"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cxnSp>
        <p:nvCxnSpPr>
          <p:cNvPr id="20" name="Straight Connector 19">
            <a:extLst>
              <a:ext uri="{FF2B5EF4-FFF2-40B4-BE49-F238E27FC236}">
                <a16:creationId xmlns:a16="http://schemas.microsoft.com/office/drawing/2014/main" id="{38C7544E-BC10-49F6-957E-C23F2CEE2B1C}"/>
              </a:ext>
            </a:extLst>
          </p:cNvPr>
          <p:cNvCxnSpPr/>
          <p:nvPr/>
        </p:nvCxnSpPr>
        <p:spPr>
          <a:xfrm>
            <a:off x="4326861" y="3490452"/>
            <a:ext cx="0" cy="2567448"/>
          </a:xfrm>
          <a:prstGeom prst="line">
            <a:avLst/>
          </a:prstGeom>
          <a:noFill/>
          <a:ln w="19050" cap="flat" cmpd="sng" algn="ctr">
            <a:solidFill>
              <a:srgbClr val="96968C">
                <a:lumMod val="40000"/>
                <a:lumOff val="60000"/>
              </a:srgbClr>
            </a:solidFill>
            <a:prstDash val="sysDot"/>
          </a:ln>
          <a:effectLst/>
        </p:spPr>
      </p:cxnSp>
      <p:cxnSp>
        <p:nvCxnSpPr>
          <p:cNvPr id="21" name="Straight Connector 20">
            <a:extLst>
              <a:ext uri="{FF2B5EF4-FFF2-40B4-BE49-F238E27FC236}">
                <a16:creationId xmlns:a16="http://schemas.microsoft.com/office/drawing/2014/main" id="{2EEF2279-E21F-4669-96D6-098521D78D1B}"/>
              </a:ext>
            </a:extLst>
          </p:cNvPr>
          <p:cNvCxnSpPr/>
          <p:nvPr/>
        </p:nvCxnSpPr>
        <p:spPr>
          <a:xfrm>
            <a:off x="6025489" y="3490452"/>
            <a:ext cx="0" cy="2567448"/>
          </a:xfrm>
          <a:prstGeom prst="line">
            <a:avLst/>
          </a:prstGeom>
          <a:noFill/>
          <a:ln w="19050" cap="flat" cmpd="sng" algn="ctr">
            <a:solidFill>
              <a:srgbClr val="96968C">
                <a:lumMod val="40000"/>
                <a:lumOff val="60000"/>
              </a:srgbClr>
            </a:solidFill>
            <a:prstDash val="sysDot"/>
          </a:ln>
          <a:effectLst/>
        </p:spPr>
      </p:cxnSp>
      <p:cxnSp>
        <p:nvCxnSpPr>
          <p:cNvPr id="22" name="Straight Connector 21">
            <a:extLst>
              <a:ext uri="{FF2B5EF4-FFF2-40B4-BE49-F238E27FC236}">
                <a16:creationId xmlns:a16="http://schemas.microsoft.com/office/drawing/2014/main" id="{DBEE4F43-21A8-4BCD-96EE-00518DE52EB4}"/>
              </a:ext>
            </a:extLst>
          </p:cNvPr>
          <p:cNvCxnSpPr/>
          <p:nvPr/>
        </p:nvCxnSpPr>
        <p:spPr>
          <a:xfrm>
            <a:off x="7724117" y="3490452"/>
            <a:ext cx="0" cy="2567448"/>
          </a:xfrm>
          <a:prstGeom prst="line">
            <a:avLst/>
          </a:prstGeom>
          <a:noFill/>
          <a:ln w="19050" cap="flat" cmpd="sng" algn="ctr">
            <a:solidFill>
              <a:srgbClr val="96968C">
                <a:lumMod val="40000"/>
                <a:lumOff val="60000"/>
              </a:srgbClr>
            </a:solidFill>
            <a:prstDash val="sysDot"/>
          </a:ln>
          <a:effectLst/>
        </p:spPr>
      </p:cxnSp>
      <p:sp>
        <p:nvSpPr>
          <p:cNvPr id="23" name="Content Placeholder 7">
            <a:extLst>
              <a:ext uri="{FF2B5EF4-FFF2-40B4-BE49-F238E27FC236}">
                <a16:creationId xmlns:a16="http://schemas.microsoft.com/office/drawing/2014/main" id="{AADDC86F-AC2B-45C7-9E10-DB77F7A6C719}"/>
              </a:ext>
            </a:extLst>
          </p:cNvPr>
          <p:cNvSpPr txBox="1">
            <a:spLocks/>
          </p:cNvSpPr>
          <p:nvPr/>
        </p:nvSpPr>
        <p:spPr bwMode="auto">
          <a:xfrm>
            <a:off x="10026802" y="3500438"/>
            <a:ext cx="1474385"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cxnSp>
        <p:nvCxnSpPr>
          <p:cNvPr id="24" name="Straight Connector 23">
            <a:extLst>
              <a:ext uri="{FF2B5EF4-FFF2-40B4-BE49-F238E27FC236}">
                <a16:creationId xmlns:a16="http://schemas.microsoft.com/office/drawing/2014/main" id="{58DE0A3C-5B25-487E-84E6-3CF397BC2E32}"/>
              </a:ext>
            </a:extLst>
          </p:cNvPr>
          <p:cNvCxnSpPr/>
          <p:nvPr/>
        </p:nvCxnSpPr>
        <p:spPr>
          <a:xfrm>
            <a:off x="2311248" y="3490452"/>
            <a:ext cx="0" cy="2567448"/>
          </a:xfrm>
          <a:prstGeom prst="line">
            <a:avLst/>
          </a:prstGeom>
          <a:noFill/>
          <a:ln w="19050" cap="flat" cmpd="sng" algn="ctr">
            <a:solidFill>
              <a:srgbClr val="96968C">
                <a:lumMod val="40000"/>
                <a:lumOff val="60000"/>
              </a:srgbClr>
            </a:solidFill>
            <a:prstDash val="sysDot"/>
          </a:ln>
          <a:effectLst/>
        </p:spPr>
      </p:cxnSp>
      <p:cxnSp>
        <p:nvCxnSpPr>
          <p:cNvPr id="25" name="Straight Connector 24">
            <a:extLst>
              <a:ext uri="{FF2B5EF4-FFF2-40B4-BE49-F238E27FC236}">
                <a16:creationId xmlns:a16="http://schemas.microsoft.com/office/drawing/2014/main" id="{0FF9D4B4-9485-4C09-955C-1E0EAFD22BE5}"/>
              </a:ext>
            </a:extLst>
          </p:cNvPr>
          <p:cNvCxnSpPr/>
          <p:nvPr/>
        </p:nvCxnSpPr>
        <p:spPr>
          <a:xfrm>
            <a:off x="9596952" y="3490452"/>
            <a:ext cx="0" cy="2567448"/>
          </a:xfrm>
          <a:prstGeom prst="line">
            <a:avLst/>
          </a:prstGeom>
          <a:noFill/>
          <a:ln w="19050" cap="flat" cmpd="sng" algn="ctr">
            <a:solidFill>
              <a:srgbClr val="96968C">
                <a:lumMod val="40000"/>
                <a:lumOff val="60000"/>
              </a:srgbClr>
            </a:solidFill>
            <a:prstDash val="sysDot"/>
          </a:ln>
          <a:effectLst/>
        </p:spPr>
      </p:cxnSp>
      <p:sp>
        <p:nvSpPr>
          <p:cNvPr id="28" name="Rectangle 27">
            <a:hlinkClick r:id="rId3" action="ppaction://hlinksldjump"/>
            <a:extLst>
              <a:ext uri="{FF2B5EF4-FFF2-40B4-BE49-F238E27FC236}">
                <a16:creationId xmlns:a16="http://schemas.microsoft.com/office/drawing/2014/main" id="{3449AE1A-8613-4FFA-A370-3714ED8D88D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684815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CA9A67-20A6-CE48-96E5-711955EA3BF4}"/>
              </a:ext>
            </a:extLst>
          </p:cNvPr>
          <p:cNvSpPr>
            <a:spLocks noGrp="1"/>
          </p:cNvSpPr>
          <p:nvPr>
            <p:ph type="ctrTitle"/>
          </p:nvPr>
        </p:nvSpPr>
        <p:spPr/>
        <p:txBody>
          <a:bodyPr/>
          <a:lstStyle/>
          <a:p>
            <a:endParaRPr lang="en-US"/>
          </a:p>
        </p:txBody>
      </p:sp>
      <p:sp>
        <p:nvSpPr>
          <p:cNvPr id="5" name="Text Placeholder 4">
            <a:extLst>
              <a:ext uri="{FF2B5EF4-FFF2-40B4-BE49-F238E27FC236}">
                <a16:creationId xmlns:a16="http://schemas.microsoft.com/office/drawing/2014/main" id="{0933BE11-BDEE-1D4E-B1A3-77116670673D}"/>
              </a:ext>
            </a:extLst>
          </p:cNvPr>
          <p:cNvSpPr>
            <a:spLocks noGrp="1"/>
          </p:cNvSpPr>
          <p:nvPr>
            <p:ph type="body" sz="quarter" idx="12"/>
          </p:nvPr>
        </p:nvSpPr>
        <p:spPr/>
        <p:txBody>
          <a:bodyPr/>
          <a:lstStyle/>
          <a:p>
            <a:endParaRPr lang="en-US"/>
          </a:p>
        </p:txBody>
      </p:sp>
      <p:sp>
        <p:nvSpPr>
          <p:cNvPr id="4" name="Subtitle 3">
            <a:extLst>
              <a:ext uri="{FF2B5EF4-FFF2-40B4-BE49-F238E27FC236}">
                <a16:creationId xmlns:a16="http://schemas.microsoft.com/office/drawing/2014/main" id="{0FD2D97D-38C5-254D-99F5-B2AF840A632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23529876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53D0CF-C32C-46A2-B574-B87BA8902105}"/>
              </a:ext>
            </a:extLst>
          </p:cNvPr>
          <p:cNvSpPr>
            <a:spLocks noGrp="1"/>
          </p:cNvSpPr>
          <p:nvPr>
            <p:ph type="title"/>
          </p:nvPr>
        </p:nvSpPr>
        <p:spPr/>
        <p:txBody>
          <a:bodyPr/>
          <a:lstStyle/>
          <a:p>
            <a:r>
              <a:rPr lang="en-ZA" dirty="0"/>
              <a:t>Our value proposition </a:t>
            </a:r>
            <a:br>
              <a:rPr lang="en-ZA" dirty="0"/>
            </a:br>
            <a:r>
              <a:rPr lang="en-ZA" dirty="0"/>
              <a:t>for the engagement</a:t>
            </a:r>
            <a:endParaRPr lang="en-US" dirty="0"/>
          </a:p>
        </p:txBody>
      </p:sp>
      <p:sp>
        <p:nvSpPr>
          <p:cNvPr id="4" name="Freeform: Shape 3">
            <a:hlinkClick r:id="rId3" action="ppaction://hlinksldjump"/>
            <a:extLst>
              <a:ext uri="{FF2B5EF4-FFF2-40B4-BE49-F238E27FC236}">
                <a16:creationId xmlns:a16="http://schemas.microsoft.com/office/drawing/2014/main" id="{816AC8A2-EA6A-4BE7-9498-578D2909446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TextBox 1">
            <a:extLst>
              <a:ext uri="{FF2B5EF4-FFF2-40B4-BE49-F238E27FC236}">
                <a16:creationId xmlns:a16="http://schemas.microsoft.com/office/drawing/2014/main" id="{5036D664-B6DD-48AC-BCB0-837CE9588C46}"/>
              </a:ext>
            </a:extLst>
          </p:cNvPr>
          <p:cNvSpPr txBox="1"/>
          <p:nvPr/>
        </p:nvSpPr>
        <p:spPr bwMode="auto">
          <a:xfrm>
            <a:off x="381000" y="1"/>
            <a:ext cx="1081548" cy="257369"/>
          </a:xfrm>
          <a:prstGeom prst="rect">
            <a:avLst/>
          </a:prstGeom>
          <a:solidFill>
            <a:srgbClr val="BE82FF"/>
          </a:solidFill>
          <a:ln>
            <a:noFill/>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Option 5</a:t>
            </a:r>
          </a:p>
        </p:txBody>
      </p:sp>
      <p:sp>
        <p:nvSpPr>
          <p:cNvPr id="5" name="Chevron 23">
            <a:extLst>
              <a:ext uri="{FF2B5EF4-FFF2-40B4-BE49-F238E27FC236}">
                <a16:creationId xmlns:a16="http://schemas.microsoft.com/office/drawing/2014/main" id="{13F3BB8B-9FE5-41ED-9E5C-6F5A19467108}"/>
              </a:ext>
            </a:extLst>
          </p:cNvPr>
          <p:cNvSpPr/>
          <p:nvPr/>
        </p:nvSpPr>
        <p:spPr bwMode="auto">
          <a:xfrm>
            <a:off x="9672542" y="1763714"/>
            <a:ext cx="2182907" cy="1214436"/>
          </a:xfrm>
          <a:prstGeom prst="chevron">
            <a:avLst>
              <a:gd name="adj" fmla="val 20913"/>
            </a:avLst>
          </a:prstGeom>
          <a:solidFill>
            <a:schemeClr val="accent1"/>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Black"/>
                <a:ea typeface="+mn-ea"/>
                <a:cs typeface="+mn-cs"/>
              </a:rPr>
              <a:t>To outcome</a:t>
            </a:r>
          </a:p>
        </p:txBody>
      </p:sp>
      <p:sp>
        <p:nvSpPr>
          <p:cNvPr id="7" name="Chevron 22">
            <a:extLst>
              <a:ext uri="{FF2B5EF4-FFF2-40B4-BE49-F238E27FC236}">
                <a16:creationId xmlns:a16="http://schemas.microsoft.com/office/drawing/2014/main" id="{230C45A8-27B2-410C-8E41-E2A47AF47634}"/>
              </a:ext>
            </a:extLst>
          </p:cNvPr>
          <p:cNvSpPr/>
          <p:nvPr/>
        </p:nvSpPr>
        <p:spPr bwMode="auto">
          <a:xfrm>
            <a:off x="2422230" y="1769495"/>
            <a:ext cx="7362756" cy="1214436"/>
          </a:xfrm>
          <a:prstGeom prst="chevron">
            <a:avLst>
              <a:gd name="adj" fmla="val 20913"/>
            </a:avLst>
          </a:prstGeom>
          <a:pattFill prst="dkUpDiag">
            <a:fgClr>
              <a:srgbClr val="96968C">
                <a:lumMod val="40000"/>
                <a:lumOff val="60000"/>
              </a:srgbClr>
            </a:fgClr>
            <a:bgClr>
              <a:srgbClr val="FFFFFF"/>
            </a:bgClr>
          </a:patt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0" cap="none" spc="0" normalizeH="0" baseline="0" noProof="0" dirty="0" err="1">
              <a:ln>
                <a:noFill/>
              </a:ln>
              <a:solidFill>
                <a:srgbClr val="FFFFFF"/>
              </a:solidFill>
              <a:effectLst/>
              <a:uLnTx/>
              <a:uFillTx/>
              <a:latin typeface="Graphik Black"/>
              <a:ea typeface="+mn-ea"/>
              <a:cs typeface="+mn-cs"/>
            </a:endParaRPr>
          </a:p>
        </p:txBody>
      </p:sp>
      <p:sp>
        <p:nvSpPr>
          <p:cNvPr id="8" name="Chevron 24">
            <a:extLst>
              <a:ext uri="{FF2B5EF4-FFF2-40B4-BE49-F238E27FC236}">
                <a16:creationId xmlns:a16="http://schemas.microsoft.com/office/drawing/2014/main" id="{99F3558C-2B48-4842-8220-811A6609A7D5}"/>
              </a:ext>
            </a:extLst>
          </p:cNvPr>
          <p:cNvSpPr/>
          <p:nvPr/>
        </p:nvSpPr>
        <p:spPr bwMode="auto">
          <a:xfrm>
            <a:off x="344580" y="1763713"/>
            <a:ext cx="2182907" cy="1214436"/>
          </a:xfrm>
          <a:prstGeom prst="chevron">
            <a:avLst>
              <a:gd name="adj" fmla="val 20913"/>
            </a:avLst>
          </a:prstGeom>
          <a:solidFill>
            <a:schemeClr val="accent3"/>
          </a:solidFill>
          <a:ln w="6350">
            <a:noFill/>
            <a:miter lim="800000"/>
            <a:headEnd/>
            <a:tailEnd/>
          </a:ln>
          <a:effectLst/>
        </p:spPr>
        <p:txBody>
          <a:bodyPr wrap="square" lIns="108000" tIns="108000" rIns="108000" bIns="108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Black"/>
                <a:ea typeface="+mn-ea"/>
                <a:cs typeface="+mn-cs"/>
              </a:rPr>
              <a:t>From issue</a:t>
            </a:r>
          </a:p>
        </p:txBody>
      </p:sp>
      <p:sp>
        <p:nvSpPr>
          <p:cNvPr id="9" name="Rectangle 8">
            <a:extLst>
              <a:ext uri="{FF2B5EF4-FFF2-40B4-BE49-F238E27FC236}">
                <a16:creationId xmlns:a16="http://schemas.microsoft.com/office/drawing/2014/main" id="{0FCD38ED-133D-4FA2-898A-F5310B3672EB}"/>
              </a:ext>
            </a:extLst>
          </p:cNvPr>
          <p:cNvSpPr/>
          <p:nvPr/>
        </p:nvSpPr>
        <p:spPr bwMode="auto">
          <a:xfrm>
            <a:off x="5194059" y="1841911"/>
            <a:ext cx="1596912" cy="240066"/>
          </a:xfrm>
          <a:prstGeom prst="rect">
            <a:avLst/>
          </a:prstGeom>
        </p:spPr>
        <p:txBody>
          <a:bodyPr wrap="none">
            <a:spAutoFit/>
          </a:bodyP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Graphik Black"/>
                <a:ea typeface="+mn-ea"/>
                <a:cs typeface="+mn-cs"/>
              </a:rPr>
              <a:t>Value and benefits</a:t>
            </a:r>
          </a:p>
        </p:txBody>
      </p:sp>
      <p:grpSp>
        <p:nvGrpSpPr>
          <p:cNvPr id="10" name="Group 9">
            <a:extLst>
              <a:ext uri="{FF2B5EF4-FFF2-40B4-BE49-F238E27FC236}">
                <a16:creationId xmlns:a16="http://schemas.microsoft.com/office/drawing/2014/main" id="{CD467BD2-6E9D-47F0-8D88-B7362C36AEBE}"/>
              </a:ext>
            </a:extLst>
          </p:cNvPr>
          <p:cNvGrpSpPr/>
          <p:nvPr/>
        </p:nvGrpSpPr>
        <p:grpSpPr>
          <a:xfrm>
            <a:off x="2739547" y="2127969"/>
            <a:ext cx="6758414" cy="710502"/>
            <a:chOff x="3068770" y="2127969"/>
            <a:chExt cx="6099968" cy="710502"/>
          </a:xfrm>
          <a:solidFill>
            <a:srgbClr val="96968C">
              <a:lumMod val="60000"/>
              <a:lumOff val="40000"/>
            </a:srgbClr>
          </a:solidFill>
        </p:grpSpPr>
        <p:sp>
          <p:nvSpPr>
            <p:cNvPr id="11" name="Chevron 9">
              <a:extLst>
                <a:ext uri="{FF2B5EF4-FFF2-40B4-BE49-F238E27FC236}">
                  <a16:creationId xmlns:a16="http://schemas.microsoft.com/office/drawing/2014/main" id="{7E613082-8C48-437A-95A4-3DA2FC1EAE88}"/>
                </a:ext>
              </a:extLst>
            </p:cNvPr>
            <p:cNvSpPr/>
            <p:nvPr/>
          </p:nvSpPr>
          <p:spPr bwMode="auto">
            <a:xfrm>
              <a:off x="3068770" y="2129944"/>
              <a:ext cx="1557278" cy="708527"/>
            </a:xfrm>
            <a:prstGeom prst="chevron">
              <a:avLst>
                <a:gd name="adj" fmla="val 20913"/>
              </a:avLst>
            </a:prstGeom>
            <a:grp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Pace</a:t>
              </a:r>
            </a:p>
          </p:txBody>
        </p:sp>
        <p:sp>
          <p:nvSpPr>
            <p:cNvPr id="12" name="Chevron 20">
              <a:extLst>
                <a:ext uri="{FF2B5EF4-FFF2-40B4-BE49-F238E27FC236}">
                  <a16:creationId xmlns:a16="http://schemas.microsoft.com/office/drawing/2014/main" id="{D25B221D-8AFF-4180-B398-B357014B825A}"/>
                </a:ext>
              </a:extLst>
            </p:cNvPr>
            <p:cNvSpPr/>
            <p:nvPr/>
          </p:nvSpPr>
          <p:spPr bwMode="auto">
            <a:xfrm>
              <a:off x="4598096" y="2129944"/>
              <a:ext cx="1557278" cy="708527"/>
            </a:xfrm>
            <a:prstGeom prst="chevron">
              <a:avLst>
                <a:gd name="adj" fmla="val 20913"/>
              </a:avLst>
            </a:prstGeom>
            <a:grp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Certainty</a:t>
              </a:r>
            </a:p>
          </p:txBody>
        </p:sp>
        <p:sp>
          <p:nvSpPr>
            <p:cNvPr id="13" name="Chevron 21">
              <a:extLst>
                <a:ext uri="{FF2B5EF4-FFF2-40B4-BE49-F238E27FC236}">
                  <a16:creationId xmlns:a16="http://schemas.microsoft.com/office/drawing/2014/main" id="{07F3C84A-A592-4860-8A3E-8E3C85F11FB9}"/>
                </a:ext>
              </a:extLst>
            </p:cNvPr>
            <p:cNvSpPr/>
            <p:nvPr/>
          </p:nvSpPr>
          <p:spPr bwMode="auto">
            <a:xfrm>
              <a:off x="6110902" y="2129944"/>
              <a:ext cx="1557278" cy="708527"/>
            </a:xfrm>
            <a:prstGeom prst="chevron">
              <a:avLst>
                <a:gd name="adj" fmla="val 20913"/>
              </a:avLst>
            </a:prstGeom>
            <a:grp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Strategic agility</a:t>
              </a:r>
            </a:p>
          </p:txBody>
        </p:sp>
        <p:sp>
          <p:nvSpPr>
            <p:cNvPr id="14" name="Chevron 19">
              <a:extLst>
                <a:ext uri="{FF2B5EF4-FFF2-40B4-BE49-F238E27FC236}">
                  <a16:creationId xmlns:a16="http://schemas.microsoft.com/office/drawing/2014/main" id="{C7B4FB2F-02B1-41F6-AA2F-D577C93831D1}"/>
                </a:ext>
              </a:extLst>
            </p:cNvPr>
            <p:cNvSpPr/>
            <p:nvPr/>
          </p:nvSpPr>
          <p:spPr bwMode="auto">
            <a:xfrm>
              <a:off x="7611460" y="2127969"/>
              <a:ext cx="1557278" cy="708527"/>
            </a:xfrm>
            <a:prstGeom prst="chevron">
              <a:avLst>
                <a:gd name="adj" fmla="val 20913"/>
              </a:avLst>
            </a:prstGeom>
            <a:grpFill/>
            <a:ln w="9525" cap="flat" cmpd="sng" algn="ctr">
              <a:noFill/>
              <a:prstDash val="solid"/>
            </a:ln>
            <a:effectLst/>
          </p:spPr>
          <p:txBody>
            <a:bodyPr lIns="0" rIns="0" rtlCol="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200" b="1" i="0" u="none" strike="noStrike" kern="0" cap="none" spc="0" normalizeH="0" baseline="0" noProof="0" dirty="0">
                  <a:ln>
                    <a:noFill/>
                  </a:ln>
                  <a:effectLst/>
                  <a:uLnTx/>
                  <a:uFillTx/>
                  <a:latin typeface="Graphik Black"/>
                  <a:ea typeface="+mn-ea"/>
                  <a:cs typeface="+mn-cs"/>
                </a:rPr>
                <a:t>Other</a:t>
              </a:r>
            </a:p>
          </p:txBody>
        </p:sp>
      </p:grpSp>
      <p:sp>
        <p:nvSpPr>
          <p:cNvPr id="15" name="Content Placeholder 7">
            <a:extLst>
              <a:ext uri="{FF2B5EF4-FFF2-40B4-BE49-F238E27FC236}">
                <a16:creationId xmlns:a16="http://schemas.microsoft.com/office/drawing/2014/main" id="{EEF855CA-C4C7-4AE1-B861-7FBC3D9EE212}"/>
              </a:ext>
            </a:extLst>
          </p:cNvPr>
          <p:cNvSpPr txBox="1">
            <a:spLocks/>
          </p:cNvSpPr>
          <p:nvPr/>
        </p:nvSpPr>
        <p:spPr bwMode="auto">
          <a:xfrm>
            <a:off x="344581"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6" name="Content Placeholder 7">
            <a:extLst>
              <a:ext uri="{FF2B5EF4-FFF2-40B4-BE49-F238E27FC236}">
                <a16:creationId xmlns:a16="http://schemas.microsoft.com/office/drawing/2014/main" id="{379D4ADD-1701-4383-BF7F-5BB423BA549D}"/>
              </a:ext>
            </a:extLst>
          </p:cNvPr>
          <p:cNvSpPr txBox="1">
            <a:spLocks/>
          </p:cNvSpPr>
          <p:nvPr/>
        </p:nvSpPr>
        <p:spPr bwMode="auto">
          <a:xfrm>
            <a:off x="2739547"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7" name="Content Placeholder 7">
            <a:extLst>
              <a:ext uri="{FF2B5EF4-FFF2-40B4-BE49-F238E27FC236}">
                <a16:creationId xmlns:a16="http://schemas.microsoft.com/office/drawing/2014/main" id="{1420F0BD-5021-49A1-9308-5677DA79D74B}"/>
              </a:ext>
            </a:extLst>
          </p:cNvPr>
          <p:cNvSpPr txBox="1">
            <a:spLocks/>
          </p:cNvSpPr>
          <p:nvPr/>
        </p:nvSpPr>
        <p:spPr bwMode="auto">
          <a:xfrm>
            <a:off x="4438175"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8" name="Content Placeholder 7">
            <a:extLst>
              <a:ext uri="{FF2B5EF4-FFF2-40B4-BE49-F238E27FC236}">
                <a16:creationId xmlns:a16="http://schemas.microsoft.com/office/drawing/2014/main" id="{924E4B98-87F4-4801-8E53-052C9B51D06C}"/>
              </a:ext>
            </a:extLst>
          </p:cNvPr>
          <p:cNvSpPr txBox="1">
            <a:spLocks/>
          </p:cNvSpPr>
          <p:nvPr/>
        </p:nvSpPr>
        <p:spPr bwMode="auto">
          <a:xfrm>
            <a:off x="6136803"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sp>
        <p:nvSpPr>
          <p:cNvPr id="19" name="Content Placeholder 7">
            <a:extLst>
              <a:ext uri="{FF2B5EF4-FFF2-40B4-BE49-F238E27FC236}">
                <a16:creationId xmlns:a16="http://schemas.microsoft.com/office/drawing/2014/main" id="{4583B3BB-E9D0-46C5-99E2-8C347689F018}"/>
              </a:ext>
            </a:extLst>
          </p:cNvPr>
          <p:cNvSpPr txBox="1">
            <a:spLocks/>
          </p:cNvSpPr>
          <p:nvPr/>
        </p:nvSpPr>
        <p:spPr bwMode="auto">
          <a:xfrm>
            <a:off x="7835429" y="3500438"/>
            <a:ext cx="1476000"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cxnSp>
        <p:nvCxnSpPr>
          <p:cNvPr id="20" name="Straight Connector 19">
            <a:extLst>
              <a:ext uri="{FF2B5EF4-FFF2-40B4-BE49-F238E27FC236}">
                <a16:creationId xmlns:a16="http://schemas.microsoft.com/office/drawing/2014/main" id="{1B8D8A18-809E-4789-9570-8014831422E5}"/>
              </a:ext>
            </a:extLst>
          </p:cNvPr>
          <p:cNvCxnSpPr/>
          <p:nvPr/>
        </p:nvCxnSpPr>
        <p:spPr>
          <a:xfrm>
            <a:off x="4326861" y="3490452"/>
            <a:ext cx="0" cy="2567448"/>
          </a:xfrm>
          <a:prstGeom prst="line">
            <a:avLst/>
          </a:prstGeom>
          <a:noFill/>
          <a:ln w="19050" cap="flat" cmpd="sng" algn="ctr">
            <a:solidFill>
              <a:srgbClr val="96968C">
                <a:lumMod val="40000"/>
                <a:lumOff val="60000"/>
              </a:srgbClr>
            </a:solidFill>
            <a:prstDash val="sysDot"/>
          </a:ln>
          <a:effectLst/>
        </p:spPr>
      </p:cxnSp>
      <p:cxnSp>
        <p:nvCxnSpPr>
          <p:cNvPr id="21" name="Straight Connector 20">
            <a:extLst>
              <a:ext uri="{FF2B5EF4-FFF2-40B4-BE49-F238E27FC236}">
                <a16:creationId xmlns:a16="http://schemas.microsoft.com/office/drawing/2014/main" id="{8E1F02BA-EA68-488D-915F-09AF11C630F3}"/>
              </a:ext>
            </a:extLst>
          </p:cNvPr>
          <p:cNvCxnSpPr/>
          <p:nvPr/>
        </p:nvCxnSpPr>
        <p:spPr>
          <a:xfrm>
            <a:off x="6025489" y="3490452"/>
            <a:ext cx="0" cy="2567448"/>
          </a:xfrm>
          <a:prstGeom prst="line">
            <a:avLst/>
          </a:prstGeom>
          <a:noFill/>
          <a:ln w="19050" cap="flat" cmpd="sng" algn="ctr">
            <a:solidFill>
              <a:srgbClr val="96968C">
                <a:lumMod val="40000"/>
                <a:lumOff val="60000"/>
              </a:srgbClr>
            </a:solidFill>
            <a:prstDash val="sysDot"/>
          </a:ln>
          <a:effectLst/>
        </p:spPr>
      </p:cxnSp>
      <p:cxnSp>
        <p:nvCxnSpPr>
          <p:cNvPr id="22" name="Straight Connector 21">
            <a:extLst>
              <a:ext uri="{FF2B5EF4-FFF2-40B4-BE49-F238E27FC236}">
                <a16:creationId xmlns:a16="http://schemas.microsoft.com/office/drawing/2014/main" id="{8C570EA3-46F6-4627-B7DA-165F0CA9E83C}"/>
              </a:ext>
            </a:extLst>
          </p:cNvPr>
          <p:cNvCxnSpPr/>
          <p:nvPr/>
        </p:nvCxnSpPr>
        <p:spPr>
          <a:xfrm>
            <a:off x="7724117" y="3490452"/>
            <a:ext cx="0" cy="2567448"/>
          </a:xfrm>
          <a:prstGeom prst="line">
            <a:avLst/>
          </a:prstGeom>
          <a:noFill/>
          <a:ln w="19050" cap="flat" cmpd="sng" algn="ctr">
            <a:solidFill>
              <a:srgbClr val="96968C">
                <a:lumMod val="40000"/>
                <a:lumOff val="60000"/>
              </a:srgbClr>
            </a:solidFill>
            <a:prstDash val="sysDot"/>
          </a:ln>
          <a:effectLst/>
        </p:spPr>
      </p:cxnSp>
      <p:sp>
        <p:nvSpPr>
          <p:cNvPr id="23" name="Content Placeholder 7">
            <a:extLst>
              <a:ext uri="{FF2B5EF4-FFF2-40B4-BE49-F238E27FC236}">
                <a16:creationId xmlns:a16="http://schemas.microsoft.com/office/drawing/2014/main" id="{A67A39E3-FB8D-4416-8F68-2BC090409659}"/>
              </a:ext>
            </a:extLst>
          </p:cNvPr>
          <p:cNvSpPr txBox="1">
            <a:spLocks/>
          </p:cNvSpPr>
          <p:nvPr/>
        </p:nvSpPr>
        <p:spPr bwMode="auto">
          <a:xfrm>
            <a:off x="10026802" y="3500438"/>
            <a:ext cx="1474385"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Body copy</a:t>
            </a:r>
          </a:p>
        </p:txBody>
      </p:sp>
      <p:cxnSp>
        <p:nvCxnSpPr>
          <p:cNvPr id="24" name="Straight Connector 23">
            <a:extLst>
              <a:ext uri="{FF2B5EF4-FFF2-40B4-BE49-F238E27FC236}">
                <a16:creationId xmlns:a16="http://schemas.microsoft.com/office/drawing/2014/main" id="{13C6259F-A607-4CB5-9936-2F78EBB39698}"/>
              </a:ext>
            </a:extLst>
          </p:cNvPr>
          <p:cNvCxnSpPr/>
          <p:nvPr/>
        </p:nvCxnSpPr>
        <p:spPr>
          <a:xfrm>
            <a:off x="2311248" y="3490452"/>
            <a:ext cx="0" cy="2567448"/>
          </a:xfrm>
          <a:prstGeom prst="line">
            <a:avLst/>
          </a:prstGeom>
          <a:noFill/>
          <a:ln w="19050" cap="flat" cmpd="sng" algn="ctr">
            <a:solidFill>
              <a:srgbClr val="96968C">
                <a:lumMod val="40000"/>
                <a:lumOff val="60000"/>
              </a:srgbClr>
            </a:solidFill>
            <a:prstDash val="sysDot"/>
          </a:ln>
          <a:effectLst/>
        </p:spPr>
      </p:cxnSp>
      <p:cxnSp>
        <p:nvCxnSpPr>
          <p:cNvPr id="25" name="Straight Connector 24">
            <a:extLst>
              <a:ext uri="{FF2B5EF4-FFF2-40B4-BE49-F238E27FC236}">
                <a16:creationId xmlns:a16="http://schemas.microsoft.com/office/drawing/2014/main" id="{F0049DA5-E65F-4D25-AFD0-C7685E01C749}"/>
              </a:ext>
            </a:extLst>
          </p:cNvPr>
          <p:cNvCxnSpPr/>
          <p:nvPr/>
        </p:nvCxnSpPr>
        <p:spPr>
          <a:xfrm>
            <a:off x="9596952" y="3490452"/>
            <a:ext cx="0" cy="2567448"/>
          </a:xfrm>
          <a:prstGeom prst="line">
            <a:avLst/>
          </a:prstGeom>
          <a:noFill/>
          <a:ln w="19050" cap="flat" cmpd="sng" algn="ctr">
            <a:solidFill>
              <a:srgbClr val="96968C">
                <a:lumMod val="40000"/>
                <a:lumOff val="60000"/>
              </a:srgbClr>
            </a:solidFill>
            <a:prstDash val="sysDot"/>
          </a:ln>
          <a:effectLst/>
        </p:spPr>
      </p:cxnSp>
      <p:sp>
        <p:nvSpPr>
          <p:cNvPr id="32" name="Rectangle 31">
            <a:hlinkClick r:id="rId3" action="ppaction://hlinksldjump"/>
            <a:extLst>
              <a:ext uri="{FF2B5EF4-FFF2-40B4-BE49-F238E27FC236}">
                <a16:creationId xmlns:a16="http://schemas.microsoft.com/office/drawing/2014/main" id="{274ACD88-6CBF-4EFD-A7A9-03C93D22F8F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41735895"/>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ECF093D-0477-4181-9DF7-3E067A21B120}"/>
              </a:ext>
            </a:extLst>
          </p:cNvPr>
          <p:cNvSpPr>
            <a:spLocks noGrp="1"/>
          </p:cNvSpPr>
          <p:nvPr>
            <p:ph type="title"/>
          </p:nvPr>
        </p:nvSpPr>
        <p:spPr/>
        <p:txBody>
          <a:bodyPr/>
          <a:lstStyle/>
          <a:p>
            <a:r>
              <a:rPr lang="en-US" dirty="0"/>
              <a:t>Circular Flows</a:t>
            </a:r>
          </a:p>
        </p:txBody>
      </p:sp>
      <p:sp>
        <p:nvSpPr>
          <p:cNvPr id="3" name="Text Placeholder 9">
            <a:extLst>
              <a:ext uri="{FF2B5EF4-FFF2-40B4-BE49-F238E27FC236}">
                <a16:creationId xmlns:a16="http://schemas.microsoft.com/office/drawing/2014/main" id="{8125B50D-B416-44B4-9C72-7172D342DEC3}"/>
              </a:ext>
            </a:extLst>
          </p:cNvPr>
          <p:cNvSpPr txBox="1">
            <a:spLocks/>
          </p:cNvSpPr>
          <p:nvPr/>
        </p:nvSpPr>
        <p:spPr>
          <a:xfrm>
            <a:off x="8055427" y="3889828"/>
            <a:ext cx="2993573" cy="2194486"/>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600"/>
              </a:spcAft>
              <a:buFont typeface="Arial" panose="020B0604020202020204" pitchFamily="34" charset="0"/>
              <a:buNone/>
              <a:defRPr sz="2400" b="0" kern="1200">
                <a:solidFill>
                  <a:schemeClr val="tx1"/>
                </a:solidFill>
                <a:latin typeface="GT Sectra Fine" pitchFamily="2" charset="77"/>
                <a:ea typeface="+mn-ea"/>
                <a:cs typeface="+mn-cs"/>
              </a:defRPr>
            </a:lvl1pPr>
            <a:lvl2pPr marL="0" indent="0" algn="l" defTabSz="228600" rtl="0" eaLnBrk="1" latinLnBrk="0" hangingPunct="1">
              <a:lnSpc>
                <a:spcPct val="100000"/>
              </a:lnSpc>
              <a:spcBef>
                <a:spcPts val="0"/>
              </a:spcBef>
              <a:spcAft>
                <a:spcPts val="600"/>
              </a:spcAft>
              <a:buClrTx/>
              <a:buFont typeface="Arial" panose="020B0604020202020204" pitchFamily="34" charset="0"/>
              <a:buNone/>
              <a:defRPr sz="2400" kern="1200">
                <a:solidFill>
                  <a:schemeClr val="tx1"/>
                </a:solidFill>
                <a:latin typeface="GT Sectra Fine" pitchFamily="2" charset="77"/>
                <a:ea typeface="+mn-ea"/>
                <a:cs typeface="+mn-cs"/>
              </a:defRPr>
            </a:lvl2pPr>
            <a:lvl3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3pPr>
            <a:lvl4pPr marL="0" indent="0" algn="l" defTabSz="2286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GT Sectra Fine" pitchFamily="2" charset="77"/>
                <a:ea typeface="+mn-ea"/>
                <a:cs typeface="+mn-cs"/>
              </a:defRPr>
            </a:lvl4pPr>
            <a:lvl5pPr marL="0" indent="0" algn="l" defTabSz="228600" rtl="0" eaLnBrk="1" latinLnBrk="0" hangingPunct="1">
              <a:lnSpc>
                <a:spcPct val="100000"/>
              </a:lnSpc>
              <a:spcBef>
                <a:spcPts val="0"/>
              </a:spcBef>
              <a:spcAft>
                <a:spcPts val="600"/>
              </a:spcAft>
              <a:buFont typeface="System Font"/>
              <a:buNone/>
              <a:defRPr sz="2400" kern="1200">
                <a:solidFill>
                  <a:schemeClr val="tx1"/>
                </a:solidFill>
                <a:latin typeface="GT Sectra Fine" pitchFamily="2" charset="77"/>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GT Sectra Fine" pitchFamily="2" charset="77"/>
                <a:ea typeface="+mn-ea"/>
                <a:cs typeface="+mn-cs"/>
              </a:rPr>
              <a:t>Part of </a:t>
            </a:r>
            <a:r>
              <a:rPr kumimoji="0" lang="en-US" sz="2400" b="0" i="0" u="none" strike="noStrike" kern="1200" cap="none" spc="0" normalizeH="0" baseline="0" noProof="0">
                <a:ln>
                  <a:noFill/>
                </a:ln>
                <a:solidFill>
                  <a:srgbClr val="FFFFFF"/>
                </a:solidFill>
                <a:effectLst/>
                <a:uLnTx/>
                <a:uFillTx/>
                <a:latin typeface="GT Sectra Fine" pitchFamily="2" charset="77"/>
                <a:ea typeface="+mn-ea"/>
                <a:cs typeface="+mn-cs"/>
                <a:hlinkClick r:id="rId3" action="ppaction://hlinksldjump">
                  <a:extLst>
                    <a:ext uri="{A12FA001-AC4F-418D-AE19-62706E023703}">
                      <ahyp:hlinkClr xmlns:ahyp="http://schemas.microsoft.com/office/drawing/2018/hyperlinkcolor" val="tx"/>
                    </a:ext>
                  </a:extLst>
                </a:hlinkClick>
              </a:rPr>
              <a:t>Processes</a:t>
            </a:r>
            <a:endParaRPr kumimoji="0" lang="en-US" sz="2400" b="0" i="0" u="none" strike="noStrike" kern="1200" cap="none" spc="0" normalizeH="0" baseline="0" noProof="0" dirty="0">
              <a:ln>
                <a:noFill/>
              </a:ln>
              <a:solidFill>
                <a:srgbClr val="FFFFFF"/>
              </a:solidFill>
              <a:effectLst/>
              <a:uLnTx/>
              <a:uFillTx/>
              <a:latin typeface="GT Sectra Fine" pitchFamily="2" charset="77"/>
              <a:ea typeface="+mn-ea"/>
              <a:cs typeface="+mn-cs"/>
            </a:endParaRPr>
          </a:p>
        </p:txBody>
      </p:sp>
      <p:sp>
        <p:nvSpPr>
          <p:cNvPr id="2" name="Freeform: Shape 1">
            <a:hlinkClick r:id="rId4" action="ppaction://hlinksldjump"/>
            <a:extLst>
              <a:ext uri="{FF2B5EF4-FFF2-40B4-BE49-F238E27FC236}">
                <a16:creationId xmlns:a16="http://schemas.microsoft.com/office/drawing/2014/main" id="{4273594B-4F7D-4091-BE75-91297B39482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7" name="TextBox 6">
            <a:extLst>
              <a:ext uri="{FF2B5EF4-FFF2-40B4-BE49-F238E27FC236}">
                <a16:creationId xmlns:a16="http://schemas.microsoft.com/office/drawing/2014/main" id="{21502B95-5EDF-4B04-86DC-47E6FD6E8EB0}"/>
              </a:ext>
            </a:extLst>
          </p:cNvPr>
          <p:cNvSpPr txBox="1"/>
          <p:nvPr/>
        </p:nvSpPr>
        <p:spPr>
          <a:xfrm>
            <a:off x="11661569" y="54626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9" name="Rectangle 8">
            <a:hlinkClick r:id="rId4" action="ppaction://hlinksldjump"/>
            <a:extLst>
              <a:ext uri="{FF2B5EF4-FFF2-40B4-BE49-F238E27FC236}">
                <a16:creationId xmlns:a16="http://schemas.microsoft.com/office/drawing/2014/main" id="{10921BAC-0CAA-4409-934E-0AB753B6B5A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9323216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1</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E892BDAD-1045-4884-AE31-861BE5830E5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5" name="Group 13">
            <a:extLst>
              <a:ext uri="{FF2B5EF4-FFF2-40B4-BE49-F238E27FC236}">
                <a16:creationId xmlns:a16="http://schemas.microsoft.com/office/drawing/2014/main" id="{B5CB2525-3FF7-489D-8DF3-431044B7E216}"/>
              </a:ext>
            </a:extLst>
          </p:cNvPr>
          <p:cNvGrpSpPr>
            <a:grpSpLocks noChangeAspect="1"/>
          </p:cNvGrpSpPr>
          <p:nvPr/>
        </p:nvGrpSpPr>
        <p:grpSpPr bwMode="auto">
          <a:xfrm>
            <a:off x="2375872" y="1773177"/>
            <a:ext cx="3432097" cy="3612118"/>
            <a:chOff x="960" y="1442"/>
            <a:chExt cx="1824" cy="1920"/>
          </a:xfrm>
        </p:grpSpPr>
        <p:sp>
          <p:nvSpPr>
            <p:cNvPr id="26" name="Freeform 14">
              <a:extLst>
                <a:ext uri="{FF2B5EF4-FFF2-40B4-BE49-F238E27FC236}">
                  <a16:creationId xmlns:a16="http://schemas.microsoft.com/office/drawing/2014/main" id="{8398E1A3-AEA2-4B19-9E04-77065CEE0ED5}"/>
                </a:ext>
              </a:extLst>
            </p:cNvPr>
            <p:cNvSpPr>
              <a:spLocks/>
            </p:cNvSpPr>
            <p:nvPr/>
          </p:nvSpPr>
          <p:spPr bwMode="auto">
            <a:xfrm>
              <a:off x="960" y="1442"/>
              <a:ext cx="1824" cy="1920"/>
            </a:xfrm>
            <a:custGeom>
              <a:avLst/>
              <a:gdLst/>
              <a:ahLst/>
              <a:cxnLst>
                <a:cxn ang="0">
                  <a:pos x="218" y="1220"/>
                </a:cxn>
                <a:cxn ang="0">
                  <a:pos x="346" y="1238"/>
                </a:cxn>
                <a:cxn ang="0">
                  <a:pos x="496" y="1297"/>
                </a:cxn>
                <a:cxn ang="0">
                  <a:pos x="659" y="1316"/>
                </a:cxn>
                <a:cxn ang="0">
                  <a:pos x="856" y="1288"/>
                </a:cxn>
                <a:cxn ang="0">
                  <a:pos x="1028" y="1205"/>
                </a:cxn>
                <a:cxn ang="0">
                  <a:pos x="1168" y="1077"/>
                </a:cxn>
                <a:cxn ang="0">
                  <a:pos x="1255" y="944"/>
                </a:cxn>
                <a:cxn ang="0">
                  <a:pos x="1306" y="791"/>
                </a:cxn>
                <a:cxn ang="0">
                  <a:pos x="1318" y="625"/>
                </a:cxn>
                <a:cxn ang="0">
                  <a:pos x="1306" y="526"/>
                </a:cxn>
                <a:cxn ang="0">
                  <a:pos x="1279" y="433"/>
                </a:cxn>
                <a:cxn ang="0">
                  <a:pos x="1239" y="346"/>
                </a:cxn>
                <a:cxn ang="0">
                  <a:pos x="1125" y="194"/>
                </a:cxn>
                <a:cxn ang="0">
                  <a:pos x="973" y="80"/>
                </a:cxn>
                <a:cxn ang="0">
                  <a:pos x="886" y="40"/>
                </a:cxn>
                <a:cxn ang="0">
                  <a:pos x="793" y="13"/>
                </a:cxn>
                <a:cxn ang="0">
                  <a:pos x="694" y="1"/>
                </a:cxn>
                <a:cxn ang="0">
                  <a:pos x="559" y="8"/>
                </a:cxn>
                <a:cxn ang="0">
                  <a:pos x="464" y="30"/>
                </a:cxn>
                <a:cxn ang="0">
                  <a:pos x="375" y="64"/>
                </a:cxn>
                <a:cxn ang="0">
                  <a:pos x="241" y="151"/>
                </a:cxn>
                <a:cxn ang="0">
                  <a:pos x="113" y="291"/>
                </a:cxn>
                <a:cxn ang="0">
                  <a:pos x="52" y="403"/>
                </a:cxn>
                <a:cxn ang="0">
                  <a:pos x="21" y="494"/>
                </a:cxn>
                <a:cxn ang="0">
                  <a:pos x="3" y="591"/>
                </a:cxn>
                <a:cxn ang="0">
                  <a:pos x="4" y="728"/>
                </a:cxn>
                <a:cxn ang="0">
                  <a:pos x="55" y="921"/>
                </a:cxn>
                <a:cxn ang="0">
                  <a:pos x="159" y="1087"/>
                </a:cxn>
                <a:cxn ang="0">
                  <a:pos x="416" y="895"/>
                </a:cxn>
                <a:cxn ang="0">
                  <a:pos x="359" y="817"/>
                </a:cxn>
                <a:cxn ang="0">
                  <a:pos x="327" y="726"/>
                </a:cxn>
                <a:cxn ang="0">
                  <a:pos x="322" y="624"/>
                </a:cxn>
                <a:cxn ang="0">
                  <a:pos x="347" y="527"/>
                </a:cxn>
                <a:cxn ang="0">
                  <a:pos x="399" y="443"/>
                </a:cxn>
                <a:cxn ang="0">
                  <a:pos x="471" y="378"/>
                </a:cxn>
                <a:cxn ang="0">
                  <a:pos x="559" y="335"/>
                </a:cxn>
                <a:cxn ang="0">
                  <a:pos x="659" y="320"/>
                </a:cxn>
                <a:cxn ang="0">
                  <a:pos x="760" y="335"/>
                </a:cxn>
                <a:cxn ang="0">
                  <a:pos x="849" y="378"/>
                </a:cxn>
                <a:cxn ang="0">
                  <a:pos x="921" y="443"/>
                </a:cxn>
                <a:cxn ang="0">
                  <a:pos x="972" y="527"/>
                </a:cxn>
                <a:cxn ang="0">
                  <a:pos x="997" y="624"/>
                </a:cxn>
                <a:cxn ang="0">
                  <a:pos x="992" y="727"/>
                </a:cxn>
                <a:cxn ang="0">
                  <a:pos x="958" y="820"/>
                </a:cxn>
                <a:cxn ang="0">
                  <a:pos x="899" y="898"/>
                </a:cxn>
                <a:cxn ang="0">
                  <a:pos x="820" y="957"/>
                </a:cxn>
                <a:cxn ang="0">
                  <a:pos x="727" y="991"/>
                </a:cxn>
                <a:cxn ang="0">
                  <a:pos x="612" y="994"/>
                </a:cxn>
                <a:cxn ang="0">
                  <a:pos x="482" y="948"/>
                </a:cxn>
              </a:cxnLst>
              <a:rect l="0" t="0" r="r" b="b"/>
              <a:pathLst>
                <a:path w="1319" h="1317">
                  <a:moveTo>
                    <a:pt x="518" y="912"/>
                  </a:moveTo>
                  <a:lnTo>
                    <a:pt x="280" y="973"/>
                  </a:lnTo>
                  <a:lnTo>
                    <a:pt x="218" y="1220"/>
                  </a:lnTo>
                  <a:lnTo>
                    <a:pt x="256" y="1181"/>
                  </a:lnTo>
                  <a:lnTo>
                    <a:pt x="300" y="1211"/>
                  </a:lnTo>
                  <a:lnTo>
                    <a:pt x="346" y="1238"/>
                  </a:lnTo>
                  <a:lnTo>
                    <a:pt x="394" y="1262"/>
                  </a:lnTo>
                  <a:lnTo>
                    <a:pt x="443" y="1281"/>
                  </a:lnTo>
                  <a:lnTo>
                    <a:pt x="496" y="1297"/>
                  </a:lnTo>
                  <a:lnTo>
                    <a:pt x="549" y="1308"/>
                  </a:lnTo>
                  <a:lnTo>
                    <a:pt x="603" y="1316"/>
                  </a:lnTo>
                  <a:lnTo>
                    <a:pt x="659" y="1316"/>
                  </a:lnTo>
                  <a:lnTo>
                    <a:pt x="727" y="1315"/>
                  </a:lnTo>
                  <a:lnTo>
                    <a:pt x="793" y="1304"/>
                  </a:lnTo>
                  <a:lnTo>
                    <a:pt x="856" y="1288"/>
                  </a:lnTo>
                  <a:lnTo>
                    <a:pt x="915" y="1266"/>
                  </a:lnTo>
                  <a:lnTo>
                    <a:pt x="973" y="1238"/>
                  </a:lnTo>
                  <a:lnTo>
                    <a:pt x="1028" y="1205"/>
                  </a:lnTo>
                  <a:lnTo>
                    <a:pt x="1079" y="1167"/>
                  </a:lnTo>
                  <a:lnTo>
                    <a:pt x="1125" y="1124"/>
                  </a:lnTo>
                  <a:lnTo>
                    <a:pt x="1168" y="1077"/>
                  </a:lnTo>
                  <a:lnTo>
                    <a:pt x="1207" y="1026"/>
                  </a:lnTo>
                  <a:lnTo>
                    <a:pt x="1239" y="972"/>
                  </a:lnTo>
                  <a:lnTo>
                    <a:pt x="1255" y="944"/>
                  </a:lnTo>
                  <a:lnTo>
                    <a:pt x="1267" y="915"/>
                  </a:lnTo>
                  <a:lnTo>
                    <a:pt x="1289" y="854"/>
                  </a:lnTo>
                  <a:lnTo>
                    <a:pt x="1306" y="791"/>
                  </a:lnTo>
                  <a:lnTo>
                    <a:pt x="1315" y="726"/>
                  </a:lnTo>
                  <a:lnTo>
                    <a:pt x="1317" y="659"/>
                  </a:lnTo>
                  <a:lnTo>
                    <a:pt x="1318" y="625"/>
                  </a:lnTo>
                  <a:lnTo>
                    <a:pt x="1315" y="591"/>
                  </a:lnTo>
                  <a:lnTo>
                    <a:pt x="1311" y="559"/>
                  </a:lnTo>
                  <a:lnTo>
                    <a:pt x="1306" y="526"/>
                  </a:lnTo>
                  <a:lnTo>
                    <a:pt x="1299" y="494"/>
                  </a:lnTo>
                  <a:lnTo>
                    <a:pt x="1289" y="463"/>
                  </a:lnTo>
                  <a:lnTo>
                    <a:pt x="1279" y="433"/>
                  </a:lnTo>
                  <a:lnTo>
                    <a:pt x="1267" y="403"/>
                  </a:lnTo>
                  <a:lnTo>
                    <a:pt x="1255" y="373"/>
                  </a:lnTo>
                  <a:lnTo>
                    <a:pt x="1239" y="346"/>
                  </a:lnTo>
                  <a:lnTo>
                    <a:pt x="1207" y="291"/>
                  </a:lnTo>
                  <a:lnTo>
                    <a:pt x="1168" y="240"/>
                  </a:lnTo>
                  <a:lnTo>
                    <a:pt x="1125" y="194"/>
                  </a:lnTo>
                  <a:lnTo>
                    <a:pt x="1079" y="151"/>
                  </a:lnTo>
                  <a:lnTo>
                    <a:pt x="1028" y="112"/>
                  </a:lnTo>
                  <a:lnTo>
                    <a:pt x="973" y="80"/>
                  </a:lnTo>
                  <a:lnTo>
                    <a:pt x="945" y="64"/>
                  </a:lnTo>
                  <a:lnTo>
                    <a:pt x="915" y="52"/>
                  </a:lnTo>
                  <a:lnTo>
                    <a:pt x="886" y="40"/>
                  </a:lnTo>
                  <a:lnTo>
                    <a:pt x="856" y="30"/>
                  </a:lnTo>
                  <a:lnTo>
                    <a:pt x="824" y="20"/>
                  </a:lnTo>
                  <a:lnTo>
                    <a:pt x="793" y="13"/>
                  </a:lnTo>
                  <a:lnTo>
                    <a:pt x="760" y="8"/>
                  </a:lnTo>
                  <a:lnTo>
                    <a:pt x="727" y="4"/>
                  </a:lnTo>
                  <a:lnTo>
                    <a:pt x="694" y="1"/>
                  </a:lnTo>
                  <a:lnTo>
                    <a:pt x="659" y="0"/>
                  </a:lnTo>
                  <a:lnTo>
                    <a:pt x="593" y="4"/>
                  </a:lnTo>
                  <a:lnTo>
                    <a:pt x="559" y="8"/>
                  </a:lnTo>
                  <a:lnTo>
                    <a:pt x="527" y="13"/>
                  </a:lnTo>
                  <a:lnTo>
                    <a:pt x="496" y="20"/>
                  </a:lnTo>
                  <a:lnTo>
                    <a:pt x="464" y="30"/>
                  </a:lnTo>
                  <a:lnTo>
                    <a:pt x="433" y="40"/>
                  </a:lnTo>
                  <a:lnTo>
                    <a:pt x="403" y="52"/>
                  </a:lnTo>
                  <a:lnTo>
                    <a:pt x="375" y="64"/>
                  </a:lnTo>
                  <a:lnTo>
                    <a:pt x="346" y="80"/>
                  </a:lnTo>
                  <a:lnTo>
                    <a:pt x="292" y="112"/>
                  </a:lnTo>
                  <a:lnTo>
                    <a:pt x="241" y="151"/>
                  </a:lnTo>
                  <a:lnTo>
                    <a:pt x="194" y="194"/>
                  </a:lnTo>
                  <a:lnTo>
                    <a:pt x="151" y="240"/>
                  </a:lnTo>
                  <a:lnTo>
                    <a:pt x="113" y="291"/>
                  </a:lnTo>
                  <a:lnTo>
                    <a:pt x="80" y="346"/>
                  </a:lnTo>
                  <a:lnTo>
                    <a:pt x="65" y="373"/>
                  </a:lnTo>
                  <a:lnTo>
                    <a:pt x="52" y="403"/>
                  </a:lnTo>
                  <a:lnTo>
                    <a:pt x="40" y="433"/>
                  </a:lnTo>
                  <a:lnTo>
                    <a:pt x="30" y="463"/>
                  </a:lnTo>
                  <a:lnTo>
                    <a:pt x="21" y="494"/>
                  </a:lnTo>
                  <a:lnTo>
                    <a:pt x="13" y="526"/>
                  </a:lnTo>
                  <a:lnTo>
                    <a:pt x="8" y="559"/>
                  </a:lnTo>
                  <a:lnTo>
                    <a:pt x="3" y="591"/>
                  </a:lnTo>
                  <a:lnTo>
                    <a:pt x="1" y="625"/>
                  </a:lnTo>
                  <a:lnTo>
                    <a:pt x="0" y="659"/>
                  </a:lnTo>
                  <a:lnTo>
                    <a:pt x="4" y="728"/>
                  </a:lnTo>
                  <a:lnTo>
                    <a:pt x="14" y="795"/>
                  </a:lnTo>
                  <a:lnTo>
                    <a:pt x="32" y="860"/>
                  </a:lnTo>
                  <a:lnTo>
                    <a:pt x="55" y="921"/>
                  </a:lnTo>
                  <a:lnTo>
                    <a:pt x="84" y="980"/>
                  </a:lnTo>
                  <a:lnTo>
                    <a:pt x="118" y="1036"/>
                  </a:lnTo>
                  <a:lnTo>
                    <a:pt x="159" y="1087"/>
                  </a:lnTo>
                  <a:lnTo>
                    <a:pt x="203" y="1134"/>
                  </a:lnTo>
                  <a:lnTo>
                    <a:pt x="253" y="938"/>
                  </a:lnTo>
                  <a:lnTo>
                    <a:pt x="416" y="895"/>
                  </a:lnTo>
                  <a:lnTo>
                    <a:pt x="395" y="871"/>
                  </a:lnTo>
                  <a:lnTo>
                    <a:pt x="376" y="845"/>
                  </a:lnTo>
                  <a:lnTo>
                    <a:pt x="359" y="817"/>
                  </a:lnTo>
                  <a:lnTo>
                    <a:pt x="346" y="788"/>
                  </a:lnTo>
                  <a:lnTo>
                    <a:pt x="335" y="757"/>
                  </a:lnTo>
                  <a:lnTo>
                    <a:pt x="327" y="726"/>
                  </a:lnTo>
                  <a:lnTo>
                    <a:pt x="322" y="693"/>
                  </a:lnTo>
                  <a:lnTo>
                    <a:pt x="320" y="659"/>
                  </a:lnTo>
                  <a:lnTo>
                    <a:pt x="322" y="624"/>
                  </a:lnTo>
                  <a:lnTo>
                    <a:pt x="328" y="591"/>
                  </a:lnTo>
                  <a:lnTo>
                    <a:pt x="335" y="559"/>
                  </a:lnTo>
                  <a:lnTo>
                    <a:pt x="347" y="527"/>
                  </a:lnTo>
                  <a:lnTo>
                    <a:pt x="361" y="498"/>
                  </a:lnTo>
                  <a:lnTo>
                    <a:pt x="378" y="469"/>
                  </a:lnTo>
                  <a:lnTo>
                    <a:pt x="399" y="443"/>
                  </a:lnTo>
                  <a:lnTo>
                    <a:pt x="420" y="419"/>
                  </a:lnTo>
                  <a:lnTo>
                    <a:pt x="445" y="397"/>
                  </a:lnTo>
                  <a:lnTo>
                    <a:pt x="471" y="378"/>
                  </a:lnTo>
                  <a:lnTo>
                    <a:pt x="499" y="361"/>
                  </a:lnTo>
                  <a:lnTo>
                    <a:pt x="527" y="347"/>
                  </a:lnTo>
                  <a:lnTo>
                    <a:pt x="559" y="335"/>
                  </a:lnTo>
                  <a:lnTo>
                    <a:pt x="592" y="326"/>
                  </a:lnTo>
                  <a:lnTo>
                    <a:pt x="624" y="322"/>
                  </a:lnTo>
                  <a:lnTo>
                    <a:pt x="659" y="320"/>
                  </a:lnTo>
                  <a:lnTo>
                    <a:pt x="695" y="322"/>
                  </a:lnTo>
                  <a:lnTo>
                    <a:pt x="727" y="326"/>
                  </a:lnTo>
                  <a:lnTo>
                    <a:pt x="760" y="335"/>
                  </a:lnTo>
                  <a:lnTo>
                    <a:pt x="792" y="347"/>
                  </a:lnTo>
                  <a:lnTo>
                    <a:pt x="820" y="361"/>
                  </a:lnTo>
                  <a:lnTo>
                    <a:pt x="849" y="378"/>
                  </a:lnTo>
                  <a:lnTo>
                    <a:pt x="875" y="397"/>
                  </a:lnTo>
                  <a:lnTo>
                    <a:pt x="899" y="419"/>
                  </a:lnTo>
                  <a:lnTo>
                    <a:pt x="921" y="443"/>
                  </a:lnTo>
                  <a:lnTo>
                    <a:pt x="940" y="469"/>
                  </a:lnTo>
                  <a:lnTo>
                    <a:pt x="958" y="498"/>
                  </a:lnTo>
                  <a:lnTo>
                    <a:pt x="972" y="527"/>
                  </a:lnTo>
                  <a:lnTo>
                    <a:pt x="984" y="559"/>
                  </a:lnTo>
                  <a:lnTo>
                    <a:pt x="992" y="591"/>
                  </a:lnTo>
                  <a:lnTo>
                    <a:pt x="997" y="624"/>
                  </a:lnTo>
                  <a:lnTo>
                    <a:pt x="999" y="659"/>
                  </a:lnTo>
                  <a:lnTo>
                    <a:pt x="997" y="694"/>
                  </a:lnTo>
                  <a:lnTo>
                    <a:pt x="992" y="727"/>
                  </a:lnTo>
                  <a:lnTo>
                    <a:pt x="984" y="759"/>
                  </a:lnTo>
                  <a:lnTo>
                    <a:pt x="972" y="791"/>
                  </a:lnTo>
                  <a:lnTo>
                    <a:pt x="958" y="820"/>
                  </a:lnTo>
                  <a:lnTo>
                    <a:pt x="940" y="848"/>
                  </a:lnTo>
                  <a:lnTo>
                    <a:pt x="921" y="873"/>
                  </a:lnTo>
                  <a:lnTo>
                    <a:pt x="899" y="898"/>
                  </a:lnTo>
                  <a:lnTo>
                    <a:pt x="875" y="920"/>
                  </a:lnTo>
                  <a:lnTo>
                    <a:pt x="849" y="940"/>
                  </a:lnTo>
                  <a:lnTo>
                    <a:pt x="820" y="957"/>
                  </a:lnTo>
                  <a:lnTo>
                    <a:pt x="792" y="971"/>
                  </a:lnTo>
                  <a:lnTo>
                    <a:pt x="760" y="983"/>
                  </a:lnTo>
                  <a:lnTo>
                    <a:pt x="727" y="991"/>
                  </a:lnTo>
                  <a:lnTo>
                    <a:pt x="695" y="996"/>
                  </a:lnTo>
                  <a:lnTo>
                    <a:pt x="659" y="998"/>
                  </a:lnTo>
                  <a:lnTo>
                    <a:pt x="612" y="994"/>
                  </a:lnTo>
                  <a:lnTo>
                    <a:pt x="566" y="985"/>
                  </a:lnTo>
                  <a:lnTo>
                    <a:pt x="523" y="969"/>
                  </a:lnTo>
                  <a:lnTo>
                    <a:pt x="482" y="948"/>
                  </a:lnTo>
                  <a:lnTo>
                    <a:pt x="518" y="912"/>
                  </a:lnTo>
                </a:path>
              </a:pathLst>
            </a:custGeom>
            <a:solidFill>
              <a:schemeClr val="accent1"/>
            </a:solidFill>
            <a:ln w="6350" cap="rnd" cmpd="sng">
              <a:noFill/>
              <a:prstDash val="solid"/>
              <a:round/>
              <a:headEnd type="none" w="med" len="med"/>
              <a:tailEnd type="none" w="med" len="med"/>
            </a:ln>
            <a:effectLst/>
          </p:spPr>
          <p:txBody>
            <a:bodyPr lIns="45720" rIns="45720" anchor="ctr" anchorCtr="1"/>
            <a:lstStyle/>
            <a:p>
              <a:endParaRPr lang="en-US" sz="1600"/>
            </a:p>
          </p:txBody>
        </p:sp>
        <p:sp>
          <p:nvSpPr>
            <p:cNvPr id="27" name="Text Box 15">
              <a:extLst>
                <a:ext uri="{FF2B5EF4-FFF2-40B4-BE49-F238E27FC236}">
                  <a16:creationId xmlns:a16="http://schemas.microsoft.com/office/drawing/2014/main" id="{634EE439-9392-49FF-B19B-E4B9D48AFF30}"/>
                </a:ext>
              </a:extLst>
            </p:cNvPr>
            <p:cNvSpPr txBox="1">
              <a:spLocks noChangeArrowheads="1"/>
            </p:cNvSpPr>
            <p:nvPr/>
          </p:nvSpPr>
          <p:spPr bwMode="auto">
            <a:xfrm>
              <a:off x="2339" y="2321"/>
              <a:ext cx="445"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sp>
          <p:nvSpPr>
            <p:cNvPr id="28" name="Text Box 16">
              <a:extLst>
                <a:ext uri="{FF2B5EF4-FFF2-40B4-BE49-F238E27FC236}">
                  <a16:creationId xmlns:a16="http://schemas.microsoft.com/office/drawing/2014/main" id="{E72CA45D-458E-48AB-A277-227D208E21BB}"/>
                </a:ext>
              </a:extLst>
            </p:cNvPr>
            <p:cNvSpPr txBox="1">
              <a:spLocks noChangeArrowheads="1"/>
            </p:cNvSpPr>
            <p:nvPr/>
          </p:nvSpPr>
          <p:spPr bwMode="auto">
            <a:xfrm>
              <a:off x="1319" y="1712"/>
              <a:ext cx="507"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sp>
          <p:nvSpPr>
            <p:cNvPr id="29" name="Text Box 17">
              <a:extLst>
                <a:ext uri="{FF2B5EF4-FFF2-40B4-BE49-F238E27FC236}">
                  <a16:creationId xmlns:a16="http://schemas.microsoft.com/office/drawing/2014/main" id="{E5948532-264B-4C2C-87BA-A6FE9F17E705}"/>
                </a:ext>
              </a:extLst>
            </p:cNvPr>
            <p:cNvSpPr txBox="1">
              <a:spLocks noChangeArrowheads="1"/>
            </p:cNvSpPr>
            <p:nvPr/>
          </p:nvSpPr>
          <p:spPr bwMode="auto">
            <a:xfrm>
              <a:off x="1543" y="2976"/>
              <a:ext cx="657"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grpSp>
      <p:grpSp>
        <p:nvGrpSpPr>
          <p:cNvPr id="30" name="Group 18">
            <a:extLst>
              <a:ext uri="{FF2B5EF4-FFF2-40B4-BE49-F238E27FC236}">
                <a16:creationId xmlns:a16="http://schemas.microsoft.com/office/drawing/2014/main" id="{A4E347F7-F915-4E29-AF90-9D59CFF2194F}"/>
              </a:ext>
            </a:extLst>
          </p:cNvPr>
          <p:cNvGrpSpPr>
            <a:grpSpLocks noChangeAspect="1"/>
          </p:cNvGrpSpPr>
          <p:nvPr/>
        </p:nvGrpSpPr>
        <p:grpSpPr bwMode="auto">
          <a:xfrm>
            <a:off x="6348029" y="1773178"/>
            <a:ext cx="3432097" cy="3587115"/>
            <a:chOff x="3456" y="1456"/>
            <a:chExt cx="1824" cy="1906"/>
          </a:xfrm>
          <a:solidFill>
            <a:schemeClr val="accent2"/>
          </a:solidFill>
        </p:grpSpPr>
        <p:sp>
          <p:nvSpPr>
            <p:cNvPr id="31" name="Freeform 19">
              <a:extLst>
                <a:ext uri="{FF2B5EF4-FFF2-40B4-BE49-F238E27FC236}">
                  <a16:creationId xmlns:a16="http://schemas.microsoft.com/office/drawing/2014/main" id="{2E284CF2-5042-47AD-BEB2-ED95DCB1F123}"/>
                </a:ext>
              </a:extLst>
            </p:cNvPr>
            <p:cNvSpPr>
              <a:spLocks/>
            </p:cNvSpPr>
            <p:nvPr/>
          </p:nvSpPr>
          <p:spPr bwMode="auto">
            <a:xfrm>
              <a:off x="3456" y="1456"/>
              <a:ext cx="1824" cy="1906"/>
            </a:xfrm>
            <a:custGeom>
              <a:avLst/>
              <a:gdLst/>
              <a:ahLst/>
              <a:cxnLst>
                <a:cxn ang="0">
                  <a:pos x="53" y="495"/>
                </a:cxn>
                <a:cxn ang="0">
                  <a:pos x="8" y="652"/>
                </a:cxn>
                <a:cxn ang="0">
                  <a:pos x="1" y="814"/>
                </a:cxn>
                <a:cxn ang="0">
                  <a:pos x="34" y="975"/>
                </a:cxn>
                <a:cxn ang="0">
                  <a:pos x="104" y="1125"/>
                </a:cxn>
                <a:cxn ang="0">
                  <a:pos x="207" y="1258"/>
                </a:cxn>
                <a:cxn ang="0">
                  <a:pos x="340" y="1370"/>
                </a:cxn>
                <a:cxn ang="0">
                  <a:pos x="496" y="1453"/>
                </a:cxn>
                <a:cxn ang="0">
                  <a:pos x="668" y="1503"/>
                </a:cxn>
                <a:cxn ang="0">
                  <a:pos x="849" y="1521"/>
                </a:cxn>
                <a:cxn ang="0">
                  <a:pos x="1030" y="1503"/>
                </a:cxn>
                <a:cxn ang="0">
                  <a:pos x="1201" y="1453"/>
                </a:cxn>
                <a:cxn ang="0">
                  <a:pos x="1358" y="1370"/>
                </a:cxn>
                <a:cxn ang="0">
                  <a:pos x="1491" y="1258"/>
                </a:cxn>
                <a:cxn ang="0">
                  <a:pos x="1594" y="1125"/>
                </a:cxn>
                <a:cxn ang="0">
                  <a:pos x="1663" y="975"/>
                </a:cxn>
                <a:cxn ang="0">
                  <a:pos x="1696" y="814"/>
                </a:cxn>
                <a:cxn ang="0">
                  <a:pos x="1689" y="650"/>
                </a:cxn>
                <a:cxn ang="0">
                  <a:pos x="1642" y="489"/>
                </a:cxn>
                <a:cxn ang="0">
                  <a:pos x="1559" y="343"/>
                </a:cxn>
                <a:cxn ang="0">
                  <a:pos x="1441" y="215"/>
                </a:cxn>
                <a:cxn ang="0">
                  <a:pos x="1296" y="113"/>
                </a:cxn>
                <a:cxn ang="0">
                  <a:pos x="1129" y="41"/>
                </a:cxn>
                <a:cxn ang="0">
                  <a:pos x="949" y="5"/>
                </a:cxn>
                <a:cxn ang="0">
                  <a:pos x="765" y="3"/>
                </a:cxn>
                <a:cxn ang="0">
                  <a:pos x="585" y="37"/>
                </a:cxn>
                <a:cxn ang="0">
                  <a:pos x="416" y="105"/>
                </a:cxn>
                <a:cxn ang="0">
                  <a:pos x="268" y="204"/>
                </a:cxn>
                <a:cxn ang="0">
                  <a:pos x="440" y="268"/>
                </a:cxn>
                <a:cxn ang="0">
                  <a:pos x="650" y="427"/>
                </a:cxn>
                <a:cxn ang="0">
                  <a:pos x="766" y="388"/>
                </a:cxn>
                <a:cxn ang="0">
                  <a:pos x="890" y="381"/>
                </a:cxn>
                <a:cxn ang="0">
                  <a:pos x="1011" y="407"/>
                </a:cxn>
                <a:cxn ang="0">
                  <a:pos x="1119" y="466"/>
                </a:cxn>
                <a:cxn ang="0">
                  <a:pos x="1203" y="548"/>
                </a:cxn>
                <a:cxn ang="0">
                  <a:pos x="1256" y="649"/>
                </a:cxn>
                <a:cxn ang="0">
                  <a:pos x="1273" y="760"/>
                </a:cxn>
                <a:cxn ang="0">
                  <a:pos x="1253" y="874"/>
                </a:cxn>
                <a:cxn ang="0">
                  <a:pos x="1197" y="978"/>
                </a:cxn>
                <a:cxn ang="0">
                  <a:pos x="1109" y="1061"/>
                </a:cxn>
                <a:cxn ang="0">
                  <a:pos x="996" y="1117"/>
                </a:cxn>
                <a:cxn ang="0">
                  <a:pos x="870" y="1140"/>
                </a:cxn>
                <a:cxn ang="0">
                  <a:pos x="742" y="1128"/>
                </a:cxn>
                <a:cxn ang="0">
                  <a:pos x="624" y="1084"/>
                </a:cxn>
                <a:cxn ang="0">
                  <a:pos x="526" y="1008"/>
                </a:cxn>
                <a:cxn ang="0">
                  <a:pos x="458" y="910"/>
                </a:cxn>
                <a:cxn ang="0">
                  <a:pos x="426" y="798"/>
                </a:cxn>
                <a:cxn ang="0">
                  <a:pos x="435" y="687"/>
                </a:cxn>
                <a:cxn ang="0">
                  <a:pos x="473" y="583"/>
                </a:cxn>
                <a:cxn ang="0">
                  <a:pos x="551" y="493"/>
                </a:cxn>
                <a:cxn ang="0">
                  <a:pos x="280" y="308"/>
                </a:cxn>
                <a:cxn ang="0">
                  <a:pos x="104" y="397"/>
                </a:cxn>
              </a:cxnLst>
              <a:rect l="0" t="0" r="r" b="b"/>
              <a:pathLst>
                <a:path w="1699" h="1522">
                  <a:moveTo>
                    <a:pt x="104" y="397"/>
                  </a:moveTo>
                  <a:lnTo>
                    <a:pt x="76" y="444"/>
                  </a:lnTo>
                  <a:lnTo>
                    <a:pt x="53" y="495"/>
                  </a:lnTo>
                  <a:lnTo>
                    <a:pt x="34" y="546"/>
                  </a:lnTo>
                  <a:lnTo>
                    <a:pt x="18" y="598"/>
                  </a:lnTo>
                  <a:lnTo>
                    <a:pt x="8" y="652"/>
                  </a:lnTo>
                  <a:lnTo>
                    <a:pt x="1" y="706"/>
                  </a:lnTo>
                  <a:lnTo>
                    <a:pt x="0" y="760"/>
                  </a:lnTo>
                  <a:lnTo>
                    <a:pt x="1" y="814"/>
                  </a:lnTo>
                  <a:lnTo>
                    <a:pt x="8" y="868"/>
                  </a:lnTo>
                  <a:lnTo>
                    <a:pt x="20" y="922"/>
                  </a:lnTo>
                  <a:lnTo>
                    <a:pt x="34" y="975"/>
                  </a:lnTo>
                  <a:lnTo>
                    <a:pt x="54" y="1025"/>
                  </a:lnTo>
                  <a:lnTo>
                    <a:pt x="76" y="1076"/>
                  </a:lnTo>
                  <a:lnTo>
                    <a:pt x="104" y="1125"/>
                  </a:lnTo>
                  <a:lnTo>
                    <a:pt x="134" y="1172"/>
                  </a:lnTo>
                  <a:lnTo>
                    <a:pt x="169" y="1216"/>
                  </a:lnTo>
                  <a:lnTo>
                    <a:pt x="207" y="1258"/>
                  </a:lnTo>
                  <a:lnTo>
                    <a:pt x="249" y="1298"/>
                  </a:lnTo>
                  <a:lnTo>
                    <a:pt x="293" y="1335"/>
                  </a:lnTo>
                  <a:lnTo>
                    <a:pt x="340" y="1370"/>
                  </a:lnTo>
                  <a:lnTo>
                    <a:pt x="390" y="1400"/>
                  </a:lnTo>
                  <a:lnTo>
                    <a:pt x="442" y="1428"/>
                  </a:lnTo>
                  <a:lnTo>
                    <a:pt x="496" y="1453"/>
                  </a:lnTo>
                  <a:lnTo>
                    <a:pt x="552" y="1473"/>
                  </a:lnTo>
                  <a:lnTo>
                    <a:pt x="609" y="1490"/>
                  </a:lnTo>
                  <a:lnTo>
                    <a:pt x="668" y="1503"/>
                  </a:lnTo>
                  <a:lnTo>
                    <a:pt x="728" y="1513"/>
                  </a:lnTo>
                  <a:lnTo>
                    <a:pt x="788" y="1519"/>
                  </a:lnTo>
                  <a:lnTo>
                    <a:pt x="849" y="1521"/>
                  </a:lnTo>
                  <a:lnTo>
                    <a:pt x="910" y="1519"/>
                  </a:lnTo>
                  <a:lnTo>
                    <a:pt x="970" y="1513"/>
                  </a:lnTo>
                  <a:lnTo>
                    <a:pt x="1030" y="1503"/>
                  </a:lnTo>
                  <a:lnTo>
                    <a:pt x="1088" y="1490"/>
                  </a:lnTo>
                  <a:lnTo>
                    <a:pt x="1145" y="1473"/>
                  </a:lnTo>
                  <a:lnTo>
                    <a:pt x="1201" y="1453"/>
                  </a:lnTo>
                  <a:lnTo>
                    <a:pt x="1256" y="1428"/>
                  </a:lnTo>
                  <a:lnTo>
                    <a:pt x="1308" y="1400"/>
                  </a:lnTo>
                  <a:lnTo>
                    <a:pt x="1358" y="1370"/>
                  </a:lnTo>
                  <a:lnTo>
                    <a:pt x="1405" y="1335"/>
                  </a:lnTo>
                  <a:lnTo>
                    <a:pt x="1449" y="1298"/>
                  </a:lnTo>
                  <a:lnTo>
                    <a:pt x="1491" y="1258"/>
                  </a:lnTo>
                  <a:lnTo>
                    <a:pt x="1529" y="1216"/>
                  </a:lnTo>
                  <a:lnTo>
                    <a:pt x="1563" y="1172"/>
                  </a:lnTo>
                  <a:lnTo>
                    <a:pt x="1594" y="1125"/>
                  </a:lnTo>
                  <a:lnTo>
                    <a:pt x="1622" y="1076"/>
                  </a:lnTo>
                  <a:lnTo>
                    <a:pt x="1644" y="1025"/>
                  </a:lnTo>
                  <a:lnTo>
                    <a:pt x="1663" y="975"/>
                  </a:lnTo>
                  <a:lnTo>
                    <a:pt x="1678" y="922"/>
                  </a:lnTo>
                  <a:lnTo>
                    <a:pt x="1690" y="868"/>
                  </a:lnTo>
                  <a:lnTo>
                    <a:pt x="1696" y="814"/>
                  </a:lnTo>
                  <a:lnTo>
                    <a:pt x="1698" y="760"/>
                  </a:lnTo>
                  <a:lnTo>
                    <a:pt x="1696" y="705"/>
                  </a:lnTo>
                  <a:lnTo>
                    <a:pt x="1689" y="650"/>
                  </a:lnTo>
                  <a:lnTo>
                    <a:pt x="1678" y="595"/>
                  </a:lnTo>
                  <a:lnTo>
                    <a:pt x="1662" y="542"/>
                  </a:lnTo>
                  <a:lnTo>
                    <a:pt x="1642" y="489"/>
                  </a:lnTo>
                  <a:lnTo>
                    <a:pt x="1618" y="439"/>
                  </a:lnTo>
                  <a:lnTo>
                    <a:pt x="1591" y="390"/>
                  </a:lnTo>
                  <a:lnTo>
                    <a:pt x="1559" y="343"/>
                  </a:lnTo>
                  <a:lnTo>
                    <a:pt x="1523" y="297"/>
                  </a:lnTo>
                  <a:lnTo>
                    <a:pt x="1484" y="255"/>
                  </a:lnTo>
                  <a:lnTo>
                    <a:pt x="1441" y="215"/>
                  </a:lnTo>
                  <a:lnTo>
                    <a:pt x="1395" y="177"/>
                  </a:lnTo>
                  <a:lnTo>
                    <a:pt x="1346" y="143"/>
                  </a:lnTo>
                  <a:lnTo>
                    <a:pt x="1296" y="113"/>
                  </a:lnTo>
                  <a:lnTo>
                    <a:pt x="1242" y="86"/>
                  </a:lnTo>
                  <a:lnTo>
                    <a:pt x="1186" y="61"/>
                  </a:lnTo>
                  <a:lnTo>
                    <a:pt x="1129" y="41"/>
                  </a:lnTo>
                  <a:lnTo>
                    <a:pt x="1070" y="25"/>
                  </a:lnTo>
                  <a:lnTo>
                    <a:pt x="1010" y="13"/>
                  </a:lnTo>
                  <a:lnTo>
                    <a:pt x="949" y="5"/>
                  </a:lnTo>
                  <a:lnTo>
                    <a:pt x="888" y="0"/>
                  </a:lnTo>
                  <a:lnTo>
                    <a:pt x="826" y="0"/>
                  </a:lnTo>
                  <a:lnTo>
                    <a:pt x="765" y="3"/>
                  </a:lnTo>
                  <a:lnTo>
                    <a:pt x="704" y="10"/>
                  </a:lnTo>
                  <a:lnTo>
                    <a:pt x="644" y="22"/>
                  </a:lnTo>
                  <a:lnTo>
                    <a:pt x="585" y="37"/>
                  </a:lnTo>
                  <a:lnTo>
                    <a:pt x="525" y="56"/>
                  </a:lnTo>
                  <a:lnTo>
                    <a:pt x="470" y="79"/>
                  </a:lnTo>
                  <a:lnTo>
                    <a:pt x="416" y="105"/>
                  </a:lnTo>
                  <a:lnTo>
                    <a:pt x="364" y="135"/>
                  </a:lnTo>
                  <a:lnTo>
                    <a:pt x="316" y="168"/>
                  </a:lnTo>
                  <a:lnTo>
                    <a:pt x="268" y="204"/>
                  </a:lnTo>
                  <a:lnTo>
                    <a:pt x="225" y="244"/>
                  </a:lnTo>
                  <a:lnTo>
                    <a:pt x="185" y="286"/>
                  </a:lnTo>
                  <a:lnTo>
                    <a:pt x="440" y="268"/>
                  </a:lnTo>
                  <a:lnTo>
                    <a:pt x="582" y="469"/>
                  </a:lnTo>
                  <a:lnTo>
                    <a:pt x="614" y="447"/>
                  </a:lnTo>
                  <a:lnTo>
                    <a:pt x="650" y="427"/>
                  </a:lnTo>
                  <a:lnTo>
                    <a:pt x="686" y="411"/>
                  </a:lnTo>
                  <a:lnTo>
                    <a:pt x="726" y="398"/>
                  </a:lnTo>
                  <a:lnTo>
                    <a:pt x="766" y="388"/>
                  </a:lnTo>
                  <a:lnTo>
                    <a:pt x="808" y="382"/>
                  </a:lnTo>
                  <a:lnTo>
                    <a:pt x="849" y="380"/>
                  </a:lnTo>
                  <a:lnTo>
                    <a:pt x="890" y="381"/>
                  </a:lnTo>
                  <a:lnTo>
                    <a:pt x="932" y="386"/>
                  </a:lnTo>
                  <a:lnTo>
                    <a:pt x="973" y="395"/>
                  </a:lnTo>
                  <a:lnTo>
                    <a:pt x="1011" y="407"/>
                  </a:lnTo>
                  <a:lnTo>
                    <a:pt x="1049" y="424"/>
                  </a:lnTo>
                  <a:lnTo>
                    <a:pt x="1086" y="443"/>
                  </a:lnTo>
                  <a:lnTo>
                    <a:pt x="1119" y="466"/>
                  </a:lnTo>
                  <a:lnTo>
                    <a:pt x="1151" y="489"/>
                  </a:lnTo>
                  <a:lnTo>
                    <a:pt x="1177" y="518"/>
                  </a:lnTo>
                  <a:lnTo>
                    <a:pt x="1203" y="548"/>
                  </a:lnTo>
                  <a:lnTo>
                    <a:pt x="1224" y="580"/>
                  </a:lnTo>
                  <a:lnTo>
                    <a:pt x="1242" y="614"/>
                  </a:lnTo>
                  <a:lnTo>
                    <a:pt x="1256" y="649"/>
                  </a:lnTo>
                  <a:lnTo>
                    <a:pt x="1266" y="685"/>
                  </a:lnTo>
                  <a:lnTo>
                    <a:pt x="1272" y="723"/>
                  </a:lnTo>
                  <a:lnTo>
                    <a:pt x="1273" y="760"/>
                  </a:lnTo>
                  <a:lnTo>
                    <a:pt x="1271" y="798"/>
                  </a:lnTo>
                  <a:lnTo>
                    <a:pt x="1265" y="836"/>
                  </a:lnTo>
                  <a:lnTo>
                    <a:pt x="1253" y="874"/>
                  </a:lnTo>
                  <a:lnTo>
                    <a:pt x="1239" y="910"/>
                  </a:lnTo>
                  <a:lnTo>
                    <a:pt x="1220" y="944"/>
                  </a:lnTo>
                  <a:lnTo>
                    <a:pt x="1197" y="978"/>
                  </a:lnTo>
                  <a:lnTo>
                    <a:pt x="1171" y="1008"/>
                  </a:lnTo>
                  <a:lnTo>
                    <a:pt x="1142" y="1036"/>
                  </a:lnTo>
                  <a:lnTo>
                    <a:pt x="1109" y="1061"/>
                  </a:lnTo>
                  <a:lnTo>
                    <a:pt x="1074" y="1084"/>
                  </a:lnTo>
                  <a:lnTo>
                    <a:pt x="1037" y="1101"/>
                  </a:lnTo>
                  <a:lnTo>
                    <a:pt x="996" y="1117"/>
                  </a:lnTo>
                  <a:lnTo>
                    <a:pt x="955" y="1128"/>
                  </a:lnTo>
                  <a:lnTo>
                    <a:pt x="913" y="1136"/>
                  </a:lnTo>
                  <a:lnTo>
                    <a:pt x="870" y="1140"/>
                  </a:lnTo>
                  <a:lnTo>
                    <a:pt x="827" y="1140"/>
                  </a:lnTo>
                  <a:lnTo>
                    <a:pt x="784" y="1136"/>
                  </a:lnTo>
                  <a:lnTo>
                    <a:pt x="742" y="1128"/>
                  </a:lnTo>
                  <a:lnTo>
                    <a:pt x="701" y="1117"/>
                  </a:lnTo>
                  <a:lnTo>
                    <a:pt x="661" y="1101"/>
                  </a:lnTo>
                  <a:lnTo>
                    <a:pt x="624" y="1084"/>
                  </a:lnTo>
                  <a:lnTo>
                    <a:pt x="589" y="1061"/>
                  </a:lnTo>
                  <a:lnTo>
                    <a:pt x="556" y="1036"/>
                  </a:lnTo>
                  <a:lnTo>
                    <a:pt x="526" y="1008"/>
                  </a:lnTo>
                  <a:lnTo>
                    <a:pt x="501" y="978"/>
                  </a:lnTo>
                  <a:lnTo>
                    <a:pt x="477" y="944"/>
                  </a:lnTo>
                  <a:lnTo>
                    <a:pt x="458" y="910"/>
                  </a:lnTo>
                  <a:lnTo>
                    <a:pt x="445" y="874"/>
                  </a:lnTo>
                  <a:lnTo>
                    <a:pt x="433" y="836"/>
                  </a:lnTo>
                  <a:lnTo>
                    <a:pt x="426" y="798"/>
                  </a:lnTo>
                  <a:lnTo>
                    <a:pt x="424" y="760"/>
                  </a:lnTo>
                  <a:lnTo>
                    <a:pt x="428" y="723"/>
                  </a:lnTo>
                  <a:lnTo>
                    <a:pt x="435" y="687"/>
                  </a:lnTo>
                  <a:lnTo>
                    <a:pt x="445" y="652"/>
                  </a:lnTo>
                  <a:lnTo>
                    <a:pt x="457" y="617"/>
                  </a:lnTo>
                  <a:lnTo>
                    <a:pt x="473" y="583"/>
                  </a:lnTo>
                  <a:lnTo>
                    <a:pt x="493" y="550"/>
                  </a:lnTo>
                  <a:lnTo>
                    <a:pt x="613" y="591"/>
                  </a:lnTo>
                  <a:lnTo>
                    <a:pt x="551" y="493"/>
                  </a:lnTo>
                  <a:lnTo>
                    <a:pt x="486" y="394"/>
                  </a:lnTo>
                  <a:lnTo>
                    <a:pt x="419" y="299"/>
                  </a:lnTo>
                  <a:lnTo>
                    <a:pt x="280" y="308"/>
                  </a:lnTo>
                  <a:lnTo>
                    <a:pt x="143" y="322"/>
                  </a:lnTo>
                  <a:lnTo>
                    <a:pt x="5" y="337"/>
                  </a:lnTo>
                  <a:lnTo>
                    <a:pt x="104" y="397"/>
                  </a:lnTo>
                </a:path>
              </a:pathLst>
            </a:custGeom>
            <a:solidFill>
              <a:schemeClr val="accent3"/>
            </a:solidFill>
            <a:ln w="12700" cap="rnd" cmpd="sng">
              <a:noFill/>
              <a:prstDash val="solid"/>
              <a:round/>
              <a:headEnd/>
              <a:tailEnd/>
            </a:ln>
            <a:effectLst/>
          </p:spPr>
          <p:txBody>
            <a:bodyPr lIns="45720" rIns="45720" anchor="ctr" anchorCtr="1"/>
            <a:lstStyle/>
            <a:p>
              <a:endParaRPr lang="en-US" sz="1600"/>
            </a:p>
          </p:txBody>
        </p:sp>
        <p:sp>
          <p:nvSpPr>
            <p:cNvPr id="32" name="Text Box 20">
              <a:extLst>
                <a:ext uri="{FF2B5EF4-FFF2-40B4-BE49-F238E27FC236}">
                  <a16:creationId xmlns:a16="http://schemas.microsoft.com/office/drawing/2014/main" id="{BBC60170-0EAD-46C8-A4C8-8A73149DBE52}"/>
                </a:ext>
              </a:extLst>
            </p:cNvPr>
            <p:cNvSpPr txBox="1">
              <a:spLocks noChangeArrowheads="1"/>
            </p:cNvSpPr>
            <p:nvPr/>
          </p:nvSpPr>
          <p:spPr bwMode="auto">
            <a:xfrm>
              <a:off x="3495" y="2321"/>
              <a:ext cx="419"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sp>
          <p:nvSpPr>
            <p:cNvPr id="33" name="Text Box 21">
              <a:extLst>
                <a:ext uri="{FF2B5EF4-FFF2-40B4-BE49-F238E27FC236}">
                  <a16:creationId xmlns:a16="http://schemas.microsoft.com/office/drawing/2014/main" id="{7A3FCE69-94CB-428E-BEED-39F20CBB4B77}"/>
                </a:ext>
              </a:extLst>
            </p:cNvPr>
            <p:cNvSpPr txBox="1">
              <a:spLocks noChangeArrowheads="1"/>
            </p:cNvSpPr>
            <p:nvPr/>
          </p:nvSpPr>
          <p:spPr bwMode="auto">
            <a:xfrm>
              <a:off x="4417" y="1712"/>
              <a:ext cx="498"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sp>
          <p:nvSpPr>
            <p:cNvPr id="34" name="Text Box 22">
              <a:extLst>
                <a:ext uri="{FF2B5EF4-FFF2-40B4-BE49-F238E27FC236}">
                  <a16:creationId xmlns:a16="http://schemas.microsoft.com/office/drawing/2014/main" id="{F32F2AAB-AF11-4A57-AB8A-0E9C4787DCCB}"/>
                </a:ext>
              </a:extLst>
            </p:cNvPr>
            <p:cNvSpPr txBox="1">
              <a:spLocks noChangeArrowheads="1"/>
            </p:cNvSpPr>
            <p:nvPr/>
          </p:nvSpPr>
          <p:spPr bwMode="auto">
            <a:xfrm>
              <a:off x="4239" y="2976"/>
              <a:ext cx="519" cy="161"/>
            </a:xfrm>
            <a:prstGeom prst="rect">
              <a:avLst/>
            </a:prstGeom>
            <a:noFill/>
            <a:ln w="6350">
              <a:noFill/>
              <a:miter lim="800000"/>
              <a:headEnd/>
              <a:tailEnd/>
            </a:ln>
            <a:effectLst/>
          </p:spPr>
          <p:txBody>
            <a:bodyPr lIns="45720" rIns="45720" anchor="ctr" anchorCtr="1"/>
            <a:lstStyle/>
            <a:p>
              <a:pPr eaLnBrk="0" hangingPunct="0"/>
              <a:r>
                <a:rPr lang="en-US" sz="1600" b="1" dirty="0">
                  <a:solidFill>
                    <a:schemeClr val="bg1"/>
                  </a:solidFill>
                </a:rPr>
                <a:t>Text</a:t>
              </a:r>
            </a:p>
          </p:txBody>
        </p:sp>
      </p:grpSp>
    </p:spTree>
    <p:extLst>
      <p:ext uri="{BB962C8B-B14F-4D97-AF65-F5344CB8AC3E}">
        <p14:creationId xmlns:p14="http://schemas.microsoft.com/office/powerpoint/2010/main" val="111653771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2</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B608D2A-3FFF-4684-9C8C-D656914765B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5" name="Group 14">
            <a:extLst>
              <a:ext uri="{FF2B5EF4-FFF2-40B4-BE49-F238E27FC236}">
                <a16:creationId xmlns:a16="http://schemas.microsoft.com/office/drawing/2014/main" id="{74D32804-8484-4DD9-8C5E-EDA67BCE7E32}"/>
              </a:ext>
            </a:extLst>
          </p:cNvPr>
          <p:cNvGrpSpPr>
            <a:grpSpLocks noChangeAspect="1"/>
          </p:cNvGrpSpPr>
          <p:nvPr/>
        </p:nvGrpSpPr>
        <p:grpSpPr bwMode="auto">
          <a:xfrm>
            <a:off x="2171564" y="1858451"/>
            <a:ext cx="3838094" cy="3498419"/>
            <a:chOff x="684213" y="1532528"/>
            <a:chExt cx="3429000" cy="3303730"/>
          </a:xfrm>
          <a:solidFill>
            <a:schemeClr val="accent1"/>
          </a:solidFill>
        </p:grpSpPr>
        <p:sp>
          <p:nvSpPr>
            <p:cNvPr id="16" name="Freeform 16">
              <a:extLst>
                <a:ext uri="{FF2B5EF4-FFF2-40B4-BE49-F238E27FC236}">
                  <a16:creationId xmlns:a16="http://schemas.microsoft.com/office/drawing/2014/main" id="{9288F8C2-2B70-46D3-8326-66155612A722}"/>
                </a:ext>
              </a:extLst>
            </p:cNvPr>
            <p:cNvSpPr>
              <a:spLocks/>
            </p:cNvSpPr>
            <p:nvPr/>
          </p:nvSpPr>
          <p:spPr bwMode="auto">
            <a:xfrm>
              <a:off x="946150" y="1532528"/>
              <a:ext cx="3167063" cy="1724427"/>
            </a:xfrm>
            <a:custGeom>
              <a:avLst/>
              <a:gdLst/>
              <a:ahLst/>
              <a:cxnLst>
                <a:cxn ang="0">
                  <a:pos x="1566" y="519"/>
                </a:cxn>
                <a:cxn ang="0">
                  <a:pos x="1527" y="423"/>
                </a:cxn>
                <a:cxn ang="0">
                  <a:pos x="1472" y="333"/>
                </a:cxn>
                <a:cxn ang="0">
                  <a:pos x="1404" y="250"/>
                </a:cxn>
                <a:cxn ang="0">
                  <a:pos x="1323" y="177"/>
                </a:cxn>
                <a:cxn ang="0">
                  <a:pos x="1232" y="115"/>
                </a:cxn>
                <a:cxn ang="0">
                  <a:pos x="1131" y="66"/>
                </a:cxn>
                <a:cxn ang="0">
                  <a:pos x="1023" y="30"/>
                </a:cxn>
                <a:cxn ang="0">
                  <a:pos x="911" y="7"/>
                </a:cxn>
                <a:cxn ang="0">
                  <a:pos x="796" y="0"/>
                </a:cxn>
                <a:cxn ang="0">
                  <a:pos x="683" y="7"/>
                </a:cxn>
                <a:cxn ang="0">
                  <a:pos x="570" y="29"/>
                </a:cxn>
                <a:cxn ang="0">
                  <a:pos x="462" y="65"/>
                </a:cxn>
                <a:cxn ang="0">
                  <a:pos x="361" y="114"/>
                </a:cxn>
                <a:cxn ang="0">
                  <a:pos x="270" y="175"/>
                </a:cxn>
                <a:cxn ang="0">
                  <a:pos x="189" y="248"/>
                </a:cxn>
                <a:cxn ang="0">
                  <a:pos x="120" y="330"/>
                </a:cxn>
                <a:cxn ang="0">
                  <a:pos x="65" y="421"/>
                </a:cxn>
                <a:cxn ang="0">
                  <a:pos x="24" y="517"/>
                </a:cxn>
                <a:cxn ang="0">
                  <a:pos x="0" y="616"/>
                </a:cxn>
                <a:cxn ang="0">
                  <a:pos x="233" y="479"/>
                </a:cxn>
                <a:cxn ang="0">
                  <a:pos x="435" y="582"/>
                </a:cxn>
                <a:cxn ang="0">
                  <a:pos x="476" y="521"/>
                </a:cxn>
                <a:cxn ang="0">
                  <a:pos x="531" y="468"/>
                </a:cxn>
                <a:cxn ang="0">
                  <a:pos x="595" y="428"/>
                </a:cxn>
                <a:cxn ang="0">
                  <a:pos x="668" y="398"/>
                </a:cxn>
                <a:cxn ang="0">
                  <a:pos x="746" y="381"/>
                </a:cxn>
                <a:cxn ang="0">
                  <a:pos x="826" y="379"/>
                </a:cxn>
                <a:cxn ang="0">
                  <a:pos x="905" y="391"/>
                </a:cxn>
                <a:cxn ang="0">
                  <a:pos x="979" y="417"/>
                </a:cxn>
                <a:cxn ang="0">
                  <a:pos x="1046" y="455"/>
                </a:cxn>
                <a:cxn ang="0">
                  <a:pos x="1104" y="505"/>
                </a:cxn>
                <a:cxn ang="0">
                  <a:pos x="1150" y="564"/>
                </a:cxn>
                <a:cxn ang="0">
                  <a:pos x="1025" y="570"/>
                </a:cxn>
                <a:cxn ang="0">
                  <a:pos x="1690" y="570"/>
                </a:cxn>
              </a:cxnLst>
              <a:rect l="0" t="0" r="r" b="b"/>
              <a:pathLst>
                <a:path w="1691" h="783">
                  <a:moveTo>
                    <a:pt x="1581" y="570"/>
                  </a:moveTo>
                  <a:lnTo>
                    <a:pt x="1566" y="519"/>
                  </a:lnTo>
                  <a:lnTo>
                    <a:pt x="1549" y="471"/>
                  </a:lnTo>
                  <a:lnTo>
                    <a:pt x="1527" y="423"/>
                  </a:lnTo>
                  <a:lnTo>
                    <a:pt x="1501" y="377"/>
                  </a:lnTo>
                  <a:lnTo>
                    <a:pt x="1472" y="333"/>
                  </a:lnTo>
                  <a:lnTo>
                    <a:pt x="1440" y="291"/>
                  </a:lnTo>
                  <a:lnTo>
                    <a:pt x="1404" y="250"/>
                  </a:lnTo>
                  <a:lnTo>
                    <a:pt x="1365" y="212"/>
                  </a:lnTo>
                  <a:lnTo>
                    <a:pt x="1323" y="177"/>
                  </a:lnTo>
                  <a:lnTo>
                    <a:pt x="1278" y="145"/>
                  </a:lnTo>
                  <a:lnTo>
                    <a:pt x="1232" y="115"/>
                  </a:lnTo>
                  <a:lnTo>
                    <a:pt x="1182" y="90"/>
                  </a:lnTo>
                  <a:lnTo>
                    <a:pt x="1131" y="66"/>
                  </a:lnTo>
                  <a:lnTo>
                    <a:pt x="1078" y="45"/>
                  </a:lnTo>
                  <a:lnTo>
                    <a:pt x="1023" y="30"/>
                  </a:lnTo>
                  <a:lnTo>
                    <a:pt x="968" y="17"/>
                  </a:lnTo>
                  <a:lnTo>
                    <a:pt x="911" y="7"/>
                  </a:lnTo>
                  <a:lnTo>
                    <a:pt x="853" y="1"/>
                  </a:lnTo>
                  <a:lnTo>
                    <a:pt x="796" y="0"/>
                  </a:lnTo>
                  <a:lnTo>
                    <a:pt x="740" y="1"/>
                  </a:lnTo>
                  <a:lnTo>
                    <a:pt x="683" y="7"/>
                  </a:lnTo>
                  <a:lnTo>
                    <a:pt x="626" y="16"/>
                  </a:lnTo>
                  <a:lnTo>
                    <a:pt x="570" y="29"/>
                  </a:lnTo>
                  <a:lnTo>
                    <a:pt x="515" y="45"/>
                  </a:lnTo>
                  <a:lnTo>
                    <a:pt x="462" y="65"/>
                  </a:lnTo>
                  <a:lnTo>
                    <a:pt x="411" y="87"/>
                  </a:lnTo>
                  <a:lnTo>
                    <a:pt x="361" y="114"/>
                  </a:lnTo>
                  <a:lnTo>
                    <a:pt x="315" y="143"/>
                  </a:lnTo>
                  <a:lnTo>
                    <a:pt x="270" y="175"/>
                  </a:lnTo>
                  <a:lnTo>
                    <a:pt x="227" y="210"/>
                  </a:lnTo>
                  <a:lnTo>
                    <a:pt x="189" y="248"/>
                  </a:lnTo>
                  <a:lnTo>
                    <a:pt x="152" y="287"/>
                  </a:lnTo>
                  <a:lnTo>
                    <a:pt x="120" y="330"/>
                  </a:lnTo>
                  <a:lnTo>
                    <a:pt x="91" y="375"/>
                  </a:lnTo>
                  <a:lnTo>
                    <a:pt x="65" y="421"/>
                  </a:lnTo>
                  <a:lnTo>
                    <a:pt x="43" y="467"/>
                  </a:lnTo>
                  <a:lnTo>
                    <a:pt x="24" y="517"/>
                  </a:lnTo>
                  <a:lnTo>
                    <a:pt x="10" y="567"/>
                  </a:lnTo>
                  <a:lnTo>
                    <a:pt x="0" y="616"/>
                  </a:lnTo>
                  <a:lnTo>
                    <a:pt x="118" y="549"/>
                  </a:lnTo>
                  <a:lnTo>
                    <a:pt x="233" y="479"/>
                  </a:lnTo>
                  <a:lnTo>
                    <a:pt x="419" y="615"/>
                  </a:lnTo>
                  <a:lnTo>
                    <a:pt x="435" y="582"/>
                  </a:lnTo>
                  <a:lnTo>
                    <a:pt x="454" y="550"/>
                  </a:lnTo>
                  <a:lnTo>
                    <a:pt x="476" y="521"/>
                  </a:lnTo>
                  <a:lnTo>
                    <a:pt x="502" y="494"/>
                  </a:lnTo>
                  <a:lnTo>
                    <a:pt x="531" y="468"/>
                  </a:lnTo>
                  <a:lnTo>
                    <a:pt x="563" y="446"/>
                  </a:lnTo>
                  <a:lnTo>
                    <a:pt x="595" y="428"/>
                  </a:lnTo>
                  <a:lnTo>
                    <a:pt x="631" y="411"/>
                  </a:lnTo>
                  <a:lnTo>
                    <a:pt x="668" y="398"/>
                  </a:lnTo>
                  <a:lnTo>
                    <a:pt x="707" y="388"/>
                  </a:lnTo>
                  <a:lnTo>
                    <a:pt x="746" y="381"/>
                  </a:lnTo>
                  <a:lnTo>
                    <a:pt x="785" y="378"/>
                  </a:lnTo>
                  <a:lnTo>
                    <a:pt x="826" y="379"/>
                  </a:lnTo>
                  <a:lnTo>
                    <a:pt x="865" y="383"/>
                  </a:lnTo>
                  <a:lnTo>
                    <a:pt x="905" y="391"/>
                  </a:lnTo>
                  <a:lnTo>
                    <a:pt x="943" y="402"/>
                  </a:lnTo>
                  <a:lnTo>
                    <a:pt x="979" y="417"/>
                  </a:lnTo>
                  <a:lnTo>
                    <a:pt x="1014" y="435"/>
                  </a:lnTo>
                  <a:lnTo>
                    <a:pt x="1046" y="455"/>
                  </a:lnTo>
                  <a:lnTo>
                    <a:pt x="1077" y="479"/>
                  </a:lnTo>
                  <a:lnTo>
                    <a:pt x="1104" y="505"/>
                  </a:lnTo>
                  <a:lnTo>
                    <a:pt x="1128" y="533"/>
                  </a:lnTo>
                  <a:lnTo>
                    <a:pt x="1150" y="564"/>
                  </a:lnTo>
                  <a:lnTo>
                    <a:pt x="1153" y="570"/>
                  </a:lnTo>
                  <a:lnTo>
                    <a:pt x="1025" y="570"/>
                  </a:lnTo>
                  <a:lnTo>
                    <a:pt x="1361" y="782"/>
                  </a:lnTo>
                  <a:lnTo>
                    <a:pt x="1690" y="570"/>
                  </a:lnTo>
                  <a:lnTo>
                    <a:pt x="1581" y="570"/>
                  </a:lnTo>
                </a:path>
              </a:pathLst>
            </a:custGeom>
            <a:grpFill/>
            <a:ln w="6350" cap="rnd" cmpd="sng">
              <a:noFill/>
              <a:prstDash val="solid"/>
              <a:round/>
              <a:headEnd/>
              <a:tailEnd/>
            </a:ln>
            <a:effectLst/>
          </p:spPr>
          <p:txBody>
            <a:bodyPr lIns="45720" rIns="45720" anchor="ctr" anchorCtr="1"/>
            <a:lstStyle/>
            <a:p>
              <a:endParaRPr lang="en-US" sz="1400"/>
            </a:p>
          </p:txBody>
        </p:sp>
        <p:sp>
          <p:nvSpPr>
            <p:cNvPr id="17" name="Freeform 17">
              <a:extLst>
                <a:ext uri="{FF2B5EF4-FFF2-40B4-BE49-F238E27FC236}">
                  <a16:creationId xmlns:a16="http://schemas.microsoft.com/office/drawing/2014/main" id="{D8839640-3D59-4046-8804-E1E9A5967573}"/>
                </a:ext>
              </a:extLst>
            </p:cNvPr>
            <p:cNvSpPr>
              <a:spLocks/>
            </p:cNvSpPr>
            <p:nvPr/>
          </p:nvSpPr>
          <p:spPr bwMode="auto">
            <a:xfrm>
              <a:off x="684213" y="2708895"/>
              <a:ext cx="3275012" cy="2127363"/>
            </a:xfrm>
            <a:custGeom>
              <a:avLst/>
              <a:gdLst/>
              <a:ahLst/>
              <a:cxnLst>
                <a:cxn ang="0">
                  <a:pos x="1344" y="233"/>
                </a:cxn>
                <a:cxn ang="0">
                  <a:pos x="1339" y="307"/>
                </a:cxn>
                <a:cxn ang="0">
                  <a:pos x="1316" y="378"/>
                </a:cxn>
                <a:cxn ang="0">
                  <a:pos x="1279" y="444"/>
                </a:cxn>
                <a:cxn ang="0">
                  <a:pos x="1228" y="501"/>
                </a:cxn>
                <a:cxn ang="0">
                  <a:pos x="1165" y="550"/>
                </a:cxn>
                <a:cxn ang="0">
                  <a:pos x="1091" y="584"/>
                </a:cxn>
                <a:cxn ang="0">
                  <a:pos x="1012" y="605"/>
                </a:cxn>
                <a:cxn ang="0">
                  <a:pos x="930" y="610"/>
                </a:cxn>
                <a:cxn ang="0">
                  <a:pos x="847" y="601"/>
                </a:cxn>
                <a:cxn ang="0">
                  <a:pos x="770" y="577"/>
                </a:cxn>
                <a:cxn ang="0">
                  <a:pos x="698" y="540"/>
                </a:cxn>
                <a:cxn ang="0">
                  <a:pos x="637" y="490"/>
                </a:cxn>
                <a:cxn ang="0">
                  <a:pos x="588" y="430"/>
                </a:cxn>
                <a:cxn ang="0">
                  <a:pos x="554" y="363"/>
                </a:cxn>
                <a:cxn ang="0">
                  <a:pos x="535" y="291"/>
                </a:cxn>
                <a:cxn ang="0">
                  <a:pos x="534" y="216"/>
                </a:cxn>
                <a:cxn ang="0">
                  <a:pos x="373" y="0"/>
                </a:cxn>
                <a:cxn ang="0">
                  <a:pos x="131" y="209"/>
                </a:cxn>
                <a:cxn ang="0">
                  <a:pos x="135" y="314"/>
                </a:cxn>
                <a:cxn ang="0">
                  <a:pos x="155" y="417"/>
                </a:cxn>
                <a:cxn ang="0">
                  <a:pos x="192" y="516"/>
                </a:cxn>
                <a:cxn ang="0">
                  <a:pos x="244" y="609"/>
                </a:cxn>
                <a:cxn ang="0">
                  <a:pos x="310" y="695"/>
                </a:cxn>
                <a:cxn ang="0">
                  <a:pos x="389" y="771"/>
                </a:cxn>
                <a:cxn ang="0">
                  <a:pos x="481" y="837"/>
                </a:cxn>
                <a:cxn ang="0">
                  <a:pos x="581" y="890"/>
                </a:cxn>
                <a:cxn ang="0">
                  <a:pos x="688" y="928"/>
                </a:cxn>
                <a:cxn ang="0">
                  <a:pos x="802" y="954"/>
                </a:cxn>
                <a:cxn ang="0">
                  <a:pos x="917" y="965"/>
                </a:cxn>
                <a:cxn ang="0">
                  <a:pos x="1035" y="959"/>
                </a:cxn>
                <a:cxn ang="0">
                  <a:pos x="1148" y="941"/>
                </a:cxn>
                <a:cxn ang="0">
                  <a:pos x="1259" y="905"/>
                </a:cxn>
                <a:cxn ang="0">
                  <a:pos x="1361" y="858"/>
                </a:cxn>
                <a:cxn ang="0">
                  <a:pos x="1456" y="797"/>
                </a:cxn>
                <a:cxn ang="0">
                  <a:pos x="1540" y="725"/>
                </a:cxn>
                <a:cxn ang="0">
                  <a:pos x="1611" y="642"/>
                </a:cxn>
                <a:cxn ang="0">
                  <a:pos x="1669" y="552"/>
                </a:cxn>
                <a:cxn ang="0">
                  <a:pos x="1711" y="455"/>
                </a:cxn>
                <a:cxn ang="0">
                  <a:pos x="1738" y="352"/>
                </a:cxn>
                <a:cxn ang="0">
                  <a:pos x="1748" y="248"/>
                </a:cxn>
                <a:cxn ang="0">
                  <a:pos x="1740" y="144"/>
                </a:cxn>
                <a:cxn ang="0">
                  <a:pos x="1340" y="195"/>
                </a:cxn>
              </a:cxnLst>
              <a:rect l="0" t="0" r="r" b="b"/>
              <a:pathLst>
                <a:path w="1749" h="966">
                  <a:moveTo>
                    <a:pt x="1340" y="195"/>
                  </a:moveTo>
                  <a:lnTo>
                    <a:pt x="1344" y="233"/>
                  </a:lnTo>
                  <a:lnTo>
                    <a:pt x="1344" y="269"/>
                  </a:lnTo>
                  <a:lnTo>
                    <a:pt x="1339" y="307"/>
                  </a:lnTo>
                  <a:lnTo>
                    <a:pt x="1330" y="343"/>
                  </a:lnTo>
                  <a:lnTo>
                    <a:pt x="1316" y="378"/>
                  </a:lnTo>
                  <a:lnTo>
                    <a:pt x="1300" y="412"/>
                  </a:lnTo>
                  <a:lnTo>
                    <a:pt x="1279" y="444"/>
                  </a:lnTo>
                  <a:lnTo>
                    <a:pt x="1255" y="475"/>
                  </a:lnTo>
                  <a:lnTo>
                    <a:pt x="1228" y="501"/>
                  </a:lnTo>
                  <a:lnTo>
                    <a:pt x="1197" y="526"/>
                  </a:lnTo>
                  <a:lnTo>
                    <a:pt x="1165" y="550"/>
                  </a:lnTo>
                  <a:lnTo>
                    <a:pt x="1128" y="568"/>
                  </a:lnTo>
                  <a:lnTo>
                    <a:pt x="1091" y="584"/>
                  </a:lnTo>
                  <a:lnTo>
                    <a:pt x="1052" y="596"/>
                  </a:lnTo>
                  <a:lnTo>
                    <a:pt x="1012" y="605"/>
                  </a:lnTo>
                  <a:lnTo>
                    <a:pt x="971" y="609"/>
                  </a:lnTo>
                  <a:lnTo>
                    <a:pt x="930" y="610"/>
                  </a:lnTo>
                  <a:lnTo>
                    <a:pt x="888" y="607"/>
                  </a:lnTo>
                  <a:lnTo>
                    <a:pt x="847" y="601"/>
                  </a:lnTo>
                  <a:lnTo>
                    <a:pt x="807" y="590"/>
                  </a:lnTo>
                  <a:lnTo>
                    <a:pt x="770" y="577"/>
                  </a:lnTo>
                  <a:lnTo>
                    <a:pt x="732" y="561"/>
                  </a:lnTo>
                  <a:lnTo>
                    <a:pt x="698" y="540"/>
                  </a:lnTo>
                  <a:lnTo>
                    <a:pt x="665" y="516"/>
                  </a:lnTo>
                  <a:lnTo>
                    <a:pt x="637" y="490"/>
                  </a:lnTo>
                  <a:lnTo>
                    <a:pt x="611" y="461"/>
                  </a:lnTo>
                  <a:lnTo>
                    <a:pt x="588" y="430"/>
                  </a:lnTo>
                  <a:lnTo>
                    <a:pt x="569" y="397"/>
                  </a:lnTo>
                  <a:lnTo>
                    <a:pt x="554" y="363"/>
                  </a:lnTo>
                  <a:lnTo>
                    <a:pt x="543" y="328"/>
                  </a:lnTo>
                  <a:lnTo>
                    <a:pt x="535" y="291"/>
                  </a:lnTo>
                  <a:lnTo>
                    <a:pt x="533" y="254"/>
                  </a:lnTo>
                  <a:lnTo>
                    <a:pt x="534" y="216"/>
                  </a:lnTo>
                  <a:lnTo>
                    <a:pt x="669" y="216"/>
                  </a:lnTo>
                  <a:lnTo>
                    <a:pt x="373" y="0"/>
                  </a:lnTo>
                  <a:lnTo>
                    <a:pt x="0" y="209"/>
                  </a:lnTo>
                  <a:lnTo>
                    <a:pt x="131" y="209"/>
                  </a:lnTo>
                  <a:lnTo>
                    <a:pt x="131" y="261"/>
                  </a:lnTo>
                  <a:lnTo>
                    <a:pt x="135" y="314"/>
                  </a:lnTo>
                  <a:lnTo>
                    <a:pt x="143" y="366"/>
                  </a:lnTo>
                  <a:lnTo>
                    <a:pt x="155" y="417"/>
                  </a:lnTo>
                  <a:lnTo>
                    <a:pt x="172" y="467"/>
                  </a:lnTo>
                  <a:lnTo>
                    <a:pt x="192" y="516"/>
                  </a:lnTo>
                  <a:lnTo>
                    <a:pt x="215" y="564"/>
                  </a:lnTo>
                  <a:lnTo>
                    <a:pt x="244" y="609"/>
                  </a:lnTo>
                  <a:lnTo>
                    <a:pt x="275" y="653"/>
                  </a:lnTo>
                  <a:lnTo>
                    <a:pt x="310" y="695"/>
                  </a:lnTo>
                  <a:lnTo>
                    <a:pt x="349" y="734"/>
                  </a:lnTo>
                  <a:lnTo>
                    <a:pt x="389" y="771"/>
                  </a:lnTo>
                  <a:lnTo>
                    <a:pt x="434" y="806"/>
                  </a:lnTo>
                  <a:lnTo>
                    <a:pt x="481" y="837"/>
                  </a:lnTo>
                  <a:lnTo>
                    <a:pt x="529" y="864"/>
                  </a:lnTo>
                  <a:lnTo>
                    <a:pt x="581" y="890"/>
                  </a:lnTo>
                  <a:lnTo>
                    <a:pt x="635" y="911"/>
                  </a:lnTo>
                  <a:lnTo>
                    <a:pt x="688" y="928"/>
                  </a:lnTo>
                  <a:lnTo>
                    <a:pt x="745" y="943"/>
                  </a:lnTo>
                  <a:lnTo>
                    <a:pt x="802" y="954"/>
                  </a:lnTo>
                  <a:lnTo>
                    <a:pt x="859" y="960"/>
                  </a:lnTo>
                  <a:lnTo>
                    <a:pt x="917" y="965"/>
                  </a:lnTo>
                  <a:lnTo>
                    <a:pt x="976" y="964"/>
                  </a:lnTo>
                  <a:lnTo>
                    <a:pt x="1035" y="959"/>
                  </a:lnTo>
                  <a:lnTo>
                    <a:pt x="1091" y="952"/>
                  </a:lnTo>
                  <a:lnTo>
                    <a:pt x="1148" y="941"/>
                  </a:lnTo>
                  <a:lnTo>
                    <a:pt x="1204" y="925"/>
                  </a:lnTo>
                  <a:lnTo>
                    <a:pt x="1259" y="905"/>
                  </a:lnTo>
                  <a:lnTo>
                    <a:pt x="1311" y="883"/>
                  </a:lnTo>
                  <a:lnTo>
                    <a:pt x="1361" y="858"/>
                  </a:lnTo>
                  <a:lnTo>
                    <a:pt x="1410" y="829"/>
                  </a:lnTo>
                  <a:lnTo>
                    <a:pt x="1456" y="797"/>
                  </a:lnTo>
                  <a:lnTo>
                    <a:pt x="1499" y="763"/>
                  </a:lnTo>
                  <a:lnTo>
                    <a:pt x="1540" y="725"/>
                  </a:lnTo>
                  <a:lnTo>
                    <a:pt x="1577" y="684"/>
                  </a:lnTo>
                  <a:lnTo>
                    <a:pt x="1611" y="642"/>
                  </a:lnTo>
                  <a:lnTo>
                    <a:pt x="1642" y="598"/>
                  </a:lnTo>
                  <a:lnTo>
                    <a:pt x="1669" y="552"/>
                  </a:lnTo>
                  <a:lnTo>
                    <a:pt x="1692" y="503"/>
                  </a:lnTo>
                  <a:lnTo>
                    <a:pt x="1711" y="455"/>
                  </a:lnTo>
                  <a:lnTo>
                    <a:pt x="1727" y="404"/>
                  </a:lnTo>
                  <a:lnTo>
                    <a:pt x="1738" y="352"/>
                  </a:lnTo>
                  <a:lnTo>
                    <a:pt x="1745" y="301"/>
                  </a:lnTo>
                  <a:lnTo>
                    <a:pt x="1748" y="248"/>
                  </a:lnTo>
                  <a:lnTo>
                    <a:pt x="1747" y="196"/>
                  </a:lnTo>
                  <a:lnTo>
                    <a:pt x="1740" y="144"/>
                  </a:lnTo>
                  <a:lnTo>
                    <a:pt x="1505" y="301"/>
                  </a:lnTo>
                  <a:lnTo>
                    <a:pt x="1340" y="195"/>
                  </a:lnTo>
                </a:path>
              </a:pathLst>
            </a:custGeom>
            <a:grpFill/>
            <a:ln w="6350" cap="rnd" cmpd="sng">
              <a:noFill/>
              <a:prstDash val="solid"/>
              <a:round/>
              <a:headEnd/>
              <a:tailEnd/>
            </a:ln>
            <a:effectLst/>
          </p:spPr>
          <p:txBody>
            <a:bodyPr lIns="45720" rIns="45720" anchor="ctr" anchorCtr="1"/>
            <a:lstStyle/>
            <a:p>
              <a:endParaRPr lang="en-US" sz="1400"/>
            </a:p>
          </p:txBody>
        </p:sp>
        <p:sp>
          <p:nvSpPr>
            <p:cNvPr id="18" name="Text Box 18">
              <a:extLst>
                <a:ext uri="{FF2B5EF4-FFF2-40B4-BE49-F238E27FC236}">
                  <a16:creationId xmlns:a16="http://schemas.microsoft.com/office/drawing/2014/main" id="{B4576746-3B13-4EB0-A51E-1144A4AE2C97}"/>
                </a:ext>
              </a:extLst>
            </p:cNvPr>
            <p:cNvSpPr txBox="1">
              <a:spLocks noChangeArrowheads="1"/>
            </p:cNvSpPr>
            <p:nvPr/>
          </p:nvSpPr>
          <p:spPr bwMode="auto">
            <a:xfrm>
              <a:off x="2192338" y="1793753"/>
              <a:ext cx="487362" cy="274885"/>
            </a:xfrm>
            <a:prstGeom prst="rect">
              <a:avLst/>
            </a:prstGeom>
            <a:grpFill/>
            <a:ln w="6350">
              <a:noFill/>
              <a:miter lim="800000"/>
              <a:headEnd/>
              <a:tailEnd/>
            </a:ln>
            <a:effectLst/>
          </p:spPr>
          <p:txBody>
            <a:bodyPr lIns="45720" rIns="45720" anchor="ctr" anchorCtr="1"/>
            <a:lstStyle/>
            <a:p>
              <a:pPr eaLnBrk="0" hangingPunct="0"/>
              <a:r>
                <a:rPr lang="en-US" sz="1400" b="1" dirty="0">
                  <a:solidFill>
                    <a:schemeClr val="bg1"/>
                  </a:solidFill>
                </a:rPr>
                <a:t>Text</a:t>
              </a:r>
            </a:p>
          </p:txBody>
        </p:sp>
        <p:sp>
          <p:nvSpPr>
            <p:cNvPr id="19" name="Text Box 19">
              <a:extLst>
                <a:ext uri="{FF2B5EF4-FFF2-40B4-BE49-F238E27FC236}">
                  <a16:creationId xmlns:a16="http://schemas.microsoft.com/office/drawing/2014/main" id="{940A88A7-3A82-4889-8AE9-DDE70AE309CB}"/>
                </a:ext>
              </a:extLst>
            </p:cNvPr>
            <p:cNvSpPr txBox="1">
              <a:spLocks noChangeArrowheads="1"/>
            </p:cNvSpPr>
            <p:nvPr/>
          </p:nvSpPr>
          <p:spPr bwMode="auto">
            <a:xfrm>
              <a:off x="2192338" y="4252343"/>
              <a:ext cx="487362" cy="274885"/>
            </a:xfrm>
            <a:prstGeom prst="rect">
              <a:avLst/>
            </a:prstGeom>
            <a:grpFill/>
            <a:ln w="6350">
              <a:noFill/>
              <a:miter lim="800000"/>
              <a:headEnd/>
              <a:tailEnd/>
            </a:ln>
            <a:effectLst/>
          </p:spPr>
          <p:txBody>
            <a:bodyPr lIns="45720" rIns="45720" anchor="ctr" anchorCtr="1"/>
            <a:lstStyle/>
            <a:p>
              <a:pPr eaLnBrk="0" hangingPunct="0"/>
              <a:r>
                <a:rPr lang="en-US" sz="1400" b="1">
                  <a:solidFill>
                    <a:schemeClr val="bg1"/>
                  </a:solidFill>
                </a:rPr>
                <a:t>Text</a:t>
              </a:r>
            </a:p>
          </p:txBody>
        </p:sp>
      </p:grpSp>
      <p:grpSp>
        <p:nvGrpSpPr>
          <p:cNvPr id="20" name="Group 19">
            <a:extLst>
              <a:ext uri="{FF2B5EF4-FFF2-40B4-BE49-F238E27FC236}">
                <a16:creationId xmlns:a16="http://schemas.microsoft.com/office/drawing/2014/main" id="{4A145CB5-8A0E-459C-BE0F-D9332A8A9581}"/>
              </a:ext>
            </a:extLst>
          </p:cNvPr>
          <p:cNvGrpSpPr>
            <a:grpSpLocks noChangeAspect="1"/>
          </p:cNvGrpSpPr>
          <p:nvPr/>
        </p:nvGrpSpPr>
        <p:grpSpPr bwMode="auto">
          <a:xfrm>
            <a:off x="6384033" y="1602136"/>
            <a:ext cx="3397423" cy="4030401"/>
            <a:chOff x="4962525" y="1383988"/>
            <a:chExt cx="3189288" cy="3600810"/>
          </a:xfrm>
        </p:grpSpPr>
        <p:sp>
          <p:nvSpPr>
            <p:cNvPr id="21" name="Freeform 21">
              <a:extLst>
                <a:ext uri="{FF2B5EF4-FFF2-40B4-BE49-F238E27FC236}">
                  <a16:creationId xmlns:a16="http://schemas.microsoft.com/office/drawing/2014/main" id="{DB727780-CDDD-4771-9247-EDBCD241F5B9}"/>
                </a:ext>
              </a:extLst>
            </p:cNvPr>
            <p:cNvSpPr>
              <a:spLocks/>
            </p:cNvSpPr>
            <p:nvPr/>
          </p:nvSpPr>
          <p:spPr bwMode="auto">
            <a:xfrm>
              <a:off x="6364288" y="1638384"/>
              <a:ext cx="1787525" cy="3346414"/>
            </a:xfrm>
            <a:custGeom>
              <a:avLst/>
              <a:gdLst/>
              <a:ahLst/>
              <a:cxnLst>
                <a:cxn ang="0">
                  <a:pos x="333" y="1459"/>
                </a:cxn>
                <a:cxn ang="0">
                  <a:pos x="442" y="1422"/>
                </a:cxn>
                <a:cxn ang="0">
                  <a:pos x="545" y="1372"/>
                </a:cxn>
                <a:cxn ang="0">
                  <a:pos x="641" y="1310"/>
                </a:cxn>
                <a:cxn ang="0">
                  <a:pos x="730" y="1239"/>
                </a:cxn>
                <a:cxn ang="0">
                  <a:pos x="806" y="1158"/>
                </a:cxn>
                <a:cxn ang="0">
                  <a:pos x="869" y="1067"/>
                </a:cxn>
                <a:cxn ang="0">
                  <a:pos x="915" y="970"/>
                </a:cxn>
                <a:cxn ang="0">
                  <a:pos x="947" y="868"/>
                </a:cxn>
                <a:cxn ang="0">
                  <a:pos x="961" y="763"/>
                </a:cxn>
                <a:cxn ang="0">
                  <a:pos x="958" y="656"/>
                </a:cxn>
                <a:cxn ang="0">
                  <a:pos x="936" y="551"/>
                </a:cxn>
                <a:cxn ang="0">
                  <a:pos x="899" y="450"/>
                </a:cxn>
                <a:cxn ang="0">
                  <a:pos x="846" y="355"/>
                </a:cxn>
                <a:cxn ang="0">
                  <a:pos x="778" y="268"/>
                </a:cxn>
                <a:cxn ang="0">
                  <a:pos x="697" y="190"/>
                </a:cxn>
                <a:cxn ang="0">
                  <a:pos x="605" y="125"/>
                </a:cxn>
                <a:cxn ang="0">
                  <a:pos x="502" y="71"/>
                </a:cxn>
                <a:cxn ang="0">
                  <a:pos x="392" y="31"/>
                </a:cxn>
                <a:cxn ang="0">
                  <a:pos x="276" y="7"/>
                </a:cxn>
                <a:cxn ang="0">
                  <a:pos x="289" y="98"/>
                </a:cxn>
                <a:cxn ang="0">
                  <a:pos x="222" y="382"/>
                </a:cxn>
                <a:cxn ang="0">
                  <a:pos x="301" y="408"/>
                </a:cxn>
                <a:cxn ang="0">
                  <a:pos x="373" y="448"/>
                </a:cxn>
                <a:cxn ang="0">
                  <a:pos x="433" y="500"/>
                </a:cxn>
                <a:cxn ang="0">
                  <a:pos x="481" y="562"/>
                </a:cxn>
                <a:cxn ang="0">
                  <a:pos x="513" y="631"/>
                </a:cxn>
                <a:cxn ang="0">
                  <a:pos x="530" y="706"/>
                </a:cxn>
                <a:cxn ang="0">
                  <a:pos x="528" y="781"/>
                </a:cxn>
                <a:cxn ang="0">
                  <a:pos x="509" y="854"/>
                </a:cxn>
                <a:cxn ang="0">
                  <a:pos x="475" y="922"/>
                </a:cxn>
                <a:cxn ang="0">
                  <a:pos x="424" y="983"/>
                </a:cxn>
                <a:cxn ang="0">
                  <a:pos x="361" y="1034"/>
                </a:cxn>
                <a:cxn ang="0">
                  <a:pos x="288" y="1072"/>
                </a:cxn>
                <a:cxn ang="0">
                  <a:pos x="249" y="964"/>
                </a:cxn>
                <a:cxn ang="0">
                  <a:pos x="274" y="1597"/>
                </a:cxn>
              </a:cxnLst>
              <a:rect l="0" t="0" r="r" b="b"/>
              <a:pathLst>
                <a:path w="962" h="1598">
                  <a:moveTo>
                    <a:pt x="274" y="1472"/>
                  </a:moveTo>
                  <a:lnTo>
                    <a:pt x="333" y="1459"/>
                  </a:lnTo>
                  <a:lnTo>
                    <a:pt x="388" y="1442"/>
                  </a:lnTo>
                  <a:lnTo>
                    <a:pt x="442" y="1422"/>
                  </a:lnTo>
                  <a:lnTo>
                    <a:pt x="494" y="1398"/>
                  </a:lnTo>
                  <a:lnTo>
                    <a:pt x="545" y="1372"/>
                  </a:lnTo>
                  <a:lnTo>
                    <a:pt x="592" y="1341"/>
                  </a:lnTo>
                  <a:lnTo>
                    <a:pt x="641" y="1310"/>
                  </a:lnTo>
                  <a:lnTo>
                    <a:pt x="686" y="1276"/>
                  </a:lnTo>
                  <a:lnTo>
                    <a:pt x="730" y="1239"/>
                  </a:lnTo>
                  <a:lnTo>
                    <a:pt x="770" y="1200"/>
                  </a:lnTo>
                  <a:lnTo>
                    <a:pt x="806" y="1158"/>
                  </a:lnTo>
                  <a:lnTo>
                    <a:pt x="838" y="1114"/>
                  </a:lnTo>
                  <a:lnTo>
                    <a:pt x="869" y="1067"/>
                  </a:lnTo>
                  <a:lnTo>
                    <a:pt x="894" y="1019"/>
                  </a:lnTo>
                  <a:lnTo>
                    <a:pt x="915" y="970"/>
                  </a:lnTo>
                  <a:lnTo>
                    <a:pt x="933" y="920"/>
                  </a:lnTo>
                  <a:lnTo>
                    <a:pt x="947" y="868"/>
                  </a:lnTo>
                  <a:lnTo>
                    <a:pt x="956" y="815"/>
                  </a:lnTo>
                  <a:lnTo>
                    <a:pt x="961" y="763"/>
                  </a:lnTo>
                  <a:lnTo>
                    <a:pt x="961" y="709"/>
                  </a:lnTo>
                  <a:lnTo>
                    <a:pt x="958" y="656"/>
                  </a:lnTo>
                  <a:lnTo>
                    <a:pt x="949" y="604"/>
                  </a:lnTo>
                  <a:lnTo>
                    <a:pt x="936" y="551"/>
                  </a:lnTo>
                  <a:lnTo>
                    <a:pt x="921" y="500"/>
                  </a:lnTo>
                  <a:lnTo>
                    <a:pt x="899" y="450"/>
                  </a:lnTo>
                  <a:lnTo>
                    <a:pt x="876" y="402"/>
                  </a:lnTo>
                  <a:lnTo>
                    <a:pt x="846" y="355"/>
                  </a:lnTo>
                  <a:lnTo>
                    <a:pt x="814" y="310"/>
                  </a:lnTo>
                  <a:lnTo>
                    <a:pt x="778" y="268"/>
                  </a:lnTo>
                  <a:lnTo>
                    <a:pt x="740" y="228"/>
                  </a:lnTo>
                  <a:lnTo>
                    <a:pt x="697" y="190"/>
                  </a:lnTo>
                  <a:lnTo>
                    <a:pt x="652" y="157"/>
                  </a:lnTo>
                  <a:lnTo>
                    <a:pt x="605" y="125"/>
                  </a:lnTo>
                  <a:lnTo>
                    <a:pt x="554" y="96"/>
                  </a:lnTo>
                  <a:lnTo>
                    <a:pt x="502" y="71"/>
                  </a:lnTo>
                  <a:lnTo>
                    <a:pt x="448" y="49"/>
                  </a:lnTo>
                  <a:lnTo>
                    <a:pt x="392" y="31"/>
                  </a:lnTo>
                  <a:lnTo>
                    <a:pt x="335" y="17"/>
                  </a:lnTo>
                  <a:lnTo>
                    <a:pt x="276" y="7"/>
                  </a:lnTo>
                  <a:lnTo>
                    <a:pt x="218" y="0"/>
                  </a:lnTo>
                  <a:lnTo>
                    <a:pt x="289" y="98"/>
                  </a:lnTo>
                  <a:lnTo>
                    <a:pt x="363" y="195"/>
                  </a:lnTo>
                  <a:lnTo>
                    <a:pt x="222" y="382"/>
                  </a:lnTo>
                  <a:lnTo>
                    <a:pt x="264" y="393"/>
                  </a:lnTo>
                  <a:lnTo>
                    <a:pt x="301" y="408"/>
                  </a:lnTo>
                  <a:lnTo>
                    <a:pt x="339" y="426"/>
                  </a:lnTo>
                  <a:lnTo>
                    <a:pt x="373" y="448"/>
                  </a:lnTo>
                  <a:lnTo>
                    <a:pt x="405" y="472"/>
                  </a:lnTo>
                  <a:lnTo>
                    <a:pt x="433" y="500"/>
                  </a:lnTo>
                  <a:lnTo>
                    <a:pt x="460" y="530"/>
                  </a:lnTo>
                  <a:lnTo>
                    <a:pt x="481" y="562"/>
                  </a:lnTo>
                  <a:lnTo>
                    <a:pt x="500" y="596"/>
                  </a:lnTo>
                  <a:lnTo>
                    <a:pt x="513" y="631"/>
                  </a:lnTo>
                  <a:lnTo>
                    <a:pt x="523" y="668"/>
                  </a:lnTo>
                  <a:lnTo>
                    <a:pt x="530" y="706"/>
                  </a:lnTo>
                  <a:lnTo>
                    <a:pt x="531" y="743"/>
                  </a:lnTo>
                  <a:lnTo>
                    <a:pt x="528" y="781"/>
                  </a:lnTo>
                  <a:lnTo>
                    <a:pt x="521" y="818"/>
                  </a:lnTo>
                  <a:lnTo>
                    <a:pt x="509" y="854"/>
                  </a:lnTo>
                  <a:lnTo>
                    <a:pt x="493" y="890"/>
                  </a:lnTo>
                  <a:lnTo>
                    <a:pt x="475" y="922"/>
                  </a:lnTo>
                  <a:lnTo>
                    <a:pt x="451" y="954"/>
                  </a:lnTo>
                  <a:lnTo>
                    <a:pt x="424" y="983"/>
                  </a:lnTo>
                  <a:lnTo>
                    <a:pt x="395" y="1010"/>
                  </a:lnTo>
                  <a:lnTo>
                    <a:pt x="361" y="1034"/>
                  </a:lnTo>
                  <a:lnTo>
                    <a:pt x="326" y="1055"/>
                  </a:lnTo>
                  <a:lnTo>
                    <a:pt x="288" y="1072"/>
                  </a:lnTo>
                  <a:lnTo>
                    <a:pt x="249" y="1085"/>
                  </a:lnTo>
                  <a:lnTo>
                    <a:pt x="249" y="964"/>
                  </a:lnTo>
                  <a:lnTo>
                    <a:pt x="0" y="1252"/>
                  </a:lnTo>
                  <a:lnTo>
                    <a:pt x="274" y="1597"/>
                  </a:lnTo>
                  <a:lnTo>
                    <a:pt x="274" y="1472"/>
                  </a:lnTo>
                </a:path>
              </a:pathLst>
            </a:custGeom>
            <a:solidFill>
              <a:schemeClr val="accent3"/>
            </a:solidFill>
            <a:ln w="6350" cap="rnd" cmpd="sng">
              <a:noFill/>
              <a:prstDash val="solid"/>
              <a:round/>
              <a:headEnd/>
              <a:tailEnd/>
            </a:ln>
            <a:effectLst/>
          </p:spPr>
          <p:txBody>
            <a:bodyPr lIns="45720" rIns="45720" anchor="ctr" anchorCtr="1"/>
            <a:lstStyle/>
            <a:p>
              <a:endParaRPr lang="en-US" sz="1400"/>
            </a:p>
          </p:txBody>
        </p:sp>
        <p:sp>
          <p:nvSpPr>
            <p:cNvPr id="22" name="Freeform 22">
              <a:extLst>
                <a:ext uri="{FF2B5EF4-FFF2-40B4-BE49-F238E27FC236}">
                  <a16:creationId xmlns:a16="http://schemas.microsoft.com/office/drawing/2014/main" id="{1517E562-C6C0-422C-BB70-35FAE416C9BF}"/>
                </a:ext>
              </a:extLst>
            </p:cNvPr>
            <p:cNvSpPr>
              <a:spLocks/>
            </p:cNvSpPr>
            <p:nvPr/>
          </p:nvSpPr>
          <p:spPr bwMode="auto">
            <a:xfrm>
              <a:off x="4962525" y="1383988"/>
              <a:ext cx="1984375" cy="3370317"/>
            </a:xfrm>
            <a:custGeom>
              <a:avLst/>
              <a:gdLst/>
              <a:ahLst/>
              <a:cxnLst>
                <a:cxn ang="0">
                  <a:pos x="777" y="1225"/>
                </a:cxn>
                <a:cxn ang="0">
                  <a:pos x="694" y="1206"/>
                </a:cxn>
                <a:cxn ang="0">
                  <a:pos x="618" y="1171"/>
                </a:cxn>
                <a:cxn ang="0">
                  <a:pos x="550" y="1123"/>
                </a:cxn>
                <a:cxn ang="0">
                  <a:pos x="496" y="1064"/>
                </a:cxn>
                <a:cxn ang="0">
                  <a:pos x="457" y="996"/>
                </a:cxn>
                <a:cxn ang="0">
                  <a:pos x="433" y="921"/>
                </a:cxn>
                <a:cxn ang="0">
                  <a:pos x="427" y="845"/>
                </a:cxn>
                <a:cxn ang="0">
                  <a:pos x="439" y="769"/>
                </a:cxn>
                <a:cxn ang="0">
                  <a:pos x="467" y="697"/>
                </a:cxn>
                <a:cxn ang="0">
                  <a:pos x="512" y="631"/>
                </a:cxn>
                <a:cxn ang="0">
                  <a:pos x="571" y="576"/>
                </a:cxn>
                <a:cxn ang="0">
                  <a:pos x="641" y="532"/>
                </a:cxn>
                <a:cxn ang="0">
                  <a:pos x="716" y="502"/>
                </a:cxn>
                <a:cxn ang="0">
                  <a:pos x="797" y="487"/>
                </a:cxn>
                <a:cxn ang="0">
                  <a:pos x="838" y="595"/>
                </a:cxn>
                <a:cxn ang="0">
                  <a:pos x="833" y="0"/>
                </a:cxn>
                <a:cxn ang="0">
                  <a:pos x="774" y="110"/>
                </a:cxn>
                <a:cxn ang="0">
                  <a:pos x="658" y="127"/>
                </a:cxn>
                <a:cxn ang="0">
                  <a:pos x="545" y="159"/>
                </a:cxn>
                <a:cxn ang="0">
                  <a:pos x="439" y="206"/>
                </a:cxn>
                <a:cxn ang="0">
                  <a:pos x="338" y="262"/>
                </a:cxn>
                <a:cxn ang="0">
                  <a:pos x="248" y="331"/>
                </a:cxn>
                <a:cxn ang="0">
                  <a:pos x="170" y="411"/>
                </a:cxn>
                <a:cxn ang="0">
                  <a:pos x="105" y="499"/>
                </a:cxn>
                <a:cxn ang="0">
                  <a:pos x="55" y="595"/>
                </a:cxn>
                <a:cxn ang="0">
                  <a:pos x="20" y="697"/>
                </a:cxn>
                <a:cxn ang="0">
                  <a:pos x="2" y="802"/>
                </a:cxn>
                <a:cxn ang="0">
                  <a:pos x="1" y="908"/>
                </a:cxn>
                <a:cxn ang="0">
                  <a:pos x="17" y="1013"/>
                </a:cxn>
                <a:cxn ang="0">
                  <a:pos x="49" y="1115"/>
                </a:cxn>
                <a:cxn ang="0">
                  <a:pos x="97" y="1212"/>
                </a:cxn>
                <a:cxn ang="0">
                  <a:pos x="160" y="1302"/>
                </a:cxn>
                <a:cxn ang="0">
                  <a:pos x="237" y="1383"/>
                </a:cxn>
                <a:cxn ang="0">
                  <a:pos x="325" y="1453"/>
                </a:cxn>
                <a:cxn ang="0">
                  <a:pos x="424" y="1511"/>
                </a:cxn>
                <a:cxn ang="0">
                  <a:pos x="531" y="1557"/>
                </a:cxn>
                <a:cxn ang="0">
                  <a:pos x="644" y="1588"/>
                </a:cxn>
                <a:cxn ang="0">
                  <a:pos x="760" y="1605"/>
                </a:cxn>
                <a:cxn ang="0">
                  <a:pos x="879" y="1607"/>
                </a:cxn>
                <a:cxn ang="0">
                  <a:pos x="819" y="1230"/>
                </a:cxn>
              </a:cxnLst>
              <a:rect l="0" t="0" r="r" b="b"/>
              <a:pathLst>
                <a:path w="1068" h="1609">
                  <a:moveTo>
                    <a:pt x="819" y="1230"/>
                  </a:moveTo>
                  <a:lnTo>
                    <a:pt x="777" y="1225"/>
                  </a:lnTo>
                  <a:lnTo>
                    <a:pt x="734" y="1217"/>
                  </a:lnTo>
                  <a:lnTo>
                    <a:pt x="694" y="1206"/>
                  </a:lnTo>
                  <a:lnTo>
                    <a:pt x="655" y="1190"/>
                  </a:lnTo>
                  <a:lnTo>
                    <a:pt x="618" y="1171"/>
                  </a:lnTo>
                  <a:lnTo>
                    <a:pt x="583" y="1148"/>
                  </a:lnTo>
                  <a:lnTo>
                    <a:pt x="550" y="1123"/>
                  </a:lnTo>
                  <a:lnTo>
                    <a:pt x="522" y="1094"/>
                  </a:lnTo>
                  <a:lnTo>
                    <a:pt x="496" y="1064"/>
                  </a:lnTo>
                  <a:lnTo>
                    <a:pt x="474" y="1030"/>
                  </a:lnTo>
                  <a:lnTo>
                    <a:pt x="457" y="996"/>
                  </a:lnTo>
                  <a:lnTo>
                    <a:pt x="443" y="959"/>
                  </a:lnTo>
                  <a:lnTo>
                    <a:pt x="433" y="921"/>
                  </a:lnTo>
                  <a:lnTo>
                    <a:pt x="427" y="884"/>
                  </a:lnTo>
                  <a:lnTo>
                    <a:pt x="427" y="845"/>
                  </a:lnTo>
                  <a:lnTo>
                    <a:pt x="431" y="807"/>
                  </a:lnTo>
                  <a:lnTo>
                    <a:pt x="439" y="769"/>
                  </a:lnTo>
                  <a:lnTo>
                    <a:pt x="451" y="733"/>
                  </a:lnTo>
                  <a:lnTo>
                    <a:pt x="467" y="697"/>
                  </a:lnTo>
                  <a:lnTo>
                    <a:pt x="487" y="663"/>
                  </a:lnTo>
                  <a:lnTo>
                    <a:pt x="512" y="631"/>
                  </a:lnTo>
                  <a:lnTo>
                    <a:pt x="539" y="602"/>
                  </a:lnTo>
                  <a:lnTo>
                    <a:pt x="571" y="576"/>
                  </a:lnTo>
                  <a:lnTo>
                    <a:pt x="603" y="552"/>
                  </a:lnTo>
                  <a:lnTo>
                    <a:pt x="641" y="532"/>
                  </a:lnTo>
                  <a:lnTo>
                    <a:pt x="677" y="515"/>
                  </a:lnTo>
                  <a:lnTo>
                    <a:pt x="716" y="502"/>
                  </a:lnTo>
                  <a:lnTo>
                    <a:pt x="756" y="493"/>
                  </a:lnTo>
                  <a:lnTo>
                    <a:pt x="797" y="487"/>
                  </a:lnTo>
                  <a:lnTo>
                    <a:pt x="838" y="484"/>
                  </a:lnTo>
                  <a:lnTo>
                    <a:pt x="838" y="595"/>
                  </a:lnTo>
                  <a:lnTo>
                    <a:pt x="1067" y="311"/>
                  </a:lnTo>
                  <a:lnTo>
                    <a:pt x="833" y="0"/>
                  </a:lnTo>
                  <a:lnTo>
                    <a:pt x="833" y="106"/>
                  </a:lnTo>
                  <a:lnTo>
                    <a:pt x="774" y="110"/>
                  </a:lnTo>
                  <a:lnTo>
                    <a:pt x="715" y="117"/>
                  </a:lnTo>
                  <a:lnTo>
                    <a:pt x="658" y="127"/>
                  </a:lnTo>
                  <a:lnTo>
                    <a:pt x="600" y="142"/>
                  </a:lnTo>
                  <a:lnTo>
                    <a:pt x="545" y="159"/>
                  </a:lnTo>
                  <a:lnTo>
                    <a:pt x="491" y="181"/>
                  </a:lnTo>
                  <a:lnTo>
                    <a:pt x="439" y="206"/>
                  </a:lnTo>
                  <a:lnTo>
                    <a:pt x="388" y="232"/>
                  </a:lnTo>
                  <a:lnTo>
                    <a:pt x="338" y="262"/>
                  </a:lnTo>
                  <a:lnTo>
                    <a:pt x="292" y="295"/>
                  </a:lnTo>
                  <a:lnTo>
                    <a:pt x="248" y="331"/>
                  </a:lnTo>
                  <a:lnTo>
                    <a:pt x="207" y="370"/>
                  </a:lnTo>
                  <a:lnTo>
                    <a:pt x="170" y="411"/>
                  </a:lnTo>
                  <a:lnTo>
                    <a:pt x="135" y="454"/>
                  </a:lnTo>
                  <a:lnTo>
                    <a:pt x="105" y="499"/>
                  </a:lnTo>
                  <a:lnTo>
                    <a:pt x="77" y="547"/>
                  </a:lnTo>
                  <a:lnTo>
                    <a:pt x="55" y="595"/>
                  </a:lnTo>
                  <a:lnTo>
                    <a:pt x="36" y="646"/>
                  </a:lnTo>
                  <a:lnTo>
                    <a:pt x="20" y="697"/>
                  </a:lnTo>
                  <a:lnTo>
                    <a:pt x="9" y="750"/>
                  </a:lnTo>
                  <a:lnTo>
                    <a:pt x="2" y="802"/>
                  </a:lnTo>
                  <a:lnTo>
                    <a:pt x="0" y="855"/>
                  </a:lnTo>
                  <a:lnTo>
                    <a:pt x="1" y="908"/>
                  </a:lnTo>
                  <a:lnTo>
                    <a:pt x="6" y="961"/>
                  </a:lnTo>
                  <a:lnTo>
                    <a:pt x="17" y="1013"/>
                  </a:lnTo>
                  <a:lnTo>
                    <a:pt x="30" y="1065"/>
                  </a:lnTo>
                  <a:lnTo>
                    <a:pt x="49" y="1115"/>
                  </a:lnTo>
                  <a:lnTo>
                    <a:pt x="71" y="1164"/>
                  </a:lnTo>
                  <a:lnTo>
                    <a:pt x="97" y="1212"/>
                  </a:lnTo>
                  <a:lnTo>
                    <a:pt x="127" y="1258"/>
                  </a:lnTo>
                  <a:lnTo>
                    <a:pt x="160" y="1302"/>
                  </a:lnTo>
                  <a:lnTo>
                    <a:pt x="197" y="1344"/>
                  </a:lnTo>
                  <a:lnTo>
                    <a:pt x="237" y="1383"/>
                  </a:lnTo>
                  <a:lnTo>
                    <a:pt x="278" y="1420"/>
                  </a:lnTo>
                  <a:lnTo>
                    <a:pt x="325" y="1453"/>
                  </a:lnTo>
                  <a:lnTo>
                    <a:pt x="373" y="1484"/>
                  </a:lnTo>
                  <a:lnTo>
                    <a:pt x="424" y="1511"/>
                  </a:lnTo>
                  <a:lnTo>
                    <a:pt x="476" y="1536"/>
                  </a:lnTo>
                  <a:lnTo>
                    <a:pt x="531" y="1557"/>
                  </a:lnTo>
                  <a:lnTo>
                    <a:pt x="586" y="1574"/>
                  </a:lnTo>
                  <a:lnTo>
                    <a:pt x="644" y="1588"/>
                  </a:lnTo>
                  <a:lnTo>
                    <a:pt x="702" y="1599"/>
                  </a:lnTo>
                  <a:lnTo>
                    <a:pt x="760" y="1605"/>
                  </a:lnTo>
                  <a:lnTo>
                    <a:pt x="820" y="1608"/>
                  </a:lnTo>
                  <a:lnTo>
                    <a:pt x="879" y="1607"/>
                  </a:lnTo>
                  <a:lnTo>
                    <a:pt x="697" y="1374"/>
                  </a:lnTo>
                  <a:lnTo>
                    <a:pt x="819" y="1230"/>
                  </a:lnTo>
                </a:path>
              </a:pathLst>
            </a:custGeom>
            <a:solidFill>
              <a:schemeClr val="accent3"/>
            </a:solidFill>
            <a:ln w="6350" cap="rnd" cmpd="sng">
              <a:noFill/>
              <a:prstDash val="solid"/>
              <a:round/>
              <a:headEnd/>
              <a:tailEnd/>
            </a:ln>
            <a:effectLst/>
          </p:spPr>
          <p:txBody>
            <a:bodyPr lIns="45720" rIns="45720" anchor="ctr" anchorCtr="1"/>
            <a:lstStyle/>
            <a:p>
              <a:endParaRPr lang="en-US" sz="1400"/>
            </a:p>
          </p:txBody>
        </p:sp>
        <p:sp>
          <p:nvSpPr>
            <p:cNvPr id="23" name="Text Box 23">
              <a:extLst>
                <a:ext uri="{FF2B5EF4-FFF2-40B4-BE49-F238E27FC236}">
                  <a16:creationId xmlns:a16="http://schemas.microsoft.com/office/drawing/2014/main" id="{73D8D616-6C3C-4F11-B6C1-0BF406044286}"/>
                </a:ext>
              </a:extLst>
            </p:cNvPr>
            <p:cNvSpPr txBox="1">
              <a:spLocks noChangeArrowheads="1"/>
            </p:cNvSpPr>
            <p:nvPr/>
          </p:nvSpPr>
          <p:spPr bwMode="auto">
            <a:xfrm>
              <a:off x="5151438" y="2932559"/>
              <a:ext cx="487362" cy="274883"/>
            </a:xfrm>
            <a:prstGeom prst="rect">
              <a:avLst/>
            </a:prstGeom>
            <a:noFill/>
            <a:ln w="6350">
              <a:noFill/>
              <a:miter lim="800000"/>
              <a:headEnd/>
              <a:tailEnd/>
            </a:ln>
            <a:effectLst/>
          </p:spPr>
          <p:txBody>
            <a:bodyPr lIns="45720" rIns="45720" anchor="ctr" anchorCtr="1"/>
            <a:lstStyle/>
            <a:p>
              <a:pPr eaLnBrk="0" hangingPunct="0"/>
              <a:r>
                <a:rPr lang="en-US" sz="1400" b="1">
                  <a:solidFill>
                    <a:schemeClr val="bg1"/>
                  </a:solidFill>
                </a:rPr>
                <a:t>Text</a:t>
              </a:r>
            </a:p>
          </p:txBody>
        </p:sp>
        <p:sp>
          <p:nvSpPr>
            <p:cNvPr id="24" name="Text Box 24">
              <a:extLst>
                <a:ext uri="{FF2B5EF4-FFF2-40B4-BE49-F238E27FC236}">
                  <a16:creationId xmlns:a16="http://schemas.microsoft.com/office/drawing/2014/main" id="{DBE2C71D-3137-4C14-AA5C-11BD3321ED8E}"/>
                </a:ext>
              </a:extLst>
            </p:cNvPr>
            <p:cNvSpPr txBox="1">
              <a:spLocks noChangeArrowheads="1"/>
            </p:cNvSpPr>
            <p:nvPr/>
          </p:nvSpPr>
          <p:spPr bwMode="auto">
            <a:xfrm>
              <a:off x="7499350" y="2932559"/>
              <a:ext cx="487363" cy="274883"/>
            </a:xfrm>
            <a:prstGeom prst="rect">
              <a:avLst/>
            </a:prstGeom>
            <a:noFill/>
            <a:ln w="6350">
              <a:noFill/>
              <a:miter lim="800000"/>
              <a:headEnd/>
              <a:tailEnd/>
            </a:ln>
            <a:effectLst/>
          </p:spPr>
          <p:txBody>
            <a:bodyPr lIns="45720" rIns="45720" anchor="ctr" anchorCtr="1"/>
            <a:lstStyle/>
            <a:p>
              <a:pPr eaLnBrk="0" hangingPunct="0"/>
              <a:r>
                <a:rPr lang="en-US" sz="1400" b="1" dirty="0">
                  <a:solidFill>
                    <a:schemeClr val="bg1"/>
                  </a:solidFill>
                </a:rPr>
                <a:t>Text</a:t>
              </a:r>
            </a:p>
          </p:txBody>
        </p:sp>
      </p:grpSp>
    </p:spTree>
    <p:extLst>
      <p:ext uri="{BB962C8B-B14F-4D97-AF65-F5344CB8AC3E}">
        <p14:creationId xmlns:p14="http://schemas.microsoft.com/office/powerpoint/2010/main" val="296398480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3</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1C86C8C-E11B-483C-A19E-E9DA0F3F155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2" name="Group 23">
            <a:extLst>
              <a:ext uri="{FF2B5EF4-FFF2-40B4-BE49-F238E27FC236}">
                <a16:creationId xmlns:a16="http://schemas.microsoft.com/office/drawing/2014/main" id="{F25A5001-CD1A-412C-AAB5-1C189EE2E68A}"/>
              </a:ext>
            </a:extLst>
          </p:cNvPr>
          <p:cNvGrpSpPr>
            <a:grpSpLocks/>
          </p:cNvGrpSpPr>
          <p:nvPr/>
        </p:nvGrpSpPr>
        <p:grpSpPr bwMode="auto">
          <a:xfrm>
            <a:off x="3251684" y="1260972"/>
            <a:ext cx="4814490" cy="5012344"/>
            <a:chOff x="1471" y="1182"/>
            <a:chExt cx="2702" cy="2704"/>
          </a:xfrm>
        </p:grpSpPr>
        <p:sp>
          <p:nvSpPr>
            <p:cNvPr id="13" name="Freeform 16">
              <a:extLst>
                <a:ext uri="{FF2B5EF4-FFF2-40B4-BE49-F238E27FC236}">
                  <a16:creationId xmlns:a16="http://schemas.microsoft.com/office/drawing/2014/main" id="{D95C1CB8-07EF-4904-B033-E0E3BF020794}"/>
                </a:ext>
              </a:extLst>
            </p:cNvPr>
            <p:cNvSpPr>
              <a:spLocks/>
            </p:cNvSpPr>
            <p:nvPr/>
          </p:nvSpPr>
          <p:spPr bwMode="auto">
            <a:xfrm flipV="1">
              <a:off x="2641" y="2281"/>
              <a:ext cx="1532" cy="1605"/>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chemeClr val="accent5"/>
            </a:solidFill>
            <a:ln w="6350" cmpd="sng">
              <a:noFill/>
              <a:round/>
              <a:headEnd/>
              <a:tailEnd/>
            </a:ln>
          </p:spPr>
          <p:txBody>
            <a:bodyPr lIns="45720" rIns="45720" anchor="ctr" anchorCtr="1"/>
            <a:lstStyle/>
            <a:p>
              <a:endParaRPr lang="en-US"/>
            </a:p>
          </p:txBody>
        </p:sp>
        <p:sp>
          <p:nvSpPr>
            <p:cNvPr id="14" name="Freeform 17">
              <a:extLst>
                <a:ext uri="{FF2B5EF4-FFF2-40B4-BE49-F238E27FC236}">
                  <a16:creationId xmlns:a16="http://schemas.microsoft.com/office/drawing/2014/main" id="{AD073776-F878-420D-9257-DD6F55F38B6E}"/>
                </a:ext>
              </a:extLst>
            </p:cNvPr>
            <p:cNvSpPr>
              <a:spLocks/>
            </p:cNvSpPr>
            <p:nvPr/>
          </p:nvSpPr>
          <p:spPr bwMode="auto">
            <a:xfrm rot="7203160" flipV="1">
              <a:off x="1573" y="1727"/>
              <a:ext cx="1469" cy="1674"/>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chemeClr val="accent3"/>
            </a:solidFill>
            <a:ln w="6350" cmpd="sng">
              <a:noFill/>
              <a:round/>
              <a:headEnd/>
              <a:tailEnd/>
            </a:ln>
          </p:spPr>
          <p:txBody>
            <a:bodyPr lIns="45720" rIns="45720" anchor="ctr" anchorCtr="1"/>
            <a:lstStyle/>
            <a:p>
              <a:endParaRPr lang="en-US"/>
            </a:p>
          </p:txBody>
        </p:sp>
        <p:sp>
          <p:nvSpPr>
            <p:cNvPr id="15" name="Freeform 18">
              <a:extLst>
                <a:ext uri="{FF2B5EF4-FFF2-40B4-BE49-F238E27FC236}">
                  <a16:creationId xmlns:a16="http://schemas.microsoft.com/office/drawing/2014/main" id="{9A68B93D-87C7-4FC2-B538-AAFEC9E86210}"/>
                </a:ext>
              </a:extLst>
            </p:cNvPr>
            <p:cNvSpPr>
              <a:spLocks/>
            </p:cNvSpPr>
            <p:nvPr/>
          </p:nvSpPr>
          <p:spPr bwMode="auto">
            <a:xfrm rot="14370681" flipV="1">
              <a:off x="2550" y="1080"/>
              <a:ext cx="1470" cy="1674"/>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chemeClr val="accent1"/>
            </a:solidFill>
            <a:ln w="6350" cmpd="sng">
              <a:noFill/>
              <a:round/>
              <a:headEnd/>
              <a:tailEnd/>
            </a:ln>
          </p:spPr>
          <p:txBody>
            <a:bodyPr lIns="45720" rIns="45720" anchor="ctr" anchorCtr="1"/>
            <a:lstStyle/>
            <a:p>
              <a:endParaRPr lang="en-US"/>
            </a:p>
          </p:txBody>
        </p:sp>
        <p:sp>
          <p:nvSpPr>
            <p:cNvPr id="16" name="Text Box 19">
              <a:extLst>
                <a:ext uri="{FF2B5EF4-FFF2-40B4-BE49-F238E27FC236}">
                  <a16:creationId xmlns:a16="http://schemas.microsoft.com/office/drawing/2014/main" id="{AD91D2D3-6DAD-4CF8-A602-7A234B2ED16E}"/>
                </a:ext>
              </a:extLst>
            </p:cNvPr>
            <p:cNvSpPr txBox="1">
              <a:spLocks noChangeArrowheads="1"/>
            </p:cNvSpPr>
            <p:nvPr/>
          </p:nvSpPr>
          <p:spPr bwMode="auto">
            <a:xfrm>
              <a:off x="1911" y="2498"/>
              <a:ext cx="357" cy="182"/>
            </a:xfrm>
            <a:prstGeom prst="rect">
              <a:avLst/>
            </a:prstGeom>
            <a:noFill/>
            <a:ln w="6350">
              <a:noFill/>
              <a:miter lim="800000"/>
              <a:headEnd/>
              <a:tailEnd/>
            </a:ln>
            <a:effectLst/>
          </p:spPr>
          <p:txBody>
            <a:bodyPr lIns="45720" rIns="45720" anchor="ctr" anchorCtr="1"/>
            <a:lstStyle/>
            <a:p>
              <a:pPr eaLnBrk="0" hangingPunct="0"/>
              <a:r>
                <a:rPr lang="en-US" sz="1400" b="1" dirty="0">
                  <a:solidFill>
                    <a:schemeClr val="bg1"/>
                  </a:solidFill>
                </a:rPr>
                <a:t>Text</a:t>
              </a:r>
            </a:p>
          </p:txBody>
        </p:sp>
        <p:sp>
          <p:nvSpPr>
            <p:cNvPr id="17" name="Text Box 20">
              <a:extLst>
                <a:ext uri="{FF2B5EF4-FFF2-40B4-BE49-F238E27FC236}">
                  <a16:creationId xmlns:a16="http://schemas.microsoft.com/office/drawing/2014/main" id="{0C95FB17-2666-4BE3-8CB0-5F9DF12CF861}"/>
                </a:ext>
              </a:extLst>
            </p:cNvPr>
            <p:cNvSpPr txBox="1">
              <a:spLocks noChangeArrowheads="1"/>
            </p:cNvSpPr>
            <p:nvPr/>
          </p:nvSpPr>
          <p:spPr bwMode="auto">
            <a:xfrm>
              <a:off x="3074" y="1570"/>
              <a:ext cx="357" cy="183"/>
            </a:xfrm>
            <a:prstGeom prst="rect">
              <a:avLst/>
            </a:prstGeom>
            <a:noFill/>
            <a:ln w="6350">
              <a:noFill/>
              <a:miter lim="800000"/>
              <a:headEnd/>
              <a:tailEnd/>
            </a:ln>
            <a:effectLst/>
          </p:spPr>
          <p:txBody>
            <a:bodyPr lIns="45720" rIns="45720" anchor="ctr" anchorCtr="1"/>
            <a:lstStyle/>
            <a:p>
              <a:pPr eaLnBrk="0" hangingPunct="0"/>
              <a:r>
                <a:rPr lang="en-US" sz="1400" b="1" dirty="0">
                  <a:solidFill>
                    <a:schemeClr val="bg1"/>
                  </a:solidFill>
                </a:rPr>
                <a:t>Text</a:t>
              </a:r>
            </a:p>
          </p:txBody>
        </p:sp>
        <p:sp>
          <p:nvSpPr>
            <p:cNvPr id="18" name="Text Box 21">
              <a:extLst>
                <a:ext uri="{FF2B5EF4-FFF2-40B4-BE49-F238E27FC236}">
                  <a16:creationId xmlns:a16="http://schemas.microsoft.com/office/drawing/2014/main" id="{431F17E0-7AC2-4828-91CD-44234FCFEC5A}"/>
                </a:ext>
              </a:extLst>
            </p:cNvPr>
            <p:cNvSpPr txBox="1">
              <a:spLocks noChangeArrowheads="1"/>
            </p:cNvSpPr>
            <p:nvPr/>
          </p:nvSpPr>
          <p:spPr bwMode="auto">
            <a:xfrm>
              <a:off x="3450" y="3073"/>
              <a:ext cx="357" cy="182"/>
            </a:xfrm>
            <a:prstGeom prst="rect">
              <a:avLst/>
            </a:prstGeom>
            <a:noFill/>
            <a:ln w="6350">
              <a:noFill/>
              <a:miter lim="800000"/>
              <a:headEnd/>
              <a:tailEnd/>
            </a:ln>
            <a:effectLst/>
          </p:spPr>
          <p:txBody>
            <a:bodyPr lIns="45720" rIns="45720" anchor="ctr" anchorCtr="1"/>
            <a:lstStyle/>
            <a:p>
              <a:pPr eaLnBrk="0" hangingPunct="0"/>
              <a:r>
                <a:rPr lang="en-US" sz="1400" b="1">
                  <a:solidFill>
                    <a:schemeClr val="bg1"/>
                  </a:solidFill>
                </a:rPr>
                <a:t>Text</a:t>
              </a:r>
            </a:p>
          </p:txBody>
        </p:sp>
      </p:grpSp>
    </p:spTree>
    <p:extLst>
      <p:ext uri="{BB962C8B-B14F-4D97-AF65-F5344CB8AC3E}">
        <p14:creationId xmlns:p14="http://schemas.microsoft.com/office/powerpoint/2010/main" val="1832970756"/>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4</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19CC0C7-8DB9-47CF-857C-06411E3CB6A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1" name="Group 14">
            <a:extLst>
              <a:ext uri="{FF2B5EF4-FFF2-40B4-BE49-F238E27FC236}">
                <a16:creationId xmlns:a16="http://schemas.microsoft.com/office/drawing/2014/main" id="{8AF14EC2-F49D-441B-9465-CF843B7B7804}"/>
              </a:ext>
            </a:extLst>
          </p:cNvPr>
          <p:cNvGrpSpPr>
            <a:grpSpLocks/>
          </p:cNvGrpSpPr>
          <p:nvPr/>
        </p:nvGrpSpPr>
        <p:grpSpPr bwMode="auto">
          <a:xfrm>
            <a:off x="3911600" y="1457990"/>
            <a:ext cx="4344988" cy="4443413"/>
            <a:chOff x="1504" y="1204"/>
            <a:chExt cx="2737" cy="2799"/>
          </a:xfrm>
        </p:grpSpPr>
        <p:sp>
          <p:nvSpPr>
            <p:cNvPr id="22" name="Freeform 4">
              <a:extLst>
                <a:ext uri="{FF2B5EF4-FFF2-40B4-BE49-F238E27FC236}">
                  <a16:creationId xmlns:a16="http://schemas.microsoft.com/office/drawing/2014/main" id="{41FB83AD-7888-432D-8007-02AB4C24C237}"/>
                </a:ext>
              </a:extLst>
            </p:cNvPr>
            <p:cNvSpPr>
              <a:spLocks/>
            </p:cNvSpPr>
            <p:nvPr/>
          </p:nvSpPr>
          <p:spPr bwMode="auto">
            <a:xfrm>
              <a:off x="1518" y="1665"/>
              <a:ext cx="861" cy="1953"/>
            </a:xfrm>
            <a:custGeom>
              <a:avLst/>
              <a:gdLst/>
              <a:ahLst/>
              <a:cxnLst>
                <a:cxn ang="0">
                  <a:pos x="425" y="312"/>
                </a:cxn>
                <a:cxn ang="0">
                  <a:pos x="361" y="64"/>
                </a:cxn>
                <a:cxn ang="0">
                  <a:pos x="106" y="0"/>
                </a:cxn>
                <a:cxn ang="0">
                  <a:pos x="145" y="38"/>
                </a:cxn>
                <a:cxn ang="0">
                  <a:pos x="113" y="83"/>
                </a:cxn>
                <a:cxn ang="0">
                  <a:pos x="84" y="130"/>
                </a:cxn>
                <a:cxn ang="0">
                  <a:pos x="59" y="180"/>
                </a:cxn>
                <a:cxn ang="0">
                  <a:pos x="38" y="233"/>
                </a:cxn>
                <a:cxn ang="0">
                  <a:pos x="22" y="286"/>
                </a:cxn>
                <a:cxn ang="0">
                  <a:pos x="10" y="342"/>
                </a:cxn>
                <a:cxn ang="0">
                  <a:pos x="2" y="399"/>
                </a:cxn>
                <a:cxn ang="0">
                  <a:pos x="0" y="458"/>
                </a:cxn>
                <a:cxn ang="0">
                  <a:pos x="1" y="493"/>
                </a:cxn>
                <a:cxn ang="0">
                  <a:pos x="4" y="529"/>
                </a:cxn>
                <a:cxn ang="0">
                  <a:pos x="9" y="564"/>
                </a:cxn>
                <a:cxn ang="0">
                  <a:pos x="14" y="598"/>
                </a:cxn>
                <a:cxn ang="0">
                  <a:pos x="23" y="632"/>
                </a:cxn>
                <a:cxn ang="0">
                  <a:pos x="33" y="665"/>
                </a:cxn>
                <a:cxn ang="0">
                  <a:pos x="44" y="698"/>
                </a:cxn>
                <a:cxn ang="0">
                  <a:pos x="57" y="729"/>
                </a:cxn>
                <a:cxn ang="0">
                  <a:pos x="86" y="790"/>
                </a:cxn>
                <a:cxn ang="0">
                  <a:pos x="123" y="847"/>
                </a:cxn>
                <a:cxn ang="0">
                  <a:pos x="164" y="900"/>
                </a:cxn>
                <a:cxn ang="0">
                  <a:pos x="210" y="950"/>
                </a:cxn>
                <a:cxn ang="0">
                  <a:pos x="261" y="745"/>
                </a:cxn>
                <a:cxn ang="0">
                  <a:pos x="431" y="702"/>
                </a:cxn>
                <a:cxn ang="0">
                  <a:pos x="409" y="676"/>
                </a:cxn>
                <a:cxn ang="0">
                  <a:pos x="389" y="650"/>
                </a:cxn>
                <a:cxn ang="0">
                  <a:pos x="373" y="622"/>
                </a:cxn>
                <a:cxn ang="0">
                  <a:pos x="358" y="591"/>
                </a:cxn>
                <a:cxn ang="0">
                  <a:pos x="347" y="559"/>
                </a:cxn>
                <a:cxn ang="0">
                  <a:pos x="339" y="527"/>
                </a:cxn>
                <a:cxn ang="0">
                  <a:pos x="334" y="493"/>
                </a:cxn>
                <a:cxn ang="0">
                  <a:pos x="332" y="458"/>
                </a:cxn>
                <a:cxn ang="0">
                  <a:pos x="336" y="407"/>
                </a:cxn>
                <a:cxn ang="0">
                  <a:pos x="346" y="360"/>
                </a:cxn>
                <a:cxn ang="0">
                  <a:pos x="363" y="314"/>
                </a:cxn>
                <a:cxn ang="0">
                  <a:pos x="373" y="292"/>
                </a:cxn>
                <a:cxn ang="0">
                  <a:pos x="385" y="272"/>
                </a:cxn>
                <a:cxn ang="0">
                  <a:pos x="425" y="312"/>
                </a:cxn>
              </a:cxnLst>
              <a:rect l="0" t="0" r="r" b="b"/>
              <a:pathLst>
                <a:path w="432" h="951">
                  <a:moveTo>
                    <a:pt x="425" y="312"/>
                  </a:moveTo>
                  <a:lnTo>
                    <a:pt x="361" y="64"/>
                  </a:lnTo>
                  <a:lnTo>
                    <a:pt x="106" y="0"/>
                  </a:lnTo>
                  <a:lnTo>
                    <a:pt x="145" y="38"/>
                  </a:lnTo>
                  <a:lnTo>
                    <a:pt x="113" y="83"/>
                  </a:lnTo>
                  <a:lnTo>
                    <a:pt x="84" y="130"/>
                  </a:lnTo>
                  <a:lnTo>
                    <a:pt x="59" y="180"/>
                  </a:lnTo>
                  <a:lnTo>
                    <a:pt x="38" y="233"/>
                  </a:lnTo>
                  <a:lnTo>
                    <a:pt x="22" y="286"/>
                  </a:lnTo>
                  <a:lnTo>
                    <a:pt x="10" y="342"/>
                  </a:lnTo>
                  <a:lnTo>
                    <a:pt x="2" y="399"/>
                  </a:lnTo>
                  <a:lnTo>
                    <a:pt x="0" y="458"/>
                  </a:lnTo>
                  <a:lnTo>
                    <a:pt x="1" y="493"/>
                  </a:lnTo>
                  <a:lnTo>
                    <a:pt x="4" y="529"/>
                  </a:lnTo>
                  <a:lnTo>
                    <a:pt x="9" y="564"/>
                  </a:lnTo>
                  <a:lnTo>
                    <a:pt x="14" y="598"/>
                  </a:lnTo>
                  <a:lnTo>
                    <a:pt x="23" y="632"/>
                  </a:lnTo>
                  <a:lnTo>
                    <a:pt x="33" y="665"/>
                  </a:lnTo>
                  <a:lnTo>
                    <a:pt x="44" y="698"/>
                  </a:lnTo>
                  <a:lnTo>
                    <a:pt x="57" y="729"/>
                  </a:lnTo>
                  <a:lnTo>
                    <a:pt x="86" y="790"/>
                  </a:lnTo>
                  <a:lnTo>
                    <a:pt x="123" y="847"/>
                  </a:lnTo>
                  <a:lnTo>
                    <a:pt x="164" y="900"/>
                  </a:lnTo>
                  <a:lnTo>
                    <a:pt x="210" y="950"/>
                  </a:lnTo>
                  <a:lnTo>
                    <a:pt x="261" y="745"/>
                  </a:lnTo>
                  <a:lnTo>
                    <a:pt x="431" y="702"/>
                  </a:lnTo>
                  <a:lnTo>
                    <a:pt x="409" y="676"/>
                  </a:lnTo>
                  <a:lnTo>
                    <a:pt x="389" y="650"/>
                  </a:lnTo>
                  <a:lnTo>
                    <a:pt x="373" y="622"/>
                  </a:lnTo>
                  <a:lnTo>
                    <a:pt x="358" y="591"/>
                  </a:lnTo>
                  <a:lnTo>
                    <a:pt x="347" y="559"/>
                  </a:lnTo>
                  <a:lnTo>
                    <a:pt x="339" y="527"/>
                  </a:lnTo>
                  <a:lnTo>
                    <a:pt x="334" y="493"/>
                  </a:lnTo>
                  <a:lnTo>
                    <a:pt x="332" y="458"/>
                  </a:lnTo>
                  <a:lnTo>
                    <a:pt x="336" y="407"/>
                  </a:lnTo>
                  <a:lnTo>
                    <a:pt x="346" y="360"/>
                  </a:lnTo>
                  <a:lnTo>
                    <a:pt x="363" y="314"/>
                  </a:lnTo>
                  <a:lnTo>
                    <a:pt x="373" y="292"/>
                  </a:lnTo>
                  <a:lnTo>
                    <a:pt x="385" y="272"/>
                  </a:lnTo>
                  <a:lnTo>
                    <a:pt x="425" y="312"/>
                  </a:lnTo>
                </a:path>
              </a:pathLst>
            </a:custGeom>
            <a:solidFill>
              <a:schemeClr val="accent1"/>
            </a:solid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23" name="Freeform 5">
              <a:extLst>
                <a:ext uri="{FF2B5EF4-FFF2-40B4-BE49-F238E27FC236}">
                  <a16:creationId xmlns:a16="http://schemas.microsoft.com/office/drawing/2014/main" id="{C1B03786-57AC-40DA-A370-A873943E32B1}"/>
                </a:ext>
              </a:extLst>
            </p:cNvPr>
            <p:cNvSpPr>
              <a:spLocks/>
            </p:cNvSpPr>
            <p:nvPr/>
          </p:nvSpPr>
          <p:spPr bwMode="auto">
            <a:xfrm>
              <a:off x="1970" y="3124"/>
              <a:ext cx="1889" cy="879"/>
            </a:xfrm>
            <a:custGeom>
              <a:avLst/>
              <a:gdLst/>
              <a:ahLst/>
              <a:cxnLst>
                <a:cxn ang="0">
                  <a:pos x="311" y="8"/>
                </a:cxn>
                <a:cxn ang="0">
                  <a:pos x="64" y="73"/>
                </a:cxn>
                <a:cxn ang="0">
                  <a:pos x="0" y="328"/>
                </a:cxn>
                <a:cxn ang="0">
                  <a:pos x="40" y="287"/>
                </a:cxn>
                <a:cxn ang="0">
                  <a:pos x="85" y="318"/>
                </a:cxn>
                <a:cxn ang="0">
                  <a:pos x="132" y="346"/>
                </a:cxn>
                <a:cxn ang="0">
                  <a:pos x="182" y="371"/>
                </a:cxn>
                <a:cxn ang="0">
                  <a:pos x="234" y="392"/>
                </a:cxn>
                <a:cxn ang="0">
                  <a:pos x="287" y="408"/>
                </a:cxn>
                <a:cxn ang="0">
                  <a:pos x="342" y="420"/>
                </a:cxn>
                <a:cxn ang="0">
                  <a:pos x="400" y="427"/>
                </a:cxn>
                <a:cxn ang="0">
                  <a:pos x="458" y="427"/>
                </a:cxn>
                <a:cxn ang="0">
                  <a:pos x="529" y="425"/>
                </a:cxn>
                <a:cxn ang="0">
                  <a:pos x="597" y="415"/>
                </a:cxn>
                <a:cxn ang="0">
                  <a:pos x="664" y="397"/>
                </a:cxn>
                <a:cxn ang="0">
                  <a:pos x="728" y="374"/>
                </a:cxn>
                <a:cxn ang="0">
                  <a:pos x="788" y="344"/>
                </a:cxn>
                <a:cxn ang="0">
                  <a:pos x="817" y="327"/>
                </a:cxn>
                <a:cxn ang="0">
                  <a:pos x="845" y="309"/>
                </a:cxn>
                <a:cxn ang="0">
                  <a:pos x="898" y="268"/>
                </a:cxn>
                <a:cxn ang="0">
                  <a:pos x="947" y="223"/>
                </a:cxn>
                <a:cxn ang="0">
                  <a:pos x="746" y="173"/>
                </a:cxn>
                <a:cxn ang="0">
                  <a:pos x="701" y="0"/>
                </a:cxn>
                <a:cxn ang="0">
                  <a:pos x="677" y="22"/>
                </a:cxn>
                <a:cxn ang="0">
                  <a:pos x="650" y="41"/>
                </a:cxn>
                <a:cxn ang="0">
                  <a:pos x="621" y="57"/>
                </a:cxn>
                <a:cxn ang="0">
                  <a:pos x="591" y="72"/>
                </a:cxn>
                <a:cxn ang="0">
                  <a:pos x="560" y="83"/>
                </a:cxn>
                <a:cxn ang="0">
                  <a:pos x="526" y="91"/>
                </a:cxn>
                <a:cxn ang="0">
                  <a:pos x="493" y="96"/>
                </a:cxn>
                <a:cxn ang="0">
                  <a:pos x="458" y="98"/>
                </a:cxn>
                <a:cxn ang="0">
                  <a:pos x="433" y="97"/>
                </a:cxn>
                <a:cxn ang="0">
                  <a:pos x="408" y="94"/>
                </a:cxn>
                <a:cxn ang="0">
                  <a:pos x="384" y="90"/>
                </a:cxn>
                <a:cxn ang="0">
                  <a:pos x="361" y="85"/>
                </a:cxn>
                <a:cxn ang="0">
                  <a:pos x="338" y="77"/>
                </a:cxn>
                <a:cxn ang="0">
                  <a:pos x="316" y="69"/>
                </a:cxn>
                <a:cxn ang="0">
                  <a:pos x="295" y="58"/>
                </a:cxn>
                <a:cxn ang="0">
                  <a:pos x="274" y="46"/>
                </a:cxn>
                <a:cxn ang="0">
                  <a:pos x="311" y="8"/>
                </a:cxn>
              </a:cxnLst>
              <a:rect l="0" t="0" r="r" b="b"/>
              <a:pathLst>
                <a:path w="948" h="428">
                  <a:moveTo>
                    <a:pt x="311" y="8"/>
                  </a:moveTo>
                  <a:lnTo>
                    <a:pt x="64" y="73"/>
                  </a:lnTo>
                  <a:lnTo>
                    <a:pt x="0" y="328"/>
                  </a:lnTo>
                  <a:lnTo>
                    <a:pt x="40" y="287"/>
                  </a:lnTo>
                  <a:lnTo>
                    <a:pt x="85" y="318"/>
                  </a:lnTo>
                  <a:lnTo>
                    <a:pt x="132" y="346"/>
                  </a:lnTo>
                  <a:lnTo>
                    <a:pt x="182" y="371"/>
                  </a:lnTo>
                  <a:lnTo>
                    <a:pt x="234" y="392"/>
                  </a:lnTo>
                  <a:lnTo>
                    <a:pt x="287" y="408"/>
                  </a:lnTo>
                  <a:lnTo>
                    <a:pt x="342" y="420"/>
                  </a:lnTo>
                  <a:lnTo>
                    <a:pt x="400" y="427"/>
                  </a:lnTo>
                  <a:lnTo>
                    <a:pt x="458" y="427"/>
                  </a:lnTo>
                  <a:lnTo>
                    <a:pt x="529" y="425"/>
                  </a:lnTo>
                  <a:lnTo>
                    <a:pt x="597" y="415"/>
                  </a:lnTo>
                  <a:lnTo>
                    <a:pt x="664" y="397"/>
                  </a:lnTo>
                  <a:lnTo>
                    <a:pt x="728" y="374"/>
                  </a:lnTo>
                  <a:lnTo>
                    <a:pt x="788" y="344"/>
                  </a:lnTo>
                  <a:lnTo>
                    <a:pt x="817" y="327"/>
                  </a:lnTo>
                  <a:lnTo>
                    <a:pt x="845" y="309"/>
                  </a:lnTo>
                  <a:lnTo>
                    <a:pt x="898" y="268"/>
                  </a:lnTo>
                  <a:lnTo>
                    <a:pt x="947" y="223"/>
                  </a:lnTo>
                  <a:lnTo>
                    <a:pt x="746" y="173"/>
                  </a:lnTo>
                  <a:lnTo>
                    <a:pt x="701" y="0"/>
                  </a:lnTo>
                  <a:lnTo>
                    <a:pt x="677" y="22"/>
                  </a:lnTo>
                  <a:lnTo>
                    <a:pt x="650" y="41"/>
                  </a:lnTo>
                  <a:lnTo>
                    <a:pt x="621" y="57"/>
                  </a:lnTo>
                  <a:lnTo>
                    <a:pt x="591" y="72"/>
                  </a:lnTo>
                  <a:lnTo>
                    <a:pt x="560" y="83"/>
                  </a:lnTo>
                  <a:lnTo>
                    <a:pt x="526" y="91"/>
                  </a:lnTo>
                  <a:lnTo>
                    <a:pt x="493" y="96"/>
                  </a:lnTo>
                  <a:lnTo>
                    <a:pt x="458" y="98"/>
                  </a:lnTo>
                  <a:lnTo>
                    <a:pt x="433" y="97"/>
                  </a:lnTo>
                  <a:lnTo>
                    <a:pt x="408" y="94"/>
                  </a:lnTo>
                  <a:lnTo>
                    <a:pt x="384" y="90"/>
                  </a:lnTo>
                  <a:lnTo>
                    <a:pt x="361" y="85"/>
                  </a:lnTo>
                  <a:lnTo>
                    <a:pt x="338" y="77"/>
                  </a:lnTo>
                  <a:lnTo>
                    <a:pt x="316" y="69"/>
                  </a:lnTo>
                  <a:lnTo>
                    <a:pt x="295" y="58"/>
                  </a:lnTo>
                  <a:lnTo>
                    <a:pt x="274" y="46"/>
                  </a:lnTo>
                  <a:lnTo>
                    <a:pt x="311" y="8"/>
                  </a:lnTo>
                </a:path>
              </a:pathLst>
            </a:custGeom>
            <a:solidFill>
              <a:schemeClr val="accent2"/>
            </a:solid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24" name="Freeform 6">
              <a:extLst>
                <a:ext uri="{FF2B5EF4-FFF2-40B4-BE49-F238E27FC236}">
                  <a16:creationId xmlns:a16="http://schemas.microsoft.com/office/drawing/2014/main" id="{794199C6-3F8A-491D-94B1-2B5192B06F0D}"/>
                </a:ext>
              </a:extLst>
            </p:cNvPr>
            <p:cNvSpPr>
              <a:spLocks/>
            </p:cNvSpPr>
            <p:nvPr/>
          </p:nvSpPr>
          <p:spPr bwMode="auto">
            <a:xfrm>
              <a:off x="3394" y="1606"/>
              <a:ext cx="847" cy="1949"/>
            </a:xfrm>
            <a:custGeom>
              <a:avLst/>
              <a:gdLst/>
              <a:ahLst/>
              <a:cxnLst>
                <a:cxn ang="0">
                  <a:pos x="5" y="637"/>
                </a:cxn>
                <a:cxn ang="0">
                  <a:pos x="69" y="883"/>
                </a:cxn>
                <a:cxn ang="0">
                  <a:pos x="325" y="947"/>
                </a:cxn>
                <a:cxn ang="0">
                  <a:pos x="281" y="905"/>
                </a:cxn>
                <a:cxn ang="0">
                  <a:pos x="314" y="860"/>
                </a:cxn>
                <a:cxn ang="0">
                  <a:pos x="342" y="813"/>
                </a:cxn>
                <a:cxn ang="0">
                  <a:pos x="367" y="763"/>
                </a:cxn>
                <a:cxn ang="0">
                  <a:pos x="388" y="711"/>
                </a:cxn>
                <a:cxn ang="0">
                  <a:pos x="404" y="657"/>
                </a:cxn>
                <a:cxn ang="0">
                  <a:pos x="417" y="602"/>
                </a:cxn>
                <a:cxn ang="0">
                  <a:pos x="424" y="545"/>
                </a:cxn>
                <a:cxn ang="0">
                  <a:pos x="424" y="487"/>
                </a:cxn>
                <a:cxn ang="0">
                  <a:pos x="423" y="416"/>
                </a:cxn>
                <a:cxn ang="0">
                  <a:pos x="412" y="347"/>
                </a:cxn>
                <a:cxn ang="0">
                  <a:pos x="394" y="281"/>
                </a:cxn>
                <a:cxn ang="0">
                  <a:pos x="371" y="219"/>
                </a:cxn>
                <a:cxn ang="0">
                  <a:pos x="342" y="158"/>
                </a:cxn>
                <a:cxn ang="0">
                  <a:pos x="306" y="101"/>
                </a:cxn>
                <a:cxn ang="0">
                  <a:pos x="266" y="48"/>
                </a:cxn>
                <a:cxn ang="0">
                  <a:pos x="220" y="0"/>
                </a:cxn>
                <a:cxn ang="0">
                  <a:pos x="169" y="203"/>
                </a:cxn>
                <a:cxn ang="0">
                  <a:pos x="0" y="247"/>
                </a:cxn>
                <a:cxn ang="0">
                  <a:pos x="22" y="272"/>
                </a:cxn>
                <a:cxn ang="0">
                  <a:pos x="40" y="298"/>
                </a:cxn>
                <a:cxn ang="0">
                  <a:pos x="56" y="326"/>
                </a:cxn>
                <a:cxn ang="0">
                  <a:pos x="69" y="356"/>
                </a:cxn>
                <a:cxn ang="0">
                  <a:pos x="81" y="387"/>
                </a:cxn>
                <a:cxn ang="0">
                  <a:pos x="89" y="419"/>
                </a:cxn>
                <a:cxn ang="0">
                  <a:pos x="93" y="452"/>
                </a:cxn>
                <a:cxn ang="0">
                  <a:pos x="95" y="487"/>
                </a:cxn>
                <a:cxn ang="0">
                  <a:pos x="91" y="536"/>
                </a:cxn>
                <a:cxn ang="0">
                  <a:pos x="81" y="585"/>
                </a:cxn>
                <a:cxn ang="0">
                  <a:pos x="64" y="629"/>
                </a:cxn>
                <a:cxn ang="0">
                  <a:pos x="42" y="671"/>
                </a:cxn>
                <a:cxn ang="0">
                  <a:pos x="5" y="637"/>
                </a:cxn>
              </a:cxnLst>
              <a:rect l="0" t="0" r="r" b="b"/>
              <a:pathLst>
                <a:path w="425" h="948">
                  <a:moveTo>
                    <a:pt x="5" y="637"/>
                  </a:moveTo>
                  <a:lnTo>
                    <a:pt x="69" y="883"/>
                  </a:lnTo>
                  <a:lnTo>
                    <a:pt x="325" y="947"/>
                  </a:lnTo>
                  <a:lnTo>
                    <a:pt x="281" y="905"/>
                  </a:lnTo>
                  <a:lnTo>
                    <a:pt x="314" y="860"/>
                  </a:lnTo>
                  <a:lnTo>
                    <a:pt x="342" y="813"/>
                  </a:lnTo>
                  <a:lnTo>
                    <a:pt x="367" y="763"/>
                  </a:lnTo>
                  <a:lnTo>
                    <a:pt x="388" y="711"/>
                  </a:lnTo>
                  <a:lnTo>
                    <a:pt x="404" y="657"/>
                  </a:lnTo>
                  <a:lnTo>
                    <a:pt x="417" y="602"/>
                  </a:lnTo>
                  <a:lnTo>
                    <a:pt x="424" y="545"/>
                  </a:lnTo>
                  <a:lnTo>
                    <a:pt x="424" y="487"/>
                  </a:lnTo>
                  <a:lnTo>
                    <a:pt x="423" y="416"/>
                  </a:lnTo>
                  <a:lnTo>
                    <a:pt x="412" y="347"/>
                  </a:lnTo>
                  <a:lnTo>
                    <a:pt x="394" y="281"/>
                  </a:lnTo>
                  <a:lnTo>
                    <a:pt x="371" y="219"/>
                  </a:lnTo>
                  <a:lnTo>
                    <a:pt x="342" y="158"/>
                  </a:lnTo>
                  <a:lnTo>
                    <a:pt x="306" y="101"/>
                  </a:lnTo>
                  <a:lnTo>
                    <a:pt x="266" y="48"/>
                  </a:lnTo>
                  <a:lnTo>
                    <a:pt x="220" y="0"/>
                  </a:lnTo>
                  <a:lnTo>
                    <a:pt x="169" y="203"/>
                  </a:lnTo>
                  <a:lnTo>
                    <a:pt x="0" y="247"/>
                  </a:lnTo>
                  <a:lnTo>
                    <a:pt x="22" y="272"/>
                  </a:lnTo>
                  <a:lnTo>
                    <a:pt x="40" y="298"/>
                  </a:lnTo>
                  <a:lnTo>
                    <a:pt x="56" y="326"/>
                  </a:lnTo>
                  <a:lnTo>
                    <a:pt x="69" y="356"/>
                  </a:lnTo>
                  <a:lnTo>
                    <a:pt x="81" y="387"/>
                  </a:lnTo>
                  <a:lnTo>
                    <a:pt x="89" y="419"/>
                  </a:lnTo>
                  <a:lnTo>
                    <a:pt x="93" y="452"/>
                  </a:lnTo>
                  <a:lnTo>
                    <a:pt x="95" y="487"/>
                  </a:lnTo>
                  <a:lnTo>
                    <a:pt x="91" y="536"/>
                  </a:lnTo>
                  <a:lnTo>
                    <a:pt x="81" y="585"/>
                  </a:lnTo>
                  <a:lnTo>
                    <a:pt x="64" y="629"/>
                  </a:lnTo>
                  <a:lnTo>
                    <a:pt x="42" y="671"/>
                  </a:lnTo>
                  <a:lnTo>
                    <a:pt x="5" y="637"/>
                  </a:lnTo>
                </a:path>
              </a:pathLst>
            </a:custGeom>
            <a:solidFill>
              <a:schemeClr val="accent3"/>
            </a:solid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25" name="Freeform 7">
              <a:extLst>
                <a:ext uri="{FF2B5EF4-FFF2-40B4-BE49-F238E27FC236}">
                  <a16:creationId xmlns:a16="http://schemas.microsoft.com/office/drawing/2014/main" id="{FB048D56-EFEF-450E-BC7A-85564984D222}"/>
                </a:ext>
              </a:extLst>
            </p:cNvPr>
            <p:cNvSpPr>
              <a:spLocks/>
            </p:cNvSpPr>
            <p:nvPr/>
          </p:nvSpPr>
          <p:spPr bwMode="auto">
            <a:xfrm>
              <a:off x="1900" y="1204"/>
              <a:ext cx="1901" cy="879"/>
            </a:xfrm>
            <a:custGeom>
              <a:avLst/>
              <a:gdLst/>
              <a:ahLst/>
              <a:cxnLst>
                <a:cxn ang="0">
                  <a:pos x="643" y="425"/>
                </a:cxn>
                <a:cxn ang="0">
                  <a:pos x="890" y="362"/>
                </a:cxn>
                <a:cxn ang="0">
                  <a:pos x="953" y="105"/>
                </a:cxn>
                <a:cxn ang="0">
                  <a:pos x="914" y="147"/>
                </a:cxn>
                <a:cxn ang="0">
                  <a:pos x="869" y="114"/>
                </a:cxn>
                <a:cxn ang="0">
                  <a:pos x="821" y="85"/>
                </a:cxn>
                <a:cxn ang="0">
                  <a:pos x="771" y="60"/>
                </a:cxn>
                <a:cxn ang="0">
                  <a:pos x="719" y="39"/>
                </a:cxn>
                <a:cxn ang="0">
                  <a:pos x="664" y="22"/>
                </a:cxn>
                <a:cxn ang="0">
                  <a:pos x="608" y="10"/>
                </a:cxn>
                <a:cxn ang="0">
                  <a:pos x="551" y="2"/>
                </a:cxn>
                <a:cxn ang="0">
                  <a:pos x="491" y="0"/>
                </a:cxn>
                <a:cxn ang="0">
                  <a:pos x="420" y="3"/>
                </a:cxn>
                <a:cxn ang="0">
                  <a:pos x="351" y="14"/>
                </a:cxn>
                <a:cxn ang="0">
                  <a:pos x="284" y="32"/>
                </a:cxn>
                <a:cxn ang="0">
                  <a:pos x="220" y="57"/>
                </a:cxn>
                <a:cxn ang="0">
                  <a:pos x="160" y="86"/>
                </a:cxn>
                <a:cxn ang="0">
                  <a:pos x="102" y="122"/>
                </a:cxn>
                <a:cxn ang="0">
                  <a:pos x="49" y="163"/>
                </a:cxn>
                <a:cxn ang="0">
                  <a:pos x="0" y="209"/>
                </a:cxn>
                <a:cxn ang="0">
                  <a:pos x="207" y="261"/>
                </a:cxn>
                <a:cxn ang="0">
                  <a:pos x="251" y="427"/>
                </a:cxn>
                <a:cxn ang="0">
                  <a:pos x="276" y="405"/>
                </a:cxn>
                <a:cxn ang="0">
                  <a:pos x="302" y="387"/>
                </a:cxn>
                <a:cxn ang="0">
                  <a:pos x="330" y="370"/>
                </a:cxn>
                <a:cxn ang="0">
                  <a:pos x="360" y="357"/>
                </a:cxn>
                <a:cxn ang="0">
                  <a:pos x="391" y="346"/>
                </a:cxn>
                <a:cxn ang="0">
                  <a:pos x="424" y="338"/>
                </a:cxn>
                <a:cxn ang="0">
                  <a:pos x="458" y="333"/>
                </a:cxn>
                <a:cxn ang="0">
                  <a:pos x="491" y="331"/>
                </a:cxn>
                <a:cxn ang="0">
                  <a:pos x="543" y="335"/>
                </a:cxn>
                <a:cxn ang="0">
                  <a:pos x="591" y="346"/>
                </a:cxn>
                <a:cxn ang="0">
                  <a:pos x="638" y="363"/>
                </a:cxn>
                <a:cxn ang="0">
                  <a:pos x="680" y="386"/>
                </a:cxn>
                <a:cxn ang="0">
                  <a:pos x="643" y="425"/>
                </a:cxn>
              </a:cxnLst>
              <a:rect l="0" t="0" r="r" b="b"/>
              <a:pathLst>
                <a:path w="954" h="428">
                  <a:moveTo>
                    <a:pt x="643" y="425"/>
                  </a:moveTo>
                  <a:lnTo>
                    <a:pt x="890" y="362"/>
                  </a:lnTo>
                  <a:lnTo>
                    <a:pt x="953" y="105"/>
                  </a:lnTo>
                  <a:lnTo>
                    <a:pt x="914" y="147"/>
                  </a:lnTo>
                  <a:lnTo>
                    <a:pt x="869" y="114"/>
                  </a:lnTo>
                  <a:lnTo>
                    <a:pt x="821" y="85"/>
                  </a:lnTo>
                  <a:lnTo>
                    <a:pt x="771" y="60"/>
                  </a:lnTo>
                  <a:lnTo>
                    <a:pt x="719" y="39"/>
                  </a:lnTo>
                  <a:lnTo>
                    <a:pt x="664" y="22"/>
                  </a:lnTo>
                  <a:lnTo>
                    <a:pt x="608" y="10"/>
                  </a:lnTo>
                  <a:lnTo>
                    <a:pt x="551" y="2"/>
                  </a:lnTo>
                  <a:lnTo>
                    <a:pt x="491" y="0"/>
                  </a:lnTo>
                  <a:lnTo>
                    <a:pt x="420" y="3"/>
                  </a:lnTo>
                  <a:lnTo>
                    <a:pt x="351" y="14"/>
                  </a:lnTo>
                  <a:lnTo>
                    <a:pt x="284" y="32"/>
                  </a:lnTo>
                  <a:lnTo>
                    <a:pt x="220" y="57"/>
                  </a:lnTo>
                  <a:lnTo>
                    <a:pt x="160" y="86"/>
                  </a:lnTo>
                  <a:lnTo>
                    <a:pt x="102" y="122"/>
                  </a:lnTo>
                  <a:lnTo>
                    <a:pt x="49" y="163"/>
                  </a:lnTo>
                  <a:lnTo>
                    <a:pt x="0" y="209"/>
                  </a:lnTo>
                  <a:lnTo>
                    <a:pt x="207" y="261"/>
                  </a:lnTo>
                  <a:lnTo>
                    <a:pt x="251" y="427"/>
                  </a:lnTo>
                  <a:lnTo>
                    <a:pt x="276" y="405"/>
                  </a:lnTo>
                  <a:lnTo>
                    <a:pt x="302" y="387"/>
                  </a:lnTo>
                  <a:lnTo>
                    <a:pt x="330" y="370"/>
                  </a:lnTo>
                  <a:lnTo>
                    <a:pt x="360" y="357"/>
                  </a:lnTo>
                  <a:lnTo>
                    <a:pt x="391" y="346"/>
                  </a:lnTo>
                  <a:lnTo>
                    <a:pt x="424" y="338"/>
                  </a:lnTo>
                  <a:lnTo>
                    <a:pt x="458" y="333"/>
                  </a:lnTo>
                  <a:lnTo>
                    <a:pt x="491" y="331"/>
                  </a:lnTo>
                  <a:lnTo>
                    <a:pt x="543" y="335"/>
                  </a:lnTo>
                  <a:lnTo>
                    <a:pt x="591" y="346"/>
                  </a:lnTo>
                  <a:lnTo>
                    <a:pt x="638" y="363"/>
                  </a:lnTo>
                  <a:lnTo>
                    <a:pt x="680" y="386"/>
                  </a:lnTo>
                  <a:lnTo>
                    <a:pt x="643" y="425"/>
                  </a:lnTo>
                </a:path>
              </a:pathLst>
            </a:custGeom>
            <a:solidFill>
              <a:schemeClr val="accent5"/>
            </a:solidFill>
            <a:ln w="6350" cap="rnd" cmpd="sng">
              <a:noFill/>
              <a:prstDash val="solid"/>
              <a:round/>
              <a:headEnd/>
              <a:tailEnd/>
            </a:ln>
            <a:effectLst/>
          </p:spPr>
          <p:txBody>
            <a:bodyPr lIns="45720" rIns="45720" anchor="ctr" anchorCtr="1"/>
            <a:lstStyle/>
            <a:p>
              <a:endParaRPr lang="en-US" sz="1600" b="1">
                <a:solidFill>
                  <a:schemeClr val="bg1"/>
                </a:solidFill>
              </a:endParaRPr>
            </a:p>
          </p:txBody>
        </p:sp>
        <p:sp>
          <p:nvSpPr>
            <p:cNvPr id="26" name="Text Box 8">
              <a:extLst>
                <a:ext uri="{FF2B5EF4-FFF2-40B4-BE49-F238E27FC236}">
                  <a16:creationId xmlns:a16="http://schemas.microsoft.com/office/drawing/2014/main" id="{E66F3F7E-4C85-47FD-B5FA-8AA910CBBA96}"/>
                </a:ext>
              </a:extLst>
            </p:cNvPr>
            <p:cNvSpPr txBox="1">
              <a:spLocks noChangeArrowheads="1"/>
            </p:cNvSpPr>
            <p:nvPr/>
          </p:nvSpPr>
          <p:spPr bwMode="auto">
            <a:xfrm>
              <a:off x="2705" y="1393"/>
              <a:ext cx="356" cy="232"/>
            </a:xfrm>
            <a:prstGeom prst="rect">
              <a:avLst/>
            </a:prstGeom>
            <a:noFill/>
            <a:ln w="6350">
              <a:noFill/>
              <a:miter lim="800000"/>
              <a:headEnd/>
              <a:tailEnd/>
            </a:ln>
            <a:effectLst/>
          </p:spPr>
          <p:txBody>
            <a:bodyPr lIns="45720" rIns="45720" anchor="ctr" anchorCtr="1"/>
            <a:lstStyle/>
            <a:p>
              <a:pPr algn="ctr" eaLnBrk="0" hangingPunct="0"/>
              <a:r>
                <a:rPr lang="en-US" sz="1600" b="1" dirty="0">
                  <a:solidFill>
                    <a:schemeClr val="bg1"/>
                  </a:solidFill>
                </a:rPr>
                <a:t>Text</a:t>
              </a:r>
            </a:p>
          </p:txBody>
        </p:sp>
        <p:sp>
          <p:nvSpPr>
            <p:cNvPr id="27" name="Text Box 9">
              <a:extLst>
                <a:ext uri="{FF2B5EF4-FFF2-40B4-BE49-F238E27FC236}">
                  <a16:creationId xmlns:a16="http://schemas.microsoft.com/office/drawing/2014/main" id="{BBEDD887-F18B-4A7F-90D8-E69D133E6307}"/>
                </a:ext>
              </a:extLst>
            </p:cNvPr>
            <p:cNvSpPr txBox="1">
              <a:spLocks noChangeArrowheads="1"/>
            </p:cNvSpPr>
            <p:nvPr/>
          </p:nvSpPr>
          <p:spPr bwMode="auto">
            <a:xfrm>
              <a:off x="2705" y="3502"/>
              <a:ext cx="356" cy="231"/>
            </a:xfrm>
            <a:prstGeom prst="rect">
              <a:avLst/>
            </a:prstGeom>
            <a:noFill/>
            <a:ln w="6350">
              <a:noFill/>
              <a:miter lim="800000"/>
              <a:headEnd/>
              <a:tailEnd/>
            </a:ln>
            <a:effectLst/>
          </p:spPr>
          <p:txBody>
            <a:bodyPr lIns="45720" rIns="45720" anchor="ctr" anchorCtr="1"/>
            <a:lstStyle/>
            <a:p>
              <a:pPr algn="ctr" eaLnBrk="0" hangingPunct="0"/>
              <a:r>
                <a:rPr lang="en-US" sz="1600" b="1" dirty="0">
                  <a:solidFill>
                    <a:schemeClr val="bg1"/>
                  </a:solidFill>
                </a:rPr>
                <a:t>Text</a:t>
              </a:r>
            </a:p>
          </p:txBody>
        </p:sp>
        <p:sp>
          <p:nvSpPr>
            <p:cNvPr id="28" name="Text Box 10">
              <a:extLst>
                <a:ext uri="{FF2B5EF4-FFF2-40B4-BE49-F238E27FC236}">
                  <a16:creationId xmlns:a16="http://schemas.microsoft.com/office/drawing/2014/main" id="{48942B0B-6587-4AB2-8FBE-9F167F8E5223}"/>
                </a:ext>
              </a:extLst>
            </p:cNvPr>
            <p:cNvSpPr txBox="1">
              <a:spLocks noChangeArrowheads="1"/>
            </p:cNvSpPr>
            <p:nvPr/>
          </p:nvSpPr>
          <p:spPr bwMode="auto">
            <a:xfrm>
              <a:off x="1504" y="2535"/>
              <a:ext cx="587" cy="155"/>
            </a:xfrm>
            <a:prstGeom prst="rect">
              <a:avLst/>
            </a:prstGeom>
            <a:noFill/>
            <a:ln w="6350">
              <a:noFill/>
              <a:miter lim="800000"/>
              <a:headEnd/>
              <a:tailEnd/>
            </a:ln>
            <a:effectLst/>
          </p:spPr>
          <p:txBody>
            <a:bodyPr lIns="0" tIns="0" rIns="0" bIns="0">
              <a:spAutoFit/>
            </a:bodyPr>
            <a:lstStyle/>
            <a:p>
              <a:pPr algn="ctr" eaLnBrk="0" hangingPunct="0"/>
              <a:r>
                <a:rPr lang="en-GB" sz="1600" b="1" dirty="0">
                  <a:solidFill>
                    <a:schemeClr val="bg1"/>
                  </a:solidFill>
                </a:rPr>
                <a:t>Text</a:t>
              </a:r>
            </a:p>
          </p:txBody>
        </p:sp>
        <p:sp>
          <p:nvSpPr>
            <p:cNvPr id="29" name="Text Box 11">
              <a:extLst>
                <a:ext uri="{FF2B5EF4-FFF2-40B4-BE49-F238E27FC236}">
                  <a16:creationId xmlns:a16="http://schemas.microsoft.com/office/drawing/2014/main" id="{346FDCD2-0723-4230-B592-7A946A3A4617}"/>
                </a:ext>
              </a:extLst>
            </p:cNvPr>
            <p:cNvSpPr txBox="1">
              <a:spLocks noChangeArrowheads="1"/>
            </p:cNvSpPr>
            <p:nvPr/>
          </p:nvSpPr>
          <p:spPr bwMode="auto">
            <a:xfrm>
              <a:off x="3586" y="2495"/>
              <a:ext cx="588" cy="155"/>
            </a:xfrm>
            <a:prstGeom prst="rect">
              <a:avLst/>
            </a:prstGeom>
            <a:noFill/>
            <a:ln w="6350">
              <a:noFill/>
              <a:miter lim="800000"/>
              <a:headEnd/>
              <a:tailEnd/>
            </a:ln>
            <a:effectLst/>
          </p:spPr>
          <p:txBody>
            <a:bodyPr lIns="0" tIns="0" rIns="0" bIns="0">
              <a:spAutoFit/>
            </a:bodyPr>
            <a:lstStyle/>
            <a:p>
              <a:pPr algn="ctr" eaLnBrk="0" hangingPunct="0"/>
              <a:r>
                <a:rPr lang="en-GB" sz="1600" b="1">
                  <a:solidFill>
                    <a:schemeClr val="bg1"/>
                  </a:solidFill>
                </a:rPr>
                <a:t>Text</a:t>
              </a:r>
            </a:p>
          </p:txBody>
        </p:sp>
      </p:grpSp>
    </p:spTree>
    <p:extLst>
      <p:ext uri="{BB962C8B-B14F-4D97-AF65-F5344CB8AC3E}">
        <p14:creationId xmlns:p14="http://schemas.microsoft.com/office/powerpoint/2010/main" val="1945622500"/>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5</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16">
            <a:extLst>
              <a:ext uri="{FF2B5EF4-FFF2-40B4-BE49-F238E27FC236}">
                <a16:creationId xmlns:a16="http://schemas.microsoft.com/office/drawing/2014/main" id="{810B75A2-F491-46F5-825A-CA98F3B4C8A2}"/>
              </a:ext>
            </a:extLst>
          </p:cNvPr>
          <p:cNvGrpSpPr>
            <a:grpSpLocks/>
          </p:cNvGrpSpPr>
          <p:nvPr/>
        </p:nvGrpSpPr>
        <p:grpSpPr bwMode="auto">
          <a:xfrm>
            <a:off x="3817144" y="1371600"/>
            <a:ext cx="4583113" cy="4537075"/>
            <a:chOff x="1473" y="1208"/>
            <a:chExt cx="2887" cy="2858"/>
          </a:xfrm>
          <a:solidFill>
            <a:schemeClr val="accent2"/>
          </a:solidFill>
        </p:grpSpPr>
        <p:sp>
          <p:nvSpPr>
            <p:cNvPr id="6" name="Freeform 4">
              <a:extLst>
                <a:ext uri="{FF2B5EF4-FFF2-40B4-BE49-F238E27FC236}">
                  <a16:creationId xmlns:a16="http://schemas.microsoft.com/office/drawing/2014/main" id="{69BDC05D-D8E0-40C0-9364-A02E9E62130D}"/>
                </a:ext>
              </a:extLst>
            </p:cNvPr>
            <p:cNvSpPr>
              <a:spLocks/>
            </p:cNvSpPr>
            <p:nvPr/>
          </p:nvSpPr>
          <p:spPr bwMode="auto">
            <a:xfrm>
              <a:off x="1630" y="1208"/>
              <a:ext cx="1535" cy="1146"/>
            </a:xfrm>
            <a:custGeom>
              <a:avLst/>
              <a:gdLst/>
              <a:ahLst/>
              <a:cxnLst>
                <a:cxn ang="0">
                  <a:pos x="579" y="438"/>
                </a:cxn>
                <a:cxn ang="0">
                  <a:pos x="740" y="243"/>
                </a:cxn>
                <a:cxn ang="0">
                  <a:pos x="642" y="0"/>
                </a:cxn>
                <a:cxn ang="0">
                  <a:pos x="635" y="54"/>
                </a:cxn>
                <a:cxn ang="0">
                  <a:pos x="610" y="53"/>
                </a:cxn>
                <a:cxn ang="0">
                  <a:pos x="560" y="55"/>
                </a:cxn>
                <a:cxn ang="0">
                  <a:pos x="511" y="60"/>
                </a:cxn>
                <a:cxn ang="0">
                  <a:pos x="463" y="69"/>
                </a:cxn>
                <a:cxn ang="0">
                  <a:pos x="417" y="81"/>
                </a:cxn>
                <a:cxn ang="0">
                  <a:pos x="372" y="96"/>
                </a:cxn>
                <a:cxn ang="0">
                  <a:pos x="328" y="115"/>
                </a:cxn>
                <a:cxn ang="0">
                  <a:pos x="286" y="136"/>
                </a:cxn>
                <a:cxn ang="0">
                  <a:pos x="246" y="159"/>
                </a:cxn>
                <a:cxn ang="0">
                  <a:pos x="208" y="186"/>
                </a:cxn>
                <a:cxn ang="0">
                  <a:pos x="171" y="215"/>
                </a:cxn>
                <a:cxn ang="0">
                  <a:pos x="137" y="247"/>
                </a:cxn>
                <a:cxn ang="0">
                  <a:pos x="104" y="280"/>
                </a:cxn>
                <a:cxn ang="0">
                  <a:pos x="74" y="316"/>
                </a:cxn>
                <a:cxn ang="0">
                  <a:pos x="47" y="354"/>
                </a:cxn>
                <a:cxn ang="0">
                  <a:pos x="23" y="394"/>
                </a:cxn>
                <a:cxn ang="0">
                  <a:pos x="0" y="435"/>
                </a:cxn>
                <a:cxn ang="0">
                  <a:pos x="212" y="421"/>
                </a:cxn>
                <a:cxn ang="0">
                  <a:pos x="304" y="564"/>
                </a:cxn>
                <a:cxn ang="0">
                  <a:pos x="327" y="527"/>
                </a:cxn>
                <a:cxn ang="0">
                  <a:pos x="354" y="494"/>
                </a:cxn>
                <a:cxn ang="0">
                  <a:pos x="385" y="464"/>
                </a:cxn>
                <a:cxn ang="0">
                  <a:pos x="420" y="439"/>
                </a:cxn>
                <a:cxn ang="0">
                  <a:pos x="459" y="417"/>
                </a:cxn>
                <a:cxn ang="0">
                  <a:pos x="478" y="408"/>
                </a:cxn>
                <a:cxn ang="0">
                  <a:pos x="499" y="400"/>
                </a:cxn>
                <a:cxn ang="0">
                  <a:pos x="520" y="394"/>
                </a:cxn>
                <a:cxn ang="0">
                  <a:pos x="542" y="389"/>
                </a:cxn>
                <a:cxn ang="0">
                  <a:pos x="565" y="385"/>
                </a:cxn>
                <a:cxn ang="0">
                  <a:pos x="587" y="384"/>
                </a:cxn>
                <a:cxn ang="0">
                  <a:pos x="579" y="438"/>
                </a:cxn>
              </a:cxnLst>
              <a:rect l="0" t="0" r="r" b="b"/>
              <a:pathLst>
                <a:path w="741" h="565">
                  <a:moveTo>
                    <a:pt x="579" y="438"/>
                  </a:moveTo>
                  <a:lnTo>
                    <a:pt x="740" y="243"/>
                  </a:lnTo>
                  <a:lnTo>
                    <a:pt x="642" y="0"/>
                  </a:lnTo>
                  <a:lnTo>
                    <a:pt x="635" y="54"/>
                  </a:lnTo>
                  <a:lnTo>
                    <a:pt x="610" y="53"/>
                  </a:lnTo>
                  <a:lnTo>
                    <a:pt x="560" y="55"/>
                  </a:lnTo>
                  <a:lnTo>
                    <a:pt x="511" y="60"/>
                  </a:lnTo>
                  <a:lnTo>
                    <a:pt x="463" y="69"/>
                  </a:lnTo>
                  <a:lnTo>
                    <a:pt x="417" y="81"/>
                  </a:lnTo>
                  <a:lnTo>
                    <a:pt x="372" y="96"/>
                  </a:lnTo>
                  <a:lnTo>
                    <a:pt x="328" y="115"/>
                  </a:lnTo>
                  <a:lnTo>
                    <a:pt x="286" y="136"/>
                  </a:lnTo>
                  <a:lnTo>
                    <a:pt x="246" y="159"/>
                  </a:lnTo>
                  <a:lnTo>
                    <a:pt x="208" y="186"/>
                  </a:lnTo>
                  <a:lnTo>
                    <a:pt x="171" y="215"/>
                  </a:lnTo>
                  <a:lnTo>
                    <a:pt x="137" y="247"/>
                  </a:lnTo>
                  <a:lnTo>
                    <a:pt x="104" y="280"/>
                  </a:lnTo>
                  <a:lnTo>
                    <a:pt x="74" y="316"/>
                  </a:lnTo>
                  <a:lnTo>
                    <a:pt x="47" y="354"/>
                  </a:lnTo>
                  <a:lnTo>
                    <a:pt x="23" y="394"/>
                  </a:lnTo>
                  <a:lnTo>
                    <a:pt x="0" y="435"/>
                  </a:lnTo>
                  <a:lnTo>
                    <a:pt x="212" y="421"/>
                  </a:lnTo>
                  <a:lnTo>
                    <a:pt x="304" y="564"/>
                  </a:lnTo>
                  <a:lnTo>
                    <a:pt x="327" y="527"/>
                  </a:lnTo>
                  <a:lnTo>
                    <a:pt x="354" y="494"/>
                  </a:lnTo>
                  <a:lnTo>
                    <a:pt x="385" y="464"/>
                  </a:lnTo>
                  <a:lnTo>
                    <a:pt x="420" y="439"/>
                  </a:lnTo>
                  <a:lnTo>
                    <a:pt x="459" y="417"/>
                  </a:lnTo>
                  <a:lnTo>
                    <a:pt x="478" y="408"/>
                  </a:lnTo>
                  <a:lnTo>
                    <a:pt x="499" y="400"/>
                  </a:lnTo>
                  <a:lnTo>
                    <a:pt x="520" y="394"/>
                  </a:lnTo>
                  <a:lnTo>
                    <a:pt x="542" y="389"/>
                  </a:lnTo>
                  <a:lnTo>
                    <a:pt x="565" y="385"/>
                  </a:lnTo>
                  <a:lnTo>
                    <a:pt x="587" y="384"/>
                  </a:lnTo>
                  <a:lnTo>
                    <a:pt x="579" y="438"/>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5">
              <a:extLst>
                <a:ext uri="{FF2B5EF4-FFF2-40B4-BE49-F238E27FC236}">
                  <a16:creationId xmlns:a16="http://schemas.microsoft.com/office/drawing/2014/main" id="{C2DABBBF-C6ED-452D-9D4C-7456CD24C5DE}"/>
                </a:ext>
              </a:extLst>
            </p:cNvPr>
            <p:cNvSpPr>
              <a:spLocks/>
            </p:cNvSpPr>
            <p:nvPr/>
          </p:nvSpPr>
          <p:spPr bwMode="auto">
            <a:xfrm>
              <a:off x="3028" y="1330"/>
              <a:ext cx="1332" cy="1309"/>
            </a:xfrm>
            <a:custGeom>
              <a:avLst/>
              <a:gdLst/>
              <a:ahLst/>
              <a:cxnLst>
                <a:cxn ang="0">
                  <a:pos x="206" y="552"/>
                </a:cxn>
                <a:cxn ang="0">
                  <a:pos x="444" y="645"/>
                </a:cxn>
                <a:cxn ang="0">
                  <a:pos x="642" y="477"/>
                </a:cxn>
                <a:cxn ang="0">
                  <a:pos x="587" y="487"/>
                </a:cxn>
                <a:cxn ang="0">
                  <a:pos x="571" y="440"/>
                </a:cxn>
                <a:cxn ang="0">
                  <a:pos x="552" y="394"/>
                </a:cxn>
                <a:cxn ang="0">
                  <a:pos x="531" y="351"/>
                </a:cxn>
                <a:cxn ang="0">
                  <a:pos x="506" y="309"/>
                </a:cxn>
                <a:cxn ang="0">
                  <a:pos x="479" y="269"/>
                </a:cxn>
                <a:cxn ang="0">
                  <a:pos x="449" y="232"/>
                </a:cxn>
                <a:cxn ang="0">
                  <a:pos x="416" y="196"/>
                </a:cxn>
                <a:cxn ang="0">
                  <a:pos x="381" y="162"/>
                </a:cxn>
                <a:cxn ang="0">
                  <a:pos x="343" y="132"/>
                </a:cxn>
                <a:cxn ang="0">
                  <a:pos x="304" y="104"/>
                </a:cxn>
                <a:cxn ang="0">
                  <a:pos x="263" y="78"/>
                </a:cxn>
                <a:cxn ang="0">
                  <a:pos x="220" y="56"/>
                </a:cxn>
                <a:cxn ang="0">
                  <a:pos x="175" y="37"/>
                </a:cxn>
                <a:cxn ang="0">
                  <a:pos x="128" y="21"/>
                </a:cxn>
                <a:cxn ang="0">
                  <a:pos x="80" y="9"/>
                </a:cxn>
                <a:cxn ang="0">
                  <a:pos x="31" y="0"/>
                </a:cxn>
                <a:cxn ang="0">
                  <a:pos x="110" y="196"/>
                </a:cxn>
                <a:cxn ang="0">
                  <a:pos x="0" y="329"/>
                </a:cxn>
                <a:cxn ang="0">
                  <a:pos x="44" y="340"/>
                </a:cxn>
                <a:cxn ang="0">
                  <a:pos x="84" y="357"/>
                </a:cxn>
                <a:cxn ang="0">
                  <a:pos x="122" y="378"/>
                </a:cxn>
                <a:cxn ang="0">
                  <a:pos x="157" y="405"/>
                </a:cxn>
                <a:cxn ang="0">
                  <a:pos x="174" y="419"/>
                </a:cxn>
                <a:cxn ang="0">
                  <a:pos x="189" y="434"/>
                </a:cxn>
                <a:cxn ang="0">
                  <a:pos x="216" y="468"/>
                </a:cxn>
                <a:cxn ang="0">
                  <a:pos x="240" y="504"/>
                </a:cxn>
                <a:cxn ang="0">
                  <a:pos x="258" y="543"/>
                </a:cxn>
                <a:cxn ang="0">
                  <a:pos x="206" y="552"/>
                </a:cxn>
              </a:cxnLst>
              <a:rect l="0" t="0" r="r" b="b"/>
              <a:pathLst>
                <a:path w="643" h="646">
                  <a:moveTo>
                    <a:pt x="206" y="552"/>
                  </a:moveTo>
                  <a:lnTo>
                    <a:pt x="444" y="645"/>
                  </a:lnTo>
                  <a:lnTo>
                    <a:pt x="642" y="477"/>
                  </a:lnTo>
                  <a:lnTo>
                    <a:pt x="587" y="487"/>
                  </a:lnTo>
                  <a:lnTo>
                    <a:pt x="571" y="440"/>
                  </a:lnTo>
                  <a:lnTo>
                    <a:pt x="552" y="394"/>
                  </a:lnTo>
                  <a:lnTo>
                    <a:pt x="531" y="351"/>
                  </a:lnTo>
                  <a:lnTo>
                    <a:pt x="506" y="309"/>
                  </a:lnTo>
                  <a:lnTo>
                    <a:pt x="479" y="269"/>
                  </a:lnTo>
                  <a:lnTo>
                    <a:pt x="449" y="232"/>
                  </a:lnTo>
                  <a:lnTo>
                    <a:pt x="416" y="196"/>
                  </a:lnTo>
                  <a:lnTo>
                    <a:pt x="381" y="162"/>
                  </a:lnTo>
                  <a:lnTo>
                    <a:pt x="343" y="132"/>
                  </a:lnTo>
                  <a:lnTo>
                    <a:pt x="304" y="104"/>
                  </a:lnTo>
                  <a:lnTo>
                    <a:pt x="263" y="78"/>
                  </a:lnTo>
                  <a:lnTo>
                    <a:pt x="220" y="56"/>
                  </a:lnTo>
                  <a:lnTo>
                    <a:pt x="175" y="37"/>
                  </a:lnTo>
                  <a:lnTo>
                    <a:pt x="128" y="21"/>
                  </a:lnTo>
                  <a:lnTo>
                    <a:pt x="80" y="9"/>
                  </a:lnTo>
                  <a:lnTo>
                    <a:pt x="31" y="0"/>
                  </a:lnTo>
                  <a:lnTo>
                    <a:pt x="110" y="196"/>
                  </a:lnTo>
                  <a:lnTo>
                    <a:pt x="0" y="329"/>
                  </a:lnTo>
                  <a:lnTo>
                    <a:pt x="44" y="340"/>
                  </a:lnTo>
                  <a:lnTo>
                    <a:pt x="84" y="357"/>
                  </a:lnTo>
                  <a:lnTo>
                    <a:pt x="122" y="378"/>
                  </a:lnTo>
                  <a:lnTo>
                    <a:pt x="157" y="405"/>
                  </a:lnTo>
                  <a:lnTo>
                    <a:pt x="174" y="419"/>
                  </a:lnTo>
                  <a:lnTo>
                    <a:pt x="189" y="434"/>
                  </a:lnTo>
                  <a:lnTo>
                    <a:pt x="216" y="468"/>
                  </a:lnTo>
                  <a:lnTo>
                    <a:pt x="240" y="504"/>
                  </a:lnTo>
                  <a:lnTo>
                    <a:pt x="258" y="543"/>
                  </a:lnTo>
                  <a:lnTo>
                    <a:pt x="206" y="552"/>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6">
              <a:extLst>
                <a:ext uri="{FF2B5EF4-FFF2-40B4-BE49-F238E27FC236}">
                  <a16:creationId xmlns:a16="http://schemas.microsoft.com/office/drawing/2014/main" id="{5D371F0F-D72B-4800-BF05-67C4147D9E41}"/>
                </a:ext>
              </a:extLst>
            </p:cNvPr>
            <p:cNvSpPr>
              <a:spLocks/>
            </p:cNvSpPr>
            <p:nvPr/>
          </p:nvSpPr>
          <p:spPr bwMode="auto">
            <a:xfrm>
              <a:off x="3279" y="2461"/>
              <a:ext cx="1020" cy="1479"/>
            </a:xfrm>
            <a:custGeom>
              <a:avLst/>
              <a:gdLst/>
              <a:ahLst/>
              <a:cxnLst>
                <a:cxn ang="0">
                  <a:pos x="16" y="336"/>
                </a:cxn>
                <a:cxn ang="0">
                  <a:pos x="0" y="590"/>
                </a:cxn>
                <a:cxn ang="0">
                  <a:pos x="221" y="729"/>
                </a:cxn>
                <a:cxn ang="0">
                  <a:pos x="193" y="676"/>
                </a:cxn>
                <a:cxn ang="0">
                  <a:pos x="257" y="626"/>
                </a:cxn>
                <a:cxn ang="0">
                  <a:pos x="316" y="569"/>
                </a:cxn>
                <a:cxn ang="0">
                  <a:pos x="367" y="506"/>
                </a:cxn>
                <a:cxn ang="0">
                  <a:pos x="410" y="437"/>
                </a:cxn>
                <a:cxn ang="0">
                  <a:pos x="445" y="362"/>
                </a:cxn>
                <a:cxn ang="0">
                  <a:pos x="470" y="282"/>
                </a:cxn>
                <a:cxn ang="0">
                  <a:pos x="486" y="199"/>
                </a:cxn>
                <a:cxn ang="0">
                  <a:pos x="491" y="113"/>
                </a:cxn>
                <a:cxn ang="0">
                  <a:pos x="488" y="56"/>
                </a:cxn>
                <a:cxn ang="0">
                  <a:pos x="481" y="0"/>
                </a:cxn>
                <a:cxn ang="0">
                  <a:pos x="323" y="134"/>
                </a:cxn>
                <a:cxn ang="0">
                  <a:pos x="158" y="69"/>
                </a:cxn>
                <a:cxn ang="0">
                  <a:pos x="162" y="113"/>
                </a:cxn>
                <a:cxn ang="0">
                  <a:pos x="160" y="153"/>
                </a:cxn>
                <a:cxn ang="0">
                  <a:pos x="153" y="191"/>
                </a:cxn>
                <a:cxn ang="0">
                  <a:pos x="143" y="227"/>
                </a:cxn>
                <a:cxn ang="0">
                  <a:pos x="129" y="263"/>
                </a:cxn>
                <a:cxn ang="0">
                  <a:pos x="111" y="296"/>
                </a:cxn>
                <a:cxn ang="0">
                  <a:pos x="90" y="327"/>
                </a:cxn>
                <a:cxn ang="0">
                  <a:pos x="66" y="355"/>
                </a:cxn>
                <a:cxn ang="0">
                  <a:pos x="39" y="380"/>
                </a:cxn>
                <a:cxn ang="0">
                  <a:pos x="16" y="336"/>
                </a:cxn>
              </a:cxnLst>
              <a:rect l="0" t="0" r="r" b="b"/>
              <a:pathLst>
                <a:path w="492" h="730">
                  <a:moveTo>
                    <a:pt x="16" y="336"/>
                  </a:moveTo>
                  <a:lnTo>
                    <a:pt x="0" y="590"/>
                  </a:lnTo>
                  <a:lnTo>
                    <a:pt x="221" y="729"/>
                  </a:lnTo>
                  <a:lnTo>
                    <a:pt x="193" y="676"/>
                  </a:lnTo>
                  <a:lnTo>
                    <a:pt x="257" y="626"/>
                  </a:lnTo>
                  <a:lnTo>
                    <a:pt x="316" y="569"/>
                  </a:lnTo>
                  <a:lnTo>
                    <a:pt x="367" y="506"/>
                  </a:lnTo>
                  <a:lnTo>
                    <a:pt x="410" y="437"/>
                  </a:lnTo>
                  <a:lnTo>
                    <a:pt x="445" y="362"/>
                  </a:lnTo>
                  <a:lnTo>
                    <a:pt x="470" y="282"/>
                  </a:lnTo>
                  <a:lnTo>
                    <a:pt x="486" y="199"/>
                  </a:lnTo>
                  <a:lnTo>
                    <a:pt x="491" y="113"/>
                  </a:lnTo>
                  <a:lnTo>
                    <a:pt x="488" y="56"/>
                  </a:lnTo>
                  <a:lnTo>
                    <a:pt x="481" y="0"/>
                  </a:lnTo>
                  <a:lnTo>
                    <a:pt x="323" y="134"/>
                  </a:lnTo>
                  <a:lnTo>
                    <a:pt x="158" y="69"/>
                  </a:lnTo>
                  <a:lnTo>
                    <a:pt x="162" y="113"/>
                  </a:lnTo>
                  <a:lnTo>
                    <a:pt x="160" y="153"/>
                  </a:lnTo>
                  <a:lnTo>
                    <a:pt x="153" y="191"/>
                  </a:lnTo>
                  <a:lnTo>
                    <a:pt x="143" y="227"/>
                  </a:lnTo>
                  <a:lnTo>
                    <a:pt x="129" y="263"/>
                  </a:lnTo>
                  <a:lnTo>
                    <a:pt x="111" y="296"/>
                  </a:lnTo>
                  <a:lnTo>
                    <a:pt x="90" y="327"/>
                  </a:lnTo>
                  <a:lnTo>
                    <a:pt x="66" y="355"/>
                  </a:lnTo>
                  <a:lnTo>
                    <a:pt x="39" y="380"/>
                  </a:lnTo>
                  <a:lnTo>
                    <a:pt x="16" y="336"/>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7">
              <a:extLst>
                <a:ext uri="{FF2B5EF4-FFF2-40B4-BE49-F238E27FC236}">
                  <a16:creationId xmlns:a16="http://schemas.microsoft.com/office/drawing/2014/main" id="{3020EE1D-5CDD-44D9-9491-5798BEBCD3CC}"/>
                </a:ext>
              </a:extLst>
            </p:cNvPr>
            <p:cNvSpPr>
              <a:spLocks/>
            </p:cNvSpPr>
            <p:nvPr/>
          </p:nvSpPr>
          <p:spPr bwMode="auto">
            <a:xfrm>
              <a:off x="1954" y="3221"/>
              <a:ext cx="1599" cy="845"/>
            </a:xfrm>
            <a:custGeom>
              <a:avLst/>
              <a:gdLst/>
              <a:ahLst/>
              <a:cxnLst>
                <a:cxn ang="0">
                  <a:pos x="309" y="0"/>
                </a:cxn>
                <a:cxn ang="0">
                  <a:pos x="63" y="64"/>
                </a:cxn>
                <a:cxn ang="0">
                  <a:pos x="0" y="317"/>
                </a:cxn>
                <a:cxn ang="0">
                  <a:pos x="40" y="276"/>
                </a:cxn>
                <a:cxn ang="0">
                  <a:pos x="84" y="307"/>
                </a:cxn>
                <a:cxn ang="0">
                  <a:pos x="131" y="335"/>
                </a:cxn>
                <a:cxn ang="0">
                  <a:pos x="180" y="360"/>
                </a:cxn>
                <a:cxn ang="0">
                  <a:pos x="232" y="381"/>
                </a:cxn>
                <a:cxn ang="0">
                  <a:pos x="285" y="397"/>
                </a:cxn>
                <a:cxn ang="0">
                  <a:pos x="339" y="408"/>
                </a:cxn>
                <a:cxn ang="0">
                  <a:pos x="396" y="415"/>
                </a:cxn>
                <a:cxn ang="0">
                  <a:pos x="454" y="416"/>
                </a:cxn>
                <a:cxn ang="0">
                  <a:pos x="539" y="412"/>
                </a:cxn>
                <a:cxn ang="0">
                  <a:pos x="620" y="398"/>
                </a:cxn>
                <a:cxn ang="0">
                  <a:pos x="660" y="386"/>
                </a:cxn>
                <a:cxn ang="0">
                  <a:pos x="697" y="372"/>
                </a:cxn>
                <a:cxn ang="0">
                  <a:pos x="771" y="339"/>
                </a:cxn>
                <a:cxn ang="0">
                  <a:pos x="596" y="230"/>
                </a:cxn>
                <a:cxn ang="0">
                  <a:pos x="606" y="53"/>
                </a:cxn>
                <a:cxn ang="0">
                  <a:pos x="571" y="68"/>
                </a:cxn>
                <a:cxn ang="0">
                  <a:pos x="533" y="80"/>
                </a:cxn>
                <a:cxn ang="0">
                  <a:pos x="495" y="86"/>
                </a:cxn>
                <a:cxn ang="0">
                  <a:pos x="454" y="88"/>
                </a:cxn>
                <a:cxn ang="0">
                  <a:pos x="405" y="85"/>
                </a:cxn>
                <a:cxn ang="0">
                  <a:pos x="358" y="74"/>
                </a:cxn>
                <a:cxn ang="0">
                  <a:pos x="313" y="59"/>
                </a:cxn>
                <a:cxn ang="0">
                  <a:pos x="272" y="38"/>
                </a:cxn>
                <a:cxn ang="0">
                  <a:pos x="309" y="0"/>
                </a:cxn>
              </a:cxnLst>
              <a:rect l="0" t="0" r="r" b="b"/>
              <a:pathLst>
                <a:path w="772" h="417">
                  <a:moveTo>
                    <a:pt x="309" y="0"/>
                  </a:moveTo>
                  <a:lnTo>
                    <a:pt x="63" y="64"/>
                  </a:lnTo>
                  <a:lnTo>
                    <a:pt x="0" y="317"/>
                  </a:lnTo>
                  <a:lnTo>
                    <a:pt x="40" y="276"/>
                  </a:lnTo>
                  <a:lnTo>
                    <a:pt x="84" y="307"/>
                  </a:lnTo>
                  <a:lnTo>
                    <a:pt x="131" y="335"/>
                  </a:lnTo>
                  <a:lnTo>
                    <a:pt x="180" y="360"/>
                  </a:lnTo>
                  <a:lnTo>
                    <a:pt x="232" y="381"/>
                  </a:lnTo>
                  <a:lnTo>
                    <a:pt x="285" y="397"/>
                  </a:lnTo>
                  <a:lnTo>
                    <a:pt x="339" y="408"/>
                  </a:lnTo>
                  <a:lnTo>
                    <a:pt x="396" y="415"/>
                  </a:lnTo>
                  <a:lnTo>
                    <a:pt x="454" y="416"/>
                  </a:lnTo>
                  <a:lnTo>
                    <a:pt x="539" y="412"/>
                  </a:lnTo>
                  <a:lnTo>
                    <a:pt x="620" y="398"/>
                  </a:lnTo>
                  <a:lnTo>
                    <a:pt x="660" y="386"/>
                  </a:lnTo>
                  <a:lnTo>
                    <a:pt x="697" y="372"/>
                  </a:lnTo>
                  <a:lnTo>
                    <a:pt x="771" y="339"/>
                  </a:lnTo>
                  <a:lnTo>
                    <a:pt x="596" y="230"/>
                  </a:lnTo>
                  <a:lnTo>
                    <a:pt x="606" y="53"/>
                  </a:lnTo>
                  <a:lnTo>
                    <a:pt x="571" y="68"/>
                  </a:lnTo>
                  <a:lnTo>
                    <a:pt x="533" y="80"/>
                  </a:lnTo>
                  <a:lnTo>
                    <a:pt x="495" y="86"/>
                  </a:lnTo>
                  <a:lnTo>
                    <a:pt x="454" y="88"/>
                  </a:lnTo>
                  <a:lnTo>
                    <a:pt x="405" y="85"/>
                  </a:lnTo>
                  <a:lnTo>
                    <a:pt x="358" y="74"/>
                  </a:lnTo>
                  <a:lnTo>
                    <a:pt x="313" y="59"/>
                  </a:lnTo>
                  <a:lnTo>
                    <a:pt x="272" y="38"/>
                  </a:lnTo>
                  <a:lnTo>
                    <a:pt x="309" y="0"/>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8">
              <a:extLst>
                <a:ext uri="{FF2B5EF4-FFF2-40B4-BE49-F238E27FC236}">
                  <a16:creationId xmlns:a16="http://schemas.microsoft.com/office/drawing/2014/main" id="{2EFADCB5-68F8-403F-BED0-CCE73769C8FF}"/>
                </a:ext>
              </a:extLst>
            </p:cNvPr>
            <p:cNvSpPr>
              <a:spLocks/>
            </p:cNvSpPr>
            <p:nvPr/>
          </p:nvSpPr>
          <p:spPr bwMode="auto">
            <a:xfrm>
              <a:off x="1473" y="2140"/>
              <a:ext cx="901" cy="1545"/>
            </a:xfrm>
            <a:custGeom>
              <a:avLst/>
              <a:gdLst/>
              <a:ahLst/>
              <a:cxnLst>
                <a:cxn ang="0">
                  <a:pos x="396" y="214"/>
                </a:cxn>
                <a:cxn ang="0">
                  <a:pos x="260" y="0"/>
                </a:cxn>
                <a:cxn ang="0">
                  <a:pos x="0" y="18"/>
                </a:cxn>
                <a:cxn ang="0">
                  <a:pos x="47" y="42"/>
                </a:cxn>
                <a:cxn ang="0">
                  <a:pos x="32" y="89"/>
                </a:cxn>
                <a:cxn ang="0">
                  <a:pos x="21" y="137"/>
                </a:cxn>
                <a:cxn ang="0">
                  <a:pos x="14" y="185"/>
                </a:cxn>
                <a:cxn ang="0">
                  <a:pos x="10" y="233"/>
                </a:cxn>
                <a:cxn ang="0">
                  <a:pos x="9" y="281"/>
                </a:cxn>
                <a:cxn ang="0">
                  <a:pos x="11" y="330"/>
                </a:cxn>
                <a:cxn ang="0">
                  <a:pos x="17" y="378"/>
                </a:cxn>
                <a:cxn ang="0">
                  <a:pos x="25" y="425"/>
                </a:cxn>
                <a:cxn ang="0">
                  <a:pos x="39" y="473"/>
                </a:cxn>
                <a:cxn ang="0">
                  <a:pos x="54" y="517"/>
                </a:cxn>
                <a:cxn ang="0">
                  <a:pos x="74" y="562"/>
                </a:cxn>
                <a:cxn ang="0">
                  <a:pos x="95" y="606"/>
                </a:cxn>
                <a:cxn ang="0">
                  <a:pos x="121" y="647"/>
                </a:cxn>
                <a:cxn ang="0">
                  <a:pos x="150" y="686"/>
                </a:cxn>
                <a:cxn ang="0">
                  <a:pos x="182" y="725"/>
                </a:cxn>
                <a:cxn ang="0">
                  <a:pos x="216" y="761"/>
                </a:cxn>
                <a:cxn ang="0">
                  <a:pos x="266" y="558"/>
                </a:cxn>
                <a:cxn ang="0">
                  <a:pos x="434" y="515"/>
                </a:cxn>
                <a:cxn ang="0">
                  <a:pos x="406" y="480"/>
                </a:cxn>
                <a:cxn ang="0">
                  <a:pos x="382" y="444"/>
                </a:cxn>
                <a:cxn ang="0">
                  <a:pos x="363" y="404"/>
                </a:cxn>
                <a:cxn ang="0">
                  <a:pos x="349" y="363"/>
                </a:cxn>
                <a:cxn ang="0">
                  <a:pos x="340" y="319"/>
                </a:cxn>
                <a:cxn ang="0">
                  <a:pos x="337" y="275"/>
                </a:cxn>
                <a:cxn ang="0">
                  <a:pos x="339" y="231"/>
                </a:cxn>
                <a:cxn ang="0">
                  <a:pos x="342" y="210"/>
                </a:cxn>
                <a:cxn ang="0">
                  <a:pos x="347" y="188"/>
                </a:cxn>
                <a:cxn ang="0">
                  <a:pos x="396" y="214"/>
                </a:cxn>
              </a:cxnLst>
              <a:rect l="0" t="0" r="r" b="b"/>
              <a:pathLst>
                <a:path w="435" h="762">
                  <a:moveTo>
                    <a:pt x="396" y="214"/>
                  </a:moveTo>
                  <a:lnTo>
                    <a:pt x="260" y="0"/>
                  </a:lnTo>
                  <a:lnTo>
                    <a:pt x="0" y="18"/>
                  </a:lnTo>
                  <a:lnTo>
                    <a:pt x="47" y="42"/>
                  </a:lnTo>
                  <a:lnTo>
                    <a:pt x="32" y="89"/>
                  </a:lnTo>
                  <a:lnTo>
                    <a:pt x="21" y="137"/>
                  </a:lnTo>
                  <a:lnTo>
                    <a:pt x="14" y="185"/>
                  </a:lnTo>
                  <a:lnTo>
                    <a:pt x="10" y="233"/>
                  </a:lnTo>
                  <a:lnTo>
                    <a:pt x="9" y="281"/>
                  </a:lnTo>
                  <a:lnTo>
                    <a:pt x="11" y="330"/>
                  </a:lnTo>
                  <a:lnTo>
                    <a:pt x="17" y="378"/>
                  </a:lnTo>
                  <a:lnTo>
                    <a:pt x="25" y="425"/>
                  </a:lnTo>
                  <a:lnTo>
                    <a:pt x="39" y="473"/>
                  </a:lnTo>
                  <a:lnTo>
                    <a:pt x="54" y="517"/>
                  </a:lnTo>
                  <a:lnTo>
                    <a:pt x="74" y="562"/>
                  </a:lnTo>
                  <a:lnTo>
                    <a:pt x="95" y="606"/>
                  </a:lnTo>
                  <a:lnTo>
                    <a:pt x="121" y="647"/>
                  </a:lnTo>
                  <a:lnTo>
                    <a:pt x="150" y="686"/>
                  </a:lnTo>
                  <a:lnTo>
                    <a:pt x="182" y="725"/>
                  </a:lnTo>
                  <a:lnTo>
                    <a:pt x="216" y="761"/>
                  </a:lnTo>
                  <a:lnTo>
                    <a:pt x="266" y="558"/>
                  </a:lnTo>
                  <a:lnTo>
                    <a:pt x="434" y="515"/>
                  </a:lnTo>
                  <a:lnTo>
                    <a:pt x="406" y="480"/>
                  </a:lnTo>
                  <a:lnTo>
                    <a:pt x="382" y="444"/>
                  </a:lnTo>
                  <a:lnTo>
                    <a:pt x="363" y="404"/>
                  </a:lnTo>
                  <a:lnTo>
                    <a:pt x="349" y="363"/>
                  </a:lnTo>
                  <a:lnTo>
                    <a:pt x="340" y="319"/>
                  </a:lnTo>
                  <a:lnTo>
                    <a:pt x="337" y="275"/>
                  </a:lnTo>
                  <a:lnTo>
                    <a:pt x="339" y="231"/>
                  </a:lnTo>
                  <a:lnTo>
                    <a:pt x="342" y="210"/>
                  </a:lnTo>
                  <a:lnTo>
                    <a:pt x="347" y="188"/>
                  </a:lnTo>
                  <a:lnTo>
                    <a:pt x="396" y="214"/>
                  </a:lnTo>
                </a:path>
              </a:pathLst>
            </a:custGeom>
            <a:grp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9">
              <a:extLst>
                <a:ext uri="{FF2B5EF4-FFF2-40B4-BE49-F238E27FC236}">
                  <a16:creationId xmlns:a16="http://schemas.microsoft.com/office/drawing/2014/main" id="{96A45BDB-AA0B-4AB2-BD93-E46F2B6C69CC}"/>
                </a:ext>
              </a:extLst>
            </p:cNvPr>
            <p:cNvSpPr txBox="1">
              <a:spLocks noChangeArrowheads="1"/>
            </p:cNvSpPr>
            <p:nvPr/>
          </p:nvSpPr>
          <p:spPr bwMode="auto">
            <a:xfrm>
              <a:off x="2445" y="3578"/>
              <a:ext cx="339" cy="229"/>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12" name="Text Box 10">
              <a:extLst>
                <a:ext uri="{FF2B5EF4-FFF2-40B4-BE49-F238E27FC236}">
                  <a16:creationId xmlns:a16="http://schemas.microsoft.com/office/drawing/2014/main" id="{638DC130-A4A0-4700-A3BF-79B232DC8D88}"/>
                </a:ext>
              </a:extLst>
            </p:cNvPr>
            <p:cNvSpPr txBox="1">
              <a:spLocks noChangeArrowheads="1"/>
            </p:cNvSpPr>
            <p:nvPr/>
          </p:nvSpPr>
          <p:spPr bwMode="auto">
            <a:xfrm>
              <a:off x="3568" y="3089"/>
              <a:ext cx="338" cy="228"/>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3" name="Text Box 11">
              <a:extLst>
                <a:ext uri="{FF2B5EF4-FFF2-40B4-BE49-F238E27FC236}">
                  <a16:creationId xmlns:a16="http://schemas.microsoft.com/office/drawing/2014/main" id="{FC21857C-781C-4658-B5A5-0657C91E8033}"/>
                </a:ext>
              </a:extLst>
            </p:cNvPr>
            <p:cNvSpPr txBox="1">
              <a:spLocks noChangeArrowheads="1"/>
            </p:cNvSpPr>
            <p:nvPr/>
          </p:nvSpPr>
          <p:spPr bwMode="auto">
            <a:xfrm>
              <a:off x="3494" y="1909"/>
              <a:ext cx="339" cy="228"/>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4" name="Text Box 12">
              <a:extLst>
                <a:ext uri="{FF2B5EF4-FFF2-40B4-BE49-F238E27FC236}">
                  <a16:creationId xmlns:a16="http://schemas.microsoft.com/office/drawing/2014/main" id="{2DB7E2E9-55E5-4141-9DE5-7874D07AC29F}"/>
                </a:ext>
              </a:extLst>
            </p:cNvPr>
            <p:cNvSpPr txBox="1">
              <a:spLocks noChangeArrowheads="1"/>
            </p:cNvSpPr>
            <p:nvPr/>
          </p:nvSpPr>
          <p:spPr bwMode="auto">
            <a:xfrm>
              <a:off x="2270" y="1614"/>
              <a:ext cx="338" cy="228"/>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15" name="Text Box 13">
              <a:extLst>
                <a:ext uri="{FF2B5EF4-FFF2-40B4-BE49-F238E27FC236}">
                  <a16:creationId xmlns:a16="http://schemas.microsoft.com/office/drawing/2014/main" id="{4166573D-6EFF-4AB0-9C9D-7CA45DAA9CED}"/>
                </a:ext>
              </a:extLst>
            </p:cNvPr>
            <p:cNvSpPr txBox="1">
              <a:spLocks noChangeArrowheads="1"/>
            </p:cNvSpPr>
            <p:nvPr/>
          </p:nvSpPr>
          <p:spPr bwMode="auto">
            <a:xfrm>
              <a:off x="1639" y="2703"/>
              <a:ext cx="339" cy="228"/>
            </a:xfrm>
            <a:prstGeom prst="rect">
              <a:avLst/>
            </a:prstGeom>
            <a:grp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683E7FBC-FB83-4EB6-B089-18588D94B01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1152271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6</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Freeform 4">
            <a:extLst>
              <a:ext uri="{FF2B5EF4-FFF2-40B4-BE49-F238E27FC236}">
                <a16:creationId xmlns:a16="http://schemas.microsoft.com/office/drawing/2014/main" id="{AC0F2D33-6FA2-42FF-9292-3EF4CFB3B091}"/>
              </a:ext>
            </a:extLst>
          </p:cNvPr>
          <p:cNvSpPr>
            <a:spLocks/>
          </p:cNvSpPr>
          <p:nvPr/>
        </p:nvSpPr>
        <p:spPr bwMode="auto">
          <a:xfrm>
            <a:off x="3686523" y="3161376"/>
            <a:ext cx="1585913" cy="2254250"/>
          </a:xfrm>
          <a:custGeom>
            <a:avLst/>
            <a:gdLst/>
            <a:ahLst/>
            <a:cxnLst>
              <a:cxn ang="0">
                <a:pos x="430" y="181"/>
              </a:cxn>
              <a:cxn ang="0">
                <a:pos x="251" y="0"/>
              </a:cxn>
              <a:cxn ang="0">
                <a:pos x="0" y="72"/>
              </a:cxn>
              <a:cxn ang="0">
                <a:pos x="53" y="85"/>
              </a:cxn>
              <a:cxn ang="0">
                <a:pos x="48" y="130"/>
              </a:cxn>
              <a:cxn ang="0">
                <a:pos x="46" y="177"/>
              </a:cxn>
              <a:cxn ang="0">
                <a:pos x="48" y="213"/>
              </a:cxn>
              <a:cxn ang="0">
                <a:pos x="50" y="248"/>
              </a:cxn>
              <a:cxn ang="0">
                <a:pos x="55" y="283"/>
              </a:cxn>
              <a:cxn ang="0">
                <a:pos x="61" y="317"/>
              </a:cxn>
              <a:cxn ang="0">
                <a:pos x="69" y="350"/>
              </a:cxn>
              <a:cxn ang="0">
                <a:pos x="79" y="383"/>
              </a:cxn>
              <a:cxn ang="0">
                <a:pos x="91" y="416"/>
              </a:cxn>
              <a:cxn ang="0">
                <a:pos x="103" y="447"/>
              </a:cxn>
              <a:cxn ang="0">
                <a:pos x="133" y="507"/>
              </a:cxn>
              <a:cxn ang="0">
                <a:pos x="151" y="536"/>
              </a:cxn>
              <a:cxn ang="0">
                <a:pos x="169" y="564"/>
              </a:cxn>
              <a:cxn ang="0">
                <a:pos x="210" y="617"/>
              </a:cxn>
              <a:cxn ang="0">
                <a:pos x="255" y="666"/>
              </a:cxn>
              <a:cxn ang="0">
                <a:pos x="305" y="464"/>
              </a:cxn>
              <a:cxn ang="0">
                <a:pos x="473" y="419"/>
              </a:cxn>
              <a:cxn ang="0">
                <a:pos x="452" y="394"/>
              </a:cxn>
              <a:cxn ang="0">
                <a:pos x="432" y="369"/>
              </a:cxn>
              <a:cxn ang="0">
                <a:pos x="416" y="340"/>
              </a:cxn>
              <a:cxn ang="0">
                <a:pos x="402" y="309"/>
              </a:cxn>
              <a:cxn ang="0">
                <a:pos x="391" y="279"/>
              </a:cxn>
              <a:cxn ang="0">
                <a:pos x="382" y="246"/>
              </a:cxn>
              <a:cxn ang="0">
                <a:pos x="378" y="212"/>
              </a:cxn>
              <a:cxn ang="0">
                <a:pos x="376" y="177"/>
              </a:cxn>
              <a:cxn ang="0">
                <a:pos x="376" y="167"/>
              </a:cxn>
              <a:cxn ang="0">
                <a:pos x="430" y="181"/>
              </a:cxn>
            </a:cxnLst>
            <a:rect l="0" t="0" r="r" b="b"/>
            <a:pathLst>
              <a:path w="474" h="667">
                <a:moveTo>
                  <a:pt x="430" y="181"/>
                </a:moveTo>
                <a:lnTo>
                  <a:pt x="251" y="0"/>
                </a:lnTo>
                <a:lnTo>
                  <a:pt x="0" y="72"/>
                </a:lnTo>
                <a:lnTo>
                  <a:pt x="53" y="85"/>
                </a:lnTo>
                <a:lnTo>
                  <a:pt x="48" y="130"/>
                </a:lnTo>
                <a:lnTo>
                  <a:pt x="46" y="177"/>
                </a:lnTo>
                <a:lnTo>
                  <a:pt x="48" y="213"/>
                </a:lnTo>
                <a:lnTo>
                  <a:pt x="50" y="248"/>
                </a:lnTo>
                <a:lnTo>
                  <a:pt x="55" y="283"/>
                </a:lnTo>
                <a:lnTo>
                  <a:pt x="61" y="317"/>
                </a:lnTo>
                <a:lnTo>
                  <a:pt x="69" y="350"/>
                </a:lnTo>
                <a:lnTo>
                  <a:pt x="79" y="383"/>
                </a:lnTo>
                <a:lnTo>
                  <a:pt x="91" y="416"/>
                </a:lnTo>
                <a:lnTo>
                  <a:pt x="103" y="447"/>
                </a:lnTo>
                <a:lnTo>
                  <a:pt x="133" y="507"/>
                </a:lnTo>
                <a:lnTo>
                  <a:pt x="151" y="536"/>
                </a:lnTo>
                <a:lnTo>
                  <a:pt x="169" y="564"/>
                </a:lnTo>
                <a:lnTo>
                  <a:pt x="210" y="617"/>
                </a:lnTo>
                <a:lnTo>
                  <a:pt x="255" y="666"/>
                </a:lnTo>
                <a:lnTo>
                  <a:pt x="305" y="464"/>
                </a:lnTo>
                <a:lnTo>
                  <a:pt x="473" y="419"/>
                </a:lnTo>
                <a:lnTo>
                  <a:pt x="452" y="394"/>
                </a:lnTo>
                <a:lnTo>
                  <a:pt x="432" y="369"/>
                </a:lnTo>
                <a:lnTo>
                  <a:pt x="416" y="340"/>
                </a:lnTo>
                <a:lnTo>
                  <a:pt x="402" y="309"/>
                </a:lnTo>
                <a:lnTo>
                  <a:pt x="391" y="279"/>
                </a:lnTo>
                <a:lnTo>
                  <a:pt x="382" y="246"/>
                </a:lnTo>
                <a:lnTo>
                  <a:pt x="378" y="212"/>
                </a:lnTo>
                <a:lnTo>
                  <a:pt x="376" y="177"/>
                </a:lnTo>
                <a:lnTo>
                  <a:pt x="376" y="167"/>
                </a:lnTo>
                <a:lnTo>
                  <a:pt x="430" y="181"/>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sp>
        <p:nvSpPr>
          <p:cNvPr id="6" name="Freeform 5">
            <a:extLst>
              <a:ext uri="{FF2B5EF4-FFF2-40B4-BE49-F238E27FC236}">
                <a16:creationId xmlns:a16="http://schemas.microsoft.com/office/drawing/2014/main" id="{851A43A5-06BB-4BC9-A0DA-F412032E4A27}"/>
              </a:ext>
            </a:extLst>
          </p:cNvPr>
          <p:cNvSpPr>
            <a:spLocks/>
          </p:cNvSpPr>
          <p:nvPr/>
        </p:nvSpPr>
        <p:spPr bwMode="auto">
          <a:xfrm>
            <a:off x="4592985" y="4637751"/>
            <a:ext cx="2144712" cy="1416050"/>
          </a:xfrm>
          <a:custGeom>
            <a:avLst/>
            <a:gdLst/>
            <a:ahLst/>
            <a:cxnLst>
              <a:cxn ang="0">
                <a:pos x="307" y="0"/>
              </a:cxn>
              <a:cxn ang="0">
                <a:pos x="63" y="64"/>
              </a:cxn>
              <a:cxn ang="0">
                <a:pos x="0" y="316"/>
              </a:cxn>
              <a:cxn ang="0">
                <a:pos x="40" y="275"/>
              </a:cxn>
              <a:cxn ang="0">
                <a:pos x="84" y="307"/>
              </a:cxn>
              <a:cxn ang="0">
                <a:pos x="130" y="335"/>
              </a:cxn>
              <a:cxn ang="0">
                <a:pos x="180" y="359"/>
              </a:cxn>
              <a:cxn ang="0">
                <a:pos x="231" y="379"/>
              </a:cxn>
              <a:cxn ang="0">
                <a:pos x="284" y="395"/>
              </a:cxn>
              <a:cxn ang="0">
                <a:pos x="339" y="407"/>
              </a:cxn>
              <a:cxn ang="0">
                <a:pos x="395" y="414"/>
              </a:cxn>
              <a:cxn ang="0">
                <a:pos x="453" y="417"/>
              </a:cxn>
              <a:cxn ang="0">
                <a:pos x="501" y="414"/>
              </a:cxn>
              <a:cxn ang="0">
                <a:pos x="549" y="411"/>
              </a:cxn>
              <a:cxn ang="0">
                <a:pos x="595" y="401"/>
              </a:cxn>
              <a:cxn ang="0">
                <a:pos x="639" y="391"/>
              </a:cxn>
              <a:cxn ang="0">
                <a:pos x="491" y="248"/>
              </a:cxn>
              <a:cxn ang="0">
                <a:pos x="538" y="78"/>
              </a:cxn>
              <a:cxn ang="0">
                <a:pos x="497" y="86"/>
              </a:cxn>
              <a:cxn ang="0">
                <a:pos x="453" y="88"/>
              </a:cxn>
              <a:cxn ang="0">
                <a:pos x="404" y="85"/>
              </a:cxn>
              <a:cxn ang="0">
                <a:pos x="380" y="81"/>
              </a:cxn>
              <a:cxn ang="0">
                <a:pos x="357" y="75"/>
              </a:cxn>
              <a:cxn ang="0">
                <a:pos x="334" y="68"/>
              </a:cxn>
              <a:cxn ang="0">
                <a:pos x="313" y="60"/>
              </a:cxn>
              <a:cxn ang="0">
                <a:pos x="271" y="38"/>
              </a:cxn>
              <a:cxn ang="0">
                <a:pos x="307" y="0"/>
              </a:cxn>
            </a:cxnLst>
            <a:rect l="0" t="0" r="r" b="b"/>
            <a:pathLst>
              <a:path w="640" h="418">
                <a:moveTo>
                  <a:pt x="307" y="0"/>
                </a:moveTo>
                <a:lnTo>
                  <a:pt x="63" y="64"/>
                </a:lnTo>
                <a:lnTo>
                  <a:pt x="0" y="316"/>
                </a:lnTo>
                <a:lnTo>
                  <a:pt x="40" y="275"/>
                </a:lnTo>
                <a:lnTo>
                  <a:pt x="84" y="307"/>
                </a:lnTo>
                <a:lnTo>
                  <a:pt x="130" y="335"/>
                </a:lnTo>
                <a:lnTo>
                  <a:pt x="180" y="359"/>
                </a:lnTo>
                <a:lnTo>
                  <a:pt x="231" y="379"/>
                </a:lnTo>
                <a:lnTo>
                  <a:pt x="284" y="395"/>
                </a:lnTo>
                <a:lnTo>
                  <a:pt x="339" y="407"/>
                </a:lnTo>
                <a:lnTo>
                  <a:pt x="395" y="414"/>
                </a:lnTo>
                <a:lnTo>
                  <a:pt x="453" y="417"/>
                </a:lnTo>
                <a:lnTo>
                  <a:pt x="501" y="414"/>
                </a:lnTo>
                <a:lnTo>
                  <a:pt x="549" y="411"/>
                </a:lnTo>
                <a:lnTo>
                  <a:pt x="595" y="401"/>
                </a:lnTo>
                <a:lnTo>
                  <a:pt x="639" y="391"/>
                </a:lnTo>
                <a:lnTo>
                  <a:pt x="491" y="248"/>
                </a:lnTo>
                <a:lnTo>
                  <a:pt x="538" y="78"/>
                </a:lnTo>
                <a:lnTo>
                  <a:pt x="497" y="86"/>
                </a:lnTo>
                <a:lnTo>
                  <a:pt x="453" y="88"/>
                </a:lnTo>
                <a:lnTo>
                  <a:pt x="404" y="85"/>
                </a:lnTo>
                <a:lnTo>
                  <a:pt x="380" y="81"/>
                </a:lnTo>
                <a:lnTo>
                  <a:pt x="357" y="75"/>
                </a:lnTo>
                <a:lnTo>
                  <a:pt x="334" y="68"/>
                </a:lnTo>
                <a:lnTo>
                  <a:pt x="313" y="60"/>
                </a:lnTo>
                <a:lnTo>
                  <a:pt x="271" y="38"/>
                </a:lnTo>
                <a:lnTo>
                  <a:pt x="307" y="0"/>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sp>
        <p:nvSpPr>
          <p:cNvPr id="7" name="Freeform 6">
            <a:extLst>
              <a:ext uri="{FF2B5EF4-FFF2-40B4-BE49-F238E27FC236}">
                <a16:creationId xmlns:a16="http://schemas.microsoft.com/office/drawing/2014/main" id="{E89825DE-87D1-46FB-962B-53F1A5EFE620}"/>
              </a:ext>
            </a:extLst>
          </p:cNvPr>
          <p:cNvSpPr>
            <a:spLocks/>
          </p:cNvSpPr>
          <p:nvPr/>
        </p:nvSpPr>
        <p:spPr bwMode="auto">
          <a:xfrm>
            <a:off x="6391622" y="4090064"/>
            <a:ext cx="1925638" cy="1979612"/>
          </a:xfrm>
          <a:custGeom>
            <a:avLst/>
            <a:gdLst/>
            <a:ahLst/>
            <a:cxnLst>
              <a:cxn ang="0">
                <a:pos x="67" y="161"/>
              </a:cxn>
              <a:cxn ang="0">
                <a:pos x="0" y="404"/>
              </a:cxn>
              <a:cxn ang="0">
                <a:pos x="188" y="584"/>
              </a:cxn>
              <a:cxn ang="0">
                <a:pos x="172" y="529"/>
              </a:cxn>
              <a:cxn ang="0">
                <a:pos x="209" y="513"/>
              </a:cxn>
              <a:cxn ang="0">
                <a:pos x="243" y="495"/>
              </a:cxn>
              <a:cxn ang="0">
                <a:pos x="278" y="474"/>
              </a:cxn>
              <a:cxn ang="0">
                <a:pos x="310" y="452"/>
              </a:cxn>
              <a:cxn ang="0">
                <a:pos x="342" y="428"/>
              </a:cxn>
              <a:cxn ang="0">
                <a:pos x="371" y="403"/>
              </a:cxn>
              <a:cxn ang="0">
                <a:pos x="400" y="375"/>
              </a:cxn>
              <a:cxn ang="0">
                <a:pos x="427" y="348"/>
              </a:cxn>
              <a:cxn ang="0">
                <a:pos x="452" y="317"/>
              </a:cxn>
              <a:cxn ang="0">
                <a:pos x="475" y="285"/>
              </a:cxn>
              <a:cxn ang="0">
                <a:pos x="496" y="252"/>
              </a:cxn>
              <a:cxn ang="0">
                <a:pos x="516" y="218"/>
              </a:cxn>
              <a:cxn ang="0">
                <a:pos x="533" y="183"/>
              </a:cxn>
              <a:cxn ang="0">
                <a:pos x="549" y="146"/>
              </a:cxn>
              <a:cxn ang="0">
                <a:pos x="563" y="108"/>
              </a:cxn>
              <a:cxn ang="0">
                <a:pos x="574" y="70"/>
              </a:cxn>
              <a:cxn ang="0">
                <a:pos x="375" y="126"/>
              </a:cxn>
              <a:cxn ang="0">
                <a:pos x="250" y="0"/>
              </a:cxn>
              <a:cxn ang="0">
                <a:pos x="239" y="33"/>
              </a:cxn>
              <a:cxn ang="0">
                <a:pos x="224" y="65"/>
              </a:cxn>
              <a:cxn ang="0">
                <a:pos x="206" y="94"/>
              </a:cxn>
              <a:cxn ang="0">
                <a:pos x="185" y="122"/>
              </a:cxn>
              <a:cxn ang="0">
                <a:pos x="163" y="147"/>
              </a:cxn>
              <a:cxn ang="0">
                <a:pos x="137" y="171"/>
              </a:cxn>
              <a:cxn ang="0">
                <a:pos x="110" y="191"/>
              </a:cxn>
              <a:cxn ang="0">
                <a:pos x="81" y="209"/>
              </a:cxn>
              <a:cxn ang="0">
                <a:pos x="67" y="161"/>
              </a:cxn>
            </a:cxnLst>
            <a:rect l="0" t="0" r="r" b="b"/>
            <a:pathLst>
              <a:path w="575" h="585">
                <a:moveTo>
                  <a:pt x="67" y="161"/>
                </a:moveTo>
                <a:lnTo>
                  <a:pt x="0" y="404"/>
                </a:lnTo>
                <a:lnTo>
                  <a:pt x="188" y="584"/>
                </a:lnTo>
                <a:lnTo>
                  <a:pt x="172" y="529"/>
                </a:lnTo>
                <a:lnTo>
                  <a:pt x="209" y="513"/>
                </a:lnTo>
                <a:lnTo>
                  <a:pt x="243" y="495"/>
                </a:lnTo>
                <a:lnTo>
                  <a:pt x="278" y="474"/>
                </a:lnTo>
                <a:lnTo>
                  <a:pt x="310" y="452"/>
                </a:lnTo>
                <a:lnTo>
                  <a:pt x="342" y="428"/>
                </a:lnTo>
                <a:lnTo>
                  <a:pt x="371" y="403"/>
                </a:lnTo>
                <a:lnTo>
                  <a:pt x="400" y="375"/>
                </a:lnTo>
                <a:lnTo>
                  <a:pt x="427" y="348"/>
                </a:lnTo>
                <a:lnTo>
                  <a:pt x="452" y="317"/>
                </a:lnTo>
                <a:lnTo>
                  <a:pt x="475" y="285"/>
                </a:lnTo>
                <a:lnTo>
                  <a:pt x="496" y="252"/>
                </a:lnTo>
                <a:lnTo>
                  <a:pt x="516" y="218"/>
                </a:lnTo>
                <a:lnTo>
                  <a:pt x="533" y="183"/>
                </a:lnTo>
                <a:lnTo>
                  <a:pt x="549" y="146"/>
                </a:lnTo>
                <a:lnTo>
                  <a:pt x="563" y="108"/>
                </a:lnTo>
                <a:lnTo>
                  <a:pt x="574" y="70"/>
                </a:lnTo>
                <a:lnTo>
                  <a:pt x="375" y="126"/>
                </a:lnTo>
                <a:lnTo>
                  <a:pt x="250" y="0"/>
                </a:lnTo>
                <a:lnTo>
                  <a:pt x="239" y="33"/>
                </a:lnTo>
                <a:lnTo>
                  <a:pt x="224" y="65"/>
                </a:lnTo>
                <a:lnTo>
                  <a:pt x="206" y="94"/>
                </a:lnTo>
                <a:lnTo>
                  <a:pt x="185" y="122"/>
                </a:lnTo>
                <a:lnTo>
                  <a:pt x="163" y="147"/>
                </a:lnTo>
                <a:lnTo>
                  <a:pt x="137" y="171"/>
                </a:lnTo>
                <a:lnTo>
                  <a:pt x="110" y="191"/>
                </a:lnTo>
                <a:lnTo>
                  <a:pt x="81" y="209"/>
                </a:lnTo>
                <a:lnTo>
                  <a:pt x="67" y="161"/>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sp>
        <p:nvSpPr>
          <p:cNvPr id="8" name="Freeform 7">
            <a:extLst>
              <a:ext uri="{FF2B5EF4-FFF2-40B4-BE49-F238E27FC236}">
                <a16:creationId xmlns:a16="http://schemas.microsoft.com/office/drawing/2014/main" id="{118D7B76-3C86-41AF-9FE9-66DFBC3E42B2}"/>
              </a:ext>
            </a:extLst>
          </p:cNvPr>
          <p:cNvSpPr>
            <a:spLocks/>
          </p:cNvSpPr>
          <p:nvPr/>
        </p:nvSpPr>
        <p:spPr bwMode="auto">
          <a:xfrm>
            <a:off x="6959948" y="2126327"/>
            <a:ext cx="1584325" cy="2251075"/>
          </a:xfrm>
          <a:custGeom>
            <a:avLst/>
            <a:gdLst/>
            <a:ahLst/>
            <a:cxnLst>
              <a:cxn ang="0">
                <a:pos x="44" y="484"/>
              </a:cxn>
              <a:cxn ang="0">
                <a:pos x="223" y="665"/>
              </a:cxn>
              <a:cxn ang="0">
                <a:pos x="472" y="593"/>
              </a:cxn>
              <a:cxn ang="0">
                <a:pos x="417" y="578"/>
              </a:cxn>
              <a:cxn ang="0">
                <a:pos x="422" y="531"/>
              </a:cxn>
              <a:cxn ang="0">
                <a:pos x="424" y="483"/>
              </a:cxn>
              <a:cxn ang="0">
                <a:pos x="420" y="413"/>
              </a:cxn>
              <a:cxn ang="0">
                <a:pos x="409" y="345"/>
              </a:cxn>
              <a:cxn ang="0">
                <a:pos x="392" y="279"/>
              </a:cxn>
              <a:cxn ang="0">
                <a:pos x="369" y="217"/>
              </a:cxn>
              <a:cxn ang="0">
                <a:pos x="355" y="186"/>
              </a:cxn>
              <a:cxn ang="0">
                <a:pos x="339" y="157"/>
              </a:cxn>
              <a:cxn ang="0">
                <a:pos x="323" y="127"/>
              </a:cxn>
              <a:cxn ang="0">
                <a:pos x="305" y="101"/>
              </a:cxn>
              <a:cxn ang="0">
                <a:pos x="285" y="74"/>
              </a:cxn>
              <a:cxn ang="0">
                <a:pos x="264" y="48"/>
              </a:cxn>
              <a:cxn ang="0">
                <a:pos x="219" y="0"/>
              </a:cxn>
              <a:cxn ang="0">
                <a:pos x="169" y="202"/>
              </a:cxn>
              <a:cxn ang="0">
                <a:pos x="0" y="245"/>
              </a:cxn>
              <a:cxn ang="0">
                <a:pos x="20" y="270"/>
              </a:cxn>
              <a:cxn ang="0">
                <a:pos x="39" y="296"/>
              </a:cxn>
              <a:cxn ang="0">
                <a:pos x="55" y="324"/>
              </a:cxn>
              <a:cxn ang="0">
                <a:pos x="69" y="353"/>
              </a:cxn>
              <a:cxn ang="0">
                <a:pos x="79" y="384"/>
              </a:cxn>
              <a:cxn ang="0">
                <a:pos x="88" y="416"/>
              </a:cxn>
              <a:cxn ang="0">
                <a:pos x="92" y="449"/>
              </a:cxn>
              <a:cxn ang="0">
                <a:pos x="94" y="483"/>
              </a:cxn>
              <a:cxn ang="0">
                <a:pos x="93" y="496"/>
              </a:cxn>
              <a:cxn ang="0">
                <a:pos x="44" y="484"/>
              </a:cxn>
            </a:cxnLst>
            <a:rect l="0" t="0" r="r" b="b"/>
            <a:pathLst>
              <a:path w="473" h="666">
                <a:moveTo>
                  <a:pt x="44" y="484"/>
                </a:moveTo>
                <a:lnTo>
                  <a:pt x="223" y="665"/>
                </a:lnTo>
                <a:lnTo>
                  <a:pt x="472" y="593"/>
                </a:lnTo>
                <a:lnTo>
                  <a:pt x="417" y="578"/>
                </a:lnTo>
                <a:lnTo>
                  <a:pt x="422" y="531"/>
                </a:lnTo>
                <a:lnTo>
                  <a:pt x="424" y="483"/>
                </a:lnTo>
                <a:lnTo>
                  <a:pt x="420" y="413"/>
                </a:lnTo>
                <a:lnTo>
                  <a:pt x="409" y="345"/>
                </a:lnTo>
                <a:lnTo>
                  <a:pt x="392" y="279"/>
                </a:lnTo>
                <a:lnTo>
                  <a:pt x="369" y="217"/>
                </a:lnTo>
                <a:lnTo>
                  <a:pt x="355" y="186"/>
                </a:lnTo>
                <a:lnTo>
                  <a:pt x="339" y="157"/>
                </a:lnTo>
                <a:lnTo>
                  <a:pt x="323" y="127"/>
                </a:lnTo>
                <a:lnTo>
                  <a:pt x="305" y="101"/>
                </a:lnTo>
                <a:lnTo>
                  <a:pt x="285" y="74"/>
                </a:lnTo>
                <a:lnTo>
                  <a:pt x="264" y="48"/>
                </a:lnTo>
                <a:lnTo>
                  <a:pt x="219" y="0"/>
                </a:lnTo>
                <a:lnTo>
                  <a:pt x="169" y="202"/>
                </a:lnTo>
                <a:lnTo>
                  <a:pt x="0" y="245"/>
                </a:lnTo>
                <a:lnTo>
                  <a:pt x="20" y="270"/>
                </a:lnTo>
                <a:lnTo>
                  <a:pt x="39" y="296"/>
                </a:lnTo>
                <a:lnTo>
                  <a:pt x="55" y="324"/>
                </a:lnTo>
                <a:lnTo>
                  <a:pt x="69" y="353"/>
                </a:lnTo>
                <a:lnTo>
                  <a:pt x="79" y="384"/>
                </a:lnTo>
                <a:lnTo>
                  <a:pt x="88" y="416"/>
                </a:lnTo>
                <a:lnTo>
                  <a:pt x="92" y="449"/>
                </a:lnTo>
                <a:lnTo>
                  <a:pt x="94" y="483"/>
                </a:lnTo>
                <a:lnTo>
                  <a:pt x="93" y="496"/>
                </a:lnTo>
                <a:lnTo>
                  <a:pt x="44" y="484"/>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sp>
        <p:nvSpPr>
          <p:cNvPr id="9" name="Freeform 8">
            <a:extLst>
              <a:ext uri="{FF2B5EF4-FFF2-40B4-BE49-F238E27FC236}">
                <a16:creationId xmlns:a16="http://schemas.microsoft.com/office/drawing/2014/main" id="{8F9B906A-8BF3-4E8A-8080-F66CAF35891E}"/>
              </a:ext>
            </a:extLst>
          </p:cNvPr>
          <p:cNvSpPr>
            <a:spLocks/>
          </p:cNvSpPr>
          <p:nvPr/>
        </p:nvSpPr>
        <p:spPr bwMode="auto">
          <a:xfrm>
            <a:off x="5488335" y="1472277"/>
            <a:ext cx="2157412" cy="1427163"/>
          </a:xfrm>
          <a:custGeom>
            <a:avLst/>
            <a:gdLst/>
            <a:ahLst/>
            <a:cxnLst>
              <a:cxn ang="0">
                <a:pos x="335" y="421"/>
              </a:cxn>
              <a:cxn ang="0">
                <a:pos x="580" y="358"/>
              </a:cxn>
              <a:cxn ang="0">
                <a:pos x="644" y="105"/>
              </a:cxn>
              <a:cxn ang="0">
                <a:pos x="604" y="145"/>
              </a:cxn>
              <a:cxn ang="0">
                <a:pos x="559" y="113"/>
              </a:cxn>
              <a:cxn ang="0">
                <a:pos x="512" y="85"/>
              </a:cxn>
              <a:cxn ang="0">
                <a:pos x="463" y="59"/>
              </a:cxn>
              <a:cxn ang="0">
                <a:pos x="411" y="39"/>
              </a:cxn>
              <a:cxn ang="0">
                <a:pos x="357" y="21"/>
              </a:cxn>
              <a:cxn ang="0">
                <a:pos x="302" y="9"/>
              </a:cxn>
              <a:cxn ang="0">
                <a:pos x="244" y="2"/>
              </a:cxn>
              <a:cxn ang="0">
                <a:pos x="186" y="0"/>
              </a:cxn>
              <a:cxn ang="0">
                <a:pos x="138" y="2"/>
              </a:cxn>
              <a:cxn ang="0">
                <a:pos x="91" y="6"/>
              </a:cxn>
              <a:cxn ang="0">
                <a:pos x="45" y="15"/>
              </a:cxn>
              <a:cxn ang="0">
                <a:pos x="0" y="26"/>
              </a:cxn>
              <a:cxn ang="0">
                <a:pos x="152" y="173"/>
              </a:cxn>
              <a:cxn ang="0">
                <a:pos x="107" y="336"/>
              </a:cxn>
              <a:cxn ang="0">
                <a:pos x="146" y="330"/>
              </a:cxn>
              <a:cxn ang="0">
                <a:pos x="186" y="328"/>
              </a:cxn>
              <a:cxn ang="0">
                <a:pos x="237" y="331"/>
              </a:cxn>
              <a:cxn ang="0">
                <a:pos x="285" y="342"/>
              </a:cxn>
              <a:cxn ang="0">
                <a:pos x="330" y="359"/>
              </a:cxn>
              <a:cxn ang="0">
                <a:pos x="373" y="382"/>
              </a:cxn>
              <a:cxn ang="0">
                <a:pos x="335" y="421"/>
              </a:cxn>
            </a:cxnLst>
            <a:rect l="0" t="0" r="r" b="b"/>
            <a:pathLst>
              <a:path w="645" h="422">
                <a:moveTo>
                  <a:pt x="335" y="421"/>
                </a:moveTo>
                <a:lnTo>
                  <a:pt x="580" y="358"/>
                </a:lnTo>
                <a:lnTo>
                  <a:pt x="644" y="105"/>
                </a:lnTo>
                <a:lnTo>
                  <a:pt x="604" y="145"/>
                </a:lnTo>
                <a:lnTo>
                  <a:pt x="559" y="113"/>
                </a:lnTo>
                <a:lnTo>
                  <a:pt x="512" y="85"/>
                </a:lnTo>
                <a:lnTo>
                  <a:pt x="463" y="59"/>
                </a:lnTo>
                <a:lnTo>
                  <a:pt x="411" y="39"/>
                </a:lnTo>
                <a:lnTo>
                  <a:pt x="357" y="21"/>
                </a:lnTo>
                <a:lnTo>
                  <a:pt x="302" y="9"/>
                </a:lnTo>
                <a:lnTo>
                  <a:pt x="244" y="2"/>
                </a:lnTo>
                <a:lnTo>
                  <a:pt x="186" y="0"/>
                </a:lnTo>
                <a:lnTo>
                  <a:pt x="138" y="2"/>
                </a:lnTo>
                <a:lnTo>
                  <a:pt x="91" y="6"/>
                </a:lnTo>
                <a:lnTo>
                  <a:pt x="45" y="15"/>
                </a:lnTo>
                <a:lnTo>
                  <a:pt x="0" y="26"/>
                </a:lnTo>
                <a:lnTo>
                  <a:pt x="152" y="173"/>
                </a:lnTo>
                <a:lnTo>
                  <a:pt x="107" y="336"/>
                </a:lnTo>
                <a:lnTo>
                  <a:pt x="146" y="330"/>
                </a:lnTo>
                <a:lnTo>
                  <a:pt x="186" y="328"/>
                </a:lnTo>
                <a:lnTo>
                  <a:pt x="237" y="331"/>
                </a:lnTo>
                <a:lnTo>
                  <a:pt x="285" y="342"/>
                </a:lnTo>
                <a:lnTo>
                  <a:pt x="330" y="359"/>
                </a:lnTo>
                <a:lnTo>
                  <a:pt x="373" y="382"/>
                </a:lnTo>
                <a:lnTo>
                  <a:pt x="335" y="421"/>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9">
            <a:extLst>
              <a:ext uri="{FF2B5EF4-FFF2-40B4-BE49-F238E27FC236}">
                <a16:creationId xmlns:a16="http://schemas.microsoft.com/office/drawing/2014/main" id="{0ED4CBA4-EF95-4825-8629-F23A1A95C69B}"/>
              </a:ext>
            </a:extLst>
          </p:cNvPr>
          <p:cNvSpPr>
            <a:spLocks/>
          </p:cNvSpPr>
          <p:nvPr/>
        </p:nvSpPr>
        <p:spPr bwMode="auto">
          <a:xfrm>
            <a:off x="3907185" y="1457990"/>
            <a:ext cx="1936750" cy="1970087"/>
          </a:xfrm>
          <a:custGeom>
            <a:avLst/>
            <a:gdLst/>
            <a:ahLst/>
            <a:cxnLst>
              <a:cxn ang="0">
                <a:pos x="510" y="426"/>
              </a:cxn>
              <a:cxn ang="0">
                <a:pos x="577" y="182"/>
              </a:cxn>
              <a:cxn ang="0">
                <a:pos x="390" y="0"/>
              </a:cxn>
              <a:cxn ang="0">
                <a:pos x="405" y="52"/>
              </a:cxn>
              <a:cxn ang="0">
                <a:pos x="368" y="68"/>
              </a:cxn>
              <a:cxn ang="0">
                <a:pos x="332" y="86"/>
              </a:cxn>
              <a:cxn ang="0">
                <a:pos x="265" y="129"/>
              </a:cxn>
              <a:cxn ang="0">
                <a:pos x="233" y="153"/>
              </a:cxn>
              <a:cxn ang="0">
                <a:pos x="203" y="179"/>
              </a:cxn>
              <a:cxn ang="0">
                <a:pos x="174" y="207"/>
              </a:cxn>
              <a:cxn ang="0">
                <a:pos x="147" y="235"/>
              </a:cxn>
              <a:cxn ang="0">
                <a:pos x="122" y="266"/>
              </a:cxn>
              <a:cxn ang="0">
                <a:pos x="99" y="298"/>
              </a:cxn>
              <a:cxn ang="0">
                <a:pos x="77" y="332"/>
              </a:cxn>
              <a:cxn ang="0">
                <a:pos x="57" y="367"/>
              </a:cxn>
              <a:cxn ang="0">
                <a:pos x="41" y="403"/>
              </a:cxn>
              <a:cxn ang="0">
                <a:pos x="25" y="440"/>
              </a:cxn>
              <a:cxn ang="0">
                <a:pos x="0" y="518"/>
              </a:cxn>
              <a:cxn ang="0">
                <a:pos x="204" y="459"/>
              </a:cxn>
              <a:cxn ang="0">
                <a:pos x="324" y="581"/>
              </a:cxn>
              <a:cxn ang="0">
                <a:pos x="336" y="548"/>
              </a:cxn>
              <a:cxn ang="0">
                <a:pos x="350" y="516"/>
              </a:cxn>
              <a:cxn ang="0">
                <a:pos x="369" y="486"/>
              </a:cxn>
              <a:cxn ang="0">
                <a:pos x="389" y="458"/>
              </a:cxn>
              <a:cxn ang="0">
                <a:pos x="412" y="433"/>
              </a:cxn>
              <a:cxn ang="0">
                <a:pos x="438" y="409"/>
              </a:cxn>
              <a:cxn ang="0">
                <a:pos x="465" y="389"/>
              </a:cxn>
              <a:cxn ang="0">
                <a:pos x="495" y="372"/>
              </a:cxn>
              <a:cxn ang="0">
                <a:pos x="510" y="426"/>
              </a:cxn>
            </a:cxnLst>
            <a:rect l="0" t="0" r="r" b="b"/>
            <a:pathLst>
              <a:path w="578" h="582">
                <a:moveTo>
                  <a:pt x="510" y="426"/>
                </a:moveTo>
                <a:lnTo>
                  <a:pt x="577" y="182"/>
                </a:lnTo>
                <a:lnTo>
                  <a:pt x="390" y="0"/>
                </a:lnTo>
                <a:lnTo>
                  <a:pt x="405" y="52"/>
                </a:lnTo>
                <a:lnTo>
                  <a:pt x="368" y="68"/>
                </a:lnTo>
                <a:lnTo>
                  <a:pt x="332" y="86"/>
                </a:lnTo>
                <a:lnTo>
                  <a:pt x="265" y="129"/>
                </a:lnTo>
                <a:lnTo>
                  <a:pt x="233" y="153"/>
                </a:lnTo>
                <a:lnTo>
                  <a:pt x="203" y="179"/>
                </a:lnTo>
                <a:lnTo>
                  <a:pt x="174" y="207"/>
                </a:lnTo>
                <a:lnTo>
                  <a:pt x="147" y="235"/>
                </a:lnTo>
                <a:lnTo>
                  <a:pt x="122" y="266"/>
                </a:lnTo>
                <a:lnTo>
                  <a:pt x="99" y="298"/>
                </a:lnTo>
                <a:lnTo>
                  <a:pt x="77" y="332"/>
                </a:lnTo>
                <a:lnTo>
                  <a:pt x="57" y="367"/>
                </a:lnTo>
                <a:lnTo>
                  <a:pt x="41" y="403"/>
                </a:lnTo>
                <a:lnTo>
                  <a:pt x="25" y="440"/>
                </a:lnTo>
                <a:lnTo>
                  <a:pt x="0" y="518"/>
                </a:lnTo>
                <a:lnTo>
                  <a:pt x="204" y="459"/>
                </a:lnTo>
                <a:lnTo>
                  <a:pt x="324" y="581"/>
                </a:lnTo>
                <a:lnTo>
                  <a:pt x="336" y="548"/>
                </a:lnTo>
                <a:lnTo>
                  <a:pt x="350" y="516"/>
                </a:lnTo>
                <a:lnTo>
                  <a:pt x="369" y="486"/>
                </a:lnTo>
                <a:lnTo>
                  <a:pt x="389" y="458"/>
                </a:lnTo>
                <a:lnTo>
                  <a:pt x="412" y="433"/>
                </a:lnTo>
                <a:lnTo>
                  <a:pt x="438" y="409"/>
                </a:lnTo>
                <a:lnTo>
                  <a:pt x="465" y="389"/>
                </a:lnTo>
                <a:lnTo>
                  <a:pt x="495" y="372"/>
                </a:lnTo>
                <a:lnTo>
                  <a:pt x="510" y="426"/>
                </a:lnTo>
              </a:path>
            </a:pathLst>
          </a:custGeom>
          <a:solidFill>
            <a:schemeClr val="accent2"/>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10">
            <a:extLst>
              <a:ext uri="{FF2B5EF4-FFF2-40B4-BE49-F238E27FC236}">
                <a16:creationId xmlns:a16="http://schemas.microsoft.com/office/drawing/2014/main" id="{8A6AD29E-70E1-404F-BCE4-BDF46BF407BD}"/>
              </a:ext>
            </a:extLst>
          </p:cNvPr>
          <p:cNvSpPr txBox="1">
            <a:spLocks noChangeArrowheads="1"/>
          </p:cNvSpPr>
          <p:nvPr/>
        </p:nvSpPr>
        <p:spPr bwMode="auto">
          <a:xfrm>
            <a:off x="6378922" y="1926301"/>
            <a:ext cx="560388" cy="37623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12" name="Text Box 11">
            <a:extLst>
              <a:ext uri="{FF2B5EF4-FFF2-40B4-BE49-F238E27FC236}">
                <a16:creationId xmlns:a16="http://schemas.microsoft.com/office/drawing/2014/main" id="{E3B754B8-4A58-4BF3-92CE-6E1D097D6267}"/>
              </a:ext>
            </a:extLst>
          </p:cNvPr>
          <p:cNvSpPr txBox="1">
            <a:spLocks noChangeArrowheads="1"/>
          </p:cNvSpPr>
          <p:nvPr/>
        </p:nvSpPr>
        <p:spPr bwMode="auto">
          <a:xfrm>
            <a:off x="7472711" y="3204240"/>
            <a:ext cx="560387" cy="377825"/>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3" name="Text Box 12">
            <a:extLst>
              <a:ext uri="{FF2B5EF4-FFF2-40B4-BE49-F238E27FC236}">
                <a16:creationId xmlns:a16="http://schemas.microsoft.com/office/drawing/2014/main" id="{C81A19AF-7FB3-4258-A6A9-169CCD626D54}"/>
              </a:ext>
            </a:extLst>
          </p:cNvPr>
          <p:cNvSpPr txBox="1">
            <a:spLocks noChangeArrowheads="1"/>
          </p:cNvSpPr>
          <p:nvPr/>
        </p:nvSpPr>
        <p:spPr bwMode="auto">
          <a:xfrm>
            <a:off x="6958361" y="4879051"/>
            <a:ext cx="560387" cy="37623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4" name="Text Box 13">
            <a:extLst>
              <a:ext uri="{FF2B5EF4-FFF2-40B4-BE49-F238E27FC236}">
                <a16:creationId xmlns:a16="http://schemas.microsoft.com/office/drawing/2014/main" id="{ADEB3273-9B7C-462B-B665-A3FB1206A4B8}"/>
              </a:ext>
            </a:extLst>
          </p:cNvPr>
          <p:cNvSpPr txBox="1">
            <a:spLocks noChangeArrowheads="1"/>
          </p:cNvSpPr>
          <p:nvPr/>
        </p:nvSpPr>
        <p:spPr bwMode="auto">
          <a:xfrm>
            <a:off x="5296247" y="5221951"/>
            <a:ext cx="560388" cy="37623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15" name="Text Box 14">
            <a:extLst>
              <a:ext uri="{FF2B5EF4-FFF2-40B4-BE49-F238E27FC236}">
                <a16:creationId xmlns:a16="http://schemas.microsoft.com/office/drawing/2014/main" id="{05F23277-8103-4ABF-B0E3-11F508D33BEE}"/>
              </a:ext>
            </a:extLst>
          </p:cNvPr>
          <p:cNvSpPr txBox="1">
            <a:spLocks noChangeArrowheads="1"/>
          </p:cNvSpPr>
          <p:nvPr/>
        </p:nvSpPr>
        <p:spPr bwMode="auto">
          <a:xfrm>
            <a:off x="4148486" y="3942426"/>
            <a:ext cx="560387" cy="37623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6" name="Text Box 15">
            <a:extLst>
              <a:ext uri="{FF2B5EF4-FFF2-40B4-BE49-F238E27FC236}">
                <a16:creationId xmlns:a16="http://schemas.microsoft.com/office/drawing/2014/main" id="{63820320-C417-4FAF-A5DF-182AEE211C90}"/>
              </a:ext>
            </a:extLst>
          </p:cNvPr>
          <p:cNvSpPr txBox="1">
            <a:spLocks noChangeArrowheads="1"/>
          </p:cNvSpPr>
          <p:nvPr/>
        </p:nvSpPr>
        <p:spPr bwMode="auto">
          <a:xfrm>
            <a:off x="4688236" y="2254915"/>
            <a:ext cx="560387" cy="377825"/>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E9BCF2BA-4EFA-4370-9A08-BE64A533BA7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81032054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7</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Freeform 4">
            <a:extLst>
              <a:ext uri="{FF2B5EF4-FFF2-40B4-BE49-F238E27FC236}">
                <a16:creationId xmlns:a16="http://schemas.microsoft.com/office/drawing/2014/main" id="{87A9B891-605D-4F48-9318-263CA586F643}"/>
              </a:ext>
            </a:extLst>
          </p:cNvPr>
          <p:cNvSpPr>
            <a:spLocks/>
          </p:cNvSpPr>
          <p:nvPr/>
        </p:nvSpPr>
        <p:spPr bwMode="auto">
          <a:xfrm>
            <a:off x="6080539" y="1681146"/>
            <a:ext cx="1472325" cy="2049565"/>
          </a:xfrm>
          <a:custGeom>
            <a:avLst/>
            <a:gdLst/>
            <a:ahLst/>
            <a:cxnLst>
              <a:cxn ang="0">
                <a:pos x="0" y="1199"/>
              </a:cxn>
              <a:cxn ang="0">
                <a:pos x="0" y="600"/>
              </a:cxn>
              <a:cxn ang="0">
                <a:pos x="0" y="0"/>
              </a:cxn>
              <a:cxn ang="0">
                <a:pos x="30" y="0"/>
              </a:cxn>
              <a:cxn ang="0">
                <a:pos x="59" y="1"/>
              </a:cxn>
              <a:cxn ang="0">
                <a:pos x="88" y="3"/>
              </a:cxn>
              <a:cxn ang="0">
                <a:pos x="118" y="6"/>
              </a:cxn>
              <a:cxn ang="0">
                <a:pos x="147" y="9"/>
              </a:cxn>
              <a:cxn ang="0">
                <a:pos x="176" y="13"/>
              </a:cxn>
              <a:cxn ang="0">
                <a:pos x="205" y="18"/>
              </a:cxn>
              <a:cxn ang="0">
                <a:pos x="234" y="23"/>
              </a:cxn>
              <a:cxn ang="0">
                <a:pos x="263" y="29"/>
              </a:cxn>
              <a:cxn ang="0">
                <a:pos x="291" y="36"/>
              </a:cxn>
              <a:cxn ang="0">
                <a:pos x="320" y="43"/>
              </a:cxn>
              <a:cxn ang="0">
                <a:pos x="348" y="52"/>
              </a:cxn>
              <a:cxn ang="0">
                <a:pos x="362" y="56"/>
              </a:cxn>
              <a:cxn ang="0">
                <a:pos x="376" y="60"/>
              </a:cxn>
              <a:cxn ang="0">
                <a:pos x="404" y="70"/>
              </a:cxn>
              <a:cxn ang="0">
                <a:pos x="431" y="80"/>
              </a:cxn>
              <a:cxn ang="0">
                <a:pos x="459" y="91"/>
              </a:cxn>
              <a:cxn ang="0">
                <a:pos x="486" y="103"/>
              </a:cxn>
              <a:cxn ang="0">
                <a:pos x="513" y="115"/>
              </a:cxn>
              <a:cxn ang="0">
                <a:pos x="539" y="128"/>
              </a:cxn>
              <a:cxn ang="0">
                <a:pos x="565" y="141"/>
              </a:cxn>
              <a:cxn ang="0">
                <a:pos x="591" y="155"/>
              </a:cxn>
              <a:cxn ang="0">
                <a:pos x="617" y="170"/>
              </a:cxn>
              <a:cxn ang="0">
                <a:pos x="642" y="185"/>
              </a:cxn>
              <a:cxn ang="0">
                <a:pos x="667" y="201"/>
              </a:cxn>
              <a:cxn ang="0">
                <a:pos x="691" y="218"/>
              </a:cxn>
              <a:cxn ang="0">
                <a:pos x="703" y="227"/>
              </a:cxn>
              <a:cxn ang="0">
                <a:pos x="715" y="235"/>
              </a:cxn>
              <a:cxn ang="0">
                <a:pos x="739" y="253"/>
              </a:cxn>
              <a:cxn ang="0">
                <a:pos x="762" y="271"/>
              </a:cxn>
              <a:cxn ang="0">
                <a:pos x="784" y="290"/>
              </a:cxn>
              <a:cxn ang="0">
                <a:pos x="806" y="310"/>
              </a:cxn>
              <a:cxn ang="0">
                <a:pos x="817" y="320"/>
              </a:cxn>
              <a:cxn ang="0">
                <a:pos x="827" y="330"/>
              </a:cxn>
              <a:cxn ang="0">
                <a:pos x="848" y="351"/>
              </a:cxn>
              <a:cxn ang="0">
                <a:pos x="423" y="775"/>
              </a:cxn>
              <a:cxn ang="0">
                <a:pos x="0" y="1199"/>
              </a:cxn>
            </a:cxnLst>
            <a:rect l="0" t="0" r="r" b="b"/>
            <a:pathLst>
              <a:path w="848" h="1199">
                <a:moveTo>
                  <a:pt x="0" y="1199"/>
                </a:moveTo>
                <a:lnTo>
                  <a:pt x="0" y="600"/>
                </a:lnTo>
                <a:lnTo>
                  <a:pt x="0" y="0"/>
                </a:lnTo>
                <a:lnTo>
                  <a:pt x="30" y="0"/>
                </a:lnTo>
                <a:lnTo>
                  <a:pt x="59" y="1"/>
                </a:lnTo>
                <a:lnTo>
                  <a:pt x="88" y="3"/>
                </a:lnTo>
                <a:lnTo>
                  <a:pt x="118" y="6"/>
                </a:lnTo>
                <a:lnTo>
                  <a:pt x="147" y="9"/>
                </a:lnTo>
                <a:lnTo>
                  <a:pt x="176" y="13"/>
                </a:lnTo>
                <a:lnTo>
                  <a:pt x="205" y="18"/>
                </a:lnTo>
                <a:lnTo>
                  <a:pt x="234" y="23"/>
                </a:lnTo>
                <a:lnTo>
                  <a:pt x="263" y="29"/>
                </a:lnTo>
                <a:lnTo>
                  <a:pt x="291" y="36"/>
                </a:lnTo>
                <a:lnTo>
                  <a:pt x="320" y="43"/>
                </a:lnTo>
                <a:lnTo>
                  <a:pt x="348" y="52"/>
                </a:lnTo>
                <a:lnTo>
                  <a:pt x="362" y="56"/>
                </a:lnTo>
                <a:lnTo>
                  <a:pt x="376" y="60"/>
                </a:lnTo>
                <a:lnTo>
                  <a:pt x="404" y="70"/>
                </a:lnTo>
                <a:lnTo>
                  <a:pt x="431" y="80"/>
                </a:lnTo>
                <a:lnTo>
                  <a:pt x="459" y="91"/>
                </a:lnTo>
                <a:lnTo>
                  <a:pt x="486" y="103"/>
                </a:lnTo>
                <a:lnTo>
                  <a:pt x="513" y="115"/>
                </a:lnTo>
                <a:lnTo>
                  <a:pt x="539" y="128"/>
                </a:lnTo>
                <a:lnTo>
                  <a:pt x="565" y="141"/>
                </a:lnTo>
                <a:lnTo>
                  <a:pt x="591" y="155"/>
                </a:lnTo>
                <a:lnTo>
                  <a:pt x="617" y="170"/>
                </a:lnTo>
                <a:lnTo>
                  <a:pt x="642" y="185"/>
                </a:lnTo>
                <a:lnTo>
                  <a:pt x="667" y="201"/>
                </a:lnTo>
                <a:lnTo>
                  <a:pt x="691" y="218"/>
                </a:lnTo>
                <a:lnTo>
                  <a:pt x="703" y="227"/>
                </a:lnTo>
                <a:lnTo>
                  <a:pt x="715" y="235"/>
                </a:lnTo>
                <a:lnTo>
                  <a:pt x="739" y="253"/>
                </a:lnTo>
                <a:lnTo>
                  <a:pt x="762" y="271"/>
                </a:lnTo>
                <a:lnTo>
                  <a:pt x="784" y="290"/>
                </a:lnTo>
                <a:lnTo>
                  <a:pt x="806" y="310"/>
                </a:lnTo>
                <a:lnTo>
                  <a:pt x="817" y="320"/>
                </a:lnTo>
                <a:lnTo>
                  <a:pt x="827" y="330"/>
                </a:lnTo>
                <a:lnTo>
                  <a:pt x="848" y="351"/>
                </a:lnTo>
                <a:lnTo>
                  <a:pt x="423" y="775"/>
                </a:lnTo>
                <a:lnTo>
                  <a:pt x="0" y="1199"/>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 name="Freeform 5">
            <a:extLst>
              <a:ext uri="{FF2B5EF4-FFF2-40B4-BE49-F238E27FC236}">
                <a16:creationId xmlns:a16="http://schemas.microsoft.com/office/drawing/2014/main" id="{D0CC7140-CA45-4431-8F22-92B8FE43C41A}"/>
              </a:ext>
            </a:extLst>
          </p:cNvPr>
          <p:cNvSpPr>
            <a:spLocks/>
          </p:cNvSpPr>
          <p:nvPr/>
        </p:nvSpPr>
        <p:spPr bwMode="auto">
          <a:xfrm>
            <a:off x="6080538" y="2281282"/>
            <a:ext cx="2082460" cy="1449428"/>
          </a:xfrm>
          <a:custGeom>
            <a:avLst/>
            <a:gdLst/>
            <a:ahLst/>
            <a:cxnLst>
              <a:cxn ang="0">
                <a:pos x="0" y="848"/>
              </a:cxn>
              <a:cxn ang="0">
                <a:pos x="423" y="424"/>
              </a:cxn>
              <a:cxn ang="0">
                <a:pos x="848" y="0"/>
              </a:cxn>
              <a:cxn ang="0">
                <a:pos x="869" y="21"/>
              </a:cxn>
              <a:cxn ang="0">
                <a:pos x="889" y="42"/>
              </a:cxn>
              <a:cxn ang="0">
                <a:pos x="909" y="64"/>
              </a:cxn>
              <a:cxn ang="0">
                <a:pos x="928" y="87"/>
              </a:cxn>
              <a:cxn ang="0">
                <a:pos x="946" y="110"/>
              </a:cxn>
              <a:cxn ang="0">
                <a:pos x="964" y="133"/>
              </a:cxn>
              <a:cxn ang="0">
                <a:pos x="981" y="157"/>
              </a:cxn>
              <a:cxn ang="0">
                <a:pos x="989" y="169"/>
              </a:cxn>
              <a:cxn ang="0">
                <a:pos x="997" y="181"/>
              </a:cxn>
              <a:cxn ang="0">
                <a:pos x="1013" y="206"/>
              </a:cxn>
              <a:cxn ang="0">
                <a:pos x="1029" y="231"/>
              </a:cxn>
              <a:cxn ang="0">
                <a:pos x="1044" y="257"/>
              </a:cxn>
              <a:cxn ang="0">
                <a:pos x="1058" y="283"/>
              </a:cxn>
              <a:cxn ang="0">
                <a:pos x="1071" y="309"/>
              </a:cxn>
              <a:cxn ang="0">
                <a:pos x="1084" y="336"/>
              </a:cxn>
              <a:cxn ang="0">
                <a:pos x="1097" y="362"/>
              </a:cxn>
              <a:cxn ang="0">
                <a:pos x="1108" y="389"/>
              </a:cxn>
              <a:cxn ang="0">
                <a:pos x="1119" y="417"/>
              </a:cxn>
              <a:cxn ang="0">
                <a:pos x="1129" y="444"/>
              </a:cxn>
              <a:cxn ang="0">
                <a:pos x="1139" y="472"/>
              </a:cxn>
              <a:cxn ang="0">
                <a:pos x="1148" y="500"/>
              </a:cxn>
              <a:cxn ang="0">
                <a:pos x="1156" y="528"/>
              </a:cxn>
              <a:cxn ang="0">
                <a:pos x="1164" y="557"/>
              </a:cxn>
              <a:cxn ang="0">
                <a:pos x="1171" y="585"/>
              </a:cxn>
              <a:cxn ang="0">
                <a:pos x="1177" y="614"/>
              </a:cxn>
              <a:cxn ang="0">
                <a:pos x="1182" y="643"/>
              </a:cxn>
              <a:cxn ang="0">
                <a:pos x="1187" y="672"/>
              </a:cxn>
              <a:cxn ang="0">
                <a:pos x="1191" y="701"/>
              </a:cxn>
              <a:cxn ang="0">
                <a:pos x="1194" y="730"/>
              </a:cxn>
              <a:cxn ang="0">
                <a:pos x="1197" y="760"/>
              </a:cxn>
              <a:cxn ang="0">
                <a:pos x="1198" y="789"/>
              </a:cxn>
              <a:cxn ang="0">
                <a:pos x="1199" y="818"/>
              </a:cxn>
              <a:cxn ang="0">
                <a:pos x="1199" y="848"/>
              </a:cxn>
              <a:cxn ang="0">
                <a:pos x="599" y="848"/>
              </a:cxn>
              <a:cxn ang="0">
                <a:pos x="0" y="848"/>
              </a:cxn>
            </a:cxnLst>
            <a:rect l="0" t="0" r="r" b="b"/>
            <a:pathLst>
              <a:path w="1199" h="848">
                <a:moveTo>
                  <a:pt x="0" y="848"/>
                </a:moveTo>
                <a:lnTo>
                  <a:pt x="423" y="424"/>
                </a:lnTo>
                <a:lnTo>
                  <a:pt x="848" y="0"/>
                </a:lnTo>
                <a:lnTo>
                  <a:pt x="869" y="21"/>
                </a:lnTo>
                <a:lnTo>
                  <a:pt x="889" y="42"/>
                </a:lnTo>
                <a:lnTo>
                  <a:pt x="909" y="64"/>
                </a:lnTo>
                <a:lnTo>
                  <a:pt x="928" y="87"/>
                </a:lnTo>
                <a:lnTo>
                  <a:pt x="946" y="110"/>
                </a:lnTo>
                <a:lnTo>
                  <a:pt x="964" y="133"/>
                </a:lnTo>
                <a:lnTo>
                  <a:pt x="981" y="157"/>
                </a:lnTo>
                <a:lnTo>
                  <a:pt x="989" y="169"/>
                </a:lnTo>
                <a:lnTo>
                  <a:pt x="997" y="181"/>
                </a:lnTo>
                <a:lnTo>
                  <a:pt x="1013" y="206"/>
                </a:lnTo>
                <a:lnTo>
                  <a:pt x="1029" y="231"/>
                </a:lnTo>
                <a:lnTo>
                  <a:pt x="1044" y="257"/>
                </a:lnTo>
                <a:lnTo>
                  <a:pt x="1058" y="283"/>
                </a:lnTo>
                <a:lnTo>
                  <a:pt x="1071" y="309"/>
                </a:lnTo>
                <a:lnTo>
                  <a:pt x="1084" y="336"/>
                </a:lnTo>
                <a:lnTo>
                  <a:pt x="1097" y="362"/>
                </a:lnTo>
                <a:lnTo>
                  <a:pt x="1108" y="389"/>
                </a:lnTo>
                <a:lnTo>
                  <a:pt x="1119" y="417"/>
                </a:lnTo>
                <a:lnTo>
                  <a:pt x="1129" y="444"/>
                </a:lnTo>
                <a:lnTo>
                  <a:pt x="1139" y="472"/>
                </a:lnTo>
                <a:lnTo>
                  <a:pt x="1148" y="500"/>
                </a:lnTo>
                <a:lnTo>
                  <a:pt x="1156" y="528"/>
                </a:lnTo>
                <a:lnTo>
                  <a:pt x="1164" y="557"/>
                </a:lnTo>
                <a:lnTo>
                  <a:pt x="1171" y="585"/>
                </a:lnTo>
                <a:lnTo>
                  <a:pt x="1177" y="614"/>
                </a:lnTo>
                <a:lnTo>
                  <a:pt x="1182" y="643"/>
                </a:lnTo>
                <a:lnTo>
                  <a:pt x="1187" y="672"/>
                </a:lnTo>
                <a:lnTo>
                  <a:pt x="1191" y="701"/>
                </a:lnTo>
                <a:lnTo>
                  <a:pt x="1194" y="730"/>
                </a:lnTo>
                <a:lnTo>
                  <a:pt x="1197" y="760"/>
                </a:lnTo>
                <a:lnTo>
                  <a:pt x="1198" y="789"/>
                </a:lnTo>
                <a:lnTo>
                  <a:pt x="1199" y="818"/>
                </a:lnTo>
                <a:lnTo>
                  <a:pt x="1199" y="848"/>
                </a:lnTo>
                <a:lnTo>
                  <a:pt x="599" y="848"/>
                </a:lnTo>
                <a:lnTo>
                  <a:pt x="0" y="848"/>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6">
            <a:extLst>
              <a:ext uri="{FF2B5EF4-FFF2-40B4-BE49-F238E27FC236}">
                <a16:creationId xmlns:a16="http://schemas.microsoft.com/office/drawing/2014/main" id="{A4507833-C83E-402A-850B-2F11BD58A559}"/>
              </a:ext>
            </a:extLst>
          </p:cNvPr>
          <p:cNvSpPr>
            <a:spLocks/>
          </p:cNvSpPr>
          <p:nvPr/>
        </p:nvSpPr>
        <p:spPr bwMode="auto">
          <a:xfrm>
            <a:off x="6080538" y="3730710"/>
            <a:ext cx="2082460" cy="1449428"/>
          </a:xfrm>
          <a:custGeom>
            <a:avLst/>
            <a:gdLst/>
            <a:ahLst/>
            <a:cxnLst>
              <a:cxn ang="0">
                <a:pos x="0" y="0"/>
              </a:cxn>
              <a:cxn ang="0">
                <a:pos x="599" y="0"/>
              </a:cxn>
              <a:cxn ang="0">
                <a:pos x="1199" y="0"/>
              </a:cxn>
              <a:cxn ang="0">
                <a:pos x="1199" y="29"/>
              </a:cxn>
              <a:cxn ang="0">
                <a:pos x="1198" y="59"/>
              </a:cxn>
              <a:cxn ang="0">
                <a:pos x="1196" y="88"/>
              </a:cxn>
              <a:cxn ang="0">
                <a:pos x="1194" y="117"/>
              </a:cxn>
              <a:cxn ang="0">
                <a:pos x="1190" y="147"/>
              </a:cxn>
              <a:cxn ang="0">
                <a:pos x="1186" y="176"/>
              </a:cxn>
              <a:cxn ang="0">
                <a:pos x="1182" y="205"/>
              </a:cxn>
              <a:cxn ang="0">
                <a:pos x="1176" y="234"/>
              </a:cxn>
              <a:cxn ang="0">
                <a:pos x="1170" y="262"/>
              </a:cxn>
              <a:cxn ang="0">
                <a:pos x="1163" y="291"/>
              </a:cxn>
              <a:cxn ang="0">
                <a:pos x="1156" y="319"/>
              </a:cxn>
              <a:cxn ang="0">
                <a:pos x="1148" y="348"/>
              </a:cxn>
              <a:cxn ang="0">
                <a:pos x="1143" y="362"/>
              </a:cxn>
              <a:cxn ang="0">
                <a:pos x="1139" y="376"/>
              </a:cxn>
              <a:cxn ang="0">
                <a:pos x="1129" y="404"/>
              </a:cxn>
              <a:cxn ang="0">
                <a:pos x="1119" y="431"/>
              </a:cxn>
              <a:cxn ang="0">
                <a:pos x="1108" y="458"/>
              </a:cxn>
              <a:cxn ang="0">
                <a:pos x="1097" y="485"/>
              </a:cxn>
              <a:cxn ang="0">
                <a:pos x="1084" y="512"/>
              </a:cxn>
              <a:cxn ang="0">
                <a:pos x="1072" y="539"/>
              </a:cxn>
              <a:cxn ang="0">
                <a:pos x="1058" y="565"/>
              </a:cxn>
              <a:cxn ang="0">
                <a:pos x="1044" y="591"/>
              </a:cxn>
              <a:cxn ang="0">
                <a:pos x="1029" y="617"/>
              </a:cxn>
              <a:cxn ang="0">
                <a:pos x="1014" y="642"/>
              </a:cxn>
              <a:cxn ang="0">
                <a:pos x="998" y="667"/>
              </a:cxn>
              <a:cxn ang="0">
                <a:pos x="981" y="691"/>
              </a:cxn>
              <a:cxn ang="0">
                <a:pos x="973" y="703"/>
              </a:cxn>
              <a:cxn ang="0">
                <a:pos x="964" y="715"/>
              </a:cxn>
              <a:cxn ang="0">
                <a:pos x="946" y="738"/>
              </a:cxn>
              <a:cxn ang="0">
                <a:pos x="928" y="761"/>
              </a:cxn>
              <a:cxn ang="0">
                <a:pos x="909" y="784"/>
              </a:cxn>
              <a:cxn ang="0">
                <a:pos x="889" y="806"/>
              </a:cxn>
              <a:cxn ang="0">
                <a:pos x="879" y="816"/>
              </a:cxn>
              <a:cxn ang="0">
                <a:pos x="869" y="827"/>
              </a:cxn>
              <a:cxn ang="0">
                <a:pos x="848" y="848"/>
              </a:cxn>
              <a:cxn ang="0">
                <a:pos x="423" y="423"/>
              </a:cxn>
              <a:cxn ang="0">
                <a:pos x="0" y="0"/>
              </a:cxn>
            </a:cxnLst>
            <a:rect l="0" t="0" r="r" b="b"/>
            <a:pathLst>
              <a:path w="1199" h="848">
                <a:moveTo>
                  <a:pt x="0" y="0"/>
                </a:moveTo>
                <a:lnTo>
                  <a:pt x="599" y="0"/>
                </a:lnTo>
                <a:lnTo>
                  <a:pt x="1199" y="0"/>
                </a:lnTo>
                <a:lnTo>
                  <a:pt x="1199" y="29"/>
                </a:lnTo>
                <a:lnTo>
                  <a:pt x="1198" y="59"/>
                </a:lnTo>
                <a:lnTo>
                  <a:pt x="1196" y="88"/>
                </a:lnTo>
                <a:lnTo>
                  <a:pt x="1194" y="117"/>
                </a:lnTo>
                <a:lnTo>
                  <a:pt x="1190" y="147"/>
                </a:lnTo>
                <a:lnTo>
                  <a:pt x="1186" y="176"/>
                </a:lnTo>
                <a:lnTo>
                  <a:pt x="1182" y="205"/>
                </a:lnTo>
                <a:lnTo>
                  <a:pt x="1176" y="234"/>
                </a:lnTo>
                <a:lnTo>
                  <a:pt x="1170" y="262"/>
                </a:lnTo>
                <a:lnTo>
                  <a:pt x="1163" y="291"/>
                </a:lnTo>
                <a:lnTo>
                  <a:pt x="1156" y="319"/>
                </a:lnTo>
                <a:lnTo>
                  <a:pt x="1148" y="348"/>
                </a:lnTo>
                <a:lnTo>
                  <a:pt x="1143" y="362"/>
                </a:lnTo>
                <a:lnTo>
                  <a:pt x="1139" y="376"/>
                </a:lnTo>
                <a:lnTo>
                  <a:pt x="1129" y="404"/>
                </a:lnTo>
                <a:lnTo>
                  <a:pt x="1119" y="431"/>
                </a:lnTo>
                <a:lnTo>
                  <a:pt x="1108" y="458"/>
                </a:lnTo>
                <a:lnTo>
                  <a:pt x="1097" y="485"/>
                </a:lnTo>
                <a:lnTo>
                  <a:pt x="1084" y="512"/>
                </a:lnTo>
                <a:lnTo>
                  <a:pt x="1072" y="539"/>
                </a:lnTo>
                <a:lnTo>
                  <a:pt x="1058" y="565"/>
                </a:lnTo>
                <a:lnTo>
                  <a:pt x="1044" y="591"/>
                </a:lnTo>
                <a:lnTo>
                  <a:pt x="1029" y="617"/>
                </a:lnTo>
                <a:lnTo>
                  <a:pt x="1014" y="642"/>
                </a:lnTo>
                <a:lnTo>
                  <a:pt x="998" y="667"/>
                </a:lnTo>
                <a:lnTo>
                  <a:pt x="981" y="691"/>
                </a:lnTo>
                <a:lnTo>
                  <a:pt x="973" y="703"/>
                </a:lnTo>
                <a:lnTo>
                  <a:pt x="964" y="715"/>
                </a:lnTo>
                <a:lnTo>
                  <a:pt x="946" y="738"/>
                </a:lnTo>
                <a:lnTo>
                  <a:pt x="928" y="761"/>
                </a:lnTo>
                <a:lnTo>
                  <a:pt x="909" y="784"/>
                </a:lnTo>
                <a:lnTo>
                  <a:pt x="889" y="806"/>
                </a:lnTo>
                <a:lnTo>
                  <a:pt x="879" y="816"/>
                </a:lnTo>
                <a:lnTo>
                  <a:pt x="869" y="827"/>
                </a:lnTo>
                <a:lnTo>
                  <a:pt x="848" y="848"/>
                </a:lnTo>
                <a:lnTo>
                  <a:pt x="423" y="423"/>
                </a:lnTo>
                <a:lnTo>
                  <a:pt x="0"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7">
            <a:extLst>
              <a:ext uri="{FF2B5EF4-FFF2-40B4-BE49-F238E27FC236}">
                <a16:creationId xmlns:a16="http://schemas.microsoft.com/office/drawing/2014/main" id="{3B4E2AB9-75CE-48E2-846A-4AE1F191F203}"/>
              </a:ext>
            </a:extLst>
          </p:cNvPr>
          <p:cNvSpPr>
            <a:spLocks/>
          </p:cNvSpPr>
          <p:nvPr/>
        </p:nvSpPr>
        <p:spPr bwMode="auto">
          <a:xfrm>
            <a:off x="6080539" y="3730711"/>
            <a:ext cx="1472325" cy="2049565"/>
          </a:xfrm>
          <a:custGeom>
            <a:avLst/>
            <a:gdLst/>
            <a:ahLst/>
            <a:cxnLst>
              <a:cxn ang="0">
                <a:pos x="0" y="0"/>
              </a:cxn>
              <a:cxn ang="0">
                <a:pos x="423" y="423"/>
              </a:cxn>
              <a:cxn ang="0">
                <a:pos x="848" y="848"/>
              </a:cxn>
              <a:cxn ang="0">
                <a:pos x="827" y="869"/>
              </a:cxn>
              <a:cxn ang="0">
                <a:pos x="806" y="889"/>
              </a:cxn>
              <a:cxn ang="0">
                <a:pos x="784" y="908"/>
              </a:cxn>
              <a:cxn ang="0">
                <a:pos x="761" y="927"/>
              </a:cxn>
              <a:cxn ang="0">
                <a:pos x="738" y="945"/>
              </a:cxn>
              <a:cxn ang="0">
                <a:pos x="715" y="963"/>
              </a:cxn>
              <a:cxn ang="0">
                <a:pos x="691" y="980"/>
              </a:cxn>
              <a:cxn ang="0">
                <a:pos x="679" y="989"/>
              </a:cxn>
              <a:cxn ang="0">
                <a:pos x="667" y="997"/>
              </a:cxn>
              <a:cxn ang="0">
                <a:pos x="642" y="1013"/>
              </a:cxn>
              <a:cxn ang="0">
                <a:pos x="617" y="1028"/>
              </a:cxn>
              <a:cxn ang="0">
                <a:pos x="591" y="1043"/>
              </a:cxn>
              <a:cxn ang="0">
                <a:pos x="565" y="1057"/>
              </a:cxn>
              <a:cxn ang="0">
                <a:pos x="539" y="1071"/>
              </a:cxn>
              <a:cxn ang="0">
                <a:pos x="513" y="1084"/>
              </a:cxn>
              <a:cxn ang="0">
                <a:pos x="486" y="1096"/>
              </a:cxn>
              <a:cxn ang="0">
                <a:pos x="459" y="1108"/>
              </a:cxn>
              <a:cxn ang="0">
                <a:pos x="432" y="1119"/>
              </a:cxn>
              <a:cxn ang="0">
                <a:pos x="404" y="1129"/>
              </a:cxn>
              <a:cxn ang="0">
                <a:pos x="376" y="1139"/>
              </a:cxn>
              <a:cxn ang="0">
                <a:pos x="348" y="1148"/>
              </a:cxn>
              <a:cxn ang="0">
                <a:pos x="320" y="1156"/>
              </a:cxn>
              <a:cxn ang="0">
                <a:pos x="292" y="1163"/>
              </a:cxn>
              <a:cxn ang="0">
                <a:pos x="263" y="1170"/>
              </a:cxn>
              <a:cxn ang="0">
                <a:pos x="234" y="1176"/>
              </a:cxn>
              <a:cxn ang="0">
                <a:pos x="205" y="1182"/>
              </a:cxn>
              <a:cxn ang="0">
                <a:pos x="176" y="1186"/>
              </a:cxn>
              <a:cxn ang="0">
                <a:pos x="147" y="1190"/>
              </a:cxn>
              <a:cxn ang="0">
                <a:pos x="118" y="1194"/>
              </a:cxn>
              <a:cxn ang="0">
                <a:pos x="89" y="1196"/>
              </a:cxn>
              <a:cxn ang="0">
                <a:pos x="59" y="1198"/>
              </a:cxn>
              <a:cxn ang="0">
                <a:pos x="30" y="1199"/>
              </a:cxn>
              <a:cxn ang="0">
                <a:pos x="0" y="1199"/>
              </a:cxn>
              <a:cxn ang="0">
                <a:pos x="0" y="599"/>
              </a:cxn>
              <a:cxn ang="0">
                <a:pos x="0" y="0"/>
              </a:cxn>
            </a:cxnLst>
            <a:rect l="0" t="0" r="r" b="b"/>
            <a:pathLst>
              <a:path w="848" h="1199">
                <a:moveTo>
                  <a:pt x="0" y="0"/>
                </a:moveTo>
                <a:lnTo>
                  <a:pt x="423" y="423"/>
                </a:lnTo>
                <a:lnTo>
                  <a:pt x="848" y="848"/>
                </a:lnTo>
                <a:lnTo>
                  <a:pt x="827" y="869"/>
                </a:lnTo>
                <a:lnTo>
                  <a:pt x="806" y="889"/>
                </a:lnTo>
                <a:lnTo>
                  <a:pt x="784" y="908"/>
                </a:lnTo>
                <a:lnTo>
                  <a:pt x="761" y="927"/>
                </a:lnTo>
                <a:lnTo>
                  <a:pt x="738" y="945"/>
                </a:lnTo>
                <a:lnTo>
                  <a:pt x="715" y="963"/>
                </a:lnTo>
                <a:lnTo>
                  <a:pt x="691" y="980"/>
                </a:lnTo>
                <a:lnTo>
                  <a:pt x="679" y="989"/>
                </a:lnTo>
                <a:lnTo>
                  <a:pt x="667" y="997"/>
                </a:lnTo>
                <a:lnTo>
                  <a:pt x="642" y="1013"/>
                </a:lnTo>
                <a:lnTo>
                  <a:pt x="617" y="1028"/>
                </a:lnTo>
                <a:lnTo>
                  <a:pt x="591" y="1043"/>
                </a:lnTo>
                <a:lnTo>
                  <a:pt x="565" y="1057"/>
                </a:lnTo>
                <a:lnTo>
                  <a:pt x="539" y="1071"/>
                </a:lnTo>
                <a:lnTo>
                  <a:pt x="513" y="1084"/>
                </a:lnTo>
                <a:lnTo>
                  <a:pt x="486" y="1096"/>
                </a:lnTo>
                <a:lnTo>
                  <a:pt x="459" y="1108"/>
                </a:lnTo>
                <a:lnTo>
                  <a:pt x="432" y="1119"/>
                </a:lnTo>
                <a:lnTo>
                  <a:pt x="404" y="1129"/>
                </a:lnTo>
                <a:lnTo>
                  <a:pt x="376" y="1139"/>
                </a:lnTo>
                <a:lnTo>
                  <a:pt x="348" y="1148"/>
                </a:lnTo>
                <a:lnTo>
                  <a:pt x="320" y="1156"/>
                </a:lnTo>
                <a:lnTo>
                  <a:pt x="292" y="1163"/>
                </a:lnTo>
                <a:lnTo>
                  <a:pt x="263" y="1170"/>
                </a:lnTo>
                <a:lnTo>
                  <a:pt x="234" y="1176"/>
                </a:lnTo>
                <a:lnTo>
                  <a:pt x="205" y="1182"/>
                </a:lnTo>
                <a:lnTo>
                  <a:pt x="176" y="1186"/>
                </a:lnTo>
                <a:lnTo>
                  <a:pt x="147" y="1190"/>
                </a:lnTo>
                <a:lnTo>
                  <a:pt x="118" y="1194"/>
                </a:lnTo>
                <a:lnTo>
                  <a:pt x="89" y="1196"/>
                </a:lnTo>
                <a:lnTo>
                  <a:pt x="59" y="1198"/>
                </a:lnTo>
                <a:lnTo>
                  <a:pt x="30" y="1199"/>
                </a:lnTo>
                <a:lnTo>
                  <a:pt x="0" y="1199"/>
                </a:lnTo>
                <a:lnTo>
                  <a:pt x="0" y="599"/>
                </a:lnTo>
                <a:lnTo>
                  <a:pt x="0"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8">
            <a:extLst>
              <a:ext uri="{FF2B5EF4-FFF2-40B4-BE49-F238E27FC236}">
                <a16:creationId xmlns:a16="http://schemas.microsoft.com/office/drawing/2014/main" id="{54CD5F8C-9086-4B42-A868-8A0818439CF0}"/>
              </a:ext>
            </a:extLst>
          </p:cNvPr>
          <p:cNvSpPr>
            <a:spLocks/>
          </p:cNvSpPr>
          <p:nvPr/>
        </p:nvSpPr>
        <p:spPr bwMode="auto">
          <a:xfrm>
            <a:off x="4606214" y="3730711"/>
            <a:ext cx="1474325" cy="2049565"/>
          </a:xfrm>
          <a:custGeom>
            <a:avLst/>
            <a:gdLst/>
            <a:ahLst/>
            <a:cxnLst>
              <a:cxn ang="0">
                <a:pos x="848" y="0"/>
              </a:cxn>
              <a:cxn ang="0">
                <a:pos x="848" y="599"/>
              </a:cxn>
              <a:cxn ang="0">
                <a:pos x="848" y="1199"/>
              </a:cxn>
              <a:cxn ang="0">
                <a:pos x="819" y="1199"/>
              </a:cxn>
              <a:cxn ang="0">
                <a:pos x="790" y="1198"/>
              </a:cxn>
              <a:cxn ang="0">
                <a:pos x="760" y="1196"/>
              </a:cxn>
              <a:cxn ang="0">
                <a:pos x="731" y="1193"/>
              </a:cxn>
              <a:cxn ang="0">
                <a:pos x="702" y="1190"/>
              </a:cxn>
              <a:cxn ang="0">
                <a:pos x="673" y="1186"/>
              </a:cxn>
              <a:cxn ang="0">
                <a:pos x="644" y="1181"/>
              </a:cxn>
              <a:cxn ang="0">
                <a:pos x="615" y="1176"/>
              </a:cxn>
              <a:cxn ang="0">
                <a:pos x="586" y="1170"/>
              </a:cxn>
              <a:cxn ang="0">
                <a:pos x="557" y="1163"/>
              </a:cxn>
              <a:cxn ang="0">
                <a:pos x="529" y="1155"/>
              </a:cxn>
              <a:cxn ang="0">
                <a:pos x="501" y="1147"/>
              </a:cxn>
              <a:cxn ang="0">
                <a:pos x="487" y="1143"/>
              </a:cxn>
              <a:cxn ang="0">
                <a:pos x="473" y="1138"/>
              </a:cxn>
              <a:cxn ang="0">
                <a:pos x="445" y="1129"/>
              </a:cxn>
              <a:cxn ang="0">
                <a:pos x="417" y="1119"/>
              </a:cxn>
              <a:cxn ang="0">
                <a:pos x="390" y="1108"/>
              </a:cxn>
              <a:cxn ang="0">
                <a:pos x="363" y="1096"/>
              </a:cxn>
              <a:cxn ang="0">
                <a:pos x="336" y="1084"/>
              </a:cxn>
              <a:cxn ang="0">
                <a:pos x="310" y="1071"/>
              </a:cxn>
              <a:cxn ang="0">
                <a:pos x="284" y="1058"/>
              </a:cxn>
              <a:cxn ang="0">
                <a:pos x="258" y="1044"/>
              </a:cxn>
              <a:cxn ang="0">
                <a:pos x="231" y="1029"/>
              </a:cxn>
              <a:cxn ang="0">
                <a:pos x="206" y="1013"/>
              </a:cxn>
              <a:cxn ang="0">
                <a:pos x="182" y="997"/>
              </a:cxn>
              <a:cxn ang="0">
                <a:pos x="157" y="981"/>
              </a:cxn>
              <a:cxn ang="0">
                <a:pos x="145" y="972"/>
              </a:cxn>
              <a:cxn ang="0">
                <a:pos x="133" y="964"/>
              </a:cxn>
              <a:cxn ang="0">
                <a:pos x="110" y="946"/>
              </a:cxn>
              <a:cxn ang="0">
                <a:pos x="87" y="927"/>
              </a:cxn>
              <a:cxn ang="0">
                <a:pos x="65" y="908"/>
              </a:cxn>
              <a:cxn ang="0">
                <a:pos x="43" y="889"/>
              </a:cxn>
              <a:cxn ang="0">
                <a:pos x="32" y="879"/>
              </a:cxn>
              <a:cxn ang="0">
                <a:pos x="21" y="869"/>
              </a:cxn>
              <a:cxn ang="0">
                <a:pos x="0" y="848"/>
              </a:cxn>
              <a:cxn ang="0">
                <a:pos x="424" y="423"/>
              </a:cxn>
              <a:cxn ang="0">
                <a:pos x="848" y="0"/>
              </a:cxn>
            </a:cxnLst>
            <a:rect l="0" t="0" r="r" b="b"/>
            <a:pathLst>
              <a:path w="848" h="1199">
                <a:moveTo>
                  <a:pt x="848" y="0"/>
                </a:moveTo>
                <a:lnTo>
                  <a:pt x="848" y="599"/>
                </a:lnTo>
                <a:lnTo>
                  <a:pt x="848" y="1199"/>
                </a:lnTo>
                <a:lnTo>
                  <a:pt x="819" y="1199"/>
                </a:lnTo>
                <a:lnTo>
                  <a:pt x="790" y="1198"/>
                </a:lnTo>
                <a:lnTo>
                  <a:pt x="760" y="1196"/>
                </a:lnTo>
                <a:lnTo>
                  <a:pt x="731" y="1193"/>
                </a:lnTo>
                <a:lnTo>
                  <a:pt x="702" y="1190"/>
                </a:lnTo>
                <a:lnTo>
                  <a:pt x="673" y="1186"/>
                </a:lnTo>
                <a:lnTo>
                  <a:pt x="644" y="1181"/>
                </a:lnTo>
                <a:lnTo>
                  <a:pt x="615" y="1176"/>
                </a:lnTo>
                <a:lnTo>
                  <a:pt x="586" y="1170"/>
                </a:lnTo>
                <a:lnTo>
                  <a:pt x="557" y="1163"/>
                </a:lnTo>
                <a:lnTo>
                  <a:pt x="529" y="1155"/>
                </a:lnTo>
                <a:lnTo>
                  <a:pt x="501" y="1147"/>
                </a:lnTo>
                <a:lnTo>
                  <a:pt x="487" y="1143"/>
                </a:lnTo>
                <a:lnTo>
                  <a:pt x="473" y="1138"/>
                </a:lnTo>
                <a:lnTo>
                  <a:pt x="445" y="1129"/>
                </a:lnTo>
                <a:lnTo>
                  <a:pt x="417" y="1119"/>
                </a:lnTo>
                <a:lnTo>
                  <a:pt x="390" y="1108"/>
                </a:lnTo>
                <a:lnTo>
                  <a:pt x="363" y="1096"/>
                </a:lnTo>
                <a:lnTo>
                  <a:pt x="336" y="1084"/>
                </a:lnTo>
                <a:lnTo>
                  <a:pt x="310" y="1071"/>
                </a:lnTo>
                <a:lnTo>
                  <a:pt x="284" y="1058"/>
                </a:lnTo>
                <a:lnTo>
                  <a:pt x="258" y="1044"/>
                </a:lnTo>
                <a:lnTo>
                  <a:pt x="231" y="1029"/>
                </a:lnTo>
                <a:lnTo>
                  <a:pt x="206" y="1013"/>
                </a:lnTo>
                <a:lnTo>
                  <a:pt x="182" y="997"/>
                </a:lnTo>
                <a:lnTo>
                  <a:pt x="157" y="981"/>
                </a:lnTo>
                <a:lnTo>
                  <a:pt x="145" y="972"/>
                </a:lnTo>
                <a:lnTo>
                  <a:pt x="133" y="964"/>
                </a:lnTo>
                <a:lnTo>
                  <a:pt x="110" y="946"/>
                </a:lnTo>
                <a:lnTo>
                  <a:pt x="87" y="927"/>
                </a:lnTo>
                <a:lnTo>
                  <a:pt x="65" y="908"/>
                </a:lnTo>
                <a:lnTo>
                  <a:pt x="43" y="889"/>
                </a:lnTo>
                <a:lnTo>
                  <a:pt x="32" y="879"/>
                </a:lnTo>
                <a:lnTo>
                  <a:pt x="21" y="869"/>
                </a:lnTo>
                <a:lnTo>
                  <a:pt x="0" y="848"/>
                </a:lnTo>
                <a:lnTo>
                  <a:pt x="424" y="423"/>
                </a:lnTo>
                <a:lnTo>
                  <a:pt x="848"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9">
            <a:extLst>
              <a:ext uri="{FF2B5EF4-FFF2-40B4-BE49-F238E27FC236}">
                <a16:creationId xmlns:a16="http://schemas.microsoft.com/office/drawing/2014/main" id="{70E33D1B-3F17-4FDE-AA47-B50E7B15ED11}"/>
              </a:ext>
            </a:extLst>
          </p:cNvPr>
          <p:cNvSpPr>
            <a:spLocks/>
          </p:cNvSpPr>
          <p:nvPr/>
        </p:nvSpPr>
        <p:spPr bwMode="auto">
          <a:xfrm>
            <a:off x="3996078" y="3730710"/>
            <a:ext cx="2084460" cy="1449428"/>
          </a:xfrm>
          <a:custGeom>
            <a:avLst/>
            <a:gdLst/>
            <a:ahLst/>
            <a:cxnLst>
              <a:cxn ang="0">
                <a:pos x="1199" y="0"/>
              </a:cxn>
              <a:cxn ang="0">
                <a:pos x="775" y="423"/>
              </a:cxn>
              <a:cxn ang="0">
                <a:pos x="351" y="848"/>
              </a:cxn>
              <a:cxn ang="0">
                <a:pos x="331" y="827"/>
              </a:cxn>
              <a:cxn ang="0">
                <a:pos x="311" y="806"/>
              </a:cxn>
              <a:cxn ang="0">
                <a:pos x="291" y="783"/>
              </a:cxn>
              <a:cxn ang="0">
                <a:pos x="272" y="761"/>
              </a:cxn>
              <a:cxn ang="0">
                <a:pos x="254" y="738"/>
              </a:cxn>
              <a:cxn ang="0">
                <a:pos x="236" y="715"/>
              </a:cxn>
              <a:cxn ang="0">
                <a:pos x="219" y="691"/>
              </a:cxn>
              <a:cxn ang="0">
                <a:pos x="210" y="679"/>
              </a:cxn>
              <a:cxn ang="0">
                <a:pos x="202" y="667"/>
              </a:cxn>
              <a:cxn ang="0">
                <a:pos x="186" y="642"/>
              </a:cxn>
              <a:cxn ang="0">
                <a:pos x="171" y="617"/>
              </a:cxn>
              <a:cxn ang="0">
                <a:pos x="156" y="590"/>
              </a:cxn>
              <a:cxn ang="0">
                <a:pos x="142" y="565"/>
              </a:cxn>
              <a:cxn ang="0">
                <a:pos x="128" y="539"/>
              </a:cxn>
              <a:cxn ang="0">
                <a:pos x="115" y="512"/>
              </a:cxn>
              <a:cxn ang="0">
                <a:pos x="103" y="485"/>
              </a:cxn>
              <a:cxn ang="0">
                <a:pos x="91" y="458"/>
              </a:cxn>
              <a:cxn ang="0">
                <a:pos x="81" y="431"/>
              </a:cxn>
              <a:cxn ang="0">
                <a:pos x="70" y="404"/>
              </a:cxn>
              <a:cxn ang="0">
                <a:pos x="61" y="376"/>
              </a:cxn>
              <a:cxn ang="0">
                <a:pos x="52" y="348"/>
              </a:cxn>
              <a:cxn ang="0">
                <a:pos x="43" y="320"/>
              </a:cxn>
              <a:cxn ang="0">
                <a:pos x="36" y="291"/>
              </a:cxn>
              <a:cxn ang="0">
                <a:pos x="29" y="263"/>
              </a:cxn>
              <a:cxn ang="0">
                <a:pos x="23" y="234"/>
              </a:cxn>
              <a:cxn ang="0">
                <a:pos x="17" y="205"/>
              </a:cxn>
              <a:cxn ang="0">
                <a:pos x="13" y="176"/>
              </a:cxn>
              <a:cxn ang="0">
                <a:pos x="9" y="147"/>
              </a:cxn>
              <a:cxn ang="0">
                <a:pos x="6" y="118"/>
              </a:cxn>
              <a:cxn ang="0">
                <a:pos x="3" y="88"/>
              </a:cxn>
              <a:cxn ang="0">
                <a:pos x="1" y="59"/>
              </a:cxn>
              <a:cxn ang="0">
                <a:pos x="0" y="29"/>
              </a:cxn>
              <a:cxn ang="0">
                <a:pos x="0" y="0"/>
              </a:cxn>
              <a:cxn ang="0">
                <a:pos x="600" y="0"/>
              </a:cxn>
              <a:cxn ang="0">
                <a:pos x="1199" y="0"/>
              </a:cxn>
            </a:cxnLst>
            <a:rect l="0" t="0" r="r" b="b"/>
            <a:pathLst>
              <a:path w="1199" h="848">
                <a:moveTo>
                  <a:pt x="1199" y="0"/>
                </a:moveTo>
                <a:lnTo>
                  <a:pt x="775" y="423"/>
                </a:lnTo>
                <a:lnTo>
                  <a:pt x="351" y="848"/>
                </a:lnTo>
                <a:lnTo>
                  <a:pt x="331" y="827"/>
                </a:lnTo>
                <a:lnTo>
                  <a:pt x="311" y="806"/>
                </a:lnTo>
                <a:lnTo>
                  <a:pt x="291" y="783"/>
                </a:lnTo>
                <a:lnTo>
                  <a:pt x="272" y="761"/>
                </a:lnTo>
                <a:lnTo>
                  <a:pt x="254" y="738"/>
                </a:lnTo>
                <a:lnTo>
                  <a:pt x="236" y="715"/>
                </a:lnTo>
                <a:lnTo>
                  <a:pt x="219" y="691"/>
                </a:lnTo>
                <a:lnTo>
                  <a:pt x="210" y="679"/>
                </a:lnTo>
                <a:lnTo>
                  <a:pt x="202" y="667"/>
                </a:lnTo>
                <a:lnTo>
                  <a:pt x="186" y="642"/>
                </a:lnTo>
                <a:lnTo>
                  <a:pt x="171" y="617"/>
                </a:lnTo>
                <a:lnTo>
                  <a:pt x="156" y="590"/>
                </a:lnTo>
                <a:lnTo>
                  <a:pt x="142" y="565"/>
                </a:lnTo>
                <a:lnTo>
                  <a:pt x="128" y="539"/>
                </a:lnTo>
                <a:lnTo>
                  <a:pt x="115" y="512"/>
                </a:lnTo>
                <a:lnTo>
                  <a:pt x="103" y="485"/>
                </a:lnTo>
                <a:lnTo>
                  <a:pt x="91" y="458"/>
                </a:lnTo>
                <a:lnTo>
                  <a:pt x="81" y="431"/>
                </a:lnTo>
                <a:lnTo>
                  <a:pt x="70" y="404"/>
                </a:lnTo>
                <a:lnTo>
                  <a:pt x="61" y="376"/>
                </a:lnTo>
                <a:lnTo>
                  <a:pt x="52" y="348"/>
                </a:lnTo>
                <a:lnTo>
                  <a:pt x="43" y="320"/>
                </a:lnTo>
                <a:lnTo>
                  <a:pt x="36" y="291"/>
                </a:lnTo>
                <a:lnTo>
                  <a:pt x="29" y="263"/>
                </a:lnTo>
                <a:lnTo>
                  <a:pt x="23" y="234"/>
                </a:lnTo>
                <a:lnTo>
                  <a:pt x="17" y="205"/>
                </a:lnTo>
                <a:lnTo>
                  <a:pt x="13" y="176"/>
                </a:lnTo>
                <a:lnTo>
                  <a:pt x="9" y="147"/>
                </a:lnTo>
                <a:lnTo>
                  <a:pt x="6" y="118"/>
                </a:lnTo>
                <a:lnTo>
                  <a:pt x="3" y="88"/>
                </a:lnTo>
                <a:lnTo>
                  <a:pt x="1" y="59"/>
                </a:lnTo>
                <a:lnTo>
                  <a:pt x="0" y="29"/>
                </a:lnTo>
                <a:lnTo>
                  <a:pt x="0" y="0"/>
                </a:lnTo>
                <a:lnTo>
                  <a:pt x="600" y="0"/>
                </a:lnTo>
                <a:lnTo>
                  <a:pt x="1199"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10">
            <a:extLst>
              <a:ext uri="{FF2B5EF4-FFF2-40B4-BE49-F238E27FC236}">
                <a16:creationId xmlns:a16="http://schemas.microsoft.com/office/drawing/2014/main" id="{2322ADB8-5838-4783-A0C4-D9CD39794D80}"/>
              </a:ext>
            </a:extLst>
          </p:cNvPr>
          <p:cNvSpPr>
            <a:spLocks/>
          </p:cNvSpPr>
          <p:nvPr/>
        </p:nvSpPr>
        <p:spPr bwMode="auto">
          <a:xfrm>
            <a:off x="3996078" y="2281282"/>
            <a:ext cx="2084460" cy="1449428"/>
          </a:xfrm>
          <a:custGeom>
            <a:avLst/>
            <a:gdLst/>
            <a:ahLst/>
            <a:cxnLst>
              <a:cxn ang="0">
                <a:pos x="1199" y="848"/>
              </a:cxn>
              <a:cxn ang="0">
                <a:pos x="600" y="848"/>
              </a:cxn>
              <a:cxn ang="0">
                <a:pos x="0" y="848"/>
              </a:cxn>
              <a:cxn ang="0">
                <a:pos x="1" y="819"/>
              </a:cxn>
              <a:cxn ang="0">
                <a:pos x="2" y="789"/>
              </a:cxn>
              <a:cxn ang="0">
                <a:pos x="3" y="760"/>
              </a:cxn>
              <a:cxn ang="0">
                <a:pos x="6" y="730"/>
              </a:cxn>
              <a:cxn ang="0">
                <a:pos x="9" y="701"/>
              </a:cxn>
              <a:cxn ang="0">
                <a:pos x="13" y="672"/>
              </a:cxn>
              <a:cxn ang="0">
                <a:pos x="18" y="643"/>
              </a:cxn>
              <a:cxn ang="0">
                <a:pos x="23" y="614"/>
              </a:cxn>
              <a:cxn ang="0">
                <a:pos x="29" y="585"/>
              </a:cxn>
              <a:cxn ang="0">
                <a:pos x="36" y="557"/>
              </a:cxn>
              <a:cxn ang="0">
                <a:pos x="44" y="528"/>
              </a:cxn>
              <a:cxn ang="0">
                <a:pos x="52" y="500"/>
              </a:cxn>
              <a:cxn ang="0">
                <a:pos x="56" y="486"/>
              </a:cxn>
              <a:cxn ang="0">
                <a:pos x="61" y="472"/>
              </a:cxn>
              <a:cxn ang="0">
                <a:pos x="70" y="444"/>
              </a:cxn>
              <a:cxn ang="0">
                <a:pos x="81" y="417"/>
              </a:cxn>
              <a:cxn ang="0">
                <a:pos x="91" y="389"/>
              </a:cxn>
              <a:cxn ang="0">
                <a:pos x="103" y="362"/>
              </a:cxn>
              <a:cxn ang="0">
                <a:pos x="115" y="336"/>
              </a:cxn>
              <a:cxn ang="0">
                <a:pos x="128" y="309"/>
              </a:cxn>
              <a:cxn ang="0">
                <a:pos x="142" y="283"/>
              </a:cxn>
              <a:cxn ang="0">
                <a:pos x="156" y="257"/>
              </a:cxn>
              <a:cxn ang="0">
                <a:pos x="170" y="231"/>
              </a:cxn>
              <a:cxn ang="0">
                <a:pos x="186" y="206"/>
              </a:cxn>
              <a:cxn ang="0">
                <a:pos x="202" y="181"/>
              </a:cxn>
              <a:cxn ang="0">
                <a:pos x="218" y="157"/>
              </a:cxn>
              <a:cxn ang="0">
                <a:pos x="227" y="145"/>
              </a:cxn>
              <a:cxn ang="0">
                <a:pos x="236" y="133"/>
              </a:cxn>
              <a:cxn ang="0">
                <a:pos x="253" y="110"/>
              </a:cxn>
              <a:cxn ang="0">
                <a:pos x="272" y="87"/>
              </a:cxn>
              <a:cxn ang="0">
                <a:pos x="291" y="64"/>
              </a:cxn>
              <a:cxn ang="0">
                <a:pos x="310" y="42"/>
              </a:cxn>
              <a:cxn ang="0">
                <a:pos x="320" y="31"/>
              </a:cxn>
              <a:cxn ang="0">
                <a:pos x="330" y="21"/>
              </a:cxn>
              <a:cxn ang="0">
                <a:pos x="351" y="0"/>
              </a:cxn>
              <a:cxn ang="0">
                <a:pos x="775" y="424"/>
              </a:cxn>
              <a:cxn ang="0">
                <a:pos x="1199" y="848"/>
              </a:cxn>
            </a:cxnLst>
            <a:rect l="0" t="0" r="r" b="b"/>
            <a:pathLst>
              <a:path w="1199" h="848">
                <a:moveTo>
                  <a:pt x="1199" y="848"/>
                </a:moveTo>
                <a:lnTo>
                  <a:pt x="600" y="848"/>
                </a:lnTo>
                <a:lnTo>
                  <a:pt x="0" y="848"/>
                </a:lnTo>
                <a:lnTo>
                  <a:pt x="1" y="819"/>
                </a:lnTo>
                <a:lnTo>
                  <a:pt x="2" y="789"/>
                </a:lnTo>
                <a:lnTo>
                  <a:pt x="3" y="760"/>
                </a:lnTo>
                <a:lnTo>
                  <a:pt x="6" y="730"/>
                </a:lnTo>
                <a:lnTo>
                  <a:pt x="9" y="701"/>
                </a:lnTo>
                <a:lnTo>
                  <a:pt x="13" y="672"/>
                </a:lnTo>
                <a:lnTo>
                  <a:pt x="18" y="643"/>
                </a:lnTo>
                <a:lnTo>
                  <a:pt x="23" y="614"/>
                </a:lnTo>
                <a:lnTo>
                  <a:pt x="29" y="585"/>
                </a:lnTo>
                <a:lnTo>
                  <a:pt x="36" y="557"/>
                </a:lnTo>
                <a:lnTo>
                  <a:pt x="44" y="528"/>
                </a:lnTo>
                <a:lnTo>
                  <a:pt x="52" y="500"/>
                </a:lnTo>
                <a:lnTo>
                  <a:pt x="56" y="486"/>
                </a:lnTo>
                <a:lnTo>
                  <a:pt x="61" y="472"/>
                </a:lnTo>
                <a:lnTo>
                  <a:pt x="70" y="444"/>
                </a:lnTo>
                <a:lnTo>
                  <a:pt x="81" y="417"/>
                </a:lnTo>
                <a:lnTo>
                  <a:pt x="91" y="389"/>
                </a:lnTo>
                <a:lnTo>
                  <a:pt x="103" y="362"/>
                </a:lnTo>
                <a:lnTo>
                  <a:pt x="115" y="336"/>
                </a:lnTo>
                <a:lnTo>
                  <a:pt x="128" y="309"/>
                </a:lnTo>
                <a:lnTo>
                  <a:pt x="142" y="283"/>
                </a:lnTo>
                <a:lnTo>
                  <a:pt x="156" y="257"/>
                </a:lnTo>
                <a:lnTo>
                  <a:pt x="170" y="231"/>
                </a:lnTo>
                <a:lnTo>
                  <a:pt x="186" y="206"/>
                </a:lnTo>
                <a:lnTo>
                  <a:pt x="202" y="181"/>
                </a:lnTo>
                <a:lnTo>
                  <a:pt x="218" y="157"/>
                </a:lnTo>
                <a:lnTo>
                  <a:pt x="227" y="145"/>
                </a:lnTo>
                <a:lnTo>
                  <a:pt x="236" y="133"/>
                </a:lnTo>
                <a:lnTo>
                  <a:pt x="253" y="110"/>
                </a:lnTo>
                <a:lnTo>
                  <a:pt x="272" y="87"/>
                </a:lnTo>
                <a:lnTo>
                  <a:pt x="291" y="64"/>
                </a:lnTo>
                <a:lnTo>
                  <a:pt x="310" y="42"/>
                </a:lnTo>
                <a:lnTo>
                  <a:pt x="320" y="31"/>
                </a:lnTo>
                <a:lnTo>
                  <a:pt x="330" y="21"/>
                </a:lnTo>
                <a:lnTo>
                  <a:pt x="351" y="0"/>
                </a:lnTo>
                <a:lnTo>
                  <a:pt x="775" y="424"/>
                </a:lnTo>
                <a:lnTo>
                  <a:pt x="1199" y="848"/>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11">
            <a:extLst>
              <a:ext uri="{FF2B5EF4-FFF2-40B4-BE49-F238E27FC236}">
                <a16:creationId xmlns:a16="http://schemas.microsoft.com/office/drawing/2014/main" id="{78B7C901-6E3D-4106-9B35-09D203DE69F0}"/>
              </a:ext>
            </a:extLst>
          </p:cNvPr>
          <p:cNvSpPr>
            <a:spLocks/>
          </p:cNvSpPr>
          <p:nvPr/>
        </p:nvSpPr>
        <p:spPr bwMode="auto">
          <a:xfrm>
            <a:off x="4606214" y="1681146"/>
            <a:ext cx="1474325" cy="2049565"/>
          </a:xfrm>
          <a:custGeom>
            <a:avLst/>
            <a:gdLst/>
            <a:ahLst/>
            <a:cxnLst>
              <a:cxn ang="0">
                <a:pos x="848" y="1199"/>
              </a:cxn>
              <a:cxn ang="0">
                <a:pos x="424" y="775"/>
              </a:cxn>
              <a:cxn ang="0">
                <a:pos x="0" y="351"/>
              </a:cxn>
              <a:cxn ang="0">
                <a:pos x="21" y="330"/>
              </a:cxn>
              <a:cxn ang="0">
                <a:pos x="43" y="310"/>
              </a:cxn>
              <a:cxn ang="0">
                <a:pos x="65" y="291"/>
              </a:cxn>
              <a:cxn ang="0">
                <a:pos x="87" y="272"/>
              </a:cxn>
              <a:cxn ang="0">
                <a:pos x="110" y="253"/>
              </a:cxn>
              <a:cxn ang="0">
                <a:pos x="134" y="236"/>
              </a:cxn>
              <a:cxn ang="0">
                <a:pos x="157" y="218"/>
              </a:cxn>
              <a:cxn ang="0">
                <a:pos x="170" y="210"/>
              </a:cxn>
              <a:cxn ang="0">
                <a:pos x="182" y="202"/>
              </a:cxn>
              <a:cxn ang="0">
                <a:pos x="206" y="186"/>
              </a:cxn>
              <a:cxn ang="0">
                <a:pos x="231" y="170"/>
              </a:cxn>
              <a:cxn ang="0">
                <a:pos x="258" y="156"/>
              </a:cxn>
              <a:cxn ang="0">
                <a:pos x="284" y="141"/>
              </a:cxn>
              <a:cxn ang="0">
                <a:pos x="310" y="128"/>
              </a:cxn>
              <a:cxn ang="0">
                <a:pos x="336" y="115"/>
              </a:cxn>
              <a:cxn ang="0">
                <a:pos x="363" y="103"/>
              </a:cxn>
              <a:cxn ang="0">
                <a:pos x="390" y="91"/>
              </a:cxn>
              <a:cxn ang="0">
                <a:pos x="417" y="80"/>
              </a:cxn>
              <a:cxn ang="0">
                <a:pos x="445" y="70"/>
              </a:cxn>
              <a:cxn ang="0">
                <a:pos x="472" y="60"/>
              </a:cxn>
              <a:cxn ang="0">
                <a:pos x="500" y="51"/>
              </a:cxn>
              <a:cxn ang="0">
                <a:pos x="529" y="43"/>
              </a:cxn>
              <a:cxn ang="0">
                <a:pos x="557" y="35"/>
              </a:cxn>
              <a:cxn ang="0">
                <a:pos x="586" y="29"/>
              </a:cxn>
              <a:cxn ang="0">
                <a:pos x="614" y="23"/>
              </a:cxn>
              <a:cxn ang="0">
                <a:pos x="643" y="17"/>
              </a:cxn>
              <a:cxn ang="0">
                <a:pos x="672" y="12"/>
              </a:cxn>
              <a:cxn ang="0">
                <a:pos x="701" y="8"/>
              </a:cxn>
              <a:cxn ang="0">
                <a:pos x="731" y="5"/>
              </a:cxn>
              <a:cxn ang="0">
                <a:pos x="760" y="3"/>
              </a:cxn>
              <a:cxn ang="0">
                <a:pos x="789" y="1"/>
              </a:cxn>
              <a:cxn ang="0">
                <a:pos x="819" y="0"/>
              </a:cxn>
              <a:cxn ang="0">
                <a:pos x="848" y="0"/>
              </a:cxn>
              <a:cxn ang="0">
                <a:pos x="848" y="600"/>
              </a:cxn>
              <a:cxn ang="0">
                <a:pos x="848" y="1199"/>
              </a:cxn>
            </a:cxnLst>
            <a:rect l="0" t="0" r="r" b="b"/>
            <a:pathLst>
              <a:path w="848" h="1199">
                <a:moveTo>
                  <a:pt x="848" y="1199"/>
                </a:moveTo>
                <a:lnTo>
                  <a:pt x="424" y="775"/>
                </a:lnTo>
                <a:lnTo>
                  <a:pt x="0" y="351"/>
                </a:lnTo>
                <a:lnTo>
                  <a:pt x="21" y="330"/>
                </a:lnTo>
                <a:lnTo>
                  <a:pt x="43" y="310"/>
                </a:lnTo>
                <a:lnTo>
                  <a:pt x="65" y="291"/>
                </a:lnTo>
                <a:lnTo>
                  <a:pt x="87" y="272"/>
                </a:lnTo>
                <a:lnTo>
                  <a:pt x="110" y="253"/>
                </a:lnTo>
                <a:lnTo>
                  <a:pt x="134" y="236"/>
                </a:lnTo>
                <a:lnTo>
                  <a:pt x="157" y="218"/>
                </a:lnTo>
                <a:lnTo>
                  <a:pt x="170" y="210"/>
                </a:lnTo>
                <a:lnTo>
                  <a:pt x="182" y="202"/>
                </a:lnTo>
                <a:lnTo>
                  <a:pt x="206" y="186"/>
                </a:lnTo>
                <a:lnTo>
                  <a:pt x="231" y="170"/>
                </a:lnTo>
                <a:lnTo>
                  <a:pt x="258" y="156"/>
                </a:lnTo>
                <a:lnTo>
                  <a:pt x="284" y="141"/>
                </a:lnTo>
                <a:lnTo>
                  <a:pt x="310" y="128"/>
                </a:lnTo>
                <a:lnTo>
                  <a:pt x="336" y="115"/>
                </a:lnTo>
                <a:lnTo>
                  <a:pt x="363" y="103"/>
                </a:lnTo>
                <a:lnTo>
                  <a:pt x="390" y="91"/>
                </a:lnTo>
                <a:lnTo>
                  <a:pt x="417" y="80"/>
                </a:lnTo>
                <a:lnTo>
                  <a:pt x="445" y="70"/>
                </a:lnTo>
                <a:lnTo>
                  <a:pt x="472" y="60"/>
                </a:lnTo>
                <a:lnTo>
                  <a:pt x="500" y="51"/>
                </a:lnTo>
                <a:lnTo>
                  <a:pt x="529" y="43"/>
                </a:lnTo>
                <a:lnTo>
                  <a:pt x="557" y="35"/>
                </a:lnTo>
                <a:lnTo>
                  <a:pt x="586" y="29"/>
                </a:lnTo>
                <a:lnTo>
                  <a:pt x="614" y="23"/>
                </a:lnTo>
                <a:lnTo>
                  <a:pt x="643" y="17"/>
                </a:lnTo>
                <a:lnTo>
                  <a:pt x="672" y="12"/>
                </a:lnTo>
                <a:lnTo>
                  <a:pt x="701" y="8"/>
                </a:lnTo>
                <a:lnTo>
                  <a:pt x="731" y="5"/>
                </a:lnTo>
                <a:lnTo>
                  <a:pt x="760" y="3"/>
                </a:lnTo>
                <a:lnTo>
                  <a:pt x="789" y="1"/>
                </a:lnTo>
                <a:lnTo>
                  <a:pt x="819" y="0"/>
                </a:lnTo>
                <a:lnTo>
                  <a:pt x="848" y="0"/>
                </a:lnTo>
                <a:lnTo>
                  <a:pt x="848" y="600"/>
                </a:lnTo>
                <a:lnTo>
                  <a:pt x="848" y="1199"/>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Arc 12">
            <a:extLst>
              <a:ext uri="{FF2B5EF4-FFF2-40B4-BE49-F238E27FC236}">
                <a16:creationId xmlns:a16="http://schemas.microsoft.com/office/drawing/2014/main" id="{6CE2FDFF-B5E5-4417-9CF5-4A19CDF54839}"/>
              </a:ext>
            </a:extLst>
          </p:cNvPr>
          <p:cNvSpPr>
            <a:spLocks/>
          </p:cNvSpPr>
          <p:nvPr/>
        </p:nvSpPr>
        <p:spPr bwMode="auto">
          <a:xfrm>
            <a:off x="6152554" y="1460157"/>
            <a:ext cx="2248496" cy="2212057"/>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6350" cap="rnd">
            <a:solidFill>
              <a:srgbClr val="BE82FF"/>
            </a:solidFill>
            <a:prstDash val="dash"/>
            <a:round/>
            <a:headEnd type="none" w="sm" len="sm"/>
            <a:tailEnd type="triangle" w="lg"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Arc 13">
            <a:extLst>
              <a:ext uri="{FF2B5EF4-FFF2-40B4-BE49-F238E27FC236}">
                <a16:creationId xmlns:a16="http://schemas.microsoft.com/office/drawing/2014/main" id="{0BD1EA60-65A3-4F7B-B2B0-3EDE4E7AC994}"/>
              </a:ext>
            </a:extLst>
          </p:cNvPr>
          <p:cNvSpPr>
            <a:spLocks/>
          </p:cNvSpPr>
          <p:nvPr/>
        </p:nvSpPr>
        <p:spPr bwMode="auto">
          <a:xfrm>
            <a:off x="6148553" y="3735043"/>
            <a:ext cx="2248496" cy="2259722"/>
          </a:xfrm>
          <a:custGeom>
            <a:avLst/>
            <a:gdLst>
              <a:gd name="G0" fmla="+- 0 0 0"/>
              <a:gd name="G1" fmla="+- 19 0 0"/>
              <a:gd name="G2" fmla="+- 21600 0 0"/>
              <a:gd name="T0" fmla="*/ 21600 w 21600"/>
              <a:gd name="T1" fmla="*/ 0 h 21619"/>
              <a:gd name="T2" fmla="*/ 0 w 21600"/>
              <a:gd name="T3" fmla="*/ 21619 h 21619"/>
              <a:gd name="T4" fmla="*/ 0 w 21600"/>
              <a:gd name="T5" fmla="*/ 19 h 21619"/>
            </a:gdLst>
            <a:ahLst/>
            <a:cxnLst>
              <a:cxn ang="0">
                <a:pos x="T0" y="T1"/>
              </a:cxn>
              <a:cxn ang="0">
                <a:pos x="T2" y="T3"/>
              </a:cxn>
              <a:cxn ang="0">
                <a:pos x="T4" y="T5"/>
              </a:cxn>
            </a:cxnLst>
            <a:rect l="0" t="0" r="r" b="b"/>
            <a:pathLst>
              <a:path w="21600" h="21619" fill="none" extrusionOk="0">
                <a:moveTo>
                  <a:pt x="21599" y="0"/>
                </a:moveTo>
                <a:cubicBezTo>
                  <a:pt x="21599" y="6"/>
                  <a:pt x="21600" y="12"/>
                  <a:pt x="21600" y="19"/>
                </a:cubicBezTo>
                <a:cubicBezTo>
                  <a:pt x="21600" y="11948"/>
                  <a:pt x="11929" y="21618"/>
                  <a:pt x="0" y="21619"/>
                </a:cubicBezTo>
              </a:path>
              <a:path w="21600" h="21619" stroke="0" extrusionOk="0">
                <a:moveTo>
                  <a:pt x="21599" y="0"/>
                </a:moveTo>
                <a:cubicBezTo>
                  <a:pt x="21599" y="6"/>
                  <a:pt x="21600" y="12"/>
                  <a:pt x="21600" y="19"/>
                </a:cubicBezTo>
                <a:cubicBezTo>
                  <a:pt x="21600" y="11948"/>
                  <a:pt x="11929" y="21618"/>
                  <a:pt x="0" y="21619"/>
                </a:cubicBezTo>
                <a:lnTo>
                  <a:pt x="0" y="19"/>
                </a:lnTo>
                <a:close/>
              </a:path>
            </a:pathLst>
          </a:custGeom>
          <a:noFill/>
          <a:ln w="6350" cap="rnd">
            <a:solidFill>
              <a:srgbClr val="BE82FF"/>
            </a:solidFill>
            <a:prstDash val="dash"/>
            <a:round/>
            <a:headEnd type="none" w="sm" len="sm"/>
            <a:tailEnd type="triangle" w="lg"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Arc 14">
            <a:extLst>
              <a:ext uri="{FF2B5EF4-FFF2-40B4-BE49-F238E27FC236}">
                <a16:creationId xmlns:a16="http://schemas.microsoft.com/office/drawing/2014/main" id="{4B188FA2-397B-4FA1-BDF2-B67421FF7D01}"/>
              </a:ext>
            </a:extLst>
          </p:cNvPr>
          <p:cNvSpPr>
            <a:spLocks/>
          </p:cNvSpPr>
          <p:nvPr/>
        </p:nvSpPr>
        <p:spPr bwMode="auto">
          <a:xfrm>
            <a:off x="3756025" y="3691712"/>
            <a:ext cx="2248496" cy="2316052"/>
          </a:xfrm>
          <a:custGeom>
            <a:avLst/>
            <a:gdLst>
              <a:gd name="G0" fmla="+- 21600 0 0"/>
              <a:gd name="G1" fmla="+- 0 0 0"/>
              <a:gd name="G2" fmla="+- 21600 0 0"/>
              <a:gd name="T0" fmla="*/ 21600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6350" cap="rnd">
            <a:solidFill>
              <a:srgbClr val="BE82FF"/>
            </a:solidFill>
            <a:prstDash val="dash"/>
            <a:round/>
            <a:headEnd type="none" w="sm" len="sm"/>
            <a:tailEnd type="triangle" w="lg"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Arc 15">
            <a:extLst>
              <a:ext uri="{FF2B5EF4-FFF2-40B4-BE49-F238E27FC236}">
                <a16:creationId xmlns:a16="http://schemas.microsoft.com/office/drawing/2014/main" id="{B51D78C4-169F-4EA9-95A1-3B214AA8BC02}"/>
              </a:ext>
            </a:extLst>
          </p:cNvPr>
          <p:cNvSpPr>
            <a:spLocks/>
          </p:cNvSpPr>
          <p:nvPr/>
        </p:nvSpPr>
        <p:spPr bwMode="auto">
          <a:xfrm>
            <a:off x="3756025" y="1457990"/>
            <a:ext cx="2248496" cy="2173059"/>
          </a:xfrm>
          <a:custGeom>
            <a:avLst/>
            <a:gdLst>
              <a:gd name="G0" fmla="+- 21600 0 0"/>
              <a:gd name="G1" fmla="+- 21600 0 0"/>
              <a:gd name="G2" fmla="+- 21600 0 0"/>
              <a:gd name="T0" fmla="*/ 0 w 21600"/>
              <a:gd name="T1" fmla="*/ 21600 h 21600"/>
              <a:gd name="T2" fmla="*/ 21581 w 21600"/>
              <a:gd name="T3" fmla="*/ 0 h 21600"/>
              <a:gd name="T4" fmla="*/ 21600 w 21600"/>
              <a:gd name="T5" fmla="*/ 21600 h 21600"/>
            </a:gdLst>
            <a:ahLst/>
            <a:cxnLst>
              <a:cxn ang="0">
                <a:pos x="T0" y="T1"/>
              </a:cxn>
              <a:cxn ang="0">
                <a:pos x="T2" y="T3"/>
              </a:cxn>
              <a:cxn ang="0">
                <a:pos x="T4" y="T5"/>
              </a:cxn>
            </a:cxnLst>
            <a:rect l="0" t="0" r="r" b="b"/>
            <a:pathLst>
              <a:path w="21600" h="21600" fill="none" extrusionOk="0">
                <a:moveTo>
                  <a:pt x="0" y="21600"/>
                </a:moveTo>
                <a:cubicBezTo>
                  <a:pt x="0" y="9678"/>
                  <a:pt x="9659" y="10"/>
                  <a:pt x="21581" y="0"/>
                </a:cubicBezTo>
              </a:path>
              <a:path w="21600" h="21600" stroke="0" extrusionOk="0">
                <a:moveTo>
                  <a:pt x="0" y="21600"/>
                </a:moveTo>
                <a:cubicBezTo>
                  <a:pt x="0" y="9678"/>
                  <a:pt x="9659" y="10"/>
                  <a:pt x="21581" y="0"/>
                </a:cubicBezTo>
                <a:lnTo>
                  <a:pt x="21600" y="21600"/>
                </a:lnTo>
                <a:close/>
              </a:path>
            </a:pathLst>
          </a:custGeom>
          <a:noFill/>
          <a:ln w="6350" cap="rnd">
            <a:solidFill>
              <a:srgbClr val="BE82FF"/>
            </a:solidFill>
            <a:prstDash val="dash"/>
            <a:round/>
            <a:headEnd type="none" w="sm" len="sm"/>
            <a:tailEnd type="triangle" w="lg"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Text Box 16">
            <a:extLst>
              <a:ext uri="{FF2B5EF4-FFF2-40B4-BE49-F238E27FC236}">
                <a16:creationId xmlns:a16="http://schemas.microsoft.com/office/drawing/2014/main" id="{9CB3123A-FEC5-4D58-A2B8-0E88E158200B}"/>
              </a:ext>
            </a:extLst>
          </p:cNvPr>
          <p:cNvSpPr txBox="1">
            <a:spLocks noChangeArrowheads="1"/>
          </p:cNvSpPr>
          <p:nvPr/>
        </p:nvSpPr>
        <p:spPr bwMode="auto">
          <a:xfrm>
            <a:off x="6338595" y="2086291"/>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18" name="Text Box 17">
            <a:extLst>
              <a:ext uri="{FF2B5EF4-FFF2-40B4-BE49-F238E27FC236}">
                <a16:creationId xmlns:a16="http://schemas.microsoft.com/office/drawing/2014/main" id="{ADED32FA-0DE2-4CE8-B367-00FF1A7BEF21}"/>
              </a:ext>
            </a:extLst>
          </p:cNvPr>
          <p:cNvSpPr txBox="1">
            <a:spLocks noChangeArrowheads="1"/>
          </p:cNvSpPr>
          <p:nvPr/>
        </p:nvSpPr>
        <p:spPr bwMode="auto">
          <a:xfrm>
            <a:off x="7292805" y="3033078"/>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19" name="Text Box 18">
            <a:extLst>
              <a:ext uri="{FF2B5EF4-FFF2-40B4-BE49-F238E27FC236}">
                <a16:creationId xmlns:a16="http://schemas.microsoft.com/office/drawing/2014/main" id="{999117F5-F17C-4450-B216-308EF3F04DF9}"/>
              </a:ext>
            </a:extLst>
          </p:cNvPr>
          <p:cNvSpPr txBox="1">
            <a:spLocks noChangeArrowheads="1"/>
          </p:cNvSpPr>
          <p:nvPr/>
        </p:nvSpPr>
        <p:spPr bwMode="auto">
          <a:xfrm>
            <a:off x="6326592" y="4969982"/>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20" name="Text Box 19">
            <a:extLst>
              <a:ext uri="{FF2B5EF4-FFF2-40B4-BE49-F238E27FC236}">
                <a16:creationId xmlns:a16="http://schemas.microsoft.com/office/drawing/2014/main" id="{3FAD454D-2DA7-46C7-9F0C-B98D93D7371D}"/>
              </a:ext>
            </a:extLst>
          </p:cNvPr>
          <p:cNvSpPr txBox="1">
            <a:spLocks noChangeArrowheads="1"/>
          </p:cNvSpPr>
          <p:nvPr/>
        </p:nvSpPr>
        <p:spPr bwMode="auto">
          <a:xfrm>
            <a:off x="5302366" y="4969982"/>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21" name="Text Box 20">
            <a:extLst>
              <a:ext uri="{FF2B5EF4-FFF2-40B4-BE49-F238E27FC236}">
                <a16:creationId xmlns:a16="http://schemas.microsoft.com/office/drawing/2014/main" id="{D3B0A7D5-FFA5-4892-820C-FA3DB578E3CB}"/>
              </a:ext>
            </a:extLst>
          </p:cNvPr>
          <p:cNvSpPr txBox="1">
            <a:spLocks noChangeArrowheads="1"/>
          </p:cNvSpPr>
          <p:nvPr/>
        </p:nvSpPr>
        <p:spPr bwMode="auto">
          <a:xfrm>
            <a:off x="4364159" y="3033078"/>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22" name="Text Box 21">
            <a:extLst>
              <a:ext uri="{FF2B5EF4-FFF2-40B4-BE49-F238E27FC236}">
                <a16:creationId xmlns:a16="http://schemas.microsoft.com/office/drawing/2014/main" id="{ED7880CE-69DA-468F-8813-75EF1B194E48}"/>
              </a:ext>
            </a:extLst>
          </p:cNvPr>
          <p:cNvSpPr txBox="1">
            <a:spLocks noChangeArrowheads="1"/>
          </p:cNvSpPr>
          <p:nvPr/>
        </p:nvSpPr>
        <p:spPr bwMode="auto">
          <a:xfrm>
            <a:off x="5302366" y="2086291"/>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23" name="Text Box 22">
            <a:extLst>
              <a:ext uri="{FF2B5EF4-FFF2-40B4-BE49-F238E27FC236}">
                <a16:creationId xmlns:a16="http://schemas.microsoft.com/office/drawing/2014/main" id="{A6FBD6A3-B2C8-4FCA-8D49-312DEC5302A1}"/>
              </a:ext>
            </a:extLst>
          </p:cNvPr>
          <p:cNvSpPr txBox="1">
            <a:spLocks noChangeArrowheads="1"/>
          </p:cNvSpPr>
          <p:nvPr/>
        </p:nvSpPr>
        <p:spPr bwMode="auto">
          <a:xfrm>
            <a:off x="7292805" y="4079526"/>
            <a:ext cx="518114" cy="348816"/>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sp>
        <p:nvSpPr>
          <p:cNvPr id="24" name="Text Box 23">
            <a:extLst>
              <a:ext uri="{FF2B5EF4-FFF2-40B4-BE49-F238E27FC236}">
                <a16:creationId xmlns:a16="http://schemas.microsoft.com/office/drawing/2014/main" id="{177325A8-93FF-4762-88A3-BFC48551B230}"/>
              </a:ext>
            </a:extLst>
          </p:cNvPr>
          <p:cNvSpPr txBox="1">
            <a:spLocks noChangeArrowheads="1"/>
          </p:cNvSpPr>
          <p:nvPr/>
        </p:nvSpPr>
        <p:spPr bwMode="auto">
          <a:xfrm>
            <a:off x="4364159" y="4079526"/>
            <a:ext cx="518114" cy="348816"/>
          </a:xfrm>
          <a:prstGeom prst="rect">
            <a:avLst/>
          </a:prstGeom>
          <a:solidFill>
            <a:schemeClr val="accent1"/>
          </a:solid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CA6D6B07-37FB-44A0-BF1D-E07599E85C6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900787939"/>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8</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3">
            <a:extLst>
              <a:ext uri="{FF2B5EF4-FFF2-40B4-BE49-F238E27FC236}">
                <a16:creationId xmlns:a16="http://schemas.microsoft.com/office/drawing/2014/main" id="{5C028904-5CB2-489E-AA85-B5F8C2C0A7CD}"/>
              </a:ext>
            </a:extLst>
          </p:cNvPr>
          <p:cNvGrpSpPr>
            <a:grpSpLocks/>
          </p:cNvGrpSpPr>
          <p:nvPr/>
        </p:nvGrpSpPr>
        <p:grpSpPr bwMode="auto">
          <a:xfrm>
            <a:off x="3865563" y="1628801"/>
            <a:ext cx="4462462" cy="4562475"/>
            <a:chOff x="2160" y="1440"/>
            <a:chExt cx="2035" cy="1920"/>
          </a:xfrm>
        </p:grpSpPr>
        <p:sp>
          <p:nvSpPr>
            <p:cNvPr id="6" name="Freeform 4">
              <a:extLst>
                <a:ext uri="{FF2B5EF4-FFF2-40B4-BE49-F238E27FC236}">
                  <a16:creationId xmlns:a16="http://schemas.microsoft.com/office/drawing/2014/main" id="{77E71570-5FF9-4AC2-A341-2F2F301A5315}"/>
                </a:ext>
              </a:extLst>
            </p:cNvPr>
            <p:cNvSpPr>
              <a:spLocks/>
            </p:cNvSpPr>
            <p:nvPr/>
          </p:nvSpPr>
          <p:spPr bwMode="auto">
            <a:xfrm>
              <a:off x="2160" y="2315"/>
              <a:ext cx="1918" cy="1045"/>
            </a:xfrm>
            <a:custGeom>
              <a:avLst/>
              <a:gdLst/>
              <a:ahLst/>
              <a:cxnLst>
                <a:cxn ang="0">
                  <a:pos x="1396" y="197"/>
                </a:cxn>
                <a:cxn ang="0">
                  <a:pos x="1365" y="331"/>
                </a:cxn>
                <a:cxn ang="0">
                  <a:pos x="1310" y="446"/>
                </a:cxn>
                <a:cxn ang="0">
                  <a:pos x="1237" y="543"/>
                </a:cxn>
                <a:cxn ang="0">
                  <a:pos x="1147" y="621"/>
                </a:cxn>
                <a:cxn ang="0">
                  <a:pos x="1046" y="680"/>
                </a:cxn>
                <a:cxn ang="0">
                  <a:pos x="936" y="721"/>
                </a:cxn>
                <a:cxn ang="0">
                  <a:pos x="820" y="742"/>
                </a:cxn>
                <a:cxn ang="0">
                  <a:pos x="702" y="744"/>
                </a:cxn>
                <a:cxn ang="0">
                  <a:pos x="586" y="728"/>
                </a:cxn>
                <a:cxn ang="0">
                  <a:pos x="474" y="691"/>
                </a:cxn>
                <a:cxn ang="0">
                  <a:pos x="371" y="636"/>
                </a:cxn>
                <a:cxn ang="0">
                  <a:pos x="278" y="561"/>
                </a:cxn>
                <a:cxn ang="0">
                  <a:pos x="201" y="467"/>
                </a:cxn>
                <a:cxn ang="0">
                  <a:pos x="142" y="353"/>
                </a:cxn>
                <a:cxn ang="0">
                  <a:pos x="105" y="220"/>
                </a:cxn>
                <a:cxn ang="0">
                  <a:pos x="0" y="147"/>
                </a:cxn>
                <a:cxn ang="0">
                  <a:pos x="575" y="163"/>
                </a:cxn>
                <a:cxn ang="0">
                  <a:pos x="496" y="202"/>
                </a:cxn>
                <a:cxn ang="0">
                  <a:pos x="528" y="278"/>
                </a:cxn>
                <a:cxn ang="0">
                  <a:pos x="572" y="342"/>
                </a:cxn>
                <a:cxn ang="0">
                  <a:pos x="629" y="394"/>
                </a:cxn>
                <a:cxn ang="0">
                  <a:pos x="694" y="434"/>
                </a:cxn>
                <a:cxn ang="0">
                  <a:pos x="766" y="462"/>
                </a:cxn>
                <a:cxn ang="0">
                  <a:pos x="843" y="480"/>
                </a:cxn>
                <a:cxn ang="0">
                  <a:pos x="922" y="487"/>
                </a:cxn>
                <a:cxn ang="0">
                  <a:pos x="1042" y="477"/>
                </a:cxn>
                <a:cxn ang="0">
                  <a:pos x="1119" y="457"/>
                </a:cxn>
                <a:cxn ang="0">
                  <a:pos x="1191" y="425"/>
                </a:cxn>
                <a:cxn ang="0">
                  <a:pos x="1256" y="384"/>
                </a:cxn>
                <a:cxn ang="0">
                  <a:pos x="1312" y="334"/>
                </a:cxn>
                <a:cxn ang="0">
                  <a:pos x="1357" y="273"/>
                </a:cxn>
                <a:cxn ang="0">
                  <a:pos x="1388" y="203"/>
                </a:cxn>
                <a:cxn ang="0">
                  <a:pos x="1403" y="123"/>
                </a:cxn>
              </a:cxnLst>
              <a:rect l="0" t="0" r="r" b="b"/>
              <a:pathLst>
                <a:path w="1404" h="745">
                  <a:moveTo>
                    <a:pt x="1403" y="123"/>
                  </a:moveTo>
                  <a:lnTo>
                    <a:pt x="1396" y="197"/>
                  </a:lnTo>
                  <a:lnTo>
                    <a:pt x="1384" y="266"/>
                  </a:lnTo>
                  <a:lnTo>
                    <a:pt x="1365" y="331"/>
                  </a:lnTo>
                  <a:lnTo>
                    <a:pt x="1340" y="391"/>
                  </a:lnTo>
                  <a:lnTo>
                    <a:pt x="1310" y="446"/>
                  </a:lnTo>
                  <a:lnTo>
                    <a:pt x="1275" y="498"/>
                  </a:lnTo>
                  <a:lnTo>
                    <a:pt x="1237" y="543"/>
                  </a:lnTo>
                  <a:lnTo>
                    <a:pt x="1194" y="585"/>
                  </a:lnTo>
                  <a:lnTo>
                    <a:pt x="1147" y="621"/>
                  </a:lnTo>
                  <a:lnTo>
                    <a:pt x="1098" y="654"/>
                  </a:lnTo>
                  <a:lnTo>
                    <a:pt x="1046" y="680"/>
                  </a:lnTo>
                  <a:lnTo>
                    <a:pt x="991" y="703"/>
                  </a:lnTo>
                  <a:lnTo>
                    <a:pt x="936" y="721"/>
                  </a:lnTo>
                  <a:lnTo>
                    <a:pt x="878" y="734"/>
                  </a:lnTo>
                  <a:lnTo>
                    <a:pt x="820" y="742"/>
                  </a:lnTo>
                  <a:lnTo>
                    <a:pt x="761" y="744"/>
                  </a:lnTo>
                  <a:lnTo>
                    <a:pt x="702" y="744"/>
                  </a:lnTo>
                  <a:lnTo>
                    <a:pt x="643" y="738"/>
                  </a:lnTo>
                  <a:lnTo>
                    <a:pt x="586" y="728"/>
                  </a:lnTo>
                  <a:lnTo>
                    <a:pt x="529" y="712"/>
                  </a:lnTo>
                  <a:lnTo>
                    <a:pt x="474" y="691"/>
                  </a:lnTo>
                  <a:lnTo>
                    <a:pt x="421" y="666"/>
                  </a:lnTo>
                  <a:lnTo>
                    <a:pt x="371" y="636"/>
                  </a:lnTo>
                  <a:lnTo>
                    <a:pt x="322" y="601"/>
                  </a:lnTo>
                  <a:lnTo>
                    <a:pt x="278" y="561"/>
                  </a:lnTo>
                  <a:lnTo>
                    <a:pt x="237" y="517"/>
                  </a:lnTo>
                  <a:lnTo>
                    <a:pt x="201" y="467"/>
                  </a:lnTo>
                  <a:lnTo>
                    <a:pt x="169" y="413"/>
                  </a:lnTo>
                  <a:lnTo>
                    <a:pt x="142" y="353"/>
                  </a:lnTo>
                  <a:lnTo>
                    <a:pt x="120" y="289"/>
                  </a:lnTo>
                  <a:lnTo>
                    <a:pt x="105" y="220"/>
                  </a:lnTo>
                  <a:lnTo>
                    <a:pt x="96" y="147"/>
                  </a:lnTo>
                  <a:lnTo>
                    <a:pt x="0" y="147"/>
                  </a:lnTo>
                  <a:lnTo>
                    <a:pt x="299" y="0"/>
                  </a:lnTo>
                  <a:lnTo>
                    <a:pt x="575" y="163"/>
                  </a:lnTo>
                  <a:lnTo>
                    <a:pt x="486" y="160"/>
                  </a:lnTo>
                  <a:lnTo>
                    <a:pt x="496" y="202"/>
                  </a:lnTo>
                  <a:lnTo>
                    <a:pt x="510" y="242"/>
                  </a:lnTo>
                  <a:lnTo>
                    <a:pt x="528" y="278"/>
                  </a:lnTo>
                  <a:lnTo>
                    <a:pt x="549" y="311"/>
                  </a:lnTo>
                  <a:lnTo>
                    <a:pt x="572" y="342"/>
                  </a:lnTo>
                  <a:lnTo>
                    <a:pt x="599" y="369"/>
                  </a:lnTo>
                  <a:lnTo>
                    <a:pt x="629" y="394"/>
                  </a:lnTo>
                  <a:lnTo>
                    <a:pt x="660" y="416"/>
                  </a:lnTo>
                  <a:lnTo>
                    <a:pt x="694" y="434"/>
                  </a:lnTo>
                  <a:lnTo>
                    <a:pt x="729" y="450"/>
                  </a:lnTo>
                  <a:lnTo>
                    <a:pt x="766" y="462"/>
                  </a:lnTo>
                  <a:lnTo>
                    <a:pt x="804" y="473"/>
                  </a:lnTo>
                  <a:lnTo>
                    <a:pt x="843" y="480"/>
                  </a:lnTo>
                  <a:lnTo>
                    <a:pt x="882" y="485"/>
                  </a:lnTo>
                  <a:lnTo>
                    <a:pt x="922" y="487"/>
                  </a:lnTo>
                  <a:lnTo>
                    <a:pt x="962" y="486"/>
                  </a:lnTo>
                  <a:lnTo>
                    <a:pt x="1042" y="477"/>
                  </a:lnTo>
                  <a:lnTo>
                    <a:pt x="1081" y="468"/>
                  </a:lnTo>
                  <a:lnTo>
                    <a:pt x="1119" y="457"/>
                  </a:lnTo>
                  <a:lnTo>
                    <a:pt x="1155" y="442"/>
                  </a:lnTo>
                  <a:lnTo>
                    <a:pt x="1191" y="425"/>
                  </a:lnTo>
                  <a:lnTo>
                    <a:pt x="1224" y="406"/>
                  </a:lnTo>
                  <a:lnTo>
                    <a:pt x="1256" y="384"/>
                  </a:lnTo>
                  <a:lnTo>
                    <a:pt x="1285" y="361"/>
                  </a:lnTo>
                  <a:lnTo>
                    <a:pt x="1312" y="334"/>
                  </a:lnTo>
                  <a:lnTo>
                    <a:pt x="1336" y="304"/>
                  </a:lnTo>
                  <a:lnTo>
                    <a:pt x="1357" y="273"/>
                  </a:lnTo>
                  <a:lnTo>
                    <a:pt x="1373" y="239"/>
                  </a:lnTo>
                  <a:lnTo>
                    <a:pt x="1388" y="203"/>
                  </a:lnTo>
                  <a:lnTo>
                    <a:pt x="1397" y="164"/>
                  </a:lnTo>
                  <a:lnTo>
                    <a:pt x="1403" y="123"/>
                  </a:lnTo>
                </a:path>
              </a:pathLst>
            </a:custGeom>
            <a:solidFill>
              <a:srgbClr val="A100FF"/>
            </a:solidFill>
            <a:ln w="63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5">
              <a:extLst>
                <a:ext uri="{FF2B5EF4-FFF2-40B4-BE49-F238E27FC236}">
                  <a16:creationId xmlns:a16="http://schemas.microsoft.com/office/drawing/2014/main" id="{020C3523-1078-4A31-842E-F74C35624075}"/>
                </a:ext>
              </a:extLst>
            </p:cNvPr>
            <p:cNvSpPr>
              <a:spLocks/>
            </p:cNvSpPr>
            <p:nvPr/>
          </p:nvSpPr>
          <p:spPr bwMode="auto">
            <a:xfrm>
              <a:off x="2280" y="1440"/>
              <a:ext cx="1915" cy="1047"/>
            </a:xfrm>
            <a:custGeom>
              <a:avLst/>
              <a:gdLst/>
              <a:ahLst/>
              <a:cxnLst>
                <a:cxn ang="0">
                  <a:pos x="3" y="585"/>
                </a:cxn>
                <a:cxn ang="0">
                  <a:pos x="12" y="513"/>
                </a:cxn>
                <a:cxn ang="0">
                  <a:pos x="29" y="446"/>
                </a:cxn>
                <a:cxn ang="0">
                  <a:pos x="51" y="383"/>
                </a:cxn>
                <a:cxn ang="0">
                  <a:pos x="94" y="299"/>
                </a:cxn>
                <a:cxn ang="0">
                  <a:pos x="167" y="202"/>
                </a:cxn>
                <a:cxn ang="0">
                  <a:pos x="232" y="142"/>
                </a:cxn>
                <a:cxn ang="0">
                  <a:pos x="306" y="92"/>
                </a:cxn>
                <a:cxn ang="0">
                  <a:pos x="412" y="42"/>
                </a:cxn>
                <a:cxn ang="0">
                  <a:pos x="467" y="25"/>
                </a:cxn>
                <a:cxn ang="0">
                  <a:pos x="525" y="11"/>
                </a:cxn>
                <a:cxn ang="0">
                  <a:pos x="583" y="4"/>
                </a:cxn>
                <a:cxn ang="0">
                  <a:pos x="642" y="0"/>
                </a:cxn>
                <a:cxn ang="0">
                  <a:pos x="760" y="7"/>
                </a:cxn>
                <a:cxn ang="0">
                  <a:pos x="874" y="33"/>
                </a:cxn>
                <a:cxn ang="0">
                  <a:pos x="956" y="66"/>
                </a:cxn>
                <a:cxn ang="0">
                  <a:pos x="1007" y="93"/>
                </a:cxn>
                <a:cxn ang="0">
                  <a:pos x="1081" y="145"/>
                </a:cxn>
                <a:cxn ang="0">
                  <a:pos x="1125" y="185"/>
                </a:cxn>
                <a:cxn ang="0">
                  <a:pos x="1166" y="229"/>
                </a:cxn>
                <a:cxn ang="0">
                  <a:pos x="1234" y="333"/>
                </a:cxn>
                <a:cxn ang="0">
                  <a:pos x="1282" y="457"/>
                </a:cxn>
                <a:cxn ang="0">
                  <a:pos x="1307" y="599"/>
                </a:cxn>
                <a:cxn ang="0">
                  <a:pos x="1104" y="746"/>
                </a:cxn>
                <a:cxn ang="0">
                  <a:pos x="917" y="585"/>
                </a:cxn>
                <a:cxn ang="0">
                  <a:pos x="894" y="503"/>
                </a:cxn>
                <a:cxn ang="0">
                  <a:pos x="854" y="434"/>
                </a:cxn>
                <a:cxn ang="0">
                  <a:pos x="804" y="376"/>
                </a:cxn>
                <a:cxn ang="0">
                  <a:pos x="744" y="330"/>
                </a:cxn>
                <a:cxn ang="0">
                  <a:pos x="675" y="295"/>
                </a:cxn>
                <a:cxn ang="0">
                  <a:pos x="599" y="272"/>
                </a:cxn>
                <a:cxn ang="0">
                  <a:pos x="521" y="261"/>
                </a:cxn>
                <a:cxn ang="0">
                  <a:pos x="441" y="260"/>
                </a:cxn>
                <a:cxn ang="0">
                  <a:pos x="360" y="269"/>
                </a:cxn>
                <a:cxn ang="0">
                  <a:pos x="284" y="289"/>
                </a:cxn>
                <a:cxn ang="0">
                  <a:pos x="212" y="320"/>
                </a:cxn>
                <a:cxn ang="0">
                  <a:pos x="147" y="361"/>
                </a:cxn>
                <a:cxn ang="0">
                  <a:pos x="92" y="412"/>
                </a:cxn>
                <a:cxn ang="0">
                  <a:pos x="47" y="473"/>
                </a:cxn>
                <a:cxn ang="0">
                  <a:pos x="16" y="543"/>
                </a:cxn>
                <a:cxn ang="0">
                  <a:pos x="0" y="623"/>
                </a:cxn>
              </a:cxnLst>
              <a:rect l="0" t="0" r="r" b="b"/>
              <a:pathLst>
                <a:path w="1402" h="747">
                  <a:moveTo>
                    <a:pt x="0" y="623"/>
                  </a:moveTo>
                  <a:lnTo>
                    <a:pt x="3" y="585"/>
                  </a:lnTo>
                  <a:lnTo>
                    <a:pt x="7" y="548"/>
                  </a:lnTo>
                  <a:lnTo>
                    <a:pt x="12" y="513"/>
                  </a:lnTo>
                  <a:lnTo>
                    <a:pt x="19" y="480"/>
                  </a:lnTo>
                  <a:lnTo>
                    <a:pt x="29" y="446"/>
                  </a:lnTo>
                  <a:lnTo>
                    <a:pt x="38" y="414"/>
                  </a:lnTo>
                  <a:lnTo>
                    <a:pt x="51" y="383"/>
                  </a:lnTo>
                  <a:lnTo>
                    <a:pt x="63" y="354"/>
                  </a:lnTo>
                  <a:lnTo>
                    <a:pt x="94" y="299"/>
                  </a:lnTo>
                  <a:lnTo>
                    <a:pt x="128" y="248"/>
                  </a:lnTo>
                  <a:lnTo>
                    <a:pt x="167" y="202"/>
                  </a:lnTo>
                  <a:lnTo>
                    <a:pt x="210" y="161"/>
                  </a:lnTo>
                  <a:lnTo>
                    <a:pt x="232" y="142"/>
                  </a:lnTo>
                  <a:lnTo>
                    <a:pt x="256" y="124"/>
                  </a:lnTo>
                  <a:lnTo>
                    <a:pt x="306" y="92"/>
                  </a:lnTo>
                  <a:lnTo>
                    <a:pt x="357" y="65"/>
                  </a:lnTo>
                  <a:lnTo>
                    <a:pt x="412" y="42"/>
                  </a:lnTo>
                  <a:lnTo>
                    <a:pt x="440" y="32"/>
                  </a:lnTo>
                  <a:lnTo>
                    <a:pt x="467" y="25"/>
                  </a:lnTo>
                  <a:lnTo>
                    <a:pt x="496" y="17"/>
                  </a:lnTo>
                  <a:lnTo>
                    <a:pt x="525" y="11"/>
                  </a:lnTo>
                  <a:lnTo>
                    <a:pt x="554" y="7"/>
                  </a:lnTo>
                  <a:lnTo>
                    <a:pt x="583" y="4"/>
                  </a:lnTo>
                  <a:lnTo>
                    <a:pt x="613" y="1"/>
                  </a:lnTo>
                  <a:lnTo>
                    <a:pt x="642" y="0"/>
                  </a:lnTo>
                  <a:lnTo>
                    <a:pt x="701" y="1"/>
                  </a:lnTo>
                  <a:lnTo>
                    <a:pt x="760" y="7"/>
                  </a:lnTo>
                  <a:lnTo>
                    <a:pt x="818" y="18"/>
                  </a:lnTo>
                  <a:lnTo>
                    <a:pt x="874" y="33"/>
                  </a:lnTo>
                  <a:lnTo>
                    <a:pt x="929" y="54"/>
                  </a:lnTo>
                  <a:lnTo>
                    <a:pt x="956" y="66"/>
                  </a:lnTo>
                  <a:lnTo>
                    <a:pt x="982" y="79"/>
                  </a:lnTo>
                  <a:lnTo>
                    <a:pt x="1007" y="93"/>
                  </a:lnTo>
                  <a:lnTo>
                    <a:pt x="1033" y="109"/>
                  </a:lnTo>
                  <a:lnTo>
                    <a:pt x="1081" y="145"/>
                  </a:lnTo>
                  <a:lnTo>
                    <a:pt x="1103" y="164"/>
                  </a:lnTo>
                  <a:lnTo>
                    <a:pt x="1125" y="185"/>
                  </a:lnTo>
                  <a:lnTo>
                    <a:pt x="1146" y="206"/>
                  </a:lnTo>
                  <a:lnTo>
                    <a:pt x="1166" y="229"/>
                  </a:lnTo>
                  <a:lnTo>
                    <a:pt x="1202" y="278"/>
                  </a:lnTo>
                  <a:lnTo>
                    <a:pt x="1234" y="333"/>
                  </a:lnTo>
                  <a:lnTo>
                    <a:pt x="1261" y="392"/>
                  </a:lnTo>
                  <a:lnTo>
                    <a:pt x="1282" y="457"/>
                  </a:lnTo>
                  <a:lnTo>
                    <a:pt x="1298" y="525"/>
                  </a:lnTo>
                  <a:lnTo>
                    <a:pt x="1307" y="599"/>
                  </a:lnTo>
                  <a:lnTo>
                    <a:pt x="1401" y="599"/>
                  </a:lnTo>
                  <a:lnTo>
                    <a:pt x="1104" y="746"/>
                  </a:lnTo>
                  <a:lnTo>
                    <a:pt x="828" y="583"/>
                  </a:lnTo>
                  <a:lnTo>
                    <a:pt x="917" y="585"/>
                  </a:lnTo>
                  <a:lnTo>
                    <a:pt x="908" y="543"/>
                  </a:lnTo>
                  <a:lnTo>
                    <a:pt x="894" y="503"/>
                  </a:lnTo>
                  <a:lnTo>
                    <a:pt x="875" y="467"/>
                  </a:lnTo>
                  <a:lnTo>
                    <a:pt x="854" y="434"/>
                  </a:lnTo>
                  <a:lnTo>
                    <a:pt x="830" y="403"/>
                  </a:lnTo>
                  <a:lnTo>
                    <a:pt x="804" y="376"/>
                  </a:lnTo>
                  <a:lnTo>
                    <a:pt x="775" y="351"/>
                  </a:lnTo>
                  <a:lnTo>
                    <a:pt x="744" y="330"/>
                  </a:lnTo>
                  <a:lnTo>
                    <a:pt x="710" y="311"/>
                  </a:lnTo>
                  <a:lnTo>
                    <a:pt x="675" y="295"/>
                  </a:lnTo>
                  <a:lnTo>
                    <a:pt x="637" y="283"/>
                  </a:lnTo>
                  <a:lnTo>
                    <a:pt x="599" y="272"/>
                  </a:lnTo>
                  <a:lnTo>
                    <a:pt x="561" y="265"/>
                  </a:lnTo>
                  <a:lnTo>
                    <a:pt x="521" y="261"/>
                  </a:lnTo>
                  <a:lnTo>
                    <a:pt x="481" y="259"/>
                  </a:lnTo>
                  <a:lnTo>
                    <a:pt x="441" y="260"/>
                  </a:lnTo>
                  <a:lnTo>
                    <a:pt x="400" y="263"/>
                  </a:lnTo>
                  <a:lnTo>
                    <a:pt x="360" y="269"/>
                  </a:lnTo>
                  <a:lnTo>
                    <a:pt x="322" y="278"/>
                  </a:lnTo>
                  <a:lnTo>
                    <a:pt x="284" y="289"/>
                  </a:lnTo>
                  <a:lnTo>
                    <a:pt x="248" y="304"/>
                  </a:lnTo>
                  <a:lnTo>
                    <a:pt x="212" y="320"/>
                  </a:lnTo>
                  <a:lnTo>
                    <a:pt x="179" y="339"/>
                  </a:lnTo>
                  <a:lnTo>
                    <a:pt x="147" y="361"/>
                  </a:lnTo>
                  <a:lnTo>
                    <a:pt x="118" y="385"/>
                  </a:lnTo>
                  <a:lnTo>
                    <a:pt x="92" y="412"/>
                  </a:lnTo>
                  <a:lnTo>
                    <a:pt x="68" y="441"/>
                  </a:lnTo>
                  <a:lnTo>
                    <a:pt x="47" y="473"/>
                  </a:lnTo>
                  <a:lnTo>
                    <a:pt x="30" y="506"/>
                  </a:lnTo>
                  <a:lnTo>
                    <a:pt x="16" y="543"/>
                  </a:lnTo>
                  <a:lnTo>
                    <a:pt x="6" y="581"/>
                  </a:lnTo>
                  <a:lnTo>
                    <a:pt x="0" y="623"/>
                  </a:lnTo>
                </a:path>
              </a:pathLst>
            </a:custGeom>
            <a:solidFill>
              <a:srgbClr val="BE82FF">
                <a:lumMod val="20000"/>
                <a:lumOff val="80000"/>
              </a:srgbClr>
            </a:solidFill>
            <a:ln w="63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8" name="Group 6">
              <a:extLst>
                <a:ext uri="{FF2B5EF4-FFF2-40B4-BE49-F238E27FC236}">
                  <a16:creationId xmlns:a16="http://schemas.microsoft.com/office/drawing/2014/main" id="{99CC1C4C-A130-491C-9ADF-7EE1C5B7231E}"/>
                </a:ext>
              </a:extLst>
            </p:cNvPr>
            <p:cNvGrpSpPr>
              <a:grpSpLocks/>
            </p:cNvGrpSpPr>
            <p:nvPr/>
          </p:nvGrpSpPr>
          <p:grpSpPr bwMode="auto">
            <a:xfrm>
              <a:off x="3047" y="1595"/>
              <a:ext cx="260" cy="1611"/>
              <a:chOff x="2988" y="1595"/>
              <a:chExt cx="260" cy="1611"/>
            </a:xfrm>
          </p:grpSpPr>
          <p:sp>
            <p:nvSpPr>
              <p:cNvPr id="9" name="Text Box 7">
                <a:extLst>
                  <a:ext uri="{FF2B5EF4-FFF2-40B4-BE49-F238E27FC236}">
                    <a16:creationId xmlns:a16="http://schemas.microsoft.com/office/drawing/2014/main" id="{BFB3B5D8-A738-4F85-8289-5D090BEF2883}"/>
                  </a:ext>
                </a:extLst>
              </p:cNvPr>
              <p:cNvSpPr txBox="1">
                <a:spLocks noChangeArrowheads="1"/>
              </p:cNvSpPr>
              <p:nvPr/>
            </p:nvSpPr>
            <p:spPr bwMode="auto">
              <a:xfrm>
                <a:off x="2989" y="1595"/>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0" name="Text Box 8">
                <a:extLst>
                  <a:ext uri="{FF2B5EF4-FFF2-40B4-BE49-F238E27FC236}">
                    <a16:creationId xmlns:a16="http://schemas.microsoft.com/office/drawing/2014/main" id="{8EF0C697-B0BA-4004-8BA6-178BD3F8B8A2}"/>
                  </a:ext>
                </a:extLst>
              </p:cNvPr>
              <p:cNvSpPr txBox="1">
                <a:spLocks noChangeArrowheads="1"/>
              </p:cNvSpPr>
              <p:nvPr/>
            </p:nvSpPr>
            <p:spPr bwMode="auto">
              <a:xfrm>
                <a:off x="2988" y="3045"/>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a:ea typeface="+mn-ea"/>
                    <a:cs typeface="+mn-cs"/>
                  </a:rPr>
                  <a:t>Text</a:t>
                </a:r>
              </a:p>
            </p:txBody>
          </p:sp>
        </p:grpSp>
      </p:grpSp>
      <p:sp>
        <p:nvSpPr>
          <p:cNvPr id="3" name="Rectangle 2">
            <a:hlinkClick r:id="rId3" action="ppaction://hlinksldjump"/>
            <a:extLst>
              <a:ext uri="{FF2B5EF4-FFF2-40B4-BE49-F238E27FC236}">
                <a16:creationId xmlns:a16="http://schemas.microsoft.com/office/drawing/2014/main" id="{3A907379-5AAD-4ED8-8C80-98A2C323DC3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5966287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B9F31F-8341-8040-B5A2-C2DE852821EC}"/>
              </a:ext>
            </a:extLst>
          </p:cNvPr>
          <p:cNvSpPr>
            <a:spLocks noGrp="1"/>
          </p:cNvSpPr>
          <p:nvPr>
            <p:ph type="ctrTitle"/>
          </p:nvPr>
        </p:nvSpPr>
        <p:spPr/>
        <p:txBody>
          <a:bodyPr/>
          <a:lstStyle/>
          <a:p>
            <a:endParaRPr lang="en-US"/>
          </a:p>
        </p:txBody>
      </p:sp>
      <p:sp>
        <p:nvSpPr>
          <p:cNvPr id="4" name="Subtitle 3">
            <a:extLst>
              <a:ext uri="{FF2B5EF4-FFF2-40B4-BE49-F238E27FC236}">
                <a16:creationId xmlns:a16="http://schemas.microsoft.com/office/drawing/2014/main" id="{0ED0127F-7051-8C41-A69C-60D1D957C58D}"/>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706C8F49-5A77-524A-B2A6-274B70452760}"/>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22941512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9</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5">
            <a:extLst>
              <a:ext uri="{FF2B5EF4-FFF2-40B4-BE49-F238E27FC236}">
                <a16:creationId xmlns:a16="http://schemas.microsoft.com/office/drawing/2014/main" id="{F823DF79-2861-427F-86A1-8FBF1FDA8EA9}"/>
              </a:ext>
            </a:extLst>
          </p:cNvPr>
          <p:cNvSpPr>
            <a:spLocks noChangeArrowheads="1"/>
          </p:cNvSpPr>
          <p:nvPr/>
        </p:nvSpPr>
        <p:spPr bwMode="auto">
          <a:xfrm>
            <a:off x="1992314" y="1628800"/>
            <a:ext cx="3345436" cy="2349314"/>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Rectangle 5">
            <a:extLst>
              <a:ext uri="{FF2B5EF4-FFF2-40B4-BE49-F238E27FC236}">
                <a16:creationId xmlns:a16="http://schemas.microsoft.com/office/drawing/2014/main" id="{C4C54C36-0648-489B-AC7A-53F3C4C6A2F7}"/>
              </a:ext>
            </a:extLst>
          </p:cNvPr>
          <p:cNvSpPr>
            <a:spLocks noChangeArrowheads="1"/>
          </p:cNvSpPr>
          <p:nvPr/>
        </p:nvSpPr>
        <p:spPr bwMode="auto">
          <a:xfrm>
            <a:off x="6897748" y="3535309"/>
            <a:ext cx="3345436" cy="2349314"/>
          </a:xfrm>
          <a:prstGeom prst="rect">
            <a:avLst/>
          </a:prstGeom>
          <a:solidFill>
            <a:srgbClr val="96968C">
              <a:lumMod val="20000"/>
              <a:lumOff val="80000"/>
            </a:srgbClr>
          </a:solidFill>
          <a:ln w="6350">
            <a:noFill/>
            <a:miter lim="800000"/>
            <a:headEnd/>
            <a:tailEnd/>
          </a:ln>
        </p:spPr>
        <p:txBody>
          <a:bodyPr lIns="468000" tIns="540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grpSp>
        <p:nvGrpSpPr>
          <p:cNvPr id="7" name="Group 6">
            <a:extLst>
              <a:ext uri="{FF2B5EF4-FFF2-40B4-BE49-F238E27FC236}">
                <a16:creationId xmlns:a16="http://schemas.microsoft.com/office/drawing/2014/main" id="{C9460E18-32FF-4A91-8C42-5E98566A83BA}"/>
              </a:ext>
            </a:extLst>
          </p:cNvPr>
          <p:cNvGrpSpPr/>
          <p:nvPr/>
        </p:nvGrpSpPr>
        <p:grpSpPr bwMode="auto">
          <a:xfrm>
            <a:off x="3979958" y="2336814"/>
            <a:ext cx="4238879" cy="2859634"/>
            <a:chOff x="2376488" y="2649539"/>
            <a:chExt cx="4391025" cy="2962274"/>
          </a:xfrm>
        </p:grpSpPr>
        <p:grpSp>
          <p:nvGrpSpPr>
            <p:cNvPr id="8" name="Group 13">
              <a:extLst>
                <a:ext uri="{FF2B5EF4-FFF2-40B4-BE49-F238E27FC236}">
                  <a16:creationId xmlns:a16="http://schemas.microsoft.com/office/drawing/2014/main" id="{B7A22414-3CE2-4365-AD4F-6A5B4DEC8E13}"/>
                </a:ext>
              </a:extLst>
            </p:cNvPr>
            <p:cNvGrpSpPr>
              <a:grpSpLocks/>
            </p:cNvGrpSpPr>
            <p:nvPr/>
          </p:nvGrpSpPr>
          <p:grpSpPr bwMode="auto">
            <a:xfrm>
              <a:off x="2376488" y="4005263"/>
              <a:ext cx="3455987" cy="1606550"/>
              <a:chOff x="1497" y="2523"/>
              <a:chExt cx="2177" cy="1012"/>
            </a:xfrm>
          </p:grpSpPr>
          <p:sp>
            <p:nvSpPr>
              <p:cNvPr id="12" name="Freeform 6">
                <a:extLst>
                  <a:ext uri="{FF2B5EF4-FFF2-40B4-BE49-F238E27FC236}">
                    <a16:creationId xmlns:a16="http://schemas.microsoft.com/office/drawing/2014/main" id="{A8F9425F-1A9E-40AF-A520-9FBEE339C300}"/>
                  </a:ext>
                </a:extLst>
              </p:cNvPr>
              <p:cNvSpPr>
                <a:spLocks/>
              </p:cNvSpPr>
              <p:nvPr/>
            </p:nvSpPr>
            <p:spPr bwMode="auto">
              <a:xfrm>
                <a:off x="1497" y="2523"/>
                <a:ext cx="2177" cy="1012"/>
              </a:xfrm>
              <a:custGeom>
                <a:avLst/>
                <a:gdLst/>
                <a:ahLst/>
                <a:cxnLst>
                  <a:cxn ang="0">
                    <a:pos x="1396" y="197"/>
                  </a:cxn>
                  <a:cxn ang="0">
                    <a:pos x="1365" y="331"/>
                  </a:cxn>
                  <a:cxn ang="0">
                    <a:pos x="1310" y="446"/>
                  </a:cxn>
                  <a:cxn ang="0">
                    <a:pos x="1237" y="543"/>
                  </a:cxn>
                  <a:cxn ang="0">
                    <a:pos x="1147" y="621"/>
                  </a:cxn>
                  <a:cxn ang="0">
                    <a:pos x="1046" y="680"/>
                  </a:cxn>
                  <a:cxn ang="0">
                    <a:pos x="936" y="721"/>
                  </a:cxn>
                  <a:cxn ang="0">
                    <a:pos x="820" y="742"/>
                  </a:cxn>
                  <a:cxn ang="0">
                    <a:pos x="702" y="744"/>
                  </a:cxn>
                  <a:cxn ang="0">
                    <a:pos x="586" y="728"/>
                  </a:cxn>
                  <a:cxn ang="0">
                    <a:pos x="474" y="691"/>
                  </a:cxn>
                  <a:cxn ang="0">
                    <a:pos x="371" y="636"/>
                  </a:cxn>
                  <a:cxn ang="0">
                    <a:pos x="278" y="561"/>
                  </a:cxn>
                  <a:cxn ang="0">
                    <a:pos x="201" y="467"/>
                  </a:cxn>
                  <a:cxn ang="0">
                    <a:pos x="142" y="353"/>
                  </a:cxn>
                  <a:cxn ang="0">
                    <a:pos x="105" y="220"/>
                  </a:cxn>
                  <a:cxn ang="0">
                    <a:pos x="0" y="147"/>
                  </a:cxn>
                  <a:cxn ang="0">
                    <a:pos x="575" y="163"/>
                  </a:cxn>
                  <a:cxn ang="0">
                    <a:pos x="496" y="202"/>
                  </a:cxn>
                  <a:cxn ang="0">
                    <a:pos x="528" y="278"/>
                  </a:cxn>
                  <a:cxn ang="0">
                    <a:pos x="572" y="342"/>
                  </a:cxn>
                  <a:cxn ang="0">
                    <a:pos x="629" y="394"/>
                  </a:cxn>
                  <a:cxn ang="0">
                    <a:pos x="694" y="434"/>
                  </a:cxn>
                  <a:cxn ang="0">
                    <a:pos x="766" y="462"/>
                  </a:cxn>
                  <a:cxn ang="0">
                    <a:pos x="843" y="480"/>
                  </a:cxn>
                  <a:cxn ang="0">
                    <a:pos x="922" y="487"/>
                  </a:cxn>
                  <a:cxn ang="0">
                    <a:pos x="1042" y="477"/>
                  </a:cxn>
                  <a:cxn ang="0">
                    <a:pos x="1119" y="457"/>
                  </a:cxn>
                  <a:cxn ang="0">
                    <a:pos x="1191" y="425"/>
                  </a:cxn>
                  <a:cxn ang="0">
                    <a:pos x="1256" y="384"/>
                  </a:cxn>
                  <a:cxn ang="0">
                    <a:pos x="1312" y="334"/>
                  </a:cxn>
                  <a:cxn ang="0">
                    <a:pos x="1357" y="273"/>
                  </a:cxn>
                  <a:cxn ang="0">
                    <a:pos x="1388" y="203"/>
                  </a:cxn>
                  <a:cxn ang="0">
                    <a:pos x="1403" y="123"/>
                  </a:cxn>
                </a:cxnLst>
                <a:rect l="0" t="0" r="r" b="b"/>
                <a:pathLst>
                  <a:path w="1404" h="745">
                    <a:moveTo>
                      <a:pt x="1403" y="123"/>
                    </a:moveTo>
                    <a:lnTo>
                      <a:pt x="1396" y="197"/>
                    </a:lnTo>
                    <a:lnTo>
                      <a:pt x="1384" y="266"/>
                    </a:lnTo>
                    <a:lnTo>
                      <a:pt x="1365" y="331"/>
                    </a:lnTo>
                    <a:lnTo>
                      <a:pt x="1340" y="391"/>
                    </a:lnTo>
                    <a:lnTo>
                      <a:pt x="1310" y="446"/>
                    </a:lnTo>
                    <a:lnTo>
                      <a:pt x="1275" y="498"/>
                    </a:lnTo>
                    <a:lnTo>
                      <a:pt x="1237" y="543"/>
                    </a:lnTo>
                    <a:lnTo>
                      <a:pt x="1194" y="585"/>
                    </a:lnTo>
                    <a:lnTo>
                      <a:pt x="1147" y="621"/>
                    </a:lnTo>
                    <a:lnTo>
                      <a:pt x="1098" y="654"/>
                    </a:lnTo>
                    <a:lnTo>
                      <a:pt x="1046" y="680"/>
                    </a:lnTo>
                    <a:lnTo>
                      <a:pt x="991" y="703"/>
                    </a:lnTo>
                    <a:lnTo>
                      <a:pt x="936" y="721"/>
                    </a:lnTo>
                    <a:lnTo>
                      <a:pt x="878" y="734"/>
                    </a:lnTo>
                    <a:lnTo>
                      <a:pt x="820" y="742"/>
                    </a:lnTo>
                    <a:lnTo>
                      <a:pt x="761" y="744"/>
                    </a:lnTo>
                    <a:lnTo>
                      <a:pt x="702" y="744"/>
                    </a:lnTo>
                    <a:lnTo>
                      <a:pt x="643" y="738"/>
                    </a:lnTo>
                    <a:lnTo>
                      <a:pt x="586" y="728"/>
                    </a:lnTo>
                    <a:lnTo>
                      <a:pt x="529" y="712"/>
                    </a:lnTo>
                    <a:lnTo>
                      <a:pt x="474" y="691"/>
                    </a:lnTo>
                    <a:lnTo>
                      <a:pt x="421" y="666"/>
                    </a:lnTo>
                    <a:lnTo>
                      <a:pt x="371" y="636"/>
                    </a:lnTo>
                    <a:lnTo>
                      <a:pt x="322" y="601"/>
                    </a:lnTo>
                    <a:lnTo>
                      <a:pt x="278" y="561"/>
                    </a:lnTo>
                    <a:lnTo>
                      <a:pt x="237" y="517"/>
                    </a:lnTo>
                    <a:lnTo>
                      <a:pt x="201" y="467"/>
                    </a:lnTo>
                    <a:lnTo>
                      <a:pt x="169" y="413"/>
                    </a:lnTo>
                    <a:lnTo>
                      <a:pt x="142" y="353"/>
                    </a:lnTo>
                    <a:lnTo>
                      <a:pt x="120" y="289"/>
                    </a:lnTo>
                    <a:lnTo>
                      <a:pt x="105" y="220"/>
                    </a:lnTo>
                    <a:lnTo>
                      <a:pt x="96" y="147"/>
                    </a:lnTo>
                    <a:lnTo>
                      <a:pt x="0" y="147"/>
                    </a:lnTo>
                    <a:lnTo>
                      <a:pt x="299" y="0"/>
                    </a:lnTo>
                    <a:lnTo>
                      <a:pt x="575" y="163"/>
                    </a:lnTo>
                    <a:lnTo>
                      <a:pt x="486" y="160"/>
                    </a:lnTo>
                    <a:lnTo>
                      <a:pt x="496" y="202"/>
                    </a:lnTo>
                    <a:lnTo>
                      <a:pt x="510" y="242"/>
                    </a:lnTo>
                    <a:lnTo>
                      <a:pt x="528" y="278"/>
                    </a:lnTo>
                    <a:lnTo>
                      <a:pt x="549" y="311"/>
                    </a:lnTo>
                    <a:lnTo>
                      <a:pt x="572" y="342"/>
                    </a:lnTo>
                    <a:lnTo>
                      <a:pt x="599" y="369"/>
                    </a:lnTo>
                    <a:lnTo>
                      <a:pt x="629" y="394"/>
                    </a:lnTo>
                    <a:lnTo>
                      <a:pt x="660" y="416"/>
                    </a:lnTo>
                    <a:lnTo>
                      <a:pt x="694" y="434"/>
                    </a:lnTo>
                    <a:lnTo>
                      <a:pt x="729" y="450"/>
                    </a:lnTo>
                    <a:lnTo>
                      <a:pt x="766" y="462"/>
                    </a:lnTo>
                    <a:lnTo>
                      <a:pt x="804" y="473"/>
                    </a:lnTo>
                    <a:lnTo>
                      <a:pt x="843" y="480"/>
                    </a:lnTo>
                    <a:lnTo>
                      <a:pt x="882" y="485"/>
                    </a:lnTo>
                    <a:lnTo>
                      <a:pt x="922" y="487"/>
                    </a:lnTo>
                    <a:lnTo>
                      <a:pt x="962" y="486"/>
                    </a:lnTo>
                    <a:lnTo>
                      <a:pt x="1042" y="477"/>
                    </a:lnTo>
                    <a:lnTo>
                      <a:pt x="1081" y="468"/>
                    </a:lnTo>
                    <a:lnTo>
                      <a:pt x="1119" y="457"/>
                    </a:lnTo>
                    <a:lnTo>
                      <a:pt x="1155" y="442"/>
                    </a:lnTo>
                    <a:lnTo>
                      <a:pt x="1191" y="425"/>
                    </a:lnTo>
                    <a:lnTo>
                      <a:pt x="1224" y="406"/>
                    </a:lnTo>
                    <a:lnTo>
                      <a:pt x="1256" y="384"/>
                    </a:lnTo>
                    <a:lnTo>
                      <a:pt x="1285" y="361"/>
                    </a:lnTo>
                    <a:lnTo>
                      <a:pt x="1312" y="334"/>
                    </a:lnTo>
                    <a:lnTo>
                      <a:pt x="1336" y="304"/>
                    </a:lnTo>
                    <a:lnTo>
                      <a:pt x="1357" y="273"/>
                    </a:lnTo>
                    <a:lnTo>
                      <a:pt x="1373" y="239"/>
                    </a:lnTo>
                    <a:lnTo>
                      <a:pt x="1388" y="203"/>
                    </a:lnTo>
                    <a:lnTo>
                      <a:pt x="1397" y="164"/>
                    </a:lnTo>
                    <a:lnTo>
                      <a:pt x="1403" y="123"/>
                    </a:lnTo>
                  </a:path>
                </a:pathLst>
              </a:custGeom>
              <a:solidFill>
                <a:srgbClr val="A055F5"/>
              </a:solidFill>
              <a:ln w="63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 name="Text Box 8">
                <a:extLst>
                  <a:ext uri="{FF2B5EF4-FFF2-40B4-BE49-F238E27FC236}">
                    <a16:creationId xmlns:a16="http://schemas.microsoft.com/office/drawing/2014/main" id="{0FCEE2ED-D7FA-4A9C-89CD-D21BAE0A88B9}"/>
                  </a:ext>
                </a:extLst>
              </p:cNvPr>
              <p:cNvSpPr txBox="1">
                <a:spLocks noChangeArrowheads="1"/>
              </p:cNvSpPr>
              <p:nvPr/>
            </p:nvSpPr>
            <p:spPr bwMode="auto">
              <a:xfrm>
                <a:off x="1791" y="2740"/>
                <a:ext cx="352" cy="24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grpSp>
        <p:grpSp>
          <p:nvGrpSpPr>
            <p:cNvPr id="9" name="Group 14">
              <a:extLst>
                <a:ext uri="{FF2B5EF4-FFF2-40B4-BE49-F238E27FC236}">
                  <a16:creationId xmlns:a16="http://schemas.microsoft.com/office/drawing/2014/main" id="{7DD7C130-A2A4-437E-9D90-B1D8E192DB7E}"/>
                </a:ext>
              </a:extLst>
            </p:cNvPr>
            <p:cNvGrpSpPr>
              <a:grpSpLocks/>
            </p:cNvGrpSpPr>
            <p:nvPr/>
          </p:nvGrpSpPr>
          <p:grpSpPr bwMode="auto">
            <a:xfrm>
              <a:off x="3314700" y="2649539"/>
              <a:ext cx="3452813" cy="1609725"/>
              <a:chOff x="2088" y="1669"/>
              <a:chExt cx="2175" cy="1014"/>
            </a:xfrm>
            <a:solidFill>
              <a:srgbClr val="DCAFFF"/>
            </a:solidFill>
          </p:grpSpPr>
          <p:sp>
            <p:nvSpPr>
              <p:cNvPr id="10" name="Freeform 7">
                <a:extLst>
                  <a:ext uri="{FF2B5EF4-FFF2-40B4-BE49-F238E27FC236}">
                    <a16:creationId xmlns:a16="http://schemas.microsoft.com/office/drawing/2014/main" id="{40ACC854-56A4-4146-84DA-9D4D4E4F3B56}"/>
                  </a:ext>
                </a:extLst>
              </p:cNvPr>
              <p:cNvSpPr>
                <a:spLocks/>
              </p:cNvSpPr>
              <p:nvPr/>
            </p:nvSpPr>
            <p:spPr bwMode="auto">
              <a:xfrm>
                <a:off x="2088" y="1669"/>
                <a:ext cx="2175" cy="1014"/>
              </a:xfrm>
              <a:custGeom>
                <a:avLst/>
                <a:gdLst/>
                <a:ahLst/>
                <a:cxnLst>
                  <a:cxn ang="0">
                    <a:pos x="3" y="585"/>
                  </a:cxn>
                  <a:cxn ang="0">
                    <a:pos x="12" y="513"/>
                  </a:cxn>
                  <a:cxn ang="0">
                    <a:pos x="29" y="446"/>
                  </a:cxn>
                  <a:cxn ang="0">
                    <a:pos x="51" y="383"/>
                  </a:cxn>
                  <a:cxn ang="0">
                    <a:pos x="94" y="299"/>
                  </a:cxn>
                  <a:cxn ang="0">
                    <a:pos x="167" y="202"/>
                  </a:cxn>
                  <a:cxn ang="0">
                    <a:pos x="232" y="142"/>
                  </a:cxn>
                  <a:cxn ang="0">
                    <a:pos x="306" y="92"/>
                  </a:cxn>
                  <a:cxn ang="0">
                    <a:pos x="412" y="42"/>
                  </a:cxn>
                  <a:cxn ang="0">
                    <a:pos x="467" y="25"/>
                  </a:cxn>
                  <a:cxn ang="0">
                    <a:pos x="525" y="11"/>
                  </a:cxn>
                  <a:cxn ang="0">
                    <a:pos x="583" y="4"/>
                  </a:cxn>
                  <a:cxn ang="0">
                    <a:pos x="642" y="0"/>
                  </a:cxn>
                  <a:cxn ang="0">
                    <a:pos x="760" y="7"/>
                  </a:cxn>
                  <a:cxn ang="0">
                    <a:pos x="874" y="33"/>
                  </a:cxn>
                  <a:cxn ang="0">
                    <a:pos x="956" y="66"/>
                  </a:cxn>
                  <a:cxn ang="0">
                    <a:pos x="1007" y="93"/>
                  </a:cxn>
                  <a:cxn ang="0">
                    <a:pos x="1081" y="145"/>
                  </a:cxn>
                  <a:cxn ang="0">
                    <a:pos x="1125" y="185"/>
                  </a:cxn>
                  <a:cxn ang="0">
                    <a:pos x="1166" y="229"/>
                  </a:cxn>
                  <a:cxn ang="0">
                    <a:pos x="1234" y="333"/>
                  </a:cxn>
                  <a:cxn ang="0">
                    <a:pos x="1282" y="457"/>
                  </a:cxn>
                  <a:cxn ang="0">
                    <a:pos x="1307" y="599"/>
                  </a:cxn>
                  <a:cxn ang="0">
                    <a:pos x="1104" y="746"/>
                  </a:cxn>
                  <a:cxn ang="0">
                    <a:pos x="917" y="585"/>
                  </a:cxn>
                  <a:cxn ang="0">
                    <a:pos x="894" y="503"/>
                  </a:cxn>
                  <a:cxn ang="0">
                    <a:pos x="854" y="434"/>
                  </a:cxn>
                  <a:cxn ang="0">
                    <a:pos x="804" y="376"/>
                  </a:cxn>
                  <a:cxn ang="0">
                    <a:pos x="744" y="330"/>
                  </a:cxn>
                  <a:cxn ang="0">
                    <a:pos x="675" y="295"/>
                  </a:cxn>
                  <a:cxn ang="0">
                    <a:pos x="599" y="272"/>
                  </a:cxn>
                  <a:cxn ang="0">
                    <a:pos x="521" y="261"/>
                  </a:cxn>
                  <a:cxn ang="0">
                    <a:pos x="441" y="260"/>
                  </a:cxn>
                  <a:cxn ang="0">
                    <a:pos x="360" y="269"/>
                  </a:cxn>
                  <a:cxn ang="0">
                    <a:pos x="284" y="289"/>
                  </a:cxn>
                  <a:cxn ang="0">
                    <a:pos x="212" y="320"/>
                  </a:cxn>
                  <a:cxn ang="0">
                    <a:pos x="147" y="361"/>
                  </a:cxn>
                  <a:cxn ang="0">
                    <a:pos x="92" y="412"/>
                  </a:cxn>
                  <a:cxn ang="0">
                    <a:pos x="47" y="473"/>
                  </a:cxn>
                  <a:cxn ang="0">
                    <a:pos x="16" y="543"/>
                  </a:cxn>
                  <a:cxn ang="0">
                    <a:pos x="0" y="623"/>
                  </a:cxn>
                </a:cxnLst>
                <a:rect l="0" t="0" r="r" b="b"/>
                <a:pathLst>
                  <a:path w="1402" h="747">
                    <a:moveTo>
                      <a:pt x="0" y="623"/>
                    </a:moveTo>
                    <a:lnTo>
                      <a:pt x="3" y="585"/>
                    </a:lnTo>
                    <a:lnTo>
                      <a:pt x="7" y="548"/>
                    </a:lnTo>
                    <a:lnTo>
                      <a:pt x="12" y="513"/>
                    </a:lnTo>
                    <a:lnTo>
                      <a:pt x="19" y="480"/>
                    </a:lnTo>
                    <a:lnTo>
                      <a:pt x="29" y="446"/>
                    </a:lnTo>
                    <a:lnTo>
                      <a:pt x="38" y="414"/>
                    </a:lnTo>
                    <a:lnTo>
                      <a:pt x="51" y="383"/>
                    </a:lnTo>
                    <a:lnTo>
                      <a:pt x="63" y="354"/>
                    </a:lnTo>
                    <a:lnTo>
                      <a:pt x="94" y="299"/>
                    </a:lnTo>
                    <a:lnTo>
                      <a:pt x="128" y="248"/>
                    </a:lnTo>
                    <a:lnTo>
                      <a:pt x="167" y="202"/>
                    </a:lnTo>
                    <a:lnTo>
                      <a:pt x="210" y="161"/>
                    </a:lnTo>
                    <a:lnTo>
                      <a:pt x="232" y="142"/>
                    </a:lnTo>
                    <a:lnTo>
                      <a:pt x="256" y="124"/>
                    </a:lnTo>
                    <a:lnTo>
                      <a:pt x="306" y="92"/>
                    </a:lnTo>
                    <a:lnTo>
                      <a:pt x="357" y="65"/>
                    </a:lnTo>
                    <a:lnTo>
                      <a:pt x="412" y="42"/>
                    </a:lnTo>
                    <a:lnTo>
                      <a:pt x="440" y="32"/>
                    </a:lnTo>
                    <a:lnTo>
                      <a:pt x="467" y="25"/>
                    </a:lnTo>
                    <a:lnTo>
                      <a:pt x="496" y="17"/>
                    </a:lnTo>
                    <a:lnTo>
                      <a:pt x="525" y="11"/>
                    </a:lnTo>
                    <a:lnTo>
                      <a:pt x="554" y="7"/>
                    </a:lnTo>
                    <a:lnTo>
                      <a:pt x="583" y="4"/>
                    </a:lnTo>
                    <a:lnTo>
                      <a:pt x="613" y="1"/>
                    </a:lnTo>
                    <a:lnTo>
                      <a:pt x="642" y="0"/>
                    </a:lnTo>
                    <a:lnTo>
                      <a:pt x="701" y="1"/>
                    </a:lnTo>
                    <a:lnTo>
                      <a:pt x="760" y="7"/>
                    </a:lnTo>
                    <a:lnTo>
                      <a:pt x="818" y="18"/>
                    </a:lnTo>
                    <a:lnTo>
                      <a:pt x="874" y="33"/>
                    </a:lnTo>
                    <a:lnTo>
                      <a:pt x="929" y="54"/>
                    </a:lnTo>
                    <a:lnTo>
                      <a:pt x="956" y="66"/>
                    </a:lnTo>
                    <a:lnTo>
                      <a:pt x="982" y="79"/>
                    </a:lnTo>
                    <a:lnTo>
                      <a:pt x="1007" y="93"/>
                    </a:lnTo>
                    <a:lnTo>
                      <a:pt x="1033" y="109"/>
                    </a:lnTo>
                    <a:lnTo>
                      <a:pt x="1081" y="145"/>
                    </a:lnTo>
                    <a:lnTo>
                      <a:pt x="1103" y="164"/>
                    </a:lnTo>
                    <a:lnTo>
                      <a:pt x="1125" y="185"/>
                    </a:lnTo>
                    <a:lnTo>
                      <a:pt x="1146" y="206"/>
                    </a:lnTo>
                    <a:lnTo>
                      <a:pt x="1166" y="229"/>
                    </a:lnTo>
                    <a:lnTo>
                      <a:pt x="1202" y="278"/>
                    </a:lnTo>
                    <a:lnTo>
                      <a:pt x="1234" y="333"/>
                    </a:lnTo>
                    <a:lnTo>
                      <a:pt x="1261" y="392"/>
                    </a:lnTo>
                    <a:lnTo>
                      <a:pt x="1282" y="457"/>
                    </a:lnTo>
                    <a:lnTo>
                      <a:pt x="1298" y="525"/>
                    </a:lnTo>
                    <a:lnTo>
                      <a:pt x="1307" y="599"/>
                    </a:lnTo>
                    <a:lnTo>
                      <a:pt x="1401" y="599"/>
                    </a:lnTo>
                    <a:lnTo>
                      <a:pt x="1104" y="746"/>
                    </a:lnTo>
                    <a:lnTo>
                      <a:pt x="828" y="583"/>
                    </a:lnTo>
                    <a:lnTo>
                      <a:pt x="917" y="585"/>
                    </a:lnTo>
                    <a:lnTo>
                      <a:pt x="908" y="543"/>
                    </a:lnTo>
                    <a:lnTo>
                      <a:pt x="894" y="503"/>
                    </a:lnTo>
                    <a:lnTo>
                      <a:pt x="875" y="467"/>
                    </a:lnTo>
                    <a:lnTo>
                      <a:pt x="854" y="434"/>
                    </a:lnTo>
                    <a:lnTo>
                      <a:pt x="830" y="403"/>
                    </a:lnTo>
                    <a:lnTo>
                      <a:pt x="804" y="376"/>
                    </a:lnTo>
                    <a:lnTo>
                      <a:pt x="775" y="351"/>
                    </a:lnTo>
                    <a:lnTo>
                      <a:pt x="744" y="330"/>
                    </a:lnTo>
                    <a:lnTo>
                      <a:pt x="710" y="311"/>
                    </a:lnTo>
                    <a:lnTo>
                      <a:pt x="675" y="295"/>
                    </a:lnTo>
                    <a:lnTo>
                      <a:pt x="637" y="283"/>
                    </a:lnTo>
                    <a:lnTo>
                      <a:pt x="599" y="272"/>
                    </a:lnTo>
                    <a:lnTo>
                      <a:pt x="561" y="265"/>
                    </a:lnTo>
                    <a:lnTo>
                      <a:pt x="521" y="261"/>
                    </a:lnTo>
                    <a:lnTo>
                      <a:pt x="481" y="259"/>
                    </a:lnTo>
                    <a:lnTo>
                      <a:pt x="441" y="260"/>
                    </a:lnTo>
                    <a:lnTo>
                      <a:pt x="400" y="263"/>
                    </a:lnTo>
                    <a:lnTo>
                      <a:pt x="360" y="269"/>
                    </a:lnTo>
                    <a:lnTo>
                      <a:pt x="322" y="278"/>
                    </a:lnTo>
                    <a:lnTo>
                      <a:pt x="284" y="289"/>
                    </a:lnTo>
                    <a:lnTo>
                      <a:pt x="248" y="304"/>
                    </a:lnTo>
                    <a:lnTo>
                      <a:pt x="212" y="320"/>
                    </a:lnTo>
                    <a:lnTo>
                      <a:pt x="179" y="339"/>
                    </a:lnTo>
                    <a:lnTo>
                      <a:pt x="147" y="361"/>
                    </a:lnTo>
                    <a:lnTo>
                      <a:pt x="118" y="385"/>
                    </a:lnTo>
                    <a:lnTo>
                      <a:pt x="92" y="412"/>
                    </a:lnTo>
                    <a:lnTo>
                      <a:pt x="68" y="441"/>
                    </a:lnTo>
                    <a:lnTo>
                      <a:pt x="47" y="473"/>
                    </a:lnTo>
                    <a:lnTo>
                      <a:pt x="30" y="506"/>
                    </a:lnTo>
                    <a:lnTo>
                      <a:pt x="16" y="543"/>
                    </a:lnTo>
                    <a:lnTo>
                      <a:pt x="6" y="581"/>
                    </a:lnTo>
                    <a:lnTo>
                      <a:pt x="0" y="623"/>
                    </a:lnTo>
                  </a:path>
                </a:pathLst>
              </a:custGeom>
              <a:solidFill>
                <a:srgbClr val="A100FF"/>
              </a:solidFill>
              <a:ln w="63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Text Box 9">
                <a:extLst>
                  <a:ext uri="{FF2B5EF4-FFF2-40B4-BE49-F238E27FC236}">
                    <a16:creationId xmlns:a16="http://schemas.microsoft.com/office/drawing/2014/main" id="{F80A241D-6D86-4149-862B-DA68EEC504EF}"/>
                  </a:ext>
                </a:extLst>
              </p:cNvPr>
              <p:cNvSpPr txBox="1">
                <a:spLocks noChangeArrowheads="1"/>
              </p:cNvSpPr>
              <p:nvPr/>
            </p:nvSpPr>
            <p:spPr bwMode="auto">
              <a:xfrm>
                <a:off x="3590" y="2295"/>
                <a:ext cx="353" cy="24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endParaRPr kumimoji="0" lang="en-US" sz="1600" b="1" i="0" u="none" strike="noStrike" kern="0" cap="none" spc="0" normalizeH="0" baseline="0" noProof="0" dirty="0">
                  <a:ln>
                    <a:noFill/>
                  </a:ln>
                  <a:solidFill>
                    <a:srgbClr val="FFFFFF"/>
                  </a:solidFill>
                  <a:effectLst/>
                  <a:uLnTx/>
                  <a:uFillTx/>
                  <a:latin typeface="Graphik"/>
                  <a:ea typeface="+mn-ea"/>
                  <a:cs typeface="+mn-cs"/>
                </a:endParaRPr>
              </a:p>
            </p:txBody>
          </p:sp>
        </p:grpSp>
      </p:grpSp>
      <p:sp>
        <p:nvSpPr>
          <p:cNvPr id="3" name="Rectangle 2">
            <a:hlinkClick r:id="rId3" action="ppaction://hlinksldjump"/>
            <a:extLst>
              <a:ext uri="{FF2B5EF4-FFF2-40B4-BE49-F238E27FC236}">
                <a16:creationId xmlns:a16="http://schemas.microsoft.com/office/drawing/2014/main" id="{2156A539-F706-42B6-9E9B-20B231CCCE3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69364143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10</a:t>
            </a:r>
            <a:br>
              <a:rPr lang="de-DE" dirty="0"/>
            </a:br>
            <a:endParaRPr lang="en-GB" dirty="0"/>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3">
            <a:extLst>
              <a:ext uri="{FF2B5EF4-FFF2-40B4-BE49-F238E27FC236}">
                <a16:creationId xmlns:a16="http://schemas.microsoft.com/office/drawing/2014/main" id="{0CE52429-B089-452E-BDF4-B6A711F07E07}"/>
              </a:ext>
            </a:extLst>
          </p:cNvPr>
          <p:cNvGrpSpPr>
            <a:grpSpLocks/>
          </p:cNvGrpSpPr>
          <p:nvPr/>
        </p:nvGrpSpPr>
        <p:grpSpPr bwMode="auto">
          <a:xfrm>
            <a:off x="2495600" y="1628776"/>
            <a:ext cx="7277188" cy="4212493"/>
            <a:chOff x="1152" y="1458"/>
            <a:chExt cx="3936" cy="1909"/>
          </a:xfrm>
        </p:grpSpPr>
        <p:sp>
          <p:nvSpPr>
            <p:cNvPr id="6" name="Freeform 4">
              <a:extLst>
                <a:ext uri="{FF2B5EF4-FFF2-40B4-BE49-F238E27FC236}">
                  <a16:creationId xmlns:a16="http://schemas.microsoft.com/office/drawing/2014/main" id="{B4D6AB69-7E6E-40B5-BD30-76A4290E6C58}"/>
                </a:ext>
              </a:extLst>
            </p:cNvPr>
            <p:cNvSpPr>
              <a:spLocks/>
            </p:cNvSpPr>
            <p:nvPr/>
          </p:nvSpPr>
          <p:spPr bwMode="auto">
            <a:xfrm>
              <a:off x="1976" y="1458"/>
              <a:ext cx="3112" cy="1909"/>
            </a:xfrm>
            <a:custGeom>
              <a:avLst/>
              <a:gdLst/>
              <a:ahLst/>
              <a:cxnLst>
                <a:cxn ang="0">
                  <a:pos x="1892" y="1296"/>
                </a:cxn>
                <a:cxn ang="0">
                  <a:pos x="1892" y="705"/>
                </a:cxn>
                <a:cxn ang="0">
                  <a:pos x="1889" y="647"/>
                </a:cxn>
                <a:cxn ang="0">
                  <a:pos x="1881" y="589"/>
                </a:cxn>
                <a:cxn ang="0">
                  <a:pos x="1867" y="522"/>
                </a:cxn>
                <a:cxn ang="0">
                  <a:pos x="1843" y="453"/>
                </a:cxn>
                <a:cxn ang="0">
                  <a:pos x="1824" y="400"/>
                </a:cxn>
                <a:cxn ang="0">
                  <a:pos x="1790" y="331"/>
                </a:cxn>
                <a:cxn ang="0">
                  <a:pos x="1764" y="289"/>
                </a:cxn>
                <a:cxn ang="0">
                  <a:pos x="1727" y="240"/>
                </a:cxn>
                <a:cxn ang="0">
                  <a:pos x="1694" y="204"/>
                </a:cxn>
                <a:cxn ang="0">
                  <a:pos x="1656" y="169"/>
                </a:cxn>
                <a:cxn ang="0">
                  <a:pos x="1627" y="147"/>
                </a:cxn>
                <a:cxn ang="0">
                  <a:pos x="1590" y="119"/>
                </a:cxn>
                <a:cxn ang="0">
                  <a:pos x="1558" y="99"/>
                </a:cxn>
                <a:cxn ang="0">
                  <a:pos x="1525" y="81"/>
                </a:cxn>
                <a:cxn ang="0">
                  <a:pos x="1496" y="67"/>
                </a:cxn>
                <a:cxn ang="0">
                  <a:pos x="1457" y="52"/>
                </a:cxn>
                <a:cxn ang="0">
                  <a:pos x="1425" y="39"/>
                </a:cxn>
                <a:cxn ang="0">
                  <a:pos x="1384" y="28"/>
                </a:cxn>
                <a:cxn ang="0">
                  <a:pos x="1346" y="18"/>
                </a:cxn>
                <a:cxn ang="0">
                  <a:pos x="1306" y="13"/>
                </a:cxn>
                <a:cxn ang="0">
                  <a:pos x="1266" y="7"/>
                </a:cxn>
                <a:cxn ang="0">
                  <a:pos x="1216" y="4"/>
                </a:cxn>
                <a:cxn ang="0">
                  <a:pos x="1177" y="3"/>
                </a:cxn>
                <a:cxn ang="0">
                  <a:pos x="1133" y="1"/>
                </a:cxn>
                <a:cxn ang="0">
                  <a:pos x="1091" y="0"/>
                </a:cxn>
                <a:cxn ang="0">
                  <a:pos x="1046" y="0"/>
                </a:cxn>
                <a:cxn ang="0">
                  <a:pos x="0" y="0"/>
                </a:cxn>
                <a:cxn ang="0">
                  <a:pos x="365" y="353"/>
                </a:cxn>
                <a:cxn ang="0">
                  <a:pos x="1049" y="354"/>
                </a:cxn>
                <a:cxn ang="0">
                  <a:pos x="1091" y="356"/>
                </a:cxn>
                <a:cxn ang="0">
                  <a:pos x="1135" y="360"/>
                </a:cxn>
                <a:cxn ang="0">
                  <a:pos x="1179" y="368"/>
                </a:cxn>
                <a:cxn ang="0">
                  <a:pos x="1221" y="380"/>
                </a:cxn>
                <a:cxn ang="0">
                  <a:pos x="1261" y="396"/>
                </a:cxn>
                <a:cxn ang="0">
                  <a:pos x="1300" y="417"/>
                </a:cxn>
                <a:cxn ang="0">
                  <a:pos x="1334" y="442"/>
                </a:cxn>
                <a:cxn ang="0">
                  <a:pos x="1367" y="470"/>
                </a:cxn>
                <a:cxn ang="0">
                  <a:pos x="1394" y="501"/>
                </a:cxn>
                <a:cxn ang="0">
                  <a:pos x="1418" y="535"/>
                </a:cxn>
                <a:cxn ang="0">
                  <a:pos x="1437" y="570"/>
                </a:cxn>
                <a:cxn ang="0">
                  <a:pos x="1450" y="608"/>
                </a:cxn>
                <a:cxn ang="0">
                  <a:pos x="1459" y="647"/>
                </a:cxn>
                <a:cxn ang="0">
                  <a:pos x="1464" y="687"/>
                </a:cxn>
                <a:cxn ang="0">
                  <a:pos x="1464" y="729"/>
                </a:cxn>
                <a:cxn ang="0">
                  <a:pos x="1464" y="1298"/>
                </a:cxn>
                <a:cxn ang="0">
                  <a:pos x="1275" y="1298"/>
                </a:cxn>
                <a:cxn ang="0">
                  <a:pos x="1671" y="1667"/>
                </a:cxn>
                <a:cxn ang="0">
                  <a:pos x="2091" y="1296"/>
                </a:cxn>
                <a:cxn ang="0">
                  <a:pos x="1892" y="1296"/>
                </a:cxn>
              </a:cxnLst>
              <a:rect l="0" t="0" r="r" b="b"/>
              <a:pathLst>
                <a:path w="2092" h="1668">
                  <a:moveTo>
                    <a:pt x="1892" y="1296"/>
                  </a:moveTo>
                  <a:lnTo>
                    <a:pt x="1892" y="705"/>
                  </a:lnTo>
                  <a:lnTo>
                    <a:pt x="1889" y="647"/>
                  </a:lnTo>
                  <a:lnTo>
                    <a:pt x="1881" y="589"/>
                  </a:lnTo>
                  <a:lnTo>
                    <a:pt x="1867" y="522"/>
                  </a:lnTo>
                  <a:lnTo>
                    <a:pt x="1843" y="453"/>
                  </a:lnTo>
                  <a:lnTo>
                    <a:pt x="1824" y="400"/>
                  </a:lnTo>
                  <a:lnTo>
                    <a:pt x="1790" y="331"/>
                  </a:lnTo>
                  <a:lnTo>
                    <a:pt x="1764" y="289"/>
                  </a:lnTo>
                  <a:lnTo>
                    <a:pt x="1727" y="240"/>
                  </a:lnTo>
                  <a:lnTo>
                    <a:pt x="1694" y="204"/>
                  </a:lnTo>
                  <a:lnTo>
                    <a:pt x="1656" y="169"/>
                  </a:lnTo>
                  <a:lnTo>
                    <a:pt x="1627" y="147"/>
                  </a:lnTo>
                  <a:lnTo>
                    <a:pt x="1590" y="119"/>
                  </a:lnTo>
                  <a:lnTo>
                    <a:pt x="1558" y="99"/>
                  </a:lnTo>
                  <a:lnTo>
                    <a:pt x="1525" y="81"/>
                  </a:lnTo>
                  <a:lnTo>
                    <a:pt x="1496" y="67"/>
                  </a:lnTo>
                  <a:lnTo>
                    <a:pt x="1457" y="52"/>
                  </a:lnTo>
                  <a:lnTo>
                    <a:pt x="1425" y="39"/>
                  </a:lnTo>
                  <a:lnTo>
                    <a:pt x="1384" y="28"/>
                  </a:lnTo>
                  <a:lnTo>
                    <a:pt x="1346" y="18"/>
                  </a:lnTo>
                  <a:lnTo>
                    <a:pt x="1306" y="13"/>
                  </a:lnTo>
                  <a:lnTo>
                    <a:pt x="1266" y="7"/>
                  </a:lnTo>
                  <a:lnTo>
                    <a:pt x="1216" y="4"/>
                  </a:lnTo>
                  <a:lnTo>
                    <a:pt x="1177" y="3"/>
                  </a:lnTo>
                  <a:lnTo>
                    <a:pt x="1133" y="1"/>
                  </a:lnTo>
                  <a:lnTo>
                    <a:pt x="1091" y="0"/>
                  </a:lnTo>
                  <a:lnTo>
                    <a:pt x="1046" y="0"/>
                  </a:lnTo>
                  <a:lnTo>
                    <a:pt x="0" y="0"/>
                  </a:lnTo>
                  <a:lnTo>
                    <a:pt x="365" y="353"/>
                  </a:lnTo>
                  <a:lnTo>
                    <a:pt x="1049" y="354"/>
                  </a:lnTo>
                  <a:lnTo>
                    <a:pt x="1091" y="356"/>
                  </a:lnTo>
                  <a:lnTo>
                    <a:pt x="1135" y="360"/>
                  </a:lnTo>
                  <a:lnTo>
                    <a:pt x="1179" y="368"/>
                  </a:lnTo>
                  <a:lnTo>
                    <a:pt x="1221" y="380"/>
                  </a:lnTo>
                  <a:lnTo>
                    <a:pt x="1261" y="396"/>
                  </a:lnTo>
                  <a:lnTo>
                    <a:pt x="1300" y="417"/>
                  </a:lnTo>
                  <a:lnTo>
                    <a:pt x="1334" y="442"/>
                  </a:lnTo>
                  <a:lnTo>
                    <a:pt x="1367" y="470"/>
                  </a:lnTo>
                  <a:lnTo>
                    <a:pt x="1394" y="501"/>
                  </a:lnTo>
                  <a:lnTo>
                    <a:pt x="1418" y="535"/>
                  </a:lnTo>
                  <a:lnTo>
                    <a:pt x="1437" y="570"/>
                  </a:lnTo>
                  <a:lnTo>
                    <a:pt x="1450" y="608"/>
                  </a:lnTo>
                  <a:lnTo>
                    <a:pt x="1459" y="647"/>
                  </a:lnTo>
                  <a:lnTo>
                    <a:pt x="1464" y="687"/>
                  </a:lnTo>
                  <a:lnTo>
                    <a:pt x="1464" y="729"/>
                  </a:lnTo>
                  <a:lnTo>
                    <a:pt x="1464" y="1298"/>
                  </a:lnTo>
                  <a:lnTo>
                    <a:pt x="1275" y="1298"/>
                  </a:lnTo>
                  <a:lnTo>
                    <a:pt x="1671" y="1667"/>
                  </a:lnTo>
                  <a:lnTo>
                    <a:pt x="2091" y="1296"/>
                  </a:lnTo>
                  <a:lnTo>
                    <a:pt x="1892" y="1296"/>
                  </a:lnTo>
                </a:path>
              </a:pathLst>
            </a:custGeom>
            <a:solidFill>
              <a:srgbClr val="A100FF"/>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5">
              <a:extLst>
                <a:ext uri="{FF2B5EF4-FFF2-40B4-BE49-F238E27FC236}">
                  <a16:creationId xmlns:a16="http://schemas.microsoft.com/office/drawing/2014/main" id="{240A8A0A-37B5-499E-B8D3-A346A6416448}"/>
                </a:ext>
              </a:extLst>
            </p:cNvPr>
            <p:cNvSpPr>
              <a:spLocks/>
            </p:cNvSpPr>
            <p:nvPr/>
          </p:nvSpPr>
          <p:spPr bwMode="auto">
            <a:xfrm>
              <a:off x="1152" y="1458"/>
              <a:ext cx="3083" cy="1904"/>
            </a:xfrm>
            <a:custGeom>
              <a:avLst/>
              <a:gdLst/>
              <a:ahLst/>
              <a:cxnLst>
                <a:cxn ang="0">
                  <a:pos x="179" y="363"/>
                </a:cxn>
                <a:cxn ang="0">
                  <a:pos x="179" y="957"/>
                </a:cxn>
                <a:cxn ang="0">
                  <a:pos x="180" y="1016"/>
                </a:cxn>
                <a:cxn ang="0">
                  <a:pos x="188" y="1072"/>
                </a:cxn>
                <a:cxn ang="0">
                  <a:pos x="200" y="1130"/>
                </a:cxn>
                <a:cxn ang="0">
                  <a:pos x="217" y="1186"/>
                </a:cxn>
                <a:cxn ang="0">
                  <a:pos x="239" y="1241"/>
                </a:cxn>
                <a:cxn ang="0">
                  <a:pos x="265" y="1294"/>
                </a:cxn>
                <a:cxn ang="0">
                  <a:pos x="296" y="1345"/>
                </a:cxn>
                <a:cxn ang="0">
                  <a:pos x="333" y="1392"/>
                </a:cxn>
                <a:cxn ang="0">
                  <a:pos x="372" y="1439"/>
                </a:cxn>
                <a:cxn ang="0">
                  <a:pos x="416" y="1482"/>
                </a:cxn>
                <a:cxn ang="0">
                  <a:pos x="464" y="1521"/>
                </a:cxn>
                <a:cxn ang="0">
                  <a:pos x="509" y="1553"/>
                </a:cxn>
                <a:cxn ang="0">
                  <a:pos x="552" y="1579"/>
                </a:cxn>
                <a:cxn ang="0">
                  <a:pos x="589" y="1597"/>
                </a:cxn>
                <a:cxn ang="0">
                  <a:pos x="618" y="1609"/>
                </a:cxn>
                <a:cxn ang="0">
                  <a:pos x="657" y="1624"/>
                </a:cxn>
                <a:cxn ang="0">
                  <a:pos x="691" y="1632"/>
                </a:cxn>
                <a:cxn ang="0">
                  <a:pos x="730" y="1642"/>
                </a:cxn>
                <a:cxn ang="0">
                  <a:pos x="772" y="1650"/>
                </a:cxn>
                <a:cxn ang="0">
                  <a:pos x="813" y="1655"/>
                </a:cxn>
                <a:cxn ang="0">
                  <a:pos x="852" y="1658"/>
                </a:cxn>
                <a:cxn ang="0">
                  <a:pos x="893" y="1661"/>
                </a:cxn>
                <a:cxn ang="0">
                  <a:pos x="935" y="1660"/>
                </a:cxn>
                <a:cxn ang="0">
                  <a:pos x="980" y="1662"/>
                </a:cxn>
                <a:cxn ang="0">
                  <a:pos x="1023" y="1662"/>
                </a:cxn>
                <a:cxn ang="0">
                  <a:pos x="2071" y="1662"/>
                </a:cxn>
                <a:cxn ang="0">
                  <a:pos x="1704" y="1306"/>
                </a:cxn>
                <a:cxn ang="0">
                  <a:pos x="1008" y="1306"/>
                </a:cxn>
                <a:cxn ang="0">
                  <a:pos x="966" y="1306"/>
                </a:cxn>
                <a:cxn ang="0">
                  <a:pos x="935" y="1302"/>
                </a:cxn>
                <a:cxn ang="0">
                  <a:pos x="891" y="1294"/>
                </a:cxn>
                <a:cxn ang="0">
                  <a:pos x="849" y="1282"/>
                </a:cxn>
                <a:cxn ang="0">
                  <a:pos x="808" y="1265"/>
                </a:cxn>
                <a:cxn ang="0">
                  <a:pos x="770" y="1244"/>
                </a:cxn>
                <a:cxn ang="0">
                  <a:pos x="734" y="1220"/>
                </a:cxn>
                <a:cxn ang="0">
                  <a:pos x="704" y="1192"/>
                </a:cxn>
                <a:cxn ang="0">
                  <a:pos x="674" y="1161"/>
                </a:cxn>
                <a:cxn ang="0">
                  <a:pos x="652" y="1128"/>
                </a:cxn>
                <a:cxn ang="0">
                  <a:pos x="638" y="1105"/>
                </a:cxn>
                <a:cxn ang="0">
                  <a:pos x="626" y="1077"/>
                </a:cxn>
                <a:cxn ang="0">
                  <a:pos x="615" y="1045"/>
                </a:cxn>
                <a:cxn ang="0">
                  <a:pos x="609" y="1014"/>
                </a:cxn>
                <a:cxn ang="0">
                  <a:pos x="605" y="974"/>
                </a:cxn>
                <a:cxn ang="0">
                  <a:pos x="602" y="936"/>
                </a:cxn>
                <a:cxn ang="0">
                  <a:pos x="602" y="363"/>
                </a:cxn>
                <a:cxn ang="0">
                  <a:pos x="793" y="363"/>
                </a:cxn>
                <a:cxn ang="0">
                  <a:pos x="404" y="0"/>
                </a:cxn>
                <a:cxn ang="0">
                  <a:pos x="0" y="363"/>
                </a:cxn>
                <a:cxn ang="0">
                  <a:pos x="179" y="363"/>
                </a:cxn>
              </a:cxnLst>
              <a:rect l="0" t="0" r="r" b="b"/>
              <a:pathLst>
                <a:path w="2072" h="1663">
                  <a:moveTo>
                    <a:pt x="179" y="363"/>
                  </a:moveTo>
                  <a:lnTo>
                    <a:pt x="179" y="957"/>
                  </a:lnTo>
                  <a:lnTo>
                    <a:pt x="180" y="1016"/>
                  </a:lnTo>
                  <a:lnTo>
                    <a:pt x="188" y="1072"/>
                  </a:lnTo>
                  <a:lnTo>
                    <a:pt x="200" y="1130"/>
                  </a:lnTo>
                  <a:lnTo>
                    <a:pt x="217" y="1186"/>
                  </a:lnTo>
                  <a:lnTo>
                    <a:pt x="239" y="1241"/>
                  </a:lnTo>
                  <a:lnTo>
                    <a:pt x="265" y="1294"/>
                  </a:lnTo>
                  <a:lnTo>
                    <a:pt x="296" y="1345"/>
                  </a:lnTo>
                  <a:lnTo>
                    <a:pt x="333" y="1392"/>
                  </a:lnTo>
                  <a:lnTo>
                    <a:pt x="372" y="1439"/>
                  </a:lnTo>
                  <a:lnTo>
                    <a:pt x="416" y="1482"/>
                  </a:lnTo>
                  <a:lnTo>
                    <a:pt x="464" y="1521"/>
                  </a:lnTo>
                  <a:lnTo>
                    <a:pt x="509" y="1553"/>
                  </a:lnTo>
                  <a:lnTo>
                    <a:pt x="552" y="1579"/>
                  </a:lnTo>
                  <a:lnTo>
                    <a:pt x="589" y="1597"/>
                  </a:lnTo>
                  <a:lnTo>
                    <a:pt x="618" y="1609"/>
                  </a:lnTo>
                  <a:lnTo>
                    <a:pt x="657" y="1624"/>
                  </a:lnTo>
                  <a:lnTo>
                    <a:pt x="691" y="1632"/>
                  </a:lnTo>
                  <a:lnTo>
                    <a:pt x="730" y="1642"/>
                  </a:lnTo>
                  <a:lnTo>
                    <a:pt x="772" y="1650"/>
                  </a:lnTo>
                  <a:lnTo>
                    <a:pt x="813" y="1655"/>
                  </a:lnTo>
                  <a:lnTo>
                    <a:pt x="852" y="1658"/>
                  </a:lnTo>
                  <a:lnTo>
                    <a:pt x="893" y="1661"/>
                  </a:lnTo>
                  <a:lnTo>
                    <a:pt x="935" y="1660"/>
                  </a:lnTo>
                  <a:lnTo>
                    <a:pt x="980" y="1662"/>
                  </a:lnTo>
                  <a:lnTo>
                    <a:pt x="1023" y="1662"/>
                  </a:lnTo>
                  <a:lnTo>
                    <a:pt x="2071" y="1662"/>
                  </a:lnTo>
                  <a:lnTo>
                    <a:pt x="1704" y="1306"/>
                  </a:lnTo>
                  <a:lnTo>
                    <a:pt x="1008" y="1306"/>
                  </a:lnTo>
                  <a:lnTo>
                    <a:pt x="966" y="1306"/>
                  </a:lnTo>
                  <a:lnTo>
                    <a:pt x="935" y="1302"/>
                  </a:lnTo>
                  <a:lnTo>
                    <a:pt x="891" y="1294"/>
                  </a:lnTo>
                  <a:lnTo>
                    <a:pt x="849" y="1282"/>
                  </a:lnTo>
                  <a:lnTo>
                    <a:pt x="808" y="1265"/>
                  </a:lnTo>
                  <a:lnTo>
                    <a:pt x="770" y="1244"/>
                  </a:lnTo>
                  <a:lnTo>
                    <a:pt x="734" y="1220"/>
                  </a:lnTo>
                  <a:lnTo>
                    <a:pt x="704" y="1192"/>
                  </a:lnTo>
                  <a:lnTo>
                    <a:pt x="674" y="1161"/>
                  </a:lnTo>
                  <a:lnTo>
                    <a:pt x="652" y="1128"/>
                  </a:lnTo>
                  <a:lnTo>
                    <a:pt x="638" y="1105"/>
                  </a:lnTo>
                  <a:lnTo>
                    <a:pt x="626" y="1077"/>
                  </a:lnTo>
                  <a:lnTo>
                    <a:pt x="615" y="1045"/>
                  </a:lnTo>
                  <a:lnTo>
                    <a:pt x="609" y="1014"/>
                  </a:lnTo>
                  <a:lnTo>
                    <a:pt x="605" y="974"/>
                  </a:lnTo>
                  <a:lnTo>
                    <a:pt x="602" y="936"/>
                  </a:lnTo>
                  <a:lnTo>
                    <a:pt x="602" y="363"/>
                  </a:lnTo>
                  <a:lnTo>
                    <a:pt x="793" y="363"/>
                  </a:lnTo>
                  <a:lnTo>
                    <a:pt x="404" y="0"/>
                  </a:lnTo>
                  <a:lnTo>
                    <a:pt x="0" y="363"/>
                  </a:lnTo>
                  <a:lnTo>
                    <a:pt x="179" y="363"/>
                  </a:lnTo>
                </a:path>
              </a:pathLst>
            </a:custGeom>
            <a:solidFill>
              <a:srgbClr val="A055F5"/>
            </a:solidFill>
            <a:ln w="6350" cap="rnd"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Text Box 6">
              <a:extLst>
                <a:ext uri="{FF2B5EF4-FFF2-40B4-BE49-F238E27FC236}">
                  <a16:creationId xmlns:a16="http://schemas.microsoft.com/office/drawing/2014/main" id="{679F7D44-5F1A-4256-834E-3A9B401B3651}"/>
                </a:ext>
              </a:extLst>
            </p:cNvPr>
            <p:cNvSpPr txBox="1">
              <a:spLocks noChangeArrowheads="1"/>
            </p:cNvSpPr>
            <p:nvPr/>
          </p:nvSpPr>
          <p:spPr bwMode="auto">
            <a:xfrm>
              <a:off x="2564" y="3079"/>
              <a:ext cx="382"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9" name="Text Box 7">
              <a:extLst>
                <a:ext uri="{FF2B5EF4-FFF2-40B4-BE49-F238E27FC236}">
                  <a16:creationId xmlns:a16="http://schemas.microsoft.com/office/drawing/2014/main" id="{2EC739CE-AF2D-4D23-A85C-69A1DCACAA12}"/>
                </a:ext>
              </a:extLst>
            </p:cNvPr>
            <p:cNvSpPr txBox="1">
              <a:spLocks noChangeArrowheads="1"/>
            </p:cNvSpPr>
            <p:nvPr/>
          </p:nvSpPr>
          <p:spPr bwMode="auto">
            <a:xfrm>
              <a:off x="3402" y="1579"/>
              <a:ext cx="342"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A32CA1DC-D662-462F-9289-F4F3456FEA9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6750990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11</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15">
            <a:extLst>
              <a:ext uri="{FF2B5EF4-FFF2-40B4-BE49-F238E27FC236}">
                <a16:creationId xmlns:a16="http://schemas.microsoft.com/office/drawing/2014/main" id="{C841F2CE-C836-4349-B43F-EB1EAEF424A5}"/>
              </a:ext>
            </a:extLst>
          </p:cNvPr>
          <p:cNvGrpSpPr>
            <a:grpSpLocks/>
          </p:cNvGrpSpPr>
          <p:nvPr/>
        </p:nvGrpSpPr>
        <p:grpSpPr bwMode="auto">
          <a:xfrm>
            <a:off x="3849689" y="1628801"/>
            <a:ext cx="4478337" cy="4556125"/>
            <a:chOff x="1465" y="1188"/>
            <a:chExt cx="2821" cy="2870"/>
          </a:xfrm>
        </p:grpSpPr>
        <p:sp>
          <p:nvSpPr>
            <p:cNvPr id="6" name="Freeform 4">
              <a:extLst>
                <a:ext uri="{FF2B5EF4-FFF2-40B4-BE49-F238E27FC236}">
                  <a16:creationId xmlns:a16="http://schemas.microsoft.com/office/drawing/2014/main" id="{42B1EB57-0C1C-4A8D-8A82-219F2E11D073}"/>
                </a:ext>
              </a:extLst>
            </p:cNvPr>
            <p:cNvSpPr>
              <a:spLocks/>
            </p:cNvSpPr>
            <p:nvPr/>
          </p:nvSpPr>
          <p:spPr bwMode="auto">
            <a:xfrm>
              <a:off x="2643" y="2364"/>
              <a:ext cx="1248" cy="1694"/>
            </a:xfrm>
            <a:custGeom>
              <a:avLst/>
              <a:gdLst/>
              <a:ahLst/>
              <a:cxnLst>
                <a:cxn ang="0">
                  <a:pos x="281" y="0"/>
                </a:cxn>
                <a:cxn ang="0">
                  <a:pos x="292" y="5"/>
                </a:cxn>
                <a:cxn ang="0">
                  <a:pos x="303" y="12"/>
                </a:cxn>
                <a:cxn ang="0">
                  <a:pos x="314" y="22"/>
                </a:cxn>
                <a:cxn ang="0">
                  <a:pos x="325" y="33"/>
                </a:cxn>
                <a:cxn ang="0">
                  <a:pos x="334" y="46"/>
                </a:cxn>
                <a:cxn ang="0">
                  <a:pos x="342" y="59"/>
                </a:cxn>
                <a:cxn ang="0">
                  <a:pos x="350" y="74"/>
                </a:cxn>
                <a:cxn ang="0">
                  <a:pos x="356" y="89"/>
                </a:cxn>
                <a:cxn ang="0">
                  <a:pos x="361" y="104"/>
                </a:cxn>
                <a:cxn ang="0">
                  <a:pos x="364" y="119"/>
                </a:cxn>
                <a:cxn ang="0">
                  <a:pos x="365" y="133"/>
                </a:cxn>
                <a:cxn ang="0">
                  <a:pos x="365" y="146"/>
                </a:cxn>
                <a:cxn ang="0">
                  <a:pos x="194" y="742"/>
                </a:cxn>
                <a:cxn ang="0">
                  <a:pos x="193" y="752"/>
                </a:cxn>
                <a:cxn ang="0">
                  <a:pos x="192" y="760"/>
                </a:cxn>
                <a:cxn ang="0">
                  <a:pos x="0" y="714"/>
                </a:cxn>
                <a:cxn ang="0">
                  <a:pos x="373" y="1010"/>
                </a:cxn>
                <a:cxn ang="0">
                  <a:pos x="861" y="920"/>
                </a:cxn>
                <a:cxn ang="0">
                  <a:pos x="664" y="873"/>
                </a:cxn>
                <a:cxn ang="0">
                  <a:pos x="669" y="866"/>
                </a:cxn>
                <a:cxn ang="0">
                  <a:pos x="672" y="857"/>
                </a:cxn>
                <a:cxn ang="0">
                  <a:pos x="882" y="158"/>
                </a:cxn>
                <a:cxn ang="0">
                  <a:pos x="884" y="148"/>
                </a:cxn>
                <a:cxn ang="0">
                  <a:pos x="884" y="137"/>
                </a:cxn>
                <a:cxn ang="0">
                  <a:pos x="881" y="126"/>
                </a:cxn>
                <a:cxn ang="0">
                  <a:pos x="876" y="116"/>
                </a:cxn>
                <a:cxn ang="0">
                  <a:pos x="868" y="107"/>
                </a:cxn>
                <a:cxn ang="0">
                  <a:pos x="860" y="100"/>
                </a:cxn>
                <a:cxn ang="0">
                  <a:pos x="849" y="94"/>
                </a:cxn>
                <a:cxn ang="0">
                  <a:pos x="838" y="90"/>
                </a:cxn>
                <a:cxn ang="0">
                  <a:pos x="788" y="75"/>
                </a:cxn>
                <a:cxn ang="0">
                  <a:pos x="739" y="63"/>
                </a:cxn>
                <a:cxn ang="0">
                  <a:pos x="687" y="52"/>
                </a:cxn>
                <a:cxn ang="0">
                  <a:pos x="636" y="44"/>
                </a:cxn>
                <a:cxn ang="0">
                  <a:pos x="585" y="37"/>
                </a:cxn>
                <a:cxn ang="0">
                  <a:pos x="281" y="0"/>
                </a:cxn>
              </a:cxnLst>
              <a:rect l="0" t="0" r="r" b="b"/>
              <a:pathLst>
                <a:path w="885" h="1011">
                  <a:moveTo>
                    <a:pt x="281" y="0"/>
                  </a:moveTo>
                  <a:lnTo>
                    <a:pt x="292" y="5"/>
                  </a:lnTo>
                  <a:lnTo>
                    <a:pt x="303" y="12"/>
                  </a:lnTo>
                  <a:lnTo>
                    <a:pt x="314" y="22"/>
                  </a:lnTo>
                  <a:lnTo>
                    <a:pt x="325" y="33"/>
                  </a:lnTo>
                  <a:lnTo>
                    <a:pt x="334" y="46"/>
                  </a:lnTo>
                  <a:lnTo>
                    <a:pt x="342" y="59"/>
                  </a:lnTo>
                  <a:lnTo>
                    <a:pt x="350" y="74"/>
                  </a:lnTo>
                  <a:lnTo>
                    <a:pt x="356" y="89"/>
                  </a:lnTo>
                  <a:lnTo>
                    <a:pt x="361" y="104"/>
                  </a:lnTo>
                  <a:lnTo>
                    <a:pt x="364" y="119"/>
                  </a:lnTo>
                  <a:lnTo>
                    <a:pt x="365" y="133"/>
                  </a:lnTo>
                  <a:lnTo>
                    <a:pt x="365" y="146"/>
                  </a:lnTo>
                  <a:lnTo>
                    <a:pt x="194" y="742"/>
                  </a:lnTo>
                  <a:lnTo>
                    <a:pt x="193" y="752"/>
                  </a:lnTo>
                  <a:lnTo>
                    <a:pt x="192" y="760"/>
                  </a:lnTo>
                  <a:lnTo>
                    <a:pt x="0" y="714"/>
                  </a:lnTo>
                  <a:lnTo>
                    <a:pt x="373" y="1010"/>
                  </a:lnTo>
                  <a:lnTo>
                    <a:pt x="861" y="920"/>
                  </a:lnTo>
                  <a:lnTo>
                    <a:pt x="664" y="873"/>
                  </a:lnTo>
                  <a:lnTo>
                    <a:pt x="669" y="866"/>
                  </a:lnTo>
                  <a:lnTo>
                    <a:pt x="672" y="857"/>
                  </a:lnTo>
                  <a:lnTo>
                    <a:pt x="882" y="158"/>
                  </a:lnTo>
                  <a:lnTo>
                    <a:pt x="884" y="148"/>
                  </a:lnTo>
                  <a:lnTo>
                    <a:pt x="884" y="137"/>
                  </a:lnTo>
                  <a:lnTo>
                    <a:pt x="881" y="126"/>
                  </a:lnTo>
                  <a:lnTo>
                    <a:pt x="876" y="116"/>
                  </a:lnTo>
                  <a:lnTo>
                    <a:pt x="868" y="107"/>
                  </a:lnTo>
                  <a:lnTo>
                    <a:pt x="860" y="100"/>
                  </a:lnTo>
                  <a:lnTo>
                    <a:pt x="849" y="94"/>
                  </a:lnTo>
                  <a:lnTo>
                    <a:pt x="838" y="90"/>
                  </a:lnTo>
                  <a:lnTo>
                    <a:pt x="788" y="75"/>
                  </a:lnTo>
                  <a:lnTo>
                    <a:pt x="739" y="63"/>
                  </a:lnTo>
                  <a:lnTo>
                    <a:pt x="687" y="52"/>
                  </a:lnTo>
                  <a:lnTo>
                    <a:pt x="636" y="44"/>
                  </a:lnTo>
                  <a:lnTo>
                    <a:pt x="585" y="37"/>
                  </a:lnTo>
                  <a:lnTo>
                    <a:pt x="281" y="0"/>
                  </a:lnTo>
                </a:path>
              </a:pathLst>
            </a:custGeom>
            <a:solidFill>
              <a:schemeClr val="accent3"/>
            </a:solid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raphik"/>
                <a:ea typeface="+mn-ea"/>
                <a:cs typeface="+mn-cs"/>
              </a:endParaRPr>
            </a:p>
          </p:txBody>
        </p:sp>
        <p:sp>
          <p:nvSpPr>
            <p:cNvPr id="7" name="Freeform 5">
              <a:extLst>
                <a:ext uri="{FF2B5EF4-FFF2-40B4-BE49-F238E27FC236}">
                  <a16:creationId xmlns:a16="http://schemas.microsoft.com/office/drawing/2014/main" id="{734A7AB1-B023-4616-A669-DD14F6190181}"/>
                </a:ext>
              </a:extLst>
            </p:cNvPr>
            <p:cNvSpPr>
              <a:spLocks/>
            </p:cNvSpPr>
            <p:nvPr/>
          </p:nvSpPr>
          <p:spPr bwMode="auto">
            <a:xfrm>
              <a:off x="2701" y="1188"/>
              <a:ext cx="1585" cy="1335"/>
            </a:xfrm>
            <a:custGeom>
              <a:avLst/>
              <a:gdLst/>
              <a:ahLst/>
              <a:cxnLst>
                <a:cxn ang="0">
                  <a:pos x="93" y="796"/>
                </a:cxn>
                <a:cxn ang="0">
                  <a:pos x="98" y="780"/>
                </a:cxn>
                <a:cxn ang="0">
                  <a:pos x="107" y="766"/>
                </a:cxn>
                <a:cxn ang="0">
                  <a:pos x="118" y="751"/>
                </a:cxn>
                <a:cxn ang="0">
                  <a:pos x="131" y="738"/>
                </a:cxn>
                <a:cxn ang="0">
                  <a:pos x="148" y="725"/>
                </a:cxn>
                <a:cxn ang="0">
                  <a:pos x="167" y="712"/>
                </a:cxn>
                <a:cxn ang="0">
                  <a:pos x="188" y="699"/>
                </a:cxn>
                <a:cxn ang="0">
                  <a:pos x="211" y="690"/>
                </a:cxn>
                <a:cxn ang="0">
                  <a:pos x="236" y="680"/>
                </a:cxn>
                <a:cxn ang="0">
                  <a:pos x="262" y="671"/>
                </a:cxn>
                <a:cxn ang="0">
                  <a:pos x="904" y="621"/>
                </a:cxn>
                <a:cxn ang="0">
                  <a:pos x="914" y="619"/>
                </a:cxn>
                <a:cxn ang="0">
                  <a:pos x="924" y="616"/>
                </a:cxn>
                <a:cxn ang="0">
                  <a:pos x="940" y="794"/>
                </a:cxn>
                <a:cxn ang="0">
                  <a:pos x="1123" y="379"/>
                </a:cxn>
                <a:cxn ang="0">
                  <a:pos x="863" y="0"/>
                </a:cxn>
                <a:cxn ang="0">
                  <a:pos x="880" y="180"/>
                </a:cxn>
                <a:cxn ang="0">
                  <a:pos x="871" y="180"/>
                </a:cxn>
                <a:cxn ang="0">
                  <a:pos x="861" y="180"/>
                </a:cxn>
                <a:cxn ang="0">
                  <a:pos x="56" y="242"/>
                </a:cxn>
                <a:cxn ang="0">
                  <a:pos x="44" y="244"/>
                </a:cxn>
                <a:cxn ang="0">
                  <a:pos x="33" y="248"/>
                </a:cxn>
                <a:cxn ang="0">
                  <a:pos x="23" y="255"/>
                </a:cxn>
                <a:cxn ang="0">
                  <a:pos x="13" y="262"/>
                </a:cxn>
                <a:cxn ang="0">
                  <a:pos x="6" y="271"/>
                </a:cxn>
                <a:cxn ang="0">
                  <a:pos x="1" y="281"/>
                </a:cxn>
                <a:cxn ang="0">
                  <a:pos x="0" y="292"/>
                </a:cxn>
                <a:cxn ang="0">
                  <a:pos x="0" y="302"/>
                </a:cxn>
                <a:cxn ang="0">
                  <a:pos x="5" y="369"/>
                </a:cxn>
                <a:cxn ang="0">
                  <a:pos x="13" y="435"/>
                </a:cxn>
                <a:cxn ang="0">
                  <a:pos x="24" y="502"/>
                </a:cxn>
                <a:cxn ang="0">
                  <a:pos x="38" y="567"/>
                </a:cxn>
                <a:cxn ang="0">
                  <a:pos x="56" y="643"/>
                </a:cxn>
                <a:cxn ang="0">
                  <a:pos x="73" y="720"/>
                </a:cxn>
                <a:cxn ang="0">
                  <a:pos x="93" y="796"/>
                </a:cxn>
              </a:cxnLst>
              <a:rect l="0" t="0" r="r" b="b"/>
              <a:pathLst>
                <a:path w="1124" h="797">
                  <a:moveTo>
                    <a:pt x="93" y="796"/>
                  </a:moveTo>
                  <a:lnTo>
                    <a:pt x="98" y="780"/>
                  </a:lnTo>
                  <a:lnTo>
                    <a:pt x="107" y="766"/>
                  </a:lnTo>
                  <a:lnTo>
                    <a:pt x="118" y="751"/>
                  </a:lnTo>
                  <a:lnTo>
                    <a:pt x="131" y="738"/>
                  </a:lnTo>
                  <a:lnTo>
                    <a:pt x="148" y="725"/>
                  </a:lnTo>
                  <a:lnTo>
                    <a:pt x="167" y="712"/>
                  </a:lnTo>
                  <a:lnTo>
                    <a:pt x="188" y="699"/>
                  </a:lnTo>
                  <a:lnTo>
                    <a:pt x="211" y="690"/>
                  </a:lnTo>
                  <a:lnTo>
                    <a:pt x="236" y="680"/>
                  </a:lnTo>
                  <a:lnTo>
                    <a:pt x="262" y="671"/>
                  </a:lnTo>
                  <a:lnTo>
                    <a:pt x="904" y="621"/>
                  </a:lnTo>
                  <a:lnTo>
                    <a:pt x="914" y="619"/>
                  </a:lnTo>
                  <a:lnTo>
                    <a:pt x="924" y="616"/>
                  </a:lnTo>
                  <a:lnTo>
                    <a:pt x="940" y="794"/>
                  </a:lnTo>
                  <a:lnTo>
                    <a:pt x="1123" y="379"/>
                  </a:lnTo>
                  <a:lnTo>
                    <a:pt x="863" y="0"/>
                  </a:lnTo>
                  <a:lnTo>
                    <a:pt x="880" y="180"/>
                  </a:lnTo>
                  <a:lnTo>
                    <a:pt x="871" y="180"/>
                  </a:lnTo>
                  <a:lnTo>
                    <a:pt x="861" y="180"/>
                  </a:lnTo>
                  <a:lnTo>
                    <a:pt x="56" y="242"/>
                  </a:lnTo>
                  <a:lnTo>
                    <a:pt x="44" y="244"/>
                  </a:lnTo>
                  <a:lnTo>
                    <a:pt x="33" y="248"/>
                  </a:lnTo>
                  <a:lnTo>
                    <a:pt x="23" y="255"/>
                  </a:lnTo>
                  <a:lnTo>
                    <a:pt x="13" y="262"/>
                  </a:lnTo>
                  <a:lnTo>
                    <a:pt x="6" y="271"/>
                  </a:lnTo>
                  <a:lnTo>
                    <a:pt x="1" y="281"/>
                  </a:lnTo>
                  <a:lnTo>
                    <a:pt x="0" y="292"/>
                  </a:lnTo>
                  <a:lnTo>
                    <a:pt x="0" y="302"/>
                  </a:lnTo>
                  <a:lnTo>
                    <a:pt x="5" y="369"/>
                  </a:lnTo>
                  <a:lnTo>
                    <a:pt x="13" y="435"/>
                  </a:lnTo>
                  <a:lnTo>
                    <a:pt x="24" y="502"/>
                  </a:lnTo>
                  <a:lnTo>
                    <a:pt x="38" y="567"/>
                  </a:lnTo>
                  <a:lnTo>
                    <a:pt x="56" y="643"/>
                  </a:lnTo>
                  <a:lnTo>
                    <a:pt x="73" y="720"/>
                  </a:lnTo>
                  <a:lnTo>
                    <a:pt x="93" y="796"/>
                  </a:lnTo>
                </a:path>
              </a:pathLst>
            </a:custGeom>
            <a:solidFill>
              <a:schemeClr val="accent1"/>
            </a:solid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raphik"/>
                <a:ea typeface="+mn-ea"/>
                <a:cs typeface="+mn-cs"/>
              </a:endParaRPr>
            </a:p>
          </p:txBody>
        </p:sp>
        <p:sp>
          <p:nvSpPr>
            <p:cNvPr id="8" name="Freeform 6">
              <a:extLst>
                <a:ext uri="{FF2B5EF4-FFF2-40B4-BE49-F238E27FC236}">
                  <a16:creationId xmlns:a16="http://schemas.microsoft.com/office/drawing/2014/main" id="{57161050-0D2F-486B-B990-6991613EDD8D}"/>
                </a:ext>
              </a:extLst>
            </p:cNvPr>
            <p:cNvSpPr>
              <a:spLocks/>
            </p:cNvSpPr>
            <p:nvPr/>
          </p:nvSpPr>
          <p:spPr bwMode="auto">
            <a:xfrm>
              <a:off x="1465" y="1747"/>
              <a:ext cx="1687" cy="1615"/>
            </a:xfrm>
            <a:custGeom>
              <a:avLst/>
              <a:gdLst/>
              <a:ahLst/>
              <a:cxnLst>
                <a:cxn ang="0">
                  <a:pos x="1195" y="537"/>
                </a:cxn>
                <a:cxn ang="0">
                  <a:pos x="1178" y="552"/>
                </a:cxn>
                <a:cxn ang="0">
                  <a:pos x="1160" y="564"/>
                </a:cxn>
                <a:cxn ang="0">
                  <a:pos x="1141" y="575"/>
                </a:cxn>
                <a:cxn ang="0">
                  <a:pos x="1121" y="583"/>
                </a:cxn>
                <a:cxn ang="0">
                  <a:pos x="1099" y="588"/>
                </a:cxn>
                <a:cxn ang="0">
                  <a:pos x="1082" y="587"/>
                </a:cxn>
                <a:cxn ang="0">
                  <a:pos x="1065" y="584"/>
                </a:cxn>
                <a:cxn ang="0">
                  <a:pos x="1049" y="579"/>
                </a:cxn>
                <a:cxn ang="0">
                  <a:pos x="1031" y="571"/>
                </a:cxn>
                <a:cxn ang="0">
                  <a:pos x="1013" y="561"/>
                </a:cxn>
                <a:cxn ang="0">
                  <a:pos x="995" y="549"/>
                </a:cxn>
                <a:cxn ang="0">
                  <a:pos x="978" y="536"/>
                </a:cxn>
                <a:cxn ang="0">
                  <a:pos x="962" y="521"/>
                </a:cxn>
                <a:cxn ang="0">
                  <a:pos x="462" y="145"/>
                </a:cxn>
                <a:cxn ang="0">
                  <a:pos x="454" y="140"/>
                </a:cxn>
                <a:cxn ang="0">
                  <a:pos x="444" y="136"/>
                </a:cxn>
                <a:cxn ang="0">
                  <a:pos x="572" y="0"/>
                </a:cxn>
                <a:cxn ang="0">
                  <a:pos x="115" y="177"/>
                </a:cxn>
                <a:cxn ang="0">
                  <a:pos x="0" y="611"/>
                </a:cxn>
                <a:cxn ang="0">
                  <a:pos x="131" y="471"/>
                </a:cxn>
                <a:cxn ang="0">
                  <a:pos x="135" y="479"/>
                </a:cxn>
                <a:cxn ang="0">
                  <a:pos x="142" y="484"/>
                </a:cxn>
                <a:cxn ang="0">
                  <a:pos x="763" y="950"/>
                </a:cxn>
                <a:cxn ang="0">
                  <a:pos x="773" y="956"/>
                </a:cxn>
                <a:cxn ang="0">
                  <a:pos x="785" y="961"/>
                </a:cxn>
                <a:cxn ang="0">
                  <a:pos x="796" y="963"/>
                </a:cxn>
                <a:cxn ang="0">
                  <a:pos x="808" y="963"/>
                </a:cxn>
                <a:cxn ang="0">
                  <a:pos x="820" y="961"/>
                </a:cxn>
                <a:cxn ang="0">
                  <a:pos x="831" y="957"/>
                </a:cxn>
                <a:cxn ang="0">
                  <a:pos x="842" y="951"/>
                </a:cxn>
                <a:cxn ang="0">
                  <a:pos x="850" y="943"/>
                </a:cxn>
                <a:cxn ang="0">
                  <a:pos x="1072" y="708"/>
                </a:cxn>
                <a:cxn ang="0">
                  <a:pos x="1091" y="686"/>
                </a:cxn>
                <a:cxn ang="0">
                  <a:pos x="1111" y="663"/>
                </a:cxn>
                <a:cxn ang="0">
                  <a:pos x="1128" y="639"/>
                </a:cxn>
                <a:cxn ang="0">
                  <a:pos x="1146" y="614"/>
                </a:cxn>
                <a:cxn ang="0">
                  <a:pos x="1164" y="588"/>
                </a:cxn>
                <a:cxn ang="0">
                  <a:pos x="1180" y="563"/>
                </a:cxn>
                <a:cxn ang="0">
                  <a:pos x="1195" y="537"/>
                </a:cxn>
              </a:cxnLst>
              <a:rect l="0" t="0" r="r" b="b"/>
              <a:pathLst>
                <a:path w="1196" h="964">
                  <a:moveTo>
                    <a:pt x="1195" y="537"/>
                  </a:moveTo>
                  <a:lnTo>
                    <a:pt x="1178" y="552"/>
                  </a:lnTo>
                  <a:lnTo>
                    <a:pt x="1160" y="564"/>
                  </a:lnTo>
                  <a:lnTo>
                    <a:pt x="1141" y="575"/>
                  </a:lnTo>
                  <a:lnTo>
                    <a:pt x="1121" y="583"/>
                  </a:lnTo>
                  <a:lnTo>
                    <a:pt x="1099" y="588"/>
                  </a:lnTo>
                  <a:lnTo>
                    <a:pt x="1082" y="587"/>
                  </a:lnTo>
                  <a:lnTo>
                    <a:pt x="1065" y="584"/>
                  </a:lnTo>
                  <a:lnTo>
                    <a:pt x="1049" y="579"/>
                  </a:lnTo>
                  <a:lnTo>
                    <a:pt x="1031" y="571"/>
                  </a:lnTo>
                  <a:lnTo>
                    <a:pt x="1013" y="561"/>
                  </a:lnTo>
                  <a:lnTo>
                    <a:pt x="995" y="549"/>
                  </a:lnTo>
                  <a:lnTo>
                    <a:pt x="978" y="536"/>
                  </a:lnTo>
                  <a:lnTo>
                    <a:pt x="962" y="521"/>
                  </a:lnTo>
                  <a:lnTo>
                    <a:pt x="462" y="145"/>
                  </a:lnTo>
                  <a:lnTo>
                    <a:pt x="454" y="140"/>
                  </a:lnTo>
                  <a:lnTo>
                    <a:pt x="444" y="136"/>
                  </a:lnTo>
                  <a:lnTo>
                    <a:pt x="572" y="0"/>
                  </a:lnTo>
                  <a:lnTo>
                    <a:pt x="115" y="177"/>
                  </a:lnTo>
                  <a:lnTo>
                    <a:pt x="0" y="611"/>
                  </a:lnTo>
                  <a:lnTo>
                    <a:pt x="131" y="471"/>
                  </a:lnTo>
                  <a:lnTo>
                    <a:pt x="135" y="479"/>
                  </a:lnTo>
                  <a:lnTo>
                    <a:pt x="142" y="484"/>
                  </a:lnTo>
                  <a:lnTo>
                    <a:pt x="763" y="950"/>
                  </a:lnTo>
                  <a:lnTo>
                    <a:pt x="773" y="956"/>
                  </a:lnTo>
                  <a:lnTo>
                    <a:pt x="785" y="961"/>
                  </a:lnTo>
                  <a:lnTo>
                    <a:pt x="796" y="963"/>
                  </a:lnTo>
                  <a:lnTo>
                    <a:pt x="808" y="963"/>
                  </a:lnTo>
                  <a:lnTo>
                    <a:pt x="820" y="961"/>
                  </a:lnTo>
                  <a:lnTo>
                    <a:pt x="831" y="957"/>
                  </a:lnTo>
                  <a:lnTo>
                    <a:pt x="842" y="951"/>
                  </a:lnTo>
                  <a:lnTo>
                    <a:pt x="850" y="943"/>
                  </a:lnTo>
                  <a:lnTo>
                    <a:pt x="1072" y="708"/>
                  </a:lnTo>
                  <a:lnTo>
                    <a:pt x="1091" y="686"/>
                  </a:lnTo>
                  <a:lnTo>
                    <a:pt x="1111" y="663"/>
                  </a:lnTo>
                  <a:lnTo>
                    <a:pt x="1128" y="639"/>
                  </a:lnTo>
                  <a:lnTo>
                    <a:pt x="1146" y="614"/>
                  </a:lnTo>
                  <a:lnTo>
                    <a:pt x="1164" y="588"/>
                  </a:lnTo>
                  <a:lnTo>
                    <a:pt x="1180" y="563"/>
                  </a:lnTo>
                  <a:lnTo>
                    <a:pt x="1195" y="537"/>
                  </a:lnTo>
                </a:path>
              </a:pathLst>
            </a:custGeom>
            <a:solidFill>
              <a:schemeClr val="accent2"/>
            </a:solid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raphik"/>
                <a:ea typeface="+mn-ea"/>
                <a:cs typeface="+mn-cs"/>
              </a:endParaRPr>
            </a:p>
          </p:txBody>
        </p:sp>
        <p:sp>
          <p:nvSpPr>
            <p:cNvPr id="9" name="Oval 7">
              <a:extLst>
                <a:ext uri="{FF2B5EF4-FFF2-40B4-BE49-F238E27FC236}">
                  <a16:creationId xmlns:a16="http://schemas.microsoft.com/office/drawing/2014/main" id="{72F13CD1-0BAC-46FA-8DE9-29351090A950}"/>
                </a:ext>
              </a:extLst>
            </p:cNvPr>
            <p:cNvSpPr>
              <a:spLocks noChangeArrowheads="1"/>
            </p:cNvSpPr>
            <p:nvPr/>
          </p:nvSpPr>
          <p:spPr bwMode="auto">
            <a:xfrm>
              <a:off x="2834" y="2360"/>
              <a:ext cx="345" cy="369"/>
            </a:xfrm>
            <a:prstGeom prst="ellipse">
              <a:avLst/>
            </a:prstGeom>
            <a:pattFill prst="dkUpDiag">
              <a:fgClr>
                <a:srgbClr val="96968C">
                  <a:lumMod val="40000"/>
                  <a:lumOff val="60000"/>
                </a:srgbClr>
              </a:fgClr>
              <a:bgClr>
                <a:srgbClr val="FFFFFF"/>
              </a:bgClr>
            </a:pattFill>
            <a:ln w="6350">
              <a:noFill/>
              <a:round/>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Graphik"/>
                <a:ea typeface="+mn-ea"/>
                <a:cs typeface="+mn-cs"/>
              </a:endParaRPr>
            </a:p>
          </p:txBody>
        </p:sp>
        <p:sp>
          <p:nvSpPr>
            <p:cNvPr id="10" name="Rectangle 8">
              <a:extLst>
                <a:ext uri="{FF2B5EF4-FFF2-40B4-BE49-F238E27FC236}">
                  <a16:creationId xmlns:a16="http://schemas.microsoft.com/office/drawing/2014/main" id="{8F94F381-82D1-4B5F-A6AC-BB01D49130D2}"/>
                </a:ext>
              </a:extLst>
            </p:cNvPr>
            <p:cNvSpPr>
              <a:spLocks noChangeArrowheads="1"/>
            </p:cNvSpPr>
            <p:nvPr/>
          </p:nvSpPr>
          <p:spPr bwMode="auto">
            <a:xfrm>
              <a:off x="1972" y="2394"/>
              <a:ext cx="447" cy="19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11" name="Rectangle 13">
              <a:extLst>
                <a:ext uri="{FF2B5EF4-FFF2-40B4-BE49-F238E27FC236}">
                  <a16:creationId xmlns:a16="http://schemas.microsoft.com/office/drawing/2014/main" id="{0C2E7CC5-2E09-436E-B16A-54683AE561DD}"/>
                </a:ext>
              </a:extLst>
            </p:cNvPr>
            <p:cNvSpPr>
              <a:spLocks noChangeArrowheads="1"/>
            </p:cNvSpPr>
            <p:nvPr/>
          </p:nvSpPr>
          <p:spPr bwMode="auto">
            <a:xfrm>
              <a:off x="3272" y="1797"/>
              <a:ext cx="447" cy="19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12" name="Rectangle 14">
              <a:extLst>
                <a:ext uri="{FF2B5EF4-FFF2-40B4-BE49-F238E27FC236}">
                  <a16:creationId xmlns:a16="http://schemas.microsoft.com/office/drawing/2014/main" id="{98402887-AF5E-4105-A269-8B395FE4E392}"/>
                </a:ext>
              </a:extLst>
            </p:cNvPr>
            <p:cNvSpPr>
              <a:spLocks noChangeArrowheads="1"/>
            </p:cNvSpPr>
            <p:nvPr/>
          </p:nvSpPr>
          <p:spPr bwMode="auto">
            <a:xfrm>
              <a:off x="3152" y="3144"/>
              <a:ext cx="447" cy="198"/>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AB3A7229-3E6C-4379-B51B-291661C5812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16443382"/>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Circular Flow 12</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3">
            <a:extLst>
              <a:ext uri="{FF2B5EF4-FFF2-40B4-BE49-F238E27FC236}">
                <a16:creationId xmlns:a16="http://schemas.microsoft.com/office/drawing/2014/main" id="{5E486010-F7D0-4118-9516-3C8C152F4EC6}"/>
              </a:ext>
            </a:extLst>
          </p:cNvPr>
          <p:cNvGrpSpPr>
            <a:grpSpLocks/>
          </p:cNvGrpSpPr>
          <p:nvPr/>
        </p:nvGrpSpPr>
        <p:grpSpPr bwMode="auto">
          <a:xfrm>
            <a:off x="3657440" y="1371600"/>
            <a:ext cx="4922837" cy="4551363"/>
            <a:chOff x="1968" y="1392"/>
            <a:chExt cx="2304" cy="1966"/>
          </a:xfrm>
        </p:grpSpPr>
        <p:sp>
          <p:nvSpPr>
            <p:cNvPr id="6" name="Freeform 4">
              <a:extLst>
                <a:ext uri="{FF2B5EF4-FFF2-40B4-BE49-F238E27FC236}">
                  <a16:creationId xmlns:a16="http://schemas.microsoft.com/office/drawing/2014/main" id="{8D7BA5A9-B8D2-426C-87EB-A77B5D5A6252}"/>
                </a:ext>
              </a:extLst>
            </p:cNvPr>
            <p:cNvSpPr>
              <a:spLocks/>
            </p:cNvSpPr>
            <p:nvPr/>
          </p:nvSpPr>
          <p:spPr bwMode="auto">
            <a:xfrm>
              <a:off x="1968" y="1893"/>
              <a:ext cx="1388" cy="502"/>
            </a:xfrm>
            <a:custGeom>
              <a:avLst/>
              <a:gdLst/>
              <a:ahLst/>
              <a:cxnLst>
                <a:cxn ang="0">
                  <a:pos x="1561" y="540"/>
                </a:cxn>
                <a:cxn ang="0">
                  <a:pos x="1541" y="452"/>
                </a:cxn>
                <a:cxn ang="0">
                  <a:pos x="1503" y="368"/>
                </a:cxn>
                <a:cxn ang="0">
                  <a:pos x="1450" y="288"/>
                </a:cxn>
                <a:cxn ang="0">
                  <a:pos x="1382" y="215"/>
                </a:cxn>
                <a:cxn ang="0">
                  <a:pos x="1301" y="152"/>
                </a:cxn>
                <a:cxn ang="0">
                  <a:pos x="1208" y="96"/>
                </a:cxn>
                <a:cxn ang="0">
                  <a:pos x="1107" y="54"/>
                </a:cxn>
                <a:cxn ang="0">
                  <a:pos x="998" y="23"/>
                </a:cxn>
                <a:cxn ang="0">
                  <a:pos x="885" y="4"/>
                </a:cxn>
                <a:cxn ang="0">
                  <a:pos x="771" y="0"/>
                </a:cxn>
                <a:cxn ang="0">
                  <a:pos x="653" y="7"/>
                </a:cxn>
                <a:cxn ang="0">
                  <a:pos x="543" y="29"/>
                </a:cxn>
                <a:cxn ang="0">
                  <a:pos x="435" y="63"/>
                </a:cxn>
                <a:cxn ang="0">
                  <a:pos x="335" y="108"/>
                </a:cxn>
                <a:cxn ang="0">
                  <a:pos x="246" y="165"/>
                </a:cxn>
                <a:cxn ang="0">
                  <a:pos x="168" y="231"/>
                </a:cxn>
                <a:cxn ang="0">
                  <a:pos x="103" y="305"/>
                </a:cxn>
                <a:cxn ang="0">
                  <a:pos x="53" y="385"/>
                </a:cxn>
                <a:cxn ang="0">
                  <a:pos x="19" y="472"/>
                </a:cxn>
                <a:cxn ang="0">
                  <a:pos x="2" y="561"/>
                </a:cxn>
                <a:cxn ang="0">
                  <a:pos x="783" y="606"/>
                </a:cxn>
                <a:cxn ang="0">
                  <a:pos x="898" y="577"/>
                </a:cxn>
                <a:cxn ang="0">
                  <a:pos x="936" y="525"/>
                </a:cxn>
                <a:cxn ang="0">
                  <a:pos x="987" y="481"/>
                </a:cxn>
                <a:cxn ang="0">
                  <a:pos x="1049" y="446"/>
                </a:cxn>
                <a:cxn ang="0">
                  <a:pos x="1118" y="420"/>
                </a:cxn>
                <a:cxn ang="0">
                  <a:pos x="1192" y="408"/>
                </a:cxn>
                <a:cxn ang="0">
                  <a:pos x="1267" y="408"/>
                </a:cxn>
                <a:cxn ang="0">
                  <a:pos x="1343" y="421"/>
                </a:cxn>
                <a:cxn ang="0">
                  <a:pos x="1414" y="447"/>
                </a:cxn>
                <a:cxn ang="0">
                  <a:pos x="1476" y="484"/>
                </a:cxn>
                <a:cxn ang="0">
                  <a:pos x="1527" y="530"/>
                </a:cxn>
                <a:cxn ang="0">
                  <a:pos x="1566" y="584"/>
                </a:cxn>
              </a:cxnLst>
              <a:rect l="0" t="0" r="r" b="b"/>
              <a:pathLst>
                <a:path w="1567" h="607">
                  <a:moveTo>
                    <a:pt x="1566" y="584"/>
                  </a:moveTo>
                  <a:lnTo>
                    <a:pt x="1561" y="540"/>
                  </a:lnTo>
                  <a:lnTo>
                    <a:pt x="1553" y="495"/>
                  </a:lnTo>
                  <a:lnTo>
                    <a:pt x="1541" y="452"/>
                  </a:lnTo>
                  <a:lnTo>
                    <a:pt x="1523" y="409"/>
                  </a:lnTo>
                  <a:lnTo>
                    <a:pt x="1503" y="368"/>
                  </a:lnTo>
                  <a:lnTo>
                    <a:pt x="1479" y="326"/>
                  </a:lnTo>
                  <a:lnTo>
                    <a:pt x="1450" y="288"/>
                  </a:lnTo>
                  <a:lnTo>
                    <a:pt x="1416" y="251"/>
                  </a:lnTo>
                  <a:lnTo>
                    <a:pt x="1382" y="215"/>
                  </a:lnTo>
                  <a:lnTo>
                    <a:pt x="1343" y="183"/>
                  </a:lnTo>
                  <a:lnTo>
                    <a:pt x="1301" y="152"/>
                  </a:lnTo>
                  <a:lnTo>
                    <a:pt x="1256" y="122"/>
                  </a:lnTo>
                  <a:lnTo>
                    <a:pt x="1208" y="96"/>
                  </a:lnTo>
                  <a:lnTo>
                    <a:pt x="1158" y="74"/>
                  </a:lnTo>
                  <a:lnTo>
                    <a:pt x="1107" y="54"/>
                  </a:lnTo>
                  <a:lnTo>
                    <a:pt x="1054" y="37"/>
                  </a:lnTo>
                  <a:lnTo>
                    <a:pt x="998" y="23"/>
                  </a:lnTo>
                  <a:lnTo>
                    <a:pt x="942" y="12"/>
                  </a:lnTo>
                  <a:lnTo>
                    <a:pt x="885" y="4"/>
                  </a:lnTo>
                  <a:lnTo>
                    <a:pt x="827" y="1"/>
                  </a:lnTo>
                  <a:lnTo>
                    <a:pt x="771" y="0"/>
                  </a:lnTo>
                  <a:lnTo>
                    <a:pt x="713" y="2"/>
                  </a:lnTo>
                  <a:lnTo>
                    <a:pt x="653" y="7"/>
                  </a:lnTo>
                  <a:lnTo>
                    <a:pt x="597" y="17"/>
                  </a:lnTo>
                  <a:lnTo>
                    <a:pt x="543" y="29"/>
                  </a:lnTo>
                  <a:lnTo>
                    <a:pt x="488" y="45"/>
                  </a:lnTo>
                  <a:lnTo>
                    <a:pt x="435" y="63"/>
                  </a:lnTo>
                  <a:lnTo>
                    <a:pt x="384" y="84"/>
                  </a:lnTo>
                  <a:lnTo>
                    <a:pt x="335" y="108"/>
                  </a:lnTo>
                  <a:lnTo>
                    <a:pt x="289" y="136"/>
                  </a:lnTo>
                  <a:lnTo>
                    <a:pt x="246" y="165"/>
                  </a:lnTo>
                  <a:lnTo>
                    <a:pt x="205" y="196"/>
                  </a:lnTo>
                  <a:lnTo>
                    <a:pt x="168" y="231"/>
                  </a:lnTo>
                  <a:lnTo>
                    <a:pt x="133" y="268"/>
                  </a:lnTo>
                  <a:lnTo>
                    <a:pt x="103" y="305"/>
                  </a:lnTo>
                  <a:lnTo>
                    <a:pt x="77" y="346"/>
                  </a:lnTo>
                  <a:lnTo>
                    <a:pt x="53" y="385"/>
                  </a:lnTo>
                  <a:lnTo>
                    <a:pt x="34" y="429"/>
                  </a:lnTo>
                  <a:lnTo>
                    <a:pt x="19" y="472"/>
                  </a:lnTo>
                  <a:lnTo>
                    <a:pt x="9" y="515"/>
                  </a:lnTo>
                  <a:lnTo>
                    <a:pt x="2" y="561"/>
                  </a:lnTo>
                  <a:lnTo>
                    <a:pt x="0" y="606"/>
                  </a:lnTo>
                  <a:lnTo>
                    <a:pt x="783" y="606"/>
                  </a:lnTo>
                  <a:lnTo>
                    <a:pt x="883" y="606"/>
                  </a:lnTo>
                  <a:lnTo>
                    <a:pt x="898" y="577"/>
                  </a:lnTo>
                  <a:lnTo>
                    <a:pt x="916" y="550"/>
                  </a:lnTo>
                  <a:lnTo>
                    <a:pt x="936" y="525"/>
                  </a:lnTo>
                  <a:lnTo>
                    <a:pt x="960" y="502"/>
                  </a:lnTo>
                  <a:lnTo>
                    <a:pt x="987" y="481"/>
                  </a:lnTo>
                  <a:lnTo>
                    <a:pt x="1018" y="462"/>
                  </a:lnTo>
                  <a:lnTo>
                    <a:pt x="1049" y="446"/>
                  </a:lnTo>
                  <a:lnTo>
                    <a:pt x="1083" y="432"/>
                  </a:lnTo>
                  <a:lnTo>
                    <a:pt x="1118" y="420"/>
                  </a:lnTo>
                  <a:lnTo>
                    <a:pt x="1154" y="413"/>
                  </a:lnTo>
                  <a:lnTo>
                    <a:pt x="1192" y="408"/>
                  </a:lnTo>
                  <a:lnTo>
                    <a:pt x="1229" y="408"/>
                  </a:lnTo>
                  <a:lnTo>
                    <a:pt x="1267" y="408"/>
                  </a:lnTo>
                  <a:lnTo>
                    <a:pt x="1306" y="414"/>
                  </a:lnTo>
                  <a:lnTo>
                    <a:pt x="1343" y="421"/>
                  </a:lnTo>
                  <a:lnTo>
                    <a:pt x="1379" y="434"/>
                  </a:lnTo>
                  <a:lnTo>
                    <a:pt x="1414" y="447"/>
                  </a:lnTo>
                  <a:lnTo>
                    <a:pt x="1445" y="463"/>
                  </a:lnTo>
                  <a:lnTo>
                    <a:pt x="1476" y="484"/>
                  </a:lnTo>
                  <a:lnTo>
                    <a:pt x="1503" y="507"/>
                  </a:lnTo>
                  <a:lnTo>
                    <a:pt x="1527" y="530"/>
                  </a:lnTo>
                  <a:lnTo>
                    <a:pt x="1548" y="557"/>
                  </a:lnTo>
                  <a:lnTo>
                    <a:pt x="1566" y="584"/>
                  </a:lnTo>
                </a:path>
              </a:pathLst>
            </a:custGeom>
            <a:solidFill>
              <a:srgbClr val="A100FF">
                <a:lumMod val="20000"/>
                <a:lumOff val="80000"/>
              </a:srgbClr>
            </a:solidFill>
            <a:ln w="1270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5">
              <a:extLst>
                <a:ext uri="{FF2B5EF4-FFF2-40B4-BE49-F238E27FC236}">
                  <a16:creationId xmlns:a16="http://schemas.microsoft.com/office/drawing/2014/main" id="{2EE3CE22-9EF0-43F7-8244-0CA4769183C6}"/>
                </a:ext>
              </a:extLst>
            </p:cNvPr>
            <p:cNvSpPr>
              <a:spLocks/>
            </p:cNvSpPr>
            <p:nvPr/>
          </p:nvSpPr>
          <p:spPr bwMode="auto">
            <a:xfrm>
              <a:off x="2557" y="2199"/>
              <a:ext cx="601" cy="1159"/>
            </a:xfrm>
            <a:custGeom>
              <a:avLst/>
              <a:gdLst/>
              <a:ahLst/>
              <a:cxnLst>
                <a:cxn ang="0">
                  <a:pos x="605" y="3"/>
                </a:cxn>
                <a:cxn ang="0">
                  <a:pos x="506" y="22"/>
                </a:cxn>
                <a:cxn ang="0">
                  <a:pos x="412" y="55"/>
                </a:cxn>
                <a:cxn ang="0">
                  <a:pos x="322" y="103"/>
                </a:cxn>
                <a:cxn ang="0">
                  <a:pos x="242" y="164"/>
                </a:cxn>
                <a:cxn ang="0">
                  <a:pos x="169" y="236"/>
                </a:cxn>
                <a:cxn ang="0">
                  <a:pos x="110" y="318"/>
                </a:cxn>
                <a:cxn ang="0">
                  <a:pos x="62" y="410"/>
                </a:cxn>
                <a:cxn ang="0">
                  <a:pos x="27" y="507"/>
                </a:cxn>
                <a:cxn ang="0">
                  <a:pos x="6" y="607"/>
                </a:cxn>
                <a:cxn ang="0">
                  <a:pos x="0" y="711"/>
                </a:cxn>
                <a:cxn ang="0">
                  <a:pos x="9" y="814"/>
                </a:cxn>
                <a:cxn ang="0">
                  <a:pos x="34" y="915"/>
                </a:cxn>
                <a:cxn ang="0">
                  <a:pos x="71" y="1010"/>
                </a:cxn>
                <a:cxn ang="0">
                  <a:pos x="122" y="1099"/>
                </a:cxn>
                <a:cxn ang="0">
                  <a:pos x="186" y="1180"/>
                </a:cxn>
                <a:cxn ang="0">
                  <a:pos x="259" y="1249"/>
                </a:cxn>
                <a:cxn ang="0">
                  <a:pos x="343" y="1307"/>
                </a:cxn>
                <a:cxn ang="0">
                  <a:pos x="433" y="1353"/>
                </a:cxn>
                <a:cxn ang="0">
                  <a:pos x="529" y="1382"/>
                </a:cxn>
                <a:cxn ang="0">
                  <a:pos x="627" y="1397"/>
                </a:cxn>
                <a:cxn ang="0">
                  <a:pos x="679" y="699"/>
                </a:cxn>
                <a:cxn ang="0">
                  <a:pos x="645" y="598"/>
                </a:cxn>
                <a:cxn ang="0">
                  <a:pos x="587" y="563"/>
                </a:cxn>
                <a:cxn ang="0">
                  <a:pos x="539" y="516"/>
                </a:cxn>
                <a:cxn ang="0">
                  <a:pos x="499" y="462"/>
                </a:cxn>
                <a:cxn ang="0">
                  <a:pos x="471" y="400"/>
                </a:cxn>
                <a:cxn ang="0">
                  <a:pos x="458" y="334"/>
                </a:cxn>
                <a:cxn ang="0">
                  <a:pos x="458" y="265"/>
                </a:cxn>
                <a:cxn ang="0">
                  <a:pos x="473" y="198"/>
                </a:cxn>
                <a:cxn ang="0">
                  <a:pos x="500" y="135"/>
                </a:cxn>
                <a:cxn ang="0">
                  <a:pos x="542" y="80"/>
                </a:cxn>
                <a:cxn ang="0">
                  <a:pos x="594" y="34"/>
                </a:cxn>
                <a:cxn ang="0">
                  <a:pos x="655" y="0"/>
                </a:cxn>
              </a:cxnLst>
              <a:rect l="0" t="0" r="r" b="b"/>
              <a:pathLst>
                <a:path w="680" h="1401">
                  <a:moveTo>
                    <a:pt x="655" y="0"/>
                  </a:moveTo>
                  <a:lnTo>
                    <a:pt x="605" y="3"/>
                  </a:lnTo>
                  <a:lnTo>
                    <a:pt x="556" y="11"/>
                  </a:lnTo>
                  <a:lnTo>
                    <a:pt x="506" y="22"/>
                  </a:lnTo>
                  <a:lnTo>
                    <a:pt x="459" y="37"/>
                  </a:lnTo>
                  <a:lnTo>
                    <a:pt x="412" y="55"/>
                  </a:lnTo>
                  <a:lnTo>
                    <a:pt x="367" y="77"/>
                  </a:lnTo>
                  <a:lnTo>
                    <a:pt x="322" y="103"/>
                  </a:lnTo>
                  <a:lnTo>
                    <a:pt x="281" y="132"/>
                  </a:lnTo>
                  <a:lnTo>
                    <a:pt x="242" y="164"/>
                  </a:lnTo>
                  <a:lnTo>
                    <a:pt x="204" y="198"/>
                  </a:lnTo>
                  <a:lnTo>
                    <a:pt x="169" y="236"/>
                  </a:lnTo>
                  <a:lnTo>
                    <a:pt x="139" y="276"/>
                  </a:lnTo>
                  <a:lnTo>
                    <a:pt x="110" y="318"/>
                  </a:lnTo>
                  <a:lnTo>
                    <a:pt x="84" y="363"/>
                  </a:lnTo>
                  <a:lnTo>
                    <a:pt x="62" y="410"/>
                  </a:lnTo>
                  <a:lnTo>
                    <a:pt x="42" y="457"/>
                  </a:lnTo>
                  <a:lnTo>
                    <a:pt x="27" y="507"/>
                  </a:lnTo>
                  <a:lnTo>
                    <a:pt x="15" y="557"/>
                  </a:lnTo>
                  <a:lnTo>
                    <a:pt x="6" y="607"/>
                  </a:lnTo>
                  <a:lnTo>
                    <a:pt x="1" y="659"/>
                  </a:lnTo>
                  <a:lnTo>
                    <a:pt x="0" y="711"/>
                  </a:lnTo>
                  <a:lnTo>
                    <a:pt x="4" y="762"/>
                  </a:lnTo>
                  <a:lnTo>
                    <a:pt x="9" y="814"/>
                  </a:lnTo>
                  <a:lnTo>
                    <a:pt x="19" y="866"/>
                  </a:lnTo>
                  <a:lnTo>
                    <a:pt x="34" y="915"/>
                  </a:lnTo>
                  <a:lnTo>
                    <a:pt x="51" y="963"/>
                  </a:lnTo>
                  <a:lnTo>
                    <a:pt x="71" y="1010"/>
                  </a:lnTo>
                  <a:lnTo>
                    <a:pt x="95" y="1056"/>
                  </a:lnTo>
                  <a:lnTo>
                    <a:pt x="122" y="1099"/>
                  </a:lnTo>
                  <a:lnTo>
                    <a:pt x="153" y="1141"/>
                  </a:lnTo>
                  <a:lnTo>
                    <a:pt x="186" y="1180"/>
                  </a:lnTo>
                  <a:lnTo>
                    <a:pt x="222" y="1215"/>
                  </a:lnTo>
                  <a:lnTo>
                    <a:pt x="259" y="1249"/>
                  </a:lnTo>
                  <a:lnTo>
                    <a:pt x="300" y="1280"/>
                  </a:lnTo>
                  <a:lnTo>
                    <a:pt x="343" y="1307"/>
                  </a:lnTo>
                  <a:lnTo>
                    <a:pt x="387" y="1332"/>
                  </a:lnTo>
                  <a:lnTo>
                    <a:pt x="433" y="1353"/>
                  </a:lnTo>
                  <a:lnTo>
                    <a:pt x="481" y="1369"/>
                  </a:lnTo>
                  <a:lnTo>
                    <a:pt x="529" y="1382"/>
                  </a:lnTo>
                  <a:lnTo>
                    <a:pt x="578" y="1391"/>
                  </a:lnTo>
                  <a:lnTo>
                    <a:pt x="627" y="1397"/>
                  </a:lnTo>
                  <a:lnTo>
                    <a:pt x="679" y="1400"/>
                  </a:lnTo>
                  <a:lnTo>
                    <a:pt x="679" y="699"/>
                  </a:lnTo>
                  <a:lnTo>
                    <a:pt x="679" y="610"/>
                  </a:lnTo>
                  <a:lnTo>
                    <a:pt x="645" y="598"/>
                  </a:lnTo>
                  <a:lnTo>
                    <a:pt x="616" y="580"/>
                  </a:lnTo>
                  <a:lnTo>
                    <a:pt x="587" y="563"/>
                  </a:lnTo>
                  <a:lnTo>
                    <a:pt x="563" y="541"/>
                  </a:lnTo>
                  <a:lnTo>
                    <a:pt x="539" y="516"/>
                  </a:lnTo>
                  <a:lnTo>
                    <a:pt x="517" y="490"/>
                  </a:lnTo>
                  <a:lnTo>
                    <a:pt x="499" y="462"/>
                  </a:lnTo>
                  <a:lnTo>
                    <a:pt x="484" y="431"/>
                  </a:lnTo>
                  <a:lnTo>
                    <a:pt x="471" y="400"/>
                  </a:lnTo>
                  <a:lnTo>
                    <a:pt x="463" y="368"/>
                  </a:lnTo>
                  <a:lnTo>
                    <a:pt x="458" y="334"/>
                  </a:lnTo>
                  <a:lnTo>
                    <a:pt x="456" y="300"/>
                  </a:lnTo>
                  <a:lnTo>
                    <a:pt x="458" y="265"/>
                  </a:lnTo>
                  <a:lnTo>
                    <a:pt x="463" y="232"/>
                  </a:lnTo>
                  <a:lnTo>
                    <a:pt x="473" y="198"/>
                  </a:lnTo>
                  <a:lnTo>
                    <a:pt x="485" y="166"/>
                  </a:lnTo>
                  <a:lnTo>
                    <a:pt x="500" y="135"/>
                  </a:lnTo>
                  <a:lnTo>
                    <a:pt x="520" y="106"/>
                  </a:lnTo>
                  <a:lnTo>
                    <a:pt x="542" y="80"/>
                  </a:lnTo>
                  <a:lnTo>
                    <a:pt x="568" y="55"/>
                  </a:lnTo>
                  <a:lnTo>
                    <a:pt x="594" y="34"/>
                  </a:lnTo>
                  <a:lnTo>
                    <a:pt x="623" y="14"/>
                  </a:lnTo>
                  <a:lnTo>
                    <a:pt x="655" y="0"/>
                  </a:lnTo>
                </a:path>
              </a:pathLst>
            </a:custGeom>
            <a:solidFill>
              <a:srgbClr val="A100FF">
                <a:lumMod val="20000"/>
                <a:lumOff val="80000"/>
              </a:srgbClr>
            </a:solidFill>
            <a:ln w="1270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6">
              <a:extLst>
                <a:ext uri="{FF2B5EF4-FFF2-40B4-BE49-F238E27FC236}">
                  <a16:creationId xmlns:a16="http://schemas.microsoft.com/office/drawing/2014/main" id="{702C38B3-94C4-474C-A8EA-582CCF515B29}"/>
                </a:ext>
              </a:extLst>
            </p:cNvPr>
            <p:cNvSpPr>
              <a:spLocks/>
            </p:cNvSpPr>
            <p:nvPr/>
          </p:nvSpPr>
          <p:spPr bwMode="auto">
            <a:xfrm>
              <a:off x="2884" y="2370"/>
              <a:ext cx="1388" cy="501"/>
            </a:xfrm>
            <a:custGeom>
              <a:avLst/>
              <a:gdLst/>
              <a:ahLst/>
              <a:cxnLst>
                <a:cxn ang="0">
                  <a:pos x="4" y="65"/>
                </a:cxn>
                <a:cxn ang="0">
                  <a:pos x="24" y="154"/>
                </a:cxn>
                <a:cxn ang="0">
                  <a:pos x="62" y="238"/>
                </a:cxn>
                <a:cxn ang="0">
                  <a:pos x="115" y="317"/>
                </a:cxn>
                <a:cxn ang="0">
                  <a:pos x="183" y="390"/>
                </a:cxn>
                <a:cxn ang="0">
                  <a:pos x="264" y="454"/>
                </a:cxn>
                <a:cxn ang="0">
                  <a:pos x="357" y="508"/>
                </a:cxn>
                <a:cxn ang="0">
                  <a:pos x="458" y="551"/>
                </a:cxn>
                <a:cxn ang="0">
                  <a:pos x="567" y="582"/>
                </a:cxn>
                <a:cxn ang="0">
                  <a:pos x="680" y="600"/>
                </a:cxn>
                <a:cxn ang="0">
                  <a:pos x="794" y="605"/>
                </a:cxn>
                <a:cxn ang="0">
                  <a:pos x="910" y="597"/>
                </a:cxn>
                <a:cxn ang="0">
                  <a:pos x="1022" y="576"/>
                </a:cxn>
                <a:cxn ang="0">
                  <a:pos x="1130" y="543"/>
                </a:cxn>
                <a:cxn ang="0">
                  <a:pos x="1230" y="496"/>
                </a:cxn>
                <a:cxn ang="0">
                  <a:pos x="1319" y="440"/>
                </a:cxn>
                <a:cxn ang="0">
                  <a:pos x="1397" y="374"/>
                </a:cxn>
                <a:cxn ang="0">
                  <a:pos x="1462" y="300"/>
                </a:cxn>
                <a:cxn ang="0">
                  <a:pos x="1512" y="219"/>
                </a:cxn>
                <a:cxn ang="0">
                  <a:pos x="1546" y="133"/>
                </a:cxn>
                <a:cxn ang="0">
                  <a:pos x="1563" y="45"/>
                </a:cxn>
                <a:cxn ang="0">
                  <a:pos x="782" y="0"/>
                </a:cxn>
                <a:cxn ang="0">
                  <a:pos x="667" y="27"/>
                </a:cxn>
                <a:cxn ang="0">
                  <a:pos x="627" y="76"/>
                </a:cxn>
                <a:cxn ang="0">
                  <a:pos x="573" y="117"/>
                </a:cxn>
                <a:cxn ang="0">
                  <a:pos x="511" y="146"/>
                </a:cxn>
                <a:cxn ang="0">
                  <a:pos x="441" y="165"/>
                </a:cxn>
                <a:cxn ang="0">
                  <a:pos x="369" y="170"/>
                </a:cxn>
                <a:cxn ang="0">
                  <a:pos x="289" y="171"/>
                </a:cxn>
                <a:cxn ang="0">
                  <a:pos x="212" y="159"/>
                </a:cxn>
                <a:cxn ang="0">
                  <a:pos x="139" y="133"/>
                </a:cxn>
                <a:cxn ang="0">
                  <a:pos x="74" y="95"/>
                </a:cxn>
                <a:cxn ang="0">
                  <a:pos x="22" y="48"/>
                </a:cxn>
              </a:cxnLst>
              <a:rect l="0" t="0" r="r" b="b"/>
              <a:pathLst>
                <a:path w="1567" h="606">
                  <a:moveTo>
                    <a:pt x="0" y="20"/>
                  </a:moveTo>
                  <a:lnTo>
                    <a:pt x="4" y="65"/>
                  </a:lnTo>
                  <a:lnTo>
                    <a:pt x="12" y="109"/>
                  </a:lnTo>
                  <a:lnTo>
                    <a:pt x="24" y="154"/>
                  </a:lnTo>
                  <a:lnTo>
                    <a:pt x="42" y="196"/>
                  </a:lnTo>
                  <a:lnTo>
                    <a:pt x="62" y="238"/>
                  </a:lnTo>
                  <a:lnTo>
                    <a:pt x="86" y="279"/>
                  </a:lnTo>
                  <a:lnTo>
                    <a:pt x="115" y="317"/>
                  </a:lnTo>
                  <a:lnTo>
                    <a:pt x="149" y="354"/>
                  </a:lnTo>
                  <a:lnTo>
                    <a:pt x="183" y="390"/>
                  </a:lnTo>
                  <a:lnTo>
                    <a:pt x="222" y="423"/>
                  </a:lnTo>
                  <a:lnTo>
                    <a:pt x="264" y="454"/>
                  </a:lnTo>
                  <a:lnTo>
                    <a:pt x="309" y="482"/>
                  </a:lnTo>
                  <a:lnTo>
                    <a:pt x="357" y="508"/>
                  </a:lnTo>
                  <a:lnTo>
                    <a:pt x="407" y="530"/>
                  </a:lnTo>
                  <a:lnTo>
                    <a:pt x="458" y="551"/>
                  </a:lnTo>
                  <a:lnTo>
                    <a:pt x="511" y="567"/>
                  </a:lnTo>
                  <a:lnTo>
                    <a:pt x="567" y="582"/>
                  </a:lnTo>
                  <a:lnTo>
                    <a:pt x="623" y="592"/>
                  </a:lnTo>
                  <a:lnTo>
                    <a:pt x="680" y="600"/>
                  </a:lnTo>
                  <a:lnTo>
                    <a:pt x="736" y="603"/>
                  </a:lnTo>
                  <a:lnTo>
                    <a:pt x="794" y="605"/>
                  </a:lnTo>
                  <a:lnTo>
                    <a:pt x="852" y="603"/>
                  </a:lnTo>
                  <a:lnTo>
                    <a:pt x="910" y="597"/>
                  </a:lnTo>
                  <a:lnTo>
                    <a:pt x="967" y="587"/>
                  </a:lnTo>
                  <a:lnTo>
                    <a:pt x="1022" y="576"/>
                  </a:lnTo>
                  <a:lnTo>
                    <a:pt x="1077" y="560"/>
                  </a:lnTo>
                  <a:lnTo>
                    <a:pt x="1130" y="543"/>
                  </a:lnTo>
                  <a:lnTo>
                    <a:pt x="1181" y="521"/>
                  </a:lnTo>
                  <a:lnTo>
                    <a:pt x="1230" y="496"/>
                  </a:lnTo>
                  <a:lnTo>
                    <a:pt x="1276" y="470"/>
                  </a:lnTo>
                  <a:lnTo>
                    <a:pt x="1319" y="440"/>
                  </a:lnTo>
                  <a:lnTo>
                    <a:pt x="1360" y="408"/>
                  </a:lnTo>
                  <a:lnTo>
                    <a:pt x="1397" y="374"/>
                  </a:lnTo>
                  <a:lnTo>
                    <a:pt x="1432" y="338"/>
                  </a:lnTo>
                  <a:lnTo>
                    <a:pt x="1462" y="300"/>
                  </a:lnTo>
                  <a:lnTo>
                    <a:pt x="1488" y="260"/>
                  </a:lnTo>
                  <a:lnTo>
                    <a:pt x="1512" y="219"/>
                  </a:lnTo>
                  <a:lnTo>
                    <a:pt x="1531" y="176"/>
                  </a:lnTo>
                  <a:lnTo>
                    <a:pt x="1546" y="133"/>
                  </a:lnTo>
                  <a:lnTo>
                    <a:pt x="1556" y="90"/>
                  </a:lnTo>
                  <a:lnTo>
                    <a:pt x="1563" y="45"/>
                  </a:lnTo>
                  <a:lnTo>
                    <a:pt x="1566" y="0"/>
                  </a:lnTo>
                  <a:lnTo>
                    <a:pt x="782" y="0"/>
                  </a:lnTo>
                  <a:lnTo>
                    <a:pt x="682" y="0"/>
                  </a:lnTo>
                  <a:lnTo>
                    <a:pt x="667" y="27"/>
                  </a:lnTo>
                  <a:lnTo>
                    <a:pt x="648" y="53"/>
                  </a:lnTo>
                  <a:lnTo>
                    <a:pt x="627" y="76"/>
                  </a:lnTo>
                  <a:lnTo>
                    <a:pt x="601" y="98"/>
                  </a:lnTo>
                  <a:lnTo>
                    <a:pt x="573" y="117"/>
                  </a:lnTo>
                  <a:lnTo>
                    <a:pt x="543" y="133"/>
                  </a:lnTo>
                  <a:lnTo>
                    <a:pt x="511" y="146"/>
                  </a:lnTo>
                  <a:lnTo>
                    <a:pt x="477" y="158"/>
                  </a:lnTo>
                  <a:lnTo>
                    <a:pt x="441" y="165"/>
                  </a:lnTo>
                  <a:lnTo>
                    <a:pt x="407" y="169"/>
                  </a:lnTo>
                  <a:lnTo>
                    <a:pt x="369" y="170"/>
                  </a:lnTo>
                  <a:lnTo>
                    <a:pt x="328" y="172"/>
                  </a:lnTo>
                  <a:lnTo>
                    <a:pt x="289" y="171"/>
                  </a:lnTo>
                  <a:lnTo>
                    <a:pt x="249" y="167"/>
                  </a:lnTo>
                  <a:lnTo>
                    <a:pt x="212" y="159"/>
                  </a:lnTo>
                  <a:lnTo>
                    <a:pt x="173" y="146"/>
                  </a:lnTo>
                  <a:lnTo>
                    <a:pt x="139" y="133"/>
                  </a:lnTo>
                  <a:lnTo>
                    <a:pt x="104" y="116"/>
                  </a:lnTo>
                  <a:lnTo>
                    <a:pt x="74" y="95"/>
                  </a:lnTo>
                  <a:lnTo>
                    <a:pt x="46" y="74"/>
                  </a:lnTo>
                  <a:lnTo>
                    <a:pt x="22" y="48"/>
                  </a:lnTo>
                  <a:lnTo>
                    <a:pt x="0" y="20"/>
                  </a:lnTo>
                </a:path>
              </a:pathLst>
            </a:custGeom>
            <a:solidFill>
              <a:srgbClr val="A100FF">
                <a:lumMod val="20000"/>
                <a:lumOff val="80000"/>
              </a:srgbClr>
            </a:solidFill>
            <a:ln w="1270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7">
              <a:extLst>
                <a:ext uri="{FF2B5EF4-FFF2-40B4-BE49-F238E27FC236}">
                  <a16:creationId xmlns:a16="http://schemas.microsoft.com/office/drawing/2014/main" id="{16709393-662B-494A-88E3-9031230497B8}"/>
                </a:ext>
              </a:extLst>
            </p:cNvPr>
            <p:cNvSpPr>
              <a:spLocks/>
            </p:cNvSpPr>
            <p:nvPr/>
          </p:nvSpPr>
          <p:spPr bwMode="auto">
            <a:xfrm>
              <a:off x="3088" y="1392"/>
              <a:ext cx="604" cy="1162"/>
            </a:xfrm>
            <a:custGeom>
              <a:avLst/>
              <a:gdLst/>
              <a:ahLst/>
              <a:cxnLst>
                <a:cxn ang="0">
                  <a:pos x="77" y="1401"/>
                </a:cxn>
                <a:cxn ang="0">
                  <a:pos x="173" y="1382"/>
                </a:cxn>
                <a:cxn ang="0">
                  <a:pos x="265" y="1350"/>
                </a:cxn>
                <a:cxn ang="0">
                  <a:pos x="352" y="1303"/>
                </a:cxn>
                <a:cxn ang="0">
                  <a:pos x="434" y="1245"/>
                </a:cxn>
                <a:cxn ang="0">
                  <a:pos x="504" y="1175"/>
                </a:cxn>
                <a:cxn ang="0">
                  <a:pos x="566" y="1096"/>
                </a:cxn>
                <a:cxn ang="0">
                  <a:pos x="614" y="1008"/>
                </a:cxn>
                <a:cxn ang="0">
                  <a:pos x="650" y="914"/>
                </a:cxn>
                <a:cxn ang="0">
                  <a:pos x="672" y="815"/>
                </a:cxn>
                <a:cxn ang="0">
                  <a:pos x="682" y="714"/>
                </a:cxn>
                <a:cxn ang="0">
                  <a:pos x="676" y="613"/>
                </a:cxn>
                <a:cxn ang="0">
                  <a:pos x="655" y="514"/>
                </a:cxn>
                <a:cxn ang="0">
                  <a:pos x="622" y="418"/>
                </a:cxn>
                <a:cxn ang="0">
                  <a:pos x="575" y="328"/>
                </a:cxn>
                <a:cxn ang="0">
                  <a:pos x="518" y="247"/>
                </a:cxn>
                <a:cxn ang="0">
                  <a:pos x="450" y="175"/>
                </a:cxn>
                <a:cxn ang="0">
                  <a:pos x="372" y="113"/>
                </a:cxn>
                <a:cxn ang="0">
                  <a:pos x="285" y="64"/>
                </a:cxn>
                <a:cxn ang="0">
                  <a:pos x="194" y="29"/>
                </a:cxn>
                <a:cxn ang="0">
                  <a:pos x="97" y="8"/>
                </a:cxn>
                <a:cxn ang="0">
                  <a:pos x="0" y="0"/>
                </a:cxn>
                <a:cxn ang="0">
                  <a:pos x="34" y="756"/>
                </a:cxn>
                <a:cxn ang="0">
                  <a:pos x="96" y="809"/>
                </a:cxn>
                <a:cxn ang="0">
                  <a:pos x="148" y="872"/>
                </a:cxn>
                <a:cxn ang="0">
                  <a:pos x="188" y="945"/>
                </a:cxn>
                <a:cxn ang="0">
                  <a:pos x="214" y="1023"/>
                </a:cxn>
                <a:cxn ang="0">
                  <a:pos x="225" y="1104"/>
                </a:cxn>
                <a:cxn ang="0">
                  <a:pos x="219" y="1172"/>
                </a:cxn>
                <a:cxn ang="0">
                  <a:pos x="198" y="1238"/>
                </a:cxn>
                <a:cxn ang="0">
                  <a:pos x="163" y="1297"/>
                </a:cxn>
                <a:cxn ang="0">
                  <a:pos x="115" y="1348"/>
                </a:cxn>
                <a:cxn ang="0">
                  <a:pos x="59" y="1389"/>
                </a:cxn>
              </a:cxnLst>
              <a:rect l="0" t="0" r="r" b="b"/>
              <a:pathLst>
                <a:path w="683" h="1405">
                  <a:moveTo>
                    <a:pt x="27" y="1404"/>
                  </a:moveTo>
                  <a:lnTo>
                    <a:pt x="77" y="1401"/>
                  </a:lnTo>
                  <a:lnTo>
                    <a:pt x="125" y="1394"/>
                  </a:lnTo>
                  <a:lnTo>
                    <a:pt x="173" y="1382"/>
                  </a:lnTo>
                  <a:lnTo>
                    <a:pt x="220" y="1368"/>
                  </a:lnTo>
                  <a:lnTo>
                    <a:pt x="265" y="1350"/>
                  </a:lnTo>
                  <a:lnTo>
                    <a:pt x="310" y="1329"/>
                  </a:lnTo>
                  <a:lnTo>
                    <a:pt x="352" y="1303"/>
                  </a:lnTo>
                  <a:lnTo>
                    <a:pt x="395" y="1276"/>
                  </a:lnTo>
                  <a:lnTo>
                    <a:pt x="434" y="1245"/>
                  </a:lnTo>
                  <a:lnTo>
                    <a:pt x="469" y="1212"/>
                  </a:lnTo>
                  <a:lnTo>
                    <a:pt x="504" y="1175"/>
                  </a:lnTo>
                  <a:lnTo>
                    <a:pt x="537" y="1137"/>
                  </a:lnTo>
                  <a:lnTo>
                    <a:pt x="566" y="1096"/>
                  </a:lnTo>
                  <a:lnTo>
                    <a:pt x="591" y="1053"/>
                  </a:lnTo>
                  <a:lnTo>
                    <a:pt x="614" y="1008"/>
                  </a:lnTo>
                  <a:lnTo>
                    <a:pt x="633" y="962"/>
                  </a:lnTo>
                  <a:lnTo>
                    <a:pt x="650" y="914"/>
                  </a:lnTo>
                  <a:lnTo>
                    <a:pt x="662" y="865"/>
                  </a:lnTo>
                  <a:lnTo>
                    <a:pt x="672" y="815"/>
                  </a:lnTo>
                  <a:lnTo>
                    <a:pt x="677" y="765"/>
                  </a:lnTo>
                  <a:lnTo>
                    <a:pt x="682" y="714"/>
                  </a:lnTo>
                  <a:lnTo>
                    <a:pt x="680" y="663"/>
                  </a:lnTo>
                  <a:lnTo>
                    <a:pt x="676" y="613"/>
                  </a:lnTo>
                  <a:lnTo>
                    <a:pt x="668" y="563"/>
                  </a:lnTo>
                  <a:lnTo>
                    <a:pt x="655" y="514"/>
                  </a:lnTo>
                  <a:lnTo>
                    <a:pt x="640" y="465"/>
                  </a:lnTo>
                  <a:lnTo>
                    <a:pt x="622" y="418"/>
                  </a:lnTo>
                  <a:lnTo>
                    <a:pt x="600" y="373"/>
                  </a:lnTo>
                  <a:lnTo>
                    <a:pt x="575" y="328"/>
                  </a:lnTo>
                  <a:lnTo>
                    <a:pt x="549" y="286"/>
                  </a:lnTo>
                  <a:lnTo>
                    <a:pt x="518" y="247"/>
                  </a:lnTo>
                  <a:lnTo>
                    <a:pt x="484" y="210"/>
                  </a:lnTo>
                  <a:lnTo>
                    <a:pt x="450" y="175"/>
                  </a:lnTo>
                  <a:lnTo>
                    <a:pt x="411" y="142"/>
                  </a:lnTo>
                  <a:lnTo>
                    <a:pt x="372" y="113"/>
                  </a:lnTo>
                  <a:lnTo>
                    <a:pt x="329" y="87"/>
                  </a:lnTo>
                  <a:lnTo>
                    <a:pt x="285" y="64"/>
                  </a:lnTo>
                  <a:lnTo>
                    <a:pt x="241" y="45"/>
                  </a:lnTo>
                  <a:lnTo>
                    <a:pt x="194" y="29"/>
                  </a:lnTo>
                  <a:lnTo>
                    <a:pt x="146" y="17"/>
                  </a:lnTo>
                  <a:lnTo>
                    <a:pt x="97" y="8"/>
                  </a:lnTo>
                  <a:lnTo>
                    <a:pt x="49" y="2"/>
                  </a:lnTo>
                  <a:lnTo>
                    <a:pt x="0" y="0"/>
                  </a:lnTo>
                  <a:lnTo>
                    <a:pt x="0" y="734"/>
                  </a:lnTo>
                  <a:lnTo>
                    <a:pt x="34" y="756"/>
                  </a:lnTo>
                  <a:lnTo>
                    <a:pt x="67" y="781"/>
                  </a:lnTo>
                  <a:lnTo>
                    <a:pt x="96" y="809"/>
                  </a:lnTo>
                  <a:lnTo>
                    <a:pt x="125" y="840"/>
                  </a:lnTo>
                  <a:lnTo>
                    <a:pt x="148" y="872"/>
                  </a:lnTo>
                  <a:lnTo>
                    <a:pt x="170" y="908"/>
                  </a:lnTo>
                  <a:lnTo>
                    <a:pt x="188" y="945"/>
                  </a:lnTo>
                  <a:lnTo>
                    <a:pt x="203" y="983"/>
                  </a:lnTo>
                  <a:lnTo>
                    <a:pt x="214" y="1023"/>
                  </a:lnTo>
                  <a:lnTo>
                    <a:pt x="221" y="1062"/>
                  </a:lnTo>
                  <a:lnTo>
                    <a:pt x="225" y="1104"/>
                  </a:lnTo>
                  <a:lnTo>
                    <a:pt x="225" y="1138"/>
                  </a:lnTo>
                  <a:lnTo>
                    <a:pt x="219" y="1172"/>
                  </a:lnTo>
                  <a:lnTo>
                    <a:pt x="210" y="1206"/>
                  </a:lnTo>
                  <a:lnTo>
                    <a:pt x="198" y="1238"/>
                  </a:lnTo>
                  <a:lnTo>
                    <a:pt x="181" y="1269"/>
                  </a:lnTo>
                  <a:lnTo>
                    <a:pt x="163" y="1297"/>
                  </a:lnTo>
                  <a:lnTo>
                    <a:pt x="140" y="1324"/>
                  </a:lnTo>
                  <a:lnTo>
                    <a:pt x="115" y="1348"/>
                  </a:lnTo>
                  <a:lnTo>
                    <a:pt x="89" y="1370"/>
                  </a:lnTo>
                  <a:lnTo>
                    <a:pt x="59" y="1389"/>
                  </a:lnTo>
                  <a:lnTo>
                    <a:pt x="27" y="1404"/>
                  </a:lnTo>
                </a:path>
              </a:pathLst>
            </a:custGeom>
            <a:solidFill>
              <a:srgbClr val="A100FF">
                <a:lumMod val="20000"/>
                <a:lumOff val="80000"/>
              </a:srgbClr>
            </a:solidFill>
            <a:ln w="1270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Oval 8">
              <a:extLst>
                <a:ext uri="{FF2B5EF4-FFF2-40B4-BE49-F238E27FC236}">
                  <a16:creationId xmlns:a16="http://schemas.microsoft.com/office/drawing/2014/main" id="{01FC48AA-649C-4606-8BAA-A55EAD09A98A}"/>
                </a:ext>
              </a:extLst>
            </p:cNvPr>
            <p:cNvSpPr>
              <a:spLocks noChangeAspect="1" noChangeArrowheads="1"/>
            </p:cNvSpPr>
            <p:nvPr/>
          </p:nvSpPr>
          <p:spPr bwMode="auto">
            <a:xfrm>
              <a:off x="2884" y="2199"/>
              <a:ext cx="438" cy="404"/>
            </a:xfrm>
            <a:prstGeom prst="ellipse">
              <a:avLst/>
            </a:prstGeom>
            <a:solidFill>
              <a:srgbClr val="A055F5"/>
            </a:solidFill>
            <a:ln w="12700">
              <a:solidFill>
                <a:srgbClr val="FFFFFF"/>
              </a:solidFill>
              <a:round/>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9">
              <a:extLst>
                <a:ext uri="{FF2B5EF4-FFF2-40B4-BE49-F238E27FC236}">
                  <a16:creationId xmlns:a16="http://schemas.microsoft.com/office/drawing/2014/main" id="{9B763E7D-404F-4953-87A2-62DEB74770D6}"/>
                </a:ext>
              </a:extLst>
            </p:cNvPr>
            <p:cNvSpPr txBox="1">
              <a:spLocks noChangeArrowheads="1"/>
            </p:cNvSpPr>
            <p:nvPr/>
          </p:nvSpPr>
          <p:spPr bwMode="auto">
            <a:xfrm>
              <a:off x="3260" y="1892"/>
              <a:ext cx="259" cy="161"/>
            </a:xfrm>
            <a:prstGeom prst="rect">
              <a:avLst/>
            </a:prstGeom>
            <a:noFill/>
            <a:ln w="2540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a:t>
              </a:r>
            </a:p>
          </p:txBody>
        </p:sp>
        <p:sp>
          <p:nvSpPr>
            <p:cNvPr id="12" name="Text Box 10">
              <a:extLst>
                <a:ext uri="{FF2B5EF4-FFF2-40B4-BE49-F238E27FC236}">
                  <a16:creationId xmlns:a16="http://schemas.microsoft.com/office/drawing/2014/main" id="{2B14BF72-A2D0-40DB-9AAD-6D493172A99A}"/>
                </a:ext>
              </a:extLst>
            </p:cNvPr>
            <p:cNvSpPr txBox="1">
              <a:spLocks noChangeArrowheads="1"/>
            </p:cNvSpPr>
            <p:nvPr/>
          </p:nvSpPr>
          <p:spPr bwMode="auto">
            <a:xfrm>
              <a:off x="3448" y="2540"/>
              <a:ext cx="259" cy="161"/>
            </a:xfrm>
            <a:prstGeom prst="rect">
              <a:avLst/>
            </a:prstGeom>
            <a:noFill/>
            <a:ln w="2540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a:t>
              </a:r>
            </a:p>
          </p:txBody>
        </p:sp>
        <p:sp>
          <p:nvSpPr>
            <p:cNvPr id="13" name="Text Box 11">
              <a:extLst>
                <a:ext uri="{FF2B5EF4-FFF2-40B4-BE49-F238E27FC236}">
                  <a16:creationId xmlns:a16="http://schemas.microsoft.com/office/drawing/2014/main" id="{22D01ACD-19ED-4DB1-AB98-FCA81E93DC50}"/>
                </a:ext>
              </a:extLst>
            </p:cNvPr>
            <p:cNvSpPr txBox="1">
              <a:spLocks noChangeArrowheads="1"/>
            </p:cNvSpPr>
            <p:nvPr/>
          </p:nvSpPr>
          <p:spPr bwMode="auto">
            <a:xfrm>
              <a:off x="2728" y="2698"/>
              <a:ext cx="259" cy="161"/>
            </a:xfrm>
            <a:prstGeom prst="rect">
              <a:avLst/>
            </a:prstGeom>
            <a:noFill/>
            <a:ln w="2540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Text Box 12">
              <a:extLst>
                <a:ext uri="{FF2B5EF4-FFF2-40B4-BE49-F238E27FC236}">
                  <a16:creationId xmlns:a16="http://schemas.microsoft.com/office/drawing/2014/main" id="{33B0A2A2-1123-4758-A7BE-F549D54DB4B8}"/>
                </a:ext>
              </a:extLst>
            </p:cNvPr>
            <p:cNvSpPr txBox="1">
              <a:spLocks noChangeArrowheads="1"/>
            </p:cNvSpPr>
            <p:nvPr/>
          </p:nvSpPr>
          <p:spPr bwMode="auto">
            <a:xfrm>
              <a:off x="2533" y="2063"/>
              <a:ext cx="259" cy="161"/>
            </a:xfrm>
            <a:prstGeom prst="rect">
              <a:avLst/>
            </a:prstGeom>
            <a:noFill/>
            <a:ln w="2540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81CB6595-3E51-4153-9EF9-183A8971FFE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92489742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terative Flow 1</a:t>
            </a:r>
          </a:p>
        </p:txBody>
      </p:sp>
      <p:sp>
        <p:nvSpPr>
          <p:cNvPr id="4" name="Freeform: Shape 3">
            <a:hlinkClick r:id="rId9"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Oval 29">
            <a:extLst>
              <a:ext uri="{FF2B5EF4-FFF2-40B4-BE49-F238E27FC236}">
                <a16:creationId xmlns:a16="http://schemas.microsoft.com/office/drawing/2014/main" id="{84A5EE20-BE92-4D16-8BE1-D68F381154EF}"/>
              </a:ext>
            </a:extLst>
          </p:cNvPr>
          <p:cNvSpPr>
            <a:spLocks noChangeArrowheads="1"/>
          </p:cNvSpPr>
          <p:nvPr>
            <p:custDataLst>
              <p:tags r:id="rId1"/>
            </p:custDataLst>
          </p:nvPr>
        </p:nvSpPr>
        <p:spPr bwMode="auto">
          <a:xfrm>
            <a:off x="5242268" y="1219200"/>
            <a:ext cx="2160000" cy="540000"/>
          </a:xfrm>
          <a:prstGeom prst="rect">
            <a:avLst/>
          </a:prstGeom>
          <a:solidFill>
            <a:srgbClr val="96968C">
              <a:lumMod val="20000"/>
              <a:lumOff val="80000"/>
            </a:srgbClr>
          </a:solidFill>
          <a:ln w="6350">
            <a:noFill/>
            <a:round/>
            <a:headEnd/>
            <a:tailEnd/>
          </a:ln>
          <a:effectLst/>
        </p:spPr>
        <p:txBody>
          <a:bodyPr wrap="none"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Graphik"/>
                <a:ea typeface="+mn-ea"/>
                <a:cs typeface="+mn-cs"/>
              </a:rPr>
              <a:t>Text</a:t>
            </a: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Oval 34">
            <a:extLst>
              <a:ext uri="{FF2B5EF4-FFF2-40B4-BE49-F238E27FC236}">
                <a16:creationId xmlns:a16="http://schemas.microsoft.com/office/drawing/2014/main" id="{1906198E-1227-4DAB-8AA1-6F880F6631A4}"/>
              </a:ext>
            </a:extLst>
          </p:cNvPr>
          <p:cNvSpPr>
            <a:spLocks noChangeArrowheads="1"/>
          </p:cNvSpPr>
          <p:nvPr>
            <p:custDataLst>
              <p:tags r:id="rId2"/>
            </p:custDataLst>
          </p:nvPr>
        </p:nvSpPr>
        <p:spPr bwMode="auto">
          <a:xfrm>
            <a:off x="5229777" y="5335976"/>
            <a:ext cx="2160000" cy="540000"/>
          </a:xfrm>
          <a:prstGeom prst="rect">
            <a:avLst/>
          </a:prstGeom>
          <a:solidFill>
            <a:srgbClr val="96968C">
              <a:lumMod val="20000"/>
              <a:lumOff val="80000"/>
            </a:srgbClr>
          </a:solidFill>
          <a:ln w="6350">
            <a:noFill/>
            <a:round/>
            <a:headEnd/>
            <a:tailEnd/>
          </a:ln>
          <a:effectLst/>
        </p:spPr>
        <p:txBody>
          <a:bodyPr wrap="none"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Graphik"/>
                <a:ea typeface="+mn-ea"/>
                <a:cs typeface="+mn-cs"/>
              </a:rPr>
              <a:t>Text</a:t>
            </a: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Oval 30">
            <a:extLst>
              <a:ext uri="{FF2B5EF4-FFF2-40B4-BE49-F238E27FC236}">
                <a16:creationId xmlns:a16="http://schemas.microsoft.com/office/drawing/2014/main" id="{CB52DC5A-22A1-48FA-947D-95D9582D5FBC}"/>
              </a:ext>
            </a:extLst>
          </p:cNvPr>
          <p:cNvSpPr>
            <a:spLocks noChangeArrowheads="1"/>
          </p:cNvSpPr>
          <p:nvPr>
            <p:custDataLst>
              <p:tags r:id="rId3"/>
            </p:custDataLst>
          </p:nvPr>
        </p:nvSpPr>
        <p:spPr bwMode="auto">
          <a:xfrm>
            <a:off x="8198438" y="3277588"/>
            <a:ext cx="2160000" cy="540000"/>
          </a:xfrm>
          <a:prstGeom prst="rect">
            <a:avLst/>
          </a:prstGeom>
          <a:solidFill>
            <a:srgbClr val="96968C">
              <a:lumMod val="20000"/>
              <a:lumOff val="80000"/>
            </a:srgbClr>
          </a:solidFill>
          <a:ln w="6350">
            <a:noFill/>
            <a:round/>
            <a:headEnd/>
            <a:tailEnd/>
          </a:ln>
          <a:effectLst/>
        </p:spPr>
        <p:txBody>
          <a:bodyPr wrap="none"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Graphik"/>
                <a:ea typeface="+mn-ea"/>
                <a:cs typeface="+mn-cs"/>
              </a:rPr>
              <a:t>Text</a:t>
            </a: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Oval 35">
            <a:extLst>
              <a:ext uri="{FF2B5EF4-FFF2-40B4-BE49-F238E27FC236}">
                <a16:creationId xmlns:a16="http://schemas.microsoft.com/office/drawing/2014/main" id="{C5EC0FAD-85EB-45B9-B345-7BAAF62B2233}"/>
              </a:ext>
            </a:extLst>
          </p:cNvPr>
          <p:cNvSpPr>
            <a:spLocks noChangeArrowheads="1"/>
          </p:cNvSpPr>
          <p:nvPr>
            <p:custDataLst>
              <p:tags r:id="rId4"/>
            </p:custDataLst>
          </p:nvPr>
        </p:nvSpPr>
        <p:spPr bwMode="auto">
          <a:xfrm>
            <a:off x="2273605" y="3272323"/>
            <a:ext cx="2160000" cy="540000"/>
          </a:xfrm>
          <a:prstGeom prst="rect">
            <a:avLst/>
          </a:prstGeom>
          <a:solidFill>
            <a:srgbClr val="96968C">
              <a:lumMod val="20000"/>
              <a:lumOff val="80000"/>
            </a:srgbClr>
          </a:solidFill>
          <a:ln w="6350">
            <a:noFill/>
            <a:round/>
            <a:headEnd/>
            <a:tailEnd/>
          </a:ln>
          <a:effectLst/>
        </p:spPr>
        <p:txBody>
          <a:bodyPr wrap="none"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Graphik"/>
                <a:ea typeface="+mn-ea"/>
                <a:cs typeface="+mn-cs"/>
              </a:rPr>
              <a:t>Text</a:t>
            </a: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nvGrpSpPr>
          <p:cNvPr id="9" name="Group 8">
            <a:extLst>
              <a:ext uri="{FF2B5EF4-FFF2-40B4-BE49-F238E27FC236}">
                <a16:creationId xmlns:a16="http://schemas.microsoft.com/office/drawing/2014/main" id="{7120956D-EA3C-471E-A725-9907557E03A8}"/>
              </a:ext>
            </a:extLst>
          </p:cNvPr>
          <p:cNvGrpSpPr/>
          <p:nvPr/>
        </p:nvGrpSpPr>
        <p:grpSpPr>
          <a:xfrm>
            <a:off x="4433605" y="1759199"/>
            <a:ext cx="3764833" cy="3576777"/>
            <a:chOff x="4433605" y="1759199"/>
            <a:chExt cx="3764833" cy="3576777"/>
          </a:xfrm>
        </p:grpSpPr>
        <p:cxnSp>
          <p:nvCxnSpPr>
            <p:cNvPr id="10" name="AutoShape 38">
              <a:extLst>
                <a:ext uri="{FF2B5EF4-FFF2-40B4-BE49-F238E27FC236}">
                  <a16:creationId xmlns:a16="http://schemas.microsoft.com/office/drawing/2014/main" id="{48B5B2CD-71F2-49E3-91AD-7564335F5B44}"/>
                </a:ext>
              </a:extLst>
            </p:cNvPr>
            <p:cNvCxnSpPr>
              <a:cxnSpLocks noChangeShapeType="1"/>
              <a:stCxn id="6" idx="0"/>
            </p:cNvCxnSpPr>
            <p:nvPr>
              <p:custDataLst>
                <p:tags r:id="rId5"/>
              </p:custDataLst>
            </p:nvPr>
          </p:nvCxnSpPr>
          <p:spPr bwMode="auto">
            <a:xfrm flipV="1">
              <a:off x="6309777" y="4651976"/>
              <a:ext cx="0" cy="684000"/>
            </a:xfrm>
            <a:prstGeom prst="straightConnector1">
              <a:avLst/>
            </a:prstGeom>
            <a:noFill/>
            <a:ln w="12700" cap="rnd">
              <a:solidFill>
                <a:schemeClr val="accent2"/>
              </a:solidFill>
              <a:prstDash val="dash"/>
              <a:round/>
              <a:headEnd/>
              <a:tailEnd type="none"/>
            </a:ln>
            <a:effectLst/>
          </p:spPr>
        </p:cxnSp>
        <p:cxnSp>
          <p:nvCxnSpPr>
            <p:cNvPr id="11" name="AutoShape 42">
              <a:extLst>
                <a:ext uri="{FF2B5EF4-FFF2-40B4-BE49-F238E27FC236}">
                  <a16:creationId xmlns:a16="http://schemas.microsoft.com/office/drawing/2014/main" id="{DE8304B9-4937-4449-AA20-0932999449FD}"/>
                </a:ext>
              </a:extLst>
            </p:cNvPr>
            <p:cNvCxnSpPr>
              <a:cxnSpLocks noChangeShapeType="1"/>
              <a:endCxn id="5" idx="2"/>
            </p:cNvCxnSpPr>
            <p:nvPr>
              <p:custDataLst>
                <p:tags r:id="rId6"/>
              </p:custDataLst>
            </p:nvPr>
          </p:nvCxnSpPr>
          <p:spPr bwMode="auto">
            <a:xfrm flipV="1">
              <a:off x="6322268" y="1759199"/>
              <a:ext cx="0" cy="684000"/>
            </a:xfrm>
            <a:prstGeom prst="straightConnector1">
              <a:avLst/>
            </a:prstGeom>
            <a:noFill/>
            <a:ln w="12700" cap="rnd">
              <a:solidFill>
                <a:schemeClr val="accent2"/>
              </a:solidFill>
              <a:prstDash val="dash"/>
              <a:round/>
              <a:headEnd type="none"/>
              <a:tailEnd type="none"/>
            </a:ln>
            <a:effectLst/>
          </p:spPr>
        </p:cxnSp>
        <p:cxnSp>
          <p:nvCxnSpPr>
            <p:cNvPr id="12" name="Straight Arrow Connector 11">
              <a:extLst>
                <a:ext uri="{FF2B5EF4-FFF2-40B4-BE49-F238E27FC236}">
                  <a16:creationId xmlns:a16="http://schemas.microsoft.com/office/drawing/2014/main" id="{A753FC96-F3DD-4DC0-A877-20D0ED18DDF2}"/>
                </a:ext>
              </a:extLst>
            </p:cNvPr>
            <p:cNvCxnSpPr>
              <a:stCxn id="8" idx="3"/>
            </p:cNvCxnSpPr>
            <p:nvPr/>
          </p:nvCxnSpPr>
          <p:spPr>
            <a:xfrm>
              <a:off x="4433605" y="3542323"/>
              <a:ext cx="808663" cy="0"/>
            </a:xfrm>
            <a:prstGeom prst="straightConnector1">
              <a:avLst/>
            </a:prstGeom>
            <a:noFill/>
            <a:ln w="12700" cap="flat" cmpd="sng" algn="ctr">
              <a:solidFill>
                <a:schemeClr val="accent2"/>
              </a:solidFill>
              <a:prstDash val="dash"/>
              <a:tailEnd type="none"/>
            </a:ln>
            <a:effectLst/>
          </p:spPr>
        </p:cxnSp>
        <p:cxnSp>
          <p:nvCxnSpPr>
            <p:cNvPr id="13" name="Straight Arrow Connector 12">
              <a:extLst>
                <a:ext uri="{FF2B5EF4-FFF2-40B4-BE49-F238E27FC236}">
                  <a16:creationId xmlns:a16="http://schemas.microsoft.com/office/drawing/2014/main" id="{3D7A38E7-528A-4C77-99E1-D73D4C2A4943}"/>
                </a:ext>
              </a:extLst>
            </p:cNvPr>
            <p:cNvCxnSpPr>
              <a:stCxn id="7" idx="1"/>
            </p:cNvCxnSpPr>
            <p:nvPr/>
          </p:nvCxnSpPr>
          <p:spPr>
            <a:xfrm flipH="1">
              <a:off x="7353279" y="3547588"/>
              <a:ext cx="845159" cy="0"/>
            </a:xfrm>
            <a:prstGeom prst="straightConnector1">
              <a:avLst/>
            </a:prstGeom>
            <a:noFill/>
            <a:ln w="12700" cap="flat" cmpd="sng" algn="ctr">
              <a:solidFill>
                <a:schemeClr val="accent2"/>
              </a:solidFill>
              <a:prstDash val="dash"/>
              <a:tailEnd type="none"/>
            </a:ln>
            <a:effectLst/>
          </p:spPr>
        </p:cxnSp>
      </p:grpSp>
      <p:sp>
        <p:nvSpPr>
          <p:cNvPr id="14" name="Oval 6">
            <a:extLst>
              <a:ext uri="{FF2B5EF4-FFF2-40B4-BE49-F238E27FC236}">
                <a16:creationId xmlns:a16="http://schemas.microsoft.com/office/drawing/2014/main" id="{5F4B29C5-A26E-477F-A83C-E3799D89AD1B}"/>
              </a:ext>
            </a:extLst>
          </p:cNvPr>
          <p:cNvSpPr>
            <a:spLocks noChangeArrowheads="1"/>
          </p:cNvSpPr>
          <p:nvPr/>
        </p:nvSpPr>
        <p:spPr bwMode="auto">
          <a:xfrm>
            <a:off x="5379938" y="2608560"/>
            <a:ext cx="1859676" cy="1878056"/>
          </a:xfrm>
          <a:prstGeom prst="ellipse">
            <a:avLst/>
          </a:prstGeom>
          <a:solidFill>
            <a:schemeClr val="accent1"/>
          </a:solidFill>
          <a:ln w="6350">
            <a:noFill/>
            <a:round/>
            <a:headEnd/>
            <a:tailEnd/>
          </a:ln>
          <a:effectLst/>
        </p:spPr>
        <p:txBody>
          <a:bodyPr wrap="none" lIns="72000" tIns="72000" rIns="72000" bIns="72000" anchor="ctr" anchorCtr="1"/>
          <a:lstStyle/>
          <a:p>
            <a:pPr marL="179388" marR="0" lvl="0" indent="-179388"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p>
        </p:txBody>
      </p:sp>
      <p:grpSp>
        <p:nvGrpSpPr>
          <p:cNvPr id="15" name="Group 14">
            <a:extLst>
              <a:ext uri="{FF2B5EF4-FFF2-40B4-BE49-F238E27FC236}">
                <a16:creationId xmlns:a16="http://schemas.microsoft.com/office/drawing/2014/main" id="{85582A6C-F0FC-4314-864C-05CA834F5B67}"/>
              </a:ext>
            </a:extLst>
          </p:cNvPr>
          <p:cNvGrpSpPr/>
          <p:nvPr/>
        </p:nvGrpSpPr>
        <p:grpSpPr>
          <a:xfrm>
            <a:off x="4149776" y="1387588"/>
            <a:ext cx="4320000" cy="4320000"/>
            <a:chOff x="4149776" y="1387588"/>
            <a:chExt cx="4320000" cy="4320000"/>
          </a:xfrm>
        </p:grpSpPr>
        <p:sp>
          <p:nvSpPr>
            <p:cNvPr id="16" name="Arc 15">
              <a:extLst>
                <a:ext uri="{FF2B5EF4-FFF2-40B4-BE49-F238E27FC236}">
                  <a16:creationId xmlns:a16="http://schemas.microsoft.com/office/drawing/2014/main" id="{065ACE74-DF86-432A-8356-351C6FFADE17}"/>
                </a:ext>
              </a:extLst>
            </p:cNvPr>
            <p:cNvSpPr>
              <a:spLocks noChangeAspect="1"/>
            </p:cNvSpPr>
            <p:nvPr/>
          </p:nvSpPr>
          <p:spPr>
            <a:xfrm>
              <a:off x="4149776" y="1387588"/>
              <a:ext cx="4320000" cy="4320000"/>
            </a:xfrm>
            <a:prstGeom prst="arc">
              <a:avLst>
                <a:gd name="adj1" fmla="val 18129456"/>
                <a:gd name="adj2" fmla="val 21039645"/>
              </a:avLst>
            </a:prstGeom>
            <a:noFill/>
            <a:ln w="127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17" name="Arc 16">
              <a:extLst>
                <a:ext uri="{FF2B5EF4-FFF2-40B4-BE49-F238E27FC236}">
                  <a16:creationId xmlns:a16="http://schemas.microsoft.com/office/drawing/2014/main" id="{A4F7AC61-BEDD-41E5-9558-AE6C414593D5}"/>
                </a:ext>
              </a:extLst>
            </p:cNvPr>
            <p:cNvSpPr>
              <a:spLocks noChangeAspect="1"/>
            </p:cNvSpPr>
            <p:nvPr/>
          </p:nvSpPr>
          <p:spPr>
            <a:xfrm>
              <a:off x="4149776" y="1387588"/>
              <a:ext cx="4320000" cy="4320000"/>
            </a:xfrm>
            <a:prstGeom prst="arc">
              <a:avLst>
                <a:gd name="adj1" fmla="val 545749"/>
                <a:gd name="adj2" fmla="val 3461886"/>
              </a:avLst>
            </a:prstGeom>
            <a:noFill/>
            <a:ln w="127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18" name="Arc 17">
              <a:extLst>
                <a:ext uri="{FF2B5EF4-FFF2-40B4-BE49-F238E27FC236}">
                  <a16:creationId xmlns:a16="http://schemas.microsoft.com/office/drawing/2014/main" id="{D87CC0B3-F0E9-4BF3-A8C0-9F86ACA221F7}"/>
                </a:ext>
              </a:extLst>
            </p:cNvPr>
            <p:cNvSpPr>
              <a:spLocks noChangeAspect="1"/>
            </p:cNvSpPr>
            <p:nvPr/>
          </p:nvSpPr>
          <p:spPr>
            <a:xfrm>
              <a:off x="4149776" y="1387588"/>
              <a:ext cx="4320000" cy="4320000"/>
            </a:xfrm>
            <a:prstGeom prst="arc">
              <a:avLst>
                <a:gd name="adj1" fmla="val 7312901"/>
                <a:gd name="adj2" fmla="val 10203774"/>
              </a:avLst>
            </a:prstGeom>
            <a:noFill/>
            <a:ln w="127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19" name="Arc 18">
              <a:extLst>
                <a:ext uri="{FF2B5EF4-FFF2-40B4-BE49-F238E27FC236}">
                  <a16:creationId xmlns:a16="http://schemas.microsoft.com/office/drawing/2014/main" id="{C6D1B8A0-C5AB-425C-B8F8-4170A8A006F9}"/>
                </a:ext>
              </a:extLst>
            </p:cNvPr>
            <p:cNvSpPr>
              <a:spLocks noChangeAspect="1"/>
            </p:cNvSpPr>
            <p:nvPr/>
          </p:nvSpPr>
          <p:spPr>
            <a:xfrm>
              <a:off x="4149776" y="1387588"/>
              <a:ext cx="4320000" cy="4320000"/>
            </a:xfrm>
            <a:prstGeom prst="arc">
              <a:avLst>
                <a:gd name="adj1" fmla="val 11423776"/>
                <a:gd name="adj2" fmla="val 14320093"/>
              </a:avLst>
            </a:prstGeom>
            <a:noFill/>
            <a:ln w="127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grpSp>
      <p:sp>
        <p:nvSpPr>
          <p:cNvPr id="3" name="Rectangle 2">
            <a:hlinkClick r:id="rId9" action="ppaction://hlinksldjump"/>
            <a:extLst>
              <a:ext uri="{FF2B5EF4-FFF2-40B4-BE49-F238E27FC236}">
                <a16:creationId xmlns:a16="http://schemas.microsoft.com/office/drawing/2014/main" id="{7481EF85-A37D-4FF2-AA5E-A61AE3B683C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8146212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terative Flow 2</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3">
            <a:extLst>
              <a:ext uri="{FF2B5EF4-FFF2-40B4-BE49-F238E27FC236}">
                <a16:creationId xmlns:a16="http://schemas.microsoft.com/office/drawing/2014/main" id="{6EC19FB9-09EB-4B38-B22E-BD041041C35A}"/>
              </a:ext>
            </a:extLst>
          </p:cNvPr>
          <p:cNvGrpSpPr>
            <a:grpSpLocks/>
          </p:cNvGrpSpPr>
          <p:nvPr/>
        </p:nvGrpSpPr>
        <p:grpSpPr bwMode="auto">
          <a:xfrm>
            <a:off x="2351584" y="1628801"/>
            <a:ext cx="7452828" cy="4002444"/>
            <a:chOff x="1152" y="1440"/>
            <a:chExt cx="3936" cy="1902"/>
          </a:xfrm>
        </p:grpSpPr>
        <p:sp>
          <p:nvSpPr>
            <p:cNvPr id="6" name="Oval 4">
              <a:extLst>
                <a:ext uri="{FF2B5EF4-FFF2-40B4-BE49-F238E27FC236}">
                  <a16:creationId xmlns:a16="http://schemas.microsoft.com/office/drawing/2014/main" id="{26C9D223-B95A-4DB1-B2CC-772427F655FB}"/>
                </a:ext>
              </a:extLst>
            </p:cNvPr>
            <p:cNvSpPr>
              <a:spLocks noChangeArrowheads="1"/>
            </p:cNvSpPr>
            <p:nvPr/>
          </p:nvSpPr>
          <p:spPr bwMode="auto">
            <a:xfrm>
              <a:off x="3596" y="2088"/>
              <a:ext cx="1492" cy="606"/>
            </a:xfrm>
            <a:prstGeom prst="ellipse">
              <a:avLst/>
            </a:prstGeom>
            <a:solidFill>
              <a:schemeClr val="accent5"/>
            </a:solidFill>
            <a:ln w="6350">
              <a:noFill/>
              <a:round/>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Graphik"/>
                  <a:ea typeface="+mn-ea"/>
                  <a:cs typeface="+mn-cs"/>
                </a:rPr>
                <a:t>Text</a:t>
              </a:r>
            </a:p>
          </p:txBody>
        </p:sp>
        <p:sp>
          <p:nvSpPr>
            <p:cNvPr id="7" name="Oval 5">
              <a:extLst>
                <a:ext uri="{FF2B5EF4-FFF2-40B4-BE49-F238E27FC236}">
                  <a16:creationId xmlns:a16="http://schemas.microsoft.com/office/drawing/2014/main" id="{228E677B-5A01-4FDB-BFF0-3A1EA4629ED3}"/>
                </a:ext>
              </a:extLst>
            </p:cNvPr>
            <p:cNvSpPr>
              <a:spLocks noChangeArrowheads="1"/>
            </p:cNvSpPr>
            <p:nvPr/>
          </p:nvSpPr>
          <p:spPr bwMode="auto">
            <a:xfrm>
              <a:off x="1152" y="2088"/>
              <a:ext cx="1492" cy="606"/>
            </a:xfrm>
            <a:prstGeom prst="ellipse">
              <a:avLst/>
            </a:prstGeom>
            <a:solidFill>
              <a:schemeClr val="accent2"/>
            </a:solidFill>
            <a:ln w="6350">
              <a:noFill/>
              <a:round/>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8" name="Oval 6">
              <a:extLst>
                <a:ext uri="{FF2B5EF4-FFF2-40B4-BE49-F238E27FC236}">
                  <a16:creationId xmlns:a16="http://schemas.microsoft.com/office/drawing/2014/main" id="{D20E7F93-A0A1-4E38-BA93-6A87AFC4BF94}"/>
                </a:ext>
              </a:extLst>
            </p:cNvPr>
            <p:cNvSpPr>
              <a:spLocks noChangeArrowheads="1"/>
            </p:cNvSpPr>
            <p:nvPr/>
          </p:nvSpPr>
          <p:spPr bwMode="auto">
            <a:xfrm>
              <a:off x="2375" y="2737"/>
              <a:ext cx="1490" cy="605"/>
            </a:xfrm>
            <a:prstGeom prst="ellipse">
              <a:avLst/>
            </a:prstGeom>
            <a:solidFill>
              <a:schemeClr val="accent3"/>
            </a:solidFill>
            <a:ln w="6350">
              <a:noFill/>
              <a:round/>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9" name="Oval 7">
              <a:extLst>
                <a:ext uri="{FF2B5EF4-FFF2-40B4-BE49-F238E27FC236}">
                  <a16:creationId xmlns:a16="http://schemas.microsoft.com/office/drawing/2014/main" id="{2C402DA2-4802-4A89-8EB4-6F54B34B5FEE}"/>
                </a:ext>
              </a:extLst>
            </p:cNvPr>
            <p:cNvSpPr>
              <a:spLocks noChangeArrowheads="1"/>
            </p:cNvSpPr>
            <p:nvPr/>
          </p:nvSpPr>
          <p:spPr bwMode="auto">
            <a:xfrm>
              <a:off x="2375" y="1440"/>
              <a:ext cx="1490" cy="605"/>
            </a:xfrm>
            <a:prstGeom prst="ellipse">
              <a:avLst/>
            </a:prstGeom>
            <a:solidFill>
              <a:schemeClr val="accent1"/>
            </a:solidFill>
            <a:ln w="6350">
              <a:noFill/>
              <a:round/>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Graphik"/>
                  <a:ea typeface="+mn-ea"/>
                  <a:cs typeface="+mn-cs"/>
                </a:rPr>
                <a:t>Text</a:t>
              </a:r>
            </a:p>
          </p:txBody>
        </p:sp>
        <p:cxnSp>
          <p:nvCxnSpPr>
            <p:cNvPr id="10" name="AutoShape 8">
              <a:extLst>
                <a:ext uri="{FF2B5EF4-FFF2-40B4-BE49-F238E27FC236}">
                  <a16:creationId xmlns:a16="http://schemas.microsoft.com/office/drawing/2014/main" id="{38AC0673-D450-48B5-889B-A1C150A97368}"/>
                </a:ext>
              </a:extLst>
            </p:cNvPr>
            <p:cNvCxnSpPr>
              <a:cxnSpLocks noChangeShapeType="1"/>
              <a:stCxn id="7" idx="4"/>
              <a:endCxn id="8" idx="2"/>
            </p:cNvCxnSpPr>
            <p:nvPr/>
          </p:nvCxnSpPr>
          <p:spPr bwMode="auto">
            <a:xfrm rot="16200000" flipH="1">
              <a:off x="1964" y="2628"/>
              <a:ext cx="346" cy="477"/>
            </a:xfrm>
            <a:prstGeom prst="curvedConnector2">
              <a:avLst/>
            </a:prstGeom>
            <a:noFill/>
            <a:ln w="12700">
              <a:solidFill>
                <a:srgbClr val="96968C">
                  <a:lumMod val="60000"/>
                  <a:lumOff val="40000"/>
                </a:srgbClr>
              </a:solidFill>
              <a:prstDash val="dash"/>
              <a:round/>
              <a:headEnd type="triangle" w="lg" len="med"/>
              <a:tailEnd/>
            </a:ln>
            <a:effectLst/>
          </p:spPr>
        </p:cxnSp>
        <p:cxnSp>
          <p:nvCxnSpPr>
            <p:cNvPr id="11" name="AutoShape 9">
              <a:extLst>
                <a:ext uri="{FF2B5EF4-FFF2-40B4-BE49-F238E27FC236}">
                  <a16:creationId xmlns:a16="http://schemas.microsoft.com/office/drawing/2014/main" id="{84D12EB0-EDAF-424A-A552-559E0B6FBB49}"/>
                </a:ext>
              </a:extLst>
            </p:cNvPr>
            <p:cNvCxnSpPr>
              <a:cxnSpLocks noChangeShapeType="1"/>
              <a:stCxn id="9" idx="2"/>
              <a:endCxn id="7" idx="0"/>
            </p:cNvCxnSpPr>
            <p:nvPr/>
          </p:nvCxnSpPr>
          <p:spPr bwMode="auto">
            <a:xfrm rot="10800000" flipV="1">
              <a:off x="1898" y="1743"/>
              <a:ext cx="477" cy="345"/>
            </a:xfrm>
            <a:prstGeom prst="curvedConnector2">
              <a:avLst/>
            </a:prstGeom>
            <a:noFill/>
            <a:ln w="12700">
              <a:solidFill>
                <a:srgbClr val="96968C">
                  <a:lumMod val="60000"/>
                  <a:lumOff val="40000"/>
                </a:srgbClr>
              </a:solidFill>
              <a:prstDash val="dash"/>
              <a:round/>
              <a:headEnd type="triangle" w="lg" len="med"/>
              <a:tailEnd/>
            </a:ln>
            <a:effectLst/>
          </p:spPr>
        </p:cxnSp>
        <p:cxnSp>
          <p:nvCxnSpPr>
            <p:cNvPr id="12" name="AutoShape 10">
              <a:extLst>
                <a:ext uri="{FF2B5EF4-FFF2-40B4-BE49-F238E27FC236}">
                  <a16:creationId xmlns:a16="http://schemas.microsoft.com/office/drawing/2014/main" id="{B01F3B7B-2631-467D-B63B-D27CD9D314D6}"/>
                </a:ext>
              </a:extLst>
            </p:cNvPr>
            <p:cNvCxnSpPr>
              <a:cxnSpLocks noChangeShapeType="1"/>
              <a:stCxn id="6" idx="0"/>
              <a:endCxn id="9" idx="6"/>
            </p:cNvCxnSpPr>
            <p:nvPr/>
          </p:nvCxnSpPr>
          <p:spPr bwMode="auto">
            <a:xfrm rot="5400000" flipH="1">
              <a:off x="3931" y="1677"/>
              <a:ext cx="345" cy="477"/>
            </a:xfrm>
            <a:prstGeom prst="curvedConnector2">
              <a:avLst/>
            </a:prstGeom>
            <a:noFill/>
            <a:ln w="12700">
              <a:solidFill>
                <a:srgbClr val="96968C">
                  <a:lumMod val="60000"/>
                  <a:lumOff val="40000"/>
                </a:srgbClr>
              </a:solidFill>
              <a:prstDash val="dash"/>
              <a:round/>
              <a:headEnd type="triangle" w="lg" len="med"/>
              <a:tailEnd/>
            </a:ln>
            <a:effectLst/>
          </p:spPr>
        </p:cxnSp>
        <p:cxnSp>
          <p:nvCxnSpPr>
            <p:cNvPr id="13" name="AutoShape 11">
              <a:extLst>
                <a:ext uri="{FF2B5EF4-FFF2-40B4-BE49-F238E27FC236}">
                  <a16:creationId xmlns:a16="http://schemas.microsoft.com/office/drawing/2014/main" id="{3E65981F-CAC8-4F57-9D23-47FFA1919605}"/>
                </a:ext>
              </a:extLst>
            </p:cNvPr>
            <p:cNvCxnSpPr>
              <a:cxnSpLocks noChangeShapeType="1"/>
              <a:stCxn id="8" idx="6"/>
              <a:endCxn id="6" idx="4"/>
            </p:cNvCxnSpPr>
            <p:nvPr/>
          </p:nvCxnSpPr>
          <p:spPr bwMode="auto">
            <a:xfrm flipV="1">
              <a:off x="3865" y="2694"/>
              <a:ext cx="477" cy="346"/>
            </a:xfrm>
            <a:prstGeom prst="curvedConnector2">
              <a:avLst/>
            </a:prstGeom>
            <a:noFill/>
            <a:ln w="12700">
              <a:solidFill>
                <a:srgbClr val="96968C">
                  <a:lumMod val="60000"/>
                  <a:lumOff val="40000"/>
                </a:srgbClr>
              </a:solidFill>
              <a:prstDash val="dash"/>
              <a:round/>
              <a:headEnd type="triangle" w="lg" len="med"/>
              <a:tailEnd/>
            </a:ln>
            <a:effectLst/>
          </p:spPr>
        </p:cxnSp>
      </p:grpSp>
      <p:sp>
        <p:nvSpPr>
          <p:cNvPr id="3" name="Rectangle 2">
            <a:hlinkClick r:id="rId3" action="ppaction://hlinksldjump"/>
            <a:extLst>
              <a:ext uri="{FF2B5EF4-FFF2-40B4-BE49-F238E27FC236}">
                <a16:creationId xmlns:a16="http://schemas.microsoft.com/office/drawing/2014/main" id="{2884170D-293E-4CB4-86FF-CF55924DCFD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83358209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terative Flow 3</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12">
            <a:extLst>
              <a:ext uri="{FF2B5EF4-FFF2-40B4-BE49-F238E27FC236}">
                <a16:creationId xmlns:a16="http://schemas.microsoft.com/office/drawing/2014/main" id="{D9D65473-E065-454D-8D8A-54E6D966D968}"/>
              </a:ext>
            </a:extLst>
          </p:cNvPr>
          <p:cNvSpPr>
            <a:spLocks noChangeArrowheads="1"/>
          </p:cNvSpPr>
          <p:nvPr/>
        </p:nvSpPr>
        <p:spPr bwMode="auto">
          <a:xfrm>
            <a:off x="1991646" y="3934916"/>
            <a:ext cx="3783491" cy="2108755"/>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endParaRPr kumimoji="0" lang="en-GB"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6" name="Rectangle 13">
            <a:extLst>
              <a:ext uri="{FF2B5EF4-FFF2-40B4-BE49-F238E27FC236}">
                <a16:creationId xmlns:a16="http://schemas.microsoft.com/office/drawing/2014/main" id="{3F3C9DA4-5A9A-4029-8E51-601426E6A0B8}"/>
              </a:ext>
            </a:extLst>
          </p:cNvPr>
          <p:cNvSpPr>
            <a:spLocks noChangeArrowheads="1"/>
          </p:cNvSpPr>
          <p:nvPr/>
        </p:nvSpPr>
        <p:spPr bwMode="auto">
          <a:xfrm>
            <a:off x="6362520" y="3948718"/>
            <a:ext cx="3832567" cy="2094953"/>
          </a:xfrm>
          <a:prstGeom prst="rect">
            <a:avLst/>
          </a:prstGeom>
          <a:solidFill>
            <a:schemeClr val="accent2"/>
          </a:solidFill>
          <a:ln w="6350">
            <a:noFill/>
            <a:miter lim="800000"/>
            <a:headEnd/>
            <a:tailEnd/>
          </a:ln>
        </p:spPr>
        <p:txBody>
          <a:bodyPr lIns="180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endParaRPr kumimoji="0" lang="en-GB"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7" name="Rectangle 14">
            <a:extLst>
              <a:ext uri="{FF2B5EF4-FFF2-40B4-BE49-F238E27FC236}">
                <a16:creationId xmlns:a16="http://schemas.microsoft.com/office/drawing/2014/main" id="{694F809D-93C7-41E5-B16B-3CD72E9835FA}"/>
              </a:ext>
            </a:extLst>
          </p:cNvPr>
          <p:cNvSpPr>
            <a:spLocks noChangeArrowheads="1"/>
          </p:cNvSpPr>
          <p:nvPr/>
        </p:nvSpPr>
        <p:spPr bwMode="auto">
          <a:xfrm>
            <a:off x="1991646" y="1631388"/>
            <a:ext cx="3783491" cy="1949256"/>
          </a:xfrm>
          <a:prstGeom prst="rect">
            <a:avLst/>
          </a:prstGeom>
          <a:solidFill>
            <a:schemeClr val="accent5"/>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endParaRPr kumimoji="0" lang="en-GB"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8" name="Rectangle 15">
            <a:extLst>
              <a:ext uri="{FF2B5EF4-FFF2-40B4-BE49-F238E27FC236}">
                <a16:creationId xmlns:a16="http://schemas.microsoft.com/office/drawing/2014/main" id="{682FB432-5925-481F-8FE6-B9F1623E29E4}"/>
              </a:ext>
            </a:extLst>
          </p:cNvPr>
          <p:cNvSpPr>
            <a:spLocks noChangeArrowheads="1"/>
          </p:cNvSpPr>
          <p:nvPr/>
        </p:nvSpPr>
        <p:spPr bwMode="auto">
          <a:xfrm>
            <a:off x="6367122" y="1645190"/>
            <a:ext cx="3832566" cy="1949257"/>
          </a:xfrm>
          <a:prstGeom prst="rect">
            <a:avLst/>
          </a:prstGeom>
          <a:solidFill>
            <a:schemeClr val="accent3"/>
          </a:solidFill>
          <a:ln w="6350">
            <a:noFill/>
            <a:miter lim="800000"/>
            <a:headEnd/>
            <a:tailEnd/>
          </a:ln>
        </p:spPr>
        <p:txBody>
          <a:bodyPr lIns="180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endParaRPr kumimoji="0" lang="en-GB"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9" name="Arc 8">
            <a:extLst>
              <a:ext uri="{FF2B5EF4-FFF2-40B4-BE49-F238E27FC236}">
                <a16:creationId xmlns:a16="http://schemas.microsoft.com/office/drawing/2014/main" id="{224D844F-4F33-4BFB-81DC-D2C6B0FC8FE1}"/>
              </a:ext>
            </a:extLst>
          </p:cNvPr>
          <p:cNvSpPr>
            <a:spLocks noChangeAspect="1"/>
          </p:cNvSpPr>
          <p:nvPr/>
        </p:nvSpPr>
        <p:spPr>
          <a:xfrm>
            <a:off x="4973181" y="2662133"/>
            <a:ext cx="2191294" cy="2191294"/>
          </a:xfrm>
          <a:prstGeom prst="arc">
            <a:avLst>
              <a:gd name="adj1" fmla="val 20275296"/>
              <a:gd name="adj2" fmla="val 4042003"/>
            </a:avLst>
          </a:prstGeom>
          <a:noFill/>
          <a:ln w="101600" cap="flat" cmpd="sng" algn="ctr">
            <a:solidFill>
              <a:schemeClr val="accent3"/>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10" name="Arc 9">
            <a:extLst>
              <a:ext uri="{FF2B5EF4-FFF2-40B4-BE49-F238E27FC236}">
                <a16:creationId xmlns:a16="http://schemas.microsoft.com/office/drawing/2014/main" id="{D3886D99-7D9A-4871-88B4-AA186D2B27A2}"/>
              </a:ext>
            </a:extLst>
          </p:cNvPr>
          <p:cNvSpPr>
            <a:spLocks noChangeAspect="1"/>
          </p:cNvSpPr>
          <p:nvPr/>
        </p:nvSpPr>
        <p:spPr>
          <a:xfrm>
            <a:off x="4973181" y="2662133"/>
            <a:ext cx="2191294" cy="2191294"/>
          </a:xfrm>
          <a:prstGeom prst="arc">
            <a:avLst>
              <a:gd name="adj1" fmla="val 15095988"/>
              <a:gd name="adj2" fmla="val 21094687"/>
            </a:avLst>
          </a:prstGeom>
          <a:noFill/>
          <a:ln w="101600" cap="flat" cmpd="sng" algn="ctr">
            <a:solidFill>
              <a:schemeClr val="accent5"/>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11" name="Arc 10">
            <a:extLst>
              <a:ext uri="{FF2B5EF4-FFF2-40B4-BE49-F238E27FC236}">
                <a16:creationId xmlns:a16="http://schemas.microsoft.com/office/drawing/2014/main" id="{42DD6E52-E2D7-487A-84A3-09EAE288A889}"/>
              </a:ext>
            </a:extLst>
          </p:cNvPr>
          <p:cNvSpPr>
            <a:spLocks noChangeAspect="1"/>
          </p:cNvSpPr>
          <p:nvPr/>
        </p:nvSpPr>
        <p:spPr>
          <a:xfrm>
            <a:off x="4973181" y="2662133"/>
            <a:ext cx="2191294" cy="2191294"/>
          </a:xfrm>
          <a:prstGeom prst="arc">
            <a:avLst>
              <a:gd name="adj1" fmla="val 10199293"/>
              <a:gd name="adj2" fmla="val 15470761"/>
            </a:avLst>
          </a:prstGeom>
          <a:noFill/>
          <a:ln w="101600" cap="flat" cmpd="sng" algn="ctr">
            <a:solidFill>
              <a:schemeClr val="accent1"/>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12" name="Arc 11">
            <a:extLst>
              <a:ext uri="{FF2B5EF4-FFF2-40B4-BE49-F238E27FC236}">
                <a16:creationId xmlns:a16="http://schemas.microsoft.com/office/drawing/2014/main" id="{0D7426E4-C07F-4DB6-8BF0-B03F3EACED47}"/>
              </a:ext>
            </a:extLst>
          </p:cNvPr>
          <p:cNvSpPr>
            <a:spLocks noChangeAspect="1"/>
          </p:cNvSpPr>
          <p:nvPr/>
        </p:nvSpPr>
        <p:spPr>
          <a:xfrm>
            <a:off x="4973181" y="2662133"/>
            <a:ext cx="2191294" cy="2191294"/>
          </a:xfrm>
          <a:prstGeom prst="arc">
            <a:avLst>
              <a:gd name="adj1" fmla="val 4245166"/>
              <a:gd name="adj2" fmla="val 10383252"/>
            </a:avLst>
          </a:prstGeom>
          <a:noFill/>
          <a:ln w="101600" cap="flat" cmpd="sng" algn="ctr">
            <a:solidFill>
              <a:schemeClr val="accent2"/>
            </a:solidFill>
            <a:prstDash val="solid"/>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F4DC5F9F-A8EC-4FE3-9903-4311E30D279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541964862"/>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terative Flow 4</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14">
            <a:extLst>
              <a:ext uri="{FF2B5EF4-FFF2-40B4-BE49-F238E27FC236}">
                <a16:creationId xmlns:a16="http://schemas.microsoft.com/office/drawing/2014/main" id="{BD705390-05A5-4F46-8A7E-83866E1AF980}"/>
              </a:ext>
            </a:extLst>
          </p:cNvPr>
          <p:cNvSpPr>
            <a:spLocks noChangeArrowheads="1"/>
          </p:cNvSpPr>
          <p:nvPr/>
        </p:nvSpPr>
        <p:spPr bwMode="auto">
          <a:xfrm>
            <a:off x="1774589" y="1436480"/>
            <a:ext cx="3783491" cy="1949256"/>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endParaRPr kumimoji="0" lang="en-GB"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6" name="Rectangle 14">
            <a:extLst>
              <a:ext uri="{FF2B5EF4-FFF2-40B4-BE49-F238E27FC236}">
                <a16:creationId xmlns:a16="http://schemas.microsoft.com/office/drawing/2014/main" id="{D588A19F-2A32-4010-B9DB-79636F642D8A}"/>
              </a:ext>
            </a:extLst>
          </p:cNvPr>
          <p:cNvSpPr>
            <a:spLocks noChangeArrowheads="1"/>
          </p:cNvSpPr>
          <p:nvPr/>
        </p:nvSpPr>
        <p:spPr bwMode="auto">
          <a:xfrm>
            <a:off x="6430672" y="1436480"/>
            <a:ext cx="3783491" cy="1949256"/>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endParaRPr kumimoji="0" lang="en-GB"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7" name="Rectangle 14">
            <a:extLst>
              <a:ext uri="{FF2B5EF4-FFF2-40B4-BE49-F238E27FC236}">
                <a16:creationId xmlns:a16="http://schemas.microsoft.com/office/drawing/2014/main" id="{15CED576-76F4-4413-AF67-83ADF98A926A}"/>
              </a:ext>
            </a:extLst>
          </p:cNvPr>
          <p:cNvSpPr>
            <a:spLocks noChangeArrowheads="1"/>
          </p:cNvSpPr>
          <p:nvPr/>
        </p:nvSpPr>
        <p:spPr bwMode="auto">
          <a:xfrm>
            <a:off x="1774589" y="4108903"/>
            <a:ext cx="3783491" cy="1949256"/>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endParaRPr kumimoji="0" lang="en-GB"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8" name="Rectangle 14">
            <a:extLst>
              <a:ext uri="{FF2B5EF4-FFF2-40B4-BE49-F238E27FC236}">
                <a16:creationId xmlns:a16="http://schemas.microsoft.com/office/drawing/2014/main" id="{EA3CED9A-75E2-4A4D-924C-E75140658E97}"/>
              </a:ext>
            </a:extLst>
          </p:cNvPr>
          <p:cNvSpPr>
            <a:spLocks noChangeArrowheads="1"/>
          </p:cNvSpPr>
          <p:nvPr/>
        </p:nvSpPr>
        <p:spPr bwMode="auto">
          <a:xfrm>
            <a:off x="6430672" y="4108903"/>
            <a:ext cx="3783491" cy="1949256"/>
          </a:xfrm>
          <a:prstGeom prst="rect">
            <a:avLst/>
          </a:prstGeom>
          <a:solidFill>
            <a:schemeClr val="accent1"/>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endParaRPr kumimoji="0" lang="en-GB"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9" name="Arrow: Chevron 8">
            <a:extLst>
              <a:ext uri="{FF2B5EF4-FFF2-40B4-BE49-F238E27FC236}">
                <a16:creationId xmlns:a16="http://schemas.microsoft.com/office/drawing/2014/main" id="{E8DAF940-DFE2-409C-B647-00503271EF4D}"/>
              </a:ext>
            </a:extLst>
          </p:cNvPr>
          <p:cNvSpPr/>
          <p:nvPr/>
        </p:nvSpPr>
        <p:spPr>
          <a:xfrm>
            <a:off x="5709340" y="2019385"/>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Arrow: Chevron 9">
            <a:extLst>
              <a:ext uri="{FF2B5EF4-FFF2-40B4-BE49-F238E27FC236}">
                <a16:creationId xmlns:a16="http://schemas.microsoft.com/office/drawing/2014/main" id="{BC749D52-B7C6-4A94-A5BE-FA63B2BEF272}"/>
              </a:ext>
            </a:extLst>
          </p:cNvPr>
          <p:cNvSpPr/>
          <p:nvPr/>
        </p:nvSpPr>
        <p:spPr>
          <a:xfrm rot="10800000">
            <a:off x="5709340" y="4691807"/>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Arrow: Chevron 10">
            <a:extLst>
              <a:ext uri="{FF2B5EF4-FFF2-40B4-BE49-F238E27FC236}">
                <a16:creationId xmlns:a16="http://schemas.microsoft.com/office/drawing/2014/main" id="{FA494D36-B62B-484D-A11A-BFFC144F8D57}"/>
              </a:ext>
            </a:extLst>
          </p:cNvPr>
          <p:cNvSpPr/>
          <p:nvPr/>
        </p:nvSpPr>
        <p:spPr>
          <a:xfrm rot="5400000">
            <a:off x="8037381" y="3355595"/>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Arrow: Chevron 11">
            <a:extLst>
              <a:ext uri="{FF2B5EF4-FFF2-40B4-BE49-F238E27FC236}">
                <a16:creationId xmlns:a16="http://schemas.microsoft.com/office/drawing/2014/main" id="{AE2F4CCB-2ADD-462E-A336-7C84C2359C77}"/>
              </a:ext>
            </a:extLst>
          </p:cNvPr>
          <p:cNvSpPr/>
          <p:nvPr/>
        </p:nvSpPr>
        <p:spPr>
          <a:xfrm rot="16200000">
            <a:off x="3381298" y="3355595"/>
            <a:ext cx="570072" cy="783447"/>
          </a:xfrm>
          <a:prstGeom prst="chevron">
            <a:avLst/>
          </a:prstGeom>
          <a:pattFill prst="dkUpDiag">
            <a:fgClr>
              <a:srgbClr val="96968C">
                <a:lumMod val="40000"/>
                <a:lumOff val="60000"/>
              </a:srgbClr>
            </a:fgClr>
            <a:bgClr>
              <a:srgbClr val="FFFFFF"/>
            </a:bgClr>
          </a:patt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F08E913-3A3C-4D9B-B83B-64487306A12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94996272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Dual Iterative Flow</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3">
            <a:extLst>
              <a:ext uri="{FF2B5EF4-FFF2-40B4-BE49-F238E27FC236}">
                <a16:creationId xmlns:a16="http://schemas.microsoft.com/office/drawing/2014/main" id="{5C5D7FD9-D503-428B-A1CF-EB45706F96BA}"/>
              </a:ext>
            </a:extLst>
          </p:cNvPr>
          <p:cNvGrpSpPr>
            <a:grpSpLocks/>
          </p:cNvGrpSpPr>
          <p:nvPr/>
        </p:nvGrpSpPr>
        <p:grpSpPr bwMode="auto">
          <a:xfrm>
            <a:off x="3876898" y="1628800"/>
            <a:ext cx="4451350" cy="4573588"/>
            <a:chOff x="2130" y="1482"/>
            <a:chExt cx="1979" cy="1877"/>
          </a:xfrm>
        </p:grpSpPr>
        <p:sp>
          <p:nvSpPr>
            <p:cNvPr id="6" name="Freeform 4">
              <a:extLst>
                <a:ext uri="{FF2B5EF4-FFF2-40B4-BE49-F238E27FC236}">
                  <a16:creationId xmlns:a16="http://schemas.microsoft.com/office/drawing/2014/main" id="{3361202F-E8B4-495F-ABDA-F79D673D764B}"/>
                </a:ext>
              </a:extLst>
            </p:cNvPr>
            <p:cNvSpPr>
              <a:spLocks/>
            </p:cNvSpPr>
            <p:nvPr/>
          </p:nvSpPr>
          <p:spPr bwMode="auto">
            <a:xfrm>
              <a:off x="2318" y="2634"/>
              <a:ext cx="1485" cy="725"/>
            </a:xfrm>
            <a:custGeom>
              <a:avLst/>
              <a:gdLst/>
              <a:ahLst/>
              <a:cxnLst>
                <a:cxn ang="0">
                  <a:pos x="432" y="0"/>
                </a:cxn>
                <a:cxn ang="0">
                  <a:pos x="94" y="86"/>
                </a:cxn>
                <a:cxn ang="0">
                  <a:pos x="0" y="440"/>
                </a:cxn>
                <a:cxn ang="0">
                  <a:pos x="92" y="349"/>
                </a:cxn>
                <a:cxn ang="0">
                  <a:pos x="91" y="350"/>
                </a:cxn>
                <a:cxn ang="0">
                  <a:pos x="137" y="387"/>
                </a:cxn>
                <a:cxn ang="0">
                  <a:pos x="188" y="421"/>
                </a:cxn>
                <a:cxn ang="0">
                  <a:pos x="240" y="450"/>
                </a:cxn>
                <a:cxn ang="0">
                  <a:pos x="294" y="474"/>
                </a:cxn>
                <a:cxn ang="0">
                  <a:pos x="353" y="493"/>
                </a:cxn>
                <a:cxn ang="0">
                  <a:pos x="412" y="507"/>
                </a:cxn>
                <a:cxn ang="0">
                  <a:pos x="474" y="515"/>
                </a:cxn>
                <a:cxn ang="0">
                  <a:pos x="537" y="517"/>
                </a:cxn>
                <a:cxn ang="0">
                  <a:pos x="606" y="515"/>
                </a:cxn>
                <a:cxn ang="0">
                  <a:pos x="671" y="506"/>
                </a:cxn>
                <a:cxn ang="0">
                  <a:pos x="735" y="489"/>
                </a:cxn>
                <a:cxn ang="0">
                  <a:pos x="796" y="467"/>
                </a:cxn>
                <a:cxn ang="0">
                  <a:pos x="855" y="439"/>
                </a:cxn>
                <a:cxn ang="0">
                  <a:pos x="911" y="406"/>
                </a:cxn>
                <a:cxn ang="0">
                  <a:pos x="963" y="368"/>
                </a:cxn>
                <a:cxn ang="0">
                  <a:pos x="1010" y="325"/>
                </a:cxn>
                <a:cxn ang="0">
                  <a:pos x="730" y="55"/>
                </a:cxn>
                <a:cxn ang="0">
                  <a:pos x="711" y="71"/>
                </a:cxn>
                <a:cxn ang="0">
                  <a:pos x="690" y="85"/>
                </a:cxn>
                <a:cxn ang="0">
                  <a:pos x="644" y="108"/>
                </a:cxn>
                <a:cxn ang="0">
                  <a:pos x="619" y="117"/>
                </a:cxn>
                <a:cxn ang="0">
                  <a:pos x="594" y="122"/>
                </a:cxn>
                <a:cxn ang="0">
                  <a:pos x="567" y="127"/>
                </a:cxn>
                <a:cxn ang="0">
                  <a:pos x="540" y="127"/>
                </a:cxn>
                <a:cxn ang="0">
                  <a:pos x="492" y="123"/>
                </a:cxn>
                <a:cxn ang="0">
                  <a:pos x="447" y="112"/>
                </a:cxn>
                <a:cxn ang="0">
                  <a:pos x="405" y="93"/>
                </a:cxn>
                <a:cxn ang="0">
                  <a:pos x="366" y="68"/>
                </a:cxn>
                <a:cxn ang="0">
                  <a:pos x="366" y="69"/>
                </a:cxn>
                <a:cxn ang="0">
                  <a:pos x="365" y="69"/>
                </a:cxn>
                <a:cxn ang="0">
                  <a:pos x="432" y="0"/>
                </a:cxn>
              </a:cxnLst>
              <a:rect l="0" t="0" r="r" b="b"/>
              <a:pathLst>
                <a:path w="1010" h="517">
                  <a:moveTo>
                    <a:pt x="432" y="0"/>
                  </a:moveTo>
                  <a:lnTo>
                    <a:pt x="94" y="86"/>
                  </a:lnTo>
                  <a:lnTo>
                    <a:pt x="0" y="440"/>
                  </a:lnTo>
                  <a:lnTo>
                    <a:pt x="92" y="349"/>
                  </a:lnTo>
                  <a:lnTo>
                    <a:pt x="91" y="350"/>
                  </a:lnTo>
                  <a:lnTo>
                    <a:pt x="137" y="387"/>
                  </a:lnTo>
                  <a:lnTo>
                    <a:pt x="188" y="421"/>
                  </a:lnTo>
                  <a:lnTo>
                    <a:pt x="240" y="450"/>
                  </a:lnTo>
                  <a:lnTo>
                    <a:pt x="294" y="474"/>
                  </a:lnTo>
                  <a:lnTo>
                    <a:pt x="353" y="493"/>
                  </a:lnTo>
                  <a:lnTo>
                    <a:pt x="412" y="507"/>
                  </a:lnTo>
                  <a:lnTo>
                    <a:pt x="474" y="515"/>
                  </a:lnTo>
                  <a:lnTo>
                    <a:pt x="537" y="517"/>
                  </a:lnTo>
                  <a:lnTo>
                    <a:pt x="606" y="515"/>
                  </a:lnTo>
                  <a:lnTo>
                    <a:pt x="671" y="506"/>
                  </a:lnTo>
                  <a:lnTo>
                    <a:pt x="735" y="489"/>
                  </a:lnTo>
                  <a:lnTo>
                    <a:pt x="796" y="467"/>
                  </a:lnTo>
                  <a:lnTo>
                    <a:pt x="855" y="439"/>
                  </a:lnTo>
                  <a:lnTo>
                    <a:pt x="911" y="406"/>
                  </a:lnTo>
                  <a:lnTo>
                    <a:pt x="963" y="368"/>
                  </a:lnTo>
                  <a:lnTo>
                    <a:pt x="1010" y="325"/>
                  </a:lnTo>
                  <a:lnTo>
                    <a:pt x="730" y="55"/>
                  </a:lnTo>
                  <a:lnTo>
                    <a:pt x="711" y="71"/>
                  </a:lnTo>
                  <a:lnTo>
                    <a:pt x="690" y="85"/>
                  </a:lnTo>
                  <a:lnTo>
                    <a:pt x="644" y="108"/>
                  </a:lnTo>
                  <a:lnTo>
                    <a:pt x="619" y="117"/>
                  </a:lnTo>
                  <a:lnTo>
                    <a:pt x="594" y="122"/>
                  </a:lnTo>
                  <a:lnTo>
                    <a:pt x="567" y="127"/>
                  </a:lnTo>
                  <a:lnTo>
                    <a:pt x="540" y="127"/>
                  </a:lnTo>
                  <a:lnTo>
                    <a:pt x="492" y="123"/>
                  </a:lnTo>
                  <a:lnTo>
                    <a:pt x="447" y="112"/>
                  </a:lnTo>
                  <a:lnTo>
                    <a:pt x="405" y="93"/>
                  </a:lnTo>
                  <a:lnTo>
                    <a:pt x="366" y="68"/>
                  </a:lnTo>
                  <a:lnTo>
                    <a:pt x="366" y="69"/>
                  </a:lnTo>
                  <a:lnTo>
                    <a:pt x="365" y="69"/>
                  </a:lnTo>
                  <a:lnTo>
                    <a:pt x="432" y="0"/>
                  </a:lnTo>
                </a:path>
              </a:pathLst>
            </a:custGeom>
            <a:solidFill>
              <a:srgbClr val="A100FF"/>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5">
              <a:extLst>
                <a:ext uri="{FF2B5EF4-FFF2-40B4-BE49-F238E27FC236}">
                  <a16:creationId xmlns:a16="http://schemas.microsoft.com/office/drawing/2014/main" id="{F888DD17-87EF-4F99-98F5-62D6EC4D2FBB}"/>
                </a:ext>
              </a:extLst>
            </p:cNvPr>
            <p:cNvSpPr>
              <a:spLocks/>
            </p:cNvSpPr>
            <p:nvPr/>
          </p:nvSpPr>
          <p:spPr bwMode="auto">
            <a:xfrm>
              <a:off x="3358" y="1785"/>
              <a:ext cx="751" cy="1368"/>
            </a:xfrm>
            <a:custGeom>
              <a:avLst/>
              <a:gdLst/>
              <a:ahLst/>
              <a:cxnLst>
                <a:cxn ang="0">
                  <a:pos x="0" y="546"/>
                </a:cxn>
                <a:cxn ang="0">
                  <a:pos x="88" y="886"/>
                </a:cxn>
                <a:cxn ang="0">
                  <a:pos x="440" y="974"/>
                </a:cxn>
                <a:cxn ang="0">
                  <a:pos x="353" y="890"/>
                </a:cxn>
                <a:cxn ang="0">
                  <a:pos x="388" y="844"/>
                </a:cxn>
                <a:cxn ang="0">
                  <a:pos x="419" y="795"/>
                </a:cxn>
                <a:cxn ang="0">
                  <a:pos x="446" y="744"/>
                </a:cxn>
                <a:cxn ang="0">
                  <a:pos x="469" y="691"/>
                </a:cxn>
                <a:cxn ang="0">
                  <a:pos x="487" y="636"/>
                </a:cxn>
                <a:cxn ang="0">
                  <a:pos x="500" y="577"/>
                </a:cxn>
                <a:cxn ang="0">
                  <a:pos x="508" y="518"/>
                </a:cxn>
                <a:cxn ang="0">
                  <a:pos x="509" y="458"/>
                </a:cxn>
                <a:cxn ang="0">
                  <a:pos x="510" y="424"/>
                </a:cxn>
                <a:cxn ang="0">
                  <a:pos x="507" y="391"/>
                </a:cxn>
                <a:cxn ang="0">
                  <a:pos x="504" y="360"/>
                </a:cxn>
                <a:cxn ang="0">
                  <a:pos x="498" y="328"/>
                </a:cxn>
                <a:cxn ang="0">
                  <a:pos x="492" y="297"/>
                </a:cxn>
                <a:cxn ang="0">
                  <a:pos x="484" y="267"/>
                </a:cxn>
                <a:cxn ang="0">
                  <a:pos x="474" y="236"/>
                </a:cxn>
                <a:cxn ang="0">
                  <a:pos x="463" y="208"/>
                </a:cxn>
                <a:cxn ang="0">
                  <a:pos x="451" y="179"/>
                </a:cxn>
                <a:cxn ang="0">
                  <a:pos x="436" y="150"/>
                </a:cxn>
                <a:cxn ang="0">
                  <a:pos x="422" y="123"/>
                </a:cxn>
                <a:cxn ang="0">
                  <a:pos x="406" y="98"/>
                </a:cxn>
                <a:cxn ang="0">
                  <a:pos x="389" y="71"/>
                </a:cxn>
                <a:cxn ang="0">
                  <a:pos x="370" y="47"/>
                </a:cxn>
                <a:cxn ang="0">
                  <a:pos x="351" y="23"/>
                </a:cxn>
                <a:cxn ang="0">
                  <a:pos x="330" y="0"/>
                </a:cxn>
                <a:cxn ang="0">
                  <a:pos x="61" y="276"/>
                </a:cxn>
                <a:cxn ang="0">
                  <a:pos x="76" y="295"/>
                </a:cxn>
                <a:cxn ang="0">
                  <a:pos x="88" y="316"/>
                </a:cxn>
                <a:cxn ang="0">
                  <a:pos x="99" y="337"/>
                </a:cxn>
                <a:cxn ang="0">
                  <a:pos x="108" y="358"/>
                </a:cxn>
                <a:cxn ang="0">
                  <a:pos x="115" y="381"/>
                </a:cxn>
                <a:cxn ang="0">
                  <a:pos x="120" y="405"/>
                </a:cxn>
                <a:cxn ang="0">
                  <a:pos x="123" y="429"/>
                </a:cxn>
                <a:cxn ang="0">
                  <a:pos x="124" y="454"/>
                </a:cxn>
                <a:cxn ang="0">
                  <a:pos x="121" y="499"/>
                </a:cxn>
                <a:cxn ang="0">
                  <a:pos x="110" y="541"/>
                </a:cxn>
                <a:cxn ang="0">
                  <a:pos x="103" y="562"/>
                </a:cxn>
                <a:cxn ang="0">
                  <a:pos x="95" y="581"/>
                </a:cxn>
                <a:cxn ang="0">
                  <a:pos x="85" y="599"/>
                </a:cxn>
                <a:cxn ang="0">
                  <a:pos x="73" y="617"/>
                </a:cxn>
                <a:cxn ang="0">
                  <a:pos x="0" y="546"/>
                </a:cxn>
              </a:cxnLst>
              <a:rect l="0" t="0" r="r" b="b"/>
              <a:pathLst>
                <a:path w="511" h="975">
                  <a:moveTo>
                    <a:pt x="0" y="546"/>
                  </a:moveTo>
                  <a:lnTo>
                    <a:pt x="88" y="886"/>
                  </a:lnTo>
                  <a:lnTo>
                    <a:pt x="440" y="974"/>
                  </a:lnTo>
                  <a:lnTo>
                    <a:pt x="353" y="890"/>
                  </a:lnTo>
                  <a:lnTo>
                    <a:pt x="388" y="844"/>
                  </a:lnTo>
                  <a:lnTo>
                    <a:pt x="419" y="795"/>
                  </a:lnTo>
                  <a:lnTo>
                    <a:pt x="446" y="744"/>
                  </a:lnTo>
                  <a:lnTo>
                    <a:pt x="469" y="691"/>
                  </a:lnTo>
                  <a:lnTo>
                    <a:pt x="487" y="636"/>
                  </a:lnTo>
                  <a:lnTo>
                    <a:pt x="500" y="577"/>
                  </a:lnTo>
                  <a:lnTo>
                    <a:pt x="508" y="518"/>
                  </a:lnTo>
                  <a:lnTo>
                    <a:pt x="509" y="458"/>
                  </a:lnTo>
                  <a:lnTo>
                    <a:pt x="510" y="424"/>
                  </a:lnTo>
                  <a:lnTo>
                    <a:pt x="507" y="391"/>
                  </a:lnTo>
                  <a:lnTo>
                    <a:pt x="504" y="360"/>
                  </a:lnTo>
                  <a:lnTo>
                    <a:pt x="498" y="328"/>
                  </a:lnTo>
                  <a:lnTo>
                    <a:pt x="492" y="297"/>
                  </a:lnTo>
                  <a:lnTo>
                    <a:pt x="484" y="267"/>
                  </a:lnTo>
                  <a:lnTo>
                    <a:pt x="474" y="236"/>
                  </a:lnTo>
                  <a:lnTo>
                    <a:pt x="463" y="208"/>
                  </a:lnTo>
                  <a:lnTo>
                    <a:pt x="451" y="179"/>
                  </a:lnTo>
                  <a:lnTo>
                    <a:pt x="436" y="150"/>
                  </a:lnTo>
                  <a:lnTo>
                    <a:pt x="422" y="123"/>
                  </a:lnTo>
                  <a:lnTo>
                    <a:pt x="406" y="98"/>
                  </a:lnTo>
                  <a:lnTo>
                    <a:pt x="389" y="71"/>
                  </a:lnTo>
                  <a:lnTo>
                    <a:pt x="370" y="47"/>
                  </a:lnTo>
                  <a:lnTo>
                    <a:pt x="351" y="23"/>
                  </a:lnTo>
                  <a:lnTo>
                    <a:pt x="330" y="0"/>
                  </a:lnTo>
                  <a:lnTo>
                    <a:pt x="61" y="276"/>
                  </a:lnTo>
                  <a:lnTo>
                    <a:pt x="76" y="295"/>
                  </a:lnTo>
                  <a:lnTo>
                    <a:pt x="88" y="316"/>
                  </a:lnTo>
                  <a:lnTo>
                    <a:pt x="99" y="337"/>
                  </a:lnTo>
                  <a:lnTo>
                    <a:pt x="108" y="358"/>
                  </a:lnTo>
                  <a:lnTo>
                    <a:pt x="115" y="381"/>
                  </a:lnTo>
                  <a:lnTo>
                    <a:pt x="120" y="405"/>
                  </a:lnTo>
                  <a:lnTo>
                    <a:pt x="123" y="429"/>
                  </a:lnTo>
                  <a:lnTo>
                    <a:pt x="124" y="454"/>
                  </a:lnTo>
                  <a:lnTo>
                    <a:pt x="121" y="499"/>
                  </a:lnTo>
                  <a:lnTo>
                    <a:pt x="110" y="541"/>
                  </a:lnTo>
                  <a:lnTo>
                    <a:pt x="103" y="562"/>
                  </a:lnTo>
                  <a:lnTo>
                    <a:pt x="95" y="581"/>
                  </a:lnTo>
                  <a:lnTo>
                    <a:pt x="85" y="599"/>
                  </a:lnTo>
                  <a:lnTo>
                    <a:pt x="73" y="617"/>
                  </a:lnTo>
                  <a:lnTo>
                    <a:pt x="0" y="546"/>
                  </a:lnTo>
                </a:path>
              </a:pathLst>
            </a:custGeom>
            <a:solidFill>
              <a:srgbClr val="A100FF"/>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6">
              <a:extLst>
                <a:ext uri="{FF2B5EF4-FFF2-40B4-BE49-F238E27FC236}">
                  <a16:creationId xmlns:a16="http://schemas.microsoft.com/office/drawing/2014/main" id="{4A060BB2-718D-46D8-8AA4-4D3E7266CAC0}"/>
                </a:ext>
              </a:extLst>
            </p:cNvPr>
            <p:cNvSpPr>
              <a:spLocks/>
            </p:cNvSpPr>
            <p:nvPr/>
          </p:nvSpPr>
          <p:spPr bwMode="auto">
            <a:xfrm>
              <a:off x="2406" y="1482"/>
              <a:ext cx="1482" cy="752"/>
            </a:xfrm>
            <a:custGeom>
              <a:avLst/>
              <a:gdLst/>
              <a:ahLst/>
              <a:cxnLst>
                <a:cxn ang="0">
                  <a:pos x="933" y="171"/>
                </a:cxn>
                <a:cxn ang="0">
                  <a:pos x="887" y="133"/>
                </a:cxn>
                <a:cxn ang="0">
                  <a:pos x="837" y="100"/>
                </a:cxn>
                <a:cxn ang="0">
                  <a:pos x="784" y="70"/>
                </a:cxn>
                <a:cxn ang="0">
                  <a:pos x="757" y="57"/>
                </a:cxn>
                <a:cxn ang="0">
                  <a:pos x="729" y="46"/>
                </a:cxn>
                <a:cxn ang="0">
                  <a:pos x="700" y="35"/>
                </a:cxn>
                <a:cxn ang="0">
                  <a:pos x="671" y="26"/>
                </a:cxn>
                <a:cxn ang="0">
                  <a:pos x="641" y="18"/>
                </a:cxn>
                <a:cxn ang="0">
                  <a:pos x="611" y="12"/>
                </a:cxn>
                <a:cxn ang="0">
                  <a:pos x="580" y="6"/>
                </a:cxn>
                <a:cxn ang="0">
                  <a:pos x="549" y="3"/>
                </a:cxn>
                <a:cxn ang="0">
                  <a:pos x="517" y="1"/>
                </a:cxn>
                <a:cxn ang="0">
                  <a:pos x="485" y="0"/>
                </a:cxn>
                <a:cxn ang="0">
                  <a:pos x="450" y="1"/>
                </a:cxn>
                <a:cxn ang="0">
                  <a:pos x="415" y="4"/>
                </a:cxn>
                <a:cxn ang="0">
                  <a:pos x="380" y="8"/>
                </a:cxn>
                <a:cxn ang="0">
                  <a:pos x="346" y="15"/>
                </a:cxn>
                <a:cxn ang="0">
                  <a:pos x="280" y="32"/>
                </a:cxn>
                <a:cxn ang="0">
                  <a:pos x="248" y="43"/>
                </a:cxn>
                <a:cxn ang="0">
                  <a:pos x="217" y="57"/>
                </a:cxn>
                <a:cxn ang="0">
                  <a:pos x="157" y="86"/>
                </a:cxn>
                <a:cxn ang="0">
                  <a:pos x="100" y="121"/>
                </a:cxn>
                <a:cxn ang="0">
                  <a:pos x="48" y="163"/>
                </a:cxn>
                <a:cxn ang="0">
                  <a:pos x="0" y="208"/>
                </a:cxn>
                <a:cxn ang="0">
                  <a:pos x="276" y="483"/>
                </a:cxn>
                <a:cxn ang="0">
                  <a:pos x="297" y="462"/>
                </a:cxn>
                <a:cxn ang="0">
                  <a:pos x="319" y="443"/>
                </a:cxn>
                <a:cxn ang="0">
                  <a:pos x="344" y="426"/>
                </a:cxn>
                <a:cxn ang="0">
                  <a:pos x="369" y="413"/>
                </a:cxn>
                <a:cxn ang="0">
                  <a:pos x="398" y="402"/>
                </a:cxn>
                <a:cxn ang="0">
                  <a:pos x="427" y="393"/>
                </a:cxn>
                <a:cxn ang="0">
                  <a:pos x="457" y="389"/>
                </a:cxn>
                <a:cxn ang="0">
                  <a:pos x="488" y="387"/>
                </a:cxn>
                <a:cxn ang="0">
                  <a:pos x="514" y="388"/>
                </a:cxn>
                <a:cxn ang="0">
                  <a:pos x="536" y="391"/>
                </a:cxn>
                <a:cxn ang="0">
                  <a:pos x="560" y="396"/>
                </a:cxn>
                <a:cxn ang="0">
                  <a:pos x="583" y="403"/>
                </a:cxn>
                <a:cxn ang="0">
                  <a:pos x="605" y="412"/>
                </a:cxn>
                <a:cxn ang="0">
                  <a:pos x="625" y="423"/>
                </a:cxn>
                <a:cxn ang="0">
                  <a:pos x="645" y="435"/>
                </a:cxn>
                <a:cxn ang="0">
                  <a:pos x="663" y="448"/>
                </a:cxn>
                <a:cxn ang="0">
                  <a:pos x="579" y="535"/>
                </a:cxn>
                <a:cxn ang="0">
                  <a:pos x="919" y="446"/>
                </a:cxn>
                <a:cxn ang="0">
                  <a:pos x="1007" y="95"/>
                </a:cxn>
                <a:cxn ang="0">
                  <a:pos x="933" y="171"/>
                </a:cxn>
              </a:cxnLst>
              <a:rect l="0" t="0" r="r" b="b"/>
              <a:pathLst>
                <a:path w="1008" h="536">
                  <a:moveTo>
                    <a:pt x="933" y="171"/>
                  </a:moveTo>
                  <a:lnTo>
                    <a:pt x="887" y="133"/>
                  </a:lnTo>
                  <a:lnTo>
                    <a:pt x="837" y="100"/>
                  </a:lnTo>
                  <a:lnTo>
                    <a:pt x="784" y="70"/>
                  </a:lnTo>
                  <a:lnTo>
                    <a:pt x="757" y="57"/>
                  </a:lnTo>
                  <a:lnTo>
                    <a:pt x="729" y="46"/>
                  </a:lnTo>
                  <a:lnTo>
                    <a:pt x="700" y="35"/>
                  </a:lnTo>
                  <a:lnTo>
                    <a:pt x="671" y="26"/>
                  </a:lnTo>
                  <a:lnTo>
                    <a:pt x="641" y="18"/>
                  </a:lnTo>
                  <a:lnTo>
                    <a:pt x="611" y="12"/>
                  </a:lnTo>
                  <a:lnTo>
                    <a:pt x="580" y="6"/>
                  </a:lnTo>
                  <a:lnTo>
                    <a:pt x="549" y="3"/>
                  </a:lnTo>
                  <a:lnTo>
                    <a:pt x="517" y="1"/>
                  </a:lnTo>
                  <a:lnTo>
                    <a:pt x="485" y="0"/>
                  </a:lnTo>
                  <a:lnTo>
                    <a:pt x="450" y="1"/>
                  </a:lnTo>
                  <a:lnTo>
                    <a:pt x="415" y="4"/>
                  </a:lnTo>
                  <a:lnTo>
                    <a:pt x="380" y="8"/>
                  </a:lnTo>
                  <a:lnTo>
                    <a:pt x="346" y="15"/>
                  </a:lnTo>
                  <a:lnTo>
                    <a:pt x="280" y="32"/>
                  </a:lnTo>
                  <a:lnTo>
                    <a:pt x="248" y="43"/>
                  </a:lnTo>
                  <a:lnTo>
                    <a:pt x="217" y="57"/>
                  </a:lnTo>
                  <a:lnTo>
                    <a:pt x="157" y="86"/>
                  </a:lnTo>
                  <a:lnTo>
                    <a:pt x="100" y="121"/>
                  </a:lnTo>
                  <a:lnTo>
                    <a:pt x="48" y="163"/>
                  </a:lnTo>
                  <a:lnTo>
                    <a:pt x="0" y="208"/>
                  </a:lnTo>
                  <a:lnTo>
                    <a:pt x="276" y="483"/>
                  </a:lnTo>
                  <a:lnTo>
                    <a:pt x="297" y="462"/>
                  </a:lnTo>
                  <a:lnTo>
                    <a:pt x="319" y="443"/>
                  </a:lnTo>
                  <a:lnTo>
                    <a:pt x="344" y="426"/>
                  </a:lnTo>
                  <a:lnTo>
                    <a:pt x="369" y="413"/>
                  </a:lnTo>
                  <a:lnTo>
                    <a:pt x="398" y="402"/>
                  </a:lnTo>
                  <a:lnTo>
                    <a:pt x="427" y="393"/>
                  </a:lnTo>
                  <a:lnTo>
                    <a:pt x="457" y="389"/>
                  </a:lnTo>
                  <a:lnTo>
                    <a:pt x="488" y="387"/>
                  </a:lnTo>
                  <a:lnTo>
                    <a:pt x="514" y="388"/>
                  </a:lnTo>
                  <a:lnTo>
                    <a:pt x="536" y="391"/>
                  </a:lnTo>
                  <a:lnTo>
                    <a:pt x="560" y="396"/>
                  </a:lnTo>
                  <a:lnTo>
                    <a:pt x="583" y="403"/>
                  </a:lnTo>
                  <a:lnTo>
                    <a:pt x="605" y="412"/>
                  </a:lnTo>
                  <a:lnTo>
                    <a:pt x="625" y="423"/>
                  </a:lnTo>
                  <a:lnTo>
                    <a:pt x="645" y="435"/>
                  </a:lnTo>
                  <a:lnTo>
                    <a:pt x="663" y="448"/>
                  </a:lnTo>
                  <a:lnTo>
                    <a:pt x="579" y="535"/>
                  </a:lnTo>
                  <a:lnTo>
                    <a:pt x="919" y="446"/>
                  </a:lnTo>
                  <a:lnTo>
                    <a:pt x="1007" y="95"/>
                  </a:lnTo>
                  <a:lnTo>
                    <a:pt x="933" y="171"/>
                  </a:lnTo>
                </a:path>
              </a:pathLst>
            </a:custGeom>
            <a:solidFill>
              <a:srgbClr val="A100FF"/>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7">
              <a:extLst>
                <a:ext uri="{FF2B5EF4-FFF2-40B4-BE49-F238E27FC236}">
                  <a16:creationId xmlns:a16="http://schemas.microsoft.com/office/drawing/2014/main" id="{4CF42C71-9067-4F8B-BA5A-546F09DACC4B}"/>
                </a:ext>
              </a:extLst>
            </p:cNvPr>
            <p:cNvSpPr>
              <a:spLocks/>
            </p:cNvSpPr>
            <p:nvPr/>
          </p:nvSpPr>
          <p:spPr bwMode="auto">
            <a:xfrm>
              <a:off x="2130" y="1709"/>
              <a:ext cx="755" cy="1329"/>
            </a:xfrm>
            <a:custGeom>
              <a:avLst/>
              <a:gdLst/>
              <a:ahLst/>
              <a:cxnLst>
                <a:cxn ang="0">
                  <a:pos x="755" y="596"/>
                </a:cxn>
                <a:cxn ang="0">
                  <a:pos x="627" y="123"/>
                </a:cxn>
                <a:cxn ang="0">
                  <a:pos x="118" y="0"/>
                </a:cxn>
                <a:cxn ang="0">
                  <a:pos x="232" y="107"/>
                </a:cxn>
                <a:cxn ang="0">
                  <a:pos x="181" y="170"/>
                </a:cxn>
                <a:cxn ang="0">
                  <a:pos x="135" y="239"/>
                </a:cxn>
                <a:cxn ang="0">
                  <a:pos x="96" y="310"/>
                </a:cxn>
                <a:cxn ang="0">
                  <a:pos x="62" y="386"/>
                </a:cxn>
                <a:cxn ang="0">
                  <a:pos x="35" y="464"/>
                </a:cxn>
                <a:cxn ang="0">
                  <a:pos x="16" y="544"/>
                </a:cxn>
                <a:cxn ang="0">
                  <a:pos x="4" y="629"/>
                </a:cxn>
                <a:cxn ang="0">
                  <a:pos x="0" y="714"/>
                </a:cxn>
                <a:cxn ang="0">
                  <a:pos x="6" y="804"/>
                </a:cxn>
                <a:cxn ang="0">
                  <a:pos x="18" y="891"/>
                </a:cxn>
                <a:cxn ang="0">
                  <a:pos x="40" y="977"/>
                </a:cxn>
                <a:cxn ang="0">
                  <a:pos x="68" y="1058"/>
                </a:cxn>
                <a:cxn ang="0">
                  <a:pos x="104" y="1135"/>
                </a:cxn>
                <a:cxn ang="0">
                  <a:pos x="149" y="1211"/>
                </a:cxn>
                <a:cxn ang="0">
                  <a:pos x="199" y="1281"/>
                </a:cxn>
                <a:cxn ang="0">
                  <a:pos x="248" y="1329"/>
                </a:cxn>
                <a:cxn ang="0">
                  <a:pos x="332" y="1051"/>
                </a:cxn>
                <a:cxn ang="0">
                  <a:pos x="668" y="967"/>
                </a:cxn>
                <a:cxn ang="0">
                  <a:pos x="627" y="911"/>
                </a:cxn>
                <a:cxn ang="0">
                  <a:pos x="596" y="849"/>
                </a:cxn>
                <a:cxn ang="0">
                  <a:pos x="577" y="782"/>
                </a:cxn>
                <a:cxn ang="0">
                  <a:pos x="569" y="710"/>
                </a:cxn>
                <a:cxn ang="0">
                  <a:pos x="575" y="650"/>
                </a:cxn>
                <a:cxn ang="0">
                  <a:pos x="588" y="592"/>
                </a:cxn>
                <a:cxn ang="0">
                  <a:pos x="610" y="537"/>
                </a:cxn>
                <a:cxn ang="0">
                  <a:pos x="640" y="488"/>
                </a:cxn>
                <a:cxn ang="0">
                  <a:pos x="755" y="596"/>
                </a:cxn>
              </a:cxnLst>
              <a:rect l="0" t="0" r="r" b="b"/>
              <a:pathLst>
                <a:path w="755" h="1329">
                  <a:moveTo>
                    <a:pt x="755" y="596"/>
                  </a:moveTo>
                  <a:lnTo>
                    <a:pt x="627" y="123"/>
                  </a:lnTo>
                  <a:lnTo>
                    <a:pt x="118" y="0"/>
                  </a:lnTo>
                  <a:lnTo>
                    <a:pt x="232" y="107"/>
                  </a:lnTo>
                  <a:lnTo>
                    <a:pt x="181" y="170"/>
                  </a:lnTo>
                  <a:lnTo>
                    <a:pt x="135" y="239"/>
                  </a:lnTo>
                  <a:lnTo>
                    <a:pt x="96" y="310"/>
                  </a:lnTo>
                  <a:lnTo>
                    <a:pt x="62" y="386"/>
                  </a:lnTo>
                  <a:lnTo>
                    <a:pt x="35" y="464"/>
                  </a:lnTo>
                  <a:lnTo>
                    <a:pt x="16" y="544"/>
                  </a:lnTo>
                  <a:lnTo>
                    <a:pt x="4" y="629"/>
                  </a:lnTo>
                  <a:lnTo>
                    <a:pt x="0" y="714"/>
                  </a:lnTo>
                  <a:lnTo>
                    <a:pt x="6" y="804"/>
                  </a:lnTo>
                  <a:lnTo>
                    <a:pt x="18" y="891"/>
                  </a:lnTo>
                  <a:lnTo>
                    <a:pt x="40" y="977"/>
                  </a:lnTo>
                  <a:lnTo>
                    <a:pt x="68" y="1058"/>
                  </a:lnTo>
                  <a:lnTo>
                    <a:pt x="104" y="1135"/>
                  </a:lnTo>
                  <a:lnTo>
                    <a:pt x="149" y="1211"/>
                  </a:lnTo>
                  <a:lnTo>
                    <a:pt x="199" y="1281"/>
                  </a:lnTo>
                  <a:lnTo>
                    <a:pt x="248" y="1329"/>
                  </a:lnTo>
                  <a:lnTo>
                    <a:pt x="332" y="1051"/>
                  </a:lnTo>
                  <a:lnTo>
                    <a:pt x="668" y="967"/>
                  </a:lnTo>
                  <a:lnTo>
                    <a:pt x="627" y="911"/>
                  </a:lnTo>
                  <a:lnTo>
                    <a:pt x="596" y="849"/>
                  </a:lnTo>
                  <a:lnTo>
                    <a:pt x="577" y="782"/>
                  </a:lnTo>
                  <a:lnTo>
                    <a:pt x="569" y="710"/>
                  </a:lnTo>
                  <a:lnTo>
                    <a:pt x="575" y="650"/>
                  </a:lnTo>
                  <a:lnTo>
                    <a:pt x="588" y="592"/>
                  </a:lnTo>
                  <a:lnTo>
                    <a:pt x="610" y="537"/>
                  </a:lnTo>
                  <a:lnTo>
                    <a:pt x="640" y="488"/>
                  </a:lnTo>
                  <a:lnTo>
                    <a:pt x="755" y="596"/>
                  </a:lnTo>
                </a:path>
              </a:pathLst>
            </a:custGeom>
            <a:solidFill>
              <a:srgbClr val="A100FF"/>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8">
              <a:extLst>
                <a:ext uri="{FF2B5EF4-FFF2-40B4-BE49-F238E27FC236}">
                  <a16:creationId xmlns:a16="http://schemas.microsoft.com/office/drawing/2014/main" id="{C88C3D2F-0491-427D-A513-2D8D5D290D3B}"/>
                </a:ext>
              </a:extLst>
            </p:cNvPr>
            <p:cNvSpPr>
              <a:spLocks/>
            </p:cNvSpPr>
            <p:nvPr/>
          </p:nvSpPr>
          <p:spPr bwMode="auto">
            <a:xfrm>
              <a:off x="2988" y="2430"/>
              <a:ext cx="661" cy="602"/>
            </a:xfrm>
            <a:custGeom>
              <a:avLst/>
              <a:gdLst/>
              <a:ahLst/>
              <a:cxnLst>
                <a:cxn ang="0">
                  <a:pos x="103" y="96"/>
                </a:cxn>
                <a:cxn ang="0">
                  <a:pos x="0" y="259"/>
                </a:cxn>
                <a:cxn ang="0">
                  <a:pos x="108" y="429"/>
                </a:cxn>
                <a:cxn ang="0">
                  <a:pos x="107" y="362"/>
                </a:cxn>
                <a:cxn ang="0">
                  <a:pos x="107" y="362"/>
                </a:cxn>
                <a:cxn ang="0">
                  <a:pos x="139" y="359"/>
                </a:cxn>
                <a:cxn ang="0">
                  <a:pos x="170" y="353"/>
                </a:cxn>
                <a:cxn ang="0">
                  <a:pos x="202" y="344"/>
                </a:cxn>
                <a:cxn ang="0">
                  <a:pos x="232" y="332"/>
                </a:cxn>
                <a:cxn ang="0">
                  <a:pos x="262" y="317"/>
                </a:cxn>
                <a:cxn ang="0">
                  <a:pos x="290" y="299"/>
                </a:cxn>
                <a:cxn ang="0">
                  <a:pos x="317" y="279"/>
                </a:cxn>
                <a:cxn ang="0">
                  <a:pos x="342" y="255"/>
                </a:cxn>
                <a:cxn ang="0">
                  <a:pos x="367" y="228"/>
                </a:cxn>
                <a:cxn ang="0">
                  <a:pos x="389" y="199"/>
                </a:cxn>
                <a:cxn ang="0">
                  <a:pos x="407" y="168"/>
                </a:cxn>
                <a:cxn ang="0">
                  <a:pos x="422" y="137"/>
                </a:cxn>
                <a:cxn ang="0">
                  <a:pos x="434" y="103"/>
                </a:cxn>
                <a:cxn ang="0">
                  <a:pos x="442" y="69"/>
                </a:cxn>
                <a:cxn ang="0">
                  <a:pos x="447" y="34"/>
                </a:cxn>
                <a:cxn ang="0">
                  <a:pos x="449" y="0"/>
                </a:cxn>
                <a:cxn ang="0">
                  <a:pos x="238" y="4"/>
                </a:cxn>
                <a:cxn ang="0">
                  <a:pos x="234" y="31"/>
                </a:cxn>
                <a:cxn ang="0">
                  <a:pos x="225" y="57"/>
                </a:cxn>
                <a:cxn ang="0">
                  <a:pos x="212" y="82"/>
                </a:cxn>
                <a:cxn ang="0">
                  <a:pos x="193" y="104"/>
                </a:cxn>
                <a:cxn ang="0">
                  <a:pos x="173" y="121"/>
                </a:cxn>
                <a:cxn ang="0">
                  <a:pos x="152" y="134"/>
                </a:cxn>
                <a:cxn ang="0">
                  <a:pos x="128" y="143"/>
                </a:cxn>
                <a:cxn ang="0">
                  <a:pos x="103" y="148"/>
                </a:cxn>
                <a:cxn ang="0">
                  <a:pos x="104" y="149"/>
                </a:cxn>
                <a:cxn ang="0">
                  <a:pos x="103" y="149"/>
                </a:cxn>
                <a:cxn ang="0">
                  <a:pos x="103" y="96"/>
                </a:cxn>
              </a:cxnLst>
              <a:rect l="0" t="0" r="r" b="b"/>
              <a:pathLst>
                <a:path w="449" h="429">
                  <a:moveTo>
                    <a:pt x="103" y="96"/>
                  </a:moveTo>
                  <a:lnTo>
                    <a:pt x="0" y="259"/>
                  </a:lnTo>
                  <a:lnTo>
                    <a:pt x="108" y="429"/>
                  </a:lnTo>
                  <a:lnTo>
                    <a:pt x="107" y="362"/>
                  </a:lnTo>
                  <a:lnTo>
                    <a:pt x="107" y="362"/>
                  </a:lnTo>
                  <a:lnTo>
                    <a:pt x="139" y="359"/>
                  </a:lnTo>
                  <a:lnTo>
                    <a:pt x="170" y="353"/>
                  </a:lnTo>
                  <a:lnTo>
                    <a:pt x="202" y="344"/>
                  </a:lnTo>
                  <a:lnTo>
                    <a:pt x="232" y="332"/>
                  </a:lnTo>
                  <a:lnTo>
                    <a:pt x="262" y="317"/>
                  </a:lnTo>
                  <a:lnTo>
                    <a:pt x="290" y="299"/>
                  </a:lnTo>
                  <a:lnTo>
                    <a:pt x="317" y="279"/>
                  </a:lnTo>
                  <a:lnTo>
                    <a:pt x="342" y="255"/>
                  </a:lnTo>
                  <a:lnTo>
                    <a:pt x="367" y="228"/>
                  </a:lnTo>
                  <a:lnTo>
                    <a:pt x="389" y="199"/>
                  </a:lnTo>
                  <a:lnTo>
                    <a:pt x="407" y="168"/>
                  </a:lnTo>
                  <a:lnTo>
                    <a:pt x="422" y="137"/>
                  </a:lnTo>
                  <a:lnTo>
                    <a:pt x="434" y="103"/>
                  </a:lnTo>
                  <a:lnTo>
                    <a:pt x="442" y="69"/>
                  </a:lnTo>
                  <a:lnTo>
                    <a:pt x="447" y="34"/>
                  </a:lnTo>
                  <a:lnTo>
                    <a:pt x="449" y="0"/>
                  </a:lnTo>
                  <a:lnTo>
                    <a:pt x="238" y="4"/>
                  </a:lnTo>
                  <a:lnTo>
                    <a:pt x="234" y="31"/>
                  </a:lnTo>
                  <a:lnTo>
                    <a:pt x="225" y="57"/>
                  </a:lnTo>
                  <a:lnTo>
                    <a:pt x="212" y="82"/>
                  </a:lnTo>
                  <a:lnTo>
                    <a:pt x="193" y="104"/>
                  </a:lnTo>
                  <a:lnTo>
                    <a:pt x="173" y="121"/>
                  </a:lnTo>
                  <a:lnTo>
                    <a:pt x="152" y="134"/>
                  </a:lnTo>
                  <a:lnTo>
                    <a:pt x="128" y="143"/>
                  </a:lnTo>
                  <a:lnTo>
                    <a:pt x="103" y="148"/>
                  </a:lnTo>
                  <a:lnTo>
                    <a:pt x="104" y="149"/>
                  </a:lnTo>
                  <a:lnTo>
                    <a:pt x="103" y="149"/>
                  </a:lnTo>
                  <a:lnTo>
                    <a:pt x="103" y="96"/>
                  </a:lnTo>
                </a:path>
              </a:pathLst>
            </a:custGeom>
            <a:solidFill>
              <a:srgbClr val="BE82FF">
                <a:lumMod val="20000"/>
                <a:lumOff val="80000"/>
              </a:srgbClr>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9">
              <a:extLst>
                <a:ext uri="{FF2B5EF4-FFF2-40B4-BE49-F238E27FC236}">
                  <a16:creationId xmlns:a16="http://schemas.microsoft.com/office/drawing/2014/main" id="{F26A4F2C-07AB-4DF2-8FA9-309BA26A60E7}"/>
                </a:ext>
              </a:extLst>
            </p:cNvPr>
            <p:cNvSpPr>
              <a:spLocks/>
            </p:cNvSpPr>
            <p:nvPr/>
          </p:nvSpPr>
          <p:spPr bwMode="auto">
            <a:xfrm>
              <a:off x="3139" y="1914"/>
              <a:ext cx="616" cy="609"/>
            </a:xfrm>
            <a:custGeom>
              <a:avLst/>
              <a:gdLst/>
              <a:ahLst/>
              <a:cxnLst>
                <a:cxn ang="0">
                  <a:pos x="83" y="337"/>
                </a:cxn>
                <a:cxn ang="0">
                  <a:pos x="248" y="433"/>
                </a:cxn>
                <a:cxn ang="0">
                  <a:pos x="418" y="332"/>
                </a:cxn>
                <a:cxn ang="0">
                  <a:pos x="352" y="333"/>
                </a:cxn>
                <a:cxn ang="0">
                  <a:pos x="348" y="302"/>
                </a:cxn>
                <a:cxn ang="0">
                  <a:pos x="341" y="271"/>
                </a:cxn>
                <a:cxn ang="0">
                  <a:pos x="332" y="241"/>
                </a:cxn>
                <a:cxn ang="0">
                  <a:pos x="320" y="212"/>
                </a:cxn>
                <a:cxn ang="0">
                  <a:pos x="306" y="184"/>
                </a:cxn>
                <a:cxn ang="0">
                  <a:pos x="288" y="157"/>
                </a:cxn>
                <a:cxn ang="0">
                  <a:pos x="269" y="131"/>
                </a:cxn>
                <a:cxn ang="0">
                  <a:pos x="246" y="106"/>
                </a:cxn>
                <a:cxn ang="0">
                  <a:pos x="220" y="82"/>
                </a:cxn>
                <a:cxn ang="0">
                  <a:pos x="192" y="61"/>
                </a:cxn>
                <a:cxn ang="0">
                  <a:pos x="163" y="43"/>
                </a:cxn>
                <a:cxn ang="0">
                  <a:pos x="131" y="29"/>
                </a:cxn>
                <a:cxn ang="0">
                  <a:pos x="100" y="17"/>
                </a:cxn>
                <a:cxn ang="0">
                  <a:pos x="67" y="8"/>
                </a:cxn>
                <a:cxn ang="0">
                  <a:pos x="33" y="2"/>
                </a:cxn>
                <a:cxn ang="0">
                  <a:pos x="0" y="0"/>
                </a:cxn>
                <a:cxn ang="0">
                  <a:pos x="4" y="209"/>
                </a:cxn>
                <a:cxn ang="0">
                  <a:pos x="29" y="213"/>
                </a:cxn>
                <a:cxn ang="0">
                  <a:pos x="52" y="222"/>
                </a:cxn>
                <a:cxn ang="0">
                  <a:pos x="75" y="236"/>
                </a:cxn>
                <a:cxn ang="0">
                  <a:pos x="96" y="253"/>
                </a:cxn>
                <a:cxn ang="0">
                  <a:pos x="112" y="272"/>
                </a:cxn>
                <a:cxn ang="0">
                  <a:pos x="124" y="292"/>
                </a:cxn>
                <a:cxn ang="0">
                  <a:pos x="133" y="313"/>
                </a:cxn>
                <a:cxn ang="0">
                  <a:pos x="136" y="324"/>
                </a:cxn>
                <a:cxn ang="0">
                  <a:pos x="139" y="336"/>
                </a:cxn>
                <a:cxn ang="0">
                  <a:pos x="83" y="337"/>
                </a:cxn>
              </a:cxnLst>
              <a:rect l="0" t="0" r="r" b="b"/>
              <a:pathLst>
                <a:path w="419" h="434">
                  <a:moveTo>
                    <a:pt x="83" y="337"/>
                  </a:moveTo>
                  <a:lnTo>
                    <a:pt x="248" y="433"/>
                  </a:lnTo>
                  <a:lnTo>
                    <a:pt x="418" y="332"/>
                  </a:lnTo>
                  <a:lnTo>
                    <a:pt x="352" y="333"/>
                  </a:lnTo>
                  <a:lnTo>
                    <a:pt x="348" y="302"/>
                  </a:lnTo>
                  <a:lnTo>
                    <a:pt x="341" y="271"/>
                  </a:lnTo>
                  <a:lnTo>
                    <a:pt x="332" y="241"/>
                  </a:lnTo>
                  <a:lnTo>
                    <a:pt x="320" y="212"/>
                  </a:lnTo>
                  <a:lnTo>
                    <a:pt x="306" y="184"/>
                  </a:lnTo>
                  <a:lnTo>
                    <a:pt x="288" y="157"/>
                  </a:lnTo>
                  <a:lnTo>
                    <a:pt x="269" y="131"/>
                  </a:lnTo>
                  <a:lnTo>
                    <a:pt x="246" y="106"/>
                  </a:lnTo>
                  <a:lnTo>
                    <a:pt x="220" y="82"/>
                  </a:lnTo>
                  <a:lnTo>
                    <a:pt x="192" y="61"/>
                  </a:lnTo>
                  <a:lnTo>
                    <a:pt x="163" y="43"/>
                  </a:lnTo>
                  <a:lnTo>
                    <a:pt x="131" y="29"/>
                  </a:lnTo>
                  <a:lnTo>
                    <a:pt x="100" y="17"/>
                  </a:lnTo>
                  <a:lnTo>
                    <a:pt x="67" y="8"/>
                  </a:lnTo>
                  <a:lnTo>
                    <a:pt x="33" y="2"/>
                  </a:lnTo>
                  <a:lnTo>
                    <a:pt x="0" y="0"/>
                  </a:lnTo>
                  <a:lnTo>
                    <a:pt x="4" y="209"/>
                  </a:lnTo>
                  <a:lnTo>
                    <a:pt x="29" y="213"/>
                  </a:lnTo>
                  <a:lnTo>
                    <a:pt x="52" y="222"/>
                  </a:lnTo>
                  <a:lnTo>
                    <a:pt x="75" y="236"/>
                  </a:lnTo>
                  <a:lnTo>
                    <a:pt x="96" y="253"/>
                  </a:lnTo>
                  <a:lnTo>
                    <a:pt x="112" y="272"/>
                  </a:lnTo>
                  <a:lnTo>
                    <a:pt x="124" y="292"/>
                  </a:lnTo>
                  <a:lnTo>
                    <a:pt x="133" y="313"/>
                  </a:lnTo>
                  <a:lnTo>
                    <a:pt x="136" y="324"/>
                  </a:lnTo>
                  <a:lnTo>
                    <a:pt x="139" y="336"/>
                  </a:lnTo>
                  <a:lnTo>
                    <a:pt x="83" y="337"/>
                  </a:lnTo>
                </a:path>
              </a:pathLst>
            </a:custGeom>
            <a:solidFill>
              <a:srgbClr val="BE82FF">
                <a:lumMod val="20000"/>
                <a:lumOff val="80000"/>
              </a:srgbClr>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10">
              <a:extLst>
                <a:ext uri="{FF2B5EF4-FFF2-40B4-BE49-F238E27FC236}">
                  <a16:creationId xmlns:a16="http://schemas.microsoft.com/office/drawing/2014/main" id="{6E939BA0-2A6E-497E-86DC-7FC59883F218}"/>
                </a:ext>
              </a:extLst>
            </p:cNvPr>
            <p:cNvSpPr>
              <a:spLocks/>
            </p:cNvSpPr>
            <p:nvPr/>
          </p:nvSpPr>
          <p:spPr bwMode="auto">
            <a:xfrm>
              <a:off x="2575" y="1824"/>
              <a:ext cx="654" cy="608"/>
            </a:xfrm>
            <a:custGeom>
              <a:avLst/>
              <a:gdLst/>
              <a:ahLst/>
              <a:cxnLst>
                <a:cxn ang="0">
                  <a:pos x="344" y="59"/>
                </a:cxn>
                <a:cxn ang="0">
                  <a:pos x="312" y="61"/>
                </a:cxn>
                <a:cxn ang="0">
                  <a:pos x="280" y="68"/>
                </a:cxn>
                <a:cxn ang="0">
                  <a:pos x="248" y="77"/>
                </a:cxn>
                <a:cxn ang="0">
                  <a:pos x="218" y="88"/>
                </a:cxn>
                <a:cxn ang="0">
                  <a:pos x="188" y="103"/>
                </a:cxn>
                <a:cxn ang="0">
                  <a:pos x="159" y="121"/>
                </a:cxn>
                <a:cxn ang="0">
                  <a:pos x="132" y="142"/>
                </a:cxn>
                <a:cxn ang="0">
                  <a:pos x="107" y="165"/>
                </a:cxn>
                <a:cxn ang="0">
                  <a:pos x="81" y="193"/>
                </a:cxn>
                <a:cxn ang="0">
                  <a:pos x="59" y="224"/>
                </a:cxn>
                <a:cxn ang="0">
                  <a:pos x="40" y="255"/>
                </a:cxn>
                <a:cxn ang="0">
                  <a:pos x="25" y="290"/>
                </a:cxn>
                <a:cxn ang="0">
                  <a:pos x="13" y="324"/>
                </a:cxn>
                <a:cxn ang="0">
                  <a:pos x="5" y="359"/>
                </a:cxn>
                <a:cxn ang="0">
                  <a:pos x="1" y="395"/>
                </a:cxn>
                <a:cxn ang="0">
                  <a:pos x="0" y="432"/>
                </a:cxn>
                <a:cxn ang="0">
                  <a:pos x="211" y="431"/>
                </a:cxn>
                <a:cxn ang="0">
                  <a:pos x="212" y="399"/>
                </a:cxn>
                <a:cxn ang="0">
                  <a:pos x="220" y="368"/>
                </a:cxn>
                <a:cxn ang="0">
                  <a:pos x="235" y="338"/>
                </a:cxn>
                <a:cxn ang="0">
                  <a:pos x="256" y="312"/>
                </a:cxn>
                <a:cxn ang="0">
                  <a:pos x="276" y="295"/>
                </a:cxn>
                <a:cxn ang="0">
                  <a:pos x="298" y="282"/>
                </a:cxn>
                <a:cxn ang="0">
                  <a:pos x="323" y="272"/>
                </a:cxn>
                <a:cxn ang="0">
                  <a:pos x="347" y="268"/>
                </a:cxn>
                <a:cxn ang="0">
                  <a:pos x="348" y="335"/>
                </a:cxn>
                <a:cxn ang="0">
                  <a:pos x="444" y="170"/>
                </a:cxn>
                <a:cxn ang="0">
                  <a:pos x="343" y="0"/>
                </a:cxn>
                <a:cxn ang="0">
                  <a:pos x="344" y="59"/>
                </a:cxn>
              </a:cxnLst>
              <a:rect l="0" t="0" r="r" b="b"/>
              <a:pathLst>
                <a:path w="445" h="433">
                  <a:moveTo>
                    <a:pt x="344" y="59"/>
                  </a:moveTo>
                  <a:lnTo>
                    <a:pt x="312" y="61"/>
                  </a:lnTo>
                  <a:lnTo>
                    <a:pt x="280" y="68"/>
                  </a:lnTo>
                  <a:lnTo>
                    <a:pt x="248" y="77"/>
                  </a:lnTo>
                  <a:lnTo>
                    <a:pt x="218" y="88"/>
                  </a:lnTo>
                  <a:lnTo>
                    <a:pt x="188" y="103"/>
                  </a:lnTo>
                  <a:lnTo>
                    <a:pt x="159" y="121"/>
                  </a:lnTo>
                  <a:lnTo>
                    <a:pt x="132" y="142"/>
                  </a:lnTo>
                  <a:lnTo>
                    <a:pt x="107" y="165"/>
                  </a:lnTo>
                  <a:lnTo>
                    <a:pt x="81" y="193"/>
                  </a:lnTo>
                  <a:lnTo>
                    <a:pt x="59" y="224"/>
                  </a:lnTo>
                  <a:lnTo>
                    <a:pt x="40" y="255"/>
                  </a:lnTo>
                  <a:lnTo>
                    <a:pt x="25" y="290"/>
                  </a:lnTo>
                  <a:lnTo>
                    <a:pt x="13" y="324"/>
                  </a:lnTo>
                  <a:lnTo>
                    <a:pt x="5" y="359"/>
                  </a:lnTo>
                  <a:lnTo>
                    <a:pt x="1" y="395"/>
                  </a:lnTo>
                  <a:lnTo>
                    <a:pt x="0" y="432"/>
                  </a:lnTo>
                  <a:lnTo>
                    <a:pt x="211" y="431"/>
                  </a:lnTo>
                  <a:lnTo>
                    <a:pt x="212" y="399"/>
                  </a:lnTo>
                  <a:lnTo>
                    <a:pt x="220" y="368"/>
                  </a:lnTo>
                  <a:lnTo>
                    <a:pt x="235" y="338"/>
                  </a:lnTo>
                  <a:lnTo>
                    <a:pt x="256" y="312"/>
                  </a:lnTo>
                  <a:lnTo>
                    <a:pt x="276" y="295"/>
                  </a:lnTo>
                  <a:lnTo>
                    <a:pt x="298" y="282"/>
                  </a:lnTo>
                  <a:lnTo>
                    <a:pt x="323" y="272"/>
                  </a:lnTo>
                  <a:lnTo>
                    <a:pt x="347" y="268"/>
                  </a:lnTo>
                  <a:lnTo>
                    <a:pt x="348" y="335"/>
                  </a:lnTo>
                  <a:lnTo>
                    <a:pt x="444" y="170"/>
                  </a:lnTo>
                  <a:lnTo>
                    <a:pt x="343" y="0"/>
                  </a:lnTo>
                  <a:lnTo>
                    <a:pt x="344" y="59"/>
                  </a:lnTo>
                </a:path>
              </a:pathLst>
            </a:custGeom>
            <a:solidFill>
              <a:srgbClr val="BE82FF">
                <a:lumMod val="20000"/>
                <a:lumOff val="80000"/>
              </a:srgbClr>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Freeform 11">
              <a:extLst>
                <a:ext uri="{FF2B5EF4-FFF2-40B4-BE49-F238E27FC236}">
                  <a16:creationId xmlns:a16="http://schemas.microsoft.com/office/drawing/2014/main" id="{1CE5FC6D-6681-4DB0-BBDD-583E0ED520D4}"/>
                </a:ext>
              </a:extLst>
            </p:cNvPr>
            <p:cNvSpPr>
              <a:spLocks/>
            </p:cNvSpPr>
            <p:nvPr/>
          </p:nvSpPr>
          <p:spPr bwMode="auto">
            <a:xfrm>
              <a:off x="2487" y="2326"/>
              <a:ext cx="606" cy="612"/>
            </a:xfrm>
            <a:custGeom>
              <a:avLst/>
              <a:gdLst/>
              <a:ahLst/>
              <a:cxnLst>
                <a:cxn ang="0">
                  <a:pos x="333" y="97"/>
                </a:cxn>
                <a:cxn ang="0">
                  <a:pos x="168" y="0"/>
                </a:cxn>
                <a:cxn ang="0">
                  <a:pos x="0" y="101"/>
                </a:cxn>
                <a:cxn ang="0">
                  <a:pos x="59" y="100"/>
                </a:cxn>
                <a:cxn ang="0">
                  <a:pos x="70" y="162"/>
                </a:cxn>
                <a:cxn ang="0">
                  <a:pos x="79" y="192"/>
                </a:cxn>
                <a:cxn ang="0">
                  <a:pos x="91" y="222"/>
                </a:cxn>
                <a:cxn ang="0">
                  <a:pos x="105" y="251"/>
                </a:cxn>
                <a:cxn ang="0">
                  <a:pos x="122" y="278"/>
                </a:cxn>
                <a:cxn ang="0">
                  <a:pos x="165" y="329"/>
                </a:cxn>
                <a:cxn ang="0">
                  <a:pos x="192" y="352"/>
                </a:cxn>
                <a:cxn ang="0">
                  <a:pos x="219" y="373"/>
                </a:cxn>
                <a:cxn ang="0">
                  <a:pos x="247" y="390"/>
                </a:cxn>
                <a:cxn ang="0">
                  <a:pos x="278" y="405"/>
                </a:cxn>
                <a:cxn ang="0">
                  <a:pos x="309" y="417"/>
                </a:cxn>
                <a:cxn ang="0">
                  <a:pos x="342" y="426"/>
                </a:cxn>
                <a:cxn ang="0">
                  <a:pos x="374" y="432"/>
                </a:cxn>
                <a:cxn ang="0">
                  <a:pos x="407" y="435"/>
                </a:cxn>
                <a:cxn ang="0">
                  <a:pos x="345" y="333"/>
                </a:cxn>
                <a:cxn ang="0">
                  <a:pos x="411" y="222"/>
                </a:cxn>
                <a:cxn ang="0">
                  <a:pos x="385" y="217"/>
                </a:cxn>
                <a:cxn ang="0">
                  <a:pos x="360" y="209"/>
                </a:cxn>
                <a:cxn ang="0">
                  <a:pos x="335" y="195"/>
                </a:cxn>
                <a:cxn ang="0">
                  <a:pos x="315" y="177"/>
                </a:cxn>
                <a:cxn ang="0">
                  <a:pos x="299" y="159"/>
                </a:cxn>
                <a:cxn ang="0">
                  <a:pos x="287" y="139"/>
                </a:cxn>
                <a:cxn ang="0">
                  <a:pos x="279" y="119"/>
                </a:cxn>
                <a:cxn ang="0">
                  <a:pos x="273" y="97"/>
                </a:cxn>
                <a:cxn ang="0">
                  <a:pos x="333" y="97"/>
                </a:cxn>
              </a:cxnLst>
              <a:rect l="0" t="0" r="r" b="b"/>
              <a:pathLst>
                <a:path w="412" h="436">
                  <a:moveTo>
                    <a:pt x="333" y="97"/>
                  </a:moveTo>
                  <a:lnTo>
                    <a:pt x="168" y="0"/>
                  </a:lnTo>
                  <a:lnTo>
                    <a:pt x="0" y="101"/>
                  </a:lnTo>
                  <a:lnTo>
                    <a:pt x="59" y="100"/>
                  </a:lnTo>
                  <a:lnTo>
                    <a:pt x="70" y="162"/>
                  </a:lnTo>
                  <a:lnTo>
                    <a:pt x="79" y="192"/>
                  </a:lnTo>
                  <a:lnTo>
                    <a:pt x="91" y="222"/>
                  </a:lnTo>
                  <a:lnTo>
                    <a:pt x="105" y="251"/>
                  </a:lnTo>
                  <a:lnTo>
                    <a:pt x="122" y="278"/>
                  </a:lnTo>
                  <a:lnTo>
                    <a:pt x="165" y="329"/>
                  </a:lnTo>
                  <a:lnTo>
                    <a:pt x="192" y="352"/>
                  </a:lnTo>
                  <a:lnTo>
                    <a:pt x="219" y="373"/>
                  </a:lnTo>
                  <a:lnTo>
                    <a:pt x="247" y="390"/>
                  </a:lnTo>
                  <a:lnTo>
                    <a:pt x="278" y="405"/>
                  </a:lnTo>
                  <a:lnTo>
                    <a:pt x="309" y="417"/>
                  </a:lnTo>
                  <a:lnTo>
                    <a:pt x="342" y="426"/>
                  </a:lnTo>
                  <a:lnTo>
                    <a:pt x="374" y="432"/>
                  </a:lnTo>
                  <a:lnTo>
                    <a:pt x="407" y="435"/>
                  </a:lnTo>
                  <a:lnTo>
                    <a:pt x="345" y="333"/>
                  </a:lnTo>
                  <a:lnTo>
                    <a:pt x="411" y="222"/>
                  </a:lnTo>
                  <a:lnTo>
                    <a:pt x="385" y="217"/>
                  </a:lnTo>
                  <a:lnTo>
                    <a:pt x="360" y="209"/>
                  </a:lnTo>
                  <a:lnTo>
                    <a:pt x="335" y="195"/>
                  </a:lnTo>
                  <a:lnTo>
                    <a:pt x="315" y="177"/>
                  </a:lnTo>
                  <a:lnTo>
                    <a:pt x="299" y="159"/>
                  </a:lnTo>
                  <a:lnTo>
                    <a:pt x="287" y="139"/>
                  </a:lnTo>
                  <a:lnTo>
                    <a:pt x="279" y="119"/>
                  </a:lnTo>
                  <a:lnTo>
                    <a:pt x="273" y="97"/>
                  </a:lnTo>
                  <a:lnTo>
                    <a:pt x="333" y="97"/>
                  </a:lnTo>
                </a:path>
              </a:pathLst>
            </a:custGeom>
            <a:solidFill>
              <a:srgbClr val="BE82FF">
                <a:lumMod val="20000"/>
                <a:lumOff val="80000"/>
              </a:srgbClr>
            </a:solidFill>
            <a:ln w="6350" cap="rnd" cmpd="sng">
              <a:solidFill>
                <a:srgbClr val="FFFFFF"/>
              </a:solid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14" name="Group 12">
              <a:extLst>
                <a:ext uri="{FF2B5EF4-FFF2-40B4-BE49-F238E27FC236}">
                  <a16:creationId xmlns:a16="http://schemas.microsoft.com/office/drawing/2014/main" id="{B3A7809B-B5C9-449F-8BC1-0280AFBEBF90}"/>
                </a:ext>
              </a:extLst>
            </p:cNvPr>
            <p:cNvGrpSpPr>
              <a:grpSpLocks/>
            </p:cNvGrpSpPr>
            <p:nvPr/>
          </p:nvGrpSpPr>
          <p:grpSpPr bwMode="auto">
            <a:xfrm>
              <a:off x="2197" y="1624"/>
              <a:ext cx="1845" cy="1609"/>
              <a:chOff x="2180" y="1582"/>
              <a:chExt cx="1845" cy="1609"/>
            </a:xfrm>
          </p:grpSpPr>
          <p:sp>
            <p:nvSpPr>
              <p:cNvPr id="19" name="Text Box 13">
                <a:extLst>
                  <a:ext uri="{FF2B5EF4-FFF2-40B4-BE49-F238E27FC236}">
                    <a16:creationId xmlns:a16="http://schemas.microsoft.com/office/drawing/2014/main" id="{839FE7D4-41FE-4E36-99E3-A7057D38DB45}"/>
                  </a:ext>
                </a:extLst>
              </p:cNvPr>
              <p:cNvSpPr txBox="1">
                <a:spLocks noChangeArrowheads="1"/>
              </p:cNvSpPr>
              <p:nvPr/>
            </p:nvSpPr>
            <p:spPr bwMode="auto">
              <a:xfrm>
                <a:off x="2986" y="3030"/>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Graphik"/>
                    <a:ea typeface="+mn-ea"/>
                    <a:cs typeface="+mn-cs"/>
                  </a:rPr>
                  <a:t>Text</a:t>
                </a:r>
              </a:p>
            </p:txBody>
          </p:sp>
          <p:sp>
            <p:nvSpPr>
              <p:cNvPr id="20" name="Text Box 14">
                <a:extLst>
                  <a:ext uri="{FF2B5EF4-FFF2-40B4-BE49-F238E27FC236}">
                    <a16:creationId xmlns:a16="http://schemas.microsoft.com/office/drawing/2014/main" id="{535AC301-1E53-4FA1-907D-6B92553AF109}"/>
                  </a:ext>
                </a:extLst>
              </p:cNvPr>
              <p:cNvSpPr txBox="1">
                <a:spLocks noChangeArrowheads="1"/>
              </p:cNvSpPr>
              <p:nvPr/>
            </p:nvSpPr>
            <p:spPr bwMode="auto">
              <a:xfrm>
                <a:off x="2986" y="1582"/>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21" name="Text Box 15">
                <a:extLst>
                  <a:ext uri="{FF2B5EF4-FFF2-40B4-BE49-F238E27FC236}">
                    <a16:creationId xmlns:a16="http://schemas.microsoft.com/office/drawing/2014/main" id="{58ACA973-449F-4B7F-9F64-C54554591A53}"/>
                  </a:ext>
                </a:extLst>
              </p:cNvPr>
              <p:cNvSpPr txBox="1">
                <a:spLocks noChangeArrowheads="1"/>
              </p:cNvSpPr>
              <p:nvPr/>
            </p:nvSpPr>
            <p:spPr bwMode="auto">
              <a:xfrm>
                <a:off x="3766" y="2307"/>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Graphik"/>
                    <a:ea typeface="+mn-ea"/>
                    <a:cs typeface="+mn-cs"/>
                  </a:rPr>
                  <a:t>Text</a:t>
                </a:r>
              </a:p>
            </p:txBody>
          </p:sp>
          <p:sp>
            <p:nvSpPr>
              <p:cNvPr id="22" name="Text Box 16">
                <a:extLst>
                  <a:ext uri="{FF2B5EF4-FFF2-40B4-BE49-F238E27FC236}">
                    <a16:creationId xmlns:a16="http://schemas.microsoft.com/office/drawing/2014/main" id="{C50E24CA-5D3B-46C6-A051-5DC32D82C2FF}"/>
                  </a:ext>
                </a:extLst>
              </p:cNvPr>
              <p:cNvSpPr txBox="1">
                <a:spLocks noChangeArrowheads="1"/>
              </p:cNvSpPr>
              <p:nvPr/>
            </p:nvSpPr>
            <p:spPr bwMode="auto">
              <a:xfrm>
                <a:off x="2180" y="2307"/>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a:ea typeface="+mn-ea"/>
                    <a:cs typeface="+mn-cs"/>
                  </a:rPr>
                  <a:t>Text</a:t>
                </a:r>
              </a:p>
            </p:txBody>
          </p:sp>
        </p:grpSp>
        <p:sp>
          <p:nvSpPr>
            <p:cNvPr id="15" name="Text Box 17">
              <a:extLst>
                <a:ext uri="{FF2B5EF4-FFF2-40B4-BE49-F238E27FC236}">
                  <a16:creationId xmlns:a16="http://schemas.microsoft.com/office/drawing/2014/main" id="{614B1D98-CD8B-443D-81D1-402A1604E056}"/>
                </a:ext>
              </a:extLst>
            </p:cNvPr>
            <p:cNvSpPr txBox="1">
              <a:spLocks noChangeArrowheads="1"/>
            </p:cNvSpPr>
            <p:nvPr/>
          </p:nvSpPr>
          <p:spPr bwMode="auto">
            <a:xfrm>
              <a:off x="3229" y="2073"/>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a:t>
              </a:r>
            </a:p>
          </p:txBody>
        </p:sp>
        <p:sp>
          <p:nvSpPr>
            <p:cNvPr id="16" name="Text Box 18">
              <a:extLst>
                <a:ext uri="{FF2B5EF4-FFF2-40B4-BE49-F238E27FC236}">
                  <a16:creationId xmlns:a16="http://schemas.microsoft.com/office/drawing/2014/main" id="{3002CDF6-7E1D-4B3C-AD0D-F796922A107B}"/>
                </a:ext>
              </a:extLst>
            </p:cNvPr>
            <p:cNvSpPr txBox="1">
              <a:spLocks noChangeArrowheads="1"/>
            </p:cNvSpPr>
            <p:nvPr/>
          </p:nvSpPr>
          <p:spPr bwMode="auto">
            <a:xfrm>
              <a:off x="3229" y="2634"/>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a:t>
              </a:r>
            </a:p>
          </p:txBody>
        </p:sp>
        <p:sp>
          <p:nvSpPr>
            <p:cNvPr id="17" name="Text Box 19">
              <a:extLst>
                <a:ext uri="{FF2B5EF4-FFF2-40B4-BE49-F238E27FC236}">
                  <a16:creationId xmlns:a16="http://schemas.microsoft.com/office/drawing/2014/main" id="{4A6F22C3-6245-4BF6-98FD-5C023935C818}"/>
                </a:ext>
              </a:extLst>
            </p:cNvPr>
            <p:cNvSpPr txBox="1">
              <a:spLocks noChangeArrowheads="1"/>
            </p:cNvSpPr>
            <p:nvPr/>
          </p:nvSpPr>
          <p:spPr bwMode="auto">
            <a:xfrm>
              <a:off x="2735" y="2634"/>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a:t>
              </a:r>
            </a:p>
          </p:txBody>
        </p:sp>
        <p:sp>
          <p:nvSpPr>
            <p:cNvPr id="18" name="Text Box 20">
              <a:extLst>
                <a:ext uri="{FF2B5EF4-FFF2-40B4-BE49-F238E27FC236}">
                  <a16:creationId xmlns:a16="http://schemas.microsoft.com/office/drawing/2014/main" id="{36D64969-AE38-44C2-AA23-ADD13D6E133A}"/>
                </a:ext>
              </a:extLst>
            </p:cNvPr>
            <p:cNvSpPr txBox="1">
              <a:spLocks noChangeArrowheads="1"/>
            </p:cNvSpPr>
            <p:nvPr/>
          </p:nvSpPr>
          <p:spPr bwMode="auto">
            <a:xfrm>
              <a:off x="2735" y="2073"/>
              <a:ext cx="259" cy="161"/>
            </a:xfrm>
            <a:prstGeom prst="rect">
              <a:avLst/>
            </a:prstGeom>
            <a:noFill/>
            <a:ln w="6350">
              <a:noFill/>
              <a:miter lim="800000"/>
              <a:headEnd/>
              <a:tailEnd/>
            </a:ln>
            <a:effectLst/>
          </p:spPr>
          <p:txBody>
            <a:bodyPr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69D901A6-3BC6-4ECC-96B3-C9A1ED77842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263586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mpacted Flow 1</a:t>
            </a:r>
          </a:p>
        </p:txBody>
      </p:sp>
      <p:sp>
        <p:nvSpPr>
          <p:cNvPr id="4" name="Freeform: Shape 3">
            <a:hlinkClick r:id="rId3"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1EF1753-2964-45ED-8C91-2D03A96423B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30" name="Content Placeholder 1">
            <a:extLst>
              <a:ext uri="{FF2B5EF4-FFF2-40B4-BE49-F238E27FC236}">
                <a16:creationId xmlns:a16="http://schemas.microsoft.com/office/drawing/2014/main" id="{AD15750A-4183-4812-9886-1D2A7282389A}"/>
              </a:ext>
            </a:extLst>
          </p:cNvPr>
          <p:cNvSpPr txBox="1">
            <a:spLocks/>
          </p:cNvSpPr>
          <p:nvPr/>
        </p:nvSpPr>
        <p:spPr>
          <a:xfrm>
            <a:off x="3837212"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p>
        </p:txBody>
      </p:sp>
      <p:grpSp>
        <p:nvGrpSpPr>
          <p:cNvPr id="31" name="Group 30">
            <a:extLst>
              <a:ext uri="{FF2B5EF4-FFF2-40B4-BE49-F238E27FC236}">
                <a16:creationId xmlns:a16="http://schemas.microsoft.com/office/drawing/2014/main" id="{B75549D9-F48F-481E-9156-D6CC34716106}"/>
              </a:ext>
            </a:extLst>
          </p:cNvPr>
          <p:cNvGrpSpPr/>
          <p:nvPr/>
        </p:nvGrpSpPr>
        <p:grpSpPr>
          <a:xfrm>
            <a:off x="1278046" y="1662350"/>
            <a:ext cx="6362007" cy="535682"/>
            <a:chOff x="1278046" y="1662350"/>
            <a:chExt cx="6362007" cy="535682"/>
          </a:xfrm>
        </p:grpSpPr>
        <p:cxnSp>
          <p:nvCxnSpPr>
            <p:cNvPr id="32" name="Straight Connector 31">
              <a:extLst>
                <a:ext uri="{FF2B5EF4-FFF2-40B4-BE49-F238E27FC236}">
                  <a16:creationId xmlns:a16="http://schemas.microsoft.com/office/drawing/2014/main" id="{04958823-D7EB-443A-BFD2-119B3B2F4091}"/>
                </a:ext>
              </a:extLst>
            </p:cNvPr>
            <p:cNvCxnSpPr/>
            <p:nvPr/>
          </p:nvCxnSpPr>
          <p:spPr>
            <a:xfrm>
              <a:off x="1278046" y="1919352"/>
              <a:ext cx="6362007" cy="0"/>
            </a:xfrm>
            <a:prstGeom prst="line">
              <a:avLst/>
            </a:prstGeom>
            <a:ln w="635000">
              <a:solidFill>
                <a:schemeClr val="accent3"/>
              </a:solidFill>
              <a:prstDash val="solid"/>
              <a:headEnd type="none" w="sm" len="sm"/>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18A694E-2063-44C5-95C7-5FB5E1CABB09}"/>
                </a:ext>
              </a:extLst>
            </p:cNvPr>
            <p:cNvCxnSpPr/>
            <p:nvPr/>
          </p:nvCxnSpPr>
          <p:spPr>
            <a:xfrm>
              <a:off x="2024448" y="1918376"/>
              <a:ext cx="1648636"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03ECBBF3-8A0E-4BB9-9CA1-CF8FEE99096E}"/>
                </a:ext>
              </a:extLst>
            </p:cNvPr>
            <p:cNvCxnSpPr/>
            <p:nvPr/>
          </p:nvCxnSpPr>
          <p:spPr>
            <a:xfrm>
              <a:off x="4366855" y="1918376"/>
              <a:ext cx="1615291"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1A132B12-EF8F-4A79-AF03-0B25634B95D7}"/>
                </a:ext>
              </a:extLst>
            </p:cNvPr>
            <p:cNvSpPr/>
            <p:nvPr/>
          </p:nvSpPr>
          <p:spPr>
            <a:xfrm>
              <a:off x="3752616"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2</a:t>
              </a:r>
              <a:endParaRPr lang="en-GB" sz="2000" dirty="0">
                <a:solidFill>
                  <a:schemeClr val="bg1"/>
                </a:solidFill>
                <a:latin typeface="+mj-lt"/>
              </a:endParaRPr>
            </a:p>
          </p:txBody>
        </p:sp>
        <p:sp>
          <p:nvSpPr>
            <p:cNvPr id="36" name="Oval 35">
              <a:extLst>
                <a:ext uri="{FF2B5EF4-FFF2-40B4-BE49-F238E27FC236}">
                  <a16:creationId xmlns:a16="http://schemas.microsoft.com/office/drawing/2014/main" id="{719A4FC2-C431-4168-ADFA-A7A9925177FD}"/>
                </a:ext>
              </a:extLst>
            </p:cNvPr>
            <p:cNvSpPr/>
            <p:nvPr/>
          </p:nvSpPr>
          <p:spPr>
            <a:xfrm>
              <a:off x="1456822" y="166235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1</a:t>
              </a:r>
              <a:endParaRPr lang="en-GB" sz="2000" dirty="0">
                <a:solidFill>
                  <a:schemeClr val="bg1"/>
                </a:solidFill>
                <a:latin typeface="+mj-lt"/>
              </a:endParaRPr>
            </a:p>
          </p:txBody>
        </p:sp>
      </p:grpSp>
      <p:sp>
        <p:nvSpPr>
          <p:cNvPr id="37" name="Content Placeholder 1">
            <a:extLst>
              <a:ext uri="{FF2B5EF4-FFF2-40B4-BE49-F238E27FC236}">
                <a16:creationId xmlns:a16="http://schemas.microsoft.com/office/drawing/2014/main" id="{58F3105B-616A-438E-B1CB-512FB26A8E70}"/>
              </a:ext>
            </a:extLst>
          </p:cNvPr>
          <p:cNvSpPr txBox="1">
            <a:spLocks/>
          </p:cNvSpPr>
          <p:nvPr/>
        </p:nvSpPr>
        <p:spPr>
          <a:xfrm>
            <a:off x="1532326"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p>
        </p:txBody>
      </p:sp>
      <p:sp>
        <p:nvSpPr>
          <p:cNvPr id="38" name="Content Placeholder 1">
            <a:extLst>
              <a:ext uri="{FF2B5EF4-FFF2-40B4-BE49-F238E27FC236}">
                <a16:creationId xmlns:a16="http://schemas.microsoft.com/office/drawing/2014/main" id="{26FB75BD-83BF-4A21-A659-C71CF6293612}"/>
              </a:ext>
            </a:extLst>
          </p:cNvPr>
          <p:cNvSpPr txBox="1">
            <a:spLocks/>
          </p:cNvSpPr>
          <p:nvPr/>
        </p:nvSpPr>
        <p:spPr>
          <a:xfrm>
            <a:off x="7293367" y="1355150"/>
            <a:ext cx="368691"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p>
        </p:txBody>
      </p:sp>
      <p:sp>
        <p:nvSpPr>
          <p:cNvPr id="39" name="TextBox 38">
            <a:extLst>
              <a:ext uri="{FF2B5EF4-FFF2-40B4-BE49-F238E27FC236}">
                <a16:creationId xmlns:a16="http://schemas.microsoft.com/office/drawing/2014/main" id="{E7670BD1-DCA1-46C7-AC5D-D0894F020B06}"/>
              </a:ext>
            </a:extLst>
          </p:cNvPr>
          <p:cNvSpPr txBox="1"/>
          <p:nvPr/>
        </p:nvSpPr>
        <p:spPr>
          <a:xfrm>
            <a:off x="7077878" y="3608501"/>
            <a:ext cx="804707" cy="344710"/>
          </a:xfrm>
          <a:prstGeom prst="rect">
            <a:avLst/>
          </a:prstGeom>
        </p:spPr>
        <p:txBody>
          <a:bodyPr vert="horz" wrap="none" lIns="0" tIns="0" rIns="0" bIns="0" rtlCol="0" anchor="ctr">
            <a:spAutoFit/>
          </a:bodyPr>
          <a:lstStyle/>
          <a:p>
            <a:pPr algn="ctr">
              <a:lnSpc>
                <a:spcPct val="80000"/>
              </a:lnSpc>
            </a:pPr>
            <a:r>
              <a:rPr lang="en-AU" sz="2800" b="1" dirty="0">
                <a:ln w="6350">
                  <a:noFill/>
                </a:ln>
                <a:latin typeface="+mj-lt"/>
              </a:rPr>
              <a:t>Text</a:t>
            </a:r>
            <a:endParaRPr lang="en-GB" sz="2800" b="1" dirty="0" err="1">
              <a:ln w="6350">
                <a:noFill/>
              </a:ln>
              <a:latin typeface="+mj-lt"/>
            </a:endParaRPr>
          </a:p>
        </p:txBody>
      </p:sp>
      <p:sp>
        <p:nvSpPr>
          <p:cNvPr id="40" name="Content Placeholder 1">
            <a:extLst>
              <a:ext uri="{FF2B5EF4-FFF2-40B4-BE49-F238E27FC236}">
                <a16:creationId xmlns:a16="http://schemas.microsoft.com/office/drawing/2014/main" id="{1F26BEF7-A3FB-4090-A54C-58D96442A7D9}"/>
              </a:ext>
            </a:extLst>
          </p:cNvPr>
          <p:cNvSpPr txBox="1">
            <a:spLocks/>
          </p:cNvSpPr>
          <p:nvPr/>
        </p:nvSpPr>
        <p:spPr>
          <a:xfrm>
            <a:off x="4829170" y="3578164"/>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r"/>
            <a:r>
              <a:rPr lang="en-US" sz="1400" b="0" dirty="0"/>
              <a:t>Text</a:t>
            </a:r>
          </a:p>
        </p:txBody>
      </p:sp>
      <p:sp>
        <p:nvSpPr>
          <p:cNvPr id="41" name="Content Placeholder 1">
            <a:extLst>
              <a:ext uri="{FF2B5EF4-FFF2-40B4-BE49-F238E27FC236}">
                <a16:creationId xmlns:a16="http://schemas.microsoft.com/office/drawing/2014/main" id="{F298DB68-BE8E-405F-B4E8-26157CC6DDA5}"/>
              </a:ext>
            </a:extLst>
          </p:cNvPr>
          <p:cNvSpPr txBox="1">
            <a:spLocks/>
          </p:cNvSpPr>
          <p:nvPr/>
        </p:nvSpPr>
        <p:spPr>
          <a:xfrm>
            <a:off x="9744400" y="3578164"/>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sz="1400" b="0" dirty="0"/>
              <a:t>Text</a:t>
            </a:r>
          </a:p>
        </p:txBody>
      </p:sp>
      <p:grpSp>
        <p:nvGrpSpPr>
          <p:cNvPr id="42" name="Group 41">
            <a:extLst>
              <a:ext uri="{FF2B5EF4-FFF2-40B4-BE49-F238E27FC236}">
                <a16:creationId xmlns:a16="http://schemas.microsoft.com/office/drawing/2014/main" id="{7208C1FC-E37D-4355-B687-39A0874C6899}"/>
              </a:ext>
            </a:extLst>
          </p:cNvPr>
          <p:cNvGrpSpPr/>
          <p:nvPr/>
        </p:nvGrpSpPr>
        <p:grpSpPr>
          <a:xfrm>
            <a:off x="5462725" y="1662350"/>
            <a:ext cx="4021325" cy="4036306"/>
            <a:chOff x="5462725" y="1662350"/>
            <a:chExt cx="4021325" cy="4036306"/>
          </a:xfrm>
        </p:grpSpPr>
        <p:sp>
          <p:nvSpPr>
            <p:cNvPr id="43" name="Oval 42">
              <a:extLst>
                <a:ext uri="{FF2B5EF4-FFF2-40B4-BE49-F238E27FC236}">
                  <a16:creationId xmlns:a16="http://schemas.microsoft.com/office/drawing/2014/main" id="{9DFD8C67-C3E0-4E8E-8C1C-3CFCC98BAD28}"/>
                </a:ext>
              </a:extLst>
            </p:cNvPr>
            <p:cNvSpPr/>
            <p:nvPr/>
          </p:nvSpPr>
          <p:spPr>
            <a:xfrm rot="16200000">
              <a:off x="5720701" y="1919352"/>
              <a:ext cx="3511824" cy="3511824"/>
            </a:xfrm>
            <a:prstGeom prst="ellipse">
              <a:avLst/>
            </a:prstGeom>
            <a:noFill/>
            <a:ln w="635000">
              <a:solidFill>
                <a:schemeClr val="accent3"/>
              </a:solidFill>
              <a:headEnd type="arrow" w="sm"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44" name="Group 43">
              <a:extLst>
                <a:ext uri="{FF2B5EF4-FFF2-40B4-BE49-F238E27FC236}">
                  <a16:creationId xmlns:a16="http://schemas.microsoft.com/office/drawing/2014/main" id="{5ED7882E-875A-4BA2-89C7-5F64ACE288DC}"/>
                </a:ext>
              </a:extLst>
            </p:cNvPr>
            <p:cNvGrpSpPr/>
            <p:nvPr/>
          </p:nvGrpSpPr>
          <p:grpSpPr>
            <a:xfrm>
              <a:off x="5740430" y="1939079"/>
              <a:ext cx="3472367" cy="3472367"/>
              <a:chOff x="6111329" y="2422187"/>
              <a:chExt cx="2698028" cy="2698028"/>
            </a:xfrm>
          </p:grpSpPr>
          <p:sp>
            <p:nvSpPr>
              <p:cNvPr id="52" name="Arc 51">
                <a:extLst>
                  <a:ext uri="{FF2B5EF4-FFF2-40B4-BE49-F238E27FC236}">
                    <a16:creationId xmlns:a16="http://schemas.microsoft.com/office/drawing/2014/main" id="{0C40CB3D-F8D8-4F4F-BAC1-60B010ADF9CA}"/>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3" name="Arc 52">
                <a:extLst>
                  <a:ext uri="{FF2B5EF4-FFF2-40B4-BE49-F238E27FC236}">
                    <a16:creationId xmlns:a16="http://schemas.microsoft.com/office/drawing/2014/main" id="{6842CDB1-F877-46DB-97FF-2C9839AC9A30}"/>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grpSp>
          <p:nvGrpSpPr>
            <p:cNvPr id="45" name="Group 44">
              <a:extLst>
                <a:ext uri="{FF2B5EF4-FFF2-40B4-BE49-F238E27FC236}">
                  <a16:creationId xmlns:a16="http://schemas.microsoft.com/office/drawing/2014/main" id="{A3BE0B3F-71B4-4635-BCEF-17FF8B1A53E5}"/>
                </a:ext>
              </a:extLst>
            </p:cNvPr>
            <p:cNvGrpSpPr/>
            <p:nvPr/>
          </p:nvGrpSpPr>
          <p:grpSpPr>
            <a:xfrm rot="10800000">
              <a:off x="5740430" y="1939079"/>
              <a:ext cx="3472367" cy="3472367"/>
              <a:chOff x="6111329" y="2422187"/>
              <a:chExt cx="2698028" cy="2698028"/>
            </a:xfrm>
          </p:grpSpPr>
          <p:sp>
            <p:nvSpPr>
              <p:cNvPr id="50" name="Arc 49">
                <a:extLst>
                  <a:ext uri="{FF2B5EF4-FFF2-40B4-BE49-F238E27FC236}">
                    <a16:creationId xmlns:a16="http://schemas.microsoft.com/office/drawing/2014/main" id="{8934A438-CE9E-4C9C-91AB-B2B3EB579FA0}"/>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1" name="Arc 50">
                <a:extLst>
                  <a:ext uri="{FF2B5EF4-FFF2-40B4-BE49-F238E27FC236}">
                    <a16:creationId xmlns:a16="http://schemas.microsoft.com/office/drawing/2014/main" id="{FDB881E3-F662-4EBB-A961-CDD4D52B0C38}"/>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sp>
          <p:nvSpPr>
            <p:cNvPr id="46" name="Oval 45">
              <a:extLst>
                <a:ext uri="{FF2B5EF4-FFF2-40B4-BE49-F238E27FC236}">
                  <a16:creationId xmlns:a16="http://schemas.microsoft.com/office/drawing/2014/main" id="{26B96800-73D1-4808-9A4C-9BCD57744FCA}"/>
                </a:ext>
              </a:extLst>
            </p:cNvPr>
            <p:cNvSpPr/>
            <p:nvPr/>
          </p:nvSpPr>
          <p:spPr>
            <a:xfrm>
              <a:off x="7208772"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3</a:t>
              </a:r>
              <a:endParaRPr lang="en-GB" sz="2000" dirty="0">
                <a:solidFill>
                  <a:schemeClr val="bg1"/>
                </a:solidFill>
                <a:latin typeface="+mj-lt"/>
              </a:endParaRPr>
            </a:p>
          </p:txBody>
        </p:sp>
        <p:sp>
          <p:nvSpPr>
            <p:cNvPr id="47" name="Oval 46">
              <a:extLst>
                <a:ext uri="{FF2B5EF4-FFF2-40B4-BE49-F238E27FC236}">
                  <a16:creationId xmlns:a16="http://schemas.microsoft.com/office/drawing/2014/main" id="{29CCFCCA-D49C-4D10-AD0A-510E67E973E2}"/>
                </a:ext>
              </a:extLst>
            </p:cNvPr>
            <p:cNvSpPr/>
            <p:nvPr/>
          </p:nvSpPr>
          <p:spPr>
            <a:xfrm>
              <a:off x="5462725"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6</a:t>
              </a:r>
              <a:endParaRPr lang="en-GB" sz="2000" dirty="0">
                <a:solidFill>
                  <a:schemeClr val="bg1"/>
                </a:solidFill>
                <a:latin typeface="+mj-lt"/>
              </a:endParaRPr>
            </a:p>
          </p:txBody>
        </p:sp>
        <p:sp>
          <p:nvSpPr>
            <p:cNvPr id="48" name="Oval 47">
              <a:extLst>
                <a:ext uri="{FF2B5EF4-FFF2-40B4-BE49-F238E27FC236}">
                  <a16:creationId xmlns:a16="http://schemas.microsoft.com/office/drawing/2014/main" id="{F5CDFF3B-7B6B-48A9-999B-8F25960666AC}"/>
                </a:ext>
              </a:extLst>
            </p:cNvPr>
            <p:cNvSpPr/>
            <p:nvPr/>
          </p:nvSpPr>
          <p:spPr>
            <a:xfrm>
              <a:off x="8948369"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4</a:t>
              </a:r>
              <a:endParaRPr lang="en-GB" sz="2000" dirty="0">
                <a:solidFill>
                  <a:schemeClr val="bg1"/>
                </a:solidFill>
                <a:latin typeface="+mj-lt"/>
              </a:endParaRPr>
            </a:p>
          </p:txBody>
        </p:sp>
        <p:sp>
          <p:nvSpPr>
            <p:cNvPr id="49" name="Oval 48">
              <a:extLst>
                <a:ext uri="{FF2B5EF4-FFF2-40B4-BE49-F238E27FC236}">
                  <a16:creationId xmlns:a16="http://schemas.microsoft.com/office/drawing/2014/main" id="{65044163-7FE4-48AA-AB7E-A4745F6909D5}"/>
                </a:ext>
              </a:extLst>
            </p:cNvPr>
            <p:cNvSpPr/>
            <p:nvPr/>
          </p:nvSpPr>
          <p:spPr>
            <a:xfrm>
              <a:off x="7208772" y="5162975"/>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bg1"/>
                  </a:solidFill>
                  <a:latin typeface="+mj-lt"/>
                </a:rPr>
                <a:t>5</a:t>
              </a:r>
              <a:endParaRPr lang="en-GB" sz="2000" dirty="0">
                <a:solidFill>
                  <a:schemeClr val="bg1"/>
                </a:solidFill>
                <a:latin typeface="+mj-lt"/>
              </a:endParaRPr>
            </a:p>
          </p:txBody>
        </p:sp>
      </p:grpSp>
      <p:sp>
        <p:nvSpPr>
          <p:cNvPr id="54" name="Content Placeholder 1">
            <a:extLst>
              <a:ext uri="{FF2B5EF4-FFF2-40B4-BE49-F238E27FC236}">
                <a16:creationId xmlns:a16="http://schemas.microsoft.com/office/drawing/2014/main" id="{EA847460-5AB4-4BA3-90C7-99F556E4A16F}"/>
              </a:ext>
            </a:extLst>
          </p:cNvPr>
          <p:cNvSpPr txBox="1">
            <a:spLocks/>
          </p:cNvSpPr>
          <p:nvPr/>
        </p:nvSpPr>
        <p:spPr>
          <a:xfrm>
            <a:off x="7293367" y="5864626"/>
            <a:ext cx="368691"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dirty="0"/>
              <a:t>Text</a:t>
            </a:r>
          </a:p>
        </p:txBody>
      </p:sp>
    </p:spTree>
    <p:extLst>
      <p:ext uri="{BB962C8B-B14F-4D97-AF65-F5344CB8AC3E}">
        <p14:creationId xmlns:p14="http://schemas.microsoft.com/office/powerpoint/2010/main" val="39135838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62DADB5-1A7C-2840-8715-E242D56D7C3C}"/>
              </a:ext>
            </a:extLst>
          </p:cNvPr>
          <p:cNvSpPr>
            <a:spLocks noGrp="1"/>
          </p:cNvSpPr>
          <p:nvPr>
            <p:ph type="ctrTitle"/>
          </p:nvPr>
        </p:nvSpPr>
        <p:spPr/>
        <p:txBody>
          <a:bodyPr/>
          <a:lstStyle/>
          <a:p>
            <a:endParaRPr lang="en-US"/>
          </a:p>
        </p:txBody>
      </p:sp>
      <p:sp>
        <p:nvSpPr>
          <p:cNvPr id="7" name="Subtitle 6">
            <a:extLst>
              <a:ext uri="{FF2B5EF4-FFF2-40B4-BE49-F238E27FC236}">
                <a16:creationId xmlns:a16="http://schemas.microsoft.com/office/drawing/2014/main" id="{5BD104BB-13F6-D649-BFF0-FEDA1F069576}"/>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7BA313E1-7658-294D-9320-049928B27FF4}"/>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61140323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a:lstStyle/>
          <a:p>
            <a:r>
              <a:rPr lang="de-DE" dirty="0"/>
              <a:t>Impacted Flow 2</a:t>
            </a:r>
          </a:p>
        </p:txBody>
      </p:sp>
      <p:sp>
        <p:nvSpPr>
          <p:cNvPr id="4" name="Freeform: Shape 3">
            <a:hlinkClick r:id="rId7" action="ppaction://hlinksldjump"/>
            <a:extLst>
              <a:ext uri="{FF2B5EF4-FFF2-40B4-BE49-F238E27FC236}">
                <a16:creationId xmlns:a16="http://schemas.microsoft.com/office/drawing/2014/main" id="{4962ED03-20B4-4A8B-BB9B-E44FC289E7C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7" action="ppaction://hlinksldjump"/>
            <a:extLst>
              <a:ext uri="{FF2B5EF4-FFF2-40B4-BE49-F238E27FC236}">
                <a16:creationId xmlns:a16="http://schemas.microsoft.com/office/drawing/2014/main" id="{3D3C6963-99F6-4C74-95E5-638D1BC07D5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4" name="Group 15">
            <a:extLst>
              <a:ext uri="{FF2B5EF4-FFF2-40B4-BE49-F238E27FC236}">
                <a16:creationId xmlns:a16="http://schemas.microsoft.com/office/drawing/2014/main" id="{E677028D-0868-4CBC-9B1A-849E457616F5}"/>
              </a:ext>
            </a:extLst>
          </p:cNvPr>
          <p:cNvGrpSpPr>
            <a:grpSpLocks/>
          </p:cNvGrpSpPr>
          <p:nvPr/>
        </p:nvGrpSpPr>
        <p:grpSpPr bwMode="auto">
          <a:xfrm>
            <a:off x="2574180" y="2026920"/>
            <a:ext cx="6619493" cy="2740895"/>
            <a:chOff x="570" y="1456"/>
            <a:chExt cx="4323" cy="1790"/>
          </a:xfrm>
        </p:grpSpPr>
        <p:sp>
          <p:nvSpPr>
            <p:cNvPr id="15" name="Rectangle 3">
              <a:extLst>
                <a:ext uri="{FF2B5EF4-FFF2-40B4-BE49-F238E27FC236}">
                  <a16:creationId xmlns:a16="http://schemas.microsoft.com/office/drawing/2014/main" id="{39977218-8670-434F-81F3-C6D96CC7ACDF}"/>
                </a:ext>
              </a:extLst>
            </p:cNvPr>
            <p:cNvSpPr>
              <a:spLocks noChangeArrowheads="1"/>
            </p:cNvSpPr>
            <p:nvPr>
              <p:custDataLst>
                <p:tags r:id="rId1"/>
              </p:custDataLst>
            </p:nvPr>
          </p:nvSpPr>
          <p:spPr bwMode="auto">
            <a:xfrm>
              <a:off x="3981" y="1554"/>
              <a:ext cx="95" cy="236"/>
            </a:xfrm>
            <a:prstGeom prst="rect">
              <a:avLst/>
            </a:prstGeom>
            <a:noFill/>
            <a:ln w="9525">
              <a:noFill/>
              <a:miter lim="800000"/>
              <a:headEnd/>
              <a:tailEnd/>
            </a:ln>
            <a:effectLst/>
          </p:spPr>
          <p:txBody>
            <a:bodyPr wrap="none" lIns="72000" tIns="72000" rIns="72000" bIns="72000">
              <a:spAutoFit/>
            </a:bodyPr>
            <a:lstStyle/>
            <a:p>
              <a:pPr eaLnBrk="0" hangingPunct="0"/>
              <a:endParaRPr lang="de-DE" sz="1400" dirty="0"/>
            </a:p>
          </p:txBody>
        </p:sp>
        <p:sp>
          <p:nvSpPr>
            <p:cNvPr id="16" name="Oval 5">
              <a:extLst>
                <a:ext uri="{FF2B5EF4-FFF2-40B4-BE49-F238E27FC236}">
                  <a16:creationId xmlns:a16="http://schemas.microsoft.com/office/drawing/2014/main" id="{22270A93-5F39-48FE-8A17-C0A22E7044D3}"/>
                </a:ext>
              </a:extLst>
            </p:cNvPr>
            <p:cNvSpPr>
              <a:spLocks noChangeArrowheads="1"/>
            </p:cNvSpPr>
            <p:nvPr>
              <p:custDataLst>
                <p:tags r:id="rId2"/>
              </p:custDataLst>
            </p:nvPr>
          </p:nvSpPr>
          <p:spPr bwMode="auto">
            <a:xfrm>
              <a:off x="570" y="1456"/>
              <a:ext cx="4323" cy="1790"/>
            </a:xfrm>
            <a:prstGeom prst="ellipse">
              <a:avLst/>
            </a:prstGeom>
            <a:solidFill>
              <a:schemeClr val="bg1"/>
            </a:solidFill>
            <a:ln w="6350">
              <a:solidFill>
                <a:schemeClr val="tx2">
                  <a:lumMod val="60000"/>
                  <a:lumOff val="40000"/>
                </a:schemeClr>
              </a:solidFill>
              <a:prstDash val="dash"/>
              <a:round/>
              <a:headEnd/>
              <a:tailEnd/>
            </a:ln>
            <a:effectLst/>
          </p:spPr>
          <p:txBody>
            <a:bodyPr wrap="none" lIns="72000" tIns="72000" rIns="72000" bIns="72000" anchor="ctr" anchorCtr="1"/>
            <a:lstStyle/>
            <a:p>
              <a:endParaRPr lang="en-US" dirty="0"/>
            </a:p>
          </p:txBody>
        </p:sp>
        <p:sp>
          <p:nvSpPr>
            <p:cNvPr id="17" name="AutoShape 10">
              <a:extLst>
                <a:ext uri="{FF2B5EF4-FFF2-40B4-BE49-F238E27FC236}">
                  <a16:creationId xmlns:a16="http://schemas.microsoft.com/office/drawing/2014/main" id="{0263EF76-A9A9-41E5-9241-22AD6957145D}"/>
                </a:ext>
              </a:extLst>
            </p:cNvPr>
            <p:cNvSpPr>
              <a:spLocks noChangeArrowheads="1"/>
            </p:cNvSpPr>
            <p:nvPr>
              <p:custDataLst>
                <p:tags r:id="rId3"/>
              </p:custDataLst>
            </p:nvPr>
          </p:nvSpPr>
          <p:spPr bwMode="auto">
            <a:xfrm rot="-2760541">
              <a:off x="4516" y="1836"/>
              <a:ext cx="98" cy="84"/>
            </a:xfrm>
            <a:prstGeom prst="triangle">
              <a:avLst>
                <a:gd name="adj" fmla="val 50000"/>
              </a:avLst>
            </a:prstGeom>
            <a:solidFill>
              <a:schemeClr val="tx2">
                <a:lumMod val="60000"/>
                <a:lumOff val="40000"/>
              </a:schemeClr>
            </a:solidFill>
            <a:ln w="6350">
              <a:noFill/>
              <a:miter lim="800000"/>
              <a:headEnd/>
              <a:tailEnd/>
            </a:ln>
            <a:effectLst/>
          </p:spPr>
          <p:txBody>
            <a:bodyPr wrap="none" lIns="72000" tIns="72000" rIns="72000" bIns="72000" anchor="ctr"/>
            <a:lstStyle/>
            <a:p>
              <a:endParaRPr lang="en-US" dirty="0"/>
            </a:p>
          </p:txBody>
        </p:sp>
        <p:sp>
          <p:nvSpPr>
            <p:cNvPr id="18" name="AutoShape 11">
              <a:extLst>
                <a:ext uri="{FF2B5EF4-FFF2-40B4-BE49-F238E27FC236}">
                  <a16:creationId xmlns:a16="http://schemas.microsoft.com/office/drawing/2014/main" id="{EF8606CE-5F38-4A45-8971-1F8B422C7F62}"/>
                </a:ext>
              </a:extLst>
            </p:cNvPr>
            <p:cNvSpPr>
              <a:spLocks noChangeArrowheads="1"/>
            </p:cNvSpPr>
            <p:nvPr>
              <p:custDataLst>
                <p:tags r:id="rId4"/>
              </p:custDataLst>
            </p:nvPr>
          </p:nvSpPr>
          <p:spPr bwMode="auto">
            <a:xfrm rot="-8160541">
              <a:off x="844" y="1836"/>
              <a:ext cx="99" cy="83"/>
            </a:xfrm>
            <a:prstGeom prst="triangle">
              <a:avLst>
                <a:gd name="adj" fmla="val 50000"/>
              </a:avLst>
            </a:prstGeom>
            <a:solidFill>
              <a:schemeClr val="tx2">
                <a:lumMod val="60000"/>
                <a:lumOff val="40000"/>
              </a:schemeClr>
            </a:solidFill>
            <a:ln w="6350">
              <a:noFill/>
              <a:miter lim="800000"/>
              <a:headEnd/>
              <a:tailEnd/>
            </a:ln>
            <a:effectLst/>
          </p:spPr>
          <p:txBody>
            <a:bodyPr wrap="none" lIns="72000" tIns="72000" rIns="72000" bIns="72000" anchor="ctr"/>
            <a:lstStyle/>
            <a:p>
              <a:endParaRPr lang="en-US" dirty="0"/>
            </a:p>
          </p:txBody>
        </p:sp>
      </p:grpSp>
      <p:sp>
        <p:nvSpPr>
          <p:cNvPr id="19" name="AutoShape 3">
            <a:extLst>
              <a:ext uri="{FF2B5EF4-FFF2-40B4-BE49-F238E27FC236}">
                <a16:creationId xmlns:a16="http://schemas.microsoft.com/office/drawing/2014/main" id="{3C46BD3E-C9C5-41CE-BC22-86C198F316CA}"/>
              </a:ext>
            </a:extLst>
          </p:cNvPr>
          <p:cNvSpPr>
            <a:spLocks noChangeAspect="1" noChangeArrowheads="1"/>
          </p:cNvSpPr>
          <p:nvPr/>
        </p:nvSpPr>
        <p:spPr bwMode="auto">
          <a:xfrm>
            <a:off x="1963995" y="4577068"/>
            <a:ext cx="3387073" cy="1133108"/>
          </a:xfrm>
          <a:prstGeom prst="homePlate">
            <a:avLst>
              <a:gd name="adj" fmla="val 22135"/>
            </a:avLst>
          </a:prstGeom>
          <a:solidFill>
            <a:schemeClr val="accent1">
              <a:lumMod val="40000"/>
              <a:lumOff val="60000"/>
            </a:schemeClr>
          </a:solidFill>
          <a:ln w="6350">
            <a:noFill/>
            <a:miter lim="800000"/>
            <a:headEnd/>
            <a:tailEnd/>
          </a:ln>
          <a:effectLst/>
        </p:spPr>
        <p:txBody>
          <a:bodyPr lIns="180000" tIns="180000" rIns="72000" bIns="72000"/>
          <a:lstStyle/>
          <a:p>
            <a:pPr marL="180000" indent="-180000" algn="l" eaLnBrk="0" hangingPunct="0">
              <a:spcBef>
                <a:spcPts val="100"/>
              </a:spcBef>
              <a:spcAft>
                <a:spcPts val="100"/>
              </a:spcAft>
              <a:buClr>
                <a:schemeClr val="tx1"/>
              </a:buClr>
            </a:pPr>
            <a:r>
              <a:rPr lang="en-US" sz="1400" b="1" dirty="0">
                <a:solidFill>
                  <a:schemeClr val="bg1"/>
                </a:solidFill>
                <a:latin typeface="+mj-lt"/>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p:txBody>
      </p:sp>
      <p:sp>
        <p:nvSpPr>
          <p:cNvPr id="20" name="AutoShape 3">
            <a:extLst>
              <a:ext uri="{FF2B5EF4-FFF2-40B4-BE49-F238E27FC236}">
                <a16:creationId xmlns:a16="http://schemas.microsoft.com/office/drawing/2014/main" id="{3F824294-A614-4E06-B404-B72164402CA4}"/>
              </a:ext>
            </a:extLst>
          </p:cNvPr>
          <p:cNvSpPr>
            <a:spLocks noChangeAspect="1" noChangeArrowheads="1"/>
          </p:cNvSpPr>
          <p:nvPr/>
        </p:nvSpPr>
        <p:spPr bwMode="auto">
          <a:xfrm>
            <a:off x="4534538" y="4030857"/>
            <a:ext cx="3387073" cy="1133108"/>
          </a:xfrm>
          <a:prstGeom prst="homePlate">
            <a:avLst>
              <a:gd name="adj" fmla="val 22135"/>
            </a:avLst>
          </a:prstGeom>
          <a:solidFill>
            <a:schemeClr val="accent1">
              <a:lumMod val="60000"/>
              <a:lumOff val="40000"/>
            </a:schemeClr>
          </a:solidFill>
          <a:ln w="6350">
            <a:noFill/>
            <a:miter lim="800000"/>
            <a:headEnd/>
            <a:tailEnd/>
          </a:ln>
          <a:effectLst/>
        </p:spPr>
        <p:txBody>
          <a:bodyPr lIns="180000" tIns="180000" rIns="72000" bIns="72000"/>
          <a:lstStyle/>
          <a:p>
            <a:pPr marL="180000" indent="-180000" algn="l" eaLnBrk="0" hangingPunct="0">
              <a:spcBef>
                <a:spcPts val="100"/>
              </a:spcBef>
              <a:spcAft>
                <a:spcPts val="100"/>
              </a:spcAft>
              <a:buClr>
                <a:schemeClr val="tx1"/>
              </a:buClr>
            </a:pPr>
            <a:r>
              <a:rPr lang="en-US" sz="1400" b="1" dirty="0">
                <a:solidFill>
                  <a:schemeClr val="bg1"/>
                </a:solidFill>
                <a:latin typeface="+mj-lt"/>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p:txBody>
      </p:sp>
      <p:sp>
        <p:nvSpPr>
          <p:cNvPr id="21" name="AutoShape 3">
            <a:extLst>
              <a:ext uri="{FF2B5EF4-FFF2-40B4-BE49-F238E27FC236}">
                <a16:creationId xmlns:a16="http://schemas.microsoft.com/office/drawing/2014/main" id="{6BE7AFDF-4D35-4624-B8E5-3ACEEF4F6357}"/>
              </a:ext>
            </a:extLst>
          </p:cNvPr>
          <p:cNvSpPr>
            <a:spLocks noChangeAspect="1" noChangeArrowheads="1"/>
          </p:cNvSpPr>
          <p:nvPr/>
        </p:nvSpPr>
        <p:spPr bwMode="auto">
          <a:xfrm>
            <a:off x="7105080" y="3484647"/>
            <a:ext cx="3387073" cy="1133108"/>
          </a:xfrm>
          <a:prstGeom prst="homePlate">
            <a:avLst>
              <a:gd name="adj" fmla="val 22135"/>
            </a:avLst>
          </a:prstGeom>
          <a:solidFill>
            <a:schemeClr val="accent1"/>
          </a:solidFill>
          <a:ln w="6350">
            <a:noFill/>
            <a:miter lim="800000"/>
            <a:headEnd/>
            <a:tailEnd/>
          </a:ln>
          <a:effectLst/>
        </p:spPr>
        <p:txBody>
          <a:bodyPr lIns="180000" tIns="180000" rIns="72000" bIns="72000"/>
          <a:lstStyle/>
          <a:p>
            <a:pPr marL="180000" indent="-180000" algn="l" eaLnBrk="0" hangingPunct="0">
              <a:spcBef>
                <a:spcPts val="100"/>
              </a:spcBef>
              <a:spcAft>
                <a:spcPts val="100"/>
              </a:spcAft>
              <a:buClr>
                <a:schemeClr val="tx1"/>
              </a:buClr>
            </a:pPr>
            <a:r>
              <a:rPr lang="en-US" sz="1400" b="1" dirty="0">
                <a:solidFill>
                  <a:schemeClr val="bg1"/>
                </a:solidFill>
                <a:latin typeface="+mj-lt"/>
              </a:rPr>
              <a:t>Text</a:t>
            </a:r>
          </a:p>
          <a:p>
            <a:pPr marL="177800" indent="-177800" eaLnBrk="0" hangingPunct="0">
              <a:spcBef>
                <a:spcPts val="100"/>
              </a:spcBef>
              <a:spcAft>
                <a:spcPts val="100"/>
              </a:spcAft>
              <a:buFontTx/>
              <a:buChar char="•"/>
            </a:pPr>
            <a:r>
              <a:rPr lang="en-US" sz="1400" dirty="0">
                <a:solidFill>
                  <a:schemeClr val="bg1"/>
                </a:solidFill>
              </a:rPr>
              <a:t>Text</a:t>
            </a:r>
          </a:p>
          <a:p>
            <a:pPr marL="177800" indent="-177800" eaLnBrk="0" hangingPunct="0">
              <a:spcBef>
                <a:spcPts val="100"/>
              </a:spcBef>
              <a:spcAft>
                <a:spcPts val="100"/>
              </a:spcAft>
              <a:buFontTx/>
              <a:buChar char="•"/>
            </a:pPr>
            <a:r>
              <a:rPr lang="en-US" sz="1400" dirty="0">
                <a:solidFill>
                  <a:schemeClr val="bg1"/>
                </a:solidFill>
              </a:rPr>
              <a:t>Text</a:t>
            </a:r>
          </a:p>
        </p:txBody>
      </p:sp>
      <p:sp>
        <p:nvSpPr>
          <p:cNvPr id="22" name="Rectangle 14">
            <a:extLst>
              <a:ext uri="{FF2B5EF4-FFF2-40B4-BE49-F238E27FC236}">
                <a16:creationId xmlns:a16="http://schemas.microsoft.com/office/drawing/2014/main" id="{B3276FF9-0796-4360-B8F6-CF287B2A50A0}"/>
              </a:ext>
            </a:extLst>
          </p:cNvPr>
          <p:cNvSpPr>
            <a:spLocks noChangeArrowheads="1"/>
          </p:cNvSpPr>
          <p:nvPr/>
        </p:nvSpPr>
        <p:spPr bwMode="auto">
          <a:xfrm>
            <a:off x="3819789" y="1321803"/>
            <a:ext cx="4015416" cy="1766693"/>
          </a:xfrm>
          <a:prstGeom prst="rect">
            <a:avLst/>
          </a:prstGeom>
          <a:solidFill>
            <a:schemeClr val="tx2">
              <a:lumMod val="20000"/>
              <a:lumOff val="80000"/>
            </a:schemeClr>
          </a:solid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endParaRPr lang="en-GB" sz="1600" dirty="0"/>
          </a:p>
        </p:txBody>
      </p:sp>
    </p:spTree>
    <p:extLst>
      <p:ext uri="{BB962C8B-B14F-4D97-AF65-F5344CB8AC3E}">
        <p14:creationId xmlns:p14="http://schemas.microsoft.com/office/powerpoint/2010/main" val="119557144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D5FE20-A7D5-40EB-949D-9B27DE39F018}"/>
              </a:ext>
            </a:extLst>
          </p:cNvPr>
          <p:cNvSpPr>
            <a:spLocks noGrp="1"/>
          </p:cNvSpPr>
          <p:nvPr>
            <p:ph type="title"/>
          </p:nvPr>
        </p:nvSpPr>
        <p:spPr/>
        <p:txBody>
          <a:bodyPr/>
          <a:lstStyle/>
          <a:p>
            <a:r>
              <a:rPr lang="en-US" dirty="0"/>
              <a:t>Static Objects</a:t>
            </a:r>
          </a:p>
        </p:txBody>
      </p:sp>
      <p:sp>
        <p:nvSpPr>
          <p:cNvPr id="4" name="Text Placeholder 3">
            <a:extLst>
              <a:ext uri="{FF2B5EF4-FFF2-40B4-BE49-F238E27FC236}">
                <a16:creationId xmlns:a16="http://schemas.microsoft.com/office/drawing/2014/main" id="{73E2AAE9-3B5D-48C6-A78E-EF4FF8D9DBE5}"/>
              </a:ext>
            </a:extLst>
          </p:cNvPr>
          <p:cNvSpPr>
            <a:spLocks noGrp="1"/>
          </p:cNvSpPr>
          <p:nvPr>
            <p:ph type="body" sz="quarter" idx="16"/>
          </p:nvPr>
        </p:nvSpPr>
        <p:spPr/>
        <p:txBody>
          <a:bodyPr numCol="2"/>
          <a:lstStyle/>
          <a:p>
            <a:r>
              <a:rPr lang="en-US" dirty="0">
                <a:hlinkClick r:id="rId3" action="ppaction://hlinksldjump">
                  <a:extLst>
                    <a:ext uri="{A12FA001-AC4F-418D-AE19-62706E023703}">
                      <ahyp:hlinkClr xmlns:ahyp="http://schemas.microsoft.com/office/drawing/2018/hyperlinkcolor" val="tx"/>
                    </a:ext>
                  </a:extLst>
                </a:hlinkClick>
              </a:rPr>
              <a:t>Circles</a:t>
            </a:r>
          </a:p>
          <a:p>
            <a:r>
              <a:rPr lang="en-US" dirty="0">
                <a:hlinkClick r:id="rId3" action="ppaction://hlinksldjump">
                  <a:extLst>
                    <a:ext uri="{A12FA001-AC4F-418D-AE19-62706E023703}">
                      <ahyp:hlinkClr xmlns:ahyp="http://schemas.microsoft.com/office/drawing/2018/hyperlinkcolor" val="tx"/>
                    </a:ext>
                  </a:extLst>
                </a:hlinkClick>
              </a:rPr>
              <a:t>Trees</a:t>
            </a:r>
            <a:endParaRPr lang="en-US" dirty="0"/>
          </a:p>
          <a:p>
            <a:r>
              <a:rPr lang="en-US" dirty="0">
                <a:hlinkClick r:id="rId4" action="ppaction://hlinksldjump">
                  <a:extLst>
                    <a:ext uri="{A12FA001-AC4F-418D-AE19-62706E023703}">
                      <ahyp:hlinkClr xmlns:ahyp="http://schemas.microsoft.com/office/drawing/2018/hyperlinkcolor" val="tx"/>
                    </a:ext>
                  </a:extLst>
                </a:hlinkClick>
              </a:rPr>
              <a:t>Boxes</a:t>
            </a:r>
            <a:endParaRPr lang="en-US" dirty="0"/>
          </a:p>
          <a:p>
            <a:r>
              <a:rPr lang="en-US" dirty="0">
                <a:hlinkClick r:id="rId5" action="ppaction://hlinksldjump">
                  <a:extLst>
                    <a:ext uri="{A12FA001-AC4F-418D-AE19-62706E023703}">
                      <ahyp:hlinkClr xmlns:ahyp="http://schemas.microsoft.com/office/drawing/2018/hyperlinkcolor" val="tx"/>
                    </a:ext>
                  </a:extLst>
                </a:hlinkClick>
              </a:rPr>
              <a:t>Text Objects</a:t>
            </a:r>
            <a:endParaRPr lang="en-US" dirty="0"/>
          </a:p>
          <a:p>
            <a:r>
              <a:rPr lang="en-US" dirty="0">
                <a:hlinkClick r:id="rId6" action="ppaction://hlinksldjump">
                  <a:extLst>
                    <a:ext uri="{A12FA001-AC4F-418D-AE19-62706E023703}">
                      <ahyp:hlinkClr xmlns:ahyp="http://schemas.microsoft.com/office/drawing/2018/hyperlinkcolor" val="tx"/>
                    </a:ext>
                  </a:extLst>
                </a:hlinkClick>
              </a:rPr>
              <a:t>Other Structures</a:t>
            </a:r>
            <a:endParaRPr lang="en-US" dirty="0"/>
          </a:p>
        </p:txBody>
      </p:sp>
      <p:sp>
        <p:nvSpPr>
          <p:cNvPr id="6" name="Freeform: Shape 5">
            <a:hlinkClick r:id="rId7" action="ppaction://hlinksldjump"/>
            <a:extLst>
              <a:ext uri="{FF2B5EF4-FFF2-40B4-BE49-F238E27FC236}">
                <a16:creationId xmlns:a16="http://schemas.microsoft.com/office/drawing/2014/main" id="{308D37CA-DB76-4C3F-9AAE-68307405E505}"/>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7" action="ppaction://hlinksldjump"/>
            <a:extLst>
              <a:ext uri="{FF2B5EF4-FFF2-40B4-BE49-F238E27FC236}">
                <a16:creationId xmlns:a16="http://schemas.microsoft.com/office/drawing/2014/main" id="{AA147B87-BF17-48E9-B223-7C2D5557FA5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1703335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B4CE5-0F43-4DF2-8DAA-E502B1B65463}"/>
              </a:ext>
            </a:extLst>
          </p:cNvPr>
          <p:cNvSpPr>
            <a:spLocks noGrp="1"/>
          </p:cNvSpPr>
          <p:nvPr>
            <p:ph type="title"/>
          </p:nvPr>
        </p:nvSpPr>
        <p:spPr/>
        <p:txBody>
          <a:bodyPr/>
          <a:lstStyle/>
          <a:p>
            <a:r>
              <a:rPr lang="en-US" dirty="0"/>
              <a:t>Circles</a:t>
            </a:r>
          </a:p>
        </p:txBody>
      </p:sp>
      <p:sp>
        <p:nvSpPr>
          <p:cNvPr id="9" name="Text Placeholder 8">
            <a:extLst>
              <a:ext uri="{FF2B5EF4-FFF2-40B4-BE49-F238E27FC236}">
                <a16:creationId xmlns:a16="http://schemas.microsoft.com/office/drawing/2014/main" id="{C3185C14-034A-43B7-AE51-7D775F0213DF}"/>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Static Objects</a:t>
            </a:r>
            <a:endParaRPr lang="en-US" dirty="0"/>
          </a:p>
        </p:txBody>
      </p:sp>
      <p:sp>
        <p:nvSpPr>
          <p:cNvPr id="6" name="Freeform: Shape 5">
            <a:hlinkClick r:id="rId4" action="ppaction://hlinksldjump"/>
            <a:extLst>
              <a:ext uri="{FF2B5EF4-FFF2-40B4-BE49-F238E27FC236}">
                <a16:creationId xmlns:a16="http://schemas.microsoft.com/office/drawing/2014/main" id="{50C2D834-6AD0-4008-8CD9-58141E16B20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E90CED23-70DC-443D-9982-F530D1B2669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8585926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1</a:t>
            </a:r>
            <a:endParaRPr lang="en-US" sz="3600" b="1" dirty="0"/>
          </a:p>
        </p:txBody>
      </p:sp>
      <p:sp>
        <p:nvSpPr>
          <p:cNvPr id="12" name="Oval 10">
            <a:extLst>
              <a:ext uri="{FF2B5EF4-FFF2-40B4-BE49-F238E27FC236}">
                <a16:creationId xmlns:a16="http://schemas.microsoft.com/office/drawing/2014/main" id="{3DD82A8D-ECEC-4254-94F4-CA85C85AD833}"/>
              </a:ext>
            </a:extLst>
          </p:cNvPr>
          <p:cNvSpPr>
            <a:spLocks noChangeArrowheads="1"/>
          </p:cNvSpPr>
          <p:nvPr/>
        </p:nvSpPr>
        <p:spPr bwMode="auto">
          <a:xfrm>
            <a:off x="2294463" y="1533939"/>
            <a:ext cx="4535488" cy="4533900"/>
          </a:xfrm>
          <a:prstGeom prst="ellipse">
            <a:avLst/>
          </a:prstGeom>
          <a:solidFill>
            <a:schemeClr val="accent1">
              <a:lumMod val="20000"/>
              <a:lumOff val="80000"/>
            </a:schemeClr>
          </a:solidFill>
          <a:ln w="6350">
            <a:noFill/>
            <a:round/>
            <a:headEnd/>
            <a:tailEnd/>
          </a:ln>
          <a:effectLst/>
        </p:spPr>
        <p:txBody>
          <a:bodyPr lIns="72000" tIns="72000" rIns="72000" bIns="72000" anchor="ctr"/>
          <a:lstStyle/>
          <a:p>
            <a:pPr marL="179388" marR="0" lvl="0" indent="-179388" algn="l"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all" spc="0" normalizeH="0" baseline="0" noProof="0" dirty="0">
                <a:ln>
                  <a:noFill/>
                </a:ln>
                <a:solidFill>
                  <a:srgbClr val="000000"/>
                </a:solidFill>
                <a:effectLst/>
                <a:uLnTx/>
                <a:uFillTx/>
                <a:latin typeface="Graphik Blac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Oval 11">
            <a:extLst>
              <a:ext uri="{FF2B5EF4-FFF2-40B4-BE49-F238E27FC236}">
                <a16:creationId xmlns:a16="http://schemas.microsoft.com/office/drawing/2014/main" id="{BD005A0B-A793-4A6F-B6D9-764CDFEC5979}"/>
              </a:ext>
            </a:extLst>
          </p:cNvPr>
          <p:cNvSpPr>
            <a:spLocks noChangeArrowheads="1"/>
          </p:cNvSpPr>
          <p:nvPr/>
        </p:nvSpPr>
        <p:spPr bwMode="auto">
          <a:xfrm>
            <a:off x="5372626" y="1533939"/>
            <a:ext cx="4535487" cy="4533900"/>
          </a:xfrm>
          <a:prstGeom prst="ellipse">
            <a:avLst/>
          </a:prstGeom>
          <a:solidFill>
            <a:schemeClr val="accent3">
              <a:lumMod val="20000"/>
              <a:lumOff val="80000"/>
            </a:schemeClr>
          </a:solidFill>
          <a:ln w="6350">
            <a:noFill/>
            <a:round/>
            <a:headEnd/>
            <a:tailEnd/>
          </a:ln>
          <a:effectLst/>
        </p:spPr>
        <p:txBody>
          <a:bodyPr lIns="1512000" tIns="72000" rIns="72000" bIns="72000" anchor="ctr"/>
          <a:lstStyle/>
          <a:p>
            <a:pPr marL="179388" marR="0" lvl="0" indent="-179388" algn="l"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all" spc="0" normalizeH="0" baseline="0" noProof="0" dirty="0">
                <a:ln>
                  <a:noFill/>
                </a:ln>
                <a:solidFill>
                  <a:srgbClr val="000000"/>
                </a:solidFill>
                <a:effectLst/>
                <a:uLnTx/>
                <a:uFillTx/>
                <a:latin typeface="Graphik Blac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Freeform 12">
            <a:extLst>
              <a:ext uri="{FF2B5EF4-FFF2-40B4-BE49-F238E27FC236}">
                <a16:creationId xmlns:a16="http://schemas.microsoft.com/office/drawing/2014/main" id="{289DC790-1A4F-4C9C-8882-0298AABE25B7}"/>
              </a:ext>
            </a:extLst>
          </p:cNvPr>
          <p:cNvSpPr>
            <a:spLocks/>
          </p:cNvSpPr>
          <p:nvPr/>
        </p:nvSpPr>
        <p:spPr bwMode="auto">
          <a:xfrm>
            <a:off x="5372626" y="2140364"/>
            <a:ext cx="1455737" cy="3332163"/>
          </a:xfrm>
          <a:custGeom>
            <a:avLst/>
            <a:gdLst/>
            <a:ahLst/>
            <a:cxnLst>
              <a:cxn ang="0">
                <a:pos x="384" y="1925"/>
              </a:cxn>
              <a:cxn ang="0">
                <a:pos x="293" y="1824"/>
              </a:cxn>
              <a:cxn ang="0">
                <a:pos x="213" y="1712"/>
              </a:cxn>
              <a:cxn ang="0">
                <a:pos x="146" y="1595"/>
              </a:cxn>
              <a:cxn ang="0">
                <a:pos x="90" y="1469"/>
              </a:cxn>
              <a:cxn ang="0">
                <a:pos x="46" y="1338"/>
              </a:cxn>
              <a:cxn ang="0">
                <a:pos x="17" y="1200"/>
              </a:cxn>
              <a:cxn ang="0">
                <a:pos x="4" y="1094"/>
              </a:cxn>
              <a:cxn ang="0">
                <a:pos x="0" y="1023"/>
              </a:cxn>
              <a:cxn ang="0">
                <a:pos x="0" y="950"/>
              </a:cxn>
              <a:cxn ang="0">
                <a:pos x="4" y="878"/>
              </a:cxn>
              <a:cxn ang="0">
                <a:pos x="17" y="772"/>
              </a:cxn>
              <a:cxn ang="0">
                <a:pos x="46" y="634"/>
              </a:cxn>
              <a:cxn ang="0">
                <a:pos x="90" y="503"/>
              </a:cxn>
              <a:cxn ang="0">
                <a:pos x="146" y="377"/>
              </a:cxn>
              <a:cxn ang="0">
                <a:pos x="213" y="260"/>
              </a:cxn>
              <a:cxn ang="0">
                <a:pos x="293" y="148"/>
              </a:cxn>
              <a:cxn ang="0">
                <a:pos x="384" y="47"/>
              </a:cxn>
              <a:cxn ang="0">
                <a:pos x="479" y="47"/>
              </a:cxn>
              <a:cxn ang="0">
                <a:pos x="570" y="148"/>
              </a:cxn>
              <a:cxn ang="0">
                <a:pos x="650" y="260"/>
              </a:cxn>
              <a:cxn ang="0">
                <a:pos x="717" y="377"/>
              </a:cxn>
              <a:cxn ang="0">
                <a:pos x="773" y="503"/>
              </a:cxn>
              <a:cxn ang="0">
                <a:pos x="817" y="634"/>
              </a:cxn>
              <a:cxn ang="0">
                <a:pos x="846" y="772"/>
              </a:cxn>
              <a:cxn ang="0">
                <a:pos x="859" y="878"/>
              </a:cxn>
              <a:cxn ang="0">
                <a:pos x="863" y="950"/>
              </a:cxn>
              <a:cxn ang="0">
                <a:pos x="863" y="1023"/>
              </a:cxn>
              <a:cxn ang="0">
                <a:pos x="859" y="1094"/>
              </a:cxn>
              <a:cxn ang="0">
                <a:pos x="846" y="1200"/>
              </a:cxn>
              <a:cxn ang="0">
                <a:pos x="817" y="1338"/>
              </a:cxn>
              <a:cxn ang="0">
                <a:pos x="773" y="1469"/>
              </a:cxn>
              <a:cxn ang="0">
                <a:pos x="717" y="1595"/>
              </a:cxn>
              <a:cxn ang="0">
                <a:pos x="650" y="1712"/>
              </a:cxn>
              <a:cxn ang="0">
                <a:pos x="570" y="1824"/>
              </a:cxn>
              <a:cxn ang="0">
                <a:pos x="479" y="1925"/>
              </a:cxn>
            </a:cxnLst>
            <a:rect l="0" t="0" r="r" b="b"/>
            <a:pathLst>
              <a:path w="863" h="1972">
                <a:moveTo>
                  <a:pt x="432" y="1972"/>
                </a:moveTo>
                <a:lnTo>
                  <a:pt x="384" y="1925"/>
                </a:lnTo>
                <a:lnTo>
                  <a:pt x="337" y="1876"/>
                </a:lnTo>
                <a:lnTo>
                  <a:pt x="293" y="1824"/>
                </a:lnTo>
                <a:lnTo>
                  <a:pt x="251" y="1770"/>
                </a:lnTo>
                <a:lnTo>
                  <a:pt x="213" y="1712"/>
                </a:lnTo>
                <a:lnTo>
                  <a:pt x="178" y="1655"/>
                </a:lnTo>
                <a:lnTo>
                  <a:pt x="146" y="1595"/>
                </a:lnTo>
                <a:lnTo>
                  <a:pt x="115" y="1534"/>
                </a:lnTo>
                <a:lnTo>
                  <a:pt x="90" y="1469"/>
                </a:lnTo>
                <a:lnTo>
                  <a:pt x="65" y="1405"/>
                </a:lnTo>
                <a:lnTo>
                  <a:pt x="46" y="1338"/>
                </a:lnTo>
                <a:lnTo>
                  <a:pt x="28" y="1269"/>
                </a:lnTo>
                <a:lnTo>
                  <a:pt x="17" y="1200"/>
                </a:lnTo>
                <a:lnTo>
                  <a:pt x="7" y="1131"/>
                </a:lnTo>
                <a:lnTo>
                  <a:pt x="4" y="1094"/>
                </a:lnTo>
                <a:lnTo>
                  <a:pt x="2" y="1060"/>
                </a:lnTo>
                <a:lnTo>
                  <a:pt x="0" y="1023"/>
                </a:lnTo>
                <a:lnTo>
                  <a:pt x="0" y="987"/>
                </a:lnTo>
                <a:lnTo>
                  <a:pt x="0" y="950"/>
                </a:lnTo>
                <a:lnTo>
                  <a:pt x="2" y="914"/>
                </a:lnTo>
                <a:lnTo>
                  <a:pt x="4" y="878"/>
                </a:lnTo>
                <a:lnTo>
                  <a:pt x="7" y="843"/>
                </a:lnTo>
                <a:lnTo>
                  <a:pt x="17" y="772"/>
                </a:lnTo>
                <a:lnTo>
                  <a:pt x="28" y="703"/>
                </a:lnTo>
                <a:lnTo>
                  <a:pt x="46" y="634"/>
                </a:lnTo>
                <a:lnTo>
                  <a:pt x="65" y="569"/>
                </a:lnTo>
                <a:lnTo>
                  <a:pt x="90" y="503"/>
                </a:lnTo>
                <a:lnTo>
                  <a:pt x="115" y="440"/>
                </a:lnTo>
                <a:lnTo>
                  <a:pt x="146" y="377"/>
                </a:lnTo>
                <a:lnTo>
                  <a:pt x="178" y="317"/>
                </a:lnTo>
                <a:lnTo>
                  <a:pt x="213" y="260"/>
                </a:lnTo>
                <a:lnTo>
                  <a:pt x="251" y="204"/>
                </a:lnTo>
                <a:lnTo>
                  <a:pt x="293" y="148"/>
                </a:lnTo>
                <a:lnTo>
                  <a:pt x="337" y="96"/>
                </a:lnTo>
                <a:lnTo>
                  <a:pt x="384" y="47"/>
                </a:lnTo>
                <a:lnTo>
                  <a:pt x="432" y="0"/>
                </a:lnTo>
                <a:lnTo>
                  <a:pt x="479" y="47"/>
                </a:lnTo>
                <a:lnTo>
                  <a:pt x="526" y="96"/>
                </a:lnTo>
                <a:lnTo>
                  <a:pt x="570" y="148"/>
                </a:lnTo>
                <a:lnTo>
                  <a:pt x="612" y="204"/>
                </a:lnTo>
                <a:lnTo>
                  <a:pt x="650" y="260"/>
                </a:lnTo>
                <a:lnTo>
                  <a:pt x="685" y="317"/>
                </a:lnTo>
                <a:lnTo>
                  <a:pt x="717" y="377"/>
                </a:lnTo>
                <a:lnTo>
                  <a:pt x="748" y="440"/>
                </a:lnTo>
                <a:lnTo>
                  <a:pt x="773" y="503"/>
                </a:lnTo>
                <a:lnTo>
                  <a:pt x="798" y="569"/>
                </a:lnTo>
                <a:lnTo>
                  <a:pt x="817" y="634"/>
                </a:lnTo>
                <a:lnTo>
                  <a:pt x="835" y="703"/>
                </a:lnTo>
                <a:lnTo>
                  <a:pt x="846" y="772"/>
                </a:lnTo>
                <a:lnTo>
                  <a:pt x="856" y="843"/>
                </a:lnTo>
                <a:lnTo>
                  <a:pt x="859" y="878"/>
                </a:lnTo>
                <a:lnTo>
                  <a:pt x="861" y="914"/>
                </a:lnTo>
                <a:lnTo>
                  <a:pt x="863" y="950"/>
                </a:lnTo>
                <a:lnTo>
                  <a:pt x="863" y="987"/>
                </a:lnTo>
                <a:lnTo>
                  <a:pt x="863" y="1023"/>
                </a:lnTo>
                <a:lnTo>
                  <a:pt x="861" y="1060"/>
                </a:lnTo>
                <a:lnTo>
                  <a:pt x="859" y="1094"/>
                </a:lnTo>
                <a:lnTo>
                  <a:pt x="856" y="1131"/>
                </a:lnTo>
                <a:lnTo>
                  <a:pt x="846" y="1200"/>
                </a:lnTo>
                <a:lnTo>
                  <a:pt x="835" y="1269"/>
                </a:lnTo>
                <a:lnTo>
                  <a:pt x="817" y="1338"/>
                </a:lnTo>
                <a:lnTo>
                  <a:pt x="798" y="1405"/>
                </a:lnTo>
                <a:lnTo>
                  <a:pt x="773" y="1469"/>
                </a:lnTo>
                <a:lnTo>
                  <a:pt x="748" y="1534"/>
                </a:lnTo>
                <a:lnTo>
                  <a:pt x="717" y="1595"/>
                </a:lnTo>
                <a:lnTo>
                  <a:pt x="685" y="1655"/>
                </a:lnTo>
                <a:lnTo>
                  <a:pt x="650" y="1712"/>
                </a:lnTo>
                <a:lnTo>
                  <a:pt x="612" y="1770"/>
                </a:lnTo>
                <a:lnTo>
                  <a:pt x="570" y="1824"/>
                </a:lnTo>
                <a:lnTo>
                  <a:pt x="526" y="1876"/>
                </a:lnTo>
                <a:lnTo>
                  <a:pt x="479" y="1925"/>
                </a:lnTo>
                <a:lnTo>
                  <a:pt x="432" y="1972"/>
                </a:lnTo>
              </a:path>
            </a:pathLst>
          </a:custGeom>
          <a:solidFill>
            <a:schemeClr val="accent2"/>
          </a:solidFill>
          <a:ln w="6350" cmpd="sng">
            <a:noFill/>
            <a:prstDash val="solid"/>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Rectangle 13">
            <a:extLst>
              <a:ext uri="{FF2B5EF4-FFF2-40B4-BE49-F238E27FC236}">
                <a16:creationId xmlns:a16="http://schemas.microsoft.com/office/drawing/2014/main" id="{1E7F51C1-2FCB-4BC5-845D-6187E40038A1}"/>
              </a:ext>
            </a:extLst>
          </p:cNvPr>
          <p:cNvSpPr>
            <a:spLocks noChangeArrowheads="1"/>
          </p:cNvSpPr>
          <p:nvPr/>
        </p:nvSpPr>
        <p:spPr bwMode="auto">
          <a:xfrm>
            <a:off x="5636565" y="3242748"/>
            <a:ext cx="949325" cy="246063"/>
          </a:xfrm>
          <a:prstGeom prst="rect">
            <a:avLst/>
          </a:prstGeom>
          <a:noFill/>
          <a:ln w="6350">
            <a:noFill/>
            <a:miter lim="800000"/>
            <a:headEnd/>
            <a:tailEnd/>
          </a:ln>
          <a:effectLst/>
        </p:spPr>
        <p:txBody>
          <a:bodyPr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25D3DEE-9885-4FD5-AC72-8AC777F0455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86557650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2</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Oval 10">
            <a:extLst>
              <a:ext uri="{FF2B5EF4-FFF2-40B4-BE49-F238E27FC236}">
                <a16:creationId xmlns:a16="http://schemas.microsoft.com/office/drawing/2014/main" id="{07612A4A-D05B-488A-841F-24CF768E023A}"/>
              </a:ext>
            </a:extLst>
          </p:cNvPr>
          <p:cNvSpPr>
            <a:spLocks noChangeArrowheads="1"/>
          </p:cNvSpPr>
          <p:nvPr/>
        </p:nvSpPr>
        <p:spPr bwMode="auto">
          <a:xfrm>
            <a:off x="2294463" y="1533939"/>
            <a:ext cx="4535488" cy="4533900"/>
          </a:xfrm>
          <a:prstGeom prst="ellipse">
            <a:avLst/>
          </a:prstGeom>
          <a:pattFill prst="wdUpDiag">
            <a:fgClr>
              <a:srgbClr val="96968C">
                <a:lumMod val="20000"/>
                <a:lumOff val="80000"/>
              </a:srgbClr>
            </a:fgClr>
            <a:bgClr>
              <a:srgbClr val="FFFFFF"/>
            </a:bgClr>
          </a:pattFill>
          <a:ln w="6350">
            <a:noFill/>
            <a:round/>
            <a:headEnd/>
            <a:tailEnd/>
          </a:ln>
          <a:effectLst/>
        </p:spPr>
        <p:txBody>
          <a:bodyPr lIns="72000" tIns="72000" rIns="72000" bIns="72000" anchor="ctr"/>
          <a:lstStyle/>
          <a:p>
            <a:pPr marL="179388" marR="0" lvl="0" indent="-179388" algn="l"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all" spc="0" normalizeH="0" baseline="0" noProof="0" dirty="0">
                <a:ln>
                  <a:noFill/>
                </a:ln>
                <a:solidFill>
                  <a:srgbClr val="000000"/>
                </a:solidFill>
                <a:effectLst/>
                <a:uLnTx/>
                <a:uFillTx/>
                <a:latin typeface="Graphik Blac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1" name="Oval 11">
            <a:extLst>
              <a:ext uri="{FF2B5EF4-FFF2-40B4-BE49-F238E27FC236}">
                <a16:creationId xmlns:a16="http://schemas.microsoft.com/office/drawing/2014/main" id="{503953C0-4539-46AE-AD3E-C831F78604A9}"/>
              </a:ext>
            </a:extLst>
          </p:cNvPr>
          <p:cNvSpPr>
            <a:spLocks noChangeArrowheads="1"/>
          </p:cNvSpPr>
          <p:nvPr/>
        </p:nvSpPr>
        <p:spPr bwMode="auto">
          <a:xfrm>
            <a:off x="5372626" y="1533939"/>
            <a:ext cx="4535487" cy="4533900"/>
          </a:xfrm>
          <a:prstGeom prst="ellipse">
            <a:avLst/>
          </a:prstGeom>
          <a:pattFill prst="wdUpDiag">
            <a:fgClr>
              <a:srgbClr val="96968C">
                <a:lumMod val="20000"/>
                <a:lumOff val="80000"/>
              </a:srgbClr>
            </a:fgClr>
            <a:bgClr>
              <a:srgbClr val="FFFFFF"/>
            </a:bgClr>
          </a:pattFill>
          <a:ln w="6350">
            <a:noFill/>
            <a:round/>
            <a:headEnd/>
            <a:tailEnd/>
          </a:ln>
          <a:effectLst/>
        </p:spPr>
        <p:txBody>
          <a:bodyPr lIns="1512000" tIns="72000" rIns="72000" bIns="72000" anchor="ctr"/>
          <a:lstStyle/>
          <a:p>
            <a:pPr marL="179388" marR="0" lvl="0" indent="-179388" algn="l"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all" spc="0" normalizeH="0" baseline="0" noProof="0" dirty="0">
                <a:ln>
                  <a:noFill/>
                </a:ln>
                <a:solidFill>
                  <a:srgbClr val="000000"/>
                </a:solidFill>
                <a:effectLst/>
                <a:uLnTx/>
                <a:uFillTx/>
                <a:latin typeface="Graphik Blac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9388" marR="0" lvl="0" indent="-179388" algn="l" defTabSz="914400" rtl="0" eaLnBrk="0" fontAlgn="auto" latinLnBrk="0" hangingPunct="0">
              <a:lnSpc>
                <a:spcPct val="100000"/>
              </a:lnSpc>
              <a:spcBef>
                <a:spcPts val="100"/>
              </a:spcBef>
              <a:spcAft>
                <a:spcPts val="100"/>
              </a:spcAft>
              <a:buClr>
                <a:srgbClr val="000000"/>
              </a:buClr>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2" name="Freeform 12">
            <a:extLst>
              <a:ext uri="{FF2B5EF4-FFF2-40B4-BE49-F238E27FC236}">
                <a16:creationId xmlns:a16="http://schemas.microsoft.com/office/drawing/2014/main" id="{F68544E8-8E60-4A7B-887E-E479CDEA1D9D}"/>
              </a:ext>
            </a:extLst>
          </p:cNvPr>
          <p:cNvSpPr>
            <a:spLocks/>
          </p:cNvSpPr>
          <p:nvPr/>
        </p:nvSpPr>
        <p:spPr bwMode="auto">
          <a:xfrm>
            <a:off x="5372626" y="2140364"/>
            <a:ext cx="1455737" cy="3332163"/>
          </a:xfrm>
          <a:custGeom>
            <a:avLst/>
            <a:gdLst/>
            <a:ahLst/>
            <a:cxnLst>
              <a:cxn ang="0">
                <a:pos x="384" y="1925"/>
              </a:cxn>
              <a:cxn ang="0">
                <a:pos x="293" y="1824"/>
              </a:cxn>
              <a:cxn ang="0">
                <a:pos x="213" y="1712"/>
              </a:cxn>
              <a:cxn ang="0">
                <a:pos x="146" y="1595"/>
              </a:cxn>
              <a:cxn ang="0">
                <a:pos x="90" y="1469"/>
              </a:cxn>
              <a:cxn ang="0">
                <a:pos x="46" y="1338"/>
              </a:cxn>
              <a:cxn ang="0">
                <a:pos x="17" y="1200"/>
              </a:cxn>
              <a:cxn ang="0">
                <a:pos x="4" y="1094"/>
              </a:cxn>
              <a:cxn ang="0">
                <a:pos x="0" y="1023"/>
              </a:cxn>
              <a:cxn ang="0">
                <a:pos x="0" y="950"/>
              </a:cxn>
              <a:cxn ang="0">
                <a:pos x="4" y="878"/>
              </a:cxn>
              <a:cxn ang="0">
                <a:pos x="17" y="772"/>
              </a:cxn>
              <a:cxn ang="0">
                <a:pos x="46" y="634"/>
              </a:cxn>
              <a:cxn ang="0">
                <a:pos x="90" y="503"/>
              </a:cxn>
              <a:cxn ang="0">
                <a:pos x="146" y="377"/>
              </a:cxn>
              <a:cxn ang="0">
                <a:pos x="213" y="260"/>
              </a:cxn>
              <a:cxn ang="0">
                <a:pos x="293" y="148"/>
              </a:cxn>
              <a:cxn ang="0">
                <a:pos x="384" y="47"/>
              </a:cxn>
              <a:cxn ang="0">
                <a:pos x="479" y="47"/>
              </a:cxn>
              <a:cxn ang="0">
                <a:pos x="570" y="148"/>
              </a:cxn>
              <a:cxn ang="0">
                <a:pos x="650" y="260"/>
              </a:cxn>
              <a:cxn ang="0">
                <a:pos x="717" y="377"/>
              </a:cxn>
              <a:cxn ang="0">
                <a:pos x="773" y="503"/>
              </a:cxn>
              <a:cxn ang="0">
                <a:pos x="817" y="634"/>
              </a:cxn>
              <a:cxn ang="0">
                <a:pos x="846" y="772"/>
              </a:cxn>
              <a:cxn ang="0">
                <a:pos x="859" y="878"/>
              </a:cxn>
              <a:cxn ang="0">
                <a:pos x="863" y="950"/>
              </a:cxn>
              <a:cxn ang="0">
                <a:pos x="863" y="1023"/>
              </a:cxn>
              <a:cxn ang="0">
                <a:pos x="859" y="1094"/>
              </a:cxn>
              <a:cxn ang="0">
                <a:pos x="846" y="1200"/>
              </a:cxn>
              <a:cxn ang="0">
                <a:pos x="817" y="1338"/>
              </a:cxn>
              <a:cxn ang="0">
                <a:pos x="773" y="1469"/>
              </a:cxn>
              <a:cxn ang="0">
                <a:pos x="717" y="1595"/>
              </a:cxn>
              <a:cxn ang="0">
                <a:pos x="650" y="1712"/>
              </a:cxn>
              <a:cxn ang="0">
                <a:pos x="570" y="1824"/>
              </a:cxn>
              <a:cxn ang="0">
                <a:pos x="479" y="1925"/>
              </a:cxn>
            </a:cxnLst>
            <a:rect l="0" t="0" r="r" b="b"/>
            <a:pathLst>
              <a:path w="863" h="1972">
                <a:moveTo>
                  <a:pt x="432" y="1972"/>
                </a:moveTo>
                <a:lnTo>
                  <a:pt x="384" y="1925"/>
                </a:lnTo>
                <a:lnTo>
                  <a:pt x="337" y="1876"/>
                </a:lnTo>
                <a:lnTo>
                  <a:pt x="293" y="1824"/>
                </a:lnTo>
                <a:lnTo>
                  <a:pt x="251" y="1770"/>
                </a:lnTo>
                <a:lnTo>
                  <a:pt x="213" y="1712"/>
                </a:lnTo>
                <a:lnTo>
                  <a:pt x="178" y="1655"/>
                </a:lnTo>
                <a:lnTo>
                  <a:pt x="146" y="1595"/>
                </a:lnTo>
                <a:lnTo>
                  <a:pt x="115" y="1534"/>
                </a:lnTo>
                <a:lnTo>
                  <a:pt x="90" y="1469"/>
                </a:lnTo>
                <a:lnTo>
                  <a:pt x="65" y="1405"/>
                </a:lnTo>
                <a:lnTo>
                  <a:pt x="46" y="1338"/>
                </a:lnTo>
                <a:lnTo>
                  <a:pt x="28" y="1269"/>
                </a:lnTo>
                <a:lnTo>
                  <a:pt x="17" y="1200"/>
                </a:lnTo>
                <a:lnTo>
                  <a:pt x="7" y="1131"/>
                </a:lnTo>
                <a:lnTo>
                  <a:pt x="4" y="1094"/>
                </a:lnTo>
                <a:lnTo>
                  <a:pt x="2" y="1060"/>
                </a:lnTo>
                <a:lnTo>
                  <a:pt x="0" y="1023"/>
                </a:lnTo>
                <a:lnTo>
                  <a:pt x="0" y="987"/>
                </a:lnTo>
                <a:lnTo>
                  <a:pt x="0" y="950"/>
                </a:lnTo>
                <a:lnTo>
                  <a:pt x="2" y="914"/>
                </a:lnTo>
                <a:lnTo>
                  <a:pt x="4" y="878"/>
                </a:lnTo>
                <a:lnTo>
                  <a:pt x="7" y="843"/>
                </a:lnTo>
                <a:lnTo>
                  <a:pt x="17" y="772"/>
                </a:lnTo>
                <a:lnTo>
                  <a:pt x="28" y="703"/>
                </a:lnTo>
                <a:lnTo>
                  <a:pt x="46" y="634"/>
                </a:lnTo>
                <a:lnTo>
                  <a:pt x="65" y="569"/>
                </a:lnTo>
                <a:lnTo>
                  <a:pt x="90" y="503"/>
                </a:lnTo>
                <a:lnTo>
                  <a:pt x="115" y="440"/>
                </a:lnTo>
                <a:lnTo>
                  <a:pt x="146" y="377"/>
                </a:lnTo>
                <a:lnTo>
                  <a:pt x="178" y="317"/>
                </a:lnTo>
                <a:lnTo>
                  <a:pt x="213" y="260"/>
                </a:lnTo>
                <a:lnTo>
                  <a:pt x="251" y="204"/>
                </a:lnTo>
                <a:lnTo>
                  <a:pt x="293" y="148"/>
                </a:lnTo>
                <a:lnTo>
                  <a:pt x="337" y="96"/>
                </a:lnTo>
                <a:lnTo>
                  <a:pt x="384" y="47"/>
                </a:lnTo>
                <a:lnTo>
                  <a:pt x="432" y="0"/>
                </a:lnTo>
                <a:lnTo>
                  <a:pt x="479" y="47"/>
                </a:lnTo>
                <a:lnTo>
                  <a:pt x="526" y="96"/>
                </a:lnTo>
                <a:lnTo>
                  <a:pt x="570" y="148"/>
                </a:lnTo>
                <a:lnTo>
                  <a:pt x="612" y="204"/>
                </a:lnTo>
                <a:lnTo>
                  <a:pt x="650" y="260"/>
                </a:lnTo>
                <a:lnTo>
                  <a:pt x="685" y="317"/>
                </a:lnTo>
                <a:lnTo>
                  <a:pt x="717" y="377"/>
                </a:lnTo>
                <a:lnTo>
                  <a:pt x="748" y="440"/>
                </a:lnTo>
                <a:lnTo>
                  <a:pt x="773" y="503"/>
                </a:lnTo>
                <a:lnTo>
                  <a:pt x="798" y="569"/>
                </a:lnTo>
                <a:lnTo>
                  <a:pt x="817" y="634"/>
                </a:lnTo>
                <a:lnTo>
                  <a:pt x="835" y="703"/>
                </a:lnTo>
                <a:lnTo>
                  <a:pt x="846" y="772"/>
                </a:lnTo>
                <a:lnTo>
                  <a:pt x="856" y="843"/>
                </a:lnTo>
                <a:lnTo>
                  <a:pt x="859" y="878"/>
                </a:lnTo>
                <a:lnTo>
                  <a:pt x="861" y="914"/>
                </a:lnTo>
                <a:lnTo>
                  <a:pt x="863" y="950"/>
                </a:lnTo>
                <a:lnTo>
                  <a:pt x="863" y="987"/>
                </a:lnTo>
                <a:lnTo>
                  <a:pt x="863" y="1023"/>
                </a:lnTo>
                <a:lnTo>
                  <a:pt x="861" y="1060"/>
                </a:lnTo>
                <a:lnTo>
                  <a:pt x="859" y="1094"/>
                </a:lnTo>
                <a:lnTo>
                  <a:pt x="856" y="1131"/>
                </a:lnTo>
                <a:lnTo>
                  <a:pt x="846" y="1200"/>
                </a:lnTo>
                <a:lnTo>
                  <a:pt x="835" y="1269"/>
                </a:lnTo>
                <a:lnTo>
                  <a:pt x="817" y="1338"/>
                </a:lnTo>
                <a:lnTo>
                  <a:pt x="798" y="1405"/>
                </a:lnTo>
                <a:lnTo>
                  <a:pt x="773" y="1469"/>
                </a:lnTo>
                <a:lnTo>
                  <a:pt x="748" y="1534"/>
                </a:lnTo>
                <a:lnTo>
                  <a:pt x="717" y="1595"/>
                </a:lnTo>
                <a:lnTo>
                  <a:pt x="685" y="1655"/>
                </a:lnTo>
                <a:lnTo>
                  <a:pt x="650" y="1712"/>
                </a:lnTo>
                <a:lnTo>
                  <a:pt x="612" y="1770"/>
                </a:lnTo>
                <a:lnTo>
                  <a:pt x="570" y="1824"/>
                </a:lnTo>
                <a:lnTo>
                  <a:pt x="526" y="1876"/>
                </a:lnTo>
                <a:lnTo>
                  <a:pt x="479" y="1925"/>
                </a:lnTo>
                <a:lnTo>
                  <a:pt x="432" y="1972"/>
                </a:lnTo>
              </a:path>
            </a:pathLst>
          </a:custGeom>
          <a:solidFill>
            <a:schemeClr val="accent2"/>
          </a:solidFill>
          <a:ln w="6350" cmpd="sng">
            <a:noFill/>
            <a:prstDash val="solid"/>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Rectangle 13">
            <a:extLst>
              <a:ext uri="{FF2B5EF4-FFF2-40B4-BE49-F238E27FC236}">
                <a16:creationId xmlns:a16="http://schemas.microsoft.com/office/drawing/2014/main" id="{DDF219E2-71E1-4AD8-9A73-FE06FB96C322}"/>
              </a:ext>
            </a:extLst>
          </p:cNvPr>
          <p:cNvSpPr>
            <a:spLocks noChangeArrowheads="1"/>
          </p:cNvSpPr>
          <p:nvPr/>
        </p:nvSpPr>
        <p:spPr bwMode="auto">
          <a:xfrm>
            <a:off x="5636565" y="3242748"/>
            <a:ext cx="949325" cy="246063"/>
          </a:xfrm>
          <a:prstGeom prst="rect">
            <a:avLst/>
          </a:prstGeom>
          <a:noFill/>
          <a:ln w="6350">
            <a:noFill/>
            <a:miter lim="800000"/>
            <a:headEnd/>
            <a:tailEnd/>
          </a:ln>
          <a:effectLst/>
        </p:spPr>
        <p:txBody>
          <a:bodyPr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16D56B8F-4A50-4EF6-9DC8-E0B5339CA97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6575043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3</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Oval 4">
            <a:extLst>
              <a:ext uri="{FF2B5EF4-FFF2-40B4-BE49-F238E27FC236}">
                <a16:creationId xmlns:a16="http://schemas.microsoft.com/office/drawing/2014/main" id="{EF57CD26-05F5-41A6-8254-C01B335B6DF7}"/>
              </a:ext>
            </a:extLst>
          </p:cNvPr>
          <p:cNvSpPr>
            <a:spLocks noChangeArrowheads="1"/>
          </p:cNvSpPr>
          <p:nvPr/>
        </p:nvSpPr>
        <p:spPr bwMode="auto">
          <a:xfrm>
            <a:off x="4656915" y="1515720"/>
            <a:ext cx="2873375" cy="2935287"/>
          </a:xfrm>
          <a:prstGeom prst="ellipse">
            <a:avLst/>
          </a:prstGeom>
          <a:solidFill>
            <a:schemeClr val="accent1">
              <a:lumMod val="20000"/>
              <a:lumOff val="80000"/>
            </a:schemeClr>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Graphik"/>
                <a:ea typeface="+mn-ea"/>
                <a:cs typeface="+mn-cs"/>
              </a:rPr>
              <a:t>Text</a:t>
            </a:r>
          </a:p>
        </p:txBody>
      </p:sp>
      <p:sp>
        <p:nvSpPr>
          <p:cNvPr id="35" name="Oval 5">
            <a:extLst>
              <a:ext uri="{FF2B5EF4-FFF2-40B4-BE49-F238E27FC236}">
                <a16:creationId xmlns:a16="http://schemas.microsoft.com/office/drawing/2014/main" id="{CF666563-3F15-4FB4-AD79-99144712AF7F}"/>
              </a:ext>
            </a:extLst>
          </p:cNvPr>
          <p:cNvSpPr>
            <a:spLocks noChangeArrowheads="1"/>
          </p:cNvSpPr>
          <p:nvPr/>
        </p:nvSpPr>
        <p:spPr bwMode="auto">
          <a:xfrm>
            <a:off x="3674252" y="3138145"/>
            <a:ext cx="2871788" cy="2935287"/>
          </a:xfrm>
          <a:prstGeom prst="ellipse">
            <a:avLst/>
          </a:prstGeom>
          <a:solidFill>
            <a:schemeClr val="accent3">
              <a:lumMod val="20000"/>
              <a:lumOff val="80000"/>
            </a:schemeClr>
          </a:solidFill>
          <a:ln w="6350">
            <a:noFill/>
            <a:round/>
            <a:headEnd/>
            <a:tailEnd/>
          </a:ln>
          <a:effectLst/>
        </p:spPr>
        <p:txBody>
          <a:bodyPr lIns="72000" tIns="72000" rIns="72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Graphik"/>
                <a:ea typeface="+mn-ea"/>
                <a:cs typeface="+mn-cs"/>
              </a:rPr>
              <a:t>Text</a:t>
            </a:r>
          </a:p>
        </p:txBody>
      </p:sp>
      <p:sp>
        <p:nvSpPr>
          <p:cNvPr id="36" name="Oval 6">
            <a:extLst>
              <a:ext uri="{FF2B5EF4-FFF2-40B4-BE49-F238E27FC236}">
                <a16:creationId xmlns:a16="http://schemas.microsoft.com/office/drawing/2014/main" id="{781B5B6B-9B92-44D6-89E5-B67A6C9526CB}"/>
              </a:ext>
            </a:extLst>
          </p:cNvPr>
          <p:cNvSpPr>
            <a:spLocks noChangeArrowheads="1"/>
          </p:cNvSpPr>
          <p:nvPr/>
        </p:nvSpPr>
        <p:spPr bwMode="auto">
          <a:xfrm>
            <a:off x="5641165" y="3138145"/>
            <a:ext cx="2871787" cy="2935287"/>
          </a:xfrm>
          <a:prstGeom prst="ellipse">
            <a:avLst/>
          </a:prstGeom>
          <a:solidFill>
            <a:schemeClr val="accent2">
              <a:lumMod val="20000"/>
              <a:lumOff val="80000"/>
            </a:schemeClr>
          </a:solidFill>
          <a:ln w="6350">
            <a:noFill/>
            <a:round/>
            <a:headEnd/>
            <a:tailEnd/>
          </a:ln>
          <a:effectLst/>
        </p:spPr>
        <p:txBody>
          <a:bodyPr lIns="72000" tIns="72000" rIns="72000" bIns="7200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Graphik"/>
                <a:ea typeface="+mn-ea"/>
                <a:cs typeface="+mn-cs"/>
              </a:rPr>
              <a:t>Text</a:t>
            </a:r>
          </a:p>
        </p:txBody>
      </p:sp>
      <p:sp>
        <p:nvSpPr>
          <p:cNvPr id="37" name="Freeform 7">
            <a:extLst>
              <a:ext uri="{FF2B5EF4-FFF2-40B4-BE49-F238E27FC236}">
                <a16:creationId xmlns:a16="http://schemas.microsoft.com/office/drawing/2014/main" id="{27FC5E77-35AF-455F-BD1E-0737037E6CFE}"/>
              </a:ext>
            </a:extLst>
          </p:cNvPr>
          <p:cNvSpPr>
            <a:spLocks/>
          </p:cNvSpPr>
          <p:nvPr/>
        </p:nvSpPr>
        <p:spPr bwMode="auto">
          <a:xfrm>
            <a:off x="4675965" y="3134970"/>
            <a:ext cx="1855787" cy="1314450"/>
          </a:xfrm>
          <a:custGeom>
            <a:avLst/>
            <a:gdLst/>
            <a:ahLst/>
            <a:cxnLst>
              <a:cxn ang="0">
                <a:pos x="1146" y="783"/>
              </a:cxn>
              <a:cxn ang="0">
                <a:pos x="1079" y="801"/>
              </a:cxn>
              <a:cxn ang="0">
                <a:pos x="1009" y="812"/>
              </a:cxn>
              <a:cxn ang="0">
                <a:pos x="938" y="816"/>
              </a:cxn>
              <a:cxn ang="0">
                <a:pos x="860" y="816"/>
              </a:cxn>
              <a:cxn ang="0">
                <a:pos x="775" y="808"/>
              </a:cxn>
              <a:cxn ang="0">
                <a:pos x="695" y="793"/>
              </a:cxn>
              <a:cxn ang="0">
                <a:pos x="616" y="772"/>
              </a:cxn>
              <a:cxn ang="0">
                <a:pos x="541" y="743"/>
              </a:cxn>
              <a:cxn ang="0">
                <a:pos x="468" y="708"/>
              </a:cxn>
              <a:cxn ang="0">
                <a:pos x="399" y="666"/>
              </a:cxn>
              <a:cxn ang="0">
                <a:pos x="336" y="620"/>
              </a:cxn>
              <a:cxn ang="0">
                <a:pos x="274" y="568"/>
              </a:cxn>
              <a:cxn ang="0">
                <a:pos x="221" y="511"/>
              </a:cxn>
              <a:cxn ang="0">
                <a:pos x="169" y="449"/>
              </a:cxn>
              <a:cxn ang="0">
                <a:pos x="125" y="384"/>
              </a:cxn>
              <a:cxn ang="0">
                <a:pos x="86" y="313"/>
              </a:cxn>
              <a:cxn ang="0">
                <a:pos x="52" y="240"/>
              </a:cxn>
              <a:cxn ang="0">
                <a:pos x="27" y="163"/>
              </a:cxn>
              <a:cxn ang="0">
                <a:pos x="6" y="85"/>
              </a:cxn>
              <a:cxn ang="0">
                <a:pos x="33" y="35"/>
              </a:cxn>
              <a:cxn ang="0">
                <a:pos x="100" y="17"/>
              </a:cxn>
              <a:cxn ang="0">
                <a:pos x="171" y="6"/>
              </a:cxn>
              <a:cxn ang="0">
                <a:pos x="242" y="2"/>
              </a:cxn>
              <a:cxn ang="0">
                <a:pos x="320" y="2"/>
              </a:cxn>
              <a:cxn ang="0">
                <a:pos x="403" y="10"/>
              </a:cxn>
              <a:cxn ang="0">
                <a:pos x="484" y="25"/>
              </a:cxn>
              <a:cxn ang="0">
                <a:pos x="562" y="46"/>
              </a:cxn>
              <a:cxn ang="0">
                <a:pos x="637" y="75"/>
              </a:cxn>
              <a:cxn ang="0">
                <a:pos x="710" y="110"/>
              </a:cxn>
              <a:cxn ang="0">
                <a:pos x="779" y="152"/>
              </a:cxn>
              <a:cxn ang="0">
                <a:pos x="842" y="198"/>
              </a:cxn>
              <a:cxn ang="0">
                <a:pos x="902" y="250"/>
              </a:cxn>
              <a:cxn ang="0">
                <a:pos x="958" y="307"/>
              </a:cxn>
              <a:cxn ang="0">
                <a:pos x="1008" y="369"/>
              </a:cxn>
              <a:cxn ang="0">
                <a:pos x="1054" y="434"/>
              </a:cxn>
              <a:cxn ang="0">
                <a:pos x="1092" y="505"/>
              </a:cxn>
              <a:cxn ang="0">
                <a:pos x="1125" y="578"/>
              </a:cxn>
              <a:cxn ang="0">
                <a:pos x="1151" y="655"/>
              </a:cxn>
              <a:cxn ang="0">
                <a:pos x="1171" y="733"/>
              </a:cxn>
            </a:cxnLst>
            <a:rect l="0" t="0" r="r" b="b"/>
            <a:pathLst>
              <a:path w="1178" h="818">
                <a:moveTo>
                  <a:pt x="1178" y="774"/>
                </a:moveTo>
                <a:lnTo>
                  <a:pt x="1146" y="783"/>
                </a:lnTo>
                <a:lnTo>
                  <a:pt x="1113" y="793"/>
                </a:lnTo>
                <a:lnTo>
                  <a:pt x="1079" y="801"/>
                </a:lnTo>
                <a:lnTo>
                  <a:pt x="1044" y="806"/>
                </a:lnTo>
                <a:lnTo>
                  <a:pt x="1009" y="812"/>
                </a:lnTo>
                <a:lnTo>
                  <a:pt x="973" y="814"/>
                </a:lnTo>
                <a:lnTo>
                  <a:pt x="938" y="816"/>
                </a:lnTo>
                <a:lnTo>
                  <a:pt x="902" y="818"/>
                </a:lnTo>
                <a:lnTo>
                  <a:pt x="860" y="816"/>
                </a:lnTo>
                <a:lnTo>
                  <a:pt x="818" y="814"/>
                </a:lnTo>
                <a:lnTo>
                  <a:pt x="775" y="808"/>
                </a:lnTo>
                <a:lnTo>
                  <a:pt x="735" y="802"/>
                </a:lnTo>
                <a:lnTo>
                  <a:pt x="695" y="793"/>
                </a:lnTo>
                <a:lnTo>
                  <a:pt x="654" y="783"/>
                </a:lnTo>
                <a:lnTo>
                  <a:pt x="616" y="772"/>
                </a:lnTo>
                <a:lnTo>
                  <a:pt x="578" y="758"/>
                </a:lnTo>
                <a:lnTo>
                  <a:pt x="541" y="743"/>
                </a:lnTo>
                <a:lnTo>
                  <a:pt x="505" y="726"/>
                </a:lnTo>
                <a:lnTo>
                  <a:pt x="468" y="708"/>
                </a:lnTo>
                <a:lnTo>
                  <a:pt x="434" y="687"/>
                </a:lnTo>
                <a:lnTo>
                  <a:pt x="399" y="666"/>
                </a:lnTo>
                <a:lnTo>
                  <a:pt x="366" y="643"/>
                </a:lnTo>
                <a:lnTo>
                  <a:pt x="336" y="620"/>
                </a:lnTo>
                <a:lnTo>
                  <a:pt x="305" y="595"/>
                </a:lnTo>
                <a:lnTo>
                  <a:pt x="274" y="568"/>
                </a:lnTo>
                <a:lnTo>
                  <a:pt x="247" y="540"/>
                </a:lnTo>
                <a:lnTo>
                  <a:pt x="221" y="511"/>
                </a:lnTo>
                <a:lnTo>
                  <a:pt x="194" y="480"/>
                </a:lnTo>
                <a:lnTo>
                  <a:pt x="169" y="449"/>
                </a:lnTo>
                <a:lnTo>
                  <a:pt x="146" y="417"/>
                </a:lnTo>
                <a:lnTo>
                  <a:pt x="125" y="384"/>
                </a:lnTo>
                <a:lnTo>
                  <a:pt x="104" y="350"/>
                </a:lnTo>
                <a:lnTo>
                  <a:pt x="86" y="313"/>
                </a:lnTo>
                <a:lnTo>
                  <a:pt x="69" y="278"/>
                </a:lnTo>
                <a:lnTo>
                  <a:pt x="52" y="240"/>
                </a:lnTo>
                <a:lnTo>
                  <a:pt x="38" y="204"/>
                </a:lnTo>
                <a:lnTo>
                  <a:pt x="27" y="163"/>
                </a:lnTo>
                <a:lnTo>
                  <a:pt x="15" y="125"/>
                </a:lnTo>
                <a:lnTo>
                  <a:pt x="6" y="85"/>
                </a:lnTo>
                <a:lnTo>
                  <a:pt x="0" y="44"/>
                </a:lnTo>
                <a:lnTo>
                  <a:pt x="33" y="35"/>
                </a:lnTo>
                <a:lnTo>
                  <a:pt x="65" y="25"/>
                </a:lnTo>
                <a:lnTo>
                  <a:pt x="100" y="17"/>
                </a:lnTo>
                <a:lnTo>
                  <a:pt x="134" y="12"/>
                </a:lnTo>
                <a:lnTo>
                  <a:pt x="171" y="6"/>
                </a:lnTo>
                <a:lnTo>
                  <a:pt x="205" y="4"/>
                </a:lnTo>
                <a:lnTo>
                  <a:pt x="242" y="2"/>
                </a:lnTo>
                <a:lnTo>
                  <a:pt x="278" y="0"/>
                </a:lnTo>
                <a:lnTo>
                  <a:pt x="320" y="2"/>
                </a:lnTo>
                <a:lnTo>
                  <a:pt x="363" y="4"/>
                </a:lnTo>
                <a:lnTo>
                  <a:pt x="403" y="10"/>
                </a:lnTo>
                <a:lnTo>
                  <a:pt x="443" y="16"/>
                </a:lnTo>
                <a:lnTo>
                  <a:pt x="484" y="25"/>
                </a:lnTo>
                <a:lnTo>
                  <a:pt x="524" y="35"/>
                </a:lnTo>
                <a:lnTo>
                  <a:pt x="562" y="46"/>
                </a:lnTo>
                <a:lnTo>
                  <a:pt x="601" y="60"/>
                </a:lnTo>
                <a:lnTo>
                  <a:pt x="637" y="75"/>
                </a:lnTo>
                <a:lnTo>
                  <a:pt x="674" y="92"/>
                </a:lnTo>
                <a:lnTo>
                  <a:pt x="710" y="110"/>
                </a:lnTo>
                <a:lnTo>
                  <a:pt x="745" y="131"/>
                </a:lnTo>
                <a:lnTo>
                  <a:pt x="779" y="152"/>
                </a:lnTo>
                <a:lnTo>
                  <a:pt x="812" y="175"/>
                </a:lnTo>
                <a:lnTo>
                  <a:pt x="842" y="198"/>
                </a:lnTo>
                <a:lnTo>
                  <a:pt x="873" y="223"/>
                </a:lnTo>
                <a:lnTo>
                  <a:pt x="902" y="250"/>
                </a:lnTo>
                <a:lnTo>
                  <a:pt x="931" y="278"/>
                </a:lnTo>
                <a:lnTo>
                  <a:pt x="958" y="307"/>
                </a:lnTo>
                <a:lnTo>
                  <a:pt x="984" y="338"/>
                </a:lnTo>
                <a:lnTo>
                  <a:pt x="1008" y="369"/>
                </a:lnTo>
                <a:lnTo>
                  <a:pt x="1032" y="401"/>
                </a:lnTo>
                <a:lnTo>
                  <a:pt x="1054" y="434"/>
                </a:lnTo>
                <a:lnTo>
                  <a:pt x="1073" y="468"/>
                </a:lnTo>
                <a:lnTo>
                  <a:pt x="1092" y="505"/>
                </a:lnTo>
                <a:lnTo>
                  <a:pt x="1109" y="540"/>
                </a:lnTo>
                <a:lnTo>
                  <a:pt x="1125" y="578"/>
                </a:lnTo>
                <a:lnTo>
                  <a:pt x="1140" y="616"/>
                </a:lnTo>
                <a:lnTo>
                  <a:pt x="1151" y="655"/>
                </a:lnTo>
                <a:lnTo>
                  <a:pt x="1163" y="693"/>
                </a:lnTo>
                <a:lnTo>
                  <a:pt x="1171" y="733"/>
                </a:lnTo>
                <a:lnTo>
                  <a:pt x="1178" y="774"/>
                </a:lnTo>
                <a:close/>
              </a:path>
            </a:pathLst>
          </a:custGeom>
          <a:solidFill>
            <a:schemeClr val="accent1"/>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Freeform 8">
            <a:extLst>
              <a:ext uri="{FF2B5EF4-FFF2-40B4-BE49-F238E27FC236}">
                <a16:creationId xmlns:a16="http://schemas.microsoft.com/office/drawing/2014/main" id="{5A4A3132-0953-4D13-96CF-403EB3330F90}"/>
              </a:ext>
            </a:extLst>
          </p:cNvPr>
          <p:cNvSpPr>
            <a:spLocks/>
          </p:cNvSpPr>
          <p:nvPr/>
        </p:nvSpPr>
        <p:spPr bwMode="auto">
          <a:xfrm>
            <a:off x="5652277" y="3125445"/>
            <a:ext cx="1873250" cy="1331912"/>
          </a:xfrm>
          <a:custGeom>
            <a:avLst/>
            <a:gdLst/>
            <a:ahLst/>
            <a:cxnLst>
              <a:cxn ang="0">
                <a:pos x="7" y="733"/>
              </a:cxn>
              <a:cxn ang="0">
                <a:pos x="27" y="655"/>
              </a:cxn>
              <a:cxn ang="0">
                <a:pos x="53" y="578"/>
              </a:cxn>
              <a:cxn ang="0">
                <a:pos x="86" y="505"/>
              </a:cxn>
              <a:cxn ang="0">
                <a:pos x="124" y="434"/>
              </a:cxn>
              <a:cxn ang="0">
                <a:pos x="170" y="369"/>
              </a:cxn>
              <a:cxn ang="0">
                <a:pos x="220" y="307"/>
              </a:cxn>
              <a:cxn ang="0">
                <a:pos x="276" y="250"/>
              </a:cxn>
              <a:cxn ang="0">
                <a:pos x="336" y="198"/>
              </a:cxn>
              <a:cxn ang="0">
                <a:pos x="399" y="152"/>
              </a:cxn>
              <a:cxn ang="0">
                <a:pos x="468" y="110"/>
              </a:cxn>
              <a:cxn ang="0">
                <a:pos x="541" y="75"/>
              </a:cxn>
              <a:cxn ang="0">
                <a:pos x="616" y="46"/>
              </a:cxn>
              <a:cxn ang="0">
                <a:pos x="694" y="25"/>
              </a:cxn>
              <a:cxn ang="0">
                <a:pos x="775" y="10"/>
              </a:cxn>
              <a:cxn ang="0">
                <a:pos x="860" y="2"/>
              </a:cxn>
              <a:cxn ang="0">
                <a:pos x="938" y="2"/>
              </a:cxn>
              <a:cxn ang="0">
                <a:pos x="1009" y="6"/>
              </a:cxn>
              <a:cxn ang="0">
                <a:pos x="1078" y="17"/>
              </a:cxn>
              <a:cxn ang="0">
                <a:pos x="1145" y="35"/>
              </a:cxn>
              <a:cxn ang="0">
                <a:pos x="1172" y="85"/>
              </a:cxn>
              <a:cxn ang="0">
                <a:pos x="1151" y="163"/>
              </a:cxn>
              <a:cxn ang="0">
                <a:pos x="1126" y="240"/>
              </a:cxn>
              <a:cxn ang="0">
                <a:pos x="1092" y="313"/>
              </a:cxn>
              <a:cxn ang="0">
                <a:pos x="1053" y="384"/>
              </a:cxn>
              <a:cxn ang="0">
                <a:pos x="1009" y="449"/>
              </a:cxn>
              <a:cxn ang="0">
                <a:pos x="959" y="511"/>
              </a:cxn>
              <a:cxn ang="0">
                <a:pos x="904" y="568"/>
              </a:cxn>
              <a:cxn ang="0">
                <a:pos x="842" y="620"/>
              </a:cxn>
              <a:cxn ang="0">
                <a:pos x="779" y="666"/>
              </a:cxn>
              <a:cxn ang="0">
                <a:pos x="710" y="708"/>
              </a:cxn>
              <a:cxn ang="0">
                <a:pos x="639" y="743"/>
              </a:cxn>
              <a:cxn ang="0">
                <a:pos x="562" y="772"/>
              </a:cxn>
              <a:cxn ang="0">
                <a:pos x="485" y="793"/>
              </a:cxn>
              <a:cxn ang="0">
                <a:pos x="403" y="808"/>
              </a:cxn>
              <a:cxn ang="0">
                <a:pos x="320" y="816"/>
              </a:cxn>
              <a:cxn ang="0">
                <a:pos x="241" y="816"/>
              </a:cxn>
              <a:cxn ang="0">
                <a:pos x="170" y="812"/>
              </a:cxn>
              <a:cxn ang="0">
                <a:pos x="99" y="801"/>
              </a:cxn>
              <a:cxn ang="0">
                <a:pos x="32" y="783"/>
              </a:cxn>
            </a:cxnLst>
            <a:rect l="0" t="0" r="r" b="b"/>
            <a:pathLst>
              <a:path w="1178" h="818">
                <a:moveTo>
                  <a:pt x="0" y="774"/>
                </a:moveTo>
                <a:lnTo>
                  <a:pt x="7" y="733"/>
                </a:lnTo>
                <a:lnTo>
                  <a:pt x="15" y="693"/>
                </a:lnTo>
                <a:lnTo>
                  <a:pt x="27" y="655"/>
                </a:lnTo>
                <a:lnTo>
                  <a:pt x="38" y="614"/>
                </a:lnTo>
                <a:lnTo>
                  <a:pt x="53" y="578"/>
                </a:lnTo>
                <a:lnTo>
                  <a:pt x="69" y="540"/>
                </a:lnTo>
                <a:lnTo>
                  <a:pt x="86" y="505"/>
                </a:lnTo>
                <a:lnTo>
                  <a:pt x="105" y="468"/>
                </a:lnTo>
                <a:lnTo>
                  <a:pt x="124" y="434"/>
                </a:lnTo>
                <a:lnTo>
                  <a:pt x="147" y="401"/>
                </a:lnTo>
                <a:lnTo>
                  <a:pt x="170" y="369"/>
                </a:lnTo>
                <a:lnTo>
                  <a:pt x="194" y="338"/>
                </a:lnTo>
                <a:lnTo>
                  <a:pt x="220" y="307"/>
                </a:lnTo>
                <a:lnTo>
                  <a:pt x="247" y="278"/>
                </a:lnTo>
                <a:lnTo>
                  <a:pt x="276" y="250"/>
                </a:lnTo>
                <a:lnTo>
                  <a:pt x="305" y="223"/>
                </a:lnTo>
                <a:lnTo>
                  <a:pt x="336" y="198"/>
                </a:lnTo>
                <a:lnTo>
                  <a:pt x="366" y="175"/>
                </a:lnTo>
                <a:lnTo>
                  <a:pt x="399" y="152"/>
                </a:lnTo>
                <a:lnTo>
                  <a:pt x="433" y="131"/>
                </a:lnTo>
                <a:lnTo>
                  <a:pt x="468" y="110"/>
                </a:lnTo>
                <a:lnTo>
                  <a:pt x="504" y="92"/>
                </a:lnTo>
                <a:lnTo>
                  <a:pt x="541" y="75"/>
                </a:lnTo>
                <a:lnTo>
                  <a:pt x="577" y="60"/>
                </a:lnTo>
                <a:lnTo>
                  <a:pt x="616" y="46"/>
                </a:lnTo>
                <a:lnTo>
                  <a:pt x="654" y="35"/>
                </a:lnTo>
                <a:lnTo>
                  <a:pt x="694" y="25"/>
                </a:lnTo>
                <a:lnTo>
                  <a:pt x="735" y="16"/>
                </a:lnTo>
                <a:lnTo>
                  <a:pt x="775" y="10"/>
                </a:lnTo>
                <a:lnTo>
                  <a:pt x="817" y="4"/>
                </a:lnTo>
                <a:lnTo>
                  <a:pt x="860" y="2"/>
                </a:lnTo>
                <a:lnTo>
                  <a:pt x="902" y="0"/>
                </a:lnTo>
                <a:lnTo>
                  <a:pt x="938" y="2"/>
                </a:lnTo>
                <a:lnTo>
                  <a:pt x="973" y="4"/>
                </a:lnTo>
                <a:lnTo>
                  <a:pt x="1009" y="6"/>
                </a:lnTo>
                <a:lnTo>
                  <a:pt x="1044" y="12"/>
                </a:lnTo>
                <a:lnTo>
                  <a:pt x="1078" y="17"/>
                </a:lnTo>
                <a:lnTo>
                  <a:pt x="1113" y="25"/>
                </a:lnTo>
                <a:lnTo>
                  <a:pt x="1145" y="35"/>
                </a:lnTo>
                <a:lnTo>
                  <a:pt x="1178" y="44"/>
                </a:lnTo>
                <a:lnTo>
                  <a:pt x="1172" y="85"/>
                </a:lnTo>
                <a:lnTo>
                  <a:pt x="1163" y="125"/>
                </a:lnTo>
                <a:lnTo>
                  <a:pt x="1151" y="163"/>
                </a:lnTo>
                <a:lnTo>
                  <a:pt x="1140" y="202"/>
                </a:lnTo>
                <a:lnTo>
                  <a:pt x="1126" y="240"/>
                </a:lnTo>
                <a:lnTo>
                  <a:pt x="1109" y="277"/>
                </a:lnTo>
                <a:lnTo>
                  <a:pt x="1092" y="313"/>
                </a:lnTo>
                <a:lnTo>
                  <a:pt x="1074" y="350"/>
                </a:lnTo>
                <a:lnTo>
                  <a:pt x="1053" y="384"/>
                </a:lnTo>
                <a:lnTo>
                  <a:pt x="1032" y="417"/>
                </a:lnTo>
                <a:lnTo>
                  <a:pt x="1009" y="449"/>
                </a:lnTo>
                <a:lnTo>
                  <a:pt x="984" y="480"/>
                </a:lnTo>
                <a:lnTo>
                  <a:pt x="959" y="511"/>
                </a:lnTo>
                <a:lnTo>
                  <a:pt x="931" y="540"/>
                </a:lnTo>
                <a:lnTo>
                  <a:pt x="904" y="568"/>
                </a:lnTo>
                <a:lnTo>
                  <a:pt x="873" y="595"/>
                </a:lnTo>
                <a:lnTo>
                  <a:pt x="842" y="620"/>
                </a:lnTo>
                <a:lnTo>
                  <a:pt x="812" y="643"/>
                </a:lnTo>
                <a:lnTo>
                  <a:pt x="779" y="666"/>
                </a:lnTo>
                <a:lnTo>
                  <a:pt x="744" y="687"/>
                </a:lnTo>
                <a:lnTo>
                  <a:pt x="710" y="708"/>
                </a:lnTo>
                <a:lnTo>
                  <a:pt x="675" y="726"/>
                </a:lnTo>
                <a:lnTo>
                  <a:pt x="639" y="743"/>
                </a:lnTo>
                <a:lnTo>
                  <a:pt x="600" y="758"/>
                </a:lnTo>
                <a:lnTo>
                  <a:pt x="562" y="772"/>
                </a:lnTo>
                <a:lnTo>
                  <a:pt x="524" y="783"/>
                </a:lnTo>
                <a:lnTo>
                  <a:pt x="485" y="793"/>
                </a:lnTo>
                <a:lnTo>
                  <a:pt x="445" y="802"/>
                </a:lnTo>
                <a:lnTo>
                  <a:pt x="403" y="808"/>
                </a:lnTo>
                <a:lnTo>
                  <a:pt x="362" y="814"/>
                </a:lnTo>
                <a:lnTo>
                  <a:pt x="320" y="816"/>
                </a:lnTo>
                <a:lnTo>
                  <a:pt x="278" y="818"/>
                </a:lnTo>
                <a:lnTo>
                  <a:pt x="241" y="816"/>
                </a:lnTo>
                <a:lnTo>
                  <a:pt x="205" y="814"/>
                </a:lnTo>
                <a:lnTo>
                  <a:pt x="170" y="812"/>
                </a:lnTo>
                <a:lnTo>
                  <a:pt x="134" y="806"/>
                </a:lnTo>
                <a:lnTo>
                  <a:pt x="99" y="801"/>
                </a:lnTo>
                <a:lnTo>
                  <a:pt x="67" y="793"/>
                </a:lnTo>
                <a:lnTo>
                  <a:pt x="32" y="783"/>
                </a:lnTo>
                <a:lnTo>
                  <a:pt x="0" y="774"/>
                </a:lnTo>
                <a:close/>
              </a:path>
            </a:pathLst>
          </a:custGeom>
          <a:solidFill>
            <a:schemeClr val="accent1"/>
          </a:solidFill>
          <a:ln w="6350" cap="flat" cmpd="sng">
            <a:noFill/>
            <a:prstDash val="solid"/>
            <a:round/>
            <a:headEnd type="none" w="med" len="med"/>
            <a:tailEnd type="none" w="med" len="me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Freeform 9">
            <a:extLst>
              <a:ext uri="{FF2B5EF4-FFF2-40B4-BE49-F238E27FC236}">
                <a16:creationId xmlns:a16="http://schemas.microsoft.com/office/drawing/2014/main" id="{5A8A8D4A-E499-4661-B880-7647BD47E600}"/>
              </a:ext>
            </a:extLst>
          </p:cNvPr>
          <p:cNvSpPr>
            <a:spLocks/>
          </p:cNvSpPr>
          <p:nvPr/>
        </p:nvSpPr>
        <p:spPr bwMode="auto">
          <a:xfrm>
            <a:off x="5634815" y="3542957"/>
            <a:ext cx="917575" cy="2141538"/>
          </a:xfrm>
          <a:custGeom>
            <a:avLst/>
            <a:gdLst/>
            <a:ahLst/>
            <a:cxnLst>
              <a:cxn ang="0">
                <a:pos x="576" y="714"/>
              </a:cxn>
              <a:cxn ang="0">
                <a:pos x="566" y="810"/>
              </a:cxn>
              <a:cxn ang="0">
                <a:pos x="547" y="902"/>
              </a:cxn>
              <a:cxn ang="0">
                <a:pos x="518" y="990"/>
              </a:cxn>
              <a:cxn ang="0">
                <a:pos x="480" y="1075"/>
              </a:cxn>
              <a:cxn ang="0">
                <a:pos x="434" y="1155"/>
              </a:cxn>
              <a:cxn ang="0">
                <a:pos x="382" y="1228"/>
              </a:cxn>
              <a:cxn ang="0">
                <a:pos x="321" y="1297"/>
              </a:cxn>
              <a:cxn ang="0">
                <a:pos x="257" y="1297"/>
              </a:cxn>
              <a:cxn ang="0">
                <a:pos x="196" y="1228"/>
              </a:cxn>
              <a:cxn ang="0">
                <a:pos x="144" y="1155"/>
              </a:cxn>
              <a:cxn ang="0">
                <a:pos x="98" y="1075"/>
              </a:cxn>
              <a:cxn ang="0">
                <a:pos x="60" y="990"/>
              </a:cxn>
              <a:cxn ang="0">
                <a:pos x="31" y="902"/>
              </a:cxn>
              <a:cxn ang="0">
                <a:pos x="12" y="810"/>
              </a:cxn>
              <a:cxn ang="0">
                <a:pos x="2" y="714"/>
              </a:cxn>
              <a:cxn ang="0">
                <a:pos x="2" y="616"/>
              </a:cxn>
              <a:cxn ang="0">
                <a:pos x="12" y="522"/>
              </a:cxn>
              <a:cxn ang="0">
                <a:pos x="31" y="430"/>
              </a:cxn>
              <a:cxn ang="0">
                <a:pos x="60" y="339"/>
              </a:cxn>
              <a:cxn ang="0">
                <a:pos x="98" y="255"/>
              </a:cxn>
              <a:cxn ang="0">
                <a:pos x="144" y="176"/>
              </a:cxn>
              <a:cxn ang="0">
                <a:pos x="196" y="102"/>
              </a:cxn>
              <a:cxn ang="0">
                <a:pos x="257" y="32"/>
              </a:cxn>
              <a:cxn ang="0">
                <a:pos x="321" y="32"/>
              </a:cxn>
              <a:cxn ang="0">
                <a:pos x="382" y="102"/>
              </a:cxn>
              <a:cxn ang="0">
                <a:pos x="434" y="176"/>
              </a:cxn>
              <a:cxn ang="0">
                <a:pos x="480" y="255"/>
              </a:cxn>
              <a:cxn ang="0">
                <a:pos x="518" y="339"/>
              </a:cxn>
              <a:cxn ang="0">
                <a:pos x="547" y="430"/>
              </a:cxn>
              <a:cxn ang="0">
                <a:pos x="566" y="522"/>
              </a:cxn>
              <a:cxn ang="0">
                <a:pos x="576" y="616"/>
              </a:cxn>
            </a:cxnLst>
            <a:rect l="0" t="0" r="r" b="b"/>
            <a:pathLst>
              <a:path w="578" h="1330">
                <a:moveTo>
                  <a:pt x="578" y="666"/>
                </a:moveTo>
                <a:lnTo>
                  <a:pt x="576" y="714"/>
                </a:lnTo>
                <a:lnTo>
                  <a:pt x="572" y="762"/>
                </a:lnTo>
                <a:lnTo>
                  <a:pt x="566" y="810"/>
                </a:lnTo>
                <a:lnTo>
                  <a:pt x="557" y="856"/>
                </a:lnTo>
                <a:lnTo>
                  <a:pt x="547" y="902"/>
                </a:lnTo>
                <a:lnTo>
                  <a:pt x="534" y="946"/>
                </a:lnTo>
                <a:lnTo>
                  <a:pt x="518" y="990"/>
                </a:lnTo>
                <a:lnTo>
                  <a:pt x="499" y="1032"/>
                </a:lnTo>
                <a:lnTo>
                  <a:pt x="480" y="1075"/>
                </a:lnTo>
                <a:lnTo>
                  <a:pt x="459" y="1115"/>
                </a:lnTo>
                <a:lnTo>
                  <a:pt x="434" y="1155"/>
                </a:lnTo>
                <a:lnTo>
                  <a:pt x="409" y="1192"/>
                </a:lnTo>
                <a:lnTo>
                  <a:pt x="382" y="1228"/>
                </a:lnTo>
                <a:lnTo>
                  <a:pt x="353" y="1265"/>
                </a:lnTo>
                <a:lnTo>
                  <a:pt x="321" y="1297"/>
                </a:lnTo>
                <a:lnTo>
                  <a:pt x="290" y="1330"/>
                </a:lnTo>
                <a:lnTo>
                  <a:pt x="257" y="1297"/>
                </a:lnTo>
                <a:lnTo>
                  <a:pt x="227" y="1265"/>
                </a:lnTo>
                <a:lnTo>
                  <a:pt x="196" y="1228"/>
                </a:lnTo>
                <a:lnTo>
                  <a:pt x="169" y="1192"/>
                </a:lnTo>
                <a:lnTo>
                  <a:pt x="144" y="1155"/>
                </a:lnTo>
                <a:lnTo>
                  <a:pt x="119" y="1115"/>
                </a:lnTo>
                <a:lnTo>
                  <a:pt x="98" y="1075"/>
                </a:lnTo>
                <a:lnTo>
                  <a:pt x="79" y="1032"/>
                </a:lnTo>
                <a:lnTo>
                  <a:pt x="60" y="990"/>
                </a:lnTo>
                <a:lnTo>
                  <a:pt x="44" y="946"/>
                </a:lnTo>
                <a:lnTo>
                  <a:pt x="31" y="902"/>
                </a:lnTo>
                <a:lnTo>
                  <a:pt x="21" y="856"/>
                </a:lnTo>
                <a:lnTo>
                  <a:pt x="12" y="810"/>
                </a:lnTo>
                <a:lnTo>
                  <a:pt x="6" y="762"/>
                </a:lnTo>
                <a:lnTo>
                  <a:pt x="2" y="714"/>
                </a:lnTo>
                <a:lnTo>
                  <a:pt x="0" y="666"/>
                </a:lnTo>
                <a:lnTo>
                  <a:pt x="2" y="616"/>
                </a:lnTo>
                <a:lnTo>
                  <a:pt x="6" y="568"/>
                </a:lnTo>
                <a:lnTo>
                  <a:pt x="12" y="522"/>
                </a:lnTo>
                <a:lnTo>
                  <a:pt x="21" y="474"/>
                </a:lnTo>
                <a:lnTo>
                  <a:pt x="31" y="430"/>
                </a:lnTo>
                <a:lnTo>
                  <a:pt x="44" y="384"/>
                </a:lnTo>
                <a:lnTo>
                  <a:pt x="60" y="339"/>
                </a:lnTo>
                <a:lnTo>
                  <a:pt x="79" y="297"/>
                </a:lnTo>
                <a:lnTo>
                  <a:pt x="98" y="255"/>
                </a:lnTo>
                <a:lnTo>
                  <a:pt x="119" y="215"/>
                </a:lnTo>
                <a:lnTo>
                  <a:pt x="144" y="176"/>
                </a:lnTo>
                <a:lnTo>
                  <a:pt x="169" y="138"/>
                </a:lnTo>
                <a:lnTo>
                  <a:pt x="196" y="102"/>
                </a:lnTo>
                <a:lnTo>
                  <a:pt x="227" y="67"/>
                </a:lnTo>
                <a:lnTo>
                  <a:pt x="257" y="32"/>
                </a:lnTo>
                <a:lnTo>
                  <a:pt x="290" y="0"/>
                </a:lnTo>
                <a:lnTo>
                  <a:pt x="321" y="32"/>
                </a:lnTo>
                <a:lnTo>
                  <a:pt x="353" y="67"/>
                </a:lnTo>
                <a:lnTo>
                  <a:pt x="382" y="102"/>
                </a:lnTo>
                <a:lnTo>
                  <a:pt x="409" y="138"/>
                </a:lnTo>
                <a:lnTo>
                  <a:pt x="434" y="176"/>
                </a:lnTo>
                <a:lnTo>
                  <a:pt x="459" y="215"/>
                </a:lnTo>
                <a:lnTo>
                  <a:pt x="480" y="255"/>
                </a:lnTo>
                <a:lnTo>
                  <a:pt x="499" y="297"/>
                </a:lnTo>
                <a:lnTo>
                  <a:pt x="518" y="339"/>
                </a:lnTo>
                <a:lnTo>
                  <a:pt x="534" y="384"/>
                </a:lnTo>
                <a:lnTo>
                  <a:pt x="547" y="430"/>
                </a:lnTo>
                <a:lnTo>
                  <a:pt x="557" y="474"/>
                </a:lnTo>
                <a:lnTo>
                  <a:pt x="566" y="522"/>
                </a:lnTo>
                <a:lnTo>
                  <a:pt x="572" y="568"/>
                </a:lnTo>
                <a:lnTo>
                  <a:pt x="576" y="616"/>
                </a:lnTo>
                <a:lnTo>
                  <a:pt x="578" y="666"/>
                </a:lnTo>
                <a:close/>
              </a:path>
            </a:pathLst>
          </a:custGeom>
          <a:solidFill>
            <a:schemeClr val="accent1"/>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Freeform 10">
            <a:extLst>
              <a:ext uri="{FF2B5EF4-FFF2-40B4-BE49-F238E27FC236}">
                <a16:creationId xmlns:a16="http://schemas.microsoft.com/office/drawing/2014/main" id="{F86E2465-B2E8-49DA-811A-60239B934023}"/>
              </a:ext>
            </a:extLst>
          </p:cNvPr>
          <p:cNvSpPr>
            <a:spLocks/>
          </p:cNvSpPr>
          <p:nvPr/>
        </p:nvSpPr>
        <p:spPr bwMode="auto">
          <a:xfrm>
            <a:off x="5658627" y="3536607"/>
            <a:ext cx="869950" cy="919163"/>
          </a:xfrm>
          <a:custGeom>
            <a:avLst/>
            <a:gdLst/>
            <a:ahLst/>
            <a:cxnLst>
              <a:cxn ang="0">
                <a:pos x="48" y="339"/>
              </a:cxn>
              <a:cxn ang="0">
                <a:pos x="155" y="142"/>
              </a:cxn>
              <a:cxn ang="0">
                <a:pos x="293" y="15"/>
              </a:cxn>
              <a:cxn ang="0">
                <a:pos x="378" y="111"/>
              </a:cxn>
              <a:cxn ang="0">
                <a:pos x="391" y="128"/>
              </a:cxn>
              <a:cxn ang="0">
                <a:pos x="395" y="136"/>
              </a:cxn>
              <a:cxn ang="0">
                <a:pos x="403" y="148"/>
              </a:cxn>
              <a:cxn ang="0">
                <a:pos x="403" y="148"/>
              </a:cxn>
              <a:cxn ang="0">
                <a:pos x="416" y="165"/>
              </a:cxn>
              <a:cxn ang="0">
                <a:pos x="422" y="176"/>
              </a:cxn>
              <a:cxn ang="0">
                <a:pos x="426" y="180"/>
              </a:cxn>
              <a:cxn ang="0">
                <a:pos x="432" y="192"/>
              </a:cxn>
              <a:cxn ang="0">
                <a:pos x="435" y="196"/>
              </a:cxn>
              <a:cxn ang="0">
                <a:pos x="439" y="203"/>
              </a:cxn>
              <a:cxn ang="0">
                <a:pos x="445" y="213"/>
              </a:cxn>
              <a:cxn ang="0">
                <a:pos x="447" y="215"/>
              </a:cxn>
              <a:cxn ang="0">
                <a:pos x="451" y="222"/>
              </a:cxn>
              <a:cxn ang="0">
                <a:pos x="453" y="226"/>
              </a:cxn>
              <a:cxn ang="0">
                <a:pos x="456" y="232"/>
              </a:cxn>
              <a:cxn ang="0">
                <a:pos x="460" y="242"/>
              </a:cxn>
              <a:cxn ang="0">
                <a:pos x="464" y="247"/>
              </a:cxn>
              <a:cxn ang="0">
                <a:pos x="468" y="255"/>
              </a:cxn>
              <a:cxn ang="0">
                <a:pos x="472" y="263"/>
              </a:cxn>
              <a:cxn ang="0">
                <a:pos x="474" y="268"/>
              </a:cxn>
              <a:cxn ang="0">
                <a:pos x="478" y="274"/>
              </a:cxn>
              <a:cxn ang="0">
                <a:pos x="481" y="282"/>
              </a:cxn>
              <a:cxn ang="0">
                <a:pos x="483" y="290"/>
              </a:cxn>
              <a:cxn ang="0">
                <a:pos x="487" y="295"/>
              </a:cxn>
              <a:cxn ang="0">
                <a:pos x="491" y="303"/>
              </a:cxn>
              <a:cxn ang="0">
                <a:pos x="493" y="311"/>
              </a:cxn>
              <a:cxn ang="0">
                <a:pos x="497" y="316"/>
              </a:cxn>
              <a:cxn ang="0">
                <a:pos x="499" y="324"/>
              </a:cxn>
              <a:cxn ang="0">
                <a:pos x="503" y="330"/>
              </a:cxn>
              <a:cxn ang="0">
                <a:pos x="504" y="338"/>
              </a:cxn>
              <a:cxn ang="0">
                <a:pos x="508" y="345"/>
              </a:cxn>
              <a:cxn ang="0">
                <a:pos x="508" y="349"/>
              </a:cxn>
              <a:cxn ang="0">
                <a:pos x="512" y="359"/>
              </a:cxn>
              <a:cxn ang="0">
                <a:pos x="516" y="366"/>
              </a:cxn>
              <a:cxn ang="0">
                <a:pos x="518" y="372"/>
              </a:cxn>
              <a:cxn ang="0">
                <a:pos x="520" y="384"/>
              </a:cxn>
              <a:cxn ang="0">
                <a:pos x="522" y="387"/>
              </a:cxn>
              <a:cxn ang="0">
                <a:pos x="524" y="395"/>
              </a:cxn>
              <a:cxn ang="0">
                <a:pos x="527" y="405"/>
              </a:cxn>
              <a:cxn ang="0">
                <a:pos x="527" y="407"/>
              </a:cxn>
              <a:cxn ang="0">
                <a:pos x="531" y="416"/>
              </a:cxn>
              <a:cxn ang="0">
                <a:pos x="533" y="424"/>
              </a:cxn>
              <a:cxn ang="0">
                <a:pos x="535" y="430"/>
              </a:cxn>
              <a:cxn ang="0">
                <a:pos x="537" y="441"/>
              </a:cxn>
              <a:cxn ang="0">
                <a:pos x="539" y="445"/>
              </a:cxn>
              <a:cxn ang="0">
                <a:pos x="541" y="455"/>
              </a:cxn>
              <a:cxn ang="0">
                <a:pos x="543" y="464"/>
              </a:cxn>
              <a:cxn ang="0">
                <a:pos x="543" y="468"/>
              </a:cxn>
              <a:cxn ang="0">
                <a:pos x="547" y="478"/>
              </a:cxn>
              <a:cxn ang="0">
                <a:pos x="547" y="485"/>
              </a:cxn>
              <a:cxn ang="0">
                <a:pos x="549" y="487"/>
              </a:cxn>
              <a:cxn ang="0">
                <a:pos x="551" y="501"/>
              </a:cxn>
              <a:cxn ang="0">
                <a:pos x="551" y="506"/>
              </a:cxn>
              <a:cxn ang="0">
                <a:pos x="552" y="514"/>
              </a:cxn>
              <a:cxn ang="0">
                <a:pos x="554" y="526"/>
              </a:cxn>
              <a:cxn ang="0">
                <a:pos x="554" y="526"/>
              </a:cxn>
              <a:cxn ang="0">
                <a:pos x="385" y="564"/>
              </a:cxn>
              <a:cxn ang="0">
                <a:pos x="170" y="564"/>
              </a:cxn>
            </a:cxnLst>
            <a:rect l="0" t="0" r="r" b="b"/>
            <a:pathLst>
              <a:path w="554" h="570">
                <a:moveTo>
                  <a:pt x="0" y="526"/>
                </a:moveTo>
                <a:lnTo>
                  <a:pt x="5" y="487"/>
                </a:lnTo>
                <a:lnTo>
                  <a:pt x="15" y="451"/>
                </a:lnTo>
                <a:lnTo>
                  <a:pt x="25" y="412"/>
                </a:lnTo>
                <a:lnTo>
                  <a:pt x="36" y="376"/>
                </a:lnTo>
                <a:lnTo>
                  <a:pt x="48" y="339"/>
                </a:lnTo>
                <a:lnTo>
                  <a:pt x="63" y="305"/>
                </a:lnTo>
                <a:lnTo>
                  <a:pt x="78" y="270"/>
                </a:lnTo>
                <a:lnTo>
                  <a:pt x="96" y="238"/>
                </a:lnTo>
                <a:lnTo>
                  <a:pt x="115" y="205"/>
                </a:lnTo>
                <a:lnTo>
                  <a:pt x="134" y="173"/>
                </a:lnTo>
                <a:lnTo>
                  <a:pt x="155" y="142"/>
                </a:lnTo>
                <a:lnTo>
                  <a:pt x="176" y="111"/>
                </a:lnTo>
                <a:lnTo>
                  <a:pt x="199" y="82"/>
                </a:lnTo>
                <a:lnTo>
                  <a:pt x="224" y="54"/>
                </a:lnTo>
                <a:lnTo>
                  <a:pt x="251" y="27"/>
                </a:lnTo>
                <a:lnTo>
                  <a:pt x="278" y="0"/>
                </a:lnTo>
                <a:lnTo>
                  <a:pt x="293" y="15"/>
                </a:lnTo>
                <a:lnTo>
                  <a:pt x="307" y="30"/>
                </a:lnTo>
                <a:lnTo>
                  <a:pt x="322" y="46"/>
                </a:lnTo>
                <a:lnTo>
                  <a:pt x="336" y="61"/>
                </a:lnTo>
                <a:lnTo>
                  <a:pt x="351" y="78"/>
                </a:lnTo>
                <a:lnTo>
                  <a:pt x="364" y="94"/>
                </a:lnTo>
                <a:lnTo>
                  <a:pt x="378" y="111"/>
                </a:lnTo>
                <a:lnTo>
                  <a:pt x="389" y="128"/>
                </a:lnTo>
                <a:lnTo>
                  <a:pt x="389" y="128"/>
                </a:lnTo>
                <a:lnTo>
                  <a:pt x="389" y="128"/>
                </a:lnTo>
                <a:lnTo>
                  <a:pt x="389" y="128"/>
                </a:lnTo>
                <a:lnTo>
                  <a:pt x="391" y="128"/>
                </a:lnTo>
                <a:lnTo>
                  <a:pt x="391" y="128"/>
                </a:lnTo>
                <a:lnTo>
                  <a:pt x="391" y="128"/>
                </a:lnTo>
                <a:lnTo>
                  <a:pt x="391" y="128"/>
                </a:lnTo>
                <a:lnTo>
                  <a:pt x="391" y="128"/>
                </a:lnTo>
                <a:lnTo>
                  <a:pt x="393" y="132"/>
                </a:lnTo>
                <a:lnTo>
                  <a:pt x="393" y="134"/>
                </a:lnTo>
                <a:lnTo>
                  <a:pt x="395" y="136"/>
                </a:lnTo>
                <a:lnTo>
                  <a:pt x="397" y="138"/>
                </a:lnTo>
                <a:lnTo>
                  <a:pt x="399" y="140"/>
                </a:lnTo>
                <a:lnTo>
                  <a:pt x="401" y="142"/>
                </a:lnTo>
                <a:lnTo>
                  <a:pt x="401" y="144"/>
                </a:lnTo>
                <a:lnTo>
                  <a:pt x="403" y="146"/>
                </a:lnTo>
                <a:lnTo>
                  <a:pt x="403" y="148"/>
                </a:lnTo>
                <a:lnTo>
                  <a:pt x="403" y="148"/>
                </a:lnTo>
                <a:lnTo>
                  <a:pt x="403" y="148"/>
                </a:lnTo>
                <a:lnTo>
                  <a:pt x="403" y="148"/>
                </a:lnTo>
                <a:lnTo>
                  <a:pt x="403" y="148"/>
                </a:lnTo>
                <a:lnTo>
                  <a:pt x="403" y="148"/>
                </a:lnTo>
                <a:lnTo>
                  <a:pt x="403" y="148"/>
                </a:lnTo>
                <a:lnTo>
                  <a:pt x="403" y="148"/>
                </a:lnTo>
                <a:lnTo>
                  <a:pt x="407" y="151"/>
                </a:lnTo>
                <a:lnTo>
                  <a:pt x="408" y="155"/>
                </a:lnTo>
                <a:lnTo>
                  <a:pt x="410" y="157"/>
                </a:lnTo>
                <a:lnTo>
                  <a:pt x="412" y="161"/>
                </a:lnTo>
                <a:lnTo>
                  <a:pt x="416" y="165"/>
                </a:lnTo>
                <a:lnTo>
                  <a:pt x="418" y="169"/>
                </a:lnTo>
                <a:lnTo>
                  <a:pt x="420" y="173"/>
                </a:lnTo>
                <a:lnTo>
                  <a:pt x="422" y="174"/>
                </a:lnTo>
                <a:lnTo>
                  <a:pt x="422" y="176"/>
                </a:lnTo>
                <a:lnTo>
                  <a:pt x="422" y="176"/>
                </a:lnTo>
                <a:lnTo>
                  <a:pt x="422" y="176"/>
                </a:lnTo>
                <a:lnTo>
                  <a:pt x="424" y="176"/>
                </a:lnTo>
                <a:lnTo>
                  <a:pt x="424" y="176"/>
                </a:lnTo>
                <a:lnTo>
                  <a:pt x="424" y="176"/>
                </a:lnTo>
                <a:lnTo>
                  <a:pt x="424" y="178"/>
                </a:lnTo>
                <a:lnTo>
                  <a:pt x="424" y="178"/>
                </a:lnTo>
                <a:lnTo>
                  <a:pt x="426" y="180"/>
                </a:lnTo>
                <a:lnTo>
                  <a:pt x="426" y="182"/>
                </a:lnTo>
                <a:lnTo>
                  <a:pt x="428" y="184"/>
                </a:lnTo>
                <a:lnTo>
                  <a:pt x="428" y="186"/>
                </a:lnTo>
                <a:lnTo>
                  <a:pt x="430" y="188"/>
                </a:lnTo>
                <a:lnTo>
                  <a:pt x="432" y="190"/>
                </a:lnTo>
                <a:lnTo>
                  <a:pt x="432" y="192"/>
                </a:lnTo>
                <a:lnTo>
                  <a:pt x="433" y="194"/>
                </a:lnTo>
                <a:lnTo>
                  <a:pt x="433" y="194"/>
                </a:lnTo>
                <a:lnTo>
                  <a:pt x="433" y="194"/>
                </a:lnTo>
                <a:lnTo>
                  <a:pt x="433" y="196"/>
                </a:lnTo>
                <a:lnTo>
                  <a:pt x="435" y="196"/>
                </a:lnTo>
                <a:lnTo>
                  <a:pt x="435" y="196"/>
                </a:lnTo>
                <a:lnTo>
                  <a:pt x="435" y="196"/>
                </a:lnTo>
                <a:lnTo>
                  <a:pt x="435" y="197"/>
                </a:lnTo>
                <a:lnTo>
                  <a:pt x="435" y="197"/>
                </a:lnTo>
                <a:lnTo>
                  <a:pt x="437" y="199"/>
                </a:lnTo>
                <a:lnTo>
                  <a:pt x="437" y="201"/>
                </a:lnTo>
                <a:lnTo>
                  <a:pt x="439" y="203"/>
                </a:lnTo>
                <a:lnTo>
                  <a:pt x="439" y="205"/>
                </a:lnTo>
                <a:lnTo>
                  <a:pt x="441" y="205"/>
                </a:lnTo>
                <a:lnTo>
                  <a:pt x="443" y="207"/>
                </a:lnTo>
                <a:lnTo>
                  <a:pt x="443" y="209"/>
                </a:lnTo>
                <a:lnTo>
                  <a:pt x="445" y="211"/>
                </a:lnTo>
                <a:lnTo>
                  <a:pt x="445" y="213"/>
                </a:lnTo>
                <a:lnTo>
                  <a:pt x="445" y="213"/>
                </a:lnTo>
                <a:lnTo>
                  <a:pt x="445" y="213"/>
                </a:lnTo>
                <a:lnTo>
                  <a:pt x="445" y="213"/>
                </a:lnTo>
                <a:lnTo>
                  <a:pt x="445" y="215"/>
                </a:lnTo>
                <a:lnTo>
                  <a:pt x="447" y="215"/>
                </a:lnTo>
                <a:lnTo>
                  <a:pt x="447" y="215"/>
                </a:lnTo>
                <a:lnTo>
                  <a:pt x="447" y="217"/>
                </a:lnTo>
                <a:lnTo>
                  <a:pt x="447" y="217"/>
                </a:lnTo>
                <a:lnTo>
                  <a:pt x="449" y="219"/>
                </a:lnTo>
                <a:lnTo>
                  <a:pt x="449" y="219"/>
                </a:lnTo>
                <a:lnTo>
                  <a:pt x="449" y="220"/>
                </a:lnTo>
                <a:lnTo>
                  <a:pt x="451" y="222"/>
                </a:lnTo>
                <a:lnTo>
                  <a:pt x="451" y="222"/>
                </a:lnTo>
                <a:lnTo>
                  <a:pt x="451" y="224"/>
                </a:lnTo>
                <a:lnTo>
                  <a:pt x="453" y="224"/>
                </a:lnTo>
                <a:lnTo>
                  <a:pt x="453" y="226"/>
                </a:lnTo>
                <a:lnTo>
                  <a:pt x="453" y="226"/>
                </a:lnTo>
                <a:lnTo>
                  <a:pt x="453" y="226"/>
                </a:lnTo>
                <a:lnTo>
                  <a:pt x="453" y="228"/>
                </a:lnTo>
                <a:lnTo>
                  <a:pt x="455" y="228"/>
                </a:lnTo>
                <a:lnTo>
                  <a:pt x="455" y="230"/>
                </a:lnTo>
                <a:lnTo>
                  <a:pt x="455" y="230"/>
                </a:lnTo>
                <a:lnTo>
                  <a:pt x="455" y="232"/>
                </a:lnTo>
                <a:lnTo>
                  <a:pt x="456" y="232"/>
                </a:lnTo>
                <a:lnTo>
                  <a:pt x="456" y="234"/>
                </a:lnTo>
                <a:lnTo>
                  <a:pt x="458" y="236"/>
                </a:lnTo>
                <a:lnTo>
                  <a:pt x="458" y="238"/>
                </a:lnTo>
                <a:lnTo>
                  <a:pt x="458" y="240"/>
                </a:lnTo>
                <a:lnTo>
                  <a:pt x="460" y="240"/>
                </a:lnTo>
                <a:lnTo>
                  <a:pt x="460" y="242"/>
                </a:lnTo>
                <a:lnTo>
                  <a:pt x="462" y="244"/>
                </a:lnTo>
                <a:lnTo>
                  <a:pt x="462" y="244"/>
                </a:lnTo>
                <a:lnTo>
                  <a:pt x="462" y="245"/>
                </a:lnTo>
                <a:lnTo>
                  <a:pt x="462" y="245"/>
                </a:lnTo>
                <a:lnTo>
                  <a:pt x="464" y="247"/>
                </a:lnTo>
                <a:lnTo>
                  <a:pt x="464" y="247"/>
                </a:lnTo>
                <a:lnTo>
                  <a:pt x="464" y="247"/>
                </a:lnTo>
                <a:lnTo>
                  <a:pt x="464" y="249"/>
                </a:lnTo>
                <a:lnTo>
                  <a:pt x="466" y="249"/>
                </a:lnTo>
                <a:lnTo>
                  <a:pt x="466" y="251"/>
                </a:lnTo>
                <a:lnTo>
                  <a:pt x="466" y="253"/>
                </a:lnTo>
                <a:lnTo>
                  <a:pt x="468" y="255"/>
                </a:lnTo>
                <a:lnTo>
                  <a:pt x="468" y="255"/>
                </a:lnTo>
                <a:lnTo>
                  <a:pt x="468" y="257"/>
                </a:lnTo>
                <a:lnTo>
                  <a:pt x="470" y="259"/>
                </a:lnTo>
                <a:lnTo>
                  <a:pt x="470" y="261"/>
                </a:lnTo>
                <a:lnTo>
                  <a:pt x="472" y="261"/>
                </a:lnTo>
                <a:lnTo>
                  <a:pt x="472" y="263"/>
                </a:lnTo>
                <a:lnTo>
                  <a:pt x="472" y="263"/>
                </a:lnTo>
                <a:lnTo>
                  <a:pt x="472" y="265"/>
                </a:lnTo>
                <a:lnTo>
                  <a:pt x="474" y="265"/>
                </a:lnTo>
                <a:lnTo>
                  <a:pt x="474" y="267"/>
                </a:lnTo>
                <a:lnTo>
                  <a:pt x="474" y="267"/>
                </a:lnTo>
                <a:lnTo>
                  <a:pt x="474" y="268"/>
                </a:lnTo>
                <a:lnTo>
                  <a:pt x="476" y="268"/>
                </a:lnTo>
                <a:lnTo>
                  <a:pt x="476" y="270"/>
                </a:lnTo>
                <a:lnTo>
                  <a:pt x="476" y="272"/>
                </a:lnTo>
                <a:lnTo>
                  <a:pt x="476" y="272"/>
                </a:lnTo>
                <a:lnTo>
                  <a:pt x="478" y="274"/>
                </a:lnTo>
                <a:lnTo>
                  <a:pt x="478" y="274"/>
                </a:lnTo>
                <a:lnTo>
                  <a:pt x="478" y="276"/>
                </a:lnTo>
                <a:lnTo>
                  <a:pt x="478" y="276"/>
                </a:lnTo>
                <a:lnTo>
                  <a:pt x="479" y="278"/>
                </a:lnTo>
                <a:lnTo>
                  <a:pt x="479" y="280"/>
                </a:lnTo>
                <a:lnTo>
                  <a:pt x="479" y="280"/>
                </a:lnTo>
                <a:lnTo>
                  <a:pt x="481" y="282"/>
                </a:lnTo>
                <a:lnTo>
                  <a:pt x="481" y="284"/>
                </a:lnTo>
                <a:lnTo>
                  <a:pt x="481" y="284"/>
                </a:lnTo>
                <a:lnTo>
                  <a:pt x="483" y="286"/>
                </a:lnTo>
                <a:lnTo>
                  <a:pt x="483" y="288"/>
                </a:lnTo>
                <a:lnTo>
                  <a:pt x="483" y="288"/>
                </a:lnTo>
                <a:lnTo>
                  <a:pt x="483" y="290"/>
                </a:lnTo>
                <a:lnTo>
                  <a:pt x="485" y="290"/>
                </a:lnTo>
                <a:lnTo>
                  <a:pt x="485" y="292"/>
                </a:lnTo>
                <a:lnTo>
                  <a:pt x="485" y="292"/>
                </a:lnTo>
                <a:lnTo>
                  <a:pt x="485" y="293"/>
                </a:lnTo>
                <a:lnTo>
                  <a:pt x="487" y="293"/>
                </a:lnTo>
                <a:lnTo>
                  <a:pt x="487" y="295"/>
                </a:lnTo>
                <a:lnTo>
                  <a:pt x="487" y="295"/>
                </a:lnTo>
                <a:lnTo>
                  <a:pt x="487" y="297"/>
                </a:lnTo>
                <a:lnTo>
                  <a:pt x="489" y="299"/>
                </a:lnTo>
                <a:lnTo>
                  <a:pt x="489" y="301"/>
                </a:lnTo>
                <a:lnTo>
                  <a:pt x="489" y="303"/>
                </a:lnTo>
                <a:lnTo>
                  <a:pt x="491" y="303"/>
                </a:lnTo>
                <a:lnTo>
                  <a:pt x="491" y="305"/>
                </a:lnTo>
                <a:lnTo>
                  <a:pt x="491" y="307"/>
                </a:lnTo>
                <a:lnTo>
                  <a:pt x="493" y="309"/>
                </a:lnTo>
                <a:lnTo>
                  <a:pt x="493" y="309"/>
                </a:lnTo>
                <a:lnTo>
                  <a:pt x="493" y="311"/>
                </a:lnTo>
                <a:lnTo>
                  <a:pt x="493" y="311"/>
                </a:lnTo>
                <a:lnTo>
                  <a:pt x="495" y="311"/>
                </a:lnTo>
                <a:lnTo>
                  <a:pt x="495" y="313"/>
                </a:lnTo>
                <a:lnTo>
                  <a:pt x="495" y="313"/>
                </a:lnTo>
                <a:lnTo>
                  <a:pt x="495" y="315"/>
                </a:lnTo>
                <a:lnTo>
                  <a:pt x="495" y="315"/>
                </a:lnTo>
                <a:lnTo>
                  <a:pt x="497" y="316"/>
                </a:lnTo>
                <a:lnTo>
                  <a:pt x="497" y="318"/>
                </a:lnTo>
                <a:lnTo>
                  <a:pt x="497" y="318"/>
                </a:lnTo>
                <a:lnTo>
                  <a:pt x="497" y="320"/>
                </a:lnTo>
                <a:lnTo>
                  <a:pt x="499" y="322"/>
                </a:lnTo>
                <a:lnTo>
                  <a:pt x="499" y="324"/>
                </a:lnTo>
                <a:lnTo>
                  <a:pt x="499" y="324"/>
                </a:lnTo>
                <a:lnTo>
                  <a:pt x="501" y="326"/>
                </a:lnTo>
                <a:lnTo>
                  <a:pt x="501" y="326"/>
                </a:lnTo>
                <a:lnTo>
                  <a:pt x="501" y="328"/>
                </a:lnTo>
                <a:lnTo>
                  <a:pt x="501" y="328"/>
                </a:lnTo>
                <a:lnTo>
                  <a:pt x="501" y="330"/>
                </a:lnTo>
                <a:lnTo>
                  <a:pt x="503" y="330"/>
                </a:lnTo>
                <a:lnTo>
                  <a:pt x="503" y="332"/>
                </a:lnTo>
                <a:lnTo>
                  <a:pt x="503" y="332"/>
                </a:lnTo>
                <a:lnTo>
                  <a:pt x="503" y="334"/>
                </a:lnTo>
                <a:lnTo>
                  <a:pt x="503" y="334"/>
                </a:lnTo>
                <a:lnTo>
                  <a:pt x="504" y="336"/>
                </a:lnTo>
                <a:lnTo>
                  <a:pt x="504" y="338"/>
                </a:lnTo>
                <a:lnTo>
                  <a:pt x="504" y="339"/>
                </a:lnTo>
                <a:lnTo>
                  <a:pt x="506" y="339"/>
                </a:lnTo>
                <a:lnTo>
                  <a:pt x="506" y="341"/>
                </a:lnTo>
                <a:lnTo>
                  <a:pt x="506" y="343"/>
                </a:lnTo>
                <a:lnTo>
                  <a:pt x="506" y="345"/>
                </a:lnTo>
                <a:lnTo>
                  <a:pt x="508" y="345"/>
                </a:lnTo>
                <a:lnTo>
                  <a:pt x="508" y="345"/>
                </a:lnTo>
                <a:lnTo>
                  <a:pt x="508" y="347"/>
                </a:lnTo>
                <a:lnTo>
                  <a:pt x="508" y="347"/>
                </a:lnTo>
                <a:lnTo>
                  <a:pt x="508" y="349"/>
                </a:lnTo>
                <a:lnTo>
                  <a:pt x="508" y="349"/>
                </a:lnTo>
                <a:lnTo>
                  <a:pt x="508" y="349"/>
                </a:lnTo>
                <a:lnTo>
                  <a:pt x="510" y="351"/>
                </a:lnTo>
                <a:lnTo>
                  <a:pt x="510" y="353"/>
                </a:lnTo>
                <a:lnTo>
                  <a:pt x="510" y="353"/>
                </a:lnTo>
                <a:lnTo>
                  <a:pt x="512" y="355"/>
                </a:lnTo>
                <a:lnTo>
                  <a:pt x="512" y="357"/>
                </a:lnTo>
                <a:lnTo>
                  <a:pt x="512" y="359"/>
                </a:lnTo>
                <a:lnTo>
                  <a:pt x="514" y="361"/>
                </a:lnTo>
                <a:lnTo>
                  <a:pt x="514" y="363"/>
                </a:lnTo>
                <a:lnTo>
                  <a:pt x="514" y="364"/>
                </a:lnTo>
                <a:lnTo>
                  <a:pt x="514" y="364"/>
                </a:lnTo>
                <a:lnTo>
                  <a:pt x="514" y="366"/>
                </a:lnTo>
                <a:lnTo>
                  <a:pt x="516" y="366"/>
                </a:lnTo>
                <a:lnTo>
                  <a:pt x="516" y="366"/>
                </a:lnTo>
                <a:lnTo>
                  <a:pt x="516" y="368"/>
                </a:lnTo>
                <a:lnTo>
                  <a:pt x="516" y="368"/>
                </a:lnTo>
                <a:lnTo>
                  <a:pt x="516" y="370"/>
                </a:lnTo>
                <a:lnTo>
                  <a:pt x="516" y="370"/>
                </a:lnTo>
                <a:lnTo>
                  <a:pt x="518" y="372"/>
                </a:lnTo>
                <a:lnTo>
                  <a:pt x="518" y="374"/>
                </a:lnTo>
                <a:lnTo>
                  <a:pt x="518" y="376"/>
                </a:lnTo>
                <a:lnTo>
                  <a:pt x="518" y="378"/>
                </a:lnTo>
                <a:lnTo>
                  <a:pt x="520" y="380"/>
                </a:lnTo>
                <a:lnTo>
                  <a:pt x="520" y="382"/>
                </a:lnTo>
                <a:lnTo>
                  <a:pt x="520" y="384"/>
                </a:lnTo>
                <a:lnTo>
                  <a:pt x="522" y="386"/>
                </a:lnTo>
                <a:lnTo>
                  <a:pt x="522" y="386"/>
                </a:lnTo>
                <a:lnTo>
                  <a:pt x="522" y="386"/>
                </a:lnTo>
                <a:lnTo>
                  <a:pt x="522" y="387"/>
                </a:lnTo>
                <a:lnTo>
                  <a:pt x="522" y="387"/>
                </a:lnTo>
                <a:lnTo>
                  <a:pt x="522" y="387"/>
                </a:lnTo>
                <a:lnTo>
                  <a:pt x="522" y="389"/>
                </a:lnTo>
                <a:lnTo>
                  <a:pt x="522" y="389"/>
                </a:lnTo>
                <a:lnTo>
                  <a:pt x="524" y="389"/>
                </a:lnTo>
                <a:lnTo>
                  <a:pt x="524" y="391"/>
                </a:lnTo>
                <a:lnTo>
                  <a:pt x="524" y="393"/>
                </a:lnTo>
                <a:lnTo>
                  <a:pt x="524" y="395"/>
                </a:lnTo>
                <a:lnTo>
                  <a:pt x="526" y="397"/>
                </a:lnTo>
                <a:lnTo>
                  <a:pt x="526" y="399"/>
                </a:lnTo>
                <a:lnTo>
                  <a:pt x="526" y="401"/>
                </a:lnTo>
                <a:lnTo>
                  <a:pt x="527" y="401"/>
                </a:lnTo>
                <a:lnTo>
                  <a:pt x="527" y="403"/>
                </a:lnTo>
                <a:lnTo>
                  <a:pt x="527" y="405"/>
                </a:lnTo>
                <a:lnTo>
                  <a:pt x="527" y="405"/>
                </a:lnTo>
                <a:lnTo>
                  <a:pt x="527" y="405"/>
                </a:lnTo>
                <a:lnTo>
                  <a:pt x="527" y="407"/>
                </a:lnTo>
                <a:lnTo>
                  <a:pt x="527" y="407"/>
                </a:lnTo>
                <a:lnTo>
                  <a:pt x="527" y="407"/>
                </a:lnTo>
                <a:lnTo>
                  <a:pt x="527" y="407"/>
                </a:lnTo>
                <a:lnTo>
                  <a:pt x="527" y="409"/>
                </a:lnTo>
                <a:lnTo>
                  <a:pt x="529" y="411"/>
                </a:lnTo>
                <a:lnTo>
                  <a:pt x="529" y="412"/>
                </a:lnTo>
                <a:lnTo>
                  <a:pt x="529" y="414"/>
                </a:lnTo>
                <a:lnTo>
                  <a:pt x="531" y="416"/>
                </a:lnTo>
                <a:lnTo>
                  <a:pt x="531" y="416"/>
                </a:lnTo>
                <a:lnTo>
                  <a:pt x="531" y="418"/>
                </a:lnTo>
                <a:lnTo>
                  <a:pt x="531" y="420"/>
                </a:lnTo>
                <a:lnTo>
                  <a:pt x="533" y="422"/>
                </a:lnTo>
                <a:lnTo>
                  <a:pt x="533" y="424"/>
                </a:lnTo>
                <a:lnTo>
                  <a:pt x="533" y="424"/>
                </a:lnTo>
                <a:lnTo>
                  <a:pt x="533" y="424"/>
                </a:lnTo>
                <a:lnTo>
                  <a:pt x="533" y="426"/>
                </a:lnTo>
                <a:lnTo>
                  <a:pt x="533" y="426"/>
                </a:lnTo>
                <a:lnTo>
                  <a:pt x="533" y="426"/>
                </a:lnTo>
                <a:lnTo>
                  <a:pt x="533" y="426"/>
                </a:lnTo>
                <a:lnTo>
                  <a:pt x="533" y="428"/>
                </a:lnTo>
                <a:lnTo>
                  <a:pt x="535" y="430"/>
                </a:lnTo>
                <a:lnTo>
                  <a:pt x="535" y="432"/>
                </a:lnTo>
                <a:lnTo>
                  <a:pt x="535" y="434"/>
                </a:lnTo>
                <a:lnTo>
                  <a:pt x="535" y="435"/>
                </a:lnTo>
                <a:lnTo>
                  <a:pt x="537" y="437"/>
                </a:lnTo>
                <a:lnTo>
                  <a:pt x="537" y="439"/>
                </a:lnTo>
                <a:lnTo>
                  <a:pt x="537" y="441"/>
                </a:lnTo>
                <a:lnTo>
                  <a:pt x="539" y="443"/>
                </a:lnTo>
                <a:lnTo>
                  <a:pt x="539" y="443"/>
                </a:lnTo>
                <a:lnTo>
                  <a:pt x="539" y="445"/>
                </a:lnTo>
                <a:lnTo>
                  <a:pt x="539" y="445"/>
                </a:lnTo>
                <a:lnTo>
                  <a:pt x="539" y="445"/>
                </a:lnTo>
                <a:lnTo>
                  <a:pt x="539" y="445"/>
                </a:lnTo>
                <a:lnTo>
                  <a:pt x="539" y="447"/>
                </a:lnTo>
                <a:lnTo>
                  <a:pt x="539" y="447"/>
                </a:lnTo>
                <a:lnTo>
                  <a:pt x="539" y="447"/>
                </a:lnTo>
                <a:lnTo>
                  <a:pt x="539" y="449"/>
                </a:lnTo>
                <a:lnTo>
                  <a:pt x="541" y="451"/>
                </a:lnTo>
                <a:lnTo>
                  <a:pt x="541" y="455"/>
                </a:lnTo>
                <a:lnTo>
                  <a:pt x="541" y="457"/>
                </a:lnTo>
                <a:lnTo>
                  <a:pt x="541" y="458"/>
                </a:lnTo>
                <a:lnTo>
                  <a:pt x="543" y="460"/>
                </a:lnTo>
                <a:lnTo>
                  <a:pt x="543" y="462"/>
                </a:lnTo>
                <a:lnTo>
                  <a:pt x="543" y="464"/>
                </a:lnTo>
                <a:lnTo>
                  <a:pt x="543" y="464"/>
                </a:lnTo>
                <a:lnTo>
                  <a:pt x="543" y="464"/>
                </a:lnTo>
                <a:lnTo>
                  <a:pt x="543" y="466"/>
                </a:lnTo>
                <a:lnTo>
                  <a:pt x="543" y="466"/>
                </a:lnTo>
                <a:lnTo>
                  <a:pt x="543" y="466"/>
                </a:lnTo>
                <a:lnTo>
                  <a:pt x="543" y="466"/>
                </a:lnTo>
                <a:lnTo>
                  <a:pt x="543" y="468"/>
                </a:lnTo>
                <a:lnTo>
                  <a:pt x="545" y="468"/>
                </a:lnTo>
                <a:lnTo>
                  <a:pt x="545" y="470"/>
                </a:lnTo>
                <a:lnTo>
                  <a:pt x="545" y="472"/>
                </a:lnTo>
                <a:lnTo>
                  <a:pt x="545" y="474"/>
                </a:lnTo>
                <a:lnTo>
                  <a:pt x="545" y="476"/>
                </a:lnTo>
                <a:lnTo>
                  <a:pt x="547" y="478"/>
                </a:lnTo>
                <a:lnTo>
                  <a:pt x="547" y="480"/>
                </a:lnTo>
                <a:lnTo>
                  <a:pt x="547" y="482"/>
                </a:lnTo>
                <a:lnTo>
                  <a:pt x="547" y="483"/>
                </a:lnTo>
                <a:lnTo>
                  <a:pt x="547" y="483"/>
                </a:lnTo>
                <a:lnTo>
                  <a:pt x="547" y="483"/>
                </a:lnTo>
                <a:lnTo>
                  <a:pt x="547" y="485"/>
                </a:lnTo>
                <a:lnTo>
                  <a:pt x="547" y="485"/>
                </a:lnTo>
                <a:lnTo>
                  <a:pt x="547" y="485"/>
                </a:lnTo>
                <a:lnTo>
                  <a:pt x="547" y="485"/>
                </a:lnTo>
                <a:lnTo>
                  <a:pt x="549" y="485"/>
                </a:lnTo>
                <a:lnTo>
                  <a:pt x="549" y="485"/>
                </a:lnTo>
                <a:lnTo>
                  <a:pt x="549" y="487"/>
                </a:lnTo>
                <a:lnTo>
                  <a:pt x="549" y="491"/>
                </a:lnTo>
                <a:lnTo>
                  <a:pt x="549" y="493"/>
                </a:lnTo>
                <a:lnTo>
                  <a:pt x="549" y="495"/>
                </a:lnTo>
                <a:lnTo>
                  <a:pt x="551" y="497"/>
                </a:lnTo>
                <a:lnTo>
                  <a:pt x="551" y="499"/>
                </a:lnTo>
                <a:lnTo>
                  <a:pt x="551" y="501"/>
                </a:lnTo>
                <a:lnTo>
                  <a:pt x="551" y="505"/>
                </a:lnTo>
                <a:lnTo>
                  <a:pt x="551" y="505"/>
                </a:lnTo>
                <a:lnTo>
                  <a:pt x="551" y="505"/>
                </a:lnTo>
                <a:lnTo>
                  <a:pt x="551" y="505"/>
                </a:lnTo>
                <a:lnTo>
                  <a:pt x="551" y="505"/>
                </a:lnTo>
                <a:lnTo>
                  <a:pt x="551" y="506"/>
                </a:lnTo>
                <a:lnTo>
                  <a:pt x="552" y="506"/>
                </a:lnTo>
                <a:lnTo>
                  <a:pt x="552" y="506"/>
                </a:lnTo>
                <a:lnTo>
                  <a:pt x="552" y="506"/>
                </a:lnTo>
                <a:lnTo>
                  <a:pt x="552" y="508"/>
                </a:lnTo>
                <a:lnTo>
                  <a:pt x="552" y="512"/>
                </a:lnTo>
                <a:lnTo>
                  <a:pt x="552" y="514"/>
                </a:lnTo>
                <a:lnTo>
                  <a:pt x="552" y="516"/>
                </a:lnTo>
                <a:lnTo>
                  <a:pt x="554" y="518"/>
                </a:lnTo>
                <a:lnTo>
                  <a:pt x="554" y="520"/>
                </a:lnTo>
                <a:lnTo>
                  <a:pt x="554" y="522"/>
                </a:lnTo>
                <a:lnTo>
                  <a:pt x="554" y="524"/>
                </a:lnTo>
                <a:lnTo>
                  <a:pt x="554" y="526"/>
                </a:lnTo>
                <a:lnTo>
                  <a:pt x="554" y="526"/>
                </a:lnTo>
                <a:lnTo>
                  <a:pt x="554" y="526"/>
                </a:lnTo>
                <a:lnTo>
                  <a:pt x="554" y="526"/>
                </a:lnTo>
                <a:lnTo>
                  <a:pt x="554" y="526"/>
                </a:lnTo>
                <a:lnTo>
                  <a:pt x="554" y="526"/>
                </a:lnTo>
                <a:lnTo>
                  <a:pt x="554" y="526"/>
                </a:lnTo>
                <a:lnTo>
                  <a:pt x="554" y="526"/>
                </a:lnTo>
                <a:lnTo>
                  <a:pt x="522" y="535"/>
                </a:lnTo>
                <a:lnTo>
                  <a:pt x="489" y="545"/>
                </a:lnTo>
                <a:lnTo>
                  <a:pt x="455" y="553"/>
                </a:lnTo>
                <a:lnTo>
                  <a:pt x="420" y="558"/>
                </a:lnTo>
                <a:lnTo>
                  <a:pt x="385" y="564"/>
                </a:lnTo>
                <a:lnTo>
                  <a:pt x="349" y="566"/>
                </a:lnTo>
                <a:lnTo>
                  <a:pt x="314" y="568"/>
                </a:lnTo>
                <a:lnTo>
                  <a:pt x="278" y="570"/>
                </a:lnTo>
                <a:lnTo>
                  <a:pt x="241" y="568"/>
                </a:lnTo>
                <a:lnTo>
                  <a:pt x="205" y="566"/>
                </a:lnTo>
                <a:lnTo>
                  <a:pt x="170" y="564"/>
                </a:lnTo>
                <a:lnTo>
                  <a:pt x="134" y="558"/>
                </a:lnTo>
                <a:lnTo>
                  <a:pt x="99" y="553"/>
                </a:lnTo>
                <a:lnTo>
                  <a:pt x="67" y="545"/>
                </a:lnTo>
                <a:lnTo>
                  <a:pt x="32" y="535"/>
                </a:lnTo>
                <a:lnTo>
                  <a:pt x="0" y="526"/>
                </a:lnTo>
                <a:close/>
              </a:path>
            </a:pathLst>
          </a:custGeom>
          <a:solidFill>
            <a:schemeClr val="accent3"/>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Rectangle 40">
            <a:extLst>
              <a:ext uri="{FF2B5EF4-FFF2-40B4-BE49-F238E27FC236}">
                <a16:creationId xmlns:a16="http://schemas.microsoft.com/office/drawing/2014/main" id="{7FC424DA-8B61-4699-9536-74022004BF0C}"/>
              </a:ext>
            </a:extLst>
          </p:cNvPr>
          <p:cNvSpPr>
            <a:spLocks noChangeArrowheads="1"/>
          </p:cNvSpPr>
          <p:nvPr/>
        </p:nvSpPr>
        <p:spPr bwMode="auto">
          <a:xfrm>
            <a:off x="5207777" y="3576295"/>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Graphik"/>
                <a:ea typeface="+mn-ea"/>
                <a:cs typeface="+mn-cs"/>
              </a:rPr>
              <a:t>Text</a:t>
            </a:r>
          </a:p>
        </p:txBody>
      </p:sp>
      <p:sp>
        <p:nvSpPr>
          <p:cNvPr id="42" name="Rectangle 41">
            <a:extLst>
              <a:ext uri="{FF2B5EF4-FFF2-40B4-BE49-F238E27FC236}">
                <a16:creationId xmlns:a16="http://schemas.microsoft.com/office/drawing/2014/main" id="{B4B9B721-C2CB-4B0E-AFD3-664933CEEBF5}"/>
              </a:ext>
            </a:extLst>
          </p:cNvPr>
          <p:cNvSpPr>
            <a:spLocks noChangeArrowheads="1"/>
          </p:cNvSpPr>
          <p:nvPr/>
        </p:nvSpPr>
        <p:spPr bwMode="auto">
          <a:xfrm>
            <a:off x="6569852" y="3576295"/>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43" name="Rectangle 42">
            <a:extLst>
              <a:ext uri="{FF2B5EF4-FFF2-40B4-BE49-F238E27FC236}">
                <a16:creationId xmlns:a16="http://schemas.microsoft.com/office/drawing/2014/main" id="{D43C9F7C-0A8E-4E9B-9140-02DD9A02D110}"/>
              </a:ext>
            </a:extLst>
          </p:cNvPr>
          <p:cNvSpPr>
            <a:spLocks noChangeArrowheads="1"/>
          </p:cNvSpPr>
          <p:nvPr/>
        </p:nvSpPr>
        <p:spPr bwMode="auto">
          <a:xfrm>
            <a:off x="5877702" y="4041432"/>
            <a:ext cx="430213" cy="271463"/>
          </a:xfrm>
          <a:prstGeom prst="rect">
            <a:avLst/>
          </a:prstGeom>
          <a:no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Graphik"/>
                <a:ea typeface="+mn-ea"/>
                <a:cs typeface="+mn-cs"/>
              </a:rPr>
              <a:t>Text</a:t>
            </a:r>
          </a:p>
        </p:txBody>
      </p:sp>
      <p:sp>
        <p:nvSpPr>
          <p:cNvPr id="44" name="Rectangle 43">
            <a:extLst>
              <a:ext uri="{FF2B5EF4-FFF2-40B4-BE49-F238E27FC236}">
                <a16:creationId xmlns:a16="http://schemas.microsoft.com/office/drawing/2014/main" id="{DE541C22-91E0-422A-8CAA-4CA1FC4967CC}"/>
              </a:ext>
            </a:extLst>
          </p:cNvPr>
          <p:cNvSpPr>
            <a:spLocks noChangeArrowheads="1"/>
          </p:cNvSpPr>
          <p:nvPr/>
        </p:nvSpPr>
        <p:spPr bwMode="auto">
          <a:xfrm>
            <a:off x="5887227" y="4765332"/>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C984E23E-1A04-4079-BED0-B4DDAFADCC7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23134779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4</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F6F8590A-55F4-4943-B9C6-7A0D00FA878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Oval 14">
            <a:extLst>
              <a:ext uri="{FF2B5EF4-FFF2-40B4-BE49-F238E27FC236}">
                <a16:creationId xmlns:a16="http://schemas.microsoft.com/office/drawing/2014/main" id="{475AED46-04A8-418F-8AFB-D1230393307E}"/>
              </a:ext>
            </a:extLst>
          </p:cNvPr>
          <p:cNvSpPr>
            <a:spLocks noChangeArrowheads="1"/>
          </p:cNvSpPr>
          <p:nvPr/>
        </p:nvSpPr>
        <p:spPr bwMode="auto">
          <a:xfrm rot="5400000">
            <a:off x="4927437" y="3722205"/>
            <a:ext cx="2340000" cy="2340000"/>
          </a:xfrm>
          <a:prstGeom prst="ellipse">
            <a:avLst/>
          </a:prstGeom>
          <a:pattFill prst="wdUpDiag">
            <a:fgClr>
              <a:schemeClr val="tx2">
                <a:lumMod val="20000"/>
                <a:lumOff val="80000"/>
              </a:schemeClr>
            </a:fgClr>
            <a:bgClr>
              <a:schemeClr val="bg1"/>
            </a:bgClr>
          </a:pattFill>
          <a:ln w="6350">
            <a:noFill/>
            <a:round/>
            <a:headEnd/>
            <a:tailEnd/>
          </a:ln>
          <a:effectLst/>
        </p:spPr>
        <p:txBody>
          <a:bodyPr rot="10800000" vert="eaVert" lIns="45720" rIns="45720" anchor="ctr" anchorCtr="1"/>
          <a:lstStyle/>
          <a:p>
            <a:pPr eaLnBrk="0" hangingPunct="0"/>
            <a:r>
              <a:rPr lang="en-US" b="1"/>
              <a:t>Text</a:t>
            </a:r>
          </a:p>
        </p:txBody>
      </p:sp>
      <p:sp>
        <p:nvSpPr>
          <p:cNvPr id="5" name="Oval 15">
            <a:extLst>
              <a:ext uri="{FF2B5EF4-FFF2-40B4-BE49-F238E27FC236}">
                <a16:creationId xmlns:a16="http://schemas.microsoft.com/office/drawing/2014/main" id="{B443DAEB-D5C6-4233-869D-6F00119BDF16}"/>
              </a:ext>
            </a:extLst>
          </p:cNvPr>
          <p:cNvSpPr>
            <a:spLocks noChangeArrowheads="1"/>
          </p:cNvSpPr>
          <p:nvPr/>
        </p:nvSpPr>
        <p:spPr bwMode="auto">
          <a:xfrm rot="5400000">
            <a:off x="4927437" y="1436205"/>
            <a:ext cx="2340000" cy="2340000"/>
          </a:xfrm>
          <a:prstGeom prst="ellipse">
            <a:avLst/>
          </a:prstGeom>
          <a:pattFill prst="wdUpDiag">
            <a:fgClr>
              <a:schemeClr val="tx2">
                <a:lumMod val="20000"/>
                <a:lumOff val="80000"/>
              </a:schemeClr>
            </a:fgClr>
            <a:bgClr>
              <a:schemeClr val="bg1"/>
            </a:bgClr>
          </a:pattFill>
          <a:ln w="6350">
            <a:noFill/>
            <a:round/>
            <a:headEnd/>
            <a:tailEnd/>
          </a:ln>
          <a:effectLst/>
        </p:spPr>
        <p:txBody>
          <a:bodyPr rot="10800000" vert="eaVert" lIns="45720" rIns="45720" anchor="ctr" anchorCtr="1"/>
          <a:lstStyle/>
          <a:p>
            <a:pPr eaLnBrk="0" hangingPunct="0"/>
            <a:r>
              <a:rPr lang="en-US" b="1"/>
              <a:t>Text</a:t>
            </a:r>
          </a:p>
        </p:txBody>
      </p:sp>
      <p:sp>
        <p:nvSpPr>
          <p:cNvPr id="6" name="Oval 17">
            <a:extLst>
              <a:ext uri="{FF2B5EF4-FFF2-40B4-BE49-F238E27FC236}">
                <a16:creationId xmlns:a16="http://schemas.microsoft.com/office/drawing/2014/main" id="{19748837-81B1-4EC8-BD56-4A39B66BB30B}"/>
              </a:ext>
            </a:extLst>
          </p:cNvPr>
          <p:cNvSpPr>
            <a:spLocks noChangeArrowheads="1"/>
          </p:cNvSpPr>
          <p:nvPr/>
        </p:nvSpPr>
        <p:spPr bwMode="auto">
          <a:xfrm>
            <a:off x="3754689" y="2579205"/>
            <a:ext cx="2340000" cy="2340000"/>
          </a:xfrm>
          <a:prstGeom prst="ellipse">
            <a:avLst/>
          </a:prstGeom>
          <a:solidFill>
            <a:schemeClr val="accent1"/>
          </a:solidFill>
          <a:ln w="6350">
            <a:noFill/>
            <a:round/>
            <a:headEnd/>
            <a:tailEnd/>
          </a:ln>
          <a:effectLst/>
        </p:spPr>
        <p:txBody>
          <a:bodyPr lIns="45720" rIns="45720" anchor="ctr" anchorCtr="1"/>
          <a:lstStyle/>
          <a:p>
            <a:pPr eaLnBrk="0" hangingPunct="0"/>
            <a:r>
              <a:rPr lang="en-US" b="1" dirty="0">
                <a:solidFill>
                  <a:schemeClr val="bg1"/>
                </a:solidFill>
              </a:rPr>
              <a:t>Text</a:t>
            </a:r>
          </a:p>
        </p:txBody>
      </p:sp>
      <p:sp>
        <p:nvSpPr>
          <p:cNvPr id="7" name="Oval 18">
            <a:extLst>
              <a:ext uri="{FF2B5EF4-FFF2-40B4-BE49-F238E27FC236}">
                <a16:creationId xmlns:a16="http://schemas.microsoft.com/office/drawing/2014/main" id="{85507E89-352C-40F1-9BF4-8F114B3A4DBA}"/>
              </a:ext>
            </a:extLst>
          </p:cNvPr>
          <p:cNvSpPr>
            <a:spLocks noChangeArrowheads="1"/>
          </p:cNvSpPr>
          <p:nvPr/>
        </p:nvSpPr>
        <p:spPr bwMode="auto">
          <a:xfrm>
            <a:off x="6084750" y="2579205"/>
            <a:ext cx="2340000" cy="2340000"/>
          </a:xfrm>
          <a:prstGeom prst="ellipse">
            <a:avLst/>
          </a:prstGeom>
          <a:solidFill>
            <a:schemeClr val="accent1"/>
          </a:solidFill>
          <a:ln w="6350">
            <a:noFill/>
            <a:round/>
            <a:headEnd/>
            <a:tailEnd/>
          </a:ln>
          <a:effectLst/>
        </p:spPr>
        <p:txBody>
          <a:bodyPr lIns="45720" rIns="45720" anchor="ctr" anchorCtr="1"/>
          <a:lstStyle/>
          <a:p>
            <a:pPr eaLnBrk="0" hangingPunct="0"/>
            <a:r>
              <a:rPr lang="en-US" b="1">
                <a:solidFill>
                  <a:schemeClr val="bg1"/>
                </a:solidFill>
              </a:rPr>
              <a:t>Text</a:t>
            </a:r>
          </a:p>
        </p:txBody>
      </p:sp>
    </p:spTree>
    <p:extLst>
      <p:ext uri="{BB962C8B-B14F-4D97-AF65-F5344CB8AC3E}">
        <p14:creationId xmlns:p14="http://schemas.microsoft.com/office/powerpoint/2010/main" val="62449630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5</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54FA52E5-6583-45C8-9DD5-57C4343D707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Freeform 25">
            <a:extLst>
              <a:ext uri="{FF2B5EF4-FFF2-40B4-BE49-F238E27FC236}">
                <a16:creationId xmlns:a16="http://schemas.microsoft.com/office/drawing/2014/main" id="{26365DA0-DC31-4AF9-B067-393F6A1DEEC4}"/>
              </a:ext>
            </a:extLst>
          </p:cNvPr>
          <p:cNvSpPr>
            <a:spLocks/>
          </p:cNvSpPr>
          <p:nvPr/>
        </p:nvSpPr>
        <p:spPr bwMode="auto">
          <a:xfrm>
            <a:off x="5011696" y="3868738"/>
            <a:ext cx="2189162" cy="2189162"/>
          </a:xfrm>
          <a:custGeom>
            <a:avLst/>
            <a:gdLst/>
            <a:ahLst/>
            <a:cxnLst>
              <a:cxn ang="0">
                <a:pos x="692" y="54"/>
              </a:cxn>
              <a:cxn ang="0">
                <a:pos x="697" y="105"/>
              </a:cxn>
              <a:cxn ang="0">
                <a:pos x="707" y="156"/>
              </a:cxn>
              <a:cxn ang="0">
                <a:pos x="720" y="205"/>
              </a:cxn>
              <a:cxn ang="0">
                <a:pos x="743" y="268"/>
              </a:cxn>
              <a:cxn ang="0">
                <a:pos x="772" y="329"/>
              </a:cxn>
              <a:cxn ang="0">
                <a:pos x="817" y="400"/>
              </a:cxn>
              <a:cxn ang="0">
                <a:pos x="868" y="463"/>
              </a:cxn>
              <a:cxn ang="0">
                <a:pos x="927" y="521"/>
              </a:cxn>
              <a:cxn ang="0">
                <a:pos x="980" y="563"/>
              </a:cxn>
              <a:cxn ang="0">
                <a:pos x="1035" y="598"/>
              </a:cxn>
              <a:cxn ang="0">
                <a:pos x="1080" y="622"/>
              </a:cxn>
              <a:cxn ang="0">
                <a:pos x="1174" y="659"/>
              </a:cxn>
              <a:cxn ang="0">
                <a:pos x="1256" y="679"/>
              </a:cxn>
              <a:cxn ang="0">
                <a:pos x="1308" y="685"/>
              </a:cxn>
              <a:cxn ang="0">
                <a:pos x="1377" y="725"/>
              </a:cxn>
              <a:cxn ang="0">
                <a:pos x="1373" y="777"/>
              </a:cxn>
              <a:cxn ang="0">
                <a:pos x="1365" y="828"/>
              </a:cxn>
              <a:cxn ang="0">
                <a:pos x="1353" y="878"/>
              </a:cxn>
              <a:cxn ang="0">
                <a:pos x="1331" y="943"/>
              </a:cxn>
              <a:cxn ang="0">
                <a:pos x="1303" y="1003"/>
              </a:cxn>
              <a:cxn ang="0">
                <a:pos x="1261" y="1075"/>
              </a:cxn>
              <a:cxn ang="0">
                <a:pos x="1221" y="1129"/>
              </a:cxn>
              <a:cxn ang="0">
                <a:pos x="1152" y="1200"/>
              </a:cxn>
              <a:cxn ang="0">
                <a:pos x="1101" y="1242"/>
              </a:cxn>
              <a:cxn ang="0">
                <a:pos x="1047" y="1279"/>
              </a:cxn>
              <a:cxn ang="0">
                <a:pos x="1003" y="1304"/>
              </a:cxn>
              <a:cxn ang="0">
                <a:pos x="926" y="1337"/>
              </a:cxn>
              <a:cxn ang="0">
                <a:pos x="828" y="1366"/>
              </a:cxn>
              <a:cxn ang="0">
                <a:pos x="777" y="1374"/>
              </a:cxn>
              <a:cxn ang="0">
                <a:pos x="689" y="1379"/>
              </a:cxn>
              <a:cxn ang="0">
                <a:pos x="619" y="1375"/>
              </a:cxn>
              <a:cxn ang="0">
                <a:pos x="566" y="1368"/>
              </a:cxn>
              <a:cxn ang="0">
                <a:pos x="517" y="1357"/>
              </a:cxn>
              <a:cxn ang="0">
                <a:pos x="452" y="1337"/>
              </a:cxn>
              <a:cxn ang="0">
                <a:pos x="390" y="1312"/>
              </a:cxn>
              <a:cxn ang="0">
                <a:pos x="332" y="1279"/>
              </a:cxn>
              <a:cxn ang="0">
                <a:pos x="277" y="1242"/>
              </a:cxn>
              <a:cxn ang="0">
                <a:pos x="202" y="1177"/>
              </a:cxn>
              <a:cxn ang="0">
                <a:pos x="157" y="1129"/>
              </a:cxn>
              <a:cxn ang="0">
                <a:pos x="118" y="1075"/>
              </a:cxn>
              <a:cxn ang="0">
                <a:pos x="83" y="1018"/>
              </a:cxn>
              <a:cxn ang="0">
                <a:pos x="53" y="957"/>
              </a:cxn>
              <a:cxn ang="0">
                <a:pos x="21" y="862"/>
              </a:cxn>
              <a:cxn ang="0">
                <a:pos x="8" y="795"/>
              </a:cxn>
              <a:cxn ang="0">
                <a:pos x="1" y="725"/>
              </a:cxn>
              <a:cxn ang="0">
                <a:pos x="53" y="688"/>
              </a:cxn>
              <a:cxn ang="0">
                <a:pos x="105" y="681"/>
              </a:cxn>
              <a:cxn ang="0">
                <a:pos x="156" y="672"/>
              </a:cxn>
              <a:cxn ang="0">
                <a:pos x="204" y="659"/>
              </a:cxn>
              <a:cxn ang="0">
                <a:pos x="267" y="636"/>
              </a:cxn>
              <a:cxn ang="0">
                <a:pos x="328" y="606"/>
              </a:cxn>
              <a:cxn ang="0">
                <a:pos x="399" y="563"/>
              </a:cxn>
              <a:cxn ang="0">
                <a:pos x="463" y="510"/>
              </a:cxn>
              <a:cxn ang="0">
                <a:pos x="521" y="451"/>
              </a:cxn>
              <a:cxn ang="0">
                <a:pos x="562" y="400"/>
              </a:cxn>
              <a:cxn ang="0">
                <a:pos x="597" y="343"/>
              </a:cxn>
              <a:cxn ang="0">
                <a:pos x="622" y="299"/>
              </a:cxn>
              <a:cxn ang="0">
                <a:pos x="658" y="205"/>
              </a:cxn>
              <a:cxn ang="0">
                <a:pos x="678" y="123"/>
              </a:cxn>
              <a:cxn ang="0">
                <a:pos x="685" y="70"/>
              </a:cxn>
            </a:cxnLst>
            <a:rect l="0" t="0" r="r" b="b"/>
            <a:pathLst>
              <a:path w="1379" h="1379">
                <a:moveTo>
                  <a:pt x="689" y="0"/>
                </a:moveTo>
                <a:lnTo>
                  <a:pt x="690" y="35"/>
                </a:lnTo>
                <a:lnTo>
                  <a:pt x="692" y="54"/>
                </a:lnTo>
                <a:lnTo>
                  <a:pt x="693" y="70"/>
                </a:lnTo>
                <a:lnTo>
                  <a:pt x="694" y="88"/>
                </a:lnTo>
                <a:lnTo>
                  <a:pt x="697" y="105"/>
                </a:lnTo>
                <a:lnTo>
                  <a:pt x="700" y="123"/>
                </a:lnTo>
                <a:lnTo>
                  <a:pt x="704" y="139"/>
                </a:lnTo>
                <a:lnTo>
                  <a:pt x="707" y="156"/>
                </a:lnTo>
                <a:lnTo>
                  <a:pt x="711" y="172"/>
                </a:lnTo>
                <a:lnTo>
                  <a:pt x="716" y="189"/>
                </a:lnTo>
                <a:lnTo>
                  <a:pt x="720" y="205"/>
                </a:lnTo>
                <a:lnTo>
                  <a:pt x="731" y="237"/>
                </a:lnTo>
                <a:lnTo>
                  <a:pt x="737" y="253"/>
                </a:lnTo>
                <a:lnTo>
                  <a:pt x="743" y="268"/>
                </a:lnTo>
                <a:lnTo>
                  <a:pt x="758" y="299"/>
                </a:lnTo>
                <a:lnTo>
                  <a:pt x="764" y="314"/>
                </a:lnTo>
                <a:lnTo>
                  <a:pt x="772" y="329"/>
                </a:lnTo>
                <a:lnTo>
                  <a:pt x="789" y="358"/>
                </a:lnTo>
                <a:lnTo>
                  <a:pt x="808" y="385"/>
                </a:lnTo>
                <a:lnTo>
                  <a:pt x="817" y="400"/>
                </a:lnTo>
                <a:lnTo>
                  <a:pt x="826" y="412"/>
                </a:lnTo>
                <a:lnTo>
                  <a:pt x="847" y="439"/>
                </a:lnTo>
                <a:lnTo>
                  <a:pt x="868" y="463"/>
                </a:lnTo>
                <a:lnTo>
                  <a:pt x="891" y="487"/>
                </a:lnTo>
                <a:lnTo>
                  <a:pt x="915" y="510"/>
                </a:lnTo>
                <a:lnTo>
                  <a:pt x="927" y="521"/>
                </a:lnTo>
                <a:lnTo>
                  <a:pt x="939" y="532"/>
                </a:lnTo>
                <a:lnTo>
                  <a:pt x="966" y="552"/>
                </a:lnTo>
                <a:lnTo>
                  <a:pt x="980" y="563"/>
                </a:lnTo>
                <a:lnTo>
                  <a:pt x="993" y="572"/>
                </a:lnTo>
                <a:lnTo>
                  <a:pt x="1022" y="590"/>
                </a:lnTo>
                <a:lnTo>
                  <a:pt x="1035" y="598"/>
                </a:lnTo>
                <a:lnTo>
                  <a:pt x="1050" y="606"/>
                </a:lnTo>
                <a:lnTo>
                  <a:pt x="1065" y="614"/>
                </a:lnTo>
                <a:lnTo>
                  <a:pt x="1080" y="622"/>
                </a:lnTo>
                <a:lnTo>
                  <a:pt x="1111" y="636"/>
                </a:lnTo>
                <a:lnTo>
                  <a:pt x="1141" y="648"/>
                </a:lnTo>
                <a:lnTo>
                  <a:pt x="1174" y="659"/>
                </a:lnTo>
                <a:lnTo>
                  <a:pt x="1206" y="668"/>
                </a:lnTo>
                <a:lnTo>
                  <a:pt x="1240" y="676"/>
                </a:lnTo>
                <a:lnTo>
                  <a:pt x="1256" y="679"/>
                </a:lnTo>
                <a:lnTo>
                  <a:pt x="1273" y="681"/>
                </a:lnTo>
                <a:lnTo>
                  <a:pt x="1291" y="684"/>
                </a:lnTo>
                <a:lnTo>
                  <a:pt x="1308" y="685"/>
                </a:lnTo>
                <a:lnTo>
                  <a:pt x="1343" y="688"/>
                </a:lnTo>
                <a:lnTo>
                  <a:pt x="1379" y="690"/>
                </a:lnTo>
                <a:lnTo>
                  <a:pt x="1377" y="725"/>
                </a:lnTo>
                <a:lnTo>
                  <a:pt x="1377" y="743"/>
                </a:lnTo>
                <a:lnTo>
                  <a:pt x="1374" y="760"/>
                </a:lnTo>
                <a:lnTo>
                  <a:pt x="1373" y="777"/>
                </a:lnTo>
                <a:lnTo>
                  <a:pt x="1370" y="795"/>
                </a:lnTo>
                <a:lnTo>
                  <a:pt x="1368" y="812"/>
                </a:lnTo>
                <a:lnTo>
                  <a:pt x="1365" y="828"/>
                </a:lnTo>
                <a:lnTo>
                  <a:pt x="1361" y="846"/>
                </a:lnTo>
                <a:lnTo>
                  <a:pt x="1357" y="862"/>
                </a:lnTo>
                <a:lnTo>
                  <a:pt x="1353" y="878"/>
                </a:lnTo>
                <a:lnTo>
                  <a:pt x="1348" y="894"/>
                </a:lnTo>
                <a:lnTo>
                  <a:pt x="1337" y="927"/>
                </a:lnTo>
                <a:lnTo>
                  <a:pt x="1331" y="943"/>
                </a:lnTo>
                <a:lnTo>
                  <a:pt x="1325" y="957"/>
                </a:lnTo>
                <a:lnTo>
                  <a:pt x="1311" y="988"/>
                </a:lnTo>
                <a:lnTo>
                  <a:pt x="1303" y="1003"/>
                </a:lnTo>
                <a:lnTo>
                  <a:pt x="1295" y="1018"/>
                </a:lnTo>
                <a:lnTo>
                  <a:pt x="1279" y="1048"/>
                </a:lnTo>
                <a:lnTo>
                  <a:pt x="1261" y="1075"/>
                </a:lnTo>
                <a:lnTo>
                  <a:pt x="1252" y="1089"/>
                </a:lnTo>
                <a:lnTo>
                  <a:pt x="1241" y="1102"/>
                </a:lnTo>
                <a:lnTo>
                  <a:pt x="1221" y="1129"/>
                </a:lnTo>
                <a:lnTo>
                  <a:pt x="1199" y="1153"/>
                </a:lnTo>
                <a:lnTo>
                  <a:pt x="1176" y="1177"/>
                </a:lnTo>
                <a:lnTo>
                  <a:pt x="1152" y="1200"/>
                </a:lnTo>
                <a:lnTo>
                  <a:pt x="1140" y="1211"/>
                </a:lnTo>
                <a:lnTo>
                  <a:pt x="1128" y="1221"/>
                </a:lnTo>
                <a:lnTo>
                  <a:pt x="1101" y="1242"/>
                </a:lnTo>
                <a:lnTo>
                  <a:pt x="1089" y="1252"/>
                </a:lnTo>
                <a:lnTo>
                  <a:pt x="1074" y="1262"/>
                </a:lnTo>
                <a:lnTo>
                  <a:pt x="1047" y="1279"/>
                </a:lnTo>
                <a:lnTo>
                  <a:pt x="1032" y="1287"/>
                </a:lnTo>
                <a:lnTo>
                  <a:pt x="1018" y="1296"/>
                </a:lnTo>
                <a:lnTo>
                  <a:pt x="1003" y="1304"/>
                </a:lnTo>
                <a:lnTo>
                  <a:pt x="988" y="1312"/>
                </a:lnTo>
                <a:lnTo>
                  <a:pt x="957" y="1325"/>
                </a:lnTo>
                <a:lnTo>
                  <a:pt x="926" y="1337"/>
                </a:lnTo>
                <a:lnTo>
                  <a:pt x="894" y="1348"/>
                </a:lnTo>
                <a:lnTo>
                  <a:pt x="861" y="1357"/>
                </a:lnTo>
                <a:lnTo>
                  <a:pt x="828" y="1366"/>
                </a:lnTo>
                <a:lnTo>
                  <a:pt x="812" y="1368"/>
                </a:lnTo>
                <a:lnTo>
                  <a:pt x="794" y="1371"/>
                </a:lnTo>
                <a:lnTo>
                  <a:pt x="777" y="1374"/>
                </a:lnTo>
                <a:lnTo>
                  <a:pt x="759" y="1375"/>
                </a:lnTo>
                <a:lnTo>
                  <a:pt x="724" y="1378"/>
                </a:lnTo>
                <a:lnTo>
                  <a:pt x="689" y="1379"/>
                </a:lnTo>
                <a:lnTo>
                  <a:pt x="654" y="1378"/>
                </a:lnTo>
                <a:lnTo>
                  <a:pt x="636" y="1378"/>
                </a:lnTo>
                <a:lnTo>
                  <a:pt x="619" y="1375"/>
                </a:lnTo>
                <a:lnTo>
                  <a:pt x="601" y="1374"/>
                </a:lnTo>
                <a:lnTo>
                  <a:pt x="584" y="1371"/>
                </a:lnTo>
                <a:lnTo>
                  <a:pt x="566" y="1368"/>
                </a:lnTo>
                <a:lnTo>
                  <a:pt x="550" y="1366"/>
                </a:lnTo>
                <a:lnTo>
                  <a:pt x="533" y="1361"/>
                </a:lnTo>
                <a:lnTo>
                  <a:pt x="517" y="1357"/>
                </a:lnTo>
                <a:lnTo>
                  <a:pt x="500" y="1353"/>
                </a:lnTo>
                <a:lnTo>
                  <a:pt x="484" y="1348"/>
                </a:lnTo>
                <a:lnTo>
                  <a:pt x="452" y="1337"/>
                </a:lnTo>
                <a:lnTo>
                  <a:pt x="436" y="1332"/>
                </a:lnTo>
                <a:lnTo>
                  <a:pt x="421" y="1325"/>
                </a:lnTo>
                <a:lnTo>
                  <a:pt x="390" y="1312"/>
                </a:lnTo>
                <a:lnTo>
                  <a:pt x="375" y="1304"/>
                </a:lnTo>
                <a:lnTo>
                  <a:pt x="360" y="1296"/>
                </a:lnTo>
                <a:lnTo>
                  <a:pt x="332" y="1279"/>
                </a:lnTo>
                <a:lnTo>
                  <a:pt x="304" y="1262"/>
                </a:lnTo>
                <a:lnTo>
                  <a:pt x="290" y="1252"/>
                </a:lnTo>
                <a:lnTo>
                  <a:pt x="277" y="1242"/>
                </a:lnTo>
                <a:lnTo>
                  <a:pt x="250" y="1221"/>
                </a:lnTo>
                <a:lnTo>
                  <a:pt x="226" y="1200"/>
                </a:lnTo>
                <a:lnTo>
                  <a:pt x="202" y="1177"/>
                </a:lnTo>
                <a:lnTo>
                  <a:pt x="179" y="1153"/>
                </a:lnTo>
                <a:lnTo>
                  <a:pt x="168" y="1141"/>
                </a:lnTo>
                <a:lnTo>
                  <a:pt x="157" y="1129"/>
                </a:lnTo>
                <a:lnTo>
                  <a:pt x="137" y="1102"/>
                </a:lnTo>
                <a:lnTo>
                  <a:pt x="127" y="1089"/>
                </a:lnTo>
                <a:lnTo>
                  <a:pt x="118" y="1075"/>
                </a:lnTo>
                <a:lnTo>
                  <a:pt x="99" y="1048"/>
                </a:lnTo>
                <a:lnTo>
                  <a:pt x="91" y="1033"/>
                </a:lnTo>
                <a:lnTo>
                  <a:pt x="83" y="1018"/>
                </a:lnTo>
                <a:lnTo>
                  <a:pt x="75" y="1003"/>
                </a:lnTo>
                <a:lnTo>
                  <a:pt x="68" y="988"/>
                </a:lnTo>
                <a:lnTo>
                  <a:pt x="53" y="957"/>
                </a:lnTo>
                <a:lnTo>
                  <a:pt x="41" y="927"/>
                </a:lnTo>
                <a:lnTo>
                  <a:pt x="30" y="894"/>
                </a:lnTo>
                <a:lnTo>
                  <a:pt x="21" y="862"/>
                </a:lnTo>
                <a:lnTo>
                  <a:pt x="14" y="828"/>
                </a:lnTo>
                <a:lnTo>
                  <a:pt x="10" y="812"/>
                </a:lnTo>
                <a:lnTo>
                  <a:pt x="8" y="795"/>
                </a:lnTo>
                <a:lnTo>
                  <a:pt x="5" y="777"/>
                </a:lnTo>
                <a:lnTo>
                  <a:pt x="4" y="760"/>
                </a:lnTo>
                <a:lnTo>
                  <a:pt x="1" y="725"/>
                </a:lnTo>
                <a:lnTo>
                  <a:pt x="0" y="690"/>
                </a:lnTo>
                <a:lnTo>
                  <a:pt x="35" y="688"/>
                </a:lnTo>
                <a:lnTo>
                  <a:pt x="53" y="688"/>
                </a:lnTo>
                <a:lnTo>
                  <a:pt x="70" y="685"/>
                </a:lnTo>
                <a:lnTo>
                  <a:pt x="87" y="684"/>
                </a:lnTo>
                <a:lnTo>
                  <a:pt x="105" y="681"/>
                </a:lnTo>
                <a:lnTo>
                  <a:pt x="122" y="679"/>
                </a:lnTo>
                <a:lnTo>
                  <a:pt x="138" y="676"/>
                </a:lnTo>
                <a:lnTo>
                  <a:pt x="156" y="672"/>
                </a:lnTo>
                <a:lnTo>
                  <a:pt x="172" y="668"/>
                </a:lnTo>
                <a:lnTo>
                  <a:pt x="188" y="664"/>
                </a:lnTo>
                <a:lnTo>
                  <a:pt x="204" y="659"/>
                </a:lnTo>
                <a:lnTo>
                  <a:pt x="237" y="648"/>
                </a:lnTo>
                <a:lnTo>
                  <a:pt x="253" y="642"/>
                </a:lnTo>
                <a:lnTo>
                  <a:pt x="267" y="636"/>
                </a:lnTo>
                <a:lnTo>
                  <a:pt x="298" y="622"/>
                </a:lnTo>
                <a:lnTo>
                  <a:pt x="313" y="614"/>
                </a:lnTo>
                <a:lnTo>
                  <a:pt x="328" y="606"/>
                </a:lnTo>
                <a:lnTo>
                  <a:pt x="358" y="590"/>
                </a:lnTo>
                <a:lnTo>
                  <a:pt x="385" y="572"/>
                </a:lnTo>
                <a:lnTo>
                  <a:pt x="399" y="563"/>
                </a:lnTo>
                <a:lnTo>
                  <a:pt x="412" y="552"/>
                </a:lnTo>
                <a:lnTo>
                  <a:pt x="439" y="532"/>
                </a:lnTo>
                <a:lnTo>
                  <a:pt x="463" y="510"/>
                </a:lnTo>
                <a:lnTo>
                  <a:pt x="487" y="487"/>
                </a:lnTo>
                <a:lnTo>
                  <a:pt x="510" y="463"/>
                </a:lnTo>
                <a:lnTo>
                  <a:pt x="521" y="451"/>
                </a:lnTo>
                <a:lnTo>
                  <a:pt x="531" y="439"/>
                </a:lnTo>
                <a:lnTo>
                  <a:pt x="552" y="412"/>
                </a:lnTo>
                <a:lnTo>
                  <a:pt x="562" y="400"/>
                </a:lnTo>
                <a:lnTo>
                  <a:pt x="572" y="385"/>
                </a:lnTo>
                <a:lnTo>
                  <a:pt x="589" y="358"/>
                </a:lnTo>
                <a:lnTo>
                  <a:pt x="597" y="343"/>
                </a:lnTo>
                <a:lnTo>
                  <a:pt x="606" y="329"/>
                </a:lnTo>
                <a:lnTo>
                  <a:pt x="614" y="314"/>
                </a:lnTo>
                <a:lnTo>
                  <a:pt x="622" y="299"/>
                </a:lnTo>
                <a:lnTo>
                  <a:pt x="635" y="268"/>
                </a:lnTo>
                <a:lnTo>
                  <a:pt x="647" y="237"/>
                </a:lnTo>
                <a:lnTo>
                  <a:pt x="658" y="205"/>
                </a:lnTo>
                <a:lnTo>
                  <a:pt x="667" y="172"/>
                </a:lnTo>
                <a:lnTo>
                  <a:pt x="676" y="139"/>
                </a:lnTo>
                <a:lnTo>
                  <a:pt x="678" y="123"/>
                </a:lnTo>
                <a:lnTo>
                  <a:pt x="681" y="105"/>
                </a:lnTo>
                <a:lnTo>
                  <a:pt x="684" y="88"/>
                </a:lnTo>
                <a:lnTo>
                  <a:pt x="685" y="70"/>
                </a:lnTo>
                <a:lnTo>
                  <a:pt x="688" y="35"/>
                </a:lnTo>
                <a:lnTo>
                  <a:pt x="689" y="0"/>
                </a:lnTo>
                <a:close/>
              </a:path>
            </a:pathLst>
          </a:custGeom>
          <a:solidFill>
            <a:schemeClr val="accent1"/>
          </a:solidFill>
          <a:ln w="9525">
            <a:noFill/>
            <a:round/>
            <a:headEnd/>
            <a:tailEnd/>
          </a:ln>
        </p:spPr>
        <p:txBody>
          <a:bodyPr/>
          <a:lstStyle/>
          <a:p>
            <a:endParaRPr lang="en-US"/>
          </a:p>
        </p:txBody>
      </p:sp>
      <p:sp>
        <p:nvSpPr>
          <p:cNvPr id="5" name="Freeform 26">
            <a:extLst>
              <a:ext uri="{FF2B5EF4-FFF2-40B4-BE49-F238E27FC236}">
                <a16:creationId xmlns:a16="http://schemas.microsoft.com/office/drawing/2014/main" id="{9A363737-9463-460C-B429-6FDA4F0C232E}"/>
              </a:ext>
            </a:extLst>
          </p:cNvPr>
          <p:cNvSpPr>
            <a:spLocks/>
          </p:cNvSpPr>
          <p:nvPr/>
        </p:nvSpPr>
        <p:spPr bwMode="auto">
          <a:xfrm>
            <a:off x="5011696" y="1679575"/>
            <a:ext cx="2189162" cy="2189163"/>
          </a:xfrm>
          <a:custGeom>
            <a:avLst/>
            <a:gdLst/>
            <a:ahLst/>
            <a:cxnLst>
              <a:cxn ang="0">
                <a:pos x="2" y="637"/>
              </a:cxn>
              <a:cxn ang="0">
                <a:pos x="8" y="584"/>
              </a:cxn>
              <a:cxn ang="0">
                <a:pos x="17" y="533"/>
              </a:cxn>
              <a:cxn ang="0">
                <a:pos x="30" y="485"/>
              </a:cxn>
              <a:cxn ang="0">
                <a:pos x="53" y="422"/>
              </a:cxn>
              <a:cxn ang="0">
                <a:pos x="83" y="361"/>
              </a:cxn>
              <a:cxn ang="0">
                <a:pos x="127" y="291"/>
              </a:cxn>
              <a:cxn ang="0">
                <a:pos x="179" y="226"/>
              </a:cxn>
              <a:cxn ang="0">
                <a:pos x="238" y="168"/>
              </a:cxn>
              <a:cxn ang="0">
                <a:pos x="290" y="128"/>
              </a:cxn>
              <a:cxn ang="0">
                <a:pos x="346" y="92"/>
              </a:cxn>
              <a:cxn ang="0">
                <a:pos x="390" y="69"/>
              </a:cxn>
              <a:cxn ang="0">
                <a:pos x="484" y="31"/>
              </a:cxn>
              <a:cxn ang="0">
                <a:pos x="566" y="11"/>
              </a:cxn>
              <a:cxn ang="0">
                <a:pos x="619" y="4"/>
              </a:cxn>
              <a:cxn ang="0">
                <a:pos x="724" y="1"/>
              </a:cxn>
              <a:cxn ang="0">
                <a:pos x="777" y="5"/>
              </a:cxn>
              <a:cxn ang="0">
                <a:pos x="828" y="15"/>
              </a:cxn>
              <a:cxn ang="0">
                <a:pos x="878" y="27"/>
              </a:cxn>
              <a:cxn ang="0">
                <a:pos x="942" y="48"/>
              </a:cxn>
              <a:cxn ang="0">
                <a:pos x="1003" y="75"/>
              </a:cxn>
              <a:cxn ang="0">
                <a:pos x="1074" y="119"/>
              </a:cxn>
              <a:cxn ang="0">
                <a:pos x="1128" y="158"/>
              </a:cxn>
              <a:cxn ang="0">
                <a:pos x="1199" y="226"/>
              </a:cxn>
              <a:cxn ang="0">
                <a:pos x="1241" y="277"/>
              </a:cxn>
              <a:cxn ang="0">
                <a:pos x="1279" y="333"/>
              </a:cxn>
              <a:cxn ang="0">
                <a:pos x="1303" y="376"/>
              </a:cxn>
              <a:cxn ang="0">
                <a:pos x="1337" y="452"/>
              </a:cxn>
              <a:cxn ang="0">
                <a:pos x="1365" y="551"/>
              </a:cxn>
              <a:cxn ang="0">
                <a:pos x="1373" y="602"/>
              </a:cxn>
              <a:cxn ang="0">
                <a:pos x="1379" y="690"/>
              </a:cxn>
              <a:cxn ang="0">
                <a:pos x="1308" y="694"/>
              </a:cxn>
              <a:cxn ang="0">
                <a:pos x="1256" y="700"/>
              </a:cxn>
              <a:cxn ang="0">
                <a:pos x="1206" y="711"/>
              </a:cxn>
              <a:cxn ang="0">
                <a:pos x="1141" y="731"/>
              </a:cxn>
              <a:cxn ang="0">
                <a:pos x="1080" y="758"/>
              </a:cxn>
              <a:cxn ang="0">
                <a:pos x="1022" y="789"/>
              </a:cxn>
              <a:cxn ang="0">
                <a:pos x="966" y="827"/>
              </a:cxn>
              <a:cxn ang="0">
                <a:pos x="891" y="892"/>
              </a:cxn>
              <a:cxn ang="0">
                <a:pos x="847" y="940"/>
              </a:cxn>
              <a:cxn ang="0">
                <a:pos x="808" y="994"/>
              </a:cxn>
              <a:cxn ang="0">
                <a:pos x="772" y="1050"/>
              </a:cxn>
              <a:cxn ang="0">
                <a:pos x="743" y="1111"/>
              </a:cxn>
              <a:cxn ang="0">
                <a:pos x="711" y="1207"/>
              </a:cxn>
              <a:cxn ang="0">
                <a:pos x="697" y="1274"/>
              </a:cxn>
              <a:cxn ang="0">
                <a:pos x="690" y="1344"/>
              </a:cxn>
              <a:cxn ang="0">
                <a:pos x="688" y="1326"/>
              </a:cxn>
              <a:cxn ang="0">
                <a:pos x="681" y="1274"/>
              </a:cxn>
              <a:cxn ang="0">
                <a:pos x="671" y="1223"/>
              </a:cxn>
              <a:cxn ang="0">
                <a:pos x="658" y="1174"/>
              </a:cxn>
              <a:cxn ang="0">
                <a:pos x="635" y="1111"/>
              </a:cxn>
              <a:cxn ang="0">
                <a:pos x="606" y="1050"/>
              </a:cxn>
              <a:cxn ang="0">
                <a:pos x="562" y="980"/>
              </a:cxn>
              <a:cxn ang="0">
                <a:pos x="510" y="916"/>
              </a:cxn>
              <a:cxn ang="0">
                <a:pos x="451" y="858"/>
              </a:cxn>
              <a:cxn ang="0">
                <a:pos x="399" y="817"/>
              </a:cxn>
              <a:cxn ang="0">
                <a:pos x="343" y="781"/>
              </a:cxn>
              <a:cxn ang="0">
                <a:pos x="298" y="758"/>
              </a:cxn>
              <a:cxn ang="0">
                <a:pos x="204" y="720"/>
              </a:cxn>
              <a:cxn ang="0">
                <a:pos x="122" y="700"/>
              </a:cxn>
              <a:cxn ang="0">
                <a:pos x="70" y="694"/>
              </a:cxn>
            </a:cxnLst>
            <a:rect l="0" t="0" r="r" b="b"/>
            <a:pathLst>
              <a:path w="1379" h="1379">
                <a:moveTo>
                  <a:pt x="0" y="690"/>
                </a:moveTo>
                <a:lnTo>
                  <a:pt x="1" y="654"/>
                </a:lnTo>
                <a:lnTo>
                  <a:pt x="2" y="637"/>
                </a:lnTo>
                <a:lnTo>
                  <a:pt x="4" y="619"/>
                </a:lnTo>
                <a:lnTo>
                  <a:pt x="5" y="602"/>
                </a:lnTo>
                <a:lnTo>
                  <a:pt x="8" y="584"/>
                </a:lnTo>
                <a:lnTo>
                  <a:pt x="10" y="567"/>
                </a:lnTo>
                <a:lnTo>
                  <a:pt x="14" y="551"/>
                </a:lnTo>
                <a:lnTo>
                  <a:pt x="17" y="533"/>
                </a:lnTo>
                <a:lnTo>
                  <a:pt x="21" y="517"/>
                </a:lnTo>
                <a:lnTo>
                  <a:pt x="26" y="501"/>
                </a:lnTo>
                <a:lnTo>
                  <a:pt x="30" y="485"/>
                </a:lnTo>
                <a:lnTo>
                  <a:pt x="41" y="452"/>
                </a:lnTo>
                <a:lnTo>
                  <a:pt x="48" y="436"/>
                </a:lnTo>
                <a:lnTo>
                  <a:pt x="53" y="422"/>
                </a:lnTo>
                <a:lnTo>
                  <a:pt x="68" y="391"/>
                </a:lnTo>
                <a:lnTo>
                  <a:pt x="75" y="376"/>
                </a:lnTo>
                <a:lnTo>
                  <a:pt x="83" y="361"/>
                </a:lnTo>
                <a:lnTo>
                  <a:pt x="99" y="333"/>
                </a:lnTo>
                <a:lnTo>
                  <a:pt x="118" y="304"/>
                </a:lnTo>
                <a:lnTo>
                  <a:pt x="127" y="291"/>
                </a:lnTo>
                <a:lnTo>
                  <a:pt x="137" y="277"/>
                </a:lnTo>
                <a:lnTo>
                  <a:pt x="157" y="250"/>
                </a:lnTo>
                <a:lnTo>
                  <a:pt x="179" y="226"/>
                </a:lnTo>
                <a:lnTo>
                  <a:pt x="202" y="202"/>
                </a:lnTo>
                <a:lnTo>
                  <a:pt x="226" y="179"/>
                </a:lnTo>
                <a:lnTo>
                  <a:pt x="238" y="168"/>
                </a:lnTo>
                <a:lnTo>
                  <a:pt x="250" y="158"/>
                </a:lnTo>
                <a:lnTo>
                  <a:pt x="277" y="137"/>
                </a:lnTo>
                <a:lnTo>
                  <a:pt x="290" y="128"/>
                </a:lnTo>
                <a:lnTo>
                  <a:pt x="304" y="119"/>
                </a:lnTo>
                <a:lnTo>
                  <a:pt x="332" y="100"/>
                </a:lnTo>
                <a:lnTo>
                  <a:pt x="346" y="92"/>
                </a:lnTo>
                <a:lnTo>
                  <a:pt x="360" y="83"/>
                </a:lnTo>
                <a:lnTo>
                  <a:pt x="375" y="75"/>
                </a:lnTo>
                <a:lnTo>
                  <a:pt x="390" y="69"/>
                </a:lnTo>
                <a:lnTo>
                  <a:pt x="421" y="54"/>
                </a:lnTo>
                <a:lnTo>
                  <a:pt x="452" y="42"/>
                </a:lnTo>
                <a:lnTo>
                  <a:pt x="484" y="31"/>
                </a:lnTo>
                <a:lnTo>
                  <a:pt x="517" y="22"/>
                </a:lnTo>
                <a:lnTo>
                  <a:pt x="550" y="15"/>
                </a:lnTo>
                <a:lnTo>
                  <a:pt x="566" y="11"/>
                </a:lnTo>
                <a:lnTo>
                  <a:pt x="584" y="8"/>
                </a:lnTo>
                <a:lnTo>
                  <a:pt x="601" y="5"/>
                </a:lnTo>
                <a:lnTo>
                  <a:pt x="619" y="4"/>
                </a:lnTo>
                <a:lnTo>
                  <a:pt x="654" y="1"/>
                </a:lnTo>
                <a:lnTo>
                  <a:pt x="689" y="0"/>
                </a:lnTo>
                <a:lnTo>
                  <a:pt x="724" y="1"/>
                </a:lnTo>
                <a:lnTo>
                  <a:pt x="743" y="3"/>
                </a:lnTo>
                <a:lnTo>
                  <a:pt x="759" y="4"/>
                </a:lnTo>
                <a:lnTo>
                  <a:pt x="777" y="5"/>
                </a:lnTo>
                <a:lnTo>
                  <a:pt x="794" y="8"/>
                </a:lnTo>
                <a:lnTo>
                  <a:pt x="812" y="11"/>
                </a:lnTo>
                <a:lnTo>
                  <a:pt x="828" y="15"/>
                </a:lnTo>
                <a:lnTo>
                  <a:pt x="845" y="18"/>
                </a:lnTo>
                <a:lnTo>
                  <a:pt x="861" y="22"/>
                </a:lnTo>
                <a:lnTo>
                  <a:pt x="878" y="27"/>
                </a:lnTo>
                <a:lnTo>
                  <a:pt x="894" y="31"/>
                </a:lnTo>
                <a:lnTo>
                  <a:pt x="926" y="42"/>
                </a:lnTo>
                <a:lnTo>
                  <a:pt x="942" y="48"/>
                </a:lnTo>
                <a:lnTo>
                  <a:pt x="957" y="54"/>
                </a:lnTo>
                <a:lnTo>
                  <a:pt x="988" y="69"/>
                </a:lnTo>
                <a:lnTo>
                  <a:pt x="1003" y="75"/>
                </a:lnTo>
                <a:lnTo>
                  <a:pt x="1018" y="83"/>
                </a:lnTo>
                <a:lnTo>
                  <a:pt x="1047" y="100"/>
                </a:lnTo>
                <a:lnTo>
                  <a:pt x="1074" y="119"/>
                </a:lnTo>
                <a:lnTo>
                  <a:pt x="1089" y="128"/>
                </a:lnTo>
                <a:lnTo>
                  <a:pt x="1101" y="137"/>
                </a:lnTo>
                <a:lnTo>
                  <a:pt x="1128" y="158"/>
                </a:lnTo>
                <a:lnTo>
                  <a:pt x="1152" y="179"/>
                </a:lnTo>
                <a:lnTo>
                  <a:pt x="1176" y="202"/>
                </a:lnTo>
                <a:lnTo>
                  <a:pt x="1199" y="226"/>
                </a:lnTo>
                <a:lnTo>
                  <a:pt x="1210" y="238"/>
                </a:lnTo>
                <a:lnTo>
                  <a:pt x="1221" y="250"/>
                </a:lnTo>
                <a:lnTo>
                  <a:pt x="1241" y="277"/>
                </a:lnTo>
                <a:lnTo>
                  <a:pt x="1252" y="291"/>
                </a:lnTo>
                <a:lnTo>
                  <a:pt x="1261" y="304"/>
                </a:lnTo>
                <a:lnTo>
                  <a:pt x="1279" y="333"/>
                </a:lnTo>
                <a:lnTo>
                  <a:pt x="1287" y="346"/>
                </a:lnTo>
                <a:lnTo>
                  <a:pt x="1295" y="361"/>
                </a:lnTo>
                <a:lnTo>
                  <a:pt x="1303" y="376"/>
                </a:lnTo>
                <a:lnTo>
                  <a:pt x="1311" y="391"/>
                </a:lnTo>
                <a:lnTo>
                  <a:pt x="1325" y="422"/>
                </a:lnTo>
                <a:lnTo>
                  <a:pt x="1337" y="452"/>
                </a:lnTo>
                <a:lnTo>
                  <a:pt x="1348" y="485"/>
                </a:lnTo>
                <a:lnTo>
                  <a:pt x="1357" y="517"/>
                </a:lnTo>
                <a:lnTo>
                  <a:pt x="1365" y="551"/>
                </a:lnTo>
                <a:lnTo>
                  <a:pt x="1368" y="567"/>
                </a:lnTo>
                <a:lnTo>
                  <a:pt x="1370" y="584"/>
                </a:lnTo>
                <a:lnTo>
                  <a:pt x="1373" y="602"/>
                </a:lnTo>
                <a:lnTo>
                  <a:pt x="1374" y="619"/>
                </a:lnTo>
                <a:lnTo>
                  <a:pt x="1377" y="654"/>
                </a:lnTo>
                <a:lnTo>
                  <a:pt x="1379" y="690"/>
                </a:lnTo>
                <a:lnTo>
                  <a:pt x="1343" y="691"/>
                </a:lnTo>
                <a:lnTo>
                  <a:pt x="1326" y="692"/>
                </a:lnTo>
                <a:lnTo>
                  <a:pt x="1308" y="694"/>
                </a:lnTo>
                <a:lnTo>
                  <a:pt x="1291" y="695"/>
                </a:lnTo>
                <a:lnTo>
                  <a:pt x="1273" y="698"/>
                </a:lnTo>
                <a:lnTo>
                  <a:pt x="1256" y="700"/>
                </a:lnTo>
                <a:lnTo>
                  <a:pt x="1240" y="704"/>
                </a:lnTo>
                <a:lnTo>
                  <a:pt x="1222" y="707"/>
                </a:lnTo>
                <a:lnTo>
                  <a:pt x="1206" y="711"/>
                </a:lnTo>
                <a:lnTo>
                  <a:pt x="1190" y="716"/>
                </a:lnTo>
                <a:lnTo>
                  <a:pt x="1174" y="720"/>
                </a:lnTo>
                <a:lnTo>
                  <a:pt x="1141" y="731"/>
                </a:lnTo>
                <a:lnTo>
                  <a:pt x="1125" y="738"/>
                </a:lnTo>
                <a:lnTo>
                  <a:pt x="1111" y="743"/>
                </a:lnTo>
                <a:lnTo>
                  <a:pt x="1080" y="758"/>
                </a:lnTo>
                <a:lnTo>
                  <a:pt x="1065" y="765"/>
                </a:lnTo>
                <a:lnTo>
                  <a:pt x="1050" y="773"/>
                </a:lnTo>
                <a:lnTo>
                  <a:pt x="1022" y="789"/>
                </a:lnTo>
                <a:lnTo>
                  <a:pt x="993" y="808"/>
                </a:lnTo>
                <a:lnTo>
                  <a:pt x="980" y="817"/>
                </a:lnTo>
                <a:lnTo>
                  <a:pt x="966" y="827"/>
                </a:lnTo>
                <a:lnTo>
                  <a:pt x="939" y="847"/>
                </a:lnTo>
                <a:lnTo>
                  <a:pt x="915" y="869"/>
                </a:lnTo>
                <a:lnTo>
                  <a:pt x="891" y="892"/>
                </a:lnTo>
                <a:lnTo>
                  <a:pt x="868" y="916"/>
                </a:lnTo>
                <a:lnTo>
                  <a:pt x="857" y="928"/>
                </a:lnTo>
                <a:lnTo>
                  <a:pt x="847" y="940"/>
                </a:lnTo>
                <a:lnTo>
                  <a:pt x="826" y="967"/>
                </a:lnTo>
                <a:lnTo>
                  <a:pt x="817" y="980"/>
                </a:lnTo>
                <a:lnTo>
                  <a:pt x="808" y="994"/>
                </a:lnTo>
                <a:lnTo>
                  <a:pt x="789" y="1022"/>
                </a:lnTo>
                <a:lnTo>
                  <a:pt x="781" y="1036"/>
                </a:lnTo>
                <a:lnTo>
                  <a:pt x="772" y="1050"/>
                </a:lnTo>
                <a:lnTo>
                  <a:pt x="764" y="1065"/>
                </a:lnTo>
                <a:lnTo>
                  <a:pt x="758" y="1080"/>
                </a:lnTo>
                <a:lnTo>
                  <a:pt x="743" y="1111"/>
                </a:lnTo>
                <a:lnTo>
                  <a:pt x="731" y="1142"/>
                </a:lnTo>
                <a:lnTo>
                  <a:pt x="720" y="1174"/>
                </a:lnTo>
                <a:lnTo>
                  <a:pt x="711" y="1207"/>
                </a:lnTo>
                <a:lnTo>
                  <a:pt x="704" y="1240"/>
                </a:lnTo>
                <a:lnTo>
                  <a:pt x="700" y="1256"/>
                </a:lnTo>
                <a:lnTo>
                  <a:pt x="697" y="1274"/>
                </a:lnTo>
                <a:lnTo>
                  <a:pt x="694" y="1291"/>
                </a:lnTo>
                <a:lnTo>
                  <a:pt x="693" y="1309"/>
                </a:lnTo>
                <a:lnTo>
                  <a:pt x="690" y="1344"/>
                </a:lnTo>
                <a:lnTo>
                  <a:pt x="689" y="1379"/>
                </a:lnTo>
                <a:lnTo>
                  <a:pt x="688" y="1344"/>
                </a:lnTo>
                <a:lnTo>
                  <a:pt x="688" y="1326"/>
                </a:lnTo>
                <a:lnTo>
                  <a:pt x="685" y="1309"/>
                </a:lnTo>
                <a:lnTo>
                  <a:pt x="684" y="1291"/>
                </a:lnTo>
                <a:lnTo>
                  <a:pt x="681" y="1274"/>
                </a:lnTo>
                <a:lnTo>
                  <a:pt x="678" y="1256"/>
                </a:lnTo>
                <a:lnTo>
                  <a:pt x="676" y="1240"/>
                </a:lnTo>
                <a:lnTo>
                  <a:pt x="671" y="1223"/>
                </a:lnTo>
                <a:lnTo>
                  <a:pt x="667" y="1207"/>
                </a:lnTo>
                <a:lnTo>
                  <a:pt x="663" y="1190"/>
                </a:lnTo>
                <a:lnTo>
                  <a:pt x="658" y="1174"/>
                </a:lnTo>
                <a:lnTo>
                  <a:pt x="647" y="1142"/>
                </a:lnTo>
                <a:lnTo>
                  <a:pt x="642" y="1126"/>
                </a:lnTo>
                <a:lnTo>
                  <a:pt x="635" y="1111"/>
                </a:lnTo>
                <a:lnTo>
                  <a:pt x="622" y="1080"/>
                </a:lnTo>
                <a:lnTo>
                  <a:pt x="614" y="1065"/>
                </a:lnTo>
                <a:lnTo>
                  <a:pt x="606" y="1050"/>
                </a:lnTo>
                <a:lnTo>
                  <a:pt x="589" y="1022"/>
                </a:lnTo>
                <a:lnTo>
                  <a:pt x="572" y="994"/>
                </a:lnTo>
                <a:lnTo>
                  <a:pt x="562" y="980"/>
                </a:lnTo>
                <a:lnTo>
                  <a:pt x="552" y="967"/>
                </a:lnTo>
                <a:lnTo>
                  <a:pt x="531" y="940"/>
                </a:lnTo>
                <a:lnTo>
                  <a:pt x="510" y="916"/>
                </a:lnTo>
                <a:lnTo>
                  <a:pt x="487" y="892"/>
                </a:lnTo>
                <a:lnTo>
                  <a:pt x="463" y="869"/>
                </a:lnTo>
                <a:lnTo>
                  <a:pt x="451" y="858"/>
                </a:lnTo>
                <a:lnTo>
                  <a:pt x="439" y="847"/>
                </a:lnTo>
                <a:lnTo>
                  <a:pt x="412" y="827"/>
                </a:lnTo>
                <a:lnTo>
                  <a:pt x="399" y="817"/>
                </a:lnTo>
                <a:lnTo>
                  <a:pt x="385" y="808"/>
                </a:lnTo>
                <a:lnTo>
                  <a:pt x="358" y="789"/>
                </a:lnTo>
                <a:lnTo>
                  <a:pt x="343" y="781"/>
                </a:lnTo>
                <a:lnTo>
                  <a:pt x="328" y="773"/>
                </a:lnTo>
                <a:lnTo>
                  <a:pt x="313" y="765"/>
                </a:lnTo>
                <a:lnTo>
                  <a:pt x="298" y="758"/>
                </a:lnTo>
                <a:lnTo>
                  <a:pt x="267" y="743"/>
                </a:lnTo>
                <a:lnTo>
                  <a:pt x="237" y="731"/>
                </a:lnTo>
                <a:lnTo>
                  <a:pt x="204" y="720"/>
                </a:lnTo>
                <a:lnTo>
                  <a:pt x="172" y="711"/>
                </a:lnTo>
                <a:lnTo>
                  <a:pt x="138" y="704"/>
                </a:lnTo>
                <a:lnTo>
                  <a:pt x="122" y="700"/>
                </a:lnTo>
                <a:lnTo>
                  <a:pt x="105" y="698"/>
                </a:lnTo>
                <a:lnTo>
                  <a:pt x="87" y="695"/>
                </a:lnTo>
                <a:lnTo>
                  <a:pt x="70" y="694"/>
                </a:lnTo>
                <a:lnTo>
                  <a:pt x="35" y="691"/>
                </a:lnTo>
                <a:lnTo>
                  <a:pt x="0" y="690"/>
                </a:lnTo>
                <a:close/>
              </a:path>
            </a:pathLst>
          </a:custGeom>
          <a:solidFill>
            <a:schemeClr val="accent1"/>
          </a:solidFill>
          <a:ln w="9525">
            <a:noFill/>
            <a:round/>
            <a:headEnd/>
            <a:tailEnd/>
          </a:ln>
        </p:spPr>
        <p:txBody>
          <a:bodyPr/>
          <a:lstStyle/>
          <a:p>
            <a:endParaRPr lang="en-US"/>
          </a:p>
        </p:txBody>
      </p:sp>
      <p:sp>
        <p:nvSpPr>
          <p:cNvPr id="6" name="Freeform 27">
            <a:extLst>
              <a:ext uri="{FF2B5EF4-FFF2-40B4-BE49-F238E27FC236}">
                <a16:creationId xmlns:a16="http://schemas.microsoft.com/office/drawing/2014/main" id="{9204136F-B8E8-4AB8-904E-26E316AD40EC}"/>
              </a:ext>
            </a:extLst>
          </p:cNvPr>
          <p:cNvSpPr>
            <a:spLocks/>
          </p:cNvSpPr>
          <p:nvPr/>
        </p:nvSpPr>
        <p:spPr bwMode="auto">
          <a:xfrm>
            <a:off x="5011696" y="2774950"/>
            <a:ext cx="1093787" cy="1093788"/>
          </a:xfrm>
          <a:custGeom>
            <a:avLst/>
            <a:gdLst/>
            <a:ahLst/>
            <a:cxnLst>
              <a:cxn ang="0">
                <a:pos x="35" y="1"/>
              </a:cxn>
              <a:cxn ang="0">
                <a:pos x="70" y="4"/>
              </a:cxn>
              <a:cxn ang="0">
                <a:pos x="105" y="8"/>
              </a:cxn>
              <a:cxn ang="0">
                <a:pos x="138" y="14"/>
              </a:cxn>
              <a:cxn ang="0">
                <a:pos x="172" y="21"/>
              </a:cxn>
              <a:cxn ang="0">
                <a:pos x="204" y="30"/>
              </a:cxn>
              <a:cxn ang="0">
                <a:pos x="253" y="48"/>
              </a:cxn>
              <a:cxn ang="0">
                <a:pos x="298" y="68"/>
              </a:cxn>
              <a:cxn ang="0">
                <a:pos x="328" y="83"/>
              </a:cxn>
              <a:cxn ang="0">
                <a:pos x="385" y="118"/>
              </a:cxn>
              <a:cxn ang="0">
                <a:pos x="412" y="137"/>
              </a:cxn>
              <a:cxn ang="0">
                <a:pos x="463" y="179"/>
              </a:cxn>
              <a:cxn ang="0">
                <a:pos x="510" y="226"/>
              </a:cxn>
              <a:cxn ang="0">
                <a:pos x="531" y="250"/>
              </a:cxn>
              <a:cxn ang="0">
                <a:pos x="562" y="290"/>
              </a:cxn>
              <a:cxn ang="0">
                <a:pos x="589" y="332"/>
              </a:cxn>
              <a:cxn ang="0">
                <a:pos x="606" y="360"/>
              </a:cxn>
              <a:cxn ang="0">
                <a:pos x="622" y="390"/>
              </a:cxn>
              <a:cxn ang="0">
                <a:pos x="647" y="452"/>
              </a:cxn>
              <a:cxn ang="0">
                <a:pos x="667" y="517"/>
              </a:cxn>
              <a:cxn ang="0">
                <a:pos x="678" y="566"/>
              </a:cxn>
              <a:cxn ang="0">
                <a:pos x="684" y="601"/>
              </a:cxn>
              <a:cxn ang="0">
                <a:pos x="688" y="654"/>
              </a:cxn>
              <a:cxn ang="0">
                <a:pos x="654" y="688"/>
              </a:cxn>
              <a:cxn ang="0">
                <a:pos x="619" y="685"/>
              </a:cxn>
              <a:cxn ang="0">
                <a:pos x="584" y="681"/>
              </a:cxn>
              <a:cxn ang="0">
                <a:pos x="550" y="676"/>
              </a:cxn>
              <a:cxn ang="0">
                <a:pos x="517" y="667"/>
              </a:cxn>
              <a:cxn ang="0">
                <a:pos x="484" y="658"/>
              </a:cxn>
              <a:cxn ang="0">
                <a:pos x="436" y="642"/>
              </a:cxn>
              <a:cxn ang="0">
                <a:pos x="390" y="622"/>
              </a:cxn>
              <a:cxn ang="0">
                <a:pos x="360" y="606"/>
              </a:cxn>
              <a:cxn ang="0">
                <a:pos x="304" y="572"/>
              </a:cxn>
              <a:cxn ang="0">
                <a:pos x="277" y="552"/>
              </a:cxn>
              <a:cxn ang="0">
                <a:pos x="226" y="510"/>
              </a:cxn>
              <a:cxn ang="0">
                <a:pos x="179" y="463"/>
              </a:cxn>
              <a:cxn ang="0">
                <a:pos x="157" y="439"/>
              </a:cxn>
              <a:cxn ang="0">
                <a:pos x="127" y="399"/>
              </a:cxn>
              <a:cxn ang="0">
                <a:pos x="99" y="358"/>
              </a:cxn>
              <a:cxn ang="0">
                <a:pos x="83" y="328"/>
              </a:cxn>
              <a:cxn ang="0">
                <a:pos x="68" y="298"/>
              </a:cxn>
              <a:cxn ang="0">
                <a:pos x="41" y="237"/>
              </a:cxn>
              <a:cxn ang="0">
                <a:pos x="21" y="172"/>
              </a:cxn>
              <a:cxn ang="0">
                <a:pos x="10" y="122"/>
              </a:cxn>
              <a:cxn ang="0">
                <a:pos x="5" y="87"/>
              </a:cxn>
              <a:cxn ang="0">
                <a:pos x="1" y="35"/>
              </a:cxn>
            </a:cxnLst>
            <a:rect l="0" t="0" r="r" b="b"/>
            <a:pathLst>
              <a:path w="689" h="689">
                <a:moveTo>
                  <a:pt x="0" y="0"/>
                </a:moveTo>
                <a:lnTo>
                  <a:pt x="35" y="1"/>
                </a:lnTo>
                <a:lnTo>
                  <a:pt x="53" y="2"/>
                </a:lnTo>
                <a:lnTo>
                  <a:pt x="70" y="4"/>
                </a:lnTo>
                <a:lnTo>
                  <a:pt x="87" y="5"/>
                </a:lnTo>
                <a:lnTo>
                  <a:pt x="105" y="8"/>
                </a:lnTo>
                <a:lnTo>
                  <a:pt x="122" y="10"/>
                </a:lnTo>
                <a:lnTo>
                  <a:pt x="138" y="14"/>
                </a:lnTo>
                <a:lnTo>
                  <a:pt x="156" y="17"/>
                </a:lnTo>
                <a:lnTo>
                  <a:pt x="172" y="21"/>
                </a:lnTo>
                <a:lnTo>
                  <a:pt x="188" y="26"/>
                </a:lnTo>
                <a:lnTo>
                  <a:pt x="204" y="30"/>
                </a:lnTo>
                <a:lnTo>
                  <a:pt x="237" y="41"/>
                </a:lnTo>
                <a:lnTo>
                  <a:pt x="253" y="48"/>
                </a:lnTo>
                <a:lnTo>
                  <a:pt x="267" y="53"/>
                </a:lnTo>
                <a:lnTo>
                  <a:pt x="298" y="68"/>
                </a:lnTo>
                <a:lnTo>
                  <a:pt x="313" y="75"/>
                </a:lnTo>
                <a:lnTo>
                  <a:pt x="328" y="83"/>
                </a:lnTo>
                <a:lnTo>
                  <a:pt x="358" y="99"/>
                </a:lnTo>
                <a:lnTo>
                  <a:pt x="385" y="118"/>
                </a:lnTo>
                <a:lnTo>
                  <a:pt x="399" y="127"/>
                </a:lnTo>
                <a:lnTo>
                  <a:pt x="412" y="137"/>
                </a:lnTo>
                <a:lnTo>
                  <a:pt x="439" y="157"/>
                </a:lnTo>
                <a:lnTo>
                  <a:pt x="463" y="179"/>
                </a:lnTo>
                <a:lnTo>
                  <a:pt x="487" y="202"/>
                </a:lnTo>
                <a:lnTo>
                  <a:pt x="510" y="226"/>
                </a:lnTo>
                <a:lnTo>
                  <a:pt x="521" y="238"/>
                </a:lnTo>
                <a:lnTo>
                  <a:pt x="531" y="250"/>
                </a:lnTo>
                <a:lnTo>
                  <a:pt x="552" y="277"/>
                </a:lnTo>
                <a:lnTo>
                  <a:pt x="562" y="290"/>
                </a:lnTo>
                <a:lnTo>
                  <a:pt x="572" y="304"/>
                </a:lnTo>
                <a:lnTo>
                  <a:pt x="589" y="332"/>
                </a:lnTo>
                <a:lnTo>
                  <a:pt x="597" y="346"/>
                </a:lnTo>
                <a:lnTo>
                  <a:pt x="606" y="360"/>
                </a:lnTo>
                <a:lnTo>
                  <a:pt x="614" y="375"/>
                </a:lnTo>
                <a:lnTo>
                  <a:pt x="622" y="390"/>
                </a:lnTo>
                <a:lnTo>
                  <a:pt x="635" y="421"/>
                </a:lnTo>
                <a:lnTo>
                  <a:pt x="647" y="452"/>
                </a:lnTo>
                <a:lnTo>
                  <a:pt x="658" y="484"/>
                </a:lnTo>
                <a:lnTo>
                  <a:pt x="667" y="517"/>
                </a:lnTo>
                <a:lnTo>
                  <a:pt x="676" y="550"/>
                </a:lnTo>
                <a:lnTo>
                  <a:pt x="678" y="566"/>
                </a:lnTo>
                <a:lnTo>
                  <a:pt x="681" y="584"/>
                </a:lnTo>
                <a:lnTo>
                  <a:pt x="684" y="601"/>
                </a:lnTo>
                <a:lnTo>
                  <a:pt x="685" y="619"/>
                </a:lnTo>
                <a:lnTo>
                  <a:pt x="688" y="654"/>
                </a:lnTo>
                <a:lnTo>
                  <a:pt x="689" y="689"/>
                </a:lnTo>
                <a:lnTo>
                  <a:pt x="654" y="688"/>
                </a:lnTo>
                <a:lnTo>
                  <a:pt x="636" y="688"/>
                </a:lnTo>
                <a:lnTo>
                  <a:pt x="619" y="685"/>
                </a:lnTo>
                <a:lnTo>
                  <a:pt x="601" y="684"/>
                </a:lnTo>
                <a:lnTo>
                  <a:pt x="584" y="681"/>
                </a:lnTo>
                <a:lnTo>
                  <a:pt x="566" y="678"/>
                </a:lnTo>
                <a:lnTo>
                  <a:pt x="550" y="676"/>
                </a:lnTo>
                <a:lnTo>
                  <a:pt x="533" y="671"/>
                </a:lnTo>
                <a:lnTo>
                  <a:pt x="517" y="667"/>
                </a:lnTo>
                <a:lnTo>
                  <a:pt x="500" y="663"/>
                </a:lnTo>
                <a:lnTo>
                  <a:pt x="484" y="658"/>
                </a:lnTo>
                <a:lnTo>
                  <a:pt x="452" y="647"/>
                </a:lnTo>
                <a:lnTo>
                  <a:pt x="436" y="642"/>
                </a:lnTo>
                <a:lnTo>
                  <a:pt x="421" y="635"/>
                </a:lnTo>
                <a:lnTo>
                  <a:pt x="390" y="622"/>
                </a:lnTo>
                <a:lnTo>
                  <a:pt x="375" y="614"/>
                </a:lnTo>
                <a:lnTo>
                  <a:pt x="360" y="606"/>
                </a:lnTo>
                <a:lnTo>
                  <a:pt x="332" y="589"/>
                </a:lnTo>
                <a:lnTo>
                  <a:pt x="304" y="572"/>
                </a:lnTo>
                <a:lnTo>
                  <a:pt x="290" y="562"/>
                </a:lnTo>
                <a:lnTo>
                  <a:pt x="277" y="552"/>
                </a:lnTo>
                <a:lnTo>
                  <a:pt x="250" y="531"/>
                </a:lnTo>
                <a:lnTo>
                  <a:pt x="226" y="510"/>
                </a:lnTo>
                <a:lnTo>
                  <a:pt x="202" y="487"/>
                </a:lnTo>
                <a:lnTo>
                  <a:pt x="179" y="463"/>
                </a:lnTo>
                <a:lnTo>
                  <a:pt x="168" y="451"/>
                </a:lnTo>
                <a:lnTo>
                  <a:pt x="157" y="439"/>
                </a:lnTo>
                <a:lnTo>
                  <a:pt x="137" y="412"/>
                </a:lnTo>
                <a:lnTo>
                  <a:pt x="127" y="399"/>
                </a:lnTo>
                <a:lnTo>
                  <a:pt x="118" y="385"/>
                </a:lnTo>
                <a:lnTo>
                  <a:pt x="99" y="358"/>
                </a:lnTo>
                <a:lnTo>
                  <a:pt x="91" y="343"/>
                </a:lnTo>
                <a:lnTo>
                  <a:pt x="83" y="328"/>
                </a:lnTo>
                <a:lnTo>
                  <a:pt x="75" y="313"/>
                </a:lnTo>
                <a:lnTo>
                  <a:pt x="68" y="298"/>
                </a:lnTo>
                <a:lnTo>
                  <a:pt x="53" y="267"/>
                </a:lnTo>
                <a:lnTo>
                  <a:pt x="41" y="237"/>
                </a:lnTo>
                <a:lnTo>
                  <a:pt x="30" y="204"/>
                </a:lnTo>
                <a:lnTo>
                  <a:pt x="21" y="172"/>
                </a:lnTo>
                <a:lnTo>
                  <a:pt x="14" y="138"/>
                </a:lnTo>
                <a:lnTo>
                  <a:pt x="10" y="122"/>
                </a:lnTo>
                <a:lnTo>
                  <a:pt x="8" y="105"/>
                </a:lnTo>
                <a:lnTo>
                  <a:pt x="5" y="87"/>
                </a:lnTo>
                <a:lnTo>
                  <a:pt x="4" y="70"/>
                </a:lnTo>
                <a:lnTo>
                  <a:pt x="1" y="35"/>
                </a:lnTo>
                <a:lnTo>
                  <a:pt x="0" y="0"/>
                </a:lnTo>
                <a:close/>
              </a:path>
            </a:pathLst>
          </a:custGeom>
          <a:solidFill>
            <a:schemeClr val="accent2"/>
          </a:solidFill>
          <a:ln w="9525">
            <a:noFill/>
            <a:round/>
            <a:headEnd/>
            <a:tailEnd/>
          </a:ln>
        </p:spPr>
        <p:txBody>
          <a:bodyPr/>
          <a:lstStyle/>
          <a:p>
            <a:endParaRPr lang="en-US"/>
          </a:p>
        </p:txBody>
      </p:sp>
      <p:sp>
        <p:nvSpPr>
          <p:cNvPr id="7" name="Freeform 28">
            <a:extLst>
              <a:ext uri="{FF2B5EF4-FFF2-40B4-BE49-F238E27FC236}">
                <a16:creationId xmlns:a16="http://schemas.microsoft.com/office/drawing/2014/main" id="{C93B8CE4-7F04-4AB2-B72C-7F57F35DE1F3}"/>
              </a:ext>
            </a:extLst>
          </p:cNvPr>
          <p:cNvSpPr>
            <a:spLocks/>
          </p:cNvSpPr>
          <p:nvPr/>
        </p:nvSpPr>
        <p:spPr bwMode="auto">
          <a:xfrm>
            <a:off x="5011696" y="3868738"/>
            <a:ext cx="1093787" cy="1095375"/>
          </a:xfrm>
          <a:custGeom>
            <a:avLst/>
            <a:gdLst/>
            <a:ahLst/>
            <a:cxnLst>
              <a:cxn ang="0">
                <a:pos x="688" y="35"/>
              </a:cxn>
              <a:cxn ang="0">
                <a:pos x="685" y="70"/>
              </a:cxn>
              <a:cxn ang="0">
                <a:pos x="681" y="105"/>
              </a:cxn>
              <a:cxn ang="0">
                <a:pos x="676" y="139"/>
              </a:cxn>
              <a:cxn ang="0">
                <a:pos x="667" y="172"/>
              </a:cxn>
              <a:cxn ang="0">
                <a:pos x="658" y="205"/>
              </a:cxn>
              <a:cxn ang="0">
                <a:pos x="642" y="253"/>
              </a:cxn>
              <a:cxn ang="0">
                <a:pos x="622" y="299"/>
              </a:cxn>
              <a:cxn ang="0">
                <a:pos x="606" y="329"/>
              </a:cxn>
              <a:cxn ang="0">
                <a:pos x="572" y="385"/>
              </a:cxn>
              <a:cxn ang="0">
                <a:pos x="552" y="412"/>
              </a:cxn>
              <a:cxn ang="0">
                <a:pos x="510" y="463"/>
              </a:cxn>
              <a:cxn ang="0">
                <a:pos x="463" y="510"/>
              </a:cxn>
              <a:cxn ang="0">
                <a:pos x="439" y="532"/>
              </a:cxn>
              <a:cxn ang="0">
                <a:pos x="399" y="563"/>
              </a:cxn>
              <a:cxn ang="0">
                <a:pos x="358" y="590"/>
              </a:cxn>
              <a:cxn ang="0">
                <a:pos x="328" y="606"/>
              </a:cxn>
              <a:cxn ang="0">
                <a:pos x="298" y="622"/>
              </a:cxn>
              <a:cxn ang="0">
                <a:pos x="237" y="648"/>
              </a:cxn>
              <a:cxn ang="0">
                <a:pos x="172" y="668"/>
              </a:cxn>
              <a:cxn ang="0">
                <a:pos x="122" y="679"/>
              </a:cxn>
              <a:cxn ang="0">
                <a:pos x="87" y="684"/>
              </a:cxn>
              <a:cxn ang="0">
                <a:pos x="35" y="688"/>
              </a:cxn>
              <a:cxn ang="0">
                <a:pos x="1" y="654"/>
              </a:cxn>
              <a:cxn ang="0">
                <a:pos x="4" y="619"/>
              </a:cxn>
              <a:cxn ang="0">
                <a:pos x="8" y="584"/>
              </a:cxn>
              <a:cxn ang="0">
                <a:pos x="14" y="551"/>
              </a:cxn>
              <a:cxn ang="0">
                <a:pos x="21" y="517"/>
              </a:cxn>
              <a:cxn ang="0">
                <a:pos x="30" y="485"/>
              </a:cxn>
              <a:cxn ang="0">
                <a:pos x="48" y="436"/>
              </a:cxn>
              <a:cxn ang="0">
                <a:pos x="68" y="391"/>
              </a:cxn>
              <a:cxn ang="0">
                <a:pos x="83" y="361"/>
              </a:cxn>
              <a:cxn ang="0">
                <a:pos x="118" y="304"/>
              </a:cxn>
              <a:cxn ang="0">
                <a:pos x="137" y="277"/>
              </a:cxn>
              <a:cxn ang="0">
                <a:pos x="179" y="226"/>
              </a:cxn>
              <a:cxn ang="0">
                <a:pos x="226" y="179"/>
              </a:cxn>
              <a:cxn ang="0">
                <a:pos x="250" y="158"/>
              </a:cxn>
              <a:cxn ang="0">
                <a:pos x="290" y="128"/>
              </a:cxn>
              <a:cxn ang="0">
                <a:pos x="332" y="100"/>
              </a:cxn>
              <a:cxn ang="0">
                <a:pos x="360" y="83"/>
              </a:cxn>
              <a:cxn ang="0">
                <a:pos x="390" y="69"/>
              </a:cxn>
              <a:cxn ang="0">
                <a:pos x="452" y="42"/>
              </a:cxn>
              <a:cxn ang="0">
                <a:pos x="517" y="22"/>
              </a:cxn>
              <a:cxn ang="0">
                <a:pos x="566" y="11"/>
              </a:cxn>
              <a:cxn ang="0">
                <a:pos x="601" y="5"/>
              </a:cxn>
              <a:cxn ang="0">
                <a:pos x="654" y="1"/>
              </a:cxn>
            </a:cxnLst>
            <a:rect l="0" t="0" r="r" b="b"/>
            <a:pathLst>
              <a:path w="689" h="690">
                <a:moveTo>
                  <a:pt x="689" y="0"/>
                </a:moveTo>
                <a:lnTo>
                  <a:pt x="688" y="35"/>
                </a:lnTo>
                <a:lnTo>
                  <a:pt x="688" y="54"/>
                </a:lnTo>
                <a:lnTo>
                  <a:pt x="685" y="70"/>
                </a:lnTo>
                <a:lnTo>
                  <a:pt x="684" y="88"/>
                </a:lnTo>
                <a:lnTo>
                  <a:pt x="681" y="105"/>
                </a:lnTo>
                <a:lnTo>
                  <a:pt x="678" y="123"/>
                </a:lnTo>
                <a:lnTo>
                  <a:pt x="676" y="139"/>
                </a:lnTo>
                <a:lnTo>
                  <a:pt x="671" y="156"/>
                </a:lnTo>
                <a:lnTo>
                  <a:pt x="667" y="172"/>
                </a:lnTo>
                <a:lnTo>
                  <a:pt x="663" y="189"/>
                </a:lnTo>
                <a:lnTo>
                  <a:pt x="658" y="205"/>
                </a:lnTo>
                <a:lnTo>
                  <a:pt x="647" y="237"/>
                </a:lnTo>
                <a:lnTo>
                  <a:pt x="642" y="253"/>
                </a:lnTo>
                <a:lnTo>
                  <a:pt x="635" y="268"/>
                </a:lnTo>
                <a:lnTo>
                  <a:pt x="622" y="299"/>
                </a:lnTo>
                <a:lnTo>
                  <a:pt x="614" y="314"/>
                </a:lnTo>
                <a:lnTo>
                  <a:pt x="606" y="329"/>
                </a:lnTo>
                <a:lnTo>
                  <a:pt x="589" y="358"/>
                </a:lnTo>
                <a:lnTo>
                  <a:pt x="572" y="385"/>
                </a:lnTo>
                <a:lnTo>
                  <a:pt x="562" y="400"/>
                </a:lnTo>
                <a:lnTo>
                  <a:pt x="552" y="412"/>
                </a:lnTo>
                <a:lnTo>
                  <a:pt x="531" y="439"/>
                </a:lnTo>
                <a:lnTo>
                  <a:pt x="510" y="463"/>
                </a:lnTo>
                <a:lnTo>
                  <a:pt x="487" y="487"/>
                </a:lnTo>
                <a:lnTo>
                  <a:pt x="463" y="510"/>
                </a:lnTo>
                <a:lnTo>
                  <a:pt x="451" y="521"/>
                </a:lnTo>
                <a:lnTo>
                  <a:pt x="439" y="532"/>
                </a:lnTo>
                <a:lnTo>
                  <a:pt x="412" y="552"/>
                </a:lnTo>
                <a:lnTo>
                  <a:pt x="399" y="563"/>
                </a:lnTo>
                <a:lnTo>
                  <a:pt x="385" y="572"/>
                </a:lnTo>
                <a:lnTo>
                  <a:pt x="358" y="590"/>
                </a:lnTo>
                <a:lnTo>
                  <a:pt x="343" y="598"/>
                </a:lnTo>
                <a:lnTo>
                  <a:pt x="328" y="606"/>
                </a:lnTo>
                <a:lnTo>
                  <a:pt x="313" y="614"/>
                </a:lnTo>
                <a:lnTo>
                  <a:pt x="298" y="622"/>
                </a:lnTo>
                <a:lnTo>
                  <a:pt x="267" y="636"/>
                </a:lnTo>
                <a:lnTo>
                  <a:pt x="237" y="648"/>
                </a:lnTo>
                <a:lnTo>
                  <a:pt x="204" y="659"/>
                </a:lnTo>
                <a:lnTo>
                  <a:pt x="172" y="668"/>
                </a:lnTo>
                <a:lnTo>
                  <a:pt x="138" y="676"/>
                </a:lnTo>
                <a:lnTo>
                  <a:pt x="122" y="679"/>
                </a:lnTo>
                <a:lnTo>
                  <a:pt x="105" y="681"/>
                </a:lnTo>
                <a:lnTo>
                  <a:pt x="87" y="684"/>
                </a:lnTo>
                <a:lnTo>
                  <a:pt x="70" y="685"/>
                </a:lnTo>
                <a:lnTo>
                  <a:pt x="35" y="688"/>
                </a:lnTo>
                <a:lnTo>
                  <a:pt x="0" y="690"/>
                </a:lnTo>
                <a:lnTo>
                  <a:pt x="1" y="654"/>
                </a:lnTo>
                <a:lnTo>
                  <a:pt x="2" y="637"/>
                </a:lnTo>
                <a:lnTo>
                  <a:pt x="4" y="619"/>
                </a:lnTo>
                <a:lnTo>
                  <a:pt x="5" y="602"/>
                </a:lnTo>
                <a:lnTo>
                  <a:pt x="8" y="584"/>
                </a:lnTo>
                <a:lnTo>
                  <a:pt x="10" y="567"/>
                </a:lnTo>
                <a:lnTo>
                  <a:pt x="14" y="551"/>
                </a:lnTo>
                <a:lnTo>
                  <a:pt x="17" y="533"/>
                </a:lnTo>
                <a:lnTo>
                  <a:pt x="21" y="517"/>
                </a:lnTo>
                <a:lnTo>
                  <a:pt x="26" y="501"/>
                </a:lnTo>
                <a:lnTo>
                  <a:pt x="30" y="485"/>
                </a:lnTo>
                <a:lnTo>
                  <a:pt x="41" y="452"/>
                </a:lnTo>
                <a:lnTo>
                  <a:pt x="48" y="436"/>
                </a:lnTo>
                <a:lnTo>
                  <a:pt x="53" y="422"/>
                </a:lnTo>
                <a:lnTo>
                  <a:pt x="68" y="391"/>
                </a:lnTo>
                <a:lnTo>
                  <a:pt x="75" y="376"/>
                </a:lnTo>
                <a:lnTo>
                  <a:pt x="83" y="361"/>
                </a:lnTo>
                <a:lnTo>
                  <a:pt x="99" y="333"/>
                </a:lnTo>
                <a:lnTo>
                  <a:pt x="118" y="304"/>
                </a:lnTo>
                <a:lnTo>
                  <a:pt x="127" y="291"/>
                </a:lnTo>
                <a:lnTo>
                  <a:pt x="137" y="277"/>
                </a:lnTo>
                <a:lnTo>
                  <a:pt x="157" y="250"/>
                </a:lnTo>
                <a:lnTo>
                  <a:pt x="179" y="226"/>
                </a:lnTo>
                <a:lnTo>
                  <a:pt x="202" y="202"/>
                </a:lnTo>
                <a:lnTo>
                  <a:pt x="226" y="179"/>
                </a:lnTo>
                <a:lnTo>
                  <a:pt x="238" y="168"/>
                </a:lnTo>
                <a:lnTo>
                  <a:pt x="250" y="158"/>
                </a:lnTo>
                <a:lnTo>
                  <a:pt x="277" y="137"/>
                </a:lnTo>
                <a:lnTo>
                  <a:pt x="290" y="128"/>
                </a:lnTo>
                <a:lnTo>
                  <a:pt x="304" y="119"/>
                </a:lnTo>
                <a:lnTo>
                  <a:pt x="332" y="100"/>
                </a:lnTo>
                <a:lnTo>
                  <a:pt x="346" y="92"/>
                </a:lnTo>
                <a:lnTo>
                  <a:pt x="360" y="83"/>
                </a:lnTo>
                <a:lnTo>
                  <a:pt x="375" y="75"/>
                </a:lnTo>
                <a:lnTo>
                  <a:pt x="390" y="69"/>
                </a:lnTo>
                <a:lnTo>
                  <a:pt x="421" y="54"/>
                </a:lnTo>
                <a:lnTo>
                  <a:pt x="452" y="42"/>
                </a:lnTo>
                <a:lnTo>
                  <a:pt x="484" y="31"/>
                </a:lnTo>
                <a:lnTo>
                  <a:pt x="517" y="22"/>
                </a:lnTo>
                <a:lnTo>
                  <a:pt x="550" y="15"/>
                </a:lnTo>
                <a:lnTo>
                  <a:pt x="566" y="11"/>
                </a:lnTo>
                <a:lnTo>
                  <a:pt x="584" y="8"/>
                </a:lnTo>
                <a:lnTo>
                  <a:pt x="601" y="5"/>
                </a:lnTo>
                <a:lnTo>
                  <a:pt x="619" y="4"/>
                </a:lnTo>
                <a:lnTo>
                  <a:pt x="654" y="1"/>
                </a:lnTo>
                <a:lnTo>
                  <a:pt x="689" y="0"/>
                </a:lnTo>
                <a:close/>
              </a:path>
            </a:pathLst>
          </a:custGeom>
          <a:solidFill>
            <a:schemeClr val="accent2"/>
          </a:solidFill>
          <a:ln w="9525">
            <a:noFill/>
            <a:round/>
            <a:headEnd/>
            <a:tailEnd/>
          </a:ln>
        </p:spPr>
        <p:txBody>
          <a:bodyPr/>
          <a:lstStyle/>
          <a:p>
            <a:endParaRPr lang="en-US"/>
          </a:p>
        </p:txBody>
      </p:sp>
      <p:sp>
        <p:nvSpPr>
          <p:cNvPr id="8" name="Freeform 29">
            <a:extLst>
              <a:ext uri="{FF2B5EF4-FFF2-40B4-BE49-F238E27FC236}">
                <a16:creationId xmlns:a16="http://schemas.microsoft.com/office/drawing/2014/main" id="{82CFA15F-5279-4D2B-95BA-7F10302A3AAF}"/>
              </a:ext>
            </a:extLst>
          </p:cNvPr>
          <p:cNvSpPr>
            <a:spLocks/>
          </p:cNvSpPr>
          <p:nvPr/>
        </p:nvSpPr>
        <p:spPr bwMode="auto">
          <a:xfrm>
            <a:off x="3916321" y="2774950"/>
            <a:ext cx="2189162" cy="2189163"/>
          </a:xfrm>
          <a:custGeom>
            <a:avLst/>
            <a:gdLst/>
            <a:ahLst/>
            <a:cxnLst>
              <a:cxn ang="0">
                <a:pos x="3" y="636"/>
              </a:cxn>
              <a:cxn ang="0">
                <a:pos x="8" y="584"/>
              </a:cxn>
              <a:cxn ang="0">
                <a:pos x="18" y="533"/>
              </a:cxn>
              <a:cxn ang="0">
                <a:pos x="31" y="484"/>
              </a:cxn>
              <a:cxn ang="0">
                <a:pos x="54" y="421"/>
              </a:cxn>
              <a:cxn ang="0">
                <a:pos x="83" y="360"/>
              </a:cxn>
              <a:cxn ang="0">
                <a:pos x="128" y="290"/>
              </a:cxn>
              <a:cxn ang="0">
                <a:pos x="179" y="226"/>
              </a:cxn>
              <a:cxn ang="0">
                <a:pos x="238" y="168"/>
              </a:cxn>
              <a:cxn ang="0">
                <a:pos x="291" y="127"/>
              </a:cxn>
              <a:cxn ang="0">
                <a:pos x="346" y="91"/>
              </a:cxn>
              <a:cxn ang="0">
                <a:pos x="391" y="68"/>
              </a:cxn>
              <a:cxn ang="0">
                <a:pos x="485" y="30"/>
              </a:cxn>
              <a:cxn ang="0">
                <a:pos x="567" y="10"/>
              </a:cxn>
              <a:cxn ang="0">
                <a:pos x="619" y="4"/>
              </a:cxn>
              <a:cxn ang="0">
                <a:pos x="691" y="35"/>
              </a:cxn>
              <a:cxn ang="0">
                <a:pos x="695" y="87"/>
              </a:cxn>
              <a:cxn ang="0">
                <a:pos x="704" y="138"/>
              </a:cxn>
              <a:cxn ang="0">
                <a:pos x="716" y="188"/>
              </a:cxn>
              <a:cxn ang="0">
                <a:pos x="738" y="253"/>
              </a:cxn>
              <a:cxn ang="0">
                <a:pos x="765" y="313"/>
              </a:cxn>
              <a:cxn ang="0">
                <a:pos x="808" y="385"/>
              </a:cxn>
              <a:cxn ang="0">
                <a:pos x="847" y="439"/>
              </a:cxn>
              <a:cxn ang="0">
                <a:pos x="916" y="510"/>
              </a:cxn>
              <a:cxn ang="0">
                <a:pos x="967" y="552"/>
              </a:cxn>
              <a:cxn ang="0">
                <a:pos x="1022" y="589"/>
              </a:cxn>
              <a:cxn ang="0">
                <a:pos x="1065" y="614"/>
              </a:cxn>
              <a:cxn ang="0">
                <a:pos x="1142" y="647"/>
              </a:cxn>
              <a:cxn ang="0">
                <a:pos x="1240" y="676"/>
              </a:cxn>
              <a:cxn ang="0">
                <a:pos x="1291" y="684"/>
              </a:cxn>
              <a:cxn ang="0">
                <a:pos x="1379" y="689"/>
              </a:cxn>
              <a:cxn ang="0">
                <a:pos x="1309" y="693"/>
              </a:cxn>
              <a:cxn ang="0">
                <a:pos x="1256" y="700"/>
              </a:cxn>
              <a:cxn ang="0">
                <a:pos x="1207" y="711"/>
              </a:cxn>
              <a:cxn ang="0">
                <a:pos x="1142" y="731"/>
              </a:cxn>
              <a:cxn ang="0">
                <a:pos x="1080" y="758"/>
              </a:cxn>
              <a:cxn ang="0">
                <a:pos x="1022" y="789"/>
              </a:cxn>
              <a:cxn ang="0">
                <a:pos x="967" y="826"/>
              </a:cxn>
              <a:cxn ang="0">
                <a:pos x="892" y="891"/>
              </a:cxn>
              <a:cxn ang="0">
                <a:pos x="847" y="939"/>
              </a:cxn>
              <a:cxn ang="0">
                <a:pos x="808" y="993"/>
              </a:cxn>
              <a:cxn ang="0">
                <a:pos x="773" y="1050"/>
              </a:cxn>
              <a:cxn ang="0">
                <a:pos x="743" y="1111"/>
              </a:cxn>
              <a:cxn ang="0">
                <a:pos x="711" y="1206"/>
              </a:cxn>
              <a:cxn ang="0">
                <a:pos x="698" y="1273"/>
              </a:cxn>
              <a:cxn ang="0">
                <a:pos x="691" y="1343"/>
              </a:cxn>
              <a:cxn ang="0">
                <a:pos x="637" y="1377"/>
              </a:cxn>
              <a:cxn ang="0">
                <a:pos x="584" y="1370"/>
              </a:cxn>
              <a:cxn ang="0">
                <a:pos x="533" y="1361"/>
              </a:cxn>
              <a:cxn ang="0">
                <a:pos x="485" y="1348"/>
              </a:cxn>
              <a:cxn ang="0">
                <a:pos x="422" y="1325"/>
              </a:cxn>
              <a:cxn ang="0">
                <a:pos x="361" y="1295"/>
              </a:cxn>
              <a:cxn ang="0">
                <a:pos x="291" y="1252"/>
              </a:cxn>
              <a:cxn ang="0">
                <a:pos x="226" y="1199"/>
              </a:cxn>
              <a:cxn ang="0">
                <a:pos x="168" y="1140"/>
              </a:cxn>
              <a:cxn ang="0">
                <a:pos x="128" y="1089"/>
              </a:cxn>
              <a:cxn ang="0">
                <a:pos x="92" y="1032"/>
              </a:cxn>
              <a:cxn ang="0">
                <a:pos x="69" y="988"/>
              </a:cxn>
              <a:cxn ang="0">
                <a:pos x="31" y="894"/>
              </a:cxn>
              <a:cxn ang="0">
                <a:pos x="11" y="812"/>
              </a:cxn>
              <a:cxn ang="0">
                <a:pos x="4" y="759"/>
              </a:cxn>
            </a:cxnLst>
            <a:rect l="0" t="0" r="r" b="b"/>
            <a:pathLst>
              <a:path w="1379" h="1379">
                <a:moveTo>
                  <a:pt x="0" y="689"/>
                </a:moveTo>
                <a:lnTo>
                  <a:pt x="1" y="654"/>
                </a:lnTo>
                <a:lnTo>
                  <a:pt x="3" y="636"/>
                </a:lnTo>
                <a:lnTo>
                  <a:pt x="4" y="619"/>
                </a:lnTo>
                <a:lnTo>
                  <a:pt x="5" y="601"/>
                </a:lnTo>
                <a:lnTo>
                  <a:pt x="8" y="584"/>
                </a:lnTo>
                <a:lnTo>
                  <a:pt x="11" y="566"/>
                </a:lnTo>
                <a:lnTo>
                  <a:pt x="15" y="550"/>
                </a:lnTo>
                <a:lnTo>
                  <a:pt x="18" y="533"/>
                </a:lnTo>
                <a:lnTo>
                  <a:pt x="22" y="517"/>
                </a:lnTo>
                <a:lnTo>
                  <a:pt x="27" y="500"/>
                </a:lnTo>
                <a:lnTo>
                  <a:pt x="31" y="484"/>
                </a:lnTo>
                <a:lnTo>
                  <a:pt x="42" y="452"/>
                </a:lnTo>
                <a:lnTo>
                  <a:pt x="48" y="436"/>
                </a:lnTo>
                <a:lnTo>
                  <a:pt x="54" y="421"/>
                </a:lnTo>
                <a:lnTo>
                  <a:pt x="69" y="390"/>
                </a:lnTo>
                <a:lnTo>
                  <a:pt x="75" y="375"/>
                </a:lnTo>
                <a:lnTo>
                  <a:pt x="83" y="360"/>
                </a:lnTo>
                <a:lnTo>
                  <a:pt x="100" y="332"/>
                </a:lnTo>
                <a:lnTo>
                  <a:pt x="119" y="304"/>
                </a:lnTo>
                <a:lnTo>
                  <a:pt x="128" y="290"/>
                </a:lnTo>
                <a:lnTo>
                  <a:pt x="137" y="277"/>
                </a:lnTo>
                <a:lnTo>
                  <a:pt x="158" y="250"/>
                </a:lnTo>
                <a:lnTo>
                  <a:pt x="179" y="226"/>
                </a:lnTo>
                <a:lnTo>
                  <a:pt x="202" y="202"/>
                </a:lnTo>
                <a:lnTo>
                  <a:pt x="226" y="179"/>
                </a:lnTo>
                <a:lnTo>
                  <a:pt x="238" y="168"/>
                </a:lnTo>
                <a:lnTo>
                  <a:pt x="250" y="157"/>
                </a:lnTo>
                <a:lnTo>
                  <a:pt x="277" y="137"/>
                </a:lnTo>
                <a:lnTo>
                  <a:pt x="291" y="127"/>
                </a:lnTo>
                <a:lnTo>
                  <a:pt x="304" y="118"/>
                </a:lnTo>
                <a:lnTo>
                  <a:pt x="333" y="99"/>
                </a:lnTo>
                <a:lnTo>
                  <a:pt x="346" y="91"/>
                </a:lnTo>
                <a:lnTo>
                  <a:pt x="361" y="83"/>
                </a:lnTo>
                <a:lnTo>
                  <a:pt x="376" y="75"/>
                </a:lnTo>
                <a:lnTo>
                  <a:pt x="391" y="68"/>
                </a:lnTo>
                <a:lnTo>
                  <a:pt x="422" y="53"/>
                </a:lnTo>
                <a:lnTo>
                  <a:pt x="452" y="41"/>
                </a:lnTo>
                <a:lnTo>
                  <a:pt x="485" y="30"/>
                </a:lnTo>
                <a:lnTo>
                  <a:pt x="517" y="21"/>
                </a:lnTo>
                <a:lnTo>
                  <a:pt x="551" y="14"/>
                </a:lnTo>
                <a:lnTo>
                  <a:pt x="567" y="10"/>
                </a:lnTo>
                <a:lnTo>
                  <a:pt x="584" y="8"/>
                </a:lnTo>
                <a:lnTo>
                  <a:pt x="602" y="5"/>
                </a:lnTo>
                <a:lnTo>
                  <a:pt x="619" y="4"/>
                </a:lnTo>
                <a:lnTo>
                  <a:pt x="654" y="1"/>
                </a:lnTo>
                <a:lnTo>
                  <a:pt x="690" y="0"/>
                </a:lnTo>
                <a:lnTo>
                  <a:pt x="691" y="35"/>
                </a:lnTo>
                <a:lnTo>
                  <a:pt x="692" y="53"/>
                </a:lnTo>
                <a:lnTo>
                  <a:pt x="694" y="70"/>
                </a:lnTo>
                <a:lnTo>
                  <a:pt x="695" y="87"/>
                </a:lnTo>
                <a:lnTo>
                  <a:pt x="698" y="105"/>
                </a:lnTo>
                <a:lnTo>
                  <a:pt x="700" y="122"/>
                </a:lnTo>
                <a:lnTo>
                  <a:pt x="704" y="138"/>
                </a:lnTo>
                <a:lnTo>
                  <a:pt x="707" y="156"/>
                </a:lnTo>
                <a:lnTo>
                  <a:pt x="711" y="172"/>
                </a:lnTo>
                <a:lnTo>
                  <a:pt x="716" y="188"/>
                </a:lnTo>
                <a:lnTo>
                  <a:pt x="720" y="204"/>
                </a:lnTo>
                <a:lnTo>
                  <a:pt x="731" y="237"/>
                </a:lnTo>
                <a:lnTo>
                  <a:pt x="738" y="253"/>
                </a:lnTo>
                <a:lnTo>
                  <a:pt x="743" y="267"/>
                </a:lnTo>
                <a:lnTo>
                  <a:pt x="758" y="298"/>
                </a:lnTo>
                <a:lnTo>
                  <a:pt x="765" y="313"/>
                </a:lnTo>
                <a:lnTo>
                  <a:pt x="773" y="328"/>
                </a:lnTo>
                <a:lnTo>
                  <a:pt x="789" y="358"/>
                </a:lnTo>
                <a:lnTo>
                  <a:pt x="808" y="385"/>
                </a:lnTo>
                <a:lnTo>
                  <a:pt x="817" y="399"/>
                </a:lnTo>
                <a:lnTo>
                  <a:pt x="827" y="412"/>
                </a:lnTo>
                <a:lnTo>
                  <a:pt x="847" y="439"/>
                </a:lnTo>
                <a:lnTo>
                  <a:pt x="869" y="463"/>
                </a:lnTo>
                <a:lnTo>
                  <a:pt x="892" y="487"/>
                </a:lnTo>
                <a:lnTo>
                  <a:pt x="916" y="510"/>
                </a:lnTo>
                <a:lnTo>
                  <a:pt x="928" y="521"/>
                </a:lnTo>
                <a:lnTo>
                  <a:pt x="940" y="531"/>
                </a:lnTo>
                <a:lnTo>
                  <a:pt x="967" y="552"/>
                </a:lnTo>
                <a:lnTo>
                  <a:pt x="980" y="562"/>
                </a:lnTo>
                <a:lnTo>
                  <a:pt x="994" y="572"/>
                </a:lnTo>
                <a:lnTo>
                  <a:pt x="1022" y="589"/>
                </a:lnTo>
                <a:lnTo>
                  <a:pt x="1036" y="597"/>
                </a:lnTo>
                <a:lnTo>
                  <a:pt x="1050" y="606"/>
                </a:lnTo>
                <a:lnTo>
                  <a:pt x="1065" y="614"/>
                </a:lnTo>
                <a:lnTo>
                  <a:pt x="1080" y="622"/>
                </a:lnTo>
                <a:lnTo>
                  <a:pt x="1111" y="635"/>
                </a:lnTo>
                <a:lnTo>
                  <a:pt x="1142" y="647"/>
                </a:lnTo>
                <a:lnTo>
                  <a:pt x="1174" y="658"/>
                </a:lnTo>
                <a:lnTo>
                  <a:pt x="1207" y="667"/>
                </a:lnTo>
                <a:lnTo>
                  <a:pt x="1240" y="676"/>
                </a:lnTo>
                <a:lnTo>
                  <a:pt x="1256" y="678"/>
                </a:lnTo>
                <a:lnTo>
                  <a:pt x="1274" y="681"/>
                </a:lnTo>
                <a:lnTo>
                  <a:pt x="1291" y="684"/>
                </a:lnTo>
                <a:lnTo>
                  <a:pt x="1309" y="685"/>
                </a:lnTo>
                <a:lnTo>
                  <a:pt x="1344" y="688"/>
                </a:lnTo>
                <a:lnTo>
                  <a:pt x="1379" y="689"/>
                </a:lnTo>
                <a:lnTo>
                  <a:pt x="1344" y="690"/>
                </a:lnTo>
                <a:lnTo>
                  <a:pt x="1326" y="692"/>
                </a:lnTo>
                <a:lnTo>
                  <a:pt x="1309" y="693"/>
                </a:lnTo>
                <a:lnTo>
                  <a:pt x="1291" y="694"/>
                </a:lnTo>
                <a:lnTo>
                  <a:pt x="1274" y="697"/>
                </a:lnTo>
                <a:lnTo>
                  <a:pt x="1256" y="700"/>
                </a:lnTo>
                <a:lnTo>
                  <a:pt x="1240" y="704"/>
                </a:lnTo>
                <a:lnTo>
                  <a:pt x="1223" y="707"/>
                </a:lnTo>
                <a:lnTo>
                  <a:pt x="1207" y="711"/>
                </a:lnTo>
                <a:lnTo>
                  <a:pt x="1190" y="716"/>
                </a:lnTo>
                <a:lnTo>
                  <a:pt x="1174" y="720"/>
                </a:lnTo>
                <a:lnTo>
                  <a:pt x="1142" y="731"/>
                </a:lnTo>
                <a:lnTo>
                  <a:pt x="1126" y="737"/>
                </a:lnTo>
                <a:lnTo>
                  <a:pt x="1111" y="743"/>
                </a:lnTo>
                <a:lnTo>
                  <a:pt x="1080" y="758"/>
                </a:lnTo>
                <a:lnTo>
                  <a:pt x="1065" y="764"/>
                </a:lnTo>
                <a:lnTo>
                  <a:pt x="1050" y="772"/>
                </a:lnTo>
                <a:lnTo>
                  <a:pt x="1022" y="789"/>
                </a:lnTo>
                <a:lnTo>
                  <a:pt x="994" y="808"/>
                </a:lnTo>
                <a:lnTo>
                  <a:pt x="980" y="817"/>
                </a:lnTo>
                <a:lnTo>
                  <a:pt x="967" y="826"/>
                </a:lnTo>
                <a:lnTo>
                  <a:pt x="940" y="847"/>
                </a:lnTo>
                <a:lnTo>
                  <a:pt x="916" y="868"/>
                </a:lnTo>
                <a:lnTo>
                  <a:pt x="892" y="891"/>
                </a:lnTo>
                <a:lnTo>
                  <a:pt x="869" y="915"/>
                </a:lnTo>
                <a:lnTo>
                  <a:pt x="858" y="927"/>
                </a:lnTo>
                <a:lnTo>
                  <a:pt x="847" y="939"/>
                </a:lnTo>
                <a:lnTo>
                  <a:pt x="827" y="966"/>
                </a:lnTo>
                <a:lnTo>
                  <a:pt x="817" y="980"/>
                </a:lnTo>
                <a:lnTo>
                  <a:pt x="808" y="993"/>
                </a:lnTo>
                <a:lnTo>
                  <a:pt x="789" y="1022"/>
                </a:lnTo>
                <a:lnTo>
                  <a:pt x="781" y="1035"/>
                </a:lnTo>
                <a:lnTo>
                  <a:pt x="773" y="1050"/>
                </a:lnTo>
                <a:lnTo>
                  <a:pt x="765" y="1065"/>
                </a:lnTo>
                <a:lnTo>
                  <a:pt x="758" y="1080"/>
                </a:lnTo>
                <a:lnTo>
                  <a:pt x="743" y="1111"/>
                </a:lnTo>
                <a:lnTo>
                  <a:pt x="731" y="1141"/>
                </a:lnTo>
                <a:lnTo>
                  <a:pt x="720" y="1174"/>
                </a:lnTo>
                <a:lnTo>
                  <a:pt x="711" y="1206"/>
                </a:lnTo>
                <a:lnTo>
                  <a:pt x="704" y="1240"/>
                </a:lnTo>
                <a:lnTo>
                  <a:pt x="700" y="1256"/>
                </a:lnTo>
                <a:lnTo>
                  <a:pt x="698" y="1273"/>
                </a:lnTo>
                <a:lnTo>
                  <a:pt x="695" y="1291"/>
                </a:lnTo>
                <a:lnTo>
                  <a:pt x="694" y="1308"/>
                </a:lnTo>
                <a:lnTo>
                  <a:pt x="691" y="1343"/>
                </a:lnTo>
                <a:lnTo>
                  <a:pt x="690" y="1379"/>
                </a:lnTo>
                <a:lnTo>
                  <a:pt x="654" y="1377"/>
                </a:lnTo>
                <a:lnTo>
                  <a:pt x="637" y="1377"/>
                </a:lnTo>
                <a:lnTo>
                  <a:pt x="619" y="1374"/>
                </a:lnTo>
                <a:lnTo>
                  <a:pt x="602" y="1373"/>
                </a:lnTo>
                <a:lnTo>
                  <a:pt x="584" y="1370"/>
                </a:lnTo>
                <a:lnTo>
                  <a:pt x="567" y="1368"/>
                </a:lnTo>
                <a:lnTo>
                  <a:pt x="551" y="1365"/>
                </a:lnTo>
                <a:lnTo>
                  <a:pt x="533" y="1361"/>
                </a:lnTo>
                <a:lnTo>
                  <a:pt x="517" y="1357"/>
                </a:lnTo>
                <a:lnTo>
                  <a:pt x="501" y="1353"/>
                </a:lnTo>
                <a:lnTo>
                  <a:pt x="485" y="1348"/>
                </a:lnTo>
                <a:lnTo>
                  <a:pt x="452" y="1337"/>
                </a:lnTo>
                <a:lnTo>
                  <a:pt x="436" y="1331"/>
                </a:lnTo>
                <a:lnTo>
                  <a:pt x="422" y="1325"/>
                </a:lnTo>
                <a:lnTo>
                  <a:pt x="391" y="1311"/>
                </a:lnTo>
                <a:lnTo>
                  <a:pt x="376" y="1303"/>
                </a:lnTo>
                <a:lnTo>
                  <a:pt x="361" y="1295"/>
                </a:lnTo>
                <a:lnTo>
                  <a:pt x="333" y="1279"/>
                </a:lnTo>
                <a:lnTo>
                  <a:pt x="304" y="1261"/>
                </a:lnTo>
                <a:lnTo>
                  <a:pt x="291" y="1252"/>
                </a:lnTo>
                <a:lnTo>
                  <a:pt x="277" y="1241"/>
                </a:lnTo>
                <a:lnTo>
                  <a:pt x="250" y="1221"/>
                </a:lnTo>
                <a:lnTo>
                  <a:pt x="226" y="1199"/>
                </a:lnTo>
                <a:lnTo>
                  <a:pt x="202" y="1176"/>
                </a:lnTo>
                <a:lnTo>
                  <a:pt x="179" y="1152"/>
                </a:lnTo>
                <a:lnTo>
                  <a:pt x="168" y="1140"/>
                </a:lnTo>
                <a:lnTo>
                  <a:pt x="158" y="1128"/>
                </a:lnTo>
                <a:lnTo>
                  <a:pt x="137" y="1101"/>
                </a:lnTo>
                <a:lnTo>
                  <a:pt x="128" y="1089"/>
                </a:lnTo>
                <a:lnTo>
                  <a:pt x="119" y="1074"/>
                </a:lnTo>
                <a:lnTo>
                  <a:pt x="100" y="1047"/>
                </a:lnTo>
                <a:lnTo>
                  <a:pt x="92" y="1032"/>
                </a:lnTo>
                <a:lnTo>
                  <a:pt x="83" y="1018"/>
                </a:lnTo>
                <a:lnTo>
                  <a:pt x="75" y="1003"/>
                </a:lnTo>
                <a:lnTo>
                  <a:pt x="69" y="988"/>
                </a:lnTo>
                <a:lnTo>
                  <a:pt x="54" y="957"/>
                </a:lnTo>
                <a:lnTo>
                  <a:pt x="42" y="926"/>
                </a:lnTo>
                <a:lnTo>
                  <a:pt x="31" y="894"/>
                </a:lnTo>
                <a:lnTo>
                  <a:pt x="22" y="861"/>
                </a:lnTo>
                <a:lnTo>
                  <a:pt x="15" y="828"/>
                </a:lnTo>
                <a:lnTo>
                  <a:pt x="11" y="812"/>
                </a:lnTo>
                <a:lnTo>
                  <a:pt x="8" y="794"/>
                </a:lnTo>
                <a:lnTo>
                  <a:pt x="5" y="777"/>
                </a:lnTo>
                <a:lnTo>
                  <a:pt x="4" y="759"/>
                </a:lnTo>
                <a:lnTo>
                  <a:pt x="1" y="724"/>
                </a:lnTo>
                <a:lnTo>
                  <a:pt x="0" y="689"/>
                </a:lnTo>
                <a:close/>
              </a:path>
            </a:pathLst>
          </a:custGeom>
          <a:pattFill prst="wdUpDiag">
            <a:fgClr>
              <a:schemeClr val="tx2">
                <a:lumMod val="20000"/>
                <a:lumOff val="80000"/>
              </a:schemeClr>
            </a:fgClr>
            <a:bgClr>
              <a:schemeClr val="bg1"/>
            </a:bgClr>
          </a:pattFill>
          <a:ln w="9525">
            <a:noFill/>
            <a:round/>
            <a:headEnd/>
            <a:tailEnd/>
          </a:ln>
        </p:spPr>
        <p:txBody>
          <a:bodyPr/>
          <a:lstStyle/>
          <a:p>
            <a:endParaRPr lang="en-US"/>
          </a:p>
        </p:txBody>
      </p:sp>
      <p:sp>
        <p:nvSpPr>
          <p:cNvPr id="9" name="Freeform 30">
            <a:extLst>
              <a:ext uri="{FF2B5EF4-FFF2-40B4-BE49-F238E27FC236}">
                <a16:creationId xmlns:a16="http://schemas.microsoft.com/office/drawing/2014/main" id="{C1BCF55C-AA1D-482F-8455-DEF0C1859EB0}"/>
              </a:ext>
            </a:extLst>
          </p:cNvPr>
          <p:cNvSpPr>
            <a:spLocks/>
          </p:cNvSpPr>
          <p:nvPr/>
        </p:nvSpPr>
        <p:spPr bwMode="auto">
          <a:xfrm>
            <a:off x="6105483" y="2774950"/>
            <a:ext cx="1095375" cy="1093788"/>
          </a:xfrm>
          <a:custGeom>
            <a:avLst/>
            <a:gdLst/>
            <a:ahLst/>
            <a:cxnLst>
              <a:cxn ang="0">
                <a:pos x="1" y="654"/>
              </a:cxn>
              <a:cxn ang="0">
                <a:pos x="4" y="619"/>
              </a:cxn>
              <a:cxn ang="0">
                <a:pos x="8" y="584"/>
              </a:cxn>
              <a:cxn ang="0">
                <a:pos x="15" y="550"/>
              </a:cxn>
              <a:cxn ang="0">
                <a:pos x="22" y="517"/>
              </a:cxn>
              <a:cxn ang="0">
                <a:pos x="31" y="484"/>
              </a:cxn>
              <a:cxn ang="0">
                <a:pos x="48" y="436"/>
              </a:cxn>
              <a:cxn ang="0">
                <a:pos x="69" y="390"/>
              </a:cxn>
              <a:cxn ang="0">
                <a:pos x="83" y="360"/>
              </a:cxn>
              <a:cxn ang="0">
                <a:pos x="119" y="304"/>
              </a:cxn>
              <a:cxn ang="0">
                <a:pos x="137" y="277"/>
              </a:cxn>
              <a:cxn ang="0">
                <a:pos x="179" y="226"/>
              </a:cxn>
              <a:cxn ang="0">
                <a:pos x="226" y="179"/>
              </a:cxn>
              <a:cxn ang="0">
                <a:pos x="250" y="157"/>
              </a:cxn>
              <a:cxn ang="0">
                <a:pos x="291" y="127"/>
              </a:cxn>
              <a:cxn ang="0">
                <a:pos x="333" y="99"/>
              </a:cxn>
              <a:cxn ang="0">
                <a:pos x="361" y="83"/>
              </a:cxn>
              <a:cxn ang="0">
                <a:pos x="391" y="68"/>
              </a:cxn>
              <a:cxn ang="0">
                <a:pos x="452" y="41"/>
              </a:cxn>
              <a:cxn ang="0">
                <a:pos x="517" y="21"/>
              </a:cxn>
              <a:cxn ang="0">
                <a:pos x="567" y="10"/>
              </a:cxn>
              <a:cxn ang="0">
                <a:pos x="602" y="5"/>
              </a:cxn>
              <a:cxn ang="0">
                <a:pos x="654" y="1"/>
              </a:cxn>
              <a:cxn ang="0">
                <a:pos x="688" y="35"/>
              </a:cxn>
              <a:cxn ang="0">
                <a:pos x="685" y="70"/>
              </a:cxn>
              <a:cxn ang="0">
                <a:pos x="681" y="105"/>
              </a:cxn>
              <a:cxn ang="0">
                <a:pos x="676" y="138"/>
              </a:cxn>
              <a:cxn ang="0">
                <a:pos x="668" y="172"/>
              </a:cxn>
              <a:cxn ang="0">
                <a:pos x="659" y="204"/>
              </a:cxn>
              <a:cxn ang="0">
                <a:pos x="642" y="253"/>
              </a:cxn>
              <a:cxn ang="0">
                <a:pos x="622" y="298"/>
              </a:cxn>
              <a:cxn ang="0">
                <a:pos x="606" y="328"/>
              </a:cxn>
              <a:cxn ang="0">
                <a:pos x="572" y="385"/>
              </a:cxn>
              <a:cxn ang="0">
                <a:pos x="552" y="412"/>
              </a:cxn>
              <a:cxn ang="0">
                <a:pos x="510" y="463"/>
              </a:cxn>
              <a:cxn ang="0">
                <a:pos x="463" y="510"/>
              </a:cxn>
              <a:cxn ang="0">
                <a:pos x="439" y="531"/>
              </a:cxn>
              <a:cxn ang="0">
                <a:pos x="400" y="562"/>
              </a:cxn>
              <a:cxn ang="0">
                <a:pos x="358" y="589"/>
              </a:cxn>
              <a:cxn ang="0">
                <a:pos x="329" y="606"/>
              </a:cxn>
              <a:cxn ang="0">
                <a:pos x="299" y="622"/>
              </a:cxn>
              <a:cxn ang="0">
                <a:pos x="237" y="647"/>
              </a:cxn>
              <a:cxn ang="0">
                <a:pos x="172" y="667"/>
              </a:cxn>
              <a:cxn ang="0">
                <a:pos x="123" y="678"/>
              </a:cxn>
              <a:cxn ang="0">
                <a:pos x="88" y="684"/>
              </a:cxn>
              <a:cxn ang="0">
                <a:pos x="35" y="688"/>
              </a:cxn>
            </a:cxnLst>
            <a:rect l="0" t="0" r="r" b="b"/>
            <a:pathLst>
              <a:path w="690" h="689">
                <a:moveTo>
                  <a:pt x="0" y="689"/>
                </a:moveTo>
                <a:lnTo>
                  <a:pt x="1" y="654"/>
                </a:lnTo>
                <a:lnTo>
                  <a:pt x="3" y="636"/>
                </a:lnTo>
                <a:lnTo>
                  <a:pt x="4" y="619"/>
                </a:lnTo>
                <a:lnTo>
                  <a:pt x="5" y="601"/>
                </a:lnTo>
                <a:lnTo>
                  <a:pt x="8" y="584"/>
                </a:lnTo>
                <a:lnTo>
                  <a:pt x="11" y="566"/>
                </a:lnTo>
                <a:lnTo>
                  <a:pt x="15" y="550"/>
                </a:lnTo>
                <a:lnTo>
                  <a:pt x="18" y="533"/>
                </a:lnTo>
                <a:lnTo>
                  <a:pt x="22" y="517"/>
                </a:lnTo>
                <a:lnTo>
                  <a:pt x="27" y="500"/>
                </a:lnTo>
                <a:lnTo>
                  <a:pt x="31" y="484"/>
                </a:lnTo>
                <a:lnTo>
                  <a:pt x="42" y="452"/>
                </a:lnTo>
                <a:lnTo>
                  <a:pt x="48" y="436"/>
                </a:lnTo>
                <a:lnTo>
                  <a:pt x="54" y="421"/>
                </a:lnTo>
                <a:lnTo>
                  <a:pt x="69" y="390"/>
                </a:lnTo>
                <a:lnTo>
                  <a:pt x="75" y="375"/>
                </a:lnTo>
                <a:lnTo>
                  <a:pt x="83" y="360"/>
                </a:lnTo>
                <a:lnTo>
                  <a:pt x="100" y="332"/>
                </a:lnTo>
                <a:lnTo>
                  <a:pt x="119" y="304"/>
                </a:lnTo>
                <a:lnTo>
                  <a:pt x="128" y="290"/>
                </a:lnTo>
                <a:lnTo>
                  <a:pt x="137" y="277"/>
                </a:lnTo>
                <a:lnTo>
                  <a:pt x="158" y="250"/>
                </a:lnTo>
                <a:lnTo>
                  <a:pt x="179" y="226"/>
                </a:lnTo>
                <a:lnTo>
                  <a:pt x="202" y="202"/>
                </a:lnTo>
                <a:lnTo>
                  <a:pt x="226" y="179"/>
                </a:lnTo>
                <a:lnTo>
                  <a:pt x="238" y="168"/>
                </a:lnTo>
                <a:lnTo>
                  <a:pt x="250" y="157"/>
                </a:lnTo>
                <a:lnTo>
                  <a:pt x="277" y="137"/>
                </a:lnTo>
                <a:lnTo>
                  <a:pt x="291" y="127"/>
                </a:lnTo>
                <a:lnTo>
                  <a:pt x="304" y="118"/>
                </a:lnTo>
                <a:lnTo>
                  <a:pt x="333" y="99"/>
                </a:lnTo>
                <a:lnTo>
                  <a:pt x="346" y="91"/>
                </a:lnTo>
                <a:lnTo>
                  <a:pt x="361" y="83"/>
                </a:lnTo>
                <a:lnTo>
                  <a:pt x="376" y="75"/>
                </a:lnTo>
                <a:lnTo>
                  <a:pt x="391" y="68"/>
                </a:lnTo>
                <a:lnTo>
                  <a:pt x="422" y="53"/>
                </a:lnTo>
                <a:lnTo>
                  <a:pt x="452" y="41"/>
                </a:lnTo>
                <a:lnTo>
                  <a:pt x="485" y="30"/>
                </a:lnTo>
                <a:lnTo>
                  <a:pt x="517" y="21"/>
                </a:lnTo>
                <a:lnTo>
                  <a:pt x="551" y="14"/>
                </a:lnTo>
                <a:lnTo>
                  <a:pt x="567" y="10"/>
                </a:lnTo>
                <a:lnTo>
                  <a:pt x="584" y="8"/>
                </a:lnTo>
                <a:lnTo>
                  <a:pt x="602" y="5"/>
                </a:lnTo>
                <a:lnTo>
                  <a:pt x="619" y="4"/>
                </a:lnTo>
                <a:lnTo>
                  <a:pt x="654" y="1"/>
                </a:lnTo>
                <a:lnTo>
                  <a:pt x="690" y="0"/>
                </a:lnTo>
                <a:lnTo>
                  <a:pt x="688" y="35"/>
                </a:lnTo>
                <a:lnTo>
                  <a:pt x="688" y="53"/>
                </a:lnTo>
                <a:lnTo>
                  <a:pt x="685" y="70"/>
                </a:lnTo>
                <a:lnTo>
                  <a:pt x="684" y="87"/>
                </a:lnTo>
                <a:lnTo>
                  <a:pt x="681" y="105"/>
                </a:lnTo>
                <a:lnTo>
                  <a:pt x="679" y="122"/>
                </a:lnTo>
                <a:lnTo>
                  <a:pt x="676" y="138"/>
                </a:lnTo>
                <a:lnTo>
                  <a:pt x="672" y="156"/>
                </a:lnTo>
                <a:lnTo>
                  <a:pt x="668" y="172"/>
                </a:lnTo>
                <a:lnTo>
                  <a:pt x="664" y="188"/>
                </a:lnTo>
                <a:lnTo>
                  <a:pt x="659" y="204"/>
                </a:lnTo>
                <a:lnTo>
                  <a:pt x="648" y="237"/>
                </a:lnTo>
                <a:lnTo>
                  <a:pt x="642" y="253"/>
                </a:lnTo>
                <a:lnTo>
                  <a:pt x="636" y="267"/>
                </a:lnTo>
                <a:lnTo>
                  <a:pt x="622" y="298"/>
                </a:lnTo>
                <a:lnTo>
                  <a:pt x="614" y="313"/>
                </a:lnTo>
                <a:lnTo>
                  <a:pt x="606" y="328"/>
                </a:lnTo>
                <a:lnTo>
                  <a:pt x="590" y="358"/>
                </a:lnTo>
                <a:lnTo>
                  <a:pt x="572" y="385"/>
                </a:lnTo>
                <a:lnTo>
                  <a:pt x="563" y="399"/>
                </a:lnTo>
                <a:lnTo>
                  <a:pt x="552" y="412"/>
                </a:lnTo>
                <a:lnTo>
                  <a:pt x="532" y="439"/>
                </a:lnTo>
                <a:lnTo>
                  <a:pt x="510" y="463"/>
                </a:lnTo>
                <a:lnTo>
                  <a:pt x="487" y="487"/>
                </a:lnTo>
                <a:lnTo>
                  <a:pt x="463" y="510"/>
                </a:lnTo>
                <a:lnTo>
                  <a:pt x="451" y="521"/>
                </a:lnTo>
                <a:lnTo>
                  <a:pt x="439" y="531"/>
                </a:lnTo>
                <a:lnTo>
                  <a:pt x="412" y="552"/>
                </a:lnTo>
                <a:lnTo>
                  <a:pt x="400" y="562"/>
                </a:lnTo>
                <a:lnTo>
                  <a:pt x="385" y="572"/>
                </a:lnTo>
                <a:lnTo>
                  <a:pt x="358" y="589"/>
                </a:lnTo>
                <a:lnTo>
                  <a:pt x="343" y="597"/>
                </a:lnTo>
                <a:lnTo>
                  <a:pt x="329" y="606"/>
                </a:lnTo>
                <a:lnTo>
                  <a:pt x="314" y="614"/>
                </a:lnTo>
                <a:lnTo>
                  <a:pt x="299" y="622"/>
                </a:lnTo>
                <a:lnTo>
                  <a:pt x="268" y="635"/>
                </a:lnTo>
                <a:lnTo>
                  <a:pt x="237" y="647"/>
                </a:lnTo>
                <a:lnTo>
                  <a:pt x="205" y="658"/>
                </a:lnTo>
                <a:lnTo>
                  <a:pt x="172" y="667"/>
                </a:lnTo>
                <a:lnTo>
                  <a:pt x="139" y="676"/>
                </a:lnTo>
                <a:lnTo>
                  <a:pt x="123" y="678"/>
                </a:lnTo>
                <a:lnTo>
                  <a:pt x="105" y="681"/>
                </a:lnTo>
                <a:lnTo>
                  <a:pt x="88" y="684"/>
                </a:lnTo>
                <a:lnTo>
                  <a:pt x="70" y="685"/>
                </a:lnTo>
                <a:lnTo>
                  <a:pt x="35" y="688"/>
                </a:lnTo>
                <a:lnTo>
                  <a:pt x="0" y="689"/>
                </a:lnTo>
                <a:close/>
              </a:path>
            </a:pathLst>
          </a:custGeom>
          <a:solidFill>
            <a:schemeClr val="accent2"/>
          </a:solidFill>
          <a:ln w="9525">
            <a:noFill/>
            <a:round/>
            <a:headEnd/>
            <a:tailEnd/>
          </a:ln>
        </p:spPr>
        <p:txBody>
          <a:bodyPr/>
          <a:lstStyle/>
          <a:p>
            <a:endParaRPr lang="en-US"/>
          </a:p>
        </p:txBody>
      </p:sp>
      <p:sp>
        <p:nvSpPr>
          <p:cNvPr id="10" name="Freeform 31">
            <a:extLst>
              <a:ext uri="{FF2B5EF4-FFF2-40B4-BE49-F238E27FC236}">
                <a16:creationId xmlns:a16="http://schemas.microsoft.com/office/drawing/2014/main" id="{E6616C1E-4DAD-4469-A025-3006272E8884}"/>
              </a:ext>
            </a:extLst>
          </p:cNvPr>
          <p:cNvSpPr>
            <a:spLocks/>
          </p:cNvSpPr>
          <p:nvPr/>
        </p:nvSpPr>
        <p:spPr bwMode="auto">
          <a:xfrm>
            <a:off x="6105483" y="3868738"/>
            <a:ext cx="1095375" cy="1095375"/>
          </a:xfrm>
          <a:custGeom>
            <a:avLst/>
            <a:gdLst/>
            <a:ahLst/>
            <a:cxnLst>
              <a:cxn ang="0">
                <a:pos x="654" y="688"/>
              </a:cxn>
              <a:cxn ang="0">
                <a:pos x="619" y="685"/>
              </a:cxn>
              <a:cxn ang="0">
                <a:pos x="584" y="681"/>
              </a:cxn>
              <a:cxn ang="0">
                <a:pos x="551" y="676"/>
              </a:cxn>
              <a:cxn ang="0">
                <a:pos x="517" y="668"/>
              </a:cxn>
              <a:cxn ang="0">
                <a:pos x="485" y="659"/>
              </a:cxn>
              <a:cxn ang="0">
                <a:pos x="436" y="642"/>
              </a:cxn>
              <a:cxn ang="0">
                <a:pos x="391" y="622"/>
              </a:cxn>
              <a:cxn ang="0">
                <a:pos x="361" y="606"/>
              </a:cxn>
              <a:cxn ang="0">
                <a:pos x="304" y="572"/>
              </a:cxn>
              <a:cxn ang="0">
                <a:pos x="277" y="552"/>
              </a:cxn>
              <a:cxn ang="0">
                <a:pos x="226" y="510"/>
              </a:cxn>
              <a:cxn ang="0">
                <a:pos x="179" y="463"/>
              </a:cxn>
              <a:cxn ang="0">
                <a:pos x="158" y="439"/>
              </a:cxn>
              <a:cxn ang="0">
                <a:pos x="128" y="400"/>
              </a:cxn>
              <a:cxn ang="0">
                <a:pos x="100" y="358"/>
              </a:cxn>
              <a:cxn ang="0">
                <a:pos x="83" y="329"/>
              </a:cxn>
              <a:cxn ang="0">
                <a:pos x="69" y="299"/>
              </a:cxn>
              <a:cxn ang="0">
                <a:pos x="42" y="237"/>
              </a:cxn>
              <a:cxn ang="0">
                <a:pos x="22" y="172"/>
              </a:cxn>
              <a:cxn ang="0">
                <a:pos x="11" y="123"/>
              </a:cxn>
              <a:cxn ang="0">
                <a:pos x="5" y="88"/>
              </a:cxn>
              <a:cxn ang="0">
                <a:pos x="1" y="35"/>
              </a:cxn>
              <a:cxn ang="0">
                <a:pos x="35" y="1"/>
              </a:cxn>
              <a:cxn ang="0">
                <a:pos x="70" y="4"/>
              </a:cxn>
              <a:cxn ang="0">
                <a:pos x="105" y="8"/>
              </a:cxn>
              <a:cxn ang="0">
                <a:pos x="139" y="15"/>
              </a:cxn>
              <a:cxn ang="0">
                <a:pos x="172" y="22"/>
              </a:cxn>
              <a:cxn ang="0">
                <a:pos x="205" y="31"/>
              </a:cxn>
              <a:cxn ang="0">
                <a:pos x="253" y="48"/>
              </a:cxn>
              <a:cxn ang="0">
                <a:pos x="299" y="69"/>
              </a:cxn>
              <a:cxn ang="0">
                <a:pos x="329" y="83"/>
              </a:cxn>
              <a:cxn ang="0">
                <a:pos x="385" y="119"/>
              </a:cxn>
              <a:cxn ang="0">
                <a:pos x="412" y="137"/>
              </a:cxn>
              <a:cxn ang="0">
                <a:pos x="463" y="179"/>
              </a:cxn>
              <a:cxn ang="0">
                <a:pos x="510" y="226"/>
              </a:cxn>
              <a:cxn ang="0">
                <a:pos x="532" y="250"/>
              </a:cxn>
              <a:cxn ang="0">
                <a:pos x="563" y="291"/>
              </a:cxn>
              <a:cxn ang="0">
                <a:pos x="590" y="333"/>
              </a:cxn>
              <a:cxn ang="0">
                <a:pos x="606" y="361"/>
              </a:cxn>
              <a:cxn ang="0">
                <a:pos x="622" y="391"/>
              </a:cxn>
              <a:cxn ang="0">
                <a:pos x="648" y="452"/>
              </a:cxn>
              <a:cxn ang="0">
                <a:pos x="668" y="517"/>
              </a:cxn>
              <a:cxn ang="0">
                <a:pos x="679" y="567"/>
              </a:cxn>
              <a:cxn ang="0">
                <a:pos x="684" y="602"/>
              </a:cxn>
              <a:cxn ang="0">
                <a:pos x="688" y="654"/>
              </a:cxn>
            </a:cxnLst>
            <a:rect l="0" t="0" r="r" b="b"/>
            <a:pathLst>
              <a:path w="690" h="690">
                <a:moveTo>
                  <a:pt x="690" y="690"/>
                </a:moveTo>
                <a:lnTo>
                  <a:pt x="654" y="688"/>
                </a:lnTo>
                <a:lnTo>
                  <a:pt x="637" y="688"/>
                </a:lnTo>
                <a:lnTo>
                  <a:pt x="619" y="685"/>
                </a:lnTo>
                <a:lnTo>
                  <a:pt x="602" y="684"/>
                </a:lnTo>
                <a:lnTo>
                  <a:pt x="584" y="681"/>
                </a:lnTo>
                <a:lnTo>
                  <a:pt x="567" y="679"/>
                </a:lnTo>
                <a:lnTo>
                  <a:pt x="551" y="676"/>
                </a:lnTo>
                <a:lnTo>
                  <a:pt x="533" y="672"/>
                </a:lnTo>
                <a:lnTo>
                  <a:pt x="517" y="668"/>
                </a:lnTo>
                <a:lnTo>
                  <a:pt x="501" y="664"/>
                </a:lnTo>
                <a:lnTo>
                  <a:pt x="485" y="659"/>
                </a:lnTo>
                <a:lnTo>
                  <a:pt x="452" y="648"/>
                </a:lnTo>
                <a:lnTo>
                  <a:pt x="436" y="642"/>
                </a:lnTo>
                <a:lnTo>
                  <a:pt x="422" y="636"/>
                </a:lnTo>
                <a:lnTo>
                  <a:pt x="391" y="622"/>
                </a:lnTo>
                <a:lnTo>
                  <a:pt x="376" y="614"/>
                </a:lnTo>
                <a:lnTo>
                  <a:pt x="361" y="606"/>
                </a:lnTo>
                <a:lnTo>
                  <a:pt x="333" y="590"/>
                </a:lnTo>
                <a:lnTo>
                  <a:pt x="304" y="572"/>
                </a:lnTo>
                <a:lnTo>
                  <a:pt x="291" y="563"/>
                </a:lnTo>
                <a:lnTo>
                  <a:pt x="277" y="552"/>
                </a:lnTo>
                <a:lnTo>
                  <a:pt x="250" y="532"/>
                </a:lnTo>
                <a:lnTo>
                  <a:pt x="226" y="510"/>
                </a:lnTo>
                <a:lnTo>
                  <a:pt x="202" y="487"/>
                </a:lnTo>
                <a:lnTo>
                  <a:pt x="179" y="463"/>
                </a:lnTo>
                <a:lnTo>
                  <a:pt x="168" y="451"/>
                </a:lnTo>
                <a:lnTo>
                  <a:pt x="158" y="439"/>
                </a:lnTo>
                <a:lnTo>
                  <a:pt x="137" y="412"/>
                </a:lnTo>
                <a:lnTo>
                  <a:pt x="128" y="400"/>
                </a:lnTo>
                <a:lnTo>
                  <a:pt x="119" y="385"/>
                </a:lnTo>
                <a:lnTo>
                  <a:pt x="100" y="358"/>
                </a:lnTo>
                <a:lnTo>
                  <a:pt x="92" y="343"/>
                </a:lnTo>
                <a:lnTo>
                  <a:pt x="83" y="329"/>
                </a:lnTo>
                <a:lnTo>
                  <a:pt x="75" y="314"/>
                </a:lnTo>
                <a:lnTo>
                  <a:pt x="69" y="299"/>
                </a:lnTo>
                <a:lnTo>
                  <a:pt x="54" y="268"/>
                </a:lnTo>
                <a:lnTo>
                  <a:pt x="42" y="237"/>
                </a:lnTo>
                <a:lnTo>
                  <a:pt x="31" y="205"/>
                </a:lnTo>
                <a:lnTo>
                  <a:pt x="22" y="172"/>
                </a:lnTo>
                <a:lnTo>
                  <a:pt x="15" y="139"/>
                </a:lnTo>
                <a:lnTo>
                  <a:pt x="11" y="123"/>
                </a:lnTo>
                <a:lnTo>
                  <a:pt x="8" y="105"/>
                </a:lnTo>
                <a:lnTo>
                  <a:pt x="5" y="88"/>
                </a:lnTo>
                <a:lnTo>
                  <a:pt x="4" y="70"/>
                </a:lnTo>
                <a:lnTo>
                  <a:pt x="1" y="35"/>
                </a:lnTo>
                <a:lnTo>
                  <a:pt x="0" y="0"/>
                </a:lnTo>
                <a:lnTo>
                  <a:pt x="35" y="1"/>
                </a:lnTo>
                <a:lnTo>
                  <a:pt x="54" y="3"/>
                </a:lnTo>
                <a:lnTo>
                  <a:pt x="70" y="4"/>
                </a:lnTo>
                <a:lnTo>
                  <a:pt x="88" y="5"/>
                </a:lnTo>
                <a:lnTo>
                  <a:pt x="105" y="8"/>
                </a:lnTo>
                <a:lnTo>
                  <a:pt x="123" y="11"/>
                </a:lnTo>
                <a:lnTo>
                  <a:pt x="139" y="15"/>
                </a:lnTo>
                <a:lnTo>
                  <a:pt x="156" y="18"/>
                </a:lnTo>
                <a:lnTo>
                  <a:pt x="172" y="22"/>
                </a:lnTo>
                <a:lnTo>
                  <a:pt x="189" y="27"/>
                </a:lnTo>
                <a:lnTo>
                  <a:pt x="205" y="31"/>
                </a:lnTo>
                <a:lnTo>
                  <a:pt x="237" y="42"/>
                </a:lnTo>
                <a:lnTo>
                  <a:pt x="253" y="48"/>
                </a:lnTo>
                <a:lnTo>
                  <a:pt x="268" y="54"/>
                </a:lnTo>
                <a:lnTo>
                  <a:pt x="299" y="69"/>
                </a:lnTo>
                <a:lnTo>
                  <a:pt x="314" y="75"/>
                </a:lnTo>
                <a:lnTo>
                  <a:pt x="329" y="83"/>
                </a:lnTo>
                <a:lnTo>
                  <a:pt x="358" y="100"/>
                </a:lnTo>
                <a:lnTo>
                  <a:pt x="385" y="119"/>
                </a:lnTo>
                <a:lnTo>
                  <a:pt x="400" y="128"/>
                </a:lnTo>
                <a:lnTo>
                  <a:pt x="412" y="137"/>
                </a:lnTo>
                <a:lnTo>
                  <a:pt x="439" y="158"/>
                </a:lnTo>
                <a:lnTo>
                  <a:pt x="463" y="179"/>
                </a:lnTo>
                <a:lnTo>
                  <a:pt x="487" y="202"/>
                </a:lnTo>
                <a:lnTo>
                  <a:pt x="510" y="226"/>
                </a:lnTo>
                <a:lnTo>
                  <a:pt x="521" y="238"/>
                </a:lnTo>
                <a:lnTo>
                  <a:pt x="532" y="250"/>
                </a:lnTo>
                <a:lnTo>
                  <a:pt x="552" y="277"/>
                </a:lnTo>
                <a:lnTo>
                  <a:pt x="563" y="291"/>
                </a:lnTo>
                <a:lnTo>
                  <a:pt x="572" y="304"/>
                </a:lnTo>
                <a:lnTo>
                  <a:pt x="590" y="333"/>
                </a:lnTo>
                <a:lnTo>
                  <a:pt x="598" y="346"/>
                </a:lnTo>
                <a:lnTo>
                  <a:pt x="606" y="361"/>
                </a:lnTo>
                <a:lnTo>
                  <a:pt x="614" y="376"/>
                </a:lnTo>
                <a:lnTo>
                  <a:pt x="622" y="391"/>
                </a:lnTo>
                <a:lnTo>
                  <a:pt x="636" y="422"/>
                </a:lnTo>
                <a:lnTo>
                  <a:pt x="648" y="452"/>
                </a:lnTo>
                <a:lnTo>
                  <a:pt x="659" y="485"/>
                </a:lnTo>
                <a:lnTo>
                  <a:pt x="668" y="517"/>
                </a:lnTo>
                <a:lnTo>
                  <a:pt x="676" y="551"/>
                </a:lnTo>
                <a:lnTo>
                  <a:pt x="679" y="567"/>
                </a:lnTo>
                <a:lnTo>
                  <a:pt x="681" y="584"/>
                </a:lnTo>
                <a:lnTo>
                  <a:pt x="684" y="602"/>
                </a:lnTo>
                <a:lnTo>
                  <a:pt x="685" y="619"/>
                </a:lnTo>
                <a:lnTo>
                  <a:pt x="688" y="654"/>
                </a:lnTo>
                <a:lnTo>
                  <a:pt x="690" y="690"/>
                </a:lnTo>
                <a:close/>
              </a:path>
            </a:pathLst>
          </a:custGeom>
          <a:solidFill>
            <a:schemeClr val="accent2"/>
          </a:solidFill>
          <a:ln w="9525">
            <a:noFill/>
            <a:round/>
            <a:headEnd/>
            <a:tailEnd/>
          </a:ln>
        </p:spPr>
        <p:txBody>
          <a:bodyPr/>
          <a:lstStyle/>
          <a:p>
            <a:endParaRPr lang="en-US"/>
          </a:p>
        </p:txBody>
      </p:sp>
      <p:sp>
        <p:nvSpPr>
          <p:cNvPr id="11" name="Freeform 32">
            <a:extLst>
              <a:ext uri="{FF2B5EF4-FFF2-40B4-BE49-F238E27FC236}">
                <a16:creationId xmlns:a16="http://schemas.microsoft.com/office/drawing/2014/main" id="{9A5E9A77-208E-4093-AF95-3AC2A73C4692}"/>
              </a:ext>
            </a:extLst>
          </p:cNvPr>
          <p:cNvSpPr>
            <a:spLocks/>
          </p:cNvSpPr>
          <p:nvPr/>
        </p:nvSpPr>
        <p:spPr bwMode="auto">
          <a:xfrm>
            <a:off x="6105483" y="2774950"/>
            <a:ext cx="2189163" cy="2189163"/>
          </a:xfrm>
          <a:custGeom>
            <a:avLst/>
            <a:gdLst/>
            <a:ahLst/>
            <a:cxnLst>
              <a:cxn ang="0">
                <a:pos x="743" y="2"/>
              </a:cxn>
              <a:cxn ang="0">
                <a:pos x="795" y="8"/>
              </a:cxn>
              <a:cxn ang="0">
                <a:pos x="846" y="17"/>
              </a:cxn>
              <a:cxn ang="0">
                <a:pos x="894" y="30"/>
              </a:cxn>
              <a:cxn ang="0">
                <a:pos x="957" y="53"/>
              </a:cxn>
              <a:cxn ang="0">
                <a:pos x="1018" y="83"/>
              </a:cxn>
              <a:cxn ang="0">
                <a:pos x="1089" y="127"/>
              </a:cxn>
              <a:cxn ang="0">
                <a:pos x="1153" y="179"/>
              </a:cxn>
              <a:cxn ang="0">
                <a:pos x="1211" y="238"/>
              </a:cxn>
              <a:cxn ang="0">
                <a:pos x="1252" y="290"/>
              </a:cxn>
              <a:cxn ang="0">
                <a:pos x="1287" y="346"/>
              </a:cxn>
              <a:cxn ang="0">
                <a:pos x="1312" y="390"/>
              </a:cxn>
              <a:cxn ang="0">
                <a:pos x="1348" y="484"/>
              </a:cxn>
              <a:cxn ang="0">
                <a:pos x="1368" y="566"/>
              </a:cxn>
              <a:cxn ang="0">
                <a:pos x="1375" y="619"/>
              </a:cxn>
              <a:cxn ang="0">
                <a:pos x="1378" y="724"/>
              </a:cxn>
              <a:cxn ang="0">
                <a:pos x="1374" y="777"/>
              </a:cxn>
              <a:cxn ang="0">
                <a:pos x="1366" y="828"/>
              </a:cxn>
              <a:cxn ang="0">
                <a:pos x="1353" y="878"/>
              </a:cxn>
              <a:cxn ang="0">
                <a:pos x="1332" y="942"/>
              </a:cxn>
              <a:cxn ang="0">
                <a:pos x="1304" y="1003"/>
              </a:cxn>
              <a:cxn ang="0">
                <a:pos x="1262" y="1074"/>
              </a:cxn>
              <a:cxn ang="0">
                <a:pos x="1221" y="1128"/>
              </a:cxn>
              <a:cxn ang="0">
                <a:pos x="1153" y="1199"/>
              </a:cxn>
              <a:cxn ang="0">
                <a:pos x="1102" y="1241"/>
              </a:cxn>
              <a:cxn ang="0">
                <a:pos x="1048" y="1279"/>
              </a:cxn>
              <a:cxn ang="0">
                <a:pos x="1003" y="1303"/>
              </a:cxn>
              <a:cxn ang="0">
                <a:pos x="927" y="1337"/>
              </a:cxn>
              <a:cxn ang="0">
                <a:pos x="828" y="1365"/>
              </a:cxn>
              <a:cxn ang="0">
                <a:pos x="777" y="1373"/>
              </a:cxn>
              <a:cxn ang="0">
                <a:pos x="690" y="1379"/>
              </a:cxn>
              <a:cxn ang="0">
                <a:pos x="685" y="1308"/>
              </a:cxn>
              <a:cxn ang="0">
                <a:pos x="679" y="1256"/>
              </a:cxn>
              <a:cxn ang="0">
                <a:pos x="668" y="1206"/>
              </a:cxn>
              <a:cxn ang="0">
                <a:pos x="648" y="1141"/>
              </a:cxn>
              <a:cxn ang="0">
                <a:pos x="622" y="1080"/>
              </a:cxn>
              <a:cxn ang="0">
                <a:pos x="590" y="1022"/>
              </a:cxn>
              <a:cxn ang="0">
                <a:pos x="552" y="966"/>
              </a:cxn>
              <a:cxn ang="0">
                <a:pos x="487" y="891"/>
              </a:cxn>
              <a:cxn ang="0">
                <a:pos x="439" y="847"/>
              </a:cxn>
              <a:cxn ang="0">
                <a:pos x="385" y="808"/>
              </a:cxn>
              <a:cxn ang="0">
                <a:pos x="329" y="772"/>
              </a:cxn>
              <a:cxn ang="0">
                <a:pos x="268" y="743"/>
              </a:cxn>
              <a:cxn ang="0">
                <a:pos x="172" y="711"/>
              </a:cxn>
              <a:cxn ang="0">
                <a:pos x="105" y="697"/>
              </a:cxn>
              <a:cxn ang="0">
                <a:pos x="35" y="690"/>
              </a:cxn>
              <a:cxn ang="0">
                <a:pos x="54" y="688"/>
              </a:cxn>
              <a:cxn ang="0">
                <a:pos x="105" y="681"/>
              </a:cxn>
              <a:cxn ang="0">
                <a:pos x="156" y="671"/>
              </a:cxn>
              <a:cxn ang="0">
                <a:pos x="205" y="658"/>
              </a:cxn>
              <a:cxn ang="0">
                <a:pos x="268" y="635"/>
              </a:cxn>
              <a:cxn ang="0">
                <a:pos x="329" y="606"/>
              </a:cxn>
              <a:cxn ang="0">
                <a:pos x="400" y="562"/>
              </a:cxn>
              <a:cxn ang="0">
                <a:pos x="463" y="510"/>
              </a:cxn>
              <a:cxn ang="0">
                <a:pos x="521" y="451"/>
              </a:cxn>
              <a:cxn ang="0">
                <a:pos x="563" y="399"/>
              </a:cxn>
              <a:cxn ang="0">
                <a:pos x="598" y="343"/>
              </a:cxn>
              <a:cxn ang="0">
                <a:pos x="622" y="298"/>
              </a:cxn>
              <a:cxn ang="0">
                <a:pos x="659" y="204"/>
              </a:cxn>
              <a:cxn ang="0">
                <a:pos x="679" y="122"/>
              </a:cxn>
              <a:cxn ang="0">
                <a:pos x="685" y="70"/>
              </a:cxn>
            </a:cxnLst>
            <a:rect l="0" t="0" r="r" b="b"/>
            <a:pathLst>
              <a:path w="1379" h="1379">
                <a:moveTo>
                  <a:pt x="690" y="0"/>
                </a:moveTo>
                <a:lnTo>
                  <a:pt x="725" y="1"/>
                </a:lnTo>
                <a:lnTo>
                  <a:pt x="743" y="2"/>
                </a:lnTo>
                <a:lnTo>
                  <a:pt x="760" y="4"/>
                </a:lnTo>
                <a:lnTo>
                  <a:pt x="777" y="5"/>
                </a:lnTo>
                <a:lnTo>
                  <a:pt x="795" y="8"/>
                </a:lnTo>
                <a:lnTo>
                  <a:pt x="812" y="10"/>
                </a:lnTo>
                <a:lnTo>
                  <a:pt x="828" y="14"/>
                </a:lnTo>
                <a:lnTo>
                  <a:pt x="846" y="17"/>
                </a:lnTo>
                <a:lnTo>
                  <a:pt x="862" y="21"/>
                </a:lnTo>
                <a:lnTo>
                  <a:pt x="878" y="26"/>
                </a:lnTo>
                <a:lnTo>
                  <a:pt x="894" y="30"/>
                </a:lnTo>
                <a:lnTo>
                  <a:pt x="927" y="41"/>
                </a:lnTo>
                <a:lnTo>
                  <a:pt x="943" y="48"/>
                </a:lnTo>
                <a:lnTo>
                  <a:pt x="957" y="53"/>
                </a:lnTo>
                <a:lnTo>
                  <a:pt x="988" y="68"/>
                </a:lnTo>
                <a:lnTo>
                  <a:pt x="1003" y="75"/>
                </a:lnTo>
                <a:lnTo>
                  <a:pt x="1018" y="83"/>
                </a:lnTo>
                <a:lnTo>
                  <a:pt x="1048" y="99"/>
                </a:lnTo>
                <a:lnTo>
                  <a:pt x="1075" y="118"/>
                </a:lnTo>
                <a:lnTo>
                  <a:pt x="1089" y="127"/>
                </a:lnTo>
                <a:lnTo>
                  <a:pt x="1102" y="137"/>
                </a:lnTo>
                <a:lnTo>
                  <a:pt x="1129" y="157"/>
                </a:lnTo>
                <a:lnTo>
                  <a:pt x="1153" y="179"/>
                </a:lnTo>
                <a:lnTo>
                  <a:pt x="1177" y="202"/>
                </a:lnTo>
                <a:lnTo>
                  <a:pt x="1200" y="226"/>
                </a:lnTo>
                <a:lnTo>
                  <a:pt x="1211" y="238"/>
                </a:lnTo>
                <a:lnTo>
                  <a:pt x="1221" y="250"/>
                </a:lnTo>
                <a:lnTo>
                  <a:pt x="1242" y="277"/>
                </a:lnTo>
                <a:lnTo>
                  <a:pt x="1252" y="290"/>
                </a:lnTo>
                <a:lnTo>
                  <a:pt x="1262" y="304"/>
                </a:lnTo>
                <a:lnTo>
                  <a:pt x="1279" y="332"/>
                </a:lnTo>
                <a:lnTo>
                  <a:pt x="1287" y="346"/>
                </a:lnTo>
                <a:lnTo>
                  <a:pt x="1296" y="360"/>
                </a:lnTo>
                <a:lnTo>
                  <a:pt x="1304" y="375"/>
                </a:lnTo>
                <a:lnTo>
                  <a:pt x="1312" y="390"/>
                </a:lnTo>
                <a:lnTo>
                  <a:pt x="1325" y="421"/>
                </a:lnTo>
                <a:lnTo>
                  <a:pt x="1337" y="452"/>
                </a:lnTo>
                <a:lnTo>
                  <a:pt x="1348" y="484"/>
                </a:lnTo>
                <a:lnTo>
                  <a:pt x="1357" y="517"/>
                </a:lnTo>
                <a:lnTo>
                  <a:pt x="1366" y="550"/>
                </a:lnTo>
                <a:lnTo>
                  <a:pt x="1368" y="566"/>
                </a:lnTo>
                <a:lnTo>
                  <a:pt x="1371" y="584"/>
                </a:lnTo>
                <a:lnTo>
                  <a:pt x="1374" y="601"/>
                </a:lnTo>
                <a:lnTo>
                  <a:pt x="1375" y="619"/>
                </a:lnTo>
                <a:lnTo>
                  <a:pt x="1378" y="654"/>
                </a:lnTo>
                <a:lnTo>
                  <a:pt x="1379" y="689"/>
                </a:lnTo>
                <a:lnTo>
                  <a:pt x="1378" y="724"/>
                </a:lnTo>
                <a:lnTo>
                  <a:pt x="1378" y="743"/>
                </a:lnTo>
                <a:lnTo>
                  <a:pt x="1375" y="759"/>
                </a:lnTo>
                <a:lnTo>
                  <a:pt x="1374" y="777"/>
                </a:lnTo>
                <a:lnTo>
                  <a:pt x="1371" y="794"/>
                </a:lnTo>
                <a:lnTo>
                  <a:pt x="1368" y="812"/>
                </a:lnTo>
                <a:lnTo>
                  <a:pt x="1366" y="828"/>
                </a:lnTo>
                <a:lnTo>
                  <a:pt x="1361" y="845"/>
                </a:lnTo>
                <a:lnTo>
                  <a:pt x="1357" y="861"/>
                </a:lnTo>
                <a:lnTo>
                  <a:pt x="1353" y="878"/>
                </a:lnTo>
                <a:lnTo>
                  <a:pt x="1348" y="894"/>
                </a:lnTo>
                <a:lnTo>
                  <a:pt x="1337" y="926"/>
                </a:lnTo>
                <a:lnTo>
                  <a:pt x="1332" y="942"/>
                </a:lnTo>
                <a:lnTo>
                  <a:pt x="1325" y="957"/>
                </a:lnTo>
                <a:lnTo>
                  <a:pt x="1312" y="988"/>
                </a:lnTo>
                <a:lnTo>
                  <a:pt x="1304" y="1003"/>
                </a:lnTo>
                <a:lnTo>
                  <a:pt x="1296" y="1018"/>
                </a:lnTo>
                <a:lnTo>
                  <a:pt x="1279" y="1047"/>
                </a:lnTo>
                <a:lnTo>
                  <a:pt x="1262" y="1074"/>
                </a:lnTo>
                <a:lnTo>
                  <a:pt x="1252" y="1089"/>
                </a:lnTo>
                <a:lnTo>
                  <a:pt x="1242" y="1101"/>
                </a:lnTo>
                <a:lnTo>
                  <a:pt x="1221" y="1128"/>
                </a:lnTo>
                <a:lnTo>
                  <a:pt x="1200" y="1152"/>
                </a:lnTo>
                <a:lnTo>
                  <a:pt x="1177" y="1176"/>
                </a:lnTo>
                <a:lnTo>
                  <a:pt x="1153" y="1199"/>
                </a:lnTo>
                <a:lnTo>
                  <a:pt x="1141" y="1210"/>
                </a:lnTo>
                <a:lnTo>
                  <a:pt x="1129" y="1221"/>
                </a:lnTo>
                <a:lnTo>
                  <a:pt x="1102" y="1241"/>
                </a:lnTo>
                <a:lnTo>
                  <a:pt x="1089" y="1252"/>
                </a:lnTo>
                <a:lnTo>
                  <a:pt x="1075" y="1261"/>
                </a:lnTo>
                <a:lnTo>
                  <a:pt x="1048" y="1279"/>
                </a:lnTo>
                <a:lnTo>
                  <a:pt x="1033" y="1287"/>
                </a:lnTo>
                <a:lnTo>
                  <a:pt x="1018" y="1295"/>
                </a:lnTo>
                <a:lnTo>
                  <a:pt x="1003" y="1303"/>
                </a:lnTo>
                <a:lnTo>
                  <a:pt x="988" y="1311"/>
                </a:lnTo>
                <a:lnTo>
                  <a:pt x="957" y="1325"/>
                </a:lnTo>
                <a:lnTo>
                  <a:pt x="927" y="1337"/>
                </a:lnTo>
                <a:lnTo>
                  <a:pt x="894" y="1348"/>
                </a:lnTo>
                <a:lnTo>
                  <a:pt x="862" y="1357"/>
                </a:lnTo>
                <a:lnTo>
                  <a:pt x="828" y="1365"/>
                </a:lnTo>
                <a:lnTo>
                  <a:pt x="812" y="1368"/>
                </a:lnTo>
                <a:lnTo>
                  <a:pt x="795" y="1370"/>
                </a:lnTo>
                <a:lnTo>
                  <a:pt x="777" y="1373"/>
                </a:lnTo>
                <a:lnTo>
                  <a:pt x="760" y="1374"/>
                </a:lnTo>
                <a:lnTo>
                  <a:pt x="725" y="1377"/>
                </a:lnTo>
                <a:lnTo>
                  <a:pt x="690" y="1379"/>
                </a:lnTo>
                <a:lnTo>
                  <a:pt x="688" y="1343"/>
                </a:lnTo>
                <a:lnTo>
                  <a:pt x="688" y="1326"/>
                </a:lnTo>
                <a:lnTo>
                  <a:pt x="685" y="1308"/>
                </a:lnTo>
                <a:lnTo>
                  <a:pt x="684" y="1291"/>
                </a:lnTo>
                <a:lnTo>
                  <a:pt x="681" y="1273"/>
                </a:lnTo>
                <a:lnTo>
                  <a:pt x="679" y="1256"/>
                </a:lnTo>
                <a:lnTo>
                  <a:pt x="676" y="1240"/>
                </a:lnTo>
                <a:lnTo>
                  <a:pt x="672" y="1222"/>
                </a:lnTo>
                <a:lnTo>
                  <a:pt x="668" y="1206"/>
                </a:lnTo>
                <a:lnTo>
                  <a:pt x="664" y="1190"/>
                </a:lnTo>
                <a:lnTo>
                  <a:pt x="659" y="1174"/>
                </a:lnTo>
                <a:lnTo>
                  <a:pt x="648" y="1141"/>
                </a:lnTo>
                <a:lnTo>
                  <a:pt x="642" y="1125"/>
                </a:lnTo>
                <a:lnTo>
                  <a:pt x="636" y="1111"/>
                </a:lnTo>
                <a:lnTo>
                  <a:pt x="622" y="1080"/>
                </a:lnTo>
                <a:lnTo>
                  <a:pt x="614" y="1065"/>
                </a:lnTo>
                <a:lnTo>
                  <a:pt x="606" y="1050"/>
                </a:lnTo>
                <a:lnTo>
                  <a:pt x="590" y="1022"/>
                </a:lnTo>
                <a:lnTo>
                  <a:pt x="572" y="993"/>
                </a:lnTo>
                <a:lnTo>
                  <a:pt x="563" y="980"/>
                </a:lnTo>
                <a:lnTo>
                  <a:pt x="552" y="966"/>
                </a:lnTo>
                <a:lnTo>
                  <a:pt x="532" y="939"/>
                </a:lnTo>
                <a:lnTo>
                  <a:pt x="510" y="915"/>
                </a:lnTo>
                <a:lnTo>
                  <a:pt x="487" y="891"/>
                </a:lnTo>
                <a:lnTo>
                  <a:pt x="463" y="868"/>
                </a:lnTo>
                <a:lnTo>
                  <a:pt x="451" y="857"/>
                </a:lnTo>
                <a:lnTo>
                  <a:pt x="439" y="847"/>
                </a:lnTo>
                <a:lnTo>
                  <a:pt x="412" y="826"/>
                </a:lnTo>
                <a:lnTo>
                  <a:pt x="400" y="817"/>
                </a:lnTo>
                <a:lnTo>
                  <a:pt x="385" y="808"/>
                </a:lnTo>
                <a:lnTo>
                  <a:pt x="358" y="789"/>
                </a:lnTo>
                <a:lnTo>
                  <a:pt x="343" y="781"/>
                </a:lnTo>
                <a:lnTo>
                  <a:pt x="329" y="772"/>
                </a:lnTo>
                <a:lnTo>
                  <a:pt x="314" y="764"/>
                </a:lnTo>
                <a:lnTo>
                  <a:pt x="299" y="758"/>
                </a:lnTo>
                <a:lnTo>
                  <a:pt x="268" y="743"/>
                </a:lnTo>
                <a:lnTo>
                  <a:pt x="237" y="731"/>
                </a:lnTo>
                <a:lnTo>
                  <a:pt x="205" y="720"/>
                </a:lnTo>
                <a:lnTo>
                  <a:pt x="172" y="711"/>
                </a:lnTo>
                <a:lnTo>
                  <a:pt x="139" y="704"/>
                </a:lnTo>
                <a:lnTo>
                  <a:pt x="123" y="700"/>
                </a:lnTo>
                <a:lnTo>
                  <a:pt x="105" y="697"/>
                </a:lnTo>
                <a:lnTo>
                  <a:pt x="88" y="694"/>
                </a:lnTo>
                <a:lnTo>
                  <a:pt x="70" y="693"/>
                </a:lnTo>
                <a:lnTo>
                  <a:pt x="35" y="690"/>
                </a:lnTo>
                <a:lnTo>
                  <a:pt x="0" y="689"/>
                </a:lnTo>
                <a:lnTo>
                  <a:pt x="35" y="688"/>
                </a:lnTo>
                <a:lnTo>
                  <a:pt x="54" y="688"/>
                </a:lnTo>
                <a:lnTo>
                  <a:pt x="70" y="685"/>
                </a:lnTo>
                <a:lnTo>
                  <a:pt x="88" y="684"/>
                </a:lnTo>
                <a:lnTo>
                  <a:pt x="105" y="681"/>
                </a:lnTo>
                <a:lnTo>
                  <a:pt x="123" y="678"/>
                </a:lnTo>
                <a:lnTo>
                  <a:pt x="139" y="676"/>
                </a:lnTo>
                <a:lnTo>
                  <a:pt x="156" y="671"/>
                </a:lnTo>
                <a:lnTo>
                  <a:pt x="172" y="667"/>
                </a:lnTo>
                <a:lnTo>
                  <a:pt x="189" y="663"/>
                </a:lnTo>
                <a:lnTo>
                  <a:pt x="205" y="658"/>
                </a:lnTo>
                <a:lnTo>
                  <a:pt x="237" y="647"/>
                </a:lnTo>
                <a:lnTo>
                  <a:pt x="253" y="642"/>
                </a:lnTo>
                <a:lnTo>
                  <a:pt x="268" y="635"/>
                </a:lnTo>
                <a:lnTo>
                  <a:pt x="299" y="622"/>
                </a:lnTo>
                <a:lnTo>
                  <a:pt x="314" y="614"/>
                </a:lnTo>
                <a:lnTo>
                  <a:pt x="329" y="606"/>
                </a:lnTo>
                <a:lnTo>
                  <a:pt x="358" y="589"/>
                </a:lnTo>
                <a:lnTo>
                  <a:pt x="385" y="572"/>
                </a:lnTo>
                <a:lnTo>
                  <a:pt x="400" y="562"/>
                </a:lnTo>
                <a:lnTo>
                  <a:pt x="412" y="552"/>
                </a:lnTo>
                <a:lnTo>
                  <a:pt x="439" y="531"/>
                </a:lnTo>
                <a:lnTo>
                  <a:pt x="463" y="510"/>
                </a:lnTo>
                <a:lnTo>
                  <a:pt x="487" y="487"/>
                </a:lnTo>
                <a:lnTo>
                  <a:pt x="510" y="463"/>
                </a:lnTo>
                <a:lnTo>
                  <a:pt x="521" y="451"/>
                </a:lnTo>
                <a:lnTo>
                  <a:pt x="532" y="439"/>
                </a:lnTo>
                <a:lnTo>
                  <a:pt x="552" y="412"/>
                </a:lnTo>
                <a:lnTo>
                  <a:pt x="563" y="399"/>
                </a:lnTo>
                <a:lnTo>
                  <a:pt x="572" y="385"/>
                </a:lnTo>
                <a:lnTo>
                  <a:pt x="590" y="358"/>
                </a:lnTo>
                <a:lnTo>
                  <a:pt x="598" y="343"/>
                </a:lnTo>
                <a:lnTo>
                  <a:pt x="606" y="328"/>
                </a:lnTo>
                <a:lnTo>
                  <a:pt x="614" y="313"/>
                </a:lnTo>
                <a:lnTo>
                  <a:pt x="622" y="298"/>
                </a:lnTo>
                <a:lnTo>
                  <a:pt x="636" y="267"/>
                </a:lnTo>
                <a:lnTo>
                  <a:pt x="648" y="237"/>
                </a:lnTo>
                <a:lnTo>
                  <a:pt x="659" y="204"/>
                </a:lnTo>
                <a:lnTo>
                  <a:pt x="668" y="172"/>
                </a:lnTo>
                <a:lnTo>
                  <a:pt x="676" y="138"/>
                </a:lnTo>
                <a:lnTo>
                  <a:pt x="679" y="122"/>
                </a:lnTo>
                <a:lnTo>
                  <a:pt x="681" y="105"/>
                </a:lnTo>
                <a:lnTo>
                  <a:pt x="684" y="87"/>
                </a:lnTo>
                <a:lnTo>
                  <a:pt x="685" y="70"/>
                </a:lnTo>
                <a:lnTo>
                  <a:pt x="688" y="35"/>
                </a:lnTo>
                <a:lnTo>
                  <a:pt x="690" y="0"/>
                </a:lnTo>
                <a:close/>
              </a:path>
            </a:pathLst>
          </a:custGeom>
          <a:pattFill prst="wdUpDiag">
            <a:fgClr>
              <a:schemeClr val="tx2">
                <a:lumMod val="20000"/>
                <a:lumOff val="80000"/>
              </a:schemeClr>
            </a:fgClr>
            <a:bgClr>
              <a:schemeClr val="bg1"/>
            </a:bgClr>
          </a:pattFill>
          <a:ln w="9525">
            <a:noFill/>
            <a:round/>
            <a:headEnd/>
            <a:tailEnd/>
          </a:ln>
        </p:spPr>
        <p:txBody>
          <a:bodyPr/>
          <a:lstStyle/>
          <a:p>
            <a:endParaRPr lang="en-US"/>
          </a:p>
        </p:txBody>
      </p:sp>
      <p:sp>
        <p:nvSpPr>
          <p:cNvPr id="12" name="Oval 33">
            <a:extLst>
              <a:ext uri="{FF2B5EF4-FFF2-40B4-BE49-F238E27FC236}">
                <a16:creationId xmlns:a16="http://schemas.microsoft.com/office/drawing/2014/main" id="{026275E0-8062-42CA-B951-FD73C5631CC4}"/>
              </a:ext>
            </a:extLst>
          </p:cNvPr>
          <p:cNvSpPr>
            <a:spLocks noChangeArrowheads="1"/>
          </p:cNvSpPr>
          <p:nvPr/>
        </p:nvSpPr>
        <p:spPr bwMode="auto">
          <a:xfrm rot="5400000">
            <a:off x="5011696" y="3870325"/>
            <a:ext cx="2187575" cy="2187575"/>
          </a:xfrm>
          <a:prstGeom prst="ellipse">
            <a:avLst/>
          </a:prstGeom>
          <a:noFill/>
          <a:ln w="6350">
            <a:noFill/>
            <a:round/>
            <a:headEnd/>
            <a:tailEnd/>
          </a:ln>
          <a:effectLst/>
        </p:spPr>
        <p:txBody>
          <a:bodyPr rot="10800000" vert="eaVert" lIns="45720" rIns="45720" anchor="ctr" anchorCtr="1"/>
          <a:lstStyle/>
          <a:p>
            <a:pPr eaLnBrk="0" hangingPunct="0"/>
            <a:r>
              <a:rPr lang="en-US" b="1">
                <a:solidFill>
                  <a:schemeClr val="bg1"/>
                </a:solidFill>
              </a:rPr>
              <a:t>Text</a:t>
            </a:r>
          </a:p>
        </p:txBody>
      </p:sp>
      <p:sp>
        <p:nvSpPr>
          <p:cNvPr id="13" name="Oval 34">
            <a:extLst>
              <a:ext uri="{FF2B5EF4-FFF2-40B4-BE49-F238E27FC236}">
                <a16:creationId xmlns:a16="http://schemas.microsoft.com/office/drawing/2014/main" id="{D413D2AF-9DA4-4CAE-8FC9-8EC3027C7486}"/>
              </a:ext>
            </a:extLst>
          </p:cNvPr>
          <p:cNvSpPr>
            <a:spLocks noChangeArrowheads="1"/>
          </p:cNvSpPr>
          <p:nvPr/>
        </p:nvSpPr>
        <p:spPr bwMode="auto">
          <a:xfrm rot="5400000">
            <a:off x="5012489" y="1678782"/>
            <a:ext cx="2187575" cy="2189162"/>
          </a:xfrm>
          <a:prstGeom prst="ellipse">
            <a:avLst/>
          </a:prstGeom>
          <a:noFill/>
          <a:ln w="6350">
            <a:noFill/>
            <a:round/>
            <a:headEnd/>
            <a:tailEnd/>
          </a:ln>
          <a:effectLst/>
        </p:spPr>
        <p:txBody>
          <a:bodyPr rot="10800000" vert="eaVert" lIns="45720" rIns="45720" anchor="ctr" anchorCtr="1"/>
          <a:lstStyle/>
          <a:p>
            <a:pPr eaLnBrk="0" hangingPunct="0"/>
            <a:r>
              <a:rPr lang="en-US" b="1" dirty="0">
                <a:solidFill>
                  <a:schemeClr val="bg1"/>
                </a:solidFill>
              </a:rPr>
              <a:t>Text</a:t>
            </a:r>
          </a:p>
        </p:txBody>
      </p:sp>
      <p:sp>
        <p:nvSpPr>
          <p:cNvPr id="14" name="Oval 35">
            <a:extLst>
              <a:ext uri="{FF2B5EF4-FFF2-40B4-BE49-F238E27FC236}">
                <a16:creationId xmlns:a16="http://schemas.microsoft.com/office/drawing/2014/main" id="{00EC0DF0-E5DD-4F46-827E-B9EBA9710118}"/>
              </a:ext>
            </a:extLst>
          </p:cNvPr>
          <p:cNvSpPr>
            <a:spLocks noChangeArrowheads="1"/>
          </p:cNvSpPr>
          <p:nvPr/>
        </p:nvSpPr>
        <p:spPr bwMode="auto">
          <a:xfrm>
            <a:off x="3916321" y="2774950"/>
            <a:ext cx="2187575" cy="2187575"/>
          </a:xfrm>
          <a:prstGeom prst="ellipse">
            <a:avLst/>
          </a:prstGeom>
          <a:noFill/>
          <a:ln w="6350">
            <a:noFill/>
            <a:round/>
            <a:headEnd/>
            <a:tailEnd/>
          </a:ln>
          <a:effectLst/>
        </p:spPr>
        <p:txBody>
          <a:bodyPr lIns="45720" rIns="45720" anchor="ctr" anchorCtr="1"/>
          <a:lstStyle/>
          <a:p>
            <a:pPr eaLnBrk="0" hangingPunct="0"/>
            <a:r>
              <a:rPr lang="en-US">
                <a:solidFill>
                  <a:schemeClr val="tx1"/>
                </a:solidFill>
              </a:rPr>
              <a:t>Text</a:t>
            </a:r>
          </a:p>
        </p:txBody>
      </p:sp>
      <p:sp>
        <p:nvSpPr>
          <p:cNvPr id="15" name="Oval 36">
            <a:extLst>
              <a:ext uri="{FF2B5EF4-FFF2-40B4-BE49-F238E27FC236}">
                <a16:creationId xmlns:a16="http://schemas.microsoft.com/office/drawing/2014/main" id="{8E7838D8-E0E3-42B6-A604-316F7190CEE2}"/>
              </a:ext>
            </a:extLst>
          </p:cNvPr>
          <p:cNvSpPr>
            <a:spLocks noChangeArrowheads="1"/>
          </p:cNvSpPr>
          <p:nvPr/>
        </p:nvSpPr>
        <p:spPr bwMode="auto">
          <a:xfrm>
            <a:off x="6105483" y="2774950"/>
            <a:ext cx="2187575" cy="2187575"/>
          </a:xfrm>
          <a:prstGeom prst="ellipse">
            <a:avLst/>
          </a:prstGeom>
          <a:noFill/>
          <a:ln w="6350">
            <a:noFill/>
            <a:round/>
            <a:headEnd/>
            <a:tailEnd/>
          </a:ln>
          <a:effectLst/>
        </p:spPr>
        <p:txBody>
          <a:bodyPr lIns="45720" rIns="45720" anchor="ctr" anchorCtr="1"/>
          <a:lstStyle/>
          <a:p>
            <a:pPr eaLnBrk="0" hangingPunct="0"/>
            <a:r>
              <a:rPr lang="en-US">
                <a:solidFill>
                  <a:schemeClr val="tx1"/>
                </a:solidFill>
              </a:rPr>
              <a:t>Text</a:t>
            </a:r>
          </a:p>
        </p:txBody>
      </p:sp>
    </p:spTree>
    <p:extLst>
      <p:ext uri="{BB962C8B-B14F-4D97-AF65-F5344CB8AC3E}">
        <p14:creationId xmlns:p14="http://schemas.microsoft.com/office/powerpoint/2010/main" val="94475270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6</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05E3838-B02E-42C3-9EF3-9DDD0B6BD65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Oval 12">
            <a:extLst>
              <a:ext uri="{FF2B5EF4-FFF2-40B4-BE49-F238E27FC236}">
                <a16:creationId xmlns:a16="http://schemas.microsoft.com/office/drawing/2014/main" id="{CCD869E1-FF2C-45D0-9DA5-4F380318BE33}"/>
              </a:ext>
            </a:extLst>
          </p:cNvPr>
          <p:cNvSpPr>
            <a:spLocks noChangeArrowheads="1"/>
          </p:cNvSpPr>
          <p:nvPr/>
        </p:nvSpPr>
        <p:spPr bwMode="auto">
          <a:xfrm>
            <a:off x="5681732" y="3365500"/>
            <a:ext cx="2622550" cy="2692400"/>
          </a:xfrm>
          <a:prstGeom prst="ellipse">
            <a:avLst/>
          </a:prstGeom>
          <a:solidFill>
            <a:schemeClr val="accent5"/>
          </a:solidFill>
          <a:ln w="6350">
            <a:noFill/>
            <a:round/>
            <a:headEnd/>
            <a:tailEnd/>
          </a:ln>
          <a:effectLst/>
        </p:spPr>
        <p:txBody>
          <a:bodyPr wrap="none" lIns="45720" rIns="45720" anchor="ctr" anchorCtr="1"/>
          <a:lstStyle/>
          <a:p>
            <a:pPr eaLnBrk="0" hangingPunct="0"/>
            <a:r>
              <a:rPr lang="en-US" b="1">
                <a:solidFill>
                  <a:schemeClr val="bg1"/>
                </a:solidFill>
              </a:rPr>
              <a:t>Text</a:t>
            </a:r>
          </a:p>
        </p:txBody>
      </p:sp>
      <p:sp>
        <p:nvSpPr>
          <p:cNvPr id="5" name="Oval 13">
            <a:extLst>
              <a:ext uri="{FF2B5EF4-FFF2-40B4-BE49-F238E27FC236}">
                <a16:creationId xmlns:a16="http://schemas.microsoft.com/office/drawing/2014/main" id="{18E82B83-438B-45CE-9A0C-BB34DCB7C149}"/>
              </a:ext>
            </a:extLst>
          </p:cNvPr>
          <p:cNvSpPr>
            <a:spLocks noChangeArrowheads="1"/>
          </p:cNvSpPr>
          <p:nvPr/>
        </p:nvSpPr>
        <p:spPr bwMode="auto">
          <a:xfrm>
            <a:off x="3833882" y="3365500"/>
            <a:ext cx="2622550" cy="2692400"/>
          </a:xfrm>
          <a:prstGeom prst="ellipse">
            <a:avLst/>
          </a:prstGeom>
          <a:solidFill>
            <a:schemeClr val="accent1"/>
          </a:solidFill>
          <a:ln w="6350">
            <a:noFill/>
            <a:round/>
            <a:headEnd/>
            <a:tailEnd/>
          </a:ln>
          <a:effectLst/>
        </p:spPr>
        <p:txBody>
          <a:bodyPr wrap="none" lIns="45720" rIns="45720" anchor="ctr" anchorCtr="1"/>
          <a:lstStyle/>
          <a:p>
            <a:pPr eaLnBrk="0" hangingPunct="0"/>
            <a:r>
              <a:rPr lang="en-US" b="1">
                <a:solidFill>
                  <a:schemeClr val="bg1"/>
                </a:solidFill>
              </a:rPr>
              <a:t>Text</a:t>
            </a:r>
          </a:p>
        </p:txBody>
      </p:sp>
      <p:sp>
        <p:nvSpPr>
          <p:cNvPr id="6" name="Oval 14">
            <a:extLst>
              <a:ext uri="{FF2B5EF4-FFF2-40B4-BE49-F238E27FC236}">
                <a16:creationId xmlns:a16="http://schemas.microsoft.com/office/drawing/2014/main" id="{0F5580C6-F93E-4415-9471-3E0E366CECBF}"/>
              </a:ext>
            </a:extLst>
          </p:cNvPr>
          <p:cNvSpPr>
            <a:spLocks noChangeArrowheads="1"/>
          </p:cNvSpPr>
          <p:nvPr/>
        </p:nvSpPr>
        <p:spPr bwMode="auto">
          <a:xfrm>
            <a:off x="3833882" y="1539875"/>
            <a:ext cx="2622550" cy="2692400"/>
          </a:xfrm>
          <a:prstGeom prst="ellipse">
            <a:avLst/>
          </a:prstGeom>
          <a:solidFill>
            <a:schemeClr val="accent2"/>
          </a:solidFill>
          <a:ln w="6350">
            <a:noFill/>
            <a:round/>
            <a:headEnd/>
            <a:tailEnd/>
          </a:ln>
          <a:effectLst/>
        </p:spPr>
        <p:txBody>
          <a:bodyPr wrap="none" lIns="45720" rIns="45720" anchor="ctr" anchorCtr="1"/>
          <a:lstStyle/>
          <a:p>
            <a:pPr eaLnBrk="0" hangingPunct="0"/>
            <a:r>
              <a:rPr lang="en-US" b="1" dirty="0">
                <a:solidFill>
                  <a:schemeClr val="bg1"/>
                </a:solidFill>
              </a:rPr>
              <a:t>Text</a:t>
            </a:r>
          </a:p>
        </p:txBody>
      </p:sp>
      <p:sp>
        <p:nvSpPr>
          <p:cNvPr id="7" name="Freeform 15">
            <a:extLst>
              <a:ext uri="{FF2B5EF4-FFF2-40B4-BE49-F238E27FC236}">
                <a16:creationId xmlns:a16="http://schemas.microsoft.com/office/drawing/2014/main" id="{A146AEB1-77C9-45F4-9E0D-A502A4804351}"/>
              </a:ext>
            </a:extLst>
          </p:cNvPr>
          <p:cNvSpPr>
            <a:spLocks/>
          </p:cNvSpPr>
          <p:nvPr/>
        </p:nvSpPr>
        <p:spPr bwMode="auto">
          <a:xfrm>
            <a:off x="5703957" y="1497012"/>
            <a:ext cx="2620962" cy="2306638"/>
          </a:xfrm>
          <a:custGeom>
            <a:avLst/>
            <a:gdLst/>
            <a:ahLst/>
            <a:cxnLst>
              <a:cxn ang="0">
                <a:pos x="673" y="683"/>
              </a:cxn>
              <a:cxn ang="0">
                <a:pos x="609" y="640"/>
              </a:cxn>
              <a:cxn ang="0">
                <a:pos x="537" y="611"/>
              </a:cxn>
              <a:cxn ang="0">
                <a:pos x="459" y="596"/>
              </a:cxn>
              <a:cxn ang="0">
                <a:pos x="375" y="596"/>
              </a:cxn>
              <a:cxn ang="0">
                <a:pos x="296" y="611"/>
              </a:cxn>
              <a:cxn ang="0">
                <a:pos x="223" y="642"/>
              </a:cxn>
              <a:cxn ang="0">
                <a:pos x="158" y="686"/>
              </a:cxn>
              <a:cxn ang="0">
                <a:pos x="100" y="681"/>
              </a:cxn>
              <a:cxn ang="0">
                <a:pos x="53" y="615"/>
              </a:cxn>
              <a:cxn ang="0">
                <a:pos x="21" y="539"/>
              </a:cxn>
              <a:cxn ang="0">
                <a:pos x="3" y="457"/>
              </a:cxn>
              <a:cxn ang="0">
                <a:pos x="3" y="371"/>
              </a:cxn>
              <a:cxn ang="0">
                <a:pos x="19" y="290"/>
              </a:cxn>
              <a:cxn ang="0">
                <a:pos x="51" y="217"/>
              </a:cxn>
              <a:cxn ang="0">
                <a:pos x="95" y="151"/>
              </a:cxn>
              <a:cxn ang="0">
                <a:pos x="151" y="94"/>
              </a:cxn>
              <a:cxn ang="0">
                <a:pos x="217" y="50"/>
              </a:cxn>
              <a:cxn ang="0">
                <a:pos x="292" y="19"/>
              </a:cxn>
              <a:cxn ang="0">
                <a:pos x="371" y="1"/>
              </a:cxn>
              <a:cxn ang="0">
                <a:pos x="456" y="1"/>
              </a:cxn>
              <a:cxn ang="0">
                <a:pos x="497" y="9"/>
              </a:cxn>
              <a:cxn ang="0">
                <a:pos x="573" y="32"/>
              </a:cxn>
              <a:cxn ang="0">
                <a:pos x="644" y="70"/>
              </a:cxn>
              <a:cxn ang="0">
                <a:pos x="705" y="122"/>
              </a:cxn>
              <a:cxn ang="0">
                <a:pos x="755" y="182"/>
              </a:cxn>
              <a:cxn ang="0">
                <a:pos x="793" y="252"/>
              </a:cxn>
              <a:cxn ang="0">
                <a:pos x="818" y="330"/>
              </a:cxn>
              <a:cxn ang="0">
                <a:pos x="824" y="371"/>
              </a:cxn>
              <a:cxn ang="0">
                <a:pos x="824" y="456"/>
              </a:cxn>
              <a:cxn ang="0">
                <a:pos x="808" y="536"/>
              </a:cxn>
              <a:cxn ang="0">
                <a:pos x="774" y="611"/>
              </a:cxn>
              <a:cxn ang="0">
                <a:pos x="730" y="678"/>
              </a:cxn>
            </a:cxnLst>
            <a:rect l="0" t="0" r="r" b="b"/>
            <a:pathLst>
              <a:path w="828" h="713">
                <a:moveTo>
                  <a:pt x="702" y="708"/>
                </a:moveTo>
                <a:lnTo>
                  <a:pt x="673" y="683"/>
                </a:lnTo>
                <a:lnTo>
                  <a:pt x="642" y="659"/>
                </a:lnTo>
                <a:lnTo>
                  <a:pt x="609" y="640"/>
                </a:lnTo>
                <a:lnTo>
                  <a:pt x="573" y="624"/>
                </a:lnTo>
                <a:lnTo>
                  <a:pt x="537" y="611"/>
                </a:lnTo>
                <a:lnTo>
                  <a:pt x="499" y="601"/>
                </a:lnTo>
                <a:lnTo>
                  <a:pt x="459" y="596"/>
                </a:lnTo>
                <a:lnTo>
                  <a:pt x="418" y="593"/>
                </a:lnTo>
                <a:lnTo>
                  <a:pt x="375" y="596"/>
                </a:lnTo>
                <a:lnTo>
                  <a:pt x="334" y="602"/>
                </a:lnTo>
                <a:lnTo>
                  <a:pt x="296" y="611"/>
                </a:lnTo>
                <a:lnTo>
                  <a:pt x="258" y="626"/>
                </a:lnTo>
                <a:lnTo>
                  <a:pt x="223" y="642"/>
                </a:lnTo>
                <a:lnTo>
                  <a:pt x="189" y="662"/>
                </a:lnTo>
                <a:lnTo>
                  <a:pt x="158" y="686"/>
                </a:lnTo>
                <a:lnTo>
                  <a:pt x="129" y="712"/>
                </a:lnTo>
                <a:lnTo>
                  <a:pt x="100" y="681"/>
                </a:lnTo>
                <a:lnTo>
                  <a:pt x="75" y="649"/>
                </a:lnTo>
                <a:lnTo>
                  <a:pt x="53" y="615"/>
                </a:lnTo>
                <a:lnTo>
                  <a:pt x="35" y="579"/>
                </a:lnTo>
                <a:lnTo>
                  <a:pt x="21" y="539"/>
                </a:lnTo>
                <a:lnTo>
                  <a:pt x="9" y="498"/>
                </a:lnTo>
                <a:lnTo>
                  <a:pt x="3" y="457"/>
                </a:lnTo>
                <a:lnTo>
                  <a:pt x="0" y="413"/>
                </a:lnTo>
                <a:lnTo>
                  <a:pt x="3" y="371"/>
                </a:lnTo>
                <a:lnTo>
                  <a:pt x="9" y="330"/>
                </a:lnTo>
                <a:lnTo>
                  <a:pt x="19" y="290"/>
                </a:lnTo>
                <a:lnTo>
                  <a:pt x="32" y="252"/>
                </a:lnTo>
                <a:lnTo>
                  <a:pt x="51" y="217"/>
                </a:lnTo>
                <a:lnTo>
                  <a:pt x="72" y="182"/>
                </a:lnTo>
                <a:lnTo>
                  <a:pt x="95" y="151"/>
                </a:lnTo>
                <a:lnTo>
                  <a:pt x="122" y="122"/>
                </a:lnTo>
                <a:lnTo>
                  <a:pt x="151" y="94"/>
                </a:lnTo>
                <a:lnTo>
                  <a:pt x="183" y="70"/>
                </a:lnTo>
                <a:lnTo>
                  <a:pt x="217" y="50"/>
                </a:lnTo>
                <a:lnTo>
                  <a:pt x="254" y="32"/>
                </a:lnTo>
                <a:lnTo>
                  <a:pt x="292" y="19"/>
                </a:lnTo>
                <a:lnTo>
                  <a:pt x="331" y="9"/>
                </a:lnTo>
                <a:lnTo>
                  <a:pt x="371" y="1"/>
                </a:lnTo>
                <a:lnTo>
                  <a:pt x="414" y="0"/>
                </a:lnTo>
                <a:lnTo>
                  <a:pt x="456" y="1"/>
                </a:lnTo>
                <a:lnTo>
                  <a:pt x="477" y="4"/>
                </a:lnTo>
                <a:lnTo>
                  <a:pt x="497" y="9"/>
                </a:lnTo>
                <a:lnTo>
                  <a:pt x="537" y="19"/>
                </a:lnTo>
                <a:lnTo>
                  <a:pt x="573" y="32"/>
                </a:lnTo>
                <a:lnTo>
                  <a:pt x="610" y="50"/>
                </a:lnTo>
                <a:lnTo>
                  <a:pt x="644" y="70"/>
                </a:lnTo>
                <a:lnTo>
                  <a:pt x="676" y="94"/>
                </a:lnTo>
                <a:lnTo>
                  <a:pt x="705" y="122"/>
                </a:lnTo>
                <a:lnTo>
                  <a:pt x="732" y="151"/>
                </a:lnTo>
                <a:lnTo>
                  <a:pt x="755" y="182"/>
                </a:lnTo>
                <a:lnTo>
                  <a:pt x="777" y="217"/>
                </a:lnTo>
                <a:lnTo>
                  <a:pt x="793" y="252"/>
                </a:lnTo>
                <a:lnTo>
                  <a:pt x="808" y="290"/>
                </a:lnTo>
                <a:lnTo>
                  <a:pt x="818" y="330"/>
                </a:lnTo>
                <a:lnTo>
                  <a:pt x="823" y="350"/>
                </a:lnTo>
                <a:lnTo>
                  <a:pt x="824" y="371"/>
                </a:lnTo>
                <a:lnTo>
                  <a:pt x="827" y="413"/>
                </a:lnTo>
                <a:lnTo>
                  <a:pt x="824" y="456"/>
                </a:lnTo>
                <a:lnTo>
                  <a:pt x="818" y="497"/>
                </a:lnTo>
                <a:lnTo>
                  <a:pt x="808" y="536"/>
                </a:lnTo>
                <a:lnTo>
                  <a:pt x="793" y="576"/>
                </a:lnTo>
                <a:lnTo>
                  <a:pt x="774" y="611"/>
                </a:lnTo>
                <a:lnTo>
                  <a:pt x="754" y="646"/>
                </a:lnTo>
                <a:lnTo>
                  <a:pt x="730" y="678"/>
                </a:lnTo>
                <a:lnTo>
                  <a:pt x="702" y="708"/>
                </a:lnTo>
              </a:path>
            </a:pathLst>
          </a:custGeom>
          <a:solidFill>
            <a:schemeClr val="accent3"/>
          </a:solidFill>
          <a:ln w="6350" cap="rnd" cmpd="sng">
            <a:noFill/>
            <a:prstDash val="solid"/>
            <a:round/>
            <a:headEnd/>
            <a:tailEnd/>
          </a:ln>
          <a:effectLst/>
        </p:spPr>
        <p:txBody>
          <a:bodyPr lIns="45720" tIns="504000" rIns="45720" anchor="ctr" anchorCtr="1"/>
          <a:lstStyle/>
          <a:p>
            <a:pPr eaLnBrk="0" hangingPunct="0"/>
            <a:r>
              <a:rPr lang="en-GB" b="1" dirty="0">
                <a:solidFill>
                  <a:schemeClr val="bg1"/>
                </a:solidFill>
              </a:rPr>
              <a:t>Text</a:t>
            </a:r>
          </a:p>
        </p:txBody>
      </p:sp>
    </p:spTree>
    <p:extLst>
      <p:ext uri="{BB962C8B-B14F-4D97-AF65-F5344CB8AC3E}">
        <p14:creationId xmlns:p14="http://schemas.microsoft.com/office/powerpoint/2010/main" val="314010393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de-DE" sz="3600" b="1" dirty="0"/>
              <a:t>Interlocking Circles 7</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17" name="Oval 5">
            <a:extLst>
              <a:ext uri="{FF2B5EF4-FFF2-40B4-BE49-F238E27FC236}">
                <a16:creationId xmlns:a16="http://schemas.microsoft.com/office/drawing/2014/main" id="{BCEF15A1-DA87-4A69-B7A9-CA2F98356E75}"/>
              </a:ext>
            </a:extLst>
          </p:cNvPr>
          <p:cNvSpPr>
            <a:spLocks noChangeArrowheads="1"/>
          </p:cNvSpPr>
          <p:nvPr/>
        </p:nvSpPr>
        <p:spPr bwMode="auto">
          <a:xfrm>
            <a:off x="3976204" y="3418980"/>
            <a:ext cx="2545675" cy="2648859"/>
          </a:xfrm>
          <a:prstGeom prst="ellipse">
            <a:avLst/>
          </a:prstGeom>
          <a:solidFill>
            <a:schemeClr val="accent3">
              <a:lumMod val="20000"/>
              <a:lumOff val="80000"/>
            </a:schemeClr>
          </a:solidFill>
          <a:ln w="6350">
            <a:noFill/>
            <a:round/>
            <a:headEnd/>
            <a:tailEnd/>
          </a:ln>
          <a:effectLst/>
        </p:spPr>
        <p:txBody>
          <a:bodyPr wrap="none" lIns="36000" tIns="36000" rIns="360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Graphik"/>
                <a:ea typeface="+mn-ea"/>
                <a:cs typeface="+mn-cs"/>
              </a:rPr>
              <a:t>Text</a:t>
            </a:r>
          </a:p>
        </p:txBody>
      </p:sp>
      <p:sp>
        <p:nvSpPr>
          <p:cNvPr id="18" name="Oval 6">
            <a:extLst>
              <a:ext uri="{FF2B5EF4-FFF2-40B4-BE49-F238E27FC236}">
                <a16:creationId xmlns:a16="http://schemas.microsoft.com/office/drawing/2014/main" id="{6E693533-EB34-48C7-820C-E9A6A44C9FF2}"/>
              </a:ext>
            </a:extLst>
          </p:cNvPr>
          <p:cNvSpPr>
            <a:spLocks noChangeArrowheads="1"/>
          </p:cNvSpPr>
          <p:nvPr/>
        </p:nvSpPr>
        <p:spPr bwMode="auto">
          <a:xfrm>
            <a:off x="3976204" y="1494252"/>
            <a:ext cx="2545675" cy="2648859"/>
          </a:xfrm>
          <a:prstGeom prst="ellipse">
            <a:avLst/>
          </a:prstGeom>
          <a:solidFill>
            <a:schemeClr val="accent1">
              <a:lumMod val="20000"/>
              <a:lumOff val="80000"/>
            </a:schemeClr>
          </a:solidFill>
          <a:ln w="6350">
            <a:noFill/>
            <a:round/>
            <a:headEnd/>
            <a:tailEnd/>
          </a:ln>
          <a:effectLst/>
        </p:spPr>
        <p:txBody>
          <a:bodyPr wrap="none" lIns="36000" tIns="36000" rIns="360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9" name="Oval 7">
            <a:extLst>
              <a:ext uri="{FF2B5EF4-FFF2-40B4-BE49-F238E27FC236}">
                <a16:creationId xmlns:a16="http://schemas.microsoft.com/office/drawing/2014/main" id="{E251366D-1A82-4181-B0B6-02583E0D0B69}"/>
              </a:ext>
            </a:extLst>
          </p:cNvPr>
          <p:cNvSpPr>
            <a:spLocks noChangeArrowheads="1"/>
          </p:cNvSpPr>
          <p:nvPr/>
        </p:nvSpPr>
        <p:spPr bwMode="auto">
          <a:xfrm>
            <a:off x="5700904" y="3418980"/>
            <a:ext cx="2545675" cy="2648859"/>
          </a:xfrm>
          <a:prstGeom prst="ellipse">
            <a:avLst/>
          </a:prstGeom>
          <a:solidFill>
            <a:schemeClr val="accent1">
              <a:lumMod val="20000"/>
              <a:lumOff val="80000"/>
            </a:schemeClr>
          </a:solidFill>
          <a:ln w="6350">
            <a:noFill/>
            <a:round/>
            <a:headEnd/>
            <a:tailEnd/>
          </a:ln>
          <a:effectLst/>
        </p:spPr>
        <p:txBody>
          <a:bodyPr wrap="none" lIns="648000" tIns="36000" rIns="72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0" name="Oval 8">
            <a:extLst>
              <a:ext uri="{FF2B5EF4-FFF2-40B4-BE49-F238E27FC236}">
                <a16:creationId xmlns:a16="http://schemas.microsoft.com/office/drawing/2014/main" id="{DDE791B9-D7D9-4235-8766-CFEDB03E9487}"/>
              </a:ext>
            </a:extLst>
          </p:cNvPr>
          <p:cNvSpPr>
            <a:spLocks noChangeArrowheads="1"/>
          </p:cNvSpPr>
          <p:nvPr/>
        </p:nvSpPr>
        <p:spPr bwMode="auto">
          <a:xfrm>
            <a:off x="5700904" y="1501328"/>
            <a:ext cx="2545675" cy="2648859"/>
          </a:xfrm>
          <a:prstGeom prst="ellipse">
            <a:avLst/>
          </a:prstGeom>
          <a:solidFill>
            <a:schemeClr val="accent3">
              <a:lumMod val="20000"/>
              <a:lumOff val="80000"/>
            </a:schemeClr>
          </a:solidFill>
          <a:ln w="6350">
            <a:noFill/>
            <a:round/>
            <a:headEnd/>
            <a:tailEnd/>
          </a:ln>
          <a:effectLst/>
        </p:spPr>
        <p:txBody>
          <a:bodyPr wrap="none" lIns="648000" tIns="36000" rIns="72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grpSp>
        <p:nvGrpSpPr>
          <p:cNvPr id="22" name="Group 9">
            <a:extLst>
              <a:ext uri="{FF2B5EF4-FFF2-40B4-BE49-F238E27FC236}">
                <a16:creationId xmlns:a16="http://schemas.microsoft.com/office/drawing/2014/main" id="{76982573-F501-42E2-BA69-F8E1ABF83D2B}"/>
              </a:ext>
            </a:extLst>
          </p:cNvPr>
          <p:cNvGrpSpPr>
            <a:grpSpLocks/>
          </p:cNvGrpSpPr>
          <p:nvPr/>
        </p:nvGrpSpPr>
        <p:grpSpPr bwMode="auto">
          <a:xfrm>
            <a:off x="4369904" y="1854614"/>
            <a:ext cx="3479800" cy="3849688"/>
            <a:chOff x="2345" y="1578"/>
            <a:chExt cx="1598" cy="1632"/>
          </a:xfrm>
          <a:solidFill>
            <a:schemeClr val="accent1"/>
          </a:solidFill>
        </p:grpSpPr>
        <p:sp>
          <p:nvSpPr>
            <p:cNvPr id="23" name="Freeform 10">
              <a:extLst>
                <a:ext uri="{FF2B5EF4-FFF2-40B4-BE49-F238E27FC236}">
                  <a16:creationId xmlns:a16="http://schemas.microsoft.com/office/drawing/2014/main" id="{E7007E7B-0A7A-4326-B891-F6B8F44C5FD2}"/>
                </a:ext>
              </a:extLst>
            </p:cNvPr>
            <p:cNvSpPr>
              <a:spLocks/>
            </p:cNvSpPr>
            <p:nvPr/>
          </p:nvSpPr>
          <p:spPr bwMode="auto">
            <a:xfrm>
              <a:off x="2955" y="1578"/>
              <a:ext cx="378" cy="823"/>
            </a:xfrm>
            <a:custGeom>
              <a:avLst/>
              <a:gdLst/>
              <a:ahLst/>
              <a:cxnLst>
                <a:cxn ang="0">
                  <a:pos x="135" y="0"/>
                </a:cxn>
                <a:cxn ang="0">
                  <a:pos x="165" y="30"/>
                </a:cxn>
                <a:cxn ang="0">
                  <a:pos x="191" y="63"/>
                </a:cxn>
                <a:cxn ang="0">
                  <a:pos x="214" y="99"/>
                </a:cxn>
                <a:cxn ang="0">
                  <a:pos x="233" y="136"/>
                </a:cxn>
                <a:cxn ang="0">
                  <a:pos x="249" y="176"/>
                </a:cxn>
                <a:cxn ang="0">
                  <a:pos x="260" y="218"/>
                </a:cxn>
                <a:cxn ang="0">
                  <a:pos x="267" y="261"/>
                </a:cxn>
                <a:cxn ang="0">
                  <a:pos x="269" y="306"/>
                </a:cxn>
                <a:cxn ang="0">
                  <a:pos x="268" y="327"/>
                </a:cxn>
                <a:cxn ang="0">
                  <a:pos x="266" y="350"/>
                </a:cxn>
                <a:cxn ang="0">
                  <a:pos x="264" y="371"/>
                </a:cxn>
                <a:cxn ang="0">
                  <a:pos x="259" y="393"/>
                </a:cxn>
                <a:cxn ang="0">
                  <a:pos x="248" y="435"/>
                </a:cxn>
                <a:cxn ang="0">
                  <a:pos x="232" y="475"/>
                </a:cxn>
                <a:cxn ang="0">
                  <a:pos x="213" y="513"/>
                </a:cxn>
                <a:cxn ang="0">
                  <a:pos x="190" y="549"/>
                </a:cxn>
                <a:cxn ang="0">
                  <a:pos x="163" y="582"/>
                </a:cxn>
                <a:cxn ang="0">
                  <a:pos x="134" y="612"/>
                </a:cxn>
                <a:cxn ang="0">
                  <a:pos x="104" y="582"/>
                </a:cxn>
                <a:cxn ang="0">
                  <a:pos x="78" y="549"/>
                </a:cxn>
                <a:cxn ang="0">
                  <a:pos x="55" y="513"/>
                </a:cxn>
                <a:cxn ang="0">
                  <a:pos x="36" y="476"/>
                </a:cxn>
                <a:cxn ang="0">
                  <a:pos x="20" y="436"/>
                </a:cxn>
                <a:cxn ang="0">
                  <a:pos x="9" y="394"/>
                </a:cxn>
                <a:cxn ang="0">
                  <a:pos x="3" y="351"/>
                </a:cxn>
                <a:cxn ang="0">
                  <a:pos x="0" y="306"/>
                </a:cxn>
                <a:cxn ang="0">
                  <a:pos x="3" y="262"/>
                </a:cxn>
                <a:cxn ang="0">
                  <a:pos x="10" y="218"/>
                </a:cxn>
                <a:cxn ang="0">
                  <a:pos x="21" y="177"/>
                </a:cxn>
                <a:cxn ang="0">
                  <a:pos x="37" y="137"/>
                </a:cxn>
                <a:cxn ang="0">
                  <a:pos x="56" y="99"/>
                </a:cxn>
                <a:cxn ang="0">
                  <a:pos x="79" y="63"/>
                </a:cxn>
                <a:cxn ang="0">
                  <a:pos x="106" y="30"/>
                </a:cxn>
                <a:cxn ang="0">
                  <a:pos x="135" y="0"/>
                </a:cxn>
              </a:cxnLst>
              <a:rect l="0" t="0" r="r" b="b"/>
              <a:pathLst>
                <a:path w="270" h="613">
                  <a:moveTo>
                    <a:pt x="135" y="0"/>
                  </a:moveTo>
                  <a:lnTo>
                    <a:pt x="165" y="30"/>
                  </a:lnTo>
                  <a:lnTo>
                    <a:pt x="191" y="63"/>
                  </a:lnTo>
                  <a:lnTo>
                    <a:pt x="214" y="99"/>
                  </a:lnTo>
                  <a:lnTo>
                    <a:pt x="233" y="136"/>
                  </a:lnTo>
                  <a:lnTo>
                    <a:pt x="249" y="176"/>
                  </a:lnTo>
                  <a:lnTo>
                    <a:pt x="260" y="218"/>
                  </a:lnTo>
                  <a:lnTo>
                    <a:pt x="267" y="261"/>
                  </a:lnTo>
                  <a:lnTo>
                    <a:pt x="269" y="306"/>
                  </a:lnTo>
                  <a:lnTo>
                    <a:pt x="268" y="327"/>
                  </a:lnTo>
                  <a:lnTo>
                    <a:pt x="266" y="350"/>
                  </a:lnTo>
                  <a:lnTo>
                    <a:pt x="264" y="371"/>
                  </a:lnTo>
                  <a:lnTo>
                    <a:pt x="259" y="393"/>
                  </a:lnTo>
                  <a:lnTo>
                    <a:pt x="248" y="435"/>
                  </a:lnTo>
                  <a:lnTo>
                    <a:pt x="232" y="475"/>
                  </a:lnTo>
                  <a:lnTo>
                    <a:pt x="213" y="513"/>
                  </a:lnTo>
                  <a:lnTo>
                    <a:pt x="190" y="549"/>
                  </a:lnTo>
                  <a:lnTo>
                    <a:pt x="163" y="582"/>
                  </a:lnTo>
                  <a:lnTo>
                    <a:pt x="134" y="612"/>
                  </a:lnTo>
                  <a:lnTo>
                    <a:pt x="104" y="582"/>
                  </a:lnTo>
                  <a:lnTo>
                    <a:pt x="78" y="549"/>
                  </a:lnTo>
                  <a:lnTo>
                    <a:pt x="55" y="513"/>
                  </a:lnTo>
                  <a:lnTo>
                    <a:pt x="36" y="476"/>
                  </a:lnTo>
                  <a:lnTo>
                    <a:pt x="20" y="436"/>
                  </a:lnTo>
                  <a:lnTo>
                    <a:pt x="9" y="394"/>
                  </a:lnTo>
                  <a:lnTo>
                    <a:pt x="3" y="351"/>
                  </a:lnTo>
                  <a:lnTo>
                    <a:pt x="0" y="306"/>
                  </a:lnTo>
                  <a:lnTo>
                    <a:pt x="3" y="262"/>
                  </a:lnTo>
                  <a:lnTo>
                    <a:pt x="10" y="218"/>
                  </a:lnTo>
                  <a:lnTo>
                    <a:pt x="21" y="177"/>
                  </a:lnTo>
                  <a:lnTo>
                    <a:pt x="37" y="137"/>
                  </a:lnTo>
                  <a:lnTo>
                    <a:pt x="56" y="99"/>
                  </a:lnTo>
                  <a:lnTo>
                    <a:pt x="79" y="63"/>
                  </a:lnTo>
                  <a:lnTo>
                    <a:pt x="106" y="30"/>
                  </a:lnTo>
                  <a:lnTo>
                    <a:pt x="135" y="0"/>
                  </a:lnTo>
                </a:path>
              </a:pathLst>
            </a:custGeom>
            <a:grp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 name="Freeform 11">
              <a:extLst>
                <a:ext uri="{FF2B5EF4-FFF2-40B4-BE49-F238E27FC236}">
                  <a16:creationId xmlns:a16="http://schemas.microsoft.com/office/drawing/2014/main" id="{64463805-5584-4728-B26B-764AC00B4A5F}"/>
                </a:ext>
              </a:extLst>
            </p:cNvPr>
            <p:cNvSpPr>
              <a:spLocks/>
            </p:cNvSpPr>
            <p:nvPr/>
          </p:nvSpPr>
          <p:spPr bwMode="auto">
            <a:xfrm>
              <a:off x="2345" y="2243"/>
              <a:ext cx="806" cy="307"/>
            </a:xfrm>
            <a:custGeom>
              <a:avLst/>
              <a:gdLst/>
              <a:ahLst/>
              <a:cxnLst>
                <a:cxn ang="0">
                  <a:pos x="574" y="111"/>
                </a:cxn>
                <a:cxn ang="0">
                  <a:pos x="545" y="86"/>
                </a:cxn>
                <a:cxn ang="0">
                  <a:pos x="513" y="64"/>
                </a:cxn>
                <a:cxn ang="0">
                  <a:pos x="480" y="45"/>
                </a:cxn>
                <a:cxn ang="0">
                  <a:pos x="445" y="30"/>
                </a:cxn>
                <a:cxn ang="0">
                  <a:pos x="409" y="16"/>
                </a:cxn>
                <a:cxn ang="0">
                  <a:pos x="370" y="7"/>
                </a:cxn>
                <a:cxn ang="0">
                  <a:pos x="330" y="2"/>
                </a:cxn>
                <a:cxn ang="0">
                  <a:pos x="289" y="0"/>
                </a:cxn>
                <a:cxn ang="0">
                  <a:pos x="247" y="2"/>
                </a:cxn>
                <a:cxn ang="0">
                  <a:pos x="207" y="7"/>
                </a:cxn>
                <a:cxn ang="0">
                  <a:pos x="168" y="17"/>
                </a:cxn>
                <a:cxn ang="0">
                  <a:pos x="130" y="31"/>
                </a:cxn>
                <a:cxn ang="0">
                  <a:pos x="94" y="48"/>
                </a:cxn>
                <a:cxn ang="0">
                  <a:pos x="60" y="68"/>
                </a:cxn>
                <a:cxn ang="0">
                  <a:pos x="29" y="90"/>
                </a:cxn>
                <a:cxn ang="0">
                  <a:pos x="0" y="116"/>
                </a:cxn>
                <a:cxn ang="0">
                  <a:pos x="29" y="140"/>
                </a:cxn>
                <a:cxn ang="0">
                  <a:pos x="60" y="163"/>
                </a:cxn>
                <a:cxn ang="0">
                  <a:pos x="94" y="182"/>
                </a:cxn>
                <a:cxn ang="0">
                  <a:pos x="129" y="197"/>
                </a:cxn>
                <a:cxn ang="0">
                  <a:pos x="165" y="210"/>
                </a:cxn>
                <a:cxn ang="0">
                  <a:pos x="204" y="220"/>
                </a:cxn>
                <a:cxn ang="0">
                  <a:pos x="244" y="225"/>
                </a:cxn>
                <a:cxn ang="0">
                  <a:pos x="285" y="228"/>
                </a:cxn>
                <a:cxn ang="0">
                  <a:pos x="326" y="225"/>
                </a:cxn>
                <a:cxn ang="0">
                  <a:pos x="367" y="220"/>
                </a:cxn>
                <a:cxn ang="0">
                  <a:pos x="406" y="210"/>
                </a:cxn>
                <a:cxn ang="0">
                  <a:pos x="444" y="196"/>
                </a:cxn>
                <a:cxn ang="0">
                  <a:pos x="479" y="179"/>
                </a:cxn>
                <a:cxn ang="0">
                  <a:pos x="513" y="159"/>
                </a:cxn>
                <a:cxn ang="0">
                  <a:pos x="545" y="137"/>
                </a:cxn>
                <a:cxn ang="0">
                  <a:pos x="574" y="111"/>
                </a:cxn>
              </a:cxnLst>
              <a:rect l="0" t="0" r="r" b="b"/>
              <a:pathLst>
                <a:path w="575" h="229">
                  <a:moveTo>
                    <a:pt x="574" y="111"/>
                  </a:moveTo>
                  <a:lnTo>
                    <a:pt x="545" y="86"/>
                  </a:lnTo>
                  <a:lnTo>
                    <a:pt x="513" y="64"/>
                  </a:lnTo>
                  <a:lnTo>
                    <a:pt x="480" y="45"/>
                  </a:lnTo>
                  <a:lnTo>
                    <a:pt x="445" y="30"/>
                  </a:lnTo>
                  <a:lnTo>
                    <a:pt x="409" y="16"/>
                  </a:lnTo>
                  <a:lnTo>
                    <a:pt x="370" y="7"/>
                  </a:lnTo>
                  <a:lnTo>
                    <a:pt x="330" y="2"/>
                  </a:lnTo>
                  <a:lnTo>
                    <a:pt x="289" y="0"/>
                  </a:lnTo>
                  <a:lnTo>
                    <a:pt x="247" y="2"/>
                  </a:lnTo>
                  <a:lnTo>
                    <a:pt x="207" y="7"/>
                  </a:lnTo>
                  <a:lnTo>
                    <a:pt x="168" y="17"/>
                  </a:lnTo>
                  <a:lnTo>
                    <a:pt x="130" y="31"/>
                  </a:lnTo>
                  <a:lnTo>
                    <a:pt x="94" y="48"/>
                  </a:lnTo>
                  <a:lnTo>
                    <a:pt x="60" y="68"/>
                  </a:lnTo>
                  <a:lnTo>
                    <a:pt x="29" y="90"/>
                  </a:lnTo>
                  <a:lnTo>
                    <a:pt x="0" y="116"/>
                  </a:lnTo>
                  <a:lnTo>
                    <a:pt x="29" y="140"/>
                  </a:lnTo>
                  <a:lnTo>
                    <a:pt x="60" y="163"/>
                  </a:lnTo>
                  <a:lnTo>
                    <a:pt x="94" y="182"/>
                  </a:lnTo>
                  <a:lnTo>
                    <a:pt x="129" y="197"/>
                  </a:lnTo>
                  <a:lnTo>
                    <a:pt x="165" y="210"/>
                  </a:lnTo>
                  <a:lnTo>
                    <a:pt x="204" y="220"/>
                  </a:lnTo>
                  <a:lnTo>
                    <a:pt x="244" y="225"/>
                  </a:lnTo>
                  <a:lnTo>
                    <a:pt x="285" y="228"/>
                  </a:lnTo>
                  <a:lnTo>
                    <a:pt x="326" y="225"/>
                  </a:lnTo>
                  <a:lnTo>
                    <a:pt x="367" y="220"/>
                  </a:lnTo>
                  <a:lnTo>
                    <a:pt x="406" y="210"/>
                  </a:lnTo>
                  <a:lnTo>
                    <a:pt x="444" y="196"/>
                  </a:lnTo>
                  <a:lnTo>
                    <a:pt x="479" y="179"/>
                  </a:lnTo>
                  <a:lnTo>
                    <a:pt x="513" y="159"/>
                  </a:lnTo>
                  <a:lnTo>
                    <a:pt x="545" y="137"/>
                  </a:lnTo>
                  <a:lnTo>
                    <a:pt x="574" y="111"/>
                  </a:lnTo>
                </a:path>
              </a:pathLst>
            </a:custGeom>
            <a:grp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Freeform 12">
              <a:extLst>
                <a:ext uri="{FF2B5EF4-FFF2-40B4-BE49-F238E27FC236}">
                  <a16:creationId xmlns:a16="http://schemas.microsoft.com/office/drawing/2014/main" id="{AFD6B55C-7EE9-44DD-B4C4-47A0CD3C9391}"/>
                </a:ext>
              </a:extLst>
            </p:cNvPr>
            <p:cNvSpPr>
              <a:spLocks/>
            </p:cNvSpPr>
            <p:nvPr/>
          </p:nvSpPr>
          <p:spPr bwMode="auto">
            <a:xfrm>
              <a:off x="3141" y="2243"/>
              <a:ext cx="802" cy="307"/>
            </a:xfrm>
            <a:custGeom>
              <a:avLst/>
              <a:gdLst/>
              <a:ahLst/>
              <a:cxnLst>
                <a:cxn ang="0">
                  <a:pos x="571" y="112"/>
                </a:cxn>
                <a:cxn ang="0">
                  <a:pos x="542" y="138"/>
                </a:cxn>
                <a:cxn ang="0">
                  <a:pos x="511" y="160"/>
                </a:cxn>
                <a:cxn ang="0">
                  <a:pos x="477" y="180"/>
                </a:cxn>
                <a:cxn ang="0">
                  <a:pos x="442" y="196"/>
                </a:cxn>
                <a:cxn ang="0">
                  <a:pos x="404" y="210"/>
                </a:cxn>
                <a:cxn ang="0">
                  <a:pos x="365" y="220"/>
                </a:cxn>
                <a:cxn ang="0">
                  <a:pos x="325" y="225"/>
                </a:cxn>
                <a:cxn ang="0">
                  <a:pos x="283" y="228"/>
                </a:cxn>
                <a:cxn ang="0">
                  <a:pos x="243" y="225"/>
                </a:cxn>
                <a:cxn ang="0">
                  <a:pos x="204" y="220"/>
                </a:cxn>
                <a:cxn ang="0">
                  <a:pos x="166" y="210"/>
                </a:cxn>
                <a:cxn ang="0">
                  <a:pos x="128" y="197"/>
                </a:cxn>
                <a:cxn ang="0">
                  <a:pos x="94" y="181"/>
                </a:cxn>
                <a:cxn ang="0">
                  <a:pos x="60" y="162"/>
                </a:cxn>
                <a:cxn ang="0">
                  <a:pos x="29" y="139"/>
                </a:cxn>
                <a:cxn ang="0">
                  <a:pos x="0" y="115"/>
                </a:cxn>
                <a:cxn ang="0">
                  <a:pos x="29" y="90"/>
                </a:cxn>
                <a:cxn ang="0">
                  <a:pos x="61" y="67"/>
                </a:cxn>
                <a:cxn ang="0">
                  <a:pos x="95" y="47"/>
                </a:cxn>
                <a:cxn ang="0">
                  <a:pos x="129" y="31"/>
                </a:cxn>
                <a:cxn ang="0">
                  <a:pos x="168" y="17"/>
                </a:cxn>
                <a:cxn ang="0">
                  <a:pos x="206" y="7"/>
                </a:cxn>
                <a:cxn ang="0">
                  <a:pos x="246" y="2"/>
                </a:cxn>
                <a:cxn ang="0">
                  <a:pos x="287" y="0"/>
                </a:cxn>
                <a:cxn ang="0">
                  <a:pos x="328" y="2"/>
                </a:cxn>
                <a:cxn ang="0">
                  <a:pos x="367" y="7"/>
                </a:cxn>
                <a:cxn ang="0">
                  <a:pos x="406" y="16"/>
                </a:cxn>
                <a:cxn ang="0">
                  <a:pos x="443" y="30"/>
                </a:cxn>
                <a:cxn ang="0">
                  <a:pos x="478" y="45"/>
                </a:cxn>
                <a:cxn ang="0">
                  <a:pos x="511" y="65"/>
                </a:cxn>
                <a:cxn ang="0">
                  <a:pos x="542" y="88"/>
                </a:cxn>
                <a:cxn ang="0">
                  <a:pos x="571" y="112"/>
                </a:cxn>
              </a:cxnLst>
              <a:rect l="0" t="0" r="r" b="b"/>
              <a:pathLst>
                <a:path w="572" h="229">
                  <a:moveTo>
                    <a:pt x="571" y="112"/>
                  </a:moveTo>
                  <a:lnTo>
                    <a:pt x="542" y="138"/>
                  </a:lnTo>
                  <a:lnTo>
                    <a:pt x="511" y="160"/>
                  </a:lnTo>
                  <a:lnTo>
                    <a:pt x="477" y="180"/>
                  </a:lnTo>
                  <a:lnTo>
                    <a:pt x="442" y="196"/>
                  </a:lnTo>
                  <a:lnTo>
                    <a:pt x="404" y="210"/>
                  </a:lnTo>
                  <a:lnTo>
                    <a:pt x="365" y="220"/>
                  </a:lnTo>
                  <a:lnTo>
                    <a:pt x="325" y="225"/>
                  </a:lnTo>
                  <a:lnTo>
                    <a:pt x="283" y="228"/>
                  </a:lnTo>
                  <a:lnTo>
                    <a:pt x="243" y="225"/>
                  </a:lnTo>
                  <a:lnTo>
                    <a:pt x="204" y="220"/>
                  </a:lnTo>
                  <a:lnTo>
                    <a:pt x="166" y="210"/>
                  </a:lnTo>
                  <a:lnTo>
                    <a:pt x="128" y="197"/>
                  </a:lnTo>
                  <a:lnTo>
                    <a:pt x="94" y="181"/>
                  </a:lnTo>
                  <a:lnTo>
                    <a:pt x="60" y="162"/>
                  </a:lnTo>
                  <a:lnTo>
                    <a:pt x="29" y="139"/>
                  </a:lnTo>
                  <a:lnTo>
                    <a:pt x="0" y="115"/>
                  </a:lnTo>
                  <a:lnTo>
                    <a:pt x="29" y="90"/>
                  </a:lnTo>
                  <a:lnTo>
                    <a:pt x="61" y="67"/>
                  </a:lnTo>
                  <a:lnTo>
                    <a:pt x="95" y="47"/>
                  </a:lnTo>
                  <a:lnTo>
                    <a:pt x="129" y="31"/>
                  </a:lnTo>
                  <a:lnTo>
                    <a:pt x="168" y="17"/>
                  </a:lnTo>
                  <a:lnTo>
                    <a:pt x="206" y="7"/>
                  </a:lnTo>
                  <a:lnTo>
                    <a:pt x="246" y="2"/>
                  </a:lnTo>
                  <a:lnTo>
                    <a:pt x="287" y="0"/>
                  </a:lnTo>
                  <a:lnTo>
                    <a:pt x="328" y="2"/>
                  </a:lnTo>
                  <a:lnTo>
                    <a:pt x="367" y="7"/>
                  </a:lnTo>
                  <a:lnTo>
                    <a:pt x="406" y="16"/>
                  </a:lnTo>
                  <a:lnTo>
                    <a:pt x="443" y="30"/>
                  </a:lnTo>
                  <a:lnTo>
                    <a:pt x="478" y="45"/>
                  </a:lnTo>
                  <a:lnTo>
                    <a:pt x="511" y="65"/>
                  </a:lnTo>
                  <a:lnTo>
                    <a:pt x="542" y="88"/>
                  </a:lnTo>
                  <a:lnTo>
                    <a:pt x="571" y="112"/>
                  </a:lnTo>
                </a:path>
              </a:pathLst>
            </a:custGeom>
            <a:grp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13">
              <a:extLst>
                <a:ext uri="{FF2B5EF4-FFF2-40B4-BE49-F238E27FC236}">
                  <a16:creationId xmlns:a16="http://schemas.microsoft.com/office/drawing/2014/main" id="{DE922426-3FB3-4B93-968E-BFDB1EE7CC03}"/>
                </a:ext>
              </a:extLst>
            </p:cNvPr>
            <p:cNvSpPr>
              <a:spLocks/>
            </p:cNvSpPr>
            <p:nvPr/>
          </p:nvSpPr>
          <p:spPr bwMode="auto">
            <a:xfrm>
              <a:off x="2956" y="2389"/>
              <a:ext cx="377" cy="821"/>
            </a:xfrm>
            <a:custGeom>
              <a:avLst/>
              <a:gdLst/>
              <a:ahLst/>
              <a:cxnLst>
                <a:cxn ang="0">
                  <a:pos x="135" y="0"/>
                </a:cxn>
                <a:cxn ang="0">
                  <a:pos x="165" y="29"/>
                </a:cxn>
                <a:cxn ang="0">
                  <a:pos x="191" y="62"/>
                </a:cxn>
                <a:cxn ang="0">
                  <a:pos x="214" y="97"/>
                </a:cxn>
                <a:cxn ang="0">
                  <a:pos x="232" y="136"/>
                </a:cxn>
                <a:cxn ang="0">
                  <a:pos x="248" y="175"/>
                </a:cxn>
                <a:cxn ang="0">
                  <a:pos x="259" y="217"/>
                </a:cxn>
                <a:cxn ang="0">
                  <a:pos x="266" y="259"/>
                </a:cxn>
                <a:cxn ang="0">
                  <a:pos x="268" y="305"/>
                </a:cxn>
                <a:cxn ang="0">
                  <a:pos x="266" y="349"/>
                </a:cxn>
                <a:cxn ang="0">
                  <a:pos x="259" y="392"/>
                </a:cxn>
                <a:cxn ang="0">
                  <a:pos x="248" y="433"/>
                </a:cxn>
                <a:cxn ang="0">
                  <a:pos x="232" y="474"/>
                </a:cxn>
                <a:cxn ang="0">
                  <a:pos x="213" y="512"/>
                </a:cxn>
                <a:cxn ang="0">
                  <a:pos x="189" y="547"/>
                </a:cxn>
                <a:cxn ang="0">
                  <a:pos x="163" y="580"/>
                </a:cxn>
                <a:cxn ang="0">
                  <a:pos x="133" y="610"/>
                </a:cxn>
                <a:cxn ang="0">
                  <a:pos x="104" y="580"/>
                </a:cxn>
                <a:cxn ang="0">
                  <a:pos x="78" y="547"/>
                </a:cxn>
                <a:cxn ang="0">
                  <a:pos x="55" y="512"/>
                </a:cxn>
                <a:cxn ang="0">
                  <a:pos x="36" y="474"/>
                </a:cxn>
                <a:cxn ang="0">
                  <a:pos x="20" y="433"/>
                </a:cxn>
                <a:cxn ang="0">
                  <a:pos x="9" y="392"/>
                </a:cxn>
                <a:cxn ang="0">
                  <a:pos x="3" y="350"/>
                </a:cxn>
                <a:cxn ang="0">
                  <a:pos x="0" y="305"/>
                </a:cxn>
                <a:cxn ang="0">
                  <a:pos x="3" y="260"/>
                </a:cxn>
                <a:cxn ang="0">
                  <a:pos x="10" y="217"/>
                </a:cxn>
                <a:cxn ang="0">
                  <a:pos x="21" y="175"/>
                </a:cxn>
                <a:cxn ang="0">
                  <a:pos x="37" y="136"/>
                </a:cxn>
                <a:cxn ang="0">
                  <a:pos x="56" y="97"/>
                </a:cxn>
                <a:cxn ang="0">
                  <a:pos x="79" y="62"/>
                </a:cxn>
                <a:cxn ang="0">
                  <a:pos x="106" y="29"/>
                </a:cxn>
                <a:cxn ang="0">
                  <a:pos x="135" y="0"/>
                </a:cxn>
              </a:cxnLst>
              <a:rect l="0" t="0" r="r" b="b"/>
              <a:pathLst>
                <a:path w="269" h="611">
                  <a:moveTo>
                    <a:pt x="135" y="0"/>
                  </a:moveTo>
                  <a:lnTo>
                    <a:pt x="165" y="29"/>
                  </a:lnTo>
                  <a:lnTo>
                    <a:pt x="191" y="62"/>
                  </a:lnTo>
                  <a:lnTo>
                    <a:pt x="214" y="97"/>
                  </a:lnTo>
                  <a:lnTo>
                    <a:pt x="232" y="136"/>
                  </a:lnTo>
                  <a:lnTo>
                    <a:pt x="248" y="175"/>
                  </a:lnTo>
                  <a:lnTo>
                    <a:pt x="259" y="217"/>
                  </a:lnTo>
                  <a:lnTo>
                    <a:pt x="266" y="259"/>
                  </a:lnTo>
                  <a:lnTo>
                    <a:pt x="268" y="305"/>
                  </a:lnTo>
                  <a:lnTo>
                    <a:pt x="266" y="349"/>
                  </a:lnTo>
                  <a:lnTo>
                    <a:pt x="259" y="392"/>
                  </a:lnTo>
                  <a:lnTo>
                    <a:pt x="248" y="433"/>
                  </a:lnTo>
                  <a:lnTo>
                    <a:pt x="232" y="474"/>
                  </a:lnTo>
                  <a:lnTo>
                    <a:pt x="213" y="512"/>
                  </a:lnTo>
                  <a:lnTo>
                    <a:pt x="189" y="547"/>
                  </a:lnTo>
                  <a:lnTo>
                    <a:pt x="163" y="580"/>
                  </a:lnTo>
                  <a:lnTo>
                    <a:pt x="133" y="610"/>
                  </a:lnTo>
                  <a:lnTo>
                    <a:pt x="104" y="580"/>
                  </a:lnTo>
                  <a:lnTo>
                    <a:pt x="78" y="547"/>
                  </a:lnTo>
                  <a:lnTo>
                    <a:pt x="55" y="512"/>
                  </a:lnTo>
                  <a:lnTo>
                    <a:pt x="36" y="474"/>
                  </a:lnTo>
                  <a:lnTo>
                    <a:pt x="20" y="433"/>
                  </a:lnTo>
                  <a:lnTo>
                    <a:pt x="9" y="392"/>
                  </a:lnTo>
                  <a:lnTo>
                    <a:pt x="3" y="350"/>
                  </a:lnTo>
                  <a:lnTo>
                    <a:pt x="0" y="305"/>
                  </a:lnTo>
                  <a:lnTo>
                    <a:pt x="3" y="260"/>
                  </a:lnTo>
                  <a:lnTo>
                    <a:pt x="10" y="217"/>
                  </a:lnTo>
                  <a:lnTo>
                    <a:pt x="21" y="175"/>
                  </a:lnTo>
                  <a:lnTo>
                    <a:pt x="37" y="136"/>
                  </a:lnTo>
                  <a:lnTo>
                    <a:pt x="56" y="97"/>
                  </a:lnTo>
                  <a:lnTo>
                    <a:pt x="79" y="62"/>
                  </a:lnTo>
                  <a:lnTo>
                    <a:pt x="106" y="29"/>
                  </a:lnTo>
                  <a:lnTo>
                    <a:pt x="135" y="0"/>
                  </a:lnTo>
                </a:path>
              </a:pathLst>
            </a:custGeom>
            <a:grpFill/>
            <a:ln w="6350" cap="rnd" cmpd="sng">
              <a:noFill/>
              <a:prstDash val="solid"/>
              <a:round/>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3" name="Rectangle 2">
            <a:hlinkClick r:id="rId3" action="ppaction://hlinksldjump"/>
            <a:extLst>
              <a:ext uri="{FF2B5EF4-FFF2-40B4-BE49-F238E27FC236}">
                <a16:creationId xmlns:a16="http://schemas.microsoft.com/office/drawing/2014/main" id="{3D5C2E04-F9AE-492C-91A5-1D2F9CB83FF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9477157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68A3678-D886-A144-9CAA-338245118831}"/>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1D0A1C40-F296-3242-9E57-E9F64B253555}"/>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0B718EA3-7398-6A4C-97AF-A41A588B760E}"/>
              </a:ext>
            </a:extLst>
          </p:cNvPr>
          <p:cNvSpPr>
            <a:spLocks noGrp="1"/>
          </p:cNvSpPr>
          <p:nvPr>
            <p:ph type="body" sz="quarter" idx="16"/>
          </p:nvPr>
        </p:nvSpPr>
        <p:spPr/>
        <p:txBody>
          <a:bodyPr/>
          <a:lstStyle/>
          <a:p>
            <a:endParaRPr lang="en-US"/>
          </a:p>
        </p:txBody>
      </p:sp>
      <p:sp>
        <p:nvSpPr>
          <p:cNvPr id="6" name="Text Placeholder 5">
            <a:extLst>
              <a:ext uri="{FF2B5EF4-FFF2-40B4-BE49-F238E27FC236}">
                <a16:creationId xmlns:a16="http://schemas.microsoft.com/office/drawing/2014/main" id="{1CC7BF14-CBB1-F54E-B410-E00B3F533154}"/>
              </a:ext>
            </a:extLst>
          </p:cNvPr>
          <p:cNvSpPr>
            <a:spLocks noGrp="1"/>
          </p:cNvSpPr>
          <p:nvPr>
            <p:ph type="body" sz="quarter" idx="18"/>
          </p:nvPr>
        </p:nvSpPr>
        <p:spPr/>
        <p:txBody>
          <a:bodyPr/>
          <a:lstStyle/>
          <a:p>
            <a:endParaRPr lang="en-US"/>
          </a:p>
        </p:txBody>
      </p:sp>
      <p:sp>
        <p:nvSpPr>
          <p:cNvPr id="7" name="Text Placeholder 6">
            <a:extLst>
              <a:ext uri="{FF2B5EF4-FFF2-40B4-BE49-F238E27FC236}">
                <a16:creationId xmlns:a16="http://schemas.microsoft.com/office/drawing/2014/main" id="{EB6F9BFE-098E-6A46-8C99-579B1EB6A09F}"/>
              </a:ext>
            </a:extLst>
          </p:cNvPr>
          <p:cNvSpPr>
            <a:spLocks noGrp="1"/>
          </p:cNvSpPr>
          <p:nvPr>
            <p:ph type="body" sz="quarter" idx="20"/>
          </p:nvPr>
        </p:nvSpPr>
        <p:spPr/>
        <p:txBody>
          <a:bodyPr/>
          <a:lstStyle/>
          <a:p>
            <a:endParaRPr lang="en-US"/>
          </a:p>
        </p:txBody>
      </p:sp>
      <p:sp>
        <p:nvSpPr>
          <p:cNvPr id="8" name="Text Placeholder 7">
            <a:extLst>
              <a:ext uri="{FF2B5EF4-FFF2-40B4-BE49-F238E27FC236}">
                <a16:creationId xmlns:a16="http://schemas.microsoft.com/office/drawing/2014/main" id="{DA520FF6-1D6E-1A43-91F8-D2ED091A92F2}"/>
              </a:ext>
            </a:extLst>
          </p:cNvPr>
          <p:cNvSpPr>
            <a:spLocks noGrp="1"/>
          </p:cNvSpPr>
          <p:nvPr>
            <p:ph type="body" sz="quarter" idx="22"/>
          </p:nvPr>
        </p:nvSpPr>
        <p:spPr/>
        <p:txBody>
          <a:bodyPr/>
          <a:lstStyle/>
          <a:p>
            <a:endParaRPr lang="en-US"/>
          </a:p>
        </p:txBody>
      </p:sp>
      <p:sp>
        <p:nvSpPr>
          <p:cNvPr id="9" name="Text Placeholder 8">
            <a:extLst>
              <a:ext uri="{FF2B5EF4-FFF2-40B4-BE49-F238E27FC236}">
                <a16:creationId xmlns:a16="http://schemas.microsoft.com/office/drawing/2014/main" id="{8A9EF07B-DE87-6A45-984B-997204CF9A6E}"/>
              </a:ext>
            </a:extLst>
          </p:cNvPr>
          <p:cNvSpPr>
            <a:spLocks noGrp="1"/>
          </p:cNvSpPr>
          <p:nvPr>
            <p:ph type="body" sz="quarter" idx="24"/>
          </p:nvPr>
        </p:nvSpPr>
        <p:spPr/>
        <p:txBody>
          <a:bodyPr/>
          <a:lstStyle/>
          <a:p>
            <a:endParaRPr lang="en-US"/>
          </a:p>
        </p:txBody>
      </p:sp>
      <p:sp>
        <p:nvSpPr>
          <p:cNvPr id="10" name="Text Placeholder 9">
            <a:extLst>
              <a:ext uri="{FF2B5EF4-FFF2-40B4-BE49-F238E27FC236}">
                <a16:creationId xmlns:a16="http://schemas.microsoft.com/office/drawing/2014/main" id="{082E69D0-6B69-8140-9B97-B28240290B5E}"/>
              </a:ext>
            </a:extLst>
          </p:cNvPr>
          <p:cNvSpPr>
            <a:spLocks noGrp="1"/>
          </p:cNvSpPr>
          <p:nvPr>
            <p:ph type="body" sz="quarter" idx="26"/>
          </p:nvPr>
        </p:nvSpPr>
        <p:spPr/>
        <p:txBody>
          <a:bodyPr/>
          <a:lstStyle/>
          <a:p>
            <a:endParaRPr lang="en-US"/>
          </a:p>
        </p:txBody>
      </p:sp>
      <p:sp>
        <p:nvSpPr>
          <p:cNvPr id="11" name="Text Placeholder 10">
            <a:extLst>
              <a:ext uri="{FF2B5EF4-FFF2-40B4-BE49-F238E27FC236}">
                <a16:creationId xmlns:a16="http://schemas.microsoft.com/office/drawing/2014/main" id="{35E053D5-335A-484A-9A6F-99C5A847CD6A}"/>
              </a:ext>
            </a:extLst>
          </p:cNvPr>
          <p:cNvSpPr>
            <a:spLocks noGrp="1"/>
          </p:cNvSpPr>
          <p:nvPr>
            <p:ph type="body" sz="quarter" idx="28"/>
          </p:nvPr>
        </p:nvSpPr>
        <p:spPr/>
        <p:txBody>
          <a:bodyPr/>
          <a:lstStyle/>
          <a:p>
            <a:endParaRPr lang="en-US"/>
          </a:p>
        </p:txBody>
      </p:sp>
      <p:sp>
        <p:nvSpPr>
          <p:cNvPr id="12" name="Text Placeholder 11">
            <a:extLst>
              <a:ext uri="{FF2B5EF4-FFF2-40B4-BE49-F238E27FC236}">
                <a16:creationId xmlns:a16="http://schemas.microsoft.com/office/drawing/2014/main" id="{A6B0FAD6-8150-B949-AF6C-C08AB730BAFD}"/>
              </a:ext>
            </a:extLst>
          </p:cNvPr>
          <p:cNvSpPr>
            <a:spLocks noGrp="1"/>
          </p:cNvSpPr>
          <p:nvPr>
            <p:ph type="body" sz="quarter" idx="30"/>
          </p:nvPr>
        </p:nvSpPr>
        <p:spPr/>
        <p:txBody>
          <a:bodyPr/>
          <a:lstStyle/>
          <a:p>
            <a:endParaRPr lang="en-US"/>
          </a:p>
        </p:txBody>
      </p:sp>
      <p:sp>
        <p:nvSpPr>
          <p:cNvPr id="13" name="Text Placeholder 12">
            <a:extLst>
              <a:ext uri="{FF2B5EF4-FFF2-40B4-BE49-F238E27FC236}">
                <a16:creationId xmlns:a16="http://schemas.microsoft.com/office/drawing/2014/main" id="{F2233271-AF23-254E-B882-A65AF9A68DF2}"/>
              </a:ext>
            </a:extLst>
          </p:cNvPr>
          <p:cNvSpPr>
            <a:spLocks noGrp="1"/>
          </p:cNvSpPr>
          <p:nvPr>
            <p:ph type="body" sz="quarter" idx="31"/>
          </p:nvPr>
        </p:nvSpPr>
        <p:spPr/>
        <p:txBody>
          <a:bodyPr/>
          <a:lstStyle/>
          <a:p>
            <a:endParaRPr lang="en-US"/>
          </a:p>
        </p:txBody>
      </p:sp>
      <p:sp>
        <p:nvSpPr>
          <p:cNvPr id="14" name="Text Placeholder 13">
            <a:extLst>
              <a:ext uri="{FF2B5EF4-FFF2-40B4-BE49-F238E27FC236}">
                <a16:creationId xmlns:a16="http://schemas.microsoft.com/office/drawing/2014/main" id="{83F811DE-29A6-034A-83DC-4D82E5E855D5}"/>
              </a:ext>
            </a:extLst>
          </p:cNvPr>
          <p:cNvSpPr>
            <a:spLocks noGrp="1"/>
          </p:cNvSpPr>
          <p:nvPr>
            <p:ph type="body" sz="quarter" idx="32"/>
          </p:nvPr>
        </p:nvSpPr>
        <p:spPr/>
        <p:txBody>
          <a:bodyPr/>
          <a:lstStyle/>
          <a:p>
            <a:endParaRPr lang="en-US"/>
          </a:p>
        </p:txBody>
      </p:sp>
      <p:sp>
        <p:nvSpPr>
          <p:cNvPr id="15" name="Text Placeholder 14">
            <a:extLst>
              <a:ext uri="{FF2B5EF4-FFF2-40B4-BE49-F238E27FC236}">
                <a16:creationId xmlns:a16="http://schemas.microsoft.com/office/drawing/2014/main" id="{1ED34F9B-48D7-204E-A36E-EF8239E75761}"/>
              </a:ext>
            </a:extLst>
          </p:cNvPr>
          <p:cNvSpPr>
            <a:spLocks noGrp="1"/>
          </p:cNvSpPr>
          <p:nvPr>
            <p:ph type="body" sz="quarter" idx="33"/>
          </p:nvPr>
        </p:nvSpPr>
        <p:spPr/>
        <p:txBody>
          <a:bodyPr/>
          <a:lstStyle/>
          <a:p>
            <a:endParaRPr lang="en-US"/>
          </a:p>
        </p:txBody>
      </p:sp>
      <p:sp>
        <p:nvSpPr>
          <p:cNvPr id="16" name="Text Placeholder 15">
            <a:extLst>
              <a:ext uri="{FF2B5EF4-FFF2-40B4-BE49-F238E27FC236}">
                <a16:creationId xmlns:a16="http://schemas.microsoft.com/office/drawing/2014/main" id="{DC716DE6-113D-A54A-A884-99B5EC4E3787}"/>
              </a:ext>
            </a:extLst>
          </p:cNvPr>
          <p:cNvSpPr>
            <a:spLocks noGrp="1"/>
          </p:cNvSpPr>
          <p:nvPr>
            <p:ph type="body" sz="quarter" idx="34"/>
          </p:nvPr>
        </p:nvSpPr>
        <p:spPr/>
        <p:txBody>
          <a:bodyPr/>
          <a:lstStyle/>
          <a:p>
            <a:endParaRPr lang="en-US"/>
          </a:p>
        </p:txBody>
      </p:sp>
      <p:sp>
        <p:nvSpPr>
          <p:cNvPr id="17" name="Text Placeholder 16">
            <a:extLst>
              <a:ext uri="{FF2B5EF4-FFF2-40B4-BE49-F238E27FC236}">
                <a16:creationId xmlns:a16="http://schemas.microsoft.com/office/drawing/2014/main" id="{01FDF171-1298-1347-BA79-20CE6464F840}"/>
              </a:ext>
            </a:extLst>
          </p:cNvPr>
          <p:cNvSpPr>
            <a:spLocks noGrp="1"/>
          </p:cNvSpPr>
          <p:nvPr>
            <p:ph type="body" sz="quarter" idx="35"/>
          </p:nvPr>
        </p:nvSpPr>
        <p:spPr/>
        <p:txBody>
          <a:bodyPr/>
          <a:lstStyle/>
          <a:p>
            <a:endParaRPr lang="en-US"/>
          </a:p>
        </p:txBody>
      </p:sp>
      <p:sp>
        <p:nvSpPr>
          <p:cNvPr id="18" name="Text Placeholder 17">
            <a:extLst>
              <a:ext uri="{FF2B5EF4-FFF2-40B4-BE49-F238E27FC236}">
                <a16:creationId xmlns:a16="http://schemas.microsoft.com/office/drawing/2014/main" id="{AB7347BF-D188-B648-A3C3-8CCC17592FAA}"/>
              </a:ext>
            </a:extLst>
          </p:cNvPr>
          <p:cNvSpPr>
            <a:spLocks noGrp="1"/>
          </p:cNvSpPr>
          <p:nvPr>
            <p:ph type="body" sz="quarter" idx="36"/>
          </p:nvPr>
        </p:nvSpPr>
        <p:spPr/>
        <p:txBody>
          <a:bodyPr/>
          <a:lstStyle/>
          <a:p>
            <a:endParaRPr lang="en-US"/>
          </a:p>
        </p:txBody>
      </p:sp>
      <p:sp>
        <p:nvSpPr>
          <p:cNvPr id="19" name="Text Placeholder 18">
            <a:extLst>
              <a:ext uri="{FF2B5EF4-FFF2-40B4-BE49-F238E27FC236}">
                <a16:creationId xmlns:a16="http://schemas.microsoft.com/office/drawing/2014/main" id="{EDE58FC8-3B0B-F54D-A226-4A1DFB9BAEF8}"/>
              </a:ext>
            </a:extLst>
          </p:cNvPr>
          <p:cNvSpPr>
            <a:spLocks noGrp="1"/>
          </p:cNvSpPr>
          <p:nvPr>
            <p:ph type="body" sz="quarter" idx="37"/>
          </p:nvPr>
        </p:nvSpPr>
        <p:spPr/>
        <p:txBody>
          <a:bodyPr/>
          <a:lstStyle/>
          <a:p>
            <a:endParaRPr lang="en-US"/>
          </a:p>
        </p:txBody>
      </p:sp>
      <p:sp>
        <p:nvSpPr>
          <p:cNvPr id="20" name="Text Placeholder 19">
            <a:extLst>
              <a:ext uri="{FF2B5EF4-FFF2-40B4-BE49-F238E27FC236}">
                <a16:creationId xmlns:a16="http://schemas.microsoft.com/office/drawing/2014/main" id="{7890C4F6-3FA0-F040-A97E-3430ECF50470}"/>
              </a:ext>
            </a:extLst>
          </p:cNvPr>
          <p:cNvSpPr>
            <a:spLocks noGrp="1"/>
          </p:cNvSpPr>
          <p:nvPr>
            <p:ph type="body" sz="quarter" idx="38"/>
          </p:nvPr>
        </p:nvSpPr>
        <p:spPr/>
        <p:txBody>
          <a:bodyPr/>
          <a:lstStyle/>
          <a:p>
            <a:endParaRPr lang="en-US"/>
          </a:p>
        </p:txBody>
      </p:sp>
      <p:sp>
        <p:nvSpPr>
          <p:cNvPr id="21" name="Text Placeholder 20">
            <a:extLst>
              <a:ext uri="{FF2B5EF4-FFF2-40B4-BE49-F238E27FC236}">
                <a16:creationId xmlns:a16="http://schemas.microsoft.com/office/drawing/2014/main" id="{80FF4490-E468-B24A-A8EF-1A6C2055ECF1}"/>
              </a:ext>
            </a:extLst>
          </p:cNvPr>
          <p:cNvSpPr>
            <a:spLocks noGrp="1"/>
          </p:cNvSpPr>
          <p:nvPr>
            <p:ph type="body" sz="quarter" idx="39"/>
          </p:nvPr>
        </p:nvSpPr>
        <p:spPr/>
        <p:txBody>
          <a:bodyPr/>
          <a:lstStyle/>
          <a:p>
            <a:endParaRPr lang="en-US"/>
          </a:p>
        </p:txBody>
      </p:sp>
      <p:sp>
        <p:nvSpPr>
          <p:cNvPr id="22" name="Text Placeholder 21">
            <a:extLst>
              <a:ext uri="{FF2B5EF4-FFF2-40B4-BE49-F238E27FC236}">
                <a16:creationId xmlns:a16="http://schemas.microsoft.com/office/drawing/2014/main" id="{80FCBAB7-297B-5B4C-9FFA-F7C4DB458B2E}"/>
              </a:ext>
            </a:extLst>
          </p:cNvPr>
          <p:cNvSpPr>
            <a:spLocks noGrp="1"/>
          </p:cNvSpPr>
          <p:nvPr>
            <p:ph type="body" sz="quarter" idx="40"/>
          </p:nvPr>
        </p:nvSpPr>
        <p:spPr/>
        <p:txBody>
          <a:bodyPr/>
          <a:lstStyle/>
          <a:p>
            <a:endParaRPr lang="en-US"/>
          </a:p>
        </p:txBody>
      </p:sp>
      <p:sp>
        <p:nvSpPr>
          <p:cNvPr id="23" name="Text Placeholder 22">
            <a:extLst>
              <a:ext uri="{FF2B5EF4-FFF2-40B4-BE49-F238E27FC236}">
                <a16:creationId xmlns:a16="http://schemas.microsoft.com/office/drawing/2014/main" id="{F2F3AE72-0316-5F4E-8B9D-12ED79F36197}"/>
              </a:ext>
            </a:extLst>
          </p:cNvPr>
          <p:cNvSpPr>
            <a:spLocks noGrp="1"/>
          </p:cNvSpPr>
          <p:nvPr>
            <p:ph type="body" sz="quarter" idx="41"/>
          </p:nvPr>
        </p:nvSpPr>
        <p:spPr/>
        <p:txBody>
          <a:bodyPr/>
          <a:lstStyle/>
          <a:p>
            <a:endParaRPr lang="en-US"/>
          </a:p>
        </p:txBody>
      </p:sp>
      <p:sp>
        <p:nvSpPr>
          <p:cNvPr id="24" name="Text Placeholder 23">
            <a:extLst>
              <a:ext uri="{FF2B5EF4-FFF2-40B4-BE49-F238E27FC236}">
                <a16:creationId xmlns:a16="http://schemas.microsoft.com/office/drawing/2014/main" id="{C495133D-2DA9-9343-8A7E-AC116D7F16C5}"/>
              </a:ext>
            </a:extLst>
          </p:cNvPr>
          <p:cNvSpPr>
            <a:spLocks noGrp="1"/>
          </p:cNvSpPr>
          <p:nvPr>
            <p:ph type="body" sz="quarter" idx="42"/>
          </p:nvPr>
        </p:nvSpPr>
        <p:spPr/>
        <p:txBody>
          <a:bodyPr/>
          <a:lstStyle/>
          <a:p>
            <a:endParaRPr lang="en-US"/>
          </a:p>
        </p:txBody>
      </p:sp>
      <p:sp>
        <p:nvSpPr>
          <p:cNvPr id="25" name="Text Placeholder 24">
            <a:extLst>
              <a:ext uri="{FF2B5EF4-FFF2-40B4-BE49-F238E27FC236}">
                <a16:creationId xmlns:a16="http://schemas.microsoft.com/office/drawing/2014/main" id="{A184CF56-0472-8846-8E90-FECC63E15F72}"/>
              </a:ext>
            </a:extLst>
          </p:cNvPr>
          <p:cNvSpPr>
            <a:spLocks noGrp="1"/>
          </p:cNvSpPr>
          <p:nvPr>
            <p:ph type="body" sz="quarter" idx="43"/>
          </p:nvPr>
        </p:nvSpPr>
        <p:spPr/>
        <p:txBody>
          <a:bodyPr/>
          <a:lstStyle/>
          <a:p>
            <a:endParaRPr lang="en-US"/>
          </a:p>
        </p:txBody>
      </p:sp>
      <p:sp>
        <p:nvSpPr>
          <p:cNvPr id="26" name="Text Placeholder 25">
            <a:extLst>
              <a:ext uri="{FF2B5EF4-FFF2-40B4-BE49-F238E27FC236}">
                <a16:creationId xmlns:a16="http://schemas.microsoft.com/office/drawing/2014/main" id="{7B23B932-4036-9548-A26F-0285242E99E9}"/>
              </a:ext>
            </a:extLst>
          </p:cNvPr>
          <p:cNvSpPr>
            <a:spLocks noGrp="1"/>
          </p:cNvSpPr>
          <p:nvPr>
            <p:ph type="body" sz="quarter" idx="44"/>
          </p:nvPr>
        </p:nvSpPr>
        <p:spPr/>
        <p:txBody>
          <a:bodyPr/>
          <a:lstStyle/>
          <a:p>
            <a:endParaRPr lang="en-US"/>
          </a:p>
        </p:txBody>
      </p:sp>
      <p:sp>
        <p:nvSpPr>
          <p:cNvPr id="27" name="Text Placeholder 26">
            <a:extLst>
              <a:ext uri="{FF2B5EF4-FFF2-40B4-BE49-F238E27FC236}">
                <a16:creationId xmlns:a16="http://schemas.microsoft.com/office/drawing/2014/main" id="{07C55FB4-37E3-AA40-84D5-E721EA4E2FBF}"/>
              </a:ext>
            </a:extLst>
          </p:cNvPr>
          <p:cNvSpPr>
            <a:spLocks noGrp="1"/>
          </p:cNvSpPr>
          <p:nvPr>
            <p:ph type="body" sz="quarter" idx="45"/>
          </p:nvPr>
        </p:nvSpPr>
        <p:spPr/>
        <p:txBody>
          <a:bodyPr/>
          <a:lstStyle/>
          <a:p>
            <a:endParaRPr lang="en-US"/>
          </a:p>
        </p:txBody>
      </p:sp>
      <p:sp>
        <p:nvSpPr>
          <p:cNvPr id="28" name="Text Placeholder 27">
            <a:extLst>
              <a:ext uri="{FF2B5EF4-FFF2-40B4-BE49-F238E27FC236}">
                <a16:creationId xmlns:a16="http://schemas.microsoft.com/office/drawing/2014/main" id="{9F7C4C1C-97FA-C140-8DD4-77987217EC8A}"/>
              </a:ext>
            </a:extLst>
          </p:cNvPr>
          <p:cNvSpPr>
            <a:spLocks noGrp="1"/>
          </p:cNvSpPr>
          <p:nvPr>
            <p:ph type="body" sz="quarter" idx="46"/>
          </p:nvPr>
        </p:nvSpPr>
        <p:spPr/>
        <p:txBody>
          <a:bodyPr/>
          <a:lstStyle/>
          <a:p>
            <a:endParaRPr lang="en-US"/>
          </a:p>
        </p:txBody>
      </p:sp>
      <p:sp>
        <p:nvSpPr>
          <p:cNvPr id="29" name="Text Placeholder 28">
            <a:extLst>
              <a:ext uri="{FF2B5EF4-FFF2-40B4-BE49-F238E27FC236}">
                <a16:creationId xmlns:a16="http://schemas.microsoft.com/office/drawing/2014/main" id="{3BEAD2E7-1A14-CF47-A9C8-6B5765C74607}"/>
              </a:ext>
            </a:extLst>
          </p:cNvPr>
          <p:cNvSpPr>
            <a:spLocks noGrp="1"/>
          </p:cNvSpPr>
          <p:nvPr>
            <p:ph type="body" sz="quarter" idx="47"/>
          </p:nvPr>
        </p:nvSpPr>
        <p:spPr/>
        <p:txBody>
          <a:bodyPr/>
          <a:lstStyle/>
          <a:p>
            <a:endParaRPr lang="en-US"/>
          </a:p>
        </p:txBody>
      </p:sp>
      <p:sp>
        <p:nvSpPr>
          <p:cNvPr id="30" name="Text Placeholder 29">
            <a:extLst>
              <a:ext uri="{FF2B5EF4-FFF2-40B4-BE49-F238E27FC236}">
                <a16:creationId xmlns:a16="http://schemas.microsoft.com/office/drawing/2014/main" id="{1376CECE-4A33-9847-B19A-6FE9AE928BBB}"/>
              </a:ext>
            </a:extLst>
          </p:cNvPr>
          <p:cNvSpPr>
            <a:spLocks noGrp="1"/>
          </p:cNvSpPr>
          <p:nvPr>
            <p:ph type="body" sz="quarter" idx="48"/>
          </p:nvPr>
        </p:nvSpPr>
        <p:spPr/>
        <p:txBody>
          <a:bodyPr/>
          <a:lstStyle/>
          <a:p>
            <a:endParaRPr lang="en-US"/>
          </a:p>
        </p:txBody>
      </p:sp>
      <p:sp>
        <p:nvSpPr>
          <p:cNvPr id="31" name="Text Placeholder 30">
            <a:extLst>
              <a:ext uri="{FF2B5EF4-FFF2-40B4-BE49-F238E27FC236}">
                <a16:creationId xmlns:a16="http://schemas.microsoft.com/office/drawing/2014/main" id="{E63622BE-CC5E-2F40-A45F-C69FAEB00BFA}"/>
              </a:ext>
            </a:extLst>
          </p:cNvPr>
          <p:cNvSpPr>
            <a:spLocks noGrp="1"/>
          </p:cNvSpPr>
          <p:nvPr>
            <p:ph type="body" sz="quarter" idx="49"/>
          </p:nvPr>
        </p:nvSpPr>
        <p:spPr/>
        <p:txBody>
          <a:bodyPr/>
          <a:lstStyle/>
          <a:p>
            <a:endParaRPr lang="en-US"/>
          </a:p>
        </p:txBody>
      </p:sp>
      <p:sp>
        <p:nvSpPr>
          <p:cNvPr id="32" name="Text Placeholder 31">
            <a:extLst>
              <a:ext uri="{FF2B5EF4-FFF2-40B4-BE49-F238E27FC236}">
                <a16:creationId xmlns:a16="http://schemas.microsoft.com/office/drawing/2014/main" id="{AE3CD844-3F3D-EE44-B195-35394B052A5E}"/>
              </a:ext>
            </a:extLst>
          </p:cNvPr>
          <p:cNvSpPr>
            <a:spLocks noGrp="1"/>
          </p:cNvSpPr>
          <p:nvPr>
            <p:ph type="body" sz="quarter" idx="50"/>
          </p:nvPr>
        </p:nvSpPr>
        <p:spPr/>
        <p:txBody>
          <a:bodyPr/>
          <a:lstStyle/>
          <a:p>
            <a:endParaRPr lang="en-US"/>
          </a:p>
        </p:txBody>
      </p:sp>
      <p:sp>
        <p:nvSpPr>
          <p:cNvPr id="33" name="Text Placeholder 32">
            <a:extLst>
              <a:ext uri="{FF2B5EF4-FFF2-40B4-BE49-F238E27FC236}">
                <a16:creationId xmlns:a16="http://schemas.microsoft.com/office/drawing/2014/main" id="{B4761B1D-75C9-FD4A-8D13-25F0FF765997}"/>
              </a:ext>
            </a:extLst>
          </p:cNvPr>
          <p:cNvSpPr>
            <a:spLocks noGrp="1"/>
          </p:cNvSpPr>
          <p:nvPr>
            <p:ph type="body" sz="quarter" idx="51"/>
          </p:nvPr>
        </p:nvSpPr>
        <p:spPr/>
        <p:txBody>
          <a:bodyPr/>
          <a:lstStyle/>
          <a:p>
            <a:endParaRPr lang="en-US"/>
          </a:p>
        </p:txBody>
      </p:sp>
      <p:sp>
        <p:nvSpPr>
          <p:cNvPr id="34" name="Text Placeholder 33">
            <a:extLst>
              <a:ext uri="{FF2B5EF4-FFF2-40B4-BE49-F238E27FC236}">
                <a16:creationId xmlns:a16="http://schemas.microsoft.com/office/drawing/2014/main" id="{E947BB28-2FF4-934E-A32C-F530921614C1}"/>
              </a:ext>
            </a:extLst>
          </p:cNvPr>
          <p:cNvSpPr>
            <a:spLocks noGrp="1"/>
          </p:cNvSpPr>
          <p:nvPr>
            <p:ph type="body" sz="quarter" idx="52"/>
          </p:nvPr>
        </p:nvSpPr>
        <p:spPr/>
        <p:txBody>
          <a:bodyPr/>
          <a:lstStyle/>
          <a:p>
            <a:endParaRPr lang="en-US"/>
          </a:p>
        </p:txBody>
      </p:sp>
      <p:sp>
        <p:nvSpPr>
          <p:cNvPr id="35" name="Text Placeholder 34">
            <a:extLst>
              <a:ext uri="{FF2B5EF4-FFF2-40B4-BE49-F238E27FC236}">
                <a16:creationId xmlns:a16="http://schemas.microsoft.com/office/drawing/2014/main" id="{9F6739EA-47F0-1E41-829C-DF56B2A05776}"/>
              </a:ext>
            </a:extLst>
          </p:cNvPr>
          <p:cNvSpPr>
            <a:spLocks noGrp="1"/>
          </p:cNvSpPr>
          <p:nvPr>
            <p:ph type="body" sz="quarter" idx="53"/>
          </p:nvPr>
        </p:nvSpPr>
        <p:spPr/>
        <p:txBody>
          <a:bodyPr/>
          <a:lstStyle/>
          <a:p>
            <a:endParaRPr lang="en-US"/>
          </a:p>
        </p:txBody>
      </p:sp>
      <p:sp>
        <p:nvSpPr>
          <p:cNvPr id="36" name="Text Placeholder 35">
            <a:extLst>
              <a:ext uri="{FF2B5EF4-FFF2-40B4-BE49-F238E27FC236}">
                <a16:creationId xmlns:a16="http://schemas.microsoft.com/office/drawing/2014/main" id="{7F575720-AB4E-EA45-9498-360722C0B2B3}"/>
              </a:ext>
            </a:extLst>
          </p:cNvPr>
          <p:cNvSpPr>
            <a:spLocks noGrp="1"/>
          </p:cNvSpPr>
          <p:nvPr>
            <p:ph type="body" sz="quarter" idx="54"/>
          </p:nvPr>
        </p:nvSpPr>
        <p:spPr/>
        <p:txBody>
          <a:bodyPr/>
          <a:lstStyle/>
          <a:p>
            <a:endParaRPr lang="en-US"/>
          </a:p>
        </p:txBody>
      </p:sp>
    </p:spTree>
    <p:extLst>
      <p:ext uri="{BB962C8B-B14F-4D97-AF65-F5344CB8AC3E}">
        <p14:creationId xmlns:p14="http://schemas.microsoft.com/office/powerpoint/2010/main" val="1185804426"/>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1</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98331D26-5F60-4F2A-8B27-60DF7935D21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9" name="Group 19">
            <a:extLst>
              <a:ext uri="{FF2B5EF4-FFF2-40B4-BE49-F238E27FC236}">
                <a16:creationId xmlns:a16="http://schemas.microsoft.com/office/drawing/2014/main" id="{2B53C577-C77F-44C6-8002-B93D3B008A7B}"/>
              </a:ext>
            </a:extLst>
          </p:cNvPr>
          <p:cNvGrpSpPr/>
          <p:nvPr/>
        </p:nvGrpSpPr>
        <p:grpSpPr bwMode="auto">
          <a:xfrm>
            <a:off x="3894000" y="1651413"/>
            <a:ext cx="4416425" cy="4416426"/>
            <a:chOff x="2373313" y="1676400"/>
            <a:chExt cx="4416425" cy="4416426"/>
          </a:xfrm>
        </p:grpSpPr>
        <p:sp>
          <p:nvSpPr>
            <p:cNvPr id="20" name="Freeform 12">
              <a:extLst>
                <a:ext uri="{FF2B5EF4-FFF2-40B4-BE49-F238E27FC236}">
                  <a16:creationId xmlns:a16="http://schemas.microsoft.com/office/drawing/2014/main" id="{79428EDE-1B19-4C0B-8842-B571B00694E9}"/>
                </a:ext>
              </a:extLst>
            </p:cNvPr>
            <p:cNvSpPr>
              <a:spLocks/>
            </p:cNvSpPr>
            <p:nvPr/>
          </p:nvSpPr>
          <p:spPr bwMode="auto">
            <a:xfrm>
              <a:off x="2373313" y="1676400"/>
              <a:ext cx="4416425" cy="2171700"/>
            </a:xfrm>
            <a:custGeom>
              <a:avLst/>
              <a:gdLst/>
              <a:ahLst/>
              <a:cxnLst>
                <a:cxn ang="0">
                  <a:pos x="354" y="1323"/>
                </a:cxn>
                <a:cxn ang="0">
                  <a:pos x="371" y="1189"/>
                </a:cxn>
                <a:cxn ang="0">
                  <a:pos x="405" y="1059"/>
                </a:cxn>
                <a:cxn ang="0">
                  <a:pos x="456" y="934"/>
                </a:cxn>
                <a:cxn ang="0">
                  <a:pos x="522" y="819"/>
                </a:cxn>
                <a:cxn ang="0">
                  <a:pos x="605" y="711"/>
                </a:cxn>
                <a:cxn ang="0">
                  <a:pos x="683" y="630"/>
                </a:cxn>
                <a:cxn ang="0">
                  <a:pos x="813" y="526"/>
                </a:cxn>
                <a:cxn ang="0">
                  <a:pos x="959" y="445"/>
                </a:cxn>
                <a:cxn ang="0">
                  <a:pos x="1115" y="388"/>
                </a:cxn>
                <a:cxn ang="0">
                  <a:pos x="1278" y="357"/>
                </a:cxn>
                <a:cxn ang="0">
                  <a:pos x="1391" y="351"/>
                </a:cxn>
                <a:cxn ang="0">
                  <a:pos x="1559" y="364"/>
                </a:cxn>
                <a:cxn ang="0">
                  <a:pos x="1720" y="405"/>
                </a:cxn>
                <a:cxn ang="0">
                  <a:pos x="1873" y="469"/>
                </a:cxn>
                <a:cxn ang="0">
                  <a:pos x="2014" y="558"/>
                </a:cxn>
                <a:cxn ang="0">
                  <a:pos x="2138" y="669"/>
                </a:cxn>
                <a:cxn ang="0">
                  <a:pos x="2206" y="745"/>
                </a:cxn>
                <a:cxn ang="0">
                  <a:pos x="2282" y="856"/>
                </a:cxn>
                <a:cxn ang="0">
                  <a:pos x="2344" y="975"/>
                </a:cxn>
                <a:cxn ang="0">
                  <a:pos x="2389" y="1102"/>
                </a:cxn>
                <a:cxn ang="0">
                  <a:pos x="2417" y="1233"/>
                </a:cxn>
                <a:cxn ang="0">
                  <a:pos x="2429" y="1368"/>
                </a:cxn>
                <a:cxn ang="0">
                  <a:pos x="2779" y="1297"/>
                </a:cxn>
                <a:cxn ang="0">
                  <a:pos x="2749" y="1092"/>
                </a:cxn>
                <a:cxn ang="0">
                  <a:pos x="2692" y="897"/>
                </a:cxn>
                <a:cxn ang="0">
                  <a:pos x="2606" y="715"/>
                </a:cxn>
                <a:cxn ang="0">
                  <a:pos x="2498" y="549"/>
                </a:cxn>
                <a:cxn ang="0">
                  <a:pos x="2366" y="400"/>
                </a:cxn>
                <a:cxn ang="0">
                  <a:pos x="2216" y="271"/>
                </a:cxn>
                <a:cxn ang="0">
                  <a:pos x="2048" y="165"/>
                </a:cxn>
                <a:cxn ang="0">
                  <a:pos x="1865" y="82"/>
                </a:cxn>
                <a:cxn ang="0">
                  <a:pos x="1669" y="28"/>
                </a:cxn>
                <a:cxn ang="0">
                  <a:pos x="1462" y="1"/>
                </a:cxn>
                <a:cxn ang="0">
                  <a:pos x="1320" y="1"/>
                </a:cxn>
                <a:cxn ang="0">
                  <a:pos x="1113" y="28"/>
                </a:cxn>
                <a:cxn ang="0">
                  <a:pos x="917" y="82"/>
                </a:cxn>
                <a:cxn ang="0">
                  <a:pos x="734" y="165"/>
                </a:cxn>
                <a:cxn ang="0">
                  <a:pos x="566" y="271"/>
                </a:cxn>
                <a:cxn ang="0">
                  <a:pos x="414" y="400"/>
                </a:cxn>
                <a:cxn ang="0">
                  <a:pos x="284" y="549"/>
                </a:cxn>
                <a:cxn ang="0">
                  <a:pos x="174" y="715"/>
                </a:cxn>
                <a:cxn ang="0">
                  <a:pos x="90" y="897"/>
                </a:cxn>
                <a:cxn ang="0">
                  <a:pos x="32" y="1092"/>
                </a:cxn>
                <a:cxn ang="0">
                  <a:pos x="3" y="1297"/>
                </a:cxn>
              </a:cxnLst>
              <a:rect l="0" t="0" r="r" b="b"/>
              <a:pathLst>
                <a:path w="2782" h="1368">
                  <a:moveTo>
                    <a:pt x="351" y="1368"/>
                  </a:moveTo>
                  <a:lnTo>
                    <a:pt x="351" y="1368"/>
                  </a:lnTo>
                  <a:lnTo>
                    <a:pt x="354" y="1323"/>
                  </a:lnTo>
                  <a:lnTo>
                    <a:pt x="357" y="1278"/>
                  </a:lnTo>
                  <a:lnTo>
                    <a:pt x="363" y="1233"/>
                  </a:lnTo>
                  <a:lnTo>
                    <a:pt x="371" y="1189"/>
                  </a:lnTo>
                  <a:lnTo>
                    <a:pt x="381" y="1144"/>
                  </a:lnTo>
                  <a:lnTo>
                    <a:pt x="392" y="1102"/>
                  </a:lnTo>
                  <a:lnTo>
                    <a:pt x="405" y="1059"/>
                  </a:lnTo>
                  <a:lnTo>
                    <a:pt x="420" y="1017"/>
                  </a:lnTo>
                  <a:lnTo>
                    <a:pt x="437" y="975"/>
                  </a:lnTo>
                  <a:lnTo>
                    <a:pt x="456" y="934"/>
                  </a:lnTo>
                  <a:lnTo>
                    <a:pt x="477" y="895"/>
                  </a:lnTo>
                  <a:lnTo>
                    <a:pt x="498" y="856"/>
                  </a:lnTo>
                  <a:lnTo>
                    <a:pt x="522" y="819"/>
                  </a:lnTo>
                  <a:lnTo>
                    <a:pt x="548" y="781"/>
                  </a:lnTo>
                  <a:lnTo>
                    <a:pt x="575" y="745"/>
                  </a:lnTo>
                  <a:lnTo>
                    <a:pt x="605" y="711"/>
                  </a:lnTo>
                  <a:lnTo>
                    <a:pt x="605" y="711"/>
                  </a:lnTo>
                  <a:lnTo>
                    <a:pt x="642" y="669"/>
                  </a:lnTo>
                  <a:lnTo>
                    <a:pt x="683" y="630"/>
                  </a:lnTo>
                  <a:lnTo>
                    <a:pt x="725" y="592"/>
                  </a:lnTo>
                  <a:lnTo>
                    <a:pt x="768" y="558"/>
                  </a:lnTo>
                  <a:lnTo>
                    <a:pt x="813" y="526"/>
                  </a:lnTo>
                  <a:lnTo>
                    <a:pt x="860" y="496"/>
                  </a:lnTo>
                  <a:lnTo>
                    <a:pt x="909" y="469"/>
                  </a:lnTo>
                  <a:lnTo>
                    <a:pt x="959" y="445"/>
                  </a:lnTo>
                  <a:lnTo>
                    <a:pt x="1010" y="423"/>
                  </a:lnTo>
                  <a:lnTo>
                    <a:pt x="1061" y="405"/>
                  </a:lnTo>
                  <a:lnTo>
                    <a:pt x="1115" y="388"/>
                  </a:lnTo>
                  <a:lnTo>
                    <a:pt x="1169" y="375"/>
                  </a:lnTo>
                  <a:lnTo>
                    <a:pt x="1223" y="364"/>
                  </a:lnTo>
                  <a:lnTo>
                    <a:pt x="1278" y="357"/>
                  </a:lnTo>
                  <a:lnTo>
                    <a:pt x="1334" y="352"/>
                  </a:lnTo>
                  <a:lnTo>
                    <a:pt x="1391" y="351"/>
                  </a:lnTo>
                  <a:lnTo>
                    <a:pt x="1391" y="351"/>
                  </a:lnTo>
                  <a:lnTo>
                    <a:pt x="1447" y="352"/>
                  </a:lnTo>
                  <a:lnTo>
                    <a:pt x="1504" y="357"/>
                  </a:lnTo>
                  <a:lnTo>
                    <a:pt x="1559" y="364"/>
                  </a:lnTo>
                  <a:lnTo>
                    <a:pt x="1613" y="375"/>
                  </a:lnTo>
                  <a:lnTo>
                    <a:pt x="1667" y="388"/>
                  </a:lnTo>
                  <a:lnTo>
                    <a:pt x="1720" y="405"/>
                  </a:lnTo>
                  <a:lnTo>
                    <a:pt x="1772" y="423"/>
                  </a:lnTo>
                  <a:lnTo>
                    <a:pt x="1823" y="445"/>
                  </a:lnTo>
                  <a:lnTo>
                    <a:pt x="1873" y="469"/>
                  </a:lnTo>
                  <a:lnTo>
                    <a:pt x="1921" y="496"/>
                  </a:lnTo>
                  <a:lnTo>
                    <a:pt x="1967" y="526"/>
                  </a:lnTo>
                  <a:lnTo>
                    <a:pt x="2014" y="558"/>
                  </a:lnTo>
                  <a:lnTo>
                    <a:pt x="2057" y="592"/>
                  </a:lnTo>
                  <a:lnTo>
                    <a:pt x="2099" y="630"/>
                  </a:lnTo>
                  <a:lnTo>
                    <a:pt x="2138" y="669"/>
                  </a:lnTo>
                  <a:lnTo>
                    <a:pt x="2177" y="711"/>
                  </a:lnTo>
                  <a:lnTo>
                    <a:pt x="2177" y="711"/>
                  </a:lnTo>
                  <a:lnTo>
                    <a:pt x="2206" y="745"/>
                  </a:lnTo>
                  <a:lnTo>
                    <a:pt x="2233" y="781"/>
                  </a:lnTo>
                  <a:lnTo>
                    <a:pt x="2258" y="819"/>
                  </a:lnTo>
                  <a:lnTo>
                    <a:pt x="2282" y="856"/>
                  </a:lnTo>
                  <a:lnTo>
                    <a:pt x="2305" y="895"/>
                  </a:lnTo>
                  <a:lnTo>
                    <a:pt x="2326" y="934"/>
                  </a:lnTo>
                  <a:lnTo>
                    <a:pt x="2344" y="975"/>
                  </a:lnTo>
                  <a:lnTo>
                    <a:pt x="2360" y="1017"/>
                  </a:lnTo>
                  <a:lnTo>
                    <a:pt x="2375" y="1059"/>
                  </a:lnTo>
                  <a:lnTo>
                    <a:pt x="2389" y="1102"/>
                  </a:lnTo>
                  <a:lnTo>
                    <a:pt x="2401" y="1144"/>
                  </a:lnTo>
                  <a:lnTo>
                    <a:pt x="2410" y="1189"/>
                  </a:lnTo>
                  <a:lnTo>
                    <a:pt x="2417" y="1233"/>
                  </a:lnTo>
                  <a:lnTo>
                    <a:pt x="2423" y="1278"/>
                  </a:lnTo>
                  <a:lnTo>
                    <a:pt x="2428" y="1323"/>
                  </a:lnTo>
                  <a:lnTo>
                    <a:pt x="2429" y="1368"/>
                  </a:lnTo>
                  <a:lnTo>
                    <a:pt x="2782" y="1368"/>
                  </a:lnTo>
                  <a:lnTo>
                    <a:pt x="2782" y="1368"/>
                  </a:lnTo>
                  <a:lnTo>
                    <a:pt x="2779" y="1297"/>
                  </a:lnTo>
                  <a:lnTo>
                    <a:pt x="2773" y="1227"/>
                  </a:lnTo>
                  <a:lnTo>
                    <a:pt x="2762" y="1159"/>
                  </a:lnTo>
                  <a:lnTo>
                    <a:pt x="2749" y="1092"/>
                  </a:lnTo>
                  <a:lnTo>
                    <a:pt x="2732" y="1026"/>
                  </a:lnTo>
                  <a:lnTo>
                    <a:pt x="2714" y="960"/>
                  </a:lnTo>
                  <a:lnTo>
                    <a:pt x="2692" y="897"/>
                  </a:lnTo>
                  <a:lnTo>
                    <a:pt x="2666" y="834"/>
                  </a:lnTo>
                  <a:lnTo>
                    <a:pt x="2638" y="774"/>
                  </a:lnTo>
                  <a:lnTo>
                    <a:pt x="2606" y="715"/>
                  </a:lnTo>
                  <a:lnTo>
                    <a:pt x="2573" y="658"/>
                  </a:lnTo>
                  <a:lnTo>
                    <a:pt x="2536" y="603"/>
                  </a:lnTo>
                  <a:lnTo>
                    <a:pt x="2498" y="549"/>
                  </a:lnTo>
                  <a:lnTo>
                    <a:pt x="2456" y="496"/>
                  </a:lnTo>
                  <a:lnTo>
                    <a:pt x="2413" y="447"/>
                  </a:lnTo>
                  <a:lnTo>
                    <a:pt x="2366" y="400"/>
                  </a:lnTo>
                  <a:lnTo>
                    <a:pt x="2318" y="355"/>
                  </a:lnTo>
                  <a:lnTo>
                    <a:pt x="2269" y="312"/>
                  </a:lnTo>
                  <a:lnTo>
                    <a:pt x="2216" y="271"/>
                  </a:lnTo>
                  <a:lnTo>
                    <a:pt x="2162" y="234"/>
                  </a:lnTo>
                  <a:lnTo>
                    <a:pt x="2105" y="198"/>
                  </a:lnTo>
                  <a:lnTo>
                    <a:pt x="2048" y="165"/>
                  </a:lnTo>
                  <a:lnTo>
                    <a:pt x="1988" y="135"/>
                  </a:lnTo>
                  <a:lnTo>
                    <a:pt x="1927" y="108"/>
                  </a:lnTo>
                  <a:lnTo>
                    <a:pt x="1865" y="82"/>
                  </a:lnTo>
                  <a:lnTo>
                    <a:pt x="1801" y="61"/>
                  </a:lnTo>
                  <a:lnTo>
                    <a:pt x="1735" y="43"/>
                  </a:lnTo>
                  <a:lnTo>
                    <a:pt x="1669" y="28"/>
                  </a:lnTo>
                  <a:lnTo>
                    <a:pt x="1601" y="16"/>
                  </a:lnTo>
                  <a:lnTo>
                    <a:pt x="1532" y="7"/>
                  </a:lnTo>
                  <a:lnTo>
                    <a:pt x="1462" y="1"/>
                  </a:lnTo>
                  <a:lnTo>
                    <a:pt x="1391" y="0"/>
                  </a:lnTo>
                  <a:lnTo>
                    <a:pt x="1391" y="0"/>
                  </a:lnTo>
                  <a:lnTo>
                    <a:pt x="1320" y="1"/>
                  </a:lnTo>
                  <a:lnTo>
                    <a:pt x="1250" y="7"/>
                  </a:lnTo>
                  <a:lnTo>
                    <a:pt x="1181" y="16"/>
                  </a:lnTo>
                  <a:lnTo>
                    <a:pt x="1113" y="28"/>
                  </a:lnTo>
                  <a:lnTo>
                    <a:pt x="1046" y="43"/>
                  </a:lnTo>
                  <a:lnTo>
                    <a:pt x="981" y="61"/>
                  </a:lnTo>
                  <a:lnTo>
                    <a:pt x="917" y="82"/>
                  </a:lnTo>
                  <a:lnTo>
                    <a:pt x="854" y="108"/>
                  </a:lnTo>
                  <a:lnTo>
                    <a:pt x="792" y="135"/>
                  </a:lnTo>
                  <a:lnTo>
                    <a:pt x="734" y="165"/>
                  </a:lnTo>
                  <a:lnTo>
                    <a:pt x="675" y="198"/>
                  </a:lnTo>
                  <a:lnTo>
                    <a:pt x="620" y="234"/>
                  </a:lnTo>
                  <a:lnTo>
                    <a:pt x="566" y="271"/>
                  </a:lnTo>
                  <a:lnTo>
                    <a:pt x="513" y="312"/>
                  </a:lnTo>
                  <a:lnTo>
                    <a:pt x="462" y="355"/>
                  </a:lnTo>
                  <a:lnTo>
                    <a:pt x="414" y="400"/>
                  </a:lnTo>
                  <a:lnTo>
                    <a:pt x="369" y="447"/>
                  </a:lnTo>
                  <a:lnTo>
                    <a:pt x="326" y="496"/>
                  </a:lnTo>
                  <a:lnTo>
                    <a:pt x="284" y="549"/>
                  </a:lnTo>
                  <a:lnTo>
                    <a:pt x="245" y="603"/>
                  </a:lnTo>
                  <a:lnTo>
                    <a:pt x="209" y="658"/>
                  </a:lnTo>
                  <a:lnTo>
                    <a:pt x="174" y="715"/>
                  </a:lnTo>
                  <a:lnTo>
                    <a:pt x="144" y="774"/>
                  </a:lnTo>
                  <a:lnTo>
                    <a:pt x="116" y="834"/>
                  </a:lnTo>
                  <a:lnTo>
                    <a:pt x="90" y="897"/>
                  </a:lnTo>
                  <a:lnTo>
                    <a:pt x="68" y="960"/>
                  </a:lnTo>
                  <a:lnTo>
                    <a:pt x="48" y="1026"/>
                  </a:lnTo>
                  <a:lnTo>
                    <a:pt x="32" y="1092"/>
                  </a:lnTo>
                  <a:lnTo>
                    <a:pt x="18" y="1159"/>
                  </a:lnTo>
                  <a:lnTo>
                    <a:pt x="9" y="1227"/>
                  </a:lnTo>
                  <a:lnTo>
                    <a:pt x="3" y="1297"/>
                  </a:lnTo>
                  <a:lnTo>
                    <a:pt x="0" y="1368"/>
                  </a:lnTo>
                  <a:lnTo>
                    <a:pt x="351" y="1368"/>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2" name="Freeform 13">
              <a:extLst>
                <a:ext uri="{FF2B5EF4-FFF2-40B4-BE49-F238E27FC236}">
                  <a16:creationId xmlns:a16="http://schemas.microsoft.com/office/drawing/2014/main" id="{A2989138-0013-4FFD-ABD6-8066C8F0920D}"/>
                </a:ext>
              </a:extLst>
            </p:cNvPr>
            <p:cNvSpPr>
              <a:spLocks/>
            </p:cNvSpPr>
            <p:nvPr/>
          </p:nvSpPr>
          <p:spPr bwMode="auto">
            <a:xfrm>
              <a:off x="2373313" y="3916363"/>
              <a:ext cx="4416425" cy="2176463"/>
            </a:xfrm>
            <a:custGeom>
              <a:avLst/>
              <a:gdLst/>
              <a:ahLst/>
              <a:cxnLst>
                <a:cxn ang="0">
                  <a:pos x="2428" y="53"/>
                </a:cxn>
                <a:cxn ang="0">
                  <a:pos x="2405" y="206"/>
                </a:cxn>
                <a:cxn ang="0">
                  <a:pos x="2360" y="351"/>
                </a:cxn>
                <a:cxn ang="0">
                  <a:pos x="2297" y="486"/>
                </a:cxn>
                <a:cxn ang="0">
                  <a:pos x="2216" y="609"/>
                </a:cxn>
                <a:cxn ang="0">
                  <a:pos x="2117" y="720"/>
                </a:cxn>
                <a:cxn ang="0">
                  <a:pos x="2005" y="816"/>
                </a:cxn>
                <a:cxn ang="0">
                  <a:pos x="1880" y="896"/>
                </a:cxn>
                <a:cxn ang="0">
                  <a:pos x="1744" y="956"/>
                </a:cxn>
                <a:cxn ang="0">
                  <a:pos x="1597" y="996"/>
                </a:cxn>
                <a:cxn ang="0">
                  <a:pos x="1444" y="1016"/>
                </a:cxn>
                <a:cxn ang="0">
                  <a:pos x="1338" y="1016"/>
                </a:cxn>
                <a:cxn ang="0">
                  <a:pos x="1184" y="996"/>
                </a:cxn>
                <a:cxn ang="0">
                  <a:pos x="1038" y="956"/>
                </a:cxn>
                <a:cxn ang="0">
                  <a:pos x="902" y="896"/>
                </a:cxn>
                <a:cxn ang="0">
                  <a:pos x="776" y="816"/>
                </a:cxn>
                <a:cxn ang="0">
                  <a:pos x="663" y="720"/>
                </a:cxn>
                <a:cxn ang="0">
                  <a:pos x="566" y="609"/>
                </a:cxn>
                <a:cxn ang="0">
                  <a:pos x="483" y="486"/>
                </a:cxn>
                <a:cxn ang="0">
                  <a:pos x="420" y="351"/>
                </a:cxn>
                <a:cxn ang="0">
                  <a:pos x="377" y="206"/>
                </a:cxn>
                <a:cxn ang="0">
                  <a:pos x="354" y="53"/>
                </a:cxn>
                <a:cxn ang="0">
                  <a:pos x="0" y="0"/>
                </a:cxn>
                <a:cxn ang="0">
                  <a:pos x="3" y="72"/>
                </a:cxn>
                <a:cxn ang="0">
                  <a:pos x="32" y="278"/>
                </a:cxn>
                <a:cxn ang="0">
                  <a:pos x="89" y="473"/>
                </a:cxn>
                <a:cxn ang="0">
                  <a:pos x="174" y="654"/>
                </a:cxn>
                <a:cxn ang="0">
                  <a:pos x="282" y="821"/>
                </a:cxn>
                <a:cxn ang="0">
                  <a:pos x="414" y="971"/>
                </a:cxn>
                <a:cxn ang="0">
                  <a:pos x="564" y="1100"/>
                </a:cxn>
                <a:cxn ang="0">
                  <a:pos x="732" y="1206"/>
                </a:cxn>
                <a:cxn ang="0">
                  <a:pos x="917" y="1287"/>
                </a:cxn>
                <a:cxn ang="0">
                  <a:pos x="1113" y="1343"/>
                </a:cxn>
                <a:cxn ang="0">
                  <a:pos x="1319" y="1368"/>
                </a:cxn>
                <a:cxn ang="0">
                  <a:pos x="1462" y="1368"/>
                </a:cxn>
                <a:cxn ang="0">
                  <a:pos x="1669" y="1343"/>
                </a:cxn>
                <a:cxn ang="0">
                  <a:pos x="1865" y="1287"/>
                </a:cxn>
                <a:cxn ang="0">
                  <a:pos x="2048" y="1206"/>
                </a:cxn>
                <a:cxn ang="0">
                  <a:pos x="2216" y="1100"/>
                </a:cxn>
                <a:cxn ang="0">
                  <a:pos x="2368" y="971"/>
                </a:cxn>
                <a:cxn ang="0">
                  <a:pos x="2498" y="821"/>
                </a:cxn>
                <a:cxn ang="0">
                  <a:pos x="2608" y="654"/>
                </a:cxn>
                <a:cxn ang="0">
                  <a:pos x="2692" y="473"/>
                </a:cxn>
                <a:cxn ang="0">
                  <a:pos x="2750" y="278"/>
                </a:cxn>
                <a:cxn ang="0">
                  <a:pos x="2779" y="72"/>
                </a:cxn>
              </a:cxnLst>
              <a:rect l="0" t="0" r="r" b="b"/>
              <a:pathLst>
                <a:path w="2782" h="1371">
                  <a:moveTo>
                    <a:pt x="2429" y="0"/>
                  </a:moveTo>
                  <a:lnTo>
                    <a:pt x="2429" y="0"/>
                  </a:lnTo>
                  <a:lnTo>
                    <a:pt x="2428" y="53"/>
                  </a:lnTo>
                  <a:lnTo>
                    <a:pt x="2422" y="105"/>
                  </a:lnTo>
                  <a:lnTo>
                    <a:pt x="2414" y="156"/>
                  </a:lnTo>
                  <a:lnTo>
                    <a:pt x="2405" y="206"/>
                  </a:lnTo>
                  <a:lnTo>
                    <a:pt x="2392" y="255"/>
                  </a:lnTo>
                  <a:lnTo>
                    <a:pt x="2378" y="303"/>
                  </a:lnTo>
                  <a:lnTo>
                    <a:pt x="2360" y="351"/>
                  </a:lnTo>
                  <a:lnTo>
                    <a:pt x="2342" y="398"/>
                  </a:lnTo>
                  <a:lnTo>
                    <a:pt x="2321" y="443"/>
                  </a:lnTo>
                  <a:lnTo>
                    <a:pt x="2297" y="486"/>
                  </a:lnTo>
                  <a:lnTo>
                    <a:pt x="2272" y="528"/>
                  </a:lnTo>
                  <a:lnTo>
                    <a:pt x="2245" y="570"/>
                  </a:lnTo>
                  <a:lnTo>
                    <a:pt x="2216" y="609"/>
                  </a:lnTo>
                  <a:lnTo>
                    <a:pt x="2185" y="648"/>
                  </a:lnTo>
                  <a:lnTo>
                    <a:pt x="2152" y="684"/>
                  </a:lnTo>
                  <a:lnTo>
                    <a:pt x="2117" y="720"/>
                  </a:lnTo>
                  <a:lnTo>
                    <a:pt x="2081" y="753"/>
                  </a:lnTo>
                  <a:lnTo>
                    <a:pt x="2044" y="786"/>
                  </a:lnTo>
                  <a:lnTo>
                    <a:pt x="2005" y="816"/>
                  </a:lnTo>
                  <a:lnTo>
                    <a:pt x="1964" y="845"/>
                  </a:lnTo>
                  <a:lnTo>
                    <a:pt x="1924" y="870"/>
                  </a:lnTo>
                  <a:lnTo>
                    <a:pt x="1880" y="896"/>
                  </a:lnTo>
                  <a:lnTo>
                    <a:pt x="1835" y="918"/>
                  </a:lnTo>
                  <a:lnTo>
                    <a:pt x="1790" y="938"/>
                  </a:lnTo>
                  <a:lnTo>
                    <a:pt x="1744" y="956"/>
                  </a:lnTo>
                  <a:lnTo>
                    <a:pt x="1696" y="972"/>
                  </a:lnTo>
                  <a:lnTo>
                    <a:pt x="1648" y="986"/>
                  </a:lnTo>
                  <a:lnTo>
                    <a:pt x="1597" y="996"/>
                  </a:lnTo>
                  <a:lnTo>
                    <a:pt x="1547" y="1005"/>
                  </a:lnTo>
                  <a:lnTo>
                    <a:pt x="1496" y="1013"/>
                  </a:lnTo>
                  <a:lnTo>
                    <a:pt x="1444" y="1016"/>
                  </a:lnTo>
                  <a:lnTo>
                    <a:pt x="1391" y="1017"/>
                  </a:lnTo>
                  <a:lnTo>
                    <a:pt x="1391" y="1017"/>
                  </a:lnTo>
                  <a:lnTo>
                    <a:pt x="1338" y="1016"/>
                  </a:lnTo>
                  <a:lnTo>
                    <a:pt x="1286" y="1013"/>
                  </a:lnTo>
                  <a:lnTo>
                    <a:pt x="1235" y="1005"/>
                  </a:lnTo>
                  <a:lnTo>
                    <a:pt x="1184" y="996"/>
                  </a:lnTo>
                  <a:lnTo>
                    <a:pt x="1134" y="986"/>
                  </a:lnTo>
                  <a:lnTo>
                    <a:pt x="1086" y="972"/>
                  </a:lnTo>
                  <a:lnTo>
                    <a:pt x="1038" y="956"/>
                  </a:lnTo>
                  <a:lnTo>
                    <a:pt x="992" y="938"/>
                  </a:lnTo>
                  <a:lnTo>
                    <a:pt x="945" y="918"/>
                  </a:lnTo>
                  <a:lnTo>
                    <a:pt x="902" y="896"/>
                  </a:lnTo>
                  <a:lnTo>
                    <a:pt x="858" y="870"/>
                  </a:lnTo>
                  <a:lnTo>
                    <a:pt x="816" y="845"/>
                  </a:lnTo>
                  <a:lnTo>
                    <a:pt x="776" y="816"/>
                  </a:lnTo>
                  <a:lnTo>
                    <a:pt x="737" y="786"/>
                  </a:lnTo>
                  <a:lnTo>
                    <a:pt x="699" y="753"/>
                  </a:lnTo>
                  <a:lnTo>
                    <a:pt x="663" y="720"/>
                  </a:lnTo>
                  <a:lnTo>
                    <a:pt x="629" y="684"/>
                  </a:lnTo>
                  <a:lnTo>
                    <a:pt x="596" y="648"/>
                  </a:lnTo>
                  <a:lnTo>
                    <a:pt x="566" y="609"/>
                  </a:lnTo>
                  <a:lnTo>
                    <a:pt x="536" y="570"/>
                  </a:lnTo>
                  <a:lnTo>
                    <a:pt x="509" y="528"/>
                  </a:lnTo>
                  <a:lnTo>
                    <a:pt x="483" y="486"/>
                  </a:lnTo>
                  <a:lnTo>
                    <a:pt x="461" y="443"/>
                  </a:lnTo>
                  <a:lnTo>
                    <a:pt x="440" y="398"/>
                  </a:lnTo>
                  <a:lnTo>
                    <a:pt x="420" y="351"/>
                  </a:lnTo>
                  <a:lnTo>
                    <a:pt x="404" y="303"/>
                  </a:lnTo>
                  <a:lnTo>
                    <a:pt x="389" y="255"/>
                  </a:lnTo>
                  <a:lnTo>
                    <a:pt x="377" y="206"/>
                  </a:lnTo>
                  <a:lnTo>
                    <a:pt x="366" y="156"/>
                  </a:lnTo>
                  <a:lnTo>
                    <a:pt x="359" y="105"/>
                  </a:lnTo>
                  <a:lnTo>
                    <a:pt x="354" y="53"/>
                  </a:lnTo>
                  <a:lnTo>
                    <a:pt x="351" y="0"/>
                  </a:lnTo>
                  <a:lnTo>
                    <a:pt x="348" y="0"/>
                  </a:lnTo>
                  <a:lnTo>
                    <a:pt x="0" y="0"/>
                  </a:lnTo>
                  <a:lnTo>
                    <a:pt x="0" y="0"/>
                  </a:lnTo>
                  <a:lnTo>
                    <a:pt x="0" y="0"/>
                  </a:lnTo>
                  <a:lnTo>
                    <a:pt x="3" y="72"/>
                  </a:lnTo>
                  <a:lnTo>
                    <a:pt x="9" y="141"/>
                  </a:lnTo>
                  <a:lnTo>
                    <a:pt x="18" y="210"/>
                  </a:lnTo>
                  <a:lnTo>
                    <a:pt x="32" y="278"/>
                  </a:lnTo>
                  <a:lnTo>
                    <a:pt x="48" y="344"/>
                  </a:lnTo>
                  <a:lnTo>
                    <a:pt x="68" y="408"/>
                  </a:lnTo>
                  <a:lnTo>
                    <a:pt x="89" y="473"/>
                  </a:lnTo>
                  <a:lnTo>
                    <a:pt x="114" y="534"/>
                  </a:lnTo>
                  <a:lnTo>
                    <a:pt x="143" y="596"/>
                  </a:lnTo>
                  <a:lnTo>
                    <a:pt x="174" y="654"/>
                  </a:lnTo>
                  <a:lnTo>
                    <a:pt x="207" y="713"/>
                  </a:lnTo>
                  <a:lnTo>
                    <a:pt x="245" y="768"/>
                  </a:lnTo>
                  <a:lnTo>
                    <a:pt x="282" y="821"/>
                  </a:lnTo>
                  <a:lnTo>
                    <a:pt x="324" y="873"/>
                  </a:lnTo>
                  <a:lnTo>
                    <a:pt x="368" y="923"/>
                  </a:lnTo>
                  <a:lnTo>
                    <a:pt x="414" y="971"/>
                  </a:lnTo>
                  <a:lnTo>
                    <a:pt x="462" y="1016"/>
                  </a:lnTo>
                  <a:lnTo>
                    <a:pt x="512" y="1059"/>
                  </a:lnTo>
                  <a:lnTo>
                    <a:pt x="564" y="1100"/>
                  </a:lnTo>
                  <a:lnTo>
                    <a:pt x="618" y="1137"/>
                  </a:lnTo>
                  <a:lnTo>
                    <a:pt x="675" y="1173"/>
                  </a:lnTo>
                  <a:lnTo>
                    <a:pt x="732" y="1206"/>
                  </a:lnTo>
                  <a:lnTo>
                    <a:pt x="792" y="1236"/>
                  </a:lnTo>
                  <a:lnTo>
                    <a:pt x="854" y="1263"/>
                  </a:lnTo>
                  <a:lnTo>
                    <a:pt x="917" y="1287"/>
                  </a:lnTo>
                  <a:lnTo>
                    <a:pt x="980" y="1310"/>
                  </a:lnTo>
                  <a:lnTo>
                    <a:pt x="1046" y="1328"/>
                  </a:lnTo>
                  <a:lnTo>
                    <a:pt x="1113" y="1343"/>
                  </a:lnTo>
                  <a:lnTo>
                    <a:pt x="1181" y="1355"/>
                  </a:lnTo>
                  <a:lnTo>
                    <a:pt x="1250" y="1364"/>
                  </a:lnTo>
                  <a:lnTo>
                    <a:pt x="1319" y="1368"/>
                  </a:lnTo>
                  <a:lnTo>
                    <a:pt x="1391" y="1371"/>
                  </a:lnTo>
                  <a:lnTo>
                    <a:pt x="1391" y="1371"/>
                  </a:lnTo>
                  <a:lnTo>
                    <a:pt x="1462" y="1368"/>
                  </a:lnTo>
                  <a:lnTo>
                    <a:pt x="1532" y="1364"/>
                  </a:lnTo>
                  <a:lnTo>
                    <a:pt x="1601" y="1355"/>
                  </a:lnTo>
                  <a:lnTo>
                    <a:pt x="1669" y="1343"/>
                  </a:lnTo>
                  <a:lnTo>
                    <a:pt x="1735" y="1328"/>
                  </a:lnTo>
                  <a:lnTo>
                    <a:pt x="1801" y="1310"/>
                  </a:lnTo>
                  <a:lnTo>
                    <a:pt x="1865" y="1287"/>
                  </a:lnTo>
                  <a:lnTo>
                    <a:pt x="1928" y="1263"/>
                  </a:lnTo>
                  <a:lnTo>
                    <a:pt x="1988" y="1236"/>
                  </a:lnTo>
                  <a:lnTo>
                    <a:pt x="2048" y="1206"/>
                  </a:lnTo>
                  <a:lnTo>
                    <a:pt x="2107" y="1173"/>
                  </a:lnTo>
                  <a:lnTo>
                    <a:pt x="2162" y="1137"/>
                  </a:lnTo>
                  <a:lnTo>
                    <a:pt x="2216" y="1100"/>
                  </a:lnTo>
                  <a:lnTo>
                    <a:pt x="2269" y="1059"/>
                  </a:lnTo>
                  <a:lnTo>
                    <a:pt x="2320" y="1016"/>
                  </a:lnTo>
                  <a:lnTo>
                    <a:pt x="2368" y="971"/>
                  </a:lnTo>
                  <a:lnTo>
                    <a:pt x="2413" y="923"/>
                  </a:lnTo>
                  <a:lnTo>
                    <a:pt x="2458" y="873"/>
                  </a:lnTo>
                  <a:lnTo>
                    <a:pt x="2498" y="821"/>
                  </a:lnTo>
                  <a:lnTo>
                    <a:pt x="2537" y="768"/>
                  </a:lnTo>
                  <a:lnTo>
                    <a:pt x="2573" y="713"/>
                  </a:lnTo>
                  <a:lnTo>
                    <a:pt x="2608" y="654"/>
                  </a:lnTo>
                  <a:lnTo>
                    <a:pt x="2638" y="596"/>
                  </a:lnTo>
                  <a:lnTo>
                    <a:pt x="2666" y="534"/>
                  </a:lnTo>
                  <a:lnTo>
                    <a:pt x="2692" y="473"/>
                  </a:lnTo>
                  <a:lnTo>
                    <a:pt x="2714" y="408"/>
                  </a:lnTo>
                  <a:lnTo>
                    <a:pt x="2734" y="344"/>
                  </a:lnTo>
                  <a:lnTo>
                    <a:pt x="2750" y="278"/>
                  </a:lnTo>
                  <a:lnTo>
                    <a:pt x="2762" y="210"/>
                  </a:lnTo>
                  <a:lnTo>
                    <a:pt x="2773" y="141"/>
                  </a:lnTo>
                  <a:lnTo>
                    <a:pt x="2779" y="72"/>
                  </a:lnTo>
                  <a:lnTo>
                    <a:pt x="2782" y="0"/>
                  </a:lnTo>
                  <a:lnTo>
                    <a:pt x="2429" y="0"/>
                  </a:lnTo>
                  <a:close/>
                </a:path>
              </a:pathLst>
            </a:custGeom>
            <a:pattFill prst="wdUpDiag">
              <a:fgClr>
                <a:schemeClr val="tx2">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3" name="Freeform 8">
              <a:extLst>
                <a:ext uri="{FF2B5EF4-FFF2-40B4-BE49-F238E27FC236}">
                  <a16:creationId xmlns:a16="http://schemas.microsoft.com/office/drawing/2014/main" id="{273C4F51-D296-44A9-840F-6A67749C57EB}"/>
                </a:ext>
              </a:extLst>
            </p:cNvPr>
            <p:cNvSpPr>
              <a:spLocks/>
            </p:cNvSpPr>
            <p:nvPr/>
          </p:nvSpPr>
          <p:spPr bwMode="auto">
            <a:xfrm>
              <a:off x="2997201" y="2300288"/>
              <a:ext cx="3165475" cy="1582738"/>
            </a:xfrm>
            <a:custGeom>
              <a:avLst/>
              <a:gdLst/>
              <a:ahLst/>
              <a:cxnLst>
                <a:cxn ang="0">
                  <a:pos x="351" y="975"/>
                </a:cxn>
                <a:cxn ang="0">
                  <a:pos x="362" y="879"/>
                </a:cxn>
                <a:cxn ang="0">
                  <a:pos x="386" y="789"/>
                </a:cxn>
                <a:cxn ang="0">
                  <a:pos x="422" y="703"/>
                </a:cxn>
                <a:cxn ang="0">
                  <a:pos x="470" y="625"/>
                </a:cxn>
                <a:cxn ang="0">
                  <a:pos x="527" y="555"/>
                </a:cxn>
                <a:cxn ang="0">
                  <a:pos x="594" y="493"/>
                </a:cxn>
                <a:cxn ang="0">
                  <a:pos x="669" y="441"/>
                </a:cxn>
                <a:cxn ang="0">
                  <a:pos x="752" y="400"/>
                </a:cxn>
                <a:cxn ang="0">
                  <a:pos x="839" y="372"/>
                </a:cxn>
                <a:cxn ang="0">
                  <a:pos x="933" y="355"/>
                </a:cxn>
                <a:cxn ang="0">
                  <a:pos x="998" y="352"/>
                </a:cxn>
                <a:cxn ang="0">
                  <a:pos x="1096" y="360"/>
                </a:cxn>
                <a:cxn ang="0">
                  <a:pos x="1190" y="381"/>
                </a:cxn>
                <a:cxn ang="0">
                  <a:pos x="1277" y="415"/>
                </a:cxn>
                <a:cxn ang="0">
                  <a:pos x="1360" y="462"/>
                </a:cxn>
                <a:cxn ang="0">
                  <a:pos x="1432" y="520"/>
                </a:cxn>
                <a:cxn ang="0">
                  <a:pos x="1496" y="586"/>
                </a:cxn>
                <a:cxn ang="0">
                  <a:pos x="1550" y="663"/>
                </a:cxn>
                <a:cxn ang="0">
                  <a:pos x="1594" y="747"/>
                </a:cxn>
                <a:cxn ang="0">
                  <a:pos x="1624" y="837"/>
                </a:cxn>
                <a:cxn ang="0">
                  <a:pos x="1640" y="931"/>
                </a:cxn>
                <a:cxn ang="0">
                  <a:pos x="1643" y="976"/>
                </a:cxn>
                <a:cxn ang="0">
                  <a:pos x="1994" y="975"/>
                </a:cxn>
                <a:cxn ang="0">
                  <a:pos x="1984" y="846"/>
                </a:cxn>
                <a:cxn ang="0">
                  <a:pos x="1955" y="720"/>
                </a:cxn>
                <a:cxn ang="0">
                  <a:pos x="1912" y="598"/>
                </a:cxn>
                <a:cxn ang="0">
                  <a:pos x="1853" y="484"/>
                </a:cxn>
                <a:cxn ang="0">
                  <a:pos x="1780" y="378"/>
                </a:cxn>
                <a:cxn ang="0">
                  <a:pos x="1715" y="304"/>
                </a:cxn>
                <a:cxn ang="0">
                  <a:pos x="1595" y="198"/>
                </a:cxn>
                <a:cxn ang="0">
                  <a:pos x="1460" y="114"/>
                </a:cxn>
                <a:cxn ang="0">
                  <a:pos x="1313" y="51"/>
                </a:cxn>
                <a:cxn ang="0">
                  <a:pos x="1159" y="13"/>
                </a:cxn>
                <a:cxn ang="0">
                  <a:pos x="998" y="0"/>
                </a:cxn>
                <a:cxn ang="0">
                  <a:pos x="890" y="6"/>
                </a:cxn>
                <a:cxn ang="0">
                  <a:pos x="732" y="36"/>
                </a:cxn>
                <a:cxn ang="0">
                  <a:pos x="582" y="90"/>
                </a:cxn>
                <a:cxn ang="0">
                  <a:pos x="444" y="168"/>
                </a:cxn>
                <a:cxn ang="0">
                  <a:pos x="318" y="267"/>
                </a:cxn>
                <a:cxn ang="0">
                  <a:pos x="243" y="345"/>
                </a:cxn>
                <a:cxn ang="0">
                  <a:pos x="165" y="448"/>
                </a:cxn>
                <a:cxn ang="0">
                  <a:pos x="101" y="559"/>
                </a:cxn>
                <a:cxn ang="0">
                  <a:pos x="53" y="679"/>
                </a:cxn>
                <a:cxn ang="0">
                  <a:pos x="20" y="804"/>
                </a:cxn>
                <a:cxn ang="0">
                  <a:pos x="3" y="931"/>
                </a:cxn>
              </a:cxnLst>
              <a:rect l="0" t="0" r="r" b="b"/>
              <a:pathLst>
                <a:path w="1994" h="997">
                  <a:moveTo>
                    <a:pt x="0" y="975"/>
                  </a:moveTo>
                  <a:lnTo>
                    <a:pt x="351" y="975"/>
                  </a:lnTo>
                  <a:lnTo>
                    <a:pt x="351" y="975"/>
                  </a:lnTo>
                  <a:lnTo>
                    <a:pt x="354" y="942"/>
                  </a:lnTo>
                  <a:lnTo>
                    <a:pt x="357" y="910"/>
                  </a:lnTo>
                  <a:lnTo>
                    <a:pt x="362" y="879"/>
                  </a:lnTo>
                  <a:lnTo>
                    <a:pt x="369" y="849"/>
                  </a:lnTo>
                  <a:lnTo>
                    <a:pt x="377" y="819"/>
                  </a:lnTo>
                  <a:lnTo>
                    <a:pt x="386" y="789"/>
                  </a:lnTo>
                  <a:lnTo>
                    <a:pt x="396" y="760"/>
                  </a:lnTo>
                  <a:lnTo>
                    <a:pt x="408" y="732"/>
                  </a:lnTo>
                  <a:lnTo>
                    <a:pt x="422" y="703"/>
                  </a:lnTo>
                  <a:lnTo>
                    <a:pt x="437" y="676"/>
                  </a:lnTo>
                  <a:lnTo>
                    <a:pt x="452" y="651"/>
                  </a:lnTo>
                  <a:lnTo>
                    <a:pt x="470" y="625"/>
                  </a:lnTo>
                  <a:lnTo>
                    <a:pt x="488" y="601"/>
                  </a:lnTo>
                  <a:lnTo>
                    <a:pt x="507" y="577"/>
                  </a:lnTo>
                  <a:lnTo>
                    <a:pt x="527" y="555"/>
                  </a:lnTo>
                  <a:lnTo>
                    <a:pt x="548" y="534"/>
                  </a:lnTo>
                  <a:lnTo>
                    <a:pt x="570" y="513"/>
                  </a:lnTo>
                  <a:lnTo>
                    <a:pt x="594" y="493"/>
                  </a:lnTo>
                  <a:lnTo>
                    <a:pt x="618" y="475"/>
                  </a:lnTo>
                  <a:lnTo>
                    <a:pt x="642" y="457"/>
                  </a:lnTo>
                  <a:lnTo>
                    <a:pt x="669" y="441"/>
                  </a:lnTo>
                  <a:lnTo>
                    <a:pt x="695" y="427"/>
                  </a:lnTo>
                  <a:lnTo>
                    <a:pt x="723" y="412"/>
                  </a:lnTo>
                  <a:lnTo>
                    <a:pt x="752" y="400"/>
                  </a:lnTo>
                  <a:lnTo>
                    <a:pt x="780" y="390"/>
                  </a:lnTo>
                  <a:lnTo>
                    <a:pt x="809" y="379"/>
                  </a:lnTo>
                  <a:lnTo>
                    <a:pt x="839" y="372"/>
                  </a:lnTo>
                  <a:lnTo>
                    <a:pt x="870" y="364"/>
                  </a:lnTo>
                  <a:lnTo>
                    <a:pt x="902" y="358"/>
                  </a:lnTo>
                  <a:lnTo>
                    <a:pt x="933" y="355"/>
                  </a:lnTo>
                  <a:lnTo>
                    <a:pt x="965" y="352"/>
                  </a:lnTo>
                  <a:lnTo>
                    <a:pt x="998" y="352"/>
                  </a:lnTo>
                  <a:lnTo>
                    <a:pt x="998" y="352"/>
                  </a:lnTo>
                  <a:lnTo>
                    <a:pt x="1031" y="352"/>
                  </a:lnTo>
                  <a:lnTo>
                    <a:pt x="1064" y="355"/>
                  </a:lnTo>
                  <a:lnTo>
                    <a:pt x="1096" y="360"/>
                  </a:lnTo>
                  <a:lnTo>
                    <a:pt x="1129" y="364"/>
                  </a:lnTo>
                  <a:lnTo>
                    <a:pt x="1159" y="372"/>
                  </a:lnTo>
                  <a:lnTo>
                    <a:pt x="1190" y="381"/>
                  </a:lnTo>
                  <a:lnTo>
                    <a:pt x="1220" y="391"/>
                  </a:lnTo>
                  <a:lnTo>
                    <a:pt x="1249" y="403"/>
                  </a:lnTo>
                  <a:lnTo>
                    <a:pt x="1277" y="415"/>
                  </a:lnTo>
                  <a:lnTo>
                    <a:pt x="1306" y="430"/>
                  </a:lnTo>
                  <a:lnTo>
                    <a:pt x="1333" y="445"/>
                  </a:lnTo>
                  <a:lnTo>
                    <a:pt x="1360" y="462"/>
                  </a:lnTo>
                  <a:lnTo>
                    <a:pt x="1384" y="480"/>
                  </a:lnTo>
                  <a:lnTo>
                    <a:pt x="1409" y="499"/>
                  </a:lnTo>
                  <a:lnTo>
                    <a:pt x="1432" y="520"/>
                  </a:lnTo>
                  <a:lnTo>
                    <a:pt x="1454" y="541"/>
                  </a:lnTo>
                  <a:lnTo>
                    <a:pt x="1477" y="564"/>
                  </a:lnTo>
                  <a:lnTo>
                    <a:pt x="1496" y="586"/>
                  </a:lnTo>
                  <a:lnTo>
                    <a:pt x="1516" y="612"/>
                  </a:lnTo>
                  <a:lnTo>
                    <a:pt x="1534" y="637"/>
                  </a:lnTo>
                  <a:lnTo>
                    <a:pt x="1550" y="663"/>
                  </a:lnTo>
                  <a:lnTo>
                    <a:pt x="1565" y="690"/>
                  </a:lnTo>
                  <a:lnTo>
                    <a:pt x="1580" y="718"/>
                  </a:lnTo>
                  <a:lnTo>
                    <a:pt x="1594" y="747"/>
                  </a:lnTo>
                  <a:lnTo>
                    <a:pt x="1604" y="775"/>
                  </a:lnTo>
                  <a:lnTo>
                    <a:pt x="1615" y="805"/>
                  </a:lnTo>
                  <a:lnTo>
                    <a:pt x="1624" y="837"/>
                  </a:lnTo>
                  <a:lnTo>
                    <a:pt x="1631" y="868"/>
                  </a:lnTo>
                  <a:lnTo>
                    <a:pt x="1636" y="900"/>
                  </a:lnTo>
                  <a:lnTo>
                    <a:pt x="1640" y="931"/>
                  </a:lnTo>
                  <a:lnTo>
                    <a:pt x="1643" y="964"/>
                  </a:lnTo>
                  <a:lnTo>
                    <a:pt x="1643" y="997"/>
                  </a:lnTo>
                  <a:lnTo>
                    <a:pt x="1643" y="976"/>
                  </a:lnTo>
                  <a:lnTo>
                    <a:pt x="1643" y="975"/>
                  </a:lnTo>
                  <a:lnTo>
                    <a:pt x="1994" y="975"/>
                  </a:lnTo>
                  <a:lnTo>
                    <a:pt x="1994" y="975"/>
                  </a:lnTo>
                  <a:lnTo>
                    <a:pt x="1993" y="931"/>
                  </a:lnTo>
                  <a:lnTo>
                    <a:pt x="1988" y="888"/>
                  </a:lnTo>
                  <a:lnTo>
                    <a:pt x="1984" y="846"/>
                  </a:lnTo>
                  <a:lnTo>
                    <a:pt x="1976" y="804"/>
                  </a:lnTo>
                  <a:lnTo>
                    <a:pt x="1967" y="762"/>
                  </a:lnTo>
                  <a:lnTo>
                    <a:pt x="1955" y="720"/>
                  </a:lnTo>
                  <a:lnTo>
                    <a:pt x="1943" y="679"/>
                  </a:lnTo>
                  <a:lnTo>
                    <a:pt x="1928" y="639"/>
                  </a:lnTo>
                  <a:lnTo>
                    <a:pt x="1912" y="598"/>
                  </a:lnTo>
                  <a:lnTo>
                    <a:pt x="1894" y="559"/>
                  </a:lnTo>
                  <a:lnTo>
                    <a:pt x="1874" y="522"/>
                  </a:lnTo>
                  <a:lnTo>
                    <a:pt x="1853" y="484"/>
                  </a:lnTo>
                  <a:lnTo>
                    <a:pt x="1831" y="448"/>
                  </a:lnTo>
                  <a:lnTo>
                    <a:pt x="1805" y="412"/>
                  </a:lnTo>
                  <a:lnTo>
                    <a:pt x="1780" y="378"/>
                  </a:lnTo>
                  <a:lnTo>
                    <a:pt x="1753" y="345"/>
                  </a:lnTo>
                  <a:lnTo>
                    <a:pt x="1753" y="345"/>
                  </a:lnTo>
                  <a:lnTo>
                    <a:pt x="1715" y="304"/>
                  </a:lnTo>
                  <a:lnTo>
                    <a:pt x="1678" y="267"/>
                  </a:lnTo>
                  <a:lnTo>
                    <a:pt x="1637" y="232"/>
                  </a:lnTo>
                  <a:lnTo>
                    <a:pt x="1595" y="198"/>
                  </a:lnTo>
                  <a:lnTo>
                    <a:pt x="1552" y="168"/>
                  </a:lnTo>
                  <a:lnTo>
                    <a:pt x="1507" y="139"/>
                  </a:lnTo>
                  <a:lnTo>
                    <a:pt x="1460" y="114"/>
                  </a:lnTo>
                  <a:lnTo>
                    <a:pt x="1412" y="90"/>
                  </a:lnTo>
                  <a:lnTo>
                    <a:pt x="1364" y="69"/>
                  </a:lnTo>
                  <a:lnTo>
                    <a:pt x="1313" y="51"/>
                  </a:lnTo>
                  <a:lnTo>
                    <a:pt x="1262" y="36"/>
                  </a:lnTo>
                  <a:lnTo>
                    <a:pt x="1211" y="24"/>
                  </a:lnTo>
                  <a:lnTo>
                    <a:pt x="1159" y="13"/>
                  </a:lnTo>
                  <a:lnTo>
                    <a:pt x="1106" y="6"/>
                  </a:lnTo>
                  <a:lnTo>
                    <a:pt x="1052" y="1"/>
                  </a:lnTo>
                  <a:lnTo>
                    <a:pt x="998" y="0"/>
                  </a:lnTo>
                  <a:lnTo>
                    <a:pt x="998" y="0"/>
                  </a:lnTo>
                  <a:lnTo>
                    <a:pt x="944" y="1"/>
                  </a:lnTo>
                  <a:lnTo>
                    <a:pt x="890" y="6"/>
                  </a:lnTo>
                  <a:lnTo>
                    <a:pt x="837" y="13"/>
                  </a:lnTo>
                  <a:lnTo>
                    <a:pt x="785" y="24"/>
                  </a:lnTo>
                  <a:lnTo>
                    <a:pt x="732" y="36"/>
                  </a:lnTo>
                  <a:lnTo>
                    <a:pt x="681" y="51"/>
                  </a:lnTo>
                  <a:lnTo>
                    <a:pt x="632" y="69"/>
                  </a:lnTo>
                  <a:lnTo>
                    <a:pt x="582" y="90"/>
                  </a:lnTo>
                  <a:lnTo>
                    <a:pt x="536" y="114"/>
                  </a:lnTo>
                  <a:lnTo>
                    <a:pt x="489" y="139"/>
                  </a:lnTo>
                  <a:lnTo>
                    <a:pt x="444" y="168"/>
                  </a:lnTo>
                  <a:lnTo>
                    <a:pt x="401" y="198"/>
                  </a:lnTo>
                  <a:lnTo>
                    <a:pt x="359" y="232"/>
                  </a:lnTo>
                  <a:lnTo>
                    <a:pt x="318" y="267"/>
                  </a:lnTo>
                  <a:lnTo>
                    <a:pt x="279" y="304"/>
                  </a:lnTo>
                  <a:lnTo>
                    <a:pt x="243" y="345"/>
                  </a:lnTo>
                  <a:lnTo>
                    <a:pt x="243" y="345"/>
                  </a:lnTo>
                  <a:lnTo>
                    <a:pt x="215" y="378"/>
                  </a:lnTo>
                  <a:lnTo>
                    <a:pt x="189" y="412"/>
                  </a:lnTo>
                  <a:lnTo>
                    <a:pt x="165" y="448"/>
                  </a:lnTo>
                  <a:lnTo>
                    <a:pt x="141" y="484"/>
                  </a:lnTo>
                  <a:lnTo>
                    <a:pt x="120" y="522"/>
                  </a:lnTo>
                  <a:lnTo>
                    <a:pt x="101" y="559"/>
                  </a:lnTo>
                  <a:lnTo>
                    <a:pt x="83" y="598"/>
                  </a:lnTo>
                  <a:lnTo>
                    <a:pt x="66" y="639"/>
                  </a:lnTo>
                  <a:lnTo>
                    <a:pt x="53" y="679"/>
                  </a:lnTo>
                  <a:lnTo>
                    <a:pt x="39" y="720"/>
                  </a:lnTo>
                  <a:lnTo>
                    <a:pt x="29" y="762"/>
                  </a:lnTo>
                  <a:lnTo>
                    <a:pt x="20" y="804"/>
                  </a:lnTo>
                  <a:lnTo>
                    <a:pt x="12" y="846"/>
                  </a:lnTo>
                  <a:lnTo>
                    <a:pt x="6" y="888"/>
                  </a:lnTo>
                  <a:lnTo>
                    <a:pt x="3" y="931"/>
                  </a:lnTo>
                  <a:lnTo>
                    <a:pt x="0" y="97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4" name="Freeform 10">
              <a:extLst>
                <a:ext uri="{FF2B5EF4-FFF2-40B4-BE49-F238E27FC236}">
                  <a16:creationId xmlns:a16="http://schemas.microsoft.com/office/drawing/2014/main" id="{267E4773-B9E9-4001-A152-2B9D481E0FB1}"/>
                </a:ext>
              </a:extLst>
            </p:cNvPr>
            <p:cNvSpPr>
              <a:spLocks/>
            </p:cNvSpPr>
            <p:nvPr/>
          </p:nvSpPr>
          <p:spPr bwMode="auto">
            <a:xfrm>
              <a:off x="2997201" y="3883025"/>
              <a:ext cx="3165475" cy="1581150"/>
            </a:xfrm>
            <a:custGeom>
              <a:avLst/>
              <a:gdLst/>
              <a:ahLst/>
              <a:cxnLst>
                <a:cxn ang="0">
                  <a:pos x="1643" y="35"/>
                </a:cxn>
                <a:cxn ang="0">
                  <a:pos x="1631" y="131"/>
                </a:cxn>
                <a:cxn ang="0">
                  <a:pos x="1604" y="224"/>
                </a:cxn>
                <a:cxn ang="0">
                  <a:pos x="1565" y="309"/>
                </a:cxn>
                <a:cxn ang="0">
                  <a:pos x="1516" y="387"/>
                </a:cxn>
                <a:cxn ang="0">
                  <a:pos x="1454" y="458"/>
                </a:cxn>
                <a:cxn ang="0">
                  <a:pos x="1384" y="519"/>
                </a:cxn>
                <a:cxn ang="0">
                  <a:pos x="1306" y="569"/>
                </a:cxn>
                <a:cxn ang="0">
                  <a:pos x="1220" y="608"/>
                </a:cxn>
                <a:cxn ang="0">
                  <a:pos x="1129" y="633"/>
                </a:cxn>
                <a:cxn ang="0">
                  <a:pos x="1031" y="647"/>
                </a:cxn>
                <a:cxn ang="0">
                  <a:pos x="965" y="647"/>
                </a:cxn>
                <a:cxn ang="0">
                  <a:pos x="870" y="635"/>
                </a:cxn>
                <a:cxn ang="0">
                  <a:pos x="779" y="609"/>
                </a:cxn>
                <a:cxn ang="0">
                  <a:pos x="695" y="572"/>
                </a:cxn>
                <a:cxn ang="0">
                  <a:pos x="617" y="524"/>
                </a:cxn>
                <a:cxn ang="0">
                  <a:pos x="548" y="464"/>
                </a:cxn>
                <a:cxn ang="0">
                  <a:pos x="486" y="396"/>
                </a:cxn>
                <a:cxn ang="0">
                  <a:pos x="435" y="320"/>
                </a:cxn>
                <a:cxn ang="0">
                  <a:pos x="396" y="237"/>
                </a:cxn>
                <a:cxn ang="0">
                  <a:pos x="368" y="149"/>
                </a:cxn>
                <a:cxn ang="0">
                  <a:pos x="354" y="54"/>
                </a:cxn>
                <a:cxn ang="0">
                  <a:pos x="351" y="21"/>
                </a:cxn>
                <a:cxn ang="0">
                  <a:pos x="3" y="72"/>
                </a:cxn>
                <a:cxn ang="0">
                  <a:pos x="24" y="219"/>
                </a:cxn>
                <a:cxn ang="0">
                  <a:pos x="68" y="359"/>
                </a:cxn>
                <a:cxn ang="0">
                  <a:pos x="128" y="488"/>
                </a:cxn>
                <a:cxn ang="0">
                  <a:pos x="206" y="606"/>
                </a:cxn>
                <a:cxn ang="0">
                  <a:pos x="300" y="711"/>
                </a:cxn>
                <a:cxn ang="0">
                  <a:pos x="408" y="803"/>
                </a:cxn>
                <a:cxn ang="0">
                  <a:pos x="528" y="879"/>
                </a:cxn>
                <a:cxn ang="0">
                  <a:pos x="659" y="938"/>
                </a:cxn>
                <a:cxn ang="0">
                  <a:pos x="800" y="977"/>
                </a:cxn>
                <a:cxn ang="0">
                  <a:pos x="947" y="995"/>
                </a:cxn>
                <a:cxn ang="0">
                  <a:pos x="1048" y="995"/>
                </a:cxn>
                <a:cxn ang="0">
                  <a:pos x="1196" y="977"/>
                </a:cxn>
                <a:cxn ang="0">
                  <a:pos x="1336" y="938"/>
                </a:cxn>
                <a:cxn ang="0">
                  <a:pos x="1466" y="879"/>
                </a:cxn>
                <a:cxn ang="0">
                  <a:pos x="1588" y="803"/>
                </a:cxn>
                <a:cxn ang="0">
                  <a:pos x="1696" y="711"/>
                </a:cxn>
                <a:cxn ang="0">
                  <a:pos x="1789" y="606"/>
                </a:cxn>
                <a:cxn ang="0">
                  <a:pos x="1867" y="488"/>
                </a:cxn>
                <a:cxn ang="0">
                  <a:pos x="1928" y="357"/>
                </a:cxn>
                <a:cxn ang="0">
                  <a:pos x="1970" y="219"/>
                </a:cxn>
                <a:cxn ang="0">
                  <a:pos x="1993" y="72"/>
                </a:cxn>
                <a:cxn ang="0">
                  <a:pos x="1643" y="21"/>
                </a:cxn>
              </a:cxnLst>
              <a:rect l="0" t="0" r="r" b="b"/>
              <a:pathLst>
                <a:path w="1994" h="996">
                  <a:moveTo>
                    <a:pt x="1643" y="0"/>
                  </a:moveTo>
                  <a:lnTo>
                    <a:pt x="1643" y="0"/>
                  </a:lnTo>
                  <a:lnTo>
                    <a:pt x="1643" y="35"/>
                  </a:lnTo>
                  <a:lnTo>
                    <a:pt x="1640" y="66"/>
                  </a:lnTo>
                  <a:lnTo>
                    <a:pt x="1636" y="99"/>
                  </a:lnTo>
                  <a:lnTo>
                    <a:pt x="1631" y="131"/>
                  </a:lnTo>
                  <a:lnTo>
                    <a:pt x="1624" y="162"/>
                  </a:lnTo>
                  <a:lnTo>
                    <a:pt x="1615" y="192"/>
                  </a:lnTo>
                  <a:lnTo>
                    <a:pt x="1604" y="224"/>
                  </a:lnTo>
                  <a:lnTo>
                    <a:pt x="1594" y="252"/>
                  </a:lnTo>
                  <a:lnTo>
                    <a:pt x="1580" y="281"/>
                  </a:lnTo>
                  <a:lnTo>
                    <a:pt x="1565" y="309"/>
                  </a:lnTo>
                  <a:lnTo>
                    <a:pt x="1550" y="336"/>
                  </a:lnTo>
                  <a:lnTo>
                    <a:pt x="1534" y="362"/>
                  </a:lnTo>
                  <a:lnTo>
                    <a:pt x="1516" y="387"/>
                  </a:lnTo>
                  <a:lnTo>
                    <a:pt x="1496" y="411"/>
                  </a:lnTo>
                  <a:lnTo>
                    <a:pt x="1477" y="435"/>
                  </a:lnTo>
                  <a:lnTo>
                    <a:pt x="1454" y="458"/>
                  </a:lnTo>
                  <a:lnTo>
                    <a:pt x="1432" y="479"/>
                  </a:lnTo>
                  <a:lnTo>
                    <a:pt x="1409" y="500"/>
                  </a:lnTo>
                  <a:lnTo>
                    <a:pt x="1384" y="519"/>
                  </a:lnTo>
                  <a:lnTo>
                    <a:pt x="1360" y="537"/>
                  </a:lnTo>
                  <a:lnTo>
                    <a:pt x="1333" y="554"/>
                  </a:lnTo>
                  <a:lnTo>
                    <a:pt x="1306" y="569"/>
                  </a:lnTo>
                  <a:lnTo>
                    <a:pt x="1277" y="584"/>
                  </a:lnTo>
                  <a:lnTo>
                    <a:pt x="1249" y="596"/>
                  </a:lnTo>
                  <a:lnTo>
                    <a:pt x="1220" y="608"/>
                  </a:lnTo>
                  <a:lnTo>
                    <a:pt x="1190" y="618"/>
                  </a:lnTo>
                  <a:lnTo>
                    <a:pt x="1159" y="627"/>
                  </a:lnTo>
                  <a:lnTo>
                    <a:pt x="1129" y="633"/>
                  </a:lnTo>
                  <a:lnTo>
                    <a:pt x="1096" y="639"/>
                  </a:lnTo>
                  <a:lnTo>
                    <a:pt x="1064" y="644"/>
                  </a:lnTo>
                  <a:lnTo>
                    <a:pt x="1031" y="647"/>
                  </a:lnTo>
                  <a:lnTo>
                    <a:pt x="998" y="647"/>
                  </a:lnTo>
                  <a:lnTo>
                    <a:pt x="998" y="647"/>
                  </a:lnTo>
                  <a:lnTo>
                    <a:pt x="965" y="647"/>
                  </a:lnTo>
                  <a:lnTo>
                    <a:pt x="933" y="644"/>
                  </a:lnTo>
                  <a:lnTo>
                    <a:pt x="900" y="639"/>
                  </a:lnTo>
                  <a:lnTo>
                    <a:pt x="870" y="635"/>
                  </a:lnTo>
                  <a:lnTo>
                    <a:pt x="839" y="627"/>
                  </a:lnTo>
                  <a:lnTo>
                    <a:pt x="809" y="618"/>
                  </a:lnTo>
                  <a:lnTo>
                    <a:pt x="779" y="609"/>
                  </a:lnTo>
                  <a:lnTo>
                    <a:pt x="750" y="599"/>
                  </a:lnTo>
                  <a:lnTo>
                    <a:pt x="722" y="585"/>
                  </a:lnTo>
                  <a:lnTo>
                    <a:pt x="695" y="572"/>
                  </a:lnTo>
                  <a:lnTo>
                    <a:pt x="668" y="557"/>
                  </a:lnTo>
                  <a:lnTo>
                    <a:pt x="642" y="540"/>
                  </a:lnTo>
                  <a:lnTo>
                    <a:pt x="617" y="524"/>
                  </a:lnTo>
                  <a:lnTo>
                    <a:pt x="593" y="504"/>
                  </a:lnTo>
                  <a:lnTo>
                    <a:pt x="570" y="485"/>
                  </a:lnTo>
                  <a:lnTo>
                    <a:pt x="548" y="464"/>
                  </a:lnTo>
                  <a:lnTo>
                    <a:pt x="527" y="443"/>
                  </a:lnTo>
                  <a:lnTo>
                    <a:pt x="506" y="420"/>
                  </a:lnTo>
                  <a:lnTo>
                    <a:pt x="486" y="396"/>
                  </a:lnTo>
                  <a:lnTo>
                    <a:pt x="468" y="372"/>
                  </a:lnTo>
                  <a:lnTo>
                    <a:pt x="452" y="347"/>
                  </a:lnTo>
                  <a:lnTo>
                    <a:pt x="435" y="320"/>
                  </a:lnTo>
                  <a:lnTo>
                    <a:pt x="422" y="294"/>
                  </a:lnTo>
                  <a:lnTo>
                    <a:pt x="408" y="266"/>
                  </a:lnTo>
                  <a:lnTo>
                    <a:pt x="396" y="237"/>
                  </a:lnTo>
                  <a:lnTo>
                    <a:pt x="386" y="209"/>
                  </a:lnTo>
                  <a:lnTo>
                    <a:pt x="377" y="179"/>
                  </a:lnTo>
                  <a:lnTo>
                    <a:pt x="368" y="149"/>
                  </a:lnTo>
                  <a:lnTo>
                    <a:pt x="362" y="117"/>
                  </a:lnTo>
                  <a:lnTo>
                    <a:pt x="357" y="86"/>
                  </a:lnTo>
                  <a:lnTo>
                    <a:pt x="354" y="54"/>
                  </a:lnTo>
                  <a:lnTo>
                    <a:pt x="351" y="21"/>
                  </a:lnTo>
                  <a:lnTo>
                    <a:pt x="351" y="21"/>
                  </a:lnTo>
                  <a:lnTo>
                    <a:pt x="351" y="21"/>
                  </a:lnTo>
                  <a:lnTo>
                    <a:pt x="0" y="23"/>
                  </a:lnTo>
                  <a:lnTo>
                    <a:pt x="0" y="23"/>
                  </a:lnTo>
                  <a:lnTo>
                    <a:pt x="3" y="72"/>
                  </a:lnTo>
                  <a:lnTo>
                    <a:pt x="8" y="123"/>
                  </a:lnTo>
                  <a:lnTo>
                    <a:pt x="15" y="171"/>
                  </a:lnTo>
                  <a:lnTo>
                    <a:pt x="24" y="219"/>
                  </a:lnTo>
                  <a:lnTo>
                    <a:pt x="36" y="267"/>
                  </a:lnTo>
                  <a:lnTo>
                    <a:pt x="51" y="312"/>
                  </a:lnTo>
                  <a:lnTo>
                    <a:pt x="68" y="359"/>
                  </a:lnTo>
                  <a:lnTo>
                    <a:pt x="86" y="402"/>
                  </a:lnTo>
                  <a:lnTo>
                    <a:pt x="105" y="446"/>
                  </a:lnTo>
                  <a:lnTo>
                    <a:pt x="128" y="488"/>
                  </a:lnTo>
                  <a:lnTo>
                    <a:pt x="152" y="528"/>
                  </a:lnTo>
                  <a:lnTo>
                    <a:pt x="179" y="567"/>
                  </a:lnTo>
                  <a:lnTo>
                    <a:pt x="206" y="606"/>
                  </a:lnTo>
                  <a:lnTo>
                    <a:pt x="236" y="642"/>
                  </a:lnTo>
                  <a:lnTo>
                    <a:pt x="267" y="678"/>
                  </a:lnTo>
                  <a:lnTo>
                    <a:pt x="300" y="711"/>
                  </a:lnTo>
                  <a:lnTo>
                    <a:pt x="335" y="744"/>
                  </a:lnTo>
                  <a:lnTo>
                    <a:pt x="371" y="774"/>
                  </a:lnTo>
                  <a:lnTo>
                    <a:pt x="408" y="803"/>
                  </a:lnTo>
                  <a:lnTo>
                    <a:pt x="447" y="831"/>
                  </a:lnTo>
                  <a:lnTo>
                    <a:pt x="488" y="855"/>
                  </a:lnTo>
                  <a:lnTo>
                    <a:pt x="528" y="879"/>
                  </a:lnTo>
                  <a:lnTo>
                    <a:pt x="572" y="900"/>
                  </a:lnTo>
                  <a:lnTo>
                    <a:pt x="615" y="920"/>
                  </a:lnTo>
                  <a:lnTo>
                    <a:pt x="659" y="938"/>
                  </a:lnTo>
                  <a:lnTo>
                    <a:pt x="705" y="953"/>
                  </a:lnTo>
                  <a:lnTo>
                    <a:pt x="752" y="966"/>
                  </a:lnTo>
                  <a:lnTo>
                    <a:pt x="800" y="977"/>
                  </a:lnTo>
                  <a:lnTo>
                    <a:pt x="848" y="986"/>
                  </a:lnTo>
                  <a:lnTo>
                    <a:pt x="897" y="992"/>
                  </a:lnTo>
                  <a:lnTo>
                    <a:pt x="947" y="995"/>
                  </a:lnTo>
                  <a:lnTo>
                    <a:pt x="998" y="996"/>
                  </a:lnTo>
                  <a:lnTo>
                    <a:pt x="998" y="996"/>
                  </a:lnTo>
                  <a:lnTo>
                    <a:pt x="1048" y="995"/>
                  </a:lnTo>
                  <a:lnTo>
                    <a:pt x="1099" y="992"/>
                  </a:lnTo>
                  <a:lnTo>
                    <a:pt x="1148" y="986"/>
                  </a:lnTo>
                  <a:lnTo>
                    <a:pt x="1196" y="977"/>
                  </a:lnTo>
                  <a:lnTo>
                    <a:pt x="1244" y="966"/>
                  </a:lnTo>
                  <a:lnTo>
                    <a:pt x="1291" y="953"/>
                  </a:lnTo>
                  <a:lnTo>
                    <a:pt x="1336" y="938"/>
                  </a:lnTo>
                  <a:lnTo>
                    <a:pt x="1381" y="920"/>
                  </a:lnTo>
                  <a:lnTo>
                    <a:pt x="1424" y="900"/>
                  </a:lnTo>
                  <a:lnTo>
                    <a:pt x="1466" y="879"/>
                  </a:lnTo>
                  <a:lnTo>
                    <a:pt x="1508" y="855"/>
                  </a:lnTo>
                  <a:lnTo>
                    <a:pt x="1549" y="830"/>
                  </a:lnTo>
                  <a:lnTo>
                    <a:pt x="1588" y="803"/>
                  </a:lnTo>
                  <a:lnTo>
                    <a:pt x="1625" y="774"/>
                  </a:lnTo>
                  <a:lnTo>
                    <a:pt x="1661" y="744"/>
                  </a:lnTo>
                  <a:lnTo>
                    <a:pt x="1696" y="711"/>
                  </a:lnTo>
                  <a:lnTo>
                    <a:pt x="1729" y="678"/>
                  </a:lnTo>
                  <a:lnTo>
                    <a:pt x="1759" y="642"/>
                  </a:lnTo>
                  <a:lnTo>
                    <a:pt x="1789" y="606"/>
                  </a:lnTo>
                  <a:lnTo>
                    <a:pt x="1817" y="567"/>
                  </a:lnTo>
                  <a:lnTo>
                    <a:pt x="1843" y="528"/>
                  </a:lnTo>
                  <a:lnTo>
                    <a:pt x="1867" y="488"/>
                  </a:lnTo>
                  <a:lnTo>
                    <a:pt x="1889" y="444"/>
                  </a:lnTo>
                  <a:lnTo>
                    <a:pt x="1910" y="402"/>
                  </a:lnTo>
                  <a:lnTo>
                    <a:pt x="1928" y="357"/>
                  </a:lnTo>
                  <a:lnTo>
                    <a:pt x="1945" y="312"/>
                  </a:lnTo>
                  <a:lnTo>
                    <a:pt x="1958" y="266"/>
                  </a:lnTo>
                  <a:lnTo>
                    <a:pt x="1970" y="219"/>
                  </a:lnTo>
                  <a:lnTo>
                    <a:pt x="1981" y="171"/>
                  </a:lnTo>
                  <a:lnTo>
                    <a:pt x="1987" y="122"/>
                  </a:lnTo>
                  <a:lnTo>
                    <a:pt x="1993" y="72"/>
                  </a:lnTo>
                  <a:lnTo>
                    <a:pt x="1994" y="21"/>
                  </a:lnTo>
                  <a:lnTo>
                    <a:pt x="1643" y="21"/>
                  </a:lnTo>
                  <a:lnTo>
                    <a:pt x="1643" y="21"/>
                  </a:lnTo>
                  <a:lnTo>
                    <a:pt x="1643" y="0"/>
                  </a:lnTo>
                  <a:close/>
                </a:path>
              </a:pathLst>
            </a:custGeom>
            <a:pattFill prst="wdUpDiag">
              <a:fgClr>
                <a:schemeClr val="tx2">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5" name="Freeform 9">
              <a:extLst>
                <a:ext uri="{FF2B5EF4-FFF2-40B4-BE49-F238E27FC236}">
                  <a16:creationId xmlns:a16="http://schemas.microsoft.com/office/drawing/2014/main" id="{69EC98A2-D1AB-4FFA-A01E-512D4AE8DA2D}"/>
                </a:ext>
              </a:extLst>
            </p:cNvPr>
            <p:cNvSpPr>
              <a:spLocks/>
            </p:cNvSpPr>
            <p:nvPr/>
          </p:nvSpPr>
          <p:spPr bwMode="auto">
            <a:xfrm>
              <a:off x="2997201" y="2300288"/>
              <a:ext cx="3165475" cy="1582738"/>
            </a:xfrm>
            <a:custGeom>
              <a:avLst/>
              <a:gdLst/>
              <a:ahLst/>
              <a:cxnLst>
                <a:cxn ang="0">
                  <a:pos x="351" y="975"/>
                </a:cxn>
                <a:cxn ang="0">
                  <a:pos x="362" y="879"/>
                </a:cxn>
                <a:cxn ang="0">
                  <a:pos x="386" y="789"/>
                </a:cxn>
                <a:cxn ang="0">
                  <a:pos x="422" y="703"/>
                </a:cxn>
                <a:cxn ang="0">
                  <a:pos x="470" y="625"/>
                </a:cxn>
                <a:cxn ang="0">
                  <a:pos x="527" y="555"/>
                </a:cxn>
                <a:cxn ang="0">
                  <a:pos x="594" y="493"/>
                </a:cxn>
                <a:cxn ang="0">
                  <a:pos x="669" y="441"/>
                </a:cxn>
                <a:cxn ang="0">
                  <a:pos x="752" y="400"/>
                </a:cxn>
                <a:cxn ang="0">
                  <a:pos x="839" y="372"/>
                </a:cxn>
                <a:cxn ang="0">
                  <a:pos x="933" y="355"/>
                </a:cxn>
                <a:cxn ang="0">
                  <a:pos x="998" y="352"/>
                </a:cxn>
                <a:cxn ang="0">
                  <a:pos x="1096" y="360"/>
                </a:cxn>
                <a:cxn ang="0">
                  <a:pos x="1190" y="381"/>
                </a:cxn>
                <a:cxn ang="0">
                  <a:pos x="1277" y="415"/>
                </a:cxn>
                <a:cxn ang="0">
                  <a:pos x="1360" y="462"/>
                </a:cxn>
                <a:cxn ang="0">
                  <a:pos x="1432" y="520"/>
                </a:cxn>
                <a:cxn ang="0">
                  <a:pos x="1496" y="586"/>
                </a:cxn>
                <a:cxn ang="0">
                  <a:pos x="1550" y="663"/>
                </a:cxn>
                <a:cxn ang="0">
                  <a:pos x="1594" y="747"/>
                </a:cxn>
                <a:cxn ang="0">
                  <a:pos x="1624" y="837"/>
                </a:cxn>
                <a:cxn ang="0">
                  <a:pos x="1640" y="931"/>
                </a:cxn>
                <a:cxn ang="0">
                  <a:pos x="1643" y="976"/>
                </a:cxn>
                <a:cxn ang="0">
                  <a:pos x="1994" y="975"/>
                </a:cxn>
                <a:cxn ang="0">
                  <a:pos x="1984" y="846"/>
                </a:cxn>
                <a:cxn ang="0">
                  <a:pos x="1955" y="720"/>
                </a:cxn>
                <a:cxn ang="0">
                  <a:pos x="1912" y="598"/>
                </a:cxn>
                <a:cxn ang="0">
                  <a:pos x="1853" y="484"/>
                </a:cxn>
                <a:cxn ang="0">
                  <a:pos x="1780" y="378"/>
                </a:cxn>
                <a:cxn ang="0">
                  <a:pos x="1715" y="304"/>
                </a:cxn>
                <a:cxn ang="0">
                  <a:pos x="1595" y="198"/>
                </a:cxn>
                <a:cxn ang="0">
                  <a:pos x="1460" y="114"/>
                </a:cxn>
                <a:cxn ang="0">
                  <a:pos x="1313" y="51"/>
                </a:cxn>
                <a:cxn ang="0">
                  <a:pos x="1159" y="13"/>
                </a:cxn>
                <a:cxn ang="0">
                  <a:pos x="998" y="0"/>
                </a:cxn>
                <a:cxn ang="0">
                  <a:pos x="890" y="6"/>
                </a:cxn>
                <a:cxn ang="0">
                  <a:pos x="732" y="36"/>
                </a:cxn>
                <a:cxn ang="0">
                  <a:pos x="582" y="90"/>
                </a:cxn>
                <a:cxn ang="0">
                  <a:pos x="444" y="168"/>
                </a:cxn>
                <a:cxn ang="0">
                  <a:pos x="318" y="267"/>
                </a:cxn>
                <a:cxn ang="0">
                  <a:pos x="243" y="345"/>
                </a:cxn>
                <a:cxn ang="0">
                  <a:pos x="165" y="448"/>
                </a:cxn>
                <a:cxn ang="0">
                  <a:pos x="101" y="559"/>
                </a:cxn>
                <a:cxn ang="0">
                  <a:pos x="53" y="679"/>
                </a:cxn>
                <a:cxn ang="0">
                  <a:pos x="20" y="804"/>
                </a:cxn>
                <a:cxn ang="0">
                  <a:pos x="3" y="931"/>
                </a:cxn>
              </a:cxnLst>
              <a:rect l="0" t="0" r="r" b="b"/>
              <a:pathLst>
                <a:path w="1994" h="997">
                  <a:moveTo>
                    <a:pt x="0" y="975"/>
                  </a:moveTo>
                  <a:lnTo>
                    <a:pt x="351" y="975"/>
                  </a:lnTo>
                  <a:lnTo>
                    <a:pt x="351" y="975"/>
                  </a:lnTo>
                  <a:lnTo>
                    <a:pt x="354" y="942"/>
                  </a:lnTo>
                  <a:lnTo>
                    <a:pt x="357" y="910"/>
                  </a:lnTo>
                  <a:lnTo>
                    <a:pt x="362" y="879"/>
                  </a:lnTo>
                  <a:lnTo>
                    <a:pt x="369" y="849"/>
                  </a:lnTo>
                  <a:lnTo>
                    <a:pt x="377" y="819"/>
                  </a:lnTo>
                  <a:lnTo>
                    <a:pt x="386" y="789"/>
                  </a:lnTo>
                  <a:lnTo>
                    <a:pt x="396" y="760"/>
                  </a:lnTo>
                  <a:lnTo>
                    <a:pt x="408" y="732"/>
                  </a:lnTo>
                  <a:lnTo>
                    <a:pt x="422" y="703"/>
                  </a:lnTo>
                  <a:lnTo>
                    <a:pt x="437" y="676"/>
                  </a:lnTo>
                  <a:lnTo>
                    <a:pt x="452" y="651"/>
                  </a:lnTo>
                  <a:lnTo>
                    <a:pt x="470" y="625"/>
                  </a:lnTo>
                  <a:lnTo>
                    <a:pt x="488" y="601"/>
                  </a:lnTo>
                  <a:lnTo>
                    <a:pt x="507" y="577"/>
                  </a:lnTo>
                  <a:lnTo>
                    <a:pt x="527" y="555"/>
                  </a:lnTo>
                  <a:lnTo>
                    <a:pt x="548" y="534"/>
                  </a:lnTo>
                  <a:lnTo>
                    <a:pt x="570" y="513"/>
                  </a:lnTo>
                  <a:lnTo>
                    <a:pt x="594" y="493"/>
                  </a:lnTo>
                  <a:lnTo>
                    <a:pt x="618" y="475"/>
                  </a:lnTo>
                  <a:lnTo>
                    <a:pt x="642" y="457"/>
                  </a:lnTo>
                  <a:lnTo>
                    <a:pt x="669" y="441"/>
                  </a:lnTo>
                  <a:lnTo>
                    <a:pt x="695" y="427"/>
                  </a:lnTo>
                  <a:lnTo>
                    <a:pt x="723" y="412"/>
                  </a:lnTo>
                  <a:lnTo>
                    <a:pt x="752" y="400"/>
                  </a:lnTo>
                  <a:lnTo>
                    <a:pt x="780" y="390"/>
                  </a:lnTo>
                  <a:lnTo>
                    <a:pt x="809" y="379"/>
                  </a:lnTo>
                  <a:lnTo>
                    <a:pt x="839" y="372"/>
                  </a:lnTo>
                  <a:lnTo>
                    <a:pt x="870" y="364"/>
                  </a:lnTo>
                  <a:lnTo>
                    <a:pt x="902" y="358"/>
                  </a:lnTo>
                  <a:lnTo>
                    <a:pt x="933" y="355"/>
                  </a:lnTo>
                  <a:lnTo>
                    <a:pt x="965" y="352"/>
                  </a:lnTo>
                  <a:lnTo>
                    <a:pt x="998" y="352"/>
                  </a:lnTo>
                  <a:lnTo>
                    <a:pt x="998" y="352"/>
                  </a:lnTo>
                  <a:lnTo>
                    <a:pt x="1031" y="352"/>
                  </a:lnTo>
                  <a:lnTo>
                    <a:pt x="1064" y="355"/>
                  </a:lnTo>
                  <a:lnTo>
                    <a:pt x="1096" y="360"/>
                  </a:lnTo>
                  <a:lnTo>
                    <a:pt x="1129" y="364"/>
                  </a:lnTo>
                  <a:lnTo>
                    <a:pt x="1159" y="372"/>
                  </a:lnTo>
                  <a:lnTo>
                    <a:pt x="1190" y="381"/>
                  </a:lnTo>
                  <a:lnTo>
                    <a:pt x="1220" y="391"/>
                  </a:lnTo>
                  <a:lnTo>
                    <a:pt x="1249" y="403"/>
                  </a:lnTo>
                  <a:lnTo>
                    <a:pt x="1277" y="415"/>
                  </a:lnTo>
                  <a:lnTo>
                    <a:pt x="1306" y="430"/>
                  </a:lnTo>
                  <a:lnTo>
                    <a:pt x="1333" y="445"/>
                  </a:lnTo>
                  <a:lnTo>
                    <a:pt x="1360" y="462"/>
                  </a:lnTo>
                  <a:lnTo>
                    <a:pt x="1384" y="480"/>
                  </a:lnTo>
                  <a:lnTo>
                    <a:pt x="1409" y="499"/>
                  </a:lnTo>
                  <a:lnTo>
                    <a:pt x="1432" y="520"/>
                  </a:lnTo>
                  <a:lnTo>
                    <a:pt x="1454" y="541"/>
                  </a:lnTo>
                  <a:lnTo>
                    <a:pt x="1477" y="564"/>
                  </a:lnTo>
                  <a:lnTo>
                    <a:pt x="1496" y="586"/>
                  </a:lnTo>
                  <a:lnTo>
                    <a:pt x="1516" y="612"/>
                  </a:lnTo>
                  <a:lnTo>
                    <a:pt x="1534" y="637"/>
                  </a:lnTo>
                  <a:lnTo>
                    <a:pt x="1550" y="663"/>
                  </a:lnTo>
                  <a:lnTo>
                    <a:pt x="1565" y="690"/>
                  </a:lnTo>
                  <a:lnTo>
                    <a:pt x="1580" y="718"/>
                  </a:lnTo>
                  <a:lnTo>
                    <a:pt x="1594" y="747"/>
                  </a:lnTo>
                  <a:lnTo>
                    <a:pt x="1604" y="775"/>
                  </a:lnTo>
                  <a:lnTo>
                    <a:pt x="1615" y="805"/>
                  </a:lnTo>
                  <a:lnTo>
                    <a:pt x="1624" y="837"/>
                  </a:lnTo>
                  <a:lnTo>
                    <a:pt x="1631" y="868"/>
                  </a:lnTo>
                  <a:lnTo>
                    <a:pt x="1636" y="900"/>
                  </a:lnTo>
                  <a:lnTo>
                    <a:pt x="1640" y="931"/>
                  </a:lnTo>
                  <a:lnTo>
                    <a:pt x="1643" y="964"/>
                  </a:lnTo>
                  <a:lnTo>
                    <a:pt x="1643" y="997"/>
                  </a:lnTo>
                  <a:lnTo>
                    <a:pt x="1643" y="976"/>
                  </a:lnTo>
                  <a:lnTo>
                    <a:pt x="1643" y="975"/>
                  </a:lnTo>
                  <a:lnTo>
                    <a:pt x="1994" y="975"/>
                  </a:lnTo>
                  <a:lnTo>
                    <a:pt x="1994" y="975"/>
                  </a:lnTo>
                  <a:lnTo>
                    <a:pt x="1993" y="931"/>
                  </a:lnTo>
                  <a:lnTo>
                    <a:pt x="1988" y="888"/>
                  </a:lnTo>
                  <a:lnTo>
                    <a:pt x="1984" y="846"/>
                  </a:lnTo>
                  <a:lnTo>
                    <a:pt x="1976" y="804"/>
                  </a:lnTo>
                  <a:lnTo>
                    <a:pt x="1967" y="762"/>
                  </a:lnTo>
                  <a:lnTo>
                    <a:pt x="1955" y="720"/>
                  </a:lnTo>
                  <a:lnTo>
                    <a:pt x="1943" y="679"/>
                  </a:lnTo>
                  <a:lnTo>
                    <a:pt x="1928" y="639"/>
                  </a:lnTo>
                  <a:lnTo>
                    <a:pt x="1912" y="598"/>
                  </a:lnTo>
                  <a:lnTo>
                    <a:pt x="1894" y="559"/>
                  </a:lnTo>
                  <a:lnTo>
                    <a:pt x="1874" y="522"/>
                  </a:lnTo>
                  <a:lnTo>
                    <a:pt x="1853" y="484"/>
                  </a:lnTo>
                  <a:lnTo>
                    <a:pt x="1831" y="448"/>
                  </a:lnTo>
                  <a:lnTo>
                    <a:pt x="1805" y="412"/>
                  </a:lnTo>
                  <a:lnTo>
                    <a:pt x="1780" y="378"/>
                  </a:lnTo>
                  <a:lnTo>
                    <a:pt x="1753" y="345"/>
                  </a:lnTo>
                  <a:lnTo>
                    <a:pt x="1753" y="345"/>
                  </a:lnTo>
                  <a:lnTo>
                    <a:pt x="1715" y="304"/>
                  </a:lnTo>
                  <a:lnTo>
                    <a:pt x="1678" y="267"/>
                  </a:lnTo>
                  <a:lnTo>
                    <a:pt x="1637" y="232"/>
                  </a:lnTo>
                  <a:lnTo>
                    <a:pt x="1595" y="198"/>
                  </a:lnTo>
                  <a:lnTo>
                    <a:pt x="1552" y="168"/>
                  </a:lnTo>
                  <a:lnTo>
                    <a:pt x="1507" y="139"/>
                  </a:lnTo>
                  <a:lnTo>
                    <a:pt x="1460" y="114"/>
                  </a:lnTo>
                  <a:lnTo>
                    <a:pt x="1412" y="90"/>
                  </a:lnTo>
                  <a:lnTo>
                    <a:pt x="1364" y="69"/>
                  </a:lnTo>
                  <a:lnTo>
                    <a:pt x="1313" y="51"/>
                  </a:lnTo>
                  <a:lnTo>
                    <a:pt x="1262" y="36"/>
                  </a:lnTo>
                  <a:lnTo>
                    <a:pt x="1211" y="24"/>
                  </a:lnTo>
                  <a:lnTo>
                    <a:pt x="1159" y="13"/>
                  </a:lnTo>
                  <a:lnTo>
                    <a:pt x="1106" y="6"/>
                  </a:lnTo>
                  <a:lnTo>
                    <a:pt x="1052" y="1"/>
                  </a:lnTo>
                  <a:lnTo>
                    <a:pt x="998" y="0"/>
                  </a:lnTo>
                  <a:lnTo>
                    <a:pt x="998" y="0"/>
                  </a:lnTo>
                  <a:lnTo>
                    <a:pt x="944" y="1"/>
                  </a:lnTo>
                  <a:lnTo>
                    <a:pt x="890" y="6"/>
                  </a:lnTo>
                  <a:lnTo>
                    <a:pt x="837" y="13"/>
                  </a:lnTo>
                  <a:lnTo>
                    <a:pt x="785" y="24"/>
                  </a:lnTo>
                  <a:lnTo>
                    <a:pt x="732" y="36"/>
                  </a:lnTo>
                  <a:lnTo>
                    <a:pt x="681" y="51"/>
                  </a:lnTo>
                  <a:lnTo>
                    <a:pt x="632" y="69"/>
                  </a:lnTo>
                  <a:lnTo>
                    <a:pt x="582" y="90"/>
                  </a:lnTo>
                  <a:lnTo>
                    <a:pt x="536" y="114"/>
                  </a:lnTo>
                  <a:lnTo>
                    <a:pt x="489" y="139"/>
                  </a:lnTo>
                  <a:lnTo>
                    <a:pt x="444" y="168"/>
                  </a:lnTo>
                  <a:lnTo>
                    <a:pt x="401" y="198"/>
                  </a:lnTo>
                  <a:lnTo>
                    <a:pt x="359" y="232"/>
                  </a:lnTo>
                  <a:lnTo>
                    <a:pt x="318" y="267"/>
                  </a:lnTo>
                  <a:lnTo>
                    <a:pt x="279" y="304"/>
                  </a:lnTo>
                  <a:lnTo>
                    <a:pt x="243" y="345"/>
                  </a:lnTo>
                  <a:lnTo>
                    <a:pt x="243" y="345"/>
                  </a:lnTo>
                  <a:lnTo>
                    <a:pt x="215" y="378"/>
                  </a:lnTo>
                  <a:lnTo>
                    <a:pt x="189" y="412"/>
                  </a:lnTo>
                  <a:lnTo>
                    <a:pt x="165" y="448"/>
                  </a:lnTo>
                  <a:lnTo>
                    <a:pt x="141" y="484"/>
                  </a:lnTo>
                  <a:lnTo>
                    <a:pt x="120" y="522"/>
                  </a:lnTo>
                  <a:lnTo>
                    <a:pt x="101" y="559"/>
                  </a:lnTo>
                  <a:lnTo>
                    <a:pt x="83" y="598"/>
                  </a:lnTo>
                  <a:lnTo>
                    <a:pt x="66" y="639"/>
                  </a:lnTo>
                  <a:lnTo>
                    <a:pt x="53" y="679"/>
                  </a:lnTo>
                  <a:lnTo>
                    <a:pt x="39" y="720"/>
                  </a:lnTo>
                  <a:lnTo>
                    <a:pt x="29" y="762"/>
                  </a:lnTo>
                  <a:lnTo>
                    <a:pt x="20" y="804"/>
                  </a:lnTo>
                  <a:lnTo>
                    <a:pt x="12" y="846"/>
                  </a:lnTo>
                  <a:lnTo>
                    <a:pt x="6" y="888"/>
                  </a:lnTo>
                  <a:lnTo>
                    <a:pt x="3" y="931"/>
                  </a:lnTo>
                  <a:lnTo>
                    <a:pt x="0" y="97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26" name="TextBox 25">
            <a:extLst>
              <a:ext uri="{FF2B5EF4-FFF2-40B4-BE49-F238E27FC236}">
                <a16:creationId xmlns:a16="http://schemas.microsoft.com/office/drawing/2014/main" id="{9404AD5B-D0F9-4FCA-86D5-41AD0AED7212}"/>
              </a:ext>
            </a:extLst>
          </p:cNvPr>
          <p:cNvSpPr txBox="1"/>
          <p:nvPr/>
        </p:nvSpPr>
        <p:spPr bwMode="auto">
          <a:xfrm>
            <a:off x="7791755" y="2977246"/>
            <a:ext cx="258096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27" name="Straight Connector 26">
            <a:extLst>
              <a:ext uri="{FF2B5EF4-FFF2-40B4-BE49-F238E27FC236}">
                <a16:creationId xmlns:a16="http://schemas.microsoft.com/office/drawing/2014/main" id="{02C10625-05C6-4A30-9436-25C270766F96}"/>
              </a:ext>
            </a:extLst>
          </p:cNvPr>
          <p:cNvCxnSpPr/>
          <p:nvPr/>
        </p:nvCxnSpPr>
        <p:spPr bwMode="auto">
          <a:xfrm flipH="1">
            <a:off x="7406595" y="3369105"/>
            <a:ext cx="296613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DE307EE-FDBF-4086-891C-5FCA626C5B99}"/>
              </a:ext>
            </a:extLst>
          </p:cNvPr>
          <p:cNvSpPr txBox="1"/>
          <p:nvPr/>
        </p:nvSpPr>
        <p:spPr bwMode="auto">
          <a:xfrm>
            <a:off x="7770936" y="1892450"/>
            <a:ext cx="258096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29" name="Straight Connector 28">
            <a:extLst>
              <a:ext uri="{FF2B5EF4-FFF2-40B4-BE49-F238E27FC236}">
                <a16:creationId xmlns:a16="http://schemas.microsoft.com/office/drawing/2014/main" id="{C7C69363-368E-48D5-A4B0-CB59B31BC84A}"/>
              </a:ext>
            </a:extLst>
          </p:cNvPr>
          <p:cNvCxnSpPr/>
          <p:nvPr/>
        </p:nvCxnSpPr>
        <p:spPr bwMode="auto">
          <a:xfrm flipH="1">
            <a:off x="7385775" y="2288450"/>
            <a:ext cx="296613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B6B544-620A-4B74-8A53-DB880F789DEA}"/>
              </a:ext>
            </a:extLst>
          </p:cNvPr>
          <p:cNvSpPr txBox="1"/>
          <p:nvPr/>
        </p:nvSpPr>
        <p:spPr bwMode="auto">
          <a:xfrm>
            <a:off x="7791755" y="4990773"/>
            <a:ext cx="258096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1" name="Straight Connector 30">
            <a:extLst>
              <a:ext uri="{FF2B5EF4-FFF2-40B4-BE49-F238E27FC236}">
                <a16:creationId xmlns:a16="http://schemas.microsoft.com/office/drawing/2014/main" id="{9473B169-DA90-4F2D-82C3-C26A5AA2D1CF}"/>
              </a:ext>
            </a:extLst>
          </p:cNvPr>
          <p:cNvCxnSpPr/>
          <p:nvPr/>
        </p:nvCxnSpPr>
        <p:spPr bwMode="auto">
          <a:xfrm flipH="1">
            <a:off x="7406595" y="5382632"/>
            <a:ext cx="296613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3BA4276-AC18-4AAD-BA55-13F5C5BCC77F}"/>
              </a:ext>
            </a:extLst>
          </p:cNvPr>
          <p:cNvSpPr txBox="1"/>
          <p:nvPr/>
        </p:nvSpPr>
        <p:spPr bwMode="auto">
          <a:xfrm>
            <a:off x="7770936" y="3910118"/>
            <a:ext cx="258096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3" name="Straight Connector 32">
            <a:extLst>
              <a:ext uri="{FF2B5EF4-FFF2-40B4-BE49-F238E27FC236}">
                <a16:creationId xmlns:a16="http://schemas.microsoft.com/office/drawing/2014/main" id="{7E1FB9C2-E40B-4934-888E-CCEC1909245B}"/>
              </a:ext>
            </a:extLst>
          </p:cNvPr>
          <p:cNvCxnSpPr/>
          <p:nvPr/>
        </p:nvCxnSpPr>
        <p:spPr bwMode="auto">
          <a:xfrm flipH="1">
            <a:off x="7385775" y="4301977"/>
            <a:ext cx="296613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039815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2</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6200C0C5-CC9E-4661-BF71-999E089A4B4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4" name="Group 34">
            <a:extLst>
              <a:ext uri="{FF2B5EF4-FFF2-40B4-BE49-F238E27FC236}">
                <a16:creationId xmlns:a16="http://schemas.microsoft.com/office/drawing/2014/main" id="{77F7F4BA-A039-40F0-A5E2-0BC489EA159A}"/>
              </a:ext>
            </a:extLst>
          </p:cNvPr>
          <p:cNvGrpSpPr/>
          <p:nvPr/>
        </p:nvGrpSpPr>
        <p:grpSpPr bwMode="auto">
          <a:xfrm>
            <a:off x="3903026" y="1641474"/>
            <a:ext cx="4416425" cy="4416426"/>
            <a:chOff x="2363788" y="1670050"/>
            <a:chExt cx="4416425" cy="4416426"/>
          </a:xfrm>
        </p:grpSpPr>
        <p:sp>
          <p:nvSpPr>
            <p:cNvPr id="25" name="Freeform 6">
              <a:extLst>
                <a:ext uri="{FF2B5EF4-FFF2-40B4-BE49-F238E27FC236}">
                  <a16:creationId xmlns:a16="http://schemas.microsoft.com/office/drawing/2014/main" id="{649BADB6-4690-488B-A7FF-790F393B89A9}"/>
                </a:ext>
              </a:extLst>
            </p:cNvPr>
            <p:cNvSpPr>
              <a:spLocks/>
            </p:cNvSpPr>
            <p:nvPr/>
          </p:nvSpPr>
          <p:spPr bwMode="auto">
            <a:xfrm>
              <a:off x="2676526" y="1670050"/>
              <a:ext cx="3794125" cy="1362075"/>
            </a:xfrm>
            <a:custGeom>
              <a:avLst/>
              <a:gdLst/>
              <a:ahLst/>
              <a:cxnLst>
                <a:cxn ang="0">
                  <a:pos x="1229" y="351"/>
                </a:cxn>
                <a:cxn ang="0">
                  <a:pos x="1334" y="360"/>
                </a:cxn>
                <a:cxn ang="0">
                  <a:pos x="1434" y="380"/>
                </a:cxn>
                <a:cxn ang="0">
                  <a:pos x="1532" y="408"/>
                </a:cxn>
                <a:cxn ang="0">
                  <a:pos x="1625" y="444"/>
                </a:cxn>
                <a:cxn ang="0">
                  <a:pos x="1713" y="491"/>
                </a:cxn>
                <a:cxn ang="0">
                  <a:pos x="1797" y="545"/>
                </a:cxn>
                <a:cxn ang="0">
                  <a:pos x="1875" y="606"/>
                </a:cxn>
                <a:cxn ang="0">
                  <a:pos x="1946" y="674"/>
                </a:cxn>
                <a:cxn ang="0">
                  <a:pos x="2010" y="749"/>
                </a:cxn>
                <a:cxn ang="0">
                  <a:pos x="2069" y="830"/>
                </a:cxn>
                <a:cxn ang="0">
                  <a:pos x="2390" y="683"/>
                </a:cxn>
                <a:cxn ang="0">
                  <a:pos x="2316" y="570"/>
                </a:cxn>
                <a:cxn ang="0">
                  <a:pos x="2234" y="468"/>
                </a:cxn>
                <a:cxn ang="0">
                  <a:pos x="2141" y="372"/>
                </a:cxn>
                <a:cxn ang="0">
                  <a:pos x="2039" y="287"/>
                </a:cxn>
                <a:cxn ang="0">
                  <a:pos x="1931" y="212"/>
                </a:cxn>
                <a:cxn ang="0">
                  <a:pos x="1814" y="146"/>
                </a:cxn>
                <a:cxn ang="0">
                  <a:pos x="1691" y="92"/>
                </a:cxn>
                <a:cxn ang="0">
                  <a:pos x="1562" y="50"/>
                </a:cxn>
                <a:cxn ang="0">
                  <a:pos x="1427" y="20"/>
                </a:cxn>
                <a:cxn ang="0">
                  <a:pos x="1289" y="3"/>
                </a:cxn>
                <a:cxn ang="0">
                  <a:pos x="1194" y="0"/>
                </a:cxn>
                <a:cxn ang="0">
                  <a:pos x="1053" y="8"/>
                </a:cxn>
                <a:cxn ang="0">
                  <a:pos x="916" y="29"/>
                </a:cxn>
                <a:cxn ang="0">
                  <a:pos x="784" y="62"/>
                </a:cxn>
                <a:cxn ang="0">
                  <a:pos x="657" y="108"/>
                </a:cxn>
                <a:cxn ang="0">
                  <a:pos x="537" y="165"/>
                </a:cxn>
                <a:cxn ang="0">
                  <a:pos x="423" y="234"/>
                </a:cxn>
                <a:cxn ang="0">
                  <a:pos x="316" y="312"/>
                </a:cxn>
                <a:cxn ang="0">
                  <a:pos x="217" y="401"/>
                </a:cxn>
                <a:cxn ang="0">
                  <a:pos x="127" y="498"/>
                </a:cxn>
                <a:cxn ang="0">
                  <a:pos x="48" y="603"/>
                </a:cxn>
                <a:cxn ang="0">
                  <a:pos x="304" y="854"/>
                </a:cxn>
                <a:cxn ang="0">
                  <a:pos x="340" y="798"/>
                </a:cxn>
                <a:cxn ang="0">
                  <a:pos x="400" y="720"/>
                </a:cxn>
                <a:cxn ang="0">
                  <a:pos x="468" y="648"/>
                </a:cxn>
                <a:cxn ang="0">
                  <a:pos x="540" y="582"/>
                </a:cxn>
                <a:cxn ang="0">
                  <a:pos x="619" y="524"/>
                </a:cxn>
                <a:cxn ang="0">
                  <a:pos x="705" y="473"/>
                </a:cxn>
                <a:cxn ang="0">
                  <a:pos x="795" y="431"/>
                </a:cxn>
                <a:cxn ang="0">
                  <a:pos x="889" y="396"/>
                </a:cxn>
                <a:cxn ang="0">
                  <a:pos x="987" y="372"/>
                </a:cxn>
                <a:cxn ang="0">
                  <a:pos x="1089" y="356"/>
                </a:cxn>
                <a:cxn ang="0">
                  <a:pos x="1194" y="351"/>
                </a:cxn>
              </a:cxnLst>
              <a:rect l="0" t="0" r="r" b="b"/>
              <a:pathLst>
                <a:path w="2390" h="858">
                  <a:moveTo>
                    <a:pt x="1194" y="351"/>
                  </a:moveTo>
                  <a:lnTo>
                    <a:pt x="1194" y="351"/>
                  </a:lnTo>
                  <a:lnTo>
                    <a:pt x="1229" y="351"/>
                  </a:lnTo>
                  <a:lnTo>
                    <a:pt x="1265" y="353"/>
                  </a:lnTo>
                  <a:lnTo>
                    <a:pt x="1299" y="356"/>
                  </a:lnTo>
                  <a:lnTo>
                    <a:pt x="1334" y="360"/>
                  </a:lnTo>
                  <a:lnTo>
                    <a:pt x="1367" y="366"/>
                  </a:lnTo>
                  <a:lnTo>
                    <a:pt x="1401" y="372"/>
                  </a:lnTo>
                  <a:lnTo>
                    <a:pt x="1434" y="380"/>
                  </a:lnTo>
                  <a:lnTo>
                    <a:pt x="1467" y="387"/>
                  </a:lnTo>
                  <a:lnTo>
                    <a:pt x="1500" y="398"/>
                  </a:lnTo>
                  <a:lnTo>
                    <a:pt x="1532" y="408"/>
                  </a:lnTo>
                  <a:lnTo>
                    <a:pt x="1563" y="419"/>
                  </a:lnTo>
                  <a:lnTo>
                    <a:pt x="1595" y="431"/>
                  </a:lnTo>
                  <a:lnTo>
                    <a:pt x="1625" y="444"/>
                  </a:lnTo>
                  <a:lnTo>
                    <a:pt x="1655" y="459"/>
                  </a:lnTo>
                  <a:lnTo>
                    <a:pt x="1685" y="474"/>
                  </a:lnTo>
                  <a:lnTo>
                    <a:pt x="1713" y="491"/>
                  </a:lnTo>
                  <a:lnTo>
                    <a:pt x="1742" y="507"/>
                  </a:lnTo>
                  <a:lnTo>
                    <a:pt x="1770" y="525"/>
                  </a:lnTo>
                  <a:lnTo>
                    <a:pt x="1797" y="545"/>
                  </a:lnTo>
                  <a:lnTo>
                    <a:pt x="1824" y="564"/>
                  </a:lnTo>
                  <a:lnTo>
                    <a:pt x="1850" y="585"/>
                  </a:lnTo>
                  <a:lnTo>
                    <a:pt x="1875" y="606"/>
                  </a:lnTo>
                  <a:lnTo>
                    <a:pt x="1899" y="627"/>
                  </a:lnTo>
                  <a:lnTo>
                    <a:pt x="1923" y="651"/>
                  </a:lnTo>
                  <a:lnTo>
                    <a:pt x="1946" y="674"/>
                  </a:lnTo>
                  <a:lnTo>
                    <a:pt x="1968" y="698"/>
                  </a:lnTo>
                  <a:lnTo>
                    <a:pt x="1991" y="723"/>
                  </a:lnTo>
                  <a:lnTo>
                    <a:pt x="2010" y="749"/>
                  </a:lnTo>
                  <a:lnTo>
                    <a:pt x="2031" y="776"/>
                  </a:lnTo>
                  <a:lnTo>
                    <a:pt x="2051" y="803"/>
                  </a:lnTo>
                  <a:lnTo>
                    <a:pt x="2069" y="830"/>
                  </a:lnTo>
                  <a:lnTo>
                    <a:pt x="2085" y="858"/>
                  </a:lnTo>
                  <a:lnTo>
                    <a:pt x="2390" y="683"/>
                  </a:lnTo>
                  <a:lnTo>
                    <a:pt x="2390" y="683"/>
                  </a:lnTo>
                  <a:lnTo>
                    <a:pt x="2367" y="644"/>
                  </a:lnTo>
                  <a:lnTo>
                    <a:pt x="2343" y="608"/>
                  </a:lnTo>
                  <a:lnTo>
                    <a:pt x="2316" y="570"/>
                  </a:lnTo>
                  <a:lnTo>
                    <a:pt x="2291" y="536"/>
                  </a:lnTo>
                  <a:lnTo>
                    <a:pt x="2262" y="501"/>
                  </a:lnTo>
                  <a:lnTo>
                    <a:pt x="2234" y="468"/>
                  </a:lnTo>
                  <a:lnTo>
                    <a:pt x="2204" y="435"/>
                  </a:lnTo>
                  <a:lnTo>
                    <a:pt x="2172" y="404"/>
                  </a:lnTo>
                  <a:lnTo>
                    <a:pt x="2141" y="372"/>
                  </a:lnTo>
                  <a:lnTo>
                    <a:pt x="2108" y="344"/>
                  </a:lnTo>
                  <a:lnTo>
                    <a:pt x="2075" y="315"/>
                  </a:lnTo>
                  <a:lnTo>
                    <a:pt x="2039" y="287"/>
                  </a:lnTo>
                  <a:lnTo>
                    <a:pt x="2004" y="261"/>
                  </a:lnTo>
                  <a:lnTo>
                    <a:pt x="1967" y="236"/>
                  </a:lnTo>
                  <a:lnTo>
                    <a:pt x="1931" y="212"/>
                  </a:lnTo>
                  <a:lnTo>
                    <a:pt x="1892" y="188"/>
                  </a:lnTo>
                  <a:lnTo>
                    <a:pt x="1853" y="167"/>
                  </a:lnTo>
                  <a:lnTo>
                    <a:pt x="1814" y="146"/>
                  </a:lnTo>
                  <a:lnTo>
                    <a:pt x="1773" y="126"/>
                  </a:lnTo>
                  <a:lnTo>
                    <a:pt x="1733" y="108"/>
                  </a:lnTo>
                  <a:lnTo>
                    <a:pt x="1691" y="92"/>
                  </a:lnTo>
                  <a:lnTo>
                    <a:pt x="1649" y="77"/>
                  </a:lnTo>
                  <a:lnTo>
                    <a:pt x="1605" y="62"/>
                  </a:lnTo>
                  <a:lnTo>
                    <a:pt x="1562" y="50"/>
                  </a:lnTo>
                  <a:lnTo>
                    <a:pt x="1517" y="38"/>
                  </a:lnTo>
                  <a:lnTo>
                    <a:pt x="1473" y="29"/>
                  </a:lnTo>
                  <a:lnTo>
                    <a:pt x="1427" y="20"/>
                  </a:lnTo>
                  <a:lnTo>
                    <a:pt x="1382" y="14"/>
                  </a:lnTo>
                  <a:lnTo>
                    <a:pt x="1335" y="8"/>
                  </a:lnTo>
                  <a:lnTo>
                    <a:pt x="1289" y="3"/>
                  </a:lnTo>
                  <a:lnTo>
                    <a:pt x="1241" y="2"/>
                  </a:lnTo>
                  <a:lnTo>
                    <a:pt x="1194" y="0"/>
                  </a:lnTo>
                  <a:lnTo>
                    <a:pt x="1194" y="0"/>
                  </a:lnTo>
                  <a:lnTo>
                    <a:pt x="1146" y="2"/>
                  </a:lnTo>
                  <a:lnTo>
                    <a:pt x="1099" y="3"/>
                  </a:lnTo>
                  <a:lnTo>
                    <a:pt x="1053" y="8"/>
                  </a:lnTo>
                  <a:lnTo>
                    <a:pt x="1006" y="12"/>
                  </a:lnTo>
                  <a:lnTo>
                    <a:pt x="961" y="20"/>
                  </a:lnTo>
                  <a:lnTo>
                    <a:pt x="916" y="29"/>
                  </a:lnTo>
                  <a:lnTo>
                    <a:pt x="871" y="38"/>
                  </a:lnTo>
                  <a:lnTo>
                    <a:pt x="828" y="50"/>
                  </a:lnTo>
                  <a:lnTo>
                    <a:pt x="784" y="62"/>
                  </a:lnTo>
                  <a:lnTo>
                    <a:pt x="741" y="75"/>
                  </a:lnTo>
                  <a:lnTo>
                    <a:pt x="699" y="92"/>
                  </a:lnTo>
                  <a:lnTo>
                    <a:pt x="657" y="108"/>
                  </a:lnTo>
                  <a:lnTo>
                    <a:pt x="616" y="126"/>
                  </a:lnTo>
                  <a:lnTo>
                    <a:pt x="576" y="144"/>
                  </a:lnTo>
                  <a:lnTo>
                    <a:pt x="537" y="165"/>
                  </a:lnTo>
                  <a:lnTo>
                    <a:pt x="498" y="186"/>
                  </a:lnTo>
                  <a:lnTo>
                    <a:pt x="460" y="210"/>
                  </a:lnTo>
                  <a:lnTo>
                    <a:pt x="423" y="234"/>
                  </a:lnTo>
                  <a:lnTo>
                    <a:pt x="385" y="258"/>
                  </a:lnTo>
                  <a:lnTo>
                    <a:pt x="351" y="285"/>
                  </a:lnTo>
                  <a:lnTo>
                    <a:pt x="316" y="312"/>
                  </a:lnTo>
                  <a:lnTo>
                    <a:pt x="282" y="341"/>
                  </a:lnTo>
                  <a:lnTo>
                    <a:pt x="249" y="371"/>
                  </a:lnTo>
                  <a:lnTo>
                    <a:pt x="217" y="401"/>
                  </a:lnTo>
                  <a:lnTo>
                    <a:pt x="186" y="432"/>
                  </a:lnTo>
                  <a:lnTo>
                    <a:pt x="157" y="464"/>
                  </a:lnTo>
                  <a:lnTo>
                    <a:pt x="127" y="498"/>
                  </a:lnTo>
                  <a:lnTo>
                    <a:pt x="100" y="531"/>
                  </a:lnTo>
                  <a:lnTo>
                    <a:pt x="73" y="567"/>
                  </a:lnTo>
                  <a:lnTo>
                    <a:pt x="48" y="603"/>
                  </a:lnTo>
                  <a:lnTo>
                    <a:pt x="24" y="639"/>
                  </a:lnTo>
                  <a:lnTo>
                    <a:pt x="0" y="677"/>
                  </a:lnTo>
                  <a:lnTo>
                    <a:pt x="304" y="854"/>
                  </a:lnTo>
                  <a:lnTo>
                    <a:pt x="304" y="854"/>
                  </a:lnTo>
                  <a:lnTo>
                    <a:pt x="322" y="825"/>
                  </a:lnTo>
                  <a:lnTo>
                    <a:pt x="340" y="798"/>
                  </a:lnTo>
                  <a:lnTo>
                    <a:pt x="360" y="771"/>
                  </a:lnTo>
                  <a:lnTo>
                    <a:pt x="379" y="746"/>
                  </a:lnTo>
                  <a:lnTo>
                    <a:pt x="400" y="720"/>
                  </a:lnTo>
                  <a:lnTo>
                    <a:pt x="421" y="695"/>
                  </a:lnTo>
                  <a:lnTo>
                    <a:pt x="444" y="671"/>
                  </a:lnTo>
                  <a:lnTo>
                    <a:pt x="468" y="648"/>
                  </a:lnTo>
                  <a:lnTo>
                    <a:pt x="490" y="626"/>
                  </a:lnTo>
                  <a:lnTo>
                    <a:pt x="516" y="603"/>
                  </a:lnTo>
                  <a:lnTo>
                    <a:pt x="540" y="582"/>
                  </a:lnTo>
                  <a:lnTo>
                    <a:pt x="567" y="563"/>
                  </a:lnTo>
                  <a:lnTo>
                    <a:pt x="592" y="543"/>
                  </a:lnTo>
                  <a:lnTo>
                    <a:pt x="619" y="524"/>
                  </a:lnTo>
                  <a:lnTo>
                    <a:pt x="648" y="506"/>
                  </a:lnTo>
                  <a:lnTo>
                    <a:pt x="676" y="489"/>
                  </a:lnTo>
                  <a:lnTo>
                    <a:pt x="705" y="473"/>
                  </a:lnTo>
                  <a:lnTo>
                    <a:pt x="735" y="458"/>
                  </a:lnTo>
                  <a:lnTo>
                    <a:pt x="765" y="444"/>
                  </a:lnTo>
                  <a:lnTo>
                    <a:pt x="795" y="431"/>
                  </a:lnTo>
                  <a:lnTo>
                    <a:pt x="826" y="419"/>
                  </a:lnTo>
                  <a:lnTo>
                    <a:pt x="856" y="407"/>
                  </a:lnTo>
                  <a:lnTo>
                    <a:pt x="889" y="396"/>
                  </a:lnTo>
                  <a:lnTo>
                    <a:pt x="921" y="387"/>
                  </a:lnTo>
                  <a:lnTo>
                    <a:pt x="954" y="378"/>
                  </a:lnTo>
                  <a:lnTo>
                    <a:pt x="987" y="372"/>
                  </a:lnTo>
                  <a:lnTo>
                    <a:pt x="1021" y="365"/>
                  </a:lnTo>
                  <a:lnTo>
                    <a:pt x="1054" y="360"/>
                  </a:lnTo>
                  <a:lnTo>
                    <a:pt x="1089" y="356"/>
                  </a:lnTo>
                  <a:lnTo>
                    <a:pt x="1123" y="353"/>
                  </a:lnTo>
                  <a:lnTo>
                    <a:pt x="1158" y="351"/>
                  </a:lnTo>
                  <a:lnTo>
                    <a:pt x="1194" y="351"/>
                  </a:lnTo>
                  <a:lnTo>
                    <a:pt x="1194" y="351"/>
                  </a:lnTo>
                  <a:close/>
                </a:path>
              </a:pathLst>
            </a:custGeom>
            <a:pattFill prst="wdUpDiag">
              <a:fgClr>
                <a:schemeClr val="accent1">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6" name="Freeform 7">
              <a:extLst>
                <a:ext uri="{FF2B5EF4-FFF2-40B4-BE49-F238E27FC236}">
                  <a16:creationId xmlns:a16="http://schemas.microsoft.com/office/drawing/2014/main" id="{A6F61340-C31F-474E-B34A-D3C0A15FFCF1}"/>
                </a:ext>
              </a:extLst>
            </p:cNvPr>
            <p:cNvSpPr>
              <a:spLocks/>
            </p:cNvSpPr>
            <p:nvPr/>
          </p:nvSpPr>
          <p:spPr bwMode="auto">
            <a:xfrm>
              <a:off x="3216276" y="2293938"/>
              <a:ext cx="2713038" cy="1050925"/>
            </a:xfrm>
            <a:custGeom>
              <a:avLst/>
              <a:gdLst/>
              <a:ahLst/>
              <a:cxnLst>
                <a:cxn ang="0">
                  <a:pos x="854" y="0"/>
                </a:cxn>
                <a:cxn ang="0">
                  <a:pos x="786" y="2"/>
                </a:cxn>
                <a:cxn ang="0">
                  <a:pos x="720" y="9"/>
                </a:cxn>
                <a:cxn ang="0">
                  <a:pos x="656" y="20"/>
                </a:cxn>
                <a:cxn ang="0">
                  <a:pos x="593" y="35"/>
                </a:cxn>
                <a:cxn ang="0">
                  <a:pos x="531" y="54"/>
                </a:cxn>
                <a:cxn ang="0">
                  <a:pos x="471" y="77"/>
                </a:cxn>
                <a:cxn ang="0">
                  <a:pos x="413" y="102"/>
                </a:cxn>
                <a:cxn ang="0">
                  <a:pos x="357" y="132"/>
                </a:cxn>
                <a:cxn ang="0">
                  <a:pos x="303" y="165"/>
                </a:cxn>
                <a:cxn ang="0">
                  <a:pos x="252" y="203"/>
                </a:cxn>
                <a:cxn ang="0">
                  <a:pos x="203" y="242"/>
                </a:cxn>
                <a:cxn ang="0">
                  <a:pos x="156" y="284"/>
                </a:cxn>
                <a:cxn ang="0">
                  <a:pos x="113" y="330"/>
                </a:cxn>
                <a:cxn ang="0">
                  <a:pos x="72" y="378"/>
                </a:cxn>
                <a:cxn ang="0">
                  <a:pos x="35" y="428"/>
                </a:cxn>
                <a:cxn ang="0">
                  <a:pos x="0" y="482"/>
                </a:cxn>
                <a:cxn ang="0">
                  <a:pos x="305" y="657"/>
                </a:cxn>
                <a:cxn ang="0">
                  <a:pos x="351" y="591"/>
                </a:cxn>
                <a:cxn ang="0">
                  <a:pos x="407" y="533"/>
                </a:cxn>
                <a:cxn ang="0">
                  <a:pos x="468" y="480"/>
                </a:cxn>
                <a:cxn ang="0">
                  <a:pos x="536" y="437"/>
                </a:cxn>
                <a:cxn ang="0">
                  <a:pos x="608" y="401"/>
                </a:cxn>
                <a:cxn ang="0">
                  <a:pos x="686" y="374"/>
                </a:cxn>
                <a:cxn ang="0">
                  <a:pos x="768" y="357"/>
                </a:cxn>
                <a:cxn ang="0">
                  <a:pos x="854" y="353"/>
                </a:cxn>
                <a:cxn ang="0">
                  <a:pos x="898" y="354"/>
                </a:cxn>
                <a:cxn ang="0">
                  <a:pos x="982" y="365"/>
                </a:cxn>
                <a:cxn ang="0">
                  <a:pos x="1063" y="387"/>
                </a:cxn>
                <a:cxn ang="0">
                  <a:pos x="1138" y="419"/>
                </a:cxn>
                <a:cxn ang="0">
                  <a:pos x="1210" y="459"/>
                </a:cxn>
                <a:cxn ang="0">
                  <a:pos x="1274" y="507"/>
                </a:cxn>
                <a:cxn ang="0">
                  <a:pos x="1333" y="564"/>
                </a:cxn>
                <a:cxn ang="0">
                  <a:pos x="1382" y="627"/>
                </a:cxn>
                <a:cxn ang="0">
                  <a:pos x="1709" y="486"/>
                </a:cxn>
                <a:cxn ang="0">
                  <a:pos x="1693" y="459"/>
                </a:cxn>
                <a:cxn ang="0">
                  <a:pos x="1657" y="407"/>
                </a:cxn>
                <a:cxn ang="0">
                  <a:pos x="1618" y="357"/>
                </a:cxn>
                <a:cxn ang="0">
                  <a:pos x="1576" y="309"/>
                </a:cxn>
                <a:cxn ang="0">
                  <a:pos x="1531" y="266"/>
                </a:cxn>
                <a:cxn ang="0">
                  <a:pos x="1483" y="224"/>
                </a:cxn>
                <a:cxn ang="0">
                  <a:pos x="1432" y="186"/>
                </a:cxn>
                <a:cxn ang="0">
                  <a:pos x="1379" y="150"/>
                </a:cxn>
                <a:cxn ang="0">
                  <a:pos x="1325" y="119"/>
                </a:cxn>
                <a:cxn ang="0">
                  <a:pos x="1267" y="90"/>
                </a:cxn>
                <a:cxn ang="0">
                  <a:pos x="1208" y="65"/>
                </a:cxn>
                <a:cxn ang="0">
                  <a:pos x="1147" y="44"/>
                </a:cxn>
                <a:cxn ang="0">
                  <a:pos x="1085" y="27"/>
                </a:cxn>
                <a:cxn ang="0">
                  <a:pos x="1021" y="14"/>
                </a:cxn>
                <a:cxn ang="0">
                  <a:pos x="955" y="5"/>
                </a:cxn>
                <a:cxn ang="0">
                  <a:pos x="887" y="0"/>
                </a:cxn>
                <a:cxn ang="0">
                  <a:pos x="854" y="0"/>
                </a:cxn>
              </a:cxnLst>
              <a:rect l="0" t="0" r="r" b="b"/>
              <a:pathLst>
                <a:path w="1709" h="662">
                  <a:moveTo>
                    <a:pt x="854" y="0"/>
                  </a:moveTo>
                  <a:lnTo>
                    <a:pt x="854" y="0"/>
                  </a:lnTo>
                  <a:lnTo>
                    <a:pt x="819" y="0"/>
                  </a:lnTo>
                  <a:lnTo>
                    <a:pt x="786" y="2"/>
                  </a:lnTo>
                  <a:lnTo>
                    <a:pt x="753" y="5"/>
                  </a:lnTo>
                  <a:lnTo>
                    <a:pt x="720" y="9"/>
                  </a:lnTo>
                  <a:lnTo>
                    <a:pt x="687" y="14"/>
                  </a:lnTo>
                  <a:lnTo>
                    <a:pt x="656" y="20"/>
                  </a:lnTo>
                  <a:lnTo>
                    <a:pt x="624" y="27"/>
                  </a:lnTo>
                  <a:lnTo>
                    <a:pt x="593" y="35"/>
                  </a:lnTo>
                  <a:lnTo>
                    <a:pt x="561" y="44"/>
                  </a:lnTo>
                  <a:lnTo>
                    <a:pt x="531" y="54"/>
                  </a:lnTo>
                  <a:lnTo>
                    <a:pt x="501" y="65"/>
                  </a:lnTo>
                  <a:lnTo>
                    <a:pt x="471" y="77"/>
                  </a:lnTo>
                  <a:lnTo>
                    <a:pt x="441" y="89"/>
                  </a:lnTo>
                  <a:lnTo>
                    <a:pt x="413" y="102"/>
                  </a:lnTo>
                  <a:lnTo>
                    <a:pt x="384" y="117"/>
                  </a:lnTo>
                  <a:lnTo>
                    <a:pt x="357" y="132"/>
                  </a:lnTo>
                  <a:lnTo>
                    <a:pt x="330" y="149"/>
                  </a:lnTo>
                  <a:lnTo>
                    <a:pt x="303" y="165"/>
                  </a:lnTo>
                  <a:lnTo>
                    <a:pt x="278" y="183"/>
                  </a:lnTo>
                  <a:lnTo>
                    <a:pt x="252" y="203"/>
                  </a:lnTo>
                  <a:lnTo>
                    <a:pt x="227" y="222"/>
                  </a:lnTo>
                  <a:lnTo>
                    <a:pt x="203" y="242"/>
                  </a:lnTo>
                  <a:lnTo>
                    <a:pt x="180" y="263"/>
                  </a:lnTo>
                  <a:lnTo>
                    <a:pt x="156" y="284"/>
                  </a:lnTo>
                  <a:lnTo>
                    <a:pt x="135" y="306"/>
                  </a:lnTo>
                  <a:lnTo>
                    <a:pt x="113" y="330"/>
                  </a:lnTo>
                  <a:lnTo>
                    <a:pt x="93" y="353"/>
                  </a:lnTo>
                  <a:lnTo>
                    <a:pt x="72" y="378"/>
                  </a:lnTo>
                  <a:lnTo>
                    <a:pt x="53" y="402"/>
                  </a:lnTo>
                  <a:lnTo>
                    <a:pt x="35" y="428"/>
                  </a:lnTo>
                  <a:lnTo>
                    <a:pt x="17" y="455"/>
                  </a:lnTo>
                  <a:lnTo>
                    <a:pt x="0" y="482"/>
                  </a:lnTo>
                  <a:lnTo>
                    <a:pt x="305" y="657"/>
                  </a:lnTo>
                  <a:lnTo>
                    <a:pt x="305" y="657"/>
                  </a:lnTo>
                  <a:lnTo>
                    <a:pt x="327" y="623"/>
                  </a:lnTo>
                  <a:lnTo>
                    <a:pt x="351" y="591"/>
                  </a:lnTo>
                  <a:lnTo>
                    <a:pt x="378" y="561"/>
                  </a:lnTo>
                  <a:lnTo>
                    <a:pt x="407" y="533"/>
                  </a:lnTo>
                  <a:lnTo>
                    <a:pt x="437" y="506"/>
                  </a:lnTo>
                  <a:lnTo>
                    <a:pt x="468" y="480"/>
                  </a:lnTo>
                  <a:lnTo>
                    <a:pt x="501" y="458"/>
                  </a:lnTo>
                  <a:lnTo>
                    <a:pt x="536" y="437"/>
                  </a:lnTo>
                  <a:lnTo>
                    <a:pt x="572" y="417"/>
                  </a:lnTo>
                  <a:lnTo>
                    <a:pt x="608" y="401"/>
                  </a:lnTo>
                  <a:lnTo>
                    <a:pt x="647" y="386"/>
                  </a:lnTo>
                  <a:lnTo>
                    <a:pt x="686" y="374"/>
                  </a:lnTo>
                  <a:lnTo>
                    <a:pt x="726" y="365"/>
                  </a:lnTo>
                  <a:lnTo>
                    <a:pt x="768" y="357"/>
                  </a:lnTo>
                  <a:lnTo>
                    <a:pt x="810" y="354"/>
                  </a:lnTo>
                  <a:lnTo>
                    <a:pt x="854" y="353"/>
                  </a:lnTo>
                  <a:lnTo>
                    <a:pt x="854" y="353"/>
                  </a:lnTo>
                  <a:lnTo>
                    <a:pt x="898" y="354"/>
                  </a:lnTo>
                  <a:lnTo>
                    <a:pt x="940" y="357"/>
                  </a:lnTo>
                  <a:lnTo>
                    <a:pt x="982" y="365"/>
                  </a:lnTo>
                  <a:lnTo>
                    <a:pt x="1022" y="375"/>
                  </a:lnTo>
                  <a:lnTo>
                    <a:pt x="1063" y="387"/>
                  </a:lnTo>
                  <a:lnTo>
                    <a:pt x="1100" y="401"/>
                  </a:lnTo>
                  <a:lnTo>
                    <a:pt x="1138" y="419"/>
                  </a:lnTo>
                  <a:lnTo>
                    <a:pt x="1174" y="437"/>
                  </a:lnTo>
                  <a:lnTo>
                    <a:pt x="1210" y="459"/>
                  </a:lnTo>
                  <a:lnTo>
                    <a:pt x="1243" y="482"/>
                  </a:lnTo>
                  <a:lnTo>
                    <a:pt x="1274" y="507"/>
                  </a:lnTo>
                  <a:lnTo>
                    <a:pt x="1304" y="534"/>
                  </a:lnTo>
                  <a:lnTo>
                    <a:pt x="1333" y="564"/>
                  </a:lnTo>
                  <a:lnTo>
                    <a:pt x="1358" y="594"/>
                  </a:lnTo>
                  <a:lnTo>
                    <a:pt x="1382" y="627"/>
                  </a:lnTo>
                  <a:lnTo>
                    <a:pt x="1405" y="662"/>
                  </a:lnTo>
                  <a:lnTo>
                    <a:pt x="1709" y="486"/>
                  </a:lnTo>
                  <a:lnTo>
                    <a:pt x="1709" y="486"/>
                  </a:lnTo>
                  <a:lnTo>
                    <a:pt x="1693" y="459"/>
                  </a:lnTo>
                  <a:lnTo>
                    <a:pt x="1675" y="432"/>
                  </a:lnTo>
                  <a:lnTo>
                    <a:pt x="1657" y="407"/>
                  </a:lnTo>
                  <a:lnTo>
                    <a:pt x="1637" y="381"/>
                  </a:lnTo>
                  <a:lnTo>
                    <a:pt x="1618" y="357"/>
                  </a:lnTo>
                  <a:lnTo>
                    <a:pt x="1597" y="333"/>
                  </a:lnTo>
                  <a:lnTo>
                    <a:pt x="1576" y="309"/>
                  </a:lnTo>
                  <a:lnTo>
                    <a:pt x="1553" y="287"/>
                  </a:lnTo>
                  <a:lnTo>
                    <a:pt x="1531" y="266"/>
                  </a:lnTo>
                  <a:lnTo>
                    <a:pt x="1507" y="245"/>
                  </a:lnTo>
                  <a:lnTo>
                    <a:pt x="1483" y="224"/>
                  </a:lnTo>
                  <a:lnTo>
                    <a:pt x="1457" y="204"/>
                  </a:lnTo>
                  <a:lnTo>
                    <a:pt x="1432" y="186"/>
                  </a:lnTo>
                  <a:lnTo>
                    <a:pt x="1406" y="168"/>
                  </a:lnTo>
                  <a:lnTo>
                    <a:pt x="1379" y="150"/>
                  </a:lnTo>
                  <a:lnTo>
                    <a:pt x="1352" y="134"/>
                  </a:lnTo>
                  <a:lnTo>
                    <a:pt x="1325" y="119"/>
                  </a:lnTo>
                  <a:lnTo>
                    <a:pt x="1297" y="104"/>
                  </a:lnTo>
                  <a:lnTo>
                    <a:pt x="1267" y="90"/>
                  </a:lnTo>
                  <a:lnTo>
                    <a:pt x="1238" y="77"/>
                  </a:lnTo>
                  <a:lnTo>
                    <a:pt x="1208" y="65"/>
                  </a:lnTo>
                  <a:lnTo>
                    <a:pt x="1178" y="54"/>
                  </a:lnTo>
                  <a:lnTo>
                    <a:pt x="1147" y="44"/>
                  </a:lnTo>
                  <a:lnTo>
                    <a:pt x="1117" y="35"/>
                  </a:lnTo>
                  <a:lnTo>
                    <a:pt x="1085" y="27"/>
                  </a:lnTo>
                  <a:lnTo>
                    <a:pt x="1052" y="20"/>
                  </a:lnTo>
                  <a:lnTo>
                    <a:pt x="1021" y="14"/>
                  </a:lnTo>
                  <a:lnTo>
                    <a:pt x="988" y="9"/>
                  </a:lnTo>
                  <a:lnTo>
                    <a:pt x="955" y="5"/>
                  </a:lnTo>
                  <a:lnTo>
                    <a:pt x="922" y="2"/>
                  </a:lnTo>
                  <a:lnTo>
                    <a:pt x="887" y="0"/>
                  </a:lnTo>
                  <a:lnTo>
                    <a:pt x="854" y="0"/>
                  </a:lnTo>
                  <a:lnTo>
                    <a:pt x="854"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7" name="Freeform 8">
              <a:extLst>
                <a:ext uri="{FF2B5EF4-FFF2-40B4-BE49-F238E27FC236}">
                  <a16:creationId xmlns:a16="http://schemas.microsoft.com/office/drawing/2014/main" id="{B82DAD29-5F0A-43D9-8A4A-88C2B43F8DE9}"/>
                </a:ext>
              </a:extLst>
            </p:cNvPr>
            <p:cNvSpPr>
              <a:spLocks/>
            </p:cNvSpPr>
            <p:nvPr/>
          </p:nvSpPr>
          <p:spPr bwMode="auto">
            <a:xfrm>
              <a:off x="2363788" y="2803525"/>
              <a:ext cx="2176463" cy="3282950"/>
            </a:xfrm>
            <a:custGeom>
              <a:avLst/>
              <a:gdLst/>
              <a:ahLst/>
              <a:cxnLst>
                <a:cxn ang="0">
                  <a:pos x="1371" y="1715"/>
                </a:cxn>
                <a:cxn ang="0">
                  <a:pos x="1266" y="1708"/>
                </a:cxn>
                <a:cxn ang="0">
                  <a:pos x="1166" y="1691"/>
                </a:cxn>
                <a:cxn ang="0">
                  <a:pos x="1067" y="1664"/>
                </a:cxn>
                <a:cxn ang="0">
                  <a:pos x="974" y="1628"/>
                </a:cxn>
                <a:cxn ang="0">
                  <a:pos x="885" y="1583"/>
                </a:cxn>
                <a:cxn ang="0">
                  <a:pos x="801" y="1531"/>
                </a:cxn>
                <a:cxn ang="0">
                  <a:pos x="722" y="1471"/>
                </a:cxn>
                <a:cxn ang="0">
                  <a:pos x="650" y="1405"/>
                </a:cxn>
                <a:cxn ang="0">
                  <a:pos x="584" y="1331"/>
                </a:cxn>
                <a:cxn ang="0">
                  <a:pos x="525" y="1252"/>
                </a:cxn>
                <a:cxn ang="0">
                  <a:pos x="474" y="1166"/>
                </a:cxn>
                <a:cxn ang="0">
                  <a:pos x="431" y="1076"/>
                </a:cxn>
                <a:cxn ang="0">
                  <a:pos x="398" y="982"/>
                </a:cxn>
                <a:cxn ang="0">
                  <a:pos x="372" y="883"/>
                </a:cxn>
                <a:cxn ang="0">
                  <a:pos x="357" y="781"/>
                </a:cxn>
                <a:cxn ang="0">
                  <a:pos x="351" y="677"/>
                </a:cxn>
                <a:cxn ang="0">
                  <a:pos x="351" y="642"/>
                </a:cxn>
                <a:cxn ang="0">
                  <a:pos x="356" y="575"/>
                </a:cxn>
                <a:cxn ang="0">
                  <a:pos x="365" y="510"/>
                </a:cxn>
                <a:cxn ang="0">
                  <a:pos x="377" y="446"/>
                </a:cxn>
                <a:cxn ang="0">
                  <a:pos x="393" y="383"/>
                </a:cxn>
                <a:cxn ang="0">
                  <a:pos x="414" y="321"/>
                </a:cxn>
                <a:cxn ang="0">
                  <a:pos x="438" y="261"/>
                </a:cxn>
                <a:cxn ang="0">
                  <a:pos x="465" y="204"/>
                </a:cxn>
                <a:cxn ang="0">
                  <a:pos x="176" y="0"/>
                </a:cxn>
                <a:cxn ang="0">
                  <a:pos x="155" y="38"/>
                </a:cxn>
                <a:cxn ang="0">
                  <a:pos x="117" y="116"/>
                </a:cxn>
                <a:cxn ang="0">
                  <a:pos x="84" y="197"/>
                </a:cxn>
                <a:cxn ang="0">
                  <a:pos x="57" y="279"/>
                </a:cxn>
                <a:cxn ang="0">
                  <a:pos x="35" y="365"/>
                </a:cxn>
                <a:cxn ang="0">
                  <a:pos x="18" y="452"/>
                </a:cxn>
                <a:cxn ang="0">
                  <a:pos x="6" y="540"/>
                </a:cxn>
                <a:cxn ang="0">
                  <a:pos x="0" y="632"/>
                </a:cxn>
                <a:cxn ang="0">
                  <a:pos x="0" y="677"/>
                </a:cxn>
                <a:cxn ang="0">
                  <a:pos x="6" y="818"/>
                </a:cxn>
                <a:cxn ang="0">
                  <a:pos x="27" y="956"/>
                </a:cxn>
                <a:cxn ang="0">
                  <a:pos x="62" y="1088"/>
                </a:cxn>
                <a:cxn ang="0">
                  <a:pos x="107" y="1216"/>
                </a:cxn>
                <a:cxn ang="0">
                  <a:pos x="165" y="1336"/>
                </a:cxn>
                <a:cxn ang="0">
                  <a:pos x="233" y="1450"/>
                </a:cxn>
                <a:cxn ang="0">
                  <a:pos x="312" y="1556"/>
                </a:cxn>
                <a:cxn ang="0">
                  <a:pos x="401" y="1655"/>
                </a:cxn>
                <a:cxn ang="0">
                  <a:pos x="498" y="1745"/>
                </a:cxn>
                <a:cxn ang="0">
                  <a:pos x="603" y="1825"/>
                </a:cxn>
                <a:cxn ang="0">
                  <a:pos x="717" y="1895"/>
                </a:cxn>
                <a:cxn ang="0">
                  <a:pos x="836" y="1954"/>
                </a:cxn>
                <a:cxn ang="0">
                  <a:pos x="963" y="2002"/>
                </a:cxn>
                <a:cxn ang="0">
                  <a:pos x="1094" y="2036"/>
                </a:cxn>
                <a:cxn ang="0">
                  <a:pos x="1230" y="2060"/>
                </a:cxn>
                <a:cxn ang="0">
                  <a:pos x="1371" y="2068"/>
                </a:cxn>
              </a:cxnLst>
              <a:rect l="0" t="0" r="r" b="b"/>
              <a:pathLst>
                <a:path w="1371" h="2068">
                  <a:moveTo>
                    <a:pt x="1371" y="1715"/>
                  </a:moveTo>
                  <a:lnTo>
                    <a:pt x="1371" y="1715"/>
                  </a:lnTo>
                  <a:lnTo>
                    <a:pt x="1319" y="1714"/>
                  </a:lnTo>
                  <a:lnTo>
                    <a:pt x="1266" y="1708"/>
                  </a:lnTo>
                  <a:lnTo>
                    <a:pt x="1215" y="1700"/>
                  </a:lnTo>
                  <a:lnTo>
                    <a:pt x="1166" y="1691"/>
                  </a:lnTo>
                  <a:lnTo>
                    <a:pt x="1116" y="1679"/>
                  </a:lnTo>
                  <a:lnTo>
                    <a:pt x="1067" y="1664"/>
                  </a:lnTo>
                  <a:lnTo>
                    <a:pt x="1020" y="1648"/>
                  </a:lnTo>
                  <a:lnTo>
                    <a:pt x="974" y="1628"/>
                  </a:lnTo>
                  <a:lnTo>
                    <a:pt x="929" y="1607"/>
                  </a:lnTo>
                  <a:lnTo>
                    <a:pt x="885" y="1583"/>
                  </a:lnTo>
                  <a:lnTo>
                    <a:pt x="842" y="1559"/>
                  </a:lnTo>
                  <a:lnTo>
                    <a:pt x="801" y="1531"/>
                  </a:lnTo>
                  <a:lnTo>
                    <a:pt x="761" y="1502"/>
                  </a:lnTo>
                  <a:lnTo>
                    <a:pt x="722" y="1471"/>
                  </a:lnTo>
                  <a:lnTo>
                    <a:pt x="686" y="1439"/>
                  </a:lnTo>
                  <a:lnTo>
                    <a:pt x="650" y="1405"/>
                  </a:lnTo>
                  <a:lnTo>
                    <a:pt x="615" y="1369"/>
                  </a:lnTo>
                  <a:lnTo>
                    <a:pt x="584" y="1331"/>
                  </a:lnTo>
                  <a:lnTo>
                    <a:pt x="554" y="1292"/>
                  </a:lnTo>
                  <a:lnTo>
                    <a:pt x="525" y="1252"/>
                  </a:lnTo>
                  <a:lnTo>
                    <a:pt x="498" y="1210"/>
                  </a:lnTo>
                  <a:lnTo>
                    <a:pt x="474" y="1166"/>
                  </a:lnTo>
                  <a:lnTo>
                    <a:pt x="452" y="1123"/>
                  </a:lnTo>
                  <a:lnTo>
                    <a:pt x="431" y="1076"/>
                  </a:lnTo>
                  <a:lnTo>
                    <a:pt x="413" y="1030"/>
                  </a:lnTo>
                  <a:lnTo>
                    <a:pt x="398" y="982"/>
                  </a:lnTo>
                  <a:lnTo>
                    <a:pt x="383" y="934"/>
                  </a:lnTo>
                  <a:lnTo>
                    <a:pt x="372" y="883"/>
                  </a:lnTo>
                  <a:lnTo>
                    <a:pt x="363" y="833"/>
                  </a:lnTo>
                  <a:lnTo>
                    <a:pt x="357" y="781"/>
                  </a:lnTo>
                  <a:lnTo>
                    <a:pt x="353" y="730"/>
                  </a:lnTo>
                  <a:lnTo>
                    <a:pt x="351" y="677"/>
                  </a:lnTo>
                  <a:lnTo>
                    <a:pt x="351" y="677"/>
                  </a:lnTo>
                  <a:lnTo>
                    <a:pt x="351" y="642"/>
                  </a:lnTo>
                  <a:lnTo>
                    <a:pt x="354" y="609"/>
                  </a:lnTo>
                  <a:lnTo>
                    <a:pt x="356" y="575"/>
                  </a:lnTo>
                  <a:lnTo>
                    <a:pt x="360" y="542"/>
                  </a:lnTo>
                  <a:lnTo>
                    <a:pt x="365" y="510"/>
                  </a:lnTo>
                  <a:lnTo>
                    <a:pt x="371" y="477"/>
                  </a:lnTo>
                  <a:lnTo>
                    <a:pt x="377" y="446"/>
                  </a:lnTo>
                  <a:lnTo>
                    <a:pt x="384" y="414"/>
                  </a:lnTo>
                  <a:lnTo>
                    <a:pt x="393" y="383"/>
                  </a:lnTo>
                  <a:lnTo>
                    <a:pt x="404" y="351"/>
                  </a:lnTo>
                  <a:lnTo>
                    <a:pt x="414" y="321"/>
                  </a:lnTo>
                  <a:lnTo>
                    <a:pt x="425" y="291"/>
                  </a:lnTo>
                  <a:lnTo>
                    <a:pt x="438" y="261"/>
                  </a:lnTo>
                  <a:lnTo>
                    <a:pt x="450" y="233"/>
                  </a:lnTo>
                  <a:lnTo>
                    <a:pt x="465" y="204"/>
                  </a:lnTo>
                  <a:lnTo>
                    <a:pt x="480" y="176"/>
                  </a:lnTo>
                  <a:lnTo>
                    <a:pt x="176" y="0"/>
                  </a:lnTo>
                  <a:lnTo>
                    <a:pt x="176" y="0"/>
                  </a:lnTo>
                  <a:lnTo>
                    <a:pt x="155" y="38"/>
                  </a:lnTo>
                  <a:lnTo>
                    <a:pt x="135" y="77"/>
                  </a:lnTo>
                  <a:lnTo>
                    <a:pt x="117" y="116"/>
                  </a:lnTo>
                  <a:lnTo>
                    <a:pt x="101" y="156"/>
                  </a:lnTo>
                  <a:lnTo>
                    <a:pt x="84" y="197"/>
                  </a:lnTo>
                  <a:lnTo>
                    <a:pt x="71" y="237"/>
                  </a:lnTo>
                  <a:lnTo>
                    <a:pt x="57" y="279"/>
                  </a:lnTo>
                  <a:lnTo>
                    <a:pt x="45" y="321"/>
                  </a:lnTo>
                  <a:lnTo>
                    <a:pt x="35" y="365"/>
                  </a:lnTo>
                  <a:lnTo>
                    <a:pt x="26" y="408"/>
                  </a:lnTo>
                  <a:lnTo>
                    <a:pt x="18" y="452"/>
                  </a:lnTo>
                  <a:lnTo>
                    <a:pt x="11" y="497"/>
                  </a:lnTo>
                  <a:lnTo>
                    <a:pt x="6" y="540"/>
                  </a:lnTo>
                  <a:lnTo>
                    <a:pt x="3" y="585"/>
                  </a:lnTo>
                  <a:lnTo>
                    <a:pt x="0" y="632"/>
                  </a:lnTo>
                  <a:lnTo>
                    <a:pt x="0" y="677"/>
                  </a:lnTo>
                  <a:lnTo>
                    <a:pt x="0" y="677"/>
                  </a:lnTo>
                  <a:lnTo>
                    <a:pt x="2" y="749"/>
                  </a:lnTo>
                  <a:lnTo>
                    <a:pt x="6" y="818"/>
                  </a:lnTo>
                  <a:lnTo>
                    <a:pt x="15" y="887"/>
                  </a:lnTo>
                  <a:lnTo>
                    <a:pt x="27" y="956"/>
                  </a:lnTo>
                  <a:lnTo>
                    <a:pt x="42" y="1022"/>
                  </a:lnTo>
                  <a:lnTo>
                    <a:pt x="62" y="1088"/>
                  </a:lnTo>
                  <a:lnTo>
                    <a:pt x="83" y="1153"/>
                  </a:lnTo>
                  <a:lnTo>
                    <a:pt x="107" y="1216"/>
                  </a:lnTo>
                  <a:lnTo>
                    <a:pt x="134" y="1276"/>
                  </a:lnTo>
                  <a:lnTo>
                    <a:pt x="165" y="1336"/>
                  </a:lnTo>
                  <a:lnTo>
                    <a:pt x="198" y="1394"/>
                  </a:lnTo>
                  <a:lnTo>
                    <a:pt x="233" y="1450"/>
                  </a:lnTo>
                  <a:lnTo>
                    <a:pt x="272" y="1504"/>
                  </a:lnTo>
                  <a:lnTo>
                    <a:pt x="312" y="1556"/>
                  </a:lnTo>
                  <a:lnTo>
                    <a:pt x="356" y="1607"/>
                  </a:lnTo>
                  <a:lnTo>
                    <a:pt x="401" y="1655"/>
                  </a:lnTo>
                  <a:lnTo>
                    <a:pt x="449" y="1700"/>
                  </a:lnTo>
                  <a:lnTo>
                    <a:pt x="498" y="1745"/>
                  </a:lnTo>
                  <a:lnTo>
                    <a:pt x="549" y="1786"/>
                  </a:lnTo>
                  <a:lnTo>
                    <a:pt x="603" y="1825"/>
                  </a:lnTo>
                  <a:lnTo>
                    <a:pt x="659" y="1861"/>
                  </a:lnTo>
                  <a:lnTo>
                    <a:pt x="717" y="1895"/>
                  </a:lnTo>
                  <a:lnTo>
                    <a:pt x="776" y="1925"/>
                  </a:lnTo>
                  <a:lnTo>
                    <a:pt x="836" y="1954"/>
                  </a:lnTo>
                  <a:lnTo>
                    <a:pt x="899" y="1979"/>
                  </a:lnTo>
                  <a:lnTo>
                    <a:pt x="963" y="2002"/>
                  </a:lnTo>
                  <a:lnTo>
                    <a:pt x="1028" y="2021"/>
                  </a:lnTo>
                  <a:lnTo>
                    <a:pt x="1094" y="2036"/>
                  </a:lnTo>
                  <a:lnTo>
                    <a:pt x="1161" y="2050"/>
                  </a:lnTo>
                  <a:lnTo>
                    <a:pt x="1230" y="2060"/>
                  </a:lnTo>
                  <a:lnTo>
                    <a:pt x="1301" y="2066"/>
                  </a:lnTo>
                  <a:lnTo>
                    <a:pt x="1371" y="2068"/>
                  </a:lnTo>
                  <a:lnTo>
                    <a:pt x="1371" y="1715"/>
                  </a:lnTo>
                  <a:close/>
                </a:path>
              </a:pathLst>
            </a:custGeom>
            <a:pattFill prst="wdUpDiag">
              <a:fgClr>
                <a:schemeClr val="accent5">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8" name="Freeform 9">
              <a:extLst>
                <a:ext uri="{FF2B5EF4-FFF2-40B4-BE49-F238E27FC236}">
                  <a16:creationId xmlns:a16="http://schemas.microsoft.com/office/drawing/2014/main" id="{FF5E7CC1-2873-4417-856C-646CA2BF79AF}"/>
                </a:ext>
              </a:extLst>
            </p:cNvPr>
            <p:cNvSpPr>
              <a:spLocks/>
            </p:cNvSpPr>
            <p:nvPr/>
          </p:nvSpPr>
          <p:spPr bwMode="auto">
            <a:xfrm>
              <a:off x="4608513" y="2811463"/>
              <a:ext cx="2171700" cy="3275013"/>
            </a:xfrm>
            <a:custGeom>
              <a:avLst/>
              <a:gdLst/>
              <a:ahLst/>
              <a:cxnLst>
                <a:cxn ang="0">
                  <a:pos x="891" y="175"/>
                </a:cxn>
                <a:cxn ang="0">
                  <a:pos x="904" y="204"/>
                </a:cxn>
                <a:cxn ang="0">
                  <a:pos x="931" y="261"/>
                </a:cxn>
                <a:cxn ang="0">
                  <a:pos x="955" y="319"/>
                </a:cxn>
                <a:cxn ang="0">
                  <a:pos x="975" y="381"/>
                </a:cxn>
                <a:cxn ang="0">
                  <a:pos x="991" y="442"/>
                </a:cxn>
                <a:cxn ang="0">
                  <a:pos x="1003" y="507"/>
                </a:cxn>
                <a:cxn ang="0">
                  <a:pos x="1011" y="571"/>
                </a:cxn>
                <a:cxn ang="0">
                  <a:pos x="1015" y="637"/>
                </a:cxn>
                <a:cxn ang="0">
                  <a:pos x="1015" y="672"/>
                </a:cxn>
                <a:cxn ang="0">
                  <a:pos x="1011" y="776"/>
                </a:cxn>
                <a:cxn ang="0">
                  <a:pos x="996" y="878"/>
                </a:cxn>
                <a:cxn ang="0">
                  <a:pos x="970" y="977"/>
                </a:cxn>
                <a:cxn ang="0">
                  <a:pos x="936" y="1071"/>
                </a:cxn>
                <a:cxn ang="0">
                  <a:pos x="894" y="1160"/>
                </a:cxn>
                <a:cxn ang="0">
                  <a:pos x="843" y="1245"/>
                </a:cxn>
                <a:cxn ang="0">
                  <a:pos x="784" y="1325"/>
                </a:cxn>
                <a:cxn ang="0">
                  <a:pos x="718" y="1398"/>
                </a:cxn>
                <a:cxn ang="0">
                  <a:pos x="646" y="1466"/>
                </a:cxn>
                <a:cxn ang="0">
                  <a:pos x="568" y="1526"/>
                </a:cxn>
                <a:cxn ang="0">
                  <a:pos x="484" y="1578"/>
                </a:cxn>
                <a:cxn ang="0">
                  <a:pos x="396" y="1622"/>
                </a:cxn>
                <a:cxn ang="0">
                  <a:pos x="303" y="1658"/>
                </a:cxn>
                <a:cxn ang="0">
                  <a:pos x="205" y="1685"/>
                </a:cxn>
                <a:cxn ang="0">
                  <a:pos x="105" y="1703"/>
                </a:cxn>
                <a:cxn ang="0">
                  <a:pos x="0" y="1710"/>
                </a:cxn>
                <a:cxn ang="0">
                  <a:pos x="0" y="2063"/>
                </a:cxn>
                <a:cxn ang="0">
                  <a:pos x="141" y="2054"/>
                </a:cxn>
                <a:cxn ang="0">
                  <a:pos x="276" y="2031"/>
                </a:cxn>
                <a:cxn ang="0">
                  <a:pos x="408" y="1995"/>
                </a:cxn>
                <a:cxn ang="0">
                  <a:pos x="534" y="1947"/>
                </a:cxn>
                <a:cxn ang="0">
                  <a:pos x="652" y="1889"/>
                </a:cxn>
                <a:cxn ang="0">
                  <a:pos x="766" y="1818"/>
                </a:cxn>
                <a:cxn ang="0">
                  <a:pos x="871" y="1739"/>
                </a:cxn>
                <a:cxn ang="0">
                  <a:pos x="967" y="1649"/>
                </a:cxn>
                <a:cxn ang="0">
                  <a:pos x="1056" y="1550"/>
                </a:cxn>
                <a:cxn ang="0">
                  <a:pos x="1135" y="1443"/>
                </a:cxn>
                <a:cxn ang="0">
                  <a:pos x="1203" y="1329"/>
                </a:cxn>
                <a:cxn ang="0">
                  <a:pos x="1261" y="1209"/>
                </a:cxn>
                <a:cxn ang="0">
                  <a:pos x="1306" y="1083"/>
                </a:cxn>
                <a:cxn ang="0">
                  <a:pos x="1341" y="950"/>
                </a:cxn>
                <a:cxn ang="0">
                  <a:pos x="1360" y="813"/>
                </a:cxn>
                <a:cxn ang="0">
                  <a:pos x="1368" y="672"/>
                </a:cxn>
                <a:cxn ang="0">
                  <a:pos x="1366" y="627"/>
                </a:cxn>
                <a:cxn ang="0">
                  <a:pos x="1362" y="537"/>
                </a:cxn>
                <a:cxn ang="0">
                  <a:pos x="1350" y="448"/>
                </a:cxn>
                <a:cxn ang="0">
                  <a:pos x="1333" y="361"/>
                </a:cxn>
                <a:cxn ang="0">
                  <a:pos x="1311" y="277"/>
                </a:cxn>
                <a:cxn ang="0">
                  <a:pos x="1284" y="195"/>
                </a:cxn>
                <a:cxn ang="0">
                  <a:pos x="1251" y="115"/>
                </a:cxn>
                <a:cxn ang="0">
                  <a:pos x="1215" y="37"/>
                </a:cxn>
                <a:cxn ang="0">
                  <a:pos x="1195" y="0"/>
                </a:cxn>
              </a:cxnLst>
              <a:rect l="0" t="0" r="r" b="b"/>
              <a:pathLst>
                <a:path w="1368" h="2063">
                  <a:moveTo>
                    <a:pt x="1195" y="0"/>
                  </a:moveTo>
                  <a:lnTo>
                    <a:pt x="891" y="175"/>
                  </a:lnTo>
                  <a:lnTo>
                    <a:pt x="891" y="175"/>
                  </a:lnTo>
                  <a:lnTo>
                    <a:pt x="904" y="204"/>
                  </a:lnTo>
                  <a:lnTo>
                    <a:pt x="918" y="232"/>
                  </a:lnTo>
                  <a:lnTo>
                    <a:pt x="931" y="261"/>
                  </a:lnTo>
                  <a:lnTo>
                    <a:pt x="943" y="291"/>
                  </a:lnTo>
                  <a:lnTo>
                    <a:pt x="955" y="319"/>
                  </a:lnTo>
                  <a:lnTo>
                    <a:pt x="966" y="349"/>
                  </a:lnTo>
                  <a:lnTo>
                    <a:pt x="975" y="381"/>
                  </a:lnTo>
                  <a:lnTo>
                    <a:pt x="984" y="411"/>
                  </a:lnTo>
                  <a:lnTo>
                    <a:pt x="991" y="442"/>
                  </a:lnTo>
                  <a:lnTo>
                    <a:pt x="997" y="474"/>
                  </a:lnTo>
                  <a:lnTo>
                    <a:pt x="1003" y="507"/>
                  </a:lnTo>
                  <a:lnTo>
                    <a:pt x="1008" y="538"/>
                  </a:lnTo>
                  <a:lnTo>
                    <a:pt x="1011" y="571"/>
                  </a:lnTo>
                  <a:lnTo>
                    <a:pt x="1014" y="604"/>
                  </a:lnTo>
                  <a:lnTo>
                    <a:pt x="1015" y="637"/>
                  </a:lnTo>
                  <a:lnTo>
                    <a:pt x="1015" y="672"/>
                  </a:lnTo>
                  <a:lnTo>
                    <a:pt x="1015" y="672"/>
                  </a:lnTo>
                  <a:lnTo>
                    <a:pt x="1015" y="725"/>
                  </a:lnTo>
                  <a:lnTo>
                    <a:pt x="1011" y="776"/>
                  </a:lnTo>
                  <a:lnTo>
                    <a:pt x="1005" y="828"/>
                  </a:lnTo>
                  <a:lnTo>
                    <a:pt x="996" y="878"/>
                  </a:lnTo>
                  <a:lnTo>
                    <a:pt x="984" y="927"/>
                  </a:lnTo>
                  <a:lnTo>
                    <a:pt x="970" y="977"/>
                  </a:lnTo>
                  <a:lnTo>
                    <a:pt x="954" y="1023"/>
                  </a:lnTo>
                  <a:lnTo>
                    <a:pt x="936" y="1071"/>
                  </a:lnTo>
                  <a:lnTo>
                    <a:pt x="916" y="1116"/>
                  </a:lnTo>
                  <a:lnTo>
                    <a:pt x="894" y="1160"/>
                  </a:lnTo>
                  <a:lnTo>
                    <a:pt x="870" y="1203"/>
                  </a:lnTo>
                  <a:lnTo>
                    <a:pt x="843" y="1245"/>
                  </a:lnTo>
                  <a:lnTo>
                    <a:pt x="814" y="1286"/>
                  </a:lnTo>
                  <a:lnTo>
                    <a:pt x="784" y="1325"/>
                  </a:lnTo>
                  <a:lnTo>
                    <a:pt x="753" y="1362"/>
                  </a:lnTo>
                  <a:lnTo>
                    <a:pt x="718" y="1398"/>
                  </a:lnTo>
                  <a:lnTo>
                    <a:pt x="684" y="1433"/>
                  </a:lnTo>
                  <a:lnTo>
                    <a:pt x="646" y="1466"/>
                  </a:lnTo>
                  <a:lnTo>
                    <a:pt x="609" y="1496"/>
                  </a:lnTo>
                  <a:lnTo>
                    <a:pt x="568" y="1526"/>
                  </a:lnTo>
                  <a:lnTo>
                    <a:pt x="528" y="1553"/>
                  </a:lnTo>
                  <a:lnTo>
                    <a:pt x="484" y="1578"/>
                  </a:lnTo>
                  <a:lnTo>
                    <a:pt x="441" y="1601"/>
                  </a:lnTo>
                  <a:lnTo>
                    <a:pt x="396" y="1622"/>
                  </a:lnTo>
                  <a:lnTo>
                    <a:pt x="349" y="1641"/>
                  </a:lnTo>
                  <a:lnTo>
                    <a:pt x="303" y="1658"/>
                  </a:lnTo>
                  <a:lnTo>
                    <a:pt x="255" y="1673"/>
                  </a:lnTo>
                  <a:lnTo>
                    <a:pt x="205" y="1685"/>
                  </a:lnTo>
                  <a:lnTo>
                    <a:pt x="154" y="1695"/>
                  </a:lnTo>
                  <a:lnTo>
                    <a:pt x="105" y="1703"/>
                  </a:lnTo>
                  <a:lnTo>
                    <a:pt x="52" y="1707"/>
                  </a:lnTo>
                  <a:lnTo>
                    <a:pt x="0" y="1710"/>
                  </a:lnTo>
                  <a:lnTo>
                    <a:pt x="0" y="2063"/>
                  </a:lnTo>
                  <a:lnTo>
                    <a:pt x="0" y="2063"/>
                  </a:lnTo>
                  <a:lnTo>
                    <a:pt x="70" y="2061"/>
                  </a:lnTo>
                  <a:lnTo>
                    <a:pt x="141" y="2054"/>
                  </a:lnTo>
                  <a:lnTo>
                    <a:pt x="208" y="2045"/>
                  </a:lnTo>
                  <a:lnTo>
                    <a:pt x="276" y="2031"/>
                  </a:lnTo>
                  <a:lnTo>
                    <a:pt x="343" y="2015"/>
                  </a:lnTo>
                  <a:lnTo>
                    <a:pt x="408" y="1995"/>
                  </a:lnTo>
                  <a:lnTo>
                    <a:pt x="471" y="1973"/>
                  </a:lnTo>
                  <a:lnTo>
                    <a:pt x="534" y="1947"/>
                  </a:lnTo>
                  <a:lnTo>
                    <a:pt x="594" y="1920"/>
                  </a:lnTo>
                  <a:lnTo>
                    <a:pt x="652" y="1889"/>
                  </a:lnTo>
                  <a:lnTo>
                    <a:pt x="711" y="1854"/>
                  </a:lnTo>
                  <a:lnTo>
                    <a:pt x="766" y="1818"/>
                  </a:lnTo>
                  <a:lnTo>
                    <a:pt x="819" y="1779"/>
                  </a:lnTo>
                  <a:lnTo>
                    <a:pt x="871" y="1739"/>
                  </a:lnTo>
                  <a:lnTo>
                    <a:pt x="921" y="1695"/>
                  </a:lnTo>
                  <a:lnTo>
                    <a:pt x="967" y="1649"/>
                  </a:lnTo>
                  <a:lnTo>
                    <a:pt x="1014" y="1601"/>
                  </a:lnTo>
                  <a:lnTo>
                    <a:pt x="1056" y="1550"/>
                  </a:lnTo>
                  <a:lnTo>
                    <a:pt x="1096" y="1497"/>
                  </a:lnTo>
                  <a:lnTo>
                    <a:pt x="1135" y="1443"/>
                  </a:lnTo>
                  <a:lnTo>
                    <a:pt x="1170" y="1388"/>
                  </a:lnTo>
                  <a:lnTo>
                    <a:pt x="1203" y="1329"/>
                  </a:lnTo>
                  <a:lnTo>
                    <a:pt x="1233" y="1271"/>
                  </a:lnTo>
                  <a:lnTo>
                    <a:pt x="1261" y="1209"/>
                  </a:lnTo>
                  <a:lnTo>
                    <a:pt x="1285" y="1146"/>
                  </a:lnTo>
                  <a:lnTo>
                    <a:pt x="1306" y="1083"/>
                  </a:lnTo>
                  <a:lnTo>
                    <a:pt x="1324" y="1017"/>
                  </a:lnTo>
                  <a:lnTo>
                    <a:pt x="1341" y="950"/>
                  </a:lnTo>
                  <a:lnTo>
                    <a:pt x="1353" y="882"/>
                  </a:lnTo>
                  <a:lnTo>
                    <a:pt x="1360" y="813"/>
                  </a:lnTo>
                  <a:lnTo>
                    <a:pt x="1366" y="744"/>
                  </a:lnTo>
                  <a:lnTo>
                    <a:pt x="1368" y="672"/>
                  </a:lnTo>
                  <a:lnTo>
                    <a:pt x="1368" y="672"/>
                  </a:lnTo>
                  <a:lnTo>
                    <a:pt x="1366" y="627"/>
                  </a:lnTo>
                  <a:lnTo>
                    <a:pt x="1365" y="582"/>
                  </a:lnTo>
                  <a:lnTo>
                    <a:pt x="1362" y="537"/>
                  </a:lnTo>
                  <a:lnTo>
                    <a:pt x="1356" y="492"/>
                  </a:lnTo>
                  <a:lnTo>
                    <a:pt x="1350" y="448"/>
                  </a:lnTo>
                  <a:lnTo>
                    <a:pt x="1342" y="405"/>
                  </a:lnTo>
                  <a:lnTo>
                    <a:pt x="1333" y="361"/>
                  </a:lnTo>
                  <a:lnTo>
                    <a:pt x="1323" y="319"/>
                  </a:lnTo>
                  <a:lnTo>
                    <a:pt x="1311" y="277"/>
                  </a:lnTo>
                  <a:lnTo>
                    <a:pt x="1297" y="235"/>
                  </a:lnTo>
                  <a:lnTo>
                    <a:pt x="1284" y="195"/>
                  </a:lnTo>
                  <a:lnTo>
                    <a:pt x="1269" y="154"/>
                  </a:lnTo>
                  <a:lnTo>
                    <a:pt x="1251" y="115"/>
                  </a:lnTo>
                  <a:lnTo>
                    <a:pt x="1234" y="76"/>
                  </a:lnTo>
                  <a:lnTo>
                    <a:pt x="1215" y="37"/>
                  </a:lnTo>
                  <a:lnTo>
                    <a:pt x="1195" y="0"/>
                  </a:lnTo>
                  <a:lnTo>
                    <a:pt x="1195" y="0"/>
                  </a:lnTo>
                  <a:close/>
                </a:path>
              </a:pathLst>
            </a:custGeom>
            <a:pattFill prst="wdUpDiag">
              <a:fgClr>
                <a:schemeClr val="accent3">
                  <a:lumMod val="20000"/>
                  <a:lumOff val="80000"/>
                </a:schemeClr>
              </a:fgClr>
              <a:bgClr>
                <a:schemeClr val="bg1"/>
              </a:bgClr>
            </a:patt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9" name="Freeform 10">
              <a:extLst>
                <a:ext uri="{FF2B5EF4-FFF2-40B4-BE49-F238E27FC236}">
                  <a16:creationId xmlns:a16="http://schemas.microsoft.com/office/drawing/2014/main" id="{62A6EB4E-9173-4FE4-BC41-2BD59203EEBE}"/>
                </a:ext>
              </a:extLst>
            </p:cNvPr>
            <p:cNvSpPr>
              <a:spLocks/>
            </p:cNvSpPr>
            <p:nvPr/>
          </p:nvSpPr>
          <p:spPr bwMode="auto">
            <a:xfrm>
              <a:off x="2987676" y="3116263"/>
              <a:ext cx="1552575" cy="2343150"/>
            </a:xfrm>
            <a:custGeom>
              <a:avLst/>
              <a:gdLst/>
              <a:ahLst/>
              <a:cxnLst>
                <a:cxn ang="0">
                  <a:pos x="978" y="1127"/>
                </a:cxn>
                <a:cxn ang="0">
                  <a:pos x="914" y="1122"/>
                </a:cxn>
                <a:cxn ang="0">
                  <a:pos x="851" y="1110"/>
                </a:cxn>
                <a:cxn ang="0">
                  <a:pos x="791" y="1094"/>
                </a:cxn>
                <a:cxn ang="0">
                  <a:pos x="734" y="1071"/>
                </a:cxn>
                <a:cxn ang="0">
                  <a:pos x="678" y="1043"/>
                </a:cxn>
                <a:cxn ang="0">
                  <a:pos x="627" y="1010"/>
                </a:cxn>
                <a:cxn ang="0">
                  <a:pos x="579" y="972"/>
                </a:cxn>
                <a:cxn ang="0">
                  <a:pos x="534" y="932"/>
                </a:cxn>
                <a:cxn ang="0">
                  <a:pos x="494" y="885"/>
                </a:cxn>
                <a:cxn ang="0">
                  <a:pos x="458" y="836"/>
                </a:cxn>
                <a:cxn ang="0">
                  <a:pos x="426" y="783"/>
                </a:cxn>
                <a:cxn ang="0">
                  <a:pos x="401" y="728"/>
                </a:cxn>
                <a:cxn ang="0">
                  <a:pos x="380" y="669"/>
                </a:cxn>
                <a:cxn ang="0">
                  <a:pos x="363" y="609"/>
                </a:cxn>
                <a:cxn ang="0">
                  <a:pos x="354" y="546"/>
                </a:cxn>
                <a:cxn ang="0">
                  <a:pos x="351" y="480"/>
                </a:cxn>
                <a:cxn ang="0">
                  <a:pos x="353" y="439"/>
                </a:cxn>
                <a:cxn ang="0">
                  <a:pos x="363" y="360"/>
                </a:cxn>
                <a:cxn ang="0">
                  <a:pos x="383" y="283"/>
                </a:cxn>
                <a:cxn ang="0">
                  <a:pos x="410" y="210"/>
                </a:cxn>
                <a:cxn ang="0">
                  <a:pos x="123" y="0"/>
                </a:cxn>
                <a:cxn ang="0">
                  <a:pos x="108" y="27"/>
                </a:cxn>
                <a:cxn ang="0">
                  <a:pos x="83" y="82"/>
                </a:cxn>
                <a:cxn ang="0">
                  <a:pos x="60" y="139"/>
                </a:cxn>
                <a:cxn ang="0">
                  <a:pos x="41" y="198"/>
                </a:cxn>
                <a:cxn ang="0">
                  <a:pos x="26" y="258"/>
                </a:cxn>
                <a:cxn ang="0">
                  <a:pos x="14" y="319"/>
                </a:cxn>
                <a:cxn ang="0">
                  <a:pos x="5" y="382"/>
                </a:cxn>
                <a:cxn ang="0">
                  <a:pos x="0" y="447"/>
                </a:cxn>
                <a:cxn ang="0">
                  <a:pos x="0" y="480"/>
                </a:cxn>
                <a:cxn ang="0">
                  <a:pos x="5" y="581"/>
                </a:cxn>
                <a:cxn ang="0">
                  <a:pos x="20" y="678"/>
                </a:cxn>
                <a:cxn ang="0">
                  <a:pos x="44" y="773"/>
                </a:cxn>
                <a:cxn ang="0">
                  <a:pos x="77" y="863"/>
                </a:cxn>
                <a:cxn ang="0">
                  <a:pos x="119" y="950"/>
                </a:cxn>
                <a:cxn ang="0">
                  <a:pos x="167" y="1031"/>
                </a:cxn>
                <a:cxn ang="0">
                  <a:pos x="224" y="1107"/>
                </a:cxn>
                <a:cxn ang="0">
                  <a:pos x="287" y="1178"/>
                </a:cxn>
                <a:cxn ang="0">
                  <a:pos x="356" y="1242"/>
                </a:cxn>
                <a:cxn ang="0">
                  <a:pos x="431" y="1299"/>
                </a:cxn>
                <a:cxn ang="0">
                  <a:pos x="512" y="1350"/>
                </a:cxn>
                <a:cxn ang="0">
                  <a:pos x="597" y="1392"/>
                </a:cxn>
                <a:cxn ang="0">
                  <a:pos x="687" y="1427"/>
                </a:cxn>
                <a:cxn ang="0">
                  <a:pos x="780" y="1452"/>
                </a:cxn>
                <a:cxn ang="0">
                  <a:pos x="878" y="1469"/>
                </a:cxn>
                <a:cxn ang="0">
                  <a:pos x="978" y="1476"/>
                </a:cxn>
              </a:cxnLst>
              <a:rect l="0" t="0" r="r" b="b"/>
              <a:pathLst>
                <a:path w="978" h="1476">
                  <a:moveTo>
                    <a:pt x="978" y="1127"/>
                  </a:moveTo>
                  <a:lnTo>
                    <a:pt x="978" y="1127"/>
                  </a:lnTo>
                  <a:lnTo>
                    <a:pt x="945" y="1125"/>
                  </a:lnTo>
                  <a:lnTo>
                    <a:pt x="914" y="1122"/>
                  </a:lnTo>
                  <a:lnTo>
                    <a:pt x="882" y="1116"/>
                  </a:lnTo>
                  <a:lnTo>
                    <a:pt x="851" y="1110"/>
                  </a:lnTo>
                  <a:lnTo>
                    <a:pt x="821" y="1103"/>
                  </a:lnTo>
                  <a:lnTo>
                    <a:pt x="791" y="1094"/>
                  </a:lnTo>
                  <a:lnTo>
                    <a:pt x="762" y="1083"/>
                  </a:lnTo>
                  <a:lnTo>
                    <a:pt x="734" y="1071"/>
                  </a:lnTo>
                  <a:lnTo>
                    <a:pt x="705" y="1058"/>
                  </a:lnTo>
                  <a:lnTo>
                    <a:pt x="678" y="1043"/>
                  </a:lnTo>
                  <a:lnTo>
                    <a:pt x="653" y="1028"/>
                  </a:lnTo>
                  <a:lnTo>
                    <a:pt x="627" y="1010"/>
                  </a:lnTo>
                  <a:lnTo>
                    <a:pt x="602" y="992"/>
                  </a:lnTo>
                  <a:lnTo>
                    <a:pt x="579" y="972"/>
                  </a:lnTo>
                  <a:lnTo>
                    <a:pt x="555" y="953"/>
                  </a:lnTo>
                  <a:lnTo>
                    <a:pt x="534" y="932"/>
                  </a:lnTo>
                  <a:lnTo>
                    <a:pt x="513" y="909"/>
                  </a:lnTo>
                  <a:lnTo>
                    <a:pt x="494" y="885"/>
                  </a:lnTo>
                  <a:lnTo>
                    <a:pt x="476" y="861"/>
                  </a:lnTo>
                  <a:lnTo>
                    <a:pt x="458" y="836"/>
                  </a:lnTo>
                  <a:lnTo>
                    <a:pt x="441" y="810"/>
                  </a:lnTo>
                  <a:lnTo>
                    <a:pt x="426" y="783"/>
                  </a:lnTo>
                  <a:lnTo>
                    <a:pt x="413" y="756"/>
                  </a:lnTo>
                  <a:lnTo>
                    <a:pt x="401" y="728"/>
                  </a:lnTo>
                  <a:lnTo>
                    <a:pt x="389" y="699"/>
                  </a:lnTo>
                  <a:lnTo>
                    <a:pt x="380" y="669"/>
                  </a:lnTo>
                  <a:lnTo>
                    <a:pt x="371" y="639"/>
                  </a:lnTo>
                  <a:lnTo>
                    <a:pt x="363" y="609"/>
                  </a:lnTo>
                  <a:lnTo>
                    <a:pt x="359" y="578"/>
                  </a:lnTo>
                  <a:lnTo>
                    <a:pt x="354" y="546"/>
                  </a:lnTo>
                  <a:lnTo>
                    <a:pt x="353" y="513"/>
                  </a:lnTo>
                  <a:lnTo>
                    <a:pt x="351" y="480"/>
                  </a:lnTo>
                  <a:lnTo>
                    <a:pt x="351" y="480"/>
                  </a:lnTo>
                  <a:lnTo>
                    <a:pt x="353" y="439"/>
                  </a:lnTo>
                  <a:lnTo>
                    <a:pt x="356" y="399"/>
                  </a:lnTo>
                  <a:lnTo>
                    <a:pt x="363" y="360"/>
                  </a:lnTo>
                  <a:lnTo>
                    <a:pt x="371" y="321"/>
                  </a:lnTo>
                  <a:lnTo>
                    <a:pt x="383" y="283"/>
                  </a:lnTo>
                  <a:lnTo>
                    <a:pt x="395" y="246"/>
                  </a:lnTo>
                  <a:lnTo>
                    <a:pt x="410" y="210"/>
                  </a:lnTo>
                  <a:lnTo>
                    <a:pt x="428" y="175"/>
                  </a:lnTo>
                  <a:lnTo>
                    <a:pt x="123" y="0"/>
                  </a:lnTo>
                  <a:lnTo>
                    <a:pt x="123" y="0"/>
                  </a:lnTo>
                  <a:lnTo>
                    <a:pt x="108" y="27"/>
                  </a:lnTo>
                  <a:lnTo>
                    <a:pt x="96" y="54"/>
                  </a:lnTo>
                  <a:lnTo>
                    <a:pt x="83" y="82"/>
                  </a:lnTo>
                  <a:lnTo>
                    <a:pt x="71" y="111"/>
                  </a:lnTo>
                  <a:lnTo>
                    <a:pt x="60" y="139"/>
                  </a:lnTo>
                  <a:lnTo>
                    <a:pt x="50" y="168"/>
                  </a:lnTo>
                  <a:lnTo>
                    <a:pt x="41" y="198"/>
                  </a:lnTo>
                  <a:lnTo>
                    <a:pt x="32" y="228"/>
                  </a:lnTo>
                  <a:lnTo>
                    <a:pt x="26" y="258"/>
                  </a:lnTo>
                  <a:lnTo>
                    <a:pt x="18" y="289"/>
                  </a:lnTo>
                  <a:lnTo>
                    <a:pt x="14" y="319"/>
                  </a:lnTo>
                  <a:lnTo>
                    <a:pt x="9" y="351"/>
                  </a:lnTo>
                  <a:lnTo>
                    <a:pt x="5" y="382"/>
                  </a:lnTo>
                  <a:lnTo>
                    <a:pt x="2" y="415"/>
                  </a:lnTo>
                  <a:lnTo>
                    <a:pt x="0" y="447"/>
                  </a:lnTo>
                  <a:lnTo>
                    <a:pt x="0" y="480"/>
                  </a:lnTo>
                  <a:lnTo>
                    <a:pt x="0" y="480"/>
                  </a:lnTo>
                  <a:lnTo>
                    <a:pt x="2" y="530"/>
                  </a:lnTo>
                  <a:lnTo>
                    <a:pt x="5" y="581"/>
                  </a:lnTo>
                  <a:lnTo>
                    <a:pt x="12" y="629"/>
                  </a:lnTo>
                  <a:lnTo>
                    <a:pt x="20" y="678"/>
                  </a:lnTo>
                  <a:lnTo>
                    <a:pt x="32" y="726"/>
                  </a:lnTo>
                  <a:lnTo>
                    <a:pt x="44" y="773"/>
                  </a:lnTo>
                  <a:lnTo>
                    <a:pt x="60" y="818"/>
                  </a:lnTo>
                  <a:lnTo>
                    <a:pt x="77" y="863"/>
                  </a:lnTo>
                  <a:lnTo>
                    <a:pt x="96" y="906"/>
                  </a:lnTo>
                  <a:lnTo>
                    <a:pt x="119" y="950"/>
                  </a:lnTo>
                  <a:lnTo>
                    <a:pt x="141" y="990"/>
                  </a:lnTo>
                  <a:lnTo>
                    <a:pt x="167" y="1031"/>
                  </a:lnTo>
                  <a:lnTo>
                    <a:pt x="194" y="1070"/>
                  </a:lnTo>
                  <a:lnTo>
                    <a:pt x="224" y="1107"/>
                  </a:lnTo>
                  <a:lnTo>
                    <a:pt x="254" y="1143"/>
                  </a:lnTo>
                  <a:lnTo>
                    <a:pt x="287" y="1178"/>
                  </a:lnTo>
                  <a:lnTo>
                    <a:pt x="320" y="1211"/>
                  </a:lnTo>
                  <a:lnTo>
                    <a:pt x="356" y="1242"/>
                  </a:lnTo>
                  <a:lnTo>
                    <a:pt x="393" y="1272"/>
                  </a:lnTo>
                  <a:lnTo>
                    <a:pt x="431" y="1299"/>
                  </a:lnTo>
                  <a:lnTo>
                    <a:pt x="471" y="1326"/>
                  </a:lnTo>
                  <a:lnTo>
                    <a:pt x="512" y="1350"/>
                  </a:lnTo>
                  <a:lnTo>
                    <a:pt x="554" y="1373"/>
                  </a:lnTo>
                  <a:lnTo>
                    <a:pt x="597" y="1392"/>
                  </a:lnTo>
                  <a:lnTo>
                    <a:pt x="642" y="1410"/>
                  </a:lnTo>
                  <a:lnTo>
                    <a:pt x="687" y="1427"/>
                  </a:lnTo>
                  <a:lnTo>
                    <a:pt x="734" y="1442"/>
                  </a:lnTo>
                  <a:lnTo>
                    <a:pt x="780" y="1452"/>
                  </a:lnTo>
                  <a:lnTo>
                    <a:pt x="828" y="1463"/>
                  </a:lnTo>
                  <a:lnTo>
                    <a:pt x="878" y="1469"/>
                  </a:lnTo>
                  <a:lnTo>
                    <a:pt x="927" y="1475"/>
                  </a:lnTo>
                  <a:lnTo>
                    <a:pt x="978" y="1476"/>
                  </a:lnTo>
                  <a:lnTo>
                    <a:pt x="978" y="1127"/>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0" name="Freeform 11">
              <a:extLst>
                <a:ext uri="{FF2B5EF4-FFF2-40B4-BE49-F238E27FC236}">
                  <a16:creationId xmlns:a16="http://schemas.microsoft.com/office/drawing/2014/main" id="{1754F06A-3BBB-45C3-AB6C-B4FF4DAC53A8}"/>
                </a:ext>
              </a:extLst>
            </p:cNvPr>
            <p:cNvSpPr>
              <a:spLocks/>
            </p:cNvSpPr>
            <p:nvPr/>
          </p:nvSpPr>
          <p:spPr bwMode="auto">
            <a:xfrm>
              <a:off x="4608513" y="3122613"/>
              <a:ext cx="1544638" cy="2336800"/>
            </a:xfrm>
            <a:custGeom>
              <a:avLst/>
              <a:gdLst/>
              <a:ahLst/>
              <a:cxnLst>
                <a:cxn ang="0">
                  <a:pos x="549" y="176"/>
                </a:cxn>
                <a:cxn ang="0">
                  <a:pos x="565" y="210"/>
                </a:cxn>
                <a:cxn ang="0">
                  <a:pos x="594" y="282"/>
                </a:cxn>
                <a:cxn ang="0">
                  <a:pos x="612" y="357"/>
                </a:cxn>
                <a:cxn ang="0">
                  <a:pos x="622" y="437"/>
                </a:cxn>
                <a:cxn ang="0">
                  <a:pos x="622" y="476"/>
                </a:cxn>
                <a:cxn ang="0">
                  <a:pos x="619" y="542"/>
                </a:cxn>
                <a:cxn ang="0">
                  <a:pos x="610" y="604"/>
                </a:cxn>
                <a:cxn ang="0">
                  <a:pos x="595" y="665"/>
                </a:cxn>
                <a:cxn ang="0">
                  <a:pos x="574" y="724"/>
                </a:cxn>
                <a:cxn ang="0">
                  <a:pos x="549" y="779"/>
                </a:cxn>
                <a:cxn ang="0">
                  <a:pos x="517" y="832"/>
                </a:cxn>
                <a:cxn ang="0">
                  <a:pos x="481" y="880"/>
                </a:cxn>
                <a:cxn ang="0">
                  <a:pos x="441" y="926"/>
                </a:cxn>
                <a:cxn ang="0">
                  <a:pos x="397" y="968"/>
                </a:cxn>
                <a:cxn ang="0">
                  <a:pos x="349" y="1004"/>
                </a:cxn>
                <a:cxn ang="0">
                  <a:pos x="298" y="1037"/>
                </a:cxn>
                <a:cxn ang="0">
                  <a:pos x="243" y="1066"/>
                </a:cxn>
                <a:cxn ang="0">
                  <a:pos x="186" y="1088"/>
                </a:cxn>
                <a:cxn ang="0">
                  <a:pos x="126" y="1106"/>
                </a:cxn>
                <a:cxn ang="0">
                  <a:pos x="64" y="1117"/>
                </a:cxn>
                <a:cxn ang="0">
                  <a:pos x="0" y="1123"/>
                </a:cxn>
                <a:cxn ang="0">
                  <a:pos x="0" y="1472"/>
                </a:cxn>
                <a:cxn ang="0">
                  <a:pos x="100" y="1465"/>
                </a:cxn>
                <a:cxn ang="0">
                  <a:pos x="196" y="1448"/>
                </a:cxn>
                <a:cxn ang="0">
                  <a:pos x="291" y="1423"/>
                </a:cxn>
                <a:cxn ang="0">
                  <a:pos x="379" y="1388"/>
                </a:cxn>
                <a:cxn ang="0">
                  <a:pos x="465" y="1345"/>
                </a:cxn>
                <a:cxn ang="0">
                  <a:pos x="546" y="1294"/>
                </a:cxn>
                <a:cxn ang="0">
                  <a:pos x="619" y="1237"/>
                </a:cxn>
                <a:cxn ang="0">
                  <a:pos x="690" y="1172"/>
                </a:cxn>
                <a:cxn ang="0">
                  <a:pos x="751" y="1102"/>
                </a:cxn>
                <a:cxn ang="0">
                  <a:pos x="808" y="1025"/>
                </a:cxn>
                <a:cxn ang="0">
                  <a:pos x="856" y="944"/>
                </a:cxn>
                <a:cxn ang="0">
                  <a:pos x="898" y="859"/>
                </a:cxn>
                <a:cxn ang="0">
                  <a:pos x="930" y="767"/>
                </a:cxn>
                <a:cxn ang="0">
                  <a:pos x="954" y="674"/>
                </a:cxn>
                <a:cxn ang="0">
                  <a:pos x="969" y="575"/>
                </a:cxn>
                <a:cxn ang="0">
                  <a:pos x="973" y="476"/>
                </a:cxn>
                <a:cxn ang="0">
                  <a:pos x="973" y="443"/>
                </a:cxn>
                <a:cxn ang="0">
                  <a:pos x="969" y="380"/>
                </a:cxn>
                <a:cxn ang="0">
                  <a:pos x="961" y="317"/>
                </a:cxn>
                <a:cxn ang="0">
                  <a:pos x="949" y="257"/>
                </a:cxn>
                <a:cxn ang="0">
                  <a:pos x="934" y="197"/>
                </a:cxn>
                <a:cxn ang="0">
                  <a:pos x="916" y="138"/>
                </a:cxn>
                <a:cxn ang="0">
                  <a:pos x="894" y="83"/>
                </a:cxn>
                <a:cxn ang="0">
                  <a:pos x="868" y="27"/>
                </a:cxn>
                <a:cxn ang="0">
                  <a:pos x="853" y="0"/>
                </a:cxn>
              </a:cxnLst>
              <a:rect l="0" t="0" r="r" b="b"/>
              <a:pathLst>
                <a:path w="973" h="1472">
                  <a:moveTo>
                    <a:pt x="853" y="0"/>
                  </a:moveTo>
                  <a:lnTo>
                    <a:pt x="549" y="176"/>
                  </a:lnTo>
                  <a:lnTo>
                    <a:pt x="549" y="176"/>
                  </a:lnTo>
                  <a:lnTo>
                    <a:pt x="565" y="210"/>
                  </a:lnTo>
                  <a:lnTo>
                    <a:pt x="580" y="246"/>
                  </a:lnTo>
                  <a:lnTo>
                    <a:pt x="594" y="282"/>
                  </a:lnTo>
                  <a:lnTo>
                    <a:pt x="604" y="320"/>
                  </a:lnTo>
                  <a:lnTo>
                    <a:pt x="612" y="357"/>
                  </a:lnTo>
                  <a:lnTo>
                    <a:pt x="618" y="396"/>
                  </a:lnTo>
                  <a:lnTo>
                    <a:pt x="622" y="437"/>
                  </a:lnTo>
                  <a:lnTo>
                    <a:pt x="622" y="476"/>
                  </a:lnTo>
                  <a:lnTo>
                    <a:pt x="622" y="476"/>
                  </a:lnTo>
                  <a:lnTo>
                    <a:pt x="622" y="509"/>
                  </a:lnTo>
                  <a:lnTo>
                    <a:pt x="619" y="542"/>
                  </a:lnTo>
                  <a:lnTo>
                    <a:pt x="616" y="574"/>
                  </a:lnTo>
                  <a:lnTo>
                    <a:pt x="610" y="604"/>
                  </a:lnTo>
                  <a:lnTo>
                    <a:pt x="603" y="635"/>
                  </a:lnTo>
                  <a:lnTo>
                    <a:pt x="595" y="665"/>
                  </a:lnTo>
                  <a:lnTo>
                    <a:pt x="585" y="694"/>
                  </a:lnTo>
                  <a:lnTo>
                    <a:pt x="574" y="724"/>
                  </a:lnTo>
                  <a:lnTo>
                    <a:pt x="562" y="751"/>
                  </a:lnTo>
                  <a:lnTo>
                    <a:pt x="549" y="779"/>
                  </a:lnTo>
                  <a:lnTo>
                    <a:pt x="534" y="805"/>
                  </a:lnTo>
                  <a:lnTo>
                    <a:pt x="517" y="832"/>
                  </a:lnTo>
                  <a:lnTo>
                    <a:pt x="499" y="856"/>
                  </a:lnTo>
                  <a:lnTo>
                    <a:pt x="481" y="880"/>
                  </a:lnTo>
                  <a:lnTo>
                    <a:pt x="462" y="904"/>
                  </a:lnTo>
                  <a:lnTo>
                    <a:pt x="441" y="926"/>
                  </a:lnTo>
                  <a:lnTo>
                    <a:pt x="420" y="947"/>
                  </a:lnTo>
                  <a:lnTo>
                    <a:pt x="397" y="968"/>
                  </a:lnTo>
                  <a:lnTo>
                    <a:pt x="373" y="986"/>
                  </a:lnTo>
                  <a:lnTo>
                    <a:pt x="349" y="1004"/>
                  </a:lnTo>
                  <a:lnTo>
                    <a:pt x="324" y="1022"/>
                  </a:lnTo>
                  <a:lnTo>
                    <a:pt x="298" y="1037"/>
                  </a:lnTo>
                  <a:lnTo>
                    <a:pt x="271" y="1052"/>
                  </a:lnTo>
                  <a:lnTo>
                    <a:pt x="243" y="1066"/>
                  </a:lnTo>
                  <a:lnTo>
                    <a:pt x="214" y="1078"/>
                  </a:lnTo>
                  <a:lnTo>
                    <a:pt x="186" y="1088"/>
                  </a:lnTo>
                  <a:lnTo>
                    <a:pt x="156" y="1097"/>
                  </a:lnTo>
                  <a:lnTo>
                    <a:pt x="126" y="1106"/>
                  </a:lnTo>
                  <a:lnTo>
                    <a:pt x="96" y="1112"/>
                  </a:lnTo>
                  <a:lnTo>
                    <a:pt x="64" y="1117"/>
                  </a:lnTo>
                  <a:lnTo>
                    <a:pt x="33" y="1121"/>
                  </a:lnTo>
                  <a:lnTo>
                    <a:pt x="0" y="1123"/>
                  </a:lnTo>
                  <a:lnTo>
                    <a:pt x="0" y="1472"/>
                  </a:lnTo>
                  <a:lnTo>
                    <a:pt x="0" y="1472"/>
                  </a:lnTo>
                  <a:lnTo>
                    <a:pt x="51" y="1469"/>
                  </a:lnTo>
                  <a:lnTo>
                    <a:pt x="100" y="1465"/>
                  </a:lnTo>
                  <a:lnTo>
                    <a:pt x="148" y="1457"/>
                  </a:lnTo>
                  <a:lnTo>
                    <a:pt x="196" y="1448"/>
                  </a:lnTo>
                  <a:lnTo>
                    <a:pt x="244" y="1436"/>
                  </a:lnTo>
                  <a:lnTo>
                    <a:pt x="291" y="1423"/>
                  </a:lnTo>
                  <a:lnTo>
                    <a:pt x="336" y="1406"/>
                  </a:lnTo>
                  <a:lnTo>
                    <a:pt x="379" y="1388"/>
                  </a:lnTo>
                  <a:lnTo>
                    <a:pt x="423" y="1367"/>
                  </a:lnTo>
                  <a:lnTo>
                    <a:pt x="465" y="1345"/>
                  </a:lnTo>
                  <a:lnTo>
                    <a:pt x="505" y="1321"/>
                  </a:lnTo>
                  <a:lnTo>
                    <a:pt x="546" y="1294"/>
                  </a:lnTo>
                  <a:lnTo>
                    <a:pt x="583" y="1267"/>
                  </a:lnTo>
                  <a:lnTo>
                    <a:pt x="619" y="1237"/>
                  </a:lnTo>
                  <a:lnTo>
                    <a:pt x="655" y="1205"/>
                  </a:lnTo>
                  <a:lnTo>
                    <a:pt x="690" y="1172"/>
                  </a:lnTo>
                  <a:lnTo>
                    <a:pt x="721" y="1138"/>
                  </a:lnTo>
                  <a:lnTo>
                    <a:pt x="751" y="1102"/>
                  </a:lnTo>
                  <a:lnTo>
                    <a:pt x="781" y="1064"/>
                  </a:lnTo>
                  <a:lnTo>
                    <a:pt x="808" y="1025"/>
                  </a:lnTo>
                  <a:lnTo>
                    <a:pt x="834" y="986"/>
                  </a:lnTo>
                  <a:lnTo>
                    <a:pt x="856" y="944"/>
                  </a:lnTo>
                  <a:lnTo>
                    <a:pt x="879" y="902"/>
                  </a:lnTo>
                  <a:lnTo>
                    <a:pt x="898" y="859"/>
                  </a:lnTo>
                  <a:lnTo>
                    <a:pt x="915" y="814"/>
                  </a:lnTo>
                  <a:lnTo>
                    <a:pt x="930" y="767"/>
                  </a:lnTo>
                  <a:lnTo>
                    <a:pt x="943" y="721"/>
                  </a:lnTo>
                  <a:lnTo>
                    <a:pt x="954" y="674"/>
                  </a:lnTo>
                  <a:lnTo>
                    <a:pt x="963" y="625"/>
                  </a:lnTo>
                  <a:lnTo>
                    <a:pt x="969" y="575"/>
                  </a:lnTo>
                  <a:lnTo>
                    <a:pt x="973" y="526"/>
                  </a:lnTo>
                  <a:lnTo>
                    <a:pt x="973" y="476"/>
                  </a:lnTo>
                  <a:lnTo>
                    <a:pt x="973" y="476"/>
                  </a:lnTo>
                  <a:lnTo>
                    <a:pt x="973" y="443"/>
                  </a:lnTo>
                  <a:lnTo>
                    <a:pt x="972" y="411"/>
                  </a:lnTo>
                  <a:lnTo>
                    <a:pt x="969" y="380"/>
                  </a:lnTo>
                  <a:lnTo>
                    <a:pt x="966" y="348"/>
                  </a:lnTo>
                  <a:lnTo>
                    <a:pt x="961" y="317"/>
                  </a:lnTo>
                  <a:lnTo>
                    <a:pt x="957" y="287"/>
                  </a:lnTo>
                  <a:lnTo>
                    <a:pt x="949" y="257"/>
                  </a:lnTo>
                  <a:lnTo>
                    <a:pt x="943" y="227"/>
                  </a:lnTo>
                  <a:lnTo>
                    <a:pt x="934" y="197"/>
                  </a:lnTo>
                  <a:lnTo>
                    <a:pt x="925" y="168"/>
                  </a:lnTo>
                  <a:lnTo>
                    <a:pt x="916" y="138"/>
                  </a:lnTo>
                  <a:lnTo>
                    <a:pt x="904" y="110"/>
                  </a:lnTo>
                  <a:lnTo>
                    <a:pt x="894" y="83"/>
                  </a:lnTo>
                  <a:lnTo>
                    <a:pt x="880" y="54"/>
                  </a:lnTo>
                  <a:lnTo>
                    <a:pt x="868" y="27"/>
                  </a:lnTo>
                  <a:lnTo>
                    <a:pt x="853" y="0"/>
                  </a:lnTo>
                  <a:lnTo>
                    <a:pt x="853" y="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31" name="TextBox 30">
            <a:extLst>
              <a:ext uri="{FF2B5EF4-FFF2-40B4-BE49-F238E27FC236}">
                <a16:creationId xmlns:a16="http://schemas.microsoft.com/office/drawing/2014/main" id="{4F953A29-1D1E-4A5C-BC8B-807CC26A984E}"/>
              </a:ext>
            </a:extLst>
          </p:cNvPr>
          <p:cNvSpPr txBox="1"/>
          <p:nvPr/>
        </p:nvSpPr>
        <p:spPr bwMode="auto">
          <a:xfrm>
            <a:off x="7488470" y="5241414"/>
            <a:ext cx="287472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2" name="Straight Connector 31">
            <a:extLst>
              <a:ext uri="{FF2B5EF4-FFF2-40B4-BE49-F238E27FC236}">
                <a16:creationId xmlns:a16="http://schemas.microsoft.com/office/drawing/2014/main" id="{B9584CCE-93A1-4BBA-BEC2-87DB2B07AB4B}"/>
              </a:ext>
            </a:extLst>
          </p:cNvPr>
          <p:cNvCxnSpPr/>
          <p:nvPr/>
        </p:nvCxnSpPr>
        <p:spPr bwMode="auto">
          <a:xfrm flipH="1">
            <a:off x="7059468" y="5637414"/>
            <a:ext cx="33037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74163E1-3BE4-42A7-8C9B-C8DBEB87FDCA}"/>
              </a:ext>
            </a:extLst>
          </p:cNvPr>
          <p:cNvSpPr txBox="1"/>
          <p:nvPr/>
        </p:nvSpPr>
        <p:spPr bwMode="auto">
          <a:xfrm>
            <a:off x="7488470" y="1665362"/>
            <a:ext cx="287472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4" name="Straight Connector 33">
            <a:extLst>
              <a:ext uri="{FF2B5EF4-FFF2-40B4-BE49-F238E27FC236}">
                <a16:creationId xmlns:a16="http://schemas.microsoft.com/office/drawing/2014/main" id="{9B2A7E37-399B-4215-9EB5-6E389D6519DE}"/>
              </a:ext>
            </a:extLst>
          </p:cNvPr>
          <p:cNvCxnSpPr/>
          <p:nvPr/>
        </p:nvCxnSpPr>
        <p:spPr bwMode="auto">
          <a:xfrm flipH="1">
            <a:off x="7059468" y="2057221"/>
            <a:ext cx="33037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DEE7D65-EA76-46C7-93A0-755E99978792}"/>
              </a:ext>
            </a:extLst>
          </p:cNvPr>
          <p:cNvSpPr txBox="1"/>
          <p:nvPr/>
        </p:nvSpPr>
        <p:spPr bwMode="auto">
          <a:xfrm>
            <a:off x="7645620" y="2441216"/>
            <a:ext cx="2717576"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6" name="Straight Connector 35">
            <a:extLst>
              <a:ext uri="{FF2B5EF4-FFF2-40B4-BE49-F238E27FC236}">
                <a16:creationId xmlns:a16="http://schemas.microsoft.com/office/drawing/2014/main" id="{A16258B2-C990-4A9B-B940-D38AEDBEF4FD}"/>
              </a:ext>
            </a:extLst>
          </p:cNvPr>
          <p:cNvCxnSpPr/>
          <p:nvPr/>
        </p:nvCxnSpPr>
        <p:spPr bwMode="auto">
          <a:xfrm rot="10800000">
            <a:off x="6850769" y="2833075"/>
            <a:ext cx="3512427"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F4AF0B4-A7F3-4710-8860-6F046E9FC15A}"/>
              </a:ext>
            </a:extLst>
          </p:cNvPr>
          <p:cNvSpPr txBox="1"/>
          <p:nvPr/>
        </p:nvSpPr>
        <p:spPr bwMode="auto">
          <a:xfrm>
            <a:off x="7730605" y="4349002"/>
            <a:ext cx="2632594"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38" name="Straight Connector 37">
            <a:extLst>
              <a:ext uri="{FF2B5EF4-FFF2-40B4-BE49-F238E27FC236}">
                <a16:creationId xmlns:a16="http://schemas.microsoft.com/office/drawing/2014/main" id="{3B350944-8F24-4435-A592-A9C67DD19B9D}"/>
              </a:ext>
            </a:extLst>
          </p:cNvPr>
          <p:cNvCxnSpPr/>
          <p:nvPr/>
        </p:nvCxnSpPr>
        <p:spPr bwMode="auto">
          <a:xfrm flipH="1">
            <a:off x="7337737" y="4745002"/>
            <a:ext cx="302545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9D4AF02-6F3E-466D-92A5-ACBC65A37781}"/>
              </a:ext>
            </a:extLst>
          </p:cNvPr>
          <p:cNvSpPr txBox="1"/>
          <p:nvPr/>
        </p:nvSpPr>
        <p:spPr bwMode="auto">
          <a:xfrm flipH="1">
            <a:off x="1822451" y="5241414"/>
            <a:ext cx="2955592"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0" name="Straight Connector 39">
            <a:extLst>
              <a:ext uri="{FF2B5EF4-FFF2-40B4-BE49-F238E27FC236}">
                <a16:creationId xmlns:a16="http://schemas.microsoft.com/office/drawing/2014/main" id="{5380F9FC-0A0B-4C97-8C4E-689BE2295E8A}"/>
              </a:ext>
            </a:extLst>
          </p:cNvPr>
          <p:cNvCxnSpPr/>
          <p:nvPr/>
        </p:nvCxnSpPr>
        <p:spPr bwMode="auto">
          <a:xfrm>
            <a:off x="1822450" y="5637414"/>
            <a:ext cx="339665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A7D7288-86C4-406F-B1F3-B1CD9BE7ED41}"/>
              </a:ext>
            </a:extLst>
          </p:cNvPr>
          <p:cNvSpPr txBox="1"/>
          <p:nvPr/>
        </p:nvSpPr>
        <p:spPr bwMode="auto">
          <a:xfrm flipH="1">
            <a:off x="1822451" y="4349002"/>
            <a:ext cx="2675529"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2" name="Straight Connector 41">
            <a:extLst>
              <a:ext uri="{FF2B5EF4-FFF2-40B4-BE49-F238E27FC236}">
                <a16:creationId xmlns:a16="http://schemas.microsoft.com/office/drawing/2014/main" id="{A161C94C-463F-42E6-A43E-2773E5448F12}"/>
              </a:ext>
            </a:extLst>
          </p:cNvPr>
          <p:cNvCxnSpPr/>
          <p:nvPr/>
        </p:nvCxnSpPr>
        <p:spPr bwMode="auto">
          <a:xfrm>
            <a:off x="1822450" y="4745002"/>
            <a:ext cx="3074802"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950272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3</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E1A074E4-29FB-4F8D-B24A-E9485C4F296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30" name="Group 35">
            <a:extLst>
              <a:ext uri="{FF2B5EF4-FFF2-40B4-BE49-F238E27FC236}">
                <a16:creationId xmlns:a16="http://schemas.microsoft.com/office/drawing/2014/main" id="{FD437B7F-B0D9-47B6-85EC-60E7AA02157B}"/>
              </a:ext>
            </a:extLst>
          </p:cNvPr>
          <p:cNvGrpSpPr/>
          <p:nvPr/>
        </p:nvGrpSpPr>
        <p:grpSpPr bwMode="auto">
          <a:xfrm>
            <a:off x="3903939" y="1666800"/>
            <a:ext cx="4416426" cy="4416425"/>
            <a:chOff x="2373313" y="1670050"/>
            <a:chExt cx="4416426" cy="4416425"/>
          </a:xfrm>
        </p:grpSpPr>
        <p:sp>
          <p:nvSpPr>
            <p:cNvPr id="31" name="Freeform 6">
              <a:extLst>
                <a:ext uri="{FF2B5EF4-FFF2-40B4-BE49-F238E27FC236}">
                  <a16:creationId xmlns:a16="http://schemas.microsoft.com/office/drawing/2014/main" id="{F3D9C7A4-F09F-48C5-9C8F-94024152CB8E}"/>
                </a:ext>
              </a:extLst>
            </p:cNvPr>
            <p:cNvSpPr>
              <a:spLocks/>
            </p:cNvSpPr>
            <p:nvPr/>
          </p:nvSpPr>
          <p:spPr bwMode="auto">
            <a:xfrm>
              <a:off x="2373313" y="1670050"/>
              <a:ext cx="2170113" cy="2171700"/>
            </a:xfrm>
            <a:custGeom>
              <a:avLst/>
              <a:gdLst/>
              <a:ahLst/>
              <a:cxnLst>
                <a:cxn ang="0">
                  <a:pos x="1367" y="0"/>
                </a:cxn>
                <a:cxn ang="0">
                  <a:pos x="1227" y="11"/>
                </a:cxn>
                <a:cxn ang="0">
                  <a:pos x="1094" y="32"/>
                </a:cxn>
                <a:cxn ang="0">
                  <a:pos x="963" y="68"/>
                </a:cxn>
                <a:cxn ang="0">
                  <a:pos x="839" y="114"/>
                </a:cxn>
                <a:cxn ang="0">
                  <a:pos x="720" y="173"/>
                </a:cxn>
                <a:cxn ang="0">
                  <a:pos x="608" y="242"/>
                </a:cxn>
                <a:cxn ang="0">
                  <a:pos x="503" y="320"/>
                </a:cxn>
                <a:cxn ang="0">
                  <a:pos x="407" y="408"/>
                </a:cxn>
                <a:cxn ang="0">
                  <a:pos x="318" y="504"/>
                </a:cxn>
                <a:cxn ang="0">
                  <a:pos x="240" y="609"/>
                </a:cxn>
                <a:cxn ang="0">
                  <a:pos x="171" y="722"/>
                </a:cxn>
                <a:cxn ang="0">
                  <a:pos x="113" y="840"/>
                </a:cxn>
                <a:cxn ang="0">
                  <a:pos x="66" y="965"/>
                </a:cxn>
                <a:cxn ang="0">
                  <a:pos x="32" y="1095"/>
                </a:cxn>
                <a:cxn ang="0">
                  <a:pos x="9" y="1229"/>
                </a:cxn>
                <a:cxn ang="0">
                  <a:pos x="0" y="1368"/>
                </a:cxn>
                <a:cxn ang="0">
                  <a:pos x="351" y="1368"/>
                </a:cxn>
                <a:cxn ang="0">
                  <a:pos x="357" y="1278"/>
                </a:cxn>
                <a:cxn ang="0">
                  <a:pos x="371" y="1190"/>
                </a:cxn>
                <a:cxn ang="0">
                  <a:pos x="392" y="1103"/>
                </a:cxn>
                <a:cxn ang="0">
                  <a:pos x="420" y="1017"/>
                </a:cxn>
                <a:cxn ang="0">
                  <a:pos x="456" y="935"/>
                </a:cxn>
                <a:cxn ang="0">
                  <a:pos x="498" y="857"/>
                </a:cxn>
                <a:cxn ang="0">
                  <a:pos x="548" y="782"/>
                </a:cxn>
                <a:cxn ang="0">
                  <a:pos x="605" y="711"/>
                </a:cxn>
                <a:cxn ang="0">
                  <a:pos x="641" y="671"/>
                </a:cxn>
                <a:cxn ang="0">
                  <a:pos x="722" y="596"/>
                </a:cxn>
                <a:cxn ang="0">
                  <a:pos x="807" y="530"/>
                </a:cxn>
                <a:cxn ang="0">
                  <a:pos x="900" y="474"/>
                </a:cxn>
                <a:cxn ang="0">
                  <a:pos x="996" y="429"/>
                </a:cxn>
                <a:cxn ang="0">
                  <a:pos x="1098" y="393"/>
                </a:cxn>
                <a:cxn ang="0">
                  <a:pos x="1203" y="368"/>
                </a:cxn>
                <a:cxn ang="0">
                  <a:pos x="1311" y="354"/>
                </a:cxn>
                <a:cxn ang="0">
                  <a:pos x="1367" y="0"/>
                </a:cxn>
              </a:cxnLst>
              <a:rect l="0" t="0" r="r" b="b"/>
              <a:pathLst>
                <a:path w="1367" h="1368">
                  <a:moveTo>
                    <a:pt x="1367" y="0"/>
                  </a:moveTo>
                  <a:lnTo>
                    <a:pt x="1367" y="0"/>
                  </a:lnTo>
                  <a:lnTo>
                    <a:pt x="1296" y="3"/>
                  </a:lnTo>
                  <a:lnTo>
                    <a:pt x="1227" y="11"/>
                  </a:lnTo>
                  <a:lnTo>
                    <a:pt x="1160" y="20"/>
                  </a:lnTo>
                  <a:lnTo>
                    <a:pt x="1094" y="32"/>
                  </a:lnTo>
                  <a:lnTo>
                    <a:pt x="1028" y="48"/>
                  </a:lnTo>
                  <a:lnTo>
                    <a:pt x="963" y="68"/>
                  </a:lnTo>
                  <a:lnTo>
                    <a:pt x="900" y="90"/>
                  </a:lnTo>
                  <a:lnTo>
                    <a:pt x="839" y="114"/>
                  </a:lnTo>
                  <a:lnTo>
                    <a:pt x="779" y="143"/>
                  </a:lnTo>
                  <a:lnTo>
                    <a:pt x="720" y="173"/>
                  </a:lnTo>
                  <a:lnTo>
                    <a:pt x="663" y="206"/>
                  </a:lnTo>
                  <a:lnTo>
                    <a:pt x="608" y="242"/>
                  </a:lnTo>
                  <a:lnTo>
                    <a:pt x="555" y="279"/>
                  </a:lnTo>
                  <a:lnTo>
                    <a:pt x="503" y="320"/>
                  </a:lnTo>
                  <a:lnTo>
                    <a:pt x="455" y="363"/>
                  </a:lnTo>
                  <a:lnTo>
                    <a:pt x="407" y="408"/>
                  </a:lnTo>
                  <a:lnTo>
                    <a:pt x="362" y="455"/>
                  </a:lnTo>
                  <a:lnTo>
                    <a:pt x="318" y="504"/>
                  </a:lnTo>
                  <a:lnTo>
                    <a:pt x="278" y="557"/>
                  </a:lnTo>
                  <a:lnTo>
                    <a:pt x="240" y="609"/>
                  </a:lnTo>
                  <a:lnTo>
                    <a:pt x="204" y="665"/>
                  </a:lnTo>
                  <a:lnTo>
                    <a:pt x="171" y="722"/>
                  </a:lnTo>
                  <a:lnTo>
                    <a:pt x="141" y="780"/>
                  </a:lnTo>
                  <a:lnTo>
                    <a:pt x="113" y="840"/>
                  </a:lnTo>
                  <a:lnTo>
                    <a:pt x="89" y="902"/>
                  </a:lnTo>
                  <a:lnTo>
                    <a:pt x="66" y="965"/>
                  </a:lnTo>
                  <a:lnTo>
                    <a:pt x="47" y="1029"/>
                  </a:lnTo>
                  <a:lnTo>
                    <a:pt x="32" y="1095"/>
                  </a:lnTo>
                  <a:lnTo>
                    <a:pt x="18" y="1161"/>
                  </a:lnTo>
                  <a:lnTo>
                    <a:pt x="9" y="1229"/>
                  </a:lnTo>
                  <a:lnTo>
                    <a:pt x="3" y="1298"/>
                  </a:lnTo>
                  <a:lnTo>
                    <a:pt x="0" y="1368"/>
                  </a:lnTo>
                  <a:lnTo>
                    <a:pt x="351" y="1368"/>
                  </a:lnTo>
                  <a:lnTo>
                    <a:pt x="351" y="1368"/>
                  </a:lnTo>
                  <a:lnTo>
                    <a:pt x="354" y="1323"/>
                  </a:lnTo>
                  <a:lnTo>
                    <a:pt x="357" y="1278"/>
                  </a:lnTo>
                  <a:lnTo>
                    <a:pt x="363" y="1233"/>
                  </a:lnTo>
                  <a:lnTo>
                    <a:pt x="371" y="1190"/>
                  </a:lnTo>
                  <a:lnTo>
                    <a:pt x="381" y="1145"/>
                  </a:lnTo>
                  <a:lnTo>
                    <a:pt x="392" y="1103"/>
                  </a:lnTo>
                  <a:lnTo>
                    <a:pt x="405" y="1059"/>
                  </a:lnTo>
                  <a:lnTo>
                    <a:pt x="420" y="1017"/>
                  </a:lnTo>
                  <a:lnTo>
                    <a:pt x="437" y="975"/>
                  </a:lnTo>
                  <a:lnTo>
                    <a:pt x="456" y="935"/>
                  </a:lnTo>
                  <a:lnTo>
                    <a:pt x="477" y="896"/>
                  </a:lnTo>
                  <a:lnTo>
                    <a:pt x="498" y="857"/>
                  </a:lnTo>
                  <a:lnTo>
                    <a:pt x="522" y="819"/>
                  </a:lnTo>
                  <a:lnTo>
                    <a:pt x="548" y="782"/>
                  </a:lnTo>
                  <a:lnTo>
                    <a:pt x="575" y="746"/>
                  </a:lnTo>
                  <a:lnTo>
                    <a:pt x="605" y="711"/>
                  </a:lnTo>
                  <a:lnTo>
                    <a:pt x="605" y="711"/>
                  </a:lnTo>
                  <a:lnTo>
                    <a:pt x="641" y="671"/>
                  </a:lnTo>
                  <a:lnTo>
                    <a:pt x="680" y="632"/>
                  </a:lnTo>
                  <a:lnTo>
                    <a:pt x="722" y="596"/>
                  </a:lnTo>
                  <a:lnTo>
                    <a:pt x="764" y="561"/>
                  </a:lnTo>
                  <a:lnTo>
                    <a:pt x="807" y="530"/>
                  </a:lnTo>
                  <a:lnTo>
                    <a:pt x="852" y="501"/>
                  </a:lnTo>
                  <a:lnTo>
                    <a:pt x="900" y="474"/>
                  </a:lnTo>
                  <a:lnTo>
                    <a:pt x="948" y="450"/>
                  </a:lnTo>
                  <a:lnTo>
                    <a:pt x="996" y="429"/>
                  </a:lnTo>
                  <a:lnTo>
                    <a:pt x="1047" y="410"/>
                  </a:lnTo>
                  <a:lnTo>
                    <a:pt x="1098" y="393"/>
                  </a:lnTo>
                  <a:lnTo>
                    <a:pt x="1151" y="380"/>
                  </a:lnTo>
                  <a:lnTo>
                    <a:pt x="1203" y="368"/>
                  </a:lnTo>
                  <a:lnTo>
                    <a:pt x="1257" y="360"/>
                  </a:lnTo>
                  <a:lnTo>
                    <a:pt x="1311" y="354"/>
                  </a:lnTo>
                  <a:lnTo>
                    <a:pt x="1367" y="351"/>
                  </a:lnTo>
                  <a:lnTo>
                    <a:pt x="1367" y="0"/>
                  </a:lnTo>
                  <a:close/>
                </a:path>
              </a:pathLst>
            </a:custGeom>
            <a:solidFill>
              <a:schemeClr val="accent1">
                <a:alpha val="2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2" name="Freeform 7">
              <a:extLst>
                <a:ext uri="{FF2B5EF4-FFF2-40B4-BE49-F238E27FC236}">
                  <a16:creationId xmlns:a16="http://schemas.microsoft.com/office/drawing/2014/main" id="{142003C2-D99C-4AA3-9EF3-3832D02F5C7F}"/>
                </a:ext>
              </a:extLst>
            </p:cNvPr>
            <p:cNvSpPr>
              <a:spLocks/>
            </p:cNvSpPr>
            <p:nvPr/>
          </p:nvSpPr>
          <p:spPr bwMode="auto">
            <a:xfrm>
              <a:off x="4610101" y="1670050"/>
              <a:ext cx="2179638" cy="2171700"/>
            </a:xfrm>
            <a:custGeom>
              <a:avLst/>
              <a:gdLst/>
              <a:ahLst/>
              <a:cxnLst>
                <a:cxn ang="0">
                  <a:pos x="0" y="351"/>
                </a:cxn>
                <a:cxn ang="0">
                  <a:pos x="56" y="354"/>
                </a:cxn>
                <a:cxn ang="0">
                  <a:pos x="164" y="368"/>
                </a:cxn>
                <a:cxn ang="0">
                  <a:pos x="270" y="392"/>
                </a:cxn>
                <a:cxn ang="0">
                  <a:pos x="372" y="428"/>
                </a:cxn>
                <a:cxn ang="0">
                  <a:pos x="470" y="473"/>
                </a:cxn>
                <a:cxn ang="0">
                  <a:pos x="563" y="530"/>
                </a:cxn>
                <a:cxn ang="0">
                  <a:pos x="650" y="594"/>
                </a:cxn>
                <a:cxn ang="0">
                  <a:pos x="731" y="669"/>
                </a:cxn>
                <a:cxn ang="0">
                  <a:pos x="768" y="711"/>
                </a:cxn>
                <a:cxn ang="0">
                  <a:pos x="824" y="782"/>
                </a:cxn>
                <a:cxn ang="0">
                  <a:pos x="873" y="857"/>
                </a:cxn>
                <a:cxn ang="0">
                  <a:pos x="917" y="935"/>
                </a:cxn>
                <a:cxn ang="0">
                  <a:pos x="951" y="1017"/>
                </a:cxn>
                <a:cxn ang="0">
                  <a:pos x="980" y="1103"/>
                </a:cxn>
                <a:cxn ang="0">
                  <a:pos x="1001" y="1190"/>
                </a:cxn>
                <a:cxn ang="0">
                  <a:pos x="1014" y="1278"/>
                </a:cxn>
                <a:cxn ang="0">
                  <a:pos x="1020" y="1368"/>
                </a:cxn>
                <a:cxn ang="0">
                  <a:pos x="1373" y="1368"/>
                </a:cxn>
                <a:cxn ang="0">
                  <a:pos x="1364" y="1229"/>
                </a:cxn>
                <a:cxn ang="0">
                  <a:pos x="1341" y="1094"/>
                </a:cxn>
                <a:cxn ang="0">
                  <a:pos x="1305" y="963"/>
                </a:cxn>
                <a:cxn ang="0">
                  <a:pos x="1259" y="839"/>
                </a:cxn>
                <a:cxn ang="0">
                  <a:pos x="1200" y="720"/>
                </a:cxn>
                <a:cxn ang="0">
                  <a:pos x="1131" y="608"/>
                </a:cxn>
                <a:cxn ang="0">
                  <a:pos x="1052" y="503"/>
                </a:cxn>
                <a:cxn ang="0">
                  <a:pos x="963" y="407"/>
                </a:cxn>
                <a:cxn ang="0">
                  <a:pos x="866" y="318"/>
                </a:cxn>
                <a:cxn ang="0">
                  <a:pos x="761" y="239"/>
                </a:cxn>
                <a:cxn ang="0">
                  <a:pos x="648" y="171"/>
                </a:cxn>
                <a:cxn ang="0">
                  <a:pos x="530" y="113"/>
                </a:cxn>
                <a:cxn ang="0">
                  <a:pos x="405" y="66"/>
                </a:cxn>
                <a:cxn ang="0">
                  <a:pos x="275" y="32"/>
                </a:cxn>
                <a:cxn ang="0">
                  <a:pos x="140" y="9"/>
                </a:cxn>
                <a:cxn ang="0">
                  <a:pos x="0" y="0"/>
                </a:cxn>
              </a:cxnLst>
              <a:rect l="0" t="0" r="r" b="b"/>
              <a:pathLst>
                <a:path w="1373" h="1368">
                  <a:moveTo>
                    <a:pt x="0" y="0"/>
                  </a:moveTo>
                  <a:lnTo>
                    <a:pt x="0" y="351"/>
                  </a:lnTo>
                  <a:lnTo>
                    <a:pt x="0" y="351"/>
                  </a:lnTo>
                  <a:lnTo>
                    <a:pt x="56" y="354"/>
                  </a:lnTo>
                  <a:lnTo>
                    <a:pt x="110" y="359"/>
                  </a:lnTo>
                  <a:lnTo>
                    <a:pt x="164" y="368"/>
                  </a:lnTo>
                  <a:lnTo>
                    <a:pt x="218" y="378"/>
                  </a:lnTo>
                  <a:lnTo>
                    <a:pt x="270" y="392"/>
                  </a:lnTo>
                  <a:lnTo>
                    <a:pt x="321" y="408"/>
                  </a:lnTo>
                  <a:lnTo>
                    <a:pt x="372" y="428"/>
                  </a:lnTo>
                  <a:lnTo>
                    <a:pt x="422" y="449"/>
                  </a:lnTo>
                  <a:lnTo>
                    <a:pt x="470" y="473"/>
                  </a:lnTo>
                  <a:lnTo>
                    <a:pt x="518" y="500"/>
                  </a:lnTo>
                  <a:lnTo>
                    <a:pt x="563" y="530"/>
                  </a:lnTo>
                  <a:lnTo>
                    <a:pt x="608" y="561"/>
                  </a:lnTo>
                  <a:lnTo>
                    <a:pt x="650" y="594"/>
                  </a:lnTo>
                  <a:lnTo>
                    <a:pt x="692" y="632"/>
                  </a:lnTo>
                  <a:lnTo>
                    <a:pt x="731" y="669"/>
                  </a:lnTo>
                  <a:lnTo>
                    <a:pt x="768" y="711"/>
                  </a:lnTo>
                  <a:lnTo>
                    <a:pt x="768" y="711"/>
                  </a:lnTo>
                  <a:lnTo>
                    <a:pt x="797" y="746"/>
                  </a:lnTo>
                  <a:lnTo>
                    <a:pt x="824" y="782"/>
                  </a:lnTo>
                  <a:lnTo>
                    <a:pt x="849" y="819"/>
                  </a:lnTo>
                  <a:lnTo>
                    <a:pt x="873" y="857"/>
                  </a:lnTo>
                  <a:lnTo>
                    <a:pt x="896" y="896"/>
                  </a:lnTo>
                  <a:lnTo>
                    <a:pt x="917" y="935"/>
                  </a:lnTo>
                  <a:lnTo>
                    <a:pt x="935" y="975"/>
                  </a:lnTo>
                  <a:lnTo>
                    <a:pt x="951" y="1017"/>
                  </a:lnTo>
                  <a:lnTo>
                    <a:pt x="966" y="1059"/>
                  </a:lnTo>
                  <a:lnTo>
                    <a:pt x="980" y="1103"/>
                  </a:lnTo>
                  <a:lnTo>
                    <a:pt x="992" y="1145"/>
                  </a:lnTo>
                  <a:lnTo>
                    <a:pt x="1001" y="1190"/>
                  </a:lnTo>
                  <a:lnTo>
                    <a:pt x="1008" y="1233"/>
                  </a:lnTo>
                  <a:lnTo>
                    <a:pt x="1014" y="1278"/>
                  </a:lnTo>
                  <a:lnTo>
                    <a:pt x="1019" y="1323"/>
                  </a:lnTo>
                  <a:lnTo>
                    <a:pt x="1020" y="1368"/>
                  </a:lnTo>
                  <a:lnTo>
                    <a:pt x="1373" y="1368"/>
                  </a:lnTo>
                  <a:lnTo>
                    <a:pt x="1373" y="1368"/>
                  </a:lnTo>
                  <a:lnTo>
                    <a:pt x="1370" y="1298"/>
                  </a:lnTo>
                  <a:lnTo>
                    <a:pt x="1364" y="1229"/>
                  </a:lnTo>
                  <a:lnTo>
                    <a:pt x="1353" y="1161"/>
                  </a:lnTo>
                  <a:lnTo>
                    <a:pt x="1341" y="1094"/>
                  </a:lnTo>
                  <a:lnTo>
                    <a:pt x="1325" y="1028"/>
                  </a:lnTo>
                  <a:lnTo>
                    <a:pt x="1305" y="963"/>
                  </a:lnTo>
                  <a:lnTo>
                    <a:pt x="1283" y="900"/>
                  </a:lnTo>
                  <a:lnTo>
                    <a:pt x="1259" y="839"/>
                  </a:lnTo>
                  <a:lnTo>
                    <a:pt x="1230" y="779"/>
                  </a:lnTo>
                  <a:lnTo>
                    <a:pt x="1200" y="720"/>
                  </a:lnTo>
                  <a:lnTo>
                    <a:pt x="1167" y="663"/>
                  </a:lnTo>
                  <a:lnTo>
                    <a:pt x="1131" y="608"/>
                  </a:lnTo>
                  <a:lnTo>
                    <a:pt x="1092" y="554"/>
                  </a:lnTo>
                  <a:lnTo>
                    <a:pt x="1052" y="503"/>
                  </a:lnTo>
                  <a:lnTo>
                    <a:pt x="1008" y="453"/>
                  </a:lnTo>
                  <a:lnTo>
                    <a:pt x="963" y="407"/>
                  </a:lnTo>
                  <a:lnTo>
                    <a:pt x="917" y="362"/>
                  </a:lnTo>
                  <a:lnTo>
                    <a:pt x="866" y="318"/>
                  </a:lnTo>
                  <a:lnTo>
                    <a:pt x="815" y="278"/>
                  </a:lnTo>
                  <a:lnTo>
                    <a:pt x="761" y="239"/>
                  </a:lnTo>
                  <a:lnTo>
                    <a:pt x="707" y="204"/>
                  </a:lnTo>
                  <a:lnTo>
                    <a:pt x="648" y="171"/>
                  </a:lnTo>
                  <a:lnTo>
                    <a:pt x="590" y="140"/>
                  </a:lnTo>
                  <a:lnTo>
                    <a:pt x="530" y="113"/>
                  </a:lnTo>
                  <a:lnTo>
                    <a:pt x="468" y="87"/>
                  </a:lnTo>
                  <a:lnTo>
                    <a:pt x="405" y="66"/>
                  </a:lnTo>
                  <a:lnTo>
                    <a:pt x="341" y="47"/>
                  </a:lnTo>
                  <a:lnTo>
                    <a:pt x="275" y="32"/>
                  </a:lnTo>
                  <a:lnTo>
                    <a:pt x="207" y="18"/>
                  </a:lnTo>
                  <a:lnTo>
                    <a:pt x="140" y="9"/>
                  </a:lnTo>
                  <a:lnTo>
                    <a:pt x="69" y="3"/>
                  </a:lnTo>
                  <a:lnTo>
                    <a:pt x="0" y="0"/>
                  </a:lnTo>
                  <a:lnTo>
                    <a:pt x="0" y="0"/>
                  </a:lnTo>
                  <a:close/>
                </a:path>
              </a:pathLst>
            </a:custGeom>
            <a:solidFill>
              <a:schemeClr val="accent2">
                <a:alpha val="2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3" name="Freeform 8">
              <a:extLst>
                <a:ext uri="{FF2B5EF4-FFF2-40B4-BE49-F238E27FC236}">
                  <a16:creationId xmlns:a16="http://schemas.microsoft.com/office/drawing/2014/main" id="{334BA445-FFA8-4308-BF4D-8FD55AC7FEBA}"/>
                </a:ext>
              </a:extLst>
            </p:cNvPr>
            <p:cNvSpPr>
              <a:spLocks/>
            </p:cNvSpPr>
            <p:nvPr/>
          </p:nvSpPr>
          <p:spPr bwMode="auto">
            <a:xfrm>
              <a:off x="2997201" y="2293938"/>
              <a:ext cx="1546225" cy="1547813"/>
            </a:xfrm>
            <a:custGeom>
              <a:avLst/>
              <a:gdLst/>
              <a:ahLst/>
              <a:cxnLst>
                <a:cxn ang="0">
                  <a:pos x="974" y="0"/>
                </a:cxn>
                <a:cxn ang="0">
                  <a:pos x="869" y="9"/>
                </a:cxn>
                <a:cxn ang="0">
                  <a:pos x="767" y="27"/>
                </a:cxn>
                <a:cxn ang="0">
                  <a:pos x="668" y="57"/>
                </a:cxn>
                <a:cxn ang="0">
                  <a:pos x="572" y="96"/>
                </a:cxn>
                <a:cxn ang="0">
                  <a:pos x="482" y="144"/>
                </a:cxn>
                <a:cxn ang="0">
                  <a:pos x="396" y="203"/>
                </a:cxn>
                <a:cxn ang="0">
                  <a:pos x="315" y="270"/>
                </a:cxn>
                <a:cxn ang="0">
                  <a:pos x="243" y="345"/>
                </a:cxn>
                <a:cxn ang="0">
                  <a:pos x="215" y="378"/>
                </a:cxn>
                <a:cxn ang="0">
                  <a:pos x="165" y="449"/>
                </a:cxn>
                <a:cxn ang="0">
                  <a:pos x="120" y="522"/>
                </a:cxn>
                <a:cxn ang="0">
                  <a:pos x="83" y="599"/>
                </a:cxn>
                <a:cxn ang="0">
                  <a:pos x="53" y="680"/>
                </a:cxn>
                <a:cxn ang="0">
                  <a:pos x="29" y="762"/>
                </a:cxn>
                <a:cxn ang="0">
                  <a:pos x="12" y="846"/>
                </a:cxn>
                <a:cxn ang="0">
                  <a:pos x="3" y="932"/>
                </a:cxn>
                <a:cxn ang="0">
                  <a:pos x="351" y="975"/>
                </a:cxn>
                <a:cxn ang="0">
                  <a:pos x="354" y="944"/>
                </a:cxn>
                <a:cxn ang="0">
                  <a:pos x="362" y="882"/>
                </a:cxn>
                <a:cxn ang="0">
                  <a:pos x="375" y="822"/>
                </a:cxn>
                <a:cxn ang="0">
                  <a:pos x="395" y="765"/>
                </a:cxn>
                <a:cxn ang="0">
                  <a:pos x="419" y="710"/>
                </a:cxn>
                <a:cxn ang="0">
                  <a:pos x="449" y="657"/>
                </a:cxn>
                <a:cxn ang="0">
                  <a:pos x="482" y="609"/>
                </a:cxn>
                <a:cxn ang="0">
                  <a:pos x="519" y="563"/>
                </a:cxn>
                <a:cxn ang="0">
                  <a:pos x="561" y="521"/>
                </a:cxn>
                <a:cxn ang="0">
                  <a:pos x="608" y="483"/>
                </a:cxn>
                <a:cxn ang="0">
                  <a:pos x="656" y="450"/>
                </a:cxn>
                <a:cxn ang="0">
                  <a:pos x="708" y="420"/>
                </a:cxn>
                <a:cxn ang="0">
                  <a:pos x="764" y="396"/>
                </a:cxn>
                <a:cxn ang="0">
                  <a:pos x="821" y="377"/>
                </a:cxn>
                <a:cxn ang="0">
                  <a:pos x="881" y="363"/>
                </a:cxn>
                <a:cxn ang="0">
                  <a:pos x="942" y="354"/>
                </a:cxn>
                <a:cxn ang="0">
                  <a:pos x="974" y="0"/>
                </a:cxn>
              </a:cxnLst>
              <a:rect l="0" t="0" r="r" b="b"/>
              <a:pathLst>
                <a:path w="974" h="975">
                  <a:moveTo>
                    <a:pt x="974" y="0"/>
                  </a:moveTo>
                  <a:lnTo>
                    <a:pt x="974" y="0"/>
                  </a:lnTo>
                  <a:lnTo>
                    <a:pt x="921" y="3"/>
                  </a:lnTo>
                  <a:lnTo>
                    <a:pt x="869" y="9"/>
                  </a:lnTo>
                  <a:lnTo>
                    <a:pt x="818" y="17"/>
                  </a:lnTo>
                  <a:lnTo>
                    <a:pt x="767" y="27"/>
                  </a:lnTo>
                  <a:lnTo>
                    <a:pt x="717" y="41"/>
                  </a:lnTo>
                  <a:lnTo>
                    <a:pt x="668" y="57"/>
                  </a:lnTo>
                  <a:lnTo>
                    <a:pt x="620" y="75"/>
                  </a:lnTo>
                  <a:lnTo>
                    <a:pt x="572" y="96"/>
                  </a:lnTo>
                  <a:lnTo>
                    <a:pt x="527" y="119"/>
                  </a:lnTo>
                  <a:lnTo>
                    <a:pt x="482" y="144"/>
                  </a:lnTo>
                  <a:lnTo>
                    <a:pt x="438" y="173"/>
                  </a:lnTo>
                  <a:lnTo>
                    <a:pt x="396" y="203"/>
                  </a:lnTo>
                  <a:lnTo>
                    <a:pt x="354" y="234"/>
                  </a:lnTo>
                  <a:lnTo>
                    <a:pt x="315" y="270"/>
                  </a:lnTo>
                  <a:lnTo>
                    <a:pt x="279" y="306"/>
                  </a:lnTo>
                  <a:lnTo>
                    <a:pt x="243" y="345"/>
                  </a:lnTo>
                  <a:lnTo>
                    <a:pt x="243" y="345"/>
                  </a:lnTo>
                  <a:lnTo>
                    <a:pt x="215" y="378"/>
                  </a:lnTo>
                  <a:lnTo>
                    <a:pt x="189" y="413"/>
                  </a:lnTo>
                  <a:lnTo>
                    <a:pt x="165" y="449"/>
                  </a:lnTo>
                  <a:lnTo>
                    <a:pt x="141" y="485"/>
                  </a:lnTo>
                  <a:lnTo>
                    <a:pt x="120" y="522"/>
                  </a:lnTo>
                  <a:lnTo>
                    <a:pt x="101" y="560"/>
                  </a:lnTo>
                  <a:lnTo>
                    <a:pt x="83" y="599"/>
                  </a:lnTo>
                  <a:lnTo>
                    <a:pt x="66" y="639"/>
                  </a:lnTo>
                  <a:lnTo>
                    <a:pt x="53" y="680"/>
                  </a:lnTo>
                  <a:lnTo>
                    <a:pt x="39" y="720"/>
                  </a:lnTo>
                  <a:lnTo>
                    <a:pt x="29" y="762"/>
                  </a:lnTo>
                  <a:lnTo>
                    <a:pt x="20" y="804"/>
                  </a:lnTo>
                  <a:lnTo>
                    <a:pt x="12" y="846"/>
                  </a:lnTo>
                  <a:lnTo>
                    <a:pt x="6" y="888"/>
                  </a:lnTo>
                  <a:lnTo>
                    <a:pt x="3" y="932"/>
                  </a:lnTo>
                  <a:lnTo>
                    <a:pt x="0" y="975"/>
                  </a:lnTo>
                  <a:lnTo>
                    <a:pt x="351" y="975"/>
                  </a:lnTo>
                  <a:lnTo>
                    <a:pt x="351" y="975"/>
                  </a:lnTo>
                  <a:lnTo>
                    <a:pt x="354" y="944"/>
                  </a:lnTo>
                  <a:lnTo>
                    <a:pt x="357" y="912"/>
                  </a:lnTo>
                  <a:lnTo>
                    <a:pt x="362" y="882"/>
                  </a:lnTo>
                  <a:lnTo>
                    <a:pt x="368" y="852"/>
                  </a:lnTo>
                  <a:lnTo>
                    <a:pt x="375" y="822"/>
                  </a:lnTo>
                  <a:lnTo>
                    <a:pt x="384" y="794"/>
                  </a:lnTo>
                  <a:lnTo>
                    <a:pt x="395" y="765"/>
                  </a:lnTo>
                  <a:lnTo>
                    <a:pt x="407" y="737"/>
                  </a:lnTo>
                  <a:lnTo>
                    <a:pt x="419" y="710"/>
                  </a:lnTo>
                  <a:lnTo>
                    <a:pt x="434" y="683"/>
                  </a:lnTo>
                  <a:lnTo>
                    <a:pt x="449" y="657"/>
                  </a:lnTo>
                  <a:lnTo>
                    <a:pt x="465" y="633"/>
                  </a:lnTo>
                  <a:lnTo>
                    <a:pt x="482" y="609"/>
                  </a:lnTo>
                  <a:lnTo>
                    <a:pt x="500" y="585"/>
                  </a:lnTo>
                  <a:lnTo>
                    <a:pt x="519" y="563"/>
                  </a:lnTo>
                  <a:lnTo>
                    <a:pt x="540" y="542"/>
                  </a:lnTo>
                  <a:lnTo>
                    <a:pt x="561" y="521"/>
                  </a:lnTo>
                  <a:lnTo>
                    <a:pt x="584" y="501"/>
                  </a:lnTo>
                  <a:lnTo>
                    <a:pt x="608" y="483"/>
                  </a:lnTo>
                  <a:lnTo>
                    <a:pt x="632" y="465"/>
                  </a:lnTo>
                  <a:lnTo>
                    <a:pt x="656" y="450"/>
                  </a:lnTo>
                  <a:lnTo>
                    <a:pt x="681" y="435"/>
                  </a:lnTo>
                  <a:lnTo>
                    <a:pt x="708" y="420"/>
                  </a:lnTo>
                  <a:lnTo>
                    <a:pt x="735" y="408"/>
                  </a:lnTo>
                  <a:lnTo>
                    <a:pt x="764" y="396"/>
                  </a:lnTo>
                  <a:lnTo>
                    <a:pt x="792" y="386"/>
                  </a:lnTo>
                  <a:lnTo>
                    <a:pt x="821" y="377"/>
                  </a:lnTo>
                  <a:lnTo>
                    <a:pt x="851" y="369"/>
                  </a:lnTo>
                  <a:lnTo>
                    <a:pt x="881" y="363"/>
                  </a:lnTo>
                  <a:lnTo>
                    <a:pt x="911" y="359"/>
                  </a:lnTo>
                  <a:lnTo>
                    <a:pt x="942" y="354"/>
                  </a:lnTo>
                  <a:lnTo>
                    <a:pt x="974" y="353"/>
                  </a:lnTo>
                  <a:lnTo>
                    <a:pt x="974"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4" name="Freeform 9">
              <a:extLst>
                <a:ext uri="{FF2B5EF4-FFF2-40B4-BE49-F238E27FC236}">
                  <a16:creationId xmlns:a16="http://schemas.microsoft.com/office/drawing/2014/main" id="{FA324CC0-A5F2-414D-9A46-1AC0BCB6675F}"/>
                </a:ext>
              </a:extLst>
            </p:cNvPr>
            <p:cNvSpPr>
              <a:spLocks/>
            </p:cNvSpPr>
            <p:nvPr/>
          </p:nvSpPr>
          <p:spPr bwMode="auto">
            <a:xfrm>
              <a:off x="4610101" y="2293938"/>
              <a:ext cx="1552575" cy="1584325"/>
            </a:xfrm>
            <a:custGeom>
              <a:avLst/>
              <a:gdLst/>
              <a:ahLst/>
              <a:cxnLst>
                <a:cxn ang="0">
                  <a:pos x="737" y="345"/>
                </a:cxn>
                <a:cxn ang="0">
                  <a:pos x="663" y="269"/>
                </a:cxn>
                <a:cxn ang="0">
                  <a:pos x="582" y="201"/>
                </a:cxn>
                <a:cxn ang="0">
                  <a:pos x="497" y="143"/>
                </a:cxn>
                <a:cxn ang="0">
                  <a:pos x="404" y="95"/>
                </a:cxn>
                <a:cxn ang="0">
                  <a:pos x="308" y="56"/>
                </a:cxn>
                <a:cxn ang="0">
                  <a:pos x="209" y="27"/>
                </a:cxn>
                <a:cxn ang="0">
                  <a:pos x="105" y="8"/>
                </a:cxn>
                <a:cxn ang="0">
                  <a:pos x="0" y="0"/>
                </a:cxn>
                <a:cxn ang="0">
                  <a:pos x="0" y="353"/>
                </a:cxn>
                <a:cxn ang="0">
                  <a:pos x="65" y="357"/>
                </a:cxn>
                <a:cxn ang="0">
                  <a:pos x="126" y="369"/>
                </a:cxn>
                <a:cxn ang="0">
                  <a:pos x="188" y="386"/>
                </a:cxn>
                <a:cxn ang="0">
                  <a:pos x="245" y="408"/>
                </a:cxn>
                <a:cxn ang="0">
                  <a:pos x="300" y="435"/>
                </a:cxn>
                <a:cxn ang="0">
                  <a:pos x="351" y="468"/>
                </a:cxn>
                <a:cxn ang="0">
                  <a:pos x="401" y="506"/>
                </a:cxn>
                <a:cxn ang="0">
                  <a:pos x="444" y="548"/>
                </a:cxn>
                <a:cxn ang="0">
                  <a:pos x="485" y="593"/>
                </a:cxn>
                <a:cxn ang="0">
                  <a:pos x="521" y="642"/>
                </a:cxn>
                <a:cxn ang="0">
                  <a:pos x="552" y="695"/>
                </a:cxn>
                <a:cxn ang="0">
                  <a:pos x="579" y="750"/>
                </a:cxn>
                <a:cxn ang="0">
                  <a:pos x="600" y="809"/>
                </a:cxn>
                <a:cxn ang="0">
                  <a:pos x="615" y="870"/>
                </a:cxn>
                <a:cxn ang="0">
                  <a:pos x="624" y="933"/>
                </a:cxn>
                <a:cxn ang="0">
                  <a:pos x="627" y="998"/>
                </a:cxn>
                <a:cxn ang="0">
                  <a:pos x="627" y="975"/>
                </a:cxn>
                <a:cxn ang="0">
                  <a:pos x="978" y="975"/>
                </a:cxn>
                <a:cxn ang="0">
                  <a:pos x="972" y="888"/>
                </a:cxn>
                <a:cxn ang="0">
                  <a:pos x="960" y="804"/>
                </a:cxn>
                <a:cxn ang="0">
                  <a:pos x="939" y="720"/>
                </a:cxn>
                <a:cxn ang="0">
                  <a:pos x="912" y="639"/>
                </a:cxn>
                <a:cxn ang="0">
                  <a:pos x="878" y="560"/>
                </a:cxn>
                <a:cxn ang="0">
                  <a:pos x="837" y="485"/>
                </a:cxn>
                <a:cxn ang="0">
                  <a:pos x="789" y="413"/>
                </a:cxn>
                <a:cxn ang="0">
                  <a:pos x="737" y="345"/>
                </a:cxn>
              </a:cxnLst>
              <a:rect l="0" t="0" r="r" b="b"/>
              <a:pathLst>
                <a:path w="978" h="998">
                  <a:moveTo>
                    <a:pt x="737" y="345"/>
                  </a:moveTo>
                  <a:lnTo>
                    <a:pt x="737" y="345"/>
                  </a:lnTo>
                  <a:lnTo>
                    <a:pt x="701" y="306"/>
                  </a:lnTo>
                  <a:lnTo>
                    <a:pt x="663" y="269"/>
                  </a:lnTo>
                  <a:lnTo>
                    <a:pt x="624" y="234"/>
                  </a:lnTo>
                  <a:lnTo>
                    <a:pt x="582" y="201"/>
                  </a:lnTo>
                  <a:lnTo>
                    <a:pt x="540" y="171"/>
                  </a:lnTo>
                  <a:lnTo>
                    <a:pt x="497" y="143"/>
                  </a:lnTo>
                  <a:lnTo>
                    <a:pt x="450" y="117"/>
                  </a:lnTo>
                  <a:lnTo>
                    <a:pt x="404" y="95"/>
                  </a:lnTo>
                  <a:lnTo>
                    <a:pt x="357" y="74"/>
                  </a:lnTo>
                  <a:lnTo>
                    <a:pt x="308" y="56"/>
                  </a:lnTo>
                  <a:lnTo>
                    <a:pt x="258" y="39"/>
                  </a:lnTo>
                  <a:lnTo>
                    <a:pt x="209" y="27"/>
                  </a:lnTo>
                  <a:lnTo>
                    <a:pt x="156" y="17"/>
                  </a:lnTo>
                  <a:lnTo>
                    <a:pt x="105" y="8"/>
                  </a:lnTo>
                  <a:lnTo>
                    <a:pt x="53" y="3"/>
                  </a:lnTo>
                  <a:lnTo>
                    <a:pt x="0" y="0"/>
                  </a:lnTo>
                  <a:lnTo>
                    <a:pt x="0" y="353"/>
                  </a:lnTo>
                  <a:lnTo>
                    <a:pt x="0" y="353"/>
                  </a:lnTo>
                  <a:lnTo>
                    <a:pt x="32" y="354"/>
                  </a:lnTo>
                  <a:lnTo>
                    <a:pt x="65" y="357"/>
                  </a:lnTo>
                  <a:lnTo>
                    <a:pt x="96" y="362"/>
                  </a:lnTo>
                  <a:lnTo>
                    <a:pt x="126" y="369"/>
                  </a:lnTo>
                  <a:lnTo>
                    <a:pt x="158" y="377"/>
                  </a:lnTo>
                  <a:lnTo>
                    <a:pt x="188" y="386"/>
                  </a:lnTo>
                  <a:lnTo>
                    <a:pt x="216" y="396"/>
                  </a:lnTo>
                  <a:lnTo>
                    <a:pt x="245" y="408"/>
                  </a:lnTo>
                  <a:lnTo>
                    <a:pt x="273" y="422"/>
                  </a:lnTo>
                  <a:lnTo>
                    <a:pt x="300" y="435"/>
                  </a:lnTo>
                  <a:lnTo>
                    <a:pt x="326" y="452"/>
                  </a:lnTo>
                  <a:lnTo>
                    <a:pt x="351" y="468"/>
                  </a:lnTo>
                  <a:lnTo>
                    <a:pt x="377" y="486"/>
                  </a:lnTo>
                  <a:lnTo>
                    <a:pt x="401" y="506"/>
                  </a:lnTo>
                  <a:lnTo>
                    <a:pt x="423" y="527"/>
                  </a:lnTo>
                  <a:lnTo>
                    <a:pt x="444" y="548"/>
                  </a:lnTo>
                  <a:lnTo>
                    <a:pt x="465" y="570"/>
                  </a:lnTo>
                  <a:lnTo>
                    <a:pt x="485" y="593"/>
                  </a:lnTo>
                  <a:lnTo>
                    <a:pt x="504" y="617"/>
                  </a:lnTo>
                  <a:lnTo>
                    <a:pt x="521" y="642"/>
                  </a:lnTo>
                  <a:lnTo>
                    <a:pt x="537" y="668"/>
                  </a:lnTo>
                  <a:lnTo>
                    <a:pt x="552" y="695"/>
                  </a:lnTo>
                  <a:lnTo>
                    <a:pt x="566" y="723"/>
                  </a:lnTo>
                  <a:lnTo>
                    <a:pt x="579" y="750"/>
                  </a:lnTo>
                  <a:lnTo>
                    <a:pt x="590" y="780"/>
                  </a:lnTo>
                  <a:lnTo>
                    <a:pt x="600" y="809"/>
                  </a:lnTo>
                  <a:lnTo>
                    <a:pt x="608" y="840"/>
                  </a:lnTo>
                  <a:lnTo>
                    <a:pt x="615" y="870"/>
                  </a:lnTo>
                  <a:lnTo>
                    <a:pt x="621" y="902"/>
                  </a:lnTo>
                  <a:lnTo>
                    <a:pt x="624" y="933"/>
                  </a:lnTo>
                  <a:lnTo>
                    <a:pt x="627" y="966"/>
                  </a:lnTo>
                  <a:lnTo>
                    <a:pt x="627" y="998"/>
                  </a:lnTo>
                  <a:lnTo>
                    <a:pt x="627" y="977"/>
                  </a:lnTo>
                  <a:lnTo>
                    <a:pt x="627" y="975"/>
                  </a:lnTo>
                  <a:lnTo>
                    <a:pt x="978" y="975"/>
                  </a:lnTo>
                  <a:lnTo>
                    <a:pt x="978" y="975"/>
                  </a:lnTo>
                  <a:lnTo>
                    <a:pt x="977" y="932"/>
                  </a:lnTo>
                  <a:lnTo>
                    <a:pt x="972" y="888"/>
                  </a:lnTo>
                  <a:lnTo>
                    <a:pt x="968" y="846"/>
                  </a:lnTo>
                  <a:lnTo>
                    <a:pt x="960" y="804"/>
                  </a:lnTo>
                  <a:lnTo>
                    <a:pt x="951" y="762"/>
                  </a:lnTo>
                  <a:lnTo>
                    <a:pt x="939" y="720"/>
                  </a:lnTo>
                  <a:lnTo>
                    <a:pt x="927" y="680"/>
                  </a:lnTo>
                  <a:lnTo>
                    <a:pt x="912" y="639"/>
                  </a:lnTo>
                  <a:lnTo>
                    <a:pt x="896" y="599"/>
                  </a:lnTo>
                  <a:lnTo>
                    <a:pt x="878" y="560"/>
                  </a:lnTo>
                  <a:lnTo>
                    <a:pt x="858" y="522"/>
                  </a:lnTo>
                  <a:lnTo>
                    <a:pt x="837" y="485"/>
                  </a:lnTo>
                  <a:lnTo>
                    <a:pt x="815" y="449"/>
                  </a:lnTo>
                  <a:lnTo>
                    <a:pt x="789" y="413"/>
                  </a:lnTo>
                  <a:lnTo>
                    <a:pt x="764" y="378"/>
                  </a:lnTo>
                  <a:lnTo>
                    <a:pt x="737" y="345"/>
                  </a:lnTo>
                  <a:lnTo>
                    <a:pt x="737" y="34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5" name="Freeform 10">
              <a:extLst>
                <a:ext uri="{FF2B5EF4-FFF2-40B4-BE49-F238E27FC236}">
                  <a16:creationId xmlns:a16="http://schemas.microsoft.com/office/drawing/2014/main" id="{0E3CA20A-BD7B-48EE-BA0E-8AE714EA47A0}"/>
                </a:ext>
              </a:extLst>
            </p:cNvPr>
            <p:cNvSpPr>
              <a:spLocks/>
            </p:cNvSpPr>
            <p:nvPr/>
          </p:nvSpPr>
          <p:spPr bwMode="auto">
            <a:xfrm>
              <a:off x="2997201" y="3911600"/>
              <a:ext cx="1546225" cy="1547813"/>
            </a:xfrm>
            <a:custGeom>
              <a:avLst/>
              <a:gdLst/>
              <a:ahLst/>
              <a:cxnLst>
                <a:cxn ang="0">
                  <a:pos x="974" y="626"/>
                </a:cxn>
                <a:cxn ang="0">
                  <a:pos x="911" y="620"/>
                </a:cxn>
                <a:cxn ang="0">
                  <a:pos x="849" y="609"/>
                </a:cxn>
                <a:cxn ang="0">
                  <a:pos x="791" y="593"/>
                </a:cxn>
                <a:cxn ang="0">
                  <a:pos x="735" y="570"/>
                </a:cxn>
                <a:cxn ang="0">
                  <a:pos x="681" y="543"/>
                </a:cxn>
                <a:cxn ang="0">
                  <a:pos x="630" y="512"/>
                </a:cxn>
                <a:cxn ang="0">
                  <a:pos x="584" y="476"/>
                </a:cxn>
                <a:cxn ang="0">
                  <a:pos x="539" y="435"/>
                </a:cxn>
                <a:cxn ang="0">
                  <a:pos x="500" y="392"/>
                </a:cxn>
                <a:cxn ang="0">
                  <a:pos x="464" y="344"/>
                </a:cxn>
                <a:cxn ang="0">
                  <a:pos x="432" y="293"/>
                </a:cxn>
                <a:cxn ang="0">
                  <a:pos x="405" y="240"/>
                </a:cxn>
                <a:cxn ang="0">
                  <a:pos x="384" y="183"/>
                </a:cxn>
                <a:cxn ang="0">
                  <a:pos x="368" y="125"/>
                </a:cxn>
                <a:cxn ang="0">
                  <a:pos x="357" y="63"/>
                </a:cxn>
                <a:cxn ang="0">
                  <a:pos x="351" y="0"/>
                </a:cxn>
                <a:cxn ang="0">
                  <a:pos x="351" y="0"/>
                </a:cxn>
                <a:cxn ang="0">
                  <a:pos x="0" y="2"/>
                </a:cxn>
                <a:cxn ang="0">
                  <a:pos x="8" y="101"/>
                </a:cxn>
                <a:cxn ang="0">
                  <a:pos x="24" y="195"/>
                </a:cxn>
                <a:cxn ang="0">
                  <a:pos x="50" y="288"/>
                </a:cxn>
                <a:cxn ang="0">
                  <a:pos x="83" y="377"/>
                </a:cxn>
                <a:cxn ang="0">
                  <a:pos x="125" y="461"/>
                </a:cxn>
                <a:cxn ang="0">
                  <a:pos x="174" y="540"/>
                </a:cxn>
                <a:cxn ang="0">
                  <a:pos x="230" y="614"/>
                </a:cxn>
                <a:cxn ang="0">
                  <a:pos x="293" y="683"/>
                </a:cxn>
                <a:cxn ang="0">
                  <a:pos x="362" y="746"/>
                </a:cxn>
                <a:cxn ang="0">
                  <a:pos x="435" y="801"/>
                </a:cxn>
                <a:cxn ang="0">
                  <a:pos x="515" y="851"/>
                </a:cxn>
                <a:cxn ang="0">
                  <a:pos x="599" y="893"/>
                </a:cxn>
                <a:cxn ang="0">
                  <a:pos x="687" y="926"/>
                </a:cxn>
                <a:cxn ang="0">
                  <a:pos x="780" y="951"/>
                </a:cxn>
                <a:cxn ang="0">
                  <a:pos x="875" y="968"/>
                </a:cxn>
                <a:cxn ang="0">
                  <a:pos x="974" y="975"/>
                </a:cxn>
              </a:cxnLst>
              <a:rect l="0" t="0" r="r" b="b"/>
              <a:pathLst>
                <a:path w="974" h="975">
                  <a:moveTo>
                    <a:pt x="974" y="626"/>
                  </a:moveTo>
                  <a:lnTo>
                    <a:pt x="974" y="626"/>
                  </a:lnTo>
                  <a:lnTo>
                    <a:pt x="942" y="624"/>
                  </a:lnTo>
                  <a:lnTo>
                    <a:pt x="911" y="620"/>
                  </a:lnTo>
                  <a:lnTo>
                    <a:pt x="881" y="615"/>
                  </a:lnTo>
                  <a:lnTo>
                    <a:pt x="849" y="609"/>
                  </a:lnTo>
                  <a:lnTo>
                    <a:pt x="821" y="602"/>
                  </a:lnTo>
                  <a:lnTo>
                    <a:pt x="791" y="593"/>
                  </a:lnTo>
                  <a:lnTo>
                    <a:pt x="762" y="582"/>
                  </a:lnTo>
                  <a:lnTo>
                    <a:pt x="735" y="570"/>
                  </a:lnTo>
                  <a:lnTo>
                    <a:pt x="708" y="557"/>
                  </a:lnTo>
                  <a:lnTo>
                    <a:pt x="681" y="543"/>
                  </a:lnTo>
                  <a:lnTo>
                    <a:pt x="656" y="528"/>
                  </a:lnTo>
                  <a:lnTo>
                    <a:pt x="630" y="512"/>
                  </a:lnTo>
                  <a:lnTo>
                    <a:pt x="606" y="494"/>
                  </a:lnTo>
                  <a:lnTo>
                    <a:pt x="584" y="476"/>
                  </a:lnTo>
                  <a:lnTo>
                    <a:pt x="561" y="456"/>
                  </a:lnTo>
                  <a:lnTo>
                    <a:pt x="539" y="435"/>
                  </a:lnTo>
                  <a:lnTo>
                    <a:pt x="519" y="414"/>
                  </a:lnTo>
                  <a:lnTo>
                    <a:pt x="500" y="392"/>
                  </a:lnTo>
                  <a:lnTo>
                    <a:pt x="482" y="368"/>
                  </a:lnTo>
                  <a:lnTo>
                    <a:pt x="464" y="344"/>
                  </a:lnTo>
                  <a:lnTo>
                    <a:pt x="447" y="320"/>
                  </a:lnTo>
                  <a:lnTo>
                    <a:pt x="432" y="293"/>
                  </a:lnTo>
                  <a:lnTo>
                    <a:pt x="419" y="267"/>
                  </a:lnTo>
                  <a:lnTo>
                    <a:pt x="405" y="240"/>
                  </a:lnTo>
                  <a:lnTo>
                    <a:pt x="395" y="212"/>
                  </a:lnTo>
                  <a:lnTo>
                    <a:pt x="384" y="183"/>
                  </a:lnTo>
                  <a:lnTo>
                    <a:pt x="375" y="155"/>
                  </a:lnTo>
                  <a:lnTo>
                    <a:pt x="368" y="125"/>
                  </a:lnTo>
                  <a:lnTo>
                    <a:pt x="362" y="95"/>
                  </a:lnTo>
                  <a:lnTo>
                    <a:pt x="357" y="63"/>
                  </a:lnTo>
                  <a:lnTo>
                    <a:pt x="353" y="32"/>
                  </a:lnTo>
                  <a:lnTo>
                    <a:pt x="351" y="0"/>
                  </a:lnTo>
                  <a:lnTo>
                    <a:pt x="351" y="0"/>
                  </a:lnTo>
                  <a:lnTo>
                    <a:pt x="351" y="0"/>
                  </a:lnTo>
                  <a:lnTo>
                    <a:pt x="0" y="2"/>
                  </a:lnTo>
                  <a:lnTo>
                    <a:pt x="0" y="2"/>
                  </a:lnTo>
                  <a:lnTo>
                    <a:pt x="3" y="51"/>
                  </a:lnTo>
                  <a:lnTo>
                    <a:pt x="8" y="101"/>
                  </a:lnTo>
                  <a:lnTo>
                    <a:pt x="15" y="149"/>
                  </a:lnTo>
                  <a:lnTo>
                    <a:pt x="24" y="195"/>
                  </a:lnTo>
                  <a:lnTo>
                    <a:pt x="36" y="242"/>
                  </a:lnTo>
                  <a:lnTo>
                    <a:pt x="50" y="288"/>
                  </a:lnTo>
                  <a:lnTo>
                    <a:pt x="65" y="332"/>
                  </a:lnTo>
                  <a:lnTo>
                    <a:pt x="83" y="377"/>
                  </a:lnTo>
                  <a:lnTo>
                    <a:pt x="102" y="419"/>
                  </a:lnTo>
                  <a:lnTo>
                    <a:pt x="125" y="461"/>
                  </a:lnTo>
                  <a:lnTo>
                    <a:pt x="149" y="501"/>
                  </a:lnTo>
                  <a:lnTo>
                    <a:pt x="174" y="540"/>
                  </a:lnTo>
                  <a:lnTo>
                    <a:pt x="201" y="578"/>
                  </a:lnTo>
                  <a:lnTo>
                    <a:pt x="230" y="614"/>
                  </a:lnTo>
                  <a:lnTo>
                    <a:pt x="260" y="650"/>
                  </a:lnTo>
                  <a:lnTo>
                    <a:pt x="293" y="683"/>
                  </a:lnTo>
                  <a:lnTo>
                    <a:pt x="326" y="716"/>
                  </a:lnTo>
                  <a:lnTo>
                    <a:pt x="362" y="746"/>
                  </a:lnTo>
                  <a:lnTo>
                    <a:pt x="398" y="774"/>
                  </a:lnTo>
                  <a:lnTo>
                    <a:pt x="435" y="801"/>
                  </a:lnTo>
                  <a:lnTo>
                    <a:pt x="474" y="827"/>
                  </a:lnTo>
                  <a:lnTo>
                    <a:pt x="515" y="851"/>
                  </a:lnTo>
                  <a:lnTo>
                    <a:pt x="557" y="873"/>
                  </a:lnTo>
                  <a:lnTo>
                    <a:pt x="599" y="893"/>
                  </a:lnTo>
                  <a:lnTo>
                    <a:pt x="642" y="911"/>
                  </a:lnTo>
                  <a:lnTo>
                    <a:pt x="687" y="926"/>
                  </a:lnTo>
                  <a:lnTo>
                    <a:pt x="734" y="941"/>
                  </a:lnTo>
                  <a:lnTo>
                    <a:pt x="780" y="951"/>
                  </a:lnTo>
                  <a:lnTo>
                    <a:pt x="827" y="962"/>
                  </a:lnTo>
                  <a:lnTo>
                    <a:pt x="875" y="968"/>
                  </a:lnTo>
                  <a:lnTo>
                    <a:pt x="924" y="972"/>
                  </a:lnTo>
                  <a:lnTo>
                    <a:pt x="974" y="975"/>
                  </a:lnTo>
                  <a:lnTo>
                    <a:pt x="974" y="6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6" name="Freeform 11">
              <a:extLst>
                <a:ext uri="{FF2B5EF4-FFF2-40B4-BE49-F238E27FC236}">
                  <a16:creationId xmlns:a16="http://schemas.microsoft.com/office/drawing/2014/main" id="{10564AFB-6898-4341-8CCA-6B69C16106FA}"/>
                </a:ext>
              </a:extLst>
            </p:cNvPr>
            <p:cNvSpPr>
              <a:spLocks/>
            </p:cNvSpPr>
            <p:nvPr/>
          </p:nvSpPr>
          <p:spPr bwMode="auto">
            <a:xfrm>
              <a:off x="4610101" y="3878263"/>
              <a:ext cx="1552575" cy="1581150"/>
            </a:xfrm>
            <a:custGeom>
              <a:avLst/>
              <a:gdLst/>
              <a:ahLst/>
              <a:cxnLst>
                <a:cxn ang="0">
                  <a:pos x="627" y="21"/>
                </a:cxn>
                <a:cxn ang="0">
                  <a:pos x="627" y="0"/>
                </a:cxn>
                <a:cxn ang="0">
                  <a:pos x="624" y="66"/>
                </a:cxn>
                <a:cxn ang="0">
                  <a:pos x="615" y="129"/>
                </a:cxn>
                <a:cxn ang="0">
                  <a:pos x="600" y="189"/>
                </a:cxn>
                <a:cxn ang="0">
                  <a:pos x="579" y="248"/>
                </a:cxn>
                <a:cxn ang="0">
                  <a:pos x="552" y="305"/>
                </a:cxn>
                <a:cxn ang="0">
                  <a:pos x="521" y="357"/>
                </a:cxn>
                <a:cxn ang="0">
                  <a:pos x="485" y="407"/>
                </a:cxn>
                <a:cxn ang="0">
                  <a:pos x="444" y="452"/>
                </a:cxn>
                <a:cxn ang="0">
                  <a:pos x="401" y="494"/>
                </a:cxn>
                <a:cxn ang="0">
                  <a:pos x="351" y="531"/>
                </a:cxn>
                <a:cxn ang="0">
                  <a:pos x="300" y="563"/>
                </a:cxn>
                <a:cxn ang="0">
                  <a:pos x="245" y="591"/>
                </a:cxn>
                <a:cxn ang="0">
                  <a:pos x="188" y="614"/>
                </a:cxn>
                <a:cxn ang="0">
                  <a:pos x="126" y="630"/>
                </a:cxn>
                <a:cxn ang="0">
                  <a:pos x="65" y="642"/>
                </a:cxn>
                <a:cxn ang="0">
                  <a:pos x="0" y="647"/>
                </a:cxn>
                <a:cxn ang="0">
                  <a:pos x="0" y="996"/>
                </a:cxn>
                <a:cxn ang="0">
                  <a:pos x="99" y="990"/>
                </a:cxn>
                <a:cxn ang="0">
                  <a:pos x="195" y="974"/>
                </a:cxn>
                <a:cxn ang="0">
                  <a:pos x="288" y="948"/>
                </a:cxn>
                <a:cxn ang="0">
                  <a:pos x="377" y="915"/>
                </a:cxn>
                <a:cxn ang="0">
                  <a:pos x="461" y="873"/>
                </a:cxn>
                <a:cxn ang="0">
                  <a:pos x="542" y="825"/>
                </a:cxn>
                <a:cxn ang="0">
                  <a:pos x="615" y="768"/>
                </a:cxn>
                <a:cxn ang="0">
                  <a:pos x="686" y="705"/>
                </a:cxn>
                <a:cxn ang="0">
                  <a:pos x="749" y="636"/>
                </a:cxn>
                <a:cxn ang="0">
                  <a:pos x="804" y="563"/>
                </a:cxn>
                <a:cxn ang="0">
                  <a:pos x="854" y="482"/>
                </a:cxn>
                <a:cxn ang="0">
                  <a:pos x="896" y="398"/>
                </a:cxn>
                <a:cxn ang="0">
                  <a:pos x="930" y="309"/>
                </a:cxn>
                <a:cxn ang="0">
                  <a:pos x="956" y="216"/>
                </a:cxn>
                <a:cxn ang="0">
                  <a:pos x="972" y="120"/>
                </a:cxn>
                <a:cxn ang="0">
                  <a:pos x="978" y="21"/>
                </a:cxn>
              </a:cxnLst>
              <a:rect l="0" t="0" r="r" b="b"/>
              <a:pathLst>
                <a:path w="978" h="996">
                  <a:moveTo>
                    <a:pt x="627" y="21"/>
                  </a:moveTo>
                  <a:lnTo>
                    <a:pt x="627" y="21"/>
                  </a:lnTo>
                  <a:lnTo>
                    <a:pt x="627" y="0"/>
                  </a:lnTo>
                  <a:lnTo>
                    <a:pt x="627" y="0"/>
                  </a:lnTo>
                  <a:lnTo>
                    <a:pt x="627" y="33"/>
                  </a:lnTo>
                  <a:lnTo>
                    <a:pt x="624" y="66"/>
                  </a:lnTo>
                  <a:lnTo>
                    <a:pt x="621" y="98"/>
                  </a:lnTo>
                  <a:lnTo>
                    <a:pt x="615" y="129"/>
                  </a:lnTo>
                  <a:lnTo>
                    <a:pt x="608" y="159"/>
                  </a:lnTo>
                  <a:lnTo>
                    <a:pt x="600" y="189"/>
                  </a:lnTo>
                  <a:lnTo>
                    <a:pt x="590" y="219"/>
                  </a:lnTo>
                  <a:lnTo>
                    <a:pt x="579" y="248"/>
                  </a:lnTo>
                  <a:lnTo>
                    <a:pt x="566" y="276"/>
                  </a:lnTo>
                  <a:lnTo>
                    <a:pt x="552" y="305"/>
                  </a:lnTo>
                  <a:lnTo>
                    <a:pt x="537" y="330"/>
                  </a:lnTo>
                  <a:lnTo>
                    <a:pt x="521" y="357"/>
                  </a:lnTo>
                  <a:lnTo>
                    <a:pt x="504" y="381"/>
                  </a:lnTo>
                  <a:lnTo>
                    <a:pt x="485" y="407"/>
                  </a:lnTo>
                  <a:lnTo>
                    <a:pt x="465" y="429"/>
                  </a:lnTo>
                  <a:lnTo>
                    <a:pt x="444" y="452"/>
                  </a:lnTo>
                  <a:lnTo>
                    <a:pt x="423" y="473"/>
                  </a:lnTo>
                  <a:lnTo>
                    <a:pt x="401" y="494"/>
                  </a:lnTo>
                  <a:lnTo>
                    <a:pt x="377" y="513"/>
                  </a:lnTo>
                  <a:lnTo>
                    <a:pt x="351" y="531"/>
                  </a:lnTo>
                  <a:lnTo>
                    <a:pt x="326" y="548"/>
                  </a:lnTo>
                  <a:lnTo>
                    <a:pt x="300" y="563"/>
                  </a:lnTo>
                  <a:lnTo>
                    <a:pt x="273" y="578"/>
                  </a:lnTo>
                  <a:lnTo>
                    <a:pt x="245" y="591"/>
                  </a:lnTo>
                  <a:lnTo>
                    <a:pt x="216" y="603"/>
                  </a:lnTo>
                  <a:lnTo>
                    <a:pt x="188" y="614"/>
                  </a:lnTo>
                  <a:lnTo>
                    <a:pt x="158" y="623"/>
                  </a:lnTo>
                  <a:lnTo>
                    <a:pt x="126" y="630"/>
                  </a:lnTo>
                  <a:lnTo>
                    <a:pt x="96" y="636"/>
                  </a:lnTo>
                  <a:lnTo>
                    <a:pt x="65" y="642"/>
                  </a:lnTo>
                  <a:lnTo>
                    <a:pt x="32" y="645"/>
                  </a:lnTo>
                  <a:lnTo>
                    <a:pt x="0" y="647"/>
                  </a:lnTo>
                  <a:lnTo>
                    <a:pt x="0" y="996"/>
                  </a:lnTo>
                  <a:lnTo>
                    <a:pt x="0" y="996"/>
                  </a:lnTo>
                  <a:lnTo>
                    <a:pt x="50" y="995"/>
                  </a:lnTo>
                  <a:lnTo>
                    <a:pt x="99" y="990"/>
                  </a:lnTo>
                  <a:lnTo>
                    <a:pt x="147" y="983"/>
                  </a:lnTo>
                  <a:lnTo>
                    <a:pt x="195" y="974"/>
                  </a:lnTo>
                  <a:lnTo>
                    <a:pt x="242" y="962"/>
                  </a:lnTo>
                  <a:lnTo>
                    <a:pt x="288" y="948"/>
                  </a:lnTo>
                  <a:lnTo>
                    <a:pt x="332" y="933"/>
                  </a:lnTo>
                  <a:lnTo>
                    <a:pt x="377" y="915"/>
                  </a:lnTo>
                  <a:lnTo>
                    <a:pt x="419" y="896"/>
                  </a:lnTo>
                  <a:lnTo>
                    <a:pt x="461" y="873"/>
                  </a:lnTo>
                  <a:lnTo>
                    <a:pt x="501" y="849"/>
                  </a:lnTo>
                  <a:lnTo>
                    <a:pt x="542" y="825"/>
                  </a:lnTo>
                  <a:lnTo>
                    <a:pt x="579" y="797"/>
                  </a:lnTo>
                  <a:lnTo>
                    <a:pt x="615" y="768"/>
                  </a:lnTo>
                  <a:lnTo>
                    <a:pt x="651" y="738"/>
                  </a:lnTo>
                  <a:lnTo>
                    <a:pt x="686" y="705"/>
                  </a:lnTo>
                  <a:lnTo>
                    <a:pt x="717" y="672"/>
                  </a:lnTo>
                  <a:lnTo>
                    <a:pt x="749" y="636"/>
                  </a:lnTo>
                  <a:lnTo>
                    <a:pt x="777" y="600"/>
                  </a:lnTo>
                  <a:lnTo>
                    <a:pt x="804" y="563"/>
                  </a:lnTo>
                  <a:lnTo>
                    <a:pt x="830" y="522"/>
                  </a:lnTo>
                  <a:lnTo>
                    <a:pt x="854" y="482"/>
                  </a:lnTo>
                  <a:lnTo>
                    <a:pt x="876" y="441"/>
                  </a:lnTo>
                  <a:lnTo>
                    <a:pt x="896" y="398"/>
                  </a:lnTo>
                  <a:lnTo>
                    <a:pt x="914" y="354"/>
                  </a:lnTo>
                  <a:lnTo>
                    <a:pt x="930" y="309"/>
                  </a:lnTo>
                  <a:lnTo>
                    <a:pt x="944" y="263"/>
                  </a:lnTo>
                  <a:lnTo>
                    <a:pt x="956" y="216"/>
                  </a:lnTo>
                  <a:lnTo>
                    <a:pt x="965" y="168"/>
                  </a:lnTo>
                  <a:lnTo>
                    <a:pt x="972" y="120"/>
                  </a:lnTo>
                  <a:lnTo>
                    <a:pt x="977" y="72"/>
                  </a:lnTo>
                  <a:lnTo>
                    <a:pt x="978" y="21"/>
                  </a:lnTo>
                  <a:lnTo>
                    <a:pt x="627" y="21"/>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7" name="Freeform 12">
              <a:extLst>
                <a:ext uri="{FF2B5EF4-FFF2-40B4-BE49-F238E27FC236}">
                  <a16:creationId xmlns:a16="http://schemas.microsoft.com/office/drawing/2014/main" id="{48CEECE6-AEB7-456C-9A26-C100060F4980}"/>
                </a:ext>
              </a:extLst>
            </p:cNvPr>
            <p:cNvSpPr>
              <a:spLocks/>
            </p:cNvSpPr>
            <p:nvPr/>
          </p:nvSpPr>
          <p:spPr bwMode="auto">
            <a:xfrm>
              <a:off x="2373313" y="3911600"/>
              <a:ext cx="2170113" cy="2174875"/>
            </a:xfrm>
            <a:custGeom>
              <a:avLst/>
              <a:gdLst/>
              <a:ahLst/>
              <a:cxnLst>
                <a:cxn ang="0">
                  <a:pos x="1367" y="1017"/>
                </a:cxn>
                <a:cxn ang="0">
                  <a:pos x="1263" y="1010"/>
                </a:cxn>
                <a:cxn ang="0">
                  <a:pos x="1164" y="993"/>
                </a:cxn>
                <a:cxn ang="0">
                  <a:pos x="1068" y="966"/>
                </a:cxn>
                <a:cxn ang="0">
                  <a:pos x="975" y="932"/>
                </a:cxn>
                <a:cxn ang="0">
                  <a:pos x="888" y="888"/>
                </a:cxn>
                <a:cxn ang="0">
                  <a:pos x="804" y="836"/>
                </a:cxn>
                <a:cxn ang="0">
                  <a:pos x="728" y="777"/>
                </a:cxn>
                <a:cxn ang="0">
                  <a:pos x="656" y="713"/>
                </a:cxn>
                <a:cxn ang="0">
                  <a:pos x="590" y="641"/>
                </a:cxn>
                <a:cxn ang="0">
                  <a:pos x="531" y="563"/>
                </a:cxn>
                <a:cxn ang="0">
                  <a:pos x="480" y="480"/>
                </a:cxn>
                <a:cxn ang="0">
                  <a:pos x="437" y="392"/>
                </a:cxn>
                <a:cxn ang="0">
                  <a:pos x="402" y="300"/>
                </a:cxn>
                <a:cxn ang="0">
                  <a:pos x="375" y="203"/>
                </a:cxn>
                <a:cxn ang="0">
                  <a:pos x="359" y="104"/>
                </a:cxn>
                <a:cxn ang="0">
                  <a:pos x="351" y="0"/>
                </a:cxn>
                <a:cxn ang="0">
                  <a:pos x="0" y="0"/>
                </a:cxn>
                <a:cxn ang="0">
                  <a:pos x="0" y="0"/>
                </a:cxn>
                <a:cxn ang="0">
                  <a:pos x="9" y="140"/>
                </a:cxn>
                <a:cxn ang="0">
                  <a:pos x="30" y="275"/>
                </a:cxn>
                <a:cxn ang="0">
                  <a:pos x="66" y="405"/>
                </a:cxn>
                <a:cxn ang="0">
                  <a:pos x="113" y="530"/>
                </a:cxn>
                <a:cxn ang="0">
                  <a:pos x="171" y="648"/>
                </a:cxn>
                <a:cxn ang="0">
                  <a:pos x="239" y="761"/>
                </a:cxn>
                <a:cxn ang="0">
                  <a:pos x="318" y="866"/>
                </a:cxn>
                <a:cxn ang="0">
                  <a:pos x="405" y="962"/>
                </a:cxn>
                <a:cxn ang="0">
                  <a:pos x="503" y="1050"/>
                </a:cxn>
                <a:cxn ang="0">
                  <a:pos x="608" y="1130"/>
                </a:cxn>
                <a:cxn ang="0">
                  <a:pos x="719" y="1199"/>
                </a:cxn>
                <a:cxn ang="0">
                  <a:pos x="837" y="1257"/>
                </a:cxn>
                <a:cxn ang="0">
                  <a:pos x="963" y="1304"/>
                </a:cxn>
                <a:cxn ang="0">
                  <a:pos x="1092" y="1338"/>
                </a:cxn>
                <a:cxn ang="0">
                  <a:pos x="1227" y="1361"/>
                </a:cxn>
                <a:cxn ang="0">
                  <a:pos x="1367" y="1370"/>
                </a:cxn>
              </a:cxnLst>
              <a:rect l="0" t="0" r="r" b="b"/>
              <a:pathLst>
                <a:path w="1367" h="1370">
                  <a:moveTo>
                    <a:pt x="1367" y="1017"/>
                  </a:moveTo>
                  <a:lnTo>
                    <a:pt x="1367" y="1017"/>
                  </a:lnTo>
                  <a:lnTo>
                    <a:pt x="1314" y="1014"/>
                  </a:lnTo>
                  <a:lnTo>
                    <a:pt x="1263" y="1010"/>
                  </a:lnTo>
                  <a:lnTo>
                    <a:pt x="1214" y="1002"/>
                  </a:lnTo>
                  <a:lnTo>
                    <a:pt x="1164" y="993"/>
                  </a:lnTo>
                  <a:lnTo>
                    <a:pt x="1115" y="981"/>
                  </a:lnTo>
                  <a:lnTo>
                    <a:pt x="1068" y="966"/>
                  </a:lnTo>
                  <a:lnTo>
                    <a:pt x="1022" y="950"/>
                  </a:lnTo>
                  <a:lnTo>
                    <a:pt x="975" y="932"/>
                  </a:lnTo>
                  <a:lnTo>
                    <a:pt x="932" y="911"/>
                  </a:lnTo>
                  <a:lnTo>
                    <a:pt x="888" y="888"/>
                  </a:lnTo>
                  <a:lnTo>
                    <a:pt x="846" y="863"/>
                  </a:lnTo>
                  <a:lnTo>
                    <a:pt x="804" y="836"/>
                  </a:lnTo>
                  <a:lnTo>
                    <a:pt x="765" y="807"/>
                  </a:lnTo>
                  <a:lnTo>
                    <a:pt x="728" y="777"/>
                  </a:lnTo>
                  <a:lnTo>
                    <a:pt x="690" y="746"/>
                  </a:lnTo>
                  <a:lnTo>
                    <a:pt x="656" y="713"/>
                  </a:lnTo>
                  <a:lnTo>
                    <a:pt x="623" y="677"/>
                  </a:lnTo>
                  <a:lnTo>
                    <a:pt x="590" y="641"/>
                  </a:lnTo>
                  <a:lnTo>
                    <a:pt x="560" y="602"/>
                  </a:lnTo>
                  <a:lnTo>
                    <a:pt x="531" y="563"/>
                  </a:lnTo>
                  <a:lnTo>
                    <a:pt x="506" y="522"/>
                  </a:lnTo>
                  <a:lnTo>
                    <a:pt x="480" y="480"/>
                  </a:lnTo>
                  <a:lnTo>
                    <a:pt x="458" y="437"/>
                  </a:lnTo>
                  <a:lnTo>
                    <a:pt x="437" y="392"/>
                  </a:lnTo>
                  <a:lnTo>
                    <a:pt x="419" y="347"/>
                  </a:lnTo>
                  <a:lnTo>
                    <a:pt x="402" y="300"/>
                  </a:lnTo>
                  <a:lnTo>
                    <a:pt x="387" y="252"/>
                  </a:lnTo>
                  <a:lnTo>
                    <a:pt x="375" y="203"/>
                  </a:lnTo>
                  <a:lnTo>
                    <a:pt x="366" y="153"/>
                  </a:lnTo>
                  <a:lnTo>
                    <a:pt x="359" y="104"/>
                  </a:lnTo>
                  <a:lnTo>
                    <a:pt x="354" y="53"/>
                  </a:lnTo>
                  <a:lnTo>
                    <a:pt x="351" y="0"/>
                  </a:lnTo>
                  <a:lnTo>
                    <a:pt x="348" y="0"/>
                  </a:lnTo>
                  <a:lnTo>
                    <a:pt x="0" y="0"/>
                  </a:lnTo>
                  <a:lnTo>
                    <a:pt x="0" y="0"/>
                  </a:lnTo>
                  <a:lnTo>
                    <a:pt x="0" y="0"/>
                  </a:lnTo>
                  <a:lnTo>
                    <a:pt x="3" y="71"/>
                  </a:lnTo>
                  <a:lnTo>
                    <a:pt x="9" y="140"/>
                  </a:lnTo>
                  <a:lnTo>
                    <a:pt x="18" y="207"/>
                  </a:lnTo>
                  <a:lnTo>
                    <a:pt x="30" y="275"/>
                  </a:lnTo>
                  <a:lnTo>
                    <a:pt x="47" y="341"/>
                  </a:lnTo>
                  <a:lnTo>
                    <a:pt x="66" y="405"/>
                  </a:lnTo>
                  <a:lnTo>
                    <a:pt x="87" y="468"/>
                  </a:lnTo>
                  <a:lnTo>
                    <a:pt x="113" y="530"/>
                  </a:lnTo>
                  <a:lnTo>
                    <a:pt x="140" y="590"/>
                  </a:lnTo>
                  <a:lnTo>
                    <a:pt x="171" y="648"/>
                  </a:lnTo>
                  <a:lnTo>
                    <a:pt x="204" y="705"/>
                  </a:lnTo>
                  <a:lnTo>
                    <a:pt x="239" y="761"/>
                  </a:lnTo>
                  <a:lnTo>
                    <a:pt x="278" y="813"/>
                  </a:lnTo>
                  <a:lnTo>
                    <a:pt x="318" y="866"/>
                  </a:lnTo>
                  <a:lnTo>
                    <a:pt x="360" y="915"/>
                  </a:lnTo>
                  <a:lnTo>
                    <a:pt x="405" y="962"/>
                  </a:lnTo>
                  <a:lnTo>
                    <a:pt x="453" y="1008"/>
                  </a:lnTo>
                  <a:lnTo>
                    <a:pt x="503" y="1050"/>
                  </a:lnTo>
                  <a:lnTo>
                    <a:pt x="554" y="1091"/>
                  </a:lnTo>
                  <a:lnTo>
                    <a:pt x="608" y="1130"/>
                  </a:lnTo>
                  <a:lnTo>
                    <a:pt x="662" y="1166"/>
                  </a:lnTo>
                  <a:lnTo>
                    <a:pt x="719" y="1199"/>
                  </a:lnTo>
                  <a:lnTo>
                    <a:pt x="777" y="1229"/>
                  </a:lnTo>
                  <a:lnTo>
                    <a:pt x="837" y="1257"/>
                  </a:lnTo>
                  <a:lnTo>
                    <a:pt x="900" y="1281"/>
                  </a:lnTo>
                  <a:lnTo>
                    <a:pt x="963" y="1304"/>
                  </a:lnTo>
                  <a:lnTo>
                    <a:pt x="1028" y="1323"/>
                  </a:lnTo>
                  <a:lnTo>
                    <a:pt x="1092" y="1338"/>
                  </a:lnTo>
                  <a:lnTo>
                    <a:pt x="1160" y="1352"/>
                  </a:lnTo>
                  <a:lnTo>
                    <a:pt x="1227" y="1361"/>
                  </a:lnTo>
                  <a:lnTo>
                    <a:pt x="1296" y="1367"/>
                  </a:lnTo>
                  <a:lnTo>
                    <a:pt x="1367" y="1370"/>
                  </a:lnTo>
                  <a:lnTo>
                    <a:pt x="1367" y="1017"/>
                  </a:lnTo>
                  <a:close/>
                </a:path>
              </a:pathLst>
            </a:custGeom>
            <a:solidFill>
              <a:schemeClr val="accent5">
                <a:alpha val="2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8" name="Freeform 13">
              <a:extLst>
                <a:ext uri="{FF2B5EF4-FFF2-40B4-BE49-F238E27FC236}">
                  <a16:creationId xmlns:a16="http://schemas.microsoft.com/office/drawing/2014/main" id="{FD3F16B2-531A-4B58-93D9-8BE901D8CEF7}"/>
                </a:ext>
              </a:extLst>
            </p:cNvPr>
            <p:cNvSpPr>
              <a:spLocks/>
            </p:cNvSpPr>
            <p:nvPr/>
          </p:nvSpPr>
          <p:spPr bwMode="auto">
            <a:xfrm>
              <a:off x="4610101" y="3911600"/>
              <a:ext cx="2179638" cy="2174875"/>
            </a:xfrm>
            <a:custGeom>
              <a:avLst/>
              <a:gdLst/>
              <a:ahLst/>
              <a:cxnLst>
                <a:cxn ang="0">
                  <a:pos x="1020" y="0"/>
                </a:cxn>
                <a:cxn ang="0">
                  <a:pos x="1013" y="104"/>
                </a:cxn>
                <a:cxn ang="0">
                  <a:pos x="996" y="204"/>
                </a:cxn>
                <a:cxn ang="0">
                  <a:pos x="969" y="300"/>
                </a:cxn>
                <a:cxn ang="0">
                  <a:pos x="935" y="393"/>
                </a:cxn>
                <a:cxn ang="0">
                  <a:pos x="891" y="482"/>
                </a:cxn>
                <a:cxn ang="0">
                  <a:pos x="839" y="564"/>
                </a:cxn>
                <a:cxn ang="0">
                  <a:pos x="780" y="642"/>
                </a:cxn>
                <a:cxn ang="0">
                  <a:pos x="714" y="714"/>
                </a:cxn>
                <a:cxn ang="0">
                  <a:pos x="642" y="780"/>
                </a:cxn>
                <a:cxn ang="0">
                  <a:pos x="564" y="839"/>
                </a:cxn>
                <a:cxn ang="0">
                  <a:pos x="482" y="890"/>
                </a:cxn>
                <a:cxn ang="0">
                  <a:pos x="393" y="933"/>
                </a:cxn>
                <a:cxn ang="0">
                  <a:pos x="300" y="968"/>
                </a:cxn>
                <a:cxn ang="0">
                  <a:pos x="203" y="993"/>
                </a:cxn>
                <a:cxn ang="0">
                  <a:pos x="104" y="1010"/>
                </a:cxn>
                <a:cxn ang="0">
                  <a:pos x="0" y="1017"/>
                </a:cxn>
                <a:cxn ang="0">
                  <a:pos x="0" y="1370"/>
                </a:cxn>
                <a:cxn ang="0">
                  <a:pos x="140" y="1362"/>
                </a:cxn>
                <a:cxn ang="0">
                  <a:pos x="275" y="1340"/>
                </a:cxn>
                <a:cxn ang="0">
                  <a:pos x="405" y="1305"/>
                </a:cxn>
                <a:cxn ang="0">
                  <a:pos x="530" y="1259"/>
                </a:cxn>
                <a:cxn ang="0">
                  <a:pos x="650" y="1200"/>
                </a:cxn>
                <a:cxn ang="0">
                  <a:pos x="762" y="1131"/>
                </a:cxn>
                <a:cxn ang="0">
                  <a:pos x="867" y="1052"/>
                </a:cxn>
                <a:cxn ang="0">
                  <a:pos x="965" y="965"/>
                </a:cxn>
                <a:cxn ang="0">
                  <a:pos x="1053" y="867"/>
                </a:cxn>
                <a:cxn ang="0">
                  <a:pos x="1131" y="762"/>
                </a:cxn>
                <a:cxn ang="0">
                  <a:pos x="1200" y="650"/>
                </a:cxn>
                <a:cxn ang="0">
                  <a:pos x="1259" y="531"/>
                </a:cxn>
                <a:cxn ang="0">
                  <a:pos x="1307" y="405"/>
                </a:cxn>
                <a:cxn ang="0">
                  <a:pos x="1341" y="275"/>
                </a:cxn>
                <a:cxn ang="0">
                  <a:pos x="1364" y="140"/>
                </a:cxn>
                <a:cxn ang="0">
                  <a:pos x="1373" y="0"/>
                </a:cxn>
              </a:cxnLst>
              <a:rect l="0" t="0" r="r" b="b"/>
              <a:pathLst>
                <a:path w="1373" h="1370">
                  <a:moveTo>
                    <a:pt x="1020" y="0"/>
                  </a:moveTo>
                  <a:lnTo>
                    <a:pt x="1020" y="0"/>
                  </a:lnTo>
                  <a:lnTo>
                    <a:pt x="1019" y="53"/>
                  </a:lnTo>
                  <a:lnTo>
                    <a:pt x="1013" y="104"/>
                  </a:lnTo>
                  <a:lnTo>
                    <a:pt x="1005" y="155"/>
                  </a:lnTo>
                  <a:lnTo>
                    <a:pt x="996" y="204"/>
                  </a:lnTo>
                  <a:lnTo>
                    <a:pt x="984" y="252"/>
                  </a:lnTo>
                  <a:lnTo>
                    <a:pt x="969" y="300"/>
                  </a:lnTo>
                  <a:lnTo>
                    <a:pt x="953" y="347"/>
                  </a:lnTo>
                  <a:lnTo>
                    <a:pt x="935" y="393"/>
                  </a:lnTo>
                  <a:lnTo>
                    <a:pt x="914" y="438"/>
                  </a:lnTo>
                  <a:lnTo>
                    <a:pt x="891" y="482"/>
                  </a:lnTo>
                  <a:lnTo>
                    <a:pt x="866" y="524"/>
                  </a:lnTo>
                  <a:lnTo>
                    <a:pt x="839" y="564"/>
                  </a:lnTo>
                  <a:lnTo>
                    <a:pt x="810" y="605"/>
                  </a:lnTo>
                  <a:lnTo>
                    <a:pt x="780" y="642"/>
                  </a:lnTo>
                  <a:lnTo>
                    <a:pt x="749" y="680"/>
                  </a:lnTo>
                  <a:lnTo>
                    <a:pt x="714" y="714"/>
                  </a:lnTo>
                  <a:lnTo>
                    <a:pt x="680" y="747"/>
                  </a:lnTo>
                  <a:lnTo>
                    <a:pt x="642" y="780"/>
                  </a:lnTo>
                  <a:lnTo>
                    <a:pt x="605" y="810"/>
                  </a:lnTo>
                  <a:lnTo>
                    <a:pt x="564" y="839"/>
                  </a:lnTo>
                  <a:lnTo>
                    <a:pt x="524" y="864"/>
                  </a:lnTo>
                  <a:lnTo>
                    <a:pt x="482" y="890"/>
                  </a:lnTo>
                  <a:lnTo>
                    <a:pt x="438" y="912"/>
                  </a:lnTo>
                  <a:lnTo>
                    <a:pt x="393" y="933"/>
                  </a:lnTo>
                  <a:lnTo>
                    <a:pt x="347" y="951"/>
                  </a:lnTo>
                  <a:lnTo>
                    <a:pt x="300" y="968"/>
                  </a:lnTo>
                  <a:lnTo>
                    <a:pt x="252" y="981"/>
                  </a:lnTo>
                  <a:lnTo>
                    <a:pt x="203" y="993"/>
                  </a:lnTo>
                  <a:lnTo>
                    <a:pt x="153" y="1004"/>
                  </a:lnTo>
                  <a:lnTo>
                    <a:pt x="104" y="1010"/>
                  </a:lnTo>
                  <a:lnTo>
                    <a:pt x="51" y="1016"/>
                  </a:lnTo>
                  <a:lnTo>
                    <a:pt x="0" y="1017"/>
                  </a:lnTo>
                  <a:lnTo>
                    <a:pt x="0" y="1370"/>
                  </a:lnTo>
                  <a:lnTo>
                    <a:pt x="0" y="1370"/>
                  </a:lnTo>
                  <a:lnTo>
                    <a:pt x="71" y="1368"/>
                  </a:lnTo>
                  <a:lnTo>
                    <a:pt x="140" y="1362"/>
                  </a:lnTo>
                  <a:lnTo>
                    <a:pt x="207" y="1352"/>
                  </a:lnTo>
                  <a:lnTo>
                    <a:pt x="275" y="1340"/>
                  </a:lnTo>
                  <a:lnTo>
                    <a:pt x="341" y="1323"/>
                  </a:lnTo>
                  <a:lnTo>
                    <a:pt x="405" y="1305"/>
                  </a:lnTo>
                  <a:lnTo>
                    <a:pt x="468" y="1283"/>
                  </a:lnTo>
                  <a:lnTo>
                    <a:pt x="530" y="1259"/>
                  </a:lnTo>
                  <a:lnTo>
                    <a:pt x="591" y="1230"/>
                  </a:lnTo>
                  <a:lnTo>
                    <a:pt x="650" y="1200"/>
                  </a:lnTo>
                  <a:lnTo>
                    <a:pt x="707" y="1167"/>
                  </a:lnTo>
                  <a:lnTo>
                    <a:pt x="762" y="1131"/>
                  </a:lnTo>
                  <a:lnTo>
                    <a:pt x="816" y="1094"/>
                  </a:lnTo>
                  <a:lnTo>
                    <a:pt x="867" y="1052"/>
                  </a:lnTo>
                  <a:lnTo>
                    <a:pt x="917" y="1010"/>
                  </a:lnTo>
                  <a:lnTo>
                    <a:pt x="965" y="965"/>
                  </a:lnTo>
                  <a:lnTo>
                    <a:pt x="1010" y="917"/>
                  </a:lnTo>
                  <a:lnTo>
                    <a:pt x="1053" y="867"/>
                  </a:lnTo>
                  <a:lnTo>
                    <a:pt x="1094" y="816"/>
                  </a:lnTo>
                  <a:lnTo>
                    <a:pt x="1131" y="762"/>
                  </a:lnTo>
                  <a:lnTo>
                    <a:pt x="1167" y="707"/>
                  </a:lnTo>
                  <a:lnTo>
                    <a:pt x="1200" y="650"/>
                  </a:lnTo>
                  <a:lnTo>
                    <a:pt x="1232" y="591"/>
                  </a:lnTo>
                  <a:lnTo>
                    <a:pt x="1259" y="531"/>
                  </a:lnTo>
                  <a:lnTo>
                    <a:pt x="1284" y="470"/>
                  </a:lnTo>
                  <a:lnTo>
                    <a:pt x="1307" y="405"/>
                  </a:lnTo>
                  <a:lnTo>
                    <a:pt x="1325" y="341"/>
                  </a:lnTo>
                  <a:lnTo>
                    <a:pt x="1341" y="275"/>
                  </a:lnTo>
                  <a:lnTo>
                    <a:pt x="1353" y="209"/>
                  </a:lnTo>
                  <a:lnTo>
                    <a:pt x="1364" y="140"/>
                  </a:lnTo>
                  <a:lnTo>
                    <a:pt x="1370" y="71"/>
                  </a:lnTo>
                  <a:lnTo>
                    <a:pt x="1373" y="0"/>
                  </a:lnTo>
                  <a:lnTo>
                    <a:pt x="1020" y="0"/>
                  </a:lnTo>
                  <a:close/>
                </a:path>
              </a:pathLst>
            </a:custGeom>
            <a:solidFill>
              <a:schemeClr val="accent3">
                <a:alpha val="2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39" name="TextBox 38">
            <a:extLst>
              <a:ext uri="{FF2B5EF4-FFF2-40B4-BE49-F238E27FC236}">
                <a16:creationId xmlns:a16="http://schemas.microsoft.com/office/drawing/2014/main" id="{4776C59B-FDC1-4FC2-96D3-0E574C262E1D}"/>
              </a:ext>
            </a:extLst>
          </p:cNvPr>
          <p:cNvSpPr txBox="1"/>
          <p:nvPr/>
        </p:nvSpPr>
        <p:spPr bwMode="auto">
          <a:xfrm>
            <a:off x="8052661" y="1690688"/>
            <a:ext cx="231053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0" name="Straight Connector 39">
            <a:extLst>
              <a:ext uri="{FF2B5EF4-FFF2-40B4-BE49-F238E27FC236}">
                <a16:creationId xmlns:a16="http://schemas.microsoft.com/office/drawing/2014/main" id="{699039B1-FC1B-4DA9-A905-EF2BDDE13174}"/>
              </a:ext>
            </a:extLst>
          </p:cNvPr>
          <p:cNvCxnSpPr/>
          <p:nvPr/>
        </p:nvCxnSpPr>
        <p:spPr bwMode="auto">
          <a:xfrm flipH="1">
            <a:off x="7035211" y="2082547"/>
            <a:ext cx="332798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C3D2363-BC0E-438A-A190-4D7BD45A8AD3}"/>
              </a:ext>
            </a:extLst>
          </p:cNvPr>
          <p:cNvSpPr txBox="1"/>
          <p:nvPr/>
        </p:nvSpPr>
        <p:spPr bwMode="auto">
          <a:xfrm>
            <a:off x="8052661" y="5261645"/>
            <a:ext cx="231053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2" name="Straight Connector 41">
            <a:extLst>
              <a:ext uri="{FF2B5EF4-FFF2-40B4-BE49-F238E27FC236}">
                <a16:creationId xmlns:a16="http://schemas.microsoft.com/office/drawing/2014/main" id="{78B42D59-EA19-4ACB-9EA8-BEE06B4E1612}"/>
              </a:ext>
            </a:extLst>
          </p:cNvPr>
          <p:cNvCxnSpPr/>
          <p:nvPr/>
        </p:nvCxnSpPr>
        <p:spPr bwMode="auto">
          <a:xfrm flipH="1">
            <a:off x="7035211" y="5653504"/>
            <a:ext cx="332798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095F204A-E284-4F72-BF62-F387C61D367D}"/>
              </a:ext>
            </a:extLst>
          </p:cNvPr>
          <p:cNvSpPr txBox="1"/>
          <p:nvPr/>
        </p:nvSpPr>
        <p:spPr bwMode="auto">
          <a:xfrm>
            <a:off x="8391736" y="4071326"/>
            <a:ext cx="1971463"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4" name="Straight Connector 43">
            <a:extLst>
              <a:ext uri="{FF2B5EF4-FFF2-40B4-BE49-F238E27FC236}">
                <a16:creationId xmlns:a16="http://schemas.microsoft.com/office/drawing/2014/main" id="{3C9CDE26-A4B6-4B35-91C7-BD7943B0E749}"/>
              </a:ext>
            </a:extLst>
          </p:cNvPr>
          <p:cNvCxnSpPr/>
          <p:nvPr/>
        </p:nvCxnSpPr>
        <p:spPr bwMode="auto">
          <a:xfrm flipH="1">
            <a:off x="7523597" y="4463185"/>
            <a:ext cx="28396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99A0DBA9-0337-41F4-B8FB-937714BF89FE}"/>
              </a:ext>
            </a:extLst>
          </p:cNvPr>
          <p:cNvSpPr txBox="1"/>
          <p:nvPr/>
        </p:nvSpPr>
        <p:spPr bwMode="auto">
          <a:xfrm>
            <a:off x="8391735" y="2876866"/>
            <a:ext cx="1971464"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6" name="Straight Connector 45">
            <a:extLst>
              <a:ext uri="{FF2B5EF4-FFF2-40B4-BE49-F238E27FC236}">
                <a16:creationId xmlns:a16="http://schemas.microsoft.com/office/drawing/2014/main" id="{A905E277-A4A5-4971-B5D0-2E36F29F32F0}"/>
              </a:ext>
            </a:extLst>
          </p:cNvPr>
          <p:cNvCxnSpPr/>
          <p:nvPr/>
        </p:nvCxnSpPr>
        <p:spPr bwMode="auto">
          <a:xfrm flipH="1">
            <a:off x="7410450" y="3272866"/>
            <a:ext cx="295275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4FB081D4-2CEB-46C3-9CD8-E7E5F79491D7}"/>
              </a:ext>
            </a:extLst>
          </p:cNvPr>
          <p:cNvSpPr txBox="1"/>
          <p:nvPr/>
        </p:nvSpPr>
        <p:spPr bwMode="auto">
          <a:xfrm flipH="1">
            <a:off x="1822451" y="1690688"/>
            <a:ext cx="2323947"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2" name="Straight Connector 51">
            <a:extLst>
              <a:ext uri="{FF2B5EF4-FFF2-40B4-BE49-F238E27FC236}">
                <a16:creationId xmlns:a16="http://schemas.microsoft.com/office/drawing/2014/main" id="{F7F8D445-7787-412D-99BC-211C688A8A04}"/>
              </a:ext>
            </a:extLst>
          </p:cNvPr>
          <p:cNvCxnSpPr/>
          <p:nvPr/>
        </p:nvCxnSpPr>
        <p:spPr bwMode="auto">
          <a:xfrm>
            <a:off x="1822450" y="2082547"/>
            <a:ext cx="33473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94E87091-19DC-4639-B3EB-33964552C213}"/>
              </a:ext>
            </a:extLst>
          </p:cNvPr>
          <p:cNvSpPr txBox="1"/>
          <p:nvPr/>
        </p:nvSpPr>
        <p:spPr bwMode="auto">
          <a:xfrm flipH="1">
            <a:off x="1822451" y="5261645"/>
            <a:ext cx="2323947"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4" name="Straight Connector 53">
            <a:extLst>
              <a:ext uri="{FF2B5EF4-FFF2-40B4-BE49-F238E27FC236}">
                <a16:creationId xmlns:a16="http://schemas.microsoft.com/office/drawing/2014/main" id="{A1CE84AF-2088-448F-92B9-0FABE61EB1AA}"/>
              </a:ext>
            </a:extLst>
          </p:cNvPr>
          <p:cNvCxnSpPr/>
          <p:nvPr/>
        </p:nvCxnSpPr>
        <p:spPr bwMode="auto">
          <a:xfrm>
            <a:off x="1822450" y="5653504"/>
            <a:ext cx="33473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A54440-38EA-4283-B45F-EE26F5B9153E}"/>
              </a:ext>
            </a:extLst>
          </p:cNvPr>
          <p:cNvSpPr txBox="1"/>
          <p:nvPr/>
        </p:nvSpPr>
        <p:spPr bwMode="auto">
          <a:xfrm flipH="1">
            <a:off x="1822451" y="4071326"/>
            <a:ext cx="1985689"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6" name="Straight Connector 55">
            <a:extLst>
              <a:ext uri="{FF2B5EF4-FFF2-40B4-BE49-F238E27FC236}">
                <a16:creationId xmlns:a16="http://schemas.microsoft.com/office/drawing/2014/main" id="{1EE88EFF-68EC-4FAD-9CB6-7F94BEF5A712}"/>
              </a:ext>
            </a:extLst>
          </p:cNvPr>
          <p:cNvCxnSpPr/>
          <p:nvPr/>
        </p:nvCxnSpPr>
        <p:spPr bwMode="auto">
          <a:xfrm>
            <a:off x="1822450" y="4463185"/>
            <a:ext cx="2860092"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62D8333-A458-459D-BE86-A590174FAA97}"/>
              </a:ext>
            </a:extLst>
          </p:cNvPr>
          <p:cNvSpPr txBox="1"/>
          <p:nvPr/>
        </p:nvSpPr>
        <p:spPr bwMode="auto">
          <a:xfrm flipH="1">
            <a:off x="1822451" y="2876866"/>
            <a:ext cx="1985688"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8" name="Straight Connector 57">
            <a:extLst>
              <a:ext uri="{FF2B5EF4-FFF2-40B4-BE49-F238E27FC236}">
                <a16:creationId xmlns:a16="http://schemas.microsoft.com/office/drawing/2014/main" id="{129EA666-BA84-488B-85FA-51418E0C54F9}"/>
              </a:ext>
            </a:extLst>
          </p:cNvPr>
          <p:cNvCxnSpPr/>
          <p:nvPr/>
        </p:nvCxnSpPr>
        <p:spPr bwMode="auto">
          <a:xfrm>
            <a:off x="1822450" y="3272866"/>
            <a:ext cx="29980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61155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4</a:t>
            </a:r>
            <a:endParaRPr lang="en-US" sz="3600" b="1"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5DDCDBF-7868-49C7-AA02-A42753ABC6A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30" name="Group 35">
            <a:extLst>
              <a:ext uri="{FF2B5EF4-FFF2-40B4-BE49-F238E27FC236}">
                <a16:creationId xmlns:a16="http://schemas.microsoft.com/office/drawing/2014/main" id="{99210B36-1D5B-47DE-A512-A78D099E7E25}"/>
              </a:ext>
            </a:extLst>
          </p:cNvPr>
          <p:cNvGrpSpPr/>
          <p:nvPr/>
        </p:nvGrpSpPr>
        <p:grpSpPr bwMode="auto">
          <a:xfrm>
            <a:off x="3903939" y="1666800"/>
            <a:ext cx="4416426" cy="4416425"/>
            <a:chOff x="2373313" y="1670050"/>
            <a:chExt cx="4416426" cy="4416425"/>
          </a:xfrm>
        </p:grpSpPr>
        <p:sp>
          <p:nvSpPr>
            <p:cNvPr id="31" name="Freeform 6">
              <a:extLst>
                <a:ext uri="{FF2B5EF4-FFF2-40B4-BE49-F238E27FC236}">
                  <a16:creationId xmlns:a16="http://schemas.microsoft.com/office/drawing/2014/main" id="{A7291F12-7BBC-472B-A776-1AF5859339AE}"/>
                </a:ext>
              </a:extLst>
            </p:cNvPr>
            <p:cNvSpPr>
              <a:spLocks/>
            </p:cNvSpPr>
            <p:nvPr/>
          </p:nvSpPr>
          <p:spPr bwMode="auto">
            <a:xfrm>
              <a:off x="2373313" y="1670050"/>
              <a:ext cx="2170113" cy="2171700"/>
            </a:xfrm>
            <a:custGeom>
              <a:avLst/>
              <a:gdLst/>
              <a:ahLst/>
              <a:cxnLst>
                <a:cxn ang="0">
                  <a:pos x="1367" y="0"/>
                </a:cxn>
                <a:cxn ang="0">
                  <a:pos x="1227" y="11"/>
                </a:cxn>
                <a:cxn ang="0">
                  <a:pos x="1094" y="32"/>
                </a:cxn>
                <a:cxn ang="0">
                  <a:pos x="963" y="68"/>
                </a:cxn>
                <a:cxn ang="0">
                  <a:pos x="839" y="114"/>
                </a:cxn>
                <a:cxn ang="0">
                  <a:pos x="720" y="173"/>
                </a:cxn>
                <a:cxn ang="0">
                  <a:pos x="608" y="242"/>
                </a:cxn>
                <a:cxn ang="0">
                  <a:pos x="503" y="320"/>
                </a:cxn>
                <a:cxn ang="0">
                  <a:pos x="407" y="408"/>
                </a:cxn>
                <a:cxn ang="0">
                  <a:pos x="318" y="504"/>
                </a:cxn>
                <a:cxn ang="0">
                  <a:pos x="240" y="609"/>
                </a:cxn>
                <a:cxn ang="0">
                  <a:pos x="171" y="722"/>
                </a:cxn>
                <a:cxn ang="0">
                  <a:pos x="113" y="840"/>
                </a:cxn>
                <a:cxn ang="0">
                  <a:pos x="66" y="965"/>
                </a:cxn>
                <a:cxn ang="0">
                  <a:pos x="32" y="1095"/>
                </a:cxn>
                <a:cxn ang="0">
                  <a:pos x="9" y="1229"/>
                </a:cxn>
                <a:cxn ang="0">
                  <a:pos x="0" y="1368"/>
                </a:cxn>
                <a:cxn ang="0">
                  <a:pos x="351" y="1368"/>
                </a:cxn>
                <a:cxn ang="0">
                  <a:pos x="357" y="1278"/>
                </a:cxn>
                <a:cxn ang="0">
                  <a:pos x="371" y="1190"/>
                </a:cxn>
                <a:cxn ang="0">
                  <a:pos x="392" y="1103"/>
                </a:cxn>
                <a:cxn ang="0">
                  <a:pos x="420" y="1017"/>
                </a:cxn>
                <a:cxn ang="0">
                  <a:pos x="456" y="935"/>
                </a:cxn>
                <a:cxn ang="0">
                  <a:pos x="498" y="857"/>
                </a:cxn>
                <a:cxn ang="0">
                  <a:pos x="548" y="782"/>
                </a:cxn>
                <a:cxn ang="0">
                  <a:pos x="605" y="711"/>
                </a:cxn>
                <a:cxn ang="0">
                  <a:pos x="641" y="671"/>
                </a:cxn>
                <a:cxn ang="0">
                  <a:pos x="722" y="596"/>
                </a:cxn>
                <a:cxn ang="0">
                  <a:pos x="807" y="530"/>
                </a:cxn>
                <a:cxn ang="0">
                  <a:pos x="900" y="474"/>
                </a:cxn>
                <a:cxn ang="0">
                  <a:pos x="996" y="429"/>
                </a:cxn>
                <a:cxn ang="0">
                  <a:pos x="1098" y="393"/>
                </a:cxn>
                <a:cxn ang="0">
                  <a:pos x="1203" y="368"/>
                </a:cxn>
                <a:cxn ang="0">
                  <a:pos x="1311" y="354"/>
                </a:cxn>
                <a:cxn ang="0">
                  <a:pos x="1367" y="0"/>
                </a:cxn>
              </a:cxnLst>
              <a:rect l="0" t="0" r="r" b="b"/>
              <a:pathLst>
                <a:path w="1367" h="1368">
                  <a:moveTo>
                    <a:pt x="1367" y="0"/>
                  </a:moveTo>
                  <a:lnTo>
                    <a:pt x="1367" y="0"/>
                  </a:lnTo>
                  <a:lnTo>
                    <a:pt x="1296" y="3"/>
                  </a:lnTo>
                  <a:lnTo>
                    <a:pt x="1227" y="11"/>
                  </a:lnTo>
                  <a:lnTo>
                    <a:pt x="1160" y="20"/>
                  </a:lnTo>
                  <a:lnTo>
                    <a:pt x="1094" y="32"/>
                  </a:lnTo>
                  <a:lnTo>
                    <a:pt x="1028" y="48"/>
                  </a:lnTo>
                  <a:lnTo>
                    <a:pt x="963" y="68"/>
                  </a:lnTo>
                  <a:lnTo>
                    <a:pt x="900" y="90"/>
                  </a:lnTo>
                  <a:lnTo>
                    <a:pt x="839" y="114"/>
                  </a:lnTo>
                  <a:lnTo>
                    <a:pt x="779" y="143"/>
                  </a:lnTo>
                  <a:lnTo>
                    <a:pt x="720" y="173"/>
                  </a:lnTo>
                  <a:lnTo>
                    <a:pt x="663" y="206"/>
                  </a:lnTo>
                  <a:lnTo>
                    <a:pt x="608" y="242"/>
                  </a:lnTo>
                  <a:lnTo>
                    <a:pt x="555" y="279"/>
                  </a:lnTo>
                  <a:lnTo>
                    <a:pt x="503" y="320"/>
                  </a:lnTo>
                  <a:lnTo>
                    <a:pt x="455" y="363"/>
                  </a:lnTo>
                  <a:lnTo>
                    <a:pt x="407" y="408"/>
                  </a:lnTo>
                  <a:lnTo>
                    <a:pt x="362" y="455"/>
                  </a:lnTo>
                  <a:lnTo>
                    <a:pt x="318" y="504"/>
                  </a:lnTo>
                  <a:lnTo>
                    <a:pt x="278" y="557"/>
                  </a:lnTo>
                  <a:lnTo>
                    <a:pt x="240" y="609"/>
                  </a:lnTo>
                  <a:lnTo>
                    <a:pt x="204" y="665"/>
                  </a:lnTo>
                  <a:lnTo>
                    <a:pt x="171" y="722"/>
                  </a:lnTo>
                  <a:lnTo>
                    <a:pt x="141" y="780"/>
                  </a:lnTo>
                  <a:lnTo>
                    <a:pt x="113" y="840"/>
                  </a:lnTo>
                  <a:lnTo>
                    <a:pt x="89" y="902"/>
                  </a:lnTo>
                  <a:lnTo>
                    <a:pt x="66" y="965"/>
                  </a:lnTo>
                  <a:lnTo>
                    <a:pt x="47" y="1029"/>
                  </a:lnTo>
                  <a:lnTo>
                    <a:pt x="32" y="1095"/>
                  </a:lnTo>
                  <a:lnTo>
                    <a:pt x="18" y="1161"/>
                  </a:lnTo>
                  <a:lnTo>
                    <a:pt x="9" y="1229"/>
                  </a:lnTo>
                  <a:lnTo>
                    <a:pt x="3" y="1298"/>
                  </a:lnTo>
                  <a:lnTo>
                    <a:pt x="0" y="1368"/>
                  </a:lnTo>
                  <a:lnTo>
                    <a:pt x="351" y="1368"/>
                  </a:lnTo>
                  <a:lnTo>
                    <a:pt x="351" y="1368"/>
                  </a:lnTo>
                  <a:lnTo>
                    <a:pt x="354" y="1323"/>
                  </a:lnTo>
                  <a:lnTo>
                    <a:pt x="357" y="1278"/>
                  </a:lnTo>
                  <a:lnTo>
                    <a:pt x="363" y="1233"/>
                  </a:lnTo>
                  <a:lnTo>
                    <a:pt x="371" y="1190"/>
                  </a:lnTo>
                  <a:lnTo>
                    <a:pt x="381" y="1145"/>
                  </a:lnTo>
                  <a:lnTo>
                    <a:pt x="392" y="1103"/>
                  </a:lnTo>
                  <a:lnTo>
                    <a:pt x="405" y="1059"/>
                  </a:lnTo>
                  <a:lnTo>
                    <a:pt x="420" y="1017"/>
                  </a:lnTo>
                  <a:lnTo>
                    <a:pt x="437" y="975"/>
                  </a:lnTo>
                  <a:lnTo>
                    <a:pt x="456" y="935"/>
                  </a:lnTo>
                  <a:lnTo>
                    <a:pt x="477" y="896"/>
                  </a:lnTo>
                  <a:lnTo>
                    <a:pt x="498" y="857"/>
                  </a:lnTo>
                  <a:lnTo>
                    <a:pt x="522" y="819"/>
                  </a:lnTo>
                  <a:lnTo>
                    <a:pt x="548" y="782"/>
                  </a:lnTo>
                  <a:lnTo>
                    <a:pt x="575" y="746"/>
                  </a:lnTo>
                  <a:lnTo>
                    <a:pt x="605" y="711"/>
                  </a:lnTo>
                  <a:lnTo>
                    <a:pt x="605" y="711"/>
                  </a:lnTo>
                  <a:lnTo>
                    <a:pt x="641" y="671"/>
                  </a:lnTo>
                  <a:lnTo>
                    <a:pt x="680" y="632"/>
                  </a:lnTo>
                  <a:lnTo>
                    <a:pt x="722" y="596"/>
                  </a:lnTo>
                  <a:lnTo>
                    <a:pt x="764" y="561"/>
                  </a:lnTo>
                  <a:lnTo>
                    <a:pt x="807" y="530"/>
                  </a:lnTo>
                  <a:lnTo>
                    <a:pt x="852" y="501"/>
                  </a:lnTo>
                  <a:lnTo>
                    <a:pt x="900" y="474"/>
                  </a:lnTo>
                  <a:lnTo>
                    <a:pt x="948" y="450"/>
                  </a:lnTo>
                  <a:lnTo>
                    <a:pt x="996" y="429"/>
                  </a:lnTo>
                  <a:lnTo>
                    <a:pt x="1047" y="410"/>
                  </a:lnTo>
                  <a:lnTo>
                    <a:pt x="1098" y="393"/>
                  </a:lnTo>
                  <a:lnTo>
                    <a:pt x="1151" y="380"/>
                  </a:lnTo>
                  <a:lnTo>
                    <a:pt x="1203" y="368"/>
                  </a:lnTo>
                  <a:lnTo>
                    <a:pt x="1257" y="360"/>
                  </a:lnTo>
                  <a:lnTo>
                    <a:pt x="1311" y="354"/>
                  </a:lnTo>
                  <a:lnTo>
                    <a:pt x="1367" y="351"/>
                  </a:lnTo>
                  <a:lnTo>
                    <a:pt x="1367" y="0"/>
                  </a:lnTo>
                  <a:close/>
                </a:path>
              </a:pathLst>
            </a:custGeom>
            <a:solidFill>
              <a:schemeClr val="tx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2" name="Freeform 7">
              <a:extLst>
                <a:ext uri="{FF2B5EF4-FFF2-40B4-BE49-F238E27FC236}">
                  <a16:creationId xmlns:a16="http://schemas.microsoft.com/office/drawing/2014/main" id="{D4D7708A-42CC-4832-A6EE-8A372569CF33}"/>
                </a:ext>
              </a:extLst>
            </p:cNvPr>
            <p:cNvSpPr>
              <a:spLocks/>
            </p:cNvSpPr>
            <p:nvPr/>
          </p:nvSpPr>
          <p:spPr bwMode="auto">
            <a:xfrm>
              <a:off x="4610101" y="1670050"/>
              <a:ext cx="2179638" cy="2171700"/>
            </a:xfrm>
            <a:custGeom>
              <a:avLst/>
              <a:gdLst/>
              <a:ahLst/>
              <a:cxnLst>
                <a:cxn ang="0">
                  <a:pos x="0" y="351"/>
                </a:cxn>
                <a:cxn ang="0">
                  <a:pos x="56" y="354"/>
                </a:cxn>
                <a:cxn ang="0">
                  <a:pos x="164" y="368"/>
                </a:cxn>
                <a:cxn ang="0">
                  <a:pos x="270" y="392"/>
                </a:cxn>
                <a:cxn ang="0">
                  <a:pos x="372" y="428"/>
                </a:cxn>
                <a:cxn ang="0">
                  <a:pos x="470" y="473"/>
                </a:cxn>
                <a:cxn ang="0">
                  <a:pos x="563" y="530"/>
                </a:cxn>
                <a:cxn ang="0">
                  <a:pos x="650" y="594"/>
                </a:cxn>
                <a:cxn ang="0">
                  <a:pos x="731" y="669"/>
                </a:cxn>
                <a:cxn ang="0">
                  <a:pos x="768" y="711"/>
                </a:cxn>
                <a:cxn ang="0">
                  <a:pos x="824" y="782"/>
                </a:cxn>
                <a:cxn ang="0">
                  <a:pos x="873" y="857"/>
                </a:cxn>
                <a:cxn ang="0">
                  <a:pos x="917" y="935"/>
                </a:cxn>
                <a:cxn ang="0">
                  <a:pos x="951" y="1017"/>
                </a:cxn>
                <a:cxn ang="0">
                  <a:pos x="980" y="1103"/>
                </a:cxn>
                <a:cxn ang="0">
                  <a:pos x="1001" y="1190"/>
                </a:cxn>
                <a:cxn ang="0">
                  <a:pos x="1014" y="1278"/>
                </a:cxn>
                <a:cxn ang="0">
                  <a:pos x="1020" y="1368"/>
                </a:cxn>
                <a:cxn ang="0">
                  <a:pos x="1373" y="1368"/>
                </a:cxn>
                <a:cxn ang="0">
                  <a:pos x="1364" y="1229"/>
                </a:cxn>
                <a:cxn ang="0">
                  <a:pos x="1341" y="1094"/>
                </a:cxn>
                <a:cxn ang="0">
                  <a:pos x="1305" y="963"/>
                </a:cxn>
                <a:cxn ang="0">
                  <a:pos x="1259" y="839"/>
                </a:cxn>
                <a:cxn ang="0">
                  <a:pos x="1200" y="720"/>
                </a:cxn>
                <a:cxn ang="0">
                  <a:pos x="1131" y="608"/>
                </a:cxn>
                <a:cxn ang="0">
                  <a:pos x="1052" y="503"/>
                </a:cxn>
                <a:cxn ang="0">
                  <a:pos x="963" y="407"/>
                </a:cxn>
                <a:cxn ang="0">
                  <a:pos x="866" y="318"/>
                </a:cxn>
                <a:cxn ang="0">
                  <a:pos x="761" y="239"/>
                </a:cxn>
                <a:cxn ang="0">
                  <a:pos x="648" y="171"/>
                </a:cxn>
                <a:cxn ang="0">
                  <a:pos x="530" y="113"/>
                </a:cxn>
                <a:cxn ang="0">
                  <a:pos x="405" y="66"/>
                </a:cxn>
                <a:cxn ang="0">
                  <a:pos x="275" y="32"/>
                </a:cxn>
                <a:cxn ang="0">
                  <a:pos x="140" y="9"/>
                </a:cxn>
                <a:cxn ang="0">
                  <a:pos x="0" y="0"/>
                </a:cxn>
              </a:cxnLst>
              <a:rect l="0" t="0" r="r" b="b"/>
              <a:pathLst>
                <a:path w="1373" h="1368">
                  <a:moveTo>
                    <a:pt x="0" y="0"/>
                  </a:moveTo>
                  <a:lnTo>
                    <a:pt x="0" y="351"/>
                  </a:lnTo>
                  <a:lnTo>
                    <a:pt x="0" y="351"/>
                  </a:lnTo>
                  <a:lnTo>
                    <a:pt x="56" y="354"/>
                  </a:lnTo>
                  <a:lnTo>
                    <a:pt x="110" y="359"/>
                  </a:lnTo>
                  <a:lnTo>
                    <a:pt x="164" y="368"/>
                  </a:lnTo>
                  <a:lnTo>
                    <a:pt x="218" y="378"/>
                  </a:lnTo>
                  <a:lnTo>
                    <a:pt x="270" y="392"/>
                  </a:lnTo>
                  <a:lnTo>
                    <a:pt x="321" y="408"/>
                  </a:lnTo>
                  <a:lnTo>
                    <a:pt x="372" y="428"/>
                  </a:lnTo>
                  <a:lnTo>
                    <a:pt x="422" y="449"/>
                  </a:lnTo>
                  <a:lnTo>
                    <a:pt x="470" y="473"/>
                  </a:lnTo>
                  <a:lnTo>
                    <a:pt x="518" y="500"/>
                  </a:lnTo>
                  <a:lnTo>
                    <a:pt x="563" y="530"/>
                  </a:lnTo>
                  <a:lnTo>
                    <a:pt x="608" y="561"/>
                  </a:lnTo>
                  <a:lnTo>
                    <a:pt x="650" y="594"/>
                  </a:lnTo>
                  <a:lnTo>
                    <a:pt x="692" y="632"/>
                  </a:lnTo>
                  <a:lnTo>
                    <a:pt x="731" y="669"/>
                  </a:lnTo>
                  <a:lnTo>
                    <a:pt x="768" y="711"/>
                  </a:lnTo>
                  <a:lnTo>
                    <a:pt x="768" y="711"/>
                  </a:lnTo>
                  <a:lnTo>
                    <a:pt x="797" y="746"/>
                  </a:lnTo>
                  <a:lnTo>
                    <a:pt x="824" y="782"/>
                  </a:lnTo>
                  <a:lnTo>
                    <a:pt x="849" y="819"/>
                  </a:lnTo>
                  <a:lnTo>
                    <a:pt x="873" y="857"/>
                  </a:lnTo>
                  <a:lnTo>
                    <a:pt x="896" y="896"/>
                  </a:lnTo>
                  <a:lnTo>
                    <a:pt x="917" y="935"/>
                  </a:lnTo>
                  <a:lnTo>
                    <a:pt x="935" y="975"/>
                  </a:lnTo>
                  <a:lnTo>
                    <a:pt x="951" y="1017"/>
                  </a:lnTo>
                  <a:lnTo>
                    <a:pt x="966" y="1059"/>
                  </a:lnTo>
                  <a:lnTo>
                    <a:pt x="980" y="1103"/>
                  </a:lnTo>
                  <a:lnTo>
                    <a:pt x="992" y="1145"/>
                  </a:lnTo>
                  <a:lnTo>
                    <a:pt x="1001" y="1190"/>
                  </a:lnTo>
                  <a:lnTo>
                    <a:pt x="1008" y="1233"/>
                  </a:lnTo>
                  <a:lnTo>
                    <a:pt x="1014" y="1278"/>
                  </a:lnTo>
                  <a:lnTo>
                    <a:pt x="1019" y="1323"/>
                  </a:lnTo>
                  <a:lnTo>
                    <a:pt x="1020" y="1368"/>
                  </a:lnTo>
                  <a:lnTo>
                    <a:pt x="1373" y="1368"/>
                  </a:lnTo>
                  <a:lnTo>
                    <a:pt x="1373" y="1368"/>
                  </a:lnTo>
                  <a:lnTo>
                    <a:pt x="1370" y="1298"/>
                  </a:lnTo>
                  <a:lnTo>
                    <a:pt x="1364" y="1229"/>
                  </a:lnTo>
                  <a:lnTo>
                    <a:pt x="1353" y="1161"/>
                  </a:lnTo>
                  <a:lnTo>
                    <a:pt x="1341" y="1094"/>
                  </a:lnTo>
                  <a:lnTo>
                    <a:pt x="1325" y="1028"/>
                  </a:lnTo>
                  <a:lnTo>
                    <a:pt x="1305" y="963"/>
                  </a:lnTo>
                  <a:lnTo>
                    <a:pt x="1283" y="900"/>
                  </a:lnTo>
                  <a:lnTo>
                    <a:pt x="1259" y="839"/>
                  </a:lnTo>
                  <a:lnTo>
                    <a:pt x="1230" y="779"/>
                  </a:lnTo>
                  <a:lnTo>
                    <a:pt x="1200" y="720"/>
                  </a:lnTo>
                  <a:lnTo>
                    <a:pt x="1167" y="663"/>
                  </a:lnTo>
                  <a:lnTo>
                    <a:pt x="1131" y="608"/>
                  </a:lnTo>
                  <a:lnTo>
                    <a:pt x="1092" y="554"/>
                  </a:lnTo>
                  <a:lnTo>
                    <a:pt x="1052" y="503"/>
                  </a:lnTo>
                  <a:lnTo>
                    <a:pt x="1008" y="453"/>
                  </a:lnTo>
                  <a:lnTo>
                    <a:pt x="963" y="407"/>
                  </a:lnTo>
                  <a:lnTo>
                    <a:pt x="917" y="362"/>
                  </a:lnTo>
                  <a:lnTo>
                    <a:pt x="866" y="318"/>
                  </a:lnTo>
                  <a:lnTo>
                    <a:pt x="815" y="278"/>
                  </a:lnTo>
                  <a:lnTo>
                    <a:pt x="761" y="239"/>
                  </a:lnTo>
                  <a:lnTo>
                    <a:pt x="707" y="204"/>
                  </a:lnTo>
                  <a:lnTo>
                    <a:pt x="648" y="171"/>
                  </a:lnTo>
                  <a:lnTo>
                    <a:pt x="590" y="140"/>
                  </a:lnTo>
                  <a:lnTo>
                    <a:pt x="530" y="113"/>
                  </a:lnTo>
                  <a:lnTo>
                    <a:pt x="468" y="87"/>
                  </a:lnTo>
                  <a:lnTo>
                    <a:pt x="405" y="66"/>
                  </a:lnTo>
                  <a:lnTo>
                    <a:pt x="341" y="47"/>
                  </a:lnTo>
                  <a:lnTo>
                    <a:pt x="275" y="32"/>
                  </a:lnTo>
                  <a:lnTo>
                    <a:pt x="207" y="18"/>
                  </a:lnTo>
                  <a:lnTo>
                    <a:pt x="140" y="9"/>
                  </a:lnTo>
                  <a:lnTo>
                    <a:pt x="69" y="3"/>
                  </a:lnTo>
                  <a:lnTo>
                    <a:pt x="0" y="0"/>
                  </a:lnTo>
                  <a:lnTo>
                    <a:pt x="0" y="0"/>
                  </a:lnTo>
                  <a:close/>
                </a:path>
              </a:pathLst>
            </a:custGeom>
            <a:solidFill>
              <a:schemeClr val="accent3">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3" name="Freeform 8">
              <a:extLst>
                <a:ext uri="{FF2B5EF4-FFF2-40B4-BE49-F238E27FC236}">
                  <a16:creationId xmlns:a16="http://schemas.microsoft.com/office/drawing/2014/main" id="{2D966427-7D39-480B-93A5-D2FAB5984320}"/>
                </a:ext>
              </a:extLst>
            </p:cNvPr>
            <p:cNvSpPr>
              <a:spLocks/>
            </p:cNvSpPr>
            <p:nvPr/>
          </p:nvSpPr>
          <p:spPr bwMode="auto">
            <a:xfrm>
              <a:off x="2997201" y="2293938"/>
              <a:ext cx="1546225" cy="1547813"/>
            </a:xfrm>
            <a:custGeom>
              <a:avLst/>
              <a:gdLst/>
              <a:ahLst/>
              <a:cxnLst>
                <a:cxn ang="0">
                  <a:pos x="974" y="0"/>
                </a:cxn>
                <a:cxn ang="0">
                  <a:pos x="869" y="9"/>
                </a:cxn>
                <a:cxn ang="0">
                  <a:pos x="767" y="27"/>
                </a:cxn>
                <a:cxn ang="0">
                  <a:pos x="668" y="57"/>
                </a:cxn>
                <a:cxn ang="0">
                  <a:pos x="572" y="96"/>
                </a:cxn>
                <a:cxn ang="0">
                  <a:pos x="482" y="144"/>
                </a:cxn>
                <a:cxn ang="0">
                  <a:pos x="396" y="203"/>
                </a:cxn>
                <a:cxn ang="0">
                  <a:pos x="315" y="270"/>
                </a:cxn>
                <a:cxn ang="0">
                  <a:pos x="243" y="345"/>
                </a:cxn>
                <a:cxn ang="0">
                  <a:pos x="215" y="378"/>
                </a:cxn>
                <a:cxn ang="0">
                  <a:pos x="165" y="449"/>
                </a:cxn>
                <a:cxn ang="0">
                  <a:pos x="120" y="522"/>
                </a:cxn>
                <a:cxn ang="0">
                  <a:pos x="83" y="599"/>
                </a:cxn>
                <a:cxn ang="0">
                  <a:pos x="53" y="680"/>
                </a:cxn>
                <a:cxn ang="0">
                  <a:pos x="29" y="762"/>
                </a:cxn>
                <a:cxn ang="0">
                  <a:pos x="12" y="846"/>
                </a:cxn>
                <a:cxn ang="0">
                  <a:pos x="3" y="932"/>
                </a:cxn>
                <a:cxn ang="0">
                  <a:pos x="351" y="975"/>
                </a:cxn>
                <a:cxn ang="0">
                  <a:pos x="354" y="944"/>
                </a:cxn>
                <a:cxn ang="0">
                  <a:pos x="362" y="882"/>
                </a:cxn>
                <a:cxn ang="0">
                  <a:pos x="375" y="822"/>
                </a:cxn>
                <a:cxn ang="0">
                  <a:pos x="395" y="765"/>
                </a:cxn>
                <a:cxn ang="0">
                  <a:pos x="419" y="710"/>
                </a:cxn>
                <a:cxn ang="0">
                  <a:pos x="449" y="657"/>
                </a:cxn>
                <a:cxn ang="0">
                  <a:pos x="482" y="609"/>
                </a:cxn>
                <a:cxn ang="0">
                  <a:pos x="519" y="563"/>
                </a:cxn>
                <a:cxn ang="0">
                  <a:pos x="561" y="521"/>
                </a:cxn>
                <a:cxn ang="0">
                  <a:pos x="608" y="483"/>
                </a:cxn>
                <a:cxn ang="0">
                  <a:pos x="656" y="450"/>
                </a:cxn>
                <a:cxn ang="0">
                  <a:pos x="708" y="420"/>
                </a:cxn>
                <a:cxn ang="0">
                  <a:pos x="764" y="396"/>
                </a:cxn>
                <a:cxn ang="0">
                  <a:pos x="821" y="377"/>
                </a:cxn>
                <a:cxn ang="0">
                  <a:pos x="881" y="363"/>
                </a:cxn>
                <a:cxn ang="0">
                  <a:pos x="942" y="354"/>
                </a:cxn>
                <a:cxn ang="0">
                  <a:pos x="974" y="0"/>
                </a:cxn>
              </a:cxnLst>
              <a:rect l="0" t="0" r="r" b="b"/>
              <a:pathLst>
                <a:path w="974" h="975">
                  <a:moveTo>
                    <a:pt x="974" y="0"/>
                  </a:moveTo>
                  <a:lnTo>
                    <a:pt x="974" y="0"/>
                  </a:lnTo>
                  <a:lnTo>
                    <a:pt x="921" y="3"/>
                  </a:lnTo>
                  <a:lnTo>
                    <a:pt x="869" y="9"/>
                  </a:lnTo>
                  <a:lnTo>
                    <a:pt x="818" y="17"/>
                  </a:lnTo>
                  <a:lnTo>
                    <a:pt x="767" y="27"/>
                  </a:lnTo>
                  <a:lnTo>
                    <a:pt x="717" y="41"/>
                  </a:lnTo>
                  <a:lnTo>
                    <a:pt x="668" y="57"/>
                  </a:lnTo>
                  <a:lnTo>
                    <a:pt x="620" y="75"/>
                  </a:lnTo>
                  <a:lnTo>
                    <a:pt x="572" y="96"/>
                  </a:lnTo>
                  <a:lnTo>
                    <a:pt x="527" y="119"/>
                  </a:lnTo>
                  <a:lnTo>
                    <a:pt x="482" y="144"/>
                  </a:lnTo>
                  <a:lnTo>
                    <a:pt x="438" y="173"/>
                  </a:lnTo>
                  <a:lnTo>
                    <a:pt x="396" y="203"/>
                  </a:lnTo>
                  <a:lnTo>
                    <a:pt x="354" y="234"/>
                  </a:lnTo>
                  <a:lnTo>
                    <a:pt x="315" y="270"/>
                  </a:lnTo>
                  <a:lnTo>
                    <a:pt x="279" y="306"/>
                  </a:lnTo>
                  <a:lnTo>
                    <a:pt x="243" y="345"/>
                  </a:lnTo>
                  <a:lnTo>
                    <a:pt x="243" y="345"/>
                  </a:lnTo>
                  <a:lnTo>
                    <a:pt x="215" y="378"/>
                  </a:lnTo>
                  <a:lnTo>
                    <a:pt x="189" y="413"/>
                  </a:lnTo>
                  <a:lnTo>
                    <a:pt x="165" y="449"/>
                  </a:lnTo>
                  <a:lnTo>
                    <a:pt x="141" y="485"/>
                  </a:lnTo>
                  <a:lnTo>
                    <a:pt x="120" y="522"/>
                  </a:lnTo>
                  <a:lnTo>
                    <a:pt x="101" y="560"/>
                  </a:lnTo>
                  <a:lnTo>
                    <a:pt x="83" y="599"/>
                  </a:lnTo>
                  <a:lnTo>
                    <a:pt x="66" y="639"/>
                  </a:lnTo>
                  <a:lnTo>
                    <a:pt x="53" y="680"/>
                  </a:lnTo>
                  <a:lnTo>
                    <a:pt x="39" y="720"/>
                  </a:lnTo>
                  <a:lnTo>
                    <a:pt x="29" y="762"/>
                  </a:lnTo>
                  <a:lnTo>
                    <a:pt x="20" y="804"/>
                  </a:lnTo>
                  <a:lnTo>
                    <a:pt x="12" y="846"/>
                  </a:lnTo>
                  <a:lnTo>
                    <a:pt x="6" y="888"/>
                  </a:lnTo>
                  <a:lnTo>
                    <a:pt x="3" y="932"/>
                  </a:lnTo>
                  <a:lnTo>
                    <a:pt x="0" y="975"/>
                  </a:lnTo>
                  <a:lnTo>
                    <a:pt x="351" y="975"/>
                  </a:lnTo>
                  <a:lnTo>
                    <a:pt x="351" y="975"/>
                  </a:lnTo>
                  <a:lnTo>
                    <a:pt x="354" y="944"/>
                  </a:lnTo>
                  <a:lnTo>
                    <a:pt x="357" y="912"/>
                  </a:lnTo>
                  <a:lnTo>
                    <a:pt x="362" y="882"/>
                  </a:lnTo>
                  <a:lnTo>
                    <a:pt x="368" y="852"/>
                  </a:lnTo>
                  <a:lnTo>
                    <a:pt x="375" y="822"/>
                  </a:lnTo>
                  <a:lnTo>
                    <a:pt x="384" y="794"/>
                  </a:lnTo>
                  <a:lnTo>
                    <a:pt x="395" y="765"/>
                  </a:lnTo>
                  <a:lnTo>
                    <a:pt x="407" y="737"/>
                  </a:lnTo>
                  <a:lnTo>
                    <a:pt x="419" y="710"/>
                  </a:lnTo>
                  <a:lnTo>
                    <a:pt x="434" y="683"/>
                  </a:lnTo>
                  <a:lnTo>
                    <a:pt x="449" y="657"/>
                  </a:lnTo>
                  <a:lnTo>
                    <a:pt x="465" y="633"/>
                  </a:lnTo>
                  <a:lnTo>
                    <a:pt x="482" y="609"/>
                  </a:lnTo>
                  <a:lnTo>
                    <a:pt x="500" y="585"/>
                  </a:lnTo>
                  <a:lnTo>
                    <a:pt x="519" y="563"/>
                  </a:lnTo>
                  <a:lnTo>
                    <a:pt x="540" y="542"/>
                  </a:lnTo>
                  <a:lnTo>
                    <a:pt x="561" y="521"/>
                  </a:lnTo>
                  <a:lnTo>
                    <a:pt x="584" y="501"/>
                  </a:lnTo>
                  <a:lnTo>
                    <a:pt x="608" y="483"/>
                  </a:lnTo>
                  <a:lnTo>
                    <a:pt x="632" y="465"/>
                  </a:lnTo>
                  <a:lnTo>
                    <a:pt x="656" y="450"/>
                  </a:lnTo>
                  <a:lnTo>
                    <a:pt x="681" y="435"/>
                  </a:lnTo>
                  <a:lnTo>
                    <a:pt x="708" y="420"/>
                  </a:lnTo>
                  <a:lnTo>
                    <a:pt x="735" y="408"/>
                  </a:lnTo>
                  <a:lnTo>
                    <a:pt x="764" y="396"/>
                  </a:lnTo>
                  <a:lnTo>
                    <a:pt x="792" y="386"/>
                  </a:lnTo>
                  <a:lnTo>
                    <a:pt x="821" y="377"/>
                  </a:lnTo>
                  <a:lnTo>
                    <a:pt x="851" y="369"/>
                  </a:lnTo>
                  <a:lnTo>
                    <a:pt x="881" y="363"/>
                  </a:lnTo>
                  <a:lnTo>
                    <a:pt x="911" y="359"/>
                  </a:lnTo>
                  <a:lnTo>
                    <a:pt x="942" y="354"/>
                  </a:lnTo>
                  <a:lnTo>
                    <a:pt x="974" y="353"/>
                  </a:lnTo>
                  <a:lnTo>
                    <a:pt x="974" y="0"/>
                  </a:lnTo>
                  <a:close/>
                </a:path>
              </a:pathLst>
            </a:custGeom>
            <a:solidFill>
              <a:schemeClr val="tx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4" name="Freeform 9">
              <a:extLst>
                <a:ext uri="{FF2B5EF4-FFF2-40B4-BE49-F238E27FC236}">
                  <a16:creationId xmlns:a16="http://schemas.microsoft.com/office/drawing/2014/main" id="{2B2E2E11-C044-473D-BB67-974ABA599198}"/>
                </a:ext>
              </a:extLst>
            </p:cNvPr>
            <p:cNvSpPr>
              <a:spLocks/>
            </p:cNvSpPr>
            <p:nvPr/>
          </p:nvSpPr>
          <p:spPr bwMode="auto">
            <a:xfrm>
              <a:off x="4610101" y="2293938"/>
              <a:ext cx="1552575" cy="1584325"/>
            </a:xfrm>
            <a:custGeom>
              <a:avLst/>
              <a:gdLst/>
              <a:ahLst/>
              <a:cxnLst>
                <a:cxn ang="0">
                  <a:pos x="737" y="345"/>
                </a:cxn>
                <a:cxn ang="0">
                  <a:pos x="663" y="269"/>
                </a:cxn>
                <a:cxn ang="0">
                  <a:pos x="582" y="201"/>
                </a:cxn>
                <a:cxn ang="0">
                  <a:pos x="497" y="143"/>
                </a:cxn>
                <a:cxn ang="0">
                  <a:pos x="404" y="95"/>
                </a:cxn>
                <a:cxn ang="0">
                  <a:pos x="308" y="56"/>
                </a:cxn>
                <a:cxn ang="0">
                  <a:pos x="209" y="27"/>
                </a:cxn>
                <a:cxn ang="0">
                  <a:pos x="105" y="8"/>
                </a:cxn>
                <a:cxn ang="0">
                  <a:pos x="0" y="0"/>
                </a:cxn>
                <a:cxn ang="0">
                  <a:pos x="0" y="353"/>
                </a:cxn>
                <a:cxn ang="0">
                  <a:pos x="65" y="357"/>
                </a:cxn>
                <a:cxn ang="0">
                  <a:pos x="126" y="369"/>
                </a:cxn>
                <a:cxn ang="0">
                  <a:pos x="188" y="386"/>
                </a:cxn>
                <a:cxn ang="0">
                  <a:pos x="245" y="408"/>
                </a:cxn>
                <a:cxn ang="0">
                  <a:pos x="300" y="435"/>
                </a:cxn>
                <a:cxn ang="0">
                  <a:pos x="351" y="468"/>
                </a:cxn>
                <a:cxn ang="0">
                  <a:pos x="401" y="506"/>
                </a:cxn>
                <a:cxn ang="0">
                  <a:pos x="444" y="548"/>
                </a:cxn>
                <a:cxn ang="0">
                  <a:pos x="485" y="593"/>
                </a:cxn>
                <a:cxn ang="0">
                  <a:pos x="521" y="642"/>
                </a:cxn>
                <a:cxn ang="0">
                  <a:pos x="552" y="695"/>
                </a:cxn>
                <a:cxn ang="0">
                  <a:pos x="579" y="750"/>
                </a:cxn>
                <a:cxn ang="0">
                  <a:pos x="600" y="809"/>
                </a:cxn>
                <a:cxn ang="0">
                  <a:pos x="615" y="870"/>
                </a:cxn>
                <a:cxn ang="0">
                  <a:pos x="624" y="933"/>
                </a:cxn>
                <a:cxn ang="0">
                  <a:pos x="627" y="998"/>
                </a:cxn>
                <a:cxn ang="0">
                  <a:pos x="627" y="975"/>
                </a:cxn>
                <a:cxn ang="0">
                  <a:pos x="978" y="975"/>
                </a:cxn>
                <a:cxn ang="0">
                  <a:pos x="972" y="888"/>
                </a:cxn>
                <a:cxn ang="0">
                  <a:pos x="960" y="804"/>
                </a:cxn>
                <a:cxn ang="0">
                  <a:pos x="939" y="720"/>
                </a:cxn>
                <a:cxn ang="0">
                  <a:pos x="912" y="639"/>
                </a:cxn>
                <a:cxn ang="0">
                  <a:pos x="878" y="560"/>
                </a:cxn>
                <a:cxn ang="0">
                  <a:pos x="837" y="485"/>
                </a:cxn>
                <a:cxn ang="0">
                  <a:pos x="789" y="413"/>
                </a:cxn>
                <a:cxn ang="0">
                  <a:pos x="737" y="345"/>
                </a:cxn>
              </a:cxnLst>
              <a:rect l="0" t="0" r="r" b="b"/>
              <a:pathLst>
                <a:path w="978" h="998">
                  <a:moveTo>
                    <a:pt x="737" y="345"/>
                  </a:moveTo>
                  <a:lnTo>
                    <a:pt x="737" y="345"/>
                  </a:lnTo>
                  <a:lnTo>
                    <a:pt x="701" y="306"/>
                  </a:lnTo>
                  <a:lnTo>
                    <a:pt x="663" y="269"/>
                  </a:lnTo>
                  <a:lnTo>
                    <a:pt x="624" y="234"/>
                  </a:lnTo>
                  <a:lnTo>
                    <a:pt x="582" y="201"/>
                  </a:lnTo>
                  <a:lnTo>
                    <a:pt x="540" y="171"/>
                  </a:lnTo>
                  <a:lnTo>
                    <a:pt x="497" y="143"/>
                  </a:lnTo>
                  <a:lnTo>
                    <a:pt x="450" y="117"/>
                  </a:lnTo>
                  <a:lnTo>
                    <a:pt x="404" y="95"/>
                  </a:lnTo>
                  <a:lnTo>
                    <a:pt x="357" y="74"/>
                  </a:lnTo>
                  <a:lnTo>
                    <a:pt x="308" y="56"/>
                  </a:lnTo>
                  <a:lnTo>
                    <a:pt x="258" y="39"/>
                  </a:lnTo>
                  <a:lnTo>
                    <a:pt x="209" y="27"/>
                  </a:lnTo>
                  <a:lnTo>
                    <a:pt x="156" y="17"/>
                  </a:lnTo>
                  <a:lnTo>
                    <a:pt x="105" y="8"/>
                  </a:lnTo>
                  <a:lnTo>
                    <a:pt x="53" y="3"/>
                  </a:lnTo>
                  <a:lnTo>
                    <a:pt x="0" y="0"/>
                  </a:lnTo>
                  <a:lnTo>
                    <a:pt x="0" y="353"/>
                  </a:lnTo>
                  <a:lnTo>
                    <a:pt x="0" y="353"/>
                  </a:lnTo>
                  <a:lnTo>
                    <a:pt x="32" y="354"/>
                  </a:lnTo>
                  <a:lnTo>
                    <a:pt x="65" y="357"/>
                  </a:lnTo>
                  <a:lnTo>
                    <a:pt x="96" y="362"/>
                  </a:lnTo>
                  <a:lnTo>
                    <a:pt x="126" y="369"/>
                  </a:lnTo>
                  <a:lnTo>
                    <a:pt x="158" y="377"/>
                  </a:lnTo>
                  <a:lnTo>
                    <a:pt x="188" y="386"/>
                  </a:lnTo>
                  <a:lnTo>
                    <a:pt x="216" y="396"/>
                  </a:lnTo>
                  <a:lnTo>
                    <a:pt x="245" y="408"/>
                  </a:lnTo>
                  <a:lnTo>
                    <a:pt x="273" y="422"/>
                  </a:lnTo>
                  <a:lnTo>
                    <a:pt x="300" y="435"/>
                  </a:lnTo>
                  <a:lnTo>
                    <a:pt x="326" y="452"/>
                  </a:lnTo>
                  <a:lnTo>
                    <a:pt x="351" y="468"/>
                  </a:lnTo>
                  <a:lnTo>
                    <a:pt x="377" y="486"/>
                  </a:lnTo>
                  <a:lnTo>
                    <a:pt x="401" y="506"/>
                  </a:lnTo>
                  <a:lnTo>
                    <a:pt x="423" y="527"/>
                  </a:lnTo>
                  <a:lnTo>
                    <a:pt x="444" y="548"/>
                  </a:lnTo>
                  <a:lnTo>
                    <a:pt x="465" y="570"/>
                  </a:lnTo>
                  <a:lnTo>
                    <a:pt x="485" y="593"/>
                  </a:lnTo>
                  <a:lnTo>
                    <a:pt x="504" y="617"/>
                  </a:lnTo>
                  <a:lnTo>
                    <a:pt x="521" y="642"/>
                  </a:lnTo>
                  <a:lnTo>
                    <a:pt x="537" y="668"/>
                  </a:lnTo>
                  <a:lnTo>
                    <a:pt x="552" y="695"/>
                  </a:lnTo>
                  <a:lnTo>
                    <a:pt x="566" y="723"/>
                  </a:lnTo>
                  <a:lnTo>
                    <a:pt x="579" y="750"/>
                  </a:lnTo>
                  <a:lnTo>
                    <a:pt x="590" y="780"/>
                  </a:lnTo>
                  <a:lnTo>
                    <a:pt x="600" y="809"/>
                  </a:lnTo>
                  <a:lnTo>
                    <a:pt x="608" y="840"/>
                  </a:lnTo>
                  <a:lnTo>
                    <a:pt x="615" y="870"/>
                  </a:lnTo>
                  <a:lnTo>
                    <a:pt x="621" y="902"/>
                  </a:lnTo>
                  <a:lnTo>
                    <a:pt x="624" y="933"/>
                  </a:lnTo>
                  <a:lnTo>
                    <a:pt x="627" y="966"/>
                  </a:lnTo>
                  <a:lnTo>
                    <a:pt x="627" y="998"/>
                  </a:lnTo>
                  <a:lnTo>
                    <a:pt x="627" y="977"/>
                  </a:lnTo>
                  <a:lnTo>
                    <a:pt x="627" y="975"/>
                  </a:lnTo>
                  <a:lnTo>
                    <a:pt x="978" y="975"/>
                  </a:lnTo>
                  <a:lnTo>
                    <a:pt x="978" y="975"/>
                  </a:lnTo>
                  <a:lnTo>
                    <a:pt x="977" y="932"/>
                  </a:lnTo>
                  <a:lnTo>
                    <a:pt x="972" y="888"/>
                  </a:lnTo>
                  <a:lnTo>
                    <a:pt x="968" y="846"/>
                  </a:lnTo>
                  <a:lnTo>
                    <a:pt x="960" y="804"/>
                  </a:lnTo>
                  <a:lnTo>
                    <a:pt x="951" y="762"/>
                  </a:lnTo>
                  <a:lnTo>
                    <a:pt x="939" y="720"/>
                  </a:lnTo>
                  <a:lnTo>
                    <a:pt x="927" y="680"/>
                  </a:lnTo>
                  <a:lnTo>
                    <a:pt x="912" y="639"/>
                  </a:lnTo>
                  <a:lnTo>
                    <a:pt x="896" y="599"/>
                  </a:lnTo>
                  <a:lnTo>
                    <a:pt x="878" y="560"/>
                  </a:lnTo>
                  <a:lnTo>
                    <a:pt x="858" y="522"/>
                  </a:lnTo>
                  <a:lnTo>
                    <a:pt x="837" y="485"/>
                  </a:lnTo>
                  <a:lnTo>
                    <a:pt x="815" y="449"/>
                  </a:lnTo>
                  <a:lnTo>
                    <a:pt x="789" y="413"/>
                  </a:lnTo>
                  <a:lnTo>
                    <a:pt x="764" y="378"/>
                  </a:lnTo>
                  <a:lnTo>
                    <a:pt x="737" y="345"/>
                  </a:lnTo>
                  <a:lnTo>
                    <a:pt x="737" y="345"/>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5" name="Freeform 10">
              <a:extLst>
                <a:ext uri="{FF2B5EF4-FFF2-40B4-BE49-F238E27FC236}">
                  <a16:creationId xmlns:a16="http://schemas.microsoft.com/office/drawing/2014/main" id="{1009C740-0196-4F79-8265-7CEA3B1675B9}"/>
                </a:ext>
              </a:extLst>
            </p:cNvPr>
            <p:cNvSpPr>
              <a:spLocks/>
            </p:cNvSpPr>
            <p:nvPr/>
          </p:nvSpPr>
          <p:spPr bwMode="auto">
            <a:xfrm>
              <a:off x="2997201" y="3911600"/>
              <a:ext cx="1546225" cy="1547813"/>
            </a:xfrm>
            <a:custGeom>
              <a:avLst/>
              <a:gdLst/>
              <a:ahLst/>
              <a:cxnLst>
                <a:cxn ang="0">
                  <a:pos x="974" y="626"/>
                </a:cxn>
                <a:cxn ang="0">
                  <a:pos x="911" y="620"/>
                </a:cxn>
                <a:cxn ang="0">
                  <a:pos x="849" y="609"/>
                </a:cxn>
                <a:cxn ang="0">
                  <a:pos x="791" y="593"/>
                </a:cxn>
                <a:cxn ang="0">
                  <a:pos x="735" y="570"/>
                </a:cxn>
                <a:cxn ang="0">
                  <a:pos x="681" y="543"/>
                </a:cxn>
                <a:cxn ang="0">
                  <a:pos x="630" y="512"/>
                </a:cxn>
                <a:cxn ang="0">
                  <a:pos x="584" y="476"/>
                </a:cxn>
                <a:cxn ang="0">
                  <a:pos x="539" y="435"/>
                </a:cxn>
                <a:cxn ang="0">
                  <a:pos x="500" y="392"/>
                </a:cxn>
                <a:cxn ang="0">
                  <a:pos x="464" y="344"/>
                </a:cxn>
                <a:cxn ang="0">
                  <a:pos x="432" y="293"/>
                </a:cxn>
                <a:cxn ang="0">
                  <a:pos x="405" y="240"/>
                </a:cxn>
                <a:cxn ang="0">
                  <a:pos x="384" y="183"/>
                </a:cxn>
                <a:cxn ang="0">
                  <a:pos x="368" y="125"/>
                </a:cxn>
                <a:cxn ang="0">
                  <a:pos x="357" y="63"/>
                </a:cxn>
                <a:cxn ang="0">
                  <a:pos x="351" y="0"/>
                </a:cxn>
                <a:cxn ang="0">
                  <a:pos x="351" y="0"/>
                </a:cxn>
                <a:cxn ang="0">
                  <a:pos x="0" y="2"/>
                </a:cxn>
                <a:cxn ang="0">
                  <a:pos x="8" y="101"/>
                </a:cxn>
                <a:cxn ang="0">
                  <a:pos x="24" y="195"/>
                </a:cxn>
                <a:cxn ang="0">
                  <a:pos x="50" y="288"/>
                </a:cxn>
                <a:cxn ang="0">
                  <a:pos x="83" y="377"/>
                </a:cxn>
                <a:cxn ang="0">
                  <a:pos x="125" y="461"/>
                </a:cxn>
                <a:cxn ang="0">
                  <a:pos x="174" y="540"/>
                </a:cxn>
                <a:cxn ang="0">
                  <a:pos x="230" y="614"/>
                </a:cxn>
                <a:cxn ang="0">
                  <a:pos x="293" y="683"/>
                </a:cxn>
                <a:cxn ang="0">
                  <a:pos x="362" y="746"/>
                </a:cxn>
                <a:cxn ang="0">
                  <a:pos x="435" y="801"/>
                </a:cxn>
                <a:cxn ang="0">
                  <a:pos x="515" y="851"/>
                </a:cxn>
                <a:cxn ang="0">
                  <a:pos x="599" y="893"/>
                </a:cxn>
                <a:cxn ang="0">
                  <a:pos x="687" y="926"/>
                </a:cxn>
                <a:cxn ang="0">
                  <a:pos x="780" y="951"/>
                </a:cxn>
                <a:cxn ang="0">
                  <a:pos x="875" y="968"/>
                </a:cxn>
                <a:cxn ang="0">
                  <a:pos x="974" y="975"/>
                </a:cxn>
              </a:cxnLst>
              <a:rect l="0" t="0" r="r" b="b"/>
              <a:pathLst>
                <a:path w="974" h="975">
                  <a:moveTo>
                    <a:pt x="974" y="626"/>
                  </a:moveTo>
                  <a:lnTo>
                    <a:pt x="974" y="626"/>
                  </a:lnTo>
                  <a:lnTo>
                    <a:pt x="942" y="624"/>
                  </a:lnTo>
                  <a:lnTo>
                    <a:pt x="911" y="620"/>
                  </a:lnTo>
                  <a:lnTo>
                    <a:pt x="881" y="615"/>
                  </a:lnTo>
                  <a:lnTo>
                    <a:pt x="849" y="609"/>
                  </a:lnTo>
                  <a:lnTo>
                    <a:pt x="821" y="602"/>
                  </a:lnTo>
                  <a:lnTo>
                    <a:pt x="791" y="593"/>
                  </a:lnTo>
                  <a:lnTo>
                    <a:pt x="762" y="582"/>
                  </a:lnTo>
                  <a:lnTo>
                    <a:pt x="735" y="570"/>
                  </a:lnTo>
                  <a:lnTo>
                    <a:pt x="708" y="557"/>
                  </a:lnTo>
                  <a:lnTo>
                    <a:pt x="681" y="543"/>
                  </a:lnTo>
                  <a:lnTo>
                    <a:pt x="656" y="528"/>
                  </a:lnTo>
                  <a:lnTo>
                    <a:pt x="630" y="512"/>
                  </a:lnTo>
                  <a:lnTo>
                    <a:pt x="606" y="494"/>
                  </a:lnTo>
                  <a:lnTo>
                    <a:pt x="584" y="476"/>
                  </a:lnTo>
                  <a:lnTo>
                    <a:pt x="561" y="456"/>
                  </a:lnTo>
                  <a:lnTo>
                    <a:pt x="539" y="435"/>
                  </a:lnTo>
                  <a:lnTo>
                    <a:pt x="519" y="414"/>
                  </a:lnTo>
                  <a:lnTo>
                    <a:pt x="500" y="392"/>
                  </a:lnTo>
                  <a:lnTo>
                    <a:pt x="482" y="368"/>
                  </a:lnTo>
                  <a:lnTo>
                    <a:pt x="464" y="344"/>
                  </a:lnTo>
                  <a:lnTo>
                    <a:pt x="447" y="320"/>
                  </a:lnTo>
                  <a:lnTo>
                    <a:pt x="432" y="293"/>
                  </a:lnTo>
                  <a:lnTo>
                    <a:pt x="419" y="267"/>
                  </a:lnTo>
                  <a:lnTo>
                    <a:pt x="405" y="240"/>
                  </a:lnTo>
                  <a:lnTo>
                    <a:pt x="395" y="212"/>
                  </a:lnTo>
                  <a:lnTo>
                    <a:pt x="384" y="183"/>
                  </a:lnTo>
                  <a:lnTo>
                    <a:pt x="375" y="155"/>
                  </a:lnTo>
                  <a:lnTo>
                    <a:pt x="368" y="125"/>
                  </a:lnTo>
                  <a:lnTo>
                    <a:pt x="362" y="95"/>
                  </a:lnTo>
                  <a:lnTo>
                    <a:pt x="357" y="63"/>
                  </a:lnTo>
                  <a:lnTo>
                    <a:pt x="353" y="32"/>
                  </a:lnTo>
                  <a:lnTo>
                    <a:pt x="351" y="0"/>
                  </a:lnTo>
                  <a:lnTo>
                    <a:pt x="351" y="0"/>
                  </a:lnTo>
                  <a:lnTo>
                    <a:pt x="351" y="0"/>
                  </a:lnTo>
                  <a:lnTo>
                    <a:pt x="0" y="2"/>
                  </a:lnTo>
                  <a:lnTo>
                    <a:pt x="0" y="2"/>
                  </a:lnTo>
                  <a:lnTo>
                    <a:pt x="3" y="51"/>
                  </a:lnTo>
                  <a:lnTo>
                    <a:pt x="8" y="101"/>
                  </a:lnTo>
                  <a:lnTo>
                    <a:pt x="15" y="149"/>
                  </a:lnTo>
                  <a:lnTo>
                    <a:pt x="24" y="195"/>
                  </a:lnTo>
                  <a:lnTo>
                    <a:pt x="36" y="242"/>
                  </a:lnTo>
                  <a:lnTo>
                    <a:pt x="50" y="288"/>
                  </a:lnTo>
                  <a:lnTo>
                    <a:pt x="65" y="332"/>
                  </a:lnTo>
                  <a:lnTo>
                    <a:pt x="83" y="377"/>
                  </a:lnTo>
                  <a:lnTo>
                    <a:pt x="102" y="419"/>
                  </a:lnTo>
                  <a:lnTo>
                    <a:pt x="125" y="461"/>
                  </a:lnTo>
                  <a:lnTo>
                    <a:pt x="149" y="501"/>
                  </a:lnTo>
                  <a:lnTo>
                    <a:pt x="174" y="540"/>
                  </a:lnTo>
                  <a:lnTo>
                    <a:pt x="201" y="578"/>
                  </a:lnTo>
                  <a:lnTo>
                    <a:pt x="230" y="614"/>
                  </a:lnTo>
                  <a:lnTo>
                    <a:pt x="260" y="650"/>
                  </a:lnTo>
                  <a:lnTo>
                    <a:pt x="293" y="683"/>
                  </a:lnTo>
                  <a:lnTo>
                    <a:pt x="326" y="716"/>
                  </a:lnTo>
                  <a:lnTo>
                    <a:pt x="362" y="746"/>
                  </a:lnTo>
                  <a:lnTo>
                    <a:pt x="398" y="774"/>
                  </a:lnTo>
                  <a:lnTo>
                    <a:pt x="435" y="801"/>
                  </a:lnTo>
                  <a:lnTo>
                    <a:pt x="474" y="827"/>
                  </a:lnTo>
                  <a:lnTo>
                    <a:pt x="515" y="851"/>
                  </a:lnTo>
                  <a:lnTo>
                    <a:pt x="557" y="873"/>
                  </a:lnTo>
                  <a:lnTo>
                    <a:pt x="599" y="893"/>
                  </a:lnTo>
                  <a:lnTo>
                    <a:pt x="642" y="911"/>
                  </a:lnTo>
                  <a:lnTo>
                    <a:pt x="687" y="926"/>
                  </a:lnTo>
                  <a:lnTo>
                    <a:pt x="734" y="941"/>
                  </a:lnTo>
                  <a:lnTo>
                    <a:pt x="780" y="951"/>
                  </a:lnTo>
                  <a:lnTo>
                    <a:pt x="827" y="962"/>
                  </a:lnTo>
                  <a:lnTo>
                    <a:pt x="875" y="968"/>
                  </a:lnTo>
                  <a:lnTo>
                    <a:pt x="924" y="972"/>
                  </a:lnTo>
                  <a:lnTo>
                    <a:pt x="974" y="975"/>
                  </a:lnTo>
                  <a:lnTo>
                    <a:pt x="974" y="626"/>
                  </a:lnTo>
                  <a:close/>
                </a:path>
              </a:pathLst>
            </a:custGeom>
            <a:solidFill>
              <a:schemeClr val="tx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6" name="Freeform 11">
              <a:extLst>
                <a:ext uri="{FF2B5EF4-FFF2-40B4-BE49-F238E27FC236}">
                  <a16:creationId xmlns:a16="http://schemas.microsoft.com/office/drawing/2014/main" id="{3DAB417F-3EB6-457A-BE5A-97BBC48AE790}"/>
                </a:ext>
              </a:extLst>
            </p:cNvPr>
            <p:cNvSpPr>
              <a:spLocks/>
            </p:cNvSpPr>
            <p:nvPr/>
          </p:nvSpPr>
          <p:spPr bwMode="auto">
            <a:xfrm>
              <a:off x="4610101" y="3878263"/>
              <a:ext cx="1552575" cy="1581150"/>
            </a:xfrm>
            <a:custGeom>
              <a:avLst/>
              <a:gdLst/>
              <a:ahLst/>
              <a:cxnLst>
                <a:cxn ang="0">
                  <a:pos x="627" y="21"/>
                </a:cxn>
                <a:cxn ang="0">
                  <a:pos x="627" y="0"/>
                </a:cxn>
                <a:cxn ang="0">
                  <a:pos x="624" y="66"/>
                </a:cxn>
                <a:cxn ang="0">
                  <a:pos x="615" y="129"/>
                </a:cxn>
                <a:cxn ang="0">
                  <a:pos x="600" y="189"/>
                </a:cxn>
                <a:cxn ang="0">
                  <a:pos x="579" y="248"/>
                </a:cxn>
                <a:cxn ang="0">
                  <a:pos x="552" y="305"/>
                </a:cxn>
                <a:cxn ang="0">
                  <a:pos x="521" y="357"/>
                </a:cxn>
                <a:cxn ang="0">
                  <a:pos x="485" y="407"/>
                </a:cxn>
                <a:cxn ang="0">
                  <a:pos x="444" y="452"/>
                </a:cxn>
                <a:cxn ang="0">
                  <a:pos x="401" y="494"/>
                </a:cxn>
                <a:cxn ang="0">
                  <a:pos x="351" y="531"/>
                </a:cxn>
                <a:cxn ang="0">
                  <a:pos x="300" y="563"/>
                </a:cxn>
                <a:cxn ang="0">
                  <a:pos x="245" y="591"/>
                </a:cxn>
                <a:cxn ang="0">
                  <a:pos x="188" y="614"/>
                </a:cxn>
                <a:cxn ang="0">
                  <a:pos x="126" y="630"/>
                </a:cxn>
                <a:cxn ang="0">
                  <a:pos x="65" y="642"/>
                </a:cxn>
                <a:cxn ang="0">
                  <a:pos x="0" y="647"/>
                </a:cxn>
                <a:cxn ang="0">
                  <a:pos x="0" y="996"/>
                </a:cxn>
                <a:cxn ang="0">
                  <a:pos x="99" y="990"/>
                </a:cxn>
                <a:cxn ang="0">
                  <a:pos x="195" y="974"/>
                </a:cxn>
                <a:cxn ang="0">
                  <a:pos x="288" y="948"/>
                </a:cxn>
                <a:cxn ang="0">
                  <a:pos x="377" y="915"/>
                </a:cxn>
                <a:cxn ang="0">
                  <a:pos x="461" y="873"/>
                </a:cxn>
                <a:cxn ang="0">
                  <a:pos x="542" y="825"/>
                </a:cxn>
                <a:cxn ang="0">
                  <a:pos x="615" y="768"/>
                </a:cxn>
                <a:cxn ang="0">
                  <a:pos x="686" y="705"/>
                </a:cxn>
                <a:cxn ang="0">
                  <a:pos x="749" y="636"/>
                </a:cxn>
                <a:cxn ang="0">
                  <a:pos x="804" y="563"/>
                </a:cxn>
                <a:cxn ang="0">
                  <a:pos x="854" y="482"/>
                </a:cxn>
                <a:cxn ang="0">
                  <a:pos x="896" y="398"/>
                </a:cxn>
                <a:cxn ang="0">
                  <a:pos x="930" y="309"/>
                </a:cxn>
                <a:cxn ang="0">
                  <a:pos x="956" y="216"/>
                </a:cxn>
                <a:cxn ang="0">
                  <a:pos x="972" y="120"/>
                </a:cxn>
                <a:cxn ang="0">
                  <a:pos x="978" y="21"/>
                </a:cxn>
              </a:cxnLst>
              <a:rect l="0" t="0" r="r" b="b"/>
              <a:pathLst>
                <a:path w="978" h="996">
                  <a:moveTo>
                    <a:pt x="627" y="21"/>
                  </a:moveTo>
                  <a:lnTo>
                    <a:pt x="627" y="21"/>
                  </a:lnTo>
                  <a:lnTo>
                    <a:pt x="627" y="0"/>
                  </a:lnTo>
                  <a:lnTo>
                    <a:pt x="627" y="0"/>
                  </a:lnTo>
                  <a:lnTo>
                    <a:pt x="627" y="33"/>
                  </a:lnTo>
                  <a:lnTo>
                    <a:pt x="624" y="66"/>
                  </a:lnTo>
                  <a:lnTo>
                    <a:pt x="621" y="98"/>
                  </a:lnTo>
                  <a:lnTo>
                    <a:pt x="615" y="129"/>
                  </a:lnTo>
                  <a:lnTo>
                    <a:pt x="608" y="159"/>
                  </a:lnTo>
                  <a:lnTo>
                    <a:pt x="600" y="189"/>
                  </a:lnTo>
                  <a:lnTo>
                    <a:pt x="590" y="219"/>
                  </a:lnTo>
                  <a:lnTo>
                    <a:pt x="579" y="248"/>
                  </a:lnTo>
                  <a:lnTo>
                    <a:pt x="566" y="276"/>
                  </a:lnTo>
                  <a:lnTo>
                    <a:pt x="552" y="305"/>
                  </a:lnTo>
                  <a:lnTo>
                    <a:pt x="537" y="330"/>
                  </a:lnTo>
                  <a:lnTo>
                    <a:pt x="521" y="357"/>
                  </a:lnTo>
                  <a:lnTo>
                    <a:pt x="504" y="381"/>
                  </a:lnTo>
                  <a:lnTo>
                    <a:pt x="485" y="407"/>
                  </a:lnTo>
                  <a:lnTo>
                    <a:pt x="465" y="429"/>
                  </a:lnTo>
                  <a:lnTo>
                    <a:pt x="444" y="452"/>
                  </a:lnTo>
                  <a:lnTo>
                    <a:pt x="423" y="473"/>
                  </a:lnTo>
                  <a:lnTo>
                    <a:pt x="401" y="494"/>
                  </a:lnTo>
                  <a:lnTo>
                    <a:pt x="377" y="513"/>
                  </a:lnTo>
                  <a:lnTo>
                    <a:pt x="351" y="531"/>
                  </a:lnTo>
                  <a:lnTo>
                    <a:pt x="326" y="548"/>
                  </a:lnTo>
                  <a:lnTo>
                    <a:pt x="300" y="563"/>
                  </a:lnTo>
                  <a:lnTo>
                    <a:pt x="273" y="578"/>
                  </a:lnTo>
                  <a:lnTo>
                    <a:pt x="245" y="591"/>
                  </a:lnTo>
                  <a:lnTo>
                    <a:pt x="216" y="603"/>
                  </a:lnTo>
                  <a:lnTo>
                    <a:pt x="188" y="614"/>
                  </a:lnTo>
                  <a:lnTo>
                    <a:pt x="158" y="623"/>
                  </a:lnTo>
                  <a:lnTo>
                    <a:pt x="126" y="630"/>
                  </a:lnTo>
                  <a:lnTo>
                    <a:pt x="96" y="636"/>
                  </a:lnTo>
                  <a:lnTo>
                    <a:pt x="65" y="642"/>
                  </a:lnTo>
                  <a:lnTo>
                    <a:pt x="32" y="645"/>
                  </a:lnTo>
                  <a:lnTo>
                    <a:pt x="0" y="647"/>
                  </a:lnTo>
                  <a:lnTo>
                    <a:pt x="0" y="996"/>
                  </a:lnTo>
                  <a:lnTo>
                    <a:pt x="0" y="996"/>
                  </a:lnTo>
                  <a:lnTo>
                    <a:pt x="50" y="995"/>
                  </a:lnTo>
                  <a:lnTo>
                    <a:pt x="99" y="990"/>
                  </a:lnTo>
                  <a:lnTo>
                    <a:pt x="147" y="983"/>
                  </a:lnTo>
                  <a:lnTo>
                    <a:pt x="195" y="974"/>
                  </a:lnTo>
                  <a:lnTo>
                    <a:pt x="242" y="962"/>
                  </a:lnTo>
                  <a:lnTo>
                    <a:pt x="288" y="948"/>
                  </a:lnTo>
                  <a:lnTo>
                    <a:pt x="332" y="933"/>
                  </a:lnTo>
                  <a:lnTo>
                    <a:pt x="377" y="915"/>
                  </a:lnTo>
                  <a:lnTo>
                    <a:pt x="419" y="896"/>
                  </a:lnTo>
                  <a:lnTo>
                    <a:pt x="461" y="873"/>
                  </a:lnTo>
                  <a:lnTo>
                    <a:pt x="501" y="849"/>
                  </a:lnTo>
                  <a:lnTo>
                    <a:pt x="542" y="825"/>
                  </a:lnTo>
                  <a:lnTo>
                    <a:pt x="579" y="797"/>
                  </a:lnTo>
                  <a:lnTo>
                    <a:pt x="615" y="768"/>
                  </a:lnTo>
                  <a:lnTo>
                    <a:pt x="651" y="738"/>
                  </a:lnTo>
                  <a:lnTo>
                    <a:pt x="686" y="705"/>
                  </a:lnTo>
                  <a:lnTo>
                    <a:pt x="717" y="672"/>
                  </a:lnTo>
                  <a:lnTo>
                    <a:pt x="749" y="636"/>
                  </a:lnTo>
                  <a:lnTo>
                    <a:pt x="777" y="600"/>
                  </a:lnTo>
                  <a:lnTo>
                    <a:pt x="804" y="563"/>
                  </a:lnTo>
                  <a:lnTo>
                    <a:pt x="830" y="522"/>
                  </a:lnTo>
                  <a:lnTo>
                    <a:pt x="854" y="482"/>
                  </a:lnTo>
                  <a:lnTo>
                    <a:pt x="876" y="441"/>
                  </a:lnTo>
                  <a:lnTo>
                    <a:pt x="896" y="398"/>
                  </a:lnTo>
                  <a:lnTo>
                    <a:pt x="914" y="354"/>
                  </a:lnTo>
                  <a:lnTo>
                    <a:pt x="930" y="309"/>
                  </a:lnTo>
                  <a:lnTo>
                    <a:pt x="944" y="263"/>
                  </a:lnTo>
                  <a:lnTo>
                    <a:pt x="956" y="216"/>
                  </a:lnTo>
                  <a:lnTo>
                    <a:pt x="965" y="168"/>
                  </a:lnTo>
                  <a:lnTo>
                    <a:pt x="972" y="120"/>
                  </a:lnTo>
                  <a:lnTo>
                    <a:pt x="977" y="72"/>
                  </a:lnTo>
                  <a:lnTo>
                    <a:pt x="978" y="21"/>
                  </a:lnTo>
                  <a:lnTo>
                    <a:pt x="627" y="21"/>
                  </a:lnTo>
                  <a:close/>
                </a:path>
              </a:pathLst>
            </a:custGeom>
            <a:solidFill>
              <a:schemeClr val="tx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7" name="Freeform 12">
              <a:extLst>
                <a:ext uri="{FF2B5EF4-FFF2-40B4-BE49-F238E27FC236}">
                  <a16:creationId xmlns:a16="http://schemas.microsoft.com/office/drawing/2014/main" id="{24B71202-9424-416D-AFB8-08B325C0C3B7}"/>
                </a:ext>
              </a:extLst>
            </p:cNvPr>
            <p:cNvSpPr>
              <a:spLocks/>
            </p:cNvSpPr>
            <p:nvPr/>
          </p:nvSpPr>
          <p:spPr bwMode="auto">
            <a:xfrm>
              <a:off x="2373313" y="3911600"/>
              <a:ext cx="2170113" cy="2174875"/>
            </a:xfrm>
            <a:custGeom>
              <a:avLst/>
              <a:gdLst/>
              <a:ahLst/>
              <a:cxnLst>
                <a:cxn ang="0">
                  <a:pos x="1367" y="1017"/>
                </a:cxn>
                <a:cxn ang="0">
                  <a:pos x="1263" y="1010"/>
                </a:cxn>
                <a:cxn ang="0">
                  <a:pos x="1164" y="993"/>
                </a:cxn>
                <a:cxn ang="0">
                  <a:pos x="1068" y="966"/>
                </a:cxn>
                <a:cxn ang="0">
                  <a:pos x="975" y="932"/>
                </a:cxn>
                <a:cxn ang="0">
                  <a:pos x="888" y="888"/>
                </a:cxn>
                <a:cxn ang="0">
                  <a:pos x="804" y="836"/>
                </a:cxn>
                <a:cxn ang="0">
                  <a:pos x="728" y="777"/>
                </a:cxn>
                <a:cxn ang="0">
                  <a:pos x="656" y="713"/>
                </a:cxn>
                <a:cxn ang="0">
                  <a:pos x="590" y="641"/>
                </a:cxn>
                <a:cxn ang="0">
                  <a:pos x="531" y="563"/>
                </a:cxn>
                <a:cxn ang="0">
                  <a:pos x="480" y="480"/>
                </a:cxn>
                <a:cxn ang="0">
                  <a:pos x="437" y="392"/>
                </a:cxn>
                <a:cxn ang="0">
                  <a:pos x="402" y="300"/>
                </a:cxn>
                <a:cxn ang="0">
                  <a:pos x="375" y="203"/>
                </a:cxn>
                <a:cxn ang="0">
                  <a:pos x="359" y="104"/>
                </a:cxn>
                <a:cxn ang="0">
                  <a:pos x="351" y="0"/>
                </a:cxn>
                <a:cxn ang="0">
                  <a:pos x="0" y="0"/>
                </a:cxn>
                <a:cxn ang="0">
                  <a:pos x="0" y="0"/>
                </a:cxn>
                <a:cxn ang="0">
                  <a:pos x="9" y="140"/>
                </a:cxn>
                <a:cxn ang="0">
                  <a:pos x="30" y="275"/>
                </a:cxn>
                <a:cxn ang="0">
                  <a:pos x="66" y="405"/>
                </a:cxn>
                <a:cxn ang="0">
                  <a:pos x="113" y="530"/>
                </a:cxn>
                <a:cxn ang="0">
                  <a:pos x="171" y="648"/>
                </a:cxn>
                <a:cxn ang="0">
                  <a:pos x="239" y="761"/>
                </a:cxn>
                <a:cxn ang="0">
                  <a:pos x="318" y="866"/>
                </a:cxn>
                <a:cxn ang="0">
                  <a:pos x="405" y="962"/>
                </a:cxn>
                <a:cxn ang="0">
                  <a:pos x="503" y="1050"/>
                </a:cxn>
                <a:cxn ang="0">
                  <a:pos x="608" y="1130"/>
                </a:cxn>
                <a:cxn ang="0">
                  <a:pos x="719" y="1199"/>
                </a:cxn>
                <a:cxn ang="0">
                  <a:pos x="837" y="1257"/>
                </a:cxn>
                <a:cxn ang="0">
                  <a:pos x="963" y="1304"/>
                </a:cxn>
                <a:cxn ang="0">
                  <a:pos x="1092" y="1338"/>
                </a:cxn>
                <a:cxn ang="0">
                  <a:pos x="1227" y="1361"/>
                </a:cxn>
                <a:cxn ang="0">
                  <a:pos x="1367" y="1370"/>
                </a:cxn>
              </a:cxnLst>
              <a:rect l="0" t="0" r="r" b="b"/>
              <a:pathLst>
                <a:path w="1367" h="1370">
                  <a:moveTo>
                    <a:pt x="1367" y="1017"/>
                  </a:moveTo>
                  <a:lnTo>
                    <a:pt x="1367" y="1017"/>
                  </a:lnTo>
                  <a:lnTo>
                    <a:pt x="1314" y="1014"/>
                  </a:lnTo>
                  <a:lnTo>
                    <a:pt x="1263" y="1010"/>
                  </a:lnTo>
                  <a:lnTo>
                    <a:pt x="1214" y="1002"/>
                  </a:lnTo>
                  <a:lnTo>
                    <a:pt x="1164" y="993"/>
                  </a:lnTo>
                  <a:lnTo>
                    <a:pt x="1115" y="981"/>
                  </a:lnTo>
                  <a:lnTo>
                    <a:pt x="1068" y="966"/>
                  </a:lnTo>
                  <a:lnTo>
                    <a:pt x="1022" y="950"/>
                  </a:lnTo>
                  <a:lnTo>
                    <a:pt x="975" y="932"/>
                  </a:lnTo>
                  <a:lnTo>
                    <a:pt x="932" y="911"/>
                  </a:lnTo>
                  <a:lnTo>
                    <a:pt x="888" y="888"/>
                  </a:lnTo>
                  <a:lnTo>
                    <a:pt x="846" y="863"/>
                  </a:lnTo>
                  <a:lnTo>
                    <a:pt x="804" y="836"/>
                  </a:lnTo>
                  <a:lnTo>
                    <a:pt x="765" y="807"/>
                  </a:lnTo>
                  <a:lnTo>
                    <a:pt x="728" y="777"/>
                  </a:lnTo>
                  <a:lnTo>
                    <a:pt x="690" y="746"/>
                  </a:lnTo>
                  <a:lnTo>
                    <a:pt x="656" y="713"/>
                  </a:lnTo>
                  <a:lnTo>
                    <a:pt x="623" y="677"/>
                  </a:lnTo>
                  <a:lnTo>
                    <a:pt x="590" y="641"/>
                  </a:lnTo>
                  <a:lnTo>
                    <a:pt x="560" y="602"/>
                  </a:lnTo>
                  <a:lnTo>
                    <a:pt x="531" y="563"/>
                  </a:lnTo>
                  <a:lnTo>
                    <a:pt x="506" y="522"/>
                  </a:lnTo>
                  <a:lnTo>
                    <a:pt x="480" y="480"/>
                  </a:lnTo>
                  <a:lnTo>
                    <a:pt x="458" y="437"/>
                  </a:lnTo>
                  <a:lnTo>
                    <a:pt x="437" y="392"/>
                  </a:lnTo>
                  <a:lnTo>
                    <a:pt x="419" y="347"/>
                  </a:lnTo>
                  <a:lnTo>
                    <a:pt x="402" y="300"/>
                  </a:lnTo>
                  <a:lnTo>
                    <a:pt x="387" y="252"/>
                  </a:lnTo>
                  <a:lnTo>
                    <a:pt x="375" y="203"/>
                  </a:lnTo>
                  <a:lnTo>
                    <a:pt x="366" y="153"/>
                  </a:lnTo>
                  <a:lnTo>
                    <a:pt x="359" y="104"/>
                  </a:lnTo>
                  <a:lnTo>
                    <a:pt x="354" y="53"/>
                  </a:lnTo>
                  <a:lnTo>
                    <a:pt x="351" y="0"/>
                  </a:lnTo>
                  <a:lnTo>
                    <a:pt x="348" y="0"/>
                  </a:lnTo>
                  <a:lnTo>
                    <a:pt x="0" y="0"/>
                  </a:lnTo>
                  <a:lnTo>
                    <a:pt x="0" y="0"/>
                  </a:lnTo>
                  <a:lnTo>
                    <a:pt x="0" y="0"/>
                  </a:lnTo>
                  <a:lnTo>
                    <a:pt x="3" y="71"/>
                  </a:lnTo>
                  <a:lnTo>
                    <a:pt x="9" y="140"/>
                  </a:lnTo>
                  <a:lnTo>
                    <a:pt x="18" y="207"/>
                  </a:lnTo>
                  <a:lnTo>
                    <a:pt x="30" y="275"/>
                  </a:lnTo>
                  <a:lnTo>
                    <a:pt x="47" y="341"/>
                  </a:lnTo>
                  <a:lnTo>
                    <a:pt x="66" y="405"/>
                  </a:lnTo>
                  <a:lnTo>
                    <a:pt x="87" y="468"/>
                  </a:lnTo>
                  <a:lnTo>
                    <a:pt x="113" y="530"/>
                  </a:lnTo>
                  <a:lnTo>
                    <a:pt x="140" y="590"/>
                  </a:lnTo>
                  <a:lnTo>
                    <a:pt x="171" y="648"/>
                  </a:lnTo>
                  <a:lnTo>
                    <a:pt x="204" y="705"/>
                  </a:lnTo>
                  <a:lnTo>
                    <a:pt x="239" y="761"/>
                  </a:lnTo>
                  <a:lnTo>
                    <a:pt x="278" y="813"/>
                  </a:lnTo>
                  <a:lnTo>
                    <a:pt x="318" y="866"/>
                  </a:lnTo>
                  <a:lnTo>
                    <a:pt x="360" y="915"/>
                  </a:lnTo>
                  <a:lnTo>
                    <a:pt x="405" y="962"/>
                  </a:lnTo>
                  <a:lnTo>
                    <a:pt x="453" y="1008"/>
                  </a:lnTo>
                  <a:lnTo>
                    <a:pt x="503" y="1050"/>
                  </a:lnTo>
                  <a:lnTo>
                    <a:pt x="554" y="1091"/>
                  </a:lnTo>
                  <a:lnTo>
                    <a:pt x="608" y="1130"/>
                  </a:lnTo>
                  <a:lnTo>
                    <a:pt x="662" y="1166"/>
                  </a:lnTo>
                  <a:lnTo>
                    <a:pt x="719" y="1199"/>
                  </a:lnTo>
                  <a:lnTo>
                    <a:pt x="777" y="1229"/>
                  </a:lnTo>
                  <a:lnTo>
                    <a:pt x="837" y="1257"/>
                  </a:lnTo>
                  <a:lnTo>
                    <a:pt x="900" y="1281"/>
                  </a:lnTo>
                  <a:lnTo>
                    <a:pt x="963" y="1304"/>
                  </a:lnTo>
                  <a:lnTo>
                    <a:pt x="1028" y="1323"/>
                  </a:lnTo>
                  <a:lnTo>
                    <a:pt x="1092" y="1338"/>
                  </a:lnTo>
                  <a:lnTo>
                    <a:pt x="1160" y="1352"/>
                  </a:lnTo>
                  <a:lnTo>
                    <a:pt x="1227" y="1361"/>
                  </a:lnTo>
                  <a:lnTo>
                    <a:pt x="1296" y="1367"/>
                  </a:lnTo>
                  <a:lnTo>
                    <a:pt x="1367" y="1370"/>
                  </a:lnTo>
                  <a:lnTo>
                    <a:pt x="1367" y="1017"/>
                  </a:lnTo>
                  <a:close/>
                </a:path>
              </a:pathLst>
            </a:custGeom>
            <a:solidFill>
              <a:schemeClr val="tx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8" name="Freeform 13">
              <a:extLst>
                <a:ext uri="{FF2B5EF4-FFF2-40B4-BE49-F238E27FC236}">
                  <a16:creationId xmlns:a16="http://schemas.microsoft.com/office/drawing/2014/main" id="{1EB54D05-E8A4-4A9F-A673-084C162958A5}"/>
                </a:ext>
              </a:extLst>
            </p:cNvPr>
            <p:cNvSpPr>
              <a:spLocks/>
            </p:cNvSpPr>
            <p:nvPr/>
          </p:nvSpPr>
          <p:spPr bwMode="auto">
            <a:xfrm>
              <a:off x="4610101" y="3911600"/>
              <a:ext cx="2179638" cy="2174875"/>
            </a:xfrm>
            <a:custGeom>
              <a:avLst/>
              <a:gdLst/>
              <a:ahLst/>
              <a:cxnLst>
                <a:cxn ang="0">
                  <a:pos x="1020" y="0"/>
                </a:cxn>
                <a:cxn ang="0">
                  <a:pos x="1013" y="104"/>
                </a:cxn>
                <a:cxn ang="0">
                  <a:pos x="996" y="204"/>
                </a:cxn>
                <a:cxn ang="0">
                  <a:pos x="969" y="300"/>
                </a:cxn>
                <a:cxn ang="0">
                  <a:pos x="935" y="393"/>
                </a:cxn>
                <a:cxn ang="0">
                  <a:pos x="891" y="482"/>
                </a:cxn>
                <a:cxn ang="0">
                  <a:pos x="839" y="564"/>
                </a:cxn>
                <a:cxn ang="0">
                  <a:pos x="780" y="642"/>
                </a:cxn>
                <a:cxn ang="0">
                  <a:pos x="714" y="714"/>
                </a:cxn>
                <a:cxn ang="0">
                  <a:pos x="642" y="780"/>
                </a:cxn>
                <a:cxn ang="0">
                  <a:pos x="564" y="839"/>
                </a:cxn>
                <a:cxn ang="0">
                  <a:pos x="482" y="890"/>
                </a:cxn>
                <a:cxn ang="0">
                  <a:pos x="393" y="933"/>
                </a:cxn>
                <a:cxn ang="0">
                  <a:pos x="300" y="968"/>
                </a:cxn>
                <a:cxn ang="0">
                  <a:pos x="203" y="993"/>
                </a:cxn>
                <a:cxn ang="0">
                  <a:pos x="104" y="1010"/>
                </a:cxn>
                <a:cxn ang="0">
                  <a:pos x="0" y="1017"/>
                </a:cxn>
                <a:cxn ang="0">
                  <a:pos x="0" y="1370"/>
                </a:cxn>
                <a:cxn ang="0">
                  <a:pos x="140" y="1362"/>
                </a:cxn>
                <a:cxn ang="0">
                  <a:pos x="275" y="1340"/>
                </a:cxn>
                <a:cxn ang="0">
                  <a:pos x="405" y="1305"/>
                </a:cxn>
                <a:cxn ang="0">
                  <a:pos x="530" y="1259"/>
                </a:cxn>
                <a:cxn ang="0">
                  <a:pos x="650" y="1200"/>
                </a:cxn>
                <a:cxn ang="0">
                  <a:pos x="762" y="1131"/>
                </a:cxn>
                <a:cxn ang="0">
                  <a:pos x="867" y="1052"/>
                </a:cxn>
                <a:cxn ang="0">
                  <a:pos x="965" y="965"/>
                </a:cxn>
                <a:cxn ang="0">
                  <a:pos x="1053" y="867"/>
                </a:cxn>
                <a:cxn ang="0">
                  <a:pos x="1131" y="762"/>
                </a:cxn>
                <a:cxn ang="0">
                  <a:pos x="1200" y="650"/>
                </a:cxn>
                <a:cxn ang="0">
                  <a:pos x="1259" y="531"/>
                </a:cxn>
                <a:cxn ang="0">
                  <a:pos x="1307" y="405"/>
                </a:cxn>
                <a:cxn ang="0">
                  <a:pos x="1341" y="275"/>
                </a:cxn>
                <a:cxn ang="0">
                  <a:pos x="1364" y="140"/>
                </a:cxn>
                <a:cxn ang="0">
                  <a:pos x="1373" y="0"/>
                </a:cxn>
              </a:cxnLst>
              <a:rect l="0" t="0" r="r" b="b"/>
              <a:pathLst>
                <a:path w="1373" h="1370">
                  <a:moveTo>
                    <a:pt x="1020" y="0"/>
                  </a:moveTo>
                  <a:lnTo>
                    <a:pt x="1020" y="0"/>
                  </a:lnTo>
                  <a:lnTo>
                    <a:pt x="1019" y="53"/>
                  </a:lnTo>
                  <a:lnTo>
                    <a:pt x="1013" y="104"/>
                  </a:lnTo>
                  <a:lnTo>
                    <a:pt x="1005" y="155"/>
                  </a:lnTo>
                  <a:lnTo>
                    <a:pt x="996" y="204"/>
                  </a:lnTo>
                  <a:lnTo>
                    <a:pt x="984" y="252"/>
                  </a:lnTo>
                  <a:lnTo>
                    <a:pt x="969" y="300"/>
                  </a:lnTo>
                  <a:lnTo>
                    <a:pt x="953" y="347"/>
                  </a:lnTo>
                  <a:lnTo>
                    <a:pt x="935" y="393"/>
                  </a:lnTo>
                  <a:lnTo>
                    <a:pt x="914" y="438"/>
                  </a:lnTo>
                  <a:lnTo>
                    <a:pt x="891" y="482"/>
                  </a:lnTo>
                  <a:lnTo>
                    <a:pt x="866" y="524"/>
                  </a:lnTo>
                  <a:lnTo>
                    <a:pt x="839" y="564"/>
                  </a:lnTo>
                  <a:lnTo>
                    <a:pt x="810" y="605"/>
                  </a:lnTo>
                  <a:lnTo>
                    <a:pt x="780" y="642"/>
                  </a:lnTo>
                  <a:lnTo>
                    <a:pt x="749" y="680"/>
                  </a:lnTo>
                  <a:lnTo>
                    <a:pt x="714" y="714"/>
                  </a:lnTo>
                  <a:lnTo>
                    <a:pt x="680" y="747"/>
                  </a:lnTo>
                  <a:lnTo>
                    <a:pt x="642" y="780"/>
                  </a:lnTo>
                  <a:lnTo>
                    <a:pt x="605" y="810"/>
                  </a:lnTo>
                  <a:lnTo>
                    <a:pt x="564" y="839"/>
                  </a:lnTo>
                  <a:lnTo>
                    <a:pt x="524" y="864"/>
                  </a:lnTo>
                  <a:lnTo>
                    <a:pt x="482" y="890"/>
                  </a:lnTo>
                  <a:lnTo>
                    <a:pt x="438" y="912"/>
                  </a:lnTo>
                  <a:lnTo>
                    <a:pt x="393" y="933"/>
                  </a:lnTo>
                  <a:lnTo>
                    <a:pt x="347" y="951"/>
                  </a:lnTo>
                  <a:lnTo>
                    <a:pt x="300" y="968"/>
                  </a:lnTo>
                  <a:lnTo>
                    <a:pt x="252" y="981"/>
                  </a:lnTo>
                  <a:lnTo>
                    <a:pt x="203" y="993"/>
                  </a:lnTo>
                  <a:lnTo>
                    <a:pt x="153" y="1004"/>
                  </a:lnTo>
                  <a:lnTo>
                    <a:pt x="104" y="1010"/>
                  </a:lnTo>
                  <a:lnTo>
                    <a:pt x="51" y="1016"/>
                  </a:lnTo>
                  <a:lnTo>
                    <a:pt x="0" y="1017"/>
                  </a:lnTo>
                  <a:lnTo>
                    <a:pt x="0" y="1370"/>
                  </a:lnTo>
                  <a:lnTo>
                    <a:pt x="0" y="1370"/>
                  </a:lnTo>
                  <a:lnTo>
                    <a:pt x="71" y="1368"/>
                  </a:lnTo>
                  <a:lnTo>
                    <a:pt x="140" y="1362"/>
                  </a:lnTo>
                  <a:lnTo>
                    <a:pt x="207" y="1352"/>
                  </a:lnTo>
                  <a:lnTo>
                    <a:pt x="275" y="1340"/>
                  </a:lnTo>
                  <a:lnTo>
                    <a:pt x="341" y="1323"/>
                  </a:lnTo>
                  <a:lnTo>
                    <a:pt x="405" y="1305"/>
                  </a:lnTo>
                  <a:lnTo>
                    <a:pt x="468" y="1283"/>
                  </a:lnTo>
                  <a:lnTo>
                    <a:pt x="530" y="1259"/>
                  </a:lnTo>
                  <a:lnTo>
                    <a:pt x="591" y="1230"/>
                  </a:lnTo>
                  <a:lnTo>
                    <a:pt x="650" y="1200"/>
                  </a:lnTo>
                  <a:lnTo>
                    <a:pt x="707" y="1167"/>
                  </a:lnTo>
                  <a:lnTo>
                    <a:pt x="762" y="1131"/>
                  </a:lnTo>
                  <a:lnTo>
                    <a:pt x="816" y="1094"/>
                  </a:lnTo>
                  <a:lnTo>
                    <a:pt x="867" y="1052"/>
                  </a:lnTo>
                  <a:lnTo>
                    <a:pt x="917" y="1010"/>
                  </a:lnTo>
                  <a:lnTo>
                    <a:pt x="965" y="965"/>
                  </a:lnTo>
                  <a:lnTo>
                    <a:pt x="1010" y="917"/>
                  </a:lnTo>
                  <a:lnTo>
                    <a:pt x="1053" y="867"/>
                  </a:lnTo>
                  <a:lnTo>
                    <a:pt x="1094" y="816"/>
                  </a:lnTo>
                  <a:lnTo>
                    <a:pt x="1131" y="762"/>
                  </a:lnTo>
                  <a:lnTo>
                    <a:pt x="1167" y="707"/>
                  </a:lnTo>
                  <a:lnTo>
                    <a:pt x="1200" y="650"/>
                  </a:lnTo>
                  <a:lnTo>
                    <a:pt x="1232" y="591"/>
                  </a:lnTo>
                  <a:lnTo>
                    <a:pt x="1259" y="531"/>
                  </a:lnTo>
                  <a:lnTo>
                    <a:pt x="1284" y="470"/>
                  </a:lnTo>
                  <a:lnTo>
                    <a:pt x="1307" y="405"/>
                  </a:lnTo>
                  <a:lnTo>
                    <a:pt x="1325" y="341"/>
                  </a:lnTo>
                  <a:lnTo>
                    <a:pt x="1341" y="275"/>
                  </a:lnTo>
                  <a:lnTo>
                    <a:pt x="1353" y="209"/>
                  </a:lnTo>
                  <a:lnTo>
                    <a:pt x="1364" y="140"/>
                  </a:lnTo>
                  <a:lnTo>
                    <a:pt x="1370" y="71"/>
                  </a:lnTo>
                  <a:lnTo>
                    <a:pt x="1373" y="0"/>
                  </a:lnTo>
                  <a:lnTo>
                    <a:pt x="1020" y="0"/>
                  </a:lnTo>
                  <a:close/>
                </a:path>
              </a:pathLst>
            </a:custGeom>
            <a:solidFill>
              <a:schemeClr val="tx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39" name="TextBox 38">
            <a:extLst>
              <a:ext uri="{FF2B5EF4-FFF2-40B4-BE49-F238E27FC236}">
                <a16:creationId xmlns:a16="http://schemas.microsoft.com/office/drawing/2014/main" id="{2697E593-9B7B-45F1-AE96-DBB43AAC9EB9}"/>
              </a:ext>
            </a:extLst>
          </p:cNvPr>
          <p:cNvSpPr txBox="1"/>
          <p:nvPr/>
        </p:nvSpPr>
        <p:spPr bwMode="auto">
          <a:xfrm>
            <a:off x="8052661" y="1690688"/>
            <a:ext cx="231053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0" name="Straight Connector 39">
            <a:extLst>
              <a:ext uri="{FF2B5EF4-FFF2-40B4-BE49-F238E27FC236}">
                <a16:creationId xmlns:a16="http://schemas.microsoft.com/office/drawing/2014/main" id="{125241C3-E26F-437B-9EB1-B6337D1B2092}"/>
              </a:ext>
            </a:extLst>
          </p:cNvPr>
          <p:cNvCxnSpPr/>
          <p:nvPr/>
        </p:nvCxnSpPr>
        <p:spPr bwMode="auto">
          <a:xfrm flipH="1">
            <a:off x="7035211" y="2082547"/>
            <a:ext cx="332798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A0103F1-8FE5-46E9-9BC9-62BF411555ED}"/>
              </a:ext>
            </a:extLst>
          </p:cNvPr>
          <p:cNvSpPr txBox="1"/>
          <p:nvPr/>
        </p:nvSpPr>
        <p:spPr bwMode="auto">
          <a:xfrm>
            <a:off x="8052661" y="5261645"/>
            <a:ext cx="2310538"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2" name="Straight Connector 41">
            <a:extLst>
              <a:ext uri="{FF2B5EF4-FFF2-40B4-BE49-F238E27FC236}">
                <a16:creationId xmlns:a16="http://schemas.microsoft.com/office/drawing/2014/main" id="{FB29EB4C-70B9-43F4-9F2D-C910128FE4C5}"/>
              </a:ext>
            </a:extLst>
          </p:cNvPr>
          <p:cNvCxnSpPr/>
          <p:nvPr/>
        </p:nvCxnSpPr>
        <p:spPr bwMode="auto">
          <a:xfrm flipH="1">
            <a:off x="7035211" y="5653504"/>
            <a:ext cx="3327989"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5C6D477-D341-4A67-8CF9-4397038D4C85}"/>
              </a:ext>
            </a:extLst>
          </p:cNvPr>
          <p:cNvSpPr txBox="1"/>
          <p:nvPr/>
        </p:nvSpPr>
        <p:spPr bwMode="auto">
          <a:xfrm>
            <a:off x="8391736" y="4071326"/>
            <a:ext cx="1971463"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4" name="Straight Connector 43">
            <a:extLst>
              <a:ext uri="{FF2B5EF4-FFF2-40B4-BE49-F238E27FC236}">
                <a16:creationId xmlns:a16="http://schemas.microsoft.com/office/drawing/2014/main" id="{FBB4EDEC-0935-44CC-A3F8-8B17F07987F9}"/>
              </a:ext>
            </a:extLst>
          </p:cNvPr>
          <p:cNvCxnSpPr/>
          <p:nvPr/>
        </p:nvCxnSpPr>
        <p:spPr bwMode="auto">
          <a:xfrm flipH="1">
            <a:off x="7523597" y="4463185"/>
            <a:ext cx="28396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7360759-847E-4938-96B3-7D1878A9388C}"/>
              </a:ext>
            </a:extLst>
          </p:cNvPr>
          <p:cNvSpPr txBox="1"/>
          <p:nvPr/>
        </p:nvSpPr>
        <p:spPr bwMode="auto">
          <a:xfrm>
            <a:off x="8391735" y="2876866"/>
            <a:ext cx="1971464" cy="396000"/>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algn="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6" name="Straight Connector 45">
            <a:extLst>
              <a:ext uri="{FF2B5EF4-FFF2-40B4-BE49-F238E27FC236}">
                <a16:creationId xmlns:a16="http://schemas.microsoft.com/office/drawing/2014/main" id="{02AA5912-D394-4DFF-8199-8FCDC5B0D841}"/>
              </a:ext>
            </a:extLst>
          </p:cNvPr>
          <p:cNvCxnSpPr/>
          <p:nvPr/>
        </p:nvCxnSpPr>
        <p:spPr bwMode="auto">
          <a:xfrm flipH="1">
            <a:off x="7410450" y="3272866"/>
            <a:ext cx="2952750"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A4B5142E-0E43-4E1C-A3FF-6E21D4618232}"/>
              </a:ext>
            </a:extLst>
          </p:cNvPr>
          <p:cNvSpPr txBox="1"/>
          <p:nvPr/>
        </p:nvSpPr>
        <p:spPr bwMode="auto">
          <a:xfrm flipH="1">
            <a:off x="1822451" y="1690688"/>
            <a:ext cx="2323947"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48" name="Straight Connector 47">
            <a:extLst>
              <a:ext uri="{FF2B5EF4-FFF2-40B4-BE49-F238E27FC236}">
                <a16:creationId xmlns:a16="http://schemas.microsoft.com/office/drawing/2014/main" id="{F6AF55BC-6C9A-4416-AA6C-35CDDFB108F7}"/>
              </a:ext>
            </a:extLst>
          </p:cNvPr>
          <p:cNvCxnSpPr/>
          <p:nvPr/>
        </p:nvCxnSpPr>
        <p:spPr bwMode="auto">
          <a:xfrm>
            <a:off x="1822450" y="2082547"/>
            <a:ext cx="33473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DBA1DBF7-635C-4CD0-A18C-4A72A22C116C}"/>
              </a:ext>
            </a:extLst>
          </p:cNvPr>
          <p:cNvSpPr txBox="1"/>
          <p:nvPr/>
        </p:nvSpPr>
        <p:spPr bwMode="auto">
          <a:xfrm flipH="1">
            <a:off x="1822451" y="5261645"/>
            <a:ext cx="2323947"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0" name="Straight Connector 49">
            <a:extLst>
              <a:ext uri="{FF2B5EF4-FFF2-40B4-BE49-F238E27FC236}">
                <a16:creationId xmlns:a16="http://schemas.microsoft.com/office/drawing/2014/main" id="{20493A14-20DD-4789-A9A0-B7ACA76D8470}"/>
              </a:ext>
            </a:extLst>
          </p:cNvPr>
          <p:cNvCxnSpPr/>
          <p:nvPr/>
        </p:nvCxnSpPr>
        <p:spPr bwMode="auto">
          <a:xfrm>
            <a:off x="1822450" y="5653504"/>
            <a:ext cx="3347303"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415742E-CD86-49AC-985F-3AE6CFF4ABC2}"/>
              </a:ext>
            </a:extLst>
          </p:cNvPr>
          <p:cNvSpPr txBox="1"/>
          <p:nvPr/>
        </p:nvSpPr>
        <p:spPr bwMode="auto">
          <a:xfrm flipH="1">
            <a:off x="1822451" y="4071326"/>
            <a:ext cx="1985689"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2" name="Straight Connector 51">
            <a:extLst>
              <a:ext uri="{FF2B5EF4-FFF2-40B4-BE49-F238E27FC236}">
                <a16:creationId xmlns:a16="http://schemas.microsoft.com/office/drawing/2014/main" id="{2F6594DA-FB4E-478F-895A-F4A41C0D0BC7}"/>
              </a:ext>
            </a:extLst>
          </p:cNvPr>
          <p:cNvCxnSpPr/>
          <p:nvPr/>
        </p:nvCxnSpPr>
        <p:spPr bwMode="auto">
          <a:xfrm>
            <a:off x="1822450" y="4463185"/>
            <a:ext cx="2860092"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8D4929E-9A4F-4CF6-AFD8-CB46BABEFBC1}"/>
              </a:ext>
            </a:extLst>
          </p:cNvPr>
          <p:cNvSpPr txBox="1"/>
          <p:nvPr/>
        </p:nvSpPr>
        <p:spPr bwMode="auto">
          <a:xfrm flipH="1">
            <a:off x="1822451" y="2876866"/>
            <a:ext cx="1985688" cy="396000"/>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Text</a:t>
            </a: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cxnSp>
        <p:nvCxnSpPr>
          <p:cNvPr id="54" name="Straight Connector 53">
            <a:extLst>
              <a:ext uri="{FF2B5EF4-FFF2-40B4-BE49-F238E27FC236}">
                <a16:creationId xmlns:a16="http://schemas.microsoft.com/office/drawing/2014/main" id="{2FD930C3-7C23-47B2-8162-274BB04F8512}"/>
              </a:ext>
            </a:extLst>
          </p:cNvPr>
          <p:cNvCxnSpPr/>
          <p:nvPr/>
        </p:nvCxnSpPr>
        <p:spPr bwMode="auto">
          <a:xfrm>
            <a:off x="1822450" y="3272866"/>
            <a:ext cx="2998028" cy="0"/>
          </a:xfrm>
          <a:prstGeom prst="line">
            <a:avLst/>
          </a:prstGeom>
          <a:ln w="12700">
            <a:solidFill>
              <a:schemeClr val="tx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295715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le Illustration 5</a:t>
            </a:r>
            <a:endParaRPr lang="en-US" sz="3600" b="1" dirty="0"/>
          </a:p>
        </p:txBody>
      </p:sp>
      <p:sp>
        <p:nvSpPr>
          <p:cNvPr id="21" name="Freeform: Shape 20">
            <a:hlinkClick r:id="rId11"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1" action="ppaction://hlinksldjump"/>
            <a:extLst>
              <a:ext uri="{FF2B5EF4-FFF2-40B4-BE49-F238E27FC236}">
                <a16:creationId xmlns:a16="http://schemas.microsoft.com/office/drawing/2014/main" id="{38A78128-62EF-4E30-BD57-A4535F27DBD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2" name="TextBox 21">
            <a:extLst>
              <a:ext uri="{FF2B5EF4-FFF2-40B4-BE49-F238E27FC236}">
                <a16:creationId xmlns:a16="http://schemas.microsoft.com/office/drawing/2014/main" id="{2FE28C78-9FA3-443C-97E0-0A551D024866}"/>
              </a:ext>
            </a:extLst>
          </p:cNvPr>
          <p:cNvSpPr txBox="1"/>
          <p:nvPr/>
        </p:nvSpPr>
        <p:spPr bwMode="auto">
          <a:xfrm>
            <a:off x="5089325" y="3438063"/>
            <a:ext cx="2039541" cy="398068"/>
          </a:xfrm>
          <a:prstGeom prst="rect">
            <a:avLst/>
          </a:prstGeom>
          <a:noFill/>
        </p:spPr>
        <p:txBody>
          <a:bodyPr wrap="square" rtlCol="0" anchor="ctr" anchorCtr="0">
            <a:spAutoFit/>
          </a:bodyPr>
          <a:lstStyle/>
          <a:p>
            <a:pPr algn="ctr" fontAlgn="base">
              <a:spcBef>
                <a:spcPct val="0"/>
              </a:spcBef>
              <a:spcAft>
                <a:spcPct val="0"/>
              </a:spcAft>
            </a:pPr>
            <a:r>
              <a:rPr lang="en-GB" b="1" dirty="0">
                <a:latin typeface="+mn-lt"/>
                <a:cs typeface="Arial" charset="0"/>
              </a:rPr>
              <a:t>Title</a:t>
            </a:r>
          </a:p>
        </p:txBody>
      </p:sp>
      <p:grpSp>
        <p:nvGrpSpPr>
          <p:cNvPr id="23" name="Group 22">
            <a:extLst>
              <a:ext uri="{FF2B5EF4-FFF2-40B4-BE49-F238E27FC236}">
                <a16:creationId xmlns:a16="http://schemas.microsoft.com/office/drawing/2014/main" id="{DB35EEC2-BDEE-4B7C-8AA4-98103B643449}"/>
              </a:ext>
            </a:extLst>
          </p:cNvPr>
          <p:cNvGrpSpPr/>
          <p:nvPr/>
        </p:nvGrpSpPr>
        <p:grpSpPr>
          <a:xfrm>
            <a:off x="6634568" y="2450448"/>
            <a:ext cx="2374138" cy="2392381"/>
            <a:chOff x="6634568" y="2450448"/>
            <a:chExt cx="2374138" cy="2392381"/>
          </a:xfrm>
        </p:grpSpPr>
        <p:sp>
          <p:nvSpPr>
            <p:cNvPr id="24" name="Freeform 39">
              <a:extLst>
                <a:ext uri="{FF2B5EF4-FFF2-40B4-BE49-F238E27FC236}">
                  <a16:creationId xmlns:a16="http://schemas.microsoft.com/office/drawing/2014/main" id="{00FF1381-87EB-4479-9534-3FC8E8CEDA8D}"/>
                </a:ext>
              </a:extLst>
            </p:cNvPr>
            <p:cNvSpPr>
              <a:spLocks/>
            </p:cNvSpPr>
            <p:nvPr/>
          </p:nvSpPr>
          <p:spPr bwMode="auto">
            <a:xfrm rot="2700000">
              <a:off x="6625446" y="2459570"/>
              <a:ext cx="2392381" cy="2374138"/>
            </a:xfrm>
            <a:custGeom>
              <a:avLst/>
              <a:gdLst>
                <a:gd name="T0" fmla="*/ 0 w 387"/>
                <a:gd name="T1" fmla="*/ 168 h 387"/>
                <a:gd name="T2" fmla="*/ 218 w 387"/>
                <a:gd name="T3" fmla="*/ 387 h 387"/>
                <a:gd name="T4" fmla="*/ 387 w 387"/>
                <a:gd name="T5" fmla="*/ 387 h 387"/>
                <a:gd name="T6" fmla="*/ 0 w 387"/>
                <a:gd name="T7" fmla="*/ 0 h 387"/>
                <a:gd name="T8" fmla="*/ 0 w 387"/>
                <a:gd name="T9" fmla="*/ 168 h 387"/>
              </a:gdLst>
              <a:ahLst/>
              <a:cxnLst>
                <a:cxn ang="0">
                  <a:pos x="T0" y="T1"/>
                </a:cxn>
                <a:cxn ang="0">
                  <a:pos x="T2" y="T3"/>
                </a:cxn>
                <a:cxn ang="0">
                  <a:pos x="T4" y="T5"/>
                </a:cxn>
                <a:cxn ang="0">
                  <a:pos x="T6" y="T7"/>
                </a:cxn>
                <a:cxn ang="0">
                  <a:pos x="T8" y="T9"/>
                </a:cxn>
              </a:cxnLst>
              <a:rect l="0" t="0" r="r" b="b"/>
              <a:pathLst>
                <a:path w="387" h="387">
                  <a:moveTo>
                    <a:pt x="0" y="168"/>
                  </a:moveTo>
                  <a:cubicBezTo>
                    <a:pt x="120" y="170"/>
                    <a:pt x="216" y="267"/>
                    <a:pt x="218" y="387"/>
                  </a:cubicBezTo>
                  <a:cubicBezTo>
                    <a:pt x="387" y="387"/>
                    <a:pt x="387" y="387"/>
                    <a:pt x="387" y="387"/>
                  </a:cubicBezTo>
                  <a:cubicBezTo>
                    <a:pt x="385" y="174"/>
                    <a:pt x="213" y="2"/>
                    <a:pt x="0" y="0"/>
                  </a:cubicBezTo>
                  <a:lnTo>
                    <a:pt x="0" y="168"/>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a:solidFill>
                  <a:prstClr val="black"/>
                </a:solidFill>
                <a:cs typeface="Arial" charset="0"/>
              </a:endParaRPr>
            </a:p>
          </p:txBody>
        </p:sp>
        <p:sp>
          <p:nvSpPr>
            <p:cNvPr id="25" name="Freeform 8">
              <a:extLst>
                <a:ext uri="{FF2B5EF4-FFF2-40B4-BE49-F238E27FC236}">
                  <a16:creationId xmlns:a16="http://schemas.microsoft.com/office/drawing/2014/main" id="{0CDCBF45-388E-427C-BAD9-0ABB7BE119D6}"/>
                </a:ext>
              </a:extLst>
            </p:cNvPr>
            <p:cNvSpPr>
              <a:spLocks/>
            </p:cNvSpPr>
            <p:nvPr>
              <p:custDataLst>
                <p:tags r:id="rId8"/>
              </p:custDataLst>
            </p:nvPr>
          </p:nvSpPr>
          <p:spPr bwMode="auto">
            <a:xfrm>
              <a:off x="6865634" y="3195030"/>
              <a:ext cx="619929" cy="903218"/>
            </a:xfrm>
            <a:custGeom>
              <a:avLst/>
              <a:gdLst/>
              <a:ahLst/>
              <a:cxnLst>
                <a:cxn ang="0">
                  <a:pos x="225" y="96"/>
                </a:cxn>
                <a:cxn ang="0">
                  <a:pos x="125" y="96"/>
                </a:cxn>
                <a:cxn ang="0">
                  <a:pos x="125" y="0"/>
                </a:cxn>
                <a:cxn ang="0">
                  <a:pos x="0" y="184"/>
                </a:cxn>
                <a:cxn ang="0">
                  <a:pos x="125" y="368"/>
                </a:cxn>
                <a:cxn ang="0">
                  <a:pos x="125" y="264"/>
                </a:cxn>
                <a:cxn ang="0">
                  <a:pos x="225" y="264"/>
                </a:cxn>
              </a:cxnLst>
              <a:rect l="0" t="0" r="r" b="b"/>
              <a:pathLst>
                <a:path w="226" h="369">
                  <a:moveTo>
                    <a:pt x="225" y="96"/>
                  </a:moveTo>
                  <a:lnTo>
                    <a:pt x="125" y="96"/>
                  </a:lnTo>
                  <a:lnTo>
                    <a:pt x="125" y="0"/>
                  </a:lnTo>
                  <a:lnTo>
                    <a:pt x="0" y="184"/>
                  </a:lnTo>
                  <a:lnTo>
                    <a:pt x="125" y="368"/>
                  </a:lnTo>
                  <a:lnTo>
                    <a:pt x="125" y="264"/>
                  </a:lnTo>
                  <a:lnTo>
                    <a:pt x="225" y="264"/>
                  </a:lnTo>
                </a:path>
              </a:pathLst>
            </a:custGeom>
            <a:solidFill>
              <a:schemeClr val="accent3"/>
            </a:solidFill>
            <a:ln w="6350" cap="rnd" cmpd="sng">
              <a:noFill/>
              <a:prstDash val="solid"/>
              <a:round/>
              <a:headEnd type="none" w="med" len="med"/>
              <a:tailEnd type="none" w="med" len="med"/>
            </a:ln>
            <a:effectLst/>
          </p:spPr>
          <p:txBody>
            <a:bodyPr lIns="45720" rIns="45720"/>
            <a:lstStyle/>
            <a:p>
              <a:pPr fontAlgn="base">
                <a:spcBef>
                  <a:spcPct val="0"/>
                </a:spcBef>
                <a:spcAft>
                  <a:spcPct val="0"/>
                </a:spcAft>
              </a:pPr>
              <a:endParaRPr lang="de-DE">
                <a:solidFill>
                  <a:prstClr val="black"/>
                </a:solidFill>
                <a:latin typeface="+mn-lt"/>
                <a:cs typeface="Arial" charset="0"/>
              </a:endParaRPr>
            </a:p>
          </p:txBody>
        </p:sp>
      </p:grpSp>
      <p:grpSp>
        <p:nvGrpSpPr>
          <p:cNvPr id="26" name="Group 25">
            <a:extLst>
              <a:ext uri="{FF2B5EF4-FFF2-40B4-BE49-F238E27FC236}">
                <a16:creationId xmlns:a16="http://schemas.microsoft.com/office/drawing/2014/main" id="{D28E850F-C1B7-4202-BB88-931D09E40212}"/>
              </a:ext>
            </a:extLst>
          </p:cNvPr>
          <p:cNvGrpSpPr/>
          <p:nvPr/>
        </p:nvGrpSpPr>
        <p:grpSpPr>
          <a:xfrm>
            <a:off x="3195025" y="2451752"/>
            <a:ext cx="2374138" cy="2389774"/>
            <a:chOff x="3195025" y="2451752"/>
            <a:chExt cx="2374138" cy="2389774"/>
          </a:xfrm>
        </p:grpSpPr>
        <p:sp>
          <p:nvSpPr>
            <p:cNvPr id="27" name="Freeform 41">
              <a:extLst>
                <a:ext uri="{FF2B5EF4-FFF2-40B4-BE49-F238E27FC236}">
                  <a16:creationId xmlns:a16="http://schemas.microsoft.com/office/drawing/2014/main" id="{90EB1C1A-2954-4565-BFE7-1A8FC9A9BCB8}"/>
                </a:ext>
              </a:extLst>
            </p:cNvPr>
            <p:cNvSpPr>
              <a:spLocks/>
            </p:cNvSpPr>
            <p:nvPr/>
          </p:nvSpPr>
          <p:spPr bwMode="auto">
            <a:xfrm rot="2700000">
              <a:off x="3187207" y="2459570"/>
              <a:ext cx="2389774" cy="2374138"/>
            </a:xfrm>
            <a:custGeom>
              <a:avLst/>
              <a:gdLst>
                <a:gd name="T0" fmla="*/ 387 w 387"/>
                <a:gd name="T1" fmla="*/ 219 h 387"/>
                <a:gd name="T2" fmla="*/ 168 w 387"/>
                <a:gd name="T3" fmla="*/ 0 h 387"/>
                <a:gd name="T4" fmla="*/ 0 w 387"/>
                <a:gd name="T5" fmla="*/ 0 h 387"/>
                <a:gd name="T6" fmla="*/ 387 w 387"/>
                <a:gd name="T7" fmla="*/ 387 h 387"/>
                <a:gd name="T8" fmla="*/ 387 w 387"/>
                <a:gd name="T9" fmla="*/ 219 h 387"/>
              </a:gdLst>
              <a:ahLst/>
              <a:cxnLst>
                <a:cxn ang="0">
                  <a:pos x="T0" y="T1"/>
                </a:cxn>
                <a:cxn ang="0">
                  <a:pos x="T2" y="T3"/>
                </a:cxn>
                <a:cxn ang="0">
                  <a:pos x="T4" y="T5"/>
                </a:cxn>
                <a:cxn ang="0">
                  <a:pos x="T6" y="T7"/>
                </a:cxn>
                <a:cxn ang="0">
                  <a:pos x="T8" y="T9"/>
                </a:cxn>
              </a:cxnLst>
              <a:rect l="0" t="0" r="r" b="b"/>
              <a:pathLst>
                <a:path w="387" h="387">
                  <a:moveTo>
                    <a:pt x="387" y="219"/>
                  </a:moveTo>
                  <a:cubicBezTo>
                    <a:pt x="267" y="217"/>
                    <a:pt x="170" y="120"/>
                    <a:pt x="168" y="0"/>
                  </a:cubicBezTo>
                  <a:cubicBezTo>
                    <a:pt x="0" y="0"/>
                    <a:pt x="0" y="0"/>
                    <a:pt x="0" y="0"/>
                  </a:cubicBezTo>
                  <a:cubicBezTo>
                    <a:pt x="2" y="213"/>
                    <a:pt x="174" y="385"/>
                    <a:pt x="387" y="387"/>
                  </a:cubicBezTo>
                  <a:lnTo>
                    <a:pt x="387" y="21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a:solidFill>
                  <a:prstClr val="black"/>
                </a:solidFill>
                <a:cs typeface="Arial" charset="0"/>
              </a:endParaRPr>
            </a:p>
          </p:txBody>
        </p:sp>
        <p:sp>
          <p:nvSpPr>
            <p:cNvPr id="28" name="Freeform 9">
              <a:extLst>
                <a:ext uri="{FF2B5EF4-FFF2-40B4-BE49-F238E27FC236}">
                  <a16:creationId xmlns:a16="http://schemas.microsoft.com/office/drawing/2014/main" id="{FF3EA227-167A-46ED-B713-23392B8DC2D9}"/>
                </a:ext>
              </a:extLst>
            </p:cNvPr>
            <p:cNvSpPr>
              <a:spLocks/>
            </p:cNvSpPr>
            <p:nvPr>
              <p:custDataLst>
                <p:tags r:id="rId7"/>
              </p:custDataLst>
            </p:nvPr>
          </p:nvSpPr>
          <p:spPr bwMode="auto">
            <a:xfrm rot="5400000">
              <a:off x="4477173" y="3365717"/>
              <a:ext cx="1009524" cy="561845"/>
            </a:xfrm>
            <a:custGeom>
              <a:avLst/>
              <a:gdLst/>
              <a:ahLst/>
              <a:cxnLst>
                <a:cxn ang="0">
                  <a:pos x="272" y="229"/>
                </a:cxn>
                <a:cxn ang="0">
                  <a:pos x="272" y="229"/>
                </a:cxn>
                <a:cxn ang="0">
                  <a:pos x="272" y="123"/>
                </a:cxn>
                <a:cxn ang="0">
                  <a:pos x="368" y="123"/>
                </a:cxn>
                <a:cxn ang="0">
                  <a:pos x="184" y="0"/>
                </a:cxn>
                <a:cxn ang="0">
                  <a:pos x="0" y="123"/>
                </a:cxn>
                <a:cxn ang="0">
                  <a:pos x="104" y="123"/>
                </a:cxn>
                <a:cxn ang="0">
                  <a:pos x="104" y="229"/>
                </a:cxn>
              </a:cxnLst>
              <a:rect l="0" t="0" r="r" b="b"/>
              <a:pathLst>
                <a:path w="369" h="230">
                  <a:moveTo>
                    <a:pt x="272" y="229"/>
                  </a:moveTo>
                  <a:lnTo>
                    <a:pt x="272" y="229"/>
                  </a:lnTo>
                  <a:lnTo>
                    <a:pt x="272" y="123"/>
                  </a:lnTo>
                  <a:lnTo>
                    <a:pt x="368" y="123"/>
                  </a:lnTo>
                  <a:lnTo>
                    <a:pt x="184" y="0"/>
                  </a:lnTo>
                  <a:lnTo>
                    <a:pt x="0" y="123"/>
                  </a:lnTo>
                  <a:lnTo>
                    <a:pt x="104" y="123"/>
                  </a:lnTo>
                  <a:lnTo>
                    <a:pt x="104" y="229"/>
                  </a:lnTo>
                </a:path>
              </a:pathLst>
            </a:custGeom>
            <a:solidFill>
              <a:schemeClr val="accent1"/>
            </a:solidFill>
            <a:ln w="6350" cap="rnd" cmpd="sng">
              <a:noFill/>
              <a:prstDash val="solid"/>
              <a:round/>
              <a:headEnd type="none" w="med" len="med"/>
              <a:tailEnd type="none" w="med" len="med"/>
            </a:ln>
            <a:effectLst/>
          </p:spPr>
          <p:txBody>
            <a:bodyPr lIns="45720" rIns="45720"/>
            <a:lstStyle/>
            <a:p>
              <a:pPr fontAlgn="base">
                <a:spcBef>
                  <a:spcPct val="0"/>
                </a:spcBef>
                <a:spcAft>
                  <a:spcPct val="0"/>
                </a:spcAft>
              </a:pPr>
              <a:endParaRPr lang="de-DE">
                <a:solidFill>
                  <a:prstClr val="black"/>
                </a:solidFill>
                <a:latin typeface="+mn-lt"/>
                <a:cs typeface="Arial" charset="0"/>
              </a:endParaRPr>
            </a:p>
          </p:txBody>
        </p:sp>
      </p:grpSp>
      <p:sp>
        <p:nvSpPr>
          <p:cNvPr id="29" name="Rectangle 28">
            <a:extLst>
              <a:ext uri="{FF2B5EF4-FFF2-40B4-BE49-F238E27FC236}">
                <a16:creationId xmlns:a16="http://schemas.microsoft.com/office/drawing/2014/main" id="{8A2AA002-8D97-4FC8-AEF6-EA1E43F77F7F}"/>
              </a:ext>
            </a:extLst>
          </p:cNvPr>
          <p:cNvSpPr/>
          <p:nvPr>
            <p:custDataLst>
              <p:tags r:id="rId1"/>
            </p:custDataLst>
          </p:nvPr>
        </p:nvSpPr>
        <p:spPr bwMode="auto">
          <a:xfrm rot="16200000">
            <a:off x="3034698" y="3172369"/>
            <a:ext cx="2372533" cy="94854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r>
              <a:rPr lang="en-GB" b="1" dirty="0">
                <a:solidFill>
                  <a:prstClr val="white"/>
                </a:solidFill>
                <a:latin typeface="+mn-lt"/>
                <a:cs typeface="Arial" charset="0"/>
              </a:rPr>
              <a:t>Text </a:t>
            </a:r>
          </a:p>
        </p:txBody>
      </p:sp>
      <p:sp>
        <p:nvSpPr>
          <p:cNvPr id="30" name="Rectangle 29">
            <a:extLst>
              <a:ext uri="{FF2B5EF4-FFF2-40B4-BE49-F238E27FC236}">
                <a16:creationId xmlns:a16="http://schemas.microsoft.com/office/drawing/2014/main" id="{971F497B-CFB0-403E-B864-0C56554B63A3}"/>
              </a:ext>
            </a:extLst>
          </p:cNvPr>
          <p:cNvSpPr/>
          <p:nvPr>
            <p:custDataLst>
              <p:tags r:id="rId2"/>
            </p:custDataLst>
          </p:nvPr>
        </p:nvSpPr>
        <p:spPr bwMode="auto">
          <a:xfrm rot="5400000">
            <a:off x="6910728" y="3172370"/>
            <a:ext cx="2024536" cy="9485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r>
              <a:rPr lang="en-GB" b="1" dirty="0">
                <a:solidFill>
                  <a:prstClr val="white"/>
                </a:solidFill>
                <a:latin typeface="+mn-lt"/>
                <a:cs typeface="Arial" charset="0"/>
              </a:rPr>
              <a:t>Text</a:t>
            </a:r>
          </a:p>
        </p:txBody>
      </p:sp>
      <p:grpSp>
        <p:nvGrpSpPr>
          <p:cNvPr id="31" name="Group 30">
            <a:extLst>
              <a:ext uri="{FF2B5EF4-FFF2-40B4-BE49-F238E27FC236}">
                <a16:creationId xmlns:a16="http://schemas.microsoft.com/office/drawing/2014/main" id="{E6167A2C-DF10-426C-80B7-2F4F18E493BB}"/>
              </a:ext>
            </a:extLst>
          </p:cNvPr>
          <p:cNvGrpSpPr/>
          <p:nvPr/>
        </p:nvGrpSpPr>
        <p:grpSpPr>
          <a:xfrm>
            <a:off x="4915256" y="731519"/>
            <a:ext cx="2374138" cy="2389774"/>
            <a:chOff x="4915256" y="731519"/>
            <a:chExt cx="2374138" cy="2389774"/>
          </a:xfrm>
        </p:grpSpPr>
        <p:sp>
          <p:nvSpPr>
            <p:cNvPr id="32" name="Freeform 38">
              <a:extLst>
                <a:ext uri="{FF2B5EF4-FFF2-40B4-BE49-F238E27FC236}">
                  <a16:creationId xmlns:a16="http://schemas.microsoft.com/office/drawing/2014/main" id="{FA80F44C-685A-4E08-BA2B-089181CE6EEA}"/>
                </a:ext>
              </a:extLst>
            </p:cNvPr>
            <p:cNvSpPr>
              <a:spLocks/>
            </p:cNvSpPr>
            <p:nvPr/>
          </p:nvSpPr>
          <p:spPr bwMode="auto">
            <a:xfrm rot="2700000">
              <a:off x="4907438" y="739337"/>
              <a:ext cx="2389774" cy="2374138"/>
            </a:xfrm>
            <a:custGeom>
              <a:avLst/>
              <a:gdLst>
                <a:gd name="T0" fmla="*/ 168 w 387"/>
                <a:gd name="T1" fmla="*/ 387 h 387"/>
                <a:gd name="T2" fmla="*/ 387 w 387"/>
                <a:gd name="T3" fmla="*/ 168 h 387"/>
                <a:gd name="T4" fmla="*/ 387 w 387"/>
                <a:gd name="T5" fmla="*/ 0 h 387"/>
                <a:gd name="T6" fmla="*/ 0 w 387"/>
                <a:gd name="T7" fmla="*/ 387 h 387"/>
                <a:gd name="T8" fmla="*/ 168 w 387"/>
                <a:gd name="T9" fmla="*/ 387 h 387"/>
              </a:gdLst>
              <a:ahLst/>
              <a:cxnLst>
                <a:cxn ang="0">
                  <a:pos x="T0" y="T1"/>
                </a:cxn>
                <a:cxn ang="0">
                  <a:pos x="T2" y="T3"/>
                </a:cxn>
                <a:cxn ang="0">
                  <a:pos x="T4" y="T5"/>
                </a:cxn>
                <a:cxn ang="0">
                  <a:pos x="T6" y="T7"/>
                </a:cxn>
                <a:cxn ang="0">
                  <a:pos x="T8" y="T9"/>
                </a:cxn>
              </a:cxnLst>
              <a:rect l="0" t="0" r="r" b="b"/>
              <a:pathLst>
                <a:path w="387" h="387">
                  <a:moveTo>
                    <a:pt x="168" y="387"/>
                  </a:moveTo>
                  <a:cubicBezTo>
                    <a:pt x="170" y="267"/>
                    <a:pt x="267" y="170"/>
                    <a:pt x="387" y="168"/>
                  </a:cubicBezTo>
                  <a:cubicBezTo>
                    <a:pt x="387" y="0"/>
                    <a:pt x="387" y="0"/>
                    <a:pt x="387" y="0"/>
                  </a:cubicBezTo>
                  <a:cubicBezTo>
                    <a:pt x="174" y="2"/>
                    <a:pt x="2" y="174"/>
                    <a:pt x="0" y="387"/>
                  </a:cubicBezTo>
                  <a:lnTo>
                    <a:pt x="168" y="387"/>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a:solidFill>
                  <a:prstClr val="black"/>
                </a:solidFill>
                <a:cs typeface="Arial" charset="0"/>
              </a:endParaRPr>
            </a:p>
          </p:txBody>
        </p:sp>
        <p:sp>
          <p:nvSpPr>
            <p:cNvPr id="33" name="Freeform 10">
              <a:extLst>
                <a:ext uri="{FF2B5EF4-FFF2-40B4-BE49-F238E27FC236}">
                  <a16:creationId xmlns:a16="http://schemas.microsoft.com/office/drawing/2014/main" id="{8E7925FE-87AC-4E64-BE18-2241F5D77E90}"/>
                </a:ext>
              </a:extLst>
            </p:cNvPr>
            <p:cNvSpPr>
              <a:spLocks/>
            </p:cNvSpPr>
            <p:nvPr>
              <p:custDataLst>
                <p:tags r:id="rId6"/>
              </p:custDataLst>
            </p:nvPr>
          </p:nvSpPr>
          <p:spPr bwMode="auto">
            <a:xfrm>
              <a:off x="5597561" y="2265829"/>
              <a:ext cx="1009528" cy="554732"/>
            </a:xfrm>
            <a:custGeom>
              <a:avLst/>
              <a:gdLst/>
              <a:ahLst/>
              <a:cxnLst>
                <a:cxn ang="0">
                  <a:pos x="104" y="0"/>
                </a:cxn>
                <a:cxn ang="0">
                  <a:pos x="104" y="0"/>
                </a:cxn>
                <a:cxn ang="0">
                  <a:pos x="104" y="105"/>
                </a:cxn>
                <a:cxn ang="0">
                  <a:pos x="0" y="105"/>
                </a:cxn>
                <a:cxn ang="0">
                  <a:pos x="184" y="226"/>
                </a:cxn>
                <a:cxn ang="0">
                  <a:pos x="368" y="105"/>
                </a:cxn>
                <a:cxn ang="0">
                  <a:pos x="272" y="105"/>
                </a:cxn>
                <a:cxn ang="0">
                  <a:pos x="272" y="0"/>
                </a:cxn>
              </a:cxnLst>
              <a:rect l="0" t="0" r="r" b="b"/>
              <a:pathLst>
                <a:path w="369" h="227">
                  <a:moveTo>
                    <a:pt x="104" y="0"/>
                  </a:moveTo>
                  <a:lnTo>
                    <a:pt x="104" y="0"/>
                  </a:lnTo>
                  <a:lnTo>
                    <a:pt x="104" y="105"/>
                  </a:lnTo>
                  <a:lnTo>
                    <a:pt x="0" y="105"/>
                  </a:lnTo>
                  <a:lnTo>
                    <a:pt x="184" y="226"/>
                  </a:lnTo>
                  <a:lnTo>
                    <a:pt x="368" y="105"/>
                  </a:lnTo>
                  <a:lnTo>
                    <a:pt x="272" y="105"/>
                  </a:lnTo>
                  <a:lnTo>
                    <a:pt x="272" y="0"/>
                  </a:lnTo>
                </a:path>
              </a:pathLst>
            </a:custGeom>
            <a:solidFill>
              <a:schemeClr val="accent5"/>
            </a:solidFill>
            <a:ln w="6350" cap="rnd" cmpd="sng">
              <a:noFill/>
              <a:prstDash val="solid"/>
              <a:round/>
              <a:headEnd type="none" w="med" len="med"/>
              <a:tailEnd type="none" w="med" len="med"/>
            </a:ln>
            <a:effectLst/>
          </p:spPr>
          <p:txBody>
            <a:bodyPr lIns="45720" rIns="45720"/>
            <a:lstStyle/>
            <a:p>
              <a:pPr fontAlgn="base">
                <a:spcBef>
                  <a:spcPct val="0"/>
                </a:spcBef>
                <a:spcAft>
                  <a:spcPct val="0"/>
                </a:spcAft>
              </a:pPr>
              <a:endParaRPr lang="de-DE">
                <a:solidFill>
                  <a:prstClr val="black"/>
                </a:solidFill>
                <a:latin typeface="+mn-lt"/>
                <a:cs typeface="Arial" charset="0"/>
              </a:endParaRPr>
            </a:p>
          </p:txBody>
        </p:sp>
      </p:grpSp>
      <p:sp>
        <p:nvSpPr>
          <p:cNvPr id="34" name="Rectangle 33">
            <a:extLst>
              <a:ext uri="{FF2B5EF4-FFF2-40B4-BE49-F238E27FC236}">
                <a16:creationId xmlns:a16="http://schemas.microsoft.com/office/drawing/2014/main" id="{F00CE9AF-A85D-4A88-BC1F-9AE41B17FC76}"/>
              </a:ext>
            </a:extLst>
          </p:cNvPr>
          <p:cNvSpPr/>
          <p:nvPr>
            <p:custDataLst>
              <p:tags r:id="rId3"/>
            </p:custDataLst>
          </p:nvPr>
        </p:nvSpPr>
        <p:spPr bwMode="auto">
          <a:xfrm>
            <a:off x="5113492" y="1349685"/>
            <a:ext cx="1977667" cy="94853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r>
              <a:rPr lang="en-GB" b="1" dirty="0">
                <a:solidFill>
                  <a:prstClr val="white"/>
                </a:solidFill>
                <a:latin typeface="+mn-lt"/>
                <a:cs typeface="Arial" charset="0"/>
              </a:rPr>
              <a:t>Text</a:t>
            </a:r>
          </a:p>
        </p:txBody>
      </p:sp>
      <p:grpSp>
        <p:nvGrpSpPr>
          <p:cNvPr id="36" name="Group 35">
            <a:extLst>
              <a:ext uri="{FF2B5EF4-FFF2-40B4-BE49-F238E27FC236}">
                <a16:creationId xmlns:a16="http://schemas.microsoft.com/office/drawing/2014/main" id="{1750046B-DAE0-4518-80D1-B7941390FB15}"/>
              </a:ext>
            </a:extLst>
          </p:cNvPr>
          <p:cNvGrpSpPr/>
          <p:nvPr/>
        </p:nvGrpSpPr>
        <p:grpSpPr>
          <a:xfrm>
            <a:off x="4915257" y="4169757"/>
            <a:ext cx="2374138" cy="2392381"/>
            <a:chOff x="4915257" y="4169757"/>
            <a:chExt cx="2374138" cy="2392381"/>
          </a:xfrm>
        </p:grpSpPr>
        <p:sp>
          <p:nvSpPr>
            <p:cNvPr id="37" name="Freeform 40">
              <a:extLst>
                <a:ext uri="{FF2B5EF4-FFF2-40B4-BE49-F238E27FC236}">
                  <a16:creationId xmlns:a16="http://schemas.microsoft.com/office/drawing/2014/main" id="{DD824698-CD6F-4EBC-915C-62FF5EFA87D7}"/>
                </a:ext>
              </a:extLst>
            </p:cNvPr>
            <p:cNvSpPr>
              <a:spLocks/>
            </p:cNvSpPr>
            <p:nvPr/>
          </p:nvSpPr>
          <p:spPr bwMode="auto">
            <a:xfrm rot="2700000">
              <a:off x="4906135" y="4178879"/>
              <a:ext cx="2392381" cy="2374138"/>
            </a:xfrm>
            <a:custGeom>
              <a:avLst/>
              <a:gdLst>
                <a:gd name="T0" fmla="*/ 218 w 387"/>
                <a:gd name="T1" fmla="*/ 0 h 387"/>
                <a:gd name="T2" fmla="*/ 0 w 387"/>
                <a:gd name="T3" fmla="*/ 219 h 387"/>
                <a:gd name="T4" fmla="*/ 0 w 387"/>
                <a:gd name="T5" fmla="*/ 387 h 387"/>
                <a:gd name="T6" fmla="*/ 387 w 387"/>
                <a:gd name="T7" fmla="*/ 0 h 387"/>
                <a:gd name="T8" fmla="*/ 218 w 387"/>
                <a:gd name="T9" fmla="*/ 0 h 387"/>
              </a:gdLst>
              <a:ahLst/>
              <a:cxnLst>
                <a:cxn ang="0">
                  <a:pos x="T0" y="T1"/>
                </a:cxn>
                <a:cxn ang="0">
                  <a:pos x="T2" y="T3"/>
                </a:cxn>
                <a:cxn ang="0">
                  <a:pos x="T4" y="T5"/>
                </a:cxn>
                <a:cxn ang="0">
                  <a:pos x="T6" y="T7"/>
                </a:cxn>
                <a:cxn ang="0">
                  <a:pos x="T8" y="T9"/>
                </a:cxn>
              </a:cxnLst>
              <a:rect l="0" t="0" r="r" b="b"/>
              <a:pathLst>
                <a:path w="387" h="387">
                  <a:moveTo>
                    <a:pt x="218" y="0"/>
                  </a:moveTo>
                  <a:cubicBezTo>
                    <a:pt x="216" y="120"/>
                    <a:pt x="120" y="217"/>
                    <a:pt x="0" y="219"/>
                  </a:cubicBezTo>
                  <a:cubicBezTo>
                    <a:pt x="0" y="387"/>
                    <a:pt x="0" y="387"/>
                    <a:pt x="0" y="387"/>
                  </a:cubicBezTo>
                  <a:cubicBezTo>
                    <a:pt x="213" y="385"/>
                    <a:pt x="385" y="213"/>
                    <a:pt x="387" y="0"/>
                  </a:cubicBezTo>
                  <a:lnTo>
                    <a:pt x="218"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AU">
                <a:solidFill>
                  <a:schemeClr val="bg1"/>
                </a:solidFill>
                <a:cs typeface="Arial" charset="0"/>
              </a:endParaRPr>
            </a:p>
          </p:txBody>
        </p:sp>
        <p:sp>
          <p:nvSpPr>
            <p:cNvPr id="38" name="Freeform 7">
              <a:extLst>
                <a:ext uri="{FF2B5EF4-FFF2-40B4-BE49-F238E27FC236}">
                  <a16:creationId xmlns:a16="http://schemas.microsoft.com/office/drawing/2014/main" id="{D6C64FDE-C920-4F06-872F-BAEAF57EBDFF}"/>
                </a:ext>
              </a:extLst>
            </p:cNvPr>
            <p:cNvSpPr>
              <a:spLocks/>
            </p:cNvSpPr>
            <p:nvPr>
              <p:custDataLst>
                <p:tags r:id="rId5"/>
              </p:custDataLst>
            </p:nvPr>
          </p:nvSpPr>
          <p:spPr bwMode="auto">
            <a:xfrm rot="16200000">
              <a:off x="5804612" y="4308006"/>
              <a:ext cx="595426" cy="900847"/>
            </a:xfrm>
            <a:custGeom>
              <a:avLst/>
              <a:gdLst/>
              <a:ahLst/>
              <a:cxnLst>
                <a:cxn ang="0">
                  <a:pos x="0" y="272"/>
                </a:cxn>
                <a:cxn ang="0">
                  <a:pos x="96" y="272"/>
                </a:cxn>
                <a:cxn ang="0">
                  <a:pos x="96" y="368"/>
                </a:cxn>
                <a:cxn ang="0">
                  <a:pos x="216" y="184"/>
                </a:cxn>
                <a:cxn ang="0">
                  <a:pos x="96" y="0"/>
                </a:cxn>
                <a:cxn ang="0">
                  <a:pos x="96" y="96"/>
                </a:cxn>
                <a:cxn ang="0">
                  <a:pos x="0" y="96"/>
                </a:cxn>
              </a:cxnLst>
              <a:rect l="0" t="0" r="r" b="b"/>
              <a:pathLst>
                <a:path w="217" h="369">
                  <a:moveTo>
                    <a:pt x="0" y="272"/>
                  </a:moveTo>
                  <a:lnTo>
                    <a:pt x="96" y="272"/>
                  </a:lnTo>
                  <a:lnTo>
                    <a:pt x="96" y="368"/>
                  </a:lnTo>
                  <a:lnTo>
                    <a:pt x="216" y="184"/>
                  </a:lnTo>
                  <a:lnTo>
                    <a:pt x="96" y="0"/>
                  </a:lnTo>
                  <a:lnTo>
                    <a:pt x="96" y="96"/>
                  </a:lnTo>
                  <a:lnTo>
                    <a:pt x="0" y="96"/>
                  </a:lnTo>
                </a:path>
              </a:pathLst>
            </a:custGeom>
            <a:solidFill>
              <a:schemeClr val="accent2"/>
            </a:solidFill>
            <a:ln w="6350" cap="rnd" cmpd="sng">
              <a:noFill/>
              <a:prstDash val="solid"/>
              <a:round/>
              <a:headEnd type="none" w="med" len="med"/>
              <a:tailEnd type="none" w="med" len="med"/>
            </a:ln>
            <a:effectLst/>
          </p:spPr>
          <p:txBody>
            <a:bodyPr lIns="45720" rIns="45720"/>
            <a:lstStyle/>
            <a:p>
              <a:pPr fontAlgn="base">
                <a:spcBef>
                  <a:spcPct val="0"/>
                </a:spcBef>
                <a:spcAft>
                  <a:spcPct val="0"/>
                </a:spcAft>
              </a:pPr>
              <a:endParaRPr lang="de-DE">
                <a:solidFill>
                  <a:prstClr val="black"/>
                </a:solidFill>
                <a:latin typeface="+mn-lt"/>
                <a:cs typeface="Arial" charset="0"/>
              </a:endParaRPr>
            </a:p>
          </p:txBody>
        </p:sp>
      </p:grpSp>
      <p:sp>
        <p:nvSpPr>
          <p:cNvPr id="35" name="Rectangle 34">
            <a:extLst>
              <a:ext uri="{FF2B5EF4-FFF2-40B4-BE49-F238E27FC236}">
                <a16:creationId xmlns:a16="http://schemas.microsoft.com/office/drawing/2014/main" id="{E5EDDB8A-C60E-46CC-A1B1-B61F031DFEC3}"/>
              </a:ext>
            </a:extLst>
          </p:cNvPr>
          <p:cNvSpPr/>
          <p:nvPr>
            <p:custDataLst>
              <p:tags r:id="rId4"/>
            </p:custDataLst>
          </p:nvPr>
        </p:nvSpPr>
        <p:spPr bwMode="auto">
          <a:xfrm>
            <a:off x="5084990" y="5050475"/>
            <a:ext cx="2034672" cy="94853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r>
              <a:rPr lang="en-GB" b="1" dirty="0">
                <a:solidFill>
                  <a:prstClr val="white"/>
                </a:solidFill>
                <a:latin typeface="+mn-lt"/>
                <a:cs typeface="Arial" charset="0"/>
              </a:rPr>
              <a:t>Text</a:t>
            </a:r>
          </a:p>
        </p:txBody>
      </p:sp>
    </p:spTree>
    <p:extLst>
      <p:ext uri="{BB962C8B-B14F-4D97-AF65-F5344CB8AC3E}">
        <p14:creationId xmlns:p14="http://schemas.microsoft.com/office/powerpoint/2010/main" val="158971285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ular Segments 1</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EAA70EB2-381B-48CC-80D2-ADB6783F610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82" name="Group 82">
            <a:extLst>
              <a:ext uri="{FF2B5EF4-FFF2-40B4-BE49-F238E27FC236}">
                <a16:creationId xmlns:a16="http://schemas.microsoft.com/office/drawing/2014/main" id="{34407C12-C526-4733-9550-123448AEE101}"/>
              </a:ext>
            </a:extLst>
          </p:cNvPr>
          <p:cNvGrpSpPr>
            <a:grpSpLocks/>
          </p:cNvGrpSpPr>
          <p:nvPr/>
        </p:nvGrpSpPr>
        <p:grpSpPr bwMode="auto">
          <a:xfrm>
            <a:off x="2008110" y="1756707"/>
            <a:ext cx="1860550" cy="1860550"/>
            <a:chOff x="376" y="1228"/>
            <a:chExt cx="1172" cy="1172"/>
          </a:xfrm>
        </p:grpSpPr>
        <p:sp>
          <p:nvSpPr>
            <p:cNvPr id="83" name="Freeform 83">
              <a:extLst>
                <a:ext uri="{FF2B5EF4-FFF2-40B4-BE49-F238E27FC236}">
                  <a16:creationId xmlns:a16="http://schemas.microsoft.com/office/drawing/2014/main" id="{6A4ED26C-8E43-40AF-AC50-DC38E16A9784}"/>
                </a:ext>
              </a:extLst>
            </p:cNvPr>
            <p:cNvSpPr>
              <a:spLocks/>
            </p:cNvSpPr>
            <p:nvPr/>
          </p:nvSpPr>
          <p:spPr bwMode="auto">
            <a:xfrm>
              <a:off x="962" y="1228"/>
              <a:ext cx="586" cy="1172"/>
            </a:xfrm>
            <a:custGeom>
              <a:avLst/>
              <a:gdLst/>
              <a:ahLst/>
              <a:cxnLst>
                <a:cxn ang="0">
                  <a:pos x="0" y="0"/>
                </a:cxn>
                <a:cxn ang="0">
                  <a:pos x="83" y="3"/>
                </a:cxn>
                <a:cxn ang="0">
                  <a:pos x="166" y="12"/>
                </a:cxn>
                <a:cxn ang="0">
                  <a:pos x="248" y="27"/>
                </a:cxn>
                <a:cxn ang="0">
                  <a:pos x="329" y="49"/>
                </a:cxn>
                <a:cxn ang="0">
                  <a:pos x="395" y="71"/>
                </a:cxn>
                <a:cxn ang="0">
                  <a:pos x="459" y="97"/>
                </a:cxn>
                <a:cxn ang="0">
                  <a:pos x="534" y="133"/>
                </a:cxn>
                <a:cxn ang="0">
                  <a:pos x="607" y="175"/>
                </a:cxn>
                <a:cxn ang="0">
                  <a:pos x="676" y="222"/>
                </a:cxn>
                <a:cxn ang="0">
                  <a:pos x="741" y="275"/>
                </a:cxn>
                <a:cxn ang="0">
                  <a:pos x="782" y="312"/>
                </a:cxn>
                <a:cxn ang="0">
                  <a:pos x="841" y="372"/>
                </a:cxn>
                <a:cxn ang="0">
                  <a:pos x="894" y="436"/>
                </a:cxn>
                <a:cxn ang="0">
                  <a:pos x="943" y="504"/>
                </a:cxn>
                <a:cxn ang="0">
                  <a:pos x="987" y="575"/>
                </a:cxn>
                <a:cxn ang="0">
                  <a:pos x="1025" y="649"/>
                </a:cxn>
                <a:cxn ang="0">
                  <a:pos x="1058" y="726"/>
                </a:cxn>
                <a:cxn ang="0">
                  <a:pos x="1086" y="804"/>
                </a:cxn>
                <a:cxn ang="0">
                  <a:pos x="1107" y="885"/>
                </a:cxn>
                <a:cxn ang="0">
                  <a:pos x="1123" y="967"/>
                </a:cxn>
                <a:cxn ang="0">
                  <a:pos x="1132" y="1050"/>
                </a:cxn>
                <a:cxn ang="0">
                  <a:pos x="1134" y="1134"/>
                </a:cxn>
                <a:cxn ang="0">
                  <a:pos x="1131" y="1218"/>
                </a:cxn>
                <a:cxn ang="0">
                  <a:pos x="1122" y="1301"/>
                </a:cxn>
                <a:cxn ang="0">
                  <a:pos x="1107" y="1383"/>
                </a:cxn>
                <a:cxn ang="0">
                  <a:pos x="1085" y="1464"/>
                </a:cxn>
                <a:cxn ang="0">
                  <a:pos x="1063" y="1530"/>
                </a:cxn>
                <a:cxn ang="0">
                  <a:pos x="1037" y="1594"/>
                </a:cxn>
                <a:cxn ang="0">
                  <a:pos x="1001" y="1669"/>
                </a:cxn>
                <a:cxn ang="0">
                  <a:pos x="959" y="1741"/>
                </a:cxn>
                <a:cxn ang="0">
                  <a:pos x="912" y="1810"/>
                </a:cxn>
                <a:cxn ang="0">
                  <a:pos x="859" y="1875"/>
                </a:cxn>
                <a:cxn ang="0">
                  <a:pos x="822" y="1917"/>
                </a:cxn>
                <a:cxn ang="0">
                  <a:pos x="762" y="1975"/>
                </a:cxn>
                <a:cxn ang="0">
                  <a:pos x="698" y="2029"/>
                </a:cxn>
                <a:cxn ang="0">
                  <a:pos x="630" y="2077"/>
                </a:cxn>
                <a:cxn ang="0">
                  <a:pos x="558" y="2121"/>
                </a:cxn>
                <a:cxn ang="0">
                  <a:pos x="484" y="2160"/>
                </a:cxn>
                <a:cxn ang="0">
                  <a:pos x="408" y="2193"/>
                </a:cxn>
                <a:cxn ang="0">
                  <a:pos x="329" y="2220"/>
                </a:cxn>
                <a:cxn ang="0">
                  <a:pos x="248" y="2241"/>
                </a:cxn>
                <a:cxn ang="0">
                  <a:pos x="166" y="2257"/>
                </a:cxn>
                <a:cxn ang="0">
                  <a:pos x="83" y="2266"/>
                </a:cxn>
                <a:cxn ang="0">
                  <a:pos x="0" y="2268"/>
                </a:cxn>
              </a:cxnLst>
              <a:rect l="0" t="0" r="r" b="b"/>
              <a:pathLst>
                <a:path w="1134" h="2268">
                  <a:moveTo>
                    <a:pt x="0" y="1134"/>
                  </a:moveTo>
                  <a:lnTo>
                    <a:pt x="0" y="567"/>
                  </a:lnTo>
                  <a:lnTo>
                    <a:pt x="0" y="0"/>
                  </a:lnTo>
                  <a:lnTo>
                    <a:pt x="27" y="0"/>
                  </a:lnTo>
                  <a:lnTo>
                    <a:pt x="55" y="1"/>
                  </a:lnTo>
                  <a:lnTo>
                    <a:pt x="83" y="3"/>
                  </a:lnTo>
                  <a:lnTo>
                    <a:pt x="111" y="5"/>
                  </a:lnTo>
                  <a:lnTo>
                    <a:pt x="138" y="8"/>
                  </a:lnTo>
                  <a:lnTo>
                    <a:pt x="166" y="12"/>
                  </a:lnTo>
                  <a:lnTo>
                    <a:pt x="193" y="16"/>
                  </a:lnTo>
                  <a:lnTo>
                    <a:pt x="221" y="22"/>
                  </a:lnTo>
                  <a:lnTo>
                    <a:pt x="248" y="27"/>
                  </a:lnTo>
                  <a:lnTo>
                    <a:pt x="275" y="34"/>
                  </a:lnTo>
                  <a:lnTo>
                    <a:pt x="302" y="41"/>
                  </a:lnTo>
                  <a:lnTo>
                    <a:pt x="329" y="49"/>
                  </a:lnTo>
                  <a:lnTo>
                    <a:pt x="355" y="57"/>
                  </a:lnTo>
                  <a:lnTo>
                    <a:pt x="381" y="66"/>
                  </a:lnTo>
                  <a:lnTo>
                    <a:pt x="395" y="71"/>
                  </a:lnTo>
                  <a:lnTo>
                    <a:pt x="408" y="76"/>
                  </a:lnTo>
                  <a:lnTo>
                    <a:pt x="433" y="86"/>
                  </a:lnTo>
                  <a:lnTo>
                    <a:pt x="459" y="97"/>
                  </a:lnTo>
                  <a:lnTo>
                    <a:pt x="484" y="109"/>
                  </a:lnTo>
                  <a:lnTo>
                    <a:pt x="509" y="121"/>
                  </a:lnTo>
                  <a:lnTo>
                    <a:pt x="534" y="133"/>
                  </a:lnTo>
                  <a:lnTo>
                    <a:pt x="558" y="147"/>
                  </a:lnTo>
                  <a:lnTo>
                    <a:pt x="584" y="161"/>
                  </a:lnTo>
                  <a:lnTo>
                    <a:pt x="607" y="175"/>
                  </a:lnTo>
                  <a:lnTo>
                    <a:pt x="631" y="190"/>
                  </a:lnTo>
                  <a:lnTo>
                    <a:pt x="654" y="206"/>
                  </a:lnTo>
                  <a:lnTo>
                    <a:pt x="676" y="222"/>
                  </a:lnTo>
                  <a:lnTo>
                    <a:pt x="698" y="239"/>
                  </a:lnTo>
                  <a:lnTo>
                    <a:pt x="720" y="257"/>
                  </a:lnTo>
                  <a:lnTo>
                    <a:pt x="741" y="275"/>
                  </a:lnTo>
                  <a:lnTo>
                    <a:pt x="762" y="293"/>
                  </a:lnTo>
                  <a:lnTo>
                    <a:pt x="772" y="303"/>
                  </a:lnTo>
                  <a:lnTo>
                    <a:pt x="782" y="312"/>
                  </a:lnTo>
                  <a:lnTo>
                    <a:pt x="802" y="332"/>
                  </a:lnTo>
                  <a:lnTo>
                    <a:pt x="822" y="352"/>
                  </a:lnTo>
                  <a:lnTo>
                    <a:pt x="841" y="372"/>
                  </a:lnTo>
                  <a:lnTo>
                    <a:pt x="859" y="393"/>
                  </a:lnTo>
                  <a:lnTo>
                    <a:pt x="877" y="414"/>
                  </a:lnTo>
                  <a:lnTo>
                    <a:pt x="894" y="436"/>
                  </a:lnTo>
                  <a:lnTo>
                    <a:pt x="911" y="458"/>
                  </a:lnTo>
                  <a:lnTo>
                    <a:pt x="928" y="481"/>
                  </a:lnTo>
                  <a:lnTo>
                    <a:pt x="943" y="504"/>
                  </a:lnTo>
                  <a:lnTo>
                    <a:pt x="958" y="527"/>
                  </a:lnTo>
                  <a:lnTo>
                    <a:pt x="973" y="551"/>
                  </a:lnTo>
                  <a:lnTo>
                    <a:pt x="987" y="575"/>
                  </a:lnTo>
                  <a:lnTo>
                    <a:pt x="1000" y="599"/>
                  </a:lnTo>
                  <a:lnTo>
                    <a:pt x="1013" y="624"/>
                  </a:lnTo>
                  <a:lnTo>
                    <a:pt x="1025" y="649"/>
                  </a:lnTo>
                  <a:lnTo>
                    <a:pt x="1037" y="674"/>
                  </a:lnTo>
                  <a:lnTo>
                    <a:pt x="1048" y="700"/>
                  </a:lnTo>
                  <a:lnTo>
                    <a:pt x="1058" y="726"/>
                  </a:lnTo>
                  <a:lnTo>
                    <a:pt x="1068" y="752"/>
                  </a:lnTo>
                  <a:lnTo>
                    <a:pt x="1077" y="778"/>
                  </a:lnTo>
                  <a:lnTo>
                    <a:pt x="1086" y="804"/>
                  </a:lnTo>
                  <a:lnTo>
                    <a:pt x="1094" y="831"/>
                  </a:lnTo>
                  <a:lnTo>
                    <a:pt x="1101" y="858"/>
                  </a:lnTo>
                  <a:lnTo>
                    <a:pt x="1107" y="885"/>
                  </a:lnTo>
                  <a:lnTo>
                    <a:pt x="1113" y="912"/>
                  </a:lnTo>
                  <a:lnTo>
                    <a:pt x="1118" y="940"/>
                  </a:lnTo>
                  <a:lnTo>
                    <a:pt x="1123" y="967"/>
                  </a:lnTo>
                  <a:lnTo>
                    <a:pt x="1126" y="995"/>
                  </a:lnTo>
                  <a:lnTo>
                    <a:pt x="1129" y="1022"/>
                  </a:lnTo>
                  <a:lnTo>
                    <a:pt x="1132" y="1050"/>
                  </a:lnTo>
                  <a:lnTo>
                    <a:pt x="1133" y="1078"/>
                  </a:lnTo>
                  <a:lnTo>
                    <a:pt x="1134" y="1106"/>
                  </a:lnTo>
                  <a:lnTo>
                    <a:pt x="1134" y="1134"/>
                  </a:lnTo>
                  <a:lnTo>
                    <a:pt x="1134" y="1162"/>
                  </a:lnTo>
                  <a:lnTo>
                    <a:pt x="1133" y="1190"/>
                  </a:lnTo>
                  <a:lnTo>
                    <a:pt x="1131" y="1218"/>
                  </a:lnTo>
                  <a:lnTo>
                    <a:pt x="1129" y="1246"/>
                  </a:lnTo>
                  <a:lnTo>
                    <a:pt x="1126" y="1273"/>
                  </a:lnTo>
                  <a:lnTo>
                    <a:pt x="1122" y="1301"/>
                  </a:lnTo>
                  <a:lnTo>
                    <a:pt x="1118" y="1328"/>
                  </a:lnTo>
                  <a:lnTo>
                    <a:pt x="1113" y="1356"/>
                  </a:lnTo>
                  <a:lnTo>
                    <a:pt x="1107" y="1383"/>
                  </a:lnTo>
                  <a:lnTo>
                    <a:pt x="1100" y="1410"/>
                  </a:lnTo>
                  <a:lnTo>
                    <a:pt x="1093" y="1437"/>
                  </a:lnTo>
                  <a:lnTo>
                    <a:pt x="1085" y="1464"/>
                  </a:lnTo>
                  <a:lnTo>
                    <a:pt x="1077" y="1490"/>
                  </a:lnTo>
                  <a:lnTo>
                    <a:pt x="1068" y="1517"/>
                  </a:lnTo>
                  <a:lnTo>
                    <a:pt x="1063" y="1530"/>
                  </a:lnTo>
                  <a:lnTo>
                    <a:pt x="1058" y="1543"/>
                  </a:lnTo>
                  <a:lnTo>
                    <a:pt x="1048" y="1569"/>
                  </a:lnTo>
                  <a:lnTo>
                    <a:pt x="1037" y="1594"/>
                  </a:lnTo>
                  <a:lnTo>
                    <a:pt x="1026" y="1619"/>
                  </a:lnTo>
                  <a:lnTo>
                    <a:pt x="1013" y="1644"/>
                  </a:lnTo>
                  <a:lnTo>
                    <a:pt x="1001" y="1669"/>
                  </a:lnTo>
                  <a:lnTo>
                    <a:pt x="987" y="1694"/>
                  </a:lnTo>
                  <a:lnTo>
                    <a:pt x="973" y="1718"/>
                  </a:lnTo>
                  <a:lnTo>
                    <a:pt x="959" y="1741"/>
                  </a:lnTo>
                  <a:lnTo>
                    <a:pt x="944" y="1765"/>
                  </a:lnTo>
                  <a:lnTo>
                    <a:pt x="928" y="1788"/>
                  </a:lnTo>
                  <a:lnTo>
                    <a:pt x="912" y="1810"/>
                  </a:lnTo>
                  <a:lnTo>
                    <a:pt x="895" y="1832"/>
                  </a:lnTo>
                  <a:lnTo>
                    <a:pt x="877" y="1854"/>
                  </a:lnTo>
                  <a:lnTo>
                    <a:pt x="859" y="1875"/>
                  </a:lnTo>
                  <a:lnTo>
                    <a:pt x="841" y="1896"/>
                  </a:lnTo>
                  <a:lnTo>
                    <a:pt x="831" y="1906"/>
                  </a:lnTo>
                  <a:lnTo>
                    <a:pt x="822" y="1917"/>
                  </a:lnTo>
                  <a:lnTo>
                    <a:pt x="802" y="1936"/>
                  </a:lnTo>
                  <a:lnTo>
                    <a:pt x="782" y="1956"/>
                  </a:lnTo>
                  <a:lnTo>
                    <a:pt x="762" y="1975"/>
                  </a:lnTo>
                  <a:lnTo>
                    <a:pt x="741" y="1993"/>
                  </a:lnTo>
                  <a:lnTo>
                    <a:pt x="720" y="2011"/>
                  </a:lnTo>
                  <a:lnTo>
                    <a:pt x="698" y="2029"/>
                  </a:lnTo>
                  <a:lnTo>
                    <a:pt x="676" y="2045"/>
                  </a:lnTo>
                  <a:lnTo>
                    <a:pt x="653" y="2062"/>
                  </a:lnTo>
                  <a:lnTo>
                    <a:pt x="630" y="2077"/>
                  </a:lnTo>
                  <a:lnTo>
                    <a:pt x="607" y="2093"/>
                  </a:lnTo>
                  <a:lnTo>
                    <a:pt x="583" y="2107"/>
                  </a:lnTo>
                  <a:lnTo>
                    <a:pt x="558" y="2121"/>
                  </a:lnTo>
                  <a:lnTo>
                    <a:pt x="534" y="2135"/>
                  </a:lnTo>
                  <a:lnTo>
                    <a:pt x="509" y="2147"/>
                  </a:lnTo>
                  <a:lnTo>
                    <a:pt x="484" y="2160"/>
                  </a:lnTo>
                  <a:lnTo>
                    <a:pt x="459" y="2171"/>
                  </a:lnTo>
                  <a:lnTo>
                    <a:pt x="433" y="2182"/>
                  </a:lnTo>
                  <a:lnTo>
                    <a:pt x="408" y="2193"/>
                  </a:lnTo>
                  <a:lnTo>
                    <a:pt x="382" y="2202"/>
                  </a:lnTo>
                  <a:lnTo>
                    <a:pt x="355" y="2211"/>
                  </a:lnTo>
                  <a:lnTo>
                    <a:pt x="329" y="2220"/>
                  </a:lnTo>
                  <a:lnTo>
                    <a:pt x="302" y="2228"/>
                  </a:lnTo>
                  <a:lnTo>
                    <a:pt x="275" y="2235"/>
                  </a:lnTo>
                  <a:lnTo>
                    <a:pt x="248" y="2241"/>
                  </a:lnTo>
                  <a:lnTo>
                    <a:pt x="221" y="2247"/>
                  </a:lnTo>
                  <a:lnTo>
                    <a:pt x="194" y="2252"/>
                  </a:lnTo>
                  <a:lnTo>
                    <a:pt x="166" y="2257"/>
                  </a:lnTo>
                  <a:lnTo>
                    <a:pt x="138" y="2260"/>
                  </a:lnTo>
                  <a:lnTo>
                    <a:pt x="111" y="2263"/>
                  </a:lnTo>
                  <a:lnTo>
                    <a:pt x="83" y="2266"/>
                  </a:lnTo>
                  <a:lnTo>
                    <a:pt x="55" y="2267"/>
                  </a:lnTo>
                  <a:lnTo>
                    <a:pt x="27" y="2268"/>
                  </a:lnTo>
                  <a:lnTo>
                    <a:pt x="0" y="2268"/>
                  </a:lnTo>
                  <a:lnTo>
                    <a:pt x="0" y="1701"/>
                  </a:lnTo>
                  <a:lnTo>
                    <a:pt x="0" y="1134"/>
                  </a:lnTo>
                  <a:close/>
                </a:path>
              </a:pathLst>
            </a:custGeom>
            <a:solidFill>
              <a:schemeClr val="accent1"/>
            </a:solidFill>
            <a:ln w="6350" cmpd="sng">
              <a:noFill/>
              <a:round/>
              <a:headEnd/>
              <a:tailEnd/>
            </a:ln>
          </p:spPr>
          <p:txBody>
            <a:bodyPr lIns="45720" rIns="45720" anchor="ctr" anchorCtr="1"/>
            <a:lstStyle/>
            <a:p>
              <a:endParaRPr lang="en-US" sz="1100"/>
            </a:p>
          </p:txBody>
        </p:sp>
        <p:sp>
          <p:nvSpPr>
            <p:cNvPr id="84" name="Freeform 84">
              <a:extLst>
                <a:ext uri="{FF2B5EF4-FFF2-40B4-BE49-F238E27FC236}">
                  <a16:creationId xmlns:a16="http://schemas.microsoft.com/office/drawing/2014/main" id="{D705C48C-E1AF-4177-A774-4969EDFCA1E6}"/>
                </a:ext>
              </a:extLst>
            </p:cNvPr>
            <p:cNvSpPr>
              <a:spLocks/>
            </p:cNvSpPr>
            <p:nvPr/>
          </p:nvSpPr>
          <p:spPr bwMode="auto">
            <a:xfrm>
              <a:off x="376" y="1228"/>
              <a:ext cx="586" cy="1172"/>
            </a:xfrm>
            <a:custGeom>
              <a:avLst/>
              <a:gdLst/>
              <a:ahLst/>
              <a:cxnLst>
                <a:cxn ang="0">
                  <a:pos x="1135" y="2268"/>
                </a:cxn>
                <a:cxn ang="0">
                  <a:pos x="1051" y="2265"/>
                </a:cxn>
                <a:cxn ang="0">
                  <a:pos x="968" y="2256"/>
                </a:cxn>
                <a:cxn ang="0">
                  <a:pos x="886" y="2241"/>
                </a:cxn>
                <a:cxn ang="0">
                  <a:pos x="805" y="2220"/>
                </a:cxn>
                <a:cxn ang="0">
                  <a:pos x="739" y="2197"/>
                </a:cxn>
                <a:cxn ang="0">
                  <a:pos x="675" y="2171"/>
                </a:cxn>
                <a:cxn ang="0">
                  <a:pos x="600" y="2135"/>
                </a:cxn>
                <a:cxn ang="0">
                  <a:pos x="527" y="2093"/>
                </a:cxn>
                <a:cxn ang="0">
                  <a:pos x="458" y="2046"/>
                </a:cxn>
                <a:cxn ang="0">
                  <a:pos x="393" y="1994"/>
                </a:cxn>
                <a:cxn ang="0">
                  <a:pos x="352" y="1956"/>
                </a:cxn>
                <a:cxn ang="0">
                  <a:pos x="293" y="1896"/>
                </a:cxn>
                <a:cxn ang="0">
                  <a:pos x="240" y="1832"/>
                </a:cxn>
                <a:cxn ang="0">
                  <a:pos x="191" y="1765"/>
                </a:cxn>
                <a:cxn ang="0">
                  <a:pos x="147" y="1693"/>
                </a:cxn>
                <a:cxn ang="0">
                  <a:pos x="109" y="1619"/>
                </a:cxn>
                <a:cxn ang="0">
                  <a:pos x="76" y="1543"/>
                </a:cxn>
                <a:cxn ang="0">
                  <a:pos x="48" y="1464"/>
                </a:cxn>
                <a:cxn ang="0">
                  <a:pos x="27" y="1383"/>
                </a:cxn>
                <a:cxn ang="0">
                  <a:pos x="12" y="1301"/>
                </a:cxn>
                <a:cxn ang="0">
                  <a:pos x="2" y="1218"/>
                </a:cxn>
                <a:cxn ang="0">
                  <a:pos x="0" y="1134"/>
                </a:cxn>
                <a:cxn ang="0">
                  <a:pos x="3" y="1050"/>
                </a:cxn>
                <a:cxn ang="0">
                  <a:pos x="12" y="967"/>
                </a:cxn>
                <a:cxn ang="0">
                  <a:pos x="27" y="885"/>
                </a:cxn>
                <a:cxn ang="0">
                  <a:pos x="49" y="805"/>
                </a:cxn>
                <a:cxn ang="0">
                  <a:pos x="71" y="739"/>
                </a:cxn>
                <a:cxn ang="0">
                  <a:pos x="97" y="674"/>
                </a:cxn>
                <a:cxn ang="0">
                  <a:pos x="133" y="599"/>
                </a:cxn>
                <a:cxn ang="0">
                  <a:pos x="175" y="527"/>
                </a:cxn>
                <a:cxn ang="0">
                  <a:pos x="222" y="458"/>
                </a:cxn>
                <a:cxn ang="0">
                  <a:pos x="275" y="393"/>
                </a:cxn>
                <a:cxn ang="0">
                  <a:pos x="312" y="352"/>
                </a:cxn>
                <a:cxn ang="0">
                  <a:pos x="372" y="293"/>
                </a:cxn>
                <a:cxn ang="0">
                  <a:pos x="436" y="240"/>
                </a:cxn>
                <a:cxn ang="0">
                  <a:pos x="504" y="191"/>
                </a:cxn>
                <a:cxn ang="0">
                  <a:pos x="576" y="147"/>
                </a:cxn>
                <a:cxn ang="0">
                  <a:pos x="650" y="109"/>
                </a:cxn>
                <a:cxn ang="0">
                  <a:pos x="726" y="76"/>
                </a:cxn>
                <a:cxn ang="0">
                  <a:pos x="805" y="48"/>
                </a:cxn>
                <a:cxn ang="0">
                  <a:pos x="886" y="27"/>
                </a:cxn>
                <a:cxn ang="0">
                  <a:pos x="968" y="12"/>
                </a:cxn>
                <a:cxn ang="0">
                  <a:pos x="1051" y="2"/>
                </a:cxn>
                <a:cxn ang="0">
                  <a:pos x="1135" y="0"/>
                </a:cxn>
              </a:cxnLst>
              <a:rect l="0" t="0" r="r" b="b"/>
              <a:pathLst>
                <a:path w="1135" h="2268">
                  <a:moveTo>
                    <a:pt x="1135" y="1134"/>
                  </a:moveTo>
                  <a:lnTo>
                    <a:pt x="1135" y="1701"/>
                  </a:lnTo>
                  <a:lnTo>
                    <a:pt x="1135" y="2268"/>
                  </a:lnTo>
                  <a:lnTo>
                    <a:pt x="1107" y="2268"/>
                  </a:lnTo>
                  <a:lnTo>
                    <a:pt x="1079" y="2267"/>
                  </a:lnTo>
                  <a:lnTo>
                    <a:pt x="1051" y="2265"/>
                  </a:lnTo>
                  <a:lnTo>
                    <a:pt x="1023" y="2263"/>
                  </a:lnTo>
                  <a:lnTo>
                    <a:pt x="996" y="2260"/>
                  </a:lnTo>
                  <a:lnTo>
                    <a:pt x="968" y="2256"/>
                  </a:lnTo>
                  <a:lnTo>
                    <a:pt x="941" y="2252"/>
                  </a:lnTo>
                  <a:lnTo>
                    <a:pt x="913" y="2247"/>
                  </a:lnTo>
                  <a:lnTo>
                    <a:pt x="886" y="2241"/>
                  </a:lnTo>
                  <a:lnTo>
                    <a:pt x="859" y="2234"/>
                  </a:lnTo>
                  <a:lnTo>
                    <a:pt x="832" y="2227"/>
                  </a:lnTo>
                  <a:lnTo>
                    <a:pt x="805" y="2220"/>
                  </a:lnTo>
                  <a:lnTo>
                    <a:pt x="779" y="2211"/>
                  </a:lnTo>
                  <a:lnTo>
                    <a:pt x="753" y="2202"/>
                  </a:lnTo>
                  <a:lnTo>
                    <a:pt x="739" y="2197"/>
                  </a:lnTo>
                  <a:lnTo>
                    <a:pt x="726" y="2192"/>
                  </a:lnTo>
                  <a:lnTo>
                    <a:pt x="701" y="2182"/>
                  </a:lnTo>
                  <a:lnTo>
                    <a:pt x="675" y="2171"/>
                  </a:lnTo>
                  <a:lnTo>
                    <a:pt x="650" y="2160"/>
                  </a:lnTo>
                  <a:lnTo>
                    <a:pt x="625" y="2148"/>
                  </a:lnTo>
                  <a:lnTo>
                    <a:pt x="600" y="2135"/>
                  </a:lnTo>
                  <a:lnTo>
                    <a:pt x="576" y="2121"/>
                  </a:lnTo>
                  <a:lnTo>
                    <a:pt x="551" y="2107"/>
                  </a:lnTo>
                  <a:lnTo>
                    <a:pt x="527" y="2093"/>
                  </a:lnTo>
                  <a:lnTo>
                    <a:pt x="503" y="2078"/>
                  </a:lnTo>
                  <a:lnTo>
                    <a:pt x="480" y="2062"/>
                  </a:lnTo>
                  <a:lnTo>
                    <a:pt x="458" y="2046"/>
                  </a:lnTo>
                  <a:lnTo>
                    <a:pt x="436" y="2029"/>
                  </a:lnTo>
                  <a:lnTo>
                    <a:pt x="414" y="2011"/>
                  </a:lnTo>
                  <a:lnTo>
                    <a:pt x="393" y="1994"/>
                  </a:lnTo>
                  <a:lnTo>
                    <a:pt x="372" y="1975"/>
                  </a:lnTo>
                  <a:lnTo>
                    <a:pt x="362" y="1966"/>
                  </a:lnTo>
                  <a:lnTo>
                    <a:pt x="352" y="1956"/>
                  </a:lnTo>
                  <a:lnTo>
                    <a:pt x="332" y="1936"/>
                  </a:lnTo>
                  <a:lnTo>
                    <a:pt x="312" y="1916"/>
                  </a:lnTo>
                  <a:lnTo>
                    <a:pt x="293" y="1896"/>
                  </a:lnTo>
                  <a:lnTo>
                    <a:pt x="275" y="1875"/>
                  </a:lnTo>
                  <a:lnTo>
                    <a:pt x="257" y="1854"/>
                  </a:lnTo>
                  <a:lnTo>
                    <a:pt x="240" y="1832"/>
                  </a:lnTo>
                  <a:lnTo>
                    <a:pt x="223" y="1810"/>
                  </a:lnTo>
                  <a:lnTo>
                    <a:pt x="207" y="1787"/>
                  </a:lnTo>
                  <a:lnTo>
                    <a:pt x="191" y="1765"/>
                  </a:lnTo>
                  <a:lnTo>
                    <a:pt x="176" y="1741"/>
                  </a:lnTo>
                  <a:lnTo>
                    <a:pt x="161" y="1718"/>
                  </a:lnTo>
                  <a:lnTo>
                    <a:pt x="147" y="1693"/>
                  </a:lnTo>
                  <a:lnTo>
                    <a:pt x="134" y="1669"/>
                  </a:lnTo>
                  <a:lnTo>
                    <a:pt x="121" y="1644"/>
                  </a:lnTo>
                  <a:lnTo>
                    <a:pt x="109" y="1619"/>
                  </a:lnTo>
                  <a:lnTo>
                    <a:pt x="97" y="1594"/>
                  </a:lnTo>
                  <a:lnTo>
                    <a:pt x="86" y="1569"/>
                  </a:lnTo>
                  <a:lnTo>
                    <a:pt x="76" y="1543"/>
                  </a:lnTo>
                  <a:lnTo>
                    <a:pt x="66" y="1517"/>
                  </a:lnTo>
                  <a:lnTo>
                    <a:pt x="57" y="1490"/>
                  </a:lnTo>
                  <a:lnTo>
                    <a:pt x="48" y="1464"/>
                  </a:lnTo>
                  <a:lnTo>
                    <a:pt x="41" y="1437"/>
                  </a:lnTo>
                  <a:lnTo>
                    <a:pt x="33" y="1410"/>
                  </a:lnTo>
                  <a:lnTo>
                    <a:pt x="27" y="1383"/>
                  </a:lnTo>
                  <a:lnTo>
                    <a:pt x="21" y="1356"/>
                  </a:lnTo>
                  <a:lnTo>
                    <a:pt x="16" y="1329"/>
                  </a:lnTo>
                  <a:lnTo>
                    <a:pt x="12" y="1301"/>
                  </a:lnTo>
                  <a:lnTo>
                    <a:pt x="8" y="1274"/>
                  </a:lnTo>
                  <a:lnTo>
                    <a:pt x="5" y="1246"/>
                  </a:lnTo>
                  <a:lnTo>
                    <a:pt x="2" y="1218"/>
                  </a:lnTo>
                  <a:lnTo>
                    <a:pt x="1" y="1190"/>
                  </a:lnTo>
                  <a:lnTo>
                    <a:pt x="0" y="1163"/>
                  </a:lnTo>
                  <a:lnTo>
                    <a:pt x="0" y="1134"/>
                  </a:lnTo>
                  <a:lnTo>
                    <a:pt x="0" y="1106"/>
                  </a:lnTo>
                  <a:lnTo>
                    <a:pt x="1" y="1078"/>
                  </a:lnTo>
                  <a:lnTo>
                    <a:pt x="3" y="1050"/>
                  </a:lnTo>
                  <a:lnTo>
                    <a:pt x="5" y="1022"/>
                  </a:lnTo>
                  <a:lnTo>
                    <a:pt x="8" y="995"/>
                  </a:lnTo>
                  <a:lnTo>
                    <a:pt x="12" y="967"/>
                  </a:lnTo>
                  <a:lnTo>
                    <a:pt x="16" y="940"/>
                  </a:lnTo>
                  <a:lnTo>
                    <a:pt x="21" y="912"/>
                  </a:lnTo>
                  <a:lnTo>
                    <a:pt x="27" y="885"/>
                  </a:lnTo>
                  <a:lnTo>
                    <a:pt x="34" y="858"/>
                  </a:lnTo>
                  <a:lnTo>
                    <a:pt x="41" y="831"/>
                  </a:lnTo>
                  <a:lnTo>
                    <a:pt x="49" y="805"/>
                  </a:lnTo>
                  <a:lnTo>
                    <a:pt x="57" y="778"/>
                  </a:lnTo>
                  <a:lnTo>
                    <a:pt x="66" y="752"/>
                  </a:lnTo>
                  <a:lnTo>
                    <a:pt x="71" y="739"/>
                  </a:lnTo>
                  <a:lnTo>
                    <a:pt x="76" y="726"/>
                  </a:lnTo>
                  <a:lnTo>
                    <a:pt x="86" y="700"/>
                  </a:lnTo>
                  <a:lnTo>
                    <a:pt x="97" y="674"/>
                  </a:lnTo>
                  <a:lnTo>
                    <a:pt x="108" y="649"/>
                  </a:lnTo>
                  <a:lnTo>
                    <a:pt x="121" y="624"/>
                  </a:lnTo>
                  <a:lnTo>
                    <a:pt x="133" y="599"/>
                  </a:lnTo>
                  <a:lnTo>
                    <a:pt x="147" y="575"/>
                  </a:lnTo>
                  <a:lnTo>
                    <a:pt x="161" y="551"/>
                  </a:lnTo>
                  <a:lnTo>
                    <a:pt x="175" y="527"/>
                  </a:lnTo>
                  <a:lnTo>
                    <a:pt x="190" y="504"/>
                  </a:lnTo>
                  <a:lnTo>
                    <a:pt x="206" y="481"/>
                  </a:lnTo>
                  <a:lnTo>
                    <a:pt x="222" y="458"/>
                  </a:lnTo>
                  <a:lnTo>
                    <a:pt x="239" y="436"/>
                  </a:lnTo>
                  <a:lnTo>
                    <a:pt x="257" y="414"/>
                  </a:lnTo>
                  <a:lnTo>
                    <a:pt x="275" y="393"/>
                  </a:lnTo>
                  <a:lnTo>
                    <a:pt x="293" y="372"/>
                  </a:lnTo>
                  <a:lnTo>
                    <a:pt x="303" y="362"/>
                  </a:lnTo>
                  <a:lnTo>
                    <a:pt x="312" y="352"/>
                  </a:lnTo>
                  <a:lnTo>
                    <a:pt x="332" y="332"/>
                  </a:lnTo>
                  <a:lnTo>
                    <a:pt x="352" y="312"/>
                  </a:lnTo>
                  <a:lnTo>
                    <a:pt x="372" y="293"/>
                  </a:lnTo>
                  <a:lnTo>
                    <a:pt x="393" y="275"/>
                  </a:lnTo>
                  <a:lnTo>
                    <a:pt x="414" y="257"/>
                  </a:lnTo>
                  <a:lnTo>
                    <a:pt x="436" y="240"/>
                  </a:lnTo>
                  <a:lnTo>
                    <a:pt x="458" y="223"/>
                  </a:lnTo>
                  <a:lnTo>
                    <a:pt x="481" y="207"/>
                  </a:lnTo>
                  <a:lnTo>
                    <a:pt x="504" y="191"/>
                  </a:lnTo>
                  <a:lnTo>
                    <a:pt x="527" y="176"/>
                  </a:lnTo>
                  <a:lnTo>
                    <a:pt x="551" y="161"/>
                  </a:lnTo>
                  <a:lnTo>
                    <a:pt x="576" y="147"/>
                  </a:lnTo>
                  <a:lnTo>
                    <a:pt x="600" y="134"/>
                  </a:lnTo>
                  <a:lnTo>
                    <a:pt x="625" y="121"/>
                  </a:lnTo>
                  <a:lnTo>
                    <a:pt x="650" y="109"/>
                  </a:lnTo>
                  <a:lnTo>
                    <a:pt x="675" y="97"/>
                  </a:lnTo>
                  <a:lnTo>
                    <a:pt x="701" y="86"/>
                  </a:lnTo>
                  <a:lnTo>
                    <a:pt x="726" y="76"/>
                  </a:lnTo>
                  <a:lnTo>
                    <a:pt x="753" y="66"/>
                  </a:lnTo>
                  <a:lnTo>
                    <a:pt x="779" y="57"/>
                  </a:lnTo>
                  <a:lnTo>
                    <a:pt x="805" y="48"/>
                  </a:lnTo>
                  <a:lnTo>
                    <a:pt x="832" y="41"/>
                  </a:lnTo>
                  <a:lnTo>
                    <a:pt x="859" y="33"/>
                  </a:lnTo>
                  <a:lnTo>
                    <a:pt x="886" y="27"/>
                  </a:lnTo>
                  <a:lnTo>
                    <a:pt x="913" y="21"/>
                  </a:lnTo>
                  <a:lnTo>
                    <a:pt x="941" y="16"/>
                  </a:lnTo>
                  <a:lnTo>
                    <a:pt x="968" y="12"/>
                  </a:lnTo>
                  <a:lnTo>
                    <a:pt x="996" y="8"/>
                  </a:lnTo>
                  <a:lnTo>
                    <a:pt x="1023" y="5"/>
                  </a:lnTo>
                  <a:lnTo>
                    <a:pt x="1051" y="2"/>
                  </a:lnTo>
                  <a:lnTo>
                    <a:pt x="1079" y="1"/>
                  </a:lnTo>
                  <a:lnTo>
                    <a:pt x="1107" y="0"/>
                  </a:lnTo>
                  <a:lnTo>
                    <a:pt x="1135" y="0"/>
                  </a:lnTo>
                  <a:lnTo>
                    <a:pt x="1135" y="567"/>
                  </a:lnTo>
                  <a:lnTo>
                    <a:pt x="1135" y="1134"/>
                  </a:lnTo>
                  <a:close/>
                </a:path>
              </a:pathLst>
            </a:custGeom>
            <a:pattFill prst="wdUpDiag">
              <a:fgClr>
                <a:schemeClr val="tx2">
                  <a:lumMod val="20000"/>
                  <a:lumOff val="80000"/>
                </a:schemeClr>
              </a:fgClr>
              <a:bgClr>
                <a:schemeClr val="bg1"/>
              </a:bgClr>
            </a:pattFill>
            <a:ln w="6350" cmpd="sng">
              <a:noFill/>
              <a:round/>
              <a:headEnd/>
              <a:tailEnd/>
            </a:ln>
          </p:spPr>
          <p:txBody>
            <a:bodyPr lIns="45720" rIns="45720" anchor="ctr" anchorCtr="1"/>
            <a:lstStyle/>
            <a:p>
              <a:endParaRPr lang="en-US" sz="1100" dirty="0"/>
            </a:p>
          </p:txBody>
        </p:sp>
        <p:sp>
          <p:nvSpPr>
            <p:cNvPr id="85" name="Text Box 85">
              <a:extLst>
                <a:ext uri="{FF2B5EF4-FFF2-40B4-BE49-F238E27FC236}">
                  <a16:creationId xmlns:a16="http://schemas.microsoft.com/office/drawing/2014/main" id="{4DEEC067-A75A-4727-BA8F-AFC9B7DC08E2}"/>
                </a:ext>
              </a:extLst>
            </p:cNvPr>
            <p:cNvSpPr txBox="1">
              <a:spLocks noChangeArrowheads="1"/>
            </p:cNvSpPr>
            <p:nvPr/>
          </p:nvSpPr>
          <p:spPr bwMode="auto">
            <a:xfrm>
              <a:off x="540" y="1734"/>
              <a:ext cx="259" cy="161"/>
            </a:xfrm>
            <a:prstGeom prst="rect">
              <a:avLst/>
            </a:prstGeom>
            <a:noFill/>
            <a:ln w="6350">
              <a:noFill/>
              <a:miter lim="800000"/>
              <a:headEnd/>
              <a:tailEnd/>
            </a:ln>
            <a:effectLst/>
          </p:spPr>
          <p:txBody>
            <a:bodyPr lIns="45720" rIns="45720" anchor="ctr" anchorCtr="1"/>
            <a:lstStyle/>
            <a:p>
              <a:pPr eaLnBrk="0" hangingPunct="0"/>
              <a:r>
                <a:rPr lang="en-US" sz="1100">
                  <a:solidFill>
                    <a:schemeClr val="tx1"/>
                  </a:solidFill>
                </a:rPr>
                <a:t>Text</a:t>
              </a:r>
            </a:p>
          </p:txBody>
        </p:sp>
        <p:sp>
          <p:nvSpPr>
            <p:cNvPr id="86" name="Text Box 86">
              <a:extLst>
                <a:ext uri="{FF2B5EF4-FFF2-40B4-BE49-F238E27FC236}">
                  <a16:creationId xmlns:a16="http://schemas.microsoft.com/office/drawing/2014/main" id="{B39BB192-04D4-41B6-BFBA-3BADC64DB5D0}"/>
                </a:ext>
              </a:extLst>
            </p:cNvPr>
            <p:cNvSpPr txBox="1">
              <a:spLocks noChangeArrowheads="1"/>
            </p:cNvSpPr>
            <p:nvPr/>
          </p:nvSpPr>
          <p:spPr bwMode="auto">
            <a:xfrm>
              <a:off x="1125" y="1734"/>
              <a:ext cx="259" cy="161"/>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87" name="Group 86">
            <a:extLst>
              <a:ext uri="{FF2B5EF4-FFF2-40B4-BE49-F238E27FC236}">
                <a16:creationId xmlns:a16="http://schemas.microsoft.com/office/drawing/2014/main" id="{A89DB9E6-CEF6-4DA2-BF0F-90FA1BC483E4}"/>
              </a:ext>
            </a:extLst>
          </p:cNvPr>
          <p:cNvGrpSpPr/>
          <p:nvPr/>
        </p:nvGrpSpPr>
        <p:grpSpPr bwMode="auto">
          <a:xfrm>
            <a:off x="6249918" y="1756707"/>
            <a:ext cx="1860550" cy="1860550"/>
            <a:chOff x="4768850" y="1628800"/>
            <a:chExt cx="1860550" cy="1860550"/>
          </a:xfrm>
        </p:grpSpPr>
        <p:sp>
          <p:nvSpPr>
            <p:cNvPr id="88" name="Freeform 88">
              <a:extLst>
                <a:ext uri="{FF2B5EF4-FFF2-40B4-BE49-F238E27FC236}">
                  <a16:creationId xmlns:a16="http://schemas.microsoft.com/office/drawing/2014/main" id="{CBA8E048-0A97-45DC-A103-2AF476A533B0}"/>
                </a:ext>
              </a:extLst>
            </p:cNvPr>
            <p:cNvSpPr>
              <a:spLocks/>
            </p:cNvSpPr>
            <p:nvPr/>
          </p:nvSpPr>
          <p:spPr bwMode="auto">
            <a:xfrm>
              <a:off x="5699125" y="1628800"/>
              <a:ext cx="930275" cy="930275"/>
            </a:xfrm>
            <a:custGeom>
              <a:avLst/>
              <a:gdLst/>
              <a:ahLst/>
              <a:cxnLst>
                <a:cxn ang="0">
                  <a:pos x="0" y="568"/>
                </a:cxn>
                <a:cxn ang="0">
                  <a:pos x="28" y="0"/>
                </a:cxn>
                <a:cxn ang="0">
                  <a:pos x="84" y="3"/>
                </a:cxn>
                <a:cxn ang="0">
                  <a:pos x="139" y="8"/>
                </a:cxn>
                <a:cxn ang="0">
                  <a:pos x="194" y="17"/>
                </a:cxn>
                <a:cxn ang="0">
                  <a:pos x="249" y="28"/>
                </a:cxn>
                <a:cxn ang="0">
                  <a:pos x="303" y="41"/>
                </a:cxn>
                <a:cxn ang="0">
                  <a:pos x="356" y="57"/>
                </a:cxn>
                <a:cxn ang="0">
                  <a:pos x="395" y="71"/>
                </a:cxn>
                <a:cxn ang="0">
                  <a:pos x="434" y="86"/>
                </a:cxn>
                <a:cxn ang="0">
                  <a:pos x="485" y="109"/>
                </a:cxn>
                <a:cxn ang="0">
                  <a:pos x="535" y="134"/>
                </a:cxn>
                <a:cxn ang="0">
                  <a:pos x="584" y="161"/>
                </a:cxn>
                <a:cxn ang="0">
                  <a:pos x="632" y="191"/>
                </a:cxn>
                <a:cxn ang="0">
                  <a:pos x="677" y="223"/>
                </a:cxn>
                <a:cxn ang="0">
                  <a:pos x="721" y="257"/>
                </a:cxn>
                <a:cxn ang="0">
                  <a:pos x="763" y="293"/>
                </a:cxn>
                <a:cxn ang="0">
                  <a:pos x="783" y="312"/>
                </a:cxn>
                <a:cxn ang="0">
                  <a:pos x="823" y="352"/>
                </a:cxn>
                <a:cxn ang="0">
                  <a:pos x="860" y="393"/>
                </a:cxn>
                <a:cxn ang="0">
                  <a:pos x="895" y="436"/>
                </a:cxn>
                <a:cxn ang="0">
                  <a:pos x="928" y="481"/>
                </a:cxn>
                <a:cxn ang="0">
                  <a:pos x="959" y="527"/>
                </a:cxn>
                <a:cxn ang="0">
                  <a:pos x="988" y="576"/>
                </a:cxn>
                <a:cxn ang="0">
                  <a:pos x="1014" y="625"/>
                </a:cxn>
                <a:cxn ang="0">
                  <a:pos x="1038" y="675"/>
                </a:cxn>
                <a:cxn ang="0">
                  <a:pos x="1059" y="727"/>
                </a:cxn>
                <a:cxn ang="0">
                  <a:pos x="1078" y="779"/>
                </a:cxn>
                <a:cxn ang="0">
                  <a:pos x="1094" y="832"/>
                </a:cxn>
                <a:cxn ang="0">
                  <a:pos x="1108" y="886"/>
                </a:cxn>
                <a:cxn ang="0">
                  <a:pos x="1119" y="941"/>
                </a:cxn>
                <a:cxn ang="0">
                  <a:pos x="1127" y="996"/>
                </a:cxn>
                <a:cxn ang="0">
                  <a:pos x="1133" y="1051"/>
                </a:cxn>
                <a:cxn ang="0">
                  <a:pos x="1135" y="1107"/>
                </a:cxn>
                <a:cxn ang="0">
                  <a:pos x="567" y="1135"/>
                </a:cxn>
              </a:cxnLst>
              <a:rect l="0" t="0" r="r" b="b"/>
              <a:pathLst>
                <a:path w="1135" h="1135">
                  <a:moveTo>
                    <a:pt x="0" y="1135"/>
                  </a:moveTo>
                  <a:lnTo>
                    <a:pt x="0" y="568"/>
                  </a:lnTo>
                  <a:lnTo>
                    <a:pt x="0" y="0"/>
                  </a:lnTo>
                  <a:lnTo>
                    <a:pt x="28" y="0"/>
                  </a:lnTo>
                  <a:lnTo>
                    <a:pt x="56" y="1"/>
                  </a:lnTo>
                  <a:lnTo>
                    <a:pt x="84" y="3"/>
                  </a:lnTo>
                  <a:lnTo>
                    <a:pt x="112" y="5"/>
                  </a:lnTo>
                  <a:lnTo>
                    <a:pt x="139" y="8"/>
                  </a:lnTo>
                  <a:lnTo>
                    <a:pt x="167" y="12"/>
                  </a:lnTo>
                  <a:lnTo>
                    <a:pt x="194" y="17"/>
                  </a:lnTo>
                  <a:lnTo>
                    <a:pt x="222" y="22"/>
                  </a:lnTo>
                  <a:lnTo>
                    <a:pt x="249" y="28"/>
                  </a:lnTo>
                  <a:lnTo>
                    <a:pt x="276" y="34"/>
                  </a:lnTo>
                  <a:lnTo>
                    <a:pt x="303" y="41"/>
                  </a:lnTo>
                  <a:lnTo>
                    <a:pt x="330" y="49"/>
                  </a:lnTo>
                  <a:lnTo>
                    <a:pt x="356" y="57"/>
                  </a:lnTo>
                  <a:lnTo>
                    <a:pt x="382" y="66"/>
                  </a:lnTo>
                  <a:lnTo>
                    <a:pt x="395" y="71"/>
                  </a:lnTo>
                  <a:lnTo>
                    <a:pt x="409" y="76"/>
                  </a:lnTo>
                  <a:lnTo>
                    <a:pt x="434" y="86"/>
                  </a:lnTo>
                  <a:lnTo>
                    <a:pt x="460" y="97"/>
                  </a:lnTo>
                  <a:lnTo>
                    <a:pt x="485" y="109"/>
                  </a:lnTo>
                  <a:lnTo>
                    <a:pt x="510" y="121"/>
                  </a:lnTo>
                  <a:lnTo>
                    <a:pt x="535" y="134"/>
                  </a:lnTo>
                  <a:lnTo>
                    <a:pt x="559" y="147"/>
                  </a:lnTo>
                  <a:lnTo>
                    <a:pt x="584" y="161"/>
                  </a:lnTo>
                  <a:lnTo>
                    <a:pt x="608" y="176"/>
                  </a:lnTo>
                  <a:lnTo>
                    <a:pt x="632" y="191"/>
                  </a:lnTo>
                  <a:lnTo>
                    <a:pt x="654" y="206"/>
                  </a:lnTo>
                  <a:lnTo>
                    <a:pt x="677" y="223"/>
                  </a:lnTo>
                  <a:lnTo>
                    <a:pt x="699" y="240"/>
                  </a:lnTo>
                  <a:lnTo>
                    <a:pt x="721" y="257"/>
                  </a:lnTo>
                  <a:lnTo>
                    <a:pt x="742" y="275"/>
                  </a:lnTo>
                  <a:lnTo>
                    <a:pt x="763" y="293"/>
                  </a:lnTo>
                  <a:lnTo>
                    <a:pt x="773" y="303"/>
                  </a:lnTo>
                  <a:lnTo>
                    <a:pt x="783" y="312"/>
                  </a:lnTo>
                  <a:lnTo>
                    <a:pt x="803" y="332"/>
                  </a:lnTo>
                  <a:lnTo>
                    <a:pt x="823" y="352"/>
                  </a:lnTo>
                  <a:lnTo>
                    <a:pt x="842" y="372"/>
                  </a:lnTo>
                  <a:lnTo>
                    <a:pt x="860" y="393"/>
                  </a:lnTo>
                  <a:lnTo>
                    <a:pt x="878" y="414"/>
                  </a:lnTo>
                  <a:lnTo>
                    <a:pt x="895" y="436"/>
                  </a:lnTo>
                  <a:lnTo>
                    <a:pt x="912" y="458"/>
                  </a:lnTo>
                  <a:lnTo>
                    <a:pt x="928" y="481"/>
                  </a:lnTo>
                  <a:lnTo>
                    <a:pt x="944" y="504"/>
                  </a:lnTo>
                  <a:lnTo>
                    <a:pt x="959" y="527"/>
                  </a:lnTo>
                  <a:lnTo>
                    <a:pt x="974" y="551"/>
                  </a:lnTo>
                  <a:lnTo>
                    <a:pt x="988" y="576"/>
                  </a:lnTo>
                  <a:lnTo>
                    <a:pt x="1001" y="600"/>
                  </a:lnTo>
                  <a:lnTo>
                    <a:pt x="1014" y="625"/>
                  </a:lnTo>
                  <a:lnTo>
                    <a:pt x="1026" y="650"/>
                  </a:lnTo>
                  <a:lnTo>
                    <a:pt x="1038" y="675"/>
                  </a:lnTo>
                  <a:lnTo>
                    <a:pt x="1049" y="701"/>
                  </a:lnTo>
                  <a:lnTo>
                    <a:pt x="1059" y="727"/>
                  </a:lnTo>
                  <a:lnTo>
                    <a:pt x="1069" y="753"/>
                  </a:lnTo>
                  <a:lnTo>
                    <a:pt x="1078" y="779"/>
                  </a:lnTo>
                  <a:lnTo>
                    <a:pt x="1087" y="806"/>
                  </a:lnTo>
                  <a:lnTo>
                    <a:pt x="1094" y="832"/>
                  </a:lnTo>
                  <a:lnTo>
                    <a:pt x="1102" y="859"/>
                  </a:lnTo>
                  <a:lnTo>
                    <a:pt x="1108" y="886"/>
                  </a:lnTo>
                  <a:lnTo>
                    <a:pt x="1114" y="913"/>
                  </a:lnTo>
                  <a:lnTo>
                    <a:pt x="1119" y="941"/>
                  </a:lnTo>
                  <a:lnTo>
                    <a:pt x="1123" y="968"/>
                  </a:lnTo>
                  <a:lnTo>
                    <a:pt x="1127" y="996"/>
                  </a:lnTo>
                  <a:lnTo>
                    <a:pt x="1130" y="1023"/>
                  </a:lnTo>
                  <a:lnTo>
                    <a:pt x="1133" y="1051"/>
                  </a:lnTo>
                  <a:lnTo>
                    <a:pt x="1134" y="1079"/>
                  </a:lnTo>
                  <a:lnTo>
                    <a:pt x="1135" y="1107"/>
                  </a:lnTo>
                  <a:lnTo>
                    <a:pt x="1135" y="1135"/>
                  </a:lnTo>
                  <a:lnTo>
                    <a:pt x="567" y="1135"/>
                  </a:lnTo>
                  <a:lnTo>
                    <a:pt x="0" y="1135"/>
                  </a:lnTo>
                  <a:close/>
                </a:path>
              </a:pathLst>
            </a:custGeom>
            <a:solidFill>
              <a:schemeClr val="accent1"/>
            </a:solidFill>
            <a:ln w="6350" cmpd="sng">
              <a:noFill/>
              <a:round/>
              <a:headEnd/>
              <a:tailEnd/>
            </a:ln>
          </p:spPr>
          <p:txBody>
            <a:bodyPr lIns="45720" rIns="45720" anchor="ctr" anchorCtr="1"/>
            <a:lstStyle/>
            <a:p>
              <a:endParaRPr lang="en-US" sz="1100">
                <a:solidFill>
                  <a:schemeClr val="bg1"/>
                </a:solidFill>
              </a:endParaRPr>
            </a:p>
          </p:txBody>
        </p:sp>
        <p:sp>
          <p:nvSpPr>
            <p:cNvPr id="89" name="Freeform 89">
              <a:extLst>
                <a:ext uri="{FF2B5EF4-FFF2-40B4-BE49-F238E27FC236}">
                  <a16:creationId xmlns:a16="http://schemas.microsoft.com/office/drawing/2014/main" id="{DE1A3BA8-9B98-44C4-B545-3BC501AC62D8}"/>
                </a:ext>
              </a:extLst>
            </p:cNvPr>
            <p:cNvSpPr>
              <a:spLocks/>
            </p:cNvSpPr>
            <p:nvPr/>
          </p:nvSpPr>
          <p:spPr bwMode="auto">
            <a:xfrm>
              <a:off x="5699125" y="2559075"/>
              <a:ext cx="930275" cy="930275"/>
            </a:xfrm>
            <a:custGeom>
              <a:avLst/>
              <a:gdLst/>
              <a:ahLst/>
              <a:cxnLst>
                <a:cxn ang="0">
                  <a:pos x="567" y="0"/>
                </a:cxn>
                <a:cxn ang="0">
                  <a:pos x="1135" y="28"/>
                </a:cxn>
                <a:cxn ang="0">
                  <a:pos x="1132" y="83"/>
                </a:cxn>
                <a:cxn ang="0">
                  <a:pos x="1127" y="139"/>
                </a:cxn>
                <a:cxn ang="0">
                  <a:pos x="1119" y="194"/>
                </a:cxn>
                <a:cxn ang="0">
                  <a:pos x="1108" y="248"/>
                </a:cxn>
                <a:cxn ang="0">
                  <a:pos x="1094" y="302"/>
                </a:cxn>
                <a:cxn ang="0">
                  <a:pos x="1078" y="355"/>
                </a:cxn>
                <a:cxn ang="0">
                  <a:pos x="1064" y="395"/>
                </a:cxn>
                <a:cxn ang="0">
                  <a:pos x="1049" y="434"/>
                </a:cxn>
                <a:cxn ang="0">
                  <a:pos x="1027" y="485"/>
                </a:cxn>
                <a:cxn ang="0">
                  <a:pos x="1002" y="534"/>
                </a:cxn>
                <a:cxn ang="0">
                  <a:pos x="974" y="584"/>
                </a:cxn>
                <a:cxn ang="0">
                  <a:pos x="945" y="631"/>
                </a:cxn>
                <a:cxn ang="0">
                  <a:pos x="913" y="676"/>
                </a:cxn>
                <a:cxn ang="0">
                  <a:pos x="878" y="720"/>
                </a:cxn>
                <a:cxn ang="0">
                  <a:pos x="842" y="762"/>
                </a:cxn>
                <a:cxn ang="0">
                  <a:pos x="823" y="783"/>
                </a:cxn>
                <a:cxn ang="0">
                  <a:pos x="783" y="822"/>
                </a:cxn>
                <a:cxn ang="0">
                  <a:pos x="742" y="859"/>
                </a:cxn>
                <a:cxn ang="0">
                  <a:pos x="699" y="895"/>
                </a:cxn>
                <a:cxn ang="0">
                  <a:pos x="654" y="928"/>
                </a:cxn>
                <a:cxn ang="0">
                  <a:pos x="608" y="959"/>
                </a:cxn>
                <a:cxn ang="0">
                  <a:pos x="559" y="987"/>
                </a:cxn>
                <a:cxn ang="0">
                  <a:pos x="510" y="1014"/>
                </a:cxn>
                <a:cxn ang="0">
                  <a:pos x="460" y="1037"/>
                </a:cxn>
                <a:cxn ang="0">
                  <a:pos x="409" y="1059"/>
                </a:cxn>
                <a:cxn ang="0">
                  <a:pos x="356" y="1078"/>
                </a:cxn>
                <a:cxn ang="0">
                  <a:pos x="303" y="1094"/>
                </a:cxn>
                <a:cxn ang="0">
                  <a:pos x="249" y="1107"/>
                </a:cxn>
                <a:cxn ang="0">
                  <a:pos x="194" y="1118"/>
                </a:cxn>
                <a:cxn ang="0">
                  <a:pos x="139" y="1127"/>
                </a:cxn>
                <a:cxn ang="0">
                  <a:pos x="84" y="1132"/>
                </a:cxn>
                <a:cxn ang="0">
                  <a:pos x="28" y="1134"/>
                </a:cxn>
                <a:cxn ang="0">
                  <a:pos x="0" y="567"/>
                </a:cxn>
              </a:cxnLst>
              <a:rect l="0" t="0" r="r" b="b"/>
              <a:pathLst>
                <a:path w="1135" h="1135">
                  <a:moveTo>
                    <a:pt x="0" y="0"/>
                  </a:moveTo>
                  <a:lnTo>
                    <a:pt x="567" y="0"/>
                  </a:lnTo>
                  <a:lnTo>
                    <a:pt x="1135" y="0"/>
                  </a:lnTo>
                  <a:lnTo>
                    <a:pt x="1135" y="28"/>
                  </a:lnTo>
                  <a:lnTo>
                    <a:pt x="1134" y="55"/>
                  </a:lnTo>
                  <a:lnTo>
                    <a:pt x="1132" y="83"/>
                  </a:lnTo>
                  <a:lnTo>
                    <a:pt x="1130" y="111"/>
                  </a:lnTo>
                  <a:lnTo>
                    <a:pt x="1127" y="139"/>
                  </a:lnTo>
                  <a:lnTo>
                    <a:pt x="1123" y="166"/>
                  </a:lnTo>
                  <a:lnTo>
                    <a:pt x="1119" y="194"/>
                  </a:lnTo>
                  <a:lnTo>
                    <a:pt x="1113" y="221"/>
                  </a:lnTo>
                  <a:lnTo>
                    <a:pt x="1108" y="248"/>
                  </a:lnTo>
                  <a:lnTo>
                    <a:pt x="1101" y="275"/>
                  </a:lnTo>
                  <a:lnTo>
                    <a:pt x="1094" y="302"/>
                  </a:lnTo>
                  <a:lnTo>
                    <a:pt x="1086" y="329"/>
                  </a:lnTo>
                  <a:lnTo>
                    <a:pt x="1078" y="355"/>
                  </a:lnTo>
                  <a:lnTo>
                    <a:pt x="1069" y="382"/>
                  </a:lnTo>
                  <a:lnTo>
                    <a:pt x="1064" y="395"/>
                  </a:lnTo>
                  <a:lnTo>
                    <a:pt x="1059" y="408"/>
                  </a:lnTo>
                  <a:lnTo>
                    <a:pt x="1049" y="434"/>
                  </a:lnTo>
                  <a:lnTo>
                    <a:pt x="1038" y="459"/>
                  </a:lnTo>
                  <a:lnTo>
                    <a:pt x="1027" y="485"/>
                  </a:lnTo>
                  <a:lnTo>
                    <a:pt x="1014" y="510"/>
                  </a:lnTo>
                  <a:lnTo>
                    <a:pt x="1002" y="534"/>
                  </a:lnTo>
                  <a:lnTo>
                    <a:pt x="988" y="559"/>
                  </a:lnTo>
                  <a:lnTo>
                    <a:pt x="974" y="584"/>
                  </a:lnTo>
                  <a:lnTo>
                    <a:pt x="960" y="608"/>
                  </a:lnTo>
                  <a:lnTo>
                    <a:pt x="945" y="631"/>
                  </a:lnTo>
                  <a:lnTo>
                    <a:pt x="929" y="654"/>
                  </a:lnTo>
                  <a:lnTo>
                    <a:pt x="913" y="676"/>
                  </a:lnTo>
                  <a:lnTo>
                    <a:pt x="896" y="699"/>
                  </a:lnTo>
                  <a:lnTo>
                    <a:pt x="878" y="720"/>
                  </a:lnTo>
                  <a:lnTo>
                    <a:pt x="860" y="742"/>
                  </a:lnTo>
                  <a:lnTo>
                    <a:pt x="842" y="762"/>
                  </a:lnTo>
                  <a:lnTo>
                    <a:pt x="832" y="773"/>
                  </a:lnTo>
                  <a:lnTo>
                    <a:pt x="823" y="783"/>
                  </a:lnTo>
                  <a:lnTo>
                    <a:pt x="803" y="803"/>
                  </a:lnTo>
                  <a:lnTo>
                    <a:pt x="783" y="822"/>
                  </a:lnTo>
                  <a:lnTo>
                    <a:pt x="763" y="841"/>
                  </a:lnTo>
                  <a:lnTo>
                    <a:pt x="742" y="859"/>
                  </a:lnTo>
                  <a:lnTo>
                    <a:pt x="721" y="877"/>
                  </a:lnTo>
                  <a:lnTo>
                    <a:pt x="699" y="895"/>
                  </a:lnTo>
                  <a:lnTo>
                    <a:pt x="677" y="912"/>
                  </a:lnTo>
                  <a:lnTo>
                    <a:pt x="654" y="928"/>
                  </a:lnTo>
                  <a:lnTo>
                    <a:pt x="631" y="944"/>
                  </a:lnTo>
                  <a:lnTo>
                    <a:pt x="608" y="959"/>
                  </a:lnTo>
                  <a:lnTo>
                    <a:pt x="584" y="973"/>
                  </a:lnTo>
                  <a:lnTo>
                    <a:pt x="559" y="987"/>
                  </a:lnTo>
                  <a:lnTo>
                    <a:pt x="535" y="1001"/>
                  </a:lnTo>
                  <a:lnTo>
                    <a:pt x="510" y="1014"/>
                  </a:lnTo>
                  <a:lnTo>
                    <a:pt x="485" y="1026"/>
                  </a:lnTo>
                  <a:lnTo>
                    <a:pt x="460" y="1037"/>
                  </a:lnTo>
                  <a:lnTo>
                    <a:pt x="434" y="1048"/>
                  </a:lnTo>
                  <a:lnTo>
                    <a:pt x="409" y="1059"/>
                  </a:lnTo>
                  <a:lnTo>
                    <a:pt x="382" y="1068"/>
                  </a:lnTo>
                  <a:lnTo>
                    <a:pt x="356" y="1078"/>
                  </a:lnTo>
                  <a:lnTo>
                    <a:pt x="330" y="1086"/>
                  </a:lnTo>
                  <a:lnTo>
                    <a:pt x="303" y="1094"/>
                  </a:lnTo>
                  <a:lnTo>
                    <a:pt x="276" y="1101"/>
                  </a:lnTo>
                  <a:lnTo>
                    <a:pt x="249" y="1107"/>
                  </a:lnTo>
                  <a:lnTo>
                    <a:pt x="222" y="1113"/>
                  </a:lnTo>
                  <a:lnTo>
                    <a:pt x="194" y="1118"/>
                  </a:lnTo>
                  <a:lnTo>
                    <a:pt x="167" y="1123"/>
                  </a:lnTo>
                  <a:lnTo>
                    <a:pt x="139" y="1127"/>
                  </a:lnTo>
                  <a:lnTo>
                    <a:pt x="112" y="1130"/>
                  </a:lnTo>
                  <a:lnTo>
                    <a:pt x="84" y="1132"/>
                  </a:lnTo>
                  <a:lnTo>
                    <a:pt x="56" y="1134"/>
                  </a:lnTo>
                  <a:lnTo>
                    <a:pt x="28" y="1134"/>
                  </a:lnTo>
                  <a:lnTo>
                    <a:pt x="0" y="1135"/>
                  </a:lnTo>
                  <a:lnTo>
                    <a:pt x="0" y="567"/>
                  </a:lnTo>
                  <a:lnTo>
                    <a:pt x="0" y="0"/>
                  </a:lnTo>
                  <a:close/>
                </a:path>
              </a:pathLst>
            </a:custGeom>
            <a:solidFill>
              <a:schemeClr val="accent3"/>
            </a:solidFill>
            <a:ln w="6350" cmpd="sng">
              <a:noFill/>
              <a:round/>
              <a:headEnd/>
              <a:tailEnd/>
            </a:ln>
          </p:spPr>
          <p:txBody>
            <a:bodyPr lIns="45720" rIns="45720" anchor="ctr" anchorCtr="1"/>
            <a:lstStyle/>
            <a:p>
              <a:endParaRPr lang="en-US" sz="1100"/>
            </a:p>
          </p:txBody>
        </p:sp>
        <p:sp>
          <p:nvSpPr>
            <p:cNvPr id="90" name="Freeform 90">
              <a:extLst>
                <a:ext uri="{FF2B5EF4-FFF2-40B4-BE49-F238E27FC236}">
                  <a16:creationId xmlns:a16="http://schemas.microsoft.com/office/drawing/2014/main" id="{74CA5EB3-9F80-403C-B428-4420211EC686}"/>
                </a:ext>
              </a:extLst>
            </p:cNvPr>
            <p:cNvSpPr>
              <a:spLocks/>
            </p:cNvSpPr>
            <p:nvPr/>
          </p:nvSpPr>
          <p:spPr bwMode="auto">
            <a:xfrm>
              <a:off x="4768850" y="2559075"/>
              <a:ext cx="930275" cy="930275"/>
            </a:xfrm>
            <a:custGeom>
              <a:avLst/>
              <a:gdLst/>
              <a:ahLst/>
              <a:cxnLst>
                <a:cxn ang="0">
                  <a:pos x="1134" y="567"/>
                </a:cxn>
                <a:cxn ang="0">
                  <a:pos x="1107" y="1134"/>
                </a:cxn>
                <a:cxn ang="0">
                  <a:pos x="1051" y="1132"/>
                </a:cxn>
                <a:cxn ang="0">
                  <a:pos x="996" y="1126"/>
                </a:cxn>
                <a:cxn ang="0">
                  <a:pos x="941" y="1118"/>
                </a:cxn>
                <a:cxn ang="0">
                  <a:pos x="886" y="1107"/>
                </a:cxn>
                <a:cxn ang="0">
                  <a:pos x="832" y="1094"/>
                </a:cxn>
                <a:cxn ang="0">
                  <a:pos x="779" y="1077"/>
                </a:cxn>
                <a:cxn ang="0">
                  <a:pos x="739" y="1064"/>
                </a:cxn>
                <a:cxn ang="0">
                  <a:pos x="701" y="1048"/>
                </a:cxn>
                <a:cxn ang="0">
                  <a:pos x="650" y="1026"/>
                </a:cxn>
                <a:cxn ang="0">
                  <a:pos x="600" y="1001"/>
                </a:cxn>
                <a:cxn ang="0">
                  <a:pos x="550" y="974"/>
                </a:cxn>
                <a:cxn ang="0">
                  <a:pos x="503" y="944"/>
                </a:cxn>
                <a:cxn ang="0">
                  <a:pos x="458" y="912"/>
                </a:cxn>
                <a:cxn ang="0">
                  <a:pos x="414" y="878"/>
                </a:cxn>
                <a:cxn ang="0">
                  <a:pos x="372" y="841"/>
                </a:cxn>
                <a:cxn ang="0">
                  <a:pos x="352" y="822"/>
                </a:cxn>
                <a:cxn ang="0">
                  <a:pos x="312" y="783"/>
                </a:cxn>
                <a:cxn ang="0">
                  <a:pos x="275" y="741"/>
                </a:cxn>
                <a:cxn ang="0">
                  <a:pos x="240" y="698"/>
                </a:cxn>
                <a:cxn ang="0">
                  <a:pos x="206" y="654"/>
                </a:cxn>
                <a:cxn ang="0">
                  <a:pos x="176" y="607"/>
                </a:cxn>
                <a:cxn ang="0">
                  <a:pos x="147" y="559"/>
                </a:cxn>
                <a:cxn ang="0">
                  <a:pos x="121" y="510"/>
                </a:cxn>
                <a:cxn ang="0">
                  <a:pos x="97" y="459"/>
                </a:cxn>
                <a:cxn ang="0">
                  <a:pos x="76" y="408"/>
                </a:cxn>
                <a:cxn ang="0">
                  <a:pos x="57" y="356"/>
                </a:cxn>
                <a:cxn ang="0">
                  <a:pos x="40" y="302"/>
                </a:cxn>
                <a:cxn ang="0">
                  <a:pos x="27" y="248"/>
                </a:cxn>
                <a:cxn ang="0">
                  <a:pos x="16" y="194"/>
                </a:cxn>
                <a:cxn ang="0">
                  <a:pos x="8" y="139"/>
                </a:cxn>
                <a:cxn ang="0">
                  <a:pos x="2" y="83"/>
                </a:cxn>
                <a:cxn ang="0">
                  <a:pos x="0" y="28"/>
                </a:cxn>
                <a:cxn ang="0">
                  <a:pos x="567" y="0"/>
                </a:cxn>
              </a:cxnLst>
              <a:rect l="0" t="0" r="r" b="b"/>
              <a:pathLst>
                <a:path w="1134" h="1135">
                  <a:moveTo>
                    <a:pt x="1134" y="0"/>
                  </a:moveTo>
                  <a:lnTo>
                    <a:pt x="1134" y="567"/>
                  </a:lnTo>
                  <a:lnTo>
                    <a:pt x="1134" y="1135"/>
                  </a:lnTo>
                  <a:lnTo>
                    <a:pt x="1107" y="1134"/>
                  </a:lnTo>
                  <a:lnTo>
                    <a:pt x="1079" y="1133"/>
                  </a:lnTo>
                  <a:lnTo>
                    <a:pt x="1051" y="1132"/>
                  </a:lnTo>
                  <a:lnTo>
                    <a:pt x="1023" y="1129"/>
                  </a:lnTo>
                  <a:lnTo>
                    <a:pt x="996" y="1126"/>
                  </a:lnTo>
                  <a:lnTo>
                    <a:pt x="968" y="1122"/>
                  </a:lnTo>
                  <a:lnTo>
                    <a:pt x="941" y="1118"/>
                  </a:lnTo>
                  <a:lnTo>
                    <a:pt x="913" y="1113"/>
                  </a:lnTo>
                  <a:lnTo>
                    <a:pt x="886" y="1107"/>
                  </a:lnTo>
                  <a:lnTo>
                    <a:pt x="859" y="1101"/>
                  </a:lnTo>
                  <a:lnTo>
                    <a:pt x="832" y="1094"/>
                  </a:lnTo>
                  <a:lnTo>
                    <a:pt x="805" y="1086"/>
                  </a:lnTo>
                  <a:lnTo>
                    <a:pt x="779" y="1077"/>
                  </a:lnTo>
                  <a:lnTo>
                    <a:pt x="752" y="1068"/>
                  </a:lnTo>
                  <a:lnTo>
                    <a:pt x="739" y="1064"/>
                  </a:lnTo>
                  <a:lnTo>
                    <a:pt x="726" y="1059"/>
                  </a:lnTo>
                  <a:lnTo>
                    <a:pt x="701" y="1048"/>
                  </a:lnTo>
                  <a:lnTo>
                    <a:pt x="675" y="1037"/>
                  </a:lnTo>
                  <a:lnTo>
                    <a:pt x="650" y="1026"/>
                  </a:lnTo>
                  <a:lnTo>
                    <a:pt x="625" y="1014"/>
                  </a:lnTo>
                  <a:lnTo>
                    <a:pt x="600" y="1001"/>
                  </a:lnTo>
                  <a:lnTo>
                    <a:pt x="575" y="988"/>
                  </a:lnTo>
                  <a:lnTo>
                    <a:pt x="550" y="974"/>
                  </a:lnTo>
                  <a:lnTo>
                    <a:pt x="527" y="959"/>
                  </a:lnTo>
                  <a:lnTo>
                    <a:pt x="503" y="944"/>
                  </a:lnTo>
                  <a:lnTo>
                    <a:pt x="480" y="928"/>
                  </a:lnTo>
                  <a:lnTo>
                    <a:pt x="458" y="912"/>
                  </a:lnTo>
                  <a:lnTo>
                    <a:pt x="436" y="895"/>
                  </a:lnTo>
                  <a:lnTo>
                    <a:pt x="414" y="878"/>
                  </a:lnTo>
                  <a:lnTo>
                    <a:pt x="393" y="860"/>
                  </a:lnTo>
                  <a:lnTo>
                    <a:pt x="372" y="841"/>
                  </a:lnTo>
                  <a:lnTo>
                    <a:pt x="362" y="832"/>
                  </a:lnTo>
                  <a:lnTo>
                    <a:pt x="352" y="822"/>
                  </a:lnTo>
                  <a:lnTo>
                    <a:pt x="332" y="803"/>
                  </a:lnTo>
                  <a:lnTo>
                    <a:pt x="312" y="783"/>
                  </a:lnTo>
                  <a:lnTo>
                    <a:pt x="293" y="762"/>
                  </a:lnTo>
                  <a:lnTo>
                    <a:pt x="275" y="741"/>
                  </a:lnTo>
                  <a:lnTo>
                    <a:pt x="257" y="720"/>
                  </a:lnTo>
                  <a:lnTo>
                    <a:pt x="240" y="698"/>
                  </a:lnTo>
                  <a:lnTo>
                    <a:pt x="223" y="676"/>
                  </a:lnTo>
                  <a:lnTo>
                    <a:pt x="206" y="654"/>
                  </a:lnTo>
                  <a:lnTo>
                    <a:pt x="191" y="631"/>
                  </a:lnTo>
                  <a:lnTo>
                    <a:pt x="176" y="607"/>
                  </a:lnTo>
                  <a:lnTo>
                    <a:pt x="161" y="584"/>
                  </a:lnTo>
                  <a:lnTo>
                    <a:pt x="147" y="559"/>
                  </a:lnTo>
                  <a:lnTo>
                    <a:pt x="134" y="534"/>
                  </a:lnTo>
                  <a:lnTo>
                    <a:pt x="121" y="510"/>
                  </a:lnTo>
                  <a:lnTo>
                    <a:pt x="109" y="485"/>
                  </a:lnTo>
                  <a:lnTo>
                    <a:pt x="97" y="459"/>
                  </a:lnTo>
                  <a:lnTo>
                    <a:pt x="86" y="434"/>
                  </a:lnTo>
                  <a:lnTo>
                    <a:pt x="76" y="408"/>
                  </a:lnTo>
                  <a:lnTo>
                    <a:pt x="66" y="382"/>
                  </a:lnTo>
                  <a:lnTo>
                    <a:pt x="57" y="356"/>
                  </a:lnTo>
                  <a:lnTo>
                    <a:pt x="48" y="329"/>
                  </a:lnTo>
                  <a:lnTo>
                    <a:pt x="40" y="302"/>
                  </a:lnTo>
                  <a:lnTo>
                    <a:pt x="33" y="275"/>
                  </a:lnTo>
                  <a:lnTo>
                    <a:pt x="27" y="248"/>
                  </a:lnTo>
                  <a:lnTo>
                    <a:pt x="21" y="221"/>
                  </a:lnTo>
                  <a:lnTo>
                    <a:pt x="16" y="194"/>
                  </a:lnTo>
                  <a:lnTo>
                    <a:pt x="11" y="166"/>
                  </a:lnTo>
                  <a:lnTo>
                    <a:pt x="8" y="139"/>
                  </a:lnTo>
                  <a:lnTo>
                    <a:pt x="5" y="111"/>
                  </a:lnTo>
                  <a:lnTo>
                    <a:pt x="2" y="83"/>
                  </a:lnTo>
                  <a:lnTo>
                    <a:pt x="1" y="56"/>
                  </a:lnTo>
                  <a:lnTo>
                    <a:pt x="0" y="28"/>
                  </a:lnTo>
                  <a:lnTo>
                    <a:pt x="0" y="0"/>
                  </a:lnTo>
                  <a:lnTo>
                    <a:pt x="567" y="0"/>
                  </a:lnTo>
                  <a:lnTo>
                    <a:pt x="1134" y="0"/>
                  </a:lnTo>
                  <a:close/>
                </a:path>
              </a:pathLst>
            </a:custGeom>
            <a:solidFill>
              <a:schemeClr val="accent2"/>
            </a:solidFill>
            <a:ln w="6350" cmpd="sng">
              <a:noFill/>
              <a:round/>
              <a:headEnd/>
              <a:tailEnd/>
            </a:ln>
          </p:spPr>
          <p:txBody>
            <a:bodyPr lIns="45720" rIns="45720" anchor="ctr" anchorCtr="1"/>
            <a:lstStyle/>
            <a:p>
              <a:endParaRPr lang="en-US" sz="1100"/>
            </a:p>
          </p:txBody>
        </p:sp>
        <p:sp>
          <p:nvSpPr>
            <p:cNvPr id="91" name="Freeform 91">
              <a:extLst>
                <a:ext uri="{FF2B5EF4-FFF2-40B4-BE49-F238E27FC236}">
                  <a16:creationId xmlns:a16="http://schemas.microsoft.com/office/drawing/2014/main" id="{07B807AF-9E8C-439C-87EE-3DAD28181EB8}"/>
                </a:ext>
              </a:extLst>
            </p:cNvPr>
            <p:cNvSpPr>
              <a:spLocks/>
            </p:cNvSpPr>
            <p:nvPr/>
          </p:nvSpPr>
          <p:spPr bwMode="auto">
            <a:xfrm>
              <a:off x="4768850" y="1628800"/>
              <a:ext cx="930275" cy="930275"/>
            </a:xfrm>
            <a:custGeom>
              <a:avLst/>
              <a:gdLst/>
              <a:ahLst/>
              <a:cxnLst>
                <a:cxn ang="0">
                  <a:pos x="567" y="1135"/>
                </a:cxn>
                <a:cxn ang="0">
                  <a:pos x="0" y="1107"/>
                </a:cxn>
                <a:cxn ang="0">
                  <a:pos x="3" y="1051"/>
                </a:cxn>
                <a:cxn ang="0">
                  <a:pos x="8" y="996"/>
                </a:cxn>
                <a:cxn ang="0">
                  <a:pos x="16" y="941"/>
                </a:cxn>
                <a:cxn ang="0">
                  <a:pos x="27" y="886"/>
                </a:cxn>
                <a:cxn ang="0">
                  <a:pos x="41" y="832"/>
                </a:cxn>
                <a:cxn ang="0">
                  <a:pos x="57" y="779"/>
                </a:cxn>
                <a:cxn ang="0">
                  <a:pos x="71" y="740"/>
                </a:cxn>
                <a:cxn ang="0">
                  <a:pos x="86" y="701"/>
                </a:cxn>
                <a:cxn ang="0">
                  <a:pos x="108" y="650"/>
                </a:cxn>
                <a:cxn ang="0">
                  <a:pos x="133" y="600"/>
                </a:cxn>
                <a:cxn ang="0">
                  <a:pos x="161" y="551"/>
                </a:cxn>
                <a:cxn ang="0">
                  <a:pos x="190" y="504"/>
                </a:cxn>
                <a:cxn ang="0">
                  <a:pos x="222" y="458"/>
                </a:cxn>
                <a:cxn ang="0">
                  <a:pos x="257" y="414"/>
                </a:cxn>
                <a:cxn ang="0">
                  <a:pos x="293" y="372"/>
                </a:cxn>
                <a:cxn ang="0">
                  <a:pos x="312" y="352"/>
                </a:cxn>
                <a:cxn ang="0">
                  <a:pos x="352" y="313"/>
                </a:cxn>
                <a:cxn ang="0">
                  <a:pos x="393" y="275"/>
                </a:cxn>
                <a:cxn ang="0">
                  <a:pos x="436" y="240"/>
                </a:cxn>
                <a:cxn ang="0">
                  <a:pos x="481" y="207"/>
                </a:cxn>
                <a:cxn ang="0">
                  <a:pos x="527" y="176"/>
                </a:cxn>
                <a:cxn ang="0">
                  <a:pos x="576" y="147"/>
                </a:cxn>
                <a:cxn ang="0">
                  <a:pos x="625" y="121"/>
                </a:cxn>
                <a:cxn ang="0">
                  <a:pos x="675" y="97"/>
                </a:cxn>
                <a:cxn ang="0">
                  <a:pos x="726" y="76"/>
                </a:cxn>
                <a:cxn ang="0">
                  <a:pos x="779" y="57"/>
                </a:cxn>
                <a:cxn ang="0">
                  <a:pos x="832" y="41"/>
                </a:cxn>
                <a:cxn ang="0">
                  <a:pos x="886" y="27"/>
                </a:cxn>
                <a:cxn ang="0">
                  <a:pos x="940" y="16"/>
                </a:cxn>
                <a:cxn ang="0">
                  <a:pos x="995" y="8"/>
                </a:cxn>
                <a:cxn ang="0">
                  <a:pos x="1051" y="3"/>
                </a:cxn>
                <a:cxn ang="0">
                  <a:pos x="1107" y="0"/>
                </a:cxn>
                <a:cxn ang="0">
                  <a:pos x="1134" y="568"/>
                </a:cxn>
              </a:cxnLst>
              <a:rect l="0" t="0" r="r" b="b"/>
              <a:pathLst>
                <a:path w="1134" h="1135">
                  <a:moveTo>
                    <a:pt x="1134" y="1135"/>
                  </a:moveTo>
                  <a:lnTo>
                    <a:pt x="567" y="1135"/>
                  </a:lnTo>
                  <a:lnTo>
                    <a:pt x="0" y="1135"/>
                  </a:lnTo>
                  <a:lnTo>
                    <a:pt x="0" y="1107"/>
                  </a:lnTo>
                  <a:lnTo>
                    <a:pt x="1" y="1079"/>
                  </a:lnTo>
                  <a:lnTo>
                    <a:pt x="3" y="1051"/>
                  </a:lnTo>
                  <a:lnTo>
                    <a:pt x="5" y="1024"/>
                  </a:lnTo>
                  <a:lnTo>
                    <a:pt x="8" y="996"/>
                  </a:lnTo>
                  <a:lnTo>
                    <a:pt x="12" y="968"/>
                  </a:lnTo>
                  <a:lnTo>
                    <a:pt x="16" y="941"/>
                  </a:lnTo>
                  <a:lnTo>
                    <a:pt x="21" y="914"/>
                  </a:lnTo>
                  <a:lnTo>
                    <a:pt x="27" y="886"/>
                  </a:lnTo>
                  <a:lnTo>
                    <a:pt x="34" y="859"/>
                  </a:lnTo>
                  <a:lnTo>
                    <a:pt x="41" y="832"/>
                  </a:lnTo>
                  <a:lnTo>
                    <a:pt x="49" y="806"/>
                  </a:lnTo>
                  <a:lnTo>
                    <a:pt x="57" y="779"/>
                  </a:lnTo>
                  <a:lnTo>
                    <a:pt x="66" y="753"/>
                  </a:lnTo>
                  <a:lnTo>
                    <a:pt x="71" y="740"/>
                  </a:lnTo>
                  <a:lnTo>
                    <a:pt x="76" y="727"/>
                  </a:lnTo>
                  <a:lnTo>
                    <a:pt x="86" y="701"/>
                  </a:lnTo>
                  <a:lnTo>
                    <a:pt x="97" y="675"/>
                  </a:lnTo>
                  <a:lnTo>
                    <a:pt x="108" y="650"/>
                  </a:lnTo>
                  <a:lnTo>
                    <a:pt x="121" y="625"/>
                  </a:lnTo>
                  <a:lnTo>
                    <a:pt x="133" y="600"/>
                  </a:lnTo>
                  <a:lnTo>
                    <a:pt x="147" y="576"/>
                  </a:lnTo>
                  <a:lnTo>
                    <a:pt x="161" y="551"/>
                  </a:lnTo>
                  <a:lnTo>
                    <a:pt x="175" y="527"/>
                  </a:lnTo>
                  <a:lnTo>
                    <a:pt x="190" y="504"/>
                  </a:lnTo>
                  <a:lnTo>
                    <a:pt x="206" y="481"/>
                  </a:lnTo>
                  <a:lnTo>
                    <a:pt x="222" y="458"/>
                  </a:lnTo>
                  <a:lnTo>
                    <a:pt x="239" y="436"/>
                  </a:lnTo>
                  <a:lnTo>
                    <a:pt x="257" y="414"/>
                  </a:lnTo>
                  <a:lnTo>
                    <a:pt x="275" y="393"/>
                  </a:lnTo>
                  <a:lnTo>
                    <a:pt x="293" y="372"/>
                  </a:lnTo>
                  <a:lnTo>
                    <a:pt x="303" y="362"/>
                  </a:lnTo>
                  <a:lnTo>
                    <a:pt x="312" y="352"/>
                  </a:lnTo>
                  <a:lnTo>
                    <a:pt x="332" y="332"/>
                  </a:lnTo>
                  <a:lnTo>
                    <a:pt x="352" y="313"/>
                  </a:lnTo>
                  <a:lnTo>
                    <a:pt x="372" y="294"/>
                  </a:lnTo>
                  <a:lnTo>
                    <a:pt x="393" y="275"/>
                  </a:lnTo>
                  <a:lnTo>
                    <a:pt x="414" y="257"/>
                  </a:lnTo>
                  <a:lnTo>
                    <a:pt x="436" y="240"/>
                  </a:lnTo>
                  <a:lnTo>
                    <a:pt x="458" y="223"/>
                  </a:lnTo>
                  <a:lnTo>
                    <a:pt x="481" y="207"/>
                  </a:lnTo>
                  <a:lnTo>
                    <a:pt x="504" y="191"/>
                  </a:lnTo>
                  <a:lnTo>
                    <a:pt x="527" y="176"/>
                  </a:lnTo>
                  <a:lnTo>
                    <a:pt x="551" y="161"/>
                  </a:lnTo>
                  <a:lnTo>
                    <a:pt x="576" y="147"/>
                  </a:lnTo>
                  <a:lnTo>
                    <a:pt x="600" y="134"/>
                  </a:lnTo>
                  <a:lnTo>
                    <a:pt x="625" y="121"/>
                  </a:lnTo>
                  <a:lnTo>
                    <a:pt x="650" y="109"/>
                  </a:lnTo>
                  <a:lnTo>
                    <a:pt x="675" y="97"/>
                  </a:lnTo>
                  <a:lnTo>
                    <a:pt x="701" y="86"/>
                  </a:lnTo>
                  <a:lnTo>
                    <a:pt x="726" y="76"/>
                  </a:lnTo>
                  <a:lnTo>
                    <a:pt x="752" y="66"/>
                  </a:lnTo>
                  <a:lnTo>
                    <a:pt x="779" y="57"/>
                  </a:lnTo>
                  <a:lnTo>
                    <a:pt x="805" y="49"/>
                  </a:lnTo>
                  <a:lnTo>
                    <a:pt x="832" y="41"/>
                  </a:lnTo>
                  <a:lnTo>
                    <a:pt x="859" y="34"/>
                  </a:lnTo>
                  <a:lnTo>
                    <a:pt x="886" y="27"/>
                  </a:lnTo>
                  <a:lnTo>
                    <a:pt x="913" y="21"/>
                  </a:lnTo>
                  <a:lnTo>
                    <a:pt x="940" y="16"/>
                  </a:lnTo>
                  <a:lnTo>
                    <a:pt x="968" y="12"/>
                  </a:lnTo>
                  <a:lnTo>
                    <a:pt x="995" y="8"/>
                  </a:lnTo>
                  <a:lnTo>
                    <a:pt x="1023" y="5"/>
                  </a:lnTo>
                  <a:lnTo>
                    <a:pt x="1051" y="3"/>
                  </a:lnTo>
                  <a:lnTo>
                    <a:pt x="1079" y="1"/>
                  </a:lnTo>
                  <a:lnTo>
                    <a:pt x="1107" y="0"/>
                  </a:lnTo>
                  <a:lnTo>
                    <a:pt x="1134" y="0"/>
                  </a:lnTo>
                  <a:lnTo>
                    <a:pt x="1134" y="568"/>
                  </a:lnTo>
                  <a:lnTo>
                    <a:pt x="1134" y="1135"/>
                  </a:lnTo>
                  <a:close/>
                </a:path>
              </a:pathLst>
            </a:custGeom>
            <a:pattFill prst="wdUpDiag">
              <a:fgClr>
                <a:schemeClr val="tx2">
                  <a:lumMod val="20000"/>
                  <a:lumOff val="80000"/>
                </a:schemeClr>
              </a:fgClr>
              <a:bgClr>
                <a:schemeClr val="bg1"/>
              </a:bgClr>
            </a:pattFill>
            <a:ln w="6350" cmpd="sng">
              <a:noFill/>
              <a:round/>
              <a:headEnd/>
              <a:tailEnd/>
            </a:ln>
          </p:spPr>
          <p:txBody>
            <a:bodyPr lIns="45720" rIns="45720" anchor="ctr" anchorCtr="1"/>
            <a:lstStyle/>
            <a:p>
              <a:endParaRPr lang="en-US" sz="1100"/>
            </a:p>
          </p:txBody>
        </p:sp>
        <p:sp>
          <p:nvSpPr>
            <p:cNvPr id="92" name="Text Box 92">
              <a:extLst>
                <a:ext uri="{FF2B5EF4-FFF2-40B4-BE49-F238E27FC236}">
                  <a16:creationId xmlns:a16="http://schemas.microsoft.com/office/drawing/2014/main" id="{6DC2A720-B541-4AC8-88DE-AFAE11975562}"/>
                </a:ext>
              </a:extLst>
            </p:cNvPr>
            <p:cNvSpPr txBox="1">
              <a:spLocks noChangeArrowheads="1"/>
            </p:cNvSpPr>
            <p:nvPr/>
          </p:nvSpPr>
          <p:spPr bwMode="auto">
            <a:xfrm>
              <a:off x="5029200" y="1966938"/>
              <a:ext cx="411163" cy="255588"/>
            </a:xfrm>
            <a:prstGeom prst="rect">
              <a:avLst/>
            </a:prstGeom>
            <a:noFill/>
            <a:ln w="6350">
              <a:noFill/>
              <a:miter lim="800000"/>
              <a:headEnd/>
              <a:tailEnd/>
            </a:ln>
            <a:effectLst/>
          </p:spPr>
          <p:txBody>
            <a:bodyPr lIns="45720" rIns="45720" anchor="ctr" anchorCtr="1"/>
            <a:lstStyle/>
            <a:p>
              <a:pPr eaLnBrk="0" hangingPunct="0"/>
              <a:r>
                <a:rPr lang="en-US" sz="1100">
                  <a:solidFill>
                    <a:schemeClr val="tx1"/>
                  </a:solidFill>
                </a:rPr>
                <a:t>Text</a:t>
              </a:r>
            </a:p>
          </p:txBody>
        </p:sp>
        <p:sp>
          <p:nvSpPr>
            <p:cNvPr id="93" name="Text Box 93">
              <a:extLst>
                <a:ext uri="{FF2B5EF4-FFF2-40B4-BE49-F238E27FC236}">
                  <a16:creationId xmlns:a16="http://schemas.microsoft.com/office/drawing/2014/main" id="{A8262916-DDF3-4A1D-AB6A-0250E3C596B5}"/>
                </a:ext>
              </a:extLst>
            </p:cNvPr>
            <p:cNvSpPr txBox="1">
              <a:spLocks noChangeArrowheads="1"/>
            </p:cNvSpPr>
            <p:nvPr/>
          </p:nvSpPr>
          <p:spPr bwMode="auto">
            <a:xfrm>
              <a:off x="5957888" y="1966938"/>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94" name="Text Box 94">
              <a:extLst>
                <a:ext uri="{FF2B5EF4-FFF2-40B4-BE49-F238E27FC236}">
                  <a16:creationId xmlns:a16="http://schemas.microsoft.com/office/drawing/2014/main" id="{86A67AA0-3FBA-4148-B4A9-797471C4930D}"/>
                </a:ext>
              </a:extLst>
            </p:cNvPr>
            <p:cNvSpPr txBox="1">
              <a:spLocks noChangeArrowheads="1"/>
            </p:cNvSpPr>
            <p:nvPr/>
          </p:nvSpPr>
          <p:spPr bwMode="auto">
            <a:xfrm>
              <a:off x="5029200" y="2895625"/>
              <a:ext cx="411163" cy="255588"/>
            </a:xfrm>
            <a:prstGeom prst="rect">
              <a:avLst/>
            </a:prstGeom>
            <a:noFill/>
            <a:ln w="6350">
              <a:noFill/>
              <a:miter lim="800000"/>
              <a:headEnd/>
              <a:tailEnd/>
            </a:ln>
            <a:effectLst/>
          </p:spPr>
          <p:txBody>
            <a:bodyPr lIns="45720" rIns="45720" anchor="ctr" anchorCtr="1"/>
            <a:lstStyle/>
            <a:p>
              <a:pPr eaLnBrk="0" hangingPunct="0"/>
              <a:r>
                <a:rPr lang="en-US" sz="1100">
                  <a:solidFill>
                    <a:schemeClr val="bg1"/>
                  </a:solidFill>
                </a:rPr>
                <a:t>Text</a:t>
              </a:r>
            </a:p>
          </p:txBody>
        </p:sp>
        <p:sp>
          <p:nvSpPr>
            <p:cNvPr id="95" name="Text Box 95">
              <a:extLst>
                <a:ext uri="{FF2B5EF4-FFF2-40B4-BE49-F238E27FC236}">
                  <a16:creationId xmlns:a16="http://schemas.microsoft.com/office/drawing/2014/main" id="{E850CDEC-D58D-4E80-98B8-6231382B4AD2}"/>
                </a:ext>
              </a:extLst>
            </p:cNvPr>
            <p:cNvSpPr txBox="1">
              <a:spLocks noChangeArrowheads="1"/>
            </p:cNvSpPr>
            <p:nvPr/>
          </p:nvSpPr>
          <p:spPr bwMode="auto">
            <a:xfrm>
              <a:off x="5957888" y="2895625"/>
              <a:ext cx="411163" cy="255588"/>
            </a:xfrm>
            <a:prstGeom prst="rect">
              <a:avLst/>
            </a:prstGeom>
            <a:noFill/>
            <a:ln w="6350">
              <a:noFill/>
              <a:miter lim="800000"/>
              <a:headEnd/>
              <a:tailEnd/>
            </a:ln>
            <a:effectLst/>
          </p:spPr>
          <p:txBody>
            <a:bodyPr lIns="45720" rIns="45720" anchor="ctr" anchorCtr="1"/>
            <a:lstStyle/>
            <a:p>
              <a:pPr eaLnBrk="0" hangingPunct="0"/>
              <a:r>
                <a:rPr lang="en-US" sz="1100">
                  <a:solidFill>
                    <a:schemeClr val="bg1"/>
                  </a:solidFill>
                </a:rPr>
                <a:t>Text</a:t>
              </a:r>
            </a:p>
          </p:txBody>
        </p:sp>
      </p:grpSp>
      <p:grpSp>
        <p:nvGrpSpPr>
          <p:cNvPr id="96" name="Group 96">
            <a:extLst>
              <a:ext uri="{FF2B5EF4-FFF2-40B4-BE49-F238E27FC236}">
                <a16:creationId xmlns:a16="http://schemas.microsoft.com/office/drawing/2014/main" id="{FDD7C189-EEFB-43D1-A25A-0DED66662BB5}"/>
              </a:ext>
            </a:extLst>
          </p:cNvPr>
          <p:cNvGrpSpPr>
            <a:grpSpLocks/>
          </p:cNvGrpSpPr>
          <p:nvPr/>
        </p:nvGrpSpPr>
        <p:grpSpPr bwMode="auto">
          <a:xfrm>
            <a:off x="4129014" y="1756707"/>
            <a:ext cx="1860550" cy="1860550"/>
            <a:chOff x="1812" y="1228"/>
            <a:chExt cx="1172" cy="1172"/>
          </a:xfrm>
        </p:grpSpPr>
        <p:sp>
          <p:nvSpPr>
            <p:cNvPr id="97" name="Freeform 97">
              <a:extLst>
                <a:ext uri="{FF2B5EF4-FFF2-40B4-BE49-F238E27FC236}">
                  <a16:creationId xmlns:a16="http://schemas.microsoft.com/office/drawing/2014/main" id="{AB0DABA0-5C88-4346-BE77-CAA0E55E4DA4}"/>
                </a:ext>
              </a:extLst>
            </p:cNvPr>
            <p:cNvSpPr>
              <a:spLocks/>
            </p:cNvSpPr>
            <p:nvPr/>
          </p:nvSpPr>
          <p:spPr bwMode="auto">
            <a:xfrm>
              <a:off x="2398" y="1228"/>
              <a:ext cx="586" cy="879"/>
            </a:xfrm>
            <a:custGeom>
              <a:avLst/>
              <a:gdLst/>
              <a:ahLst/>
              <a:cxnLst>
                <a:cxn ang="0">
                  <a:pos x="0" y="568"/>
                </a:cxn>
                <a:cxn ang="0">
                  <a:pos x="28" y="0"/>
                </a:cxn>
                <a:cxn ang="0">
                  <a:pos x="84" y="3"/>
                </a:cxn>
                <a:cxn ang="0">
                  <a:pos x="139" y="9"/>
                </a:cxn>
                <a:cxn ang="0">
                  <a:pos x="194" y="17"/>
                </a:cxn>
                <a:cxn ang="0">
                  <a:pos x="249" y="28"/>
                </a:cxn>
                <a:cxn ang="0">
                  <a:pos x="303" y="41"/>
                </a:cxn>
                <a:cxn ang="0">
                  <a:pos x="356" y="57"/>
                </a:cxn>
                <a:cxn ang="0">
                  <a:pos x="395" y="71"/>
                </a:cxn>
                <a:cxn ang="0">
                  <a:pos x="434" y="86"/>
                </a:cxn>
                <a:cxn ang="0">
                  <a:pos x="485" y="109"/>
                </a:cxn>
                <a:cxn ang="0">
                  <a:pos x="535" y="134"/>
                </a:cxn>
                <a:cxn ang="0">
                  <a:pos x="584" y="161"/>
                </a:cxn>
                <a:cxn ang="0">
                  <a:pos x="631" y="191"/>
                </a:cxn>
                <a:cxn ang="0">
                  <a:pos x="677" y="223"/>
                </a:cxn>
                <a:cxn ang="0">
                  <a:pos x="721" y="257"/>
                </a:cxn>
                <a:cxn ang="0">
                  <a:pos x="763" y="294"/>
                </a:cxn>
                <a:cxn ang="0">
                  <a:pos x="783" y="313"/>
                </a:cxn>
                <a:cxn ang="0">
                  <a:pos x="823" y="352"/>
                </a:cxn>
                <a:cxn ang="0">
                  <a:pos x="860" y="393"/>
                </a:cxn>
                <a:cxn ang="0">
                  <a:pos x="895" y="436"/>
                </a:cxn>
                <a:cxn ang="0">
                  <a:pos x="928" y="481"/>
                </a:cxn>
                <a:cxn ang="0">
                  <a:pos x="959" y="527"/>
                </a:cxn>
                <a:cxn ang="0">
                  <a:pos x="988" y="576"/>
                </a:cxn>
                <a:cxn ang="0">
                  <a:pos x="1014" y="625"/>
                </a:cxn>
                <a:cxn ang="0">
                  <a:pos x="1038" y="675"/>
                </a:cxn>
                <a:cxn ang="0">
                  <a:pos x="1059" y="727"/>
                </a:cxn>
                <a:cxn ang="0">
                  <a:pos x="1078" y="779"/>
                </a:cxn>
                <a:cxn ang="0">
                  <a:pos x="1094" y="832"/>
                </a:cxn>
                <a:cxn ang="0">
                  <a:pos x="1108" y="886"/>
                </a:cxn>
                <a:cxn ang="0">
                  <a:pos x="1119" y="941"/>
                </a:cxn>
                <a:cxn ang="0">
                  <a:pos x="1127" y="996"/>
                </a:cxn>
                <a:cxn ang="0">
                  <a:pos x="1132" y="1051"/>
                </a:cxn>
                <a:cxn ang="0">
                  <a:pos x="1135" y="1107"/>
                </a:cxn>
                <a:cxn ang="0">
                  <a:pos x="1135" y="1172"/>
                </a:cxn>
                <a:cxn ang="0">
                  <a:pos x="1130" y="1246"/>
                </a:cxn>
                <a:cxn ang="0">
                  <a:pos x="1123" y="1301"/>
                </a:cxn>
                <a:cxn ang="0">
                  <a:pos x="1113" y="1356"/>
                </a:cxn>
                <a:cxn ang="0">
                  <a:pos x="1096" y="1428"/>
                </a:cxn>
                <a:cxn ang="0">
                  <a:pos x="1086" y="1464"/>
                </a:cxn>
                <a:cxn ang="0">
                  <a:pos x="1063" y="1534"/>
                </a:cxn>
                <a:cxn ang="0">
                  <a:pos x="1034" y="1603"/>
                </a:cxn>
                <a:cxn ang="0">
                  <a:pos x="1001" y="1670"/>
                </a:cxn>
                <a:cxn ang="0">
                  <a:pos x="983" y="1702"/>
                </a:cxn>
                <a:cxn ang="0">
                  <a:pos x="0" y="1135"/>
                </a:cxn>
              </a:cxnLst>
              <a:rect l="0" t="0" r="r" b="b"/>
              <a:pathLst>
                <a:path w="1135" h="1702">
                  <a:moveTo>
                    <a:pt x="0" y="1135"/>
                  </a:moveTo>
                  <a:lnTo>
                    <a:pt x="0" y="568"/>
                  </a:lnTo>
                  <a:lnTo>
                    <a:pt x="0" y="0"/>
                  </a:lnTo>
                  <a:lnTo>
                    <a:pt x="28" y="0"/>
                  </a:lnTo>
                  <a:lnTo>
                    <a:pt x="56" y="1"/>
                  </a:lnTo>
                  <a:lnTo>
                    <a:pt x="84" y="3"/>
                  </a:lnTo>
                  <a:lnTo>
                    <a:pt x="112" y="5"/>
                  </a:lnTo>
                  <a:lnTo>
                    <a:pt x="139" y="9"/>
                  </a:lnTo>
                  <a:lnTo>
                    <a:pt x="167" y="12"/>
                  </a:lnTo>
                  <a:lnTo>
                    <a:pt x="194" y="17"/>
                  </a:lnTo>
                  <a:lnTo>
                    <a:pt x="222" y="22"/>
                  </a:lnTo>
                  <a:lnTo>
                    <a:pt x="249" y="28"/>
                  </a:lnTo>
                  <a:lnTo>
                    <a:pt x="276" y="34"/>
                  </a:lnTo>
                  <a:lnTo>
                    <a:pt x="303" y="41"/>
                  </a:lnTo>
                  <a:lnTo>
                    <a:pt x="329" y="49"/>
                  </a:lnTo>
                  <a:lnTo>
                    <a:pt x="356" y="57"/>
                  </a:lnTo>
                  <a:lnTo>
                    <a:pt x="382" y="66"/>
                  </a:lnTo>
                  <a:lnTo>
                    <a:pt x="395" y="71"/>
                  </a:lnTo>
                  <a:lnTo>
                    <a:pt x="408" y="76"/>
                  </a:lnTo>
                  <a:lnTo>
                    <a:pt x="434" y="86"/>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3" y="352"/>
                  </a:lnTo>
                  <a:lnTo>
                    <a:pt x="842" y="372"/>
                  </a:lnTo>
                  <a:lnTo>
                    <a:pt x="860" y="393"/>
                  </a:lnTo>
                  <a:lnTo>
                    <a:pt x="878" y="415"/>
                  </a:lnTo>
                  <a:lnTo>
                    <a:pt x="895" y="436"/>
                  </a:lnTo>
                  <a:lnTo>
                    <a:pt x="912" y="458"/>
                  </a:lnTo>
                  <a:lnTo>
                    <a:pt x="928" y="481"/>
                  </a:lnTo>
                  <a:lnTo>
                    <a:pt x="944" y="504"/>
                  </a:lnTo>
                  <a:lnTo>
                    <a:pt x="959" y="527"/>
                  </a:lnTo>
                  <a:lnTo>
                    <a:pt x="974" y="551"/>
                  </a:lnTo>
                  <a:lnTo>
                    <a:pt x="988" y="576"/>
                  </a:lnTo>
                  <a:lnTo>
                    <a:pt x="1001" y="600"/>
                  </a:lnTo>
                  <a:lnTo>
                    <a:pt x="1014" y="625"/>
                  </a:lnTo>
                  <a:lnTo>
                    <a:pt x="1026" y="650"/>
                  </a:lnTo>
                  <a:lnTo>
                    <a:pt x="1038" y="675"/>
                  </a:lnTo>
                  <a:lnTo>
                    <a:pt x="1049" y="701"/>
                  </a:lnTo>
                  <a:lnTo>
                    <a:pt x="1059" y="727"/>
                  </a:lnTo>
                  <a:lnTo>
                    <a:pt x="1069" y="753"/>
                  </a:lnTo>
                  <a:lnTo>
                    <a:pt x="1078" y="779"/>
                  </a:lnTo>
                  <a:lnTo>
                    <a:pt x="1086" y="806"/>
                  </a:lnTo>
                  <a:lnTo>
                    <a:pt x="1094" y="832"/>
                  </a:lnTo>
                  <a:lnTo>
                    <a:pt x="1101" y="859"/>
                  </a:lnTo>
                  <a:lnTo>
                    <a:pt x="1108" y="886"/>
                  </a:lnTo>
                  <a:lnTo>
                    <a:pt x="1114" y="914"/>
                  </a:lnTo>
                  <a:lnTo>
                    <a:pt x="1119" y="941"/>
                  </a:lnTo>
                  <a:lnTo>
                    <a:pt x="1123" y="968"/>
                  </a:lnTo>
                  <a:lnTo>
                    <a:pt x="1127" y="996"/>
                  </a:lnTo>
                  <a:lnTo>
                    <a:pt x="1130" y="1024"/>
                  </a:lnTo>
                  <a:lnTo>
                    <a:pt x="1132" y="1051"/>
                  </a:lnTo>
                  <a:lnTo>
                    <a:pt x="1134" y="1079"/>
                  </a:lnTo>
                  <a:lnTo>
                    <a:pt x="1135" y="1107"/>
                  </a:lnTo>
                  <a:lnTo>
                    <a:pt x="1135" y="1135"/>
                  </a:lnTo>
                  <a:lnTo>
                    <a:pt x="1135" y="1172"/>
                  </a:lnTo>
                  <a:lnTo>
                    <a:pt x="1133" y="1209"/>
                  </a:lnTo>
                  <a:lnTo>
                    <a:pt x="1130" y="1246"/>
                  </a:lnTo>
                  <a:lnTo>
                    <a:pt x="1125" y="1283"/>
                  </a:lnTo>
                  <a:lnTo>
                    <a:pt x="1123" y="1301"/>
                  </a:lnTo>
                  <a:lnTo>
                    <a:pt x="1120" y="1320"/>
                  </a:lnTo>
                  <a:lnTo>
                    <a:pt x="1113" y="1356"/>
                  </a:lnTo>
                  <a:lnTo>
                    <a:pt x="1106" y="1392"/>
                  </a:lnTo>
                  <a:lnTo>
                    <a:pt x="1096" y="1428"/>
                  </a:lnTo>
                  <a:lnTo>
                    <a:pt x="1092" y="1446"/>
                  </a:lnTo>
                  <a:lnTo>
                    <a:pt x="1086" y="1464"/>
                  </a:lnTo>
                  <a:lnTo>
                    <a:pt x="1075" y="1499"/>
                  </a:lnTo>
                  <a:lnTo>
                    <a:pt x="1063" y="1534"/>
                  </a:lnTo>
                  <a:lnTo>
                    <a:pt x="1049" y="1569"/>
                  </a:lnTo>
                  <a:lnTo>
                    <a:pt x="1034" y="1603"/>
                  </a:lnTo>
                  <a:lnTo>
                    <a:pt x="1018" y="1637"/>
                  </a:lnTo>
                  <a:lnTo>
                    <a:pt x="1001" y="1670"/>
                  </a:lnTo>
                  <a:lnTo>
                    <a:pt x="992" y="1686"/>
                  </a:lnTo>
                  <a:lnTo>
                    <a:pt x="983" y="1702"/>
                  </a:lnTo>
                  <a:lnTo>
                    <a:pt x="491" y="1418"/>
                  </a:lnTo>
                  <a:lnTo>
                    <a:pt x="0" y="1135"/>
                  </a:lnTo>
                  <a:close/>
                </a:path>
              </a:pathLst>
            </a:custGeom>
            <a:solidFill>
              <a:schemeClr val="accent1"/>
            </a:solidFill>
            <a:ln w="6350" cmpd="sng">
              <a:noFill/>
              <a:round/>
              <a:headEnd/>
              <a:tailEnd/>
            </a:ln>
          </p:spPr>
          <p:txBody>
            <a:bodyPr lIns="45720" rIns="45720" anchor="ctr" anchorCtr="1"/>
            <a:lstStyle/>
            <a:p>
              <a:endParaRPr lang="en-US" sz="1100" b="1"/>
            </a:p>
          </p:txBody>
        </p:sp>
        <p:sp>
          <p:nvSpPr>
            <p:cNvPr id="98" name="Freeform 98">
              <a:extLst>
                <a:ext uri="{FF2B5EF4-FFF2-40B4-BE49-F238E27FC236}">
                  <a16:creationId xmlns:a16="http://schemas.microsoft.com/office/drawing/2014/main" id="{AC7C09CF-9BFD-4576-AD15-7D2179150E99}"/>
                </a:ext>
              </a:extLst>
            </p:cNvPr>
            <p:cNvSpPr>
              <a:spLocks/>
            </p:cNvSpPr>
            <p:nvPr/>
          </p:nvSpPr>
          <p:spPr bwMode="auto">
            <a:xfrm>
              <a:off x="1891" y="1814"/>
              <a:ext cx="1015" cy="586"/>
            </a:xfrm>
            <a:custGeom>
              <a:avLst/>
              <a:gdLst/>
              <a:ahLst/>
              <a:cxnLst>
                <a:cxn ang="0">
                  <a:pos x="1473" y="283"/>
                </a:cxn>
                <a:cxn ang="0">
                  <a:pos x="1951" y="592"/>
                </a:cxn>
                <a:cxn ang="0">
                  <a:pos x="1921" y="639"/>
                </a:cxn>
                <a:cxn ang="0">
                  <a:pos x="1889" y="684"/>
                </a:cxn>
                <a:cxn ang="0">
                  <a:pos x="1854" y="727"/>
                </a:cxn>
                <a:cxn ang="0">
                  <a:pos x="1817" y="769"/>
                </a:cxn>
                <a:cxn ang="0">
                  <a:pos x="1778" y="809"/>
                </a:cxn>
                <a:cxn ang="0">
                  <a:pos x="1738" y="847"/>
                </a:cxn>
                <a:cxn ang="0">
                  <a:pos x="1695" y="883"/>
                </a:cxn>
                <a:cxn ang="0">
                  <a:pos x="1651" y="917"/>
                </a:cxn>
                <a:cxn ang="0">
                  <a:pos x="1606" y="949"/>
                </a:cxn>
                <a:cxn ang="0">
                  <a:pos x="1558" y="978"/>
                </a:cxn>
                <a:cxn ang="0">
                  <a:pos x="1509" y="1006"/>
                </a:cxn>
                <a:cxn ang="0">
                  <a:pos x="1459" y="1030"/>
                </a:cxn>
                <a:cxn ang="0">
                  <a:pos x="1408" y="1052"/>
                </a:cxn>
                <a:cxn ang="0">
                  <a:pos x="1356" y="1072"/>
                </a:cxn>
                <a:cxn ang="0">
                  <a:pos x="1303" y="1089"/>
                </a:cxn>
                <a:cxn ang="0">
                  <a:pos x="1249" y="1103"/>
                </a:cxn>
                <a:cxn ang="0">
                  <a:pos x="1194" y="1115"/>
                </a:cxn>
                <a:cxn ang="0">
                  <a:pos x="1140" y="1124"/>
                </a:cxn>
                <a:cxn ang="0">
                  <a:pos x="1084" y="1130"/>
                </a:cxn>
                <a:cxn ang="0">
                  <a:pos x="1029" y="1134"/>
                </a:cxn>
                <a:cxn ang="0">
                  <a:pos x="973" y="1135"/>
                </a:cxn>
                <a:cxn ang="0">
                  <a:pos x="918" y="1133"/>
                </a:cxn>
                <a:cxn ang="0">
                  <a:pos x="862" y="1128"/>
                </a:cxn>
                <a:cxn ang="0">
                  <a:pos x="807" y="1121"/>
                </a:cxn>
                <a:cxn ang="0">
                  <a:pos x="752" y="1111"/>
                </a:cxn>
                <a:cxn ang="0">
                  <a:pos x="698" y="1099"/>
                </a:cxn>
                <a:cxn ang="0">
                  <a:pos x="644" y="1084"/>
                </a:cxn>
                <a:cxn ang="0">
                  <a:pos x="592" y="1066"/>
                </a:cxn>
                <a:cxn ang="0">
                  <a:pos x="540" y="1045"/>
                </a:cxn>
                <a:cxn ang="0">
                  <a:pos x="489" y="1022"/>
                </a:cxn>
                <a:cxn ang="0">
                  <a:pos x="440" y="997"/>
                </a:cxn>
                <a:cxn ang="0">
                  <a:pos x="383" y="964"/>
                </a:cxn>
                <a:cxn ang="0">
                  <a:pos x="321" y="923"/>
                </a:cxn>
                <a:cxn ang="0">
                  <a:pos x="262" y="877"/>
                </a:cxn>
                <a:cxn ang="0">
                  <a:pos x="234" y="853"/>
                </a:cxn>
                <a:cxn ang="0">
                  <a:pos x="180" y="803"/>
                </a:cxn>
                <a:cxn ang="0">
                  <a:pos x="129" y="749"/>
                </a:cxn>
                <a:cxn ang="0">
                  <a:pos x="105" y="720"/>
                </a:cxn>
                <a:cxn ang="0">
                  <a:pos x="71" y="677"/>
                </a:cxn>
                <a:cxn ang="0">
                  <a:pos x="49" y="646"/>
                </a:cxn>
                <a:cxn ang="0">
                  <a:pos x="19" y="600"/>
                </a:cxn>
                <a:cxn ang="0">
                  <a:pos x="491" y="283"/>
                </a:cxn>
              </a:cxnLst>
              <a:rect l="0" t="0" r="r" b="b"/>
              <a:pathLst>
                <a:path w="1965" h="1135">
                  <a:moveTo>
                    <a:pt x="982" y="0"/>
                  </a:moveTo>
                  <a:lnTo>
                    <a:pt x="1473" y="283"/>
                  </a:lnTo>
                  <a:lnTo>
                    <a:pt x="1965" y="567"/>
                  </a:lnTo>
                  <a:lnTo>
                    <a:pt x="1951" y="592"/>
                  </a:lnTo>
                  <a:lnTo>
                    <a:pt x="1936" y="615"/>
                  </a:lnTo>
                  <a:lnTo>
                    <a:pt x="1921" y="639"/>
                  </a:lnTo>
                  <a:lnTo>
                    <a:pt x="1905" y="662"/>
                  </a:lnTo>
                  <a:lnTo>
                    <a:pt x="1889" y="684"/>
                  </a:lnTo>
                  <a:lnTo>
                    <a:pt x="1871" y="706"/>
                  </a:lnTo>
                  <a:lnTo>
                    <a:pt x="1854" y="727"/>
                  </a:lnTo>
                  <a:lnTo>
                    <a:pt x="1836" y="749"/>
                  </a:lnTo>
                  <a:lnTo>
                    <a:pt x="1817" y="769"/>
                  </a:lnTo>
                  <a:lnTo>
                    <a:pt x="1798" y="790"/>
                  </a:lnTo>
                  <a:lnTo>
                    <a:pt x="1778" y="809"/>
                  </a:lnTo>
                  <a:lnTo>
                    <a:pt x="1758" y="829"/>
                  </a:lnTo>
                  <a:lnTo>
                    <a:pt x="1738" y="847"/>
                  </a:lnTo>
                  <a:lnTo>
                    <a:pt x="1717" y="866"/>
                  </a:lnTo>
                  <a:lnTo>
                    <a:pt x="1695" y="883"/>
                  </a:lnTo>
                  <a:lnTo>
                    <a:pt x="1674" y="901"/>
                  </a:lnTo>
                  <a:lnTo>
                    <a:pt x="1651" y="917"/>
                  </a:lnTo>
                  <a:lnTo>
                    <a:pt x="1629" y="933"/>
                  </a:lnTo>
                  <a:lnTo>
                    <a:pt x="1606" y="949"/>
                  </a:lnTo>
                  <a:lnTo>
                    <a:pt x="1582" y="964"/>
                  </a:lnTo>
                  <a:lnTo>
                    <a:pt x="1558" y="978"/>
                  </a:lnTo>
                  <a:lnTo>
                    <a:pt x="1533" y="992"/>
                  </a:lnTo>
                  <a:lnTo>
                    <a:pt x="1509" y="1006"/>
                  </a:lnTo>
                  <a:lnTo>
                    <a:pt x="1484" y="1018"/>
                  </a:lnTo>
                  <a:lnTo>
                    <a:pt x="1459" y="1030"/>
                  </a:lnTo>
                  <a:lnTo>
                    <a:pt x="1434" y="1042"/>
                  </a:lnTo>
                  <a:lnTo>
                    <a:pt x="1408" y="1052"/>
                  </a:lnTo>
                  <a:lnTo>
                    <a:pt x="1382" y="1063"/>
                  </a:lnTo>
                  <a:lnTo>
                    <a:pt x="1356" y="1072"/>
                  </a:lnTo>
                  <a:lnTo>
                    <a:pt x="1329" y="1081"/>
                  </a:lnTo>
                  <a:lnTo>
                    <a:pt x="1303" y="1089"/>
                  </a:lnTo>
                  <a:lnTo>
                    <a:pt x="1276" y="1096"/>
                  </a:lnTo>
                  <a:lnTo>
                    <a:pt x="1249" y="1103"/>
                  </a:lnTo>
                  <a:lnTo>
                    <a:pt x="1222" y="1109"/>
                  </a:lnTo>
                  <a:lnTo>
                    <a:pt x="1194" y="1115"/>
                  </a:lnTo>
                  <a:lnTo>
                    <a:pt x="1167" y="1120"/>
                  </a:lnTo>
                  <a:lnTo>
                    <a:pt x="1140" y="1124"/>
                  </a:lnTo>
                  <a:lnTo>
                    <a:pt x="1112" y="1127"/>
                  </a:lnTo>
                  <a:lnTo>
                    <a:pt x="1084" y="1130"/>
                  </a:lnTo>
                  <a:lnTo>
                    <a:pt x="1057" y="1132"/>
                  </a:lnTo>
                  <a:lnTo>
                    <a:pt x="1029" y="1134"/>
                  </a:lnTo>
                  <a:lnTo>
                    <a:pt x="1001" y="1135"/>
                  </a:lnTo>
                  <a:lnTo>
                    <a:pt x="973" y="1135"/>
                  </a:lnTo>
                  <a:lnTo>
                    <a:pt x="945" y="1134"/>
                  </a:lnTo>
                  <a:lnTo>
                    <a:pt x="918" y="1133"/>
                  </a:lnTo>
                  <a:lnTo>
                    <a:pt x="890" y="1131"/>
                  </a:lnTo>
                  <a:lnTo>
                    <a:pt x="862" y="1128"/>
                  </a:lnTo>
                  <a:lnTo>
                    <a:pt x="834" y="1125"/>
                  </a:lnTo>
                  <a:lnTo>
                    <a:pt x="807" y="1121"/>
                  </a:lnTo>
                  <a:lnTo>
                    <a:pt x="779" y="1117"/>
                  </a:lnTo>
                  <a:lnTo>
                    <a:pt x="752" y="1111"/>
                  </a:lnTo>
                  <a:lnTo>
                    <a:pt x="725" y="1105"/>
                  </a:lnTo>
                  <a:lnTo>
                    <a:pt x="698" y="1099"/>
                  </a:lnTo>
                  <a:lnTo>
                    <a:pt x="671" y="1092"/>
                  </a:lnTo>
                  <a:lnTo>
                    <a:pt x="644" y="1084"/>
                  </a:lnTo>
                  <a:lnTo>
                    <a:pt x="618" y="1075"/>
                  </a:lnTo>
                  <a:lnTo>
                    <a:pt x="592" y="1066"/>
                  </a:lnTo>
                  <a:lnTo>
                    <a:pt x="566" y="1056"/>
                  </a:lnTo>
                  <a:lnTo>
                    <a:pt x="540" y="1045"/>
                  </a:lnTo>
                  <a:lnTo>
                    <a:pt x="514" y="1034"/>
                  </a:lnTo>
                  <a:lnTo>
                    <a:pt x="489" y="1022"/>
                  </a:lnTo>
                  <a:lnTo>
                    <a:pt x="464" y="1010"/>
                  </a:lnTo>
                  <a:lnTo>
                    <a:pt x="440" y="997"/>
                  </a:lnTo>
                  <a:lnTo>
                    <a:pt x="416" y="983"/>
                  </a:lnTo>
                  <a:lnTo>
                    <a:pt x="383" y="964"/>
                  </a:lnTo>
                  <a:lnTo>
                    <a:pt x="352" y="944"/>
                  </a:lnTo>
                  <a:lnTo>
                    <a:pt x="321" y="923"/>
                  </a:lnTo>
                  <a:lnTo>
                    <a:pt x="291" y="901"/>
                  </a:lnTo>
                  <a:lnTo>
                    <a:pt x="262" y="877"/>
                  </a:lnTo>
                  <a:lnTo>
                    <a:pt x="248" y="866"/>
                  </a:lnTo>
                  <a:lnTo>
                    <a:pt x="234" y="853"/>
                  </a:lnTo>
                  <a:lnTo>
                    <a:pt x="206" y="829"/>
                  </a:lnTo>
                  <a:lnTo>
                    <a:pt x="180" y="803"/>
                  </a:lnTo>
                  <a:lnTo>
                    <a:pt x="154" y="776"/>
                  </a:lnTo>
                  <a:lnTo>
                    <a:pt x="129" y="749"/>
                  </a:lnTo>
                  <a:lnTo>
                    <a:pt x="117" y="735"/>
                  </a:lnTo>
                  <a:lnTo>
                    <a:pt x="105" y="720"/>
                  </a:lnTo>
                  <a:lnTo>
                    <a:pt x="82" y="691"/>
                  </a:lnTo>
                  <a:lnTo>
                    <a:pt x="71" y="677"/>
                  </a:lnTo>
                  <a:lnTo>
                    <a:pt x="60" y="662"/>
                  </a:lnTo>
                  <a:lnTo>
                    <a:pt x="49" y="646"/>
                  </a:lnTo>
                  <a:lnTo>
                    <a:pt x="39" y="631"/>
                  </a:lnTo>
                  <a:lnTo>
                    <a:pt x="19" y="600"/>
                  </a:lnTo>
                  <a:lnTo>
                    <a:pt x="0" y="567"/>
                  </a:lnTo>
                  <a:lnTo>
                    <a:pt x="491" y="283"/>
                  </a:lnTo>
                  <a:lnTo>
                    <a:pt x="982" y="0"/>
                  </a:lnTo>
                  <a:close/>
                </a:path>
              </a:pathLst>
            </a:custGeom>
            <a:solidFill>
              <a:schemeClr val="accent3"/>
            </a:solidFill>
            <a:ln w="6350" cmpd="sng">
              <a:noFill/>
              <a:round/>
              <a:headEnd/>
              <a:tailEnd/>
            </a:ln>
          </p:spPr>
          <p:txBody>
            <a:bodyPr lIns="45720" rIns="45720" anchor="ctr" anchorCtr="1"/>
            <a:lstStyle/>
            <a:p>
              <a:endParaRPr lang="en-US" sz="1100" b="1"/>
            </a:p>
          </p:txBody>
        </p:sp>
        <p:sp>
          <p:nvSpPr>
            <p:cNvPr id="99" name="Freeform 99">
              <a:extLst>
                <a:ext uri="{FF2B5EF4-FFF2-40B4-BE49-F238E27FC236}">
                  <a16:creationId xmlns:a16="http://schemas.microsoft.com/office/drawing/2014/main" id="{192F05D3-D2D3-422E-9030-9530C527E4CE}"/>
                </a:ext>
              </a:extLst>
            </p:cNvPr>
            <p:cNvSpPr>
              <a:spLocks/>
            </p:cNvSpPr>
            <p:nvPr/>
          </p:nvSpPr>
          <p:spPr bwMode="auto">
            <a:xfrm>
              <a:off x="1812" y="1228"/>
              <a:ext cx="586" cy="879"/>
            </a:xfrm>
            <a:custGeom>
              <a:avLst/>
              <a:gdLst/>
              <a:ahLst/>
              <a:cxnLst>
                <a:cxn ang="0">
                  <a:pos x="644" y="1418"/>
                </a:cxn>
                <a:cxn ang="0">
                  <a:pos x="139" y="1678"/>
                </a:cxn>
                <a:cxn ang="0">
                  <a:pos x="113" y="1628"/>
                </a:cxn>
                <a:cxn ang="0">
                  <a:pos x="91" y="1577"/>
                </a:cxn>
                <a:cxn ang="0">
                  <a:pos x="70" y="1526"/>
                </a:cxn>
                <a:cxn ang="0">
                  <a:pos x="52" y="1473"/>
                </a:cxn>
                <a:cxn ang="0">
                  <a:pos x="37" y="1419"/>
                </a:cxn>
                <a:cxn ang="0">
                  <a:pos x="24" y="1365"/>
                </a:cxn>
                <a:cxn ang="0">
                  <a:pos x="14" y="1311"/>
                </a:cxn>
                <a:cxn ang="0">
                  <a:pos x="7" y="1255"/>
                </a:cxn>
                <a:cxn ang="0">
                  <a:pos x="2" y="1200"/>
                </a:cxn>
                <a:cxn ang="0">
                  <a:pos x="0" y="1144"/>
                </a:cxn>
                <a:cxn ang="0">
                  <a:pos x="1" y="1089"/>
                </a:cxn>
                <a:cxn ang="0">
                  <a:pos x="5" y="1033"/>
                </a:cxn>
                <a:cxn ang="0">
                  <a:pos x="11" y="978"/>
                </a:cxn>
                <a:cxn ang="0">
                  <a:pos x="20" y="923"/>
                </a:cxn>
                <a:cxn ang="0">
                  <a:pos x="32" y="868"/>
                </a:cxn>
                <a:cxn ang="0">
                  <a:pos x="47" y="815"/>
                </a:cxn>
                <a:cxn ang="0">
                  <a:pos x="55" y="788"/>
                </a:cxn>
                <a:cxn ang="0">
                  <a:pos x="73" y="736"/>
                </a:cxn>
                <a:cxn ang="0">
                  <a:pos x="94" y="684"/>
                </a:cxn>
                <a:cxn ang="0">
                  <a:pos x="118" y="633"/>
                </a:cxn>
                <a:cxn ang="0">
                  <a:pos x="143" y="584"/>
                </a:cxn>
                <a:cxn ang="0">
                  <a:pos x="172" y="535"/>
                </a:cxn>
                <a:cxn ang="0">
                  <a:pos x="202" y="489"/>
                </a:cxn>
                <a:cxn ang="0">
                  <a:pos x="235" y="444"/>
                </a:cxn>
                <a:cxn ang="0">
                  <a:pos x="270" y="400"/>
                </a:cxn>
                <a:cxn ang="0">
                  <a:pos x="307" y="359"/>
                </a:cxn>
                <a:cxn ang="0">
                  <a:pos x="346" y="319"/>
                </a:cxn>
                <a:cxn ang="0">
                  <a:pos x="387" y="281"/>
                </a:cxn>
                <a:cxn ang="0">
                  <a:pos x="429" y="246"/>
                </a:cxn>
                <a:cxn ang="0">
                  <a:pos x="474" y="212"/>
                </a:cxn>
                <a:cxn ang="0">
                  <a:pos x="520" y="181"/>
                </a:cxn>
                <a:cxn ang="0">
                  <a:pos x="569" y="152"/>
                </a:cxn>
                <a:cxn ang="0">
                  <a:pos x="601" y="134"/>
                </a:cxn>
                <a:cxn ang="0">
                  <a:pos x="651" y="109"/>
                </a:cxn>
                <a:cxn ang="0">
                  <a:pos x="702" y="86"/>
                </a:cxn>
                <a:cxn ang="0">
                  <a:pos x="771" y="60"/>
                </a:cxn>
                <a:cxn ang="0">
                  <a:pos x="842" y="39"/>
                </a:cxn>
                <a:cxn ang="0">
                  <a:pos x="896" y="26"/>
                </a:cxn>
                <a:cxn ang="0">
                  <a:pos x="951" y="15"/>
                </a:cxn>
                <a:cxn ang="0">
                  <a:pos x="1024" y="5"/>
                </a:cxn>
                <a:cxn ang="0">
                  <a:pos x="1080" y="1"/>
                </a:cxn>
                <a:cxn ang="0">
                  <a:pos x="1117" y="0"/>
                </a:cxn>
                <a:cxn ang="0">
                  <a:pos x="1135" y="568"/>
                </a:cxn>
              </a:cxnLst>
              <a:rect l="0" t="0" r="r" b="b"/>
              <a:pathLst>
                <a:path w="1135" h="1702">
                  <a:moveTo>
                    <a:pt x="1135" y="1135"/>
                  </a:moveTo>
                  <a:lnTo>
                    <a:pt x="644" y="1418"/>
                  </a:lnTo>
                  <a:lnTo>
                    <a:pt x="153" y="1702"/>
                  </a:lnTo>
                  <a:lnTo>
                    <a:pt x="139" y="1678"/>
                  </a:lnTo>
                  <a:lnTo>
                    <a:pt x="126" y="1653"/>
                  </a:lnTo>
                  <a:lnTo>
                    <a:pt x="113" y="1628"/>
                  </a:lnTo>
                  <a:lnTo>
                    <a:pt x="102" y="1603"/>
                  </a:lnTo>
                  <a:lnTo>
                    <a:pt x="91" y="1577"/>
                  </a:lnTo>
                  <a:lnTo>
                    <a:pt x="80" y="1552"/>
                  </a:lnTo>
                  <a:lnTo>
                    <a:pt x="70" y="1526"/>
                  </a:lnTo>
                  <a:lnTo>
                    <a:pt x="61" y="1499"/>
                  </a:lnTo>
                  <a:lnTo>
                    <a:pt x="52" y="1473"/>
                  </a:lnTo>
                  <a:lnTo>
                    <a:pt x="44" y="1446"/>
                  </a:lnTo>
                  <a:lnTo>
                    <a:pt x="37" y="1419"/>
                  </a:lnTo>
                  <a:lnTo>
                    <a:pt x="30" y="1392"/>
                  </a:lnTo>
                  <a:lnTo>
                    <a:pt x="24" y="1365"/>
                  </a:lnTo>
                  <a:lnTo>
                    <a:pt x="19" y="1338"/>
                  </a:lnTo>
                  <a:lnTo>
                    <a:pt x="14" y="1311"/>
                  </a:lnTo>
                  <a:lnTo>
                    <a:pt x="10" y="1283"/>
                  </a:lnTo>
                  <a:lnTo>
                    <a:pt x="7" y="1255"/>
                  </a:lnTo>
                  <a:lnTo>
                    <a:pt x="4" y="1228"/>
                  </a:lnTo>
                  <a:lnTo>
                    <a:pt x="2" y="1200"/>
                  </a:lnTo>
                  <a:lnTo>
                    <a:pt x="1" y="1172"/>
                  </a:lnTo>
                  <a:lnTo>
                    <a:pt x="0" y="1144"/>
                  </a:lnTo>
                  <a:lnTo>
                    <a:pt x="1" y="1116"/>
                  </a:lnTo>
                  <a:lnTo>
                    <a:pt x="1" y="1089"/>
                  </a:lnTo>
                  <a:lnTo>
                    <a:pt x="3" y="1061"/>
                  </a:lnTo>
                  <a:lnTo>
                    <a:pt x="5" y="1033"/>
                  </a:lnTo>
                  <a:lnTo>
                    <a:pt x="8" y="1005"/>
                  </a:lnTo>
                  <a:lnTo>
                    <a:pt x="11" y="978"/>
                  </a:lnTo>
                  <a:lnTo>
                    <a:pt x="15" y="950"/>
                  </a:lnTo>
                  <a:lnTo>
                    <a:pt x="20" y="923"/>
                  </a:lnTo>
                  <a:lnTo>
                    <a:pt x="26" y="896"/>
                  </a:lnTo>
                  <a:lnTo>
                    <a:pt x="32" y="868"/>
                  </a:lnTo>
                  <a:lnTo>
                    <a:pt x="39" y="842"/>
                  </a:lnTo>
                  <a:lnTo>
                    <a:pt x="47" y="815"/>
                  </a:lnTo>
                  <a:lnTo>
                    <a:pt x="51" y="801"/>
                  </a:lnTo>
                  <a:lnTo>
                    <a:pt x="55" y="788"/>
                  </a:lnTo>
                  <a:lnTo>
                    <a:pt x="64" y="762"/>
                  </a:lnTo>
                  <a:lnTo>
                    <a:pt x="73" y="736"/>
                  </a:lnTo>
                  <a:lnTo>
                    <a:pt x="83" y="710"/>
                  </a:lnTo>
                  <a:lnTo>
                    <a:pt x="94" y="684"/>
                  </a:lnTo>
                  <a:lnTo>
                    <a:pt x="106" y="659"/>
                  </a:lnTo>
                  <a:lnTo>
                    <a:pt x="118" y="633"/>
                  </a:lnTo>
                  <a:lnTo>
                    <a:pt x="130" y="609"/>
                  </a:lnTo>
                  <a:lnTo>
                    <a:pt x="143" y="584"/>
                  </a:lnTo>
                  <a:lnTo>
                    <a:pt x="157" y="559"/>
                  </a:lnTo>
                  <a:lnTo>
                    <a:pt x="172" y="535"/>
                  </a:lnTo>
                  <a:lnTo>
                    <a:pt x="187" y="512"/>
                  </a:lnTo>
                  <a:lnTo>
                    <a:pt x="202" y="489"/>
                  </a:lnTo>
                  <a:lnTo>
                    <a:pt x="218" y="466"/>
                  </a:lnTo>
                  <a:lnTo>
                    <a:pt x="235" y="444"/>
                  </a:lnTo>
                  <a:lnTo>
                    <a:pt x="252" y="422"/>
                  </a:lnTo>
                  <a:lnTo>
                    <a:pt x="270" y="400"/>
                  </a:lnTo>
                  <a:lnTo>
                    <a:pt x="288" y="379"/>
                  </a:lnTo>
                  <a:lnTo>
                    <a:pt x="307" y="359"/>
                  </a:lnTo>
                  <a:lnTo>
                    <a:pt x="326" y="339"/>
                  </a:lnTo>
                  <a:lnTo>
                    <a:pt x="346" y="319"/>
                  </a:lnTo>
                  <a:lnTo>
                    <a:pt x="366" y="300"/>
                  </a:lnTo>
                  <a:lnTo>
                    <a:pt x="387" y="281"/>
                  </a:lnTo>
                  <a:lnTo>
                    <a:pt x="408" y="263"/>
                  </a:lnTo>
                  <a:lnTo>
                    <a:pt x="429" y="246"/>
                  </a:lnTo>
                  <a:lnTo>
                    <a:pt x="451" y="228"/>
                  </a:lnTo>
                  <a:lnTo>
                    <a:pt x="474" y="212"/>
                  </a:lnTo>
                  <a:lnTo>
                    <a:pt x="497" y="196"/>
                  </a:lnTo>
                  <a:lnTo>
                    <a:pt x="520" y="181"/>
                  </a:lnTo>
                  <a:lnTo>
                    <a:pt x="543" y="166"/>
                  </a:lnTo>
                  <a:lnTo>
                    <a:pt x="569" y="152"/>
                  </a:lnTo>
                  <a:lnTo>
                    <a:pt x="585" y="143"/>
                  </a:lnTo>
                  <a:lnTo>
                    <a:pt x="601" y="134"/>
                  </a:lnTo>
                  <a:lnTo>
                    <a:pt x="634" y="117"/>
                  </a:lnTo>
                  <a:lnTo>
                    <a:pt x="651" y="109"/>
                  </a:lnTo>
                  <a:lnTo>
                    <a:pt x="668" y="101"/>
                  </a:lnTo>
                  <a:lnTo>
                    <a:pt x="702" y="86"/>
                  </a:lnTo>
                  <a:lnTo>
                    <a:pt x="736" y="73"/>
                  </a:lnTo>
                  <a:lnTo>
                    <a:pt x="771" y="60"/>
                  </a:lnTo>
                  <a:lnTo>
                    <a:pt x="806" y="49"/>
                  </a:lnTo>
                  <a:lnTo>
                    <a:pt x="842" y="39"/>
                  </a:lnTo>
                  <a:lnTo>
                    <a:pt x="878" y="30"/>
                  </a:lnTo>
                  <a:lnTo>
                    <a:pt x="896" y="26"/>
                  </a:lnTo>
                  <a:lnTo>
                    <a:pt x="914" y="22"/>
                  </a:lnTo>
                  <a:lnTo>
                    <a:pt x="951" y="15"/>
                  </a:lnTo>
                  <a:lnTo>
                    <a:pt x="987" y="10"/>
                  </a:lnTo>
                  <a:lnTo>
                    <a:pt x="1024" y="5"/>
                  </a:lnTo>
                  <a:lnTo>
                    <a:pt x="1061" y="2"/>
                  </a:lnTo>
                  <a:lnTo>
                    <a:pt x="1080" y="1"/>
                  </a:lnTo>
                  <a:lnTo>
                    <a:pt x="1098" y="1"/>
                  </a:lnTo>
                  <a:lnTo>
                    <a:pt x="1117" y="0"/>
                  </a:lnTo>
                  <a:lnTo>
                    <a:pt x="1135" y="0"/>
                  </a:lnTo>
                  <a:lnTo>
                    <a:pt x="1135" y="568"/>
                  </a:lnTo>
                  <a:lnTo>
                    <a:pt x="1135" y="1135"/>
                  </a:lnTo>
                  <a:close/>
                </a:path>
              </a:pathLst>
            </a:custGeom>
            <a:pattFill prst="wdUpDiag">
              <a:fgClr>
                <a:schemeClr val="tx2">
                  <a:lumMod val="20000"/>
                  <a:lumOff val="80000"/>
                </a:schemeClr>
              </a:fgClr>
              <a:bgClr>
                <a:schemeClr val="bg1"/>
              </a:bgClr>
            </a:pattFill>
            <a:ln w="6350" cmpd="sng">
              <a:noFill/>
              <a:round/>
              <a:headEnd/>
              <a:tailEnd/>
            </a:ln>
          </p:spPr>
          <p:txBody>
            <a:bodyPr lIns="45720" rIns="45720" anchor="ctr" anchorCtr="1"/>
            <a:lstStyle/>
            <a:p>
              <a:endParaRPr lang="en-US" sz="1100" b="1"/>
            </a:p>
          </p:txBody>
        </p:sp>
        <p:sp>
          <p:nvSpPr>
            <p:cNvPr id="100" name="Text Box 100">
              <a:extLst>
                <a:ext uri="{FF2B5EF4-FFF2-40B4-BE49-F238E27FC236}">
                  <a16:creationId xmlns:a16="http://schemas.microsoft.com/office/drawing/2014/main" id="{0F0F0CB8-A37C-4FAF-980B-D17CBB546907}"/>
                </a:ext>
              </a:extLst>
            </p:cNvPr>
            <p:cNvSpPr txBox="1">
              <a:spLocks noChangeArrowheads="1"/>
            </p:cNvSpPr>
            <p:nvPr/>
          </p:nvSpPr>
          <p:spPr bwMode="auto">
            <a:xfrm>
              <a:off x="1976" y="1587"/>
              <a:ext cx="259" cy="161"/>
            </a:xfrm>
            <a:prstGeom prst="rect">
              <a:avLst/>
            </a:prstGeom>
            <a:noFill/>
            <a:ln w="6350">
              <a:noFill/>
              <a:miter lim="800000"/>
              <a:headEnd/>
              <a:tailEnd/>
            </a:ln>
            <a:effectLst/>
          </p:spPr>
          <p:txBody>
            <a:bodyPr lIns="45720" rIns="45720" anchor="ctr" anchorCtr="1"/>
            <a:lstStyle/>
            <a:p>
              <a:pPr eaLnBrk="0" hangingPunct="0"/>
              <a:r>
                <a:rPr lang="en-US" sz="1100" dirty="0">
                  <a:solidFill>
                    <a:schemeClr val="tx1"/>
                  </a:solidFill>
                </a:rPr>
                <a:t>Text</a:t>
              </a:r>
            </a:p>
          </p:txBody>
        </p:sp>
        <p:sp>
          <p:nvSpPr>
            <p:cNvPr id="101" name="Text Box 101">
              <a:extLst>
                <a:ext uri="{FF2B5EF4-FFF2-40B4-BE49-F238E27FC236}">
                  <a16:creationId xmlns:a16="http://schemas.microsoft.com/office/drawing/2014/main" id="{735731AB-2B2A-4265-8556-8BAE1A91F30F}"/>
                </a:ext>
              </a:extLst>
            </p:cNvPr>
            <p:cNvSpPr txBox="1">
              <a:spLocks noChangeArrowheads="1"/>
            </p:cNvSpPr>
            <p:nvPr/>
          </p:nvSpPr>
          <p:spPr bwMode="auto">
            <a:xfrm>
              <a:off x="2269" y="2027"/>
              <a:ext cx="259" cy="161"/>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02" name="Text Box 102">
              <a:extLst>
                <a:ext uri="{FF2B5EF4-FFF2-40B4-BE49-F238E27FC236}">
                  <a16:creationId xmlns:a16="http://schemas.microsoft.com/office/drawing/2014/main" id="{28375C91-F837-490E-AA40-819B42F8CC08}"/>
                </a:ext>
              </a:extLst>
            </p:cNvPr>
            <p:cNvSpPr txBox="1">
              <a:spLocks noChangeArrowheads="1"/>
            </p:cNvSpPr>
            <p:nvPr/>
          </p:nvSpPr>
          <p:spPr bwMode="auto">
            <a:xfrm>
              <a:off x="2561" y="1587"/>
              <a:ext cx="259" cy="161"/>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103" name="Group 102">
            <a:extLst>
              <a:ext uri="{FF2B5EF4-FFF2-40B4-BE49-F238E27FC236}">
                <a16:creationId xmlns:a16="http://schemas.microsoft.com/office/drawing/2014/main" id="{DC1A2327-30D7-43FF-A3C9-B94360D8A81A}"/>
              </a:ext>
            </a:extLst>
          </p:cNvPr>
          <p:cNvGrpSpPr/>
          <p:nvPr/>
        </p:nvGrpSpPr>
        <p:grpSpPr bwMode="auto">
          <a:xfrm>
            <a:off x="8370822" y="1766232"/>
            <a:ext cx="1841500" cy="1851025"/>
            <a:chOff x="6985000" y="1638325"/>
            <a:chExt cx="1841500" cy="1851025"/>
          </a:xfrm>
        </p:grpSpPr>
        <p:sp>
          <p:nvSpPr>
            <p:cNvPr id="104" name="Freeform 104">
              <a:extLst>
                <a:ext uri="{FF2B5EF4-FFF2-40B4-BE49-F238E27FC236}">
                  <a16:creationId xmlns:a16="http://schemas.microsoft.com/office/drawing/2014/main" id="{C132677B-568A-4740-BE49-00B5AD027685}"/>
                </a:ext>
              </a:extLst>
            </p:cNvPr>
            <p:cNvSpPr>
              <a:spLocks/>
            </p:cNvSpPr>
            <p:nvPr/>
          </p:nvSpPr>
          <p:spPr bwMode="auto">
            <a:xfrm>
              <a:off x="7896225" y="2281262"/>
              <a:ext cx="930275" cy="1039813"/>
            </a:xfrm>
            <a:custGeom>
              <a:avLst/>
              <a:gdLst/>
              <a:ahLst/>
              <a:cxnLst>
                <a:cxn ang="0">
                  <a:pos x="0" y="350"/>
                </a:cxn>
                <a:cxn ang="0">
                  <a:pos x="539" y="175"/>
                </a:cxn>
                <a:cxn ang="0">
                  <a:pos x="1079" y="0"/>
                </a:cxn>
                <a:cxn ang="0">
                  <a:pos x="1087" y="27"/>
                </a:cxn>
                <a:cxn ang="0">
                  <a:pos x="1095" y="53"/>
                </a:cxn>
                <a:cxn ang="0">
                  <a:pos x="1102" y="80"/>
                </a:cxn>
                <a:cxn ang="0">
                  <a:pos x="1108" y="108"/>
                </a:cxn>
                <a:cxn ang="0">
                  <a:pos x="1114" y="135"/>
                </a:cxn>
                <a:cxn ang="0">
                  <a:pos x="1119" y="162"/>
                </a:cxn>
                <a:cxn ang="0">
                  <a:pos x="1123" y="190"/>
                </a:cxn>
                <a:cxn ang="0">
                  <a:pos x="1127" y="217"/>
                </a:cxn>
                <a:cxn ang="0">
                  <a:pos x="1130" y="245"/>
                </a:cxn>
                <a:cxn ang="0">
                  <a:pos x="1132" y="273"/>
                </a:cxn>
                <a:cxn ang="0">
                  <a:pos x="1133" y="300"/>
                </a:cxn>
                <a:cxn ang="0">
                  <a:pos x="1134" y="328"/>
                </a:cxn>
                <a:cxn ang="0">
                  <a:pos x="1134" y="356"/>
                </a:cxn>
                <a:cxn ang="0">
                  <a:pos x="1134" y="384"/>
                </a:cxn>
                <a:cxn ang="0">
                  <a:pos x="1133" y="412"/>
                </a:cxn>
                <a:cxn ang="0">
                  <a:pos x="1131" y="439"/>
                </a:cxn>
                <a:cxn ang="0">
                  <a:pos x="1129" y="467"/>
                </a:cxn>
                <a:cxn ang="0">
                  <a:pos x="1125" y="495"/>
                </a:cxn>
                <a:cxn ang="0">
                  <a:pos x="1122" y="522"/>
                </a:cxn>
                <a:cxn ang="0">
                  <a:pos x="1117" y="550"/>
                </a:cxn>
                <a:cxn ang="0">
                  <a:pos x="1115" y="563"/>
                </a:cxn>
                <a:cxn ang="0">
                  <a:pos x="1112" y="577"/>
                </a:cxn>
                <a:cxn ang="0">
                  <a:pos x="1106" y="604"/>
                </a:cxn>
                <a:cxn ang="0">
                  <a:pos x="1100" y="631"/>
                </a:cxn>
                <a:cxn ang="0">
                  <a:pos x="1092" y="658"/>
                </a:cxn>
                <a:cxn ang="0">
                  <a:pos x="1084" y="685"/>
                </a:cxn>
                <a:cxn ang="0">
                  <a:pos x="1076" y="711"/>
                </a:cxn>
                <a:cxn ang="0">
                  <a:pos x="1067" y="738"/>
                </a:cxn>
                <a:cxn ang="0">
                  <a:pos x="1057" y="764"/>
                </a:cxn>
                <a:cxn ang="0">
                  <a:pos x="1046" y="789"/>
                </a:cxn>
                <a:cxn ang="0">
                  <a:pos x="1035" y="815"/>
                </a:cxn>
                <a:cxn ang="0">
                  <a:pos x="1023" y="840"/>
                </a:cxn>
                <a:cxn ang="0">
                  <a:pos x="1011" y="865"/>
                </a:cxn>
                <a:cxn ang="0">
                  <a:pos x="995" y="895"/>
                </a:cxn>
                <a:cxn ang="0">
                  <a:pos x="987" y="909"/>
                </a:cxn>
                <a:cxn ang="0">
                  <a:pos x="979" y="925"/>
                </a:cxn>
                <a:cxn ang="0">
                  <a:pos x="962" y="953"/>
                </a:cxn>
                <a:cxn ang="0">
                  <a:pos x="943" y="981"/>
                </a:cxn>
                <a:cxn ang="0">
                  <a:pos x="924" y="1009"/>
                </a:cxn>
                <a:cxn ang="0">
                  <a:pos x="905" y="1036"/>
                </a:cxn>
                <a:cxn ang="0">
                  <a:pos x="894" y="1049"/>
                </a:cxn>
                <a:cxn ang="0">
                  <a:pos x="884" y="1062"/>
                </a:cxn>
                <a:cxn ang="0">
                  <a:pos x="863" y="1088"/>
                </a:cxn>
                <a:cxn ang="0">
                  <a:pos x="841" y="1113"/>
                </a:cxn>
                <a:cxn ang="0">
                  <a:pos x="818" y="1137"/>
                </a:cxn>
                <a:cxn ang="0">
                  <a:pos x="795" y="1161"/>
                </a:cxn>
                <a:cxn ang="0">
                  <a:pos x="770" y="1184"/>
                </a:cxn>
                <a:cxn ang="0">
                  <a:pos x="745" y="1206"/>
                </a:cxn>
                <a:cxn ang="0">
                  <a:pos x="720" y="1228"/>
                </a:cxn>
                <a:cxn ang="0">
                  <a:pos x="707" y="1238"/>
                </a:cxn>
                <a:cxn ang="0">
                  <a:pos x="694" y="1249"/>
                </a:cxn>
                <a:cxn ang="0">
                  <a:pos x="667" y="1269"/>
                </a:cxn>
                <a:cxn ang="0">
                  <a:pos x="333" y="809"/>
                </a:cxn>
                <a:cxn ang="0">
                  <a:pos x="0" y="350"/>
                </a:cxn>
              </a:cxnLst>
              <a:rect l="0" t="0" r="r" b="b"/>
              <a:pathLst>
                <a:path w="1134" h="1269">
                  <a:moveTo>
                    <a:pt x="0" y="350"/>
                  </a:moveTo>
                  <a:lnTo>
                    <a:pt x="539" y="175"/>
                  </a:lnTo>
                  <a:lnTo>
                    <a:pt x="1079" y="0"/>
                  </a:lnTo>
                  <a:lnTo>
                    <a:pt x="1087" y="27"/>
                  </a:lnTo>
                  <a:lnTo>
                    <a:pt x="1095" y="53"/>
                  </a:lnTo>
                  <a:lnTo>
                    <a:pt x="1102" y="80"/>
                  </a:lnTo>
                  <a:lnTo>
                    <a:pt x="1108" y="108"/>
                  </a:lnTo>
                  <a:lnTo>
                    <a:pt x="1114" y="135"/>
                  </a:lnTo>
                  <a:lnTo>
                    <a:pt x="1119" y="162"/>
                  </a:lnTo>
                  <a:lnTo>
                    <a:pt x="1123" y="190"/>
                  </a:lnTo>
                  <a:lnTo>
                    <a:pt x="1127" y="217"/>
                  </a:lnTo>
                  <a:lnTo>
                    <a:pt x="1130" y="245"/>
                  </a:lnTo>
                  <a:lnTo>
                    <a:pt x="1132" y="273"/>
                  </a:lnTo>
                  <a:lnTo>
                    <a:pt x="1133" y="300"/>
                  </a:lnTo>
                  <a:lnTo>
                    <a:pt x="1134" y="328"/>
                  </a:lnTo>
                  <a:lnTo>
                    <a:pt x="1134" y="356"/>
                  </a:lnTo>
                  <a:lnTo>
                    <a:pt x="1134" y="384"/>
                  </a:lnTo>
                  <a:lnTo>
                    <a:pt x="1133" y="412"/>
                  </a:lnTo>
                  <a:lnTo>
                    <a:pt x="1131" y="439"/>
                  </a:lnTo>
                  <a:lnTo>
                    <a:pt x="1129" y="467"/>
                  </a:lnTo>
                  <a:lnTo>
                    <a:pt x="1125" y="495"/>
                  </a:lnTo>
                  <a:lnTo>
                    <a:pt x="1122" y="522"/>
                  </a:lnTo>
                  <a:lnTo>
                    <a:pt x="1117" y="550"/>
                  </a:lnTo>
                  <a:lnTo>
                    <a:pt x="1115" y="563"/>
                  </a:lnTo>
                  <a:lnTo>
                    <a:pt x="1112" y="577"/>
                  </a:lnTo>
                  <a:lnTo>
                    <a:pt x="1106" y="604"/>
                  </a:lnTo>
                  <a:lnTo>
                    <a:pt x="1100" y="631"/>
                  </a:lnTo>
                  <a:lnTo>
                    <a:pt x="1092" y="658"/>
                  </a:lnTo>
                  <a:lnTo>
                    <a:pt x="1084" y="685"/>
                  </a:lnTo>
                  <a:lnTo>
                    <a:pt x="1076" y="711"/>
                  </a:lnTo>
                  <a:lnTo>
                    <a:pt x="1067" y="738"/>
                  </a:lnTo>
                  <a:lnTo>
                    <a:pt x="1057" y="764"/>
                  </a:lnTo>
                  <a:lnTo>
                    <a:pt x="1046" y="789"/>
                  </a:lnTo>
                  <a:lnTo>
                    <a:pt x="1035" y="815"/>
                  </a:lnTo>
                  <a:lnTo>
                    <a:pt x="1023" y="840"/>
                  </a:lnTo>
                  <a:lnTo>
                    <a:pt x="1011" y="865"/>
                  </a:lnTo>
                  <a:lnTo>
                    <a:pt x="995" y="895"/>
                  </a:lnTo>
                  <a:lnTo>
                    <a:pt x="987" y="909"/>
                  </a:lnTo>
                  <a:lnTo>
                    <a:pt x="979" y="925"/>
                  </a:lnTo>
                  <a:lnTo>
                    <a:pt x="962" y="953"/>
                  </a:lnTo>
                  <a:lnTo>
                    <a:pt x="943" y="981"/>
                  </a:lnTo>
                  <a:lnTo>
                    <a:pt x="924" y="1009"/>
                  </a:lnTo>
                  <a:lnTo>
                    <a:pt x="905" y="1036"/>
                  </a:lnTo>
                  <a:lnTo>
                    <a:pt x="894" y="1049"/>
                  </a:lnTo>
                  <a:lnTo>
                    <a:pt x="884" y="1062"/>
                  </a:lnTo>
                  <a:lnTo>
                    <a:pt x="863" y="1088"/>
                  </a:lnTo>
                  <a:lnTo>
                    <a:pt x="841" y="1113"/>
                  </a:lnTo>
                  <a:lnTo>
                    <a:pt x="818" y="1137"/>
                  </a:lnTo>
                  <a:lnTo>
                    <a:pt x="795" y="1161"/>
                  </a:lnTo>
                  <a:lnTo>
                    <a:pt x="770" y="1184"/>
                  </a:lnTo>
                  <a:lnTo>
                    <a:pt x="745" y="1206"/>
                  </a:lnTo>
                  <a:lnTo>
                    <a:pt x="720" y="1228"/>
                  </a:lnTo>
                  <a:lnTo>
                    <a:pt x="707" y="1238"/>
                  </a:lnTo>
                  <a:lnTo>
                    <a:pt x="694" y="1249"/>
                  </a:lnTo>
                  <a:lnTo>
                    <a:pt x="667" y="1269"/>
                  </a:lnTo>
                  <a:lnTo>
                    <a:pt x="333" y="809"/>
                  </a:lnTo>
                  <a:lnTo>
                    <a:pt x="0" y="35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5" name="Freeform 105">
              <a:extLst>
                <a:ext uri="{FF2B5EF4-FFF2-40B4-BE49-F238E27FC236}">
                  <a16:creationId xmlns:a16="http://schemas.microsoft.com/office/drawing/2014/main" id="{32557BDC-8CD7-4D5C-8633-2EE695403231}"/>
                </a:ext>
              </a:extLst>
            </p:cNvPr>
            <p:cNvSpPr>
              <a:spLocks/>
            </p:cNvSpPr>
            <p:nvPr/>
          </p:nvSpPr>
          <p:spPr bwMode="auto">
            <a:xfrm>
              <a:off x="7896225" y="1638325"/>
              <a:ext cx="885825" cy="930275"/>
            </a:xfrm>
            <a:custGeom>
              <a:avLst/>
              <a:gdLst/>
              <a:ahLst/>
              <a:cxnLst>
                <a:cxn ang="0">
                  <a:pos x="0" y="1134"/>
                </a:cxn>
                <a:cxn ang="0">
                  <a:pos x="0" y="567"/>
                </a:cxn>
                <a:cxn ang="0">
                  <a:pos x="0" y="0"/>
                </a:cxn>
                <a:cxn ang="0">
                  <a:pos x="27" y="0"/>
                </a:cxn>
                <a:cxn ang="0">
                  <a:pos x="55" y="1"/>
                </a:cxn>
                <a:cxn ang="0">
                  <a:pos x="83" y="3"/>
                </a:cxn>
                <a:cxn ang="0">
                  <a:pos x="111" y="5"/>
                </a:cxn>
                <a:cxn ang="0">
                  <a:pos x="138" y="8"/>
                </a:cxn>
                <a:cxn ang="0">
                  <a:pos x="166" y="12"/>
                </a:cxn>
                <a:cxn ang="0">
                  <a:pos x="193" y="16"/>
                </a:cxn>
                <a:cxn ang="0">
                  <a:pos x="221" y="22"/>
                </a:cxn>
                <a:cxn ang="0">
                  <a:pos x="248" y="27"/>
                </a:cxn>
                <a:cxn ang="0">
                  <a:pos x="275" y="34"/>
                </a:cxn>
                <a:cxn ang="0">
                  <a:pos x="302" y="41"/>
                </a:cxn>
                <a:cxn ang="0">
                  <a:pos x="329" y="49"/>
                </a:cxn>
                <a:cxn ang="0">
                  <a:pos x="355" y="57"/>
                </a:cxn>
                <a:cxn ang="0">
                  <a:pos x="382" y="66"/>
                </a:cxn>
                <a:cxn ang="0">
                  <a:pos x="395" y="71"/>
                </a:cxn>
                <a:cxn ang="0">
                  <a:pos x="408" y="76"/>
                </a:cxn>
                <a:cxn ang="0">
                  <a:pos x="434" y="86"/>
                </a:cxn>
                <a:cxn ang="0">
                  <a:pos x="459" y="97"/>
                </a:cxn>
                <a:cxn ang="0">
                  <a:pos x="484" y="109"/>
                </a:cxn>
                <a:cxn ang="0">
                  <a:pos x="509" y="121"/>
                </a:cxn>
                <a:cxn ang="0">
                  <a:pos x="534" y="134"/>
                </a:cxn>
                <a:cxn ang="0">
                  <a:pos x="559" y="147"/>
                </a:cxn>
                <a:cxn ang="0">
                  <a:pos x="584" y="161"/>
                </a:cxn>
                <a:cxn ang="0">
                  <a:pos x="607" y="175"/>
                </a:cxn>
                <a:cxn ang="0">
                  <a:pos x="631" y="190"/>
                </a:cxn>
                <a:cxn ang="0">
                  <a:pos x="654" y="206"/>
                </a:cxn>
                <a:cxn ang="0">
                  <a:pos x="676" y="222"/>
                </a:cxn>
                <a:cxn ang="0">
                  <a:pos x="698" y="239"/>
                </a:cxn>
                <a:cxn ang="0">
                  <a:pos x="720" y="257"/>
                </a:cxn>
                <a:cxn ang="0">
                  <a:pos x="741" y="275"/>
                </a:cxn>
                <a:cxn ang="0">
                  <a:pos x="762" y="293"/>
                </a:cxn>
                <a:cxn ang="0">
                  <a:pos x="772" y="303"/>
                </a:cxn>
                <a:cxn ang="0">
                  <a:pos x="783" y="312"/>
                </a:cxn>
                <a:cxn ang="0">
                  <a:pos x="802" y="332"/>
                </a:cxn>
                <a:cxn ang="0">
                  <a:pos x="814" y="344"/>
                </a:cxn>
                <a:cxn ang="0">
                  <a:pos x="826" y="356"/>
                </a:cxn>
                <a:cxn ang="0">
                  <a:pos x="837" y="368"/>
                </a:cxn>
                <a:cxn ang="0">
                  <a:pos x="848" y="380"/>
                </a:cxn>
                <a:cxn ang="0">
                  <a:pos x="859" y="393"/>
                </a:cxn>
                <a:cxn ang="0">
                  <a:pos x="870" y="406"/>
                </a:cxn>
                <a:cxn ang="0">
                  <a:pos x="881" y="419"/>
                </a:cxn>
                <a:cxn ang="0">
                  <a:pos x="891" y="432"/>
                </a:cxn>
                <a:cxn ang="0">
                  <a:pos x="901" y="445"/>
                </a:cxn>
                <a:cxn ang="0">
                  <a:pos x="911" y="458"/>
                </a:cxn>
                <a:cxn ang="0">
                  <a:pos x="931" y="485"/>
                </a:cxn>
                <a:cxn ang="0">
                  <a:pos x="950" y="513"/>
                </a:cxn>
                <a:cxn ang="0">
                  <a:pos x="967" y="541"/>
                </a:cxn>
                <a:cxn ang="0">
                  <a:pos x="984" y="571"/>
                </a:cxn>
                <a:cxn ang="0">
                  <a:pos x="1001" y="600"/>
                </a:cxn>
                <a:cxn ang="0">
                  <a:pos x="1016" y="630"/>
                </a:cxn>
                <a:cxn ang="0">
                  <a:pos x="1030" y="660"/>
                </a:cxn>
                <a:cxn ang="0">
                  <a:pos x="1037" y="675"/>
                </a:cxn>
                <a:cxn ang="0">
                  <a:pos x="1044" y="690"/>
                </a:cxn>
                <a:cxn ang="0">
                  <a:pos x="1057" y="721"/>
                </a:cxn>
                <a:cxn ang="0">
                  <a:pos x="1068" y="753"/>
                </a:cxn>
                <a:cxn ang="0">
                  <a:pos x="1079" y="784"/>
                </a:cxn>
                <a:cxn ang="0">
                  <a:pos x="539" y="959"/>
                </a:cxn>
                <a:cxn ang="0">
                  <a:pos x="0" y="1134"/>
                </a:cxn>
              </a:cxnLst>
              <a:rect l="0" t="0" r="r" b="b"/>
              <a:pathLst>
                <a:path w="1079" h="1134">
                  <a:moveTo>
                    <a:pt x="0" y="1134"/>
                  </a:moveTo>
                  <a:lnTo>
                    <a:pt x="0" y="567"/>
                  </a:lnTo>
                  <a:lnTo>
                    <a:pt x="0" y="0"/>
                  </a:lnTo>
                  <a:lnTo>
                    <a:pt x="27" y="0"/>
                  </a:lnTo>
                  <a:lnTo>
                    <a:pt x="55" y="1"/>
                  </a:lnTo>
                  <a:lnTo>
                    <a:pt x="83" y="3"/>
                  </a:lnTo>
                  <a:lnTo>
                    <a:pt x="111" y="5"/>
                  </a:lnTo>
                  <a:lnTo>
                    <a:pt x="138" y="8"/>
                  </a:lnTo>
                  <a:lnTo>
                    <a:pt x="166" y="12"/>
                  </a:lnTo>
                  <a:lnTo>
                    <a:pt x="193" y="16"/>
                  </a:lnTo>
                  <a:lnTo>
                    <a:pt x="221" y="22"/>
                  </a:lnTo>
                  <a:lnTo>
                    <a:pt x="248" y="27"/>
                  </a:lnTo>
                  <a:lnTo>
                    <a:pt x="275" y="34"/>
                  </a:lnTo>
                  <a:lnTo>
                    <a:pt x="302" y="41"/>
                  </a:lnTo>
                  <a:lnTo>
                    <a:pt x="329" y="49"/>
                  </a:lnTo>
                  <a:lnTo>
                    <a:pt x="355" y="57"/>
                  </a:lnTo>
                  <a:lnTo>
                    <a:pt x="382" y="66"/>
                  </a:lnTo>
                  <a:lnTo>
                    <a:pt x="395" y="71"/>
                  </a:lnTo>
                  <a:lnTo>
                    <a:pt x="408" y="76"/>
                  </a:lnTo>
                  <a:lnTo>
                    <a:pt x="434" y="86"/>
                  </a:lnTo>
                  <a:lnTo>
                    <a:pt x="459" y="97"/>
                  </a:lnTo>
                  <a:lnTo>
                    <a:pt x="484" y="109"/>
                  </a:lnTo>
                  <a:lnTo>
                    <a:pt x="509" y="121"/>
                  </a:lnTo>
                  <a:lnTo>
                    <a:pt x="534" y="134"/>
                  </a:lnTo>
                  <a:lnTo>
                    <a:pt x="559" y="147"/>
                  </a:lnTo>
                  <a:lnTo>
                    <a:pt x="584" y="161"/>
                  </a:lnTo>
                  <a:lnTo>
                    <a:pt x="607" y="175"/>
                  </a:lnTo>
                  <a:lnTo>
                    <a:pt x="631" y="190"/>
                  </a:lnTo>
                  <a:lnTo>
                    <a:pt x="654" y="206"/>
                  </a:lnTo>
                  <a:lnTo>
                    <a:pt x="676" y="222"/>
                  </a:lnTo>
                  <a:lnTo>
                    <a:pt x="698" y="239"/>
                  </a:lnTo>
                  <a:lnTo>
                    <a:pt x="720" y="257"/>
                  </a:lnTo>
                  <a:lnTo>
                    <a:pt x="741" y="275"/>
                  </a:lnTo>
                  <a:lnTo>
                    <a:pt x="762" y="293"/>
                  </a:lnTo>
                  <a:lnTo>
                    <a:pt x="772" y="303"/>
                  </a:lnTo>
                  <a:lnTo>
                    <a:pt x="783" y="312"/>
                  </a:lnTo>
                  <a:lnTo>
                    <a:pt x="802" y="332"/>
                  </a:lnTo>
                  <a:lnTo>
                    <a:pt x="814" y="344"/>
                  </a:lnTo>
                  <a:lnTo>
                    <a:pt x="826" y="356"/>
                  </a:lnTo>
                  <a:lnTo>
                    <a:pt x="837" y="368"/>
                  </a:lnTo>
                  <a:lnTo>
                    <a:pt x="848" y="380"/>
                  </a:lnTo>
                  <a:lnTo>
                    <a:pt x="859" y="393"/>
                  </a:lnTo>
                  <a:lnTo>
                    <a:pt x="870" y="406"/>
                  </a:lnTo>
                  <a:lnTo>
                    <a:pt x="881" y="419"/>
                  </a:lnTo>
                  <a:lnTo>
                    <a:pt x="891" y="432"/>
                  </a:lnTo>
                  <a:lnTo>
                    <a:pt x="901" y="445"/>
                  </a:lnTo>
                  <a:lnTo>
                    <a:pt x="911" y="458"/>
                  </a:lnTo>
                  <a:lnTo>
                    <a:pt x="931" y="485"/>
                  </a:lnTo>
                  <a:lnTo>
                    <a:pt x="950" y="513"/>
                  </a:lnTo>
                  <a:lnTo>
                    <a:pt x="967" y="541"/>
                  </a:lnTo>
                  <a:lnTo>
                    <a:pt x="984" y="571"/>
                  </a:lnTo>
                  <a:lnTo>
                    <a:pt x="1001" y="600"/>
                  </a:lnTo>
                  <a:lnTo>
                    <a:pt x="1016" y="630"/>
                  </a:lnTo>
                  <a:lnTo>
                    <a:pt x="1030" y="660"/>
                  </a:lnTo>
                  <a:lnTo>
                    <a:pt x="1037" y="675"/>
                  </a:lnTo>
                  <a:lnTo>
                    <a:pt x="1044" y="690"/>
                  </a:lnTo>
                  <a:lnTo>
                    <a:pt x="1057" y="721"/>
                  </a:lnTo>
                  <a:lnTo>
                    <a:pt x="1068" y="753"/>
                  </a:lnTo>
                  <a:lnTo>
                    <a:pt x="1079" y="784"/>
                  </a:lnTo>
                  <a:lnTo>
                    <a:pt x="539" y="959"/>
                  </a:lnTo>
                  <a:lnTo>
                    <a:pt x="0" y="1134"/>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6" name="Freeform 106">
              <a:extLst>
                <a:ext uri="{FF2B5EF4-FFF2-40B4-BE49-F238E27FC236}">
                  <a16:creationId xmlns:a16="http://schemas.microsoft.com/office/drawing/2014/main" id="{7D69C674-9240-4039-AFCC-710496499E69}"/>
                </a:ext>
              </a:extLst>
            </p:cNvPr>
            <p:cNvSpPr>
              <a:spLocks/>
            </p:cNvSpPr>
            <p:nvPr/>
          </p:nvSpPr>
          <p:spPr bwMode="auto">
            <a:xfrm>
              <a:off x="7358063" y="2559075"/>
              <a:ext cx="1095375" cy="930275"/>
            </a:xfrm>
            <a:custGeom>
              <a:avLst/>
              <a:gdLst/>
              <a:ahLst/>
              <a:cxnLst>
                <a:cxn ang="0">
                  <a:pos x="668" y="0"/>
                </a:cxn>
                <a:cxn ang="0">
                  <a:pos x="1001" y="459"/>
                </a:cxn>
                <a:cxn ang="0">
                  <a:pos x="1335" y="919"/>
                </a:cxn>
                <a:cxn ang="0">
                  <a:pos x="1312" y="935"/>
                </a:cxn>
                <a:cxn ang="0">
                  <a:pos x="1289" y="950"/>
                </a:cxn>
                <a:cxn ang="0">
                  <a:pos x="1266" y="965"/>
                </a:cxn>
                <a:cxn ang="0">
                  <a:pos x="1242" y="980"/>
                </a:cxn>
                <a:cxn ang="0">
                  <a:pos x="1217" y="993"/>
                </a:cxn>
                <a:cxn ang="0">
                  <a:pos x="1192" y="1006"/>
                </a:cxn>
                <a:cxn ang="0">
                  <a:pos x="1167" y="1019"/>
                </a:cxn>
                <a:cxn ang="0">
                  <a:pos x="1142" y="1031"/>
                </a:cxn>
                <a:cxn ang="0">
                  <a:pos x="1117" y="1042"/>
                </a:cxn>
                <a:cxn ang="0">
                  <a:pos x="1091" y="1053"/>
                </a:cxn>
                <a:cxn ang="0">
                  <a:pos x="1065" y="1063"/>
                </a:cxn>
                <a:cxn ang="0">
                  <a:pos x="1039" y="1072"/>
                </a:cxn>
                <a:cxn ang="0">
                  <a:pos x="1013" y="1081"/>
                </a:cxn>
                <a:cxn ang="0">
                  <a:pos x="986" y="1089"/>
                </a:cxn>
                <a:cxn ang="0">
                  <a:pos x="959" y="1097"/>
                </a:cxn>
                <a:cxn ang="0">
                  <a:pos x="932" y="1104"/>
                </a:cxn>
                <a:cxn ang="0">
                  <a:pos x="905" y="1110"/>
                </a:cxn>
                <a:cxn ang="0">
                  <a:pos x="878" y="1115"/>
                </a:cxn>
                <a:cxn ang="0">
                  <a:pos x="851" y="1120"/>
                </a:cxn>
                <a:cxn ang="0">
                  <a:pos x="823" y="1125"/>
                </a:cxn>
                <a:cxn ang="0">
                  <a:pos x="795" y="1128"/>
                </a:cxn>
                <a:cxn ang="0">
                  <a:pos x="768" y="1131"/>
                </a:cxn>
                <a:cxn ang="0">
                  <a:pos x="740" y="1133"/>
                </a:cxn>
                <a:cxn ang="0">
                  <a:pos x="712" y="1135"/>
                </a:cxn>
                <a:cxn ang="0">
                  <a:pos x="684" y="1135"/>
                </a:cxn>
                <a:cxn ang="0">
                  <a:pos x="657" y="1135"/>
                </a:cxn>
                <a:cxn ang="0">
                  <a:pos x="629" y="1135"/>
                </a:cxn>
                <a:cxn ang="0">
                  <a:pos x="601" y="1134"/>
                </a:cxn>
                <a:cxn ang="0">
                  <a:pos x="573" y="1132"/>
                </a:cxn>
                <a:cxn ang="0">
                  <a:pos x="545" y="1129"/>
                </a:cxn>
                <a:cxn ang="0">
                  <a:pos x="518" y="1125"/>
                </a:cxn>
                <a:cxn ang="0">
                  <a:pos x="490" y="1121"/>
                </a:cxn>
                <a:cxn ang="0">
                  <a:pos x="457" y="1115"/>
                </a:cxn>
                <a:cxn ang="0">
                  <a:pos x="425" y="1109"/>
                </a:cxn>
                <a:cxn ang="0">
                  <a:pos x="392" y="1101"/>
                </a:cxn>
                <a:cxn ang="0">
                  <a:pos x="360" y="1093"/>
                </a:cxn>
                <a:cxn ang="0">
                  <a:pos x="328" y="1083"/>
                </a:cxn>
                <a:cxn ang="0">
                  <a:pos x="296" y="1072"/>
                </a:cxn>
                <a:cxn ang="0">
                  <a:pos x="265" y="1061"/>
                </a:cxn>
                <a:cxn ang="0">
                  <a:pos x="234" y="1049"/>
                </a:cxn>
                <a:cxn ang="0">
                  <a:pos x="203" y="1036"/>
                </a:cxn>
                <a:cxn ang="0">
                  <a:pos x="173" y="1021"/>
                </a:cxn>
                <a:cxn ang="0">
                  <a:pos x="158" y="1014"/>
                </a:cxn>
                <a:cxn ang="0">
                  <a:pos x="143" y="1006"/>
                </a:cxn>
                <a:cxn ang="0">
                  <a:pos x="114" y="991"/>
                </a:cxn>
                <a:cxn ang="0">
                  <a:pos x="84" y="974"/>
                </a:cxn>
                <a:cxn ang="0">
                  <a:pos x="55" y="956"/>
                </a:cxn>
                <a:cxn ang="0">
                  <a:pos x="27" y="938"/>
                </a:cxn>
                <a:cxn ang="0">
                  <a:pos x="0" y="919"/>
                </a:cxn>
                <a:cxn ang="0">
                  <a:pos x="334" y="459"/>
                </a:cxn>
                <a:cxn ang="0">
                  <a:pos x="668" y="0"/>
                </a:cxn>
              </a:cxnLst>
              <a:rect l="0" t="0" r="r" b="b"/>
              <a:pathLst>
                <a:path w="1335" h="1135">
                  <a:moveTo>
                    <a:pt x="668" y="0"/>
                  </a:moveTo>
                  <a:lnTo>
                    <a:pt x="1001" y="459"/>
                  </a:lnTo>
                  <a:lnTo>
                    <a:pt x="1335" y="919"/>
                  </a:lnTo>
                  <a:lnTo>
                    <a:pt x="1312" y="935"/>
                  </a:lnTo>
                  <a:lnTo>
                    <a:pt x="1289" y="950"/>
                  </a:lnTo>
                  <a:lnTo>
                    <a:pt x="1266" y="965"/>
                  </a:lnTo>
                  <a:lnTo>
                    <a:pt x="1242" y="980"/>
                  </a:lnTo>
                  <a:lnTo>
                    <a:pt x="1217" y="993"/>
                  </a:lnTo>
                  <a:lnTo>
                    <a:pt x="1192" y="1006"/>
                  </a:lnTo>
                  <a:lnTo>
                    <a:pt x="1167" y="1019"/>
                  </a:lnTo>
                  <a:lnTo>
                    <a:pt x="1142" y="1031"/>
                  </a:lnTo>
                  <a:lnTo>
                    <a:pt x="1117" y="1042"/>
                  </a:lnTo>
                  <a:lnTo>
                    <a:pt x="1091" y="1053"/>
                  </a:lnTo>
                  <a:lnTo>
                    <a:pt x="1065" y="1063"/>
                  </a:lnTo>
                  <a:lnTo>
                    <a:pt x="1039" y="1072"/>
                  </a:lnTo>
                  <a:lnTo>
                    <a:pt x="1013" y="1081"/>
                  </a:lnTo>
                  <a:lnTo>
                    <a:pt x="986" y="1089"/>
                  </a:lnTo>
                  <a:lnTo>
                    <a:pt x="959" y="1097"/>
                  </a:lnTo>
                  <a:lnTo>
                    <a:pt x="932" y="1104"/>
                  </a:lnTo>
                  <a:lnTo>
                    <a:pt x="905" y="1110"/>
                  </a:lnTo>
                  <a:lnTo>
                    <a:pt x="878" y="1115"/>
                  </a:lnTo>
                  <a:lnTo>
                    <a:pt x="851" y="1120"/>
                  </a:lnTo>
                  <a:lnTo>
                    <a:pt x="823" y="1125"/>
                  </a:lnTo>
                  <a:lnTo>
                    <a:pt x="795" y="1128"/>
                  </a:lnTo>
                  <a:lnTo>
                    <a:pt x="768" y="1131"/>
                  </a:lnTo>
                  <a:lnTo>
                    <a:pt x="740" y="1133"/>
                  </a:lnTo>
                  <a:lnTo>
                    <a:pt x="712" y="1135"/>
                  </a:lnTo>
                  <a:lnTo>
                    <a:pt x="684" y="1135"/>
                  </a:lnTo>
                  <a:lnTo>
                    <a:pt x="657" y="1135"/>
                  </a:lnTo>
                  <a:lnTo>
                    <a:pt x="629" y="1135"/>
                  </a:lnTo>
                  <a:lnTo>
                    <a:pt x="601" y="1134"/>
                  </a:lnTo>
                  <a:lnTo>
                    <a:pt x="573" y="1132"/>
                  </a:lnTo>
                  <a:lnTo>
                    <a:pt x="545" y="1129"/>
                  </a:lnTo>
                  <a:lnTo>
                    <a:pt x="518" y="1125"/>
                  </a:lnTo>
                  <a:lnTo>
                    <a:pt x="490" y="1121"/>
                  </a:lnTo>
                  <a:lnTo>
                    <a:pt x="457" y="1115"/>
                  </a:lnTo>
                  <a:lnTo>
                    <a:pt x="425" y="1109"/>
                  </a:lnTo>
                  <a:lnTo>
                    <a:pt x="392" y="1101"/>
                  </a:lnTo>
                  <a:lnTo>
                    <a:pt x="360" y="1093"/>
                  </a:lnTo>
                  <a:lnTo>
                    <a:pt x="328" y="1083"/>
                  </a:lnTo>
                  <a:lnTo>
                    <a:pt x="296" y="1072"/>
                  </a:lnTo>
                  <a:lnTo>
                    <a:pt x="265" y="1061"/>
                  </a:lnTo>
                  <a:lnTo>
                    <a:pt x="234" y="1049"/>
                  </a:lnTo>
                  <a:lnTo>
                    <a:pt x="203" y="1036"/>
                  </a:lnTo>
                  <a:lnTo>
                    <a:pt x="173" y="1021"/>
                  </a:lnTo>
                  <a:lnTo>
                    <a:pt x="158" y="1014"/>
                  </a:lnTo>
                  <a:lnTo>
                    <a:pt x="143" y="1006"/>
                  </a:lnTo>
                  <a:lnTo>
                    <a:pt x="114" y="991"/>
                  </a:lnTo>
                  <a:lnTo>
                    <a:pt x="84" y="974"/>
                  </a:lnTo>
                  <a:lnTo>
                    <a:pt x="55" y="956"/>
                  </a:lnTo>
                  <a:lnTo>
                    <a:pt x="27" y="938"/>
                  </a:lnTo>
                  <a:lnTo>
                    <a:pt x="0" y="919"/>
                  </a:lnTo>
                  <a:lnTo>
                    <a:pt x="334" y="459"/>
                  </a:lnTo>
                  <a:lnTo>
                    <a:pt x="668"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7" name="Freeform 107">
              <a:extLst>
                <a:ext uri="{FF2B5EF4-FFF2-40B4-BE49-F238E27FC236}">
                  <a16:creationId xmlns:a16="http://schemas.microsoft.com/office/drawing/2014/main" id="{46F03E02-F600-442F-8088-D317AE57D1F2}"/>
                </a:ext>
              </a:extLst>
            </p:cNvPr>
            <p:cNvSpPr>
              <a:spLocks/>
            </p:cNvSpPr>
            <p:nvPr/>
          </p:nvSpPr>
          <p:spPr bwMode="auto">
            <a:xfrm>
              <a:off x="6985000" y="2281262"/>
              <a:ext cx="930275" cy="1039813"/>
            </a:xfrm>
            <a:custGeom>
              <a:avLst/>
              <a:gdLst/>
              <a:ahLst/>
              <a:cxnLst>
                <a:cxn ang="0">
                  <a:pos x="1135" y="350"/>
                </a:cxn>
                <a:cxn ang="0">
                  <a:pos x="801" y="809"/>
                </a:cxn>
                <a:cxn ang="0">
                  <a:pos x="467" y="1269"/>
                </a:cxn>
                <a:cxn ang="0">
                  <a:pos x="445" y="1252"/>
                </a:cxn>
                <a:cxn ang="0">
                  <a:pos x="423" y="1235"/>
                </a:cxn>
                <a:cxn ang="0">
                  <a:pos x="401" y="1217"/>
                </a:cxn>
                <a:cxn ang="0">
                  <a:pos x="380" y="1199"/>
                </a:cxn>
                <a:cxn ang="0">
                  <a:pos x="360" y="1180"/>
                </a:cxn>
                <a:cxn ang="0">
                  <a:pos x="340" y="1161"/>
                </a:cxn>
                <a:cxn ang="0">
                  <a:pos x="330" y="1151"/>
                </a:cxn>
                <a:cxn ang="0">
                  <a:pos x="320" y="1141"/>
                </a:cxn>
                <a:cxn ang="0">
                  <a:pos x="301" y="1121"/>
                </a:cxn>
                <a:cxn ang="0">
                  <a:pos x="282" y="1100"/>
                </a:cxn>
                <a:cxn ang="0">
                  <a:pos x="264" y="1079"/>
                </a:cxn>
                <a:cxn ang="0">
                  <a:pos x="247" y="1058"/>
                </a:cxn>
                <a:cxn ang="0">
                  <a:pos x="230" y="1036"/>
                </a:cxn>
                <a:cxn ang="0">
                  <a:pos x="213" y="1013"/>
                </a:cxn>
                <a:cxn ang="0">
                  <a:pos x="197" y="990"/>
                </a:cxn>
                <a:cxn ang="0">
                  <a:pos x="182" y="967"/>
                </a:cxn>
                <a:cxn ang="0">
                  <a:pos x="167" y="944"/>
                </a:cxn>
                <a:cxn ang="0">
                  <a:pos x="153" y="920"/>
                </a:cxn>
                <a:cxn ang="0">
                  <a:pos x="139" y="895"/>
                </a:cxn>
                <a:cxn ang="0">
                  <a:pos x="126" y="870"/>
                </a:cxn>
                <a:cxn ang="0">
                  <a:pos x="113" y="845"/>
                </a:cxn>
                <a:cxn ang="0">
                  <a:pos x="101" y="820"/>
                </a:cxn>
                <a:cxn ang="0">
                  <a:pos x="90" y="795"/>
                </a:cxn>
                <a:cxn ang="0">
                  <a:pos x="79" y="769"/>
                </a:cxn>
                <a:cxn ang="0">
                  <a:pos x="69" y="743"/>
                </a:cxn>
                <a:cxn ang="0">
                  <a:pos x="60" y="717"/>
                </a:cxn>
                <a:cxn ang="0">
                  <a:pos x="51" y="690"/>
                </a:cxn>
                <a:cxn ang="0">
                  <a:pos x="43" y="664"/>
                </a:cxn>
                <a:cxn ang="0">
                  <a:pos x="36" y="637"/>
                </a:cxn>
                <a:cxn ang="0">
                  <a:pos x="29" y="610"/>
                </a:cxn>
                <a:cxn ang="0">
                  <a:pos x="23" y="583"/>
                </a:cxn>
                <a:cxn ang="0">
                  <a:pos x="18" y="555"/>
                </a:cxn>
                <a:cxn ang="0">
                  <a:pos x="14" y="528"/>
                </a:cxn>
                <a:cxn ang="0">
                  <a:pos x="9" y="495"/>
                </a:cxn>
                <a:cxn ang="0">
                  <a:pos x="7" y="478"/>
                </a:cxn>
                <a:cxn ang="0">
                  <a:pos x="5" y="462"/>
                </a:cxn>
                <a:cxn ang="0">
                  <a:pos x="2" y="428"/>
                </a:cxn>
                <a:cxn ang="0">
                  <a:pos x="1" y="395"/>
                </a:cxn>
                <a:cxn ang="0">
                  <a:pos x="0" y="378"/>
                </a:cxn>
                <a:cxn ang="0">
                  <a:pos x="0" y="362"/>
                </a:cxn>
                <a:cxn ang="0">
                  <a:pos x="0" y="328"/>
                </a:cxn>
                <a:cxn ang="0">
                  <a:pos x="0" y="312"/>
                </a:cxn>
                <a:cxn ang="0">
                  <a:pos x="1" y="295"/>
                </a:cxn>
                <a:cxn ang="0">
                  <a:pos x="3" y="262"/>
                </a:cxn>
                <a:cxn ang="0">
                  <a:pos x="6" y="228"/>
                </a:cxn>
                <a:cxn ang="0">
                  <a:pos x="10" y="195"/>
                </a:cxn>
                <a:cxn ang="0">
                  <a:pos x="15" y="162"/>
                </a:cxn>
                <a:cxn ang="0">
                  <a:pos x="18" y="146"/>
                </a:cxn>
                <a:cxn ang="0">
                  <a:pos x="21" y="129"/>
                </a:cxn>
                <a:cxn ang="0">
                  <a:pos x="28" y="97"/>
                </a:cxn>
                <a:cxn ang="0">
                  <a:pos x="36" y="64"/>
                </a:cxn>
                <a:cxn ang="0">
                  <a:pos x="45" y="32"/>
                </a:cxn>
                <a:cxn ang="0">
                  <a:pos x="55" y="0"/>
                </a:cxn>
                <a:cxn ang="0">
                  <a:pos x="595" y="175"/>
                </a:cxn>
                <a:cxn ang="0">
                  <a:pos x="1135" y="350"/>
                </a:cxn>
              </a:cxnLst>
              <a:rect l="0" t="0" r="r" b="b"/>
              <a:pathLst>
                <a:path w="1135" h="1269">
                  <a:moveTo>
                    <a:pt x="1135" y="350"/>
                  </a:moveTo>
                  <a:lnTo>
                    <a:pt x="801" y="809"/>
                  </a:lnTo>
                  <a:lnTo>
                    <a:pt x="467" y="1269"/>
                  </a:lnTo>
                  <a:lnTo>
                    <a:pt x="445" y="1252"/>
                  </a:lnTo>
                  <a:lnTo>
                    <a:pt x="423" y="1235"/>
                  </a:lnTo>
                  <a:lnTo>
                    <a:pt x="401" y="1217"/>
                  </a:lnTo>
                  <a:lnTo>
                    <a:pt x="380" y="1199"/>
                  </a:lnTo>
                  <a:lnTo>
                    <a:pt x="360" y="1180"/>
                  </a:lnTo>
                  <a:lnTo>
                    <a:pt x="340" y="1161"/>
                  </a:lnTo>
                  <a:lnTo>
                    <a:pt x="330" y="1151"/>
                  </a:lnTo>
                  <a:lnTo>
                    <a:pt x="320" y="1141"/>
                  </a:lnTo>
                  <a:lnTo>
                    <a:pt x="301" y="1121"/>
                  </a:lnTo>
                  <a:lnTo>
                    <a:pt x="282" y="1100"/>
                  </a:lnTo>
                  <a:lnTo>
                    <a:pt x="264" y="1079"/>
                  </a:lnTo>
                  <a:lnTo>
                    <a:pt x="247" y="1058"/>
                  </a:lnTo>
                  <a:lnTo>
                    <a:pt x="230" y="1036"/>
                  </a:lnTo>
                  <a:lnTo>
                    <a:pt x="213" y="1013"/>
                  </a:lnTo>
                  <a:lnTo>
                    <a:pt x="197" y="990"/>
                  </a:lnTo>
                  <a:lnTo>
                    <a:pt x="182" y="967"/>
                  </a:lnTo>
                  <a:lnTo>
                    <a:pt x="167" y="944"/>
                  </a:lnTo>
                  <a:lnTo>
                    <a:pt x="153" y="920"/>
                  </a:lnTo>
                  <a:lnTo>
                    <a:pt x="139" y="895"/>
                  </a:lnTo>
                  <a:lnTo>
                    <a:pt x="126" y="870"/>
                  </a:lnTo>
                  <a:lnTo>
                    <a:pt x="113" y="845"/>
                  </a:lnTo>
                  <a:lnTo>
                    <a:pt x="101" y="820"/>
                  </a:lnTo>
                  <a:lnTo>
                    <a:pt x="90" y="795"/>
                  </a:lnTo>
                  <a:lnTo>
                    <a:pt x="79" y="769"/>
                  </a:lnTo>
                  <a:lnTo>
                    <a:pt x="69" y="743"/>
                  </a:lnTo>
                  <a:lnTo>
                    <a:pt x="60" y="717"/>
                  </a:lnTo>
                  <a:lnTo>
                    <a:pt x="51" y="690"/>
                  </a:lnTo>
                  <a:lnTo>
                    <a:pt x="43" y="664"/>
                  </a:lnTo>
                  <a:lnTo>
                    <a:pt x="36" y="637"/>
                  </a:lnTo>
                  <a:lnTo>
                    <a:pt x="29" y="610"/>
                  </a:lnTo>
                  <a:lnTo>
                    <a:pt x="23" y="583"/>
                  </a:lnTo>
                  <a:lnTo>
                    <a:pt x="18" y="555"/>
                  </a:lnTo>
                  <a:lnTo>
                    <a:pt x="14" y="528"/>
                  </a:lnTo>
                  <a:lnTo>
                    <a:pt x="9" y="495"/>
                  </a:lnTo>
                  <a:lnTo>
                    <a:pt x="7" y="478"/>
                  </a:lnTo>
                  <a:lnTo>
                    <a:pt x="5" y="462"/>
                  </a:lnTo>
                  <a:lnTo>
                    <a:pt x="2" y="428"/>
                  </a:lnTo>
                  <a:lnTo>
                    <a:pt x="1" y="395"/>
                  </a:lnTo>
                  <a:lnTo>
                    <a:pt x="0" y="378"/>
                  </a:lnTo>
                  <a:lnTo>
                    <a:pt x="0" y="362"/>
                  </a:lnTo>
                  <a:lnTo>
                    <a:pt x="0" y="328"/>
                  </a:lnTo>
                  <a:lnTo>
                    <a:pt x="0" y="312"/>
                  </a:lnTo>
                  <a:lnTo>
                    <a:pt x="1" y="295"/>
                  </a:lnTo>
                  <a:lnTo>
                    <a:pt x="3" y="262"/>
                  </a:lnTo>
                  <a:lnTo>
                    <a:pt x="6" y="228"/>
                  </a:lnTo>
                  <a:lnTo>
                    <a:pt x="10" y="195"/>
                  </a:lnTo>
                  <a:lnTo>
                    <a:pt x="15" y="162"/>
                  </a:lnTo>
                  <a:lnTo>
                    <a:pt x="18" y="146"/>
                  </a:lnTo>
                  <a:lnTo>
                    <a:pt x="21" y="129"/>
                  </a:lnTo>
                  <a:lnTo>
                    <a:pt x="28" y="97"/>
                  </a:lnTo>
                  <a:lnTo>
                    <a:pt x="36" y="64"/>
                  </a:lnTo>
                  <a:lnTo>
                    <a:pt x="45" y="32"/>
                  </a:lnTo>
                  <a:lnTo>
                    <a:pt x="55" y="0"/>
                  </a:lnTo>
                  <a:lnTo>
                    <a:pt x="595" y="175"/>
                  </a:lnTo>
                  <a:lnTo>
                    <a:pt x="1135" y="35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8" name="Freeform 108">
              <a:extLst>
                <a:ext uri="{FF2B5EF4-FFF2-40B4-BE49-F238E27FC236}">
                  <a16:creationId xmlns:a16="http://schemas.microsoft.com/office/drawing/2014/main" id="{B1EB1A94-82AF-4D0B-A258-20C978F73F56}"/>
                </a:ext>
              </a:extLst>
            </p:cNvPr>
            <p:cNvSpPr>
              <a:spLocks/>
            </p:cNvSpPr>
            <p:nvPr/>
          </p:nvSpPr>
          <p:spPr bwMode="auto">
            <a:xfrm>
              <a:off x="7029450" y="1638325"/>
              <a:ext cx="885825" cy="930275"/>
            </a:xfrm>
            <a:custGeom>
              <a:avLst/>
              <a:gdLst/>
              <a:ahLst/>
              <a:cxnLst>
                <a:cxn ang="0">
                  <a:pos x="1080" y="1134"/>
                </a:cxn>
                <a:cxn ang="0">
                  <a:pos x="540" y="959"/>
                </a:cxn>
                <a:cxn ang="0">
                  <a:pos x="0" y="784"/>
                </a:cxn>
                <a:cxn ang="0">
                  <a:pos x="9" y="758"/>
                </a:cxn>
                <a:cxn ang="0">
                  <a:pos x="19" y="732"/>
                </a:cxn>
                <a:cxn ang="0">
                  <a:pos x="29" y="706"/>
                </a:cxn>
                <a:cxn ang="0">
                  <a:pos x="40" y="680"/>
                </a:cxn>
                <a:cxn ang="0">
                  <a:pos x="51" y="655"/>
                </a:cxn>
                <a:cxn ang="0">
                  <a:pos x="63" y="630"/>
                </a:cxn>
                <a:cxn ang="0">
                  <a:pos x="76" y="605"/>
                </a:cxn>
                <a:cxn ang="0">
                  <a:pos x="89" y="581"/>
                </a:cxn>
                <a:cxn ang="0">
                  <a:pos x="103" y="555"/>
                </a:cxn>
                <a:cxn ang="0">
                  <a:pos x="118" y="532"/>
                </a:cxn>
                <a:cxn ang="0">
                  <a:pos x="133" y="508"/>
                </a:cxn>
                <a:cxn ang="0">
                  <a:pos x="141" y="497"/>
                </a:cxn>
                <a:cxn ang="0">
                  <a:pos x="148" y="485"/>
                </a:cxn>
                <a:cxn ang="0">
                  <a:pos x="165" y="463"/>
                </a:cxn>
                <a:cxn ang="0">
                  <a:pos x="181" y="440"/>
                </a:cxn>
                <a:cxn ang="0">
                  <a:pos x="199" y="419"/>
                </a:cxn>
                <a:cxn ang="0">
                  <a:pos x="216" y="397"/>
                </a:cxn>
                <a:cxn ang="0">
                  <a:pos x="235" y="376"/>
                </a:cxn>
                <a:cxn ang="0">
                  <a:pos x="253" y="356"/>
                </a:cxn>
                <a:cxn ang="0">
                  <a:pos x="273" y="336"/>
                </a:cxn>
                <a:cxn ang="0">
                  <a:pos x="293" y="316"/>
                </a:cxn>
                <a:cxn ang="0">
                  <a:pos x="313" y="297"/>
                </a:cxn>
                <a:cxn ang="0">
                  <a:pos x="334" y="279"/>
                </a:cxn>
                <a:cxn ang="0">
                  <a:pos x="355" y="260"/>
                </a:cxn>
                <a:cxn ang="0">
                  <a:pos x="376" y="243"/>
                </a:cxn>
                <a:cxn ang="0">
                  <a:pos x="398" y="226"/>
                </a:cxn>
                <a:cxn ang="0">
                  <a:pos x="421" y="210"/>
                </a:cxn>
                <a:cxn ang="0">
                  <a:pos x="444" y="194"/>
                </a:cxn>
                <a:cxn ang="0">
                  <a:pos x="467" y="178"/>
                </a:cxn>
                <a:cxn ang="0">
                  <a:pos x="491" y="164"/>
                </a:cxn>
                <a:cxn ang="0">
                  <a:pos x="516" y="150"/>
                </a:cxn>
                <a:cxn ang="0">
                  <a:pos x="540" y="136"/>
                </a:cxn>
                <a:cxn ang="0">
                  <a:pos x="565" y="123"/>
                </a:cxn>
                <a:cxn ang="0">
                  <a:pos x="595" y="109"/>
                </a:cxn>
                <a:cxn ang="0">
                  <a:pos x="625" y="95"/>
                </a:cxn>
                <a:cxn ang="0">
                  <a:pos x="656" y="82"/>
                </a:cxn>
                <a:cxn ang="0">
                  <a:pos x="672" y="76"/>
                </a:cxn>
                <a:cxn ang="0">
                  <a:pos x="687" y="70"/>
                </a:cxn>
                <a:cxn ang="0">
                  <a:pos x="719" y="59"/>
                </a:cxn>
                <a:cxn ang="0">
                  <a:pos x="750" y="49"/>
                </a:cxn>
                <a:cxn ang="0">
                  <a:pos x="783" y="39"/>
                </a:cxn>
                <a:cxn ang="0">
                  <a:pos x="815" y="31"/>
                </a:cxn>
                <a:cxn ang="0">
                  <a:pos x="847" y="24"/>
                </a:cxn>
                <a:cxn ang="0">
                  <a:pos x="864" y="21"/>
                </a:cxn>
                <a:cxn ang="0">
                  <a:pos x="880" y="17"/>
                </a:cxn>
                <a:cxn ang="0">
                  <a:pos x="913" y="12"/>
                </a:cxn>
                <a:cxn ang="0">
                  <a:pos x="946" y="8"/>
                </a:cxn>
                <a:cxn ang="0">
                  <a:pos x="980" y="4"/>
                </a:cxn>
                <a:cxn ang="0">
                  <a:pos x="1013" y="2"/>
                </a:cxn>
                <a:cxn ang="0">
                  <a:pos x="1046" y="0"/>
                </a:cxn>
                <a:cxn ang="0">
                  <a:pos x="1080" y="0"/>
                </a:cxn>
                <a:cxn ang="0">
                  <a:pos x="1080" y="567"/>
                </a:cxn>
                <a:cxn ang="0">
                  <a:pos x="1080" y="1134"/>
                </a:cxn>
              </a:cxnLst>
              <a:rect l="0" t="0" r="r" b="b"/>
              <a:pathLst>
                <a:path w="1080" h="1134">
                  <a:moveTo>
                    <a:pt x="1080" y="1134"/>
                  </a:moveTo>
                  <a:lnTo>
                    <a:pt x="540" y="959"/>
                  </a:lnTo>
                  <a:lnTo>
                    <a:pt x="0" y="784"/>
                  </a:lnTo>
                  <a:lnTo>
                    <a:pt x="9" y="758"/>
                  </a:lnTo>
                  <a:lnTo>
                    <a:pt x="19" y="732"/>
                  </a:lnTo>
                  <a:lnTo>
                    <a:pt x="29" y="706"/>
                  </a:lnTo>
                  <a:lnTo>
                    <a:pt x="40" y="680"/>
                  </a:lnTo>
                  <a:lnTo>
                    <a:pt x="51" y="655"/>
                  </a:lnTo>
                  <a:lnTo>
                    <a:pt x="63" y="630"/>
                  </a:lnTo>
                  <a:lnTo>
                    <a:pt x="76" y="605"/>
                  </a:lnTo>
                  <a:lnTo>
                    <a:pt x="89" y="581"/>
                  </a:lnTo>
                  <a:lnTo>
                    <a:pt x="103" y="555"/>
                  </a:lnTo>
                  <a:lnTo>
                    <a:pt x="118" y="532"/>
                  </a:lnTo>
                  <a:lnTo>
                    <a:pt x="133" y="508"/>
                  </a:lnTo>
                  <a:lnTo>
                    <a:pt x="141" y="497"/>
                  </a:lnTo>
                  <a:lnTo>
                    <a:pt x="148" y="485"/>
                  </a:lnTo>
                  <a:lnTo>
                    <a:pt x="165" y="463"/>
                  </a:lnTo>
                  <a:lnTo>
                    <a:pt x="181" y="440"/>
                  </a:lnTo>
                  <a:lnTo>
                    <a:pt x="199" y="419"/>
                  </a:lnTo>
                  <a:lnTo>
                    <a:pt x="216" y="397"/>
                  </a:lnTo>
                  <a:lnTo>
                    <a:pt x="235" y="376"/>
                  </a:lnTo>
                  <a:lnTo>
                    <a:pt x="253" y="356"/>
                  </a:lnTo>
                  <a:lnTo>
                    <a:pt x="273" y="336"/>
                  </a:lnTo>
                  <a:lnTo>
                    <a:pt x="293" y="316"/>
                  </a:lnTo>
                  <a:lnTo>
                    <a:pt x="313" y="297"/>
                  </a:lnTo>
                  <a:lnTo>
                    <a:pt x="334" y="279"/>
                  </a:lnTo>
                  <a:lnTo>
                    <a:pt x="355" y="260"/>
                  </a:lnTo>
                  <a:lnTo>
                    <a:pt x="376" y="243"/>
                  </a:lnTo>
                  <a:lnTo>
                    <a:pt x="398" y="226"/>
                  </a:lnTo>
                  <a:lnTo>
                    <a:pt x="421" y="210"/>
                  </a:lnTo>
                  <a:lnTo>
                    <a:pt x="444" y="194"/>
                  </a:lnTo>
                  <a:lnTo>
                    <a:pt x="467" y="178"/>
                  </a:lnTo>
                  <a:lnTo>
                    <a:pt x="491" y="164"/>
                  </a:lnTo>
                  <a:lnTo>
                    <a:pt x="516" y="150"/>
                  </a:lnTo>
                  <a:lnTo>
                    <a:pt x="540" y="136"/>
                  </a:lnTo>
                  <a:lnTo>
                    <a:pt x="565" y="123"/>
                  </a:lnTo>
                  <a:lnTo>
                    <a:pt x="595" y="109"/>
                  </a:lnTo>
                  <a:lnTo>
                    <a:pt x="625" y="95"/>
                  </a:lnTo>
                  <a:lnTo>
                    <a:pt x="656" y="82"/>
                  </a:lnTo>
                  <a:lnTo>
                    <a:pt x="672" y="76"/>
                  </a:lnTo>
                  <a:lnTo>
                    <a:pt x="687" y="70"/>
                  </a:lnTo>
                  <a:lnTo>
                    <a:pt x="719" y="59"/>
                  </a:lnTo>
                  <a:lnTo>
                    <a:pt x="750" y="49"/>
                  </a:lnTo>
                  <a:lnTo>
                    <a:pt x="783" y="39"/>
                  </a:lnTo>
                  <a:lnTo>
                    <a:pt x="815" y="31"/>
                  </a:lnTo>
                  <a:lnTo>
                    <a:pt x="847" y="24"/>
                  </a:lnTo>
                  <a:lnTo>
                    <a:pt x="864" y="21"/>
                  </a:lnTo>
                  <a:lnTo>
                    <a:pt x="880" y="17"/>
                  </a:lnTo>
                  <a:lnTo>
                    <a:pt x="913" y="12"/>
                  </a:lnTo>
                  <a:lnTo>
                    <a:pt x="946" y="8"/>
                  </a:lnTo>
                  <a:lnTo>
                    <a:pt x="980" y="4"/>
                  </a:lnTo>
                  <a:lnTo>
                    <a:pt x="1013" y="2"/>
                  </a:lnTo>
                  <a:lnTo>
                    <a:pt x="1046" y="0"/>
                  </a:lnTo>
                  <a:lnTo>
                    <a:pt x="1080" y="0"/>
                  </a:lnTo>
                  <a:lnTo>
                    <a:pt x="1080" y="567"/>
                  </a:lnTo>
                  <a:lnTo>
                    <a:pt x="1080" y="1134"/>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9" name="Text Box 109">
              <a:extLst>
                <a:ext uri="{FF2B5EF4-FFF2-40B4-BE49-F238E27FC236}">
                  <a16:creationId xmlns:a16="http://schemas.microsoft.com/office/drawing/2014/main" id="{7DBF83BA-2BB9-4FA4-8138-BA29FF767AE3}"/>
                </a:ext>
              </a:extLst>
            </p:cNvPr>
            <p:cNvSpPr txBox="1">
              <a:spLocks noChangeArrowheads="1"/>
            </p:cNvSpPr>
            <p:nvPr/>
          </p:nvSpPr>
          <p:spPr bwMode="auto">
            <a:xfrm>
              <a:off x="7265988" y="1976462"/>
              <a:ext cx="411162"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0" name="Text Box 110">
              <a:extLst>
                <a:ext uri="{FF2B5EF4-FFF2-40B4-BE49-F238E27FC236}">
                  <a16:creationId xmlns:a16="http://schemas.microsoft.com/office/drawing/2014/main" id="{F327D7EA-A418-4DED-B31B-3D0AFBDEC278}"/>
                </a:ext>
              </a:extLst>
            </p:cNvPr>
            <p:cNvSpPr txBox="1">
              <a:spLocks noChangeArrowheads="1"/>
            </p:cNvSpPr>
            <p:nvPr/>
          </p:nvSpPr>
          <p:spPr bwMode="auto">
            <a:xfrm>
              <a:off x="7243763" y="2673375"/>
              <a:ext cx="411162" cy="255587"/>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1" name="Text Box 111">
              <a:extLst>
                <a:ext uri="{FF2B5EF4-FFF2-40B4-BE49-F238E27FC236}">
                  <a16:creationId xmlns:a16="http://schemas.microsoft.com/office/drawing/2014/main" id="{A3B56190-D3E2-4517-A339-C7757943A0FD}"/>
                </a:ext>
              </a:extLst>
            </p:cNvPr>
            <p:cNvSpPr txBox="1">
              <a:spLocks noChangeArrowheads="1"/>
            </p:cNvSpPr>
            <p:nvPr/>
          </p:nvSpPr>
          <p:spPr bwMode="auto">
            <a:xfrm>
              <a:off x="8132763" y="1985987"/>
              <a:ext cx="411162"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2" name="Text Box 112">
              <a:extLst>
                <a:ext uri="{FF2B5EF4-FFF2-40B4-BE49-F238E27FC236}">
                  <a16:creationId xmlns:a16="http://schemas.microsoft.com/office/drawing/2014/main" id="{3A502D26-AAFE-45D3-806F-4E5431F9FD98}"/>
                </a:ext>
              </a:extLst>
            </p:cNvPr>
            <p:cNvSpPr txBox="1">
              <a:spLocks noChangeArrowheads="1"/>
            </p:cNvSpPr>
            <p:nvPr/>
          </p:nvSpPr>
          <p:spPr bwMode="auto">
            <a:xfrm>
              <a:off x="7699375" y="3022625"/>
              <a:ext cx="411163" cy="255587"/>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3" name="Text Box 113">
              <a:extLst>
                <a:ext uri="{FF2B5EF4-FFF2-40B4-BE49-F238E27FC236}">
                  <a16:creationId xmlns:a16="http://schemas.microsoft.com/office/drawing/2014/main" id="{50978271-A6F6-49B2-BDB5-5DFABAA909BC}"/>
                </a:ext>
              </a:extLst>
            </p:cNvPr>
            <p:cNvSpPr txBox="1">
              <a:spLocks noChangeArrowheads="1"/>
            </p:cNvSpPr>
            <p:nvPr/>
          </p:nvSpPr>
          <p:spPr bwMode="auto">
            <a:xfrm>
              <a:off x="8156575" y="2673375"/>
              <a:ext cx="411163" cy="255587"/>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grpSp>
      <p:grpSp>
        <p:nvGrpSpPr>
          <p:cNvPr id="114" name="Group 113">
            <a:extLst>
              <a:ext uri="{FF2B5EF4-FFF2-40B4-BE49-F238E27FC236}">
                <a16:creationId xmlns:a16="http://schemas.microsoft.com/office/drawing/2014/main" id="{68545E6E-5EB9-43D7-A8B8-E76B4EC66A97}"/>
              </a:ext>
            </a:extLst>
          </p:cNvPr>
          <p:cNvGrpSpPr/>
          <p:nvPr/>
        </p:nvGrpSpPr>
        <p:grpSpPr bwMode="auto">
          <a:xfrm>
            <a:off x="3052226" y="4150657"/>
            <a:ext cx="1860550" cy="1860550"/>
            <a:chOff x="1443038" y="4022750"/>
            <a:chExt cx="1860550" cy="1860550"/>
          </a:xfrm>
        </p:grpSpPr>
        <p:sp>
          <p:nvSpPr>
            <p:cNvPr id="115" name="Freeform 115">
              <a:extLst>
                <a:ext uri="{FF2B5EF4-FFF2-40B4-BE49-F238E27FC236}">
                  <a16:creationId xmlns:a16="http://schemas.microsoft.com/office/drawing/2014/main" id="{AB4C5167-97C2-4BAC-B22B-EA7703EA268E}"/>
                </a:ext>
              </a:extLst>
            </p:cNvPr>
            <p:cNvSpPr>
              <a:spLocks/>
            </p:cNvSpPr>
            <p:nvPr/>
          </p:nvSpPr>
          <p:spPr bwMode="auto">
            <a:xfrm>
              <a:off x="2373313" y="4022750"/>
              <a:ext cx="806450" cy="930275"/>
            </a:xfrm>
            <a:custGeom>
              <a:avLst/>
              <a:gdLst/>
              <a:ahLst/>
              <a:cxnLst>
                <a:cxn ang="0">
                  <a:pos x="0" y="1135"/>
                </a:cxn>
                <a:cxn ang="0">
                  <a:pos x="0" y="568"/>
                </a:cxn>
                <a:cxn ang="0">
                  <a:pos x="0" y="0"/>
                </a:cxn>
                <a:cxn ang="0">
                  <a:pos x="28" y="0"/>
                </a:cxn>
                <a:cxn ang="0">
                  <a:pos x="56" y="1"/>
                </a:cxn>
                <a:cxn ang="0">
                  <a:pos x="84" y="3"/>
                </a:cxn>
                <a:cxn ang="0">
                  <a:pos x="111" y="5"/>
                </a:cxn>
                <a:cxn ang="0">
                  <a:pos x="139" y="8"/>
                </a:cxn>
                <a:cxn ang="0">
                  <a:pos x="167" y="12"/>
                </a:cxn>
                <a:cxn ang="0">
                  <a:pos x="194" y="17"/>
                </a:cxn>
                <a:cxn ang="0">
                  <a:pos x="221" y="22"/>
                </a:cxn>
                <a:cxn ang="0">
                  <a:pos x="249" y="28"/>
                </a:cxn>
                <a:cxn ang="0">
                  <a:pos x="276" y="34"/>
                </a:cxn>
                <a:cxn ang="0">
                  <a:pos x="303" y="41"/>
                </a:cxn>
                <a:cxn ang="0">
                  <a:pos x="329" y="49"/>
                </a:cxn>
                <a:cxn ang="0">
                  <a:pos x="356" y="57"/>
                </a:cxn>
                <a:cxn ang="0">
                  <a:pos x="382" y="66"/>
                </a:cxn>
                <a:cxn ang="0">
                  <a:pos x="395" y="71"/>
                </a:cxn>
                <a:cxn ang="0">
                  <a:pos x="408" y="76"/>
                </a:cxn>
                <a:cxn ang="0">
                  <a:pos x="434" y="86"/>
                </a:cxn>
                <a:cxn ang="0">
                  <a:pos x="460" y="97"/>
                </a:cxn>
                <a:cxn ang="0">
                  <a:pos x="485" y="109"/>
                </a:cxn>
                <a:cxn ang="0">
                  <a:pos x="510" y="121"/>
                </a:cxn>
                <a:cxn ang="0">
                  <a:pos x="535" y="134"/>
                </a:cxn>
                <a:cxn ang="0">
                  <a:pos x="559" y="147"/>
                </a:cxn>
                <a:cxn ang="0">
                  <a:pos x="584" y="161"/>
                </a:cxn>
                <a:cxn ang="0">
                  <a:pos x="608" y="176"/>
                </a:cxn>
                <a:cxn ang="0">
                  <a:pos x="631" y="191"/>
                </a:cxn>
                <a:cxn ang="0">
                  <a:pos x="654" y="206"/>
                </a:cxn>
                <a:cxn ang="0">
                  <a:pos x="677" y="223"/>
                </a:cxn>
                <a:cxn ang="0">
                  <a:pos x="699" y="239"/>
                </a:cxn>
                <a:cxn ang="0">
                  <a:pos x="721" y="257"/>
                </a:cxn>
                <a:cxn ang="0">
                  <a:pos x="742" y="275"/>
                </a:cxn>
                <a:cxn ang="0">
                  <a:pos x="763" y="293"/>
                </a:cxn>
                <a:cxn ang="0">
                  <a:pos x="773" y="303"/>
                </a:cxn>
                <a:cxn ang="0">
                  <a:pos x="783" y="312"/>
                </a:cxn>
                <a:cxn ang="0">
                  <a:pos x="803" y="332"/>
                </a:cxn>
                <a:cxn ang="0">
                  <a:pos x="829" y="359"/>
                </a:cxn>
                <a:cxn ang="0">
                  <a:pos x="854" y="386"/>
                </a:cxn>
                <a:cxn ang="0">
                  <a:pos x="866" y="400"/>
                </a:cxn>
                <a:cxn ang="0">
                  <a:pos x="878" y="414"/>
                </a:cxn>
                <a:cxn ang="0">
                  <a:pos x="901" y="444"/>
                </a:cxn>
                <a:cxn ang="0">
                  <a:pos x="912" y="458"/>
                </a:cxn>
                <a:cxn ang="0">
                  <a:pos x="923" y="473"/>
                </a:cxn>
                <a:cxn ang="0">
                  <a:pos x="933" y="489"/>
                </a:cxn>
                <a:cxn ang="0">
                  <a:pos x="944" y="504"/>
                </a:cxn>
                <a:cxn ang="0">
                  <a:pos x="964" y="535"/>
                </a:cxn>
                <a:cxn ang="0">
                  <a:pos x="974" y="551"/>
                </a:cxn>
                <a:cxn ang="0">
                  <a:pos x="983" y="568"/>
                </a:cxn>
                <a:cxn ang="0">
                  <a:pos x="491" y="851"/>
                </a:cxn>
                <a:cxn ang="0">
                  <a:pos x="0" y="1135"/>
                </a:cxn>
              </a:cxnLst>
              <a:rect l="0" t="0" r="r" b="b"/>
              <a:pathLst>
                <a:path w="983" h="1135">
                  <a:moveTo>
                    <a:pt x="0" y="1135"/>
                  </a:moveTo>
                  <a:lnTo>
                    <a:pt x="0" y="568"/>
                  </a:lnTo>
                  <a:lnTo>
                    <a:pt x="0" y="0"/>
                  </a:lnTo>
                  <a:lnTo>
                    <a:pt x="28" y="0"/>
                  </a:lnTo>
                  <a:lnTo>
                    <a:pt x="56" y="1"/>
                  </a:lnTo>
                  <a:lnTo>
                    <a:pt x="84" y="3"/>
                  </a:lnTo>
                  <a:lnTo>
                    <a:pt x="111" y="5"/>
                  </a:lnTo>
                  <a:lnTo>
                    <a:pt x="139" y="8"/>
                  </a:lnTo>
                  <a:lnTo>
                    <a:pt x="167" y="12"/>
                  </a:lnTo>
                  <a:lnTo>
                    <a:pt x="194" y="17"/>
                  </a:lnTo>
                  <a:lnTo>
                    <a:pt x="221" y="22"/>
                  </a:lnTo>
                  <a:lnTo>
                    <a:pt x="249" y="28"/>
                  </a:lnTo>
                  <a:lnTo>
                    <a:pt x="276" y="34"/>
                  </a:lnTo>
                  <a:lnTo>
                    <a:pt x="303" y="41"/>
                  </a:lnTo>
                  <a:lnTo>
                    <a:pt x="329" y="49"/>
                  </a:lnTo>
                  <a:lnTo>
                    <a:pt x="356" y="57"/>
                  </a:lnTo>
                  <a:lnTo>
                    <a:pt x="382" y="66"/>
                  </a:lnTo>
                  <a:lnTo>
                    <a:pt x="395" y="71"/>
                  </a:lnTo>
                  <a:lnTo>
                    <a:pt x="408" y="76"/>
                  </a:lnTo>
                  <a:lnTo>
                    <a:pt x="434" y="86"/>
                  </a:lnTo>
                  <a:lnTo>
                    <a:pt x="460" y="97"/>
                  </a:lnTo>
                  <a:lnTo>
                    <a:pt x="485" y="109"/>
                  </a:lnTo>
                  <a:lnTo>
                    <a:pt x="510" y="121"/>
                  </a:lnTo>
                  <a:lnTo>
                    <a:pt x="535" y="134"/>
                  </a:lnTo>
                  <a:lnTo>
                    <a:pt x="559" y="147"/>
                  </a:lnTo>
                  <a:lnTo>
                    <a:pt x="584" y="161"/>
                  </a:lnTo>
                  <a:lnTo>
                    <a:pt x="608" y="176"/>
                  </a:lnTo>
                  <a:lnTo>
                    <a:pt x="631" y="191"/>
                  </a:lnTo>
                  <a:lnTo>
                    <a:pt x="654" y="206"/>
                  </a:lnTo>
                  <a:lnTo>
                    <a:pt x="677" y="223"/>
                  </a:lnTo>
                  <a:lnTo>
                    <a:pt x="699" y="239"/>
                  </a:lnTo>
                  <a:lnTo>
                    <a:pt x="721" y="257"/>
                  </a:lnTo>
                  <a:lnTo>
                    <a:pt x="742" y="275"/>
                  </a:lnTo>
                  <a:lnTo>
                    <a:pt x="763" y="293"/>
                  </a:lnTo>
                  <a:lnTo>
                    <a:pt x="773" y="303"/>
                  </a:lnTo>
                  <a:lnTo>
                    <a:pt x="783" y="312"/>
                  </a:lnTo>
                  <a:lnTo>
                    <a:pt x="803" y="332"/>
                  </a:lnTo>
                  <a:lnTo>
                    <a:pt x="829" y="359"/>
                  </a:lnTo>
                  <a:lnTo>
                    <a:pt x="854" y="386"/>
                  </a:lnTo>
                  <a:lnTo>
                    <a:pt x="866" y="400"/>
                  </a:lnTo>
                  <a:lnTo>
                    <a:pt x="878" y="414"/>
                  </a:lnTo>
                  <a:lnTo>
                    <a:pt x="901" y="444"/>
                  </a:lnTo>
                  <a:lnTo>
                    <a:pt x="912" y="458"/>
                  </a:lnTo>
                  <a:lnTo>
                    <a:pt x="923" y="473"/>
                  </a:lnTo>
                  <a:lnTo>
                    <a:pt x="933" y="489"/>
                  </a:lnTo>
                  <a:lnTo>
                    <a:pt x="944" y="504"/>
                  </a:lnTo>
                  <a:lnTo>
                    <a:pt x="964" y="535"/>
                  </a:lnTo>
                  <a:lnTo>
                    <a:pt x="974" y="551"/>
                  </a:lnTo>
                  <a:lnTo>
                    <a:pt x="983" y="568"/>
                  </a:lnTo>
                  <a:lnTo>
                    <a:pt x="491" y="851"/>
                  </a:lnTo>
                  <a:lnTo>
                    <a:pt x="0" y="113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6" name="Freeform 116">
              <a:extLst>
                <a:ext uri="{FF2B5EF4-FFF2-40B4-BE49-F238E27FC236}">
                  <a16:creationId xmlns:a16="http://schemas.microsoft.com/office/drawing/2014/main" id="{6604F113-54EA-47D5-B9A0-9792C0122156}"/>
                </a:ext>
              </a:extLst>
            </p:cNvPr>
            <p:cNvSpPr>
              <a:spLocks/>
            </p:cNvSpPr>
            <p:nvPr/>
          </p:nvSpPr>
          <p:spPr bwMode="auto">
            <a:xfrm>
              <a:off x="2373313" y="4487887"/>
              <a:ext cx="930275" cy="930275"/>
            </a:xfrm>
            <a:custGeom>
              <a:avLst/>
              <a:gdLst/>
              <a:ahLst/>
              <a:cxnLst>
                <a:cxn ang="0">
                  <a:pos x="0" y="567"/>
                </a:cxn>
                <a:cxn ang="0">
                  <a:pos x="491" y="283"/>
                </a:cxn>
                <a:cxn ang="0">
                  <a:pos x="983" y="0"/>
                </a:cxn>
                <a:cxn ang="0">
                  <a:pos x="997" y="24"/>
                </a:cxn>
                <a:cxn ang="0">
                  <a:pos x="1010" y="49"/>
                </a:cxn>
                <a:cxn ang="0">
                  <a:pos x="1022" y="74"/>
                </a:cxn>
                <a:cxn ang="0">
                  <a:pos x="1034" y="99"/>
                </a:cxn>
                <a:cxn ang="0">
                  <a:pos x="1045" y="124"/>
                </a:cxn>
                <a:cxn ang="0">
                  <a:pos x="1056" y="150"/>
                </a:cxn>
                <a:cxn ang="0">
                  <a:pos x="1065" y="176"/>
                </a:cxn>
                <a:cxn ang="0">
                  <a:pos x="1075" y="202"/>
                </a:cxn>
                <a:cxn ang="0">
                  <a:pos x="1083" y="229"/>
                </a:cxn>
                <a:cxn ang="0">
                  <a:pos x="1091" y="255"/>
                </a:cxn>
                <a:cxn ang="0">
                  <a:pos x="1099" y="282"/>
                </a:cxn>
                <a:cxn ang="0">
                  <a:pos x="1105" y="309"/>
                </a:cxn>
                <a:cxn ang="0">
                  <a:pos x="1111" y="337"/>
                </a:cxn>
                <a:cxn ang="0">
                  <a:pos x="1116" y="364"/>
                </a:cxn>
                <a:cxn ang="0">
                  <a:pos x="1121" y="391"/>
                </a:cxn>
                <a:cxn ang="0">
                  <a:pos x="1125" y="419"/>
                </a:cxn>
                <a:cxn ang="0">
                  <a:pos x="1128" y="446"/>
                </a:cxn>
                <a:cxn ang="0">
                  <a:pos x="1131" y="474"/>
                </a:cxn>
                <a:cxn ang="0">
                  <a:pos x="1133" y="502"/>
                </a:cxn>
                <a:cxn ang="0">
                  <a:pos x="1134" y="530"/>
                </a:cxn>
                <a:cxn ang="0">
                  <a:pos x="1135" y="557"/>
                </a:cxn>
                <a:cxn ang="0">
                  <a:pos x="1135" y="585"/>
                </a:cxn>
                <a:cxn ang="0">
                  <a:pos x="1134" y="613"/>
                </a:cxn>
                <a:cxn ang="0">
                  <a:pos x="1133" y="641"/>
                </a:cxn>
                <a:cxn ang="0">
                  <a:pos x="1131" y="669"/>
                </a:cxn>
                <a:cxn ang="0">
                  <a:pos x="1128" y="696"/>
                </a:cxn>
                <a:cxn ang="0">
                  <a:pos x="1124" y="724"/>
                </a:cxn>
                <a:cxn ang="0">
                  <a:pos x="1120" y="751"/>
                </a:cxn>
                <a:cxn ang="0">
                  <a:pos x="1115" y="779"/>
                </a:cxn>
                <a:cxn ang="0">
                  <a:pos x="1110" y="806"/>
                </a:cxn>
                <a:cxn ang="0">
                  <a:pos x="1103" y="833"/>
                </a:cxn>
                <a:cxn ang="0">
                  <a:pos x="1096" y="860"/>
                </a:cxn>
                <a:cxn ang="0">
                  <a:pos x="1091" y="878"/>
                </a:cxn>
                <a:cxn ang="0">
                  <a:pos x="1086" y="896"/>
                </a:cxn>
                <a:cxn ang="0">
                  <a:pos x="1075" y="931"/>
                </a:cxn>
                <a:cxn ang="0">
                  <a:pos x="1062" y="966"/>
                </a:cxn>
                <a:cxn ang="0">
                  <a:pos x="1055" y="984"/>
                </a:cxn>
                <a:cxn ang="0">
                  <a:pos x="1049" y="1001"/>
                </a:cxn>
                <a:cxn ang="0">
                  <a:pos x="1034" y="1035"/>
                </a:cxn>
                <a:cxn ang="0">
                  <a:pos x="1018" y="1068"/>
                </a:cxn>
                <a:cxn ang="0">
                  <a:pos x="1010" y="1085"/>
                </a:cxn>
                <a:cxn ang="0">
                  <a:pos x="1001" y="1101"/>
                </a:cxn>
                <a:cxn ang="0">
                  <a:pos x="997" y="1109"/>
                </a:cxn>
                <a:cxn ang="0">
                  <a:pos x="992" y="1118"/>
                </a:cxn>
                <a:cxn ang="0">
                  <a:pos x="983" y="1134"/>
                </a:cxn>
                <a:cxn ang="0">
                  <a:pos x="491" y="850"/>
                </a:cxn>
                <a:cxn ang="0">
                  <a:pos x="0" y="567"/>
                </a:cxn>
              </a:cxnLst>
              <a:rect l="0" t="0" r="r" b="b"/>
              <a:pathLst>
                <a:path w="1135" h="1134">
                  <a:moveTo>
                    <a:pt x="0" y="567"/>
                  </a:moveTo>
                  <a:lnTo>
                    <a:pt x="491" y="283"/>
                  </a:lnTo>
                  <a:lnTo>
                    <a:pt x="983" y="0"/>
                  </a:lnTo>
                  <a:lnTo>
                    <a:pt x="997" y="24"/>
                  </a:lnTo>
                  <a:lnTo>
                    <a:pt x="1010" y="49"/>
                  </a:lnTo>
                  <a:lnTo>
                    <a:pt x="1022" y="74"/>
                  </a:lnTo>
                  <a:lnTo>
                    <a:pt x="1034" y="99"/>
                  </a:lnTo>
                  <a:lnTo>
                    <a:pt x="1045" y="124"/>
                  </a:lnTo>
                  <a:lnTo>
                    <a:pt x="1056" y="150"/>
                  </a:lnTo>
                  <a:lnTo>
                    <a:pt x="1065" y="176"/>
                  </a:lnTo>
                  <a:lnTo>
                    <a:pt x="1075" y="202"/>
                  </a:lnTo>
                  <a:lnTo>
                    <a:pt x="1083" y="229"/>
                  </a:lnTo>
                  <a:lnTo>
                    <a:pt x="1091" y="255"/>
                  </a:lnTo>
                  <a:lnTo>
                    <a:pt x="1099" y="282"/>
                  </a:lnTo>
                  <a:lnTo>
                    <a:pt x="1105" y="309"/>
                  </a:lnTo>
                  <a:lnTo>
                    <a:pt x="1111" y="337"/>
                  </a:lnTo>
                  <a:lnTo>
                    <a:pt x="1116" y="364"/>
                  </a:lnTo>
                  <a:lnTo>
                    <a:pt x="1121" y="391"/>
                  </a:lnTo>
                  <a:lnTo>
                    <a:pt x="1125" y="419"/>
                  </a:lnTo>
                  <a:lnTo>
                    <a:pt x="1128" y="446"/>
                  </a:lnTo>
                  <a:lnTo>
                    <a:pt x="1131" y="474"/>
                  </a:lnTo>
                  <a:lnTo>
                    <a:pt x="1133" y="502"/>
                  </a:lnTo>
                  <a:lnTo>
                    <a:pt x="1134" y="530"/>
                  </a:lnTo>
                  <a:lnTo>
                    <a:pt x="1135" y="557"/>
                  </a:lnTo>
                  <a:lnTo>
                    <a:pt x="1135" y="585"/>
                  </a:lnTo>
                  <a:lnTo>
                    <a:pt x="1134" y="613"/>
                  </a:lnTo>
                  <a:lnTo>
                    <a:pt x="1133" y="641"/>
                  </a:lnTo>
                  <a:lnTo>
                    <a:pt x="1131" y="669"/>
                  </a:lnTo>
                  <a:lnTo>
                    <a:pt x="1128" y="696"/>
                  </a:lnTo>
                  <a:lnTo>
                    <a:pt x="1124" y="724"/>
                  </a:lnTo>
                  <a:lnTo>
                    <a:pt x="1120" y="751"/>
                  </a:lnTo>
                  <a:lnTo>
                    <a:pt x="1115" y="779"/>
                  </a:lnTo>
                  <a:lnTo>
                    <a:pt x="1110" y="806"/>
                  </a:lnTo>
                  <a:lnTo>
                    <a:pt x="1103" y="833"/>
                  </a:lnTo>
                  <a:lnTo>
                    <a:pt x="1096" y="860"/>
                  </a:lnTo>
                  <a:lnTo>
                    <a:pt x="1091" y="878"/>
                  </a:lnTo>
                  <a:lnTo>
                    <a:pt x="1086" y="896"/>
                  </a:lnTo>
                  <a:lnTo>
                    <a:pt x="1075" y="931"/>
                  </a:lnTo>
                  <a:lnTo>
                    <a:pt x="1062" y="966"/>
                  </a:lnTo>
                  <a:lnTo>
                    <a:pt x="1055" y="984"/>
                  </a:lnTo>
                  <a:lnTo>
                    <a:pt x="1049" y="1001"/>
                  </a:lnTo>
                  <a:lnTo>
                    <a:pt x="1034" y="1035"/>
                  </a:lnTo>
                  <a:lnTo>
                    <a:pt x="1018" y="1068"/>
                  </a:lnTo>
                  <a:lnTo>
                    <a:pt x="1010" y="1085"/>
                  </a:lnTo>
                  <a:lnTo>
                    <a:pt x="1001" y="1101"/>
                  </a:lnTo>
                  <a:lnTo>
                    <a:pt x="997" y="1109"/>
                  </a:lnTo>
                  <a:lnTo>
                    <a:pt x="992" y="1118"/>
                  </a:lnTo>
                  <a:lnTo>
                    <a:pt x="983" y="1134"/>
                  </a:lnTo>
                  <a:lnTo>
                    <a:pt x="491" y="850"/>
                  </a:lnTo>
                  <a:lnTo>
                    <a:pt x="0" y="56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7" name="Freeform 117">
              <a:extLst>
                <a:ext uri="{FF2B5EF4-FFF2-40B4-BE49-F238E27FC236}">
                  <a16:creationId xmlns:a16="http://schemas.microsoft.com/office/drawing/2014/main" id="{8F72A7A1-1D4F-4308-A422-C5CC11AFD218}"/>
                </a:ext>
              </a:extLst>
            </p:cNvPr>
            <p:cNvSpPr>
              <a:spLocks/>
            </p:cNvSpPr>
            <p:nvPr/>
          </p:nvSpPr>
          <p:spPr bwMode="auto">
            <a:xfrm>
              <a:off x="2373313" y="4953025"/>
              <a:ext cx="806450" cy="930275"/>
            </a:xfrm>
            <a:custGeom>
              <a:avLst/>
              <a:gdLst/>
              <a:ahLst/>
              <a:cxnLst>
                <a:cxn ang="0">
                  <a:pos x="0" y="0"/>
                </a:cxn>
                <a:cxn ang="0">
                  <a:pos x="491" y="283"/>
                </a:cxn>
                <a:cxn ang="0">
                  <a:pos x="983" y="567"/>
                </a:cxn>
                <a:cxn ang="0">
                  <a:pos x="969" y="592"/>
                </a:cxn>
                <a:cxn ang="0">
                  <a:pos x="954" y="615"/>
                </a:cxn>
                <a:cxn ang="0">
                  <a:pos x="939" y="639"/>
                </a:cxn>
                <a:cxn ang="0">
                  <a:pos x="923" y="661"/>
                </a:cxn>
                <a:cxn ang="0">
                  <a:pos x="906" y="684"/>
                </a:cxn>
                <a:cxn ang="0">
                  <a:pos x="889" y="706"/>
                </a:cxn>
                <a:cxn ang="0">
                  <a:pos x="872" y="727"/>
                </a:cxn>
                <a:cxn ang="0">
                  <a:pos x="854" y="748"/>
                </a:cxn>
                <a:cxn ang="0">
                  <a:pos x="835" y="769"/>
                </a:cxn>
                <a:cxn ang="0">
                  <a:pos x="816" y="789"/>
                </a:cxn>
                <a:cxn ang="0">
                  <a:pos x="796" y="809"/>
                </a:cxn>
                <a:cxn ang="0">
                  <a:pos x="776" y="828"/>
                </a:cxn>
                <a:cxn ang="0">
                  <a:pos x="756" y="847"/>
                </a:cxn>
                <a:cxn ang="0">
                  <a:pos x="735" y="865"/>
                </a:cxn>
                <a:cxn ang="0">
                  <a:pos x="713" y="883"/>
                </a:cxn>
                <a:cxn ang="0">
                  <a:pos x="691" y="900"/>
                </a:cxn>
                <a:cxn ang="0">
                  <a:pos x="669" y="917"/>
                </a:cxn>
                <a:cxn ang="0">
                  <a:pos x="646" y="933"/>
                </a:cxn>
                <a:cxn ang="0">
                  <a:pos x="623" y="949"/>
                </a:cxn>
                <a:cxn ang="0">
                  <a:pos x="600" y="964"/>
                </a:cxn>
                <a:cxn ang="0">
                  <a:pos x="576" y="978"/>
                </a:cxn>
                <a:cxn ang="0">
                  <a:pos x="551" y="992"/>
                </a:cxn>
                <a:cxn ang="0">
                  <a:pos x="527" y="1005"/>
                </a:cxn>
                <a:cxn ang="0">
                  <a:pos x="502" y="1018"/>
                </a:cxn>
                <a:cxn ang="0">
                  <a:pos x="477" y="1030"/>
                </a:cxn>
                <a:cxn ang="0">
                  <a:pos x="451" y="1041"/>
                </a:cxn>
                <a:cxn ang="0">
                  <a:pos x="426" y="1052"/>
                </a:cxn>
                <a:cxn ang="0">
                  <a:pos x="400" y="1062"/>
                </a:cxn>
                <a:cxn ang="0">
                  <a:pos x="374" y="1072"/>
                </a:cxn>
                <a:cxn ang="0">
                  <a:pos x="347" y="1081"/>
                </a:cxn>
                <a:cxn ang="0">
                  <a:pos x="321" y="1089"/>
                </a:cxn>
                <a:cxn ang="0">
                  <a:pos x="294" y="1096"/>
                </a:cxn>
                <a:cxn ang="0">
                  <a:pos x="258" y="1105"/>
                </a:cxn>
                <a:cxn ang="0">
                  <a:pos x="240" y="1109"/>
                </a:cxn>
                <a:cxn ang="0">
                  <a:pos x="221" y="1113"/>
                </a:cxn>
                <a:cxn ang="0">
                  <a:pos x="185" y="1120"/>
                </a:cxn>
                <a:cxn ang="0">
                  <a:pos x="148" y="1125"/>
                </a:cxn>
                <a:cxn ang="0">
                  <a:pos x="111" y="1129"/>
                </a:cxn>
                <a:cxn ang="0">
                  <a:pos x="74" y="1132"/>
                </a:cxn>
                <a:cxn ang="0">
                  <a:pos x="56" y="1133"/>
                </a:cxn>
                <a:cxn ang="0">
                  <a:pos x="37" y="1134"/>
                </a:cxn>
                <a:cxn ang="0">
                  <a:pos x="19" y="1135"/>
                </a:cxn>
                <a:cxn ang="0">
                  <a:pos x="0" y="1135"/>
                </a:cxn>
                <a:cxn ang="0">
                  <a:pos x="0" y="567"/>
                </a:cxn>
                <a:cxn ang="0">
                  <a:pos x="0" y="0"/>
                </a:cxn>
              </a:cxnLst>
              <a:rect l="0" t="0" r="r" b="b"/>
              <a:pathLst>
                <a:path w="983" h="1135">
                  <a:moveTo>
                    <a:pt x="0" y="0"/>
                  </a:moveTo>
                  <a:lnTo>
                    <a:pt x="491" y="283"/>
                  </a:lnTo>
                  <a:lnTo>
                    <a:pt x="983" y="567"/>
                  </a:lnTo>
                  <a:lnTo>
                    <a:pt x="969" y="592"/>
                  </a:lnTo>
                  <a:lnTo>
                    <a:pt x="954" y="615"/>
                  </a:lnTo>
                  <a:lnTo>
                    <a:pt x="939" y="639"/>
                  </a:lnTo>
                  <a:lnTo>
                    <a:pt x="923" y="661"/>
                  </a:lnTo>
                  <a:lnTo>
                    <a:pt x="906" y="684"/>
                  </a:lnTo>
                  <a:lnTo>
                    <a:pt x="889" y="706"/>
                  </a:lnTo>
                  <a:lnTo>
                    <a:pt x="872" y="727"/>
                  </a:lnTo>
                  <a:lnTo>
                    <a:pt x="854" y="748"/>
                  </a:lnTo>
                  <a:lnTo>
                    <a:pt x="835" y="769"/>
                  </a:lnTo>
                  <a:lnTo>
                    <a:pt x="816" y="789"/>
                  </a:lnTo>
                  <a:lnTo>
                    <a:pt x="796" y="809"/>
                  </a:lnTo>
                  <a:lnTo>
                    <a:pt x="776" y="828"/>
                  </a:lnTo>
                  <a:lnTo>
                    <a:pt x="756" y="847"/>
                  </a:lnTo>
                  <a:lnTo>
                    <a:pt x="735" y="865"/>
                  </a:lnTo>
                  <a:lnTo>
                    <a:pt x="713" y="883"/>
                  </a:lnTo>
                  <a:lnTo>
                    <a:pt x="691" y="900"/>
                  </a:lnTo>
                  <a:lnTo>
                    <a:pt x="669" y="917"/>
                  </a:lnTo>
                  <a:lnTo>
                    <a:pt x="646" y="933"/>
                  </a:lnTo>
                  <a:lnTo>
                    <a:pt x="623" y="949"/>
                  </a:lnTo>
                  <a:lnTo>
                    <a:pt x="600" y="964"/>
                  </a:lnTo>
                  <a:lnTo>
                    <a:pt x="576" y="978"/>
                  </a:lnTo>
                  <a:lnTo>
                    <a:pt x="551" y="992"/>
                  </a:lnTo>
                  <a:lnTo>
                    <a:pt x="527" y="1005"/>
                  </a:lnTo>
                  <a:lnTo>
                    <a:pt x="502" y="1018"/>
                  </a:lnTo>
                  <a:lnTo>
                    <a:pt x="477" y="1030"/>
                  </a:lnTo>
                  <a:lnTo>
                    <a:pt x="451" y="1041"/>
                  </a:lnTo>
                  <a:lnTo>
                    <a:pt x="426" y="1052"/>
                  </a:lnTo>
                  <a:lnTo>
                    <a:pt x="400" y="1062"/>
                  </a:lnTo>
                  <a:lnTo>
                    <a:pt x="374" y="1072"/>
                  </a:lnTo>
                  <a:lnTo>
                    <a:pt x="347" y="1081"/>
                  </a:lnTo>
                  <a:lnTo>
                    <a:pt x="321" y="1089"/>
                  </a:lnTo>
                  <a:lnTo>
                    <a:pt x="294" y="1096"/>
                  </a:lnTo>
                  <a:lnTo>
                    <a:pt x="258" y="1105"/>
                  </a:lnTo>
                  <a:lnTo>
                    <a:pt x="240" y="1109"/>
                  </a:lnTo>
                  <a:lnTo>
                    <a:pt x="221" y="1113"/>
                  </a:lnTo>
                  <a:lnTo>
                    <a:pt x="185" y="1120"/>
                  </a:lnTo>
                  <a:lnTo>
                    <a:pt x="148" y="1125"/>
                  </a:lnTo>
                  <a:lnTo>
                    <a:pt x="111" y="1129"/>
                  </a:lnTo>
                  <a:lnTo>
                    <a:pt x="74" y="1132"/>
                  </a:lnTo>
                  <a:lnTo>
                    <a:pt x="56" y="1133"/>
                  </a:lnTo>
                  <a:lnTo>
                    <a:pt x="37" y="1134"/>
                  </a:lnTo>
                  <a:lnTo>
                    <a:pt x="19" y="1135"/>
                  </a:lnTo>
                  <a:lnTo>
                    <a:pt x="0" y="1135"/>
                  </a:lnTo>
                  <a:lnTo>
                    <a:pt x="0" y="567"/>
                  </a:lnTo>
                  <a:lnTo>
                    <a:pt x="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8" name="Freeform 118">
              <a:extLst>
                <a:ext uri="{FF2B5EF4-FFF2-40B4-BE49-F238E27FC236}">
                  <a16:creationId xmlns:a16="http://schemas.microsoft.com/office/drawing/2014/main" id="{DCBA7D89-AF05-468B-9396-548CCA7C3C6A}"/>
                </a:ext>
              </a:extLst>
            </p:cNvPr>
            <p:cNvSpPr>
              <a:spLocks/>
            </p:cNvSpPr>
            <p:nvPr/>
          </p:nvSpPr>
          <p:spPr bwMode="auto">
            <a:xfrm>
              <a:off x="1568450" y="4953025"/>
              <a:ext cx="804863" cy="930275"/>
            </a:xfrm>
            <a:custGeom>
              <a:avLst/>
              <a:gdLst/>
              <a:ahLst/>
              <a:cxnLst>
                <a:cxn ang="0">
                  <a:pos x="982" y="0"/>
                </a:cxn>
                <a:cxn ang="0">
                  <a:pos x="982" y="567"/>
                </a:cxn>
                <a:cxn ang="0">
                  <a:pos x="982" y="1135"/>
                </a:cxn>
                <a:cxn ang="0">
                  <a:pos x="954" y="1134"/>
                </a:cxn>
                <a:cxn ang="0">
                  <a:pos x="927" y="1133"/>
                </a:cxn>
                <a:cxn ang="0">
                  <a:pos x="899" y="1132"/>
                </a:cxn>
                <a:cxn ang="0">
                  <a:pos x="871" y="1129"/>
                </a:cxn>
                <a:cxn ang="0">
                  <a:pos x="843" y="1126"/>
                </a:cxn>
                <a:cxn ang="0">
                  <a:pos x="816" y="1122"/>
                </a:cxn>
                <a:cxn ang="0">
                  <a:pos x="788" y="1118"/>
                </a:cxn>
                <a:cxn ang="0">
                  <a:pos x="761" y="1113"/>
                </a:cxn>
                <a:cxn ang="0">
                  <a:pos x="734" y="1107"/>
                </a:cxn>
                <a:cxn ang="0">
                  <a:pos x="707" y="1101"/>
                </a:cxn>
                <a:cxn ang="0">
                  <a:pos x="680" y="1094"/>
                </a:cxn>
                <a:cxn ang="0">
                  <a:pos x="653" y="1086"/>
                </a:cxn>
                <a:cxn ang="0">
                  <a:pos x="627" y="1077"/>
                </a:cxn>
                <a:cxn ang="0">
                  <a:pos x="600" y="1068"/>
                </a:cxn>
                <a:cxn ang="0">
                  <a:pos x="587" y="1064"/>
                </a:cxn>
                <a:cxn ang="0">
                  <a:pos x="574" y="1059"/>
                </a:cxn>
                <a:cxn ang="0">
                  <a:pos x="548" y="1048"/>
                </a:cxn>
                <a:cxn ang="0">
                  <a:pos x="523" y="1037"/>
                </a:cxn>
                <a:cxn ang="0">
                  <a:pos x="498" y="1026"/>
                </a:cxn>
                <a:cxn ang="0">
                  <a:pos x="473" y="1014"/>
                </a:cxn>
                <a:cxn ang="0">
                  <a:pos x="448" y="1001"/>
                </a:cxn>
                <a:cxn ang="0">
                  <a:pos x="423" y="988"/>
                </a:cxn>
                <a:cxn ang="0">
                  <a:pos x="398" y="974"/>
                </a:cxn>
                <a:cxn ang="0">
                  <a:pos x="375" y="959"/>
                </a:cxn>
                <a:cxn ang="0">
                  <a:pos x="351" y="944"/>
                </a:cxn>
                <a:cxn ang="0">
                  <a:pos x="328" y="928"/>
                </a:cxn>
                <a:cxn ang="0">
                  <a:pos x="306" y="912"/>
                </a:cxn>
                <a:cxn ang="0">
                  <a:pos x="284" y="895"/>
                </a:cxn>
                <a:cxn ang="0">
                  <a:pos x="262" y="878"/>
                </a:cxn>
                <a:cxn ang="0">
                  <a:pos x="241" y="860"/>
                </a:cxn>
                <a:cxn ang="0">
                  <a:pos x="220" y="841"/>
                </a:cxn>
                <a:cxn ang="0">
                  <a:pos x="210" y="832"/>
                </a:cxn>
                <a:cxn ang="0">
                  <a:pos x="200" y="822"/>
                </a:cxn>
                <a:cxn ang="0">
                  <a:pos x="180" y="803"/>
                </a:cxn>
                <a:cxn ang="0">
                  <a:pos x="154" y="776"/>
                </a:cxn>
                <a:cxn ang="0">
                  <a:pos x="129" y="748"/>
                </a:cxn>
                <a:cxn ang="0">
                  <a:pos x="117" y="734"/>
                </a:cxn>
                <a:cxn ang="0">
                  <a:pos x="105" y="720"/>
                </a:cxn>
                <a:cxn ang="0">
                  <a:pos x="82" y="691"/>
                </a:cxn>
                <a:cxn ang="0">
                  <a:pos x="71" y="676"/>
                </a:cxn>
                <a:cxn ang="0">
                  <a:pos x="60" y="661"/>
                </a:cxn>
                <a:cxn ang="0">
                  <a:pos x="49" y="646"/>
                </a:cxn>
                <a:cxn ang="0">
                  <a:pos x="39" y="631"/>
                </a:cxn>
                <a:cxn ang="0">
                  <a:pos x="19" y="600"/>
                </a:cxn>
                <a:cxn ang="0">
                  <a:pos x="9" y="584"/>
                </a:cxn>
                <a:cxn ang="0">
                  <a:pos x="0" y="567"/>
                </a:cxn>
                <a:cxn ang="0">
                  <a:pos x="491" y="283"/>
                </a:cxn>
                <a:cxn ang="0">
                  <a:pos x="982" y="0"/>
                </a:cxn>
              </a:cxnLst>
              <a:rect l="0" t="0" r="r" b="b"/>
              <a:pathLst>
                <a:path w="982" h="1135">
                  <a:moveTo>
                    <a:pt x="982" y="0"/>
                  </a:moveTo>
                  <a:lnTo>
                    <a:pt x="982" y="567"/>
                  </a:lnTo>
                  <a:lnTo>
                    <a:pt x="982" y="1135"/>
                  </a:lnTo>
                  <a:lnTo>
                    <a:pt x="954" y="1134"/>
                  </a:lnTo>
                  <a:lnTo>
                    <a:pt x="927" y="1133"/>
                  </a:lnTo>
                  <a:lnTo>
                    <a:pt x="899" y="1132"/>
                  </a:lnTo>
                  <a:lnTo>
                    <a:pt x="871" y="1129"/>
                  </a:lnTo>
                  <a:lnTo>
                    <a:pt x="843" y="1126"/>
                  </a:lnTo>
                  <a:lnTo>
                    <a:pt x="816" y="1122"/>
                  </a:lnTo>
                  <a:lnTo>
                    <a:pt x="788" y="1118"/>
                  </a:lnTo>
                  <a:lnTo>
                    <a:pt x="761" y="1113"/>
                  </a:lnTo>
                  <a:lnTo>
                    <a:pt x="734" y="1107"/>
                  </a:lnTo>
                  <a:lnTo>
                    <a:pt x="707" y="1101"/>
                  </a:lnTo>
                  <a:lnTo>
                    <a:pt x="680" y="1094"/>
                  </a:lnTo>
                  <a:lnTo>
                    <a:pt x="653" y="1086"/>
                  </a:lnTo>
                  <a:lnTo>
                    <a:pt x="627" y="1077"/>
                  </a:lnTo>
                  <a:lnTo>
                    <a:pt x="600" y="1068"/>
                  </a:lnTo>
                  <a:lnTo>
                    <a:pt x="587" y="1064"/>
                  </a:lnTo>
                  <a:lnTo>
                    <a:pt x="574" y="1059"/>
                  </a:lnTo>
                  <a:lnTo>
                    <a:pt x="548" y="1048"/>
                  </a:lnTo>
                  <a:lnTo>
                    <a:pt x="523" y="1037"/>
                  </a:lnTo>
                  <a:lnTo>
                    <a:pt x="498" y="1026"/>
                  </a:lnTo>
                  <a:lnTo>
                    <a:pt x="473" y="1014"/>
                  </a:lnTo>
                  <a:lnTo>
                    <a:pt x="448" y="1001"/>
                  </a:lnTo>
                  <a:lnTo>
                    <a:pt x="423" y="988"/>
                  </a:lnTo>
                  <a:lnTo>
                    <a:pt x="398" y="974"/>
                  </a:lnTo>
                  <a:lnTo>
                    <a:pt x="375" y="959"/>
                  </a:lnTo>
                  <a:lnTo>
                    <a:pt x="351" y="944"/>
                  </a:lnTo>
                  <a:lnTo>
                    <a:pt x="328" y="928"/>
                  </a:lnTo>
                  <a:lnTo>
                    <a:pt x="306" y="912"/>
                  </a:lnTo>
                  <a:lnTo>
                    <a:pt x="284" y="895"/>
                  </a:lnTo>
                  <a:lnTo>
                    <a:pt x="262" y="878"/>
                  </a:lnTo>
                  <a:lnTo>
                    <a:pt x="241" y="860"/>
                  </a:lnTo>
                  <a:lnTo>
                    <a:pt x="220" y="841"/>
                  </a:lnTo>
                  <a:lnTo>
                    <a:pt x="210" y="832"/>
                  </a:lnTo>
                  <a:lnTo>
                    <a:pt x="200" y="822"/>
                  </a:lnTo>
                  <a:lnTo>
                    <a:pt x="180" y="803"/>
                  </a:lnTo>
                  <a:lnTo>
                    <a:pt x="154" y="776"/>
                  </a:lnTo>
                  <a:lnTo>
                    <a:pt x="129" y="748"/>
                  </a:lnTo>
                  <a:lnTo>
                    <a:pt x="117" y="734"/>
                  </a:lnTo>
                  <a:lnTo>
                    <a:pt x="105" y="720"/>
                  </a:lnTo>
                  <a:lnTo>
                    <a:pt x="82" y="691"/>
                  </a:lnTo>
                  <a:lnTo>
                    <a:pt x="71" y="676"/>
                  </a:lnTo>
                  <a:lnTo>
                    <a:pt x="60" y="661"/>
                  </a:lnTo>
                  <a:lnTo>
                    <a:pt x="49" y="646"/>
                  </a:lnTo>
                  <a:lnTo>
                    <a:pt x="39" y="631"/>
                  </a:lnTo>
                  <a:lnTo>
                    <a:pt x="19" y="600"/>
                  </a:lnTo>
                  <a:lnTo>
                    <a:pt x="9" y="584"/>
                  </a:lnTo>
                  <a:lnTo>
                    <a:pt x="0" y="567"/>
                  </a:lnTo>
                  <a:lnTo>
                    <a:pt x="491" y="283"/>
                  </a:lnTo>
                  <a:lnTo>
                    <a:pt x="982"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9" name="Freeform 119">
              <a:extLst>
                <a:ext uri="{FF2B5EF4-FFF2-40B4-BE49-F238E27FC236}">
                  <a16:creationId xmlns:a16="http://schemas.microsoft.com/office/drawing/2014/main" id="{30EB1490-8E9E-42A7-B051-8C841B8F0D1D}"/>
                </a:ext>
              </a:extLst>
            </p:cNvPr>
            <p:cNvSpPr>
              <a:spLocks/>
            </p:cNvSpPr>
            <p:nvPr/>
          </p:nvSpPr>
          <p:spPr bwMode="auto">
            <a:xfrm>
              <a:off x="1443038" y="4487887"/>
              <a:ext cx="930275" cy="930275"/>
            </a:xfrm>
            <a:custGeom>
              <a:avLst/>
              <a:gdLst/>
              <a:ahLst/>
              <a:cxnLst>
                <a:cxn ang="0">
                  <a:pos x="1135" y="567"/>
                </a:cxn>
                <a:cxn ang="0">
                  <a:pos x="644" y="850"/>
                </a:cxn>
                <a:cxn ang="0">
                  <a:pos x="153" y="1134"/>
                </a:cxn>
                <a:cxn ang="0">
                  <a:pos x="139" y="1109"/>
                </a:cxn>
                <a:cxn ang="0">
                  <a:pos x="126" y="1085"/>
                </a:cxn>
                <a:cxn ang="0">
                  <a:pos x="113" y="1060"/>
                </a:cxn>
                <a:cxn ang="0">
                  <a:pos x="102" y="1035"/>
                </a:cxn>
                <a:cxn ang="0">
                  <a:pos x="90" y="1009"/>
                </a:cxn>
                <a:cxn ang="0">
                  <a:pos x="80" y="984"/>
                </a:cxn>
                <a:cxn ang="0">
                  <a:pos x="70" y="958"/>
                </a:cxn>
                <a:cxn ang="0">
                  <a:pos x="61" y="931"/>
                </a:cxn>
                <a:cxn ang="0">
                  <a:pos x="52" y="905"/>
                </a:cxn>
                <a:cxn ang="0">
                  <a:pos x="44" y="878"/>
                </a:cxn>
                <a:cxn ang="0">
                  <a:pos x="37" y="851"/>
                </a:cxn>
                <a:cxn ang="0">
                  <a:pos x="30" y="824"/>
                </a:cxn>
                <a:cxn ang="0">
                  <a:pos x="24" y="797"/>
                </a:cxn>
                <a:cxn ang="0">
                  <a:pos x="19" y="770"/>
                </a:cxn>
                <a:cxn ang="0">
                  <a:pos x="14" y="742"/>
                </a:cxn>
                <a:cxn ang="0">
                  <a:pos x="10" y="715"/>
                </a:cxn>
                <a:cxn ang="0">
                  <a:pos x="7" y="687"/>
                </a:cxn>
                <a:cxn ang="0">
                  <a:pos x="4" y="659"/>
                </a:cxn>
                <a:cxn ang="0">
                  <a:pos x="2" y="632"/>
                </a:cxn>
                <a:cxn ang="0">
                  <a:pos x="1" y="604"/>
                </a:cxn>
                <a:cxn ang="0">
                  <a:pos x="0" y="576"/>
                </a:cxn>
                <a:cxn ang="0">
                  <a:pos x="1" y="548"/>
                </a:cxn>
                <a:cxn ang="0">
                  <a:pos x="1" y="520"/>
                </a:cxn>
                <a:cxn ang="0">
                  <a:pos x="3" y="493"/>
                </a:cxn>
                <a:cxn ang="0">
                  <a:pos x="5" y="465"/>
                </a:cxn>
                <a:cxn ang="0">
                  <a:pos x="8" y="437"/>
                </a:cxn>
                <a:cxn ang="0">
                  <a:pos x="11" y="410"/>
                </a:cxn>
                <a:cxn ang="0">
                  <a:pos x="15" y="382"/>
                </a:cxn>
                <a:cxn ang="0">
                  <a:pos x="20" y="355"/>
                </a:cxn>
                <a:cxn ang="0">
                  <a:pos x="26" y="327"/>
                </a:cxn>
                <a:cxn ang="0">
                  <a:pos x="32" y="300"/>
                </a:cxn>
                <a:cxn ang="0">
                  <a:pos x="39" y="273"/>
                </a:cxn>
                <a:cxn ang="0">
                  <a:pos x="44" y="255"/>
                </a:cxn>
                <a:cxn ang="0">
                  <a:pos x="49" y="238"/>
                </a:cxn>
                <a:cxn ang="0">
                  <a:pos x="61" y="202"/>
                </a:cxn>
                <a:cxn ang="0">
                  <a:pos x="73" y="167"/>
                </a:cxn>
                <a:cxn ang="0">
                  <a:pos x="80" y="150"/>
                </a:cxn>
                <a:cxn ang="0">
                  <a:pos x="87" y="133"/>
                </a:cxn>
                <a:cxn ang="0">
                  <a:pos x="102" y="99"/>
                </a:cxn>
                <a:cxn ang="0">
                  <a:pos x="118" y="65"/>
                </a:cxn>
                <a:cxn ang="0">
                  <a:pos x="126" y="49"/>
                </a:cxn>
                <a:cxn ang="0">
                  <a:pos x="135" y="32"/>
                </a:cxn>
                <a:cxn ang="0">
                  <a:pos x="139" y="24"/>
                </a:cxn>
                <a:cxn ang="0">
                  <a:pos x="143" y="16"/>
                </a:cxn>
                <a:cxn ang="0">
                  <a:pos x="153" y="0"/>
                </a:cxn>
                <a:cxn ang="0">
                  <a:pos x="644" y="283"/>
                </a:cxn>
                <a:cxn ang="0">
                  <a:pos x="1135" y="567"/>
                </a:cxn>
              </a:cxnLst>
              <a:rect l="0" t="0" r="r" b="b"/>
              <a:pathLst>
                <a:path w="1135" h="1134">
                  <a:moveTo>
                    <a:pt x="1135" y="567"/>
                  </a:moveTo>
                  <a:lnTo>
                    <a:pt x="644" y="850"/>
                  </a:lnTo>
                  <a:lnTo>
                    <a:pt x="153" y="1134"/>
                  </a:lnTo>
                  <a:lnTo>
                    <a:pt x="139" y="1109"/>
                  </a:lnTo>
                  <a:lnTo>
                    <a:pt x="126" y="1085"/>
                  </a:lnTo>
                  <a:lnTo>
                    <a:pt x="113" y="1060"/>
                  </a:lnTo>
                  <a:lnTo>
                    <a:pt x="102" y="1035"/>
                  </a:lnTo>
                  <a:lnTo>
                    <a:pt x="90" y="1009"/>
                  </a:lnTo>
                  <a:lnTo>
                    <a:pt x="80" y="984"/>
                  </a:lnTo>
                  <a:lnTo>
                    <a:pt x="70" y="958"/>
                  </a:lnTo>
                  <a:lnTo>
                    <a:pt x="61" y="931"/>
                  </a:lnTo>
                  <a:lnTo>
                    <a:pt x="52" y="905"/>
                  </a:lnTo>
                  <a:lnTo>
                    <a:pt x="44" y="878"/>
                  </a:lnTo>
                  <a:lnTo>
                    <a:pt x="37" y="851"/>
                  </a:lnTo>
                  <a:lnTo>
                    <a:pt x="30" y="824"/>
                  </a:lnTo>
                  <a:lnTo>
                    <a:pt x="24" y="797"/>
                  </a:lnTo>
                  <a:lnTo>
                    <a:pt x="19" y="770"/>
                  </a:lnTo>
                  <a:lnTo>
                    <a:pt x="14" y="742"/>
                  </a:lnTo>
                  <a:lnTo>
                    <a:pt x="10" y="715"/>
                  </a:lnTo>
                  <a:lnTo>
                    <a:pt x="7" y="687"/>
                  </a:lnTo>
                  <a:lnTo>
                    <a:pt x="4" y="659"/>
                  </a:lnTo>
                  <a:lnTo>
                    <a:pt x="2" y="632"/>
                  </a:lnTo>
                  <a:lnTo>
                    <a:pt x="1" y="604"/>
                  </a:lnTo>
                  <a:lnTo>
                    <a:pt x="0" y="576"/>
                  </a:lnTo>
                  <a:lnTo>
                    <a:pt x="1" y="548"/>
                  </a:lnTo>
                  <a:lnTo>
                    <a:pt x="1" y="520"/>
                  </a:lnTo>
                  <a:lnTo>
                    <a:pt x="3" y="493"/>
                  </a:lnTo>
                  <a:lnTo>
                    <a:pt x="5" y="465"/>
                  </a:lnTo>
                  <a:lnTo>
                    <a:pt x="8" y="437"/>
                  </a:lnTo>
                  <a:lnTo>
                    <a:pt x="11" y="410"/>
                  </a:lnTo>
                  <a:lnTo>
                    <a:pt x="15" y="382"/>
                  </a:lnTo>
                  <a:lnTo>
                    <a:pt x="20" y="355"/>
                  </a:lnTo>
                  <a:lnTo>
                    <a:pt x="26" y="327"/>
                  </a:lnTo>
                  <a:lnTo>
                    <a:pt x="32" y="300"/>
                  </a:lnTo>
                  <a:lnTo>
                    <a:pt x="39" y="273"/>
                  </a:lnTo>
                  <a:lnTo>
                    <a:pt x="44" y="255"/>
                  </a:lnTo>
                  <a:lnTo>
                    <a:pt x="49" y="238"/>
                  </a:lnTo>
                  <a:lnTo>
                    <a:pt x="61" y="202"/>
                  </a:lnTo>
                  <a:lnTo>
                    <a:pt x="73" y="167"/>
                  </a:lnTo>
                  <a:lnTo>
                    <a:pt x="80" y="150"/>
                  </a:lnTo>
                  <a:lnTo>
                    <a:pt x="87" y="133"/>
                  </a:lnTo>
                  <a:lnTo>
                    <a:pt x="102" y="99"/>
                  </a:lnTo>
                  <a:lnTo>
                    <a:pt x="118" y="65"/>
                  </a:lnTo>
                  <a:lnTo>
                    <a:pt x="126" y="49"/>
                  </a:lnTo>
                  <a:lnTo>
                    <a:pt x="135" y="32"/>
                  </a:lnTo>
                  <a:lnTo>
                    <a:pt x="139" y="24"/>
                  </a:lnTo>
                  <a:lnTo>
                    <a:pt x="143" y="16"/>
                  </a:lnTo>
                  <a:lnTo>
                    <a:pt x="153" y="0"/>
                  </a:lnTo>
                  <a:lnTo>
                    <a:pt x="644" y="283"/>
                  </a:lnTo>
                  <a:lnTo>
                    <a:pt x="1135" y="56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20" name="Freeform 120">
              <a:extLst>
                <a:ext uri="{FF2B5EF4-FFF2-40B4-BE49-F238E27FC236}">
                  <a16:creationId xmlns:a16="http://schemas.microsoft.com/office/drawing/2014/main" id="{04E98B6F-DA6C-45B4-847C-C90664C0E2FB}"/>
                </a:ext>
              </a:extLst>
            </p:cNvPr>
            <p:cNvSpPr>
              <a:spLocks/>
            </p:cNvSpPr>
            <p:nvPr/>
          </p:nvSpPr>
          <p:spPr bwMode="auto">
            <a:xfrm>
              <a:off x="1568450" y="4022750"/>
              <a:ext cx="804863" cy="930275"/>
            </a:xfrm>
            <a:custGeom>
              <a:avLst/>
              <a:gdLst/>
              <a:ahLst/>
              <a:cxnLst>
                <a:cxn ang="0">
                  <a:pos x="982" y="1135"/>
                </a:cxn>
                <a:cxn ang="0">
                  <a:pos x="491" y="851"/>
                </a:cxn>
                <a:cxn ang="0">
                  <a:pos x="0" y="568"/>
                </a:cxn>
                <a:cxn ang="0">
                  <a:pos x="14" y="543"/>
                </a:cxn>
                <a:cxn ang="0">
                  <a:pos x="28" y="519"/>
                </a:cxn>
                <a:cxn ang="0">
                  <a:pos x="44" y="496"/>
                </a:cxn>
                <a:cxn ang="0">
                  <a:pos x="60" y="473"/>
                </a:cxn>
                <a:cxn ang="0">
                  <a:pos x="76" y="451"/>
                </a:cxn>
                <a:cxn ang="0">
                  <a:pos x="93" y="429"/>
                </a:cxn>
                <a:cxn ang="0">
                  <a:pos x="111" y="407"/>
                </a:cxn>
                <a:cxn ang="0">
                  <a:pos x="129" y="386"/>
                </a:cxn>
                <a:cxn ang="0">
                  <a:pos x="148" y="366"/>
                </a:cxn>
                <a:cxn ang="0">
                  <a:pos x="167" y="345"/>
                </a:cxn>
                <a:cxn ang="0">
                  <a:pos x="186" y="326"/>
                </a:cxn>
                <a:cxn ang="0">
                  <a:pos x="206" y="306"/>
                </a:cxn>
                <a:cxn ang="0">
                  <a:pos x="227" y="288"/>
                </a:cxn>
                <a:cxn ang="0">
                  <a:pos x="248" y="269"/>
                </a:cxn>
                <a:cxn ang="0">
                  <a:pos x="269" y="251"/>
                </a:cxn>
                <a:cxn ang="0">
                  <a:pos x="291" y="234"/>
                </a:cxn>
                <a:cxn ang="0">
                  <a:pos x="313" y="218"/>
                </a:cxn>
                <a:cxn ang="0">
                  <a:pos x="336" y="201"/>
                </a:cxn>
                <a:cxn ang="0">
                  <a:pos x="359" y="186"/>
                </a:cxn>
                <a:cxn ang="0">
                  <a:pos x="383" y="171"/>
                </a:cxn>
                <a:cxn ang="0">
                  <a:pos x="406" y="156"/>
                </a:cxn>
                <a:cxn ang="0">
                  <a:pos x="431" y="142"/>
                </a:cxn>
                <a:cxn ang="0">
                  <a:pos x="456" y="129"/>
                </a:cxn>
                <a:cxn ang="0">
                  <a:pos x="481" y="117"/>
                </a:cxn>
                <a:cxn ang="0">
                  <a:pos x="506" y="105"/>
                </a:cxn>
                <a:cxn ang="0">
                  <a:pos x="531" y="93"/>
                </a:cxn>
                <a:cxn ang="0">
                  <a:pos x="557" y="82"/>
                </a:cxn>
                <a:cxn ang="0">
                  <a:pos x="583" y="72"/>
                </a:cxn>
                <a:cxn ang="0">
                  <a:pos x="609" y="63"/>
                </a:cxn>
                <a:cxn ang="0">
                  <a:pos x="635" y="54"/>
                </a:cxn>
                <a:cxn ang="0">
                  <a:pos x="662" y="46"/>
                </a:cxn>
                <a:cxn ang="0">
                  <a:pos x="689" y="39"/>
                </a:cxn>
                <a:cxn ang="0">
                  <a:pos x="725" y="30"/>
                </a:cxn>
                <a:cxn ang="0">
                  <a:pos x="743" y="26"/>
                </a:cxn>
                <a:cxn ang="0">
                  <a:pos x="761" y="22"/>
                </a:cxn>
                <a:cxn ang="0">
                  <a:pos x="798" y="15"/>
                </a:cxn>
                <a:cxn ang="0">
                  <a:pos x="834" y="10"/>
                </a:cxn>
                <a:cxn ang="0">
                  <a:pos x="871" y="5"/>
                </a:cxn>
                <a:cxn ang="0">
                  <a:pos x="908" y="2"/>
                </a:cxn>
                <a:cxn ang="0">
                  <a:pos x="927" y="1"/>
                </a:cxn>
                <a:cxn ang="0">
                  <a:pos x="945" y="1"/>
                </a:cxn>
                <a:cxn ang="0">
                  <a:pos x="964" y="0"/>
                </a:cxn>
                <a:cxn ang="0">
                  <a:pos x="982" y="0"/>
                </a:cxn>
                <a:cxn ang="0">
                  <a:pos x="982" y="568"/>
                </a:cxn>
                <a:cxn ang="0">
                  <a:pos x="982" y="1135"/>
                </a:cxn>
              </a:cxnLst>
              <a:rect l="0" t="0" r="r" b="b"/>
              <a:pathLst>
                <a:path w="982" h="1135">
                  <a:moveTo>
                    <a:pt x="982" y="1135"/>
                  </a:moveTo>
                  <a:lnTo>
                    <a:pt x="491" y="851"/>
                  </a:lnTo>
                  <a:lnTo>
                    <a:pt x="0" y="568"/>
                  </a:lnTo>
                  <a:lnTo>
                    <a:pt x="14" y="543"/>
                  </a:lnTo>
                  <a:lnTo>
                    <a:pt x="28" y="519"/>
                  </a:lnTo>
                  <a:lnTo>
                    <a:pt x="44" y="496"/>
                  </a:lnTo>
                  <a:lnTo>
                    <a:pt x="60" y="473"/>
                  </a:lnTo>
                  <a:lnTo>
                    <a:pt x="76" y="451"/>
                  </a:lnTo>
                  <a:lnTo>
                    <a:pt x="93" y="429"/>
                  </a:lnTo>
                  <a:lnTo>
                    <a:pt x="111" y="407"/>
                  </a:lnTo>
                  <a:lnTo>
                    <a:pt x="129" y="386"/>
                  </a:lnTo>
                  <a:lnTo>
                    <a:pt x="148" y="366"/>
                  </a:lnTo>
                  <a:lnTo>
                    <a:pt x="167" y="345"/>
                  </a:lnTo>
                  <a:lnTo>
                    <a:pt x="186" y="326"/>
                  </a:lnTo>
                  <a:lnTo>
                    <a:pt x="206" y="306"/>
                  </a:lnTo>
                  <a:lnTo>
                    <a:pt x="227" y="288"/>
                  </a:lnTo>
                  <a:lnTo>
                    <a:pt x="248" y="269"/>
                  </a:lnTo>
                  <a:lnTo>
                    <a:pt x="269" y="251"/>
                  </a:lnTo>
                  <a:lnTo>
                    <a:pt x="291" y="234"/>
                  </a:lnTo>
                  <a:lnTo>
                    <a:pt x="313" y="218"/>
                  </a:lnTo>
                  <a:lnTo>
                    <a:pt x="336" y="201"/>
                  </a:lnTo>
                  <a:lnTo>
                    <a:pt x="359" y="186"/>
                  </a:lnTo>
                  <a:lnTo>
                    <a:pt x="383" y="171"/>
                  </a:lnTo>
                  <a:lnTo>
                    <a:pt x="406" y="156"/>
                  </a:lnTo>
                  <a:lnTo>
                    <a:pt x="431" y="142"/>
                  </a:lnTo>
                  <a:lnTo>
                    <a:pt x="456" y="129"/>
                  </a:lnTo>
                  <a:lnTo>
                    <a:pt x="481" y="117"/>
                  </a:lnTo>
                  <a:lnTo>
                    <a:pt x="506" y="105"/>
                  </a:lnTo>
                  <a:lnTo>
                    <a:pt x="531" y="93"/>
                  </a:lnTo>
                  <a:lnTo>
                    <a:pt x="557" y="82"/>
                  </a:lnTo>
                  <a:lnTo>
                    <a:pt x="583" y="72"/>
                  </a:lnTo>
                  <a:lnTo>
                    <a:pt x="609" y="63"/>
                  </a:lnTo>
                  <a:lnTo>
                    <a:pt x="635" y="54"/>
                  </a:lnTo>
                  <a:lnTo>
                    <a:pt x="662" y="46"/>
                  </a:lnTo>
                  <a:lnTo>
                    <a:pt x="689" y="39"/>
                  </a:lnTo>
                  <a:lnTo>
                    <a:pt x="725" y="30"/>
                  </a:lnTo>
                  <a:lnTo>
                    <a:pt x="743" y="26"/>
                  </a:lnTo>
                  <a:lnTo>
                    <a:pt x="761" y="22"/>
                  </a:lnTo>
                  <a:lnTo>
                    <a:pt x="798" y="15"/>
                  </a:lnTo>
                  <a:lnTo>
                    <a:pt x="834" y="10"/>
                  </a:lnTo>
                  <a:lnTo>
                    <a:pt x="871" y="5"/>
                  </a:lnTo>
                  <a:lnTo>
                    <a:pt x="908" y="2"/>
                  </a:lnTo>
                  <a:lnTo>
                    <a:pt x="927" y="1"/>
                  </a:lnTo>
                  <a:lnTo>
                    <a:pt x="945" y="1"/>
                  </a:lnTo>
                  <a:lnTo>
                    <a:pt x="964" y="0"/>
                  </a:lnTo>
                  <a:lnTo>
                    <a:pt x="982" y="0"/>
                  </a:lnTo>
                  <a:lnTo>
                    <a:pt x="982" y="568"/>
                  </a:lnTo>
                  <a:lnTo>
                    <a:pt x="982" y="113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21" name="Text Box 121">
              <a:extLst>
                <a:ext uri="{FF2B5EF4-FFF2-40B4-BE49-F238E27FC236}">
                  <a16:creationId xmlns:a16="http://schemas.microsoft.com/office/drawing/2014/main" id="{0F6D58B6-EA54-47A8-8DF3-891CB307B92A}"/>
                </a:ext>
              </a:extLst>
            </p:cNvPr>
            <p:cNvSpPr txBox="1">
              <a:spLocks noChangeArrowheads="1"/>
            </p:cNvSpPr>
            <p:nvPr/>
          </p:nvSpPr>
          <p:spPr bwMode="auto">
            <a:xfrm>
              <a:off x="2633663" y="4824437"/>
              <a:ext cx="411162"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2" name="Text Box 122">
              <a:extLst>
                <a:ext uri="{FF2B5EF4-FFF2-40B4-BE49-F238E27FC236}">
                  <a16:creationId xmlns:a16="http://schemas.microsoft.com/office/drawing/2014/main" id="{4609AF3E-FF5E-4335-A3DC-DE0FC73A575C}"/>
                </a:ext>
              </a:extLst>
            </p:cNvPr>
            <p:cNvSpPr txBox="1">
              <a:spLocks noChangeArrowheads="1"/>
            </p:cNvSpPr>
            <p:nvPr/>
          </p:nvSpPr>
          <p:spPr bwMode="auto">
            <a:xfrm>
              <a:off x="2411413" y="5289575"/>
              <a:ext cx="411162"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3" name="Text Box 123">
              <a:extLst>
                <a:ext uri="{FF2B5EF4-FFF2-40B4-BE49-F238E27FC236}">
                  <a16:creationId xmlns:a16="http://schemas.microsoft.com/office/drawing/2014/main" id="{7DE86213-C9F1-433B-9B52-E8057D3DF357}"/>
                </a:ext>
              </a:extLst>
            </p:cNvPr>
            <p:cNvSpPr txBox="1">
              <a:spLocks noChangeArrowheads="1"/>
            </p:cNvSpPr>
            <p:nvPr/>
          </p:nvSpPr>
          <p:spPr bwMode="auto">
            <a:xfrm>
              <a:off x="1892300" y="5289575"/>
              <a:ext cx="411163"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4" name="Text Box 124">
              <a:extLst>
                <a:ext uri="{FF2B5EF4-FFF2-40B4-BE49-F238E27FC236}">
                  <a16:creationId xmlns:a16="http://schemas.microsoft.com/office/drawing/2014/main" id="{48FD4F73-2F08-4970-95A1-C51C3EE21988}"/>
                </a:ext>
              </a:extLst>
            </p:cNvPr>
            <p:cNvSpPr txBox="1">
              <a:spLocks noChangeArrowheads="1"/>
            </p:cNvSpPr>
            <p:nvPr/>
          </p:nvSpPr>
          <p:spPr bwMode="auto">
            <a:xfrm>
              <a:off x="1701800" y="4824437"/>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5" name="Text Box 125">
              <a:extLst>
                <a:ext uri="{FF2B5EF4-FFF2-40B4-BE49-F238E27FC236}">
                  <a16:creationId xmlns:a16="http://schemas.microsoft.com/office/drawing/2014/main" id="{1F741FC3-65AD-4D42-869E-03B0999E0131}"/>
                </a:ext>
              </a:extLst>
            </p:cNvPr>
            <p:cNvSpPr txBox="1">
              <a:spLocks noChangeArrowheads="1"/>
            </p:cNvSpPr>
            <p:nvPr/>
          </p:nvSpPr>
          <p:spPr bwMode="auto">
            <a:xfrm>
              <a:off x="2411413" y="4359300"/>
              <a:ext cx="411162"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6" name="Text Box 126">
              <a:extLst>
                <a:ext uri="{FF2B5EF4-FFF2-40B4-BE49-F238E27FC236}">
                  <a16:creationId xmlns:a16="http://schemas.microsoft.com/office/drawing/2014/main" id="{6E4531C4-8006-45C3-9A4F-3BAA608DFBBC}"/>
                </a:ext>
              </a:extLst>
            </p:cNvPr>
            <p:cNvSpPr txBox="1">
              <a:spLocks noChangeArrowheads="1"/>
            </p:cNvSpPr>
            <p:nvPr/>
          </p:nvSpPr>
          <p:spPr bwMode="auto">
            <a:xfrm>
              <a:off x="1892300" y="4359300"/>
              <a:ext cx="411163" cy="255587"/>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127" name="Group 126">
            <a:extLst>
              <a:ext uri="{FF2B5EF4-FFF2-40B4-BE49-F238E27FC236}">
                <a16:creationId xmlns:a16="http://schemas.microsoft.com/office/drawing/2014/main" id="{ABABDAC3-864D-4F32-BA34-6C81545CBB7C}"/>
              </a:ext>
            </a:extLst>
          </p:cNvPr>
          <p:cNvGrpSpPr/>
          <p:nvPr/>
        </p:nvGrpSpPr>
        <p:grpSpPr bwMode="auto">
          <a:xfrm>
            <a:off x="7300698" y="4150657"/>
            <a:ext cx="1860550" cy="1860550"/>
            <a:chOff x="5876925" y="4022750"/>
            <a:chExt cx="1860550" cy="1860550"/>
          </a:xfrm>
        </p:grpSpPr>
        <p:sp>
          <p:nvSpPr>
            <p:cNvPr id="128" name="Freeform 128">
              <a:extLst>
                <a:ext uri="{FF2B5EF4-FFF2-40B4-BE49-F238E27FC236}">
                  <a16:creationId xmlns:a16="http://schemas.microsoft.com/office/drawing/2014/main" id="{5B56EE88-10BF-4D48-9159-4DF36B4234E8}"/>
                </a:ext>
              </a:extLst>
            </p:cNvPr>
            <p:cNvSpPr>
              <a:spLocks/>
            </p:cNvSpPr>
            <p:nvPr/>
          </p:nvSpPr>
          <p:spPr bwMode="auto">
            <a:xfrm>
              <a:off x="6807200" y="4953025"/>
              <a:ext cx="930275" cy="657225"/>
            </a:xfrm>
            <a:custGeom>
              <a:avLst/>
              <a:gdLst/>
              <a:ahLst/>
              <a:cxnLst>
                <a:cxn ang="0">
                  <a:pos x="0" y="0"/>
                </a:cxn>
                <a:cxn ang="0">
                  <a:pos x="599" y="0"/>
                </a:cxn>
                <a:cxn ang="0">
                  <a:pos x="1199" y="0"/>
                </a:cxn>
                <a:cxn ang="0">
                  <a:pos x="1199" y="29"/>
                </a:cxn>
                <a:cxn ang="0">
                  <a:pos x="1198" y="59"/>
                </a:cxn>
                <a:cxn ang="0">
                  <a:pos x="1196" y="88"/>
                </a:cxn>
                <a:cxn ang="0">
                  <a:pos x="1194" y="117"/>
                </a:cxn>
                <a:cxn ang="0">
                  <a:pos x="1190" y="147"/>
                </a:cxn>
                <a:cxn ang="0">
                  <a:pos x="1186" y="176"/>
                </a:cxn>
                <a:cxn ang="0">
                  <a:pos x="1182" y="205"/>
                </a:cxn>
                <a:cxn ang="0">
                  <a:pos x="1176" y="234"/>
                </a:cxn>
                <a:cxn ang="0">
                  <a:pos x="1170" y="262"/>
                </a:cxn>
                <a:cxn ang="0">
                  <a:pos x="1163" y="291"/>
                </a:cxn>
                <a:cxn ang="0">
                  <a:pos x="1156" y="319"/>
                </a:cxn>
                <a:cxn ang="0">
                  <a:pos x="1148" y="348"/>
                </a:cxn>
                <a:cxn ang="0">
                  <a:pos x="1143" y="362"/>
                </a:cxn>
                <a:cxn ang="0">
                  <a:pos x="1139" y="376"/>
                </a:cxn>
                <a:cxn ang="0">
                  <a:pos x="1129" y="404"/>
                </a:cxn>
                <a:cxn ang="0">
                  <a:pos x="1119" y="431"/>
                </a:cxn>
                <a:cxn ang="0">
                  <a:pos x="1108" y="458"/>
                </a:cxn>
                <a:cxn ang="0">
                  <a:pos x="1097" y="485"/>
                </a:cxn>
                <a:cxn ang="0">
                  <a:pos x="1084" y="512"/>
                </a:cxn>
                <a:cxn ang="0">
                  <a:pos x="1072" y="539"/>
                </a:cxn>
                <a:cxn ang="0">
                  <a:pos x="1058" y="565"/>
                </a:cxn>
                <a:cxn ang="0">
                  <a:pos x="1044" y="591"/>
                </a:cxn>
                <a:cxn ang="0">
                  <a:pos x="1029" y="617"/>
                </a:cxn>
                <a:cxn ang="0">
                  <a:pos x="1014" y="642"/>
                </a:cxn>
                <a:cxn ang="0">
                  <a:pos x="998" y="667"/>
                </a:cxn>
                <a:cxn ang="0">
                  <a:pos x="981" y="691"/>
                </a:cxn>
                <a:cxn ang="0">
                  <a:pos x="973" y="703"/>
                </a:cxn>
                <a:cxn ang="0">
                  <a:pos x="964" y="715"/>
                </a:cxn>
                <a:cxn ang="0">
                  <a:pos x="946" y="738"/>
                </a:cxn>
                <a:cxn ang="0">
                  <a:pos x="928" y="761"/>
                </a:cxn>
                <a:cxn ang="0">
                  <a:pos x="909" y="784"/>
                </a:cxn>
                <a:cxn ang="0">
                  <a:pos x="889" y="806"/>
                </a:cxn>
                <a:cxn ang="0">
                  <a:pos x="879" y="816"/>
                </a:cxn>
                <a:cxn ang="0">
                  <a:pos x="869" y="827"/>
                </a:cxn>
                <a:cxn ang="0">
                  <a:pos x="848" y="848"/>
                </a:cxn>
                <a:cxn ang="0">
                  <a:pos x="423" y="423"/>
                </a:cxn>
                <a:cxn ang="0">
                  <a:pos x="0" y="0"/>
                </a:cxn>
              </a:cxnLst>
              <a:rect l="0" t="0" r="r" b="b"/>
              <a:pathLst>
                <a:path w="1199" h="848">
                  <a:moveTo>
                    <a:pt x="0" y="0"/>
                  </a:moveTo>
                  <a:lnTo>
                    <a:pt x="599" y="0"/>
                  </a:lnTo>
                  <a:lnTo>
                    <a:pt x="1199" y="0"/>
                  </a:lnTo>
                  <a:lnTo>
                    <a:pt x="1199" y="29"/>
                  </a:lnTo>
                  <a:lnTo>
                    <a:pt x="1198" y="59"/>
                  </a:lnTo>
                  <a:lnTo>
                    <a:pt x="1196" y="88"/>
                  </a:lnTo>
                  <a:lnTo>
                    <a:pt x="1194" y="117"/>
                  </a:lnTo>
                  <a:lnTo>
                    <a:pt x="1190" y="147"/>
                  </a:lnTo>
                  <a:lnTo>
                    <a:pt x="1186" y="176"/>
                  </a:lnTo>
                  <a:lnTo>
                    <a:pt x="1182" y="205"/>
                  </a:lnTo>
                  <a:lnTo>
                    <a:pt x="1176" y="234"/>
                  </a:lnTo>
                  <a:lnTo>
                    <a:pt x="1170" y="262"/>
                  </a:lnTo>
                  <a:lnTo>
                    <a:pt x="1163" y="291"/>
                  </a:lnTo>
                  <a:lnTo>
                    <a:pt x="1156" y="319"/>
                  </a:lnTo>
                  <a:lnTo>
                    <a:pt x="1148" y="348"/>
                  </a:lnTo>
                  <a:lnTo>
                    <a:pt x="1143" y="362"/>
                  </a:lnTo>
                  <a:lnTo>
                    <a:pt x="1139" y="376"/>
                  </a:lnTo>
                  <a:lnTo>
                    <a:pt x="1129" y="404"/>
                  </a:lnTo>
                  <a:lnTo>
                    <a:pt x="1119" y="431"/>
                  </a:lnTo>
                  <a:lnTo>
                    <a:pt x="1108" y="458"/>
                  </a:lnTo>
                  <a:lnTo>
                    <a:pt x="1097" y="485"/>
                  </a:lnTo>
                  <a:lnTo>
                    <a:pt x="1084" y="512"/>
                  </a:lnTo>
                  <a:lnTo>
                    <a:pt x="1072" y="539"/>
                  </a:lnTo>
                  <a:lnTo>
                    <a:pt x="1058" y="565"/>
                  </a:lnTo>
                  <a:lnTo>
                    <a:pt x="1044" y="591"/>
                  </a:lnTo>
                  <a:lnTo>
                    <a:pt x="1029" y="617"/>
                  </a:lnTo>
                  <a:lnTo>
                    <a:pt x="1014" y="642"/>
                  </a:lnTo>
                  <a:lnTo>
                    <a:pt x="998" y="667"/>
                  </a:lnTo>
                  <a:lnTo>
                    <a:pt x="981" y="691"/>
                  </a:lnTo>
                  <a:lnTo>
                    <a:pt x="973" y="703"/>
                  </a:lnTo>
                  <a:lnTo>
                    <a:pt x="964" y="715"/>
                  </a:lnTo>
                  <a:lnTo>
                    <a:pt x="946" y="738"/>
                  </a:lnTo>
                  <a:lnTo>
                    <a:pt x="928" y="761"/>
                  </a:lnTo>
                  <a:lnTo>
                    <a:pt x="909" y="784"/>
                  </a:lnTo>
                  <a:lnTo>
                    <a:pt x="889" y="806"/>
                  </a:lnTo>
                  <a:lnTo>
                    <a:pt x="879" y="816"/>
                  </a:lnTo>
                  <a:lnTo>
                    <a:pt x="869" y="827"/>
                  </a:lnTo>
                  <a:lnTo>
                    <a:pt x="848" y="848"/>
                  </a:lnTo>
                  <a:lnTo>
                    <a:pt x="423" y="423"/>
                  </a:lnTo>
                  <a:lnTo>
                    <a:pt x="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29" name="Freeform 129">
              <a:extLst>
                <a:ext uri="{FF2B5EF4-FFF2-40B4-BE49-F238E27FC236}">
                  <a16:creationId xmlns:a16="http://schemas.microsoft.com/office/drawing/2014/main" id="{004538FD-F5AB-4D39-B9BE-0CDF9667B2C3}"/>
                </a:ext>
              </a:extLst>
            </p:cNvPr>
            <p:cNvSpPr>
              <a:spLocks/>
            </p:cNvSpPr>
            <p:nvPr/>
          </p:nvSpPr>
          <p:spPr bwMode="auto">
            <a:xfrm>
              <a:off x="5876925" y="4295800"/>
              <a:ext cx="930275" cy="657225"/>
            </a:xfrm>
            <a:custGeom>
              <a:avLst/>
              <a:gdLst/>
              <a:ahLst/>
              <a:cxnLst>
                <a:cxn ang="0">
                  <a:pos x="1199" y="848"/>
                </a:cxn>
                <a:cxn ang="0">
                  <a:pos x="600" y="848"/>
                </a:cxn>
                <a:cxn ang="0">
                  <a:pos x="0" y="848"/>
                </a:cxn>
                <a:cxn ang="0">
                  <a:pos x="1" y="819"/>
                </a:cxn>
                <a:cxn ang="0">
                  <a:pos x="2" y="789"/>
                </a:cxn>
                <a:cxn ang="0">
                  <a:pos x="3" y="760"/>
                </a:cxn>
                <a:cxn ang="0">
                  <a:pos x="6" y="730"/>
                </a:cxn>
                <a:cxn ang="0">
                  <a:pos x="9" y="701"/>
                </a:cxn>
                <a:cxn ang="0">
                  <a:pos x="13" y="672"/>
                </a:cxn>
                <a:cxn ang="0">
                  <a:pos x="18" y="643"/>
                </a:cxn>
                <a:cxn ang="0">
                  <a:pos x="23" y="614"/>
                </a:cxn>
                <a:cxn ang="0">
                  <a:pos x="29" y="585"/>
                </a:cxn>
                <a:cxn ang="0">
                  <a:pos x="36" y="557"/>
                </a:cxn>
                <a:cxn ang="0">
                  <a:pos x="44" y="528"/>
                </a:cxn>
                <a:cxn ang="0">
                  <a:pos x="52" y="500"/>
                </a:cxn>
                <a:cxn ang="0">
                  <a:pos x="56" y="486"/>
                </a:cxn>
                <a:cxn ang="0">
                  <a:pos x="61" y="472"/>
                </a:cxn>
                <a:cxn ang="0">
                  <a:pos x="70" y="444"/>
                </a:cxn>
                <a:cxn ang="0">
                  <a:pos x="81" y="417"/>
                </a:cxn>
                <a:cxn ang="0">
                  <a:pos x="91" y="389"/>
                </a:cxn>
                <a:cxn ang="0">
                  <a:pos x="103" y="362"/>
                </a:cxn>
                <a:cxn ang="0">
                  <a:pos x="115" y="336"/>
                </a:cxn>
                <a:cxn ang="0">
                  <a:pos x="128" y="309"/>
                </a:cxn>
                <a:cxn ang="0">
                  <a:pos x="142" y="283"/>
                </a:cxn>
                <a:cxn ang="0">
                  <a:pos x="156" y="257"/>
                </a:cxn>
                <a:cxn ang="0">
                  <a:pos x="170" y="231"/>
                </a:cxn>
                <a:cxn ang="0">
                  <a:pos x="186" y="206"/>
                </a:cxn>
                <a:cxn ang="0">
                  <a:pos x="202" y="181"/>
                </a:cxn>
                <a:cxn ang="0">
                  <a:pos x="218" y="157"/>
                </a:cxn>
                <a:cxn ang="0">
                  <a:pos x="227" y="145"/>
                </a:cxn>
                <a:cxn ang="0">
                  <a:pos x="236" y="133"/>
                </a:cxn>
                <a:cxn ang="0">
                  <a:pos x="253" y="110"/>
                </a:cxn>
                <a:cxn ang="0">
                  <a:pos x="272" y="87"/>
                </a:cxn>
                <a:cxn ang="0">
                  <a:pos x="291" y="64"/>
                </a:cxn>
                <a:cxn ang="0">
                  <a:pos x="310" y="42"/>
                </a:cxn>
                <a:cxn ang="0">
                  <a:pos x="320" y="31"/>
                </a:cxn>
                <a:cxn ang="0">
                  <a:pos x="330" y="21"/>
                </a:cxn>
                <a:cxn ang="0">
                  <a:pos x="351" y="0"/>
                </a:cxn>
                <a:cxn ang="0">
                  <a:pos x="775" y="424"/>
                </a:cxn>
                <a:cxn ang="0">
                  <a:pos x="1199" y="848"/>
                </a:cxn>
              </a:cxnLst>
              <a:rect l="0" t="0" r="r" b="b"/>
              <a:pathLst>
                <a:path w="1199" h="848">
                  <a:moveTo>
                    <a:pt x="1199" y="848"/>
                  </a:moveTo>
                  <a:lnTo>
                    <a:pt x="600" y="848"/>
                  </a:lnTo>
                  <a:lnTo>
                    <a:pt x="0" y="848"/>
                  </a:lnTo>
                  <a:lnTo>
                    <a:pt x="1" y="819"/>
                  </a:lnTo>
                  <a:lnTo>
                    <a:pt x="2" y="789"/>
                  </a:lnTo>
                  <a:lnTo>
                    <a:pt x="3" y="760"/>
                  </a:lnTo>
                  <a:lnTo>
                    <a:pt x="6" y="730"/>
                  </a:lnTo>
                  <a:lnTo>
                    <a:pt x="9" y="701"/>
                  </a:lnTo>
                  <a:lnTo>
                    <a:pt x="13" y="672"/>
                  </a:lnTo>
                  <a:lnTo>
                    <a:pt x="18" y="643"/>
                  </a:lnTo>
                  <a:lnTo>
                    <a:pt x="23" y="614"/>
                  </a:lnTo>
                  <a:lnTo>
                    <a:pt x="29" y="585"/>
                  </a:lnTo>
                  <a:lnTo>
                    <a:pt x="36" y="557"/>
                  </a:lnTo>
                  <a:lnTo>
                    <a:pt x="44" y="528"/>
                  </a:lnTo>
                  <a:lnTo>
                    <a:pt x="52" y="500"/>
                  </a:lnTo>
                  <a:lnTo>
                    <a:pt x="56" y="486"/>
                  </a:lnTo>
                  <a:lnTo>
                    <a:pt x="61" y="472"/>
                  </a:lnTo>
                  <a:lnTo>
                    <a:pt x="70" y="444"/>
                  </a:lnTo>
                  <a:lnTo>
                    <a:pt x="81" y="417"/>
                  </a:lnTo>
                  <a:lnTo>
                    <a:pt x="91" y="389"/>
                  </a:lnTo>
                  <a:lnTo>
                    <a:pt x="103" y="362"/>
                  </a:lnTo>
                  <a:lnTo>
                    <a:pt x="115" y="336"/>
                  </a:lnTo>
                  <a:lnTo>
                    <a:pt x="128" y="309"/>
                  </a:lnTo>
                  <a:lnTo>
                    <a:pt x="142" y="283"/>
                  </a:lnTo>
                  <a:lnTo>
                    <a:pt x="156" y="257"/>
                  </a:lnTo>
                  <a:lnTo>
                    <a:pt x="170" y="231"/>
                  </a:lnTo>
                  <a:lnTo>
                    <a:pt x="186" y="206"/>
                  </a:lnTo>
                  <a:lnTo>
                    <a:pt x="202" y="181"/>
                  </a:lnTo>
                  <a:lnTo>
                    <a:pt x="218" y="157"/>
                  </a:lnTo>
                  <a:lnTo>
                    <a:pt x="227" y="145"/>
                  </a:lnTo>
                  <a:lnTo>
                    <a:pt x="236" y="133"/>
                  </a:lnTo>
                  <a:lnTo>
                    <a:pt x="253" y="110"/>
                  </a:lnTo>
                  <a:lnTo>
                    <a:pt x="272" y="87"/>
                  </a:lnTo>
                  <a:lnTo>
                    <a:pt x="291" y="64"/>
                  </a:lnTo>
                  <a:lnTo>
                    <a:pt x="310" y="42"/>
                  </a:lnTo>
                  <a:lnTo>
                    <a:pt x="320" y="31"/>
                  </a:lnTo>
                  <a:lnTo>
                    <a:pt x="330" y="21"/>
                  </a:lnTo>
                  <a:lnTo>
                    <a:pt x="351" y="0"/>
                  </a:lnTo>
                  <a:lnTo>
                    <a:pt x="775" y="424"/>
                  </a:lnTo>
                  <a:lnTo>
                    <a:pt x="1199" y="84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0" name="Freeform 130">
              <a:extLst>
                <a:ext uri="{FF2B5EF4-FFF2-40B4-BE49-F238E27FC236}">
                  <a16:creationId xmlns:a16="http://schemas.microsoft.com/office/drawing/2014/main" id="{CD9A2930-4043-495F-82A2-09ADEEFD5226}"/>
                </a:ext>
              </a:extLst>
            </p:cNvPr>
            <p:cNvSpPr>
              <a:spLocks/>
            </p:cNvSpPr>
            <p:nvPr/>
          </p:nvSpPr>
          <p:spPr bwMode="auto">
            <a:xfrm>
              <a:off x="6799263" y="4022750"/>
              <a:ext cx="657225" cy="930275"/>
            </a:xfrm>
            <a:custGeom>
              <a:avLst/>
              <a:gdLst/>
              <a:ahLst/>
              <a:cxnLst>
                <a:cxn ang="0">
                  <a:pos x="0" y="1199"/>
                </a:cxn>
                <a:cxn ang="0">
                  <a:pos x="0" y="600"/>
                </a:cxn>
                <a:cxn ang="0">
                  <a:pos x="0" y="0"/>
                </a:cxn>
                <a:cxn ang="0">
                  <a:pos x="30" y="0"/>
                </a:cxn>
                <a:cxn ang="0">
                  <a:pos x="59" y="1"/>
                </a:cxn>
                <a:cxn ang="0">
                  <a:pos x="88" y="3"/>
                </a:cxn>
                <a:cxn ang="0">
                  <a:pos x="118" y="6"/>
                </a:cxn>
                <a:cxn ang="0">
                  <a:pos x="147" y="9"/>
                </a:cxn>
                <a:cxn ang="0">
                  <a:pos x="176" y="13"/>
                </a:cxn>
                <a:cxn ang="0">
                  <a:pos x="205" y="18"/>
                </a:cxn>
                <a:cxn ang="0">
                  <a:pos x="234" y="23"/>
                </a:cxn>
                <a:cxn ang="0">
                  <a:pos x="263" y="29"/>
                </a:cxn>
                <a:cxn ang="0">
                  <a:pos x="291" y="36"/>
                </a:cxn>
                <a:cxn ang="0">
                  <a:pos x="320" y="43"/>
                </a:cxn>
                <a:cxn ang="0">
                  <a:pos x="348" y="52"/>
                </a:cxn>
                <a:cxn ang="0">
                  <a:pos x="362" y="56"/>
                </a:cxn>
                <a:cxn ang="0">
                  <a:pos x="376" y="60"/>
                </a:cxn>
                <a:cxn ang="0">
                  <a:pos x="404" y="70"/>
                </a:cxn>
                <a:cxn ang="0">
                  <a:pos x="431" y="80"/>
                </a:cxn>
                <a:cxn ang="0">
                  <a:pos x="459" y="91"/>
                </a:cxn>
                <a:cxn ang="0">
                  <a:pos x="486" y="103"/>
                </a:cxn>
                <a:cxn ang="0">
                  <a:pos x="513" y="115"/>
                </a:cxn>
                <a:cxn ang="0">
                  <a:pos x="539" y="128"/>
                </a:cxn>
                <a:cxn ang="0">
                  <a:pos x="565" y="141"/>
                </a:cxn>
                <a:cxn ang="0">
                  <a:pos x="591" y="155"/>
                </a:cxn>
                <a:cxn ang="0">
                  <a:pos x="617" y="170"/>
                </a:cxn>
                <a:cxn ang="0">
                  <a:pos x="642" y="185"/>
                </a:cxn>
                <a:cxn ang="0">
                  <a:pos x="667" y="201"/>
                </a:cxn>
                <a:cxn ang="0">
                  <a:pos x="691" y="218"/>
                </a:cxn>
                <a:cxn ang="0">
                  <a:pos x="703" y="227"/>
                </a:cxn>
                <a:cxn ang="0">
                  <a:pos x="715" y="235"/>
                </a:cxn>
                <a:cxn ang="0">
                  <a:pos x="739" y="253"/>
                </a:cxn>
                <a:cxn ang="0">
                  <a:pos x="762" y="271"/>
                </a:cxn>
                <a:cxn ang="0">
                  <a:pos x="784" y="290"/>
                </a:cxn>
                <a:cxn ang="0">
                  <a:pos x="806" y="310"/>
                </a:cxn>
                <a:cxn ang="0">
                  <a:pos x="817" y="320"/>
                </a:cxn>
                <a:cxn ang="0">
                  <a:pos x="827" y="330"/>
                </a:cxn>
                <a:cxn ang="0">
                  <a:pos x="848" y="351"/>
                </a:cxn>
                <a:cxn ang="0">
                  <a:pos x="423" y="775"/>
                </a:cxn>
                <a:cxn ang="0">
                  <a:pos x="0" y="1199"/>
                </a:cxn>
              </a:cxnLst>
              <a:rect l="0" t="0" r="r" b="b"/>
              <a:pathLst>
                <a:path w="848" h="1199">
                  <a:moveTo>
                    <a:pt x="0" y="1199"/>
                  </a:moveTo>
                  <a:lnTo>
                    <a:pt x="0" y="600"/>
                  </a:lnTo>
                  <a:lnTo>
                    <a:pt x="0" y="0"/>
                  </a:lnTo>
                  <a:lnTo>
                    <a:pt x="30" y="0"/>
                  </a:lnTo>
                  <a:lnTo>
                    <a:pt x="59" y="1"/>
                  </a:lnTo>
                  <a:lnTo>
                    <a:pt x="88" y="3"/>
                  </a:lnTo>
                  <a:lnTo>
                    <a:pt x="118" y="6"/>
                  </a:lnTo>
                  <a:lnTo>
                    <a:pt x="147" y="9"/>
                  </a:lnTo>
                  <a:lnTo>
                    <a:pt x="176" y="13"/>
                  </a:lnTo>
                  <a:lnTo>
                    <a:pt x="205" y="18"/>
                  </a:lnTo>
                  <a:lnTo>
                    <a:pt x="234" y="23"/>
                  </a:lnTo>
                  <a:lnTo>
                    <a:pt x="263" y="29"/>
                  </a:lnTo>
                  <a:lnTo>
                    <a:pt x="291" y="36"/>
                  </a:lnTo>
                  <a:lnTo>
                    <a:pt x="320" y="43"/>
                  </a:lnTo>
                  <a:lnTo>
                    <a:pt x="348" y="52"/>
                  </a:lnTo>
                  <a:lnTo>
                    <a:pt x="362" y="56"/>
                  </a:lnTo>
                  <a:lnTo>
                    <a:pt x="376" y="60"/>
                  </a:lnTo>
                  <a:lnTo>
                    <a:pt x="404" y="70"/>
                  </a:lnTo>
                  <a:lnTo>
                    <a:pt x="431" y="80"/>
                  </a:lnTo>
                  <a:lnTo>
                    <a:pt x="459" y="91"/>
                  </a:lnTo>
                  <a:lnTo>
                    <a:pt x="486" y="103"/>
                  </a:lnTo>
                  <a:lnTo>
                    <a:pt x="513" y="115"/>
                  </a:lnTo>
                  <a:lnTo>
                    <a:pt x="539" y="128"/>
                  </a:lnTo>
                  <a:lnTo>
                    <a:pt x="565" y="141"/>
                  </a:lnTo>
                  <a:lnTo>
                    <a:pt x="591" y="155"/>
                  </a:lnTo>
                  <a:lnTo>
                    <a:pt x="617" y="170"/>
                  </a:lnTo>
                  <a:lnTo>
                    <a:pt x="642" y="185"/>
                  </a:lnTo>
                  <a:lnTo>
                    <a:pt x="667" y="201"/>
                  </a:lnTo>
                  <a:lnTo>
                    <a:pt x="691" y="218"/>
                  </a:lnTo>
                  <a:lnTo>
                    <a:pt x="703" y="227"/>
                  </a:lnTo>
                  <a:lnTo>
                    <a:pt x="715" y="235"/>
                  </a:lnTo>
                  <a:lnTo>
                    <a:pt x="739" y="253"/>
                  </a:lnTo>
                  <a:lnTo>
                    <a:pt x="762" y="271"/>
                  </a:lnTo>
                  <a:lnTo>
                    <a:pt x="784" y="290"/>
                  </a:lnTo>
                  <a:lnTo>
                    <a:pt x="806" y="310"/>
                  </a:lnTo>
                  <a:lnTo>
                    <a:pt x="817" y="320"/>
                  </a:lnTo>
                  <a:lnTo>
                    <a:pt x="827" y="330"/>
                  </a:lnTo>
                  <a:lnTo>
                    <a:pt x="848" y="351"/>
                  </a:lnTo>
                  <a:lnTo>
                    <a:pt x="423" y="775"/>
                  </a:lnTo>
                  <a:lnTo>
                    <a:pt x="0" y="1199"/>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1" name="Freeform 131">
              <a:extLst>
                <a:ext uri="{FF2B5EF4-FFF2-40B4-BE49-F238E27FC236}">
                  <a16:creationId xmlns:a16="http://schemas.microsoft.com/office/drawing/2014/main" id="{E41AC9E1-795A-4D45-877D-4AC2C3A90560}"/>
                </a:ext>
              </a:extLst>
            </p:cNvPr>
            <p:cNvSpPr>
              <a:spLocks/>
            </p:cNvSpPr>
            <p:nvPr/>
          </p:nvSpPr>
          <p:spPr bwMode="auto">
            <a:xfrm>
              <a:off x="6807200" y="4295800"/>
              <a:ext cx="930275" cy="657225"/>
            </a:xfrm>
            <a:custGeom>
              <a:avLst/>
              <a:gdLst/>
              <a:ahLst/>
              <a:cxnLst>
                <a:cxn ang="0">
                  <a:pos x="0" y="848"/>
                </a:cxn>
                <a:cxn ang="0">
                  <a:pos x="423" y="424"/>
                </a:cxn>
                <a:cxn ang="0">
                  <a:pos x="848" y="0"/>
                </a:cxn>
                <a:cxn ang="0">
                  <a:pos x="869" y="21"/>
                </a:cxn>
                <a:cxn ang="0">
                  <a:pos x="889" y="42"/>
                </a:cxn>
                <a:cxn ang="0">
                  <a:pos x="909" y="64"/>
                </a:cxn>
                <a:cxn ang="0">
                  <a:pos x="928" y="87"/>
                </a:cxn>
                <a:cxn ang="0">
                  <a:pos x="946" y="110"/>
                </a:cxn>
                <a:cxn ang="0">
                  <a:pos x="964" y="133"/>
                </a:cxn>
                <a:cxn ang="0">
                  <a:pos x="981" y="157"/>
                </a:cxn>
                <a:cxn ang="0">
                  <a:pos x="989" y="169"/>
                </a:cxn>
                <a:cxn ang="0">
                  <a:pos x="997" y="181"/>
                </a:cxn>
                <a:cxn ang="0">
                  <a:pos x="1013" y="206"/>
                </a:cxn>
                <a:cxn ang="0">
                  <a:pos x="1029" y="231"/>
                </a:cxn>
                <a:cxn ang="0">
                  <a:pos x="1044" y="257"/>
                </a:cxn>
                <a:cxn ang="0">
                  <a:pos x="1058" y="283"/>
                </a:cxn>
                <a:cxn ang="0">
                  <a:pos x="1071" y="309"/>
                </a:cxn>
                <a:cxn ang="0">
                  <a:pos x="1084" y="336"/>
                </a:cxn>
                <a:cxn ang="0">
                  <a:pos x="1097" y="362"/>
                </a:cxn>
                <a:cxn ang="0">
                  <a:pos x="1108" y="389"/>
                </a:cxn>
                <a:cxn ang="0">
                  <a:pos x="1119" y="417"/>
                </a:cxn>
                <a:cxn ang="0">
                  <a:pos x="1129" y="444"/>
                </a:cxn>
                <a:cxn ang="0">
                  <a:pos x="1139" y="472"/>
                </a:cxn>
                <a:cxn ang="0">
                  <a:pos x="1148" y="500"/>
                </a:cxn>
                <a:cxn ang="0">
                  <a:pos x="1156" y="528"/>
                </a:cxn>
                <a:cxn ang="0">
                  <a:pos x="1164" y="557"/>
                </a:cxn>
                <a:cxn ang="0">
                  <a:pos x="1171" y="585"/>
                </a:cxn>
                <a:cxn ang="0">
                  <a:pos x="1177" y="614"/>
                </a:cxn>
                <a:cxn ang="0">
                  <a:pos x="1182" y="643"/>
                </a:cxn>
                <a:cxn ang="0">
                  <a:pos x="1187" y="672"/>
                </a:cxn>
                <a:cxn ang="0">
                  <a:pos x="1191" y="701"/>
                </a:cxn>
                <a:cxn ang="0">
                  <a:pos x="1194" y="730"/>
                </a:cxn>
                <a:cxn ang="0">
                  <a:pos x="1197" y="760"/>
                </a:cxn>
                <a:cxn ang="0">
                  <a:pos x="1198" y="789"/>
                </a:cxn>
                <a:cxn ang="0">
                  <a:pos x="1199" y="818"/>
                </a:cxn>
                <a:cxn ang="0">
                  <a:pos x="1199" y="848"/>
                </a:cxn>
                <a:cxn ang="0">
                  <a:pos x="599" y="848"/>
                </a:cxn>
                <a:cxn ang="0">
                  <a:pos x="0" y="848"/>
                </a:cxn>
              </a:cxnLst>
              <a:rect l="0" t="0" r="r" b="b"/>
              <a:pathLst>
                <a:path w="1199" h="848">
                  <a:moveTo>
                    <a:pt x="0" y="848"/>
                  </a:moveTo>
                  <a:lnTo>
                    <a:pt x="423" y="424"/>
                  </a:lnTo>
                  <a:lnTo>
                    <a:pt x="848" y="0"/>
                  </a:lnTo>
                  <a:lnTo>
                    <a:pt x="869" y="21"/>
                  </a:lnTo>
                  <a:lnTo>
                    <a:pt x="889" y="42"/>
                  </a:lnTo>
                  <a:lnTo>
                    <a:pt x="909" y="64"/>
                  </a:lnTo>
                  <a:lnTo>
                    <a:pt x="928" y="87"/>
                  </a:lnTo>
                  <a:lnTo>
                    <a:pt x="946" y="110"/>
                  </a:lnTo>
                  <a:lnTo>
                    <a:pt x="964" y="133"/>
                  </a:lnTo>
                  <a:lnTo>
                    <a:pt x="981" y="157"/>
                  </a:lnTo>
                  <a:lnTo>
                    <a:pt x="989" y="169"/>
                  </a:lnTo>
                  <a:lnTo>
                    <a:pt x="997" y="181"/>
                  </a:lnTo>
                  <a:lnTo>
                    <a:pt x="1013" y="206"/>
                  </a:lnTo>
                  <a:lnTo>
                    <a:pt x="1029" y="231"/>
                  </a:lnTo>
                  <a:lnTo>
                    <a:pt x="1044" y="257"/>
                  </a:lnTo>
                  <a:lnTo>
                    <a:pt x="1058" y="283"/>
                  </a:lnTo>
                  <a:lnTo>
                    <a:pt x="1071" y="309"/>
                  </a:lnTo>
                  <a:lnTo>
                    <a:pt x="1084" y="336"/>
                  </a:lnTo>
                  <a:lnTo>
                    <a:pt x="1097" y="362"/>
                  </a:lnTo>
                  <a:lnTo>
                    <a:pt x="1108" y="389"/>
                  </a:lnTo>
                  <a:lnTo>
                    <a:pt x="1119" y="417"/>
                  </a:lnTo>
                  <a:lnTo>
                    <a:pt x="1129" y="444"/>
                  </a:lnTo>
                  <a:lnTo>
                    <a:pt x="1139" y="472"/>
                  </a:lnTo>
                  <a:lnTo>
                    <a:pt x="1148" y="500"/>
                  </a:lnTo>
                  <a:lnTo>
                    <a:pt x="1156" y="528"/>
                  </a:lnTo>
                  <a:lnTo>
                    <a:pt x="1164" y="557"/>
                  </a:lnTo>
                  <a:lnTo>
                    <a:pt x="1171" y="585"/>
                  </a:lnTo>
                  <a:lnTo>
                    <a:pt x="1177" y="614"/>
                  </a:lnTo>
                  <a:lnTo>
                    <a:pt x="1182" y="643"/>
                  </a:lnTo>
                  <a:lnTo>
                    <a:pt x="1187" y="672"/>
                  </a:lnTo>
                  <a:lnTo>
                    <a:pt x="1191" y="701"/>
                  </a:lnTo>
                  <a:lnTo>
                    <a:pt x="1194" y="730"/>
                  </a:lnTo>
                  <a:lnTo>
                    <a:pt x="1197" y="760"/>
                  </a:lnTo>
                  <a:lnTo>
                    <a:pt x="1198" y="789"/>
                  </a:lnTo>
                  <a:lnTo>
                    <a:pt x="1199" y="818"/>
                  </a:lnTo>
                  <a:lnTo>
                    <a:pt x="1199" y="848"/>
                  </a:lnTo>
                  <a:lnTo>
                    <a:pt x="599" y="848"/>
                  </a:lnTo>
                  <a:lnTo>
                    <a:pt x="0" y="84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2" name="Freeform 132">
              <a:extLst>
                <a:ext uri="{FF2B5EF4-FFF2-40B4-BE49-F238E27FC236}">
                  <a16:creationId xmlns:a16="http://schemas.microsoft.com/office/drawing/2014/main" id="{C4617DC3-41CF-47C8-B5AB-B1BBBA1B767B}"/>
                </a:ext>
              </a:extLst>
            </p:cNvPr>
            <p:cNvSpPr>
              <a:spLocks/>
            </p:cNvSpPr>
            <p:nvPr/>
          </p:nvSpPr>
          <p:spPr bwMode="auto">
            <a:xfrm>
              <a:off x="6807200" y="4953025"/>
              <a:ext cx="657225" cy="930275"/>
            </a:xfrm>
            <a:custGeom>
              <a:avLst/>
              <a:gdLst/>
              <a:ahLst/>
              <a:cxnLst>
                <a:cxn ang="0">
                  <a:pos x="0" y="0"/>
                </a:cxn>
                <a:cxn ang="0">
                  <a:pos x="423" y="423"/>
                </a:cxn>
                <a:cxn ang="0">
                  <a:pos x="848" y="848"/>
                </a:cxn>
                <a:cxn ang="0">
                  <a:pos x="827" y="869"/>
                </a:cxn>
                <a:cxn ang="0">
                  <a:pos x="806" y="889"/>
                </a:cxn>
                <a:cxn ang="0">
                  <a:pos x="784" y="908"/>
                </a:cxn>
                <a:cxn ang="0">
                  <a:pos x="761" y="927"/>
                </a:cxn>
                <a:cxn ang="0">
                  <a:pos x="738" y="945"/>
                </a:cxn>
                <a:cxn ang="0">
                  <a:pos x="715" y="963"/>
                </a:cxn>
                <a:cxn ang="0">
                  <a:pos x="691" y="980"/>
                </a:cxn>
                <a:cxn ang="0">
                  <a:pos x="679" y="989"/>
                </a:cxn>
                <a:cxn ang="0">
                  <a:pos x="667" y="997"/>
                </a:cxn>
                <a:cxn ang="0">
                  <a:pos x="642" y="1013"/>
                </a:cxn>
                <a:cxn ang="0">
                  <a:pos x="617" y="1028"/>
                </a:cxn>
                <a:cxn ang="0">
                  <a:pos x="591" y="1043"/>
                </a:cxn>
                <a:cxn ang="0">
                  <a:pos x="565" y="1057"/>
                </a:cxn>
                <a:cxn ang="0">
                  <a:pos x="539" y="1071"/>
                </a:cxn>
                <a:cxn ang="0">
                  <a:pos x="513" y="1084"/>
                </a:cxn>
                <a:cxn ang="0">
                  <a:pos x="486" y="1096"/>
                </a:cxn>
                <a:cxn ang="0">
                  <a:pos x="459" y="1108"/>
                </a:cxn>
                <a:cxn ang="0">
                  <a:pos x="432" y="1119"/>
                </a:cxn>
                <a:cxn ang="0">
                  <a:pos x="404" y="1129"/>
                </a:cxn>
                <a:cxn ang="0">
                  <a:pos x="376" y="1139"/>
                </a:cxn>
                <a:cxn ang="0">
                  <a:pos x="348" y="1148"/>
                </a:cxn>
                <a:cxn ang="0">
                  <a:pos x="320" y="1156"/>
                </a:cxn>
                <a:cxn ang="0">
                  <a:pos x="292" y="1163"/>
                </a:cxn>
                <a:cxn ang="0">
                  <a:pos x="263" y="1170"/>
                </a:cxn>
                <a:cxn ang="0">
                  <a:pos x="234" y="1176"/>
                </a:cxn>
                <a:cxn ang="0">
                  <a:pos x="205" y="1182"/>
                </a:cxn>
                <a:cxn ang="0">
                  <a:pos x="176" y="1186"/>
                </a:cxn>
                <a:cxn ang="0">
                  <a:pos x="147" y="1190"/>
                </a:cxn>
                <a:cxn ang="0">
                  <a:pos x="118" y="1194"/>
                </a:cxn>
                <a:cxn ang="0">
                  <a:pos x="89" y="1196"/>
                </a:cxn>
                <a:cxn ang="0">
                  <a:pos x="59" y="1198"/>
                </a:cxn>
                <a:cxn ang="0">
                  <a:pos x="30" y="1199"/>
                </a:cxn>
                <a:cxn ang="0">
                  <a:pos x="0" y="1199"/>
                </a:cxn>
                <a:cxn ang="0">
                  <a:pos x="0" y="599"/>
                </a:cxn>
                <a:cxn ang="0">
                  <a:pos x="0" y="0"/>
                </a:cxn>
              </a:cxnLst>
              <a:rect l="0" t="0" r="r" b="b"/>
              <a:pathLst>
                <a:path w="848" h="1199">
                  <a:moveTo>
                    <a:pt x="0" y="0"/>
                  </a:moveTo>
                  <a:lnTo>
                    <a:pt x="423" y="423"/>
                  </a:lnTo>
                  <a:lnTo>
                    <a:pt x="848" y="848"/>
                  </a:lnTo>
                  <a:lnTo>
                    <a:pt x="827" y="869"/>
                  </a:lnTo>
                  <a:lnTo>
                    <a:pt x="806" y="889"/>
                  </a:lnTo>
                  <a:lnTo>
                    <a:pt x="784" y="908"/>
                  </a:lnTo>
                  <a:lnTo>
                    <a:pt x="761" y="927"/>
                  </a:lnTo>
                  <a:lnTo>
                    <a:pt x="738" y="945"/>
                  </a:lnTo>
                  <a:lnTo>
                    <a:pt x="715" y="963"/>
                  </a:lnTo>
                  <a:lnTo>
                    <a:pt x="691" y="980"/>
                  </a:lnTo>
                  <a:lnTo>
                    <a:pt x="679" y="989"/>
                  </a:lnTo>
                  <a:lnTo>
                    <a:pt x="667" y="997"/>
                  </a:lnTo>
                  <a:lnTo>
                    <a:pt x="642" y="1013"/>
                  </a:lnTo>
                  <a:lnTo>
                    <a:pt x="617" y="1028"/>
                  </a:lnTo>
                  <a:lnTo>
                    <a:pt x="591" y="1043"/>
                  </a:lnTo>
                  <a:lnTo>
                    <a:pt x="565" y="1057"/>
                  </a:lnTo>
                  <a:lnTo>
                    <a:pt x="539" y="1071"/>
                  </a:lnTo>
                  <a:lnTo>
                    <a:pt x="513" y="1084"/>
                  </a:lnTo>
                  <a:lnTo>
                    <a:pt x="486" y="1096"/>
                  </a:lnTo>
                  <a:lnTo>
                    <a:pt x="459" y="1108"/>
                  </a:lnTo>
                  <a:lnTo>
                    <a:pt x="432" y="1119"/>
                  </a:lnTo>
                  <a:lnTo>
                    <a:pt x="404" y="1129"/>
                  </a:lnTo>
                  <a:lnTo>
                    <a:pt x="376" y="1139"/>
                  </a:lnTo>
                  <a:lnTo>
                    <a:pt x="348" y="1148"/>
                  </a:lnTo>
                  <a:lnTo>
                    <a:pt x="320" y="1156"/>
                  </a:lnTo>
                  <a:lnTo>
                    <a:pt x="292" y="1163"/>
                  </a:lnTo>
                  <a:lnTo>
                    <a:pt x="263" y="1170"/>
                  </a:lnTo>
                  <a:lnTo>
                    <a:pt x="234" y="1176"/>
                  </a:lnTo>
                  <a:lnTo>
                    <a:pt x="205" y="1182"/>
                  </a:lnTo>
                  <a:lnTo>
                    <a:pt x="176" y="1186"/>
                  </a:lnTo>
                  <a:lnTo>
                    <a:pt x="147" y="1190"/>
                  </a:lnTo>
                  <a:lnTo>
                    <a:pt x="118" y="1194"/>
                  </a:lnTo>
                  <a:lnTo>
                    <a:pt x="89" y="1196"/>
                  </a:lnTo>
                  <a:lnTo>
                    <a:pt x="59" y="1198"/>
                  </a:lnTo>
                  <a:lnTo>
                    <a:pt x="30" y="1199"/>
                  </a:lnTo>
                  <a:lnTo>
                    <a:pt x="0" y="1199"/>
                  </a:lnTo>
                  <a:lnTo>
                    <a:pt x="0" y="599"/>
                  </a:lnTo>
                  <a:lnTo>
                    <a:pt x="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3" name="Freeform 133">
              <a:extLst>
                <a:ext uri="{FF2B5EF4-FFF2-40B4-BE49-F238E27FC236}">
                  <a16:creationId xmlns:a16="http://schemas.microsoft.com/office/drawing/2014/main" id="{A47EADDF-327D-4D7F-86E2-4BCA1EA784FC}"/>
                </a:ext>
              </a:extLst>
            </p:cNvPr>
            <p:cNvSpPr>
              <a:spLocks/>
            </p:cNvSpPr>
            <p:nvPr/>
          </p:nvSpPr>
          <p:spPr bwMode="auto">
            <a:xfrm>
              <a:off x="6149975" y="4953025"/>
              <a:ext cx="657225" cy="930275"/>
            </a:xfrm>
            <a:custGeom>
              <a:avLst/>
              <a:gdLst/>
              <a:ahLst/>
              <a:cxnLst>
                <a:cxn ang="0">
                  <a:pos x="848" y="0"/>
                </a:cxn>
                <a:cxn ang="0">
                  <a:pos x="848" y="599"/>
                </a:cxn>
                <a:cxn ang="0">
                  <a:pos x="848" y="1199"/>
                </a:cxn>
                <a:cxn ang="0">
                  <a:pos x="819" y="1199"/>
                </a:cxn>
                <a:cxn ang="0">
                  <a:pos x="790" y="1198"/>
                </a:cxn>
                <a:cxn ang="0">
                  <a:pos x="760" y="1196"/>
                </a:cxn>
                <a:cxn ang="0">
                  <a:pos x="731" y="1193"/>
                </a:cxn>
                <a:cxn ang="0">
                  <a:pos x="702" y="1190"/>
                </a:cxn>
                <a:cxn ang="0">
                  <a:pos x="673" y="1186"/>
                </a:cxn>
                <a:cxn ang="0">
                  <a:pos x="644" y="1181"/>
                </a:cxn>
                <a:cxn ang="0">
                  <a:pos x="615" y="1176"/>
                </a:cxn>
                <a:cxn ang="0">
                  <a:pos x="586" y="1170"/>
                </a:cxn>
                <a:cxn ang="0">
                  <a:pos x="557" y="1163"/>
                </a:cxn>
                <a:cxn ang="0">
                  <a:pos x="529" y="1155"/>
                </a:cxn>
                <a:cxn ang="0">
                  <a:pos x="501" y="1147"/>
                </a:cxn>
                <a:cxn ang="0">
                  <a:pos x="487" y="1143"/>
                </a:cxn>
                <a:cxn ang="0">
                  <a:pos x="473" y="1138"/>
                </a:cxn>
                <a:cxn ang="0">
                  <a:pos x="445" y="1129"/>
                </a:cxn>
                <a:cxn ang="0">
                  <a:pos x="417" y="1119"/>
                </a:cxn>
                <a:cxn ang="0">
                  <a:pos x="390" y="1108"/>
                </a:cxn>
                <a:cxn ang="0">
                  <a:pos x="363" y="1096"/>
                </a:cxn>
                <a:cxn ang="0">
                  <a:pos x="336" y="1084"/>
                </a:cxn>
                <a:cxn ang="0">
                  <a:pos x="310" y="1071"/>
                </a:cxn>
                <a:cxn ang="0">
                  <a:pos x="284" y="1058"/>
                </a:cxn>
                <a:cxn ang="0">
                  <a:pos x="258" y="1044"/>
                </a:cxn>
                <a:cxn ang="0">
                  <a:pos x="231" y="1029"/>
                </a:cxn>
                <a:cxn ang="0">
                  <a:pos x="206" y="1013"/>
                </a:cxn>
                <a:cxn ang="0">
                  <a:pos x="182" y="997"/>
                </a:cxn>
                <a:cxn ang="0">
                  <a:pos x="157" y="981"/>
                </a:cxn>
                <a:cxn ang="0">
                  <a:pos x="145" y="972"/>
                </a:cxn>
                <a:cxn ang="0">
                  <a:pos x="133" y="964"/>
                </a:cxn>
                <a:cxn ang="0">
                  <a:pos x="110" y="946"/>
                </a:cxn>
                <a:cxn ang="0">
                  <a:pos x="87" y="927"/>
                </a:cxn>
                <a:cxn ang="0">
                  <a:pos x="65" y="908"/>
                </a:cxn>
                <a:cxn ang="0">
                  <a:pos x="43" y="889"/>
                </a:cxn>
                <a:cxn ang="0">
                  <a:pos x="32" y="879"/>
                </a:cxn>
                <a:cxn ang="0">
                  <a:pos x="21" y="869"/>
                </a:cxn>
                <a:cxn ang="0">
                  <a:pos x="0" y="848"/>
                </a:cxn>
                <a:cxn ang="0">
                  <a:pos x="424" y="423"/>
                </a:cxn>
                <a:cxn ang="0">
                  <a:pos x="848" y="0"/>
                </a:cxn>
              </a:cxnLst>
              <a:rect l="0" t="0" r="r" b="b"/>
              <a:pathLst>
                <a:path w="848" h="1199">
                  <a:moveTo>
                    <a:pt x="848" y="0"/>
                  </a:moveTo>
                  <a:lnTo>
                    <a:pt x="848" y="599"/>
                  </a:lnTo>
                  <a:lnTo>
                    <a:pt x="848" y="1199"/>
                  </a:lnTo>
                  <a:lnTo>
                    <a:pt x="819" y="1199"/>
                  </a:lnTo>
                  <a:lnTo>
                    <a:pt x="790" y="1198"/>
                  </a:lnTo>
                  <a:lnTo>
                    <a:pt x="760" y="1196"/>
                  </a:lnTo>
                  <a:lnTo>
                    <a:pt x="731" y="1193"/>
                  </a:lnTo>
                  <a:lnTo>
                    <a:pt x="702" y="1190"/>
                  </a:lnTo>
                  <a:lnTo>
                    <a:pt x="673" y="1186"/>
                  </a:lnTo>
                  <a:lnTo>
                    <a:pt x="644" y="1181"/>
                  </a:lnTo>
                  <a:lnTo>
                    <a:pt x="615" y="1176"/>
                  </a:lnTo>
                  <a:lnTo>
                    <a:pt x="586" y="1170"/>
                  </a:lnTo>
                  <a:lnTo>
                    <a:pt x="557" y="1163"/>
                  </a:lnTo>
                  <a:lnTo>
                    <a:pt x="529" y="1155"/>
                  </a:lnTo>
                  <a:lnTo>
                    <a:pt x="501" y="1147"/>
                  </a:lnTo>
                  <a:lnTo>
                    <a:pt x="487" y="1143"/>
                  </a:lnTo>
                  <a:lnTo>
                    <a:pt x="473" y="1138"/>
                  </a:lnTo>
                  <a:lnTo>
                    <a:pt x="445" y="1129"/>
                  </a:lnTo>
                  <a:lnTo>
                    <a:pt x="417" y="1119"/>
                  </a:lnTo>
                  <a:lnTo>
                    <a:pt x="390" y="1108"/>
                  </a:lnTo>
                  <a:lnTo>
                    <a:pt x="363" y="1096"/>
                  </a:lnTo>
                  <a:lnTo>
                    <a:pt x="336" y="1084"/>
                  </a:lnTo>
                  <a:lnTo>
                    <a:pt x="310" y="1071"/>
                  </a:lnTo>
                  <a:lnTo>
                    <a:pt x="284" y="1058"/>
                  </a:lnTo>
                  <a:lnTo>
                    <a:pt x="258" y="1044"/>
                  </a:lnTo>
                  <a:lnTo>
                    <a:pt x="231" y="1029"/>
                  </a:lnTo>
                  <a:lnTo>
                    <a:pt x="206" y="1013"/>
                  </a:lnTo>
                  <a:lnTo>
                    <a:pt x="182" y="997"/>
                  </a:lnTo>
                  <a:lnTo>
                    <a:pt x="157" y="981"/>
                  </a:lnTo>
                  <a:lnTo>
                    <a:pt x="145" y="972"/>
                  </a:lnTo>
                  <a:lnTo>
                    <a:pt x="133" y="964"/>
                  </a:lnTo>
                  <a:lnTo>
                    <a:pt x="110" y="946"/>
                  </a:lnTo>
                  <a:lnTo>
                    <a:pt x="87" y="927"/>
                  </a:lnTo>
                  <a:lnTo>
                    <a:pt x="65" y="908"/>
                  </a:lnTo>
                  <a:lnTo>
                    <a:pt x="43" y="889"/>
                  </a:lnTo>
                  <a:lnTo>
                    <a:pt x="32" y="879"/>
                  </a:lnTo>
                  <a:lnTo>
                    <a:pt x="21" y="869"/>
                  </a:lnTo>
                  <a:lnTo>
                    <a:pt x="0" y="848"/>
                  </a:lnTo>
                  <a:lnTo>
                    <a:pt x="424" y="423"/>
                  </a:lnTo>
                  <a:lnTo>
                    <a:pt x="848"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4" name="Freeform 134">
              <a:extLst>
                <a:ext uri="{FF2B5EF4-FFF2-40B4-BE49-F238E27FC236}">
                  <a16:creationId xmlns:a16="http://schemas.microsoft.com/office/drawing/2014/main" id="{EE715019-B89E-42DE-AF49-D1626F481F9B}"/>
                </a:ext>
              </a:extLst>
            </p:cNvPr>
            <p:cNvSpPr>
              <a:spLocks/>
            </p:cNvSpPr>
            <p:nvPr/>
          </p:nvSpPr>
          <p:spPr bwMode="auto">
            <a:xfrm>
              <a:off x="5876925" y="4953025"/>
              <a:ext cx="930275" cy="657225"/>
            </a:xfrm>
            <a:custGeom>
              <a:avLst/>
              <a:gdLst/>
              <a:ahLst/>
              <a:cxnLst>
                <a:cxn ang="0">
                  <a:pos x="1199" y="0"/>
                </a:cxn>
                <a:cxn ang="0">
                  <a:pos x="775" y="423"/>
                </a:cxn>
                <a:cxn ang="0">
                  <a:pos x="351" y="848"/>
                </a:cxn>
                <a:cxn ang="0">
                  <a:pos x="331" y="827"/>
                </a:cxn>
                <a:cxn ang="0">
                  <a:pos x="311" y="806"/>
                </a:cxn>
                <a:cxn ang="0">
                  <a:pos x="291" y="783"/>
                </a:cxn>
                <a:cxn ang="0">
                  <a:pos x="272" y="761"/>
                </a:cxn>
                <a:cxn ang="0">
                  <a:pos x="254" y="738"/>
                </a:cxn>
                <a:cxn ang="0">
                  <a:pos x="236" y="715"/>
                </a:cxn>
                <a:cxn ang="0">
                  <a:pos x="219" y="691"/>
                </a:cxn>
                <a:cxn ang="0">
                  <a:pos x="210" y="679"/>
                </a:cxn>
                <a:cxn ang="0">
                  <a:pos x="202" y="667"/>
                </a:cxn>
                <a:cxn ang="0">
                  <a:pos x="186" y="642"/>
                </a:cxn>
                <a:cxn ang="0">
                  <a:pos x="171" y="617"/>
                </a:cxn>
                <a:cxn ang="0">
                  <a:pos x="156" y="590"/>
                </a:cxn>
                <a:cxn ang="0">
                  <a:pos x="142" y="565"/>
                </a:cxn>
                <a:cxn ang="0">
                  <a:pos x="128" y="539"/>
                </a:cxn>
                <a:cxn ang="0">
                  <a:pos x="115" y="512"/>
                </a:cxn>
                <a:cxn ang="0">
                  <a:pos x="103" y="485"/>
                </a:cxn>
                <a:cxn ang="0">
                  <a:pos x="91" y="458"/>
                </a:cxn>
                <a:cxn ang="0">
                  <a:pos x="81" y="431"/>
                </a:cxn>
                <a:cxn ang="0">
                  <a:pos x="70" y="404"/>
                </a:cxn>
                <a:cxn ang="0">
                  <a:pos x="61" y="376"/>
                </a:cxn>
                <a:cxn ang="0">
                  <a:pos x="52" y="348"/>
                </a:cxn>
                <a:cxn ang="0">
                  <a:pos x="43" y="320"/>
                </a:cxn>
                <a:cxn ang="0">
                  <a:pos x="36" y="291"/>
                </a:cxn>
                <a:cxn ang="0">
                  <a:pos x="29" y="263"/>
                </a:cxn>
                <a:cxn ang="0">
                  <a:pos x="23" y="234"/>
                </a:cxn>
                <a:cxn ang="0">
                  <a:pos x="17" y="205"/>
                </a:cxn>
                <a:cxn ang="0">
                  <a:pos x="13" y="176"/>
                </a:cxn>
                <a:cxn ang="0">
                  <a:pos x="9" y="147"/>
                </a:cxn>
                <a:cxn ang="0">
                  <a:pos x="6" y="118"/>
                </a:cxn>
                <a:cxn ang="0">
                  <a:pos x="3" y="88"/>
                </a:cxn>
                <a:cxn ang="0">
                  <a:pos x="1" y="59"/>
                </a:cxn>
                <a:cxn ang="0">
                  <a:pos x="0" y="29"/>
                </a:cxn>
                <a:cxn ang="0">
                  <a:pos x="0" y="0"/>
                </a:cxn>
                <a:cxn ang="0">
                  <a:pos x="600" y="0"/>
                </a:cxn>
                <a:cxn ang="0">
                  <a:pos x="1199" y="0"/>
                </a:cxn>
              </a:cxnLst>
              <a:rect l="0" t="0" r="r" b="b"/>
              <a:pathLst>
                <a:path w="1199" h="848">
                  <a:moveTo>
                    <a:pt x="1199" y="0"/>
                  </a:moveTo>
                  <a:lnTo>
                    <a:pt x="775" y="423"/>
                  </a:lnTo>
                  <a:lnTo>
                    <a:pt x="351" y="848"/>
                  </a:lnTo>
                  <a:lnTo>
                    <a:pt x="331" y="827"/>
                  </a:lnTo>
                  <a:lnTo>
                    <a:pt x="311" y="806"/>
                  </a:lnTo>
                  <a:lnTo>
                    <a:pt x="291" y="783"/>
                  </a:lnTo>
                  <a:lnTo>
                    <a:pt x="272" y="761"/>
                  </a:lnTo>
                  <a:lnTo>
                    <a:pt x="254" y="738"/>
                  </a:lnTo>
                  <a:lnTo>
                    <a:pt x="236" y="715"/>
                  </a:lnTo>
                  <a:lnTo>
                    <a:pt x="219" y="691"/>
                  </a:lnTo>
                  <a:lnTo>
                    <a:pt x="210" y="679"/>
                  </a:lnTo>
                  <a:lnTo>
                    <a:pt x="202" y="667"/>
                  </a:lnTo>
                  <a:lnTo>
                    <a:pt x="186" y="642"/>
                  </a:lnTo>
                  <a:lnTo>
                    <a:pt x="171" y="617"/>
                  </a:lnTo>
                  <a:lnTo>
                    <a:pt x="156" y="590"/>
                  </a:lnTo>
                  <a:lnTo>
                    <a:pt x="142" y="565"/>
                  </a:lnTo>
                  <a:lnTo>
                    <a:pt x="128" y="539"/>
                  </a:lnTo>
                  <a:lnTo>
                    <a:pt x="115" y="512"/>
                  </a:lnTo>
                  <a:lnTo>
                    <a:pt x="103" y="485"/>
                  </a:lnTo>
                  <a:lnTo>
                    <a:pt x="91" y="458"/>
                  </a:lnTo>
                  <a:lnTo>
                    <a:pt x="81" y="431"/>
                  </a:lnTo>
                  <a:lnTo>
                    <a:pt x="70" y="404"/>
                  </a:lnTo>
                  <a:lnTo>
                    <a:pt x="61" y="376"/>
                  </a:lnTo>
                  <a:lnTo>
                    <a:pt x="52" y="348"/>
                  </a:lnTo>
                  <a:lnTo>
                    <a:pt x="43" y="320"/>
                  </a:lnTo>
                  <a:lnTo>
                    <a:pt x="36" y="291"/>
                  </a:lnTo>
                  <a:lnTo>
                    <a:pt x="29" y="263"/>
                  </a:lnTo>
                  <a:lnTo>
                    <a:pt x="23" y="234"/>
                  </a:lnTo>
                  <a:lnTo>
                    <a:pt x="17" y="205"/>
                  </a:lnTo>
                  <a:lnTo>
                    <a:pt x="13" y="176"/>
                  </a:lnTo>
                  <a:lnTo>
                    <a:pt x="9" y="147"/>
                  </a:lnTo>
                  <a:lnTo>
                    <a:pt x="6" y="118"/>
                  </a:lnTo>
                  <a:lnTo>
                    <a:pt x="3" y="88"/>
                  </a:lnTo>
                  <a:lnTo>
                    <a:pt x="1" y="59"/>
                  </a:lnTo>
                  <a:lnTo>
                    <a:pt x="0" y="29"/>
                  </a:lnTo>
                  <a:lnTo>
                    <a:pt x="0" y="0"/>
                  </a:lnTo>
                  <a:lnTo>
                    <a:pt x="600" y="0"/>
                  </a:lnTo>
                  <a:lnTo>
                    <a:pt x="1199"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5" name="Freeform 135">
              <a:extLst>
                <a:ext uri="{FF2B5EF4-FFF2-40B4-BE49-F238E27FC236}">
                  <a16:creationId xmlns:a16="http://schemas.microsoft.com/office/drawing/2014/main" id="{05F6EF3C-6499-4C59-BF6E-314677CE3499}"/>
                </a:ext>
              </a:extLst>
            </p:cNvPr>
            <p:cNvSpPr>
              <a:spLocks/>
            </p:cNvSpPr>
            <p:nvPr/>
          </p:nvSpPr>
          <p:spPr bwMode="auto">
            <a:xfrm>
              <a:off x="6149975" y="4022750"/>
              <a:ext cx="657225" cy="930275"/>
            </a:xfrm>
            <a:custGeom>
              <a:avLst/>
              <a:gdLst/>
              <a:ahLst/>
              <a:cxnLst>
                <a:cxn ang="0">
                  <a:pos x="848" y="1199"/>
                </a:cxn>
                <a:cxn ang="0">
                  <a:pos x="424" y="775"/>
                </a:cxn>
                <a:cxn ang="0">
                  <a:pos x="0" y="351"/>
                </a:cxn>
                <a:cxn ang="0">
                  <a:pos x="21" y="330"/>
                </a:cxn>
                <a:cxn ang="0">
                  <a:pos x="43" y="310"/>
                </a:cxn>
                <a:cxn ang="0">
                  <a:pos x="65" y="291"/>
                </a:cxn>
                <a:cxn ang="0">
                  <a:pos x="87" y="272"/>
                </a:cxn>
                <a:cxn ang="0">
                  <a:pos x="110" y="253"/>
                </a:cxn>
                <a:cxn ang="0">
                  <a:pos x="134" y="236"/>
                </a:cxn>
                <a:cxn ang="0">
                  <a:pos x="157" y="218"/>
                </a:cxn>
                <a:cxn ang="0">
                  <a:pos x="170" y="210"/>
                </a:cxn>
                <a:cxn ang="0">
                  <a:pos x="182" y="202"/>
                </a:cxn>
                <a:cxn ang="0">
                  <a:pos x="206" y="186"/>
                </a:cxn>
                <a:cxn ang="0">
                  <a:pos x="231" y="170"/>
                </a:cxn>
                <a:cxn ang="0">
                  <a:pos x="258" y="156"/>
                </a:cxn>
                <a:cxn ang="0">
                  <a:pos x="284" y="141"/>
                </a:cxn>
                <a:cxn ang="0">
                  <a:pos x="310" y="128"/>
                </a:cxn>
                <a:cxn ang="0">
                  <a:pos x="336" y="115"/>
                </a:cxn>
                <a:cxn ang="0">
                  <a:pos x="363" y="103"/>
                </a:cxn>
                <a:cxn ang="0">
                  <a:pos x="390" y="91"/>
                </a:cxn>
                <a:cxn ang="0">
                  <a:pos x="417" y="80"/>
                </a:cxn>
                <a:cxn ang="0">
                  <a:pos x="445" y="70"/>
                </a:cxn>
                <a:cxn ang="0">
                  <a:pos x="472" y="60"/>
                </a:cxn>
                <a:cxn ang="0">
                  <a:pos x="500" y="51"/>
                </a:cxn>
                <a:cxn ang="0">
                  <a:pos x="529" y="43"/>
                </a:cxn>
                <a:cxn ang="0">
                  <a:pos x="557" y="35"/>
                </a:cxn>
                <a:cxn ang="0">
                  <a:pos x="586" y="29"/>
                </a:cxn>
                <a:cxn ang="0">
                  <a:pos x="614" y="23"/>
                </a:cxn>
                <a:cxn ang="0">
                  <a:pos x="643" y="17"/>
                </a:cxn>
                <a:cxn ang="0">
                  <a:pos x="672" y="12"/>
                </a:cxn>
                <a:cxn ang="0">
                  <a:pos x="701" y="8"/>
                </a:cxn>
                <a:cxn ang="0">
                  <a:pos x="731" y="5"/>
                </a:cxn>
                <a:cxn ang="0">
                  <a:pos x="760" y="3"/>
                </a:cxn>
                <a:cxn ang="0">
                  <a:pos x="789" y="1"/>
                </a:cxn>
                <a:cxn ang="0">
                  <a:pos x="819" y="0"/>
                </a:cxn>
                <a:cxn ang="0">
                  <a:pos x="848" y="0"/>
                </a:cxn>
                <a:cxn ang="0">
                  <a:pos x="848" y="600"/>
                </a:cxn>
                <a:cxn ang="0">
                  <a:pos x="848" y="1199"/>
                </a:cxn>
              </a:cxnLst>
              <a:rect l="0" t="0" r="r" b="b"/>
              <a:pathLst>
                <a:path w="848" h="1199">
                  <a:moveTo>
                    <a:pt x="848" y="1199"/>
                  </a:moveTo>
                  <a:lnTo>
                    <a:pt x="424" y="775"/>
                  </a:lnTo>
                  <a:lnTo>
                    <a:pt x="0" y="351"/>
                  </a:lnTo>
                  <a:lnTo>
                    <a:pt x="21" y="330"/>
                  </a:lnTo>
                  <a:lnTo>
                    <a:pt x="43" y="310"/>
                  </a:lnTo>
                  <a:lnTo>
                    <a:pt x="65" y="291"/>
                  </a:lnTo>
                  <a:lnTo>
                    <a:pt x="87" y="272"/>
                  </a:lnTo>
                  <a:lnTo>
                    <a:pt x="110" y="253"/>
                  </a:lnTo>
                  <a:lnTo>
                    <a:pt x="134" y="236"/>
                  </a:lnTo>
                  <a:lnTo>
                    <a:pt x="157" y="218"/>
                  </a:lnTo>
                  <a:lnTo>
                    <a:pt x="170" y="210"/>
                  </a:lnTo>
                  <a:lnTo>
                    <a:pt x="182" y="202"/>
                  </a:lnTo>
                  <a:lnTo>
                    <a:pt x="206" y="186"/>
                  </a:lnTo>
                  <a:lnTo>
                    <a:pt x="231" y="170"/>
                  </a:lnTo>
                  <a:lnTo>
                    <a:pt x="258" y="156"/>
                  </a:lnTo>
                  <a:lnTo>
                    <a:pt x="284" y="141"/>
                  </a:lnTo>
                  <a:lnTo>
                    <a:pt x="310" y="128"/>
                  </a:lnTo>
                  <a:lnTo>
                    <a:pt x="336" y="115"/>
                  </a:lnTo>
                  <a:lnTo>
                    <a:pt x="363" y="103"/>
                  </a:lnTo>
                  <a:lnTo>
                    <a:pt x="390" y="91"/>
                  </a:lnTo>
                  <a:lnTo>
                    <a:pt x="417" y="80"/>
                  </a:lnTo>
                  <a:lnTo>
                    <a:pt x="445" y="70"/>
                  </a:lnTo>
                  <a:lnTo>
                    <a:pt x="472" y="60"/>
                  </a:lnTo>
                  <a:lnTo>
                    <a:pt x="500" y="51"/>
                  </a:lnTo>
                  <a:lnTo>
                    <a:pt x="529" y="43"/>
                  </a:lnTo>
                  <a:lnTo>
                    <a:pt x="557" y="35"/>
                  </a:lnTo>
                  <a:lnTo>
                    <a:pt x="586" y="29"/>
                  </a:lnTo>
                  <a:lnTo>
                    <a:pt x="614" y="23"/>
                  </a:lnTo>
                  <a:lnTo>
                    <a:pt x="643" y="17"/>
                  </a:lnTo>
                  <a:lnTo>
                    <a:pt x="672" y="12"/>
                  </a:lnTo>
                  <a:lnTo>
                    <a:pt x="701" y="8"/>
                  </a:lnTo>
                  <a:lnTo>
                    <a:pt x="731" y="5"/>
                  </a:lnTo>
                  <a:lnTo>
                    <a:pt x="760" y="3"/>
                  </a:lnTo>
                  <a:lnTo>
                    <a:pt x="789" y="1"/>
                  </a:lnTo>
                  <a:lnTo>
                    <a:pt x="819" y="0"/>
                  </a:lnTo>
                  <a:lnTo>
                    <a:pt x="848" y="0"/>
                  </a:lnTo>
                  <a:lnTo>
                    <a:pt x="848" y="600"/>
                  </a:lnTo>
                  <a:lnTo>
                    <a:pt x="848" y="1199"/>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6" name="Text Box 136">
              <a:extLst>
                <a:ext uri="{FF2B5EF4-FFF2-40B4-BE49-F238E27FC236}">
                  <a16:creationId xmlns:a16="http://schemas.microsoft.com/office/drawing/2014/main" id="{4F1D7A8D-9691-4F60-B9D7-6DEA69CD3ECC}"/>
                </a:ext>
              </a:extLst>
            </p:cNvPr>
            <p:cNvSpPr txBox="1">
              <a:spLocks noChangeArrowheads="1"/>
            </p:cNvSpPr>
            <p:nvPr/>
          </p:nvSpPr>
          <p:spPr bwMode="auto">
            <a:xfrm>
              <a:off x="6802438" y="54213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7" name="Text Box 137">
              <a:extLst>
                <a:ext uri="{FF2B5EF4-FFF2-40B4-BE49-F238E27FC236}">
                  <a16:creationId xmlns:a16="http://schemas.microsoft.com/office/drawing/2014/main" id="{645C4BDE-2140-4A2E-82BF-7790B2B97492}"/>
                </a:ext>
              </a:extLst>
            </p:cNvPr>
            <p:cNvSpPr txBox="1">
              <a:spLocks noChangeArrowheads="1"/>
            </p:cNvSpPr>
            <p:nvPr/>
          </p:nvSpPr>
          <p:spPr bwMode="auto">
            <a:xfrm>
              <a:off x="6388100" y="54213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8" name="Text Box 138">
              <a:extLst>
                <a:ext uri="{FF2B5EF4-FFF2-40B4-BE49-F238E27FC236}">
                  <a16:creationId xmlns:a16="http://schemas.microsoft.com/office/drawing/2014/main" id="{A3C188A6-31CD-4193-9BAA-892DA03E005A}"/>
                </a:ext>
              </a:extLst>
            </p:cNvPr>
            <p:cNvSpPr txBox="1">
              <a:spLocks noChangeArrowheads="1"/>
            </p:cNvSpPr>
            <p:nvPr/>
          </p:nvSpPr>
          <p:spPr bwMode="auto">
            <a:xfrm>
              <a:off x="7181850" y="494350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9" name="Text Box 139">
              <a:extLst>
                <a:ext uri="{FF2B5EF4-FFF2-40B4-BE49-F238E27FC236}">
                  <a16:creationId xmlns:a16="http://schemas.microsoft.com/office/drawing/2014/main" id="{0BF4B4EE-9FC6-422E-9E9F-E87674B11BCC}"/>
                </a:ext>
              </a:extLst>
            </p:cNvPr>
            <p:cNvSpPr txBox="1">
              <a:spLocks noChangeArrowheads="1"/>
            </p:cNvSpPr>
            <p:nvPr/>
          </p:nvSpPr>
          <p:spPr bwMode="auto">
            <a:xfrm>
              <a:off x="7181850" y="4681563"/>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0" name="Text Box 140">
              <a:extLst>
                <a:ext uri="{FF2B5EF4-FFF2-40B4-BE49-F238E27FC236}">
                  <a16:creationId xmlns:a16="http://schemas.microsoft.com/office/drawing/2014/main" id="{1D8C3A82-8AB7-4E20-BFE8-CF1709ABE335}"/>
                </a:ext>
              </a:extLst>
            </p:cNvPr>
            <p:cNvSpPr txBox="1">
              <a:spLocks noChangeArrowheads="1"/>
            </p:cNvSpPr>
            <p:nvPr/>
          </p:nvSpPr>
          <p:spPr bwMode="auto">
            <a:xfrm>
              <a:off x="6019800" y="4941913"/>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41" name="Text Box 141">
              <a:extLst>
                <a:ext uri="{FF2B5EF4-FFF2-40B4-BE49-F238E27FC236}">
                  <a16:creationId xmlns:a16="http://schemas.microsoft.com/office/drawing/2014/main" id="{F1A5C380-2854-4765-B1F4-C610336A5B01}"/>
                </a:ext>
              </a:extLst>
            </p:cNvPr>
            <p:cNvSpPr txBox="1">
              <a:spLocks noChangeArrowheads="1"/>
            </p:cNvSpPr>
            <p:nvPr/>
          </p:nvSpPr>
          <p:spPr bwMode="auto">
            <a:xfrm>
              <a:off x="6842194" y="4221188"/>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42" name="Text Box 142">
              <a:extLst>
                <a:ext uri="{FF2B5EF4-FFF2-40B4-BE49-F238E27FC236}">
                  <a16:creationId xmlns:a16="http://schemas.microsoft.com/office/drawing/2014/main" id="{BB6312FB-F6E8-4B58-BC8C-0C1DFAE030A4}"/>
                </a:ext>
              </a:extLst>
            </p:cNvPr>
            <p:cNvSpPr txBox="1">
              <a:spLocks noChangeArrowheads="1"/>
            </p:cNvSpPr>
            <p:nvPr/>
          </p:nvSpPr>
          <p:spPr bwMode="auto">
            <a:xfrm>
              <a:off x="6019800" y="4683150"/>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43" name="Text Box 143">
              <a:extLst>
                <a:ext uri="{FF2B5EF4-FFF2-40B4-BE49-F238E27FC236}">
                  <a16:creationId xmlns:a16="http://schemas.microsoft.com/office/drawing/2014/main" id="{AD4D9394-6219-4055-A1FF-2BE660AB13B7}"/>
                </a:ext>
              </a:extLst>
            </p:cNvPr>
            <p:cNvSpPr txBox="1">
              <a:spLocks noChangeArrowheads="1"/>
            </p:cNvSpPr>
            <p:nvPr/>
          </p:nvSpPr>
          <p:spPr bwMode="auto">
            <a:xfrm>
              <a:off x="6348344" y="4221188"/>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144" name="Group 143">
            <a:extLst>
              <a:ext uri="{FF2B5EF4-FFF2-40B4-BE49-F238E27FC236}">
                <a16:creationId xmlns:a16="http://schemas.microsoft.com/office/drawing/2014/main" id="{9B5AB17F-C14B-41E3-A5BD-B9F5BC432F1E}"/>
              </a:ext>
            </a:extLst>
          </p:cNvPr>
          <p:cNvGrpSpPr/>
          <p:nvPr/>
        </p:nvGrpSpPr>
        <p:grpSpPr bwMode="auto">
          <a:xfrm>
            <a:off x="5176462" y="4150657"/>
            <a:ext cx="1860550" cy="1860550"/>
            <a:chOff x="3659188" y="4022750"/>
            <a:chExt cx="1860550" cy="1860550"/>
          </a:xfrm>
        </p:grpSpPr>
        <p:sp>
          <p:nvSpPr>
            <p:cNvPr id="145" name="Freeform 145">
              <a:extLst>
                <a:ext uri="{FF2B5EF4-FFF2-40B4-BE49-F238E27FC236}">
                  <a16:creationId xmlns:a16="http://schemas.microsoft.com/office/drawing/2014/main" id="{5268A659-01C2-466C-88A8-68C0E9D99D99}"/>
                </a:ext>
              </a:extLst>
            </p:cNvPr>
            <p:cNvSpPr>
              <a:spLocks/>
            </p:cNvSpPr>
            <p:nvPr/>
          </p:nvSpPr>
          <p:spPr bwMode="auto">
            <a:xfrm>
              <a:off x="4586288" y="4022750"/>
              <a:ext cx="727075" cy="930275"/>
            </a:xfrm>
            <a:custGeom>
              <a:avLst/>
              <a:gdLst/>
              <a:ahLst/>
              <a:cxnLst>
                <a:cxn ang="0">
                  <a:pos x="0" y="1135"/>
                </a:cxn>
                <a:cxn ang="0">
                  <a:pos x="0" y="568"/>
                </a:cxn>
                <a:cxn ang="0">
                  <a:pos x="0" y="0"/>
                </a:cxn>
                <a:cxn ang="0">
                  <a:pos x="28" y="1"/>
                </a:cxn>
                <a:cxn ang="0">
                  <a:pos x="55" y="2"/>
                </a:cxn>
                <a:cxn ang="0">
                  <a:pos x="83" y="3"/>
                </a:cxn>
                <a:cxn ang="0">
                  <a:pos x="111" y="6"/>
                </a:cxn>
                <a:cxn ang="0">
                  <a:pos x="139" y="9"/>
                </a:cxn>
                <a:cxn ang="0">
                  <a:pos x="166" y="13"/>
                </a:cxn>
                <a:cxn ang="0">
                  <a:pos x="194" y="17"/>
                </a:cxn>
                <a:cxn ang="0">
                  <a:pos x="221" y="22"/>
                </a:cxn>
                <a:cxn ang="0">
                  <a:pos x="248" y="28"/>
                </a:cxn>
                <a:cxn ang="0">
                  <a:pos x="275" y="34"/>
                </a:cxn>
                <a:cxn ang="0">
                  <a:pos x="302" y="42"/>
                </a:cxn>
                <a:cxn ang="0">
                  <a:pos x="329" y="49"/>
                </a:cxn>
                <a:cxn ang="0">
                  <a:pos x="355" y="58"/>
                </a:cxn>
                <a:cxn ang="0">
                  <a:pos x="382" y="67"/>
                </a:cxn>
                <a:cxn ang="0">
                  <a:pos x="395" y="71"/>
                </a:cxn>
                <a:cxn ang="0">
                  <a:pos x="408" y="76"/>
                </a:cxn>
                <a:cxn ang="0">
                  <a:pos x="434" y="87"/>
                </a:cxn>
                <a:cxn ang="0">
                  <a:pos x="459" y="98"/>
                </a:cxn>
                <a:cxn ang="0">
                  <a:pos x="484" y="109"/>
                </a:cxn>
                <a:cxn ang="0">
                  <a:pos x="509" y="121"/>
                </a:cxn>
                <a:cxn ang="0">
                  <a:pos x="534" y="134"/>
                </a:cxn>
                <a:cxn ang="0">
                  <a:pos x="559" y="147"/>
                </a:cxn>
                <a:cxn ang="0">
                  <a:pos x="584" y="161"/>
                </a:cxn>
                <a:cxn ang="0">
                  <a:pos x="607" y="176"/>
                </a:cxn>
                <a:cxn ang="0">
                  <a:pos x="631" y="191"/>
                </a:cxn>
                <a:cxn ang="0">
                  <a:pos x="654" y="207"/>
                </a:cxn>
                <a:cxn ang="0">
                  <a:pos x="676" y="223"/>
                </a:cxn>
                <a:cxn ang="0">
                  <a:pos x="698" y="240"/>
                </a:cxn>
                <a:cxn ang="0">
                  <a:pos x="720" y="257"/>
                </a:cxn>
                <a:cxn ang="0">
                  <a:pos x="741" y="275"/>
                </a:cxn>
                <a:cxn ang="0">
                  <a:pos x="762" y="294"/>
                </a:cxn>
                <a:cxn ang="0">
                  <a:pos x="772" y="303"/>
                </a:cxn>
                <a:cxn ang="0">
                  <a:pos x="783" y="313"/>
                </a:cxn>
                <a:cxn ang="0">
                  <a:pos x="802" y="332"/>
                </a:cxn>
                <a:cxn ang="0">
                  <a:pos x="825" y="355"/>
                </a:cxn>
                <a:cxn ang="0">
                  <a:pos x="846" y="379"/>
                </a:cxn>
                <a:cxn ang="0">
                  <a:pos x="867" y="403"/>
                </a:cxn>
                <a:cxn ang="0">
                  <a:pos x="887" y="427"/>
                </a:cxn>
                <a:cxn ang="0">
                  <a:pos x="443" y="781"/>
                </a:cxn>
                <a:cxn ang="0">
                  <a:pos x="0" y="1135"/>
                </a:cxn>
              </a:cxnLst>
              <a:rect l="0" t="0" r="r" b="b"/>
              <a:pathLst>
                <a:path w="887" h="1135">
                  <a:moveTo>
                    <a:pt x="0" y="1135"/>
                  </a:moveTo>
                  <a:lnTo>
                    <a:pt x="0" y="568"/>
                  </a:lnTo>
                  <a:lnTo>
                    <a:pt x="0" y="0"/>
                  </a:lnTo>
                  <a:lnTo>
                    <a:pt x="28" y="1"/>
                  </a:lnTo>
                  <a:lnTo>
                    <a:pt x="55" y="2"/>
                  </a:lnTo>
                  <a:lnTo>
                    <a:pt x="83" y="3"/>
                  </a:lnTo>
                  <a:lnTo>
                    <a:pt x="111" y="6"/>
                  </a:lnTo>
                  <a:lnTo>
                    <a:pt x="139" y="9"/>
                  </a:lnTo>
                  <a:lnTo>
                    <a:pt x="166" y="13"/>
                  </a:lnTo>
                  <a:lnTo>
                    <a:pt x="194" y="17"/>
                  </a:lnTo>
                  <a:lnTo>
                    <a:pt x="221" y="22"/>
                  </a:lnTo>
                  <a:lnTo>
                    <a:pt x="248" y="28"/>
                  </a:lnTo>
                  <a:lnTo>
                    <a:pt x="275" y="34"/>
                  </a:lnTo>
                  <a:lnTo>
                    <a:pt x="302" y="42"/>
                  </a:lnTo>
                  <a:lnTo>
                    <a:pt x="329" y="49"/>
                  </a:lnTo>
                  <a:lnTo>
                    <a:pt x="355" y="58"/>
                  </a:lnTo>
                  <a:lnTo>
                    <a:pt x="382" y="67"/>
                  </a:lnTo>
                  <a:lnTo>
                    <a:pt x="395" y="71"/>
                  </a:lnTo>
                  <a:lnTo>
                    <a:pt x="408" y="76"/>
                  </a:lnTo>
                  <a:lnTo>
                    <a:pt x="434" y="87"/>
                  </a:lnTo>
                  <a:lnTo>
                    <a:pt x="459" y="98"/>
                  </a:lnTo>
                  <a:lnTo>
                    <a:pt x="484" y="109"/>
                  </a:lnTo>
                  <a:lnTo>
                    <a:pt x="509" y="121"/>
                  </a:lnTo>
                  <a:lnTo>
                    <a:pt x="534" y="134"/>
                  </a:lnTo>
                  <a:lnTo>
                    <a:pt x="559" y="147"/>
                  </a:lnTo>
                  <a:lnTo>
                    <a:pt x="584" y="161"/>
                  </a:lnTo>
                  <a:lnTo>
                    <a:pt x="607" y="176"/>
                  </a:lnTo>
                  <a:lnTo>
                    <a:pt x="631" y="191"/>
                  </a:lnTo>
                  <a:lnTo>
                    <a:pt x="654" y="207"/>
                  </a:lnTo>
                  <a:lnTo>
                    <a:pt x="676" y="223"/>
                  </a:lnTo>
                  <a:lnTo>
                    <a:pt x="698" y="240"/>
                  </a:lnTo>
                  <a:lnTo>
                    <a:pt x="720" y="257"/>
                  </a:lnTo>
                  <a:lnTo>
                    <a:pt x="741" y="275"/>
                  </a:lnTo>
                  <a:lnTo>
                    <a:pt x="762" y="294"/>
                  </a:lnTo>
                  <a:lnTo>
                    <a:pt x="772" y="303"/>
                  </a:lnTo>
                  <a:lnTo>
                    <a:pt x="783" y="313"/>
                  </a:lnTo>
                  <a:lnTo>
                    <a:pt x="802" y="332"/>
                  </a:lnTo>
                  <a:lnTo>
                    <a:pt x="825" y="355"/>
                  </a:lnTo>
                  <a:lnTo>
                    <a:pt x="846" y="379"/>
                  </a:lnTo>
                  <a:lnTo>
                    <a:pt x="867" y="403"/>
                  </a:lnTo>
                  <a:lnTo>
                    <a:pt x="887" y="427"/>
                  </a:lnTo>
                  <a:lnTo>
                    <a:pt x="443" y="781"/>
                  </a:lnTo>
                  <a:lnTo>
                    <a:pt x="0" y="113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6" name="Freeform 146">
              <a:extLst>
                <a:ext uri="{FF2B5EF4-FFF2-40B4-BE49-F238E27FC236}">
                  <a16:creationId xmlns:a16="http://schemas.microsoft.com/office/drawing/2014/main" id="{6DD7510B-7850-4904-8214-CE972EF86BD7}"/>
                </a:ext>
              </a:extLst>
            </p:cNvPr>
            <p:cNvSpPr>
              <a:spLocks/>
            </p:cNvSpPr>
            <p:nvPr/>
          </p:nvSpPr>
          <p:spPr bwMode="auto">
            <a:xfrm>
              <a:off x="4589463" y="4372000"/>
              <a:ext cx="930275" cy="788987"/>
            </a:xfrm>
            <a:custGeom>
              <a:avLst/>
              <a:gdLst/>
              <a:ahLst/>
              <a:cxnLst>
                <a:cxn ang="0">
                  <a:pos x="0" y="708"/>
                </a:cxn>
                <a:cxn ang="0">
                  <a:pos x="443" y="354"/>
                </a:cxn>
                <a:cxn ang="0">
                  <a:pos x="887" y="0"/>
                </a:cxn>
                <a:cxn ang="0">
                  <a:pos x="904" y="22"/>
                </a:cxn>
                <a:cxn ang="0">
                  <a:pos x="921" y="45"/>
                </a:cxn>
                <a:cxn ang="0">
                  <a:pos x="937" y="67"/>
                </a:cxn>
                <a:cxn ang="0">
                  <a:pos x="952" y="91"/>
                </a:cxn>
                <a:cxn ang="0">
                  <a:pos x="967" y="114"/>
                </a:cxn>
                <a:cxn ang="0">
                  <a:pos x="981" y="138"/>
                </a:cxn>
                <a:cxn ang="0">
                  <a:pos x="995" y="163"/>
                </a:cxn>
                <a:cxn ang="0">
                  <a:pos x="1008" y="188"/>
                </a:cxn>
                <a:cxn ang="0">
                  <a:pos x="1020" y="213"/>
                </a:cxn>
                <a:cxn ang="0">
                  <a:pos x="1032" y="238"/>
                </a:cxn>
                <a:cxn ang="0">
                  <a:pos x="1043" y="263"/>
                </a:cxn>
                <a:cxn ang="0">
                  <a:pos x="1049" y="276"/>
                </a:cxn>
                <a:cxn ang="0">
                  <a:pos x="1054" y="289"/>
                </a:cxn>
                <a:cxn ang="0">
                  <a:pos x="1064" y="315"/>
                </a:cxn>
                <a:cxn ang="0">
                  <a:pos x="1073" y="341"/>
                </a:cxn>
                <a:cxn ang="0">
                  <a:pos x="1082" y="368"/>
                </a:cxn>
                <a:cxn ang="0">
                  <a:pos x="1090" y="394"/>
                </a:cxn>
                <a:cxn ang="0">
                  <a:pos x="1097" y="421"/>
                </a:cxn>
                <a:cxn ang="0">
                  <a:pos x="1104" y="448"/>
                </a:cxn>
                <a:cxn ang="0">
                  <a:pos x="1107" y="462"/>
                </a:cxn>
                <a:cxn ang="0">
                  <a:pos x="1110" y="475"/>
                </a:cxn>
                <a:cxn ang="0">
                  <a:pos x="1116" y="503"/>
                </a:cxn>
                <a:cxn ang="0">
                  <a:pos x="1121" y="530"/>
                </a:cxn>
                <a:cxn ang="0">
                  <a:pos x="1125" y="558"/>
                </a:cxn>
                <a:cxn ang="0">
                  <a:pos x="1128" y="585"/>
                </a:cxn>
                <a:cxn ang="0">
                  <a:pos x="1131" y="613"/>
                </a:cxn>
                <a:cxn ang="0">
                  <a:pos x="1133" y="641"/>
                </a:cxn>
                <a:cxn ang="0">
                  <a:pos x="1134" y="668"/>
                </a:cxn>
                <a:cxn ang="0">
                  <a:pos x="1135" y="696"/>
                </a:cxn>
                <a:cxn ang="0">
                  <a:pos x="1135" y="724"/>
                </a:cxn>
                <a:cxn ang="0">
                  <a:pos x="1134" y="752"/>
                </a:cxn>
                <a:cxn ang="0">
                  <a:pos x="1132" y="780"/>
                </a:cxn>
                <a:cxn ang="0">
                  <a:pos x="1130" y="807"/>
                </a:cxn>
                <a:cxn ang="0">
                  <a:pos x="1127" y="835"/>
                </a:cxn>
                <a:cxn ang="0">
                  <a:pos x="1123" y="867"/>
                </a:cxn>
                <a:cxn ang="0">
                  <a:pos x="1121" y="882"/>
                </a:cxn>
                <a:cxn ang="0">
                  <a:pos x="1118" y="898"/>
                </a:cxn>
                <a:cxn ang="0">
                  <a:pos x="1113" y="929"/>
                </a:cxn>
                <a:cxn ang="0">
                  <a:pos x="1109" y="945"/>
                </a:cxn>
                <a:cxn ang="0">
                  <a:pos x="1106" y="961"/>
                </a:cxn>
                <a:cxn ang="0">
                  <a:pos x="552" y="834"/>
                </a:cxn>
                <a:cxn ang="0">
                  <a:pos x="0" y="708"/>
                </a:cxn>
              </a:cxnLst>
              <a:rect l="0" t="0" r="r" b="b"/>
              <a:pathLst>
                <a:path w="1135" h="961">
                  <a:moveTo>
                    <a:pt x="0" y="708"/>
                  </a:moveTo>
                  <a:lnTo>
                    <a:pt x="443" y="354"/>
                  </a:lnTo>
                  <a:lnTo>
                    <a:pt x="887" y="0"/>
                  </a:lnTo>
                  <a:lnTo>
                    <a:pt x="904" y="22"/>
                  </a:lnTo>
                  <a:lnTo>
                    <a:pt x="921" y="45"/>
                  </a:lnTo>
                  <a:lnTo>
                    <a:pt x="937" y="67"/>
                  </a:lnTo>
                  <a:lnTo>
                    <a:pt x="952" y="91"/>
                  </a:lnTo>
                  <a:lnTo>
                    <a:pt x="967" y="114"/>
                  </a:lnTo>
                  <a:lnTo>
                    <a:pt x="981" y="138"/>
                  </a:lnTo>
                  <a:lnTo>
                    <a:pt x="995" y="163"/>
                  </a:lnTo>
                  <a:lnTo>
                    <a:pt x="1008" y="188"/>
                  </a:lnTo>
                  <a:lnTo>
                    <a:pt x="1020" y="213"/>
                  </a:lnTo>
                  <a:lnTo>
                    <a:pt x="1032" y="238"/>
                  </a:lnTo>
                  <a:lnTo>
                    <a:pt x="1043" y="263"/>
                  </a:lnTo>
                  <a:lnTo>
                    <a:pt x="1049" y="276"/>
                  </a:lnTo>
                  <a:lnTo>
                    <a:pt x="1054" y="289"/>
                  </a:lnTo>
                  <a:lnTo>
                    <a:pt x="1064" y="315"/>
                  </a:lnTo>
                  <a:lnTo>
                    <a:pt x="1073" y="341"/>
                  </a:lnTo>
                  <a:lnTo>
                    <a:pt x="1082" y="368"/>
                  </a:lnTo>
                  <a:lnTo>
                    <a:pt x="1090" y="394"/>
                  </a:lnTo>
                  <a:lnTo>
                    <a:pt x="1097" y="421"/>
                  </a:lnTo>
                  <a:lnTo>
                    <a:pt x="1104" y="448"/>
                  </a:lnTo>
                  <a:lnTo>
                    <a:pt x="1107" y="462"/>
                  </a:lnTo>
                  <a:lnTo>
                    <a:pt x="1110" y="475"/>
                  </a:lnTo>
                  <a:lnTo>
                    <a:pt x="1116" y="503"/>
                  </a:lnTo>
                  <a:lnTo>
                    <a:pt x="1121" y="530"/>
                  </a:lnTo>
                  <a:lnTo>
                    <a:pt x="1125" y="558"/>
                  </a:lnTo>
                  <a:lnTo>
                    <a:pt x="1128" y="585"/>
                  </a:lnTo>
                  <a:lnTo>
                    <a:pt x="1131" y="613"/>
                  </a:lnTo>
                  <a:lnTo>
                    <a:pt x="1133" y="641"/>
                  </a:lnTo>
                  <a:lnTo>
                    <a:pt x="1134" y="668"/>
                  </a:lnTo>
                  <a:lnTo>
                    <a:pt x="1135" y="696"/>
                  </a:lnTo>
                  <a:lnTo>
                    <a:pt x="1135" y="724"/>
                  </a:lnTo>
                  <a:lnTo>
                    <a:pt x="1134" y="752"/>
                  </a:lnTo>
                  <a:lnTo>
                    <a:pt x="1132" y="780"/>
                  </a:lnTo>
                  <a:lnTo>
                    <a:pt x="1130" y="807"/>
                  </a:lnTo>
                  <a:lnTo>
                    <a:pt x="1127" y="835"/>
                  </a:lnTo>
                  <a:lnTo>
                    <a:pt x="1123" y="867"/>
                  </a:lnTo>
                  <a:lnTo>
                    <a:pt x="1121" y="882"/>
                  </a:lnTo>
                  <a:lnTo>
                    <a:pt x="1118" y="898"/>
                  </a:lnTo>
                  <a:lnTo>
                    <a:pt x="1113" y="929"/>
                  </a:lnTo>
                  <a:lnTo>
                    <a:pt x="1109" y="945"/>
                  </a:lnTo>
                  <a:lnTo>
                    <a:pt x="1106" y="961"/>
                  </a:lnTo>
                  <a:lnTo>
                    <a:pt x="552" y="834"/>
                  </a:lnTo>
                  <a:lnTo>
                    <a:pt x="0" y="70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7" name="Freeform 147">
              <a:extLst>
                <a:ext uri="{FF2B5EF4-FFF2-40B4-BE49-F238E27FC236}">
                  <a16:creationId xmlns:a16="http://schemas.microsoft.com/office/drawing/2014/main" id="{4624C649-51D6-4F39-A246-685ECD6AECDB}"/>
                </a:ext>
              </a:extLst>
            </p:cNvPr>
            <p:cNvSpPr>
              <a:spLocks/>
            </p:cNvSpPr>
            <p:nvPr/>
          </p:nvSpPr>
          <p:spPr bwMode="auto">
            <a:xfrm>
              <a:off x="4589463" y="4953025"/>
              <a:ext cx="906462" cy="838200"/>
            </a:xfrm>
            <a:custGeom>
              <a:avLst/>
              <a:gdLst/>
              <a:ahLst/>
              <a:cxnLst>
                <a:cxn ang="0">
                  <a:pos x="0" y="0"/>
                </a:cxn>
                <a:cxn ang="0">
                  <a:pos x="552" y="126"/>
                </a:cxn>
                <a:cxn ang="0">
                  <a:pos x="1106" y="253"/>
                </a:cxn>
                <a:cxn ang="0">
                  <a:pos x="1099" y="280"/>
                </a:cxn>
                <a:cxn ang="0">
                  <a:pos x="1092" y="306"/>
                </a:cxn>
                <a:cxn ang="0">
                  <a:pos x="1084" y="333"/>
                </a:cxn>
                <a:cxn ang="0">
                  <a:pos x="1076" y="360"/>
                </a:cxn>
                <a:cxn ang="0">
                  <a:pos x="1067" y="386"/>
                </a:cxn>
                <a:cxn ang="0">
                  <a:pos x="1057" y="412"/>
                </a:cxn>
                <a:cxn ang="0">
                  <a:pos x="1047" y="438"/>
                </a:cxn>
                <a:cxn ang="0">
                  <a:pos x="1036" y="463"/>
                </a:cxn>
                <a:cxn ang="0">
                  <a:pos x="1024" y="489"/>
                </a:cxn>
                <a:cxn ang="0">
                  <a:pos x="1011" y="514"/>
                </a:cxn>
                <a:cxn ang="0">
                  <a:pos x="999" y="538"/>
                </a:cxn>
                <a:cxn ang="0">
                  <a:pos x="985" y="562"/>
                </a:cxn>
                <a:cxn ang="0">
                  <a:pos x="971" y="587"/>
                </a:cxn>
                <a:cxn ang="0">
                  <a:pos x="956" y="611"/>
                </a:cxn>
                <a:cxn ang="0">
                  <a:pos x="941" y="634"/>
                </a:cxn>
                <a:cxn ang="0">
                  <a:pos x="925" y="657"/>
                </a:cxn>
                <a:cxn ang="0">
                  <a:pos x="909" y="680"/>
                </a:cxn>
                <a:cxn ang="0">
                  <a:pos x="892" y="702"/>
                </a:cxn>
                <a:cxn ang="0">
                  <a:pos x="875" y="724"/>
                </a:cxn>
                <a:cxn ang="0">
                  <a:pos x="857" y="745"/>
                </a:cxn>
                <a:cxn ang="0">
                  <a:pos x="838" y="766"/>
                </a:cxn>
                <a:cxn ang="0">
                  <a:pos x="829" y="776"/>
                </a:cxn>
                <a:cxn ang="0">
                  <a:pos x="819" y="786"/>
                </a:cxn>
                <a:cxn ang="0">
                  <a:pos x="800" y="806"/>
                </a:cxn>
                <a:cxn ang="0">
                  <a:pos x="780" y="825"/>
                </a:cxn>
                <a:cxn ang="0">
                  <a:pos x="759" y="844"/>
                </a:cxn>
                <a:cxn ang="0">
                  <a:pos x="739" y="863"/>
                </a:cxn>
                <a:cxn ang="0">
                  <a:pos x="717" y="880"/>
                </a:cxn>
                <a:cxn ang="0">
                  <a:pos x="695" y="898"/>
                </a:cxn>
                <a:cxn ang="0">
                  <a:pos x="673" y="915"/>
                </a:cxn>
                <a:cxn ang="0">
                  <a:pos x="650" y="931"/>
                </a:cxn>
                <a:cxn ang="0">
                  <a:pos x="627" y="946"/>
                </a:cxn>
                <a:cxn ang="0">
                  <a:pos x="604" y="961"/>
                </a:cxn>
                <a:cxn ang="0">
                  <a:pos x="590" y="970"/>
                </a:cxn>
                <a:cxn ang="0">
                  <a:pos x="577" y="978"/>
                </a:cxn>
                <a:cxn ang="0">
                  <a:pos x="548" y="994"/>
                </a:cxn>
                <a:cxn ang="0">
                  <a:pos x="520" y="1009"/>
                </a:cxn>
                <a:cxn ang="0">
                  <a:pos x="492" y="1023"/>
                </a:cxn>
                <a:cxn ang="0">
                  <a:pos x="246" y="511"/>
                </a:cxn>
                <a:cxn ang="0">
                  <a:pos x="0" y="0"/>
                </a:cxn>
              </a:cxnLst>
              <a:rect l="0" t="0" r="r" b="b"/>
              <a:pathLst>
                <a:path w="1106" h="1023">
                  <a:moveTo>
                    <a:pt x="0" y="0"/>
                  </a:moveTo>
                  <a:lnTo>
                    <a:pt x="552" y="126"/>
                  </a:lnTo>
                  <a:lnTo>
                    <a:pt x="1106" y="253"/>
                  </a:lnTo>
                  <a:lnTo>
                    <a:pt x="1099" y="280"/>
                  </a:lnTo>
                  <a:lnTo>
                    <a:pt x="1092" y="306"/>
                  </a:lnTo>
                  <a:lnTo>
                    <a:pt x="1084" y="333"/>
                  </a:lnTo>
                  <a:lnTo>
                    <a:pt x="1076" y="360"/>
                  </a:lnTo>
                  <a:lnTo>
                    <a:pt x="1067" y="386"/>
                  </a:lnTo>
                  <a:lnTo>
                    <a:pt x="1057" y="412"/>
                  </a:lnTo>
                  <a:lnTo>
                    <a:pt x="1047" y="438"/>
                  </a:lnTo>
                  <a:lnTo>
                    <a:pt x="1036" y="463"/>
                  </a:lnTo>
                  <a:lnTo>
                    <a:pt x="1024" y="489"/>
                  </a:lnTo>
                  <a:lnTo>
                    <a:pt x="1011" y="514"/>
                  </a:lnTo>
                  <a:lnTo>
                    <a:pt x="999" y="538"/>
                  </a:lnTo>
                  <a:lnTo>
                    <a:pt x="985" y="562"/>
                  </a:lnTo>
                  <a:lnTo>
                    <a:pt x="971" y="587"/>
                  </a:lnTo>
                  <a:lnTo>
                    <a:pt x="956" y="611"/>
                  </a:lnTo>
                  <a:lnTo>
                    <a:pt x="941" y="634"/>
                  </a:lnTo>
                  <a:lnTo>
                    <a:pt x="925" y="657"/>
                  </a:lnTo>
                  <a:lnTo>
                    <a:pt x="909" y="680"/>
                  </a:lnTo>
                  <a:lnTo>
                    <a:pt x="892" y="702"/>
                  </a:lnTo>
                  <a:lnTo>
                    <a:pt x="875" y="724"/>
                  </a:lnTo>
                  <a:lnTo>
                    <a:pt x="857" y="745"/>
                  </a:lnTo>
                  <a:lnTo>
                    <a:pt x="838" y="766"/>
                  </a:lnTo>
                  <a:lnTo>
                    <a:pt x="829" y="776"/>
                  </a:lnTo>
                  <a:lnTo>
                    <a:pt x="819" y="786"/>
                  </a:lnTo>
                  <a:lnTo>
                    <a:pt x="800" y="806"/>
                  </a:lnTo>
                  <a:lnTo>
                    <a:pt x="780" y="825"/>
                  </a:lnTo>
                  <a:lnTo>
                    <a:pt x="759" y="844"/>
                  </a:lnTo>
                  <a:lnTo>
                    <a:pt x="739" y="863"/>
                  </a:lnTo>
                  <a:lnTo>
                    <a:pt x="717" y="880"/>
                  </a:lnTo>
                  <a:lnTo>
                    <a:pt x="695" y="898"/>
                  </a:lnTo>
                  <a:lnTo>
                    <a:pt x="673" y="915"/>
                  </a:lnTo>
                  <a:lnTo>
                    <a:pt x="650" y="931"/>
                  </a:lnTo>
                  <a:lnTo>
                    <a:pt x="627" y="946"/>
                  </a:lnTo>
                  <a:lnTo>
                    <a:pt x="604" y="961"/>
                  </a:lnTo>
                  <a:lnTo>
                    <a:pt x="590" y="970"/>
                  </a:lnTo>
                  <a:lnTo>
                    <a:pt x="577" y="978"/>
                  </a:lnTo>
                  <a:lnTo>
                    <a:pt x="548" y="994"/>
                  </a:lnTo>
                  <a:lnTo>
                    <a:pt x="520" y="1009"/>
                  </a:lnTo>
                  <a:lnTo>
                    <a:pt x="492" y="1023"/>
                  </a:lnTo>
                  <a:lnTo>
                    <a:pt x="246" y="511"/>
                  </a:lnTo>
                  <a:lnTo>
                    <a:pt x="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8" name="Freeform 148">
              <a:extLst>
                <a:ext uri="{FF2B5EF4-FFF2-40B4-BE49-F238E27FC236}">
                  <a16:creationId xmlns:a16="http://schemas.microsoft.com/office/drawing/2014/main" id="{58F8E6C2-D4F1-4258-83C6-2D39F562B394}"/>
                </a:ext>
              </a:extLst>
            </p:cNvPr>
            <p:cNvSpPr>
              <a:spLocks/>
            </p:cNvSpPr>
            <p:nvPr/>
          </p:nvSpPr>
          <p:spPr bwMode="auto">
            <a:xfrm>
              <a:off x="4186238" y="4953025"/>
              <a:ext cx="806450" cy="930275"/>
            </a:xfrm>
            <a:custGeom>
              <a:avLst/>
              <a:gdLst/>
              <a:ahLst/>
              <a:cxnLst>
                <a:cxn ang="0">
                  <a:pos x="492" y="0"/>
                </a:cxn>
                <a:cxn ang="0">
                  <a:pos x="738" y="511"/>
                </a:cxn>
                <a:cxn ang="0">
                  <a:pos x="984" y="1023"/>
                </a:cxn>
                <a:cxn ang="0">
                  <a:pos x="958" y="1035"/>
                </a:cxn>
                <a:cxn ang="0">
                  <a:pos x="933" y="1046"/>
                </a:cxn>
                <a:cxn ang="0">
                  <a:pos x="907" y="1056"/>
                </a:cxn>
                <a:cxn ang="0">
                  <a:pos x="881" y="1066"/>
                </a:cxn>
                <a:cxn ang="0">
                  <a:pos x="855" y="1075"/>
                </a:cxn>
                <a:cxn ang="0">
                  <a:pos x="828" y="1084"/>
                </a:cxn>
                <a:cxn ang="0">
                  <a:pos x="802" y="1092"/>
                </a:cxn>
                <a:cxn ang="0">
                  <a:pos x="775" y="1099"/>
                </a:cxn>
                <a:cxn ang="0">
                  <a:pos x="748" y="1106"/>
                </a:cxn>
                <a:cxn ang="0">
                  <a:pos x="721" y="1112"/>
                </a:cxn>
                <a:cxn ang="0">
                  <a:pos x="693" y="1117"/>
                </a:cxn>
                <a:cxn ang="0">
                  <a:pos x="666" y="1121"/>
                </a:cxn>
                <a:cxn ang="0">
                  <a:pos x="638" y="1125"/>
                </a:cxn>
                <a:cxn ang="0">
                  <a:pos x="611" y="1129"/>
                </a:cxn>
                <a:cxn ang="0">
                  <a:pos x="583" y="1131"/>
                </a:cxn>
                <a:cxn ang="0">
                  <a:pos x="555" y="1133"/>
                </a:cxn>
                <a:cxn ang="0">
                  <a:pos x="528" y="1134"/>
                </a:cxn>
                <a:cxn ang="0">
                  <a:pos x="500" y="1135"/>
                </a:cxn>
                <a:cxn ang="0">
                  <a:pos x="472" y="1135"/>
                </a:cxn>
                <a:cxn ang="0">
                  <a:pos x="444" y="1134"/>
                </a:cxn>
                <a:cxn ang="0">
                  <a:pos x="416" y="1133"/>
                </a:cxn>
                <a:cxn ang="0">
                  <a:pos x="389" y="1131"/>
                </a:cxn>
                <a:cxn ang="0">
                  <a:pos x="361" y="1128"/>
                </a:cxn>
                <a:cxn ang="0">
                  <a:pos x="333" y="1124"/>
                </a:cxn>
                <a:cxn ang="0">
                  <a:pos x="306" y="1120"/>
                </a:cxn>
                <a:cxn ang="0">
                  <a:pos x="278" y="1115"/>
                </a:cxn>
                <a:cxn ang="0">
                  <a:pos x="251" y="1110"/>
                </a:cxn>
                <a:cxn ang="0">
                  <a:pos x="224" y="1103"/>
                </a:cxn>
                <a:cxn ang="0">
                  <a:pos x="197" y="1096"/>
                </a:cxn>
                <a:cxn ang="0">
                  <a:pos x="170" y="1089"/>
                </a:cxn>
                <a:cxn ang="0">
                  <a:pos x="144" y="1080"/>
                </a:cxn>
                <a:cxn ang="0">
                  <a:pos x="117" y="1071"/>
                </a:cxn>
                <a:cxn ang="0">
                  <a:pos x="87" y="1060"/>
                </a:cxn>
                <a:cxn ang="0">
                  <a:pos x="58" y="1049"/>
                </a:cxn>
                <a:cxn ang="0">
                  <a:pos x="29" y="1036"/>
                </a:cxn>
                <a:cxn ang="0">
                  <a:pos x="14" y="1030"/>
                </a:cxn>
                <a:cxn ang="0">
                  <a:pos x="0" y="1023"/>
                </a:cxn>
                <a:cxn ang="0">
                  <a:pos x="246" y="511"/>
                </a:cxn>
                <a:cxn ang="0">
                  <a:pos x="492" y="0"/>
                </a:cxn>
              </a:cxnLst>
              <a:rect l="0" t="0" r="r" b="b"/>
              <a:pathLst>
                <a:path w="984" h="1135">
                  <a:moveTo>
                    <a:pt x="492" y="0"/>
                  </a:moveTo>
                  <a:lnTo>
                    <a:pt x="738" y="511"/>
                  </a:lnTo>
                  <a:lnTo>
                    <a:pt x="984" y="1023"/>
                  </a:lnTo>
                  <a:lnTo>
                    <a:pt x="958" y="1035"/>
                  </a:lnTo>
                  <a:lnTo>
                    <a:pt x="933" y="1046"/>
                  </a:lnTo>
                  <a:lnTo>
                    <a:pt x="907" y="1056"/>
                  </a:lnTo>
                  <a:lnTo>
                    <a:pt x="881" y="1066"/>
                  </a:lnTo>
                  <a:lnTo>
                    <a:pt x="855" y="1075"/>
                  </a:lnTo>
                  <a:lnTo>
                    <a:pt x="828" y="1084"/>
                  </a:lnTo>
                  <a:lnTo>
                    <a:pt x="802" y="1092"/>
                  </a:lnTo>
                  <a:lnTo>
                    <a:pt x="775" y="1099"/>
                  </a:lnTo>
                  <a:lnTo>
                    <a:pt x="748" y="1106"/>
                  </a:lnTo>
                  <a:lnTo>
                    <a:pt x="721" y="1112"/>
                  </a:lnTo>
                  <a:lnTo>
                    <a:pt x="693" y="1117"/>
                  </a:lnTo>
                  <a:lnTo>
                    <a:pt x="666" y="1121"/>
                  </a:lnTo>
                  <a:lnTo>
                    <a:pt x="638" y="1125"/>
                  </a:lnTo>
                  <a:lnTo>
                    <a:pt x="611" y="1129"/>
                  </a:lnTo>
                  <a:lnTo>
                    <a:pt x="583" y="1131"/>
                  </a:lnTo>
                  <a:lnTo>
                    <a:pt x="555" y="1133"/>
                  </a:lnTo>
                  <a:lnTo>
                    <a:pt x="528" y="1134"/>
                  </a:lnTo>
                  <a:lnTo>
                    <a:pt x="500" y="1135"/>
                  </a:lnTo>
                  <a:lnTo>
                    <a:pt x="472" y="1135"/>
                  </a:lnTo>
                  <a:lnTo>
                    <a:pt x="444" y="1134"/>
                  </a:lnTo>
                  <a:lnTo>
                    <a:pt x="416" y="1133"/>
                  </a:lnTo>
                  <a:lnTo>
                    <a:pt x="389" y="1131"/>
                  </a:lnTo>
                  <a:lnTo>
                    <a:pt x="361" y="1128"/>
                  </a:lnTo>
                  <a:lnTo>
                    <a:pt x="333" y="1124"/>
                  </a:lnTo>
                  <a:lnTo>
                    <a:pt x="306" y="1120"/>
                  </a:lnTo>
                  <a:lnTo>
                    <a:pt x="278" y="1115"/>
                  </a:lnTo>
                  <a:lnTo>
                    <a:pt x="251" y="1110"/>
                  </a:lnTo>
                  <a:lnTo>
                    <a:pt x="224" y="1103"/>
                  </a:lnTo>
                  <a:lnTo>
                    <a:pt x="197" y="1096"/>
                  </a:lnTo>
                  <a:lnTo>
                    <a:pt x="170" y="1089"/>
                  </a:lnTo>
                  <a:lnTo>
                    <a:pt x="144" y="1080"/>
                  </a:lnTo>
                  <a:lnTo>
                    <a:pt x="117" y="1071"/>
                  </a:lnTo>
                  <a:lnTo>
                    <a:pt x="87" y="1060"/>
                  </a:lnTo>
                  <a:lnTo>
                    <a:pt x="58" y="1049"/>
                  </a:lnTo>
                  <a:lnTo>
                    <a:pt x="29" y="1036"/>
                  </a:lnTo>
                  <a:lnTo>
                    <a:pt x="14" y="1030"/>
                  </a:lnTo>
                  <a:lnTo>
                    <a:pt x="0" y="1023"/>
                  </a:lnTo>
                  <a:lnTo>
                    <a:pt x="246" y="511"/>
                  </a:lnTo>
                  <a:lnTo>
                    <a:pt x="492"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9" name="Freeform 149">
              <a:extLst>
                <a:ext uri="{FF2B5EF4-FFF2-40B4-BE49-F238E27FC236}">
                  <a16:creationId xmlns:a16="http://schemas.microsoft.com/office/drawing/2014/main" id="{5BE13EDE-7BC3-472B-9D8B-9AFD38AB2605}"/>
                </a:ext>
              </a:extLst>
            </p:cNvPr>
            <p:cNvSpPr>
              <a:spLocks/>
            </p:cNvSpPr>
            <p:nvPr/>
          </p:nvSpPr>
          <p:spPr bwMode="auto">
            <a:xfrm>
              <a:off x="3683000" y="4953025"/>
              <a:ext cx="906463" cy="838200"/>
            </a:xfrm>
            <a:custGeom>
              <a:avLst/>
              <a:gdLst/>
              <a:ahLst/>
              <a:cxnLst>
                <a:cxn ang="0">
                  <a:pos x="1106" y="0"/>
                </a:cxn>
                <a:cxn ang="0">
                  <a:pos x="860" y="511"/>
                </a:cxn>
                <a:cxn ang="0">
                  <a:pos x="614" y="1023"/>
                </a:cxn>
                <a:cxn ang="0">
                  <a:pos x="589" y="1010"/>
                </a:cxn>
                <a:cxn ang="0">
                  <a:pos x="564" y="997"/>
                </a:cxn>
                <a:cxn ang="0">
                  <a:pos x="540" y="984"/>
                </a:cxn>
                <a:cxn ang="0">
                  <a:pos x="515" y="970"/>
                </a:cxn>
                <a:cxn ang="0">
                  <a:pos x="491" y="955"/>
                </a:cxn>
                <a:cxn ang="0">
                  <a:pos x="468" y="940"/>
                </a:cxn>
                <a:cxn ang="0">
                  <a:pos x="445" y="924"/>
                </a:cxn>
                <a:cxn ang="0">
                  <a:pos x="423" y="907"/>
                </a:cxn>
                <a:cxn ang="0">
                  <a:pos x="401" y="890"/>
                </a:cxn>
                <a:cxn ang="0">
                  <a:pos x="379" y="873"/>
                </a:cxn>
                <a:cxn ang="0">
                  <a:pos x="358" y="854"/>
                </a:cxn>
                <a:cxn ang="0">
                  <a:pos x="338" y="836"/>
                </a:cxn>
                <a:cxn ang="0">
                  <a:pos x="317" y="817"/>
                </a:cxn>
                <a:cxn ang="0">
                  <a:pos x="298" y="797"/>
                </a:cxn>
                <a:cxn ang="0">
                  <a:pos x="278" y="777"/>
                </a:cxn>
                <a:cxn ang="0">
                  <a:pos x="269" y="767"/>
                </a:cxn>
                <a:cxn ang="0">
                  <a:pos x="259" y="757"/>
                </a:cxn>
                <a:cxn ang="0">
                  <a:pos x="241" y="736"/>
                </a:cxn>
                <a:cxn ang="0">
                  <a:pos x="223" y="714"/>
                </a:cxn>
                <a:cxn ang="0">
                  <a:pos x="206" y="693"/>
                </a:cxn>
                <a:cxn ang="0">
                  <a:pos x="189" y="670"/>
                </a:cxn>
                <a:cxn ang="0">
                  <a:pos x="173" y="648"/>
                </a:cxn>
                <a:cxn ang="0">
                  <a:pos x="158" y="625"/>
                </a:cxn>
                <a:cxn ang="0">
                  <a:pos x="150" y="613"/>
                </a:cxn>
                <a:cxn ang="0">
                  <a:pos x="142" y="601"/>
                </a:cxn>
                <a:cxn ang="0">
                  <a:pos x="128" y="578"/>
                </a:cxn>
                <a:cxn ang="0">
                  <a:pos x="114" y="552"/>
                </a:cxn>
                <a:cxn ang="0">
                  <a:pos x="101" y="528"/>
                </a:cxn>
                <a:cxn ang="0">
                  <a:pos x="88" y="503"/>
                </a:cxn>
                <a:cxn ang="0">
                  <a:pos x="76" y="478"/>
                </a:cxn>
                <a:cxn ang="0">
                  <a:pos x="65" y="453"/>
                </a:cxn>
                <a:cxn ang="0">
                  <a:pos x="54" y="427"/>
                </a:cxn>
                <a:cxn ang="0">
                  <a:pos x="44" y="401"/>
                </a:cxn>
                <a:cxn ang="0">
                  <a:pos x="35" y="375"/>
                </a:cxn>
                <a:cxn ang="0">
                  <a:pos x="25" y="345"/>
                </a:cxn>
                <a:cxn ang="0">
                  <a:pos x="15" y="314"/>
                </a:cxn>
                <a:cxn ang="0">
                  <a:pos x="7" y="283"/>
                </a:cxn>
                <a:cxn ang="0">
                  <a:pos x="3" y="268"/>
                </a:cxn>
                <a:cxn ang="0">
                  <a:pos x="0" y="253"/>
                </a:cxn>
                <a:cxn ang="0">
                  <a:pos x="553" y="126"/>
                </a:cxn>
                <a:cxn ang="0">
                  <a:pos x="1106" y="0"/>
                </a:cxn>
              </a:cxnLst>
              <a:rect l="0" t="0" r="r" b="b"/>
              <a:pathLst>
                <a:path w="1106" h="1023">
                  <a:moveTo>
                    <a:pt x="1106" y="0"/>
                  </a:moveTo>
                  <a:lnTo>
                    <a:pt x="860" y="511"/>
                  </a:lnTo>
                  <a:lnTo>
                    <a:pt x="614" y="1023"/>
                  </a:lnTo>
                  <a:lnTo>
                    <a:pt x="589" y="1010"/>
                  </a:lnTo>
                  <a:lnTo>
                    <a:pt x="564" y="997"/>
                  </a:lnTo>
                  <a:lnTo>
                    <a:pt x="540" y="984"/>
                  </a:lnTo>
                  <a:lnTo>
                    <a:pt x="515" y="970"/>
                  </a:lnTo>
                  <a:lnTo>
                    <a:pt x="491" y="955"/>
                  </a:lnTo>
                  <a:lnTo>
                    <a:pt x="468" y="940"/>
                  </a:lnTo>
                  <a:lnTo>
                    <a:pt x="445" y="924"/>
                  </a:lnTo>
                  <a:lnTo>
                    <a:pt x="423" y="907"/>
                  </a:lnTo>
                  <a:lnTo>
                    <a:pt x="401" y="890"/>
                  </a:lnTo>
                  <a:lnTo>
                    <a:pt x="379" y="873"/>
                  </a:lnTo>
                  <a:lnTo>
                    <a:pt x="358" y="854"/>
                  </a:lnTo>
                  <a:lnTo>
                    <a:pt x="338" y="836"/>
                  </a:lnTo>
                  <a:lnTo>
                    <a:pt x="317" y="817"/>
                  </a:lnTo>
                  <a:lnTo>
                    <a:pt x="298" y="797"/>
                  </a:lnTo>
                  <a:lnTo>
                    <a:pt x="278" y="777"/>
                  </a:lnTo>
                  <a:lnTo>
                    <a:pt x="269" y="767"/>
                  </a:lnTo>
                  <a:lnTo>
                    <a:pt x="259" y="757"/>
                  </a:lnTo>
                  <a:lnTo>
                    <a:pt x="241" y="736"/>
                  </a:lnTo>
                  <a:lnTo>
                    <a:pt x="223" y="714"/>
                  </a:lnTo>
                  <a:lnTo>
                    <a:pt x="206" y="693"/>
                  </a:lnTo>
                  <a:lnTo>
                    <a:pt x="189" y="670"/>
                  </a:lnTo>
                  <a:lnTo>
                    <a:pt x="173" y="648"/>
                  </a:lnTo>
                  <a:lnTo>
                    <a:pt x="158" y="625"/>
                  </a:lnTo>
                  <a:lnTo>
                    <a:pt x="150" y="613"/>
                  </a:lnTo>
                  <a:lnTo>
                    <a:pt x="142" y="601"/>
                  </a:lnTo>
                  <a:lnTo>
                    <a:pt x="128" y="578"/>
                  </a:lnTo>
                  <a:lnTo>
                    <a:pt x="114" y="552"/>
                  </a:lnTo>
                  <a:lnTo>
                    <a:pt x="101" y="528"/>
                  </a:lnTo>
                  <a:lnTo>
                    <a:pt x="88" y="503"/>
                  </a:lnTo>
                  <a:lnTo>
                    <a:pt x="76" y="478"/>
                  </a:lnTo>
                  <a:lnTo>
                    <a:pt x="65" y="453"/>
                  </a:lnTo>
                  <a:lnTo>
                    <a:pt x="54" y="427"/>
                  </a:lnTo>
                  <a:lnTo>
                    <a:pt x="44" y="401"/>
                  </a:lnTo>
                  <a:lnTo>
                    <a:pt x="35" y="375"/>
                  </a:lnTo>
                  <a:lnTo>
                    <a:pt x="25" y="345"/>
                  </a:lnTo>
                  <a:lnTo>
                    <a:pt x="15" y="314"/>
                  </a:lnTo>
                  <a:lnTo>
                    <a:pt x="7" y="283"/>
                  </a:lnTo>
                  <a:lnTo>
                    <a:pt x="3" y="268"/>
                  </a:lnTo>
                  <a:lnTo>
                    <a:pt x="0" y="253"/>
                  </a:lnTo>
                  <a:lnTo>
                    <a:pt x="553" y="126"/>
                  </a:lnTo>
                  <a:lnTo>
                    <a:pt x="1106"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0" name="Freeform 150">
              <a:extLst>
                <a:ext uri="{FF2B5EF4-FFF2-40B4-BE49-F238E27FC236}">
                  <a16:creationId xmlns:a16="http://schemas.microsoft.com/office/drawing/2014/main" id="{24335371-AB1D-4209-AF4B-40B45C6AC3D3}"/>
                </a:ext>
              </a:extLst>
            </p:cNvPr>
            <p:cNvSpPr>
              <a:spLocks/>
            </p:cNvSpPr>
            <p:nvPr/>
          </p:nvSpPr>
          <p:spPr bwMode="auto">
            <a:xfrm>
              <a:off x="3659188" y="4372000"/>
              <a:ext cx="930275" cy="788987"/>
            </a:xfrm>
            <a:custGeom>
              <a:avLst/>
              <a:gdLst/>
              <a:ahLst/>
              <a:cxnLst>
                <a:cxn ang="0">
                  <a:pos x="1135" y="708"/>
                </a:cxn>
                <a:cxn ang="0">
                  <a:pos x="582" y="834"/>
                </a:cxn>
                <a:cxn ang="0">
                  <a:pos x="29" y="961"/>
                </a:cxn>
                <a:cxn ang="0">
                  <a:pos x="23" y="933"/>
                </a:cxn>
                <a:cxn ang="0">
                  <a:pos x="17" y="906"/>
                </a:cxn>
                <a:cxn ang="0">
                  <a:pos x="13" y="879"/>
                </a:cxn>
                <a:cxn ang="0">
                  <a:pos x="9" y="851"/>
                </a:cxn>
                <a:cxn ang="0">
                  <a:pos x="6" y="823"/>
                </a:cxn>
                <a:cxn ang="0">
                  <a:pos x="3" y="796"/>
                </a:cxn>
                <a:cxn ang="0">
                  <a:pos x="2" y="768"/>
                </a:cxn>
                <a:cxn ang="0">
                  <a:pos x="1" y="740"/>
                </a:cxn>
                <a:cxn ang="0">
                  <a:pos x="0" y="712"/>
                </a:cxn>
                <a:cxn ang="0">
                  <a:pos x="0" y="684"/>
                </a:cxn>
                <a:cxn ang="0">
                  <a:pos x="1" y="657"/>
                </a:cxn>
                <a:cxn ang="0">
                  <a:pos x="3" y="629"/>
                </a:cxn>
                <a:cxn ang="0">
                  <a:pos x="5" y="601"/>
                </a:cxn>
                <a:cxn ang="0">
                  <a:pos x="8" y="573"/>
                </a:cxn>
                <a:cxn ang="0">
                  <a:pos x="10" y="560"/>
                </a:cxn>
                <a:cxn ang="0">
                  <a:pos x="12" y="546"/>
                </a:cxn>
                <a:cxn ang="0">
                  <a:pos x="16" y="518"/>
                </a:cxn>
                <a:cxn ang="0">
                  <a:pos x="21" y="491"/>
                </a:cxn>
                <a:cxn ang="0">
                  <a:pos x="27" y="464"/>
                </a:cxn>
                <a:cxn ang="0">
                  <a:pos x="33" y="437"/>
                </a:cxn>
                <a:cxn ang="0">
                  <a:pos x="40" y="410"/>
                </a:cxn>
                <a:cxn ang="0">
                  <a:pos x="48" y="383"/>
                </a:cxn>
                <a:cxn ang="0">
                  <a:pos x="56" y="356"/>
                </a:cxn>
                <a:cxn ang="0">
                  <a:pos x="65" y="330"/>
                </a:cxn>
                <a:cxn ang="0">
                  <a:pos x="74" y="304"/>
                </a:cxn>
                <a:cxn ang="0">
                  <a:pos x="84" y="278"/>
                </a:cxn>
                <a:cxn ang="0">
                  <a:pos x="95" y="252"/>
                </a:cxn>
                <a:cxn ang="0">
                  <a:pos x="107" y="227"/>
                </a:cxn>
                <a:cxn ang="0">
                  <a:pos x="119" y="202"/>
                </a:cxn>
                <a:cxn ang="0">
                  <a:pos x="132" y="177"/>
                </a:cxn>
                <a:cxn ang="0">
                  <a:pos x="145" y="153"/>
                </a:cxn>
                <a:cxn ang="0">
                  <a:pos x="159" y="128"/>
                </a:cxn>
                <a:cxn ang="0">
                  <a:pos x="174" y="104"/>
                </a:cxn>
                <a:cxn ang="0">
                  <a:pos x="191" y="77"/>
                </a:cxn>
                <a:cxn ang="0">
                  <a:pos x="209" y="51"/>
                </a:cxn>
                <a:cxn ang="0">
                  <a:pos x="228" y="25"/>
                </a:cxn>
                <a:cxn ang="0">
                  <a:pos x="247" y="0"/>
                </a:cxn>
                <a:cxn ang="0">
                  <a:pos x="691" y="354"/>
                </a:cxn>
                <a:cxn ang="0">
                  <a:pos x="1135" y="708"/>
                </a:cxn>
              </a:cxnLst>
              <a:rect l="0" t="0" r="r" b="b"/>
              <a:pathLst>
                <a:path w="1135" h="961">
                  <a:moveTo>
                    <a:pt x="1135" y="708"/>
                  </a:moveTo>
                  <a:lnTo>
                    <a:pt x="582" y="834"/>
                  </a:lnTo>
                  <a:lnTo>
                    <a:pt x="29" y="961"/>
                  </a:lnTo>
                  <a:lnTo>
                    <a:pt x="23" y="933"/>
                  </a:lnTo>
                  <a:lnTo>
                    <a:pt x="17" y="906"/>
                  </a:lnTo>
                  <a:lnTo>
                    <a:pt x="13" y="879"/>
                  </a:lnTo>
                  <a:lnTo>
                    <a:pt x="9" y="851"/>
                  </a:lnTo>
                  <a:lnTo>
                    <a:pt x="6" y="823"/>
                  </a:lnTo>
                  <a:lnTo>
                    <a:pt x="3" y="796"/>
                  </a:lnTo>
                  <a:lnTo>
                    <a:pt x="2" y="768"/>
                  </a:lnTo>
                  <a:lnTo>
                    <a:pt x="1" y="740"/>
                  </a:lnTo>
                  <a:lnTo>
                    <a:pt x="0" y="712"/>
                  </a:lnTo>
                  <a:lnTo>
                    <a:pt x="0" y="684"/>
                  </a:lnTo>
                  <a:lnTo>
                    <a:pt x="1" y="657"/>
                  </a:lnTo>
                  <a:lnTo>
                    <a:pt x="3" y="629"/>
                  </a:lnTo>
                  <a:lnTo>
                    <a:pt x="5" y="601"/>
                  </a:lnTo>
                  <a:lnTo>
                    <a:pt x="8" y="573"/>
                  </a:lnTo>
                  <a:lnTo>
                    <a:pt x="10" y="560"/>
                  </a:lnTo>
                  <a:lnTo>
                    <a:pt x="12" y="546"/>
                  </a:lnTo>
                  <a:lnTo>
                    <a:pt x="16" y="518"/>
                  </a:lnTo>
                  <a:lnTo>
                    <a:pt x="21" y="491"/>
                  </a:lnTo>
                  <a:lnTo>
                    <a:pt x="27" y="464"/>
                  </a:lnTo>
                  <a:lnTo>
                    <a:pt x="33" y="437"/>
                  </a:lnTo>
                  <a:lnTo>
                    <a:pt x="40" y="410"/>
                  </a:lnTo>
                  <a:lnTo>
                    <a:pt x="48" y="383"/>
                  </a:lnTo>
                  <a:lnTo>
                    <a:pt x="56" y="356"/>
                  </a:lnTo>
                  <a:lnTo>
                    <a:pt x="65" y="330"/>
                  </a:lnTo>
                  <a:lnTo>
                    <a:pt x="74" y="304"/>
                  </a:lnTo>
                  <a:lnTo>
                    <a:pt x="84" y="278"/>
                  </a:lnTo>
                  <a:lnTo>
                    <a:pt x="95" y="252"/>
                  </a:lnTo>
                  <a:lnTo>
                    <a:pt x="107" y="227"/>
                  </a:lnTo>
                  <a:lnTo>
                    <a:pt x="119" y="202"/>
                  </a:lnTo>
                  <a:lnTo>
                    <a:pt x="132" y="177"/>
                  </a:lnTo>
                  <a:lnTo>
                    <a:pt x="145" y="153"/>
                  </a:lnTo>
                  <a:lnTo>
                    <a:pt x="159" y="128"/>
                  </a:lnTo>
                  <a:lnTo>
                    <a:pt x="174" y="104"/>
                  </a:lnTo>
                  <a:lnTo>
                    <a:pt x="191" y="77"/>
                  </a:lnTo>
                  <a:lnTo>
                    <a:pt x="209" y="51"/>
                  </a:lnTo>
                  <a:lnTo>
                    <a:pt x="228" y="25"/>
                  </a:lnTo>
                  <a:lnTo>
                    <a:pt x="247" y="0"/>
                  </a:lnTo>
                  <a:lnTo>
                    <a:pt x="691" y="354"/>
                  </a:lnTo>
                  <a:lnTo>
                    <a:pt x="1135" y="70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1" name="Freeform 151">
              <a:extLst>
                <a:ext uri="{FF2B5EF4-FFF2-40B4-BE49-F238E27FC236}">
                  <a16:creationId xmlns:a16="http://schemas.microsoft.com/office/drawing/2014/main" id="{A0516252-9D61-45FE-9E87-2C328EF2618A}"/>
                </a:ext>
              </a:extLst>
            </p:cNvPr>
            <p:cNvSpPr>
              <a:spLocks/>
            </p:cNvSpPr>
            <p:nvPr/>
          </p:nvSpPr>
          <p:spPr bwMode="auto">
            <a:xfrm>
              <a:off x="3862388" y="4022750"/>
              <a:ext cx="727075" cy="930275"/>
            </a:xfrm>
            <a:custGeom>
              <a:avLst/>
              <a:gdLst/>
              <a:ahLst/>
              <a:cxnLst>
                <a:cxn ang="0">
                  <a:pos x="888" y="1135"/>
                </a:cxn>
                <a:cxn ang="0">
                  <a:pos x="444" y="781"/>
                </a:cxn>
                <a:cxn ang="0">
                  <a:pos x="0" y="427"/>
                </a:cxn>
                <a:cxn ang="0">
                  <a:pos x="18" y="406"/>
                </a:cxn>
                <a:cxn ang="0">
                  <a:pos x="36" y="385"/>
                </a:cxn>
                <a:cxn ang="0">
                  <a:pos x="55" y="364"/>
                </a:cxn>
                <a:cxn ang="0">
                  <a:pos x="74" y="344"/>
                </a:cxn>
                <a:cxn ang="0">
                  <a:pos x="94" y="324"/>
                </a:cxn>
                <a:cxn ang="0">
                  <a:pos x="104" y="314"/>
                </a:cxn>
                <a:cxn ang="0">
                  <a:pos x="114" y="305"/>
                </a:cxn>
                <a:cxn ang="0">
                  <a:pos x="134" y="286"/>
                </a:cxn>
                <a:cxn ang="0">
                  <a:pos x="155" y="268"/>
                </a:cxn>
                <a:cxn ang="0">
                  <a:pos x="177" y="250"/>
                </a:cxn>
                <a:cxn ang="0">
                  <a:pos x="199" y="233"/>
                </a:cxn>
                <a:cxn ang="0">
                  <a:pos x="221" y="217"/>
                </a:cxn>
                <a:cxn ang="0">
                  <a:pos x="244" y="200"/>
                </a:cxn>
                <a:cxn ang="0">
                  <a:pos x="267" y="185"/>
                </a:cxn>
                <a:cxn ang="0">
                  <a:pos x="290" y="170"/>
                </a:cxn>
                <a:cxn ang="0">
                  <a:pos x="314" y="156"/>
                </a:cxn>
                <a:cxn ang="0">
                  <a:pos x="339" y="142"/>
                </a:cxn>
                <a:cxn ang="0">
                  <a:pos x="364" y="129"/>
                </a:cxn>
                <a:cxn ang="0">
                  <a:pos x="389" y="116"/>
                </a:cxn>
                <a:cxn ang="0">
                  <a:pos x="414" y="104"/>
                </a:cxn>
                <a:cxn ang="0">
                  <a:pos x="439" y="93"/>
                </a:cxn>
                <a:cxn ang="0">
                  <a:pos x="465" y="82"/>
                </a:cxn>
                <a:cxn ang="0">
                  <a:pos x="491" y="72"/>
                </a:cxn>
                <a:cxn ang="0">
                  <a:pos x="517" y="62"/>
                </a:cxn>
                <a:cxn ang="0">
                  <a:pos x="543" y="54"/>
                </a:cxn>
                <a:cxn ang="0">
                  <a:pos x="570" y="45"/>
                </a:cxn>
                <a:cxn ang="0">
                  <a:pos x="597" y="38"/>
                </a:cxn>
                <a:cxn ang="0">
                  <a:pos x="624" y="31"/>
                </a:cxn>
                <a:cxn ang="0">
                  <a:pos x="651" y="25"/>
                </a:cxn>
                <a:cxn ang="0">
                  <a:pos x="678" y="20"/>
                </a:cxn>
                <a:cxn ang="0">
                  <a:pos x="706" y="15"/>
                </a:cxn>
                <a:cxn ang="0">
                  <a:pos x="733" y="11"/>
                </a:cxn>
                <a:cxn ang="0">
                  <a:pos x="761" y="8"/>
                </a:cxn>
                <a:cxn ang="0">
                  <a:pos x="777" y="6"/>
                </a:cxn>
                <a:cxn ang="0">
                  <a:pos x="792" y="4"/>
                </a:cxn>
                <a:cxn ang="0">
                  <a:pos x="824" y="2"/>
                </a:cxn>
                <a:cxn ang="0">
                  <a:pos x="856" y="1"/>
                </a:cxn>
                <a:cxn ang="0">
                  <a:pos x="888" y="0"/>
                </a:cxn>
                <a:cxn ang="0">
                  <a:pos x="888" y="568"/>
                </a:cxn>
                <a:cxn ang="0">
                  <a:pos x="888" y="1135"/>
                </a:cxn>
              </a:cxnLst>
              <a:rect l="0" t="0" r="r" b="b"/>
              <a:pathLst>
                <a:path w="888" h="1135">
                  <a:moveTo>
                    <a:pt x="888" y="1135"/>
                  </a:moveTo>
                  <a:lnTo>
                    <a:pt x="444" y="781"/>
                  </a:lnTo>
                  <a:lnTo>
                    <a:pt x="0" y="427"/>
                  </a:lnTo>
                  <a:lnTo>
                    <a:pt x="18" y="406"/>
                  </a:lnTo>
                  <a:lnTo>
                    <a:pt x="36" y="385"/>
                  </a:lnTo>
                  <a:lnTo>
                    <a:pt x="55" y="364"/>
                  </a:lnTo>
                  <a:lnTo>
                    <a:pt x="74" y="344"/>
                  </a:lnTo>
                  <a:lnTo>
                    <a:pt x="94" y="324"/>
                  </a:lnTo>
                  <a:lnTo>
                    <a:pt x="104" y="314"/>
                  </a:lnTo>
                  <a:lnTo>
                    <a:pt x="114" y="305"/>
                  </a:lnTo>
                  <a:lnTo>
                    <a:pt x="134" y="286"/>
                  </a:lnTo>
                  <a:lnTo>
                    <a:pt x="155" y="268"/>
                  </a:lnTo>
                  <a:lnTo>
                    <a:pt x="177" y="250"/>
                  </a:lnTo>
                  <a:lnTo>
                    <a:pt x="199" y="233"/>
                  </a:lnTo>
                  <a:lnTo>
                    <a:pt x="221" y="217"/>
                  </a:lnTo>
                  <a:lnTo>
                    <a:pt x="244" y="200"/>
                  </a:lnTo>
                  <a:lnTo>
                    <a:pt x="267" y="185"/>
                  </a:lnTo>
                  <a:lnTo>
                    <a:pt x="290" y="170"/>
                  </a:lnTo>
                  <a:lnTo>
                    <a:pt x="314" y="156"/>
                  </a:lnTo>
                  <a:lnTo>
                    <a:pt x="339" y="142"/>
                  </a:lnTo>
                  <a:lnTo>
                    <a:pt x="364" y="129"/>
                  </a:lnTo>
                  <a:lnTo>
                    <a:pt x="389" y="116"/>
                  </a:lnTo>
                  <a:lnTo>
                    <a:pt x="414" y="104"/>
                  </a:lnTo>
                  <a:lnTo>
                    <a:pt x="439" y="93"/>
                  </a:lnTo>
                  <a:lnTo>
                    <a:pt x="465" y="82"/>
                  </a:lnTo>
                  <a:lnTo>
                    <a:pt x="491" y="72"/>
                  </a:lnTo>
                  <a:lnTo>
                    <a:pt x="517" y="62"/>
                  </a:lnTo>
                  <a:lnTo>
                    <a:pt x="543" y="54"/>
                  </a:lnTo>
                  <a:lnTo>
                    <a:pt x="570" y="45"/>
                  </a:lnTo>
                  <a:lnTo>
                    <a:pt x="597" y="38"/>
                  </a:lnTo>
                  <a:lnTo>
                    <a:pt x="624" y="31"/>
                  </a:lnTo>
                  <a:lnTo>
                    <a:pt x="651" y="25"/>
                  </a:lnTo>
                  <a:lnTo>
                    <a:pt x="678" y="20"/>
                  </a:lnTo>
                  <a:lnTo>
                    <a:pt x="706" y="15"/>
                  </a:lnTo>
                  <a:lnTo>
                    <a:pt x="733" y="11"/>
                  </a:lnTo>
                  <a:lnTo>
                    <a:pt x="761" y="8"/>
                  </a:lnTo>
                  <a:lnTo>
                    <a:pt x="777" y="6"/>
                  </a:lnTo>
                  <a:lnTo>
                    <a:pt x="792" y="4"/>
                  </a:lnTo>
                  <a:lnTo>
                    <a:pt x="824" y="2"/>
                  </a:lnTo>
                  <a:lnTo>
                    <a:pt x="856" y="1"/>
                  </a:lnTo>
                  <a:lnTo>
                    <a:pt x="888" y="0"/>
                  </a:lnTo>
                  <a:lnTo>
                    <a:pt x="888" y="568"/>
                  </a:lnTo>
                  <a:lnTo>
                    <a:pt x="888" y="113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2" name="Text Box 152">
              <a:extLst>
                <a:ext uri="{FF2B5EF4-FFF2-40B4-BE49-F238E27FC236}">
                  <a16:creationId xmlns:a16="http://schemas.microsoft.com/office/drawing/2014/main" id="{F9B60B28-C1BD-4762-9213-28564E61CFBA}"/>
                </a:ext>
              </a:extLst>
            </p:cNvPr>
            <p:cNvSpPr txBox="1">
              <a:spLocks noChangeArrowheads="1"/>
            </p:cNvSpPr>
            <p:nvPr/>
          </p:nvSpPr>
          <p:spPr bwMode="auto">
            <a:xfrm>
              <a:off x="4140200" y="4321200"/>
              <a:ext cx="411163"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3" name="Text Box 153">
              <a:extLst>
                <a:ext uri="{FF2B5EF4-FFF2-40B4-BE49-F238E27FC236}">
                  <a16:creationId xmlns:a16="http://schemas.microsoft.com/office/drawing/2014/main" id="{CA697680-1F99-47D8-9EBB-589C3AF6018A}"/>
                </a:ext>
              </a:extLst>
            </p:cNvPr>
            <p:cNvSpPr txBox="1">
              <a:spLocks noChangeArrowheads="1"/>
            </p:cNvSpPr>
            <p:nvPr/>
          </p:nvSpPr>
          <p:spPr bwMode="auto">
            <a:xfrm>
              <a:off x="4608513" y="4321200"/>
              <a:ext cx="411162"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4" name="Text Box 154">
              <a:extLst>
                <a:ext uri="{FF2B5EF4-FFF2-40B4-BE49-F238E27FC236}">
                  <a16:creationId xmlns:a16="http://schemas.microsoft.com/office/drawing/2014/main" id="{05EB2D0C-841F-4F2B-A4FA-956E064E7141}"/>
                </a:ext>
              </a:extLst>
            </p:cNvPr>
            <p:cNvSpPr txBox="1">
              <a:spLocks noChangeArrowheads="1"/>
            </p:cNvSpPr>
            <p:nvPr/>
          </p:nvSpPr>
          <p:spPr bwMode="auto">
            <a:xfrm>
              <a:off x="4849813" y="4743475"/>
              <a:ext cx="411162"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5" name="Text Box 155">
              <a:extLst>
                <a:ext uri="{FF2B5EF4-FFF2-40B4-BE49-F238E27FC236}">
                  <a16:creationId xmlns:a16="http://schemas.microsoft.com/office/drawing/2014/main" id="{1947158E-2B23-437E-B2E3-E717174A0F49}"/>
                </a:ext>
              </a:extLst>
            </p:cNvPr>
            <p:cNvSpPr txBox="1">
              <a:spLocks noChangeArrowheads="1"/>
            </p:cNvSpPr>
            <p:nvPr/>
          </p:nvSpPr>
          <p:spPr bwMode="auto">
            <a:xfrm>
              <a:off x="4837113" y="5224487"/>
              <a:ext cx="411162"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6" name="Text Box 156">
              <a:extLst>
                <a:ext uri="{FF2B5EF4-FFF2-40B4-BE49-F238E27FC236}">
                  <a16:creationId xmlns:a16="http://schemas.microsoft.com/office/drawing/2014/main" id="{9AFA8C46-8797-4BF0-BBCE-23D7C745F166}"/>
                </a:ext>
              </a:extLst>
            </p:cNvPr>
            <p:cNvSpPr txBox="1">
              <a:spLocks noChangeArrowheads="1"/>
            </p:cNvSpPr>
            <p:nvPr/>
          </p:nvSpPr>
          <p:spPr bwMode="auto">
            <a:xfrm>
              <a:off x="4383088" y="5418162"/>
              <a:ext cx="411162"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7" name="Text Box 157">
              <a:extLst>
                <a:ext uri="{FF2B5EF4-FFF2-40B4-BE49-F238E27FC236}">
                  <a16:creationId xmlns:a16="http://schemas.microsoft.com/office/drawing/2014/main" id="{F586F8AA-8F54-4B20-868A-7245E9574B1A}"/>
                </a:ext>
              </a:extLst>
            </p:cNvPr>
            <p:cNvSpPr txBox="1">
              <a:spLocks noChangeArrowheads="1"/>
            </p:cNvSpPr>
            <p:nvPr/>
          </p:nvSpPr>
          <p:spPr bwMode="auto">
            <a:xfrm>
              <a:off x="3930650" y="5224487"/>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8" name="Text Box 158">
              <a:extLst>
                <a:ext uri="{FF2B5EF4-FFF2-40B4-BE49-F238E27FC236}">
                  <a16:creationId xmlns:a16="http://schemas.microsoft.com/office/drawing/2014/main" id="{47318CFE-8FAA-49F9-889F-032D6ACEF6DB}"/>
                </a:ext>
              </a:extLst>
            </p:cNvPr>
            <p:cNvSpPr txBox="1">
              <a:spLocks noChangeArrowheads="1"/>
            </p:cNvSpPr>
            <p:nvPr/>
          </p:nvSpPr>
          <p:spPr bwMode="auto">
            <a:xfrm>
              <a:off x="3917950" y="4743475"/>
              <a:ext cx="411163" cy="255587"/>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grpSp>
    </p:spTree>
    <p:extLst>
      <p:ext uri="{BB962C8B-B14F-4D97-AF65-F5344CB8AC3E}">
        <p14:creationId xmlns:p14="http://schemas.microsoft.com/office/powerpoint/2010/main" val="369825527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ular Segments 2 – Donuts</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6E17B511-1970-43FA-8CFE-C51F576119A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82" name="Group 81">
            <a:extLst>
              <a:ext uri="{FF2B5EF4-FFF2-40B4-BE49-F238E27FC236}">
                <a16:creationId xmlns:a16="http://schemas.microsoft.com/office/drawing/2014/main" id="{41A88AE9-5699-4634-A2FE-E99E2584043D}"/>
              </a:ext>
            </a:extLst>
          </p:cNvPr>
          <p:cNvGrpSpPr/>
          <p:nvPr/>
        </p:nvGrpSpPr>
        <p:grpSpPr bwMode="auto">
          <a:xfrm>
            <a:off x="2013453" y="1763713"/>
            <a:ext cx="1860550" cy="1860550"/>
            <a:chOff x="323850" y="1628800"/>
            <a:chExt cx="1860550" cy="1860550"/>
          </a:xfrm>
        </p:grpSpPr>
        <p:sp>
          <p:nvSpPr>
            <p:cNvPr id="83" name="Freeform 83">
              <a:extLst>
                <a:ext uri="{FF2B5EF4-FFF2-40B4-BE49-F238E27FC236}">
                  <a16:creationId xmlns:a16="http://schemas.microsoft.com/office/drawing/2014/main" id="{9DE5C361-3101-4AC3-9938-81E14DA977CF}"/>
                </a:ext>
              </a:extLst>
            </p:cNvPr>
            <p:cNvSpPr>
              <a:spLocks noChangeAspect="1"/>
            </p:cNvSpPr>
            <p:nvPr/>
          </p:nvSpPr>
          <p:spPr bwMode="auto">
            <a:xfrm>
              <a:off x="1254125" y="1628800"/>
              <a:ext cx="930275" cy="1860550"/>
            </a:xfrm>
            <a:custGeom>
              <a:avLst/>
              <a:gdLst/>
              <a:ahLst/>
              <a:cxnLst>
                <a:cxn ang="0">
                  <a:pos x="56" y="2"/>
                </a:cxn>
                <a:cxn ang="0">
                  <a:pos x="166" y="13"/>
                </a:cxn>
                <a:cxn ang="0">
                  <a:pos x="275" y="34"/>
                </a:cxn>
                <a:cxn ang="0">
                  <a:pos x="382" y="67"/>
                </a:cxn>
                <a:cxn ang="0">
                  <a:pos x="459" y="98"/>
                </a:cxn>
                <a:cxn ang="0">
                  <a:pos x="559" y="147"/>
                </a:cxn>
                <a:cxn ang="0">
                  <a:pos x="654" y="207"/>
                </a:cxn>
                <a:cxn ang="0">
                  <a:pos x="742" y="275"/>
                </a:cxn>
                <a:cxn ang="0">
                  <a:pos x="803" y="332"/>
                </a:cxn>
                <a:cxn ang="0">
                  <a:pos x="878" y="415"/>
                </a:cxn>
                <a:cxn ang="0">
                  <a:pos x="944" y="504"/>
                </a:cxn>
                <a:cxn ang="0">
                  <a:pos x="1001" y="601"/>
                </a:cxn>
                <a:cxn ang="0">
                  <a:pos x="1048" y="701"/>
                </a:cxn>
                <a:cxn ang="0">
                  <a:pos x="1086" y="806"/>
                </a:cxn>
                <a:cxn ang="0">
                  <a:pos x="1113" y="914"/>
                </a:cxn>
                <a:cxn ang="0">
                  <a:pos x="1130" y="1024"/>
                </a:cxn>
                <a:cxn ang="0">
                  <a:pos x="1135" y="1135"/>
                </a:cxn>
                <a:cxn ang="0">
                  <a:pos x="1129" y="1246"/>
                </a:cxn>
                <a:cxn ang="0">
                  <a:pos x="1113" y="1356"/>
                </a:cxn>
                <a:cxn ang="0">
                  <a:pos x="1086" y="1464"/>
                </a:cxn>
                <a:cxn ang="0">
                  <a:pos x="1059" y="1543"/>
                </a:cxn>
                <a:cxn ang="0">
                  <a:pos x="1014" y="1645"/>
                </a:cxn>
                <a:cxn ang="0">
                  <a:pos x="959" y="1743"/>
                </a:cxn>
                <a:cxn ang="0">
                  <a:pos x="895" y="1834"/>
                </a:cxn>
                <a:cxn ang="0">
                  <a:pos x="832" y="1908"/>
                </a:cxn>
                <a:cxn ang="0">
                  <a:pos x="762" y="1976"/>
                </a:cxn>
                <a:cxn ang="0">
                  <a:pos x="676" y="2047"/>
                </a:cxn>
                <a:cxn ang="0">
                  <a:pos x="584" y="2109"/>
                </a:cxn>
                <a:cxn ang="0">
                  <a:pos x="485" y="2161"/>
                </a:cxn>
                <a:cxn ang="0">
                  <a:pos x="382" y="2204"/>
                </a:cxn>
                <a:cxn ang="0">
                  <a:pos x="276" y="2236"/>
                </a:cxn>
                <a:cxn ang="0">
                  <a:pos x="167" y="2258"/>
                </a:cxn>
                <a:cxn ang="0">
                  <a:pos x="56" y="2269"/>
                </a:cxn>
                <a:cxn ang="0">
                  <a:pos x="17" y="1475"/>
                </a:cxn>
                <a:cxn ang="0">
                  <a:pos x="60" y="1470"/>
                </a:cxn>
                <a:cxn ang="0">
                  <a:pos x="117" y="1455"/>
                </a:cxn>
                <a:cxn ang="0">
                  <a:pos x="176" y="1426"/>
                </a:cxn>
                <a:cxn ang="0">
                  <a:pos x="229" y="1387"/>
                </a:cxn>
                <a:cxn ang="0">
                  <a:pos x="273" y="1339"/>
                </a:cxn>
                <a:cxn ang="0">
                  <a:pos x="307" y="1283"/>
                </a:cxn>
                <a:cxn ang="0">
                  <a:pos x="325" y="1236"/>
                </a:cxn>
                <a:cxn ang="0">
                  <a:pos x="335" y="1195"/>
                </a:cxn>
                <a:cxn ang="0">
                  <a:pos x="340" y="1135"/>
                </a:cxn>
                <a:cxn ang="0">
                  <a:pos x="336" y="1083"/>
                </a:cxn>
                <a:cxn ang="0">
                  <a:pos x="325" y="1034"/>
                </a:cxn>
                <a:cxn ang="0">
                  <a:pos x="299" y="973"/>
                </a:cxn>
                <a:cxn ang="0">
                  <a:pos x="262" y="919"/>
                </a:cxn>
                <a:cxn ang="0">
                  <a:pos x="216" y="873"/>
                </a:cxn>
                <a:cxn ang="0">
                  <a:pos x="162" y="836"/>
                </a:cxn>
                <a:cxn ang="0">
                  <a:pos x="117" y="816"/>
                </a:cxn>
                <a:cxn ang="0">
                  <a:pos x="69" y="802"/>
                </a:cxn>
                <a:cxn ang="0">
                  <a:pos x="17" y="795"/>
                </a:cxn>
              </a:cxnLst>
              <a:rect l="0" t="0" r="r" b="b"/>
              <a:pathLst>
                <a:path w="1135" h="2270">
                  <a:moveTo>
                    <a:pt x="0" y="795"/>
                  </a:moveTo>
                  <a:lnTo>
                    <a:pt x="0" y="0"/>
                  </a:lnTo>
                  <a:lnTo>
                    <a:pt x="28" y="1"/>
                  </a:lnTo>
                  <a:lnTo>
                    <a:pt x="56" y="2"/>
                  </a:lnTo>
                  <a:lnTo>
                    <a:pt x="83" y="3"/>
                  </a:lnTo>
                  <a:lnTo>
                    <a:pt x="111" y="6"/>
                  </a:lnTo>
                  <a:lnTo>
                    <a:pt x="139" y="9"/>
                  </a:lnTo>
                  <a:lnTo>
                    <a:pt x="166" y="13"/>
                  </a:lnTo>
                  <a:lnTo>
                    <a:pt x="194" y="17"/>
                  </a:lnTo>
                  <a:lnTo>
                    <a:pt x="221" y="22"/>
                  </a:lnTo>
                  <a:lnTo>
                    <a:pt x="248" y="28"/>
                  </a:lnTo>
                  <a:lnTo>
                    <a:pt x="275" y="34"/>
                  </a:lnTo>
                  <a:lnTo>
                    <a:pt x="302" y="41"/>
                  </a:lnTo>
                  <a:lnTo>
                    <a:pt x="329" y="49"/>
                  </a:lnTo>
                  <a:lnTo>
                    <a:pt x="356" y="58"/>
                  </a:lnTo>
                  <a:lnTo>
                    <a:pt x="382" y="67"/>
                  </a:lnTo>
                  <a:lnTo>
                    <a:pt x="395" y="71"/>
                  </a:lnTo>
                  <a:lnTo>
                    <a:pt x="408" y="76"/>
                  </a:lnTo>
                  <a:lnTo>
                    <a:pt x="434" y="87"/>
                  </a:lnTo>
                  <a:lnTo>
                    <a:pt x="459" y="98"/>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0" y="257"/>
                  </a:lnTo>
                  <a:lnTo>
                    <a:pt x="742" y="275"/>
                  </a:lnTo>
                  <a:lnTo>
                    <a:pt x="763" y="294"/>
                  </a:lnTo>
                  <a:lnTo>
                    <a:pt x="773" y="303"/>
                  </a:lnTo>
                  <a:lnTo>
                    <a:pt x="783" y="313"/>
                  </a:lnTo>
                  <a:lnTo>
                    <a:pt x="803" y="332"/>
                  </a:lnTo>
                  <a:lnTo>
                    <a:pt x="822" y="352"/>
                  </a:lnTo>
                  <a:lnTo>
                    <a:pt x="841" y="373"/>
                  </a:lnTo>
                  <a:lnTo>
                    <a:pt x="860" y="394"/>
                  </a:lnTo>
                  <a:lnTo>
                    <a:pt x="878" y="415"/>
                  </a:lnTo>
                  <a:lnTo>
                    <a:pt x="895" y="437"/>
                  </a:lnTo>
                  <a:lnTo>
                    <a:pt x="912" y="459"/>
                  </a:lnTo>
                  <a:lnTo>
                    <a:pt x="928" y="481"/>
                  </a:lnTo>
                  <a:lnTo>
                    <a:pt x="944" y="504"/>
                  </a:lnTo>
                  <a:lnTo>
                    <a:pt x="959" y="528"/>
                  </a:lnTo>
                  <a:lnTo>
                    <a:pt x="973" y="551"/>
                  </a:lnTo>
                  <a:lnTo>
                    <a:pt x="987" y="576"/>
                  </a:lnTo>
                  <a:lnTo>
                    <a:pt x="1001" y="601"/>
                  </a:lnTo>
                  <a:lnTo>
                    <a:pt x="1014" y="625"/>
                  </a:lnTo>
                  <a:lnTo>
                    <a:pt x="1026" y="650"/>
                  </a:lnTo>
                  <a:lnTo>
                    <a:pt x="1037" y="676"/>
                  </a:lnTo>
                  <a:lnTo>
                    <a:pt x="1048" y="701"/>
                  </a:lnTo>
                  <a:lnTo>
                    <a:pt x="1059" y="727"/>
                  </a:lnTo>
                  <a:lnTo>
                    <a:pt x="1069" y="753"/>
                  </a:lnTo>
                  <a:lnTo>
                    <a:pt x="1078" y="779"/>
                  </a:lnTo>
                  <a:lnTo>
                    <a:pt x="1086" y="806"/>
                  </a:lnTo>
                  <a:lnTo>
                    <a:pt x="1094" y="833"/>
                  </a:lnTo>
                  <a:lnTo>
                    <a:pt x="1101" y="860"/>
                  </a:lnTo>
                  <a:lnTo>
                    <a:pt x="1108" y="887"/>
                  </a:lnTo>
                  <a:lnTo>
                    <a:pt x="1113" y="914"/>
                  </a:lnTo>
                  <a:lnTo>
                    <a:pt x="1119" y="941"/>
                  </a:lnTo>
                  <a:lnTo>
                    <a:pt x="1123" y="969"/>
                  </a:lnTo>
                  <a:lnTo>
                    <a:pt x="1127" y="996"/>
                  </a:lnTo>
                  <a:lnTo>
                    <a:pt x="1130" y="1024"/>
                  </a:lnTo>
                  <a:lnTo>
                    <a:pt x="1132" y="1052"/>
                  </a:lnTo>
                  <a:lnTo>
                    <a:pt x="1134" y="1079"/>
                  </a:lnTo>
                  <a:lnTo>
                    <a:pt x="1135" y="1107"/>
                  </a:lnTo>
                  <a:lnTo>
                    <a:pt x="1135" y="1135"/>
                  </a:lnTo>
                  <a:lnTo>
                    <a:pt x="1135" y="1163"/>
                  </a:lnTo>
                  <a:lnTo>
                    <a:pt x="1134" y="1191"/>
                  </a:lnTo>
                  <a:lnTo>
                    <a:pt x="1132" y="1219"/>
                  </a:lnTo>
                  <a:lnTo>
                    <a:pt x="1129" y="1246"/>
                  </a:lnTo>
                  <a:lnTo>
                    <a:pt x="1126" y="1274"/>
                  </a:lnTo>
                  <a:lnTo>
                    <a:pt x="1123" y="1302"/>
                  </a:lnTo>
                  <a:lnTo>
                    <a:pt x="1118" y="1329"/>
                  </a:lnTo>
                  <a:lnTo>
                    <a:pt x="1113" y="1356"/>
                  </a:lnTo>
                  <a:lnTo>
                    <a:pt x="1107" y="1384"/>
                  </a:lnTo>
                  <a:lnTo>
                    <a:pt x="1101" y="1411"/>
                  </a:lnTo>
                  <a:lnTo>
                    <a:pt x="1094" y="1438"/>
                  </a:lnTo>
                  <a:lnTo>
                    <a:pt x="1086" y="1464"/>
                  </a:lnTo>
                  <a:lnTo>
                    <a:pt x="1078" y="1491"/>
                  </a:lnTo>
                  <a:lnTo>
                    <a:pt x="1068" y="1517"/>
                  </a:lnTo>
                  <a:lnTo>
                    <a:pt x="1064" y="1530"/>
                  </a:lnTo>
                  <a:lnTo>
                    <a:pt x="1059" y="1543"/>
                  </a:lnTo>
                  <a:lnTo>
                    <a:pt x="1048" y="1569"/>
                  </a:lnTo>
                  <a:lnTo>
                    <a:pt x="1038" y="1595"/>
                  </a:lnTo>
                  <a:lnTo>
                    <a:pt x="1026" y="1620"/>
                  </a:lnTo>
                  <a:lnTo>
                    <a:pt x="1014" y="1645"/>
                  </a:lnTo>
                  <a:lnTo>
                    <a:pt x="1001" y="1670"/>
                  </a:lnTo>
                  <a:lnTo>
                    <a:pt x="988" y="1694"/>
                  </a:lnTo>
                  <a:lnTo>
                    <a:pt x="974" y="1719"/>
                  </a:lnTo>
                  <a:lnTo>
                    <a:pt x="959" y="1743"/>
                  </a:lnTo>
                  <a:lnTo>
                    <a:pt x="944" y="1766"/>
                  </a:lnTo>
                  <a:lnTo>
                    <a:pt x="928" y="1789"/>
                  </a:lnTo>
                  <a:lnTo>
                    <a:pt x="912" y="1812"/>
                  </a:lnTo>
                  <a:lnTo>
                    <a:pt x="895" y="1834"/>
                  </a:lnTo>
                  <a:lnTo>
                    <a:pt x="878" y="1856"/>
                  </a:lnTo>
                  <a:lnTo>
                    <a:pt x="860" y="1877"/>
                  </a:lnTo>
                  <a:lnTo>
                    <a:pt x="841" y="1898"/>
                  </a:lnTo>
                  <a:lnTo>
                    <a:pt x="832" y="1908"/>
                  </a:lnTo>
                  <a:lnTo>
                    <a:pt x="822" y="1918"/>
                  </a:lnTo>
                  <a:lnTo>
                    <a:pt x="803" y="1938"/>
                  </a:lnTo>
                  <a:lnTo>
                    <a:pt x="783" y="1957"/>
                  </a:lnTo>
                  <a:lnTo>
                    <a:pt x="762" y="1976"/>
                  </a:lnTo>
                  <a:lnTo>
                    <a:pt x="742" y="1995"/>
                  </a:lnTo>
                  <a:lnTo>
                    <a:pt x="720" y="2013"/>
                  </a:lnTo>
                  <a:lnTo>
                    <a:pt x="699" y="2030"/>
                  </a:lnTo>
                  <a:lnTo>
                    <a:pt x="676" y="2047"/>
                  </a:lnTo>
                  <a:lnTo>
                    <a:pt x="654" y="2063"/>
                  </a:lnTo>
                  <a:lnTo>
                    <a:pt x="631" y="2079"/>
                  </a:lnTo>
                  <a:lnTo>
                    <a:pt x="608" y="2094"/>
                  </a:lnTo>
                  <a:lnTo>
                    <a:pt x="584" y="2109"/>
                  </a:lnTo>
                  <a:lnTo>
                    <a:pt x="559" y="2123"/>
                  </a:lnTo>
                  <a:lnTo>
                    <a:pt x="534" y="2136"/>
                  </a:lnTo>
                  <a:lnTo>
                    <a:pt x="510" y="2149"/>
                  </a:lnTo>
                  <a:lnTo>
                    <a:pt x="485" y="2161"/>
                  </a:lnTo>
                  <a:lnTo>
                    <a:pt x="459" y="2173"/>
                  </a:lnTo>
                  <a:lnTo>
                    <a:pt x="434" y="2184"/>
                  </a:lnTo>
                  <a:lnTo>
                    <a:pt x="408" y="2194"/>
                  </a:lnTo>
                  <a:lnTo>
                    <a:pt x="382" y="2204"/>
                  </a:lnTo>
                  <a:lnTo>
                    <a:pt x="356" y="2213"/>
                  </a:lnTo>
                  <a:lnTo>
                    <a:pt x="329" y="2221"/>
                  </a:lnTo>
                  <a:lnTo>
                    <a:pt x="302" y="2229"/>
                  </a:lnTo>
                  <a:lnTo>
                    <a:pt x="276" y="2236"/>
                  </a:lnTo>
                  <a:lnTo>
                    <a:pt x="249" y="2243"/>
                  </a:lnTo>
                  <a:lnTo>
                    <a:pt x="221" y="2249"/>
                  </a:lnTo>
                  <a:lnTo>
                    <a:pt x="194" y="2254"/>
                  </a:lnTo>
                  <a:lnTo>
                    <a:pt x="167" y="2258"/>
                  </a:lnTo>
                  <a:lnTo>
                    <a:pt x="139" y="2262"/>
                  </a:lnTo>
                  <a:lnTo>
                    <a:pt x="111" y="2265"/>
                  </a:lnTo>
                  <a:lnTo>
                    <a:pt x="84" y="2267"/>
                  </a:lnTo>
                  <a:lnTo>
                    <a:pt x="56" y="2269"/>
                  </a:lnTo>
                  <a:lnTo>
                    <a:pt x="28" y="2270"/>
                  </a:lnTo>
                  <a:lnTo>
                    <a:pt x="0" y="2270"/>
                  </a:lnTo>
                  <a:lnTo>
                    <a:pt x="0" y="1475"/>
                  </a:lnTo>
                  <a:lnTo>
                    <a:pt x="17" y="1475"/>
                  </a:lnTo>
                  <a:lnTo>
                    <a:pt x="35" y="1474"/>
                  </a:lnTo>
                  <a:lnTo>
                    <a:pt x="43" y="1473"/>
                  </a:lnTo>
                  <a:lnTo>
                    <a:pt x="52" y="1471"/>
                  </a:lnTo>
                  <a:lnTo>
                    <a:pt x="60" y="1470"/>
                  </a:lnTo>
                  <a:lnTo>
                    <a:pt x="69" y="1468"/>
                  </a:lnTo>
                  <a:lnTo>
                    <a:pt x="85" y="1465"/>
                  </a:lnTo>
                  <a:lnTo>
                    <a:pt x="101" y="1460"/>
                  </a:lnTo>
                  <a:lnTo>
                    <a:pt x="117" y="1455"/>
                  </a:lnTo>
                  <a:lnTo>
                    <a:pt x="132" y="1449"/>
                  </a:lnTo>
                  <a:lnTo>
                    <a:pt x="147" y="1442"/>
                  </a:lnTo>
                  <a:lnTo>
                    <a:pt x="162" y="1434"/>
                  </a:lnTo>
                  <a:lnTo>
                    <a:pt x="176" y="1426"/>
                  </a:lnTo>
                  <a:lnTo>
                    <a:pt x="190" y="1417"/>
                  </a:lnTo>
                  <a:lnTo>
                    <a:pt x="203" y="1408"/>
                  </a:lnTo>
                  <a:lnTo>
                    <a:pt x="216" y="1398"/>
                  </a:lnTo>
                  <a:lnTo>
                    <a:pt x="229" y="1387"/>
                  </a:lnTo>
                  <a:lnTo>
                    <a:pt x="240" y="1376"/>
                  </a:lnTo>
                  <a:lnTo>
                    <a:pt x="252" y="1364"/>
                  </a:lnTo>
                  <a:lnTo>
                    <a:pt x="262" y="1352"/>
                  </a:lnTo>
                  <a:lnTo>
                    <a:pt x="273" y="1339"/>
                  </a:lnTo>
                  <a:lnTo>
                    <a:pt x="282" y="1325"/>
                  </a:lnTo>
                  <a:lnTo>
                    <a:pt x="291" y="1312"/>
                  </a:lnTo>
                  <a:lnTo>
                    <a:pt x="299" y="1297"/>
                  </a:lnTo>
                  <a:lnTo>
                    <a:pt x="307" y="1283"/>
                  </a:lnTo>
                  <a:lnTo>
                    <a:pt x="313" y="1268"/>
                  </a:lnTo>
                  <a:lnTo>
                    <a:pt x="317" y="1260"/>
                  </a:lnTo>
                  <a:lnTo>
                    <a:pt x="319" y="1252"/>
                  </a:lnTo>
                  <a:lnTo>
                    <a:pt x="325" y="1236"/>
                  </a:lnTo>
                  <a:lnTo>
                    <a:pt x="327" y="1228"/>
                  </a:lnTo>
                  <a:lnTo>
                    <a:pt x="329" y="1220"/>
                  </a:lnTo>
                  <a:lnTo>
                    <a:pt x="333" y="1204"/>
                  </a:lnTo>
                  <a:lnTo>
                    <a:pt x="335" y="1195"/>
                  </a:lnTo>
                  <a:lnTo>
                    <a:pt x="336" y="1187"/>
                  </a:lnTo>
                  <a:lnTo>
                    <a:pt x="338" y="1170"/>
                  </a:lnTo>
                  <a:lnTo>
                    <a:pt x="340" y="1153"/>
                  </a:lnTo>
                  <a:lnTo>
                    <a:pt x="340" y="1135"/>
                  </a:lnTo>
                  <a:lnTo>
                    <a:pt x="340" y="1118"/>
                  </a:lnTo>
                  <a:lnTo>
                    <a:pt x="338" y="1100"/>
                  </a:lnTo>
                  <a:lnTo>
                    <a:pt x="337" y="1092"/>
                  </a:lnTo>
                  <a:lnTo>
                    <a:pt x="336" y="1083"/>
                  </a:lnTo>
                  <a:lnTo>
                    <a:pt x="335" y="1075"/>
                  </a:lnTo>
                  <a:lnTo>
                    <a:pt x="333" y="1067"/>
                  </a:lnTo>
                  <a:lnTo>
                    <a:pt x="329" y="1050"/>
                  </a:lnTo>
                  <a:lnTo>
                    <a:pt x="325" y="1034"/>
                  </a:lnTo>
                  <a:lnTo>
                    <a:pt x="319" y="1018"/>
                  </a:lnTo>
                  <a:lnTo>
                    <a:pt x="313" y="1003"/>
                  </a:lnTo>
                  <a:lnTo>
                    <a:pt x="307" y="988"/>
                  </a:lnTo>
                  <a:lnTo>
                    <a:pt x="299" y="973"/>
                  </a:lnTo>
                  <a:lnTo>
                    <a:pt x="291" y="959"/>
                  </a:lnTo>
                  <a:lnTo>
                    <a:pt x="282" y="945"/>
                  </a:lnTo>
                  <a:lnTo>
                    <a:pt x="273" y="932"/>
                  </a:lnTo>
                  <a:lnTo>
                    <a:pt x="262" y="919"/>
                  </a:lnTo>
                  <a:lnTo>
                    <a:pt x="252" y="906"/>
                  </a:lnTo>
                  <a:lnTo>
                    <a:pt x="240" y="895"/>
                  </a:lnTo>
                  <a:lnTo>
                    <a:pt x="229" y="883"/>
                  </a:lnTo>
                  <a:lnTo>
                    <a:pt x="216" y="873"/>
                  </a:lnTo>
                  <a:lnTo>
                    <a:pt x="203" y="863"/>
                  </a:lnTo>
                  <a:lnTo>
                    <a:pt x="190" y="853"/>
                  </a:lnTo>
                  <a:lnTo>
                    <a:pt x="176" y="844"/>
                  </a:lnTo>
                  <a:lnTo>
                    <a:pt x="162" y="836"/>
                  </a:lnTo>
                  <a:lnTo>
                    <a:pt x="147" y="829"/>
                  </a:lnTo>
                  <a:lnTo>
                    <a:pt x="132" y="822"/>
                  </a:lnTo>
                  <a:lnTo>
                    <a:pt x="125" y="819"/>
                  </a:lnTo>
                  <a:lnTo>
                    <a:pt x="117" y="816"/>
                  </a:lnTo>
                  <a:lnTo>
                    <a:pt x="101" y="810"/>
                  </a:lnTo>
                  <a:lnTo>
                    <a:pt x="93" y="808"/>
                  </a:lnTo>
                  <a:lnTo>
                    <a:pt x="85" y="806"/>
                  </a:lnTo>
                  <a:lnTo>
                    <a:pt x="69" y="802"/>
                  </a:lnTo>
                  <a:lnTo>
                    <a:pt x="60" y="800"/>
                  </a:lnTo>
                  <a:lnTo>
                    <a:pt x="52" y="799"/>
                  </a:lnTo>
                  <a:lnTo>
                    <a:pt x="35" y="797"/>
                  </a:lnTo>
                  <a:lnTo>
                    <a:pt x="17" y="795"/>
                  </a:lnTo>
                  <a:lnTo>
                    <a:pt x="0" y="795"/>
                  </a:lnTo>
                  <a:close/>
                </a:path>
              </a:pathLst>
            </a:custGeom>
            <a:solidFill>
              <a:schemeClr val="accent3"/>
            </a:solidFill>
            <a:ln w="6350" cmpd="sng">
              <a:noFill/>
              <a:round/>
              <a:headEnd/>
              <a:tailEnd/>
            </a:ln>
          </p:spPr>
          <p:txBody>
            <a:bodyPr lIns="45720" rIns="45720" anchor="ctr" anchorCtr="1"/>
            <a:lstStyle/>
            <a:p>
              <a:endParaRPr lang="en-US" sz="1100"/>
            </a:p>
          </p:txBody>
        </p:sp>
        <p:sp>
          <p:nvSpPr>
            <p:cNvPr id="84" name="Freeform 84">
              <a:extLst>
                <a:ext uri="{FF2B5EF4-FFF2-40B4-BE49-F238E27FC236}">
                  <a16:creationId xmlns:a16="http://schemas.microsoft.com/office/drawing/2014/main" id="{E1002A73-43A4-465A-9E65-56FF04F33F4B}"/>
                </a:ext>
              </a:extLst>
            </p:cNvPr>
            <p:cNvSpPr>
              <a:spLocks noChangeAspect="1"/>
            </p:cNvSpPr>
            <p:nvPr/>
          </p:nvSpPr>
          <p:spPr bwMode="auto">
            <a:xfrm>
              <a:off x="323850" y="1628800"/>
              <a:ext cx="930275" cy="1860550"/>
            </a:xfrm>
            <a:custGeom>
              <a:avLst/>
              <a:gdLst/>
              <a:ahLst/>
              <a:cxnLst>
                <a:cxn ang="0">
                  <a:pos x="1079" y="2269"/>
                </a:cxn>
                <a:cxn ang="0">
                  <a:pos x="969" y="2258"/>
                </a:cxn>
                <a:cxn ang="0">
                  <a:pos x="859" y="2236"/>
                </a:cxn>
                <a:cxn ang="0">
                  <a:pos x="753" y="2204"/>
                </a:cxn>
                <a:cxn ang="0">
                  <a:pos x="675" y="2173"/>
                </a:cxn>
                <a:cxn ang="0">
                  <a:pos x="576" y="2123"/>
                </a:cxn>
                <a:cxn ang="0">
                  <a:pos x="481" y="2064"/>
                </a:cxn>
                <a:cxn ang="0">
                  <a:pos x="393" y="1995"/>
                </a:cxn>
                <a:cxn ang="0">
                  <a:pos x="332" y="1938"/>
                </a:cxn>
                <a:cxn ang="0">
                  <a:pos x="257" y="1855"/>
                </a:cxn>
                <a:cxn ang="0">
                  <a:pos x="191" y="1766"/>
                </a:cxn>
                <a:cxn ang="0">
                  <a:pos x="134" y="1670"/>
                </a:cxn>
                <a:cxn ang="0">
                  <a:pos x="86" y="1569"/>
                </a:cxn>
                <a:cxn ang="0">
                  <a:pos x="49" y="1464"/>
                </a:cxn>
                <a:cxn ang="0">
                  <a:pos x="22" y="1356"/>
                </a:cxn>
                <a:cxn ang="0">
                  <a:pos x="5" y="1246"/>
                </a:cxn>
                <a:cxn ang="0">
                  <a:pos x="0" y="1135"/>
                </a:cxn>
                <a:cxn ang="0">
                  <a:pos x="6" y="1024"/>
                </a:cxn>
                <a:cxn ang="0">
                  <a:pos x="22" y="914"/>
                </a:cxn>
                <a:cxn ang="0">
                  <a:pos x="49" y="806"/>
                </a:cxn>
                <a:cxn ang="0">
                  <a:pos x="76" y="727"/>
                </a:cxn>
                <a:cxn ang="0">
                  <a:pos x="121" y="625"/>
                </a:cxn>
                <a:cxn ang="0">
                  <a:pos x="176" y="527"/>
                </a:cxn>
                <a:cxn ang="0">
                  <a:pos x="240" y="436"/>
                </a:cxn>
                <a:cxn ang="0">
                  <a:pos x="303" y="362"/>
                </a:cxn>
                <a:cxn ang="0">
                  <a:pos x="373" y="294"/>
                </a:cxn>
                <a:cxn ang="0">
                  <a:pos x="459" y="223"/>
                </a:cxn>
                <a:cxn ang="0">
                  <a:pos x="551" y="162"/>
                </a:cxn>
                <a:cxn ang="0">
                  <a:pos x="650" y="109"/>
                </a:cxn>
                <a:cxn ang="0">
                  <a:pos x="753" y="66"/>
                </a:cxn>
                <a:cxn ang="0">
                  <a:pos x="859" y="34"/>
                </a:cxn>
                <a:cxn ang="0">
                  <a:pos x="968" y="12"/>
                </a:cxn>
                <a:cxn ang="0">
                  <a:pos x="1079" y="1"/>
                </a:cxn>
                <a:cxn ang="0">
                  <a:pos x="1117" y="795"/>
                </a:cxn>
                <a:cxn ang="0">
                  <a:pos x="1075" y="800"/>
                </a:cxn>
                <a:cxn ang="0">
                  <a:pos x="1018" y="816"/>
                </a:cxn>
                <a:cxn ang="0">
                  <a:pos x="959" y="844"/>
                </a:cxn>
                <a:cxn ang="0">
                  <a:pos x="906" y="883"/>
                </a:cxn>
                <a:cxn ang="0">
                  <a:pos x="862" y="932"/>
                </a:cxn>
                <a:cxn ang="0">
                  <a:pos x="828" y="988"/>
                </a:cxn>
                <a:cxn ang="0">
                  <a:pos x="810" y="1034"/>
                </a:cxn>
                <a:cxn ang="0">
                  <a:pos x="800" y="1075"/>
                </a:cxn>
                <a:cxn ang="0">
                  <a:pos x="795" y="1135"/>
                </a:cxn>
                <a:cxn ang="0">
                  <a:pos x="799" y="1187"/>
                </a:cxn>
                <a:cxn ang="0">
                  <a:pos x="810" y="1236"/>
                </a:cxn>
                <a:cxn ang="0">
                  <a:pos x="836" y="1297"/>
                </a:cxn>
                <a:cxn ang="0">
                  <a:pos x="872" y="1351"/>
                </a:cxn>
                <a:cxn ang="0">
                  <a:pos x="919" y="1398"/>
                </a:cxn>
                <a:cxn ang="0">
                  <a:pos x="973" y="1434"/>
                </a:cxn>
                <a:cxn ang="0">
                  <a:pos x="1018" y="1455"/>
                </a:cxn>
                <a:cxn ang="0">
                  <a:pos x="1066" y="1468"/>
                </a:cxn>
                <a:cxn ang="0">
                  <a:pos x="1117" y="1475"/>
                </a:cxn>
              </a:cxnLst>
              <a:rect l="0" t="0" r="r" b="b"/>
              <a:pathLst>
                <a:path w="1135" h="2270">
                  <a:moveTo>
                    <a:pt x="1135" y="1475"/>
                  </a:moveTo>
                  <a:lnTo>
                    <a:pt x="1135" y="2270"/>
                  </a:lnTo>
                  <a:lnTo>
                    <a:pt x="1107" y="2270"/>
                  </a:lnTo>
                  <a:lnTo>
                    <a:pt x="1079" y="2269"/>
                  </a:lnTo>
                  <a:lnTo>
                    <a:pt x="1052" y="2267"/>
                  </a:lnTo>
                  <a:lnTo>
                    <a:pt x="1024" y="2265"/>
                  </a:lnTo>
                  <a:lnTo>
                    <a:pt x="996" y="2261"/>
                  </a:lnTo>
                  <a:lnTo>
                    <a:pt x="969" y="2258"/>
                  </a:lnTo>
                  <a:lnTo>
                    <a:pt x="941" y="2253"/>
                  </a:lnTo>
                  <a:lnTo>
                    <a:pt x="914" y="2248"/>
                  </a:lnTo>
                  <a:lnTo>
                    <a:pt x="887" y="2242"/>
                  </a:lnTo>
                  <a:lnTo>
                    <a:pt x="859" y="2236"/>
                  </a:lnTo>
                  <a:lnTo>
                    <a:pt x="833" y="2229"/>
                  </a:lnTo>
                  <a:lnTo>
                    <a:pt x="806" y="2221"/>
                  </a:lnTo>
                  <a:lnTo>
                    <a:pt x="779" y="2213"/>
                  </a:lnTo>
                  <a:lnTo>
                    <a:pt x="753" y="2204"/>
                  </a:lnTo>
                  <a:lnTo>
                    <a:pt x="740" y="2199"/>
                  </a:lnTo>
                  <a:lnTo>
                    <a:pt x="727" y="2194"/>
                  </a:lnTo>
                  <a:lnTo>
                    <a:pt x="701" y="2184"/>
                  </a:lnTo>
                  <a:lnTo>
                    <a:pt x="675" y="2173"/>
                  </a:lnTo>
                  <a:lnTo>
                    <a:pt x="650" y="2161"/>
                  </a:lnTo>
                  <a:lnTo>
                    <a:pt x="625" y="2149"/>
                  </a:lnTo>
                  <a:lnTo>
                    <a:pt x="600" y="2136"/>
                  </a:lnTo>
                  <a:lnTo>
                    <a:pt x="576" y="2123"/>
                  </a:lnTo>
                  <a:lnTo>
                    <a:pt x="551" y="2109"/>
                  </a:lnTo>
                  <a:lnTo>
                    <a:pt x="527" y="2094"/>
                  </a:lnTo>
                  <a:lnTo>
                    <a:pt x="504" y="2079"/>
                  </a:lnTo>
                  <a:lnTo>
                    <a:pt x="481" y="2064"/>
                  </a:lnTo>
                  <a:lnTo>
                    <a:pt x="458" y="2047"/>
                  </a:lnTo>
                  <a:lnTo>
                    <a:pt x="436" y="2030"/>
                  </a:lnTo>
                  <a:lnTo>
                    <a:pt x="415" y="2013"/>
                  </a:lnTo>
                  <a:lnTo>
                    <a:pt x="393" y="1995"/>
                  </a:lnTo>
                  <a:lnTo>
                    <a:pt x="372" y="1977"/>
                  </a:lnTo>
                  <a:lnTo>
                    <a:pt x="362" y="1967"/>
                  </a:lnTo>
                  <a:lnTo>
                    <a:pt x="352" y="1957"/>
                  </a:lnTo>
                  <a:lnTo>
                    <a:pt x="332" y="1938"/>
                  </a:lnTo>
                  <a:lnTo>
                    <a:pt x="313" y="1918"/>
                  </a:lnTo>
                  <a:lnTo>
                    <a:pt x="294" y="1898"/>
                  </a:lnTo>
                  <a:lnTo>
                    <a:pt x="275" y="1877"/>
                  </a:lnTo>
                  <a:lnTo>
                    <a:pt x="257" y="1855"/>
                  </a:lnTo>
                  <a:lnTo>
                    <a:pt x="240" y="1834"/>
                  </a:lnTo>
                  <a:lnTo>
                    <a:pt x="223" y="1812"/>
                  </a:lnTo>
                  <a:lnTo>
                    <a:pt x="207" y="1789"/>
                  </a:lnTo>
                  <a:lnTo>
                    <a:pt x="191" y="1766"/>
                  </a:lnTo>
                  <a:lnTo>
                    <a:pt x="176" y="1743"/>
                  </a:lnTo>
                  <a:lnTo>
                    <a:pt x="162" y="1719"/>
                  </a:lnTo>
                  <a:lnTo>
                    <a:pt x="148" y="1694"/>
                  </a:lnTo>
                  <a:lnTo>
                    <a:pt x="134" y="1670"/>
                  </a:lnTo>
                  <a:lnTo>
                    <a:pt x="121" y="1645"/>
                  </a:lnTo>
                  <a:lnTo>
                    <a:pt x="109" y="1620"/>
                  </a:lnTo>
                  <a:lnTo>
                    <a:pt x="97" y="1595"/>
                  </a:lnTo>
                  <a:lnTo>
                    <a:pt x="86" y="1569"/>
                  </a:lnTo>
                  <a:lnTo>
                    <a:pt x="76" y="1543"/>
                  </a:lnTo>
                  <a:lnTo>
                    <a:pt x="66" y="1517"/>
                  </a:lnTo>
                  <a:lnTo>
                    <a:pt x="57" y="1491"/>
                  </a:lnTo>
                  <a:lnTo>
                    <a:pt x="49" y="1464"/>
                  </a:lnTo>
                  <a:lnTo>
                    <a:pt x="41" y="1438"/>
                  </a:lnTo>
                  <a:lnTo>
                    <a:pt x="34" y="1411"/>
                  </a:lnTo>
                  <a:lnTo>
                    <a:pt x="27" y="1384"/>
                  </a:lnTo>
                  <a:lnTo>
                    <a:pt x="22" y="1356"/>
                  </a:lnTo>
                  <a:lnTo>
                    <a:pt x="16" y="1329"/>
                  </a:lnTo>
                  <a:lnTo>
                    <a:pt x="12" y="1302"/>
                  </a:lnTo>
                  <a:lnTo>
                    <a:pt x="8" y="1274"/>
                  </a:lnTo>
                  <a:lnTo>
                    <a:pt x="5" y="1246"/>
                  </a:lnTo>
                  <a:lnTo>
                    <a:pt x="3" y="1219"/>
                  </a:lnTo>
                  <a:lnTo>
                    <a:pt x="1" y="1191"/>
                  </a:lnTo>
                  <a:lnTo>
                    <a:pt x="0" y="1163"/>
                  </a:lnTo>
                  <a:lnTo>
                    <a:pt x="0" y="1135"/>
                  </a:lnTo>
                  <a:lnTo>
                    <a:pt x="0" y="1107"/>
                  </a:lnTo>
                  <a:lnTo>
                    <a:pt x="1" y="1079"/>
                  </a:lnTo>
                  <a:lnTo>
                    <a:pt x="3" y="1052"/>
                  </a:lnTo>
                  <a:lnTo>
                    <a:pt x="6" y="1024"/>
                  </a:lnTo>
                  <a:lnTo>
                    <a:pt x="9" y="996"/>
                  </a:lnTo>
                  <a:lnTo>
                    <a:pt x="12" y="969"/>
                  </a:lnTo>
                  <a:lnTo>
                    <a:pt x="17" y="941"/>
                  </a:lnTo>
                  <a:lnTo>
                    <a:pt x="22" y="914"/>
                  </a:lnTo>
                  <a:lnTo>
                    <a:pt x="28" y="887"/>
                  </a:lnTo>
                  <a:lnTo>
                    <a:pt x="34" y="860"/>
                  </a:lnTo>
                  <a:lnTo>
                    <a:pt x="41" y="833"/>
                  </a:lnTo>
                  <a:lnTo>
                    <a:pt x="49" y="806"/>
                  </a:lnTo>
                  <a:lnTo>
                    <a:pt x="57" y="779"/>
                  </a:lnTo>
                  <a:lnTo>
                    <a:pt x="66" y="753"/>
                  </a:lnTo>
                  <a:lnTo>
                    <a:pt x="71" y="740"/>
                  </a:lnTo>
                  <a:lnTo>
                    <a:pt x="76" y="727"/>
                  </a:lnTo>
                  <a:lnTo>
                    <a:pt x="86" y="701"/>
                  </a:lnTo>
                  <a:lnTo>
                    <a:pt x="97"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5"/>
                  </a:lnTo>
                  <a:lnTo>
                    <a:pt x="415" y="258"/>
                  </a:lnTo>
                  <a:lnTo>
                    <a:pt x="436" y="240"/>
                  </a:lnTo>
                  <a:lnTo>
                    <a:pt x="459" y="223"/>
                  </a:lnTo>
                  <a:lnTo>
                    <a:pt x="481" y="207"/>
                  </a:lnTo>
                  <a:lnTo>
                    <a:pt x="504" y="191"/>
                  </a:lnTo>
                  <a:lnTo>
                    <a:pt x="527" y="176"/>
                  </a:lnTo>
                  <a:lnTo>
                    <a:pt x="551" y="162"/>
                  </a:lnTo>
                  <a:lnTo>
                    <a:pt x="576" y="148"/>
                  </a:lnTo>
                  <a:lnTo>
                    <a:pt x="601" y="134"/>
                  </a:lnTo>
                  <a:lnTo>
                    <a:pt x="625" y="121"/>
                  </a:lnTo>
                  <a:lnTo>
                    <a:pt x="650" y="109"/>
                  </a:lnTo>
                  <a:lnTo>
                    <a:pt x="676" y="98"/>
                  </a:lnTo>
                  <a:lnTo>
                    <a:pt x="701" y="87"/>
                  </a:lnTo>
                  <a:lnTo>
                    <a:pt x="727" y="76"/>
                  </a:lnTo>
                  <a:lnTo>
                    <a:pt x="753" y="66"/>
                  </a:lnTo>
                  <a:lnTo>
                    <a:pt x="779" y="57"/>
                  </a:lnTo>
                  <a:lnTo>
                    <a:pt x="806" y="49"/>
                  </a:lnTo>
                  <a:lnTo>
                    <a:pt x="832" y="41"/>
                  </a:lnTo>
                  <a:lnTo>
                    <a:pt x="859" y="34"/>
                  </a:lnTo>
                  <a:lnTo>
                    <a:pt x="886" y="28"/>
                  </a:lnTo>
                  <a:lnTo>
                    <a:pt x="914" y="22"/>
                  </a:lnTo>
                  <a:lnTo>
                    <a:pt x="941" y="17"/>
                  </a:lnTo>
                  <a:lnTo>
                    <a:pt x="968" y="12"/>
                  </a:lnTo>
                  <a:lnTo>
                    <a:pt x="996" y="8"/>
                  </a:lnTo>
                  <a:lnTo>
                    <a:pt x="1024" y="5"/>
                  </a:lnTo>
                  <a:lnTo>
                    <a:pt x="1051" y="3"/>
                  </a:lnTo>
                  <a:lnTo>
                    <a:pt x="1079" y="1"/>
                  </a:lnTo>
                  <a:lnTo>
                    <a:pt x="1107" y="0"/>
                  </a:lnTo>
                  <a:lnTo>
                    <a:pt x="1135" y="0"/>
                  </a:lnTo>
                  <a:lnTo>
                    <a:pt x="1135" y="795"/>
                  </a:lnTo>
                  <a:lnTo>
                    <a:pt x="1117" y="795"/>
                  </a:lnTo>
                  <a:lnTo>
                    <a:pt x="1100" y="797"/>
                  </a:lnTo>
                  <a:lnTo>
                    <a:pt x="1092" y="798"/>
                  </a:lnTo>
                  <a:lnTo>
                    <a:pt x="1083" y="799"/>
                  </a:lnTo>
                  <a:lnTo>
                    <a:pt x="1075" y="800"/>
                  </a:lnTo>
                  <a:lnTo>
                    <a:pt x="1066" y="802"/>
                  </a:lnTo>
                  <a:lnTo>
                    <a:pt x="1050" y="806"/>
                  </a:lnTo>
                  <a:lnTo>
                    <a:pt x="1034" y="810"/>
                  </a:lnTo>
                  <a:lnTo>
                    <a:pt x="1018" y="816"/>
                  </a:lnTo>
                  <a:lnTo>
                    <a:pt x="1003" y="822"/>
                  </a:lnTo>
                  <a:lnTo>
                    <a:pt x="988" y="829"/>
                  </a:lnTo>
                  <a:lnTo>
                    <a:pt x="973" y="836"/>
                  </a:lnTo>
                  <a:lnTo>
                    <a:pt x="959" y="844"/>
                  </a:lnTo>
                  <a:lnTo>
                    <a:pt x="945" y="853"/>
                  </a:lnTo>
                  <a:lnTo>
                    <a:pt x="931" y="863"/>
                  </a:lnTo>
                  <a:lnTo>
                    <a:pt x="919" y="873"/>
                  </a:lnTo>
                  <a:lnTo>
                    <a:pt x="906" y="883"/>
                  </a:lnTo>
                  <a:lnTo>
                    <a:pt x="894" y="895"/>
                  </a:lnTo>
                  <a:lnTo>
                    <a:pt x="883" y="906"/>
                  </a:lnTo>
                  <a:lnTo>
                    <a:pt x="872" y="919"/>
                  </a:lnTo>
                  <a:lnTo>
                    <a:pt x="862" y="932"/>
                  </a:lnTo>
                  <a:lnTo>
                    <a:pt x="853" y="945"/>
                  </a:lnTo>
                  <a:lnTo>
                    <a:pt x="844" y="959"/>
                  </a:lnTo>
                  <a:lnTo>
                    <a:pt x="836" y="973"/>
                  </a:lnTo>
                  <a:lnTo>
                    <a:pt x="828" y="988"/>
                  </a:lnTo>
                  <a:lnTo>
                    <a:pt x="822" y="1003"/>
                  </a:lnTo>
                  <a:lnTo>
                    <a:pt x="818" y="1010"/>
                  </a:lnTo>
                  <a:lnTo>
                    <a:pt x="815" y="1018"/>
                  </a:lnTo>
                  <a:lnTo>
                    <a:pt x="810" y="1034"/>
                  </a:lnTo>
                  <a:lnTo>
                    <a:pt x="808" y="1042"/>
                  </a:lnTo>
                  <a:lnTo>
                    <a:pt x="806" y="1050"/>
                  </a:lnTo>
                  <a:lnTo>
                    <a:pt x="802" y="1067"/>
                  </a:lnTo>
                  <a:lnTo>
                    <a:pt x="800" y="1075"/>
                  </a:lnTo>
                  <a:lnTo>
                    <a:pt x="799" y="1083"/>
                  </a:lnTo>
                  <a:lnTo>
                    <a:pt x="797" y="1100"/>
                  </a:lnTo>
                  <a:lnTo>
                    <a:pt x="795" y="1118"/>
                  </a:lnTo>
                  <a:lnTo>
                    <a:pt x="795" y="1135"/>
                  </a:lnTo>
                  <a:lnTo>
                    <a:pt x="795" y="1153"/>
                  </a:lnTo>
                  <a:lnTo>
                    <a:pt x="797" y="1170"/>
                  </a:lnTo>
                  <a:lnTo>
                    <a:pt x="798" y="1178"/>
                  </a:lnTo>
                  <a:lnTo>
                    <a:pt x="799" y="1187"/>
                  </a:lnTo>
                  <a:lnTo>
                    <a:pt x="800" y="1195"/>
                  </a:lnTo>
                  <a:lnTo>
                    <a:pt x="802" y="1204"/>
                  </a:lnTo>
                  <a:lnTo>
                    <a:pt x="806" y="1220"/>
                  </a:lnTo>
                  <a:lnTo>
                    <a:pt x="810" y="1236"/>
                  </a:lnTo>
                  <a:lnTo>
                    <a:pt x="815" y="1252"/>
                  </a:lnTo>
                  <a:lnTo>
                    <a:pt x="822" y="1268"/>
                  </a:lnTo>
                  <a:lnTo>
                    <a:pt x="828" y="1283"/>
                  </a:lnTo>
                  <a:lnTo>
                    <a:pt x="836" y="1297"/>
                  </a:lnTo>
                  <a:lnTo>
                    <a:pt x="844" y="1312"/>
                  </a:lnTo>
                  <a:lnTo>
                    <a:pt x="853" y="1325"/>
                  </a:lnTo>
                  <a:lnTo>
                    <a:pt x="862" y="1339"/>
                  </a:lnTo>
                  <a:lnTo>
                    <a:pt x="872" y="1351"/>
                  </a:lnTo>
                  <a:lnTo>
                    <a:pt x="883" y="1364"/>
                  </a:lnTo>
                  <a:lnTo>
                    <a:pt x="894" y="1376"/>
                  </a:lnTo>
                  <a:lnTo>
                    <a:pt x="906" y="1387"/>
                  </a:lnTo>
                  <a:lnTo>
                    <a:pt x="919" y="1398"/>
                  </a:lnTo>
                  <a:lnTo>
                    <a:pt x="931" y="1408"/>
                  </a:lnTo>
                  <a:lnTo>
                    <a:pt x="945" y="1417"/>
                  </a:lnTo>
                  <a:lnTo>
                    <a:pt x="959" y="1426"/>
                  </a:lnTo>
                  <a:lnTo>
                    <a:pt x="973" y="1434"/>
                  </a:lnTo>
                  <a:lnTo>
                    <a:pt x="988" y="1442"/>
                  </a:lnTo>
                  <a:lnTo>
                    <a:pt x="1003" y="1449"/>
                  </a:lnTo>
                  <a:lnTo>
                    <a:pt x="1010" y="1452"/>
                  </a:lnTo>
                  <a:lnTo>
                    <a:pt x="1018" y="1455"/>
                  </a:lnTo>
                  <a:lnTo>
                    <a:pt x="1034" y="1460"/>
                  </a:lnTo>
                  <a:lnTo>
                    <a:pt x="1042" y="1462"/>
                  </a:lnTo>
                  <a:lnTo>
                    <a:pt x="1050" y="1465"/>
                  </a:lnTo>
                  <a:lnTo>
                    <a:pt x="1066" y="1468"/>
                  </a:lnTo>
                  <a:lnTo>
                    <a:pt x="1075" y="1470"/>
                  </a:lnTo>
                  <a:lnTo>
                    <a:pt x="1083" y="1471"/>
                  </a:lnTo>
                  <a:lnTo>
                    <a:pt x="1100" y="1474"/>
                  </a:lnTo>
                  <a:lnTo>
                    <a:pt x="1117" y="1475"/>
                  </a:lnTo>
                  <a:lnTo>
                    <a:pt x="1135" y="1475"/>
                  </a:lnTo>
                  <a:close/>
                </a:path>
              </a:pathLst>
            </a:custGeom>
            <a:solidFill>
              <a:schemeClr val="accent1"/>
            </a:solidFill>
            <a:ln w="6350" cmpd="sng">
              <a:noFill/>
              <a:round/>
              <a:headEnd/>
              <a:tailEnd/>
            </a:ln>
          </p:spPr>
          <p:txBody>
            <a:bodyPr lIns="45720" rIns="45720" anchor="ctr" anchorCtr="1"/>
            <a:lstStyle/>
            <a:p>
              <a:endParaRPr lang="en-US" sz="1100"/>
            </a:p>
          </p:txBody>
        </p:sp>
        <p:sp>
          <p:nvSpPr>
            <p:cNvPr id="85" name="Text Box 85">
              <a:extLst>
                <a:ext uri="{FF2B5EF4-FFF2-40B4-BE49-F238E27FC236}">
                  <a16:creationId xmlns:a16="http://schemas.microsoft.com/office/drawing/2014/main" id="{D18E12D8-0822-4699-87E2-8FD84916EA24}"/>
                </a:ext>
              </a:extLst>
            </p:cNvPr>
            <p:cNvSpPr txBox="1">
              <a:spLocks noChangeArrowheads="1"/>
            </p:cNvSpPr>
            <p:nvPr/>
          </p:nvSpPr>
          <p:spPr bwMode="auto">
            <a:xfrm>
              <a:off x="479743" y="2420645"/>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86" name="Text Box 86">
              <a:extLst>
                <a:ext uri="{FF2B5EF4-FFF2-40B4-BE49-F238E27FC236}">
                  <a16:creationId xmlns:a16="http://schemas.microsoft.com/office/drawing/2014/main" id="{54AC1175-4AC4-43C4-BDDC-269343BE0A2F}"/>
                </a:ext>
              </a:extLst>
            </p:cNvPr>
            <p:cNvSpPr txBox="1">
              <a:spLocks noChangeArrowheads="1"/>
            </p:cNvSpPr>
            <p:nvPr/>
          </p:nvSpPr>
          <p:spPr bwMode="auto">
            <a:xfrm>
              <a:off x="1617345" y="2420645"/>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87" name="Group 86">
            <a:extLst>
              <a:ext uri="{FF2B5EF4-FFF2-40B4-BE49-F238E27FC236}">
                <a16:creationId xmlns:a16="http://schemas.microsoft.com/office/drawing/2014/main" id="{D7CF8ABF-92DD-4867-B95E-12748F10BDE3}"/>
              </a:ext>
            </a:extLst>
          </p:cNvPr>
          <p:cNvGrpSpPr/>
          <p:nvPr/>
        </p:nvGrpSpPr>
        <p:grpSpPr bwMode="auto">
          <a:xfrm>
            <a:off x="6237923" y="1763713"/>
            <a:ext cx="1860550" cy="1860550"/>
            <a:chOff x="4740275" y="1628800"/>
            <a:chExt cx="1860550" cy="1860550"/>
          </a:xfrm>
        </p:grpSpPr>
        <p:sp>
          <p:nvSpPr>
            <p:cNvPr id="88" name="Freeform 88">
              <a:extLst>
                <a:ext uri="{FF2B5EF4-FFF2-40B4-BE49-F238E27FC236}">
                  <a16:creationId xmlns:a16="http://schemas.microsoft.com/office/drawing/2014/main" id="{70CDEBF8-FDCA-4364-A4B6-AD406096CB30}"/>
                </a:ext>
              </a:extLst>
            </p:cNvPr>
            <p:cNvSpPr>
              <a:spLocks noChangeAspect="1"/>
            </p:cNvSpPr>
            <p:nvPr/>
          </p:nvSpPr>
          <p:spPr bwMode="auto">
            <a:xfrm>
              <a:off x="5670550" y="1628800"/>
              <a:ext cx="930275" cy="930275"/>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chemeClr val="accent3"/>
            </a:solidFill>
            <a:ln w="6350" cmpd="sng">
              <a:noFill/>
              <a:round/>
              <a:headEnd/>
              <a:tailEnd/>
            </a:ln>
          </p:spPr>
          <p:txBody>
            <a:bodyPr lIns="45720" rIns="45720" anchor="ctr" anchorCtr="1"/>
            <a:lstStyle/>
            <a:p>
              <a:endParaRPr lang="en-US" sz="1100"/>
            </a:p>
          </p:txBody>
        </p:sp>
        <p:sp>
          <p:nvSpPr>
            <p:cNvPr id="89" name="Freeform 89">
              <a:extLst>
                <a:ext uri="{FF2B5EF4-FFF2-40B4-BE49-F238E27FC236}">
                  <a16:creationId xmlns:a16="http://schemas.microsoft.com/office/drawing/2014/main" id="{FC4B8252-E02C-44CA-BF82-902AA3ACA3B3}"/>
                </a:ext>
              </a:extLst>
            </p:cNvPr>
            <p:cNvSpPr>
              <a:spLocks noChangeAspect="1"/>
            </p:cNvSpPr>
            <p:nvPr/>
          </p:nvSpPr>
          <p:spPr bwMode="auto">
            <a:xfrm>
              <a:off x="5670550" y="2559075"/>
              <a:ext cx="930275" cy="930275"/>
            </a:xfrm>
            <a:custGeom>
              <a:avLst/>
              <a:gdLst/>
              <a:ahLst/>
              <a:cxnLst>
                <a:cxn ang="0">
                  <a:pos x="1135" y="0"/>
                </a:cxn>
                <a:cxn ang="0">
                  <a:pos x="1134" y="56"/>
                </a:cxn>
                <a:cxn ang="0">
                  <a:pos x="1130" y="111"/>
                </a:cxn>
                <a:cxn ang="0">
                  <a:pos x="1123" y="166"/>
                </a:cxn>
                <a:cxn ang="0">
                  <a:pos x="1113" y="221"/>
                </a:cxn>
                <a:cxn ang="0">
                  <a:pos x="1101" y="276"/>
                </a:cxn>
                <a:cxn ang="0">
                  <a:pos x="1086" y="329"/>
                </a:cxn>
                <a:cxn ang="0">
                  <a:pos x="1069" y="382"/>
                </a:cxn>
                <a:cxn ang="0">
                  <a:pos x="1059" y="408"/>
                </a:cxn>
                <a:cxn ang="0">
                  <a:pos x="1038" y="460"/>
                </a:cxn>
                <a:cxn ang="0">
                  <a:pos x="1014" y="510"/>
                </a:cxn>
                <a:cxn ang="0">
                  <a:pos x="988" y="559"/>
                </a:cxn>
                <a:cxn ang="0">
                  <a:pos x="960" y="608"/>
                </a:cxn>
                <a:cxn ang="0">
                  <a:pos x="929" y="654"/>
                </a:cxn>
                <a:cxn ang="0">
                  <a:pos x="896" y="699"/>
                </a:cxn>
                <a:cxn ang="0">
                  <a:pos x="860" y="742"/>
                </a:cxn>
                <a:cxn ang="0">
                  <a:pos x="832" y="773"/>
                </a:cxn>
                <a:cxn ang="0">
                  <a:pos x="803" y="803"/>
                </a:cxn>
                <a:cxn ang="0">
                  <a:pos x="763" y="841"/>
                </a:cxn>
                <a:cxn ang="0">
                  <a:pos x="721" y="878"/>
                </a:cxn>
                <a:cxn ang="0">
                  <a:pos x="677" y="912"/>
                </a:cxn>
                <a:cxn ang="0">
                  <a:pos x="631" y="944"/>
                </a:cxn>
                <a:cxn ang="0">
                  <a:pos x="584" y="974"/>
                </a:cxn>
                <a:cxn ang="0">
                  <a:pos x="535" y="1001"/>
                </a:cxn>
                <a:cxn ang="0">
                  <a:pos x="485" y="1026"/>
                </a:cxn>
                <a:cxn ang="0">
                  <a:pos x="434" y="1049"/>
                </a:cxn>
                <a:cxn ang="0">
                  <a:pos x="382" y="1069"/>
                </a:cxn>
                <a:cxn ang="0">
                  <a:pos x="329" y="1086"/>
                </a:cxn>
                <a:cxn ang="0">
                  <a:pos x="276" y="1101"/>
                </a:cxn>
                <a:cxn ang="0">
                  <a:pos x="222" y="1114"/>
                </a:cxn>
                <a:cxn ang="0">
                  <a:pos x="167" y="1123"/>
                </a:cxn>
                <a:cxn ang="0">
                  <a:pos x="112" y="1130"/>
                </a:cxn>
                <a:cxn ang="0">
                  <a:pos x="56" y="1134"/>
                </a:cxn>
                <a:cxn ang="0">
                  <a:pos x="0" y="1135"/>
                </a:cxn>
                <a:cxn ang="0">
                  <a:pos x="18" y="340"/>
                </a:cxn>
                <a:cxn ang="0">
                  <a:pos x="44" y="338"/>
                </a:cxn>
                <a:cxn ang="0">
                  <a:pos x="60" y="335"/>
                </a:cxn>
                <a:cxn ang="0">
                  <a:pos x="85" y="330"/>
                </a:cxn>
                <a:cxn ang="0">
                  <a:pos x="117" y="320"/>
                </a:cxn>
                <a:cxn ang="0">
                  <a:pos x="148" y="307"/>
                </a:cxn>
                <a:cxn ang="0">
                  <a:pos x="177" y="291"/>
                </a:cxn>
                <a:cxn ang="0">
                  <a:pos x="204" y="273"/>
                </a:cxn>
                <a:cxn ang="0">
                  <a:pos x="229" y="252"/>
                </a:cxn>
                <a:cxn ang="0">
                  <a:pos x="252" y="229"/>
                </a:cxn>
                <a:cxn ang="0">
                  <a:pos x="273" y="204"/>
                </a:cxn>
                <a:cxn ang="0">
                  <a:pos x="291" y="176"/>
                </a:cxn>
                <a:cxn ang="0">
                  <a:pos x="307" y="148"/>
                </a:cxn>
                <a:cxn ang="0">
                  <a:pos x="317" y="125"/>
                </a:cxn>
                <a:cxn ang="0">
                  <a:pos x="325" y="101"/>
                </a:cxn>
                <a:cxn ang="0">
                  <a:pos x="330" y="85"/>
                </a:cxn>
                <a:cxn ang="0">
                  <a:pos x="335" y="60"/>
                </a:cxn>
                <a:cxn ang="0">
                  <a:pos x="339" y="35"/>
                </a:cxn>
                <a:cxn ang="0">
                  <a:pos x="340" y="0"/>
                </a:cxn>
              </a:cxnLst>
              <a:rect l="0" t="0" r="r" b="b"/>
              <a:pathLst>
                <a:path w="1135" h="1135">
                  <a:moveTo>
                    <a:pt x="340" y="0"/>
                  </a:moveTo>
                  <a:lnTo>
                    <a:pt x="1135" y="0"/>
                  </a:lnTo>
                  <a:lnTo>
                    <a:pt x="1135" y="28"/>
                  </a:lnTo>
                  <a:lnTo>
                    <a:pt x="1134" y="56"/>
                  </a:lnTo>
                  <a:lnTo>
                    <a:pt x="1132" y="84"/>
                  </a:lnTo>
                  <a:lnTo>
                    <a:pt x="1130" y="111"/>
                  </a:lnTo>
                  <a:lnTo>
                    <a:pt x="1127" y="139"/>
                  </a:lnTo>
                  <a:lnTo>
                    <a:pt x="1123" y="166"/>
                  </a:lnTo>
                  <a:lnTo>
                    <a:pt x="1118" y="194"/>
                  </a:lnTo>
                  <a:lnTo>
                    <a:pt x="1113" y="221"/>
                  </a:lnTo>
                  <a:lnTo>
                    <a:pt x="1108" y="249"/>
                  </a:lnTo>
                  <a:lnTo>
                    <a:pt x="1101" y="276"/>
                  </a:lnTo>
                  <a:lnTo>
                    <a:pt x="1094" y="302"/>
                  </a:lnTo>
                  <a:lnTo>
                    <a:pt x="1086" y="329"/>
                  </a:lnTo>
                  <a:lnTo>
                    <a:pt x="1078" y="356"/>
                  </a:lnTo>
                  <a:lnTo>
                    <a:pt x="1069" y="382"/>
                  </a:lnTo>
                  <a:lnTo>
                    <a:pt x="1064" y="395"/>
                  </a:lnTo>
                  <a:lnTo>
                    <a:pt x="1059" y="408"/>
                  </a:lnTo>
                  <a:lnTo>
                    <a:pt x="1049" y="434"/>
                  </a:lnTo>
                  <a:lnTo>
                    <a:pt x="1038" y="460"/>
                  </a:lnTo>
                  <a:lnTo>
                    <a:pt x="1026" y="485"/>
                  </a:lnTo>
                  <a:lnTo>
                    <a:pt x="1014" y="510"/>
                  </a:lnTo>
                  <a:lnTo>
                    <a:pt x="1001" y="535"/>
                  </a:lnTo>
                  <a:lnTo>
                    <a:pt x="988" y="559"/>
                  </a:lnTo>
                  <a:lnTo>
                    <a:pt x="974" y="584"/>
                  </a:lnTo>
                  <a:lnTo>
                    <a:pt x="960" y="608"/>
                  </a:lnTo>
                  <a:lnTo>
                    <a:pt x="944" y="631"/>
                  </a:lnTo>
                  <a:lnTo>
                    <a:pt x="929" y="654"/>
                  </a:lnTo>
                  <a:lnTo>
                    <a:pt x="912" y="677"/>
                  </a:lnTo>
                  <a:lnTo>
                    <a:pt x="896" y="699"/>
                  </a:lnTo>
                  <a:lnTo>
                    <a:pt x="878" y="721"/>
                  </a:lnTo>
                  <a:lnTo>
                    <a:pt x="860" y="742"/>
                  </a:lnTo>
                  <a:lnTo>
                    <a:pt x="842" y="763"/>
                  </a:lnTo>
                  <a:lnTo>
                    <a:pt x="832" y="773"/>
                  </a:lnTo>
                  <a:lnTo>
                    <a:pt x="823" y="783"/>
                  </a:lnTo>
                  <a:lnTo>
                    <a:pt x="803" y="803"/>
                  </a:lnTo>
                  <a:lnTo>
                    <a:pt x="783" y="822"/>
                  </a:lnTo>
                  <a:lnTo>
                    <a:pt x="763" y="841"/>
                  </a:lnTo>
                  <a:lnTo>
                    <a:pt x="742" y="860"/>
                  </a:lnTo>
                  <a:lnTo>
                    <a:pt x="721" y="878"/>
                  </a:lnTo>
                  <a:lnTo>
                    <a:pt x="699" y="895"/>
                  </a:lnTo>
                  <a:lnTo>
                    <a:pt x="677" y="912"/>
                  </a:lnTo>
                  <a:lnTo>
                    <a:pt x="654" y="928"/>
                  </a:lnTo>
                  <a:lnTo>
                    <a:pt x="631" y="944"/>
                  </a:lnTo>
                  <a:lnTo>
                    <a:pt x="608" y="959"/>
                  </a:lnTo>
                  <a:lnTo>
                    <a:pt x="584" y="974"/>
                  </a:lnTo>
                  <a:lnTo>
                    <a:pt x="559" y="988"/>
                  </a:lnTo>
                  <a:lnTo>
                    <a:pt x="535" y="1001"/>
                  </a:lnTo>
                  <a:lnTo>
                    <a:pt x="510" y="1014"/>
                  </a:lnTo>
                  <a:lnTo>
                    <a:pt x="485" y="1026"/>
                  </a:lnTo>
                  <a:lnTo>
                    <a:pt x="460" y="1038"/>
                  </a:lnTo>
                  <a:lnTo>
                    <a:pt x="434" y="1049"/>
                  </a:lnTo>
                  <a:lnTo>
                    <a:pt x="408" y="1059"/>
                  </a:lnTo>
                  <a:lnTo>
                    <a:pt x="382" y="1069"/>
                  </a:lnTo>
                  <a:lnTo>
                    <a:pt x="356" y="1078"/>
                  </a:lnTo>
                  <a:lnTo>
                    <a:pt x="329" y="1086"/>
                  </a:lnTo>
                  <a:lnTo>
                    <a:pt x="303" y="1094"/>
                  </a:lnTo>
                  <a:lnTo>
                    <a:pt x="276" y="1101"/>
                  </a:lnTo>
                  <a:lnTo>
                    <a:pt x="249" y="1108"/>
                  </a:lnTo>
                  <a:lnTo>
                    <a:pt x="222" y="1114"/>
                  </a:lnTo>
                  <a:lnTo>
                    <a:pt x="194" y="1119"/>
                  </a:lnTo>
                  <a:lnTo>
                    <a:pt x="167" y="1123"/>
                  </a:lnTo>
                  <a:lnTo>
                    <a:pt x="139" y="1127"/>
                  </a:lnTo>
                  <a:lnTo>
                    <a:pt x="112" y="1130"/>
                  </a:lnTo>
                  <a:lnTo>
                    <a:pt x="84" y="1132"/>
                  </a:lnTo>
                  <a:lnTo>
                    <a:pt x="56" y="1134"/>
                  </a:lnTo>
                  <a:lnTo>
                    <a:pt x="28" y="1135"/>
                  </a:lnTo>
                  <a:lnTo>
                    <a:pt x="0" y="1135"/>
                  </a:lnTo>
                  <a:lnTo>
                    <a:pt x="0" y="340"/>
                  </a:lnTo>
                  <a:lnTo>
                    <a:pt x="18" y="340"/>
                  </a:lnTo>
                  <a:lnTo>
                    <a:pt x="35" y="339"/>
                  </a:lnTo>
                  <a:lnTo>
                    <a:pt x="44" y="338"/>
                  </a:lnTo>
                  <a:lnTo>
                    <a:pt x="52" y="336"/>
                  </a:lnTo>
                  <a:lnTo>
                    <a:pt x="60" y="335"/>
                  </a:lnTo>
                  <a:lnTo>
                    <a:pt x="69" y="333"/>
                  </a:lnTo>
                  <a:lnTo>
                    <a:pt x="85" y="330"/>
                  </a:lnTo>
                  <a:lnTo>
                    <a:pt x="101" y="325"/>
                  </a:lnTo>
                  <a:lnTo>
                    <a:pt x="117" y="320"/>
                  </a:lnTo>
                  <a:lnTo>
                    <a:pt x="133" y="314"/>
                  </a:lnTo>
                  <a:lnTo>
                    <a:pt x="148" y="307"/>
                  </a:lnTo>
                  <a:lnTo>
                    <a:pt x="162" y="299"/>
                  </a:lnTo>
                  <a:lnTo>
                    <a:pt x="177" y="291"/>
                  </a:lnTo>
                  <a:lnTo>
                    <a:pt x="190" y="282"/>
                  </a:lnTo>
                  <a:lnTo>
                    <a:pt x="204" y="273"/>
                  </a:lnTo>
                  <a:lnTo>
                    <a:pt x="217" y="263"/>
                  </a:lnTo>
                  <a:lnTo>
                    <a:pt x="229" y="252"/>
                  </a:lnTo>
                  <a:lnTo>
                    <a:pt x="241" y="241"/>
                  </a:lnTo>
                  <a:lnTo>
                    <a:pt x="252" y="229"/>
                  </a:lnTo>
                  <a:lnTo>
                    <a:pt x="263" y="216"/>
                  </a:lnTo>
                  <a:lnTo>
                    <a:pt x="273" y="204"/>
                  </a:lnTo>
                  <a:lnTo>
                    <a:pt x="282" y="190"/>
                  </a:lnTo>
                  <a:lnTo>
                    <a:pt x="291" y="176"/>
                  </a:lnTo>
                  <a:lnTo>
                    <a:pt x="299" y="162"/>
                  </a:lnTo>
                  <a:lnTo>
                    <a:pt x="307" y="148"/>
                  </a:lnTo>
                  <a:lnTo>
                    <a:pt x="314" y="133"/>
                  </a:lnTo>
                  <a:lnTo>
                    <a:pt x="317" y="125"/>
                  </a:lnTo>
                  <a:lnTo>
                    <a:pt x="320" y="117"/>
                  </a:lnTo>
                  <a:lnTo>
                    <a:pt x="325" y="101"/>
                  </a:lnTo>
                  <a:lnTo>
                    <a:pt x="328" y="93"/>
                  </a:lnTo>
                  <a:lnTo>
                    <a:pt x="330" y="85"/>
                  </a:lnTo>
                  <a:lnTo>
                    <a:pt x="333" y="69"/>
                  </a:lnTo>
                  <a:lnTo>
                    <a:pt x="335" y="60"/>
                  </a:lnTo>
                  <a:lnTo>
                    <a:pt x="336" y="52"/>
                  </a:lnTo>
                  <a:lnTo>
                    <a:pt x="339" y="35"/>
                  </a:lnTo>
                  <a:lnTo>
                    <a:pt x="340" y="18"/>
                  </a:lnTo>
                  <a:lnTo>
                    <a:pt x="340" y="0"/>
                  </a:lnTo>
                  <a:close/>
                </a:path>
              </a:pathLst>
            </a:custGeom>
            <a:solidFill>
              <a:schemeClr val="accent2"/>
            </a:solidFill>
            <a:ln w="6350" cmpd="sng">
              <a:noFill/>
              <a:round/>
              <a:headEnd/>
              <a:tailEnd/>
            </a:ln>
          </p:spPr>
          <p:txBody>
            <a:bodyPr lIns="45720" rIns="45720" anchor="ctr" anchorCtr="1"/>
            <a:lstStyle/>
            <a:p>
              <a:endParaRPr lang="en-US" sz="1100"/>
            </a:p>
          </p:txBody>
        </p:sp>
        <p:sp>
          <p:nvSpPr>
            <p:cNvPr id="90" name="Freeform 90">
              <a:extLst>
                <a:ext uri="{FF2B5EF4-FFF2-40B4-BE49-F238E27FC236}">
                  <a16:creationId xmlns:a16="http://schemas.microsoft.com/office/drawing/2014/main" id="{B711F1CA-40D2-4089-A6D1-9BA82B0C14B4}"/>
                </a:ext>
              </a:extLst>
            </p:cNvPr>
            <p:cNvSpPr>
              <a:spLocks noChangeAspect="1"/>
            </p:cNvSpPr>
            <p:nvPr/>
          </p:nvSpPr>
          <p:spPr bwMode="auto">
            <a:xfrm>
              <a:off x="4740275" y="2559075"/>
              <a:ext cx="930275" cy="930275"/>
            </a:xfrm>
            <a:custGeom>
              <a:avLst/>
              <a:gdLst/>
              <a:ahLst/>
              <a:cxnLst>
                <a:cxn ang="0">
                  <a:pos x="1135" y="1135"/>
                </a:cxn>
                <a:cxn ang="0">
                  <a:pos x="1080" y="1134"/>
                </a:cxn>
                <a:cxn ang="0">
                  <a:pos x="1024" y="1130"/>
                </a:cxn>
                <a:cxn ang="0">
                  <a:pos x="969" y="1123"/>
                </a:cxn>
                <a:cxn ang="0">
                  <a:pos x="914" y="1113"/>
                </a:cxn>
                <a:cxn ang="0">
                  <a:pos x="860" y="1101"/>
                </a:cxn>
                <a:cxn ang="0">
                  <a:pos x="806" y="1086"/>
                </a:cxn>
                <a:cxn ang="0">
                  <a:pos x="753" y="1069"/>
                </a:cxn>
                <a:cxn ang="0">
                  <a:pos x="727" y="1059"/>
                </a:cxn>
                <a:cxn ang="0">
                  <a:pos x="676" y="1038"/>
                </a:cxn>
                <a:cxn ang="0">
                  <a:pos x="625" y="1014"/>
                </a:cxn>
                <a:cxn ang="0">
                  <a:pos x="576" y="988"/>
                </a:cxn>
                <a:cxn ang="0">
                  <a:pos x="528" y="959"/>
                </a:cxn>
                <a:cxn ang="0">
                  <a:pos x="481" y="929"/>
                </a:cxn>
                <a:cxn ang="0">
                  <a:pos x="436" y="895"/>
                </a:cxn>
                <a:cxn ang="0">
                  <a:pos x="393" y="860"/>
                </a:cxn>
                <a:cxn ang="0">
                  <a:pos x="362" y="832"/>
                </a:cxn>
                <a:cxn ang="0">
                  <a:pos x="332" y="803"/>
                </a:cxn>
                <a:cxn ang="0">
                  <a:pos x="294" y="763"/>
                </a:cxn>
                <a:cxn ang="0">
                  <a:pos x="258" y="720"/>
                </a:cxn>
                <a:cxn ang="0">
                  <a:pos x="223" y="677"/>
                </a:cxn>
                <a:cxn ang="0">
                  <a:pos x="191" y="631"/>
                </a:cxn>
                <a:cxn ang="0">
                  <a:pos x="162" y="584"/>
                </a:cxn>
                <a:cxn ang="0">
                  <a:pos x="134" y="535"/>
                </a:cxn>
                <a:cxn ang="0">
                  <a:pos x="109" y="485"/>
                </a:cxn>
                <a:cxn ang="0">
                  <a:pos x="87" y="434"/>
                </a:cxn>
                <a:cxn ang="0">
                  <a:pos x="67" y="382"/>
                </a:cxn>
                <a:cxn ang="0">
                  <a:pos x="49" y="329"/>
                </a:cxn>
                <a:cxn ang="0">
                  <a:pos x="34" y="276"/>
                </a:cxn>
                <a:cxn ang="0">
                  <a:pos x="22" y="221"/>
                </a:cxn>
                <a:cxn ang="0">
                  <a:pos x="12" y="167"/>
                </a:cxn>
                <a:cxn ang="0">
                  <a:pos x="5" y="111"/>
                </a:cxn>
                <a:cxn ang="0">
                  <a:pos x="1" y="56"/>
                </a:cxn>
                <a:cxn ang="0">
                  <a:pos x="0" y="0"/>
                </a:cxn>
                <a:cxn ang="0">
                  <a:pos x="796" y="18"/>
                </a:cxn>
                <a:cxn ang="0">
                  <a:pos x="798" y="43"/>
                </a:cxn>
                <a:cxn ang="0">
                  <a:pos x="800" y="60"/>
                </a:cxn>
                <a:cxn ang="0">
                  <a:pos x="806" y="85"/>
                </a:cxn>
                <a:cxn ang="0">
                  <a:pos x="816" y="117"/>
                </a:cxn>
                <a:cxn ang="0">
                  <a:pos x="829" y="148"/>
                </a:cxn>
                <a:cxn ang="0">
                  <a:pos x="844" y="176"/>
                </a:cxn>
                <a:cxn ang="0">
                  <a:pos x="863" y="204"/>
                </a:cxn>
                <a:cxn ang="0">
                  <a:pos x="883" y="229"/>
                </a:cxn>
                <a:cxn ang="0">
                  <a:pos x="907" y="252"/>
                </a:cxn>
                <a:cxn ang="0">
                  <a:pos x="932" y="273"/>
                </a:cxn>
                <a:cxn ang="0">
                  <a:pos x="959" y="291"/>
                </a:cxn>
                <a:cxn ang="0">
                  <a:pos x="988" y="307"/>
                </a:cxn>
                <a:cxn ang="0">
                  <a:pos x="1011" y="317"/>
                </a:cxn>
                <a:cxn ang="0">
                  <a:pos x="1034" y="325"/>
                </a:cxn>
                <a:cxn ang="0">
                  <a:pos x="1050" y="330"/>
                </a:cxn>
                <a:cxn ang="0">
                  <a:pos x="1075" y="335"/>
                </a:cxn>
                <a:cxn ang="0">
                  <a:pos x="1100" y="339"/>
                </a:cxn>
                <a:cxn ang="0">
                  <a:pos x="1135" y="340"/>
                </a:cxn>
              </a:cxnLst>
              <a:rect l="0" t="0" r="r" b="b"/>
              <a:pathLst>
                <a:path w="1135" h="1135">
                  <a:moveTo>
                    <a:pt x="1135" y="340"/>
                  </a:moveTo>
                  <a:lnTo>
                    <a:pt x="1135" y="1135"/>
                  </a:lnTo>
                  <a:lnTo>
                    <a:pt x="1107" y="1135"/>
                  </a:lnTo>
                  <a:lnTo>
                    <a:pt x="1080" y="1134"/>
                  </a:lnTo>
                  <a:lnTo>
                    <a:pt x="1052" y="1132"/>
                  </a:lnTo>
                  <a:lnTo>
                    <a:pt x="1024" y="1130"/>
                  </a:lnTo>
                  <a:lnTo>
                    <a:pt x="996" y="1126"/>
                  </a:lnTo>
                  <a:lnTo>
                    <a:pt x="969" y="1123"/>
                  </a:lnTo>
                  <a:lnTo>
                    <a:pt x="941" y="1118"/>
                  </a:lnTo>
                  <a:lnTo>
                    <a:pt x="914" y="1113"/>
                  </a:lnTo>
                  <a:lnTo>
                    <a:pt x="887" y="1107"/>
                  </a:lnTo>
                  <a:lnTo>
                    <a:pt x="860" y="1101"/>
                  </a:lnTo>
                  <a:lnTo>
                    <a:pt x="833" y="1094"/>
                  </a:lnTo>
                  <a:lnTo>
                    <a:pt x="806" y="1086"/>
                  </a:lnTo>
                  <a:lnTo>
                    <a:pt x="780" y="1078"/>
                  </a:lnTo>
                  <a:lnTo>
                    <a:pt x="753" y="1069"/>
                  </a:lnTo>
                  <a:lnTo>
                    <a:pt x="740" y="1064"/>
                  </a:lnTo>
                  <a:lnTo>
                    <a:pt x="727" y="1059"/>
                  </a:lnTo>
                  <a:lnTo>
                    <a:pt x="701" y="1049"/>
                  </a:lnTo>
                  <a:lnTo>
                    <a:pt x="676" y="1038"/>
                  </a:lnTo>
                  <a:lnTo>
                    <a:pt x="650" y="1026"/>
                  </a:lnTo>
                  <a:lnTo>
                    <a:pt x="625" y="1014"/>
                  </a:lnTo>
                  <a:lnTo>
                    <a:pt x="601" y="1001"/>
                  </a:lnTo>
                  <a:lnTo>
                    <a:pt x="576" y="988"/>
                  </a:lnTo>
                  <a:lnTo>
                    <a:pt x="551" y="974"/>
                  </a:lnTo>
                  <a:lnTo>
                    <a:pt x="528" y="959"/>
                  </a:lnTo>
                  <a:lnTo>
                    <a:pt x="504" y="944"/>
                  </a:lnTo>
                  <a:lnTo>
                    <a:pt x="481" y="929"/>
                  </a:lnTo>
                  <a:lnTo>
                    <a:pt x="459" y="912"/>
                  </a:lnTo>
                  <a:lnTo>
                    <a:pt x="436" y="895"/>
                  </a:lnTo>
                  <a:lnTo>
                    <a:pt x="415" y="878"/>
                  </a:lnTo>
                  <a:lnTo>
                    <a:pt x="393" y="860"/>
                  </a:lnTo>
                  <a:lnTo>
                    <a:pt x="373" y="842"/>
                  </a:lnTo>
                  <a:lnTo>
                    <a:pt x="362" y="832"/>
                  </a:lnTo>
                  <a:lnTo>
                    <a:pt x="352" y="822"/>
                  </a:lnTo>
                  <a:lnTo>
                    <a:pt x="332" y="803"/>
                  </a:lnTo>
                  <a:lnTo>
                    <a:pt x="313" y="783"/>
                  </a:lnTo>
                  <a:lnTo>
                    <a:pt x="294" y="763"/>
                  </a:lnTo>
                  <a:lnTo>
                    <a:pt x="276" y="742"/>
                  </a:lnTo>
                  <a:lnTo>
                    <a:pt x="258" y="720"/>
                  </a:lnTo>
                  <a:lnTo>
                    <a:pt x="240" y="699"/>
                  </a:lnTo>
                  <a:lnTo>
                    <a:pt x="223" y="677"/>
                  </a:lnTo>
                  <a:lnTo>
                    <a:pt x="207" y="654"/>
                  </a:lnTo>
                  <a:lnTo>
                    <a:pt x="191" y="631"/>
                  </a:lnTo>
                  <a:lnTo>
                    <a:pt x="176" y="608"/>
                  </a:lnTo>
                  <a:lnTo>
                    <a:pt x="162" y="584"/>
                  </a:lnTo>
                  <a:lnTo>
                    <a:pt x="148" y="559"/>
                  </a:lnTo>
                  <a:lnTo>
                    <a:pt x="134" y="535"/>
                  </a:lnTo>
                  <a:lnTo>
                    <a:pt x="122" y="510"/>
                  </a:lnTo>
                  <a:lnTo>
                    <a:pt x="109" y="485"/>
                  </a:lnTo>
                  <a:lnTo>
                    <a:pt x="98" y="460"/>
                  </a:lnTo>
                  <a:lnTo>
                    <a:pt x="87" y="434"/>
                  </a:lnTo>
                  <a:lnTo>
                    <a:pt x="76" y="408"/>
                  </a:lnTo>
                  <a:lnTo>
                    <a:pt x="67" y="382"/>
                  </a:lnTo>
                  <a:lnTo>
                    <a:pt x="58" y="356"/>
                  </a:lnTo>
                  <a:lnTo>
                    <a:pt x="49" y="329"/>
                  </a:lnTo>
                  <a:lnTo>
                    <a:pt x="41" y="303"/>
                  </a:lnTo>
                  <a:lnTo>
                    <a:pt x="34" y="276"/>
                  </a:lnTo>
                  <a:lnTo>
                    <a:pt x="28" y="249"/>
                  </a:lnTo>
                  <a:lnTo>
                    <a:pt x="22" y="221"/>
                  </a:lnTo>
                  <a:lnTo>
                    <a:pt x="17" y="194"/>
                  </a:lnTo>
                  <a:lnTo>
                    <a:pt x="12" y="167"/>
                  </a:lnTo>
                  <a:lnTo>
                    <a:pt x="8" y="139"/>
                  </a:lnTo>
                  <a:lnTo>
                    <a:pt x="5" y="111"/>
                  </a:lnTo>
                  <a:lnTo>
                    <a:pt x="3" y="84"/>
                  </a:lnTo>
                  <a:lnTo>
                    <a:pt x="1" y="56"/>
                  </a:lnTo>
                  <a:lnTo>
                    <a:pt x="1" y="28"/>
                  </a:lnTo>
                  <a:lnTo>
                    <a:pt x="0" y="0"/>
                  </a:lnTo>
                  <a:lnTo>
                    <a:pt x="795" y="0"/>
                  </a:lnTo>
                  <a:lnTo>
                    <a:pt x="796" y="18"/>
                  </a:lnTo>
                  <a:lnTo>
                    <a:pt x="797" y="35"/>
                  </a:lnTo>
                  <a:lnTo>
                    <a:pt x="798" y="43"/>
                  </a:lnTo>
                  <a:lnTo>
                    <a:pt x="799" y="52"/>
                  </a:lnTo>
                  <a:lnTo>
                    <a:pt x="800" y="60"/>
                  </a:lnTo>
                  <a:lnTo>
                    <a:pt x="802" y="69"/>
                  </a:lnTo>
                  <a:lnTo>
                    <a:pt x="806" y="85"/>
                  </a:lnTo>
                  <a:lnTo>
                    <a:pt x="810" y="101"/>
                  </a:lnTo>
                  <a:lnTo>
                    <a:pt x="816" y="117"/>
                  </a:lnTo>
                  <a:lnTo>
                    <a:pt x="822" y="133"/>
                  </a:lnTo>
                  <a:lnTo>
                    <a:pt x="829" y="148"/>
                  </a:lnTo>
                  <a:lnTo>
                    <a:pt x="836" y="162"/>
                  </a:lnTo>
                  <a:lnTo>
                    <a:pt x="844" y="176"/>
                  </a:lnTo>
                  <a:lnTo>
                    <a:pt x="853" y="190"/>
                  </a:lnTo>
                  <a:lnTo>
                    <a:pt x="863" y="204"/>
                  </a:lnTo>
                  <a:lnTo>
                    <a:pt x="873" y="216"/>
                  </a:lnTo>
                  <a:lnTo>
                    <a:pt x="883" y="229"/>
                  </a:lnTo>
                  <a:lnTo>
                    <a:pt x="895" y="241"/>
                  </a:lnTo>
                  <a:lnTo>
                    <a:pt x="907" y="252"/>
                  </a:lnTo>
                  <a:lnTo>
                    <a:pt x="919" y="263"/>
                  </a:lnTo>
                  <a:lnTo>
                    <a:pt x="932" y="273"/>
                  </a:lnTo>
                  <a:lnTo>
                    <a:pt x="945" y="282"/>
                  </a:lnTo>
                  <a:lnTo>
                    <a:pt x="959" y="291"/>
                  </a:lnTo>
                  <a:lnTo>
                    <a:pt x="973" y="299"/>
                  </a:lnTo>
                  <a:lnTo>
                    <a:pt x="988" y="307"/>
                  </a:lnTo>
                  <a:lnTo>
                    <a:pt x="1003" y="314"/>
                  </a:lnTo>
                  <a:lnTo>
                    <a:pt x="1011" y="317"/>
                  </a:lnTo>
                  <a:lnTo>
                    <a:pt x="1018" y="320"/>
                  </a:lnTo>
                  <a:lnTo>
                    <a:pt x="1034" y="325"/>
                  </a:lnTo>
                  <a:lnTo>
                    <a:pt x="1042" y="327"/>
                  </a:lnTo>
                  <a:lnTo>
                    <a:pt x="1050" y="330"/>
                  </a:lnTo>
                  <a:lnTo>
                    <a:pt x="1067" y="333"/>
                  </a:lnTo>
                  <a:lnTo>
                    <a:pt x="1075" y="335"/>
                  </a:lnTo>
                  <a:lnTo>
                    <a:pt x="1083" y="336"/>
                  </a:lnTo>
                  <a:lnTo>
                    <a:pt x="1100" y="339"/>
                  </a:lnTo>
                  <a:lnTo>
                    <a:pt x="1118" y="340"/>
                  </a:lnTo>
                  <a:lnTo>
                    <a:pt x="1135" y="340"/>
                  </a:lnTo>
                  <a:close/>
                </a:path>
              </a:pathLst>
            </a:custGeom>
            <a:solidFill>
              <a:schemeClr val="accent5"/>
            </a:solidFill>
            <a:ln w="6350" cmpd="sng">
              <a:noFill/>
              <a:round/>
              <a:headEnd/>
              <a:tailEnd/>
            </a:ln>
          </p:spPr>
          <p:txBody>
            <a:bodyPr lIns="45720" rIns="45720" anchor="ctr" anchorCtr="1"/>
            <a:lstStyle/>
            <a:p>
              <a:endParaRPr lang="en-US" sz="1100"/>
            </a:p>
          </p:txBody>
        </p:sp>
        <p:sp>
          <p:nvSpPr>
            <p:cNvPr id="91" name="Freeform 91">
              <a:extLst>
                <a:ext uri="{FF2B5EF4-FFF2-40B4-BE49-F238E27FC236}">
                  <a16:creationId xmlns:a16="http://schemas.microsoft.com/office/drawing/2014/main" id="{2260BEA0-55C4-45FF-A93C-FD8C8D34B3B9}"/>
                </a:ext>
              </a:extLst>
            </p:cNvPr>
            <p:cNvSpPr>
              <a:spLocks noChangeAspect="1"/>
            </p:cNvSpPr>
            <p:nvPr/>
          </p:nvSpPr>
          <p:spPr bwMode="auto">
            <a:xfrm>
              <a:off x="4740275" y="1628800"/>
              <a:ext cx="930275" cy="930275"/>
            </a:xfrm>
            <a:custGeom>
              <a:avLst/>
              <a:gdLst/>
              <a:ahLst/>
              <a:cxnLst>
                <a:cxn ang="0">
                  <a:pos x="0" y="1135"/>
                </a:cxn>
                <a:cxn ang="0">
                  <a:pos x="2" y="1080"/>
                </a:cxn>
                <a:cxn ang="0">
                  <a:pos x="6" y="1024"/>
                </a:cxn>
                <a:cxn ang="0">
                  <a:pos x="13" y="969"/>
                </a:cxn>
                <a:cxn ang="0">
                  <a:pos x="22" y="914"/>
                </a:cxn>
                <a:cxn ang="0">
                  <a:pos x="34" y="860"/>
                </a:cxn>
                <a:cxn ang="0">
                  <a:pos x="49" y="806"/>
                </a:cxn>
                <a:cxn ang="0">
                  <a:pos x="67" y="753"/>
                </a:cxn>
                <a:cxn ang="0">
                  <a:pos x="76" y="727"/>
                </a:cxn>
                <a:cxn ang="0">
                  <a:pos x="98" y="676"/>
                </a:cxn>
                <a:cxn ang="0">
                  <a:pos x="121" y="625"/>
                </a:cxn>
                <a:cxn ang="0">
                  <a:pos x="147" y="576"/>
                </a:cxn>
                <a:cxn ang="0">
                  <a:pos x="176" y="527"/>
                </a:cxn>
                <a:cxn ang="0">
                  <a:pos x="207" y="481"/>
                </a:cxn>
                <a:cxn ang="0">
                  <a:pos x="240" y="436"/>
                </a:cxn>
                <a:cxn ang="0">
                  <a:pos x="275" y="393"/>
                </a:cxn>
                <a:cxn ang="0">
                  <a:pos x="303" y="362"/>
                </a:cxn>
                <a:cxn ang="0">
                  <a:pos x="332" y="332"/>
                </a:cxn>
                <a:cxn ang="0">
                  <a:pos x="373" y="294"/>
                </a:cxn>
                <a:cxn ang="0">
                  <a:pos x="415" y="258"/>
                </a:cxn>
                <a:cxn ang="0">
                  <a:pos x="459" y="223"/>
                </a:cxn>
                <a:cxn ang="0">
                  <a:pos x="504" y="191"/>
                </a:cxn>
                <a:cxn ang="0">
                  <a:pos x="551" y="162"/>
                </a:cxn>
                <a:cxn ang="0">
                  <a:pos x="601" y="134"/>
                </a:cxn>
                <a:cxn ang="0">
                  <a:pos x="650" y="109"/>
                </a:cxn>
                <a:cxn ang="0">
                  <a:pos x="701" y="87"/>
                </a:cxn>
                <a:cxn ang="0">
                  <a:pos x="753" y="67"/>
                </a:cxn>
                <a:cxn ang="0">
                  <a:pos x="806" y="49"/>
                </a:cxn>
                <a:cxn ang="0">
                  <a:pos x="860" y="34"/>
                </a:cxn>
                <a:cxn ang="0">
                  <a:pos x="914" y="22"/>
                </a:cxn>
                <a:cxn ang="0">
                  <a:pos x="969" y="12"/>
                </a:cxn>
                <a:cxn ang="0">
                  <a:pos x="1024" y="5"/>
                </a:cxn>
                <a:cxn ang="0">
                  <a:pos x="1079" y="1"/>
                </a:cxn>
                <a:cxn ang="0">
                  <a:pos x="1135" y="0"/>
                </a:cxn>
                <a:cxn ang="0">
                  <a:pos x="1118" y="795"/>
                </a:cxn>
                <a:cxn ang="0">
                  <a:pos x="1092" y="798"/>
                </a:cxn>
                <a:cxn ang="0">
                  <a:pos x="1075" y="800"/>
                </a:cxn>
                <a:cxn ang="0">
                  <a:pos x="1050" y="806"/>
                </a:cxn>
                <a:cxn ang="0">
                  <a:pos x="1018" y="816"/>
                </a:cxn>
                <a:cxn ang="0">
                  <a:pos x="988" y="829"/>
                </a:cxn>
                <a:cxn ang="0">
                  <a:pos x="959" y="844"/>
                </a:cxn>
                <a:cxn ang="0">
                  <a:pos x="932" y="863"/>
                </a:cxn>
                <a:cxn ang="0">
                  <a:pos x="906" y="883"/>
                </a:cxn>
                <a:cxn ang="0">
                  <a:pos x="883" y="906"/>
                </a:cxn>
                <a:cxn ang="0">
                  <a:pos x="863" y="932"/>
                </a:cxn>
                <a:cxn ang="0">
                  <a:pos x="844" y="959"/>
                </a:cxn>
                <a:cxn ang="0">
                  <a:pos x="829" y="988"/>
                </a:cxn>
                <a:cxn ang="0">
                  <a:pos x="819" y="1010"/>
                </a:cxn>
                <a:cxn ang="0">
                  <a:pos x="810" y="1034"/>
                </a:cxn>
                <a:cxn ang="0">
                  <a:pos x="806" y="1050"/>
                </a:cxn>
                <a:cxn ang="0">
                  <a:pos x="800" y="1075"/>
                </a:cxn>
                <a:cxn ang="0">
                  <a:pos x="797" y="1100"/>
                </a:cxn>
                <a:cxn ang="0">
                  <a:pos x="795" y="1135"/>
                </a:cxn>
              </a:cxnLst>
              <a:rect l="0" t="0" r="r" b="b"/>
              <a:pathLst>
                <a:path w="1135" h="1135">
                  <a:moveTo>
                    <a:pt x="795" y="1135"/>
                  </a:moveTo>
                  <a:lnTo>
                    <a:pt x="0" y="1135"/>
                  </a:lnTo>
                  <a:lnTo>
                    <a:pt x="1" y="1107"/>
                  </a:lnTo>
                  <a:lnTo>
                    <a:pt x="2" y="1080"/>
                  </a:lnTo>
                  <a:lnTo>
                    <a:pt x="3" y="1052"/>
                  </a:lnTo>
                  <a:lnTo>
                    <a:pt x="6" y="1024"/>
                  </a:lnTo>
                  <a:lnTo>
                    <a:pt x="9" y="996"/>
                  </a:lnTo>
                  <a:lnTo>
                    <a:pt x="13" y="969"/>
                  </a:lnTo>
                  <a:lnTo>
                    <a:pt x="17" y="941"/>
                  </a:lnTo>
                  <a:lnTo>
                    <a:pt x="22" y="914"/>
                  </a:lnTo>
                  <a:lnTo>
                    <a:pt x="28" y="887"/>
                  </a:lnTo>
                  <a:lnTo>
                    <a:pt x="34" y="860"/>
                  </a:lnTo>
                  <a:lnTo>
                    <a:pt x="41" y="833"/>
                  </a:lnTo>
                  <a:lnTo>
                    <a:pt x="49" y="806"/>
                  </a:lnTo>
                  <a:lnTo>
                    <a:pt x="58" y="780"/>
                  </a:lnTo>
                  <a:lnTo>
                    <a:pt x="67" y="753"/>
                  </a:lnTo>
                  <a:lnTo>
                    <a:pt x="71" y="740"/>
                  </a:lnTo>
                  <a:lnTo>
                    <a:pt x="76" y="727"/>
                  </a:lnTo>
                  <a:lnTo>
                    <a:pt x="87" y="701"/>
                  </a:lnTo>
                  <a:lnTo>
                    <a:pt x="98"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6"/>
                  </a:lnTo>
                  <a:lnTo>
                    <a:pt x="415" y="258"/>
                  </a:lnTo>
                  <a:lnTo>
                    <a:pt x="437" y="240"/>
                  </a:lnTo>
                  <a:lnTo>
                    <a:pt x="459" y="223"/>
                  </a:lnTo>
                  <a:lnTo>
                    <a:pt x="481" y="207"/>
                  </a:lnTo>
                  <a:lnTo>
                    <a:pt x="504" y="191"/>
                  </a:lnTo>
                  <a:lnTo>
                    <a:pt x="528" y="176"/>
                  </a:lnTo>
                  <a:lnTo>
                    <a:pt x="551" y="162"/>
                  </a:lnTo>
                  <a:lnTo>
                    <a:pt x="576" y="148"/>
                  </a:lnTo>
                  <a:lnTo>
                    <a:pt x="601" y="134"/>
                  </a:lnTo>
                  <a:lnTo>
                    <a:pt x="625" y="121"/>
                  </a:lnTo>
                  <a:lnTo>
                    <a:pt x="650" y="109"/>
                  </a:lnTo>
                  <a:lnTo>
                    <a:pt x="676" y="98"/>
                  </a:lnTo>
                  <a:lnTo>
                    <a:pt x="701" y="87"/>
                  </a:lnTo>
                  <a:lnTo>
                    <a:pt x="727" y="76"/>
                  </a:lnTo>
                  <a:lnTo>
                    <a:pt x="753" y="67"/>
                  </a:lnTo>
                  <a:lnTo>
                    <a:pt x="779" y="57"/>
                  </a:lnTo>
                  <a:lnTo>
                    <a:pt x="806" y="49"/>
                  </a:lnTo>
                  <a:lnTo>
                    <a:pt x="833" y="41"/>
                  </a:lnTo>
                  <a:lnTo>
                    <a:pt x="860" y="34"/>
                  </a:lnTo>
                  <a:lnTo>
                    <a:pt x="887" y="28"/>
                  </a:lnTo>
                  <a:lnTo>
                    <a:pt x="914" y="22"/>
                  </a:lnTo>
                  <a:lnTo>
                    <a:pt x="941" y="17"/>
                  </a:lnTo>
                  <a:lnTo>
                    <a:pt x="969" y="12"/>
                  </a:lnTo>
                  <a:lnTo>
                    <a:pt x="996" y="8"/>
                  </a:lnTo>
                  <a:lnTo>
                    <a:pt x="1024" y="5"/>
                  </a:lnTo>
                  <a:lnTo>
                    <a:pt x="1052" y="3"/>
                  </a:lnTo>
                  <a:lnTo>
                    <a:pt x="1079" y="1"/>
                  </a:lnTo>
                  <a:lnTo>
                    <a:pt x="1107" y="1"/>
                  </a:lnTo>
                  <a:lnTo>
                    <a:pt x="1135" y="0"/>
                  </a:lnTo>
                  <a:lnTo>
                    <a:pt x="1135" y="795"/>
                  </a:lnTo>
                  <a:lnTo>
                    <a:pt x="1118" y="795"/>
                  </a:lnTo>
                  <a:lnTo>
                    <a:pt x="1100" y="797"/>
                  </a:lnTo>
                  <a:lnTo>
                    <a:pt x="1092" y="798"/>
                  </a:lnTo>
                  <a:lnTo>
                    <a:pt x="1083" y="799"/>
                  </a:lnTo>
                  <a:lnTo>
                    <a:pt x="1075" y="800"/>
                  </a:lnTo>
                  <a:lnTo>
                    <a:pt x="1067" y="802"/>
                  </a:lnTo>
                  <a:lnTo>
                    <a:pt x="1050" y="806"/>
                  </a:lnTo>
                  <a:lnTo>
                    <a:pt x="1034" y="810"/>
                  </a:lnTo>
                  <a:lnTo>
                    <a:pt x="1018" y="816"/>
                  </a:lnTo>
                  <a:lnTo>
                    <a:pt x="1003" y="822"/>
                  </a:lnTo>
                  <a:lnTo>
                    <a:pt x="988" y="829"/>
                  </a:lnTo>
                  <a:lnTo>
                    <a:pt x="973" y="836"/>
                  </a:lnTo>
                  <a:lnTo>
                    <a:pt x="959" y="844"/>
                  </a:lnTo>
                  <a:lnTo>
                    <a:pt x="945" y="853"/>
                  </a:lnTo>
                  <a:lnTo>
                    <a:pt x="932" y="863"/>
                  </a:lnTo>
                  <a:lnTo>
                    <a:pt x="919" y="873"/>
                  </a:lnTo>
                  <a:lnTo>
                    <a:pt x="906" y="883"/>
                  </a:lnTo>
                  <a:lnTo>
                    <a:pt x="895" y="895"/>
                  </a:lnTo>
                  <a:lnTo>
                    <a:pt x="883" y="906"/>
                  </a:lnTo>
                  <a:lnTo>
                    <a:pt x="873" y="919"/>
                  </a:lnTo>
                  <a:lnTo>
                    <a:pt x="863" y="932"/>
                  </a:lnTo>
                  <a:lnTo>
                    <a:pt x="853" y="945"/>
                  </a:lnTo>
                  <a:lnTo>
                    <a:pt x="844" y="959"/>
                  </a:lnTo>
                  <a:lnTo>
                    <a:pt x="836" y="973"/>
                  </a:lnTo>
                  <a:lnTo>
                    <a:pt x="829" y="988"/>
                  </a:lnTo>
                  <a:lnTo>
                    <a:pt x="822" y="1003"/>
                  </a:lnTo>
                  <a:lnTo>
                    <a:pt x="819" y="1010"/>
                  </a:lnTo>
                  <a:lnTo>
                    <a:pt x="816" y="1018"/>
                  </a:lnTo>
                  <a:lnTo>
                    <a:pt x="810" y="1034"/>
                  </a:lnTo>
                  <a:lnTo>
                    <a:pt x="808" y="1042"/>
                  </a:lnTo>
                  <a:lnTo>
                    <a:pt x="806" y="1050"/>
                  </a:lnTo>
                  <a:lnTo>
                    <a:pt x="802" y="1067"/>
                  </a:lnTo>
                  <a:lnTo>
                    <a:pt x="800" y="1075"/>
                  </a:lnTo>
                  <a:lnTo>
                    <a:pt x="799" y="1083"/>
                  </a:lnTo>
                  <a:lnTo>
                    <a:pt x="797" y="1100"/>
                  </a:lnTo>
                  <a:lnTo>
                    <a:pt x="795" y="1118"/>
                  </a:lnTo>
                  <a:lnTo>
                    <a:pt x="795" y="1135"/>
                  </a:lnTo>
                  <a:close/>
                </a:path>
              </a:pathLst>
            </a:custGeom>
            <a:solidFill>
              <a:schemeClr val="accent1"/>
            </a:solidFill>
            <a:ln w="6350" cmpd="sng">
              <a:noFill/>
              <a:round/>
              <a:headEnd/>
              <a:tailEnd/>
            </a:ln>
          </p:spPr>
          <p:txBody>
            <a:bodyPr lIns="45720" rIns="45720" anchor="ctr" anchorCtr="1"/>
            <a:lstStyle/>
            <a:p>
              <a:endParaRPr lang="en-US" sz="1100"/>
            </a:p>
          </p:txBody>
        </p:sp>
        <p:sp>
          <p:nvSpPr>
            <p:cNvPr id="92" name="Text Box 92">
              <a:extLst>
                <a:ext uri="{FF2B5EF4-FFF2-40B4-BE49-F238E27FC236}">
                  <a16:creationId xmlns:a16="http://schemas.microsoft.com/office/drawing/2014/main" id="{C6B0076E-1F45-4905-8B07-1A230EA7B543}"/>
                </a:ext>
              </a:extLst>
            </p:cNvPr>
            <p:cNvSpPr txBox="1">
              <a:spLocks noChangeArrowheads="1"/>
            </p:cNvSpPr>
            <p:nvPr/>
          </p:nvSpPr>
          <p:spPr bwMode="auto">
            <a:xfrm>
              <a:off x="4999038" y="1966938"/>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93" name="Text Box 93">
              <a:extLst>
                <a:ext uri="{FF2B5EF4-FFF2-40B4-BE49-F238E27FC236}">
                  <a16:creationId xmlns:a16="http://schemas.microsoft.com/office/drawing/2014/main" id="{804B7BC9-824C-4C06-9C69-FC79E45E5AA2}"/>
                </a:ext>
              </a:extLst>
            </p:cNvPr>
            <p:cNvSpPr txBox="1">
              <a:spLocks noChangeArrowheads="1"/>
            </p:cNvSpPr>
            <p:nvPr/>
          </p:nvSpPr>
          <p:spPr bwMode="auto">
            <a:xfrm>
              <a:off x="5929313" y="1966938"/>
              <a:ext cx="411163"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94" name="Text Box 94">
              <a:extLst>
                <a:ext uri="{FF2B5EF4-FFF2-40B4-BE49-F238E27FC236}">
                  <a16:creationId xmlns:a16="http://schemas.microsoft.com/office/drawing/2014/main" id="{5095260B-DB81-4155-BD69-4819B4CFA497}"/>
                </a:ext>
              </a:extLst>
            </p:cNvPr>
            <p:cNvSpPr txBox="1">
              <a:spLocks noChangeArrowheads="1"/>
            </p:cNvSpPr>
            <p:nvPr/>
          </p:nvSpPr>
          <p:spPr bwMode="auto">
            <a:xfrm>
              <a:off x="4999038" y="2895625"/>
              <a:ext cx="411163"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95" name="Text Box 95">
              <a:extLst>
                <a:ext uri="{FF2B5EF4-FFF2-40B4-BE49-F238E27FC236}">
                  <a16:creationId xmlns:a16="http://schemas.microsoft.com/office/drawing/2014/main" id="{F6B796CE-FC2E-447D-8F05-E8410AA78F1C}"/>
                </a:ext>
              </a:extLst>
            </p:cNvPr>
            <p:cNvSpPr txBox="1">
              <a:spLocks noChangeArrowheads="1"/>
            </p:cNvSpPr>
            <p:nvPr/>
          </p:nvSpPr>
          <p:spPr bwMode="auto">
            <a:xfrm>
              <a:off x="5929313" y="2895625"/>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96" name="Group 95">
            <a:extLst>
              <a:ext uri="{FF2B5EF4-FFF2-40B4-BE49-F238E27FC236}">
                <a16:creationId xmlns:a16="http://schemas.microsoft.com/office/drawing/2014/main" id="{2A4CEB1E-92E8-4B60-B726-D10F83FD4AAB}"/>
              </a:ext>
            </a:extLst>
          </p:cNvPr>
          <p:cNvGrpSpPr/>
          <p:nvPr/>
        </p:nvGrpSpPr>
        <p:grpSpPr bwMode="auto">
          <a:xfrm>
            <a:off x="8350157" y="1763713"/>
            <a:ext cx="1860551" cy="1860550"/>
            <a:chOff x="6948488" y="1628800"/>
            <a:chExt cx="1860551" cy="1860550"/>
          </a:xfrm>
        </p:grpSpPr>
        <p:sp>
          <p:nvSpPr>
            <p:cNvPr id="97" name="Freeform 97">
              <a:extLst>
                <a:ext uri="{FF2B5EF4-FFF2-40B4-BE49-F238E27FC236}">
                  <a16:creationId xmlns:a16="http://schemas.microsoft.com/office/drawing/2014/main" id="{9C53A70E-72FA-4E2C-8EE4-1A58389570D2}"/>
                </a:ext>
              </a:extLst>
            </p:cNvPr>
            <p:cNvSpPr>
              <a:spLocks noChangeAspect="1"/>
            </p:cNvSpPr>
            <p:nvPr/>
          </p:nvSpPr>
          <p:spPr bwMode="auto">
            <a:xfrm>
              <a:off x="7878763" y="1628800"/>
              <a:ext cx="884238" cy="844550"/>
            </a:xfrm>
            <a:custGeom>
              <a:avLst/>
              <a:gdLst/>
              <a:ahLst/>
              <a:cxnLst>
                <a:cxn ang="0">
                  <a:pos x="323" y="1030"/>
                </a:cxn>
                <a:cxn ang="0">
                  <a:pos x="314" y="1005"/>
                </a:cxn>
                <a:cxn ang="0">
                  <a:pos x="303" y="981"/>
                </a:cxn>
                <a:cxn ang="0">
                  <a:pos x="290" y="958"/>
                </a:cxn>
                <a:cxn ang="0">
                  <a:pos x="275" y="936"/>
                </a:cxn>
                <a:cxn ang="0">
                  <a:pos x="259" y="915"/>
                </a:cxn>
                <a:cxn ang="0">
                  <a:pos x="241" y="896"/>
                </a:cxn>
                <a:cxn ang="0">
                  <a:pos x="222" y="878"/>
                </a:cxn>
                <a:cxn ang="0">
                  <a:pos x="202" y="861"/>
                </a:cxn>
                <a:cxn ang="0">
                  <a:pos x="191" y="854"/>
                </a:cxn>
                <a:cxn ang="0">
                  <a:pos x="169" y="840"/>
                </a:cxn>
                <a:cxn ang="0">
                  <a:pos x="145" y="828"/>
                </a:cxn>
                <a:cxn ang="0">
                  <a:pos x="121" y="817"/>
                </a:cxn>
                <a:cxn ang="0">
                  <a:pos x="95" y="809"/>
                </a:cxn>
                <a:cxn ang="0">
                  <a:pos x="69" y="802"/>
                </a:cxn>
                <a:cxn ang="0">
                  <a:pos x="42" y="798"/>
                </a:cxn>
                <a:cxn ang="0">
                  <a:pos x="14" y="795"/>
                </a:cxn>
                <a:cxn ang="0">
                  <a:pos x="0" y="0"/>
                </a:cxn>
                <a:cxn ang="0">
                  <a:pos x="56" y="2"/>
                </a:cxn>
                <a:cxn ang="0">
                  <a:pos x="111" y="6"/>
                </a:cxn>
                <a:cxn ang="0">
                  <a:pos x="166" y="13"/>
                </a:cxn>
                <a:cxn ang="0">
                  <a:pos x="221" y="22"/>
                </a:cxn>
                <a:cxn ang="0">
                  <a:pos x="275" y="34"/>
                </a:cxn>
                <a:cxn ang="0">
                  <a:pos x="329" y="49"/>
                </a:cxn>
                <a:cxn ang="0">
                  <a:pos x="382" y="67"/>
                </a:cxn>
                <a:cxn ang="0">
                  <a:pos x="408" y="76"/>
                </a:cxn>
                <a:cxn ang="0">
                  <a:pos x="459" y="98"/>
                </a:cxn>
                <a:cxn ang="0">
                  <a:pos x="510" y="121"/>
                </a:cxn>
                <a:cxn ang="0">
                  <a:pos x="559" y="147"/>
                </a:cxn>
                <a:cxn ang="0">
                  <a:pos x="608" y="176"/>
                </a:cxn>
                <a:cxn ang="0">
                  <a:pos x="654" y="207"/>
                </a:cxn>
                <a:cxn ang="0">
                  <a:pos x="699" y="240"/>
                </a:cxn>
                <a:cxn ang="0">
                  <a:pos x="742" y="275"/>
                </a:cxn>
                <a:cxn ang="0">
                  <a:pos x="773" y="303"/>
                </a:cxn>
                <a:cxn ang="0">
                  <a:pos x="803" y="332"/>
                </a:cxn>
                <a:cxn ang="0">
                  <a:pos x="826" y="356"/>
                </a:cxn>
                <a:cxn ang="0">
                  <a:pos x="849" y="381"/>
                </a:cxn>
                <a:cxn ang="0">
                  <a:pos x="870" y="406"/>
                </a:cxn>
                <a:cxn ang="0">
                  <a:pos x="891" y="432"/>
                </a:cxn>
                <a:cxn ang="0">
                  <a:pos x="912" y="459"/>
                </a:cxn>
                <a:cxn ang="0">
                  <a:pos x="950" y="514"/>
                </a:cxn>
                <a:cxn ang="0">
                  <a:pos x="985" y="571"/>
                </a:cxn>
                <a:cxn ang="0">
                  <a:pos x="1016" y="630"/>
                </a:cxn>
                <a:cxn ang="0">
                  <a:pos x="1038" y="676"/>
                </a:cxn>
                <a:cxn ang="0">
                  <a:pos x="1057" y="722"/>
                </a:cxn>
                <a:cxn ang="0">
                  <a:pos x="1079" y="785"/>
                </a:cxn>
              </a:cxnLst>
              <a:rect l="0" t="0" r="r" b="b"/>
              <a:pathLst>
                <a:path w="1079" h="1030">
                  <a:moveTo>
                    <a:pt x="1079" y="785"/>
                  </a:moveTo>
                  <a:lnTo>
                    <a:pt x="323" y="1030"/>
                  </a:lnTo>
                  <a:lnTo>
                    <a:pt x="319" y="1017"/>
                  </a:lnTo>
                  <a:lnTo>
                    <a:pt x="314" y="1005"/>
                  </a:lnTo>
                  <a:lnTo>
                    <a:pt x="309" y="993"/>
                  </a:lnTo>
                  <a:lnTo>
                    <a:pt x="303" y="981"/>
                  </a:lnTo>
                  <a:lnTo>
                    <a:pt x="297" y="969"/>
                  </a:lnTo>
                  <a:lnTo>
                    <a:pt x="290" y="958"/>
                  </a:lnTo>
                  <a:lnTo>
                    <a:pt x="283" y="947"/>
                  </a:lnTo>
                  <a:lnTo>
                    <a:pt x="275" y="936"/>
                  </a:lnTo>
                  <a:lnTo>
                    <a:pt x="268" y="925"/>
                  </a:lnTo>
                  <a:lnTo>
                    <a:pt x="259" y="915"/>
                  </a:lnTo>
                  <a:lnTo>
                    <a:pt x="251" y="905"/>
                  </a:lnTo>
                  <a:lnTo>
                    <a:pt x="241" y="896"/>
                  </a:lnTo>
                  <a:lnTo>
                    <a:pt x="232" y="887"/>
                  </a:lnTo>
                  <a:lnTo>
                    <a:pt x="222" y="878"/>
                  </a:lnTo>
                  <a:lnTo>
                    <a:pt x="212" y="869"/>
                  </a:lnTo>
                  <a:lnTo>
                    <a:pt x="202" y="861"/>
                  </a:lnTo>
                  <a:lnTo>
                    <a:pt x="196" y="858"/>
                  </a:lnTo>
                  <a:lnTo>
                    <a:pt x="191" y="854"/>
                  </a:lnTo>
                  <a:lnTo>
                    <a:pt x="180" y="847"/>
                  </a:lnTo>
                  <a:lnTo>
                    <a:pt x="169" y="840"/>
                  </a:lnTo>
                  <a:lnTo>
                    <a:pt x="157" y="833"/>
                  </a:lnTo>
                  <a:lnTo>
                    <a:pt x="145" y="828"/>
                  </a:lnTo>
                  <a:lnTo>
                    <a:pt x="133" y="822"/>
                  </a:lnTo>
                  <a:lnTo>
                    <a:pt x="121" y="817"/>
                  </a:lnTo>
                  <a:lnTo>
                    <a:pt x="108" y="813"/>
                  </a:lnTo>
                  <a:lnTo>
                    <a:pt x="95" y="809"/>
                  </a:lnTo>
                  <a:lnTo>
                    <a:pt x="82" y="805"/>
                  </a:lnTo>
                  <a:lnTo>
                    <a:pt x="69" y="802"/>
                  </a:lnTo>
                  <a:lnTo>
                    <a:pt x="55" y="800"/>
                  </a:lnTo>
                  <a:lnTo>
                    <a:pt x="42" y="798"/>
                  </a:lnTo>
                  <a:lnTo>
                    <a:pt x="28" y="796"/>
                  </a:lnTo>
                  <a:lnTo>
                    <a:pt x="14" y="795"/>
                  </a:lnTo>
                  <a:lnTo>
                    <a:pt x="0" y="795"/>
                  </a:lnTo>
                  <a:lnTo>
                    <a:pt x="0" y="0"/>
                  </a:lnTo>
                  <a:lnTo>
                    <a:pt x="28" y="1"/>
                  </a:lnTo>
                  <a:lnTo>
                    <a:pt x="56" y="2"/>
                  </a:lnTo>
                  <a:lnTo>
                    <a:pt x="83" y="3"/>
                  </a:lnTo>
                  <a:lnTo>
                    <a:pt x="111" y="6"/>
                  </a:lnTo>
                  <a:lnTo>
                    <a:pt x="139" y="9"/>
                  </a:lnTo>
                  <a:lnTo>
                    <a:pt x="166" y="13"/>
                  </a:lnTo>
                  <a:lnTo>
                    <a:pt x="194" y="17"/>
                  </a:lnTo>
                  <a:lnTo>
                    <a:pt x="221" y="22"/>
                  </a:lnTo>
                  <a:lnTo>
                    <a:pt x="248" y="28"/>
                  </a:lnTo>
                  <a:lnTo>
                    <a:pt x="275" y="34"/>
                  </a:lnTo>
                  <a:lnTo>
                    <a:pt x="302" y="42"/>
                  </a:lnTo>
                  <a:lnTo>
                    <a:pt x="329" y="49"/>
                  </a:lnTo>
                  <a:lnTo>
                    <a:pt x="356" y="58"/>
                  </a:lnTo>
                  <a:lnTo>
                    <a:pt x="382" y="67"/>
                  </a:lnTo>
                  <a:lnTo>
                    <a:pt x="395" y="71"/>
                  </a:lnTo>
                  <a:lnTo>
                    <a:pt x="408" y="76"/>
                  </a:lnTo>
                  <a:lnTo>
                    <a:pt x="434" y="87"/>
                  </a:lnTo>
                  <a:lnTo>
                    <a:pt x="459" y="98"/>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0" y="257"/>
                  </a:lnTo>
                  <a:lnTo>
                    <a:pt x="742" y="275"/>
                  </a:lnTo>
                  <a:lnTo>
                    <a:pt x="763" y="294"/>
                  </a:lnTo>
                  <a:lnTo>
                    <a:pt x="773" y="303"/>
                  </a:lnTo>
                  <a:lnTo>
                    <a:pt x="783" y="313"/>
                  </a:lnTo>
                  <a:lnTo>
                    <a:pt x="803" y="332"/>
                  </a:lnTo>
                  <a:lnTo>
                    <a:pt x="814" y="344"/>
                  </a:lnTo>
                  <a:lnTo>
                    <a:pt x="826" y="356"/>
                  </a:lnTo>
                  <a:lnTo>
                    <a:pt x="837" y="369"/>
                  </a:lnTo>
                  <a:lnTo>
                    <a:pt x="849" y="381"/>
                  </a:lnTo>
                  <a:lnTo>
                    <a:pt x="860" y="394"/>
                  </a:lnTo>
                  <a:lnTo>
                    <a:pt x="870" y="406"/>
                  </a:lnTo>
                  <a:lnTo>
                    <a:pt x="881" y="419"/>
                  </a:lnTo>
                  <a:lnTo>
                    <a:pt x="891" y="432"/>
                  </a:lnTo>
                  <a:lnTo>
                    <a:pt x="902" y="445"/>
                  </a:lnTo>
                  <a:lnTo>
                    <a:pt x="912" y="459"/>
                  </a:lnTo>
                  <a:lnTo>
                    <a:pt x="931" y="486"/>
                  </a:lnTo>
                  <a:lnTo>
                    <a:pt x="950" y="514"/>
                  </a:lnTo>
                  <a:lnTo>
                    <a:pt x="968" y="542"/>
                  </a:lnTo>
                  <a:lnTo>
                    <a:pt x="985" y="571"/>
                  </a:lnTo>
                  <a:lnTo>
                    <a:pt x="1001" y="601"/>
                  </a:lnTo>
                  <a:lnTo>
                    <a:pt x="1016" y="630"/>
                  </a:lnTo>
                  <a:lnTo>
                    <a:pt x="1031" y="660"/>
                  </a:lnTo>
                  <a:lnTo>
                    <a:pt x="1038" y="676"/>
                  </a:lnTo>
                  <a:lnTo>
                    <a:pt x="1044" y="691"/>
                  </a:lnTo>
                  <a:lnTo>
                    <a:pt x="1057" y="722"/>
                  </a:lnTo>
                  <a:lnTo>
                    <a:pt x="1069" y="753"/>
                  </a:lnTo>
                  <a:lnTo>
                    <a:pt x="1079" y="78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98" name="Freeform 98">
              <a:extLst>
                <a:ext uri="{FF2B5EF4-FFF2-40B4-BE49-F238E27FC236}">
                  <a16:creationId xmlns:a16="http://schemas.microsoft.com/office/drawing/2014/main" id="{05BBDC5A-0BD9-4D45-B7FC-342B9FEE1A4F}"/>
                </a:ext>
              </a:extLst>
            </p:cNvPr>
            <p:cNvSpPr>
              <a:spLocks noChangeAspect="1"/>
            </p:cNvSpPr>
            <p:nvPr/>
          </p:nvSpPr>
          <p:spPr bwMode="auto">
            <a:xfrm>
              <a:off x="8042276" y="2271738"/>
              <a:ext cx="766763" cy="1039813"/>
            </a:xfrm>
            <a:custGeom>
              <a:avLst/>
              <a:gdLst/>
              <a:ahLst/>
              <a:cxnLst>
                <a:cxn ang="0">
                  <a:pos x="879" y="0"/>
                </a:cxn>
                <a:cxn ang="0">
                  <a:pos x="895" y="53"/>
                </a:cxn>
                <a:cxn ang="0">
                  <a:pos x="909" y="107"/>
                </a:cxn>
                <a:cxn ang="0">
                  <a:pos x="919" y="162"/>
                </a:cxn>
                <a:cxn ang="0">
                  <a:pos x="927" y="217"/>
                </a:cxn>
                <a:cxn ang="0">
                  <a:pos x="932" y="272"/>
                </a:cxn>
                <a:cxn ang="0">
                  <a:pos x="935" y="328"/>
                </a:cxn>
                <a:cxn ang="0">
                  <a:pos x="934" y="383"/>
                </a:cxn>
                <a:cxn ang="0">
                  <a:pos x="931" y="439"/>
                </a:cxn>
                <a:cxn ang="0">
                  <a:pos x="926" y="494"/>
                </a:cxn>
                <a:cxn ang="0">
                  <a:pos x="917" y="549"/>
                </a:cxn>
                <a:cxn ang="0">
                  <a:pos x="912" y="577"/>
                </a:cxn>
                <a:cxn ang="0">
                  <a:pos x="900" y="631"/>
                </a:cxn>
                <a:cxn ang="0">
                  <a:pos x="885" y="684"/>
                </a:cxn>
                <a:cxn ang="0">
                  <a:pos x="867" y="737"/>
                </a:cxn>
                <a:cxn ang="0">
                  <a:pos x="847" y="789"/>
                </a:cxn>
                <a:cxn ang="0">
                  <a:pos x="824" y="840"/>
                </a:cxn>
                <a:cxn ang="0">
                  <a:pos x="796" y="894"/>
                </a:cxn>
                <a:cxn ang="0">
                  <a:pos x="779" y="924"/>
                </a:cxn>
                <a:cxn ang="0">
                  <a:pos x="744" y="981"/>
                </a:cxn>
                <a:cxn ang="0">
                  <a:pos x="705" y="1035"/>
                </a:cxn>
                <a:cxn ang="0">
                  <a:pos x="684" y="1062"/>
                </a:cxn>
                <a:cxn ang="0">
                  <a:pos x="641" y="1112"/>
                </a:cxn>
                <a:cxn ang="0">
                  <a:pos x="595" y="1160"/>
                </a:cxn>
                <a:cxn ang="0">
                  <a:pos x="546" y="1206"/>
                </a:cxn>
                <a:cxn ang="0">
                  <a:pos x="507" y="1238"/>
                </a:cxn>
                <a:cxn ang="0">
                  <a:pos x="467" y="1268"/>
                </a:cxn>
                <a:cxn ang="0">
                  <a:pos x="16" y="613"/>
                </a:cxn>
                <a:cxn ang="0">
                  <a:pos x="45" y="587"/>
                </a:cxn>
                <a:cxn ang="0">
                  <a:pos x="70" y="557"/>
                </a:cxn>
                <a:cxn ang="0">
                  <a:pos x="87" y="533"/>
                </a:cxn>
                <a:cxn ang="0">
                  <a:pos x="102" y="507"/>
                </a:cxn>
                <a:cxn ang="0">
                  <a:pos x="115" y="480"/>
                </a:cxn>
                <a:cxn ang="0">
                  <a:pos x="125" y="452"/>
                </a:cxn>
                <a:cxn ang="0">
                  <a:pos x="134" y="412"/>
                </a:cxn>
                <a:cxn ang="0">
                  <a:pos x="139" y="371"/>
                </a:cxn>
                <a:cxn ang="0">
                  <a:pos x="140" y="337"/>
                </a:cxn>
                <a:cxn ang="0">
                  <a:pos x="138" y="310"/>
                </a:cxn>
                <a:cxn ang="0">
                  <a:pos x="133" y="283"/>
                </a:cxn>
                <a:cxn ang="0">
                  <a:pos x="127" y="257"/>
                </a:cxn>
              </a:cxnLst>
              <a:rect l="0" t="0" r="r" b="b"/>
              <a:pathLst>
                <a:path w="935" h="1268">
                  <a:moveTo>
                    <a:pt x="123" y="245"/>
                  </a:moveTo>
                  <a:lnTo>
                    <a:pt x="879" y="0"/>
                  </a:lnTo>
                  <a:lnTo>
                    <a:pt x="888" y="26"/>
                  </a:lnTo>
                  <a:lnTo>
                    <a:pt x="895" y="53"/>
                  </a:lnTo>
                  <a:lnTo>
                    <a:pt x="902" y="80"/>
                  </a:lnTo>
                  <a:lnTo>
                    <a:pt x="909" y="107"/>
                  </a:lnTo>
                  <a:lnTo>
                    <a:pt x="914" y="134"/>
                  </a:lnTo>
                  <a:lnTo>
                    <a:pt x="919" y="162"/>
                  </a:lnTo>
                  <a:lnTo>
                    <a:pt x="923" y="189"/>
                  </a:lnTo>
                  <a:lnTo>
                    <a:pt x="927" y="217"/>
                  </a:lnTo>
                  <a:lnTo>
                    <a:pt x="930" y="244"/>
                  </a:lnTo>
                  <a:lnTo>
                    <a:pt x="932" y="272"/>
                  </a:lnTo>
                  <a:lnTo>
                    <a:pt x="934" y="300"/>
                  </a:lnTo>
                  <a:lnTo>
                    <a:pt x="935" y="328"/>
                  </a:lnTo>
                  <a:lnTo>
                    <a:pt x="935" y="356"/>
                  </a:lnTo>
                  <a:lnTo>
                    <a:pt x="934" y="383"/>
                  </a:lnTo>
                  <a:lnTo>
                    <a:pt x="933" y="411"/>
                  </a:lnTo>
                  <a:lnTo>
                    <a:pt x="931" y="439"/>
                  </a:lnTo>
                  <a:lnTo>
                    <a:pt x="929" y="467"/>
                  </a:lnTo>
                  <a:lnTo>
                    <a:pt x="926" y="494"/>
                  </a:lnTo>
                  <a:lnTo>
                    <a:pt x="922" y="522"/>
                  </a:lnTo>
                  <a:lnTo>
                    <a:pt x="917" y="549"/>
                  </a:lnTo>
                  <a:lnTo>
                    <a:pt x="915" y="563"/>
                  </a:lnTo>
                  <a:lnTo>
                    <a:pt x="912" y="577"/>
                  </a:lnTo>
                  <a:lnTo>
                    <a:pt x="906" y="604"/>
                  </a:lnTo>
                  <a:lnTo>
                    <a:pt x="900" y="631"/>
                  </a:lnTo>
                  <a:lnTo>
                    <a:pt x="893" y="658"/>
                  </a:lnTo>
                  <a:lnTo>
                    <a:pt x="885" y="684"/>
                  </a:lnTo>
                  <a:lnTo>
                    <a:pt x="876" y="711"/>
                  </a:lnTo>
                  <a:lnTo>
                    <a:pt x="867" y="737"/>
                  </a:lnTo>
                  <a:lnTo>
                    <a:pt x="857" y="763"/>
                  </a:lnTo>
                  <a:lnTo>
                    <a:pt x="847" y="789"/>
                  </a:lnTo>
                  <a:lnTo>
                    <a:pt x="836" y="815"/>
                  </a:lnTo>
                  <a:lnTo>
                    <a:pt x="824" y="840"/>
                  </a:lnTo>
                  <a:lnTo>
                    <a:pt x="811" y="865"/>
                  </a:lnTo>
                  <a:lnTo>
                    <a:pt x="796" y="894"/>
                  </a:lnTo>
                  <a:lnTo>
                    <a:pt x="788" y="909"/>
                  </a:lnTo>
                  <a:lnTo>
                    <a:pt x="779" y="924"/>
                  </a:lnTo>
                  <a:lnTo>
                    <a:pt x="762" y="953"/>
                  </a:lnTo>
                  <a:lnTo>
                    <a:pt x="744" y="981"/>
                  </a:lnTo>
                  <a:lnTo>
                    <a:pt x="725" y="1008"/>
                  </a:lnTo>
                  <a:lnTo>
                    <a:pt x="705" y="1035"/>
                  </a:lnTo>
                  <a:lnTo>
                    <a:pt x="695" y="1048"/>
                  </a:lnTo>
                  <a:lnTo>
                    <a:pt x="684" y="1062"/>
                  </a:lnTo>
                  <a:lnTo>
                    <a:pt x="663" y="1087"/>
                  </a:lnTo>
                  <a:lnTo>
                    <a:pt x="641" y="1112"/>
                  </a:lnTo>
                  <a:lnTo>
                    <a:pt x="618" y="1137"/>
                  </a:lnTo>
                  <a:lnTo>
                    <a:pt x="595" y="1160"/>
                  </a:lnTo>
                  <a:lnTo>
                    <a:pt x="571" y="1184"/>
                  </a:lnTo>
                  <a:lnTo>
                    <a:pt x="546" y="1206"/>
                  </a:lnTo>
                  <a:lnTo>
                    <a:pt x="520" y="1227"/>
                  </a:lnTo>
                  <a:lnTo>
                    <a:pt x="507" y="1238"/>
                  </a:lnTo>
                  <a:lnTo>
                    <a:pt x="494" y="1248"/>
                  </a:lnTo>
                  <a:lnTo>
                    <a:pt x="467" y="1268"/>
                  </a:lnTo>
                  <a:lnTo>
                    <a:pt x="0" y="625"/>
                  </a:lnTo>
                  <a:lnTo>
                    <a:pt x="16" y="613"/>
                  </a:lnTo>
                  <a:lnTo>
                    <a:pt x="30" y="600"/>
                  </a:lnTo>
                  <a:lnTo>
                    <a:pt x="45" y="587"/>
                  </a:lnTo>
                  <a:lnTo>
                    <a:pt x="58" y="572"/>
                  </a:lnTo>
                  <a:lnTo>
                    <a:pt x="70" y="557"/>
                  </a:lnTo>
                  <a:lnTo>
                    <a:pt x="82" y="541"/>
                  </a:lnTo>
                  <a:lnTo>
                    <a:pt x="87" y="533"/>
                  </a:lnTo>
                  <a:lnTo>
                    <a:pt x="92" y="524"/>
                  </a:lnTo>
                  <a:lnTo>
                    <a:pt x="102" y="507"/>
                  </a:lnTo>
                  <a:lnTo>
                    <a:pt x="111" y="489"/>
                  </a:lnTo>
                  <a:lnTo>
                    <a:pt x="115" y="480"/>
                  </a:lnTo>
                  <a:lnTo>
                    <a:pt x="118" y="471"/>
                  </a:lnTo>
                  <a:lnTo>
                    <a:pt x="125" y="452"/>
                  </a:lnTo>
                  <a:lnTo>
                    <a:pt x="130" y="432"/>
                  </a:lnTo>
                  <a:lnTo>
                    <a:pt x="134" y="412"/>
                  </a:lnTo>
                  <a:lnTo>
                    <a:pt x="138" y="392"/>
                  </a:lnTo>
                  <a:lnTo>
                    <a:pt x="139" y="371"/>
                  </a:lnTo>
                  <a:lnTo>
                    <a:pt x="140" y="350"/>
                  </a:lnTo>
                  <a:lnTo>
                    <a:pt x="140" y="337"/>
                  </a:lnTo>
                  <a:lnTo>
                    <a:pt x="139" y="323"/>
                  </a:lnTo>
                  <a:lnTo>
                    <a:pt x="138" y="310"/>
                  </a:lnTo>
                  <a:lnTo>
                    <a:pt x="136" y="296"/>
                  </a:lnTo>
                  <a:lnTo>
                    <a:pt x="133" y="283"/>
                  </a:lnTo>
                  <a:lnTo>
                    <a:pt x="131" y="270"/>
                  </a:lnTo>
                  <a:lnTo>
                    <a:pt x="127" y="257"/>
                  </a:lnTo>
                  <a:lnTo>
                    <a:pt x="123" y="24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99" name="Freeform 99">
              <a:extLst>
                <a:ext uri="{FF2B5EF4-FFF2-40B4-BE49-F238E27FC236}">
                  <a16:creationId xmlns:a16="http://schemas.microsoft.com/office/drawing/2014/main" id="{604A6CDF-7E84-4562-A475-E9984E17CE40}"/>
                </a:ext>
              </a:extLst>
            </p:cNvPr>
            <p:cNvSpPr>
              <a:spLocks noChangeAspect="1"/>
            </p:cNvSpPr>
            <p:nvPr/>
          </p:nvSpPr>
          <p:spPr bwMode="auto">
            <a:xfrm>
              <a:off x="7332663" y="2784500"/>
              <a:ext cx="1092200" cy="704850"/>
            </a:xfrm>
            <a:custGeom>
              <a:avLst/>
              <a:gdLst/>
              <a:ahLst/>
              <a:cxnLst>
                <a:cxn ang="0">
                  <a:pos x="1334" y="643"/>
                </a:cxn>
                <a:cxn ang="0">
                  <a:pos x="1289" y="675"/>
                </a:cxn>
                <a:cxn ang="0">
                  <a:pos x="1241" y="704"/>
                </a:cxn>
                <a:cxn ang="0">
                  <a:pos x="1192" y="731"/>
                </a:cxn>
                <a:cxn ang="0">
                  <a:pos x="1142" y="756"/>
                </a:cxn>
                <a:cxn ang="0">
                  <a:pos x="1091" y="778"/>
                </a:cxn>
                <a:cxn ang="0">
                  <a:pos x="1038" y="797"/>
                </a:cxn>
                <a:cxn ang="0">
                  <a:pos x="985" y="814"/>
                </a:cxn>
                <a:cxn ang="0">
                  <a:pos x="932" y="828"/>
                </a:cxn>
                <a:cxn ang="0">
                  <a:pos x="877" y="840"/>
                </a:cxn>
                <a:cxn ang="0">
                  <a:pos x="822" y="849"/>
                </a:cxn>
                <a:cxn ang="0">
                  <a:pos x="767" y="856"/>
                </a:cxn>
                <a:cxn ang="0">
                  <a:pos x="712" y="859"/>
                </a:cxn>
                <a:cxn ang="0">
                  <a:pos x="656" y="860"/>
                </a:cxn>
                <a:cxn ang="0">
                  <a:pos x="600" y="858"/>
                </a:cxn>
                <a:cxn ang="0">
                  <a:pos x="545" y="853"/>
                </a:cxn>
                <a:cxn ang="0">
                  <a:pos x="490" y="846"/>
                </a:cxn>
                <a:cxn ang="0">
                  <a:pos x="424" y="833"/>
                </a:cxn>
                <a:cxn ang="0">
                  <a:pos x="359" y="817"/>
                </a:cxn>
                <a:cxn ang="0">
                  <a:pos x="296" y="797"/>
                </a:cxn>
                <a:cxn ang="0">
                  <a:pos x="233" y="773"/>
                </a:cxn>
                <a:cxn ang="0">
                  <a:pos x="172" y="746"/>
                </a:cxn>
                <a:cxn ang="0">
                  <a:pos x="142" y="731"/>
                </a:cxn>
                <a:cxn ang="0">
                  <a:pos x="83" y="698"/>
                </a:cxn>
                <a:cxn ang="0">
                  <a:pos x="27" y="662"/>
                </a:cxn>
                <a:cxn ang="0">
                  <a:pos x="467" y="0"/>
                </a:cxn>
                <a:cxn ang="0">
                  <a:pos x="489" y="15"/>
                </a:cxn>
                <a:cxn ang="0">
                  <a:pos x="523" y="34"/>
                </a:cxn>
                <a:cxn ang="0">
                  <a:pos x="547" y="44"/>
                </a:cxn>
                <a:cxn ang="0">
                  <a:pos x="573" y="52"/>
                </a:cxn>
                <a:cxn ang="0">
                  <a:pos x="599" y="59"/>
                </a:cxn>
                <a:cxn ang="0">
                  <a:pos x="626" y="63"/>
                </a:cxn>
                <a:cxn ang="0">
                  <a:pos x="653" y="65"/>
                </a:cxn>
                <a:cxn ang="0">
                  <a:pos x="681" y="65"/>
                </a:cxn>
                <a:cxn ang="0">
                  <a:pos x="708" y="63"/>
                </a:cxn>
                <a:cxn ang="0">
                  <a:pos x="735" y="59"/>
                </a:cxn>
                <a:cxn ang="0">
                  <a:pos x="761" y="52"/>
                </a:cxn>
                <a:cxn ang="0">
                  <a:pos x="780" y="46"/>
                </a:cxn>
                <a:cxn ang="0">
                  <a:pos x="799" y="39"/>
                </a:cxn>
                <a:cxn ang="0">
                  <a:pos x="823" y="28"/>
                </a:cxn>
                <a:cxn ang="0">
                  <a:pos x="845" y="15"/>
                </a:cxn>
                <a:cxn ang="0">
                  <a:pos x="867" y="0"/>
                </a:cxn>
              </a:cxnLst>
              <a:rect l="0" t="0" r="r" b="b"/>
              <a:pathLst>
                <a:path w="1334" h="860">
                  <a:moveTo>
                    <a:pt x="867" y="0"/>
                  </a:moveTo>
                  <a:lnTo>
                    <a:pt x="1334" y="643"/>
                  </a:lnTo>
                  <a:lnTo>
                    <a:pt x="1312" y="659"/>
                  </a:lnTo>
                  <a:lnTo>
                    <a:pt x="1289" y="675"/>
                  </a:lnTo>
                  <a:lnTo>
                    <a:pt x="1265" y="690"/>
                  </a:lnTo>
                  <a:lnTo>
                    <a:pt x="1241" y="704"/>
                  </a:lnTo>
                  <a:lnTo>
                    <a:pt x="1216" y="718"/>
                  </a:lnTo>
                  <a:lnTo>
                    <a:pt x="1192" y="731"/>
                  </a:lnTo>
                  <a:lnTo>
                    <a:pt x="1167" y="744"/>
                  </a:lnTo>
                  <a:lnTo>
                    <a:pt x="1142" y="756"/>
                  </a:lnTo>
                  <a:lnTo>
                    <a:pt x="1116" y="767"/>
                  </a:lnTo>
                  <a:lnTo>
                    <a:pt x="1091" y="778"/>
                  </a:lnTo>
                  <a:lnTo>
                    <a:pt x="1065" y="788"/>
                  </a:lnTo>
                  <a:lnTo>
                    <a:pt x="1038" y="797"/>
                  </a:lnTo>
                  <a:lnTo>
                    <a:pt x="1012" y="806"/>
                  </a:lnTo>
                  <a:lnTo>
                    <a:pt x="985" y="814"/>
                  </a:lnTo>
                  <a:lnTo>
                    <a:pt x="959" y="821"/>
                  </a:lnTo>
                  <a:lnTo>
                    <a:pt x="932" y="828"/>
                  </a:lnTo>
                  <a:lnTo>
                    <a:pt x="905" y="835"/>
                  </a:lnTo>
                  <a:lnTo>
                    <a:pt x="877" y="840"/>
                  </a:lnTo>
                  <a:lnTo>
                    <a:pt x="850" y="845"/>
                  </a:lnTo>
                  <a:lnTo>
                    <a:pt x="822" y="849"/>
                  </a:lnTo>
                  <a:lnTo>
                    <a:pt x="795" y="853"/>
                  </a:lnTo>
                  <a:lnTo>
                    <a:pt x="767" y="856"/>
                  </a:lnTo>
                  <a:lnTo>
                    <a:pt x="739" y="858"/>
                  </a:lnTo>
                  <a:lnTo>
                    <a:pt x="712" y="859"/>
                  </a:lnTo>
                  <a:lnTo>
                    <a:pt x="684" y="860"/>
                  </a:lnTo>
                  <a:lnTo>
                    <a:pt x="656" y="860"/>
                  </a:lnTo>
                  <a:lnTo>
                    <a:pt x="628" y="859"/>
                  </a:lnTo>
                  <a:lnTo>
                    <a:pt x="600" y="858"/>
                  </a:lnTo>
                  <a:lnTo>
                    <a:pt x="573" y="856"/>
                  </a:lnTo>
                  <a:lnTo>
                    <a:pt x="545" y="853"/>
                  </a:lnTo>
                  <a:lnTo>
                    <a:pt x="517" y="850"/>
                  </a:lnTo>
                  <a:lnTo>
                    <a:pt x="490" y="846"/>
                  </a:lnTo>
                  <a:lnTo>
                    <a:pt x="457" y="840"/>
                  </a:lnTo>
                  <a:lnTo>
                    <a:pt x="424" y="833"/>
                  </a:lnTo>
                  <a:lnTo>
                    <a:pt x="391" y="826"/>
                  </a:lnTo>
                  <a:lnTo>
                    <a:pt x="359" y="817"/>
                  </a:lnTo>
                  <a:lnTo>
                    <a:pt x="327" y="808"/>
                  </a:lnTo>
                  <a:lnTo>
                    <a:pt x="296" y="797"/>
                  </a:lnTo>
                  <a:lnTo>
                    <a:pt x="264" y="786"/>
                  </a:lnTo>
                  <a:lnTo>
                    <a:pt x="233" y="773"/>
                  </a:lnTo>
                  <a:lnTo>
                    <a:pt x="202" y="760"/>
                  </a:lnTo>
                  <a:lnTo>
                    <a:pt x="172" y="746"/>
                  </a:lnTo>
                  <a:lnTo>
                    <a:pt x="157" y="739"/>
                  </a:lnTo>
                  <a:lnTo>
                    <a:pt x="142" y="731"/>
                  </a:lnTo>
                  <a:lnTo>
                    <a:pt x="113" y="715"/>
                  </a:lnTo>
                  <a:lnTo>
                    <a:pt x="83" y="698"/>
                  </a:lnTo>
                  <a:lnTo>
                    <a:pt x="55" y="681"/>
                  </a:lnTo>
                  <a:lnTo>
                    <a:pt x="27" y="662"/>
                  </a:lnTo>
                  <a:lnTo>
                    <a:pt x="0" y="643"/>
                  </a:lnTo>
                  <a:lnTo>
                    <a:pt x="467" y="0"/>
                  </a:lnTo>
                  <a:lnTo>
                    <a:pt x="478" y="8"/>
                  </a:lnTo>
                  <a:lnTo>
                    <a:pt x="489" y="15"/>
                  </a:lnTo>
                  <a:lnTo>
                    <a:pt x="511" y="28"/>
                  </a:lnTo>
                  <a:lnTo>
                    <a:pt x="523" y="34"/>
                  </a:lnTo>
                  <a:lnTo>
                    <a:pt x="535" y="39"/>
                  </a:lnTo>
                  <a:lnTo>
                    <a:pt x="547" y="44"/>
                  </a:lnTo>
                  <a:lnTo>
                    <a:pt x="560" y="48"/>
                  </a:lnTo>
                  <a:lnTo>
                    <a:pt x="573" y="52"/>
                  </a:lnTo>
                  <a:lnTo>
                    <a:pt x="586" y="56"/>
                  </a:lnTo>
                  <a:lnTo>
                    <a:pt x="599" y="59"/>
                  </a:lnTo>
                  <a:lnTo>
                    <a:pt x="612" y="61"/>
                  </a:lnTo>
                  <a:lnTo>
                    <a:pt x="626" y="63"/>
                  </a:lnTo>
                  <a:lnTo>
                    <a:pt x="639" y="64"/>
                  </a:lnTo>
                  <a:lnTo>
                    <a:pt x="653" y="65"/>
                  </a:lnTo>
                  <a:lnTo>
                    <a:pt x="667" y="65"/>
                  </a:lnTo>
                  <a:lnTo>
                    <a:pt x="681" y="65"/>
                  </a:lnTo>
                  <a:lnTo>
                    <a:pt x="695" y="64"/>
                  </a:lnTo>
                  <a:lnTo>
                    <a:pt x="708" y="63"/>
                  </a:lnTo>
                  <a:lnTo>
                    <a:pt x="722" y="61"/>
                  </a:lnTo>
                  <a:lnTo>
                    <a:pt x="735" y="59"/>
                  </a:lnTo>
                  <a:lnTo>
                    <a:pt x="748" y="56"/>
                  </a:lnTo>
                  <a:lnTo>
                    <a:pt x="761" y="52"/>
                  </a:lnTo>
                  <a:lnTo>
                    <a:pt x="774" y="48"/>
                  </a:lnTo>
                  <a:lnTo>
                    <a:pt x="780" y="46"/>
                  </a:lnTo>
                  <a:lnTo>
                    <a:pt x="787" y="44"/>
                  </a:lnTo>
                  <a:lnTo>
                    <a:pt x="799" y="39"/>
                  </a:lnTo>
                  <a:lnTo>
                    <a:pt x="811" y="34"/>
                  </a:lnTo>
                  <a:lnTo>
                    <a:pt x="823" y="28"/>
                  </a:lnTo>
                  <a:lnTo>
                    <a:pt x="834" y="22"/>
                  </a:lnTo>
                  <a:lnTo>
                    <a:pt x="845" y="15"/>
                  </a:lnTo>
                  <a:lnTo>
                    <a:pt x="856" y="8"/>
                  </a:lnTo>
                  <a:lnTo>
                    <a:pt x="867"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0" name="Freeform 100">
              <a:extLst>
                <a:ext uri="{FF2B5EF4-FFF2-40B4-BE49-F238E27FC236}">
                  <a16:creationId xmlns:a16="http://schemas.microsoft.com/office/drawing/2014/main" id="{686BF759-5C45-4380-8E11-431287D56572}"/>
                </a:ext>
              </a:extLst>
            </p:cNvPr>
            <p:cNvSpPr>
              <a:spLocks noChangeAspect="1"/>
            </p:cNvSpPr>
            <p:nvPr/>
          </p:nvSpPr>
          <p:spPr bwMode="auto">
            <a:xfrm>
              <a:off x="6948488" y="2271738"/>
              <a:ext cx="766763" cy="1039813"/>
            </a:xfrm>
            <a:custGeom>
              <a:avLst/>
              <a:gdLst/>
              <a:ahLst/>
              <a:cxnLst>
                <a:cxn ang="0">
                  <a:pos x="468" y="1268"/>
                </a:cxn>
                <a:cxn ang="0">
                  <a:pos x="423" y="1234"/>
                </a:cxn>
                <a:cxn ang="0">
                  <a:pos x="381" y="1198"/>
                </a:cxn>
                <a:cxn ang="0">
                  <a:pos x="340" y="1160"/>
                </a:cxn>
                <a:cxn ang="0">
                  <a:pos x="320" y="1141"/>
                </a:cxn>
                <a:cxn ang="0">
                  <a:pos x="283" y="1100"/>
                </a:cxn>
                <a:cxn ang="0">
                  <a:pos x="247" y="1057"/>
                </a:cxn>
                <a:cxn ang="0">
                  <a:pos x="213" y="1013"/>
                </a:cxn>
                <a:cxn ang="0">
                  <a:pos x="182" y="967"/>
                </a:cxn>
                <a:cxn ang="0">
                  <a:pos x="153" y="919"/>
                </a:cxn>
                <a:cxn ang="0">
                  <a:pos x="126" y="870"/>
                </a:cxn>
                <a:cxn ang="0">
                  <a:pos x="102" y="820"/>
                </a:cxn>
                <a:cxn ang="0">
                  <a:pos x="80" y="769"/>
                </a:cxn>
                <a:cxn ang="0">
                  <a:pos x="60" y="716"/>
                </a:cxn>
                <a:cxn ang="0">
                  <a:pos x="44" y="663"/>
                </a:cxn>
                <a:cxn ang="0">
                  <a:pos x="30" y="609"/>
                </a:cxn>
                <a:cxn ang="0">
                  <a:pos x="19" y="555"/>
                </a:cxn>
                <a:cxn ang="0">
                  <a:pos x="9" y="494"/>
                </a:cxn>
                <a:cxn ang="0">
                  <a:pos x="6" y="461"/>
                </a:cxn>
                <a:cxn ang="0">
                  <a:pos x="1" y="395"/>
                </a:cxn>
                <a:cxn ang="0">
                  <a:pos x="0" y="361"/>
                </a:cxn>
                <a:cxn ang="0">
                  <a:pos x="1" y="311"/>
                </a:cxn>
                <a:cxn ang="0">
                  <a:pos x="4" y="261"/>
                </a:cxn>
                <a:cxn ang="0">
                  <a:pos x="11" y="195"/>
                </a:cxn>
                <a:cxn ang="0">
                  <a:pos x="19" y="145"/>
                </a:cxn>
                <a:cxn ang="0">
                  <a:pos x="29" y="96"/>
                </a:cxn>
                <a:cxn ang="0">
                  <a:pos x="46" y="32"/>
                </a:cxn>
                <a:cxn ang="0">
                  <a:pos x="811" y="245"/>
                </a:cxn>
                <a:cxn ang="0">
                  <a:pos x="804" y="270"/>
                </a:cxn>
                <a:cxn ang="0">
                  <a:pos x="799" y="296"/>
                </a:cxn>
                <a:cxn ang="0">
                  <a:pos x="796" y="323"/>
                </a:cxn>
                <a:cxn ang="0">
                  <a:pos x="795" y="350"/>
                </a:cxn>
                <a:cxn ang="0">
                  <a:pos x="796" y="382"/>
                </a:cxn>
                <a:cxn ang="0">
                  <a:pos x="800" y="412"/>
                </a:cxn>
                <a:cxn ang="0">
                  <a:pos x="807" y="442"/>
                </a:cxn>
                <a:cxn ang="0">
                  <a:pos x="817" y="471"/>
                </a:cxn>
                <a:cxn ang="0">
                  <a:pos x="829" y="498"/>
                </a:cxn>
                <a:cxn ang="0">
                  <a:pos x="838" y="516"/>
                </a:cxn>
                <a:cxn ang="0">
                  <a:pos x="853" y="541"/>
                </a:cxn>
                <a:cxn ang="0">
                  <a:pos x="877" y="572"/>
                </a:cxn>
                <a:cxn ang="0">
                  <a:pos x="904" y="600"/>
                </a:cxn>
                <a:cxn ang="0">
                  <a:pos x="927" y="619"/>
                </a:cxn>
              </a:cxnLst>
              <a:rect l="0" t="0" r="r" b="b"/>
              <a:pathLst>
                <a:path w="935" h="1268">
                  <a:moveTo>
                    <a:pt x="935" y="625"/>
                  </a:moveTo>
                  <a:lnTo>
                    <a:pt x="468" y="1268"/>
                  </a:lnTo>
                  <a:lnTo>
                    <a:pt x="445" y="1252"/>
                  </a:lnTo>
                  <a:lnTo>
                    <a:pt x="423" y="1234"/>
                  </a:lnTo>
                  <a:lnTo>
                    <a:pt x="402" y="1217"/>
                  </a:lnTo>
                  <a:lnTo>
                    <a:pt x="381" y="1198"/>
                  </a:lnTo>
                  <a:lnTo>
                    <a:pt x="360" y="1180"/>
                  </a:lnTo>
                  <a:lnTo>
                    <a:pt x="340" y="1160"/>
                  </a:lnTo>
                  <a:lnTo>
                    <a:pt x="330" y="1151"/>
                  </a:lnTo>
                  <a:lnTo>
                    <a:pt x="320" y="1141"/>
                  </a:lnTo>
                  <a:lnTo>
                    <a:pt x="301" y="1121"/>
                  </a:lnTo>
                  <a:lnTo>
                    <a:pt x="283" y="1100"/>
                  </a:lnTo>
                  <a:lnTo>
                    <a:pt x="265" y="1079"/>
                  </a:lnTo>
                  <a:lnTo>
                    <a:pt x="247" y="1057"/>
                  </a:lnTo>
                  <a:lnTo>
                    <a:pt x="230" y="1035"/>
                  </a:lnTo>
                  <a:lnTo>
                    <a:pt x="213" y="1013"/>
                  </a:lnTo>
                  <a:lnTo>
                    <a:pt x="197" y="990"/>
                  </a:lnTo>
                  <a:lnTo>
                    <a:pt x="182" y="967"/>
                  </a:lnTo>
                  <a:lnTo>
                    <a:pt x="167" y="943"/>
                  </a:lnTo>
                  <a:lnTo>
                    <a:pt x="153" y="919"/>
                  </a:lnTo>
                  <a:lnTo>
                    <a:pt x="139" y="894"/>
                  </a:lnTo>
                  <a:lnTo>
                    <a:pt x="126" y="870"/>
                  </a:lnTo>
                  <a:lnTo>
                    <a:pt x="114" y="845"/>
                  </a:lnTo>
                  <a:lnTo>
                    <a:pt x="102" y="820"/>
                  </a:lnTo>
                  <a:lnTo>
                    <a:pt x="90" y="794"/>
                  </a:lnTo>
                  <a:lnTo>
                    <a:pt x="80" y="769"/>
                  </a:lnTo>
                  <a:lnTo>
                    <a:pt x="70" y="743"/>
                  </a:lnTo>
                  <a:lnTo>
                    <a:pt x="60" y="716"/>
                  </a:lnTo>
                  <a:lnTo>
                    <a:pt x="52" y="690"/>
                  </a:lnTo>
                  <a:lnTo>
                    <a:pt x="44" y="663"/>
                  </a:lnTo>
                  <a:lnTo>
                    <a:pt x="36" y="637"/>
                  </a:lnTo>
                  <a:lnTo>
                    <a:pt x="30" y="609"/>
                  </a:lnTo>
                  <a:lnTo>
                    <a:pt x="24" y="582"/>
                  </a:lnTo>
                  <a:lnTo>
                    <a:pt x="19" y="555"/>
                  </a:lnTo>
                  <a:lnTo>
                    <a:pt x="14" y="527"/>
                  </a:lnTo>
                  <a:lnTo>
                    <a:pt x="9" y="494"/>
                  </a:lnTo>
                  <a:lnTo>
                    <a:pt x="7" y="478"/>
                  </a:lnTo>
                  <a:lnTo>
                    <a:pt x="6" y="461"/>
                  </a:lnTo>
                  <a:lnTo>
                    <a:pt x="3" y="428"/>
                  </a:lnTo>
                  <a:lnTo>
                    <a:pt x="1" y="395"/>
                  </a:lnTo>
                  <a:lnTo>
                    <a:pt x="0" y="378"/>
                  </a:lnTo>
                  <a:lnTo>
                    <a:pt x="0" y="361"/>
                  </a:lnTo>
                  <a:lnTo>
                    <a:pt x="0" y="328"/>
                  </a:lnTo>
                  <a:lnTo>
                    <a:pt x="1" y="311"/>
                  </a:lnTo>
                  <a:lnTo>
                    <a:pt x="1" y="294"/>
                  </a:lnTo>
                  <a:lnTo>
                    <a:pt x="4" y="261"/>
                  </a:lnTo>
                  <a:lnTo>
                    <a:pt x="7" y="228"/>
                  </a:lnTo>
                  <a:lnTo>
                    <a:pt x="11" y="195"/>
                  </a:lnTo>
                  <a:lnTo>
                    <a:pt x="16" y="162"/>
                  </a:lnTo>
                  <a:lnTo>
                    <a:pt x="19" y="145"/>
                  </a:lnTo>
                  <a:lnTo>
                    <a:pt x="22" y="129"/>
                  </a:lnTo>
                  <a:lnTo>
                    <a:pt x="29" y="96"/>
                  </a:lnTo>
                  <a:lnTo>
                    <a:pt x="37" y="64"/>
                  </a:lnTo>
                  <a:lnTo>
                    <a:pt x="46" y="32"/>
                  </a:lnTo>
                  <a:lnTo>
                    <a:pt x="56" y="0"/>
                  </a:lnTo>
                  <a:lnTo>
                    <a:pt x="811" y="245"/>
                  </a:lnTo>
                  <a:lnTo>
                    <a:pt x="808" y="257"/>
                  </a:lnTo>
                  <a:lnTo>
                    <a:pt x="804" y="270"/>
                  </a:lnTo>
                  <a:lnTo>
                    <a:pt x="801" y="283"/>
                  </a:lnTo>
                  <a:lnTo>
                    <a:pt x="799" y="296"/>
                  </a:lnTo>
                  <a:lnTo>
                    <a:pt x="797" y="310"/>
                  </a:lnTo>
                  <a:lnTo>
                    <a:pt x="796" y="323"/>
                  </a:lnTo>
                  <a:lnTo>
                    <a:pt x="795" y="337"/>
                  </a:lnTo>
                  <a:lnTo>
                    <a:pt x="795" y="350"/>
                  </a:lnTo>
                  <a:lnTo>
                    <a:pt x="795" y="371"/>
                  </a:lnTo>
                  <a:lnTo>
                    <a:pt x="796" y="382"/>
                  </a:lnTo>
                  <a:lnTo>
                    <a:pt x="797" y="392"/>
                  </a:lnTo>
                  <a:lnTo>
                    <a:pt x="800" y="412"/>
                  </a:lnTo>
                  <a:lnTo>
                    <a:pt x="805" y="432"/>
                  </a:lnTo>
                  <a:lnTo>
                    <a:pt x="807" y="442"/>
                  </a:lnTo>
                  <a:lnTo>
                    <a:pt x="810" y="452"/>
                  </a:lnTo>
                  <a:lnTo>
                    <a:pt x="817" y="471"/>
                  </a:lnTo>
                  <a:lnTo>
                    <a:pt x="824" y="489"/>
                  </a:lnTo>
                  <a:lnTo>
                    <a:pt x="829" y="498"/>
                  </a:lnTo>
                  <a:lnTo>
                    <a:pt x="833" y="507"/>
                  </a:lnTo>
                  <a:lnTo>
                    <a:pt x="838" y="516"/>
                  </a:lnTo>
                  <a:lnTo>
                    <a:pt x="843" y="524"/>
                  </a:lnTo>
                  <a:lnTo>
                    <a:pt x="853" y="541"/>
                  </a:lnTo>
                  <a:lnTo>
                    <a:pt x="865" y="557"/>
                  </a:lnTo>
                  <a:lnTo>
                    <a:pt x="877" y="572"/>
                  </a:lnTo>
                  <a:lnTo>
                    <a:pt x="890" y="587"/>
                  </a:lnTo>
                  <a:lnTo>
                    <a:pt x="904" y="600"/>
                  </a:lnTo>
                  <a:lnTo>
                    <a:pt x="919" y="613"/>
                  </a:lnTo>
                  <a:lnTo>
                    <a:pt x="927" y="619"/>
                  </a:lnTo>
                  <a:lnTo>
                    <a:pt x="935" y="62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1" name="Freeform 101">
              <a:extLst>
                <a:ext uri="{FF2B5EF4-FFF2-40B4-BE49-F238E27FC236}">
                  <a16:creationId xmlns:a16="http://schemas.microsoft.com/office/drawing/2014/main" id="{B5CF3F40-F642-4042-842F-1F7F022E45DC}"/>
                </a:ext>
              </a:extLst>
            </p:cNvPr>
            <p:cNvSpPr>
              <a:spLocks noChangeAspect="1"/>
            </p:cNvSpPr>
            <p:nvPr/>
          </p:nvSpPr>
          <p:spPr bwMode="auto">
            <a:xfrm>
              <a:off x="6994526" y="1628800"/>
              <a:ext cx="884238" cy="844550"/>
            </a:xfrm>
            <a:custGeom>
              <a:avLst/>
              <a:gdLst/>
              <a:ahLst/>
              <a:cxnLst>
                <a:cxn ang="0">
                  <a:pos x="0" y="785"/>
                </a:cxn>
                <a:cxn ang="0">
                  <a:pos x="18" y="732"/>
                </a:cxn>
                <a:cxn ang="0">
                  <a:pos x="39" y="681"/>
                </a:cxn>
                <a:cxn ang="0">
                  <a:pos x="63" y="630"/>
                </a:cxn>
                <a:cxn ang="0">
                  <a:pos x="89" y="581"/>
                </a:cxn>
                <a:cxn ang="0">
                  <a:pos x="117" y="532"/>
                </a:cxn>
                <a:cxn ang="0">
                  <a:pos x="140" y="497"/>
                </a:cxn>
                <a:cxn ang="0">
                  <a:pos x="164" y="463"/>
                </a:cxn>
                <a:cxn ang="0">
                  <a:pos x="198" y="419"/>
                </a:cxn>
                <a:cxn ang="0">
                  <a:pos x="234" y="377"/>
                </a:cxn>
                <a:cxn ang="0">
                  <a:pos x="272" y="336"/>
                </a:cxn>
                <a:cxn ang="0">
                  <a:pos x="312" y="298"/>
                </a:cxn>
                <a:cxn ang="0">
                  <a:pos x="354" y="261"/>
                </a:cxn>
                <a:cxn ang="0">
                  <a:pos x="398" y="227"/>
                </a:cxn>
                <a:cxn ang="0">
                  <a:pos x="443" y="194"/>
                </a:cxn>
                <a:cxn ang="0">
                  <a:pos x="490" y="164"/>
                </a:cxn>
                <a:cxn ang="0">
                  <a:pos x="540" y="137"/>
                </a:cxn>
                <a:cxn ang="0">
                  <a:pos x="594" y="109"/>
                </a:cxn>
                <a:cxn ang="0">
                  <a:pos x="656" y="82"/>
                </a:cxn>
                <a:cxn ang="0">
                  <a:pos x="687" y="70"/>
                </a:cxn>
                <a:cxn ang="0">
                  <a:pos x="750" y="49"/>
                </a:cxn>
                <a:cxn ang="0">
                  <a:pos x="814" y="32"/>
                </a:cxn>
                <a:cxn ang="0">
                  <a:pos x="863" y="21"/>
                </a:cxn>
                <a:cxn ang="0">
                  <a:pos x="913" y="13"/>
                </a:cxn>
                <a:cxn ang="0">
                  <a:pos x="979" y="5"/>
                </a:cxn>
                <a:cxn ang="0">
                  <a:pos x="1046" y="1"/>
                </a:cxn>
                <a:cxn ang="0">
                  <a:pos x="1079" y="795"/>
                </a:cxn>
                <a:cxn ang="0">
                  <a:pos x="1051" y="796"/>
                </a:cxn>
                <a:cxn ang="0">
                  <a:pos x="1024" y="800"/>
                </a:cxn>
                <a:cxn ang="0">
                  <a:pos x="997" y="805"/>
                </a:cxn>
                <a:cxn ang="0">
                  <a:pos x="971" y="813"/>
                </a:cxn>
                <a:cxn ang="0">
                  <a:pos x="946" y="822"/>
                </a:cxn>
                <a:cxn ang="0">
                  <a:pos x="922" y="833"/>
                </a:cxn>
                <a:cxn ang="0">
                  <a:pos x="899" y="847"/>
                </a:cxn>
                <a:cxn ang="0">
                  <a:pos x="877" y="861"/>
                </a:cxn>
                <a:cxn ang="0">
                  <a:pos x="857" y="878"/>
                </a:cxn>
                <a:cxn ang="0">
                  <a:pos x="838" y="896"/>
                </a:cxn>
                <a:cxn ang="0">
                  <a:pos x="820" y="915"/>
                </a:cxn>
                <a:cxn ang="0">
                  <a:pos x="804" y="936"/>
                </a:cxn>
                <a:cxn ang="0">
                  <a:pos x="789" y="958"/>
                </a:cxn>
                <a:cxn ang="0">
                  <a:pos x="776" y="981"/>
                </a:cxn>
                <a:cxn ang="0">
                  <a:pos x="768" y="999"/>
                </a:cxn>
                <a:cxn ang="0">
                  <a:pos x="760" y="1017"/>
                </a:cxn>
              </a:cxnLst>
              <a:rect l="0" t="0" r="r" b="b"/>
              <a:pathLst>
                <a:path w="1079" h="1030">
                  <a:moveTo>
                    <a:pt x="756" y="1030"/>
                  </a:moveTo>
                  <a:lnTo>
                    <a:pt x="0" y="785"/>
                  </a:lnTo>
                  <a:lnTo>
                    <a:pt x="9" y="758"/>
                  </a:lnTo>
                  <a:lnTo>
                    <a:pt x="18" y="732"/>
                  </a:lnTo>
                  <a:lnTo>
                    <a:pt x="28" y="706"/>
                  </a:lnTo>
                  <a:lnTo>
                    <a:pt x="39" y="681"/>
                  </a:lnTo>
                  <a:lnTo>
                    <a:pt x="51" y="655"/>
                  </a:lnTo>
                  <a:lnTo>
                    <a:pt x="63" y="630"/>
                  </a:lnTo>
                  <a:lnTo>
                    <a:pt x="76" y="606"/>
                  </a:lnTo>
                  <a:lnTo>
                    <a:pt x="89" y="581"/>
                  </a:lnTo>
                  <a:lnTo>
                    <a:pt x="103" y="556"/>
                  </a:lnTo>
                  <a:lnTo>
                    <a:pt x="117" y="532"/>
                  </a:lnTo>
                  <a:lnTo>
                    <a:pt x="132" y="509"/>
                  </a:lnTo>
                  <a:lnTo>
                    <a:pt x="140" y="497"/>
                  </a:lnTo>
                  <a:lnTo>
                    <a:pt x="148" y="486"/>
                  </a:lnTo>
                  <a:lnTo>
                    <a:pt x="164" y="463"/>
                  </a:lnTo>
                  <a:lnTo>
                    <a:pt x="181" y="441"/>
                  </a:lnTo>
                  <a:lnTo>
                    <a:pt x="198" y="419"/>
                  </a:lnTo>
                  <a:lnTo>
                    <a:pt x="216" y="398"/>
                  </a:lnTo>
                  <a:lnTo>
                    <a:pt x="234" y="377"/>
                  </a:lnTo>
                  <a:lnTo>
                    <a:pt x="253" y="356"/>
                  </a:lnTo>
                  <a:lnTo>
                    <a:pt x="272" y="336"/>
                  </a:lnTo>
                  <a:lnTo>
                    <a:pt x="292" y="317"/>
                  </a:lnTo>
                  <a:lnTo>
                    <a:pt x="312" y="298"/>
                  </a:lnTo>
                  <a:lnTo>
                    <a:pt x="333" y="279"/>
                  </a:lnTo>
                  <a:lnTo>
                    <a:pt x="354" y="261"/>
                  </a:lnTo>
                  <a:lnTo>
                    <a:pt x="376" y="244"/>
                  </a:lnTo>
                  <a:lnTo>
                    <a:pt x="398" y="227"/>
                  </a:lnTo>
                  <a:lnTo>
                    <a:pt x="420" y="210"/>
                  </a:lnTo>
                  <a:lnTo>
                    <a:pt x="443" y="194"/>
                  </a:lnTo>
                  <a:lnTo>
                    <a:pt x="467" y="179"/>
                  </a:lnTo>
                  <a:lnTo>
                    <a:pt x="490" y="164"/>
                  </a:lnTo>
                  <a:lnTo>
                    <a:pt x="515" y="150"/>
                  </a:lnTo>
                  <a:lnTo>
                    <a:pt x="540" y="137"/>
                  </a:lnTo>
                  <a:lnTo>
                    <a:pt x="564" y="124"/>
                  </a:lnTo>
                  <a:lnTo>
                    <a:pt x="594" y="109"/>
                  </a:lnTo>
                  <a:lnTo>
                    <a:pt x="625" y="95"/>
                  </a:lnTo>
                  <a:lnTo>
                    <a:pt x="656" y="82"/>
                  </a:lnTo>
                  <a:lnTo>
                    <a:pt x="671" y="76"/>
                  </a:lnTo>
                  <a:lnTo>
                    <a:pt x="687" y="70"/>
                  </a:lnTo>
                  <a:lnTo>
                    <a:pt x="718" y="59"/>
                  </a:lnTo>
                  <a:lnTo>
                    <a:pt x="750" y="49"/>
                  </a:lnTo>
                  <a:lnTo>
                    <a:pt x="782" y="40"/>
                  </a:lnTo>
                  <a:lnTo>
                    <a:pt x="814" y="32"/>
                  </a:lnTo>
                  <a:lnTo>
                    <a:pt x="847" y="24"/>
                  </a:lnTo>
                  <a:lnTo>
                    <a:pt x="863" y="21"/>
                  </a:lnTo>
                  <a:lnTo>
                    <a:pt x="880" y="18"/>
                  </a:lnTo>
                  <a:lnTo>
                    <a:pt x="913" y="13"/>
                  </a:lnTo>
                  <a:lnTo>
                    <a:pt x="946" y="8"/>
                  </a:lnTo>
                  <a:lnTo>
                    <a:pt x="979" y="5"/>
                  </a:lnTo>
                  <a:lnTo>
                    <a:pt x="1012" y="2"/>
                  </a:lnTo>
                  <a:lnTo>
                    <a:pt x="1046" y="1"/>
                  </a:lnTo>
                  <a:lnTo>
                    <a:pt x="1079" y="0"/>
                  </a:lnTo>
                  <a:lnTo>
                    <a:pt x="1079" y="795"/>
                  </a:lnTo>
                  <a:lnTo>
                    <a:pt x="1065" y="795"/>
                  </a:lnTo>
                  <a:lnTo>
                    <a:pt x="1051" y="796"/>
                  </a:lnTo>
                  <a:lnTo>
                    <a:pt x="1037" y="798"/>
                  </a:lnTo>
                  <a:lnTo>
                    <a:pt x="1024" y="800"/>
                  </a:lnTo>
                  <a:lnTo>
                    <a:pt x="1010" y="802"/>
                  </a:lnTo>
                  <a:lnTo>
                    <a:pt x="997" y="805"/>
                  </a:lnTo>
                  <a:lnTo>
                    <a:pt x="984" y="809"/>
                  </a:lnTo>
                  <a:lnTo>
                    <a:pt x="971" y="813"/>
                  </a:lnTo>
                  <a:lnTo>
                    <a:pt x="958" y="817"/>
                  </a:lnTo>
                  <a:lnTo>
                    <a:pt x="946" y="822"/>
                  </a:lnTo>
                  <a:lnTo>
                    <a:pt x="934" y="828"/>
                  </a:lnTo>
                  <a:lnTo>
                    <a:pt x="922" y="833"/>
                  </a:lnTo>
                  <a:lnTo>
                    <a:pt x="910" y="840"/>
                  </a:lnTo>
                  <a:lnTo>
                    <a:pt x="899" y="847"/>
                  </a:lnTo>
                  <a:lnTo>
                    <a:pt x="888" y="854"/>
                  </a:lnTo>
                  <a:lnTo>
                    <a:pt x="877" y="861"/>
                  </a:lnTo>
                  <a:lnTo>
                    <a:pt x="867" y="869"/>
                  </a:lnTo>
                  <a:lnTo>
                    <a:pt x="857" y="878"/>
                  </a:lnTo>
                  <a:lnTo>
                    <a:pt x="847" y="887"/>
                  </a:lnTo>
                  <a:lnTo>
                    <a:pt x="838" y="896"/>
                  </a:lnTo>
                  <a:lnTo>
                    <a:pt x="829" y="905"/>
                  </a:lnTo>
                  <a:lnTo>
                    <a:pt x="820" y="915"/>
                  </a:lnTo>
                  <a:lnTo>
                    <a:pt x="812" y="925"/>
                  </a:lnTo>
                  <a:lnTo>
                    <a:pt x="804" y="936"/>
                  </a:lnTo>
                  <a:lnTo>
                    <a:pt x="796" y="947"/>
                  </a:lnTo>
                  <a:lnTo>
                    <a:pt x="789" y="958"/>
                  </a:lnTo>
                  <a:lnTo>
                    <a:pt x="782" y="969"/>
                  </a:lnTo>
                  <a:lnTo>
                    <a:pt x="776" y="981"/>
                  </a:lnTo>
                  <a:lnTo>
                    <a:pt x="770" y="993"/>
                  </a:lnTo>
                  <a:lnTo>
                    <a:pt x="768" y="999"/>
                  </a:lnTo>
                  <a:lnTo>
                    <a:pt x="765" y="1005"/>
                  </a:lnTo>
                  <a:lnTo>
                    <a:pt x="760" y="1017"/>
                  </a:lnTo>
                  <a:lnTo>
                    <a:pt x="756" y="103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2" name="Text Box 102">
              <a:extLst>
                <a:ext uri="{FF2B5EF4-FFF2-40B4-BE49-F238E27FC236}">
                  <a16:creationId xmlns:a16="http://schemas.microsoft.com/office/drawing/2014/main" id="{D5E48C2D-C178-43D3-9750-5F2DA7BA81CE}"/>
                </a:ext>
              </a:extLst>
            </p:cNvPr>
            <p:cNvSpPr txBox="1">
              <a:spLocks noChangeArrowheads="1"/>
            </p:cNvSpPr>
            <p:nvPr/>
          </p:nvSpPr>
          <p:spPr bwMode="auto">
            <a:xfrm>
              <a:off x="7231063" y="1924075"/>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03" name="Text Box 103">
              <a:extLst>
                <a:ext uri="{FF2B5EF4-FFF2-40B4-BE49-F238E27FC236}">
                  <a16:creationId xmlns:a16="http://schemas.microsoft.com/office/drawing/2014/main" id="{9478A9CB-2F73-4D50-B0DC-5BBC1B4428CB}"/>
                </a:ext>
              </a:extLst>
            </p:cNvPr>
            <p:cNvSpPr txBox="1">
              <a:spLocks noChangeArrowheads="1"/>
            </p:cNvSpPr>
            <p:nvPr/>
          </p:nvSpPr>
          <p:spPr bwMode="auto">
            <a:xfrm>
              <a:off x="7126288" y="266385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04" name="Text Box 104">
              <a:extLst>
                <a:ext uri="{FF2B5EF4-FFF2-40B4-BE49-F238E27FC236}">
                  <a16:creationId xmlns:a16="http://schemas.microsoft.com/office/drawing/2014/main" id="{256E000B-48D2-4D60-8BAD-72E71D40F272}"/>
                </a:ext>
              </a:extLst>
            </p:cNvPr>
            <p:cNvSpPr txBox="1">
              <a:spLocks noChangeArrowheads="1"/>
            </p:cNvSpPr>
            <p:nvPr/>
          </p:nvSpPr>
          <p:spPr bwMode="auto">
            <a:xfrm>
              <a:off x="8115301" y="1924075"/>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05" name="Text Box 105">
              <a:extLst>
                <a:ext uri="{FF2B5EF4-FFF2-40B4-BE49-F238E27FC236}">
                  <a16:creationId xmlns:a16="http://schemas.microsoft.com/office/drawing/2014/main" id="{D35ECBE3-561C-453E-9D11-C831E9584727}"/>
                </a:ext>
              </a:extLst>
            </p:cNvPr>
            <p:cNvSpPr txBox="1">
              <a:spLocks noChangeArrowheads="1"/>
            </p:cNvSpPr>
            <p:nvPr/>
          </p:nvSpPr>
          <p:spPr bwMode="auto">
            <a:xfrm>
              <a:off x="7672388" y="30083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06" name="Text Box 106">
              <a:extLst>
                <a:ext uri="{FF2B5EF4-FFF2-40B4-BE49-F238E27FC236}">
                  <a16:creationId xmlns:a16="http://schemas.microsoft.com/office/drawing/2014/main" id="{A4CACA13-1EC9-4FDB-8D19-8798EA06B7B1}"/>
                </a:ext>
              </a:extLst>
            </p:cNvPr>
            <p:cNvSpPr txBox="1">
              <a:spLocks noChangeArrowheads="1"/>
            </p:cNvSpPr>
            <p:nvPr/>
          </p:nvSpPr>
          <p:spPr bwMode="auto">
            <a:xfrm>
              <a:off x="8220076" y="266385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grpSp>
      <p:grpSp>
        <p:nvGrpSpPr>
          <p:cNvPr id="107" name="Group 106">
            <a:extLst>
              <a:ext uri="{FF2B5EF4-FFF2-40B4-BE49-F238E27FC236}">
                <a16:creationId xmlns:a16="http://schemas.microsoft.com/office/drawing/2014/main" id="{18CBCD45-2A01-4C2B-ABAA-ECA57FF3C13D}"/>
              </a:ext>
            </a:extLst>
          </p:cNvPr>
          <p:cNvGrpSpPr/>
          <p:nvPr/>
        </p:nvGrpSpPr>
        <p:grpSpPr bwMode="auto">
          <a:xfrm>
            <a:off x="3069227" y="4157663"/>
            <a:ext cx="1860550" cy="1860550"/>
            <a:chOff x="1428750" y="4022750"/>
            <a:chExt cx="1860550" cy="1860550"/>
          </a:xfrm>
        </p:grpSpPr>
        <p:sp>
          <p:nvSpPr>
            <p:cNvPr id="108" name="Freeform 108">
              <a:extLst>
                <a:ext uri="{FF2B5EF4-FFF2-40B4-BE49-F238E27FC236}">
                  <a16:creationId xmlns:a16="http://schemas.microsoft.com/office/drawing/2014/main" id="{7B46EB9E-ABB7-41B9-82CC-3BA79FD7EAC8}"/>
                </a:ext>
              </a:extLst>
            </p:cNvPr>
            <p:cNvSpPr>
              <a:spLocks noChangeAspect="1"/>
            </p:cNvSpPr>
            <p:nvPr/>
          </p:nvSpPr>
          <p:spPr bwMode="auto">
            <a:xfrm>
              <a:off x="2359025" y="4022750"/>
              <a:ext cx="806450" cy="790575"/>
            </a:xfrm>
            <a:custGeom>
              <a:avLst/>
              <a:gdLst/>
              <a:ahLst/>
              <a:cxnLst>
                <a:cxn ang="0">
                  <a:pos x="0" y="0"/>
                </a:cxn>
                <a:cxn ang="0">
                  <a:pos x="56" y="2"/>
                </a:cxn>
                <a:cxn ang="0">
                  <a:pos x="111" y="6"/>
                </a:cxn>
                <a:cxn ang="0">
                  <a:pos x="166" y="12"/>
                </a:cxn>
                <a:cxn ang="0">
                  <a:pos x="221" y="22"/>
                </a:cxn>
                <a:cxn ang="0">
                  <a:pos x="275" y="34"/>
                </a:cxn>
                <a:cxn ang="0">
                  <a:pos x="329" y="49"/>
                </a:cxn>
                <a:cxn ang="0">
                  <a:pos x="382" y="67"/>
                </a:cxn>
                <a:cxn ang="0">
                  <a:pos x="408" y="76"/>
                </a:cxn>
                <a:cxn ang="0">
                  <a:pos x="459" y="98"/>
                </a:cxn>
                <a:cxn ang="0">
                  <a:pos x="510" y="121"/>
                </a:cxn>
                <a:cxn ang="0">
                  <a:pos x="559" y="147"/>
                </a:cxn>
                <a:cxn ang="0">
                  <a:pos x="608" y="176"/>
                </a:cxn>
                <a:cxn ang="0">
                  <a:pos x="654" y="207"/>
                </a:cxn>
                <a:cxn ang="0">
                  <a:pos x="699" y="240"/>
                </a:cxn>
                <a:cxn ang="0">
                  <a:pos x="742" y="275"/>
                </a:cxn>
                <a:cxn ang="0">
                  <a:pos x="773" y="303"/>
                </a:cxn>
                <a:cxn ang="0">
                  <a:pos x="803" y="332"/>
                </a:cxn>
                <a:cxn ang="0">
                  <a:pos x="853" y="387"/>
                </a:cxn>
                <a:cxn ang="0">
                  <a:pos x="877" y="415"/>
                </a:cxn>
                <a:cxn ang="0">
                  <a:pos x="911" y="459"/>
                </a:cxn>
                <a:cxn ang="0">
                  <a:pos x="933" y="489"/>
                </a:cxn>
                <a:cxn ang="0">
                  <a:pos x="964" y="535"/>
                </a:cxn>
                <a:cxn ang="0">
                  <a:pos x="983" y="568"/>
                </a:cxn>
                <a:cxn ang="0">
                  <a:pos x="283" y="946"/>
                </a:cxn>
                <a:cxn ang="0">
                  <a:pos x="270" y="928"/>
                </a:cxn>
                <a:cxn ang="0">
                  <a:pos x="249" y="903"/>
                </a:cxn>
                <a:cxn ang="0">
                  <a:pos x="234" y="888"/>
                </a:cxn>
                <a:cxn ang="0">
                  <a:pos x="209" y="867"/>
                </a:cxn>
                <a:cxn ang="0">
                  <a:pos x="172" y="842"/>
                </a:cxn>
                <a:cxn ang="0">
                  <a:pos x="153" y="831"/>
                </a:cxn>
                <a:cxn ang="0">
                  <a:pos x="133" y="822"/>
                </a:cxn>
                <a:cxn ang="0">
                  <a:pos x="112" y="814"/>
                </a:cxn>
                <a:cxn ang="0">
                  <a:pos x="91" y="807"/>
                </a:cxn>
                <a:cxn ang="0">
                  <a:pos x="69" y="802"/>
                </a:cxn>
                <a:cxn ang="0">
                  <a:pos x="35" y="797"/>
                </a:cxn>
                <a:cxn ang="0">
                  <a:pos x="0" y="795"/>
                </a:cxn>
              </a:cxnLst>
              <a:rect l="0" t="0" r="r" b="b"/>
              <a:pathLst>
                <a:path w="983" h="965">
                  <a:moveTo>
                    <a:pt x="0" y="795"/>
                  </a:moveTo>
                  <a:lnTo>
                    <a:pt x="0" y="0"/>
                  </a:lnTo>
                  <a:lnTo>
                    <a:pt x="28" y="1"/>
                  </a:lnTo>
                  <a:lnTo>
                    <a:pt x="56" y="2"/>
                  </a:lnTo>
                  <a:lnTo>
                    <a:pt x="83" y="3"/>
                  </a:lnTo>
                  <a:lnTo>
                    <a:pt x="111" y="6"/>
                  </a:lnTo>
                  <a:lnTo>
                    <a:pt x="139" y="9"/>
                  </a:lnTo>
                  <a:lnTo>
                    <a:pt x="166" y="12"/>
                  </a:lnTo>
                  <a:lnTo>
                    <a:pt x="194" y="17"/>
                  </a:lnTo>
                  <a:lnTo>
                    <a:pt x="221" y="22"/>
                  </a:lnTo>
                  <a:lnTo>
                    <a:pt x="248" y="28"/>
                  </a:lnTo>
                  <a:lnTo>
                    <a:pt x="275" y="34"/>
                  </a:lnTo>
                  <a:lnTo>
                    <a:pt x="302" y="41"/>
                  </a:lnTo>
                  <a:lnTo>
                    <a:pt x="329" y="49"/>
                  </a:lnTo>
                  <a:lnTo>
                    <a:pt x="356" y="58"/>
                  </a:lnTo>
                  <a:lnTo>
                    <a:pt x="382" y="67"/>
                  </a:lnTo>
                  <a:lnTo>
                    <a:pt x="395" y="71"/>
                  </a:lnTo>
                  <a:lnTo>
                    <a:pt x="408" y="76"/>
                  </a:lnTo>
                  <a:lnTo>
                    <a:pt x="434" y="87"/>
                  </a:lnTo>
                  <a:lnTo>
                    <a:pt x="459" y="98"/>
                  </a:lnTo>
                  <a:lnTo>
                    <a:pt x="485" y="109"/>
                  </a:lnTo>
                  <a:lnTo>
                    <a:pt x="510" y="121"/>
                  </a:lnTo>
                  <a:lnTo>
                    <a:pt x="534" y="134"/>
                  </a:lnTo>
                  <a:lnTo>
                    <a:pt x="559" y="147"/>
                  </a:lnTo>
                  <a:lnTo>
                    <a:pt x="584" y="161"/>
                  </a:lnTo>
                  <a:lnTo>
                    <a:pt x="608" y="176"/>
                  </a:lnTo>
                  <a:lnTo>
                    <a:pt x="631" y="191"/>
                  </a:lnTo>
                  <a:lnTo>
                    <a:pt x="654" y="207"/>
                  </a:lnTo>
                  <a:lnTo>
                    <a:pt x="676" y="223"/>
                  </a:lnTo>
                  <a:lnTo>
                    <a:pt x="699" y="240"/>
                  </a:lnTo>
                  <a:lnTo>
                    <a:pt x="720" y="257"/>
                  </a:lnTo>
                  <a:lnTo>
                    <a:pt x="742" y="275"/>
                  </a:lnTo>
                  <a:lnTo>
                    <a:pt x="762" y="294"/>
                  </a:lnTo>
                  <a:lnTo>
                    <a:pt x="773" y="303"/>
                  </a:lnTo>
                  <a:lnTo>
                    <a:pt x="783" y="313"/>
                  </a:lnTo>
                  <a:lnTo>
                    <a:pt x="803" y="332"/>
                  </a:lnTo>
                  <a:lnTo>
                    <a:pt x="828" y="359"/>
                  </a:lnTo>
                  <a:lnTo>
                    <a:pt x="853" y="387"/>
                  </a:lnTo>
                  <a:lnTo>
                    <a:pt x="865" y="401"/>
                  </a:lnTo>
                  <a:lnTo>
                    <a:pt x="877" y="415"/>
                  </a:lnTo>
                  <a:lnTo>
                    <a:pt x="900" y="444"/>
                  </a:lnTo>
                  <a:lnTo>
                    <a:pt x="911" y="459"/>
                  </a:lnTo>
                  <a:lnTo>
                    <a:pt x="922" y="474"/>
                  </a:lnTo>
                  <a:lnTo>
                    <a:pt x="933" y="489"/>
                  </a:lnTo>
                  <a:lnTo>
                    <a:pt x="943" y="504"/>
                  </a:lnTo>
                  <a:lnTo>
                    <a:pt x="964" y="535"/>
                  </a:lnTo>
                  <a:lnTo>
                    <a:pt x="973" y="551"/>
                  </a:lnTo>
                  <a:lnTo>
                    <a:pt x="983" y="568"/>
                  </a:lnTo>
                  <a:lnTo>
                    <a:pt x="295" y="965"/>
                  </a:lnTo>
                  <a:lnTo>
                    <a:pt x="283" y="946"/>
                  </a:lnTo>
                  <a:lnTo>
                    <a:pt x="277" y="937"/>
                  </a:lnTo>
                  <a:lnTo>
                    <a:pt x="270" y="928"/>
                  </a:lnTo>
                  <a:lnTo>
                    <a:pt x="256" y="912"/>
                  </a:lnTo>
                  <a:lnTo>
                    <a:pt x="249" y="903"/>
                  </a:lnTo>
                  <a:lnTo>
                    <a:pt x="241" y="896"/>
                  </a:lnTo>
                  <a:lnTo>
                    <a:pt x="234" y="888"/>
                  </a:lnTo>
                  <a:lnTo>
                    <a:pt x="226" y="881"/>
                  </a:lnTo>
                  <a:lnTo>
                    <a:pt x="209" y="867"/>
                  </a:lnTo>
                  <a:lnTo>
                    <a:pt x="191" y="854"/>
                  </a:lnTo>
                  <a:lnTo>
                    <a:pt x="172" y="842"/>
                  </a:lnTo>
                  <a:lnTo>
                    <a:pt x="163" y="836"/>
                  </a:lnTo>
                  <a:lnTo>
                    <a:pt x="153" y="831"/>
                  </a:lnTo>
                  <a:lnTo>
                    <a:pt x="143" y="826"/>
                  </a:lnTo>
                  <a:lnTo>
                    <a:pt x="133" y="822"/>
                  </a:lnTo>
                  <a:lnTo>
                    <a:pt x="123" y="818"/>
                  </a:lnTo>
                  <a:lnTo>
                    <a:pt x="112" y="814"/>
                  </a:lnTo>
                  <a:lnTo>
                    <a:pt x="102" y="810"/>
                  </a:lnTo>
                  <a:lnTo>
                    <a:pt x="91" y="807"/>
                  </a:lnTo>
                  <a:lnTo>
                    <a:pt x="80" y="804"/>
                  </a:lnTo>
                  <a:lnTo>
                    <a:pt x="69" y="802"/>
                  </a:lnTo>
                  <a:lnTo>
                    <a:pt x="46" y="798"/>
                  </a:lnTo>
                  <a:lnTo>
                    <a:pt x="35" y="797"/>
                  </a:lnTo>
                  <a:lnTo>
                    <a:pt x="23" y="796"/>
                  </a:lnTo>
                  <a:lnTo>
                    <a:pt x="0" y="79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09" name="Freeform 109">
              <a:extLst>
                <a:ext uri="{FF2B5EF4-FFF2-40B4-BE49-F238E27FC236}">
                  <a16:creationId xmlns:a16="http://schemas.microsoft.com/office/drawing/2014/main" id="{0F686E32-3C64-4721-B69B-79AC392FF777}"/>
                </a:ext>
              </a:extLst>
            </p:cNvPr>
            <p:cNvSpPr>
              <a:spLocks noChangeAspect="1"/>
            </p:cNvSpPr>
            <p:nvPr/>
          </p:nvSpPr>
          <p:spPr bwMode="auto">
            <a:xfrm>
              <a:off x="2600325" y="4487888"/>
              <a:ext cx="688975" cy="930275"/>
            </a:xfrm>
            <a:custGeom>
              <a:avLst/>
              <a:gdLst/>
              <a:ahLst/>
              <a:cxnLst>
                <a:cxn ang="0">
                  <a:pos x="688" y="0"/>
                </a:cxn>
                <a:cxn ang="0">
                  <a:pos x="714" y="49"/>
                </a:cxn>
                <a:cxn ang="0">
                  <a:pos x="739" y="99"/>
                </a:cxn>
                <a:cxn ang="0">
                  <a:pos x="760" y="150"/>
                </a:cxn>
                <a:cxn ang="0">
                  <a:pos x="779" y="203"/>
                </a:cxn>
                <a:cxn ang="0">
                  <a:pos x="796" y="256"/>
                </a:cxn>
                <a:cxn ang="0">
                  <a:pos x="810" y="310"/>
                </a:cxn>
                <a:cxn ang="0">
                  <a:pos x="821" y="364"/>
                </a:cxn>
                <a:cxn ang="0">
                  <a:pos x="830" y="419"/>
                </a:cxn>
                <a:cxn ang="0">
                  <a:pos x="836" y="474"/>
                </a:cxn>
                <a:cxn ang="0">
                  <a:pos x="839" y="530"/>
                </a:cxn>
                <a:cxn ang="0">
                  <a:pos x="840" y="586"/>
                </a:cxn>
                <a:cxn ang="0">
                  <a:pos x="838" y="641"/>
                </a:cxn>
                <a:cxn ang="0">
                  <a:pos x="833" y="697"/>
                </a:cxn>
                <a:cxn ang="0">
                  <a:pos x="825" y="752"/>
                </a:cxn>
                <a:cxn ang="0">
                  <a:pos x="814" y="806"/>
                </a:cxn>
                <a:cxn ang="0">
                  <a:pos x="801" y="861"/>
                </a:cxn>
                <a:cxn ang="0">
                  <a:pos x="791" y="896"/>
                </a:cxn>
                <a:cxn ang="0">
                  <a:pos x="767" y="967"/>
                </a:cxn>
                <a:cxn ang="0">
                  <a:pos x="753" y="1001"/>
                </a:cxn>
                <a:cxn ang="0">
                  <a:pos x="723" y="1069"/>
                </a:cxn>
                <a:cxn ang="0">
                  <a:pos x="706" y="1102"/>
                </a:cxn>
                <a:cxn ang="0">
                  <a:pos x="697" y="1118"/>
                </a:cxn>
                <a:cxn ang="0">
                  <a:pos x="0" y="737"/>
                </a:cxn>
                <a:cxn ang="0">
                  <a:pos x="15" y="708"/>
                </a:cxn>
                <a:cxn ang="0">
                  <a:pos x="23" y="688"/>
                </a:cxn>
                <a:cxn ang="0">
                  <a:pos x="30" y="667"/>
                </a:cxn>
                <a:cxn ang="0">
                  <a:pos x="36" y="646"/>
                </a:cxn>
                <a:cxn ang="0">
                  <a:pos x="40" y="624"/>
                </a:cxn>
                <a:cxn ang="0">
                  <a:pos x="43" y="602"/>
                </a:cxn>
                <a:cxn ang="0">
                  <a:pos x="45" y="579"/>
                </a:cxn>
                <a:cxn ang="0">
                  <a:pos x="45" y="556"/>
                </a:cxn>
                <a:cxn ang="0">
                  <a:pos x="42" y="521"/>
                </a:cxn>
                <a:cxn ang="0">
                  <a:pos x="33" y="478"/>
                </a:cxn>
                <a:cxn ang="0">
                  <a:pos x="27" y="456"/>
                </a:cxn>
                <a:cxn ang="0">
                  <a:pos x="15" y="426"/>
                </a:cxn>
                <a:cxn ang="0">
                  <a:pos x="0" y="397"/>
                </a:cxn>
              </a:cxnLst>
              <a:rect l="0" t="0" r="r" b="b"/>
              <a:pathLst>
                <a:path w="840" h="1134">
                  <a:moveTo>
                    <a:pt x="0" y="397"/>
                  </a:moveTo>
                  <a:lnTo>
                    <a:pt x="688" y="0"/>
                  </a:lnTo>
                  <a:lnTo>
                    <a:pt x="701" y="24"/>
                  </a:lnTo>
                  <a:lnTo>
                    <a:pt x="714" y="49"/>
                  </a:lnTo>
                  <a:lnTo>
                    <a:pt x="727" y="74"/>
                  </a:lnTo>
                  <a:lnTo>
                    <a:pt x="739" y="99"/>
                  </a:lnTo>
                  <a:lnTo>
                    <a:pt x="750" y="125"/>
                  </a:lnTo>
                  <a:lnTo>
                    <a:pt x="760" y="150"/>
                  </a:lnTo>
                  <a:lnTo>
                    <a:pt x="770" y="176"/>
                  </a:lnTo>
                  <a:lnTo>
                    <a:pt x="779" y="203"/>
                  </a:lnTo>
                  <a:lnTo>
                    <a:pt x="788" y="229"/>
                  </a:lnTo>
                  <a:lnTo>
                    <a:pt x="796" y="256"/>
                  </a:lnTo>
                  <a:lnTo>
                    <a:pt x="803" y="283"/>
                  </a:lnTo>
                  <a:lnTo>
                    <a:pt x="810" y="310"/>
                  </a:lnTo>
                  <a:lnTo>
                    <a:pt x="816" y="337"/>
                  </a:lnTo>
                  <a:lnTo>
                    <a:pt x="821" y="364"/>
                  </a:lnTo>
                  <a:lnTo>
                    <a:pt x="826" y="392"/>
                  </a:lnTo>
                  <a:lnTo>
                    <a:pt x="830" y="419"/>
                  </a:lnTo>
                  <a:lnTo>
                    <a:pt x="833" y="447"/>
                  </a:lnTo>
                  <a:lnTo>
                    <a:pt x="836" y="474"/>
                  </a:lnTo>
                  <a:lnTo>
                    <a:pt x="838" y="502"/>
                  </a:lnTo>
                  <a:lnTo>
                    <a:pt x="839" y="530"/>
                  </a:lnTo>
                  <a:lnTo>
                    <a:pt x="840" y="558"/>
                  </a:lnTo>
                  <a:lnTo>
                    <a:pt x="840" y="586"/>
                  </a:lnTo>
                  <a:lnTo>
                    <a:pt x="839" y="613"/>
                  </a:lnTo>
                  <a:lnTo>
                    <a:pt x="838" y="641"/>
                  </a:lnTo>
                  <a:lnTo>
                    <a:pt x="835" y="669"/>
                  </a:lnTo>
                  <a:lnTo>
                    <a:pt x="833" y="697"/>
                  </a:lnTo>
                  <a:lnTo>
                    <a:pt x="829" y="724"/>
                  </a:lnTo>
                  <a:lnTo>
                    <a:pt x="825" y="752"/>
                  </a:lnTo>
                  <a:lnTo>
                    <a:pt x="820" y="779"/>
                  </a:lnTo>
                  <a:lnTo>
                    <a:pt x="814" y="806"/>
                  </a:lnTo>
                  <a:lnTo>
                    <a:pt x="808" y="834"/>
                  </a:lnTo>
                  <a:lnTo>
                    <a:pt x="801" y="861"/>
                  </a:lnTo>
                  <a:lnTo>
                    <a:pt x="796" y="878"/>
                  </a:lnTo>
                  <a:lnTo>
                    <a:pt x="791" y="896"/>
                  </a:lnTo>
                  <a:lnTo>
                    <a:pt x="779" y="932"/>
                  </a:lnTo>
                  <a:lnTo>
                    <a:pt x="767" y="967"/>
                  </a:lnTo>
                  <a:lnTo>
                    <a:pt x="760" y="984"/>
                  </a:lnTo>
                  <a:lnTo>
                    <a:pt x="753" y="1001"/>
                  </a:lnTo>
                  <a:lnTo>
                    <a:pt x="738" y="1035"/>
                  </a:lnTo>
                  <a:lnTo>
                    <a:pt x="723" y="1069"/>
                  </a:lnTo>
                  <a:lnTo>
                    <a:pt x="714" y="1085"/>
                  </a:lnTo>
                  <a:lnTo>
                    <a:pt x="706" y="1102"/>
                  </a:lnTo>
                  <a:lnTo>
                    <a:pt x="701" y="1110"/>
                  </a:lnTo>
                  <a:lnTo>
                    <a:pt x="697" y="1118"/>
                  </a:lnTo>
                  <a:lnTo>
                    <a:pt x="688" y="1134"/>
                  </a:lnTo>
                  <a:lnTo>
                    <a:pt x="0" y="737"/>
                  </a:lnTo>
                  <a:lnTo>
                    <a:pt x="10" y="718"/>
                  </a:lnTo>
                  <a:lnTo>
                    <a:pt x="15" y="708"/>
                  </a:lnTo>
                  <a:lnTo>
                    <a:pt x="19" y="698"/>
                  </a:lnTo>
                  <a:lnTo>
                    <a:pt x="23" y="688"/>
                  </a:lnTo>
                  <a:lnTo>
                    <a:pt x="27" y="678"/>
                  </a:lnTo>
                  <a:lnTo>
                    <a:pt x="30" y="667"/>
                  </a:lnTo>
                  <a:lnTo>
                    <a:pt x="33" y="657"/>
                  </a:lnTo>
                  <a:lnTo>
                    <a:pt x="36" y="646"/>
                  </a:lnTo>
                  <a:lnTo>
                    <a:pt x="38" y="635"/>
                  </a:lnTo>
                  <a:lnTo>
                    <a:pt x="40" y="624"/>
                  </a:lnTo>
                  <a:lnTo>
                    <a:pt x="42" y="613"/>
                  </a:lnTo>
                  <a:lnTo>
                    <a:pt x="43" y="602"/>
                  </a:lnTo>
                  <a:lnTo>
                    <a:pt x="44" y="590"/>
                  </a:lnTo>
                  <a:lnTo>
                    <a:pt x="45" y="579"/>
                  </a:lnTo>
                  <a:lnTo>
                    <a:pt x="45" y="567"/>
                  </a:lnTo>
                  <a:lnTo>
                    <a:pt x="45" y="556"/>
                  </a:lnTo>
                  <a:lnTo>
                    <a:pt x="44" y="544"/>
                  </a:lnTo>
                  <a:lnTo>
                    <a:pt x="42" y="521"/>
                  </a:lnTo>
                  <a:lnTo>
                    <a:pt x="38" y="499"/>
                  </a:lnTo>
                  <a:lnTo>
                    <a:pt x="33" y="478"/>
                  </a:lnTo>
                  <a:lnTo>
                    <a:pt x="30" y="467"/>
                  </a:lnTo>
                  <a:lnTo>
                    <a:pt x="27" y="456"/>
                  </a:lnTo>
                  <a:lnTo>
                    <a:pt x="19" y="436"/>
                  </a:lnTo>
                  <a:lnTo>
                    <a:pt x="15" y="426"/>
                  </a:lnTo>
                  <a:lnTo>
                    <a:pt x="10" y="416"/>
                  </a:lnTo>
                  <a:lnTo>
                    <a:pt x="0" y="39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0" name="Freeform 110">
              <a:extLst>
                <a:ext uri="{FF2B5EF4-FFF2-40B4-BE49-F238E27FC236}">
                  <a16:creationId xmlns:a16="http://schemas.microsoft.com/office/drawing/2014/main" id="{FCFF8A97-7092-426E-BD9B-77F2FBE45BA7}"/>
                </a:ext>
              </a:extLst>
            </p:cNvPr>
            <p:cNvSpPr>
              <a:spLocks noChangeAspect="1"/>
            </p:cNvSpPr>
            <p:nvPr/>
          </p:nvSpPr>
          <p:spPr bwMode="auto">
            <a:xfrm>
              <a:off x="2359025" y="5092725"/>
              <a:ext cx="806450" cy="790575"/>
            </a:xfrm>
            <a:custGeom>
              <a:avLst/>
              <a:gdLst/>
              <a:ahLst/>
              <a:cxnLst>
                <a:cxn ang="0">
                  <a:pos x="983" y="397"/>
                </a:cxn>
                <a:cxn ang="0">
                  <a:pos x="954" y="446"/>
                </a:cxn>
                <a:cxn ang="0">
                  <a:pos x="922" y="492"/>
                </a:cxn>
                <a:cxn ang="0">
                  <a:pos x="889" y="536"/>
                </a:cxn>
                <a:cxn ang="0">
                  <a:pos x="853" y="579"/>
                </a:cxn>
                <a:cxn ang="0">
                  <a:pos x="815" y="620"/>
                </a:cxn>
                <a:cxn ang="0">
                  <a:pos x="776" y="659"/>
                </a:cxn>
                <a:cxn ang="0">
                  <a:pos x="734" y="696"/>
                </a:cxn>
                <a:cxn ang="0">
                  <a:pos x="691" y="731"/>
                </a:cxn>
                <a:cxn ang="0">
                  <a:pos x="646" y="763"/>
                </a:cxn>
                <a:cxn ang="0">
                  <a:pos x="600" y="794"/>
                </a:cxn>
                <a:cxn ang="0">
                  <a:pos x="551" y="822"/>
                </a:cxn>
                <a:cxn ang="0">
                  <a:pos x="502" y="848"/>
                </a:cxn>
                <a:cxn ang="0">
                  <a:pos x="451" y="872"/>
                </a:cxn>
                <a:cxn ang="0">
                  <a:pos x="400" y="893"/>
                </a:cxn>
                <a:cxn ang="0">
                  <a:pos x="347" y="911"/>
                </a:cxn>
                <a:cxn ang="0">
                  <a:pos x="293" y="926"/>
                </a:cxn>
                <a:cxn ang="0">
                  <a:pos x="239" y="939"/>
                </a:cxn>
                <a:cxn ang="0">
                  <a:pos x="185" y="950"/>
                </a:cxn>
                <a:cxn ang="0">
                  <a:pos x="111" y="959"/>
                </a:cxn>
                <a:cxn ang="0">
                  <a:pos x="56" y="964"/>
                </a:cxn>
                <a:cxn ang="0">
                  <a:pos x="19" y="965"/>
                </a:cxn>
                <a:cxn ang="0">
                  <a:pos x="0" y="170"/>
                </a:cxn>
                <a:cxn ang="0">
                  <a:pos x="35" y="168"/>
                </a:cxn>
                <a:cxn ang="0">
                  <a:pos x="69" y="163"/>
                </a:cxn>
                <a:cxn ang="0">
                  <a:pos x="91" y="158"/>
                </a:cxn>
                <a:cxn ang="0">
                  <a:pos x="133" y="143"/>
                </a:cxn>
                <a:cxn ang="0">
                  <a:pos x="163" y="129"/>
                </a:cxn>
                <a:cxn ang="0">
                  <a:pos x="191" y="112"/>
                </a:cxn>
                <a:cxn ang="0">
                  <a:pos x="209" y="99"/>
                </a:cxn>
                <a:cxn ang="0">
                  <a:pos x="226" y="85"/>
                </a:cxn>
                <a:cxn ang="0">
                  <a:pos x="241" y="70"/>
                </a:cxn>
                <a:cxn ang="0">
                  <a:pos x="263" y="45"/>
                </a:cxn>
                <a:cxn ang="0">
                  <a:pos x="277" y="28"/>
                </a:cxn>
                <a:cxn ang="0">
                  <a:pos x="289" y="10"/>
                </a:cxn>
              </a:cxnLst>
              <a:rect l="0" t="0" r="r" b="b"/>
              <a:pathLst>
                <a:path w="983" h="965">
                  <a:moveTo>
                    <a:pt x="295" y="0"/>
                  </a:moveTo>
                  <a:lnTo>
                    <a:pt x="983" y="397"/>
                  </a:lnTo>
                  <a:lnTo>
                    <a:pt x="968" y="422"/>
                  </a:lnTo>
                  <a:lnTo>
                    <a:pt x="954" y="446"/>
                  </a:lnTo>
                  <a:lnTo>
                    <a:pt x="938" y="469"/>
                  </a:lnTo>
                  <a:lnTo>
                    <a:pt x="922" y="492"/>
                  </a:lnTo>
                  <a:lnTo>
                    <a:pt x="906" y="514"/>
                  </a:lnTo>
                  <a:lnTo>
                    <a:pt x="889" y="536"/>
                  </a:lnTo>
                  <a:lnTo>
                    <a:pt x="871" y="558"/>
                  </a:lnTo>
                  <a:lnTo>
                    <a:pt x="853" y="579"/>
                  </a:lnTo>
                  <a:lnTo>
                    <a:pt x="835" y="599"/>
                  </a:lnTo>
                  <a:lnTo>
                    <a:pt x="815" y="620"/>
                  </a:lnTo>
                  <a:lnTo>
                    <a:pt x="796" y="639"/>
                  </a:lnTo>
                  <a:lnTo>
                    <a:pt x="776" y="659"/>
                  </a:lnTo>
                  <a:lnTo>
                    <a:pt x="755" y="677"/>
                  </a:lnTo>
                  <a:lnTo>
                    <a:pt x="734" y="696"/>
                  </a:lnTo>
                  <a:lnTo>
                    <a:pt x="713" y="713"/>
                  </a:lnTo>
                  <a:lnTo>
                    <a:pt x="691" y="731"/>
                  </a:lnTo>
                  <a:lnTo>
                    <a:pt x="669" y="747"/>
                  </a:lnTo>
                  <a:lnTo>
                    <a:pt x="646" y="763"/>
                  </a:lnTo>
                  <a:lnTo>
                    <a:pt x="623" y="779"/>
                  </a:lnTo>
                  <a:lnTo>
                    <a:pt x="600" y="794"/>
                  </a:lnTo>
                  <a:lnTo>
                    <a:pt x="576" y="809"/>
                  </a:lnTo>
                  <a:lnTo>
                    <a:pt x="551" y="822"/>
                  </a:lnTo>
                  <a:lnTo>
                    <a:pt x="526" y="836"/>
                  </a:lnTo>
                  <a:lnTo>
                    <a:pt x="502" y="848"/>
                  </a:lnTo>
                  <a:lnTo>
                    <a:pt x="477" y="860"/>
                  </a:lnTo>
                  <a:lnTo>
                    <a:pt x="451" y="872"/>
                  </a:lnTo>
                  <a:lnTo>
                    <a:pt x="425" y="883"/>
                  </a:lnTo>
                  <a:lnTo>
                    <a:pt x="400" y="893"/>
                  </a:lnTo>
                  <a:lnTo>
                    <a:pt x="373" y="902"/>
                  </a:lnTo>
                  <a:lnTo>
                    <a:pt x="347" y="911"/>
                  </a:lnTo>
                  <a:lnTo>
                    <a:pt x="320" y="919"/>
                  </a:lnTo>
                  <a:lnTo>
                    <a:pt x="293" y="926"/>
                  </a:lnTo>
                  <a:lnTo>
                    <a:pt x="257" y="935"/>
                  </a:lnTo>
                  <a:lnTo>
                    <a:pt x="239" y="939"/>
                  </a:lnTo>
                  <a:lnTo>
                    <a:pt x="221" y="943"/>
                  </a:lnTo>
                  <a:lnTo>
                    <a:pt x="185" y="950"/>
                  </a:lnTo>
                  <a:lnTo>
                    <a:pt x="148" y="955"/>
                  </a:lnTo>
                  <a:lnTo>
                    <a:pt x="111" y="959"/>
                  </a:lnTo>
                  <a:lnTo>
                    <a:pt x="74" y="963"/>
                  </a:lnTo>
                  <a:lnTo>
                    <a:pt x="56" y="964"/>
                  </a:lnTo>
                  <a:lnTo>
                    <a:pt x="37" y="964"/>
                  </a:lnTo>
                  <a:lnTo>
                    <a:pt x="19" y="965"/>
                  </a:lnTo>
                  <a:lnTo>
                    <a:pt x="0" y="965"/>
                  </a:lnTo>
                  <a:lnTo>
                    <a:pt x="0" y="170"/>
                  </a:lnTo>
                  <a:lnTo>
                    <a:pt x="23" y="169"/>
                  </a:lnTo>
                  <a:lnTo>
                    <a:pt x="35" y="168"/>
                  </a:lnTo>
                  <a:lnTo>
                    <a:pt x="46" y="167"/>
                  </a:lnTo>
                  <a:lnTo>
                    <a:pt x="69" y="163"/>
                  </a:lnTo>
                  <a:lnTo>
                    <a:pt x="80" y="161"/>
                  </a:lnTo>
                  <a:lnTo>
                    <a:pt x="91" y="158"/>
                  </a:lnTo>
                  <a:lnTo>
                    <a:pt x="112" y="151"/>
                  </a:lnTo>
                  <a:lnTo>
                    <a:pt x="133" y="143"/>
                  </a:lnTo>
                  <a:lnTo>
                    <a:pt x="153" y="134"/>
                  </a:lnTo>
                  <a:lnTo>
                    <a:pt x="163" y="129"/>
                  </a:lnTo>
                  <a:lnTo>
                    <a:pt x="172" y="123"/>
                  </a:lnTo>
                  <a:lnTo>
                    <a:pt x="191" y="112"/>
                  </a:lnTo>
                  <a:lnTo>
                    <a:pt x="200" y="105"/>
                  </a:lnTo>
                  <a:lnTo>
                    <a:pt x="209" y="99"/>
                  </a:lnTo>
                  <a:lnTo>
                    <a:pt x="217" y="92"/>
                  </a:lnTo>
                  <a:lnTo>
                    <a:pt x="226" y="85"/>
                  </a:lnTo>
                  <a:lnTo>
                    <a:pt x="234" y="77"/>
                  </a:lnTo>
                  <a:lnTo>
                    <a:pt x="241" y="70"/>
                  </a:lnTo>
                  <a:lnTo>
                    <a:pt x="256" y="54"/>
                  </a:lnTo>
                  <a:lnTo>
                    <a:pt x="263" y="45"/>
                  </a:lnTo>
                  <a:lnTo>
                    <a:pt x="270" y="37"/>
                  </a:lnTo>
                  <a:lnTo>
                    <a:pt x="277" y="28"/>
                  </a:lnTo>
                  <a:lnTo>
                    <a:pt x="283" y="19"/>
                  </a:lnTo>
                  <a:lnTo>
                    <a:pt x="289" y="10"/>
                  </a:lnTo>
                  <a:lnTo>
                    <a:pt x="295"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1" name="Freeform 111">
              <a:extLst>
                <a:ext uri="{FF2B5EF4-FFF2-40B4-BE49-F238E27FC236}">
                  <a16:creationId xmlns:a16="http://schemas.microsoft.com/office/drawing/2014/main" id="{4C418024-9F8F-4815-BBF6-D7ACB1E7CBD5}"/>
                </a:ext>
              </a:extLst>
            </p:cNvPr>
            <p:cNvSpPr>
              <a:spLocks noChangeAspect="1"/>
            </p:cNvSpPr>
            <p:nvPr/>
          </p:nvSpPr>
          <p:spPr bwMode="auto">
            <a:xfrm>
              <a:off x="1552575" y="5092725"/>
              <a:ext cx="806450" cy="790575"/>
            </a:xfrm>
            <a:custGeom>
              <a:avLst/>
              <a:gdLst/>
              <a:ahLst/>
              <a:cxnLst>
                <a:cxn ang="0">
                  <a:pos x="155" y="606"/>
                </a:cxn>
                <a:cxn ang="0">
                  <a:pos x="118" y="565"/>
                </a:cxn>
                <a:cxn ang="0">
                  <a:pos x="83" y="521"/>
                </a:cxn>
                <a:cxn ang="0">
                  <a:pos x="61" y="492"/>
                </a:cxn>
                <a:cxn ang="0">
                  <a:pos x="39" y="461"/>
                </a:cxn>
                <a:cxn ang="0">
                  <a:pos x="10" y="414"/>
                </a:cxn>
                <a:cxn ang="0">
                  <a:pos x="688" y="0"/>
                </a:cxn>
                <a:cxn ang="0">
                  <a:pos x="706" y="28"/>
                </a:cxn>
                <a:cxn ang="0">
                  <a:pos x="727" y="54"/>
                </a:cxn>
                <a:cxn ang="0">
                  <a:pos x="741" y="70"/>
                </a:cxn>
                <a:cxn ang="0">
                  <a:pos x="757" y="85"/>
                </a:cxn>
                <a:cxn ang="0">
                  <a:pos x="792" y="112"/>
                </a:cxn>
                <a:cxn ang="0">
                  <a:pos x="820" y="129"/>
                </a:cxn>
                <a:cxn ang="0">
                  <a:pos x="840" y="139"/>
                </a:cxn>
                <a:cxn ang="0">
                  <a:pos x="860" y="147"/>
                </a:cxn>
                <a:cxn ang="0">
                  <a:pos x="881" y="155"/>
                </a:cxn>
                <a:cxn ang="0">
                  <a:pos x="903" y="161"/>
                </a:cxn>
                <a:cxn ang="0">
                  <a:pos x="937" y="167"/>
                </a:cxn>
                <a:cxn ang="0">
                  <a:pos x="960" y="169"/>
                </a:cxn>
                <a:cxn ang="0">
                  <a:pos x="983" y="965"/>
                </a:cxn>
                <a:cxn ang="0">
                  <a:pos x="927" y="964"/>
                </a:cxn>
                <a:cxn ang="0">
                  <a:pos x="872" y="960"/>
                </a:cxn>
                <a:cxn ang="0">
                  <a:pos x="817" y="953"/>
                </a:cxn>
                <a:cxn ang="0">
                  <a:pos x="762" y="943"/>
                </a:cxn>
                <a:cxn ang="0">
                  <a:pos x="708" y="931"/>
                </a:cxn>
                <a:cxn ang="0">
                  <a:pos x="654" y="916"/>
                </a:cxn>
                <a:cxn ang="0">
                  <a:pos x="601" y="899"/>
                </a:cxn>
                <a:cxn ang="0">
                  <a:pos x="575" y="889"/>
                </a:cxn>
                <a:cxn ang="0">
                  <a:pos x="524" y="868"/>
                </a:cxn>
                <a:cxn ang="0">
                  <a:pos x="473" y="844"/>
                </a:cxn>
                <a:cxn ang="0">
                  <a:pos x="424" y="818"/>
                </a:cxn>
                <a:cxn ang="0">
                  <a:pos x="375" y="789"/>
                </a:cxn>
                <a:cxn ang="0">
                  <a:pos x="329" y="759"/>
                </a:cxn>
                <a:cxn ang="0">
                  <a:pos x="284" y="725"/>
                </a:cxn>
                <a:cxn ang="0">
                  <a:pos x="241" y="690"/>
                </a:cxn>
                <a:cxn ang="0">
                  <a:pos x="210" y="662"/>
                </a:cxn>
                <a:cxn ang="0">
                  <a:pos x="180" y="633"/>
                </a:cxn>
              </a:cxnLst>
              <a:rect l="0" t="0" r="r" b="b"/>
              <a:pathLst>
                <a:path w="983" h="965">
                  <a:moveTo>
                    <a:pt x="180" y="633"/>
                  </a:moveTo>
                  <a:lnTo>
                    <a:pt x="155" y="606"/>
                  </a:lnTo>
                  <a:lnTo>
                    <a:pt x="130" y="579"/>
                  </a:lnTo>
                  <a:lnTo>
                    <a:pt x="118" y="565"/>
                  </a:lnTo>
                  <a:lnTo>
                    <a:pt x="106" y="550"/>
                  </a:lnTo>
                  <a:lnTo>
                    <a:pt x="83" y="521"/>
                  </a:lnTo>
                  <a:lnTo>
                    <a:pt x="71" y="507"/>
                  </a:lnTo>
                  <a:lnTo>
                    <a:pt x="61" y="492"/>
                  </a:lnTo>
                  <a:lnTo>
                    <a:pt x="50" y="476"/>
                  </a:lnTo>
                  <a:lnTo>
                    <a:pt x="39" y="461"/>
                  </a:lnTo>
                  <a:lnTo>
                    <a:pt x="19" y="430"/>
                  </a:lnTo>
                  <a:lnTo>
                    <a:pt x="10" y="414"/>
                  </a:lnTo>
                  <a:lnTo>
                    <a:pt x="0" y="397"/>
                  </a:lnTo>
                  <a:lnTo>
                    <a:pt x="688" y="0"/>
                  </a:lnTo>
                  <a:lnTo>
                    <a:pt x="700" y="19"/>
                  </a:lnTo>
                  <a:lnTo>
                    <a:pt x="706" y="28"/>
                  </a:lnTo>
                  <a:lnTo>
                    <a:pt x="713" y="37"/>
                  </a:lnTo>
                  <a:lnTo>
                    <a:pt x="727" y="54"/>
                  </a:lnTo>
                  <a:lnTo>
                    <a:pt x="734" y="62"/>
                  </a:lnTo>
                  <a:lnTo>
                    <a:pt x="741" y="70"/>
                  </a:lnTo>
                  <a:lnTo>
                    <a:pt x="749" y="77"/>
                  </a:lnTo>
                  <a:lnTo>
                    <a:pt x="757" y="85"/>
                  </a:lnTo>
                  <a:lnTo>
                    <a:pt x="774" y="99"/>
                  </a:lnTo>
                  <a:lnTo>
                    <a:pt x="792" y="112"/>
                  </a:lnTo>
                  <a:lnTo>
                    <a:pt x="811" y="123"/>
                  </a:lnTo>
                  <a:lnTo>
                    <a:pt x="820" y="129"/>
                  </a:lnTo>
                  <a:lnTo>
                    <a:pt x="830" y="134"/>
                  </a:lnTo>
                  <a:lnTo>
                    <a:pt x="840" y="139"/>
                  </a:lnTo>
                  <a:lnTo>
                    <a:pt x="850" y="143"/>
                  </a:lnTo>
                  <a:lnTo>
                    <a:pt x="860" y="147"/>
                  </a:lnTo>
                  <a:lnTo>
                    <a:pt x="871" y="151"/>
                  </a:lnTo>
                  <a:lnTo>
                    <a:pt x="881" y="155"/>
                  </a:lnTo>
                  <a:lnTo>
                    <a:pt x="892" y="158"/>
                  </a:lnTo>
                  <a:lnTo>
                    <a:pt x="903" y="161"/>
                  </a:lnTo>
                  <a:lnTo>
                    <a:pt x="914" y="163"/>
                  </a:lnTo>
                  <a:lnTo>
                    <a:pt x="937" y="167"/>
                  </a:lnTo>
                  <a:lnTo>
                    <a:pt x="948" y="168"/>
                  </a:lnTo>
                  <a:lnTo>
                    <a:pt x="960" y="169"/>
                  </a:lnTo>
                  <a:lnTo>
                    <a:pt x="983" y="170"/>
                  </a:lnTo>
                  <a:lnTo>
                    <a:pt x="983" y="965"/>
                  </a:lnTo>
                  <a:lnTo>
                    <a:pt x="955" y="965"/>
                  </a:lnTo>
                  <a:lnTo>
                    <a:pt x="927" y="964"/>
                  </a:lnTo>
                  <a:lnTo>
                    <a:pt x="900" y="962"/>
                  </a:lnTo>
                  <a:lnTo>
                    <a:pt x="872" y="960"/>
                  </a:lnTo>
                  <a:lnTo>
                    <a:pt x="844" y="956"/>
                  </a:lnTo>
                  <a:lnTo>
                    <a:pt x="817" y="953"/>
                  </a:lnTo>
                  <a:lnTo>
                    <a:pt x="789" y="948"/>
                  </a:lnTo>
                  <a:lnTo>
                    <a:pt x="762" y="943"/>
                  </a:lnTo>
                  <a:lnTo>
                    <a:pt x="735" y="937"/>
                  </a:lnTo>
                  <a:lnTo>
                    <a:pt x="708" y="931"/>
                  </a:lnTo>
                  <a:lnTo>
                    <a:pt x="681" y="924"/>
                  </a:lnTo>
                  <a:lnTo>
                    <a:pt x="654" y="916"/>
                  </a:lnTo>
                  <a:lnTo>
                    <a:pt x="627" y="908"/>
                  </a:lnTo>
                  <a:lnTo>
                    <a:pt x="601" y="899"/>
                  </a:lnTo>
                  <a:lnTo>
                    <a:pt x="588" y="894"/>
                  </a:lnTo>
                  <a:lnTo>
                    <a:pt x="575" y="889"/>
                  </a:lnTo>
                  <a:lnTo>
                    <a:pt x="549" y="879"/>
                  </a:lnTo>
                  <a:lnTo>
                    <a:pt x="524" y="868"/>
                  </a:lnTo>
                  <a:lnTo>
                    <a:pt x="498" y="856"/>
                  </a:lnTo>
                  <a:lnTo>
                    <a:pt x="473" y="844"/>
                  </a:lnTo>
                  <a:lnTo>
                    <a:pt x="449" y="831"/>
                  </a:lnTo>
                  <a:lnTo>
                    <a:pt x="424" y="818"/>
                  </a:lnTo>
                  <a:lnTo>
                    <a:pt x="399" y="804"/>
                  </a:lnTo>
                  <a:lnTo>
                    <a:pt x="375" y="789"/>
                  </a:lnTo>
                  <a:lnTo>
                    <a:pt x="352" y="774"/>
                  </a:lnTo>
                  <a:lnTo>
                    <a:pt x="329" y="759"/>
                  </a:lnTo>
                  <a:lnTo>
                    <a:pt x="307" y="742"/>
                  </a:lnTo>
                  <a:lnTo>
                    <a:pt x="284" y="725"/>
                  </a:lnTo>
                  <a:lnTo>
                    <a:pt x="263" y="708"/>
                  </a:lnTo>
                  <a:lnTo>
                    <a:pt x="241" y="690"/>
                  </a:lnTo>
                  <a:lnTo>
                    <a:pt x="221" y="672"/>
                  </a:lnTo>
                  <a:lnTo>
                    <a:pt x="210" y="662"/>
                  </a:lnTo>
                  <a:lnTo>
                    <a:pt x="200" y="652"/>
                  </a:lnTo>
                  <a:lnTo>
                    <a:pt x="180" y="633"/>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2" name="Freeform 112">
              <a:extLst>
                <a:ext uri="{FF2B5EF4-FFF2-40B4-BE49-F238E27FC236}">
                  <a16:creationId xmlns:a16="http://schemas.microsoft.com/office/drawing/2014/main" id="{573CBEE1-23B7-437D-8A81-CF693C899179}"/>
                </a:ext>
              </a:extLst>
            </p:cNvPr>
            <p:cNvSpPr>
              <a:spLocks noChangeAspect="1"/>
            </p:cNvSpPr>
            <p:nvPr/>
          </p:nvSpPr>
          <p:spPr bwMode="auto">
            <a:xfrm>
              <a:off x="1428750" y="4487888"/>
              <a:ext cx="688975" cy="930275"/>
            </a:xfrm>
            <a:custGeom>
              <a:avLst/>
              <a:gdLst/>
              <a:ahLst/>
              <a:cxnLst>
                <a:cxn ang="0">
                  <a:pos x="152" y="1134"/>
                </a:cxn>
                <a:cxn ang="0">
                  <a:pos x="126" y="1085"/>
                </a:cxn>
                <a:cxn ang="0">
                  <a:pos x="101" y="1035"/>
                </a:cxn>
                <a:cxn ang="0">
                  <a:pos x="80" y="984"/>
                </a:cxn>
                <a:cxn ang="0">
                  <a:pos x="61" y="932"/>
                </a:cxn>
                <a:cxn ang="0">
                  <a:pos x="44" y="878"/>
                </a:cxn>
                <a:cxn ang="0">
                  <a:pos x="30" y="825"/>
                </a:cxn>
                <a:cxn ang="0">
                  <a:pos x="19" y="770"/>
                </a:cxn>
                <a:cxn ang="0">
                  <a:pos x="10" y="715"/>
                </a:cxn>
                <a:cxn ang="0">
                  <a:pos x="4" y="660"/>
                </a:cxn>
                <a:cxn ang="0">
                  <a:pos x="1" y="604"/>
                </a:cxn>
                <a:cxn ang="0">
                  <a:pos x="0" y="549"/>
                </a:cxn>
                <a:cxn ang="0">
                  <a:pos x="2" y="493"/>
                </a:cxn>
                <a:cxn ang="0">
                  <a:pos x="7" y="438"/>
                </a:cxn>
                <a:cxn ang="0">
                  <a:pos x="15" y="382"/>
                </a:cxn>
                <a:cxn ang="0">
                  <a:pos x="26" y="328"/>
                </a:cxn>
                <a:cxn ang="0">
                  <a:pos x="39" y="274"/>
                </a:cxn>
                <a:cxn ang="0">
                  <a:pos x="49" y="238"/>
                </a:cxn>
                <a:cxn ang="0">
                  <a:pos x="73" y="168"/>
                </a:cxn>
                <a:cxn ang="0">
                  <a:pos x="87" y="133"/>
                </a:cxn>
                <a:cxn ang="0">
                  <a:pos x="117" y="66"/>
                </a:cxn>
                <a:cxn ang="0">
                  <a:pos x="134" y="33"/>
                </a:cxn>
                <a:cxn ang="0">
                  <a:pos x="143" y="16"/>
                </a:cxn>
                <a:cxn ang="0">
                  <a:pos x="840" y="397"/>
                </a:cxn>
                <a:cxn ang="0">
                  <a:pos x="825" y="426"/>
                </a:cxn>
                <a:cxn ang="0">
                  <a:pos x="817" y="446"/>
                </a:cxn>
                <a:cxn ang="0">
                  <a:pos x="810" y="467"/>
                </a:cxn>
                <a:cxn ang="0">
                  <a:pos x="804" y="488"/>
                </a:cxn>
                <a:cxn ang="0">
                  <a:pos x="800" y="510"/>
                </a:cxn>
                <a:cxn ang="0">
                  <a:pos x="797" y="533"/>
                </a:cxn>
                <a:cxn ang="0">
                  <a:pos x="795" y="556"/>
                </a:cxn>
                <a:cxn ang="0">
                  <a:pos x="795" y="579"/>
                </a:cxn>
                <a:cxn ang="0">
                  <a:pos x="798" y="613"/>
                </a:cxn>
                <a:cxn ang="0">
                  <a:pos x="807" y="657"/>
                </a:cxn>
                <a:cxn ang="0">
                  <a:pos x="813" y="678"/>
                </a:cxn>
                <a:cxn ang="0">
                  <a:pos x="825" y="708"/>
                </a:cxn>
                <a:cxn ang="0">
                  <a:pos x="840" y="737"/>
                </a:cxn>
              </a:cxnLst>
              <a:rect l="0" t="0" r="r" b="b"/>
              <a:pathLst>
                <a:path w="840" h="1134">
                  <a:moveTo>
                    <a:pt x="840" y="737"/>
                  </a:moveTo>
                  <a:lnTo>
                    <a:pt x="152" y="1134"/>
                  </a:lnTo>
                  <a:lnTo>
                    <a:pt x="139" y="1110"/>
                  </a:lnTo>
                  <a:lnTo>
                    <a:pt x="126" y="1085"/>
                  </a:lnTo>
                  <a:lnTo>
                    <a:pt x="113" y="1060"/>
                  </a:lnTo>
                  <a:lnTo>
                    <a:pt x="101" y="1035"/>
                  </a:lnTo>
                  <a:lnTo>
                    <a:pt x="90" y="1010"/>
                  </a:lnTo>
                  <a:lnTo>
                    <a:pt x="80" y="984"/>
                  </a:lnTo>
                  <a:lnTo>
                    <a:pt x="70" y="958"/>
                  </a:lnTo>
                  <a:lnTo>
                    <a:pt x="61" y="932"/>
                  </a:lnTo>
                  <a:lnTo>
                    <a:pt x="52" y="905"/>
                  </a:lnTo>
                  <a:lnTo>
                    <a:pt x="44" y="878"/>
                  </a:lnTo>
                  <a:lnTo>
                    <a:pt x="37" y="852"/>
                  </a:lnTo>
                  <a:lnTo>
                    <a:pt x="30" y="825"/>
                  </a:lnTo>
                  <a:lnTo>
                    <a:pt x="24" y="797"/>
                  </a:lnTo>
                  <a:lnTo>
                    <a:pt x="19" y="770"/>
                  </a:lnTo>
                  <a:lnTo>
                    <a:pt x="14" y="743"/>
                  </a:lnTo>
                  <a:lnTo>
                    <a:pt x="10" y="715"/>
                  </a:lnTo>
                  <a:lnTo>
                    <a:pt x="7" y="687"/>
                  </a:lnTo>
                  <a:lnTo>
                    <a:pt x="4" y="660"/>
                  </a:lnTo>
                  <a:lnTo>
                    <a:pt x="2" y="632"/>
                  </a:lnTo>
                  <a:lnTo>
                    <a:pt x="1" y="604"/>
                  </a:lnTo>
                  <a:lnTo>
                    <a:pt x="0" y="576"/>
                  </a:lnTo>
                  <a:lnTo>
                    <a:pt x="0" y="549"/>
                  </a:lnTo>
                  <a:lnTo>
                    <a:pt x="1" y="521"/>
                  </a:lnTo>
                  <a:lnTo>
                    <a:pt x="2" y="493"/>
                  </a:lnTo>
                  <a:lnTo>
                    <a:pt x="5" y="465"/>
                  </a:lnTo>
                  <a:lnTo>
                    <a:pt x="7" y="438"/>
                  </a:lnTo>
                  <a:lnTo>
                    <a:pt x="11" y="410"/>
                  </a:lnTo>
                  <a:lnTo>
                    <a:pt x="15" y="382"/>
                  </a:lnTo>
                  <a:lnTo>
                    <a:pt x="20" y="355"/>
                  </a:lnTo>
                  <a:lnTo>
                    <a:pt x="26" y="328"/>
                  </a:lnTo>
                  <a:lnTo>
                    <a:pt x="32" y="301"/>
                  </a:lnTo>
                  <a:lnTo>
                    <a:pt x="39" y="274"/>
                  </a:lnTo>
                  <a:lnTo>
                    <a:pt x="44" y="256"/>
                  </a:lnTo>
                  <a:lnTo>
                    <a:pt x="49" y="238"/>
                  </a:lnTo>
                  <a:lnTo>
                    <a:pt x="61" y="203"/>
                  </a:lnTo>
                  <a:lnTo>
                    <a:pt x="73" y="168"/>
                  </a:lnTo>
                  <a:lnTo>
                    <a:pt x="80" y="150"/>
                  </a:lnTo>
                  <a:lnTo>
                    <a:pt x="87" y="133"/>
                  </a:lnTo>
                  <a:lnTo>
                    <a:pt x="101" y="99"/>
                  </a:lnTo>
                  <a:lnTo>
                    <a:pt x="117" y="66"/>
                  </a:lnTo>
                  <a:lnTo>
                    <a:pt x="126" y="49"/>
                  </a:lnTo>
                  <a:lnTo>
                    <a:pt x="134" y="33"/>
                  </a:lnTo>
                  <a:lnTo>
                    <a:pt x="139" y="24"/>
                  </a:lnTo>
                  <a:lnTo>
                    <a:pt x="143" y="16"/>
                  </a:lnTo>
                  <a:lnTo>
                    <a:pt x="152" y="0"/>
                  </a:lnTo>
                  <a:lnTo>
                    <a:pt x="840" y="397"/>
                  </a:lnTo>
                  <a:lnTo>
                    <a:pt x="830" y="416"/>
                  </a:lnTo>
                  <a:lnTo>
                    <a:pt x="825" y="426"/>
                  </a:lnTo>
                  <a:lnTo>
                    <a:pt x="821" y="436"/>
                  </a:lnTo>
                  <a:lnTo>
                    <a:pt x="817" y="446"/>
                  </a:lnTo>
                  <a:lnTo>
                    <a:pt x="813" y="456"/>
                  </a:lnTo>
                  <a:lnTo>
                    <a:pt x="810" y="467"/>
                  </a:lnTo>
                  <a:lnTo>
                    <a:pt x="807" y="478"/>
                  </a:lnTo>
                  <a:lnTo>
                    <a:pt x="804" y="488"/>
                  </a:lnTo>
                  <a:lnTo>
                    <a:pt x="802" y="499"/>
                  </a:lnTo>
                  <a:lnTo>
                    <a:pt x="800" y="510"/>
                  </a:lnTo>
                  <a:lnTo>
                    <a:pt x="798" y="521"/>
                  </a:lnTo>
                  <a:lnTo>
                    <a:pt x="797" y="533"/>
                  </a:lnTo>
                  <a:lnTo>
                    <a:pt x="796" y="544"/>
                  </a:lnTo>
                  <a:lnTo>
                    <a:pt x="795" y="556"/>
                  </a:lnTo>
                  <a:lnTo>
                    <a:pt x="795" y="567"/>
                  </a:lnTo>
                  <a:lnTo>
                    <a:pt x="795" y="579"/>
                  </a:lnTo>
                  <a:lnTo>
                    <a:pt x="796" y="590"/>
                  </a:lnTo>
                  <a:lnTo>
                    <a:pt x="798" y="613"/>
                  </a:lnTo>
                  <a:lnTo>
                    <a:pt x="802" y="635"/>
                  </a:lnTo>
                  <a:lnTo>
                    <a:pt x="807" y="657"/>
                  </a:lnTo>
                  <a:lnTo>
                    <a:pt x="810" y="667"/>
                  </a:lnTo>
                  <a:lnTo>
                    <a:pt x="813" y="678"/>
                  </a:lnTo>
                  <a:lnTo>
                    <a:pt x="821" y="698"/>
                  </a:lnTo>
                  <a:lnTo>
                    <a:pt x="825" y="708"/>
                  </a:lnTo>
                  <a:lnTo>
                    <a:pt x="830" y="718"/>
                  </a:lnTo>
                  <a:lnTo>
                    <a:pt x="840" y="73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3" name="Freeform 113">
              <a:extLst>
                <a:ext uri="{FF2B5EF4-FFF2-40B4-BE49-F238E27FC236}">
                  <a16:creationId xmlns:a16="http://schemas.microsoft.com/office/drawing/2014/main" id="{9D193BCD-892E-4D16-9AF2-9A482102F1F7}"/>
                </a:ext>
              </a:extLst>
            </p:cNvPr>
            <p:cNvSpPr>
              <a:spLocks noChangeAspect="1"/>
            </p:cNvSpPr>
            <p:nvPr/>
          </p:nvSpPr>
          <p:spPr bwMode="auto">
            <a:xfrm>
              <a:off x="1552575" y="4022750"/>
              <a:ext cx="806450" cy="790575"/>
            </a:xfrm>
            <a:custGeom>
              <a:avLst/>
              <a:gdLst/>
              <a:ahLst/>
              <a:cxnLst>
                <a:cxn ang="0">
                  <a:pos x="0" y="568"/>
                </a:cxn>
                <a:cxn ang="0">
                  <a:pos x="29" y="520"/>
                </a:cxn>
                <a:cxn ang="0">
                  <a:pos x="61" y="473"/>
                </a:cxn>
                <a:cxn ang="0">
                  <a:pos x="94" y="429"/>
                </a:cxn>
                <a:cxn ang="0">
                  <a:pos x="130" y="386"/>
                </a:cxn>
                <a:cxn ang="0">
                  <a:pos x="168" y="346"/>
                </a:cxn>
                <a:cxn ang="0">
                  <a:pos x="207" y="306"/>
                </a:cxn>
                <a:cxn ang="0">
                  <a:pos x="249" y="269"/>
                </a:cxn>
                <a:cxn ang="0">
                  <a:pos x="292" y="234"/>
                </a:cxn>
                <a:cxn ang="0">
                  <a:pos x="337" y="202"/>
                </a:cxn>
                <a:cxn ang="0">
                  <a:pos x="383" y="171"/>
                </a:cxn>
                <a:cxn ang="0">
                  <a:pos x="432" y="143"/>
                </a:cxn>
                <a:cxn ang="0">
                  <a:pos x="482" y="117"/>
                </a:cxn>
                <a:cxn ang="0">
                  <a:pos x="532" y="93"/>
                </a:cxn>
                <a:cxn ang="0">
                  <a:pos x="584" y="72"/>
                </a:cxn>
                <a:cxn ang="0">
                  <a:pos x="636" y="54"/>
                </a:cxn>
                <a:cxn ang="0">
                  <a:pos x="690" y="39"/>
                </a:cxn>
                <a:cxn ang="0">
                  <a:pos x="744" y="26"/>
                </a:cxn>
                <a:cxn ang="0">
                  <a:pos x="798" y="15"/>
                </a:cxn>
                <a:cxn ang="0">
                  <a:pos x="872" y="6"/>
                </a:cxn>
                <a:cxn ang="0">
                  <a:pos x="928" y="2"/>
                </a:cxn>
                <a:cxn ang="0">
                  <a:pos x="965" y="0"/>
                </a:cxn>
                <a:cxn ang="0">
                  <a:pos x="983" y="795"/>
                </a:cxn>
                <a:cxn ang="0">
                  <a:pos x="948" y="797"/>
                </a:cxn>
                <a:cxn ang="0">
                  <a:pos x="914" y="802"/>
                </a:cxn>
                <a:cxn ang="0">
                  <a:pos x="892" y="807"/>
                </a:cxn>
                <a:cxn ang="0">
                  <a:pos x="850" y="822"/>
                </a:cxn>
                <a:cxn ang="0">
                  <a:pos x="820" y="836"/>
                </a:cxn>
                <a:cxn ang="0">
                  <a:pos x="792" y="853"/>
                </a:cxn>
                <a:cxn ang="0">
                  <a:pos x="774" y="866"/>
                </a:cxn>
                <a:cxn ang="0">
                  <a:pos x="758" y="880"/>
                </a:cxn>
                <a:cxn ang="0">
                  <a:pos x="742" y="895"/>
                </a:cxn>
                <a:cxn ang="0">
                  <a:pos x="720" y="920"/>
                </a:cxn>
                <a:cxn ang="0">
                  <a:pos x="706" y="937"/>
                </a:cxn>
                <a:cxn ang="0">
                  <a:pos x="694" y="955"/>
                </a:cxn>
              </a:cxnLst>
              <a:rect l="0" t="0" r="r" b="b"/>
              <a:pathLst>
                <a:path w="983" h="965">
                  <a:moveTo>
                    <a:pt x="689" y="965"/>
                  </a:moveTo>
                  <a:lnTo>
                    <a:pt x="0" y="568"/>
                  </a:lnTo>
                  <a:lnTo>
                    <a:pt x="15" y="543"/>
                  </a:lnTo>
                  <a:lnTo>
                    <a:pt x="29" y="520"/>
                  </a:lnTo>
                  <a:lnTo>
                    <a:pt x="45" y="496"/>
                  </a:lnTo>
                  <a:lnTo>
                    <a:pt x="61" y="473"/>
                  </a:lnTo>
                  <a:lnTo>
                    <a:pt x="77" y="451"/>
                  </a:lnTo>
                  <a:lnTo>
                    <a:pt x="94" y="429"/>
                  </a:lnTo>
                  <a:lnTo>
                    <a:pt x="112" y="408"/>
                  </a:lnTo>
                  <a:lnTo>
                    <a:pt x="130" y="386"/>
                  </a:lnTo>
                  <a:lnTo>
                    <a:pt x="148" y="366"/>
                  </a:lnTo>
                  <a:lnTo>
                    <a:pt x="168" y="346"/>
                  </a:lnTo>
                  <a:lnTo>
                    <a:pt x="187" y="326"/>
                  </a:lnTo>
                  <a:lnTo>
                    <a:pt x="207" y="306"/>
                  </a:lnTo>
                  <a:lnTo>
                    <a:pt x="228" y="288"/>
                  </a:lnTo>
                  <a:lnTo>
                    <a:pt x="249" y="269"/>
                  </a:lnTo>
                  <a:lnTo>
                    <a:pt x="270" y="252"/>
                  </a:lnTo>
                  <a:lnTo>
                    <a:pt x="292" y="234"/>
                  </a:lnTo>
                  <a:lnTo>
                    <a:pt x="314" y="218"/>
                  </a:lnTo>
                  <a:lnTo>
                    <a:pt x="337" y="202"/>
                  </a:lnTo>
                  <a:lnTo>
                    <a:pt x="360" y="186"/>
                  </a:lnTo>
                  <a:lnTo>
                    <a:pt x="383" y="171"/>
                  </a:lnTo>
                  <a:lnTo>
                    <a:pt x="407" y="157"/>
                  </a:lnTo>
                  <a:lnTo>
                    <a:pt x="432" y="143"/>
                  </a:lnTo>
                  <a:lnTo>
                    <a:pt x="457" y="129"/>
                  </a:lnTo>
                  <a:lnTo>
                    <a:pt x="482" y="117"/>
                  </a:lnTo>
                  <a:lnTo>
                    <a:pt x="507" y="105"/>
                  </a:lnTo>
                  <a:lnTo>
                    <a:pt x="532" y="93"/>
                  </a:lnTo>
                  <a:lnTo>
                    <a:pt x="558" y="83"/>
                  </a:lnTo>
                  <a:lnTo>
                    <a:pt x="584" y="72"/>
                  </a:lnTo>
                  <a:lnTo>
                    <a:pt x="610" y="63"/>
                  </a:lnTo>
                  <a:lnTo>
                    <a:pt x="636" y="54"/>
                  </a:lnTo>
                  <a:lnTo>
                    <a:pt x="663" y="46"/>
                  </a:lnTo>
                  <a:lnTo>
                    <a:pt x="690" y="39"/>
                  </a:lnTo>
                  <a:lnTo>
                    <a:pt x="726" y="30"/>
                  </a:lnTo>
                  <a:lnTo>
                    <a:pt x="744" y="26"/>
                  </a:lnTo>
                  <a:lnTo>
                    <a:pt x="762" y="22"/>
                  </a:lnTo>
                  <a:lnTo>
                    <a:pt x="798" y="15"/>
                  </a:lnTo>
                  <a:lnTo>
                    <a:pt x="835" y="10"/>
                  </a:lnTo>
                  <a:lnTo>
                    <a:pt x="872" y="6"/>
                  </a:lnTo>
                  <a:lnTo>
                    <a:pt x="909" y="3"/>
                  </a:lnTo>
                  <a:lnTo>
                    <a:pt x="928" y="2"/>
                  </a:lnTo>
                  <a:lnTo>
                    <a:pt x="946" y="1"/>
                  </a:lnTo>
                  <a:lnTo>
                    <a:pt x="965" y="0"/>
                  </a:lnTo>
                  <a:lnTo>
                    <a:pt x="983" y="0"/>
                  </a:lnTo>
                  <a:lnTo>
                    <a:pt x="983" y="795"/>
                  </a:lnTo>
                  <a:lnTo>
                    <a:pt x="960" y="796"/>
                  </a:lnTo>
                  <a:lnTo>
                    <a:pt x="948" y="797"/>
                  </a:lnTo>
                  <a:lnTo>
                    <a:pt x="937" y="798"/>
                  </a:lnTo>
                  <a:lnTo>
                    <a:pt x="914" y="802"/>
                  </a:lnTo>
                  <a:lnTo>
                    <a:pt x="903" y="804"/>
                  </a:lnTo>
                  <a:lnTo>
                    <a:pt x="892" y="807"/>
                  </a:lnTo>
                  <a:lnTo>
                    <a:pt x="871" y="814"/>
                  </a:lnTo>
                  <a:lnTo>
                    <a:pt x="850" y="822"/>
                  </a:lnTo>
                  <a:lnTo>
                    <a:pt x="830" y="831"/>
                  </a:lnTo>
                  <a:lnTo>
                    <a:pt x="820" y="836"/>
                  </a:lnTo>
                  <a:lnTo>
                    <a:pt x="811" y="842"/>
                  </a:lnTo>
                  <a:lnTo>
                    <a:pt x="792" y="853"/>
                  </a:lnTo>
                  <a:lnTo>
                    <a:pt x="783" y="860"/>
                  </a:lnTo>
                  <a:lnTo>
                    <a:pt x="774" y="866"/>
                  </a:lnTo>
                  <a:lnTo>
                    <a:pt x="766" y="873"/>
                  </a:lnTo>
                  <a:lnTo>
                    <a:pt x="758" y="880"/>
                  </a:lnTo>
                  <a:lnTo>
                    <a:pt x="750" y="888"/>
                  </a:lnTo>
                  <a:lnTo>
                    <a:pt x="742" y="895"/>
                  </a:lnTo>
                  <a:lnTo>
                    <a:pt x="727" y="911"/>
                  </a:lnTo>
                  <a:lnTo>
                    <a:pt x="720" y="920"/>
                  </a:lnTo>
                  <a:lnTo>
                    <a:pt x="713" y="928"/>
                  </a:lnTo>
                  <a:lnTo>
                    <a:pt x="706" y="937"/>
                  </a:lnTo>
                  <a:lnTo>
                    <a:pt x="700" y="946"/>
                  </a:lnTo>
                  <a:lnTo>
                    <a:pt x="694" y="955"/>
                  </a:lnTo>
                  <a:lnTo>
                    <a:pt x="689" y="96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14" name="Text Box 114">
              <a:extLst>
                <a:ext uri="{FF2B5EF4-FFF2-40B4-BE49-F238E27FC236}">
                  <a16:creationId xmlns:a16="http://schemas.microsoft.com/office/drawing/2014/main" id="{73022ADC-7D4C-4FC7-8988-1B8129496DEC}"/>
                </a:ext>
              </a:extLst>
            </p:cNvPr>
            <p:cNvSpPr txBox="1">
              <a:spLocks noChangeArrowheads="1"/>
            </p:cNvSpPr>
            <p:nvPr/>
          </p:nvSpPr>
          <p:spPr bwMode="auto">
            <a:xfrm>
              <a:off x="2738438" y="48244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5" name="Text Box 115">
              <a:extLst>
                <a:ext uri="{FF2B5EF4-FFF2-40B4-BE49-F238E27FC236}">
                  <a16:creationId xmlns:a16="http://schemas.microsoft.com/office/drawing/2014/main" id="{7D8525FA-E3C7-45E7-85FD-0C3FDBAA33F5}"/>
                </a:ext>
              </a:extLst>
            </p:cNvPr>
            <p:cNvSpPr txBox="1">
              <a:spLocks noChangeArrowheads="1"/>
            </p:cNvSpPr>
            <p:nvPr/>
          </p:nvSpPr>
          <p:spPr bwMode="auto">
            <a:xfrm>
              <a:off x="2555875" y="5359425"/>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16" name="Text Box 116">
              <a:extLst>
                <a:ext uri="{FF2B5EF4-FFF2-40B4-BE49-F238E27FC236}">
                  <a16:creationId xmlns:a16="http://schemas.microsoft.com/office/drawing/2014/main" id="{B8D35E10-8EFC-4B76-9C7A-B3136D91E3BC}"/>
                </a:ext>
              </a:extLst>
            </p:cNvPr>
            <p:cNvSpPr txBox="1">
              <a:spLocks noChangeArrowheads="1"/>
            </p:cNvSpPr>
            <p:nvPr/>
          </p:nvSpPr>
          <p:spPr bwMode="auto">
            <a:xfrm>
              <a:off x="1751013" y="5359425"/>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7" name="Text Box 117">
              <a:extLst>
                <a:ext uri="{FF2B5EF4-FFF2-40B4-BE49-F238E27FC236}">
                  <a16:creationId xmlns:a16="http://schemas.microsoft.com/office/drawing/2014/main" id="{776C0CFF-0DDB-45AE-BA8E-EC394FC90BA9}"/>
                </a:ext>
              </a:extLst>
            </p:cNvPr>
            <p:cNvSpPr txBox="1">
              <a:spLocks noChangeArrowheads="1"/>
            </p:cNvSpPr>
            <p:nvPr/>
          </p:nvSpPr>
          <p:spPr bwMode="auto">
            <a:xfrm>
              <a:off x="1566863" y="482443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18" name="Text Box 118">
              <a:extLst>
                <a:ext uri="{FF2B5EF4-FFF2-40B4-BE49-F238E27FC236}">
                  <a16:creationId xmlns:a16="http://schemas.microsoft.com/office/drawing/2014/main" id="{858D2787-3B64-470D-B918-67987612D949}"/>
                </a:ext>
              </a:extLst>
            </p:cNvPr>
            <p:cNvSpPr txBox="1">
              <a:spLocks noChangeArrowheads="1"/>
            </p:cNvSpPr>
            <p:nvPr/>
          </p:nvSpPr>
          <p:spPr bwMode="auto">
            <a:xfrm>
              <a:off x="2498725" y="4291038"/>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19" name="Text Box 119">
              <a:extLst>
                <a:ext uri="{FF2B5EF4-FFF2-40B4-BE49-F238E27FC236}">
                  <a16:creationId xmlns:a16="http://schemas.microsoft.com/office/drawing/2014/main" id="{07C51333-B268-432F-B8D9-5DC5B0EFD770}"/>
                </a:ext>
              </a:extLst>
            </p:cNvPr>
            <p:cNvSpPr txBox="1">
              <a:spLocks noChangeArrowheads="1"/>
            </p:cNvSpPr>
            <p:nvPr/>
          </p:nvSpPr>
          <p:spPr bwMode="auto">
            <a:xfrm>
              <a:off x="1808163" y="4291038"/>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120" name="Group 119">
            <a:extLst>
              <a:ext uri="{FF2B5EF4-FFF2-40B4-BE49-F238E27FC236}">
                <a16:creationId xmlns:a16="http://schemas.microsoft.com/office/drawing/2014/main" id="{5BDEE00C-BF08-475A-B375-881B243ED2DE}"/>
              </a:ext>
            </a:extLst>
          </p:cNvPr>
          <p:cNvGrpSpPr/>
          <p:nvPr/>
        </p:nvGrpSpPr>
        <p:grpSpPr bwMode="auto">
          <a:xfrm>
            <a:off x="4125688" y="1763713"/>
            <a:ext cx="1860550" cy="1860550"/>
            <a:chOff x="2532063" y="1628800"/>
            <a:chExt cx="1860550" cy="1860550"/>
          </a:xfrm>
        </p:grpSpPr>
        <p:sp>
          <p:nvSpPr>
            <p:cNvPr id="121" name="Freeform 121">
              <a:extLst>
                <a:ext uri="{FF2B5EF4-FFF2-40B4-BE49-F238E27FC236}">
                  <a16:creationId xmlns:a16="http://schemas.microsoft.com/office/drawing/2014/main" id="{833D5C64-76C9-4C43-997C-2750FDDA07BB}"/>
                </a:ext>
              </a:extLst>
            </p:cNvPr>
            <p:cNvSpPr>
              <a:spLocks noChangeAspect="1"/>
            </p:cNvSpPr>
            <p:nvPr/>
          </p:nvSpPr>
          <p:spPr bwMode="auto">
            <a:xfrm>
              <a:off x="3462338" y="1628800"/>
              <a:ext cx="930275" cy="1395413"/>
            </a:xfrm>
            <a:custGeom>
              <a:avLst/>
              <a:gdLst/>
              <a:ahLst/>
              <a:cxnLst>
                <a:cxn ang="0">
                  <a:pos x="28" y="1"/>
                </a:cxn>
                <a:cxn ang="0">
                  <a:pos x="111" y="6"/>
                </a:cxn>
                <a:cxn ang="0">
                  <a:pos x="194" y="17"/>
                </a:cxn>
                <a:cxn ang="0">
                  <a:pos x="275" y="34"/>
                </a:cxn>
                <a:cxn ang="0">
                  <a:pos x="356" y="58"/>
                </a:cxn>
                <a:cxn ang="0">
                  <a:pos x="408" y="76"/>
                </a:cxn>
                <a:cxn ang="0">
                  <a:pos x="485" y="109"/>
                </a:cxn>
                <a:cxn ang="0">
                  <a:pos x="559" y="148"/>
                </a:cxn>
                <a:cxn ang="0">
                  <a:pos x="631" y="191"/>
                </a:cxn>
                <a:cxn ang="0">
                  <a:pos x="699" y="240"/>
                </a:cxn>
                <a:cxn ang="0">
                  <a:pos x="762" y="294"/>
                </a:cxn>
                <a:cxn ang="0">
                  <a:pos x="803" y="333"/>
                </a:cxn>
                <a:cxn ang="0">
                  <a:pos x="860" y="394"/>
                </a:cxn>
                <a:cxn ang="0">
                  <a:pos x="912" y="459"/>
                </a:cxn>
                <a:cxn ang="0">
                  <a:pos x="959" y="528"/>
                </a:cxn>
                <a:cxn ang="0">
                  <a:pos x="1001" y="601"/>
                </a:cxn>
                <a:cxn ang="0">
                  <a:pos x="1037" y="676"/>
                </a:cxn>
                <a:cxn ang="0">
                  <a:pos x="1068" y="753"/>
                </a:cxn>
                <a:cxn ang="0">
                  <a:pos x="1094" y="833"/>
                </a:cxn>
                <a:cxn ang="0">
                  <a:pos x="1113" y="914"/>
                </a:cxn>
                <a:cxn ang="0">
                  <a:pos x="1127" y="996"/>
                </a:cxn>
                <a:cxn ang="0">
                  <a:pos x="1134" y="1080"/>
                </a:cxn>
                <a:cxn ang="0">
                  <a:pos x="1134" y="1172"/>
                </a:cxn>
                <a:cxn ang="0">
                  <a:pos x="1125" y="1283"/>
                </a:cxn>
                <a:cxn ang="0">
                  <a:pos x="1113" y="1357"/>
                </a:cxn>
                <a:cxn ang="0">
                  <a:pos x="1091" y="1447"/>
                </a:cxn>
                <a:cxn ang="0">
                  <a:pos x="1062" y="1535"/>
                </a:cxn>
                <a:cxn ang="0">
                  <a:pos x="1018" y="1637"/>
                </a:cxn>
                <a:cxn ang="0">
                  <a:pos x="983" y="1702"/>
                </a:cxn>
                <a:cxn ang="0">
                  <a:pos x="309" y="1276"/>
                </a:cxn>
                <a:cxn ang="0">
                  <a:pos x="322" y="1246"/>
                </a:cxn>
                <a:cxn ang="0">
                  <a:pos x="331" y="1214"/>
                </a:cxn>
                <a:cxn ang="0">
                  <a:pos x="337" y="1181"/>
                </a:cxn>
                <a:cxn ang="0">
                  <a:pos x="340" y="1147"/>
                </a:cxn>
                <a:cxn ang="0">
                  <a:pos x="338" y="1101"/>
                </a:cxn>
                <a:cxn ang="0">
                  <a:pos x="335" y="1075"/>
                </a:cxn>
                <a:cxn ang="0">
                  <a:pos x="325" y="1034"/>
                </a:cxn>
                <a:cxn ang="0">
                  <a:pos x="306" y="988"/>
                </a:cxn>
                <a:cxn ang="0">
                  <a:pos x="282" y="945"/>
                </a:cxn>
                <a:cxn ang="0">
                  <a:pos x="252" y="907"/>
                </a:cxn>
                <a:cxn ang="0">
                  <a:pos x="216" y="873"/>
                </a:cxn>
                <a:cxn ang="0">
                  <a:pos x="176" y="844"/>
                </a:cxn>
                <a:cxn ang="0">
                  <a:pos x="132" y="822"/>
                </a:cxn>
                <a:cxn ang="0">
                  <a:pos x="101" y="810"/>
                </a:cxn>
                <a:cxn ang="0">
                  <a:pos x="69" y="802"/>
                </a:cxn>
                <a:cxn ang="0">
                  <a:pos x="35" y="797"/>
                </a:cxn>
              </a:cxnLst>
              <a:rect l="0" t="0" r="r" b="b"/>
              <a:pathLst>
                <a:path w="1135" h="1702">
                  <a:moveTo>
                    <a:pt x="0" y="795"/>
                  </a:moveTo>
                  <a:lnTo>
                    <a:pt x="0" y="0"/>
                  </a:lnTo>
                  <a:lnTo>
                    <a:pt x="28" y="1"/>
                  </a:lnTo>
                  <a:lnTo>
                    <a:pt x="56" y="2"/>
                  </a:lnTo>
                  <a:lnTo>
                    <a:pt x="83" y="3"/>
                  </a:lnTo>
                  <a:lnTo>
                    <a:pt x="111" y="6"/>
                  </a:lnTo>
                  <a:lnTo>
                    <a:pt x="139" y="9"/>
                  </a:lnTo>
                  <a:lnTo>
                    <a:pt x="166" y="13"/>
                  </a:lnTo>
                  <a:lnTo>
                    <a:pt x="194" y="17"/>
                  </a:lnTo>
                  <a:lnTo>
                    <a:pt x="221" y="22"/>
                  </a:lnTo>
                  <a:lnTo>
                    <a:pt x="248" y="28"/>
                  </a:lnTo>
                  <a:lnTo>
                    <a:pt x="275" y="34"/>
                  </a:lnTo>
                  <a:lnTo>
                    <a:pt x="302" y="42"/>
                  </a:lnTo>
                  <a:lnTo>
                    <a:pt x="329" y="49"/>
                  </a:lnTo>
                  <a:lnTo>
                    <a:pt x="356" y="58"/>
                  </a:lnTo>
                  <a:lnTo>
                    <a:pt x="382" y="67"/>
                  </a:lnTo>
                  <a:lnTo>
                    <a:pt x="395" y="72"/>
                  </a:lnTo>
                  <a:lnTo>
                    <a:pt x="408" y="76"/>
                  </a:lnTo>
                  <a:lnTo>
                    <a:pt x="434" y="87"/>
                  </a:lnTo>
                  <a:lnTo>
                    <a:pt x="459" y="98"/>
                  </a:lnTo>
                  <a:lnTo>
                    <a:pt x="485" y="109"/>
                  </a:lnTo>
                  <a:lnTo>
                    <a:pt x="510" y="121"/>
                  </a:lnTo>
                  <a:lnTo>
                    <a:pt x="534" y="134"/>
                  </a:lnTo>
                  <a:lnTo>
                    <a:pt x="559" y="148"/>
                  </a:lnTo>
                  <a:lnTo>
                    <a:pt x="584" y="161"/>
                  </a:lnTo>
                  <a:lnTo>
                    <a:pt x="608" y="176"/>
                  </a:lnTo>
                  <a:lnTo>
                    <a:pt x="631" y="191"/>
                  </a:lnTo>
                  <a:lnTo>
                    <a:pt x="654" y="207"/>
                  </a:lnTo>
                  <a:lnTo>
                    <a:pt x="677" y="223"/>
                  </a:lnTo>
                  <a:lnTo>
                    <a:pt x="699" y="240"/>
                  </a:lnTo>
                  <a:lnTo>
                    <a:pt x="720" y="257"/>
                  </a:lnTo>
                  <a:lnTo>
                    <a:pt x="742" y="275"/>
                  </a:lnTo>
                  <a:lnTo>
                    <a:pt x="762" y="294"/>
                  </a:lnTo>
                  <a:lnTo>
                    <a:pt x="773" y="303"/>
                  </a:lnTo>
                  <a:lnTo>
                    <a:pt x="783" y="313"/>
                  </a:lnTo>
                  <a:lnTo>
                    <a:pt x="803" y="333"/>
                  </a:lnTo>
                  <a:lnTo>
                    <a:pt x="822" y="352"/>
                  </a:lnTo>
                  <a:lnTo>
                    <a:pt x="841" y="373"/>
                  </a:lnTo>
                  <a:lnTo>
                    <a:pt x="860" y="394"/>
                  </a:lnTo>
                  <a:lnTo>
                    <a:pt x="877" y="415"/>
                  </a:lnTo>
                  <a:lnTo>
                    <a:pt x="895" y="437"/>
                  </a:lnTo>
                  <a:lnTo>
                    <a:pt x="912" y="459"/>
                  </a:lnTo>
                  <a:lnTo>
                    <a:pt x="928" y="481"/>
                  </a:lnTo>
                  <a:lnTo>
                    <a:pt x="944" y="504"/>
                  </a:lnTo>
                  <a:lnTo>
                    <a:pt x="959" y="528"/>
                  </a:lnTo>
                  <a:lnTo>
                    <a:pt x="973" y="551"/>
                  </a:lnTo>
                  <a:lnTo>
                    <a:pt x="987" y="576"/>
                  </a:lnTo>
                  <a:lnTo>
                    <a:pt x="1001" y="601"/>
                  </a:lnTo>
                  <a:lnTo>
                    <a:pt x="1014" y="626"/>
                  </a:lnTo>
                  <a:lnTo>
                    <a:pt x="1026" y="651"/>
                  </a:lnTo>
                  <a:lnTo>
                    <a:pt x="1037" y="676"/>
                  </a:lnTo>
                  <a:lnTo>
                    <a:pt x="1048" y="701"/>
                  </a:lnTo>
                  <a:lnTo>
                    <a:pt x="1059" y="727"/>
                  </a:lnTo>
                  <a:lnTo>
                    <a:pt x="1068" y="753"/>
                  </a:lnTo>
                  <a:lnTo>
                    <a:pt x="1078" y="780"/>
                  </a:lnTo>
                  <a:lnTo>
                    <a:pt x="1086" y="806"/>
                  </a:lnTo>
                  <a:lnTo>
                    <a:pt x="1094" y="833"/>
                  </a:lnTo>
                  <a:lnTo>
                    <a:pt x="1101" y="860"/>
                  </a:lnTo>
                  <a:lnTo>
                    <a:pt x="1107" y="887"/>
                  </a:lnTo>
                  <a:lnTo>
                    <a:pt x="1113" y="914"/>
                  </a:lnTo>
                  <a:lnTo>
                    <a:pt x="1118" y="941"/>
                  </a:lnTo>
                  <a:lnTo>
                    <a:pt x="1123" y="969"/>
                  </a:lnTo>
                  <a:lnTo>
                    <a:pt x="1127" y="996"/>
                  </a:lnTo>
                  <a:lnTo>
                    <a:pt x="1130" y="1024"/>
                  </a:lnTo>
                  <a:lnTo>
                    <a:pt x="1132" y="1052"/>
                  </a:lnTo>
                  <a:lnTo>
                    <a:pt x="1134" y="1080"/>
                  </a:lnTo>
                  <a:lnTo>
                    <a:pt x="1134" y="1107"/>
                  </a:lnTo>
                  <a:lnTo>
                    <a:pt x="1135" y="1135"/>
                  </a:lnTo>
                  <a:lnTo>
                    <a:pt x="1134" y="1172"/>
                  </a:lnTo>
                  <a:lnTo>
                    <a:pt x="1132" y="1209"/>
                  </a:lnTo>
                  <a:lnTo>
                    <a:pt x="1129" y="1246"/>
                  </a:lnTo>
                  <a:lnTo>
                    <a:pt x="1125" y="1283"/>
                  </a:lnTo>
                  <a:lnTo>
                    <a:pt x="1122" y="1302"/>
                  </a:lnTo>
                  <a:lnTo>
                    <a:pt x="1120" y="1320"/>
                  </a:lnTo>
                  <a:lnTo>
                    <a:pt x="1113" y="1357"/>
                  </a:lnTo>
                  <a:lnTo>
                    <a:pt x="1105" y="1393"/>
                  </a:lnTo>
                  <a:lnTo>
                    <a:pt x="1096" y="1429"/>
                  </a:lnTo>
                  <a:lnTo>
                    <a:pt x="1091" y="1447"/>
                  </a:lnTo>
                  <a:lnTo>
                    <a:pt x="1086" y="1464"/>
                  </a:lnTo>
                  <a:lnTo>
                    <a:pt x="1075" y="1500"/>
                  </a:lnTo>
                  <a:lnTo>
                    <a:pt x="1062" y="1535"/>
                  </a:lnTo>
                  <a:lnTo>
                    <a:pt x="1048" y="1569"/>
                  </a:lnTo>
                  <a:lnTo>
                    <a:pt x="1034" y="1603"/>
                  </a:lnTo>
                  <a:lnTo>
                    <a:pt x="1018" y="1637"/>
                  </a:lnTo>
                  <a:lnTo>
                    <a:pt x="1001" y="1670"/>
                  </a:lnTo>
                  <a:lnTo>
                    <a:pt x="992" y="1686"/>
                  </a:lnTo>
                  <a:lnTo>
                    <a:pt x="983" y="1702"/>
                  </a:lnTo>
                  <a:lnTo>
                    <a:pt x="294" y="1305"/>
                  </a:lnTo>
                  <a:lnTo>
                    <a:pt x="305" y="1286"/>
                  </a:lnTo>
                  <a:lnTo>
                    <a:pt x="309" y="1276"/>
                  </a:lnTo>
                  <a:lnTo>
                    <a:pt x="314" y="1266"/>
                  </a:lnTo>
                  <a:lnTo>
                    <a:pt x="318" y="1256"/>
                  </a:lnTo>
                  <a:lnTo>
                    <a:pt x="322" y="1246"/>
                  </a:lnTo>
                  <a:lnTo>
                    <a:pt x="325" y="1235"/>
                  </a:lnTo>
                  <a:lnTo>
                    <a:pt x="328" y="1225"/>
                  </a:lnTo>
                  <a:lnTo>
                    <a:pt x="331" y="1214"/>
                  </a:lnTo>
                  <a:lnTo>
                    <a:pt x="333" y="1203"/>
                  </a:lnTo>
                  <a:lnTo>
                    <a:pt x="335" y="1192"/>
                  </a:lnTo>
                  <a:lnTo>
                    <a:pt x="337" y="1181"/>
                  </a:lnTo>
                  <a:lnTo>
                    <a:pt x="338" y="1170"/>
                  </a:lnTo>
                  <a:lnTo>
                    <a:pt x="339" y="1158"/>
                  </a:lnTo>
                  <a:lnTo>
                    <a:pt x="340" y="1147"/>
                  </a:lnTo>
                  <a:lnTo>
                    <a:pt x="340" y="1135"/>
                  </a:lnTo>
                  <a:lnTo>
                    <a:pt x="340" y="1118"/>
                  </a:lnTo>
                  <a:lnTo>
                    <a:pt x="338" y="1101"/>
                  </a:lnTo>
                  <a:lnTo>
                    <a:pt x="337" y="1092"/>
                  </a:lnTo>
                  <a:lnTo>
                    <a:pt x="336" y="1083"/>
                  </a:lnTo>
                  <a:lnTo>
                    <a:pt x="335" y="1075"/>
                  </a:lnTo>
                  <a:lnTo>
                    <a:pt x="333" y="1067"/>
                  </a:lnTo>
                  <a:lnTo>
                    <a:pt x="329" y="1050"/>
                  </a:lnTo>
                  <a:lnTo>
                    <a:pt x="325" y="1034"/>
                  </a:lnTo>
                  <a:lnTo>
                    <a:pt x="319" y="1018"/>
                  </a:lnTo>
                  <a:lnTo>
                    <a:pt x="313" y="1003"/>
                  </a:lnTo>
                  <a:lnTo>
                    <a:pt x="306" y="988"/>
                  </a:lnTo>
                  <a:lnTo>
                    <a:pt x="299" y="973"/>
                  </a:lnTo>
                  <a:lnTo>
                    <a:pt x="291" y="959"/>
                  </a:lnTo>
                  <a:lnTo>
                    <a:pt x="282" y="945"/>
                  </a:lnTo>
                  <a:lnTo>
                    <a:pt x="272" y="932"/>
                  </a:lnTo>
                  <a:lnTo>
                    <a:pt x="262" y="919"/>
                  </a:lnTo>
                  <a:lnTo>
                    <a:pt x="252" y="907"/>
                  </a:lnTo>
                  <a:lnTo>
                    <a:pt x="240" y="895"/>
                  </a:lnTo>
                  <a:lnTo>
                    <a:pt x="229" y="884"/>
                  </a:lnTo>
                  <a:lnTo>
                    <a:pt x="216" y="873"/>
                  </a:lnTo>
                  <a:lnTo>
                    <a:pt x="203" y="863"/>
                  </a:lnTo>
                  <a:lnTo>
                    <a:pt x="190" y="853"/>
                  </a:lnTo>
                  <a:lnTo>
                    <a:pt x="176" y="844"/>
                  </a:lnTo>
                  <a:lnTo>
                    <a:pt x="162" y="836"/>
                  </a:lnTo>
                  <a:lnTo>
                    <a:pt x="147" y="829"/>
                  </a:lnTo>
                  <a:lnTo>
                    <a:pt x="132" y="822"/>
                  </a:lnTo>
                  <a:lnTo>
                    <a:pt x="125" y="819"/>
                  </a:lnTo>
                  <a:lnTo>
                    <a:pt x="117" y="816"/>
                  </a:lnTo>
                  <a:lnTo>
                    <a:pt x="101" y="810"/>
                  </a:lnTo>
                  <a:lnTo>
                    <a:pt x="93" y="808"/>
                  </a:lnTo>
                  <a:lnTo>
                    <a:pt x="85" y="806"/>
                  </a:lnTo>
                  <a:lnTo>
                    <a:pt x="69" y="802"/>
                  </a:lnTo>
                  <a:lnTo>
                    <a:pt x="60" y="800"/>
                  </a:lnTo>
                  <a:lnTo>
                    <a:pt x="52" y="799"/>
                  </a:lnTo>
                  <a:lnTo>
                    <a:pt x="35" y="797"/>
                  </a:lnTo>
                  <a:lnTo>
                    <a:pt x="17" y="796"/>
                  </a:lnTo>
                  <a:lnTo>
                    <a:pt x="0" y="795"/>
                  </a:lnTo>
                  <a:close/>
                </a:path>
              </a:pathLst>
            </a:custGeom>
            <a:solidFill>
              <a:schemeClr val="accent3"/>
            </a:solidFill>
            <a:ln w="6350" cmpd="sng">
              <a:noFill/>
              <a:round/>
              <a:headEnd/>
              <a:tailEnd/>
            </a:ln>
          </p:spPr>
          <p:txBody>
            <a:bodyPr lIns="45720" rIns="45720" anchor="ctr" anchorCtr="1"/>
            <a:lstStyle/>
            <a:p>
              <a:endParaRPr lang="en-US" sz="1100" dirty="0"/>
            </a:p>
          </p:txBody>
        </p:sp>
        <p:sp>
          <p:nvSpPr>
            <p:cNvPr id="122" name="Freeform 122">
              <a:extLst>
                <a:ext uri="{FF2B5EF4-FFF2-40B4-BE49-F238E27FC236}">
                  <a16:creationId xmlns:a16="http://schemas.microsoft.com/office/drawing/2014/main" id="{118A779C-1C43-4C5F-A1A0-6C6081FDD8A9}"/>
                </a:ext>
              </a:extLst>
            </p:cNvPr>
            <p:cNvSpPr>
              <a:spLocks noChangeAspect="1"/>
            </p:cNvSpPr>
            <p:nvPr/>
          </p:nvSpPr>
          <p:spPr bwMode="auto">
            <a:xfrm>
              <a:off x="2655888" y="2698775"/>
              <a:ext cx="1612900" cy="790575"/>
            </a:xfrm>
            <a:custGeom>
              <a:avLst/>
              <a:gdLst/>
              <a:ahLst/>
              <a:cxnLst>
                <a:cxn ang="0">
                  <a:pos x="352" y="774"/>
                </a:cxn>
                <a:cxn ang="0">
                  <a:pos x="263" y="708"/>
                </a:cxn>
                <a:cxn ang="0">
                  <a:pos x="207" y="659"/>
                </a:cxn>
                <a:cxn ang="0">
                  <a:pos x="130" y="579"/>
                </a:cxn>
                <a:cxn ang="0">
                  <a:pos x="83" y="522"/>
                </a:cxn>
                <a:cxn ang="0">
                  <a:pos x="50" y="477"/>
                </a:cxn>
                <a:cxn ang="0">
                  <a:pos x="0" y="397"/>
                </a:cxn>
                <a:cxn ang="0">
                  <a:pos x="706" y="28"/>
                </a:cxn>
                <a:cxn ang="0">
                  <a:pos x="734" y="62"/>
                </a:cxn>
                <a:cxn ang="0">
                  <a:pos x="757" y="85"/>
                </a:cxn>
                <a:cxn ang="0">
                  <a:pos x="810" y="124"/>
                </a:cxn>
                <a:cxn ang="0">
                  <a:pos x="840" y="139"/>
                </a:cxn>
                <a:cxn ang="0">
                  <a:pos x="871" y="151"/>
                </a:cxn>
                <a:cxn ang="0">
                  <a:pos x="903" y="161"/>
                </a:cxn>
                <a:cxn ang="0">
                  <a:pos x="948" y="169"/>
                </a:cxn>
                <a:cxn ang="0">
                  <a:pos x="1006" y="170"/>
                </a:cxn>
                <a:cxn ang="0">
                  <a:pos x="1052" y="163"/>
                </a:cxn>
                <a:cxn ang="0">
                  <a:pos x="1095" y="151"/>
                </a:cxn>
                <a:cxn ang="0">
                  <a:pos x="1146" y="129"/>
                </a:cxn>
                <a:cxn ang="0">
                  <a:pos x="1183" y="105"/>
                </a:cxn>
                <a:cxn ang="0">
                  <a:pos x="1208" y="85"/>
                </a:cxn>
                <a:cxn ang="0">
                  <a:pos x="1239" y="54"/>
                </a:cxn>
                <a:cxn ang="0">
                  <a:pos x="1260" y="28"/>
                </a:cxn>
                <a:cxn ang="0">
                  <a:pos x="1277" y="0"/>
                </a:cxn>
                <a:cxn ang="0">
                  <a:pos x="1937" y="446"/>
                </a:cxn>
                <a:cxn ang="0">
                  <a:pos x="1889" y="514"/>
                </a:cxn>
                <a:cxn ang="0">
                  <a:pos x="1836" y="579"/>
                </a:cxn>
                <a:cxn ang="0">
                  <a:pos x="1779" y="640"/>
                </a:cxn>
                <a:cxn ang="0">
                  <a:pos x="1717" y="696"/>
                </a:cxn>
                <a:cxn ang="0">
                  <a:pos x="1652" y="748"/>
                </a:cxn>
                <a:cxn ang="0">
                  <a:pos x="1583" y="794"/>
                </a:cxn>
                <a:cxn ang="0">
                  <a:pos x="1509" y="836"/>
                </a:cxn>
                <a:cxn ang="0">
                  <a:pos x="1434" y="872"/>
                </a:cxn>
                <a:cxn ang="0">
                  <a:pos x="1356" y="902"/>
                </a:cxn>
                <a:cxn ang="0">
                  <a:pos x="1276" y="927"/>
                </a:cxn>
                <a:cxn ang="0">
                  <a:pos x="1195" y="945"/>
                </a:cxn>
                <a:cxn ang="0">
                  <a:pos x="1113" y="958"/>
                </a:cxn>
                <a:cxn ang="0">
                  <a:pos x="1029" y="964"/>
                </a:cxn>
                <a:cxn ang="0">
                  <a:pos x="946" y="965"/>
                </a:cxn>
                <a:cxn ang="0">
                  <a:pos x="863" y="959"/>
                </a:cxn>
                <a:cxn ang="0">
                  <a:pos x="780" y="947"/>
                </a:cxn>
                <a:cxn ang="0">
                  <a:pos x="698" y="929"/>
                </a:cxn>
                <a:cxn ang="0">
                  <a:pos x="619" y="905"/>
                </a:cxn>
                <a:cxn ang="0">
                  <a:pos x="541" y="876"/>
                </a:cxn>
                <a:cxn ang="0">
                  <a:pos x="465" y="840"/>
                </a:cxn>
              </a:cxnLst>
              <a:rect l="0" t="0" r="r" b="b"/>
              <a:pathLst>
                <a:path w="1966" h="965">
                  <a:moveTo>
                    <a:pt x="416" y="813"/>
                  </a:moveTo>
                  <a:lnTo>
                    <a:pt x="383" y="794"/>
                  </a:lnTo>
                  <a:lnTo>
                    <a:pt x="352" y="774"/>
                  </a:lnTo>
                  <a:lnTo>
                    <a:pt x="322" y="753"/>
                  </a:lnTo>
                  <a:lnTo>
                    <a:pt x="292" y="731"/>
                  </a:lnTo>
                  <a:lnTo>
                    <a:pt x="263" y="708"/>
                  </a:lnTo>
                  <a:lnTo>
                    <a:pt x="249" y="696"/>
                  </a:lnTo>
                  <a:lnTo>
                    <a:pt x="234" y="684"/>
                  </a:lnTo>
                  <a:lnTo>
                    <a:pt x="207" y="659"/>
                  </a:lnTo>
                  <a:lnTo>
                    <a:pt x="180" y="633"/>
                  </a:lnTo>
                  <a:lnTo>
                    <a:pt x="155" y="606"/>
                  </a:lnTo>
                  <a:lnTo>
                    <a:pt x="130" y="579"/>
                  </a:lnTo>
                  <a:lnTo>
                    <a:pt x="117" y="565"/>
                  </a:lnTo>
                  <a:lnTo>
                    <a:pt x="106" y="551"/>
                  </a:lnTo>
                  <a:lnTo>
                    <a:pt x="83" y="522"/>
                  </a:lnTo>
                  <a:lnTo>
                    <a:pt x="71" y="507"/>
                  </a:lnTo>
                  <a:lnTo>
                    <a:pt x="60" y="492"/>
                  </a:lnTo>
                  <a:lnTo>
                    <a:pt x="50" y="477"/>
                  </a:lnTo>
                  <a:lnTo>
                    <a:pt x="39" y="461"/>
                  </a:lnTo>
                  <a:lnTo>
                    <a:pt x="19" y="430"/>
                  </a:lnTo>
                  <a:lnTo>
                    <a:pt x="0" y="397"/>
                  </a:lnTo>
                  <a:lnTo>
                    <a:pt x="688" y="0"/>
                  </a:lnTo>
                  <a:lnTo>
                    <a:pt x="700" y="19"/>
                  </a:lnTo>
                  <a:lnTo>
                    <a:pt x="706" y="28"/>
                  </a:lnTo>
                  <a:lnTo>
                    <a:pt x="713" y="37"/>
                  </a:lnTo>
                  <a:lnTo>
                    <a:pt x="727" y="54"/>
                  </a:lnTo>
                  <a:lnTo>
                    <a:pt x="734" y="62"/>
                  </a:lnTo>
                  <a:lnTo>
                    <a:pt x="741" y="70"/>
                  </a:lnTo>
                  <a:lnTo>
                    <a:pt x="749" y="78"/>
                  </a:lnTo>
                  <a:lnTo>
                    <a:pt x="757" y="85"/>
                  </a:lnTo>
                  <a:lnTo>
                    <a:pt x="774" y="99"/>
                  </a:lnTo>
                  <a:lnTo>
                    <a:pt x="792" y="112"/>
                  </a:lnTo>
                  <a:lnTo>
                    <a:pt x="810" y="124"/>
                  </a:lnTo>
                  <a:lnTo>
                    <a:pt x="820" y="129"/>
                  </a:lnTo>
                  <a:lnTo>
                    <a:pt x="830" y="134"/>
                  </a:lnTo>
                  <a:lnTo>
                    <a:pt x="840" y="139"/>
                  </a:lnTo>
                  <a:lnTo>
                    <a:pt x="850" y="143"/>
                  </a:lnTo>
                  <a:lnTo>
                    <a:pt x="860" y="148"/>
                  </a:lnTo>
                  <a:lnTo>
                    <a:pt x="871" y="151"/>
                  </a:lnTo>
                  <a:lnTo>
                    <a:pt x="881" y="155"/>
                  </a:lnTo>
                  <a:lnTo>
                    <a:pt x="892" y="158"/>
                  </a:lnTo>
                  <a:lnTo>
                    <a:pt x="903" y="161"/>
                  </a:lnTo>
                  <a:lnTo>
                    <a:pt x="914" y="163"/>
                  </a:lnTo>
                  <a:lnTo>
                    <a:pt x="936" y="167"/>
                  </a:lnTo>
                  <a:lnTo>
                    <a:pt x="948" y="169"/>
                  </a:lnTo>
                  <a:lnTo>
                    <a:pt x="959" y="170"/>
                  </a:lnTo>
                  <a:lnTo>
                    <a:pt x="983" y="170"/>
                  </a:lnTo>
                  <a:lnTo>
                    <a:pt x="1006" y="170"/>
                  </a:lnTo>
                  <a:lnTo>
                    <a:pt x="1018" y="169"/>
                  </a:lnTo>
                  <a:lnTo>
                    <a:pt x="1029" y="167"/>
                  </a:lnTo>
                  <a:lnTo>
                    <a:pt x="1052" y="163"/>
                  </a:lnTo>
                  <a:lnTo>
                    <a:pt x="1063" y="161"/>
                  </a:lnTo>
                  <a:lnTo>
                    <a:pt x="1074" y="158"/>
                  </a:lnTo>
                  <a:lnTo>
                    <a:pt x="1095" y="151"/>
                  </a:lnTo>
                  <a:lnTo>
                    <a:pt x="1116" y="143"/>
                  </a:lnTo>
                  <a:lnTo>
                    <a:pt x="1136" y="134"/>
                  </a:lnTo>
                  <a:lnTo>
                    <a:pt x="1146" y="129"/>
                  </a:lnTo>
                  <a:lnTo>
                    <a:pt x="1155" y="124"/>
                  </a:lnTo>
                  <a:lnTo>
                    <a:pt x="1174" y="112"/>
                  </a:lnTo>
                  <a:lnTo>
                    <a:pt x="1183" y="105"/>
                  </a:lnTo>
                  <a:lnTo>
                    <a:pt x="1192" y="99"/>
                  </a:lnTo>
                  <a:lnTo>
                    <a:pt x="1200" y="92"/>
                  </a:lnTo>
                  <a:lnTo>
                    <a:pt x="1208" y="85"/>
                  </a:lnTo>
                  <a:lnTo>
                    <a:pt x="1217" y="77"/>
                  </a:lnTo>
                  <a:lnTo>
                    <a:pt x="1224" y="70"/>
                  </a:lnTo>
                  <a:lnTo>
                    <a:pt x="1239" y="54"/>
                  </a:lnTo>
                  <a:lnTo>
                    <a:pt x="1246" y="45"/>
                  </a:lnTo>
                  <a:lnTo>
                    <a:pt x="1253" y="37"/>
                  </a:lnTo>
                  <a:lnTo>
                    <a:pt x="1260" y="28"/>
                  </a:lnTo>
                  <a:lnTo>
                    <a:pt x="1266" y="19"/>
                  </a:lnTo>
                  <a:lnTo>
                    <a:pt x="1272" y="10"/>
                  </a:lnTo>
                  <a:lnTo>
                    <a:pt x="1277" y="0"/>
                  </a:lnTo>
                  <a:lnTo>
                    <a:pt x="1966" y="397"/>
                  </a:lnTo>
                  <a:lnTo>
                    <a:pt x="1952" y="422"/>
                  </a:lnTo>
                  <a:lnTo>
                    <a:pt x="1937" y="446"/>
                  </a:lnTo>
                  <a:lnTo>
                    <a:pt x="1921" y="469"/>
                  </a:lnTo>
                  <a:lnTo>
                    <a:pt x="1906" y="492"/>
                  </a:lnTo>
                  <a:lnTo>
                    <a:pt x="1889" y="514"/>
                  </a:lnTo>
                  <a:lnTo>
                    <a:pt x="1872" y="536"/>
                  </a:lnTo>
                  <a:lnTo>
                    <a:pt x="1854" y="558"/>
                  </a:lnTo>
                  <a:lnTo>
                    <a:pt x="1836" y="579"/>
                  </a:lnTo>
                  <a:lnTo>
                    <a:pt x="1818" y="600"/>
                  </a:lnTo>
                  <a:lnTo>
                    <a:pt x="1799" y="620"/>
                  </a:lnTo>
                  <a:lnTo>
                    <a:pt x="1779" y="640"/>
                  </a:lnTo>
                  <a:lnTo>
                    <a:pt x="1759" y="659"/>
                  </a:lnTo>
                  <a:lnTo>
                    <a:pt x="1738" y="678"/>
                  </a:lnTo>
                  <a:lnTo>
                    <a:pt x="1717" y="696"/>
                  </a:lnTo>
                  <a:lnTo>
                    <a:pt x="1696" y="714"/>
                  </a:lnTo>
                  <a:lnTo>
                    <a:pt x="1674" y="731"/>
                  </a:lnTo>
                  <a:lnTo>
                    <a:pt x="1652" y="748"/>
                  </a:lnTo>
                  <a:lnTo>
                    <a:pt x="1629" y="764"/>
                  </a:lnTo>
                  <a:lnTo>
                    <a:pt x="1606" y="779"/>
                  </a:lnTo>
                  <a:lnTo>
                    <a:pt x="1583" y="794"/>
                  </a:lnTo>
                  <a:lnTo>
                    <a:pt x="1559" y="809"/>
                  </a:lnTo>
                  <a:lnTo>
                    <a:pt x="1534" y="823"/>
                  </a:lnTo>
                  <a:lnTo>
                    <a:pt x="1509" y="836"/>
                  </a:lnTo>
                  <a:lnTo>
                    <a:pt x="1485" y="849"/>
                  </a:lnTo>
                  <a:lnTo>
                    <a:pt x="1460" y="861"/>
                  </a:lnTo>
                  <a:lnTo>
                    <a:pt x="1434" y="872"/>
                  </a:lnTo>
                  <a:lnTo>
                    <a:pt x="1409" y="883"/>
                  </a:lnTo>
                  <a:lnTo>
                    <a:pt x="1383" y="893"/>
                  </a:lnTo>
                  <a:lnTo>
                    <a:pt x="1356" y="902"/>
                  </a:lnTo>
                  <a:lnTo>
                    <a:pt x="1330" y="911"/>
                  </a:lnTo>
                  <a:lnTo>
                    <a:pt x="1303" y="919"/>
                  </a:lnTo>
                  <a:lnTo>
                    <a:pt x="1276" y="927"/>
                  </a:lnTo>
                  <a:lnTo>
                    <a:pt x="1249" y="933"/>
                  </a:lnTo>
                  <a:lnTo>
                    <a:pt x="1222" y="940"/>
                  </a:lnTo>
                  <a:lnTo>
                    <a:pt x="1195" y="945"/>
                  </a:lnTo>
                  <a:lnTo>
                    <a:pt x="1168" y="950"/>
                  </a:lnTo>
                  <a:lnTo>
                    <a:pt x="1140" y="954"/>
                  </a:lnTo>
                  <a:lnTo>
                    <a:pt x="1113" y="958"/>
                  </a:lnTo>
                  <a:lnTo>
                    <a:pt x="1085" y="961"/>
                  </a:lnTo>
                  <a:lnTo>
                    <a:pt x="1057" y="963"/>
                  </a:lnTo>
                  <a:lnTo>
                    <a:pt x="1029" y="964"/>
                  </a:lnTo>
                  <a:lnTo>
                    <a:pt x="1002" y="965"/>
                  </a:lnTo>
                  <a:lnTo>
                    <a:pt x="974" y="965"/>
                  </a:lnTo>
                  <a:lnTo>
                    <a:pt x="946" y="965"/>
                  </a:lnTo>
                  <a:lnTo>
                    <a:pt x="918" y="963"/>
                  </a:lnTo>
                  <a:lnTo>
                    <a:pt x="890" y="961"/>
                  </a:lnTo>
                  <a:lnTo>
                    <a:pt x="863" y="959"/>
                  </a:lnTo>
                  <a:lnTo>
                    <a:pt x="835" y="955"/>
                  </a:lnTo>
                  <a:lnTo>
                    <a:pt x="807" y="952"/>
                  </a:lnTo>
                  <a:lnTo>
                    <a:pt x="780" y="947"/>
                  </a:lnTo>
                  <a:lnTo>
                    <a:pt x="753" y="942"/>
                  </a:lnTo>
                  <a:lnTo>
                    <a:pt x="726" y="936"/>
                  </a:lnTo>
                  <a:lnTo>
                    <a:pt x="698" y="929"/>
                  </a:lnTo>
                  <a:lnTo>
                    <a:pt x="672" y="922"/>
                  </a:lnTo>
                  <a:lnTo>
                    <a:pt x="645" y="914"/>
                  </a:lnTo>
                  <a:lnTo>
                    <a:pt x="619" y="905"/>
                  </a:lnTo>
                  <a:lnTo>
                    <a:pt x="592" y="896"/>
                  </a:lnTo>
                  <a:lnTo>
                    <a:pt x="566" y="886"/>
                  </a:lnTo>
                  <a:lnTo>
                    <a:pt x="541" y="876"/>
                  </a:lnTo>
                  <a:lnTo>
                    <a:pt x="515" y="865"/>
                  </a:lnTo>
                  <a:lnTo>
                    <a:pt x="490" y="853"/>
                  </a:lnTo>
                  <a:lnTo>
                    <a:pt x="465" y="840"/>
                  </a:lnTo>
                  <a:lnTo>
                    <a:pt x="440" y="827"/>
                  </a:lnTo>
                  <a:lnTo>
                    <a:pt x="416" y="813"/>
                  </a:lnTo>
                  <a:close/>
                </a:path>
              </a:pathLst>
            </a:custGeom>
            <a:solidFill>
              <a:schemeClr val="accent2"/>
            </a:solidFill>
            <a:ln w="6350" cmpd="sng">
              <a:noFill/>
              <a:round/>
              <a:headEnd/>
              <a:tailEnd/>
            </a:ln>
          </p:spPr>
          <p:txBody>
            <a:bodyPr lIns="45720" rIns="45720" anchor="ctr" anchorCtr="1"/>
            <a:lstStyle/>
            <a:p>
              <a:endParaRPr lang="en-US" sz="1100"/>
            </a:p>
          </p:txBody>
        </p:sp>
        <p:sp>
          <p:nvSpPr>
            <p:cNvPr id="123" name="Freeform 123">
              <a:extLst>
                <a:ext uri="{FF2B5EF4-FFF2-40B4-BE49-F238E27FC236}">
                  <a16:creationId xmlns:a16="http://schemas.microsoft.com/office/drawing/2014/main" id="{EA4FED73-AFAB-4086-A50C-146BCE8FC241}"/>
                </a:ext>
              </a:extLst>
            </p:cNvPr>
            <p:cNvSpPr>
              <a:spLocks noChangeAspect="1"/>
            </p:cNvSpPr>
            <p:nvPr/>
          </p:nvSpPr>
          <p:spPr bwMode="auto">
            <a:xfrm>
              <a:off x="2532063" y="1628800"/>
              <a:ext cx="930275" cy="1395413"/>
            </a:xfrm>
            <a:custGeom>
              <a:avLst/>
              <a:gdLst/>
              <a:ahLst/>
              <a:cxnLst>
                <a:cxn ang="0">
                  <a:pos x="139" y="1678"/>
                </a:cxn>
                <a:cxn ang="0">
                  <a:pos x="101" y="1603"/>
                </a:cxn>
                <a:cxn ang="0">
                  <a:pos x="70" y="1526"/>
                </a:cxn>
                <a:cxn ang="0">
                  <a:pos x="44" y="1447"/>
                </a:cxn>
                <a:cxn ang="0">
                  <a:pos x="24" y="1365"/>
                </a:cxn>
                <a:cxn ang="0">
                  <a:pos x="10" y="1283"/>
                </a:cxn>
                <a:cxn ang="0">
                  <a:pos x="2" y="1200"/>
                </a:cxn>
                <a:cxn ang="0">
                  <a:pos x="0" y="1117"/>
                </a:cxn>
                <a:cxn ang="0">
                  <a:pos x="5" y="1033"/>
                </a:cxn>
                <a:cxn ang="0">
                  <a:pos x="15" y="951"/>
                </a:cxn>
                <a:cxn ang="0">
                  <a:pos x="32" y="869"/>
                </a:cxn>
                <a:cxn ang="0">
                  <a:pos x="51" y="802"/>
                </a:cxn>
                <a:cxn ang="0">
                  <a:pos x="73" y="736"/>
                </a:cxn>
                <a:cxn ang="0">
                  <a:pos x="105" y="659"/>
                </a:cxn>
                <a:cxn ang="0">
                  <a:pos x="143" y="584"/>
                </a:cxn>
                <a:cxn ang="0">
                  <a:pos x="186" y="512"/>
                </a:cxn>
                <a:cxn ang="0">
                  <a:pos x="235" y="444"/>
                </a:cxn>
                <a:cxn ang="0">
                  <a:pos x="288" y="380"/>
                </a:cxn>
                <a:cxn ang="0">
                  <a:pos x="345" y="319"/>
                </a:cxn>
                <a:cxn ang="0">
                  <a:pos x="407" y="263"/>
                </a:cxn>
                <a:cxn ang="0">
                  <a:pos x="473" y="212"/>
                </a:cxn>
                <a:cxn ang="0">
                  <a:pos x="543" y="166"/>
                </a:cxn>
                <a:cxn ang="0">
                  <a:pos x="601" y="134"/>
                </a:cxn>
                <a:cxn ang="0">
                  <a:pos x="667" y="101"/>
                </a:cxn>
                <a:cxn ang="0">
                  <a:pos x="771" y="60"/>
                </a:cxn>
                <a:cxn ang="0">
                  <a:pos x="878" y="30"/>
                </a:cxn>
                <a:cxn ang="0">
                  <a:pos x="950" y="15"/>
                </a:cxn>
                <a:cxn ang="0">
                  <a:pos x="1061" y="3"/>
                </a:cxn>
                <a:cxn ang="0">
                  <a:pos x="1117" y="0"/>
                </a:cxn>
                <a:cxn ang="0">
                  <a:pos x="1117" y="795"/>
                </a:cxn>
                <a:cxn ang="0">
                  <a:pos x="1083" y="799"/>
                </a:cxn>
                <a:cxn ang="0">
                  <a:pos x="1050" y="806"/>
                </a:cxn>
                <a:cxn ang="0">
                  <a:pos x="1003" y="822"/>
                </a:cxn>
                <a:cxn ang="0">
                  <a:pos x="959" y="844"/>
                </a:cxn>
                <a:cxn ang="0">
                  <a:pos x="919" y="873"/>
                </a:cxn>
                <a:cxn ang="0">
                  <a:pos x="883" y="906"/>
                </a:cxn>
                <a:cxn ang="0">
                  <a:pos x="853" y="945"/>
                </a:cxn>
                <a:cxn ang="0">
                  <a:pos x="828" y="988"/>
                </a:cxn>
                <a:cxn ang="0">
                  <a:pos x="815" y="1018"/>
                </a:cxn>
                <a:cxn ang="0">
                  <a:pos x="806" y="1050"/>
                </a:cxn>
                <a:cxn ang="0">
                  <a:pos x="799" y="1083"/>
                </a:cxn>
                <a:cxn ang="0">
                  <a:pos x="795" y="1135"/>
                </a:cxn>
                <a:cxn ang="0">
                  <a:pos x="798" y="1181"/>
                </a:cxn>
                <a:cxn ang="0">
                  <a:pos x="807" y="1225"/>
                </a:cxn>
                <a:cxn ang="0">
                  <a:pos x="821" y="1266"/>
                </a:cxn>
                <a:cxn ang="0">
                  <a:pos x="840" y="1305"/>
                </a:cxn>
              </a:cxnLst>
              <a:rect l="0" t="0" r="r" b="b"/>
              <a:pathLst>
                <a:path w="1135" h="1702">
                  <a:moveTo>
                    <a:pt x="840" y="1305"/>
                  </a:moveTo>
                  <a:lnTo>
                    <a:pt x="152" y="1702"/>
                  </a:lnTo>
                  <a:lnTo>
                    <a:pt x="139" y="1678"/>
                  </a:lnTo>
                  <a:lnTo>
                    <a:pt x="126" y="1653"/>
                  </a:lnTo>
                  <a:lnTo>
                    <a:pt x="113" y="1628"/>
                  </a:lnTo>
                  <a:lnTo>
                    <a:pt x="101" y="1603"/>
                  </a:lnTo>
                  <a:lnTo>
                    <a:pt x="90" y="1578"/>
                  </a:lnTo>
                  <a:lnTo>
                    <a:pt x="80" y="1552"/>
                  </a:lnTo>
                  <a:lnTo>
                    <a:pt x="70" y="1526"/>
                  </a:lnTo>
                  <a:lnTo>
                    <a:pt x="61" y="1500"/>
                  </a:lnTo>
                  <a:lnTo>
                    <a:pt x="52" y="1473"/>
                  </a:lnTo>
                  <a:lnTo>
                    <a:pt x="44" y="1447"/>
                  </a:lnTo>
                  <a:lnTo>
                    <a:pt x="37" y="1420"/>
                  </a:lnTo>
                  <a:lnTo>
                    <a:pt x="30" y="1393"/>
                  </a:lnTo>
                  <a:lnTo>
                    <a:pt x="24" y="1365"/>
                  </a:lnTo>
                  <a:lnTo>
                    <a:pt x="19" y="1338"/>
                  </a:lnTo>
                  <a:lnTo>
                    <a:pt x="14" y="1311"/>
                  </a:lnTo>
                  <a:lnTo>
                    <a:pt x="10" y="1283"/>
                  </a:lnTo>
                  <a:lnTo>
                    <a:pt x="7" y="1256"/>
                  </a:lnTo>
                  <a:lnTo>
                    <a:pt x="4" y="1228"/>
                  </a:lnTo>
                  <a:lnTo>
                    <a:pt x="2" y="1200"/>
                  </a:lnTo>
                  <a:lnTo>
                    <a:pt x="1" y="1172"/>
                  </a:lnTo>
                  <a:lnTo>
                    <a:pt x="0" y="1145"/>
                  </a:lnTo>
                  <a:lnTo>
                    <a:pt x="0" y="1117"/>
                  </a:lnTo>
                  <a:lnTo>
                    <a:pt x="1" y="1089"/>
                  </a:lnTo>
                  <a:lnTo>
                    <a:pt x="2" y="1061"/>
                  </a:lnTo>
                  <a:lnTo>
                    <a:pt x="5" y="1033"/>
                  </a:lnTo>
                  <a:lnTo>
                    <a:pt x="7" y="1006"/>
                  </a:lnTo>
                  <a:lnTo>
                    <a:pt x="11" y="978"/>
                  </a:lnTo>
                  <a:lnTo>
                    <a:pt x="15" y="951"/>
                  </a:lnTo>
                  <a:lnTo>
                    <a:pt x="20" y="923"/>
                  </a:lnTo>
                  <a:lnTo>
                    <a:pt x="26" y="896"/>
                  </a:lnTo>
                  <a:lnTo>
                    <a:pt x="32" y="869"/>
                  </a:lnTo>
                  <a:lnTo>
                    <a:pt x="39" y="842"/>
                  </a:lnTo>
                  <a:lnTo>
                    <a:pt x="47" y="815"/>
                  </a:lnTo>
                  <a:lnTo>
                    <a:pt x="51" y="802"/>
                  </a:lnTo>
                  <a:lnTo>
                    <a:pt x="55" y="788"/>
                  </a:lnTo>
                  <a:lnTo>
                    <a:pt x="64" y="762"/>
                  </a:lnTo>
                  <a:lnTo>
                    <a:pt x="73" y="736"/>
                  </a:lnTo>
                  <a:lnTo>
                    <a:pt x="83" y="710"/>
                  </a:lnTo>
                  <a:lnTo>
                    <a:pt x="94" y="684"/>
                  </a:lnTo>
                  <a:lnTo>
                    <a:pt x="105" y="659"/>
                  </a:lnTo>
                  <a:lnTo>
                    <a:pt x="117" y="634"/>
                  </a:lnTo>
                  <a:lnTo>
                    <a:pt x="130" y="609"/>
                  </a:lnTo>
                  <a:lnTo>
                    <a:pt x="143" y="584"/>
                  </a:lnTo>
                  <a:lnTo>
                    <a:pt x="157" y="559"/>
                  </a:lnTo>
                  <a:lnTo>
                    <a:pt x="171" y="535"/>
                  </a:lnTo>
                  <a:lnTo>
                    <a:pt x="186" y="512"/>
                  </a:lnTo>
                  <a:lnTo>
                    <a:pt x="202" y="489"/>
                  </a:lnTo>
                  <a:lnTo>
                    <a:pt x="218" y="466"/>
                  </a:lnTo>
                  <a:lnTo>
                    <a:pt x="235" y="444"/>
                  </a:lnTo>
                  <a:lnTo>
                    <a:pt x="252" y="422"/>
                  </a:lnTo>
                  <a:lnTo>
                    <a:pt x="270" y="401"/>
                  </a:lnTo>
                  <a:lnTo>
                    <a:pt x="288" y="380"/>
                  </a:lnTo>
                  <a:lnTo>
                    <a:pt x="306" y="359"/>
                  </a:lnTo>
                  <a:lnTo>
                    <a:pt x="326" y="339"/>
                  </a:lnTo>
                  <a:lnTo>
                    <a:pt x="345" y="319"/>
                  </a:lnTo>
                  <a:lnTo>
                    <a:pt x="366" y="300"/>
                  </a:lnTo>
                  <a:lnTo>
                    <a:pt x="386" y="281"/>
                  </a:lnTo>
                  <a:lnTo>
                    <a:pt x="407" y="263"/>
                  </a:lnTo>
                  <a:lnTo>
                    <a:pt x="429" y="246"/>
                  </a:lnTo>
                  <a:lnTo>
                    <a:pt x="451" y="229"/>
                  </a:lnTo>
                  <a:lnTo>
                    <a:pt x="473" y="212"/>
                  </a:lnTo>
                  <a:lnTo>
                    <a:pt x="496" y="196"/>
                  </a:lnTo>
                  <a:lnTo>
                    <a:pt x="520" y="181"/>
                  </a:lnTo>
                  <a:lnTo>
                    <a:pt x="543" y="166"/>
                  </a:lnTo>
                  <a:lnTo>
                    <a:pt x="568" y="152"/>
                  </a:lnTo>
                  <a:lnTo>
                    <a:pt x="584" y="143"/>
                  </a:lnTo>
                  <a:lnTo>
                    <a:pt x="601" y="134"/>
                  </a:lnTo>
                  <a:lnTo>
                    <a:pt x="634" y="117"/>
                  </a:lnTo>
                  <a:lnTo>
                    <a:pt x="650" y="109"/>
                  </a:lnTo>
                  <a:lnTo>
                    <a:pt x="667" y="101"/>
                  </a:lnTo>
                  <a:lnTo>
                    <a:pt x="701" y="87"/>
                  </a:lnTo>
                  <a:lnTo>
                    <a:pt x="736" y="73"/>
                  </a:lnTo>
                  <a:lnTo>
                    <a:pt x="771" y="60"/>
                  </a:lnTo>
                  <a:lnTo>
                    <a:pt x="806" y="49"/>
                  </a:lnTo>
                  <a:lnTo>
                    <a:pt x="842" y="39"/>
                  </a:lnTo>
                  <a:lnTo>
                    <a:pt x="878" y="30"/>
                  </a:lnTo>
                  <a:lnTo>
                    <a:pt x="896" y="26"/>
                  </a:lnTo>
                  <a:lnTo>
                    <a:pt x="914" y="22"/>
                  </a:lnTo>
                  <a:lnTo>
                    <a:pt x="950" y="15"/>
                  </a:lnTo>
                  <a:lnTo>
                    <a:pt x="987" y="10"/>
                  </a:lnTo>
                  <a:lnTo>
                    <a:pt x="1024" y="6"/>
                  </a:lnTo>
                  <a:lnTo>
                    <a:pt x="1061" y="3"/>
                  </a:lnTo>
                  <a:lnTo>
                    <a:pt x="1079" y="2"/>
                  </a:lnTo>
                  <a:lnTo>
                    <a:pt x="1098" y="1"/>
                  </a:lnTo>
                  <a:lnTo>
                    <a:pt x="1117" y="0"/>
                  </a:lnTo>
                  <a:lnTo>
                    <a:pt x="1135" y="0"/>
                  </a:lnTo>
                  <a:lnTo>
                    <a:pt x="1135" y="795"/>
                  </a:lnTo>
                  <a:lnTo>
                    <a:pt x="1117" y="795"/>
                  </a:lnTo>
                  <a:lnTo>
                    <a:pt x="1100" y="797"/>
                  </a:lnTo>
                  <a:lnTo>
                    <a:pt x="1092" y="798"/>
                  </a:lnTo>
                  <a:lnTo>
                    <a:pt x="1083" y="799"/>
                  </a:lnTo>
                  <a:lnTo>
                    <a:pt x="1075" y="800"/>
                  </a:lnTo>
                  <a:lnTo>
                    <a:pt x="1066" y="802"/>
                  </a:lnTo>
                  <a:lnTo>
                    <a:pt x="1050" y="806"/>
                  </a:lnTo>
                  <a:lnTo>
                    <a:pt x="1034" y="810"/>
                  </a:lnTo>
                  <a:lnTo>
                    <a:pt x="1018" y="816"/>
                  </a:lnTo>
                  <a:lnTo>
                    <a:pt x="1003" y="822"/>
                  </a:lnTo>
                  <a:lnTo>
                    <a:pt x="988" y="829"/>
                  </a:lnTo>
                  <a:lnTo>
                    <a:pt x="973" y="836"/>
                  </a:lnTo>
                  <a:lnTo>
                    <a:pt x="959" y="844"/>
                  </a:lnTo>
                  <a:lnTo>
                    <a:pt x="945" y="853"/>
                  </a:lnTo>
                  <a:lnTo>
                    <a:pt x="931" y="863"/>
                  </a:lnTo>
                  <a:lnTo>
                    <a:pt x="919" y="873"/>
                  </a:lnTo>
                  <a:lnTo>
                    <a:pt x="906" y="883"/>
                  </a:lnTo>
                  <a:lnTo>
                    <a:pt x="894" y="895"/>
                  </a:lnTo>
                  <a:lnTo>
                    <a:pt x="883" y="906"/>
                  </a:lnTo>
                  <a:lnTo>
                    <a:pt x="872" y="919"/>
                  </a:lnTo>
                  <a:lnTo>
                    <a:pt x="862" y="932"/>
                  </a:lnTo>
                  <a:lnTo>
                    <a:pt x="853" y="945"/>
                  </a:lnTo>
                  <a:lnTo>
                    <a:pt x="844" y="959"/>
                  </a:lnTo>
                  <a:lnTo>
                    <a:pt x="836" y="973"/>
                  </a:lnTo>
                  <a:lnTo>
                    <a:pt x="828" y="988"/>
                  </a:lnTo>
                  <a:lnTo>
                    <a:pt x="822" y="1003"/>
                  </a:lnTo>
                  <a:lnTo>
                    <a:pt x="818" y="1010"/>
                  </a:lnTo>
                  <a:lnTo>
                    <a:pt x="815" y="1018"/>
                  </a:lnTo>
                  <a:lnTo>
                    <a:pt x="810" y="1034"/>
                  </a:lnTo>
                  <a:lnTo>
                    <a:pt x="808" y="1042"/>
                  </a:lnTo>
                  <a:lnTo>
                    <a:pt x="806" y="1050"/>
                  </a:lnTo>
                  <a:lnTo>
                    <a:pt x="802" y="1067"/>
                  </a:lnTo>
                  <a:lnTo>
                    <a:pt x="800" y="1075"/>
                  </a:lnTo>
                  <a:lnTo>
                    <a:pt x="799" y="1083"/>
                  </a:lnTo>
                  <a:lnTo>
                    <a:pt x="797" y="1100"/>
                  </a:lnTo>
                  <a:lnTo>
                    <a:pt x="795" y="1118"/>
                  </a:lnTo>
                  <a:lnTo>
                    <a:pt x="795" y="1135"/>
                  </a:lnTo>
                  <a:lnTo>
                    <a:pt x="795" y="1147"/>
                  </a:lnTo>
                  <a:lnTo>
                    <a:pt x="796" y="1158"/>
                  </a:lnTo>
                  <a:lnTo>
                    <a:pt x="798" y="1181"/>
                  </a:lnTo>
                  <a:lnTo>
                    <a:pt x="800" y="1192"/>
                  </a:lnTo>
                  <a:lnTo>
                    <a:pt x="802" y="1203"/>
                  </a:lnTo>
                  <a:lnTo>
                    <a:pt x="807" y="1225"/>
                  </a:lnTo>
                  <a:lnTo>
                    <a:pt x="810" y="1235"/>
                  </a:lnTo>
                  <a:lnTo>
                    <a:pt x="813" y="1246"/>
                  </a:lnTo>
                  <a:lnTo>
                    <a:pt x="821" y="1266"/>
                  </a:lnTo>
                  <a:lnTo>
                    <a:pt x="825" y="1276"/>
                  </a:lnTo>
                  <a:lnTo>
                    <a:pt x="830" y="1286"/>
                  </a:lnTo>
                  <a:lnTo>
                    <a:pt x="840" y="1305"/>
                  </a:lnTo>
                  <a:close/>
                </a:path>
              </a:pathLst>
            </a:custGeom>
            <a:solidFill>
              <a:schemeClr val="accent1"/>
            </a:solidFill>
            <a:ln w="6350" cmpd="sng">
              <a:noFill/>
              <a:round/>
              <a:headEnd/>
              <a:tailEnd/>
            </a:ln>
          </p:spPr>
          <p:txBody>
            <a:bodyPr lIns="45720" rIns="45720" anchor="ctr" anchorCtr="1"/>
            <a:lstStyle/>
            <a:p>
              <a:endParaRPr lang="en-US" sz="1100"/>
            </a:p>
          </p:txBody>
        </p:sp>
        <p:sp>
          <p:nvSpPr>
            <p:cNvPr id="124" name="Text Box 124">
              <a:extLst>
                <a:ext uri="{FF2B5EF4-FFF2-40B4-BE49-F238E27FC236}">
                  <a16:creationId xmlns:a16="http://schemas.microsoft.com/office/drawing/2014/main" id="{3133C9B3-C454-443A-BF6C-6377E79D9F29}"/>
                </a:ext>
              </a:extLst>
            </p:cNvPr>
            <p:cNvSpPr txBox="1">
              <a:spLocks noChangeArrowheads="1"/>
            </p:cNvSpPr>
            <p:nvPr/>
          </p:nvSpPr>
          <p:spPr bwMode="auto">
            <a:xfrm>
              <a:off x="3255963" y="2965475"/>
              <a:ext cx="411163"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5" name="Text Box 125">
              <a:extLst>
                <a:ext uri="{FF2B5EF4-FFF2-40B4-BE49-F238E27FC236}">
                  <a16:creationId xmlns:a16="http://schemas.microsoft.com/office/drawing/2014/main" id="{916105F7-26AA-400F-967C-957C7B86A890}"/>
                </a:ext>
              </a:extLst>
            </p:cNvPr>
            <p:cNvSpPr txBox="1">
              <a:spLocks noChangeArrowheads="1"/>
            </p:cNvSpPr>
            <p:nvPr/>
          </p:nvSpPr>
          <p:spPr bwMode="auto">
            <a:xfrm>
              <a:off x="3721101" y="2198713"/>
              <a:ext cx="411163" cy="255588"/>
            </a:xfrm>
            <a:prstGeom prst="rect">
              <a:avLst/>
            </a:prstGeom>
            <a:noFill/>
            <a:ln w="635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26" name="Text Box 126">
              <a:extLst>
                <a:ext uri="{FF2B5EF4-FFF2-40B4-BE49-F238E27FC236}">
                  <a16:creationId xmlns:a16="http://schemas.microsoft.com/office/drawing/2014/main" id="{86A11BCB-4DD5-45C9-BA45-AADF84DB23D0}"/>
                </a:ext>
              </a:extLst>
            </p:cNvPr>
            <p:cNvSpPr txBox="1">
              <a:spLocks noChangeArrowheads="1"/>
            </p:cNvSpPr>
            <p:nvPr/>
          </p:nvSpPr>
          <p:spPr bwMode="auto">
            <a:xfrm>
              <a:off x="2790826" y="2198713"/>
              <a:ext cx="411163" cy="255588"/>
            </a:xfrm>
            <a:prstGeom prst="rect">
              <a:avLst/>
            </a:prstGeom>
            <a:noFill/>
            <a:ln w="6350">
              <a:noFill/>
              <a:miter lim="800000"/>
              <a:headEnd/>
              <a:tailEnd/>
            </a:ln>
            <a:effectLst/>
          </p:spPr>
          <p:txBody>
            <a:bodyPr lIns="45720" rIns="45720" anchor="ctr" anchorCtr="1"/>
            <a:lstStyle/>
            <a:p>
              <a:pPr eaLnBrk="0" hangingPunct="0"/>
              <a:r>
                <a:rPr lang="en-US" sz="1100" b="1" dirty="0">
                  <a:solidFill>
                    <a:schemeClr val="bg1"/>
                  </a:solidFill>
                </a:rPr>
                <a:t>Text</a:t>
              </a:r>
            </a:p>
          </p:txBody>
        </p:sp>
      </p:grpSp>
      <p:grpSp>
        <p:nvGrpSpPr>
          <p:cNvPr id="127" name="Group 126">
            <a:extLst>
              <a:ext uri="{FF2B5EF4-FFF2-40B4-BE49-F238E27FC236}">
                <a16:creationId xmlns:a16="http://schemas.microsoft.com/office/drawing/2014/main" id="{5C6ADBB4-0403-4AD9-8601-AF488BF258A2}"/>
              </a:ext>
            </a:extLst>
          </p:cNvPr>
          <p:cNvGrpSpPr/>
          <p:nvPr/>
        </p:nvGrpSpPr>
        <p:grpSpPr bwMode="auto">
          <a:xfrm>
            <a:off x="7281693" y="4148145"/>
            <a:ext cx="1860552" cy="1860553"/>
            <a:chOff x="5845181" y="4013232"/>
            <a:chExt cx="1860552" cy="1860553"/>
          </a:xfrm>
        </p:grpSpPr>
        <p:sp>
          <p:nvSpPr>
            <p:cNvPr id="128" name="Freeform 128">
              <a:extLst>
                <a:ext uri="{FF2B5EF4-FFF2-40B4-BE49-F238E27FC236}">
                  <a16:creationId xmlns:a16="http://schemas.microsoft.com/office/drawing/2014/main" id="{05EE1DFF-C9BF-404D-81FC-6D38209DA3E0}"/>
                </a:ext>
              </a:extLst>
            </p:cNvPr>
            <p:cNvSpPr>
              <a:spLocks noChangeAspect="1"/>
            </p:cNvSpPr>
            <p:nvPr/>
          </p:nvSpPr>
          <p:spPr bwMode="auto">
            <a:xfrm>
              <a:off x="6767519" y="4013232"/>
              <a:ext cx="657226" cy="742951"/>
            </a:xfrm>
            <a:custGeom>
              <a:avLst/>
              <a:gdLst/>
              <a:ahLst/>
              <a:cxnLst>
                <a:cxn ang="0">
                  <a:pos x="0" y="859"/>
                </a:cxn>
                <a:cxn ang="0">
                  <a:pos x="0" y="429"/>
                </a:cxn>
                <a:cxn ang="0">
                  <a:pos x="0" y="0"/>
                </a:cxn>
                <a:cxn ang="0">
                  <a:pos x="30" y="0"/>
                </a:cxn>
                <a:cxn ang="0">
                  <a:pos x="59" y="1"/>
                </a:cxn>
                <a:cxn ang="0">
                  <a:pos x="88" y="3"/>
                </a:cxn>
                <a:cxn ang="0">
                  <a:pos x="118" y="6"/>
                </a:cxn>
                <a:cxn ang="0">
                  <a:pos x="147" y="9"/>
                </a:cxn>
                <a:cxn ang="0">
                  <a:pos x="176" y="13"/>
                </a:cxn>
                <a:cxn ang="0">
                  <a:pos x="205" y="18"/>
                </a:cxn>
                <a:cxn ang="0">
                  <a:pos x="234" y="23"/>
                </a:cxn>
                <a:cxn ang="0">
                  <a:pos x="263" y="29"/>
                </a:cxn>
                <a:cxn ang="0">
                  <a:pos x="291" y="36"/>
                </a:cxn>
                <a:cxn ang="0">
                  <a:pos x="320" y="43"/>
                </a:cxn>
                <a:cxn ang="0">
                  <a:pos x="348" y="52"/>
                </a:cxn>
                <a:cxn ang="0">
                  <a:pos x="362" y="56"/>
                </a:cxn>
                <a:cxn ang="0">
                  <a:pos x="376" y="60"/>
                </a:cxn>
                <a:cxn ang="0">
                  <a:pos x="404" y="70"/>
                </a:cxn>
                <a:cxn ang="0">
                  <a:pos x="431" y="80"/>
                </a:cxn>
                <a:cxn ang="0">
                  <a:pos x="459" y="91"/>
                </a:cxn>
                <a:cxn ang="0">
                  <a:pos x="486" y="103"/>
                </a:cxn>
                <a:cxn ang="0">
                  <a:pos x="513" y="115"/>
                </a:cxn>
                <a:cxn ang="0">
                  <a:pos x="539" y="128"/>
                </a:cxn>
                <a:cxn ang="0">
                  <a:pos x="565" y="141"/>
                </a:cxn>
                <a:cxn ang="0">
                  <a:pos x="591" y="155"/>
                </a:cxn>
                <a:cxn ang="0">
                  <a:pos x="617" y="170"/>
                </a:cxn>
                <a:cxn ang="0">
                  <a:pos x="642" y="185"/>
                </a:cxn>
                <a:cxn ang="0">
                  <a:pos x="667" y="201"/>
                </a:cxn>
                <a:cxn ang="0">
                  <a:pos x="691" y="218"/>
                </a:cxn>
                <a:cxn ang="0">
                  <a:pos x="703" y="227"/>
                </a:cxn>
                <a:cxn ang="0">
                  <a:pos x="715" y="235"/>
                </a:cxn>
                <a:cxn ang="0">
                  <a:pos x="739" y="253"/>
                </a:cxn>
                <a:cxn ang="0">
                  <a:pos x="762" y="271"/>
                </a:cxn>
                <a:cxn ang="0">
                  <a:pos x="784" y="290"/>
                </a:cxn>
                <a:cxn ang="0">
                  <a:pos x="806" y="310"/>
                </a:cxn>
                <a:cxn ang="0">
                  <a:pos x="817" y="320"/>
                </a:cxn>
                <a:cxn ang="0">
                  <a:pos x="827" y="330"/>
                </a:cxn>
                <a:cxn ang="0">
                  <a:pos x="848" y="351"/>
                </a:cxn>
                <a:cxn ang="0">
                  <a:pos x="241" y="958"/>
                </a:cxn>
                <a:cxn ang="0">
                  <a:pos x="229" y="947"/>
                </a:cxn>
                <a:cxn ang="0">
                  <a:pos x="217" y="936"/>
                </a:cxn>
                <a:cxn ang="0">
                  <a:pos x="204" y="926"/>
                </a:cxn>
                <a:cxn ang="0">
                  <a:pos x="191" y="917"/>
                </a:cxn>
                <a:cxn ang="0">
                  <a:pos x="177" y="908"/>
                </a:cxn>
                <a:cxn ang="0">
                  <a:pos x="162" y="900"/>
                </a:cxn>
                <a:cxn ang="0">
                  <a:pos x="148" y="892"/>
                </a:cxn>
                <a:cxn ang="0">
                  <a:pos x="133" y="885"/>
                </a:cxn>
                <a:cxn ang="0">
                  <a:pos x="125" y="882"/>
                </a:cxn>
                <a:cxn ang="0">
                  <a:pos x="117" y="879"/>
                </a:cxn>
                <a:cxn ang="0">
                  <a:pos x="101" y="874"/>
                </a:cxn>
                <a:cxn ang="0">
                  <a:pos x="93" y="872"/>
                </a:cxn>
                <a:cxn ang="0">
                  <a:pos x="85" y="869"/>
                </a:cxn>
                <a:cxn ang="0">
                  <a:pos x="69" y="866"/>
                </a:cxn>
                <a:cxn ang="0">
                  <a:pos x="61" y="864"/>
                </a:cxn>
                <a:cxn ang="0">
                  <a:pos x="52" y="863"/>
                </a:cxn>
                <a:cxn ang="0">
                  <a:pos x="35" y="861"/>
                </a:cxn>
                <a:cxn ang="0">
                  <a:pos x="18" y="859"/>
                </a:cxn>
                <a:cxn ang="0">
                  <a:pos x="0" y="859"/>
                </a:cxn>
              </a:cxnLst>
              <a:rect l="0" t="0" r="r" b="b"/>
              <a:pathLst>
                <a:path w="848" h="958">
                  <a:moveTo>
                    <a:pt x="0" y="859"/>
                  </a:moveTo>
                  <a:lnTo>
                    <a:pt x="0" y="429"/>
                  </a:lnTo>
                  <a:lnTo>
                    <a:pt x="0" y="0"/>
                  </a:lnTo>
                  <a:lnTo>
                    <a:pt x="30" y="0"/>
                  </a:lnTo>
                  <a:lnTo>
                    <a:pt x="59" y="1"/>
                  </a:lnTo>
                  <a:lnTo>
                    <a:pt x="88" y="3"/>
                  </a:lnTo>
                  <a:lnTo>
                    <a:pt x="118" y="6"/>
                  </a:lnTo>
                  <a:lnTo>
                    <a:pt x="147" y="9"/>
                  </a:lnTo>
                  <a:lnTo>
                    <a:pt x="176" y="13"/>
                  </a:lnTo>
                  <a:lnTo>
                    <a:pt x="205" y="18"/>
                  </a:lnTo>
                  <a:lnTo>
                    <a:pt x="234" y="23"/>
                  </a:lnTo>
                  <a:lnTo>
                    <a:pt x="263" y="29"/>
                  </a:lnTo>
                  <a:lnTo>
                    <a:pt x="291" y="36"/>
                  </a:lnTo>
                  <a:lnTo>
                    <a:pt x="320" y="43"/>
                  </a:lnTo>
                  <a:lnTo>
                    <a:pt x="348" y="52"/>
                  </a:lnTo>
                  <a:lnTo>
                    <a:pt x="362" y="56"/>
                  </a:lnTo>
                  <a:lnTo>
                    <a:pt x="376" y="60"/>
                  </a:lnTo>
                  <a:lnTo>
                    <a:pt x="404" y="70"/>
                  </a:lnTo>
                  <a:lnTo>
                    <a:pt x="431" y="80"/>
                  </a:lnTo>
                  <a:lnTo>
                    <a:pt x="459" y="91"/>
                  </a:lnTo>
                  <a:lnTo>
                    <a:pt x="486" y="103"/>
                  </a:lnTo>
                  <a:lnTo>
                    <a:pt x="513" y="115"/>
                  </a:lnTo>
                  <a:lnTo>
                    <a:pt x="539" y="128"/>
                  </a:lnTo>
                  <a:lnTo>
                    <a:pt x="565" y="141"/>
                  </a:lnTo>
                  <a:lnTo>
                    <a:pt x="591" y="155"/>
                  </a:lnTo>
                  <a:lnTo>
                    <a:pt x="617" y="170"/>
                  </a:lnTo>
                  <a:lnTo>
                    <a:pt x="642" y="185"/>
                  </a:lnTo>
                  <a:lnTo>
                    <a:pt x="667" y="201"/>
                  </a:lnTo>
                  <a:lnTo>
                    <a:pt x="691" y="218"/>
                  </a:lnTo>
                  <a:lnTo>
                    <a:pt x="703" y="227"/>
                  </a:lnTo>
                  <a:lnTo>
                    <a:pt x="715" y="235"/>
                  </a:lnTo>
                  <a:lnTo>
                    <a:pt x="739" y="253"/>
                  </a:lnTo>
                  <a:lnTo>
                    <a:pt x="762" y="271"/>
                  </a:lnTo>
                  <a:lnTo>
                    <a:pt x="784" y="290"/>
                  </a:lnTo>
                  <a:lnTo>
                    <a:pt x="806" y="310"/>
                  </a:lnTo>
                  <a:lnTo>
                    <a:pt x="817" y="320"/>
                  </a:lnTo>
                  <a:lnTo>
                    <a:pt x="827" y="330"/>
                  </a:lnTo>
                  <a:lnTo>
                    <a:pt x="848" y="351"/>
                  </a:lnTo>
                  <a:lnTo>
                    <a:pt x="241" y="958"/>
                  </a:lnTo>
                  <a:lnTo>
                    <a:pt x="229" y="947"/>
                  </a:lnTo>
                  <a:lnTo>
                    <a:pt x="217" y="936"/>
                  </a:lnTo>
                  <a:lnTo>
                    <a:pt x="204" y="926"/>
                  </a:lnTo>
                  <a:lnTo>
                    <a:pt x="191" y="917"/>
                  </a:lnTo>
                  <a:lnTo>
                    <a:pt x="177" y="908"/>
                  </a:lnTo>
                  <a:lnTo>
                    <a:pt x="162" y="900"/>
                  </a:lnTo>
                  <a:lnTo>
                    <a:pt x="148" y="892"/>
                  </a:lnTo>
                  <a:lnTo>
                    <a:pt x="133" y="885"/>
                  </a:lnTo>
                  <a:lnTo>
                    <a:pt x="125" y="882"/>
                  </a:lnTo>
                  <a:lnTo>
                    <a:pt x="117" y="879"/>
                  </a:lnTo>
                  <a:lnTo>
                    <a:pt x="101" y="874"/>
                  </a:lnTo>
                  <a:lnTo>
                    <a:pt x="93" y="872"/>
                  </a:lnTo>
                  <a:lnTo>
                    <a:pt x="85" y="869"/>
                  </a:lnTo>
                  <a:lnTo>
                    <a:pt x="69" y="866"/>
                  </a:lnTo>
                  <a:lnTo>
                    <a:pt x="61" y="864"/>
                  </a:lnTo>
                  <a:lnTo>
                    <a:pt x="52" y="863"/>
                  </a:lnTo>
                  <a:lnTo>
                    <a:pt x="35" y="861"/>
                  </a:lnTo>
                  <a:lnTo>
                    <a:pt x="18" y="859"/>
                  </a:lnTo>
                  <a:lnTo>
                    <a:pt x="0" y="859"/>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29" name="Freeform 129">
              <a:extLst>
                <a:ext uri="{FF2B5EF4-FFF2-40B4-BE49-F238E27FC236}">
                  <a16:creationId xmlns:a16="http://schemas.microsoft.com/office/drawing/2014/main" id="{BBBC136F-D785-496E-889E-E2A4B7CA988E}"/>
                </a:ext>
              </a:extLst>
            </p:cNvPr>
            <p:cNvSpPr>
              <a:spLocks noChangeAspect="1"/>
            </p:cNvSpPr>
            <p:nvPr/>
          </p:nvSpPr>
          <p:spPr bwMode="auto">
            <a:xfrm>
              <a:off x="6962782" y="4286282"/>
              <a:ext cx="742951" cy="657226"/>
            </a:xfrm>
            <a:custGeom>
              <a:avLst/>
              <a:gdLst/>
              <a:ahLst/>
              <a:cxnLst>
                <a:cxn ang="0">
                  <a:pos x="0" y="607"/>
                </a:cxn>
                <a:cxn ang="0">
                  <a:pos x="607" y="0"/>
                </a:cxn>
                <a:cxn ang="0">
                  <a:pos x="628" y="21"/>
                </a:cxn>
                <a:cxn ang="0">
                  <a:pos x="648" y="42"/>
                </a:cxn>
                <a:cxn ang="0">
                  <a:pos x="668" y="64"/>
                </a:cxn>
                <a:cxn ang="0">
                  <a:pos x="687" y="87"/>
                </a:cxn>
                <a:cxn ang="0">
                  <a:pos x="705" y="110"/>
                </a:cxn>
                <a:cxn ang="0">
                  <a:pos x="723" y="133"/>
                </a:cxn>
                <a:cxn ang="0">
                  <a:pos x="740" y="157"/>
                </a:cxn>
                <a:cxn ang="0">
                  <a:pos x="748" y="169"/>
                </a:cxn>
                <a:cxn ang="0">
                  <a:pos x="756" y="181"/>
                </a:cxn>
                <a:cxn ang="0">
                  <a:pos x="772" y="206"/>
                </a:cxn>
                <a:cxn ang="0">
                  <a:pos x="788" y="231"/>
                </a:cxn>
                <a:cxn ang="0">
                  <a:pos x="803" y="257"/>
                </a:cxn>
                <a:cxn ang="0">
                  <a:pos x="817" y="283"/>
                </a:cxn>
                <a:cxn ang="0">
                  <a:pos x="830" y="309"/>
                </a:cxn>
                <a:cxn ang="0">
                  <a:pos x="843" y="336"/>
                </a:cxn>
                <a:cxn ang="0">
                  <a:pos x="856" y="362"/>
                </a:cxn>
                <a:cxn ang="0">
                  <a:pos x="867" y="389"/>
                </a:cxn>
                <a:cxn ang="0">
                  <a:pos x="878" y="417"/>
                </a:cxn>
                <a:cxn ang="0">
                  <a:pos x="888" y="444"/>
                </a:cxn>
                <a:cxn ang="0">
                  <a:pos x="898" y="472"/>
                </a:cxn>
                <a:cxn ang="0">
                  <a:pos x="907" y="500"/>
                </a:cxn>
                <a:cxn ang="0">
                  <a:pos x="915" y="528"/>
                </a:cxn>
                <a:cxn ang="0">
                  <a:pos x="923" y="557"/>
                </a:cxn>
                <a:cxn ang="0">
                  <a:pos x="930" y="585"/>
                </a:cxn>
                <a:cxn ang="0">
                  <a:pos x="936" y="614"/>
                </a:cxn>
                <a:cxn ang="0">
                  <a:pos x="941" y="643"/>
                </a:cxn>
                <a:cxn ang="0">
                  <a:pos x="946" y="672"/>
                </a:cxn>
                <a:cxn ang="0">
                  <a:pos x="950" y="701"/>
                </a:cxn>
                <a:cxn ang="0">
                  <a:pos x="953" y="730"/>
                </a:cxn>
                <a:cxn ang="0">
                  <a:pos x="956" y="760"/>
                </a:cxn>
                <a:cxn ang="0">
                  <a:pos x="957" y="789"/>
                </a:cxn>
                <a:cxn ang="0">
                  <a:pos x="958" y="818"/>
                </a:cxn>
                <a:cxn ang="0">
                  <a:pos x="958" y="848"/>
                </a:cxn>
                <a:cxn ang="0">
                  <a:pos x="529" y="848"/>
                </a:cxn>
                <a:cxn ang="0">
                  <a:pos x="99" y="848"/>
                </a:cxn>
                <a:cxn ang="0">
                  <a:pos x="99" y="830"/>
                </a:cxn>
                <a:cxn ang="0">
                  <a:pos x="98" y="813"/>
                </a:cxn>
                <a:cxn ang="0">
                  <a:pos x="97" y="805"/>
                </a:cxn>
                <a:cxn ang="0">
                  <a:pos x="96" y="796"/>
                </a:cxn>
                <a:cxn ang="0">
                  <a:pos x="94" y="788"/>
                </a:cxn>
                <a:cxn ang="0">
                  <a:pos x="93" y="779"/>
                </a:cxn>
                <a:cxn ang="0">
                  <a:pos x="89" y="763"/>
                </a:cxn>
                <a:cxn ang="0">
                  <a:pos x="84" y="747"/>
                </a:cxn>
                <a:cxn ang="0">
                  <a:pos x="79" y="731"/>
                </a:cxn>
                <a:cxn ang="0">
                  <a:pos x="73" y="716"/>
                </a:cxn>
                <a:cxn ang="0">
                  <a:pos x="66" y="700"/>
                </a:cxn>
                <a:cxn ang="0">
                  <a:pos x="58" y="686"/>
                </a:cxn>
                <a:cxn ang="0">
                  <a:pos x="50" y="672"/>
                </a:cxn>
                <a:cxn ang="0">
                  <a:pos x="41" y="658"/>
                </a:cxn>
                <a:cxn ang="0">
                  <a:pos x="32" y="644"/>
                </a:cxn>
                <a:cxn ang="0">
                  <a:pos x="22" y="632"/>
                </a:cxn>
                <a:cxn ang="0">
                  <a:pos x="11" y="619"/>
                </a:cxn>
                <a:cxn ang="0">
                  <a:pos x="0" y="607"/>
                </a:cxn>
              </a:cxnLst>
              <a:rect l="0" t="0" r="r" b="b"/>
              <a:pathLst>
                <a:path w="958" h="848">
                  <a:moveTo>
                    <a:pt x="0" y="607"/>
                  </a:moveTo>
                  <a:lnTo>
                    <a:pt x="607" y="0"/>
                  </a:lnTo>
                  <a:lnTo>
                    <a:pt x="628" y="21"/>
                  </a:lnTo>
                  <a:lnTo>
                    <a:pt x="648" y="42"/>
                  </a:lnTo>
                  <a:lnTo>
                    <a:pt x="668" y="64"/>
                  </a:lnTo>
                  <a:lnTo>
                    <a:pt x="687" y="87"/>
                  </a:lnTo>
                  <a:lnTo>
                    <a:pt x="705" y="110"/>
                  </a:lnTo>
                  <a:lnTo>
                    <a:pt x="723" y="133"/>
                  </a:lnTo>
                  <a:lnTo>
                    <a:pt x="740" y="157"/>
                  </a:lnTo>
                  <a:lnTo>
                    <a:pt x="748" y="169"/>
                  </a:lnTo>
                  <a:lnTo>
                    <a:pt x="756" y="181"/>
                  </a:lnTo>
                  <a:lnTo>
                    <a:pt x="772" y="206"/>
                  </a:lnTo>
                  <a:lnTo>
                    <a:pt x="788" y="231"/>
                  </a:lnTo>
                  <a:lnTo>
                    <a:pt x="803" y="257"/>
                  </a:lnTo>
                  <a:lnTo>
                    <a:pt x="817" y="283"/>
                  </a:lnTo>
                  <a:lnTo>
                    <a:pt x="830" y="309"/>
                  </a:lnTo>
                  <a:lnTo>
                    <a:pt x="843" y="336"/>
                  </a:lnTo>
                  <a:lnTo>
                    <a:pt x="856" y="362"/>
                  </a:lnTo>
                  <a:lnTo>
                    <a:pt x="867" y="389"/>
                  </a:lnTo>
                  <a:lnTo>
                    <a:pt x="878" y="417"/>
                  </a:lnTo>
                  <a:lnTo>
                    <a:pt x="888" y="444"/>
                  </a:lnTo>
                  <a:lnTo>
                    <a:pt x="898" y="472"/>
                  </a:lnTo>
                  <a:lnTo>
                    <a:pt x="907" y="500"/>
                  </a:lnTo>
                  <a:lnTo>
                    <a:pt x="915" y="528"/>
                  </a:lnTo>
                  <a:lnTo>
                    <a:pt x="923" y="557"/>
                  </a:lnTo>
                  <a:lnTo>
                    <a:pt x="930" y="585"/>
                  </a:lnTo>
                  <a:lnTo>
                    <a:pt x="936" y="614"/>
                  </a:lnTo>
                  <a:lnTo>
                    <a:pt x="941" y="643"/>
                  </a:lnTo>
                  <a:lnTo>
                    <a:pt x="946" y="672"/>
                  </a:lnTo>
                  <a:lnTo>
                    <a:pt x="950" y="701"/>
                  </a:lnTo>
                  <a:lnTo>
                    <a:pt x="953" y="730"/>
                  </a:lnTo>
                  <a:lnTo>
                    <a:pt x="956" y="760"/>
                  </a:lnTo>
                  <a:lnTo>
                    <a:pt x="957" y="789"/>
                  </a:lnTo>
                  <a:lnTo>
                    <a:pt x="958" y="818"/>
                  </a:lnTo>
                  <a:lnTo>
                    <a:pt x="958" y="848"/>
                  </a:lnTo>
                  <a:lnTo>
                    <a:pt x="529" y="848"/>
                  </a:lnTo>
                  <a:lnTo>
                    <a:pt x="99" y="848"/>
                  </a:lnTo>
                  <a:lnTo>
                    <a:pt x="99" y="830"/>
                  </a:lnTo>
                  <a:lnTo>
                    <a:pt x="98" y="813"/>
                  </a:lnTo>
                  <a:lnTo>
                    <a:pt x="97" y="805"/>
                  </a:lnTo>
                  <a:lnTo>
                    <a:pt x="96" y="796"/>
                  </a:lnTo>
                  <a:lnTo>
                    <a:pt x="94" y="788"/>
                  </a:lnTo>
                  <a:lnTo>
                    <a:pt x="93" y="779"/>
                  </a:lnTo>
                  <a:lnTo>
                    <a:pt x="89" y="763"/>
                  </a:lnTo>
                  <a:lnTo>
                    <a:pt x="84" y="747"/>
                  </a:lnTo>
                  <a:lnTo>
                    <a:pt x="79" y="731"/>
                  </a:lnTo>
                  <a:lnTo>
                    <a:pt x="73" y="716"/>
                  </a:lnTo>
                  <a:lnTo>
                    <a:pt x="66" y="700"/>
                  </a:lnTo>
                  <a:lnTo>
                    <a:pt x="58" y="686"/>
                  </a:lnTo>
                  <a:lnTo>
                    <a:pt x="50" y="672"/>
                  </a:lnTo>
                  <a:lnTo>
                    <a:pt x="41" y="658"/>
                  </a:lnTo>
                  <a:lnTo>
                    <a:pt x="32" y="644"/>
                  </a:lnTo>
                  <a:lnTo>
                    <a:pt x="22" y="632"/>
                  </a:lnTo>
                  <a:lnTo>
                    <a:pt x="11" y="619"/>
                  </a:lnTo>
                  <a:lnTo>
                    <a:pt x="0" y="607"/>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0" name="Freeform 130">
              <a:extLst>
                <a:ext uri="{FF2B5EF4-FFF2-40B4-BE49-F238E27FC236}">
                  <a16:creationId xmlns:a16="http://schemas.microsoft.com/office/drawing/2014/main" id="{F28D228C-6E96-4DEC-B0C9-DF4E9B005CCE}"/>
                </a:ext>
              </a:extLst>
            </p:cNvPr>
            <p:cNvSpPr>
              <a:spLocks noChangeAspect="1"/>
            </p:cNvSpPr>
            <p:nvPr/>
          </p:nvSpPr>
          <p:spPr bwMode="auto">
            <a:xfrm>
              <a:off x="6962782" y="4943509"/>
              <a:ext cx="742951" cy="657226"/>
            </a:xfrm>
            <a:custGeom>
              <a:avLst/>
              <a:gdLst/>
              <a:ahLst/>
              <a:cxnLst>
                <a:cxn ang="0">
                  <a:pos x="99" y="0"/>
                </a:cxn>
                <a:cxn ang="0">
                  <a:pos x="529" y="0"/>
                </a:cxn>
                <a:cxn ang="0">
                  <a:pos x="958" y="0"/>
                </a:cxn>
                <a:cxn ang="0">
                  <a:pos x="958" y="29"/>
                </a:cxn>
                <a:cxn ang="0">
                  <a:pos x="957" y="59"/>
                </a:cxn>
                <a:cxn ang="0">
                  <a:pos x="955" y="88"/>
                </a:cxn>
                <a:cxn ang="0">
                  <a:pos x="953" y="117"/>
                </a:cxn>
                <a:cxn ang="0">
                  <a:pos x="949" y="147"/>
                </a:cxn>
                <a:cxn ang="0">
                  <a:pos x="945" y="176"/>
                </a:cxn>
                <a:cxn ang="0">
                  <a:pos x="941" y="205"/>
                </a:cxn>
                <a:cxn ang="0">
                  <a:pos x="935" y="234"/>
                </a:cxn>
                <a:cxn ang="0">
                  <a:pos x="929" y="262"/>
                </a:cxn>
                <a:cxn ang="0">
                  <a:pos x="922" y="291"/>
                </a:cxn>
                <a:cxn ang="0">
                  <a:pos x="915" y="319"/>
                </a:cxn>
                <a:cxn ang="0">
                  <a:pos x="907" y="348"/>
                </a:cxn>
                <a:cxn ang="0">
                  <a:pos x="902" y="362"/>
                </a:cxn>
                <a:cxn ang="0">
                  <a:pos x="898" y="376"/>
                </a:cxn>
                <a:cxn ang="0">
                  <a:pos x="888" y="404"/>
                </a:cxn>
                <a:cxn ang="0">
                  <a:pos x="878" y="431"/>
                </a:cxn>
                <a:cxn ang="0">
                  <a:pos x="867" y="458"/>
                </a:cxn>
                <a:cxn ang="0">
                  <a:pos x="856" y="485"/>
                </a:cxn>
                <a:cxn ang="0">
                  <a:pos x="843" y="512"/>
                </a:cxn>
                <a:cxn ang="0">
                  <a:pos x="831" y="539"/>
                </a:cxn>
                <a:cxn ang="0">
                  <a:pos x="817" y="565"/>
                </a:cxn>
                <a:cxn ang="0">
                  <a:pos x="803" y="591"/>
                </a:cxn>
                <a:cxn ang="0">
                  <a:pos x="788" y="617"/>
                </a:cxn>
                <a:cxn ang="0">
                  <a:pos x="773" y="642"/>
                </a:cxn>
                <a:cxn ang="0">
                  <a:pos x="757" y="667"/>
                </a:cxn>
                <a:cxn ang="0">
                  <a:pos x="740" y="691"/>
                </a:cxn>
                <a:cxn ang="0">
                  <a:pos x="732" y="703"/>
                </a:cxn>
                <a:cxn ang="0">
                  <a:pos x="723" y="715"/>
                </a:cxn>
                <a:cxn ang="0">
                  <a:pos x="705" y="738"/>
                </a:cxn>
                <a:cxn ang="0">
                  <a:pos x="687" y="761"/>
                </a:cxn>
                <a:cxn ang="0">
                  <a:pos x="668" y="784"/>
                </a:cxn>
                <a:cxn ang="0">
                  <a:pos x="648" y="806"/>
                </a:cxn>
                <a:cxn ang="0">
                  <a:pos x="638" y="816"/>
                </a:cxn>
                <a:cxn ang="0">
                  <a:pos x="628" y="827"/>
                </a:cxn>
                <a:cxn ang="0">
                  <a:pos x="607" y="848"/>
                </a:cxn>
                <a:cxn ang="0">
                  <a:pos x="0" y="240"/>
                </a:cxn>
                <a:cxn ang="0">
                  <a:pos x="11" y="229"/>
                </a:cxn>
                <a:cxn ang="0">
                  <a:pos x="22" y="216"/>
                </a:cxn>
                <a:cxn ang="0">
                  <a:pos x="32" y="203"/>
                </a:cxn>
                <a:cxn ang="0">
                  <a:pos x="41" y="190"/>
                </a:cxn>
                <a:cxn ang="0">
                  <a:pos x="50" y="176"/>
                </a:cxn>
                <a:cxn ang="0">
                  <a:pos x="58" y="162"/>
                </a:cxn>
                <a:cxn ang="0">
                  <a:pos x="66" y="147"/>
                </a:cxn>
                <a:cxn ang="0">
                  <a:pos x="73" y="132"/>
                </a:cxn>
                <a:cxn ang="0">
                  <a:pos x="76" y="125"/>
                </a:cxn>
                <a:cxn ang="0">
                  <a:pos x="79" y="117"/>
                </a:cxn>
                <a:cxn ang="0">
                  <a:pos x="84" y="101"/>
                </a:cxn>
                <a:cxn ang="0">
                  <a:pos x="87" y="93"/>
                </a:cxn>
                <a:cxn ang="0">
                  <a:pos x="89" y="85"/>
                </a:cxn>
                <a:cxn ang="0">
                  <a:pos x="93" y="68"/>
                </a:cxn>
                <a:cxn ang="0">
                  <a:pos x="94" y="60"/>
                </a:cxn>
                <a:cxn ang="0">
                  <a:pos x="96" y="52"/>
                </a:cxn>
                <a:cxn ang="0">
                  <a:pos x="98" y="35"/>
                </a:cxn>
                <a:cxn ang="0">
                  <a:pos x="99" y="17"/>
                </a:cxn>
                <a:cxn ang="0">
                  <a:pos x="99" y="0"/>
                </a:cxn>
              </a:cxnLst>
              <a:rect l="0" t="0" r="r" b="b"/>
              <a:pathLst>
                <a:path w="958" h="848">
                  <a:moveTo>
                    <a:pt x="99" y="0"/>
                  </a:moveTo>
                  <a:lnTo>
                    <a:pt x="529" y="0"/>
                  </a:lnTo>
                  <a:lnTo>
                    <a:pt x="958" y="0"/>
                  </a:lnTo>
                  <a:lnTo>
                    <a:pt x="958" y="29"/>
                  </a:lnTo>
                  <a:lnTo>
                    <a:pt x="957" y="59"/>
                  </a:lnTo>
                  <a:lnTo>
                    <a:pt x="955" y="88"/>
                  </a:lnTo>
                  <a:lnTo>
                    <a:pt x="953" y="117"/>
                  </a:lnTo>
                  <a:lnTo>
                    <a:pt x="949" y="147"/>
                  </a:lnTo>
                  <a:lnTo>
                    <a:pt x="945" y="176"/>
                  </a:lnTo>
                  <a:lnTo>
                    <a:pt x="941" y="205"/>
                  </a:lnTo>
                  <a:lnTo>
                    <a:pt x="935" y="234"/>
                  </a:lnTo>
                  <a:lnTo>
                    <a:pt x="929" y="262"/>
                  </a:lnTo>
                  <a:lnTo>
                    <a:pt x="922" y="291"/>
                  </a:lnTo>
                  <a:lnTo>
                    <a:pt x="915" y="319"/>
                  </a:lnTo>
                  <a:lnTo>
                    <a:pt x="907" y="348"/>
                  </a:lnTo>
                  <a:lnTo>
                    <a:pt x="902" y="362"/>
                  </a:lnTo>
                  <a:lnTo>
                    <a:pt x="898" y="376"/>
                  </a:lnTo>
                  <a:lnTo>
                    <a:pt x="888" y="404"/>
                  </a:lnTo>
                  <a:lnTo>
                    <a:pt x="878" y="431"/>
                  </a:lnTo>
                  <a:lnTo>
                    <a:pt x="867" y="458"/>
                  </a:lnTo>
                  <a:lnTo>
                    <a:pt x="856" y="485"/>
                  </a:lnTo>
                  <a:lnTo>
                    <a:pt x="843" y="512"/>
                  </a:lnTo>
                  <a:lnTo>
                    <a:pt x="831" y="539"/>
                  </a:lnTo>
                  <a:lnTo>
                    <a:pt x="817" y="565"/>
                  </a:lnTo>
                  <a:lnTo>
                    <a:pt x="803" y="591"/>
                  </a:lnTo>
                  <a:lnTo>
                    <a:pt x="788" y="617"/>
                  </a:lnTo>
                  <a:lnTo>
                    <a:pt x="773" y="642"/>
                  </a:lnTo>
                  <a:lnTo>
                    <a:pt x="757" y="667"/>
                  </a:lnTo>
                  <a:lnTo>
                    <a:pt x="740" y="691"/>
                  </a:lnTo>
                  <a:lnTo>
                    <a:pt x="732" y="703"/>
                  </a:lnTo>
                  <a:lnTo>
                    <a:pt x="723" y="715"/>
                  </a:lnTo>
                  <a:lnTo>
                    <a:pt x="705" y="738"/>
                  </a:lnTo>
                  <a:lnTo>
                    <a:pt x="687" y="761"/>
                  </a:lnTo>
                  <a:lnTo>
                    <a:pt x="668" y="784"/>
                  </a:lnTo>
                  <a:lnTo>
                    <a:pt x="648" y="806"/>
                  </a:lnTo>
                  <a:lnTo>
                    <a:pt x="638" y="816"/>
                  </a:lnTo>
                  <a:lnTo>
                    <a:pt x="628" y="827"/>
                  </a:lnTo>
                  <a:lnTo>
                    <a:pt x="607" y="848"/>
                  </a:lnTo>
                  <a:lnTo>
                    <a:pt x="0" y="240"/>
                  </a:lnTo>
                  <a:lnTo>
                    <a:pt x="11" y="229"/>
                  </a:lnTo>
                  <a:lnTo>
                    <a:pt x="22" y="216"/>
                  </a:lnTo>
                  <a:lnTo>
                    <a:pt x="32" y="203"/>
                  </a:lnTo>
                  <a:lnTo>
                    <a:pt x="41" y="190"/>
                  </a:lnTo>
                  <a:lnTo>
                    <a:pt x="50" y="176"/>
                  </a:lnTo>
                  <a:lnTo>
                    <a:pt x="58" y="162"/>
                  </a:lnTo>
                  <a:lnTo>
                    <a:pt x="66" y="147"/>
                  </a:lnTo>
                  <a:lnTo>
                    <a:pt x="73" y="132"/>
                  </a:lnTo>
                  <a:lnTo>
                    <a:pt x="76" y="125"/>
                  </a:lnTo>
                  <a:lnTo>
                    <a:pt x="79" y="117"/>
                  </a:lnTo>
                  <a:lnTo>
                    <a:pt x="84" y="101"/>
                  </a:lnTo>
                  <a:lnTo>
                    <a:pt x="87" y="93"/>
                  </a:lnTo>
                  <a:lnTo>
                    <a:pt x="89" y="85"/>
                  </a:lnTo>
                  <a:lnTo>
                    <a:pt x="93" y="68"/>
                  </a:lnTo>
                  <a:lnTo>
                    <a:pt x="94" y="60"/>
                  </a:lnTo>
                  <a:lnTo>
                    <a:pt x="96" y="52"/>
                  </a:lnTo>
                  <a:lnTo>
                    <a:pt x="98" y="35"/>
                  </a:lnTo>
                  <a:lnTo>
                    <a:pt x="99" y="17"/>
                  </a:lnTo>
                  <a:lnTo>
                    <a:pt x="99"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1" name="Freeform 131">
              <a:extLst>
                <a:ext uri="{FF2B5EF4-FFF2-40B4-BE49-F238E27FC236}">
                  <a16:creationId xmlns:a16="http://schemas.microsoft.com/office/drawing/2014/main" id="{67A1C573-A5A8-486D-9EA2-550A76C7F448}"/>
                </a:ext>
              </a:extLst>
            </p:cNvPr>
            <p:cNvSpPr>
              <a:spLocks noChangeAspect="1"/>
            </p:cNvSpPr>
            <p:nvPr/>
          </p:nvSpPr>
          <p:spPr bwMode="auto">
            <a:xfrm>
              <a:off x="6775457" y="5129246"/>
              <a:ext cx="657226" cy="744539"/>
            </a:xfrm>
            <a:custGeom>
              <a:avLst/>
              <a:gdLst/>
              <a:ahLst/>
              <a:cxnLst>
                <a:cxn ang="0">
                  <a:pos x="241" y="0"/>
                </a:cxn>
                <a:cxn ang="0">
                  <a:pos x="848" y="608"/>
                </a:cxn>
                <a:cxn ang="0">
                  <a:pos x="827" y="629"/>
                </a:cxn>
                <a:cxn ang="0">
                  <a:pos x="806" y="649"/>
                </a:cxn>
                <a:cxn ang="0">
                  <a:pos x="784" y="668"/>
                </a:cxn>
                <a:cxn ang="0">
                  <a:pos x="761" y="687"/>
                </a:cxn>
                <a:cxn ang="0">
                  <a:pos x="738" y="705"/>
                </a:cxn>
                <a:cxn ang="0">
                  <a:pos x="715" y="723"/>
                </a:cxn>
                <a:cxn ang="0">
                  <a:pos x="691" y="740"/>
                </a:cxn>
                <a:cxn ang="0">
                  <a:pos x="679" y="749"/>
                </a:cxn>
                <a:cxn ang="0">
                  <a:pos x="667" y="757"/>
                </a:cxn>
                <a:cxn ang="0">
                  <a:pos x="642" y="773"/>
                </a:cxn>
                <a:cxn ang="0">
                  <a:pos x="617" y="788"/>
                </a:cxn>
                <a:cxn ang="0">
                  <a:pos x="591" y="803"/>
                </a:cxn>
                <a:cxn ang="0">
                  <a:pos x="565" y="817"/>
                </a:cxn>
                <a:cxn ang="0">
                  <a:pos x="539" y="831"/>
                </a:cxn>
                <a:cxn ang="0">
                  <a:pos x="513" y="844"/>
                </a:cxn>
                <a:cxn ang="0">
                  <a:pos x="486" y="856"/>
                </a:cxn>
                <a:cxn ang="0">
                  <a:pos x="459" y="868"/>
                </a:cxn>
                <a:cxn ang="0">
                  <a:pos x="432" y="879"/>
                </a:cxn>
                <a:cxn ang="0">
                  <a:pos x="404" y="889"/>
                </a:cxn>
                <a:cxn ang="0">
                  <a:pos x="376" y="899"/>
                </a:cxn>
                <a:cxn ang="0">
                  <a:pos x="348" y="908"/>
                </a:cxn>
                <a:cxn ang="0">
                  <a:pos x="320" y="916"/>
                </a:cxn>
                <a:cxn ang="0">
                  <a:pos x="292" y="923"/>
                </a:cxn>
                <a:cxn ang="0">
                  <a:pos x="263" y="930"/>
                </a:cxn>
                <a:cxn ang="0">
                  <a:pos x="234" y="936"/>
                </a:cxn>
                <a:cxn ang="0">
                  <a:pos x="205" y="942"/>
                </a:cxn>
                <a:cxn ang="0">
                  <a:pos x="176" y="946"/>
                </a:cxn>
                <a:cxn ang="0">
                  <a:pos x="147" y="950"/>
                </a:cxn>
                <a:cxn ang="0">
                  <a:pos x="118" y="954"/>
                </a:cxn>
                <a:cxn ang="0">
                  <a:pos x="89" y="956"/>
                </a:cxn>
                <a:cxn ang="0">
                  <a:pos x="59" y="958"/>
                </a:cxn>
                <a:cxn ang="0">
                  <a:pos x="30" y="959"/>
                </a:cxn>
                <a:cxn ang="0">
                  <a:pos x="0" y="959"/>
                </a:cxn>
                <a:cxn ang="0">
                  <a:pos x="0" y="530"/>
                </a:cxn>
                <a:cxn ang="0">
                  <a:pos x="0" y="100"/>
                </a:cxn>
                <a:cxn ang="0">
                  <a:pos x="18" y="100"/>
                </a:cxn>
                <a:cxn ang="0">
                  <a:pos x="35" y="98"/>
                </a:cxn>
                <a:cxn ang="0">
                  <a:pos x="44" y="97"/>
                </a:cxn>
                <a:cxn ang="0">
                  <a:pos x="52" y="96"/>
                </a:cxn>
                <a:cxn ang="0">
                  <a:pos x="61" y="95"/>
                </a:cxn>
                <a:cxn ang="0">
                  <a:pos x="69" y="93"/>
                </a:cxn>
                <a:cxn ang="0">
                  <a:pos x="85" y="89"/>
                </a:cxn>
                <a:cxn ang="0">
                  <a:pos x="101" y="85"/>
                </a:cxn>
                <a:cxn ang="0">
                  <a:pos x="117" y="79"/>
                </a:cxn>
                <a:cxn ang="0">
                  <a:pos x="133" y="73"/>
                </a:cxn>
                <a:cxn ang="0">
                  <a:pos x="148" y="67"/>
                </a:cxn>
                <a:cxn ang="0">
                  <a:pos x="162" y="59"/>
                </a:cxn>
                <a:cxn ang="0">
                  <a:pos x="177" y="51"/>
                </a:cxn>
                <a:cxn ang="0">
                  <a:pos x="191" y="42"/>
                </a:cxn>
                <a:cxn ang="0">
                  <a:pos x="204" y="33"/>
                </a:cxn>
                <a:cxn ang="0">
                  <a:pos x="217" y="22"/>
                </a:cxn>
                <a:cxn ang="0">
                  <a:pos x="229" y="12"/>
                </a:cxn>
                <a:cxn ang="0">
                  <a:pos x="241" y="0"/>
                </a:cxn>
              </a:cxnLst>
              <a:rect l="0" t="0" r="r" b="b"/>
              <a:pathLst>
                <a:path w="848" h="959">
                  <a:moveTo>
                    <a:pt x="241" y="0"/>
                  </a:moveTo>
                  <a:lnTo>
                    <a:pt x="848" y="608"/>
                  </a:lnTo>
                  <a:lnTo>
                    <a:pt x="827" y="629"/>
                  </a:lnTo>
                  <a:lnTo>
                    <a:pt x="806" y="649"/>
                  </a:lnTo>
                  <a:lnTo>
                    <a:pt x="784" y="668"/>
                  </a:lnTo>
                  <a:lnTo>
                    <a:pt x="761" y="687"/>
                  </a:lnTo>
                  <a:lnTo>
                    <a:pt x="738" y="705"/>
                  </a:lnTo>
                  <a:lnTo>
                    <a:pt x="715" y="723"/>
                  </a:lnTo>
                  <a:lnTo>
                    <a:pt x="691" y="740"/>
                  </a:lnTo>
                  <a:lnTo>
                    <a:pt x="679" y="749"/>
                  </a:lnTo>
                  <a:lnTo>
                    <a:pt x="667" y="757"/>
                  </a:lnTo>
                  <a:lnTo>
                    <a:pt x="642" y="773"/>
                  </a:lnTo>
                  <a:lnTo>
                    <a:pt x="617" y="788"/>
                  </a:lnTo>
                  <a:lnTo>
                    <a:pt x="591" y="803"/>
                  </a:lnTo>
                  <a:lnTo>
                    <a:pt x="565" y="817"/>
                  </a:lnTo>
                  <a:lnTo>
                    <a:pt x="539" y="831"/>
                  </a:lnTo>
                  <a:lnTo>
                    <a:pt x="513" y="844"/>
                  </a:lnTo>
                  <a:lnTo>
                    <a:pt x="486" y="856"/>
                  </a:lnTo>
                  <a:lnTo>
                    <a:pt x="459" y="868"/>
                  </a:lnTo>
                  <a:lnTo>
                    <a:pt x="432" y="879"/>
                  </a:lnTo>
                  <a:lnTo>
                    <a:pt x="404" y="889"/>
                  </a:lnTo>
                  <a:lnTo>
                    <a:pt x="376" y="899"/>
                  </a:lnTo>
                  <a:lnTo>
                    <a:pt x="348" y="908"/>
                  </a:lnTo>
                  <a:lnTo>
                    <a:pt x="320" y="916"/>
                  </a:lnTo>
                  <a:lnTo>
                    <a:pt x="292" y="923"/>
                  </a:lnTo>
                  <a:lnTo>
                    <a:pt x="263" y="930"/>
                  </a:lnTo>
                  <a:lnTo>
                    <a:pt x="234" y="936"/>
                  </a:lnTo>
                  <a:lnTo>
                    <a:pt x="205" y="942"/>
                  </a:lnTo>
                  <a:lnTo>
                    <a:pt x="176" y="946"/>
                  </a:lnTo>
                  <a:lnTo>
                    <a:pt x="147" y="950"/>
                  </a:lnTo>
                  <a:lnTo>
                    <a:pt x="118" y="954"/>
                  </a:lnTo>
                  <a:lnTo>
                    <a:pt x="89" y="956"/>
                  </a:lnTo>
                  <a:lnTo>
                    <a:pt x="59" y="958"/>
                  </a:lnTo>
                  <a:lnTo>
                    <a:pt x="30" y="959"/>
                  </a:lnTo>
                  <a:lnTo>
                    <a:pt x="0" y="959"/>
                  </a:lnTo>
                  <a:lnTo>
                    <a:pt x="0" y="530"/>
                  </a:lnTo>
                  <a:lnTo>
                    <a:pt x="0" y="100"/>
                  </a:lnTo>
                  <a:lnTo>
                    <a:pt x="18" y="100"/>
                  </a:lnTo>
                  <a:lnTo>
                    <a:pt x="35" y="98"/>
                  </a:lnTo>
                  <a:lnTo>
                    <a:pt x="44" y="97"/>
                  </a:lnTo>
                  <a:lnTo>
                    <a:pt x="52" y="96"/>
                  </a:lnTo>
                  <a:lnTo>
                    <a:pt x="61" y="95"/>
                  </a:lnTo>
                  <a:lnTo>
                    <a:pt x="69" y="93"/>
                  </a:lnTo>
                  <a:lnTo>
                    <a:pt x="85" y="89"/>
                  </a:lnTo>
                  <a:lnTo>
                    <a:pt x="101" y="85"/>
                  </a:lnTo>
                  <a:lnTo>
                    <a:pt x="117" y="79"/>
                  </a:lnTo>
                  <a:lnTo>
                    <a:pt x="133" y="73"/>
                  </a:lnTo>
                  <a:lnTo>
                    <a:pt x="148" y="67"/>
                  </a:lnTo>
                  <a:lnTo>
                    <a:pt x="162" y="59"/>
                  </a:lnTo>
                  <a:lnTo>
                    <a:pt x="177" y="51"/>
                  </a:lnTo>
                  <a:lnTo>
                    <a:pt x="191" y="42"/>
                  </a:lnTo>
                  <a:lnTo>
                    <a:pt x="204" y="33"/>
                  </a:lnTo>
                  <a:lnTo>
                    <a:pt x="217" y="22"/>
                  </a:lnTo>
                  <a:lnTo>
                    <a:pt x="229" y="12"/>
                  </a:lnTo>
                  <a:lnTo>
                    <a:pt x="241"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2" name="Freeform 132">
              <a:extLst>
                <a:ext uri="{FF2B5EF4-FFF2-40B4-BE49-F238E27FC236}">
                  <a16:creationId xmlns:a16="http://schemas.microsoft.com/office/drawing/2014/main" id="{418C6D1D-4B5B-44EB-BA3B-9E311EE836EE}"/>
                </a:ext>
              </a:extLst>
            </p:cNvPr>
            <p:cNvSpPr>
              <a:spLocks noChangeAspect="1"/>
            </p:cNvSpPr>
            <p:nvPr/>
          </p:nvSpPr>
          <p:spPr bwMode="auto">
            <a:xfrm>
              <a:off x="6118231" y="5129246"/>
              <a:ext cx="657226" cy="744539"/>
            </a:xfrm>
            <a:custGeom>
              <a:avLst/>
              <a:gdLst/>
              <a:ahLst/>
              <a:cxnLst>
                <a:cxn ang="0">
                  <a:pos x="848" y="100"/>
                </a:cxn>
                <a:cxn ang="0">
                  <a:pos x="848" y="530"/>
                </a:cxn>
                <a:cxn ang="0">
                  <a:pos x="848" y="959"/>
                </a:cxn>
                <a:cxn ang="0">
                  <a:pos x="819" y="959"/>
                </a:cxn>
                <a:cxn ang="0">
                  <a:pos x="790" y="958"/>
                </a:cxn>
                <a:cxn ang="0">
                  <a:pos x="760" y="956"/>
                </a:cxn>
                <a:cxn ang="0">
                  <a:pos x="731" y="953"/>
                </a:cxn>
                <a:cxn ang="0">
                  <a:pos x="702" y="950"/>
                </a:cxn>
                <a:cxn ang="0">
                  <a:pos x="673" y="946"/>
                </a:cxn>
                <a:cxn ang="0">
                  <a:pos x="644" y="941"/>
                </a:cxn>
                <a:cxn ang="0">
                  <a:pos x="615" y="936"/>
                </a:cxn>
                <a:cxn ang="0">
                  <a:pos x="586" y="930"/>
                </a:cxn>
                <a:cxn ang="0">
                  <a:pos x="557" y="923"/>
                </a:cxn>
                <a:cxn ang="0">
                  <a:pos x="529" y="915"/>
                </a:cxn>
                <a:cxn ang="0">
                  <a:pos x="501" y="907"/>
                </a:cxn>
                <a:cxn ang="0">
                  <a:pos x="487" y="903"/>
                </a:cxn>
                <a:cxn ang="0">
                  <a:pos x="473" y="898"/>
                </a:cxn>
                <a:cxn ang="0">
                  <a:pos x="445" y="889"/>
                </a:cxn>
                <a:cxn ang="0">
                  <a:pos x="417" y="879"/>
                </a:cxn>
                <a:cxn ang="0">
                  <a:pos x="390" y="868"/>
                </a:cxn>
                <a:cxn ang="0">
                  <a:pos x="363" y="856"/>
                </a:cxn>
                <a:cxn ang="0">
                  <a:pos x="336" y="844"/>
                </a:cxn>
                <a:cxn ang="0">
                  <a:pos x="310" y="831"/>
                </a:cxn>
                <a:cxn ang="0">
                  <a:pos x="284" y="818"/>
                </a:cxn>
                <a:cxn ang="0">
                  <a:pos x="258" y="804"/>
                </a:cxn>
                <a:cxn ang="0">
                  <a:pos x="231" y="789"/>
                </a:cxn>
                <a:cxn ang="0">
                  <a:pos x="206" y="773"/>
                </a:cxn>
                <a:cxn ang="0">
                  <a:pos x="182" y="757"/>
                </a:cxn>
                <a:cxn ang="0">
                  <a:pos x="157" y="741"/>
                </a:cxn>
                <a:cxn ang="0">
                  <a:pos x="145" y="732"/>
                </a:cxn>
                <a:cxn ang="0">
                  <a:pos x="133" y="724"/>
                </a:cxn>
                <a:cxn ang="0">
                  <a:pos x="110" y="706"/>
                </a:cxn>
                <a:cxn ang="0">
                  <a:pos x="87" y="687"/>
                </a:cxn>
                <a:cxn ang="0">
                  <a:pos x="65" y="668"/>
                </a:cxn>
                <a:cxn ang="0">
                  <a:pos x="43" y="649"/>
                </a:cxn>
                <a:cxn ang="0">
                  <a:pos x="32" y="639"/>
                </a:cxn>
                <a:cxn ang="0">
                  <a:pos x="21" y="629"/>
                </a:cxn>
                <a:cxn ang="0">
                  <a:pos x="0" y="608"/>
                </a:cxn>
                <a:cxn ang="0">
                  <a:pos x="608" y="0"/>
                </a:cxn>
                <a:cxn ang="0">
                  <a:pos x="620" y="12"/>
                </a:cxn>
                <a:cxn ang="0">
                  <a:pos x="632" y="22"/>
                </a:cxn>
                <a:cxn ang="0">
                  <a:pos x="645" y="33"/>
                </a:cxn>
                <a:cxn ang="0">
                  <a:pos x="658" y="42"/>
                </a:cxn>
                <a:cxn ang="0">
                  <a:pos x="672" y="51"/>
                </a:cxn>
                <a:cxn ang="0">
                  <a:pos x="686" y="59"/>
                </a:cxn>
                <a:cxn ang="0">
                  <a:pos x="701" y="67"/>
                </a:cxn>
                <a:cxn ang="0">
                  <a:pos x="716" y="73"/>
                </a:cxn>
                <a:cxn ang="0">
                  <a:pos x="724" y="76"/>
                </a:cxn>
                <a:cxn ang="0">
                  <a:pos x="731" y="79"/>
                </a:cxn>
                <a:cxn ang="0">
                  <a:pos x="747" y="85"/>
                </a:cxn>
                <a:cxn ang="0">
                  <a:pos x="755" y="87"/>
                </a:cxn>
                <a:cxn ang="0">
                  <a:pos x="763" y="89"/>
                </a:cxn>
                <a:cxn ang="0">
                  <a:pos x="780" y="93"/>
                </a:cxn>
                <a:cxn ang="0">
                  <a:pos x="788" y="95"/>
                </a:cxn>
                <a:cxn ang="0">
                  <a:pos x="797" y="96"/>
                </a:cxn>
                <a:cxn ang="0">
                  <a:pos x="814" y="98"/>
                </a:cxn>
                <a:cxn ang="0">
                  <a:pos x="831" y="100"/>
                </a:cxn>
                <a:cxn ang="0">
                  <a:pos x="848" y="100"/>
                </a:cxn>
              </a:cxnLst>
              <a:rect l="0" t="0" r="r" b="b"/>
              <a:pathLst>
                <a:path w="848" h="959">
                  <a:moveTo>
                    <a:pt x="848" y="100"/>
                  </a:moveTo>
                  <a:lnTo>
                    <a:pt x="848" y="530"/>
                  </a:lnTo>
                  <a:lnTo>
                    <a:pt x="848" y="959"/>
                  </a:lnTo>
                  <a:lnTo>
                    <a:pt x="819" y="959"/>
                  </a:lnTo>
                  <a:lnTo>
                    <a:pt x="790" y="958"/>
                  </a:lnTo>
                  <a:lnTo>
                    <a:pt x="760" y="956"/>
                  </a:lnTo>
                  <a:lnTo>
                    <a:pt x="731" y="953"/>
                  </a:lnTo>
                  <a:lnTo>
                    <a:pt x="702" y="950"/>
                  </a:lnTo>
                  <a:lnTo>
                    <a:pt x="673" y="946"/>
                  </a:lnTo>
                  <a:lnTo>
                    <a:pt x="644" y="941"/>
                  </a:lnTo>
                  <a:lnTo>
                    <a:pt x="615" y="936"/>
                  </a:lnTo>
                  <a:lnTo>
                    <a:pt x="586" y="930"/>
                  </a:lnTo>
                  <a:lnTo>
                    <a:pt x="557" y="923"/>
                  </a:lnTo>
                  <a:lnTo>
                    <a:pt x="529" y="915"/>
                  </a:lnTo>
                  <a:lnTo>
                    <a:pt x="501" y="907"/>
                  </a:lnTo>
                  <a:lnTo>
                    <a:pt x="487" y="903"/>
                  </a:lnTo>
                  <a:lnTo>
                    <a:pt x="473" y="898"/>
                  </a:lnTo>
                  <a:lnTo>
                    <a:pt x="445" y="889"/>
                  </a:lnTo>
                  <a:lnTo>
                    <a:pt x="417" y="879"/>
                  </a:lnTo>
                  <a:lnTo>
                    <a:pt x="390" y="868"/>
                  </a:lnTo>
                  <a:lnTo>
                    <a:pt x="363" y="856"/>
                  </a:lnTo>
                  <a:lnTo>
                    <a:pt x="336" y="844"/>
                  </a:lnTo>
                  <a:lnTo>
                    <a:pt x="310" y="831"/>
                  </a:lnTo>
                  <a:lnTo>
                    <a:pt x="284" y="818"/>
                  </a:lnTo>
                  <a:lnTo>
                    <a:pt x="258" y="804"/>
                  </a:lnTo>
                  <a:lnTo>
                    <a:pt x="231" y="789"/>
                  </a:lnTo>
                  <a:lnTo>
                    <a:pt x="206" y="773"/>
                  </a:lnTo>
                  <a:lnTo>
                    <a:pt x="182" y="757"/>
                  </a:lnTo>
                  <a:lnTo>
                    <a:pt x="157" y="741"/>
                  </a:lnTo>
                  <a:lnTo>
                    <a:pt x="145" y="732"/>
                  </a:lnTo>
                  <a:lnTo>
                    <a:pt x="133" y="724"/>
                  </a:lnTo>
                  <a:lnTo>
                    <a:pt x="110" y="706"/>
                  </a:lnTo>
                  <a:lnTo>
                    <a:pt x="87" y="687"/>
                  </a:lnTo>
                  <a:lnTo>
                    <a:pt x="65" y="668"/>
                  </a:lnTo>
                  <a:lnTo>
                    <a:pt x="43" y="649"/>
                  </a:lnTo>
                  <a:lnTo>
                    <a:pt x="32" y="639"/>
                  </a:lnTo>
                  <a:lnTo>
                    <a:pt x="21" y="629"/>
                  </a:lnTo>
                  <a:lnTo>
                    <a:pt x="0" y="608"/>
                  </a:lnTo>
                  <a:lnTo>
                    <a:pt x="608" y="0"/>
                  </a:lnTo>
                  <a:lnTo>
                    <a:pt x="620" y="12"/>
                  </a:lnTo>
                  <a:lnTo>
                    <a:pt x="632" y="22"/>
                  </a:lnTo>
                  <a:lnTo>
                    <a:pt x="645" y="33"/>
                  </a:lnTo>
                  <a:lnTo>
                    <a:pt x="658" y="42"/>
                  </a:lnTo>
                  <a:lnTo>
                    <a:pt x="672" y="51"/>
                  </a:lnTo>
                  <a:lnTo>
                    <a:pt x="686" y="59"/>
                  </a:lnTo>
                  <a:lnTo>
                    <a:pt x="701" y="67"/>
                  </a:lnTo>
                  <a:lnTo>
                    <a:pt x="716" y="73"/>
                  </a:lnTo>
                  <a:lnTo>
                    <a:pt x="724" y="76"/>
                  </a:lnTo>
                  <a:lnTo>
                    <a:pt x="731" y="79"/>
                  </a:lnTo>
                  <a:lnTo>
                    <a:pt x="747" y="85"/>
                  </a:lnTo>
                  <a:lnTo>
                    <a:pt x="755" y="87"/>
                  </a:lnTo>
                  <a:lnTo>
                    <a:pt x="763" y="89"/>
                  </a:lnTo>
                  <a:lnTo>
                    <a:pt x="780" y="93"/>
                  </a:lnTo>
                  <a:lnTo>
                    <a:pt x="788" y="95"/>
                  </a:lnTo>
                  <a:lnTo>
                    <a:pt x="797" y="96"/>
                  </a:lnTo>
                  <a:lnTo>
                    <a:pt x="814" y="98"/>
                  </a:lnTo>
                  <a:lnTo>
                    <a:pt x="831" y="100"/>
                  </a:lnTo>
                  <a:lnTo>
                    <a:pt x="848" y="10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3" name="Freeform 133">
              <a:extLst>
                <a:ext uri="{FF2B5EF4-FFF2-40B4-BE49-F238E27FC236}">
                  <a16:creationId xmlns:a16="http://schemas.microsoft.com/office/drawing/2014/main" id="{6D61E8C5-4DBC-4F10-A0ED-5DBC171D65D8}"/>
                </a:ext>
              </a:extLst>
            </p:cNvPr>
            <p:cNvSpPr>
              <a:spLocks noChangeAspect="1"/>
            </p:cNvSpPr>
            <p:nvPr/>
          </p:nvSpPr>
          <p:spPr bwMode="auto">
            <a:xfrm>
              <a:off x="5845181" y="4943509"/>
              <a:ext cx="744538" cy="657226"/>
            </a:xfrm>
            <a:custGeom>
              <a:avLst/>
              <a:gdLst/>
              <a:ahLst/>
              <a:cxnLst>
                <a:cxn ang="0">
                  <a:pos x="959" y="240"/>
                </a:cxn>
                <a:cxn ang="0">
                  <a:pos x="351" y="848"/>
                </a:cxn>
                <a:cxn ang="0">
                  <a:pos x="331" y="827"/>
                </a:cxn>
                <a:cxn ang="0">
                  <a:pos x="311" y="806"/>
                </a:cxn>
                <a:cxn ang="0">
                  <a:pos x="291" y="783"/>
                </a:cxn>
                <a:cxn ang="0">
                  <a:pos x="272" y="761"/>
                </a:cxn>
                <a:cxn ang="0">
                  <a:pos x="254" y="738"/>
                </a:cxn>
                <a:cxn ang="0">
                  <a:pos x="236" y="715"/>
                </a:cxn>
                <a:cxn ang="0">
                  <a:pos x="219" y="691"/>
                </a:cxn>
                <a:cxn ang="0">
                  <a:pos x="210" y="679"/>
                </a:cxn>
                <a:cxn ang="0">
                  <a:pos x="202" y="667"/>
                </a:cxn>
                <a:cxn ang="0">
                  <a:pos x="186" y="642"/>
                </a:cxn>
                <a:cxn ang="0">
                  <a:pos x="171" y="617"/>
                </a:cxn>
                <a:cxn ang="0">
                  <a:pos x="156" y="590"/>
                </a:cxn>
                <a:cxn ang="0">
                  <a:pos x="142" y="565"/>
                </a:cxn>
                <a:cxn ang="0">
                  <a:pos x="128" y="539"/>
                </a:cxn>
                <a:cxn ang="0">
                  <a:pos x="115" y="512"/>
                </a:cxn>
                <a:cxn ang="0">
                  <a:pos x="103" y="485"/>
                </a:cxn>
                <a:cxn ang="0">
                  <a:pos x="91" y="458"/>
                </a:cxn>
                <a:cxn ang="0">
                  <a:pos x="81" y="431"/>
                </a:cxn>
                <a:cxn ang="0">
                  <a:pos x="70" y="404"/>
                </a:cxn>
                <a:cxn ang="0">
                  <a:pos x="61" y="376"/>
                </a:cxn>
                <a:cxn ang="0">
                  <a:pos x="52" y="348"/>
                </a:cxn>
                <a:cxn ang="0">
                  <a:pos x="43" y="320"/>
                </a:cxn>
                <a:cxn ang="0">
                  <a:pos x="36" y="291"/>
                </a:cxn>
                <a:cxn ang="0">
                  <a:pos x="29" y="263"/>
                </a:cxn>
                <a:cxn ang="0">
                  <a:pos x="23" y="234"/>
                </a:cxn>
                <a:cxn ang="0">
                  <a:pos x="17" y="205"/>
                </a:cxn>
                <a:cxn ang="0">
                  <a:pos x="13" y="176"/>
                </a:cxn>
                <a:cxn ang="0">
                  <a:pos x="9" y="147"/>
                </a:cxn>
                <a:cxn ang="0">
                  <a:pos x="6" y="118"/>
                </a:cxn>
                <a:cxn ang="0">
                  <a:pos x="3" y="88"/>
                </a:cxn>
                <a:cxn ang="0">
                  <a:pos x="1" y="59"/>
                </a:cxn>
                <a:cxn ang="0">
                  <a:pos x="0" y="29"/>
                </a:cxn>
                <a:cxn ang="0">
                  <a:pos x="0" y="0"/>
                </a:cxn>
                <a:cxn ang="0">
                  <a:pos x="429" y="0"/>
                </a:cxn>
                <a:cxn ang="0">
                  <a:pos x="859" y="0"/>
                </a:cxn>
                <a:cxn ang="0">
                  <a:pos x="860" y="17"/>
                </a:cxn>
                <a:cxn ang="0">
                  <a:pos x="861" y="35"/>
                </a:cxn>
                <a:cxn ang="0">
                  <a:pos x="862" y="43"/>
                </a:cxn>
                <a:cxn ang="0">
                  <a:pos x="863" y="52"/>
                </a:cxn>
                <a:cxn ang="0">
                  <a:pos x="864" y="60"/>
                </a:cxn>
                <a:cxn ang="0">
                  <a:pos x="866" y="68"/>
                </a:cxn>
                <a:cxn ang="0">
                  <a:pos x="870" y="85"/>
                </a:cxn>
                <a:cxn ang="0">
                  <a:pos x="874" y="101"/>
                </a:cxn>
                <a:cxn ang="0">
                  <a:pos x="880" y="117"/>
                </a:cxn>
                <a:cxn ang="0">
                  <a:pos x="886" y="132"/>
                </a:cxn>
                <a:cxn ang="0">
                  <a:pos x="893" y="147"/>
                </a:cxn>
                <a:cxn ang="0">
                  <a:pos x="900" y="162"/>
                </a:cxn>
                <a:cxn ang="0">
                  <a:pos x="908" y="176"/>
                </a:cxn>
                <a:cxn ang="0">
                  <a:pos x="917" y="190"/>
                </a:cxn>
                <a:cxn ang="0">
                  <a:pos x="927" y="203"/>
                </a:cxn>
                <a:cxn ang="0">
                  <a:pos x="937" y="216"/>
                </a:cxn>
                <a:cxn ang="0">
                  <a:pos x="948" y="229"/>
                </a:cxn>
                <a:cxn ang="0">
                  <a:pos x="959" y="240"/>
                </a:cxn>
              </a:cxnLst>
              <a:rect l="0" t="0" r="r" b="b"/>
              <a:pathLst>
                <a:path w="959" h="848">
                  <a:moveTo>
                    <a:pt x="959" y="240"/>
                  </a:moveTo>
                  <a:lnTo>
                    <a:pt x="351" y="848"/>
                  </a:lnTo>
                  <a:lnTo>
                    <a:pt x="331" y="827"/>
                  </a:lnTo>
                  <a:lnTo>
                    <a:pt x="311" y="806"/>
                  </a:lnTo>
                  <a:lnTo>
                    <a:pt x="291" y="783"/>
                  </a:lnTo>
                  <a:lnTo>
                    <a:pt x="272" y="761"/>
                  </a:lnTo>
                  <a:lnTo>
                    <a:pt x="254" y="738"/>
                  </a:lnTo>
                  <a:lnTo>
                    <a:pt x="236" y="715"/>
                  </a:lnTo>
                  <a:lnTo>
                    <a:pt x="219" y="691"/>
                  </a:lnTo>
                  <a:lnTo>
                    <a:pt x="210" y="679"/>
                  </a:lnTo>
                  <a:lnTo>
                    <a:pt x="202" y="667"/>
                  </a:lnTo>
                  <a:lnTo>
                    <a:pt x="186" y="642"/>
                  </a:lnTo>
                  <a:lnTo>
                    <a:pt x="171" y="617"/>
                  </a:lnTo>
                  <a:lnTo>
                    <a:pt x="156" y="590"/>
                  </a:lnTo>
                  <a:lnTo>
                    <a:pt x="142" y="565"/>
                  </a:lnTo>
                  <a:lnTo>
                    <a:pt x="128" y="539"/>
                  </a:lnTo>
                  <a:lnTo>
                    <a:pt x="115" y="512"/>
                  </a:lnTo>
                  <a:lnTo>
                    <a:pt x="103" y="485"/>
                  </a:lnTo>
                  <a:lnTo>
                    <a:pt x="91" y="458"/>
                  </a:lnTo>
                  <a:lnTo>
                    <a:pt x="81" y="431"/>
                  </a:lnTo>
                  <a:lnTo>
                    <a:pt x="70" y="404"/>
                  </a:lnTo>
                  <a:lnTo>
                    <a:pt x="61" y="376"/>
                  </a:lnTo>
                  <a:lnTo>
                    <a:pt x="52" y="348"/>
                  </a:lnTo>
                  <a:lnTo>
                    <a:pt x="43" y="320"/>
                  </a:lnTo>
                  <a:lnTo>
                    <a:pt x="36" y="291"/>
                  </a:lnTo>
                  <a:lnTo>
                    <a:pt x="29" y="263"/>
                  </a:lnTo>
                  <a:lnTo>
                    <a:pt x="23" y="234"/>
                  </a:lnTo>
                  <a:lnTo>
                    <a:pt x="17" y="205"/>
                  </a:lnTo>
                  <a:lnTo>
                    <a:pt x="13" y="176"/>
                  </a:lnTo>
                  <a:lnTo>
                    <a:pt x="9" y="147"/>
                  </a:lnTo>
                  <a:lnTo>
                    <a:pt x="6" y="118"/>
                  </a:lnTo>
                  <a:lnTo>
                    <a:pt x="3" y="88"/>
                  </a:lnTo>
                  <a:lnTo>
                    <a:pt x="1" y="59"/>
                  </a:lnTo>
                  <a:lnTo>
                    <a:pt x="0" y="29"/>
                  </a:lnTo>
                  <a:lnTo>
                    <a:pt x="0" y="0"/>
                  </a:lnTo>
                  <a:lnTo>
                    <a:pt x="429" y="0"/>
                  </a:lnTo>
                  <a:lnTo>
                    <a:pt x="859" y="0"/>
                  </a:lnTo>
                  <a:lnTo>
                    <a:pt x="860" y="17"/>
                  </a:lnTo>
                  <a:lnTo>
                    <a:pt x="861" y="35"/>
                  </a:lnTo>
                  <a:lnTo>
                    <a:pt x="862" y="43"/>
                  </a:lnTo>
                  <a:lnTo>
                    <a:pt x="863" y="52"/>
                  </a:lnTo>
                  <a:lnTo>
                    <a:pt x="864" y="60"/>
                  </a:lnTo>
                  <a:lnTo>
                    <a:pt x="866" y="68"/>
                  </a:lnTo>
                  <a:lnTo>
                    <a:pt x="870" y="85"/>
                  </a:lnTo>
                  <a:lnTo>
                    <a:pt x="874" y="101"/>
                  </a:lnTo>
                  <a:lnTo>
                    <a:pt x="880" y="117"/>
                  </a:lnTo>
                  <a:lnTo>
                    <a:pt x="886" y="132"/>
                  </a:lnTo>
                  <a:lnTo>
                    <a:pt x="893" y="147"/>
                  </a:lnTo>
                  <a:lnTo>
                    <a:pt x="900" y="162"/>
                  </a:lnTo>
                  <a:lnTo>
                    <a:pt x="908" y="176"/>
                  </a:lnTo>
                  <a:lnTo>
                    <a:pt x="917" y="190"/>
                  </a:lnTo>
                  <a:lnTo>
                    <a:pt x="927" y="203"/>
                  </a:lnTo>
                  <a:lnTo>
                    <a:pt x="937" y="216"/>
                  </a:lnTo>
                  <a:lnTo>
                    <a:pt x="948" y="229"/>
                  </a:lnTo>
                  <a:lnTo>
                    <a:pt x="959" y="24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4" name="Freeform 134">
              <a:extLst>
                <a:ext uri="{FF2B5EF4-FFF2-40B4-BE49-F238E27FC236}">
                  <a16:creationId xmlns:a16="http://schemas.microsoft.com/office/drawing/2014/main" id="{84C4919A-98BF-4FF9-A9C5-D9DF1DE0C541}"/>
                </a:ext>
              </a:extLst>
            </p:cNvPr>
            <p:cNvSpPr>
              <a:spLocks noChangeAspect="1"/>
            </p:cNvSpPr>
            <p:nvPr/>
          </p:nvSpPr>
          <p:spPr bwMode="auto">
            <a:xfrm>
              <a:off x="5845181" y="4286282"/>
              <a:ext cx="744538" cy="657226"/>
            </a:xfrm>
            <a:custGeom>
              <a:avLst/>
              <a:gdLst/>
              <a:ahLst/>
              <a:cxnLst>
                <a:cxn ang="0">
                  <a:pos x="859" y="848"/>
                </a:cxn>
                <a:cxn ang="0">
                  <a:pos x="429" y="848"/>
                </a:cxn>
                <a:cxn ang="0">
                  <a:pos x="0" y="848"/>
                </a:cxn>
                <a:cxn ang="0">
                  <a:pos x="1" y="819"/>
                </a:cxn>
                <a:cxn ang="0">
                  <a:pos x="2" y="789"/>
                </a:cxn>
                <a:cxn ang="0">
                  <a:pos x="3" y="760"/>
                </a:cxn>
                <a:cxn ang="0">
                  <a:pos x="6" y="730"/>
                </a:cxn>
                <a:cxn ang="0">
                  <a:pos x="9" y="701"/>
                </a:cxn>
                <a:cxn ang="0">
                  <a:pos x="13" y="672"/>
                </a:cxn>
                <a:cxn ang="0">
                  <a:pos x="18" y="643"/>
                </a:cxn>
                <a:cxn ang="0">
                  <a:pos x="23" y="614"/>
                </a:cxn>
                <a:cxn ang="0">
                  <a:pos x="29" y="585"/>
                </a:cxn>
                <a:cxn ang="0">
                  <a:pos x="36" y="557"/>
                </a:cxn>
                <a:cxn ang="0">
                  <a:pos x="44" y="528"/>
                </a:cxn>
                <a:cxn ang="0">
                  <a:pos x="52" y="500"/>
                </a:cxn>
                <a:cxn ang="0">
                  <a:pos x="56" y="486"/>
                </a:cxn>
                <a:cxn ang="0">
                  <a:pos x="61" y="472"/>
                </a:cxn>
                <a:cxn ang="0">
                  <a:pos x="70" y="444"/>
                </a:cxn>
                <a:cxn ang="0">
                  <a:pos x="81" y="417"/>
                </a:cxn>
                <a:cxn ang="0">
                  <a:pos x="91" y="389"/>
                </a:cxn>
                <a:cxn ang="0">
                  <a:pos x="103" y="362"/>
                </a:cxn>
                <a:cxn ang="0">
                  <a:pos x="115" y="336"/>
                </a:cxn>
                <a:cxn ang="0">
                  <a:pos x="128" y="309"/>
                </a:cxn>
                <a:cxn ang="0">
                  <a:pos x="142" y="283"/>
                </a:cxn>
                <a:cxn ang="0">
                  <a:pos x="156" y="257"/>
                </a:cxn>
                <a:cxn ang="0">
                  <a:pos x="170" y="231"/>
                </a:cxn>
                <a:cxn ang="0">
                  <a:pos x="186" y="206"/>
                </a:cxn>
                <a:cxn ang="0">
                  <a:pos x="202" y="181"/>
                </a:cxn>
                <a:cxn ang="0">
                  <a:pos x="218" y="157"/>
                </a:cxn>
                <a:cxn ang="0">
                  <a:pos x="227" y="145"/>
                </a:cxn>
                <a:cxn ang="0">
                  <a:pos x="236" y="133"/>
                </a:cxn>
                <a:cxn ang="0">
                  <a:pos x="253" y="110"/>
                </a:cxn>
                <a:cxn ang="0">
                  <a:pos x="272" y="87"/>
                </a:cxn>
                <a:cxn ang="0">
                  <a:pos x="291" y="64"/>
                </a:cxn>
                <a:cxn ang="0">
                  <a:pos x="310" y="42"/>
                </a:cxn>
                <a:cxn ang="0">
                  <a:pos x="320" y="31"/>
                </a:cxn>
                <a:cxn ang="0">
                  <a:pos x="330" y="21"/>
                </a:cxn>
                <a:cxn ang="0">
                  <a:pos x="351" y="0"/>
                </a:cxn>
                <a:cxn ang="0">
                  <a:pos x="959" y="607"/>
                </a:cxn>
                <a:cxn ang="0">
                  <a:pos x="948" y="619"/>
                </a:cxn>
                <a:cxn ang="0">
                  <a:pos x="937" y="632"/>
                </a:cxn>
                <a:cxn ang="0">
                  <a:pos x="927" y="644"/>
                </a:cxn>
                <a:cxn ang="0">
                  <a:pos x="917" y="658"/>
                </a:cxn>
                <a:cxn ang="0">
                  <a:pos x="908" y="672"/>
                </a:cxn>
                <a:cxn ang="0">
                  <a:pos x="900" y="686"/>
                </a:cxn>
                <a:cxn ang="0">
                  <a:pos x="893" y="700"/>
                </a:cxn>
                <a:cxn ang="0">
                  <a:pos x="886" y="716"/>
                </a:cxn>
                <a:cxn ang="0">
                  <a:pos x="883" y="723"/>
                </a:cxn>
                <a:cxn ang="0">
                  <a:pos x="880" y="731"/>
                </a:cxn>
                <a:cxn ang="0">
                  <a:pos x="874" y="747"/>
                </a:cxn>
                <a:cxn ang="0">
                  <a:pos x="872" y="755"/>
                </a:cxn>
                <a:cxn ang="0">
                  <a:pos x="870" y="763"/>
                </a:cxn>
                <a:cxn ang="0">
                  <a:pos x="866" y="779"/>
                </a:cxn>
                <a:cxn ang="0">
                  <a:pos x="864" y="788"/>
                </a:cxn>
                <a:cxn ang="0">
                  <a:pos x="863" y="796"/>
                </a:cxn>
                <a:cxn ang="0">
                  <a:pos x="861" y="813"/>
                </a:cxn>
                <a:cxn ang="0">
                  <a:pos x="860" y="830"/>
                </a:cxn>
                <a:cxn ang="0">
                  <a:pos x="859" y="848"/>
                </a:cxn>
              </a:cxnLst>
              <a:rect l="0" t="0" r="r" b="b"/>
              <a:pathLst>
                <a:path w="959" h="848">
                  <a:moveTo>
                    <a:pt x="859" y="848"/>
                  </a:moveTo>
                  <a:lnTo>
                    <a:pt x="429" y="848"/>
                  </a:lnTo>
                  <a:lnTo>
                    <a:pt x="0" y="848"/>
                  </a:lnTo>
                  <a:lnTo>
                    <a:pt x="1" y="819"/>
                  </a:lnTo>
                  <a:lnTo>
                    <a:pt x="2" y="789"/>
                  </a:lnTo>
                  <a:lnTo>
                    <a:pt x="3" y="760"/>
                  </a:lnTo>
                  <a:lnTo>
                    <a:pt x="6" y="730"/>
                  </a:lnTo>
                  <a:lnTo>
                    <a:pt x="9" y="701"/>
                  </a:lnTo>
                  <a:lnTo>
                    <a:pt x="13" y="672"/>
                  </a:lnTo>
                  <a:lnTo>
                    <a:pt x="18" y="643"/>
                  </a:lnTo>
                  <a:lnTo>
                    <a:pt x="23" y="614"/>
                  </a:lnTo>
                  <a:lnTo>
                    <a:pt x="29" y="585"/>
                  </a:lnTo>
                  <a:lnTo>
                    <a:pt x="36" y="557"/>
                  </a:lnTo>
                  <a:lnTo>
                    <a:pt x="44" y="528"/>
                  </a:lnTo>
                  <a:lnTo>
                    <a:pt x="52" y="500"/>
                  </a:lnTo>
                  <a:lnTo>
                    <a:pt x="56" y="486"/>
                  </a:lnTo>
                  <a:lnTo>
                    <a:pt x="61" y="472"/>
                  </a:lnTo>
                  <a:lnTo>
                    <a:pt x="70" y="444"/>
                  </a:lnTo>
                  <a:lnTo>
                    <a:pt x="81" y="417"/>
                  </a:lnTo>
                  <a:lnTo>
                    <a:pt x="91" y="389"/>
                  </a:lnTo>
                  <a:lnTo>
                    <a:pt x="103" y="362"/>
                  </a:lnTo>
                  <a:lnTo>
                    <a:pt x="115" y="336"/>
                  </a:lnTo>
                  <a:lnTo>
                    <a:pt x="128" y="309"/>
                  </a:lnTo>
                  <a:lnTo>
                    <a:pt x="142" y="283"/>
                  </a:lnTo>
                  <a:lnTo>
                    <a:pt x="156" y="257"/>
                  </a:lnTo>
                  <a:lnTo>
                    <a:pt x="170" y="231"/>
                  </a:lnTo>
                  <a:lnTo>
                    <a:pt x="186" y="206"/>
                  </a:lnTo>
                  <a:lnTo>
                    <a:pt x="202" y="181"/>
                  </a:lnTo>
                  <a:lnTo>
                    <a:pt x="218" y="157"/>
                  </a:lnTo>
                  <a:lnTo>
                    <a:pt x="227" y="145"/>
                  </a:lnTo>
                  <a:lnTo>
                    <a:pt x="236" y="133"/>
                  </a:lnTo>
                  <a:lnTo>
                    <a:pt x="253" y="110"/>
                  </a:lnTo>
                  <a:lnTo>
                    <a:pt x="272" y="87"/>
                  </a:lnTo>
                  <a:lnTo>
                    <a:pt x="291" y="64"/>
                  </a:lnTo>
                  <a:lnTo>
                    <a:pt x="310" y="42"/>
                  </a:lnTo>
                  <a:lnTo>
                    <a:pt x="320" y="31"/>
                  </a:lnTo>
                  <a:lnTo>
                    <a:pt x="330" y="21"/>
                  </a:lnTo>
                  <a:lnTo>
                    <a:pt x="351" y="0"/>
                  </a:lnTo>
                  <a:lnTo>
                    <a:pt x="959" y="607"/>
                  </a:lnTo>
                  <a:lnTo>
                    <a:pt x="948" y="619"/>
                  </a:lnTo>
                  <a:lnTo>
                    <a:pt x="937" y="632"/>
                  </a:lnTo>
                  <a:lnTo>
                    <a:pt x="927" y="644"/>
                  </a:lnTo>
                  <a:lnTo>
                    <a:pt x="917" y="658"/>
                  </a:lnTo>
                  <a:lnTo>
                    <a:pt x="908" y="672"/>
                  </a:lnTo>
                  <a:lnTo>
                    <a:pt x="900" y="686"/>
                  </a:lnTo>
                  <a:lnTo>
                    <a:pt x="893" y="700"/>
                  </a:lnTo>
                  <a:lnTo>
                    <a:pt x="886" y="716"/>
                  </a:lnTo>
                  <a:lnTo>
                    <a:pt x="883" y="723"/>
                  </a:lnTo>
                  <a:lnTo>
                    <a:pt x="880" y="731"/>
                  </a:lnTo>
                  <a:lnTo>
                    <a:pt x="874" y="747"/>
                  </a:lnTo>
                  <a:lnTo>
                    <a:pt x="872" y="755"/>
                  </a:lnTo>
                  <a:lnTo>
                    <a:pt x="870" y="763"/>
                  </a:lnTo>
                  <a:lnTo>
                    <a:pt x="866" y="779"/>
                  </a:lnTo>
                  <a:lnTo>
                    <a:pt x="864" y="788"/>
                  </a:lnTo>
                  <a:lnTo>
                    <a:pt x="863" y="796"/>
                  </a:lnTo>
                  <a:lnTo>
                    <a:pt x="861" y="813"/>
                  </a:lnTo>
                  <a:lnTo>
                    <a:pt x="860" y="830"/>
                  </a:lnTo>
                  <a:lnTo>
                    <a:pt x="859" y="84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5" name="Freeform 135">
              <a:extLst>
                <a:ext uri="{FF2B5EF4-FFF2-40B4-BE49-F238E27FC236}">
                  <a16:creationId xmlns:a16="http://schemas.microsoft.com/office/drawing/2014/main" id="{2BDA17F5-8E47-424A-9D6F-0D668F3458D0}"/>
                </a:ext>
              </a:extLst>
            </p:cNvPr>
            <p:cNvSpPr>
              <a:spLocks noChangeAspect="1"/>
            </p:cNvSpPr>
            <p:nvPr/>
          </p:nvSpPr>
          <p:spPr bwMode="auto">
            <a:xfrm>
              <a:off x="6118231" y="4013232"/>
              <a:ext cx="657226" cy="742951"/>
            </a:xfrm>
            <a:custGeom>
              <a:avLst/>
              <a:gdLst/>
              <a:ahLst/>
              <a:cxnLst>
                <a:cxn ang="0">
                  <a:pos x="608" y="958"/>
                </a:cxn>
                <a:cxn ang="0">
                  <a:pos x="0" y="351"/>
                </a:cxn>
                <a:cxn ang="0">
                  <a:pos x="21" y="330"/>
                </a:cxn>
                <a:cxn ang="0">
                  <a:pos x="43" y="310"/>
                </a:cxn>
                <a:cxn ang="0">
                  <a:pos x="65" y="291"/>
                </a:cxn>
                <a:cxn ang="0">
                  <a:pos x="87" y="272"/>
                </a:cxn>
                <a:cxn ang="0">
                  <a:pos x="110" y="253"/>
                </a:cxn>
                <a:cxn ang="0">
                  <a:pos x="134" y="236"/>
                </a:cxn>
                <a:cxn ang="0">
                  <a:pos x="157" y="218"/>
                </a:cxn>
                <a:cxn ang="0">
                  <a:pos x="170" y="210"/>
                </a:cxn>
                <a:cxn ang="0">
                  <a:pos x="182" y="202"/>
                </a:cxn>
                <a:cxn ang="0">
                  <a:pos x="206" y="186"/>
                </a:cxn>
                <a:cxn ang="0">
                  <a:pos x="231" y="170"/>
                </a:cxn>
                <a:cxn ang="0">
                  <a:pos x="258" y="156"/>
                </a:cxn>
                <a:cxn ang="0">
                  <a:pos x="284" y="141"/>
                </a:cxn>
                <a:cxn ang="0">
                  <a:pos x="310" y="128"/>
                </a:cxn>
                <a:cxn ang="0">
                  <a:pos x="336" y="115"/>
                </a:cxn>
                <a:cxn ang="0">
                  <a:pos x="363" y="103"/>
                </a:cxn>
                <a:cxn ang="0">
                  <a:pos x="390" y="91"/>
                </a:cxn>
                <a:cxn ang="0">
                  <a:pos x="417" y="80"/>
                </a:cxn>
                <a:cxn ang="0">
                  <a:pos x="445" y="70"/>
                </a:cxn>
                <a:cxn ang="0">
                  <a:pos x="472" y="60"/>
                </a:cxn>
                <a:cxn ang="0">
                  <a:pos x="500" y="51"/>
                </a:cxn>
                <a:cxn ang="0">
                  <a:pos x="529" y="43"/>
                </a:cxn>
                <a:cxn ang="0">
                  <a:pos x="557" y="35"/>
                </a:cxn>
                <a:cxn ang="0">
                  <a:pos x="586" y="29"/>
                </a:cxn>
                <a:cxn ang="0">
                  <a:pos x="614" y="23"/>
                </a:cxn>
                <a:cxn ang="0">
                  <a:pos x="643" y="17"/>
                </a:cxn>
                <a:cxn ang="0">
                  <a:pos x="672" y="12"/>
                </a:cxn>
                <a:cxn ang="0">
                  <a:pos x="701" y="8"/>
                </a:cxn>
                <a:cxn ang="0">
                  <a:pos x="731" y="5"/>
                </a:cxn>
                <a:cxn ang="0">
                  <a:pos x="760" y="3"/>
                </a:cxn>
                <a:cxn ang="0">
                  <a:pos x="789" y="1"/>
                </a:cxn>
                <a:cxn ang="0">
                  <a:pos x="819" y="0"/>
                </a:cxn>
                <a:cxn ang="0">
                  <a:pos x="848" y="0"/>
                </a:cxn>
                <a:cxn ang="0">
                  <a:pos x="848" y="429"/>
                </a:cxn>
                <a:cxn ang="0">
                  <a:pos x="848" y="859"/>
                </a:cxn>
                <a:cxn ang="0">
                  <a:pos x="831" y="859"/>
                </a:cxn>
                <a:cxn ang="0">
                  <a:pos x="814" y="861"/>
                </a:cxn>
                <a:cxn ang="0">
                  <a:pos x="805" y="861"/>
                </a:cxn>
                <a:cxn ang="0">
                  <a:pos x="797" y="863"/>
                </a:cxn>
                <a:cxn ang="0">
                  <a:pos x="788" y="864"/>
                </a:cxn>
                <a:cxn ang="0">
                  <a:pos x="780" y="866"/>
                </a:cxn>
                <a:cxn ang="0">
                  <a:pos x="763" y="869"/>
                </a:cxn>
                <a:cxn ang="0">
                  <a:pos x="747" y="874"/>
                </a:cxn>
                <a:cxn ang="0">
                  <a:pos x="731" y="879"/>
                </a:cxn>
                <a:cxn ang="0">
                  <a:pos x="716" y="885"/>
                </a:cxn>
                <a:cxn ang="0">
                  <a:pos x="701" y="892"/>
                </a:cxn>
                <a:cxn ang="0">
                  <a:pos x="686" y="900"/>
                </a:cxn>
                <a:cxn ang="0">
                  <a:pos x="672" y="908"/>
                </a:cxn>
                <a:cxn ang="0">
                  <a:pos x="658" y="917"/>
                </a:cxn>
                <a:cxn ang="0">
                  <a:pos x="645" y="926"/>
                </a:cxn>
                <a:cxn ang="0">
                  <a:pos x="632" y="936"/>
                </a:cxn>
                <a:cxn ang="0">
                  <a:pos x="620" y="947"/>
                </a:cxn>
                <a:cxn ang="0">
                  <a:pos x="608" y="958"/>
                </a:cxn>
              </a:cxnLst>
              <a:rect l="0" t="0" r="r" b="b"/>
              <a:pathLst>
                <a:path w="848" h="958">
                  <a:moveTo>
                    <a:pt x="608" y="958"/>
                  </a:moveTo>
                  <a:lnTo>
                    <a:pt x="0" y="351"/>
                  </a:lnTo>
                  <a:lnTo>
                    <a:pt x="21" y="330"/>
                  </a:lnTo>
                  <a:lnTo>
                    <a:pt x="43" y="310"/>
                  </a:lnTo>
                  <a:lnTo>
                    <a:pt x="65" y="291"/>
                  </a:lnTo>
                  <a:lnTo>
                    <a:pt x="87" y="272"/>
                  </a:lnTo>
                  <a:lnTo>
                    <a:pt x="110" y="253"/>
                  </a:lnTo>
                  <a:lnTo>
                    <a:pt x="134" y="236"/>
                  </a:lnTo>
                  <a:lnTo>
                    <a:pt x="157" y="218"/>
                  </a:lnTo>
                  <a:lnTo>
                    <a:pt x="170" y="210"/>
                  </a:lnTo>
                  <a:lnTo>
                    <a:pt x="182" y="202"/>
                  </a:lnTo>
                  <a:lnTo>
                    <a:pt x="206" y="186"/>
                  </a:lnTo>
                  <a:lnTo>
                    <a:pt x="231" y="170"/>
                  </a:lnTo>
                  <a:lnTo>
                    <a:pt x="258" y="156"/>
                  </a:lnTo>
                  <a:lnTo>
                    <a:pt x="284" y="141"/>
                  </a:lnTo>
                  <a:lnTo>
                    <a:pt x="310" y="128"/>
                  </a:lnTo>
                  <a:lnTo>
                    <a:pt x="336" y="115"/>
                  </a:lnTo>
                  <a:lnTo>
                    <a:pt x="363" y="103"/>
                  </a:lnTo>
                  <a:lnTo>
                    <a:pt x="390" y="91"/>
                  </a:lnTo>
                  <a:lnTo>
                    <a:pt x="417" y="80"/>
                  </a:lnTo>
                  <a:lnTo>
                    <a:pt x="445" y="70"/>
                  </a:lnTo>
                  <a:lnTo>
                    <a:pt x="472" y="60"/>
                  </a:lnTo>
                  <a:lnTo>
                    <a:pt x="500" y="51"/>
                  </a:lnTo>
                  <a:lnTo>
                    <a:pt x="529" y="43"/>
                  </a:lnTo>
                  <a:lnTo>
                    <a:pt x="557" y="35"/>
                  </a:lnTo>
                  <a:lnTo>
                    <a:pt x="586" y="29"/>
                  </a:lnTo>
                  <a:lnTo>
                    <a:pt x="614" y="23"/>
                  </a:lnTo>
                  <a:lnTo>
                    <a:pt x="643" y="17"/>
                  </a:lnTo>
                  <a:lnTo>
                    <a:pt x="672" y="12"/>
                  </a:lnTo>
                  <a:lnTo>
                    <a:pt x="701" y="8"/>
                  </a:lnTo>
                  <a:lnTo>
                    <a:pt x="731" y="5"/>
                  </a:lnTo>
                  <a:lnTo>
                    <a:pt x="760" y="3"/>
                  </a:lnTo>
                  <a:lnTo>
                    <a:pt x="789" y="1"/>
                  </a:lnTo>
                  <a:lnTo>
                    <a:pt x="819" y="0"/>
                  </a:lnTo>
                  <a:lnTo>
                    <a:pt x="848" y="0"/>
                  </a:lnTo>
                  <a:lnTo>
                    <a:pt x="848" y="429"/>
                  </a:lnTo>
                  <a:lnTo>
                    <a:pt x="848" y="859"/>
                  </a:lnTo>
                  <a:lnTo>
                    <a:pt x="831" y="859"/>
                  </a:lnTo>
                  <a:lnTo>
                    <a:pt x="814" y="861"/>
                  </a:lnTo>
                  <a:lnTo>
                    <a:pt x="805" y="861"/>
                  </a:lnTo>
                  <a:lnTo>
                    <a:pt x="797" y="863"/>
                  </a:lnTo>
                  <a:lnTo>
                    <a:pt x="788" y="864"/>
                  </a:lnTo>
                  <a:lnTo>
                    <a:pt x="780" y="866"/>
                  </a:lnTo>
                  <a:lnTo>
                    <a:pt x="763" y="869"/>
                  </a:lnTo>
                  <a:lnTo>
                    <a:pt x="747" y="874"/>
                  </a:lnTo>
                  <a:lnTo>
                    <a:pt x="731" y="879"/>
                  </a:lnTo>
                  <a:lnTo>
                    <a:pt x="716" y="885"/>
                  </a:lnTo>
                  <a:lnTo>
                    <a:pt x="701" y="892"/>
                  </a:lnTo>
                  <a:lnTo>
                    <a:pt x="686" y="900"/>
                  </a:lnTo>
                  <a:lnTo>
                    <a:pt x="672" y="908"/>
                  </a:lnTo>
                  <a:lnTo>
                    <a:pt x="658" y="917"/>
                  </a:lnTo>
                  <a:lnTo>
                    <a:pt x="645" y="926"/>
                  </a:lnTo>
                  <a:lnTo>
                    <a:pt x="632" y="936"/>
                  </a:lnTo>
                  <a:lnTo>
                    <a:pt x="620" y="947"/>
                  </a:lnTo>
                  <a:lnTo>
                    <a:pt x="608" y="958"/>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36" name="Text Box 136">
              <a:extLst>
                <a:ext uri="{FF2B5EF4-FFF2-40B4-BE49-F238E27FC236}">
                  <a16:creationId xmlns:a16="http://schemas.microsoft.com/office/drawing/2014/main" id="{97B0F497-E3D4-4A88-AF98-F3CB648D6EC1}"/>
                </a:ext>
              </a:extLst>
            </p:cNvPr>
            <p:cNvSpPr txBox="1">
              <a:spLocks noChangeArrowheads="1"/>
            </p:cNvSpPr>
            <p:nvPr/>
          </p:nvSpPr>
          <p:spPr bwMode="auto">
            <a:xfrm>
              <a:off x="6767519" y="5364197"/>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7" name="Text Box 137">
              <a:extLst>
                <a:ext uri="{FF2B5EF4-FFF2-40B4-BE49-F238E27FC236}">
                  <a16:creationId xmlns:a16="http://schemas.microsoft.com/office/drawing/2014/main" id="{499E9CE9-632E-4610-8B4D-75A2102F0CF6}"/>
                </a:ext>
              </a:extLst>
            </p:cNvPr>
            <p:cNvSpPr txBox="1">
              <a:spLocks noChangeArrowheads="1"/>
            </p:cNvSpPr>
            <p:nvPr/>
          </p:nvSpPr>
          <p:spPr bwMode="auto">
            <a:xfrm>
              <a:off x="6356357" y="5364197"/>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8" name="Text Box 138">
              <a:extLst>
                <a:ext uri="{FF2B5EF4-FFF2-40B4-BE49-F238E27FC236}">
                  <a16:creationId xmlns:a16="http://schemas.microsoft.com/office/drawing/2014/main" id="{6CA109A2-2ADF-428F-9ED7-5AC7CB1D4EE3}"/>
                </a:ext>
              </a:extLst>
            </p:cNvPr>
            <p:cNvSpPr txBox="1">
              <a:spLocks noChangeArrowheads="1"/>
            </p:cNvSpPr>
            <p:nvPr/>
          </p:nvSpPr>
          <p:spPr bwMode="auto">
            <a:xfrm>
              <a:off x="7127882" y="4946684"/>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39" name="Text Box 139">
              <a:extLst>
                <a:ext uri="{FF2B5EF4-FFF2-40B4-BE49-F238E27FC236}">
                  <a16:creationId xmlns:a16="http://schemas.microsoft.com/office/drawing/2014/main" id="{8F182814-8F00-400E-A8D7-B4B8FED4C467}"/>
                </a:ext>
              </a:extLst>
            </p:cNvPr>
            <p:cNvSpPr txBox="1">
              <a:spLocks noChangeArrowheads="1"/>
            </p:cNvSpPr>
            <p:nvPr/>
          </p:nvSpPr>
          <p:spPr bwMode="auto">
            <a:xfrm>
              <a:off x="7127882" y="4691096"/>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0" name="Text Box 140">
              <a:extLst>
                <a:ext uri="{FF2B5EF4-FFF2-40B4-BE49-F238E27FC236}">
                  <a16:creationId xmlns:a16="http://schemas.microsoft.com/office/drawing/2014/main" id="{D8F9BA0F-51FF-4E23-AA71-D7D423625D6B}"/>
                </a:ext>
              </a:extLst>
            </p:cNvPr>
            <p:cNvSpPr txBox="1">
              <a:spLocks noChangeArrowheads="1"/>
            </p:cNvSpPr>
            <p:nvPr/>
          </p:nvSpPr>
          <p:spPr bwMode="auto">
            <a:xfrm>
              <a:off x="5997581" y="4946684"/>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1" name="Text Box 141">
              <a:extLst>
                <a:ext uri="{FF2B5EF4-FFF2-40B4-BE49-F238E27FC236}">
                  <a16:creationId xmlns:a16="http://schemas.microsoft.com/office/drawing/2014/main" id="{94844C38-5FFA-4313-8249-FFE48F10B730}"/>
                </a:ext>
              </a:extLst>
            </p:cNvPr>
            <p:cNvSpPr txBox="1">
              <a:spLocks noChangeArrowheads="1"/>
            </p:cNvSpPr>
            <p:nvPr/>
          </p:nvSpPr>
          <p:spPr bwMode="auto">
            <a:xfrm>
              <a:off x="6767519" y="425612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2" name="Text Box 142">
              <a:extLst>
                <a:ext uri="{FF2B5EF4-FFF2-40B4-BE49-F238E27FC236}">
                  <a16:creationId xmlns:a16="http://schemas.microsoft.com/office/drawing/2014/main" id="{94001D75-80B2-4A1D-9624-F8BB825FB9E4}"/>
                </a:ext>
              </a:extLst>
            </p:cNvPr>
            <p:cNvSpPr txBox="1">
              <a:spLocks noChangeArrowheads="1"/>
            </p:cNvSpPr>
            <p:nvPr/>
          </p:nvSpPr>
          <p:spPr bwMode="auto">
            <a:xfrm>
              <a:off x="5997581" y="4691096"/>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43" name="Text Box 143">
              <a:extLst>
                <a:ext uri="{FF2B5EF4-FFF2-40B4-BE49-F238E27FC236}">
                  <a16:creationId xmlns:a16="http://schemas.microsoft.com/office/drawing/2014/main" id="{3D5811A1-03FB-4451-B52B-08E679A71E72}"/>
                </a:ext>
              </a:extLst>
            </p:cNvPr>
            <p:cNvSpPr txBox="1">
              <a:spLocks noChangeArrowheads="1"/>
            </p:cNvSpPr>
            <p:nvPr/>
          </p:nvSpPr>
          <p:spPr bwMode="auto">
            <a:xfrm>
              <a:off x="6356357" y="425612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grpSp>
      <p:grpSp>
        <p:nvGrpSpPr>
          <p:cNvPr id="144" name="Group 143">
            <a:extLst>
              <a:ext uri="{FF2B5EF4-FFF2-40B4-BE49-F238E27FC236}">
                <a16:creationId xmlns:a16="http://schemas.microsoft.com/office/drawing/2014/main" id="{E13F4049-A3AD-4F25-BCA9-930C600B4759}"/>
              </a:ext>
            </a:extLst>
          </p:cNvPr>
          <p:cNvGrpSpPr/>
          <p:nvPr/>
        </p:nvGrpSpPr>
        <p:grpSpPr bwMode="auto">
          <a:xfrm>
            <a:off x="5175460" y="4157663"/>
            <a:ext cx="1860550" cy="1860551"/>
            <a:chOff x="3636963" y="4022750"/>
            <a:chExt cx="1860550" cy="1860551"/>
          </a:xfrm>
        </p:grpSpPr>
        <p:sp>
          <p:nvSpPr>
            <p:cNvPr id="145" name="Freeform 145">
              <a:extLst>
                <a:ext uri="{FF2B5EF4-FFF2-40B4-BE49-F238E27FC236}">
                  <a16:creationId xmlns:a16="http://schemas.microsoft.com/office/drawing/2014/main" id="{B4724BB5-4E40-4004-8AAD-6EEB4F8C7E0C}"/>
                </a:ext>
              </a:extLst>
            </p:cNvPr>
            <p:cNvSpPr>
              <a:spLocks noChangeAspect="1"/>
            </p:cNvSpPr>
            <p:nvPr/>
          </p:nvSpPr>
          <p:spPr bwMode="auto">
            <a:xfrm>
              <a:off x="4567238" y="4022750"/>
              <a:ext cx="727075" cy="757238"/>
            </a:xfrm>
            <a:custGeom>
              <a:avLst/>
              <a:gdLst/>
              <a:ahLst/>
              <a:cxnLst>
                <a:cxn ang="0">
                  <a:pos x="0" y="795"/>
                </a:cxn>
                <a:cxn ang="0">
                  <a:pos x="0" y="0"/>
                </a:cxn>
                <a:cxn ang="0">
                  <a:pos x="28" y="1"/>
                </a:cxn>
                <a:cxn ang="0">
                  <a:pos x="55" y="2"/>
                </a:cxn>
                <a:cxn ang="0">
                  <a:pos x="83" y="3"/>
                </a:cxn>
                <a:cxn ang="0">
                  <a:pos x="111" y="6"/>
                </a:cxn>
                <a:cxn ang="0">
                  <a:pos x="139" y="9"/>
                </a:cxn>
                <a:cxn ang="0">
                  <a:pos x="166" y="13"/>
                </a:cxn>
                <a:cxn ang="0">
                  <a:pos x="194" y="17"/>
                </a:cxn>
                <a:cxn ang="0">
                  <a:pos x="221" y="22"/>
                </a:cxn>
                <a:cxn ang="0">
                  <a:pos x="248" y="28"/>
                </a:cxn>
                <a:cxn ang="0">
                  <a:pos x="275" y="34"/>
                </a:cxn>
                <a:cxn ang="0">
                  <a:pos x="302" y="42"/>
                </a:cxn>
                <a:cxn ang="0">
                  <a:pos x="329" y="49"/>
                </a:cxn>
                <a:cxn ang="0">
                  <a:pos x="355" y="58"/>
                </a:cxn>
                <a:cxn ang="0">
                  <a:pos x="382" y="67"/>
                </a:cxn>
                <a:cxn ang="0">
                  <a:pos x="395" y="71"/>
                </a:cxn>
                <a:cxn ang="0">
                  <a:pos x="408" y="76"/>
                </a:cxn>
                <a:cxn ang="0">
                  <a:pos x="434" y="87"/>
                </a:cxn>
                <a:cxn ang="0">
                  <a:pos x="459" y="98"/>
                </a:cxn>
                <a:cxn ang="0">
                  <a:pos x="484" y="109"/>
                </a:cxn>
                <a:cxn ang="0">
                  <a:pos x="509" y="121"/>
                </a:cxn>
                <a:cxn ang="0">
                  <a:pos x="534" y="134"/>
                </a:cxn>
                <a:cxn ang="0">
                  <a:pos x="559" y="147"/>
                </a:cxn>
                <a:cxn ang="0">
                  <a:pos x="583" y="161"/>
                </a:cxn>
                <a:cxn ang="0">
                  <a:pos x="606" y="176"/>
                </a:cxn>
                <a:cxn ang="0">
                  <a:pos x="630" y="191"/>
                </a:cxn>
                <a:cxn ang="0">
                  <a:pos x="653" y="207"/>
                </a:cxn>
                <a:cxn ang="0">
                  <a:pos x="675" y="223"/>
                </a:cxn>
                <a:cxn ang="0">
                  <a:pos x="697" y="240"/>
                </a:cxn>
                <a:cxn ang="0">
                  <a:pos x="719" y="257"/>
                </a:cxn>
                <a:cxn ang="0">
                  <a:pos x="740" y="275"/>
                </a:cxn>
                <a:cxn ang="0">
                  <a:pos x="761" y="294"/>
                </a:cxn>
                <a:cxn ang="0">
                  <a:pos x="771" y="303"/>
                </a:cxn>
                <a:cxn ang="0">
                  <a:pos x="781" y="313"/>
                </a:cxn>
                <a:cxn ang="0">
                  <a:pos x="801" y="332"/>
                </a:cxn>
                <a:cxn ang="0">
                  <a:pos x="824" y="355"/>
                </a:cxn>
                <a:cxn ang="0">
                  <a:pos x="845" y="379"/>
                </a:cxn>
                <a:cxn ang="0">
                  <a:pos x="866" y="403"/>
                </a:cxn>
                <a:cxn ang="0">
                  <a:pos x="886" y="427"/>
                </a:cxn>
                <a:cxn ang="0">
                  <a:pos x="266" y="923"/>
                </a:cxn>
                <a:cxn ang="0">
                  <a:pos x="254" y="909"/>
                </a:cxn>
                <a:cxn ang="0">
                  <a:pos x="241" y="895"/>
                </a:cxn>
                <a:cxn ang="0">
                  <a:pos x="227" y="882"/>
                </a:cxn>
                <a:cxn ang="0">
                  <a:pos x="213" y="870"/>
                </a:cxn>
                <a:cxn ang="0">
                  <a:pos x="206" y="864"/>
                </a:cxn>
                <a:cxn ang="0">
                  <a:pos x="198" y="859"/>
                </a:cxn>
                <a:cxn ang="0">
                  <a:pos x="190" y="853"/>
                </a:cxn>
                <a:cxn ang="0">
                  <a:pos x="183" y="848"/>
                </a:cxn>
                <a:cxn ang="0">
                  <a:pos x="166" y="839"/>
                </a:cxn>
                <a:cxn ang="0">
                  <a:pos x="150" y="830"/>
                </a:cxn>
                <a:cxn ang="0">
                  <a:pos x="141" y="826"/>
                </a:cxn>
                <a:cxn ang="0">
                  <a:pos x="133" y="822"/>
                </a:cxn>
                <a:cxn ang="0">
                  <a:pos x="115" y="815"/>
                </a:cxn>
                <a:cxn ang="0">
                  <a:pos x="106" y="812"/>
                </a:cxn>
                <a:cxn ang="0">
                  <a:pos x="97" y="809"/>
                </a:cxn>
                <a:cxn ang="0">
                  <a:pos x="78" y="804"/>
                </a:cxn>
                <a:cxn ang="0">
                  <a:pos x="59" y="800"/>
                </a:cxn>
                <a:cxn ang="0">
                  <a:pos x="40" y="797"/>
                </a:cxn>
                <a:cxn ang="0">
                  <a:pos x="20" y="796"/>
                </a:cxn>
                <a:cxn ang="0">
                  <a:pos x="10" y="795"/>
                </a:cxn>
                <a:cxn ang="0">
                  <a:pos x="0" y="795"/>
                </a:cxn>
              </a:cxnLst>
              <a:rect l="0" t="0" r="r" b="b"/>
              <a:pathLst>
                <a:path w="886" h="923">
                  <a:moveTo>
                    <a:pt x="0" y="795"/>
                  </a:moveTo>
                  <a:lnTo>
                    <a:pt x="0" y="0"/>
                  </a:lnTo>
                  <a:lnTo>
                    <a:pt x="28" y="1"/>
                  </a:lnTo>
                  <a:lnTo>
                    <a:pt x="55" y="2"/>
                  </a:lnTo>
                  <a:lnTo>
                    <a:pt x="83" y="3"/>
                  </a:lnTo>
                  <a:lnTo>
                    <a:pt x="111" y="6"/>
                  </a:lnTo>
                  <a:lnTo>
                    <a:pt x="139" y="9"/>
                  </a:lnTo>
                  <a:lnTo>
                    <a:pt x="166" y="13"/>
                  </a:lnTo>
                  <a:lnTo>
                    <a:pt x="194" y="17"/>
                  </a:lnTo>
                  <a:lnTo>
                    <a:pt x="221" y="22"/>
                  </a:lnTo>
                  <a:lnTo>
                    <a:pt x="248" y="28"/>
                  </a:lnTo>
                  <a:lnTo>
                    <a:pt x="275" y="34"/>
                  </a:lnTo>
                  <a:lnTo>
                    <a:pt x="302" y="42"/>
                  </a:lnTo>
                  <a:lnTo>
                    <a:pt x="329" y="49"/>
                  </a:lnTo>
                  <a:lnTo>
                    <a:pt x="355" y="58"/>
                  </a:lnTo>
                  <a:lnTo>
                    <a:pt x="382" y="67"/>
                  </a:lnTo>
                  <a:lnTo>
                    <a:pt x="395" y="71"/>
                  </a:lnTo>
                  <a:lnTo>
                    <a:pt x="408" y="76"/>
                  </a:lnTo>
                  <a:lnTo>
                    <a:pt x="434" y="87"/>
                  </a:lnTo>
                  <a:lnTo>
                    <a:pt x="459" y="98"/>
                  </a:lnTo>
                  <a:lnTo>
                    <a:pt x="484" y="109"/>
                  </a:lnTo>
                  <a:lnTo>
                    <a:pt x="509" y="121"/>
                  </a:lnTo>
                  <a:lnTo>
                    <a:pt x="534" y="134"/>
                  </a:lnTo>
                  <a:lnTo>
                    <a:pt x="559" y="147"/>
                  </a:lnTo>
                  <a:lnTo>
                    <a:pt x="583" y="161"/>
                  </a:lnTo>
                  <a:lnTo>
                    <a:pt x="606" y="176"/>
                  </a:lnTo>
                  <a:lnTo>
                    <a:pt x="630" y="191"/>
                  </a:lnTo>
                  <a:lnTo>
                    <a:pt x="653" y="207"/>
                  </a:lnTo>
                  <a:lnTo>
                    <a:pt x="675" y="223"/>
                  </a:lnTo>
                  <a:lnTo>
                    <a:pt x="697" y="240"/>
                  </a:lnTo>
                  <a:lnTo>
                    <a:pt x="719" y="257"/>
                  </a:lnTo>
                  <a:lnTo>
                    <a:pt x="740" y="275"/>
                  </a:lnTo>
                  <a:lnTo>
                    <a:pt x="761" y="294"/>
                  </a:lnTo>
                  <a:lnTo>
                    <a:pt x="771" y="303"/>
                  </a:lnTo>
                  <a:lnTo>
                    <a:pt x="781" y="313"/>
                  </a:lnTo>
                  <a:lnTo>
                    <a:pt x="801" y="332"/>
                  </a:lnTo>
                  <a:lnTo>
                    <a:pt x="824" y="355"/>
                  </a:lnTo>
                  <a:lnTo>
                    <a:pt x="845" y="379"/>
                  </a:lnTo>
                  <a:lnTo>
                    <a:pt x="866" y="403"/>
                  </a:lnTo>
                  <a:lnTo>
                    <a:pt x="886" y="427"/>
                  </a:lnTo>
                  <a:lnTo>
                    <a:pt x="266" y="923"/>
                  </a:lnTo>
                  <a:lnTo>
                    <a:pt x="254" y="909"/>
                  </a:lnTo>
                  <a:lnTo>
                    <a:pt x="241" y="895"/>
                  </a:lnTo>
                  <a:lnTo>
                    <a:pt x="227" y="882"/>
                  </a:lnTo>
                  <a:lnTo>
                    <a:pt x="213" y="870"/>
                  </a:lnTo>
                  <a:lnTo>
                    <a:pt x="206" y="864"/>
                  </a:lnTo>
                  <a:lnTo>
                    <a:pt x="198" y="859"/>
                  </a:lnTo>
                  <a:lnTo>
                    <a:pt x="190" y="853"/>
                  </a:lnTo>
                  <a:lnTo>
                    <a:pt x="183" y="848"/>
                  </a:lnTo>
                  <a:lnTo>
                    <a:pt x="166" y="839"/>
                  </a:lnTo>
                  <a:lnTo>
                    <a:pt x="150" y="830"/>
                  </a:lnTo>
                  <a:lnTo>
                    <a:pt x="141" y="826"/>
                  </a:lnTo>
                  <a:lnTo>
                    <a:pt x="133" y="822"/>
                  </a:lnTo>
                  <a:lnTo>
                    <a:pt x="115" y="815"/>
                  </a:lnTo>
                  <a:lnTo>
                    <a:pt x="106" y="812"/>
                  </a:lnTo>
                  <a:lnTo>
                    <a:pt x="97" y="809"/>
                  </a:lnTo>
                  <a:lnTo>
                    <a:pt x="78" y="804"/>
                  </a:lnTo>
                  <a:lnTo>
                    <a:pt x="59" y="800"/>
                  </a:lnTo>
                  <a:lnTo>
                    <a:pt x="40" y="797"/>
                  </a:lnTo>
                  <a:lnTo>
                    <a:pt x="20" y="796"/>
                  </a:lnTo>
                  <a:lnTo>
                    <a:pt x="10" y="795"/>
                  </a:lnTo>
                  <a:lnTo>
                    <a:pt x="0" y="795"/>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6" name="Freeform 146">
              <a:extLst>
                <a:ext uri="{FF2B5EF4-FFF2-40B4-BE49-F238E27FC236}">
                  <a16:creationId xmlns:a16="http://schemas.microsoft.com/office/drawing/2014/main" id="{9CA4ACAB-E92A-48F2-83DE-A7D8295A97FB}"/>
                </a:ext>
              </a:extLst>
            </p:cNvPr>
            <p:cNvSpPr>
              <a:spLocks noChangeAspect="1"/>
            </p:cNvSpPr>
            <p:nvPr/>
          </p:nvSpPr>
          <p:spPr bwMode="auto">
            <a:xfrm>
              <a:off x="4786313" y="4372000"/>
              <a:ext cx="711200" cy="788988"/>
            </a:xfrm>
            <a:custGeom>
              <a:avLst/>
              <a:gdLst/>
              <a:ahLst/>
              <a:cxnLst>
                <a:cxn ang="0">
                  <a:pos x="620" y="0"/>
                </a:cxn>
                <a:cxn ang="0">
                  <a:pos x="654" y="45"/>
                </a:cxn>
                <a:cxn ang="0">
                  <a:pos x="685" y="91"/>
                </a:cxn>
                <a:cxn ang="0">
                  <a:pos x="714" y="138"/>
                </a:cxn>
                <a:cxn ang="0">
                  <a:pos x="741" y="188"/>
                </a:cxn>
                <a:cxn ang="0">
                  <a:pos x="765" y="238"/>
                </a:cxn>
                <a:cxn ang="0">
                  <a:pos x="782" y="276"/>
                </a:cxn>
                <a:cxn ang="0">
                  <a:pos x="797" y="315"/>
                </a:cxn>
                <a:cxn ang="0">
                  <a:pos x="815" y="368"/>
                </a:cxn>
                <a:cxn ang="0">
                  <a:pos x="830" y="421"/>
                </a:cxn>
                <a:cxn ang="0">
                  <a:pos x="840" y="462"/>
                </a:cxn>
                <a:cxn ang="0">
                  <a:pos x="849" y="503"/>
                </a:cxn>
                <a:cxn ang="0">
                  <a:pos x="858" y="558"/>
                </a:cxn>
                <a:cxn ang="0">
                  <a:pos x="864" y="613"/>
                </a:cxn>
                <a:cxn ang="0">
                  <a:pos x="867" y="668"/>
                </a:cxn>
                <a:cxn ang="0">
                  <a:pos x="868" y="724"/>
                </a:cxn>
                <a:cxn ang="0">
                  <a:pos x="865" y="780"/>
                </a:cxn>
                <a:cxn ang="0">
                  <a:pos x="860" y="835"/>
                </a:cxn>
                <a:cxn ang="0">
                  <a:pos x="854" y="882"/>
                </a:cxn>
                <a:cxn ang="0">
                  <a:pos x="846" y="929"/>
                </a:cxn>
                <a:cxn ang="0">
                  <a:pos x="839" y="961"/>
                </a:cxn>
                <a:cxn ang="0">
                  <a:pos x="68" y="775"/>
                </a:cxn>
                <a:cxn ang="0">
                  <a:pos x="72" y="747"/>
                </a:cxn>
                <a:cxn ang="0">
                  <a:pos x="74" y="708"/>
                </a:cxn>
                <a:cxn ang="0">
                  <a:pos x="73" y="678"/>
                </a:cxn>
                <a:cxn ang="0">
                  <a:pos x="69" y="649"/>
                </a:cxn>
                <a:cxn ang="0">
                  <a:pos x="63" y="621"/>
                </a:cxn>
                <a:cxn ang="0">
                  <a:pos x="54" y="594"/>
                </a:cxn>
                <a:cxn ang="0">
                  <a:pos x="44" y="568"/>
                </a:cxn>
                <a:cxn ang="0">
                  <a:pos x="31" y="542"/>
                </a:cxn>
                <a:cxn ang="0">
                  <a:pos x="16" y="519"/>
                </a:cxn>
                <a:cxn ang="0">
                  <a:pos x="0" y="496"/>
                </a:cxn>
              </a:cxnLst>
              <a:rect l="0" t="0" r="r" b="b"/>
              <a:pathLst>
                <a:path w="868" h="961">
                  <a:moveTo>
                    <a:pt x="0" y="496"/>
                  </a:moveTo>
                  <a:lnTo>
                    <a:pt x="620" y="0"/>
                  </a:lnTo>
                  <a:lnTo>
                    <a:pt x="637" y="22"/>
                  </a:lnTo>
                  <a:lnTo>
                    <a:pt x="654" y="45"/>
                  </a:lnTo>
                  <a:lnTo>
                    <a:pt x="670" y="67"/>
                  </a:lnTo>
                  <a:lnTo>
                    <a:pt x="685" y="91"/>
                  </a:lnTo>
                  <a:lnTo>
                    <a:pt x="700" y="114"/>
                  </a:lnTo>
                  <a:lnTo>
                    <a:pt x="714" y="138"/>
                  </a:lnTo>
                  <a:lnTo>
                    <a:pt x="728" y="163"/>
                  </a:lnTo>
                  <a:lnTo>
                    <a:pt x="741" y="188"/>
                  </a:lnTo>
                  <a:lnTo>
                    <a:pt x="753" y="213"/>
                  </a:lnTo>
                  <a:lnTo>
                    <a:pt x="765" y="238"/>
                  </a:lnTo>
                  <a:lnTo>
                    <a:pt x="776" y="263"/>
                  </a:lnTo>
                  <a:lnTo>
                    <a:pt x="782" y="276"/>
                  </a:lnTo>
                  <a:lnTo>
                    <a:pt x="787" y="289"/>
                  </a:lnTo>
                  <a:lnTo>
                    <a:pt x="797" y="315"/>
                  </a:lnTo>
                  <a:lnTo>
                    <a:pt x="806" y="341"/>
                  </a:lnTo>
                  <a:lnTo>
                    <a:pt x="815" y="368"/>
                  </a:lnTo>
                  <a:lnTo>
                    <a:pt x="823" y="394"/>
                  </a:lnTo>
                  <a:lnTo>
                    <a:pt x="830" y="421"/>
                  </a:lnTo>
                  <a:lnTo>
                    <a:pt x="837" y="448"/>
                  </a:lnTo>
                  <a:lnTo>
                    <a:pt x="840" y="462"/>
                  </a:lnTo>
                  <a:lnTo>
                    <a:pt x="843" y="475"/>
                  </a:lnTo>
                  <a:lnTo>
                    <a:pt x="849" y="503"/>
                  </a:lnTo>
                  <a:lnTo>
                    <a:pt x="854" y="530"/>
                  </a:lnTo>
                  <a:lnTo>
                    <a:pt x="858" y="558"/>
                  </a:lnTo>
                  <a:lnTo>
                    <a:pt x="861" y="585"/>
                  </a:lnTo>
                  <a:lnTo>
                    <a:pt x="864" y="613"/>
                  </a:lnTo>
                  <a:lnTo>
                    <a:pt x="866" y="641"/>
                  </a:lnTo>
                  <a:lnTo>
                    <a:pt x="867" y="668"/>
                  </a:lnTo>
                  <a:lnTo>
                    <a:pt x="868" y="696"/>
                  </a:lnTo>
                  <a:lnTo>
                    <a:pt x="868" y="724"/>
                  </a:lnTo>
                  <a:lnTo>
                    <a:pt x="867" y="752"/>
                  </a:lnTo>
                  <a:lnTo>
                    <a:pt x="865" y="780"/>
                  </a:lnTo>
                  <a:lnTo>
                    <a:pt x="863" y="807"/>
                  </a:lnTo>
                  <a:lnTo>
                    <a:pt x="860" y="835"/>
                  </a:lnTo>
                  <a:lnTo>
                    <a:pt x="856" y="867"/>
                  </a:lnTo>
                  <a:lnTo>
                    <a:pt x="854" y="882"/>
                  </a:lnTo>
                  <a:lnTo>
                    <a:pt x="851" y="898"/>
                  </a:lnTo>
                  <a:lnTo>
                    <a:pt x="846" y="929"/>
                  </a:lnTo>
                  <a:lnTo>
                    <a:pt x="842" y="945"/>
                  </a:lnTo>
                  <a:lnTo>
                    <a:pt x="839" y="961"/>
                  </a:lnTo>
                  <a:lnTo>
                    <a:pt x="66" y="784"/>
                  </a:lnTo>
                  <a:lnTo>
                    <a:pt x="68" y="775"/>
                  </a:lnTo>
                  <a:lnTo>
                    <a:pt x="69" y="766"/>
                  </a:lnTo>
                  <a:lnTo>
                    <a:pt x="72" y="747"/>
                  </a:lnTo>
                  <a:lnTo>
                    <a:pt x="74" y="728"/>
                  </a:lnTo>
                  <a:lnTo>
                    <a:pt x="74" y="708"/>
                  </a:lnTo>
                  <a:lnTo>
                    <a:pt x="74" y="693"/>
                  </a:lnTo>
                  <a:lnTo>
                    <a:pt x="73" y="678"/>
                  </a:lnTo>
                  <a:lnTo>
                    <a:pt x="71" y="664"/>
                  </a:lnTo>
                  <a:lnTo>
                    <a:pt x="69" y="649"/>
                  </a:lnTo>
                  <a:lnTo>
                    <a:pt x="66" y="635"/>
                  </a:lnTo>
                  <a:lnTo>
                    <a:pt x="63" y="621"/>
                  </a:lnTo>
                  <a:lnTo>
                    <a:pt x="59" y="607"/>
                  </a:lnTo>
                  <a:lnTo>
                    <a:pt x="54" y="594"/>
                  </a:lnTo>
                  <a:lnTo>
                    <a:pt x="49" y="581"/>
                  </a:lnTo>
                  <a:lnTo>
                    <a:pt x="44" y="568"/>
                  </a:lnTo>
                  <a:lnTo>
                    <a:pt x="38" y="555"/>
                  </a:lnTo>
                  <a:lnTo>
                    <a:pt x="31" y="542"/>
                  </a:lnTo>
                  <a:lnTo>
                    <a:pt x="24" y="530"/>
                  </a:lnTo>
                  <a:lnTo>
                    <a:pt x="16" y="519"/>
                  </a:lnTo>
                  <a:lnTo>
                    <a:pt x="8" y="507"/>
                  </a:lnTo>
                  <a:lnTo>
                    <a:pt x="0" y="496"/>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7" name="Freeform 147">
              <a:extLst>
                <a:ext uri="{FF2B5EF4-FFF2-40B4-BE49-F238E27FC236}">
                  <a16:creationId xmlns:a16="http://schemas.microsoft.com/office/drawing/2014/main" id="{748D4A98-F5E6-4390-AA97-370CE337F1A1}"/>
                </a:ext>
              </a:extLst>
            </p:cNvPr>
            <p:cNvSpPr>
              <a:spLocks noChangeAspect="1"/>
            </p:cNvSpPr>
            <p:nvPr/>
          </p:nvSpPr>
          <p:spPr bwMode="auto">
            <a:xfrm>
              <a:off x="4687888" y="5014938"/>
              <a:ext cx="785813" cy="776288"/>
            </a:xfrm>
            <a:custGeom>
              <a:avLst/>
              <a:gdLst/>
              <a:ahLst/>
              <a:cxnLst>
                <a:cxn ang="0">
                  <a:pos x="185" y="0"/>
                </a:cxn>
                <a:cxn ang="0">
                  <a:pos x="958" y="177"/>
                </a:cxn>
                <a:cxn ang="0">
                  <a:pos x="951" y="204"/>
                </a:cxn>
                <a:cxn ang="0">
                  <a:pos x="944" y="230"/>
                </a:cxn>
                <a:cxn ang="0">
                  <a:pos x="936" y="257"/>
                </a:cxn>
                <a:cxn ang="0">
                  <a:pos x="928" y="284"/>
                </a:cxn>
                <a:cxn ang="0">
                  <a:pos x="919" y="310"/>
                </a:cxn>
                <a:cxn ang="0">
                  <a:pos x="909" y="336"/>
                </a:cxn>
                <a:cxn ang="0">
                  <a:pos x="899" y="362"/>
                </a:cxn>
                <a:cxn ang="0">
                  <a:pos x="888" y="387"/>
                </a:cxn>
                <a:cxn ang="0">
                  <a:pos x="876" y="413"/>
                </a:cxn>
                <a:cxn ang="0">
                  <a:pos x="863" y="438"/>
                </a:cxn>
                <a:cxn ang="0">
                  <a:pos x="851" y="462"/>
                </a:cxn>
                <a:cxn ang="0">
                  <a:pos x="837" y="486"/>
                </a:cxn>
                <a:cxn ang="0">
                  <a:pos x="823" y="511"/>
                </a:cxn>
                <a:cxn ang="0">
                  <a:pos x="808" y="535"/>
                </a:cxn>
                <a:cxn ang="0">
                  <a:pos x="793" y="558"/>
                </a:cxn>
                <a:cxn ang="0">
                  <a:pos x="777" y="581"/>
                </a:cxn>
                <a:cxn ang="0">
                  <a:pos x="761" y="604"/>
                </a:cxn>
                <a:cxn ang="0">
                  <a:pos x="744" y="626"/>
                </a:cxn>
                <a:cxn ang="0">
                  <a:pos x="727" y="648"/>
                </a:cxn>
                <a:cxn ang="0">
                  <a:pos x="709" y="669"/>
                </a:cxn>
                <a:cxn ang="0">
                  <a:pos x="690" y="690"/>
                </a:cxn>
                <a:cxn ang="0">
                  <a:pos x="681" y="700"/>
                </a:cxn>
                <a:cxn ang="0">
                  <a:pos x="671" y="710"/>
                </a:cxn>
                <a:cxn ang="0">
                  <a:pos x="652" y="730"/>
                </a:cxn>
                <a:cxn ang="0">
                  <a:pos x="632" y="749"/>
                </a:cxn>
                <a:cxn ang="0">
                  <a:pos x="611" y="768"/>
                </a:cxn>
                <a:cxn ang="0">
                  <a:pos x="591" y="787"/>
                </a:cxn>
                <a:cxn ang="0">
                  <a:pos x="569" y="804"/>
                </a:cxn>
                <a:cxn ang="0">
                  <a:pos x="547" y="822"/>
                </a:cxn>
                <a:cxn ang="0">
                  <a:pos x="525" y="839"/>
                </a:cxn>
                <a:cxn ang="0">
                  <a:pos x="502" y="855"/>
                </a:cxn>
                <a:cxn ang="0">
                  <a:pos x="479" y="870"/>
                </a:cxn>
                <a:cxn ang="0">
                  <a:pos x="456" y="885"/>
                </a:cxn>
                <a:cxn ang="0">
                  <a:pos x="442" y="894"/>
                </a:cxn>
                <a:cxn ang="0">
                  <a:pos x="429" y="902"/>
                </a:cxn>
                <a:cxn ang="0">
                  <a:pos x="401" y="918"/>
                </a:cxn>
                <a:cxn ang="0">
                  <a:pos x="373" y="933"/>
                </a:cxn>
                <a:cxn ang="0">
                  <a:pos x="345" y="947"/>
                </a:cxn>
                <a:cxn ang="0">
                  <a:pos x="0" y="231"/>
                </a:cxn>
                <a:cxn ang="0">
                  <a:pos x="17" y="222"/>
                </a:cxn>
                <a:cxn ang="0">
                  <a:pos x="34" y="212"/>
                </a:cxn>
                <a:cxn ang="0">
                  <a:pos x="50" y="202"/>
                </a:cxn>
                <a:cxn ang="0">
                  <a:pos x="65" y="190"/>
                </a:cxn>
                <a:cxn ang="0">
                  <a:pos x="79" y="178"/>
                </a:cxn>
                <a:cxn ang="0">
                  <a:pos x="93" y="165"/>
                </a:cxn>
                <a:cxn ang="0">
                  <a:pos x="106" y="152"/>
                </a:cxn>
                <a:cxn ang="0">
                  <a:pos x="118" y="137"/>
                </a:cxn>
                <a:cxn ang="0">
                  <a:pos x="130" y="122"/>
                </a:cxn>
                <a:cxn ang="0">
                  <a:pos x="140" y="106"/>
                </a:cxn>
                <a:cxn ang="0">
                  <a:pos x="145" y="98"/>
                </a:cxn>
                <a:cxn ang="0">
                  <a:pos x="150" y="90"/>
                </a:cxn>
                <a:cxn ang="0">
                  <a:pos x="159" y="73"/>
                </a:cxn>
                <a:cxn ang="0">
                  <a:pos x="167" y="55"/>
                </a:cxn>
                <a:cxn ang="0">
                  <a:pos x="174" y="37"/>
                </a:cxn>
                <a:cxn ang="0">
                  <a:pos x="177" y="28"/>
                </a:cxn>
                <a:cxn ang="0">
                  <a:pos x="180" y="19"/>
                </a:cxn>
                <a:cxn ang="0">
                  <a:pos x="185" y="0"/>
                </a:cxn>
              </a:cxnLst>
              <a:rect l="0" t="0" r="r" b="b"/>
              <a:pathLst>
                <a:path w="958" h="947">
                  <a:moveTo>
                    <a:pt x="185" y="0"/>
                  </a:moveTo>
                  <a:lnTo>
                    <a:pt x="958" y="177"/>
                  </a:lnTo>
                  <a:lnTo>
                    <a:pt x="951" y="204"/>
                  </a:lnTo>
                  <a:lnTo>
                    <a:pt x="944" y="230"/>
                  </a:lnTo>
                  <a:lnTo>
                    <a:pt x="936" y="257"/>
                  </a:lnTo>
                  <a:lnTo>
                    <a:pt x="928" y="284"/>
                  </a:lnTo>
                  <a:lnTo>
                    <a:pt x="919" y="310"/>
                  </a:lnTo>
                  <a:lnTo>
                    <a:pt x="909" y="336"/>
                  </a:lnTo>
                  <a:lnTo>
                    <a:pt x="899" y="362"/>
                  </a:lnTo>
                  <a:lnTo>
                    <a:pt x="888" y="387"/>
                  </a:lnTo>
                  <a:lnTo>
                    <a:pt x="876" y="413"/>
                  </a:lnTo>
                  <a:lnTo>
                    <a:pt x="863" y="438"/>
                  </a:lnTo>
                  <a:lnTo>
                    <a:pt x="851" y="462"/>
                  </a:lnTo>
                  <a:lnTo>
                    <a:pt x="837" y="486"/>
                  </a:lnTo>
                  <a:lnTo>
                    <a:pt x="823" y="511"/>
                  </a:lnTo>
                  <a:lnTo>
                    <a:pt x="808" y="535"/>
                  </a:lnTo>
                  <a:lnTo>
                    <a:pt x="793" y="558"/>
                  </a:lnTo>
                  <a:lnTo>
                    <a:pt x="777" y="581"/>
                  </a:lnTo>
                  <a:lnTo>
                    <a:pt x="761" y="604"/>
                  </a:lnTo>
                  <a:lnTo>
                    <a:pt x="744" y="626"/>
                  </a:lnTo>
                  <a:lnTo>
                    <a:pt x="727" y="648"/>
                  </a:lnTo>
                  <a:lnTo>
                    <a:pt x="709" y="669"/>
                  </a:lnTo>
                  <a:lnTo>
                    <a:pt x="690" y="690"/>
                  </a:lnTo>
                  <a:lnTo>
                    <a:pt x="681" y="700"/>
                  </a:lnTo>
                  <a:lnTo>
                    <a:pt x="671" y="710"/>
                  </a:lnTo>
                  <a:lnTo>
                    <a:pt x="652" y="730"/>
                  </a:lnTo>
                  <a:lnTo>
                    <a:pt x="632" y="749"/>
                  </a:lnTo>
                  <a:lnTo>
                    <a:pt x="611" y="768"/>
                  </a:lnTo>
                  <a:lnTo>
                    <a:pt x="591" y="787"/>
                  </a:lnTo>
                  <a:lnTo>
                    <a:pt x="569" y="804"/>
                  </a:lnTo>
                  <a:lnTo>
                    <a:pt x="547" y="822"/>
                  </a:lnTo>
                  <a:lnTo>
                    <a:pt x="525" y="839"/>
                  </a:lnTo>
                  <a:lnTo>
                    <a:pt x="502" y="855"/>
                  </a:lnTo>
                  <a:lnTo>
                    <a:pt x="479" y="870"/>
                  </a:lnTo>
                  <a:lnTo>
                    <a:pt x="456" y="885"/>
                  </a:lnTo>
                  <a:lnTo>
                    <a:pt x="442" y="894"/>
                  </a:lnTo>
                  <a:lnTo>
                    <a:pt x="429" y="902"/>
                  </a:lnTo>
                  <a:lnTo>
                    <a:pt x="401" y="918"/>
                  </a:lnTo>
                  <a:lnTo>
                    <a:pt x="373" y="933"/>
                  </a:lnTo>
                  <a:lnTo>
                    <a:pt x="345" y="947"/>
                  </a:lnTo>
                  <a:lnTo>
                    <a:pt x="0" y="231"/>
                  </a:lnTo>
                  <a:lnTo>
                    <a:pt x="17" y="222"/>
                  </a:lnTo>
                  <a:lnTo>
                    <a:pt x="34" y="212"/>
                  </a:lnTo>
                  <a:lnTo>
                    <a:pt x="50" y="202"/>
                  </a:lnTo>
                  <a:lnTo>
                    <a:pt x="65" y="190"/>
                  </a:lnTo>
                  <a:lnTo>
                    <a:pt x="79" y="178"/>
                  </a:lnTo>
                  <a:lnTo>
                    <a:pt x="93" y="165"/>
                  </a:lnTo>
                  <a:lnTo>
                    <a:pt x="106" y="152"/>
                  </a:lnTo>
                  <a:lnTo>
                    <a:pt x="118" y="137"/>
                  </a:lnTo>
                  <a:lnTo>
                    <a:pt x="130" y="122"/>
                  </a:lnTo>
                  <a:lnTo>
                    <a:pt x="140" y="106"/>
                  </a:lnTo>
                  <a:lnTo>
                    <a:pt x="145" y="98"/>
                  </a:lnTo>
                  <a:lnTo>
                    <a:pt x="150" y="90"/>
                  </a:lnTo>
                  <a:lnTo>
                    <a:pt x="159" y="73"/>
                  </a:lnTo>
                  <a:lnTo>
                    <a:pt x="167" y="55"/>
                  </a:lnTo>
                  <a:lnTo>
                    <a:pt x="174" y="37"/>
                  </a:lnTo>
                  <a:lnTo>
                    <a:pt x="177" y="28"/>
                  </a:lnTo>
                  <a:lnTo>
                    <a:pt x="180" y="19"/>
                  </a:lnTo>
                  <a:lnTo>
                    <a:pt x="185"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8" name="Freeform 148">
              <a:extLst>
                <a:ext uri="{FF2B5EF4-FFF2-40B4-BE49-F238E27FC236}">
                  <a16:creationId xmlns:a16="http://schemas.microsoft.com/office/drawing/2014/main" id="{B1C89753-41C4-4EA4-A394-4D5E755A0329}"/>
                </a:ext>
              </a:extLst>
            </p:cNvPr>
            <p:cNvSpPr>
              <a:spLocks noChangeAspect="1"/>
            </p:cNvSpPr>
            <p:nvPr/>
          </p:nvSpPr>
          <p:spPr bwMode="auto">
            <a:xfrm>
              <a:off x="4164013" y="5205438"/>
              <a:ext cx="806450" cy="677863"/>
            </a:xfrm>
            <a:custGeom>
              <a:avLst/>
              <a:gdLst/>
              <a:ahLst/>
              <a:cxnLst>
                <a:cxn ang="0">
                  <a:pos x="640" y="0"/>
                </a:cxn>
                <a:cxn ang="0">
                  <a:pos x="985" y="716"/>
                </a:cxn>
                <a:cxn ang="0">
                  <a:pos x="959" y="728"/>
                </a:cxn>
                <a:cxn ang="0">
                  <a:pos x="934" y="739"/>
                </a:cxn>
                <a:cxn ang="0">
                  <a:pos x="908" y="749"/>
                </a:cxn>
                <a:cxn ang="0">
                  <a:pos x="882" y="759"/>
                </a:cxn>
                <a:cxn ang="0">
                  <a:pos x="856" y="768"/>
                </a:cxn>
                <a:cxn ang="0">
                  <a:pos x="829" y="777"/>
                </a:cxn>
                <a:cxn ang="0">
                  <a:pos x="803" y="785"/>
                </a:cxn>
                <a:cxn ang="0">
                  <a:pos x="776" y="792"/>
                </a:cxn>
                <a:cxn ang="0">
                  <a:pos x="749" y="799"/>
                </a:cxn>
                <a:cxn ang="0">
                  <a:pos x="722" y="805"/>
                </a:cxn>
                <a:cxn ang="0">
                  <a:pos x="694" y="810"/>
                </a:cxn>
                <a:cxn ang="0">
                  <a:pos x="667" y="814"/>
                </a:cxn>
                <a:cxn ang="0">
                  <a:pos x="639" y="818"/>
                </a:cxn>
                <a:cxn ang="0">
                  <a:pos x="612" y="822"/>
                </a:cxn>
                <a:cxn ang="0">
                  <a:pos x="584" y="824"/>
                </a:cxn>
                <a:cxn ang="0">
                  <a:pos x="556" y="826"/>
                </a:cxn>
                <a:cxn ang="0">
                  <a:pos x="529" y="827"/>
                </a:cxn>
                <a:cxn ang="0">
                  <a:pos x="501" y="828"/>
                </a:cxn>
                <a:cxn ang="0">
                  <a:pos x="472" y="828"/>
                </a:cxn>
                <a:cxn ang="0">
                  <a:pos x="444" y="827"/>
                </a:cxn>
                <a:cxn ang="0">
                  <a:pos x="416" y="826"/>
                </a:cxn>
                <a:cxn ang="0">
                  <a:pos x="389" y="824"/>
                </a:cxn>
                <a:cxn ang="0">
                  <a:pos x="361" y="821"/>
                </a:cxn>
                <a:cxn ang="0">
                  <a:pos x="333" y="817"/>
                </a:cxn>
                <a:cxn ang="0">
                  <a:pos x="306" y="813"/>
                </a:cxn>
                <a:cxn ang="0">
                  <a:pos x="278" y="808"/>
                </a:cxn>
                <a:cxn ang="0">
                  <a:pos x="251" y="803"/>
                </a:cxn>
                <a:cxn ang="0">
                  <a:pos x="224" y="796"/>
                </a:cxn>
                <a:cxn ang="0">
                  <a:pos x="197" y="789"/>
                </a:cxn>
                <a:cxn ang="0">
                  <a:pos x="170" y="782"/>
                </a:cxn>
                <a:cxn ang="0">
                  <a:pos x="144" y="773"/>
                </a:cxn>
                <a:cxn ang="0">
                  <a:pos x="117" y="764"/>
                </a:cxn>
                <a:cxn ang="0">
                  <a:pos x="87" y="753"/>
                </a:cxn>
                <a:cxn ang="0">
                  <a:pos x="58" y="742"/>
                </a:cxn>
                <a:cxn ang="0">
                  <a:pos x="29" y="729"/>
                </a:cxn>
                <a:cxn ang="0">
                  <a:pos x="14" y="723"/>
                </a:cxn>
                <a:cxn ang="0">
                  <a:pos x="0" y="716"/>
                </a:cxn>
                <a:cxn ang="0">
                  <a:pos x="344" y="0"/>
                </a:cxn>
                <a:cxn ang="0">
                  <a:pos x="361" y="7"/>
                </a:cxn>
                <a:cxn ang="0">
                  <a:pos x="370" y="11"/>
                </a:cxn>
                <a:cxn ang="0">
                  <a:pos x="379" y="14"/>
                </a:cxn>
                <a:cxn ang="0">
                  <a:pos x="397" y="20"/>
                </a:cxn>
                <a:cxn ang="0">
                  <a:pos x="415" y="25"/>
                </a:cxn>
                <a:cxn ang="0">
                  <a:pos x="434" y="28"/>
                </a:cxn>
                <a:cxn ang="0">
                  <a:pos x="453" y="31"/>
                </a:cxn>
                <a:cxn ang="0">
                  <a:pos x="472" y="33"/>
                </a:cxn>
                <a:cxn ang="0">
                  <a:pos x="493" y="33"/>
                </a:cxn>
                <a:cxn ang="0">
                  <a:pos x="513" y="33"/>
                </a:cxn>
                <a:cxn ang="0">
                  <a:pos x="522" y="32"/>
                </a:cxn>
                <a:cxn ang="0">
                  <a:pos x="532" y="31"/>
                </a:cxn>
                <a:cxn ang="0">
                  <a:pos x="551" y="28"/>
                </a:cxn>
                <a:cxn ang="0">
                  <a:pos x="570" y="25"/>
                </a:cxn>
                <a:cxn ang="0">
                  <a:pos x="588" y="20"/>
                </a:cxn>
                <a:cxn ang="0">
                  <a:pos x="606" y="14"/>
                </a:cxn>
                <a:cxn ang="0">
                  <a:pos x="615" y="11"/>
                </a:cxn>
                <a:cxn ang="0">
                  <a:pos x="623" y="8"/>
                </a:cxn>
                <a:cxn ang="0">
                  <a:pos x="640" y="0"/>
                </a:cxn>
              </a:cxnLst>
              <a:rect l="0" t="0" r="r" b="b"/>
              <a:pathLst>
                <a:path w="985" h="828">
                  <a:moveTo>
                    <a:pt x="640" y="0"/>
                  </a:moveTo>
                  <a:lnTo>
                    <a:pt x="985" y="716"/>
                  </a:lnTo>
                  <a:lnTo>
                    <a:pt x="959" y="728"/>
                  </a:lnTo>
                  <a:lnTo>
                    <a:pt x="934" y="739"/>
                  </a:lnTo>
                  <a:lnTo>
                    <a:pt x="908" y="749"/>
                  </a:lnTo>
                  <a:lnTo>
                    <a:pt x="882" y="759"/>
                  </a:lnTo>
                  <a:lnTo>
                    <a:pt x="856" y="768"/>
                  </a:lnTo>
                  <a:lnTo>
                    <a:pt x="829" y="777"/>
                  </a:lnTo>
                  <a:lnTo>
                    <a:pt x="803" y="785"/>
                  </a:lnTo>
                  <a:lnTo>
                    <a:pt x="776" y="792"/>
                  </a:lnTo>
                  <a:lnTo>
                    <a:pt x="749" y="799"/>
                  </a:lnTo>
                  <a:lnTo>
                    <a:pt x="722" y="805"/>
                  </a:lnTo>
                  <a:lnTo>
                    <a:pt x="694" y="810"/>
                  </a:lnTo>
                  <a:lnTo>
                    <a:pt x="667" y="814"/>
                  </a:lnTo>
                  <a:lnTo>
                    <a:pt x="639" y="818"/>
                  </a:lnTo>
                  <a:lnTo>
                    <a:pt x="612" y="822"/>
                  </a:lnTo>
                  <a:lnTo>
                    <a:pt x="584" y="824"/>
                  </a:lnTo>
                  <a:lnTo>
                    <a:pt x="556" y="826"/>
                  </a:lnTo>
                  <a:lnTo>
                    <a:pt x="529" y="827"/>
                  </a:lnTo>
                  <a:lnTo>
                    <a:pt x="501" y="828"/>
                  </a:lnTo>
                  <a:lnTo>
                    <a:pt x="472" y="828"/>
                  </a:lnTo>
                  <a:lnTo>
                    <a:pt x="444" y="827"/>
                  </a:lnTo>
                  <a:lnTo>
                    <a:pt x="416" y="826"/>
                  </a:lnTo>
                  <a:lnTo>
                    <a:pt x="389" y="824"/>
                  </a:lnTo>
                  <a:lnTo>
                    <a:pt x="361" y="821"/>
                  </a:lnTo>
                  <a:lnTo>
                    <a:pt x="333" y="817"/>
                  </a:lnTo>
                  <a:lnTo>
                    <a:pt x="306" y="813"/>
                  </a:lnTo>
                  <a:lnTo>
                    <a:pt x="278" y="808"/>
                  </a:lnTo>
                  <a:lnTo>
                    <a:pt x="251" y="803"/>
                  </a:lnTo>
                  <a:lnTo>
                    <a:pt x="224" y="796"/>
                  </a:lnTo>
                  <a:lnTo>
                    <a:pt x="197" y="789"/>
                  </a:lnTo>
                  <a:lnTo>
                    <a:pt x="170" y="782"/>
                  </a:lnTo>
                  <a:lnTo>
                    <a:pt x="144" y="773"/>
                  </a:lnTo>
                  <a:lnTo>
                    <a:pt x="117" y="764"/>
                  </a:lnTo>
                  <a:lnTo>
                    <a:pt x="87" y="753"/>
                  </a:lnTo>
                  <a:lnTo>
                    <a:pt x="58" y="742"/>
                  </a:lnTo>
                  <a:lnTo>
                    <a:pt x="29" y="729"/>
                  </a:lnTo>
                  <a:lnTo>
                    <a:pt x="14" y="723"/>
                  </a:lnTo>
                  <a:lnTo>
                    <a:pt x="0" y="716"/>
                  </a:lnTo>
                  <a:lnTo>
                    <a:pt x="344" y="0"/>
                  </a:lnTo>
                  <a:lnTo>
                    <a:pt x="361" y="7"/>
                  </a:lnTo>
                  <a:lnTo>
                    <a:pt x="370" y="11"/>
                  </a:lnTo>
                  <a:lnTo>
                    <a:pt x="379" y="14"/>
                  </a:lnTo>
                  <a:lnTo>
                    <a:pt x="397" y="20"/>
                  </a:lnTo>
                  <a:lnTo>
                    <a:pt x="415" y="25"/>
                  </a:lnTo>
                  <a:lnTo>
                    <a:pt x="434" y="28"/>
                  </a:lnTo>
                  <a:lnTo>
                    <a:pt x="453" y="31"/>
                  </a:lnTo>
                  <a:lnTo>
                    <a:pt x="472" y="33"/>
                  </a:lnTo>
                  <a:lnTo>
                    <a:pt x="493" y="33"/>
                  </a:lnTo>
                  <a:lnTo>
                    <a:pt x="513" y="33"/>
                  </a:lnTo>
                  <a:lnTo>
                    <a:pt x="522" y="32"/>
                  </a:lnTo>
                  <a:lnTo>
                    <a:pt x="532" y="31"/>
                  </a:lnTo>
                  <a:lnTo>
                    <a:pt x="551" y="28"/>
                  </a:lnTo>
                  <a:lnTo>
                    <a:pt x="570" y="25"/>
                  </a:lnTo>
                  <a:lnTo>
                    <a:pt x="588" y="20"/>
                  </a:lnTo>
                  <a:lnTo>
                    <a:pt x="606" y="14"/>
                  </a:lnTo>
                  <a:lnTo>
                    <a:pt x="615" y="11"/>
                  </a:lnTo>
                  <a:lnTo>
                    <a:pt x="623" y="8"/>
                  </a:lnTo>
                  <a:lnTo>
                    <a:pt x="640"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49" name="Freeform 149">
              <a:extLst>
                <a:ext uri="{FF2B5EF4-FFF2-40B4-BE49-F238E27FC236}">
                  <a16:creationId xmlns:a16="http://schemas.microsoft.com/office/drawing/2014/main" id="{8764F9FC-103A-4456-A257-E5F202A0FEA5}"/>
                </a:ext>
              </a:extLst>
            </p:cNvPr>
            <p:cNvSpPr>
              <a:spLocks noChangeAspect="1"/>
            </p:cNvSpPr>
            <p:nvPr/>
          </p:nvSpPr>
          <p:spPr bwMode="auto">
            <a:xfrm>
              <a:off x="3660776" y="5014938"/>
              <a:ext cx="784225" cy="776288"/>
            </a:xfrm>
            <a:custGeom>
              <a:avLst/>
              <a:gdLst/>
              <a:ahLst/>
              <a:cxnLst>
                <a:cxn ang="0">
                  <a:pos x="957" y="231"/>
                </a:cxn>
                <a:cxn ang="0">
                  <a:pos x="613" y="947"/>
                </a:cxn>
                <a:cxn ang="0">
                  <a:pos x="588" y="934"/>
                </a:cxn>
                <a:cxn ang="0">
                  <a:pos x="563" y="921"/>
                </a:cxn>
                <a:cxn ang="0">
                  <a:pos x="539" y="908"/>
                </a:cxn>
                <a:cxn ang="0">
                  <a:pos x="515" y="894"/>
                </a:cxn>
                <a:cxn ang="0">
                  <a:pos x="491" y="879"/>
                </a:cxn>
                <a:cxn ang="0">
                  <a:pos x="468" y="864"/>
                </a:cxn>
                <a:cxn ang="0">
                  <a:pos x="445" y="848"/>
                </a:cxn>
                <a:cxn ang="0">
                  <a:pos x="423" y="831"/>
                </a:cxn>
                <a:cxn ang="0">
                  <a:pos x="401" y="814"/>
                </a:cxn>
                <a:cxn ang="0">
                  <a:pos x="379" y="797"/>
                </a:cxn>
                <a:cxn ang="0">
                  <a:pos x="358" y="778"/>
                </a:cxn>
                <a:cxn ang="0">
                  <a:pos x="338" y="760"/>
                </a:cxn>
                <a:cxn ang="0">
                  <a:pos x="317" y="741"/>
                </a:cxn>
                <a:cxn ang="0">
                  <a:pos x="298" y="721"/>
                </a:cxn>
                <a:cxn ang="0">
                  <a:pos x="278" y="701"/>
                </a:cxn>
                <a:cxn ang="0">
                  <a:pos x="269" y="691"/>
                </a:cxn>
                <a:cxn ang="0">
                  <a:pos x="259" y="681"/>
                </a:cxn>
                <a:cxn ang="0">
                  <a:pos x="241" y="660"/>
                </a:cxn>
                <a:cxn ang="0">
                  <a:pos x="223" y="638"/>
                </a:cxn>
                <a:cxn ang="0">
                  <a:pos x="206" y="617"/>
                </a:cxn>
                <a:cxn ang="0">
                  <a:pos x="189" y="594"/>
                </a:cxn>
                <a:cxn ang="0">
                  <a:pos x="173" y="572"/>
                </a:cxn>
                <a:cxn ang="0">
                  <a:pos x="158" y="549"/>
                </a:cxn>
                <a:cxn ang="0">
                  <a:pos x="150" y="537"/>
                </a:cxn>
                <a:cxn ang="0">
                  <a:pos x="142" y="525"/>
                </a:cxn>
                <a:cxn ang="0">
                  <a:pos x="128" y="502"/>
                </a:cxn>
                <a:cxn ang="0">
                  <a:pos x="114" y="476"/>
                </a:cxn>
                <a:cxn ang="0">
                  <a:pos x="101" y="452"/>
                </a:cxn>
                <a:cxn ang="0">
                  <a:pos x="88" y="427"/>
                </a:cxn>
                <a:cxn ang="0">
                  <a:pos x="76" y="402"/>
                </a:cxn>
                <a:cxn ang="0">
                  <a:pos x="65" y="377"/>
                </a:cxn>
                <a:cxn ang="0">
                  <a:pos x="54" y="351"/>
                </a:cxn>
                <a:cxn ang="0">
                  <a:pos x="44" y="325"/>
                </a:cxn>
                <a:cxn ang="0">
                  <a:pos x="35" y="299"/>
                </a:cxn>
                <a:cxn ang="0">
                  <a:pos x="25" y="269"/>
                </a:cxn>
                <a:cxn ang="0">
                  <a:pos x="15" y="238"/>
                </a:cxn>
                <a:cxn ang="0">
                  <a:pos x="7" y="207"/>
                </a:cxn>
                <a:cxn ang="0">
                  <a:pos x="3" y="192"/>
                </a:cxn>
                <a:cxn ang="0">
                  <a:pos x="0" y="177"/>
                </a:cxn>
                <a:cxn ang="0">
                  <a:pos x="773" y="0"/>
                </a:cxn>
                <a:cxn ang="0">
                  <a:pos x="778" y="19"/>
                </a:cxn>
                <a:cxn ang="0">
                  <a:pos x="781" y="28"/>
                </a:cxn>
                <a:cxn ang="0">
                  <a:pos x="784" y="37"/>
                </a:cxn>
                <a:cxn ang="0">
                  <a:pos x="791" y="55"/>
                </a:cxn>
                <a:cxn ang="0">
                  <a:pos x="795" y="64"/>
                </a:cxn>
                <a:cxn ang="0">
                  <a:pos x="799" y="73"/>
                </a:cxn>
                <a:cxn ang="0">
                  <a:pos x="808" y="90"/>
                </a:cxn>
                <a:cxn ang="0">
                  <a:pos x="812" y="98"/>
                </a:cxn>
                <a:cxn ang="0">
                  <a:pos x="817" y="106"/>
                </a:cxn>
                <a:cxn ang="0">
                  <a:pos x="828" y="122"/>
                </a:cxn>
                <a:cxn ang="0">
                  <a:pos x="834" y="129"/>
                </a:cxn>
                <a:cxn ang="0">
                  <a:pos x="839" y="137"/>
                </a:cxn>
                <a:cxn ang="0">
                  <a:pos x="852" y="151"/>
                </a:cxn>
                <a:cxn ang="0">
                  <a:pos x="865" y="165"/>
                </a:cxn>
                <a:cxn ang="0">
                  <a:pos x="878" y="178"/>
                </a:cxn>
                <a:cxn ang="0">
                  <a:pos x="893" y="190"/>
                </a:cxn>
                <a:cxn ang="0">
                  <a:pos x="908" y="202"/>
                </a:cxn>
                <a:cxn ang="0">
                  <a:pos x="924" y="212"/>
                </a:cxn>
                <a:cxn ang="0">
                  <a:pos x="932" y="217"/>
                </a:cxn>
                <a:cxn ang="0">
                  <a:pos x="940" y="222"/>
                </a:cxn>
                <a:cxn ang="0">
                  <a:pos x="957" y="231"/>
                </a:cxn>
              </a:cxnLst>
              <a:rect l="0" t="0" r="r" b="b"/>
              <a:pathLst>
                <a:path w="957" h="947">
                  <a:moveTo>
                    <a:pt x="957" y="231"/>
                  </a:moveTo>
                  <a:lnTo>
                    <a:pt x="613" y="947"/>
                  </a:lnTo>
                  <a:lnTo>
                    <a:pt x="588" y="934"/>
                  </a:lnTo>
                  <a:lnTo>
                    <a:pt x="563" y="921"/>
                  </a:lnTo>
                  <a:lnTo>
                    <a:pt x="539" y="908"/>
                  </a:lnTo>
                  <a:lnTo>
                    <a:pt x="515" y="894"/>
                  </a:lnTo>
                  <a:lnTo>
                    <a:pt x="491" y="879"/>
                  </a:lnTo>
                  <a:lnTo>
                    <a:pt x="468" y="864"/>
                  </a:lnTo>
                  <a:lnTo>
                    <a:pt x="445" y="848"/>
                  </a:lnTo>
                  <a:lnTo>
                    <a:pt x="423" y="831"/>
                  </a:lnTo>
                  <a:lnTo>
                    <a:pt x="401" y="814"/>
                  </a:lnTo>
                  <a:lnTo>
                    <a:pt x="379" y="797"/>
                  </a:lnTo>
                  <a:lnTo>
                    <a:pt x="358" y="778"/>
                  </a:lnTo>
                  <a:lnTo>
                    <a:pt x="338" y="760"/>
                  </a:lnTo>
                  <a:lnTo>
                    <a:pt x="317" y="741"/>
                  </a:lnTo>
                  <a:lnTo>
                    <a:pt x="298" y="721"/>
                  </a:lnTo>
                  <a:lnTo>
                    <a:pt x="278" y="701"/>
                  </a:lnTo>
                  <a:lnTo>
                    <a:pt x="269" y="691"/>
                  </a:lnTo>
                  <a:lnTo>
                    <a:pt x="259" y="681"/>
                  </a:lnTo>
                  <a:lnTo>
                    <a:pt x="241" y="660"/>
                  </a:lnTo>
                  <a:lnTo>
                    <a:pt x="223" y="638"/>
                  </a:lnTo>
                  <a:lnTo>
                    <a:pt x="206" y="617"/>
                  </a:lnTo>
                  <a:lnTo>
                    <a:pt x="189" y="594"/>
                  </a:lnTo>
                  <a:lnTo>
                    <a:pt x="173" y="572"/>
                  </a:lnTo>
                  <a:lnTo>
                    <a:pt x="158" y="549"/>
                  </a:lnTo>
                  <a:lnTo>
                    <a:pt x="150" y="537"/>
                  </a:lnTo>
                  <a:lnTo>
                    <a:pt x="142" y="525"/>
                  </a:lnTo>
                  <a:lnTo>
                    <a:pt x="128" y="502"/>
                  </a:lnTo>
                  <a:lnTo>
                    <a:pt x="114" y="476"/>
                  </a:lnTo>
                  <a:lnTo>
                    <a:pt x="101" y="452"/>
                  </a:lnTo>
                  <a:lnTo>
                    <a:pt x="88" y="427"/>
                  </a:lnTo>
                  <a:lnTo>
                    <a:pt x="76" y="402"/>
                  </a:lnTo>
                  <a:lnTo>
                    <a:pt x="65" y="377"/>
                  </a:lnTo>
                  <a:lnTo>
                    <a:pt x="54" y="351"/>
                  </a:lnTo>
                  <a:lnTo>
                    <a:pt x="44" y="325"/>
                  </a:lnTo>
                  <a:lnTo>
                    <a:pt x="35" y="299"/>
                  </a:lnTo>
                  <a:lnTo>
                    <a:pt x="25" y="269"/>
                  </a:lnTo>
                  <a:lnTo>
                    <a:pt x="15" y="238"/>
                  </a:lnTo>
                  <a:lnTo>
                    <a:pt x="7" y="207"/>
                  </a:lnTo>
                  <a:lnTo>
                    <a:pt x="3" y="192"/>
                  </a:lnTo>
                  <a:lnTo>
                    <a:pt x="0" y="177"/>
                  </a:lnTo>
                  <a:lnTo>
                    <a:pt x="773" y="0"/>
                  </a:lnTo>
                  <a:lnTo>
                    <a:pt x="778" y="19"/>
                  </a:lnTo>
                  <a:lnTo>
                    <a:pt x="781" y="28"/>
                  </a:lnTo>
                  <a:lnTo>
                    <a:pt x="784" y="37"/>
                  </a:lnTo>
                  <a:lnTo>
                    <a:pt x="791" y="55"/>
                  </a:lnTo>
                  <a:lnTo>
                    <a:pt x="795" y="64"/>
                  </a:lnTo>
                  <a:lnTo>
                    <a:pt x="799" y="73"/>
                  </a:lnTo>
                  <a:lnTo>
                    <a:pt x="808" y="90"/>
                  </a:lnTo>
                  <a:lnTo>
                    <a:pt x="812" y="98"/>
                  </a:lnTo>
                  <a:lnTo>
                    <a:pt x="817" y="106"/>
                  </a:lnTo>
                  <a:lnTo>
                    <a:pt x="828" y="122"/>
                  </a:lnTo>
                  <a:lnTo>
                    <a:pt x="834" y="129"/>
                  </a:lnTo>
                  <a:lnTo>
                    <a:pt x="839" y="137"/>
                  </a:lnTo>
                  <a:lnTo>
                    <a:pt x="852" y="151"/>
                  </a:lnTo>
                  <a:lnTo>
                    <a:pt x="865" y="165"/>
                  </a:lnTo>
                  <a:lnTo>
                    <a:pt x="878" y="178"/>
                  </a:lnTo>
                  <a:lnTo>
                    <a:pt x="893" y="190"/>
                  </a:lnTo>
                  <a:lnTo>
                    <a:pt x="908" y="202"/>
                  </a:lnTo>
                  <a:lnTo>
                    <a:pt x="924" y="212"/>
                  </a:lnTo>
                  <a:lnTo>
                    <a:pt x="932" y="217"/>
                  </a:lnTo>
                  <a:lnTo>
                    <a:pt x="940" y="222"/>
                  </a:lnTo>
                  <a:lnTo>
                    <a:pt x="957" y="231"/>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0" name="Freeform 150">
              <a:extLst>
                <a:ext uri="{FF2B5EF4-FFF2-40B4-BE49-F238E27FC236}">
                  <a16:creationId xmlns:a16="http://schemas.microsoft.com/office/drawing/2014/main" id="{54E94486-98CD-4509-913D-AF2813861123}"/>
                </a:ext>
              </a:extLst>
            </p:cNvPr>
            <p:cNvSpPr>
              <a:spLocks noChangeAspect="1"/>
            </p:cNvSpPr>
            <p:nvPr/>
          </p:nvSpPr>
          <p:spPr bwMode="auto">
            <a:xfrm>
              <a:off x="3636963" y="4372000"/>
              <a:ext cx="711200" cy="788988"/>
            </a:xfrm>
            <a:custGeom>
              <a:avLst/>
              <a:gdLst/>
              <a:ahLst/>
              <a:cxnLst>
                <a:cxn ang="0">
                  <a:pos x="802" y="784"/>
                </a:cxn>
                <a:cxn ang="0">
                  <a:pos x="29" y="961"/>
                </a:cxn>
                <a:cxn ang="0">
                  <a:pos x="23" y="933"/>
                </a:cxn>
                <a:cxn ang="0">
                  <a:pos x="17" y="906"/>
                </a:cxn>
                <a:cxn ang="0">
                  <a:pos x="13" y="879"/>
                </a:cxn>
                <a:cxn ang="0">
                  <a:pos x="9" y="851"/>
                </a:cxn>
                <a:cxn ang="0">
                  <a:pos x="6" y="823"/>
                </a:cxn>
                <a:cxn ang="0">
                  <a:pos x="3" y="796"/>
                </a:cxn>
                <a:cxn ang="0">
                  <a:pos x="2" y="768"/>
                </a:cxn>
                <a:cxn ang="0">
                  <a:pos x="1" y="740"/>
                </a:cxn>
                <a:cxn ang="0">
                  <a:pos x="0" y="712"/>
                </a:cxn>
                <a:cxn ang="0">
                  <a:pos x="0" y="684"/>
                </a:cxn>
                <a:cxn ang="0">
                  <a:pos x="1" y="657"/>
                </a:cxn>
                <a:cxn ang="0">
                  <a:pos x="3" y="629"/>
                </a:cxn>
                <a:cxn ang="0">
                  <a:pos x="5" y="601"/>
                </a:cxn>
                <a:cxn ang="0">
                  <a:pos x="8" y="573"/>
                </a:cxn>
                <a:cxn ang="0">
                  <a:pos x="10" y="560"/>
                </a:cxn>
                <a:cxn ang="0">
                  <a:pos x="12" y="546"/>
                </a:cxn>
                <a:cxn ang="0">
                  <a:pos x="16" y="518"/>
                </a:cxn>
                <a:cxn ang="0">
                  <a:pos x="21" y="491"/>
                </a:cxn>
                <a:cxn ang="0">
                  <a:pos x="27" y="464"/>
                </a:cxn>
                <a:cxn ang="0">
                  <a:pos x="33" y="437"/>
                </a:cxn>
                <a:cxn ang="0">
                  <a:pos x="40" y="410"/>
                </a:cxn>
                <a:cxn ang="0">
                  <a:pos x="48" y="383"/>
                </a:cxn>
                <a:cxn ang="0">
                  <a:pos x="56" y="356"/>
                </a:cxn>
                <a:cxn ang="0">
                  <a:pos x="65" y="330"/>
                </a:cxn>
                <a:cxn ang="0">
                  <a:pos x="74" y="304"/>
                </a:cxn>
                <a:cxn ang="0">
                  <a:pos x="84" y="278"/>
                </a:cxn>
                <a:cxn ang="0">
                  <a:pos x="95" y="252"/>
                </a:cxn>
                <a:cxn ang="0">
                  <a:pos x="107" y="227"/>
                </a:cxn>
                <a:cxn ang="0">
                  <a:pos x="119" y="202"/>
                </a:cxn>
                <a:cxn ang="0">
                  <a:pos x="132" y="177"/>
                </a:cxn>
                <a:cxn ang="0">
                  <a:pos x="145" y="153"/>
                </a:cxn>
                <a:cxn ang="0">
                  <a:pos x="159" y="128"/>
                </a:cxn>
                <a:cxn ang="0">
                  <a:pos x="174" y="104"/>
                </a:cxn>
                <a:cxn ang="0">
                  <a:pos x="191" y="77"/>
                </a:cxn>
                <a:cxn ang="0">
                  <a:pos x="209" y="51"/>
                </a:cxn>
                <a:cxn ang="0">
                  <a:pos x="228" y="25"/>
                </a:cxn>
                <a:cxn ang="0">
                  <a:pos x="247" y="0"/>
                </a:cxn>
                <a:cxn ang="0">
                  <a:pos x="868" y="496"/>
                </a:cxn>
                <a:cxn ang="0">
                  <a:pos x="859" y="507"/>
                </a:cxn>
                <a:cxn ang="0">
                  <a:pos x="851" y="519"/>
                </a:cxn>
                <a:cxn ang="0">
                  <a:pos x="844" y="531"/>
                </a:cxn>
                <a:cxn ang="0">
                  <a:pos x="837" y="543"/>
                </a:cxn>
                <a:cxn ang="0">
                  <a:pos x="830" y="555"/>
                </a:cxn>
                <a:cxn ang="0">
                  <a:pos x="824" y="568"/>
                </a:cxn>
                <a:cxn ang="0">
                  <a:pos x="819" y="581"/>
                </a:cxn>
                <a:cxn ang="0">
                  <a:pos x="813" y="594"/>
                </a:cxn>
                <a:cxn ang="0">
                  <a:pos x="809" y="608"/>
                </a:cxn>
                <a:cxn ang="0">
                  <a:pos x="805" y="621"/>
                </a:cxn>
                <a:cxn ang="0">
                  <a:pos x="802" y="635"/>
                </a:cxn>
                <a:cxn ang="0">
                  <a:pos x="799" y="649"/>
                </a:cxn>
                <a:cxn ang="0">
                  <a:pos x="797" y="664"/>
                </a:cxn>
                <a:cxn ang="0">
                  <a:pos x="795" y="679"/>
                </a:cxn>
                <a:cxn ang="0">
                  <a:pos x="794" y="693"/>
                </a:cxn>
                <a:cxn ang="0">
                  <a:pos x="794" y="708"/>
                </a:cxn>
                <a:cxn ang="0">
                  <a:pos x="794" y="728"/>
                </a:cxn>
                <a:cxn ang="0">
                  <a:pos x="795" y="737"/>
                </a:cxn>
                <a:cxn ang="0">
                  <a:pos x="796" y="747"/>
                </a:cxn>
                <a:cxn ang="0">
                  <a:pos x="797" y="756"/>
                </a:cxn>
                <a:cxn ang="0">
                  <a:pos x="799" y="765"/>
                </a:cxn>
                <a:cxn ang="0">
                  <a:pos x="802" y="784"/>
                </a:cxn>
              </a:cxnLst>
              <a:rect l="0" t="0" r="r" b="b"/>
              <a:pathLst>
                <a:path w="868" h="961">
                  <a:moveTo>
                    <a:pt x="802" y="784"/>
                  </a:moveTo>
                  <a:lnTo>
                    <a:pt x="29" y="961"/>
                  </a:lnTo>
                  <a:lnTo>
                    <a:pt x="23" y="933"/>
                  </a:lnTo>
                  <a:lnTo>
                    <a:pt x="17" y="906"/>
                  </a:lnTo>
                  <a:lnTo>
                    <a:pt x="13" y="879"/>
                  </a:lnTo>
                  <a:lnTo>
                    <a:pt x="9" y="851"/>
                  </a:lnTo>
                  <a:lnTo>
                    <a:pt x="6" y="823"/>
                  </a:lnTo>
                  <a:lnTo>
                    <a:pt x="3" y="796"/>
                  </a:lnTo>
                  <a:lnTo>
                    <a:pt x="2" y="768"/>
                  </a:lnTo>
                  <a:lnTo>
                    <a:pt x="1" y="740"/>
                  </a:lnTo>
                  <a:lnTo>
                    <a:pt x="0" y="712"/>
                  </a:lnTo>
                  <a:lnTo>
                    <a:pt x="0" y="684"/>
                  </a:lnTo>
                  <a:lnTo>
                    <a:pt x="1" y="657"/>
                  </a:lnTo>
                  <a:lnTo>
                    <a:pt x="3" y="629"/>
                  </a:lnTo>
                  <a:lnTo>
                    <a:pt x="5" y="601"/>
                  </a:lnTo>
                  <a:lnTo>
                    <a:pt x="8" y="573"/>
                  </a:lnTo>
                  <a:lnTo>
                    <a:pt x="10" y="560"/>
                  </a:lnTo>
                  <a:lnTo>
                    <a:pt x="12" y="546"/>
                  </a:lnTo>
                  <a:lnTo>
                    <a:pt x="16" y="518"/>
                  </a:lnTo>
                  <a:lnTo>
                    <a:pt x="21" y="491"/>
                  </a:lnTo>
                  <a:lnTo>
                    <a:pt x="27" y="464"/>
                  </a:lnTo>
                  <a:lnTo>
                    <a:pt x="33" y="437"/>
                  </a:lnTo>
                  <a:lnTo>
                    <a:pt x="40" y="410"/>
                  </a:lnTo>
                  <a:lnTo>
                    <a:pt x="48" y="383"/>
                  </a:lnTo>
                  <a:lnTo>
                    <a:pt x="56" y="356"/>
                  </a:lnTo>
                  <a:lnTo>
                    <a:pt x="65" y="330"/>
                  </a:lnTo>
                  <a:lnTo>
                    <a:pt x="74" y="304"/>
                  </a:lnTo>
                  <a:lnTo>
                    <a:pt x="84" y="278"/>
                  </a:lnTo>
                  <a:lnTo>
                    <a:pt x="95" y="252"/>
                  </a:lnTo>
                  <a:lnTo>
                    <a:pt x="107" y="227"/>
                  </a:lnTo>
                  <a:lnTo>
                    <a:pt x="119" y="202"/>
                  </a:lnTo>
                  <a:lnTo>
                    <a:pt x="132" y="177"/>
                  </a:lnTo>
                  <a:lnTo>
                    <a:pt x="145" y="153"/>
                  </a:lnTo>
                  <a:lnTo>
                    <a:pt x="159" y="128"/>
                  </a:lnTo>
                  <a:lnTo>
                    <a:pt x="174" y="104"/>
                  </a:lnTo>
                  <a:lnTo>
                    <a:pt x="191" y="77"/>
                  </a:lnTo>
                  <a:lnTo>
                    <a:pt x="209" y="51"/>
                  </a:lnTo>
                  <a:lnTo>
                    <a:pt x="228" y="25"/>
                  </a:lnTo>
                  <a:lnTo>
                    <a:pt x="247" y="0"/>
                  </a:lnTo>
                  <a:lnTo>
                    <a:pt x="868" y="496"/>
                  </a:lnTo>
                  <a:lnTo>
                    <a:pt x="859" y="507"/>
                  </a:lnTo>
                  <a:lnTo>
                    <a:pt x="851" y="519"/>
                  </a:lnTo>
                  <a:lnTo>
                    <a:pt x="844" y="531"/>
                  </a:lnTo>
                  <a:lnTo>
                    <a:pt x="837" y="543"/>
                  </a:lnTo>
                  <a:lnTo>
                    <a:pt x="830" y="555"/>
                  </a:lnTo>
                  <a:lnTo>
                    <a:pt x="824" y="568"/>
                  </a:lnTo>
                  <a:lnTo>
                    <a:pt x="819" y="581"/>
                  </a:lnTo>
                  <a:lnTo>
                    <a:pt x="813" y="594"/>
                  </a:lnTo>
                  <a:lnTo>
                    <a:pt x="809" y="608"/>
                  </a:lnTo>
                  <a:lnTo>
                    <a:pt x="805" y="621"/>
                  </a:lnTo>
                  <a:lnTo>
                    <a:pt x="802" y="635"/>
                  </a:lnTo>
                  <a:lnTo>
                    <a:pt x="799" y="649"/>
                  </a:lnTo>
                  <a:lnTo>
                    <a:pt x="797" y="664"/>
                  </a:lnTo>
                  <a:lnTo>
                    <a:pt x="795" y="679"/>
                  </a:lnTo>
                  <a:lnTo>
                    <a:pt x="794" y="693"/>
                  </a:lnTo>
                  <a:lnTo>
                    <a:pt x="794" y="708"/>
                  </a:lnTo>
                  <a:lnTo>
                    <a:pt x="794" y="728"/>
                  </a:lnTo>
                  <a:lnTo>
                    <a:pt x="795" y="737"/>
                  </a:lnTo>
                  <a:lnTo>
                    <a:pt x="796" y="747"/>
                  </a:lnTo>
                  <a:lnTo>
                    <a:pt x="797" y="756"/>
                  </a:lnTo>
                  <a:lnTo>
                    <a:pt x="799" y="765"/>
                  </a:lnTo>
                  <a:lnTo>
                    <a:pt x="802" y="784"/>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1" name="Freeform 151">
              <a:extLst>
                <a:ext uri="{FF2B5EF4-FFF2-40B4-BE49-F238E27FC236}">
                  <a16:creationId xmlns:a16="http://schemas.microsoft.com/office/drawing/2014/main" id="{B05C7133-AE62-4C01-8523-B6A66E266048}"/>
                </a:ext>
              </a:extLst>
            </p:cNvPr>
            <p:cNvSpPr>
              <a:spLocks noChangeAspect="1"/>
            </p:cNvSpPr>
            <p:nvPr/>
          </p:nvSpPr>
          <p:spPr bwMode="auto">
            <a:xfrm>
              <a:off x="3840163" y="4022750"/>
              <a:ext cx="727075" cy="757238"/>
            </a:xfrm>
            <a:custGeom>
              <a:avLst/>
              <a:gdLst/>
              <a:ahLst/>
              <a:cxnLst>
                <a:cxn ang="0">
                  <a:pos x="888" y="0"/>
                </a:cxn>
                <a:cxn ang="0">
                  <a:pos x="888" y="795"/>
                </a:cxn>
                <a:cxn ang="0">
                  <a:pos x="867" y="796"/>
                </a:cxn>
                <a:cxn ang="0">
                  <a:pos x="847" y="797"/>
                </a:cxn>
                <a:cxn ang="0">
                  <a:pos x="828" y="800"/>
                </a:cxn>
                <a:cxn ang="0">
                  <a:pos x="809" y="804"/>
                </a:cxn>
                <a:cxn ang="0">
                  <a:pos x="790" y="809"/>
                </a:cxn>
                <a:cxn ang="0">
                  <a:pos x="781" y="812"/>
                </a:cxn>
                <a:cxn ang="0">
                  <a:pos x="772" y="815"/>
                </a:cxn>
                <a:cxn ang="0">
                  <a:pos x="754" y="822"/>
                </a:cxn>
                <a:cxn ang="0">
                  <a:pos x="745" y="826"/>
                </a:cxn>
                <a:cxn ang="0">
                  <a:pos x="737" y="830"/>
                </a:cxn>
                <a:cxn ang="0">
                  <a:pos x="720" y="839"/>
                </a:cxn>
                <a:cxn ang="0">
                  <a:pos x="712" y="843"/>
                </a:cxn>
                <a:cxn ang="0">
                  <a:pos x="704" y="848"/>
                </a:cxn>
                <a:cxn ang="0">
                  <a:pos x="689" y="859"/>
                </a:cxn>
                <a:cxn ang="0">
                  <a:pos x="674" y="870"/>
                </a:cxn>
                <a:cxn ang="0">
                  <a:pos x="659" y="882"/>
                </a:cxn>
                <a:cxn ang="0">
                  <a:pos x="653" y="889"/>
                </a:cxn>
                <a:cxn ang="0">
                  <a:pos x="646" y="895"/>
                </a:cxn>
                <a:cxn ang="0">
                  <a:pos x="633" y="909"/>
                </a:cxn>
                <a:cxn ang="0">
                  <a:pos x="621" y="923"/>
                </a:cxn>
                <a:cxn ang="0">
                  <a:pos x="0" y="427"/>
                </a:cxn>
                <a:cxn ang="0">
                  <a:pos x="18" y="406"/>
                </a:cxn>
                <a:cxn ang="0">
                  <a:pos x="36" y="385"/>
                </a:cxn>
                <a:cxn ang="0">
                  <a:pos x="55" y="364"/>
                </a:cxn>
                <a:cxn ang="0">
                  <a:pos x="74" y="344"/>
                </a:cxn>
                <a:cxn ang="0">
                  <a:pos x="94" y="324"/>
                </a:cxn>
                <a:cxn ang="0">
                  <a:pos x="104" y="314"/>
                </a:cxn>
                <a:cxn ang="0">
                  <a:pos x="114" y="305"/>
                </a:cxn>
                <a:cxn ang="0">
                  <a:pos x="134" y="286"/>
                </a:cxn>
                <a:cxn ang="0">
                  <a:pos x="155" y="268"/>
                </a:cxn>
                <a:cxn ang="0">
                  <a:pos x="177" y="250"/>
                </a:cxn>
                <a:cxn ang="0">
                  <a:pos x="199" y="233"/>
                </a:cxn>
                <a:cxn ang="0">
                  <a:pos x="221" y="217"/>
                </a:cxn>
                <a:cxn ang="0">
                  <a:pos x="244" y="200"/>
                </a:cxn>
                <a:cxn ang="0">
                  <a:pos x="267" y="185"/>
                </a:cxn>
                <a:cxn ang="0">
                  <a:pos x="290" y="170"/>
                </a:cxn>
                <a:cxn ang="0">
                  <a:pos x="314" y="156"/>
                </a:cxn>
                <a:cxn ang="0">
                  <a:pos x="338" y="142"/>
                </a:cxn>
                <a:cxn ang="0">
                  <a:pos x="363" y="129"/>
                </a:cxn>
                <a:cxn ang="0">
                  <a:pos x="388" y="116"/>
                </a:cxn>
                <a:cxn ang="0">
                  <a:pos x="413" y="104"/>
                </a:cxn>
                <a:cxn ang="0">
                  <a:pos x="438" y="93"/>
                </a:cxn>
                <a:cxn ang="0">
                  <a:pos x="464" y="82"/>
                </a:cxn>
                <a:cxn ang="0">
                  <a:pos x="490" y="72"/>
                </a:cxn>
                <a:cxn ang="0">
                  <a:pos x="516" y="62"/>
                </a:cxn>
                <a:cxn ang="0">
                  <a:pos x="542" y="54"/>
                </a:cxn>
                <a:cxn ang="0">
                  <a:pos x="569" y="45"/>
                </a:cxn>
                <a:cxn ang="0">
                  <a:pos x="596" y="38"/>
                </a:cxn>
                <a:cxn ang="0">
                  <a:pos x="623" y="31"/>
                </a:cxn>
                <a:cxn ang="0">
                  <a:pos x="650" y="25"/>
                </a:cxn>
                <a:cxn ang="0">
                  <a:pos x="677" y="20"/>
                </a:cxn>
                <a:cxn ang="0">
                  <a:pos x="705" y="15"/>
                </a:cxn>
                <a:cxn ang="0">
                  <a:pos x="732" y="11"/>
                </a:cxn>
                <a:cxn ang="0">
                  <a:pos x="760" y="8"/>
                </a:cxn>
                <a:cxn ang="0">
                  <a:pos x="776" y="6"/>
                </a:cxn>
                <a:cxn ang="0">
                  <a:pos x="791" y="4"/>
                </a:cxn>
                <a:cxn ang="0">
                  <a:pos x="823" y="2"/>
                </a:cxn>
                <a:cxn ang="0">
                  <a:pos x="855" y="1"/>
                </a:cxn>
                <a:cxn ang="0">
                  <a:pos x="888" y="0"/>
                </a:cxn>
              </a:cxnLst>
              <a:rect l="0" t="0" r="r" b="b"/>
              <a:pathLst>
                <a:path w="888" h="923">
                  <a:moveTo>
                    <a:pt x="888" y="0"/>
                  </a:moveTo>
                  <a:lnTo>
                    <a:pt x="888" y="795"/>
                  </a:lnTo>
                  <a:lnTo>
                    <a:pt x="867" y="796"/>
                  </a:lnTo>
                  <a:lnTo>
                    <a:pt x="847" y="797"/>
                  </a:lnTo>
                  <a:lnTo>
                    <a:pt x="828" y="800"/>
                  </a:lnTo>
                  <a:lnTo>
                    <a:pt x="809" y="804"/>
                  </a:lnTo>
                  <a:lnTo>
                    <a:pt x="790" y="809"/>
                  </a:lnTo>
                  <a:lnTo>
                    <a:pt x="781" y="812"/>
                  </a:lnTo>
                  <a:lnTo>
                    <a:pt x="772" y="815"/>
                  </a:lnTo>
                  <a:lnTo>
                    <a:pt x="754" y="822"/>
                  </a:lnTo>
                  <a:lnTo>
                    <a:pt x="745" y="826"/>
                  </a:lnTo>
                  <a:lnTo>
                    <a:pt x="737" y="830"/>
                  </a:lnTo>
                  <a:lnTo>
                    <a:pt x="720" y="839"/>
                  </a:lnTo>
                  <a:lnTo>
                    <a:pt x="712" y="843"/>
                  </a:lnTo>
                  <a:lnTo>
                    <a:pt x="704" y="848"/>
                  </a:lnTo>
                  <a:lnTo>
                    <a:pt x="689" y="859"/>
                  </a:lnTo>
                  <a:lnTo>
                    <a:pt x="674" y="870"/>
                  </a:lnTo>
                  <a:lnTo>
                    <a:pt x="659" y="882"/>
                  </a:lnTo>
                  <a:lnTo>
                    <a:pt x="653" y="889"/>
                  </a:lnTo>
                  <a:lnTo>
                    <a:pt x="646" y="895"/>
                  </a:lnTo>
                  <a:lnTo>
                    <a:pt x="633" y="909"/>
                  </a:lnTo>
                  <a:lnTo>
                    <a:pt x="621" y="923"/>
                  </a:lnTo>
                  <a:lnTo>
                    <a:pt x="0" y="427"/>
                  </a:lnTo>
                  <a:lnTo>
                    <a:pt x="18" y="406"/>
                  </a:lnTo>
                  <a:lnTo>
                    <a:pt x="36" y="385"/>
                  </a:lnTo>
                  <a:lnTo>
                    <a:pt x="55" y="364"/>
                  </a:lnTo>
                  <a:lnTo>
                    <a:pt x="74" y="344"/>
                  </a:lnTo>
                  <a:lnTo>
                    <a:pt x="94" y="324"/>
                  </a:lnTo>
                  <a:lnTo>
                    <a:pt x="104" y="314"/>
                  </a:lnTo>
                  <a:lnTo>
                    <a:pt x="114" y="305"/>
                  </a:lnTo>
                  <a:lnTo>
                    <a:pt x="134" y="286"/>
                  </a:lnTo>
                  <a:lnTo>
                    <a:pt x="155" y="268"/>
                  </a:lnTo>
                  <a:lnTo>
                    <a:pt x="177" y="250"/>
                  </a:lnTo>
                  <a:lnTo>
                    <a:pt x="199" y="233"/>
                  </a:lnTo>
                  <a:lnTo>
                    <a:pt x="221" y="217"/>
                  </a:lnTo>
                  <a:lnTo>
                    <a:pt x="244" y="200"/>
                  </a:lnTo>
                  <a:lnTo>
                    <a:pt x="267" y="185"/>
                  </a:lnTo>
                  <a:lnTo>
                    <a:pt x="290" y="170"/>
                  </a:lnTo>
                  <a:lnTo>
                    <a:pt x="314" y="156"/>
                  </a:lnTo>
                  <a:lnTo>
                    <a:pt x="338" y="142"/>
                  </a:lnTo>
                  <a:lnTo>
                    <a:pt x="363" y="129"/>
                  </a:lnTo>
                  <a:lnTo>
                    <a:pt x="388" y="116"/>
                  </a:lnTo>
                  <a:lnTo>
                    <a:pt x="413" y="104"/>
                  </a:lnTo>
                  <a:lnTo>
                    <a:pt x="438" y="93"/>
                  </a:lnTo>
                  <a:lnTo>
                    <a:pt x="464" y="82"/>
                  </a:lnTo>
                  <a:lnTo>
                    <a:pt x="490" y="72"/>
                  </a:lnTo>
                  <a:lnTo>
                    <a:pt x="516" y="62"/>
                  </a:lnTo>
                  <a:lnTo>
                    <a:pt x="542" y="54"/>
                  </a:lnTo>
                  <a:lnTo>
                    <a:pt x="569" y="45"/>
                  </a:lnTo>
                  <a:lnTo>
                    <a:pt x="596" y="38"/>
                  </a:lnTo>
                  <a:lnTo>
                    <a:pt x="623" y="31"/>
                  </a:lnTo>
                  <a:lnTo>
                    <a:pt x="650" y="25"/>
                  </a:lnTo>
                  <a:lnTo>
                    <a:pt x="677" y="20"/>
                  </a:lnTo>
                  <a:lnTo>
                    <a:pt x="705" y="15"/>
                  </a:lnTo>
                  <a:lnTo>
                    <a:pt x="732" y="11"/>
                  </a:lnTo>
                  <a:lnTo>
                    <a:pt x="760" y="8"/>
                  </a:lnTo>
                  <a:lnTo>
                    <a:pt x="776" y="6"/>
                  </a:lnTo>
                  <a:lnTo>
                    <a:pt x="791" y="4"/>
                  </a:lnTo>
                  <a:lnTo>
                    <a:pt x="823" y="2"/>
                  </a:lnTo>
                  <a:lnTo>
                    <a:pt x="855" y="1"/>
                  </a:lnTo>
                  <a:lnTo>
                    <a:pt x="888" y="0"/>
                  </a:lnTo>
                  <a:close/>
                </a:path>
              </a:pathLst>
            </a:custGeom>
            <a:solidFill>
              <a:schemeClr val="accent3"/>
            </a:solidFill>
            <a:ln w="12700" cmpd="sng">
              <a:solidFill>
                <a:schemeClr val="bg1"/>
              </a:solidFill>
              <a:round/>
              <a:headEnd/>
              <a:tailEnd/>
            </a:ln>
          </p:spPr>
          <p:txBody>
            <a:bodyPr lIns="45720" rIns="45720" anchor="ctr" anchorCtr="1"/>
            <a:lstStyle/>
            <a:p>
              <a:endParaRPr lang="en-US" sz="1100"/>
            </a:p>
          </p:txBody>
        </p:sp>
        <p:sp>
          <p:nvSpPr>
            <p:cNvPr id="152" name="Text Box 152">
              <a:extLst>
                <a:ext uri="{FF2B5EF4-FFF2-40B4-BE49-F238E27FC236}">
                  <a16:creationId xmlns:a16="http://schemas.microsoft.com/office/drawing/2014/main" id="{62EDD0F7-DCCF-4F72-A2F8-7B9166717204}"/>
                </a:ext>
              </a:extLst>
            </p:cNvPr>
            <p:cNvSpPr txBox="1">
              <a:spLocks noChangeArrowheads="1"/>
            </p:cNvSpPr>
            <p:nvPr/>
          </p:nvSpPr>
          <p:spPr bwMode="auto">
            <a:xfrm>
              <a:off x="4090353" y="4273575"/>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53" name="Text Box 153">
              <a:extLst>
                <a:ext uri="{FF2B5EF4-FFF2-40B4-BE49-F238E27FC236}">
                  <a16:creationId xmlns:a16="http://schemas.microsoft.com/office/drawing/2014/main" id="{285F410F-80C5-4020-932D-DB97F29479C5}"/>
                </a:ext>
              </a:extLst>
            </p:cNvPr>
            <p:cNvSpPr txBox="1">
              <a:spLocks noChangeArrowheads="1"/>
            </p:cNvSpPr>
            <p:nvPr/>
          </p:nvSpPr>
          <p:spPr bwMode="auto">
            <a:xfrm>
              <a:off x="4655821" y="4273575"/>
              <a:ext cx="411163" cy="255588"/>
            </a:xfrm>
            <a:prstGeom prst="rect">
              <a:avLst/>
            </a:prstGeom>
            <a:noFill/>
            <a:ln w="12700">
              <a:noFill/>
              <a:miter lim="800000"/>
              <a:headEnd/>
              <a:tailEnd/>
            </a:ln>
            <a:effectLst/>
          </p:spPr>
          <p:txBody>
            <a:bodyPr lIns="45720" rIns="45720" anchor="ctr" anchorCtr="1"/>
            <a:lstStyle/>
            <a:p>
              <a:pPr eaLnBrk="0" hangingPunct="0"/>
              <a:r>
                <a:rPr lang="en-US" sz="1100" b="1" dirty="0">
                  <a:solidFill>
                    <a:schemeClr val="bg1"/>
                  </a:solidFill>
                </a:rPr>
                <a:t>Text</a:t>
              </a:r>
            </a:p>
          </p:txBody>
        </p:sp>
        <p:sp>
          <p:nvSpPr>
            <p:cNvPr id="154" name="Text Box 154">
              <a:extLst>
                <a:ext uri="{FF2B5EF4-FFF2-40B4-BE49-F238E27FC236}">
                  <a16:creationId xmlns:a16="http://schemas.microsoft.com/office/drawing/2014/main" id="{A327798F-EEE3-4B15-8CE4-81CC5037F286}"/>
                </a:ext>
              </a:extLst>
            </p:cNvPr>
            <p:cNvSpPr txBox="1">
              <a:spLocks noChangeArrowheads="1"/>
            </p:cNvSpPr>
            <p:nvPr/>
          </p:nvSpPr>
          <p:spPr bwMode="auto">
            <a:xfrm>
              <a:off x="4937126" y="463870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5" name="Text Box 155">
              <a:extLst>
                <a:ext uri="{FF2B5EF4-FFF2-40B4-BE49-F238E27FC236}">
                  <a16:creationId xmlns:a16="http://schemas.microsoft.com/office/drawing/2014/main" id="{8B65BB8C-6DE3-4F21-999F-4D586F7C5EDB}"/>
                </a:ext>
              </a:extLst>
            </p:cNvPr>
            <p:cNvSpPr txBox="1">
              <a:spLocks noChangeArrowheads="1"/>
            </p:cNvSpPr>
            <p:nvPr/>
          </p:nvSpPr>
          <p:spPr bwMode="auto">
            <a:xfrm>
              <a:off x="4875213" y="527528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6" name="Text Box 156">
              <a:extLst>
                <a:ext uri="{FF2B5EF4-FFF2-40B4-BE49-F238E27FC236}">
                  <a16:creationId xmlns:a16="http://schemas.microsoft.com/office/drawing/2014/main" id="{4C830E21-DC0D-4181-AD66-B50CBE9C8866}"/>
                </a:ext>
              </a:extLst>
            </p:cNvPr>
            <p:cNvSpPr txBox="1">
              <a:spLocks noChangeArrowheads="1"/>
            </p:cNvSpPr>
            <p:nvPr/>
          </p:nvSpPr>
          <p:spPr bwMode="auto">
            <a:xfrm>
              <a:off x="4360863" y="5416575"/>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57" name="Text Box 157">
              <a:extLst>
                <a:ext uri="{FF2B5EF4-FFF2-40B4-BE49-F238E27FC236}">
                  <a16:creationId xmlns:a16="http://schemas.microsoft.com/office/drawing/2014/main" id="{36731855-9E10-4A52-801E-C515E0F3A440}"/>
                </a:ext>
              </a:extLst>
            </p:cNvPr>
            <p:cNvSpPr txBox="1">
              <a:spLocks noChangeArrowheads="1"/>
            </p:cNvSpPr>
            <p:nvPr/>
          </p:nvSpPr>
          <p:spPr bwMode="auto">
            <a:xfrm>
              <a:off x="3848101" y="5275288"/>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sp>
          <p:nvSpPr>
            <p:cNvPr id="193" name="Text Box 158">
              <a:extLst>
                <a:ext uri="{FF2B5EF4-FFF2-40B4-BE49-F238E27FC236}">
                  <a16:creationId xmlns:a16="http://schemas.microsoft.com/office/drawing/2014/main" id="{CAF8B625-F639-4ABC-BF1E-7D727C1B7F09}"/>
                </a:ext>
              </a:extLst>
            </p:cNvPr>
            <p:cNvSpPr txBox="1">
              <a:spLocks noChangeArrowheads="1"/>
            </p:cNvSpPr>
            <p:nvPr/>
          </p:nvSpPr>
          <p:spPr bwMode="auto">
            <a:xfrm>
              <a:off x="3787776" y="4638700"/>
              <a:ext cx="411163" cy="255588"/>
            </a:xfrm>
            <a:prstGeom prst="rect">
              <a:avLst/>
            </a:prstGeom>
            <a:noFill/>
            <a:ln w="12700">
              <a:noFill/>
              <a:miter lim="800000"/>
              <a:headEnd/>
              <a:tailEnd/>
            </a:ln>
            <a:effectLst/>
          </p:spPr>
          <p:txBody>
            <a:bodyPr lIns="45720" rIns="45720" anchor="ctr" anchorCtr="1"/>
            <a:lstStyle/>
            <a:p>
              <a:pPr eaLnBrk="0" hangingPunct="0"/>
              <a:r>
                <a:rPr lang="en-US" sz="1100" b="1">
                  <a:solidFill>
                    <a:schemeClr val="bg1"/>
                  </a:solidFill>
                </a:rPr>
                <a:t>Text</a:t>
              </a:r>
            </a:p>
          </p:txBody>
        </p:sp>
      </p:grpSp>
    </p:spTree>
    <p:extLst>
      <p:ext uri="{BB962C8B-B14F-4D97-AF65-F5344CB8AC3E}">
        <p14:creationId xmlns:p14="http://schemas.microsoft.com/office/powerpoint/2010/main" val="25958136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Circular Segments 3 – Separated</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F0A7023-F50E-44C1-AAB1-98CF65E2B21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Freeform 5">
            <a:extLst>
              <a:ext uri="{FF2B5EF4-FFF2-40B4-BE49-F238E27FC236}">
                <a16:creationId xmlns:a16="http://schemas.microsoft.com/office/drawing/2014/main" id="{89704A50-0FC2-4CEC-99DE-A94E7D322B50}"/>
              </a:ext>
            </a:extLst>
          </p:cNvPr>
          <p:cNvSpPr>
            <a:spLocks/>
          </p:cNvSpPr>
          <p:nvPr/>
        </p:nvSpPr>
        <p:spPr bwMode="auto">
          <a:xfrm>
            <a:off x="4021573" y="4358173"/>
            <a:ext cx="1645369" cy="1627249"/>
          </a:xfrm>
          <a:custGeom>
            <a:avLst/>
            <a:gdLst>
              <a:gd name="T0" fmla="*/ 265 w 444"/>
              <a:gd name="T1" fmla="*/ 0 h 439"/>
              <a:gd name="T2" fmla="*/ 0 w 444"/>
              <a:gd name="T3" fmla="*/ 154 h 439"/>
              <a:gd name="T4" fmla="*/ 339 w 444"/>
              <a:gd name="T5" fmla="*/ 439 h 439"/>
              <a:gd name="T6" fmla="*/ 444 w 444"/>
              <a:gd name="T7" fmla="*/ 150 h 439"/>
              <a:gd name="T8" fmla="*/ 265 w 444"/>
              <a:gd name="T9" fmla="*/ 0 h 439"/>
            </a:gdLst>
            <a:ahLst/>
            <a:cxnLst>
              <a:cxn ang="0">
                <a:pos x="T0" y="T1"/>
              </a:cxn>
              <a:cxn ang="0">
                <a:pos x="T2" y="T3"/>
              </a:cxn>
              <a:cxn ang="0">
                <a:pos x="T4" y="T5"/>
              </a:cxn>
              <a:cxn ang="0">
                <a:pos x="T6" y="T7"/>
              </a:cxn>
              <a:cxn ang="0">
                <a:pos x="T8" y="T9"/>
              </a:cxn>
            </a:cxnLst>
            <a:rect l="0" t="0" r="r" b="b"/>
            <a:pathLst>
              <a:path w="444" h="439">
                <a:moveTo>
                  <a:pt x="265" y="0"/>
                </a:moveTo>
                <a:cubicBezTo>
                  <a:pt x="0" y="154"/>
                  <a:pt x="0" y="154"/>
                  <a:pt x="0" y="154"/>
                </a:cubicBezTo>
                <a:cubicBezTo>
                  <a:pt x="79" y="291"/>
                  <a:pt x="190" y="384"/>
                  <a:pt x="339" y="439"/>
                </a:cubicBezTo>
                <a:cubicBezTo>
                  <a:pt x="444" y="150"/>
                  <a:pt x="444" y="150"/>
                  <a:pt x="444" y="150"/>
                </a:cubicBezTo>
                <a:cubicBezTo>
                  <a:pt x="368" y="123"/>
                  <a:pt x="305" y="69"/>
                  <a:pt x="265" y="0"/>
                </a:cubicBezTo>
                <a:close/>
              </a:path>
            </a:pathLst>
          </a:custGeom>
          <a:solidFill>
            <a:schemeClr val="accent2"/>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6">
            <a:extLst>
              <a:ext uri="{FF2B5EF4-FFF2-40B4-BE49-F238E27FC236}">
                <a16:creationId xmlns:a16="http://schemas.microsoft.com/office/drawing/2014/main" id="{22685818-09B2-4F28-80D8-93CEED512F2D}"/>
              </a:ext>
            </a:extLst>
          </p:cNvPr>
          <p:cNvSpPr>
            <a:spLocks/>
          </p:cNvSpPr>
          <p:nvPr/>
        </p:nvSpPr>
        <p:spPr bwMode="auto">
          <a:xfrm>
            <a:off x="5277345" y="4910858"/>
            <a:ext cx="1641745" cy="1273892"/>
          </a:xfrm>
          <a:custGeom>
            <a:avLst/>
            <a:gdLst>
              <a:gd name="T0" fmla="*/ 220 w 443"/>
              <a:gd name="T1" fmla="*/ 21 h 344"/>
              <a:gd name="T2" fmla="*/ 105 w 443"/>
              <a:gd name="T3" fmla="*/ 1 h 344"/>
              <a:gd name="T4" fmla="*/ 0 w 443"/>
              <a:gd name="T5" fmla="*/ 290 h 344"/>
              <a:gd name="T6" fmla="*/ 443 w 443"/>
              <a:gd name="T7" fmla="*/ 290 h 344"/>
              <a:gd name="T8" fmla="*/ 338 w 443"/>
              <a:gd name="T9" fmla="*/ 0 h 344"/>
              <a:gd name="T10" fmla="*/ 220 w 443"/>
              <a:gd name="T11" fmla="*/ 21 h 344"/>
            </a:gdLst>
            <a:ahLst/>
            <a:cxnLst>
              <a:cxn ang="0">
                <a:pos x="T0" y="T1"/>
              </a:cxn>
              <a:cxn ang="0">
                <a:pos x="T2" y="T3"/>
              </a:cxn>
              <a:cxn ang="0">
                <a:pos x="T4" y="T5"/>
              </a:cxn>
              <a:cxn ang="0">
                <a:pos x="T6" y="T7"/>
              </a:cxn>
              <a:cxn ang="0">
                <a:pos x="T8" y="T9"/>
              </a:cxn>
              <a:cxn ang="0">
                <a:pos x="T10" y="T11"/>
              </a:cxn>
            </a:cxnLst>
            <a:rect l="0" t="0" r="r" b="b"/>
            <a:pathLst>
              <a:path w="443" h="344">
                <a:moveTo>
                  <a:pt x="220" y="21"/>
                </a:moveTo>
                <a:cubicBezTo>
                  <a:pt x="179" y="21"/>
                  <a:pt x="141" y="14"/>
                  <a:pt x="105" y="1"/>
                </a:cubicBezTo>
                <a:cubicBezTo>
                  <a:pt x="0" y="290"/>
                  <a:pt x="0" y="290"/>
                  <a:pt x="0" y="290"/>
                </a:cubicBezTo>
                <a:cubicBezTo>
                  <a:pt x="149" y="344"/>
                  <a:pt x="294" y="344"/>
                  <a:pt x="443" y="290"/>
                </a:cubicBezTo>
                <a:cubicBezTo>
                  <a:pt x="338" y="0"/>
                  <a:pt x="338" y="0"/>
                  <a:pt x="338" y="0"/>
                </a:cubicBezTo>
                <a:cubicBezTo>
                  <a:pt x="301" y="14"/>
                  <a:pt x="261" y="21"/>
                  <a:pt x="220" y="21"/>
                </a:cubicBezTo>
                <a:close/>
              </a:path>
            </a:pathLst>
          </a:custGeom>
          <a:solidFill>
            <a:schemeClr val="accent3"/>
          </a:solidFill>
          <a:ln w="1270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7">
            <a:extLst>
              <a:ext uri="{FF2B5EF4-FFF2-40B4-BE49-F238E27FC236}">
                <a16:creationId xmlns:a16="http://schemas.microsoft.com/office/drawing/2014/main" id="{816F4AD1-A70F-4F18-83F9-C3857CB70813}"/>
              </a:ext>
            </a:extLst>
          </p:cNvPr>
          <p:cNvSpPr>
            <a:spLocks/>
          </p:cNvSpPr>
          <p:nvPr/>
        </p:nvSpPr>
        <p:spPr bwMode="auto">
          <a:xfrm>
            <a:off x="6529493" y="4354549"/>
            <a:ext cx="1648993" cy="1630873"/>
          </a:xfrm>
          <a:custGeom>
            <a:avLst/>
            <a:gdLst>
              <a:gd name="T0" fmla="*/ 176 w 445"/>
              <a:gd name="T1" fmla="*/ 0 h 440"/>
              <a:gd name="T2" fmla="*/ 0 w 445"/>
              <a:gd name="T3" fmla="*/ 150 h 440"/>
              <a:gd name="T4" fmla="*/ 105 w 445"/>
              <a:gd name="T5" fmla="*/ 440 h 440"/>
              <a:gd name="T6" fmla="*/ 445 w 445"/>
              <a:gd name="T7" fmla="*/ 155 h 440"/>
              <a:gd name="T8" fmla="*/ 176 w 445"/>
              <a:gd name="T9" fmla="*/ 0 h 440"/>
            </a:gdLst>
            <a:ahLst/>
            <a:cxnLst>
              <a:cxn ang="0">
                <a:pos x="T0" y="T1"/>
              </a:cxn>
              <a:cxn ang="0">
                <a:pos x="T2" y="T3"/>
              </a:cxn>
              <a:cxn ang="0">
                <a:pos x="T4" y="T5"/>
              </a:cxn>
              <a:cxn ang="0">
                <a:pos x="T6" y="T7"/>
              </a:cxn>
              <a:cxn ang="0">
                <a:pos x="T8" y="T9"/>
              </a:cxn>
            </a:cxnLst>
            <a:rect l="0" t="0" r="r" b="b"/>
            <a:pathLst>
              <a:path w="445" h="440">
                <a:moveTo>
                  <a:pt x="176" y="0"/>
                </a:moveTo>
                <a:cubicBezTo>
                  <a:pt x="137" y="68"/>
                  <a:pt x="75" y="122"/>
                  <a:pt x="0" y="150"/>
                </a:cubicBezTo>
                <a:cubicBezTo>
                  <a:pt x="105" y="440"/>
                  <a:pt x="105" y="440"/>
                  <a:pt x="105" y="440"/>
                </a:cubicBezTo>
                <a:cubicBezTo>
                  <a:pt x="255" y="385"/>
                  <a:pt x="365" y="292"/>
                  <a:pt x="445" y="155"/>
                </a:cubicBezTo>
                <a:lnTo>
                  <a:pt x="176" y="0"/>
                </a:lnTo>
                <a:close/>
              </a:path>
            </a:pathLst>
          </a:custGeom>
          <a:solidFill>
            <a:schemeClr val="accent3"/>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8">
            <a:extLst>
              <a:ext uri="{FF2B5EF4-FFF2-40B4-BE49-F238E27FC236}">
                <a16:creationId xmlns:a16="http://schemas.microsoft.com/office/drawing/2014/main" id="{589860AB-0E12-4E6C-B601-587096E92EA1}"/>
              </a:ext>
            </a:extLst>
          </p:cNvPr>
          <p:cNvSpPr>
            <a:spLocks/>
          </p:cNvSpPr>
          <p:nvPr/>
        </p:nvSpPr>
        <p:spPr bwMode="auto">
          <a:xfrm>
            <a:off x="7181842" y="3308978"/>
            <a:ext cx="1380805" cy="1620000"/>
          </a:xfrm>
          <a:custGeom>
            <a:avLst/>
            <a:gdLst>
              <a:gd name="T0" fmla="*/ 346 w 373"/>
              <a:gd name="T1" fmla="*/ 0 h 437"/>
              <a:gd name="T2" fmla="*/ 38 w 373"/>
              <a:gd name="T3" fmla="*/ 54 h 437"/>
              <a:gd name="T4" fmla="*/ 44 w 373"/>
              <a:gd name="T5" fmla="*/ 115 h 437"/>
              <a:gd name="T6" fmla="*/ 0 w 373"/>
              <a:gd name="T7" fmla="*/ 282 h 437"/>
              <a:gd name="T8" fmla="*/ 269 w 373"/>
              <a:gd name="T9" fmla="*/ 437 h 437"/>
              <a:gd name="T10" fmla="*/ 346 w 373"/>
              <a:gd name="T11" fmla="*/ 0 h 437"/>
            </a:gdLst>
            <a:ahLst/>
            <a:cxnLst>
              <a:cxn ang="0">
                <a:pos x="T0" y="T1"/>
              </a:cxn>
              <a:cxn ang="0">
                <a:pos x="T2" y="T3"/>
              </a:cxn>
              <a:cxn ang="0">
                <a:pos x="T4" y="T5"/>
              </a:cxn>
              <a:cxn ang="0">
                <a:pos x="T6" y="T7"/>
              </a:cxn>
              <a:cxn ang="0">
                <a:pos x="T8" y="T9"/>
              </a:cxn>
              <a:cxn ang="0">
                <a:pos x="T10" y="T11"/>
              </a:cxn>
            </a:cxnLst>
            <a:rect l="0" t="0" r="r" b="b"/>
            <a:pathLst>
              <a:path w="373" h="437">
                <a:moveTo>
                  <a:pt x="346" y="0"/>
                </a:moveTo>
                <a:cubicBezTo>
                  <a:pt x="38" y="54"/>
                  <a:pt x="38" y="54"/>
                  <a:pt x="38" y="54"/>
                </a:cubicBezTo>
                <a:cubicBezTo>
                  <a:pt x="42" y="74"/>
                  <a:pt x="44" y="94"/>
                  <a:pt x="44" y="115"/>
                </a:cubicBezTo>
                <a:cubicBezTo>
                  <a:pt x="44" y="175"/>
                  <a:pt x="28" y="232"/>
                  <a:pt x="0" y="282"/>
                </a:cubicBezTo>
                <a:cubicBezTo>
                  <a:pt x="269" y="437"/>
                  <a:pt x="269" y="437"/>
                  <a:pt x="269" y="437"/>
                </a:cubicBezTo>
                <a:cubicBezTo>
                  <a:pt x="348" y="299"/>
                  <a:pt x="373" y="157"/>
                  <a:pt x="346" y="0"/>
                </a:cubicBezTo>
                <a:close/>
              </a:path>
            </a:pathLst>
          </a:custGeom>
          <a:solidFill>
            <a:schemeClr val="accent3"/>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9">
            <a:extLst>
              <a:ext uri="{FF2B5EF4-FFF2-40B4-BE49-F238E27FC236}">
                <a16:creationId xmlns:a16="http://schemas.microsoft.com/office/drawing/2014/main" id="{366B66DE-C710-4AA9-AEA8-387355A2ACC6}"/>
              </a:ext>
            </a:extLst>
          </p:cNvPr>
          <p:cNvSpPr>
            <a:spLocks/>
          </p:cNvSpPr>
          <p:nvPr/>
        </p:nvSpPr>
        <p:spPr bwMode="auto">
          <a:xfrm>
            <a:off x="6895533" y="1884683"/>
            <a:ext cx="1567450" cy="1623625"/>
          </a:xfrm>
          <a:custGeom>
            <a:avLst/>
            <a:gdLst>
              <a:gd name="T0" fmla="*/ 115 w 423"/>
              <a:gd name="T1" fmla="*/ 438 h 438"/>
              <a:gd name="T2" fmla="*/ 423 w 423"/>
              <a:gd name="T3" fmla="*/ 384 h 438"/>
              <a:gd name="T4" fmla="*/ 201 w 423"/>
              <a:gd name="T5" fmla="*/ 0 h 438"/>
              <a:gd name="T6" fmla="*/ 0 w 423"/>
              <a:gd name="T7" fmla="*/ 240 h 438"/>
              <a:gd name="T8" fmla="*/ 115 w 423"/>
              <a:gd name="T9" fmla="*/ 438 h 438"/>
            </a:gdLst>
            <a:ahLst/>
            <a:cxnLst>
              <a:cxn ang="0">
                <a:pos x="T0" y="T1"/>
              </a:cxn>
              <a:cxn ang="0">
                <a:pos x="T2" y="T3"/>
              </a:cxn>
              <a:cxn ang="0">
                <a:pos x="T4" y="T5"/>
              </a:cxn>
              <a:cxn ang="0">
                <a:pos x="T6" y="T7"/>
              </a:cxn>
              <a:cxn ang="0">
                <a:pos x="T8" y="T9"/>
              </a:cxn>
            </a:cxnLst>
            <a:rect l="0" t="0" r="r" b="b"/>
            <a:pathLst>
              <a:path w="423" h="438">
                <a:moveTo>
                  <a:pt x="115" y="438"/>
                </a:moveTo>
                <a:cubicBezTo>
                  <a:pt x="423" y="384"/>
                  <a:pt x="423" y="384"/>
                  <a:pt x="423" y="384"/>
                </a:cubicBezTo>
                <a:cubicBezTo>
                  <a:pt x="395" y="228"/>
                  <a:pt x="323" y="103"/>
                  <a:pt x="201" y="0"/>
                </a:cubicBezTo>
                <a:cubicBezTo>
                  <a:pt x="0" y="240"/>
                  <a:pt x="0" y="240"/>
                  <a:pt x="0" y="240"/>
                </a:cubicBezTo>
                <a:cubicBezTo>
                  <a:pt x="59" y="290"/>
                  <a:pt x="101" y="359"/>
                  <a:pt x="115" y="438"/>
                </a:cubicBezTo>
                <a:close/>
              </a:path>
            </a:pathLst>
          </a:custGeom>
          <a:solidFill>
            <a:schemeClr val="accent1"/>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0">
            <a:extLst>
              <a:ext uri="{FF2B5EF4-FFF2-40B4-BE49-F238E27FC236}">
                <a16:creationId xmlns:a16="http://schemas.microsoft.com/office/drawing/2014/main" id="{DB12C494-392E-4397-9013-B025DCB52291}"/>
              </a:ext>
            </a:extLst>
          </p:cNvPr>
          <p:cNvSpPr>
            <a:spLocks/>
          </p:cNvSpPr>
          <p:nvPr/>
        </p:nvSpPr>
        <p:spPr bwMode="auto">
          <a:xfrm>
            <a:off x="6100030" y="1324750"/>
            <a:ext cx="1540269" cy="1449664"/>
          </a:xfrm>
          <a:custGeom>
            <a:avLst/>
            <a:gdLst>
              <a:gd name="T0" fmla="*/ 215 w 416"/>
              <a:gd name="T1" fmla="*/ 391 h 391"/>
              <a:gd name="T2" fmla="*/ 416 w 416"/>
              <a:gd name="T3" fmla="*/ 151 h 391"/>
              <a:gd name="T4" fmla="*/ 0 w 416"/>
              <a:gd name="T5" fmla="*/ 0 h 391"/>
              <a:gd name="T6" fmla="*/ 0 w 416"/>
              <a:gd name="T7" fmla="*/ 312 h 391"/>
              <a:gd name="T8" fmla="*/ 215 w 416"/>
              <a:gd name="T9" fmla="*/ 391 h 391"/>
            </a:gdLst>
            <a:ahLst/>
            <a:cxnLst>
              <a:cxn ang="0">
                <a:pos x="T0" y="T1"/>
              </a:cxn>
              <a:cxn ang="0">
                <a:pos x="T2" y="T3"/>
              </a:cxn>
              <a:cxn ang="0">
                <a:pos x="T4" y="T5"/>
              </a:cxn>
              <a:cxn ang="0">
                <a:pos x="T6" y="T7"/>
              </a:cxn>
              <a:cxn ang="0">
                <a:pos x="T8" y="T9"/>
              </a:cxn>
            </a:cxnLst>
            <a:rect l="0" t="0" r="r" b="b"/>
            <a:pathLst>
              <a:path w="416" h="391">
                <a:moveTo>
                  <a:pt x="215" y="391"/>
                </a:moveTo>
                <a:cubicBezTo>
                  <a:pt x="416" y="151"/>
                  <a:pt x="416" y="151"/>
                  <a:pt x="416" y="151"/>
                </a:cubicBezTo>
                <a:cubicBezTo>
                  <a:pt x="295" y="49"/>
                  <a:pt x="159" y="0"/>
                  <a:pt x="0" y="0"/>
                </a:cubicBezTo>
                <a:cubicBezTo>
                  <a:pt x="0" y="312"/>
                  <a:pt x="0" y="312"/>
                  <a:pt x="0" y="312"/>
                </a:cubicBezTo>
                <a:cubicBezTo>
                  <a:pt x="82" y="312"/>
                  <a:pt x="157" y="342"/>
                  <a:pt x="215" y="391"/>
                </a:cubicBezTo>
                <a:close/>
              </a:path>
            </a:pathLst>
          </a:custGeom>
          <a:solidFill>
            <a:schemeClr val="accent1"/>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1">
            <a:extLst>
              <a:ext uri="{FF2B5EF4-FFF2-40B4-BE49-F238E27FC236}">
                <a16:creationId xmlns:a16="http://schemas.microsoft.com/office/drawing/2014/main" id="{4DF83E45-94CC-4DD1-AF61-79CE7CFE8B0D}"/>
              </a:ext>
            </a:extLst>
          </p:cNvPr>
          <p:cNvSpPr>
            <a:spLocks/>
          </p:cNvSpPr>
          <p:nvPr/>
        </p:nvSpPr>
        <p:spPr bwMode="auto">
          <a:xfrm>
            <a:off x="4554325" y="1324750"/>
            <a:ext cx="1545705" cy="1442416"/>
          </a:xfrm>
          <a:custGeom>
            <a:avLst/>
            <a:gdLst>
              <a:gd name="T0" fmla="*/ 415 w 417"/>
              <a:gd name="T1" fmla="*/ 312 h 389"/>
              <a:gd name="T2" fmla="*/ 417 w 417"/>
              <a:gd name="T3" fmla="*/ 312 h 389"/>
              <a:gd name="T4" fmla="*/ 417 w 417"/>
              <a:gd name="T5" fmla="*/ 0 h 389"/>
              <a:gd name="T6" fmla="*/ 0 w 417"/>
              <a:gd name="T7" fmla="*/ 151 h 389"/>
              <a:gd name="T8" fmla="*/ 199 w 417"/>
              <a:gd name="T9" fmla="*/ 389 h 389"/>
              <a:gd name="T10" fmla="*/ 415 w 417"/>
              <a:gd name="T11" fmla="*/ 312 h 389"/>
            </a:gdLst>
            <a:ahLst/>
            <a:cxnLst>
              <a:cxn ang="0">
                <a:pos x="T0" y="T1"/>
              </a:cxn>
              <a:cxn ang="0">
                <a:pos x="T2" y="T3"/>
              </a:cxn>
              <a:cxn ang="0">
                <a:pos x="T4" y="T5"/>
              </a:cxn>
              <a:cxn ang="0">
                <a:pos x="T6" y="T7"/>
              </a:cxn>
              <a:cxn ang="0">
                <a:pos x="T8" y="T9"/>
              </a:cxn>
              <a:cxn ang="0">
                <a:pos x="T10" y="T11"/>
              </a:cxn>
            </a:cxnLst>
            <a:rect l="0" t="0" r="r" b="b"/>
            <a:pathLst>
              <a:path w="417" h="389">
                <a:moveTo>
                  <a:pt x="415" y="312"/>
                </a:moveTo>
                <a:cubicBezTo>
                  <a:pt x="415" y="312"/>
                  <a:pt x="416" y="312"/>
                  <a:pt x="417" y="312"/>
                </a:cubicBezTo>
                <a:cubicBezTo>
                  <a:pt x="417" y="0"/>
                  <a:pt x="417" y="0"/>
                  <a:pt x="417" y="0"/>
                </a:cubicBezTo>
                <a:cubicBezTo>
                  <a:pt x="258" y="0"/>
                  <a:pt x="122" y="49"/>
                  <a:pt x="0" y="151"/>
                </a:cubicBezTo>
                <a:cubicBezTo>
                  <a:pt x="199" y="389"/>
                  <a:pt x="199" y="389"/>
                  <a:pt x="199" y="389"/>
                </a:cubicBezTo>
                <a:cubicBezTo>
                  <a:pt x="258" y="341"/>
                  <a:pt x="333" y="312"/>
                  <a:pt x="415" y="312"/>
                </a:cubicBezTo>
                <a:close/>
              </a:path>
            </a:pathLst>
          </a:custGeom>
          <a:solidFill>
            <a:schemeClr val="accent5"/>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2">
            <a:extLst>
              <a:ext uri="{FF2B5EF4-FFF2-40B4-BE49-F238E27FC236}">
                <a16:creationId xmlns:a16="http://schemas.microsoft.com/office/drawing/2014/main" id="{05D810CC-C309-47C8-A882-D70DE13B175B}"/>
              </a:ext>
            </a:extLst>
          </p:cNvPr>
          <p:cNvSpPr>
            <a:spLocks/>
          </p:cNvSpPr>
          <p:nvPr/>
        </p:nvSpPr>
        <p:spPr bwMode="auto">
          <a:xfrm>
            <a:off x="3631976" y="3308978"/>
            <a:ext cx="1371745" cy="1620000"/>
          </a:xfrm>
          <a:custGeom>
            <a:avLst/>
            <a:gdLst>
              <a:gd name="T0" fmla="*/ 325 w 370"/>
              <a:gd name="T1" fmla="*/ 115 h 437"/>
              <a:gd name="T2" fmla="*/ 331 w 370"/>
              <a:gd name="T3" fmla="*/ 54 h 437"/>
              <a:gd name="T4" fmla="*/ 28 w 370"/>
              <a:gd name="T5" fmla="*/ 0 h 437"/>
              <a:gd name="T6" fmla="*/ 105 w 370"/>
              <a:gd name="T7" fmla="*/ 437 h 437"/>
              <a:gd name="T8" fmla="*/ 370 w 370"/>
              <a:gd name="T9" fmla="*/ 283 h 437"/>
              <a:gd name="T10" fmla="*/ 325 w 370"/>
              <a:gd name="T11" fmla="*/ 115 h 437"/>
            </a:gdLst>
            <a:ahLst/>
            <a:cxnLst>
              <a:cxn ang="0">
                <a:pos x="T0" y="T1"/>
              </a:cxn>
              <a:cxn ang="0">
                <a:pos x="T2" y="T3"/>
              </a:cxn>
              <a:cxn ang="0">
                <a:pos x="T4" y="T5"/>
              </a:cxn>
              <a:cxn ang="0">
                <a:pos x="T6" y="T7"/>
              </a:cxn>
              <a:cxn ang="0">
                <a:pos x="T8" y="T9"/>
              </a:cxn>
              <a:cxn ang="0">
                <a:pos x="T10" y="T11"/>
              </a:cxn>
            </a:cxnLst>
            <a:rect l="0" t="0" r="r" b="b"/>
            <a:pathLst>
              <a:path w="370" h="437">
                <a:moveTo>
                  <a:pt x="325" y="115"/>
                </a:moveTo>
                <a:cubicBezTo>
                  <a:pt x="325" y="94"/>
                  <a:pt x="327" y="74"/>
                  <a:pt x="331" y="54"/>
                </a:cubicBezTo>
                <a:cubicBezTo>
                  <a:pt x="28" y="0"/>
                  <a:pt x="28" y="0"/>
                  <a:pt x="28" y="0"/>
                </a:cubicBezTo>
                <a:cubicBezTo>
                  <a:pt x="0" y="157"/>
                  <a:pt x="25" y="299"/>
                  <a:pt x="105" y="437"/>
                </a:cubicBezTo>
                <a:cubicBezTo>
                  <a:pt x="370" y="283"/>
                  <a:pt x="370" y="283"/>
                  <a:pt x="370" y="283"/>
                </a:cubicBezTo>
                <a:cubicBezTo>
                  <a:pt x="342" y="234"/>
                  <a:pt x="325" y="176"/>
                  <a:pt x="325" y="115"/>
                </a:cubicBezTo>
                <a:close/>
              </a:path>
            </a:pathLst>
          </a:custGeom>
          <a:solidFill>
            <a:schemeClr val="accent2"/>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3">
            <a:extLst>
              <a:ext uri="{FF2B5EF4-FFF2-40B4-BE49-F238E27FC236}">
                <a16:creationId xmlns:a16="http://schemas.microsoft.com/office/drawing/2014/main" id="{EA6419DA-4B03-488D-ABA4-510B65A0788F}"/>
              </a:ext>
            </a:extLst>
          </p:cNvPr>
          <p:cNvSpPr>
            <a:spLocks/>
          </p:cNvSpPr>
          <p:nvPr/>
        </p:nvSpPr>
        <p:spPr bwMode="auto">
          <a:xfrm>
            <a:off x="3737076" y="1884683"/>
            <a:ext cx="1558390" cy="1623625"/>
          </a:xfrm>
          <a:custGeom>
            <a:avLst/>
            <a:gdLst>
              <a:gd name="T0" fmla="*/ 421 w 421"/>
              <a:gd name="T1" fmla="*/ 238 h 438"/>
              <a:gd name="T2" fmla="*/ 221 w 421"/>
              <a:gd name="T3" fmla="*/ 0 h 438"/>
              <a:gd name="T4" fmla="*/ 0 w 421"/>
              <a:gd name="T5" fmla="*/ 384 h 438"/>
              <a:gd name="T6" fmla="*/ 303 w 421"/>
              <a:gd name="T7" fmla="*/ 438 h 438"/>
              <a:gd name="T8" fmla="*/ 421 w 421"/>
              <a:gd name="T9" fmla="*/ 238 h 438"/>
            </a:gdLst>
            <a:ahLst/>
            <a:cxnLst>
              <a:cxn ang="0">
                <a:pos x="T0" y="T1"/>
              </a:cxn>
              <a:cxn ang="0">
                <a:pos x="T2" y="T3"/>
              </a:cxn>
              <a:cxn ang="0">
                <a:pos x="T4" y="T5"/>
              </a:cxn>
              <a:cxn ang="0">
                <a:pos x="T6" y="T7"/>
              </a:cxn>
              <a:cxn ang="0">
                <a:pos x="T8" y="T9"/>
              </a:cxn>
            </a:cxnLst>
            <a:rect l="0" t="0" r="r" b="b"/>
            <a:pathLst>
              <a:path w="421" h="438">
                <a:moveTo>
                  <a:pt x="421" y="238"/>
                </a:moveTo>
                <a:cubicBezTo>
                  <a:pt x="221" y="0"/>
                  <a:pt x="221" y="0"/>
                  <a:pt x="221" y="0"/>
                </a:cubicBezTo>
                <a:cubicBezTo>
                  <a:pt x="100" y="103"/>
                  <a:pt x="27" y="228"/>
                  <a:pt x="0" y="384"/>
                </a:cubicBezTo>
                <a:cubicBezTo>
                  <a:pt x="303" y="438"/>
                  <a:pt x="303" y="438"/>
                  <a:pt x="303" y="438"/>
                </a:cubicBezTo>
                <a:cubicBezTo>
                  <a:pt x="318" y="358"/>
                  <a:pt x="360" y="287"/>
                  <a:pt x="421" y="238"/>
                </a:cubicBezTo>
                <a:close/>
              </a:path>
            </a:pathLst>
          </a:custGeom>
          <a:solidFill>
            <a:schemeClr val="accent5"/>
          </a:solidFill>
          <a:ln w="1016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Box 34">
            <a:extLst>
              <a:ext uri="{FF2B5EF4-FFF2-40B4-BE49-F238E27FC236}">
                <a16:creationId xmlns:a16="http://schemas.microsoft.com/office/drawing/2014/main" id="{69B3E992-E253-48EC-A7E4-1F4A432CB0FC}"/>
              </a:ext>
            </a:extLst>
          </p:cNvPr>
          <p:cNvSpPr txBox="1">
            <a:spLocks noChangeArrowheads="1"/>
          </p:cNvSpPr>
          <p:nvPr/>
        </p:nvSpPr>
        <p:spPr bwMode="auto">
          <a:xfrm>
            <a:off x="6346708" y="1836397"/>
            <a:ext cx="68643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4" name="Text Box 35">
            <a:extLst>
              <a:ext uri="{FF2B5EF4-FFF2-40B4-BE49-F238E27FC236}">
                <a16:creationId xmlns:a16="http://schemas.microsoft.com/office/drawing/2014/main" id="{06AA2209-C833-4479-9849-9E659CA6CE44}"/>
              </a:ext>
            </a:extLst>
          </p:cNvPr>
          <p:cNvSpPr txBox="1">
            <a:spLocks noChangeArrowheads="1"/>
          </p:cNvSpPr>
          <p:nvPr/>
        </p:nvSpPr>
        <p:spPr bwMode="auto">
          <a:xfrm>
            <a:off x="7336040" y="2649988"/>
            <a:ext cx="686437" cy="42460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5" name="Text Box 36">
            <a:extLst>
              <a:ext uri="{FF2B5EF4-FFF2-40B4-BE49-F238E27FC236}">
                <a16:creationId xmlns:a16="http://schemas.microsoft.com/office/drawing/2014/main" id="{BEF51AB9-8B0F-43E8-8BB1-8407307E5B87}"/>
              </a:ext>
            </a:extLst>
          </p:cNvPr>
          <p:cNvSpPr txBox="1">
            <a:spLocks noChangeArrowheads="1"/>
          </p:cNvSpPr>
          <p:nvPr/>
        </p:nvSpPr>
        <p:spPr bwMode="auto">
          <a:xfrm>
            <a:off x="7529910" y="3878580"/>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6" name="Text Box 37">
            <a:extLst>
              <a:ext uri="{FF2B5EF4-FFF2-40B4-BE49-F238E27FC236}">
                <a16:creationId xmlns:a16="http://schemas.microsoft.com/office/drawing/2014/main" id="{B765F60F-FDB8-459E-961D-4801D3298D86}"/>
              </a:ext>
            </a:extLst>
          </p:cNvPr>
          <p:cNvSpPr txBox="1">
            <a:spLocks noChangeArrowheads="1"/>
          </p:cNvSpPr>
          <p:nvPr/>
        </p:nvSpPr>
        <p:spPr bwMode="auto">
          <a:xfrm>
            <a:off x="7011656" y="4957707"/>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7" name="Text Box 38">
            <a:extLst>
              <a:ext uri="{FF2B5EF4-FFF2-40B4-BE49-F238E27FC236}">
                <a16:creationId xmlns:a16="http://schemas.microsoft.com/office/drawing/2014/main" id="{6D599185-E99E-4E8D-8156-73953A2D483F}"/>
              </a:ext>
            </a:extLst>
          </p:cNvPr>
          <p:cNvSpPr txBox="1">
            <a:spLocks noChangeArrowheads="1"/>
          </p:cNvSpPr>
          <p:nvPr/>
        </p:nvSpPr>
        <p:spPr bwMode="auto">
          <a:xfrm>
            <a:off x="5754999" y="5334619"/>
            <a:ext cx="68643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8" name="Text Box 39">
            <a:extLst>
              <a:ext uri="{FF2B5EF4-FFF2-40B4-BE49-F238E27FC236}">
                <a16:creationId xmlns:a16="http://schemas.microsoft.com/office/drawing/2014/main" id="{7D4F6B41-5682-4842-B0D6-F934421086A7}"/>
              </a:ext>
            </a:extLst>
          </p:cNvPr>
          <p:cNvSpPr txBox="1">
            <a:spLocks noChangeArrowheads="1"/>
          </p:cNvSpPr>
          <p:nvPr/>
        </p:nvSpPr>
        <p:spPr bwMode="auto">
          <a:xfrm>
            <a:off x="4501039" y="4957707"/>
            <a:ext cx="68643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19" name="Text Box 40">
            <a:extLst>
              <a:ext uri="{FF2B5EF4-FFF2-40B4-BE49-F238E27FC236}">
                <a16:creationId xmlns:a16="http://schemas.microsoft.com/office/drawing/2014/main" id="{A7107AD3-828C-43EA-937A-45C8B21E280E}"/>
              </a:ext>
            </a:extLst>
          </p:cNvPr>
          <p:cNvSpPr txBox="1">
            <a:spLocks noChangeArrowheads="1"/>
          </p:cNvSpPr>
          <p:nvPr/>
        </p:nvSpPr>
        <p:spPr bwMode="auto">
          <a:xfrm>
            <a:off x="3975514" y="3878580"/>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20" name="Text Box 41">
            <a:extLst>
              <a:ext uri="{FF2B5EF4-FFF2-40B4-BE49-F238E27FC236}">
                <a16:creationId xmlns:a16="http://schemas.microsoft.com/office/drawing/2014/main" id="{2E3E0970-629F-4F84-8C6E-3F0A87F209FE}"/>
              </a:ext>
            </a:extLst>
          </p:cNvPr>
          <p:cNvSpPr txBox="1">
            <a:spLocks noChangeArrowheads="1"/>
          </p:cNvSpPr>
          <p:nvPr/>
        </p:nvSpPr>
        <p:spPr bwMode="auto">
          <a:xfrm>
            <a:off x="4173937" y="2649103"/>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
        <p:nvSpPr>
          <p:cNvPr id="22" name="Text Box 42">
            <a:extLst>
              <a:ext uri="{FF2B5EF4-FFF2-40B4-BE49-F238E27FC236}">
                <a16:creationId xmlns:a16="http://schemas.microsoft.com/office/drawing/2014/main" id="{A85626EB-A736-45CB-A3C4-C479E6328D37}"/>
              </a:ext>
            </a:extLst>
          </p:cNvPr>
          <p:cNvSpPr txBox="1">
            <a:spLocks noChangeArrowheads="1"/>
          </p:cNvSpPr>
          <p:nvPr/>
        </p:nvSpPr>
        <p:spPr bwMode="auto">
          <a:xfrm>
            <a:off x="5144221" y="1832772"/>
            <a:ext cx="684667" cy="426370"/>
          </a:xfrm>
          <a:prstGeom prst="rect">
            <a:avLst/>
          </a:prstGeom>
          <a:noFill/>
          <a:ln w="6350">
            <a:noFill/>
            <a:miter lim="800000"/>
            <a:headEnd/>
            <a:tailEnd/>
          </a:ln>
          <a:effectLst/>
        </p:spPr>
        <p:txBody>
          <a:bodyPr lIns="45720" rIns="45720" anchor="ctr" anchorCtr="1"/>
          <a:lstStyle/>
          <a:p>
            <a:pPr eaLnBrk="0" hangingPunct="0">
              <a:spcBef>
                <a:spcPct val="0"/>
              </a:spcBef>
            </a:pPr>
            <a:r>
              <a:rPr lang="en-US" b="1" dirty="0">
                <a:solidFill>
                  <a:schemeClr val="bg1"/>
                </a:solidFill>
              </a:rPr>
              <a:t>Text</a:t>
            </a:r>
          </a:p>
        </p:txBody>
      </p:sp>
    </p:spTree>
    <p:extLst>
      <p:ext uri="{BB962C8B-B14F-4D97-AF65-F5344CB8AC3E}">
        <p14:creationId xmlns:p14="http://schemas.microsoft.com/office/powerpoint/2010/main" val="794716915"/>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Factors</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DE0B2F3E-B47A-4063-BF9B-07A3088DD8C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0" name="Group 13">
            <a:extLst>
              <a:ext uri="{FF2B5EF4-FFF2-40B4-BE49-F238E27FC236}">
                <a16:creationId xmlns:a16="http://schemas.microsoft.com/office/drawing/2014/main" id="{7CEA25CB-B29C-4569-97B5-C7AAD30A378D}"/>
              </a:ext>
            </a:extLst>
          </p:cNvPr>
          <p:cNvGrpSpPr>
            <a:grpSpLocks/>
          </p:cNvGrpSpPr>
          <p:nvPr/>
        </p:nvGrpSpPr>
        <p:grpSpPr bwMode="auto">
          <a:xfrm>
            <a:off x="5105807" y="2708620"/>
            <a:ext cx="1994721" cy="2026499"/>
            <a:chOff x="2712" y="1985"/>
            <a:chExt cx="816" cy="829"/>
          </a:xfrm>
          <a:solidFill>
            <a:schemeClr val="accent3"/>
          </a:solidFill>
        </p:grpSpPr>
        <p:sp>
          <p:nvSpPr>
            <p:cNvPr id="11" name="Oval 14">
              <a:extLst>
                <a:ext uri="{FF2B5EF4-FFF2-40B4-BE49-F238E27FC236}">
                  <a16:creationId xmlns:a16="http://schemas.microsoft.com/office/drawing/2014/main" id="{C6BC790C-8165-43A3-A0E8-B3DA54AE29F8}"/>
                </a:ext>
              </a:extLst>
            </p:cNvPr>
            <p:cNvSpPr>
              <a:spLocks noChangeArrowheads="1"/>
            </p:cNvSpPr>
            <p:nvPr/>
          </p:nvSpPr>
          <p:spPr bwMode="auto">
            <a:xfrm>
              <a:off x="2712" y="1985"/>
              <a:ext cx="816" cy="829"/>
            </a:xfrm>
            <a:prstGeom prst="ellipse">
              <a:avLst/>
            </a:prstGeom>
            <a:grpFill/>
            <a:ln w="6350">
              <a:noFill/>
              <a:round/>
              <a:headEnd/>
              <a:tailEnd/>
            </a:ln>
            <a:effectLst/>
          </p:spPr>
          <p:txBody>
            <a:bodyPr wrap="none" lIns="45720" rIns="45720" anchor="ctr" anchorCtr="1"/>
            <a:lstStyle/>
            <a:p>
              <a:endParaRPr lang="en-US"/>
            </a:p>
          </p:txBody>
        </p:sp>
        <p:sp>
          <p:nvSpPr>
            <p:cNvPr id="12" name="Text Box 15">
              <a:extLst>
                <a:ext uri="{FF2B5EF4-FFF2-40B4-BE49-F238E27FC236}">
                  <a16:creationId xmlns:a16="http://schemas.microsoft.com/office/drawing/2014/main" id="{894D205C-B071-419D-BA24-170BC3E4BAEF}"/>
                </a:ext>
              </a:extLst>
            </p:cNvPr>
            <p:cNvSpPr txBox="1">
              <a:spLocks noChangeArrowheads="1"/>
            </p:cNvSpPr>
            <p:nvPr/>
          </p:nvSpPr>
          <p:spPr bwMode="auto">
            <a:xfrm>
              <a:off x="2990" y="2320"/>
              <a:ext cx="259" cy="161"/>
            </a:xfrm>
            <a:prstGeom prst="rect">
              <a:avLst/>
            </a:prstGeom>
            <a:grpFill/>
            <a:ln w="6350">
              <a:noFill/>
              <a:miter lim="800000"/>
              <a:headEnd/>
              <a:tailEnd/>
            </a:ln>
            <a:effectLst/>
          </p:spPr>
          <p:txBody>
            <a:bodyPr lIns="45720" rIns="45720" anchor="ctr" anchorCtr="1"/>
            <a:lstStyle/>
            <a:p>
              <a:pPr eaLnBrk="0" hangingPunct="0"/>
              <a:r>
                <a:rPr lang="en-US" b="1" dirty="0">
                  <a:solidFill>
                    <a:schemeClr val="bg1"/>
                  </a:solidFill>
                </a:rPr>
                <a:t>Text</a:t>
              </a:r>
            </a:p>
          </p:txBody>
        </p:sp>
      </p:grpSp>
      <p:sp>
        <p:nvSpPr>
          <p:cNvPr id="13" name="AutoShape 16">
            <a:extLst>
              <a:ext uri="{FF2B5EF4-FFF2-40B4-BE49-F238E27FC236}">
                <a16:creationId xmlns:a16="http://schemas.microsoft.com/office/drawing/2014/main" id="{D7F41139-3DAF-4BA5-89E3-6CB7F2A468CC}"/>
              </a:ext>
            </a:extLst>
          </p:cNvPr>
          <p:cNvSpPr>
            <a:spLocks noChangeArrowheads="1"/>
          </p:cNvSpPr>
          <p:nvPr/>
        </p:nvSpPr>
        <p:spPr bwMode="auto">
          <a:xfrm rot="10800000">
            <a:off x="3756437" y="1376362"/>
            <a:ext cx="4693461" cy="4585903"/>
          </a:xfrm>
          <a:custGeom>
            <a:avLst/>
            <a:gdLst>
              <a:gd name="G0" fmla="+- 5400 0 0"/>
              <a:gd name="G1" fmla="+- 10800 0 0"/>
              <a:gd name="G2" fmla="+- 0 0 10800"/>
              <a:gd name="T0" fmla="*/ 0 256 1"/>
              <a:gd name="T1" fmla="*/ 180 256 1"/>
              <a:gd name="G3" fmla="+- 10800 T0 T1"/>
              <a:gd name="T2" fmla="*/ 0 256 1"/>
              <a:gd name="T3" fmla="*/ 90 256 1"/>
              <a:gd name="G4" fmla="+- 10800 T2 T3"/>
              <a:gd name="G5" fmla="*/ G4 2 1"/>
              <a:gd name="T4" fmla="*/ 90 256 1"/>
              <a:gd name="T5" fmla="*/ 0 256 1"/>
              <a:gd name="G6" fmla="+- 10800 T4 T5"/>
              <a:gd name="G7" fmla="*/ G6 2 1"/>
              <a:gd name="G8" fmla="abs 108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0800"/>
              <a:gd name="G21" fmla="sin G19 10800"/>
              <a:gd name="G22" fmla="+- G20 10800 0"/>
              <a:gd name="G23" fmla="+- G21 10800 0"/>
              <a:gd name="G24" fmla="+- 10800 0 G20"/>
              <a:gd name="G25" fmla="+- 5400 10800 0"/>
              <a:gd name="G26" fmla="?: G9 G17 G25"/>
              <a:gd name="G27" fmla="?: G9 0 21600"/>
              <a:gd name="G28" fmla="cos 10800 10800"/>
              <a:gd name="G29" fmla="sin 10800 10800"/>
              <a:gd name="G30" fmla="sin 5400 10800"/>
              <a:gd name="G31" fmla="+- G28 10800 0"/>
              <a:gd name="G32" fmla="+- G29 10800 0"/>
              <a:gd name="G33" fmla="+- G30 10800 0"/>
              <a:gd name="G34" fmla="?: G4 0 G31"/>
              <a:gd name="G35" fmla="?: 10800 G34 0"/>
              <a:gd name="G36" fmla="?: G6 G35 G31"/>
              <a:gd name="G37" fmla="+- 21600 0 G36"/>
              <a:gd name="G38" fmla="?: G4 0 G33"/>
              <a:gd name="G39" fmla="?: 10800 G38 G32"/>
              <a:gd name="G40" fmla="?: G6 G39 0"/>
              <a:gd name="G41" fmla="?: G4 G32 21600"/>
              <a:gd name="G42" fmla="?: G6 G41 G33"/>
              <a:gd name="T12" fmla="*/ 10800 w 21600"/>
              <a:gd name="T13" fmla="*/ 21600 h 21600"/>
              <a:gd name="T14" fmla="*/ 18899 w 21600"/>
              <a:gd name="T15" fmla="*/ 10823 h 21600"/>
              <a:gd name="T16" fmla="*/ 10800 w 21600"/>
              <a:gd name="T17" fmla="*/ 16200 h 21600"/>
              <a:gd name="T18" fmla="*/ 2701 w 21600"/>
              <a:gd name="T19" fmla="*/ 10823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6199" y="10815"/>
                </a:moveTo>
                <a:cubicBezTo>
                  <a:pt x="16191" y="13791"/>
                  <a:pt x="13776" y="16199"/>
                  <a:pt x="10800" y="16200"/>
                </a:cubicBezTo>
                <a:cubicBezTo>
                  <a:pt x="7823" y="16200"/>
                  <a:pt x="5408" y="13791"/>
                  <a:pt x="5400" y="10815"/>
                </a:cubicBezTo>
                <a:lnTo>
                  <a:pt x="0" y="10831"/>
                </a:lnTo>
                <a:cubicBezTo>
                  <a:pt x="17" y="16783"/>
                  <a:pt x="4847" y="21600"/>
                  <a:pt x="10800" y="21600"/>
                </a:cubicBezTo>
                <a:cubicBezTo>
                  <a:pt x="16752" y="21599"/>
                  <a:pt x="21582" y="16783"/>
                  <a:pt x="21599" y="10831"/>
                </a:cubicBezTo>
                <a:close/>
              </a:path>
            </a:pathLst>
          </a:custGeom>
          <a:pattFill prst="wdUpDiag">
            <a:fgClr>
              <a:schemeClr val="tx2">
                <a:lumMod val="20000"/>
                <a:lumOff val="80000"/>
              </a:schemeClr>
            </a:fgClr>
            <a:bgClr>
              <a:schemeClr val="bg1"/>
            </a:bgClr>
          </a:pattFill>
          <a:ln w="9525">
            <a:noFill/>
            <a:miter lim="800000"/>
            <a:headEnd/>
            <a:tailEnd/>
          </a:ln>
          <a:effectLst/>
        </p:spPr>
        <p:txBody>
          <a:bodyPr rot="10800000" wrap="none" lIns="45720" rIns="45720"/>
          <a:lstStyle/>
          <a:p>
            <a:pPr eaLnBrk="0" hangingPunct="0"/>
            <a:endParaRPr lang="en-GB" dirty="0">
              <a:solidFill>
                <a:schemeClr val="tx1"/>
              </a:solidFill>
            </a:endParaRPr>
          </a:p>
          <a:p>
            <a:pPr eaLnBrk="0" hangingPunct="0"/>
            <a:endParaRPr lang="en-GB" dirty="0">
              <a:solidFill>
                <a:schemeClr val="tx1"/>
              </a:solidFill>
            </a:endParaRPr>
          </a:p>
        </p:txBody>
      </p:sp>
      <p:sp>
        <p:nvSpPr>
          <p:cNvPr id="14" name="AutoShape 18">
            <a:extLst>
              <a:ext uri="{FF2B5EF4-FFF2-40B4-BE49-F238E27FC236}">
                <a16:creationId xmlns:a16="http://schemas.microsoft.com/office/drawing/2014/main" id="{DBA19EFC-DF1E-4B26-917A-A5547543A970}"/>
              </a:ext>
            </a:extLst>
          </p:cNvPr>
          <p:cNvSpPr>
            <a:spLocks noChangeArrowheads="1"/>
          </p:cNvSpPr>
          <p:nvPr/>
        </p:nvSpPr>
        <p:spPr bwMode="auto">
          <a:xfrm rot="10800000">
            <a:off x="3756437" y="1483920"/>
            <a:ext cx="4693461" cy="4585903"/>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chemeClr val="accent1"/>
          </a:solidFill>
          <a:ln w="9525">
            <a:noFill/>
            <a:miter lim="800000"/>
            <a:headEnd/>
            <a:tailEnd/>
          </a:ln>
          <a:effectLst/>
        </p:spPr>
        <p:txBody>
          <a:bodyPr rot="10800000" wrap="none" lIns="45720" rIns="45720" anchor="b"/>
          <a:lstStyle/>
          <a:p>
            <a:pPr eaLnBrk="0" hangingPunct="0"/>
            <a:r>
              <a:rPr lang="en-GB">
                <a:solidFill>
                  <a:schemeClr val="bg1"/>
                </a:solidFill>
              </a:rPr>
              <a:t>Text</a:t>
            </a:r>
          </a:p>
          <a:p>
            <a:pPr eaLnBrk="0" hangingPunct="0"/>
            <a:endParaRPr lang="en-GB">
              <a:solidFill>
                <a:schemeClr val="tx1"/>
              </a:solidFill>
            </a:endParaRPr>
          </a:p>
        </p:txBody>
      </p:sp>
    </p:spTree>
    <p:extLst>
      <p:ext uri="{BB962C8B-B14F-4D97-AF65-F5344CB8AC3E}">
        <p14:creationId xmlns:p14="http://schemas.microsoft.com/office/powerpoint/2010/main" val="3077287995"/>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pPr>
              <a:spcBef>
                <a:spcPct val="0"/>
              </a:spcBef>
              <a:buClr>
                <a:srgbClr val="000000"/>
              </a:buClr>
              <a:buSzPct val="100000"/>
            </a:pPr>
            <a:r>
              <a:rPr lang="en-US" dirty="0"/>
              <a:t>Linked Circles 1</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D3E76F0A-0609-4A89-BBDE-4262FFE02F5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8" name="Freeform 20">
            <a:extLst>
              <a:ext uri="{FF2B5EF4-FFF2-40B4-BE49-F238E27FC236}">
                <a16:creationId xmlns:a16="http://schemas.microsoft.com/office/drawing/2014/main" id="{414DF820-0891-4739-9188-214769AA9621}"/>
              </a:ext>
            </a:extLst>
          </p:cNvPr>
          <p:cNvSpPr>
            <a:spLocks/>
          </p:cNvSpPr>
          <p:nvPr/>
        </p:nvSpPr>
        <p:spPr bwMode="auto">
          <a:xfrm>
            <a:off x="4316214" y="1894407"/>
            <a:ext cx="3683130" cy="3541001"/>
          </a:xfrm>
          <a:custGeom>
            <a:avLst/>
            <a:gdLst/>
            <a:ahLst/>
            <a:cxnLst>
              <a:cxn ang="0">
                <a:pos x="0" y="492"/>
              </a:cxn>
              <a:cxn ang="0">
                <a:pos x="239" y="1261"/>
              </a:cxn>
              <a:cxn ang="0">
                <a:pos x="992" y="1261"/>
              </a:cxn>
              <a:cxn ang="0">
                <a:pos x="1246" y="485"/>
              </a:cxn>
              <a:cxn ang="0">
                <a:pos x="619" y="0"/>
              </a:cxn>
              <a:cxn ang="0">
                <a:pos x="0" y="492"/>
              </a:cxn>
            </a:cxnLst>
            <a:rect l="0" t="0" r="r" b="b"/>
            <a:pathLst>
              <a:path w="1247" h="1262">
                <a:moveTo>
                  <a:pt x="0" y="492"/>
                </a:moveTo>
                <a:lnTo>
                  <a:pt x="239" y="1261"/>
                </a:lnTo>
                <a:lnTo>
                  <a:pt x="992" y="1261"/>
                </a:lnTo>
                <a:lnTo>
                  <a:pt x="1246" y="485"/>
                </a:lnTo>
                <a:lnTo>
                  <a:pt x="619" y="0"/>
                </a:lnTo>
                <a:lnTo>
                  <a:pt x="0" y="492"/>
                </a:lnTo>
              </a:path>
            </a:pathLst>
          </a:custGeom>
          <a:noFill/>
          <a:ln w="19050" cap="rnd" cmpd="sng">
            <a:solidFill>
              <a:schemeClr val="tx2">
                <a:lumMod val="60000"/>
                <a:lumOff val="40000"/>
              </a:schemeClr>
            </a:solidFill>
            <a:prstDash val="sysDot"/>
            <a:round/>
            <a:headEnd/>
            <a:tailEnd/>
          </a:ln>
          <a:effectLst/>
        </p:spPr>
        <p:txBody>
          <a:bodyPr lIns="45720" rIns="45720" anchor="ctr" anchorCtr="1"/>
          <a:lstStyle/>
          <a:p>
            <a:endParaRPr lang="en-US"/>
          </a:p>
        </p:txBody>
      </p:sp>
      <p:grpSp>
        <p:nvGrpSpPr>
          <p:cNvPr id="19" name="Group 18">
            <a:extLst>
              <a:ext uri="{FF2B5EF4-FFF2-40B4-BE49-F238E27FC236}">
                <a16:creationId xmlns:a16="http://schemas.microsoft.com/office/drawing/2014/main" id="{D674FC28-68E8-4CE0-8D55-53970D715682}"/>
              </a:ext>
            </a:extLst>
          </p:cNvPr>
          <p:cNvGrpSpPr/>
          <p:nvPr/>
        </p:nvGrpSpPr>
        <p:grpSpPr>
          <a:xfrm>
            <a:off x="4275712" y="1912125"/>
            <a:ext cx="3721102" cy="3500505"/>
            <a:chOff x="4334668" y="2154201"/>
            <a:chExt cx="3493299" cy="3286207"/>
          </a:xfrm>
        </p:grpSpPr>
        <p:sp>
          <p:nvSpPr>
            <p:cNvPr id="20" name="Line 24">
              <a:extLst>
                <a:ext uri="{FF2B5EF4-FFF2-40B4-BE49-F238E27FC236}">
                  <a16:creationId xmlns:a16="http://schemas.microsoft.com/office/drawing/2014/main" id="{7535F5D0-8835-40EE-BA6D-4AF56E722C35}"/>
                </a:ext>
              </a:extLst>
            </p:cNvPr>
            <p:cNvSpPr>
              <a:spLocks noChangeShapeType="1"/>
            </p:cNvSpPr>
            <p:nvPr/>
          </p:nvSpPr>
          <p:spPr bwMode="auto">
            <a:xfrm flipV="1">
              <a:off x="4990553" y="2154201"/>
              <a:ext cx="1059872" cy="3286207"/>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sp>
          <p:nvSpPr>
            <p:cNvPr id="22" name="Line 21">
              <a:extLst>
                <a:ext uri="{FF2B5EF4-FFF2-40B4-BE49-F238E27FC236}">
                  <a16:creationId xmlns:a16="http://schemas.microsoft.com/office/drawing/2014/main" id="{AEE297FA-66A8-453B-BE58-E6A5EF20AD3F}"/>
                </a:ext>
              </a:extLst>
            </p:cNvPr>
            <p:cNvSpPr>
              <a:spLocks noChangeShapeType="1"/>
            </p:cNvSpPr>
            <p:nvPr/>
          </p:nvSpPr>
          <p:spPr bwMode="auto">
            <a:xfrm>
              <a:off x="4353679" y="3434942"/>
              <a:ext cx="2728100" cy="2005465"/>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grpSp>
          <p:nvGrpSpPr>
            <p:cNvPr id="27" name="Group 26">
              <a:extLst>
                <a:ext uri="{FF2B5EF4-FFF2-40B4-BE49-F238E27FC236}">
                  <a16:creationId xmlns:a16="http://schemas.microsoft.com/office/drawing/2014/main" id="{77131743-8DB8-4B41-96FA-C752D2EFD234}"/>
                </a:ext>
              </a:extLst>
            </p:cNvPr>
            <p:cNvGrpSpPr/>
            <p:nvPr/>
          </p:nvGrpSpPr>
          <p:grpSpPr>
            <a:xfrm>
              <a:off x="4334668" y="2175586"/>
              <a:ext cx="3493299" cy="3222051"/>
              <a:chOff x="4334668" y="2175586"/>
              <a:chExt cx="3493299" cy="3222051"/>
            </a:xfrm>
          </p:grpSpPr>
          <p:sp>
            <p:nvSpPr>
              <p:cNvPr id="28" name="Line 22">
                <a:extLst>
                  <a:ext uri="{FF2B5EF4-FFF2-40B4-BE49-F238E27FC236}">
                    <a16:creationId xmlns:a16="http://schemas.microsoft.com/office/drawing/2014/main" id="{E91FA3F8-BB7B-44E4-B7A5-33B694F2CE63}"/>
                  </a:ext>
                </a:extLst>
              </p:cNvPr>
              <p:cNvSpPr>
                <a:spLocks noChangeShapeType="1"/>
              </p:cNvSpPr>
              <p:nvPr/>
            </p:nvSpPr>
            <p:spPr bwMode="auto">
              <a:xfrm flipV="1">
                <a:off x="5014317" y="3351777"/>
                <a:ext cx="2813650" cy="2045860"/>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sp>
            <p:nvSpPr>
              <p:cNvPr id="29" name="Line 23">
                <a:extLst>
                  <a:ext uri="{FF2B5EF4-FFF2-40B4-BE49-F238E27FC236}">
                    <a16:creationId xmlns:a16="http://schemas.microsoft.com/office/drawing/2014/main" id="{45431569-96C4-4624-9F6F-F40BD30ED283}"/>
                  </a:ext>
                </a:extLst>
              </p:cNvPr>
              <p:cNvSpPr>
                <a:spLocks noChangeShapeType="1"/>
              </p:cNvSpPr>
              <p:nvPr/>
            </p:nvSpPr>
            <p:spPr bwMode="auto">
              <a:xfrm flipH="1" flipV="1">
                <a:off x="6069435" y="2175586"/>
                <a:ext cx="1031355" cy="3222051"/>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sp>
            <p:nvSpPr>
              <p:cNvPr id="30" name="Line 25">
                <a:extLst>
                  <a:ext uri="{FF2B5EF4-FFF2-40B4-BE49-F238E27FC236}">
                    <a16:creationId xmlns:a16="http://schemas.microsoft.com/office/drawing/2014/main" id="{D59BFD22-56A2-425F-B197-F15539897C6F}"/>
                  </a:ext>
                </a:extLst>
              </p:cNvPr>
              <p:cNvSpPr>
                <a:spLocks noChangeShapeType="1"/>
              </p:cNvSpPr>
              <p:nvPr/>
            </p:nvSpPr>
            <p:spPr bwMode="auto">
              <a:xfrm>
                <a:off x="4334668" y="3434942"/>
                <a:ext cx="3493299" cy="0"/>
              </a:xfrm>
              <a:prstGeom prst="line">
                <a:avLst/>
              </a:prstGeom>
              <a:noFill/>
              <a:ln w="19050" cap="rnd">
                <a:solidFill>
                  <a:schemeClr val="tx2">
                    <a:lumMod val="60000"/>
                    <a:lumOff val="40000"/>
                  </a:schemeClr>
                </a:solidFill>
                <a:prstDash val="sysDot"/>
                <a:round/>
                <a:headEnd type="none" w="sm" len="sm"/>
                <a:tailEnd type="none" w="sm" len="sm"/>
              </a:ln>
              <a:effectLst/>
            </p:spPr>
            <p:txBody>
              <a:bodyPr wrap="none" lIns="45720" rIns="45720" anchor="ctr" anchorCtr="1"/>
              <a:lstStyle/>
              <a:p>
                <a:endParaRPr lang="en-US"/>
              </a:p>
            </p:txBody>
          </p:sp>
        </p:grpSp>
      </p:grpSp>
      <p:sp>
        <p:nvSpPr>
          <p:cNvPr id="31" name="Oval 26">
            <a:extLst>
              <a:ext uri="{FF2B5EF4-FFF2-40B4-BE49-F238E27FC236}">
                <a16:creationId xmlns:a16="http://schemas.microsoft.com/office/drawing/2014/main" id="{8F7FD5B6-4B33-4AB5-9844-67BBE7F78ABE}"/>
              </a:ext>
            </a:extLst>
          </p:cNvPr>
          <p:cNvSpPr>
            <a:spLocks noChangeArrowheads="1"/>
          </p:cNvSpPr>
          <p:nvPr/>
        </p:nvSpPr>
        <p:spPr bwMode="auto">
          <a:xfrm>
            <a:off x="4307842" y="4772528"/>
            <a:ext cx="1303780" cy="1303778"/>
          </a:xfrm>
          <a:prstGeom prst="ellipse">
            <a:avLst/>
          </a:prstGeom>
          <a:solidFill>
            <a:schemeClr val="accent5"/>
          </a:solidFill>
          <a:ln w="6350">
            <a:noFill/>
            <a:round/>
            <a:headEnd/>
            <a:tailEnd/>
          </a:ln>
          <a:effectLst/>
        </p:spPr>
        <p:txBody>
          <a:bodyPr wrap="none" lIns="45720" rIns="45720" anchor="ctr" anchorCtr="1"/>
          <a:lstStyle/>
          <a:p>
            <a:pPr eaLnBrk="0" hangingPunct="0"/>
            <a:r>
              <a:rPr lang="en-US" b="1">
                <a:solidFill>
                  <a:schemeClr val="bg1"/>
                </a:solidFill>
              </a:rPr>
              <a:t>Text</a:t>
            </a:r>
          </a:p>
        </p:txBody>
      </p:sp>
      <p:sp>
        <p:nvSpPr>
          <p:cNvPr id="41" name="Oval 27">
            <a:extLst>
              <a:ext uri="{FF2B5EF4-FFF2-40B4-BE49-F238E27FC236}">
                <a16:creationId xmlns:a16="http://schemas.microsoft.com/office/drawing/2014/main" id="{61602B35-DE32-4D52-A8B3-E72AF88584C6}"/>
              </a:ext>
            </a:extLst>
          </p:cNvPr>
          <p:cNvSpPr>
            <a:spLocks noChangeArrowheads="1"/>
          </p:cNvSpPr>
          <p:nvPr/>
        </p:nvSpPr>
        <p:spPr bwMode="auto">
          <a:xfrm>
            <a:off x="3650034" y="2628310"/>
            <a:ext cx="1303780" cy="1303778"/>
          </a:xfrm>
          <a:prstGeom prst="ellipse">
            <a:avLst/>
          </a:prstGeom>
          <a:solidFill>
            <a:schemeClr val="accent6"/>
          </a:solidFill>
          <a:ln w="6350">
            <a:noFill/>
            <a:round/>
            <a:headEnd/>
            <a:tailEnd/>
          </a:ln>
          <a:effectLst/>
        </p:spPr>
        <p:txBody>
          <a:bodyPr wrap="none" lIns="45720" rIns="45720" anchor="ctr" anchorCtr="1"/>
          <a:lstStyle/>
          <a:p>
            <a:pPr eaLnBrk="0" hangingPunct="0"/>
            <a:r>
              <a:rPr lang="en-US" b="1">
                <a:solidFill>
                  <a:schemeClr val="bg1"/>
                </a:solidFill>
              </a:rPr>
              <a:t>Text</a:t>
            </a:r>
          </a:p>
        </p:txBody>
      </p:sp>
      <p:sp>
        <p:nvSpPr>
          <p:cNvPr id="42" name="Oval 28">
            <a:extLst>
              <a:ext uri="{FF2B5EF4-FFF2-40B4-BE49-F238E27FC236}">
                <a16:creationId xmlns:a16="http://schemas.microsoft.com/office/drawing/2014/main" id="{D9520CEF-DD52-47B8-BC0E-BB3DD29DAB5D}"/>
              </a:ext>
            </a:extLst>
          </p:cNvPr>
          <p:cNvSpPr>
            <a:spLocks noChangeArrowheads="1"/>
          </p:cNvSpPr>
          <p:nvPr/>
        </p:nvSpPr>
        <p:spPr bwMode="auto">
          <a:xfrm>
            <a:off x="5449282" y="1216306"/>
            <a:ext cx="1303780" cy="1303778"/>
          </a:xfrm>
          <a:prstGeom prst="ellipse">
            <a:avLst/>
          </a:prstGeom>
          <a:solidFill>
            <a:schemeClr val="accent1"/>
          </a:solidFill>
          <a:ln w="6350">
            <a:noFill/>
            <a:round/>
            <a:headEnd/>
            <a:tailEnd/>
          </a:ln>
          <a:effectLst/>
        </p:spPr>
        <p:txBody>
          <a:bodyPr wrap="none" lIns="45720" rIns="45720" anchor="ctr" anchorCtr="1"/>
          <a:lstStyle/>
          <a:p>
            <a:pPr eaLnBrk="0" hangingPunct="0"/>
            <a:r>
              <a:rPr lang="en-US" b="1" dirty="0">
                <a:solidFill>
                  <a:schemeClr val="bg1"/>
                </a:solidFill>
              </a:rPr>
              <a:t>Text</a:t>
            </a:r>
          </a:p>
        </p:txBody>
      </p:sp>
      <p:sp>
        <p:nvSpPr>
          <p:cNvPr id="43" name="Oval 29">
            <a:extLst>
              <a:ext uri="{FF2B5EF4-FFF2-40B4-BE49-F238E27FC236}">
                <a16:creationId xmlns:a16="http://schemas.microsoft.com/office/drawing/2014/main" id="{ED857CA3-ACCD-4497-AFA3-DD1AA3295AC4}"/>
              </a:ext>
            </a:extLst>
          </p:cNvPr>
          <p:cNvSpPr>
            <a:spLocks noChangeArrowheads="1"/>
          </p:cNvSpPr>
          <p:nvPr/>
        </p:nvSpPr>
        <p:spPr bwMode="auto">
          <a:xfrm>
            <a:off x="7250221" y="2628310"/>
            <a:ext cx="1303780" cy="1303778"/>
          </a:xfrm>
          <a:prstGeom prst="ellipse">
            <a:avLst/>
          </a:prstGeom>
          <a:solidFill>
            <a:schemeClr val="accent3"/>
          </a:solidFill>
          <a:ln w="6350">
            <a:noFill/>
            <a:round/>
            <a:headEnd/>
            <a:tailEnd/>
          </a:ln>
          <a:effectLst/>
        </p:spPr>
        <p:txBody>
          <a:bodyPr wrap="none" lIns="45720" rIns="45720" anchor="ctr" anchorCtr="1"/>
          <a:lstStyle/>
          <a:p>
            <a:pPr eaLnBrk="0" hangingPunct="0"/>
            <a:r>
              <a:rPr lang="en-GB" b="1">
                <a:solidFill>
                  <a:schemeClr val="bg1"/>
                </a:solidFill>
              </a:rPr>
              <a:t>Text</a:t>
            </a:r>
            <a:endParaRPr lang="en-US" b="1">
              <a:solidFill>
                <a:schemeClr val="bg1"/>
              </a:solidFill>
            </a:endParaRPr>
          </a:p>
        </p:txBody>
      </p:sp>
      <p:sp>
        <p:nvSpPr>
          <p:cNvPr id="44" name="Oval 30">
            <a:extLst>
              <a:ext uri="{FF2B5EF4-FFF2-40B4-BE49-F238E27FC236}">
                <a16:creationId xmlns:a16="http://schemas.microsoft.com/office/drawing/2014/main" id="{C3F449DF-AE3F-46B7-8281-9512AE60DE67}"/>
              </a:ext>
            </a:extLst>
          </p:cNvPr>
          <p:cNvSpPr>
            <a:spLocks noChangeArrowheads="1"/>
          </p:cNvSpPr>
          <p:nvPr/>
        </p:nvSpPr>
        <p:spPr bwMode="auto">
          <a:xfrm>
            <a:off x="6595796" y="4772528"/>
            <a:ext cx="1303780" cy="1303778"/>
          </a:xfrm>
          <a:prstGeom prst="ellipse">
            <a:avLst/>
          </a:prstGeom>
          <a:solidFill>
            <a:schemeClr val="accent2"/>
          </a:solidFill>
          <a:ln w="6350">
            <a:noFill/>
            <a:round/>
            <a:headEnd/>
            <a:tailEnd/>
          </a:ln>
          <a:effectLst/>
        </p:spPr>
        <p:txBody>
          <a:bodyPr wrap="none" lIns="45720" rIns="45720" anchor="ctr" anchorCtr="1"/>
          <a:lstStyle/>
          <a:p>
            <a:pPr eaLnBrk="0" hangingPunct="0"/>
            <a:r>
              <a:rPr lang="en-US" b="1">
                <a:solidFill>
                  <a:schemeClr val="bg1"/>
                </a:solidFill>
              </a:rPr>
              <a:t>Text</a:t>
            </a:r>
          </a:p>
        </p:txBody>
      </p:sp>
    </p:spTree>
    <p:extLst>
      <p:ext uri="{BB962C8B-B14F-4D97-AF65-F5344CB8AC3E}">
        <p14:creationId xmlns:p14="http://schemas.microsoft.com/office/powerpoint/2010/main" val="13342674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AB0F0EF-A655-6243-9C9A-5DA7804CE08E}"/>
              </a:ext>
            </a:extLst>
          </p:cNvPr>
          <p:cNvSpPr>
            <a:spLocks noGrp="1"/>
          </p:cNvSpPr>
          <p:nvPr>
            <p:ph type="body" sz="quarter" idx="16"/>
          </p:nvPr>
        </p:nvSpPr>
        <p:spPr/>
        <p:txBody>
          <a:bodyPr/>
          <a:lstStyle/>
          <a:p>
            <a:endParaRPr lang="en-US"/>
          </a:p>
        </p:txBody>
      </p:sp>
      <p:sp>
        <p:nvSpPr>
          <p:cNvPr id="4" name="Picture Placeholder 3">
            <a:extLst>
              <a:ext uri="{FF2B5EF4-FFF2-40B4-BE49-F238E27FC236}">
                <a16:creationId xmlns:a16="http://schemas.microsoft.com/office/drawing/2014/main" id="{6752D963-4AD1-0342-9B45-4E8CC3D22782}"/>
              </a:ext>
            </a:extLst>
          </p:cNvPr>
          <p:cNvSpPr>
            <a:spLocks noGrp="1"/>
          </p:cNvSpPr>
          <p:nvPr>
            <p:ph type="pic" sz="quarter" idx="13"/>
          </p:nvPr>
        </p:nvSpPr>
        <p:spPr/>
      </p:sp>
      <p:sp>
        <p:nvSpPr>
          <p:cNvPr id="3" name="Title 2">
            <a:extLst>
              <a:ext uri="{FF2B5EF4-FFF2-40B4-BE49-F238E27FC236}">
                <a16:creationId xmlns:a16="http://schemas.microsoft.com/office/drawing/2014/main" id="{C773F976-3F8C-6F4C-8970-993B318DD2DD}"/>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00021314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sz="3600" b="1" dirty="0"/>
              <a:t>Linked Circles 2</a:t>
            </a:r>
          </a:p>
        </p:txBody>
      </p:sp>
      <p:sp>
        <p:nvSpPr>
          <p:cNvPr id="21" name="Freeform: Shape 20">
            <a:hlinkClick r:id="rId18"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8" action="ppaction://hlinksldjump"/>
            <a:extLst>
              <a:ext uri="{FF2B5EF4-FFF2-40B4-BE49-F238E27FC236}">
                <a16:creationId xmlns:a16="http://schemas.microsoft.com/office/drawing/2014/main" id="{900396F6-09B4-44B8-9983-D6A2A2CAB11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20" name="AutoShape 37">
            <a:extLst>
              <a:ext uri="{FF2B5EF4-FFF2-40B4-BE49-F238E27FC236}">
                <a16:creationId xmlns:a16="http://schemas.microsoft.com/office/drawing/2014/main" id="{3F97DBAF-AB7A-4022-BC2B-CF49EF06F5BB}"/>
              </a:ext>
            </a:extLst>
          </p:cNvPr>
          <p:cNvCxnSpPr>
            <a:cxnSpLocks noChangeShapeType="1"/>
          </p:cNvCxnSpPr>
          <p:nvPr>
            <p:custDataLst>
              <p:tags r:id="rId1"/>
            </p:custDataLst>
          </p:nvPr>
        </p:nvCxnSpPr>
        <p:spPr bwMode="auto">
          <a:xfrm flipH="1" flipV="1">
            <a:off x="6397634" y="4402560"/>
            <a:ext cx="285467" cy="696985"/>
          </a:xfrm>
          <a:prstGeom prst="straightConnector1">
            <a:avLst/>
          </a:prstGeom>
          <a:noFill/>
          <a:ln w="19050" cap="rnd">
            <a:solidFill>
              <a:schemeClr val="tx2">
                <a:lumMod val="60000"/>
                <a:lumOff val="40000"/>
              </a:schemeClr>
            </a:solidFill>
            <a:prstDash val="sysDot"/>
            <a:round/>
            <a:headEnd/>
            <a:tailEnd/>
          </a:ln>
          <a:effectLst/>
        </p:spPr>
      </p:cxnSp>
      <p:cxnSp>
        <p:nvCxnSpPr>
          <p:cNvPr id="22" name="AutoShape 38">
            <a:extLst>
              <a:ext uri="{FF2B5EF4-FFF2-40B4-BE49-F238E27FC236}">
                <a16:creationId xmlns:a16="http://schemas.microsoft.com/office/drawing/2014/main" id="{EAEC8864-EEFD-451F-9536-99081DC278D5}"/>
              </a:ext>
            </a:extLst>
          </p:cNvPr>
          <p:cNvCxnSpPr>
            <a:cxnSpLocks noChangeShapeType="1"/>
          </p:cNvCxnSpPr>
          <p:nvPr>
            <p:custDataLst>
              <p:tags r:id="rId2"/>
            </p:custDataLst>
          </p:nvPr>
        </p:nvCxnSpPr>
        <p:spPr bwMode="auto">
          <a:xfrm flipV="1">
            <a:off x="5587574" y="4376609"/>
            <a:ext cx="292882" cy="717376"/>
          </a:xfrm>
          <a:prstGeom prst="straightConnector1">
            <a:avLst/>
          </a:prstGeom>
          <a:noFill/>
          <a:ln w="19050" cap="rnd">
            <a:solidFill>
              <a:schemeClr val="tx2">
                <a:lumMod val="60000"/>
                <a:lumOff val="40000"/>
              </a:schemeClr>
            </a:solidFill>
            <a:prstDash val="sysDot"/>
            <a:round/>
            <a:headEnd/>
            <a:tailEnd/>
          </a:ln>
          <a:effectLst/>
        </p:spPr>
      </p:cxnSp>
      <p:cxnSp>
        <p:nvCxnSpPr>
          <p:cNvPr id="23" name="AutoShape 39">
            <a:extLst>
              <a:ext uri="{FF2B5EF4-FFF2-40B4-BE49-F238E27FC236}">
                <a16:creationId xmlns:a16="http://schemas.microsoft.com/office/drawing/2014/main" id="{B2BAABA9-743A-4CC9-AD46-A848FAEBBD9B}"/>
              </a:ext>
            </a:extLst>
          </p:cNvPr>
          <p:cNvCxnSpPr>
            <a:cxnSpLocks noChangeShapeType="1"/>
          </p:cNvCxnSpPr>
          <p:nvPr>
            <p:custDataLst>
              <p:tags r:id="rId3"/>
            </p:custDataLst>
          </p:nvPr>
        </p:nvCxnSpPr>
        <p:spPr bwMode="auto">
          <a:xfrm flipH="1" flipV="1">
            <a:off x="6898375" y="3870510"/>
            <a:ext cx="763718" cy="257662"/>
          </a:xfrm>
          <a:prstGeom prst="straightConnector1">
            <a:avLst/>
          </a:prstGeom>
          <a:noFill/>
          <a:ln w="19050" cap="rnd">
            <a:solidFill>
              <a:schemeClr val="tx2">
                <a:lumMod val="60000"/>
                <a:lumOff val="40000"/>
              </a:schemeClr>
            </a:solidFill>
            <a:prstDash val="sysDot"/>
            <a:round/>
            <a:headEnd/>
            <a:tailEnd/>
          </a:ln>
          <a:effectLst/>
        </p:spPr>
      </p:cxnSp>
      <p:cxnSp>
        <p:nvCxnSpPr>
          <p:cNvPr id="24" name="AutoShape 40">
            <a:extLst>
              <a:ext uri="{FF2B5EF4-FFF2-40B4-BE49-F238E27FC236}">
                <a16:creationId xmlns:a16="http://schemas.microsoft.com/office/drawing/2014/main" id="{757FD050-EF0E-4ED1-9B4B-9AFF3ACEC5CC}"/>
              </a:ext>
            </a:extLst>
          </p:cNvPr>
          <p:cNvCxnSpPr>
            <a:cxnSpLocks noChangeShapeType="1"/>
          </p:cNvCxnSpPr>
          <p:nvPr>
            <p:custDataLst>
              <p:tags r:id="rId4"/>
            </p:custDataLst>
          </p:nvPr>
        </p:nvCxnSpPr>
        <p:spPr bwMode="auto">
          <a:xfrm flipH="1">
            <a:off x="4703366" y="3877968"/>
            <a:ext cx="630253" cy="257662"/>
          </a:xfrm>
          <a:prstGeom prst="straightConnector1">
            <a:avLst/>
          </a:prstGeom>
          <a:noFill/>
          <a:ln w="19050" cap="rnd">
            <a:solidFill>
              <a:schemeClr val="tx2">
                <a:lumMod val="60000"/>
                <a:lumOff val="40000"/>
              </a:schemeClr>
            </a:solidFill>
            <a:prstDash val="sysDot"/>
            <a:round/>
            <a:headEnd/>
            <a:tailEnd/>
          </a:ln>
          <a:effectLst/>
        </p:spPr>
      </p:cxnSp>
      <p:cxnSp>
        <p:nvCxnSpPr>
          <p:cNvPr id="25" name="AutoShape 41">
            <a:extLst>
              <a:ext uri="{FF2B5EF4-FFF2-40B4-BE49-F238E27FC236}">
                <a16:creationId xmlns:a16="http://schemas.microsoft.com/office/drawing/2014/main" id="{A1CC44E6-362A-4ABC-9790-E06DA66F81F2}"/>
              </a:ext>
            </a:extLst>
          </p:cNvPr>
          <p:cNvCxnSpPr>
            <a:cxnSpLocks noChangeShapeType="1"/>
            <a:stCxn id="35" idx="1"/>
          </p:cNvCxnSpPr>
          <p:nvPr>
            <p:custDataLst>
              <p:tags r:id="rId5"/>
            </p:custDataLst>
          </p:nvPr>
        </p:nvCxnSpPr>
        <p:spPr bwMode="auto">
          <a:xfrm flipH="1" flipV="1">
            <a:off x="4966589" y="2726830"/>
            <a:ext cx="569080" cy="318833"/>
          </a:xfrm>
          <a:prstGeom prst="straightConnector1">
            <a:avLst/>
          </a:prstGeom>
          <a:noFill/>
          <a:ln w="19050" cap="rnd">
            <a:solidFill>
              <a:schemeClr val="tx2">
                <a:lumMod val="60000"/>
                <a:lumOff val="40000"/>
              </a:schemeClr>
            </a:solidFill>
            <a:prstDash val="sysDot"/>
            <a:round/>
            <a:headEnd/>
            <a:tailEnd/>
          </a:ln>
          <a:effectLst/>
        </p:spPr>
      </p:cxnSp>
      <p:cxnSp>
        <p:nvCxnSpPr>
          <p:cNvPr id="26" name="AutoShape 42">
            <a:extLst>
              <a:ext uri="{FF2B5EF4-FFF2-40B4-BE49-F238E27FC236}">
                <a16:creationId xmlns:a16="http://schemas.microsoft.com/office/drawing/2014/main" id="{0DA09875-CE8A-46C3-B3F9-D12E417DC4E8}"/>
              </a:ext>
            </a:extLst>
          </p:cNvPr>
          <p:cNvCxnSpPr>
            <a:cxnSpLocks noChangeShapeType="1"/>
          </p:cNvCxnSpPr>
          <p:nvPr>
            <p:custDataLst>
              <p:tags r:id="rId6"/>
            </p:custDataLst>
          </p:nvPr>
        </p:nvCxnSpPr>
        <p:spPr bwMode="auto">
          <a:xfrm flipV="1">
            <a:off x="6158770" y="2278369"/>
            <a:ext cx="0" cy="528299"/>
          </a:xfrm>
          <a:prstGeom prst="straightConnector1">
            <a:avLst/>
          </a:prstGeom>
          <a:noFill/>
          <a:ln w="19050" cap="rnd">
            <a:solidFill>
              <a:schemeClr val="tx2">
                <a:lumMod val="60000"/>
                <a:lumOff val="40000"/>
              </a:schemeClr>
            </a:solidFill>
            <a:prstDash val="sysDot"/>
            <a:round/>
            <a:headEnd/>
            <a:tailEnd/>
          </a:ln>
          <a:effectLst/>
        </p:spPr>
      </p:cxnSp>
      <p:cxnSp>
        <p:nvCxnSpPr>
          <p:cNvPr id="27" name="AutoShape 44">
            <a:extLst>
              <a:ext uri="{FF2B5EF4-FFF2-40B4-BE49-F238E27FC236}">
                <a16:creationId xmlns:a16="http://schemas.microsoft.com/office/drawing/2014/main" id="{3645F07B-8E3B-4683-971B-DF8699F755E0}"/>
              </a:ext>
            </a:extLst>
          </p:cNvPr>
          <p:cNvCxnSpPr>
            <a:cxnSpLocks noChangeShapeType="1"/>
          </p:cNvCxnSpPr>
          <p:nvPr>
            <p:custDataLst>
              <p:tags r:id="rId7"/>
            </p:custDataLst>
          </p:nvPr>
        </p:nvCxnSpPr>
        <p:spPr bwMode="auto">
          <a:xfrm flipV="1">
            <a:off x="6727590" y="2756488"/>
            <a:ext cx="489372" cy="311419"/>
          </a:xfrm>
          <a:prstGeom prst="straightConnector1">
            <a:avLst/>
          </a:prstGeom>
          <a:noFill/>
          <a:ln w="19050" cap="rnd">
            <a:solidFill>
              <a:schemeClr val="tx2">
                <a:lumMod val="60000"/>
                <a:lumOff val="40000"/>
              </a:schemeClr>
            </a:solidFill>
            <a:prstDash val="sysDot"/>
            <a:round/>
            <a:headEnd/>
            <a:tailEnd/>
          </a:ln>
          <a:effectLst/>
        </p:spPr>
      </p:cxnSp>
      <p:sp>
        <p:nvSpPr>
          <p:cNvPr id="28" name="Oval 29">
            <a:extLst>
              <a:ext uri="{FF2B5EF4-FFF2-40B4-BE49-F238E27FC236}">
                <a16:creationId xmlns:a16="http://schemas.microsoft.com/office/drawing/2014/main" id="{2E014172-98EA-4330-AD5F-9457A29FC88B}"/>
              </a:ext>
            </a:extLst>
          </p:cNvPr>
          <p:cNvSpPr>
            <a:spLocks noChangeArrowheads="1"/>
          </p:cNvSpPr>
          <p:nvPr>
            <p:custDataLst>
              <p:tags r:id="rId8"/>
            </p:custDataLst>
          </p:nvPr>
        </p:nvSpPr>
        <p:spPr bwMode="auto">
          <a:xfrm>
            <a:off x="5481914" y="1219200"/>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sp>
        <p:nvSpPr>
          <p:cNvPr id="29" name="Oval 30">
            <a:extLst>
              <a:ext uri="{FF2B5EF4-FFF2-40B4-BE49-F238E27FC236}">
                <a16:creationId xmlns:a16="http://schemas.microsoft.com/office/drawing/2014/main" id="{EFC499AC-4636-4856-AB36-4DE95FA583B6}"/>
              </a:ext>
            </a:extLst>
          </p:cNvPr>
          <p:cNvSpPr>
            <a:spLocks noChangeArrowheads="1"/>
          </p:cNvSpPr>
          <p:nvPr>
            <p:custDataLst>
              <p:tags r:id="rId9"/>
            </p:custDataLst>
          </p:nvPr>
        </p:nvSpPr>
        <p:spPr bwMode="auto">
          <a:xfrm>
            <a:off x="7073302" y="1950137"/>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sp>
        <p:nvSpPr>
          <p:cNvPr id="30" name="Oval 31">
            <a:extLst>
              <a:ext uri="{FF2B5EF4-FFF2-40B4-BE49-F238E27FC236}">
                <a16:creationId xmlns:a16="http://schemas.microsoft.com/office/drawing/2014/main" id="{5DF4CB07-B4BD-47C1-B0F0-968711ADEADC}"/>
              </a:ext>
            </a:extLst>
          </p:cNvPr>
          <p:cNvSpPr>
            <a:spLocks noChangeArrowheads="1"/>
          </p:cNvSpPr>
          <p:nvPr>
            <p:custDataLst>
              <p:tags r:id="rId10"/>
            </p:custDataLst>
          </p:nvPr>
        </p:nvSpPr>
        <p:spPr bwMode="auto">
          <a:xfrm>
            <a:off x="7282769" y="3611690"/>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sp>
        <p:nvSpPr>
          <p:cNvPr id="31" name="Oval 32">
            <a:extLst>
              <a:ext uri="{FF2B5EF4-FFF2-40B4-BE49-F238E27FC236}">
                <a16:creationId xmlns:a16="http://schemas.microsoft.com/office/drawing/2014/main" id="{6327A1D1-C5B9-4775-9090-B107B8D0F0BF}"/>
              </a:ext>
            </a:extLst>
          </p:cNvPr>
          <p:cNvSpPr>
            <a:spLocks noChangeArrowheads="1"/>
          </p:cNvSpPr>
          <p:nvPr>
            <p:custDataLst>
              <p:tags r:id="rId11"/>
            </p:custDataLst>
          </p:nvPr>
        </p:nvSpPr>
        <p:spPr bwMode="auto">
          <a:xfrm>
            <a:off x="3641073" y="3611690"/>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sp>
        <p:nvSpPr>
          <p:cNvPr id="32" name="Oval 33">
            <a:extLst>
              <a:ext uri="{FF2B5EF4-FFF2-40B4-BE49-F238E27FC236}">
                <a16:creationId xmlns:a16="http://schemas.microsoft.com/office/drawing/2014/main" id="{EBB40334-0055-4863-865C-3B8480F5F087}"/>
              </a:ext>
            </a:extLst>
          </p:cNvPr>
          <p:cNvSpPr>
            <a:spLocks noChangeArrowheads="1"/>
          </p:cNvSpPr>
          <p:nvPr>
            <p:custDataLst>
              <p:tags r:id="rId12"/>
            </p:custDataLst>
          </p:nvPr>
        </p:nvSpPr>
        <p:spPr bwMode="auto">
          <a:xfrm>
            <a:off x="6317925" y="4762175"/>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sp>
        <p:nvSpPr>
          <p:cNvPr id="33" name="Oval 34">
            <a:extLst>
              <a:ext uri="{FF2B5EF4-FFF2-40B4-BE49-F238E27FC236}">
                <a16:creationId xmlns:a16="http://schemas.microsoft.com/office/drawing/2014/main" id="{60BC0412-383F-49D1-823D-12EB2461B576}"/>
              </a:ext>
            </a:extLst>
          </p:cNvPr>
          <p:cNvSpPr>
            <a:spLocks noChangeArrowheads="1"/>
          </p:cNvSpPr>
          <p:nvPr>
            <p:custDataLst>
              <p:tags r:id="rId13"/>
            </p:custDataLst>
          </p:nvPr>
        </p:nvSpPr>
        <p:spPr bwMode="auto">
          <a:xfrm>
            <a:off x="4644048" y="4762175"/>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sp>
        <p:nvSpPr>
          <p:cNvPr id="34" name="Oval 35">
            <a:extLst>
              <a:ext uri="{FF2B5EF4-FFF2-40B4-BE49-F238E27FC236}">
                <a16:creationId xmlns:a16="http://schemas.microsoft.com/office/drawing/2014/main" id="{C619874E-D699-4586-AB3E-998091CBA8F3}"/>
              </a:ext>
            </a:extLst>
          </p:cNvPr>
          <p:cNvSpPr>
            <a:spLocks noChangeArrowheads="1"/>
          </p:cNvSpPr>
          <p:nvPr>
            <p:custDataLst>
              <p:tags r:id="rId14"/>
            </p:custDataLst>
          </p:nvPr>
        </p:nvSpPr>
        <p:spPr bwMode="auto">
          <a:xfrm>
            <a:off x="3841271" y="1950137"/>
            <a:ext cx="1295725" cy="1295725"/>
          </a:xfrm>
          <a:prstGeom prst="ellipse">
            <a:avLst/>
          </a:prstGeom>
          <a:solidFill>
            <a:schemeClr val="accent1"/>
          </a:solidFill>
          <a:ln w="6350">
            <a:noFill/>
            <a:round/>
            <a:headEnd/>
            <a:tailEnd/>
          </a:ln>
          <a:effectLst/>
        </p:spPr>
        <p:txBody>
          <a:bodyPr wrap="none" lIns="72000" tIns="72000" rIns="72000" bIns="72000" anchor="ctr" anchorCtr="1"/>
          <a:lstStyle/>
          <a:p>
            <a:pPr eaLnBrk="0" hangingPunct="0"/>
            <a:r>
              <a:rPr lang="en-GB" b="1">
                <a:solidFill>
                  <a:schemeClr val="bg1"/>
                </a:solidFill>
              </a:rPr>
              <a:t>Text</a:t>
            </a:r>
            <a:endParaRPr lang="en-US" b="1">
              <a:solidFill>
                <a:schemeClr val="bg1"/>
              </a:solidFill>
            </a:endParaRPr>
          </a:p>
        </p:txBody>
      </p:sp>
      <p:sp>
        <p:nvSpPr>
          <p:cNvPr id="35" name="Oval 36">
            <a:extLst>
              <a:ext uri="{FF2B5EF4-FFF2-40B4-BE49-F238E27FC236}">
                <a16:creationId xmlns:a16="http://schemas.microsoft.com/office/drawing/2014/main" id="{D77AC385-DC66-4971-ABA4-88B1C8F7C719}"/>
              </a:ext>
            </a:extLst>
          </p:cNvPr>
          <p:cNvSpPr>
            <a:spLocks noChangeArrowheads="1"/>
          </p:cNvSpPr>
          <p:nvPr>
            <p:custDataLst>
              <p:tags r:id="rId15"/>
            </p:custDataLst>
          </p:nvPr>
        </p:nvSpPr>
        <p:spPr bwMode="auto">
          <a:xfrm>
            <a:off x="5289131" y="2799123"/>
            <a:ext cx="1681291" cy="1681291"/>
          </a:xfrm>
          <a:prstGeom prst="ellipse">
            <a:avLst/>
          </a:prstGeom>
          <a:solidFill>
            <a:schemeClr val="accent3"/>
          </a:solidFill>
          <a:ln w="6350">
            <a:noFill/>
            <a:round/>
            <a:headEnd/>
            <a:tailEnd/>
          </a:ln>
          <a:effectLst/>
        </p:spPr>
        <p:txBody>
          <a:bodyPr wrap="none" lIns="45720" rIns="45720" anchor="ctr" anchorCtr="1"/>
          <a:lstStyle/>
          <a:p>
            <a:pPr algn="ctr">
              <a:lnSpc>
                <a:spcPct val="85000"/>
              </a:lnSpc>
              <a:spcBef>
                <a:spcPct val="0"/>
              </a:spcBef>
            </a:pPr>
            <a:r>
              <a:rPr lang="en-GB" dirty="0">
                <a:solidFill>
                  <a:schemeClr val="bg1"/>
                </a:solidFill>
                <a:latin typeface="+mj-lt"/>
              </a:rPr>
              <a:t>Text</a:t>
            </a:r>
            <a:endParaRPr lang="en-US" cap="all" dirty="0">
              <a:solidFill>
                <a:schemeClr val="bg1"/>
              </a:solidFill>
              <a:latin typeface="+mj-lt"/>
            </a:endParaRPr>
          </a:p>
        </p:txBody>
      </p:sp>
    </p:spTree>
    <p:extLst>
      <p:ext uri="{BB962C8B-B14F-4D97-AF65-F5344CB8AC3E}">
        <p14:creationId xmlns:p14="http://schemas.microsoft.com/office/powerpoint/2010/main" val="3098389786"/>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sz="3600" b="1" dirty="0"/>
              <a:t>Components</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56DCA8C9-F565-4F81-A392-D1D69E409D5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0" name="Group 4">
            <a:extLst>
              <a:ext uri="{FF2B5EF4-FFF2-40B4-BE49-F238E27FC236}">
                <a16:creationId xmlns:a16="http://schemas.microsoft.com/office/drawing/2014/main" id="{D86EBE2E-8132-476F-93A6-6F3B85EBA72A}"/>
              </a:ext>
            </a:extLst>
          </p:cNvPr>
          <p:cNvGrpSpPr>
            <a:grpSpLocks noChangeAspect="1"/>
          </p:cNvGrpSpPr>
          <p:nvPr/>
        </p:nvGrpSpPr>
        <p:grpSpPr bwMode="auto">
          <a:xfrm>
            <a:off x="3581159" y="1281056"/>
            <a:ext cx="4899024" cy="4989513"/>
            <a:chOff x="2517" y="805"/>
            <a:chExt cx="3086" cy="3143"/>
          </a:xfrm>
        </p:grpSpPr>
        <p:sp>
          <p:nvSpPr>
            <p:cNvPr id="11" name="Freeform 5">
              <a:extLst>
                <a:ext uri="{FF2B5EF4-FFF2-40B4-BE49-F238E27FC236}">
                  <a16:creationId xmlns:a16="http://schemas.microsoft.com/office/drawing/2014/main" id="{CEC11F17-9EC5-400F-A5AA-9B83FA165A64}"/>
                </a:ext>
              </a:extLst>
            </p:cNvPr>
            <p:cNvSpPr>
              <a:spLocks/>
            </p:cNvSpPr>
            <p:nvPr/>
          </p:nvSpPr>
          <p:spPr bwMode="auto">
            <a:xfrm>
              <a:off x="3160" y="1100"/>
              <a:ext cx="2443" cy="2848"/>
            </a:xfrm>
            <a:custGeom>
              <a:avLst/>
              <a:gdLst>
                <a:gd name="T0" fmla="*/ 256 w 1011"/>
                <a:gd name="T1" fmla="*/ 1114 h 1178"/>
                <a:gd name="T2" fmla="*/ 256 w 1011"/>
                <a:gd name="T3" fmla="*/ 1113 h 1178"/>
                <a:gd name="T4" fmla="*/ 253 w 1011"/>
                <a:gd name="T5" fmla="*/ 1112 h 1178"/>
                <a:gd name="T6" fmla="*/ 32 w 1011"/>
                <a:gd name="T7" fmla="*/ 769 h 1178"/>
                <a:gd name="T8" fmla="*/ 370 w 1011"/>
                <a:gd name="T9" fmla="*/ 542 h 1178"/>
                <a:gd name="T10" fmla="*/ 370 w 1011"/>
                <a:gd name="T11" fmla="*/ 542 h 1178"/>
                <a:gd name="T12" fmla="*/ 738 w 1011"/>
                <a:gd name="T13" fmla="*/ 292 h 1178"/>
                <a:gd name="T14" fmla="*/ 650 w 1011"/>
                <a:gd name="T15" fmla="*/ 0 h 1178"/>
                <a:gd name="T16" fmla="*/ 957 w 1011"/>
                <a:gd name="T17" fmla="*/ 649 h 1178"/>
                <a:gd name="T18" fmla="*/ 256 w 1011"/>
                <a:gd name="T19" fmla="*/ 1114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1" h="1178">
                  <a:moveTo>
                    <a:pt x="256" y="1114"/>
                  </a:moveTo>
                  <a:cubicBezTo>
                    <a:pt x="256" y="1113"/>
                    <a:pt x="256" y="1113"/>
                    <a:pt x="256" y="1113"/>
                  </a:cubicBezTo>
                  <a:cubicBezTo>
                    <a:pt x="253" y="1112"/>
                    <a:pt x="253" y="1112"/>
                    <a:pt x="253" y="1112"/>
                  </a:cubicBezTo>
                  <a:cubicBezTo>
                    <a:pt x="99" y="1081"/>
                    <a:pt x="0" y="927"/>
                    <a:pt x="32" y="769"/>
                  </a:cubicBezTo>
                  <a:cubicBezTo>
                    <a:pt x="65" y="612"/>
                    <a:pt x="216" y="510"/>
                    <a:pt x="370" y="542"/>
                  </a:cubicBezTo>
                  <a:cubicBezTo>
                    <a:pt x="370" y="542"/>
                    <a:pt x="370" y="542"/>
                    <a:pt x="370" y="542"/>
                  </a:cubicBezTo>
                  <a:cubicBezTo>
                    <a:pt x="536" y="574"/>
                    <a:pt x="703" y="462"/>
                    <a:pt x="738" y="292"/>
                  </a:cubicBezTo>
                  <a:cubicBezTo>
                    <a:pt x="760" y="184"/>
                    <a:pt x="727" y="75"/>
                    <a:pt x="650" y="0"/>
                  </a:cubicBezTo>
                  <a:cubicBezTo>
                    <a:pt x="885" y="123"/>
                    <a:pt x="1011" y="386"/>
                    <a:pt x="957" y="649"/>
                  </a:cubicBezTo>
                  <a:cubicBezTo>
                    <a:pt x="891" y="970"/>
                    <a:pt x="577" y="1178"/>
                    <a:pt x="256" y="111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7280E095-497F-46F0-B800-E25BFA9BE9B2}"/>
                </a:ext>
              </a:extLst>
            </p:cNvPr>
            <p:cNvSpPr>
              <a:spLocks/>
            </p:cNvSpPr>
            <p:nvPr/>
          </p:nvSpPr>
          <p:spPr bwMode="auto">
            <a:xfrm>
              <a:off x="2517" y="805"/>
              <a:ext cx="2446" cy="2856"/>
            </a:xfrm>
            <a:custGeom>
              <a:avLst/>
              <a:gdLst>
                <a:gd name="T0" fmla="*/ 759 w 1012"/>
                <a:gd name="T1" fmla="*/ 66 h 1181"/>
                <a:gd name="T2" fmla="*/ 979 w 1012"/>
                <a:gd name="T3" fmla="*/ 409 h 1181"/>
                <a:gd name="T4" fmla="*/ 642 w 1012"/>
                <a:gd name="T5" fmla="*/ 637 h 1181"/>
                <a:gd name="T6" fmla="*/ 642 w 1012"/>
                <a:gd name="T7" fmla="*/ 637 h 1181"/>
                <a:gd name="T8" fmla="*/ 273 w 1012"/>
                <a:gd name="T9" fmla="*/ 886 h 1181"/>
                <a:gd name="T10" fmla="*/ 365 w 1012"/>
                <a:gd name="T11" fmla="*/ 1181 h 1181"/>
                <a:gd name="T12" fmla="*/ 54 w 1012"/>
                <a:gd name="T13" fmla="*/ 530 h 1181"/>
                <a:gd name="T14" fmla="*/ 759 w 1012"/>
                <a:gd name="T15" fmla="*/ 66 h 1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2" h="1181">
                  <a:moveTo>
                    <a:pt x="759" y="66"/>
                  </a:moveTo>
                  <a:cubicBezTo>
                    <a:pt x="913" y="98"/>
                    <a:pt x="1012" y="251"/>
                    <a:pt x="979" y="409"/>
                  </a:cubicBezTo>
                  <a:cubicBezTo>
                    <a:pt x="947" y="566"/>
                    <a:pt x="795" y="668"/>
                    <a:pt x="642" y="637"/>
                  </a:cubicBezTo>
                  <a:cubicBezTo>
                    <a:pt x="642" y="637"/>
                    <a:pt x="642" y="637"/>
                    <a:pt x="642" y="637"/>
                  </a:cubicBezTo>
                  <a:cubicBezTo>
                    <a:pt x="475" y="604"/>
                    <a:pt x="308" y="716"/>
                    <a:pt x="273" y="886"/>
                  </a:cubicBezTo>
                  <a:cubicBezTo>
                    <a:pt x="251" y="995"/>
                    <a:pt x="286" y="1106"/>
                    <a:pt x="365" y="1181"/>
                  </a:cubicBezTo>
                  <a:cubicBezTo>
                    <a:pt x="127" y="1058"/>
                    <a:pt x="0" y="795"/>
                    <a:pt x="54" y="530"/>
                  </a:cubicBezTo>
                  <a:cubicBezTo>
                    <a:pt x="120" y="208"/>
                    <a:pt x="437" y="0"/>
                    <a:pt x="759" y="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Text Box 17">
            <a:extLst>
              <a:ext uri="{FF2B5EF4-FFF2-40B4-BE49-F238E27FC236}">
                <a16:creationId xmlns:a16="http://schemas.microsoft.com/office/drawing/2014/main" id="{6747DA1C-06A1-4836-A68F-A36051213042}"/>
              </a:ext>
            </a:extLst>
          </p:cNvPr>
          <p:cNvSpPr txBox="1">
            <a:spLocks noChangeArrowheads="1"/>
          </p:cNvSpPr>
          <p:nvPr/>
        </p:nvSpPr>
        <p:spPr bwMode="auto">
          <a:xfrm>
            <a:off x="5326223" y="4700231"/>
            <a:ext cx="1548000" cy="369332"/>
          </a:xfrm>
          <a:prstGeom prst="rect">
            <a:avLst/>
          </a:prstGeom>
          <a:noFill/>
          <a:ln w="6350">
            <a:noFill/>
            <a:miter lim="800000"/>
            <a:headEnd/>
            <a:tailEnd/>
          </a:ln>
          <a:effectLst/>
        </p:spPr>
        <p:txBody>
          <a:bodyPr lIns="45720" rIns="45720" anchor="ctr" anchorCtr="1">
            <a:spAutoFit/>
          </a:bodyPr>
          <a:lstStyle/>
          <a:p>
            <a:pPr algn="ctr" eaLnBrk="0" hangingPunct="0">
              <a:spcBef>
                <a:spcPct val="0"/>
              </a:spcBef>
            </a:pPr>
            <a:r>
              <a:rPr lang="en-US" b="1" dirty="0">
                <a:solidFill>
                  <a:schemeClr val="bg1"/>
                </a:solidFill>
                <a:latin typeface="+mj-lt"/>
              </a:rPr>
              <a:t>Text</a:t>
            </a:r>
          </a:p>
        </p:txBody>
      </p:sp>
      <p:sp>
        <p:nvSpPr>
          <p:cNvPr id="14" name="Text Box 18">
            <a:extLst>
              <a:ext uri="{FF2B5EF4-FFF2-40B4-BE49-F238E27FC236}">
                <a16:creationId xmlns:a16="http://schemas.microsoft.com/office/drawing/2014/main" id="{02A276CF-B70B-483D-B1F2-EBBD94B67F57}"/>
              </a:ext>
            </a:extLst>
          </p:cNvPr>
          <p:cNvSpPr txBox="1">
            <a:spLocks noChangeArrowheads="1"/>
          </p:cNvSpPr>
          <p:nvPr/>
        </p:nvSpPr>
        <p:spPr bwMode="auto">
          <a:xfrm>
            <a:off x="5326223" y="2429981"/>
            <a:ext cx="1548000" cy="369332"/>
          </a:xfrm>
          <a:prstGeom prst="rect">
            <a:avLst/>
          </a:prstGeom>
          <a:noFill/>
          <a:ln w="6350">
            <a:noFill/>
            <a:miter lim="800000"/>
            <a:headEnd/>
            <a:tailEnd/>
          </a:ln>
          <a:effectLst/>
        </p:spPr>
        <p:txBody>
          <a:bodyPr lIns="45720" rIns="45720" anchor="ctr" anchorCtr="1">
            <a:spAutoFit/>
          </a:bodyPr>
          <a:lstStyle/>
          <a:p>
            <a:pPr algn="ctr" eaLnBrk="0" hangingPunct="0">
              <a:spcBef>
                <a:spcPct val="0"/>
              </a:spcBef>
            </a:pPr>
            <a:r>
              <a:rPr lang="en-US" b="1" dirty="0">
                <a:solidFill>
                  <a:schemeClr val="bg1"/>
                </a:solidFill>
                <a:latin typeface="+mj-lt"/>
              </a:rPr>
              <a:t>Text</a:t>
            </a:r>
          </a:p>
        </p:txBody>
      </p:sp>
    </p:spTree>
    <p:extLst>
      <p:ext uri="{BB962C8B-B14F-4D97-AF65-F5344CB8AC3E}">
        <p14:creationId xmlns:p14="http://schemas.microsoft.com/office/powerpoint/2010/main" val="1047170932"/>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sz="3600" b="1" dirty="0"/>
              <a:t>Layers</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50BF0955-B068-4C5C-A876-912DFBEE1C2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Oval 3">
            <a:extLst>
              <a:ext uri="{FF2B5EF4-FFF2-40B4-BE49-F238E27FC236}">
                <a16:creationId xmlns:a16="http://schemas.microsoft.com/office/drawing/2014/main" id="{50ECBF0B-A87B-4DFF-AFBB-34B630BD978C}"/>
              </a:ext>
            </a:extLst>
          </p:cNvPr>
          <p:cNvSpPr>
            <a:spLocks noChangeAspect="1"/>
          </p:cNvSpPr>
          <p:nvPr/>
        </p:nvSpPr>
        <p:spPr>
          <a:xfrm>
            <a:off x="3748758" y="1376362"/>
            <a:ext cx="4681537" cy="4681537"/>
          </a:xfrm>
          <a:prstGeom prst="ellipse">
            <a:avLst/>
          </a:prstGeom>
          <a:solidFill>
            <a:schemeClr val="accent5">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4284000" rtlCol="0" anchor="t" anchorCtr="0"/>
          <a:lstStyle/>
          <a:p>
            <a:pPr algn="ctr"/>
            <a:r>
              <a:rPr lang="en-GB" b="1" dirty="0"/>
              <a:t>Text</a:t>
            </a:r>
            <a:endParaRPr lang="en-GB" dirty="0"/>
          </a:p>
        </p:txBody>
      </p:sp>
      <p:sp>
        <p:nvSpPr>
          <p:cNvPr id="5" name="Oval 4">
            <a:extLst>
              <a:ext uri="{FF2B5EF4-FFF2-40B4-BE49-F238E27FC236}">
                <a16:creationId xmlns:a16="http://schemas.microsoft.com/office/drawing/2014/main" id="{D306157A-4FCF-4B73-89D4-708CF04F9346}"/>
              </a:ext>
            </a:extLst>
          </p:cNvPr>
          <p:cNvSpPr>
            <a:spLocks noChangeAspect="1"/>
          </p:cNvSpPr>
          <p:nvPr/>
        </p:nvSpPr>
        <p:spPr>
          <a:xfrm>
            <a:off x="4095539" y="2069923"/>
            <a:ext cx="3987976" cy="3987976"/>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tIns="0" bIns="3600000" rtlCol="0" anchor="t" anchorCtr="0"/>
          <a:lstStyle/>
          <a:p>
            <a:pPr algn="ctr"/>
            <a:r>
              <a:rPr lang="en-GB" b="1" dirty="0"/>
              <a:t>Text</a:t>
            </a:r>
          </a:p>
          <a:p>
            <a:pPr algn="ctr"/>
            <a:endParaRPr lang="en-GB" dirty="0"/>
          </a:p>
        </p:txBody>
      </p:sp>
      <p:sp>
        <p:nvSpPr>
          <p:cNvPr id="6" name="Oval 5">
            <a:extLst>
              <a:ext uri="{FF2B5EF4-FFF2-40B4-BE49-F238E27FC236}">
                <a16:creationId xmlns:a16="http://schemas.microsoft.com/office/drawing/2014/main" id="{AF4A2EAD-99DA-40C1-9EB5-06993CF9C56D}"/>
              </a:ext>
            </a:extLst>
          </p:cNvPr>
          <p:cNvSpPr>
            <a:spLocks noChangeAspect="1"/>
          </p:cNvSpPr>
          <p:nvPr/>
        </p:nvSpPr>
        <p:spPr>
          <a:xfrm>
            <a:off x="4442319" y="2763484"/>
            <a:ext cx="3294415" cy="32944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tIns="0" bIns="2880000" rtlCol="0" anchor="t" anchorCtr="0"/>
          <a:lstStyle/>
          <a:p>
            <a:pPr algn="ctr" eaLnBrk="0" hangingPunct="0">
              <a:spcBef>
                <a:spcPct val="0"/>
              </a:spcBef>
            </a:pPr>
            <a:r>
              <a:rPr lang="en-GB" b="1" dirty="0"/>
              <a:t>Text</a:t>
            </a:r>
          </a:p>
        </p:txBody>
      </p:sp>
      <p:sp>
        <p:nvSpPr>
          <p:cNvPr id="7" name="Oval 6">
            <a:extLst>
              <a:ext uri="{FF2B5EF4-FFF2-40B4-BE49-F238E27FC236}">
                <a16:creationId xmlns:a16="http://schemas.microsoft.com/office/drawing/2014/main" id="{837479FD-2940-4F9B-A2A5-D78DB8FD2FDC}"/>
              </a:ext>
            </a:extLst>
          </p:cNvPr>
          <p:cNvSpPr>
            <a:spLocks noChangeAspect="1"/>
          </p:cNvSpPr>
          <p:nvPr/>
        </p:nvSpPr>
        <p:spPr>
          <a:xfrm>
            <a:off x="4789100" y="3457045"/>
            <a:ext cx="2600854" cy="260085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0" bIns="2160000" rtlCol="0" anchor="t" anchorCtr="0"/>
          <a:lstStyle/>
          <a:p>
            <a:pPr algn="ctr"/>
            <a:r>
              <a:rPr lang="en-GB" b="1" dirty="0"/>
              <a:t>Text</a:t>
            </a:r>
          </a:p>
          <a:p>
            <a:pPr algn="ctr"/>
            <a:endParaRPr lang="en-GB" dirty="0"/>
          </a:p>
        </p:txBody>
      </p:sp>
      <p:sp>
        <p:nvSpPr>
          <p:cNvPr id="8" name="Oval 7">
            <a:extLst>
              <a:ext uri="{FF2B5EF4-FFF2-40B4-BE49-F238E27FC236}">
                <a16:creationId xmlns:a16="http://schemas.microsoft.com/office/drawing/2014/main" id="{280682CF-1B4D-4797-B890-0FC9FA8065C2}"/>
              </a:ext>
            </a:extLst>
          </p:cNvPr>
          <p:cNvSpPr>
            <a:spLocks noChangeAspect="1"/>
          </p:cNvSpPr>
          <p:nvPr/>
        </p:nvSpPr>
        <p:spPr>
          <a:xfrm>
            <a:off x="5135880" y="4150606"/>
            <a:ext cx="1907293" cy="1907293"/>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0" bIns="1440000" rtlCol="0" anchor="t" anchorCtr="0"/>
          <a:lstStyle/>
          <a:p>
            <a:pPr algn="ctr"/>
            <a:r>
              <a:rPr lang="en-GB" b="1" dirty="0"/>
              <a:t>Text</a:t>
            </a:r>
          </a:p>
          <a:p>
            <a:pPr algn="ctr"/>
            <a:endParaRPr lang="en-GB" dirty="0"/>
          </a:p>
        </p:txBody>
      </p:sp>
      <p:sp>
        <p:nvSpPr>
          <p:cNvPr id="9" name="Oval 8">
            <a:extLst>
              <a:ext uri="{FF2B5EF4-FFF2-40B4-BE49-F238E27FC236}">
                <a16:creationId xmlns:a16="http://schemas.microsoft.com/office/drawing/2014/main" id="{5FB3E56F-E121-446B-8316-2A193065399C}"/>
              </a:ext>
            </a:extLst>
          </p:cNvPr>
          <p:cNvSpPr>
            <a:spLocks noChangeAspect="1"/>
          </p:cNvSpPr>
          <p:nvPr/>
        </p:nvSpPr>
        <p:spPr>
          <a:xfrm>
            <a:off x="5482661" y="4844167"/>
            <a:ext cx="1213732" cy="121373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r>
              <a:rPr lang="en-GB" b="1" dirty="0"/>
              <a:t>Text</a:t>
            </a:r>
          </a:p>
        </p:txBody>
      </p:sp>
    </p:spTree>
    <p:extLst>
      <p:ext uri="{BB962C8B-B14F-4D97-AF65-F5344CB8AC3E}">
        <p14:creationId xmlns:p14="http://schemas.microsoft.com/office/powerpoint/2010/main" val="3940651581"/>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B4CE5-0F43-4DF2-8DAA-E502B1B65463}"/>
              </a:ext>
            </a:extLst>
          </p:cNvPr>
          <p:cNvSpPr>
            <a:spLocks noGrp="1"/>
          </p:cNvSpPr>
          <p:nvPr>
            <p:ph type="title"/>
          </p:nvPr>
        </p:nvSpPr>
        <p:spPr/>
        <p:txBody>
          <a:bodyPr/>
          <a:lstStyle/>
          <a:p>
            <a:r>
              <a:rPr lang="en-US" dirty="0"/>
              <a:t>Trees</a:t>
            </a:r>
          </a:p>
        </p:txBody>
      </p:sp>
      <p:sp>
        <p:nvSpPr>
          <p:cNvPr id="5" name="Text Placeholder 4">
            <a:extLst>
              <a:ext uri="{FF2B5EF4-FFF2-40B4-BE49-F238E27FC236}">
                <a16:creationId xmlns:a16="http://schemas.microsoft.com/office/drawing/2014/main" id="{595EADC2-466A-469C-AEA1-710269DC07FB}"/>
              </a:ext>
            </a:extLst>
          </p:cNvPr>
          <p:cNvSpPr>
            <a:spLocks noGrp="1"/>
          </p:cNvSpPr>
          <p:nvPr>
            <p:ph type="body" sz="quarter" idx="15"/>
          </p:nvPr>
        </p:nvSpPr>
        <p:spPr/>
        <p:txBody>
          <a:bodyPr/>
          <a:lstStyle/>
          <a:p>
            <a:r>
              <a:rPr lang="en-US" dirty="0"/>
              <a:t>Part of </a:t>
            </a:r>
            <a:r>
              <a:rPr lang="en-US" dirty="0">
                <a:hlinkClick r:id="rId2" action="ppaction://hlinksldjump">
                  <a:extLst>
                    <a:ext uri="{A12FA001-AC4F-418D-AE19-62706E023703}">
                      <ahyp:hlinkClr xmlns:ahyp="http://schemas.microsoft.com/office/drawing/2018/hyperlinkcolor" val="tx"/>
                    </a:ext>
                  </a:extLst>
                </a:hlinkClick>
              </a:rPr>
              <a:t>Static Objects</a:t>
            </a:r>
            <a:endParaRPr lang="en-US" dirty="0"/>
          </a:p>
        </p:txBody>
      </p:sp>
      <p:sp>
        <p:nvSpPr>
          <p:cNvPr id="6" name="Freeform: Shape 5">
            <a:hlinkClick r:id="rId3" action="ppaction://hlinksldjump"/>
            <a:extLst>
              <a:ext uri="{FF2B5EF4-FFF2-40B4-BE49-F238E27FC236}">
                <a16:creationId xmlns:a16="http://schemas.microsoft.com/office/drawing/2014/main" id="{50C2D834-6AD0-4008-8CD9-58141E16B20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D4DCBEA-EFC7-4931-8D5B-5B9955048B5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2047656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Horizontal Issue Tree – Symmetric</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3DB4991-747C-4F5C-BE47-084511B3AD7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50" name="Elbow Connector 71">
            <a:extLst>
              <a:ext uri="{FF2B5EF4-FFF2-40B4-BE49-F238E27FC236}">
                <a16:creationId xmlns:a16="http://schemas.microsoft.com/office/drawing/2014/main" id="{5BCB43C7-A8CD-4CBA-B76E-5408B52AD0E1}"/>
              </a:ext>
            </a:extLst>
          </p:cNvPr>
          <p:cNvCxnSpPr>
            <a:stCxn id="57" idx="1"/>
            <a:endCxn id="58" idx="1"/>
          </p:cNvCxnSpPr>
          <p:nvPr/>
        </p:nvCxnSpPr>
        <p:spPr>
          <a:xfrm rot="10800000" flipV="1">
            <a:off x="3612639" y="2680650"/>
            <a:ext cx="12865" cy="2500413"/>
          </a:xfrm>
          <a:prstGeom prst="bentConnector3">
            <a:avLst>
              <a:gd name="adj1" fmla="val 18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1" name="Elbow Connector 72">
            <a:extLst>
              <a:ext uri="{FF2B5EF4-FFF2-40B4-BE49-F238E27FC236}">
                <a16:creationId xmlns:a16="http://schemas.microsoft.com/office/drawing/2014/main" id="{BB22CE4C-6D58-4442-B09F-32E03E8803A0}"/>
              </a:ext>
            </a:extLst>
          </p:cNvPr>
          <p:cNvCxnSpPr>
            <a:stCxn id="59" idx="1"/>
            <a:endCxn id="60" idx="1"/>
          </p:cNvCxnSpPr>
          <p:nvPr/>
        </p:nvCxnSpPr>
        <p:spPr>
          <a:xfrm rot="10800000" flipV="1">
            <a:off x="5526967" y="1908798"/>
            <a:ext cx="13607" cy="1206135"/>
          </a:xfrm>
          <a:prstGeom prst="bentConnector3">
            <a:avLst>
              <a:gd name="adj1" fmla="val 18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Elbow Connector 73">
            <a:extLst>
              <a:ext uri="{FF2B5EF4-FFF2-40B4-BE49-F238E27FC236}">
                <a16:creationId xmlns:a16="http://schemas.microsoft.com/office/drawing/2014/main" id="{B95AABDA-F548-4DE0-99C1-BA18761DE7AE}"/>
              </a:ext>
            </a:extLst>
          </p:cNvPr>
          <p:cNvCxnSpPr>
            <a:stCxn id="61" idx="1"/>
            <a:endCxn id="62" idx="1"/>
          </p:cNvCxnSpPr>
          <p:nvPr/>
        </p:nvCxnSpPr>
        <p:spPr>
          <a:xfrm rot="10800000" flipV="1">
            <a:off x="5526967" y="4320959"/>
            <a:ext cx="13607" cy="1206024"/>
          </a:xfrm>
          <a:prstGeom prst="bentConnector3">
            <a:avLst>
              <a:gd name="adj1" fmla="val 18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3" name="Freeform 74">
            <a:extLst>
              <a:ext uri="{FF2B5EF4-FFF2-40B4-BE49-F238E27FC236}">
                <a16:creationId xmlns:a16="http://schemas.microsoft.com/office/drawing/2014/main" id="{6A19F19F-0CBA-4C31-8242-C3090D799929}"/>
              </a:ext>
            </a:extLst>
          </p:cNvPr>
          <p:cNvSpPr/>
          <p:nvPr/>
        </p:nvSpPr>
        <p:spPr>
          <a:xfrm>
            <a:off x="3028600" y="3656210"/>
            <a:ext cx="370526" cy="0"/>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91411" tIns="45706" rIns="91411" bIns="45706" rtlCol="0" anchor="ctr"/>
          <a:lstStyle/>
          <a:p>
            <a:pPr algn="ctr">
              <a:lnSpc>
                <a:spcPct val="90000"/>
              </a:lnSpc>
            </a:pPr>
            <a:endParaRPr lang="en-US"/>
          </a:p>
        </p:txBody>
      </p:sp>
      <p:sp>
        <p:nvSpPr>
          <p:cNvPr id="54" name="Freeform 75">
            <a:extLst>
              <a:ext uri="{FF2B5EF4-FFF2-40B4-BE49-F238E27FC236}">
                <a16:creationId xmlns:a16="http://schemas.microsoft.com/office/drawing/2014/main" id="{7A5B7B7F-8F87-4E76-AC14-85D4B6CF6447}"/>
              </a:ext>
            </a:extLst>
          </p:cNvPr>
          <p:cNvSpPr/>
          <p:nvPr/>
        </p:nvSpPr>
        <p:spPr>
          <a:xfrm>
            <a:off x="4958254" y="5181059"/>
            <a:ext cx="346457" cy="0"/>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91411" tIns="45706" rIns="91411" bIns="45706" rtlCol="0" anchor="ctr"/>
          <a:lstStyle/>
          <a:p>
            <a:pPr algn="ctr">
              <a:lnSpc>
                <a:spcPct val="90000"/>
              </a:lnSpc>
            </a:pPr>
            <a:endParaRPr lang="en-US"/>
          </a:p>
        </p:txBody>
      </p:sp>
      <p:sp>
        <p:nvSpPr>
          <p:cNvPr id="55" name="Freeform 87">
            <a:extLst>
              <a:ext uri="{FF2B5EF4-FFF2-40B4-BE49-F238E27FC236}">
                <a16:creationId xmlns:a16="http://schemas.microsoft.com/office/drawing/2014/main" id="{9069A19C-1B7E-408E-8D53-CBD2249D4A93}"/>
              </a:ext>
            </a:extLst>
          </p:cNvPr>
          <p:cNvSpPr/>
          <p:nvPr/>
        </p:nvSpPr>
        <p:spPr>
          <a:xfrm>
            <a:off x="4958255" y="2679711"/>
            <a:ext cx="336159" cy="45476"/>
          </a:xfrm>
          <a:custGeom>
            <a:avLst/>
            <a:gdLst>
              <a:gd name="connsiteX0" fmla="*/ 0 w 365760"/>
              <a:gd name="connsiteY0" fmla="*/ 0 h 0"/>
              <a:gd name="connsiteX1" fmla="*/ 365760 w 365760"/>
              <a:gd name="connsiteY1" fmla="*/ 0 h 0"/>
            </a:gdLst>
            <a:ahLst/>
            <a:cxnLst>
              <a:cxn ang="0">
                <a:pos x="connsiteX0" y="connsiteY0"/>
              </a:cxn>
              <a:cxn ang="0">
                <a:pos x="connsiteX1" y="connsiteY1"/>
              </a:cxn>
            </a:cxnLst>
            <a:rect l="l" t="t" r="r" b="b"/>
            <a:pathLst>
              <a:path w="365760">
                <a:moveTo>
                  <a:pt x="0" y="0"/>
                </a:moveTo>
                <a:lnTo>
                  <a:pt x="365760" y="0"/>
                </a:lnTo>
              </a:path>
            </a:pathLst>
          </a:cu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91411" tIns="45706" rIns="91411" bIns="45706" rtlCol="0" anchor="ctr"/>
          <a:lstStyle/>
          <a:p>
            <a:pPr algn="ctr">
              <a:lnSpc>
                <a:spcPct val="90000"/>
              </a:lnSpc>
            </a:pPr>
            <a:endParaRPr lang="en-US"/>
          </a:p>
        </p:txBody>
      </p:sp>
      <p:sp>
        <p:nvSpPr>
          <p:cNvPr id="56" name="TextBox 55">
            <a:extLst>
              <a:ext uri="{FF2B5EF4-FFF2-40B4-BE49-F238E27FC236}">
                <a16:creationId xmlns:a16="http://schemas.microsoft.com/office/drawing/2014/main" id="{1884C4F0-2513-468E-9418-FD6224AC5417}"/>
              </a:ext>
            </a:extLst>
          </p:cNvPr>
          <p:cNvSpPr txBox="1"/>
          <p:nvPr/>
        </p:nvSpPr>
        <p:spPr>
          <a:xfrm>
            <a:off x="1822449" y="3523623"/>
            <a:ext cx="1224165" cy="291085"/>
          </a:xfrm>
          <a:prstGeom prst="rect">
            <a:avLst/>
          </a:prstGeom>
          <a:solidFill>
            <a:schemeClr val="accent5"/>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dirty="0">
                <a:solidFill>
                  <a:srgbClr val="FFFFFF"/>
                </a:solidFill>
              </a:rPr>
              <a:t>Insert text</a:t>
            </a:r>
          </a:p>
        </p:txBody>
      </p:sp>
      <p:sp>
        <p:nvSpPr>
          <p:cNvPr id="57" name="TextBox 56">
            <a:extLst>
              <a:ext uri="{FF2B5EF4-FFF2-40B4-BE49-F238E27FC236}">
                <a16:creationId xmlns:a16="http://schemas.microsoft.com/office/drawing/2014/main" id="{5C6D34DE-BDAD-412A-B790-35A4208D24A5}"/>
              </a:ext>
            </a:extLst>
          </p:cNvPr>
          <p:cNvSpPr txBox="1"/>
          <p:nvPr/>
        </p:nvSpPr>
        <p:spPr>
          <a:xfrm>
            <a:off x="3612637" y="2535106"/>
            <a:ext cx="1348303" cy="291085"/>
          </a:xfrm>
          <a:prstGeom prst="rect">
            <a:avLst/>
          </a:prstGeom>
          <a:solidFill>
            <a:schemeClr val="accent3"/>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dirty="0">
                <a:solidFill>
                  <a:srgbClr val="FFFFFF"/>
                </a:solidFill>
              </a:rPr>
              <a:t>Insert text</a:t>
            </a:r>
          </a:p>
        </p:txBody>
      </p:sp>
      <p:sp>
        <p:nvSpPr>
          <p:cNvPr id="58" name="TextBox 57">
            <a:extLst>
              <a:ext uri="{FF2B5EF4-FFF2-40B4-BE49-F238E27FC236}">
                <a16:creationId xmlns:a16="http://schemas.microsoft.com/office/drawing/2014/main" id="{A5439378-9E21-4322-A6D1-70187883AB9C}"/>
              </a:ext>
            </a:extLst>
          </p:cNvPr>
          <p:cNvSpPr txBox="1"/>
          <p:nvPr/>
        </p:nvSpPr>
        <p:spPr>
          <a:xfrm>
            <a:off x="3612637" y="5035516"/>
            <a:ext cx="1348303" cy="291085"/>
          </a:xfrm>
          <a:prstGeom prst="rect">
            <a:avLst/>
          </a:prstGeom>
          <a:solidFill>
            <a:schemeClr val="accent3"/>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a:solidFill>
                  <a:srgbClr val="FFFFFF"/>
                </a:solidFill>
              </a:rPr>
              <a:t>Insert text</a:t>
            </a:r>
          </a:p>
        </p:txBody>
      </p:sp>
      <p:sp>
        <p:nvSpPr>
          <p:cNvPr id="59" name="TextBox 58">
            <a:extLst>
              <a:ext uri="{FF2B5EF4-FFF2-40B4-BE49-F238E27FC236}">
                <a16:creationId xmlns:a16="http://schemas.microsoft.com/office/drawing/2014/main" id="{1BA99F97-E099-4A78-A78E-13C481CF7913}"/>
              </a:ext>
            </a:extLst>
          </p:cNvPr>
          <p:cNvSpPr txBox="1"/>
          <p:nvPr/>
        </p:nvSpPr>
        <p:spPr>
          <a:xfrm>
            <a:off x="5526967" y="1763148"/>
            <a:ext cx="2137038" cy="291303"/>
          </a:xfrm>
          <a:prstGeom prst="rect">
            <a:avLst/>
          </a:prstGeom>
          <a:solidFill>
            <a:schemeClr val="accent1"/>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dirty="0">
                <a:solidFill>
                  <a:srgbClr val="FFFFFF"/>
                </a:solidFill>
              </a:rPr>
              <a:t>Insert text</a:t>
            </a:r>
          </a:p>
        </p:txBody>
      </p:sp>
      <p:sp>
        <p:nvSpPr>
          <p:cNvPr id="60" name="TextBox 59">
            <a:extLst>
              <a:ext uri="{FF2B5EF4-FFF2-40B4-BE49-F238E27FC236}">
                <a16:creationId xmlns:a16="http://schemas.microsoft.com/office/drawing/2014/main" id="{4AAB1F1D-01A1-4CB7-82B7-42486D837BE2}"/>
              </a:ext>
            </a:extLst>
          </p:cNvPr>
          <p:cNvSpPr txBox="1"/>
          <p:nvPr/>
        </p:nvSpPr>
        <p:spPr>
          <a:xfrm>
            <a:off x="5526967" y="2969391"/>
            <a:ext cx="2137038" cy="291085"/>
          </a:xfrm>
          <a:prstGeom prst="rect">
            <a:avLst/>
          </a:prstGeom>
          <a:solidFill>
            <a:schemeClr val="accent1"/>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a:solidFill>
                  <a:srgbClr val="FFFFFF"/>
                </a:solidFill>
              </a:rPr>
              <a:t>Insert text</a:t>
            </a:r>
          </a:p>
        </p:txBody>
      </p:sp>
      <p:sp>
        <p:nvSpPr>
          <p:cNvPr id="61" name="TextBox 60">
            <a:extLst>
              <a:ext uri="{FF2B5EF4-FFF2-40B4-BE49-F238E27FC236}">
                <a16:creationId xmlns:a16="http://schemas.microsoft.com/office/drawing/2014/main" id="{D3A8038D-B56F-4B29-AD57-9A804DB63DA2}"/>
              </a:ext>
            </a:extLst>
          </p:cNvPr>
          <p:cNvSpPr txBox="1"/>
          <p:nvPr/>
        </p:nvSpPr>
        <p:spPr>
          <a:xfrm>
            <a:off x="5526967" y="4175416"/>
            <a:ext cx="2137038" cy="291085"/>
          </a:xfrm>
          <a:prstGeom prst="rect">
            <a:avLst/>
          </a:prstGeom>
          <a:solidFill>
            <a:schemeClr val="accent1"/>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a:solidFill>
                  <a:srgbClr val="FFFFFF"/>
                </a:solidFill>
              </a:rPr>
              <a:t>Insert text</a:t>
            </a:r>
          </a:p>
        </p:txBody>
      </p:sp>
      <p:sp>
        <p:nvSpPr>
          <p:cNvPr id="62" name="TextBox 61">
            <a:extLst>
              <a:ext uri="{FF2B5EF4-FFF2-40B4-BE49-F238E27FC236}">
                <a16:creationId xmlns:a16="http://schemas.microsoft.com/office/drawing/2014/main" id="{2647FC6F-51BD-4EC8-A177-A869ED3094B4}"/>
              </a:ext>
            </a:extLst>
          </p:cNvPr>
          <p:cNvSpPr txBox="1"/>
          <p:nvPr/>
        </p:nvSpPr>
        <p:spPr>
          <a:xfrm>
            <a:off x="5526967" y="5381441"/>
            <a:ext cx="2137038" cy="291085"/>
          </a:xfrm>
          <a:prstGeom prst="rect">
            <a:avLst/>
          </a:prstGeom>
          <a:solidFill>
            <a:schemeClr val="accent1"/>
          </a:solidFill>
          <a:ln>
            <a:noFill/>
          </a:ln>
        </p:spPr>
        <p:txBody>
          <a:bodyPr wrap="square" lIns="71977" tIns="64785" rIns="71977" bIns="45706" rtlCol="0" anchor="ctr">
            <a:noAutofit/>
          </a:bodyPr>
          <a:lstStyle>
            <a:defPPr>
              <a:defRPr lang="en-US"/>
            </a:defPPr>
            <a:lvl1pPr>
              <a:defRPr sz="1400">
                <a:solidFill>
                  <a:schemeClr val="bg1"/>
                </a:solidFill>
              </a:defRPr>
            </a:lvl1pPr>
          </a:lstStyle>
          <a:p>
            <a:pPr>
              <a:lnSpc>
                <a:spcPct val="90000"/>
              </a:lnSpc>
            </a:pPr>
            <a:r>
              <a:rPr lang="en-US">
                <a:solidFill>
                  <a:srgbClr val="FFFFFF"/>
                </a:solidFill>
              </a:rPr>
              <a:t>Insert text</a:t>
            </a:r>
          </a:p>
        </p:txBody>
      </p:sp>
      <p:sp>
        <p:nvSpPr>
          <p:cNvPr id="63" name="Rectangle 11">
            <a:extLst>
              <a:ext uri="{FF2B5EF4-FFF2-40B4-BE49-F238E27FC236}">
                <a16:creationId xmlns:a16="http://schemas.microsoft.com/office/drawing/2014/main" id="{DF6852BF-EA61-496B-9138-404FED7F756A}"/>
              </a:ext>
            </a:extLst>
          </p:cNvPr>
          <p:cNvSpPr>
            <a:spLocks noChangeArrowheads="1"/>
          </p:cNvSpPr>
          <p:nvPr/>
        </p:nvSpPr>
        <p:spPr bwMode="auto">
          <a:xfrm>
            <a:off x="8235851" y="1378561"/>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64" name="Rectangle 12">
            <a:extLst>
              <a:ext uri="{FF2B5EF4-FFF2-40B4-BE49-F238E27FC236}">
                <a16:creationId xmlns:a16="http://schemas.microsoft.com/office/drawing/2014/main" id="{912D9DDC-772B-4E07-A626-F7AFD27C2C12}"/>
              </a:ext>
            </a:extLst>
          </p:cNvPr>
          <p:cNvSpPr>
            <a:spLocks noChangeArrowheads="1"/>
          </p:cNvSpPr>
          <p:nvPr/>
        </p:nvSpPr>
        <p:spPr bwMode="auto">
          <a:xfrm>
            <a:off x="8235851" y="1763148"/>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65" name="Rectangle 13">
            <a:extLst>
              <a:ext uri="{FF2B5EF4-FFF2-40B4-BE49-F238E27FC236}">
                <a16:creationId xmlns:a16="http://schemas.microsoft.com/office/drawing/2014/main" id="{5360CC77-A563-4AA4-BE8A-CD447A39EEC3}"/>
              </a:ext>
            </a:extLst>
          </p:cNvPr>
          <p:cNvSpPr>
            <a:spLocks noChangeArrowheads="1"/>
          </p:cNvSpPr>
          <p:nvPr/>
        </p:nvSpPr>
        <p:spPr bwMode="auto">
          <a:xfrm>
            <a:off x="8235851" y="2147735"/>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cxnSp>
        <p:nvCxnSpPr>
          <p:cNvPr id="66" name="AutoShape 29">
            <a:extLst>
              <a:ext uri="{FF2B5EF4-FFF2-40B4-BE49-F238E27FC236}">
                <a16:creationId xmlns:a16="http://schemas.microsoft.com/office/drawing/2014/main" id="{1A49B9B8-CFC5-49C2-850E-905EB4AFB46C}"/>
              </a:ext>
            </a:extLst>
          </p:cNvPr>
          <p:cNvCxnSpPr>
            <a:cxnSpLocks noChangeShapeType="1"/>
            <a:stCxn id="59" idx="3"/>
            <a:endCxn id="63" idx="1"/>
          </p:cNvCxnSpPr>
          <p:nvPr/>
        </p:nvCxnSpPr>
        <p:spPr bwMode="auto">
          <a:xfrm flipV="1">
            <a:off x="7664006" y="1524213"/>
            <a:ext cx="571845" cy="38458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7" name="AutoShape 30">
            <a:extLst>
              <a:ext uri="{FF2B5EF4-FFF2-40B4-BE49-F238E27FC236}">
                <a16:creationId xmlns:a16="http://schemas.microsoft.com/office/drawing/2014/main" id="{5175DA3F-C00E-4280-A26D-C7AC2AF961D6}"/>
              </a:ext>
            </a:extLst>
          </p:cNvPr>
          <p:cNvCxnSpPr>
            <a:cxnSpLocks noChangeShapeType="1"/>
            <a:stCxn id="59" idx="3"/>
            <a:endCxn id="64" idx="1"/>
          </p:cNvCxnSpPr>
          <p:nvPr/>
        </p:nvCxnSpPr>
        <p:spPr bwMode="auto">
          <a:xfrm>
            <a:off x="7664006" y="1908799"/>
            <a:ext cx="571845" cy="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8" name="AutoShape 31">
            <a:extLst>
              <a:ext uri="{FF2B5EF4-FFF2-40B4-BE49-F238E27FC236}">
                <a16:creationId xmlns:a16="http://schemas.microsoft.com/office/drawing/2014/main" id="{DBABA56B-F9C4-43A1-A93E-47720401ADEB}"/>
              </a:ext>
            </a:extLst>
          </p:cNvPr>
          <p:cNvCxnSpPr>
            <a:cxnSpLocks noChangeShapeType="1"/>
            <a:stCxn id="59" idx="3"/>
            <a:endCxn id="65" idx="1"/>
          </p:cNvCxnSpPr>
          <p:nvPr/>
        </p:nvCxnSpPr>
        <p:spPr bwMode="auto">
          <a:xfrm>
            <a:off x="7664006" y="1908799"/>
            <a:ext cx="571845" cy="38458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9" name="Rectangle 11">
            <a:extLst>
              <a:ext uri="{FF2B5EF4-FFF2-40B4-BE49-F238E27FC236}">
                <a16:creationId xmlns:a16="http://schemas.microsoft.com/office/drawing/2014/main" id="{239A8DE5-2092-4D91-85F6-F611EFD28052}"/>
              </a:ext>
            </a:extLst>
          </p:cNvPr>
          <p:cNvSpPr>
            <a:spLocks noChangeArrowheads="1"/>
          </p:cNvSpPr>
          <p:nvPr/>
        </p:nvSpPr>
        <p:spPr bwMode="auto">
          <a:xfrm>
            <a:off x="8235851" y="2584803"/>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70" name="Rectangle 12">
            <a:extLst>
              <a:ext uri="{FF2B5EF4-FFF2-40B4-BE49-F238E27FC236}">
                <a16:creationId xmlns:a16="http://schemas.microsoft.com/office/drawing/2014/main" id="{141C3353-959A-4287-9AC8-B02ABBE6C496}"/>
              </a:ext>
            </a:extLst>
          </p:cNvPr>
          <p:cNvSpPr>
            <a:spLocks noChangeArrowheads="1"/>
          </p:cNvSpPr>
          <p:nvPr/>
        </p:nvSpPr>
        <p:spPr bwMode="auto">
          <a:xfrm>
            <a:off x="8235851" y="2969390"/>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71" name="Rectangle 13">
            <a:extLst>
              <a:ext uri="{FF2B5EF4-FFF2-40B4-BE49-F238E27FC236}">
                <a16:creationId xmlns:a16="http://schemas.microsoft.com/office/drawing/2014/main" id="{10ECEC4C-CE20-481F-ACB1-EA1EB7201078}"/>
              </a:ext>
            </a:extLst>
          </p:cNvPr>
          <p:cNvSpPr>
            <a:spLocks noChangeArrowheads="1"/>
          </p:cNvSpPr>
          <p:nvPr/>
        </p:nvSpPr>
        <p:spPr bwMode="auto">
          <a:xfrm>
            <a:off x="8235851" y="3353977"/>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cxnSp>
        <p:nvCxnSpPr>
          <p:cNvPr id="72" name="AutoShape 29">
            <a:extLst>
              <a:ext uri="{FF2B5EF4-FFF2-40B4-BE49-F238E27FC236}">
                <a16:creationId xmlns:a16="http://schemas.microsoft.com/office/drawing/2014/main" id="{76AED355-1706-4C58-9463-1FD80E6F82A7}"/>
              </a:ext>
            </a:extLst>
          </p:cNvPr>
          <p:cNvCxnSpPr>
            <a:cxnSpLocks noChangeShapeType="1"/>
            <a:stCxn id="60" idx="3"/>
            <a:endCxn id="69" idx="1"/>
          </p:cNvCxnSpPr>
          <p:nvPr/>
        </p:nvCxnSpPr>
        <p:spPr bwMode="auto">
          <a:xfrm flipV="1">
            <a:off x="7664005" y="2730455"/>
            <a:ext cx="571846" cy="38447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3" name="AutoShape 30">
            <a:extLst>
              <a:ext uri="{FF2B5EF4-FFF2-40B4-BE49-F238E27FC236}">
                <a16:creationId xmlns:a16="http://schemas.microsoft.com/office/drawing/2014/main" id="{DF46BD0F-0292-441A-B1AE-60FB5C9B8E73}"/>
              </a:ext>
            </a:extLst>
          </p:cNvPr>
          <p:cNvCxnSpPr>
            <a:cxnSpLocks noChangeShapeType="1"/>
            <a:stCxn id="60" idx="3"/>
            <a:endCxn id="70" idx="1"/>
          </p:cNvCxnSpPr>
          <p:nvPr/>
        </p:nvCxnSpPr>
        <p:spPr bwMode="auto">
          <a:xfrm>
            <a:off x="7664005" y="3114934"/>
            <a:ext cx="571846" cy="108"/>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AutoShape 31">
            <a:extLst>
              <a:ext uri="{FF2B5EF4-FFF2-40B4-BE49-F238E27FC236}">
                <a16:creationId xmlns:a16="http://schemas.microsoft.com/office/drawing/2014/main" id="{4E33F4A2-95C4-46D2-824C-EBD8A68475C6}"/>
              </a:ext>
            </a:extLst>
          </p:cNvPr>
          <p:cNvCxnSpPr>
            <a:cxnSpLocks noChangeShapeType="1"/>
            <a:stCxn id="60" idx="3"/>
            <a:endCxn id="71" idx="1"/>
          </p:cNvCxnSpPr>
          <p:nvPr/>
        </p:nvCxnSpPr>
        <p:spPr bwMode="auto">
          <a:xfrm>
            <a:off x="7664006" y="3114934"/>
            <a:ext cx="571845" cy="38469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5" name="Rectangle 11">
            <a:extLst>
              <a:ext uri="{FF2B5EF4-FFF2-40B4-BE49-F238E27FC236}">
                <a16:creationId xmlns:a16="http://schemas.microsoft.com/office/drawing/2014/main" id="{C8F0318B-632F-42F3-9883-1A0C2FCA185A}"/>
              </a:ext>
            </a:extLst>
          </p:cNvPr>
          <p:cNvSpPr>
            <a:spLocks noChangeArrowheads="1"/>
          </p:cNvSpPr>
          <p:nvPr/>
        </p:nvSpPr>
        <p:spPr bwMode="auto">
          <a:xfrm>
            <a:off x="8235851" y="3791046"/>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76" name="Rectangle 12">
            <a:extLst>
              <a:ext uri="{FF2B5EF4-FFF2-40B4-BE49-F238E27FC236}">
                <a16:creationId xmlns:a16="http://schemas.microsoft.com/office/drawing/2014/main" id="{F730725F-A800-4112-BE99-1CA5853B7A66}"/>
              </a:ext>
            </a:extLst>
          </p:cNvPr>
          <p:cNvSpPr>
            <a:spLocks noChangeArrowheads="1"/>
          </p:cNvSpPr>
          <p:nvPr/>
        </p:nvSpPr>
        <p:spPr bwMode="auto">
          <a:xfrm>
            <a:off x="8235851" y="4175632"/>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77" name="Rectangle 13">
            <a:extLst>
              <a:ext uri="{FF2B5EF4-FFF2-40B4-BE49-F238E27FC236}">
                <a16:creationId xmlns:a16="http://schemas.microsoft.com/office/drawing/2014/main" id="{7DAE269F-7293-4C0D-B686-2DA9EB04C79E}"/>
              </a:ext>
            </a:extLst>
          </p:cNvPr>
          <p:cNvSpPr>
            <a:spLocks noChangeArrowheads="1"/>
          </p:cNvSpPr>
          <p:nvPr/>
        </p:nvSpPr>
        <p:spPr bwMode="auto">
          <a:xfrm>
            <a:off x="8235851" y="4560220"/>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cxnSp>
        <p:nvCxnSpPr>
          <p:cNvPr id="78" name="AutoShape 29">
            <a:extLst>
              <a:ext uri="{FF2B5EF4-FFF2-40B4-BE49-F238E27FC236}">
                <a16:creationId xmlns:a16="http://schemas.microsoft.com/office/drawing/2014/main" id="{60EB15E4-BC0B-4683-90EE-40B3CE89573C}"/>
              </a:ext>
            </a:extLst>
          </p:cNvPr>
          <p:cNvCxnSpPr>
            <a:cxnSpLocks noChangeShapeType="1"/>
            <a:stCxn id="61" idx="3"/>
            <a:endCxn id="75" idx="1"/>
          </p:cNvCxnSpPr>
          <p:nvPr/>
        </p:nvCxnSpPr>
        <p:spPr bwMode="auto">
          <a:xfrm flipV="1">
            <a:off x="7664005" y="3936698"/>
            <a:ext cx="571846" cy="384261"/>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9" name="AutoShape 30">
            <a:extLst>
              <a:ext uri="{FF2B5EF4-FFF2-40B4-BE49-F238E27FC236}">
                <a16:creationId xmlns:a16="http://schemas.microsoft.com/office/drawing/2014/main" id="{ED7F5EE0-9BB7-472A-B7E7-6F2D6C1CBDED}"/>
              </a:ext>
            </a:extLst>
          </p:cNvPr>
          <p:cNvCxnSpPr>
            <a:cxnSpLocks noChangeShapeType="1"/>
            <a:stCxn id="61" idx="3"/>
            <a:endCxn id="76" idx="1"/>
          </p:cNvCxnSpPr>
          <p:nvPr/>
        </p:nvCxnSpPr>
        <p:spPr bwMode="auto">
          <a:xfrm>
            <a:off x="7664005" y="4320959"/>
            <a:ext cx="571846" cy="325"/>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0" name="AutoShape 31">
            <a:extLst>
              <a:ext uri="{FF2B5EF4-FFF2-40B4-BE49-F238E27FC236}">
                <a16:creationId xmlns:a16="http://schemas.microsoft.com/office/drawing/2014/main" id="{5CBD4A49-42F6-4450-827D-3F367D949674}"/>
              </a:ext>
            </a:extLst>
          </p:cNvPr>
          <p:cNvCxnSpPr>
            <a:cxnSpLocks noChangeShapeType="1"/>
            <a:stCxn id="61" idx="3"/>
            <a:endCxn id="77" idx="1"/>
          </p:cNvCxnSpPr>
          <p:nvPr/>
        </p:nvCxnSpPr>
        <p:spPr bwMode="auto">
          <a:xfrm>
            <a:off x="7664006" y="4320959"/>
            <a:ext cx="571845" cy="38491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1" name="Rectangle 11">
            <a:extLst>
              <a:ext uri="{FF2B5EF4-FFF2-40B4-BE49-F238E27FC236}">
                <a16:creationId xmlns:a16="http://schemas.microsoft.com/office/drawing/2014/main" id="{2A3AFFFC-1A36-42A4-8EEE-972AF1B89072}"/>
              </a:ext>
            </a:extLst>
          </p:cNvPr>
          <p:cNvSpPr>
            <a:spLocks noChangeArrowheads="1"/>
          </p:cNvSpPr>
          <p:nvPr/>
        </p:nvSpPr>
        <p:spPr bwMode="auto">
          <a:xfrm>
            <a:off x="8235851" y="4997423"/>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2" name="Rectangle 12">
            <a:extLst>
              <a:ext uri="{FF2B5EF4-FFF2-40B4-BE49-F238E27FC236}">
                <a16:creationId xmlns:a16="http://schemas.microsoft.com/office/drawing/2014/main" id="{543F68A3-D840-404F-9162-9ACA39E73E69}"/>
              </a:ext>
            </a:extLst>
          </p:cNvPr>
          <p:cNvSpPr>
            <a:spLocks noChangeArrowheads="1"/>
          </p:cNvSpPr>
          <p:nvPr/>
        </p:nvSpPr>
        <p:spPr bwMode="auto">
          <a:xfrm>
            <a:off x="8235851" y="5382009"/>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3" name="Rectangle 13">
            <a:extLst>
              <a:ext uri="{FF2B5EF4-FFF2-40B4-BE49-F238E27FC236}">
                <a16:creationId xmlns:a16="http://schemas.microsoft.com/office/drawing/2014/main" id="{1530963C-B61C-4428-889C-2771BE87A102}"/>
              </a:ext>
            </a:extLst>
          </p:cNvPr>
          <p:cNvSpPr>
            <a:spLocks noChangeArrowheads="1"/>
          </p:cNvSpPr>
          <p:nvPr/>
        </p:nvSpPr>
        <p:spPr bwMode="auto">
          <a:xfrm>
            <a:off x="8235851" y="5766597"/>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cxnSp>
        <p:nvCxnSpPr>
          <p:cNvPr id="84" name="AutoShape 29">
            <a:extLst>
              <a:ext uri="{FF2B5EF4-FFF2-40B4-BE49-F238E27FC236}">
                <a16:creationId xmlns:a16="http://schemas.microsoft.com/office/drawing/2014/main" id="{126C0AF5-36F1-4216-B9A4-662566381890}"/>
              </a:ext>
            </a:extLst>
          </p:cNvPr>
          <p:cNvCxnSpPr>
            <a:cxnSpLocks noChangeShapeType="1"/>
            <a:stCxn id="62" idx="3"/>
            <a:endCxn id="81" idx="1"/>
          </p:cNvCxnSpPr>
          <p:nvPr/>
        </p:nvCxnSpPr>
        <p:spPr bwMode="auto">
          <a:xfrm flipV="1">
            <a:off x="7664005" y="5143075"/>
            <a:ext cx="571846" cy="38390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5" name="AutoShape 30">
            <a:extLst>
              <a:ext uri="{FF2B5EF4-FFF2-40B4-BE49-F238E27FC236}">
                <a16:creationId xmlns:a16="http://schemas.microsoft.com/office/drawing/2014/main" id="{3AA55CAC-2F7F-4E8F-80B5-6664B0D1D01B}"/>
              </a:ext>
            </a:extLst>
          </p:cNvPr>
          <p:cNvCxnSpPr>
            <a:cxnSpLocks noChangeShapeType="1"/>
            <a:stCxn id="62" idx="3"/>
            <a:endCxn id="82" idx="1"/>
          </p:cNvCxnSpPr>
          <p:nvPr/>
        </p:nvCxnSpPr>
        <p:spPr bwMode="auto">
          <a:xfrm>
            <a:off x="7664005" y="5526984"/>
            <a:ext cx="571846" cy="677"/>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6" name="AutoShape 31">
            <a:extLst>
              <a:ext uri="{FF2B5EF4-FFF2-40B4-BE49-F238E27FC236}">
                <a16:creationId xmlns:a16="http://schemas.microsoft.com/office/drawing/2014/main" id="{3ED0050F-84FB-4228-BF48-DE54CF30D7A5}"/>
              </a:ext>
            </a:extLst>
          </p:cNvPr>
          <p:cNvCxnSpPr>
            <a:cxnSpLocks noChangeShapeType="1"/>
            <a:stCxn id="62" idx="3"/>
            <a:endCxn id="83" idx="1"/>
          </p:cNvCxnSpPr>
          <p:nvPr/>
        </p:nvCxnSpPr>
        <p:spPr bwMode="auto">
          <a:xfrm>
            <a:off x="7664006" y="5526984"/>
            <a:ext cx="571845" cy="38526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40650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Horizontal Issue Tree – Asymmetric</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BE1853A-8317-484C-B928-7ABB7E5E0E6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4" name="Rectangle 4">
            <a:extLst>
              <a:ext uri="{FF2B5EF4-FFF2-40B4-BE49-F238E27FC236}">
                <a16:creationId xmlns:a16="http://schemas.microsoft.com/office/drawing/2014/main" id="{5A483554-F073-47FE-803F-495B7C6EC344}"/>
              </a:ext>
            </a:extLst>
          </p:cNvPr>
          <p:cNvSpPr>
            <a:spLocks noChangeArrowheads="1"/>
          </p:cNvSpPr>
          <p:nvPr/>
        </p:nvSpPr>
        <p:spPr bwMode="auto">
          <a:xfrm>
            <a:off x="4524481" y="2159025"/>
            <a:ext cx="1800000" cy="295200"/>
          </a:xfrm>
          <a:prstGeom prst="rect">
            <a:avLst/>
          </a:prstGeom>
          <a:solidFill>
            <a:schemeClr val="accent3"/>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sp>
        <p:nvSpPr>
          <p:cNvPr id="55" name="Rectangle 5">
            <a:extLst>
              <a:ext uri="{FF2B5EF4-FFF2-40B4-BE49-F238E27FC236}">
                <a16:creationId xmlns:a16="http://schemas.microsoft.com/office/drawing/2014/main" id="{EC7D6193-223E-4C39-BBFB-27413F0D6217}"/>
              </a:ext>
            </a:extLst>
          </p:cNvPr>
          <p:cNvSpPr>
            <a:spLocks noChangeArrowheads="1"/>
          </p:cNvSpPr>
          <p:nvPr/>
        </p:nvSpPr>
        <p:spPr bwMode="auto">
          <a:xfrm>
            <a:off x="4524481" y="4088595"/>
            <a:ext cx="1800000" cy="295200"/>
          </a:xfrm>
          <a:prstGeom prst="rect">
            <a:avLst/>
          </a:prstGeom>
          <a:solidFill>
            <a:schemeClr val="accent3"/>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sp>
        <p:nvSpPr>
          <p:cNvPr id="56" name="Rectangle 6">
            <a:extLst>
              <a:ext uri="{FF2B5EF4-FFF2-40B4-BE49-F238E27FC236}">
                <a16:creationId xmlns:a16="http://schemas.microsoft.com/office/drawing/2014/main" id="{58BE4088-9057-4198-A968-33074FF95A0A}"/>
              </a:ext>
            </a:extLst>
          </p:cNvPr>
          <p:cNvSpPr>
            <a:spLocks noChangeArrowheads="1"/>
          </p:cNvSpPr>
          <p:nvPr/>
        </p:nvSpPr>
        <p:spPr bwMode="auto">
          <a:xfrm>
            <a:off x="4524481" y="5454676"/>
            <a:ext cx="1800000" cy="295200"/>
          </a:xfrm>
          <a:prstGeom prst="rect">
            <a:avLst/>
          </a:prstGeom>
          <a:solidFill>
            <a:schemeClr val="accent3"/>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sp>
        <p:nvSpPr>
          <p:cNvPr id="57" name="Rectangle 7">
            <a:extLst>
              <a:ext uri="{FF2B5EF4-FFF2-40B4-BE49-F238E27FC236}">
                <a16:creationId xmlns:a16="http://schemas.microsoft.com/office/drawing/2014/main" id="{41913552-39C6-4032-9F1F-2DE0EFB5DF5C}"/>
              </a:ext>
            </a:extLst>
          </p:cNvPr>
          <p:cNvSpPr>
            <a:spLocks noChangeArrowheads="1"/>
          </p:cNvSpPr>
          <p:nvPr/>
        </p:nvSpPr>
        <p:spPr bwMode="auto">
          <a:xfrm>
            <a:off x="2503534" y="3201219"/>
            <a:ext cx="1350000" cy="295200"/>
          </a:xfrm>
          <a:prstGeom prst="rect">
            <a:avLst/>
          </a:prstGeom>
          <a:solidFill>
            <a:schemeClr val="accent4"/>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sp>
        <p:nvSpPr>
          <p:cNvPr id="58" name="Rectangle 8">
            <a:extLst>
              <a:ext uri="{FF2B5EF4-FFF2-40B4-BE49-F238E27FC236}">
                <a16:creationId xmlns:a16="http://schemas.microsoft.com/office/drawing/2014/main" id="{8F39E8F1-2697-4830-A122-A1F2A258EF7A}"/>
              </a:ext>
            </a:extLst>
          </p:cNvPr>
          <p:cNvSpPr>
            <a:spLocks noChangeArrowheads="1"/>
          </p:cNvSpPr>
          <p:nvPr/>
        </p:nvSpPr>
        <p:spPr bwMode="auto">
          <a:xfrm>
            <a:off x="2503534" y="5454676"/>
            <a:ext cx="1350000" cy="295200"/>
          </a:xfrm>
          <a:prstGeom prst="rect">
            <a:avLst/>
          </a:prstGeom>
          <a:solidFill>
            <a:schemeClr val="accent4"/>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sp>
        <p:nvSpPr>
          <p:cNvPr id="59" name="Rectangle 9">
            <a:extLst>
              <a:ext uri="{FF2B5EF4-FFF2-40B4-BE49-F238E27FC236}">
                <a16:creationId xmlns:a16="http://schemas.microsoft.com/office/drawing/2014/main" id="{1E324AF6-96D6-4EBA-AC13-B03E31F0C874}"/>
              </a:ext>
            </a:extLst>
          </p:cNvPr>
          <p:cNvSpPr>
            <a:spLocks noChangeArrowheads="1"/>
          </p:cNvSpPr>
          <p:nvPr/>
        </p:nvSpPr>
        <p:spPr bwMode="auto">
          <a:xfrm>
            <a:off x="572587" y="4293096"/>
            <a:ext cx="1260000" cy="295200"/>
          </a:xfrm>
          <a:prstGeom prst="rect">
            <a:avLst/>
          </a:prstGeom>
          <a:solidFill>
            <a:schemeClr val="accent5"/>
          </a:solidFill>
          <a:ln w="6350">
            <a:noFill/>
            <a:miter lim="800000"/>
            <a:headEnd/>
            <a:tailEnd/>
          </a:ln>
          <a:effectLst/>
        </p:spPr>
        <p:txBody>
          <a:bodyPr lIns="72000" tIns="72000" rIns="72000" bIns="72000" anchor="ctr"/>
          <a:lstStyle/>
          <a:p>
            <a:pPr algn="l" eaLnBrk="0" hangingPunct="0"/>
            <a:r>
              <a:rPr lang="en-GB" sz="1200" b="1">
                <a:solidFill>
                  <a:schemeClr val="bg1"/>
                </a:solidFill>
              </a:rPr>
              <a:t>Text</a:t>
            </a:r>
            <a:endParaRPr lang="en-US" sz="1200" b="1">
              <a:solidFill>
                <a:schemeClr val="bg1"/>
              </a:solidFill>
            </a:endParaRPr>
          </a:p>
        </p:txBody>
      </p:sp>
      <p:cxnSp>
        <p:nvCxnSpPr>
          <p:cNvPr id="60" name="AutoShape 10">
            <a:extLst>
              <a:ext uri="{FF2B5EF4-FFF2-40B4-BE49-F238E27FC236}">
                <a16:creationId xmlns:a16="http://schemas.microsoft.com/office/drawing/2014/main" id="{F83D19A2-4525-45D8-AD3A-8BABCAF16D69}"/>
              </a:ext>
            </a:extLst>
          </p:cNvPr>
          <p:cNvCxnSpPr>
            <a:cxnSpLocks noChangeShapeType="1"/>
            <a:stCxn id="59" idx="3"/>
            <a:endCxn id="58" idx="1"/>
          </p:cNvCxnSpPr>
          <p:nvPr/>
        </p:nvCxnSpPr>
        <p:spPr bwMode="auto">
          <a:xfrm>
            <a:off x="1832587" y="4440696"/>
            <a:ext cx="670947" cy="1161580"/>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1" name="AutoShape 11">
            <a:extLst>
              <a:ext uri="{FF2B5EF4-FFF2-40B4-BE49-F238E27FC236}">
                <a16:creationId xmlns:a16="http://schemas.microsoft.com/office/drawing/2014/main" id="{C3EEE185-2711-4D8B-A6A3-1936A350CB0A}"/>
              </a:ext>
            </a:extLst>
          </p:cNvPr>
          <p:cNvCxnSpPr>
            <a:cxnSpLocks noChangeShapeType="1"/>
            <a:stCxn id="59" idx="3"/>
            <a:endCxn id="57" idx="1"/>
          </p:cNvCxnSpPr>
          <p:nvPr/>
        </p:nvCxnSpPr>
        <p:spPr bwMode="auto">
          <a:xfrm flipV="1">
            <a:off x="1832587" y="3348819"/>
            <a:ext cx="670947" cy="109187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AutoShape 12">
            <a:extLst>
              <a:ext uri="{FF2B5EF4-FFF2-40B4-BE49-F238E27FC236}">
                <a16:creationId xmlns:a16="http://schemas.microsoft.com/office/drawing/2014/main" id="{0E734CB0-8FFA-46DC-B279-08472965507C}"/>
              </a:ext>
            </a:extLst>
          </p:cNvPr>
          <p:cNvCxnSpPr>
            <a:cxnSpLocks noChangeShapeType="1"/>
            <a:stCxn id="57" idx="3"/>
            <a:endCxn id="55" idx="1"/>
          </p:cNvCxnSpPr>
          <p:nvPr/>
        </p:nvCxnSpPr>
        <p:spPr bwMode="auto">
          <a:xfrm>
            <a:off x="3853534" y="3348819"/>
            <a:ext cx="670947" cy="88737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3" name="AutoShape 13">
            <a:extLst>
              <a:ext uri="{FF2B5EF4-FFF2-40B4-BE49-F238E27FC236}">
                <a16:creationId xmlns:a16="http://schemas.microsoft.com/office/drawing/2014/main" id="{30C8C14F-C78C-4E72-A2A6-CEE34AA8772F}"/>
              </a:ext>
            </a:extLst>
          </p:cNvPr>
          <p:cNvCxnSpPr>
            <a:cxnSpLocks noChangeShapeType="1"/>
            <a:stCxn id="58" idx="3"/>
            <a:endCxn id="56" idx="1"/>
          </p:cNvCxnSpPr>
          <p:nvPr/>
        </p:nvCxnSpPr>
        <p:spPr bwMode="auto">
          <a:xfrm>
            <a:off x="3853534" y="5602276"/>
            <a:ext cx="670947" cy="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4" name="AutoShape 14">
            <a:extLst>
              <a:ext uri="{FF2B5EF4-FFF2-40B4-BE49-F238E27FC236}">
                <a16:creationId xmlns:a16="http://schemas.microsoft.com/office/drawing/2014/main" id="{6E51ED9A-251A-4AAB-B105-D07D28BB80CE}"/>
              </a:ext>
            </a:extLst>
          </p:cNvPr>
          <p:cNvCxnSpPr>
            <a:cxnSpLocks noChangeShapeType="1"/>
            <a:stCxn id="57" idx="3"/>
            <a:endCxn id="54" idx="1"/>
          </p:cNvCxnSpPr>
          <p:nvPr/>
        </p:nvCxnSpPr>
        <p:spPr bwMode="auto">
          <a:xfrm flipV="1">
            <a:off x="3853534" y="2306625"/>
            <a:ext cx="670947" cy="104219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5" name="Rectangle 27">
            <a:extLst>
              <a:ext uri="{FF2B5EF4-FFF2-40B4-BE49-F238E27FC236}">
                <a16:creationId xmlns:a16="http://schemas.microsoft.com/office/drawing/2014/main" id="{81E7A720-87E3-485A-BBEA-39DDF274020D}"/>
              </a:ext>
            </a:extLst>
          </p:cNvPr>
          <p:cNvSpPr>
            <a:spLocks noChangeArrowheads="1"/>
          </p:cNvSpPr>
          <p:nvPr/>
        </p:nvSpPr>
        <p:spPr bwMode="auto">
          <a:xfrm>
            <a:off x="6995428" y="1648062"/>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sp>
        <p:nvSpPr>
          <p:cNvPr id="66" name="Rectangle 28">
            <a:extLst>
              <a:ext uri="{FF2B5EF4-FFF2-40B4-BE49-F238E27FC236}">
                <a16:creationId xmlns:a16="http://schemas.microsoft.com/office/drawing/2014/main" id="{3A7112B5-B2D3-4CC2-8024-D2CF9264A5CC}"/>
              </a:ext>
            </a:extLst>
          </p:cNvPr>
          <p:cNvSpPr>
            <a:spLocks noChangeArrowheads="1"/>
          </p:cNvSpPr>
          <p:nvPr/>
        </p:nvSpPr>
        <p:spPr bwMode="auto">
          <a:xfrm>
            <a:off x="6995428" y="2672619"/>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sp>
        <p:nvSpPr>
          <p:cNvPr id="67" name="Rectangle 29">
            <a:extLst>
              <a:ext uri="{FF2B5EF4-FFF2-40B4-BE49-F238E27FC236}">
                <a16:creationId xmlns:a16="http://schemas.microsoft.com/office/drawing/2014/main" id="{46B1809A-31C5-4843-98E9-CB4FAF7CE055}"/>
              </a:ext>
            </a:extLst>
          </p:cNvPr>
          <p:cNvSpPr>
            <a:spLocks noChangeArrowheads="1"/>
          </p:cNvSpPr>
          <p:nvPr/>
        </p:nvSpPr>
        <p:spPr bwMode="auto">
          <a:xfrm>
            <a:off x="6995428" y="3702918"/>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sp>
        <p:nvSpPr>
          <p:cNvPr id="68" name="Rectangle 30">
            <a:extLst>
              <a:ext uri="{FF2B5EF4-FFF2-40B4-BE49-F238E27FC236}">
                <a16:creationId xmlns:a16="http://schemas.microsoft.com/office/drawing/2014/main" id="{A51F0537-13CA-46C6-AB51-8CD8CF4D64D8}"/>
              </a:ext>
            </a:extLst>
          </p:cNvPr>
          <p:cNvSpPr>
            <a:spLocks noChangeArrowheads="1"/>
          </p:cNvSpPr>
          <p:nvPr/>
        </p:nvSpPr>
        <p:spPr bwMode="auto">
          <a:xfrm>
            <a:off x="6995428" y="4749768"/>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cxnSp>
        <p:nvCxnSpPr>
          <p:cNvPr id="69" name="AutoShape 31">
            <a:extLst>
              <a:ext uri="{FF2B5EF4-FFF2-40B4-BE49-F238E27FC236}">
                <a16:creationId xmlns:a16="http://schemas.microsoft.com/office/drawing/2014/main" id="{F07A4BC4-8792-49A7-94C0-5C7825E25F5D}"/>
              </a:ext>
            </a:extLst>
          </p:cNvPr>
          <p:cNvCxnSpPr>
            <a:cxnSpLocks noChangeShapeType="1"/>
            <a:stCxn id="55" idx="3"/>
            <a:endCxn id="67" idx="1"/>
          </p:cNvCxnSpPr>
          <p:nvPr/>
        </p:nvCxnSpPr>
        <p:spPr bwMode="auto">
          <a:xfrm flipV="1">
            <a:off x="6324481" y="3850518"/>
            <a:ext cx="670947" cy="38567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0" name="Rectangle 44">
            <a:extLst>
              <a:ext uri="{FF2B5EF4-FFF2-40B4-BE49-F238E27FC236}">
                <a16:creationId xmlns:a16="http://schemas.microsoft.com/office/drawing/2014/main" id="{F2C1310B-A0C7-4FF8-981E-3B5FB6529E66}"/>
              </a:ext>
            </a:extLst>
          </p:cNvPr>
          <p:cNvSpPr>
            <a:spLocks noChangeArrowheads="1"/>
          </p:cNvSpPr>
          <p:nvPr/>
        </p:nvSpPr>
        <p:spPr bwMode="auto">
          <a:xfrm>
            <a:off x="6995428" y="5463987"/>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sp>
        <p:nvSpPr>
          <p:cNvPr id="71" name="Rectangle 45">
            <a:extLst>
              <a:ext uri="{FF2B5EF4-FFF2-40B4-BE49-F238E27FC236}">
                <a16:creationId xmlns:a16="http://schemas.microsoft.com/office/drawing/2014/main" id="{3568204F-CC38-4214-8225-75F93F87B4BE}"/>
              </a:ext>
            </a:extLst>
          </p:cNvPr>
          <p:cNvSpPr>
            <a:spLocks noChangeArrowheads="1"/>
          </p:cNvSpPr>
          <p:nvPr/>
        </p:nvSpPr>
        <p:spPr bwMode="auto">
          <a:xfrm>
            <a:off x="6995428" y="5102831"/>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sp>
        <p:nvSpPr>
          <p:cNvPr id="72" name="Rectangle 46">
            <a:extLst>
              <a:ext uri="{FF2B5EF4-FFF2-40B4-BE49-F238E27FC236}">
                <a16:creationId xmlns:a16="http://schemas.microsoft.com/office/drawing/2014/main" id="{124659F8-655E-4358-B837-AE4D9154D5A5}"/>
              </a:ext>
            </a:extLst>
          </p:cNvPr>
          <p:cNvSpPr>
            <a:spLocks noChangeArrowheads="1"/>
          </p:cNvSpPr>
          <p:nvPr/>
        </p:nvSpPr>
        <p:spPr bwMode="auto">
          <a:xfrm>
            <a:off x="6995428" y="5825143"/>
            <a:ext cx="1800000" cy="295200"/>
          </a:xfrm>
          <a:prstGeom prst="rect">
            <a:avLst/>
          </a:prstGeom>
          <a:solidFill>
            <a:schemeClr val="accent1"/>
          </a:solidFill>
          <a:ln w="6350">
            <a:noFill/>
            <a:miter lim="800000"/>
            <a:headEnd/>
            <a:tailEnd/>
          </a:ln>
          <a:effectLst/>
        </p:spPr>
        <p:txBody>
          <a:bodyPr lIns="72000" tIns="72000" rIns="72000" bIns="72000" anchor="ctr"/>
          <a:lstStyle/>
          <a:p>
            <a:pPr algn="l" eaLnBrk="0" hangingPunct="0"/>
            <a:r>
              <a:rPr lang="en-GB" sz="1200">
                <a:solidFill>
                  <a:schemeClr val="bg1"/>
                </a:solidFill>
              </a:rPr>
              <a:t>Text</a:t>
            </a:r>
            <a:endParaRPr lang="en-US" sz="1200">
              <a:solidFill>
                <a:schemeClr val="bg1"/>
              </a:solidFill>
            </a:endParaRPr>
          </a:p>
        </p:txBody>
      </p:sp>
      <p:cxnSp>
        <p:nvCxnSpPr>
          <p:cNvPr id="73" name="AutoShape 47">
            <a:extLst>
              <a:ext uri="{FF2B5EF4-FFF2-40B4-BE49-F238E27FC236}">
                <a16:creationId xmlns:a16="http://schemas.microsoft.com/office/drawing/2014/main" id="{22536BAB-1FB0-4775-BF7D-515ADB28A0BE}"/>
              </a:ext>
            </a:extLst>
          </p:cNvPr>
          <p:cNvCxnSpPr>
            <a:cxnSpLocks noChangeShapeType="1"/>
            <a:stCxn id="56" idx="3"/>
            <a:endCxn id="70" idx="1"/>
          </p:cNvCxnSpPr>
          <p:nvPr/>
        </p:nvCxnSpPr>
        <p:spPr bwMode="auto">
          <a:xfrm>
            <a:off x="6324481" y="5602276"/>
            <a:ext cx="670947" cy="9311"/>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AutoShape 48">
            <a:extLst>
              <a:ext uri="{FF2B5EF4-FFF2-40B4-BE49-F238E27FC236}">
                <a16:creationId xmlns:a16="http://schemas.microsoft.com/office/drawing/2014/main" id="{E7A494D2-8AAB-4C17-ACA3-0A7AFDE06B0E}"/>
              </a:ext>
            </a:extLst>
          </p:cNvPr>
          <p:cNvCxnSpPr>
            <a:cxnSpLocks noChangeShapeType="1"/>
            <a:stCxn id="56" idx="3"/>
            <a:endCxn id="71" idx="1"/>
          </p:cNvCxnSpPr>
          <p:nvPr/>
        </p:nvCxnSpPr>
        <p:spPr bwMode="auto">
          <a:xfrm flipV="1">
            <a:off x="6324481" y="5250431"/>
            <a:ext cx="670947" cy="35184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AutoShape 49">
            <a:extLst>
              <a:ext uri="{FF2B5EF4-FFF2-40B4-BE49-F238E27FC236}">
                <a16:creationId xmlns:a16="http://schemas.microsoft.com/office/drawing/2014/main" id="{F491C152-CBFB-4BDC-A86F-FBA2A3A711B6}"/>
              </a:ext>
            </a:extLst>
          </p:cNvPr>
          <p:cNvCxnSpPr>
            <a:cxnSpLocks noChangeShapeType="1"/>
            <a:stCxn id="56" idx="3"/>
            <a:endCxn id="72" idx="1"/>
          </p:cNvCxnSpPr>
          <p:nvPr/>
        </p:nvCxnSpPr>
        <p:spPr bwMode="auto">
          <a:xfrm>
            <a:off x="6324481" y="5602276"/>
            <a:ext cx="670947" cy="37046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 name="AutoShape 50">
            <a:extLst>
              <a:ext uri="{FF2B5EF4-FFF2-40B4-BE49-F238E27FC236}">
                <a16:creationId xmlns:a16="http://schemas.microsoft.com/office/drawing/2014/main" id="{17C4132E-F6AB-4FCD-B828-8B666526FFE0}"/>
              </a:ext>
            </a:extLst>
          </p:cNvPr>
          <p:cNvCxnSpPr>
            <a:cxnSpLocks noChangeShapeType="1"/>
            <a:stCxn id="55" idx="3"/>
            <a:endCxn id="68" idx="1"/>
          </p:cNvCxnSpPr>
          <p:nvPr/>
        </p:nvCxnSpPr>
        <p:spPr bwMode="auto">
          <a:xfrm>
            <a:off x="6324481" y="4236195"/>
            <a:ext cx="670947" cy="66117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7" name="AutoShape 51">
            <a:extLst>
              <a:ext uri="{FF2B5EF4-FFF2-40B4-BE49-F238E27FC236}">
                <a16:creationId xmlns:a16="http://schemas.microsoft.com/office/drawing/2014/main" id="{44670D80-31B2-45C8-B5AD-E901C8BC367F}"/>
              </a:ext>
            </a:extLst>
          </p:cNvPr>
          <p:cNvCxnSpPr>
            <a:cxnSpLocks noChangeShapeType="1"/>
            <a:stCxn id="54" idx="3"/>
            <a:endCxn id="65" idx="1"/>
          </p:cNvCxnSpPr>
          <p:nvPr/>
        </p:nvCxnSpPr>
        <p:spPr bwMode="auto">
          <a:xfrm flipV="1">
            <a:off x="6324481" y="1795662"/>
            <a:ext cx="670947" cy="51096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 name="AutoShape 52">
            <a:extLst>
              <a:ext uri="{FF2B5EF4-FFF2-40B4-BE49-F238E27FC236}">
                <a16:creationId xmlns:a16="http://schemas.microsoft.com/office/drawing/2014/main" id="{85C1925F-CF8C-4EFB-B0B5-6AE0C21D6BC9}"/>
              </a:ext>
            </a:extLst>
          </p:cNvPr>
          <p:cNvCxnSpPr>
            <a:cxnSpLocks noChangeShapeType="1"/>
            <a:stCxn id="54" idx="3"/>
            <a:endCxn id="66" idx="1"/>
          </p:cNvCxnSpPr>
          <p:nvPr/>
        </p:nvCxnSpPr>
        <p:spPr bwMode="auto">
          <a:xfrm>
            <a:off x="6324481" y="2306625"/>
            <a:ext cx="670947" cy="51359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9" name="Rectangle 11">
            <a:extLst>
              <a:ext uri="{FF2B5EF4-FFF2-40B4-BE49-F238E27FC236}">
                <a16:creationId xmlns:a16="http://schemas.microsoft.com/office/drawing/2014/main" id="{E3C7E696-6C4B-4A05-8317-AA25DAD194B6}"/>
              </a:ext>
            </a:extLst>
          </p:cNvPr>
          <p:cNvSpPr>
            <a:spLocks noChangeArrowheads="1"/>
          </p:cNvSpPr>
          <p:nvPr/>
        </p:nvSpPr>
        <p:spPr bwMode="auto">
          <a:xfrm>
            <a:off x="9367273" y="1305244"/>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0" name="Rectangle 12">
            <a:extLst>
              <a:ext uri="{FF2B5EF4-FFF2-40B4-BE49-F238E27FC236}">
                <a16:creationId xmlns:a16="http://schemas.microsoft.com/office/drawing/2014/main" id="{A300C89A-E62D-4F89-8FB2-09CC3A00FFCD}"/>
              </a:ext>
            </a:extLst>
          </p:cNvPr>
          <p:cNvSpPr>
            <a:spLocks noChangeArrowheads="1"/>
          </p:cNvSpPr>
          <p:nvPr/>
        </p:nvSpPr>
        <p:spPr bwMode="auto">
          <a:xfrm>
            <a:off x="9367273" y="1648062"/>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1" name="Rectangle 13">
            <a:extLst>
              <a:ext uri="{FF2B5EF4-FFF2-40B4-BE49-F238E27FC236}">
                <a16:creationId xmlns:a16="http://schemas.microsoft.com/office/drawing/2014/main" id="{6E250072-80F1-4EE0-AEF7-81796CC89B17}"/>
              </a:ext>
            </a:extLst>
          </p:cNvPr>
          <p:cNvSpPr>
            <a:spLocks noChangeArrowheads="1"/>
          </p:cNvSpPr>
          <p:nvPr/>
        </p:nvSpPr>
        <p:spPr bwMode="auto">
          <a:xfrm>
            <a:off x="9367273" y="1990880"/>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cxnSp>
        <p:nvCxnSpPr>
          <p:cNvPr id="82" name="AutoShape 29">
            <a:extLst>
              <a:ext uri="{FF2B5EF4-FFF2-40B4-BE49-F238E27FC236}">
                <a16:creationId xmlns:a16="http://schemas.microsoft.com/office/drawing/2014/main" id="{C3788C2C-3169-4B13-B7F2-1ACC618E01E6}"/>
              </a:ext>
            </a:extLst>
          </p:cNvPr>
          <p:cNvCxnSpPr>
            <a:cxnSpLocks noChangeShapeType="1"/>
            <a:stCxn id="65" idx="3"/>
            <a:endCxn id="79" idx="1"/>
          </p:cNvCxnSpPr>
          <p:nvPr/>
        </p:nvCxnSpPr>
        <p:spPr bwMode="auto">
          <a:xfrm flipV="1">
            <a:off x="8795428" y="1450896"/>
            <a:ext cx="571845" cy="34476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AutoShape 30">
            <a:extLst>
              <a:ext uri="{FF2B5EF4-FFF2-40B4-BE49-F238E27FC236}">
                <a16:creationId xmlns:a16="http://schemas.microsoft.com/office/drawing/2014/main" id="{068B24C2-AE31-40AE-8ED7-66B0312594D5}"/>
              </a:ext>
            </a:extLst>
          </p:cNvPr>
          <p:cNvCxnSpPr>
            <a:cxnSpLocks noChangeShapeType="1"/>
            <a:stCxn id="65" idx="3"/>
            <a:endCxn id="80" idx="1"/>
          </p:cNvCxnSpPr>
          <p:nvPr/>
        </p:nvCxnSpPr>
        <p:spPr bwMode="auto">
          <a:xfrm flipV="1">
            <a:off x="8795428" y="1793714"/>
            <a:ext cx="571845" cy="1948"/>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4" name="AutoShape 31">
            <a:extLst>
              <a:ext uri="{FF2B5EF4-FFF2-40B4-BE49-F238E27FC236}">
                <a16:creationId xmlns:a16="http://schemas.microsoft.com/office/drawing/2014/main" id="{8832F5DB-B7A6-4D21-8DE6-A81A8A3A1B7D}"/>
              </a:ext>
            </a:extLst>
          </p:cNvPr>
          <p:cNvCxnSpPr>
            <a:cxnSpLocks noChangeShapeType="1"/>
            <a:stCxn id="65" idx="3"/>
            <a:endCxn id="81" idx="1"/>
          </p:cNvCxnSpPr>
          <p:nvPr/>
        </p:nvCxnSpPr>
        <p:spPr bwMode="auto">
          <a:xfrm>
            <a:off x="8795428" y="1795662"/>
            <a:ext cx="571845" cy="340870"/>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5" name="Rectangle 11">
            <a:extLst>
              <a:ext uri="{FF2B5EF4-FFF2-40B4-BE49-F238E27FC236}">
                <a16:creationId xmlns:a16="http://schemas.microsoft.com/office/drawing/2014/main" id="{6031D42B-1B43-470B-86DD-9A6D3EC62986}"/>
              </a:ext>
            </a:extLst>
          </p:cNvPr>
          <p:cNvSpPr>
            <a:spLocks noChangeArrowheads="1"/>
          </p:cNvSpPr>
          <p:nvPr/>
        </p:nvSpPr>
        <p:spPr bwMode="auto">
          <a:xfrm>
            <a:off x="9367273" y="2333698"/>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6" name="Rectangle 12">
            <a:extLst>
              <a:ext uri="{FF2B5EF4-FFF2-40B4-BE49-F238E27FC236}">
                <a16:creationId xmlns:a16="http://schemas.microsoft.com/office/drawing/2014/main" id="{92234F37-AB36-4312-B0BC-5A99EACC8EBC}"/>
              </a:ext>
            </a:extLst>
          </p:cNvPr>
          <p:cNvSpPr>
            <a:spLocks noChangeArrowheads="1"/>
          </p:cNvSpPr>
          <p:nvPr/>
        </p:nvSpPr>
        <p:spPr bwMode="auto">
          <a:xfrm>
            <a:off x="9367273" y="2676516"/>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87" name="Rectangle 13">
            <a:extLst>
              <a:ext uri="{FF2B5EF4-FFF2-40B4-BE49-F238E27FC236}">
                <a16:creationId xmlns:a16="http://schemas.microsoft.com/office/drawing/2014/main" id="{13ACDC2C-0634-4E54-BF29-B0F76314304F}"/>
              </a:ext>
            </a:extLst>
          </p:cNvPr>
          <p:cNvSpPr>
            <a:spLocks noChangeArrowheads="1"/>
          </p:cNvSpPr>
          <p:nvPr/>
        </p:nvSpPr>
        <p:spPr bwMode="auto">
          <a:xfrm>
            <a:off x="9367273" y="3019334"/>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cxnSp>
        <p:nvCxnSpPr>
          <p:cNvPr id="88" name="AutoShape 29">
            <a:extLst>
              <a:ext uri="{FF2B5EF4-FFF2-40B4-BE49-F238E27FC236}">
                <a16:creationId xmlns:a16="http://schemas.microsoft.com/office/drawing/2014/main" id="{BCC6DB5A-158F-45D7-BB32-FD942746347C}"/>
              </a:ext>
            </a:extLst>
          </p:cNvPr>
          <p:cNvCxnSpPr>
            <a:cxnSpLocks noChangeShapeType="1"/>
            <a:stCxn id="66" idx="3"/>
            <a:endCxn id="85" idx="1"/>
          </p:cNvCxnSpPr>
          <p:nvPr/>
        </p:nvCxnSpPr>
        <p:spPr bwMode="auto">
          <a:xfrm flipV="1">
            <a:off x="8795428" y="2479350"/>
            <a:ext cx="571845" cy="34086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9" name="AutoShape 30">
            <a:extLst>
              <a:ext uri="{FF2B5EF4-FFF2-40B4-BE49-F238E27FC236}">
                <a16:creationId xmlns:a16="http://schemas.microsoft.com/office/drawing/2014/main" id="{33DB31EE-A291-40FA-AA4D-DC1C8C9E15B7}"/>
              </a:ext>
            </a:extLst>
          </p:cNvPr>
          <p:cNvCxnSpPr>
            <a:cxnSpLocks noChangeShapeType="1"/>
            <a:stCxn id="66" idx="3"/>
            <a:endCxn id="86" idx="1"/>
          </p:cNvCxnSpPr>
          <p:nvPr/>
        </p:nvCxnSpPr>
        <p:spPr bwMode="auto">
          <a:xfrm>
            <a:off x="8795428" y="2820219"/>
            <a:ext cx="571845" cy="194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0" name="AutoShape 31">
            <a:extLst>
              <a:ext uri="{FF2B5EF4-FFF2-40B4-BE49-F238E27FC236}">
                <a16:creationId xmlns:a16="http://schemas.microsoft.com/office/drawing/2014/main" id="{CAA74236-90F2-4D96-86DA-39A90912B7E0}"/>
              </a:ext>
            </a:extLst>
          </p:cNvPr>
          <p:cNvCxnSpPr>
            <a:cxnSpLocks noChangeShapeType="1"/>
            <a:stCxn id="66" idx="3"/>
            <a:endCxn id="87" idx="1"/>
          </p:cNvCxnSpPr>
          <p:nvPr/>
        </p:nvCxnSpPr>
        <p:spPr bwMode="auto">
          <a:xfrm>
            <a:off x="8795428" y="2820219"/>
            <a:ext cx="571845" cy="34476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1" name="Rectangle 11">
            <a:extLst>
              <a:ext uri="{FF2B5EF4-FFF2-40B4-BE49-F238E27FC236}">
                <a16:creationId xmlns:a16="http://schemas.microsoft.com/office/drawing/2014/main" id="{4547883D-A1EC-4982-9A72-1A0C28615BDC}"/>
              </a:ext>
            </a:extLst>
          </p:cNvPr>
          <p:cNvSpPr>
            <a:spLocks noChangeArrowheads="1"/>
          </p:cNvSpPr>
          <p:nvPr/>
        </p:nvSpPr>
        <p:spPr bwMode="auto">
          <a:xfrm>
            <a:off x="9367273" y="3363997"/>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92" name="Rectangle 12">
            <a:extLst>
              <a:ext uri="{FF2B5EF4-FFF2-40B4-BE49-F238E27FC236}">
                <a16:creationId xmlns:a16="http://schemas.microsoft.com/office/drawing/2014/main" id="{1379EAB5-476B-4C1A-BB57-F3521A2C5469}"/>
              </a:ext>
            </a:extLst>
          </p:cNvPr>
          <p:cNvSpPr>
            <a:spLocks noChangeArrowheads="1"/>
          </p:cNvSpPr>
          <p:nvPr/>
        </p:nvSpPr>
        <p:spPr bwMode="auto">
          <a:xfrm>
            <a:off x="9367273" y="3706815"/>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93" name="Rectangle 13">
            <a:extLst>
              <a:ext uri="{FF2B5EF4-FFF2-40B4-BE49-F238E27FC236}">
                <a16:creationId xmlns:a16="http://schemas.microsoft.com/office/drawing/2014/main" id="{32B70A2A-3969-4E8C-9925-D248C55E6203}"/>
              </a:ext>
            </a:extLst>
          </p:cNvPr>
          <p:cNvSpPr>
            <a:spLocks noChangeArrowheads="1"/>
          </p:cNvSpPr>
          <p:nvPr/>
        </p:nvSpPr>
        <p:spPr bwMode="auto">
          <a:xfrm>
            <a:off x="9367273" y="4049633"/>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cxnSp>
        <p:nvCxnSpPr>
          <p:cNvPr id="94" name="AutoShape 29">
            <a:extLst>
              <a:ext uri="{FF2B5EF4-FFF2-40B4-BE49-F238E27FC236}">
                <a16:creationId xmlns:a16="http://schemas.microsoft.com/office/drawing/2014/main" id="{E90C2CB3-4E42-49B1-A6AE-FD72898649EA}"/>
              </a:ext>
            </a:extLst>
          </p:cNvPr>
          <p:cNvCxnSpPr>
            <a:cxnSpLocks noChangeShapeType="1"/>
            <a:stCxn id="67" idx="3"/>
            <a:endCxn id="91" idx="1"/>
          </p:cNvCxnSpPr>
          <p:nvPr/>
        </p:nvCxnSpPr>
        <p:spPr bwMode="auto">
          <a:xfrm flipV="1">
            <a:off x="8795428" y="3509649"/>
            <a:ext cx="571845" cy="34086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5" name="AutoShape 30">
            <a:extLst>
              <a:ext uri="{FF2B5EF4-FFF2-40B4-BE49-F238E27FC236}">
                <a16:creationId xmlns:a16="http://schemas.microsoft.com/office/drawing/2014/main" id="{8286DD6A-CEB1-4FA7-90AC-FFDC7990F0E8}"/>
              </a:ext>
            </a:extLst>
          </p:cNvPr>
          <p:cNvCxnSpPr>
            <a:cxnSpLocks noChangeShapeType="1"/>
            <a:stCxn id="67" idx="3"/>
            <a:endCxn id="92" idx="1"/>
          </p:cNvCxnSpPr>
          <p:nvPr/>
        </p:nvCxnSpPr>
        <p:spPr bwMode="auto">
          <a:xfrm>
            <a:off x="8795428" y="3850518"/>
            <a:ext cx="571845" cy="194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6" name="AutoShape 31">
            <a:extLst>
              <a:ext uri="{FF2B5EF4-FFF2-40B4-BE49-F238E27FC236}">
                <a16:creationId xmlns:a16="http://schemas.microsoft.com/office/drawing/2014/main" id="{F791A05A-CE3C-45FA-BCB7-9858AF9247A9}"/>
              </a:ext>
            </a:extLst>
          </p:cNvPr>
          <p:cNvCxnSpPr>
            <a:cxnSpLocks noChangeShapeType="1"/>
            <a:stCxn id="67" idx="3"/>
            <a:endCxn id="93" idx="1"/>
          </p:cNvCxnSpPr>
          <p:nvPr/>
        </p:nvCxnSpPr>
        <p:spPr bwMode="auto">
          <a:xfrm>
            <a:off x="8795428" y="3850518"/>
            <a:ext cx="571845" cy="34476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7" name="Rectangle 11">
            <a:extLst>
              <a:ext uri="{FF2B5EF4-FFF2-40B4-BE49-F238E27FC236}">
                <a16:creationId xmlns:a16="http://schemas.microsoft.com/office/drawing/2014/main" id="{B1993A51-4A6C-4DCC-8AA5-0DE7FB344634}"/>
              </a:ext>
            </a:extLst>
          </p:cNvPr>
          <p:cNvSpPr>
            <a:spLocks noChangeArrowheads="1"/>
          </p:cNvSpPr>
          <p:nvPr/>
        </p:nvSpPr>
        <p:spPr bwMode="auto">
          <a:xfrm>
            <a:off x="9367273" y="4410847"/>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98" name="Rectangle 12">
            <a:extLst>
              <a:ext uri="{FF2B5EF4-FFF2-40B4-BE49-F238E27FC236}">
                <a16:creationId xmlns:a16="http://schemas.microsoft.com/office/drawing/2014/main" id="{CF89CFE4-2954-4596-A0CD-3D673C1C4EBB}"/>
              </a:ext>
            </a:extLst>
          </p:cNvPr>
          <p:cNvSpPr>
            <a:spLocks noChangeArrowheads="1"/>
          </p:cNvSpPr>
          <p:nvPr/>
        </p:nvSpPr>
        <p:spPr bwMode="auto">
          <a:xfrm>
            <a:off x="9367273" y="4753665"/>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sp>
        <p:nvSpPr>
          <p:cNvPr id="99" name="Rectangle 13">
            <a:extLst>
              <a:ext uri="{FF2B5EF4-FFF2-40B4-BE49-F238E27FC236}">
                <a16:creationId xmlns:a16="http://schemas.microsoft.com/office/drawing/2014/main" id="{5F8CC131-C946-4F0F-81C5-7B3E85FEC2E6}"/>
              </a:ext>
            </a:extLst>
          </p:cNvPr>
          <p:cNvSpPr>
            <a:spLocks noChangeArrowheads="1"/>
          </p:cNvSpPr>
          <p:nvPr/>
        </p:nvSpPr>
        <p:spPr bwMode="auto">
          <a:xfrm>
            <a:off x="9367273" y="5096483"/>
            <a:ext cx="2136873" cy="291303"/>
          </a:xfrm>
          <a:prstGeom prst="rect">
            <a:avLst/>
          </a:prstGeom>
          <a:solidFill>
            <a:schemeClr val="tx2">
              <a:lumMod val="20000"/>
              <a:lumOff val="80000"/>
            </a:schemeClr>
          </a:solidFill>
          <a:ln w="6350">
            <a:noFill/>
            <a:miter lim="800000"/>
            <a:headEnd/>
            <a:tailEnd/>
          </a:ln>
          <a:effectLst/>
        </p:spPr>
        <p:txBody>
          <a:bodyPr lIns="72000" tIns="72000" rIns="72000" bIns="72000" anchor="ctr"/>
          <a:lstStyle/>
          <a:p>
            <a:pPr>
              <a:lnSpc>
                <a:spcPct val="90000"/>
              </a:lnSpc>
            </a:pPr>
            <a:r>
              <a:rPr lang="en-US" sz="1200" dirty="0"/>
              <a:t>Insert text</a:t>
            </a:r>
          </a:p>
        </p:txBody>
      </p:sp>
      <p:cxnSp>
        <p:nvCxnSpPr>
          <p:cNvPr id="100" name="AutoShape 29">
            <a:extLst>
              <a:ext uri="{FF2B5EF4-FFF2-40B4-BE49-F238E27FC236}">
                <a16:creationId xmlns:a16="http://schemas.microsoft.com/office/drawing/2014/main" id="{6344A9FE-A0B0-4981-9E58-E3F97816DC3A}"/>
              </a:ext>
            </a:extLst>
          </p:cNvPr>
          <p:cNvCxnSpPr>
            <a:cxnSpLocks noChangeShapeType="1"/>
            <a:stCxn id="68" idx="3"/>
            <a:endCxn id="97" idx="1"/>
          </p:cNvCxnSpPr>
          <p:nvPr/>
        </p:nvCxnSpPr>
        <p:spPr bwMode="auto">
          <a:xfrm flipV="1">
            <a:off x="8795428" y="4556499"/>
            <a:ext cx="571845" cy="34086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1" name="AutoShape 30">
            <a:extLst>
              <a:ext uri="{FF2B5EF4-FFF2-40B4-BE49-F238E27FC236}">
                <a16:creationId xmlns:a16="http://schemas.microsoft.com/office/drawing/2014/main" id="{EA10C915-CD8C-4077-9B1B-C27226A52ACC}"/>
              </a:ext>
            </a:extLst>
          </p:cNvPr>
          <p:cNvCxnSpPr>
            <a:cxnSpLocks noChangeShapeType="1"/>
            <a:stCxn id="68" idx="3"/>
            <a:endCxn id="98" idx="1"/>
          </p:cNvCxnSpPr>
          <p:nvPr/>
        </p:nvCxnSpPr>
        <p:spPr bwMode="auto">
          <a:xfrm>
            <a:off x="8795428" y="4897368"/>
            <a:ext cx="571845" cy="194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2" name="AutoShape 31">
            <a:extLst>
              <a:ext uri="{FF2B5EF4-FFF2-40B4-BE49-F238E27FC236}">
                <a16:creationId xmlns:a16="http://schemas.microsoft.com/office/drawing/2014/main" id="{80B590BC-3B50-48B2-8FDD-8658C9BF4AC1}"/>
              </a:ext>
            </a:extLst>
          </p:cNvPr>
          <p:cNvCxnSpPr>
            <a:cxnSpLocks noChangeShapeType="1"/>
            <a:stCxn id="68" idx="3"/>
            <a:endCxn id="99" idx="1"/>
          </p:cNvCxnSpPr>
          <p:nvPr/>
        </p:nvCxnSpPr>
        <p:spPr bwMode="auto">
          <a:xfrm>
            <a:off x="8795428" y="4897368"/>
            <a:ext cx="571845" cy="34476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26873376"/>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Vertical Issue Tree – Symmetric</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866F1D27-518D-4DE2-92FE-D28C9169764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38" name="Rectangle 4">
            <a:extLst>
              <a:ext uri="{FF2B5EF4-FFF2-40B4-BE49-F238E27FC236}">
                <a16:creationId xmlns:a16="http://schemas.microsoft.com/office/drawing/2014/main" id="{2031FC81-1F4C-4ABE-A7F8-E62F8E86E169}"/>
              </a:ext>
            </a:extLst>
          </p:cNvPr>
          <p:cNvSpPr>
            <a:spLocks noChangeArrowheads="1"/>
          </p:cNvSpPr>
          <p:nvPr/>
        </p:nvSpPr>
        <p:spPr bwMode="auto">
          <a:xfrm>
            <a:off x="2857826" y="2559075"/>
            <a:ext cx="1440000" cy="432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39" name="Rectangle 5">
            <a:extLst>
              <a:ext uri="{FF2B5EF4-FFF2-40B4-BE49-F238E27FC236}">
                <a16:creationId xmlns:a16="http://schemas.microsoft.com/office/drawing/2014/main" id="{61AAFE0B-A639-4DA2-AA4A-71ED0329B1EE}"/>
              </a:ext>
            </a:extLst>
          </p:cNvPr>
          <p:cNvSpPr>
            <a:spLocks noChangeArrowheads="1"/>
          </p:cNvSpPr>
          <p:nvPr/>
        </p:nvSpPr>
        <p:spPr bwMode="auto">
          <a:xfrm>
            <a:off x="5377564" y="1628801"/>
            <a:ext cx="1440000" cy="432000"/>
          </a:xfrm>
          <a:prstGeom prst="rect">
            <a:avLst/>
          </a:prstGeom>
          <a:solidFill>
            <a:schemeClr val="accent5"/>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40" name="Rectangle 6">
            <a:extLst>
              <a:ext uri="{FF2B5EF4-FFF2-40B4-BE49-F238E27FC236}">
                <a16:creationId xmlns:a16="http://schemas.microsoft.com/office/drawing/2014/main" id="{8D16DFDC-7D0C-43FD-87C4-ED1EF15EC10E}"/>
              </a:ext>
            </a:extLst>
          </p:cNvPr>
          <p:cNvSpPr>
            <a:spLocks noChangeArrowheads="1"/>
          </p:cNvSpPr>
          <p:nvPr/>
        </p:nvSpPr>
        <p:spPr bwMode="auto">
          <a:xfrm>
            <a:off x="7897301" y="2559075"/>
            <a:ext cx="1440000" cy="432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cxnSp>
        <p:nvCxnSpPr>
          <p:cNvPr id="41" name="AutoShape 7">
            <a:extLst>
              <a:ext uri="{FF2B5EF4-FFF2-40B4-BE49-F238E27FC236}">
                <a16:creationId xmlns:a16="http://schemas.microsoft.com/office/drawing/2014/main" id="{CCFD73B1-3C91-4C23-8496-E3FA67D94E6D}"/>
              </a:ext>
            </a:extLst>
          </p:cNvPr>
          <p:cNvCxnSpPr>
            <a:cxnSpLocks noChangeShapeType="1"/>
            <a:stCxn id="39" idx="2"/>
            <a:endCxn id="38" idx="0"/>
          </p:cNvCxnSpPr>
          <p:nvPr/>
        </p:nvCxnSpPr>
        <p:spPr bwMode="auto">
          <a:xfrm rot="5400000">
            <a:off x="4588558" y="1050069"/>
            <a:ext cx="498274" cy="2519738"/>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2" name="AutoShape 8">
            <a:extLst>
              <a:ext uri="{FF2B5EF4-FFF2-40B4-BE49-F238E27FC236}">
                <a16:creationId xmlns:a16="http://schemas.microsoft.com/office/drawing/2014/main" id="{70244787-BD01-4C48-A513-E18E1D2A3160}"/>
              </a:ext>
            </a:extLst>
          </p:cNvPr>
          <p:cNvCxnSpPr>
            <a:cxnSpLocks noChangeShapeType="1"/>
            <a:stCxn id="39" idx="2"/>
            <a:endCxn id="40" idx="0"/>
          </p:cNvCxnSpPr>
          <p:nvPr/>
        </p:nvCxnSpPr>
        <p:spPr bwMode="auto">
          <a:xfrm rot="16200000" flipH="1">
            <a:off x="7108295" y="1050069"/>
            <a:ext cx="498274" cy="2519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3" name="AutoShape 9">
            <a:extLst>
              <a:ext uri="{FF2B5EF4-FFF2-40B4-BE49-F238E27FC236}">
                <a16:creationId xmlns:a16="http://schemas.microsoft.com/office/drawing/2014/main" id="{6CAD54FE-52C3-4E5B-9590-C3959ED573A8}"/>
              </a:ext>
            </a:extLst>
          </p:cNvPr>
          <p:cNvCxnSpPr>
            <a:cxnSpLocks noChangeShapeType="1"/>
            <a:stCxn id="38" idx="2"/>
            <a:endCxn id="48" idx="0"/>
          </p:cNvCxnSpPr>
          <p:nvPr/>
        </p:nvCxnSpPr>
        <p:spPr bwMode="auto">
          <a:xfrm rot="5400000">
            <a:off x="2545966" y="2501939"/>
            <a:ext cx="542725" cy="152099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AutoShape 10">
            <a:extLst>
              <a:ext uri="{FF2B5EF4-FFF2-40B4-BE49-F238E27FC236}">
                <a16:creationId xmlns:a16="http://schemas.microsoft.com/office/drawing/2014/main" id="{7FE37DA8-9315-4894-95A8-5A5AD82556BD}"/>
              </a:ext>
            </a:extLst>
          </p:cNvPr>
          <p:cNvCxnSpPr>
            <a:cxnSpLocks noChangeShapeType="1"/>
            <a:stCxn id="38" idx="2"/>
            <a:endCxn id="47" idx="0"/>
          </p:cNvCxnSpPr>
          <p:nvPr/>
        </p:nvCxnSpPr>
        <p:spPr bwMode="auto">
          <a:xfrm rot="16200000" flipH="1">
            <a:off x="3988391" y="2580510"/>
            <a:ext cx="542725" cy="136385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 name="AutoShape 11">
            <a:extLst>
              <a:ext uri="{FF2B5EF4-FFF2-40B4-BE49-F238E27FC236}">
                <a16:creationId xmlns:a16="http://schemas.microsoft.com/office/drawing/2014/main" id="{12EDB171-2251-400B-AA2A-4EADA9F99B98}"/>
              </a:ext>
            </a:extLst>
          </p:cNvPr>
          <p:cNvCxnSpPr>
            <a:cxnSpLocks noChangeShapeType="1"/>
            <a:stCxn id="40" idx="2"/>
            <a:endCxn id="50" idx="0"/>
          </p:cNvCxnSpPr>
          <p:nvPr/>
        </p:nvCxnSpPr>
        <p:spPr bwMode="auto">
          <a:xfrm rot="5400000">
            <a:off x="7664012" y="2580510"/>
            <a:ext cx="542725" cy="136385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AutoShape 12">
            <a:extLst>
              <a:ext uri="{FF2B5EF4-FFF2-40B4-BE49-F238E27FC236}">
                <a16:creationId xmlns:a16="http://schemas.microsoft.com/office/drawing/2014/main" id="{03C38283-AD2A-4D44-ABDB-E812C4CC6DDA}"/>
              </a:ext>
            </a:extLst>
          </p:cNvPr>
          <p:cNvCxnSpPr>
            <a:cxnSpLocks noChangeShapeType="1"/>
            <a:stCxn id="40" idx="2"/>
            <a:endCxn id="49" idx="0"/>
          </p:cNvCxnSpPr>
          <p:nvPr/>
        </p:nvCxnSpPr>
        <p:spPr bwMode="auto">
          <a:xfrm rot="16200000" flipH="1">
            <a:off x="9108865" y="2499510"/>
            <a:ext cx="542725" cy="152585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7" name="Rectangle 13">
            <a:extLst>
              <a:ext uri="{FF2B5EF4-FFF2-40B4-BE49-F238E27FC236}">
                <a16:creationId xmlns:a16="http://schemas.microsoft.com/office/drawing/2014/main" id="{1E139542-F01C-40C2-B600-CE9FFE449A1D}"/>
              </a:ext>
            </a:extLst>
          </p:cNvPr>
          <p:cNvSpPr>
            <a:spLocks noChangeArrowheads="1"/>
          </p:cNvSpPr>
          <p:nvPr/>
        </p:nvSpPr>
        <p:spPr bwMode="auto">
          <a:xfrm>
            <a:off x="4221680" y="3533800"/>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48" name="Rectangle 14">
            <a:extLst>
              <a:ext uri="{FF2B5EF4-FFF2-40B4-BE49-F238E27FC236}">
                <a16:creationId xmlns:a16="http://schemas.microsoft.com/office/drawing/2014/main" id="{688A9A3C-5827-426A-9B92-2C95A173BD41}"/>
              </a:ext>
            </a:extLst>
          </p:cNvPr>
          <p:cNvSpPr>
            <a:spLocks noChangeArrowheads="1"/>
          </p:cNvSpPr>
          <p:nvPr/>
        </p:nvSpPr>
        <p:spPr bwMode="auto">
          <a:xfrm>
            <a:off x="1336829" y="3533800"/>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49" name="Rectangle 15">
            <a:extLst>
              <a:ext uri="{FF2B5EF4-FFF2-40B4-BE49-F238E27FC236}">
                <a16:creationId xmlns:a16="http://schemas.microsoft.com/office/drawing/2014/main" id="{E852538F-C32E-4B3D-A9B6-4B332CC2CAEE}"/>
              </a:ext>
            </a:extLst>
          </p:cNvPr>
          <p:cNvSpPr>
            <a:spLocks noChangeArrowheads="1"/>
          </p:cNvSpPr>
          <p:nvPr/>
        </p:nvSpPr>
        <p:spPr bwMode="auto">
          <a:xfrm>
            <a:off x="9423154" y="3533800"/>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50" name="Rectangle 16">
            <a:extLst>
              <a:ext uri="{FF2B5EF4-FFF2-40B4-BE49-F238E27FC236}">
                <a16:creationId xmlns:a16="http://schemas.microsoft.com/office/drawing/2014/main" id="{D419B1A1-5378-429B-91A0-0ADD8F925719}"/>
              </a:ext>
            </a:extLst>
          </p:cNvPr>
          <p:cNvSpPr>
            <a:spLocks noChangeArrowheads="1"/>
          </p:cNvSpPr>
          <p:nvPr/>
        </p:nvSpPr>
        <p:spPr bwMode="auto">
          <a:xfrm>
            <a:off x="6533447" y="3533800"/>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51" name="Rectangle 17">
            <a:extLst>
              <a:ext uri="{FF2B5EF4-FFF2-40B4-BE49-F238E27FC236}">
                <a16:creationId xmlns:a16="http://schemas.microsoft.com/office/drawing/2014/main" id="{7989231D-3A4F-4F2D-99B2-6FD4406BE5AD}"/>
              </a:ext>
            </a:extLst>
          </p:cNvPr>
          <p:cNvSpPr>
            <a:spLocks noChangeArrowheads="1"/>
          </p:cNvSpPr>
          <p:nvPr/>
        </p:nvSpPr>
        <p:spPr bwMode="auto">
          <a:xfrm>
            <a:off x="338090"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2" name="Rectangle 18">
            <a:extLst>
              <a:ext uri="{FF2B5EF4-FFF2-40B4-BE49-F238E27FC236}">
                <a16:creationId xmlns:a16="http://schemas.microsoft.com/office/drawing/2014/main" id="{B0057412-1906-496D-85B4-05A36059D79F}"/>
              </a:ext>
            </a:extLst>
          </p:cNvPr>
          <p:cNvSpPr>
            <a:spLocks noChangeArrowheads="1"/>
          </p:cNvSpPr>
          <p:nvPr/>
        </p:nvSpPr>
        <p:spPr bwMode="auto">
          <a:xfrm>
            <a:off x="1498829"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3" name="Rectangle 19">
            <a:extLst>
              <a:ext uri="{FF2B5EF4-FFF2-40B4-BE49-F238E27FC236}">
                <a16:creationId xmlns:a16="http://schemas.microsoft.com/office/drawing/2014/main" id="{8CB20EDC-6D13-4006-A9D9-D874301BE603}"/>
              </a:ext>
            </a:extLst>
          </p:cNvPr>
          <p:cNvSpPr>
            <a:spLocks noChangeArrowheads="1"/>
          </p:cNvSpPr>
          <p:nvPr/>
        </p:nvSpPr>
        <p:spPr bwMode="auto">
          <a:xfrm>
            <a:off x="2649856"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4" name="Rectangle 20">
            <a:extLst>
              <a:ext uri="{FF2B5EF4-FFF2-40B4-BE49-F238E27FC236}">
                <a16:creationId xmlns:a16="http://schemas.microsoft.com/office/drawing/2014/main" id="{577969F3-1377-4FF6-80AD-6AA36E31859B}"/>
              </a:ext>
            </a:extLst>
          </p:cNvPr>
          <p:cNvSpPr>
            <a:spLocks noChangeArrowheads="1"/>
          </p:cNvSpPr>
          <p:nvPr/>
        </p:nvSpPr>
        <p:spPr bwMode="auto">
          <a:xfrm>
            <a:off x="8429271"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5" name="Rectangle 21">
            <a:extLst>
              <a:ext uri="{FF2B5EF4-FFF2-40B4-BE49-F238E27FC236}">
                <a16:creationId xmlns:a16="http://schemas.microsoft.com/office/drawing/2014/main" id="{F1084B1C-7D03-476E-AFFE-584DB2ECF212}"/>
              </a:ext>
            </a:extLst>
          </p:cNvPr>
          <p:cNvSpPr>
            <a:spLocks noChangeArrowheads="1"/>
          </p:cNvSpPr>
          <p:nvPr/>
        </p:nvSpPr>
        <p:spPr bwMode="auto">
          <a:xfrm>
            <a:off x="9585154"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56" name="Rectangle 22">
            <a:extLst>
              <a:ext uri="{FF2B5EF4-FFF2-40B4-BE49-F238E27FC236}">
                <a16:creationId xmlns:a16="http://schemas.microsoft.com/office/drawing/2014/main" id="{5E3F805A-5325-43F6-87DC-7298393A8599}"/>
              </a:ext>
            </a:extLst>
          </p:cNvPr>
          <p:cNvSpPr>
            <a:spLocks noChangeArrowheads="1"/>
          </p:cNvSpPr>
          <p:nvPr/>
        </p:nvSpPr>
        <p:spPr bwMode="auto">
          <a:xfrm>
            <a:off x="10741038"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cxnSp>
        <p:nvCxnSpPr>
          <p:cNvPr id="57" name="AutoShape 23">
            <a:extLst>
              <a:ext uri="{FF2B5EF4-FFF2-40B4-BE49-F238E27FC236}">
                <a16:creationId xmlns:a16="http://schemas.microsoft.com/office/drawing/2014/main" id="{F846FAD2-5A74-4FE9-9E49-B6CDD55441FD}"/>
              </a:ext>
            </a:extLst>
          </p:cNvPr>
          <p:cNvCxnSpPr>
            <a:cxnSpLocks noChangeShapeType="1"/>
            <a:stCxn id="48" idx="2"/>
            <a:endCxn id="51" idx="0"/>
          </p:cNvCxnSpPr>
          <p:nvPr/>
        </p:nvCxnSpPr>
        <p:spPr bwMode="auto">
          <a:xfrm rot="5400000">
            <a:off x="646411" y="4215480"/>
            <a:ext cx="1660099" cy="116073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8" name="AutoShape 24">
            <a:extLst>
              <a:ext uri="{FF2B5EF4-FFF2-40B4-BE49-F238E27FC236}">
                <a16:creationId xmlns:a16="http://schemas.microsoft.com/office/drawing/2014/main" id="{8D385AB4-4186-4285-8B68-D0F142AD11CB}"/>
              </a:ext>
            </a:extLst>
          </p:cNvPr>
          <p:cNvCxnSpPr>
            <a:cxnSpLocks noChangeShapeType="1"/>
            <a:stCxn id="48" idx="2"/>
            <a:endCxn id="52" idx="0"/>
          </p:cNvCxnSpPr>
          <p:nvPr/>
        </p:nvCxnSpPr>
        <p:spPr bwMode="auto">
          <a:xfrm>
            <a:off x="2056829" y="3965800"/>
            <a:ext cx="0" cy="166009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AutoShape 25">
            <a:extLst>
              <a:ext uri="{FF2B5EF4-FFF2-40B4-BE49-F238E27FC236}">
                <a16:creationId xmlns:a16="http://schemas.microsoft.com/office/drawing/2014/main" id="{6027C929-32E5-48CF-932E-477ABE95C65C}"/>
              </a:ext>
            </a:extLst>
          </p:cNvPr>
          <p:cNvCxnSpPr>
            <a:cxnSpLocks noChangeShapeType="1"/>
            <a:stCxn id="48" idx="2"/>
            <a:endCxn id="53" idx="0"/>
          </p:cNvCxnSpPr>
          <p:nvPr/>
        </p:nvCxnSpPr>
        <p:spPr bwMode="auto">
          <a:xfrm rot="16200000" flipH="1">
            <a:off x="1802293" y="4220335"/>
            <a:ext cx="1660099" cy="115102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0" name="AutoShape 26">
            <a:extLst>
              <a:ext uri="{FF2B5EF4-FFF2-40B4-BE49-F238E27FC236}">
                <a16:creationId xmlns:a16="http://schemas.microsoft.com/office/drawing/2014/main" id="{C898B0F7-6D8B-45B6-BEA7-5AD13442C218}"/>
              </a:ext>
            </a:extLst>
          </p:cNvPr>
          <p:cNvCxnSpPr>
            <a:cxnSpLocks noChangeShapeType="1"/>
            <a:stCxn id="49" idx="2"/>
            <a:endCxn id="54" idx="0"/>
          </p:cNvCxnSpPr>
          <p:nvPr/>
        </p:nvCxnSpPr>
        <p:spPr bwMode="auto">
          <a:xfrm rot="5400000">
            <a:off x="8735163" y="4217909"/>
            <a:ext cx="1660100" cy="115588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1" name="AutoShape 27">
            <a:extLst>
              <a:ext uri="{FF2B5EF4-FFF2-40B4-BE49-F238E27FC236}">
                <a16:creationId xmlns:a16="http://schemas.microsoft.com/office/drawing/2014/main" id="{02E7177D-C4C9-4410-9F2B-D12F9AF08B55}"/>
              </a:ext>
            </a:extLst>
          </p:cNvPr>
          <p:cNvCxnSpPr>
            <a:cxnSpLocks noChangeShapeType="1"/>
            <a:stCxn id="49" idx="2"/>
            <a:endCxn id="55" idx="0"/>
          </p:cNvCxnSpPr>
          <p:nvPr/>
        </p:nvCxnSpPr>
        <p:spPr bwMode="auto">
          <a:xfrm>
            <a:off x="10143154" y="3965800"/>
            <a:ext cx="0" cy="166010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AutoShape 28">
            <a:extLst>
              <a:ext uri="{FF2B5EF4-FFF2-40B4-BE49-F238E27FC236}">
                <a16:creationId xmlns:a16="http://schemas.microsoft.com/office/drawing/2014/main" id="{3BC3F26F-0A94-4DFF-BF6A-0F90A2E05BC0}"/>
              </a:ext>
            </a:extLst>
          </p:cNvPr>
          <p:cNvCxnSpPr>
            <a:cxnSpLocks noChangeShapeType="1"/>
            <a:stCxn id="49" idx="2"/>
            <a:endCxn id="56" idx="0"/>
          </p:cNvCxnSpPr>
          <p:nvPr/>
        </p:nvCxnSpPr>
        <p:spPr bwMode="auto">
          <a:xfrm rot="16200000" flipH="1">
            <a:off x="9891046" y="4217908"/>
            <a:ext cx="1660100" cy="115588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3" name="Rectangle 29">
            <a:extLst>
              <a:ext uri="{FF2B5EF4-FFF2-40B4-BE49-F238E27FC236}">
                <a16:creationId xmlns:a16="http://schemas.microsoft.com/office/drawing/2014/main" id="{0191A909-9232-4025-8F48-E68CF46384F2}"/>
              </a:ext>
            </a:extLst>
          </p:cNvPr>
          <p:cNvSpPr>
            <a:spLocks noChangeArrowheads="1"/>
          </p:cNvSpPr>
          <p:nvPr/>
        </p:nvSpPr>
        <p:spPr bwMode="auto">
          <a:xfrm>
            <a:off x="3805739"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64" name="Rectangle 30">
            <a:extLst>
              <a:ext uri="{FF2B5EF4-FFF2-40B4-BE49-F238E27FC236}">
                <a16:creationId xmlns:a16="http://schemas.microsoft.com/office/drawing/2014/main" id="{1FF565B0-92FC-45B8-A383-15B5AE0194B3}"/>
              </a:ext>
            </a:extLst>
          </p:cNvPr>
          <p:cNvSpPr>
            <a:spLocks noChangeArrowheads="1"/>
          </p:cNvSpPr>
          <p:nvPr/>
        </p:nvSpPr>
        <p:spPr bwMode="auto">
          <a:xfrm>
            <a:off x="4961622"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65" name="Rectangle 31">
            <a:extLst>
              <a:ext uri="{FF2B5EF4-FFF2-40B4-BE49-F238E27FC236}">
                <a16:creationId xmlns:a16="http://schemas.microsoft.com/office/drawing/2014/main" id="{318E6FA4-5B11-49EE-9D6C-DF6E792DF27D}"/>
              </a:ext>
            </a:extLst>
          </p:cNvPr>
          <p:cNvSpPr>
            <a:spLocks noChangeArrowheads="1"/>
          </p:cNvSpPr>
          <p:nvPr/>
        </p:nvSpPr>
        <p:spPr bwMode="auto">
          <a:xfrm>
            <a:off x="6117505"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66" name="Rectangle 32">
            <a:extLst>
              <a:ext uri="{FF2B5EF4-FFF2-40B4-BE49-F238E27FC236}">
                <a16:creationId xmlns:a16="http://schemas.microsoft.com/office/drawing/2014/main" id="{B82DCF94-04DF-4044-B5AF-2EB0191F98DE}"/>
              </a:ext>
            </a:extLst>
          </p:cNvPr>
          <p:cNvSpPr>
            <a:spLocks noChangeArrowheads="1"/>
          </p:cNvSpPr>
          <p:nvPr/>
        </p:nvSpPr>
        <p:spPr bwMode="auto">
          <a:xfrm>
            <a:off x="7273388"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cxnSp>
        <p:nvCxnSpPr>
          <p:cNvPr id="67" name="AutoShape 33">
            <a:extLst>
              <a:ext uri="{FF2B5EF4-FFF2-40B4-BE49-F238E27FC236}">
                <a16:creationId xmlns:a16="http://schemas.microsoft.com/office/drawing/2014/main" id="{18033C95-F564-4C53-BEB2-F9E6D9266575}"/>
              </a:ext>
            </a:extLst>
          </p:cNvPr>
          <p:cNvCxnSpPr>
            <a:cxnSpLocks noChangeShapeType="1"/>
            <a:stCxn id="47" idx="2"/>
            <a:endCxn id="63" idx="0"/>
          </p:cNvCxnSpPr>
          <p:nvPr/>
        </p:nvCxnSpPr>
        <p:spPr bwMode="auto">
          <a:xfrm rot="5400000">
            <a:off x="4360710" y="3968830"/>
            <a:ext cx="584001" cy="577941"/>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8" name="AutoShape 34">
            <a:extLst>
              <a:ext uri="{FF2B5EF4-FFF2-40B4-BE49-F238E27FC236}">
                <a16:creationId xmlns:a16="http://schemas.microsoft.com/office/drawing/2014/main" id="{38FAA2AD-59E3-411F-83CC-4B5A2C4C6404}"/>
              </a:ext>
            </a:extLst>
          </p:cNvPr>
          <p:cNvCxnSpPr>
            <a:cxnSpLocks noChangeShapeType="1"/>
            <a:stCxn id="47" idx="2"/>
            <a:endCxn id="64" idx="0"/>
          </p:cNvCxnSpPr>
          <p:nvPr/>
        </p:nvCxnSpPr>
        <p:spPr bwMode="auto">
          <a:xfrm rot="16200000" flipH="1">
            <a:off x="4938651" y="3968829"/>
            <a:ext cx="584001" cy="57794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9" name="AutoShape 35">
            <a:extLst>
              <a:ext uri="{FF2B5EF4-FFF2-40B4-BE49-F238E27FC236}">
                <a16:creationId xmlns:a16="http://schemas.microsoft.com/office/drawing/2014/main" id="{C7A6669C-3469-49D0-9005-F73DBA9B9ACE}"/>
              </a:ext>
            </a:extLst>
          </p:cNvPr>
          <p:cNvCxnSpPr>
            <a:cxnSpLocks noChangeShapeType="1"/>
            <a:stCxn id="50" idx="2"/>
            <a:endCxn id="65" idx="0"/>
          </p:cNvCxnSpPr>
          <p:nvPr/>
        </p:nvCxnSpPr>
        <p:spPr bwMode="auto">
          <a:xfrm rot="5400000">
            <a:off x="6672476" y="3968829"/>
            <a:ext cx="584001" cy="57794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0" name="AutoShape 36">
            <a:extLst>
              <a:ext uri="{FF2B5EF4-FFF2-40B4-BE49-F238E27FC236}">
                <a16:creationId xmlns:a16="http://schemas.microsoft.com/office/drawing/2014/main" id="{079B42CC-DBDC-41EC-9530-0683CB72CCA8}"/>
              </a:ext>
            </a:extLst>
          </p:cNvPr>
          <p:cNvCxnSpPr>
            <a:cxnSpLocks noChangeShapeType="1"/>
            <a:stCxn id="50" idx="2"/>
            <a:endCxn id="66" idx="0"/>
          </p:cNvCxnSpPr>
          <p:nvPr/>
        </p:nvCxnSpPr>
        <p:spPr bwMode="auto">
          <a:xfrm rot="16200000" flipH="1">
            <a:off x="7250417" y="3968829"/>
            <a:ext cx="584001" cy="577941"/>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8348928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Vertical Issue Tree – Asymmetric</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1E0C662-4CA7-45C8-9246-A9C4768B674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2" name="Rectangle 4">
            <a:extLst>
              <a:ext uri="{FF2B5EF4-FFF2-40B4-BE49-F238E27FC236}">
                <a16:creationId xmlns:a16="http://schemas.microsoft.com/office/drawing/2014/main" id="{C527AB7F-C5FF-4873-9A54-DBC4F186E709}"/>
              </a:ext>
            </a:extLst>
          </p:cNvPr>
          <p:cNvSpPr>
            <a:spLocks noChangeArrowheads="1"/>
          </p:cNvSpPr>
          <p:nvPr/>
        </p:nvSpPr>
        <p:spPr bwMode="auto">
          <a:xfrm>
            <a:off x="2490571" y="2570758"/>
            <a:ext cx="1440000" cy="432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sp>
        <p:nvSpPr>
          <p:cNvPr id="43" name="Rectangle 6">
            <a:extLst>
              <a:ext uri="{FF2B5EF4-FFF2-40B4-BE49-F238E27FC236}">
                <a16:creationId xmlns:a16="http://schemas.microsoft.com/office/drawing/2014/main" id="{5B3657BB-CC41-4291-88D8-7430311F651A}"/>
              </a:ext>
            </a:extLst>
          </p:cNvPr>
          <p:cNvSpPr>
            <a:spLocks noChangeArrowheads="1"/>
          </p:cNvSpPr>
          <p:nvPr/>
        </p:nvSpPr>
        <p:spPr bwMode="auto">
          <a:xfrm>
            <a:off x="8012423" y="2570758"/>
            <a:ext cx="1440000" cy="432000"/>
          </a:xfrm>
          <a:prstGeom prst="rect">
            <a:avLst/>
          </a:prstGeom>
          <a:solidFill>
            <a:schemeClr val="accent3"/>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cxnSp>
        <p:nvCxnSpPr>
          <p:cNvPr id="44" name="AutoShape 7">
            <a:extLst>
              <a:ext uri="{FF2B5EF4-FFF2-40B4-BE49-F238E27FC236}">
                <a16:creationId xmlns:a16="http://schemas.microsoft.com/office/drawing/2014/main" id="{8DE4633F-8C50-4BB3-988E-250B06D3A6EB}"/>
              </a:ext>
            </a:extLst>
          </p:cNvPr>
          <p:cNvCxnSpPr>
            <a:cxnSpLocks noChangeShapeType="1"/>
            <a:stCxn id="77" idx="2"/>
            <a:endCxn id="42" idx="0"/>
          </p:cNvCxnSpPr>
          <p:nvPr/>
        </p:nvCxnSpPr>
        <p:spPr bwMode="auto">
          <a:xfrm rot="5400000">
            <a:off x="4336056" y="935316"/>
            <a:ext cx="509957" cy="276092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 name="AutoShape 8">
            <a:extLst>
              <a:ext uri="{FF2B5EF4-FFF2-40B4-BE49-F238E27FC236}">
                <a16:creationId xmlns:a16="http://schemas.microsoft.com/office/drawing/2014/main" id="{F8DCCE3A-A2DC-4130-91EE-53224702997D}"/>
              </a:ext>
            </a:extLst>
          </p:cNvPr>
          <p:cNvCxnSpPr>
            <a:cxnSpLocks noChangeShapeType="1"/>
            <a:stCxn id="77" idx="2"/>
            <a:endCxn id="43" idx="0"/>
          </p:cNvCxnSpPr>
          <p:nvPr/>
        </p:nvCxnSpPr>
        <p:spPr bwMode="auto">
          <a:xfrm rot="16200000" flipH="1">
            <a:off x="7096982" y="935316"/>
            <a:ext cx="509957" cy="276092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6" name="Rectangle 9">
            <a:extLst>
              <a:ext uri="{FF2B5EF4-FFF2-40B4-BE49-F238E27FC236}">
                <a16:creationId xmlns:a16="http://schemas.microsoft.com/office/drawing/2014/main" id="{1AA090E8-81F5-4120-A868-905384CEB119}"/>
              </a:ext>
            </a:extLst>
          </p:cNvPr>
          <p:cNvSpPr>
            <a:spLocks noChangeArrowheads="1"/>
          </p:cNvSpPr>
          <p:nvPr/>
        </p:nvSpPr>
        <p:spPr bwMode="auto">
          <a:xfrm>
            <a:off x="3806530"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47" name="Rectangle 10">
            <a:extLst>
              <a:ext uri="{FF2B5EF4-FFF2-40B4-BE49-F238E27FC236}">
                <a16:creationId xmlns:a16="http://schemas.microsoft.com/office/drawing/2014/main" id="{3F33DD64-8107-4AFC-B3A9-E5EC399FB6B7}"/>
              </a:ext>
            </a:extLst>
          </p:cNvPr>
          <p:cNvSpPr>
            <a:spLocks noChangeArrowheads="1"/>
          </p:cNvSpPr>
          <p:nvPr/>
        </p:nvSpPr>
        <p:spPr bwMode="auto">
          <a:xfrm>
            <a:off x="1174612"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cxnSp>
        <p:nvCxnSpPr>
          <p:cNvPr id="48" name="AutoShape 11">
            <a:extLst>
              <a:ext uri="{FF2B5EF4-FFF2-40B4-BE49-F238E27FC236}">
                <a16:creationId xmlns:a16="http://schemas.microsoft.com/office/drawing/2014/main" id="{6CC8DC97-88D1-4272-B26B-3AF606B4C579}"/>
              </a:ext>
            </a:extLst>
          </p:cNvPr>
          <p:cNvCxnSpPr>
            <a:cxnSpLocks noChangeShapeType="1"/>
            <a:stCxn id="42" idx="2"/>
            <a:endCxn id="47" idx="0"/>
          </p:cNvCxnSpPr>
          <p:nvPr/>
        </p:nvCxnSpPr>
        <p:spPr bwMode="auto">
          <a:xfrm rot="5400000">
            <a:off x="2239161" y="2658210"/>
            <a:ext cx="626863" cy="131595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AutoShape 12">
            <a:extLst>
              <a:ext uri="{FF2B5EF4-FFF2-40B4-BE49-F238E27FC236}">
                <a16:creationId xmlns:a16="http://schemas.microsoft.com/office/drawing/2014/main" id="{E030CC54-896E-49BD-8830-07BA1D0107DD}"/>
              </a:ext>
            </a:extLst>
          </p:cNvPr>
          <p:cNvCxnSpPr>
            <a:cxnSpLocks noChangeShapeType="1"/>
            <a:stCxn id="42" idx="2"/>
            <a:endCxn id="46" idx="0"/>
          </p:cNvCxnSpPr>
          <p:nvPr/>
        </p:nvCxnSpPr>
        <p:spPr bwMode="auto">
          <a:xfrm rot="16200000" flipH="1">
            <a:off x="3555119" y="2658209"/>
            <a:ext cx="626863" cy="131595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AutoShape 13">
            <a:extLst>
              <a:ext uri="{FF2B5EF4-FFF2-40B4-BE49-F238E27FC236}">
                <a16:creationId xmlns:a16="http://schemas.microsoft.com/office/drawing/2014/main" id="{F4D97F48-E11B-4950-B9A5-08BC5E92B329}"/>
              </a:ext>
            </a:extLst>
          </p:cNvPr>
          <p:cNvCxnSpPr>
            <a:cxnSpLocks noChangeShapeType="1"/>
            <a:stCxn id="43" idx="2"/>
            <a:endCxn id="66" idx="0"/>
          </p:cNvCxnSpPr>
          <p:nvPr/>
        </p:nvCxnSpPr>
        <p:spPr bwMode="auto">
          <a:xfrm rot="5400000">
            <a:off x="7367519" y="2264716"/>
            <a:ext cx="626863" cy="210294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1" name="Rectangle 15">
            <a:extLst>
              <a:ext uri="{FF2B5EF4-FFF2-40B4-BE49-F238E27FC236}">
                <a16:creationId xmlns:a16="http://schemas.microsoft.com/office/drawing/2014/main" id="{BB2952FB-18F4-4052-961D-ED43DD368255}"/>
              </a:ext>
            </a:extLst>
          </p:cNvPr>
          <p:cNvSpPr>
            <a:spLocks noChangeArrowheads="1"/>
          </p:cNvSpPr>
          <p:nvPr/>
        </p:nvSpPr>
        <p:spPr bwMode="auto">
          <a:xfrm>
            <a:off x="342375" y="5625900"/>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52" name="Rectangle 16">
            <a:extLst>
              <a:ext uri="{FF2B5EF4-FFF2-40B4-BE49-F238E27FC236}">
                <a16:creationId xmlns:a16="http://schemas.microsoft.com/office/drawing/2014/main" id="{9E2D174F-59B4-424B-8952-EDFD4CF3893B}"/>
              </a:ext>
            </a:extLst>
          </p:cNvPr>
          <p:cNvSpPr>
            <a:spLocks noChangeArrowheads="1"/>
          </p:cNvSpPr>
          <p:nvPr/>
        </p:nvSpPr>
        <p:spPr bwMode="auto">
          <a:xfrm>
            <a:off x="1393848" y="5625900"/>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3" name="Rectangle 17">
            <a:extLst>
              <a:ext uri="{FF2B5EF4-FFF2-40B4-BE49-F238E27FC236}">
                <a16:creationId xmlns:a16="http://schemas.microsoft.com/office/drawing/2014/main" id="{FB815C58-D192-4C9C-97C9-1A8BF001731A}"/>
              </a:ext>
            </a:extLst>
          </p:cNvPr>
          <p:cNvSpPr>
            <a:spLocks noChangeArrowheads="1"/>
          </p:cNvSpPr>
          <p:nvPr/>
        </p:nvSpPr>
        <p:spPr bwMode="auto">
          <a:xfrm>
            <a:off x="2445321" y="5625900"/>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cxnSp>
        <p:nvCxnSpPr>
          <p:cNvPr id="54" name="AutoShape 18">
            <a:extLst>
              <a:ext uri="{FF2B5EF4-FFF2-40B4-BE49-F238E27FC236}">
                <a16:creationId xmlns:a16="http://schemas.microsoft.com/office/drawing/2014/main" id="{C65C0522-E5E0-46F5-900A-BD5AF41DB1DB}"/>
              </a:ext>
            </a:extLst>
          </p:cNvPr>
          <p:cNvCxnSpPr>
            <a:cxnSpLocks noChangeShapeType="1"/>
            <a:stCxn id="47" idx="2"/>
            <a:endCxn id="51" idx="0"/>
          </p:cNvCxnSpPr>
          <p:nvPr/>
        </p:nvCxnSpPr>
        <p:spPr bwMode="auto">
          <a:xfrm rot="5400000">
            <a:off x="588355" y="4319642"/>
            <a:ext cx="1564279" cy="10482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AutoShape 19">
            <a:extLst>
              <a:ext uri="{FF2B5EF4-FFF2-40B4-BE49-F238E27FC236}">
                <a16:creationId xmlns:a16="http://schemas.microsoft.com/office/drawing/2014/main" id="{209C6F4F-E324-46F3-8711-02F0C0823550}"/>
              </a:ext>
            </a:extLst>
          </p:cNvPr>
          <p:cNvCxnSpPr>
            <a:cxnSpLocks noChangeShapeType="1"/>
            <a:stCxn id="47" idx="2"/>
            <a:endCxn id="52" idx="0"/>
          </p:cNvCxnSpPr>
          <p:nvPr/>
        </p:nvCxnSpPr>
        <p:spPr bwMode="auto">
          <a:xfrm rot="16200000" flipH="1">
            <a:off x="1114091" y="4842142"/>
            <a:ext cx="1564279" cy="323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AutoShape 20">
            <a:extLst>
              <a:ext uri="{FF2B5EF4-FFF2-40B4-BE49-F238E27FC236}">
                <a16:creationId xmlns:a16="http://schemas.microsoft.com/office/drawing/2014/main" id="{20FCBBC8-938B-4299-A79C-93CC78D50054}"/>
              </a:ext>
            </a:extLst>
          </p:cNvPr>
          <p:cNvCxnSpPr>
            <a:cxnSpLocks noChangeShapeType="1"/>
            <a:stCxn id="47" idx="2"/>
            <a:endCxn id="53" idx="0"/>
          </p:cNvCxnSpPr>
          <p:nvPr/>
        </p:nvCxnSpPr>
        <p:spPr bwMode="auto">
          <a:xfrm rot="16200000" flipH="1">
            <a:off x="1639827" y="4316405"/>
            <a:ext cx="1564279" cy="105470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7" name="Rectangle 21">
            <a:extLst>
              <a:ext uri="{FF2B5EF4-FFF2-40B4-BE49-F238E27FC236}">
                <a16:creationId xmlns:a16="http://schemas.microsoft.com/office/drawing/2014/main" id="{EAA26885-0A97-4EDC-ABA2-7B6A96B045E4}"/>
              </a:ext>
            </a:extLst>
          </p:cNvPr>
          <p:cNvSpPr>
            <a:spLocks noChangeArrowheads="1"/>
          </p:cNvSpPr>
          <p:nvPr/>
        </p:nvSpPr>
        <p:spPr bwMode="auto">
          <a:xfrm>
            <a:off x="3496794"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8" name="Rectangle 22">
            <a:extLst>
              <a:ext uri="{FF2B5EF4-FFF2-40B4-BE49-F238E27FC236}">
                <a16:creationId xmlns:a16="http://schemas.microsoft.com/office/drawing/2014/main" id="{8BF41DB8-CDD3-4E6F-91F1-8D3E3E35B771}"/>
              </a:ext>
            </a:extLst>
          </p:cNvPr>
          <p:cNvSpPr>
            <a:spLocks noChangeArrowheads="1"/>
          </p:cNvSpPr>
          <p:nvPr/>
        </p:nvSpPr>
        <p:spPr bwMode="auto">
          <a:xfrm>
            <a:off x="4548267"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59" name="Rectangle 23">
            <a:extLst>
              <a:ext uri="{FF2B5EF4-FFF2-40B4-BE49-F238E27FC236}">
                <a16:creationId xmlns:a16="http://schemas.microsoft.com/office/drawing/2014/main" id="{E7736347-FE9F-40EA-9D1D-E992F5CD4BD4}"/>
              </a:ext>
            </a:extLst>
          </p:cNvPr>
          <p:cNvSpPr>
            <a:spLocks noChangeArrowheads="1"/>
          </p:cNvSpPr>
          <p:nvPr/>
        </p:nvSpPr>
        <p:spPr bwMode="auto">
          <a:xfrm>
            <a:off x="5599740"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60" name="Rectangle 24">
            <a:extLst>
              <a:ext uri="{FF2B5EF4-FFF2-40B4-BE49-F238E27FC236}">
                <a16:creationId xmlns:a16="http://schemas.microsoft.com/office/drawing/2014/main" id="{64E46B31-3E26-410F-801A-F53DA059826E}"/>
              </a:ext>
            </a:extLst>
          </p:cNvPr>
          <p:cNvSpPr>
            <a:spLocks noChangeArrowheads="1"/>
          </p:cNvSpPr>
          <p:nvPr/>
        </p:nvSpPr>
        <p:spPr bwMode="auto">
          <a:xfrm>
            <a:off x="6651213"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cxnSp>
        <p:nvCxnSpPr>
          <p:cNvPr id="61" name="AutoShape 25">
            <a:extLst>
              <a:ext uri="{FF2B5EF4-FFF2-40B4-BE49-F238E27FC236}">
                <a16:creationId xmlns:a16="http://schemas.microsoft.com/office/drawing/2014/main" id="{C5EC16C6-1DA9-458D-AE80-5D1EBB5FB632}"/>
              </a:ext>
            </a:extLst>
          </p:cNvPr>
          <p:cNvCxnSpPr>
            <a:cxnSpLocks noChangeShapeType="1"/>
            <a:stCxn id="46" idx="2"/>
            <a:endCxn id="57" idx="0"/>
          </p:cNvCxnSpPr>
          <p:nvPr/>
        </p:nvCxnSpPr>
        <p:spPr bwMode="auto">
          <a:xfrm rot="5400000">
            <a:off x="3983569" y="4078846"/>
            <a:ext cx="560187" cy="52573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2" name="AutoShape 26">
            <a:extLst>
              <a:ext uri="{FF2B5EF4-FFF2-40B4-BE49-F238E27FC236}">
                <a16:creationId xmlns:a16="http://schemas.microsoft.com/office/drawing/2014/main" id="{A7A9AFF4-C091-4341-93EA-23EEC9A295E2}"/>
              </a:ext>
            </a:extLst>
          </p:cNvPr>
          <p:cNvCxnSpPr>
            <a:cxnSpLocks noChangeShapeType="1"/>
            <a:stCxn id="46" idx="2"/>
            <a:endCxn id="58" idx="0"/>
          </p:cNvCxnSpPr>
          <p:nvPr/>
        </p:nvCxnSpPr>
        <p:spPr bwMode="auto">
          <a:xfrm rot="16200000" flipH="1">
            <a:off x="4509305" y="4078845"/>
            <a:ext cx="560187" cy="525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3" name="AutoShape 27">
            <a:extLst>
              <a:ext uri="{FF2B5EF4-FFF2-40B4-BE49-F238E27FC236}">
                <a16:creationId xmlns:a16="http://schemas.microsoft.com/office/drawing/2014/main" id="{0B2867C4-1D99-49A4-BA78-6B781F8AFCAC}"/>
              </a:ext>
            </a:extLst>
          </p:cNvPr>
          <p:cNvCxnSpPr>
            <a:cxnSpLocks noChangeShapeType="1"/>
            <a:stCxn id="66" idx="2"/>
            <a:endCxn id="59" idx="0"/>
          </p:cNvCxnSpPr>
          <p:nvPr/>
        </p:nvCxnSpPr>
        <p:spPr bwMode="auto">
          <a:xfrm rot="5400000">
            <a:off x="6086515" y="4078846"/>
            <a:ext cx="560187" cy="52573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4" name="AutoShape 28">
            <a:extLst>
              <a:ext uri="{FF2B5EF4-FFF2-40B4-BE49-F238E27FC236}">
                <a16:creationId xmlns:a16="http://schemas.microsoft.com/office/drawing/2014/main" id="{AA40989B-D956-45D0-8219-F8FAA6D3661F}"/>
              </a:ext>
            </a:extLst>
          </p:cNvPr>
          <p:cNvCxnSpPr>
            <a:cxnSpLocks noChangeShapeType="1"/>
            <a:stCxn id="66" idx="2"/>
            <a:endCxn id="60" idx="0"/>
          </p:cNvCxnSpPr>
          <p:nvPr/>
        </p:nvCxnSpPr>
        <p:spPr bwMode="auto">
          <a:xfrm rot="16200000" flipH="1">
            <a:off x="6612251" y="4078845"/>
            <a:ext cx="560187" cy="525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5" name="Rectangle 29">
            <a:extLst>
              <a:ext uri="{FF2B5EF4-FFF2-40B4-BE49-F238E27FC236}">
                <a16:creationId xmlns:a16="http://schemas.microsoft.com/office/drawing/2014/main" id="{7F4D3319-F500-44C7-9178-76DC0041726A}"/>
              </a:ext>
            </a:extLst>
          </p:cNvPr>
          <p:cNvSpPr>
            <a:spLocks noChangeArrowheads="1"/>
          </p:cNvSpPr>
          <p:nvPr/>
        </p:nvSpPr>
        <p:spPr bwMode="auto">
          <a:xfrm>
            <a:off x="8012423"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sp>
        <p:nvSpPr>
          <p:cNvPr id="66" name="Rectangle 30">
            <a:extLst>
              <a:ext uri="{FF2B5EF4-FFF2-40B4-BE49-F238E27FC236}">
                <a16:creationId xmlns:a16="http://schemas.microsoft.com/office/drawing/2014/main" id="{574CEBF2-5A62-4390-9A24-881E9FBBD537}"/>
              </a:ext>
            </a:extLst>
          </p:cNvPr>
          <p:cNvSpPr>
            <a:spLocks noChangeArrowheads="1"/>
          </p:cNvSpPr>
          <p:nvPr/>
        </p:nvSpPr>
        <p:spPr bwMode="auto">
          <a:xfrm>
            <a:off x="5909476"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sp>
        <p:nvSpPr>
          <p:cNvPr id="67" name="Rectangle 31">
            <a:extLst>
              <a:ext uri="{FF2B5EF4-FFF2-40B4-BE49-F238E27FC236}">
                <a16:creationId xmlns:a16="http://schemas.microsoft.com/office/drawing/2014/main" id="{10CA247D-EA73-4600-89F3-59C42C84C0A1}"/>
              </a:ext>
            </a:extLst>
          </p:cNvPr>
          <p:cNvSpPr>
            <a:spLocks noChangeArrowheads="1"/>
          </p:cNvSpPr>
          <p:nvPr/>
        </p:nvSpPr>
        <p:spPr bwMode="auto">
          <a:xfrm>
            <a:off x="10115367" y="3629621"/>
            <a:ext cx="1440000" cy="432000"/>
          </a:xfrm>
          <a:prstGeom prst="rect">
            <a:avLst/>
          </a:prstGeom>
          <a:solidFill>
            <a:schemeClr val="accent1"/>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cxnSp>
        <p:nvCxnSpPr>
          <p:cNvPr id="68" name="AutoShape 32">
            <a:extLst>
              <a:ext uri="{FF2B5EF4-FFF2-40B4-BE49-F238E27FC236}">
                <a16:creationId xmlns:a16="http://schemas.microsoft.com/office/drawing/2014/main" id="{E21BD49B-9504-471B-8127-7A273AD7DD77}"/>
              </a:ext>
            </a:extLst>
          </p:cNvPr>
          <p:cNvCxnSpPr>
            <a:cxnSpLocks noChangeShapeType="1"/>
            <a:stCxn id="43" idx="2"/>
            <a:endCxn id="67" idx="0"/>
          </p:cNvCxnSpPr>
          <p:nvPr/>
        </p:nvCxnSpPr>
        <p:spPr bwMode="auto">
          <a:xfrm rot="16200000" flipH="1">
            <a:off x="9470464" y="2264717"/>
            <a:ext cx="626863" cy="210294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9" name="Rectangle 33">
            <a:extLst>
              <a:ext uri="{FF2B5EF4-FFF2-40B4-BE49-F238E27FC236}">
                <a16:creationId xmlns:a16="http://schemas.microsoft.com/office/drawing/2014/main" id="{DFD8B80F-F8A7-472E-8DFF-AFF0E0FC9723}"/>
              </a:ext>
            </a:extLst>
          </p:cNvPr>
          <p:cNvSpPr>
            <a:spLocks noChangeArrowheads="1"/>
          </p:cNvSpPr>
          <p:nvPr/>
        </p:nvSpPr>
        <p:spPr bwMode="auto">
          <a:xfrm>
            <a:off x="9805632"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70" name="Rectangle 34">
            <a:extLst>
              <a:ext uri="{FF2B5EF4-FFF2-40B4-BE49-F238E27FC236}">
                <a16:creationId xmlns:a16="http://schemas.microsoft.com/office/drawing/2014/main" id="{B224DFDC-DB06-46DB-B0FD-98FEE261ADBA}"/>
              </a:ext>
            </a:extLst>
          </p:cNvPr>
          <p:cNvSpPr>
            <a:spLocks noChangeArrowheads="1"/>
          </p:cNvSpPr>
          <p:nvPr/>
        </p:nvSpPr>
        <p:spPr bwMode="auto">
          <a:xfrm>
            <a:off x="10857102"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dirty="0"/>
              <a:t>Text</a:t>
            </a:r>
            <a:endParaRPr lang="en-US" sz="1200" dirty="0"/>
          </a:p>
        </p:txBody>
      </p:sp>
      <p:sp>
        <p:nvSpPr>
          <p:cNvPr id="71" name="Rectangle 35">
            <a:extLst>
              <a:ext uri="{FF2B5EF4-FFF2-40B4-BE49-F238E27FC236}">
                <a16:creationId xmlns:a16="http://schemas.microsoft.com/office/drawing/2014/main" id="{791E1D09-B073-4FFB-A21C-C03569AC057F}"/>
              </a:ext>
            </a:extLst>
          </p:cNvPr>
          <p:cNvSpPr>
            <a:spLocks noChangeArrowheads="1"/>
          </p:cNvSpPr>
          <p:nvPr/>
        </p:nvSpPr>
        <p:spPr bwMode="auto">
          <a:xfrm>
            <a:off x="7702686"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72" name="Rectangle 36">
            <a:extLst>
              <a:ext uri="{FF2B5EF4-FFF2-40B4-BE49-F238E27FC236}">
                <a16:creationId xmlns:a16="http://schemas.microsoft.com/office/drawing/2014/main" id="{38DDF97F-2BC0-40B6-B176-955EF233B055}"/>
              </a:ext>
            </a:extLst>
          </p:cNvPr>
          <p:cNvSpPr>
            <a:spLocks noChangeArrowheads="1"/>
          </p:cNvSpPr>
          <p:nvPr/>
        </p:nvSpPr>
        <p:spPr bwMode="auto">
          <a:xfrm>
            <a:off x="8754159" y="4621808"/>
            <a:ext cx="1008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cxnSp>
        <p:nvCxnSpPr>
          <p:cNvPr id="73" name="AutoShape 37">
            <a:extLst>
              <a:ext uri="{FF2B5EF4-FFF2-40B4-BE49-F238E27FC236}">
                <a16:creationId xmlns:a16="http://schemas.microsoft.com/office/drawing/2014/main" id="{9E14C433-816B-40CC-8FDC-C6F2AB453FAE}"/>
              </a:ext>
            </a:extLst>
          </p:cNvPr>
          <p:cNvCxnSpPr>
            <a:cxnSpLocks noChangeShapeType="1"/>
            <a:stCxn id="65" idx="2"/>
            <a:endCxn id="71" idx="0"/>
          </p:cNvCxnSpPr>
          <p:nvPr/>
        </p:nvCxnSpPr>
        <p:spPr bwMode="auto">
          <a:xfrm rot="5400000">
            <a:off x="8189462" y="4078846"/>
            <a:ext cx="560187" cy="525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AutoShape 38">
            <a:extLst>
              <a:ext uri="{FF2B5EF4-FFF2-40B4-BE49-F238E27FC236}">
                <a16:creationId xmlns:a16="http://schemas.microsoft.com/office/drawing/2014/main" id="{CD6E9FCF-3AF0-48BF-A328-393A36200D99}"/>
              </a:ext>
            </a:extLst>
          </p:cNvPr>
          <p:cNvCxnSpPr>
            <a:cxnSpLocks noChangeShapeType="1"/>
            <a:stCxn id="65" idx="2"/>
            <a:endCxn id="72" idx="0"/>
          </p:cNvCxnSpPr>
          <p:nvPr/>
        </p:nvCxnSpPr>
        <p:spPr bwMode="auto">
          <a:xfrm rot="16200000" flipH="1">
            <a:off x="8715198" y="4078846"/>
            <a:ext cx="560187" cy="525736"/>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AutoShape 39">
            <a:extLst>
              <a:ext uri="{FF2B5EF4-FFF2-40B4-BE49-F238E27FC236}">
                <a16:creationId xmlns:a16="http://schemas.microsoft.com/office/drawing/2014/main" id="{8C4DFA98-218C-41E7-985F-DB71232AA2C4}"/>
              </a:ext>
            </a:extLst>
          </p:cNvPr>
          <p:cNvCxnSpPr>
            <a:cxnSpLocks noChangeShapeType="1"/>
            <a:stCxn id="67" idx="2"/>
            <a:endCxn id="69" idx="0"/>
          </p:cNvCxnSpPr>
          <p:nvPr/>
        </p:nvCxnSpPr>
        <p:spPr bwMode="auto">
          <a:xfrm rot="5400000">
            <a:off x="10292407" y="4078847"/>
            <a:ext cx="560187" cy="52573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 name="AutoShape 40">
            <a:extLst>
              <a:ext uri="{FF2B5EF4-FFF2-40B4-BE49-F238E27FC236}">
                <a16:creationId xmlns:a16="http://schemas.microsoft.com/office/drawing/2014/main" id="{F1999842-4EE0-4DA2-96AC-9EE6C798B6FA}"/>
              </a:ext>
            </a:extLst>
          </p:cNvPr>
          <p:cNvCxnSpPr>
            <a:cxnSpLocks noChangeShapeType="1"/>
            <a:stCxn id="67" idx="2"/>
            <a:endCxn id="70" idx="0"/>
          </p:cNvCxnSpPr>
          <p:nvPr/>
        </p:nvCxnSpPr>
        <p:spPr bwMode="auto">
          <a:xfrm rot="16200000" flipH="1">
            <a:off x="10818141" y="4078846"/>
            <a:ext cx="560187" cy="52573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7" name="Rectangle 5">
            <a:extLst>
              <a:ext uri="{FF2B5EF4-FFF2-40B4-BE49-F238E27FC236}">
                <a16:creationId xmlns:a16="http://schemas.microsoft.com/office/drawing/2014/main" id="{73F3BE99-4340-40E8-ABB8-4195823ED61D}"/>
              </a:ext>
            </a:extLst>
          </p:cNvPr>
          <p:cNvSpPr>
            <a:spLocks noChangeArrowheads="1"/>
          </p:cNvSpPr>
          <p:nvPr/>
        </p:nvSpPr>
        <p:spPr bwMode="auto">
          <a:xfrm>
            <a:off x="5251497" y="1628801"/>
            <a:ext cx="1440000" cy="432000"/>
          </a:xfrm>
          <a:prstGeom prst="rect">
            <a:avLst/>
          </a:prstGeom>
          <a:solidFill>
            <a:schemeClr val="accent6"/>
          </a:solidFill>
          <a:ln w="6350">
            <a:noFill/>
            <a:miter lim="800000"/>
            <a:headEnd/>
            <a:tailEnd/>
          </a:ln>
          <a:effectLst/>
        </p:spPr>
        <p:txBody>
          <a:bodyPr lIns="72000" tIns="72000" rIns="72000" bIns="72000" anchor="ctr"/>
          <a:lstStyle/>
          <a:p>
            <a:pPr algn="ctr" eaLnBrk="0" hangingPunct="0"/>
            <a:r>
              <a:rPr lang="en-GB" sz="1200" b="1" dirty="0">
                <a:solidFill>
                  <a:schemeClr val="bg1"/>
                </a:solidFill>
              </a:rPr>
              <a:t>Text</a:t>
            </a:r>
            <a:endParaRPr lang="en-US" sz="1200" b="1" dirty="0">
              <a:solidFill>
                <a:schemeClr val="bg1"/>
              </a:solidFill>
            </a:endParaRPr>
          </a:p>
        </p:txBody>
      </p:sp>
      <p:cxnSp>
        <p:nvCxnSpPr>
          <p:cNvPr id="78" name="Straight Connector 77">
            <a:extLst>
              <a:ext uri="{FF2B5EF4-FFF2-40B4-BE49-F238E27FC236}">
                <a16:creationId xmlns:a16="http://schemas.microsoft.com/office/drawing/2014/main" id="{3B9A7B9F-C136-4871-B7E3-39DD26C18497}"/>
              </a:ext>
            </a:extLst>
          </p:cNvPr>
          <p:cNvCxnSpPr>
            <a:stCxn id="43" idx="2"/>
            <a:endCxn id="65" idx="0"/>
          </p:cNvCxnSpPr>
          <p:nvPr/>
        </p:nvCxnSpPr>
        <p:spPr>
          <a:xfrm>
            <a:off x="8732423" y="3002758"/>
            <a:ext cx="0" cy="626863"/>
          </a:xfrm>
          <a:prstGeom prst="line">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734828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Mapping – Horizontal</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4">
            <a:extLst>
              <a:ext uri="{FF2B5EF4-FFF2-40B4-BE49-F238E27FC236}">
                <a16:creationId xmlns:a16="http://schemas.microsoft.com/office/drawing/2014/main" id="{DAAE0912-57E5-4785-BA4A-261DB55A5948}"/>
              </a:ext>
            </a:extLst>
          </p:cNvPr>
          <p:cNvSpPr>
            <a:spLocks noChangeArrowheads="1"/>
          </p:cNvSpPr>
          <p:nvPr/>
        </p:nvSpPr>
        <p:spPr bwMode="auto">
          <a:xfrm>
            <a:off x="8747609" y="1769537"/>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latin typeface="Graphik"/>
                <a:ea typeface="+mn-ea"/>
                <a:cs typeface="+mn-cs"/>
              </a:rPr>
              <a:t>Text</a:t>
            </a:r>
            <a:endParaRPr kumimoji="0" lang="en-US" sz="1600" b="0" i="0" u="none" strike="noStrike" kern="0" cap="none" spc="0" normalizeH="0" baseline="0" noProof="0" dirty="0">
              <a:ln>
                <a:noFill/>
              </a:ln>
              <a:solidFill>
                <a:schemeClr val="accent3"/>
              </a:solidFill>
              <a:effectLst/>
              <a:uLnTx/>
              <a:uFillTx/>
              <a:latin typeface="Graphik"/>
              <a:ea typeface="+mn-ea"/>
              <a:cs typeface="+mn-cs"/>
            </a:endParaRPr>
          </a:p>
        </p:txBody>
      </p:sp>
      <p:sp>
        <p:nvSpPr>
          <p:cNvPr id="5" name="Rectangle 5">
            <a:extLst>
              <a:ext uri="{FF2B5EF4-FFF2-40B4-BE49-F238E27FC236}">
                <a16:creationId xmlns:a16="http://schemas.microsoft.com/office/drawing/2014/main" id="{E8546727-7684-4183-AE33-E28F16A9D33E}"/>
              </a:ext>
            </a:extLst>
          </p:cNvPr>
          <p:cNvSpPr>
            <a:spLocks noChangeArrowheads="1"/>
          </p:cNvSpPr>
          <p:nvPr/>
        </p:nvSpPr>
        <p:spPr bwMode="auto">
          <a:xfrm>
            <a:off x="8747609" y="2348662"/>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latin typeface="Graphik"/>
                <a:ea typeface="+mn-ea"/>
                <a:cs typeface="+mn-cs"/>
              </a:rPr>
              <a:t>Text</a:t>
            </a:r>
            <a:endParaRPr kumimoji="0" lang="en-US" sz="1600" b="0" i="0" u="none" strike="noStrike" kern="0" cap="none" spc="0" normalizeH="0" baseline="0" noProof="0" dirty="0">
              <a:ln>
                <a:noFill/>
              </a:ln>
              <a:solidFill>
                <a:schemeClr val="accent3"/>
              </a:solidFill>
              <a:effectLst/>
              <a:uLnTx/>
              <a:uFillTx/>
              <a:latin typeface="Graphik"/>
              <a:ea typeface="+mn-ea"/>
              <a:cs typeface="+mn-cs"/>
            </a:endParaRPr>
          </a:p>
        </p:txBody>
      </p:sp>
      <p:sp>
        <p:nvSpPr>
          <p:cNvPr id="6" name="Rectangle 6">
            <a:extLst>
              <a:ext uri="{FF2B5EF4-FFF2-40B4-BE49-F238E27FC236}">
                <a16:creationId xmlns:a16="http://schemas.microsoft.com/office/drawing/2014/main" id="{0D39A5A5-80B8-440C-9A35-F0806A73A68A}"/>
              </a:ext>
            </a:extLst>
          </p:cNvPr>
          <p:cNvSpPr>
            <a:spLocks noChangeArrowheads="1"/>
          </p:cNvSpPr>
          <p:nvPr/>
        </p:nvSpPr>
        <p:spPr bwMode="auto">
          <a:xfrm>
            <a:off x="8747609" y="5373758"/>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latin typeface="Graphik"/>
                <a:ea typeface="+mn-ea"/>
                <a:cs typeface="+mn-cs"/>
              </a:rPr>
              <a:t>Text</a:t>
            </a:r>
            <a:endParaRPr kumimoji="0" lang="en-US" sz="1600" b="0" i="0" u="none" strike="noStrike" kern="0" cap="none" spc="0" normalizeH="0" baseline="0" noProof="0" dirty="0">
              <a:ln>
                <a:noFill/>
              </a:ln>
              <a:solidFill>
                <a:schemeClr val="accent3"/>
              </a:solidFill>
              <a:effectLst/>
              <a:uLnTx/>
              <a:uFillTx/>
              <a:latin typeface="Graphik"/>
              <a:ea typeface="+mn-ea"/>
              <a:cs typeface="+mn-cs"/>
            </a:endParaRPr>
          </a:p>
        </p:txBody>
      </p:sp>
      <p:sp>
        <p:nvSpPr>
          <p:cNvPr id="7" name="Rectangle 7">
            <a:extLst>
              <a:ext uri="{FF2B5EF4-FFF2-40B4-BE49-F238E27FC236}">
                <a16:creationId xmlns:a16="http://schemas.microsoft.com/office/drawing/2014/main" id="{858DBB03-63F7-4738-B2A9-E6EADEE19FE9}"/>
              </a:ext>
            </a:extLst>
          </p:cNvPr>
          <p:cNvSpPr>
            <a:spLocks noChangeArrowheads="1"/>
          </p:cNvSpPr>
          <p:nvPr/>
        </p:nvSpPr>
        <p:spPr bwMode="auto">
          <a:xfrm>
            <a:off x="8747609" y="4557702"/>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latin typeface="Graphik"/>
                <a:ea typeface="+mn-ea"/>
                <a:cs typeface="+mn-cs"/>
              </a:rPr>
              <a:t>Text</a:t>
            </a:r>
            <a:endParaRPr kumimoji="0" lang="en-US" sz="1600" b="0" i="0" u="none" strike="noStrike" kern="0" cap="none" spc="0" normalizeH="0" baseline="0" noProof="0" dirty="0">
              <a:ln>
                <a:noFill/>
              </a:ln>
              <a:solidFill>
                <a:schemeClr val="accent3"/>
              </a:solidFill>
              <a:effectLst/>
              <a:uLnTx/>
              <a:uFillTx/>
              <a:latin typeface="Graphik"/>
              <a:ea typeface="+mn-ea"/>
              <a:cs typeface="+mn-cs"/>
            </a:endParaRPr>
          </a:p>
        </p:txBody>
      </p:sp>
      <p:sp>
        <p:nvSpPr>
          <p:cNvPr id="8" name="Rectangle 8">
            <a:extLst>
              <a:ext uri="{FF2B5EF4-FFF2-40B4-BE49-F238E27FC236}">
                <a16:creationId xmlns:a16="http://schemas.microsoft.com/office/drawing/2014/main" id="{E91BC69B-528C-4222-BCE3-DFE6BB3DF622}"/>
              </a:ext>
            </a:extLst>
          </p:cNvPr>
          <p:cNvSpPr>
            <a:spLocks noChangeArrowheads="1"/>
          </p:cNvSpPr>
          <p:nvPr/>
        </p:nvSpPr>
        <p:spPr bwMode="auto">
          <a:xfrm>
            <a:off x="8747609" y="2927787"/>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latin typeface="Graphik"/>
                <a:ea typeface="+mn-ea"/>
                <a:cs typeface="+mn-cs"/>
              </a:rPr>
              <a:t>Text</a:t>
            </a:r>
            <a:endParaRPr kumimoji="0" lang="en-US" sz="1600" b="0" i="0" u="none" strike="noStrike" kern="0" cap="none" spc="0" normalizeH="0" baseline="0" noProof="0" dirty="0">
              <a:ln>
                <a:noFill/>
              </a:ln>
              <a:solidFill>
                <a:schemeClr val="accent3"/>
              </a:solidFill>
              <a:effectLst/>
              <a:uLnTx/>
              <a:uFillTx/>
              <a:latin typeface="Graphik"/>
              <a:ea typeface="+mn-ea"/>
              <a:cs typeface="+mn-cs"/>
            </a:endParaRPr>
          </a:p>
        </p:txBody>
      </p:sp>
      <p:sp>
        <p:nvSpPr>
          <p:cNvPr id="9" name="Rectangle 10">
            <a:extLst>
              <a:ext uri="{FF2B5EF4-FFF2-40B4-BE49-F238E27FC236}">
                <a16:creationId xmlns:a16="http://schemas.microsoft.com/office/drawing/2014/main" id="{DCAE402E-8761-4949-BF15-7801F26E0F82}"/>
              </a:ext>
            </a:extLst>
          </p:cNvPr>
          <p:cNvSpPr>
            <a:spLocks noChangeArrowheads="1"/>
          </p:cNvSpPr>
          <p:nvPr/>
        </p:nvSpPr>
        <p:spPr bwMode="auto">
          <a:xfrm>
            <a:off x="4991147" y="3578300"/>
            <a:ext cx="3179139" cy="676730"/>
          </a:xfrm>
          <a:prstGeom prst="rect">
            <a:avLst/>
          </a:prstGeom>
          <a:solidFill>
            <a:schemeClr val="accent3"/>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endParaRPr kumimoji="0" lang="en-US" sz="1600" b="1" i="0" u="none" strike="noStrike" kern="0" cap="none" spc="0" normalizeH="0" baseline="0" noProof="0" dirty="0">
              <a:ln>
                <a:noFill/>
              </a:ln>
              <a:solidFill>
                <a:srgbClr val="FFFFFF"/>
              </a:solidFill>
              <a:effectLst/>
              <a:uLnTx/>
              <a:uFillTx/>
              <a:latin typeface="Graphik Black"/>
              <a:ea typeface="+mn-ea"/>
              <a:cs typeface="+mn-cs"/>
            </a:endParaRPr>
          </a:p>
        </p:txBody>
      </p:sp>
      <p:sp>
        <p:nvSpPr>
          <p:cNvPr id="10" name="Rectangle 11">
            <a:extLst>
              <a:ext uri="{FF2B5EF4-FFF2-40B4-BE49-F238E27FC236}">
                <a16:creationId xmlns:a16="http://schemas.microsoft.com/office/drawing/2014/main" id="{3CEEFC7C-3B8E-4496-8BA7-48D3DEB33792}"/>
              </a:ext>
            </a:extLst>
          </p:cNvPr>
          <p:cNvSpPr>
            <a:spLocks noChangeArrowheads="1"/>
          </p:cNvSpPr>
          <p:nvPr/>
        </p:nvSpPr>
        <p:spPr bwMode="auto">
          <a:xfrm>
            <a:off x="4991147" y="1763712"/>
            <a:ext cx="3179139" cy="1704075"/>
          </a:xfrm>
          <a:prstGeom prst="rect">
            <a:avLst/>
          </a:prstGeom>
          <a:solidFill>
            <a:schemeClr val="accent3"/>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endParaRPr kumimoji="0" lang="en-US"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11" name="Rectangle 12">
            <a:extLst>
              <a:ext uri="{FF2B5EF4-FFF2-40B4-BE49-F238E27FC236}">
                <a16:creationId xmlns:a16="http://schemas.microsoft.com/office/drawing/2014/main" id="{BF8CB7FF-955F-4DBB-BEEA-B50EAE1EAC22}"/>
              </a:ext>
            </a:extLst>
          </p:cNvPr>
          <p:cNvSpPr>
            <a:spLocks noChangeArrowheads="1"/>
          </p:cNvSpPr>
          <p:nvPr/>
        </p:nvSpPr>
        <p:spPr bwMode="auto">
          <a:xfrm>
            <a:off x="4991147" y="4353825"/>
            <a:ext cx="3179139" cy="1704074"/>
          </a:xfrm>
          <a:prstGeom prst="rect">
            <a:avLst/>
          </a:prstGeom>
          <a:solidFill>
            <a:schemeClr val="accent3"/>
          </a:solidFill>
          <a:ln w="6350">
            <a:noFill/>
            <a:miter lim="800000"/>
            <a:headEnd/>
            <a:tailEnd/>
          </a:ln>
        </p:spPr>
        <p:txBody>
          <a:bodyPr lIns="180000" tIns="144000" rIns="72000" bIns="72000"/>
          <a:lstStyle/>
          <a:p>
            <a:pPr marL="0" marR="0" lvl="0" indent="-174625" algn="l" defTabSz="914400" rtl="0" eaLnBrk="0" fontAlgn="auto" latinLnBrk="0" hangingPunct="0">
              <a:lnSpc>
                <a:spcPct val="85000"/>
              </a:lnSpc>
              <a:spcBef>
                <a:spcPts val="100"/>
              </a:spcBef>
              <a:spcAft>
                <a:spcPts val="300"/>
              </a:spcAft>
              <a:buClrTx/>
              <a:buSzTx/>
              <a:buFontTx/>
              <a:buChar char="•"/>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600" b="0" i="0" u="none" strike="noStrike" kern="0" cap="none" spc="0" normalizeH="0" baseline="0" noProof="0" dirty="0">
                <a:ln>
                  <a:noFill/>
                </a:ln>
                <a:solidFill>
                  <a:srgbClr val="FFFFFF"/>
                </a:solidFill>
                <a:effectLst/>
                <a:uLnTx/>
                <a:uFillTx/>
                <a:latin typeface="Graphik"/>
                <a:ea typeface="+mn-ea"/>
                <a:cs typeface="+mn-cs"/>
              </a:rPr>
              <a:t>Text</a:t>
            </a:r>
            <a:endParaRPr kumimoji="0" lang="en-US" sz="1600" b="0" i="0" u="none" strike="noStrike" kern="0" cap="none" spc="0" normalizeH="0" baseline="0" noProof="0" dirty="0">
              <a:ln>
                <a:noFill/>
              </a:ln>
              <a:solidFill>
                <a:srgbClr val="FFFFFF"/>
              </a:solidFill>
              <a:effectLst/>
              <a:uLnTx/>
              <a:uFillTx/>
              <a:latin typeface="Graphik"/>
              <a:ea typeface="+mn-ea"/>
              <a:cs typeface="+mn-cs"/>
            </a:endParaRPr>
          </a:p>
        </p:txBody>
      </p:sp>
      <p:cxnSp>
        <p:nvCxnSpPr>
          <p:cNvPr id="12" name="AutoShape 13">
            <a:extLst>
              <a:ext uri="{FF2B5EF4-FFF2-40B4-BE49-F238E27FC236}">
                <a16:creationId xmlns:a16="http://schemas.microsoft.com/office/drawing/2014/main" id="{E028F950-2D54-42E6-98A0-2BE126623174}"/>
              </a:ext>
            </a:extLst>
          </p:cNvPr>
          <p:cNvCxnSpPr>
            <a:cxnSpLocks noChangeShapeType="1"/>
            <a:stCxn id="23" idx="3"/>
            <a:endCxn id="9" idx="1"/>
          </p:cNvCxnSpPr>
          <p:nvPr/>
        </p:nvCxnSpPr>
        <p:spPr bwMode="auto">
          <a:xfrm>
            <a:off x="4413824" y="3910806"/>
            <a:ext cx="577323" cy="5859"/>
          </a:xfrm>
          <a:prstGeom prst="straightConnector1">
            <a:avLst/>
          </a:prstGeom>
          <a:noFill/>
          <a:ln w="12700" cap="rnd" cmpd="sng" algn="ctr">
            <a:solidFill>
              <a:srgbClr val="96968C">
                <a:lumMod val="40000"/>
                <a:lumOff val="60000"/>
              </a:srgbClr>
            </a:solidFill>
            <a:prstDash val="solid"/>
            <a:headEnd type="none" w="med" len="med"/>
            <a:tailEnd type="triangle" w="med" len="med"/>
          </a:ln>
          <a:effectLst/>
        </p:spPr>
      </p:cxnSp>
      <p:sp>
        <p:nvSpPr>
          <p:cNvPr id="13" name="Rectangle 14">
            <a:extLst>
              <a:ext uri="{FF2B5EF4-FFF2-40B4-BE49-F238E27FC236}">
                <a16:creationId xmlns:a16="http://schemas.microsoft.com/office/drawing/2014/main" id="{5156A83B-3060-4D15-B75B-47770A28989A}"/>
              </a:ext>
            </a:extLst>
          </p:cNvPr>
          <p:cNvSpPr>
            <a:spLocks noChangeArrowheads="1"/>
          </p:cNvSpPr>
          <p:nvPr/>
        </p:nvSpPr>
        <p:spPr bwMode="auto">
          <a:xfrm>
            <a:off x="8747609" y="3646665"/>
            <a:ext cx="3062757" cy="540000"/>
          </a:xfrm>
          <a:prstGeom prst="rect">
            <a:avLst/>
          </a:prstGeom>
          <a:solidFill>
            <a:schemeClr val="accent6"/>
          </a:solidFill>
          <a:ln w="6350">
            <a:noFill/>
            <a:miter lim="800000"/>
            <a:headEnd/>
            <a:tailEnd/>
          </a:ln>
          <a:effectLst/>
        </p:spPr>
        <p:txBody>
          <a:bodyPr lIns="144000" tIns="108000" rIns="108000" bIns="108000" anchor="ctr" anchorCtr="0"/>
          <a:lstStyle/>
          <a:p>
            <a:pPr marL="0" marR="0" lvl="0" indent="0" algn="l" defTabSz="914400" rtl="0" eaLnBrk="0" fontAlgn="auto" latinLnBrk="0" hangingPunct="0">
              <a:lnSpc>
                <a:spcPct val="100000"/>
              </a:lnSpc>
              <a:spcBef>
                <a:spcPts val="0"/>
              </a:spcBef>
              <a:spcAft>
                <a:spcPts val="0"/>
              </a:spcAft>
              <a:buClr>
                <a:srgbClr val="000000"/>
              </a:buClr>
              <a:buSzTx/>
              <a:buFontTx/>
              <a:buNone/>
              <a:tabLst/>
              <a:defRPr/>
            </a:pPr>
            <a:r>
              <a:rPr kumimoji="0" lang="en-GB" sz="1600" b="0" i="0" u="none" strike="noStrike" kern="0" cap="none" spc="0" normalizeH="0" baseline="0" noProof="0" dirty="0">
                <a:ln>
                  <a:noFill/>
                </a:ln>
                <a:solidFill>
                  <a:schemeClr val="accent3"/>
                </a:solidFill>
                <a:effectLst/>
                <a:uLnTx/>
                <a:uFillTx/>
                <a:latin typeface="Graphik"/>
                <a:ea typeface="+mn-ea"/>
                <a:cs typeface="+mn-cs"/>
              </a:rPr>
              <a:t>Text</a:t>
            </a:r>
            <a:endParaRPr kumimoji="0" lang="en-US" sz="1600" b="0" i="0" u="none" strike="noStrike" kern="0" cap="none" spc="0" normalizeH="0" baseline="0" noProof="0" dirty="0">
              <a:ln>
                <a:noFill/>
              </a:ln>
              <a:solidFill>
                <a:schemeClr val="accent3"/>
              </a:solidFill>
              <a:effectLst/>
              <a:uLnTx/>
              <a:uFillTx/>
              <a:latin typeface="Graphik"/>
              <a:ea typeface="+mn-ea"/>
              <a:cs typeface="+mn-cs"/>
            </a:endParaRPr>
          </a:p>
        </p:txBody>
      </p:sp>
      <p:cxnSp>
        <p:nvCxnSpPr>
          <p:cNvPr id="14" name="AutoShape 15">
            <a:extLst>
              <a:ext uri="{FF2B5EF4-FFF2-40B4-BE49-F238E27FC236}">
                <a16:creationId xmlns:a16="http://schemas.microsoft.com/office/drawing/2014/main" id="{CE459567-8516-4ACC-BC33-AF3F49AF12CC}"/>
              </a:ext>
            </a:extLst>
          </p:cNvPr>
          <p:cNvCxnSpPr>
            <a:cxnSpLocks noChangeShapeType="1"/>
            <a:stCxn id="10" idx="3"/>
            <a:endCxn id="5" idx="1"/>
          </p:cNvCxnSpPr>
          <p:nvPr/>
        </p:nvCxnSpPr>
        <p:spPr bwMode="auto">
          <a:xfrm>
            <a:off x="8170286" y="2615750"/>
            <a:ext cx="577323" cy="2912"/>
          </a:xfrm>
          <a:prstGeom prst="straightConnector1">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15" name="AutoShape 16">
            <a:extLst>
              <a:ext uri="{FF2B5EF4-FFF2-40B4-BE49-F238E27FC236}">
                <a16:creationId xmlns:a16="http://schemas.microsoft.com/office/drawing/2014/main" id="{EA61DF09-A200-42B7-8BE3-E4712D90D118}"/>
              </a:ext>
            </a:extLst>
          </p:cNvPr>
          <p:cNvCxnSpPr>
            <a:cxnSpLocks noChangeShapeType="1"/>
            <a:stCxn id="9" idx="3"/>
            <a:endCxn id="13" idx="1"/>
          </p:cNvCxnSpPr>
          <p:nvPr/>
        </p:nvCxnSpPr>
        <p:spPr bwMode="auto">
          <a:xfrm>
            <a:off x="8170286" y="3916665"/>
            <a:ext cx="577323" cy="0"/>
          </a:xfrm>
          <a:prstGeom prst="straightConnector1">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16" name="AutoShape 17">
            <a:extLst>
              <a:ext uri="{FF2B5EF4-FFF2-40B4-BE49-F238E27FC236}">
                <a16:creationId xmlns:a16="http://schemas.microsoft.com/office/drawing/2014/main" id="{218DC1DC-41EB-4B43-94CF-7D2D04A52DA7}"/>
              </a:ext>
            </a:extLst>
          </p:cNvPr>
          <p:cNvCxnSpPr>
            <a:cxnSpLocks noChangeShapeType="1"/>
            <a:stCxn id="23" idx="3"/>
            <a:endCxn id="10" idx="1"/>
          </p:cNvCxnSpPr>
          <p:nvPr/>
        </p:nvCxnSpPr>
        <p:spPr bwMode="auto">
          <a:xfrm flipV="1">
            <a:off x="4413824" y="2615750"/>
            <a:ext cx="577323" cy="1295056"/>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17" name="AutoShape 18">
            <a:extLst>
              <a:ext uri="{FF2B5EF4-FFF2-40B4-BE49-F238E27FC236}">
                <a16:creationId xmlns:a16="http://schemas.microsoft.com/office/drawing/2014/main" id="{2B636946-8C9C-4131-99F5-AFCB5699649E}"/>
              </a:ext>
            </a:extLst>
          </p:cNvPr>
          <p:cNvCxnSpPr>
            <a:cxnSpLocks noChangeShapeType="1"/>
            <a:stCxn id="23" idx="3"/>
            <a:endCxn id="11" idx="1"/>
          </p:cNvCxnSpPr>
          <p:nvPr/>
        </p:nvCxnSpPr>
        <p:spPr bwMode="auto">
          <a:xfrm>
            <a:off x="4413824" y="3910806"/>
            <a:ext cx="577323" cy="1295056"/>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18" name="AutoShape 19">
            <a:extLst>
              <a:ext uri="{FF2B5EF4-FFF2-40B4-BE49-F238E27FC236}">
                <a16:creationId xmlns:a16="http://schemas.microsoft.com/office/drawing/2014/main" id="{5DC6BE48-1FF2-4DC3-A1CB-EED5548A1491}"/>
              </a:ext>
            </a:extLst>
          </p:cNvPr>
          <p:cNvCxnSpPr>
            <a:cxnSpLocks noChangeShapeType="1"/>
            <a:stCxn id="10" idx="3"/>
            <a:endCxn id="4" idx="1"/>
          </p:cNvCxnSpPr>
          <p:nvPr/>
        </p:nvCxnSpPr>
        <p:spPr bwMode="auto">
          <a:xfrm flipV="1">
            <a:off x="8170286" y="2039537"/>
            <a:ext cx="577323" cy="576213"/>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19" name="AutoShape 20">
            <a:extLst>
              <a:ext uri="{FF2B5EF4-FFF2-40B4-BE49-F238E27FC236}">
                <a16:creationId xmlns:a16="http://schemas.microsoft.com/office/drawing/2014/main" id="{36F2690E-B6EA-4B39-80E1-4047A4AFD718}"/>
              </a:ext>
            </a:extLst>
          </p:cNvPr>
          <p:cNvCxnSpPr>
            <a:cxnSpLocks noChangeShapeType="1"/>
            <a:stCxn id="10" idx="3"/>
            <a:endCxn id="8" idx="1"/>
          </p:cNvCxnSpPr>
          <p:nvPr/>
        </p:nvCxnSpPr>
        <p:spPr bwMode="auto">
          <a:xfrm>
            <a:off x="8170286" y="2615750"/>
            <a:ext cx="577323" cy="582037"/>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20" name="AutoShape 21">
            <a:extLst>
              <a:ext uri="{FF2B5EF4-FFF2-40B4-BE49-F238E27FC236}">
                <a16:creationId xmlns:a16="http://schemas.microsoft.com/office/drawing/2014/main" id="{2B311159-9ED6-4218-A893-027E7BD57730}"/>
              </a:ext>
            </a:extLst>
          </p:cNvPr>
          <p:cNvCxnSpPr>
            <a:cxnSpLocks noChangeShapeType="1"/>
            <a:stCxn id="11" idx="3"/>
            <a:endCxn id="7" idx="1"/>
          </p:cNvCxnSpPr>
          <p:nvPr/>
        </p:nvCxnSpPr>
        <p:spPr bwMode="auto">
          <a:xfrm flipV="1">
            <a:off x="8170286" y="4827702"/>
            <a:ext cx="577323" cy="378160"/>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cxnSp>
        <p:nvCxnSpPr>
          <p:cNvPr id="22" name="AutoShape 22">
            <a:extLst>
              <a:ext uri="{FF2B5EF4-FFF2-40B4-BE49-F238E27FC236}">
                <a16:creationId xmlns:a16="http://schemas.microsoft.com/office/drawing/2014/main" id="{56234DAF-3926-42D1-8C56-D0F84F473154}"/>
              </a:ext>
            </a:extLst>
          </p:cNvPr>
          <p:cNvCxnSpPr>
            <a:cxnSpLocks noChangeShapeType="1"/>
            <a:stCxn id="11" idx="3"/>
            <a:endCxn id="6" idx="1"/>
          </p:cNvCxnSpPr>
          <p:nvPr/>
        </p:nvCxnSpPr>
        <p:spPr bwMode="auto">
          <a:xfrm>
            <a:off x="8170286" y="5205862"/>
            <a:ext cx="577323" cy="437896"/>
          </a:xfrm>
          <a:prstGeom prst="bentConnector3">
            <a:avLst>
              <a:gd name="adj1" fmla="val 50000"/>
            </a:avLst>
          </a:prstGeom>
          <a:noFill/>
          <a:ln w="12700" cap="rnd" cmpd="sng" algn="ctr">
            <a:solidFill>
              <a:srgbClr val="96968C">
                <a:lumMod val="40000"/>
                <a:lumOff val="60000"/>
              </a:srgbClr>
            </a:solidFill>
            <a:prstDash val="solid"/>
            <a:headEnd type="none" w="med" len="med"/>
            <a:tailEnd type="triangle" w="med" len="med"/>
          </a:ln>
          <a:effectLst/>
        </p:spPr>
      </p:cxnSp>
      <p:sp>
        <p:nvSpPr>
          <p:cNvPr id="23" name="Rectangle 5">
            <a:extLst>
              <a:ext uri="{FF2B5EF4-FFF2-40B4-BE49-F238E27FC236}">
                <a16:creationId xmlns:a16="http://schemas.microsoft.com/office/drawing/2014/main" id="{BBB0B001-1BF4-4D9B-8827-FF77A89126D4}"/>
              </a:ext>
            </a:extLst>
          </p:cNvPr>
          <p:cNvSpPr>
            <a:spLocks noChangeArrowheads="1"/>
          </p:cNvSpPr>
          <p:nvPr/>
        </p:nvSpPr>
        <p:spPr bwMode="auto">
          <a:xfrm>
            <a:off x="380999" y="1763712"/>
            <a:ext cx="4032825" cy="4294187"/>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100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E88B068F-E7D9-4E4A-86CC-8CE5C7F6C86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82835194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ment Text</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AB3341A-BC16-48B5-B98E-B6740CE9EE1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32" name="Rectangle 19">
            <a:extLst>
              <a:ext uri="{FF2B5EF4-FFF2-40B4-BE49-F238E27FC236}">
                <a16:creationId xmlns:a16="http://schemas.microsoft.com/office/drawing/2014/main" id="{81DB67F9-AF15-4C3C-A886-2F737A5F7188}"/>
              </a:ext>
            </a:extLst>
          </p:cNvPr>
          <p:cNvSpPr>
            <a:spLocks noChangeArrowheads="1"/>
          </p:cNvSpPr>
          <p:nvPr/>
        </p:nvSpPr>
        <p:spPr bwMode="auto">
          <a:xfrm>
            <a:off x="2888672" y="2312987"/>
            <a:ext cx="1211461" cy="558800"/>
          </a:xfrm>
          <a:prstGeom prst="rect">
            <a:avLst/>
          </a:prstGeom>
          <a:solidFill>
            <a:schemeClr val="accent2"/>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Revenue</a:t>
            </a:r>
          </a:p>
        </p:txBody>
      </p:sp>
      <p:sp>
        <p:nvSpPr>
          <p:cNvPr id="33" name="Rectangle 20">
            <a:extLst>
              <a:ext uri="{FF2B5EF4-FFF2-40B4-BE49-F238E27FC236}">
                <a16:creationId xmlns:a16="http://schemas.microsoft.com/office/drawing/2014/main" id="{33702B2D-44E3-41A8-9387-F7008FDB0BC2}"/>
              </a:ext>
            </a:extLst>
          </p:cNvPr>
          <p:cNvSpPr>
            <a:spLocks noChangeArrowheads="1"/>
          </p:cNvSpPr>
          <p:nvPr/>
        </p:nvSpPr>
        <p:spPr bwMode="auto">
          <a:xfrm>
            <a:off x="346286" y="4133850"/>
            <a:ext cx="1690331" cy="558800"/>
          </a:xfrm>
          <a:prstGeom prst="rect">
            <a:avLst/>
          </a:prstGeom>
          <a:solidFill>
            <a:schemeClr val="accent1"/>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Economic value</a:t>
            </a:r>
          </a:p>
        </p:txBody>
      </p:sp>
      <p:cxnSp>
        <p:nvCxnSpPr>
          <p:cNvPr id="34" name="AutoShape 21">
            <a:extLst>
              <a:ext uri="{FF2B5EF4-FFF2-40B4-BE49-F238E27FC236}">
                <a16:creationId xmlns:a16="http://schemas.microsoft.com/office/drawing/2014/main" id="{530D3205-6142-431E-90EB-1C337200524E}"/>
              </a:ext>
            </a:extLst>
          </p:cNvPr>
          <p:cNvCxnSpPr>
            <a:cxnSpLocks noChangeShapeType="1"/>
            <a:stCxn id="33" idx="3"/>
            <a:endCxn id="48" idx="1"/>
          </p:cNvCxnSpPr>
          <p:nvPr/>
        </p:nvCxnSpPr>
        <p:spPr bwMode="auto">
          <a:xfrm>
            <a:off x="2036617" y="4413250"/>
            <a:ext cx="852055" cy="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 name="AutoShape 22">
            <a:extLst>
              <a:ext uri="{FF2B5EF4-FFF2-40B4-BE49-F238E27FC236}">
                <a16:creationId xmlns:a16="http://schemas.microsoft.com/office/drawing/2014/main" id="{73ACF7E2-05DE-4C46-B52D-2C7EBAD08E0C}"/>
              </a:ext>
            </a:extLst>
          </p:cNvPr>
          <p:cNvCxnSpPr>
            <a:cxnSpLocks noChangeShapeType="1"/>
            <a:stCxn id="48" idx="1"/>
            <a:endCxn id="32" idx="1"/>
          </p:cNvCxnSpPr>
          <p:nvPr/>
        </p:nvCxnSpPr>
        <p:spPr bwMode="auto">
          <a:xfrm rot="10800000">
            <a:off x="2888672" y="2592388"/>
            <a:ext cx="12700" cy="1820863"/>
          </a:xfrm>
          <a:prstGeom prst="bentConnector3">
            <a:avLst>
              <a:gd name="adj1" fmla="val 286363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6" name="Rectangle 23">
            <a:extLst>
              <a:ext uri="{FF2B5EF4-FFF2-40B4-BE49-F238E27FC236}">
                <a16:creationId xmlns:a16="http://schemas.microsoft.com/office/drawing/2014/main" id="{1AB0AF94-EAB1-4B5C-B038-3D88A3D9FF11}"/>
              </a:ext>
            </a:extLst>
          </p:cNvPr>
          <p:cNvSpPr>
            <a:spLocks noChangeArrowheads="1"/>
          </p:cNvSpPr>
          <p:nvPr/>
        </p:nvSpPr>
        <p:spPr bwMode="auto">
          <a:xfrm>
            <a:off x="4817687" y="1857375"/>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Price</a:t>
            </a:r>
          </a:p>
        </p:txBody>
      </p:sp>
      <p:sp>
        <p:nvSpPr>
          <p:cNvPr id="37" name="Rectangle 24">
            <a:extLst>
              <a:ext uri="{FF2B5EF4-FFF2-40B4-BE49-F238E27FC236}">
                <a16:creationId xmlns:a16="http://schemas.microsoft.com/office/drawing/2014/main" id="{D75505A8-D3C5-4672-9374-6386C8525EEC}"/>
              </a:ext>
            </a:extLst>
          </p:cNvPr>
          <p:cNvSpPr>
            <a:spLocks noChangeArrowheads="1"/>
          </p:cNvSpPr>
          <p:nvPr/>
        </p:nvSpPr>
        <p:spPr bwMode="auto">
          <a:xfrm>
            <a:off x="4817687" y="2767012"/>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Volume</a:t>
            </a:r>
          </a:p>
        </p:txBody>
      </p:sp>
      <p:cxnSp>
        <p:nvCxnSpPr>
          <p:cNvPr id="38" name="AutoShape 25">
            <a:extLst>
              <a:ext uri="{FF2B5EF4-FFF2-40B4-BE49-F238E27FC236}">
                <a16:creationId xmlns:a16="http://schemas.microsoft.com/office/drawing/2014/main" id="{0EECBA2B-24FB-48C3-9E0A-E90BAED4E104}"/>
              </a:ext>
            </a:extLst>
          </p:cNvPr>
          <p:cNvCxnSpPr>
            <a:cxnSpLocks noChangeShapeType="1"/>
            <a:stCxn id="32" idx="3"/>
            <a:endCxn id="36" idx="1"/>
          </p:cNvCxnSpPr>
          <p:nvPr/>
        </p:nvCxnSpPr>
        <p:spPr bwMode="auto">
          <a:xfrm flipV="1">
            <a:off x="4100133" y="2136775"/>
            <a:ext cx="717554" cy="45561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9" name="AutoShape 26">
            <a:extLst>
              <a:ext uri="{FF2B5EF4-FFF2-40B4-BE49-F238E27FC236}">
                <a16:creationId xmlns:a16="http://schemas.microsoft.com/office/drawing/2014/main" id="{B4C4C649-00F2-4142-B71D-066863570E9B}"/>
              </a:ext>
            </a:extLst>
          </p:cNvPr>
          <p:cNvCxnSpPr>
            <a:cxnSpLocks noChangeShapeType="1"/>
            <a:stCxn id="32" idx="3"/>
            <a:endCxn id="37" idx="1"/>
          </p:cNvCxnSpPr>
          <p:nvPr/>
        </p:nvCxnSpPr>
        <p:spPr bwMode="auto">
          <a:xfrm>
            <a:off x="4100133" y="2592387"/>
            <a:ext cx="717554" cy="45402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0" name="AutoShape 27">
            <a:extLst>
              <a:ext uri="{FF2B5EF4-FFF2-40B4-BE49-F238E27FC236}">
                <a16:creationId xmlns:a16="http://schemas.microsoft.com/office/drawing/2014/main" id="{09D6A03A-9854-4FEE-ACC3-A559161A39F8}"/>
              </a:ext>
            </a:extLst>
          </p:cNvPr>
          <p:cNvCxnSpPr>
            <a:cxnSpLocks noChangeShapeType="1"/>
            <a:stCxn id="48" idx="1"/>
            <a:endCxn id="49" idx="1"/>
          </p:cNvCxnSpPr>
          <p:nvPr/>
        </p:nvCxnSpPr>
        <p:spPr bwMode="auto">
          <a:xfrm rot="10800000" flipH="1" flipV="1">
            <a:off x="2888671" y="4413250"/>
            <a:ext cx="1929015" cy="1365250"/>
          </a:xfrm>
          <a:prstGeom prst="bentConnector3">
            <a:avLst>
              <a:gd name="adj1" fmla="val -18315"/>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1" name="Rectangle 28">
            <a:extLst>
              <a:ext uri="{FF2B5EF4-FFF2-40B4-BE49-F238E27FC236}">
                <a16:creationId xmlns:a16="http://schemas.microsoft.com/office/drawing/2014/main" id="{16B77031-716A-4B2A-B281-7C9BF6CA0832}"/>
              </a:ext>
            </a:extLst>
          </p:cNvPr>
          <p:cNvSpPr>
            <a:spLocks noChangeArrowheads="1"/>
          </p:cNvSpPr>
          <p:nvPr/>
        </p:nvSpPr>
        <p:spPr bwMode="auto">
          <a:xfrm>
            <a:off x="4817687" y="3678237"/>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Staff</a:t>
            </a:r>
          </a:p>
        </p:txBody>
      </p:sp>
      <p:sp>
        <p:nvSpPr>
          <p:cNvPr id="42" name="Rectangle 29">
            <a:extLst>
              <a:ext uri="{FF2B5EF4-FFF2-40B4-BE49-F238E27FC236}">
                <a16:creationId xmlns:a16="http://schemas.microsoft.com/office/drawing/2014/main" id="{B612B9F0-7B2C-4178-B64A-9A07DB929A29}"/>
              </a:ext>
            </a:extLst>
          </p:cNvPr>
          <p:cNvSpPr>
            <a:spLocks noChangeArrowheads="1"/>
          </p:cNvSpPr>
          <p:nvPr/>
        </p:nvSpPr>
        <p:spPr bwMode="auto">
          <a:xfrm>
            <a:off x="4817687" y="4587875"/>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Other</a:t>
            </a:r>
          </a:p>
        </p:txBody>
      </p:sp>
      <p:cxnSp>
        <p:nvCxnSpPr>
          <p:cNvPr id="43" name="AutoShape 30">
            <a:extLst>
              <a:ext uri="{FF2B5EF4-FFF2-40B4-BE49-F238E27FC236}">
                <a16:creationId xmlns:a16="http://schemas.microsoft.com/office/drawing/2014/main" id="{A9F5B729-193C-4228-96EF-C4882A397301}"/>
              </a:ext>
            </a:extLst>
          </p:cNvPr>
          <p:cNvCxnSpPr>
            <a:cxnSpLocks noChangeShapeType="1"/>
            <a:stCxn id="48" idx="3"/>
            <a:endCxn id="41" idx="1"/>
          </p:cNvCxnSpPr>
          <p:nvPr/>
        </p:nvCxnSpPr>
        <p:spPr bwMode="auto">
          <a:xfrm flipV="1">
            <a:off x="4100133" y="3957637"/>
            <a:ext cx="717554" cy="45561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AutoShape 31">
            <a:extLst>
              <a:ext uri="{FF2B5EF4-FFF2-40B4-BE49-F238E27FC236}">
                <a16:creationId xmlns:a16="http://schemas.microsoft.com/office/drawing/2014/main" id="{F45DCEEA-CD0D-4925-A12D-8BD0E518DA40}"/>
              </a:ext>
            </a:extLst>
          </p:cNvPr>
          <p:cNvCxnSpPr>
            <a:cxnSpLocks noChangeShapeType="1"/>
            <a:stCxn id="48" idx="3"/>
            <a:endCxn id="42" idx="1"/>
          </p:cNvCxnSpPr>
          <p:nvPr/>
        </p:nvCxnSpPr>
        <p:spPr bwMode="auto">
          <a:xfrm>
            <a:off x="4100133" y="4413250"/>
            <a:ext cx="717554" cy="454025"/>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5" name="Rectangle 32">
            <a:extLst>
              <a:ext uri="{FF2B5EF4-FFF2-40B4-BE49-F238E27FC236}">
                <a16:creationId xmlns:a16="http://schemas.microsoft.com/office/drawing/2014/main" id="{24741B7C-99EA-4EAB-B809-2D80C2E095BB}"/>
              </a:ext>
            </a:extLst>
          </p:cNvPr>
          <p:cNvSpPr>
            <a:spLocks noChangeArrowheads="1"/>
          </p:cNvSpPr>
          <p:nvPr/>
        </p:nvSpPr>
        <p:spPr bwMode="auto">
          <a:xfrm>
            <a:off x="9240838" y="1379497"/>
            <a:ext cx="2616200" cy="215444"/>
          </a:xfrm>
          <a:prstGeom prst="rect">
            <a:avLst/>
          </a:prstGeom>
          <a:noFill/>
          <a:ln w="9525">
            <a:noFill/>
            <a:miter lim="800000"/>
            <a:headEnd/>
            <a:tailEnd/>
          </a:ln>
          <a:effectLst/>
        </p:spPr>
        <p:txBody>
          <a:bodyPr wrap="square" lIns="0" tIns="0" rIns="0" bIns="0" anchor="b">
            <a:spAutoFit/>
          </a:bodyPr>
          <a:lstStyle/>
          <a:p>
            <a:pPr defTabSz="957263">
              <a:buClr>
                <a:srgbClr val="006699"/>
              </a:buClr>
              <a:buSzPct val="100000"/>
            </a:pPr>
            <a:r>
              <a:rPr lang="en-GB" sz="1400" b="1" dirty="0">
                <a:solidFill>
                  <a:schemeClr val="accent3"/>
                </a:solidFill>
                <a:latin typeface="+mj-lt"/>
              </a:rPr>
              <a:t>Heading</a:t>
            </a:r>
          </a:p>
        </p:txBody>
      </p:sp>
      <p:sp>
        <p:nvSpPr>
          <p:cNvPr id="46" name="Rectangle 33">
            <a:extLst>
              <a:ext uri="{FF2B5EF4-FFF2-40B4-BE49-F238E27FC236}">
                <a16:creationId xmlns:a16="http://schemas.microsoft.com/office/drawing/2014/main" id="{3C20B429-68BC-474E-B17C-CEAE239F3C80}"/>
              </a:ext>
            </a:extLst>
          </p:cNvPr>
          <p:cNvSpPr>
            <a:spLocks noChangeArrowheads="1"/>
          </p:cNvSpPr>
          <p:nvPr/>
        </p:nvSpPr>
        <p:spPr bwMode="auto">
          <a:xfrm>
            <a:off x="6559938" y="1363622"/>
            <a:ext cx="2616200" cy="215444"/>
          </a:xfrm>
          <a:prstGeom prst="rect">
            <a:avLst/>
          </a:prstGeom>
          <a:noFill/>
          <a:ln w="9525">
            <a:noFill/>
            <a:miter lim="800000"/>
            <a:headEnd/>
            <a:tailEnd/>
          </a:ln>
          <a:effectLst/>
        </p:spPr>
        <p:txBody>
          <a:bodyPr wrap="square" lIns="0" tIns="0" rIns="0" bIns="0" anchor="b">
            <a:spAutoFit/>
          </a:bodyPr>
          <a:lstStyle/>
          <a:p>
            <a:pPr defTabSz="957263">
              <a:buClr>
                <a:srgbClr val="006699"/>
              </a:buClr>
              <a:buSzPct val="100000"/>
            </a:pPr>
            <a:r>
              <a:rPr lang="en-GB" sz="1400" b="1" dirty="0">
                <a:solidFill>
                  <a:schemeClr val="accent3"/>
                </a:solidFill>
                <a:latin typeface="+mj-lt"/>
              </a:rPr>
              <a:t>Heading</a:t>
            </a:r>
          </a:p>
        </p:txBody>
      </p:sp>
      <p:sp>
        <p:nvSpPr>
          <p:cNvPr id="47" name="Rectangle 34">
            <a:extLst>
              <a:ext uri="{FF2B5EF4-FFF2-40B4-BE49-F238E27FC236}">
                <a16:creationId xmlns:a16="http://schemas.microsoft.com/office/drawing/2014/main" id="{ABA2BF52-2A85-407C-A2EE-7192F1A8981B}"/>
              </a:ext>
            </a:extLst>
          </p:cNvPr>
          <p:cNvSpPr>
            <a:spLocks noChangeArrowheads="1"/>
          </p:cNvSpPr>
          <p:nvPr/>
        </p:nvSpPr>
        <p:spPr bwMode="auto">
          <a:xfrm>
            <a:off x="6559938" y="1857375"/>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48" name="Rectangle 35">
            <a:extLst>
              <a:ext uri="{FF2B5EF4-FFF2-40B4-BE49-F238E27FC236}">
                <a16:creationId xmlns:a16="http://schemas.microsoft.com/office/drawing/2014/main" id="{1CF5579C-8968-4865-95F4-9487FD6E6603}"/>
              </a:ext>
            </a:extLst>
          </p:cNvPr>
          <p:cNvSpPr>
            <a:spLocks noChangeArrowheads="1"/>
          </p:cNvSpPr>
          <p:nvPr/>
        </p:nvSpPr>
        <p:spPr bwMode="auto">
          <a:xfrm>
            <a:off x="2888672" y="4133850"/>
            <a:ext cx="1211461" cy="558800"/>
          </a:xfrm>
          <a:prstGeom prst="rect">
            <a:avLst/>
          </a:prstGeom>
          <a:solidFill>
            <a:schemeClr val="accent2"/>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Costs</a:t>
            </a:r>
          </a:p>
        </p:txBody>
      </p:sp>
      <p:sp>
        <p:nvSpPr>
          <p:cNvPr id="49" name="Rectangle 36">
            <a:extLst>
              <a:ext uri="{FF2B5EF4-FFF2-40B4-BE49-F238E27FC236}">
                <a16:creationId xmlns:a16="http://schemas.microsoft.com/office/drawing/2014/main" id="{3BB016DD-C339-4496-AADC-3DB4A41F75ED}"/>
              </a:ext>
            </a:extLst>
          </p:cNvPr>
          <p:cNvSpPr>
            <a:spLocks noChangeArrowheads="1"/>
          </p:cNvSpPr>
          <p:nvPr/>
        </p:nvSpPr>
        <p:spPr bwMode="auto">
          <a:xfrm>
            <a:off x="4817687" y="5499100"/>
            <a:ext cx="1677551" cy="558800"/>
          </a:xfrm>
          <a:prstGeom prst="rect">
            <a:avLst/>
          </a:prstGeom>
          <a:solidFill>
            <a:schemeClr val="accent3"/>
          </a:solidFill>
          <a:ln w="6350">
            <a:noFill/>
            <a:miter lim="800000"/>
            <a:headEnd/>
            <a:tailEnd/>
          </a:ln>
          <a:effectLst/>
        </p:spPr>
        <p:txBody>
          <a:bodyPr lIns="144000" tIns="72000" rIns="72000" bIns="72000" anchor="ctr"/>
          <a:lstStyle/>
          <a:p>
            <a:pPr algn="l" eaLnBrk="0" hangingPunct="0"/>
            <a:r>
              <a:rPr lang="en-GB" sz="1400" b="1" dirty="0">
                <a:solidFill>
                  <a:schemeClr val="bg1"/>
                </a:solidFill>
              </a:rPr>
              <a:t>Asset utilization</a:t>
            </a:r>
          </a:p>
        </p:txBody>
      </p:sp>
      <p:sp>
        <p:nvSpPr>
          <p:cNvPr id="50" name="Rectangle 37">
            <a:extLst>
              <a:ext uri="{FF2B5EF4-FFF2-40B4-BE49-F238E27FC236}">
                <a16:creationId xmlns:a16="http://schemas.microsoft.com/office/drawing/2014/main" id="{BB41AF7A-543F-4299-A40E-B9D5434506EB}"/>
              </a:ext>
            </a:extLst>
          </p:cNvPr>
          <p:cNvSpPr>
            <a:spLocks noChangeArrowheads="1"/>
          </p:cNvSpPr>
          <p:nvPr/>
        </p:nvSpPr>
        <p:spPr bwMode="auto">
          <a:xfrm>
            <a:off x="9240838" y="1857375"/>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1" name="Rectangle 38">
            <a:extLst>
              <a:ext uri="{FF2B5EF4-FFF2-40B4-BE49-F238E27FC236}">
                <a16:creationId xmlns:a16="http://schemas.microsoft.com/office/drawing/2014/main" id="{BFB433DF-358C-468F-9CBB-AEAFA25D0BF7}"/>
              </a:ext>
            </a:extLst>
          </p:cNvPr>
          <p:cNvSpPr>
            <a:spLocks noChangeArrowheads="1"/>
          </p:cNvSpPr>
          <p:nvPr/>
        </p:nvSpPr>
        <p:spPr bwMode="auto">
          <a:xfrm>
            <a:off x="6559938" y="2767012"/>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2" name="Rectangle 39">
            <a:extLst>
              <a:ext uri="{FF2B5EF4-FFF2-40B4-BE49-F238E27FC236}">
                <a16:creationId xmlns:a16="http://schemas.microsoft.com/office/drawing/2014/main" id="{B9AEDB6A-D4DE-4B41-8204-EDB9C1201931}"/>
              </a:ext>
            </a:extLst>
          </p:cNvPr>
          <p:cNvSpPr>
            <a:spLocks noChangeArrowheads="1"/>
          </p:cNvSpPr>
          <p:nvPr/>
        </p:nvSpPr>
        <p:spPr bwMode="auto">
          <a:xfrm>
            <a:off x="9240838" y="2767012"/>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3" name="Rectangle 40">
            <a:extLst>
              <a:ext uri="{FF2B5EF4-FFF2-40B4-BE49-F238E27FC236}">
                <a16:creationId xmlns:a16="http://schemas.microsoft.com/office/drawing/2014/main" id="{78C69A4B-A634-448A-B225-B557F1A6A09B}"/>
              </a:ext>
            </a:extLst>
          </p:cNvPr>
          <p:cNvSpPr>
            <a:spLocks noChangeArrowheads="1"/>
          </p:cNvSpPr>
          <p:nvPr/>
        </p:nvSpPr>
        <p:spPr bwMode="auto">
          <a:xfrm>
            <a:off x="6559938" y="3678237"/>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4" name="Rectangle 41">
            <a:extLst>
              <a:ext uri="{FF2B5EF4-FFF2-40B4-BE49-F238E27FC236}">
                <a16:creationId xmlns:a16="http://schemas.microsoft.com/office/drawing/2014/main" id="{A0731321-8EFE-4B82-803D-B19821A730C6}"/>
              </a:ext>
            </a:extLst>
          </p:cNvPr>
          <p:cNvSpPr>
            <a:spLocks noChangeArrowheads="1"/>
          </p:cNvSpPr>
          <p:nvPr/>
        </p:nvSpPr>
        <p:spPr bwMode="auto">
          <a:xfrm>
            <a:off x="9240838" y="3678237"/>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5" name="Rectangle 42">
            <a:extLst>
              <a:ext uri="{FF2B5EF4-FFF2-40B4-BE49-F238E27FC236}">
                <a16:creationId xmlns:a16="http://schemas.microsoft.com/office/drawing/2014/main" id="{1A3CD980-65C2-4788-BA67-BB8F64D6F7F0}"/>
              </a:ext>
            </a:extLst>
          </p:cNvPr>
          <p:cNvSpPr>
            <a:spLocks noChangeArrowheads="1"/>
          </p:cNvSpPr>
          <p:nvPr/>
        </p:nvSpPr>
        <p:spPr bwMode="auto">
          <a:xfrm>
            <a:off x="6559938" y="4587875"/>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6" name="Rectangle 43">
            <a:extLst>
              <a:ext uri="{FF2B5EF4-FFF2-40B4-BE49-F238E27FC236}">
                <a16:creationId xmlns:a16="http://schemas.microsoft.com/office/drawing/2014/main" id="{B94932D7-FCDC-4CEB-A6DE-A74A1197637F}"/>
              </a:ext>
            </a:extLst>
          </p:cNvPr>
          <p:cNvSpPr>
            <a:spLocks noChangeArrowheads="1"/>
          </p:cNvSpPr>
          <p:nvPr/>
        </p:nvSpPr>
        <p:spPr bwMode="auto">
          <a:xfrm>
            <a:off x="9240838" y="4587875"/>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7" name="Rectangle 44">
            <a:extLst>
              <a:ext uri="{FF2B5EF4-FFF2-40B4-BE49-F238E27FC236}">
                <a16:creationId xmlns:a16="http://schemas.microsoft.com/office/drawing/2014/main" id="{6EF4EB4F-A188-48C6-8542-E84E6C46E8F7}"/>
              </a:ext>
            </a:extLst>
          </p:cNvPr>
          <p:cNvSpPr>
            <a:spLocks noChangeArrowheads="1"/>
          </p:cNvSpPr>
          <p:nvPr/>
        </p:nvSpPr>
        <p:spPr bwMode="auto">
          <a:xfrm>
            <a:off x="6559938" y="5499100"/>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
        <p:nvSpPr>
          <p:cNvPr id="58" name="Rectangle 45">
            <a:extLst>
              <a:ext uri="{FF2B5EF4-FFF2-40B4-BE49-F238E27FC236}">
                <a16:creationId xmlns:a16="http://schemas.microsoft.com/office/drawing/2014/main" id="{DF351CDA-B9FF-408E-BADB-5BB52EF5948D}"/>
              </a:ext>
            </a:extLst>
          </p:cNvPr>
          <p:cNvSpPr>
            <a:spLocks noChangeArrowheads="1"/>
          </p:cNvSpPr>
          <p:nvPr/>
        </p:nvSpPr>
        <p:spPr bwMode="auto">
          <a:xfrm>
            <a:off x="9240838" y="5499100"/>
            <a:ext cx="2616200" cy="558800"/>
          </a:xfrm>
          <a:prstGeom prst="rect">
            <a:avLst/>
          </a:prstGeom>
          <a:solidFill>
            <a:schemeClr val="tx2">
              <a:lumMod val="20000"/>
              <a:lumOff val="80000"/>
            </a:schemeClr>
          </a:solidFill>
          <a:ln w="9525">
            <a:noFill/>
            <a:miter lim="800000"/>
            <a:headEnd/>
            <a:tailEnd/>
          </a:ln>
          <a:effectLst/>
        </p:spPr>
        <p:txBody>
          <a:bodyPr lIns="108000" tIns="72000" rIns="0" bIns="0"/>
          <a:lstStyle/>
          <a:p>
            <a:pPr marL="108000" indent="-108000" defTabSz="957263">
              <a:buClr>
                <a:schemeClr val="tx1"/>
              </a:buClr>
              <a:buSzPct val="100000"/>
              <a:buFontTx/>
              <a:buChar char="•"/>
            </a:pPr>
            <a:r>
              <a:rPr lang="en-GB" sz="1400" dirty="0"/>
              <a:t>Text</a:t>
            </a:r>
          </a:p>
        </p:txBody>
      </p:sp>
    </p:spTree>
    <p:extLst>
      <p:ext uri="{BB962C8B-B14F-4D97-AF65-F5344CB8AC3E}">
        <p14:creationId xmlns:p14="http://schemas.microsoft.com/office/powerpoint/2010/main" val="3129914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B0E48F9-812E-804B-8B61-60C5EBA4E175}"/>
              </a:ext>
            </a:extLst>
          </p:cNvPr>
          <p:cNvSpPr>
            <a:spLocks noGrp="1"/>
          </p:cNvSpPr>
          <p:nvPr>
            <p:ph type="pic" sz="quarter" idx="13"/>
          </p:nvPr>
        </p:nvSpPr>
        <p:spPr/>
      </p:sp>
      <p:sp>
        <p:nvSpPr>
          <p:cNvPr id="3" name="Title 2">
            <a:extLst>
              <a:ext uri="{FF2B5EF4-FFF2-40B4-BE49-F238E27FC236}">
                <a16:creationId xmlns:a16="http://schemas.microsoft.com/office/drawing/2014/main" id="{4011228C-A863-EA42-9A07-043C06B73AEE}"/>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D9AFB534-9023-1543-BC03-60FFDB1F26FA}"/>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13953486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B4CE5-0F43-4DF2-8DAA-E502B1B65463}"/>
              </a:ext>
            </a:extLst>
          </p:cNvPr>
          <p:cNvSpPr>
            <a:spLocks noGrp="1"/>
          </p:cNvSpPr>
          <p:nvPr>
            <p:ph type="title"/>
          </p:nvPr>
        </p:nvSpPr>
        <p:spPr/>
        <p:txBody>
          <a:bodyPr/>
          <a:lstStyle/>
          <a:p>
            <a:r>
              <a:rPr lang="en-US" dirty="0"/>
              <a:t>Boxes</a:t>
            </a:r>
          </a:p>
        </p:txBody>
      </p:sp>
      <p:sp>
        <p:nvSpPr>
          <p:cNvPr id="7" name="Text Placeholder 6">
            <a:extLst>
              <a:ext uri="{FF2B5EF4-FFF2-40B4-BE49-F238E27FC236}">
                <a16:creationId xmlns:a16="http://schemas.microsoft.com/office/drawing/2014/main" id="{47F54760-7F1A-44CC-A854-182EE7703F88}"/>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Static Objects</a:t>
            </a:r>
            <a:endParaRPr lang="en-US" dirty="0"/>
          </a:p>
        </p:txBody>
      </p:sp>
      <p:sp>
        <p:nvSpPr>
          <p:cNvPr id="4" name="Freeform: Shape 3">
            <a:hlinkClick r:id="rId4" action="ppaction://hlinksldjump"/>
            <a:extLst>
              <a:ext uri="{FF2B5EF4-FFF2-40B4-BE49-F238E27FC236}">
                <a16:creationId xmlns:a16="http://schemas.microsoft.com/office/drawing/2014/main" id="{23333C1A-FF1E-4494-988A-14C9CFDE69A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03A873D8-0235-424B-9072-7F273AE96E5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12490151"/>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1</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Rectangle 21">
            <a:extLst>
              <a:ext uri="{FF2B5EF4-FFF2-40B4-BE49-F238E27FC236}">
                <a16:creationId xmlns:a16="http://schemas.microsoft.com/office/drawing/2014/main" id="{1D8B637C-82F6-4535-9B7C-EA686248D26F}"/>
              </a:ext>
            </a:extLst>
          </p:cNvPr>
          <p:cNvSpPr>
            <a:spLocks noChangeArrowheads="1"/>
          </p:cNvSpPr>
          <p:nvPr/>
        </p:nvSpPr>
        <p:spPr bwMode="auto">
          <a:xfrm>
            <a:off x="1822450" y="1514894"/>
            <a:ext cx="4225979" cy="2221200"/>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3" name="Rectangle 22">
            <a:extLst>
              <a:ext uri="{FF2B5EF4-FFF2-40B4-BE49-F238E27FC236}">
                <a16:creationId xmlns:a16="http://schemas.microsoft.com/office/drawing/2014/main" id="{CDA0FF87-8D8C-44FA-BE56-91A780532A11}"/>
              </a:ext>
            </a:extLst>
          </p:cNvPr>
          <p:cNvSpPr>
            <a:spLocks noChangeArrowheads="1"/>
          </p:cNvSpPr>
          <p:nvPr/>
        </p:nvSpPr>
        <p:spPr bwMode="auto">
          <a:xfrm>
            <a:off x="1822450" y="3836550"/>
            <a:ext cx="4225980" cy="2221350"/>
          </a:xfrm>
          <a:prstGeom prst="rect">
            <a:avLst/>
          </a:prstGeom>
          <a:solidFill>
            <a:srgbClr val="96968C">
              <a:lumMod val="20000"/>
              <a:lumOff val="80000"/>
            </a:srgbClr>
          </a:solidFill>
          <a:ln w="6350">
            <a:noFill/>
            <a:miter lim="800000"/>
            <a:headEnd/>
            <a:tailEnd/>
          </a:ln>
        </p:spPr>
        <p:txBody>
          <a:bodyPr lIns="180000" tIns="144000" rIns="72000" bIns="180000" anchor="b" anchorCtr="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4" name="Rectangle 23">
            <a:extLst>
              <a:ext uri="{FF2B5EF4-FFF2-40B4-BE49-F238E27FC236}">
                <a16:creationId xmlns:a16="http://schemas.microsoft.com/office/drawing/2014/main" id="{6CA4B2C0-413B-48F3-BE8B-4A8FB7099C6A}"/>
              </a:ext>
            </a:extLst>
          </p:cNvPr>
          <p:cNvSpPr>
            <a:spLocks noChangeArrowheads="1"/>
          </p:cNvSpPr>
          <p:nvPr/>
        </p:nvSpPr>
        <p:spPr bwMode="auto">
          <a:xfrm>
            <a:off x="6146309" y="3836550"/>
            <a:ext cx="4226416" cy="2221350"/>
          </a:xfrm>
          <a:prstGeom prst="rect">
            <a:avLst/>
          </a:prstGeom>
          <a:solidFill>
            <a:srgbClr val="96968C">
              <a:lumMod val="20000"/>
              <a:lumOff val="80000"/>
            </a:srgbClr>
          </a:solidFill>
          <a:ln w="6350">
            <a:noFill/>
            <a:miter lim="800000"/>
            <a:headEnd/>
            <a:tailEnd/>
          </a:ln>
        </p:spPr>
        <p:txBody>
          <a:bodyPr lIns="180000" tIns="144000" rIns="72000" bIns="180000" anchor="b" anchorCtr="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5" name="Rectangle 24">
            <a:extLst>
              <a:ext uri="{FF2B5EF4-FFF2-40B4-BE49-F238E27FC236}">
                <a16:creationId xmlns:a16="http://schemas.microsoft.com/office/drawing/2014/main" id="{3880DB11-2C08-407F-B295-3BFCB17FFDAF}"/>
              </a:ext>
            </a:extLst>
          </p:cNvPr>
          <p:cNvSpPr>
            <a:spLocks noChangeArrowheads="1"/>
          </p:cNvSpPr>
          <p:nvPr/>
        </p:nvSpPr>
        <p:spPr bwMode="auto">
          <a:xfrm>
            <a:off x="6146309" y="1514894"/>
            <a:ext cx="4226416" cy="2221200"/>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6" name="Oval 25">
            <a:extLst>
              <a:ext uri="{FF2B5EF4-FFF2-40B4-BE49-F238E27FC236}">
                <a16:creationId xmlns:a16="http://schemas.microsoft.com/office/drawing/2014/main" id="{2E44C0CB-048B-4274-BB8F-53953796FDE1}"/>
              </a:ext>
            </a:extLst>
          </p:cNvPr>
          <p:cNvSpPr>
            <a:spLocks noChangeArrowheads="1"/>
          </p:cNvSpPr>
          <p:nvPr/>
        </p:nvSpPr>
        <p:spPr bwMode="auto">
          <a:xfrm>
            <a:off x="5007796" y="2721349"/>
            <a:ext cx="2129947" cy="2129946"/>
          </a:xfrm>
          <a:prstGeom prst="ellipse">
            <a:avLst/>
          </a:prstGeom>
          <a:solidFill>
            <a:schemeClr val="accent2"/>
          </a:solidFill>
          <a:ln w="101600">
            <a:solidFill>
              <a:srgbClr val="FFFFFF"/>
            </a:solidFill>
            <a:round/>
            <a:headEnd/>
            <a:tailEnd/>
          </a:ln>
          <a:effectLst/>
        </p:spPr>
        <p:txBody>
          <a:bodyPr lIns="72000" tIns="72000" rIns="72000" bIns="72000" anchor="ctr"/>
          <a:lstStyle/>
          <a:p>
            <a:pPr marL="0" marR="0" lvl="0" indent="-18000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chemeClr val="bg1"/>
                </a:solidFill>
                <a:effectLst/>
                <a:uLnTx/>
                <a:uFillTx/>
                <a:latin typeface="Graphik Black"/>
                <a:ea typeface="+mn-ea"/>
                <a:cs typeface="+mn-cs"/>
              </a:rPr>
              <a:t>Text</a:t>
            </a:r>
          </a:p>
        </p:txBody>
      </p:sp>
      <p:sp>
        <p:nvSpPr>
          <p:cNvPr id="3" name="Rectangle 2">
            <a:hlinkClick r:id="rId3" action="ppaction://hlinksldjump"/>
            <a:extLst>
              <a:ext uri="{FF2B5EF4-FFF2-40B4-BE49-F238E27FC236}">
                <a16:creationId xmlns:a16="http://schemas.microsoft.com/office/drawing/2014/main" id="{38E2145A-EEBB-4418-9CDB-7A73E447FC0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66385591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2</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10">
            <a:extLst>
              <a:ext uri="{FF2B5EF4-FFF2-40B4-BE49-F238E27FC236}">
                <a16:creationId xmlns:a16="http://schemas.microsoft.com/office/drawing/2014/main" id="{731F5AC2-5008-4D90-AC9E-964DABCC1A07}"/>
              </a:ext>
            </a:extLst>
          </p:cNvPr>
          <p:cNvSpPr>
            <a:spLocks noChangeArrowheads="1"/>
          </p:cNvSpPr>
          <p:nvPr/>
        </p:nvSpPr>
        <p:spPr bwMode="auto">
          <a:xfrm>
            <a:off x="3374083" y="1628775"/>
            <a:ext cx="5442304" cy="1137868"/>
          </a:xfrm>
          <a:prstGeom prst="rect">
            <a:avLst/>
          </a:prstGeom>
          <a:solidFill>
            <a:schemeClr val="accent2"/>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5" name="Rectangle 11">
            <a:extLst>
              <a:ext uri="{FF2B5EF4-FFF2-40B4-BE49-F238E27FC236}">
                <a16:creationId xmlns:a16="http://schemas.microsoft.com/office/drawing/2014/main" id="{AEAA9FB9-3B47-4D10-B3D1-7A18B1121936}"/>
              </a:ext>
            </a:extLst>
          </p:cNvPr>
          <p:cNvSpPr>
            <a:spLocks noChangeArrowheads="1"/>
          </p:cNvSpPr>
          <p:nvPr/>
        </p:nvSpPr>
        <p:spPr bwMode="auto">
          <a:xfrm>
            <a:off x="3374083" y="4904364"/>
            <a:ext cx="5442304" cy="1137868"/>
          </a:xfrm>
          <a:prstGeom prst="rect">
            <a:avLst/>
          </a:prstGeom>
          <a:solidFill>
            <a:schemeClr val="accent2"/>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6" name="Rectangle 12">
            <a:extLst>
              <a:ext uri="{FF2B5EF4-FFF2-40B4-BE49-F238E27FC236}">
                <a16:creationId xmlns:a16="http://schemas.microsoft.com/office/drawing/2014/main" id="{11CF98CC-1F85-4655-B5CF-073846DF3EAD}"/>
              </a:ext>
            </a:extLst>
          </p:cNvPr>
          <p:cNvSpPr>
            <a:spLocks noChangeArrowheads="1"/>
          </p:cNvSpPr>
          <p:nvPr/>
        </p:nvSpPr>
        <p:spPr bwMode="auto">
          <a:xfrm>
            <a:off x="3374082" y="2848092"/>
            <a:ext cx="5442306" cy="1973290"/>
          </a:xfrm>
          <a:prstGeom prst="rect">
            <a:avLst/>
          </a:prstGeom>
          <a:pattFill prst="dkUpDiag">
            <a:fgClr>
              <a:srgbClr val="96968C">
                <a:lumMod val="40000"/>
                <a:lumOff val="60000"/>
              </a:srgbClr>
            </a:fgClr>
            <a:bgClr>
              <a:srgbClr val="FFFFFF"/>
            </a:bgClr>
          </a:pattFill>
          <a:ln w="6350">
            <a:no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Graphik Black"/>
                <a:ea typeface="+mn-ea"/>
                <a:cs typeface="+mn-cs"/>
              </a:rPr>
              <a:t>Text</a:t>
            </a:r>
          </a:p>
          <a:p>
            <a:pPr marL="0" marR="0" lvl="0" indent="0" algn="ctr" defTabSz="914400" rtl="0" eaLnBrk="0" fontAlgn="auto" latinLnBrk="0" hangingPunct="0">
              <a:lnSpc>
                <a:spcPct val="85000"/>
              </a:lnSpc>
              <a:spcBef>
                <a:spcPts val="100"/>
              </a:spcBef>
              <a:spcAft>
                <a:spcPts val="1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Insert text</a:t>
            </a:r>
          </a:p>
        </p:txBody>
      </p:sp>
      <p:sp>
        <p:nvSpPr>
          <p:cNvPr id="7" name="Rectangle 13">
            <a:extLst>
              <a:ext uri="{FF2B5EF4-FFF2-40B4-BE49-F238E27FC236}">
                <a16:creationId xmlns:a16="http://schemas.microsoft.com/office/drawing/2014/main" id="{9B7C1776-EED4-43B1-B5ED-D8B00D8C4B0D}"/>
              </a:ext>
            </a:extLst>
          </p:cNvPr>
          <p:cNvSpPr>
            <a:spLocks noChangeArrowheads="1"/>
          </p:cNvSpPr>
          <p:nvPr/>
        </p:nvSpPr>
        <p:spPr bwMode="auto">
          <a:xfrm>
            <a:off x="1679055" y="2848092"/>
            <a:ext cx="1600990" cy="1973290"/>
          </a:xfrm>
          <a:prstGeom prst="rect">
            <a:avLst/>
          </a:prstGeom>
          <a:solidFill>
            <a:schemeClr val="accent2"/>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8" name="Rectangle 14">
            <a:extLst>
              <a:ext uri="{FF2B5EF4-FFF2-40B4-BE49-F238E27FC236}">
                <a16:creationId xmlns:a16="http://schemas.microsoft.com/office/drawing/2014/main" id="{786402DD-A79E-48AE-972F-D2E4C962C7AD}"/>
              </a:ext>
            </a:extLst>
          </p:cNvPr>
          <p:cNvSpPr>
            <a:spLocks noChangeArrowheads="1"/>
          </p:cNvSpPr>
          <p:nvPr/>
        </p:nvSpPr>
        <p:spPr bwMode="auto">
          <a:xfrm>
            <a:off x="8910425" y="2848092"/>
            <a:ext cx="1600990" cy="1973290"/>
          </a:xfrm>
          <a:prstGeom prst="rect">
            <a:avLst/>
          </a:prstGeom>
          <a:solidFill>
            <a:schemeClr val="accent2"/>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47E36AFE-E0A5-4CAE-A7BF-02507003489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26689656"/>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3</a:t>
            </a:r>
          </a:p>
        </p:txBody>
      </p:sp>
      <p:sp>
        <p:nvSpPr>
          <p:cNvPr id="21" name="Freeform: Shape 20">
            <a:hlinkClick r:id="rId12"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52">
            <a:extLst>
              <a:ext uri="{FF2B5EF4-FFF2-40B4-BE49-F238E27FC236}">
                <a16:creationId xmlns:a16="http://schemas.microsoft.com/office/drawing/2014/main" id="{FF3419C7-A13A-406C-B415-4A78DCAFEEF6}"/>
              </a:ext>
            </a:extLst>
          </p:cNvPr>
          <p:cNvGrpSpPr>
            <a:grpSpLocks/>
          </p:cNvGrpSpPr>
          <p:nvPr>
            <p:custDataLst>
              <p:tags r:id="rId1"/>
            </p:custDataLst>
          </p:nvPr>
        </p:nvGrpSpPr>
        <p:grpSpPr bwMode="auto">
          <a:xfrm>
            <a:off x="1998074" y="1628776"/>
            <a:ext cx="8197683" cy="4402147"/>
            <a:chOff x="198" y="1207"/>
            <a:chExt cx="5365" cy="2881"/>
          </a:xfrm>
        </p:grpSpPr>
        <p:sp>
          <p:nvSpPr>
            <p:cNvPr id="5" name="Rectangle 53">
              <a:extLst>
                <a:ext uri="{FF2B5EF4-FFF2-40B4-BE49-F238E27FC236}">
                  <a16:creationId xmlns:a16="http://schemas.microsoft.com/office/drawing/2014/main" id="{95CF93EE-E5A6-4E0B-8EFC-F800545DFC5F}"/>
                </a:ext>
              </a:extLst>
            </p:cNvPr>
            <p:cNvSpPr>
              <a:spLocks noChangeArrowheads="1"/>
            </p:cNvSpPr>
            <p:nvPr>
              <p:custDataLst>
                <p:tags r:id="rId7"/>
              </p:custDataLst>
            </p:nvPr>
          </p:nvSpPr>
          <p:spPr bwMode="auto">
            <a:xfrm>
              <a:off x="204" y="1207"/>
              <a:ext cx="5359" cy="2881"/>
            </a:xfrm>
            <a:prstGeom prst="rect">
              <a:avLst/>
            </a:prstGeom>
            <a:solidFill>
              <a:srgbClr val="96968C">
                <a:lumMod val="20000"/>
                <a:lumOff val="80000"/>
              </a:srgbClr>
            </a:solidFill>
            <a:ln w="6350" algn="ctr">
              <a:solidFill>
                <a:srgbClr val="E4E7E7"/>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Line 54">
              <a:extLst>
                <a:ext uri="{FF2B5EF4-FFF2-40B4-BE49-F238E27FC236}">
                  <a16:creationId xmlns:a16="http://schemas.microsoft.com/office/drawing/2014/main" id="{E298B414-3D71-48C5-BC06-F606F45013B9}"/>
                </a:ext>
              </a:extLst>
            </p:cNvPr>
            <p:cNvSpPr>
              <a:spLocks noChangeShapeType="1"/>
            </p:cNvSpPr>
            <p:nvPr>
              <p:custDataLst>
                <p:tags r:id="rId8"/>
              </p:custDataLst>
            </p:nvPr>
          </p:nvSpPr>
          <p:spPr bwMode="auto">
            <a:xfrm>
              <a:off x="198" y="1207"/>
              <a:ext cx="5358" cy="2881"/>
            </a:xfrm>
            <a:prstGeom prst="line">
              <a:avLst/>
            </a:prstGeom>
            <a:noFill/>
            <a:ln w="63500">
              <a:solidFill>
                <a:srgbClr val="FFFFFF"/>
              </a:solid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Line 55">
              <a:extLst>
                <a:ext uri="{FF2B5EF4-FFF2-40B4-BE49-F238E27FC236}">
                  <a16:creationId xmlns:a16="http://schemas.microsoft.com/office/drawing/2014/main" id="{7FD09095-A7AF-4348-BB84-34BC9EB87D63}"/>
                </a:ext>
              </a:extLst>
            </p:cNvPr>
            <p:cNvSpPr>
              <a:spLocks noChangeShapeType="1"/>
            </p:cNvSpPr>
            <p:nvPr>
              <p:custDataLst>
                <p:tags r:id="rId9"/>
              </p:custDataLst>
            </p:nvPr>
          </p:nvSpPr>
          <p:spPr bwMode="auto">
            <a:xfrm flipH="1">
              <a:off x="204" y="1207"/>
              <a:ext cx="5359" cy="2881"/>
            </a:xfrm>
            <a:prstGeom prst="line">
              <a:avLst/>
            </a:prstGeom>
            <a:noFill/>
            <a:ln w="63500">
              <a:solidFill>
                <a:srgbClr val="FFFFFF"/>
              </a:solid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sp>
        <p:nvSpPr>
          <p:cNvPr id="8" name="Rectangle 40">
            <a:extLst>
              <a:ext uri="{FF2B5EF4-FFF2-40B4-BE49-F238E27FC236}">
                <a16:creationId xmlns:a16="http://schemas.microsoft.com/office/drawing/2014/main" id="{494F74E1-F7DC-4C42-80B7-EF736396E187}"/>
              </a:ext>
            </a:extLst>
          </p:cNvPr>
          <p:cNvSpPr>
            <a:spLocks noChangeArrowheads="1"/>
          </p:cNvSpPr>
          <p:nvPr>
            <p:custDataLst>
              <p:tags r:id="rId2"/>
            </p:custDataLst>
          </p:nvPr>
        </p:nvSpPr>
        <p:spPr bwMode="auto">
          <a:xfrm>
            <a:off x="4381743" y="2929096"/>
            <a:ext cx="3430345" cy="1801504"/>
          </a:xfrm>
          <a:prstGeom prst="rect">
            <a:avLst/>
          </a:prstGeom>
          <a:solidFill>
            <a:schemeClr val="accent2"/>
          </a:solidFill>
          <a:ln w="635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p>
          <a:p>
            <a:pPr marL="0" marR="0" lvl="0" indent="0" algn="ctr" defTabSz="914400" rtl="0" eaLnBrk="0" fontAlgn="auto" latinLnBrk="0" hangingPunct="0">
              <a:lnSpc>
                <a:spcPct val="85000"/>
              </a:lnSpc>
              <a:spcBef>
                <a:spcPts val="100"/>
              </a:spcBef>
              <a:spcAft>
                <a:spcPts val="1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Graphik"/>
                <a:ea typeface="+mn-ea"/>
                <a:cs typeface="+mn-cs"/>
              </a:rPr>
              <a:t>Insert text</a:t>
            </a:r>
          </a:p>
        </p:txBody>
      </p:sp>
      <p:sp>
        <p:nvSpPr>
          <p:cNvPr id="9" name="Rectangle 41">
            <a:extLst>
              <a:ext uri="{FF2B5EF4-FFF2-40B4-BE49-F238E27FC236}">
                <a16:creationId xmlns:a16="http://schemas.microsoft.com/office/drawing/2014/main" id="{79CDB695-9882-4659-9B84-9C3F43E384AA}"/>
              </a:ext>
            </a:extLst>
          </p:cNvPr>
          <p:cNvSpPr>
            <a:spLocks noChangeArrowheads="1"/>
          </p:cNvSpPr>
          <p:nvPr>
            <p:custDataLst>
              <p:tags r:id="rId3"/>
            </p:custDataLst>
          </p:nvPr>
        </p:nvSpPr>
        <p:spPr bwMode="auto">
          <a:xfrm>
            <a:off x="8068640" y="3642670"/>
            <a:ext cx="2087538"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raphik Black"/>
                <a:ea typeface="+mn-ea"/>
                <a:cs typeface="+mn-cs"/>
              </a:rPr>
              <a:t>Text</a:t>
            </a:r>
          </a:p>
        </p:txBody>
      </p:sp>
      <p:sp>
        <p:nvSpPr>
          <p:cNvPr id="10" name="Rectangle 42">
            <a:extLst>
              <a:ext uri="{FF2B5EF4-FFF2-40B4-BE49-F238E27FC236}">
                <a16:creationId xmlns:a16="http://schemas.microsoft.com/office/drawing/2014/main" id="{1A1DB2A9-247B-4C23-BB87-FEABEE8365E9}"/>
              </a:ext>
            </a:extLst>
          </p:cNvPr>
          <p:cNvSpPr>
            <a:spLocks noChangeArrowheads="1"/>
          </p:cNvSpPr>
          <p:nvPr>
            <p:custDataLst>
              <p:tags r:id="rId4"/>
            </p:custDataLst>
          </p:nvPr>
        </p:nvSpPr>
        <p:spPr bwMode="auto">
          <a:xfrm>
            <a:off x="2263795" y="3642670"/>
            <a:ext cx="1861396"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raphik Black"/>
                <a:ea typeface="+mn-ea"/>
                <a:cs typeface="+mn-cs"/>
              </a:rPr>
              <a:t>Text</a:t>
            </a:r>
          </a:p>
        </p:txBody>
      </p:sp>
      <p:sp>
        <p:nvSpPr>
          <p:cNvPr id="11" name="Rectangle 43">
            <a:extLst>
              <a:ext uri="{FF2B5EF4-FFF2-40B4-BE49-F238E27FC236}">
                <a16:creationId xmlns:a16="http://schemas.microsoft.com/office/drawing/2014/main" id="{6EC1A0CB-DAAD-44C8-B11F-3699C2B6090B}"/>
              </a:ext>
            </a:extLst>
          </p:cNvPr>
          <p:cNvSpPr>
            <a:spLocks noChangeArrowheads="1"/>
          </p:cNvSpPr>
          <p:nvPr>
            <p:custDataLst>
              <p:tags r:id="rId5"/>
            </p:custDataLst>
          </p:nvPr>
        </p:nvSpPr>
        <p:spPr bwMode="auto">
          <a:xfrm>
            <a:off x="4189467" y="5283734"/>
            <a:ext cx="3801142"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raphik Black"/>
                <a:ea typeface="+mn-ea"/>
                <a:cs typeface="+mn-cs"/>
              </a:rPr>
              <a:t>Text</a:t>
            </a:r>
          </a:p>
        </p:txBody>
      </p:sp>
      <p:sp>
        <p:nvSpPr>
          <p:cNvPr id="12" name="Rectangle 44">
            <a:extLst>
              <a:ext uri="{FF2B5EF4-FFF2-40B4-BE49-F238E27FC236}">
                <a16:creationId xmlns:a16="http://schemas.microsoft.com/office/drawing/2014/main" id="{0691D843-3578-4135-A749-F5E89DC79190}"/>
              </a:ext>
            </a:extLst>
          </p:cNvPr>
          <p:cNvSpPr>
            <a:spLocks noChangeArrowheads="1"/>
          </p:cNvSpPr>
          <p:nvPr>
            <p:custDataLst>
              <p:tags r:id="rId6"/>
            </p:custDataLst>
          </p:nvPr>
        </p:nvSpPr>
        <p:spPr bwMode="auto">
          <a:xfrm>
            <a:off x="3753049" y="1942014"/>
            <a:ext cx="4673978" cy="368247"/>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raphik Black"/>
                <a:ea typeface="+mn-ea"/>
                <a:cs typeface="+mn-cs"/>
              </a:rPr>
              <a:t>Text</a:t>
            </a:r>
          </a:p>
        </p:txBody>
      </p:sp>
      <p:sp>
        <p:nvSpPr>
          <p:cNvPr id="3" name="Rectangle 2">
            <a:hlinkClick r:id="rId12" action="ppaction://hlinksldjump"/>
            <a:extLst>
              <a:ext uri="{FF2B5EF4-FFF2-40B4-BE49-F238E27FC236}">
                <a16:creationId xmlns:a16="http://schemas.microsoft.com/office/drawing/2014/main" id="{72F96620-8170-44E7-96AD-3CB63518AA4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4337552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4</a:t>
            </a:r>
          </a:p>
        </p:txBody>
      </p:sp>
      <p:sp>
        <p:nvSpPr>
          <p:cNvPr id="21" name="Freeform: Shape 20">
            <a:hlinkClick r:id="rId11"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52">
            <a:extLst>
              <a:ext uri="{FF2B5EF4-FFF2-40B4-BE49-F238E27FC236}">
                <a16:creationId xmlns:a16="http://schemas.microsoft.com/office/drawing/2014/main" id="{E6D67DCD-F430-4D9F-9A4E-2346EFCCB65A}"/>
              </a:ext>
            </a:extLst>
          </p:cNvPr>
          <p:cNvGrpSpPr>
            <a:grpSpLocks/>
          </p:cNvGrpSpPr>
          <p:nvPr>
            <p:custDataLst>
              <p:tags r:id="rId1"/>
            </p:custDataLst>
          </p:nvPr>
        </p:nvGrpSpPr>
        <p:grpSpPr bwMode="auto">
          <a:xfrm>
            <a:off x="1998074" y="1628776"/>
            <a:ext cx="8197683" cy="4402147"/>
            <a:chOff x="198" y="1207"/>
            <a:chExt cx="5365" cy="2881"/>
          </a:xfrm>
        </p:grpSpPr>
        <p:sp>
          <p:nvSpPr>
            <p:cNvPr id="5" name="Rectangle 53">
              <a:extLst>
                <a:ext uri="{FF2B5EF4-FFF2-40B4-BE49-F238E27FC236}">
                  <a16:creationId xmlns:a16="http://schemas.microsoft.com/office/drawing/2014/main" id="{02B18709-4BF0-4D22-A6E6-C25DB75C3145}"/>
                </a:ext>
              </a:extLst>
            </p:cNvPr>
            <p:cNvSpPr>
              <a:spLocks noChangeArrowheads="1"/>
            </p:cNvSpPr>
            <p:nvPr>
              <p:custDataLst>
                <p:tags r:id="rId6"/>
              </p:custDataLst>
            </p:nvPr>
          </p:nvSpPr>
          <p:spPr bwMode="auto">
            <a:xfrm>
              <a:off x="204" y="1207"/>
              <a:ext cx="5359" cy="2881"/>
            </a:xfrm>
            <a:prstGeom prst="rect">
              <a:avLst/>
            </a:prstGeom>
            <a:pattFill prst="dkUpDiag">
              <a:fgClr>
                <a:srgbClr val="96968C">
                  <a:lumMod val="40000"/>
                  <a:lumOff val="60000"/>
                </a:srgbClr>
              </a:fgClr>
              <a:bgClr>
                <a:srgbClr val="FFFFFF"/>
              </a:bgClr>
            </a:pattFill>
            <a:ln w="6350" algn="ctr">
              <a:solidFill>
                <a:srgbClr val="E4E7E7"/>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 name="Line 54">
              <a:extLst>
                <a:ext uri="{FF2B5EF4-FFF2-40B4-BE49-F238E27FC236}">
                  <a16:creationId xmlns:a16="http://schemas.microsoft.com/office/drawing/2014/main" id="{C8A8803E-F053-4C68-AC4E-6FF7356C90A9}"/>
                </a:ext>
              </a:extLst>
            </p:cNvPr>
            <p:cNvSpPr>
              <a:spLocks noChangeShapeType="1"/>
            </p:cNvSpPr>
            <p:nvPr>
              <p:custDataLst>
                <p:tags r:id="rId7"/>
              </p:custDataLst>
            </p:nvPr>
          </p:nvSpPr>
          <p:spPr bwMode="auto">
            <a:xfrm>
              <a:off x="198" y="1207"/>
              <a:ext cx="5358" cy="2881"/>
            </a:xfrm>
            <a:prstGeom prst="line">
              <a:avLst/>
            </a:prstGeom>
            <a:noFill/>
            <a:ln w="63500">
              <a:solidFill>
                <a:srgbClr val="FFFFFF"/>
              </a:solid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Line 55">
              <a:extLst>
                <a:ext uri="{FF2B5EF4-FFF2-40B4-BE49-F238E27FC236}">
                  <a16:creationId xmlns:a16="http://schemas.microsoft.com/office/drawing/2014/main" id="{F1F60A98-A8B9-4075-8F1A-54B05DFE2198}"/>
                </a:ext>
              </a:extLst>
            </p:cNvPr>
            <p:cNvSpPr>
              <a:spLocks noChangeShapeType="1"/>
            </p:cNvSpPr>
            <p:nvPr>
              <p:custDataLst>
                <p:tags r:id="rId8"/>
              </p:custDataLst>
            </p:nvPr>
          </p:nvSpPr>
          <p:spPr bwMode="auto">
            <a:xfrm flipH="1">
              <a:off x="204" y="1207"/>
              <a:ext cx="5359" cy="2881"/>
            </a:xfrm>
            <a:prstGeom prst="line">
              <a:avLst/>
            </a:prstGeom>
            <a:noFill/>
            <a:ln w="63500">
              <a:solidFill>
                <a:srgbClr val="FFFFFF"/>
              </a:solid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8" name="Rectangle 41">
            <a:extLst>
              <a:ext uri="{FF2B5EF4-FFF2-40B4-BE49-F238E27FC236}">
                <a16:creationId xmlns:a16="http://schemas.microsoft.com/office/drawing/2014/main" id="{595EDDA5-E441-4E86-970C-D617DEEAF781}"/>
              </a:ext>
            </a:extLst>
          </p:cNvPr>
          <p:cNvSpPr>
            <a:spLocks noChangeArrowheads="1"/>
          </p:cNvSpPr>
          <p:nvPr>
            <p:custDataLst>
              <p:tags r:id="rId2"/>
            </p:custDataLst>
          </p:nvPr>
        </p:nvSpPr>
        <p:spPr bwMode="auto">
          <a:xfrm>
            <a:off x="8068640" y="3642670"/>
            <a:ext cx="2087538"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spc="0" normalizeH="0" baseline="0" noProof="0" dirty="0">
                <a:ln>
                  <a:noFill/>
                </a:ln>
                <a:solidFill>
                  <a:srgbClr val="000000"/>
                </a:solidFill>
                <a:effectLst/>
                <a:uLnTx/>
                <a:uFillTx/>
                <a:latin typeface="Graphik Black"/>
                <a:ea typeface="+mn-ea"/>
                <a:cs typeface="+mn-cs"/>
              </a:rPr>
              <a:t>Text</a:t>
            </a:r>
          </a:p>
        </p:txBody>
      </p:sp>
      <p:sp>
        <p:nvSpPr>
          <p:cNvPr id="9" name="Rectangle 42">
            <a:extLst>
              <a:ext uri="{FF2B5EF4-FFF2-40B4-BE49-F238E27FC236}">
                <a16:creationId xmlns:a16="http://schemas.microsoft.com/office/drawing/2014/main" id="{2083123E-68DC-479B-B5DB-B11017F4CB2B}"/>
              </a:ext>
            </a:extLst>
          </p:cNvPr>
          <p:cNvSpPr>
            <a:spLocks noChangeArrowheads="1"/>
          </p:cNvSpPr>
          <p:nvPr>
            <p:custDataLst>
              <p:tags r:id="rId3"/>
            </p:custDataLst>
          </p:nvPr>
        </p:nvSpPr>
        <p:spPr bwMode="auto">
          <a:xfrm>
            <a:off x="2263795" y="3642670"/>
            <a:ext cx="1861396"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spc="0" normalizeH="0" baseline="0" noProof="0" dirty="0">
                <a:ln>
                  <a:noFill/>
                </a:ln>
                <a:solidFill>
                  <a:srgbClr val="000000"/>
                </a:solidFill>
                <a:effectLst/>
                <a:uLnTx/>
                <a:uFillTx/>
                <a:latin typeface="Graphik Black"/>
                <a:ea typeface="+mn-ea"/>
                <a:cs typeface="+mn-cs"/>
              </a:rPr>
              <a:t>Text</a:t>
            </a:r>
          </a:p>
        </p:txBody>
      </p:sp>
      <p:sp>
        <p:nvSpPr>
          <p:cNvPr id="10" name="Rectangle 43">
            <a:extLst>
              <a:ext uri="{FF2B5EF4-FFF2-40B4-BE49-F238E27FC236}">
                <a16:creationId xmlns:a16="http://schemas.microsoft.com/office/drawing/2014/main" id="{A1D4CF05-334F-4CAD-B464-4E3F3BC49748}"/>
              </a:ext>
            </a:extLst>
          </p:cNvPr>
          <p:cNvSpPr>
            <a:spLocks noChangeArrowheads="1"/>
          </p:cNvSpPr>
          <p:nvPr>
            <p:custDataLst>
              <p:tags r:id="rId4"/>
            </p:custDataLst>
          </p:nvPr>
        </p:nvSpPr>
        <p:spPr bwMode="auto">
          <a:xfrm>
            <a:off x="4189467" y="5283734"/>
            <a:ext cx="3801142" cy="368246"/>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spc="0" normalizeH="0" baseline="0" noProof="0" dirty="0">
                <a:ln>
                  <a:noFill/>
                </a:ln>
                <a:solidFill>
                  <a:srgbClr val="000000"/>
                </a:solidFill>
                <a:effectLst/>
                <a:uLnTx/>
                <a:uFillTx/>
                <a:latin typeface="Graphik Black"/>
                <a:ea typeface="+mn-ea"/>
                <a:cs typeface="+mn-cs"/>
              </a:rPr>
              <a:t>Text</a:t>
            </a:r>
          </a:p>
        </p:txBody>
      </p:sp>
      <p:sp>
        <p:nvSpPr>
          <p:cNvPr id="11" name="Rectangle 44">
            <a:extLst>
              <a:ext uri="{FF2B5EF4-FFF2-40B4-BE49-F238E27FC236}">
                <a16:creationId xmlns:a16="http://schemas.microsoft.com/office/drawing/2014/main" id="{42493A08-64FB-42B8-9753-082E8A54487B}"/>
              </a:ext>
            </a:extLst>
          </p:cNvPr>
          <p:cNvSpPr>
            <a:spLocks noChangeArrowheads="1"/>
          </p:cNvSpPr>
          <p:nvPr>
            <p:custDataLst>
              <p:tags r:id="rId5"/>
            </p:custDataLst>
          </p:nvPr>
        </p:nvSpPr>
        <p:spPr bwMode="auto">
          <a:xfrm>
            <a:off x="3753049" y="1942014"/>
            <a:ext cx="4673978" cy="368247"/>
          </a:xfrm>
          <a:prstGeom prst="rect">
            <a:avLst/>
          </a:prstGeom>
          <a:noFill/>
          <a:ln w="6350">
            <a:noFill/>
            <a:miter lim="800000"/>
            <a:headEnd/>
            <a:tailEnd/>
          </a:ln>
          <a:effectLst/>
        </p:spPr>
        <p:txBody>
          <a:bodyPr wrap="none" lIns="72000" tIns="72000" rIns="72000" bIns="72000" anchor="ctr" anchorCtr="1"/>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1200" spc="0" normalizeH="0" baseline="0" noProof="0" dirty="0">
                <a:ln>
                  <a:noFill/>
                </a:ln>
                <a:solidFill>
                  <a:srgbClr val="000000"/>
                </a:solidFill>
                <a:effectLst/>
                <a:uLnTx/>
                <a:uFillTx/>
                <a:latin typeface="Graphik Black"/>
                <a:ea typeface="+mn-ea"/>
                <a:cs typeface="+mn-cs"/>
              </a:rPr>
              <a:t>Text</a:t>
            </a:r>
          </a:p>
        </p:txBody>
      </p:sp>
      <p:sp>
        <p:nvSpPr>
          <p:cNvPr id="12" name="Oval 25">
            <a:extLst>
              <a:ext uri="{FF2B5EF4-FFF2-40B4-BE49-F238E27FC236}">
                <a16:creationId xmlns:a16="http://schemas.microsoft.com/office/drawing/2014/main" id="{AB28DB5E-FCEA-4D33-9D28-3C2093D07BCE}"/>
              </a:ext>
            </a:extLst>
          </p:cNvPr>
          <p:cNvSpPr>
            <a:spLocks noChangeArrowheads="1"/>
          </p:cNvSpPr>
          <p:nvPr/>
        </p:nvSpPr>
        <p:spPr bwMode="auto">
          <a:xfrm>
            <a:off x="5029830" y="2768227"/>
            <a:ext cx="2129947" cy="2129946"/>
          </a:xfrm>
          <a:prstGeom prst="ellipse">
            <a:avLst/>
          </a:prstGeom>
          <a:solidFill>
            <a:schemeClr val="accent2"/>
          </a:solidFill>
          <a:ln w="635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spc="0" normalizeH="0" baseline="0" noProof="0" dirty="0">
                <a:ln>
                  <a:noFill/>
                </a:ln>
                <a:solidFill>
                  <a:srgbClr val="FFFFFF"/>
                </a:solidFill>
                <a:effectLst/>
                <a:uLnTx/>
                <a:uFillTx/>
                <a:latin typeface="Graphik Black"/>
                <a:ea typeface="+mn-ea"/>
                <a:cs typeface="+mn-cs"/>
              </a:rPr>
              <a:t>Text</a:t>
            </a:r>
          </a:p>
          <a:p>
            <a:pPr marL="0" marR="0" lvl="0" indent="0" algn="ctr" defTabSz="914400" rtl="0" eaLnBrk="0" fontAlgn="auto" latinLnBrk="0" hangingPunct="0">
              <a:lnSpc>
                <a:spcPct val="85000"/>
              </a:lnSpc>
              <a:spcBef>
                <a:spcPts val="100"/>
              </a:spcBef>
              <a:spcAft>
                <a:spcPts val="1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Graphik"/>
                <a:ea typeface="+mn-ea"/>
                <a:cs typeface="+mn-cs"/>
              </a:rPr>
              <a:t>Insert text</a:t>
            </a:r>
          </a:p>
        </p:txBody>
      </p:sp>
      <p:sp>
        <p:nvSpPr>
          <p:cNvPr id="3" name="Rectangle 2">
            <a:hlinkClick r:id="rId11" action="ppaction://hlinksldjump"/>
            <a:extLst>
              <a:ext uri="{FF2B5EF4-FFF2-40B4-BE49-F238E27FC236}">
                <a16:creationId xmlns:a16="http://schemas.microsoft.com/office/drawing/2014/main" id="{1A0F127A-1C46-40D1-9F31-6AAC8DDD9DD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985774361"/>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5</a:t>
            </a:r>
          </a:p>
        </p:txBody>
      </p:sp>
      <p:sp>
        <p:nvSpPr>
          <p:cNvPr id="21" name="Freeform: Shape 20">
            <a:hlinkClick r:id="rId4"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22">
            <a:extLst>
              <a:ext uri="{FF2B5EF4-FFF2-40B4-BE49-F238E27FC236}">
                <a16:creationId xmlns:a16="http://schemas.microsoft.com/office/drawing/2014/main" id="{DC3DBE67-9304-44FB-9B32-8A1DE8F0A9BF}"/>
              </a:ext>
            </a:extLst>
          </p:cNvPr>
          <p:cNvSpPr>
            <a:spLocks noChangeArrowheads="1"/>
          </p:cNvSpPr>
          <p:nvPr/>
        </p:nvSpPr>
        <p:spPr bwMode="auto">
          <a:xfrm>
            <a:off x="1822450" y="3836550"/>
            <a:ext cx="4225980" cy="2221350"/>
          </a:xfrm>
          <a:prstGeom prst="rect">
            <a:avLst/>
          </a:prstGeom>
          <a:solidFill>
            <a:srgbClr val="96968C">
              <a:lumMod val="20000"/>
              <a:lumOff val="80000"/>
            </a:srgbClr>
          </a:solidFill>
          <a:ln w="6350">
            <a:noFill/>
            <a:miter lim="800000"/>
            <a:headEnd/>
            <a:tailEnd/>
          </a:ln>
        </p:spPr>
        <p:txBody>
          <a:bodyPr lIns="180000" tIns="144000" rIns="72000" bIns="180000" anchor="b" anchorCtr="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5" name="Rectangle 23">
            <a:extLst>
              <a:ext uri="{FF2B5EF4-FFF2-40B4-BE49-F238E27FC236}">
                <a16:creationId xmlns:a16="http://schemas.microsoft.com/office/drawing/2014/main" id="{6A9C9F97-F6A3-4AF9-AFE7-079ABAFE571A}"/>
              </a:ext>
            </a:extLst>
          </p:cNvPr>
          <p:cNvSpPr>
            <a:spLocks noChangeArrowheads="1"/>
          </p:cNvSpPr>
          <p:nvPr/>
        </p:nvSpPr>
        <p:spPr bwMode="auto">
          <a:xfrm>
            <a:off x="6146309" y="3836550"/>
            <a:ext cx="4226416" cy="2221350"/>
          </a:xfrm>
          <a:prstGeom prst="rect">
            <a:avLst/>
          </a:prstGeom>
          <a:solidFill>
            <a:srgbClr val="96968C">
              <a:lumMod val="20000"/>
              <a:lumOff val="80000"/>
            </a:srgbClr>
          </a:solidFill>
          <a:ln w="6350">
            <a:noFill/>
            <a:miter lim="800000"/>
            <a:headEnd/>
            <a:tailEnd/>
          </a:ln>
        </p:spPr>
        <p:txBody>
          <a:bodyPr lIns="180000" tIns="144000" rIns="72000" bIns="180000" anchor="b" anchorCtr="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Rectangle 21">
            <a:extLst>
              <a:ext uri="{FF2B5EF4-FFF2-40B4-BE49-F238E27FC236}">
                <a16:creationId xmlns:a16="http://schemas.microsoft.com/office/drawing/2014/main" id="{909D5953-84CF-487F-A74C-AFCB48B0F6CD}"/>
              </a:ext>
            </a:extLst>
          </p:cNvPr>
          <p:cNvSpPr>
            <a:spLocks noChangeArrowheads="1"/>
          </p:cNvSpPr>
          <p:nvPr/>
        </p:nvSpPr>
        <p:spPr bwMode="auto">
          <a:xfrm>
            <a:off x="1822450" y="1514894"/>
            <a:ext cx="4225979" cy="2221200"/>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Rectangle 24">
            <a:extLst>
              <a:ext uri="{FF2B5EF4-FFF2-40B4-BE49-F238E27FC236}">
                <a16:creationId xmlns:a16="http://schemas.microsoft.com/office/drawing/2014/main" id="{8B70ED33-5339-42B5-9583-58D7439B7427}"/>
              </a:ext>
            </a:extLst>
          </p:cNvPr>
          <p:cNvSpPr>
            <a:spLocks noChangeArrowheads="1"/>
          </p:cNvSpPr>
          <p:nvPr/>
        </p:nvSpPr>
        <p:spPr bwMode="auto">
          <a:xfrm>
            <a:off x="6146309" y="1514894"/>
            <a:ext cx="4226416" cy="2221200"/>
          </a:xfrm>
          <a:prstGeom prst="rect">
            <a:avLst/>
          </a:pr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Rectangle 40">
            <a:extLst>
              <a:ext uri="{FF2B5EF4-FFF2-40B4-BE49-F238E27FC236}">
                <a16:creationId xmlns:a16="http://schemas.microsoft.com/office/drawing/2014/main" id="{5426875B-01F0-4E9A-BC8E-B0CB08F401BC}"/>
              </a:ext>
            </a:extLst>
          </p:cNvPr>
          <p:cNvSpPr>
            <a:spLocks noChangeArrowheads="1"/>
          </p:cNvSpPr>
          <p:nvPr>
            <p:custDataLst>
              <p:tags r:id="rId1"/>
            </p:custDataLst>
          </p:nvPr>
        </p:nvSpPr>
        <p:spPr bwMode="auto">
          <a:xfrm>
            <a:off x="4381743" y="2929096"/>
            <a:ext cx="3430345" cy="1801504"/>
          </a:xfrm>
          <a:prstGeom prst="rect">
            <a:avLst/>
          </a:prstGeom>
          <a:solidFill>
            <a:schemeClr val="accent2"/>
          </a:solidFill>
          <a:ln w="1016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p>
          <a:p>
            <a:pPr marL="0" marR="0" lvl="0" indent="0" algn="ctr" defTabSz="914400" rtl="0" eaLnBrk="0" fontAlgn="auto" latinLnBrk="0" hangingPunct="0">
              <a:lnSpc>
                <a:spcPct val="85000"/>
              </a:lnSpc>
              <a:spcBef>
                <a:spcPts val="100"/>
              </a:spcBef>
              <a:spcAft>
                <a:spcPts val="1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Graphik"/>
                <a:ea typeface="+mn-ea"/>
                <a:cs typeface="+mn-cs"/>
              </a:rPr>
              <a:t>Insert text</a:t>
            </a:r>
          </a:p>
        </p:txBody>
      </p:sp>
      <p:sp>
        <p:nvSpPr>
          <p:cNvPr id="3" name="Rectangle 2">
            <a:hlinkClick r:id="rId4" action="ppaction://hlinksldjump"/>
            <a:extLst>
              <a:ext uri="{FF2B5EF4-FFF2-40B4-BE49-F238E27FC236}">
                <a16:creationId xmlns:a16="http://schemas.microsoft.com/office/drawing/2014/main" id="{991A8AA5-2C50-4FF6-8AE2-BF089488885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7138776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6</a:t>
            </a:r>
          </a:p>
        </p:txBody>
      </p:sp>
      <p:sp>
        <p:nvSpPr>
          <p:cNvPr id="21" name="Freeform: Shape 20">
            <a:hlinkClick r:id="rId4"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Title 1">
            <a:extLst>
              <a:ext uri="{FF2B5EF4-FFF2-40B4-BE49-F238E27FC236}">
                <a16:creationId xmlns:a16="http://schemas.microsoft.com/office/drawing/2014/main" id="{5230F9FC-1795-4FF0-9B7B-B14FF8E54C9E}"/>
              </a:ext>
            </a:extLst>
          </p:cNvPr>
          <p:cNvSpPr txBox="1">
            <a:spLocks/>
          </p:cNvSpPr>
          <p:nvPr/>
        </p:nvSpPr>
        <p:spPr>
          <a:xfrm>
            <a:off x="381634" y="381633"/>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de-DE" sz="3600" b="1" i="0" u="none" strike="noStrike" kern="1200" cap="none" spc="0" normalizeH="0" baseline="0" noProof="0" dirty="0">
              <a:ln>
                <a:noFill/>
              </a:ln>
              <a:solidFill>
                <a:srgbClr val="000000"/>
              </a:solidFill>
              <a:effectLst/>
              <a:uLnTx/>
              <a:uFillTx/>
              <a:latin typeface="Graphik"/>
              <a:ea typeface="+mj-ea"/>
              <a:cs typeface="+mj-cs"/>
            </a:endParaRPr>
          </a:p>
        </p:txBody>
      </p:sp>
      <p:sp>
        <p:nvSpPr>
          <p:cNvPr id="3" name="Rectangle 2">
            <a:hlinkClick r:id="rId4" action="ppaction://hlinksldjump"/>
            <a:extLst>
              <a:ext uri="{FF2B5EF4-FFF2-40B4-BE49-F238E27FC236}">
                <a16:creationId xmlns:a16="http://schemas.microsoft.com/office/drawing/2014/main" id="{BE08D8BD-0A37-4BBC-B7C4-D43176B3C46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5" name="Rectangle 22">
            <a:extLst>
              <a:ext uri="{FF2B5EF4-FFF2-40B4-BE49-F238E27FC236}">
                <a16:creationId xmlns:a16="http://schemas.microsoft.com/office/drawing/2014/main" id="{FD684CDC-D703-4A75-A691-0C737D3B2239}"/>
              </a:ext>
            </a:extLst>
          </p:cNvPr>
          <p:cNvSpPr>
            <a:spLocks noChangeArrowheads="1"/>
          </p:cNvSpPr>
          <p:nvPr/>
        </p:nvSpPr>
        <p:spPr bwMode="auto">
          <a:xfrm>
            <a:off x="1822450" y="3836550"/>
            <a:ext cx="4225980" cy="222135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180000" anchor="b" anchorCtr="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7" name="Rectangle 23">
            <a:extLst>
              <a:ext uri="{FF2B5EF4-FFF2-40B4-BE49-F238E27FC236}">
                <a16:creationId xmlns:a16="http://schemas.microsoft.com/office/drawing/2014/main" id="{FE987888-400A-4AB0-90A0-006EB339A758}"/>
              </a:ext>
            </a:extLst>
          </p:cNvPr>
          <p:cNvSpPr>
            <a:spLocks noChangeArrowheads="1"/>
          </p:cNvSpPr>
          <p:nvPr/>
        </p:nvSpPr>
        <p:spPr bwMode="auto">
          <a:xfrm>
            <a:off x="6146309" y="3836550"/>
            <a:ext cx="4226416" cy="222135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180000" anchor="b" anchorCtr="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9" name="Rectangle 18">
            <a:extLst>
              <a:ext uri="{FF2B5EF4-FFF2-40B4-BE49-F238E27FC236}">
                <a16:creationId xmlns:a16="http://schemas.microsoft.com/office/drawing/2014/main" id="{397C347D-1AAB-4EA2-8750-644E21F01916}"/>
              </a:ext>
            </a:extLst>
          </p:cNvPr>
          <p:cNvSpPr>
            <a:spLocks noChangeArrowheads="1"/>
          </p:cNvSpPr>
          <p:nvPr/>
        </p:nvSpPr>
        <p:spPr bwMode="auto">
          <a:xfrm>
            <a:off x="1822450" y="1514894"/>
            <a:ext cx="4225979" cy="222120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23" name="Rectangle 24">
            <a:extLst>
              <a:ext uri="{FF2B5EF4-FFF2-40B4-BE49-F238E27FC236}">
                <a16:creationId xmlns:a16="http://schemas.microsoft.com/office/drawing/2014/main" id="{BA2DD5BD-E997-4704-9904-F5ED34BC0A64}"/>
              </a:ext>
            </a:extLst>
          </p:cNvPr>
          <p:cNvSpPr>
            <a:spLocks noChangeArrowheads="1"/>
          </p:cNvSpPr>
          <p:nvPr/>
        </p:nvSpPr>
        <p:spPr bwMode="auto">
          <a:xfrm>
            <a:off x="6146309" y="1514894"/>
            <a:ext cx="4226416" cy="222120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25" name="Rectangle 40">
            <a:extLst>
              <a:ext uri="{FF2B5EF4-FFF2-40B4-BE49-F238E27FC236}">
                <a16:creationId xmlns:a16="http://schemas.microsoft.com/office/drawing/2014/main" id="{FB814BCA-90F6-4BD4-9790-E67C95F98FEA}"/>
              </a:ext>
            </a:extLst>
          </p:cNvPr>
          <p:cNvSpPr>
            <a:spLocks noChangeArrowheads="1"/>
          </p:cNvSpPr>
          <p:nvPr>
            <p:custDataLst>
              <p:tags r:id="rId1"/>
            </p:custDataLst>
          </p:nvPr>
        </p:nvSpPr>
        <p:spPr bwMode="auto">
          <a:xfrm>
            <a:off x="4381743" y="2929096"/>
            <a:ext cx="3430345" cy="1801504"/>
          </a:xfrm>
          <a:prstGeom prst="rect">
            <a:avLst/>
          </a:prstGeom>
          <a:solidFill>
            <a:schemeClr val="accent2"/>
          </a:solidFill>
          <a:ln w="101600">
            <a:noFill/>
            <a:miter lim="800000"/>
            <a:headEnd/>
            <a:tailEnd/>
          </a:ln>
        </p:spPr>
        <p:txBody>
          <a:bodyPr lIns="180000" tIns="144000" rIns="180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a:p>
            <a:pPr algn="ctr" eaLnBrk="0" hangingPunct="0">
              <a:lnSpc>
                <a:spcPct val="85000"/>
              </a:lnSpc>
              <a:spcBef>
                <a:spcPts val="100"/>
              </a:spcBef>
              <a:spcAft>
                <a:spcPts val="100"/>
              </a:spcAft>
            </a:pPr>
            <a:r>
              <a:rPr lang="en-US" dirty="0">
                <a:solidFill>
                  <a:schemeClr val="bg1"/>
                </a:solidFill>
              </a:rPr>
              <a:t>Insert text</a:t>
            </a:r>
          </a:p>
        </p:txBody>
      </p:sp>
    </p:spTree>
    <p:extLst>
      <p:ext uri="{BB962C8B-B14F-4D97-AF65-F5344CB8AC3E}">
        <p14:creationId xmlns:p14="http://schemas.microsoft.com/office/powerpoint/2010/main" val="3771902882"/>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7</a:t>
            </a:r>
          </a:p>
        </p:txBody>
      </p:sp>
      <p:sp>
        <p:nvSpPr>
          <p:cNvPr id="21" name="Freeform: Shape 20">
            <a:hlinkClick r:id="rId1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3" action="ppaction://hlinksldjump"/>
            <a:extLst>
              <a:ext uri="{FF2B5EF4-FFF2-40B4-BE49-F238E27FC236}">
                <a16:creationId xmlns:a16="http://schemas.microsoft.com/office/drawing/2014/main" id="{EBD10C4C-E5BF-449B-A1E0-B7AD5DC3043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Rectangle 18">
            <a:extLst>
              <a:ext uri="{FF2B5EF4-FFF2-40B4-BE49-F238E27FC236}">
                <a16:creationId xmlns:a16="http://schemas.microsoft.com/office/drawing/2014/main" id="{4F4CD4B5-81EF-464E-A827-EF1DF0E64362}"/>
              </a:ext>
            </a:extLst>
          </p:cNvPr>
          <p:cNvSpPr>
            <a:spLocks noChangeArrowheads="1"/>
          </p:cNvSpPr>
          <p:nvPr>
            <p:custDataLst>
              <p:tags r:id="rId1"/>
            </p:custDataLst>
          </p:nvPr>
        </p:nvSpPr>
        <p:spPr bwMode="auto">
          <a:xfrm>
            <a:off x="7144573" y="3979912"/>
            <a:ext cx="3600000" cy="318091"/>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6" name="Rectangle 11">
            <a:extLst>
              <a:ext uri="{FF2B5EF4-FFF2-40B4-BE49-F238E27FC236}">
                <a16:creationId xmlns:a16="http://schemas.microsoft.com/office/drawing/2014/main" id="{6998FA10-D9FB-4EA8-A173-055448F3C73C}"/>
              </a:ext>
            </a:extLst>
          </p:cNvPr>
          <p:cNvSpPr>
            <a:spLocks noChangeArrowheads="1"/>
          </p:cNvSpPr>
          <p:nvPr>
            <p:custDataLst>
              <p:tags r:id="rId2"/>
            </p:custDataLst>
          </p:nvPr>
        </p:nvSpPr>
        <p:spPr bwMode="auto">
          <a:xfrm>
            <a:off x="7144573" y="4298003"/>
            <a:ext cx="3600000" cy="1757955"/>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8" name="Rectangle 12">
            <a:extLst>
              <a:ext uri="{FF2B5EF4-FFF2-40B4-BE49-F238E27FC236}">
                <a16:creationId xmlns:a16="http://schemas.microsoft.com/office/drawing/2014/main" id="{DE44DEB3-B680-4BA5-ADB6-2D3600CE2214}"/>
              </a:ext>
            </a:extLst>
          </p:cNvPr>
          <p:cNvSpPr>
            <a:spLocks noChangeArrowheads="1"/>
          </p:cNvSpPr>
          <p:nvPr>
            <p:custDataLst>
              <p:tags r:id="rId3"/>
            </p:custDataLst>
          </p:nvPr>
        </p:nvSpPr>
        <p:spPr bwMode="auto">
          <a:xfrm>
            <a:off x="1100738" y="1628800"/>
            <a:ext cx="3600000" cy="315018"/>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20" name="Rectangle 13">
            <a:extLst>
              <a:ext uri="{FF2B5EF4-FFF2-40B4-BE49-F238E27FC236}">
                <a16:creationId xmlns:a16="http://schemas.microsoft.com/office/drawing/2014/main" id="{8CEC2E24-2FB9-4ABC-B7BF-A8A85BDBF30F}"/>
              </a:ext>
            </a:extLst>
          </p:cNvPr>
          <p:cNvSpPr>
            <a:spLocks noChangeArrowheads="1"/>
          </p:cNvSpPr>
          <p:nvPr>
            <p:custDataLst>
              <p:tags r:id="rId4"/>
            </p:custDataLst>
          </p:nvPr>
        </p:nvSpPr>
        <p:spPr bwMode="auto">
          <a:xfrm>
            <a:off x="1100738" y="1943818"/>
            <a:ext cx="3600000" cy="1759492"/>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24" name="Rectangle 14">
            <a:extLst>
              <a:ext uri="{FF2B5EF4-FFF2-40B4-BE49-F238E27FC236}">
                <a16:creationId xmlns:a16="http://schemas.microsoft.com/office/drawing/2014/main" id="{25C91059-D86B-4870-B82A-D0C96983A56A}"/>
              </a:ext>
            </a:extLst>
          </p:cNvPr>
          <p:cNvSpPr>
            <a:spLocks noChangeArrowheads="1"/>
          </p:cNvSpPr>
          <p:nvPr>
            <p:custDataLst>
              <p:tags r:id="rId5"/>
            </p:custDataLst>
          </p:nvPr>
        </p:nvSpPr>
        <p:spPr bwMode="auto">
          <a:xfrm>
            <a:off x="7144573" y="1628800"/>
            <a:ext cx="3600000" cy="315018"/>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26" name="Rectangle 15">
            <a:extLst>
              <a:ext uri="{FF2B5EF4-FFF2-40B4-BE49-F238E27FC236}">
                <a16:creationId xmlns:a16="http://schemas.microsoft.com/office/drawing/2014/main" id="{4303ACB2-9D82-4DCD-9A29-CE0321AE9C11}"/>
              </a:ext>
            </a:extLst>
          </p:cNvPr>
          <p:cNvSpPr>
            <a:spLocks noChangeArrowheads="1"/>
          </p:cNvSpPr>
          <p:nvPr>
            <p:custDataLst>
              <p:tags r:id="rId6"/>
            </p:custDataLst>
          </p:nvPr>
        </p:nvSpPr>
        <p:spPr bwMode="auto">
          <a:xfrm>
            <a:off x="7144573" y="1943818"/>
            <a:ext cx="3600000" cy="1759492"/>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28" name="Rectangle 16">
            <a:extLst>
              <a:ext uri="{FF2B5EF4-FFF2-40B4-BE49-F238E27FC236}">
                <a16:creationId xmlns:a16="http://schemas.microsoft.com/office/drawing/2014/main" id="{5102F180-4363-47F5-AB90-4BBC44FF5CFB}"/>
              </a:ext>
            </a:extLst>
          </p:cNvPr>
          <p:cNvSpPr>
            <a:spLocks noChangeArrowheads="1"/>
          </p:cNvSpPr>
          <p:nvPr>
            <p:custDataLst>
              <p:tags r:id="rId7"/>
            </p:custDataLst>
          </p:nvPr>
        </p:nvSpPr>
        <p:spPr bwMode="auto">
          <a:xfrm>
            <a:off x="1100738" y="3979912"/>
            <a:ext cx="3600000" cy="318091"/>
          </a:xfrm>
          <a:prstGeom prst="rect">
            <a:avLst/>
          </a:prstGeom>
          <a:solidFill>
            <a:schemeClr val="accent1"/>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30" name="Rectangle 17">
            <a:extLst>
              <a:ext uri="{FF2B5EF4-FFF2-40B4-BE49-F238E27FC236}">
                <a16:creationId xmlns:a16="http://schemas.microsoft.com/office/drawing/2014/main" id="{9B256BBE-0849-4E93-B530-1502B27B1121}"/>
              </a:ext>
            </a:extLst>
          </p:cNvPr>
          <p:cNvSpPr>
            <a:spLocks noChangeArrowheads="1"/>
          </p:cNvSpPr>
          <p:nvPr>
            <p:custDataLst>
              <p:tags r:id="rId8"/>
            </p:custDataLst>
          </p:nvPr>
        </p:nvSpPr>
        <p:spPr bwMode="auto">
          <a:xfrm>
            <a:off x="1100738" y="4298003"/>
            <a:ext cx="3600000" cy="1756419"/>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32" name="Rectangle 19">
            <a:extLst>
              <a:ext uri="{FF2B5EF4-FFF2-40B4-BE49-F238E27FC236}">
                <a16:creationId xmlns:a16="http://schemas.microsoft.com/office/drawing/2014/main" id="{153C475F-8BF6-4CBE-9A85-DE224990CE02}"/>
              </a:ext>
            </a:extLst>
          </p:cNvPr>
          <p:cNvSpPr>
            <a:spLocks noChangeArrowheads="1"/>
          </p:cNvSpPr>
          <p:nvPr>
            <p:custDataLst>
              <p:tags r:id="rId9"/>
            </p:custDataLst>
          </p:nvPr>
        </p:nvSpPr>
        <p:spPr bwMode="auto">
          <a:xfrm>
            <a:off x="4473710" y="2813050"/>
            <a:ext cx="2868971" cy="331922"/>
          </a:xfrm>
          <a:prstGeom prst="rect">
            <a:avLst/>
          </a:prstGeom>
          <a:solidFill>
            <a:schemeClr val="accent2"/>
          </a:solidFill>
          <a:ln w="6350">
            <a:noFill/>
            <a:miter lim="800000"/>
            <a:headEnd/>
            <a:tailEnd/>
          </a:ln>
          <a:effectLst/>
        </p:spPr>
        <p:txBody>
          <a:bodyPr wrap="none" lIns="72000" tIns="72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34" name="Rectangle 20">
            <a:extLst>
              <a:ext uri="{FF2B5EF4-FFF2-40B4-BE49-F238E27FC236}">
                <a16:creationId xmlns:a16="http://schemas.microsoft.com/office/drawing/2014/main" id="{7A835AAD-B50F-4DB0-8622-F4BFE73B0A4F}"/>
              </a:ext>
            </a:extLst>
          </p:cNvPr>
          <p:cNvSpPr>
            <a:spLocks noChangeArrowheads="1"/>
          </p:cNvSpPr>
          <p:nvPr>
            <p:custDataLst>
              <p:tags r:id="rId10"/>
            </p:custDataLst>
          </p:nvPr>
        </p:nvSpPr>
        <p:spPr bwMode="auto">
          <a:xfrm>
            <a:off x="4473710" y="3160863"/>
            <a:ext cx="2868971" cy="1741052"/>
          </a:xfrm>
          <a:prstGeom prst="rect">
            <a:avLst/>
          </a:prstGeom>
          <a:solidFill>
            <a:schemeClr val="accent2"/>
          </a:solidFill>
          <a:ln w="6350">
            <a:noFill/>
            <a:miter lim="800000"/>
            <a:headEnd/>
            <a:tailEnd/>
          </a:ln>
          <a:effectLst/>
        </p:spPr>
        <p:txBody>
          <a:bodyPr wrap="none" lIns="180000" tIns="180000" rIns="72000" bIns="72000"/>
          <a:lstStyle/>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p:txBody>
      </p:sp>
    </p:spTree>
    <p:extLst>
      <p:ext uri="{BB962C8B-B14F-4D97-AF65-F5344CB8AC3E}">
        <p14:creationId xmlns:p14="http://schemas.microsoft.com/office/powerpoint/2010/main" val="1565514998"/>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8</a:t>
            </a:r>
          </a:p>
        </p:txBody>
      </p:sp>
      <p:sp>
        <p:nvSpPr>
          <p:cNvPr id="21" name="Freeform: Shape 20">
            <a:hlinkClick r:id="rId4"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2E5B4139-E771-47C4-8A71-A818C049A07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9" name="Rectangle 22">
            <a:extLst>
              <a:ext uri="{FF2B5EF4-FFF2-40B4-BE49-F238E27FC236}">
                <a16:creationId xmlns:a16="http://schemas.microsoft.com/office/drawing/2014/main" id="{A474E46B-1A96-45A6-B8CF-ADF8150176E4}"/>
              </a:ext>
            </a:extLst>
          </p:cNvPr>
          <p:cNvSpPr>
            <a:spLocks noChangeArrowheads="1"/>
          </p:cNvSpPr>
          <p:nvPr/>
        </p:nvSpPr>
        <p:spPr bwMode="auto">
          <a:xfrm>
            <a:off x="1100738" y="3836550"/>
            <a:ext cx="3600000" cy="222135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180000" anchor="t" anchorCtr="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1" name="Rectangle 23">
            <a:extLst>
              <a:ext uri="{FF2B5EF4-FFF2-40B4-BE49-F238E27FC236}">
                <a16:creationId xmlns:a16="http://schemas.microsoft.com/office/drawing/2014/main" id="{F8B935C7-AEF0-4E19-BB99-444A2EF535AD}"/>
              </a:ext>
            </a:extLst>
          </p:cNvPr>
          <p:cNvSpPr>
            <a:spLocks noChangeArrowheads="1"/>
          </p:cNvSpPr>
          <p:nvPr/>
        </p:nvSpPr>
        <p:spPr bwMode="auto">
          <a:xfrm>
            <a:off x="7144573" y="3836550"/>
            <a:ext cx="3600000" cy="2221350"/>
          </a:xfrm>
          <a:prstGeom prst="rect">
            <a:avLst/>
          </a:prstGeom>
          <a:pattFill prst="dkUpDiag">
            <a:fgClr>
              <a:schemeClr val="accent2">
                <a:lumMod val="20000"/>
                <a:lumOff val="80000"/>
              </a:schemeClr>
            </a:fgClr>
            <a:bgClr>
              <a:schemeClr val="bg1"/>
            </a:bgClr>
          </a:pattFill>
          <a:ln w="6350">
            <a:noFill/>
            <a:miter lim="800000"/>
            <a:headEnd/>
            <a:tailEnd/>
          </a:ln>
        </p:spPr>
        <p:txBody>
          <a:bodyPr lIns="360000" tIns="144000" rIns="72000" bIns="180000" anchor="t" anchorCtr="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3" name="Rectangle 12">
            <a:extLst>
              <a:ext uri="{FF2B5EF4-FFF2-40B4-BE49-F238E27FC236}">
                <a16:creationId xmlns:a16="http://schemas.microsoft.com/office/drawing/2014/main" id="{5C7FA537-F344-41D1-8CD9-DD155EEE3E69}"/>
              </a:ext>
            </a:extLst>
          </p:cNvPr>
          <p:cNvSpPr>
            <a:spLocks noChangeArrowheads="1"/>
          </p:cNvSpPr>
          <p:nvPr/>
        </p:nvSpPr>
        <p:spPr bwMode="auto">
          <a:xfrm>
            <a:off x="1100738" y="1514894"/>
            <a:ext cx="3600000" cy="2221200"/>
          </a:xfrm>
          <a:prstGeom prst="rect">
            <a:avLst/>
          </a:prstGeom>
          <a:pattFill prst="dkUpDiag">
            <a:fgClr>
              <a:schemeClr val="accent2">
                <a:lumMod val="20000"/>
                <a:lumOff val="80000"/>
              </a:schemeClr>
            </a:fgClr>
            <a:bgClr>
              <a:schemeClr val="bg1"/>
            </a:bgClr>
          </a:patt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5" name="Rectangle 24">
            <a:extLst>
              <a:ext uri="{FF2B5EF4-FFF2-40B4-BE49-F238E27FC236}">
                <a16:creationId xmlns:a16="http://schemas.microsoft.com/office/drawing/2014/main" id="{3E64A23E-8974-4733-924D-79AFE0BD468D}"/>
              </a:ext>
            </a:extLst>
          </p:cNvPr>
          <p:cNvSpPr>
            <a:spLocks noChangeArrowheads="1"/>
          </p:cNvSpPr>
          <p:nvPr/>
        </p:nvSpPr>
        <p:spPr bwMode="auto">
          <a:xfrm>
            <a:off x="7144573" y="1514894"/>
            <a:ext cx="3600000" cy="2221200"/>
          </a:xfrm>
          <a:prstGeom prst="rect">
            <a:avLst/>
          </a:prstGeom>
          <a:pattFill prst="dkUpDiag">
            <a:fgClr>
              <a:schemeClr val="accent2">
                <a:lumMod val="20000"/>
                <a:lumOff val="80000"/>
              </a:schemeClr>
            </a:fgClr>
            <a:bgClr>
              <a:schemeClr val="bg1"/>
            </a:bgClr>
          </a:pattFill>
          <a:ln w="6350">
            <a:noFill/>
            <a:miter lim="800000"/>
            <a:headEnd/>
            <a:tailEnd/>
          </a:ln>
        </p:spPr>
        <p:txBody>
          <a:bodyPr lIns="36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17" name="Rectangle 20">
            <a:extLst>
              <a:ext uri="{FF2B5EF4-FFF2-40B4-BE49-F238E27FC236}">
                <a16:creationId xmlns:a16="http://schemas.microsoft.com/office/drawing/2014/main" id="{DD276CC8-63CA-4005-B577-7BA6A65DF8B9}"/>
              </a:ext>
            </a:extLst>
          </p:cNvPr>
          <p:cNvSpPr>
            <a:spLocks noChangeArrowheads="1"/>
          </p:cNvSpPr>
          <p:nvPr>
            <p:custDataLst>
              <p:tags r:id="rId1"/>
            </p:custDataLst>
          </p:nvPr>
        </p:nvSpPr>
        <p:spPr bwMode="auto">
          <a:xfrm>
            <a:off x="4473710" y="2714107"/>
            <a:ext cx="2868971" cy="2144431"/>
          </a:xfrm>
          <a:prstGeom prst="rect">
            <a:avLst/>
          </a:prstGeom>
          <a:solidFill>
            <a:schemeClr val="accent2"/>
          </a:solidFill>
          <a:ln w="6350">
            <a:noFill/>
            <a:miter lim="800000"/>
            <a:headEnd/>
            <a:tailEnd/>
          </a:ln>
          <a:effectLst/>
        </p:spPr>
        <p:txBody>
          <a:bodyPr wrap="none" lIns="180000" tIns="180000" rIns="72000" bIns="72000"/>
          <a:lstStyle/>
          <a:p>
            <a:pPr eaLnBrk="0" hangingPunct="0">
              <a:lnSpc>
                <a:spcPct val="85000"/>
              </a:lnSpc>
              <a:spcBef>
                <a:spcPts val="100"/>
              </a:spcBef>
              <a:spcAft>
                <a:spcPts val="300"/>
              </a:spcAft>
            </a:pPr>
            <a:r>
              <a:rPr lang="en-US"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p:txBody>
      </p:sp>
    </p:spTree>
    <p:extLst>
      <p:ext uri="{BB962C8B-B14F-4D97-AF65-F5344CB8AC3E}">
        <p14:creationId xmlns:p14="http://schemas.microsoft.com/office/powerpoint/2010/main" val="57689143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ponents 1</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Freeform 16">
            <a:extLst>
              <a:ext uri="{FF2B5EF4-FFF2-40B4-BE49-F238E27FC236}">
                <a16:creationId xmlns:a16="http://schemas.microsoft.com/office/drawing/2014/main" id="{E7CC08D2-4F2F-4FAD-A1A8-21BF158BB028}"/>
              </a:ext>
            </a:extLst>
          </p:cNvPr>
          <p:cNvSpPr>
            <a:spLocks/>
          </p:cNvSpPr>
          <p:nvPr/>
        </p:nvSpPr>
        <p:spPr bwMode="auto">
          <a:xfrm>
            <a:off x="381001" y="3612415"/>
            <a:ext cx="11429365" cy="1954614"/>
          </a:xfrm>
          <a:custGeom>
            <a:avLst/>
            <a:gdLst/>
            <a:ahLst/>
            <a:cxnLst>
              <a:cxn ang="0">
                <a:pos x="0" y="1030"/>
              </a:cxn>
              <a:cxn ang="0">
                <a:pos x="0" y="918"/>
              </a:cxn>
              <a:cxn ang="0">
                <a:pos x="2101" y="0"/>
              </a:cxn>
              <a:cxn ang="0">
                <a:pos x="4202" y="918"/>
              </a:cxn>
              <a:cxn ang="0">
                <a:pos x="4202" y="1030"/>
              </a:cxn>
              <a:cxn ang="0">
                <a:pos x="0" y="1030"/>
              </a:cxn>
            </a:cxnLst>
            <a:rect l="0" t="0" r="r" b="b"/>
            <a:pathLst>
              <a:path w="4203" h="1031">
                <a:moveTo>
                  <a:pt x="0" y="1030"/>
                </a:moveTo>
                <a:lnTo>
                  <a:pt x="0" y="918"/>
                </a:lnTo>
                <a:lnTo>
                  <a:pt x="2101" y="0"/>
                </a:lnTo>
                <a:lnTo>
                  <a:pt x="4202" y="918"/>
                </a:lnTo>
                <a:lnTo>
                  <a:pt x="4202" y="1030"/>
                </a:lnTo>
                <a:lnTo>
                  <a:pt x="0" y="1030"/>
                </a:lnTo>
              </a:path>
            </a:pathLst>
          </a:custGeom>
          <a:solidFill>
            <a:schemeClr val="accent1">
              <a:lumMod val="20000"/>
              <a:lumOff val="80000"/>
            </a:schemeClr>
          </a:solid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 name="Freeform 17">
            <a:extLst>
              <a:ext uri="{FF2B5EF4-FFF2-40B4-BE49-F238E27FC236}">
                <a16:creationId xmlns:a16="http://schemas.microsoft.com/office/drawing/2014/main" id="{6E46CBDE-8390-491F-9065-5BE4CA335977}"/>
              </a:ext>
            </a:extLst>
          </p:cNvPr>
          <p:cNvSpPr>
            <a:spLocks/>
          </p:cNvSpPr>
          <p:nvPr/>
        </p:nvSpPr>
        <p:spPr bwMode="auto">
          <a:xfrm>
            <a:off x="381001" y="1798262"/>
            <a:ext cx="5663392" cy="3462711"/>
          </a:xfrm>
          <a:custGeom>
            <a:avLst/>
            <a:gdLst/>
            <a:ahLst/>
            <a:cxnLst>
              <a:cxn ang="0">
                <a:pos x="0" y="0"/>
              </a:cxn>
              <a:cxn ang="0">
                <a:pos x="2053" y="0"/>
              </a:cxn>
              <a:cxn ang="0">
                <a:pos x="2053" y="894"/>
              </a:cxn>
              <a:cxn ang="0">
                <a:pos x="0" y="1788"/>
              </a:cxn>
              <a:cxn ang="0">
                <a:pos x="0" y="0"/>
              </a:cxn>
            </a:cxnLst>
            <a:rect l="0" t="0" r="r" b="b"/>
            <a:pathLst>
              <a:path w="2054" h="1789">
                <a:moveTo>
                  <a:pt x="0" y="0"/>
                </a:moveTo>
                <a:lnTo>
                  <a:pt x="2053" y="0"/>
                </a:lnTo>
                <a:lnTo>
                  <a:pt x="2053" y="894"/>
                </a:lnTo>
                <a:lnTo>
                  <a:pt x="0" y="1788"/>
                </a:lnTo>
                <a:lnTo>
                  <a:pt x="0" y="0"/>
                </a:lnTo>
              </a:path>
            </a:pathLst>
          </a:cu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Freeform 18">
            <a:extLst>
              <a:ext uri="{FF2B5EF4-FFF2-40B4-BE49-F238E27FC236}">
                <a16:creationId xmlns:a16="http://schemas.microsoft.com/office/drawing/2014/main" id="{E26BE853-DE74-4C8A-9582-AB5A5DC36BFA}"/>
              </a:ext>
            </a:extLst>
          </p:cNvPr>
          <p:cNvSpPr>
            <a:spLocks/>
          </p:cNvSpPr>
          <p:nvPr/>
        </p:nvSpPr>
        <p:spPr bwMode="auto">
          <a:xfrm>
            <a:off x="6146974" y="1798262"/>
            <a:ext cx="5663392" cy="3462711"/>
          </a:xfrm>
          <a:custGeom>
            <a:avLst/>
            <a:gdLst/>
            <a:ahLst/>
            <a:cxnLst>
              <a:cxn ang="0">
                <a:pos x="0" y="0"/>
              </a:cxn>
              <a:cxn ang="0">
                <a:pos x="2061" y="0"/>
              </a:cxn>
              <a:cxn ang="0">
                <a:pos x="2061" y="1788"/>
              </a:cxn>
              <a:cxn ang="0">
                <a:pos x="0" y="894"/>
              </a:cxn>
              <a:cxn ang="0">
                <a:pos x="0" y="0"/>
              </a:cxn>
            </a:cxnLst>
            <a:rect l="0" t="0" r="r" b="b"/>
            <a:pathLst>
              <a:path w="2062" h="1789">
                <a:moveTo>
                  <a:pt x="0" y="0"/>
                </a:moveTo>
                <a:lnTo>
                  <a:pt x="2061" y="0"/>
                </a:lnTo>
                <a:lnTo>
                  <a:pt x="2061" y="1788"/>
                </a:lnTo>
                <a:lnTo>
                  <a:pt x="0" y="894"/>
                </a:lnTo>
                <a:lnTo>
                  <a:pt x="0" y="0"/>
                </a:lnTo>
              </a:path>
            </a:pathLst>
          </a:custGeom>
          <a:solidFill>
            <a:schemeClr val="accent5">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Rectangle 22">
            <a:extLst>
              <a:ext uri="{FF2B5EF4-FFF2-40B4-BE49-F238E27FC236}">
                <a16:creationId xmlns:a16="http://schemas.microsoft.com/office/drawing/2014/main" id="{32D97EDD-4932-4E21-AE2A-D8CBC1294772}"/>
              </a:ext>
            </a:extLst>
          </p:cNvPr>
          <p:cNvSpPr>
            <a:spLocks noChangeArrowheads="1"/>
          </p:cNvSpPr>
          <p:nvPr/>
        </p:nvSpPr>
        <p:spPr bwMode="auto">
          <a:xfrm>
            <a:off x="381000" y="5643992"/>
            <a:ext cx="11427791" cy="413907"/>
          </a:xfrm>
          <a:prstGeom prst="rect">
            <a:avLst/>
          </a:prstGeom>
          <a:solidFill>
            <a:schemeClr val="accent1"/>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 Text</a:t>
            </a:r>
          </a:p>
        </p:txBody>
      </p:sp>
      <p:sp>
        <p:nvSpPr>
          <p:cNvPr id="8" name="Rectangle 25">
            <a:extLst>
              <a:ext uri="{FF2B5EF4-FFF2-40B4-BE49-F238E27FC236}">
                <a16:creationId xmlns:a16="http://schemas.microsoft.com/office/drawing/2014/main" id="{5539CC78-6CDA-437F-A90B-A76C53AAFA71}"/>
              </a:ext>
            </a:extLst>
          </p:cNvPr>
          <p:cNvSpPr>
            <a:spLocks noChangeArrowheads="1"/>
          </p:cNvSpPr>
          <p:nvPr/>
        </p:nvSpPr>
        <p:spPr bwMode="auto">
          <a:xfrm>
            <a:off x="1260500" y="5130342"/>
            <a:ext cx="9661815" cy="419006"/>
          </a:xfrm>
          <a:prstGeom prst="rect">
            <a:avLst/>
          </a:prstGeom>
          <a:noFill/>
          <a:ln w="9525">
            <a:noFill/>
            <a:miter lim="800000"/>
            <a:headEnd/>
            <a:tailEnd/>
          </a:ln>
          <a:effectLst/>
        </p:spPr>
        <p:txBody>
          <a:bodyPr wrap="square" lIns="72000" tIns="72000" rIns="72000" bIns="72000" anchor="b">
            <a:spAutoFit/>
          </a:bodyPr>
          <a:lstStyle/>
          <a:p>
            <a:pPr marL="0" marR="0" lvl="0" indent="0" algn="ctr" defTabSz="914400" rtl="0" eaLnBrk="0" fontAlgn="auto" latinLnBrk="0" hangingPunct="0">
              <a:lnSpc>
                <a:spcPct val="100000"/>
              </a:lnSpc>
              <a:spcBef>
                <a:spcPts val="0"/>
              </a:spcBef>
              <a:spcAft>
                <a:spcPts val="0"/>
              </a:spcAft>
              <a:buClr>
                <a:srgbClr val="FFFFFF"/>
              </a:buClr>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Insert text</a:t>
            </a:r>
          </a:p>
        </p:txBody>
      </p:sp>
      <p:sp>
        <p:nvSpPr>
          <p:cNvPr id="9" name="Oval 25">
            <a:extLst>
              <a:ext uri="{FF2B5EF4-FFF2-40B4-BE49-F238E27FC236}">
                <a16:creationId xmlns:a16="http://schemas.microsoft.com/office/drawing/2014/main" id="{0068E451-A30D-4411-89B4-E3B7D03CE507}"/>
              </a:ext>
            </a:extLst>
          </p:cNvPr>
          <p:cNvSpPr>
            <a:spLocks noChangeArrowheads="1"/>
          </p:cNvSpPr>
          <p:nvPr/>
        </p:nvSpPr>
        <p:spPr bwMode="auto">
          <a:xfrm>
            <a:off x="5039279" y="2794695"/>
            <a:ext cx="2112809" cy="2112808"/>
          </a:xfrm>
          <a:prstGeom prst="ellipse">
            <a:avLst/>
          </a:prstGeom>
          <a:solidFill>
            <a:schemeClr val="accent1"/>
          </a:solidFill>
          <a:ln w="1016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3" name="Rectangle 2">
            <a:hlinkClick r:id="rId3" action="ppaction://hlinksldjump"/>
            <a:extLst>
              <a:ext uri="{FF2B5EF4-FFF2-40B4-BE49-F238E27FC236}">
                <a16:creationId xmlns:a16="http://schemas.microsoft.com/office/drawing/2014/main" id="{7D1364B9-A2CF-4B0C-B060-DD41CDFB015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5738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6681B-BBCF-1749-8B13-00930939169F}"/>
              </a:ext>
            </a:extLst>
          </p:cNvPr>
          <p:cNvSpPr>
            <a:spLocks noGrp="1"/>
          </p:cNvSpPr>
          <p:nvPr>
            <p:ph type="title"/>
          </p:nvPr>
        </p:nvSpPr>
        <p:spPr/>
        <p:txBody>
          <a:bodyPr/>
          <a:lstStyle/>
          <a:p>
            <a:r>
              <a:rPr lang="en-US" dirty="0"/>
              <a:t>Slide Kit</a:t>
            </a:r>
          </a:p>
        </p:txBody>
      </p:sp>
    </p:spTree>
    <p:extLst>
      <p:ext uri="{BB962C8B-B14F-4D97-AF65-F5344CB8AC3E}">
        <p14:creationId xmlns:p14="http://schemas.microsoft.com/office/powerpoint/2010/main" val="42757428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8F2A5D-4569-134B-A990-A2EB7178840E}"/>
              </a:ext>
            </a:extLst>
          </p:cNvPr>
          <p:cNvSpPr>
            <a:spLocks noGrp="1"/>
          </p:cNvSpPr>
          <p:nvPr>
            <p:ph type="pic" sz="quarter" idx="13"/>
          </p:nvPr>
        </p:nvSpPr>
        <p:spPr/>
      </p:sp>
      <p:sp>
        <p:nvSpPr>
          <p:cNvPr id="3" name="Title 2">
            <a:extLst>
              <a:ext uri="{FF2B5EF4-FFF2-40B4-BE49-F238E27FC236}">
                <a16:creationId xmlns:a16="http://schemas.microsoft.com/office/drawing/2014/main" id="{3CF50455-35E6-034F-8F9D-D38D9FD72104}"/>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51A052A2-F29F-F448-810A-6FAE402F428D}"/>
              </a:ext>
            </a:extLst>
          </p:cNvPr>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40480894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ponents 2</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Freeform 16">
            <a:extLst>
              <a:ext uri="{FF2B5EF4-FFF2-40B4-BE49-F238E27FC236}">
                <a16:creationId xmlns:a16="http://schemas.microsoft.com/office/drawing/2014/main" id="{AB812A3C-25D8-4AEE-B237-1ACF10C18660}"/>
              </a:ext>
            </a:extLst>
          </p:cNvPr>
          <p:cNvSpPr>
            <a:spLocks/>
          </p:cNvSpPr>
          <p:nvPr/>
        </p:nvSpPr>
        <p:spPr bwMode="auto">
          <a:xfrm>
            <a:off x="381001" y="3612415"/>
            <a:ext cx="11429365" cy="1954614"/>
          </a:xfrm>
          <a:custGeom>
            <a:avLst/>
            <a:gdLst/>
            <a:ahLst/>
            <a:cxnLst>
              <a:cxn ang="0">
                <a:pos x="0" y="1030"/>
              </a:cxn>
              <a:cxn ang="0">
                <a:pos x="0" y="918"/>
              </a:cxn>
              <a:cxn ang="0">
                <a:pos x="2101" y="0"/>
              </a:cxn>
              <a:cxn ang="0">
                <a:pos x="4202" y="918"/>
              </a:cxn>
              <a:cxn ang="0">
                <a:pos x="4202" y="1030"/>
              </a:cxn>
              <a:cxn ang="0">
                <a:pos x="0" y="1030"/>
              </a:cxn>
            </a:cxnLst>
            <a:rect l="0" t="0" r="r" b="b"/>
            <a:pathLst>
              <a:path w="4203" h="1031">
                <a:moveTo>
                  <a:pt x="0" y="1030"/>
                </a:moveTo>
                <a:lnTo>
                  <a:pt x="0" y="918"/>
                </a:lnTo>
                <a:lnTo>
                  <a:pt x="2101" y="0"/>
                </a:lnTo>
                <a:lnTo>
                  <a:pt x="4202" y="918"/>
                </a:lnTo>
                <a:lnTo>
                  <a:pt x="4202" y="1030"/>
                </a:lnTo>
                <a:lnTo>
                  <a:pt x="0" y="1030"/>
                </a:lnTo>
              </a:path>
            </a:pathLst>
          </a:custGeom>
          <a:solidFill>
            <a:srgbClr val="96968C">
              <a:lumMod val="20000"/>
              <a:lumOff val="80000"/>
            </a:srgbClr>
          </a:solid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100"/>
              </a:spcBef>
              <a:spcAft>
                <a:spcPts val="10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 name="Freeform 17">
            <a:extLst>
              <a:ext uri="{FF2B5EF4-FFF2-40B4-BE49-F238E27FC236}">
                <a16:creationId xmlns:a16="http://schemas.microsoft.com/office/drawing/2014/main" id="{B66BB954-FA55-4E75-8A98-9D114FA4FC24}"/>
              </a:ext>
            </a:extLst>
          </p:cNvPr>
          <p:cNvSpPr>
            <a:spLocks/>
          </p:cNvSpPr>
          <p:nvPr/>
        </p:nvSpPr>
        <p:spPr bwMode="auto">
          <a:xfrm>
            <a:off x="381001" y="1798262"/>
            <a:ext cx="5663392" cy="3462711"/>
          </a:xfrm>
          <a:custGeom>
            <a:avLst/>
            <a:gdLst/>
            <a:ahLst/>
            <a:cxnLst>
              <a:cxn ang="0">
                <a:pos x="0" y="0"/>
              </a:cxn>
              <a:cxn ang="0">
                <a:pos x="2053" y="0"/>
              </a:cxn>
              <a:cxn ang="0">
                <a:pos x="2053" y="894"/>
              </a:cxn>
              <a:cxn ang="0">
                <a:pos x="0" y="1788"/>
              </a:cxn>
              <a:cxn ang="0">
                <a:pos x="0" y="0"/>
              </a:cxn>
            </a:cxnLst>
            <a:rect l="0" t="0" r="r" b="b"/>
            <a:pathLst>
              <a:path w="2054" h="1789">
                <a:moveTo>
                  <a:pt x="0" y="0"/>
                </a:moveTo>
                <a:lnTo>
                  <a:pt x="2053" y="0"/>
                </a:lnTo>
                <a:lnTo>
                  <a:pt x="2053" y="894"/>
                </a:lnTo>
                <a:lnTo>
                  <a:pt x="0" y="1788"/>
                </a:lnTo>
                <a:lnTo>
                  <a:pt x="0" y="0"/>
                </a:lnTo>
              </a:path>
            </a:pathLst>
          </a:cu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Freeform 18">
            <a:extLst>
              <a:ext uri="{FF2B5EF4-FFF2-40B4-BE49-F238E27FC236}">
                <a16:creationId xmlns:a16="http://schemas.microsoft.com/office/drawing/2014/main" id="{EFCA0593-D959-4BCF-9525-1B25A4B821EC}"/>
              </a:ext>
            </a:extLst>
          </p:cNvPr>
          <p:cNvSpPr>
            <a:spLocks/>
          </p:cNvSpPr>
          <p:nvPr/>
        </p:nvSpPr>
        <p:spPr bwMode="auto">
          <a:xfrm>
            <a:off x="6146974" y="1798262"/>
            <a:ext cx="5663392" cy="3462711"/>
          </a:xfrm>
          <a:custGeom>
            <a:avLst/>
            <a:gdLst/>
            <a:ahLst/>
            <a:cxnLst>
              <a:cxn ang="0">
                <a:pos x="0" y="0"/>
              </a:cxn>
              <a:cxn ang="0">
                <a:pos x="2061" y="0"/>
              </a:cxn>
              <a:cxn ang="0">
                <a:pos x="2061" y="1788"/>
              </a:cxn>
              <a:cxn ang="0">
                <a:pos x="0" y="894"/>
              </a:cxn>
              <a:cxn ang="0">
                <a:pos x="0" y="0"/>
              </a:cxn>
            </a:cxnLst>
            <a:rect l="0" t="0" r="r" b="b"/>
            <a:pathLst>
              <a:path w="2062" h="1789">
                <a:moveTo>
                  <a:pt x="0" y="0"/>
                </a:moveTo>
                <a:lnTo>
                  <a:pt x="2061" y="0"/>
                </a:lnTo>
                <a:lnTo>
                  <a:pt x="2061" y="1788"/>
                </a:lnTo>
                <a:lnTo>
                  <a:pt x="0" y="894"/>
                </a:lnTo>
                <a:lnTo>
                  <a:pt x="0" y="0"/>
                </a:lnTo>
              </a:path>
            </a:pathLst>
          </a:custGeom>
          <a:solidFill>
            <a:srgbClr val="96968C">
              <a:lumMod val="20000"/>
              <a:lumOff val="80000"/>
            </a:srgb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Rectangle 22">
            <a:extLst>
              <a:ext uri="{FF2B5EF4-FFF2-40B4-BE49-F238E27FC236}">
                <a16:creationId xmlns:a16="http://schemas.microsoft.com/office/drawing/2014/main" id="{07776AFB-76CE-451A-805B-05F509EC6B8E}"/>
              </a:ext>
            </a:extLst>
          </p:cNvPr>
          <p:cNvSpPr>
            <a:spLocks noChangeArrowheads="1"/>
          </p:cNvSpPr>
          <p:nvPr/>
        </p:nvSpPr>
        <p:spPr bwMode="auto">
          <a:xfrm>
            <a:off x="381000" y="5643992"/>
            <a:ext cx="11427791" cy="413907"/>
          </a:xfrm>
          <a:prstGeom prst="rect">
            <a:avLst/>
          </a:prstGeom>
          <a:solidFill>
            <a:schemeClr val="accent1"/>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 Text</a:t>
            </a:r>
          </a:p>
        </p:txBody>
      </p:sp>
      <p:sp>
        <p:nvSpPr>
          <p:cNvPr id="8" name="Rectangle 25">
            <a:extLst>
              <a:ext uri="{FF2B5EF4-FFF2-40B4-BE49-F238E27FC236}">
                <a16:creationId xmlns:a16="http://schemas.microsoft.com/office/drawing/2014/main" id="{E8906510-8C02-4F0A-9C7F-85A3AAAD0617}"/>
              </a:ext>
            </a:extLst>
          </p:cNvPr>
          <p:cNvSpPr>
            <a:spLocks noChangeArrowheads="1"/>
          </p:cNvSpPr>
          <p:nvPr/>
        </p:nvSpPr>
        <p:spPr bwMode="auto">
          <a:xfrm>
            <a:off x="1260500" y="5130342"/>
            <a:ext cx="9661815" cy="419006"/>
          </a:xfrm>
          <a:prstGeom prst="rect">
            <a:avLst/>
          </a:prstGeom>
          <a:noFill/>
          <a:ln w="9525">
            <a:noFill/>
            <a:miter lim="800000"/>
            <a:headEnd/>
            <a:tailEnd/>
          </a:ln>
          <a:effectLst/>
        </p:spPr>
        <p:txBody>
          <a:bodyPr wrap="square" lIns="72000" tIns="72000" rIns="72000" bIns="72000" anchor="b">
            <a:spAutoFit/>
          </a:bodyPr>
          <a:lstStyle/>
          <a:p>
            <a:pPr marL="0" marR="0" lvl="0" indent="0" algn="ctr" defTabSz="914400" rtl="0" eaLnBrk="0" fontAlgn="auto" latinLnBrk="0" hangingPunct="0">
              <a:lnSpc>
                <a:spcPct val="100000"/>
              </a:lnSpc>
              <a:spcBef>
                <a:spcPts val="0"/>
              </a:spcBef>
              <a:spcAft>
                <a:spcPts val="0"/>
              </a:spcAft>
              <a:buClr>
                <a:srgbClr val="FFFFFF"/>
              </a:buClr>
              <a:buSzTx/>
              <a:buFontTx/>
              <a:buNone/>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Insert text</a:t>
            </a:r>
          </a:p>
        </p:txBody>
      </p:sp>
      <p:sp>
        <p:nvSpPr>
          <p:cNvPr id="9" name="Oval 25">
            <a:extLst>
              <a:ext uri="{FF2B5EF4-FFF2-40B4-BE49-F238E27FC236}">
                <a16:creationId xmlns:a16="http://schemas.microsoft.com/office/drawing/2014/main" id="{E3C2C8C8-7B2A-4E15-A775-AD960D82AC62}"/>
              </a:ext>
            </a:extLst>
          </p:cNvPr>
          <p:cNvSpPr>
            <a:spLocks noChangeArrowheads="1"/>
          </p:cNvSpPr>
          <p:nvPr/>
        </p:nvSpPr>
        <p:spPr bwMode="auto">
          <a:xfrm>
            <a:off x="5039279" y="2794695"/>
            <a:ext cx="2112809" cy="2112808"/>
          </a:xfrm>
          <a:prstGeom prst="ellipse">
            <a:avLst/>
          </a:prstGeom>
          <a:solidFill>
            <a:schemeClr val="accent1"/>
          </a:solidFill>
          <a:ln w="101600">
            <a:solidFill>
              <a:srgbClr val="FFFFFF"/>
            </a:solidFill>
            <a:miter lim="800000"/>
            <a:headEnd/>
            <a:tailEnd/>
          </a:ln>
        </p:spPr>
        <p:txBody>
          <a:bodyPr lIns="180000" tIns="144000" rIns="180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3" name="Rectangle 2">
            <a:hlinkClick r:id="rId3" action="ppaction://hlinksldjump"/>
            <a:extLst>
              <a:ext uri="{FF2B5EF4-FFF2-40B4-BE49-F238E27FC236}">
                <a16:creationId xmlns:a16="http://schemas.microsoft.com/office/drawing/2014/main" id="{9B00EF5B-1E02-4204-9BEF-EB227A470DB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957134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ponents 3</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16">
            <a:extLst>
              <a:ext uri="{FF2B5EF4-FFF2-40B4-BE49-F238E27FC236}">
                <a16:creationId xmlns:a16="http://schemas.microsoft.com/office/drawing/2014/main" id="{4B96585B-A78D-45A7-A7CB-1E7D97D5BCDC}"/>
              </a:ext>
            </a:extLst>
          </p:cNvPr>
          <p:cNvSpPr>
            <a:spLocks noChangeArrowheads="1"/>
          </p:cNvSpPr>
          <p:nvPr/>
        </p:nvSpPr>
        <p:spPr bwMode="auto">
          <a:xfrm>
            <a:off x="5023161" y="4641730"/>
            <a:ext cx="3865252" cy="1416170"/>
          </a:xfrm>
          <a:prstGeom prst="rect">
            <a:avLst/>
          </a:prstGeom>
          <a:solidFill>
            <a:schemeClr val="accent1">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5" name="Rectangle 17">
            <a:extLst>
              <a:ext uri="{FF2B5EF4-FFF2-40B4-BE49-F238E27FC236}">
                <a16:creationId xmlns:a16="http://schemas.microsoft.com/office/drawing/2014/main" id="{CAD9A2E3-8E97-4B92-834B-45E99B9C6B7E}"/>
              </a:ext>
            </a:extLst>
          </p:cNvPr>
          <p:cNvSpPr>
            <a:spLocks noChangeArrowheads="1"/>
          </p:cNvSpPr>
          <p:nvPr/>
        </p:nvSpPr>
        <p:spPr bwMode="auto">
          <a:xfrm>
            <a:off x="3303588" y="1366838"/>
            <a:ext cx="3867146" cy="1416170"/>
          </a:xfrm>
          <a:prstGeom prst="rect">
            <a:avLst/>
          </a:prstGeom>
          <a:solidFill>
            <a:schemeClr val="accent1">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Rectangle 18">
            <a:extLst>
              <a:ext uri="{FF2B5EF4-FFF2-40B4-BE49-F238E27FC236}">
                <a16:creationId xmlns:a16="http://schemas.microsoft.com/office/drawing/2014/main" id="{986635F6-6634-468F-859F-14CDC57DAB8B}"/>
              </a:ext>
            </a:extLst>
          </p:cNvPr>
          <p:cNvSpPr>
            <a:spLocks noChangeArrowheads="1"/>
          </p:cNvSpPr>
          <p:nvPr/>
        </p:nvSpPr>
        <p:spPr bwMode="auto">
          <a:xfrm>
            <a:off x="7170734" y="1366838"/>
            <a:ext cx="1717679" cy="3274892"/>
          </a:xfrm>
          <a:prstGeom prst="rect">
            <a:avLst/>
          </a:prstGeom>
          <a:pattFill prst="dkUpDiag">
            <a:fgClr>
              <a:srgbClr val="96968C">
                <a:lumMod val="20000"/>
                <a:lumOff val="80000"/>
              </a:srgbClr>
            </a:fgClr>
            <a:bgClr>
              <a:srgbClr val="FFFFFF"/>
            </a:bgClr>
          </a:patt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Rectangle 19">
            <a:extLst>
              <a:ext uri="{FF2B5EF4-FFF2-40B4-BE49-F238E27FC236}">
                <a16:creationId xmlns:a16="http://schemas.microsoft.com/office/drawing/2014/main" id="{E0F71E76-51B2-4407-AD0A-E6466F05A1F3}"/>
              </a:ext>
            </a:extLst>
          </p:cNvPr>
          <p:cNvSpPr>
            <a:spLocks noChangeArrowheads="1"/>
          </p:cNvSpPr>
          <p:nvPr/>
        </p:nvSpPr>
        <p:spPr bwMode="auto">
          <a:xfrm>
            <a:off x="3303588" y="2783008"/>
            <a:ext cx="1719573" cy="3274892"/>
          </a:xfrm>
          <a:prstGeom prst="rect">
            <a:avLst/>
          </a:prstGeom>
          <a:pattFill prst="dkUpDiag">
            <a:fgClr>
              <a:srgbClr val="96968C">
                <a:lumMod val="20000"/>
                <a:lumOff val="80000"/>
              </a:srgbClr>
            </a:fgClr>
            <a:bgClr>
              <a:srgbClr val="FFFFFF"/>
            </a:bgClr>
          </a:patt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Rectangle 20">
            <a:extLst>
              <a:ext uri="{FF2B5EF4-FFF2-40B4-BE49-F238E27FC236}">
                <a16:creationId xmlns:a16="http://schemas.microsoft.com/office/drawing/2014/main" id="{898BFE74-66DB-4844-8F2C-54B89564A9B9}"/>
              </a:ext>
            </a:extLst>
          </p:cNvPr>
          <p:cNvSpPr>
            <a:spLocks noChangeArrowheads="1"/>
          </p:cNvSpPr>
          <p:nvPr/>
        </p:nvSpPr>
        <p:spPr bwMode="auto">
          <a:xfrm>
            <a:off x="5023161" y="2783008"/>
            <a:ext cx="2147573" cy="1858723"/>
          </a:xfrm>
          <a:prstGeom prst="rect">
            <a:avLst/>
          </a:prstGeom>
          <a:solidFill>
            <a:schemeClr val="accent2"/>
          </a:solidFill>
          <a:ln w="6350">
            <a:noFill/>
            <a:miter lim="800000"/>
            <a:headEnd/>
            <a:tailEnd/>
          </a:ln>
          <a:effectLst/>
        </p:spPr>
        <p:txBody>
          <a:bodyPr wrap="none" lIns="72000" tIns="72000" rIns="72000" bIns="72000" anchor="ctr" anchorCtr="0"/>
          <a:lstStyle/>
          <a:p>
            <a:pPr marL="0" marR="0" lvl="0" indent="-17780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3" name="Rectangle 2">
            <a:hlinkClick r:id="rId3" action="ppaction://hlinksldjump"/>
            <a:extLst>
              <a:ext uri="{FF2B5EF4-FFF2-40B4-BE49-F238E27FC236}">
                <a16:creationId xmlns:a16="http://schemas.microsoft.com/office/drawing/2014/main" id="{B1AE60A7-8A2B-410A-B307-30706257837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2380953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mponents 4</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16">
            <a:extLst>
              <a:ext uri="{FF2B5EF4-FFF2-40B4-BE49-F238E27FC236}">
                <a16:creationId xmlns:a16="http://schemas.microsoft.com/office/drawing/2014/main" id="{8ECDC740-A08A-4527-A644-85389CE96388}"/>
              </a:ext>
            </a:extLst>
          </p:cNvPr>
          <p:cNvSpPr>
            <a:spLocks noChangeArrowheads="1"/>
          </p:cNvSpPr>
          <p:nvPr/>
        </p:nvSpPr>
        <p:spPr bwMode="auto">
          <a:xfrm>
            <a:off x="5184660" y="4641730"/>
            <a:ext cx="3838239" cy="1416170"/>
          </a:xfrm>
          <a:prstGeom prst="rect">
            <a:avLst/>
          </a:prstGeom>
          <a:solidFill>
            <a:schemeClr val="accent2">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5" name="Rectangle 17">
            <a:extLst>
              <a:ext uri="{FF2B5EF4-FFF2-40B4-BE49-F238E27FC236}">
                <a16:creationId xmlns:a16="http://schemas.microsoft.com/office/drawing/2014/main" id="{A1847E77-7CFE-4824-BBEE-52AD02B18DFF}"/>
              </a:ext>
            </a:extLst>
          </p:cNvPr>
          <p:cNvSpPr>
            <a:spLocks noChangeArrowheads="1"/>
          </p:cNvSpPr>
          <p:nvPr/>
        </p:nvSpPr>
        <p:spPr bwMode="auto">
          <a:xfrm>
            <a:off x="3303588" y="1237526"/>
            <a:ext cx="3867146" cy="1416170"/>
          </a:xfrm>
          <a:prstGeom prst="rect">
            <a:avLst/>
          </a:prstGeom>
          <a:solidFill>
            <a:schemeClr val="accent2">
              <a:lumMod val="20000"/>
              <a:lumOff val="80000"/>
            </a:schemeClr>
          </a:solid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Rectangle 18">
            <a:extLst>
              <a:ext uri="{FF2B5EF4-FFF2-40B4-BE49-F238E27FC236}">
                <a16:creationId xmlns:a16="http://schemas.microsoft.com/office/drawing/2014/main" id="{F777C3FC-8112-4289-B90F-B18888344335}"/>
              </a:ext>
            </a:extLst>
          </p:cNvPr>
          <p:cNvSpPr>
            <a:spLocks noChangeArrowheads="1"/>
          </p:cNvSpPr>
          <p:nvPr/>
        </p:nvSpPr>
        <p:spPr bwMode="auto">
          <a:xfrm>
            <a:off x="7305220" y="1237526"/>
            <a:ext cx="1717679" cy="3274892"/>
          </a:xfrm>
          <a:prstGeom prst="rect">
            <a:avLst/>
          </a:prstGeom>
          <a:pattFill prst="dkUpDiag">
            <a:fgClr>
              <a:srgbClr val="96968C">
                <a:lumMod val="20000"/>
                <a:lumOff val="80000"/>
              </a:srgbClr>
            </a:fgClr>
            <a:bgClr>
              <a:srgbClr val="FFFFFF"/>
            </a:bgClr>
          </a:patt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Rectangle 19">
            <a:extLst>
              <a:ext uri="{FF2B5EF4-FFF2-40B4-BE49-F238E27FC236}">
                <a16:creationId xmlns:a16="http://schemas.microsoft.com/office/drawing/2014/main" id="{0A07E517-D423-49EE-85D9-67B313FEFBAC}"/>
              </a:ext>
            </a:extLst>
          </p:cNvPr>
          <p:cNvSpPr>
            <a:spLocks noChangeArrowheads="1"/>
          </p:cNvSpPr>
          <p:nvPr/>
        </p:nvSpPr>
        <p:spPr bwMode="auto">
          <a:xfrm>
            <a:off x="3330295" y="2783008"/>
            <a:ext cx="1719573" cy="3274892"/>
          </a:xfrm>
          <a:prstGeom prst="rect">
            <a:avLst/>
          </a:prstGeom>
          <a:pattFill prst="dkUpDiag">
            <a:fgClr>
              <a:srgbClr val="96968C">
                <a:lumMod val="20000"/>
                <a:lumOff val="80000"/>
              </a:srgbClr>
            </a:fgClr>
            <a:bgClr>
              <a:srgbClr val="FFFFFF"/>
            </a:bgClr>
          </a:pattFill>
          <a:ln w="6350">
            <a:no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Rectangle 20">
            <a:extLst>
              <a:ext uri="{FF2B5EF4-FFF2-40B4-BE49-F238E27FC236}">
                <a16:creationId xmlns:a16="http://schemas.microsoft.com/office/drawing/2014/main" id="{B81A1EE8-8BF7-4894-AB55-861257F884D9}"/>
              </a:ext>
            </a:extLst>
          </p:cNvPr>
          <p:cNvSpPr>
            <a:spLocks noChangeArrowheads="1"/>
          </p:cNvSpPr>
          <p:nvPr/>
        </p:nvSpPr>
        <p:spPr bwMode="auto">
          <a:xfrm>
            <a:off x="5184353" y="2783009"/>
            <a:ext cx="1986075" cy="1726670"/>
          </a:xfrm>
          <a:prstGeom prst="rect">
            <a:avLst/>
          </a:prstGeom>
          <a:solidFill>
            <a:schemeClr val="accent2"/>
          </a:solidFill>
          <a:ln w="6350">
            <a:noFill/>
            <a:miter lim="800000"/>
            <a:headEnd/>
            <a:tailEnd/>
          </a:ln>
          <a:effectLst/>
        </p:spPr>
        <p:txBody>
          <a:bodyPr wrap="none" lIns="72000" tIns="72000" rIns="72000" bIns="72000" anchor="ctr" anchorCtr="0"/>
          <a:lstStyle/>
          <a:p>
            <a:pPr marL="0" marR="0" lvl="0" indent="-177800" algn="ctr" defTabSz="914400" rtl="0" eaLnBrk="0" fontAlgn="auto" latinLnBrk="0" hangingPunct="0">
              <a:lnSpc>
                <a:spcPct val="85000"/>
              </a:lnSpc>
              <a:spcBef>
                <a:spcPts val="100"/>
              </a:spcBef>
              <a:spcAft>
                <a:spcPts val="3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3" name="Rectangle 2">
            <a:hlinkClick r:id="rId3" action="ppaction://hlinksldjump"/>
            <a:extLst>
              <a:ext uri="{FF2B5EF4-FFF2-40B4-BE49-F238E27FC236}">
                <a16:creationId xmlns:a16="http://schemas.microsoft.com/office/drawing/2014/main" id="{8A3AB53E-C4E0-4E87-AC5C-02D26750F63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4435696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ube 2x2x2</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10">
            <a:extLst>
              <a:ext uri="{FF2B5EF4-FFF2-40B4-BE49-F238E27FC236}">
                <a16:creationId xmlns:a16="http://schemas.microsoft.com/office/drawing/2014/main" id="{7FC0A935-FD22-4338-B01F-0E9EEFD35430}"/>
              </a:ext>
            </a:extLst>
          </p:cNvPr>
          <p:cNvSpPr>
            <a:spLocks noChangeArrowheads="1"/>
          </p:cNvSpPr>
          <p:nvPr/>
        </p:nvSpPr>
        <p:spPr bwMode="auto">
          <a:xfrm>
            <a:off x="2004936" y="3260750"/>
            <a:ext cx="1584325" cy="391628"/>
          </a:xfrm>
          <a:prstGeom prst="rect">
            <a:avLst/>
          </a:prstGeom>
          <a:noFill/>
          <a:ln w="6350">
            <a:noFill/>
            <a:miter lim="800000"/>
            <a:headEnd/>
            <a:tailEnd/>
          </a:ln>
          <a:effectLst/>
        </p:spPr>
        <p:txBody>
          <a:bodyPr lIns="72000" tIns="72000" rIns="72000" bIns="72000">
            <a:spAutoFit/>
          </a:bodyPr>
          <a:lstStyle/>
          <a:p>
            <a:pPr marL="0" marR="0" lvl="0" indent="0" algn="r"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 </a:t>
            </a:r>
          </a:p>
        </p:txBody>
      </p:sp>
      <p:sp>
        <p:nvSpPr>
          <p:cNvPr id="5" name="Rectangle 11">
            <a:extLst>
              <a:ext uri="{FF2B5EF4-FFF2-40B4-BE49-F238E27FC236}">
                <a16:creationId xmlns:a16="http://schemas.microsoft.com/office/drawing/2014/main" id="{E9F449A1-138B-4526-A211-1222184325BE}"/>
              </a:ext>
            </a:extLst>
          </p:cNvPr>
          <p:cNvSpPr>
            <a:spLocks noChangeArrowheads="1"/>
          </p:cNvSpPr>
          <p:nvPr/>
        </p:nvSpPr>
        <p:spPr bwMode="auto">
          <a:xfrm>
            <a:off x="2006522" y="4822850"/>
            <a:ext cx="1574800" cy="391628"/>
          </a:xfrm>
          <a:prstGeom prst="rect">
            <a:avLst/>
          </a:prstGeom>
          <a:noFill/>
          <a:ln w="6350">
            <a:noFill/>
            <a:miter lim="800000"/>
            <a:headEnd/>
            <a:tailEnd/>
          </a:ln>
          <a:effectLst/>
        </p:spPr>
        <p:txBody>
          <a:bodyPr lIns="72000" tIns="72000" rIns="72000" bIns="72000">
            <a:spAutoFit/>
          </a:bodyPr>
          <a:lstStyle/>
          <a:p>
            <a:pPr marL="0" marR="0" lvl="0" indent="0" algn="r"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Rectangle 12">
            <a:extLst>
              <a:ext uri="{FF2B5EF4-FFF2-40B4-BE49-F238E27FC236}">
                <a16:creationId xmlns:a16="http://schemas.microsoft.com/office/drawing/2014/main" id="{0B1C7E3B-C9F5-4DAB-9CF6-A51D1EBF582B}"/>
              </a:ext>
            </a:extLst>
          </p:cNvPr>
          <p:cNvSpPr>
            <a:spLocks noChangeArrowheads="1"/>
          </p:cNvSpPr>
          <p:nvPr/>
        </p:nvSpPr>
        <p:spPr bwMode="auto">
          <a:xfrm>
            <a:off x="3683000" y="5797575"/>
            <a:ext cx="1741488" cy="391628"/>
          </a:xfrm>
          <a:prstGeom prst="rect">
            <a:avLst/>
          </a:prstGeom>
          <a:noFill/>
          <a:ln w="6350">
            <a:noFill/>
            <a:miter lim="800000"/>
            <a:headEnd/>
            <a:tailEnd/>
          </a:ln>
          <a:effectLst/>
        </p:spPr>
        <p:txBody>
          <a:bodyPr lIns="144000" tIns="72000" rIns="72000" bIns="72000">
            <a:spAutoFit/>
          </a:bodyPr>
          <a:lstStyle/>
          <a:p>
            <a:pPr marL="0" marR="0" lvl="0" indent="0" algn="l"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Rectangle 13">
            <a:extLst>
              <a:ext uri="{FF2B5EF4-FFF2-40B4-BE49-F238E27FC236}">
                <a16:creationId xmlns:a16="http://schemas.microsoft.com/office/drawing/2014/main" id="{37A853A0-16BE-499A-8C24-86530138D572}"/>
              </a:ext>
            </a:extLst>
          </p:cNvPr>
          <p:cNvSpPr>
            <a:spLocks noChangeArrowheads="1"/>
          </p:cNvSpPr>
          <p:nvPr/>
        </p:nvSpPr>
        <p:spPr bwMode="auto">
          <a:xfrm>
            <a:off x="3683000" y="2649563"/>
            <a:ext cx="1741488" cy="1579563"/>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Rectangle 14">
            <a:extLst>
              <a:ext uri="{FF2B5EF4-FFF2-40B4-BE49-F238E27FC236}">
                <a16:creationId xmlns:a16="http://schemas.microsoft.com/office/drawing/2014/main" id="{22A1BD04-5A5E-415A-A8E7-4C17007408AE}"/>
              </a:ext>
            </a:extLst>
          </p:cNvPr>
          <p:cNvSpPr>
            <a:spLocks noChangeArrowheads="1"/>
          </p:cNvSpPr>
          <p:nvPr/>
        </p:nvSpPr>
        <p:spPr bwMode="auto">
          <a:xfrm>
            <a:off x="5426076" y="2649563"/>
            <a:ext cx="1774825" cy="1579563"/>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9" name="Rectangle 15">
            <a:extLst>
              <a:ext uri="{FF2B5EF4-FFF2-40B4-BE49-F238E27FC236}">
                <a16:creationId xmlns:a16="http://schemas.microsoft.com/office/drawing/2014/main" id="{C92A60CF-DB7B-4BB9-9367-AA4F5532ED79}"/>
              </a:ext>
            </a:extLst>
          </p:cNvPr>
          <p:cNvSpPr>
            <a:spLocks noChangeArrowheads="1"/>
          </p:cNvSpPr>
          <p:nvPr/>
        </p:nvSpPr>
        <p:spPr bwMode="auto">
          <a:xfrm>
            <a:off x="3683000" y="4219600"/>
            <a:ext cx="1741488" cy="157480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0" name="Rectangle 16">
            <a:extLst>
              <a:ext uri="{FF2B5EF4-FFF2-40B4-BE49-F238E27FC236}">
                <a16:creationId xmlns:a16="http://schemas.microsoft.com/office/drawing/2014/main" id="{3E08B8A6-51EE-4170-B68B-3DC76D2828C1}"/>
              </a:ext>
            </a:extLst>
          </p:cNvPr>
          <p:cNvSpPr>
            <a:spLocks noChangeArrowheads="1"/>
          </p:cNvSpPr>
          <p:nvPr/>
        </p:nvSpPr>
        <p:spPr bwMode="auto">
          <a:xfrm>
            <a:off x="5426076" y="4219600"/>
            <a:ext cx="1774825" cy="157480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1" name="Rectangle 17">
            <a:extLst>
              <a:ext uri="{FF2B5EF4-FFF2-40B4-BE49-F238E27FC236}">
                <a16:creationId xmlns:a16="http://schemas.microsoft.com/office/drawing/2014/main" id="{8FFCB17D-74E8-4E3D-B73A-CAEF5D0CDC14}"/>
              </a:ext>
            </a:extLst>
          </p:cNvPr>
          <p:cNvSpPr>
            <a:spLocks noChangeArrowheads="1"/>
          </p:cNvSpPr>
          <p:nvPr/>
        </p:nvSpPr>
        <p:spPr bwMode="auto">
          <a:xfrm rot="18960000">
            <a:off x="7264399" y="5489750"/>
            <a:ext cx="869950" cy="391628"/>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2" name="Rectangle 18">
            <a:extLst>
              <a:ext uri="{FF2B5EF4-FFF2-40B4-BE49-F238E27FC236}">
                <a16:creationId xmlns:a16="http://schemas.microsoft.com/office/drawing/2014/main" id="{7F95927B-2BCC-4962-9ADB-6AE5B99CFD02}"/>
              </a:ext>
            </a:extLst>
          </p:cNvPr>
          <p:cNvSpPr>
            <a:spLocks noChangeArrowheads="1"/>
          </p:cNvSpPr>
          <p:nvPr/>
        </p:nvSpPr>
        <p:spPr bwMode="auto">
          <a:xfrm rot="18900000">
            <a:off x="7900987" y="4902375"/>
            <a:ext cx="869950" cy="391628"/>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AutoShape 19">
            <a:extLst>
              <a:ext uri="{FF2B5EF4-FFF2-40B4-BE49-F238E27FC236}">
                <a16:creationId xmlns:a16="http://schemas.microsoft.com/office/drawing/2014/main" id="{C3D04F03-5264-4C68-9218-292A56F18F57}"/>
              </a:ext>
            </a:extLst>
          </p:cNvPr>
          <p:cNvSpPr>
            <a:spLocks noChangeArrowheads="1"/>
          </p:cNvSpPr>
          <p:nvPr/>
        </p:nvSpPr>
        <p:spPr bwMode="auto">
          <a:xfrm>
            <a:off x="3683001" y="2139976"/>
            <a:ext cx="2328863" cy="509587"/>
          </a:xfrm>
          <a:prstGeom prst="parallelogram">
            <a:avLst>
              <a:gd name="adj" fmla="val 110444"/>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4" name="AutoShape 20">
            <a:extLst>
              <a:ext uri="{FF2B5EF4-FFF2-40B4-BE49-F238E27FC236}">
                <a16:creationId xmlns:a16="http://schemas.microsoft.com/office/drawing/2014/main" id="{6EFCB935-D58F-4644-8101-DDBAE00FB042}"/>
              </a:ext>
            </a:extLst>
          </p:cNvPr>
          <p:cNvSpPr>
            <a:spLocks noChangeArrowheads="1"/>
          </p:cNvSpPr>
          <p:nvPr/>
        </p:nvSpPr>
        <p:spPr bwMode="auto">
          <a:xfrm>
            <a:off x="5446714" y="2139976"/>
            <a:ext cx="2327275" cy="509587"/>
          </a:xfrm>
          <a:prstGeom prst="parallelogram">
            <a:avLst>
              <a:gd name="adj" fmla="val 110369"/>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 name="AutoShape 21">
            <a:extLst>
              <a:ext uri="{FF2B5EF4-FFF2-40B4-BE49-F238E27FC236}">
                <a16:creationId xmlns:a16="http://schemas.microsoft.com/office/drawing/2014/main" id="{4090DCEC-45F4-4E37-8C9D-CFC09450F7E9}"/>
              </a:ext>
            </a:extLst>
          </p:cNvPr>
          <p:cNvSpPr>
            <a:spLocks noChangeArrowheads="1"/>
          </p:cNvSpPr>
          <p:nvPr/>
        </p:nvSpPr>
        <p:spPr bwMode="auto">
          <a:xfrm>
            <a:off x="4244976" y="1628801"/>
            <a:ext cx="2327275" cy="511175"/>
          </a:xfrm>
          <a:prstGeom prst="parallelogram">
            <a:avLst>
              <a:gd name="adj" fmla="val 110026"/>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6" name="AutoShape 22">
            <a:extLst>
              <a:ext uri="{FF2B5EF4-FFF2-40B4-BE49-F238E27FC236}">
                <a16:creationId xmlns:a16="http://schemas.microsoft.com/office/drawing/2014/main" id="{99F42010-A1D5-4E1C-BD76-428E101578A5}"/>
              </a:ext>
            </a:extLst>
          </p:cNvPr>
          <p:cNvSpPr>
            <a:spLocks noChangeArrowheads="1"/>
          </p:cNvSpPr>
          <p:nvPr/>
        </p:nvSpPr>
        <p:spPr bwMode="auto">
          <a:xfrm>
            <a:off x="6007101" y="1628801"/>
            <a:ext cx="2328863" cy="511175"/>
          </a:xfrm>
          <a:prstGeom prst="parallelogram">
            <a:avLst>
              <a:gd name="adj" fmla="val 11010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7" name="AutoShape 23">
            <a:extLst>
              <a:ext uri="{FF2B5EF4-FFF2-40B4-BE49-F238E27FC236}">
                <a16:creationId xmlns:a16="http://schemas.microsoft.com/office/drawing/2014/main" id="{755D12B3-4FE0-4C59-8F9A-3C5B74B343A4}"/>
              </a:ext>
            </a:extLst>
          </p:cNvPr>
          <p:cNvSpPr>
            <a:spLocks noChangeArrowheads="1"/>
          </p:cNvSpPr>
          <p:nvPr/>
        </p:nvSpPr>
        <p:spPr bwMode="auto">
          <a:xfrm rot="5400000" flipH="1">
            <a:off x="6442869" y="2898006"/>
            <a:ext cx="2089150" cy="573088"/>
          </a:xfrm>
          <a:prstGeom prst="parallelogram">
            <a:avLst>
              <a:gd name="adj" fmla="val 91136"/>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8" name="AutoShape 24">
            <a:extLst>
              <a:ext uri="{FF2B5EF4-FFF2-40B4-BE49-F238E27FC236}">
                <a16:creationId xmlns:a16="http://schemas.microsoft.com/office/drawing/2014/main" id="{846524CB-2674-43AD-B12F-242BEC5DF227}"/>
              </a:ext>
            </a:extLst>
          </p:cNvPr>
          <p:cNvSpPr>
            <a:spLocks noChangeArrowheads="1"/>
          </p:cNvSpPr>
          <p:nvPr/>
        </p:nvSpPr>
        <p:spPr bwMode="auto">
          <a:xfrm rot="5400000" flipH="1">
            <a:off x="7004051" y="2387625"/>
            <a:ext cx="2090737" cy="573088"/>
          </a:xfrm>
          <a:prstGeom prst="parallelogram">
            <a:avLst>
              <a:gd name="adj" fmla="val 91205"/>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9" name="AutoShape 25">
            <a:extLst>
              <a:ext uri="{FF2B5EF4-FFF2-40B4-BE49-F238E27FC236}">
                <a16:creationId xmlns:a16="http://schemas.microsoft.com/office/drawing/2014/main" id="{895579E4-E369-4C93-9FFC-05CD74B89992}"/>
              </a:ext>
            </a:extLst>
          </p:cNvPr>
          <p:cNvSpPr>
            <a:spLocks noChangeArrowheads="1"/>
          </p:cNvSpPr>
          <p:nvPr/>
        </p:nvSpPr>
        <p:spPr bwMode="auto">
          <a:xfrm rot="5400000" flipH="1">
            <a:off x="6442075" y="4465662"/>
            <a:ext cx="2090738" cy="573088"/>
          </a:xfrm>
          <a:prstGeom prst="parallelogram">
            <a:avLst>
              <a:gd name="adj" fmla="val 91205"/>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0" name="AutoShape 26">
            <a:extLst>
              <a:ext uri="{FF2B5EF4-FFF2-40B4-BE49-F238E27FC236}">
                <a16:creationId xmlns:a16="http://schemas.microsoft.com/office/drawing/2014/main" id="{213D9C47-FF9F-43DE-8BB0-C6512B129BF7}"/>
              </a:ext>
            </a:extLst>
          </p:cNvPr>
          <p:cNvSpPr>
            <a:spLocks noChangeArrowheads="1"/>
          </p:cNvSpPr>
          <p:nvPr/>
        </p:nvSpPr>
        <p:spPr bwMode="auto">
          <a:xfrm rot="5400000" flipH="1">
            <a:off x="7004844" y="3955281"/>
            <a:ext cx="2089150" cy="573088"/>
          </a:xfrm>
          <a:prstGeom prst="parallelogram">
            <a:avLst>
              <a:gd name="adj" fmla="val 91136"/>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2" name="Rectangle 27">
            <a:extLst>
              <a:ext uri="{FF2B5EF4-FFF2-40B4-BE49-F238E27FC236}">
                <a16:creationId xmlns:a16="http://schemas.microsoft.com/office/drawing/2014/main" id="{D794550F-BA12-4ACB-AC38-CA8707B70AAE}"/>
              </a:ext>
            </a:extLst>
          </p:cNvPr>
          <p:cNvSpPr>
            <a:spLocks noChangeArrowheads="1"/>
          </p:cNvSpPr>
          <p:nvPr/>
        </p:nvSpPr>
        <p:spPr bwMode="auto">
          <a:xfrm>
            <a:off x="5424488" y="5797575"/>
            <a:ext cx="1776412" cy="391628"/>
          </a:xfrm>
          <a:prstGeom prst="rect">
            <a:avLst/>
          </a:prstGeom>
          <a:noFill/>
          <a:ln w="6350">
            <a:noFill/>
            <a:miter lim="800000"/>
            <a:headEnd/>
            <a:tailEnd/>
          </a:ln>
          <a:effectLst/>
        </p:spPr>
        <p:txBody>
          <a:bodyPr lIns="144000" tIns="72000" rIns="72000" bIns="72000">
            <a:spAutoFit/>
          </a:bodyPr>
          <a:lstStyle/>
          <a:p>
            <a:pPr marL="0" marR="0" lvl="0" indent="0" algn="l" defTabSz="885825" rtl="0" eaLnBrk="0" fontAlgn="auto" latinLnBrk="0" hangingPunct="0">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B831FE75-34C4-40A0-AE31-16868B6C05F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881518475"/>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ube 2x2x4</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24">
            <a:extLst>
              <a:ext uri="{FF2B5EF4-FFF2-40B4-BE49-F238E27FC236}">
                <a16:creationId xmlns:a16="http://schemas.microsoft.com/office/drawing/2014/main" id="{46CD0D9E-17B4-4470-986F-E244CB81962E}"/>
              </a:ext>
            </a:extLst>
          </p:cNvPr>
          <p:cNvSpPr>
            <a:spLocks noChangeArrowheads="1"/>
          </p:cNvSpPr>
          <p:nvPr/>
        </p:nvSpPr>
        <p:spPr bwMode="auto">
          <a:xfrm>
            <a:off x="5097313" y="5210278"/>
            <a:ext cx="1552499" cy="360850"/>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5" name="Rectangle 25">
            <a:extLst>
              <a:ext uri="{FF2B5EF4-FFF2-40B4-BE49-F238E27FC236}">
                <a16:creationId xmlns:a16="http://schemas.microsoft.com/office/drawing/2014/main" id="{9ACB9A2E-4DC4-4CB2-B636-B3BF9C2ABC9A}"/>
              </a:ext>
            </a:extLst>
          </p:cNvPr>
          <p:cNvSpPr>
            <a:spLocks noChangeArrowheads="1"/>
          </p:cNvSpPr>
          <p:nvPr/>
        </p:nvSpPr>
        <p:spPr bwMode="auto">
          <a:xfrm>
            <a:off x="6649812" y="5210278"/>
            <a:ext cx="1554031" cy="360850"/>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p:txBody>
      </p:sp>
      <p:sp>
        <p:nvSpPr>
          <p:cNvPr id="6" name="Rectangle 26">
            <a:extLst>
              <a:ext uri="{FF2B5EF4-FFF2-40B4-BE49-F238E27FC236}">
                <a16:creationId xmlns:a16="http://schemas.microsoft.com/office/drawing/2014/main" id="{7762D239-E741-4F42-A4B2-767990A42DED}"/>
              </a:ext>
            </a:extLst>
          </p:cNvPr>
          <p:cNvSpPr>
            <a:spLocks noChangeArrowheads="1"/>
          </p:cNvSpPr>
          <p:nvPr/>
        </p:nvSpPr>
        <p:spPr bwMode="auto">
          <a:xfrm>
            <a:off x="3544813" y="2899901"/>
            <a:ext cx="1552499" cy="1159016"/>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Rectangle 27">
            <a:extLst>
              <a:ext uri="{FF2B5EF4-FFF2-40B4-BE49-F238E27FC236}">
                <a16:creationId xmlns:a16="http://schemas.microsoft.com/office/drawing/2014/main" id="{EDC25ECB-B62E-4569-8219-1567111F7959}"/>
              </a:ext>
            </a:extLst>
          </p:cNvPr>
          <p:cNvSpPr>
            <a:spLocks noChangeArrowheads="1"/>
          </p:cNvSpPr>
          <p:nvPr/>
        </p:nvSpPr>
        <p:spPr bwMode="auto">
          <a:xfrm>
            <a:off x="3544813" y="4058917"/>
            <a:ext cx="1552499" cy="115136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AutoShape 28">
            <a:extLst>
              <a:ext uri="{FF2B5EF4-FFF2-40B4-BE49-F238E27FC236}">
                <a16:creationId xmlns:a16="http://schemas.microsoft.com/office/drawing/2014/main" id="{46A7A022-BC8A-46EC-9C6D-AC0B4F007A48}"/>
              </a:ext>
            </a:extLst>
          </p:cNvPr>
          <p:cNvSpPr>
            <a:spLocks noChangeArrowheads="1"/>
          </p:cNvSpPr>
          <p:nvPr/>
        </p:nvSpPr>
        <p:spPr bwMode="auto">
          <a:xfrm>
            <a:off x="1992314" y="2266042"/>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 name="Rectangle 29">
            <a:extLst>
              <a:ext uri="{FF2B5EF4-FFF2-40B4-BE49-F238E27FC236}">
                <a16:creationId xmlns:a16="http://schemas.microsoft.com/office/drawing/2014/main" id="{5DA6CFAD-3A8F-48DD-B861-A87683184E50}"/>
              </a:ext>
            </a:extLst>
          </p:cNvPr>
          <p:cNvSpPr>
            <a:spLocks noChangeArrowheads="1"/>
          </p:cNvSpPr>
          <p:nvPr/>
        </p:nvSpPr>
        <p:spPr bwMode="auto">
          <a:xfrm>
            <a:off x="5097313" y="2899901"/>
            <a:ext cx="1552499" cy="1159016"/>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0" name="Rectangle 30">
            <a:extLst>
              <a:ext uri="{FF2B5EF4-FFF2-40B4-BE49-F238E27FC236}">
                <a16:creationId xmlns:a16="http://schemas.microsoft.com/office/drawing/2014/main" id="{7F1B35E3-B5CD-4157-97F7-95A248944CC9}"/>
              </a:ext>
            </a:extLst>
          </p:cNvPr>
          <p:cNvSpPr>
            <a:spLocks noChangeArrowheads="1"/>
          </p:cNvSpPr>
          <p:nvPr/>
        </p:nvSpPr>
        <p:spPr bwMode="auto">
          <a:xfrm>
            <a:off x="5097313" y="4058917"/>
            <a:ext cx="1552499" cy="115136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1" name="Rectangle 31">
            <a:extLst>
              <a:ext uri="{FF2B5EF4-FFF2-40B4-BE49-F238E27FC236}">
                <a16:creationId xmlns:a16="http://schemas.microsoft.com/office/drawing/2014/main" id="{1FA002AE-817C-4B7D-8DBA-0B4C1E19F4EC}"/>
              </a:ext>
            </a:extLst>
          </p:cNvPr>
          <p:cNvSpPr>
            <a:spLocks noChangeArrowheads="1"/>
          </p:cNvSpPr>
          <p:nvPr/>
        </p:nvSpPr>
        <p:spPr bwMode="auto">
          <a:xfrm>
            <a:off x="6649812" y="2899901"/>
            <a:ext cx="1554031" cy="1159016"/>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2" name="Rectangle 32">
            <a:extLst>
              <a:ext uri="{FF2B5EF4-FFF2-40B4-BE49-F238E27FC236}">
                <a16:creationId xmlns:a16="http://schemas.microsoft.com/office/drawing/2014/main" id="{A9113C73-CDA1-40B4-BE4D-6776FA6B8DE0}"/>
              </a:ext>
            </a:extLst>
          </p:cNvPr>
          <p:cNvSpPr>
            <a:spLocks noChangeArrowheads="1"/>
          </p:cNvSpPr>
          <p:nvPr/>
        </p:nvSpPr>
        <p:spPr bwMode="auto">
          <a:xfrm>
            <a:off x="6649812" y="4058917"/>
            <a:ext cx="1554031" cy="115136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Rectangle 33">
            <a:extLst>
              <a:ext uri="{FF2B5EF4-FFF2-40B4-BE49-F238E27FC236}">
                <a16:creationId xmlns:a16="http://schemas.microsoft.com/office/drawing/2014/main" id="{02F3BC5D-4F5A-42C9-B077-69CAA1B67DC0}"/>
              </a:ext>
            </a:extLst>
          </p:cNvPr>
          <p:cNvSpPr>
            <a:spLocks noChangeArrowheads="1"/>
          </p:cNvSpPr>
          <p:nvPr/>
        </p:nvSpPr>
        <p:spPr bwMode="auto">
          <a:xfrm>
            <a:off x="1992314" y="2899901"/>
            <a:ext cx="1552499" cy="1159016"/>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Rectangle 34">
            <a:extLst>
              <a:ext uri="{FF2B5EF4-FFF2-40B4-BE49-F238E27FC236}">
                <a16:creationId xmlns:a16="http://schemas.microsoft.com/office/drawing/2014/main" id="{C67C1A5A-09C5-4B3C-A8DC-67CD4F8F3F89}"/>
              </a:ext>
            </a:extLst>
          </p:cNvPr>
          <p:cNvSpPr>
            <a:spLocks noChangeArrowheads="1"/>
          </p:cNvSpPr>
          <p:nvPr/>
        </p:nvSpPr>
        <p:spPr bwMode="auto">
          <a:xfrm>
            <a:off x="1992314" y="4058917"/>
            <a:ext cx="1552499" cy="1151360"/>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5" name="AutoShape 35">
            <a:extLst>
              <a:ext uri="{FF2B5EF4-FFF2-40B4-BE49-F238E27FC236}">
                <a16:creationId xmlns:a16="http://schemas.microsoft.com/office/drawing/2014/main" id="{EB9DED46-C684-423A-B63D-ABD035E9A730}"/>
              </a:ext>
            </a:extLst>
          </p:cNvPr>
          <p:cNvSpPr>
            <a:spLocks noChangeArrowheads="1"/>
          </p:cNvSpPr>
          <p:nvPr/>
        </p:nvSpPr>
        <p:spPr bwMode="auto">
          <a:xfrm>
            <a:off x="3544813" y="2266042"/>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6" name="AutoShape 36">
            <a:extLst>
              <a:ext uri="{FF2B5EF4-FFF2-40B4-BE49-F238E27FC236}">
                <a16:creationId xmlns:a16="http://schemas.microsoft.com/office/drawing/2014/main" id="{7BD5B5DB-2A2E-40D1-B8D7-1C90B34672B1}"/>
              </a:ext>
            </a:extLst>
          </p:cNvPr>
          <p:cNvSpPr>
            <a:spLocks noChangeArrowheads="1"/>
          </p:cNvSpPr>
          <p:nvPr/>
        </p:nvSpPr>
        <p:spPr bwMode="auto">
          <a:xfrm>
            <a:off x="5097313" y="2266042"/>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7" name="AutoShape 37">
            <a:extLst>
              <a:ext uri="{FF2B5EF4-FFF2-40B4-BE49-F238E27FC236}">
                <a16:creationId xmlns:a16="http://schemas.microsoft.com/office/drawing/2014/main" id="{CB3FF36E-C619-4321-9384-A58158C17B81}"/>
              </a:ext>
            </a:extLst>
          </p:cNvPr>
          <p:cNvSpPr>
            <a:spLocks noChangeArrowheads="1"/>
          </p:cNvSpPr>
          <p:nvPr/>
        </p:nvSpPr>
        <p:spPr bwMode="auto">
          <a:xfrm>
            <a:off x="6649812" y="2266042"/>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8" name="AutoShape 38">
            <a:extLst>
              <a:ext uri="{FF2B5EF4-FFF2-40B4-BE49-F238E27FC236}">
                <a16:creationId xmlns:a16="http://schemas.microsoft.com/office/drawing/2014/main" id="{E53E18F7-A2FF-474A-8EB9-4138A8F8F0D9}"/>
              </a:ext>
            </a:extLst>
          </p:cNvPr>
          <p:cNvSpPr>
            <a:spLocks noChangeArrowheads="1"/>
          </p:cNvSpPr>
          <p:nvPr/>
        </p:nvSpPr>
        <p:spPr bwMode="auto">
          <a:xfrm>
            <a:off x="2982913" y="1632181"/>
            <a:ext cx="2547691" cy="633861"/>
          </a:xfrm>
          <a:prstGeom prst="parallelogram">
            <a:avLst>
              <a:gd name="adj" fmla="val 155898"/>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9" name="AutoShape 39">
            <a:extLst>
              <a:ext uri="{FF2B5EF4-FFF2-40B4-BE49-F238E27FC236}">
                <a16:creationId xmlns:a16="http://schemas.microsoft.com/office/drawing/2014/main" id="{E76E421C-F8C7-4E01-854B-48420E05AA83}"/>
              </a:ext>
            </a:extLst>
          </p:cNvPr>
          <p:cNvSpPr>
            <a:spLocks noChangeArrowheads="1"/>
          </p:cNvSpPr>
          <p:nvPr/>
        </p:nvSpPr>
        <p:spPr bwMode="auto">
          <a:xfrm>
            <a:off x="4535412" y="1632181"/>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0" name="AutoShape 40">
            <a:extLst>
              <a:ext uri="{FF2B5EF4-FFF2-40B4-BE49-F238E27FC236}">
                <a16:creationId xmlns:a16="http://schemas.microsoft.com/office/drawing/2014/main" id="{19A89F51-F658-44C9-BF48-840D47AE9352}"/>
              </a:ext>
            </a:extLst>
          </p:cNvPr>
          <p:cNvSpPr>
            <a:spLocks noChangeArrowheads="1"/>
          </p:cNvSpPr>
          <p:nvPr/>
        </p:nvSpPr>
        <p:spPr bwMode="auto">
          <a:xfrm>
            <a:off x="6087912" y="1632181"/>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2" name="AutoShape 41">
            <a:extLst>
              <a:ext uri="{FF2B5EF4-FFF2-40B4-BE49-F238E27FC236}">
                <a16:creationId xmlns:a16="http://schemas.microsoft.com/office/drawing/2014/main" id="{7D84E7C3-7EB3-4573-A599-7FEEE6E51E71}"/>
              </a:ext>
            </a:extLst>
          </p:cNvPr>
          <p:cNvSpPr>
            <a:spLocks noChangeArrowheads="1"/>
          </p:cNvSpPr>
          <p:nvPr/>
        </p:nvSpPr>
        <p:spPr bwMode="auto">
          <a:xfrm>
            <a:off x="7640411" y="1632181"/>
            <a:ext cx="2549223" cy="633861"/>
          </a:xfrm>
          <a:prstGeom prst="parallelogram">
            <a:avLst>
              <a:gd name="adj" fmla="val 155991"/>
            </a:avLst>
          </a:prstGeom>
          <a:solidFill>
            <a:srgbClr val="96968C">
              <a:lumMod val="20000"/>
              <a:lumOff val="80000"/>
            </a:srgbClr>
          </a:solid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nvGrpSpPr>
          <p:cNvPr id="23" name="Group 42">
            <a:extLst>
              <a:ext uri="{FF2B5EF4-FFF2-40B4-BE49-F238E27FC236}">
                <a16:creationId xmlns:a16="http://schemas.microsoft.com/office/drawing/2014/main" id="{0E00BD06-665E-44BD-BCF3-B29EAE547221}"/>
              </a:ext>
            </a:extLst>
          </p:cNvPr>
          <p:cNvGrpSpPr>
            <a:grpSpLocks/>
          </p:cNvGrpSpPr>
          <p:nvPr/>
        </p:nvGrpSpPr>
        <p:grpSpPr bwMode="auto">
          <a:xfrm>
            <a:off x="8203843" y="1632181"/>
            <a:ext cx="1991915" cy="3585753"/>
            <a:chOff x="4086" y="1319"/>
            <a:chExt cx="1164" cy="2041"/>
          </a:xfrm>
          <a:solidFill>
            <a:srgbClr val="96968C">
              <a:lumMod val="20000"/>
              <a:lumOff val="80000"/>
            </a:srgbClr>
          </a:solidFill>
        </p:grpSpPr>
        <p:sp>
          <p:nvSpPr>
            <p:cNvPr id="24" name="AutoShape 43">
              <a:extLst>
                <a:ext uri="{FF2B5EF4-FFF2-40B4-BE49-F238E27FC236}">
                  <a16:creationId xmlns:a16="http://schemas.microsoft.com/office/drawing/2014/main" id="{F920C23C-F3FF-48D5-9A23-D480154A193C}"/>
                </a:ext>
              </a:extLst>
            </p:cNvPr>
            <p:cNvSpPr>
              <a:spLocks noChangeArrowheads="1"/>
            </p:cNvSpPr>
            <p:nvPr/>
          </p:nvSpPr>
          <p:spPr bwMode="auto">
            <a:xfrm rot="5400000" flipH="1">
              <a:off x="3867" y="1899"/>
              <a:ext cx="1020" cy="582"/>
            </a:xfrm>
            <a:prstGeom prst="parallelogram">
              <a:avLst>
                <a:gd name="adj" fmla="val 61511"/>
              </a:avLst>
            </a:prstGeom>
            <a:grp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5" name="AutoShape 44">
              <a:extLst>
                <a:ext uri="{FF2B5EF4-FFF2-40B4-BE49-F238E27FC236}">
                  <a16:creationId xmlns:a16="http://schemas.microsoft.com/office/drawing/2014/main" id="{13F01934-6730-4548-8AC5-02F44C34739F}"/>
                </a:ext>
              </a:extLst>
            </p:cNvPr>
            <p:cNvSpPr>
              <a:spLocks noChangeArrowheads="1"/>
            </p:cNvSpPr>
            <p:nvPr/>
          </p:nvSpPr>
          <p:spPr bwMode="auto">
            <a:xfrm rot="5400000" flipH="1">
              <a:off x="3867" y="2559"/>
              <a:ext cx="1020" cy="582"/>
            </a:xfrm>
            <a:prstGeom prst="parallelogram">
              <a:avLst>
                <a:gd name="adj" fmla="val 61511"/>
              </a:avLst>
            </a:prstGeom>
            <a:grp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6" name="AutoShape 45">
              <a:extLst>
                <a:ext uri="{FF2B5EF4-FFF2-40B4-BE49-F238E27FC236}">
                  <a16:creationId xmlns:a16="http://schemas.microsoft.com/office/drawing/2014/main" id="{505B22E7-0426-4357-9AD3-8B941704A7C5}"/>
                </a:ext>
              </a:extLst>
            </p:cNvPr>
            <p:cNvSpPr>
              <a:spLocks noChangeArrowheads="1"/>
            </p:cNvSpPr>
            <p:nvPr/>
          </p:nvSpPr>
          <p:spPr bwMode="auto">
            <a:xfrm rot="5400000" flipH="1">
              <a:off x="4449" y="1538"/>
              <a:ext cx="1020" cy="582"/>
            </a:xfrm>
            <a:prstGeom prst="parallelogram">
              <a:avLst>
                <a:gd name="adj" fmla="val 61511"/>
              </a:avLst>
            </a:prstGeom>
            <a:grp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7" name="AutoShape 46">
              <a:extLst>
                <a:ext uri="{FF2B5EF4-FFF2-40B4-BE49-F238E27FC236}">
                  <a16:creationId xmlns:a16="http://schemas.microsoft.com/office/drawing/2014/main" id="{5B93BE33-8CF2-43E8-9124-5C8C98F8684C}"/>
                </a:ext>
              </a:extLst>
            </p:cNvPr>
            <p:cNvSpPr>
              <a:spLocks noChangeArrowheads="1"/>
            </p:cNvSpPr>
            <p:nvPr/>
          </p:nvSpPr>
          <p:spPr bwMode="auto">
            <a:xfrm rot="5400000" flipH="1">
              <a:off x="4449" y="2198"/>
              <a:ext cx="1020" cy="582"/>
            </a:xfrm>
            <a:prstGeom prst="parallelogram">
              <a:avLst>
                <a:gd name="adj" fmla="val 61511"/>
              </a:avLst>
            </a:prstGeom>
            <a:grpFill/>
            <a:ln w="12700">
              <a:solidFill>
                <a:srgbClr val="FFFFFF"/>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sp>
        <p:nvSpPr>
          <p:cNvPr id="28" name="Rectangle 47">
            <a:extLst>
              <a:ext uri="{FF2B5EF4-FFF2-40B4-BE49-F238E27FC236}">
                <a16:creationId xmlns:a16="http://schemas.microsoft.com/office/drawing/2014/main" id="{808BC498-37B2-41A3-BEA0-FAC809C6270C}"/>
              </a:ext>
            </a:extLst>
          </p:cNvPr>
          <p:cNvSpPr>
            <a:spLocks noChangeArrowheads="1"/>
          </p:cNvSpPr>
          <p:nvPr/>
        </p:nvSpPr>
        <p:spPr bwMode="auto">
          <a:xfrm>
            <a:off x="1992314" y="5210278"/>
            <a:ext cx="1552499" cy="360850"/>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9" name="Rectangle 48">
            <a:extLst>
              <a:ext uri="{FF2B5EF4-FFF2-40B4-BE49-F238E27FC236}">
                <a16:creationId xmlns:a16="http://schemas.microsoft.com/office/drawing/2014/main" id="{5FBC55FD-CCF5-4DAB-99D2-226272B1511E}"/>
              </a:ext>
            </a:extLst>
          </p:cNvPr>
          <p:cNvSpPr>
            <a:spLocks noChangeArrowheads="1"/>
          </p:cNvSpPr>
          <p:nvPr/>
        </p:nvSpPr>
        <p:spPr bwMode="auto">
          <a:xfrm>
            <a:off x="3544813" y="5210278"/>
            <a:ext cx="1552499" cy="360850"/>
          </a:xfrm>
          <a:prstGeom prst="rect">
            <a:avLst/>
          </a:prstGeom>
          <a:noFill/>
          <a:ln w="6350">
            <a:noFill/>
            <a:miter lim="800000"/>
            <a:headEnd/>
            <a:tailEnd/>
          </a:ln>
          <a:effectLst/>
        </p:spPr>
        <p:txBody>
          <a:bodyPr lIns="72000" tIns="72000" rIns="72000" bIns="72000">
            <a:spAutoFit/>
          </a:bodyPr>
          <a:lstStyle/>
          <a:p>
            <a:pPr marL="0" marR="0" lvl="0" indent="0" algn="l" defTabSz="8858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 </a:t>
            </a:r>
          </a:p>
        </p:txBody>
      </p:sp>
      <p:sp>
        <p:nvSpPr>
          <p:cNvPr id="3" name="Rectangle 2">
            <a:hlinkClick r:id="rId3" action="ppaction://hlinksldjump"/>
            <a:extLst>
              <a:ext uri="{FF2B5EF4-FFF2-40B4-BE49-F238E27FC236}">
                <a16:creationId xmlns:a16="http://schemas.microsoft.com/office/drawing/2014/main" id="{9B60F44E-FAE9-4C43-9004-77D662897BD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75138220"/>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ube 3x3x4</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31">
            <a:extLst>
              <a:ext uri="{FF2B5EF4-FFF2-40B4-BE49-F238E27FC236}">
                <a16:creationId xmlns:a16="http://schemas.microsoft.com/office/drawing/2014/main" id="{44924484-3A36-46F8-83E7-65A8C05AD388}"/>
              </a:ext>
            </a:extLst>
          </p:cNvPr>
          <p:cNvSpPr>
            <a:spLocks noChangeArrowheads="1"/>
          </p:cNvSpPr>
          <p:nvPr/>
        </p:nvSpPr>
        <p:spPr bwMode="auto">
          <a:xfrm>
            <a:off x="2002490" y="2654611"/>
            <a:ext cx="6473324" cy="1142621"/>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5" name="Rectangle 32">
            <a:extLst>
              <a:ext uri="{FF2B5EF4-FFF2-40B4-BE49-F238E27FC236}">
                <a16:creationId xmlns:a16="http://schemas.microsoft.com/office/drawing/2014/main" id="{6A53D67C-6DC5-4E48-81D8-32451B661870}"/>
              </a:ext>
            </a:extLst>
          </p:cNvPr>
          <p:cNvSpPr>
            <a:spLocks noChangeArrowheads="1"/>
          </p:cNvSpPr>
          <p:nvPr/>
        </p:nvSpPr>
        <p:spPr bwMode="auto">
          <a:xfrm>
            <a:off x="2002490" y="3768168"/>
            <a:ext cx="6473324" cy="1138032"/>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AutoShape 33">
            <a:extLst>
              <a:ext uri="{FF2B5EF4-FFF2-40B4-BE49-F238E27FC236}">
                <a16:creationId xmlns:a16="http://schemas.microsoft.com/office/drawing/2014/main" id="{1B5005CA-7899-4748-A49F-479FB7CB0603}"/>
              </a:ext>
            </a:extLst>
          </p:cNvPr>
          <p:cNvSpPr>
            <a:spLocks noChangeArrowheads="1"/>
          </p:cNvSpPr>
          <p:nvPr/>
        </p:nvSpPr>
        <p:spPr bwMode="auto">
          <a:xfrm>
            <a:off x="6857484" y="1611415"/>
            <a:ext cx="3342205" cy="1040137"/>
          </a:xfrm>
          <a:prstGeom prst="parallelogram">
            <a:avLst>
              <a:gd name="adj" fmla="val 165377"/>
            </a:avLst>
          </a:prstGeom>
          <a:solidFill>
            <a:srgbClr val="96968C">
              <a:lumMod val="20000"/>
              <a:lumOff val="80000"/>
            </a:srgbClr>
          </a:solidFill>
          <a:ln w="9525">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Rectangle 34">
            <a:extLst>
              <a:ext uri="{FF2B5EF4-FFF2-40B4-BE49-F238E27FC236}">
                <a16:creationId xmlns:a16="http://schemas.microsoft.com/office/drawing/2014/main" id="{F1F38AED-83E7-4D5B-A026-DA7B8F8F19B2}"/>
              </a:ext>
            </a:extLst>
          </p:cNvPr>
          <p:cNvSpPr>
            <a:spLocks noChangeArrowheads="1"/>
          </p:cNvSpPr>
          <p:nvPr/>
        </p:nvSpPr>
        <p:spPr bwMode="auto">
          <a:xfrm>
            <a:off x="2002490" y="4883256"/>
            <a:ext cx="6473324" cy="1138032"/>
          </a:xfrm>
          <a:prstGeom prst="rect">
            <a:avLst/>
          </a:prstGeom>
          <a:solidFill>
            <a:srgbClr val="96968C">
              <a:lumMod val="20000"/>
              <a:lumOff val="80000"/>
            </a:srgbClr>
          </a:solidFill>
          <a:ln w="12700">
            <a:solidFill>
              <a:srgbClr val="FFFFFF"/>
            </a:solidFill>
            <a:miter lim="800000"/>
            <a:headEnd/>
            <a:tailEnd/>
          </a:ln>
        </p:spPr>
        <p:txBody>
          <a:bodyPr lIns="180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AutoShape 35">
            <a:extLst>
              <a:ext uri="{FF2B5EF4-FFF2-40B4-BE49-F238E27FC236}">
                <a16:creationId xmlns:a16="http://schemas.microsoft.com/office/drawing/2014/main" id="{CB78BA77-43A9-41FC-B8F6-08CB74A26650}"/>
              </a:ext>
            </a:extLst>
          </p:cNvPr>
          <p:cNvSpPr>
            <a:spLocks noChangeArrowheads="1"/>
          </p:cNvSpPr>
          <p:nvPr/>
        </p:nvSpPr>
        <p:spPr bwMode="auto">
          <a:xfrm rot="5400000" flipH="1">
            <a:off x="6923258" y="3869124"/>
            <a:ext cx="3678719" cy="573605"/>
          </a:xfrm>
          <a:prstGeom prst="parallelogram">
            <a:avLst>
              <a:gd name="adj" fmla="val 60719"/>
            </a:avLst>
          </a:prstGeom>
          <a:solidFill>
            <a:srgbClr val="96968C">
              <a:lumMod val="20000"/>
              <a:lumOff val="80000"/>
            </a:srgbClr>
          </a:solidFill>
          <a:ln w="9525">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9" name="AutoShape 36">
            <a:extLst>
              <a:ext uri="{FF2B5EF4-FFF2-40B4-BE49-F238E27FC236}">
                <a16:creationId xmlns:a16="http://schemas.microsoft.com/office/drawing/2014/main" id="{9F0C461E-B098-4100-895C-DEBAEEEE33C9}"/>
              </a:ext>
            </a:extLst>
          </p:cNvPr>
          <p:cNvSpPr>
            <a:spLocks noChangeArrowheads="1"/>
          </p:cNvSpPr>
          <p:nvPr/>
        </p:nvSpPr>
        <p:spPr bwMode="auto">
          <a:xfrm rot="5400000" flipH="1">
            <a:off x="8084234" y="3165502"/>
            <a:ext cx="3654245" cy="575135"/>
          </a:xfrm>
          <a:prstGeom prst="parallelogram">
            <a:avLst>
              <a:gd name="adj" fmla="val 58419"/>
            </a:avLst>
          </a:prstGeom>
          <a:solidFill>
            <a:srgbClr val="96968C">
              <a:lumMod val="20000"/>
              <a:lumOff val="80000"/>
            </a:srgbClr>
          </a:solidFill>
          <a:ln w="9525">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0" name="AutoShape 37">
            <a:extLst>
              <a:ext uri="{FF2B5EF4-FFF2-40B4-BE49-F238E27FC236}">
                <a16:creationId xmlns:a16="http://schemas.microsoft.com/office/drawing/2014/main" id="{54B49FDD-ECF0-43CC-82B6-EB26BD373457}"/>
              </a:ext>
            </a:extLst>
          </p:cNvPr>
          <p:cNvSpPr>
            <a:spLocks noChangeArrowheads="1"/>
          </p:cNvSpPr>
          <p:nvPr/>
        </p:nvSpPr>
        <p:spPr bwMode="auto">
          <a:xfrm>
            <a:off x="5239153" y="1611415"/>
            <a:ext cx="3342205" cy="1040137"/>
          </a:xfrm>
          <a:prstGeom prst="parallelogram">
            <a:avLst>
              <a:gd name="adj" fmla="val 165377"/>
            </a:avLst>
          </a:prstGeom>
          <a:solidFill>
            <a:srgbClr val="96968C">
              <a:lumMod val="20000"/>
              <a:lumOff val="80000"/>
            </a:srgbClr>
          </a:solidFill>
          <a:ln w="9525">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1" name="AutoShape 38">
            <a:extLst>
              <a:ext uri="{FF2B5EF4-FFF2-40B4-BE49-F238E27FC236}">
                <a16:creationId xmlns:a16="http://schemas.microsoft.com/office/drawing/2014/main" id="{534A7724-D816-48F2-A757-F591B6E4650F}"/>
              </a:ext>
            </a:extLst>
          </p:cNvPr>
          <p:cNvSpPr>
            <a:spLocks noChangeArrowheads="1"/>
          </p:cNvSpPr>
          <p:nvPr/>
        </p:nvSpPr>
        <p:spPr bwMode="auto">
          <a:xfrm>
            <a:off x="2002491" y="1611415"/>
            <a:ext cx="3342205" cy="1040137"/>
          </a:xfrm>
          <a:prstGeom prst="parallelogram">
            <a:avLst>
              <a:gd name="adj" fmla="val 165377"/>
            </a:avLst>
          </a:prstGeom>
          <a:solidFill>
            <a:srgbClr val="96968C">
              <a:lumMod val="20000"/>
              <a:lumOff val="80000"/>
            </a:srgbClr>
          </a:solidFill>
          <a:ln w="9525">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2" name="AutoShape 39">
            <a:extLst>
              <a:ext uri="{FF2B5EF4-FFF2-40B4-BE49-F238E27FC236}">
                <a16:creationId xmlns:a16="http://schemas.microsoft.com/office/drawing/2014/main" id="{8438B7CC-24F5-4966-BBD2-ACFB203B3750}"/>
              </a:ext>
            </a:extLst>
          </p:cNvPr>
          <p:cNvSpPr>
            <a:spLocks noChangeArrowheads="1"/>
          </p:cNvSpPr>
          <p:nvPr/>
        </p:nvSpPr>
        <p:spPr bwMode="auto">
          <a:xfrm>
            <a:off x="3620822" y="1611415"/>
            <a:ext cx="3342205" cy="1040137"/>
          </a:xfrm>
          <a:prstGeom prst="parallelogram">
            <a:avLst>
              <a:gd name="adj" fmla="val 165377"/>
            </a:avLst>
          </a:prstGeom>
          <a:solidFill>
            <a:srgbClr val="96968C">
              <a:lumMod val="20000"/>
              <a:lumOff val="80000"/>
            </a:srgbClr>
          </a:solidFill>
          <a:ln w="9525">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AutoShape 40">
            <a:extLst>
              <a:ext uri="{FF2B5EF4-FFF2-40B4-BE49-F238E27FC236}">
                <a16:creationId xmlns:a16="http://schemas.microsoft.com/office/drawing/2014/main" id="{E10F6A64-E9A5-462A-BFFA-D0C5B5639C17}"/>
              </a:ext>
            </a:extLst>
          </p:cNvPr>
          <p:cNvSpPr>
            <a:spLocks noChangeArrowheads="1"/>
          </p:cNvSpPr>
          <p:nvPr/>
        </p:nvSpPr>
        <p:spPr bwMode="auto">
          <a:xfrm rot="5400000" flipH="1">
            <a:off x="7496863" y="3511194"/>
            <a:ext cx="3678719" cy="575135"/>
          </a:xfrm>
          <a:prstGeom prst="parallelogram">
            <a:avLst>
              <a:gd name="adj" fmla="val 60972"/>
            </a:avLst>
          </a:prstGeom>
          <a:solidFill>
            <a:srgbClr val="96968C">
              <a:lumMod val="20000"/>
              <a:lumOff val="80000"/>
            </a:srgbClr>
          </a:solidFill>
          <a:ln w="9525">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ts val="0"/>
              </a:spcBef>
              <a:spcAft>
                <a:spcPts val="0"/>
              </a:spcAft>
              <a:buClr>
                <a:srgbClr val="96968C"/>
              </a:buClr>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F5D70A2F-E518-43EB-B908-184DBD2CBDB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69222076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Segmentation</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AutoShape 16">
            <a:extLst>
              <a:ext uri="{FF2B5EF4-FFF2-40B4-BE49-F238E27FC236}">
                <a16:creationId xmlns:a16="http://schemas.microsoft.com/office/drawing/2014/main" id="{C0A56342-1C16-4636-B413-5C89E3EFFBB4}"/>
              </a:ext>
            </a:extLst>
          </p:cNvPr>
          <p:cNvSpPr>
            <a:spLocks noChangeArrowheads="1"/>
          </p:cNvSpPr>
          <p:nvPr/>
        </p:nvSpPr>
        <p:spPr bwMode="auto">
          <a:xfrm>
            <a:off x="3359150" y="2243127"/>
            <a:ext cx="2732088" cy="1697037"/>
          </a:xfrm>
          <a:prstGeom prst="diamond">
            <a:avLst/>
          </a:prstGeom>
          <a:solidFill>
            <a:schemeClr val="accent2"/>
          </a:solidFill>
          <a:ln w="12700">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5" name="AutoShape 17">
            <a:extLst>
              <a:ext uri="{FF2B5EF4-FFF2-40B4-BE49-F238E27FC236}">
                <a16:creationId xmlns:a16="http://schemas.microsoft.com/office/drawing/2014/main" id="{E868BA44-86BB-4DDA-8034-BF8219B038D1}"/>
              </a:ext>
            </a:extLst>
          </p:cNvPr>
          <p:cNvSpPr>
            <a:spLocks noChangeArrowheads="1"/>
          </p:cNvSpPr>
          <p:nvPr/>
        </p:nvSpPr>
        <p:spPr bwMode="auto">
          <a:xfrm>
            <a:off x="4724400" y="3090852"/>
            <a:ext cx="2732088" cy="1700212"/>
          </a:xfrm>
          <a:prstGeom prst="diamond">
            <a:avLst/>
          </a:prstGeom>
          <a:solidFill>
            <a:schemeClr val="accent3"/>
          </a:solidFill>
          <a:ln w="12700">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6" name="AutoShape 18">
            <a:extLst>
              <a:ext uri="{FF2B5EF4-FFF2-40B4-BE49-F238E27FC236}">
                <a16:creationId xmlns:a16="http://schemas.microsoft.com/office/drawing/2014/main" id="{DE78AEF0-1093-44A7-9E51-91A58C0A8C96}"/>
              </a:ext>
            </a:extLst>
          </p:cNvPr>
          <p:cNvSpPr>
            <a:spLocks noChangeArrowheads="1"/>
          </p:cNvSpPr>
          <p:nvPr/>
        </p:nvSpPr>
        <p:spPr bwMode="auto">
          <a:xfrm>
            <a:off x="6091238" y="2244715"/>
            <a:ext cx="2730500" cy="1698625"/>
          </a:xfrm>
          <a:prstGeom prst="diamond">
            <a:avLst/>
          </a:prstGeom>
          <a:solidFill>
            <a:schemeClr val="accent5"/>
          </a:solidFill>
          <a:ln w="12700">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7" name="AutoShape 19">
            <a:extLst>
              <a:ext uri="{FF2B5EF4-FFF2-40B4-BE49-F238E27FC236}">
                <a16:creationId xmlns:a16="http://schemas.microsoft.com/office/drawing/2014/main" id="{994D67D9-06A9-4273-8DDD-4EB609E3737E}"/>
              </a:ext>
            </a:extLst>
          </p:cNvPr>
          <p:cNvSpPr>
            <a:spLocks noChangeArrowheads="1"/>
          </p:cNvSpPr>
          <p:nvPr/>
        </p:nvSpPr>
        <p:spPr bwMode="auto">
          <a:xfrm>
            <a:off x="4724400" y="1393815"/>
            <a:ext cx="2732088" cy="1697037"/>
          </a:xfrm>
          <a:prstGeom prst="diamond">
            <a:avLst/>
          </a:prstGeom>
          <a:solidFill>
            <a:schemeClr val="accent1"/>
          </a:solidFill>
          <a:ln w="12700">
            <a:solidFill>
              <a:srgbClr val="FFFFFF"/>
            </a:solid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8" name="AutoShape 20">
            <a:extLst>
              <a:ext uri="{FF2B5EF4-FFF2-40B4-BE49-F238E27FC236}">
                <a16:creationId xmlns:a16="http://schemas.microsoft.com/office/drawing/2014/main" id="{4F861005-8EFE-4931-8364-5B413735875C}"/>
              </a:ext>
            </a:extLst>
          </p:cNvPr>
          <p:cNvSpPr>
            <a:spLocks noChangeArrowheads="1"/>
          </p:cNvSpPr>
          <p:nvPr/>
        </p:nvSpPr>
        <p:spPr bwMode="auto">
          <a:xfrm rot="16200000" flipH="1">
            <a:off x="6051550" y="3970327"/>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9" name="AutoShape 22">
            <a:extLst>
              <a:ext uri="{FF2B5EF4-FFF2-40B4-BE49-F238E27FC236}">
                <a16:creationId xmlns:a16="http://schemas.microsoft.com/office/drawing/2014/main" id="{3361CB80-D3E5-41F4-89FA-D6930EF5C970}"/>
              </a:ext>
            </a:extLst>
          </p:cNvPr>
          <p:cNvSpPr>
            <a:spLocks noChangeArrowheads="1"/>
          </p:cNvSpPr>
          <p:nvPr/>
        </p:nvSpPr>
        <p:spPr bwMode="auto">
          <a:xfrm rot="16200000" flipH="1">
            <a:off x="7416801" y="3119427"/>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0" name="AutoShape 24">
            <a:extLst>
              <a:ext uri="{FF2B5EF4-FFF2-40B4-BE49-F238E27FC236}">
                <a16:creationId xmlns:a16="http://schemas.microsoft.com/office/drawing/2014/main" id="{65B89E5D-ADDF-4D3C-86CA-C09C78AC7E83}"/>
              </a:ext>
            </a:extLst>
          </p:cNvPr>
          <p:cNvSpPr>
            <a:spLocks noChangeArrowheads="1"/>
          </p:cNvSpPr>
          <p:nvPr/>
        </p:nvSpPr>
        <p:spPr bwMode="auto">
          <a:xfrm rot="5400000">
            <a:off x="4686300" y="3968740"/>
            <a:ext cx="1444625" cy="1366838"/>
          </a:xfrm>
          <a:prstGeom prst="parallelogram">
            <a:avLst>
              <a:gd name="adj" fmla="val 61927"/>
            </a:avLst>
          </a:prstGeom>
          <a:solidFill>
            <a:srgbClr val="96968C">
              <a:lumMod val="20000"/>
              <a:lumOff val="80000"/>
            </a:srgbClr>
          </a:solidFill>
          <a:ln w="12700">
            <a:solidFill>
              <a:srgbClr val="FFFFFF"/>
            </a:solidFill>
            <a:miter lim="800000"/>
            <a:headEnd/>
            <a:tailEnd/>
          </a:ln>
          <a:effectLst/>
        </p:spPr>
        <p:txBody>
          <a:bodyPr rot="10800000"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1" name="AutoShape 26">
            <a:extLst>
              <a:ext uri="{FF2B5EF4-FFF2-40B4-BE49-F238E27FC236}">
                <a16:creationId xmlns:a16="http://schemas.microsoft.com/office/drawing/2014/main" id="{A19400F4-B395-4B4A-8E60-9A6DD1AA2912}"/>
              </a:ext>
            </a:extLst>
          </p:cNvPr>
          <p:cNvSpPr>
            <a:spLocks noChangeArrowheads="1"/>
          </p:cNvSpPr>
          <p:nvPr/>
        </p:nvSpPr>
        <p:spPr bwMode="auto">
          <a:xfrm rot="5400000">
            <a:off x="3319463" y="3119427"/>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2" name="AutoShape 28">
            <a:extLst>
              <a:ext uri="{FF2B5EF4-FFF2-40B4-BE49-F238E27FC236}">
                <a16:creationId xmlns:a16="http://schemas.microsoft.com/office/drawing/2014/main" id="{AD2897D2-0C95-4DE6-A803-87934A11965F}"/>
              </a:ext>
            </a:extLst>
          </p:cNvPr>
          <p:cNvSpPr>
            <a:spLocks noChangeArrowheads="1"/>
          </p:cNvSpPr>
          <p:nvPr/>
        </p:nvSpPr>
        <p:spPr bwMode="auto">
          <a:xfrm rot="16200000" flipH="1">
            <a:off x="6051550" y="4565640"/>
            <a:ext cx="1444625" cy="1365250"/>
          </a:xfrm>
          <a:prstGeom prst="parallelogram">
            <a:avLst>
              <a:gd name="adj" fmla="val 61999"/>
            </a:avLst>
          </a:prstGeom>
          <a:solidFill>
            <a:srgbClr val="96968C">
              <a:lumMod val="20000"/>
              <a:lumOff val="80000"/>
            </a:srgbClr>
          </a:solidFill>
          <a:ln w="6350">
            <a:solidFill>
              <a:srgbClr val="FFFFFF"/>
            </a:solidFill>
            <a:miter lim="800000"/>
            <a:headEnd/>
            <a:tailEnd/>
          </a:ln>
          <a:effectLst/>
        </p:spPr>
        <p:txBody>
          <a:bodyPr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AutoShape 30">
            <a:extLst>
              <a:ext uri="{FF2B5EF4-FFF2-40B4-BE49-F238E27FC236}">
                <a16:creationId xmlns:a16="http://schemas.microsoft.com/office/drawing/2014/main" id="{4BE2E5C1-7CD0-4213-B99B-79D117E1669E}"/>
              </a:ext>
            </a:extLst>
          </p:cNvPr>
          <p:cNvSpPr>
            <a:spLocks noChangeArrowheads="1"/>
          </p:cNvSpPr>
          <p:nvPr/>
        </p:nvSpPr>
        <p:spPr bwMode="auto">
          <a:xfrm rot="16200000" flipH="1">
            <a:off x="7416801" y="3714740"/>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AutoShape 32">
            <a:extLst>
              <a:ext uri="{FF2B5EF4-FFF2-40B4-BE49-F238E27FC236}">
                <a16:creationId xmlns:a16="http://schemas.microsoft.com/office/drawing/2014/main" id="{A04A85A8-2150-480E-BB4D-86A16685F6FA}"/>
              </a:ext>
            </a:extLst>
          </p:cNvPr>
          <p:cNvSpPr>
            <a:spLocks noChangeArrowheads="1"/>
          </p:cNvSpPr>
          <p:nvPr/>
        </p:nvSpPr>
        <p:spPr bwMode="auto">
          <a:xfrm rot="5400000">
            <a:off x="4686300" y="4564052"/>
            <a:ext cx="1444625" cy="1366838"/>
          </a:xfrm>
          <a:prstGeom prst="parallelogram">
            <a:avLst>
              <a:gd name="adj" fmla="val 61927"/>
            </a:avLst>
          </a:prstGeom>
          <a:solidFill>
            <a:srgbClr val="96968C">
              <a:lumMod val="20000"/>
              <a:lumOff val="80000"/>
            </a:srgbClr>
          </a:solidFill>
          <a:ln w="6350">
            <a:solidFill>
              <a:srgbClr val="FFFFFF"/>
            </a:solidFill>
            <a:miter lim="800000"/>
            <a:headEnd/>
            <a:tailEnd/>
          </a:ln>
          <a:effectLst/>
        </p:spPr>
        <p:txBody>
          <a:bodyPr rot="10800000" vert="eaVert"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5" name="AutoShape 34">
            <a:extLst>
              <a:ext uri="{FF2B5EF4-FFF2-40B4-BE49-F238E27FC236}">
                <a16:creationId xmlns:a16="http://schemas.microsoft.com/office/drawing/2014/main" id="{46216DD8-E408-421A-B1D3-C89BA8F7AF39}"/>
              </a:ext>
            </a:extLst>
          </p:cNvPr>
          <p:cNvSpPr>
            <a:spLocks noChangeArrowheads="1"/>
          </p:cNvSpPr>
          <p:nvPr/>
        </p:nvSpPr>
        <p:spPr bwMode="auto">
          <a:xfrm rot="5400000">
            <a:off x="3319463" y="3714740"/>
            <a:ext cx="1444625" cy="1365250"/>
          </a:xfrm>
          <a:prstGeom prst="parallelogram">
            <a:avLst>
              <a:gd name="adj" fmla="val 61999"/>
            </a:avLst>
          </a:prstGeom>
          <a:solidFill>
            <a:srgbClr val="96968C">
              <a:lumMod val="20000"/>
              <a:lumOff val="80000"/>
            </a:srgbClr>
          </a:solidFill>
          <a:ln w="12700">
            <a:solidFill>
              <a:srgbClr val="FFFFFF"/>
            </a:solidFill>
            <a:miter lim="800000"/>
            <a:headEnd/>
            <a:tailEnd/>
          </a:ln>
          <a:effectLst/>
        </p:spPr>
        <p:txBody>
          <a:bodyPr rot="10800000" vert="eaVert" wrap="none"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D57D6975-6077-4E48-8714-553C510579E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78180532"/>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fr-FR" dirty="0" err="1"/>
              <a:t>Isometric</a:t>
            </a:r>
            <a:r>
              <a:rPr lang="fr-FR" dirty="0"/>
              <a:t> Cube</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B429D837-5DD9-4FE5-A41A-10008B52FAA5}"/>
              </a:ext>
            </a:extLst>
          </p:cNvPr>
          <p:cNvGrpSpPr/>
          <p:nvPr/>
        </p:nvGrpSpPr>
        <p:grpSpPr>
          <a:xfrm>
            <a:off x="4358034" y="1638074"/>
            <a:ext cx="3475932" cy="2028597"/>
            <a:chOff x="4358034" y="1638074"/>
            <a:chExt cx="3475932" cy="2028597"/>
          </a:xfrm>
          <a:solidFill>
            <a:schemeClr val="accent1"/>
          </a:solidFill>
        </p:grpSpPr>
        <p:sp>
          <p:nvSpPr>
            <p:cNvPr id="5" name="Diamond 40">
              <a:extLst>
                <a:ext uri="{FF2B5EF4-FFF2-40B4-BE49-F238E27FC236}">
                  <a16:creationId xmlns:a16="http://schemas.microsoft.com/office/drawing/2014/main" id="{1C88E226-EB52-48CF-8D0E-DE62CB0EE310}"/>
                </a:ext>
              </a:extLst>
            </p:cNvPr>
            <p:cNvSpPr/>
            <p:nvPr/>
          </p:nvSpPr>
          <p:spPr bwMode="auto">
            <a:xfrm>
              <a:off x="5227018" y="1891649"/>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6" name="Diamond 41">
              <a:extLst>
                <a:ext uri="{FF2B5EF4-FFF2-40B4-BE49-F238E27FC236}">
                  <a16:creationId xmlns:a16="http://schemas.microsoft.com/office/drawing/2014/main" id="{A1C7403B-5317-4BDD-8772-FCE62797AADA}"/>
                </a:ext>
              </a:extLst>
            </p:cNvPr>
            <p:cNvSpPr/>
            <p:nvPr/>
          </p:nvSpPr>
          <p:spPr bwMode="auto">
            <a:xfrm>
              <a:off x="6096000" y="1891649"/>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7" name="Diamond 42">
              <a:extLst>
                <a:ext uri="{FF2B5EF4-FFF2-40B4-BE49-F238E27FC236}">
                  <a16:creationId xmlns:a16="http://schemas.microsoft.com/office/drawing/2014/main" id="{36585B0F-3BA5-46CD-A4D4-EDCF33F6127A}"/>
                </a:ext>
              </a:extLst>
            </p:cNvPr>
            <p:cNvSpPr/>
            <p:nvPr/>
          </p:nvSpPr>
          <p:spPr bwMode="auto">
            <a:xfrm>
              <a:off x="5661508" y="1638074"/>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8" name="Diamond 43">
              <a:extLst>
                <a:ext uri="{FF2B5EF4-FFF2-40B4-BE49-F238E27FC236}">
                  <a16:creationId xmlns:a16="http://schemas.microsoft.com/office/drawing/2014/main" id="{65E75EE0-ABE5-497A-B07F-DF9A83D2B8A9}"/>
                </a:ext>
              </a:extLst>
            </p:cNvPr>
            <p:cNvSpPr/>
            <p:nvPr/>
          </p:nvSpPr>
          <p:spPr bwMode="auto">
            <a:xfrm>
              <a:off x="5227016" y="239879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9" name="Diamond 44">
              <a:extLst>
                <a:ext uri="{FF2B5EF4-FFF2-40B4-BE49-F238E27FC236}">
                  <a16:creationId xmlns:a16="http://schemas.microsoft.com/office/drawing/2014/main" id="{15DAD8E0-70ED-4553-9C06-F933D93D34D4}"/>
                </a:ext>
              </a:extLst>
            </p:cNvPr>
            <p:cNvSpPr/>
            <p:nvPr/>
          </p:nvSpPr>
          <p:spPr bwMode="auto">
            <a:xfrm>
              <a:off x="6095998" y="239879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0" name="Diamond 45">
              <a:extLst>
                <a:ext uri="{FF2B5EF4-FFF2-40B4-BE49-F238E27FC236}">
                  <a16:creationId xmlns:a16="http://schemas.microsoft.com/office/drawing/2014/main" id="{2C9FFAB4-19DF-4866-B9A8-3E8F7EEFBD88}"/>
                </a:ext>
              </a:extLst>
            </p:cNvPr>
            <p:cNvSpPr/>
            <p:nvPr/>
          </p:nvSpPr>
          <p:spPr bwMode="auto">
            <a:xfrm>
              <a:off x="5227016" y="2905947"/>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1" name="Diamond 46">
              <a:extLst>
                <a:ext uri="{FF2B5EF4-FFF2-40B4-BE49-F238E27FC236}">
                  <a16:creationId xmlns:a16="http://schemas.microsoft.com/office/drawing/2014/main" id="{771F7305-7AA0-4167-8D0A-FEED57112161}"/>
                </a:ext>
              </a:extLst>
            </p:cNvPr>
            <p:cNvSpPr/>
            <p:nvPr/>
          </p:nvSpPr>
          <p:spPr bwMode="auto">
            <a:xfrm>
              <a:off x="6095998" y="2905947"/>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2" name="Diamond 47">
              <a:extLst>
                <a:ext uri="{FF2B5EF4-FFF2-40B4-BE49-F238E27FC236}">
                  <a16:creationId xmlns:a16="http://schemas.microsoft.com/office/drawing/2014/main" id="{4E3E9B91-287C-4F8D-8B4A-9B7AD645DC74}"/>
                </a:ext>
              </a:extLst>
            </p:cNvPr>
            <p:cNvSpPr/>
            <p:nvPr/>
          </p:nvSpPr>
          <p:spPr bwMode="auto">
            <a:xfrm>
              <a:off x="4358034" y="239879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3" name="Diamond 48">
              <a:extLst>
                <a:ext uri="{FF2B5EF4-FFF2-40B4-BE49-F238E27FC236}">
                  <a16:creationId xmlns:a16="http://schemas.microsoft.com/office/drawing/2014/main" id="{8B56740E-600F-4D82-8259-1F31FD065D75}"/>
                </a:ext>
              </a:extLst>
            </p:cNvPr>
            <p:cNvSpPr/>
            <p:nvPr/>
          </p:nvSpPr>
          <p:spPr bwMode="auto">
            <a:xfrm>
              <a:off x="6964982" y="239879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4" name="Diamond 49">
              <a:extLst>
                <a:ext uri="{FF2B5EF4-FFF2-40B4-BE49-F238E27FC236}">
                  <a16:creationId xmlns:a16="http://schemas.microsoft.com/office/drawing/2014/main" id="{E196B2EB-A7ED-4348-8E78-A4880FA30DDC}"/>
                </a:ext>
              </a:extLst>
            </p:cNvPr>
            <p:cNvSpPr/>
            <p:nvPr/>
          </p:nvSpPr>
          <p:spPr bwMode="auto">
            <a:xfrm>
              <a:off x="5661510" y="214522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5" name="Diamond 50">
              <a:extLst>
                <a:ext uri="{FF2B5EF4-FFF2-40B4-BE49-F238E27FC236}">
                  <a16:creationId xmlns:a16="http://schemas.microsoft.com/office/drawing/2014/main" id="{9F5DF917-7A4D-4FA2-B944-EA577269310C}"/>
                </a:ext>
              </a:extLst>
            </p:cNvPr>
            <p:cNvSpPr/>
            <p:nvPr/>
          </p:nvSpPr>
          <p:spPr bwMode="auto">
            <a:xfrm>
              <a:off x="4792529" y="214522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6" name="Diamond 51">
              <a:extLst>
                <a:ext uri="{FF2B5EF4-FFF2-40B4-BE49-F238E27FC236}">
                  <a16:creationId xmlns:a16="http://schemas.microsoft.com/office/drawing/2014/main" id="{9C717E62-E870-4912-8A25-016D666A84F7}"/>
                </a:ext>
              </a:extLst>
            </p:cNvPr>
            <p:cNvSpPr/>
            <p:nvPr/>
          </p:nvSpPr>
          <p:spPr bwMode="auto">
            <a:xfrm>
              <a:off x="6530492" y="214522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7" name="Diamond 52">
              <a:extLst>
                <a:ext uri="{FF2B5EF4-FFF2-40B4-BE49-F238E27FC236}">
                  <a16:creationId xmlns:a16="http://schemas.microsoft.com/office/drawing/2014/main" id="{4940225D-E90D-4A88-84CF-30D8DBF25153}"/>
                </a:ext>
              </a:extLst>
            </p:cNvPr>
            <p:cNvSpPr/>
            <p:nvPr/>
          </p:nvSpPr>
          <p:spPr bwMode="auto">
            <a:xfrm>
              <a:off x="5661510" y="265237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8" name="Diamond 53">
              <a:extLst>
                <a:ext uri="{FF2B5EF4-FFF2-40B4-BE49-F238E27FC236}">
                  <a16:creationId xmlns:a16="http://schemas.microsoft.com/office/drawing/2014/main" id="{F1126833-5840-4C2A-BFDE-A0AC5BBC1EE8}"/>
                </a:ext>
              </a:extLst>
            </p:cNvPr>
            <p:cNvSpPr/>
            <p:nvPr/>
          </p:nvSpPr>
          <p:spPr bwMode="auto">
            <a:xfrm>
              <a:off x="4792529" y="265237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19" name="Diamond 54">
              <a:extLst>
                <a:ext uri="{FF2B5EF4-FFF2-40B4-BE49-F238E27FC236}">
                  <a16:creationId xmlns:a16="http://schemas.microsoft.com/office/drawing/2014/main" id="{1A63D67D-A7DF-448E-B922-2968BDC11849}"/>
                </a:ext>
              </a:extLst>
            </p:cNvPr>
            <p:cNvSpPr/>
            <p:nvPr/>
          </p:nvSpPr>
          <p:spPr bwMode="auto">
            <a:xfrm>
              <a:off x="6530495" y="2652373"/>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0" name="Diamond 55">
              <a:extLst>
                <a:ext uri="{FF2B5EF4-FFF2-40B4-BE49-F238E27FC236}">
                  <a16:creationId xmlns:a16="http://schemas.microsoft.com/office/drawing/2014/main" id="{4EF49238-C2A7-475C-816B-6DD5CA105DEC}"/>
                </a:ext>
              </a:extLst>
            </p:cNvPr>
            <p:cNvSpPr/>
            <p:nvPr/>
          </p:nvSpPr>
          <p:spPr bwMode="auto">
            <a:xfrm>
              <a:off x="5661518" y="3159522"/>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grpSp>
      <p:grpSp>
        <p:nvGrpSpPr>
          <p:cNvPr id="22" name="Group 21">
            <a:extLst>
              <a:ext uri="{FF2B5EF4-FFF2-40B4-BE49-F238E27FC236}">
                <a16:creationId xmlns:a16="http://schemas.microsoft.com/office/drawing/2014/main" id="{15C5D0FA-01A5-4F67-B7A6-2B7A32694C84}"/>
              </a:ext>
            </a:extLst>
          </p:cNvPr>
          <p:cNvGrpSpPr/>
          <p:nvPr/>
        </p:nvGrpSpPr>
        <p:grpSpPr>
          <a:xfrm>
            <a:off x="4329562" y="2606591"/>
            <a:ext cx="1824764" cy="3126665"/>
            <a:chOff x="4329562" y="2606591"/>
            <a:chExt cx="1824764" cy="3126665"/>
          </a:xfrm>
          <a:solidFill>
            <a:srgbClr val="96968C">
              <a:lumMod val="20000"/>
              <a:lumOff val="80000"/>
            </a:srgbClr>
          </a:solidFill>
        </p:grpSpPr>
        <p:sp>
          <p:nvSpPr>
            <p:cNvPr id="23" name="Diamond 24">
              <a:extLst>
                <a:ext uri="{FF2B5EF4-FFF2-40B4-BE49-F238E27FC236}">
                  <a16:creationId xmlns:a16="http://schemas.microsoft.com/office/drawing/2014/main" id="{B2B0A0A4-713E-4A5E-8CA0-696742068560}"/>
                </a:ext>
              </a:extLst>
            </p:cNvPr>
            <p:cNvSpPr/>
            <p:nvPr/>
          </p:nvSpPr>
          <p:spPr bwMode="auto">
            <a:xfrm rot="3600000">
              <a:off x="5029413" y="328649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4" name="Diamond 25">
              <a:extLst>
                <a:ext uri="{FF2B5EF4-FFF2-40B4-BE49-F238E27FC236}">
                  <a16:creationId xmlns:a16="http://schemas.microsoft.com/office/drawing/2014/main" id="{3B48BEBD-607D-4784-A02B-AD770429953E}"/>
                </a:ext>
              </a:extLst>
            </p:cNvPr>
            <p:cNvSpPr/>
            <p:nvPr/>
          </p:nvSpPr>
          <p:spPr bwMode="auto">
            <a:xfrm rot="3600000">
              <a:off x="5463904" y="4039053"/>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5" name="Diamond 26">
              <a:extLst>
                <a:ext uri="{FF2B5EF4-FFF2-40B4-BE49-F238E27FC236}">
                  <a16:creationId xmlns:a16="http://schemas.microsoft.com/office/drawing/2014/main" id="{3BFFB52D-169F-4D2B-92DC-8E067FDBFEF7}"/>
                </a:ext>
              </a:extLst>
            </p:cNvPr>
            <p:cNvSpPr/>
            <p:nvPr/>
          </p:nvSpPr>
          <p:spPr bwMode="auto">
            <a:xfrm rot="3600000">
              <a:off x="5466259" y="3535986"/>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6" name="Diamond 27">
              <a:extLst>
                <a:ext uri="{FF2B5EF4-FFF2-40B4-BE49-F238E27FC236}">
                  <a16:creationId xmlns:a16="http://schemas.microsoft.com/office/drawing/2014/main" id="{859477AF-9377-4C15-81AC-AB3804D758A7}"/>
                </a:ext>
              </a:extLst>
            </p:cNvPr>
            <p:cNvSpPr/>
            <p:nvPr/>
          </p:nvSpPr>
          <p:spPr bwMode="auto">
            <a:xfrm rot="3600000">
              <a:off x="4590204" y="3540069"/>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7" name="Diamond 28">
              <a:extLst>
                <a:ext uri="{FF2B5EF4-FFF2-40B4-BE49-F238E27FC236}">
                  <a16:creationId xmlns:a16="http://schemas.microsoft.com/office/drawing/2014/main" id="{BFC0D72C-6033-4E9D-BF72-961F0F08855F}"/>
                </a:ext>
              </a:extLst>
            </p:cNvPr>
            <p:cNvSpPr/>
            <p:nvPr/>
          </p:nvSpPr>
          <p:spPr bwMode="auto">
            <a:xfrm rot="3600000">
              <a:off x="5024694" y="4292628"/>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8" name="Diamond 29">
              <a:extLst>
                <a:ext uri="{FF2B5EF4-FFF2-40B4-BE49-F238E27FC236}">
                  <a16:creationId xmlns:a16="http://schemas.microsoft.com/office/drawing/2014/main" id="{793567A9-184A-47E7-AB45-7AE3B980544A}"/>
                </a:ext>
              </a:extLst>
            </p:cNvPr>
            <p:cNvSpPr/>
            <p:nvPr/>
          </p:nvSpPr>
          <p:spPr bwMode="auto">
            <a:xfrm rot="3600000">
              <a:off x="4150998" y="379364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29" name="Diamond 30">
              <a:extLst>
                <a:ext uri="{FF2B5EF4-FFF2-40B4-BE49-F238E27FC236}">
                  <a16:creationId xmlns:a16="http://schemas.microsoft.com/office/drawing/2014/main" id="{11E5C279-3A7B-4B96-B5F4-04A823DFC389}"/>
                </a:ext>
              </a:extLst>
            </p:cNvPr>
            <p:cNvSpPr/>
            <p:nvPr/>
          </p:nvSpPr>
          <p:spPr bwMode="auto">
            <a:xfrm rot="3600000">
              <a:off x="4585489" y="454620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0" name="Diamond 31">
              <a:extLst>
                <a:ext uri="{FF2B5EF4-FFF2-40B4-BE49-F238E27FC236}">
                  <a16:creationId xmlns:a16="http://schemas.microsoft.com/office/drawing/2014/main" id="{61B59F0C-6F7E-423D-8EBE-F47D979830CA}"/>
                </a:ext>
              </a:extLst>
            </p:cNvPr>
            <p:cNvSpPr/>
            <p:nvPr/>
          </p:nvSpPr>
          <p:spPr bwMode="auto">
            <a:xfrm rot="3600000">
              <a:off x="4155714" y="2787507"/>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1" name="Diamond 32">
              <a:extLst>
                <a:ext uri="{FF2B5EF4-FFF2-40B4-BE49-F238E27FC236}">
                  <a16:creationId xmlns:a16="http://schemas.microsoft.com/office/drawing/2014/main" id="{F39E36A1-E203-4282-A90C-A1A52F31A9D2}"/>
                </a:ext>
              </a:extLst>
            </p:cNvPr>
            <p:cNvSpPr/>
            <p:nvPr/>
          </p:nvSpPr>
          <p:spPr bwMode="auto">
            <a:xfrm rot="3600000">
              <a:off x="5459187" y="5045189"/>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2" name="Diamond 33">
              <a:extLst>
                <a:ext uri="{FF2B5EF4-FFF2-40B4-BE49-F238E27FC236}">
                  <a16:creationId xmlns:a16="http://schemas.microsoft.com/office/drawing/2014/main" id="{E9C71D48-2E05-45CE-BCA2-6BC86137FCF6}"/>
                </a:ext>
              </a:extLst>
            </p:cNvPr>
            <p:cNvSpPr/>
            <p:nvPr/>
          </p:nvSpPr>
          <p:spPr bwMode="auto">
            <a:xfrm rot="3600000">
              <a:off x="5027055" y="3789563"/>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3" name="Diamond 34">
              <a:extLst>
                <a:ext uri="{FF2B5EF4-FFF2-40B4-BE49-F238E27FC236}">
                  <a16:creationId xmlns:a16="http://schemas.microsoft.com/office/drawing/2014/main" id="{095E226C-0AA9-49C7-8C9B-C074DB4EDCB6}"/>
                </a:ext>
              </a:extLst>
            </p:cNvPr>
            <p:cNvSpPr/>
            <p:nvPr/>
          </p:nvSpPr>
          <p:spPr bwMode="auto">
            <a:xfrm rot="3600000">
              <a:off x="4592565" y="3036998"/>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4" name="Diamond 35">
              <a:extLst>
                <a:ext uri="{FF2B5EF4-FFF2-40B4-BE49-F238E27FC236}">
                  <a16:creationId xmlns:a16="http://schemas.microsoft.com/office/drawing/2014/main" id="{374BDC29-5DC9-4B97-9E8F-42368A1C5AC6}"/>
                </a:ext>
              </a:extLst>
            </p:cNvPr>
            <p:cNvSpPr/>
            <p:nvPr/>
          </p:nvSpPr>
          <p:spPr bwMode="auto">
            <a:xfrm rot="3600000">
              <a:off x="5461544" y="4542118"/>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5" name="Diamond 36">
              <a:extLst>
                <a:ext uri="{FF2B5EF4-FFF2-40B4-BE49-F238E27FC236}">
                  <a16:creationId xmlns:a16="http://schemas.microsoft.com/office/drawing/2014/main" id="{A9500745-0438-4F8B-BBDB-F6A77C10C161}"/>
                </a:ext>
              </a:extLst>
            </p:cNvPr>
            <p:cNvSpPr/>
            <p:nvPr/>
          </p:nvSpPr>
          <p:spPr bwMode="auto">
            <a:xfrm rot="3600000">
              <a:off x="4587848" y="404313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6" name="Diamond 37">
              <a:extLst>
                <a:ext uri="{FF2B5EF4-FFF2-40B4-BE49-F238E27FC236}">
                  <a16:creationId xmlns:a16="http://schemas.microsoft.com/office/drawing/2014/main" id="{62B5B732-B049-49BB-B83A-ED973CF8C10E}"/>
                </a:ext>
              </a:extLst>
            </p:cNvPr>
            <p:cNvSpPr/>
            <p:nvPr/>
          </p:nvSpPr>
          <p:spPr bwMode="auto">
            <a:xfrm rot="3600000">
              <a:off x="4153361" y="3290575"/>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7" name="Diamond 38">
              <a:extLst>
                <a:ext uri="{FF2B5EF4-FFF2-40B4-BE49-F238E27FC236}">
                  <a16:creationId xmlns:a16="http://schemas.microsoft.com/office/drawing/2014/main" id="{0A60F28D-F4C9-421D-B95F-BC6AE18E6D65}"/>
                </a:ext>
              </a:extLst>
            </p:cNvPr>
            <p:cNvSpPr/>
            <p:nvPr/>
          </p:nvSpPr>
          <p:spPr bwMode="auto">
            <a:xfrm rot="3600000">
              <a:off x="5022342" y="4795697"/>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38" name="Diamond 39">
              <a:extLst>
                <a:ext uri="{FF2B5EF4-FFF2-40B4-BE49-F238E27FC236}">
                  <a16:creationId xmlns:a16="http://schemas.microsoft.com/office/drawing/2014/main" id="{62B7E0B1-778A-409D-BF89-91E6398C74DC}"/>
                </a:ext>
              </a:extLst>
            </p:cNvPr>
            <p:cNvSpPr/>
            <p:nvPr/>
          </p:nvSpPr>
          <p:spPr bwMode="auto">
            <a:xfrm rot="3600000">
              <a:off x="4148646" y="4296704"/>
              <a:ext cx="868983" cy="507151"/>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grpSp>
      <p:grpSp>
        <p:nvGrpSpPr>
          <p:cNvPr id="39" name="Group 38">
            <a:extLst>
              <a:ext uri="{FF2B5EF4-FFF2-40B4-BE49-F238E27FC236}">
                <a16:creationId xmlns:a16="http://schemas.microsoft.com/office/drawing/2014/main" id="{036800F3-8F3A-454D-8BD3-E9A7CD68166D}"/>
              </a:ext>
            </a:extLst>
          </p:cNvPr>
          <p:cNvGrpSpPr/>
          <p:nvPr/>
        </p:nvGrpSpPr>
        <p:grpSpPr>
          <a:xfrm>
            <a:off x="6057317" y="2606582"/>
            <a:ext cx="1824759" cy="3126665"/>
            <a:chOff x="6057317" y="2606582"/>
            <a:chExt cx="1824759" cy="3126665"/>
          </a:xfrm>
          <a:solidFill>
            <a:schemeClr val="accent3"/>
          </a:solidFill>
        </p:grpSpPr>
        <p:sp>
          <p:nvSpPr>
            <p:cNvPr id="40" name="Diamond 8">
              <a:extLst>
                <a:ext uri="{FF2B5EF4-FFF2-40B4-BE49-F238E27FC236}">
                  <a16:creationId xmlns:a16="http://schemas.microsoft.com/office/drawing/2014/main" id="{5C764943-80EE-48C1-B400-DC6D022B0C4B}"/>
                </a:ext>
              </a:extLst>
            </p:cNvPr>
            <p:cNvSpPr/>
            <p:nvPr/>
          </p:nvSpPr>
          <p:spPr bwMode="auto">
            <a:xfrm rot="18000000">
              <a:off x="5878756" y="4039045"/>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1" name="Diamond 9">
              <a:extLst>
                <a:ext uri="{FF2B5EF4-FFF2-40B4-BE49-F238E27FC236}">
                  <a16:creationId xmlns:a16="http://schemas.microsoft.com/office/drawing/2014/main" id="{BCFE75A1-4472-4FE3-9792-50209D092890}"/>
                </a:ext>
              </a:extLst>
            </p:cNvPr>
            <p:cNvSpPr/>
            <p:nvPr/>
          </p:nvSpPr>
          <p:spPr bwMode="auto">
            <a:xfrm rot="18000000">
              <a:off x="6313246" y="3286485"/>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2" name="Diamond 10">
              <a:extLst>
                <a:ext uri="{FF2B5EF4-FFF2-40B4-BE49-F238E27FC236}">
                  <a16:creationId xmlns:a16="http://schemas.microsoft.com/office/drawing/2014/main" id="{9DDFD0D1-0AD2-4B3B-9A61-60DE9174B5BB}"/>
                </a:ext>
              </a:extLst>
            </p:cNvPr>
            <p:cNvSpPr/>
            <p:nvPr/>
          </p:nvSpPr>
          <p:spPr bwMode="auto">
            <a:xfrm rot="18000000">
              <a:off x="5876400" y="3535980"/>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3" name="Diamond 11">
              <a:extLst>
                <a:ext uri="{FF2B5EF4-FFF2-40B4-BE49-F238E27FC236}">
                  <a16:creationId xmlns:a16="http://schemas.microsoft.com/office/drawing/2014/main" id="{4A2D54C1-E8DC-4715-A9C3-3C209897CC83}"/>
                </a:ext>
              </a:extLst>
            </p:cNvPr>
            <p:cNvSpPr/>
            <p:nvPr/>
          </p:nvSpPr>
          <p:spPr bwMode="auto">
            <a:xfrm rot="18000000">
              <a:off x="6317959" y="4292622"/>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4" name="Diamond 12">
              <a:extLst>
                <a:ext uri="{FF2B5EF4-FFF2-40B4-BE49-F238E27FC236}">
                  <a16:creationId xmlns:a16="http://schemas.microsoft.com/office/drawing/2014/main" id="{96CE3CA4-D984-4D75-B8EF-C67C98B61CF2}"/>
                </a:ext>
              </a:extLst>
            </p:cNvPr>
            <p:cNvSpPr/>
            <p:nvPr/>
          </p:nvSpPr>
          <p:spPr bwMode="auto">
            <a:xfrm rot="18000000">
              <a:off x="6752450" y="3540062"/>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5" name="Diamond 13">
              <a:extLst>
                <a:ext uri="{FF2B5EF4-FFF2-40B4-BE49-F238E27FC236}">
                  <a16:creationId xmlns:a16="http://schemas.microsoft.com/office/drawing/2014/main" id="{24FE2898-3013-48BC-9D7B-A141FA3FA7B2}"/>
                </a:ext>
              </a:extLst>
            </p:cNvPr>
            <p:cNvSpPr/>
            <p:nvPr/>
          </p:nvSpPr>
          <p:spPr bwMode="auto">
            <a:xfrm rot="18000000">
              <a:off x="6757164" y="4546197"/>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6" name="Diamond 14">
              <a:extLst>
                <a:ext uri="{FF2B5EF4-FFF2-40B4-BE49-F238E27FC236}">
                  <a16:creationId xmlns:a16="http://schemas.microsoft.com/office/drawing/2014/main" id="{9923E997-7CCB-4F67-83C1-4E6CA53A71A5}"/>
                </a:ext>
              </a:extLst>
            </p:cNvPr>
            <p:cNvSpPr/>
            <p:nvPr/>
          </p:nvSpPr>
          <p:spPr bwMode="auto">
            <a:xfrm rot="18000000">
              <a:off x="7191654" y="3793637"/>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7" name="Diamond 15">
              <a:extLst>
                <a:ext uri="{FF2B5EF4-FFF2-40B4-BE49-F238E27FC236}">
                  <a16:creationId xmlns:a16="http://schemas.microsoft.com/office/drawing/2014/main" id="{E0420ED6-BFD5-4929-BBEA-3122A1107B9A}"/>
                </a:ext>
              </a:extLst>
            </p:cNvPr>
            <p:cNvSpPr/>
            <p:nvPr/>
          </p:nvSpPr>
          <p:spPr bwMode="auto">
            <a:xfrm rot="18000000">
              <a:off x="5883470" y="5045180"/>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8" name="Diamond 16">
              <a:extLst>
                <a:ext uri="{FF2B5EF4-FFF2-40B4-BE49-F238E27FC236}">
                  <a16:creationId xmlns:a16="http://schemas.microsoft.com/office/drawing/2014/main" id="{3CEC0F85-A023-4B36-AD47-CBDCB53B7631}"/>
                </a:ext>
              </a:extLst>
            </p:cNvPr>
            <p:cNvSpPr/>
            <p:nvPr/>
          </p:nvSpPr>
          <p:spPr bwMode="auto">
            <a:xfrm rot="18000000">
              <a:off x="7186945" y="2787499"/>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49" name="Diamond 17">
              <a:extLst>
                <a:ext uri="{FF2B5EF4-FFF2-40B4-BE49-F238E27FC236}">
                  <a16:creationId xmlns:a16="http://schemas.microsoft.com/office/drawing/2014/main" id="{6EDA06A9-628C-4E96-8047-F6D5CBAF1A2A}"/>
                </a:ext>
              </a:extLst>
            </p:cNvPr>
            <p:cNvSpPr/>
            <p:nvPr/>
          </p:nvSpPr>
          <p:spPr bwMode="auto">
            <a:xfrm rot="18000000">
              <a:off x="6315607" y="3789551"/>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0" name="Diamond 18">
              <a:extLst>
                <a:ext uri="{FF2B5EF4-FFF2-40B4-BE49-F238E27FC236}">
                  <a16:creationId xmlns:a16="http://schemas.microsoft.com/office/drawing/2014/main" id="{09D51344-A2F5-487E-9C3D-B02B8212BA04}"/>
                </a:ext>
              </a:extLst>
            </p:cNvPr>
            <p:cNvSpPr/>
            <p:nvPr/>
          </p:nvSpPr>
          <p:spPr bwMode="auto">
            <a:xfrm rot="18000000">
              <a:off x="5881114" y="4542115"/>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1" name="Diamond 19">
              <a:extLst>
                <a:ext uri="{FF2B5EF4-FFF2-40B4-BE49-F238E27FC236}">
                  <a16:creationId xmlns:a16="http://schemas.microsoft.com/office/drawing/2014/main" id="{5D9E9ABA-FEB0-43BB-BFCF-82B3FF7654DC}"/>
                </a:ext>
              </a:extLst>
            </p:cNvPr>
            <p:cNvSpPr/>
            <p:nvPr/>
          </p:nvSpPr>
          <p:spPr bwMode="auto">
            <a:xfrm rot="18000000">
              <a:off x="6750099" y="3036994"/>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2" name="Diamond 20">
              <a:extLst>
                <a:ext uri="{FF2B5EF4-FFF2-40B4-BE49-F238E27FC236}">
                  <a16:creationId xmlns:a16="http://schemas.microsoft.com/office/drawing/2014/main" id="{8A8A242F-257F-4E44-B134-59F1D3213146}"/>
                </a:ext>
              </a:extLst>
            </p:cNvPr>
            <p:cNvSpPr/>
            <p:nvPr/>
          </p:nvSpPr>
          <p:spPr bwMode="auto">
            <a:xfrm rot="18000000">
              <a:off x="6754812" y="4043128"/>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3" name="Diamond 21">
              <a:extLst>
                <a:ext uri="{FF2B5EF4-FFF2-40B4-BE49-F238E27FC236}">
                  <a16:creationId xmlns:a16="http://schemas.microsoft.com/office/drawing/2014/main" id="{19CDE5B8-FE3A-4A28-A544-E4AF2FA0D400}"/>
                </a:ext>
              </a:extLst>
            </p:cNvPr>
            <p:cNvSpPr/>
            <p:nvPr/>
          </p:nvSpPr>
          <p:spPr bwMode="auto">
            <a:xfrm rot="18000000">
              <a:off x="6320322" y="4795689"/>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4" name="Diamond 22">
              <a:extLst>
                <a:ext uri="{FF2B5EF4-FFF2-40B4-BE49-F238E27FC236}">
                  <a16:creationId xmlns:a16="http://schemas.microsoft.com/office/drawing/2014/main" id="{BB3A0D99-C402-488F-8987-E7DBCD5C26A3}"/>
                </a:ext>
              </a:extLst>
            </p:cNvPr>
            <p:cNvSpPr/>
            <p:nvPr/>
          </p:nvSpPr>
          <p:spPr bwMode="auto">
            <a:xfrm rot="18000000">
              <a:off x="7189303" y="3290566"/>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sp>
          <p:nvSpPr>
            <p:cNvPr id="55" name="Diamond 23">
              <a:extLst>
                <a:ext uri="{FF2B5EF4-FFF2-40B4-BE49-F238E27FC236}">
                  <a16:creationId xmlns:a16="http://schemas.microsoft.com/office/drawing/2014/main" id="{A6A87ED9-118B-41A4-84FE-1383F8AF3B38}"/>
                </a:ext>
              </a:extLst>
            </p:cNvPr>
            <p:cNvSpPr/>
            <p:nvPr/>
          </p:nvSpPr>
          <p:spPr bwMode="auto">
            <a:xfrm rot="18000000">
              <a:off x="7194010" y="4296705"/>
              <a:ext cx="868984" cy="507149"/>
            </a:xfrm>
            <a:prstGeom prst="diamond">
              <a:avLst/>
            </a:prstGeom>
            <a:grpFill/>
            <a:ln w="12700" cap="flat" cmpd="sng" algn="ctr">
              <a:solidFill>
                <a:srgbClr val="FFFFFF"/>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Arial" charset="0"/>
                <a:ea typeface="+mn-ea"/>
                <a:cs typeface="Arial" charset="0"/>
              </a:endParaRPr>
            </a:p>
          </p:txBody>
        </p:sp>
      </p:grpSp>
      <p:sp>
        <p:nvSpPr>
          <p:cNvPr id="3" name="Rectangle 2">
            <a:hlinkClick r:id="rId3" action="ppaction://hlinksldjump"/>
            <a:extLst>
              <a:ext uri="{FF2B5EF4-FFF2-40B4-BE49-F238E27FC236}">
                <a16:creationId xmlns:a16="http://schemas.microsoft.com/office/drawing/2014/main" id="{B428EF4D-D645-494A-B982-32D588CA715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81818328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B4CE5-0F43-4DF2-8DAA-E502B1B65463}"/>
              </a:ext>
            </a:extLst>
          </p:cNvPr>
          <p:cNvSpPr>
            <a:spLocks noGrp="1"/>
          </p:cNvSpPr>
          <p:nvPr>
            <p:ph type="title"/>
          </p:nvPr>
        </p:nvSpPr>
        <p:spPr/>
        <p:txBody>
          <a:bodyPr/>
          <a:lstStyle/>
          <a:p>
            <a:r>
              <a:rPr lang="en-US" dirty="0"/>
              <a:t>Text Objects</a:t>
            </a:r>
          </a:p>
        </p:txBody>
      </p:sp>
      <p:sp>
        <p:nvSpPr>
          <p:cNvPr id="7" name="Text Placeholder 6">
            <a:extLst>
              <a:ext uri="{FF2B5EF4-FFF2-40B4-BE49-F238E27FC236}">
                <a16:creationId xmlns:a16="http://schemas.microsoft.com/office/drawing/2014/main" id="{32ABCEEC-7F7A-44D5-8882-4449BD7D7C4B}"/>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Static Objects</a:t>
            </a:r>
            <a:endParaRPr lang="en-US" dirty="0"/>
          </a:p>
        </p:txBody>
      </p:sp>
      <p:sp>
        <p:nvSpPr>
          <p:cNvPr id="4" name="Freeform: Shape 3">
            <a:hlinkClick r:id="rId4" action="ppaction://hlinksldjump"/>
            <a:extLst>
              <a:ext uri="{FF2B5EF4-FFF2-40B4-BE49-F238E27FC236}">
                <a16:creationId xmlns:a16="http://schemas.microsoft.com/office/drawing/2014/main" id="{B5A71D9F-A0E0-4C97-8989-38A77CDE6D71}"/>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4BF6824C-C98F-4A8B-8F41-6AB9949CCFA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52445859"/>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Frameworks: Value Chain</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54A0F46-CB3C-4AFB-B71D-09E5DE176A8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3" name="TextBox 22">
            <a:extLst>
              <a:ext uri="{FF2B5EF4-FFF2-40B4-BE49-F238E27FC236}">
                <a16:creationId xmlns:a16="http://schemas.microsoft.com/office/drawing/2014/main" id="{8339FF2D-001A-4969-8F02-D5E5FD1ADE65}"/>
              </a:ext>
            </a:extLst>
          </p:cNvPr>
          <p:cNvSpPr txBox="1"/>
          <p:nvPr/>
        </p:nvSpPr>
        <p:spPr bwMode="auto">
          <a:xfrm rot="5400000">
            <a:off x="1440911" y="1466374"/>
            <a:ext cx="215444" cy="2407232"/>
          </a:xfrm>
          <a:prstGeom prst="rect">
            <a:avLst/>
          </a:prstGeom>
          <a:noFill/>
        </p:spPr>
        <p:txBody>
          <a:bodyPr vert="vert270" wrap="square" lIns="0" tIns="0" rIns="0" bIns="0" rtlCol="0">
            <a:spAutoFit/>
          </a:bodyPr>
          <a:lstStyle/>
          <a:p>
            <a:pPr algn="r">
              <a:buClr>
                <a:schemeClr val="accent1"/>
              </a:buClr>
              <a:buSzPct val="80000"/>
            </a:pPr>
            <a:r>
              <a:rPr lang="en-US" sz="1400" b="1" dirty="0">
                <a:solidFill>
                  <a:sysClr val="windowText" lastClr="000000"/>
                </a:solidFill>
                <a:latin typeface="+mj-lt"/>
              </a:rPr>
              <a:t>Core process</a:t>
            </a:r>
          </a:p>
        </p:txBody>
      </p:sp>
      <p:sp>
        <p:nvSpPr>
          <p:cNvPr id="25" name="TextBox 24">
            <a:extLst>
              <a:ext uri="{FF2B5EF4-FFF2-40B4-BE49-F238E27FC236}">
                <a16:creationId xmlns:a16="http://schemas.microsoft.com/office/drawing/2014/main" id="{EBB48F42-2277-46F5-A9ED-D9BDF9EDA10A}"/>
              </a:ext>
            </a:extLst>
          </p:cNvPr>
          <p:cNvSpPr txBox="1"/>
          <p:nvPr/>
        </p:nvSpPr>
        <p:spPr bwMode="auto">
          <a:xfrm rot="5400000">
            <a:off x="1440912" y="3580066"/>
            <a:ext cx="215444" cy="2407232"/>
          </a:xfrm>
          <a:prstGeom prst="rect">
            <a:avLst/>
          </a:prstGeom>
          <a:noFill/>
        </p:spPr>
        <p:txBody>
          <a:bodyPr vert="vert270" wrap="square" lIns="0" tIns="0" rIns="0" bIns="0" rtlCol="0">
            <a:spAutoFit/>
          </a:bodyPr>
          <a:lstStyle/>
          <a:p>
            <a:pPr algn="r">
              <a:buClr>
                <a:schemeClr val="accent1"/>
              </a:buClr>
              <a:buSzPct val="80000"/>
            </a:pPr>
            <a:r>
              <a:rPr lang="en-US" sz="1400" b="1" dirty="0">
                <a:solidFill>
                  <a:sysClr val="windowText" lastClr="000000"/>
                </a:solidFill>
                <a:latin typeface="+mj-lt"/>
              </a:rPr>
              <a:t>Support process</a:t>
            </a:r>
          </a:p>
        </p:txBody>
      </p:sp>
      <p:sp>
        <p:nvSpPr>
          <p:cNvPr id="27" name="Rectangle 5">
            <a:extLst>
              <a:ext uri="{FF2B5EF4-FFF2-40B4-BE49-F238E27FC236}">
                <a16:creationId xmlns:a16="http://schemas.microsoft.com/office/drawing/2014/main" id="{26A8B33D-268E-4E6C-9BF8-098A31CDCF1B}"/>
              </a:ext>
            </a:extLst>
          </p:cNvPr>
          <p:cNvSpPr>
            <a:spLocks noChangeArrowheads="1"/>
          </p:cNvSpPr>
          <p:nvPr/>
        </p:nvSpPr>
        <p:spPr bwMode="auto">
          <a:xfrm>
            <a:off x="3200922" y="1469497"/>
            <a:ext cx="6840918" cy="2926154"/>
          </a:xfrm>
          <a:prstGeom prst="rect">
            <a:avLst/>
          </a:prstGeom>
          <a:solidFill>
            <a:schemeClr val="accent1">
              <a:lumMod val="20000"/>
              <a:lumOff val="80000"/>
            </a:schemeClr>
          </a:solidFill>
          <a:ln w="19050" algn="ctr">
            <a:solidFill>
              <a:schemeClr val="bg1"/>
            </a:solidFill>
            <a:miter lim="800000"/>
            <a:headEnd/>
            <a:tailEnd/>
          </a:ln>
          <a:effectLst/>
        </p:spPr>
        <p:txBody>
          <a:bodyPr wrap="none" lIns="90000" tIns="46800" rIns="90000" bIns="46800" anchor="ctr"/>
          <a:lstStyle/>
          <a:p>
            <a:pPr>
              <a:buClr>
                <a:schemeClr val="tx2"/>
              </a:buClr>
              <a:buSzTx/>
            </a:pPr>
            <a:endParaRPr lang="en-US" sz="1200" dirty="0"/>
          </a:p>
        </p:txBody>
      </p:sp>
      <p:sp>
        <p:nvSpPr>
          <p:cNvPr id="29" name="Freeform 6">
            <a:extLst>
              <a:ext uri="{FF2B5EF4-FFF2-40B4-BE49-F238E27FC236}">
                <a16:creationId xmlns:a16="http://schemas.microsoft.com/office/drawing/2014/main" id="{AEE50646-8297-4A39-817E-A0F5884F27F0}"/>
              </a:ext>
            </a:extLst>
          </p:cNvPr>
          <p:cNvSpPr>
            <a:spLocks/>
          </p:cNvSpPr>
          <p:nvPr/>
        </p:nvSpPr>
        <p:spPr bwMode="auto">
          <a:xfrm>
            <a:off x="8218496" y="1469497"/>
            <a:ext cx="409690" cy="365237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31" name="Freeform 7">
            <a:extLst>
              <a:ext uri="{FF2B5EF4-FFF2-40B4-BE49-F238E27FC236}">
                <a16:creationId xmlns:a16="http://schemas.microsoft.com/office/drawing/2014/main" id="{F4B904E1-907D-4C64-BD73-0D029E62BCAF}"/>
              </a:ext>
            </a:extLst>
          </p:cNvPr>
          <p:cNvSpPr>
            <a:spLocks/>
          </p:cNvSpPr>
          <p:nvPr/>
        </p:nvSpPr>
        <p:spPr bwMode="auto">
          <a:xfrm>
            <a:off x="7401366" y="1469497"/>
            <a:ext cx="409690" cy="365237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33" name="Freeform 8">
            <a:extLst>
              <a:ext uri="{FF2B5EF4-FFF2-40B4-BE49-F238E27FC236}">
                <a16:creationId xmlns:a16="http://schemas.microsoft.com/office/drawing/2014/main" id="{6FD2CE74-F539-47B5-ACE4-B9928DC9C6B0}"/>
              </a:ext>
            </a:extLst>
          </p:cNvPr>
          <p:cNvSpPr>
            <a:spLocks/>
          </p:cNvSpPr>
          <p:nvPr/>
        </p:nvSpPr>
        <p:spPr bwMode="auto">
          <a:xfrm>
            <a:off x="3729917" y="1469497"/>
            <a:ext cx="409690" cy="365237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35" name="Freeform 9">
            <a:extLst>
              <a:ext uri="{FF2B5EF4-FFF2-40B4-BE49-F238E27FC236}">
                <a16:creationId xmlns:a16="http://schemas.microsoft.com/office/drawing/2014/main" id="{964B4B43-B856-4143-9D39-D158461240CD}"/>
              </a:ext>
            </a:extLst>
          </p:cNvPr>
          <p:cNvSpPr>
            <a:spLocks/>
          </p:cNvSpPr>
          <p:nvPr/>
        </p:nvSpPr>
        <p:spPr bwMode="auto">
          <a:xfrm>
            <a:off x="6687787" y="1469497"/>
            <a:ext cx="409690" cy="365237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37" name="Rectangle 10">
            <a:extLst>
              <a:ext uri="{FF2B5EF4-FFF2-40B4-BE49-F238E27FC236}">
                <a16:creationId xmlns:a16="http://schemas.microsoft.com/office/drawing/2014/main" id="{B9EBA7B5-F427-4EA7-A1CF-358E2E502E1C}"/>
              </a:ext>
            </a:extLst>
          </p:cNvPr>
          <p:cNvSpPr>
            <a:spLocks noChangeArrowheads="1"/>
          </p:cNvSpPr>
          <p:nvPr/>
        </p:nvSpPr>
        <p:spPr bwMode="auto">
          <a:xfrm>
            <a:off x="3194169" y="3918594"/>
            <a:ext cx="6847671" cy="1514733"/>
          </a:xfrm>
          <a:prstGeom prst="rect">
            <a:avLst/>
          </a:prstGeom>
          <a:solidFill>
            <a:schemeClr val="tx2">
              <a:lumMod val="20000"/>
              <a:lumOff val="80000"/>
            </a:schemeClr>
          </a:solidFill>
          <a:ln w="38100" algn="ctr">
            <a:solidFill>
              <a:schemeClr val="bg1"/>
            </a:solidFill>
            <a:miter lim="800000"/>
            <a:headEnd/>
            <a:tailEnd/>
          </a:ln>
          <a:effectLst/>
        </p:spPr>
        <p:txBody>
          <a:bodyPr wrap="none" lIns="90000" tIns="46800" rIns="90000" bIns="46800" anchor="ctr"/>
          <a:lstStyle/>
          <a:p>
            <a:pPr>
              <a:buClr>
                <a:schemeClr val="tx2"/>
              </a:buClr>
              <a:buSzTx/>
            </a:pPr>
            <a:endParaRPr lang="en-US" sz="1200" dirty="0"/>
          </a:p>
        </p:txBody>
      </p:sp>
      <p:sp>
        <p:nvSpPr>
          <p:cNvPr id="39" name="Line 12">
            <a:extLst>
              <a:ext uri="{FF2B5EF4-FFF2-40B4-BE49-F238E27FC236}">
                <a16:creationId xmlns:a16="http://schemas.microsoft.com/office/drawing/2014/main" id="{7D8EEEBA-C4BA-46A8-9DF8-6BCE9C2DA88B}"/>
              </a:ext>
            </a:extLst>
          </p:cNvPr>
          <p:cNvSpPr>
            <a:spLocks noChangeShapeType="1"/>
          </p:cNvSpPr>
          <p:nvPr/>
        </p:nvSpPr>
        <p:spPr bwMode="auto">
          <a:xfrm>
            <a:off x="4139607" y="3253145"/>
            <a:ext cx="2957869"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1" name="Line 13">
            <a:extLst>
              <a:ext uri="{FF2B5EF4-FFF2-40B4-BE49-F238E27FC236}">
                <a16:creationId xmlns:a16="http://schemas.microsoft.com/office/drawing/2014/main" id="{2650FA1D-72B9-49D7-9348-D55C82D616F3}"/>
              </a:ext>
            </a:extLst>
          </p:cNvPr>
          <p:cNvSpPr>
            <a:spLocks noChangeShapeType="1"/>
          </p:cNvSpPr>
          <p:nvPr/>
        </p:nvSpPr>
        <p:spPr bwMode="auto">
          <a:xfrm>
            <a:off x="3216679" y="4214855"/>
            <a:ext cx="6329931"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3" name="Line 14">
            <a:extLst>
              <a:ext uri="{FF2B5EF4-FFF2-40B4-BE49-F238E27FC236}">
                <a16:creationId xmlns:a16="http://schemas.microsoft.com/office/drawing/2014/main" id="{AACE501D-B7A7-4DFF-9EF7-A430A8744798}"/>
              </a:ext>
            </a:extLst>
          </p:cNvPr>
          <p:cNvSpPr>
            <a:spLocks noChangeShapeType="1"/>
          </p:cNvSpPr>
          <p:nvPr/>
        </p:nvSpPr>
        <p:spPr bwMode="auto">
          <a:xfrm>
            <a:off x="3216679" y="4520739"/>
            <a:ext cx="6329931"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5" name="Line 15">
            <a:extLst>
              <a:ext uri="{FF2B5EF4-FFF2-40B4-BE49-F238E27FC236}">
                <a16:creationId xmlns:a16="http://schemas.microsoft.com/office/drawing/2014/main" id="{E9167D3A-3244-416C-84A0-083C071C074D}"/>
              </a:ext>
            </a:extLst>
          </p:cNvPr>
          <p:cNvSpPr>
            <a:spLocks noChangeShapeType="1"/>
          </p:cNvSpPr>
          <p:nvPr/>
        </p:nvSpPr>
        <p:spPr bwMode="auto">
          <a:xfrm>
            <a:off x="3216679" y="4826624"/>
            <a:ext cx="6329931"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7" name="Line 16">
            <a:extLst>
              <a:ext uri="{FF2B5EF4-FFF2-40B4-BE49-F238E27FC236}">
                <a16:creationId xmlns:a16="http://schemas.microsoft.com/office/drawing/2014/main" id="{135E14DF-C310-408E-BE1C-61A3636AD2C1}"/>
              </a:ext>
            </a:extLst>
          </p:cNvPr>
          <p:cNvSpPr>
            <a:spLocks noChangeShapeType="1"/>
          </p:cNvSpPr>
          <p:nvPr/>
        </p:nvSpPr>
        <p:spPr bwMode="auto">
          <a:xfrm>
            <a:off x="3216679" y="5132507"/>
            <a:ext cx="6329931" cy="0"/>
          </a:xfrm>
          <a:prstGeom prst="line">
            <a:avLst/>
          </a:prstGeom>
          <a:noFill/>
          <a:ln w="38100">
            <a:solidFill>
              <a:schemeClr val="bg1"/>
            </a:solidFill>
            <a:round/>
            <a:headEnd/>
            <a:tailEnd/>
          </a:ln>
          <a:effectLst/>
        </p:spPr>
        <p:txBody>
          <a:bodyPr wrap="none" lIns="90000" tIns="46800" rIns="90000" bIns="46800" anchor="ctr"/>
          <a:lstStyle/>
          <a:p>
            <a:endParaRPr lang="en-US" dirty="0"/>
          </a:p>
        </p:txBody>
      </p:sp>
      <p:sp>
        <p:nvSpPr>
          <p:cNvPr id="49" name="AutoShape 17">
            <a:extLst>
              <a:ext uri="{FF2B5EF4-FFF2-40B4-BE49-F238E27FC236}">
                <a16:creationId xmlns:a16="http://schemas.microsoft.com/office/drawing/2014/main" id="{53371CA2-B66C-4867-B84B-218D782D1BBA}"/>
              </a:ext>
            </a:extLst>
          </p:cNvPr>
          <p:cNvSpPr>
            <a:spLocks noChangeArrowheads="1"/>
          </p:cNvSpPr>
          <p:nvPr/>
        </p:nvSpPr>
        <p:spPr bwMode="auto">
          <a:xfrm>
            <a:off x="9019866" y="1481650"/>
            <a:ext cx="1530709" cy="3960792"/>
          </a:xfrm>
          <a:prstGeom prst="chevron">
            <a:avLst>
              <a:gd name="adj" fmla="val 25000"/>
            </a:avLst>
          </a:prstGeom>
          <a:solidFill>
            <a:schemeClr val="accent3"/>
          </a:solidFill>
          <a:ln w="38100" algn="ctr">
            <a:noFill/>
            <a:miter lim="800000"/>
            <a:headEnd/>
            <a:tailEnd/>
          </a:ln>
          <a:effectLst/>
        </p:spPr>
        <p:txBody>
          <a:bodyPr wrap="none" lIns="90000" tIns="46800" rIns="90000" bIns="46800" anchor="ctr"/>
          <a:lstStyle/>
          <a:p>
            <a:pPr>
              <a:buClr>
                <a:schemeClr val="tx2"/>
              </a:buClr>
              <a:buSzTx/>
            </a:pPr>
            <a:endParaRPr lang="en-US" sz="1200" dirty="0"/>
          </a:p>
        </p:txBody>
      </p:sp>
      <p:sp>
        <p:nvSpPr>
          <p:cNvPr id="51" name="Line 18">
            <a:extLst>
              <a:ext uri="{FF2B5EF4-FFF2-40B4-BE49-F238E27FC236}">
                <a16:creationId xmlns:a16="http://schemas.microsoft.com/office/drawing/2014/main" id="{53E1A6F6-A18E-44C6-A0C2-C9B880A898A4}"/>
              </a:ext>
            </a:extLst>
          </p:cNvPr>
          <p:cNvSpPr>
            <a:spLocks noChangeShapeType="1"/>
          </p:cNvSpPr>
          <p:nvPr/>
        </p:nvSpPr>
        <p:spPr bwMode="auto">
          <a:xfrm flipH="1">
            <a:off x="6280347" y="3918594"/>
            <a:ext cx="0" cy="1532964"/>
          </a:xfrm>
          <a:prstGeom prst="line">
            <a:avLst/>
          </a:prstGeom>
          <a:noFill/>
          <a:ln w="19050">
            <a:solidFill>
              <a:schemeClr val="accent2"/>
            </a:solidFill>
            <a:round/>
            <a:headEnd type="triangle" w="med" len="med"/>
            <a:tailEnd type="triangle" w="med" len="med"/>
          </a:ln>
          <a:effectLst/>
        </p:spPr>
        <p:txBody>
          <a:bodyPr wrap="none" lIns="90000" tIns="46800" rIns="90000" bIns="46800" anchor="ctr"/>
          <a:lstStyle/>
          <a:p>
            <a:endParaRPr lang="en-US" dirty="0"/>
          </a:p>
        </p:txBody>
      </p:sp>
      <p:sp>
        <p:nvSpPr>
          <p:cNvPr id="53" name="Freeform 6">
            <a:extLst>
              <a:ext uri="{FF2B5EF4-FFF2-40B4-BE49-F238E27FC236}">
                <a16:creationId xmlns:a16="http://schemas.microsoft.com/office/drawing/2014/main" id="{0F75173F-FB62-4795-B55F-36F1E1F4444A}"/>
              </a:ext>
            </a:extLst>
          </p:cNvPr>
          <p:cNvSpPr>
            <a:spLocks/>
          </p:cNvSpPr>
          <p:nvPr/>
        </p:nvSpPr>
        <p:spPr bwMode="auto">
          <a:xfrm>
            <a:off x="9002450" y="1469497"/>
            <a:ext cx="409690" cy="3972945"/>
          </a:xfrm>
          <a:custGeom>
            <a:avLst/>
            <a:gdLst/>
            <a:ahLst/>
            <a:cxnLst>
              <a:cxn ang="0">
                <a:pos x="0" y="0"/>
              </a:cxn>
              <a:cxn ang="0">
                <a:pos x="182" y="1179"/>
              </a:cxn>
              <a:cxn ang="0">
                <a:pos x="0" y="2404"/>
              </a:cxn>
            </a:cxnLst>
            <a:rect l="0" t="0" r="r" b="b"/>
            <a:pathLst>
              <a:path w="182" h="2404">
                <a:moveTo>
                  <a:pt x="0" y="0"/>
                </a:moveTo>
                <a:lnTo>
                  <a:pt x="182" y="1179"/>
                </a:lnTo>
                <a:lnTo>
                  <a:pt x="0" y="2404"/>
                </a:lnTo>
              </a:path>
            </a:pathLst>
          </a:custGeom>
          <a:noFill/>
          <a:ln w="38100" cap="flat" cmpd="sng">
            <a:solidFill>
              <a:schemeClr val="bg1"/>
            </a:solidFill>
            <a:prstDash val="solid"/>
            <a:round/>
            <a:headEnd/>
            <a:tailEnd/>
          </a:ln>
          <a:effectLst/>
        </p:spPr>
        <p:txBody>
          <a:bodyPr wrap="none" lIns="90000" tIns="46800" rIns="90000" bIns="46800" anchor="ctr"/>
          <a:lstStyle/>
          <a:p>
            <a:endParaRPr lang="en-US" dirty="0"/>
          </a:p>
        </p:txBody>
      </p:sp>
      <p:sp>
        <p:nvSpPr>
          <p:cNvPr id="55" name="AutoShape 94">
            <a:extLst>
              <a:ext uri="{FF2B5EF4-FFF2-40B4-BE49-F238E27FC236}">
                <a16:creationId xmlns:a16="http://schemas.microsoft.com/office/drawing/2014/main" id="{DCB53EAC-9427-4914-8206-6B47B1E850CF}"/>
              </a:ext>
            </a:extLst>
          </p:cNvPr>
          <p:cNvSpPr>
            <a:spLocks/>
          </p:cNvSpPr>
          <p:nvPr/>
        </p:nvSpPr>
        <p:spPr bwMode="auto">
          <a:xfrm>
            <a:off x="5577958" y="5847026"/>
            <a:ext cx="2028253" cy="679774"/>
          </a:xfrm>
          <a:prstGeom prst="accentCallout2">
            <a:avLst>
              <a:gd name="adj1" fmla="val 36366"/>
              <a:gd name="adj2" fmla="val -4602"/>
              <a:gd name="adj3" fmla="val 36366"/>
              <a:gd name="adj4" fmla="val -78142"/>
              <a:gd name="adj5" fmla="val -154246"/>
              <a:gd name="adj6" fmla="val -90462"/>
            </a:avLst>
          </a:prstGeom>
          <a:solidFill>
            <a:schemeClr val="bg1">
              <a:lumMod val="95000"/>
            </a:schemeClr>
          </a:solidFill>
          <a:ln w="3175">
            <a:solidFill>
              <a:schemeClr val="accent2">
                <a:lumMod val="50000"/>
              </a:schemeClr>
            </a:solidFill>
            <a:miter lim="800000"/>
            <a:headEnd/>
            <a:tailEnd/>
          </a:ln>
          <a:effectLst/>
        </p:spPr>
        <p:txBody>
          <a:bodyPr wrap="square" lIns="108000" tIns="108000" rIns="72000" bIns="108000" anchor="t" anchorCtr="0">
            <a:spAutoFit/>
          </a:bodyPr>
          <a:lstStyle/>
          <a:p>
            <a:pPr marL="144000" indent="-144000">
              <a:spcBef>
                <a:spcPts val="100"/>
              </a:spcBef>
              <a:spcAft>
                <a:spcPts val="100"/>
              </a:spcAft>
              <a:buClr>
                <a:srgbClr val="000000"/>
              </a:buClr>
              <a:buSzPct val="100000"/>
            </a:pPr>
            <a:r>
              <a:rPr lang="en-US" sz="1000" b="1" dirty="0"/>
              <a:t>Draw the supporting processes by dragging and deleting the lines</a:t>
            </a:r>
          </a:p>
        </p:txBody>
      </p:sp>
    </p:spTree>
    <p:extLst>
      <p:ext uri="{BB962C8B-B14F-4D97-AF65-F5344CB8AC3E}">
        <p14:creationId xmlns:p14="http://schemas.microsoft.com/office/powerpoint/2010/main" val="7308031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FE6BEB2-82FC-1B43-8566-B53BEFFA98DC}"/>
              </a:ext>
            </a:extLst>
          </p:cNvPr>
          <p:cNvSpPr>
            <a:spLocks noGrp="1"/>
          </p:cNvSpPr>
          <p:nvPr>
            <p:ph type="pic" sz="quarter" idx="13"/>
          </p:nvPr>
        </p:nvSpPr>
        <p:spPr/>
      </p:sp>
      <p:sp>
        <p:nvSpPr>
          <p:cNvPr id="6" name="Title 5">
            <a:extLst>
              <a:ext uri="{FF2B5EF4-FFF2-40B4-BE49-F238E27FC236}">
                <a16:creationId xmlns:a16="http://schemas.microsoft.com/office/drawing/2014/main" id="{F35BC99B-B72B-5741-AB84-819CFBA7C94C}"/>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66908FC2-B06C-5F42-B5F8-72ACEA8243C7}"/>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2397307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1</a:t>
            </a:r>
            <a:endParaRPr lang="de-DE" dirty="0"/>
          </a:p>
        </p:txBody>
      </p:sp>
      <p:sp>
        <p:nvSpPr>
          <p:cNvPr id="21" name="Freeform: Shape 20">
            <a:hlinkClick r:id="rId2"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2" action="ppaction://hlinksldjump"/>
            <a:extLst>
              <a:ext uri="{FF2B5EF4-FFF2-40B4-BE49-F238E27FC236}">
                <a16:creationId xmlns:a16="http://schemas.microsoft.com/office/drawing/2014/main" id="{07BC31FE-8754-44CA-9AAD-EFD369ADD96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AutoShape 4">
            <a:extLst>
              <a:ext uri="{FF2B5EF4-FFF2-40B4-BE49-F238E27FC236}">
                <a16:creationId xmlns:a16="http://schemas.microsoft.com/office/drawing/2014/main" id="{F3A8B271-2FFF-4783-BED8-C7C8EB5B2BEA}"/>
              </a:ext>
            </a:extLst>
          </p:cNvPr>
          <p:cNvSpPr>
            <a:spLocks noChangeArrowheads="1"/>
          </p:cNvSpPr>
          <p:nvPr/>
        </p:nvSpPr>
        <p:spPr bwMode="auto">
          <a:xfrm rot="16200000" flipH="1">
            <a:off x="2747372" y="4038124"/>
            <a:ext cx="1927304" cy="1782774"/>
          </a:xfrm>
          <a:prstGeom prst="homePlate">
            <a:avLst>
              <a:gd name="adj" fmla="val 33333"/>
            </a:avLst>
          </a:prstGeom>
          <a:solidFill>
            <a:schemeClr val="accent3"/>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r>
              <a:rPr lang="en-GB" sz="1600" b="1" dirty="0">
                <a:solidFill>
                  <a:schemeClr val="bg1"/>
                </a:solidFill>
                <a:latin typeface="+mj-lt"/>
              </a:rPr>
              <a:t>Text</a:t>
            </a:r>
          </a:p>
        </p:txBody>
      </p:sp>
      <p:sp>
        <p:nvSpPr>
          <p:cNvPr id="12" name="AutoShape 5">
            <a:extLst>
              <a:ext uri="{FF2B5EF4-FFF2-40B4-BE49-F238E27FC236}">
                <a16:creationId xmlns:a16="http://schemas.microsoft.com/office/drawing/2014/main" id="{DFAB909D-E33B-45D6-A2B9-ECE8CF4E66B1}"/>
              </a:ext>
            </a:extLst>
          </p:cNvPr>
          <p:cNvSpPr>
            <a:spLocks noChangeArrowheads="1"/>
          </p:cNvSpPr>
          <p:nvPr/>
        </p:nvSpPr>
        <p:spPr bwMode="auto">
          <a:xfrm rot="16200000" flipH="1">
            <a:off x="2818083" y="2876847"/>
            <a:ext cx="1785883" cy="1782774"/>
          </a:xfrm>
          <a:prstGeom prst="homePlate">
            <a:avLst>
              <a:gd name="adj" fmla="val 33333"/>
            </a:avLst>
          </a:prstGeom>
          <a:solidFill>
            <a:schemeClr val="accent2"/>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endParaRPr lang="en-GB" sz="1600" b="1" dirty="0">
              <a:solidFill>
                <a:schemeClr val="bg1"/>
              </a:solidFill>
              <a:latin typeface="+mj-lt"/>
            </a:endParaRPr>
          </a:p>
          <a:p>
            <a:pPr algn="ctr" eaLnBrk="0" hangingPunct="0">
              <a:lnSpc>
                <a:spcPct val="85000"/>
              </a:lnSpc>
              <a:spcBef>
                <a:spcPts val="100"/>
              </a:spcBef>
              <a:spcAft>
                <a:spcPts val="300"/>
              </a:spcAft>
              <a:buClr>
                <a:schemeClr val="bg1"/>
              </a:buClr>
            </a:pPr>
            <a:r>
              <a:rPr lang="en-GB" sz="1600" b="1" dirty="0">
                <a:solidFill>
                  <a:schemeClr val="bg1"/>
                </a:solidFill>
                <a:latin typeface="+mj-lt"/>
              </a:rPr>
              <a:t>Text</a:t>
            </a:r>
          </a:p>
        </p:txBody>
      </p:sp>
      <p:sp>
        <p:nvSpPr>
          <p:cNvPr id="14" name="Rectangle 6">
            <a:extLst>
              <a:ext uri="{FF2B5EF4-FFF2-40B4-BE49-F238E27FC236}">
                <a16:creationId xmlns:a16="http://schemas.microsoft.com/office/drawing/2014/main" id="{35784D08-2156-47BA-B87A-B92899894ACE}"/>
              </a:ext>
            </a:extLst>
          </p:cNvPr>
          <p:cNvSpPr>
            <a:spLocks noChangeArrowheads="1"/>
          </p:cNvSpPr>
          <p:nvPr/>
        </p:nvSpPr>
        <p:spPr bwMode="auto">
          <a:xfrm>
            <a:off x="4707872" y="1628800"/>
            <a:ext cx="4700497" cy="1236403"/>
          </a:xfrm>
          <a:prstGeom prst="rect">
            <a:avLst/>
          </a:prstGeom>
          <a:solidFill>
            <a:schemeClr val="accent1"/>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GB" sz="14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p:txBody>
      </p:sp>
      <p:sp>
        <p:nvSpPr>
          <p:cNvPr id="16" name="Rectangle 7">
            <a:extLst>
              <a:ext uri="{FF2B5EF4-FFF2-40B4-BE49-F238E27FC236}">
                <a16:creationId xmlns:a16="http://schemas.microsoft.com/office/drawing/2014/main" id="{46134D95-A5F5-42E9-BE08-E3D58598103E}"/>
              </a:ext>
            </a:extLst>
          </p:cNvPr>
          <p:cNvSpPr>
            <a:spLocks noChangeArrowheads="1"/>
          </p:cNvSpPr>
          <p:nvPr/>
        </p:nvSpPr>
        <p:spPr bwMode="auto">
          <a:xfrm>
            <a:off x="4707872" y="2865204"/>
            <a:ext cx="4700497" cy="1236403"/>
          </a:xfrm>
          <a:prstGeom prst="rect">
            <a:avLst/>
          </a:prstGeom>
          <a:solidFill>
            <a:schemeClr val="accent2"/>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GB" sz="14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p:txBody>
      </p:sp>
      <p:sp>
        <p:nvSpPr>
          <p:cNvPr id="18" name="Rectangle 8">
            <a:extLst>
              <a:ext uri="{FF2B5EF4-FFF2-40B4-BE49-F238E27FC236}">
                <a16:creationId xmlns:a16="http://schemas.microsoft.com/office/drawing/2014/main" id="{CE5A4277-367B-4835-BABB-ED3959AA78A0}"/>
              </a:ext>
            </a:extLst>
          </p:cNvPr>
          <p:cNvSpPr>
            <a:spLocks noChangeArrowheads="1"/>
          </p:cNvSpPr>
          <p:nvPr/>
        </p:nvSpPr>
        <p:spPr bwMode="auto">
          <a:xfrm>
            <a:off x="4707872" y="4077073"/>
            <a:ext cx="4700497" cy="1236403"/>
          </a:xfrm>
          <a:prstGeom prst="rect">
            <a:avLst/>
          </a:prstGeom>
          <a:solidFill>
            <a:schemeClr val="accent3"/>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GB" sz="14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a:p>
            <a:pPr marL="174625" indent="-174625" eaLnBrk="0" hangingPunct="0">
              <a:lnSpc>
                <a:spcPct val="85000"/>
              </a:lnSpc>
              <a:spcBef>
                <a:spcPts val="100"/>
              </a:spcBef>
              <a:spcAft>
                <a:spcPts val="100"/>
              </a:spcAft>
              <a:buFontTx/>
              <a:buChar char="•"/>
            </a:pPr>
            <a:r>
              <a:rPr lang="en-GB" sz="1400" dirty="0">
                <a:solidFill>
                  <a:schemeClr val="bg1"/>
                </a:solidFill>
              </a:rPr>
              <a:t>Text</a:t>
            </a:r>
          </a:p>
        </p:txBody>
      </p:sp>
      <p:sp>
        <p:nvSpPr>
          <p:cNvPr id="20" name="AutoShape 9">
            <a:extLst>
              <a:ext uri="{FF2B5EF4-FFF2-40B4-BE49-F238E27FC236}">
                <a16:creationId xmlns:a16="http://schemas.microsoft.com/office/drawing/2014/main" id="{8DB8C2D4-7DDA-4A6B-A24D-32450F62E8E1}"/>
              </a:ext>
            </a:extLst>
          </p:cNvPr>
          <p:cNvSpPr>
            <a:spLocks noChangeArrowheads="1"/>
          </p:cNvSpPr>
          <p:nvPr/>
        </p:nvSpPr>
        <p:spPr bwMode="auto">
          <a:xfrm rot="16200000" flipH="1">
            <a:off x="2787059" y="1661378"/>
            <a:ext cx="1847930" cy="1782774"/>
          </a:xfrm>
          <a:prstGeom prst="homePlate">
            <a:avLst>
              <a:gd name="adj" fmla="val 33521"/>
            </a:avLst>
          </a:prstGeom>
          <a:solidFill>
            <a:schemeClr val="accent1"/>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GB" sz="1600" b="1" dirty="0">
                <a:solidFill>
                  <a:schemeClr val="bg1"/>
                </a:solidFill>
                <a:latin typeface="+mj-lt"/>
              </a:rPr>
              <a:t>Text</a:t>
            </a:r>
          </a:p>
        </p:txBody>
      </p:sp>
    </p:spTree>
    <p:extLst>
      <p:ext uri="{BB962C8B-B14F-4D97-AF65-F5344CB8AC3E}">
        <p14:creationId xmlns:p14="http://schemas.microsoft.com/office/powerpoint/2010/main" val="333083550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2</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8A1E82C3-A2EE-4466-8940-586D16CBE67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Rectangle 4">
            <a:extLst>
              <a:ext uri="{FF2B5EF4-FFF2-40B4-BE49-F238E27FC236}">
                <a16:creationId xmlns:a16="http://schemas.microsoft.com/office/drawing/2014/main" id="{56CAE712-662E-49A0-8C78-FA7CE57BC46D}"/>
              </a:ext>
            </a:extLst>
          </p:cNvPr>
          <p:cNvSpPr>
            <a:spLocks noChangeArrowheads="1"/>
          </p:cNvSpPr>
          <p:nvPr/>
        </p:nvSpPr>
        <p:spPr bwMode="auto">
          <a:xfrm>
            <a:off x="4306584" y="1628800"/>
            <a:ext cx="6056616" cy="1108760"/>
          </a:xfrm>
          <a:prstGeom prst="rect">
            <a:avLst/>
          </a:prstGeom>
          <a:solidFill>
            <a:schemeClr val="tx2">
              <a:lumMod val="20000"/>
              <a:lumOff val="80000"/>
            </a:schemeClr>
          </a:solidFill>
          <a:ln w="6350">
            <a:noFill/>
            <a:miter lim="800000"/>
            <a:headEnd/>
            <a:tailEnd/>
          </a:ln>
        </p:spPr>
        <p:txBody>
          <a:bodyPr lIns="540000" tIns="144000" rIns="72000" bIns="72000"/>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12" name="AutoShape 5">
            <a:extLst>
              <a:ext uri="{FF2B5EF4-FFF2-40B4-BE49-F238E27FC236}">
                <a16:creationId xmlns:a16="http://schemas.microsoft.com/office/drawing/2014/main" id="{D43DAFFF-2362-42B1-AE7E-21FA789593B3}"/>
              </a:ext>
            </a:extLst>
          </p:cNvPr>
          <p:cNvSpPr>
            <a:spLocks noChangeArrowheads="1"/>
          </p:cNvSpPr>
          <p:nvPr/>
        </p:nvSpPr>
        <p:spPr bwMode="auto">
          <a:xfrm>
            <a:off x="1811338" y="1628800"/>
            <a:ext cx="2788897" cy="1108760"/>
          </a:xfrm>
          <a:prstGeom prst="homePlate">
            <a:avLst>
              <a:gd name="adj" fmla="val 27116"/>
            </a:avLst>
          </a:prstGeom>
          <a:solidFill>
            <a:schemeClr val="accent1"/>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4" name="Rectangle 4">
            <a:extLst>
              <a:ext uri="{FF2B5EF4-FFF2-40B4-BE49-F238E27FC236}">
                <a16:creationId xmlns:a16="http://schemas.microsoft.com/office/drawing/2014/main" id="{CB9F6028-0A4C-42FA-8C9A-C781F2592F0D}"/>
              </a:ext>
            </a:extLst>
          </p:cNvPr>
          <p:cNvSpPr>
            <a:spLocks noChangeArrowheads="1"/>
          </p:cNvSpPr>
          <p:nvPr/>
        </p:nvSpPr>
        <p:spPr bwMode="auto">
          <a:xfrm>
            <a:off x="4306584" y="2898840"/>
            <a:ext cx="6056616" cy="1108760"/>
          </a:xfrm>
          <a:prstGeom prst="rect">
            <a:avLst/>
          </a:prstGeom>
          <a:solidFill>
            <a:schemeClr val="tx2">
              <a:lumMod val="20000"/>
              <a:lumOff val="80000"/>
            </a:schemeClr>
          </a:solidFill>
          <a:ln w="6350">
            <a:noFill/>
            <a:miter lim="800000"/>
            <a:headEnd/>
            <a:tailEnd/>
          </a:ln>
        </p:spPr>
        <p:txBody>
          <a:bodyPr lIns="540000" tIns="144000" rIns="72000" bIns="72000"/>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16" name="AutoShape 5">
            <a:extLst>
              <a:ext uri="{FF2B5EF4-FFF2-40B4-BE49-F238E27FC236}">
                <a16:creationId xmlns:a16="http://schemas.microsoft.com/office/drawing/2014/main" id="{C188B513-D155-4E24-88A0-378AB5C385EB}"/>
              </a:ext>
            </a:extLst>
          </p:cNvPr>
          <p:cNvSpPr>
            <a:spLocks noChangeArrowheads="1"/>
          </p:cNvSpPr>
          <p:nvPr/>
        </p:nvSpPr>
        <p:spPr bwMode="auto">
          <a:xfrm>
            <a:off x="1811338" y="2898840"/>
            <a:ext cx="2788897" cy="1108760"/>
          </a:xfrm>
          <a:prstGeom prst="homePlate">
            <a:avLst>
              <a:gd name="adj" fmla="val 27116"/>
            </a:avLst>
          </a:prstGeom>
          <a:solidFill>
            <a:schemeClr val="accent2"/>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8" name="Rectangle 4">
            <a:extLst>
              <a:ext uri="{FF2B5EF4-FFF2-40B4-BE49-F238E27FC236}">
                <a16:creationId xmlns:a16="http://schemas.microsoft.com/office/drawing/2014/main" id="{47C7A34E-B1C3-4A46-9490-4043C544ABF7}"/>
              </a:ext>
            </a:extLst>
          </p:cNvPr>
          <p:cNvSpPr>
            <a:spLocks noChangeArrowheads="1"/>
          </p:cNvSpPr>
          <p:nvPr/>
        </p:nvSpPr>
        <p:spPr bwMode="auto">
          <a:xfrm>
            <a:off x="4306584" y="4168880"/>
            <a:ext cx="6056616" cy="1108760"/>
          </a:xfrm>
          <a:prstGeom prst="rect">
            <a:avLst/>
          </a:prstGeom>
          <a:solidFill>
            <a:schemeClr val="tx2">
              <a:lumMod val="20000"/>
              <a:lumOff val="80000"/>
            </a:schemeClr>
          </a:solidFill>
          <a:ln w="6350">
            <a:noFill/>
            <a:miter lim="800000"/>
            <a:headEnd/>
            <a:tailEnd/>
          </a:ln>
        </p:spPr>
        <p:txBody>
          <a:bodyPr lIns="540000" tIns="144000" rIns="72000" bIns="72000"/>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20" name="AutoShape 5">
            <a:extLst>
              <a:ext uri="{FF2B5EF4-FFF2-40B4-BE49-F238E27FC236}">
                <a16:creationId xmlns:a16="http://schemas.microsoft.com/office/drawing/2014/main" id="{F729553F-E658-4ED5-9C2E-1BE8ADD24913}"/>
              </a:ext>
            </a:extLst>
          </p:cNvPr>
          <p:cNvSpPr>
            <a:spLocks noChangeArrowheads="1"/>
          </p:cNvSpPr>
          <p:nvPr/>
        </p:nvSpPr>
        <p:spPr bwMode="auto">
          <a:xfrm>
            <a:off x="1811338" y="4168880"/>
            <a:ext cx="2788897" cy="1108760"/>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Tree>
    <p:extLst>
      <p:ext uri="{BB962C8B-B14F-4D97-AF65-F5344CB8AC3E}">
        <p14:creationId xmlns:p14="http://schemas.microsoft.com/office/powerpoint/2010/main" val="177282598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3</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290111B-834A-4425-B11E-6BD06E73653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5" name="Rectangle 21">
            <a:extLst>
              <a:ext uri="{FF2B5EF4-FFF2-40B4-BE49-F238E27FC236}">
                <a16:creationId xmlns:a16="http://schemas.microsoft.com/office/drawing/2014/main" id="{CB15D32E-8693-4E02-AA5C-53599CC01E69}"/>
              </a:ext>
            </a:extLst>
          </p:cNvPr>
          <p:cNvSpPr>
            <a:spLocks noChangeArrowheads="1"/>
          </p:cNvSpPr>
          <p:nvPr/>
        </p:nvSpPr>
        <p:spPr bwMode="auto">
          <a:xfrm>
            <a:off x="1468438" y="1366838"/>
            <a:ext cx="3672261" cy="3970337"/>
          </a:xfrm>
          <a:prstGeom prst="rect">
            <a:avLst/>
          </a:prstGeom>
          <a:solidFill>
            <a:schemeClr val="tx2">
              <a:lumMod val="20000"/>
              <a:lumOff val="80000"/>
            </a:schemeClr>
          </a:solidFill>
          <a:ln w="6350">
            <a:noFill/>
            <a:miter lim="800000"/>
            <a:headEnd/>
            <a:tailEnd/>
          </a:ln>
        </p:spPr>
        <p:txBody>
          <a:bodyPr lIns="18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sp>
        <p:nvSpPr>
          <p:cNvPr id="26" name="Rectangle 21">
            <a:extLst>
              <a:ext uri="{FF2B5EF4-FFF2-40B4-BE49-F238E27FC236}">
                <a16:creationId xmlns:a16="http://schemas.microsoft.com/office/drawing/2014/main" id="{DC45E1B3-70BD-434F-BB90-1094C110695D}"/>
              </a:ext>
            </a:extLst>
          </p:cNvPr>
          <p:cNvSpPr>
            <a:spLocks noChangeArrowheads="1"/>
          </p:cNvSpPr>
          <p:nvPr/>
        </p:nvSpPr>
        <p:spPr bwMode="auto">
          <a:xfrm>
            <a:off x="7049695" y="1366838"/>
            <a:ext cx="3672000" cy="3970337"/>
          </a:xfrm>
          <a:prstGeom prst="rect">
            <a:avLst/>
          </a:prstGeom>
          <a:solidFill>
            <a:schemeClr val="tx2">
              <a:lumMod val="20000"/>
              <a:lumOff val="80000"/>
            </a:schemeClr>
          </a:solidFill>
          <a:ln w="6350">
            <a:noFill/>
            <a:miter lim="800000"/>
            <a:headEnd/>
            <a:tailEnd/>
          </a:ln>
        </p:spPr>
        <p:txBody>
          <a:bodyPr lIns="540000" tIns="144000" rIns="72000" bIns="72000"/>
          <a:lstStyle/>
          <a:p>
            <a:pPr eaLnBrk="0" hangingPunct="0">
              <a:lnSpc>
                <a:spcPct val="85000"/>
              </a:lnSpc>
              <a:spcBef>
                <a:spcPts val="100"/>
              </a:spcBef>
              <a:spcAft>
                <a:spcPts val="300"/>
              </a:spcAft>
            </a:pPr>
            <a:r>
              <a:rPr lang="en-US" sz="1600" b="1" dirty="0">
                <a:latin typeface="+mj-lt"/>
              </a:rPr>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nvGrpSpPr>
          <p:cNvPr id="50" name="Group 49">
            <a:extLst>
              <a:ext uri="{FF2B5EF4-FFF2-40B4-BE49-F238E27FC236}">
                <a16:creationId xmlns:a16="http://schemas.microsoft.com/office/drawing/2014/main" id="{D9E31A60-6A74-40A6-9125-4989F8D4D2EC}"/>
              </a:ext>
            </a:extLst>
          </p:cNvPr>
          <p:cNvGrpSpPr/>
          <p:nvPr/>
        </p:nvGrpSpPr>
        <p:grpSpPr>
          <a:xfrm>
            <a:off x="4672119" y="1886168"/>
            <a:ext cx="2746304" cy="446566"/>
            <a:chOff x="4672119" y="1886168"/>
            <a:chExt cx="2746304" cy="446566"/>
          </a:xfrm>
        </p:grpSpPr>
        <p:sp>
          <p:nvSpPr>
            <p:cNvPr id="28" name="AutoShape 6">
              <a:extLst>
                <a:ext uri="{FF2B5EF4-FFF2-40B4-BE49-F238E27FC236}">
                  <a16:creationId xmlns:a16="http://schemas.microsoft.com/office/drawing/2014/main" id="{CBF35D4F-9280-45D3-B13A-BED495AFC167}"/>
                </a:ext>
              </a:extLst>
            </p:cNvPr>
            <p:cNvSpPr>
              <a:spLocks noChangeArrowheads="1"/>
            </p:cNvSpPr>
            <p:nvPr/>
          </p:nvSpPr>
          <p:spPr bwMode="auto">
            <a:xfrm>
              <a:off x="4932872" y="1898874"/>
              <a:ext cx="2485551" cy="433860"/>
            </a:xfrm>
            <a:prstGeom prst="homePlate">
              <a:avLst>
                <a:gd name="adj" fmla="val 48434"/>
              </a:avLst>
            </a:prstGeom>
            <a:solidFill>
              <a:schemeClr val="accent3"/>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29" name="Rectangle 12">
              <a:extLst>
                <a:ext uri="{FF2B5EF4-FFF2-40B4-BE49-F238E27FC236}">
                  <a16:creationId xmlns:a16="http://schemas.microsoft.com/office/drawing/2014/main" id="{A51E8732-009A-40CC-BD1C-2DEBDD9B70B3}"/>
                </a:ext>
              </a:extLst>
            </p:cNvPr>
            <p:cNvSpPr>
              <a:spLocks noChangeArrowheads="1"/>
            </p:cNvSpPr>
            <p:nvPr/>
          </p:nvSpPr>
          <p:spPr bwMode="auto">
            <a:xfrm>
              <a:off x="4672119" y="1886168"/>
              <a:ext cx="251404" cy="433860"/>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3"/>
                  </a:solidFill>
                  <a:latin typeface="+mj-lt"/>
                </a:rPr>
                <a:t>1</a:t>
              </a:r>
            </a:p>
          </p:txBody>
        </p:sp>
      </p:grpSp>
      <p:grpSp>
        <p:nvGrpSpPr>
          <p:cNvPr id="49" name="Group 48">
            <a:extLst>
              <a:ext uri="{FF2B5EF4-FFF2-40B4-BE49-F238E27FC236}">
                <a16:creationId xmlns:a16="http://schemas.microsoft.com/office/drawing/2014/main" id="{22640B68-4A24-4231-849B-11BDC3AEB6D3}"/>
              </a:ext>
            </a:extLst>
          </p:cNvPr>
          <p:cNvGrpSpPr/>
          <p:nvPr/>
        </p:nvGrpSpPr>
        <p:grpSpPr>
          <a:xfrm>
            <a:off x="4672119" y="2403533"/>
            <a:ext cx="2746304" cy="448380"/>
            <a:chOff x="4672119" y="2403533"/>
            <a:chExt cx="2746304" cy="448380"/>
          </a:xfrm>
        </p:grpSpPr>
        <p:sp>
          <p:nvSpPr>
            <p:cNvPr id="31" name="AutoShape 7">
              <a:extLst>
                <a:ext uri="{FF2B5EF4-FFF2-40B4-BE49-F238E27FC236}">
                  <a16:creationId xmlns:a16="http://schemas.microsoft.com/office/drawing/2014/main" id="{D7035D43-255F-4F09-9652-8A4F959CE5C0}"/>
                </a:ext>
              </a:extLst>
            </p:cNvPr>
            <p:cNvSpPr>
              <a:spLocks noChangeArrowheads="1"/>
            </p:cNvSpPr>
            <p:nvPr/>
          </p:nvSpPr>
          <p:spPr bwMode="auto">
            <a:xfrm>
              <a:off x="4932872" y="2418053"/>
              <a:ext cx="2485551" cy="433860"/>
            </a:xfrm>
            <a:prstGeom prst="homePlate">
              <a:avLst>
                <a:gd name="adj" fmla="val 48434"/>
              </a:avLst>
            </a:prstGeom>
            <a:solidFill>
              <a:schemeClr val="accent2"/>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32" name="Rectangle 13">
              <a:extLst>
                <a:ext uri="{FF2B5EF4-FFF2-40B4-BE49-F238E27FC236}">
                  <a16:creationId xmlns:a16="http://schemas.microsoft.com/office/drawing/2014/main" id="{B0C2A02E-76C7-48E3-87E8-5DA7E00B2C38}"/>
                </a:ext>
              </a:extLst>
            </p:cNvPr>
            <p:cNvSpPr>
              <a:spLocks noChangeArrowheads="1"/>
            </p:cNvSpPr>
            <p:nvPr/>
          </p:nvSpPr>
          <p:spPr bwMode="auto">
            <a:xfrm>
              <a:off x="4672119" y="2403533"/>
              <a:ext cx="251404" cy="437491"/>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2"/>
                  </a:solidFill>
                  <a:latin typeface="+mj-lt"/>
                </a:rPr>
                <a:t>2</a:t>
              </a:r>
            </a:p>
          </p:txBody>
        </p:sp>
      </p:grpSp>
      <p:grpSp>
        <p:nvGrpSpPr>
          <p:cNvPr id="48" name="Group 47">
            <a:extLst>
              <a:ext uri="{FF2B5EF4-FFF2-40B4-BE49-F238E27FC236}">
                <a16:creationId xmlns:a16="http://schemas.microsoft.com/office/drawing/2014/main" id="{BAFF3F22-7114-47DD-9F21-0DBCBB8DAA95}"/>
              </a:ext>
            </a:extLst>
          </p:cNvPr>
          <p:cNvGrpSpPr/>
          <p:nvPr/>
        </p:nvGrpSpPr>
        <p:grpSpPr>
          <a:xfrm>
            <a:off x="4672119" y="2926343"/>
            <a:ext cx="2746304" cy="444751"/>
            <a:chOff x="4672119" y="2926343"/>
            <a:chExt cx="2746304" cy="444751"/>
          </a:xfrm>
        </p:grpSpPr>
        <p:sp>
          <p:nvSpPr>
            <p:cNvPr id="34" name="AutoShape 8">
              <a:extLst>
                <a:ext uri="{FF2B5EF4-FFF2-40B4-BE49-F238E27FC236}">
                  <a16:creationId xmlns:a16="http://schemas.microsoft.com/office/drawing/2014/main" id="{4D0CA77C-2B6A-4E31-854C-9C280582C921}"/>
                </a:ext>
              </a:extLst>
            </p:cNvPr>
            <p:cNvSpPr>
              <a:spLocks noChangeArrowheads="1"/>
            </p:cNvSpPr>
            <p:nvPr/>
          </p:nvSpPr>
          <p:spPr bwMode="auto">
            <a:xfrm>
              <a:off x="4932872" y="2939049"/>
              <a:ext cx="2485551" cy="432045"/>
            </a:xfrm>
            <a:prstGeom prst="homePlate">
              <a:avLst>
                <a:gd name="adj" fmla="val 48637"/>
              </a:avLst>
            </a:prstGeom>
            <a:solidFill>
              <a:schemeClr val="accent1"/>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35" name="Rectangle 14">
              <a:extLst>
                <a:ext uri="{FF2B5EF4-FFF2-40B4-BE49-F238E27FC236}">
                  <a16:creationId xmlns:a16="http://schemas.microsoft.com/office/drawing/2014/main" id="{5251F1D5-B3C0-4552-A99E-6B0BCC8076FD}"/>
                </a:ext>
              </a:extLst>
            </p:cNvPr>
            <p:cNvSpPr>
              <a:spLocks noChangeArrowheads="1"/>
            </p:cNvSpPr>
            <p:nvPr/>
          </p:nvSpPr>
          <p:spPr bwMode="auto">
            <a:xfrm>
              <a:off x="4672119" y="2926343"/>
              <a:ext cx="251404" cy="433860"/>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1"/>
                  </a:solidFill>
                  <a:latin typeface="+mj-lt"/>
                </a:rPr>
                <a:t>3</a:t>
              </a:r>
            </a:p>
          </p:txBody>
        </p:sp>
      </p:grpSp>
      <p:grpSp>
        <p:nvGrpSpPr>
          <p:cNvPr id="47" name="Group 46">
            <a:extLst>
              <a:ext uri="{FF2B5EF4-FFF2-40B4-BE49-F238E27FC236}">
                <a16:creationId xmlns:a16="http://schemas.microsoft.com/office/drawing/2014/main" id="{06BAF1C5-76CA-4EE3-8317-593DE668FAE2}"/>
              </a:ext>
            </a:extLst>
          </p:cNvPr>
          <p:cNvGrpSpPr/>
          <p:nvPr/>
        </p:nvGrpSpPr>
        <p:grpSpPr>
          <a:xfrm>
            <a:off x="4672119" y="3447338"/>
            <a:ext cx="2746304" cy="444750"/>
            <a:chOff x="4672119" y="3447338"/>
            <a:chExt cx="2746304" cy="444750"/>
          </a:xfrm>
        </p:grpSpPr>
        <p:sp>
          <p:nvSpPr>
            <p:cNvPr id="37" name="AutoShape 9">
              <a:extLst>
                <a:ext uri="{FF2B5EF4-FFF2-40B4-BE49-F238E27FC236}">
                  <a16:creationId xmlns:a16="http://schemas.microsoft.com/office/drawing/2014/main" id="{79439C71-CD13-4351-AC61-2577B4F8AB6E}"/>
                </a:ext>
              </a:extLst>
            </p:cNvPr>
            <p:cNvSpPr>
              <a:spLocks noChangeArrowheads="1"/>
            </p:cNvSpPr>
            <p:nvPr/>
          </p:nvSpPr>
          <p:spPr bwMode="auto">
            <a:xfrm>
              <a:off x="4932872" y="3458228"/>
              <a:ext cx="2485551" cy="433860"/>
            </a:xfrm>
            <a:prstGeom prst="homePlate">
              <a:avLst>
                <a:gd name="adj" fmla="val 48434"/>
              </a:avLst>
            </a:prstGeom>
            <a:solidFill>
              <a:schemeClr val="accent5"/>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38" name="Rectangle 15">
              <a:extLst>
                <a:ext uri="{FF2B5EF4-FFF2-40B4-BE49-F238E27FC236}">
                  <a16:creationId xmlns:a16="http://schemas.microsoft.com/office/drawing/2014/main" id="{2C7633FF-3FC4-41BF-8534-72976DE7612C}"/>
                </a:ext>
              </a:extLst>
            </p:cNvPr>
            <p:cNvSpPr>
              <a:spLocks noChangeArrowheads="1"/>
            </p:cNvSpPr>
            <p:nvPr/>
          </p:nvSpPr>
          <p:spPr bwMode="auto">
            <a:xfrm>
              <a:off x="4672119" y="3447338"/>
              <a:ext cx="251404" cy="428414"/>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5"/>
                  </a:solidFill>
                  <a:latin typeface="+mj-lt"/>
                </a:rPr>
                <a:t>4</a:t>
              </a:r>
            </a:p>
          </p:txBody>
        </p:sp>
      </p:grpSp>
      <p:grpSp>
        <p:nvGrpSpPr>
          <p:cNvPr id="46" name="Group 45">
            <a:extLst>
              <a:ext uri="{FF2B5EF4-FFF2-40B4-BE49-F238E27FC236}">
                <a16:creationId xmlns:a16="http://schemas.microsoft.com/office/drawing/2014/main" id="{139AC475-DED8-43B6-A87B-CFFEC93F3CB1}"/>
              </a:ext>
            </a:extLst>
          </p:cNvPr>
          <p:cNvGrpSpPr/>
          <p:nvPr/>
        </p:nvGrpSpPr>
        <p:grpSpPr>
          <a:xfrm>
            <a:off x="4672119" y="3964702"/>
            <a:ext cx="2746304" cy="446567"/>
            <a:chOff x="4672119" y="3964702"/>
            <a:chExt cx="2746304" cy="446567"/>
          </a:xfrm>
        </p:grpSpPr>
        <p:sp>
          <p:nvSpPr>
            <p:cNvPr id="40" name="AutoShape 10">
              <a:extLst>
                <a:ext uri="{FF2B5EF4-FFF2-40B4-BE49-F238E27FC236}">
                  <a16:creationId xmlns:a16="http://schemas.microsoft.com/office/drawing/2014/main" id="{3376D3F4-8483-45D6-9461-540467CF58ED}"/>
                </a:ext>
              </a:extLst>
            </p:cNvPr>
            <p:cNvSpPr>
              <a:spLocks noChangeArrowheads="1"/>
            </p:cNvSpPr>
            <p:nvPr/>
          </p:nvSpPr>
          <p:spPr bwMode="auto">
            <a:xfrm>
              <a:off x="4932872" y="3979224"/>
              <a:ext cx="2485551" cy="432045"/>
            </a:xfrm>
            <a:prstGeom prst="homePlate">
              <a:avLst>
                <a:gd name="adj" fmla="val 48637"/>
              </a:avLst>
            </a:prstGeom>
            <a:solidFill>
              <a:schemeClr val="accent6"/>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41" name="Rectangle 16">
              <a:extLst>
                <a:ext uri="{FF2B5EF4-FFF2-40B4-BE49-F238E27FC236}">
                  <a16:creationId xmlns:a16="http://schemas.microsoft.com/office/drawing/2014/main" id="{90E1B97C-8EE1-40D0-9268-06DD0C17F0F9}"/>
                </a:ext>
              </a:extLst>
            </p:cNvPr>
            <p:cNvSpPr>
              <a:spLocks noChangeArrowheads="1"/>
            </p:cNvSpPr>
            <p:nvPr/>
          </p:nvSpPr>
          <p:spPr bwMode="auto">
            <a:xfrm>
              <a:off x="4672119" y="3964702"/>
              <a:ext cx="251404" cy="433860"/>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6"/>
                  </a:solidFill>
                  <a:latin typeface="+mj-lt"/>
                </a:rPr>
                <a:t>5</a:t>
              </a:r>
            </a:p>
          </p:txBody>
        </p:sp>
      </p:grpSp>
      <p:grpSp>
        <p:nvGrpSpPr>
          <p:cNvPr id="45" name="Group 44">
            <a:extLst>
              <a:ext uri="{FF2B5EF4-FFF2-40B4-BE49-F238E27FC236}">
                <a16:creationId xmlns:a16="http://schemas.microsoft.com/office/drawing/2014/main" id="{ECAC6274-E27C-4448-A4C5-239F906354A5}"/>
              </a:ext>
            </a:extLst>
          </p:cNvPr>
          <p:cNvGrpSpPr/>
          <p:nvPr/>
        </p:nvGrpSpPr>
        <p:grpSpPr>
          <a:xfrm>
            <a:off x="4672119" y="4483882"/>
            <a:ext cx="2746304" cy="448381"/>
            <a:chOff x="4672119" y="4483882"/>
            <a:chExt cx="2746304" cy="448381"/>
          </a:xfrm>
        </p:grpSpPr>
        <p:sp>
          <p:nvSpPr>
            <p:cNvPr id="43" name="AutoShape 11">
              <a:extLst>
                <a:ext uri="{FF2B5EF4-FFF2-40B4-BE49-F238E27FC236}">
                  <a16:creationId xmlns:a16="http://schemas.microsoft.com/office/drawing/2014/main" id="{6FFA48A5-1BA9-4D5F-98B0-AFBC20A8AB5C}"/>
                </a:ext>
              </a:extLst>
            </p:cNvPr>
            <p:cNvSpPr>
              <a:spLocks noChangeArrowheads="1"/>
            </p:cNvSpPr>
            <p:nvPr/>
          </p:nvSpPr>
          <p:spPr bwMode="auto">
            <a:xfrm>
              <a:off x="4932872" y="4498403"/>
              <a:ext cx="2485551" cy="433860"/>
            </a:xfrm>
            <a:prstGeom prst="homePlate">
              <a:avLst>
                <a:gd name="adj" fmla="val 48434"/>
              </a:avLst>
            </a:prstGeom>
            <a:solidFill>
              <a:schemeClr val="accent4"/>
            </a:solidFill>
            <a:ln w="6350">
              <a:noFill/>
              <a:miter lim="800000"/>
              <a:headEnd/>
              <a:tailEnd/>
            </a:ln>
            <a:effectLst/>
          </p:spPr>
          <p:txBody>
            <a:bodyPr wrap="none" lIns="108000" rIns="45720" anchor="ctr" anchorCtr="0"/>
            <a:lstStyle/>
            <a:p>
              <a:pPr eaLnBrk="0" hangingPunct="0">
                <a:spcBef>
                  <a:spcPct val="0"/>
                </a:spcBef>
              </a:pPr>
              <a:r>
                <a:rPr lang="en-GB" sz="1600" b="1" dirty="0">
                  <a:solidFill>
                    <a:schemeClr val="bg1"/>
                  </a:solidFill>
                  <a:latin typeface="+mj-lt"/>
                </a:rPr>
                <a:t>Text</a:t>
              </a:r>
            </a:p>
          </p:txBody>
        </p:sp>
        <p:sp>
          <p:nvSpPr>
            <p:cNvPr id="44" name="Rectangle 17">
              <a:extLst>
                <a:ext uri="{FF2B5EF4-FFF2-40B4-BE49-F238E27FC236}">
                  <a16:creationId xmlns:a16="http://schemas.microsoft.com/office/drawing/2014/main" id="{F3EC5219-7824-4311-B4C0-DEBF6E1A6C22}"/>
                </a:ext>
              </a:extLst>
            </p:cNvPr>
            <p:cNvSpPr>
              <a:spLocks noChangeArrowheads="1"/>
            </p:cNvSpPr>
            <p:nvPr/>
          </p:nvSpPr>
          <p:spPr bwMode="auto">
            <a:xfrm>
              <a:off x="4672119" y="4483882"/>
              <a:ext cx="251404" cy="433860"/>
            </a:xfrm>
            <a:prstGeom prst="rect">
              <a:avLst/>
            </a:prstGeom>
            <a:noFill/>
            <a:ln w="6350">
              <a:noFill/>
              <a:miter lim="800000"/>
              <a:headEnd/>
              <a:tailEnd/>
            </a:ln>
            <a:effectLst/>
          </p:spPr>
          <p:txBody>
            <a:bodyPr wrap="none" lIns="45720" rIns="45720" anchor="ctr"/>
            <a:lstStyle/>
            <a:p>
              <a:pPr eaLnBrk="0" hangingPunct="0">
                <a:spcBef>
                  <a:spcPct val="0"/>
                </a:spcBef>
              </a:pPr>
              <a:r>
                <a:rPr lang="en-GB" b="1" dirty="0">
                  <a:solidFill>
                    <a:schemeClr val="accent4"/>
                  </a:solidFill>
                  <a:latin typeface="+mj-lt"/>
                </a:rPr>
                <a:t>6</a:t>
              </a:r>
            </a:p>
          </p:txBody>
        </p:sp>
      </p:grpSp>
    </p:spTree>
    <p:extLst>
      <p:ext uri="{BB962C8B-B14F-4D97-AF65-F5344CB8AC3E}">
        <p14:creationId xmlns:p14="http://schemas.microsoft.com/office/powerpoint/2010/main" val="120190577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nsequences/Conclusion 4</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F2094419-87E8-468A-A91F-D141AA7379C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1" name="Rectangle 10">
            <a:extLst>
              <a:ext uri="{FF2B5EF4-FFF2-40B4-BE49-F238E27FC236}">
                <a16:creationId xmlns:a16="http://schemas.microsoft.com/office/drawing/2014/main" id="{2F99918E-6F01-4B7F-94B5-43D3A7FAED1A}"/>
              </a:ext>
            </a:extLst>
          </p:cNvPr>
          <p:cNvSpPr/>
          <p:nvPr/>
        </p:nvSpPr>
        <p:spPr>
          <a:xfrm>
            <a:off x="1822451" y="2202626"/>
            <a:ext cx="4211999"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3" name="TextBox 12">
            <a:extLst>
              <a:ext uri="{FF2B5EF4-FFF2-40B4-BE49-F238E27FC236}">
                <a16:creationId xmlns:a16="http://schemas.microsoft.com/office/drawing/2014/main" id="{E4E5C6EF-82F0-42FA-A997-773CBC291AC4}"/>
              </a:ext>
            </a:extLst>
          </p:cNvPr>
          <p:cNvSpPr txBox="1"/>
          <p:nvPr/>
        </p:nvSpPr>
        <p:spPr>
          <a:xfrm>
            <a:off x="1822450" y="1854964"/>
            <a:ext cx="4211999"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5" name="Arrow: Chevron 14">
            <a:extLst>
              <a:ext uri="{FF2B5EF4-FFF2-40B4-BE49-F238E27FC236}">
                <a16:creationId xmlns:a16="http://schemas.microsoft.com/office/drawing/2014/main" id="{E2759539-75D2-4539-9004-863BBC0D0F1C}"/>
              </a:ext>
            </a:extLst>
          </p:cNvPr>
          <p:cNvSpPr/>
          <p:nvPr/>
        </p:nvSpPr>
        <p:spPr>
          <a:xfrm rot="5400000">
            <a:off x="5807788" y="4483077"/>
            <a:ext cx="570072"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7" name="Rectangle 16">
            <a:extLst>
              <a:ext uri="{FF2B5EF4-FFF2-40B4-BE49-F238E27FC236}">
                <a16:creationId xmlns:a16="http://schemas.microsoft.com/office/drawing/2014/main" id="{E9F7CBCA-13BC-4FBB-B42D-989DC662E20C}"/>
              </a:ext>
            </a:extLst>
          </p:cNvPr>
          <p:cNvSpPr/>
          <p:nvPr/>
        </p:nvSpPr>
        <p:spPr>
          <a:xfrm>
            <a:off x="6151201" y="2202626"/>
            <a:ext cx="4211999"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9" name="TextBox 18">
            <a:extLst>
              <a:ext uri="{FF2B5EF4-FFF2-40B4-BE49-F238E27FC236}">
                <a16:creationId xmlns:a16="http://schemas.microsoft.com/office/drawing/2014/main" id="{402CB00A-4671-47B3-B78F-5207BC8561D9}"/>
              </a:ext>
            </a:extLst>
          </p:cNvPr>
          <p:cNvSpPr txBox="1"/>
          <p:nvPr/>
        </p:nvSpPr>
        <p:spPr>
          <a:xfrm>
            <a:off x="6151200" y="1854964"/>
            <a:ext cx="4211999"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3" name="TextBox 22">
            <a:extLst>
              <a:ext uri="{FF2B5EF4-FFF2-40B4-BE49-F238E27FC236}">
                <a16:creationId xmlns:a16="http://schemas.microsoft.com/office/drawing/2014/main" id="{98BFCF6F-7C62-4E6C-98A3-02514FBECDB6}"/>
              </a:ext>
            </a:extLst>
          </p:cNvPr>
          <p:cNvSpPr txBox="1"/>
          <p:nvPr/>
        </p:nvSpPr>
        <p:spPr>
          <a:xfrm>
            <a:off x="1822450" y="1366838"/>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5" name="TextBox 24">
            <a:extLst>
              <a:ext uri="{FF2B5EF4-FFF2-40B4-BE49-F238E27FC236}">
                <a16:creationId xmlns:a16="http://schemas.microsoft.com/office/drawing/2014/main" id="{79AD460A-7412-44DF-8EEF-6D87B99ADCC2}"/>
              </a:ext>
            </a:extLst>
          </p:cNvPr>
          <p:cNvSpPr txBox="1"/>
          <p:nvPr/>
        </p:nvSpPr>
        <p:spPr>
          <a:xfrm>
            <a:off x="1822450" y="5337175"/>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Tree>
    <p:extLst>
      <p:ext uri="{BB962C8B-B14F-4D97-AF65-F5344CB8AC3E}">
        <p14:creationId xmlns:p14="http://schemas.microsoft.com/office/powerpoint/2010/main" val="201319899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5</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E19C08A7-E750-4734-8D9B-7E94B714C4D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3" name="Arrow: Chevron 12">
            <a:extLst>
              <a:ext uri="{FF2B5EF4-FFF2-40B4-BE49-F238E27FC236}">
                <a16:creationId xmlns:a16="http://schemas.microsoft.com/office/drawing/2014/main" id="{F1D8F3FC-3A1D-4741-B389-9B3830F6BDAF}"/>
              </a:ext>
            </a:extLst>
          </p:cNvPr>
          <p:cNvSpPr/>
          <p:nvPr/>
        </p:nvSpPr>
        <p:spPr>
          <a:xfrm rot="5400000">
            <a:off x="5807788" y="4483077"/>
            <a:ext cx="570072"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5" name="TextBox 14">
            <a:extLst>
              <a:ext uri="{FF2B5EF4-FFF2-40B4-BE49-F238E27FC236}">
                <a16:creationId xmlns:a16="http://schemas.microsoft.com/office/drawing/2014/main" id="{F09AC5CE-901E-4351-A7E7-A3E89833D696}"/>
              </a:ext>
            </a:extLst>
          </p:cNvPr>
          <p:cNvSpPr txBox="1"/>
          <p:nvPr/>
        </p:nvSpPr>
        <p:spPr>
          <a:xfrm>
            <a:off x="1822450" y="1366838"/>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7" name="TextBox 16">
            <a:extLst>
              <a:ext uri="{FF2B5EF4-FFF2-40B4-BE49-F238E27FC236}">
                <a16:creationId xmlns:a16="http://schemas.microsoft.com/office/drawing/2014/main" id="{B575DD36-EB96-447D-8ACE-E072319E332D}"/>
              </a:ext>
            </a:extLst>
          </p:cNvPr>
          <p:cNvSpPr txBox="1"/>
          <p:nvPr/>
        </p:nvSpPr>
        <p:spPr>
          <a:xfrm>
            <a:off x="1822450" y="5337175"/>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19" name="Rectangle 18">
            <a:extLst>
              <a:ext uri="{FF2B5EF4-FFF2-40B4-BE49-F238E27FC236}">
                <a16:creationId xmlns:a16="http://schemas.microsoft.com/office/drawing/2014/main" id="{7EAA5F64-37CA-466D-91E2-13FF50756985}"/>
              </a:ext>
            </a:extLst>
          </p:cNvPr>
          <p:cNvSpPr/>
          <p:nvPr/>
        </p:nvSpPr>
        <p:spPr>
          <a:xfrm>
            <a:off x="1822452"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3" name="TextBox 22">
            <a:extLst>
              <a:ext uri="{FF2B5EF4-FFF2-40B4-BE49-F238E27FC236}">
                <a16:creationId xmlns:a16="http://schemas.microsoft.com/office/drawing/2014/main" id="{A935EA6B-7CFB-448F-AC75-06479A52B39B}"/>
              </a:ext>
            </a:extLst>
          </p:cNvPr>
          <p:cNvSpPr txBox="1"/>
          <p:nvPr/>
        </p:nvSpPr>
        <p:spPr>
          <a:xfrm>
            <a:off x="1822451" y="1854964"/>
            <a:ext cx="2795263"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5" name="Rectangle 24">
            <a:extLst>
              <a:ext uri="{FF2B5EF4-FFF2-40B4-BE49-F238E27FC236}">
                <a16:creationId xmlns:a16="http://schemas.microsoft.com/office/drawing/2014/main" id="{752DF8EB-B9C4-4182-B511-13DF8B7E214F}"/>
              </a:ext>
            </a:extLst>
          </p:cNvPr>
          <p:cNvSpPr/>
          <p:nvPr/>
        </p:nvSpPr>
        <p:spPr>
          <a:xfrm>
            <a:off x="4695195"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7" name="TextBox 26">
            <a:extLst>
              <a:ext uri="{FF2B5EF4-FFF2-40B4-BE49-F238E27FC236}">
                <a16:creationId xmlns:a16="http://schemas.microsoft.com/office/drawing/2014/main" id="{1D50156F-D0C4-4582-B17A-8863A954F694}"/>
              </a:ext>
            </a:extLst>
          </p:cNvPr>
          <p:cNvSpPr txBox="1"/>
          <p:nvPr/>
        </p:nvSpPr>
        <p:spPr>
          <a:xfrm>
            <a:off x="4695195" y="1854964"/>
            <a:ext cx="2795263"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9" name="Rectangle 28">
            <a:extLst>
              <a:ext uri="{FF2B5EF4-FFF2-40B4-BE49-F238E27FC236}">
                <a16:creationId xmlns:a16="http://schemas.microsoft.com/office/drawing/2014/main" id="{D2F1D9C5-5303-4819-AC15-6642917DDED0}"/>
              </a:ext>
            </a:extLst>
          </p:cNvPr>
          <p:cNvSpPr/>
          <p:nvPr/>
        </p:nvSpPr>
        <p:spPr>
          <a:xfrm>
            <a:off x="7567938"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31" name="TextBox 30">
            <a:extLst>
              <a:ext uri="{FF2B5EF4-FFF2-40B4-BE49-F238E27FC236}">
                <a16:creationId xmlns:a16="http://schemas.microsoft.com/office/drawing/2014/main" id="{C6D4B84B-BC03-4523-AD79-A40F1A890A8D}"/>
              </a:ext>
            </a:extLst>
          </p:cNvPr>
          <p:cNvSpPr txBox="1"/>
          <p:nvPr/>
        </p:nvSpPr>
        <p:spPr>
          <a:xfrm>
            <a:off x="7567938" y="1854964"/>
            <a:ext cx="2795263" cy="347663"/>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Tree>
    <p:extLst>
      <p:ext uri="{BB962C8B-B14F-4D97-AF65-F5344CB8AC3E}">
        <p14:creationId xmlns:p14="http://schemas.microsoft.com/office/powerpoint/2010/main" val="2920827577"/>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Consequences/Conclusion 6</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9F4A050C-AE88-4B1F-BE1D-DEDA5EAC32F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Rectangle 21">
            <a:extLst>
              <a:ext uri="{FF2B5EF4-FFF2-40B4-BE49-F238E27FC236}">
                <a16:creationId xmlns:a16="http://schemas.microsoft.com/office/drawing/2014/main" id="{219B79CC-DB9F-45C6-B8B5-00B3A0F92E5B}"/>
              </a:ext>
            </a:extLst>
          </p:cNvPr>
          <p:cNvSpPr>
            <a:spLocks noChangeArrowheads="1"/>
          </p:cNvSpPr>
          <p:nvPr/>
        </p:nvSpPr>
        <p:spPr bwMode="auto">
          <a:xfrm>
            <a:off x="7761287" y="1628800"/>
            <a:ext cx="2959099" cy="3970337"/>
          </a:xfrm>
          <a:prstGeom prst="rect">
            <a:avLst/>
          </a:prstGeom>
          <a:solidFill>
            <a:schemeClr val="accent1"/>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US" sz="16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p:txBody>
      </p:sp>
      <p:grpSp>
        <p:nvGrpSpPr>
          <p:cNvPr id="15" name="Group 14">
            <a:extLst>
              <a:ext uri="{FF2B5EF4-FFF2-40B4-BE49-F238E27FC236}">
                <a16:creationId xmlns:a16="http://schemas.microsoft.com/office/drawing/2014/main" id="{221C6FE1-9002-4EB4-A642-3F9E5C7A87A3}"/>
              </a:ext>
            </a:extLst>
          </p:cNvPr>
          <p:cNvGrpSpPr/>
          <p:nvPr/>
        </p:nvGrpSpPr>
        <p:grpSpPr>
          <a:xfrm>
            <a:off x="1468438" y="1628800"/>
            <a:ext cx="5587787" cy="1922425"/>
            <a:chOff x="1405187" y="1628800"/>
            <a:chExt cx="5587787" cy="1658955"/>
          </a:xfrm>
        </p:grpSpPr>
        <p:sp>
          <p:nvSpPr>
            <p:cNvPr id="16" name="AutoShape 3">
              <a:extLst>
                <a:ext uri="{FF2B5EF4-FFF2-40B4-BE49-F238E27FC236}">
                  <a16:creationId xmlns:a16="http://schemas.microsoft.com/office/drawing/2014/main" id="{9D5278ED-F36B-4CA7-B647-A8BF4C4499AC}"/>
                </a:ext>
              </a:extLst>
            </p:cNvPr>
            <p:cNvSpPr>
              <a:spLocks noChangeAspect="1" noChangeArrowheads="1"/>
            </p:cNvSpPr>
            <p:nvPr/>
          </p:nvSpPr>
          <p:spPr bwMode="auto">
            <a:xfrm>
              <a:off x="1822450" y="1628800"/>
              <a:ext cx="5170524" cy="1658953"/>
            </a:xfrm>
            <a:prstGeom prst="homePlate">
              <a:avLst>
                <a:gd name="adj" fmla="val 0"/>
              </a:avLst>
            </a:prstGeom>
            <a:solidFill>
              <a:schemeClr val="tx2">
                <a:lumMod val="20000"/>
                <a:lumOff val="80000"/>
              </a:schemeClr>
            </a:solidFill>
            <a:ln w="6350">
              <a:noFill/>
              <a:miter lim="800000"/>
              <a:headEnd/>
              <a:tailEnd/>
            </a:ln>
            <a:effectLst/>
          </p:spPr>
          <p:txBody>
            <a:bodyPr lIns="360000" tIns="180000" rIns="72000" bIns="72000"/>
            <a:lstStyle/>
            <a:p>
              <a:pPr marL="180000" indent="-180000" algn="l" eaLnBrk="0" hangingPunct="0">
                <a:spcBef>
                  <a:spcPts val="100"/>
                </a:spcBef>
                <a:spcAft>
                  <a:spcPts val="100"/>
                </a:spcAft>
                <a:buClr>
                  <a:schemeClr val="tx1"/>
                </a:buClr>
              </a:pPr>
              <a:r>
                <a:rPr lang="en-US" sz="1600" b="1" dirty="0">
                  <a:latin typeface="+mj-lt"/>
                </a:rPr>
                <a:t>Text</a:t>
              </a:r>
            </a:p>
            <a:p>
              <a:pPr marL="177800" indent="-177800" eaLnBrk="0" hangingPunct="0">
                <a:spcBef>
                  <a:spcPts val="100"/>
                </a:spcBef>
                <a:spcAft>
                  <a:spcPts val="100"/>
                </a:spcAft>
                <a:buFontTx/>
                <a:buChar char="•"/>
              </a:pPr>
              <a:r>
                <a:rPr lang="en-US" sz="1600" dirty="0"/>
                <a:t>Text</a:t>
              </a:r>
            </a:p>
            <a:p>
              <a:pPr marL="177800" indent="-177800" eaLnBrk="0" hangingPunct="0">
                <a:spcBef>
                  <a:spcPts val="100"/>
                </a:spcBef>
                <a:spcAft>
                  <a:spcPts val="100"/>
                </a:spcAft>
                <a:buFontTx/>
                <a:buChar char="•"/>
              </a:pPr>
              <a:r>
                <a:rPr lang="en-US" sz="1600" dirty="0"/>
                <a:t>Text</a:t>
              </a:r>
            </a:p>
            <a:p>
              <a:pPr marL="177800" indent="-177800" eaLnBrk="0" hangingPunct="0">
                <a:spcBef>
                  <a:spcPts val="100"/>
                </a:spcBef>
                <a:spcAft>
                  <a:spcPts val="100"/>
                </a:spcAft>
                <a:buFontTx/>
                <a:buChar char="•"/>
              </a:pPr>
              <a:r>
                <a:rPr lang="en-US" sz="1600" dirty="0"/>
                <a:t>Text</a:t>
              </a:r>
            </a:p>
          </p:txBody>
        </p:sp>
        <p:sp>
          <p:nvSpPr>
            <p:cNvPr id="17" name="Rectangle 22">
              <a:extLst>
                <a:ext uri="{FF2B5EF4-FFF2-40B4-BE49-F238E27FC236}">
                  <a16:creationId xmlns:a16="http://schemas.microsoft.com/office/drawing/2014/main" id="{DA9A56F4-9691-42E5-9A02-F34ED26432F3}"/>
                </a:ext>
              </a:extLst>
            </p:cNvPr>
            <p:cNvSpPr>
              <a:spLocks noChangeArrowheads="1"/>
            </p:cNvSpPr>
            <p:nvPr/>
          </p:nvSpPr>
          <p:spPr bwMode="auto">
            <a:xfrm rot="16200000">
              <a:off x="786681" y="2251985"/>
              <a:ext cx="1654276"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600" b="1" dirty="0">
                  <a:solidFill>
                    <a:schemeClr val="bg1"/>
                  </a:solidFill>
                  <a:latin typeface="+mj-lt"/>
                </a:rPr>
                <a:t> Text</a:t>
              </a:r>
            </a:p>
          </p:txBody>
        </p:sp>
      </p:grpSp>
      <p:grpSp>
        <p:nvGrpSpPr>
          <p:cNvPr id="18" name="Group 17">
            <a:extLst>
              <a:ext uri="{FF2B5EF4-FFF2-40B4-BE49-F238E27FC236}">
                <a16:creationId xmlns:a16="http://schemas.microsoft.com/office/drawing/2014/main" id="{0E0B6341-6145-48C2-96CC-3935E8B31F6D}"/>
              </a:ext>
            </a:extLst>
          </p:cNvPr>
          <p:cNvGrpSpPr/>
          <p:nvPr/>
        </p:nvGrpSpPr>
        <p:grpSpPr>
          <a:xfrm>
            <a:off x="1468438" y="3676712"/>
            <a:ext cx="5587787" cy="1922425"/>
            <a:chOff x="1405187" y="1628800"/>
            <a:chExt cx="5587787" cy="1658955"/>
          </a:xfrm>
        </p:grpSpPr>
        <p:sp>
          <p:nvSpPr>
            <p:cNvPr id="19" name="AutoShape 3">
              <a:extLst>
                <a:ext uri="{FF2B5EF4-FFF2-40B4-BE49-F238E27FC236}">
                  <a16:creationId xmlns:a16="http://schemas.microsoft.com/office/drawing/2014/main" id="{19AF23E8-55E4-4A51-B241-DA2E24A8393A}"/>
                </a:ext>
              </a:extLst>
            </p:cNvPr>
            <p:cNvSpPr>
              <a:spLocks noChangeAspect="1" noChangeArrowheads="1"/>
            </p:cNvSpPr>
            <p:nvPr/>
          </p:nvSpPr>
          <p:spPr bwMode="auto">
            <a:xfrm>
              <a:off x="1822450" y="1628800"/>
              <a:ext cx="5170524" cy="1658953"/>
            </a:xfrm>
            <a:prstGeom prst="homePlate">
              <a:avLst>
                <a:gd name="adj" fmla="val 0"/>
              </a:avLst>
            </a:prstGeom>
            <a:solidFill>
              <a:schemeClr val="tx2">
                <a:lumMod val="20000"/>
                <a:lumOff val="80000"/>
              </a:schemeClr>
            </a:solidFill>
            <a:ln w="6350">
              <a:noFill/>
              <a:miter lim="800000"/>
              <a:headEnd/>
              <a:tailEnd/>
            </a:ln>
            <a:effectLst/>
          </p:spPr>
          <p:txBody>
            <a:bodyPr lIns="360000" tIns="180000" rIns="72000" bIns="72000"/>
            <a:lstStyle/>
            <a:p>
              <a:pPr marL="180000" indent="-180000" algn="l" eaLnBrk="0" hangingPunct="0">
                <a:spcBef>
                  <a:spcPts val="100"/>
                </a:spcBef>
                <a:spcAft>
                  <a:spcPts val="100"/>
                </a:spcAft>
                <a:buClr>
                  <a:schemeClr val="tx1"/>
                </a:buClr>
              </a:pPr>
              <a:r>
                <a:rPr lang="en-US" sz="1600" b="1" dirty="0">
                  <a:latin typeface="+mj-lt"/>
                </a:rPr>
                <a:t>Text</a:t>
              </a:r>
            </a:p>
            <a:p>
              <a:pPr marL="177800" indent="-177800" eaLnBrk="0" hangingPunct="0">
                <a:spcBef>
                  <a:spcPts val="100"/>
                </a:spcBef>
                <a:spcAft>
                  <a:spcPts val="100"/>
                </a:spcAft>
                <a:buFontTx/>
                <a:buChar char="•"/>
              </a:pPr>
              <a:r>
                <a:rPr lang="en-US" sz="1600" dirty="0"/>
                <a:t>Text</a:t>
              </a:r>
            </a:p>
            <a:p>
              <a:pPr marL="177800" indent="-177800" eaLnBrk="0" hangingPunct="0">
                <a:spcBef>
                  <a:spcPts val="100"/>
                </a:spcBef>
                <a:spcAft>
                  <a:spcPts val="100"/>
                </a:spcAft>
                <a:buFontTx/>
                <a:buChar char="•"/>
              </a:pPr>
              <a:r>
                <a:rPr lang="en-US" sz="1600" dirty="0"/>
                <a:t>Text</a:t>
              </a:r>
            </a:p>
            <a:p>
              <a:pPr marL="177800" indent="-177800" eaLnBrk="0" hangingPunct="0">
                <a:spcBef>
                  <a:spcPts val="100"/>
                </a:spcBef>
                <a:spcAft>
                  <a:spcPts val="100"/>
                </a:spcAft>
                <a:buFontTx/>
                <a:buChar char="•"/>
              </a:pPr>
              <a:r>
                <a:rPr lang="en-US" sz="1600" dirty="0"/>
                <a:t>Text</a:t>
              </a:r>
            </a:p>
          </p:txBody>
        </p:sp>
        <p:sp>
          <p:nvSpPr>
            <p:cNvPr id="20" name="Rectangle 22">
              <a:extLst>
                <a:ext uri="{FF2B5EF4-FFF2-40B4-BE49-F238E27FC236}">
                  <a16:creationId xmlns:a16="http://schemas.microsoft.com/office/drawing/2014/main" id="{52E43F17-B4E3-4151-AE5D-EE65C2FB63E5}"/>
                </a:ext>
              </a:extLst>
            </p:cNvPr>
            <p:cNvSpPr>
              <a:spLocks noChangeArrowheads="1"/>
            </p:cNvSpPr>
            <p:nvPr/>
          </p:nvSpPr>
          <p:spPr bwMode="auto">
            <a:xfrm rot="16200000">
              <a:off x="786681" y="2251985"/>
              <a:ext cx="1654276"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600" b="1" dirty="0">
                  <a:solidFill>
                    <a:schemeClr val="bg1"/>
                  </a:solidFill>
                  <a:latin typeface="+mj-lt"/>
                </a:rPr>
                <a:t> Text</a:t>
              </a:r>
            </a:p>
          </p:txBody>
        </p:sp>
      </p:grpSp>
      <p:sp>
        <p:nvSpPr>
          <p:cNvPr id="22" name="Arrow: Chevron 21">
            <a:extLst>
              <a:ext uri="{FF2B5EF4-FFF2-40B4-BE49-F238E27FC236}">
                <a16:creationId xmlns:a16="http://schemas.microsoft.com/office/drawing/2014/main" id="{17D81990-9F84-4167-B211-6BB88DAFF461}"/>
              </a:ext>
            </a:extLst>
          </p:cNvPr>
          <p:cNvSpPr/>
          <p:nvPr/>
        </p:nvSpPr>
        <p:spPr>
          <a:xfrm>
            <a:off x="7233231" y="4396700"/>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23" name="Arrow: Chevron 22">
            <a:extLst>
              <a:ext uri="{FF2B5EF4-FFF2-40B4-BE49-F238E27FC236}">
                <a16:creationId xmlns:a16="http://schemas.microsoft.com/office/drawing/2014/main" id="{A418484F-264A-4F46-8CAF-792A7A0D07E0}"/>
              </a:ext>
            </a:extLst>
          </p:cNvPr>
          <p:cNvSpPr/>
          <p:nvPr/>
        </p:nvSpPr>
        <p:spPr>
          <a:xfrm>
            <a:off x="7233231" y="2348788"/>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479724304"/>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7</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C510FC25-7290-4597-82FA-82F79E7AFCB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9" name="Rectangle 21">
            <a:extLst>
              <a:ext uri="{FF2B5EF4-FFF2-40B4-BE49-F238E27FC236}">
                <a16:creationId xmlns:a16="http://schemas.microsoft.com/office/drawing/2014/main" id="{27DEEAB5-3852-4B9B-A983-E0A0CAE4CBC9}"/>
              </a:ext>
            </a:extLst>
          </p:cNvPr>
          <p:cNvSpPr>
            <a:spLocks noChangeArrowheads="1"/>
          </p:cNvSpPr>
          <p:nvPr/>
        </p:nvSpPr>
        <p:spPr bwMode="auto">
          <a:xfrm>
            <a:off x="7761287" y="1628800"/>
            <a:ext cx="2959099" cy="3970337"/>
          </a:xfrm>
          <a:prstGeom prst="rect">
            <a:avLst/>
          </a:prstGeom>
          <a:solidFill>
            <a:schemeClr val="accent1"/>
          </a:solidFill>
          <a:ln w="6350">
            <a:noFill/>
            <a:miter lim="800000"/>
            <a:headEnd/>
            <a:tailEnd/>
          </a:ln>
        </p:spPr>
        <p:txBody>
          <a:bodyPr lIns="252000" tIns="144000" rIns="72000" bIns="72000"/>
          <a:lstStyle/>
          <a:p>
            <a:pPr eaLnBrk="0" hangingPunct="0">
              <a:lnSpc>
                <a:spcPct val="85000"/>
              </a:lnSpc>
              <a:spcBef>
                <a:spcPts val="100"/>
              </a:spcBef>
              <a:spcAft>
                <a:spcPts val="300"/>
              </a:spcAft>
            </a:pPr>
            <a:r>
              <a:rPr lang="en-US" sz="1600" b="1" dirty="0">
                <a:solidFill>
                  <a:schemeClr val="bg1"/>
                </a:solidFill>
                <a:latin typeface="+mj-lt"/>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a:p>
            <a:pPr marL="174625" indent="-174625" eaLnBrk="0" hangingPunct="0">
              <a:lnSpc>
                <a:spcPct val="85000"/>
              </a:lnSpc>
              <a:spcBef>
                <a:spcPts val="100"/>
              </a:spcBef>
              <a:spcAft>
                <a:spcPts val="100"/>
              </a:spcAft>
              <a:buFontTx/>
              <a:buChar char="•"/>
            </a:pPr>
            <a:r>
              <a:rPr lang="en-US" sz="1600" dirty="0">
                <a:solidFill>
                  <a:schemeClr val="bg1"/>
                </a:solidFill>
              </a:rPr>
              <a:t>Text</a:t>
            </a:r>
          </a:p>
        </p:txBody>
      </p:sp>
      <p:sp>
        <p:nvSpPr>
          <p:cNvPr id="20" name="Arrow: Chevron 19">
            <a:extLst>
              <a:ext uri="{FF2B5EF4-FFF2-40B4-BE49-F238E27FC236}">
                <a16:creationId xmlns:a16="http://schemas.microsoft.com/office/drawing/2014/main" id="{658CE841-6938-42DE-9753-0CF1EA1046DE}"/>
              </a:ext>
            </a:extLst>
          </p:cNvPr>
          <p:cNvSpPr/>
          <p:nvPr/>
        </p:nvSpPr>
        <p:spPr>
          <a:xfrm>
            <a:off x="7233231" y="4723955"/>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22" name="Arrow: Chevron 21">
            <a:extLst>
              <a:ext uri="{FF2B5EF4-FFF2-40B4-BE49-F238E27FC236}">
                <a16:creationId xmlns:a16="http://schemas.microsoft.com/office/drawing/2014/main" id="{011E8936-20B2-4AAC-95B7-4C92FBE328C7}"/>
              </a:ext>
            </a:extLst>
          </p:cNvPr>
          <p:cNvSpPr/>
          <p:nvPr/>
        </p:nvSpPr>
        <p:spPr>
          <a:xfrm>
            <a:off x="7233231" y="2021535"/>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grpSp>
        <p:nvGrpSpPr>
          <p:cNvPr id="23" name="Group 22">
            <a:extLst>
              <a:ext uri="{FF2B5EF4-FFF2-40B4-BE49-F238E27FC236}">
                <a16:creationId xmlns:a16="http://schemas.microsoft.com/office/drawing/2014/main" id="{D467F3CE-B4CE-4186-993F-CDE759735F9E}"/>
              </a:ext>
            </a:extLst>
          </p:cNvPr>
          <p:cNvGrpSpPr/>
          <p:nvPr/>
        </p:nvGrpSpPr>
        <p:grpSpPr>
          <a:xfrm>
            <a:off x="1468439" y="1628800"/>
            <a:ext cx="5587786" cy="1267917"/>
            <a:chOff x="1468439" y="1628800"/>
            <a:chExt cx="5587786" cy="1267917"/>
          </a:xfrm>
        </p:grpSpPr>
        <p:sp>
          <p:nvSpPr>
            <p:cNvPr id="24" name="AutoShape 3">
              <a:extLst>
                <a:ext uri="{FF2B5EF4-FFF2-40B4-BE49-F238E27FC236}">
                  <a16:creationId xmlns:a16="http://schemas.microsoft.com/office/drawing/2014/main" id="{D9CDC65E-49BC-41B3-B95D-97C31FD281D2}"/>
                </a:ext>
              </a:extLst>
            </p:cNvPr>
            <p:cNvSpPr>
              <a:spLocks noChangeAspect="1" noChangeArrowheads="1"/>
            </p:cNvSpPr>
            <p:nvPr/>
          </p:nvSpPr>
          <p:spPr bwMode="auto">
            <a:xfrm>
              <a:off x="1885701" y="1628800"/>
              <a:ext cx="5170524" cy="1267915"/>
            </a:xfrm>
            <a:prstGeom prst="homePlate">
              <a:avLst>
                <a:gd name="adj" fmla="val 0"/>
              </a:avLst>
            </a:prstGeom>
            <a:solidFill>
              <a:schemeClr val="tx2">
                <a:lumMod val="20000"/>
                <a:lumOff val="80000"/>
              </a:schemeClr>
            </a:solidFill>
            <a:ln w="6350">
              <a:noFill/>
              <a:miter lim="800000"/>
              <a:headEnd/>
              <a:tailEnd/>
            </a:ln>
            <a:effectLst/>
          </p:spPr>
          <p:txBody>
            <a:bodyPr lIns="252000" tIns="144000" rIns="72000" bIns="72000"/>
            <a:lstStyle/>
            <a:p>
              <a:pPr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25" name="Rectangle 22">
              <a:extLst>
                <a:ext uri="{FF2B5EF4-FFF2-40B4-BE49-F238E27FC236}">
                  <a16:creationId xmlns:a16="http://schemas.microsoft.com/office/drawing/2014/main" id="{0950CE34-C889-4BA5-AE46-125361507684}"/>
                </a:ext>
              </a:extLst>
            </p:cNvPr>
            <p:cNvSpPr>
              <a:spLocks noChangeArrowheads="1"/>
            </p:cNvSpPr>
            <p:nvPr/>
          </p:nvSpPr>
          <p:spPr bwMode="auto">
            <a:xfrm rot="16200000">
              <a:off x="1044900" y="2055915"/>
              <a:ext cx="1264341"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400" b="1" dirty="0">
                  <a:solidFill>
                    <a:schemeClr val="bg1"/>
                  </a:solidFill>
                  <a:latin typeface="+mj-lt"/>
                </a:rPr>
                <a:t> Text</a:t>
              </a:r>
            </a:p>
          </p:txBody>
        </p:sp>
      </p:grpSp>
      <p:grpSp>
        <p:nvGrpSpPr>
          <p:cNvPr id="26" name="Group 25">
            <a:extLst>
              <a:ext uri="{FF2B5EF4-FFF2-40B4-BE49-F238E27FC236}">
                <a16:creationId xmlns:a16="http://schemas.microsoft.com/office/drawing/2014/main" id="{F4CD45C4-3B62-4D5D-A56D-C171EFF6C6B3}"/>
              </a:ext>
            </a:extLst>
          </p:cNvPr>
          <p:cNvGrpSpPr/>
          <p:nvPr/>
        </p:nvGrpSpPr>
        <p:grpSpPr>
          <a:xfrm>
            <a:off x="1468439" y="2979481"/>
            <a:ext cx="5587786" cy="1267917"/>
            <a:chOff x="1468439" y="2979481"/>
            <a:chExt cx="5587786" cy="1267917"/>
          </a:xfrm>
        </p:grpSpPr>
        <p:sp>
          <p:nvSpPr>
            <p:cNvPr id="27" name="AutoShape 3">
              <a:extLst>
                <a:ext uri="{FF2B5EF4-FFF2-40B4-BE49-F238E27FC236}">
                  <a16:creationId xmlns:a16="http://schemas.microsoft.com/office/drawing/2014/main" id="{9F9A3886-DD68-4B93-8BDE-162A9BE8A110}"/>
                </a:ext>
              </a:extLst>
            </p:cNvPr>
            <p:cNvSpPr>
              <a:spLocks noChangeAspect="1" noChangeArrowheads="1"/>
            </p:cNvSpPr>
            <p:nvPr/>
          </p:nvSpPr>
          <p:spPr bwMode="auto">
            <a:xfrm>
              <a:off x="1885701" y="2979481"/>
              <a:ext cx="5170524" cy="1267915"/>
            </a:xfrm>
            <a:prstGeom prst="homePlate">
              <a:avLst>
                <a:gd name="adj" fmla="val 0"/>
              </a:avLst>
            </a:prstGeom>
            <a:solidFill>
              <a:schemeClr val="tx2">
                <a:lumMod val="20000"/>
                <a:lumOff val="80000"/>
              </a:schemeClr>
            </a:solidFill>
            <a:ln w="6350">
              <a:noFill/>
              <a:miter lim="800000"/>
              <a:headEnd/>
              <a:tailEnd/>
            </a:ln>
            <a:effectLst/>
          </p:spPr>
          <p:txBody>
            <a:bodyPr lIns="252000" tIns="144000" rIns="72000" bIns="72000"/>
            <a:lstStyle/>
            <a:p>
              <a:pPr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28" name="Rectangle 22">
              <a:extLst>
                <a:ext uri="{FF2B5EF4-FFF2-40B4-BE49-F238E27FC236}">
                  <a16:creationId xmlns:a16="http://schemas.microsoft.com/office/drawing/2014/main" id="{009FD245-D7BD-4C99-B134-36CFF2057717}"/>
                </a:ext>
              </a:extLst>
            </p:cNvPr>
            <p:cNvSpPr>
              <a:spLocks noChangeArrowheads="1"/>
            </p:cNvSpPr>
            <p:nvPr/>
          </p:nvSpPr>
          <p:spPr bwMode="auto">
            <a:xfrm rot="16200000">
              <a:off x="1044900" y="3406596"/>
              <a:ext cx="1264341"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400" b="1" dirty="0">
                  <a:solidFill>
                    <a:schemeClr val="bg1"/>
                  </a:solidFill>
                  <a:latin typeface="+mj-lt"/>
                </a:rPr>
                <a:t> Text</a:t>
              </a:r>
            </a:p>
          </p:txBody>
        </p:sp>
      </p:grpSp>
      <p:grpSp>
        <p:nvGrpSpPr>
          <p:cNvPr id="29" name="Group 28">
            <a:extLst>
              <a:ext uri="{FF2B5EF4-FFF2-40B4-BE49-F238E27FC236}">
                <a16:creationId xmlns:a16="http://schemas.microsoft.com/office/drawing/2014/main" id="{8AB94137-1BDC-4587-A6F9-D7B2B9905DF7}"/>
              </a:ext>
            </a:extLst>
          </p:cNvPr>
          <p:cNvGrpSpPr/>
          <p:nvPr/>
        </p:nvGrpSpPr>
        <p:grpSpPr>
          <a:xfrm>
            <a:off x="1468439" y="4331220"/>
            <a:ext cx="5587786" cy="1267917"/>
            <a:chOff x="1468439" y="4331220"/>
            <a:chExt cx="5587786" cy="1267917"/>
          </a:xfrm>
        </p:grpSpPr>
        <p:sp>
          <p:nvSpPr>
            <p:cNvPr id="30" name="AutoShape 3">
              <a:extLst>
                <a:ext uri="{FF2B5EF4-FFF2-40B4-BE49-F238E27FC236}">
                  <a16:creationId xmlns:a16="http://schemas.microsoft.com/office/drawing/2014/main" id="{338BA156-09CA-4582-994D-785807437BFE}"/>
                </a:ext>
              </a:extLst>
            </p:cNvPr>
            <p:cNvSpPr>
              <a:spLocks noChangeAspect="1" noChangeArrowheads="1"/>
            </p:cNvSpPr>
            <p:nvPr/>
          </p:nvSpPr>
          <p:spPr bwMode="auto">
            <a:xfrm>
              <a:off x="1885701" y="4331220"/>
              <a:ext cx="5170524" cy="1267915"/>
            </a:xfrm>
            <a:prstGeom prst="homePlate">
              <a:avLst>
                <a:gd name="adj" fmla="val 0"/>
              </a:avLst>
            </a:prstGeom>
            <a:solidFill>
              <a:schemeClr val="tx2">
                <a:lumMod val="20000"/>
                <a:lumOff val="80000"/>
              </a:schemeClr>
            </a:solidFill>
            <a:ln w="6350">
              <a:noFill/>
              <a:miter lim="800000"/>
              <a:headEnd/>
              <a:tailEnd/>
            </a:ln>
            <a:effectLst/>
          </p:spPr>
          <p:txBody>
            <a:bodyPr lIns="252000" tIns="144000" rIns="72000" bIns="72000"/>
            <a:lstStyle/>
            <a:p>
              <a:pPr algn="l" eaLnBrk="0" hangingPunct="0">
                <a:spcBef>
                  <a:spcPts val="100"/>
                </a:spcBef>
                <a:spcAft>
                  <a:spcPts val="100"/>
                </a:spcAft>
                <a:buClr>
                  <a:schemeClr val="tx1"/>
                </a:buClr>
              </a:pPr>
              <a:r>
                <a:rPr lang="en-US" sz="1400" b="1" dirty="0">
                  <a:latin typeface="+mj-lt"/>
                </a:rPr>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a:p>
              <a:pPr marL="177800" indent="-177800" eaLnBrk="0" hangingPunct="0">
                <a:spcBef>
                  <a:spcPts val="100"/>
                </a:spcBef>
                <a:spcAft>
                  <a:spcPts val="100"/>
                </a:spcAft>
                <a:buFontTx/>
                <a:buChar char="•"/>
              </a:pPr>
              <a:r>
                <a:rPr lang="en-US" sz="1400" dirty="0"/>
                <a:t>Text</a:t>
              </a:r>
            </a:p>
          </p:txBody>
        </p:sp>
        <p:sp>
          <p:nvSpPr>
            <p:cNvPr id="31" name="Rectangle 22">
              <a:extLst>
                <a:ext uri="{FF2B5EF4-FFF2-40B4-BE49-F238E27FC236}">
                  <a16:creationId xmlns:a16="http://schemas.microsoft.com/office/drawing/2014/main" id="{643C1685-F151-4F1F-AB92-8C5BC5E80071}"/>
                </a:ext>
              </a:extLst>
            </p:cNvPr>
            <p:cNvSpPr>
              <a:spLocks noChangeArrowheads="1"/>
            </p:cNvSpPr>
            <p:nvPr/>
          </p:nvSpPr>
          <p:spPr bwMode="auto">
            <a:xfrm rot="16200000">
              <a:off x="1044900" y="4758335"/>
              <a:ext cx="1264341" cy="417264"/>
            </a:xfrm>
            <a:prstGeom prst="rect">
              <a:avLst/>
            </a:prstGeom>
            <a:solidFill>
              <a:schemeClr val="accent3"/>
            </a:solidFill>
            <a:ln w="6350">
              <a:noFill/>
              <a:miter lim="800000"/>
              <a:headEnd/>
              <a:tailEnd/>
            </a:ln>
            <a:effectLst/>
          </p:spPr>
          <p:txBody>
            <a:bodyPr lIns="72000" tIns="108000" rIns="72000" bIns="36000" anchor="ctr"/>
            <a:lstStyle/>
            <a:p>
              <a:pPr algn="ctr" eaLnBrk="0" hangingPunct="0">
                <a:lnSpc>
                  <a:spcPct val="85000"/>
                </a:lnSpc>
                <a:spcBef>
                  <a:spcPts val="100"/>
                </a:spcBef>
                <a:spcAft>
                  <a:spcPts val="300"/>
                </a:spcAft>
              </a:pPr>
              <a:r>
                <a:rPr lang="en-US" sz="1400" b="1" dirty="0">
                  <a:solidFill>
                    <a:schemeClr val="bg1"/>
                  </a:solidFill>
                  <a:latin typeface="+mj-lt"/>
                </a:rPr>
                <a:t> Text</a:t>
              </a:r>
            </a:p>
          </p:txBody>
        </p:sp>
      </p:grpSp>
      <p:sp>
        <p:nvSpPr>
          <p:cNvPr id="32" name="Arrow: Chevron 31">
            <a:extLst>
              <a:ext uri="{FF2B5EF4-FFF2-40B4-BE49-F238E27FC236}">
                <a16:creationId xmlns:a16="http://schemas.microsoft.com/office/drawing/2014/main" id="{175A1161-2125-43E4-A08B-6A707553A2A0}"/>
              </a:ext>
            </a:extLst>
          </p:cNvPr>
          <p:cNvSpPr/>
          <p:nvPr/>
        </p:nvSpPr>
        <p:spPr>
          <a:xfrm>
            <a:off x="7233231" y="3372216"/>
            <a:ext cx="351050" cy="482446"/>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24542502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8</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4083AB8E-93CB-466C-AB31-5B660EF23B0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 name="Rectangle 4">
            <a:extLst>
              <a:ext uri="{FF2B5EF4-FFF2-40B4-BE49-F238E27FC236}">
                <a16:creationId xmlns:a16="http://schemas.microsoft.com/office/drawing/2014/main" id="{998093F2-E608-48E4-B34F-4B5A654BC382}"/>
              </a:ext>
            </a:extLst>
          </p:cNvPr>
          <p:cNvSpPr>
            <a:spLocks noChangeArrowheads="1"/>
          </p:cNvSpPr>
          <p:nvPr/>
        </p:nvSpPr>
        <p:spPr bwMode="auto">
          <a:xfrm>
            <a:off x="1822450" y="3500438"/>
            <a:ext cx="8540750" cy="1836737"/>
          </a:xfrm>
          <a:prstGeom prst="rect">
            <a:avLst/>
          </a:prstGeom>
          <a:solidFill>
            <a:schemeClr val="tx2">
              <a:lumMod val="20000"/>
              <a:lumOff val="80000"/>
            </a:schemeClr>
          </a:solidFill>
          <a:ln w="6350">
            <a:noFill/>
            <a:miter lim="800000"/>
            <a:headEnd/>
            <a:tailEnd/>
          </a:ln>
        </p:spPr>
        <p:txBody>
          <a:bodyPr lIns="252000" tIns="468000" rIns="72000" bIns="72000"/>
          <a:lstStyle/>
          <a:p>
            <a:pPr eaLnBrk="0" hangingPunct="0">
              <a:lnSpc>
                <a:spcPct val="85000"/>
              </a:lnSpc>
              <a:spcBef>
                <a:spcPts val="100"/>
              </a:spcBef>
              <a:spcAft>
                <a:spcPts val="300"/>
              </a:spcAft>
            </a:pPr>
            <a:r>
              <a:rPr lang="en-GB" sz="1600" b="1" dirty="0">
                <a:latin typeface="+mj-lt"/>
              </a:rPr>
              <a:t>Text</a:t>
            </a:r>
          </a:p>
          <a:p>
            <a:pPr marL="174625" indent="-174625" eaLnBrk="0" hangingPunct="0">
              <a:lnSpc>
                <a:spcPct val="85000"/>
              </a:lnSpc>
              <a:spcBef>
                <a:spcPts val="100"/>
              </a:spcBef>
              <a:spcAft>
                <a:spcPts val="100"/>
              </a:spcAft>
              <a:buFontTx/>
              <a:buChar char="•"/>
            </a:pPr>
            <a:r>
              <a:rPr lang="en-GB" sz="1600" dirty="0"/>
              <a:t>Text</a:t>
            </a:r>
          </a:p>
          <a:p>
            <a:pPr marL="174625" indent="-174625" eaLnBrk="0" hangingPunct="0">
              <a:lnSpc>
                <a:spcPct val="85000"/>
              </a:lnSpc>
              <a:spcBef>
                <a:spcPts val="100"/>
              </a:spcBef>
              <a:spcAft>
                <a:spcPts val="100"/>
              </a:spcAft>
              <a:buFontTx/>
              <a:buChar char="•"/>
            </a:pPr>
            <a:r>
              <a:rPr lang="en-GB" sz="1600" dirty="0"/>
              <a:t>Text</a:t>
            </a:r>
          </a:p>
          <a:p>
            <a:pPr marL="174625" indent="-174625" eaLnBrk="0" hangingPunct="0">
              <a:lnSpc>
                <a:spcPct val="85000"/>
              </a:lnSpc>
              <a:spcBef>
                <a:spcPts val="100"/>
              </a:spcBef>
              <a:spcAft>
                <a:spcPts val="100"/>
              </a:spcAft>
              <a:buFontTx/>
              <a:buChar char="•"/>
            </a:pPr>
            <a:r>
              <a:rPr lang="en-GB" sz="1600" dirty="0"/>
              <a:t>Text</a:t>
            </a:r>
          </a:p>
        </p:txBody>
      </p:sp>
      <p:sp>
        <p:nvSpPr>
          <p:cNvPr id="5" name="AutoShape 9">
            <a:extLst>
              <a:ext uri="{FF2B5EF4-FFF2-40B4-BE49-F238E27FC236}">
                <a16:creationId xmlns:a16="http://schemas.microsoft.com/office/drawing/2014/main" id="{EC2E9B0B-B31B-4D24-A5DA-EB05D71539B4}"/>
              </a:ext>
            </a:extLst>
          </p:cNvPr>
          <p:cNvSpPr>
            <a:spLocks noChangeArrowheads="1"/>
          </p:cNvSpPr>
          <p:nvPr/>
        </p:nvSpPr>
        <p:spPr bwMode="auto">
          <a:xfrm rot="16200000" flipH="1">
            <a:off x="4732609" y="1906163"/>
            <a:ext cx="2720432" cy="2435535"/>
          </a:xfrm>
          <a:prstGeom prst="homePlate">
            <a:avLst>
              <a:gd name="adj" fmla="val 33521"/>
            </a:avLst>
          </a:prstGeom>
          <a:solidFill>
            <a:schemeClr val="accent2"/>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GB" sz="1600" b="1" dirty="0">
                <a:solidFill>
                  <a:schemeClr val="bg1"/>
                </a:solidFill>
                <a:latin typeface="+mj-lt"/>
              </a:rPr>
              <a:t>Text</a:t>
            </a:r>
          </a:p>
          <a:p>
            <a:pPr algn="ctr" eaLnBrk="0" hangingPunct="0">
              <a:lnSpc>
                <a:spcPct val="85000"/>
              </a:lnSpc>
              <a:spcBef>
                <a:spcPts val="100"/>
              </a:spcBef>
              <a:spcAft>
                <a:spcPts val="300"/>
              </a:spcAft>
              <a:buClr>
                <a:schemeClr val="bg1"/>
              </a:buClr>
            </a:pPr>
            <a:r>
              <a:rPr lang="en-US" sz="1600" dirty="0">
                <a:solidFill>
                  <a:schemeClr val="bg1"/>
                </a:solidFill>
              </a:rPr>
              <a:t>Insert text</a:t>
            </a:r>
          </a:p>
        </p:txBody>
      </p:sp>
    </p:spTree>
    <p:extLst>
      <p:ext uri="{BB962C8B-B14F-4D97-AF65-F5344CB8AC3E}">
        <p14:creationId xmlns:p14="http://schemas.microsoft.com/office/powerpoint/2010/main" val="3241668312"/>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9</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BC02006-A77D-4A3C-AC55-7202DDF5319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5" name="Arrow: Chevron 24">
            <a:extLst>
              <a:ext uri="{FF2B5EF4-FFF2-40B4-BE49-F238E27FC236}">
                <a16:creationId xmlns:a16="http://schemas.microsoft.com/office/drawing/2014/main" id="{C6EA67FD-A385-49C5-B424-D1FE6885502C}"/>
              </a:ext>
            </a:extLst>
          </p:cNvPr>
          <p:cNvSpPr/>
          <p:nvPr/>
        </p:nvSpPr>
        <p:spPr>
          <a:xfrm>
            <a:off x="7736142" y="1839120"/>
            <a:ext cx="260576" cy="3581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
        <p:nvSpPr>
          <p:cNvPr id="26" name="Arrow: Chevron 25">
            <a:extLst>
              <a:ext uri="{FF2B5EF4-FFF2-40B4-BE49-F238E27FC236}">
                <a16:creationId xmlns:a16="http://schemas.microsoft.com/office/drawing/2014/main" id="{DE150BBF-02F1-46D2-8879-45D932BAF61B}"/>
              </a:ext>
            </a:extLst>
          </p:cNvPr>
          <p:cNvSpPr/>
          <p:nvPr/>
        </p:nvSpPr>
        <p:spPr>
          <a:xfrm>
            <a:off x="7736142" y="3227802"/>
            <a:ext cx="260576" cy="3581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
        <p:nvSpPr>
          <p:cNvPr id="27" name="TextBox 26">
            <a:extLst>
              <a:ext uri="{FF2B5EF4-FFF2-40B4-BE49-F238E27FC236}">
                <a16:creationId xmlns:a16="http://schemas.microsoft.com/office/drawing/2014/main" id="{FCBFBBEA-7E2B-4F83-A73C-C4AB472D75D5}"/>
              </a:ext>
            </a:extLst>
          </p:cNvPr>
          <p:cNvSpPr txBox="1"/>
          <p:nvPr/>
        </p:nvSpPr>
        <p:spPr>
          <a:xfrm>
            <a:off x="1828800" y="1366838"/>
            <a:ext cx="1427690" cy="1279269"/>
          </a:xfrm>
          <a:prstGeom prst="rect">
            <a:avLst/>
          </a:prstGeom>
          <a:solidFill>
            <a:schemeClr val="accent3"/>
          </a:solidFill>
          <a:ln w="19050">
            <a:noFill/>
          </a:ln>
        </p:spPr>
        <p:txBody>
          <a:bodyPr vert="horz" wrap="square" lIns="72000" tIns="36000" rIns="72000" bIns="0" rtlCol="0" anchor="ctr">
            <a:noAutofit/>
          </a:bodyPr>
          <a:lstStyle/>
          <a:p>
            <a:pPr algn="ctr">
              <a:lnSpc>
                <a:spcPct val="85000"/>
              </a:lnSpc>
            </a:pPr>
            <a:r>
              <a:rPr lang="en-AU" sz="1400" dirty="0">
                <a:solidFill>
                  <a:schemeClr val="bg1"/>
                </a:solidFill>
                <a:latin typeface="+mj-lt"/>
              </a:rPr>
              <a:t>Text</a:t>
            </a:r>
          </a:p>
        </p:txBody>
      </p:sp>
      <p:grpSp>
        <p:nvGrpSpPr>
          <p:cNvPr id="28" name="Group 27">
            <a:extLst>
              <a:ext uri="{FF2B5EF4-FFF2-40B4-BE49-F238E27FC236}">
                <a16:creationId xmlns:a16="http://schemas.microsoft.com/office/drawing/2014/main" id="{54E82AD6-CC62-44AE-9AB7-D946CDB499D8}"/>
              </a:ext>
            </a:extLst>
          </p:cNvPr>
          <p:cNvGrpSpPr/>
          <p:nvPr/>
        </p:nvGrpSpPr>
        <p:grpSpPr>
          <a:xfrm>
            <a:off x="3342308" y="1366838"/>
            <a:ext cx="2074859" cy="1279268"/>
            <a:chOff x="1822451" y="1854964"/>
            <a:chExt cx="2795264" cy="1949781"/>
          </a:xfrm>
        </p:grpSpPr>
        <p:sp>
          <p:nvSpPr>
            <p:cNvPr id="29" name="Rectangle 28">
              <a:extLst>
                <a:ext uri="{FF2B5EF4-FFF2-40B4-BE49-F238E27FC236}">
                  <a16:creationId xmlns:a16="http://schemas.microsoft.com/office/drawing/2014/main" id="{5C8E62B8-636E-4AE8-8752-C2EF4F2C3DCE}"/>
                </a:ext>
              </a:extLst>
            </p:cNvPr>
            <p:cNvSpPr/>
            <p:nvPr/>
          </p:nvSpPr>
          <p:spPr>
            <a:xfrm>
              <a:off x="1822452" y="2202626"/>
              <a:ext cx="2795263" cy="160211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p:txBody>
        </p:sp>
        <p:sp>
          <p:nvSpPr>
            <p:cNvPr id="30" name="TextBox 29">
              <a:extLst>
                <a:ext uri="{FF2B5EF4-FFF2-40B4-BE49-F238E27FC236}">
                  <a16:creationId xmlns:a16="http://schemas.microsoft.com/office/drawing/2014/main" id="{870DE1E7-6A82-4A88-B66E-23D9B8FC1BE3}"/>
                </a:ext>
              </a:extLst>
            </p:cNvPr>
            <p:cNvSpPr txBox="1"/>
            <p:nvPr/>
          </p:nvSpPr>
          <p:spPr>
            <a:xfrm>
              <a:off x="1822451"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sz="1400" dirty="0">
                  <a:solidFill>
                    <a:schemeClr val="bg1"/>
                  </a:solidFill>
                  <a:latin typeface="+mj-lt"/>
                </a:rPr>
                <a:t>Text</a:t>
              </a:r>
            </a:p>
          </p:txBody>
        </p:sp>
      </p:grpSp>
      <p:grpSp>
        <p:nvGrpSpPr>
          <p:cNvPr id="31" name="Group 30">
            <a:extLst>
              <a:ext uri="{FF2B5EF4-FFF2-40B4-BE49-F238E27FC236}">
                <a16:creationId xmlns:a16="http://schemas.microsoft.com/office/drawing/2014/main" id="{DB915388-FF50-410A-B5F1-90DFD6619140}"/>
              </a:ext>
            </a:extLst>
          </p:cNvPr>
          <p:cNvGrpSpPr/>
          <p:nvPr/>
        </p:nvGrpSpPr>
        <p:grpSpPr>
          <a:xfrm>
            <a:off x="5514760" y="1366838"/>
            <a:ext cx="2074859" cy="1279268"/>
            <a:chOff x="1822451" y="1854964"/>
            <a:chExt cx="2795264" cy="1949781"/>
          </a:xfrm>
        </p:grpSpPr>
        <p:sp>
          <p:nvSpPr>
            <p:cNvPr id="32" name="Rectangle 31">
              <a:extLst>
                <a:ext uri="{FF2B5EF4-FFF2-40B4-BE49-F238E27FC236}">
                  <a16:creationId xmlns:a16="http://schemas.microsoft.com/office/drawing/2014/main" id="{8FFFE4CA-390F-42ED-B7CF-164A2538074C}"/>
                </a:ext>
              </a:extLst>
            </p:cNvPr>
            <p:cNvSpPr/>
            <p:nvPr/>
          </p:nvSpPr>
          <p:spPr>
            <a:xfrm>
              <a:off x="1822452" y="2202626"/>
              <a:ext cx="2795263" cy="160211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p:txBody>
        </p:sp>
        <p:sp>
          <p:nvSpPr>
            <p:cNvPr id="33" name="TextBox 32">
              <a:extLst>
                <a:ext uri="{FF2B5EF4-FFF2-40B4-BE49-F238E27FC236}">
                  <a16:creationId xmlns:a16="http://schemas.microsoft.com/office/drawing/2014/main" id="{E3E06A16-0020-47CD-A496-C959AA552D00}"/>
                </a:ext>
              </a:extLst>
            </p:cNvPr>
            <p:cNvSpPr txBox="1"/>
            <p:nvPr/>
          </p:nvSpPr>
          <p:spPr>
            <a:xfrm>
              <a:off x="1822451"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sz="1400" dirty="0">
                  <a:solidFill>
                    <a:schemeClr val="bg1"/>
                  </a:solidFill>
                  <a:latin typeface="+mj-lt"/>
                </a:rPr>
                <a:t>Text</a:t>
              </a:r>
            </a:p>
          </p:txBody>
        </p:sp>
      </p:grpSp>
      <p:sp>
        <p:nvSpPr>
          <p:cNvPr id="34" name="TextBox 33">
            <a:extLst>
              <a:ext uri="{FF2B5EF4-FFF2-40B4-BE49-F238E27FC236}">
                <a16:creationId xmlns:a16="http://schemas.microsoft.com/office/drawing/2014/main" id="{1E4A862F-D216-46C2-9C23-0C75D5998C6E}"/>
              </a:ext>
            </a:extLst>
          </p:cNvPr>
          <p:cNvSpPr txBox="1"/>
          <p:nvPr/>
        </p:nvSpPr>
        <p:spPr>
          <a:xfrm>
            <a:off x="8143241" y="1366838"/>
            <a:ext cx="2229484" cy="1279269"/>
          </a:xfrm>
          <a:prstGeom prst="rect">
            <a:avLst/>
          </a:prstGeom>
          <a:solidFill>
            <a:schemeClr val="accent1"/>
          </a:solidFill>
          <a:ln w="19050">
            <a:noFill/>
          </a:ln>
        </p:spPr>
        <p:txBody>
          <a:bodyPr vert="horz" wrap="square" lIns="180000" tIns="36000" rIns="72000" bIns="0" rtlCol="0" anchor="ctr">
            <a:noAutofit/>
          </a:bodyPr>
          <a:lstStyle/>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eaLnBrk="0" hangingPunct="0">
              <a:lnSpc>
                <a:spcPct val="85000"/>
              </a:lnSpc>
              <a:spcBef>
                <a:spcPts val="100"/>
              </a:spcBef>
              <a:spcAft>
                <a:spcPts val="100"/>
              </a:spcAft>
            </a:pPr>
            <a:endParaRPr lang="en-US" sz="1400" dirty="0">
              <a:solidFill>
                <a:schemeClr val="bg1"/>
              </a:solidFill>
            </a:endParaRPr>
          </a:p>
        </p:txBody>
      </p:sp>
      <p:sp>
        <p:nvSpPr>
          <p:cNvPr id="35" name="TextBox 34">
            <a:extLst>
              <a:ext uri="{FF2B5EF4-FFF2-40B4-BE49-F238E27FC236}">
                <a16:creationId xmlns:a16="http://schemas.microsoft.com/office/drawing/2014/main" id="{57798AFB-EADE-4644-B08B-A5FA1236ECD7}"/>
              </a:ext>
            </a:extLst>
          </p:cNvPr>
          <p:cNvSpPr txBox="1"/>
          <p:nvPr/>
        </p:nvSpPr>
        <p:spPr>
          <a:xfrm>
            <a:off x="1828800" y="2730570"/>
            <a:ext cx="1427690" cy="1279269"/>
          </a:xfrm>
          <a:prstGeom prst="rect">
            <a:avLst/>
          </a:prstGeom>
          <a:solidFill>
            <a:schemeClr val="accent3"/>
          </a:solidFill>
          <a:ln w="19050">
            <a:noFill/>
          </a:ln>
        </p:spPr>
        <p:txBody>
          <a:bodyPr vert="horz" wrap="square" lIns="72000" tIns="36000" rIns="72000" bIns="0" rtlCol="0" anchor="ctr">
            <a:noAutofit/>
          </a:bodyPr>
          <a:lstStyle/>
          <a:p>
            <a:pPr algn="ctr">
              <a:lnSpc>
                <a:spcPct val="85000"/>
              </a:lnSpc>
            </a:pPr>
            <a:r>
              <a:rPr lang="en-AU" sz="1400" dirty="0">
                <a:solidFill>
                  <a:schemeClr val="bg1"/>
                </a:solidFill>
                <a:latin typeface="+mj-lt"/>
              </a:rPr>
              <a:t>Text</a:t>
            </a:r>
          </a:p>
        </p:txBody>
      </p:sp>
      <p:sp>
        <p:nvSpPr>
          <p:cNvPr id="36" name="Rectangle 35">
            <a:extLst>
              <a:ext uri="{FF2B5EF4-FFF2-40B4-BE49-F238E27FC236}">
                <a16:creationId xmlns:a16="http://schemas.microsoft.com/office/drawing/2014/main" id="{B02C028F-76C8-4606-94A6-38597BF62491}"/>
              </a:ext>
            </a:extLst>
          </p:cNvPr>
          <p:cNvSpPr/>
          <p:nvPr/>
        </p:nvSpPr>
        <p:spPr>
          <a:xfrm>
            <a:off x="3342309" y="2730570"/>
            <a:ext cx="2074858" cy="1279268"/>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p:txBody>
      </p:sp>
      <p:sp>
        <p:nvSpPr>
          <p:cNvPr id="37" name="Rectangle 36">
            <a:extLst>
              <a:ext uri="{FF2B5EF4-FFF2-40B4-BE49-F238E27FC236}">
                <a16:creationId xmlns:a16="http://schemas.microsoft.com/office/drawing/2014/main" id="{35695938-6C0F-4A40-ADA6-EFA1BA57CDAF}"/>
              </a:ext>
            </a:extLst>
          </p:cNvPr>
          <p:cNvSpPr/>
          <p:nvPr/>
        </p:nvSpPr>
        <p:spPr>
          <a:xfrm>
            <a:off x="5514761" y="2730570"/>
            <a:ext cx="2074858" cy="1279268"/>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a:p>
            <a:pPr marL="176213" indent="-176213" eaLnBrk="0" hangingPunct="0">
              <a:spcBef>
                <a:spcPts val="100"/>
              </a:spcBef>
              <a:spcAft>
                <a:spcPts val="100"/>
              </a:spcAft>
              <a:buFontTx/>
              <a:buChar char="•"/>
            </a:pPr>
            <a:r>
              <a:rPr lang="en-US" sz="1400" dirty="0">
                <a:solidFill>
                  <a:schemeClr val="tx1"/>
                </a:solidFill>
              </a:rPr>
              <a:t>Text</a:t>
            </a:r>
          </a:p>
        </p:txBody>
      </p:sp>
      <p:sp>
        <p:nvSpPr>
          <p:cNvPr id="38" name="TextBox 37">
            <a:extLst>
              <a:ext uri="{FF2B5EF4-FFF2-40B4-BE49-F238E27FC236}">
                <a16:creationId xmlns:a16="http://schemas.microsoft.com/office/drawing/2014/main" id="{72E501E5-8B9E-4B0A-B596-48BCBA39EA48}"/>
              </a:ext>
            </a:extLst>
          </p:cNvPr>
          <p:cNvSpPr txBox="1"/>
          <p:nvPr/>
        </p:nvSpPr>
        <p:spPr>
          <a:xfrm>
            <a:off x="8143241" y="2730570"/>
            <a:ext cx="2229484" cy="1279269"/>
          </a:xfrm>
          <a:prstGeom prst="rect">
            <a:avLst/>
          </a:prstGeom>
          <a:solidFill>
            <a:schemeClr val="accent1"/>
          </a:solidFill>
          <a:ln w="19050">
            <a:noFill/>
          </a:ln>
        </p:spPr>
        <p:txBody>
          <a:bodyPr vert="horz" wrap="square" lIns="180000" tIns="36000" rIns="72000" bIns="0" rtlCol="0" anchor="ctr">
            <a:noAutofit/>
          </a:bodyPr>
          <a:lstStyle/>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a:p>
            <a:pPr eaLnBrk="0" hangingPunct="0">
              <a:lnSpc>
                <a:spcPct val="85000"/>
              </a:lnSpc>
              <a:spcBef>
                <a:spcPts val="100"/>
              </a:spcBef>
              <a:spcAft>
                <a:spcPts val="100"/>
              </a:spcAft>
            </a:pPr>
            <a:endParaRPr lang="en-US" sz="1400" dirty="0">
              <a:solidFill>
                <a:schemeClr val="bg1"/>
              </a:solidFill>
            </a:endParaRPr>
          </a:p>
        </p:txBody>
      </p:sp>
      <p:sp>
        <p:nvSpPr>
          <p:cNvPr id="39" name="TextBox 38">
            <a:extLst>
              <a:ext uri="{FF2B5EF4-FFF2-40B4-BE49-F238E27FC236}">
                <a16:creationId xmlns:a16="http://schemas.microsoft.com/office/drawing/2014/main" id="{0513D9F1-A1AC-4182-AC02-32555694E60B}"/>
              </a:ext>
            </a:extLst>
          </p:cNvPr>
          <p:cNvSpPr txBox="1"/>
          <p:nvPr/>
        </p:nvSpPr>
        <p:spPr>
          <a:xfrm>
            <a:off x="3342308" y="4398389"/>
            <a:ext cx="2074858" cy="938786"/>
          </a:xfrm>
          <a:prstGeom prst="rect">
            <a:avLst/>
          </a:prstGeom>
          <a:solidFill>
            <a:schemeClr val="accent1"/>
          </a:solidFill>
          <a:ln w="19050">
            <a:noFill/>
          </a:ln>
        </p:spPr>
        <p:txBody>
          <a:bodyPr vert="horz" wrap="square" lIns="180000" tIns="36000" rIns="72000" bIns="0" rtlCol="0" anchor="ctr">
            <a:noAutofit/>
          </a:bodyPr>
          <a:lstStyle/>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p:txBody>
      </p:sp>
      <p:sp>
        <p:nvSpPr>
          <p:cNvPr id="40" name="TextBox 39">
            <a:extLst>
              <a:ext uri="{FF2B5EF4-FFF2-40B4-BE49-F238E27FC236}">
                <a16:creationId xmlns:a16="http://schemas.microsoft.com/office/drawing/2014/main" id="{966ECD09-680E-4EC6-9610-05644B286D52}"/>
              </a:ext>
            </a:extLst>
          </p:cNvPr>
          <p:cNvSpPr txBox="1"/>
          <p:nvPr/>
        </p:nvSpPr>
        <p:spPr>
          <a:xfrm>
            <a:off x="5514760" y="4398389"/>
            <a:ext cx="2074858" cy="938786"/>
          </a:xfrm>
          <a:prstGeom prst="rect">
            <a:avLst/>
          </a:prstGeom>
          <a:solidFill>
            <a:schemeClr val="accent1"/>
          </a:solidFill>
          <a:ln w="19050">
            <a:noFill/>
          </a:ln>
        </p:spPr>
        <p:txBody>
          <a:bodyPr vert="horz" wrap="square" lIns="180000" tIns="36000" rIns="72000" bIns="0" rtlCol="0" anchor="ctr">
            <a:noAutofit/>
          </a:bodyPr>
          <a:lstStyle/>
          <a:p>
            <a:pPr marL="174625" indent="-174625" eaLnBrk="0" hangingPunct="0">
              <a:lnSpc>
                <a:spcPct val="85000"/>
              </a:lnSpc>
              <a:spcBef>
                <a:spcPts val="100"/>
              </a:spcBef>
              <a:spcAft>
                <a:spcPts val="100"/>
              </a:spcAft>
              <a:buFontTx/>
              <a:buChar char="•"/>
            </a:pPr>
            <a:r>
              <a:rPr lang="en-US" sz="1400" dirty="0">
                <a:solidFill>
                  <a:schemeClr val="bg1"/>
                </a:solidFill>
              </a:rPr>
              <a:t>Text</a:t>
            </a:r>
          </a:p>
          <a:p>
            <a:pPr marL="174625" indent="-174625" eaLnBrk="0" hangingPunct="0">
              <a:lnSpc>
                <a:spcPct val="85000"/>
              </a:lnSpc>
              <a:spcBef>
                <a:spcPts val="100"/>
              </a:spcBef>
              <a:spcAft>
                <a:spcPts val="100"/>
              </a:spcAft>
              <a:buFontTx/>
              <a:buChar char="•"/>
            </a:pPr>
            <a:r>
              <a:rPr lang="en-US" sz="1400" dirty="0">
                <a:solidFill>
                  <a:schemeClr val="bg1"/>
                </a:solidFill>
              </a:rPr>
              <a:t>Text</a:t>
            </a:r>
          </a:p>
        </p:txBody>
      </p:sp>
      <p:sp>
        <p:nvSpPr>
          <p:cNvPr id="41" name="Arrow: Chevron 40">
            <a:extLst>
              <a:ext uri="{FF2B5EF4-FFF2-40B4-BE49-F238E27FC236}">
                <a16:creationId xmlns:a16="http://schemas.microsoft.com/office/drawing/2014/main" id="{F4207BB5-911E-4927-B366-084874778885}"/>
              </a:ext>
            </a:extLst>
          </p:cNvPr>
          <p:cNvSpPr/>
          <p:nvPr/>
        </p:nvSpPr>
        <p:spPr>
          <a:xfrm rot="5400000">
            <a:off x="6421900" y="4025059"/>
            <a:ext cx="260576" cy="3581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
        <p:nvSpPr>
          <p:cNvPr id="42" name="Arrow: Chevron 41">
            <a:extLst>
              <a:ext uri="{FF2B5EF4-FFF2-40B4-BE49-F238E27FC236}">
                <a16:creationId xmlns:a16="http://schemas.microsoft.com/office/drawing/2014/main" id="{8008F5F3-EFB2-4FB6-8F2C-7D2C657D3CE4}"/>
              </a:ext>
            </a:extLst>
          </p:cNvPr>
          <p:cNvSpPr/>
          <p:nvPr/>
        </p:nvSpPr>
        <p:spPr>
          <a:xfrm rot="5400000">
            <a:off x="4249449" y="4025059"/>
            <a:ext cx="260576" cy="358108"/>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Tree>
    <p:extLst>
      <p:ext uri="{BB962C8B-B14F-4D97-AF65-F5344CB8AC3E}">
        <p14:creationId xmlns:p14="http://schemas.microsoft.com/office/powerpoint/2010/main" val="44322601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10</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5915980-A112-48E7-9887-FDAF30596AE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 name="AutoShape 5">
            <a:extLst>
              <a:ext uri="{FF2B5EF4-FFF2-40B4-BE49-F238E27FC236}">
                <a16:creationId xmlns:a16="http://schemas.microsoft.com/office/drawing/2014/main" id="{121578A6-C11A-4F55-A744-B49E3BDECA40}"/>
              </a:ext>
            </a:extLst>
          </p:cNvPr>
          <p:cNvSpPr>
            <a:spLocks noChangeArrowheads="1"/>
          </p:cNvSpPr>
          <p:nvPr/>
        </p:nvSpPr>
        <p:spPr bwMode="auto">
          <a:xfrm>
            <a:off x="1811338" y="1628800"/>
            <a:ext cx="2788897" cy="1108760"/>
          </a:xfrm>
          <a:prstGeom prst="homePlate">
            <a:avLst>
              <a:gd name="adj" fmla="val 27116"/>
            </a:avLst>
          </a:prstGeom>
          <a:solidFill>
            <a:schemeClr val="accent1"/>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2" name="AutoShape 5">
            <a:extLst>
              <a:ext uri="{FF2B5EF4-FFF2-40B4-BE49-F238E27FC236}">
                <a16:creationId xmlns:a16="http://schemas.microsoft.com/office/drawing/2014/main" id="{13BCFA20-829C-40A9-8A57-92228C20E0E2}"/>
              </a:ext>
            </a:extLst>
          </p:cNvPr>
          <p:cNvSpPr>
            <a:spLocks noChangeArrowheads="1"/>
          </p:cNvSpPr>
          <p:nvPr/>
        </p:nvSpPr>
        <p:spPr bwMode="auto">
          <a:xfrm>
            <a:off x="1811338" y="2898840"/>
            <a:ext cx="2788897" cy="1108760"/>
          </a:xfrm>
          <a:prstGeom prst="homePlate">
            <a:avLst>
              <a:gd name="adj" fmla="val 27116"/>
            </a:avLst>
          </a:prstGeom>
          <a:solidFill>
            <a:schemeClr val="accent2"/>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4" name="Freeform: Shape 13">
            <a:extLst>
              <a:ext uri="{FF2B5EF4-FFF2-40B4-BE49-F238E27FC236}">
                <a16:creationId xmlns:a16="http://schemas.microsoft.com/office/drawing/2014/main" id="{E5688824-B404-4666-93BD-AC4D2E8AFC4F}"/>
              </a:ext>
            </a:extLst>
          </p:cNvPr>
          <p:cNvSpPr>
            <a:spLocks noChangeArrowheads="1"/>
          </p:cNvSpPr>
          <p:nvPr/>
        </p:nvSpPr>
        <p:spPr bwMode="auto">
          <a:xfrm>
            <a:off x="4495770" y="4168880"/>
            <a:ext cx="5867430" cy="1108760"/>
          </a:xfrm>
          <a:custGeom>
            <a:avLst/>
            <a:gdLst>
              <a:gd name="connsiteX0" fmla="*/ 0 w 5867430"/>
              <a:gd name="connsiteY0" fmla="*/ 0 h 1108760"/>
              <a:gd name="connsiteX1" fmla="*/ 5867430 w 5867430"/>
              <a:gd name="connsiteY1" fmla="*/ 0 h 1108760"/>
              <a:gd name="connsiteX2" fmla="*/ 5867430 w 5867430"/>
              <a:gd name="connsiteY2" fmla="*/ 1108760 h 1108760"/>
              <a:gd name="connsiteX3" fmla="*/ 0 w 5867430"/>
              <a:gd name="connsiteY3" fmla="*/ 1108760 h 1108760"/>
              <a:gd name="connsiteX4" fmla="*/ 0 w 5867430"/>
              <a:gd name="connsiteY4" fmla="*/ 1095853 h 1108760"/>
              <a:gd name="connsiteX5" fmla="*/ 293651 w 5867430"/>
              <a:gd name="connsiteY5" fmla="*/ 554380 h 1108760"/>
              <a:gd name="connsiteX6" fmla="*/ 0 w 5867430"/>
              <a:gd name="connsiteY6" fmla="*/ 12908 h 11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7430" h="1108760">
                <a:moveTo>
                  <a:pt x="0" y="0"/>
                </a:moveTo>
                <a:lnTo>
                  <a:pt x="5867430" y="0"/>
                </a:lnTo>
                <a:lnTo>
                  <a:pt x="5867430" y="1108760"/>
                </a:lnTo>
                <a:lnTo>
                  <a:pt x="0" y="1108760"/>
                </a:lnTo>
                <a:lnTo>
                  <a:pt x="0" y="1095853"/>
                </a:lnTo>
                <a:lnTo>
                  <a:pt x="293651" y="554380"/>
                </a:lnTo>
                <a:lnTo>
                  <a:pt x="0" y="12908"/>
                </a:lnTo>
                <a:close/>
              </a:path>
            </a:pathLst>
          </a:custGeom>
          <a:solidFill>
            <a:schemeClr val="tx2">
              <a:lumMod val="20000"/>
              <a:lumOff val="80000"/>
            </a:schemeClr>
          </a:solidFill>
          <a:ln w="6350">
            <a:noFill/>
            <a:miter lim="800000"/>
            <a:headEnd/>
            <a:tailEnd/>
          </a:ln>
        </p:spPr>
        <p:txBody>
          <a:bodyPr wrap="square" lIns="540000" tIns="144000" rIns="72000" bIns="72000">
            <a:noAutofit/>
          </a:bodyPr>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16" name="AutoShape 5">
            <a:extLst>
              <a:ext uri="{FF2B5EF4-FFF2-40B4-BE49-F238E27FC236}">
                <a16:creationId xmlns:a16="http://schemas.microsoft.com/office/drawing/2014/main" id="{8EBCC211-5A0B-4B17-B596-7CC0751E697A}"/>
              </a:ext>
            </a:extLst>
          </p:cNvPr>
          <p:cNvSpPr>
            <a:spLocks noChangeArrowheads="1"/>
          </p:cNvSpPr>
          <p:nvPr/>
        </p:nvSpPr>
        <p:spPr bwMode="auto">
          <a:xfrm>
            <a:off x="1811338" y="4168880"/>
            <a:ext cx="2788897" cy="1108760"/>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dirty="0">
                <a:solidFill>
                  <a:schemeClr val="bg1"/>
                </a:solidFill>
                <a:latin typeface="+mj-lt"/>
              </a:rPr>
              <a:t>Text</a:t>
            </a:r>
          </a:p>
        </p:txBody>
      </p:sp>
      <p:sp>
        <p:nvSpPr>
          <p:cNvPr id="18" name="Freeform: Shape 17">
            <a:extLst>
              <a:ext uri="{FF2B5EF4-FFF2-40B4-BE49-F238E27FC236}">
                <a16:creationId xmlns:a16="http://schemas.microsoft.com/office/drawing/2014/main" id="{51FBED30-F107-4C14-B768-05F8C5A2F54D}"/>
              </a:ext>
            </a:extLst>
          </p:cNvPr>
          <p:cNvSpPr>
            <a:spLocks noChangeArrowheads="1"/>
          </p:cNvSpPr>
          <p:nvPr/>
        </p:nvSpPr>
        <p:spPr bwMode="auto">
          <a:xfrm>
            <a:off x="4495770" y="2898840"/>
            <a:ext cx="5867430" cy="1108760"/>
          </a:xfrm>
          <a:custGeom>
            <a:avLst/>
            <a:gdLst>
              <a:gd name="connsiteX0" fmla="*/ 0 w 5867430"/>
              <a:gd name="connsiteY0" fmla="*/ 0 h 1108760"/>
              <a:gd name="connsiteX1" fmla="*/ 5867430 w 5867430"/>
              <a:gd name="connsiteY1" fmla="*/ 0 h 1108760"/>
              <a:gd name="connsiteX2" fmla="*/ 5867430 w 5867430"/>
              <a:gd name="connsiteY2" fmla="*/ 1108760 h 1108760"/>
              <a:gd name="connsiteX3" fmla="*/ 0 w 5867430"/>
              <a:gd name="connsiteY3" fmla="*/ 1108760 h 1108760"/>
              <a:gd name="connsiteX4" fmla="*/ 0 w 5867430"/>
              <a:gd name="connsiteY4" fmla="*/ 1095853 h 1108760"/>
              <a:gd name="connsiteX5" fmla="*/ 293651 w 5867430"/>
              <a:gd name="connsiteY5" fmla="*/ 554380 h 1108760"/>
              <a:gd name="connsiteX6" fmla="*/ 0 w 5867430"/>
              <a:gd name="connsiteY6" fmla="*/ 12908 h 11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7430" h="1108760">
                <a:moveTo>
                  <a:pt x="0" y="0"/>
                </a:moveTo>
                <a:lnTo>
                  <a:pt x="5867430" y="0"/>
                </a:lnTo>
                <a:lnTo>
                  <a:pt x="5867430" y="1108760"/>
                </a:lnTo>
                <a:lnTo>
                  <a:pt x="0" y="1108760"/>
                </a:lnTo>
                <a:lnTo>
                  <a:pt x="0" y="1095853"/>
                </a:lnTo>
                <a:lnTo>
                  <a:pt x="293651" y="554380"/>
                </a:lnTo>
                <a:lnTo>
                  <a:pt x="0" y="12908"/>
                </a:lnTo>
                <a:close/>
              </a:path>
            </a:pathLst>
          </a:custGeom>
          <a:solidFill>
            <a:schemeClr val="tx2">
              <a:lumMod val="20000"/>
              <a:lumOff val="80000"/>
            </a:schemeClr>
          </a:solidFill>
          <a:ln w="6350">
            <a:noFill/>
            <a:miter lim="800000"/>
            <a:headEnd/>
            <a:tailEnd/>
          </a:ln>
        </p:spPr>
        <p:txBody>
          <a:bodyPr wrap="square" lIns="540000" tIns="144000" rIns="72000" bIns="72000">
            <a:noAutofit/>
          </a:bodyPr>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20" name="Freeform: Shape 19">
            <a:extLst>
              <a:ext uri="{FF2B5EF4-FFF2-40B4-BE49-F238E27FC236}">
                <a16:creationId xmlns:a16="http://schemas.microsoft.com/office/drawing/2014/main" id="{6CA374D2-8FDA-4224-A34B-1E7C856E4414}"/>
              </a:ext>
            </a:extLst>
          </p:cNvPr>
          <p:cNvSpPr>
            <a:spLocks noChangeArrowheads="1"/>
          </p:cNvSpPr>
          <p:nvPr/>
        </p:nvSpPr>
        <p:spPr bwMode="auto">
          <a:xfrm>
            <a:off x="4495770" y="1628800"/>
            <a:ext cx="5867430" cy="1108760"/>
          </a:xfrm>
          <a:custGeom>
            <a:avLst/>
            <a:gdLst>
              <a:gd name="connsiteX0" fmla="*/ 0 w 5867430"/>
              <a:gd name="connsiteY0" fmla="*/ 0 h 1108760"/>
              <a:gd name="connsiteX1" fmla="*/ 5867430 w 5867430"/>
              <a:gd name="connsiteY1" fmla="*/ 0 h 1108760"/>
              <a:gd name="connsiteX2" fmla="*/ 5867430 w 5867430"/>
              <a:gd name="connsiteY2" fmla="*/ 1108760 h 1108760"/>
              <a:gd name="connsiteX3" fmla="*/ 0 w 5867430"/>
              <a:gd name="connsiteY3" fmla="*/ 1108760 h 1108760"/>
              <a:gd name="connsiteX4" fmla="*/ 0 w 5867430"/>
              <a:gd name="connsiteY4" fmla="*/ 1095853 h 1108760"/>
              <a:gd name="connsiteX5" fmla="*/ 293651 w 5867430"/>
              <a:gd name="connsiteY5" fmla="*/ 554380 h 1108760"/>
              <a:gd name="connsiteX6" fmla="*/ 0 w 5867430"/>
              <a:gd name="connsiteY6" fmla="*/ 12908 h 11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7430" h="1108760">
                <a:moveTo>
                  <a:pt x="0" y="0"/>
                </a:moveTo>
                <a:lnTo>
                  <a:pt x="5867430" y="0"/>
                </a:lnTo>
                <a:lnTo>
                  <a:pt x="5867430" y="1108760"/>
                </a:lnTo>
                <a:lnTo>
                  <a:pt x="0" y="1108760"/>
                </a:lnTo>
                <a:lnTo>
                  <a:pt x="0" y="1095853"/>
                </a:lnTo>
                <a:lnTo>
                  <a:pt x="293651" y="554380"/>
                </a:lnTo>
                <a:lnTo>
                  <a:pt x="0" y="12908"/>
                </a:lnTo>
                <a:close/>
              </a:path>
            </a:pathLst>
          </a:custGeom>
          <a:solidFill>
            <a:schemeClr val="tx2">
              <a:lumMod val="20000"/>
              <a:lumOff val="80000"/>
            </a:schemeClr>
          </a:solidFill>
          <a:ln w="6350">
            <a:noFill/>
            <a:miter lim="800000"/>
            <a:headEnd/>
            <a:tailEnd/>
          </a:ln>
        </p:spPr>
        <p:txBody>
          <a:bodyPr wrap="square" lIns="540000" tIns="144000" rIns="72000" bIns="72000">
            <a:noAutofit/>
          </a:bodyPr>
          <a:lstStyle/>
          <a:p>
            <a:pPr eaLnBrk="0" hangingPunct="0">
              <a:lnSpc>
                <a:spcPct val="85000"/>
              </a:lnSpc>
              <a:spcBef>
                <a:spcPts val="100"/>
              </a:spcBef>
              <a:spcAft>
                <a:spcPts val="300"/>
              </a:spcAft>
            </a:pPr>
            <a:r>
              <a:rPr lang="en-GB" sz="1400" b="1" dirty="0">
                <a:latin typeface="+mj-lt"/>
              </a:rPr>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Tree>
    <p:extLst>
      <p:ext uri="{BB962C8B-B14F-4D97-AF65-F5344CB8AC3E}">
        <p14:creationId xmlns:p14="http://schemas.microsoft.com/office/powerpoint/2010/main" val="31028671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A6F4FFC-F7B3-994A-8BCE-F733A223B6AA}"/>
              </a:ext>
            </a:extLst>
          </p:cNvPr>
          <p:cNvSpPr>
            <a:spLocks noGrp="1"/>
          </p:cNvSpPr>
          <p:nvPr>
            <p:ph type="body" sz="quarter" idx="15"/>
          </p:nvPr>
        </p:nvSpPr>
        <p:spPr/>
        <p:txBody>
          <a:bodyPr/>
          <a:lstStyle/>
          <a:p>
            <a:endParaRPr lang="en-US"/>
          </a:p>
        </p:txBody>
      </p:sp>
      <p:sp>
        <p:nvSpPr>
          <p:cNvPr id="3" name="Title 2">
            <a:extLst>
              <a:ext uri="{FF2B5EF4-FFF2-40B4-BE49-F238E27FC236}">
                <a16:creationId xmlns:a16="http://schemas.microsoft.com/office/drawing/2014/main" id="{004E2A65-2355-E745-AA24-6AC740C891C9}"/>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B50C24A7-8E49-A042-9C7B-3FD9ABE224DB}"/>
              </a:ext>
            </a:extLst>
          </p:cNvPr>
          <p:cNvSpPr>
            <a:spLocks noGrp="1"/>
          </p:cNvSpPr>
          <p:nvPr>
            <p:ph type="body" idx="10"/>
          </p:nvPr>
        </p:nvSpPr>
        <p:spPr/>
        <p:txBody>
          <a:bodyPr/>
          <a:lstStyle/>
          <a:p>
            <a:endParaRPr lang="en-US"/>
          </a:p>
        </p:txBody>
      </p:sp>
    </p:spTree>
    <p:extLst>
      <p:ext uri="{BB962C8B-B14F-4D97-AF65-F5344CB8AC3E}">
        <p14:creationId xmlns:p14="http://schemas.microsoft.com/office/powerpoint/2010/main" val="74293440"/>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Consequences/Conclusion 11</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D231AC70-630E-423F-8212-E7B1510E1DCE}"/>
              </a:ext>
            </a:extLst>
          </p:cNvPr>
          <p:cNvGrpSpPr/>
          <p:nvPr/>
        </p:nvGrpSpPr>
        <p:grpSpPr>
          <a:xfrm>
            <a:off x="1822451" y="1763713"/>
            <a:ext cx="2616200" cy="3991425"/>
            <a:chOff x="1822450" y="1793280"/>
            <a:chExt cx="2795267" cy="4264620"/>
          </a:xfrm>
        </p:grpSpPr>
        <p:sp>
          <p:nvSpPr>
            <p:cNvPr id="5" name="Freeform: Shape 4">
              <a:extLst>
                <a:ext uri="{FF2B5EF4-FFF2-40B4-BE49-F238E27FC236}">
                  <a16:creationId xmlns:a16="http://schemas.microsoft.com/office/drawing/2014/main" id="{16822440-2F0A-4875-AA8F-926EA2AE48F8}"/>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rgbClr val="96968C">
                <a:lumMod val="20000"/>
                <a:lumOff val="80000"/>
              </a:srgbClr>
            </a:solidFill>
            <a:ln w="9525" cap="flat" cmpd="sng" algn="ctr">
              <a:noFill/>
              <a:prstDash val="solid"/>
            </a:ln>
            <a:effectLst/>
          </p:spPr>
          <p:txBody>
            <a:bodyPr wrap="square" lIns="180000" tIns="864000" rtlCol="0" anchor="t" anchorCtr="0">
              <a:noAutofit/>
            </a:bodyPr>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6" name="AutoShape 9">
              <a:extLst>
                <a:ext uri="{FF2B5EF4-FFF2-40B4-BE49-F238E27FC236}">
                  <a16:creationId xmlns:a16="http://schemas.microsoft.com/office/drawing/2014/main" id="{DA97F31C-1DEE-408E-BFD8-372312132196}"/>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3"/>
            </a:solidFill>
            <a:ln w="6350">
              <a:noFill/>
              <a:miter lim="800000"/>
              <a:headEnd/>
              <a:tailEnd/>
            </a:ln>
            <a:effectLst/>
          </p:spPr>
          <p:txBody>
            <a:bodyPr vert="eaVert" wrap="none" lIns="45720" rIns="45720" anchor="ct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p>
          </p:txBody>
        </p:sp>
      </p:grpSp>
      <p:grpSp>
        <p:nvGrpSpPr>
          <p:cNvPr id="7" name="Group 6">
            <a:extLst>
              <a:ext uri="{FF2B5EF4-FFF2-40B4-BE49-F238E27FC236}">
                <a16:creationId xmlns:a16="http://schemas.microsoft.com/office/drawing/2014/main" id="{C9151DA2-5BF9-45CF-A7D8-EACA07FE8C3A}"/>
              </a:ext>
            </a:extLst>
          </p:cNvPr>
          <p:cNvGrpSpPr/>
          <p:nvPr/>
        </p:nvGrpSpPr>
        <p:grpSpPr>
          <a:xfrm>
            <a:off x="4584919" y="1763713"/>
            <a:ext cx="2616200" cy="3991425"/>
            <a:chOff x="1822450" y="1793280"/>
            <a:chExt cx="2795267" cy="4264620"/>
          </a:xfrm>
        </p:grpSpPr>
        <p:sp>
          <p:nvSpPr>
            <p:cNvPr id="8" name="Freeform: Shape 7">
              <a:extLst>
                <a:ext uri="{FF2B5EF4-FFF2-40B4-BE49-F238E27FC236}">
                  <a16:creationId xmlns:a16="http://schemas.microsoft.com/office/drawing/2014/main" id="{DC585CCF-2137-477E-ADC5-D4E783B19DAA}"/>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rgbClr val="96968C">
                <a:lumMod val="20000"/>
                <a:lumOff val="80000"/>
              </a:srgbClr>
            </a:solidFill>
            <a:ln w="9525" cap="flat" cmpd="sng" algn="ctr">
              <a:noFill/>
              <a:prstDash val="solid"/>
            </a:ln>
            <a:effectLst/>
          </p:spPr>
          <p:txBody>
            <a:bodyPr wrap="square" lIns="180000" tIns="864000" rtlCol="0" anchor="t" anchorCtr="0">
              <a:noAutofit/>
            </a:bodyPr>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9" name="AutoShape 9">
              <a:extLst>
                <a:ext uri="{FF2B5EF4-FFF2-40B4-BE49-F238E27FC236}">
                  <a16:creationId xmlns:a16="http://schemas.microsoft.com/office/drawing/2014/main" id="{99802AEA-2D09-4EF3-9418-0EEAD20C52AE}"/>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2"/>
            </a:solidFill>
            <a:ln w="6350">
              <a:noFill/>
              <a:miter lim="800000"/>
              <a:headEnd/>
              <a:tailEnd/>
            </a:ln>
            <a:effectLst/>
          </p:spPr>
          <p:txBody>
            <a:bodyPr vert="eaVert" wrap="none" lIns="45720" rIns="45720" anchor="ct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p>
          </p:txBody>
        </p:sp>
      </p:grpSp>
      <p:grpSp>
        <p:nvGrpSpPr>
          <p:cNvPr id="10" name="Group 9">
            <a:extLst>
              <a:ext uri="{FF2B5EF4-FFF2-40B4-BE49-F238E27FC236}">
                <a16:creationId xmlns:a16="http://schemas.microsoft.com/office/drawing/2014/main" id="{26228C73-C91B-423C-A0E6-0DF9E387C83D}"/>
              </a:ext>
            </a:extLst>
          </p:cNvPr>
          <p:cNvGrpSpPr/>
          <p:nvPr/>
        </p:nvGrpSpPr>
        <p:grpSpPr>
          <a:xfrm>
            <a:off x="7347388" y="1763713"/>
            <a:ext cx="2616200" cy="3991425"/>
            <a:chOff x="1822450" y="1793280"/>
            <a:chExt cx="2795267" cy="4264620"/>
          </a:xfrm>
        </p:grpSpPr>
        <p:sp>
          <p:nvSpPr>
            <p:cNvPr id="11" name="Freeform: Shape 10">
              <a:extLst>
                <a:ext uri="{FF2B5EF4-FFF2-40B4-BE49-F238E27FC236}">
                  <a16:creationId xmlns:a16="http://schemas.microsoft.com/office/drawing/2014/main" id="{A36B3D5C-B848-4C88-A66F-179B40064413}"/>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rgbClr val="96968C">
                <a:lumMod val="20000"/>
                <a:lumOff val="80000"/>
              </a:srgbClr>
            </a:solidFill>
            <a:ln w="9525" cap="flat" cmpd="sng" algn="ctr">
              <a:noFill/>
              <a:prstDash val="solid"/>
            </a:ln>
            <a:effectLst/>
          </p:spPr>
          <p:txBody>
            <a:bodyPr wrap="square" lIns="180000" tIns="864000" rtlCol="0" anchor="t" anchorCtr="0">
              <a:noAutofit/>
            </a:bodyPr>
            <a:lstStyle/>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0" fontAlgn="auto" latinLnBrk="0" hangingPunct="0">
                <a:lnSpc>
                  <a:spcPct val="100000"/>
                </a:lnSpc>
                <a:spcBef>
                  <a:spcPts val="100"/>
                </a:spcBef>
                <a:spcAft>
                  <a:spcPts val="100"/>
                </a:spcAft>
                <a:buClrTx/>
                <a:buSzTx/>
                <a:buFontTx/>
                <a:buChar char="•"/>
                <a:tabLst/>
                <a:defRPr/>
              </a:pPr>
              <a:r>
                <a:rPr kumimoji="0" lang="en-US"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2" name="AutoShape 9">
              <a:extLst>
                <a:ext uri="{FF2B5EF4-FFF2-40B4-BE49-F238E27FC236}">
                  <a16:creationId xmlns:a16="http://schemas.microsoft.com/office/drawing/2014/main" id="{B240E86E-58E2-4728-8741-BA0F15CC9B05}"/>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1"/>
            </a:solidFill>
            <a:ln w="6350">
              <a:noFill/>
              <a:miter lim="800000"/>
              <a:headEnd/>
              <a:tailEnd/>
            </a:ln>
            <a:effectLst/>
          </p:spPr>
          <p:txBody>
            <a:bodyPr vert="eaVert" wrap="none" lIns="45720" rIns="45720" anchor="ct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p>
          </p:txBody>
        </p:sp>
      </p:grpSp>
      <p:sp>
        <p:nvSpPr>
          <p:cNvPr id="3" name="Rectangle 2">
            <a:hlinkClick r:id="rId3" action="ppaction://hlinksldjump"/>
            <a:extLst>
              <a:ext uri="{FF2B5EF4-FFF2-40B4-BE49-F238E27FC236}">
                <a16:creationId xmlns:a16="http://schemas.microsoft.com/office/drawing/2014/main" id="{AB98BFE1-D5D8-4314-A86E-B4114C002D7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978707351"/>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rocess with Focus</a:t>
            </a:r>
          </a:p>
        </p:txBody>
      </p:sp>
      <p:sp>
        <p:nvSpPr>
          <p:cNvPr id="21" name="Freeform: Shape 20">
            <a:hlinkClick r:id="rId11"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1" action="ppaction://hlinksldjump"/>
            <a:extLst>
              <a:ext uri="{FF2B5EF4-FFF2-40B4-BE49-F238E27FC236}">
                <a16:creationId xmlns:a16="http://schemas.microsoft.com/office/drawing/2014/main" id="{DEDC213A-1DCA-4CE5-A87A-87C3A2D0869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Text Box 8">
            <a:extLst>
              <a:ext uri="{FF2B5EF4-FFF2-40B4-BE49-F238E27FC236}">
                <a16:creationId xmlns:a16="http://schemas.microsoft.com/office/drawing/2014/main" id="{7DFBF730-8E21-4C15-8551-069AB20117DF}"/>
              </a:ext>
            </a:extLst>
          </p:cNvPr>
          <p:cNvSpPr txBox="1">
            <a:spLocks noChangeArrowheads="1"/>
          </p:cNvSpPr>
          <p:nvPr>
            <p:custDataLst>
              <p:tags r:id="rId1"/>
            </p:custDataLst>
          </p:nvPr>
        </p:nvSpPr>
        <p:spPr bwMode="auto">
          <a:xfrm>
            <a:off x="1828800" y="4467609"/>
            <a:ext cx="8543924" cy="1590291"/>
          </a:xfrm>
          <a:prstGeom prst="rect">
            <a:avLst/>
          </a:prstGeom>
          <a:solidFill>
            <a:schemeClr val="tx2">
              <a:lumMod val="40000"/>
              <a:lumOff val="60000"/>
            </a:schemeClr>
          </a:solidFill>
          <a:ln w="6350">
            <a:noFill/>
            <a:miter lim="800000"/>
            <a:headEnd/>
            <a:tailEnd/>
          </a:ln>
        </p:spPr>
        <p:txBody>
          <a:bodyPr wrap="square" lIns="180000" tIns="144000" rIns="72000" bIns="72000">
            <a:noAutofit/>
          </a:bodyPr>
          <a:lstStyle>
            <a:defPPr>
              <a:defRPr lang="en-US"/>
            </a:defPPr>
            <a:lvl1pPr eaLnBrk="0" hangingPunct="0">
              <a:lnSpc>
                <a:spcPct val="85000"/>
              </a:lnSpc>
              <a:spcBef>
                <a:spcPts val="100"/>
              </a:spcBef>
              <a:spcAft>
                <a:spcPts val="300"/>
              </a:spcAft>
              <a:defRPr sz="1400" b="1" cap="all">
                <a:latin typeface="+mj-lt"/>
              </a:defRPr>
            </a:lvl1pPr>
          </a:lstStyle>
          <a:p>
            <a:r>
              <a:rPr lang="de-DE" cap="none" dirty="0"/>
              <a:t>Text</a:t>
            </a:r>
          </a:p>
          <a:p>
            <a:pPr marL="174625" indent="-174625">
              <a:spcAft>
                <a:spcPts val="100"/>
              </a:spcAft>
              <a:buFontTx/>
              <a:buChar char="•"/>
            </a:pPr>
            <a:r>
              <a:rPr lang="en-GB" b="0" cap="none" dirty="0">
                <a:latin typeface="+mn-lt"/>
              </a:rPr>
              <a:t>Text</a:t>
            </a:r>
          </a:p>
          <a:p>
            <a:pPr marL="174625" indent="-174625">
              <a:spcAft>
                <a:spcPts val="100"/>
              </a:spcAft>
              <a:buFontTx/>
              <a:buChar char="•"/>
            </a:pPr>
            <a:r>
              <a:rPr lang="en-GB" b="0" cap="none" dirty="0">
                <a:latin typeface="+mn-lt"/>
              </a:rPr>
              <a:t>Text</a:t>
            </a:r>
          </a:p>
          <a:p>
            <a:pPr marL="174625" indent="-174625">
              <a:spcAft>
                <a:spcPts val="100"/>
              </a:spcAft>
              <a:buFontTx/>
              <a:buChar char="•"/>
            </a:pPr>
            <a:r>
              <a:rPr lang="en-GB" b="0" cap="none" dirty="0">
                <a:latin typeface="+mn-lt"/>
              </a:rPr>
              <a:t>Text</a:t>
            </a:r>
          </a:p>
        </p:txBody>
      </p:sp>
      <p:sp>
        <p:nvSpPr>
          <p:cNvPr id="15" name="Text Box 9">
            <a:extLst>
              <a:ext uri="{FF2B5EF4-FFF2-40B4-BE49-F238E27FC236}">
                <a16:creationId xmlns:a16="http://schemas.microsoft.com/office/drawing/2014/main" id="{87898F9C-C6EA-4E2E-AA72-0C6F7629E94B}"/>
              </a:ext>
            </a:extLst>
          </p:cNvPr>
          <p:cNvSpPr txBox="1">
            <a:spLocks noChangeArrowheads="1"/>
          </p:cNvSpPr>
          <p:nvPr>
            <p:custDataLst>
              <p:tags r:id="rId2"/>
            </p:custDataLst>
          </p:nvPr>
        </p:nvSpPr>
        <p:spPr bwMode="auto">
          <a:xfrm>
            <a:off x="1828800" y="2773747"/>
            <a:ext cx="8543924" cy="1590291"/>
          </a:xfrm>
          <a:prstGeom prst="rect">
            <a:avLst/>
          </a:prstGeom>
          <a:solidFill>
            <a:schemeClr val="tx2">
              <a:lumMod val="20000"/>
              <a:lumOff val="80000"/>
            </a:schemeClr>
          </a:solidFill>
          <a:ln w="6350">
            <a:noFill/>
            <a:miter lim="800000"/>
            <a:headEnd/>
            <a:tailEnd/>
          </a:ln>
        </p:spPr>
        <p:txBody>
          <a:bodyPr wrap="square" lIns="180000" tIns="144000" rIns="72000" bIns="72000">
            <a:noAutofit/>
          </a:bodyPr>
          <a:lstStyle>
            <a:defPPr>
              <a:defRPr lang="en-US"/>
            </a:defPPr>
            <a:lvl1pPr eaLnBrk="0" hangingPunct="0">
              <a:lnSpc>
                <a:spcPct val="85000"/>
              </a:lnSpc>
              <a:spcBef>
                <a:spcPts val="100"/>
              </a:spcBef>
              <a:spcAft>
                <a:spcPts val="300"/>
              </a:spcAft>
              <a:defRPr sz="1400" b="1" cap="all">
                <a:latin typeface="+mj-lt"/>
              </a:defRPr>
            </a:lvl1pPr>
          </a:lstStyle>
          <a:p>
            <a:r>
              <a:rPr lang="de-DE" cap="none" dirty="0"/>
              <a:t>Text</a:t>
            </a:r>
          </a:p>
          <a:p>
            <a:pPr marL="174625" indent="-174625">
              <a:spcAft>
                <a:spcPts val="100"/>
              </a:spcAft>
              <a:buFontTx/>
              <a:buChar char="•"/>
            </a:pPr>
            <a:r>
              <a:rPr lang="en-GB" b="0" cap="none" dirty="0">
                <a:latin typeface="+mn-lt"/>
              </a:rPr>
              <a:t>Text</a:t>
            </a:r>
          </a:p>
          <a:p>
            <a:pPr marL="174625" indent="-174625">
              <a:spcAft>
                <a:spcPts val="100"/>
              </a:spcAft>
              <a:buFontTx/>
              <a:buChar char="•"/>
            </a:pPr>
            <a:r>
              <a:rPr lang="en-GB" b="0" cap="none" dirty="0">
                <a:latin typeface="+mn-lt"/>
              </a:rPr>
              <a:t>Text</a:t>
            </a:r>
          </a:p>
          <a:p>
            <a:pPr marL="174625" indent="-174625">
              <a:spcAft>
                <a:spcPts val="100"/>
              </a:spcAft>
              <a:buFontTx/>
              <a:buChar char="•"/>
            </a:pPr>
            <a:r>
              <a:rPr lang="en-GB" b="0" cap="none" dirty="0">
                <a:latin typeface="+mn-lt"/>
              </a:rPr>
              <a:t>Text</a:t>
            </a:r>
          </a:p>
        </p:txBody>
      </p:sp>
      <p:sp>
        <p:nvSpPr>
          <p:cNvPr id="16" name="Text Box 11">
            <a:extLst>
              <a:ext uri="{FF2B5EF4-FFF2-40B4-BE49-F238E27FC236}">
                <a16:creationId xmlns:a16="http://schemas.microsoft.com/office/drawing/2014/main" id="{A3048543-5EBE-4F37-B1CD-AC1391FE300A}"/>
              </a:ext>
            </a:extLst>
          </p:cNvPr>
          <p:cNvSpPr txBox="1">
            <a:spLocks noChangeArrowheads="1"/>
          </p:cNvSpPr>
          <p:nvPr>
            <p:custDataLst>
              <p:tags r:id="rId3"/>
            </p:custDataLst>
          </p:nvPr>
        </p:nvSpPr>
        <p:spPr bwMode="auto">
          <a:xfrm>
            <a:off x="1828800" y="1592264"/>
            <a:ext cx="8543924" cy="396875"/>
          </a:xfrm>
          <a:prstGeom prst="rect">
            <a:avLst/>
          </a:prstGeom>
          <a:solidFill>
            <a:schemeClr val="accent1"/>
          </a:solidFill>
          <a:ln w="19050">
            <a:noFill/>
          </a:ln>
        </p:spPr>
        <p:txBody>
          <a:bodyPr vert="horz" wrap="square" lIns="0" tIns="36000" rIns="0" bIns="0" rtlCol="0" anchor="ctr">
            <a:noAutofit/>
          </a:bodyPr>
          <a:lstStyle>
            <a:defPPr>
              <a:defRPr lang="en-US"/>
            </a:defPPr>
            <a:lvl1pPr algn="ctr">
              <a:lnSpc>
                <a:spcPct val="85000"/>
              </a:lnSpc>
              <a:defRPr cap="all">
                <a:solidFill>
                  <a:schemeClr val="bg1"/>
                </a:solidFill>
                <a:latin typeface="+mj-lt"/>
              </a:defRPr>
            </a:lvl1pPr>
          </a:lstStyle>
          <a:p>
            <a:r>
              <a:rPr lang="de-DE" b="1" cap="none" dirty="0"/>
              <a:t>Text</a:t>
            </a:r>
          </a:p>
        </p:txBody>
      </p:sp>
      <p:sp>
        <p:nvSpPr>
          <p:cNvPr id="17" name="Rectangle 4">
            <a:extLst>
              <a:ext uri="{FF2B5EF4-FFF2-40B4-BE49-F238E27FC236}">
                <a16:creationId xmlns:a16="http://schemas.microsoft.com/office/drawing/2014/main" id="{0A1B85A8-622C-4C0F-9387-86223927790F}"/>
              </a:ext>
            </a:extLst>
          </p:cNvPr>
          <p:cNvSpPr>
            <a:spLocks noChangeArrowheads="1"/>
          </p:cNvSpPr>
          <p:nvPr>
            <p:custDataLst>
              <p:tags r:id="rId4"/>
            </p:custDataLst>
          </p:nvPr>
        </p:nvSpPr>
        <p:spPr bwMode="auto">
          <a:xfrm>
            <a:off x="3552951" y="2060575"/>
            <a:ext cx="1647318" cy="431800"/>
          </a:xfrm>
          <a:prstGeom prst="rect">
            <a:avLst/>
          </a:prstGeom>
          <a:pattFill prst="dkDnDiag">
            <a:fgClr>
              <a:schemeClr val="accent3">
                <a:lumMod val="20000"/>
                <a:lumOff val="80000"/>
              </a:schemeClr>
            </a:fgClr>
            <a:bgClr>
              <a:schemeClr val="bg1"/>
            </a:bgClr>
          </a:pattFill>
          <a:ln w="19050">
            <a:noFill/>
          </a:ln>
        </p:spPr>
        <p:txBody>
          <a:bodyPr vert="horz" wrap="square" lIns="0" tIns="36000" rIns="0" bIns="0" rtlCol="0" anchor="ctr">
            <a:noAutofit/>
          </a:bodyPr>
          <a:lstStyle/>
          <a:p>
            <a:pPr algn="ctr">
              <a:lnSpc>
                <a:spcPct val="85000"/>
              </a:lnSpc>
            </a:pPr>
            <a:r>
              <a:rPr lang="de-DE" sz="1200" b="1" dirty="0">
                <a:solidFill>
                  <a:schemeClr val="accent3"/>
                </a:solidFill>
                <a:latin typeface="+mj-lt"/>
              </a:rPr>
              <a:t>Text</a:t>
            </a:r>
          </a:p>
        </p:txBody>
      </p:sp>
      <p:sp>
        <p:nvSpPr>
          <p:cNvPr id="18" name="Rectangle 5">
            <a:extLst>
              <a:ext uri="{FF2B5EF4-FFF2-40B4-BE49-F238E27FC236}">
                <a16:creationId xmlns:a16="http://schemas.microsoft.com/office/drawing/2014/main" id="{F848B201-F425-496E-BBDD-85C685513CB8}"/>
              </a:ext>
            </a:extLst>
          </p:cNvPr>
          <p:cNvSpPr>
            <a:spLocks noChangeArrowheads="1"/>
          </p:cNvSpPr>
          <p:nvPr>
            <p:custDataLst>
              <p:tags r:id="rId5"/>
            </p:custDataLst>
          </p:nvPr>
        </p:nvSpPr>
        <p:spPr bwMode="auto">
          <a:xfrm>
            <a:off x="5277103" y="2060575"/>
            <a:ext cx="1647318" cy="431800"/>
          </a:xfrm>
          <a:prstGeom prst="rect">
            <a:avLst/>
          </a:prstGeom>
          <a:pattFill prst="dkDnDiag">
            <a:fgClr>
              <a:schemeClr val="accent3">
                <a:lumMod val="20000"/>
                <a:lumOff val="80000"/>
              </a:schemeClr>
            </a:fgClr>
            <a:bgClr>
              <a:schemeClr val="bg1"/>
            </a:bgClr>
          </a:pattFill>
          <a:ln w="19050">
            <a:noFill/>
          </a:ln>
        </p:spPr>
        <p:txBody>
          <a:bodyPr vert="horz" wrap="square" lIns="0" tIns="36000" rIns="0" bIns="0" rtlCol="0" anchor="ctr">
            <a:noAutofit/>
          </a:bodyPr>
          <a:lstStyle/>
          <a:p>
            <a:pPr algn="ctr">
              <a:lnSpc>
                <a:spcPct val="85000"/>
              </a:lnSpc>
            </a:pPr>
            <a:r>
              <a:rPr lang="de-DE" sz="1200" b="1" dirty="0">
                <a:solidFill>
                  <a:schemeClr val="accent3"/>
                </a:solidFill>
                <a:latin typeface="+mj-lt"/>
              </a:rPr>
              <a:t>Text</a:t>
            </a:r>
          </a:p>
        </p:txBody>
      </p:sp>
      <p:sp>
        <p:nvSpPr>
          <p:cNvPr id="19" name="Rectangle 6">
            <a:extLst>
              <a:ext uri="{FF2B5EF4-FFF2-40B4-BE49-F238E27FC236}">
                <a16:creationId xmlns:a16="http://schemas.microsoft.com/office/drawing/2014/main" id="{6FD4D2B2-9F52-45C4-BA5B-AD1CFCFE535F}"/>
              </a:ext>
            </a:extLst>
          </p:cNvPr>
          <p:cNvSpPr>
            <a:spLocks noChangeArrowheads="1"/>
          </p:cNvSpPr>
          <p:nvPr>
            <p:custDataLst>
              <p:tags r:id="rId6"/>
            </p:custDataLst>
          </p:nvPr>
        </p:nvSpPr>
        <p:spPr bwMode="auto">
          <a:xfrm>
            <a:off x="7001254" y="2060575"/>
            <a:ext cx="1647318" cy="431800"/>
          </a:xfrm>
          <a:prstGeom prst="rect">
            <a:avLst/>
          </a:prstGeom>
          <a:pattFill prst="dkDnDiag">
            <a:fgClr>
              <a:schemeClr val="accent3">
                <a:lumMod val="20000"/>
                <a:lumOff val="80000"/>
              </a:schemeClr>
            </a:fgClr>
            <a:bgClr>
              <a:schemeClr val="bg1"/>
            </a:bgClr>
          </a:pattFill>
          <a:ln w="19050">
            <a:noFill/>
          </a:ln>
        </p:spPr>
        <p:txBody>
          <a:bodyPr vert="horz" wrap="square" lIns="0" tIns="36000" rIns="0" bIns="0" rtlCol="0" anchor="ctr">
            <a:noAutofit/>
          </a:bodyPr>
          <a:lstStyle/>
          <a:p>
            <a:pPr algn="ctr">
              <a:lnSpc>
                <a:spcPct val="85000"/>
              </a:lnSpc>
            </a:pPr>
            <a:r>
              <a:rPr lang="de-DE" sz="1200" b="1" dirty="0">
                <a:solidFill>
                  <a:schemeClr val="accent3"/>
                </a:solidFill>
                <a:latin typeface="+mj-lt"/>
              </a:rPr>
              <a:t>Text</a:t>
            </a:r>
          </a:p>
        </p:txBody>
      </p:sp>
      <p:sp>
        <p:nvSpPr>
          <p:cNvPr id="20" name="Rectangle 7">
            <a:extLst>
              <a:ext uri="{FF2B5EF4-FFF2-40B4-BE49-F238E27FC236}">
                <a16:creationId xmlns:a16="http://schemas.microsoft.com/office/drawing/2014/main" id="{34C5DF1B-B1C4-4C46-AE76-E61D3F95A3FC}"/>
              </a:ext>
            </a:extLst>
          </p:cNvPr>
          <p:cNvSpPr>
            <a:spLocks noChangeArrowheads="1"/>
          </p:cNvSpPr>
          <p:nvPr>
            <p:custDataLst>
              <p:tags r:id="rId7"/>
            </p:custDataLst>
          </p:nvPr>
        </p:nvSpPr>
        <p:spPr bwMode="auto">
          <a:xfrm>
            <a:off x="8725406" y="2060575"/>
            <a:ext cx="1647318" cy="431800"/>
          </a:xfrm>
          <a:prstGeom prst="rect">
            <a:avLst/>
          </a:prstGeom>
          <a:pattFill prst="dkDnDiag">
            <a:fgClr>
              <a:schemeClr val="accent3">
                <a:lumMod val="20000"/>
                <a:lumOff val="80000"/>
              </a:schemeClr>
            </a:fgClr>
            <a:bgClr>
              <a:schemeClr val="bg1"/>
            </a:bgClr>
          </a:pattFill>
          <a:ln w="19050">
            <a:noFill/>
          </a:ln>
        </p:spPr>
        <p:txBody>
          <a:bodyPr vert="horz" wrap="square" lIns="0" tIns="36000" rIns="0" bIns="0" rtlCol="0" anchor="ctr">
            <a:noAutofit/>
          </a:bodyPr>
          <a:lstStyle/>
          <a:p>
            <a:pPr algn="ctr">
              <a:lnSpc>
                <a:spcPct val="85000"/>
              </a:lnSpc>
            </a:pPr>
            <a:r>
              <a:rPr lang="de-DE" sz="1200" b="1" dirty="0">
                <a:solidFill>
                  <a:schemeClr val="accent3"/>
                </a:solidFill>
                <a:latin typeface="+mj-lt"/>
              </a:rPr>
              <a:t>Text</a:t>
            </a:r>
          </a:p>
        </p:txBody>
      </p:sp>
      <p:sp>
        <p:nvSpPr>
          <p:cNvPr id="22" name="Rectangle 4">
            <a:extLst>
              <a:ext uri="{FF2B5EF4-FFF2-40B4-BE49-F238E27FC236}">
                <a16:creationId xmlns:a16="http://schemas.microsoft.com/office/drawing/2014/main" id="{AC5B7E81-4DE9-43FE-9B8F-813DB4E44C92}"/>
              </a:ext>
            </a:extLst>
          </p:cNvPr>
          <p:cNvSpPr>
            <a:spLocks noChangeArrowheads="1"/>
          </p:cNvSpPr>
          <p:nvPr>
            <p:custDataLst>
              <p:tags r:id="rId8"/>
            </p:custDataLst>
          </p:nvPr>
        </p:nvSpPr>
        <p:spPr bwMode="auto">
          <a:xfrm>
            <a:off x="1828799" y="2060575"/>
            <a:ext cx="1647318" cy="431800"/>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de-DE" sz="1200" b="1" dirty="0">
                <a:solidFill>
                  <a:schemeClr val="bg1"/>
                </a:solidFill>
                <a:latin typeface="+mj-lt"/>
              </a:rPr>
              <a:t>Text</a:t>
            </a:r>
          </a:p>
        </p:txBody>
      </p:sp>
      <p:cxnSp>
        <p:nvCxnSpPr>
          <p:cNvPr id="23" name="Straight Arrow Connector 22">
            <a:extLst>
              <a:ext uri="{FF2B5EF4-FFF2-40B4-BE49-F238E27FC236}">
                <a16:creationId xmlns:a16="http://schemas.microsoft.com/office/drawing/2014/main" id="{1FFB1556-3900-4059-943A-3CED272C1815}"/>
              </a:ext>
            </a:extLst>
          </p:cNvPr>
          <p:cNvCxnSpPr>
            <a:stCxn id="22" idx="2"/>
          </p:cNvCxnSpPr>
          <p:nvPr/>
        </p:nvCxnSpPr>
        <p:spPr>
          <a:xfrm>
            <a:off x="2652458" y="2492375"/>
            <a:ext cx="0" cy="281372"/>
          </a:xfrm>
          <a:prstGeom prst="straightConnector1">
            <a:avLst/>
          </a:prstGeom>
          <a:ln w="158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4091827"/>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Things in Common</a:t>
            </a:r>
            <a:endParaRPr lang="de-DE" dirty="0"/>
          </a:p>
        </p:txBody>
      </p:sp>
      <p:sp>
        <p:nvSpPr>
          <p:cNvPr id="21" name="Freeform: Shape 20">
            <a:hlinkClick r:id="rId7"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7" action="ppaction://hlinksldjump"/>
            <a:extLst>
              <a:ext uri="{FF2B5EF4-FFF2-40B4-BE49-F238E27FC236}">
                <a16:creationId xmlns:a16="http://schemas.microsoft.com/office/drawing/2014/main" id="{FE3DD900-0730-4741-ADBE-0836DC9E052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2" name="Group 11">
            <a:extLst>
              <a:ext uri="{FF2B5EF4-FFF2-40B4-BE49-F238E27FC236}">
                <a16:creationId xmlns:a16="http://schemas.microsoft.com/office/drawing/2014/main" id="{BEBAECE2-E2DA-4819-A749-7298C3E14FB4}"/>
              </a:ext>
            </a:extLst>
          </p:cNvPr>
          <p:cNvGrpSpPr/>
          <p:nvPr/>
        </p:nvGrpSpPr>
        <p:grpSpPr>
          <a:xfrm>
            <a:off x="1828800" y="1582411"/>
            <a:ext cx="3600000" cy="3754764"/>
            <a:chOff x="1100738" y="1576600"/>
            <a:chExt cx="3600000" cy="4225110"/>
          </a:xfrm>
        </p:grpSpPr>
        <p:sp>
          <p:nvSpPr>
            <p:cNvPr id="13" name="Rectangle 12">
              <a:extLst>
                <a:ext uri="{FF2B5EF4-FFF2-40B4-BE49-F238E27FC236}">
                  <a16:creationId xmlns:a16="http://schemas.microsoft.com/office/drawing/2014/main" id="{4CB0604F-07EE-453D-A59E-F887422E6DAF}"/>
                </a:ext>
              </a:extLst>
            </p:cNvPr>
            <p:cNvSpPr>
              <a:spLocks noChangeArrowheads="1"/>
            </p:cNvSpPr>
            <p:nvPr>
              <p:custDataLst>
                <p:tags r:id="rId3"/>
              </p:custDataLst>
            </p:nvPr>
          </p:nvSpPr>
          <p:spPr bwMode="auto">
            <a:xfrm>
              <a:off x="1100738" y="1576600"/>
              <a:ext cx="3600000" cy="367218"/>
            </a:xfrm>
            <a:prstGeom prst="rect">
              <a:avLst/>
            </a:prstGeom>
            <a:solidFill>
              <a:schemeClr val="accent1"/>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4" name="Rectangle 13">
              <a:extLst>
                <a:ext uri="{FF2B5EF4-FFF2-40B4-BE49-F238E27FC236}">
                  <a16:creationId xmlns:a16="http://schemas.microsoft.com/office/drawing/2014/main" id="{88554F4E-3A33-484F-8342-08B5CFD03761}"/>
                </a:ext>
              </a:extLst>
            </p:cNvPr>
            <p:cNvSpPr>
              <a:spLocks noChangeArrowheads="1"/>
            </p:cNvSpPr>
            <p:nvPr>
              <p:custDataLst>
                <p:tags r:id="rId4"/>
              </p:custDataLst>
            </p:nvPr>
          </p:nvSpPr>
          <p:spPr bwMode="auto">
            <a:xfrm>
              <a:off x="1100738" y="1943818"/>
              <a:ext cx="3600000" cy="3857892"/>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15" name="Group 14">
            <a:extLst>
              <a:ext uri="{FF2B5EF4-FFF2-40B4-BE49-F238E27FC236}">
                <a16:creationId xmlns:a16="http://schemas.microsoft.com/office/drawing/2014/main" id="{25A72ECF-7015-4E4B-85BB-9B18B22710E4}"/>
              </a:ext>
            </a:extLst>
          </p:cNvPr>
          <p:cNvGrpSpPr/>
          <p:nvPr/>
        </p:nvGrpSpPr>
        <p:grpSpPr>
          <a:xfrm>
            <a:off x="6763200" y="1582411"/>
            <a:ext cx="3600000" cy="3754764"/>
            <a:chOff x="7144573" y="1582411"/>
            <a:chExt cx="3600000" cy="3754764"/>
          </a:xfrm>
        </p:grpSpPr>
        <p:sp>
          <p:nvSpPr>
            <p:cNvPr id="16" name="Rectangle 14">
              <a:extLst>
                <a:ext uri="{FF2B5EF4-FFF2-40B4-BE49-F238E27FC236}">
                  <a16:creationId xmlns:a16="http://schemas.microsoft.com/office/drawing/2014/main" id="{B9B1083A-F27D-4905-9841-4B7220702D7C}"/>
                </a:ext>
              </a:extLst>
            </p:cNvPr>
            <p:cNvSpPr>
              <a:spLocks noChangeArrowheads="1"/>
            </p:cNvSpPr>
            <p:nvPr>
              <p:custDataLst>
                <p:tags r:id="rId1"/>
              </p:custDataLst>
            </p:nvPr>
          </p:nvSpPr>
          <p:spPr bwMode="auto">
            <a:xfrm>
              <a:off x="7144573" y="1582411"/>
              <a:ext cx="3600000" cy="326339"/>
            </a:xfrm>
            <a:prstGeom prst="rect">
              <a:avLst/>
            </a:prstGeom>
            <a:solidFill>
              <a:schemeClr val="accent1"/>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7" name="Rectangle 15">
              <a:extLst>
                <a:ext uri="{FF2B5EF4-FFF2-40B4-BE49-F238E27FC236}">
                  <a16:creationId xmlns:a16="http://schemas.microsoft.com/office/drawing/2014/main" id="{DE5D99C0-CBCD-4291-A8FD-D94A3DC54225}"/>
                </a:ext>
              </a:extLst>
            </p:cNvPr>
            <p:cNvSpPr>
              <a:spLocks noChangeArrowheads="1"/>
            </p:cNvSpPr>
            <p:nvPr>
              <p:custDataLst>
                <p:tags r:id="rId2"/>
              </p:custDataLst>
            </p:nvPr>
          </p:nvSpPr>
          <p:spPr bwMode="auto">
            <a:xfrm>
              <a:off x="7144573" y="1908751"/>
              <a:ext cx="3600000" cy="3428424"/>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sp>
        <p:nvSpPr>
          <p:cNvPr id="18" name="Oval 25">
            <a:extLst>
              <a:ext uri="{FF2B5EF4-FFF2-40B4-BE49-F238E27FC236}">
                <a16:creationId xmlns:a16="http://schemas.microsoft.com/office/drawing/2014/main" id="{B0B3ECF5-1E08-4D4E-A075-CBD3E476C9F8}"/>
              </a:ext>
            </a:extLst>
          </p:cNvPr>
          <p:cNvSpPr>
            <a:spLocks noChangeArrowheads="1"/>
          </p:cNvSpPr>
          <p:nvPr/>
        </p:nvSpPr>
        <p:spPr bwMode="auto">
          <a:xfrm>
            <a:off x="5031028" y="2418014"/>
            <a:ext cx="2129947" cy="2129946"/>
          </a:xfrm>
          <a:prstGeom prst="ellipse">
            <a:avLst/>
          </a:prstGeom>
          <a:solidFill>
            <a:schemeClr val="accent2"/>
          </a:solidFill>
          <a:ln w="101600">
            <a:solidFill>
              <a:schemeClr val="bg1"/>
            </a:solidFill>
            <a:miter lim="800000"/>
            <a:headEnd/>
            <a:tailEnd/>
          </a:ln>
        </p:spPr>
        <p:txBody>
          <a:bodyPr lIns="180000" tIns="144000" rIns="180000" bIns="72000" anchor="ctr" anchorCtr="0"/>
          <a:lstStyle/>
          <a:p>
            <a:pPr algn="ctr" eaLnBrk="0" hangingPunct="0">
              <a:lnSpc>
                <a:spcPct val="85000"/>
              </a:lnSpc>
              <a:spcBef>
                <a:spcPts val="100"/>
              </a:spcBef>
              <a:spcAft>
                <a:spcPts val="300"/>
              </a:spcAft>
            </a:pPr>
            <a:r>
              <a:rPr lang="en-US" b="1" dirty="0">
                <a:solidFill>
                  <a:schemeClr val="bg1"/>
                </a:solidFill>
                <a:latin typeface="+mj-lt"/>
              </a:rPr>
              <a:t>Text</a:t>
            </a:r>
          </a:p>
        </p:txBody>
      </p:sp>
    </p:spTree>
    <p:extLst>
      <p:ext uri="{BB962C8B-B14F-4D97-AF65-F5344CB8AC3E}">
        <p14:creationId xmlns:p14="http://schemas.microsoft.com/office/powerpoint/2010/main" val="2411231802"/>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Press Clippings/Quotes 1</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C9182B30-6A97-42CA-A4E8-6C5560C0977F}"/>
              </a:ext>
            </a:extLst>
          </p:cNvPr>
          <p:cNvGrpSpPr>
            <a:grpSpLocks/>
          </p:cNvGrpSpPr>
          <p:nvPr/>
        </p:nvGrpSpPr>
        <p:grpSpPr bwMode="auto">
          <a:xfrm>
            <a:off x="4086225" y="1628800"/>
            <a:ext cx="4014788" cy="800100"/>
            <a:chOff x="1749" y="1129"/>
            <a:chExt cx="2739" cy="504"/>
          </a:xfrm>
          <a:solidFill>
            <a:srgbClr val="96968C">
              <a:lumMod val="20000"/>
              <a:lumOff val="80000"/>
            </a:srgbClr>
          </a:solidFill>
        </p:grpSpPr>
        <p:sp>
          <p:nvSpPr>
            <p:cNvPr id="5" name="Freeform 4">
              <a:extLst>
                <a:ext uri="{FF2B5EF4-FFF2-40B4-BE49-F238E27FC236}">
                  <a16:creationId xmlns:a16="http://schemas.microsoft.com/office/drawing/2014/main" id="{99B4678C-26A8-4D9F-99F7-1EF557BD26F9}"/>
                </a:ext>
              </a:extLst>
            </p:cNvPr>
            <p:cNvSpPr>
              <a:spLocks/>
            </p:cNvSpPr>
            <p:nvPr/>
          </p:nvSpPr>
          <p:spPr bwMode="auto">
            <a:xfrm>
              <a:off x="1749" y="1129"/>
              <a:ext cx="2739" cy="504"/>
            </a:xfrm>
            <a:custGeom>
              <a:avLst/>
              <a:gdLst/>
              <a:ahLst/>
              <a:cxnLst>
                <a:cxn ang="0">
                  <a:pos x="0" y="0"/>
                </a:cxn>
                <a:cxn ang="0">
                  <a:pos x="5004" y="1212"/>
                </a:cxn>
                <a:cxn ang="0">
                  <a:pos x="4962" y="1233"/>
                </a:cxn>
                <a:cxn ang="0">
                  <a:pos x="4872" y="1212"/>
                </a:cxn>
                <a:cxn ang="0">
                  <a:pos x="4747" y="1200"/>
                </a:cxn>
                <a:cxn ang="0">
                  <a:pos x="4644" y="1211"/>
                </a:cxn>
                <a:cxn ang="0">
                  <a:pos x="4536" y="1188"/>
                </a:cxn>
                <a:cxn ang="0">
                  <a:pos x="4480" y="1163"/>
                </a:cxn>
                <a:cxn ang="0">
                  <a:pos x="4408" y="1172"/>
                </a:cxn>
                <a:cxn ang="0">
                  <a:pos x="4297" y="1212"/>
                </a:cxn>
                <a:cxn ang="0">
                  <a:pos x="4219" y="1215"/>
                </a:cxn>
                <a:cxn ang="0">
                  <a:pos x="4171" y="1242"/>
                </a:cxn>
                <a:cxn ang="0">
                  <a:pos x="4078" y="1252"/>
                </a:cxn>
                <a:cxn ang="0">
                  <a:pos x="4073" y="1248"/>
                </a:cxn>
                <a:cxn ang="0">
                  <a:pos x="3987" y="1258"/>
                </a:cxn>
                <a:cxn ang="0">
                  <a:pos x="3646" y="1263"/>
                </a:cxn>
                <a:cxn ang="0">
                  <a:pos x="3562" y="1260"/>
                </a:cxn>
                <a:cxn ang="0">
                  <a:pos x="3521" y="1239"/>
                </a:cxn>
                <a:cxn ang="0">
                  <a:pos x="3451" y="1225"/>
                </a:cxn>
                <a:cxn ang="0">
                  <a:pos x="3377" y="1243"/>
                </a:cxn>
                <a:cxn ang="0">
                  <a:pos x="3348" y="1269"/>
                </a:cxn>
                <a:cxn ang="0">
                  <a:pos x="3285" y="1252"/>
                </a:cxn>
                <a:cxn ang="0">
                  <a:pos x="3202" y="1218"/>
                </a:cxn>
                <a:cxn ang="0">
                  <a:pos x="3089" y="1222"/>
                </a:cxn>
                <a:cxn ang="0">
                  <a:pos x="2934" y="1273"/>
                </a:cxn>
                <a:cxn ang="0">
                  <a:pos x="2753" y="1273"/>
                </a:cxn>
                <a:cxn ang="0">
                  <a:pos x="2551" y="1251"/>
                </a:cxn>
                <a:cxn ang="0">
                  <a:pos x="2449" y="1285"/>
                </a:cxn>
                <a:cxn ang="0">
                  <a:pos x="2385" y="1273"/>
                </a:cxn>
                <a:cxn ang="0">
                  <a:pos x="2304" y="1245"/>
                </a:cxn>
                <a:cxn ang="0">
                  <a:pos x="2234" y="1248"/>
                </a:cxn>
                <a:cxn ang="0">
                  <a:pos x="2116" y="1233"/>
                </a:cxn>
                <a:cxn ang="0">
                  <a:pos x="2053" y="1237"/>
                </a:cxn>
                <a:cxn ang="0">
                  <a:pos x="1970" y="1206"/>
                </a:cxn>
                <a:cxn ang="0">
                  <a:pos x="1912" y="1185"/>
                </a:cxn>
                <a:cxn ang="0">
                  <a:pos x="1850" y="1246"/>
                </a:cxn>
                <a:cxn ang="0">
                  <a:pos x="1777" y="1279"/>
                </a:cxn>
                <a:cxn ang="0">
                  <a:pos x="1471" y="1221"/>
                </a:cxn>
                <a:cxn ang="0">
                  <a:pos x="1383" y="1206"/>
                </a:cxn>
                <a:cxn ang="0">
                  <a:pos x="1317" y="1196"/>
                </a:cxn>
                <a:cxn ang="0">
                  <a:pos x="1241" y="1222"/>
                </a:cxn>
                <a:cxn ang="0">
                  <a:pos x="1141" y="1260"/>
                </a:cxn>
                <a:cxn ang="0">
                  <a:pos x="949" y="1267"/>
                </a:cxn>
                <a:cxn ang="0">
                  <a:pos x="851" y="1248"/>
                </a:cxn>
                <a:cxn ang="0">
                  <a:pos x="730" y="1179"/>
                </a:cxn>
                <a:cxn ang="0">
                  <a:pos x="692" y="1185"/>
                </a:cxn>
                <a:cxn ang="0">
                  <a:pos x="608" y="1230"/>
                </a:cxn>
                <a:cxn ang="0">
                  <a:pos x="505" y="1234"/>
                </a:cxn>
                <a:cxn ang="0">
                  <a:pos x="408" y="1214"/>
                </a:cxn>
                <a:cxn ang="0">
                  <a:pos x="334" y="1218"/>
                </a:cxn>
                <a:cxn ang="0">
                  <a:pos x="292" y="1234"/>
                </a:cxn>
                <a:cxn ang="0">
                  <a:pos x="99" y="1200"/>
                </a:cxn>
              </a:cxnLst>
              <a:rect l="0" t="0" r="r" b="b"/>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grpFill/>
            <a:ln w="0">
              <a:solidFill>
                <a:srgbClr val="E4E7E7"/>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6" name="Rectangle 5">
              <a:extLst>
                <a:ext uri="{FF2B5EF4-FFF2-40B4-BE49-F238E27FC236}">
                  <a16:creationId xmlns:a16="http://schemas.microsoft.com/office/drawing/2014/main" id="{31C6A824-77B8-4694-B240-23FDBD04A305}"/>
                </a:ext>
              </a:extLst>
            </p:cNvPr>
            <p:cNvSpPr>
              <a:spLocks noChangeArrowheads="1"/>
            </p:cNvSpPr>
            <p:nvPr/>
          </p:nvSpPr>
          <p:spPr bwMode="auto">
            <a:xfrm>
              <a:off x="1749" y="1129"/>
              <a:ext cx="2739" cy="242"/>
            </a:xfrm>
            <a:prstGeom prst="rect">
              <a:avLst/>
            </a:prstGeom>
            <a:grpFill/>
            <a:ln w="0">
              <a:solidFill>
                <a:srgbClr val="E4E7E7"/>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
                  <a:srgbClr val="000000"/>
                </a:buClr>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Quotation...”</a:t>
              </a:r>
            </a:p>
          </p:txBody>
        </p:sp>
        <p:sp>
          <p:nvSpPr>
            <p:cNvPr id="7" name="Text Box 6">
              <a:extLst>
                <a:ext uri="{FF2B5EF4-FFF2-40B4-BE49-F238E27FC236}">
                  <a16:creationId xmlns:a16="http://schemas.microsoft.com/office/drawing/2014/main" id="{8B4A1FB5-174F-473E-97F5-FCB1B163FFBE}"/>
                </a:ext>
              </a:extLst>
            </p:cNvPr>
            <p:cNvSpPr txBox="1">
              <a:spLocks noChangeArrowheads="1"/>
            </p:cNvSpPr>
            <p:nvPr/>
          </p:nvSpPr>
          <p:spPr bwMode="auto">
            <a:xfrm>
              <a:off x="3641" y="1371"/>
              <a:ext cx="847" cy="164"/>
            </a:xfrm>
            <a:prstGeom prst="rect">
              <a:avLst/>
            </a:prstGeom>
            <a:grpFill/>
            <a:ln w="0">
              <a:solidFill>
                <a:srgbClr val="E4E7E7"/>
              </a:solid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 typeface="Wingdings" pitchFamily="2" charset="2"/>
                <a:buNone/>
                <a:tabLst/>
                <a:defRPr/>
              </a:pPr>
              <a:r>
                <a:rPr kumimoji="0" lang="en-US" sz="1400" b="0" i="1" u="none" strike="noStrike" kern="0" cap="none" spc="0" normalizeH="0" baseline="0" noProof="0">
                  <a:ln>
                    <a:noFill/>
                  </a:ln>
                  <a:solidFill>
                    <a:srgbClr val="000000"/>
                  </a:solidFill>
                  <a:effectLst/>
                  <a:uLnTx/>
                  <a:uFillTx/>
                  <a:latin typeface="Graphik"/>
                  <a:ea typeface="+mn-ea"/>
                  <a:cs typeface="+mn-cs"/>
                </a:rPr>
                <a:t>Source</a:t>
              </a:r>
            </a:p>
          </p:txBody>
        </p:sp>
      </p:grpSp>
      <p:grpSp>
        <p:nvGrpSpPr>
          <p:cNvPr id="8" name="Group 7">
            <a:extLst>
              <a:ext uri="{FF2B5EF4-FFF2-40B4-BE49-F238E27FC236}">
                <a16:creationId xmlns:a16="http://schemas.microsoft.com/office/drawing/2014/main" id="{D4838A78-5865-4655-A403-C41679DF99C2}"/>
              </a:ext>
            </a:extLst>
          </p:cNvPr>
          <p:cNvGrpSpPr>
            <a:grpSpLocks/>
          </p:cNvGrpSpPr>
          <p:nvPr/>
        </p:nvGrpSpPr>
        <p:grpSpPr bwMode="auto">
          <a:xfrm>
            <a:off x="4086068" y="3138512"/>
            <a:ext cx="4014788" cy="1111250"/>
            <a:chOff x="1749" y="2080"/>
            <a:chExt cx="2739" cy="700"/>
          </a:xfrm>
          <a:solidFill>
            <a:srgbClr val="96968C">
              <a:lumMod val="20000"/>
              <a:lumOff val="80000"/>
            </a:srgbClr>
          </a:solidFill>
        </p:grpSpPr>
        <p:sp>
          <p:nvSpPr>
            <p:cNvPr id="9" name="Freeform 8">
              <a:extLst>
                <a:ext uri="{FF2B5EF4-FFF2-40B4-BE49-F238E27FC236}">
                  <a16:creationId xmlns:a16="http://schemas.microsoft.com/office/drawing/2014/main" id="{446DAA44-F411-4D8F-AF82-2A8D78025A8E}"/>
                </a:ext>
              </a:extLst>
            </p:cNvPr>
            <p:cNvSpPr>
              <a:spLocks/>
            </p:cNvSpPr>
            <p:nvPr/>
          </p:nvSpPr>
          <p:spPr bwMode="auto">
            <a:xfrm>
              <a:off x="1749" y="2080"/>
              <a:ext cx="2739" cy="700"/>
            </a:xfrm>
            <a:custGeom>
              <a:avLst/>
              <a:gdLst/>
              <a:ahLst/>
              <a:cxnLst>
                <a:cxn ang="0">
                  <a:pos x="0" y="0"/>
                </a:cxn>
                <a:cxn ang="0">
                  <a:pos x="5004" y="1212"/>
                </a:cxn>
                <a:cxn ang="0">
                  <a:pos x="4962" y="1233"/>
                </a:cxn>
                <a:cxn ang="0">
                  <a:pos x="4872" y="1212"/>
                </a:cxn>
                <a:cxn ang="0">
                  <a:pos x="4747" y="1200"/>
                </a:cxn>
                <a:cxn ang="0">
                  <a:pos x="4644" y="1211"/>
                </a:cxn>
                <a:cxn ang="0">
                  <a:pos x="4536" y="1188"/>
                </a:cxn>
                <a:cxn ang="0">
                  <a:pos x="4480" y="1163"/>
                </a:cxn>
                <a:cxn ang="0">
                  <a:pos x="4408" y="1172"/>
                </a:cxn>
                <a:cxn ang="0">
                  <a:pos x="4297" y="1212"/>
                </a:cxn>
                <a:cxn ang="0">
                  <a:pos x="4219" y="1215"/>
                </a:cxn>
                <a:cxn ang="0">
                  <a:pos x="4171" y="1242"/>
                </a:cxn>
                <a:cxn ang="0">
                  <a:pos x="4078" y="1252"/>
                </a:cxn>
                <a:cxn ang="0">
                  <a:pos x="4073" y="1248"/>
                </a:cxn>
                <a:cxn ang="0">
                  <a:pos x="3987" y="1258"/>
                </a:cxn>
                <a:cxn ang="0">
                  <a:pos x="3646" y="1263"/>
                </a:cxn>
                <a:cxn ang="0">
                  <a:pos x="3562" y="1260"/>
                </a:cxn>
                <a:cxn ang="0">
                  <a:pos x="3521" y="1239"/>
                </a:cxn>
                <a:cxn ang="0">
                  <a:pos x="3451" y="1225"/>
                </a:cxn>
                <a:cxn ang="0">
                  <a:pos x="3377" y="1243"/>
                </a:cxn>
                <a:cxn ang="0">
                  <a:pos x="3348" y="1269"/>
                </a:cxn>
                <a:cxn ang="0">
                  <a:pos x="3285" y="1252"/>
                </a:cxn>
                <a:cxn ang="0">
                  <a:pos x="3202" y="1218"/>
                </a:cxn>
                <a:cxn ang="0">
                  <a:pos x="3089" y="1222"/>
                </a:cxn>
                <a:cxn ang="0">
                  <a:pos x="2934" y="1273"/>
                </a:cxn>
                <a:cxn ang="0">
                  <a:pos x="2753" y="1273"/>
                </a:cxn>
                <a:cxn ang="0">
                  <a:pos x="2551" y="1251"/>
                </a:cxn>
                <a:cxn ang="0">
                  <a:pos x="2449" y="1285"/>
                </a:cxn>
                <a:cxn ang="0">
                  <a:pos x="2385" y="1273"/>
                </a:cxn>
                <a:cxn ang="0">
                  <a:pos x="2304" y="1245"/>
                </a:cxn>
                <a:cxn ang="0">
                  <a:pos x="2234" y="1248"/>
                </a:cxn>
                <a:cxn ang="0">
                  <a:pos x="2116" y="1233"/>
                </a:cxn>
                <a:cxn ang="0">
                  <a:pos x="2053" y="1237"/>
                </a:cxn>
                <a:cxn ang="0">
                  <a:pos x="1970" y="1206"/>
                </a:cxn>
                <a:cxn ang="0">
                  <a:pos x="1912" y="1185"/>
                </a:cxn>
                <a:cxn ang="0">
                  <a:pos x="1850" y="1246"/>
                </a:cxn>
                <a:cxn ang="0">
                  <a:pos x="1777" y="1279"/>
                </a:cxn>
                <a:cxn ang="0">
                  <a:pos x="1471" y="1221"/>
                </a:cxn>
                <a:cxn ang="0">
                  <a:pos x="1383" y="1206"/>
                </a:cxn>
                <a:cxn ang="0">
                  <a:pos x="1317" y="1196"/>
                </a:cxn>
                <a:cxn ang="0">
                  <a:pos x="1241" y="1222"/>
                </a:cxn>
                <a:cxn ang="0">
                  <a:pos x="1141" y="1260"/>
                </a:cxn>
                <a:cxn ang="0">
                  <a:pos x="949" y="1267"/>
                </a:cxn>
                <a:cxn ang="0">
                  <a:pos x="851" y="1248"/>
                </a:cxn>
                <a:cxn ang="0">
                  <a:pos x="730" y="1179"/>
                </a:cxn>
                <a:cxn ang="0">
                  <a:pos x="692" y="1185"/>
                </a:cxn>
                <a:cxn ang="0">
                  <a:pos x="608" y="1230"/>
                </a:cxn>
                <a:cxn ang="0">
                  <a:pos x="505" y="1234"/>
                </a:cxn>
                <a:cxn ang="0">
                  <a:pos x="408" y="1214"/>
                </a:cxn>
                <a:cxn ang="0">
                  <a:pos x="334" y="1218"/>
                </a:cxn>
                <a:cxn ang="0">
                  <a:pos x="292" y="1234"/>
                </a:cxn>
                <a:cxn ang="0">
                  <a:pos x="99" y="1200"/>
                </a:cxn>
              </a:cxnLst>
              <a:rect l="0" t="0" r="r" b="b"/>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grpFill/>
            <a:ln w="0">
              <a:solidFill>
                <a:srgbClr val="E4E7E7"/>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0" name="Rectangle 9">
              <a:extLst>
                <a:ext uri="{FF2B5EF4-FFF2-40B4-BE49-F238E27FC236}">
                  <a16:creationId xmlns:a16="http://schemas.microsoft.com/office/drawing/2014/main" id="{F5D13732-998D-432B-B500-6CB703214F67}"/>
                </a:ext>
              </a:extLst>
            </p:cNvPr>
            <p:cNvSpPr>
              <a:spLocks noChangeArrowheads="1"/>
            </p:cNvSpPr>
            <p:nvPr/>
          </p:nvSpPr>
          <p:spPr bwMode="auto">
            <a:xfrm>
              <a:off x="1749" y="2080"/>
              <a:ext cx="2739" cy="416"/>
            </a:xfrm>
            <a:prstGeom prst="rect">
              <a:avLst/>
            </a:prstGeom>
            <a:grpFill/>
            <a:ln w="0">
              <a:solidFill>
                <a:srgbClr val="E4E7E7"/>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
                  <a:srgbClr val="000000"/>
                </a:buClr>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Quotation...”</a:t>
              </a:r>
            </a:p>
          </p:txBody>
        </p:sp>
        <p:sp>
          <p:nvSpPr>
            <p:cNvPr id="11" name="Text Box 10">
              <a:extLst>
                <a:ext uri="{FF2B5EF4-FFF2-40B4-BE49-F238E27FC236}">
                  <a16:creationId xmlns:a16="http://schemas.microsoft.com/office/drawing/2014/main" id="{677634A4-4985-4E9B-B872-59ED7A0DED88}"/>
                </a:ext>
              </a:extLst>
            </p:cNvPr>
            <p:cNvSpPr txBox="1">
              <a:spLocks noChangeArrowheads="1"/>
            </p:cNvSpPr>
            <p:nvPr/>
          </p:nvSpPr>
          <p:spPr bwMode="auto">
            <a:xfrm>
              <a:off x="3641" y="2496"/>
              <a:ext cx="847" cy="164"/>
            </a:xfrm>
            <a:prstGeom prst="rect">
              <a:avLst/>
            </a:prstGeom>
            <a:grpFill/>
            <a:ln w="0">
              <a:solidFill>
                <a:srgbClr val="E4E7E7"/>
              </a:solid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 typeface="Wingdings" pitchFamily="2" charset="2"/>
                <a:buNone/>
                <a:tabLst/>
                <a:defRPr/>
              </a:pPr>
              <a:r>
                <a:rPr kumimoji="0" lang="en-US" sz="1400" b="0" i="1" u="none" strike="noStrike" kern="0" cap="none" spc="0" normalizeH="0" baseline="0" noProof="0">
                  <a:ln>
                    <a:noFill/>
                  </a:ln>
                  <a:solidFill>
                    <a:srgbClr val="000000"/>
                  </a:solidFill>
                  <a:effectLst/>
                  <a:uLnTx/>
                  <a:uFillTx/>
                  <a:latin typeface="Graphik"/>
                  <a:ea typeface="+mn-ea"/>
                  <a:cs typeface="+mn-cs"/>
                </a:rPr>
                <a:t>Source</a:t>
              </a:r>
            </a:p>
          </p:txBody>
        </p:sp>
      </p:grpSp>
      <p:grpSp>
        <p:nvGrpSpPr>
          <p:cNvPr id="12" name="Group 11">
            <a:extLst>
              <a:ext uri="{FF2B5EF4-FFF2-40B4-BE49-F238E27FC236}">
                <a16:creationId xmlns:a16="http://schemas.microsoft.com/office/drawing/2014/main" id="{9F0EB318-4504-4553-8E7D-5B487AA9C2DD}"/>
              </a:ext>
            </a:extLst>
          </p:cNvPr>
          <p:cNvGrpSpPr>
            <a:grpSpLocks/>
          </p:cNvGrpSpPr>
          <p:nvPr/>
        </p:nvGrpSpPr>
        <p:grpSpPr bwMode="auto">
          <a:xfrm>
            <a:off x="4086225" y="4959375"/>
            <a:ext cx="4014788" cy="1035050"/>
            <a:chOff x="1749" y="3227"/>
            <a:chExt cx="2739" cy="652"/>
          </a:xfrm>
          <a:solidFill>
            <a:srgbClr val="96968C">
              <a:lumMod val="20000"/>
              <a:lumOff val="80000"/>
            </a:srgbClr>
          </a:solidFill>
        </p:grpSpPr>
        <p:sp>
          <p:nvSpPr>
            <p:cNvPr id="13" name="Freeform 12">
              <a:extLst>
                <a:ext uri="{FF2B5EF4-FFF2-40B4-BE49-F238E27FC236}">
                  <a16:creationId xmlns:a16="http://schemas.microsoft.com/office/drawing/2014/main" id="{2DFC5A87-AD2C-4B23-9E97-E3121E2638D1}"/>
                </a:ext>
              </a:extLst>
            </p:cNvPr>
            <p:cNvSpPr>
              <a:spLocks/>
            </p:cNvSpPr>
            <p:nvPr/>
          </p:nvSpPr>
          <p:spPr bwMode="auto">
            <a:xfrm>
              <a:off x="1749" y="3227"/>
              <a:ext cx="2739" cy="652"/>
            </a:xfrm>
            <a:custGeom>
              <a:avLst/>
              <a:gdLst/>
              <a:ahLst/>
              <a:cxnLst>
                <a:cxn ang="0">
                  <a:pos x="0" y="0"/>
                </a:cxn>
                <a:cxn ang="0">
                  <a:pos x="5004" y="1212"/>
                </a:cxn>
                <a:cxn ang="0">
                  <a:pos x="4962" y="1233"/>
                </a:cxn>
                <a:cxn ang="0">
                  <a:pos x="4872" y="1212"/>
                </a:cxn>
                <a:cxn ang="0">
                  <a:pos x="4747" y="1200"/>
                </a:cxn>
                <a:cxn ang="0">
                  <a:pos x="4644" y="1211"/>
                </a:cxn>
                <a:cxn ang="0">
                  <a:pos x="4536" y="1188"/>
                </a:cxn>
                <a:cxn ang="0">
                  <a:pos x="4480" y="1163"/>
                </a:cxn>
                <a:cxn ang="0">
                  <a:pos x="4408" y="1172"/>
                </a:cxn>
                <a:cxn ang="0">
                  <a:pos x="4297" y="1212"/>
                </a:cxn>
                <a:cxn ang="0">
                  <a:pos x="4219" y="1215"/>
                </a:cxn>
                <a:cxn ang="0">
                  <a:pos x="4171" y="1242"/>
                </a:cxn>
                <a:cxn ang="0">
                  <a:pos x="4078" y="1252"/>
                </a:cxn>
                <a:cxn ang="0">
                  <a:pos x="4073" y="1248"/>
                </a:cxn>
                <a:cxn ang="0">
                  <a:pos x="3987" y="1258"/>
                </a:cxn>
                <a:cxn ang="0">
                  <a:pos x="3646" y="1263"/>
                </a:cxn>
                <a:cxn ang="0">
                  <a:pos x="3562" y="1260"/>
                </a:cxn>
                <a:cxn ang="0">
                  <a:pos x="3521" y="1239"/>
                </a:cxn>
                <a:cxn ang="0">
                  <a:pos x="3451" y="1225"/>
                </a:cxn>
                <a:cxn ang="0">
                  <a:pos x="3377" y="1243"/>
                </a:cxn>
                <a:cxn ang="0">
                  <a:pos x="3348" y="1269"/>
                </a:cxn>
                <a:cxn ang="0">
                  <a:pos x="3285" y="1252"/>
                </a:cxn>
                <a:cxn ang="0">
                  <a:pos x="3202" y="1218"/>
                </a:cxn>
                <a:cxn ang="0">
                  <a:pos x="3089" y="1222"/>
                </a:cxn>
                <a:cxn ang="0">
                  <a:pos x="2934" y="1273"/>
                </a:cxn>
                <a:cxn ang="0">
                  <a:pos x="2753" y="1273"/>
                </a:cxn>
                <a:cxn ang="0">
                  <a:pos x="2551" y="1251"/>
                </a:cxn>
                <a:cxn ang="0">
                  <a:pos x="2449" y="1285"/>
                </a:cxn>
                <a:cxn ang="0">
                  <a:pos x="2385" y="1273"/>
                </a:cxn>
                <a:cxn ang="0">
                  <a:pos x="2304" y="1245"/>
                </a:cxn>
                <a:cxn ang="0">
                  <a:pos x="2234" y="1248"/>
                </a:cxn>
                <a:cxn ang="0">
                  <a:pos x="2116" y="1233"/>
                </a:cxn>
                <a:cxn ang="0">
                  <a:pos x="2053" y="1237"/>
                </a:cxn>
                <a:cxn ang="0">
                  <a:pos x="1970" y="1206"/>
                </a:cxn>
                <a:cxn ang="0">
                  <a:pos x="1912" y="1185"/>
                </a:cxn>
                <a:cxn ang="0">
                  <a:pos x="1850" y="1246"/>
                </a:cxn>
                <a:cxn ang="0">
                  <a:pos x="1777" y="1279"/>
                </a:cxn>
                <a:cxn ang="0">
                  <a:pos x="1471" y="1221"/>
                </a:cxn>
                <a:cxn ang="0">
                  <a:pos x="1383" y="1206"/>
                </a:cxn>
                <a:cxn ang="0">
                  <a:pos x="1317" y="1196"/>
                </a:cxn>
                <a:cxn ang="0">
                  <a:pos x="1241" y="1222"/>
                </a:cxn>
                <a:cxn ang="0">
                  <a:pos x="1141" y="1260"/>
                </a:cxn>
                <a:cxn ang="0">
                  <a:pos x="949" y="1267"/>
                </a:cxn>
                <a:cxn ang="0">
                  <a:pos x="851" y="1248"/>
                </a:cxn>
                <a:cxn ang="0">
                  <a:pos x="730" y="1179"/>
                </a:cxn>
                <a:cxn ang="0">
                  <a:pos x="692" y="1185"/>
                </a:cxn>
                <a:cxn ang="0">
                  <a:pos x="608" y="1230"/>
                </a:cxn>
                <a:cxn ang="0">
                  <a:pos x="505" y="1234"/>
                </a:cxn>
                <a:cxn ang="0">
                  <a:pos x="408" y="1214"/>
                </a:cxn>
                <a:cxn ang="0">
                  <a:pos x="334" y="1218"/>
                </a:cxn>
                <a:cxn ang="0">
                  <a:pos x="292" y="1234"/>
                </a:cxn>
                <a:cxn ang="0">
                  <a:pos x="99" y="1200"/>
                </a:cxn>
              </a:cxnLst>
              <a:rect l="0" t="0" r="r" b="b"/>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grpFill/>
            <a:ln w="0">
              <a:solidFill>
                <a:srgbClr val="E4E7E7"/>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4" name="Rectangle 13">
              <a:extLst>
                <a:ext uri="{FF2B5EF4-FFF2-40B4-BE49-F238E27FC236}">
                  <a16:creationId xmlns:a16="http://schemas.microsoft.com/office/drawing/2014/main" id="{3A4EF6E0-B272-42C4-B1FF-7A1D10130F21}"/>
                </a:ext>
              </a:extLst>
            </p:cNvPr>
            <p:cNvSpPr>
              <a:spLocks noChangeArrowheads="1"/>
            </p:cNvSpPr>
            <p:nvPr/>
          </p:nvSpPr>
          <p:spPr bwMode="auto">
            <a:xfrm>
              <a:off x="1749" y="3228"/>
              <a:ext cx="2739" cy="378"/>
            </a:xfrm>
            <a:prstGeom prst="rect">
              <a:avLst/>
            </a:prstGeom>
            <a:grpFill/>
            <a:ln w="0">
              <a:solidFill>
                <a:srgbClr val="E4E7E7"/>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
                  <a:srgbClr val="000000"/>
                </a:buClr>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Quotation...”</a:t>
              </a:r>
            </a:p>
          </p:txBody>
        </p:sp>
        <p:sp>
          <p:nvSpPr>
            <p:cNvPr id="15" name="Text Box 14">
              <a:extLst>
                <a:ext uri="{FF2B5EF4-FFF2-40B4-BE49-F238E27FC236}">
                  <a16:creationId xmlns:a16="http://schemas.microsoft.com/office/drawing/2014/main" id="{2580E253-D36E-4F72-B2ED-C392EC1C7097}"/>
                </a:ext>
              </a:extLst>
            </p:cNvPr>
            <p:cNvSpPr txBox="1">
              <a:spLocks noChangeArrowheads="1"/>
            </p:cNvSpPr>
            <p:nvPr/>
          </p:nvSpPr>
          <p:spPr bwMode="auto">
            <a:xfrm>
              <a:off x="3641" y="3606"/>
              <a:ext cx="847" cy="164"/>
            </a:xfrm>
            <a:prstGeom prst="rect">
              <a:avLst/>
            </a:prstGeom>
            <a:grpFill/>
            <a:ln w="0">
              <a:solidFill>
                <a:srgbClr val="E4E7E7"/>
              </a:solid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 typeface="Wingdings" pitchFamily="2" charset="2"/>
                <a:buNone/>
                <a:tabLst/>
                <a:defRPr/>
              </a:pPr>
              <a:r>
                <a:rPr kumimoji="0" lang="en-US" sz="1400" b="0" i="1" u="none" strike="noStrike" kern="0" cap="none" spc="0" normalizeH="0" baseline="0" noProof="0">
                  <a:ln>
                    <a:noFill/>
                  </a:ln>
                  <a:solidFill>
                    <a:srgbClr val="000000"/>
                  </a:solidFill>
                  <a:effectLst/>
                  <a:uLnTx/>
                  <a:uFillTx/>
                  <a:latin typeface="Graphik"/>
                  <a:ea typeface="+mn-ea"/>
                  <a:cs typeface="+mn-cs"/>
                </a:rPr>
                <a:t>Source</a:t>
              </a:r>
            </a:p>
          </p:txBody>
        </p:sp>
      </p:grpSp>
      <p:sp>
        <p:nvSpPr>
          <p:cNvPr id="3" name="Rectangle 2">
            <a:hlinkClick r:id="rId3" action="ppaction://hlinksldjump"/>
            <a:extLst>
              <a:ext uri="{FF2B5EF4-FFF2-40B4-BE49-F238E27FC236}">
                <a16:creationId xmlns:a16="http://schemas.microsoft.com/office/drawing/2014/main" id="{07E033E5-90BB-452F-91E0-9DC722A0BD7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9817553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Press Clippings/Quotes 2</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0DBEEA65-1468-4534-9D29-FCC03149CBF6}"/>
              </a:ext>
            </a:extLst>
          </p:cNvPr>
          <p:cNvGrpSpPr>
            <a:grpSpLocks/>
          </p:cNvGrpSpPr>
          <p:nvPr/>
        </p:nvGrpSpPr>
        <p:grpSpPr bwMode="auto">
          <a:xfrm>
            <a:off x="3455988" y="1591574"/>
            <a:ext cx="5264150" cy="2484437"/>
            <a:chOff x="1390" y="1488"/>
            <a:chExt cx="3593" cy="1565"/>
          </a:xfrm>
        </p:grpSpPr>
        <p:pic>
          <p:nvPicPr>
            <p:cNvPr id="5" name="Picture 4" descr="Newspaper clipping_Small">
              <a:extLst>
                <a:ext uri="{FF2B5EF4-FFF2-40B4-BE49-F238E27FC236}">
                  <a16:creationId xmlns:a16="http://schemas.microsoft.com/office/drawing/2014/main" id="{F0A810A9-E9C2-43BC-A216-417714BDA6DD}"/>
                </a:ext>
              </a:extLst>
            </p:cNvPr>
            <p:cNvPicPr preferRelativeResize="0">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390" y="1488"/>
              <a:ext cx="3593" cy="1565"/>
            </a:xfrm>
            <a:prstGeom prst="rect">
              <a:avLst/>
            </a:prstGeom>
            <a:noFill/>
            <a:effectLst/>
          </p:spPr>
        </p:pic>
        <p:sp>
          <p:nvSpPr>
            <p:cNvPr id="6" name="Text Box 5">
              <a:extLst>
                <a:ext uri="{FF2B5EF4-FFF2-40B4-BE49-F238E27FC236}">
                  <a16:creationId xmlns:a16="http://schemas.microsoft.com/office/drawing/2014/main" id="{6AA38318-495A-492F-BC66-C6EB0CF991A9}"/>
                </a:ext>
              </a:extLst>
            </p:cNvPr>
            <p:cNvSpPr txBox="1">
              <a:spLocks noChangeArrowheads="1"/>
            </p:cNvSpPr>
            <p:nvPr/>
          </p:nvSpPr>
          <p:spPr bwMode="auto">
            <a:xfrm rot="21296202">
              <a:off x="2722" y="2091"/>
              <a:ext cx="931" cy="180"/>
            </a:xfrm>
            <a:prstGeom prst="rect">
              <a:avLst/>
            </a:prstGeom>
            <a:noFill/>
            <a:ln w="6350">
              <a:noFill/>
              <a:miter lim="800000"/>
              <a:headEnd/>
              <a:tailEnd/>
            </a:ln>
            <a:effectLst/>
          </p:spPr>
          <p:txBody>
            <a:bodyPr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Text Box 6">
              <a:extLst>
                <a:ext uri="{FF2B5EF4-FFF2-40B4-BE49-F238E27FC236}">
                  <a16:creationId xmlns:a16="http://schemas.microsoft.com/office/drawing/2014/main" id="{D0A84D09-46A7-48CB-B288-42EF5A6A2266}"/>
                </a:ext>
              </a:extLst>
            </p:cNvPr>
            <p:cNvSpPr txBox="1">
              <a:spLocks noChangeArrowheads="1"/>
            </p:cNvSpPr>
            <p:nvPr/>
          </p:nvSpPr>
          <p:spPr bwMode="auto">
            <a:xfrm rot="-303798">
              <a:off x="3887" y="2545"/>
              <a:ext cx="670" cy="142"/>
            </a:xfrm>
            <a:prstGeom prst="rect">
              <a:avLst/>
            </a:prstGeom>
            <a:noFill/>
            <a:ln w="6350">
              <a:noFill/>
              <a:miter lim="800000"/>
              <a:headEnd/>
              <a:tailEnd/>
            </a:ln>
            <a:effectLst/>
          </p:spPr>
          <p:txBody>
            <a:bodyPr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Graphik"/>
                  <a:ea typeface="+mn-ea"/>
                  <a:cs typeface="+mn-cs"/>
                </a:rPr>
                <a:t>Source</a:t>
              </a:r>
            </a:p>
          </p:txBody>
        </p:sp>
      </p:grpSp>
      <p:sp>
        <p:nvSpPr>
          <p:cNvPr id="3" name="Rectangle 2">
            <a:hlinkClick r:id="rId3" action="ppaction://hlinksldjump"/>
            <a:extLst>
              <a:ext uri="{FF2B5EF4-FFF2-40B4-BE49-F238E27FC236}">
                <a16:creationId xmlns:a16="http://schemas.microsoft.com/office/drawing/2014/main" id="{320522D6-9170-4DC5-AE5C-67F1621E8BC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14201695"/>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Summary Points 1</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0F1A9F9-7D93-4CBB-8131-0DDCF3F8A06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3" name="Rectangle 4">
            <a:extLst>
              <a:ext uri="{FF2B5EF4-FFF2-40B4-BE49-F238E27FC236}">
                <a16:creationId xmlns:a16="http://schemas.microsoft.com/office/drawing/2014/main" id="{421E2A7D-F17D-455D-887C-D23E9A0752A6}"/>
              </a:ext>
            </a:extLst>
          </p:cNvPr>
          <p:cNvSpPr>
            <a:spLocks noChangeArrowheads="1"/>
          </p:cNvSpPr>
          <p:nvPr/>
        </p:nvSpPr>
        <p:spPr bwMode="auto">
          <a:xfrm>
            <a:off x="1828800" y="1360464"/>
            <a:ext cx="2003316" cy="3976712"/>
          </a:xfrm>
          <a:prstGeom prst="rect">
            <a:avLst/>
          </a:prstGeom>
          <a:pattFill prst="dkUpDiag">
            <a:fgClr>
              <a:schemeClr val="accent1">
                <a:lumMod val="20000"/>
                <a:lumOff val="80000"/>
              </a:schemeClr>
            </a:fgClr>
            <a:bgClr>
              <a:schemeClr val="bg1"/>
            </a:bgClr>
          </a:pattFill>
          <a:ln w="6350">
            <a:noFill/>
            <a:miter lim="800000"/>
            <a:headEnd/>
            <a:tailEnd/>
          </a:ln>
          <a:effectLst/>
        </p:spPr>
        <p:txBody>
          <a:bodyPr wrap="none" lIns="45720" rIns="45720"/>
          <a:lstStyle/>
          <a:p>
            <a:endParaRPr lang="en-US"/>
          </a:p>
        </p:txBody>
      </p:sp>
      <p:sp>
        <p:nvSpPr>
          <p:cNvPr id="15" name="Rectangle 4">
            <a:extLst>
              <a:ext uri="{FF2B5EF4-FFF2-40B4-BE49-F238E27FC236}">
                <a16:creationId xmlns:a16="http://schemas.microsoft.com/office/drawing/2014/main" id="{105DA45E-AB8F-455C-A8CB-D4D89E0AB8B3}"/>
              </a:ext>
            </a:extLst>
          </p:cNvPr>
          <p:cNvSpPr>
            <a:spLocks noChangeArrowheads="1"/>
          </p:cNvSpPr>
          <p:nvPr/>
        </p:nvSpPr>
        <p:spPr bwMode="auto">
          <a:xfrm>
            <a:off x="4886435" y="1591489"/>
            <a:ext cx="5486400" cy="748373"/>
          </a:xfrm>
          <a:prstGeom prst="rect">
            <a:avLst/>
          </a:prstGeom>
          <a:noFill/>
          <a:ln w="6350">
            <a:noFill/>
            <a:miter lim="800000"/>
            <a:headEnd/>
            <a:tailEnd/>
          </a:ln>
        </p:spPr>
        <p:txBody>
          <a:bodyPr lIns="0" tIns="72000" rIns="72000" bIns="72000" anchor="ctr" anchorCtr="0"/>
          <a:lstStyle/>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17" name="AutoShape 5">
            <a:extLst>
              <a:ext uri="{FF2B5EF4-FFF2-40B4-BE49-F238E27FC236}">
                <a16:creationId xmlns:a16="http://schemas.microsoft.com/office/drawing/2014/main" id="{7F7B9592-E16A-4FE1-A5C2-2B55EF68B088}"/>
              </a:ext>
            </a:extLst>
          </p:cNvPr>
          <p:cNvSpPr>
            <a:spLocks noChangeArrowheads="1"/>
          </p:cNvSpPr>
          <p:nvPr/>
        </p:nvSpPr>
        <p:spPr bwMode="auto">
          <a:xfrm>
            <a:off x="2270235" y="1591489"/>
            <a:ext cx="2155715" cy="748373"/>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cap="all" dirty="0">
                <a:solidFill>
                  <a:schemeClr val="bg1"/>
                </a:solidFill>
                <a:latin typeface="+mj-lt"/>
              </a:rPr>
              <a:t>Part 1</a:t>
            </a:r>
          </a:p>
        </p:txBody>
      </p:sp>
      <p:sp>
        <p:nvSpPr>
          <p:cNvPr id="19" name="Rectangle 4">
            <a:extLst>
              <a:ext uri="{FF2B5EF4-FFF2-40B4-BE49-F238E27FC236}">
                <a16:creationId xmlns:a16="http://schemas.microsoft.com/office/drawing/2014/main" id="{37E3B8E3-EBB5-4F82-B31C-D1E25F173088}"/>
              </a:ext>
            </a:extLst>
          </p:cNvPr>
          <p:cNvSpPr>
            <a:spLocks noChangeArrowheads="1"/>
          </p:cNvSpPr>
          <p:nvPr/>
        </p:nvSpPr>
        <p:spPr bwMode="auto">
          <a:xfrm>
            <a:off x="4886435" y="2502966"/>
            <a:ext cx="5486400" cy="748373"/>
          </a:xfrm>
          <a:prstGeom prst="rect">
            <a:avLst/>
          </a:prstGeom>
          <a:noFill/>
          <a:ln w="6350">
            <a:noFill/>
            <a:miter lim="800000"/>
            <a:headEnd/>
            <a:tailEnd/>
          </a:ln>
        </p:spPr>
        <p:txBody>
          <a:bodyPr lIns="0" tIns="72000" rIns="72000" bIns="72000" anchor="ctr" anchorCtr="0"/>
          <a:lstStyle/>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23" name="AutoShape 5">
            <a:extLst>
              <a:ext uri="{FF2B5EF4-FFF2-40B4-BE49-F238E27FC236}">
                <a16:creationId xmlns:a16="http://schemas.microsoft.com/office/drawing/2014/main" id="{363C5A5D-5D2B-4D09-9668-080971433B5E}"/>
              </a:ext>
            </a:extLst>
          </p:cNvPr>
          <p:cNvSpPr>
            <a:spLocks noChangeArrowheads="1"/>
          </p:cNvSpPr>
          <p:nvPr/>
        </p:nvSpPr>
        <p:spPr bwMode="auto">
          <a:xfrm>
            <a:off x="2270235" y="2502966"/>
            <a:ext cx="2155715" cy="748373"/>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cap="all" dirty="0">
                <a:solidFill>
                  <a:schemeClr val="bg1"/>
                </a:solidFill>
                <a:latin typeface="+mj-lt"/>
              </a:rPr>
              <a:t>Part 2</a:t>
            </a:r>
          </a:p>
        </p:txBody>
      </p:sp>
      <p:sp>
        <p:nvSpPr>
          <p:cNvPr id="25" name="Rectangle 4">
            <a:extLst>
              <a:ext uri="{FF2B5EF4-FFF2-40B4-BE49-F238E27FC236}">
                <a16:creationId xmlns:a16="http://schemas.microsoft.com/office/drawing/2014/main" id="{4BA32157-D955-4750-8287-6645ACD7156C}"/>
              </a:ext>
            </a:extLst>
          </p:cNvPr>
          <p:cNvSpPr>
            <a:spLocks noChangeArrowheads="1"/>
          </p:cNvSpPr>
          <p:nvPr/>
        </p:nvSpPr>
        <p:spPr bwMode="auto">
          <a:xfrm>
            <a:off x="4895960" y="3414441"/>
            <a:ext cx="5486400" cy="748373"/>
          </a:xfrm>
          <a:prstGeom prst="rect">
            <a:avLst/>
          </a:prstGeom>
          <a:noFill/>
          <a:ln w="6350">
            <a:noFill/>
            <a:miter lim="800000"/>
            <a:headEnd/>
            <a:tailEnd/>
          </a:ln>
        </p:spPr>
        <p:txBody>
          <a:bodyPr lIns="0" tIns="72000" rIns="72000" bIns="72000" anchor="ctr" anchorCtr="0"/>
          <a:lstStyle/>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27" name="AutoShape 5">
            <a:extLst>
              <a:ext uri="{FF2B5EF4-FFF2-40B4-BE49-F238E27FC236}">
                <a16:creationId xmlns:a16="http://schemas.microsoft.com/office/drawing/2014/main" id="{8185A3BF-D18E-4BA2-962D-C622BE145D59}"/>
              </a:ext>
            </a:extLst>
          </p:cNvPr>
          <p:cNvSpPr>
            <a:spLocks noChangeArrowheads="1"/>
          </p:cNvSpPr>
          <p:nvPr/>
        </p:nvSpPr>
        <p:spPr bwMode="auto">
          <a:xfrm>
            <a:off x="2279760" y="3414441"/>
            <a:ext cx="2155715" cy="748373"/>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cap="all" dirty="0">
                <a:solidFill>
                  <a:schemeClr val="bg1"/>
                </a:solidFill>
                <a:latin typeface="+mj-lt"/>
              </a:rPr>
              <a:t>Part 3</a:t>
            </a:r>
          </a:p>
        </p:txBody>
      </p:sp>
      <p:sp>
        <p:nvSpPr>
          <p:cNvPr id="29" name="Rectangle 4">
            <a:extLst>
              <a:ext uri="{FF2B5EF4-FFF2-40B4-BE49-F238E27FC236}">
                <a16:creationId xmlns:a16="http://schemas.microsoft.com/office/drawing/2014/main" id="{A7153B57-60B7-436F-8394-267CA40B6C37}"/>
              </a:ext>
            </a:extLst>
          </p:cNvPr>
          <p:cNvSpPr>
            <a:spLocks noChangeArrowheads="1"/>
          </p:cNvSpPr>
          <p:nvPr/>
        </p:nvSpPr>
        <p:spPr bwMode="auto">
          <a:xfrm>
            <a:off x="4895960" y="4325918"/>
            <a:ext cx="5486400" cy="748373"/>
          </a:xfrm>
          <a:prstGeom prst="rect">
            <a:avLst/>
          </a:prstGeom>
          <a:noFill/>
          <a:ln w="6350">
            <a:noFill/>
            <a:miter lim="800000"/>
            <a:headEnd/>
            <a:tailEnd/>
          </a:ln>
        </p:spPr>
        <p:txBody>
          <a:bodyPr lIns="0" tIns="72000" rIns="72000" bIns="72000" anchor="ctr" anchorCtr="0"/>
          <a:lstStyle/>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a:p>
            <a:pPr marL="174625" indent="-174625" eaLnBrk="0" hangingPunct="0">
              <a:lnSpc>
                <a:spcPct val="85000"/>
              </a:lnSpc>
              <a:spcBef>
                <a:spcPts val="100"/>
              </a:spcBef>
              <a:spcAft>
                <a:spcPts val="100"/>
              </a:spcAft>
              <a:buFontTx/>
              <a:buChar char="•"/>
            </a:pPr>
            <a:r>
              <a:rPr lang="en-GB" sz="1400" dirty="0"/>
              <a:t>Text</a:t>
            </a:r>
          </a:p>
        </p:txBody>
      </p:sp>
      <p:sp>
        <p:nvSpPr>
          <p:cNvPr id="31" name="AutoShape 5">
            <a:extLst>
              <a:ext uri="{FF2B5EF4-FFF2-40B4-BE49-F238E27FC236}">
                <a16:creationId xmlns:a16="http://schemas.microsoft.com/office/drawing/2014/main" id="{B05476E0-51B0-4D5D-8312-B34B0D09C818}"/>
              </a:ext>
            </a:extLst>
          </p:cNvPr>
          <p:cNvSpPr>
            <a:spLocks noChangeArrowheads="1"/>
          </p:cNvSpPr>
          <p:nvPr/>
        </p:nvSpPr>
        <p:spPr bwMode="auto">
          <a:xfrm>
            <a:off x="2279760" y="4325918"/>
            <a:ext cx="2155715" cy="748373"/>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algn="ctr" eaLnBrk="0" hangingPunct="0">
              <a:lnSpc>
                <a:spcPct val="85000"/>
              </a:lnSpc>
              <a:spcBef>
                <a:spcPts val="100"/>
              </a:spcBef>
              <a:spcAft>
                <a:spcPts val="300"/>
              </a:spcAft>
            </a:pPr>
            <a:r>
              <a:rPr lang="en-GB" b="1" cap="all" dirty="0">
                <a:solidFill>
                  <a:schemeClr val="bg1"/>
                </a:solidFill>
                <a:latin typeface="+mj-lt"/>
              </a:rPr>
              <a:t>Part 4</a:t>
            </a:r>
          </a:p>
        </p:txBody>
      </p:sp>
    </p:spTree>
    <p:extLst>
      <p:ext uri="{BB962C8B-B14F-4D97-AF65-F5344CB8AC3E}">
        <p14:creationId xmlns:p14="http://schemas.microsoft.com/office/powerpoint/2010/main" val="1616787739"/>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Summary Points 2</a:t>
            </a:r>
            <a:endParaRPr lang="de-DE" dirty="0"/>
          </a:p>
        </p:txBody>
      </p:sp>
      <p:sp>
        <p:nvSpPr>
          <p:cNvPr id="21" name="Freeform: Shape 20">
            <a:hlinkClick r:id="rId7"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7" action="ppaction://hlinksldjump"/>
            <a:extLst>
              <a:ext uri="{FF2B5EF4-FFF2-40B4-BE49-F238E27FC236}">
                <a16:creationId xmlns:a16="http://schemas.microsoft.com/office/drawing/2014/main" id="{7DABA968-CECA-4B55-91E2-84BAA887AEC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4" name="Group 13">
            <a:extLst>
              <a:ext uri="{FF2B5EF4-FFF2-40B4-BE49-F238E27FC236}">
                <a16:creationId xmlns:a16="http://schemas.microsoft.com/office/drawing/2014/main" id="{169CB996-EB94-47FB-893F-5DBBABDC57A6}"/>
              </a:ext>
            </a:extLst>
          </p:cNvPr>
          <p:cNvGrpSpPr/>
          <p:nvPr/>
        </p:nvGrpSpPr>
        <p:grpSpPr>
          <a:xfrm>
            <a:off x="1800985" y="1582411"/>
            <a:ext cx="3600000" cy="3754764"/>
            <a:chOff x="1100738" y="1576600"/>
            <a:chExt cx="3600000" cy="4225110"/>
          </a:xfrm>
        </p:grpSpPr>
        <p:sp>
          <p:nvSpPr>
            <p:cNvPr id="15" name="Rectangle 12">
              <a:extLst>
                <a:ext uri="{FF2B5EF4-FFF2-40B4-BE49-F238E27FC236}">
                  <a16:creationId xmlns:a16="http://schemas.microsoft.com/office/drawing/2014/main" id="{0FE5E6BE-498F-46FA-854E-084BB6ADA4BA}"/>
                </a:ext>
              </a:extLst>
            </p:cNvPr>
            <p:cNvSpPr>
              <a:spLocks noChangeArrowheads="1"/>
            </p:cNvSpPr>
            <p:nvPr>
              <p:custDataLst>
                <p:tags r:id="rId3"/>
              </p:custDataLst>
            </p:nvPr>
          </p:nvSpPr>
          <p:spPr bwMode="auto">
            <a:xfrm>
              <a:off x="1100738" y="1576600"/>
              <a:ext cx="3600000" cy="367218"/>
            </a:xfrm>
            <a:prstGeom prst="rect">
              <a:avLst/>
            </a:prstGeom>
            <a:solidFill>
              <a:schemeClr val="accent3"/>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6" name="Rectangle 13">
              <a:extLst>
                <a:ext uri="{FF2B5EF4-FFF2-40B4-BE49-F238E27FC236}">
                  <a16:creationId xmlns:a16="http://schemas.microsoft.com/office/drawing/2014/main" id="{1F0B683A-01D9-41A2-AF8F-23EA8C38217C}"/>
                </a:ext>
              </a:extLst>
            </p:cNvPr>
            <p:cNvSpPr>
              <a:spLocks noChangeArrowheads="1"/>
            </p:cNvSpPr>
            <p:nvPr>
              <p:custDataLst>
                <p:tags r:id="rId4"/>
              </p:custDataLst>
            </p:nvPr>
          </p:nvSpPr>
          <p:spPr bwMode="auto">
            <a:xfrm>
              <a:off x="1100738" y="1943818"/>
              <a:ext cx="3600000" cy="3857892"/>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17" name="Group 16">
            <a:extLst>
              <a:ext uri="{FF2B5EF4-FFF2-40B4-BE49-F238E27FC236}">
                <a16:creationId xmlns:a16="http://schemas.microsoft.com/office/drawing/2014/main" id="{45B4AD1F-6F8F-4232-A8AB-20AA553C085F}"/>
              </a:ext>
            </a:extLst>
          </p:cNvPr>
          <p:cNvGrpSpPr/>
          <p:nvPr/>
        </p:nvGrpSpPr>
        <p:grpSpPr>
          <a:xfrm>
            <a:off x="6772725" y="1582411"/>
            <a:ext cx="3600000" cy="3754764"/>
            <a:chOff x="7144573" y="1582411"/>
            <a:chExt cx="3600000" cy="3754764"/>
          </a:xfrm>
        </p:grpSpPr>
        <p:sp>
          <p:nvSpPr>
            <p:cNvPr id="18" name="Rectangle 14">
              <a:extLst>
                <a:ext uri="{FF2B5EF4-FFF2-40B4-BE49-F238E27FC236}">
                  <a16:creationId xmlns:a16="http://schemas.microsoft.com/office/drawing/2014/main" id="{F32B2610-2493-4F00-80B4-C64E6816FF49}"/>
                </a:ext>
              </a:extLst>
            </p:cNvPr>
            <p:cNvSpPr>
              <a:spLocks noChangeArrowheads="1"/>
            </p:cNvSpPr>
            <p:nvPr>
              <p:custDataLst>
                <p:tags r:id="rId1"/>
              </p:custDataLst>
            </p:nvPr>
          </p:nvSpPr>
          <p:spPr bwMode="auto">
            <a:xfrm>
              <a:off x="7144573" y="1582411"/>
              <a:ext cx="3600000" cy="326339"/>
            </a:xfrm>
            <a:prstGeom prst="rect">
              <a:avLst/>
            </a:prstGeom>
            <a:solidFill>
              <a:schemeClr val="accent1"/>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Text</a:t>
              </a:r>
            </a:p>
          </p:txBody>
        </p:sp>
        <p:sp>
          <p:nvSpPr>
            <p:cNvPr id="19" name="Rectangle 15">
              <a:extLst>
                <a:ext uri="{FF2B5EF4-FFF2-40B4-BE49-F238E27FC236}">
                  <a16:creationId xmlns:a16="http://schemas.microsoft.com/office/drawing/2014/main" id="{8994D665-58B0-4748-AFAC-059F83CF0DD7}"/>
                </a:ext>
              </a:extLst>
            </p:cNvPr>
            <p:cNvSpPr>
              <a:spLocks noChangeArrowheads="1"/>
            </p:cNvSpPr>
            <p:nvPr>
              <p:custDataLst>
                <p:tags r:id="rId2"/>
              </p:custDataLst>
            </p:nvPr>
          </p:nvSpPr>
          <p:spPr bwMode="auto">
            <a:xfrm>
              <a:off x="7144573" y="1908751"/>
              <a:ext cx="3600000" cy="3428424"/>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20" name="Group 19">
            <a:extLst>
              <a:ext uri="{FF2B5EF4-FFF2-40B4-BE49-F238E27FC236}">
                <a16:creationId xmlns:a16="http://schemas.microsoft.com/office/drawing/2014/main" id="{FF6539E9-E54D-44F3-8CF5-BBE860DB39CC}"/>
              </a:ext>
            </a:extLst>
          </p:cNvPr>
          <p:cNvGrpSpPr/>
          <p:nvPr/>
        </p:nvGrpSpPr>
        <p:grpSpPr>
          <a:xfrm>
            <a:off x="5428799" y="1908751"/>
            <a:ext cx="1316111" cy="3428426"/>
            <a:chOff x="5428799" y="1908751"/>
            <a:chExt cx="1316111" cy="3428426"/>
          </a:xfrm>
          <a:pattFill prst="dkUpDiag">
            <a:fgClr>
              <a:schemeClr val="tx2"/>
            </a:fgClr>
            <a:bgClr>
              <a:schemeClr val="bg1"/>
            </a:bgClr>
          </a:pattFill>
        </p:grpSpPr>
        <p:sp>
          <p:nvSpPr>
            <p:cNvPr id="22" name="Isosceles Triangle 21">
              <a:extLst>
                <a:ext uri="{FF2B5EF4-FFF2-40B4-BE49-F238E27FC236}">
                  <a16:creationId xmlns:a16="http://schemas.microsoft.com/office/drawing/2014/main" id="{6E49520F-A3FD-4B80-9E84-B96958CF4C6E}"/>
                </a:ext>
              </a:extLst>
            </p:cNvPr>
            <p:cNvSpPr/>
            <p:nvPr/>
          </p:nvSpPr>
          <p:spPr>
            <a:xfrm rot="5400000">
              <a:off x="4048188" y="3289362"/>
              <a:ext cx="3428424" cy="667201"/>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 name="Isosceles Triangle 22">
              <a:extLst>
                <a:ext uri="{FF2B5EF4-FFF2-40B4-BE49-F238E27FC236}">
                  <a16:creationId xmlns:a16="http://schemas.microsoft.com/office/drawing/2014/main" id="{2E2B116A-5F4A-4A62-88D8-1809C10964E0}"/>
                </a:ext>
              </a:extLst>
            </p:cNvPr>
            <p:cNvSpPr/>
            <p:nvPr/>
          </p:nvSpPr>
          <p:spPr>
            <a:xfrm rot="16200000" flipH="1">
              <a:off x="4697098" y="3289364"/>
              <a:ext cx="3428424" cy="667201"/>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1697582413"/>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Summary Points 3</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C8856DBF-1CB6-40AE-A4B5-54AA496B123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Arrow: Chevron 11">
            <a:extLst>
              <a:ext uri="{FF2B5EF4-FFF2-40B4-BE49-F238E27FC236}">
                <a16:creationId xmlns:a16="http://schemas.microsoft.com/office/drawing/2014/main" id="{99C7484F-4960-473C-AE60-556B6C773A3E}"/>
              </a:ext>
            </a:extLst>
          </p:cNvPr>
          <p:cNvSpPr/>
          <p:nvPr/>
        </p:nvSpPr>
        <p:spPr>
          <a:xfrm rot="5400000">
            <a:off x="5807788" y="4483077"/>
            <a:ext cx="570072" cy="783447"/>
          </a:xfrm>
          <a:prstGeom prst="chevron">
            <a:avLst/>
          </a:prstGeom>
          <a:pattFill prst="dkUpDiag">
            <a:fgClr>
              <a:schemeClr val="tx2">
                <a:lumMod val="40000"/>
                <a:lumOff val="60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14" name="TextBox 13">
            <a:extLst>
              <a:ext uri="{FF2B5EF4-FFF2-40B4-BE49-F238E27FC236}">
                <a16:creationId xmlns:a16="http://schemas.microsoft.com/office/drawing/2014/main" id="{2AF4611E-0143-42F0-A457-DCCA136AC688}"/>
              </a:ext>
            </a:extLst>
          </p:cNvPr>
          <p:cNvSpPr txBox="1"/>
          <p:nvPr/>
        </p:nvSpPr>
        <p:spPr>
          <a:xfrm>
            <a:off x="1822450" y="5337175"/>
            <a:ext cx="854075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Summary text</a:t>
            </a:r>
          </a:p>
        </p:txBody>
      </p:sp>
      <p:sp>
        <p:nvSpPr>
          <p:cNvPr id="16" name="Rectangle 15">
            <a:extLst>
              <a:ext uri="{FF2B5EF4-FFF2-40B4-BE49-F238E27FC236}">
                <a16:creationId xmlns:a16="http://schemas.microsoft.com/office/drawing/2014/main" id="{DA02A78B-DAA9-4834-941B-DA7AA913C08C}"/>
              </a:ext>
            </a:extLst>
          </p:cNvPr>
          <p:cNvSpPr/>
          <p:nvPr/>
        </p:nvSpPr>
        <p:spPr>
          <a:xfrm>
            <a:off x="1822452"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8" name="TextBox 17">
            <a:extLst>
              <a:ext uri="{FF2B5EF4-FFF2-40B4-BE49-F238E27FC236}">
                <a16:creationId xmlns:a16="http://schemas.microsoft.com/office/drawing/2014/main" id="{4AFA1BDB-8721-41C3-9DAC-275891EF9338}"/>
              </a:ext>
            </a:extLst>
          </p:cNvPr>
          <p:cNvSpPr txBox="1"/>
          <p:nvPr/>
        </p:nvSpPr>
        <p:spPr>
          <a:xfrm>
            <a:off x="1822451"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0" name="Rectangle 19">
            <a:extLst>
              <a:ext uri="{FF2B5EF4-FFF2-40B4-BE49-F238E27FC236}">
                <a16:creationId xmlns:a16="http://schemas.microsoft.com/office/drawing/2014/main" id="{CE8E185E-FCFF-45FD-B0C4-8B31055AC4E0}"/>
              </a:ext>
            </a:extLst>
          </p:cNvPr>
          <p:cNvSpPr/>
          <p:nvPr/>
        </p:nvSpPr>
        <p:spPr>
          <a:xfrm>
            <a:off x="4695195"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4" name="TextBox 23">
            <a:extLst>
              <a:ext uri="{FF2B5EF4-FFF2-40B4-BE49-F238E27FC236}">
                <a16:creationId xmlns:a16="http://schemas.microsoft.com/office/drawing/2014/main" id="{B97FE8EE-B80A-4024-A6CF-A5B41C526AF9}"/>
              </a:ext>
            </a:extLst>
          </p:cNvPr>
          <p:cNvSpPr txBox="1"/>
          <p:nvPr/>
        </p:nvSpPr>
        <p:spPr>
          <a:xfrm>
            <a:off x="4695195"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
        <p:nvSpPr>
          <p:cNvPr id="26" name="Rectangle 25">
            <a:extLst>
              <a:ext uri="{FF2B5EF4-FFF2-40B4-BE49-F238E27FC236}">
                <a16:creationId xmlns:a16="http://schemas.microsoft.com/office/drawing/2014/main" id="{CADF25CC-A20A-43BF-8067-E3AE19E2DFA1}"/>
              </a:ext>
            </a:extLst>
          </p:cNvPr>
          <p:cNvSpPr/>
          <p:nvPr/>
        </p:nvSpPr>
        <p:spPr>
          <a:xfrm>
            <a:off x="7567938" y="2202626"/>
            <a:ext cx="2795263" cy="2209801"/>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28" name="TextBox 27">
            <a:extLst>
              <a:ext uri="{FF2B5EF4-FFF2-40B4-BE49-F238E27FC236}">
                <a16:creationId xmlns:a16="http://schemas.microsoft.com/office/drawing/2014/main" id="{63E36FB8-E4A3-4875-B5CC-0DF9440C3F7D}"/>
              </a:ext>
            </a:extLst>
          </p:cNvPr>
          <p:cNvSpPr txBox="1"/>
          <p:nvPr/>
        </p:nvSpPr>
        <p:spPr>
          <a:xfrm>
            <a:off x="7567938" y="1854964"/>
            <a:ext cx="2795263" cy="347663"/>
          </a:xfrm>
          <a:prstGeom prst="rect">
            <a:avLst/>
          </a:prstGeom>
          <a:solidFill>
            <a:schemeClr val="accent3"/>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Tree>
    <p:extLst>
      <p:ext uri="{BB962C8B-B14F-4D97-AF65-F5344CB8AC3E}">
        <p14:creationId xmlns:p14="http://schemas.microsoft.com/office/powerpoint/2010/main" val="354326476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a:t>Matrix 1</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69B015A-B863-4FD1-85D0-F63E1600974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3" name="AutoShape 4">
            <a:extLst>
              <a:ext uri="{FF2B5EF4-FFF2-40B4-BE49-F238E27FC236}">
                <a16:creationId xmlns:a16="http://schemas.microsoft.com/office/drawing/2014/main" id="{C9941601-19E9-43DD-9D86-1BCD0463130A}"/>
              </a:ext>
            </a:extLst>
          </p:cNvPr>
          <p:cNvSpPr>
            <a:spLocks noChangeArrowheads="1"/>
          </p:cNvSpPr>
          <p:nvPr/>
        </p:nvSpPr>
        <p:spPr bwMode="auto">
          <a:xfrm rot="16200000" flipH="1">
            <a:off x="2227116" y="3224274"/>
            <a:ext cx="3284654" cy="941144"/>
          </a:xfrm>
          <a:prstGeom prst="homePlate">
            <a:avLst>
              <a:gd name="adj" fmla="val 28958"/>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25" name="AutoShape 5">
            <a:extLst>
              <a:ext uri="{FF2B5EF4-FFF2-40B4-BE49-F238E27FC236}">
                <a16:creationId xmlns:a16="http://schemas.microsoft.com/office/drawing/2014/main" id="{BF525466-3080-4152-9A75-42C8CA132141}"/>
              </a:ext>
            </a:extLst>
          </p:cNvPr>
          <p:cNvSpPr>
            <a:spLocks noChangeArrowheads="1"/>
          </p:cNvSpPr>
          <p:nvPr/>
        </p:nvSpPr>
        <p:spPr bwMode="auto">
          <a:xfrm rot="16200000" flipH="1">
            <a:off x="1116505" y="3222205"/>
            <a:ext cx="3284654" cy="941144"/>
          </a:xfrm>
          <a:prstGeom prst="homePlate">
            <a:avLst>
              <a:gd name="adj" fmla="val 29053"/>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27" name="AutoShape 6">
            <a:extLst>
              <a:ext uri="{FF2B5EF4-FFF2-40B4-BE49-F238E27FC236}">
                <a16:creationId xmlns:a16="http://schemas.microsoft.com/office/drawing/2014/main" id="{0223C6B3-5B74-4548-8E85-0BC226289E1D}"/>
              </a:ext>
            </a:extLst>
          </p:cNvPr>
          <p:cNvSpPr>
            <a:spLocks noChangeArrowheads="1"/>
          </p:cNvSpPr>
          <p:nvPr/>
        </p:nvSpPr>
        <p:spPr bwMode="auto">
          <a:xfrm rot="16200000" flipH="1">
            <a:off x="3337729" y="3224274"/>
            <a:ext cx="3284654" cy="941144"/>
          </a:xfrm>
          <a:prstGeom prst="homePlate">
            <a:avLst>
              <a:gd name="adj" fmla="val 28864"/>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29" name="AutoShape 7">
            <a:extLst>
              <a:ext uri="{FF2B5EF4-FFF2-40B4-BE49-F238E27FC236}">
                <a16:creationId xmlns:a16="http://schemas.microsoft.com/office/drawing/2014/main" id="{3E016099-63FA-4177-9A06-BE9512B84788}"/>
              </a:ext>
            </a:extLst>
          </p:cNvPr>
          <p:cNvSpPr>
            <a:spLocks noChangeArrowheads="1"/>
          </p:cNvSpPr>
          <p:nvPr/>
        </p:nvSpPr>
        <p:spPr bwMode="auto">
          <a:xfrm rot="16200000" flipH="1">
            <a:off x="4445313" y="3224274"/>
            <a:ext cx="3284654" cy="941144"/>
          </a:xfrm>
          <a:prstGeom prst="homePlate">
            <a:avLst>
              <a:gd name="adj" fmla="val 28864"/>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31" name="AutoShape 8">
            <a:extLst>
              <a:ext uri="{FF2B5EF4-FFF2-40B4-BE49-F238E27FC236}">
                <a16:creationId xmlns:a16="http://schemas.microsoft.com/office/drawing/2014/main" id="{FC2DDFEF-DBE2-4A03-A921-9AFE9913F7F6}"/>
              </a:ext>
            </a:extLst>
          </p:cNvPr>
          <p:cNvSpPr>
            <a:spLocks noChangeArrowheads="1"/>
          </p:cNvSpPr>
          <p:nvPr/>
        </p:nvSpPr>
        <p:spPr bwMode="auto">
          <a:xfrm rot="16200000" flipH="1">
            <a:off x="5552899" y="3224274"/>
            <a:ext cx="3284654" cy="941144"/>
          </a:xfrm>
          <a:prstGeom prst="homePlate">
            <a:avLst>
              <a:gd name="adj" fmla="val 28958"/>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33" name="AutoShape 9">
            <a:extLst>
              <a:ext uri="{FF2B5EF4-FFF2-40B4-BE49-F238E27FC236}">
                <a16:creationId xmlns:a16="http://schemas.microsoft.com/office/drawing/2014/main" id="{1E17B669-7871-4629-B4ED-5E1AC0AC552D}"/>
              </a:ext>
            </a:extLst>
          </p:cNvPr>
          <p:cNvSpPr>
            <a:spLocks noChangeArrowheads="1"/>
          </p:cNvSpPr>
          <p:nvPr/>
        </p:nvSpPr>
        <p:spPr bwMode="auto">
          <a:xfrm rot="16200000" flipH="1">
            <a:off x="6660484" y="3224274"/>
            <a:ext cx="3284654" cy="941144"/>
          </a:xfrm>
          <a:prstGeom prst="homePlate">
            <a:avLst>
              <a:gd name="adj" fmla="val 28958"/>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35" name="AutoShape 10">
            <a:extLst>
              <a:ext uri="{FF2B5EF4-FFF2-40B4-BE49-F238E27FC236}">
                <a16:creationId xmlns:a16="http://schemas.microsoft.com/office/drawing/2014/main" id="{C9667991-A206-4406-815B-EEE351B39DDE}"/>
              </a:ext>
            </a:extLst>
          </p:cNvPr>
          <p:cNvSpPr>
            <a:spLocks noChangeArrowheads="1"/>
          </p:cNvSpPr>
          <p:nvPr/>
        </p:nvSpPr>
        <p:spPr bwMode="auto">
          <a:xfrm rot="16200000" flipH="1">
            <a:off x="7768070" y="3224274"/>
            <a:ext cx="3284654" cy="941144"/>
          </a:xfrm>
          <a:prstGeom prst="homePlate">
            <a:avLst>
              <a:gd name="adj" fmla="val 28864"/>
            </a:avLst>
          </a:prstGeom>
          <a:solidFill>
            <a:schemeClr val="tx2">
              <a:lumMod val="20000"/>
              <a:lumOff val="80000"/>
            </a:schemeClr>
          </a:solidFill>
          <a:ln w="6350">
            <a:noFill/>
            <a:miter lim="800000"/>
            <a:headEnd/>
            <a:tailEnd/>
          </a:ln>
          <a:effectLst/>
        </p:spPr>
        <p:txBody>
          <a:bodyPr wrap="none" lIns="45720" rIns="45720" anchor="ctr" anchorCtr="1"/>
          <a:lstStyle/>
          <a:p>
            <a:endParaRPr lang="en-US" dirty="0"/>
          </a:p>
        </p:txBody>
      </p:sp>
      <p:sp>
        <p:nvSpPr>
          <p:cNvPr id="37" name="AutoShape 11">
            <a:extLst>
              <a:ext uri="{FF2B5EF4-FFF2-40B4-BE49-F238E27FC236}">
                <a16:creationId xmlns:a16="http://schemas.microsoft.com/office/drawing/2014/main" id="{FC42395E-7D5A-4EF7-A9CA-EA540F1A167E}"/>
              </a:ext>
            </a:extLst>
          </p:cNvPr>
          <p:cNvSpPr>
            <a:spLocks noChangeArrowheads="1"/>
          </p:cNvSpPr>
          <p:nvPr/>
        </p:nvSpPr>
        <p:spPr bwMode="auto">
          <a:xfrm>
            <a:off x="1817688" y="2282168"/>
            <a:ext cx="8555037" cy="696507"/>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eaLnBrk="0" hangingPunct="0">
              <a:spcBef>
                <a:spcPct val="0"/>
              </a:spcBef>
            </a:pPr>
            <a:r>
              <a:rPr lang="en-GB" b="1" dirty="0">
                <a:solidFill>
                  <a:schemeClr val="bg1"/>
                </a:solidFill>
                <a:latin typeface="+mj-lt"/>
              </a:rPr>
              <a:t>Text</a:t>
            </a:r>
          </a:p>
        </p:txBody>
      </p:sp>
      <p:sp>
        <p:nvSpPr>
          <p:cNvPr id="39" name="AutoShape 12">
            <a:extLst>
              <a:ext uri="{FF2B5EF4-FFF2-40B4-BE49-F238E27FC236}">
                <a16:creationId xmlns:a16="http://schemas.microsoft.com/office/drawing/2014/main" id="{F66FE6F4-C0CA-4E52-B4B1-48F29D3645B0}"/>
              </a:ext>
            </a:extLst>
          </p:cNvPr>
          <p:cNvSpPr>
            <a:spLocks noChangeArrowheads="1"/>
          </p:cNvSpPr>
          <p:nvPr/>
        </p:nvSpPr>
        <p:spPr bwMode="auto">
          <a:xfrm>
            <a:off x="1817688" y="3067479"/>
            <a:ext cx="8555037" cy="696507"/>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eaLnBrk="0" hangingPunct="0">
              <a:spcBef>
                <a:spcPct val="0"/>
              </a:spcBef>
            </a:pPr>
            <a:r>
              <a:rPr lang="en-GB" b="1" dirty="0">
                <a:solidFill>
                  <a:schemeClr val="bg1"/>
                </a:solidFill>
                <a:latin typeface="+mj-lt"/>
              </a:rPr>
              <a:t>Text</a:t>
            </a:r>
          </a:p>
        </p:txBody>
      </p:sp>
      <p:sp>
        <p:nvSpPr>
          <p:cNvPr id="41" name="AutoShape 13">
            <a:extLst>
              <a:ext uri="{FF2B5EF4-FFF2-40B4-BE49-F238E27FC236}">
                <a16:creationId xmlns:a16="http://schemas.microsoft.com/office/drawing/2014/main" id="{A32ED77F-6C50-45E6-8D46-9F672D30BC10}"/>
              </a:ext>
            </a:extLst>
          </p:cNvPr>
          <p:cNvSpPr>
            <a:spLocks noChangeArrowheads="1"/>
          </p:cNvSpPr>
          <p:nvPr/>
        </p:nvSpPr>
        <p:spPr bwMode="auto">
          <a:xfrm>
            <a:off x="1817688" y="3852789"/>
            <a:ext cx="8555037" cy="696507"/>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eaLnBrk="0" hangingPunct="0">
              <a:spcBef>
                <a:spcPct val="0"/>
              </a:spcBef>
            </a:pPr>
            <a:r>
              <a:rPr lang="en-GB" b="1" dirty="0">
                <a:solidFill>
                  <a:schemeClr val="bg1"/>
                </a:solidFill>
                <a:latin typeface="+mj-lt"/>
              </a:rPr>
              <a:t>Text</a:t>
            </a:r>
          </a:p>
        </p:txBody>
      </p:sp>
      <p:sp>
        <p:nvSpPr>
          <p:cNvPr id="43" name="Rectangle 14">
            <a:extLst>
              <a:ext uri="{FF2B5EF4-FFF2-40B4-BE49-F238E27FC236}">
                <a16:creationId xmlns:a16="http://schemas.microsoft.com/office/drawing/2014/main" id="{869BA1CE-1374-4B9B-8BAB-0D9217649666}"/>
              </a:ext>
            </a:extLst>
          </p:cNvPr>
          <p:cNvSpPr>
            <a:spLocks noChangeArrowheads="1"/>
          </p:cNvSpPr>
          <p:nvPr/>
        </p:nvSpPr>
        <p:spPr bwMode="auto">
          <a:xfrm>
            <a:off x="2283721" y="1366837"/>
            <a:ext cx="950223"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sp>
        <p:nvSpPr>
          <p:cNvPr id="45" name="Rectangle 15">
            <a:extLst>
              <a:ext uri="{FF2B5EF4-FFF2-40B4-BE49-F238E27FC236}">
                <a16:creationId xmlns:a16="http://schemas.microsoft.com/office/drawing/2014/main" id="{B6F576BC-D386-42A2-8E34-DACE6F8D186E}"/>
              </a:ext>
            </a:extLst>
          </p:cNvPr>
          <p:cNvSpPr>
            <a:spLocks noChangeArrowheads="1"/>
          </p:cNvSpPr>
          <p:nvPr/>
        </p:nvSpPr>
        <p:spPr bwMode="auto">
          <a:xfrm>
            <a:off x="3397358"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sp>
        <p:nvSpPr>
          <p:cNvPr id="47" name="Rectangle 16">
            <a:extLst>
              <a:ext uri="{FF2B5EF4-FFF2-40B4-BE49-F238E27FC236}">
                <a16:creationId xmlns:a16="http://schemas.microsoft.com/office/drawing/2014/main" id="{FF0C9D2C-4913-47C3-A85C-54393A3244EB}"/>
              </a:ext>
            </a:extLst>
          </p:cNvPr>
          <p:cNvSpPr>
            <a:spLocks noChangeArrowheads="1"/>
          </p:cNvSpPr>
          <p:nvPr/>
        </p:nvSpPr>
        <p:spPr bwMode="auto">
          <a:xfrm>
            <a:off x="4504945"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sp>
        <p:nvSpPr>
          <p:cNvPr id="49" name="Rectangle 17">
            <a:extLst>
              <a:ext uri="{FF2B5EF4-FFF2-40B4-BE49-F238E27FC236}">
                <a16:creationId xmlns:a16="http://schemas.microsoft.com/office/drawing/2014/main" id="{F8BADAD4-94BA-4F0A-84CD-B1279754E911}"/>
              </a:ext>
            </a:extLst>
          </p:cNvPr>
          <p:cNvSpPr>
            <a:spLocks noChangeArrowheads="1"/>
          </p:cNvSpPr>
          <p:nvPr/>
        </p:nvSpPr>
        <p:spPr bwMode="auto">
          <a:xfrm>
            <a:off x="5612528"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sp>
        <p:nvSpPr>
          <p:cNvPr id="51" name="Rectangle 18">
            <a:extLst>
              <a:ext uri="{FF2B5EF4-FFF2-40B4-BE49-F238E27FC236}">
                <a16:creationId xmlns:a16="http://schemas.microsoft.com/office/drawing/2014/main" id="{194E5CBE-8555-4F61-B421-5FAB3E87C615}"/>
              </a:ext>
            </a:extLst>
          </p:cNvPr>
          <p:cNvSpPr>
            <a:spLocks noChangeArrowheads="1"/>
          </p:cNvSpPr>
          <p:nvPr/>
        </p:nvSpPr>
        <p:spPr bwMode="auto">
          <a:xfrm>
            <a:off x="6720115" y="1366837"/>
            <a:ext cx="947198"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sp>
        <p:nvSpPr>
          <p:cNvPr id="53" name="Rectangle 19">
            <a:extLst>
              <a:ext uri="{FF2B5EF4-FFF2-40B4-BE49-F238E27FC236}">
                <a16:creationId xmlns:a16="http://schemas.microsoft.com/office/drawing/2014/main" id="{CC71FE8D-BED5-48AE-B15A-E577FDC96927}"/>
              </a:ext>
            </a:extLst>
          </p:cNvPr>
          <p:cNvSpPr>
            <a:spLocks noChangeArrowheads="1"/>
          </p:cNvSpPr>
          <p:nvPr/>
        </p:nvSpPr>
        <p:spPr bwMode="auto">
          <a:xfrm>
            <a:off x="7830725"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sp>
        <p:nvSpPr>
          <p:cNvPr id="55" name="Rectangle 20">
            <a:extLst>
              <a:ext uri="{FF2B5EF4-FFF2-40B4-BE49-F238E27FC236}">
                <a16:creationId xmlns:a16="http://schemas.microsoft.com/office/drawing/2014/main" id="{660998F1-A69C-4C8A-9EC2-F2C410483244}"/>
              </a:ext>
            </a:extLst>
          </p:cNvPr>
          <p:cNvSpPr>
            <a:spLocks noChangeArrowheads="1"/>
          </p:cNvSpPr>
          <p:nvPr/>
        </p:nvSpPr>
        <p:spPr bwMode="auto">
          <a:xfrm>
            <a:off x="8938312" y="1366837"/>
            <a:ext cx="944171" cy="562611"/>
          </a:xfrm>
          <a:prstGeom prst="rect">
            <a:avLst/>
          </a:prstGeom>
          <a:solidFill>
            <a:schemeClr val="tx2">
              <a:lumMod val="20000"/>
              <a:lumOff val="80000"/>
            </a:schemeClr>
          </a:solidFill>
          <a:ln w="6350">
            <a:noFill/>
            <a:miter lim="800000"/>
            <a:headEnd/>
            <a:tailEnd/>
          </a:ln>
          <a:effectLst/>
        </p:spPr>
        <p:txBody>
          <a:bodyPr wrap="none" lIns="45720" rIns="45720" anchor="ctr" anchorCtr="1"/>
          <a:lstStyle/>
          <a:p>
            <a:pPr eaLnBrk="0" hangingPunct="0">
              <a:spcBef>
                <a:spcPct val="0"/>
              </a:spcBef>
            </a:pPr>
            <a:r>
              <a:rPr lang="en-GB" sz="1200" dirty="0"/>
              <a:t>Text</a:t>
            </a:r>
          </a:p>
        </p:txBody>
      </p:sp>
    </p:spTree>
    <p:extLst>
      <p:ext uri="{BB962C8B-B14F-4D97-AF65-F5344CB8AC3E}">
        <p14:creationId xmlns:p14="http://schemas.microsoft.com/office/powerpoint/2010/main" val="182554278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Matrix 2</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AutoShape 4">
            <a:extLst>
              <a:ext uri="{FF2B5EF4-FFF2-40B4-BE49-F238E27FC236}">
                <a16:creationId xmlns:a16="http://schemas.microsoft.com/office/drawing/2014/main" id="{2882A903-A85D-43C1-8DDC-996C2A953D06}"/>
              </a:ext>
            </a:extLst>
          </p:cNvPr>
          <p:cNvSpPr>
            <a:spLocks noChangeArrowheads="1"/>
          </p:cNvSpPr>
          <p:nvPr/>
        </p:nvSpPr>
        <p:spPr bwMode="auto">
          <a:xfrm rot="16200000" flipH="1">
            <a:off x="2227116"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 name="AutoShape 5">
            <a:extLst>
              <a:ext uri="{FF2B5EF4-FFF2-40B4-BE49-F238E27FC236}">
                <a16:creationId xmlns:a16="http://schemas.microsoft.com/office/drawing/2014/main" id="{BDD5C0F0-BC1A-4E6C-8F76-12538391E985}"/>
              </a:ext>
            </a:extLst>
          </p:cNvPr>
          <p:cNvSpPr>
            <a:spLocks noChangeArrowheads="1"/>
          </p:cNvSpPr>
          <p:nvPr/>
        </p:nvSpPr>
        <p:spPr bwMode="auto">
          <a:xfrm rot="16200000" flipH="1">
            <a:off x="1116505" y="3222205"/>
            <a:ext cx="3284654" cy="941144"/>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AutoShape 6">
            <a:extLst>
              <a:ext uri="{FF2B5EF4-FFF2-40B4-BE49-F238E27FC236}">
                <a16:creationId xmlns:a16="http://schemas.microsoft.com/office/drawing/2014/main" id="{71090300-9ED7-43D7-B5BB-985888D25FAE}"/>
              </a:ext>
            </a:extLst>
          </p:cNvPr>
          <p:cNvSpPr>
            <a:spLocks noChangeArrowheads="1"/>
          </p:cNvSpPr>
          <p:nvPr/>
        </p:nvSpPr>
        <p:spPr bwMode="auto">
          <a:xfrm rot="16200000" flipH="1">
            <a:off x="3337729"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AutoShape 7">
            <a:extLst>
              <a:ext uri="{FF2B5EF4-FFF2-40B4-BE49-F238E27FC236}">
                <a16:creationId xmlns:a16="http://schemas.microsoft.com/office/drawing/2014/main" id="{E328A4A0-FCCC-4E64-B1D9-664BA11DE63F}"/>
              </a:ext>
            </a:extLst>
          </p:cNvPr>
          <p:cNvSpPr>
            <a:spLocks noChangeArrowheads="1"/>
          </p:cNvSpPr>
          <p:nvPr/>
        </p:nvSpPr>
        <p:spPr bwMode="auto">
          <a:xfrm rot="16200000" flipH="1">
            <a:off x="4445313"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AutoShape 8">
            <a:extLst>
              <a:ext uri="{FF2B5EF4-FFF2-40B4-BE49-F238E27FC236}">
                <a16:creationId xmlns:a16="http://schemas.microsoft.com/office/drawing/2014/main" id="{D3F72586-1283-409C-B3BD-C812AA37C18B}"/>
              </a:ext>
            </a:extLst>
          </p:cNvPr>
          <p:cNvSpPr>
            <a:spLocks noChangeArrowheads="1"/>
          </p:cNvSpPr>
          <p:nvPr/>
        </p:nvSpPr>
        <p:spPr bwMode="auto">
          <a:xfrm rot="16200000" flipH="1">
            <a:off x="5552899"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 name="AutoShape 9">
            <a:extLst>
              <a:ext uri="{FF2B5EF4-FFF2-40B4-BE49-F238E27FC236}">
                <a16:creationId xmlns:a16="http://schemas.microsoft.com/office/drawing/2014/main" id="{529D0F4E-1B14-4EFC-869F-DE61E6B34973}"/>
              </a:ext>
            </a:extLst>
          </p:cNvPr>
          <p:cNvSpPr>
            <a:spLocks noChangeArrowheads="1"/>
          </p:cNvSpPr>
          <p:nvPr/>
        </p:nvSpPr>
        <p:spPr bwMode="auto">
          <a:xfrm rot="16200000" flipH="1">
            <a:off x="6660484"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AutoShape 10">
            <a:extLst>
              <a:ext uri="{FF2B5EF4-FFF2-40B4-BE49-F238E27FC236}">
                <a16:creationId xmlns:a16="http://schemas.microsoft.com/office/drawing/2014/main" id="{99FCF155-7358-445E-8362-6AC9D6C61DB4}"/>
              </a:ext>
            </a:extLst>
          </p:cNvPr>
          <p:cNvSpPr>
            <a:spLocks noChangeArrowheads="1"/>
          </p:cNvSpPr>
          <p:nvPr/>
        </p:nvSpPr>
        <p:spPr bwMode="auto">
          <a:xfrm rot="16200000" flipH="1">
            <a:off x="7768070"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Rectangle 14">
            <a:extLst>
              <a:ext uri="{FF2B5EF4-FFF2-40B4-BE49-F238E27FC236}">
                <a16:creationId xmlns:a16="http://schemas.microsoft.com/office/drawing/2014/main" id="{8F938053-5B58-4CD0-9221-F1B7AE4CC4C7}"/>
              </a:ext>
            </a:extLst>
          </p:cNvPr>
          <p:cNvSpPr>
            <a:spLocks noChangeArrowheads="1"/>
          </p:cNvSpPr>
          <p:nvPr/>
        </p:nvSpPr>
        <p:spPr bwMode="auto">
          <a:xfrm>
            <a:off x="2283721" y="1366837"/>
            <a:ext cx="950223"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2" name="Rectangle 15">
            <a:extLst>
              <a:ext uri="{FF2B5EF4-FFF2-40B4-BE49-F238E27FC236}">
                <a16:creationId xmlns:a16="http://schemas.microsoft.com/office/drawing/2014/main" id="{FA449AB8-456E-43FE-A13E-B8A548CA1B1D}"/>
              </a:ext>
            </a:extLst>
          </p:cNvPr>
          <p:cNvSpPr>
            <a:spLocks noChangeArrowheads="1"/>
          </p:cNvSpPr>
          <p:nvPr/>
        </p:nvSpPr>
        <p:spPr bwMode="auto">
          <a:xfrm>
            <a:off x="339735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Rectangle 16">
            <a:extLst>
              <a:ext uri="{FF2B5EF4-FFF2-40B4-BE49-F238E27FC236}">
                <a16:creationId xmlns:a16="http://schemas.microsoft.com/office/drawing/2014/main" id="{69DE6512-AE6D-48AA-AD24-9C5A8C2F1876}"/>
              </a:ext>
            </a:extLst>
          </p:cNvPr>
          <p:cNvSpPr>
            <a:spLocks noChangeArrowheads="1"/>
          </p:cNvSpPr>
          <p:nvPr/>
        </p:nvSpPr>
        <p:spPr bwMode="auto">
          <a:xfrm>
            <a:off x="450494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Rectangle 17">
            <a:extLst>
              <a:ext uri="{FF2B5EF4-FFF2-40B4-BE49-F238E27FC236}">
                <a16:creationId xmlns:a16="http://schemas.microsoft.com/office/drawing/2014/main" id="{FA8973CE-17ED-463B-A687-992BD274AE2E}"/>
              </a:ext>
            </a:extLst>
          </p:cNvPr>
          <p:cNvSpPr>
            <a:spLocks noChangeArrowheads="1"/>
          </p:cNvSpPr>
          <p:nvPr/>
        </p:nvSpPr>
        <p:spPr bwMode="auto">
          <a:xfrm>
            <a:off x="561252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5" name="Rectangle 18">
            <a:extLst>
              <a:ext uri="{FF2B5EF4-FFF2-40B4-BE49-F238E27FC236}">
                <a16:creationId xmlns:a16="http://schemas.microsoft.com/office/drawing/2014/main" id="{BB72E7F7-ECB5-42DC-B8B4-982B8CD1E85F}"/>
              </a:ext>
            </a:extLst>
          </p:cNvPr>
          <p:cNvSpPr>
            <a:spLocks noChangeArrowheads="1"/>
          </p:cNvSpPr>
          <p:nvPr/>
        </p:nvSpPr>
        <p:spPr bwMode="auto">
          <a:xfrm>
            <a:off x="6720115" y="1366837"/>
            <a:ext cx="947198"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6" name="Rectangle 19">
            <a:extLst>
              <a:ext uri="{FF2B5EF4-FFF2-40B4-BE49-F238E27FC236}">
                <a16:creationId xmlns:a16="http://schemas.microsoft.com/office/drawing/2014/main" id="{E4FA5913-450A-4861-9294-AB605F712D9C}"/>
              </a:ext>
            </a:extLst>
          </p:cNvPr>
          <p:cNvSpPr>
            <a:spLocks noChangeArrowheads="1"/>
          </p:cNvSpPr>
          <p:nvPr/>
        </p:nvSpPr>
        <p:spPr bwMode="auto">
          <a:xfrm>
            <a:off x="783072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7" name="Rectangle 20">
            <a:extLst>
              <a:ext uri="{FF2B5EF4-FFF2-40B4-BE49-F238E27FC236}">
                <a16:creationId xmlns:a16="http://schemas.microsoft.com/office/drawing/2014/main" id="{0E0FC9EE-7FE3-459E-AA90-926C5FA2F91D}"/>
              </a:ext>
            </a:extLst>
          </p:cNvPr>
          <p:cNvSpPr>
            <a:spLocks noChangeArrowheads="1"/>
          </p:cNvSpPr>
          <p:nvPr/>
        </p:nvSpPr>
        <p:spPr bwMode="auto">
          <a:xfrm>
            <a:off x="8938312"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8" name="AutoShape 11">
            <a:extLst>
              <a:ext uri="{FF2B5EF4-FFF2-40B4-BE49-F238E27FC236}">
                <a16:creationId xmlns:a16="http://schemas.microsoft.com/office/drawing/2014/main" id="{CE331ECB-C8A4-4EFD-A985-1F90A20C7577}"/>
              </a:ext>
            </a:extLst>
          </p:cNvPr>
          <p:cNvSpPr>
            <a:spLocks noChangeArrowheads="1"/>
          </p:cNvSpPr>
          <p:nvPr/>
        </p:nvSpPr>
        <p:spPr bwMode="auto">
          <a:xfrm>
            <a:off x="1817688" y="2282168"/>
            <a:ext cx="8555037" cy="546478"/>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9" name="AutoShape 12">
            <a:extLst>
              <a:ext uri="{FF2B5EF4-FFF2-40B4-BE49-F238E27FC236}">
                <a16:creationId xmlns:a16="http://schemas.microsoft.com/office/drawing/2014/main" id="{D98A4A69-2AAE-4E2E-A48A-C4A202BD2B27}"/>
              </a:ext>
            </a:extLst>
          </p:cNvPr>
          <p:cNvSpPr>
            <a:spLocks noChangeArrowheads="1"/>
          </p:cNvSpPr>
          <p:nvPr/>
        </p:nvSpPr>
        <p:spPr bwMode="auto">
          <a:xfrm>
            <a:off x="1817688" y="2908830"/>
            <a:ext cx="8555037" cy="546478"/>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20" name="AutoShape 13">
            <a:extLst>
              <a:ext uri="{FF2B5EF4-FFF2-40B4-BE49-F238E27FC236}">
                <a16:creationId xmlns:a16="http://schemas.microsoft.com/office/drawing/2014/main" id="{40762271-0BCB-4C37-9668-9300078E8CED}"/>
              </a:ext>
            </a:extLst>
          </p:cNvPr>
          <p:cNvSpPr>
            <a:spLocks noChangeArrowheads="1"/>
          </p:cNvSpPr>
          <p:nvPr/>
        </p:nvSpPr>
        <p:spPr bwMode="auto">
          <a:xfrm>
            <a:off x="1817688" y="3535492"/>
            <a:ext cx="8555037" cy="546478"/>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22" name="AutoShape 13">
            <a:extLst>
              <a:ext uri="{FF2B5EF4-FFF2-40B4-BE49-F238E27FC236}">
                <a16:creationId xmlns:a16="http://schemas.microsoft.com/office/drawing/2014/main" id="{66E3DB13-DE35-499C-A460-89568F307E0A}"/>
              </a:ext>
            </a:extLst>
          </p:cNvPr>
          <p:cNvSpPr>
            <a:spLocks noChangeArrowheads="1"/>
          </p:cNvSpPr>
          <p:nvPr/>
        </p:nvSpPr>
        <p:spPr bwMode="auto">
          <a:xfrm>
            <a:off x="1817688" y="4162155"/>
            <a:ext cx="8555037" cy="546478"/>
          </a:xfrm>
          <a:prstGeom prst="homePlate">
            <a:avLst>
              <a:gd name="adj" fmla="val 28859"/>
            </a:avLst>
          </a:prstGeom>
          <a:solidFill>
            <a:schemeClr val="accent5"/>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3" name="Rectangle 2">
            <a:hlinkClick r:id="rId3" action="ppaction://hlinksldjump"/>
            <a:extLst>
              <a:ext uri="{FF2B5EF4-FFF2-40B4-BE49-F238E27FC236}">
                <a16:creationId xmlns:a16="http://schemas.microsoft.com/office/drawing/2014/main" id="{C1ABEC9C-6411-49CC-BA65-EA6C34D69BC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31549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C40868-A074-3241-BCF0-CF60C8723670}"/>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F2B34487-9350-7446-B47A-4DB0E49E9483}"/>
              </a:ext>
            </a:extLst>
          </p:cNvPr>
          <p:cNvSpPr>
            <a:spLocks noGrp="1"/>
          </p:cNvSpPr>
          <p:nvPr>
            <p:ph type="body" idx="10"/>
          </p:nvPr>
        </p:nvSpPr>
        <p:spPr/>
        <p:txBody>
          <a:bodyPr/>
          <a:lstStyle/>
          <a:p>
            <a:endParaRPr lang="en-US"/>
          </a:p>
        </p:txBody>
      </p:sp>
      <p:sp>
        <p:nvSpPr>
          <p:cNvPr id="5" name="Text Placeholder 4">
            <a:extLst>
              <a:ext uri="{FF2B5EF4-FFF2-40B4-BE49-F238E27FC236}">
                <a16:creationId xmlns:a16="http://schemas.microsoft.com/office/drawing/2014/main" id="{152D9DC2-B692-3146-A95E-1FA38F46F329}"/>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3184234134"/>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Matrix 3</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2BEC5B41-4143-438A-99C7-8D9074EE87DA}"/>
              </a:ext>
            </a:extLst>
          </p:cNvPr>
          <p:cNvGrpSpPr/>
          <p:nvPr/>
        </p:nvGrpSpPr>
        <p:grpSpPr>
          <a:xfrm>
            <a:off x="1822450" y="1893179"/>
            <a:ext cx="5584825" cy="3443993"/>
            <a:chOff x="1817688" y="1366837"/>
            <a:chExt cx="8555037" cy="3970336"/>
          </a:xfrm>
        </p:grpSpPr>
        <p:sp>
          <p:nvSpPr>
            <p:cNvPr id="5" name="AutoShape 4">
              <a:extLst>
                <a:ext uri="{FF2B5EF4-FFF2-40B4-BE49-F238E27FC236}">
                  <a16:creationId xmlns:a16="http://schemas.microsoft.com/office/drawing/2014/main" id="{48ED6DD8-E37D-4CFC-8F68-ECB37590BE71}"/>
                </a:ext>
              </a:extLst>
            </p:cNvPr>
            <p:cNvSpPr>
              <a:spLocks noChangeArrowheads="1"/>
            </p:cNvSpPr>
            <p:nvPr/>
          </p:nvSpPr>
          <p:spPr bwMode="auto">
            <a:xfrm rot="16200000" flipH="1">
              <a:off x="2227116"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AutoShape 5">
              <a:extLst>
                <a:ext uri="{FF2B5EF4-FFF2-40B4-BE49-F238E27FC236}">
                  <a16:creationId xmlns:a16="http://schemas.microsoft.com/office/drawing/2014/main" id="{C9AC4288-39C4-4849-8BDC-D91C92C2C917}"/>
                </a:ext>
              </a:extLst>
            </p:cNvPr>
            <p:cNvSpPr>
              <a:spLocks noChangeArrowheads="1"/>
            </p:cNvSpPr>
            <p:nvPr/>
          </p:nvSpPr>
          <p:spPr bwMode="auto">
            <a:xfrm rot="16200000" flipH="1">
              <a:off x="1116505" y="3222205"/>
              <a:ext cx="3284654" cy="941144"/>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AutoShape 6">
              <a:extLst>
                <a:ext uri="{FF2B5EF4-FFF2-40B4-BE49-F238E27FC236}">
                  <a16:creationId xmlns:a16="http://schemas.microsoft.com/office/drawing/2014/main" id="{CF6E26DF-52EE-45C6-9C2F-3B77E84B7FC9}"/>
                </a:ext>
              </a:extLst>
            </p:cNvPr>
            <p:cNvSpPr>
              <a:spLocks noChangeArrowheads="1"/>
            </p:cNvSpPr>
            <p:nvPr/>
          </p:nvSpPr>
          <p:spPr bwMode="auto">
            <a:xfrm rot="16200000" flipH="1">
              <a:off x="3337729"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AutoShape 7">
              <a:extLst>
                <a:ext uri="{FF2B5EF4-FFF2-40B4-BE49-F238E27FC236}">
                  <a16:creationId xmlns:a16="http://schemas.microsoft.com/office/drawing/2014/main" id="{2217006C-B34C-46B3-B177-2015EC14DC57}"/>
                </a:ext>
              </a:extLst>
            </p:cNvPr>
            <p:cNvSpPr>
              <a:spLocks noChangeArrowheads="1"/>
            </p:cNvSpPr>
            <p:nvPr/>
          </p:nvSpPr>
          <p:spPr bwMode="auto">
            <a:xfrm rot="16200000" flipH="1">
              <a:off x="4445313"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 name="AutoShape 8">
              <a:extLst>
                <a:ext uri="{FF2B5EF4-FFF2-40B4-BE49-F238E27FC236}">
                  <a16:creationId xmlns:a16="http://schemas.microsoft.com/office/drawing/2014/main" id="{F9E3BAE3-8156-4AA3-8344-685EFE73DBE2}"/>
                </a:ext>
              </a:extLst>
            </p:cNvPr>
            <p:cNvSpPr>
              <a:spLocks noChangeArrowheads="1"/>
            </p:cNvSpPr>
            <p:nvPr/>
          </p:nvSpPr>
          <p:spPr bwMode="auto">
            <a:xfrm rot="16200000" flipH="1">
              <a:off x="5552899"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AutoShape 9">
              <a:extLst>
                <a:ext uri="{FF2B5EF4-FFF2-40B4-BE49-F238E27FC236}">
                  <a16:creationId xmlns:a16="http://schemas.microsoft.com/office/drawing/2014/main" id="{DB0637A8-A965-4E88-80E4-98CEB9D055FD}"/>
                </a:ext>
              </a:extLst>
            </p:cNvPr>
            <p:cNvSpPr>
              <a:spLocks noChangeArrowheads="1"/>
            </p:cNvSpPr>
            <p:nvPr/>
          </p:nvSpPr>
          <p:spPr bwMode="auto">
            <a:xfrm rot="16200000" flipH="1">
              <a:off x="6660484"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AutoShape 10">
              <a:extLst>
                <a:ext uri="{FF2B5EF4-FFF2-40B4-BE49-F238E27FC236}">
                  <a16:creationId xmlns:a16="http://schemas.microsoft.com/office/drawing/2014/main" id="{B6098648-3EE8-4326-ACDB-78AE04AAA5AC}"/>
                </a:ext>
              </a:extLst>
            </p:cNvPr>
            <p:cNvSpPr>
              <a:spLocks noChangeArrowheads="1"/>
            </p:cNvSpPr>
            <p:nvPr/>
          </p:nvSpPr>
          <p:spPr bwMode="auto">
            <a:xfrm rot="16200000" flipH="1">
              <a:off x="7768070"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AutoShape 11">
              <a:extLst>
                <a:ext uri="{FF2B5EF4-FFF2-40B4-BE49-F238E27FC236}">
                  <a16:creationId xmlns:a16="http://schemas.microsoft.com/office/drawing/2014/main" id="{BD7700E1-C85F-49B1-97C6-81B97C8C2E5D}"/>
                </a:ext>
              </a:extLst>
            </p:cNvPr>
            <p:cNvSpPr>
              <a:spLocks noChangeArrowheads="1"/>
            </p:cNvSpPr>
            <p:nvPr/>
          </p:nvSpPr>
          <p:spPr bwMode="auto">
            <a:xfrm>
              <a:off x="1817688" y="2282168"/>
              <a:ext cx="8555037" cy="696507"/>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3" name="AutoShape 12">
              <a:extLst>
                <a:ext uri="{FF2B5EF4-FFF2-40B4-BE49-F238E27FC236}">
                  <a16:creationId xmlns:a16="http://schemas.microsoft.com/office/drawing/2014/main" id="{EA3F77C9-6A50-443F-B073-34E364C0A2F5}"/>
                </a:ext>
              </a:extLst>
            </p:cNvPr>
            <p:cNvSpPr>
              <a:spLocks noChangeArrowheads="1"/>
            </p:cNvSpPr>
            <p:nvPr/>
          </p:nvSpPr>
          <p:spPr bwMode="auto">
            <a:xfrm>
              <a:off x="1817688" y="3067479"/>
              <a:ext cx="8555037" cy="696507"/>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4" name="AutoShape 13">
              <a:extLst>
                <a:ext uri="{FF2B5EF4-FFF2-40B4-BE49-F238E27FC236}">
                  <a16:creationId xmlns:a16="http://schemas.microsoft.com/office/drawing/2014/main" id="{150B6CA0-FE03-40C5-B5FB-3BDF98F18346}"/>
                </a:ext>
              </a:extLst>
            </p:cNvPr>
            <p:cNvSpPr>
              <a:spLocks noChangeArrowheads="1"/>
            </p:cNvSpPr>
            <p:nvPr/>
          </p:nvSpPr>
          <p:spPr bwMode="auto">
            <a:xfrm>
              <a:off x="1817688" y="3852789"/>
              <a:ext cx="8555037" cy="696507"/>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5" name="Rectangle 14">
              <a:extLst>
                <a:ext uri="{FF2B5EF4-FFF2-40B4-BE49-F238E27FC236}">
                  <a16:creationId xmlns:a16="http://schemas.microsoft.com/office/drawing/2014/main" id="{8854B83C-CAF8-463C-B4CD-3473DC009B3C}"/>
                </a:ext>
              </a:extLst>
            </p:cNvPr>
            <p:cNvSpPr>
              <a:spLocks noChangeArrowheads="1"/>
            </p:cNvSpPr>
            <p:nvPr/>
          </p:nvSpPr>
          <p:spPr bwMode="auto">
            <a:xfrm>
              <a:off x="2283721" y="1366837"/>
              <a:ext cx="950223"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6" name="Rectangle 15">
              <a:extLst>
                <a:ext uri="{FF2B5EF4-FFF2-40B4-BE49-F238E27FC236}">
                  <a16:creationId xmlns:a16="http://schemas.microsoft.com/office/drawing/2014/main" id="{A468F8F4-2FDA-48C4-B724-A355EAEE3580}"/>
                </a:ext>
              </a:extLst>
            </p:cNvPr>
            <p:cNvSpPr>
              <a:spLocks noChangeArrowheads="1"/>
            </p:cNvSpPr>
            <p:nvPr/>
          </p:nvSpPr>
          <p:spPr bwMode="auto">
            <a:xfrm>
              <a:off x="339735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7" name="Rectangle 16">
              <a:extLst>
                <a:ext uri="{FF2B5EF4-FFF2-40B4-BE49-F238E27FC236}">
                  <a16:creationId xmlns:a16="http://schemas.microsoft.com/office/drawing/2014/main" id="{D8E74C9B-08CF-4DCD-918A-AD143E784073}"/>
                </a:ext>
              </a:extLst>
            </p:cNvPr>
            <p:cNvSpPr>
              <a:spLocks noChangeArrowheads="1"/>
            </p:cNvSpPr>
            <p:nvPr/>
          </p:nvSpPr>
          <p:spPr bwMode="auto">
            <a:xfrm>
              <a:off x="450494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8" name="Rectangle 17">
              <a:extLst>
                <a:ext uri="{FF2B5EF4-FFF2-40B4-BE49-F238E27FC236}">
                  <a16:creationId xmlns:a16="http://schemas.microsoft.com/office/drawing/2014/main" id="{529D88A6-8BF2-4811-953F-E07ED9C734A0}"/>
                </a:ext>
              </a:extLst>
            </p:cNvPr>
            <p:cNvSpPr>
              <a:spLocks noChangeArrowheads="1"/>
            </p:cNvSpPr>
            <p:nvPr/>
          </p:nvSpPr>
          <p:spPr bwMode="auto">
            <a:xfrm>
              <a:off x="561252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9" name="Rectangle 18">
              <a:extLst>
                <a:ext uri="{FF2B5EF4-FFF2-40B4-BE49-F238E27FC236}">
                  <a16:creationId xmlns:a16="http://schemas.microsoft.com/office/drawing/2014/main" id="{9ACDF61C-EEFE-4CC1-A3C2-6BB0A2C161BC}"/>
                </a:ext>
              </a:extLst>
            </p:cNvPr>
            <p:cNvSpPr>
              <a:spLocks noChangeArrowheads="1"/>
            </p:cNvSpPr>
            <p:nvPr/>
          </p:nvSpPr>
          <p:spPr bwMode="auto">
            <a:xfrm>
              <a:off x="6720115" y="1366837"/>
              <a:ext cx="947198"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0" name="Rectangle 19">
              <a:extLst>
                <a:ext uri="{FF2B5EF4-FFF2-40B4-BE49-F238E27FC236}">
                  <a16:creationId xmlns:a16="http://schemas.microsoft.com/office/drawing/2014/main" id="{B67DFCD3-9062-4B69-ACA7-51411B76E7CC}"/>
                </a:ext>
              </a:extLst>
            </p:cNvPr>
            <p:cNvSpPr>
              <a:spLocks noChangeArrowheads="1"/>
            </p:cNvSpPr>
            <p:nvPr/>
          </p:nvSpPr>
          <p:spPr bwMode="auto">
            <a:xfrm>
              <a:off x="783072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2" name="Rectangle 20">
              <a:extLst>
                <a:ext uri="{FF2B5EF4-FFF2-40B4-BE49-F238E27FC236}">
                  <a16:creationId xmlns:a16="http://schemas.microsoft.com/office/drawing/2014/main" id="{B02F21F1-3982-48C8-AE60-33BEE107BBA7}"/>
                </a:ext>
              </a:extLst>
            </p:cNvPr>
            <p:cNvSpPr>
              <a:spLocks noChangeArrowheads="1"/>
            </p:cNvSpPr>
            <p:nvPr/>
          </p:nvSpPr>
          <p:spPr bwMode="auto">
            <a:xfrm>
              <a:off x="8938312"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grpSp>
      <p:sp>
        <p:nvSpPr>
          <p:cNvPr id="23" name="Rectangle 21">
            <a:extLst>
              <a:ext uri="{FF2B5EF4-FFF2-40B4-BE49-F238E27FC236}">
                <a16:creationId xmlns:a16="http://schemas.microsoft.com/office/drawing/2014/main" id="{F3C26EEF-E99F-477F-8D29-13539F6748C9}"/>
              </a:ext>
            </a:extLst>
          </p:cNvPr>
          <p:cNvSpPr>
            <a:spLocks noChangeArrowheads="1"/>
          </p:cNvSpPr>
          <p:nvPr/>
        </p:nvSpPr>
        <p:spPr bwMode="auto">
          <a:xfrm>
            <a:off x="7759700" y="1893179"/>
            <a:ext cx="2959099" cy="3442199"/>
          </a:xfrm>
          <a:prstGeom prst="rect">
            <a:avLst/>
          </a:prstGeom>
          <a:solidFill>
            <a:schemeClr val="accent5"/>
          </a:solidFill>
          <a:ln w="6350">
            <a:noFill/>
            <a:miter lim="800000"/>
            <a:headEnd/>
            <a:tailEnd/>
          </a:ln>
        </p:spPr>
        <p:txBody>
          <a:bodyPr lIns="252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2C0FD534-A906-40E1-B9B9-5B66E08ABD7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161075421"/>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GB" dirty="0"/>
              <a:t>Matrix 4</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0617095A-1360-41A0-9A60-E34829C0E66D}"/>
              </a:ext>
            </a:extLst>
          </p:cNvPr>
          <p:cNvGrpSpPr/>
          <p:nvPr/>
        </p:nvGrpSpPr>
        <p:grpSpPr>
          <a:xfrm>
            <a:off x="1817688" y="1891972"/>
            <a:ext cx="5583600" cy="3445200"/>
            <a:chOff x="1817688" y="1366837"/>
            <a:chExt cx="8555037" cy="3970336"/>
          </a:xfrm>
        </p:grpSpPr>
        <p:sp>
          <p:nvSpPr>
            <p:cNvPr id="5" name="AutoShape 4">
              <a:extLst>
                <a:ext uri="{FF2B5EF4-FFF2-40B4-BE49-F238E27FC236}">
                  <a16:creationId xmlns:a16="http://schemas.microsoft.com/office/drawing/2014/main" id="{5A7595EE-EDBB-42C7-A8A4-0374ED6A13EA}"/>
                </a:ext>
              </a:extLst>
            </p:cNvPr>
            <p:cNvSpPr>
              <a:spLocks noChangeArrowheads="1"/>
            </p:cNvSpPr>
            <p:nvPr/>
          </p:nvSpPr>
          <p:spPr bwMode="auto">
            <a:xfrm rot="16200000" flipH="1">
              <a:off x="2227116"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AutoShape 5">
              <a:extLst>
                <a:ext uri="{FF2B5EF4-FFF2-40B4-BE49-F238E27FC236}">
                  <a16:creationId xmlns:a16="http://schemas.microsoft.com/office/drawing/2014/main" id="{F2296BFC-B755-47F9-A080-D7036F162C74}"/>
                </a:ext>
              </a:extLst>
            </p:cNvPr>
            <p:cNvSpPr>
              <a:spLocks noChangeArrowheads="1"/>
            </p:cNvSpPr>
            <p:nvPr/>
          </p:nvSpPr>
          <p:spPr bwMode="auto">
            <a:xfrm rot="16200000" flipH="1">
              <a:off x="1116505" y="3222205"/>
              <a:ext cx="3284654" cy="941144"/>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AutoShape 6">
              <a:extLst>
                <a:ext uri="{FF2B5EF4-FFF2-40B4-BE49-F238E27FC236}">
                  <a16:creationId xmlns:a16="http://schemas.microsoft.com/office/drawing/2014/main" id="{1C74EC33-D498-4B1C-82F3-8109DCE621DE}"/>
                </a:ext>
              </a:extLst>
            </p:cNvPr>
            <p:cNvSpPr>
              <a:spLocks noChangeArrowheads="1"/>
            </p:cNvSpPr>
            <p:nvPr/>
          </p:nvSpPr>
          <p:spPr bwMode="auto">
            <a:xfrm rot="16200000" flipH="1">
              <a:off x="3337729"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AutoShape 7">
              <a:extLst>
                <a:ext uri="{FF2B5EF4-FFF2-40B4-BE49-F238E27FC236}">
                  <a16:creationId xmlns:a16="http://schemas.microsoft.com/office/drawing/2014/main" id="{C894B48D-A85B-4DC0-AC1B-DF61434A8E5D}"/>
                </a:ext>
              </a:extLst>
            </p:cNvPr>
            <p:cNvSpPr>
              <a:spLocks noChangeArrowheads="1"/>
            </p:cNvSpPr>
            <p:nvPr/>
          </p:nvSpPr>
          <p:spPr bwMode="auto">
            <a:xfrm rot="16200000" flipH="1">
              <a:off x="4445313"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 name="AutoShape 8">
              <a:extLst>
                <a:ext uri="{FF2B5EF4-FFF2-40B4-BE49-F238E27FC236}">
                  <a16:creationId xmlns:a16="http://schemas.microsoft.com/office/drawing/2014/main" id="{B779B423-3B05-45A8-9B65-0D611E14C26E}"/>
                </a:ext>
              </a:extLst>
            </p:cNvPr>
            <p:cNvSpPr>
              <a:spLocks noChangeArrowheads="1"/>
            </p:cNvSpPr>
            <p:nvPr/>
          </p:nvSpPr>
          <p:spPr bwMode="auto">
            <a:xfrm rot="16200000" flipH="1">
              <a:off x="5552899"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AutoShape 9">
              <a:extLst>
                <a:ext uri="{FF2B5EF4-FFF2-40B4-BE49-F238E27FC236}">
                  <a16:creationId xmlns:a16="http://schemas.microsoft.com/office/drawing/2014/main" id="{5EB62987-31C8-49D7-83B5-C834AE3E8E37}"/>
                </a:ext>
              </a:extLst>
            </p:cNvPr>
            <p:cNvSpPr>
              <a:spLocks noChangeArrowheads="1"/>
            </p:cNvSpPr>
            <p:nvPr/>
          </p:nvSpPr>
          <p:spPr bwMode="auto">
            <a:xfrm rot="16200000" flipH="1">
              <a:off x="6660484"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AutoShape 10">
              <a:extLst>
                <a:ext uri="{FF2B5EF4-FFF2-40B4-BE49-F238E27FC236}">
                  <a16:creationId xmlns:a16="http://schemas.microsoft.com/office/drawing/2014/main" id="{966C05CB-9CA1-4057-AAA8-FA8EED9C95EF}"/>
                </a:ext>
              </a:extLst>
            </p:cNvPr>
            <p:cNvSpPr>
              <a:spLocks noChangeArrowheads="1"/>
            </p:cNvSpPr>
            <p:nvPr/>
          </p:nvSpPr>
          <p:spPr bwMode="auto">
            <a:xfrm rot="16200000" flipH="1">
              <a:off x="7768070"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Rectangle 14">
              <a:extLst>
                <a:ext uri="{FF2B5EF4-FFF2-40B4-BE49-F238E27FC236}">
                  <a16:creationId xmlns:a16="http://schemas.microsoft.com/office/drawing/2014/main" id="{EFECCE43-110E-446C-9CAF-66F580E6B872}"/>
                </a:ext>
              </a:extLst>
            </p:cNvPr>
            <p:cNvSpPr>
              <a:spLocks noChangeArrowheads="1"/>
            </p:cNvSpPr>
            <p:nvPr/>
          </p:nvSpPr>
          <p:spPr bwMode="auto">
            <a:xfrm>
              <a:off x="2283721" y="1366837"/>
              <a:ext cx="950223"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Rectangle 15">
              <a:extLst>
                <a:ext uri="{FF2B5EF4-FFF2-40B4-BE49-F238E27FC236}">
                  <a16:creationId xmlns:a16="http://schemas.microsoft.com/office/drawing/2014/main" id="{163BE181-301F-454F-9994-486872C8B5F7}"/>
                </a:ext>
              </a:extLst>
            </p:cNvPr>
            <p:cNvSpPr>
              <a:spLocks noChangeArrowheads="1"/>
            </p:cNvSpPr>
            <p:nvPr/>
          </p:nvSpPr>
          <p:spPr bwMode="auto">
            <a:xfrm>
              <a:off x="339735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Rectangle 16">
              <a:extLst>
                <a:ext uri="{FF2B5EF4-FFF2-40B4-BE49-F238E27FC236}">
                  <a16:creationId xmlns:a16="http://schemas.microsoft.com/office/drawing/2014/main" id="{13B48331-64FB-475B-8EE1-AFDECEF72BA6}"/>
                </a:ext>
              </a:extLst>
            </p:cNvPr>
            <p:cNvSpPr>
              <a:spLocks noChangeArrowheads="1"/>
            </p:cNvSpPr>
            <p:nvPr/>
          </p:nvSpPr>
          <p:spPr bwMode="auto">
            <a:xfrm>
              <a:off x="450494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5" name="Rectangle 17">
              <a:extLst>
                <a:ext uri="{FF2B5EF4-FFF2-40B4-BE49-F238E27FC236}">
                  <a16:creationId xmlns:a16="http://schemas.microsoft.com/office/drawing/2014/main" id="{D103C706-0F62-441A-BC4D-1EB848F26DA0}"/>
                </a:ext>
              </a:extLst>
            </p:cNvPr>
            <p:cNvSpPr>
              <a:spLocks noChangeArrowheads="1"/>
            </p:cNvSpPr>
            <p:nvPr/>
          </p:nvSpPr>
          <p:spPr bwMode="auto">
            <a:xfrm>
              <a:off x="561252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6" name="Rectangle 18">
              <a:extLst>
                <a:ext uri="{FF2B5EF4-FFF2-40B4-BE49-F238E27FC236}">
                  <a16:creationId xmlns:a16="http://schemas.microsoft.com/office/drawing/2014/main" id="{4D0919F2-5D1B-4E30-8CEF-B7535E38E073}"/>
                </a:ext>
              </a:extLst>
            </p:cNvPr>
            <p:cNvSpPr>
              <a:spLocks noChangeArrowheads="1"/>
            </p:cNvSpPr>
            <p:nvPr/>
          </p:nvSpPr>
          <p:spPr bwMode="auto">
            <a:xfrm>
              <a:off x="6720115" y="1366837"/>
              <a:ext cx="947198"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7" name="Rectangle 19">
              <a:extLst>
                <a:ext uri="{FF2B5EF4-FFF2-40B4-BE49-F238E27FC236}">
                  <a16:creationId xmlns:a16="http://schemas.microsoft.com/office/drawing/2014/main" id="{3634D7F2-619F-4A37-BE05-F284C0735F7C}"/>
                </a:ext>
              </a:extLst>
            </p:cNvPr>
            <p:cNvSpPr>
              <a:spLocks noChangeArrowheads="1"/>
            </p:cNvSpPr>
            <p:nvPr/>
          </p:nvSpPr>
          <p:spPr bwMode="auto">
            <a:xfrm>
              <a:off x="783072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8" name="Rectangle 20">
              <a:extLst>
                <a:ext uri="{FF2B5EF4-FFF2-40B4-BE49-F238E27FC236}">
                  <a16:creationId xmlns:a16="http://schemas.microsoft.com/office/drawing/2014/main" id="{70D9A989-5505-4E53-B858-1059BEF52BF7}"/>
                </a:ext>
              </a:extLst>
            </p:cNvPr>
            <p:cNvSpPr>
              <a:spLocks noChangeArrowheads="1"/>
            </p:cNvSpPr>
            <p:nvPr/>
          </p:nvSpPr>
          <p:spPr bwMode="auto">
            <a:xfrm>
              <a:off x="8938312"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9" name="AutoShape 11">
              <a:extLst>
                <a:ext uri="{FF2B5EF4-FFF2-40B4-BE49-F238E27FC236}">
                  <a16:creationId xmlns:a16="http://schemas.microsoft.com/office/drawing/2014/main" id="{CF545049-35B2-4F19-9EFA-B8C6A7BC5497}"/>
                </a:ext>
              </a:extLst>
            </p:cNvPr>
            <p:cNvSpPr>
              <a:spLocks noChangeArrowheads="1"/>
            </p:cNvSpPr>
            <p:nvPr/>
          </p:nvSpPr>
          <p:spPr bwMode="auto">
            <a:xfrm>
              <a:off x="1817688" y="2282168"/>
              <a:ext cx="8555037" cy="546478"/>
            </a:xfrm>
            <a:prstGeom prst="homePlate">
              <a:avLst>
                <a:gd name="adj" fmla="val 28859"/>
              </a:avLst>
            </a:prstGeom>
            <a:solidFill>
              <a:schemeClr val="accent3"/>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20" name="AutoShape 12">
              <a:extLst>
                <a:ext uri="{FF2B5EF4-FFF2-40B4-BE49-F238E27FC236}">
                  <a16:creationId xmlns:a16="http://schemas.microsoft.com/office/drawing/2014/main" id="{FEC3A51A-C5C2-4CFF-9B58-B3599BD7E0BA}"/>
                </a:ext>
              </a:extLst>
            </p:cNvPr>
            <p:cNvSpPr>
              <a:spLocks noChangeArrowheads="1"/>
            </p:cNvSpPr>
            <p:nvPr/>
          </p:nvSpPr>
          <p:spPr bwMode="auto">
            <a:xfrm>
              <a:off x="1817688" y="2908830"/>
              <a:ext cx="8555037" cy="546478"/>
            </a:xfrm>
            <a:prstGeom prst="homePlate">
              <a:avLst>
                <a:gd name="adj" fmla="val 28859"/>
              </a:avLst>
            </a:prstGeom>
            <a:solidFill>
              <a:schemeClr val="accent2"/>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22" name="AutoShape 13">
              <a:extLst>
                <a:ext uri="{FF2B5EF4-FFF2-40B4-BE49-F238E27FC236}">
                  <a16:creationId xmlns:a16="http://schemas.microsoft.com/office/drawing/2014/main" id="{36A95A87-8A73-40F6-90B4-1C2E4D56E601}"/>
                </a:ext>
              </a:extLst>
            </p:cNvPr>
            <p:cNvSpPr>
              <a:spLocks noChangeArrowheads="1"/>
            </p:cNvSpPr>
            <p:nvPr/>
          </p:nvSpPr>
          <p:spPr bwMode="auto">
            <a:xfrm>
              <a:off x="1817688" y="3535492"/>
              <a:ext cx="8555037" cy="546478"/>
            </a:xfrm>
            <a:prstGeom prst="homePlate">
              <a:avLst>
                <a:gd name="adj" fmla="val 28859"/>
              </a:avLst>
            </a:prstGeom>
            <a:solidFill>
              <a:schemeClr val="accent1"/>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23" name="AutoShape 13">
              <a:extLst>
                <a:ext uri="{FF2B5EF4-FFF2-40B4-BE49-F238E27FC236}">
                  <a16:creationId xmlns:a16="http://schemas.microsoft.com/office/drawing/2014/main" id="{2DD57C88-D32D-4575-A1D1-F017AF88B0B2}"/>
                </a:ext>
              </a:extLst>
            </p:cNvPr>
            <p:cNvSpPr>
              <a:spLocks noChangeArrowheads="1"/>
            </p:cNvSpPr>
            <p:nvPr/>
          </p:nvSpPr>
          <p:spPr bwMode="auto">
            <a:xfrm>
              <a:off x="1817688" y="4162155"/>
              <a:ext cx="8555037" cy="546478"/>
            </a:xfrm>
            <a:prstGeom prst="homePlate">
              <a:avLst>
                <a:gd name="adj" fmla="val 28859"/>
              </a:avLst>
            </a:prstGeom>
            <a:solidFill>
              <a:schemeClr val="accent5"/>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grpSp>
      <p:sp>
        <p:nvSpPr>
          <p:cNvPr id="24" name="Rectangle 21">
            <a:extLst>
              <a:ext uri="{FF2B5EF4-FFF2-40B4-BE49-F238E27FC236}">
                <a16:creationId xmlns:a16="http://schemas.microsoft.com/office/drawing/2014/main" id="{671FE765-4DCB-4228-8ED0-AD2EB7022932}"/>
              </a:ext>
            </a:extLst>
          </p:cNvPr>
          <p:cNvSpPr>
            <a:spLocks noChangeArrowheads="1"/>
          </p:cNvSpPr>
          <p:nvPr/>
        </p:nvSpPr>
        <p:spPr bwMode="auto">
          <a:xfrm>
            <a:off x="7759700" y="1893179"/>
            <a:ext cx="2959099" cy="3442199"/>
          </a:xfrm>
          <a:prstGeom prst="rect">
            <a:avLst/>
          </a:prstGeom>
          <a:solidFill>
            <a:schemeClr val="accent6"/>
          </a:solidFill>
          <a:ln w="6350">
            <a:noFill/>
            <a:miter lim="800000"/>
            <a:headEnd/>
            <a:tailEnd/>
          </a:ln>
        </p:spPr>
        <p:txBody>
          <a:bodyPr lIns="252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chemeClr val="accent3"/>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chemeClr val="accent3"/>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chemeClr val="accent3"/>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51AFD5D9-1BAD-46FE-8C0B-F1E1D444A5F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17948921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Matrix 5</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5">
            <a:extLst>
              <a:ext uri="{FF2B5EF4-FFF2-40B4-BE49-F238E27FC236}">
                <a16:creationId xmlns:a16="http://schemas.microsoft.com/office/drawing/2014/main" id="{204C5F71-8239-4135-A13A-68C7DCD2DDF2}"/>
              </a:ext>
            </a:extLst>
          </p:cNvPr>
          <p:cNvSpPr>
            <a:spLocks noChangeArrowheads="1"/>
          </p:cNvSpPr>
          <p:nvPr/>
        </p:nvSpPr>
        <p:spPr bwMode="auto">
          <a:xfrm>
            <a:off x="6543950" y="1366838"/>
            <a:ext cx="1535656" cy="4691062"/>
          </a:xfrm>
          <a:prstGeom prst="rect">
            <a:avLst/>
          </a:prstGeom>
          <a:solidFill>
            <a:srgbClr val="96968C">
              <a:lumMod val="20000"/>
              <a:lumOff val="80000"/>
            </a:srgbClr>
          </a:solidFill>
          <a:ln w="9525" algn="ctr">
            <a:noFill/>
            <a:miter lim="800000"/>
            <a:headEnd type="none" w="sm" len="sm"/>
            <a:tailEnd type="none" w="sm" len="sm"/>
          </a:ln>
        </p:spPr>
        <p:txBody>
          <a:bodyPr wrap="none" tIns="82800"/>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latin typeface="Graphik"/>
                <a:ea typeface="+mn-ea"/>
                <a:cs typeface="+mn-cs"/>
              </a:rPr>
              <a:t>Text</a:t>
            </a:r>
            <a:endParaRPr kumimoji="0" lang="en-US" sz="1600" b="0" i="0" u="none" strike="noStrike" kern="0" cap="none" spc="0" normalizeH="0" baseline="0" noProof="0" dirty="0">
              <a:ln>
                <a:noFill/>
              </a:ln>
              <a:solidFill>
                <a:srgbClr val="000000"/>
              </a:solidFill>
              <a:effectLst/>
              <a:uLnTx/>
              <a:uFillTx/>
              <a:latin typeface="Graphik"/>
              <a:ea typeface="+mn-ea"/>
              <a:cs typeface="+mn-cs"/>
            </a:endParaRPr>
          </a:p>
        </p:txBody>
      </p:sp>
      <p:sp>
        <p:nvSpPr>
          <p:cNvPr id="5" name="Rectangle 3">
            <a:extLst>
              <a:ext uri="{FF2B5EF4-FFF2-40B4-BE49-F238E27FC236}">
                <a16:creationId xmlns:a16="http://schemas.microsoft.com/office/drawing/2014/main" id="{3374228F-7369-4720-B37F-D1DC6BF02498}"/>
              </a:ext>
            </a:extLst>
          </p:cNvPr>
          <p:cNvSpPr>
            <a:spLocks noChangeArrowheads="1"/>
          </p:cNvSpPr>
          <p:nvPr/>
        </p:nvSpPr>
        <p:spPr bwMode="auto">
          <a:xfrm>
            <a:off x="3251542" y="1366838"/>
            <a:ext cx="1535656" cy="4691062"/>
          </a:xfrm>
          <a:prstGeom prst="rect">
            <a:avLst/>
          </a:prstGeom>
          <a:solidFill>
            <a:srgbClr val="96968C">
              <a:lumMod val="20000"/>
              <a:lumOff val="80000"/>
            </a:srgbClr>
          </a:solidFill>
          <a:ln w="9525">
            <a:noFill/>
            <a:miter lim="800000"/>
            <a:headEnd type="none" w="sm" len="sm"/>
            <a:tailEnd type="none" w="sm" len="sm"/>
          </a:ln>
        </p:spPr>
        <p:txBody>
          <a:bodyPr wrap="none" tIns="82800"/>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latin typeface="Graphik"/>
                <a:ea typeface="+mn-ea"/>
                <a:cs typeface="+mn-cs"/>
              </a:rPr>
              <a:t>Text</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Rectangle 4">
            <a:extLst>
              <a:ext uri="{FF2B5EF4-FFF2-40B4-BE49-F238E27FC236}">
                <a16:creationId xmlns:a16="http://schemas.microsoft.com/office/drawing/2014/main" id="{82C0DF4A-B88A-4BBC-B5AA-A7601A669DB6}"/>
              </a:ext>
            </a:extLst>
          </p:cNvPr>
          <p:cNvSpPr>
            <a:spLocks noChangeArrowheads="1"/>
          </p:cNvSpPr>
          <p:nvPr/>
        </p:nvSpPr>
        <p:spPr bwMode="auto">
          <a:xfrm>
            <a:off x="4897746" y="1366838"/>
            <a:ext cx="1535656" cy="4691062"/>
          </a:xfrm>
          <a:prstGeom prst="rect">
            <a:avLst/>
          </a:prstGeom>
          <a:solidFill>
            <a:srgbClr val="96968C">
              <a:lumMod val="20000"/>
              <a:lumOff val="80000"/>
            </a:srgbClr>
          </a:solidFill>
          <a:ln w="9525" algn="ctr">
            <a:noFill/>
            <a:miter lim="800000"/>
            <a:headEnd type="none" w="sm" len="sm"/>
            <a:tailEnd type="none" w="sm" len="sm"/>
          </a:ln>
        </p:spPr>
        <p:txBody>
          <a:bodyPr wrap="none" tIns="82800"/>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latin typeface="Graphik"/>
                <a:ea typeface="+mn-ea"/>
                <a:cs typeface="+mn-cs"/>
              </a:rPr>
              <a:t>Text</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Rectangle 5">
            <a:extLst>
              <a:ext uri="{FF2B5EF4-FFF2-40B4-BE49-F238E27FC236}">
                <a16:creationId xmlns:a16="http://schemas.microsoft.com/office/drawing/2014/main" id="{DC7B8424-2663-4944-BD67-F67842EAC03E}"/>
              </a:ext>
            </a:extLst>
          </p:cNvPr>
          <p:cNvSpPr>
            <a:spLocks noChangeArrowheads="1"/>
          </p:cNvSpPr>
          <p:nvPr/>
        </p:nvSpPr>
        <p:spPr bwMode="auto">
          <a:xfrm>
            <a:off x="8190155" y="1366838"/>
            <a:ext cx="1535656" cy="4691062"/>
          </a:xfrm>
          <a:prstGeom prst="rect">
            <a:avLst/>
          </a:prstGeom>
          <a:solidFill>
            <a:srgbClr val="96968C">
              <a:lumMod val="20000"/>
              <a:lumOff val="80000"/>
            </a:srgbClr>
          </a:solidFill>
          <a:ln w="9525" algn="ctr">
            <a:noFill/>
            <a:miter lim="800000"/>
            <a:headEnd type="none" w="sm" len="sm"/>
            <a:tailEnd type="none" w="sm" len="sm"/>
          </a:ln>
        </p:spPr>
        <p:txBody>
          <a:bodyPr wrap="none" tIns="82800"/>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latin typeface="Graphik"/>
                <a:ea typeface="+mn-ea"/>
                <a:cs typeface="+mn-cs"/>
              </a:rPr>
              <a:t>Text</a:t>
            </a:r>
            <a:endParaRPr kumimoji="0" lang="en-US" sz="16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AutoShape 6">
            <a:extLst>
              <a:ext uri="{FF2B5EF4-FFF2-40B4-BE49-F238E27FC236}">
                <a16:creationId xmlns:a16="http://schemas.microsoft.com/office/drawing/2014/main" id="{FC145102-7BBD-40AA-B372-2D214200CC25}"/>
              </a:ext>
            </a:extLst>
          </p:cNvPr>
          <p:cNvSpPr>
            <a:spLocks noChangeArrowheads="1"/>
          </p:cNvSpPr>
          <p:nvPr/>
        </p:nvSpPr>
        <p:spPr bwMode="auto">
          <a:xfrm>
            <a:off x="1822450" y="1951161"/>
            <a:ext cx="8540750" cy="793611"/>
          </a:xfrm>
          <a:prstGeom prst="homePlate">
            <a:avLst>
              <a:gd name="adj" fmla="val 9946"/>
            </a:avLst>
          </a:prstGeom>
          <a:noFill/>
          <a:ln w="19050">
            <a:solidFill>
              <a:srgbClr val="A100FF"/>
            </a:solidFill>
            <a:miter lim="800000"/>
            <a:headEnd type="none" w="sm" len="sm"/>
            <a:tailEnd type="none" w="sm" len="sm"/>
          </a:ln>
        </p:spPr>
        <p:txBody>
          <a:bodyPr lIns="180000" tIns="46800" rIns="90000" bIns="46800" anchor="ctr"/>
          <a:lstStyle/>
          <a:p>
            <a:pPr marL="0" marR="0" lvl="0" indent="0" algn="l" defTabSz="703263" rtl="0" eaLnBrk="1" fontAlgn="auto" latinLnBrk="0" hangingPunct="1">
              <a:lnSpc>
                <a:spcPct val="100000"/>
              </a:lnSpc>
              <a:spcBef>
                <a:spcPct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Graphik Black"/>
                <a:ea typeface="+mn-ea"/>
                <a:cs typeface="+mn-cs"/>
              </a:rPr>
              <a:t>Text</a:t>
            </a:r>
          </a:p>
        </p:txBody>
      </p:sp>
      <p:sp>
        <p:nvSpPr>
          <p:cNvPr id="9" name="AutoShape 8">
            <a:extLst>
              <a:ext uri="{FF2B5EF4-FFF2-40B4-BE49-F238E27FC236}">
                <a16:creationId xmlns:a16="http://schemas.microsoft.com/office/drawing/2014/main" id="{1990D9DB-4D0E-4BD4-9DF5-15CFA1230C98}"/>
              </a:ext>
            </a:extLst>
          </p:cNvPr>
          <p:cNvSpPr>
            <a:spLocks noChangeArrowheads="1"/>
          </p:cNvSpPr>
          <p:nvPr/>
        </p:nvSpPr>
        <p:spPr bwMode="auto">
          <a:xfrm>
            <a:off x="1822450" y="2940948"/>
            <a:ext cx="8540750" cy="793611"/>
          </a:xfrm>
          <a:prstGeom prst="homePlate">
            <a:avLst>
              <a:gd name="adj" fmla="val 9946"/>
            </a:avLst>
          </a:prstGeom>
          <a:noFill/>
          <a:ln w="19050">
            <a:solidFill>
              <a:srgbClr val="A100FF"/>
            </a:solidFill>
            <a:miter lim="800000"/>
            <a:headEnd type="none" w="sm" len="sm"/>
            <a:tailEnd type="none" w="sm" len="sm"/>
          </a:ln>
        </p:spPr>
        <p:txBody>
          <a:bodyPr lIns="180000" tIns="46800" rIns="90000" bIns="46800" anchor="ctr"/>
          <a:lstStyle/>
          <a:p>
            <a:pPr marL="0" marR="0" lvl="0" indent="0" algn="l" defTabSz="703263" rtl="0" eaLnBrk="1" fontAlgn="auto" latinLnBrk="0" hangingPunct="1">
              <a:lnSpc>
                <a:spcPct val="100000"/>
              </a:lnSpc>
              <a:spcBef>
                <a:spcPct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Graphik Black"/>
                <a:ea typeface="+mn-ea"/>
                <a:cs typeface="+mn-cs"/>
              </a:rPr>
              <a:t>Text</a:t>
            </a:r>
          </a:p>
        </p:txBody>
      </p:sp>
      <p:sp>
        <p:nvSpPr>
          <p:cNvPr id="10" name="AutoShape 9">
            <a:extLst>
              <a:ext uri="{FF2B5EF4-FFF2-40B4-BE49-F238E27FC236}">
                <a16:creationId xmlns:a16="http://schemas.microsoft.com/office/drawing/2014/main" id="{1353D752-857A-4AD4-9E08-B309123D5BAB}"/>
              </a:ext>
            </a:extLst>
          </p:cNvPr>
          <p:cNvSpPr>
            <a:spLocks noChangeArrowheads="1"/>
          </p:cNvSpPr>
          <p:nvPr/>
        </p:nvSpPr>
        <p:spPr bwMode="auto">
          <a:xfrm>
            <a:off x="1822450" y="4920522"/>
            <a:ext cx="8540750" cy="793611"/>
          </a:xfrm>
          <a:prstGeom prst="homePlate">
            <a:avLst>
              <a:gd name="adj" fmla="val 9946"/>
            </a:avLst>
          </a:prstGeom>
          <a:noFill/>
          <a:ln w="19050">
            <a:solidFill>
              <a:srgbClr val="A100FF"/>
            </a:solidFill>
            <a:miter lim="800000"/>
            <a:headEnd type="none" w="sm" len="sm"/>
            <a:tailEnd type="none" w="sm" len="sm"/>
          </a:ln>
        </p:spPr>
        <p:txBody>
          <a:bodyPr lIns="180000" tIns="46800" rIns="90000" bIns="46800" anchor="ctr"/>
          <a:lstStyle/>
          <a:p>
            <a:pPr marL="0" marR="0" lvl="0" indent="0" algn="l" defTabSz="703263" rtl="0" eaLnBrk="1" fontAlgn="auto" latinLnBrk="0" hangingPunct="1">
              <a:lnSpc>
                <a:spcPct val="100000"/>
              </a:lnSpc>
              <a:spcBef>
                <a:spcPct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Graphik Black"/>
                <a:ea typeface="+mn-ea"/>
                <a:cs typeface="+mn-cs"/>
              </a:rPr>
              <a:t>Text</a:t>
            </a:r>
          </a:p>
        </p:txBody>
      </p:sp>
      <p:sp>
        <p:nvSpPr>
          <p:cNvPr id="11" name="AutoShape 9">
            <a:extLst>
              <a:ext uri="{FF2B5EF4-FFF2-40B4-BE49-F238E27FC236}">
                <a16:creationId xmlns:a16="http://schemas.microsoft.com/office/drawing/2014/main" id="{2ED4B17B-BBE6-4464-AD75-D1099E6D646C}"/>
              </a:ext>
            </a:extLst>
          </p:cNvPr>
          <p:cNvSpPr>
            <a:spLocks noChangeArrowheads="1"/>
          </p:cNvSpPr>
          <p:nvPr/>
        </p:nvSpPr>
        <p:spPr bwMode="auto">
          <a:xfrm>
            <a:off x="1822450" y="3930735"/>
            <a:ext cx="8540750" cy="793611"/>
          </a:xfrm>
          <a:prstGeom prst="homePlate">
            <a:avLst>
              <a:gd name="adj" fmla="val 9946"/>
            </a:avLst>
          </a:prstGeom>
          <a:noFill/>
          <a:ln w="19050">
            <a:solidFill>
              <a:srgbClr val="A100FF"/>
            </a:solidFill>
            <a:miter lim="800000"/>
            <a:headEnd type="none" w="sm" len="sm"/>
            <a:tailEnd type="none" w="sm" len="sm"/>
          </a:ln>
        </p:spPr>
        <p:txBody>
          <a:bodyPr lIns="180000" tIns="46800" rIns="90000" bIns="46800" anchor="ctr"/>
          <a:lstStyle/>
          <a:p>
            <a:pPr marL="0" marR="0" lvl="0" indent="0" algn="l" defTabSz="703263" rtl="0" eaLnBrk="1" fontAlgn="auto" latinLnBrk="0" hangingPunct="1">
              <a:lnSpc>
                <a:spcPct val="100000"/>
              </a:lnSpc>
              <a:spcBef>
                <a:spcPct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Graphik Black"/>
                <a:ea typeface="+mn-ea"/>
                <a:cs typeface="+mn-cs"/>
              </a:rPr>
              <a:t>Text</a:t>
            </a:r>
          </a:p>
        </p:txBody>
      </p:sp>
      <p:sp>
        <p:nvSpPr>
          <p:cNvPr id="3" name="Rectangle 2">
            <a:hlinkClick r:id="rId3" action="ppaction://hlinksldjump"/>
            <a:extLst>
              <a:ext uri="{FF2B5EF4-FFF2-40B4-BE49-F238E27FC236}">
                <a16:creationId xmlns:a16="http://schemas.microsoft.com/office/drawing/2014/main" id="{96768338-7107-451C-9F8A-F638795E1C4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624432110"/>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Matrix – Transparent 1</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3E8D1873-49BC-4528-8715-2EC2AA85B799}"/>
              </a:ext>
            </a:extLst>
          </p:cNvPr>
          <p:cNvGrpSpPr/>
          <p:nvPr/>
        </p:nvGrpSpPr>
        <p:grpSpPr>
          <a:xfrm>
            <a:off x="1822450" y="1893179"/>
            <a:ext cx="5584825" cy="3443993"/>
            <a:chOff x="1817688" y="1366837"/>
            <a:chExt cx="8555037" cy="3970336"/>
          </a:xfrm>
        </p:grpSpPr>
        <p:sp>
          <p:nvSpPr>
            <p:cNvPr id="5" name="AutoShape 4">
              <a:extLst>
                <a:ext uri="{FF2B5EF4-FFF2-40B4-BE49-F238E27FC236}">
                  <a16:creationId xmlns:a16="http://schemas.microsoft.com/office/drawing/2014/main" id="{1B70211F-8746-4D8D-8D85-ABF8AF52BA25}"/>
                </a:ext>
              </a:extLst>
            </p:cNvPr>
            <p:cNvSpPr>
              <a:spLocks noChangeArrowheads="1"/>
            </p:cNvSpPr>
            <p:nvPr/>
          </p:nvSpPr>
          <p:spPr bwMode="auto">
            <a:xfrm rot="16200000" flipH="1">
              <a:off x="2227116"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AutoShape 5">
              <a:extLst>
                <a:ext uri="{FF2B5EF4-FFF2-40B4-BE49-F238E27FC236}">
                  <a16:creationId xmlns:a16="http://schemas.microsoft.com/office/drawing/2014/main" id="{C21859C2-EA2F-4A87-BE4C-D0CA1EFE1B24}"/>
                </a:ext>
              </a:extLst>
            </p:cNvPr>
            <p:cNvSpPr>
              <a:spLocks noChangeArrowheads="1"/>
            </p:cNvSpPr>
            <p:nvPr/>
          </p:nvSpPr>
          <p:spPr bwMode="auto">
            <a:xfrm rot="16200000" flipH="1">
              <a:off x="1116505" y="3222205"/>
              <a:ext cx="3284654" cy="941144"/>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AutoShape 6">
              <a:extLst>
                <a:ext uri="{FF2B5EF4-FFF2-40B4-BE49-F238E27FC236}">
                  <a16:creationId xmlns:a16="http://schemas.microsoft.com/office/drawing/2014/main" id="{99C9FD6F-975B-4564-B530-3B39C16D09A4}"/>
                </a:ext>
              </a:extLst>
            </p:cNvPr>
            <p:cNvSpPr>
              <a:spLocks noChangeArrowheads="1"/>
            </p:cNvSpPr>
            <p:nvPr/>
          </p:nvSpPr>
          <p:spPr bwMode="auto">
            <a:xfrm rot="16200000" flipH="1">
              <a:off x="3337729"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AutoShape 7">
              <a:extLst>
                <a:ext uri="{FF2B5EF4-FFF2-40B4-BE49-F238E27FC236}">
                  <a16:creationId xmlns:a16="http://schemas.microsoft.com/office/drawing/2014/main" id="{4EEE9926-08C5-4E9D-8057-3534C1FB488D}"/>
                </a:ext>
              </a:extLst>
            </p:cNvPr>
            <p:cNvSpPr>
              <a:spLocks noChangeArrowheads="1"/>
            </p:cNvSpPr>
            <p:nvPr/>
          </p:nvSpPr>
          <p:spPr bwMode="auto">
            <a:xfrm rot="16200000" flipH="1">
              <a:off x="4445313"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 name="AutoShape 8">
              <a:extLst>
                <a:ext uri="{FF2B5EF4-FFF2-40B4-BE49-F238E27FC236}">
                  <a16:creationId xmlns:a16="http://schemas.microsoft.com/office/drawing/2014/main" id="{626608EF-92C5-4BF6-AAC7-A0D377D8A9CC}"/>
                </a:ext>
              </a:extLst>
            </p:cNvPr>
            <p:cNvSpPr>
              <a:spLocks noChangeArrowheads="1"/>
            </p:cNvSpPr>
            <p:nvPr/>
          </p:nvSpPr>
          <p:spPr bwMode="auto">
            <a:xfrm rot="16200000" flipH="1">
              <a:off x="5552899"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AutoShape 9">
              <a:extLst>
                <a:ext uri="{FF2B5EF4-FFF2-40B4-BE49-F238E27FC236}">
                  <a16:creationId xmlns:a16="http://schemas.microsoft.com/office/drawing/2014/main" id="{8A732DDE-7273-4432-8A97-AFE801750B5B}"/>
                </a:ext>
              </a:extLst>
            </p:cNvPr>
            <p:cNvSpPr>
              <a:spLocks noChangeArrowheads="1"/>
            </p:cNvSpPr>
            <p:nvPr/>
          </p:nvSpPr>
          <p:spPr bwMode="auto">
            <a:xfrm rot="16200000" flipH="1">
              <a:off x="6660484"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AutoShape 10">
              <a:extLst>
                <a:ext uri="{FF2B5EF4-FFF2-40B4-BE49-F238E27FC236}">
                  <a16:creationId xmlns:a16="http://schemas.microsoft.com/office/drawing/2014/main" id="{20ABA118-DA27-46AC-A91F-CD0812F95E45}"/>
                </a:ext>
              </a:extLst>
            </p:cNvPr>
            <p:cNvSpPr>
              <a:spLocks noChangeArrowheads="1"/>
            </p:cNvSpPr>
            <p:nvPr/>
          </p:nvSpPr>
          <p:spPr bwMode="auto">
            <a:xfrm rot="16200000" flipH="1">
              <a:off x="7768070"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AutoShape 11">
              <a:extLst>
                <a:ext uri="{FF2B5EF4-FFF2-40B4-BE49-F238E27FC236}">
                  <a16:creationId xmlns:a16="http://schemas.microsoft.com/office/drawing/2014/main" id="{CD29D602-E9F5-4830-B688-D0016C12A857}"/>
                </a:ext>
              </a:extLst>
            </p:cNvPr>
            <p:cNvSpPr>
              <a:spLocks noChangeArrowheads="1"/>
            </p:cNvSpPr>
            <p:nvPr/>
          </p:nvSpPr>
          <p:spPr bwMode="auto">
            <a:xfrm>
              <a:off x="1817688" y="2282168"/>
              <a:ext cx="8555037" cy="696507"/>
            </a:xfrm>
            <a:prstGeom prst="homePlate">
              <a:avLst>
                <a:gd name="adj" fmla="val 28859"/>
              </a:avLst>
            </a:prstGeom>
            <a:solidFill>
              <a:schemeClr val="accent3">
                <a:alpha val="8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3" name="AutoShape 12">
              <a:extLst>
                <a:ext uri="{FF2B5EF4-FFF2-40B4-BE49-F238E27FC236}">
                  <a16:creationId xmlns:a16="http://schemas.microsoft.com/office/drawing/2014/main" id="{44BC0A60-75A2-4011-9E4A-922F59FD62BF}"/>
                </a:ext>
              </a:extLst>
            </p:cNvPr>
            <p:cNvSpPr>
              <a:spLocks noChangeArrowheads="1"/>
            </p:cNvSpPr>
            <p:nvPr/>
          </p:nvSpPr>
          <p:spPr bwMode="auto">
            <a:xfrm>
              <a:off x="1817688" y="3067479"/>
              <a:ext cx="8555037" cy="696507"/>
            </a:xfrm>
            <a:prstGeom prst="homePlate">
              <a:avLst>
                <a:gd name="adj" fmla="val 28859"/>
              </a:avLst>
            </a:prstGeom>
            <a:solidFill>
              <a:schemeClr val="accent2">
                <a:alpha val="8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4" name="AutoShape 13">
              <a:extLst>
                <a:ext uri="{FF2B5EF4-FFF2-40B4-BE49-F238E27FC236}">
                  <a16:creationId xmlns:a16="http://schemas.microsoft.com/office/drawing/2014/main" id="{0D4252B3-5AB2-40AD-945E-EA870D679883}"/>
                </a:ext>
              </a:extLst>
            </p:cNvPr>
            <p:cNvSpPr>
              <a:spLocks noChangeArrowheads="1"/>
            </p:cNvSpPr>
            <p:nvPr/>
          </p:nvSpPr>
          <p:spPr bwMode="auto">
            <a:xfrm>
              <a:off x="1817688" y="3852789"/>
              <a:ext cx="8555037" cy="696507"/>
            </a:xfrm>
            <a:prstGeom prst="homePlate">
              <a:avLst>
                <a:gd name="adj" fmla="val 28859"/>
              </a:avLst>
            </a:prstGeom>
            <a:solidFill>
              <a:schemeClr val="accent1">
                <a:alpha val="8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5" name="Rectangle 14">
              <a:extLst>
                <a:ext uri="{FF2B5EF4-FFF2-40B4-BE49-F238E27FC236}">
                  <a16:creationId xmlns:a16="http://schemas.microsoft.com/office/drawing/2014/main" id="{E9808D16-C734-4BBB-86D0-36A6C232D2B5}"/>
                </a:ext>
              </a:extLst>
            </p:cNvPr>
            <p:cNvSpPr>
              <a:spLocks noChangeArrowheads="1"/>
            </p:cNvSpPr>
            <p:nvPr/>
          </p:nvSpPr>
          <p:spPr bwMode="auto">
            <a:xfrm>
              <a:off x="2283721" y="1366837"/>
              <a:ext cx="950223"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6" name="Rectangle 15">
              <a:extLst>
                <a:ext uri="{FF2B5EF4-FFF2-40B4-BE49-F238E27FC236}">
                  <a16:creationId xmlns:a16="http://schemas.microsoft.com/office/drawing/2014/main" id="{C8537466-65CB-49EA-A420-80370485E824}"/>
                </a:ext>
              </a:extLst>
            </p:cNvPr>
            <p:cNvSpPr>
              <a:spLocks noChangeArrowheads="1"/>
            </p:cNvSpPr>
            <p:nvPr/>
          </p:nvSpPr>
          <p:spPr bwMode="auto">
            <a:xfrm>
              <a:off x="339735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7" name="Rectangle 16">
              <a:extLst>
                <a:ext uri="{FF2B5EF4-FFF2-40B4-BE49-F238E27FC236}">
                  <a16:creationId xmlns:a16="http://schemas.microsoft.com/office/drawing/2014/main" id="{2411C62B-1005-44AF-8888-68BA722DA278}"/>
                </a:ext>
              </a:extLst>
            </p:cNvPr>
            <p:cNvSpPr>
              <a:spLocks noChangeArrowheads="1"/>
            </p:cNvSpPr>
            <p:nvPr/>
          </p:nvSpPr>
          <p:spPr bwMode="auto">
            <a:xfrm>
              <a:off x="450494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8" name="Rectangle 17">
              <a:extLst>
                <a:ext uri="{FF2B5EF4-FFF2-40B4-BE49-F238E27FC236}">
                  <a16:creationId xmlns:a16="http://schemas.microsoft.com/office/drawing/2014/main" id="{AF6E3FB3-87B6-4C7B-BC2C-73B6AAF7DDB9}"/>
                </a:ext>
              </a:extLst>
            </p:cNvPr>
            <p:cNvSpPr>
              <a:spLocks noChangeArrowheads="1"/>
            </p:cNvSpPr>
            <p:nvPr/>
          </p:nvSpPr>
          <p:spPr bwMode="auto">
            <a:xfrm>
              <a:off x="561252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9" name="Rectangle 18">
              <a:extLst>
                <a:ext uri="{FF2B5EF4-FFF2-40B4-BE49-F238E27FC236}">
                  <a16:creationId xmlns:a16="http://schemas.microsoft.com/office/drawing/2014/main" id="{678D6B4B-A97F-4DA1-A9B8-E05310C5F2D9}"/>
                </a:ext>
              </a:extLst>
            </p:cNvPr>
            <p:cNvSpPr>
              <a:spLocks noChangeArrowheads="1"/>
            </p:cNvSpPr>
            <p:nvPr/>
          </p:nvSpPr>
          <p:spPr bwMode="auto">
            <a:xfrm>
              <a:off x="6720115" y="1366837"/>
              <a:ext cx="947198"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0" name="Rectangle 19">
              <a:extLst>
                <a:ext uri="{FF2B5EF4-FFF2-40B4-BE49-F238E27FC236}">
                  <a16:creationId xmlns:a16="http://schemas.microsoft.com/office/drawing/2014/main" id="{1E01E7F5-FEFA-4F3E-AC7A-0F1DD49CF84C}"/>
                </a:ext>
              </a:extLst>
            </p:cNvPr>
            <p:cNvSpPr>
              <a:spLocks noChangeArrowheads="1"/>
            </p:cNvSpPr>
            <p:nvPr/>
          </p:nvSpPr>
          <p:spPr bwMode="auto">
            <a:xfrm>
              <a:off x="783072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2" name="Rectangle 20">
              <a:extLst>
                <a:ext uri="{FF2B5EF4-FFF2-40B4-BE49-F238E27FC236}">
                  <a16:creationId xmlns:a16="http://schemas.microsoft.com/office/drawing/2014/main" id="{B08A311E-F068-4CBA-BDC0-A1370A07C45D}"/>
                </a:ext>
              </a:extLst>
            </p:cNvPr>
            <p:cNvSpPr>
              <a:spLocks noChangeArrowheads="1"/>
            </p:cNvSpPr>
            <p:nvPr/>
          </p:nvSpPr>
          <p:spPr bwMode="auto">
            <a:xfrm>
              <a:off x="8938312"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grpSp>
      <p:sp>
        <p:nvSpPr>
          <p:cNvPr id="23" name="Rectangle 21">
            <a:extLst>
              <a:ext uri="{FF2B5EF4-FFF2-40B4-BE49-F238E27FC236}">
                <a16:creationId xmlns:a16="http://schemas.microsoft.com/office/drawing/2014/main" id="{A6C02E44-A147-4066-B80E-851B5530C802}"/>
              </a:ext>
            </a:extLst>
          </p:cNvPr>
          <p:cNvSpPr>
            <a:spLocks noChangeArrowheads="1"/>
          </p:cNvSpPr>
          <p:nvPr/>
        </p:nvSpPr>
        <p:spPr bwMode="auto">
          <a:xfrm>
            <a:off x="7759700" y="1893179"/>
            <a:ext cx="2959099" cy="3442199"/>
          </a:xfrm>
          <a:prstGeom prst="rect">
            <a:avLst/>
          </a:prstGeom>
          <a:solidFill>
            <a:schemeClr val="accent5"/>
          </a:solidFill>
          <a:ln w="6350">
            <a:noFill/>
            <a:miter lim="800000"/>
            <a:headEnd/>
            <a:tailEnd/>
          </a:ln>
        </p:spPr>
        <p:txBody>
          <a:bodyPr lIns="252000" tIns="144000" rIns="72000" bIns="72000"/>
          <a:lstStyle/>
          <a:p>
            <a:pPr marL="0" marR="0" lvl="0" indent="0" algn="l" defTabSz="914400" rtl="0" eaLnBrk="0" fontAlgn="auto" latinLnBrk="0" hangingPunct="0">
              <a:lnSpc>
                <a:spcPct val="85000"/>
              </a:lnSpc>
              <a:spcBef>
                <a:spcPts val="100"/>
              </a:spcBef>
              <a:spcAft>
                <a:spcPts val="3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Graphik Blac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US" sz="16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F6271B6B-9874-411D-9F1E-03D6F1D2159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90992140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Matrix – Transparent 2</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6420FF76-9D98-432C-A52E-81F3B54BFDCB}"/>
              </a:ext>
            </a:extLst>
          </p:cNvPr>
          <p:cNvGrpSpPr/>
          <p:nvPr/>
        </p:nvGrpSpPr>
        <p:grpSpPr>
          <a:xfrm>
            <a:off x="1817688" y="1891972"/>
            <a:ext cx="5583600" cy="3445200"/>
            <a:chOff x="1817688" y="1366837"/>
            <a:chExt cx="8555037" cy="3970336"/>
          </a:xfrm>
        </p:grpSpPr>
        <p:sp>
          <p:nvSpPr>
            <p:cNvPr id="5" name="AutoShape 4">
              <a:extLst>
                <a:ext uri="{FF2B5EF4-FFF2-40B4-BE49-F238E27FC236}">
                  <a16:creationId xmlns:a16="http://schemas.microsoft.com/office/drawing/2014/main" id="{BF801484-2C2C-493F-9EA6-608F3E73CECE}"/>
                </a:ext>
              </a:extLst>
            </p:cNvPr>
            <p:cNvSpPr>
              <a:spLocks noChangeArrowheads="1"/>
            </p:cNvSpPr>
            <p:nvPr/>
          </p:nvSpPr>
          <p:spPr bwMode="auto">
            <a:xfrm rot="16200000" flipH="1">
              <a:off x="2227116"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AutoShape 5">
              <a:extLst>
                <a:ext uri="{FF2B5EF4-FFF2-40B4-BE49-F238E27FC236}">
                  <a16:creationId xmlns:a16="http://schemas.microsoft.com/office/drawing/2014/main" id="{A8CA880B-F6FC-4277-8E61-F8273857142E}"/>
                </a:ext>
              </a:extLst>
            </p:cNvPr>
            <p:cNvSpPr>
              <a:spLocks noChangeArrowheads="1"/>
            </p:cNvSpPr>
            <p:nvPr/>
          </p:nvSpPr>
          <p:spPr bwMode="auto">
            <a:xfrm rot="16200000" flipH="1">
              <a:off x="1116505" y="3222205"/>
              <a:ext cx="3284654" cy="941144"/>
            </a:xfrm>
            <a:prstGeom prst="homePlate">
              <a:avLst>
                <a:gd name="adj" fmla="val 29053"/>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AutoShape 6">
              <a:extLst>
                <a:ext uri="{FF2B5EF4-FFF2-40B4-BE49-F238E27FC236}">
                  <a16:creationId xmlns:a16="http://schemas.microsoft.com/office/drawing/2014/main" id="{BB6A9853-235A-4353-A09B-7128E7287112}"/>
                </a:ext>
              </a:extLst>
            </p:cNvPr>
            <p:cNvSpPr>
              <a:spLocks noChangeArrowheads="1"/>
            </p:cNvSpPr>
            <p:nvPr/>
          </p:nvSpPr>
          <p:spPr bwMode="auto">
            <a:xfrm rot="16200000" flipH="1">
              <a:off x="3337729"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AutoShape 7">
              <a:extLst>
                <a:ext uri="{FF2B5EF4-FFF2-40B4-BE49-F238E27FC236}">
                  <a16:creationId xmlns:a16="http://schemas.microsoft.com/office/drawing/2014/main" id="{F7ADF9BE-2D01-495D-9348-720994B51FFC}"/>
                </a:ext>
              </a:extLst>
            </p:cNvPr>
            <p:cNvSpPr>
              <a:spLocks noChangeArrowheads="1"/>
            </p:cNvSpPr>
            <p:nvPr/>
          </p:nvSpPr>
          <p:spPr bwMode="auto">
            <a:xfrm rot="16200000" flipH="1">
              <a:off x="4445313"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 name="AutoShape 8">
              <a:extLst>
                <a:ext uri="{FF2B5EF4-FFF2-40B4-BE49-F238E27FC236}">
                  <a16:creationId xmlns:a16="http://schemas.microsoft.com/office/drawing/2014/main" id="{2E8B70F7-0BFE-456C-B190-628E006E54D8}"/>
                </a:ext>
              </a:extLst>
            </p:cNvPr>
            <p:cNvSpPr>
              <a:spLocks noChangeArrowheads="1"/>
            </p:cNvSpPr>
            <p:nvPr/>
          </p:nvSpPr>
          <p:spPr bwMode="auto">
            <a:xfrm rot="16200000" flipH="1">
              <a:off x="5552899"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AutoShape 9">
              <a:extLst>
                <a:ext uri="{FF2B5EF4-FFF2-40B4-BE49-F238E27FC236}">
                  <a16:creationId xmlns:a16="http://schemas.microsoft.com/office/drawing/2014/main" id="{052AAAE2-27EB-4BA1-A892-B8DD350AD036}"/>
                </a:ext>
              </a:extLst>
            </p:cNvPr>
            <p:cNvSpPr>
              <a:spLocks noChangeArrowheads="1"/>
            </p:cNvSpPr>
            <p:nvPr/>
          </p:nvSpPr>
          <p:spPr bwMode="auto">
            <a:xfrm rot="16200000" flipH="1">
              <a:off x="6660484" y="3224274"/>
              <a:ext cx="3284654" cy="941144"/>
            </a:xfrm>
            <a:prstGeom prst="homePlate">
              <a:avLst>
                <a:gd name="adj" fmla="val 28958"/>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AutoShape 10">
              <a:extLst>
                <a:ext uri="{FF2B5EF4-FFF2-40B4-BE49-F238E27FC236}">
                  <a16:creationId xmlns:a16="http://schemas.microsoft.com/office/drawing/2014/main" id="{1459DBF3-AC9E-4F57-A6AE-96D6055B9E4B}"/>
                </a:ext>
              </a:extLst>
            </p:cNvPr>
            <p:cNvSpPr>
              <a:spLocks noChangeArrowheads="1"/>
            </p:cNvSpPr>
            <p:nvPr/>
          </p:nvSpPr>
          <p:spPr bwMode="auto">
            <a:xfrm rot="16200000" flipH="1">
              <a:off x="7768070" y="3224274"/>
              <a:ext cx="3284654" cy="941144"/>
            </a:xfrm>
            <a:prstGeom prst="homePlate">
              <a:avLst>
                <a:gd name="adj" fmla="val 28864"/>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Rectangle 14">
              <a:extLst>
                <a:ext uri="{FF2B5EF4-FFF2-40B4-BE49-F238E27FC236}">
                  <a16:creationId xmlns:a16="http://schemas.microsoft.com/office/drawing/2014/main" id="{F31F6637-5181-4590-A2C9-C74915623CFD}"/>
                </a:ext>
              </a:extLst>
            </p:cNvPr>
            <p:cNvSpPr>
              <a:spLocks noChangeArrowheads="1"/>
            </p:cNvSpPr>
            <p:nvPr/>
          </p:nvSpPr>
          <p:spPr bwMode="auto">
            <a:xfrm>
              <a:off x="2283721" y="1366837"/>
              <a:ext cx="950223"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Rectangle 15">
              <a:extLst>
                <a:ext uri="{FF2B5EF4-FFF2-40B4-BE49-F238E27FC236}">
                  <a16:creationId xmlns:a16="http://schemas.microsoft.com/office/drawing/2014/main" id="{EE414ED9-AE1E-492D-8D7D-E5378BF61117}"/>
                </a:ext>
              </a:extLst>
            </p:cNvPr>
            <p:cNvSpPr>
              <a:spLocks noChangeArrowheads="1"/>
            </p:cNvSpPr>
            <p:nvPr/>
          </p:nvSpPr>
          <p:spPr bwMode="auto">
            <a:xfrm>
              <a:off x="339735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Rectangle 16">
              <a:extLst>
                <a:ext uri="{FF2B5EF4-FFF2-40B4-BE49-F238E27FC236}">
                  <a16:creationId xmlns:a16="http://schemas.microsoft.com/office/drawing/2014/main" id="{4EE39B1D-CDDE-4403-9F2A-872CE859C0D8}"/>
                </a:ext>
              </a:extLst>
            </p:cNvPr>
            <p:cNvSpPr>
              <a:spLocks noChangeArrowheads="1"/>
            </p:cNvSpPr>
            <p:nvPr/>
          </p:nvSpPr>
          <p:spPr bwMode="auto">
            <a:xfrm>
              <a:off x="450494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5" name="Rectangle 17">
              <a:extLst>
                <a:ext uri="{FF2B5EF4-FFF2-40B4-BE49-F238E27FC236}">
                  <a16:creationId xmlns:a16="http://schemas.microsoft.com/office/drawing/2014/main" id="{B67E8AD0-1BF0-4A61-BF0C-A82459FCB0FD}"/>
                </a:ext>
              </a:extLst>
            </p:cNvPr>
            <p:cNvSpPr>
              <a:spLocks noChangeArrowheads="1"/>
            </p:cNvSpPr>
            <p:nvPr/>
          </p:nvSpPr>
          <p:spPr bwMode="auto">
            <a:xfrm>
              <a:off x="5612528"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6" name="Rectangle 18">
              <a:extLst>
                <a:ext uri="{FF2B5EF4-FFF2-40B4-BE49-F238E27FC236}">
                  <a16:creationId xmlns:a16="http://schemas.microsoft.com/office/drawing/2014/main" id="{E1E7CB54-A1D6-4FC8-B49A-47A0468B6092}"/>
                </a:ext>
              </a:extLst>
            </p:cNvPr>
            <p:cNvSpPr>
              <a:spLocks noChangeArrowheads="1"/>
            </p:cNvSpPr>
            <p:nvPr/>
          </p:nvSpPr>
          <p:spPr bwMode="auto">
            <a:xfrm>
              <a:off x="6720115" y="1366837"/>
              <a:ext cx="947198"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7" name="Rectangle 19">
              <a:extLst>
                <a:ext uri="{FF2B5EF4-FFF2-40B4-BE49-F238E27FC236}">
                  <a16:creationId xmlns:a16="http://schemas.microsoft.com/office/drawing/2014/main" id="{C4DCF0FD-D5F7-4D0A-A7A0-DCE96FD57023}"/>
                </a:ext>
              </a:extLst>
            </p:cNvPr>
            <p:cNvSpPr>
              <a:spLocks noChangeArrowheads="1"/>
            </p:cNvSpPr>
            <p:nvPr/>
          </p:nvSpPr>
          <p:spPr bwMode="auto">
            <a:xfrm>
              <a:off x="7830725"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8" name="Rectangle 20">
              <a:extLst>
                <a:ext uri="{FF2B5EF4-FFF2-40B4-BE49-F238E27FC236}">
                  <a16:creationId xmlns:a16="http://schemas.microsoft.com/office/drawing/2014/main" id="{C1AE090D-61B3-4605-B9DE-E50164CBA0BA}"/>
                </a:ext>
              </a:extLst>
            </p:cNvPr>
            <p:cNvSpPr>
              <a:spLocks noChangeArrowheads="1"/>
            </p:cNvSpPr>
            <p:nvPr/>
          </p:nvSpPr>
          <p:spPr bwMode="auto">
            <a:xfrm>
              <a:off x="8938312" y="1366837"/>
              <a:ext cx="944171" cy="562611"/>
            </a:xfrm>
            <a:prstGeom prst="rect">
              <a:avLst/>
            </a:prstGeom>
            <a:solidFill>
              <a:srgbClr val="96968C">
                <a:lumMod val="20000"/>
                <a:lumOff val="80000"/>
              </a:srgb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9" name="AutoShape 11">
              <a:extLst>
                <a:ext uri="{FF2B5EF4-FFF2-40B4-BE49-F238E27FC236}">
                  <a16:creationId xmlns:a16="http://schemas.microsoft.com/office/drawing/2014/main" id="{411C8971-1C69-43B0-A0D3-5C22EF9F16DD}"/>
                </a:ext>
              </a:extLst>
            </p:cNvPr>
            <p:cNvSpPr>
              <a:spLocks noChangeArrowheads="1"/>
            </p:cNvSpPr>
            <p:nvPr/>
          </p:nvSpPr>
          <p:spPr bwMode="auto">
            <a:xfrm>
              <a:off x="1817688" y="2282168"/>
              <a:ext cx="8555037" cy="546478"/>
            </a:xfrm>
            <a:prstGeom prst="homePlate">
              <a:avLst>
                <a:gd name="adj" fmla="val 28859"/>
              </a:avLst>
            </a:prstGeom>
            <a:solidFill>
              <a:schemeClr val="accent3">
                <a:alpha val="8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20" name="AutoShape 12">
              <a:extLst>
                <a:ext uri="{FF2B5EF4-FFF2-40B4-BE49-F238E27FC236}">
                  <a16:creationId xmlns:a16="http://schemas.microsoft.com/office/drawing/2014/main" id="{70FC9B72-CF18-4B08-A1C8-1CEA4304C99A}"/>
                </a:ext>
              </a:extLst>
            </p:cNvPr>
            <p:cNvSpPr>
              <a:spLocks noChangeArrowheads="1"/>
            </p:cNvSpPr>
            <p:nvPr/>
          </p:nvSpPr>
          <p:spPr bwMode="auto">
            <a:xfrm>
              <a:off x="1817688" y="2908830"/>
              <a:ext cx="8555037" cy="546478"/>
            </a:xfrm>
            <a:prstGeom prst="homePlate">
              <a:avLst>
                <a:gd name="adj" fmla="val 28859"/>
              </a:avLst>
            </a:prstGeom>
            <a:solidFill>
              <a:schemeClr val="accent2">
                <a:alpha val="8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22" name="AutoShape 13">
              <a:extLst>
                <a:ext uri="{FF2B5EF4-FFF2-40B4-BE49-F238E27FC236}">
                  <a16:creationId xmlns:a16="http://schemas.microsoft.com/office/drawing/2014/main" id="{0316EEF6-F9C0-4FD0-9830-89B8B454C49C}"/>
                </a:ext>
              </a:extLst>
            </p:cNvPr>
            <p:cNvSpPr>
              <a:spLocks noChangeArrowheads="1"/>
            </p:cNvSpPr>
            <p:nvPr/>
          </p:nvSpPr>
          <p:spPr bwMode="auto">
            <a:xfrm>
              <a:off x="1817688" y="3535492"/>
              <a:ext cx="8555037" cy="546478"/>
            </a:xfrm>
            <a:prstGeom prst="homePlate">
              <a:avLst>
                <a:gd name="adj" fmla="val 28859"/>
              </a:avLst>
            </a:prstGeom>
            <a:solidFill>
              <a:schemeClr val="accent1">
                <a:alpha val="8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23" name="AutoShape 13">
              <a:extLst>
                <a:ext uri="{FF2B5EF4-FFF2-40B4-BE49-F238E27FC236}">
                  <a16:creationId xmlns:a16="http://schemas.microsoft.com/office/drawing/2014/main" id="{3617DF1C-E357-447C-8638-54FEF3158385}"/>
                </a:ext>
              </a:extLst>
            </p:cNvPr>
            <p:cNvSpPr>
              <a:spLocks noChangeArrowheads="1"/>
            </p:cNvSpPr>
            <p:nvPr/>
          </p:nvSpPr>
          <p:spPr bwMode="auto">
            <a:xfrm>
              <a:off x="1817688" y="4162155"/>
              <a:ext cx="8555037" cy="546478"/>
            </a:xfrm>
            <a:prstGeom prst="homePlate">
              <a:avLst>
                <a:gd name="adj" fmla="val 28859"/>
              </a:avLst>
            </a:prstGeom>
            <a:solidFill>
              <a:schemeClr val="accent5">
                <a:alpha val="80000"/>
              </a:schemeClr>
            </a:solidFill>
            <a:ln w="6350">
              <a:noFill/>
              <a:miter lim="800000"/>
              <a:headEnd/>
              <a:tailEnd/>
            </a:ln>
            <a:effectLst/>
          </p:spPr>
          <p:txBody>
            <a:bodyPr wrap="none" lIns="45720" rIns="45720" anchor="ctr" anchorCtr="1"/>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Graphik Black"/>
                  <a:ea typeface="+mn-ea"/>
                  <a:cs typeface="+mn-cs"/>
                </a:rPr>
                <a:t>Text</a:t>
              </a:r>
            </a:p>
          </p:txBody>
        </p:sp>
      </p:grpSp>
      <p:sp>
        <p:nvSpPr>
          <p:cNvPr id="3" name="Rectangle 2">
            <a:hlinkClick r:id="rId3" action="ppaction://hlinksldjump"/>
            <a:extLst>
              <a:ext uri="{FF2B5EF4-FFF2-40B4-BE49-F238E27FC236}">
                <a16:creationId xmlns:a16="http://schemas.microsoft.com/office/drawing/2014/main" id="{2E38608C-F138-4E08-B187-35BEC1AED96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270877867"/>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B4CE5-0F43-4DF2-8DAA-E502B1B65463}"/>
              </a:ext>
            </a:extLst>
          </p:cNvPr>
          <p:cNvSpPr>
            <a:spLocks noGrp="1"/>
          </p:cNvSpPr>
          <p:nvPr>
            <p:ph type="title"/>
          </p:nvPr>
        </p:nvSpPr>
        <p:spPr/>
        <p:txBody>
          <a:bodyPr/>
          <a:lstStyle/>
          <a:p>
            <a:r>
              <a:rPr lang="en-US" dirty="0"/>
              <a:t>Other Structures</a:t>
            </a:r>
          </a:p>
        </p:txBody>
      </p:sp>
      <p:sp>
        <p:nvSpPr>
          <p:cNvPr id="7" name="Text Placeholder 6">
            <a:extLst>
              <a:ext uri="{FF2B5EF4-FFF2-40B4-BE49-F238E27FC236}">
                <a16:creationId xmlns:a16="http://schemas.microsoft.com/office/drawing/2014/main" id="{1E670C24-CACF-493D-A098-6BC029CB6335}"/>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Static Objects</a:t>
            </a:r>
            <a:endParaRPr lang="en-US" dirty="0"/>
          </a:p>
        </p:txBody>
      </p:sp>
      <p:sp>
        <p:nvSpPr>
          <p:cNvPr id="4" name="Freeform: Shape 3">
            <a:hlinkClick r:id="rId4" action="ppaction://hlinksldjump"/>
            <a:extLst>
              <a:ext uri="{FF2B5EF4-FFF2-40B4-BE49-F238E27FC236}">
                <a16:creationId xmlns:a16="http://schemas.microsoft.com/office/drawing/2014/main" id="{2C534FF6-7CDE-4A3C-A1FF-62468A50E39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D6BA2D61-7151-4DF4-85BD-04DCDB3895D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87488087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yramid Components 1</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AutoShape 9">
            <a:extLst>
              <a:ext uri="{FF2B5EF4-FFF2-40B4-BE49-F238E27FC236}">
                <a16:creationId xmlns:a16="http://schemas.microsoft.com/office/drawing/2014/main" id="{A69B36D2-238D-4D25-ACD9-B8CE70BD4398}"/>
              </a:ext>
            </a:extLst>
          </p:cNvPr>
          <p:cNvSpPr>
            <a:spLocks noChangeArrowheads="1"/>
          </p:cNvSpPr>
          <p:nvPr/>
        </p:nvSpPr>
        <p:spPr bwMode="auto">
          <a:xfrm>
            <a:off x="3792539" y="4237719"/>
            <a:ext cx="4592637" cy="1299458"/>
          </a:xfrm>
          <a:prstGeom prst="triangle">
            <a:avLst>
              <a:gd name="adj" fmla="val 50000"/>
            </a:avLst>
          </a:prstGeom>
          <a:solidFill>
            <a:schemeClr val="accent2"/>
          </a:solidFill>
          <a:ln w="12700">
            <a:solidFill>
              <a:srgbClr val="FFFFFF"/>
            </a:solidFill>
            <a:miter lim="800000"/>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5" name="AutoShape 10">
            <a:extLst>
              <a:ext uri="{FF2B5EF4-FFF2-40B4-BE49-F238E27FC236}">
                <a16:creationId xmlns:a16="http://schemas.microsoft.com/office/drawing/2014/main" id="{15A27469-AB2F-4BC8-95A8-C1AF430BFC08}"/>
              </a:ext>
            </a:extLst>
          </p:cNvPr>
          <p:cNvSpPr>
            <a:spLocks noChangeArrowheads="1"/>
          </p:cNvSpPr>
          <p:nvPr/>
        </p:nvSpPr>
        <p:spPr bwMode="auto">
          <a:xfrm rot="7221808">
            <a:off x="3251255" y="3232984"/>
            <a:ext cx="4556125" cy="1347708"/>
          </a:xfrm>
          <a:prstGeom prst="triangle">
            <a:avLst>
              <a:gd name="adj" fmla="val 50000"/>
            </a:avLst>
          </a:prstGeom>
          <a:solidFill>
            <a:schemeClr val="accent2">
              <a:lumMod val="40000"/>
              <a:lumOff val="60000"/>
            </a:schemeClr>
          </a:solidFill>
          <a:ln w="12700">
            <a:solidFill>
              <a:srgbClr val="FFFFFF"/>
            </a:solidFill>
            <a:miter lim="800000"/>
            <a:headEnd/>
            <a:tailEnd/>
          </a:ln>
          <a:effectLst/>
        </p:spPr>
        <p:txBody>
          <a:bodyPr rot="10800000" vert="eaVert" wrap="none" lIns="36000" tIns="36000" rIns="36000" b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6" name="AutoShape 11">
            <a:extLst>
              <a:ext uri="{FF2B5EF4-FFF2-40B4-BE49-F238E27FC236}">
                <a16:creationId xmlns:a16="http://schemas.microsoft.com/office/drawing/2014/main" id="{47B72FB3-6BF5-4FD5-A9AE-CF91FAB182B7}"/>
              </a:ext>
            </a:extLst>
          </p:cNvPr>
          <p:cNvSpPr>
            <a:spLocks noChangeArrowheads="1"/>
          </p:cNvSpPr>
          <p:nvPr/>
        </p:nvSpPr>
        <p:spPr bwMode="auto">
          <a:xfrm rot="14378192" flipH="1">
            <a:off x="4406433" y="3249028"/>
            <a:ext cx="4532061" cy="1329659"/>
          </a:xfrm>
          <a:prstGeom prst="triangle">
            <a:avLst>
              <a:gd name="adj" fmla="val 50000"/>
            </a:avLst>
          </a:prstGeom>
          <a:solidFill>
            <a:schemeClr val="accent2">
              <a:lumMod val="40000"/>
              <a:lumOff val="60000"/>
            </a:schemeClr>
          </a:solidFill>
          <a:ln w="12700">
            <a:solidFill>
              <a:srgbClr val="FFFFFF"/>
            </a:solidFill>
            <a:miter lim="800000"/>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Text Box 12">
            <a:extLst>
              <a:ext uri="{FF2B5EF4-FFF2-40B4-BE49-F238E27FC236}">
                <a16:creationId xmlns:a16="http://schemas.microsoft.com/office/drawing/2014/main" id="{946DB9C1-BC51-4435-A005-B35B6D9E2D70}"/>
              </a:ext>
            </a:extLst>
          </p:cNvPr>
          <p:cNvSpPr txBox="1">
            <a:spLocks noChangeArrowheads="1"/>
          </p:cNvSpPr>
          <p:nvPr/>
        </p:nvSpPr>
        <p:spPr bwMode="auto">
          <a:xfrm>
            <a:off x="7641129" y="2791871"/>
            <a:ext cx="744047" cy="364971"/>
          </a:xfrm>
          <a:prstGeom prst="rect">
            <a:avLst/>
          </a:prstGeom>
          <a:noFill/>
          <a:ln w="12700">
            <a:noFill/>
            <a:miter lim="800000"/>
            <a:headEnd/>
            <a:tailEnd/>
          </a:ln>
          <a:effectLst/>
        </p:spPr>
        <p:txBody>
          <a:bodyPr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Text Box 13">
            <a:extLst>
              <a:ext uri="{FF2B5EF4-FFF2-40B4-BE49-F238E27FC236}">
                <a16:creationId xmlns:a16="http://schemas.microsoft.com/office/drawing/2014/main" id="{77C4CBE0-5F02-4485-A1B6-FD5D8C63AD68}"/>
              </a:ext>
            </a:extLst>
          </p:cNvPr>
          <p:cNvSpPr txBox="1">
            <a:spLocks noChangeArrowheads="1"/>
          </p:cNvSpPr>
          <p:nvPr/>
        </p:nvSpPr>
        <p:spPr bwMode="auto">
          <a:xfrm>
            <a:off x="3792539" y="2791871"/>
            <a:ext cx="744047" cy="364971"/>
          </a:xfrm>
          <a:prstGeom prst="rect">
            <a:avLst/>
          </a:prstGeom>
          <a:noFill/>
          <a:ln w="12700">
            <a:noFill/>
            <a:miter lim="800000"/>
            <a:headEnd/>
            <a:tailEnd/>
          </a:ln>
          <a:effectLst/>
        </p:spPr>
        <p:txBody>
          <a:bodyPr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9" name="Text Box 14">
            <a:extLst>
              <a:ext uri="{FF2B5EF4-FFF2-40B4-BE49-F238E27FC236}">
                <a16:creationId xmlns:a16="http://schemas.microsoft.com/office/drawing/2014/main" id="{2F809C66-10D0-4AFB-979F-689D98DEB800}"/>
              </a:ext>
            </a:extLst>
          </p:cNvPr>
          <p:cNvSpPr txBox="1">
            <a:spLocks noChangeArrowheads="1"/>
          </p:cNvSpPr>
          <p:nvPr/>
        </p:nvSpPr>
        <p:spPr bwMode="auto">
          <a:xfrm>
            <a:off x="5723853" y="5819930"/>
            <a:ext cx="744047" cy="364971"/>
          </a:xfrm>
          <a:prstGeom prst="rect">
            <a:avLst/>
          </a:prstGeom>
          <a:noFill/>
          <a:ln w="12700">
            <a:noFill/>
            <a:miter lim="800000"/>
            <a:headEnd/>
            <a:tailEnd/>
          </a:ln>
          <a:effectLst/>
        </p:spPr>
        <p:txBody>
          <a:bodyPr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rgbClr val="000000"/>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510BF677-87CA-4F01-BCA3-7DDBC6E1DE9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106091829"/>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Stacked Pyramid – 3 Layers</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uppieren 24">
            <a:extLst>
              <a:ext uri="{FF2B5EF4-FFF2-40B4-BE49-F238E27FC236}">
                <a16:creationId xmlns:a16="http://schemas.microsoft.com/office/drawing/2014/main" id="{63BEF8DB-1495-46D5-ABF5-EC96643CDF96}"/>
              </a:ext>
            </a:extLst>
          </p:cNvPr>
          <p:cNvGrpSpPr/>
          <p:nvPr/>
        </p:nvGrpSpPr>
        <p:grpSpPr bwMode="auto">
          <a:xfrm>
            <a:off x="3530315" y="1628801"/>
            <a:ext cx="5131371" cy="4422775"/>
            <a:chOff x="2644973" y="1952625"/>
            <a:chExt cx="3854053" cy="3321843"/>
          </a:xfrm>
        </p:grpSpPr>
        <p:sp>
          <p:nvSpPr>
            <p:cNvPr id="5" name="Trapezoid 4">
              <a:extLst>
                <a:ext uri="{FF2B5EF4-FFF2-40B4-BE49-F238E27FC236}">
                  <a16:creationId xmlns:a16="http://schemas.microsoft.com/office/drawing/2014/main" id="{D0B96084-4796-4159-B832-0A41ED190252}"/>
                </a:ext>
              </a:extLst>
            </p:cNvPr>
            <p:cNvSpPr/>
            <p:nvPr/>
          </p:nvSpPr>
          <p:spPr bwMode="auto">
            <a:xfrm>
              <a:off x="3929657" y="1952625"/>
              <a:ext cx="1284684" cy="1107281"/>
            </a:xfrm>
            <a:prstGeom prst="trapezoid">
              <a:avLst>
                <a:gd name="adj" fmla="val 58011"/>
              </a:avLst>
            </a:prstGeom>
            <a:solidFill>
              <a:schemeClr val="accent3"/>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6" name="Trapezoid 5">
              <a:extLst>
                <a:ext uri="{FF2B5EF4-FFF2-40B4-BE49-F238E27FC236}">
                  <a16:creationId xmlns:a16="http://schemas.microsoft.com/office/drawing/2014/main" id="{8C63B1F5-F74D-46FA-B363-A43259969ECB}"/>
                </a:ext>
              </a:extLst>
            </p:cNvPr>
            <p:cNvSpPr/>
            <p:nvPr/>
          </p:nvSpPr>
          <p:spPr bwMode="auto">
            <a:xfrm>
              <a:off x="3287315" y="3059906"/>
              <a:ext cx="2569369" cy="1107281"/>
            </a:xfrm>
            <a:prstGeom prst="trapezoid">
              <a:avLst>
                <a:gd name="adj" fmla="val 58011"/>
              </a:avLst>
            </a:prstGeom>
            <a:solidFill>
              <a:schemeClr val="accent2"/>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7" name="Trapezoid 6">
              <a:extLst>
                <a:ext uri="{FF2B5EF4-FFF2-40B4-BE49-F238E27FC236}">
                  <a16:creationId xmlns:a16="http://schemas.microsoft.com/office/drawing/2014/main" id="{A54934F1-10D2-4D1A-9F6D-6BA4A0819739}"/>
                </a:ext>
              </a:extLst>
            </p:cNvPr>
            <p:cNvSpPr/>
            <p:nvPr/>
          </p:nvSpPr>
          <p:spPr bwMode="auto">
            <a:xfrm>
              <a:off x="2644973" y="4167187"/>
              <a:ext cx="3854053" cy="1107281"/>
            </a:xfrm>
            <a:prstGeom prst="trapezoid">
              <a:avLst>
                <a:gd name="adj" fmla="val 58011"/>
              </a:avLst>
            </a:prstGeom>
            <a:solidFill>
              <a:schemeClr val="accent1"/>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F32C2C27-2AD1-435E-8140-3A1067FC9A5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492534"/>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Stacked Pyramid – 4 Layers</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D957A1E4-4FF7-4197-B855-A2F14512FF7F}"/>
              </a:ext>
            </a:extLst>
          </p:cNvPr>
          <p:cNvGrpSpPr/>
          <p:nvPr/>
        </p:nvGrpSpPr>
        <p:grpSpPr>
          <a:xfrm>
            <a:off x="3526631" y="1628800"/>
            <a:ext cx="5138738" cy="4429124"/>
            <a:chOff x="3526631" y="1628800"/>
            <a:chExt cx="5138738" cy="4429124"/>
          </a:xfrm>
        </p:grpSpPr>
        <p:sp>
          <p:nvSpPr>
            <p:cNvPr id="5" name="Trapezoid 4">
              <a:extLst>
                <a:ext uri="{FF2B5EF4-FFF2-40B4-BE49-F238E27FC236}">
                  <a16:creationId xmlns:a16="http://schemas.microsoft.com/office/drawing/2014/main" id="{80F2FD35-D85D-4C62-B027-9806B985318A}"/>
                </a:ext>
              </a:extLst>
            </p:cNvPr>
            <p:cNvSpPr/>
            <p:nvPr/>
          </p:nvSpPr>
          <p:spPr bwMode="auto">
            <a:xfrm>
              <a:off x="5453657" y="1628800"/>
              <a:ext cx="1284684" cy="1107281"/>
            </a:xfrm>
            <a:prstGeom prst="trapezoid">
              <a:avLst>
                <a:gd name="adj" fmla="val 58011"/>
              </a:avLst>
            </a:prstGeom>
            <a:solidFill>
              <a:schemeClr val="accent3"/>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FFFFFF"/>
                  </a:solidFill>
                  <a:effectLst/>
                  <a:uLnTx/>
                  <a:uFillTx/>
                  <a:latin typeface="Graphik"/>
                  <a:ea typeface="+mn-ea"/>
                  <a:cs typeface="+mn-cs"/>
                </a:rPr>
                <a:t>Text</a:t>
              </a:r>
              <a:endParaRPr kumimoji="0" lang="de-DE" sz="1400" b="1" i="0" u="none" strike="noStrike" kern="0" cap="none" spc="0" normalizeH="0" baseline="0" noProof="0" dirty="0">
                <a:ln>
                  <a:noFill/>
                </a:ln>
                <a:solidFill>
                  <a:srgbClr val="FFFFFF"/>
                </a:solidFill>
                <a:effectLst/>
                <a:uLnTx/>
                <a:uFillTx/>
                <a:latin typeface="Graphik"/>
                <a:ea typeface="+mn-ea"/>
                <a:cs typeface="+mn-cs"/>
              </a:endParaRPr>
            </a:p>
          </p:txBody>
        </p:sp>
        <p:sp>
          <p:nvSpPr>
            <p:cNvPr id="6" name="Trapezoid 5">
              <a:extLst>
                <a:ext uri="{FF2B5EF4-FFF2-40B4-BE49-F238E27FC236}">
                  <a16:creationId xmlns:a16="http://schemas.microsoft.com/office/drawing/2014/main" id="{97C4729F-30F2-4745-8D05-832D80493311}"/>
                </a:ext>
              </a:extLst>
            </p:cNvPr>
            <p:cNvSpPr/>
            <p:nvPr/>
          </p:nvSpPr>
          <p:spPr bwMode="auto">
            <a:xfrm>
              <a:off x="4811315" y="2736081"/>
              <a:ext cx="2569369" cy="1107281"/>
            </a:xfrm>
            <a:prstGeom prst="trapezoid">
              <a:avLst>
                <a:gd name="adj" fmla="val 58011"/>
              </a:avLst>
            </a:prstGeom>
            <a:solidFill>
              <a:schemeClr val="accent2"/>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7" name="Trapezoid 6">
              <a:extLst>
                <a:ext uri="{FF2B5EF4-FFF2-40B4-BE49-F238E27FC236}">
                  <a16:creationId xmlns:a16="http://schemas.microsoft.com/office/drawing/2014/main" id="{D5A42758-BB71-4C64-AA11-64CA090A4B51}"/>
                </a:ext>
              </a:extLst>
            </p:cNvPr>
            <p:cNvSpPr/>
            <p:nvPr/>
          </p:nvSpPr>
          <p:spPr bwMode="auto">
            <a:xfrm>
              <a:off x="4168973" y="3843362"/>
              <a:ext cx="3854053" cy="1107281"/>
            </a:xfrm>
            <a:prstGeom prst="trapezoid">
              <a:avLst>
                <a:gd name="adj" fmla="val 58011"/>
              </a:avLst>
            </a:prstGeom>
            <a:solidFill>
              <a:schemeClr val="accent1"/>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8" name="Trapezoid 7">
              <a:extLst>
                <a:ext uri="{FF2B5EF4-FFF2-40B4-BE49-F238E27FC236}">
                  <a16:creationId xmlns:a16="http://schemas.microsoft.com/office/drawing/2014/main" id="{DD9EB736-2636-4B04-994F-E52669DCFC30}"/>
                </a:ext>
              </a:extLst>
            </p:cNvPr>
            <p:cNvSpPr/>
            <p:nvPr/>
          </p:nvSpPr>
          <p:spPr bwMode="auto">
            <a:xfrm>
              <a:off x="3526631" y="4950643"/>
              <a:ext cx="5138738" cy="1107281"/>
            </a:xfrm>
            <a:prstGeom prst="trapezoid">
              <a:avLst>
                <a:gd name="adj" fmla="val 58011"/>
              </a:avLst>
            </a:prstGeom>
            <a:solidFill>
              <a:schemeClr val="accent5"/>
            </a:solidFill>
            <a:ln w="25400" cap="flat" cmpd="sng" algn="ctr">
              <a:noFill/>
              <a:prstDash val="solid"/>
            </a:ln>
            <a:effectLst/>
          </p:spPr>
          <p:txBody>
            <a:bodyPr lIns="36000" tIns="72000" rIns="36000" bIns="720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FFFFFF"/>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2E69A805-DD31-460A-8BB9-807A50EA9B8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118427948"/>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yramid/Factors</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A5663C01-3F2B-401B-80DE-F90B330FFB1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7" name="Freeform 27">
            <a:extLst>
              <a:ext uri="{FF2B5EF4-FFF2-40B4-BE49-F238E27FC236}">
                <a16:creationId xmlns:a16="http://schemas.microsoft.com/office/drawing/2014/main" id="{714CA666-61A1-4331-9933-C51D489DC27D}"/>
              </a:ext>
            </a:extLst>
          </p:cNvPr>
          <p:cNvSpPr>
            <a:spLocks/>
          </p:cNvSpPr>
          <p:nvPr/>
        </p:nvSpPr>
        <p:spPr bwMode="auto">
          <a:xfrm>
            <a:off x="5158222" y="1393815"/>
            <a:ext cx="1866900" cy="1008062"/>
          </a:xfrm>
          <a:custGeom>
            <a:avLst/>
            <a:gdLst/>
            <a:ahLst/>
            <a:cxnLst>
              <a:cxn ang="0">
                <a:pos x="416" y="0"/>
              </a:cxn>
              <a:cxn ang="0">
                <a:pos x="0" y="589"/>
              </a:cxn>
              <a:cxn ang="0">
                <a:pos x="833" y="589"/>
              </a:cxn>
              <a:cxn ang="0">
                <a:pos x="416" y="0"/>
              </a:cxn>
            </a:cxnLst>
            <a:rect l="0" t="0" r="r" b="b"/>
            <a:pathLst>
              <a:path w="834" h="590">
                <a:moveTo>
                  <a:pt x="416" y="0"/>
                </a:moveTo>
                <a:lnTo>
                  <a:pt x="0" y="589"/>
                </a:lnTo>
                <a:lnTo>
                  <a:pt x="833" y="589"/>
                </a:lnTo>
                <a:lnTo>
                  <a:pt x="416" y="0"/>
                </a:lnTo>
              </a:path>
            </a:pathLst>
          </a:custGeom>
          <a:solidFill>
            <a:schemeClr val="accent3"/>
          </a:solidFill>
          <a:ln w="6350" cap="rnd" cmpd="sng">
            <a:noFill/>
            <a:prstDash val="solid"/>
            <a:round/>
            <a:headEnd type="none" w="sm" len="sm"/>
            <a:tailEnd type="none" w="sm" len="sm"/>
          </a:ln>
          <a:effectLst/>
        </p:spPr>
        <p:txBody>
          <a:bodyPr lIns="45720" rIns="45720" anchor="ctr" anchorCtr="1"/>
          <a:lstStyle/>
          <a:p>
            <a:pPr algn="ctr"/>
            <a:endParaRPr lang="de-DE" dirty="0">
              <a:solidFill>
                <a:schemeClr val="bg1"/>
              </a:solidFill>
            </a:endParaRPr>
          </a:p>
        </p:txBody>
      </p:sp>
      <p:sp>
        <p:nvSpPr>
          <p:cNvPr id="29" name="Rectangle 28">
            <a:extLst>
              <a:ext uri="{FF2B5EF4-FFF2-40B4-BE49-F238E27FC236}">
                <a16:creationId xmlns:a16="http://schemas.microsoft.com/office/drawing/2014/main" id="{AE030C02-CCF0-4FC3-80D1-0BC3BCE52B7C}"/>
              </a:ext>
            </a:extLst>
          </p:cNvPr>
          <p:cNvSpPr>
            <a:spLocks noChangeArrowheads="1"/>
          </p:cNvSpPr>
          <p:nvPr/>
        </p:nvSpPr>
        <p:spPr bwMode="auto">
          <a:xfrm>
            <a:off x="2243573" y="5694353"/>
            <a:ext cx="7697787" cy="269875"/>
          </a:xfrm>
          <a:prstGeom prst="rect">
            <a:avLst/>
          </a:prstGeom>
          <a:solidFill>
            <a:schemeClr val="accent5">
              <a:lumMod val="75000"/>
            </a:schemeClr>
          </a:solidFill>
          <a:ln w="6350">
            <a:noFill/>
            <a:miter lim="800000"/>
            <a:headEnd/>
            <a:tailEnd/>
          </a:ln>
          <a:effectLst/>
        </p:spPr>
        <p:txBody>
          <a:bodyPr wrap="none" lIns="45720" rIns="45720" anchor="ctr" anchorCtr="1"/>
          <a:lstStyle/>
          <a:p>
            <a:pPr algn="ctr" eaLnBrk="0" hangingPunct="0"/>
            <a:r>
              <a:rPr lang="en-US" sz="1400">
                <a:solidFill>
                  <a:schemeClr val="bg1"/>
                </a:solidFill>
              </a:rPr>
              <a:t>Text</a:t>
            </a:r>
          </a:p>
        </p:txBody>
      </p:sp>
      <p:sp>
        <p:nvSpPr>
          <p:cNvPr id="31" name="Rectangle 29">
            <a:extLst>
              <a:ext uri="{FF2B5EF4-FFF2-40B4-BE49-F238E27FC236}">
                <a16:creationId xmlns:a16="http://schemas.microsoft.com/office/drawing/2014/main" id="{8DC53EB0-BEAB-4243-A8D7-3CA6E3B6B262}"/>
              </a:ext>
            </a:extLst>
          </p:cNvPr>
          <p:cNvSpPr>
            <a:spLocks noChangeArrowheads="1"/>
          </p:cNvSpPr>
          <p:nvPr/>
        </p:nvSpPr>
        <p:spPr bwMode="auto">
          <a:xfrm>
            <a:off x="3224648" y="4586277"/>
            <a:ext cx="5735637" cy="266700"/>
          </a:xfrm>
          <a:prstGeom prst="rect">
            <a:avLst/>
          </a:prstGeom>
          <a:solidFill>
            <a:schemeClr val="accent1">
              <a:lumMod val="75000"/>
            </a:schemeClr>
          </a:solidFill>
          <a:ln w="6350">
            <a:noFill/>
            <a:miter lim="800000"/>
            <a:headEnd/>
            <a:tailEnd/>
          </a:ln>
          <a:effectLst/>
        </p:spPr>
        <p:txBody>
          <a:bodyPr wrap="none" lIns="45720" rIns="45720" anchor="ctr" anchorCtr="1"/>
          <a:lstStyle/>
          <a:p>
            <a:pPr algn="ctr" eaLnBrk="0" hangingPunct="0"/>
            <a:r>
              <a:rPr lang="en-US" sz="1400">
                <a:solidFill>
                  <a:schemeClr val="bg1"/>
                </a:solidFill>
              </a:rPr>
              <a:t>Text</a:t>
            </a:r>
          </a:p>
        </p:txBody>
      </p:sp>
      <p:sp>
        <p:nvSpPr>
          <p:cNvPr id="33" name="Rectangle 30">
            <a:extLst>
              <a:ext uri="{FF2B5EF4-FFF2-40B4-BE49-F238E27FC236}">
                <a16:creationId xmlns:a16="http://schemas.microsoft.com/office/drawing/2014/main" id="{717FD3C3-5B90-4AE9-8178-3F95B71A58B9}"/>
              </a:ext>
            </a:extLst>
          </p:cNvPr>
          <p:cNvSpPr>
            <a:spLocks noChangeArrowheads="1"/>
          </p:cNvSpPr>
          <p:nvPr/>
        </p:nvSpPr>
        <p:spPr bwMode="auto">
          <a:xfrm>
            <a:off x="4146985" y="3497253"/>
            <a:ext cx="3889375" cy="252413"/>
          </a:xfrm>
          <a:prstGeom prst="rect">
            <a:avLst/>
          </a:prstGeom>
          <a:solidFill>
            <a:schemeClr val="accent2">
              <a:lumMod val="75000"/>
            </a:schemeClr>
          </a:solidFill>
          <a:ln w="6350">
            <a:noFill/>
            <a:miter lim="800000"/>
            <a:headEnd/>
            <a:tailEnd/>
          </a:ln>
          <a:effectLst/>
        </p:spPr>
        <p:txBody>
          <a:bodyPr wrap="none" lIns="45720" rIns="45720" anchor="ctr" anchorCtr="1"/>
          <a:lstStyle/>
          <a:p>
            <a:pPr algn="ctr" eaLnBrk="0" hangingPunct="0"/>
            <a:r>
              <a:rPr lang="en-US" sz="1400">
                <a:solidFill>
                  <a:schemeClr val="bg1"/>
                </a:solidFill>
              </a:rPr>
              <a:t>Text</a:t>
            </a:r>
          </a:p>
        </p:txBody>
      </p:sp>
      <p:sp>
        <p:nvSpPr>
          <p:cNvPr id="35" name="Rectangle 31">
            <a:extLst>
              <a:ext uri="{FF2B5EF4-FFF2-40B4-BE49-F238E27FC236}">
                <a16:creationId xmlns:a16="http://schemas.microsoft.com/office/drawing/2014/main" id="{B36A1F43-2565-47E9-96E8-84B93ED5A1B2}"/>
              </a:ext>
            </a:extLst>
          </p:cNvPr>
          <p:cNvSpPr>
            <a:spLocks noChangeArrowheads="1"/>
          </p:cNvSpPr>
          <p:nvPr/>
        </p:nvSpPr>
        <p:spPr bwMode="auto">
          <a:xfrm>
            <a:off x="5158222" y="2393940"/>
            <a:ext cx="1866900" cy="266700"/>
          </a:xfrm>
          <a:prstGeom prst="rect">
            <a:avLst/>
          </a:prstGeom>
          <a:solidFill>
            <a:schemeClr val="accent3">
              <a:lumMod val="75000"/>
            </a:schemeClr>
          </a:solidFill>
          <a:ln w="6350">
            <a:noFill/>
            <a:miter lim="800000"/>
            <a:headEnd/>
            <a:tailEnd/>
          </a:ln>
          <a:effectLst/>
        </p:spPr>
        <p:txBody>
          <a:bodyPr wrap="none" lIns="45720" rIns="45720" anchor="ctr" anchorCtr="1"/>
          <a:lstStyle/>
          <a:p>
            <a:pPr algn="ctr" eaLnBrk="0" hangingPunct="0"/>
            <a:r>
              <a:rPr lang="en-US" sz="1400">
                <a:solidFill>
                  <a:schemeClr val="bg1"/>
                </a:solidFill>
              </a:rPr>
              <a:t>Text</a:t>
            </a:r>
          </a:p>
        </p:txBody>
      </p:sp>
      <p:sp>
        <p:nvSpPr>
          <p:cNvPr id="37" name="Rectangle 32">
            <a:extLst>
              <a:ext uri="{FF2B5EF4-FFF2-40B4-BE49-F238E27FC236}">
                <a16:creationId xmlns:a16="http://schemas.microsoft.com/office/drawing/2014/main" id="{660430E8-3A27-4E5E-BF8E-3971B2BD4595}"/>
              </a:ext>
            </a:extLst>
          </p:cNvPr>
          <p:cNvSpPr>
            <a:spLocks noChangeArrowheads="1"/>
          </p:cNvSpPr>
          <p:nvPr/>
        </p:nvSpPr>
        <p:spPr bwMode="auto">
          <a:xfrm>
            <a:off x="5813860" y="1706553"/>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39" name="Freeform 33">
            <a:extLst>
              <a:ext uri="{FF2B5EF4-FFF2-40B4-BE49-F238E27FC236}">
                <a16:creationId xmlns:a16="http://schemas.microsoft.com/office/drawing/2014/main" id="{F72E1EA6-0407-4EF2-924E-3FCF8F441695}"/>
              </a:ext>
            </a:extLst>
          </p:cNvPr>
          <p:cNvSpPr>
            <a:spLocks/>
          </p:cNvSpPr>
          <p:nvPr/>
        </p:nvSpPr>
        <p:spPr bwMode="auto">
          <a:xfrm>
            <a:off x="4146985" y="2652702"/>
            <a:ext cx="1763713" cy="852488"/>
          </a:xfrm>
          <a:custGeom>
            <a:avLst/>
            <a:gdLst/>
            <a:ahLst/>
            <a:cxnLst>
              <a:cxn ang="0">
                <a:pos x="337" y="0"/>
              </a:cxn>
              <a:cxn ang="0">
                <a:pos x="0" y="488"/>
              </a:cxn>
              <a:cxn ang="0">
                <a:pos x="788" y="488"/>
              </a:cxn>
              <a:cxn ang="0">
                <a:pos x="788" y="0"/>
              </a:cxn>
              <a:cxn ang="0">
                <a:pos x="337" y="0"/>
              </a:cxn>
            </a:cxnLst>
            <a:rect l="0" t="0" r="r" b="b"/>
            <a:pathLst>
              <a:path w="789" h="489">
                <a:moveTo>
                  <a:pt x="337" y="0"/>
                </a:moveTo>
                <a:lnTo>
                  <a:pt x="0" y="488"/>
                </a:lnTo>
                <a:lnTo>
                  <a:pt x="788" y="488"/>
                </a:lnTo>
                <a:lnTo>
                  <a:pt x="788" y="0"/>
                </a:lnTo>
                <a:lnTo>
                  <a:pt x="337" y="0"/>
                </a:lnTo>
              </a:path>
            </a:pathLst>
          </a:custGeom>
          <a:solidFill>
            <a:schemeClr val="accent2"/>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41" name="Freeform 34">
            <a:extLst>
              <a:ext uri="{FF2B5EF4-FFF2-40B4-BE49-F238E27FC236}">
                <a16:creationId xmlns:a16="http://schemas.microsoft.com/office/drawing/2014/main" id="{C3B9A971-EB2E-400C-95B9-F590D0D53D6C}"/>
              </a:ext>
            </a:extLst>
          </p:cNvPr>
          <p:cNvSpPr>
            <a:spLocks/>
          </p:cNvSpPr>
          <p:nvPr/>
        </p:nvSpPr>
        <p:spPr bwMode="auto">
          <a:xfrm>
            <a:off x="6271059" y="2652702"/>
            <a:ext cx="1765300" cy="852488"/>
          </a:xfrm>
          <a:custGeom>
            <a:avLst/>
            <a:gdLst/>
            <a:ahLst/>
            <a:cxnLst>
              <a:cxn ang="0">
                <a:pos x="451" y="0"/>
              </a:cxn>
              <a:cxn ang="0">
                <a:pos x="787" y="488"/>
              </a:cxn>
              <a:cxn ang="0">
                <a:pos x="0" y="488"/>
              </a:cxn>
              <a:cxn ang="0">
                <a:pos x="0" y="0"/>
              </a:cxn>
              <a:cxn ang="0">
                <a:pos x="451" y="0"/>
              </a:cxn>
            </a:cxnLst>
            <a:rect l="0" t="0" r="r" b="b"/>
            <a:pathLst>
              <a:path w="788" h="489">
                <a:moveTo>
                  <a:pt x="451" y="0"/>
                </a:moveTo>
                <a:lnTo>
                  <a:pt x="787" y="488"/>
                </a:lnTo>
                <a:lnTo>
                  <a:pt x="0" y="488"/>
                </a:lnTo>
                <a:lnTo>
                  <a:pt x="0" y="0"/>
                </a:lnTo>
                <a:lnTo>
                  <a:pt x="451" y="0"/>
                </a:lnTo>
              </a:path>
            </a:pathLst>
          </a:custGeom>
          <a:solidFill>
            <a:schemeClr val="accent2"/>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43" name="Rectangle 35">
            <a:extLst>
              <a:ext uri="{FF2B5EF4-FFF2-40B4-BE49-F238E27FC236}">
                <a16:creationId xmlns:a16="http://schemas.microsoft.com/office/drawing/2014/main" id="{0011A80E-AD61-4B00-83CD-120E0F7B2C62}"/>
              </a:ext>
            </a:extLst>
          </p:cNvPr>
          <p:cNvSpPr>
            <a:spLocks noChangeArrowheads="1"/>
          </p:cNvSpPr>
          <p:nvPr/>
        </p:nvSpPr>
        <p:spPr bwMode="auto">
          <a:xfrm>
            <a:off x="4751029" y="2870191"/>
            <a:ext cx="555625" cy="382587"/>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45" name="Rectangle 36">
            <a:extLst>
              <a:ext uri="{FF2B5EF4-FFF2-40B4-BE49-F238E27FC236}">
                <a16:creationId xmlns:a16="http://schemas.microsoft.com/office/drawing/2014/main" id="{3A5C98A9-C59C-47FA-A682-FB6600DC5F6F}"/>
              </a:ext>
            </a:extLst>
          </p:cNvPr>
          <p:cNvSpPr>
            <a:spLocks noChangeArrowheads="1"/>
          </p:cNvSpPr>
          <p:nvPr/>
        </p:nvSpPr>
        <p:spPr bwMode="auto">
          <a:xfrm>
            <a:off x="6875897" y="2870191"/>
            <a:ext cx="555625" cy="382587"/>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47" name="Freeform 37">
            <a:extLst>
              <a:ext uri="{FF2B5EF4-FFF2-40B4-BE49-F238E27FC236}">
                <a16:creationId xmlns:a16="http://schemas.microsoft.com/office/drawing/2014/main" id="{7FBF6344-4687-4B68-8098-8822C0581DEA}"/>
              </a:ext>
            </a:extLst>
          </p:cNvPr>
          <p:cNvSpPr>
            <a:spLocks/>
          </p:cNvSpPr>
          <p:nvPr/>
        </p:nvSpPr>
        <p:spPr bwMode="auto">
          <a:xfrm>
            <a:off x="7191810" y="3743315"/>
            <a:ext cx="1768475" cy="850900"/>
          </a:xfrm>
          <a:custGeom>
            <a:avLst/>
            <a:gdLst/>
            <a:ahLst/>
            <a:cxnLst>
              <a:cxn ang="0">
                <a:pos x="450" y="0"/>
              </a:cxn>
              <a:cxn ang="0">
                <a:pos x="785" y="486"/>
              </a:cxn>
              <a:cxn ang="0">
                <a:pos x="0" y="486"/>
              </a:cxn>
              <a:cxn ang="0">
                <a:pos x="0" y="0"/>
              </a:cxn>
              <a:cxn ang="0">
                <a:pos x="450" y="0"/>
              </a:cxn>
            </a:cxnLst>
            <a:rect l="0" t="0" r="r" b="b"/>
            <a:pathLst>
              <a:path w="786" h="487">
                <a:moveTo>
                  <a:pt x="450" y="0"/>
                </a:moveTo>
                <a:lnTo>
                  <a:pt x="785" y="486"/>
                </a:lnTo>
                <a:lnTo>
                  <a:pt x="0" y="486"/>
                </a:lnTo>
                <a:lnTo>
                  <a:pt x="0" y="0"/>
                </a:lnTo>
                <a:lnTo>
                  <a:pt x="450" y="0"/>
                </a:lnTo>
              </a:path>
            </a:pathLst>
          </a:custGeom>
          <a:solidFill>
            <a:schemeClr val="accent1"/>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49" name="Freeform 38">
            <a:extLst>
              <a:ext uri="{FF2B5EF4-FFF2-40B4-BE49-F238E27FC236}">
                <a16:creationId xmlns:a16="http://schemas.microsoft.com/office/drawing/2014/main" id="{52CBE3CD-774F-4FD2-AF0C-71A54AEEC2B3}"/>
              </a:ext>
            </a:extLst>
          </p:cNvPr>
          <p:cNvSpPr>
            <a:spLocks/>
          </p:cNvSpPr>
          <p:nvPr/>
        </p:nvSpPr>
        <p:spPr bwMode="auto">
          <a:xfrm>
            <a:off x="3224647" y="3740140"/>
            <a:ext cx="1771650" cy="850900"/>
          </a:xfrm>
          <a:custGeom>
            <a:avLst/>
            <a:gdLst/>
            <a:ahLst/>
            <a:cxnLst>
              <a:cxn ang="0">
                <a:pos x="336" y="0"/>
              </a:cxn>
              <a:cxn ang="0">
                <a:pos x="0" y="486"/>
              </a:cxn>
              <a:cxn ang="0">
                <a:pos x="788" y="486"/>
              </a:cxn>
              <a:cxn ang="0">
                <a:pos x="788" y="0"/>
              </a:cxn>
              <a:cxn ang="0">
                <a:pos x="336" y="0"/>
              </a:cxn>
            </a:cxnLst>
            <a:rect l="0" t="0" r="r" b="b"/>
            <a:pathLst>
              <a:path w="789" h="487">
                <a:moveTo>
                  <a:pt x="336" y="0"/>
                </a:moveTo>
                <a:lnTo>
                  <a:pt x="0" y="486"/>
                </a:lnTo>
                <a:lnTo>
                  <a:pt x="788" y="486"/>
                </a:lnTo>
                <a:lnTo>
                  <a:pt x="788" y="0"/>
                </a:lnTo>
                <a:lnTo>
                  <a:pt x="336" y="0"/>
                </a:lnTo>
              </a:path>
            </a:pathLst>
          </a:custGeom>
          <a:solidFill>
            <a:schemeClr val="accent1"/>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51" name="Rectangle 39">
            <a:extLst>
              <a:ext uri="{FF2B5EF4-FFF2-40B4-BE49-F238E27FC236}">
                <a16:creationId xmlns:a16="http://schemas.microsoft.com/office/drawing/2014/main" id="{5E2327DB-44DF-490B-8A39-35B48B7F5DD2}"/>
              </a:ext>
            </a:extLst>
          </p:cNvPr>
          <p:cNvSpPr>
            <a:spLocks noChangeArrowheads="1"/>
          </p:cNvSpPr>
          <p:nvPr/>
        </p:nvSpPr>
        <p:spPr bwMode="auto">
          <a:xfrm>
            <a:off x="5361422" y="3740140"/>
            <a:ext cx="1435100" cy="850900"/>
          </a:xfrm>
          <a:prstGeom prst="rect">
            <a:avLst/>
          </a:prstGeom>
          <a:solidFill>
            <a:schemeClr val="accent1"/>
          </a:solidFill>
          <a:ln w="6350">
            <a:noFill/>
            <a:miter lim="800000"/>
            <a:headEnd/>
            <a:tailEnd/>
          </a:ln>
          <a:effectLst/>
        </p:spPr>
        <p:txBody>
          <a:bodyPr wrap="none" lIns="45720" rIns="45720" anchor="ctr" anchorCtr="1"/>
          <a:lstStyle/>
          <a:p>
            <a:pPr algn="ctr" eaLnBrk="0" hangingPunct="0"/>
            <a:r>
              <a:rPr lang="en-GB" sz="1400" b="1">
                <a:solidFill>
                  <a:schemeClr val="bg1"/>
                </a:solidFill>
              </a:rPr>
              <a:t>Text</a:t>
            </a:r>
          </a:p>
        </p:txBody>
      </p:sp>
      <p:sp>
        <p:nvSpPr>
          <p:cNvPr id="53" name="Rectangle 40">
            <a:extLst>
              <a:ext uri="{FF2B5EF4-FFF2-40B4-BE49-F238E27FC236}">
                <a16:creationId xmlns:a16="http://schemas.microsoft.com/office/drawing/2014/main" id="{4B10B4B7-56E1-43C4-A32C-624F07078C94}"/>
              </a:ext>
            </a:extLst>
          </p:cNvPr>
          <p:cNvSpPr>
            <a:spLocks noChangeArrowheads="1"/>
          </p:cNvSpPr>
          <p:nvPr/>
        </p:nvSpPr>
        <p:spPr bwMode="auto">
          <a:xfrm>
            <a:off x="3815198" y="3970328"/>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55" name="Rectangle 41">
            <a:extLst>
              <a:ext uri="{FF2B5EF4-FFF2-40B4-BE49-F238E27FC236}">
                <a16:creationId xmlns:a16="http://schemas.microsoft.com/office/drawing/2014/main" id="{D1EC0E43-CAED-4215-97A8-AD7440F68365}"/>
              </a:ext>
            </a:extLst>
          </p:cNvPr>
          <p:cNvSpPr>
            <a:spLocks noChangeArrowheads="1"/>
          </p:cNvSpPr>
          <p:nvPr/>
        </p:nvSpPr>
        <p:spPr bwMode="auto">
          <a:xfrm>
            <a:off x="7780773" y="3973503"/>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a:solidFill>
                  <a:schemeClr val="bg1"/>
                </a:solidFill>
              </a:rPr>
              <a:t>Text</a:t>
            </a:r>
          </a:p>
        </p:txBody>
      </p:sp>
      <p:sp>
        <p:nvSpPr>
          <p:cNvPr id="57" name="Freeform 42">
            <a:extLst>
              <a:ext uri="{FF2B5EF4-FFF2-40B4-BE49-F238E27FC236}">
                <a16:creationId xmlns:a16="http://schemas.microsoft.com/office/drawing/2014/main" id="{2EBA470B-8A52-40F9-9D1F-82DA00CBEF60}"/>
              </a:ext>
            </a:extLst>
          </p:cNvPr>
          <p:cNvSpPr>
            <a:spLocks/>
          </p:cNvSpPr>
          <p:nvPr/>
        </p:nvSpPr>
        <p:spPr bwMode="auto">
          <a:xfrm>
            <a:off x="2243573" y="4845040"/>
            <a:ext cx="1766887" cy="850900"/>
          </a:xfrm>
          <a:custGeom>
            <a:avLst/>
            <a:gdLst/>
            <a:ahLst/>
            <a:cxnLst>
              <a:cxn ang="0">
                <a:pos x="336" y="0"/>
              </a:cxn>
              <a:cxn ang="0">
                <a:pos x="0" y="487"/>
              </a:cxn>
              <a:cxn ang="0">
                <a:pos x="788" y="487"/>
              </a:cxn>
              <a:cxn ang="0">
                <a:pos x="788" y="0"/>
              </a:cxn>
              <a:cxn ang="0">
                <a:pos x="336" y="0"/>
              </a:cxn>
            </a:cxnLst>
            <a:rect l="0" t="0" r="r" b="b"/>
            <a:pathLst>
              <a:path w="789" h="488">
                <a:moveTo>
                  <a:pt x="336" y="0"/>
                </a:moveTo>
                <a:lnTo>
                  <a:pt x="0" y="487"/>
                </a:lnTo>
                <a:lnTo>
                  <a:pt x="788" y="487"/>
                </a:lnTo>
                <a:lnTo>
                  <a:pt x="788" y="0"/>
                </a:lnTo>
                <a:lnTo>
                  <a:pt x="336" y="0"/>
                </a:lnTo>
              </a:path>
            </a:pathLst>
          </a:custGeom>
          <a:solidFill>
            <a:schemeClr val="accent5"/>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59" name="Freeform 43">
            <a:extLst>
              <a:ext uri="{FF2B5EF4-FFF2-40B4-BE49-F238E27FC236}">
                <a16:creationId xmlns:a16="http://schemas.microsoft.com/office/drawing/2014/main" id="{F327F75D-2847-470C-AE4B-8D0FFB42FDF5}"/>
              </a:ext>
            </a:extLst>
          </p:cNvPr>
          <p:cNvSpPr>
            <a:spLocks/>
          </p:cNvSpPr>
          <p:nvPr/>
        </p:nvSpPr>
        <p:spPr bwMode="auto">
          <a:xfrm>
            <a:off x="8176059" y="4852977"/>
            <a:ext cx="1765300" cy="850900"/>
          </a:xfrm>
          <a:custGeom>
            <a:avLst/>
            <a:gdLst/>
            <a:ahLst/>
            <a:cxnLst>
              <a:cxn ang="0">
                <a:pos x="451" y="0"/>
              </a:cxn>
              <a:cxn ang="0">
                <a:pos x="787" y="487"/>
              </a:cxn>
              <a:cxn ang="0">
                <a:pos x="0" y="487"/>
              </a:cxn>
              <a:cxn ang="0">
                <a:pos x="0" y="0"/>
              </a:cxn>
              <a:cxn ang="0">
                <a:pos x="451" y="0"/>
              </a:cxn>
            </a:cxnLst>
            <a:rect l="0" t="0" r="r" b="b"/>
            <a:pathLst>
              <a:path w="788" h="488">
                <a:moveTo>
                  <a:pt x="451" y="0"/>
                </a:moveTo>
                <a:lnTo>
                  <a:pt x="787" y="487"/>
                </a:lnTo>
                <a:lnTo>
                  <a:pt x="0" y="487"/>
                </a:lnTo>
                <a:lnTo>
                  <a:pt x="0" y="0"/>
                </a:lnTo>
                <a:lnTo>
                  <a:pt x="451" y="0"/>
                </a:lnTo>
              </a:path>
            </a:pathLst>
          </a:custGeom>
          <a:solidFill>
            <a:schemeClr val="accent5"/>
          </a:solidFill>
          <a:ln w="6350" cap="rnd" cmpd="sng">
            <a:noFill/>
            <a:prstDash val="solid"/>
            <a:round/>
            <a:headEnd type="none" w="sm" len="sm"/>
            <a:tailEnd type="none" w="sm" len="sm"/>
          </a:ln>
          <a:effectLst/>
        </p:spPr>
        <p:txBody>
          <a:bodyPr lIns="45720" rIns="45720" anchor="ctr" anchorCtr="1"/>
          <a:lstStyle/>
          <a:p>
            <a:pPr algn="ctr"/>
            <a:endParaRPr lang="de-DE">
              <a:solidFill>
                <a:schemeClr val="bg1"/>
              </a:solidFill>
            </a:endParaRPr>
          </a:p>
        </p:txBody>
      </p:sp>
      <p:sp>
        <p:nvSpPr>
          <p:cNvPr id="61" name="Rectangle 46">
            <a:extLst>
              <a:ext uri="{FF2B5EF4-FFF2-40B4-BE49-F238E27FC236}">
                <a16:creationId xmlns:a16="http://schemas.microsoft.com/office/drawing/2014/main" id="{E6361240-66E1-4AE9-9AB0-B6BBE59BF96C}"/>
              </a:ext>
            </a:extLst>
          </p:cNvPr>
          <p:cNvSpPr>
            <a:spLocks noChangeArrowheads="1"/>
          </p:cNvSpPr>
          <p:nvPr/>
        </p:nvSpPr>
        <p:spPr bwMode="auto">
          <a:xfrm>
            <a:off x="4442259" y="4845040"/>
            <a:ext cx="1435100" cy="850900"/>
          </a:xfrm>
          <a:prstGeom prst="rect">
            <a:avLst/>
          </a:prstGeom>
          <a:solidFill>
            <a:schemeClr val="accent5"/>
          </a:solid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63" name="Rectangle 47">
            <a:extLst>
              <a:ext uri="{FF2B5EF4-FFF2-40B4-BE49-F238E27FC236}">
                <a16:creationId xmlns:a16="http://schemas.microsoft.com/office/drawing/2014/main" id="{B42D54AD-14DB-4F40-B5C0-2CE363F9B7B0}"/>
              </a:ext>
            </a:extLst>
          </p:cNvPr>
          <p:cNvSpPr>
            <a:spLocks noChangeArrowheads="1"/>
          </p:cNvSpPr>
          <p:nvPr/>
        </p:nvSpPr>
        <p:spPr bwMode="auto">
          <a:xfrm>
            <a:off x="6309160" y="4845040"/>
            <a:ext cx="1436687" cy="850900"/>
          </a:xfrm>
          <a:prstGeom prst="rect">
            <a:avLst/>
          </a:prstGeom>
          <a:solidFill>
            <a:schemeClr val="accent5"/>
          </a:solidFill>
          <a:ln w="6350">
            <a:noFill/>
            <a:miter lim="800000"/>
            <a:headEnd/>
            <a:tailEnd/>
          </a:ln>
          <a:effectLst/>
        </p:spPr>
        <p:txBody>
          <a:bodyPr wrap="none" lIns="45720" rIns="45720" anchor="ctr" anchorCtr="1"/>
          <a:lstStyle/>
          <a:p>
            <a:pPr algn="ctr" eaLnBrk="0" hangingPunct="0"/>
            <a:r>
              <a:rPr lang="en-GB" sz="1400" b="1">
                <a:solidFill>
                  <a:schemeClr val="bg1"/>
                </a:solidFill>
              </a:rPr>
              <a:t>Text</a:t>
            </a:r>
          </a:p>
        </p:txBody>
      </p:sp>
      <p:sp>
        <p:nvSpPr>
          <p:cNvPr id="65" name="Rectangle 40">
            <a:extLst>
              <a:ext uri="{FF2B5EF4-FFF2-40B4-BE49-F238E27FC236}">
                <a16:creationId xmlns:a16="http://schemas.microsoft.com/office/drawing/2014/main" id="{1AE8B957-5316-4821-9650-C637A79BD1A2}"/>
              </a:ext>
            </a:extLst>
          </p:cNvPr>
          <p:cNvSpPr>
            <a:spLocks noChangeArrowheads="1"/>
          </p:cNvSpPr>
          <p:nvPr/>
        </p:nvSpPr>
        <p:spPr bwMode="auto">
          <a:xfrm>
            <a:off x="3015097" y="5086002"/>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
        <p:nvSpPr>
          <p:cNvPr id="67" name="Rectangle 41">
            <a:extLst>
              <a:ext uri="{FF2B5EF4-FFF2-40B4-BE49-F238E27FC236}">
                <a16:creationId xmlns:a16="http://schemas.microsoft.com/office/drawing/2014/main" id="{9A6617F4-57F9-4304-A016-3B5DA2A8C45E}"/>
              </a:ext>
            </a:extLst>
          </p:cNvPr>
          <p:cNvSpPr>
            <a:spLocks noChangeArrowheads="1"/>
          </p:cNvSpPr>
          <p:nvPr/>
        </p:nvSpPr>
        <p:spPr bwMode="auto">
          <a:xfrm>
            <a:off x="8503084" y="5089177"/>
            <a:ext cx="555625" cy="384175"/>
          </a:xfrm>
          <a:prstGeom prst="rect">
            <a:avLst/>
          </a:prstGeom>
          <a:noFill/>
          <a:ln w="6350">
            <a:noFill/>
            <a:miter lim="800000"/>
            <a:headEnd/>
            <a:tailEnd/>
          </a:ln>
          <a:effectLst/>
        </p:spPr>
        <p:txBody>
          <a:bodyPr wrap="none" lIns="45720" rIns="45720" anchor="ctr" anchorCtr="1"/>
          <a:lstStyle/>
          <a:p>
            <a:pPr algn="ctr" eaLnBrk="0" hangingPunct="0"/>
            <a:r>
              <a:rPr lang="en-GB" sz="1400" b="1" dirty="0">
                <a:solidFill>
                  <a:schemeClr val="bg1"/>
                </a:solidFill>
              </a:rPr>
              <a:t>Text</a:t>
            </a:r>
          </a:p>
        </p:txBody>
      </p:sp>
    </p:spTree>
    <p:extLst>
      <p:ext uri="{BB962C8B-B14F-4D97-AF65-F5344CB8AC3E}">
        <p14:creationId xmlns:p14="http://schemas.microsoft.com/office/powerpoint/2010/main" val="7764105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9CECF1-C047-AF48-B3F2-A28B5BD23CE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984178FB-CA2B-7D4A-A568-78DDC191BBCB}"/>
              </a:ext>
            </a:extLst>
          </p:cNvPr>
          <p:cNvSpPr>
            <a:spLocks noGrp="1"/>
          </p:cNvSpPr>
          <p:nvPr>
            <p:ph type="body" idx="10"/>
          </p:nvPr>
        </p:nvSpPr>
        <p:spPr/>
        <p:txBody>
          <a:bodyPr/>
          <a:lstStyle/>
          <a:p>
            <a:endParaRPr lang="en-US"/>
          </a:p>
        </p:txBody>
      </p:sp>
      <p:sp>
        <p:nvSpPr>
          <p:cNvPr id="5" name="Text Placeholder 4">
            <a:extLst>
              <a:ext uri="{FF2B5EF4-FFF2-40B4-BE49-F238E27FC236}">
                <a16:creationId xmlns:a16="http://schemas.microsoft.com/office/drawing/2014/main" id="{93B025CC-D170-4340-AF25-735D90F491DF}"/>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3200089649"/>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Time Range</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AAA6CD64-CF74-4EC7-B580-E6E2E5582F3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17" name="Text Box 6">
            <a:extLst>
              <a:ext uri="{FF2B5EF4-FFF2-40B4-BE49-F238E27FC236}">
                <a16:creationId xmlns:a16="http://schemas.microsoft.com/office/drawing/2014/main" id="{DDFB4220-0816-4BE5-837C-C61D36897B69}"/>
              </a:ext>
            </a:extLst>
          </p:cNvPr>
          <p:cNvSpPr txBox="1">
            <a:spLocks noChangeArrowheads="1"/>
          </p:cNvSpPr>
          <p:nvPr/>
        </p:nvSpPr>
        <p:spPr bwMode="auto">
          <a:xfrm rot="17741707">
            <a:off x="2290832" y="4538347"/>
            <a:ext cx="1256771" cy="351801"/>
          </a:xfrm>
          <a:prstGeom prst="rect">
            <a:avLst/>
          </a:prstGeom>
          <a:solidFill>
            <a:schemeClr val="accent3"/>
          </a:solidFill>
          <a:ln w="9525">
            <a:noFill/>
            <a:miter lim="800000"/>
            <a:headEnd/>
            <a:tailEnd/>
          </a:ln>
        </p:spPr>
        <p:txBody>
          <a:bodyPr wrap="square" lIns="0" tIns="0" rIns="0" bIns="0" anchor="ctr" anchorCtr="0">
            <a:noAutofit/>
          </a:bodyPr>
          <a:lstStyle/>
          <a:p>
            <a:pPr algn="ctr">
              <a:spcBef>
                <a:spcPct val="0"/>
              </a:spcBef>
              <a:buClrTx/>
              <a:buFontTx/>
              <a:buNone/>
            </a:pPr>
            <a:r>
              <a:rPr lang="de-DE" sz="1200" b="1" dirty="0">
                <a:solidFill>
                  <a:schemeClr val="bg1"/>
                </a:solidFill>
              </a:rPr>
              <a:t>Short term</a:t>
            </a:r>
          </a:p>
        </p:txBody>
      </p:sp>
      <p:sp>
        <p:nvSpPr>
          <p:cNvPr id="119" name="Text Box 7">
            <a:extLst>
              <a:ext uri="{FF2B5EF4-FFF2-40B4-BE49-F238E27FC236}">
                <a16:creationId xmlns:a16="http://schemas.microsoft.com/office/drawing/2014/main" id="{51DA14AC-9091-4CA7-ABA4-C0126DEF4031}"/>
              </a:ext>
            </a:extLst>
          </p:cNvPr>
          <p:cNvSpPr txBox="1">
            <a:spLocks noChangeArrowheads="1"/>
          </p:cNvSpPr>
          <p:nvPr/>
        </p:nvSpPr>
        <p:spPr bwMode="auto">
          <a:xfrm rot="-3896924">
            <a:off x="2891667" y="3272385"/>
            <a:ext cx="1239518" cy="326886"/>
          </a:xfrm>
          <a:prstGeom prst="rect">
            <a:avLst/>
          </a:prstGeom>
          <a:solidFill>
            <a:schemeClr val="accent2"/>
          </a:solidFill>
          <a:ln w="9525" algn="ctr">
            <a:noFill/>
            <a:miter lim="800000"/>
            <a:headEnd/>
            <a:tailEnd/>
          </a:ln>
        </p:spPr>
        <p:txBody>
          <a:bodyPr wrap="square" lIns="0" tIns="0" rIns="0" bIns="0" anchor="ctr" anchorCtr="0">
            <a:noAutofit/>
          </a:bodyPr>
          <a:lstStyle/>
          <a:p>
            <a:pPr algn="ctr">
              <a:spcBef>
                <a:spcPct val="0"/>
              </a:spcBef>
              <a:buClrTx/>
              <a:buFontTx/>
              <a:buNone/>
            </a:pPr>
            <a:r>
              <a:rPr lang="de-DE" sz="1200" b="1" dirty="0">
                <a:solidFill>
                  <a:schemeClr val="bg1"/>
                </a:solidFill>
              </a:rPr>
              <a:t>Mid term </a:t>
            </a:r>
          </a:p>
        </p:txBody>
      </p:sp>
      <p:sp>
        <p:nvSpPr>
          <p:cNvPr id="121" name="Text Box 8">
            <a:extLst>
              <a:ext uri="{FF2B5EF4-FFF2-40B4-BE49-F238E27FC236}">
                <a16:creationId xmlns:a16="http://schemas.microsoft.com/office/drawing/2014/main" id="{0CDD1391-8216-467E-B7AA-C5E5F9FC147F}"/>
              </a:ext>
            </a:extLst>
          </p:cNvPr>
          <p:cNvSpPr txBox="1">
            <a:spLocks noChangeArrowheads="1"/>
          </p:cNvSpPr>
          <p:nvPr/>
        </p:nvSpPr>
        <p:spPr bwMode="auto">
          <a:xfrm rot="17744959">
            <a:off x="3473292" y="2010653"/>
            <a:ext cx="1236662" cy="308670"/>
          </a:xfrm>
          <a:prstGeom prst="rect">
            <a:avLst/>
          </a:prstGeom>
          <a:solidFill>
            <a:schemeClr val="accent5"/>
          </a:solidFill>
          <a:ln w="9525" algn="ctr">
            <a:noFill/>
            <a:miter lim="800000"/>
            <a:headEnd/>
            <a:tailEnd/>
          </a:ln>
        </p:spPr>
        <p:txBody>
          <a:bodyPr lIns="0" tIns="0" rIns="0" bIns="0" anchor="ctr" anchorCtr="0">
            <a:noAutofit/>
          </a:bodyPr>
          <a:lstStyle/>
          <a:p>
            <a:pPr algn="ctr">
              <a:spcBef>
                <a:spcPct val="0"/>
              </a:spcBef>
              <a:buClrTx/>
              <a:buFontTx/>
              <a:buNone/>
            </a:pPr>
            <a:r>
              <a:rPr lang="de-DE" sz="1200" b="1" dirty="0">
                <a:solidFill>
                  <a:schemeClr val="bg1"/>
                </a:solidFill>
              </a:rPr>
              <a:t>Long term</a:t>
            </a:r>
          </a:p>
        </p:txBody>
      </p:sp>
      <p:sp>
        <p:nvSpPr>
          <p:cNvPr id="123" name="Line 10">
            <a:extLst>
              <a:ext uri="{FF2B5EF4-FFF2-40B4-BE49-F238E27FC236}">
                <a16:creationId xmlns:a16="http://schemas.microsoft.com/office/drawing/2014/main" id="{19D4020F-231D-4A44-8A4A-E63E264476ED}"/>
              </a:ext>
            </a:extLst>
          </p:cNvPr>
          <p:cNvSpPr>
            <a:spLocks noChangeShapeType="1"/>
          </p:cNvSpPr>
          <p:nvPr/>
        </p:nvSpPr>
        <p:spPr bwMode="auto">
          <a:xfrm flipV="1">
            <a:off x="3352800" y="4148138"/>
            <a:ext cx="5862638" cy="0"/>
          </a:xfrm>
          <a:prstGeom prst="line">
            <a:avLst/>
          </a:prstGeom>
          <a:noFill/>
          <a:ln w="9525">
            <a:solidFill>
              <a:schemeClr val="tx1"/>
            </a:solidFill>
            <a:prstDash val="sysDot"/>
            <a:round/>
            <a:headEnd/>
            <a:tailEnd/>
          </a:ln>
        </p:spPr>
        <p:txBody>
          <a:bodyPr lIns="0" tIns="0" rIns="0" bIns="0">
            <a:spAutoFit/>
          </a:bodyPr>
          <a:lstStyle/>
          <a:p>
            <a:endParaRPr lang="en-US" dirty="0"/>
          </a:p>
        </p:txBody>
      </p:sp>
      <p:sp>
        <p:nvSpPr>
          <p:cNvPr id="125" name="Line 11">
            <a:extLst>
              <a:ext uri="{FF2B5EF4-FFF2-40B4-BE49-F238E27FC236}">
                <a16:creationId xmlns:a16="http://schemas.microsoft.com/office/drawing/2014/main" id="{65517892-3C84-4A46-87D1-A67D9112F652}"/>
              </a:ext>
            </a:extLst>
          </p:cNvPr>
          <p:cNvSpPr>
            <a:spLocks noChangeShapeType="1"/>
          </p:cNvSpPr>
          <p:nvPr/>
        </p:nvSpPr>
        <p:spPr bwMode="auto">
          <a:xfrm>
            <a:off x="3935413" y="2868613"/>
            <a:ext cx="4699000" cy="0"/>
          </a:xfrm>
          <a:prstGeom prst="line">
            <a:avLst/>
          </a:prstGeom>
          <a:noFill/>
          <a:ln w="9525">
            <a:solidFill>
              <a:schemeClr val="tx1"/>
            </a:solidFill>
            <a:prstDash val="sysDot"/>
            <a:round/>
            <a:headEnd/>
            <a:tailEnd/>
          </a:ln>
        </p:spPr>
        <p:txBody>
          <a:bodyPr lIns="0" tIns="0" rIns="0" bIns="0">
            <a:spAutoFit/>
          </a:bodyPr>
          <a:lstStyle/>
          <a:p>
            <a:endParaRPr lang="en-US" dirty="0"/>
          </a:p>
        </p:txBody>
      </p:sp>
      <p:sp>
        <p:nvSpPr>
          <p:cNvPr id="127" name="Line 12">
            <a:extLst>
              <a:ext uri="{FF2B5EF4-FFF2-40B4-BE49-F238E27FC236}">
                <a16:creationId xmlns:a16="http://schemas.microsoft.com/office/drawing/2014/main" id="{1BCCA3EC-0621-4D3B-8880-DB960885270A}"/>
              </a:ext>
            </a:extLst>
          </p:cNvPr>
          <p:cNvSpPr>
            <a:spLocks noChangeShapeType="1"/>
          </p:cNvSpPr>
          <p:nvPr/>
        </p:nvSpPr>
        <p:spPr bwMode="auto">
          <a:xfrm flipV="1">
            <a:off x="4521200" y="1592263"/>
            <a:ext cx="882650" cy="3833812"/>
          </a:xfrm>
          <a:prstGeom prst="line">
            <a:avLst/>
          </a:prstGeom>
          <a:noFill/>
          <a:ln w="9525">
            <a:solidFill>
              <a:schemeClr val="tx1"/>
            </a:solidFill>
            <a:round/>
            <a:headEnd/>
            <a:tailEnd/>
          </a:ln>
        </p:spPr>
        <p:txBody>
          <a:bodyPr lIns="0" tIns="0" rIns="0" bIns="0">
            <a:spAutoFit/>
          </a:bodyPr>
          <a:lstStyle/>
          <a:p>
            <a:endParaRPr lang="en-US" dirty="0"/>
          </a:p>
        </p:txBody>
      </p:sp>
      <p:sp>
        <p:nvSpPr>
          <p:cNvPr id="129" name="Line 13">
            <a:extLst>
              <a:ext uri="{FF2B5EF4-FFF2-40B4-BE49-F238E27FC236}">
                <a16:creationId xmlns:a16="http://schemas.microsoft.com/office/drawing/2014/main" id="{038C4CB5-9DA8-4F1A-ACC9-61DC533689B7}"/>
              </a:ext>
            </a:extLst>
          </p:cNvPr>
          <p:cNvSpPr>
            <a:spLocks noChangeShapeType="1"/>
          </p:cNvSpPr>
          <p:nvPr/>
        </p:nvSpPr>
        <p:spPr bwMode="auto">
          <a:xfrm flipV="1">
            <a:off x="6286500" y="1592263"/>
            <a:ext cx="0" cy="3833812"/>
          </a:xfrm>
          <a:prstGeom prst="line">
            <a:avLst/>
          </a:prstGeom>
          <a:noFill/>
          <a:ln w="9525">
            <a:solidFill>
              <a:schemeClr val="tx1"/>
            </a:solidFill>
            <a:round/>
            <a:headEnd/>
            <a:tailEnd/>
          </a:ln>
        </p:spPr>
        <p:txBody>
          <a:bodyPr lIns="0" tIns="0" rIns="0" bIns="0">
            <a:spAutoFit/>
          </a:bodyPr>
          <a:lstStyle/>
          <a:p>
            <a:endParaRPr lang="en-US" dirty="0"/>
          </a:p>
        </p:txBody>
      </p:sp>
      <p:sp>
        <p:nvSpPr>
          <p:cNvPr id="131" name="Line 14">
            <a:extLst>
              <a:ext uri="{FF2B5EF4-FFF2-40B4-BE49-F238E27FC236}">
                <a16:creationId xmlns:a16="http://schemas.microsoft.com/office/drawing/2014/main" id="{D1C531F5-DF49-4195-A15E-D29754B55E75}"/>
              </a:ext>
            </a:extLst>
          </p:cNvPr>
          <p:cNvSpPr>
            <a:spLocks noChangeShapeType="1"/>
          </p:cNvSpPr>
          <p:nvPr/>
        </p:nvSpPr>
        <p:spPr bwMode="auto">
          <a:xfrm flipH="1" flipV="1">
            <a:off x="7167563" y="1592263"/>
            <a:ext cx="882650" cy="3833812"/>
          </a:xfrm>
          <a:prstGeom prst="line">
            <a:avLst/>
          </a:prstGeom>
          <a:noFill/>
          <a:ln w="9525">
            <a:solidFill>
              <a:schemeClr val="tx1"/>
            </a:solidFill>
            <a:round/>
            <a:headEnd/>
            <a:tailEnd/>
          </a:ln>
        </p:spPr>
        <p:txBody>
          <a:bodyPr lIns="0" tIns="0" rIns="0" bIns="0">
            <a:spAutoFit/>
          </a:bodyPr>
          <a:lstStyle/>
          <a:p>
            <a:endParaRPr lang="en-US" dirty="0"/>
          </a:p>
        </p:txBody>
      </p:sp>
      <p:sp>
        <p:nvSpPr>
          <p:cNvPr id="133" name="Freeform 16">
            <a:extLst>
              <a:ext uri="{FF2B5EF4-FFF2-40B4-BE49-F238E27FC236}">
                <a16:creationId xmlns:a16="http://schemas.microsoft.com/office/drawing/2014/main" id="{75657B13-3080-4A14-B606-D299F3052646}"/>
              </a:ext>
            </a:extLst>
          </p:cNvPr>
          <p:cNvSpPr>
            <a:spLocks/>
          </p:cNvSpPr>
          <p:nvPr/>
        </p:nvSpPr>
        <p:spPr bwMode="auto">
          <a:xfrm flipH="1">
            <a:off x="7829550" y="4217988"/>
            <a:ext cx="1876425" cy="1138237"/>
          </a:xfrm>
          <a:custGeom>
            <a:avLst/>
            <a:gdLst>
              <a:gd name="T0" fmla="*/ 380 w 1350"/>
              <a:gd name="T1" fmla="*/ 0 h 726"/>
              <a:gd name="T2" fmla="*/ 0 w 1350"/>
              <a:gd name="T3" fmla="*/ 726 h 726"/>
              <a:gd name="T4" fmla="*/ 1160 w 1350"/>
              <a:gd name="T5" fmla="*/ 726 h 726"/>
              <a:gd name="T6" fmla="*/ 1350 w 1350"/>
              <a:gd name="T7" fmla="*/ 0 h 726"/>
              <a:gd name="T8" fmla="*/ 380 w 1350"/>
              <a:gd name="T9" fmla="*/ 0 h 726"/>
              <a:gd name="T10" fmla="*/ 0 60000 65536"/>
              <a:gd name="T11" fmla="*/ 0 60000 65536"/>
              <a:gd name="T12" fmla="*/ 0 60000 65536"/>
              <a:gd name="T13" fmla="*/ 0 60000 65536"/>
              <a:gd name="T14" fmla="*/ 0 60000 65536"/>
              <a:gd name="T15" fmla="*/ 0 w 1350"/>
              <a:gd name="T16" fmla="*/ 0 h 726"/>
              <a:gd name="T17" fmla="*/ 1350 w 1350"/>
              <a:gd name="T18" fmla="*/ 726 h 726"/>
            </a:gdLst>
            <a:ahLst/>
            <a:cxnLst>
              <a:cxn ang="T10">
                <a:pos x="T0" y="T1"/>
              </a:cxn>
              <a:cxn ang="T11">
                <a:pos x="T2" y="T3"/>
              </a:cxn>
              <a:cxn ang="T12">
                <a:pos x="T4" y="T5"/>
              </a:cxn>
              <a:cxn ang="T13">
                <a:pos x="T6" y="T7"/>
              </a:cxn>
              <a:cxn ang="T14">
                <a:pos x="T8" y="T9"/>
              </a:cxn>
            </a:cxnLst>
            <a:rect l="T15" t="T16" r="T17" b="T18"/>
            <a:pathLst>
              <a:path w="1350" h="726">
                <a:moveTo>
                  <a:pt x="380" y="0"/>
                </a:moveTo>
                <a:lnTo>
                  <a:pt x="0" y="726"/>
                </a:lnTo>
                <a:lnTo>
                  <a:pt x="1160" y="726"/>
                </a:lnTo>
                <a:lnTo>
                  <a:pt x="1350" y="0"/>
                </a:lnTo>
                <a:lnTo>
                  <a:pt x="380" y="0"/>
                </a:lnTo>
                <a:close/>
              </a:path>
            </a:pathLst>
          </a:custGeom>
          <a:solidFill>
            <a:schemeClr val="accent3"/>
          </a:solidFill>
          <a:ln w="9525" cap="flat" cmpd="sng">
            <a:noFill/>
            <a:prstDash val="solid"/>
            <a:round/>
            <a:headEnd type="none" w="med" len="med"/>
            <a:tailEnd type="none" w="med" len="med"/>
          </a:ln>
        </p:spPr>
        <p:txBody>
          <a:bodyPr wrap="none" anchor="ctr"/>
          <a:lstStyle/>
          <a:p>
            <a:pPr algn="ctr"/>
            <a:endParaRPr lang="en-US" dirty="0"/>
          </a:p>
        </p:txBody>
      </p:sp>
      <p:sp>
        <p:nvSpPr>
          <p:cNvPr id="135" name="Freeform 17">
            <a:extLst>
              <a:ext uri="{FF2B5EF4-FFF2-40B4-BE49-F238E27FC236}">
                <a16:creationId xmlns:a16="http://schemas.microsoft.com/office/drawing/2014/main" id="{56DF3597-AA59-48F3-9306-0D5A74A558E0}"/>
              </a:ext>
            </a:extLst>
          </p:cNvPr>
          <p:cNvSpPr>
            <a:spLocks/>
          </p:cNvSpPr>
          <p:nvPr/>
        </p:nvSpPr>
        <p:spPr bwMode="auto">
          <a:xfrm flipH="1">
            <a:off x="6348413" y="4217988"/>
            <a:ext cx="1606550" cy="1138237"/>
          </a:xfrm>
          <a:custGeom>
            <a:avLst/>
            <a:gdLst>
              <a:gd name="T0" fmla="*/ 186 w 1156"/>
              <a:gd name="T1" fmla="*/ 0 h 726"/>
              <a:gd name="T2" fmla="*/ 1156 w 1156"/>
              <a:gd name="T3" fmla="*/ 0 h 726"/>
              <a:gd name="T4" fmla="*/ 1156 w 1156"/>
              <a:gd name="T5" fmla="*/ 726 h 726"/>
              <a:gd name="T6" fmla="*/ 0 w 1156"/>
              <a:gd name="T7" fmla="*/ 726 h 726"/>
              <a:gd name="T8" fmla="*/ 186 w 1156"/>
              <a:gd name="T9" fmla="*/ 0 h 726"/>
              <a:gd name="T10" fmla="*/ 0 60000 65536"/>
              <a:gd name="T11" fmla="*/ 0 60000 65536"/>
              <a:gd name="T12" fmla="*/ 0 60000 65536"/>
              <a:gd name="T13" fmla="*/ 0 60000 65536"/>
              <a:gd name="T14" fmla="*/ 0 60000 65536"/>
              <a:gd name="T15" fmla="*/ 0 w 1156"/>
              <a:gd name="T16" fmla="*/ 0 h 726"/>
              <a:gd name="T17" fmla="*/ 1156 w 1156"/>
              <a:gd name="T18" fmla="*/ 726 h 726"/>
            </a:gdLst>
            <a:ahLst/>
            <a:cxnLst>
              <a:cxn ang="T10">
                <a:pos x="T0" y="T1"/>
              </a:cxn>
              <a:cxn ang="T11">
                <a:pos x="T2" y="T3"/>
              </a:cxn>
              <a:cxn ang="T12">
                <a:pos x="T4" y="T5"/>
              </a:cxn>
              <a:cxn ang="T13">
                <a:pos x="T6" y="T7"/>
              </a:cxn>
              <a:cxn ang="T14">
                <a:pos x="T8" y="T9"/>
              </a:cxn>
            </a:cxnLst>
            <a:rect l="T15" t="T16" r="T17" b="T18"/>
            <a:pathLst>
              <a:path w="1156" h="726">
                <a:moveTo>
                  <a:pt x="186" y="0"/>
                </a:moveTo>
                <a:lnTo>
                  <a:pt x="1156" y="0"/>
                </a:lnTo>
                <a:lnTo>
                  <a:pt x="1156" y="726"/>
                </a:lnTo>
                <a:lnTo>
                  <a:pt x="0" y="726"/>
                </a:lnTo>
                <a:lnTo>
                  <a:pt x="186" y="0"/>
                </a:lnTo>
                <a:close/>
              </a:path>
            </a:pathLst>
          </a:custGeom>
          <a:solidFill>
            <a:schemeClr val="accent3"/>
          </a:solidFill>
          <a:ln w="9525" cap="flat" cmpd="sng">
            <a:noFill/>
            <a:prstDash val="solid"/>
            <a:round/>
            <a:headEnd type="none" w="med" len="med"/>
            <a:tailEnd type="none" w="med" len="med"/>
          </a:ln>
        </p:spPr>
        <p:txBody>
          <a:bodyPr wrap="none" anchor="ctr"/>
          <a:lstStyle/>
          <a:p>
            <a:pPr algn="ctr"/>
            <a:endParaRPr lang="en-US" dirty="0"/>
          </a:p>
        </p:txBody>
      </p:sp>
      <p:sp>
        <p:nvSpPr>
          <p:cNvPr id="137" name="Freeform 18">
            <a:extLst>
              <a:ext uri="{FF2B5EF4-FFF2-40B4-BE49-F238E27FC236}">
                <a16:creationId xmlns:a16="http://schemas.microsoft.com/office/drawing/2014/main" id="{D5D3F7CD-0D3F-411B-AFB9-662AE112D1A6}"/>
              </a:ext>
            </a:extLst>
          </p:cNvPr>
          <p:cNvSpPr>
            <a:spLocks/>
          </p:cNvSpPr>
          <p:nvPr/>
        </p:nvSpPr>
        <p:spPr bwMode="auto">
          <a:xfrm>
            <a:off x="7545388" y="2941638"/>
            <a:ext cx="1582737" cy="1138237"/>
          </a:xfrm>
          <a:custGeom>
            <a:avLst/>
            <a:gdLst>
              <a:gd name="T0" fmla="*/ 763 w 1138"/>
              <a:gd name="T1" fmla="*/ 1 h 727"/>
              <a:gd name="T2" fmla="*/ 1138 w 1138"/>
              <a:gd name="T3" fmla="*/ 727 h 727"/>
              <a:gd name="T4" fmla="*/ 195 w 1138"/>
              <a:gd name="T5" fmla="*/ 727 h 727"/>
              <a:gd name="T6" fmla="*/ 0 w 1138"/>
              <a:gd name="T7" fmla="*/ 0 h 727"/>
              <a:gd name="T8" fmla="*/ 763 w 1138"/>
              <a:gd name="T9" fmla="*/ 1 h 727"/>
              <a:gd name="T10" fmla="*/ 0 60000 65536"/>
              <a:gd name="T11" fmla="*/ 0 60000 65536"/>
              <a:gd name="T12" fmla="*/ 0 60000 65536"/>
              <a:gd name="T13" fmla="*/ 0 60000 65536"/>
              <a:gd name="T14" fmla="*/ 0 60000 65536"/>
              <a:gd name="T15" fmla="*/ 0 w 1138"/>
              <a:gd name="T16" fmla="*/ 0 h 727"/>
              <a:gd name="T17" fmla="*/ 1138 w 1138"/>
              <a:gd name="T18" fmla="*/ 727 h 727"/>
            </a:gdLst>
            <a:ahLst/>
            <a:cxnLst>
              <a:cxn ang="T10">
                <a:pos x="T0" y="T1"/>
              </a:cxn>
              <a:cxn ang="T11">
                <a:pos x="T2" y="T3"/>
              </a:cxn>
              <a:cxn ang="T12">
                <a:pos x="T4" y="T5"/>
              </a:cxn>
              <a:cxn ang="T13">
                <a:pos x="T6" y="T7"/>
              </a:cxn>
              <a:cxn ang="T14">
                <a:pos x="T8" y="T9"/>
              </a:cxn>
            </a:cxnLst>
            <a:rect l="T15" t="T16" r="T17" b="T18"/>
            <a:pathLst>
              <a:path w="1138" h="727">
                <a:moveTo>
                  <a:pt x="763" y="1"/>
                </a:moveTo>
                <a:lnTo>
                  <a:pt x="1138" y="727"/>
                </a:lnTo>
                <a:lnTo>
                  <a:pt x="195" y="727"/>
                </a:lnTo>
                <a:lnTo>
                  <a:pt x="0" y="0"/>
                </a:lnTo>
                <a:lnTo>
                  <a:pt x="763" y="1"/>
                </a:lnTo>
                <a:close/>
              </a:path>
            </a:pathLst>
          </a:custGeom>
          <a:solidFill>
            <a:schemeClr val="accent2"/>
          </a:solidFill>
          <a:ln w="9525" cap="flat" cmpd="sng">
            <a:noFill/>
            <a:prstDash val="solid"/>
            <a:round/>
            <a:headEnd type="none" w="med" len="med"/>
            <a:tailEnd type="none" w="med" len="med"/>
          </a:ln>
        </p:spPr>
        <p:txBody>
          <a:bodyPr wrap="none" anchor="ctr"/>
          <a:lstStyle/>
          <a:p>
            <a:pPr algn="ctr"/>
            <a:endParaRPr lang="en-US" dirty="0"/>
          </a:p>
        </p:txBody>
      </p:sp>
      <p:sp>
        <p:nvSpPr>
          <p:cNvPr id="139" name="Freeform 19">
            <a:extLst>
              <a:ext uri="{FF2B5EF4-FFF2-40B4-BE49-F238E27FC236}">
                <a16:creationId xmlns:a16="http://schemas.microsoft.com/office/drawing/2014/main" id="{BDD8B49A-6B78-4884-9651-2042A6788E83}"/>
              </a:ext>
            </a:extLst>
          </p:cNvPr>
          <p:cNvSpPr>
            <a:spLocks/>
          </p:cNvSpPr>
          <p:nvPr/>
        </p:nvSpPr>
        <p:spPr bwMode="auto">
          <a:xfrm flipH="1">
            <a:off x="6348413" y="2941638"/>
            <a:ext cx="1322387" cy="1138237"/>
          </a:xfrm>
          <a:custGeom>
            <a:avLst/>
            <a:gdLst>
              <a:gd name="T0" fmla="*/ 187 w 952"/>
              <a:gd name="T1" fmla="*/ 0 h 727"/>
              <a:gd name="T2" fmla="*/ 952 w 952"/>
              <a:gd name="T3" fmla="*/ 1 h 727"/>
              <a:gd name="T4" fmla="*/ 952 w 952"/>
              <a:gd name="T5" fmla="*/ 727 h 727"/>
              <a:gd name="T6" fmla="*/ 0 w 952"/>
              <a:gd name="T7" fmla="*/ 727 h 727"/>
              <a:gd name="T8" fmla="*/ 187 w 952"/>
              <a:gd name="T9" fmla="*/ 0 h 727"/>
              <a:gd name="T10" fmla="*/ 0 60000 65536"/>
              <a:gd name="T11" fmla="*/ 0 60000 65536"/>
              <a:gd name="T12" fmla="*/ 0 60000 65536"/>
              <a:gd name="T13" fmla="*/ 0 60000 65536"/>
              <a:gd name="T14" fmla="*/ 0 60000 65536"/>
              <a:gd name="T15" fmla="*/ 0 w 952"/>
              <a:gd name="T16" fmla="*/ 0 h 727"/>
              <a:gd name="T17" fmla="*/ 952 w 952"/>
              <a:gd name="T18" fmla="*/ 727 h 727"/>
            </a:gdLst>
            <a:ahLst/>
            <a:cxnLst>
              <a:cxn ang="T10">
                <a:pos x="T0" y="T1"/>
              </a:cxn>
              <a:cxn ang="T11">
                <a:pos x="T2" y="T3"/>
              </a:cxn>
              <a:cxn ang="T12">
                <a:pos x="T4" y="T5"/>
              </a:cxn>
              <a:cxn ang="T13">
                <a:pos x="T6" y="T7"/>
              </a:cxn>
              <a:cxn ang="T14">
                <a:pos x="T8" y="T9"/>
              </a:cxn>
            </a:cxnLst>
            <a:rect l="T15" t="T16" r="T17" b="T18"/>
            <a:pathLst>
              <a:path w="952" h="727">
                <a:moveTo>
                  <a:pt x="187" y="0"/>
                </a:moveTo>
                <a:lnTo>
                  <a:pt x="952" y="1"/>
                </a:lnTo>
                <a:lnTo>
                  <a:pt x="952" y="727"/>
                </a:lnTo>
                <a:lnTo>
                  <a:pt x="0" y="727"/>
                </a:lnTo>
                <a:lnTo>
                  <a:pt x="187" y="0"/>
                </a:lnTo>
                <a:close/>
              </a:path>
            </a:pathLst>
          </a:custGeom>
          <a:solidFill>
            <a:schemeClr val="accent2"/>
          </a:solidFill>
          <a:ln w="9525" cap="flat" cmpd="sng">
            <a:noFill/>
            <a:prstDash val="solid"/>
            <a:round/>
            <a:headEnd type="none" w="med" len="med"/>
            <a:tailEnd type="none" w="med" len="med"/>
          </a:ln>
        </p:spPr>
        <p:txBody>
          <a:bodyPr wrap="none" anchor="ctr"/>
          <a:lstStyle/>
          <a:p>
            <a:pPr algn="ctr"/>
            <a:endParaRPr lang="en-US" dirty="0"/>
          </a:p>
        </p:txBody>
      </p:sp>
      <p:sp>
        <p:nvSpPr>
          <p:cNvPr id="141" name="Freeform 20">
            <a:extLst>
              <a:ext uri="{FF2B5EF4-FFF2-40B4-BE49-F238E27FC236}">
                <a16:creationId xmlns:a16="http://schemas.microsoft.com/office/drawing/2014/main" id="{7E426F3A-BE35-4FE0-B462-CAEBDD13E73A}"/>
              </a:ext>
            </a:extLst>
          </p:cNvPr>
          <p:cNvSpPr>
            <a:spLocks/>
          </p:cNvSpPr>
          <p:nvPr/>
        </p:nvSpPr>
        <p:spPr bwMode="auto">
          <a:xfrm flipH="1">
            <a:off x="6348413" y="1662113"/>
            <a:ext cx="1039812" cy="1139825"/>
          </a:xfrm>
          <a:custGeom>
            <a:avLst/>
            <a:gdLst>
              <a:gd name="T0" fmla="*/ 181 w 748"/>
              <a:gd name="T1" fmla="*/ 0 h 727"/>
              <a:gd name="T2" fmla="*/ 748 w 748"/>
              <a:gd name="T3" fmla="*/ 1 h 727"/>
              <a:gd name="T4" fmla="*/ 748 w 748"/>
              <a:gd name="T5" fmla="*/ 727 h 727"/>
              <a:gd name="T6" fmla="*/ 0 w 748"/>
              <a:gd name="T7" fmla="*/ 727 h 727"/>
              <a:gd name="T8" fmla="*/ 181 w 748"/>
              <a:gd name="T9" fmla="*/ 0 h 727"/>
              <a:gd name="T10" fmla="*/ 0 60000 65536"/>
              <a:gd name="T11" fmla="*/ 0 60000 65536"/>
              <a:gd name="T12" fmla="*/ 0 60000 65536"/>
              <a:gd name="T13" fmla="*/ 0 60000 65536"/>
              <a:gd name="T14" fmla="*/ 0 60000 65536"/>
              <a:gd name="T15" fmla="*/ 0 w 748"/>
              <a:gd name="T16" fmla="*/ 0 h 727"/>
              <a:gd name="T17" fmla="*/ 748 w 748"/>
              <a:gd name="T18" fmla="*/ 727 h 727"/>
            </a:gdLst>
            <a:ahLst/>
            <a:cxnLst>
              <a:cxn ang="T10">
                <a:pos x="T0" y="T1"/>
              </a:cxn>
              <a:cxn ang="T11">
                <a:pos x="T2" y="T3"/>
              </a:cxn>
              <a:cxn ang="T12">
                <a:pos x="T4" y="T5"/>
              </a:cxn>
              <a:cxn ang="T13">
                <a:pos x="T6" y="T7"/>
              </a:cxn>
              <a:cxn ang="T14">
                <a:pos x="T8" y="T9"/>
              </a:cxn>
            </a:cxnLst>
            <a:rect l="T15" t="T16" r="T17" b="T18"/>
            <a:pathLst>
              <a:path w="748" h="727">
                <a:moveTo>
                  <a:pt x="181" y="0"/>
                </a:moveTo>
                <a:lnTo>
                  <a:pt x="748" y="1"/>
                </a:lnTo>
                <a:lnTo>
                  <a:pt x="748" y="727"/>
                </a:lnTo>
                <a:lnTo>
                  <a:pt x="0" y="727"/>
                </a:lnTo>
                <a:lnTo>
                  <a:pt x="181" y="0"/>
                </a:lnTo>
                <a:close/>
              </a:path>
            </a:pathLst>
          </a:custGeom>
          <a:solidFill>
            <a:schemeClr val="accent5"/>
          </a:solidFill>
          <a:ln w="9525" cap="flat" cmpd="sng">
            <a:noFill/>
            <a:prstDash val="solid"/>
            <a:round/>
            <a:headEnd type="none" w="med" len="med"/>
            <a:tailEnd type="none" w="med" len="med"/>
          </a:ln>
        </p:spPr>
        <p:txBody>
          <a:bodyPr wrap="none" anchor="ctr"/>
          <a:lstStyle/>
          <a:p>
            <a:pPr algn="ctr"/>
            <a:endParaRPr lang="en-US" dirty="0"/>
          </a:p>
        </p:txBody>
      </p:sp>
      <p:sp>
        <p:nvSpPr>
          <p:cNvPr id="143" name="Freeform 21">
            <a:extLst>
              <a:ext uri="{FF2B5EF4-FFF2-40B4-BE49-F238E27FC236}">
                <a16:creationId xmlns:a16="http://schemas.microsoft.com/office/drawing/2014/main" id="{9C0E74EE-261E-4C07-A1A1-5DB18E6854A0}"/>
              </a:ext>
            </a:extLst>
          </p:cNvPr>
          <p:cNvSpPr>
            <a:spLocks/>
          </p:cNvSpPr>
          <p:nvPr/>
        </p:nvSpPr>
        <p:spPr bwMode="auto">
          <a:xfrm flipH="1">
            <a:off x="7231063" y="1662113"/>
            <a:ext cx="1322387" cy="1138237"/>
          </a:xfrm>
          <a:custGeom>
            <a:avLst/>
            <a:gdLst>
              <a:gd name="T0" fmla="*/ 363 w 907"/>
              <a:gd name="T1" fmla="*/ 0 h 726"/>
              <a:gd name="T2" fmla="*/ 0 w 907"/>
              <a:gd name="T3" fmla="*/ 726 h 726"/>
              <a:gd name="T4" fmla="*/ 726 w 907"/>
              <a:gd name="T5" fmla="*/ 726 h 726"/>
              <a:gd name="T6" fmla="*/ 907 w 907"/>
              <a:gd name="T7" fmla="*/ 0 h 726"/>
              <a:gd name="T8" fmla="*/ 363 w 907"/>
              <a:gd name="T9" fmla="*/ 0 h 726"/>
              <a:gd name="T10" fmla="*/ 0 60000 65536"/>
              <a:gd name="T11" fmla="*/ 0 60000 65536"/>
              <a:gd name="T12" fmla="*/ 0 60000 65536"/>
              <a:gd name="T13" fmla="*/ 0 60000 65536"/>
              <a:gd name="T14" fmla="*/ 0 60000 65536"/>
              <a:gd name="T15" fmla="*/ 0 w 907"/>
              <a:gd name="T16" fmla="*/ 0 h 726"/>
              <a:gd name="T17" fmla="*/ 907 w 907"/>
              <a:gd name="T18" fmla="*/ 726 h 726"/>
            </a:gdLst>
            <a:ahLst/>
            <a:cxnLst>
              <a:cxn ang="T10">
                <a:pos x="T0" y="T1"/>
              </a:cxn>
              <a:cxn ang="T11">
                <a:pos x="T2" y="T3"/>
              </a:cxn>
              <a:cxn ang="T12">
                <a:pos x="T4" y="T5"/>
              </a:cxn>
              <a:cxn ang="T13">
                <a:pos x="T6" y="T7"/>
              </a:cxn>
              <a:cxn ang="T14">
                <a:pos x="T8" y="T9"/>
              </a:cxn>
            </a:cxnLst>
            <a:rect l="T15" t="T16" r="T17" b="T18"/>
            <a:pathLst>
              <a:path w="907" h="726">
                <a:moveTo>
                  <a:pt x="363" y="0"/>
                </a:moveTo>
                <a:lnTo>
                  <a:pt x="0" y="726"/>
                </a:lnTo>
                <a:lnTo>
                  <a:pt x="726" y="726"/>
                </a:lnTo>
                <a:lnTo>
                  <a:pt x="907" y="0"/>
                </a:lnTo>
                <a:lnTo>
                  <a:pt x="363" y="0"/>
                </a:lnTo>
                <a:close/>
              </a:path>
            </a:pathLst>
          </a:custGeom>
          <a:solidFill>
            <a:schemeClr val="accent5"/>
          </a:solidFill>
          <a:ln w="9525" cap="flat" cmpd="sng">
            <a:noFill/>
            <a:prstDash val="solid"/>
            <a:round/>
            <a:headEnd type="none" w="med" len="med"/>
            <a:tailEnd type="none" w="med" len="med"/>
          </a:ln>
        </p:spPr>
        <p:txBody>
          <a:bodyPr wrap="none" anchor="ctr"/>
          <a:lstStyle/>
          <a:p>
            <a:pPr algn="ctr"/>
            <a:endParaRPr lang="en-US" dirty="0"/>
          </a:p>
        </p:txBody>
      </p:sp>
      <p:sp>
        <p:nvSpPr>
          <p:cNvPr id="145" name="Text Box 22">
            <a:extLst>
              <a:ext uri="{FF2B5EF4-FFF2-40B4-BE49-F238E27FC236}">
                <a16:creationId xmlns:a16="http://schemas.microsoft.com/office/drawing/2014/main" id="{BD365895-42F4-41CF-9661-0A119505F92F}"/>
              </a:ext>
            </a:extLst>
          </p:cNvPr>
          <p:cNvSpPr txBox="1">
            <a:spLocks noChangeArrowheads="1"/>
          </p:cNvSpPr>
          <p:nvPr/>
        </p:nvSpPr>
        <p:spPr bwMode="auto">
          <a:xfrm>
            <a:off x="6348413" y="4217988"/>
            <a:ext cx="1447800" cy="1138237"/>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47" name="Text Box 23">
            <a:extLst>
              <a:ext uri="{FF2B5EF4-FFF2-40B4-BE49-F238E27FC236}">
                <a16:creationId xmlns:a16="http://schemas.microsoft.com/office/drawing/2014/main" id="{875F85EC-8A38-44D3-A618-A7612B0D1128}"/>
              </a:ext>
            </a:extLst>
          </p:cNvPr>
          <p:cNvSpPr txBox="1">
            <a:spLocks noChangeArrowheads="1"/>
          </p:cNvSpPr>
          <p:nvPr/>
        </p:nvSpPr>
        <p:spPr bwMode="auto">
          <a:xfrm>
            <a:off x="7956550" y="4217988"/>
            <a:ext cx="1385887" cy="1138237"/>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49" name="Text Box 24">
            <a:extLst>
              <a:ext uri="{FF2B5EF4-FFF2-40B4-BE49-F238E27FC236}">
                <a16:creationId xmlns:a16="http://schemas.microsoft.com/office/drawing/2014/main" id="{E8FCDA29-1877-44DC-BD4E-0DF809FF76D0}"/>
              </a:ext>
            </a:extLst>
          </p:cNvPr>
          <p:cNvSpPr txBox="1">
            <a:spLocks noChangeArrowheads="1"/>
          </p:cNvSpPr>
          <p:nvPr/>
        </p:nvSpPr>
        <p:spPr bwMode="auto">
          <a:xfrm>
            <a:off x="6348413" y="2941638"/>
            <a:ext cx="1196975" cy="1135062"/>
          </a:xfrm>
          <a:prstGeom prst="rect">
            <a:avLst/>
          </a:prstGeom>
          <a:noFill/>
          <a:ln w="9525">
            <a:noFill/>
            <a:miter lim="800000"/>
            <a:headEnd/>
            <a:tailEnd/>
          </a:ln>
        </p:spPr>
        <p:txBody>
          <a:bodyPr lIns="0" rIns="0" anchor="ctr"/>
          <a:lstStyle>
            <a:defPPr>
              <a:defRPr lang="en-US"/>
            </a:defPPr>
            <a:lvl1pPr algn="ctr">
              <a:lnSpc>
                <a:spcPct val="90000"/>
              </a:lnSpc>
              <a:spcBef>
                <a:spcPct val="0"/>
              </a:spcBef>
              <a:buClrTx/>
              <a:buFontTx/>
              <a:buNone/>
              <a:defRPr sz="1000">
                <a:solidFill>
                  <a:schemeClr val="bg1"/>
                </a:solidFill>
              </a:defRPr>
            </a:lvl1pPr>
          </a:lstStyle>
          <a:p>
            <a:r>
              <a:rPr lang="de-DE" dirty="0"/>
              <a:t> Text</a:t>
            </a:r>
          </a:p>
        </p:txBody>
      </p:sp>
      <p:sp>
        <p:nvSpPr>
          <p:cNvPr id="151" name="Text Box 25">
            <a:extLst>
              <a:ext uri="{FF2B5EF4-FFF2-40B4-BE49-F238E27FC236}">
                <a16:creationId xmlns:a16="http://schemas.microsoft.com/office/drawing/2014/main" id="{EA5DEE05-9A54-4072-8249-B17E38B8C702}"/>
              </a:ext>
            </a:extLst>
          </p:cNvPr>
          <p:cNvSpPr txBox="1">
            <a:spLocks noChangeArrowheads="1"/>
          </p:cNvSpPr>
          <p:nvPr/>
        </p:nvSpPr>
        <p:spPr bwMode="auto">
          <a:xfrm>
            <a:off x="7672388" y="2941638"/>
            <a:ext cx="1135062" cy="1135062"/>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53" name="Text Box 26">
            <a:extLst>
              <a:ext uri="{FF2B5EF4-FFF2-40B4-BE49-F238E27FC236}">
                <a16:creationId xmlns:a16="http://schemas.microsoft.com/office/drawing/2014/main" id="{BF112E61-B22F-4BC4-A502-EA8FFD7AEA32}"/>
              </a:ext>
            </a:extLst>
          </p:cNvPr>
          <p:cNvSpPr txBox="1">
            <a:spLocks noChangeArrowheads="1"/>
          </p:cNvSpPr>
          <p:nvPr/>
        </p:nvSpPr>
        <p:spPr bwMode="auto">
          <a:xfrm>
            <a:off x="6348413" y="1768643"/>
            <a:ext cx="882650" cy="925178"/>
          </a:xfrm>
          <a:prstGeom prst="rect">
            <a:avLst/>
          </a:prstGeom>
          <a:noFill/>
          <a:ln w="9525">
            <a:noFill/>
            <a:miter lim="800000"/>
            <a:headEnd/>
            <a:tailEnd/>
          </a:ln>
        </p:spPr>
        <p:txBody>
          <a:bodyPr lIns="0" rIns="0" anchor="ctr"/>
          <a:lstStyle/>
          <a:p>
            <a:pPr algn="ctr">
              <a:lnSpc>
                <a:spcPct val="90000"/>
              </a:lnSpc>
              <a:spcBef>
                <a:spcPct val="0"/>
              </a:spcBef>
              <a:buClrTx/>
              <a:buFontTx/>
              <a:buNone/>
            </a:pPr>
            <a:endParaRPr lang="de-DE" sz="1000" dirty="0">
              <a:solidFill>
                <a:schemeClr val="bg1"/>
              </a:solidFill>
            </a:endParaRPr>
          </a:p>
          <a:p>
            <a:pPr algn="ctr">
              <a:lnSpc>
                <a:spcPct val="90000"/>
              </a:lnSpc>
              <a:spcBef>
                <a:spcPct val="0"/>
              </a:spcBef>
              <a:buClrTx/>
              <a:buFontTx/>
              <a:buNone/>
            </a:pPr>
            <a:r>
              <a:rPr lang="de-DE" sz="1000" dirty="0">
                <a:solidFill>
                  <a:schemeClr val="bg1"/>
                </a:solidFill>
              </a:rPr>
              <a:t>Text</a:t>
            </a:r>
          </a:p>
        </p:txBody>
      </p:sp>
      <p:sp>
        <p:nvSpPr>
          <p:cNvPr id="155" name="Text Box 27">
            <a:extLst>
              <a:ext uri="{FF2B5EF4-FFF2-40B4-BE49-F238E27FC236}">
                <a16:creationId xmlns:a16="http://schemas.microsoft.com/office/drawing/2014/main" id="{ACCE045E-B235-4D5F-8DB4-3D67C5AC7EA5}"/>
              </a:ext>
            </a:extLst>
          </p:cNvPr>
          <p:cNvSpPr txBox="1">
            <a:spLocks noChangeArrowheads="1"/>
          </p:cNvSpPr>
          <p:nvPr/>
        </p:nvSpPr>
        <p:spPr bwMode="auto">
          <a:xfrm>
            <a:off x="7358063" y="1768643"/>
            <a:ext cx="1006475" cy="925178"/>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Text</a:t>
            </a:r>
          </a:p>
        </p:txBody>
      </p:sp>
      <p:sp>
        <p:nvSpPr>
          <p:cNvPr id="157" name="Text Box 28">
            <a:extLst>
              <a:ext uri="{FF2B5EF4-FFF2-40B4-BE49-F238E27FC236}">
                <a16:creationId xmlns:a16="http://schemas.microsoft.com/office/drawing/2014/main" id="{87BF5427-DDEF-45AF-A858-B61915FED70A}"/>
              </a:ext>
            </a:extLst>
          </p:cNvPr>
          <p:cNvSpPr txBox="1">
            <a:spLocks noChangeArrowheads="1"/>
          </p:cNvSpPr>
          <p:nvPr/>
        </p:nvSpPr>
        <p:spPr bwMode="auto">
          <a:xfrm>
            <a:off x="2805906" y="5926893"/>
            <a:ext cx="1525588" cy="184666"/>
          </a:xfrm>
          <a:prstGeom prst="rect">
            <a:avLst/>
          </a:prstGeom>
          <a:noFill/>
          <a:ln w="9525">
            <a:noFill/>
            <a:miter lim="800000"/>
            <a:headEnd/>
            <a:tailEnd/>
          </a:ln>
        </p:spPr>
        <p:txBody>
          <a:bodyPr lIns="0" tIns="0" rIns="0" bIns="0">
            <a:spAutoFit/>
          </a:bodyPr>
          <a:lstStyle/>
          <a:p>
            <a:pPr algn="ctr">
              <a:spcBef>
                <a:spcPct val="0"/>
              </a:spcBef>
              <a:buClrTx/>
              <a:buFontTx/>
              <a:buNone/>
            </a:pPr>
            <a:r>
              <a:rPr lang="de-DE" sz="1200" b="1" dirty="0"/>
              <a:t>Text</a:t>
            </a:r>
          </a:p>
        </p:txBody>
      </p:sp>
      <p:sp>
        <p:nvSpPr>
          <p:cNvPr id="159" name="Text Box 29">
            <a:extLst>
              <a:ext uri="{FF2B5EF4-FFF2-40B4-BE49-F238E27FC236}">
                <a16:creationId xmlns:a16="http://schemas.microsoft.com/office/drawing/2014/main" id="{0CAE58C6-F235-4B64-9A06-69D3EBD8FD42}"/>
              </a:ext>
            </a:extLst>
          </p:cNvPr>
          <p:cNvSpPr txBox="1">
            <a:spLocks noChangeArrowheads="1"/>
          </p:cNvSpPr>
          <p:nvPr/>
        </p:nvSpPr>
        <p:spPr bwMode="auto">
          <a:xfrm>
            <a:off x="4697414" y="5918200"/>
            <a:ext cx="1271587" cy="184666"/>
          </a:xfrm>
          <a:prstGeom prst="rect">
            <a:avLst/>
          </a:prstGeom>
          <a:noFill/>
          <a:ln w="9525">
            <a:noFill/>
            <a:miter lim="800000"/>
            <a:headEnd/>
            <a:tailEnd/>
          </a:ln>
        </p:spPr>
        <p:txBody>
          <a:bodyPr lIns="0" tIns="0" rIns="0" bIns="0">
            <a:spAutoFit/>
          </a:bodyPr>
          <a:lstStyle/>
          <a:p>
            <a:pPr algn="ctr">
              <a:spcBef>
                <a:spcPct val="0"/>
              </a:spcBef>
              <a:buClrTx/>
              <a:buFontTx/>
              <a:buNone/>
            </a:pPr>
            <a:r>
              <a:rPr lang="de-DE" sz="1200" b="1" dirty="0"/>
              <a:t>Text</a:t>
            </a:r>
          </a:p>
        </p:txBody>
      </p:sp>
      <p:sp>
        <p:nvSpPr>
          <p:cNvPr id="161" name="Text Box 30">
            <a:extLst>
              <a:ext uri="{FF2B5EF4-FFF2-40B4-BE49-F238E27FC236}">
                <a16:creationId xmlns:a16="http://schemas.microsoft.com/office/drawing/2014/main" id="{FA28937B-297E-45E8-A583-E065B0BA6562}"/>
              </a:ext>
            </a:extLst>
          </p:cNvPr>
          <p:cNvSpPr txBox="1">
            <a:spLocks noChangeArrowheads="1"/>
          </p:cNvSpPr>
          <p:nvPr/>
        </p:nvSpPr>
        <p:spPr bwMode="auto">
          <a:xfrm>
            <a:off x="6477000" y="5918200"/>
            <a:ext cx="1271588" cy="184666"/>
          </a:xfrm>
          <a:prstGeom prst="rect">
            <a:avLst/>
          </a:prstGeom>
          <a:noFill/>
          <a:ln w="9525">
            <a:noFill/>
            <a:miter lim="800000"/>
            <a:headEnd/>
            <a:tailEnd/>
          </a:ln>
        </p:spPr>
        <p:txBody>
          <a:bodyPr lIns="0" tIns="0" rIns="0" bIns="0">
            <a:spAutoFit/>
          </a:bodyPr>
          <a:lstStyle/>
          <a:p>
            <a:pPr algn="ctr">
              <a:spcBef>
                <a:spcPct val="0"/>
              </a:spcBef>
              <a:buClrTx/>
              <a:buFontTx/>
              <a:buNone/>
            </a:pPr>
            <a:r>
              <a:rPr lang="de-DE" sz="1200" b="1" dirty="0"/>
              <a:t>Text</a:t>
            </a:r>
          </a:p>
        </p:txBody>
      </p:sp>
      <p:sp>
        <p:nvSpPr>
          <p:cNvPr id="163" name="Text Box 31">
            <a:extLst>
              <a:ext uri="{FF2B5EF4-FFF2-40B4-BE49-F238E27FC236}">
                <a16:creationId xmlns:a16="http://schemas.microsoft.com/office/drawing/2014/main" id="{169D3007-4922-45B5-ACBA-AC4D8211E701}"/>
              </a:ext>
            </a:extLst>
          </p:cNvPr>
          <p:cNvSpPr txBox="1">
            <a:spLocks noChangeArrowheads="1"/>
          </p:cNvSpPr>
          <p:nvPr/>
        </p:nvSpPr>
        <p:spPr bwMode="auto">
          <a:xfrm>
            <a:off x="8320089" y="5918200"/>
            <a:ext cx="1463675" cy="184666"/>
          </a:xfrm>
          <a:prstGeom prst="rect">
            <a:avLst/>
          </a:prstGeom>
          <a:noFill/>
          <a:ln w="9525">
            <a:noFill/>
            <a:miter lim="800000"/>
            <a:headEnd/>
            <a:tailEnd/>
          </a:ln>
        </p:spPr>
        <p:txBody>
          <a:bodyPr lIns="0" tIns="0" rIns="0" bIns="0">
            <a:spAutoFit/>
          </a:bodyPr>
          <a:lstStyle/>
          <a:p>
            <a:pPr algn="ctr">
              <a:spcBef>
                <a:spcPct val="0"/>
              </a:spcBef>
              <a:buClrTx/>
              <a:buFontTx/>
              <a:buNone/>
            </a:pPr>
            <a:r>
              <a:rPr lang="de-DE" sz="1200" b="1" dirty="0"/>
              <a:t>Text</a:t>
            </a:r>
          </a:p>
        </p:txBody>
      </p:sp>
      <p:sp>
        <p:nvSpPr>
          <p:cNvPr id="165" name="Rectangle 33">
            <a:extLst>
              <a:ext uri="{FF2B5EF4-FFF2-40B4-BE49-F238E27FC236}">
                <a16:creationId xmlns:a16="http://schemas.microsoft.com/office/drawing/2014/main" id="{962879B9-2826-4B32-8930-9A0183F8AEEE}"/>
              </a:ext>
            </a:extLst>
          </p:cNvPr>
          <p:cNvSpPr>
            <a:spLocks noChangeArrowheads="1"/>
          </p:cNvSpPr>
          <p:nvPr/>
        </p:nvSpPr>
        <p:spPr bwMode="auto">
          <a:xfrm>
            <a:off x="2865437" y="5438407"/>
            <a:ext cx="6840537" cy="408356"/>
          </a:xfrm>
          <a:prstGeom prst="rect">
            <a:avLst/>
          </a:prstGeom>
          <a:solidFill>
            <a:schemeClr val="accent5">
              <a:lumMod val="75000"/>
            </a:schemeClr>
          </a:solidFill>
          <a:ln w="9525" algn="ctr">
            <a:noFill/>
            <a:miter lim="800000"/>
            <a:headEnd/>
            <a:tailEnd/>
          </a:ln>
        </p:spPr>
        <p:txBody>
          <a:bodyPr wrap="none" lIns="0" tIns="0" rIns="0" bIns="0" anchor="ctr"/>
          <a:lstStyle/>
          <a:p>
            <a:pPr algn="ctr" defTabSz="762000" eaLnBrk="0" hangingPunct="0">
              <a:spcBef>
                <a:spcPct val="30000"/>
              </a:spcBef>
              <a:buSzPct val="115000"/>
            </a:pPr>
            <a:r>
              <a:rPr lang="de-DE" sz="1200" b="1" dirty="0">
                <a:solidFill>
                  <a:schemeClr val="bg1"/>
                </a:solidFill>
                <a:latin typeface="+mj-lt"/>
              </a:rPr>
              <a:t>Text</a:t>
            </a:r>
          </a:p>
        </p:txBody>
      </p:sp>
      <p:sp>
        <p:nvSpPr>
          <p:cNvPr id="167" name="Freeform 38">
            <a:extLst>
              <a:ext uri="{FF2B5EF4-FFF2-40B4-BE49-F238E27FC236}">
                <a16:creationId xmlns:a16="http://schemas.microsoft.com/office/drawing/2014/main" id="{1A21815F-EE0F-4967-93E3-D4166B5AFF33}"/>
              </a:ext>
            </a:extLst>
          </p:cNvPr>
          <p:cNvSpPr>
            <a:spLocks/>
          </p:cNvSpPr>
          <p:nvPr/>
        </p:nvSpPr>
        <p:spPr bwMode="auto">
          <a:xfrm>
            <a:off x="2865438" y="4216401"/>
            <a:ext cx="1876425" cy="1138238"/>
          </a:xfrm>
          <a:custGeom>
            <a:avLst/>
            <a:gdLst>
              <a:gd name="T0" fmla="*/ 380 w 1350"/>
              <a:gd name="T1" fmla="*/ 0 h 726"/>
              <a:gd name="T2" fmla="*/ 0 w 1350"/>
              <a:gd name="T3" fmla="*/ 726 h 726"/>
              <a:gd name="T4" fmla="*/ 1160 w 1350"/>
              <a:gd name="T5" fmla="*/ 726 h 726"/>
              <a:gd name="T6" fmla="*/ 1350 w 1350"/>
              <a:gd name="T7" fmla="*/ 0 h 726"/>
              <a:gd name="T8" fmla="*/ 380 w 1350"/>
              <a:gd name="T9" fmla="*/ 0 h 726"/>
              <a:gd name="T10" fmla="*/ 0 60000 65536"/>
              <a:gd name="T11" fmla="*/ 0 60000 65536"/>
              <a:gd name="T12" fmla="*/ 0 60000 65536"/>
              <a:gd name="T13" fmla="*/ 0 60000 65536"/>
              <a:gd name="T14" fmla="*/ 0 60000 65536"/>
              <a:gd name="T15" fmla="*/ 0 w 1350"/>
              <a:gd name="T16" fmla="*/ 0 h 726"/>
              <a:gd name="T17" fmla="*/ 1350 w 1350"/>
              <a:gd name="T18" fmla="*/ 726 h 726"/>
            </a:gdLst>
            <a:ahLst/>
            <a:cxnLst>
              <a:cxn ang="T10">
                <a:pos x="T0" y="T1"/>
              </a:cxn>
              <a:cxn ang="T11">
                <a:pos x="T2" y="T3"/>
              </a:cxn>
              <a:cxn ang="T12">
                <a:pos x="T4" y="T5"/>
              </a:cxn>
              <a:cxn ang="T13">
                <a:pos x="T6" y="T7"/>
              </a:cxn>
              <a:cxn ang="T14">
                <a:pos x="T8" y="T9"/>
              </a:cxn>
            </a:cxnLst>
            <a:rect l="T15" t="T16" r="T17" b="T18"/>
            <a:pathLst>
              <a:path w="1350" h="726">
                <a:moveTo>
                  <a:pt x="380" y="0"/>
                </a:moveTo>
                <a:lnTo>
                  <a:pt x="0" y="726"/>
                </a:lnTo>
                <a:lnTo>
                  <a:pt x="1160" y="726"/>
                </a:lnTo>
                <a:lnTo>
                  <a:pt x="1350" y="0"/>
                </a:lnTo>
                <a:lnTo>
                  <a:pt x="380" y="0"/>
                </a:lnTo>
                <a:close/>
              </a:path>
            </a:pathLst>
          </a:custGeom>
          <a:solidFill>
            <a:schemeClr val="accent3"/>
          </a:solidFill>
          <a:ln w="9525" cap="flat" cmpd="sng">
            <a:noFill/>
            <a:prstDash val="solid"/>
            <a:round/>
            <a:headEnd type="none" w="med" len="med"/>
            <a:tailEnd type="none" w="med" len="med"/>
          </a:ln>
        </p:spPr>
        <p:txBody>
          <a:bodyPr wrap="none" anchor="ctr"/>
          <a:lstStyle/>
          <a:p>
            <a:pPr algn="ctr"/>
            <a:endParaRPr lang="en-US" dirty="0"/>
          </a:p>
        </p:txBody>
      </p:sp>
      <p:sp>
        <p:nvSpPr>
          <p:cNvPr id="169" name="Freeform 39">
            <a:extLst>
              <a:ext uri="{FF2B5EF4-FFF2-40B4-BE49-F238E27FC236}">
                <a16:creationId xmlns:a16="http://schemas.microsoft.com/office/drawing/2014/main" id="{90A4C2AB-ADA7-4ED6-9325-637B1C77EA22}"/>
              </a:ext>
            </a:extLst>
          </p:cNvPr>
          <p:cNvSpPr>
            <a:spLocks/>
          </p:cNvSpPr>
          <p:nvPr/>
        </p:nvSpPr>
        <p:spPr bwMode="auto">
          <a:xfrm>
            <a:off x="4616450" y="4216401"/>
            <a:ext cx="1606550" cy="1138238"/>
          </a:xfrm>
          <a:custGeom>
            <a:avLst/>
            <a:gdLst>
              <a:gd name="T0" fmla="*/ 186 w 1156"/>
              <a:gd name="T1" fmla="*/ 0 h 726"/>
              <a:gd name="T2" fmla="*/ 1156 w 1156"/>
              <a:gd name="T3" fmla="*/ 0 h 726"/>
              <a:gd name="T4" fmla="*/ 1156 w 1156"/>
              <a:gd name="T5" fmla="*/ 726 h 726"/>
              <a:gd name="T6" fmla="*/ 0 w 1156"/>
              <a:gd name="T7" fmla="*/ 726 h 726"/>
              <a:gd name="T8" fmla="*/ 186 w 1156"/>
              <a:gd name="T9" fmla="*/ 0 h 726"/>
              <a:gd name="T10" fmla="*/ 0 60000 65536"/>
              <a:gd name="T11" fmla="*/ 0 60000 65536"/>
              <a:gd name="T12" fmla="*/ 0 60000 65536"/>
              <a:gd name="T13" fmla="*/ 0 60000 65536"/>
              <a:gd name="T14" fmla="*/ 0 60000 65536"/>
              <a:gd name="T15" fmla="*/ 0 w 1156"/>
              <a:gd name="T16" fmla="*/ 0 h 726"/>
              <a:gd name="T17" fmla="*/ 1156 w 1156"/>
              <a:gd name="T18" fmla="*/ 726 h 726"/>
            </a:gdLst>
            <a:ahLst/>
            <a:cxnLst>
              <a:cxn ang="T10">
                <a:pos x="T0" y="T1"/>
              </a:cxn>
              <a:cxn ang="T11">
                <a:pos x="T2" y="T3"/>
              </a:cxn>
              <a:cxn ang="T12">
                <a:pos x="T4" y="T5"/>
              </a:cxn>
              <a:cxn ang="T13">
                <a:pos x="T6" y="T7"/>
              </a:cxn>
              <a:cxn ang="T14">
                <a:pos x="T8" y="T9"/>
              </a:cxn>
            </a:cxnLst>
            <a:rect l="T15" t="T16" r="T17" b="T18"/>
            <a:pathLst>
              <a:path w="1156" h="726">
                <a:moveTo>
                  <a:pt x="186" y="0"/>
                </a:moveTo>
                <a:lnTo>
                  <a:pt x="1156" y="0"/>
                </a:lnTo>
                <a:lnTo>
                  <a:pt x="1156" y="726"/>
                </a:lnTo>
                <a:lnTo>
                  <a:pt x="0" y="726"/>
                </a:lnTo>
                <a:lnTo>
                  <a:pt x="186" y="0"/>
                </a:lnTo>
                <a:close/>
              </a:path>
            </a:pathLst>
          </a:custGeom>
          <a:solidFill>
            <a:schemeClr val="accent3"/>
          </a:solidFill>
          <a:ln w="9525" cap="flat" cmpd="sng">
            <a:noFill/>
            <a:prstDash val="solid"/>
            <a:round/>
            <a:headEnd type="none" w="med" len="med"/>
            <a:tailEnd type="none" w="med" len="med"/>
          </a:ln>
        </p:spPr>
        <p:txBody>
          <a:bodyPr wrap="none" anchor="ctr"/>
          <a:lstStyle/>
          <a:p>
            <a:pPr algn="ctr"/>
            <a:endParaRPr lang="en-US" dirty="0"/>
          </a:p>
        </p:txBody>
      </p:sp>
      <p:sp>
        <p:nvSpPr>
          <p:cNvPr id="171" name="Freeform 40">
            <a:extLst>
              <a:ext uri="{FF2B5EF4-FFF2-40B4-BE49-F238E27FC236}">
                <a16:creationId xmlns:a16="http://schemas.microsoft.com/office/drawing/2014/main" id="{4EFBCA3C-500D-4DA7-83D5-5A8DB6D62D41}"/>
              </a:ext>
            </a:extLst>
          </p:cNvPr>
          <p:cNvSpPr>
            <a:spLocks/>
          </p:cNvSpPr>
          <p:nvPr/>
        </p:nvSpPr>
        <p:spPr bwMode="auto">
          <a:xfrm flipH="1">
            <a:off x="3443288" y="2940051"/>
            <a:ext cx="1582737" cy="1138238"/>
          </a:xfrm>
          <a:custGeom>
            <a:avLst/>
            <a:gdLst>
              <a:gd name="T0" fmla="*/ 763 w 1138"/>
              <a:gd name="T1" fmla="*/ 1 h 727"/>
              <a:gd name="T2" fmla="*/ 1138 w 1138"/>
              <a:gd name="T3" fmla="*/ 727 h 727"/>
              <a:gd name="T4" fmla="*/ 195 w 1138"/>
              <a:gd name="T5" fmla="*/ 727 h 727"/>
              <a:gd name="T6" fmla="*/ 0 w 1138"/>
              <a:gd name="T7" fmla="*/ 0 h 727"/>
              <a:gd name="T8" fmla="*/ 763 w 1138"/>
              <a:gd name="T9" fmla="*/ 1 h 727"/>
              <a:gd name="T10" fmla="*/ 0 60000 65536"/>
              <a:gd name="T11" fmla="*/ 0 60000 65536"/>
              <a:gd name="T12" fmla="*/ 0 60000 65536"/>
              <a:gd name="T13" fmla="*/ 0 60000 65536"/>
              <a:gd name="T14" fmla="*/ 0 60000 65536"/>
              <a:gd name="T15" fmla="*/ 0 w 1138"/>
              <a:gd name="T16" fmla="*/ 0 h 727"/>
              <a:gd name="T17" fmla="*/ 1138 w 1138"/>
              <a:gd name="T18" fmla="*/ 727 h 727"/>
            </a:gdLst>
            <a:ahLst/>
            <a:cxnLst>
              <a:cxn ang="T10">
                <a:pos x="T0" y="T1"/>
              </a:cxn>
              <a:cxn ang="T11">
                <a:pos x="T2" y="T3"/>
              </a:cxn>
              <a:cxn ang="T12">
                <a:pos x="T4" y="T5"/>
              </a:cxn>
              <a:cxn ang="T13">
                <a:pos x="T6" y="T7"/>
              </a:cxn>
              <a:cxn ang="T14">
                <a:pos x="T8" y="T9"/>
              </a:cxn>
            </a:cxnLst>
            <a:rect l="T15" t="T16" r="T17" b="T18"/>
            <a:pathLst>
              <a:path w="1138" h="727">
                <a:moveTo>
                  <a:pt x="763" y="1"/>
                </a:moveTo>
                <a:lnTo>
                  <a:pt x="1138" y="727"/>
                </a:lnTo>
                <a:lnTo>
                  <a:pt x="195" y="727"/>
                </a:lnTo>
                <a:lnTo>
                  <a:pt x="0" y="0"/>
                </a:lnTo>
                <a:lnTo>
                  <a:pt x="763" y="1"/>
                </a:lnTo>
                <a:close/>
              </a:path>
            </a:pathLst>
          </a:custGeom>
          <a:solidFill>
            <a:schemeClr val="accent2"/>
          </a:solidFill>
          <a:ln w="9525" cap="flat" cmpd="sng">
            <a:noFill/>
            <a:prstDash val="solid"/>
            <a:round/>
            <a:headEnd type="none" w="med" len="med"/>
            <a:tailEnd type="none" w="med" len="med"/>
          </a:ln>
        </p:spPr>
        <p:txBody>
          <a:bodyPr wrap="none" anchor="ctr"/>
          <a:lstStyle/>
          <a:p>
            <a:pPr algn="ctr"/>
            <a:endParaRPr lang="en-US" dirty="0"/>
          </a:p>
        </p:txBody>
      </p:sp>
      <p:sp>
        <p:nvSpPr>
          <p:cNvPr id="173" name="Freeform 41">
            <a:extLst>
              <a:ext uri="{FF2B5EF4-FFF2-40B4-BE49-F238E27FC236}">
                <a16:creationId xmlns:a16="http://schemas.microsoft.com/office/drawing/2014/main" id="{3A00E217-089C-4CFA-985B-614D3BCF45DB}"/>
              </a:ext>
            </a:extLst>
          </p:cNvPr>
          <p:cNvSpPr>
            <a:spLocks/>
          </p:cNvSpPr>
          <p:nvPr/>
        </p:nvSpPr>
        <p:spPr bwMode="auto">
          <a:xfrm>
            <a:off x="4900613" y="2940051"/>
            <a:ext cx="1322387" cy="1138238"/>
          </a:xfrm>
          <a:custGeom>
            <a:avLst/>
            <a:gdLst>
              <a:gd name="T0" fmla="*/ 187 w 952"/>
              <a:gd name="T1" fmla="*/ 0 h 727"/>
              <a:gd name="T2" fmla="*/ 952 w 952"/>
              <a:gd name="T3" fmla="*/ 1 h 727"/>
              <a:gd name="T4" fmla="*/ 952 w 952"/>
              <a:gd name="T5" fmla="*/ 727 h 727"/>
              <a:gd name="T6" fmla="*/ 0 w 952"/>
              <a:gd name="T7" fmla="*/ 727 h 727"/>
              <a:gd name="T8" fmla="*/ 187 w 952"/>
              <a:gd name="T9" fmla="*/ 0 h 727"/>
              <a:gd name="T10" fmla="*/ 0 60000 65536"/>
              <a:gd name="T11" fmla="*/ 0 60000 65536"/>
              <a:gd name="T12" fmla="*/ 0 60000 65536"/>
              <a:gd name="T13" fmla="*/ 0 60000 65536"/>
              <a:gd name="T14" fmla="*/ 0 60000 65536"/>
              <a:gd name="T15" fmla="*/ 0 w 952"/>
              <a:gd name="T16" fmla="*/ 0 h 727"/>
              <a:gd name="T17" fmla="*/ 952 w 952"/>
              <a:gd name="T18" fmla="*/ 727 h 727"/>
            </a:gdLst>
            <a:ahLst/>
            <a:cxnLst>
              <a:cxn ang="T10">
                <a:pos x="T0" y="T1"/>
              </a:cxn>
              <a:cxn ang="T11">
                <a:pos x="T2" y="T3"/>
              </a:cxn>
              <a:cxn ang="T12">
                <a:pos x="T4" y="T5"/>
              </a:cxn>
              <a:cxn ang="T13">
                <a:pos x="T6" y="T7"/>
              </a:cxn>
              <a:cxn ang="T14">
                <a:pos x="T8" y="T9"/>
              </a:cxn>
            </a:cxnLst>
            <a:rect l="T15" t="T16" r="T17" b="T18"/>
            <a:pathLst>
              <a:path w="952" h="727">
                <a:moveTo>
                  <a:pt x="187" y="0"/>
                </a:moveTo>
                <a:lnTo>
                  <a:pt x="952" y="1"/>
                </a:lnTo>
                <a:lnTo>
                  <a:pt x="952" y="727"/>
                </a:lnTo>
                <a:lnTo>
                  <a:pt x="0" y="727"/>
                </a:lnTo>
                <a:lnTo>
                  <a:pt x="187" y="0"/>
                </a:lnTo>
                <a:close/>
              </a:path>
            </a:pathLst>
          </a:custGeom>
          <a:solidFill>
            <a:schemeClr val="accent2"/>
          </a:solidFill>
          <a:ln w="9525" cap="flat" cmpd="sng">
            <a:noFill/>
            <a:prstDash val="solid"/>
            <a:round/>
            <a:headEnd type="none" w="med" len="med"/>
            <a:tailEnd type="none" w="med" len="med"/>
          </a:ln>
        </p:spPr>
        <p:txBody>
          <a:bodyPr wrap="none" anchor="ctr"/>
          <a:lstStyle/>
          <a:p>
            <a:pPr algn="ctr"/>
            <a:endParaRPr lang="en-US" dirty="0"/>
          </a:p>
        </p:txBody>
      </p:sp>
      <p:sp>
        <p:nvSpPr>
          <p:cNvPr id="175" name="Freeform 42">
            <a:extLst>
              <a:ext uri="{FF2B5EF4-FFF2-40B4-BE49-F238E27FC236}">
                <a16:creationId xmlns:a16="http://schemas.microsoft.com/office/drawing/2014/main" id="{844F1210-015D-432D-923A-8B0E3BA8D9B1}"/>
              </a:ext>
            </a:extLst>
          </p:cNvPr>
          <p:cNvSpPr>
            <a:spLocks/>
          </p:cNvSpPr>
          <p:nvPr/>
        </p:nvSpPr>
        <p:spPr bwMode="auto">
          <a:xfrm>
            <a:off x="5183188" y="1660526"/>
            <a:ext cx="1039812" cy="1139825"/>
          </a:xfrm>
          <a:custGeom>
            <a:avLst/>
            <a:gdLst>
              <a:gd name="T0" fmla="*/ 181 w 748"/>
              <a:gd name="T1" fmla="*/ 0 h 727"/>
              <a:gd name="T2" fmla="*/ 748 w 748"/>
              <a:gd name="T3" fmla="*/ 1 h 727"/>
              <a:gd name="T4" fmla="*/ 748 w 748"/>
              <a:gd name="T5" fmla="*/ 727 h 727"/>
              <a:gd name="T6" fmla="*/ 0 w 748"/>
              <a:gd name="T7" fmla="*/ 727 h 727"/>
              <a:gd name="T8" fmla="*/ 181 w 748"/>
              <a:gd name="T9" fmla="*/ 0 h 727"/>
              <a:gd name="T10" fmla="*/ 0 60000 65536"/>
              <a:gd name="T11" fmla="*/ 0 60000 65536"/>
              <a:gd name="T12" fmla="*/ 0 60000 65536"/>
              <a:gd name="T13" fmla="*/ 0 60000 65536"/>
              <a:gd name="T14" fmla="*/ 0 60000 65536"/>
              <a:gd name="T15" fmla="*/ 0 w 748"/>
              <a:gd name="T16" fmla="*/ 0 h 727"/>
              <a:gd name="T17" fmla="*/ 748 w 748"/>
              <a:gd name="T18" fmla="*/ 727 h 727"/>
            </a:gdLst>
            <a:ahLst/>
            <a:cxnLst>
              <a:cxn ang="T10">
                <a:pos x="T0" y="T1"/>
              </a:cxn>
              <a:cxn ang="T11">
                <a:pos x="T2" y="T3"/>
              </a:cxn>
              <a:cxn ang="T12">
                <a:pos x="T4" y="T5"/>
              </a:cxn>
              <a:cxn ang="T13">
                <a:pos x="T6" y="T7"/>
              </a:cxn>
              <a:cxn ang="T14">
                <a:pos x="T8" y="T9"/>
              </a:cxn>
            </a:cxnLst>
            <a:rect l="T15" t="T16" r="T17" b="T18"/>
            <a:pathLst>
              <a:path w="748" h="727">
                <a:moveTo>
                  <a:pt x="181" y="0"/>
                </a:moveTo>
                <a:lnTo>
                  <a:pt x="748" y="1"/>
                </a:lnTo>
                <a:lnTo>
                  <a:pt x="748" y="727"/>
                </a:lnTo>
                <a:lnTo>
                  <a:pt x="0" y="727"/>
                </a:lnTo>
                <a:lnTo>
                  <a:pt x="181" y="0"/>
                </a:lnTo>
                <a:close/>
              </a:path>
            </a:pathLst>
          </a:custGeom>
          <a:solidFill>
            <a:schemeClr val="accent5"/>
          </a:solidFill>
          <a:ln w="9525" cap="flat" cmpd="sng">
            <a:noFill/>
            <a:prstDash val="solid"/>
            <a:round/>
            <a:headEnd type="none" w="med" len="med"/>
            <a:tailEnd type="none" w="med" len="med"/>
          </a:ln>
        </p:spPr>
        <p:txBody>
          <a:bodyPr wrap="none" anchor="ctr"/>
          <a:lstStyle/>
          <a:p>
            <a:pPr algn="ctr"/>
            <a:endParaRPr lang="en-US" dirty="0"/>
          </a:p>
        </p:txBody>
      </p:sp>
      <p:sp>
        <p:nvSpPr>
          <p:cNvPr id="177" name="Freeform 43">
            <a:extLst>
              <a:ext uri="{FF2B5EF4-FFF2-40B4-BE49-F238E27FC236}">
                <a16:creationId xmlns:a16="http://schemas.microsoft.com/office/drawing/2014/main" id="{ACBB7350-222B-4B1B-8A6E-01E669534A61}"/>
              </a:ext>
            </a:extLst>
          </p:cNvPr>
          <p:cNvSpPr>
            <a:spLocks/>
          </p:cNvSpPr>
          <p:nvPr/>
        </p:nvSpPr>
        <p:spPr bwMode="auto">
          <a:xfrm>
            <a:off x="4017963" y="1660526"/>
            <a:ext cx="1322387" cy="1138238"/>
          </a:xfrm>
          <a:custGeom>
            <a:avLst/>
            <a:gdLst>
              <a:gd name="T0" fmla="*/ 363 w 907"/>
              <a:gd name="T1" fmla="*/ 0 h 726"/>
              <a:gd name="T2" fmla="*/ 0 w 907"/>
              <a:gd name="T3" fmla="*/ 726 h 726"/>
              <a:gd name="T4" fmla="*/ 726 w 907"/>
              <a:gd name="T5" fmla="*/ 726 h 726"/>
              <a:gd name="T6" fmla="*/ 907 w 907"/>
              <a:gd name="T7" fmla="*/ 0 h 726"/>
              <a:gd name="T8" fmla="*/ 363 w 907"/>
              <a:gd name="T9" fmla="*/ 0 h 726"/>
              <a:gd name="T10" fmla="*/ 0 60000 65536"/>
              <a:gd name="T11" fmla="*/ 0 60000 65536"/>
              <a:gd name="T12" fmla="*/ 0 60000 65536"/>
              <a:gd name="T13" fmla="*/ 0 60000 65536"/>
              <a:gd name="T14" fmla="*/ 0 60000 65536"/>
              <a:gd name="T15" fmla="*/ 0 w 907"/>
              <a:gd name="T16" fmla="*/ 0 h 726"/>
              <a:gd name="T17" fmla="*/ 907 w 907"/>
              <a:gd name="T18" fmla="*/ 726 h 726"/>
            </a:gdLst>
            <a:ahLst/>
            <a:cxnLst>
              <a:cxn ang="T10">
                <a:pos x="T0" y="T1"/>
              </a:cxn>
              <a:cxn ang="T11">
                <a:pos x="T2" y="T3"/>
              </a:cxn>
              <a:cxn ang="T12">
                <a:pos x="T4" y="T5"/>
              </a:cxn>
              <a:cxn ang="T13">
                <a:pos x="T6" y="T7"/>
              </a:cxn>
              <a:cxn ang="T14">
                <a:pos x="T8" y="T9"/>
              </a:cxn>
            </a:cxnLst>
            <a:rect l="T15" t="T16" r="T17" b="T18"/>
            <a:pathLst>
              <a:path w="907" h="726">
                <a:moveTo>
                  <a:pt x="363" y="0"/>
                </a:moveTo>
                <a:lnTo>
                  <a:pt x="0" y="726"/>
                </a:lnTo>
                <a:lnTo>
                  <a:pt x="726" y="726"/>
                </a:lnTo>
                <a:lnTo>
                  <a:pt x="907" y="0"/>
                </a:lnTo>
                <a:lnTo>
                  <a:pt x="363" y="0"/>
                </a:lnTo>
                <a:close/>
              </a:path>
            </a:pathLst>
          </a:custGeom>
          <a:solidFill>
            <a:schemeClr val="accent5"/>
          </a:solidFill>
          <a:ln w="9525" cap="flat" cmpd="sng">
            <a:noFill/>
            <a:prstDash val="solid"/>
            <a:round/>
            <a:headEnd type="none" w="med" len="med"/>
            <a:tailEnd type="none" w="med" len="med"/>
          </a:ln>
        </p:spPr>
        <p:txBody>
          <a:bodyPr wrap="none" anchor="ctr"/>
          <a:lstStyle/>
          <a:p>
            <a:pPr algn="ctr"/>
            <a:endParaRPr lang="en-US" dirty="0"/>
          </a:p>
        </p:txBody>
      </p:sp>
      <p:sp>
        <p:nvSpPr>
          <p:cNvPr id="179" name="Text Box 44">
            <a:extLst>
              <a:ext uri="{FF2B5EF4-FFF2-40B4-BE49-F238E27FC236}">
                <a16:creationId xmlns:a16="http://schemas.microsoft.com/office/drawing/2014/main" id="{F9BFA711-5BAF-44A8-BC5E-A0D19A435D14}"/>
              </a:ext>
            </a:extLst>
          </p:cNvPr>
          <p:cNvSpPr txBox="1">
            <a:spLocks noChangeArrowheads="1"/>
          </p:cNvSpPr>
          <p:nvPr/>
        </p:nvSpPr>
        <p:spPr bwMode="auto">
          <a:xfrm flipH="1">
            <a:off x="4775200" y="4216401"/>
            <a:ext cx="1447800" cy="1138238"/>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81" name="Text Box 45">
            <a:extLst>
              <a:ext uri="{FF2B5EF4-FFF2-40B4-BE49-F238E27FC236}">
                <a16:creationId xmlns:a16="http://schemas.microsoft.com/office/drawing/2014/main" id="{2685583A-0F88-4FD0-BA67-EE695BA24416}"/>
              </a:ext>
            </a:extLst>
          </p:cNvPr>
          <p:cNvSpPr txBox="1">
            <a:spLocks noChangeArrowheads="1"/>
          </p:cNvSpPr>
          <p:nvPr/>
        </p:nvSpPr>
        <p:spPr bwMode="auto">
          <a:xfrm flipH="1">
            <a:off x="3228975" y="4216401"/>
            <a:ext cx="1385887" cy="1138238"/>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83" name="Text Box 46">
            <a:extLst>
              <a:ext uri="{FF2B5EF4-FFF2-40B4-BE49-F238E27FC236}">
                <a16:creationId xmlns:a16="http://schemas.microsoft.com/office/drawing/2014/main" id="{12109C10-F345-4308-B910-6B4799DD5BB7}"/>
              </a:ext>
            </a:extLst>
          </p:cNvPr>
          <p:cNvSpPr txBox="1">
            <a:spLocks noChangeArrowheads="1"/>
          </p:cNvSpPr>
          <p:nvPr/>
        </p:nvSpPr>
        <p:spPr bwMode="auto">
          <a:xfrm flipH="1">
            <a:off x="5026025" y="2940051"/>
            <a:ext cx="1196975" cy="1135063"/>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85" name="Text Box 47">
            <a:extLst>
              <a:ext uri="{FF2B5EF4-FFF2-40B4-BE49-F238E27FC236}">
                <a16:creationId xmlns:a16="http://schemas.microsoft.com/office/drawing/2014/main" id="{1410FC83-FEC4-4FBB-8D5C-78ADD46F8A7A}"/>
              </a:ext>
            </a:extLst>
          </p:cNvPr>
          <p:cNvSpPr txBox="1">
            <a:spLocks noChangeArrowheads="1"/>
          </p:cNvSpPr>
          <p:nvPr/>
        </p:nvSpPr>
        <p:spPr bwMode="auto">
          <a:xfrm flipH="1">
            <a:off x="3763963" y="2940051"/>
            <a:ext cx="1135062" cy="1135063"/>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 Text</a:t>
            </a:r>
          </a:p>
        </p:txBody>
      </p:sp>
      <p:sp>
        <p:nvSpPr>
          <p:cNvPr id="187" name="Text Box 48">
            <a:extLst>
              <a:ext uri="{FF2B5EF4-FFF2-40B4-BE49-F238E27FC236}">
                <a16:creationId xmlns:a16="http://schemas.microsoft.com/office/drawing/2014/main" id="{4B0E942F-7DC1-416F-A147-48CE686E2FD5}"/>
              </a:ext>
            </a:extLst>
          </p:cNvPr>
          <p:cNvSpPr txBox="1">
            <a:spLocks noChangeArrowheads="1"/>
          </p:cNvSpPr>
          <p:nvPr/>
        </p:nvSpPr>
        <p:spPr bwMode="auto">
          <a:xfrm flipH="1">
            <a:off x="5340350" y="1767055"/>
            <a:ext cx="882650" cy="925180"/>
          </a:xfrm>
          <a:prstGeom prst="rect">
            <a:avLst/>
          </a:prstGeom>
          <a:noFill/>
          <a:ln w="9525">
            <a:noFill/>
            <a:miter lim="800000"/>
            <a:headEnd/>
            <a:tailEnd/>
          </a:ln>
        </p:spPr>
        <p:txBody>
          <a:bodyPr lIns="0" rIns="0" anchor="ctr"/>
          <a:lstStyle/>
          <a:p>
            <a:pPr algn="ctr">
              <a:lnSpc>
                <a:spcPct val="90000"/>
              </a:lnSpc>
              <a:spcBef>
                <a:spcPct val="0"/>
              </a:spcBef>
              <a:buClrTx/>
              <a:buFontTx/>
              <a:buNone/>
            </a:pPr>
            <a:endParaRPr lang="de-DE" sz="1000" dirty="0">
              <a:solidFill>
                <a:schemeClr val="bg1"/>
              </a:solidFill>
            </a:endParaRPr>
          </a:p>
          <a:p>
            <a:pPr algn="ctr">
              <a:lnSpc>
                <a:spcPct val="90000"/>
              </a:lnSpc>
              <a:spcBef>
                <a:spcPct val="0"/>
              </a:spcBef>
              <a:buClrTx/>
              <a:buFontTx/>
              <a:buNone/>
            </a:pPr>
            <a:r>
              <a:rPr lang="de-DE" sz="1000" dirty="0">
                <a:solidFill>
                  <a:schemeClr val="bg1"/>
                </a:solidFill>
              </a:rPr>
              <a:t>Text</a:t>
            </a:r>
          </a:p>
        </p:txBody>
      </p:sp>
      <p:sp>
        <p:nvSpPr>
          <p:cNvPr id="189" name="Text Box 49">
            <a:extLst>
              <a:ext uri="{FF2B5EF4-FFF2-40B4-BE49-F238E27FC236}">
                <a16:creationId xmlns:a16="http://schemas.microsoft.com/office/drawing/2014/main" id="{38860940-977A-41BF-A9F6-1C82051AA055}"/>
              </a:ext>
            </a:extLst>
          </p:cNvPr>
          <p:cNvSpPr txBox="1">
            <a:spLocks noChangeArrowheads="1"/>
          </p:cNvSpPr>
          <p:nvPr/>
        </p:nvSpPr>
        <p:spPr bwMode="auto">
          <a:xfrm flipH="1">
            <a:off x="4206874" y="1767055"/>
            <a:ext cx="1006475" cy="925180"/>
          </a:xfrm>
          <a:prstGeom prst="rect">
            <a:avLst/>
          </a:prstGeom>
          <a:noFill/>
          <a:ln w="9525">
            <a:noFill/>
            <a:miter lim="800000"/>
            <a:headEnd/>
            <a:tailEnd/>
          </a:ln>
        </p:spPr>
        <p:txBody>
          <a:bodyPr lIns="0" rIns="0" anchor="ctr"/>
          <a:lstStyle/>
          <a:p>
            <a:pPr algn="ctr">
              <a:lnSpc>
                <a:spcPct val="90000"/>
              </a:lnSpc>
              <a:spcBef>
                <a:spcPct val="0"/>
              </a:spcBef>
              <a:buClrTx/>
              <a:buFontTx/>
              <a:buNone/>
            </a:pPr>
            <a:r>
              <a:rPr lang="de-DE" sz="1000" dirty="0">
                <a:solidFill>
                  <a:schemeClr val="bg1"/>
                </a:solidFill>
              </a:rPr>
              <a:t>Text</a:t>
            </a:r>
          </a:p>
        </p:txBody>
      </p:sp>
    </p:spTree>
    <p:extLst>
      <p:ext uri="{BB962C8B-B14F-4D97-AF65-F5344CB8AC3E}">
        <p14:creationId xmlns:p14="http://schemas.microsoft.com/office/powerpoint/2010/main" val="927870690"/>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 Hexagonal 1</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21">
            <a:extLst>
              <a:ext uri="{FF2B5EF4-FFF2-40B4-BE49-F238E27FC236}">
                <a16:creationId xmlns:a16="http://schemas.microsoft.com/office/drawing/2014/main" id="{89276AEF-E629-4CB2-8B66-51CBD2BDF8C4}"/>
              </a:ext>
            </a:extLst>
          </p:cNvPr>
          <p:cNvGrpSpPr>
            <a:grpSpLocks/>
          </p:cNvGrpSpPr>
          <p:nvPr/>
        </p:nvGrpSpPr>
        <p:grpSpPr bwMode="auto">
          <a:xfrm>
            <a:off x="3799742" y="1628775"/>
            <a:ext cx="4653117" cy="4247984"/>
            <a:chOff x="1111" y="1200"/>
            <a:chExt cx="3519" cy="2878"/>
          </a:xfrm>
        </p:grpSpPr>
        <p:sp>
          <p:nvSpPr>
            <p:cNvPr id="5" name="Freeform 2">
              <a:extLst>
                <a:ext uri="{FF2B5EF4-FFF2-40B4-BE49-F238E27FC236}">
                  <a16:creationId xmlns:a16="http://schemas.microsoft.com/office/drawing/2014/main" id="{33E612A5-ABE2-462C-9426-38D6607C0AEE}"/>
                </a:ext>
              </a:extLst>
            </p:cNvPr>
            <p:cNvSpPr>
              <a:spLocks/>
            </p:cNvSpPr>
            <p:nvPr/>
          </p:nvSpPr>
          <p:spPr bwMode="auto">
            <a:xfrm flipH="1">
              <a:off x="3243" y="1237"/>
              <a:ext cx="1387" cy="1350"/>
            </a:xfrm>
            <a:custGeom>
              <a:avLst/>
              <a:gdLst/>
              <a:ahLst/>
              <a:cxnLst>
                <a:cxn ang="0">
                  <a:pos x="694" y="0"/>
                </a:cxn>
                <a:cxn ang="0">
                  <a:pos x="0" y="830"/>
                </a:cxn>
                <a:cxn ang="0">
                  <a:pos x="897" y="830"/>
                </a:cxn>
                <a:cxn ang="0">
                  <a:pos x="1140" y="531"/>
                </a:cxn>
                <a:cxn ang="0">
                  <a:pos x="694" y="0"/>
                </a:cxn>
              </a:cxnLst>
              <a:rect l="0" t="0" r="r" b="b"/>
              <a:pathLst>
                <a:path w="1141" h="831">
                  <a:moveTo>
                    <a:pt x="694" y="0"/>
                  </a:moveTo>
                  <a:lnTo>
                    <a:pt x="0" y="830"/>
                  </a:lnTo>
                  <a:lnTo>
                    <a:pt x="897" y="830"/>
                  </a:lnTo>
                  <a:lnTo>
                    <a:pt x="1140" y="531"/>
                  </a:lnTo>
                  <a:lnTo>
                    <a:pt x="694"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 name="Freeform 3">
              <a:extLst>
                <a:ext uri="{FF2B5EF4-FFF2-40B4-BE49-F238E27FC236}">
                  <a16:creationId xmlns:a16="http://schemas.microsoft.com/office/drawing/2014/main" id="{178C3691-B42C-4E43-8355-75FE0FB704F1}"/>
                </a:ext>
              </a:extLst>
            </p:cNvPr>
            <p:cNvSpPr>
              <a:spLocks/>
            </p:cNvSpPr>
            <p:nvPr/>
          </p:nvSpPr>
          <p:spPr bwMode="auto">
            <a:xfrm flipH="1" flipV="1">
              <a:off x="3243" y="2690"/>
              <a:ext cx="1387" cy="1349"/>
            </a:xfrm>
            <a:custGeom>
              <a:avLst/>
              <a:gdLst/>
              <a:ahLst/>
              <a:cxnLst>
                <a:cxn ang="0">
                  <a:pos x="694" y="0"/>
                </a:cxn>
                <a:cxn ang="0">
                  <a:pos x="0" y="830"/>
                </a:cxn>
                <a:cxn ang="0">
                  <a:pos x="897" y="830"/>
                </a:cxn>
                <a:cxn ang="0">
                  <a:pos x="1140" y="531"/>
                </a:cxn>
                <a:cxn ang="0">
                  <a:pos x="694" y="0"/>
                </a:cxn>
              </a:cxnLst>
              <a:rect l="0" t="0" r="r" b="b"/>
              <a:pathLst>
                <a:path w="1141" h="831">
                  <a:moveTo>
                    <a:pt x="694" y="0"/>
                  </a:moveTo>
                  <a:lnTo>
                    <a:pt x="0" y="830"/>
                  </a:lnTo>
                  <a:lnTo>
                    <a:pt x="897" y="830"/>
                  </a:lnTo>
                  <a:lnTo>
                    <a:pt x="1140" y="531"/>
                  </a:lnTo>
                  <a:lnTo>
                    <a:pt x="694"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4">
              <a:extLst>
                <a:ext uri="{FF2B5EF4-FFF2-40B4-BE49-F238E27FC236}">
                  <a16:creationId xmlns:a16="http://schemas.microsoft.com/office/drawing/2014/main" id="{1708F7D9-BBD6-4CE8-837E-676C986CDDF5}"/>
                </a:ext>
              </a:extLst>
            </p:cNvPr>
            <p:cNvSpPr>
              <a:spLocks/>
            </p:cNvSpPr>
            <p:nvPr/>
          </p:nvSpPr>
          <p:spPr bwMode="auto">
            <a:xfrm flipV="1">
              <a:off x="1111" y="2690"/>
              <a:ext cx="1386" cy="1349"/>
            </a:xfrm>
            <a:custGeom>
              <a:avLst/>
              <a:gdLst/>
              <a:ahLst/>
              <a:cxnLst>
                <a:cxn ang="0">
                  <a:pos x="694" y="0"/>
                </a:cxn>
                <a:cxn ang="0">
                  <a:pos x="0" y="830"/>
                </a:cxn>
                <a:cxn ang="0">
                  <a:pos x="897" y="830"/>
                </a:cxn>
                <a:cxn ang="0">
                  <a:pos x="1140" y="531"/>
                </a:cxn>
                <a:cxn ang="0">
                  <a:pos x="694" y="0"/>
                </a:cxn>
              </a:cxnLst>
              <a:rect l="0" t="0" r="r" b="b"/>
              <a:pathLst>
                <a:path w="1141" h="831">
                  <a:moveTo>
                    <a:pt x="694" y="0"/>
                  </a:moveTo>
                  <a:lnTo>
                    <a:pt x="0" y="830"/>
                  </a:lnTo>
                  <a:lnTo>
                    <a:pt x="897" y="830"/>
                  </a:lnTo>
                  <a:lnTo>
                    <a:pt x="1140" y="531"/>
                  </a:lnTo>
                  <a:lnTo>
                    <a:pt x="694"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AutoShape 5">
              <a:extLst>
                <a:ext uri="{FF2B5EF4-FFF2-40B4-BE49-F238E27FC236}">
                  <a16:creationId xmlns:a16="http://schemas.microsoft.com/office/drawing/2014/main" id="{251EE555-F7CE-4D98-9B8C-D0D5BCC9E25F}"/>
                </a:ext>
              </a:extLst>
            </p:cNvPr>
            <p:cNvSpPr>
              <a:spLocks noChangeArrowheads="1"/>
            </p:cNvSpPr>
            <p:nvPr/>
          </p:nvSpPr>
          <p:spPr bwMode="auto">
            <a:xfrm>
              <a:off x="2260" y="2147"/>
              <a:ext cx="1213" cy="983"/>
            </a:xfrm>
            <a:prstGeom prst="hexagon">
              <a:avLst>
                <a:gd name="adj" fmla="val 29593"/>
                <a:gd name="vf" fmla="val 115470"/>
              </a:avLst>
            </a:prstGeom>
            <a:solidFill>
              <a:schemeClr val="accent2"/>
            </a:solidFill>
            <a:ln w="6350">
              <a:noFill/>
              <a:miter lim="800000"/>
              <a:headEnd/>
              <a:tailEnd/>
            </a:ln>
            <a:effectLst/>
          </p:spPr>
          <p:txBody>
            <a:bodyPr wrap="none" lIns="72000" tIns="72000" rIns="72000" bIns="7200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sp>
          <p:nvSpPr>
            <p:cNvPr id="9" name="Freeform 7">
              <a:extLst>
                <a:ext uri="{FF2B5EF4-FFF2-40B4-BE49-F238E27FC236}">
                  <a16:creationId xmlns:a16="http://schemas.microsoft.com/office/drawing/2014/main" id="{94E725ED-4887-4C91-98AE-B75C4DEA8C51}"/>
                </a:ext>
              </a:extLst>
            </p:cNvPr>
            <p:cNvSpPr>
              <a:spLocks/>
            </p:cNvSpPr>
            <p:nvPr/>
          </p:nvSpPr>
          <p:spPr bwMode="auto">
            <a:xfrm>
              <a:off x="2016" y="1200"/>
              <a:ext cx="1708" cy="864"/>
            </a:xfrm>
            <a:custGeom>
              <a:avLst/>
              <a:gdLst/>
              <a:ahLst/>
              <a:cxnLst>
                <a:cxn ang="0">
                  <a:pos x="0" y="0"/>
                </a:cxn>
                <a:cxn ang="0">
                  <a:pos x="441" y="531"/>
                </a:cxn>
                <a:cxn ang="0">
                  <a:pos x="958" y="531"/>
                </a:cxn>
                <a:cxn ang="0">
                  <a:pos x="1405" y="0"/>
                </a:cxn>
                <a:cxn ang="0">
                  <a:pos x="0" y="0"/>
                </a:cxn>
              </a:cxnLst>
              <a:rect l="0" t="0" r="r" b="b"/>
              <a:pathLst>
                <a:path w="1406" h="532">
                  <a:moveTo>
                    <a:pt x="0" y="0"/>
                  </a:moveTo>
                  <a:lnTo>
                    <a:pt x="441" y="531"/>
                  </a:lnTo>
                  <a:lnTo>
                    <a:pt x="958" y="531"/>
                  </a:lnTo>
                  <a:lnTo>
                    <a:pt x="1405" y="0"/>
                  </a:lnTo>
                  <a:lnTo>
                    <a:pt x="0"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8">
              <a:extLst>
                <a:ext uri="{FF2B5EF4-FFF2-40B4-BE49-F238E27FC236}">
                  <a16:creationId xmlns:a16="http://schemas.microsoft.com/office/drawing/2014/main" id="{1A2B1898-9D88-4991-8B2A-BB9733C078AC}"/>
                </a:ext>
              </a:extLst>
            </p:cNvPr>
            <p:cNvSpPr>
              <a:spLocks/>
            </p:cNvSpPr>
            <p:nvPr/>
          </p:nvSpPr>
          <p:spPr bwMode="auto">
            <a:xfrm>
              <a:off x="2016" y="3214"/>
              <a:ext cx="1708" cy="864"/>
            </a:xfrm>
            <a:custGeom>
              <a:avLst/>
              <a:gdLst/>
              <a:ahLst/>
              <a:cxnLst>
                <a:cxn ang="0">
                  <a:pos x="0" y="531"/>
                </a:cxn>
                <a:cxn ang="0">
                  <a:pos x="441" y="0"/>
                </a:cxn>
                <a:cxn ang="0">
                  <a:pos x="958" y="0"/>
                </a:cxn>
                <a:cxn ang="0">
                  <a:pos x="1405" y="531"/>
                </a:cxn>
                <a:cxn ang="0">
                  <a:pos x="0" y="531"/>
                </a:cxn>
              </a:cxnLst>
              <a:rect l="0" t="0" r="r" b="b"/>
              <a:pathLst>
                <a:path w="1406" h="532">
                  <a:moveTo>
                    <a:pt x="0" y="531"/>
                  </a:moveTo>
                  <a:lnTo>
                    <a:pt x="441" y="0"/>
                  </a:lnTo>
                  <a:lnTo>
                    <a:pt x="958" y="0"/>
                  </a:lnTo>
                  <a:lnTo>
                    <a:pt x="1405" y="531"/>
                  </a:lnTo>
                  <a:lnTo>
                    <a:pt x="0" y="531"/>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9">
              <a:extLst>
                <a:ext uri="{FF2B5EF4-FFF2-40B4-BE49-F238E27FC236}">
                  <a16:creationId xmlns:a16="http://schemas.microsoft.com/office/drawing/2014/main" id="{7E8B61CD-4436-4BC1-A420-04DDC3169AC9}"/>
                </a:ext>
              </a:extLst>
            </p:cNvPr>
            <p:cNvSpPr>
              <a:spLocks/>
            </p:cNvSpPr>
            <p:nvPr/>
          </p:nvSpPr>
          <p:spPr bwMode="auto">
            <a:xfrm>
              <a:off x="1111" y="1237"/>
              <a:ext cx="1386" cy="1350"/>
            </a:xfrm>
            <a:custGeom>
              <a:avLst/>
              <a:gdLst/>
              <a:ahLst/>
              <a:cxnLst>
                <a:cxn ang="0">
                  <a:pos x="694" y="0"/>
                </a:cxn>
                <a:cxn ang="0">
                  <a:pos x="0" y="830"/>
                </a:cxn>
                <a:cxn ang="0">
                  <a:pos x="897" y="830"/>
                </a:cxn>
                <a:cxn ang="0">
                  <a:pos x="1140" y="531"/>
                </a:cxn>
                <a:cxn ang="0">
                  <a:pos x="694" y="0"/>
                </a:cxn>
              </a:cxnLst>
              <a:rect l="0" t="0" r="r" b="b"/>
              <a:pathLst>
                <a:path w="1141" h="831">
                  <a:moveTo>
                    <a:pt x="694" y="0"/>
                  </a:moveTo>
                  <a:lnTo>
                    <a:pt x="0" y="830"/>
                  </a:lnTo>
                  <a:lnTo>
                    <a:pt x="897" y="830"/>
                  </a:lnTo>
                  <a:lnTo>
                    <a:pt x="1140" y="531"/>
                  </a:lnTo>
                  <a:lnTo>
                    <a:pt x="694" y="0"/>
                  </a:lnTo>
                </a:path>
              </a:pathLst>
            </a:custGeom>
            <a:pattFill prst="dkUpDiag">
              <a:fgClr>
                <a:srgbClr val="96968C">
                  <a:lumMod val="40000"/>
                  <a:lumOff val="60000"/>
                </a:srgbClr>
              </a:fgClr>
              <a:bgClr>
                <a:srgbClr val="FFFFFF"/>
              </a:bgClr>
            </a:pattFill>
            <a:ln w="6350" cap="rnd" cmpd="sng">
              <a:noFill/>
              <a:prstDash val="solid"/>
              <a:round/>
              <a:headEnd/>
              <a:tailEnd/>
            </a:ln>
            <a:effectLst/>
          </p:spPr>
          <p:txBody>
            <a:bodyPr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2" name="Rectangle 10">
              <a:extLst>
                <a:ext uri="{FF2B5EF4-FFF2-40B4-BE49-F238E27FC236}">
                  <a16:creationId xmlns:a16="http://schemas.microsoft.com/office/drawing/2014/main" id="{7CE54B55-F271-4DE7-A4B0-291A640CA708}"/>
                </a:ext>
              </a:extLst>
            </p:cNvPr>
            <p:cNvSpPr>
              <a:spLocks noChangeArrowheads="1"/>
            </p:cNvSpPr>
            <p:nvPr/>
          </p:nvSpPr>
          <p:spPr bwMode="auto">
            <a:xfrm>
              <a:off x="2674" y="1485"/>
              <a:ext cx="371" cy="293"/>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Rectangle 11">
              <a:extLst>
                <a:ext uri="{FF2B5EF4-FFF2-40B4-BE49-F238E27FC236}">
                  <a16:creationId xmlns:a16="http://schemas.microsoft.com/office/drawing/2014/main" id="{85D2DD6C-1C79-44F7-821E-127943AE6495}"/>
                </a:ext>
              </a:extLst>
            </p:cNvPr>
            <p:cNvSpPr>
              <a:spLocks noChangeArrowheads="1"/>
            </p:cNvSpPr>
            <p:nvPr/>
          </p:nvSpPr>
          <p:spPr bwMode="auto">
            <a:xfrm>
              <a:off x="2674" y="3427"/>
              <a:ext cx="371" cy="296"/>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4" name="Rectangle 12">
              <a:extLst>
                <a:ext uri="{FF2B5EF4-FFF2-40B4-BE49-F238E27FC236}">
                  <a16:creationId xmlns:a16="http://schemas.microsoft.com/office/drawing/2014/main" id="{F1B692DD-D4B6-4066-89A6-75B6120892E6}"/>
                </a:ext>
              </a:extLst>
            </p:cNvPr>
            <p:cNvSpPr>
              <a:spLocks noChangeArrowheads="1"/>
            </p:cNvSpPr>
            <p:nvPr/>
          </p:nvSpPr>
          <p:spPr bwMode="auto">
            <a:xfrm>
              <a:off x="1618" y="2000"/>
              <a:ext cx="373" cy="296"/>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5" name="Rectangle 13">
              <a:extLst>
                <a:ext uri="{FF2B5EF4-FFF2-40B4-BE49-F238E27FC236}">
                  <a16:creationId xmlns:a16="http://schemas.microsoft.com/office/drawing/2014/main" id="{9FFEC005-7ED6-4813-B445-19765B4E6F6F}"/>
                </a:ext>
              </a:extLst>
            </p:cNvPr>
            <p:cNvSpPr>
              <a:spLocks noChangeArrowheads="1"/>
            </p:cNvSpPr>
            <p:nvPr/>
          </p:nvSpPr>
          <p:spPr bwMode="auto">
            <a:xfrm>
              <a:off x="3750" y="2000"/>
              <a:ext cx="373" cy="296"/>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6" name="Rectangle 14">
              <a:extLst>
                <a:ext uri="{FF2B5EF4-FFF2-40B4-BE49-F238E27FC236}">
                  <a16:creationId xmlns:a16="http://schemas.microsoft.com/office/drawing/2014/main" id="{743722C9-CCE1-4072-BE81-5F006C6DDDA0}"/>
                </a:ext>
              </a:extLst>
            </p:cNvPr>
            <p:cNvSpPr>
              <a:spLocks noChangeArrowheads="1"/>
            </p:cNvSpPr>
            <p:nvPr/>
          </p:nvSpPr>
          <p:spPr bwMode="auto">
            <a:xfrm>
              <a:off x="1618" y="2931"/>
              <a:ext cx="373" cy="296"/>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7" name="Rectangle 15">
              <a:extLst>
                <a:ext uri="{FF2B5EF4-FFF2-40B4-BE49-F238E27FC236}">
                  <a16:creationId xmlns:a16="http://schemas.microsoft.com/office/drawing/2014/main" id="{DC4CA8E9-0A86-443D-847D-D83A297CBB8C}"/>
                </a:ext>
              </a:extLst>
            </p:cNvPr>
            <p:cNvSpPr>
              <a:spLocks noChangeArrowheads="1"/>
            </p:cNvSpPr>
            <p:nvPr/>
          </p:nvSpPr>
          <p:spPr bwMode="auto">
            <a:xfrm>
              <a:off x="3750" y="2931"/>
              <a:ext cx="373" cy="296"/>
            </a:xfrm>
            <a:prstGeom prst="rect">
              <a:avLst/>
            </a:prstGeom>
            <a:noFill/>
            <a:ln w="6350">
              <a:noFill/>
              <a:miter lim="800000"/>
              <a:headEnd/>
              <a:tailEnd/>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Graphik"/>
                  <a:ea typeface="+mn-ea"/>
                  <a:cs typeface="+mn-cs"/>
                </a:rPr>
                <a:t>Text</a:t>
              </a:r>
            </a:p>
          </p:txBody>
        </p:sp>
      </p:grpSp>
      <p:sp>
        <p:nvSpPr>
          <p:cNvPr id="3" name="Rectangle 2">
            <a:hlinkClick r:id="rId3" action="ppaction://hlinksldjump"/>
            <a:extLst>
              <a:ext uri="{FF2B5EF4-FFF2-40B4-BE49-F238E27FC236}">
                <a16:creationId xmlns:a16="http://schemas.microsoft.com/office/drawing/2014/main" id="{AA528261-BC33-4F1F-8915-D49070C210B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7859125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Factors – Hexagonal 2</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AutoShape 4">
            <a:extLst>
              <a:ext uri="{FF2B5EF4-FFF2-40B4-BE49-F238E27FC236}">
                <a16:creationId xmlns:a16="http://schemas.microsoft.com/office/drawing/2014/main" id="{551372D5-8FE7-4CCC-9FF8-97861D128A6A}"/>
              </a:ext>
            </a:extLst>
          </p:cNvPr>
          <p:cNvSpPr>
            <a:spLocks noChangeArrowheads="1"/>
          </p:cNvSpPr>
          <p:nvPr/>
        </p:nvSpPr>
        <p:spPr bwMode="auto">
          <a:xfrm>
            <a:off x="5312198" y="3218779"/>
            <a:ext cx="1575891" cy="1388866"/>
          </a:xfrm>
          <a:prstGeom prst="hexagon">
            <a:avLst>
              <a:gd name="adj" fmla="val 27042"/>
              <a:gd name="vf" fmla="val 115470"/>
            </a:avLst>
          </a:prstGeom>
          <a:solidFill>
            <a:schemeClr val="accent2"/>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5" name="AutoShape 4">
            <a:extLst>
              <a:ext uri="{FF2B5EF4-FFF2-40B4-BE49-F238E27FC236}">
                <a16:creationId xmlns:a16="http://schemas.microsoft.com/office/drawing/2014/main" id="{FF12D5BB-F391-4008-8BF3-C1BA6C221B06}"/>
              </a:ext>
            </a:extLst>
          </p:cNvPr>
          <p:cNvSpPr>
            <a:spLocks noChangeArrowheads="1"/>
          </p:cNvSpPr>
          <p:nvPr/>
        </p:nvSpPr>
        <p:spPr bwMode="auto">
          <a:xfrm>
            <a:off x="5312198" y="1628800"/>
            <a:ext cx="1575891" cy="1388866"/>
          </a:xfrm>
          <a:prstGeom prst="hexagon">
            <a:avLst>
              <a:gd name="adj" fmla="val 27042"/>
              <a:gd name="vf" fmla="val 115470"/>
            </a:avLst>
          </a:prstGeom>
          <a:solidFill>
            <a:schemeClr val="accent2">
              <a:lumMod val="20000"/>
              <a:lumOff val="80000"/>
            </a:schemeClr>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 name="AutoShape 4">
            <a:extLst>
              <a:ext uri="{FF2B5EF4-FFF2-40B4-BE49-F238E27FC236}">
                <a16:creationId xmlns:a16="http://schemas.microsoft.com/office/drawing/2014/main" id="{2F076D56-9488-4E26-80FE-7304E331DF6D}"/>
              </a:ext>
            </a:extLst>
          </p:cNvPr>
          <p:cNvSpPr>
            <a:spLocks noChangeArrowheads="1"/>
          </p:cNvSpPr>
          <p:nvPr/>
        </p:nvSpPr>
        <p:spPr bwMode="auto">
          <a:xfrm>
            <a:off x="3908042" y="2435620"/>
            <a:ext cx="1575891" cy="1388866"/>
          </a:xfrm>
          <a:prstGeom prst="hexagon">
            <a:avLst>
              <a:gd name="adj" fmla="val 27042"/>
              <a:gd name="vf" fmla="val 115470"/>
            </a:avLst>
          </a:prstGeom>
          <a:solidFill>
            <a:schemeClr val="accent2">
              <a:lumMod val="20000"/>
              <a:lumOff val="80000"/>
            </a:schemeClr>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7" name="AutoShape 4">
            <a:extLst>
              <a:ext uri="{FF2B5EF4-FFF2-40B4-BE49-F238E27FC236}">
                <a16:creationId xmlns:a16="http://schemas.microsoft.com/office/drawing/2014/main" id="{5296D58A-BB7C-454E-84A5-FBAC1E74EE41}"/>
              </a:ext>
            </a:extLst>
          </p:cNvPr>
          <p:cNvSpPr>
            <a:spLocks noChangeArrowheads="1"/>
          </p:cNvSpPr>
          <p:nvPr/>
        </p:nvSpPr>
        <p:spPr bwMode="auto">
          <a:xfrm>
            <a:off x="3908042" y="4009037"/>
            <a:ext cx="1575891" cy="1388866"/>
          </a:xfrm>
          <a:prstGeom prst="hexagon">
            <a:avLst>
              <a:gd name="adj" fmla="val 27042"/>
              <a:gd name="vf" fmla="val 115470"/>
            </a:avLst>
          </a:prstGeom>
          <a:solidFill>
            <a:schemeClr val="accent2">
              <a:lumMod val="20000"/>
              <a:lumOff val="80000"/>
            </a:schemeClr>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AutoShape 4">
            <a:extLst>
              <a:ext uri="{FF2B5EF4-FFF2-40B4-BE49-F238E27FC236}">
                <a16:creationId xmlns:a16="http://schemas.microsoft.com/office/drawing/2014/main" id="{D3977937-B2FB-4325-8E6D-C5BF1221B1FB}"/>
              </a:ext>
            </a:extLst>
          </p:cNvPr>
          <p:cNvSpPr>
            <a:spLocks noChangeArrowheads="1"/>
          </p:cNvSpPr>
          <p:nvPr/>
        </p:nvSpPr>
        <p:spPr bwMode="auto">
          <a:xfrm>
            <a:off x="5312198" y="4808759"/>
            <a:ext cx="1575891" cy="1388866"/>
          </a:xfrm>
          <a:prstGeom prst="hexagon">
            <a:avLst>
              <a:gd name="adj" fmla="val 27042"/>
              <a:gd name="vf" fmla="val 115470"/>
            </a:avLst>
          </a:prstGeom>
          <a:solidFill>
            <a:schemeClr val="accent2">
              <a:lumMod val="20000"/>
              <a:lumOff val="80000"/>
            </a:schemeClr>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9" name="AutoShape 4">
            <a:extLst>
              <a:ext uri="{FF2B5EF4-FFF2-40B4-BE49-F238E27FC236}">
                <a16:creationId xmlns:a16="http://schemas.microsoft.com/office/drawing/2014/main" id="{F45429E6-B021-4EB4-BAA4-59846BE5146D}"/>
              </a:ext>
            </a:extLst>
          </p:cNvPr>
          <p:cNvSpPr>
            <a:spLocks noChangeArrowheads="1"/>
          </p:cNvSpPr>
          <p:nvPr/>
        </p:nvSpPr>
        <p:spPr bwMode="auto">
          <a:xfrm>
            <a:off x="6681978" y="4009037"/>
            <a:ext cx="1575891" cy="1388866"/>
          </a:xfrm>
          <a:prstGeom prst="hexagon">
            <a:avLst>
              <a:gd name="adj" fmla="val 27042"/>
              <a:gd name="vf" fmla="val 115470"/>
            </a:avLst>
          </a:prstGeom>
          <a:solidFill>
            <a:schemeClr val="accent2">
              <a:lumMod val="20000"/>
              <a:lumOff val="80000"/>
            </a:schemeClr>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 name="AutoShape 4">
            <a:extLst>
              <a:ext uri="{FF2B5EF4-FFF2-40B4-BE49-F238E27FC236}">
                <a16:creationId xmlns:a16="http://schemas.microsoft.com/office/drawing/2014/main" id="{C0189774-F145-4A6B-B8FE-6DAB5C3A041F}"/>
              </a:ext>
            </a:extLst>
          </p:cNvPr>
          <p:cNvSpPr>
            <a:spLocks noChangeArrowheads="1"/>
          </p:cNvSpPr>
          <p:nvPr/>
        </p:nvSpPr>
        <p:spPr bwMode="auto">
          <a:xfrm>
            <a:off x="6681978" y="2435620"/>
            <a:ext cx="1575891" cy="1388866"/>
          </a:xfrm>
          <a:prstGeom prst="hexagon">
            <a:avLst>
              <a:gd name="adj" fmla="val 27042"/>
              <a:gd name="vf" fmla="val 115470"/>
            </a:avLst>
          </a:prstGeom>
          <a:solidFill>
            <a:schemeClr val="accent2">
              <a:lumMod val="20000"/>
              <a:lumOff val="80000"/>
            </a:schemeClr>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 name="Rectangle 2">
            <a:hlinkClick r:id="rId3" action="ppaction://hlinksldjump"/>
            <a:extLst>
              <a:ext uri="{FF2B5EF4-FFF2-40B4-BE49-F238E27FC236}">
                <a16:creationId xmlns:a16="http://schemas.microsoft.com/office/drawing/2014/main" id="{AD2900F5-B7B7-4A5B-8B26-B58F7339FBD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83446741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illars 1</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80CF70D3-E9C9-446A-88A2-A91BCC14A67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7" name="Group 16">
            <a:extLst>
              <a:ext uri="{FF2B5EF4-FFF2-40B4-BE49-F238E27FC236}">
                <a16:creationId xmlns:a16="http://schemas.microsoft.com/office/drawing/2014/main" id="{B2F7E6F6-192D-4281-BB39-33592A1CCA64}"/>
              </a:ext>
            </a:extLst>
          </p:cNvPr>
          <p:cNvGrpSpPr/>
          <p:nvPr/>
        </p:nvGrpSpPr>
        <p:grpSpPr>
          <a:xfrm>
            <a:off x="2572028" y="3454933"/>
            <a:ext cx="7031544" cy="1828340"/>
            <a:chOff x="2572028" y="3616041"/>
            <a:chExt cx="7031544" cy="1414003"/>
          </a:xfrm>
        </p:grpSpPr>
        <p:cxnSp>
          <p:nvCxnSpPr>
            <p:cNvPr id="18" name="Straight Connector 17">
              <a:extLst>
                <a:ext uri="{FF2B5EF4-FFF2-40B4-BE49-F238E27FC236}">
                  <a16:creationId xmlns:a16="http://schemas.microsoft.com/office/drawing/2014/main" id="{0717F752-898E-4310-BC5D-DE276D5C45DC}"/>
                </a:ext>
              </a:extLst>
            </p:cNvPr>
            <p:cNvCxnSpPr/>
            <p:nvPr/>
          </p:nvCxnSpPr>
          <p:spPr>
            <a:xfrm>
              <a:off x="2572028" y="3616041"/>
              <a:ext cx="0" cy="1384975"/>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79B4160-43EB-4AE7-AC4B-99C14DE5A716}"/>
                </a:ext>
              </a:extLst>
            </p:cNvPr>
            <p:cNvCxnSpPr/>
            <p:nvPr/>
          </p:nvCxnSpPr>
          <p:spPr>
            <a:xfrm>
              <a:off x="4915876" y="3645069"/>
              <a:ext cx="0" cy="1384975"/>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B377D0A-0C03-4796-A979-E764D9A54F55}"/>
                </a:ext>
              </a:extLst>
            </p:cNvPr>
            <p:cNvCxnSpPr/>
            <p:nvPr/>
          </p:nvCxnSpPr>
          <p:spPr>
            <a:xfrm>
              <a:off x="7259724" y="3645069"/>
              <a:ext cx="0" cy="1384975"/>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15AC3E-A513-42D0-A6C3-F8E257671B40}"/>
                </a:ext>
              </a:extLst>
            </p:cNvPr>
            <p:cNvCxnSpPr/>
            <p:nvPr/>
          </p:nvCxnSpPr>
          <p:spPr>
            <a:xfrm>
              <a:off x="9603572" y="3645069"/>
              <a:ext cx="0" cy="1384975"/>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23" name="Isosceles Triangle 22">
            <a:extLst>
              <a:ext uri="{FF2B5EF4-FFF2-40B4-BE49-F238E27FC236}">
                <a16:creationId xmlns:a16="http://schemas.microsoft.com/office/drawing/2014/main" id="{3190B476-3EE3-440B-B898-39FE3CE77EE3}"/>
              </a:ext>
            </a:extLst>
          </p:cNvPr>
          <p:cNvSpPr/>
          <p:nvPr/>
        </p:nvSpPr>
        <p:spPr>
          <a:xfrm>
            <a:off x="1817689" y="1423452"/>
            <a:ext cx="8694200" cy="1236323"/>
          </a:xfrm>
          <a:prstGeom prst="triangle">
            <a:avLst>
              <a:gd name="adj" fmla="val 49700"/>
            </a:avLst>
          </a:prstGeom>
          <a:pattFill prst="dkUpDiag">
            <a:fgClr>
              <a:schemeClr val="accent3">
                <a:lumMod val="40000"/>
                <a:lumOff val="60000"/>
              </a:schemeClr>
            </a:fgClr>
            <a:bgClr>
              <a:schemeClr val="bg1"/>
            </a:bgClr>
          </a:patt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chemeClr val="tx1"/>
              </a:solidFill>
            </a:endParaRPr>
          </a:p>
        </p:txBody>
      </p:sp>
      <p:sp>
        <p:nvSpPr>
          <p:cNvPr id="24" name="TextBox 23">
            <a:extLst>
              <a:ext uri="{FF2B5EF4-FFF2-40B4-BE49-F238E27FC236}">
                <a16:creationId xmlns:a16="http://schemas.microsoft.com/office/drawing/2014/main" id="{0962D508-892A-4143-A44E-91A66829B57C}"/>
              </a:ext>
            </a:extLst>
          </p:cNvPr>
          <p:cNvSpPr txBox="1"/>
          <p:nvPr/>
        </p:nvSpPr>
        <p:spPr>
          <a:xfrm>
            <a:off x="3932460" y="1927293"/>
            <a:ext cx="4507293" cy="612176"/>
          </a:xfrm>
          <a:prstGeom prst="rect">
            <a:avLst/>
          </a:prstGeom>
          <a:noFill/>
          <a:ln>
            <a:noFill/>
          </a:ln>
        </p:spPr>
        <p:txBody>
          <a:bodyPr wrap="square" lIns="0" tIns="0" rIns="0" bIns="0" anchor="ctr" anchorCtr="0">
            <a:noAutofit/>
          </a:bodyPr>
          <a:lstStyle/>
          <a:p>
            <a:pPr algn="ctr">
              <a:lnSpc>
                <a:spcPct val="90000"/>
              </a:lnSpc>
            </a:pPr>
            <a:r>
              <a:rPr lang="en-US" b="1" dirty="0">
                <a:solidFill>
                  <a:schemeClr val="accent3"/>
                </a:solidFill>
                <a:latin typeface="+mj-lt"/>
              </a:rPr>
              <a:t>Text</a:t>
            </a:r>
          </a:p>
        </p:txBody>
      </p:sp>
      <p:grpSp>
        <p:nvGrpSpPr>
          <p:cNvPr id="25" name="Group 24">
            <a:extLst>
              <a:ext uri="{FF2B5EF4-FFF2-40B4-BE49-F238E27FC236}">
                <a16:creationId xmlns:a16="http://schemas.microsoft.com/office/drawing/2014/main" id="{E770B4E8-C75A-4A5B-877C-A0D1E14535B5}"/>
              </a:ext>
            </a:extLst>
          </p:cNvPr>
          <p:cNvGrpSpPr/>
          <p:nvPr/>
        </p:nvGrpSpPr>
        <p:grpSpPr>
          <a:xfrm>
            <a:off x="1817687" y="2875320"/>
            <a:ext cx="8694201" cy="2246309"/>
            <a:chOff x="1817688" y="2875320"/>
            <a:chExt cx="6497174" cy="2246309"/>
          </a:xfrm>
        </p:grpSpPr>
        <p:sp>
          <p:nvSpPr>
            <p:cNvPr id="26" name="TextBox 25">
              <a:extLst>
                <a:ext uri="{FF2B5EF4-FFF2-40B4-BE49-F238E27FC236}">
                  <a16:creationId xmlns:a16="http://schemas.microsoft.com/office/drawing/2014/main" id="{AAA673D1-784A-4B9C-B9F1-5ED2F26E912E}"/>
                </a:ext>
              </a:extLst>
            </p:cNvPr>
            <p:cNvSpPr txBox="1"/>
            <p:nvPr/>
          </p:nvSpPr>
          <p:spPr>
            <a:xfrm>
              <a:off x="1817688"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7" name="TextBox 26">
              <a:extLst>
                <a:ext uri="{FF2B5EF4-FFF2-40B4-BE49-F238E27FC236}">
                  <a16:creationId xmlns:a16="http://schemas.microsoft.com/office/drawing/2014/main" id="{545877D7-8F1F-4C75-B2CA-5F1C037C4163}"/>
                </a:ext>
              </a:extLst>
            </p:cNvPr>
            <p:cNvSpPr txBox="1"/>
            <p:nvPr/>
          </p:nvSpPr>
          <p:spPr>
            <a:xfrm>
              <a:off x="4014715"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8" name="TextBox 27">
              <a:extLst>
                <a:ext uri="{FF2B5EF4-FFF2-40B4-BE49-F238E27FC236}">
                  <a16:creationId xmlns:a16="http://schemas.microsoft.com/office/drawing/2014/main" id="{84D23350-C80D-4653-BBFC-E16DD5556EFD}"/>
                </a:ext>
              </a:extLst>
            </p:cNvPr>
            <p:cNvSpPr txBox="1"/>
            <p:nvPr/>
          </p:nvSpPr>
          <p:spPr>
            <a:xfrm>
              <a:off x="6211742"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grpSp>
      <p:sp>
        <p:nvSpPr>
          <p:cNvPr id="29" name="TextBox 28">
            <a:extLst>
              <a:ext uri="{FF2B5EF4-FFF2-40B4-BE49-F238E27FC236}">
                <a16:creationId xmlns:a16="http://schemas.microsoft.com/office/drawing/2014/main" id="{E74E7ED7-2A17-40F8-83FC-C60002F3C4C2}"/>
              </a:ext>
            </a:extLst>
          </p:cNvPr>
          <p:cNvSpPr txBox="1"/>
          <p:nvPr/>
        </p:nvSpPr>
        <p:spPr>
          <a:xfrm>
            <a:off x="1817689" y="5337175"/>
            <a:ext cx="869420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Tree>
    <p:extLst>
      <p:ext uri="{BB962C8B-B14F-4D97-AF65-F5344CB8AC3E}">
        <p14:creationId xmlns:p14="http://schemas.microsoft.com/office/powerpoint/2010/main" val="396470708"/>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de-DE" dirty="0"/>
              <a:t>Pillars 2</a:t>
            </a:r>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4F194B48-E78E-42FE-B913-E7A7C4EA05C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7" name="Group 16">
            <a:extLst>
              <a:ext uri="{FF2B5EF4-FFF2-40B4-BE49-F238E27FC236}">
                <a16:creationId xmlns:a16="http://schemas.microsoft.com/office/drawing/2014/main" id="{3DEEB090-6119-41D6-A78F-68635FB7F572}"/>
              </a:ext>
            </a:extLst>
          </p:cNvPr>
          <p:cNvGrpSpPr/>
          <p:nvPr/>
        </p:nvGrpSpPr>
        <p:grpSpPr>
          <a:xfrm>
            <a:off x="2572028" y="3454933"/>
            <a:ext cx="7031544" cy="1828340"/>
            <a:chOff x="2572028" y="3616041"/>
            <a:chExt cx="7031544" cy="1414003"/>
          </a:xfrm>
        </p:grpSpPr>
        <p:cxnSp>
          <p:nvCxnSpPr>
            <p:cNvPr id="18" name="Straight Connector 17">
              <a:extLst>
                <a:ext uri="{FF2B5EF4-FFF2-40B4-BE49-F238E27FC236}">
                  <a16:creationId xmlns:a16="http://schemas.microsoft.com/office/drawing/2014/main" id="{CF70A12B-FFA4-450C-9D62-FE56B43E538D}"/>
                </a:ext>
              </a:extLst>
            </p:cNvPr>
            <p:cNvCxnSpPr/>
            <p:nvPr/>
          </p:nvCxnSpPr>
          <p:spPr>
            <a:xfrm>
              <a:off x="2572028" y="3616041"/>
              <a:ext cx="0" cy="1384975"/>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2ECB4D9-29DE-4391-9341-A10C672E027F}"/>
                </a:ext>
              </a:extLst>
            </p:cNvPr>
            <p:cNvCxnSpPr/>
            <p:nvPr/>
          </p:nvCxnSpPr>
          <p:spPr>
            <a:xfrm>
              <a:off x="4915876" y="3645069"/>
              <a:ext cx="0" cy="1384975"/>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71CBB3F-FB0A-45DF-9445-4E7722EA0977}"/>
                </a:ext>
              </a:extLst>
            </p:cNvPr>
            <p:cNvCxnSpPr/>
            <p:nvPr/>
          </p:nvCxnSpPr>
          <p:spPr>
            <a:xfrm>
              <a:off x="7259724" y="3645069"/>
              <a:ext cx="0" cy="1384975"/>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9A2884C-6AAA-4BE3-AA6C-002ADD537426}"/>
                </a:ext>
              </a:extLst>
            </p:cNvPr>
            <p:cNvCxnSpPr/>
            <p:nvPr/>
          </p:nvCxnSpPr>
          <p:spPr>
            <a:xfrm>
              <a:off x="9603572" y="3645069"/>
              <a:ext cx="0" cy="1384975"/>
            </a:xfrm>
            <a:prstGeom prst="line">
              <a:avLst/>
            </a:prstGeom>
            <a:ln w="222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23" name="Isosceles Triangle 22">
            <a:extLst>
              <a:ext uri="{FF2B5EF4-FFF2-40B4-BE49-F238E27FC236}">
                <a16:creationId xmlns:a16="http://schemas.microsoft.com/office/drawing/2014/main" id="{3BAE4C9D-0540-47DD-BA14-86DAB3444243}"/>
              </a:ext>
            </a:extLst>
          </p:cNvPr>
          <p:cNvSpPr/>
          <p:nvPr/>
        </p:nvSpPr>
        <p:spPr>
          <a:xfrm>
            <a:off x="1817689" y="1423452"/>
            <a:ext cx="8694200" cy="1236323"/>
          </a:xfrm>
          <a:prstGeom prst="triangle">
            <a:avLst>
              <a:gd name="adj" fmla="val 49700"/>
            </a:avLst>
          </a:prstGeom>
          <a:pattFill prst="dkUpDiag">
            <a:fgClr>
              <a:schemeClr val="accent3">
                <a:lumMod val="40000"/>
                <a:lumOff val="60000"/>
              </a:schemeClr>
            </a:fgClr>
            <a:bgClr>
              <a:schemeClr val="bg1"/>
            </a:bgClr>
          </a:patt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chemeClr val="tx1"/>
              </a:solidFill>
            </a:endParaRPr>
          </a:p>
        </p:txBody>
      </p:sp>
      <p:sp>
        <p:nvSpPr>
          <p:cNvPr id="24" name="TextBox 23">
            <a:extLst>
              <a:ext uri="{FF2B5EF4-FFF2-40B4-BE49-F238E27FC236}">
                <a16:creationId xmlns:a16="http://schemas.microsoft.com/office/drawing/2014/main" id="{79346199-08D6-4251-B959-2A3D6D0009E9}"/>
              </a:ext>
            </a:extLst>
          </p:cNvPr>
          <p:cNvSpPr txBox="1"/>
          <p:nvPr/>
        </p:nvSpPr>
        <p:spPr>
          <a:xfrm>
            <a:off x="3932460" y="1927293"/>
            <a:ext cx="4507293" cy="612176"/>
          </a:xfrm>
          <a:prstGeom prst="rect">
            <a:avLst/>
          </a:prstGeom>
          <a:noFill/>
          <a:ln>
            <a:noFill/>
          </a:ln>
        </p:spPr>
        <p:txBody>
          <a:bodyPr wrap="square" lIns="0" tIns="0" rIns="0" bIns="0" anchor="ctr" anchorCtr="0">
            <a:noAutofit/>
          </a:bodyPr>
          <a:lstStyle/>
          <a:p>
            <a:pPr algn="ctr">
              <a:lnSpc>
                <a:spcPct val="90000"/>
              </a:lnSpc>
            </a:pPr>
            <a:r>
              <a:rPr lang="en-US" b="1" dirty="0">
                <a:solidFill>
                  <a:schemeClr val="accent3"/>
                </a:solidFill>
                <a:latin typeface="+mj-lt"/>
              </a:rPr>
              <a:t>Text</a:t>
            </a:r>
          </a:p>
        </p:txBody>
      </p:sp>
      <p:sp>
        <p:nvSpPr>
          <p:cNvPr id="25" name="TextBox 24">
            <a:extLst>
              <a:ext uri="{FF2B5EF4-FFF2-40B4-BE49-F238E27FC236}">
                <a16:creationId xmlns:a16="http://schemas.microsoft.com/office/drawing/2014/main" id="{400D8056-536E-439B-8E32-FF839B454F6B}"/>
              </a:ext>
            </a:extLst>
          </p:cNvPr>
          <p:cNvSpPr txBox="1"/>
          <p:nvPr/>
        </p:nvSpPr>
        <p:spPr>
          <a:xfrm>
            <a:off x="1817688"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6" name="TextBox 25">
            <a:extLst>
              <a:ext uri="{FF2B5EF4-FFF2-40B4-BE49-F238E27FC236}">
                <a16:creationId xmlns:a16="http://schemas.microsoft.com/office/drawing/2014/main" id="{291BFBCA-6A75-40A8-81DB-DA06C65E7E2C}"/>
              </a:ext>
            </a:extLst>
          </p:cNvPr>
          <p:cNvSpPr txBox="1"/>
          <p:nvPr/>
        </p:nvSpPr>
        <p:spPr>
          <a:xfrm>
            <a:off x="4014715"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7" name="TextBox 26">
            <a:extLst>
              <a:ext uri="{FF2B5EF4-FFF2-40B4-BE49-F238E27FC236}">
                <a16:creationId xmlns:a16="http://schemas.microsoft.com/office/drawing/2014/main" id="{6627CAF5-4F9D-4640-B918-53B82169C455}"/>
              </a:ext>
            </a:extLst>
          </p:cNvPr>
          <p:cNvSpPr txBox="1"/>
          <p:nvPr/>
        </p:nvSpPr>
        <p:spPr>
          <a:xfrm>
            <a:off x="6211742"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8" name="TextBox 27">
            <a:extLst>
              <a:ext uri="{FF2B5EF4-FFF2-40B4-BE49-F238E27FC236}">
                <a16:creationId xmlns:a16="http://schemas.microsoft.com/office/drawing/2014/main" id="{94FA5707-039D-433F-8787-53E69BA82F6E}"/>
              </a:ext>
            </a:extLst>
          </p:cNvPr>
          <p:cNvSpPr txBox="1"/>
          <p:nvPr/>
        </p:nvSpPr>
        <p:spPr>
          <a:xfrm>
            <a:off x="8408769" y="2875320"/>
            <a:ext cx="2103120" cy="2246309"/>
          </a:xfrm>
          <a:prstGeom prst="rect">
            <a:avLst/>
          </a:prstGeom>
          <a:solidFill>
            <a:schemeClr val="tx2">
              <a:lumMod val="20000"/>
              <a:lumOff val="80000"/>
            </a:schemeClr>
          </a:solidFill>
          <a:ln>
            <a:noFill/>
          </a:ln>
        </p:spPr>
        <p:txBody>
          <a:bodyPr wrap="square" lIns="180000" tIns="144000" rIns="36000">
            <a:noAutofit/>
          </a:bodyPr>
          <a:lstStyle/>
          <a:p>
            <a:pPr>
              <a:lnSpc>
                <a:spcPct val="80000"/>
              </a:lnSpc>
              <a:defRPr/>
            </a:pPr>
            <a:r>
              <a:rPr lang="en-US" sz="1600" b="1" dirty="0">
                <a:latin typeface="+mj-lt"/>
              </a:rPr>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a:p>
            <a:pPr marL="179388" indent="-179388">
              <a:buFont typeface="Arial" panose="020B0604020202020204" pitchFamily="34" charset="0"/>
              <a:buChar char="•"/>
            </a:pPr>
            <a:r>
              <a:rPr lang="en-US" sz="1600" dirty="0"/>
              <a:t>Text</a:t>
            </a:r>
          </a:p>
        </p:txBody>
      </p:sp>
      <p:sp>
        <p:nvSpPr>
          <p:cNvPr id="29" name="TextBox 28">
            <a:extLst>
              <a:ext uri="{FF2B5EF4-FFF2-40B4-BE49-F238E27FC236}">
                <a16:creationId xmlns:a16="http://schemas.microsoft.com/office/drawing/2014/main" id="{6D84BE8F-CD3A-448E-AD88-08E968B9821C}"/>
              </a:ext>
            </a:extLst>
          </p:cNvPr>
          <p:cNvSpPr txBox="1"/>
          <p:nvPr/>
        </p:nvSpPr>
        <p:spPr>
          <a:xfrm>
            <a:off x="1817689" y="5337175"/>
            <a:ext cx="8694200" cy="419712"/>
          </a:xfrm>
          <a:prstGeom prst="rect">
            <a:avLst/>
          </a:prstGeom>
          <a:solidFill>
            <a:schemeClr val="accent1"/>
          </a:solidFill>
          <a:ln w="19050">
            <a:noFill/>
          </a:ln>
        </p:spPr>
        <p:txBody>
          <a:bodyPr vert="horz" wrap="square" lIns="0" tIns="36000" rIns="0" bIns="0" rtlCol="0" anchor="ctr">
            <a:noAutofit/>
          </a:bodyPr>
          <a:lstStyle/>
          <a:p>
            <a:pPr algn="ctr">
              <a:lnSpc>
                <a:spcPct val="85000"/>
              </a:lnSpc>
            </a:pPr>
            <a:r>
              <a:rPr lang="en-AU" b="1" dirty="0">
                <a:solidFill>
                  <a:schemeClr val="bg1"/>
                </a:solidFill>
                <a:latin typeface="+mj-lt"/>
              </a:rPr>
              <a:t>Text</a:t>
            </a:r>
          </a:p>
        </p:txBody>
      </p:sp>
    </p:spTree>
    <p:extLst>
      <p:ext uri="{BB962C8B-B14F-4D97-AF65-F5344CB8AC3E}">
        <p14:creationId xmlns:p14="http://schemas.microsoft.com/office/powerpoint/2010/main" val="142042674"/>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6D4DC6-5702-421B-A70C-6E8A33B9FF2A}"/>
              </a:ext>
            </a:extLst>
          </p:cNvPr>
          <p:cNvSpPr>
            <a:spLocks noGrp="1"/>
          </p:cNvSpPr>
          <p:nvPr>
            <p:ph type="body" sz="quarter" idx="16"/>
          </p:nvPr>
        </p:nvSpPr>
        <p:spPr>
          <a:xfrm>
            <a:off x="1143000" y="4610099"/>
            <a:ext cx="11326660" cy="1474215"/>
          </a:xfrm>
        </p:spPr>
        <p:txBody>
          <a:bodyPr numCol="2" spcCol="36000"/>
          <a:lstStyle/>
          <a:p>
            <a:r>
              <a:rPr lang="en-US" dirty="0">
                <a:hlinkClick r:id="rId3" action="ppaction://hlinksldjump">
                  <a:extLst>
                    <a:ext uri="{A12FA001-AC4F-418D-AE19-62706E023703}">
                      <ahyp:hlinkClr xmlns:ahyp="http://schemas.microsoft.com/office/drawing/2018/hyperlinkcolor" val="tx"/>
                    </a:ext>
                  </a:extLst>
                </a:hlinkClick>
              </a:rPr>
              <a:t>Maps</a:t>
            </a:r>
            <a:endParaRPr lang="en-US" dirty="0"/>
          </a:p>
          <a:p>
            <a:r>
              <a:rPr lang="en-US" dirty="0">
                <a:hlinkClick r:id="rId4" action="ppaction://hlinksldjump">
                  <a:extLst>
                    <a:ext uri="{A12FA001-AC4F-418D-AE19-62706E023703}">
                      <ahyp:hlinkClr xmlns:ahyp="http://schemas.microsoft.com/office/drawing/2018/hyperlinkcolor" val="tx"/>
                    </a:ext>
                  </a:extLst>
                </a:hlinkClick>
              </a:rPr>
              <a:t>Project Management</a:t>
            </a:r>
            <a:endParaRPr lang="en-US" dirty="0"/>
          </a:p>
          <a:p>
            <a:r>
              <a:rPr lang="en-US" dirty="0">
                <a:hlinkClick r:id="rId5" action="ppaction://hlinksldjump">
                  <a:extLst>
                    <a:ext uri="{A12FA001-AC4F-418D-AE19-62706E023703}">
                      <ahyp:hlinkClr xmlns:ahyp="http://schemas.microsoft.com/office/drawing/2018/hyperlinkcolor" val="tx"/>
                    </a:ext>
                  </a:extLst>
                </a:hlinkClick>
              </a:rPr>
              <a:t>AMC Way Approach, Assets and Workplans</a:t>
            </a:r>
            <a:endParaRPr lang="en-US" dirty="0"/>
          </a:p>
          <a:p>
            <a:r>
              <a:rPr lang="en-US" dirty="0">
                <a:hlinkClick r:id="rId5" action="ppaction://hlinksldjump">
                  <a:extLst>
                    <a:ext uri="{A12FA001-AC4F-418D-AE19-62706E023703}">
                      <ahyp:hlinkClr xmlns:ahyp="http://schemas.microsoft.com/office/drawing/2018/hyperlinkcolor" val="tx"/>
                    </a:ext>
                  </a:extLst>
                </a:hlinkClick>
              </a:rPr>
              <a:t>Teams and People</a:t>
            </a:r>
            <a:endParaRPr lang="en-US" dirty="0"/>
          </a:p>
          <a:p>
            <a:r>
              <a:rPr lang="en-US" dirty="0">
                <a:hlinkClick r:id="rId6" action="ppaction://hlinksldjump">
                  <a:extLst>
                    <a:ext uri="{A12FA001-AC4F-418D-AE19-62706E023703}">
                      <ahyp:hlinkClr xmlns:ahyp="http://schemas.microsoft.com/office/drawing/2018/hyperlinkcolor" val="tx"/>
                    </a:ext>
                  </a:extLst>
                </a:hlinkClick>
              </a:rPr>
              <a:t>Evaluation</a:t>
            </a:r>
            <a:endParaRPr lang="en-US" dirty="0"/>
          </a:p>
          <a:p>
            <a:r>
              <a:rPr lang="en-US" dirty="0">
                <a:hlinkClick r:id="rId7" action="ppaction://hlinksldjump">
                  <a:extLst>
                    <a:ext uri="{A12FA001-AC4F-418D-AE19-62706E023703}">
                      <ahyp:hlinkClr xmlns:ahyp="http://schemas.microsoft.com/office/drawing/2018/hyperlinkcolor" val="tx"/>
                    </a:ext>
                  </a:extLst>
                </a:hlinkClick>
              </a:rPr>
              <a:t>Illustrative Graphs and Frameworks</a:t>
            </a:r>
            <a:endParaRPr lang="en-US" dirty="0"/>
          </a:p>
          <a:p>
            <a:r>
              <a:rPr lang="en-US" dirty="0">
                <a:hlinkClick r:id="rId8" action="ppaction://hlinksldjump">
                  <a:extLst>
                    <a:ext uri="{A12FA001-AC4F-418D-AE19-62706E023703}">
                      <ahyp:hlinkClr xmlns:ahyp="http://schemas.microsoft.com/office/drawing/2018/hyperlinkcolor" val="tx"/>
                    </a:ext>
                  </a:extLst>
                </a:hlinkClick>
              </a:rPr>
              <a:t>Useful Objects</a:t>
            </a:r>
            <a:endParaRPr lang="en-US" dirty="0"/>
          </a:p>
        </p:txBody>
      </p:sp>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Standard Visuals</a:t>
            </a:r>
          </a:p>
        </p:txBody>
      </p:sp>
      <p:sp>
        <p:nvSpPr>
          <p:cNvPr id="6" name="Freeform: Shape 5">
            <a:hlinkClick r:id="rId9" action="ppaction://hlinksldjump"/>
            <a:extLst>
              <a:ext uri="{FF2B5EF4-FFF2-40B4-BE49-F238E27FC236}">
                <a16:creationId xmlns:a16="http://schemas.microsoft.com/office/drawing/2014/main" id="{3972CCCA-1DA8-4A1A-AD76-B6F49119AC9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Rectangle 2">
            <a:hlinkClick r:id="rId9" action="ppaction://hlinksldjump"/>
            <a:extLst>
              <a:ext uri="{FF2B5EF4-FFF2-40B4-BE49-F238E27FC236}">
                <a16:creationId xmlns:a16="http://schemas.microsoft.com/office/drawing/2014/main" id="{D330FAD2-B90D-4586-9DE0-7745FFBF6CD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94796049"/>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9D61D8B-1F3E-4EDB-87B9-936D2F71980C}"/>
              </a:ext>
            </a:extLst>
          </p:cNvPr>
          <p:cNvSpPr>
            <a:spLocks noGrp="1"/>
          </p:cNvSpPr>
          <p:nvPr>
            <p:ph type="body" sz="quarter" idx="15"/>
          </p:nvPr>
        </p:nvSpPr>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Standard Visuals</a:t>
            </a:r>
            <a:endParaRPr lang="en-US" dirty="0"/>
          </a:p>
        </p:txBody>
      </p:sp>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Maps</a:t>
            </a:r>
          </a:p>
        </p:txBody>
      </p:sp>
      <p:sp>
        <p:nvSpPr>
          <p:cNvPr id="8" name="Freeform: Shape 7">
            <a:hlinkClick r:id="rId4"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Rectangle 1">
            <a:hlinkClick r:id="rId4" action="ppaction://hlinksldjump"/>
            <a:extLst>
              <a:ext uri="{FF2B5EF4-FFF2-40B4-BE49-F238E27FC236}">
                <a16:creationId xmlns:a16="http://schemas.microsoft.com/office/drawing/2014/main" id="{C3B0B458-2179-49C6-8CB8-BCF62A9B625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165743039"/>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World 1</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E7FF9FD1-48BD-41EA-954F-BF4E93CBFE7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a:ea typeface="+mn-ea"/>
                <a:cs typeface="+mn-cs"/>
              </a:rPr>
              <a:t>Ungroup map to select and shade one or more countries</a:t>
            </a:r>
            <a:endParaRPr kumimoji="0" lang="de-DE" sz="1600" b="0" i="0" u="none" strike="noStrike" kern="1200" cap="none" spc="0" normalizeH="0" baseline="0" noProof="0" dirty="0">
              <a:ln>
                <a:noFill/>
              </a:ln>
              <a:solidFill>
                <a:srgbClr val="000000"/>
              </a:solidFill>
              <a:effectLst/>
              <a:uLnTx/>
              <a:uFillTx/>
              <a:latin typeface="Graphik"/>
              <a:ea typeface="+mn-ea"/>
              <a:cs typeface="+mn-cs"/>
            </a:endParaRPr>
          </a:p>
        </p:txBody>
      </p:sp>
      <p:grpSp>
        <p:nvGrpSpPr>
          <p:cNvPr id="1638" name="Group 1583">
            <a:extLst>
              <a:ext uri="{FF2B5EF4-FFF2-40B4-BE49-F238E27FC236}">
                <a16:creationId xmlns:a16="http://schemas.microsoft.com/office/drawing/2014/main" id="{B520185A-E746-4CA0-BA8F-D439235F61E5}"/>
              </a:ext>
            </a:extLst>
          </p:cNvPr>
          <p:cNvGrpSpPr>
            <a:grpSpLocks noChangeAspect="1"/>
          </p:cNvGrpSpPr>
          <p:nvPr/>
        </p:nvGrpSpPr>
        <p:grpSpPr bwMode="auto">
          <a:xfrm>
            <a:off x="2197757" y="1926779"/>
            <a:ext cx="7790688" cy="3819176"/>
            <a:chOff x="-508" y="29"/>
            <a:chExt cx="8694" cy="4262"/>
          </a:xfrm>
          <a:solidFill>
            <a:srgbClr val="96968C">
              <a:lumMod val="40000"/>
              <a:lumOff val="60000"/>
            </a:srgbClr>
          </a:solidFill>
        </p:grpSpPr>
        <p:grpSp>
          <p:nvGrpSpPr>
            <p:cNvPr id="1639" name="Group 1784">
              <a:extLst>
                <a:ext uri="{FF2B5EF4-FFF2-40B4-BE49-F238E27FC236}">
                  <a16:creationId xmlns:a16="http://schemas.microsoft.com/office/drawing/2014/main" id="{40505CCB-36B2-4528-8977-2E2352BE033C}"/>
                </a:ext>
              </a:extLst>
            </p:cNvPr>
            <p:cNvGrpSpPr>
              <a:grpSpLocks/>
            </p:cNvGrpSpPr>
            <p:nvPr/>
          </p:nvGrpSpPr>
          <p:grpSpPr bwMode="auto">
            <a:xfrm>
              <a:off x="-508" y="79"/>
              <a:ext cx="3866" cy="3544"/>
              <a:chOff x="-508" y="79"/>
              <a:chExt cx="3866" cy="3544"/>
            </a:xfrm>
            <a:grpFill/>
          </p:grpSpPr>
          <p:sp>
            <p:nvSpPr>
              <p:cNvPr id="3069" name="Freeform 1584">
                <a:extLst>
                  <a:ext uri="{FF2B5EF4-FFF2-40B4-BE49-F238E27FC236}">
                    <a16:creationId xmlns:a16="http://schemas.microsoft.com/office/drawing/2014/main" id="{DC1E4216-4A43-4335-BCE1-0D7D6CFC2C95}"/>
                  </a:ext>
                </a:extLst>
              </p:cNvPr>
              <p:cNvSpPr>
                <a:spLocks/>
              </p:cNvSpPr>
              <p:nvPr/>
            </p:nvSpPr>
            <p:spPr bwMode="auto">
              <a:xfrm>
                <a:off x="1870" y="16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0" name="Freeform 1585">
                <a:extLst>
                  <a:ext uri="{FF2B5EF4-FFF2-40B4-BE49-F238E27FC236}">
                    <a16:creationId xmlns:a16="http://schemas.microsoft.com/office/drawing/2014/main" id="{645A0FD4-F04B-4B50-8ADF-0A42E8C52EC5}"/>
                  </a:ext>
                </a:extLst>
              </p:cNvPr>
              <p:cNvSpPr>
                <a:spLocks/>
              </p:cNvSpPr>
              <p:nvPr/>
            </p:nvSpPr>
            <p:spPr bwMode="auto">
              <a:xfrm>
                <a:off x="781" y="1958"/>
                <a:ext cx="2"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0" y="0"/>
                    </a:cubicBezTo>
                    <a:cubicBezTo>
                      <a:pt x="0" y="0"/>
                      <a:pt x="0"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1" name="Freeform 1586">
                <a:extLst>
                  <a:ext uri="{FF2B5EF4-FFF2-40B4-BE49-F238E27FC236}">
                    <a16:creationId xmlns:a16="http://schemas.microsoft.com/office/drawing/2014/main" id="{7F1AF78B-5A21-4828-AB3F-7DFE541F75E0}"/>
                  </a:ext>
                </a:extLst>
              </p:cNvPr>
              <p:cNvSpPr>
                <a:spLocks/>
              </p:cNvSpPr>
              <p:nvPr/>
            </p:nvSpPr>
            <p:spPr bwMode="auto">
              <a:xfrm>
                <a:off x="1688" y="189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2" name="Freeform 1587">
                <a:extLst>
                  <a:ext uri="{FF2B5EF4-FFF2-40B4-BE49-F238E27FC236}">
                    <a16:creationId xmlns:a16="http://schemas.microsoft.com/office/drawing/2014/main" id="{5D365C91-BDD8-46B7-A5FC-3393D21A60C0}"/>
                  </a:ext>
                </a:extLst>
              </p:cNvPr>
              <p:cNvSpPr>
                <a:spLocks/>
              </p:cNvSpPr>
              <p:nvPr/>
            </p:nvSpPr>
            <p:spPr bwMode="auto">
              <a:xfrm>
                <a:off x="1764" y="1719"/>
                <a:ext cx="0" cy="2"/>
              </a:xfrm>
              <a:custGeom>
                <a:avLst/>
                <a:gdLst>
                  <a:gd name="T0" fmla="*/ 1 h 1"/>
                  <a:gd name="T1" fmla="*/ 1 h 1"/>
                  <a:gd name="T2" fmla="*/ 1 h 1"/>
                  <a:gd name="T3" fmla="*/ 0 h 1"/>
                  <a:gd name="T4" fmla="*/ 1 h 1"/>
                  <a:gd name="T5" fmla="*/ 0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1"/>
                      <a:pt x="0" y="1"/>
                      <a:pt x="0" y="1"/>
                    </a:cubicBezTo>
                    <a:cubicBezTo>
                      <a:pt x="0" y="1"/>
                      <a:pt x="0" y="1"/>
                      <a:pt x="0" y="0"/>
                    </a:cubicBezTo>
                    <a:cubicBezTo>
                      <a:pt x="0" y="0"/>
                      <a:pt x="0" y="0"/>
                      <a:pt x="0" y="1"/>
                    </a:cubicBezTo>
                    <a:cubicBezTo>
                      <a:pt x="0" y="0"/>
                      <a:pt x="0" y="0"/>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3" name="Freeform 1588">
                <a:extLst>
                  <a:ext uri="{FF2B5EF4-FFF2-40B4-BE49-F238E27FC236}">
                    <a16:creationId xmlns:a16="http://schemas.microsoft.com/office/drawing/2014/main" id="{97AE053C-FC01-4289-BCEE-B2CDF8F2F332}"/>
                  </a:ext>
                </a:extLst>
              </p:cNvPr>
              <p:cNvSpPr>
                <a:spLocks/>
              </p:cNvSpPr>
              <p:nvPr/>
            </p:nvSpPr>
            <p:spPr bwMode="auto">
              <a:xfrm>
                <a:off x="1868" y="1641"/>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4" name="Freeform 1589">
                <a:extLst>
                  <a:ext uri="{FF2B5EF4-FFF2-40B4-BE49-F238E27FC236}">
                    <a16:creationId xmlns:a16="http://schemas.microsoft.com/office/drawing/2014/main" id="{DE59D441-AA37-415C-964B-A74B1BFA595B}"/>
                  </a:ext>
                </a:extLst>
              </p:cNvPr>
              <p:cNvSpPr>
                <a:spLocks/>
              </p:cNvSpPr>
              <p:nvPr/>
            </p:nvSpPr>
            <p:spPr bwMode="auto">
              <a:xfrm>
                <a:off x="1201" y="213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5" name="Freeform 1590">
                <a:extLst>
                  <a:ext uri="{FF2B5EF4-FFF2-40B4-BE49-F238E27FC236}">
                    <a16:creationId xmlns:a16="http://schemas.microsoft.com/office/drawing/2014/main" id="{089934B9-AADD-440E-AAE3-AB2EFED3B518}"/>
                  </a:ext>
                </a:extLst>
              </p:cNvPr>
              <p:cNvSpPr>
                <a:spLocks noEditPoints="1"/>
              </p:cNvSpPr>
              <p:nvPr/>
            </p:nvSpPr>
            <p:spPr bwMode="auto">
              <a:xfrm>
                <a:off x="537" y="1480"/>
                <a:ext cx="1395" cy="676"/>
              </a:xfrm>
              <a:custGeom>
                <a:avLst/>
                <a:gdLst>
                  <a:gd name="T0" fmla="*/ 581 w 590"/>
                  <a:gd name="T1" fmla="*/ 32 h 286"/>
                  <a:gd name="T2" fmla="*/ 558 w 590"/>
                  <a:gd name="T3" fmla="*/ 45 h 286"/>
                  <a:gd name="T4" fmla="*/ 496 w 590"/>
                  <a:gd name="T5" fmla="*/ 65 h 286"/>
                  <a:gd name="T6" fmla="*/ 466 w 590"/>
                  <a:gd name="T7" fmla="*/ 78 h 286"/>
                  <a:gd name="T8" fmla="*/ 441 w 590"/>
                  <a:gd name="T9" fmla="*/ 98 h 286"/>
                  <a:gd name="T10" fmla="*/ 431 w 590"/>
                  <a:gd name="T11" fmla="*/ 77 h 286"/>
                  <a:gd name="T12" fmla="*/ 413 w 590"/>
                  <a:gd name="T13" fmla="*/ 47 h 286"/>
                  <a:gd name="T14" fmla="*/ 395 w 590"/>
                  <a:gd name="T15" fmla="*/ 56 h 286"/>
                  <a:gd name="T16" fmla="*/ 378 w 590"/>
                  <a:gd name="T17" fmla="*/ 68 h 286"/>
                  <a:gd name="T18" fmla="*/ 376 w 590"/>
                  <a:gd name="T19" fmla="*/ 58 h 286"/>
                  <a:gd name="T20" fmla="*/ 392 w 590"/>
                  <a:gd name="T21" fmla="*/ 44 h 286"/>
                  <a:gd name="T22" fmla="*/ 412 w 590"/>
                  <a:gd name="T23" fmla="*/ 36 h 286"/>
                  <a:gd name="T24" fmla="*/ 370 w 590"/>
                  <a:gd name="T25" fmla="*/ 33 h 286"/>
                  <a:gd name="T26" fmla="*/ 348 w 590"/>
                  <a:gd name="T27" fmla="*/ 21 h 286"/>
                  <a:gd name="T28" fmla="*/ 324 w 590"/>
                  <a:gd name="T29" fmla="*/ 10 h 286"/>
                  <a:gd name="T30" fmla="*/ 197 w 590"/>
                  <a:gd name="T31" fmla="*/ 5 h 286"/>
                  <a:gd name="T32" fmla="*/ 24 w 590"/>
                  <a:gd name="T33" fmla="*/ 18 h 286"/>
                  <a:gd name="T34" fmla="*/ 18 w 590"/>
                  <a:gd name="T35" fmla="*/ 26 h 286"/>
                  <a:gd name="T36" fmla="*/ 18 w 590"/>
                  <a:gd name="T37" fmla="*/ 22 h 286"/>
                  <a:gd name="T38" fmla="*/ 9 w 590"/>
                  <a:gd name="T39" fmla="*/ 30 h 286"/>
                  <a:gd name="T40" fmla="*/ 8 w 590"/>
                  <a:gd name="T41" fmla="*/ 49 h 286"/>
                  <a:gd name="T42" fmla="*/ 5 w 590"/>
                  <a:gd name="T43" fmla="*/ 95 h 286"/>
                  <a:gd name="T44" fmla="*/ 21 w 590"/>
                  <a:gd name="T45" fmla="*/ 141 h 286"/>
                  <a:gd name="T46" fmla="*/ 28 w 590"/>
                  <a:gd name="T47" fmla="*/ 140 h 286"/>
                  <a:gd name="T48" fmla="*/ 34 w 590"/>
                  <a:gd name="T49" fmla="*/ 166 h 286"/>
                  <a:gd name="T50" fmla="*/ 61 w 590"/>
                  <a:gd name="T51" fmla="*/ 187 h 286"/>
                  <a:gd name="T52" fmla="*/ 84 w 590"/>
                  <a:gd name="T53" fmla="*/ 202 h 286"/>
                  <a:gd name="T54" fmla="*/ 167 w 590"/>
                  <a:gd name="T55" fmla="*/ 215 h 286"/>
                  <a:gd name="T56" fmla="*/ 215 w 590"/>
                  <a:gd name="T57" fmla="*/ 240 h 286"/>
                  <a:gd name="T58" fmla="*/ 259 w 590"/>
                  <a:gd name="T59" fmla="*/ 262 h 286"/>
                  <a:gd name="T60" fmla="*/ 275 w 590"/>
                  <a:gd name="T61" fmla="*/ 261 h 286"/>
                  <a:gd name="T62" fmla="*/ 285 w 590"/>
                  <a:gd name="T63" fmla="*/ 250 h 286"/>
                  <a:gd name="T64" fmla="*/ 305 w 590"/>
                  <a:gd name="T65" fmla="*/ 240 h 286"/>
                  <a:gd name="T66" fmla="*/ 315 w 590"/>
                  <a:gd name="T67" fmla="*/ 236 h 286"/>
                  <a:gd name="T68" fmla="*/ 338 w 590"/>
                  <a:gd name="T69" fmla="*/ 236 h 286"/>
                  <a:gd name="T70" fmla="*/ 361 w 590"/>
                  <a:gd name="T71" fmla="*/ 242 h 286"/>
                  <a:gd name="T72" fmla="*/ 359 w 590"/>
                  <a:gd name="T73" fmla="*/ 236 h 286"/>
                  <a:gd name="T74" fmla="*/ 373 w 590"/>
                  <a:gd name="T75" fmla="*/ 229 h 286"/>
                  <a:gd name="T76" fmla="*/ 383 w 590"/>
                  <a:gd name="T77" fmla="*/ 228 h 286"/>
                  <a:gd name="T78" fmla="*/ 400 w 590"/>
                  <a:gd name="T79" fmla="*/ 232 h 286"/>
                  <a:gd name="T80" fmla="*/ 429 w 590"/>
                  <a:gd name="T81" fmla="*/ 250 h 286"/>
                  <a:gd name="T82" fmla="*/ 436 w 590"/>
                  <a:gd name="T83" fmla="*/ 267 h 286"/>
                  <a:gd name="T84" fmla="*/ 452 w 590"/>
                  <a:gd name="T85" fmla="*/ 285 h 286"/>
                  <a:gd name="T86" fmla="*/ 441 w 590"/>
                  <a:gd name="T87" fmla="*/ 226 h 286"/>
                  <a:gd name="T88" fmla="*/ 450 w 590"/>
                  <a:gd name="T89" fmla="*/ 206 h 286"/>
                  <a:gd name="T90" fmla="*/ 465 w 590"/>
                  <a:gd name="T91" fmla="*/ 196 h 286"/>
                  <a:gd name="T92" fmla="*/ 490 w 590"/>
                  <a:gd name="T93" fmla="*/ 178 h 286"/>
                  <a:gd name="T94" fmla="*/ 500 w 590"/>
                  <a:gd name="T95" fmla="*/ 166 h 286"/>
                  <a:gd name="T96" fmla="*/ 497 w 590"/>
                  <a:gd name="T97" fmla="*/ 162 h 286"/>
                  <a:gd name="T98" fmla="*/ 494 w 590"/>
                  <a:gd name="T99" fmla="*/ 152 h 286"/>
                  <a:gd name="T100" fmla="*/ 487 w 590"/>
                  <a:gd name="T101" fmla="*/ 137 h 286"/>
                  <a:gd name="T102" fmla="*/ 491 w 590"/>
                  <a:gd name="T103" fmla="*/ 133 h 286"/>
                  <a:gd name="T104" fmla="*/ 497 w 590"/>
                  <a:gd name="T105" fmla="*/ 127 h 286"/>
                  <a:gd name="T106" fmla="*/ 499 w 590"/>
                  <a:gd name="T107" fmla="*/ 136 h 286"/>
                  <a:gd name="T108" fmla="*/ 506 w 590"/>
                  <a:gd name="T109" fmla="*/ 134 h 286"/>
                  <a:gd name="T110" fmla="*/ 515 w 590"/>
                  <a:gd name="T111" fmla="*/ 122 h 286"/>
                  <a:gd name="T112" fmla="*/ 520 w 590"/>
                  <a:gd name="T113" fmla="*/ 106 h 286"/>
                  <a:gd name="T114" fmla="*/ 557 w 590"/>
                  <a:gd name="T115" fmla="*/ 96 h 286"/>
                  <a:gd name="T116" fmla="*/ 561 w 590"/>
                  <a:gd name="T117" fmla="*/ 68 h 286"/>
                  <a:gd name="T118" fmla="*/ 564 w 590"/>
                  <a:gd name="T119" fmla="*/ 68 h 286"/>
                  <a:gd name="T120" fmla="*/ 586 w 590"/>
                  <a:gd name="T121" fmla="*/ 5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0" h="286">
                    <a:moveTo>
                      <a:pt x="589" y="57"/>
                    </a:moveTo>
                    <a:cubicBezTo>
                      <a:pt x="589" y="57"/>
                      <a:pt x="589" y="57"/>
                      <a:pt x="589" y="57"/>
                    </a:cubicBezTo>
                    <a:cubicBezTo>
                      <a:pt x="589" y="57"/>
                      <a:pt x="589" y="57"/>
                      <a:pt x="589" y="56"/>
                    </a:cubicBezTo>
                    <a:cubicBezTo>
                      <a:pt x="588" y="57"/>
                      <a:pt x="587" y="56"/>
                      <a:pt x="588" y="56"/>
                    </a:cubicBezTo>
                    <a:cubicBezTo>
                      <a:pt x="589" y="55"/>
                      <a:pt x="589" y="55"/>
                      <a:pt x="589" y="55"/>
                    </a:cubicBezTo>
                    <a:cubicBezTo>
                      <a:pt x="589" y="55"/>
                      <a:pt x="589" y="55"/>
                      <a:pt x="589" y="55"/>
                    </a:cubicBezTo>
                    <a:cubicBezTo>
                      <a:pt x="589" y="55"/>
                      <a:pt x="589" y="55"/>
                      <a:pt x="589" y="55"/>
                    </a:cubicBezTo>
                    <a:cubicBezTo>
                      <a:pt x="588" y="55"/>
                      <a:pt x="588" y="55"/>
                      <a:pt x="588" y="55"/>
                    </a:cubicBezTo>
                    <a:cubicBezTo>
                      <a:pt x="588" y="54"/>
                      <a:pt x="588" y="54"/>
                      <a:pt x="588" y="54"/>
                    </a:cubicBezTo>
                    <a:cubicBezTo>
                      <a:pt x="587" y="55"/>
                      <a:pt x="586" y="54"/>
                      <a:pt x="586" y="54"/>
                    </a:cubicBezTo>
                    <a:cubicBezTo>
                      <a:pt x="584" y="53"/>
                      <a:pt x="584" y="51"/>
                      <a:pt x="585" y="51"/>
                    </a:cubicBezTo>
                    <a:cubicBezTo>
                      <a:pt x="585" y="51"/>
                      <a:pt x="585" y="50"/>
                      <a:pt x="585" y="50"/>
                    </a:cubicBezTo>
                    <a:cubicBezTo>
                      <a:pt x="585" y="49"/>
                      <a:pt x="585" y="49"/>
                      <a:pt x="585" y="49"/>
                    </a:cubicBezTo>
                    <a:cubicBezTo>
                      <a:pt x="583" y="49"/>
                      <a:pt x="582" y="48"/>
                      <a:pt x="581" y="47"/>
                    </a:cubicBezTo>
                    <a:cubicBezTo>
                      <a:pt x="580" y="46"/>
                      <a:pt x="581" y="44"/>
                      <a:pt x="581" y="44"/>
                    </a:cubicBezTo>
                    <a:cubicBezTo>
                      <a:pt x="581" y="43"/>
                      <a:pt x="581" y="36"/>
                      <a:pt x="581" y="32"/>
                    </a:cubicBezTo>
                    <a:cubicBezTo>
                      <a:pt x="581" y="31"/>
                      <a:pt x="581" y="29"/>
                      <a:pt x="580" y="29"/>
                    </a:cubicBezTo>
                    <a:cubicBezTo>
                      <a:pt x="580" y="29"/>
                      <a:pt x="580" y="29"/>
                      <a:pt x="580" y="29"/>
                    </a:cubicBezTo>
                    <a:cubicBezTo>
                      <a:pt x="580" y="28"/>
                      <a:pt x="579" y="28"/>
                      <a:pt x="579" y="28"/>
                    </a:cubicBezTo>
                    <a:cubicBezTo>
                      <a:pt x="578" y="27"/>
                      <a:pt x="578" y="27"/>
                      <a:pt x="577" y="26"/>
                    </a:cubicBezTo>
                    <a:cubicBezTo>
                      <a:pt x="577" y="26"/>
                      <a:pt x="576" y="26"/>
                      <a:pt x="573" y="28"/>
                    </a:cubicBezTo>
                    <a:cubicBezTo>
                      <a:pt x="573" y="28"/>
                      <a:pt x="573" y="28"/>
                      <a:pt x="573" y="28"/>
                    </a:cubicBezTo>
                    <a:cubicBezTo>
                      <a:pt x="572" y="28"/>
                      <a:pt x="572" y="28"/>
                      <a:pt x="572" y="28"/>
                    </a:cubicBezTo>
                    <a:cubicBezTo>
                      <a:pt x="570" y="29"/>
                      <a:pt x="569" y="27"/>
                      <a:pt x="568" y="27"/>
                    </a:cubicBezTo>
                    <a:cubicBezTo>
                      <a:pt x="568" y="26"/>
                      <a:pt x="568" y="26"/>
                      <a:pt x="568" y="26"/>
                    </a:cubicBezTo>
                    <a:cubicBezTo>
                      <a:pt x="568" y="26"/>
                      <a:pt x="568" y="26"/>
                      <a:pt x="568" y="26"/>
                    </a:cubicBezTo>
                    <a:cubicBezTo>
                      <a:pt x="568" y="25"/>
                      <a:pt x="568" y="25"/>
                      <a:pt x="568" y="25"/>
                    </a:cubicBezTo>
                    <a:cubicBezTo>
                      <a:pt x="568" y="25"/>
                      <a:pt x="568" y="25"/>
                      <a:pt x="567" y="26"/>
                    </a:cubicBezTo>
                    <a:cubicBezTo>
                      <a:pt x="567" y="26"/>
                      <a:pt x="567" y="27"/>
                      <a:pt x="564" y="32"/>
                    </a:cubicBezTo>
                    <a:cubicBezTo>
                      <a:pt x="561" y="37"/>
                      <a:pt x="561" y="37"/>
                      <a:pt x="561" y="37"/>
                    </a:cubicBezTo>
                    <a:cubicBezTo>
                      <a:pt x="560" y="38"/>
                      <a:pt x="558" y="41"/>
                      <a:pt x="558" y="42"/>
                    </a:cubicBezTo>
                    <a:cubicBezTo>
                      <a:pt x="559" y="43"/>
                      <a:pt x="558" y="44"/>
                      <a:pt x="558" y="45"/>
                    </a:cubicBezTo>
                    <a:cubicBezTo>
                      <a:pt x="557" y="46"/>
                      <a:pt x="555" y="49"/>
                      <a:pt x="554" y="51"/>
                    </a:cubicBezTo>
                    <a:cubicBezTo>
                      <a:pt x="553" y="52"/>
                      <a:pt x="551" y="54"/>
                      <a:pt x="548" y="53"/>
                    </a:cubicBezTo>
                    <a:cubicBezTo>
                      <a:pt x="547" y="52"/>
                      <a:pt x="547" y="52"/>
                      <a:pt x="547" y="53"/>
                    </a:cubicBezTo>
                    <a:cubicBezTo>
                      <a:pt x="546" y="53"/>
                      <a:pt x="546" y="53"/>
                      <a:pt x="545" y="55"/>
                    </a:cubicBezTo>
                    <a:cubicBezTo>
                      <a:pt x="545" y="56"/>
                      <a:pt x="545" y="56"/>
                      <a:pt x="545" y="56"/>
                    </a:cubicBezTo>
                    <a:cubicBezTo>
                      <a:pt x="544" y="56"/>
                      <a:pt x="544" y="56"/>
                      <a:pt x="544" y="56"/>
                    </a:cubicBezTo>
                    <a:cubicBezTo>
                      <a:pt x="544" y="56"/>
                      <a:pt x="518" y="56"/>
                      <a:pt x="513" y="56"/>
                    </a:cubicBezTo>
                    <a:cubicBezTo>
                      <a:pt x="508" y="57"/>
                      <a:pt x="506" y="58"/>
                      <a:pt x="506" y="58"/>
                    </a:cubicBezTo>
                    <a:cubicBezTo>
                      <a:pt x="505" y="59"/>
                      <a:pt x="505" y="59"/>
                      <a:pt x="504" y="60"/>
                    </a:cubicBezTo>
                    <a:cubicBezTo>
                      <a:pt x="504" y="60"/>
                      <a:pt x="504" y="60"/>
                      <a:pt x="504" y="60"/>
                    </a:cubicBezTo>
                    <a:cubicBezTo>
                      <a:pt x="503" y="61"/>
                      <a:pt x="502" y="62"/>
                      <a:pt x="501" y="62"/>
                    </a:cubicBezTo>
                    <a:cubicBezTo>
                      <a:pt x="501" y="63"/>
                      <a:pt x="500" y="64"/>
                      <a:pt x="498" y="64"/>
                    </a:cubicBezTo>
                    <a:cubicBezTo>
                      <a:pt x="498" y="65"/>
                      <a:pt x="498" y="65"/>
                      <a:pt x="498" y="65"/>
                    </a:cubicBezTo>
                    <a:cubicBezTo>
                      <a:pt x="497" y="63"/>
                      <a:pt x="497" y="63"/>
                      <a:pt x="497" y="63"/>
                    </a:cubicBezTo>
                    <a:cubicBezTo>
                      <a:pt x="496" y="64"/>
                      <a:pt x="496" y="64"/>
                      <a:pt x="496" y="64"/>
                    </a:cubicBezTo>
                    <a:cubicBezTo>
                      <a:pt x="496" y="65"/>
                      <a:pt x="496" y="65"/>
                      <a:pt x="496" y="65"/>
                    </a:cubicBezTo>
                    <a:cubicBezTo>
                      <a:pt x="495" y="65"/>
                      <a:pt x="495" y="65"/>
                      <a:pt x="495" y="66"/>
                    </a:cubicBezTo>
                    <a:cubicBezTo>
                      <a:pt x="494" y="66"/>
                      <a:pt x="494" y="66"/>
                      <a:pt x="494" y="67"/>
                    </a:cubicBezTo>
                    <a:cubicBezTo>
                      <a:pt x="494" y="67"/>
                      <a:pt x="494" y="67"/>
                      <a:pt x="495" y="67"/>
                    </a:cubicBezTo>
                    <a:cubicBezTo>
                      <a:pt x="495" y="67"/>
                      <a:pt x="495" y="67"/>
                      <a:pt x="496" y="67"/>
                    </a:cubicBezTo>
                    <a:cubicBezTo>
                      <a:pt x="496" y="67"/>
                      <a:pt x="496" y="68"/>
                      <a:pt x="496" y="68"/>
                    </a:cubicBezTo>
                    <a:cubicBezTo>
                      <a:pt x="496" y="68"/>
                      <a:pt x="496" y="68"/>
                      <a:pt x="496" y="68"/>
                    </a:cubicBezTo>
                    <a:cubicBezTo>
                      <a:pt x="496" y="69"/>
                      <a:pt x="495" y="69"/>
                      <a:pt x="495" y="70"/>
                    </a:cubicBezTo>
                    <a:cubicBezTo>
                      <a:pt x="496" y="70"/>
                      <a:pt x="496" y="73"/>
                      <a:pt x="495" y="74"/>
                    </a:cubicBezTo>
                    <a:cubicBezTo>
                      <a:pt x="494" y="74"/>
                      <a:pt x="494" y="74"/>
                      <a:pt x="494" y="74"/>
                    </a:cubicBezTo>
                    <a:cubicBezTo>
                      <a:pt x="493" y="74"/>
                      <a:pt x="492" y="74"/>
                      <a:pt x="491" y="75"/>
                    </a:cubicBezTo>
                    <a:cubicBezTo>
                      <a:pt x="490" y="76"/>
                      <a:pt x="489" y="76"/>
                      <a:pt x="488" y="77"/>
                    </a:cubicBezTo>
                    <a:cubicBezTo>
                      <a:pt x="488" y="77"/>
                      <a:pt x="488" y="77"/>
                      <a:pt x="487" y="77"/>
                    </a:cubicBezTo>
                    <a:cubicBezTo>
                      <a:pt x="486" y="76"/>
                      <a:pt x="485" y="76"/>
                      <a:pt x="484" y="77"/>
                    </a:cubicBezTo>
                    <a:cubicBezTo>
                      <a:pt x="482" y="77"/>
                      <a:pt x="482" y="77"/>
                      <a:pt x="480" y="76"/>
                    </a:cubicBezTo>
                    <a:cubicBezTo>
                      <a:pt x="476" y="74"/>
                      <a:pt x="470" y="76"/>
                      <a:pt x="466" y="77"/>
                    </a:cubicBezTo>
                    <a:cubicBezTo>
                      <a:pt x="466" y="78"/>
                      <a:pt x="466" y="78"/>
                      <a:pt x="466" y="78"/>
                    </a:cubicBezTo>
                    <a:cubicBezTo>
                      <a:pt x="466" y="78"/>
                      <a:pt x="467" y="79"/>
                      <a:pt x="467" y="79"/>
                    </a:cubicBezTo>
                    <a:cubicBezTo>
                      <a:pt x="467" y="79"/>
                      <a:pt x="468" y="79"/>
                      <a:pt x="468" y="80"/>
                    </a:cubicBezTo>
                    <a:cubicBezTo>
                      <a:pt x="468" y="80"/>
                      <a:pt x="468" y="80"/>
                      <a:pt x="468" y="80"/>
                    </a:cubicBezTo>
                    <a:cubicBezTo>
                      <a:pt x="468" y="81"/>
                      <a:pt x="468" y="81"/>
                      <a:pt x="468" y="81"/>
                    </a:cubicBezTo>
                    <a:cubicBezTo>
                      <a:pt x="468" y="81"/>
                      <a:pt x="468" y="81"/>
                      <a:pt x="468" y="81"/>
                    </a:cubicBezTo>
                    <a:cubicBezTo>
                      <a:pt x="468" y="82"/>
                      <a:pt x="469" y="83"/>
                      <a:pt x="468" y="83"/>
                    </a:cubicBezTo>
                    <a:cubicBezTo>
                      <a:pt x="468" y="83"/>
                      <a:pt x="468" y="83"/>
                      <a:pt x="468" y="83"/>
                    </a:cubicBezTo>
                    <a:cubicBezTo>
                      <a:pt x="467" y="84"/>
                      <a:pt x="466" y="84"/>
                      <a:pt x="465" y="85"/>
                    </a:cubicBezTo>
                    <a:cubicBezTo>
                      <a:pt x="465" y="85"/>
                      <a:pt x="465" y="85"/>
                      <a:pt x="465" y="85"/>
                    </a:cubicBezTo>
                    <a:cubicBezTo>
                      <a:pt x="463" y="86"/>
                      <a:pt x="461" y="88"/>
                      <a:pt x="459" y="89"/>
                    </a:cubicBezTo>
                    <a:cubicBezTo>
                      <a:pt x="458" y="90"/>
                      <a:pt x="455" y="91"/>
                      <a:pt x="453" y="92"/>
                    </a:cubicBezTo>
                    <a:cubicBezTo>
                      <a:pt x="453" y="92"/>
                      <a:pt x="453" y="92"/>
                      <a:pt x="453" y="92"/>
                    </a:cubicBezTo>
                    <a:cubicBezTo>
                      <a:pt x="451" y="93"/>
                      <a:pt x="448" y="94"/>
                      <a:pt x="445" y="95"/>
                    </a:cubicBezTo>
                    <a:cubicBezTo>
                      <a:pt x="443" y="96"/>
                      <a:pt x="442" y="97"/>
                      <a:pt x="441" y="98"/>
                    </a:cubicBezTo>
                    <a:cubicBezTo>
                      <a:pt x="441" y="98"/>
                      <a:pt x="441" y="98"/>
                      <a:pt x="441" y="98"/>
                    </a:cubicBezTo>
                    <a:cubicBezTo>
                      <a:pt x="441" y="98"/>
                      <a:pt x="441" y="98"/>
                      <a:pt x="441" y="98"/>
                    </a:cubicBezTo>
                    <a:cubicBezTo>
                      <a:pt x="441" y="98"/>
                      <a:pt x="440" y="98"/>
                      <a:pt x="440" y="98"/>
                    </a:cubicBezTo>
                    <a:cubicBezTo>
                      <a:pt x="439" y="99"/>
                      <a:pt x="436" y="99"/>
                      <a:pt x="434" y="99"/>
                    </a:cubicBezTo>
                    <a:cubicBezTo>
                      <a:pt x="434" y="99"/>
                      <a:pt x="433" y="99"/>
                      <a:pt x="433" y="100"/>
                    </a:cubicBezTo>
                    <a:cubicBezTo>
                      <a:pt x="432" y="100"/>
                      <a:pt x="432" y="100"/>
                      <a:pt x="432" y="100"/>
                    </a:cubicBezTo>
                    <a:cubicBezTo>
                      <a:pt x="430" y="100"/>
                      <a:pt x="427" y="100"/>
                      <a:pt x="426" y="99"/>
                    </a:cubicBezTo>
                    <a:cubicBezTo>
                      <a:pt x="427" y="98"/>
                      <a:pt x="428" y="99"/>
                      <a:pt x="428" y="98"/>
                    </a:cubicBezTo>
                    <a:cubicBezTo>
                      <a:pt x="429" y="98"/>
                      <a:pt x="429" y="98"/>
                      <a:pt x="428" y="98"/>
                    </a:cubicBezTo>
                    <a:cubicBezTo>
                      <a:pt x="426" y="97"/>
                      <a:pt x="424" y="96"/>
                      <a:pt x="421" y="96"/>
                    </a:cubicBezTo>
                    <a:cubicBezTo>
                      <a:pt x="423" y="92"/>
                      <a:pt x="426" y="89"/>
                      <a:pt x="428" y="85"/>
                    </a:cubicBezTo>
                    <a:cubicBezTo>
                      <a:pt x="428" y="85"/>
                      <a:pt x="428" y="84"/>
                      <a:pt x="429" y="84"/>
                    </a:cubicBezTo>
                    <a:cubicBezTo>
                      <a:pt x="429" y="84"/>
                      <a:pt x="429" y="84"/>
                      <a:pt x="430" y="84"/>
                    </a:cubicBezTo>
                    <a:cubicBezTo>
                      <a:pt x="430" y="84"/>
                      <a:pt x="430" y="84"/>
                      <a:pt x="430" y="85"/>
                    </a:cubicBezTo>
                    <a:cubicBezTo>
                      <a:pt x="430" y="84"/>
                      <a:pt x="431" y="83"/>
                      <a:pt x="431" y="83"/>
                    </a:cubicBezTo>
                    <a:cubicBezTo>
                      <a:pt x="431" y="82"/>
                      <a:pt x="431" y="82"/>
                      <a:pt x="432" y="81"/>
                    </a:cubicBezTo>
                    <a:cubicBezTo>
                      <a:pt x="432" y="80"/>
                      <a:pt x="432" y="80"/>
                      <a:pt x="431" y="79"/>
                    </a:cubicBezTo>
                    <a:cubicBezTo>
                      <a:pt x="431" y="78"/>
                      <a:pt x="431" y="77"/>
                      <a:pt x="431" y="77"/>
                    </a:cubicBezTo>
                    <a:cubicBezTo>
                      <a:pt x="431" y="76"/>
                      <a:pt x="431" y="75"/>
                      <a:pt x="431" y="74"/>
                    </a:cubicBezTo>
                    <a:cubicBezTo>
                      <a:pt x="430" y="72"/>
                      <a:pt x="430" y="69"/>
                      <a:pt x="429" y="68"/>
                    </a:cubicBezTo>
                    <a:cubicBezTo>
                      <a:pt x="427" y="66"/>
                      <a:pt x="424" y="68"/>
                      <a:pt x="422" y="69"/>
                    </a:cubicBezTo>
                    <a:cubicBezTo>
                      <a:pt x="421" y="70"/>
                      <a:pt x="418" y="72"/>
                      <a:pt x="417" y="71"/>
                    </a:cubicBezTo>
                    <a:cubicBezTo>
                      <a:pt x="416" y="71"/>
                      <a:pt x="417" y="70"/>
                      <a:pt x="417" y="70"/>
                    </a:cubicBezTo>
                    <a:cubicBezTo>
                      <a:pt x="417" y="69"/>
                      <a:pt x="417" y="69"/>
                      <a:pt x="417" y="68"/>
                    </a:cubicBezTo>
                    <a:cubicBezTo>
                      <a:pt x="418" y="67"/>
                      <a:pt x="419" y="68"/>
                      <a:pt x="420" y="67"/>
                    </a:cubicBezTo>
                    <a:cubicBezTo>
                      <a:pt x="420" y="66"/>
                      <a:pt x="420" y="65"/>
                      <a:pt x="420" y="65"/>
                    </a:cubicBezTo>
                    <a:cubicBezTo>
                      <a:pt x="421" y="64"/>
                      <a:pt x="422" y="64"/>
                      <a:pt x="423" y="63"/>
                    </a:cubicBezTo>
                    <a:cubicBezTo>
                      <a:pt x="423" y="63"/>
                      <a:pt x="423" y="59"/>
                      <a:pt x="423" y="58"/>
                    </a:cubicBezTo>
                    <a:cubicBezTo>
                      <a:pt x="423" y="57"/>
                      <a:pt x="420" y="54"/>
                      <a:pt x="423" y="55"/>
                    </a:cubicBezTo>
                    <a:cubicBezTo>
                      <a:pt x="423" y="54"/>
                      <a:pt x="423" y="54"/>
                      <a:pt x="422" y="53"/>
                    </a:cubicBezTo>
                    <a:cubicBezTo>
                      <a:pt x="422" y="52"/>
                      <a:pt x="422" y="52"/>
                      <a:pt x="422" y="51"/>
                    </a:cubicBezTo>
                    <a:cubicBezTo>
                      <a:pt x="421" y="51"/>
                      <a:pt x="420" y="50"/>
                      <a:pt x="419" y="50"/>
                    </a:cubicBezTo>
                    <a:cubicBezTo>
                      <a:pt x="418" y="49"/>
                      <a:pt x="416" y="49"/>
                      <a:pt x="415" y="49"/>
                    </a:cubicBezTo>
                    <a:cubicBezTo>
                      <a:pt x="414" y="48"/>
                      <a:pt x="414" y="47"/>
                      <a:pt x="413" y="47"/>
                    </a:cubicBezTo>
                    <a:cubicBezTo>
                      <a:pt x="412" y="46"/>
                      <a:pt x="411" y="47"/>
                      <a:pt x="411" y="46"/>
                    </a:cubicBezTo>
                    <a:cubicBezTo>
                      <a:pt x="410" y="46"/>
                      <a:pt x="410" y="46"/>
                      <a:pt x="409" y="45"/>
                    </a:cubicBezTo>
                    <a:cubicBezTo>
                      <a:pt x="408" y="45"/>
                      <a:pt x="406" y="45"/>
                      <a:pt x="406" y="45"/>
                    </a:cubicBezTo>
                    <a:cubicBezTo>
                      <a:pt x="405" y="46"/>
                      <a:pt x="405" y="50"/>
                      <a:pt x="407" y="50"/>
                    </a:cubicBezTo>
                    <a:cubicBezTo>
                      <a:pt x="405" y="51"/>
                      <a:pt x="404" y="50"/>
                      <a:pt x="402" y="51"/>
                    </a:cubicBezTo>
                    <a:cubicBezTo>
                      <a:pt x="401" y="52"/>
                      <a:pt x="402" y="54"/>
                      <a:pt x="402" y="55"/>
                    </a:cubicBezTo>
                    <a:cubicBezTo>
                      <a:pt x="401" y="56"/>
                      <a:pt x="401" y="55"/>
                      <a:pt x="400" y="55"/>
                    </a:cubicBezTo>
                    <a:cubicBezTo>
                      <a:pt x="400" y="56"/>
                      <a:pt x="400" y="57"/>
                      <a:pt x="399" y="58"/>
                    </a:cubicBezTo>
                    <a:cubicBezTo>
                      <a:pt x="399" y="57"/>
                      <a:pt x="399" y="56"/>
                      <a:pt x="399" y="55"/>
                    </a:cubicBezTo>
                    <a:cubicBezTo>
                      <a:pt x="399" y="55"/>
                      <a:pt x="399" y="55"/>
                      <a:pt x="399" y="55"/>
                    </a:cubicBezTo>
                    <a:cubicBezTo>
                      <a:pt x="399" y="55"/>
                      <a:pt x="400" y="53"/>
                      <a:pt x="399" y="53"/>
                    </a:cubicBezTo>
                    <a:cubicBezTo>
                      <a:pt x="399" y="53"/>
                      <a:pt x="398" y="54"/>
                      <a:pt x="398" y="54"/>
                    </a:cubicBezTo>
                    <a:cubicBezTo>
                      <a:pt x="398" y="55"/>
                      <a:pt x="398" y="56"/>
                      <a:pt x="397" y="56"/>
                    </a:cubicBezTo>
                    <a:cubicBezTo>
                      <a:pt x="397" y="56"/>
                      <a:pt x="397" y="55"/>
                      <a:pt x="396" y="55"/>
                    </a:cubicBezTo>
                    <a:cubicBezTo>
                      <a:pt x="396" y="56"/>
                      <a:pt x="396" y="56"/>
                      <a:pt x="396" y="56"/>
                    </a:cubicBezTo>
                    <a:cubicBezTo>
                      <a:pt x="395" y="56"/>
                      <a:pt x="395" y="56"/>
                      <a:pt x="395" y="56"/>
                    </a:cubicBezTo>
                    <a:cubicBezTo>
                      <a:pt x="394" y="57"/>
                      <a:pt x="394" y="58"/>
                      <a:pt x="394" y="58"/>
                    </a:cubicBezTo>
                    <a:cubicBezTo>
                      <a:pt x="394" y="59"/>
                      <a:pt x="393" y="59"/>
                      <a:pt x="393" y="59"/>
                    </a:cubicBezTo>
                    <a:cubicBezTo>
                      <a:pt x="392" y="61"/>
                      <a:pt x="391" y="64"/>
                      <a:pt x="390" y="66"/>
                    </a:cubicBezTo>
                    <a:cubicBezTo>
                      <a:pt x="390" y="67"/>
                      <a:pt x="391" y="68"/>
                      <a:pt x="391" y="70"/>
                    </a:cubicBezTo>
                    <a:cubicBezTo>
                      <a:pt x="391" y="71"/>
                      <a:pt x="390" y="73"/>
                      <a:pt x="391" y="75"/>
                    </a:cubicBezTo>
                    <a:cubicBezTo>
                      <a:pt x="391" y="76"/>
                      <a:pt x="392" y="78"/>
                      <a:pt x="393" y="77"/>
                    </a:cubicBezTo>
                    <a:cubicBezTo>
                      <a:pt x="393" y="78"/>
                      <a:pt x="393" y="79"/>
                      <a:pt x="393" y="80"/>
                    </a:cubicBezTo>
                    <a:cubicBezTo>
                      <a:pt x="393" y="81"/>
                      <a:pt x="393" y="82"/>
                      <a:pt x="393" y="82"/>
                    </a:cubicBezTo>
                    <a:cubicBezTo>
                      <a:pt x="393" y="87"/>
                      <a:pt x="389" y="91"/>
                      <a:pt x="387" y="95"/>
                    </a:cubicBezTo>
                    <a:cubicBezTo>
                      <a:pt x="383" y="97"/>
                      <a:pt x="383" y="97"/>
                      <a:pt x="383" y="97"/>
                    </a:cubicBezTo>
                    <a:cubicBezTo>
                      <a:pt x="383" y="97"/>
                      <a:pt x="381" y="97"/>
                      <a:pt x="381" y="96"/>
                    </a:cubicBezTo>
                    <a:cubicBezTo>
                      <a:pt x="378" y="92"/>
                      <a:pt x="378" y="92"/>
                      <a:pt x="378" y="92"/>
                    </a:cubicBezTo>
                    <a:cubicBezTo>
                      <a:pt x="377" y="90"/>
                      <a:pt x="377" y="89"/>
                      <a:pt x="377" y="87"/>
                    </a:cubicBezTo>
                    <a:cubicBezTo>
                      <a:pt x="377" y="84"/>
                      <a:pt x="376" y="81"/>
                      <a:pt x="376" y="78"/>
                    </a:cubicBezTo>
                    <a:cubicBezTo>
                      <a:pt x="376" y="77"/>
                      <a:pt x="376" y="76"/>
                      <a:pt x="377" y="75"/>
                    </a:cubicBezTo>
                    <a:cubicBezTo>
                      <a:pt x="377" y="73"/>
                      <a:pt x="377" y="71"/>
                      <a:pt x="378" y="68"/>
                    </a:cubicBezTo>
                    <a:cubicBezTo>
                      <a:pt x="378" y="67"/>
                      <a:pt x="379" y="65"/>
                      <a:pt x="380" y="63"/>
                    </a:cubicBezTo>
                    <a:cubicBezTo>
                      <a:pt x="380" y="62"/>
                      <a:pt x="381" y="60"/>
                      <a:pt x="381" y="59"/>
                    </a:cubicBezTo>
                    <a:cubicBezTo>
                      <a:pt x="382" y="58"/>
                      <a:pt x="382" y="58"/>
                      <a:pt x="381" y="57"/>
                    </a:cubicBezTo>
                    <a:cubicBezTo>
                      <a:pt x="382" y="58"/>
                      <a:pt x="383" y="56"/>
                      <a:pt x="384" y="55"/>
                    </a:cubicBezTo>
                    <a:cubicBezTo>
                      <a:pt x="385" y="54"/>
                      <a:pt x="385" y="53"/>
                      <a:pt x="385" y="51"/>
                    </a:cubicBezTo>
                    <a:cubicBezTo>
                      <a:pt x="384" y="52"/>
                      <a:pt x="384" y="52"/>
                      <a:pt x="383" y="53"/>
                    </a:cubicBezTo>
                    <a:cubicBezTo>
                      <a:pt x="383" y="53"/>
                      <a:pt x="383" y="53"/>
                      <a:pt x="383" y="53"/>
                    </a:cubicBezTo>
                    <a:cubicBezTo>
                      <a:pt x="382" y="54"/>
                      <a:pt x="382" y="54"/>
                      <a:pt x="382" y="54"/>
                    </a:cubicBezTo>
                    <a:cubicBezTo>
                      <a:pt x="382" y="55"/>
                      <a:pt x="382" y="55"/>
                      <a:pt x="382" y="55"/>
                    </a:cubicBezTo>
                    <a:cubicBezTo>
                      <a:pt x="381" y="56"/>
                      <a:pt x="381" y="56"/>
                      <a:pt x="381" y="57"/>
                    </a:cubicBezTo>
                    <a:cubicBezTo>
                      <a:pt x="381" y="57"/>
                      <a:pt x="381" y="57"/>
                      <a:pt x="381" y="57"/>
                    </a:cubicBezTo>
                    <a:cubicBezTo>
                      <a:pt x="380" y="56"/>
                      <a:pt x="379" y="57"/>
                      <a:pt x="378" y="58"/>
                    </a:cubicBezTo>
                    <a:cubicBezTo>
                      <a:pt x="378" y="59"/>
                      <a:pt x="377" y="60"/>
                      <a:pt x="376" y="60"/>
                    </a:cubicBezTo>
                    <a:cubicBezTo>
                      <a:pt x="376" y="61"/>
                      <a:pt x="376" y="61"/>
                      <a:pt x="375" y="61"/>
                    </a:cubicBezTo>
                    <a:cubicBezTo>
                      <a:pt x="375" y="60"/>
                      <a:pt x="375" y="60"/>
                      <a:pt x="375" y="60"/>
                    </a:cubicBezTo>
                    <a:cubicBezTo>
                      <a:pt x="375" y="59"/>
                      <a:pt x="375" y="58"/>
                      <a:pt x="376" y="58"/>
                    </a:cubicBezTo>
                    <a:cubicBezTo>
                      <a:pt x="376" y="57"/>
                      <a:pt x="376" y="56"/>
                      <a:pt x="377" y="56"/>
                    </a:cubicBezTo>
                    <a:cubicBezTo>
                      <a:pt x="377" y="56"/>
                      <a:pt x="377" y="56"/>
                      <a:pt x="378" y="56"/>
                    </a:cubicBezTo>
                    <a:cubicBezTo>
                      <a:pt x="378" y="55"/>
                      <a:pt x="379" y="54"/>
                      <a:pt x="379" y="54"/>
                    </a:cubicBezTo>
                    <a:cubicBezTo>
                      <a:pt x="380" y="52"/>
                      <a:pt x="381" y="51"/>
                      <a:pt x="382" y="50"/>
                    </a:cubicBezTo>
                    <a:cubicBezTo>
                      <a:pt x="382" y="49"/>
                      <a:pt x="382" y="49"/>
                      <a:pt x="383" y="48"/>
                    </a:cubicBezTo>
                    <a:cubicBezTo>
                      <a:pt x="382" y="48"/>
                      <a:pt x="382" y="48"/>
                      <a:pt x="382" y="48"/>
                    </a:cubicBezTo>
                    <a:cubicBezTo>
                      <a:pt x="382" y="48"/>
                      <a:pt x="383" y="48"/>
                      <a:pt x="383" y="47"/>
                    </a:cubicBezTo>
                    <a:cubicBezTo>
                      <a:pt x="384" y="46"/>
                      <a:pt x="385" y="45"/>
                      <a:pt x="385" y="43"/>
                    </a:cubicBezTo>
                    <a:cubicBezTo>
                      <a:pt x="385" y="44"/>
                      <a:pt x="386" y="45"/>
                      <a:pt x="385" y="46"/>
                    </a:cubicBezTo>
                    <a:cubicBezTo>
                      <a:pt x="386" y="46"/>
                      <a:pt x="387" y="46"/>
                      <a:pt x="387" y="45"/>
                    </a:cubicBezTo>
                    <a:cubicBezTo>
                      <a:pt x="387" y="45"/>
                      <a:pt x="387" y="44"/>
                      <a:pt x="387" y="44"/>
                    </a:cubicBezTo>
                    <a:cubicBezTo>
                      <a:pt x="387" y="44"/>
                      <a:pt x="390" y="44"/>
                      <a:pt x="390" y="44"/>
                    </a:cubicBezTo>
                    <a:cubicBezTo>
                      <a:pt x="391" y="45"/>
                      <a:pt x="387" y="46"/>
                      <a:pt x="389" y="47"/>
                    </a:cubicBezTo>
                    <a:cubicBezTo>
                      <a:pt x="390" y="46"/>
                      <a:pt x="390" y="46"/>
                      <a:pt x="391" y="45"/>
                    </a:cubicBezTo>
                    <a:cubicBezTo>
                      <a:pt x="391" y="45"/>
                      <a:pt x="392" y="45"/>
                      <a:pt x="392" y="45"/>
                    </a:cubicBezTo>
                    <a:cubicBezTo>
                      <a:pt x="392" y="45"/>
                      <a:pt x="392" y="44"/>
                      <a:pt x="392" y="44"/>
                    </a:cubicBezTo>
                    <a:cubicBezTo>
                      <a:pt x="393" y="43"/>
                      <a:pt x="395" y="43"/>
                      <a:pt x="396" y="43"/>
                    </a:cubicBezTo>
                    <a:cubicBezTo>
                      <a:pt x="396" y="42"/>
                      <a:pt x="399" y="43"/>
                      <a:pt x="399" y="42"/>
                    </a:cubicBezTo>
                    <a:cubicBezTo>
                      <a:pt x="400" y="42"/>
                      <a:pt x="400" y="41"/>
                      <a:pt x="400" y="41"/>
                    </a:cubicBezTo>
                    <a:cubicBezTo>
                      <a:pt x="401" y="41"/>
                      <a:pt x="402" y="41"/>
                      <a:pt x="403" y="41"/>
                    </a:cubicBezTo>
                    <a:cubicBezTo>
                      <a:pt x="403" y="41"/>
                      <a:pt x="404" y="42"/>
                      <a:pt x="405" y="42"/>
                    </a:cubicBezTo>
                    <a:cubicBezTo>
                      <a:pt x="406" y="42"/>
                      <a:pt x="407" y="44"/>
                      <a:pt x="408" y="44"/>
                    </a:cubicBezTo>
                    <a:cubicBezTo>
                      <a:pt x="409" y="44"/>
                      <a:pt x="408" y="42"/>
                      <a:pt x="409" y="42"/>
                    </a:cubicBezTo>
                    <a:cubicBezTo>
                      <a:pt x="410" y="41"/>
                      <a:pt x="412" y="42"/>
                      <a:pt x="412" y="42"/>
                    </a:cubicBezTo>
                    <a:cubicBezTo>
                      <a:pt x="413" y="42"/>
                      <a:pt x="414" y="43"/>
                      <a:pt x="415" y="43"/>
                    </a:cubicBezTo>
                    <a:cubicBezTo>
                      <a:pt x="415" y="43"/>
                      <a:pt x="417" y="43"/>
                      <a:pt x="417" y="43"/>
                    </a:cubicBezTo>
                    <a:cubicBezTo>
                      <a:pt x="417" y="42"/>
                      <a:pt x="416" y="41"/>
                      <a:pt x="415" y="41"/>
                    </a:cubicBezTo>
                    <a:cubicBezTo>
                      <a:pt x="415" y="41"/>
                      <a:pt x="416" y="41"/>
                      <a:pt x="416" y="41"/>
                    </a:cubicBezTo>
                    <a:cubicBezTo>
                      <a:pt x="415" y="40"/>
                      <a:pt x="414" y="40"/>
                      <a:pt x="414" y="39"/>
                    </a:cubicBezTo>
                    <a:cubicBezTo>
                      <a:pt x="414" y="39"/>
                      <a:pt x="414" y="37"/>
                      <a:pt x="413" y="37"/>
                    </a:cubicBezTo>
                    <a:cubicBezTo>
                      <a:pt x="413" y="36"/>
                      <a:pt x="413" y="36"/>
                      <a:pt x="412" y="36"/>
                    </a:cubicBezTo>
                    <a:cubicBezTo>
                      <a:pt x="412" y="36"/>
                      <a:pt x="412" y="36"/>
                      <a:pt x="412" y="36"/>
                    </a:cubicBezTo>
                    <a:cubicBezTo>
                      <a:pt x="411" y="36"/>
                      <a:pt x="411" y="36"/>
                      <a:pt x="411" y="36"/>
                    </a:cubicBezTo>
                    <a:cubicBezTo>
                      <a:pt x="411" y="36"/>
                      <a:pt x="411" y="36"/>
                      <a:pt x="411" y="36"/>
                    </a:cubicBezTo>
                    <a:cubicBezTo>
                      <a:pt x="411" y="36"/>
                      <a:pt x="411" y="36"/>
                      <a:pt x="411" y="36"/>
                    </a:cubicBezTo>
                    <a:cubicBezTo>
                      <a:pt x="410" y="36"/>
                      <a:pt x="410" y="36"/>
                      <a:pt x="410" y="35"/>
                    </a:cubicBezTo>
                    <a:cubicBezTo>
                      <a:pt x="409" y="35"/>
                      <a:pt x="407" y="35"/>
                      <a:pt x="406" y="35"/>
                    </a:cubicBezTo>
                    <a:cubicBezTo>
                      <a:pt x="405" y="35"/>
                      <a:pt x="406" y="33"/>
                      <a:pt x="406" y="32"/>
                    </a:cubicBezTo>
                    <a:cubicBezTo>
                      <a:pt x="405" y="32"/>
                      <a:pt x="403" y="33"/>
                      <a:pt x="401" y="33"/>
                    </a:cubicBezTo>
                    <a:cubicBezTo>
                      <a:pt x="399" y="33"/>
                      <a:pt x="396" y="34"/>
                      <a:pt x="394" y="34"/>
                    </a:cubicBezTo>
                    <a:cubicBezTo>
                      <a:pt x="393" y="34"/>
                      <a:pt x="392" y="35"/>
                      <a:pt x="391" y="35"/>
                    </a:cubicBezTo>
                    <a:cubicBezTo>
                      <a:pt x="391" y="36"/>
                      <a:pt x="390" y="36"/>
                      <a:pt x="389" y="36"/>
                    </a:cubicBezTo>
                    <a:cubicBezTo>
                      <a:pt x="388" y="37"/>
                      <a:pt x="388" y="36"/>
                      <a:pt x="386" y="36"/>
                    </a:cubicBezTo>
                    <a:cubicBezTo>
                      <a:pt x="385" y="35"/>
                      <a:pt x="383" y="35"/>
                      <a:pt x="381" y="35"/>
                    </a:cubicBezTo>
                    <a:cubicBezTo>
                      <a:pt x="381" y="35"/>
                      <a:pt x="379" y="33"/>
                      <a:pt x="379" y="32"/>
                    </a:cubicBezTo>
                    <a:cubicBezTo>
                      <a:pt x="378" y="31"/>
                      <a:pt x="375" y="31"/>
                      <a:pt x="373" y="30"/>
                    </a:cubicBezTo>
                    <a:cubicBezTo>
                      <a:pt x="373" y="30"/>
                      <a:pt x="374" y="30"/>
                      <a:pt x="374" y="30"/>
                    </a:cubicBezTo>
                    <a:cubicBezTo>
                      <a:pt x="372" y="31"/>
                      <a:pt x="371" y="31"/>
                      <a:pt x="370" y="33"/>
                    </a:cubicBezTo>
                    <a:cubicBezTo>
                      <a:pt x="370" y="32"/>
                      <a:pt x="371" y="31"/>
                      <a:pt x="371" y="30"/>
                    </a:cubicBezTo>
                    <a:cubicBezTo>
                      <a:pt x="370" y="30"/>
                      <a:pt x="370" y="29"/>
                      <a:pt x="370" y="28"/>
                    </a:cubicBezTo>
                    <a:cubicBezTo>
                      <a:pt x="370" y="28"/>
                      <a:pt x="369" y="28"/>
                      <a:pt x="369" y="27"/>
                    </a:cubicBezTo>
                    <a:cubicBezTo>
                      <a:pt x="368" y="27"/>
                      <a:pt x="369" y="27"/>
                      <a:pt x="369" y="27"/>
                    </a:cubicBezTo>
                    <a:cubicBezTo>
                      <a:pt x="368" y="26"/>
                      <a:pt x="366" y="28"/>
                      <a:pt x="366" y="28"/>
                    </a:cubicBezTo>
                    <a:cubicBezTo>
                      <a:pt x="363" y="29"/>
                      <a:pt x="359" y="31"/>
                      <a:pt x="356" y="32"/>
                    </a:cubicBezTo>
                    <a:cubicBezTo>
                      <a:pt x="356" y="32"/>
                      <a:pt x="356" y="32"/>
                      <a:pt x="356" y="32"/>
                    </a:cubicBezTo>
                    <a:cubicBezTo>
                      <a:pt x="356" y="32"/>
                      <a:pt x="356" y="32"/>
                      <a:pt x="356" y="32"/>
                    </a:cubicBezTo>
                    <a:cubicBezTo>
                      <a:pt x="354" y="33"/>
                      <a:pt x="352" y="34"/>
                      <a:pt x="351" y="35"/>
                    </a:cubicBezTo>
                    <a:cubicBezTo>
                      <a:pt x="350" y="35"/>
                      <a:pt x="347" y="34"/>
                      <a:pt x="346" y="33"/>
                    </a:cubicBezTo>
                    <a:cubicBezTo>
                      <a:pt x="345" y="33"/>
                      <a:pt x="347" y="32"/>
                      <a:pt x="347" y="31"/>
                    </a:cubicBezTo>
                    <a:cubicBezTo>
                      <a:pt x="347" y="29"/>
                      <a:pt x="342" y="32"/>
                      <a:pt x="341" y="32"/>
                    </a:cubicBezTo>
                    <a:cubicBezTo>
                      <a:pt x="340" y="32"/>
                      <a:pt x="338" y="33"/>
                      <a:pt x="337" y="33"/>
                    </a:cubicBezTo>
                    <a:cubicBezTo>
                      <a:pt x="336" y="33"/>
                      <a:pt x="335" y="33"/>
                      <a:pt x="333" y="33"/>
                    </a:cubicBezTo>
                    <a:cubicBezTo>
                      <a:pt x="337" y="30"/>
                      <a:pt x="340" y="27"/>
                      <a:pt x="344" y="24"/>
                    </a:cubicBezTo>
                    <a:cubicBezTo>
                      <a:pt x="345" y="23"/>
                      <a:pt x="346" y="22"/>
                      <a:pt x="348" y="21"/>
                    </a:cubicBezTo>
                    <a:cubicBezTo>
                      <a:pt x="351" y="20"/>
                      <a:pt x="353" y="19"/>
                      <a:pt x="356" y="18"/>
                    </a:cubicBezTo>
                    <a:cubicBezTo>
                      <a:pt x="355" y="18"/>
                      <a:pt x="355" y="18"/>
                      <a:pt x="355" y="18"/>
                    </a:cubicBezTo>
                    <a:cubicBezTo>
                      <a:pt x="354" y="18"/>
                      <a:pt x="349" y="17"/>
                      <a:pt x="348" y="17"/>
                    </a:cubicBezTo>
                    <a:cubicBezTo>
                      <a:pt x="346" y="17"/>
                      <a:pt x="346" y="16"/>
                      <a:pt x="346" y="15"/>
                    </a:cubicBezTo>
                    <a:cubicBezTo>
                      <a:pt x="345" y="15"/>
                      <a:pt x="345" y="16"/>
                      <a:pt x="344" y="16"/>
                    </a:cubicBezTo>
                    <a:cubicBezTo>
                      <a:pt x="340" y="19"/>
                      <a:pt x="336" y="16"/>
                      <a:pt x="335" y="14"/>
                    </a:cubicBezTo>
                    <a:cubicBezTo>
                      <a:pt x="335" y="14"/>
                      <a:pt x="335" y="14"/>
                      <a:pt x="335" y="14"/>
                    </a:cubicBezTo>
                    <a:cubicBezTo>
                      <a:pt x="335" y="14"/>
                      <a:pt x="335" y="14"/>
                      <a:pt x="334" y="14"/>
                    </a:cubicBezTo>
                    <a:cubicBezTo>
                      <a:pt x="334" y="14"/>
                      <a:pt x="334" y="13"/>
                      <a:pt x="333" y="13"/>
                    </a:cubicBezTo>
                    <a:cubicBezTo>
                      <a:pt x="333" y="14"/>
                      <a:pt x="333" y="14"/>
                      <a:pt x="333" y="14"/>
                    </a:cubicBezTo>
                    <a:cubicBezTo>
                      <a:pt x="333" y="14"/>
                      <a:pt x="333" y="14"/>
                      <a:pt x="333" y="14"/>
                    </a:cubicBezTo>
                    <a:cubicBezTo>
                      <a:pt x="332" y="15"/>
                      <a:pt x="331" y="15"/>
                      <a:pt x="331" y="15"/>
                    </a:cubicBezTo>
                    <a:cubicBezTo>
                      <a:pt x="330" y="15"/>
                      <a:pt x="329" y="13"/>
                      <a:pt x="329" y="12"/>
                    </a:cubicBezTo>
                    <a:cubicBezTo>
                      <a:pt x="329" y="12"/>
                      <a:pt x="327" y="11"/>
                      <a:pt x="325" y="10"/>
                    </a:cubicBezTo>
                    <a:cubicBezTo>
                      <a:pt x="325" y="10"/>
                      <a:pt x="325" y="10"/>
                      <a:pt x="325" y="10"/>
                    </a:cubicBezTo>
                    <a:cubicBezTo>
                      <a:pt x="324" y="10"/>
                      <a:pt x="324" y="10"/>
                      <a:pt x="324" y="10"/>
                    </a:cubicBezTo>
                    <a:cubicBezTo>
                      <a:pt x="323" y="10"/>
                      <a:pt x="322" y="10"/>
                      <a:pt x="321" y="10"/>
                    </a:cubicBezTo>
                    <a:cubicBezTo>
                      <a:pt x="318" y="13"/>
                      <a:pt x="312" y="10"/>
                      <a:pt x="312" y="9"/>
                    </a:cubicBezTo>
                    <a:cubicBezTo>
                      <a:pt x="311" y="9"/>
                      <a:pt x="311" y="9"/>
                      <a:pt x="310" y="9"/>
                    </a:cubicBezTo>
                    <a:cubicBezTo>
                      <a:pt x="309" y="9"/>
                      <a:pt x="308" y="9"/>
                      <a:pt x="307" y="8"/>
                    </a:cubicBezTo>
                    <a:cubicBezTo>
                      <a:pt x="307" y="7"/>
                      <a:pt x="305" y="3"/>
                      <a:pt x="305" y="1"/>
                    </a:cubicBezTo>
                    <a:cubicBezTo>
                      <a:pt x="305" y="1"/>
                      <a:pt x="305" y="1"/>
                      <a:pt x="304" y="0"/>
                    </a:cubicBezTo>
                    <a:cubicBezTo>
                      <a:pt x="304" y="2"/>
                      <a:pt x="304" y="3"/>
                      <a:pt x="304" y="4"/>
                    </a:cubicBezTo>
                    <a:cubicBezTo>
                      <a:pt x="303" y="4"/>
                      <a:pt x="303" y="4"/>
                      <a:pt x="303" y="4"/>
                    </a:cubicBezTo>
                    <a:cubicBezTo>
                      <a:pt x="303" y="5"/>
                      <a:pt x="302" y="5"/>
                      <a:pt x="296" y="5"/>
                    </a:cubicBezTo>
                    <a:cubicBezTo>
                      <a:pt x="296" y="5"/>
                      <a:pt x="296" y="5"/>
                      <a:pt x="296" y="5"/>
                    </a:cubicBezTo>
                    <a:cubicBezTo>
                      <a:pt x="278" y="5"/>
                      <a:pt x="278" y="5"/>
                      <a:pt x="278" y="5"/>
                    </a:cubicBezTo>
                    <a:cubicBezTo>
                      <a:pt x="248" y="5"/>
                      <a:pt x="211" y="5"/>
                      <a:pt x="211" y="5"/>
                    </a:cubicBezTo>
                    <a:cubicBezTo>
                      <a:pt x="210" y="5"/>
                      <a:pt x="207" y="5"/>
                      <a:pt x="207" y="5"/>
                    </a:cubicBezTo>
                    <a:cubicBezTo>
                      <a:pt x="207" y="5"/>
                      <a:pt x="206" y="5"/>
                      <a:pt x="203" y="5"/>
                    </a:cubicBezTo>
                    <a:cubicBezTo>
                      <a:pt x="203" y="5"/>
                      <a:pt x="203" y="5"/>
                      <a:pt x="203" y="5"/>
                    </a:cubicBezTo>
                    <a:cubicBezTo>
                      <a:pt x="202" y="5"/>
                      <a:pt x="200" y="5"/>
                      <a:pt x="197" y="5"/>
                    </a:cubicBezTo>
                    <a:cubicBezTo>
                      <a:pt x="183" y="5"/>
                      <a:pt x="183" y="5"/>
                      <a:pt x="183" y="5"/>
                    </a:cubicBezTo>
                    <a:cubicBezTo>
                      <a:pt x="174" y="5"/>
                      <a:pt x="164" y="5"/>
                      <a:pt x="162" y="5"/>
                    </a:cubicBezTo>
                    <a:cubicBezTo>
                      <a:pt x="48" y="5"/>
                      <a:pt x="48" y="5"/>
                      <a:pt x="48" y="5"/>
                    </a:cubicBezTo>
                    <a:cubicBezTo>
                      <a:pt x="21" y="5"/>
                      <a:pt x="21" y="5"/>
                      <a:pt x="21" y="5"/>
                    </a:cubicBezTo>
                    <a:cubicBezTo>
                      <a:pt x="20" y="5"/>
                      <a:pt x="20" y="5"/>
                      <a:pt x="20" y="5"/>
                    </a:cubicBezTo>
                    <a:cubicBezTo>
                      <a:pt x="20" y="6"/>
                      <a:pt x="21" y="6"/>
                      <a:pt x="21" y="6"/>
                    </a:cubicBezTo>
                    <a:cubicBezTo>
                      <a:pt x="22" y="7"/>
                      <a:pt x="21" y="7"/>
                      <a:pt x="23" y="7"/>
                    </a:cubicBezTo>
                    <a:cubicBezTo>
                      <a:pt x="22" y="8"/>
                      <a:pt x="23" y="8"/>
                      <a:pt x="23" y="9"/>
                    </a:cubicBezTo>
                    <a:cubicBezTo>
                      <a:pt x="23" y="9"/>
                      <a:pt x="23" y="10"/>
                      <a:pt x="23" y="10"/>
                    </a:cubicBezTo>
                    <a:cubicBezTo>
                      <a:pt x="23" y="10"/>
                      <a:pt x="23" y="10"/>
                      <a:pt x="23" y="11"/>
                    </a:cubicBezTo>
                    <a:cubicBezTo>
                      <a:pt x="23" y="11"/>
                      <a:pt x="22" y="11"/>
                      <a:pt x="21" y="11"/>
                    </a:cubicBezTo>
                    <a:cubicBezTo>
                      <a:pt x="22" y="11"/>
                      <a:pt x="24" y="12"/>
                      <a:pt x="24" y="13"/>
                    </a:cubicBezTo>
                    <a:cubicBezTo>
                      <a:pt x="24" y="14"/>
                      <a:pt x="24" y="15"/>
                      <a:pt x="25" y="16"/>
                    </a:cubicBezTo>
                    <a:cubicBezTo>
                      <a:pt x="25" y="16"/>
                      <a:pt x="26" y="16"/>
                      <a:pt x="26" y="17"/>
                    </a:cubicBezTo>
                    <a:cubicBezTo>
                      <a:pt x="26" y="17"/>
                      <a:pt x="25" y="17"/>
                      <a:pt x="25" y="17"/>
                    </a:cubicBezTo>
                    <a:cubicBezTo>
                      <a:pt x="25" y="18"/>
                      <a:pt x="24" y="18"/>
                      <a:pt x="24" y="18"/>
                    </a:cubicBezTo>
                    <a:cubicBezTo>
                      <a:pt x="24" y="19"/>
                      <a:pt x="24" y="19"/>
                      <a:pt x="24" y="19"/>
                    </a:cubicBezTo>
                    <a:cubicBezTo>
                      <a:pt x="24" y="19"/>
                      <a:pt x="24" y="20"/>
                      <a:pt x="24" y="20"/>
                    </a:cubicBezTo>
                    <a:cubicBezTo>
                      <a:pt x="24" y="20"/>
                      <a:pt x="24" y="20"/>
                      <a:pt x="24" y="21"/>
                    </a:cubicBezTo>
                    <a:cubicBezTo>
                      <a:pt x="24" y="21"/>
                      <a:pt x="24" y="21"/>
                      <a:pt x="24" y="21"/>
                    </a:cubicBezTo>
                    <a:cubicBezTo>
                      <a:pt x="24" y="21"/>
                      <a:pt x="24" y="22"/>
                      <a:pt x="24" y="22"/>
                    </a:cubicBezTo>
                    <a:cubicBezTo>
                      <a:pt x="24" y="22"/>
                      <a:pt x="24" y="22"/>
                      <a:pt x="24" y="23"/>
                    </a:cubicBezTo>
                    <a:cubicBezTo>
                      <a:pt x="24" y="23"/>
                      <a:pt x="24" y="23"/>
                      <a:pt x="24" y="23"/>
                    </a:cubicBezTo>
                    <a:cubicBezTo>
                      <a:pt x="24" y="23"/>
                      <a:pt x="24" y="24"/>
                      <a:pt x="24" y="24"/>
                    </a:cubicBezTo>
                    <a:cubicBezTo>
                      <a:pt x="24" y="25"/>
                      <a:pt x="24" y="24"/>
                      <a:pt x="24" y="25"/>
                    </a:cubicBezTo>
                    <a:cubicBezTo>
                      <a:pt x="24" y="26"/>
                      <a:pt x="23" y="26"/>
                      <a:pt x="22" y="27"/>
                    </a:cubicBezTo>
                    <a:cubicBezTo>
                      <a:pt x="21" y="28"/>
                      <a:pt x="20" y="28"/>
                      <a:pt x="19" y="28"/>
                    </a:cubicBezTo>
                    <a:cubicBezTo>
                      <a:pt x="19" y="29"/>
                      <a:pt x="19" y="29"/>
                      <a:pt x="19" y="29"/>
                    </a:cubicBezTo>
                    <a:cubicBezTo>
                      <a:pt x="18" y="29"/>
                      <a:pt x="18" y="28"/>
                      <a:pt x="18" y="27"/>
                    </a:cubicBezTo>
                    <a:cubicBezTo>
                      <a:pt x="18" y="27"/>
                      <a:pt x="18" y="28"/>
                      <a:pt x="17" y="28"/>
                    </a:cubicBezTo>
                    <a:cubicBezTo>
                      <a:pt x="17" y="28"/>
                      <a:pt x="18" y="27"/>
                      <a:pt x="18" y="27"/>
                    </a:cubicBezTo>
                    <a:cubicBezTo>
                      <a:pt x="18" y="27"/>
                      <a:pt x="18" y="26"/>
                      <a:pt x="18" y="26"/>
                    </a:cubicBezTo>
                    <a:cubicBezTo>
                      <a:pt x="19" y="25"/>
                      <a:pt x="20" y="25"/>
                      <a:pt x="20" y="24"/>
                    </a:cubicBezTo>
                    <a:cubicBezTo>
                      <a:pt x="20" y="25"/>
                      <a:pt x="19" y="26"/>
                      <a:pt x="20" y="27"/>
                    </a:cubicBezTo>
                    <a:cubicBezTo>
                      <a:pt x="20" y="26"/>
                      <a:pt x="20" y="25"/>
                      <a:pt x="21" y="24"/>
                    </a:cubicBezTo>
                    <a:cubicBezTo>
                      <a:pt x="21" y="24"/>
                      <a:pt x="21" y="24"/>
                      <a:pt x="21" y="24"/>
                    </a:cubicBezTo>
                    <a:cubicBezTo>
                      <a:pt x="21" y="24"/>
                      <a:pt x="21" y="24"/>
                      <a:pt x="21" y="24"/>
                    </a:cubicBezTo>
                    <a:cubicBezTo>
                      <a:pt x="21" y="25"/>
                      <a:pt x="21" y="25"/>
                      <a:pt x="21" y="26"/>
                    </a:cubicBezTo>
                    <a:cubicBezTo>
                      <a:pt x="24" y="25"/>
                      <a:pt x="22" y="21"/>
                      <a:pt x="21" y="20"/>
                    </a:cubicBezTo>
                    <a:cubicBezTo>
                      <a:pt x="21" y="20"/>
                      <a:pt x="23" y="20"/>
                      <a:pt x="23" y="20"/>
                    </a:cubicBezTo>
                    <a:cubicBezTo>
                      <a:pt x="23" y="19"/>
                      <a:pt x="23" y="18"/>
                      <a:pt x="23" y="18"/>
                    </a:cubicBezTo>
                    <a:cubicBezTo>
                      <a:pt x="22" y="19"/>
                      <a:pt x="21" y="19"/>
                      <a:pt x="20" y="20"/>
                    </a:cubicBezTo>
                    <a:cubicBezTo>
                      <a:pt x="20" y="21"/>
                      <a:pt x="19" y="21"/>
                      <a:pt x="18" y="22"/>
                    </a:cubicBezTo>
                    <a:cubicBezTo>
                      <a:pt x="18" y="22"/>
                      <a:pt x="17" y="23"/>
                      <a:pt x="17" y="24"/>
                    </a:cubicBezTo>
                    <a:cubicBezTo>
                      <a:pt x="17" y="24"/>
                      <a:pt x="16" y="24"/>
                      <a:pt x="17" y="24"/>
                    </a:cubicBezTo>
                    <a:cubicBezTo>
                      <a:pt x="18" y="25"/>
                      <a:pt x="19" y="24"/>
                      <a:pt x="19" y="24"/>
                    </a:cubicBezTo>
                    <a:cubicBezTo>
                      <a:pt x="19" y="24"/>
                      <a:pt x="17" y="26"/>
                      <a:pt x="16" y="25"/>
                    </a:cubicBezTo>
                    <a:cubicBezTo>
                      <a:pt x="16" y="24"/>
                      <a:pt x="17" y="23"/>
                      <a:pt x="18" y="22"/>
                    </a:cubicBezTo>
                    <a:cubicBezTo>
                      <a:pt x="18" y="21"/>
                      <a:pt x="19" y="21"/>
                      <a:pt x="19" y="20"/>
                    </a:cubicBezTo>
                    <a:cubicBezTo>
                      <a:pt x="19" y="20"/>
                      <a:pt x="19" y="19"/>
                      <a:pt x="20" y="19"/>
                    </a:cubicBezTo>
                    <a:cubicBezTo>
                      <a:pt x="20" y="19"/>
                      <a:pt x="20" y="20"/>
                      <a:pt x="19" y="20"/>
                    </a:cubicBezTo>
                    <a:cubicBezTo>
                      <a:pt x="20" y="20"/>
                      <a:pt x="21" y="19"/>
                      <a:pt x="21" y="19"/>
                    </a:cubicBezTo>
                    <a:cubicBezTo>
                      <a:pt x="21" y="18"/>
                      <a:pt x="22" y="18"/>
                      <a:pt x="21" y="17"/>
                    </a:cubicBezTo>
                    <a:cubicBezTo>
                      <a:pt x="20" y="17"/>
                      <a:pt x="20" y="15"/>
                      <a:pt x="20" y="15"/>
                    </a:cubicBezTo>
                    <a:cubicBezTo>
                      <a:pt x="20" y="15"/>
                      <a:pt x="20" y="16"/>
                      <a:pt x="19" y="16"/>
                    </a:cubicBezTo>
                    <a:cubicBezTo>
                      <a:pt x="19" y="17"/>
                      <a:pt x="17" y="15"/>
                      <a:pt x="16" y="14"/>
                    </a:cubicBezTo>
                    <a:cubicBezTo>
                      <a:pt x="14" y="14"/>
                      <a:pt x="11" y="15"/>
                      <a:pt x="9" y="14"/>
                    </a:cubicBezTo>
                    <a:cubicBezTo>
                      <a:pt x="6" y="14"/>
                      <a:pt x="3" y="13"/>
                      <a:pt x="0" y="11"/>
                    </a:cubicBezTo>
                    <a:cubicBezTo>
                      <a:pt x="0" y="13"/>
                      <a:pt x="0" y="15"/>
                      <a:pt x="1" y="17"/>
                    </a:cubicBezTo>
                    <a:cubicBezTo>
                      <a:pt x="1" y="19"/>
                      <a:pt x="3" y="21"/>
                      <a:pt x="4" y="23"/>
                    </a:cubicBezTo>
                    <a:cubicBezTo>
                      <a:pt x="4" y="24"/>
                      <a:pt x="4" y="24"/>
                      <a:pt x="4" y="25"/>
                    </a:cubicBezTo>
                    <a:cubicBezTo>
                      <a:pt x="5" y="26"/>
                      <a:pt x="5" y="27"/>
                      <a:pt x="6" y="28"/>
                    </a:cubicBezTo>
                    <a:cubicBezTo>
                      <a:pt x="6" y="28"/>
                      <a:pt x="6" y="29"/>
                      <a:pt x="6" y="30"/>
                    </a:cubicBezTo>
                    <a:cubicBezTo>
                      <a:pt x="6" y="27"/>
                      <a:pt x="7" y="30"/>
                      <a:pt x="9" y="30"/>
                    </a:cubicBezTo>
                    <a:cubicBezTo>
                      <a:pt x="9" y="30"/>
                      <a:pt x="7" y="30"/>
                      <a:pt x="7" y="31"/>
                    </a:cubicBezTo>
                    <a:cubicBezTo>
                      <a:pt x="7" y="31"/>
                      <a:pt x="6" y="31"/>
                      <a:pt x="6" y="31"/>
                    </a:cubicBezTo>
                    <a:cubicBezTo>
                      <a:pt x="6" y="31"/>
                      <a:pt x="6" y="32"/>
                      <a:pt x="7" y="32"/>
                    </a:cubicBezTo>
                    <a:cubicBezTo>
                      <a:pt x="7" y="33"/>
                      <a:pt x="9" y="32"/>
                      <a:pt x="9" y="33"/>
                    </a:cubicBezTo>
                    <a:cubicBezTo>
                      <a:pt x="8" y="33"/>
                      <a:pt x="8" y="34"/>
                      <a:pt x="8" y="34"/>
                    </a:cubicBezTo>
                    <a:cubicBezTo>
                      <a:pt x="8" y="34"/>
                      <a:pt x="8" y="34"/>
                      <a:pt x="8" y="34"/>
                    </a:cubicBezTo>
                    <a:cubicBezTo>
                      <a:pt x="8" y="35"/>
                      <a:pt x="8" y="35"/>
                      <a:pt x="9" y="36"/>
                    </a:cubicBezTo>
                    <a:cubicBezTo>
                      <a:pt x="9" y="36"/>
                      <a:pt x="8" y="37"/>
                      <a:pt x="8" y="37"/>
                    </a:cubicBezTo>
                    <a:cubicBezTo>
                      <a:pt x="7" y="38"/>
                      <a:pt x="7" y="35"/>
                      <a:pt x="7" y="34"/>
                    </a:cubicBezTo>
                    <a:cubicBezTo>
                      <a:pt x="7" y="36"/>
                      <a:pt x="7" y="37"/>
                      <a:pt x="7" y="39"/>
                    </a:cubicBezTo>
                    <a:cubicBezTo>
                      <a:pt x="10" y="39"/>
                      <a:pt x="13" y="40"/>
                      <a:pt x="16" y="40"/>
                    </a:cubicBezTo>
                    <a:cubicBezTo>
                      <a:pt x="14" y="40"/>
                      <a:pt x="12" y="40"/>
                      <a:pt x="11" y="41"/>
                    </a:cubicBezTo>
                    <a:cubicBezTo>
                      <a:pt x="9" y="41"/>
                      <a:pt x="9" y="40"/>
                      <a:pt x="8" y="40"/>
                    </a:cubicBezTo>
                    <a:cubicBezTo>
                      <a:pt x="8" y="41"/>
                      <a:pt x="7" y="43"/>
                      <a:pt x="8" y="45"/>
                    </a:cubicBezTo>
                    <a:cubicBezTo>
                      <a:pt x="8" y="46"/>
                      <a:pt x="8" y="46"/>
                      <a:pt x="8" y="47"/>
                    </a:cubicBezTo>
                    <a:cubicBezTo>
                      <a:pt x="8" y="48"/>
                      <a:pt x="8" y="49"/>
                      <a:pt x="8" y="49"/>
                    </a:cubicBezTo>
                    <a:cubicBezTo>
                      <a:pt x="8" y="50"/>
                      <a:pt x="8" y="51"/>
                      <a:pt x="8" y="51"/>
                    </a:cubicBezTo>
                    <a:cubicBezTo>
                      <a:pt x="8" y="53"/>
                      <a:pt x="7" y="55"/>
                      <a:pt x="7" y="57"/>
                    </a:cubicBezTo>
                    <a:cubicBezTo>
                      <a:pt x="7" y="58"/>
                      <a:pt x="7" y="60"/>
                      <a:pt x="7" y="62"/>
                    </a:cubicBezTo>
                    <a:cubicBezTo>
                      <a:pt x="6" y="64"/>
                      <a:pt x="6" y="66"/>
                      <a:pt x="6" y="68"/>
                    </a:cubicBezTo>
                    <a:cubicBezTo>
                      <a:pt x="6" y="68"/>
                      <a:pt x="6" y="69"/>
                      <a:pt x="6" y="70"/>
                    </a:cubicBezTo>
                    <a:cubicBezTo>
                      <a:pt x="6" y="70"/>
                      <a:pt x="6" y="71"/>
                      <a:pt x="6" y="72"/>
                    </a:cubicBezTo>
                    <a:cubicBezTo>
                      <a:pt x="5" y="73"/>
                      <a:pt x="5" y="74"/>
                      <a:pt x="4" y="75"/>
                    </a:cubicBezTo>
                    <a:cubicBezTo>
                      <a:pt x="5" y="75"/>
                      <a:pt x="5" y="75"/>
                      <a:pt x="5" y="74"/>
                    </a:cubicBezTo>
                    <a:cubicBezTo>
                      <a:pt x="5" y="75"/>
                      <a:pt x="6" y="75"/>
                      <a:pt x="6" y="76"/>
                    </a:cubicBezTo>
                    <a:cubicBezTo>
                      <a:pt x="6" y="75"/>
                      <a:pt x="5" y="75"/>
                      <a:pt x="5" y="75"/>
                    </a:cubicBezTo>
                    <a:cubicBezTo>
                      <a:pt x="4" y="77"/>
                      <a:pt x="2" y="80"/>
                      <a:pt x="2" y="82"/>
                    </a:cubicBezTo>
                    <a:cubicBezTo>
                      <a:pt x="2" y="83"/>
                      <a:pt x="2" y="83"/>
                      <a:pt x="3" y="83"/>
                    </a:cubicBezTo>
                    <a:cubicBezTo>
                      <a:pt x="3" y="84"/>
                      <a:pt x="3" y="84"/>
                      <a:pt x="3" y="86"/>
                    </a:cubicBezTo>
                    <a:cubicBezTo>
                      <a:pt x="3" y="87"/>
                      <a:pt x="3" y="88"/>
                      <a:pt x="3" y="89"/>
                    </a:cubicBezTo>
                    <a:cubicBezTo>
                      <a:pt x="4" y="90"/>
                      <a:pt x="4" y="91"/>
                      <a:pt x="5" y="92"/>
                    </a:cubicBezTo>
                    <a:cubicBezTo>
                      <a:pt x="6" y="93"/>
                      <a:pt x="5" y="95"/>
                      <a:pt x="5" y="95"/>
                    </a:cubicBezTo>
                    <a:cubicBezTo>
                      <a:pt x="6" y="97"/>
                      <a:pt x="6" y="100"/>
                      <a:pt x="6" y="102"/>
                    </a:cubicBezTo>
                    <a:cubicBezTo>
                      <a:pt x="6" y="102"/>
                      <a:pt x="6" y="107"/>
                      <a:pt x="5" y="107"/>
                    </a:cubicBezTo>
                    <a:cubicBezTo>
                      <a:pt x="5" y="107"/>
                      <a:pt x="5" y="107"/>
                      <a:pt x="5" y="107"/>
                    </a:cubicBezTo>
                    <a:cubicBezTo>
                      <a:pt x="6" y="107"/>
                      <a:pt x="6" y="106"/>
                      <a:pt x="7" y="106"/>
                    </a:cubicBezTo>
                    <a:cubicBezTo>
                      <a:pt x="6" y="107"/>
                      <a:pt x="5" y="108"/>
                      <a:pt x="5" y="108"/>
                    </a:cubicBezTo>
                    <a:cubicBezTo>
                      <a:pt x="4" y="109"/>
                      <a:pt x="3" y="111"/>
                      <a:pt x="4" y="112"/>
                    </a:cubicBezTo>
                    <a:cubicBezTo>
                      <a:pt x="4" y="113"/>
                      <a:pt x="7" y="117"/>
                      <a:pt x="8" y="117"/>
                    </a:cubicBezTo>
                    <a:cubicBezTo>
                      <a:pt x="8" y="117"/>
                      <a:pt x="8" y="117"/>
                      <a:pt x="8" y="117"/>
                    </a:cubicBezTo>
                    <a:cubicBezTo>
                      <a:pt x="8" y="118"/>
                      <a:pt x="10" y="120"/>
                      <a:pt x="10" y="122"/>
                    </a:cubicBezTo>
                    <a:cubicBezTo>
                      <a:pt x="10" y="122"/>
                      <a:pt x="10" y="123"/>
                      <a:pt x="10" y="123"/>
                    </a:cubicBezTo>
                    <a:cubicBezTo>
                      <a:pt x="9" y="125"/>
                      <a:pt x="10" y="126"/>
                      <a:pt x="11" y="127"/>
                    </a:cubicBezTo>
                    <a:cubicBezTo>
                      <a:pt x="11" y="129"/>
                      <a:pt x="10" y="129"/>
                      <a:pt x="11" y="130"/>
                    </a:cubicBezTo>
                    <a:cubicBezTo>
                      <a:pt x="13" y="133"/>
                      <a:pt x="15" y="136"/>
                      <a:pt x="18" y="139"/>
                    </a:cubicBezTo>
                    <a:cubicBezTo>
                      <a:pt x="18" y="139"/>
                      <a:pt x="18" y="140"/>
                      <a:pt x="18" y="140"/>
                    </a:cubicBezTo>
                    <a:cubicBezTo>
                      <a:pt x="19" y="139"/>
                      <a:pt x="20" y="141"/>
                      <a:pt x="21" y="142"/>
                    </a:cubicBezTo>
                    <a:cubicBezTo>
                      <a:pt x="21" y="142"/>
                      <a:pt x="21" y="142"/>
                      <a:pt x="21" y="141"/>
                    </a:cubicBezTo>
                    <a:cubicBezTo>
                      <a:pt x="21" y="142"/>
                      <a:pt x="24" y="143"/>
                      <a:pt x="23" y="142"/>
                    </a:cubicBezTo>
                    <a:cubicBezTo>
                      <a:pt x="23" y="142"/>
                      <a:pt x="23" y="142"/>
                      <a:pt x="23" y="142"/>
                    </a:cubicBezTo>
                    <a:cubicBezTo>
                      <a:pt x="23" y="142"/>
                      <a:pt x="23" y="141"/>
                      <a:pt x="23" y="141"/>
                    </a:cubicBezTo>
                    <a:cubicBezTo>
                      <a:pt x="23" y="141"/>
                      <a:pt x="23" y="140"/>
                      <a:pt x="23" y="140"/>
                    </a:cubicBezTo>
                    <a:cubicBezTo>
                      <a:pt x="23" y="139"/>
                      <a:pt x="23" y="139"/>
                      <a:pt x="24" y="139"/>
                    </a:cubicBezTo>
                    <a:cubicBezTo>
                      <a:pt x="24" y="139"/>
                      <a:pt x="25" y="140"/>
                      <a:pt x="26" y="140"/>
                    </a:cubicBezTo>
                    <a:cubicBezTo>
                      <a:pt x="27" y="140"/>
                      <a:pt x="26" y="140"/>
                      <a:pt x="27" y="139"/>
                    </a:cubicBezTo>
                    <a:cubicBezTo>
                      <a:pt x="27" y="139"/>
                      <a:pt x="27" y="139"/>
                      <a:pt x="28" y="139"/>
                    </a:cubicBezTo>
                    <a:cubicBezTo>
                      <a:pt x="28" y="139"/>
                      <a:pt x="29" y="140"/>
                      <a:pt x="29" y="140"/>
                    </a:cubicBezTo>
                    <a:cubicBezTo>
                      <a:pt x="30" y="140"/>
                      <a:pt x="31" y="140"/>
                      <a:pt x="31" y="139"/>
                    </a:cubicBezTo>
                    <a:cubicBezTo>
                      <a:pt x="31" y="139"/>
                      <a:pt x="31" y="140"/>
                      <a:pt x="30" y="140"/>
                    </a:cubicBezTo>
                    <a:cubicBezTo>
                      <a:pt x="32" y="139"/>
                      <a:pt x="32" y="139"/>
                      <a:pt x="34" y="140"/>
                    </a:cubicBezTo>
                    <a:cubicBezTo>
                      <a:pt x="33" y="140"/>
                      <a:pt x="32" y="139"/>
                      <a:pt x="32" y="140"/>
                    </a:cubicBezTo>
                    <a:cubicBezTo>
                      <a:pt x="31" y="140"/>
                      <a:pt x="31" y="140"/>
                      <a:pt x="31" y="140"/>
                    </a:cubicBezTo>
                    <a:cubicBezTo>
                      <a:pt x="31" y="140"/>
                      <a:pt x="31" y="140"/>
                      <a:pt x="30" y="140"/>
                    </a:cubicBezTo>
                    <a:cubicBezTo>
                      <a:pt x="29" y="140"/>
                      <a:pt x="29" y="140"/>
                      <a:pt x="28" y="140"/>
                    </a:cubicBezTo>
                    <a:cubicBezTo>
                      <a:pt x="28" y="140"/>
                      <a:pt x="27" y="140"/>
                      <a:pt x="27" y="140"/>
                    </a:cubicBezTo>
                    <a:cubicBezTo>
                      <a:pt x="26" y="140"/>
                      <a:pt x="25" y="140"/>
                      <a:pt x="24" y="141"/>
                    </a:cubicBezTo>
                    <a:cubicBezTo>
                      <a:pt x="23" y="142"/>
                      <a:pt x="27" y="145"/>
                      <a:pt x="27" y="147"/>
                    </a:cubicBezTo>
                    <a:cubicBezTo>
                      <a:pt x="26" y="146"/>
                      <a:pt x="26" y="146"/>
                      <a:pt x="25" y="146"/>
                    </a:cubicBezTo>
                    <a:cubicBezTo>
                      <a:pt x="25" y="145"/>
                      <a:pt x="24" y="145"/>
                      <a:pt x="24" y="145"/>
                    </a:cubicBezTo>
                    <a:cubicBezTo>
                      <a:pt x="24" y="145"/>
                      <a:pt x="24" y="143"/>
                      <a:pt x="24" y="143"/>
                    </a:cubicBezTo>
                    <a:cubicBezTo>
                      <a:pt x="23" y="142"/>
                      <a:pt x="23" y="145"/>
                      <a:pt x="23" y="146"/>
                    </a:cubicBezTo>
                    <a:cubicBezTo>
                      <a:pt x="23" y="147"/>
                      <a:pt x="24" y="148"/>
                      <a:pt x="24" y="149"/>
                    </a:cubicBezTo>
                    <a:cubicBezTo>
                      <a:pt x="24" y="150"/>
                      <a:pt x="24" y="150"/>
                      <a:pt x="25" y="151"/>
                    </a:cubicBezTo>
                    <a:cubicBezTo>
                      <a:pt x="26" y="152"/>
                      <a:pt x="28" y="152"/>
                      <a:pt x="28" y="153"/>
                    </a:cubicBezTo>
                    <a:cubicBezTo>
                      <a:pt x="28" y="153"/>
                      <a:pt x="29" y="153"/>
                      <a:pt x="29" y="153"/>
                    </a:cubicBezTo>
                    <a:cubicBezTo>
                      <a:pt x="30" y="153"/>
                      <a:pt x="30" y="155"/>
                      <a:pt x="30" y="156"/>
                    </a:cubicBezTo>
                    <a:cubicBezTo>
                      <a:pt x="29" y="157"/>
                      <a:pt x="29" y="156"/>
                      <a:pt x="29" y="157"/>
                    </a:cubicBezTo>
                    <a:cubicBezTo>
                      <a:pt x="28" y="157"/>
                      <a:pt x="29" y="158"/>
                      <a:pt x="29" y="158"/>
                    </a:cubicBezTo>
                    <a:cubicBezTo>
                      <a:pt x="29" y="159"/>
                      <a:pt x="29" y="160"/>
                      <a:pt x="29" y="160"/>
                    </a:cubicBezTo>
                    <a:cubicBezTo>
                      <a:pt x="30" y="162"/>
                      <a:pt x="32" y="164"/>
                      <a:pt x="34" y="166"/>
                    </a:cubicBezTo>
                    <a:cubicBezTo>
                      <a:pt x="35" y="168"/>
                      <a:pt x="37" y="169"/>
                      <a:pt x="38" y="171"/>
                    </a:cubicBezTo>
                    <a:cubicBezTo>
                      <a:pt x="39" y="172"/>
                      <a:pt x="39" y="172"/>
                      <a:pt x="39" y="172"/>
                    </a:cubicBezTo>
                    <a:cubicBezTo>
                      <a:pt x="40" y="173"/>
                      <a:pt x="39" y="173"/>
                      <a:pt x="40" y="174"/>
                    </a:cubicBezTo>
                    <a:cubicBezTo>
                      <a:pt x="41" y="174"/>
                      <a:pt x="42" y="175"/>
                      <a:pt x="42" y="176"/>
                    </a:cubicBezTo>
                    <a:cubicBezTo>
                      <a:pt x="42" y="176"/>
                      <a:pt x="42" y="176"/>
                      <a:pt x="42" y="176"/>
                    </a:cubicBezTo>
                    <a:cubicBezTo>
                      <a:pt x="42" y="177"/>
                      <a:pt x="42" y="178"/>
                      <a:pt x="42" y="178"/>
                    </a:cubicBezTo>
                    <a:cubicBezTo>
                      <a:pt x="42" y="179"/>
                      <a:pt x="42" y="180"/>
                      <a:pt x="42" y="180"/>
                    </a:cubicBezTo>
                    <a:cubicBezTo>
                      <a:pt x="42" y="180"/>
                      <a:pt x="42" y="180"/>
                      <a:pt x="42" y="181"/>
                    </a:cubicBezTo>
                    <a:cubicBezTo>
                      <a:pt x="43" y="181"/>
                      <a:pt x="45" y="182"/>
                      <a:pt x="46" y="182"/>
                    </a:cubicBezTo>
                    <a:cubicBezTo>
                      <a:pt x="46" y="182"/>
                      <a:pt x="46" y="182"/>
                      <a:pt x="46" y="182"/>
                    </a:cubicBezTo>
                    <a:cubicBezTo>
                      <a:pt x="46" y="182"/>
                      <a:pt x="47" y="183"/>
                      <a:pt x="47" y="183"/>
                    </a:cubicBezTo>
                    <a:cubicBezTo>
                      <a:pt x="48" y="183"/>
                      <a:pt x="48" y="182"/>
                      <a:pt x="48" y="182"/>
                    </a:cubicBezTo>
                    <a:cubicBezTo>
                      <a:pt x="49" y="182"/>
                      <a:pt x="49" y="182"/>
                      <a:pt x="50" y="183"/>
                    </a:cubicBezTo>
                    <a:cubicBezTo>
                      <a:pt x="51" y="183"/>
                      <a:pt x="52" y="182"/>
                      <a:pt x="53" y="183"/>
                    </a:cubicBezTo>
                    <a:cubicBezTo>
                      <a:pt x="55" y="184"/>
                      <a:pt x="57" y="185"/>
                      <a:pt x="58" y="186"/>
                    </a:cubicBezTo>
                    <a:cubicBezTo>
                      <a:pt x="59" y="186"/>
                      <a:pt x="60" y="187"/>
                      <a:pt x="61" y="187"/>
                    </a:cubicBezTo>
                    <a:cubicBezTo>
                      <a:pt x="61" y="187"/>
                      <a:pt x="61" y="187"/>
                      <a:pt x="61" y="187"/>
                    </a:cubicBezTo>
                    <a:cubicBezTo>
                      <a:pt x="62" y="187"/>
                      <a:pt x="63" y="186"/>
                      <a:pt x="63" y="187"/>
                    </a:cubicBezTo>
                    <a:cubicBezTo>
                      <a:pt x="63" y="187"/>
                      <a:pt x="63" y="188"/>
                      <a:pt x="64" y="188"/>
                    </a:cubicBezTo>
                    <a:cubicBezTo>
                      <a:pt x="63" y="188"/>
                      <a:pt x="63" y="188"/>
                      <a:pt x="63" y="188"/>
                    </a:cubicBezTo>
                    <a:cubicBezTo>
                      <a:pt x="63" y="188"/>
                      <a:pt x="63" y="188"/>
                      <a:pt x="64" y="188"/>
                    </a:cubicBezTo>
                    <a:cubicBezTo>
                      <a:pt x="64" y="189"/>
                      <a:pt x="64" y="190"/>
                      <a:pt x="64" y="190"/>
                    </a:cubicBezTo>
                    <a:cubicBezTo>
                      <a:pt x="65" y="190"/>
                      <a:pt x="66" y="190"/>
                      <a:pt x="66" y="190"/>
                    </a:cubicBezTo>
                    <a:cubicBezTo>
                      <a:pt x="68" y="190"/>
                      <a:pt x="68" y="191"/>
                      <a:pt x="69" y="191"/>
                    </a:cubicBezTo>
                    <a:cubicBezTo>
                      <a:pt x="70" y="192"/>
                      <a:pt x="71" y="193"/>
                      <a:pt x="72" y="193"/>
                    </a:cubicBezTo>
                    <a:cubicBezTo>
                      <a:pt x="74" y="195"/>
                      <a:pt x="74" y="196"/>
                      <a:pt x="75" y="197"/>
                    </a:cubicBezTo>
                    <a:cubicBezTo>
                      <a:pt x="76" y="199"/>
                      <a:pt x="76" y="201"/>
                      <a:pt x="77" y="203"/>
                    </a:cubicBezTo>
                    <a:cubicBezTo>
                      <a:pt x="77" y="203"/>
                      <a:pt x="77" y="203"/>
                      <a:pt x="77" y="203"/>
                    </a:cubicBezTo>
                    <a:cubicBezTo>
                      <a:pt x="77" y="203"/>
                      <a:pt x="77" y="203"/>
                      <a:pt x="77" y="203"/>
                    </a:cubicBezTo>
                    <a:cubicBezTo>
                      <a:pt x="77" y="203"/>
                      <a:pt x="77" y="203"/>
                      <a:pt x="77" y="203"/>
                    </a:cubicBezTo>
                    <a:cubicBezTo>
                      <a:pt x="80" y="203"/>
                      <a:pt x="80" y="203"/>
                      <a:pt x="80" y="203"/>
                    </a:cubicBezTo>
                    <a:cubicBezTo>
                      <a:pt x="80" y="203"/>
                      <a:pt x="82" y="202"/>
                      <a:pt x="84" y="202"/>
                    </a:cubicBezTo>
                    <a:cubicBezTo>
                      <a:pt x="85" y="202"/>
                      <a:pt x="87" y="202"/>
                      <a:pt x="89" y="202"/>
                    </a:cubicBezTo>
                    <a:cubicBezTo>
                      <a:pt x="90" y="202"/>
                      <a:pt x="90" y="202"/>
                      <a:pt x="90" y="202"/>
                    </a:cubicBezTo>
                    <a:cubicBezTo>
                      <a:pt x="92" y="202"/>
                      <a:pt x="94" y="201"/>
                      <a:pt x="94" y="201"/>
                    </a:cubicBezTo>
                    <a:cubicBezTo>
                      <a:pt x="95" y="201"/>
                      <a:pt x="95" y="201"/>
                      <a:pt x="96" y="201"/>
                    </a:cubicBezTo>
                    <a:cubicBezTo>
                      <a:pt x="99" y="201"/>
                      <a:pt x="101" y="201"/>
                      <a:pt x="102" y="201"/>
                    </a:cubicBezTo>
                    <a:cubicBezTo>
                      <a:pt x="103" y="201"/>
                      <a:pt x="103" y="201"/>
                      <a:pt x="103" y="201"/>
                    </a:cubicBezTo>
                    <a:cubicBezTo>
                      <a:pt x="103" y="200"/>
                      <a:pt x="103" y="200"/>
                      <a:pt x="103" y="200"/>
                    </a:cubicBezTo>
                    <a:cubicBezTo>
                      <a:pt x="107" y="201"/>
                      <a:pt x="107" y="201"/>
                      <a:pt x="107" y="201"/>
                    </a:cubicBezTo>
                    <a:cubicBezTo>
                      <a:pt x="104" y="203"/>
                      <a:pt x="104" y="203"/>
                      <a:pt x="104" y="203"/>
                    </a:cubicBezTo>
                    <a:cubicBezTo>
                      <a:pt x="104" y="203"/>
                      <a:pt x="104" y="203"/>
                      <a:pt x="104" y="203"/>
                    </a:cubicBezTo>
                    <a:cubicBezTo>
                      <a:pt x="103" y="203"/>
                      <a:pt x="103" y="203"/>
                      <a:pt x="103" y="203"/>
                    </a:cubicBezTo>
                    <a:cubicBezTo>
                      <a:pt x="103" y="203"/>
                      <a:pt x="103" y="203"/>
                      <a:pt x="103" y="204"/>
                    </a:cubicBezTo>
                    <a:cubicBezTo>
                      <a:pt x="109" y="206"/>
                      <a:pt x="126" y="212"/>
                      <a:pt x="130" y="213"/>
                    </a:cubicBezTo>
                    <a:cubicBezTo>
                      <a:pt x="142" y="216"/>
                      <a:pt x="145" y="216"/>
                      <a:pt x="156" y="216"/>
                    </a:cubicBezTo>
                    <a:cubicBezTo>
                      <a:pt x="167" y="216"/>
                      <a:pt x="167" y="216"/>
                      <a:pt x="167" y="216"/>
                    </a:cubicBezTo>
                    <a:cubicBezTo>
                      <a:pt x="167" y="216"/>
                      <a:pt x="167" y="216"/>
                      <a:pt x="167" y="215"/>
                    </a:cubicBezTo>
                    <a:cubicBezTo>
                      <a:pt x="167" y="215"/>
                      <a:pt x="167" y="215"/>
                      <a:pt x="167" y="214"/>
                    </a:cubicBezTo>
                    <a:cubicBezTo>
                      <a:pt x="167" y="214"/>
                      <a:pt x="167" y="214"/>
                      <a:pt x="167" y="214"/>
                    </a:cubicBezTo>
                    <a:cubicBezTo>
                      <a:pt x="167" y="213"/>
                      <a:pt x="167" y="212"/>
                      <a:pt x="168" y="212"/>
                    </a:cubicBezTo>
                    <a:cubicBezTo>
                      <a:pt x="168" y="211"/>
                      <a:pt x="168" y="211"/>
                      <a:pt x="169" y="211"/>
                    </a:cubicBezTo>
                    <a:cubicBezTo>
                      <a:pt x="170" y="211"/>
                      <a:pt x="176" y="211"/>
                      <a:pt x="181" y="211"/>
                    </a:cubicBezTo>
                    <a:cubicBezTo>
                      <a:pt x="186" y="211"/>
                      <a:pt x="186" y="211"/>
                      <a:pt x="186" y="211"/>
                    </a:cubicBezTo>
                    <a:cubicBezTo>
                      <a:pt x="189" y="211"/>
                      <a:pt x="189" y="214"/>
                      <a:pt x="190" y="215"/>
                    </a:cubicBezTo>
                    <a:cubicBezTo>
                      <a:pt x="190" y="215"/>
                      <a:pt x="190" y="215"/>
                      <a:pt x="190" y="215"/>
                    </a:cubicBezTo>
                    <a:cubicBezTo>
                      <a:pt x="190" y="215"/>
                      <a:pt x="190" y="215"/>
                      <a:pt x="192" y="216"/>
                    </a:cubicBezTo>
                    <a:cubicBezTo>
                      <a:pt x="192" y="216"/>
                      <a:pt x="193" y="217"/>
                      <a:pt x="195" y="219"/>
                    </a:cubicBezTo>
                    <a:cubicBezTo>
                      <a:pt x="198" y="220"/>
                      <a:pt x="200" y="223"/>
                      <a:pt x="202" y="224"/>
                    </a:cubicBezTo>
                    <a:cubicBezTo>
                      <a:pt x="202" y="224"/>
                      <a:pt x="202" y="224"/>
                      <a:pt x="202" y="224"/>
                    </a:cubicBezTo>
                    <a:cubicBezTo>
                      <a:pt x="202" y="224"/>
                      <a:pt x="204" y="226"/>
                      <a:pt x="205" y="228"/>
                    </a:cubicBezTo>
                    <a:cubicBezTo>
                      <a:pt x="205" y="229"/>
                      <a:pt x="206" y="231"/>
                      <a:pt x="206" y="232"/>
                    </a:cubicBezTo>
                    <a:cubicBezTo>
                      <a:pt x="207" y="236"/>
                      <a:pt x="211" y="238"/>
                      <a:pt x="214" y="240"/>
                    </a:cubicBezTo>
                    <a:cubicBezTo>
                      <a:pt x="215" y="240"/>
                      <a:pt x="215" y="240"/>
                      <a:pt x="215" y="240"/>
                    </a:cubicBezTo>
                    <a:cubicBezTo>
                      <a:pt x="216" y="241"/>
                      <a:pt x="219" y="242"/>
                      <a:pt x="220" y="242"/>
                    </a:cubicBezTo>
                    <a:cubicBezTo>
                      <a:pt x="220" y="242"/>
                      <a:pt x="221" y="242"/>
                      <a:pt x="221" y="241"/>
                    </a:cubicBezTo>
                    <a:cubicBezTo>
                      <a:pt x="221" y="240"/>
                      <a:pt x="222" y="240"/>
                      <a:pt x="222" y="239"/>
                    </a:cubicBezTo>
                    <a:cubicBezTo>
                      <a:pt x="223" y="236"/>
                      <a:pt x="224" y="234"/>
                      <a:pt x="227" y="234"/>
                    </a:cubicBezTo>
                    <a:cubicBezTo>
                      <a:pt x="227" y="234"/>
                      <a:pt x="227" y="234"/>
                      <a:pt x="227" y="234"/>
                    </a:cubicBezTo>
                    <a:cubicBezTo>
                      <a:pt x="227" y="234"/>
                      <a:pt x="227" y="233"/>
                      <a:pt x="228" y="233"/>
                    </a:cubicBezTo>
                    <a:cubicBezTo>
                      <a:pt x="229" y="232"/>
                      <a:pt x="230" y="233"/>
                      <a:pt x="231" y="233"/>
                    </a:cubicBezTo>
                    <a:cubicBezTo>
                      <a:pt x="231" y="233"/>
                      <a:pt x="232" y="233"/>
                      <a:pt x="232" y="233"/>
                    </a:cubicBezTo>
                    <a:cubicBezTo>
                      <a:pt x="233" y="233"/>
                      <a:pt x="235" y="234"/>
                      <a:pt x="236" y="234"/>
                    </a:cubicBezTo>
                    <a:cubicBezTo>
                      <a:pt x="237" y="233"/>
                      <a:pt x="239" y="234"/>
                      <a:pt x="241" y="236"/>
                    </a:cubicBezTo>
                    <a:cubicBezTo>
                      <a:pt x="241" y="236"/>
                      <a:pt x="242" y="237"/>
                      <a:pt x="242" y="237"/>
                    </a:cubicBezTo>
                    <a:cubicBezTo>
                      <a:pt x="244" y="238"/>
                      <a:pt x="245" y="240"/>
                      <a:pt x="247" y="243"/>
                    </a:cubicBezTo>
                    <a:cubicBezTo>
                      <a:pt x="250" y="248"/>
                      <a:pt x="251" y="250"/>
                      <a:pt x="253" y="253"/>
                    </a:cubicBezTo>
                    <a:cubicBezTo>
                      <a:pt x="254" y="255"/>
                      <a:pt x="255" y="256"/>
                      <a:pt x="255" y="257"/>
                    </a:cubicBezTo>
                    <a:cubicBezTo>
                      <a:pt x="256" y="257"/>
                      <a:pt x="256" y="257"/>
                      <a:pt x="257" y="258"/>
                    </a:cubicBezTo>
                    <a:cubicBezTo>
                      <a:pt x="259" y="258"/>
                      <a:pt x="259" y="260"/>
                      <a:pt x="259" y="262"/>
                    </a:cubicBezTo>
                    <a:cubicBezTo>
                      <a:pt x="259" y="262"/>
                      <a:pt x="259" y="262"/>
                      <a:pt x="259" y="262"/>
                    </a:cubicBezTo>
                    <a:cubicBezTo>
                      <a:pt x="259" y="263"/>
                      <a:pt x="260" y="265"/>
                      <a:pt x="262" y="271"/>
                    </a:cubicBezTo>
                    <a:cubicBezTo>
                      <a:pt x="263" y="271"/>
                      <a:pt x="263" y="271"/>
                      <a:pt x="265" y="272"/>
                    </a:cubicBezTo>
                    <a:cubicBezTo>
                      <a:pt x="267" y="273"/>
                      <a:pt x="269" y="273"/>
                      <a:pt x="269" y="274"/>
                    </a:cubicBezTo>
                    <a:cubicBezTo>
                      <a:pt x="270" y="274"/>
                      <a:pt x="270" y="274"/>
                      <a:pt x="270" y="274"/>
                    </a:cubicBezTo>
                    <a:cubicBezTo>
                      <a:pt x="270" y="274"/>
                      <a:pt x="270" y="274"/>
                      <a:pt x="270" y="274"/>
                    </a:cubicBezTo>
                    <a:cubicBezTo>
                      <a:pt x="271" y="274"/>
                      <a:pt x="273" y="275"/>
                      <a:pt x="274" y="275"/>
                    </a:cubicBezTo>
                    <a:cubicBezTo>
                      <a:pt x="275" y="275"/>
                      <a:pt x="277" y="276"/>
                      <a:pt x="278" y="276"/>
                    </a:cubicBezTo>
                    <a:cubicBezTo>
                      <a:pt x="278" y="276"/>
                      <a:pt x="279" y="276"/>
                      <a:pt x="280" y="276"/>
                    </a:cubicBezTo>
                    <a:cubicBezTo>
                      <a:pt x="280" y="276"/>
                      <a:pt x="280" y="275"/>
                      <a:pt x="279" y="274"/>
                    </a:cubicBezTo>
                    <a:cubicBezTo>
                      <a:pt x="279" y="272"/>
                      <a:pt x="278" y="270"/>
                      <a:pt x="277" y="267"/>
                    </a:cubicBezTo>
                    <a:cubicBezTo>
                      <a:pt x="277" y="267"/>
                      <a:pt x="277" y="266"/>
                      <a:pt x="278" y="266"/>
                    </a:cubicBezTo>
                    <a:cubicBezTo>
                      <a:pt x="277" y="266"/>
                      <a:pt x="278" y="265"/>
                      <a:pt x="278" y="265"/>
                    </a:cubicBezTo>
                    <a:cubicBezTo>
                      <a:pt x="278" y="265"/>
                      <a:pt x="279" y="263"/>
                      <a:pt x="279" y="263"/>
                    </a:cubicBezTo>
                    <a:cubicBezTo>
                      <a:pt x="277" y="263"/>
                      <a:pt x="277" y="263"/>
                      <a:pt x="275" y="263"/>
                    </a:cubicBezTo>
                    <a:cubicBezTo>
                      <a:pt x="276" y="262"/>
                      <a:pt x="275" y="261"/>
                      <a:pt x="275" y="261"/>
                    </a:cubicBezTo>
                    <a:cubicBezTo>
                      <a:pt x="276" y="261"/>
                      <a:pt x="276" y="262"/>
                      <a:pt x="277" y="262"/>
                    </a:cubicBezTo>
                    <a:cubicBezTo>
                      <a:pt x="277" y="262"/>
                      <a:pt x="279" y="263"/>
                      <a:pt x="278" y="263"/>
                    </a:cubicBezTo>
                    <a:cubicBezTo>
                      <a:pt x="278" y="263"/>
                      <a:pt x="278" y="263"/>
                      <a:pt x="279" y="262"/>
                    </a:cubicBezTo>
                    <a:cubicBezTo>
                      <a:pt x="279" y="262"/>
                      <a:pt x="279" y="261"/>
                      <a:pt x="280" y="260"/>
                    </a:cubicBezTo>
                    <a:cubicBezTo>
                      <a:pt x="280" y="259"/>
                      <a:pt x="281" y="259"/>
                      <a:pt x="280" y="258"/>
                    </a:cubicBezTo>
                    <a:cubicBezTo>
                      <a:pt x="280" y="258"/>
                      <a:pt x="280" y="258"/>
                      <a:pt x="280" y="258"/>
                    </a:cubicBezTo>
                    <a:cubicBezTo>
                      <a:pt x="279" y="256"/>
                      <a:pt x="279" y="257"/>
                      <a:pt x="278" y="256"/>
                    </a:cubicBezTo>
                    <a:cubicBezTo>
                      <a:pt x="279" y="256"/>
                      <a:pt x="280" y="256"/>
                      <a:pt x="280" y="256"/>
                    </a:cubicBezTo>
                    <a:cubicBezTo>
                      <a:pt x="281" y="256"/>
                      <a:pt x="280" y="257"/>
                      <a:pt x="281" y="256"/>
                    </a:cubicBezTo>
                    <a:cubicBezTo>
                      <a:pt x="282" y="256"/>
                      <a:pt x="283" y="254"/>
                      <a:pt x="283" y="254"/>
                    </a:cubicBezTo>
                    <a:cubicBezTo>
                      <a:pt x="282" y="254"/>
                      <a:pt x="282" y="254"/>
                      <a:pt x="281" y="253"/>
                    </a:cubicBezTo>
                    <a:cubicBezTo>
                      <a:pt x="282" y="253"/>
                      <a:pt x="282" y="253"/>
                      <a:pt x="283" y="253"/>
                    </a:cubicBezTo>
                    <a:cubicBezTo>
                      <a:pt x="283" y="253"/>
                      <a:pt x="283" y="253"/>
                      <a:pt x="283" y="253"/>
                    </a:cubicBezTo>
                    <a:cubicBezTo>
                      <a:pt x="283" y="253"/>
                      <a:pt x="284" y="252"/>
                      <a:pt x="284" y="252"/>
                    </a:cubicBezTo>
                    <a:cubicBezTo>
                      <a:pt x="284" y="252"/>
                      <a:pt x="284" y="253"/>
                      <a:pt x="284" y="253"/>
                    </a:cubicBezTo>
                    <a:cubicBezTo>
                      <a:pt x="284" y="253"/>
                      <a:pt x="284" y="250"/>
                      <a:pt x="285" y="250"/>
                    </a:cubicBezTo>
                    <a:cubicBezTo>
                      <a:pt x="286" y="250"/>
                      <a:pt x="286" y="251"/>
                      <a:pt x="286" y="251"/>
                    </a:cubicBezTo>
                    <a:cubicBezTo>
                      <a:pt x="287" y="251"/>
                      <a:pt x="286" y="251"/>
                      <a:pt x="287" y="251"/>
                    </a:cubicBezTo>
                    <a:cubicBezTo>
                      <a:pt x="288" y="251"/>
                      <a:pt x="289" y="250"/>
                      <a:pt x="289" y="250"/>
                    </a:cubicBezTo>
                    <a:cubicBezTo>
                      <a:pt x="288" y="249"/>
                      <a:pt x="287" y="248"/>
                      <a:pt x="287" y="247"/>
                    </a:cubicBezTo>
                    <a:cubicBezTo>
                      <a:pt x="288" y="247"/>
                      <a:pt x="287" y="247"/>
                      <a:pt x="288" y="248"/>
                    </a:cubicBezTo>
                    <a:cubicBezTo>
                      <a:pt x="289" y="248"/>
                      <a:pt x="290" y="248"/>
                      <a:pt x="289" y="246"/>
                    </a:cubicBezTo>
                    <a:cubicBezTo>
                      <a:pt x="289" y="247"/>
                      <a:pt x="289" y="247"/>
                      <a:pt x="290" y="248"/>
                    </a:cubicBezTo>
                    <a:cubicBezTo>
                      <a:pt x="290" y="248"/>
                      <a:pt x="291" y="247"/>
                      <a:pt x="291" y="247"/>
                    </a:cubicBezTo>
                    <a:cubicBezTo>
                      <a:pt x="290" y="249"/>
                      <a:pt x="292" y="248"/>
                      <a:pt x="293" y="248"/>
                    </a:cubicBezTo>
                    <a:cubicBezTo>
                      <a:pt x="293" y="248"/>
                      <a:pt x="292" y="249"/>
                      <a:pt x="291" y="249"/>
                    </a:cubicBezTo>
                    <a:cubicBezTo>
                      <a:pt x="293" y="249"/>
                      <a:pt x="295" y="248"/>
                      <a:pt x="296" y="247"/>
                    </a:cubicBezTo>
                    <a:cubicBezTo>
                      <a:pt x="295" y="247"/>
                      <a:pt x="295" y="247"/>
                      <a:pt x="294" y="247"/>
                    </a:cubicBezTo>
                    <a:cubicBezTo>
                      <a:pt x="296" y="247"/>
                      <a:pt x="297" y="247"/>
                      <a:pt x="298" y="246"/>
                    </a:cubicBezTo>
                    <a:cubicBezTo>
                      <a:pt x="300" y="245"/>
                      <a:pt x="300" y="244"/>
                      <a:pt x="301" y="242"/>
                    </a:cubicBezTo>
                    <a:cubicBezTo>
                      <a:pt x="302" y="241"/>
                      <a:pt x="302" y="242"/>
                      <a:pt x="303" y="242"/>
                    </a:cubicBezTo>
                    <a:cubicBezTo>
                      <a:pt x="304" y="241"/>
                      <a:pt x="305" y="240"/>
                      <a:pt x="305" y="240"/>
                    </a:cubicBezTo>
                    <a:cubicBezTo>
                      <a:pt x="305" y="239"/>
                      <a:pt x="305" y="239"/>
                      <a:pt x="305" y="239"/>
                    </a:cubicBezTo>
                    <a:cubicBezTo>
                      <a:pt x="305" y="239"/>
                      <a:pt x="304" y="239"/>
                      <a:pt x="304" y="239"/>
                    </a:cubicBezTo>
                    <a:cubicBezTo>
                      <a:pt x="304" y="239"/>
                      <a:pt x="305" y="238"/>
                      <a:pt x="304" y="238"/>
                    </a:cubicBezTo>
                    <a:cubicBezTo>
                      <a:pt x="304" y="238"/>
                      <a:pt x="304" y="238"/>
                      <a:pt x="304" y="238"/>
                    </a:cubicBezTo>
                    <a:cubicBezTo>
                      <a:pt x="303" y="238"/>
                      <a:pt x="304" y="237"/>
                      <a:pt x="304" y="237"/>
                    </a:cubicBezTo>
                    <a:cubicBezTo>
                      <a:pt x="304" y="237"/>
                      <a:pt x="303" y="236"/>
                      <a:pt x="303" y="236"/>
                    </a:cubicBezTo>
                    <a:cubicBezTo>
                      <a:pt x="304" y="236"/>
                      <a:pt x="304" y="236"/>
                      <a:pt x="304" y="236"/>
                    </a:cubicBezTo>
                    <a:cubicBezTo>
                      <a:pt x="305" y="236"/>
                      <a:pt x="305" y="235"/>
                      <a:pt x="306" y="235"/>
                    </a:cubicBezTo>
                    <a:cubicBezTo>
                      <a:pt x="307" y="235"/>
                      <a:pt x="307" y="236"/>
                      <a:pt x="306" y="236"/>
                    </a:cubicBezTo>
                    <a:cubicBezTo>
                      <a:pt x="306" y="238"/>
                      <a:pt x="305" y="238"/>
                      <a:pt x="307" y="238"/>
                    </a:cubicBezTo>
                    <a:cubicBezTo>
                      <a:pt x="307" y="238"/>
                      <a:pt x="308" y="237"/>
                      <a:pt x="309" y="238"/>
                    </a:cubicBezTo>
                    <a:cubicBezTo>
                      <a:pt x="308" y="238"/>
                      <a:pt x="306" y="239"/>
                      <a:pt x="306" y="239"/>
                    </a:cubicBezTo>
                    <a:cubicBezTo>
                      <a:pt x="306" y="240"/>
                      <a:pt x="307" y="239"/>
                      <a:pt x="307" y="239"/>
                    </a:cubicBezTo>
                    <a:cubicBezTo>
                      <a:pt x="307" y="239"/>
                      <a:pt x="308" y="238"/>
                      <a:pt x="309" y="238"/>
                    </a:cubicBezTo>
                    <a:cubicBezTo>
                      <a:pt x="310" y="238"/>
                      <a:pt x="311" y="237"/>
                      <a:pt x="312" y="237"/>
                    </a:cubicBezTo>
                    <a:cubicBezTo>
                      <a:pt x="313" y="236"/>
                      <a:pt x="314" y="236"/>
                      <a:pt x="315" y="236"/>
                    </a:cubicBezTo>
                    <a:cubicBezTo>
                      <a:pt x="315" y="235"/>
                      <a:pt x="316" y="234"/>
                      <a:pt x="316" y="233"/>
                    </a:cubicBezTo>
                    <a:cubicBezTo>
                      <a:pt x="316" y="234"/>
                      <a:pt x="315" y="235"/>
                      <a:pt x="315" y="236"/>
                    </a:cubicBezTo>
                    <a:cubicBezTo>
                      <a:pt x="317" y="235"/>
                      <a:pt x="318" y="235"/>
                      <a:pt x="320" y="235"/>
                    </a:cubicBezTo>
                    <a:cubicBezTo>
                      <a:pt x="321" y="235"/>
                      <a:pt x="320" y="234"/>
                      <a:pt x="320" y="234"/>
                    </a:cubicBezTo>
                    <a:cubicBezTo>
                      <a:pt x="320" y="234"/>
                      <a:pt x="319" y="234"/>
                      <a:pt x="319" y="234"/>
                    </a:cubicBezTo>
                    <a:cubicBezTo>
                      <a:pt x="319" y="234"/>
                      <a:pt x="320" y="234"/>
                      <a:pt x="320" y="234"/>
                    </a:cubicBezTo>
                    <a:cubicBezTo>
                      <a:pt x="320" y="234"/>
                      <a:pt x="320" y="233"/>
                      <a:pt x="320" y="233"/>
                    </a:cubicBezTo>
                    <a:cubicBezTo>
                      <a:pt x="321" y="233"/>
                      <a:pt x="321" y="232"/>
                      <a:pt x="321" y="232"/>
                    </a:cubicBezTo>
                    <a:cubicBezTo>
                      <a:pt x="321" y="232"/>
                      <a:pt x="321" y="232"/>
                      <a:pt x="321" y="233"/>
                    </a:cubicBezTo>
                    <a:cubicBezTo>
                      <a:pt x="322" y="234"/>
                      <a:pt x="325" y="235"/>
                      <a:pt x="327" y="236"/>
                    </a:cubicBezTo>
                    <a:cubicBezTo>
                      <a:pt x="329" y="237"/>
                      <a:pt x="330" y="238"/>
                      <a:pt x="332" y="238"/>
                    </a:cubicBezTo>
                    <a:cubicBezTo>
                      <a:pt x="332" y="237"/>
                      <a:pt x="333" y="237"/>
                      <a:pt x="334" y="237"/>
                    </a:cubicBezTo>
                    <a:cubicBezTo>
                      <a:pt x="333" y="237"/>
                      <a:pt x="333" y="236"/>
                      <a:pt x="332" y="236"/>
                    </a:cubicBezTo>
                    <a:cubicBezTo>
                      <a:pt x="332" y="235"/>
                      <a:pt x="332" y="236"/>
                      <a:pt x="333" y="236"/>
                    </a:cubicBezTo>
                    <a:cubicBezTo>
                      <a:pt x="333" y="235"/>
                      <a:pt x="335" y="234"/>
                      <a:pt x="336" y="235"/>
                    </a:cubicBezTo>
                    <a:cubicBezTo>
                      <a:pt x="336" y="235"/>
                      <a:pt x="338" y="235"/>
                      <a:pt x="338" y="236"/>
                    </a:cubicBezTo>
                    <a:cubicBezTo>
                      <a:pt x="338" y="236"/>
                      <a:pt x="338" y="236"/>
                      <a:pt x="338" y="237"/>
                    </a:cubicBezTo>
                    <a:cubicBezTo>
                      <a:pt x="339" y="237"/>
                      <a:pt x="341" y="238"/>
                      <a:pt x="341" y="238"/>
                    </a:cubicBezTo>
                    <a:cubicBezTo>
                      <a:pt x="342" y="238"/>
                      <a:pt x="342" y="237"/>
                      <a:pt x="342" y="237"/>
                    </a:cubicBezTo>
                    <a:cubicBezTo>
                      <a:pt x="342" y="238"/>
                      <a:pt x="342" y="238"/>
                      <a:pt x="342" y="238"/>
                    </a:cubicBezTo>
                    <a:cubicBezTo>
                      <a:pt x="342" y="239"/>
                      <a:pt x="343" y="239"/>
                      <a:pt x="343" y="240"/>
                    </a:cubicBezTo>
                    <a:cubicBezTo>
                      <a:pt x="344" y="241"/>
                      <a:pt x="346" y="243"/>
                      <a:pt x="348" y="242"/>
                    </a:cubicBezTo>
                    <a:cubicBezTo>
                      <a:pt x="348" y="242"/>
                      <a:pt x="349" y="241"/>
                      <a:pt x="349" y="241"/>
                    </a:cubicBezTo>
                    <a:cubicBezTo>
                      <a:pt x="350" y="240"/>
                      <a:pt x="351" y="240"/>
                      <a:pt x="352" y="241"/>
                    </a:cubicBezTo>
                    <a:cubicBezTo>
                      <a:pt x="352" y="242"/>
                      <a:pt x="352" y="243"/>
                      <a:pt x="353" y="242"/>
                    </a:cubicBezTo>
                    <a:cubicBezTo>
                      <a:pt x="355" y="242"/>
                      <a:pt x="353" y="240"/>
                      <a:pt x="354" y="240"/>
                    </a:cubicBezTo>
                    <a:cubicBezTo>
                      <a:pt x="354" y="240"/>
                      <a:pt x="354" y="240"/>
                      <a:pt x="354" y="239"/>
                    </a:cubicBezTo>
                    <a:cubicBezTo>
                      <a:pt x="354" y="239"/>
                      <a:pt x="354" y="239"/>
                      <a:pt x="354" y="239"/>
                    </a:cubicBezTo>
                    <a:cubicBezTo>
                      <a:pt x="354" y="238"/>
                      <a:pt x="353" y="238"/>
                      <a:pt x="353" y="237"/>
                    </a:cubicBezTo>
                    <a:cubicBezTo>
                      <a:pt x="354" y="238"/>
                      <a:pt x="357" y="238"/>
                      <a:pt x="356" y="239"/>
                    </a:cubicBezTo>
                    <a:cubicBezTo>
                      <a:pt x="358" y="240"/>
                      <a:pt x="359" y="240"/>
                      <a:pt x="360" y="241"/>
                    </a:cubicBezTo>
                    <a:cubicBezTo>
                      <a:pt x="360" y="241"/>
                      <a:pt x="360" y="242"/>
                      <a:pt x="361" y="242"/>
                    </a:cubicBezTo>
                    <a:cubicBezTo>
                      <a:pt x="361" y="243"/>
                      <a:pt x="362" y="241"/>
                      <a:pt x="362" y="242"/>
                    </a:cubicBezTo>
                    <a:cubicBezTo>
                      <a:pt x="362" y="243"/>
                      <a:pt x="361" y="244"/>
                      <a:pt x="361" y="244"/>
                    </a:cubicBezTo>
                    <a:cubicBezTo>
                      <a:pt x="362" y="244"/>
                      <a:pt x="363" y="244"/>
                      <a:pt x="364" y="244"/>
                    </a:cubicBezTo>
                    <a:cubicBezTo>
                      <a:pt x="363" y="243"/>
                      <a:pt x="365" y="242"/>
                      <a:pt x="364" y="242"/>
                    </a:cubicBezTo>
                    <a:cubicBezTo>
                      <a:pt x="364" y="242"/>
                      <a:pt x="365" y="242"/>
                      <a:pt x="365" y="242"/>
                    </a:cubicBezTo>
                    <a:cubicBezTo>
                      <a:pt x="364" y="242"/>
                      <a:pt x="364" y="241"/>
                      <a:pt x="363" y="241"/>
                    </a:cubicBezTo>
                    <a:cubicBezTo>
                      <a:pt x="364" y="240"/>
                      <a:pt x="361" y="240"/>
                      <a:pt x="361" y="240"/>
                    </a:cubicBezTo>
                    <a:cubicBezTo>
                      <a:pt x="361" y="240"/>
                      <a:pt x="361" y="240"/>
                      <a:pt x="361" y="239"/>
                    </a:cubicBezTo>
                    <a:cubicBezTo>
                      <a:pt x="361" y="239"/>
                      <a:pt x="360" y="239"/>
                      <a:pt x="359" y="239"/>
                    </a:cubicBezTo>
                    <a:cubicBezTo>
                      <a:pt x="359" y="239"/>
                      <a:pt x="359" y="239"/>
                      <a:pt x="360" y="239"/>
                    </a:cubicBezTo>
                    <a:cubicBezTo>
                      <a:pt x="360" y="239"/>
                      <a:pt x="359" y="239"/>
                      <a:pt x="360" y="239"/>
                    </a:cubicBezTo>
                    <a:cubicBezTo>
                      <a:pt x="359" y="238"/>
                      <a:pt x="358" y="238"/>
                      <a:pt x="357" y="237"/>
                    </a:cubicBezTo>
                    <a:cubicBezTo>
                      <a:pt x="358" y="237"/>
                      <a:pt x="359" y="237"/>
                      <a:pt x="360" y="237"/>
                    </a:cubicBezTo>
                    <a:cubicBezTo>
                      <a:pt x="360" y="236"/>
                      <a:pt x="360" y="236"/>
                      <a:pt x="359" y="236"/>
                    </a:cubicBezTo>
                    <a:cubicBezTo>
                      <a:pt x="359" y="236"/>
                      <a:pt x="360" y="236"/>
                      <a:pt x="360" y="236"/>
                    </a:cubicBezTo>
                    <a:cubicBezTo>
                      <a:pt x="359" y="236"/>
                      <a:pt x="359" y="236"/>
                      <a:pt x="359" y="236"/>
                    </a:cubicBezTo>
                    <a:cubicBezTo>
                      <a:pt x="359" y="235"/>
                      <a:pt x="361" y="235"/>
                      <a:pt x="361" y="235"/>
                    </a:cubicBezTo>
                    <a:cubicBezTo>
                      <a:pt x="361" y="234"/>
                      <a:pt x="361" y="234"/>
                      <a:pt x="361" y="234"/>
                    </a:cubicBezTo>
                    <a:cubicBezTo>
                      <a:pt x="361" y="234"/>
                      <a:pt x="361" y="234"/>
                      <a:pt x="361" y="234"/>
                    </a:cubicBezTo>
                    <a:cubicBezTo>
                      <a:pt x="361" y="234"/>
                      <a:pt x="361" y="234"/>
                      <a:pt x="361" y="234"/>
                    </a:cubicBezTo>
                    <a:cubicBezTo>
                      <a:pt x="361" y="234"/>
                      <a:pt x="361" y="234"/>
                      <a:pt x="361" y="234"/>
                    </a:cubicBezTo>
                    <a:cubicBezTo>
                      <a:pt x="362" y="233"/>
                      <a:pt x="360" y="233"/>
                      <a:pt x="360" y="232"/>
                    </a:cubicBezTo>
                    <a:cubicBezTo>
                      <a:pt x="360" y="232"/>
                      <a:pt x="359" y="232"/>
                      <a:pt x="359" y="233"/>
                    </a:cubicBezTo>
                    <a:cubicBezTo>
                      <a:pt x="358" y="234"/>
                      <a:pt x="359" y="234"/>
                      <a:pt x="358" y="234"/>
                    </a:cubicBezTo>
                    <a:cubicBezTo>
                      <a:pt x="357" y="234"/>
                      <a:pt x="356" y="233"/>
                      <a:pt x="356" y="233"/>
                    </a:cubicBezTo>
                    <a:cubicBezTo>
                      <a:pt x="356" y="232"/>
                      <a:pt x="358" y="232"/>
                      <a:pt x="358" y="232"/>
                    </a:cubicBezTo>
                    <a:cubicBezTo>
                      <a:pt x="357" y="231"/>
                      <a:pt x="350" y="233"/>
                      <a:pt x="350" y="231"/>
                    </a:cubicBezTo>
                    <a:cubicBezTo>
                      <a:pt x="350" y="230"/>
                      <a:pt x="355" y="229"/>
                      <a:pt x="356" y="229"/>
                    </a:cubicBezTo>
                    <a:cubicBezTo>
                      <a:pt x="357" y="230"/>
                      <a:pt x="359" y="231"/>
                      <a:pt x="360" y="230"/>
                    </a:cubicBezTo>
                    <a:cubicBezTo>
                      <a:pt x="361" y="229"/>
                      <a:pt x="361" y="228"/>
                      <a:pt x="362" y="228"/>
                    </a:cubicBezTo>
                    <a:cubicBezTo>
                      <a:pt x="364" y="228"/>
                      <a:pt x="365" y="228"/>
                      <a:pt x="366" y="228"/>
                    </a:cubicBezTo>
                    <a:cubicBezTo>
                      <a:pt x="369" y="228"/>
                      <a:pt x="371" y="229"/>
                      <a:pt x="373" y="229"/>
                    </a:cubicBezTo>
                    <a:cubicBezTo>
                      <a:pt x="374" y="229"/>
                      <a:pt x="374" y="226"/>
                      <a:pt x="375" y="225"/>
                    </a:cubicBezTo>
                    <a:cubicBezTo>
                      <a:pt x="375" y="225"/>
                      <a:pt x="375" y="225"/>
                      <a:pt x="375" y="224"/>
                    </a:cubicBezTo>
                    <a:cubicBezTo>
                      <a:pt x="375" y="225"/>
                      <a:pt x="376" y="225"/>
                      <a:pt x="376" y="226"/>
                    </a:cubicBezTo>
                    <a:cubicBezTo>
                      <a:pt x="376" y="226"/>
                      <a:pt x="376" y="227"/>
                      <a:pt x="376" y="227"/>
                    </a:cubicBezTo>
                    <a:cubicBezTo>
                      <a:pt x="376" y="228"/>
                      <a:pt x="376" y="228"/>
                      <a:pt x="377" y="228"/>
                    </a:cubicBezTo>
                    <a:cubicBezTo>
                      <a:pt x="377" y="228"/>
                      <a:pt x="377" y="229"/>
                      <a:pt x="378" y="230"/>
                    </a:cubicBezTo>
                    <a:cubicBezTo>
                      <a:pt x="378" y="230"/>
                      <a:pt x="379" y="230"/>
                      <a:pt x="380" y="229"/>
                    </a:cubicBezTo>
                    <a:cubicBezTo>
                      <a:pt x="379" y="229"/>
                      <a:pt x="379" y="229"/>
                      <a:pt x="379" y="229"/>
                    </a:cubicBezTo>
                    <a:cubicBezTo>
                      <a:pt x="380" y="229"/>
                      <a:pt x="381" y="228"/>
                      <a:pt x="381" y="227"/>
                    </a:cubicBezTo>
                    <a:cubicBezTo>
                      <a:pt x="381" y="227"/>
                      <a:pt x="381" y="227"/>
                      <a:pt x="381" y="227"/>
                    </a:cubicBezTo>
                    <a:cubicBezTo>
                      <a:pt x="381" y="227"/>
                      <a:pt x="381" y="227"/>
                      <a:pt x="381" y="227"/>
                    </a:cubicBezTo>
                    <a:cubicBezTo>
                      <a:pt x="381" y="227"/>
                      <a:pt x="381" y="227"/>
                      <a:pt x="381" y="227"/>
                    </a:cubicBezTo>
                    <a:cubicBezTo>
                      <a:pt x="381" y="227"/>
                      <a:pt x="381" y="228"/>
                      <a:pt x="381" y="228"/>
                    </a:cubicBezTo>
                    <a:cubicBezTo>
                      <a:pt x="381" y="228"/>
                      <a:pt x="381" y="228"/>
                      <a:pt x="381" y="228"/>
                    </a:cubicBezTo>
                    <a:cubicBezTo>
                      <a:pt x="381" y="228"/>
                      <a:pt x="380" y="229"/>
                      <a:pt x="380" y="229"/>
                    </a:cubicBezTo>
                    <a:cubicBezTo>
                      <a:pt x="381" y="229"/>
                      <a:pt x="382" y="229"/>
                      <a:pt x="383" y="228"/>
                    </a:cubicBezTo>
                    <a:cubicBezTo>
                      <a:pt x="384" y="227"/>
                      <a:pt x="383" y="227"/>
                      <a:pt x="384" y="226"/>
                    </a:cubicBezTo>
                    <a:cubicBezTo>
                      <a:pt x="384" y="226"/>
                      <a:pt x="384" y="227"/>
                      <a:pt x="384" y="227"/>
                    </a:cubicBezTo>
                    <a:cubicBezTo>
                      <a:pt x="385" y="225"/>
                      <a:pt x="386" y="226"/>
                      <a:pt x="386" y="228"/>
                    </a:cubicBezTo>
                    <a:cubicBezTo>
                      <a:pt x="386" y="227"/>
                      <a:pt x="384" y="228"/>
                      <a:pt x="383" y="229"/>
                    </a:cubicBezTo>
                    <a:cubicBezTo>
                      <a:pt x="387" y="228"/>
                      <a:pt x="391" y="228"/>
                      <a:pt x="394" y="227"/>
                    </a:cubicBezTo>
                    <a:cubicBezTo>
                      <a:pt x="394" y="228"/>
                      <a:pt x="394" y="227"/>
                      <a:pt x="394" y="228"/>
                    </a:cubicBezTo>
                    <a:cubicBezTo>
                      <a:pt x="394" y="228"/>
                      <a:pt x="393" y="228"/>
                      <a:pt x="393" y="228"/>
                    </a:cubicBezTo>
                    <a:cubicBezTo>
                      <a:pt x="393" y="228"/>
                      <a:pt x="393" y="228"/>
                      <a:pt x="393" y="228"/>
                    </a:cubicBezTo>
                    <a:cubicBezTo>
                      <a:pt x="391" y="227"/>
                      <a:pt x="393" y="229"/>
                      <a:pt x="394" y="229"/>
                    </a:cubicBezTo>
                    <a:cubicBezTo>
                      <a:pt x="394" y="229"/>
                      <a:pt x="398" y="231"/>
                      <a:pt x="398" y="231"/>
                    </a:cubicBezTo>
                    <a:cubicBezTo>
                      <a:pt x="399" y="231"/>
                      <a:pt x="397" y="230"/>
                      <a:pt x="397" y="230"/>
                    </a:cubicBezTo>
                    <a:cubicBezTo>
                      <a:pt x="398" y="230"/>
                      <a:pt x="400" y="229"/>
                      <a:pt x="400" y="229"/>
                    </a:cubicBezTo>
                    <a:cubicBezTo>
                      <a:pt x="400" y="229"/>
                      <a:pt x="399" y="230"/>
                      <a:pt x="399" y="230"/>
                    </a:cubicBezTo>
                    <a:cubicBezTo>
                      <a:pt x="399" y="230"/>
                      <a:pt x="401" y="232"/>
                      <a:pt x="402" y="232"/>
                    </a:cubicBezTo>
                    <a:cubicBezTo>
                      <a:pt x="401" y="232"/>
                      <a:pt x="399" y="231"/>
                      <a:pt x="399" y="231"/>
                    </a:cubicBezTo>
                    <a:cubicBezTo>
                      <a:pt x="399" y="232"/>
                      <a:pt x="400" y="232"/>
                      <a:pt x="400" y="232"/>
                    </a:cubicBezTo>
                    <a:cubicBezTo>
                      <a:pt x="400" y="232"/>
                      <a:pt x="400" y="232"/>
                      <a:pt x="400" y="232"/>
                    </a:cubicBezTo>
                    <a:cubicBezTo>
                      <a:pt x="400" y="233"/>
                      <a:pt x="401" y="233"/>
                      <a:pt x="402" y="234"/>
                    </a:cubicBezTo>
                    <a:cubicBezTo>
                      <a:pt x="402" y="234"/>
                      <a:pt x="402" y="234"/>
                      <a:pt x="402" y="234"/>
                    </a:cubicBezTo>
                    <a:cubicBezTo>
                      <a:pt x="403" y="236"/>
                      <a:pt x="403" y="236"/>
                      <a:pt x="405" y="235"/>
                    </a:cubicBezTo>
                    <a:cubicBezTo>
                      <a:pt x="404" y="236"/>
                      <a:pt x="404" y="236"/>
                      <a:pt x="404" y="236"/>
                    </a:cubicBezTo>
                    <a:cubicBezTo>
                      <a:pt x="407" y="235"/>
                      <a:pt x="410" y="234"/>
                      <a:pt x="413" y="232"/>
                    </a:cubicBezTo>
                    <a:cubicBezTo>
                      <a:pt x="415" y="232"/>
                      <a:pt x="415" y="231"/>
                      <a:pt x="416" y="232"/>
                    </a:cubicBezTo>
                    <a:cubicBezTo>
                      <a:pt x="417" y="232"/>
                      <a:pt x="419" y="233"/>
                      <a:pt x="420" y="234"/>
                    </a:cubicBezTo>
                    <a:cubicBezTo>
                      <a:pt x="420" y="235"/>
                      <a:pt x="420" y="235"/>
                      <a:pt x="421" y="236"/>
                    </a:cubicBezTo>
                    <a:cubicBezTo>
                      <a:pt x="422" y="237"/>
                      <a:pt x="422" y="237"/>
                      <a:pt x="422" y="237"/>
                    </a:cubicBezTo>
                    <a:cubicBezTo>
                      <a:pt x="422" y="238"/>
                      <a:pt x="422" y="238"/>
                      <a:pt x="423" y="238"/>
                    </a:cubicBezTo>
                    <a:cubicBezTo>
                      <a:pt x="424" y="240"/>
                      <a:pt x="426" y="240"/>
                      <a:pt x="428" y="242"/>
                    </a:cubicBezTo>
                    <a:cubicBezTo>
                      <a:pt x="428" y="242"/>
                      <a:pt x="430" y="245"/>
                      <a:pt x="430" y="246"/>
                    </a:cubicBezTo>
                    <a:cubicBezTo>
                      <a:pt x="429" y="246"/>
                      <a:pt x="430" y="246"/>
                      <a:pt x="430" y="247"/>
                    </a:cubicBezTo>
                    <a:cubicBezTo>
                      <a:pt x="430" y="247"/>
                      <a:pt x="430" y="248"/>
                      <a:pt x="430" y="248"/>
                    </a:cubicBezTo>
                    <a:cubicBezTo>
                      <a:pt x="430" y="249"/>
                      <a:pt x="430" y="250"/>
                      <a:pt x="429" y="250"/>
                    </a:cubicBezTo>
                    <a:cubicBezTo>
                      <a:pt x="429" y="251"/>
                      <a:pt x="428" y="252"/>
                      <a:pt x="428" y="253"/>
                    </a:cubicBezTo>
                    <a:cubicBezTo>
                      <a:pt x="428" y="253"/>
                      <a:pt x="428" y="254"/>
                      <a:pt x="428" y="255"/>
                    </a:cubicBezTo>
                    <a:cubicBezTo>
                      <a:pt x="428" y="255"/>
                      <a:pt x="428" y="255"/>
                      <a:pt x="428" y="256"/>
                    </a:cubicBezTo>
                    <a:cubicBezTo>
                      <a:pt x="428" y="257"/>
                      <a:pt x="428" y="258"/>
                      <a:pt x="429" y="259"/>
                    </a:cubicBezTo>
                    <a:cubicBezTo>
                      <a:pt x="429" y="258"/>
                      <a:pt x="429" y="258"/>
                      <a:pt x="429" y="258"/>
                    </a:cubicBezTo>
                    <a:cubicBezTo>
                      <a:pt x="430" y="259"/>
                      <a:pt x="430" y="258"/>
                      <a:pt x="430" y="258"/>
                    </a:cubicBezTo>
                    <a:cubicBezTo>
                      <a:pt x="431" y="256"/>
                      <a:pt x="430" y="256"/>
                      <a:pt x="429" y="256"/>
                    </a:cubicBezTo>
                    <a:cubicBezTo>
                      <a:pt x="431" y="256"/>
                      <a:pt x="431" y="258"/>
                      <a:pt x="432" y="256"/>
                    </a:cubicBezTo>
                    <a:cubicBezTo>
                      <a:pt x="433" y="258"/>
                      <a:pt x="430" y="259"/>
                      <a:pt x="430" y="260"/>
                    </a:cubicBezTo>
                    <a:cubicBezTo>
                      <a:pt x="430" y="260"/>
                      <a:pt x="430" y="260"/>
                      <a:pt x="430" y="260"/>
                    </a:cubicBezTo>
                    <a:cubicBezTo>
                      <a:pt x="430" y="261"/>
                      <a:pt x="430" y="261"/>
                      <a:pt x="431" y="262"/>
                    </a:cubicBezTo>
                    <a:cubicBezTo>
                      <a:pt x="431" y="265"/>
                      <a:pt x="433" y="266"/>
                      <a:pt x="435" y="268"/>
                    </a:cubicBezTo>
                    <a:cubicBezTo>
                      <a:pt x="435" y="268"/>
                      <a:pt x="435" y="267"/>
                      <a:pt x="435" y="267"/>
                    </a:cubicBezTo>
                    <a:cubicBezTo>
                      <a:pt x="435" y="267"/>
                      <a:pt x="435" y="266"/>
                      <a:pt x="437" y="266"/>
                    </a:cubicBezTo>
                    <a:cubicBezTo>
                      <a:pt x="437" y="266"/>
                      <a:pt x="436" y="267"/>
                      <a:pt x="436" y="266"/>
                    </a:cubicBezTo>
                    <a:cubicBezTo>
                      <a:pt x="436" y="266"/>
                      <a:pt x="436" y="267"/>
                      <a:pt x="436" y="267"/>
                    </a:cubicBezTo>
                    <a:cubicBezTo>
                      <a:pt x="436" y="267"/>
                      <a:pt x="436" y="267"/>
                      <a:pt x="436" y="267"/>
                    </a:cubicBezTo>
                    <a:cubicBezTo>
                      <a:pt x="436" y="269"/>
                      <a:pt x="436" y="270"/>
                      <a:pt x="436" y="271"/>
                    </a:cubicBezTo>
                    <a:cubicBezTo>
                      <a:pt x="437" y="271"/>
                      <a:pt x="437" y="270"/>
                      <a:pt x="439" y="269"/>
                    </a:cubicBezTo>
                    <a:cubicBezTo>
                      <a:pt x="438" y="270"/>
                      <a:pt x="437" y="270"/>
                      <a:pt x="437" y="271"/>
                    </a:cubicBezTo>
                    <a:cubicBezTo>
                      <a:pt x="439" y="272"/>
                      <a:pt x="439" y="277"/>
                      <a:pt x="439" y="278"/>
                    </a:cubicBezTo>
                    <a:cubicBezTo>
                      <a:pt x="439" y="278"/>
                      <a:pt x="440" y="277"/>
                      <a:pt x="440" y="278"/>
                    </a:cubicBezTo>
                    <a:cubicBezTo>
                      <a:pt x="441" y="278"/>
                      <a:pt x="443" y="280"/>
                      <a:pt x="444" y="282"/>
                    </a:cubicBezTo>
                    <a:cubicBezTo>
                      <a:pt x="445" y="282"/>
                      <a:pt x="448" y="285"/>
                      <a:pt x="447" y="285"/>
                    </a:cubicBezTo>
                    <a:cubicBezTo>
                      <a:pt x="447" y="285"/>
                      <a:pt x="446" y="285"/>
                      <a:pt x="446" y="285"/>
                    </a:cubicBezTo>
                    <a:cubicBezTo>
                      <a:pt x="446" y="285"/>
                      <a:pt x="446" y="286"/>
                      <a:pt x="446" y="286"/>
                    </a:cubicBezTo>
                    <a:cubicBezTo>
                      <a:pt x="446" y="286"/>
                      <a:pt x="447" y="286"/>
                      <a:pt x="447" y="286"/>
                    </a:cubicBezTo>
                    <a:cubicBezTo>
                      <a:pt x="448" y="286"/>
                      <a:pt x="448" y="286"/>
                      <a:pt x="448" y="286"/>
                    </a:cubicBezTo>
                    <a:cubicBezTo>
                      <a:pt x="448" y="286"/>
                      <a:pt x="449" y="286"/>
                      <a:pt x="449" y="286"/>
                    </a:cubicBezTo>
                    <a:cubicBezTo>
                      <a:pt x="450" y="286"/>
                      <a:pt x="450" y="286"/>
                      <a:pt x="450" y="286"/>
                    </a:cubicBezTo>
                    <a:cubicBezTo>
                      <a:pt x="451" y="285"/>
                      <a:pt x="451" y="285"/>
                      <a:pt x="452" y="286"/>
                    </a:cubicBezTo>
                    <a:cubicBezTo>
                      <a:pt x="452" y="286"/>
                      <a:pt x="452" y="285"/>
                      <a:pt x="452" y="285"/>
                    </a:cubicBezTo>
                    <a:cubicBezTo>
                      <a:pt x="452" y="285"/>
                      <a:pt x="452" y="285"/>
                      <a:pt x="453" y="286"/>
                    </a:cubicBezTo>
                    <a:cubicBezTo>
                      <a:pt x="452" y="285"/>
                      <a:pt x="452" y="285"/>
                      <a:pt x="453" y="285"/>
                    </a:cubicBezTo>
                    <a:cubicBezTo>
                      <a:pt x="453" y="283"/>
                      <a:pt x="454" y="282"/>
                      <a:pt x="455" y="281"/>
                    </a:cubicBezTo>
                    <a:cubicBezTo>
                      <a:pt x="456" y="277"/>
                      <a:pt x="456" y="274"/>
                      <a:pt x="456" y="270"/>
                    </a:cubicBezTo>
                    <a:cubicBezTo>
                      <a:pt x="456" y="267"/>
                      <a:pt x="456" y="264"/>
                      <a:pt x="454" y="263"/>
                    </a:cubicBezTo>
                    <a:cubicBezTo>
                      <a:pt x="454" y="263"/>
                      <a:pt x="454" y="263"/>
                      <a:pt x="455" y="264"/>
                    </a:cubicBezTo>
                    <a:cubicBezTo>
                      <a:pt x="454" y="262"/>
                      <a:pt x="453" y="260"/>
                      <a:pt x="453" y="258"/>
                    </a:cubicBezTo>
                    <a:cubicBezTo>
                      <a:pt x="452" y="256"/>
                      <a:pt x="451" y="255"/>
                      <a:pt x="450" y="253"/>
                    </a:cubicBezTo>
                    <a:cubicBezTo>
                      <a:pt x="449" y="251"/>
                      <a:pt x="449" y="248"/>
                      <a:pt x="448" y="246"/>
                    </a:cubicBezTo>
                    <a:cubicBezTo>
                      <a:pt x="449" y="246"/>
                      <a:pt x="449" y="249"/>
                      <a:pt x="450" y="248"/>
                    </a:cubicBezTo>
                    <a:cubicBezTo>
                      <a:pt x="450" y="250"/>
                      <a:pt x="450" y="251"/>
                      <a:pt x="450" y="253"/>
                    </a:cubicBezTo>
                    <a:cubicBezTo>
                      <a:pt x="452" y="249"/>
                      <a:pt x="451" y="248"/>
                      <a:pt x="449" y="246"/>
                    </a:cubicBezTo>
                    <a:cubicBezTo>
                      <a:pt x="448" y="244"/>
                      <a:pt x="447" y="243"/>
                      <a:pt x="447" y="241"/>
                    </a:cubicBezTo>
                    <a:cubicBezTo>
                      <a:pt x="446" y="240"/>
                      <a:pt x="445" y="239"/>
                      <a:pt x="445" y="238"/>
                    </a:cubicBezTo>
                    <a:cubicBezTo>
                      <a:pt x="444" y="236"/>
                      <a:pt x="444" y="234"/>
                      <a:pt x="443" y="232"/>
                    </a:cubicBezTo>
                    <a:cubicBezTo>
                      <a:pt x="443" y="230"/>
                      <a:pt x="442" y="228"/>
                      <a:pt x="441" y="226"/>
                    </a:cubicBezTo>
                    <a:cubicBezTo>
                      <a:pt x="441" y="224"/>
                      <a:pt x="441" y="221"/>
                      <a:pt x="442" y="220"/>
                    </a:cubicBezTo>
                    <a:cubicBezTo>
                      <a:pt x="442" y="219"/>
                      <a:pt x="442" y="219"/>
                      <a:pt x="442" y="219"/>
                    </a:cubicBezTo>
                    <a:cubicBezTo>
                      <a:pt x="445" y="218"/>
                      <a:pt x="443" y="218"/>
                      <a:pt x="442" y="217"/>
                    </a:cubicBezTo>
                    <a:cubicBezTo>
                      <a:pt x="442" y="217"/>
                      <a:pt x="442" y="218"/>
                      <a:pt x="443" y="218"/>
                    </a:cubicBezTo>
                    <a:cubicBezTo>
                      <a:pt x="443" y="217"/>
                      <a:pt x="443" y="217"/>
                      <a:pt x="443" y="216"/>
                    </a:cubicBezTo>
                    <a:cubicBezTo>
                      <a:pt x="444" y="216"/>
                      <a:pt x="444" y="216"/>
                      <a:pt x="445" y="215"/>
                    </a:cubicBezTo>
                    <a:cubicBezTo>
                      <a:pt x="444" y="216"/>
                      <a:pt x="444" y="216"/>
                      <a:pt x="444" y="216"/>
                    </a:cubicBezTo>
                    <a:cubicBezTo>
                      <a:pt x="444" y="215"/>
                      <a:pt x="444" y="213"/>
                      <a:pt x="444" y="213"/>
                    </a:cubicBezTo>
                    <a:cubicBezTo>
                      <a:pt x="444" y="213"/>
                      <a:pt x="445" y="213"/>
                      <a:pt x="445" y="213"/>
                    </a:cubicBezTo>
                    <a:cubicBezTo>
                      <a:pt x="446" y="213"/>
                      <a:pt x="447" y="211"/>
                      <a:pt x="447" y="211"/>
                    </a:cubicBezTo>
                    <a:cubicBezTo>
                      <a:pt x="448" y="210"/>
                      <a:pt x="450" y="208"/>
                      <a:pt x="450" y="207"/>
                    </a:cubicBezTo>
                    <a:cubicBezTo>
                      <a:pt x="450" y="207"/>
                      <a:pt x="449" y="207"/>
                      <a:pt x="449" y="207"/>
                    </a:cubicBezTo>
                    <a:cubicBezTo>
                      <a:pt x="449" y="206"/>
                      <a:pt x="448" y="205"/>
                      <a:pt x="448" y="204"/>
                    </a:cubicBezTo>
                    <a:cubicBezTo>
                      <a:pt x="448" y="204"/>
                      <a:pt x="449" y="204"/>
                      <a:pt x="449" y="204"/>
                    </a:cubicBezTo>
                    <a:cubicBezTo>
                      <a:pt x="448" y="206"/>
                      <a:pt x="451" y="204"/>
                      <a:pt x="450" y="206"/>
                    </a:cubicBezTo>
                    <a:cubicBezTo>
                      <a:pt x="450" y="206"/>
                      <a:pt x="450" y="206"/>
                      <a:pt x="450" y="206"/>
                    </a:cubicBezTo>
                    <a:cubicBezTo>
                      <a:pt x="450" y="206"/>
                      <a:pt x="450" y="206"/>
                      <a:pt x="450" y="206"/>
                    </a:cubicBezTo>
                    <a:cubicBezTo>
                      <a:pt x="451" y="206"/>
                      <a:pt x="452" y="206"/>
                      <a:pt x="452" y="205"/>
                    </a:cubicBezTo>
                    <a:cubicBezTo>
                      <a:pt x="452" y="206"/>
                      <a:pt x="452" y="206"/>
                      <a:pt x="452" y="206"/>
                    </a:cubicBezTo>
                    <a:cubicBezTo>
                      <a:pt x="452" y="204"/>
                      <a:pt x="451" y="205"/>
                      <a:pt x="450" y="204"/>
                    </a:cubicBezTo>
                    <a:cubicBezTo>
                      <a:pt x="450" y="204"/>
                      <a:pt x="451" y="204"/>
                      <a:pt x="451" y="204"/>
                    </a:cubicBezTo>
                    <a:cubicBezTo>
                      <a:pt x="452" y="204"/>
                      <a:pt x="452" y="204"/>
                      <a:pt x="452" y="204"/>
                    </a:cubicBezTo>
                    <a:cubicBezTo>
                      <a:pt x="453" y="204"/>
                      <a:pt x="454" y="203"/>
                      <a:pt x="454" y="203"/>
                    </a:cubicBezTo>
                    <a:cubicBezTo>
                      <a:pt x="454" y="203"/>
                      <a:pt x="456" y="203"/>
                      <a:pt x="456" y="203"/>
                    </a:cubicBezTo>
                    <a:cubicBezTo>
                      <a:pt x="457" y="203"/>
                      <a:pt x="457" y="203"/>
                      <a:pt x="457" y="202"/>
                    </a:cubicBezTo>
                    <a:cubicBezTo>
                      <a:pt x="457" y="203"/>
                      <a:pt x="457" y="203"/>
                      <a:pt x="457" y="203"/>
                    </a:cubicBezTo>
                    <a:cubicBezTo>
                      <a:pt x="457" y="202"/>
                      <a:pt x="457" y="201"/>
                      <a:pt x="457" y="200"/>
                    </a:cubicBezTo>
                    <a:cubicBezTo>
                      <a:pt x="458" y="201"/>
                      <a:pt x="458" y="201"/>
                      <a:pt x="459" y="201"/>
                    </a:cubicBezTo>
                    <a:cubicBezTo>
                      <a:pt x="460" y="201"/>
                      <a:pt x="461" y="199"/>
                      <a:pt x="462" y="199"/>
                    </a:cubicBezTo>
                    <a:cubicBezTo>
                      <a:pt x="463" y="198"/>
                      <a:pt x="466" y="197"/>
                      <a:pt x="465" y="196"/>
                    </a:cubicBezTo>
                    <a:cubicBezTo>
                      <a:pt x="464" y="196"/>
                      <a:pt x="464" y="195"/>
                      <a:pt x="464" y="195"/>
                    </a:cubicBezTo>
                    <a:cubicBezTo>
                      <a:pt x="465" y="195"/>
                      <a:pt x="465" y="196"/>
                      <a:pt x="465" y="196"/>
                    </a:cubicBezTo>
                    <a:cubicBezTo>
                      <a:pt x="466" y="194"/>
                      <a:pt x="466" y="193"/>
                      <a:pt x="467" y="192"/>
                    </a:cubicBezTo>
                    <a:cubicBezTo>
                      <a:pt x="469" y="191"/>
                      <a:pt x="470" y="190"/>
                      <a:pt x="471" y="189"/>
                    </a:cubicBezTo>
                    <a:cubicBezTo>
                      <a:pt x="472" y="188"/>
                      <a:pt x="475" y="189"/>
                      <a:pt x="476" y="189"/>
                    </a:cubicBezTo>
                    <a:cubicBezTo>
                      <a:pt x="478" y="188"/>
                      <a:pt x="478" y="187"/>
                      <a:pt x="478" y="185"/>
                    </a:cubicBezTo>
                    <a:cubicBezTo>
                      <a:pt x="478" y="186"/>
                      <a:pt x="478" y="187"/>
                      <a:pt x="478" y="188"/>
                    </a:cubicBezTo>
                    <a:cubicBezTo>
                      <a:pt x="478" y="187"/>
                      <a:pt x="478" y="187"/>
                      <a:pt x="478" y="186"/>
                    </a:cubicBezTo>
                    <a:cubicBezTo>
                      <a:pt x="479" y="184"/>
                      <a:pt x="481" y="183"/>
                      <a:pt x="483" y="182"/>
                    </a:cubicBezTo>
                    <a:cubicBezTo>
                      <a:pt x="483" y="182"/>
                      <a:pt x="483" y="182"/>
                      <a:pt x="483" y="182"/>
                    </a:cubicBezTo>
                    <a:cubicBezTo>
                      <a:pt x="483" y="182"/>
                      <a:pt x="483" y="182"/>
                      <a:pt x="483" y="181"/>
                    </a:cubicBezTo>
                    <a:cubicBezTo>
                      <a:pt x="483" y="182"/>
                      <a:pt x="483" y="182"/>
                      <a:pt x="483" y="182"/>
                    </a:cubicBezTo>
                    <a:cubicBezTo>
                      <a:pt x="483" y="181"/>
                      <a:pt x="484" y="181"/>
                      <a:pt x="483" y="181"/>
                    </a:cubicBezTo>
                    <a:cubicBezTo>
                      <a:pt x="484" y="180"/>
                      <a:pt x="483" y="179"/>
                      <a:pt x="483" y="179"/>
                    </a:cubicBezTo>
                    <a:cubicBezTo>
                      <a:pt x="483" y="179"/>
                      <a:pt x="484" y="179"/>
                      <a:pt x="484" y="179"/>
                    </a:cubicBezTo>
                    <a:cubicBezTo>
                      <a:pt x="484" y="179"/>
                      <a:pt x="485" y="179"/>
                      <a:pt x="486" y="179"/>
                    </a:cubicBezTo>
                    <a:cubicBezTo>
                      <a:pt x="487" y="179"/>
                      <a:pt x="486" y="179"/>
                      <a:pt x="487" y="179"/>
                    </a:cubicBezTo>
                    <a:cubicBezTo>
                      <a:pt x="488" y="179"/>
                      <a:pt x="489" y="179"/>
                      <a:pt x="490" y="178"/>
                    </a:cubicBezTo>
                    <a:cubicBezTo>
                      <a:pt x="491" y="178"/>
                      <a:pt x="494" y="178"/>
                      <a:pt x="495" y="176"/>
                    </a:cubicBezTo>
                    <a:cubicBezTo>
                      <a:pt x="495" y="176"/>
                      <a:pt x="493" y="176"/>
                      <a:pt x="493" y="177"/>
                    </a:cubicBezTo>
                    <a:cubicBezTo>
                      <a:pt x="494" y="175"/>
                      <a:pt x="492" y="176"/>
                      <a:pt x="492" y="176"/>
                    </a:cubicBezTo>
                    <a:cubicBezTo>
                      <a:pt x="492" y="176"/>
                      <a:pt x="491" y="176"/>
                      <a:pt x="491" y="176"/>
                    </a:cubicBezTo>
                    <a:cubicBezTo>
                      <a:pt x="491" y="176"/>
                      <a:pt x="490" y="177"/>
                      <a:pt x="490" y="177"/>
                    </a:cubicBezTo>
                    <a:cubicBezTo>
                      <a:pt x="489" y="177"/>
                      <a:pt x="487" y="175"/>
                      <a:pt x="487" y="174"/>
                    </a:cubicBezTo>
                    <a:cubicBezTo>
                      <a:pt x="487" y="174"/>
                      <a:pt x="487" y="174"/>
                      <a:pt x="487" y="174"/>
                    </a:cubicBezTo>
                    <a:cubicBezTo>
                      <a:pt x="488" y="175"/>
                      <a:pt x="488" y="175"/>
                      <a:pt x="489" y="175"/>
                    </a:cubicBezTo>
                    <a:cubicBezTo>
                      <a:pt x="491" y="175"/>
                      <a:pt x="494" y="173"/>
                      <a:pt x="492" y="172"/>
                    </a:cubicBezTo>
                    <a:cubicBezTo>
                      <a:pt x="490" y="171"/>
                      <a:pt x="488" y="171"/>
                      <a:pt x="487" y="170"/>
                    </a:cubicBezTo>
                    <a:cubicBezTo>
                      <a:pt x="488" y="171"/>
                      <a:pt x="490" y="171"/>
                      <a:pt x="492" y="171"/>
                    </a:cubicBezTo>
                    <a:cubicBezTo>
                      <a:pt x="492" y="171"/>
                      <a:pt x="491" y="170"/>
                      <a:pt x="492" y="169"/>
                    </a:cubicBezTo>
                    <a:cubicBezTo>
                      <a:pt x="492" y="169"/>
                      <a:pt x="492" y="170"/>
                      <a:pt x="492" y="170"/>
                    </a:cubicBezTo>
                    <a:cubicBezTo>
                      <a:pt x="492" y="170"/>
                      <a:pt x="492" y="171"/>
                      <a:pt x="492" y="171"/>
                    </a:cubicBezTo>
                    <a:cubicBezTo>
                      <a:pt x="493" y="170"/>
                      <a:pt x="494" y="170"/>
                      <a:pt x="494" y="171"/>
                    </a:cubicBezTo>
                    <a:cubicBezTo>
                      <a:pt x="496" y="171"/>
                      <a:pt x="501" y="169"/>
                      <a:pt x="500" y="166"/>
                    </a:cubicBezTo>
                    <a:cubicBezTo>
                      <a:pt x="500" y="165"/>
                      <a:pt x="500" y="165"/>
                      <a:pt x="498" y="165"/>
                    </a:cubicBezTo>
                    <a:cubicBezTo>
                      <a:pt x="497" y="165"/>
                      <a:pt x="498" y="167"/>
                      <a:pt x="497" y="168"/>
                    </a:cubicBezTo>
                    <a:cubicBezTo>
                      <a:pt x="497" y="167"/>
                      <a:pt x="497" y="166"/>
                      <a:pt x="497" y="165"/>
                    </a:cubicBezTo>
                    <a:cubicBezTo>
                      <a:pt x="497" y="165"/>
                      <a:pt x="497" y="165"/>
                      <a:pt x="497" y="165"/>
                    </a:cubicBezTo>
                    <a:cubicBezTo>
                      <a:pt x="498" y="164"/>
                      <a:pt x="496" y="164"/>
                      <a:pt x="496" y="164"/>
                    </a:cubicBezTo>
                    <a:cubicBezTo>
                      <a:pt x="495" y="164"/>
                      <a:pt x="495" y="165"/>
                      <a:pt x="495" y="165"/>
                    </a:cubicBezTo>
                    <a:cubicBezTo>
                      <a:pt x="494" y="165"/>
                      <a:pt x="494" y="165"/>
                      <a:pt x="494" y="165"/>
                    </a:cubicBezTo>
                    <a:cubicBezTo>
                      <a:pt x="494" y="164"/>
                      <a:pt x="491" y="165"/>
                      <a:pt x="490" y="165"/>
                    </a:cubicBezTo>
                    <a:cubicBezTo>
                      <a:pt x="491" y="164"/>
                      <a:pt x="490" y="164"/>
                      <a:pt x="490" y="163"/>
                    </a:cubicBezTo>
                    <a:cubicBezTo>
                      <a:pt x="490" y="162"/>
                      <a:pt x="490" y="160"/>
                      <a:pt x="491" y="161"/>
                    </a:cubicBezTo>
                    <a:cubicBezTo>
                      <a:pt x="491" y="161"/>
                      <a:pt x="490" y="161"/>
                      <a:pt x="490" y="162"/>
                    </a:cubicBezTo>
                    <a:cubicBezTo>
                      <a:pt x="490" y="164"/>
                      <a:pt x="492" y="164"/>
                      <a:pt x="494" y="163"/>
                    </a:cubicBezTo>
                    <a:cubicBezTo>
                      <a:pt x="494" y="163"/>
                      <a:pt x="493" y="162"/>
                      <a:pt x="493" y="162"/>
                    </a:cubicBezTo>
                    <a:cubicBezTo>
                      <a:pt x="494" y="162"/>
                      <a:pt x="494" y="163"/>
                      <a:pt x="496" y="163"/>
                    </a:cubicBezTo>
                    <a:cubicBezTo>
                      <a:pt x="495" y="163"/>
                      <a:pt x="495" y="162"/>
                      <a:pt x="495" y="162"/>
                    </a:cubicBezTo>
                    <a:cubicBezTo>
                      <a:pt x="495" y="162"/>
                      <a:pt x="496" y="162"/>
                      <a:pt x="497" y="162"/>
                    </a:cubicBezTo>
                    <a:cubicBezTo>
                      <a:pt x="497" y="162"/>
                      <a:pt x="496" y="161"/>
                      <a:pt x="496" y="160"/>
                    </a:cubicBezTo>
                    <a:cubicBezTo>
                      <a:pt x="496" y="160"/>
                      <a:pt x="496" y="160"/>
                      <a:pt x="496" y="160"/>
                    </a:cubicBezTo>
                    <a:cubicBezTo>
                      <a:pt x="496" y="161"/>
                      <a:pt x="498" y="162"/>
                      <a:pt x="499" y="162"/>
                    </a:cubicBezTo>
                    <a:cubicBezTo>
                      <a:pt x="498" y="162"/>
                      <a:pt x="498" y="161"/>
                      <a:pt x="498" y="160"/>
                    </a:cubicBezTo>
                    <a:cubicBezTo>
                      <a:pt x="499" y="161"/>
                      <a:pt x="499" y="163"/>
                      <a:pt x="500" y="163"/>
                    </a:cubicBezTo>
                    <a:cubicBezTo>
                      <a:pt x="499" y="161"/>
                      <a:pt x="498" y="160"/>
                      <a:pt x="497" y="158"/>
                    </a:cubicBezTo>
                    <a:cubicBezTo>
                      <a:pt x="498" y="158"/>
                      <a:pt x="498" y="157"/>
                      <a:pt x="498" y="156"/>
                    </a:cubicBezTo>
                    <a:cubicBezTo>
                      <a:pt x="499" y="157"/>
                      <a:pt x="499" y="158"/>
                      <a:pt x="499" y="159"/>
                    </a:cubicBezTo>
                    <a:cubicBezTo>
                      <a:pt x="499" y="158"/>
                      <a:pt x="499" y="154"/>
                      <a:pt x="498" y="153"/>
                    </a:cubicBezTo>
                    <a:cubicBezTo>
                      <a:pt x="497" y="153"/>
                      <a:pt x="496" y="153"/>
                      <a:pt x="496" y="153"/>
                    </a:cubicBezTo>
                    <a:cubicBezTo>
                      <a:pt x="495" y="153"/>
                      <a:pt x="495" y="153"/>
                      <a:pt x="494" y="153"/>
                    </a:cubicBezTo>
                    <a:cubicBezTo>
                      <a:pt x="495" y="153"/>
                      <a:pt x="494" y="154"/>
                      <a:pt x="494" y="154"/>
                    </a:cubicBezTo>
                    <a:cubicBezTo>
                      <a:pt x="494" y="154"/>
                      <a:pt x="493" y="154"/>
                      <a:pt x="492" y="154"/>
                    </a:cubicBezTo>
                    <a:cubicBezTo>
                      <a:pt x="493" y="153"/>
                      <a:pt x="491" y="151"/>
                      <a:pt x="491" y="150"/>
                    </a:cubicBezTo>
                    <a:cubicBezTo>
                      <a:pt x="491" y="151"/>
                      <a:pt x="492" y="151"/>
                      <a:pt x="492" y="152"/>
                    </a:cubicBezTo>
                    <a:cubicBezTo>
                      <a:pt x="493" y="152"/>
                      <a:pt x="493" y="153"/>
                      <a:pt x="494" y="152"/>
                    </a:cubicBezTo>
                    <a:cubicBezTo>
                      <a:pt x="494" y="151"/>
                      <a:pt x="494" y="150"/>
                      <a:pt x="493" y="149"/>
                    </a:cubicBezTo>
                    <a:cubicBezTo>
                      <a:pt x="493" y="149"/>
                      <a:pt x="493" y="149"/>
                      <a:pt x="493" y="149"/>
                    </a:cubicBezTo>
                    <a:cubicBezTo>
                      <a:pt x="493" y="149"/>
                      <a:pt x="493" y="149"/>
                      <a:pt x="493" y="149"/>
                    </a:cubicBezTo>
                    <a:cubicBezTo>
                      <a:pt x="493" y="149"/>
                      <a:pt x="493" y="149"/>
                      <a:pt x="493" y="149"/>
                    </a:cubicBezTo>
                    <a:cubicBezTo>
                      <a:pt x="493" y="149"/>
                      <a:pt x="493" y="149"/>
                      <a:pt x="493" y="149"/>
                    </a:cubicBezTo>
                    <a:cubicBezTo>
                      <a:pt x="493" y="149"/>
                      <a:pt x="494" y="149"/>
                      <a:pt x="494" y="149"/>
                    </a:cubicBezTo>
                    <a:cubicBezTo>
                      <a:pt x="495" y="149"/>
                      <a:pt x="495" y="149"/>
                      <a:pt x="495" y="148"/>
                    </a:cubicBezTo>
                    <a:cubicBezTo>
                      <a:pt x="496" y="147"/>
                      <a:pt x="494" y="146"/>
                      <a:pt x="493" y="145"/>
                    </a:cubicBezTo>
                    <a:cubicBezTo>
                      <a:pt x="493" y="145"/>
                      <a:pt x="493" y="145"/>
                      <a:pt x="493" y="145"/>
                    </a:cubicBezTo>
                    <a:cubicBezTo>
                      <a:pt x="493" y="143"/>
                      <a:pt x="493" y="145"/>
                      <a:pt x="493" y="145"/>
                    </a:cubicBezTo>
                    <a:cubicBezTo>
                      <a:pt x="493" y="145"/>
                      <a:pt x="493" y="145"/>
                      <a:pt x="493" y="145"/>
                    </a:cubicBezTo>
                    <a:cubicBezTo>
                      <a:pt x="494" y="145"/>
                      <a:pt x="495" y="143"/>
                      <a:pt x="495" y="143"/>
                    </a:cubicBezTo>
                    <a:cubicBezTo>
                      <a:pt x="495" y="142"/>
                      <a:pt x="495" y="142"/>
                      <a:pt x="495" y="141"/>
                    </a:cubicBezTo>
                    <a:cubicBezTo>
                      <a:pt x="494" y="140"/>
                      <a:pt x="491" y="139"/>
                      <a:pt x="490" y="139"/>
                    </a:cubicBezTo>
                    <a:cubicBezTo>
                      <a:pt x="490" y="139"/>
                      <a:pt x="488" y="139"/>
                      <a:pt x="488" y="138"/>
                    </a:cubicBezTo>
                    <a:cubicBezTo>
                      <a:pt x="487" y="138"/>
                      <a:pt x="487" y="137"/>
                      <a:pt x="487" y="137"/>
                    </a:cubicBezTo>
                    <a:cubicBezTo>
                      <a:pt x="486" y="136"/>
                      <a:pt x="486" y="137"/>
                      <a:pt x="486" y="136"/>
                    </a:cubicBezTo>
                    <a:cubicBezTo>
                      <a:pt x="485" y="136"/>
                      <a:pt x="485" y="137"/>
                      <a:pt x="484" y="137"/>
                    </a:cubicBezTo>
                    <a:cubicBezTo>
                      <a:pt x="484" y="136"/>
                      <a:pt x="484" y="137"/>
                      <a:pt x="484" y="137"/>
                    </a:cubicBezTo>
                    <a:cubicBezTo>
                      <a:pt x="485" y="134"/>
                      <a:pt x="487" y="132"/>
                      <a:pt x="487" y="130"/>
                    </a:cubicBezTo>
                    <a:cubicBezTo>
                      <a:pt x="488" y="132"/>
                      <a:pt x="486" y="133"/>
                      <a:pt x="485" y="135"/>
                    </a:cubicBezTo>
                    <a:cubicBezTo>
                      <a:pt x="485" y="135"/>
                      <a:pt x="485" y="136"/>
                      <a:pt x="485" y="136"/>
                    </a:cubicBezTo>
                    <a:cubicBezTo>
                      <a:pt x="486" y="137"/>
                      <a:pt x="486" y="136"/>
                      <a:pt x="486" y="135"/>
                    </a:cubicBezTo>
                    <a:cubicBezTo>
                      <a:pt x="486" y="136"/>
                      <a:pt x="487" y="136"/>
                      <a:pt x="487" y="135"/>
                    </a:cubicBezTo>
                    <a:cubicBezTo>
                      <a:pt x="487" y="135"/>
                      <a:pt x="488" y="137"/>
                      <a:pt x="488" y="137"/>
                    </a:cubicBezTo>
                    <a:cubicBezTo>
                      <a:pt x="489" y="137"/>
                      <a:pt x="489" y="136"/>
                      <a:pt x="489" y="136"/>
                    </a:cubicBezTo>
                    <a:cubicBezTo>
                      <a:pt x="490" y="137"/>
                      <a:pt x="491" y="137"/>
                      <a:pt x="491" y="138"/>
                    </a:cubicBezTo>
                    <a:cubicBezTo>
                      <a:pt x="492" y="138"/>
                      <a:pt x="493" y="139"/>
                      <a:pt x="494" y="140"/>
                    </a:cubicBezTo>
                    <a:cubicBezTo>
                      <a:pt x="494" y="139"/>
                      <a:pt x="494" y="139"/>
                      <a:pt x="494" y="138"/>
                    </a:cubicBezTo>
                    <a:cubicBezTo>
                      <a:pt x="494" y="138"/>
                      <a:pt x="494" y="137"/>
                      <a:pt x="494" y="137"/>
                    </a:cubicBezTo>
                    <a:cubicBezTo>
                      <a:pt x="494" y="137"/>
                      <a:pt x="493" y="137"/>
                      <a:pt x="493" y="137"/>
                    </a:cubicBezTo>
                    <a:cubicBezTo>
                      <a:pt x="491" y="136"/>
                      <a:pt x="491" y="135"/>
                      <a:pt x="491" y="133"/>
                    </a:cubicBezTo>
                    <a:cubicBezTo>
                      <a:pt x="491" y="135"/>
                      <a:pt x="491" y="135"/>
                      <a:pt x="494" y="136"/>
                    </a:cubicBezTo>
                    <a:cubicBezTo>
                      <a:pt x="493" y="135"/>
                      <a:pt x="493" y="135"/>
                      <a:pt x="492" y="134"/>
                    </a:cubicBezTo>
                    <a:cubicBezTo>
                      <a:pt x="492" y="133"/>
                      <a:pt x="492" y="132"/>
                      <a:pt x="492" y="132"/>
                    </a:cubicBezTo>
                    <a:cubicBezTo>
                      <a:pt x="493" y="129"/>
                      <a:pt x="493" y="130"/>
                      <a:pt x="492" y="128"/>
                    </a:cubicBezTo>
                    <a:cubicBezTo>
                      <a:pt x="492" y="128"/>
                      <a:pt x="493" y="129"/>
                      <a:pt x="493" y="129"/>
                    </a:cubicBezTo>
                    <a:cubicBezTo>
                      <a:pt x="493" y="128"/>
                      <a:pt x="492" y="127"/>
                      <a:pt x="491" y="126"/>
                    </a:cubicBezTo>
                    <a:cubicBezTo>
                      <a:pt x="493" y="126"/>
                      <a:pt x="493" y="125"/>
                      <a:pt x="494" y="124"/>
                    </a:cubicBezTo>
                    <a:cubicBezTo>
                      <a:pt x="494" y="124"/>
                      <a:pt x="494" y="124"/>
                      <a:pt x="495" y="123"/>
                    </a:cubicBezTo>
                    <a:cubicBezTo>
                      <a:pt x="495" y="123"/>
                      <a:pt x="495" y="123"/>
                      <a:pt x="495" y="124"/>
                    </a:cubicBezTo>
                    <a:cubicBezTo>
                      <a:pt x="496" y="123"/>
                      <a:pt x="497" y="122"/>
                      <a:pt x="498" y="122"/>
                    </a:cubicBezTo>
                    <a:cubicBezTo>
                      <a:pt x="500" y="122"/>
                      <a:pt x="498" y="122"/>
                      <a:pt x="499" y="123"/>
                    </a:cubicBezTo>
                    <a:cubicBezTo>
                      <a:pt x="499" y="123"/>
                      <a:pt x="498" y="123"/>
                      <a:pt x="498" y="124"/>
                    </a:cubicBezTo>
                    <a:cubicBezTo>
                      <a:pt x="497" y="124"/>
                      <a:pt x="499" y="124"/>
                      <a:pt x="499" y="124"/>
                    </a:cubicBezTo>
                    <a:cubicBezTo>
                      <a:pt x="498" y="124"/>
                      <a:pt x="497" y="124"/>
                      <a:pt x="496" y="125"/>
                    </a:cubicBezTo>
                    <a:cubicBezTo>
                      <a:pt x="495" y="126"/>
                      <a:pt x="495" y="126"/>
                      <a:pt x="495" y="127"/>
                    </a:cubicBezTo>
                    <a:cubicBezTo>
                      <a:pt x="496" y="127"/>
                      <a:pt x="496" y="127"/>
                      <a:pt x="497" y="127"/>
                    </a:cubicBezTo>
                    <a:cubicBezTo>
                      <a:pt x="496" y="127"/>
                      <a:pt x="496" y="128"/>
                      <a:pt x="496" y="129"/>
                    </a:cubicBezTo>
                    <a:cubicBezTo>
                      <a:pt x="496" y="129"/>
                      <a:pt x="495" y="128"/>
                      <a:pt x="494" y="129"/>
                    </a:cubicBezTo>
                    <a:cubicBezTo>
                      <a:pt x="494" y="129"/>
                      <a:pt x="494" y="130"/>
                      <a:pt x="494" y="131"/>
                    </a:cubicBezTo>
                    <a:cubicBezTo>
                      <a:pt x="494" y="130"/>
                      <a:pt x="495" y="129"/>
                      <a:pt x="495" y="129"/>
                    </a:cubicBezTo>
                    <a:cubicBezTo>
                      <a:pt x="495" y="129"/>
                      <a:pt x="497" y="131"/>
                      <a:pt x="496" y="131"/>
                    </a:cubicBezTo>
                    <a:cubicBezTo>
                      <a:pt x="496" y="132"/>
                      <a:pt x="495" y="132"/>
                      <a:pt x="495" y="132"/>
                    </a:cubicBezTo>
                    <a:cubicBezTo>
                      <a:pt x="496" y="133"/>
                      <a:pt x="497" y="133"/>
                      <a:pt x="498" y="134"/>
                    </a:cubicBezTo>
                    <a:cubicBezTo>
                      <a:pt x="497" y="134"/>
                      <a:pt x="497" y="134"/>
                      <a:pt x="496" y="134"/>
                    </a:cubicBezTo>
                    <a:cubicBezTo>
                      <a:pt x="496" y="133"/>
                      <a:pt x="496" y="133"/>
                      <a:pt x="495" y="134"/>
                    </a:cubicBezTo>
                    <a:cubicBezTo>
                      <a:pt x="494" y="134"/>
                      <a:pt x="496" y="134"/>
                      <a:pt x="496" y="134"/>
                    </a:cubicBezTo>
                    <a:cubicBezTo>
                      <a:pt x="496" y="134"/>
                      <a:pt x="494" y="135"/>
                      <a:pt x="494" y="135"/>
                    </a:cubicBezTo>
                    <a:cubicBezTo>
                      <a:pt x="495" y="136"/>
                      <a:pt x="495" y="136"/>
                      <a:pt x="495" y="137"/>
                    </a:cubicBezTo>
                    <a:cubicBezTo>
                      <a:pt x="495" y="137"/>
                      <a:pt x="495" y="136"/>
                      <a:pt x="495" y="136"/>
                    </a:cubicBezTo>
                    <a:cubicBezTo>
                      <a:pt x="496" y="136"/>
                      <a:pt x="498" y="139"/>
                      <a:pt x="497" y="137"/>
                    </a:cubicBezTo>
                    <a:cubicBezTo>
                      <a:pt x="498" y="137"/>
                      <a:pt x="498" y="137"/>
                      <a:pt x="498" y="138"/>
                    </a:cubicBezTo>
                    <a:cubicBezTo>
                      <a:pt x="498" y="137"/>
                      <a:pt x="499" y="136"/>
                      <a:pt x="499" y="136"/>
                    </a:cubicBezTo>
                    <a:cubicBezTo>
                      <a:pt x="499" y="137"/>
                      <a:pt x="500" y="137"/>
                      <a:pt x="499" y="138"/>
                    </a:cubicBezTo>
                    <a:cubicBezTo>
                      <a:pt x="499" y="138"/>
                      <a:pt x="499" y="139"/>
                      <a:pt x="498" y="139"/>
                    </a:cubicBezTo>
                    <a:cubicBezTo>
                      <a:pt x="499" y="139"/>
                      <a:pt x="499" y="140"/>
                      <a:pt x="500" y="139"/>
                    </a:cubicBezTo>
                    <a:cubicBezTo>
                      <a:pt x="500" y="140"/>
                      <a:pt x="499" y="141"/>
                      <a:pt x="499" y="141"/>
                    </a:cubicBezTo>
                    <a:cubicBezTo>
                      <a:pt x="499" y="141"/>
                      <a:pt x="501" y="141"/>
                      <a:pt x="501" y="141"/>
                    </a:cubicBezTo>
                    <a:cubicBezTo>
                      <a:pt x="500" y="144"/>
                      <a:pt x="498" y="146"/>
                      <a:pt x="498" y="149"/>
                    </a:cubicBezTo>
                    <a:cubicBezTo>
                      <a:pt x="497" y="149"/>
                      <a:pt x="498" y="151"/>
                      <a:pt x="499" y="150"/>
                    </a:cubicBezTo>
                    <a:cubicBezTo>
                      <a:pt x="499" y="150"/>
                      <a:pt x="499" y="149"/>
                      <a:pt x="499" y="148"/>
                    </a:cubicBezTo>
                    <a:cubicBezTo>
                      <a:pt x="500" y="147"/>
                      <a:pt x="501" y="147"/>
                      <a:pt x="502" y="146"/>
                    </a:cubicBezTo>
                    <a:cubicBezTo>
                      <a:pt x="502" y="146"/>
                      <a:pt x="502" y="145"/>
                      <a:pt x="502" y="145"/>
                    </a:cubicBezTo>
                    <a:cubicBezTo>
                      <a:pt x="502" y="144"/>
                      <a:pt x="503" y="143"/>
                      <a:pt x="503" y="143"/>
                    </a:cubicBezTo>
                    <a:cubicBezTo>
                      <a:pt x="503" y="142"/>
                      <a:pt x="504" y="140"/>
                      <a:pt x="505" y="139"/>
                    </a:cubicBezTo>
                    <a:cubicBezTo>
                      <a:pt x="505" y="138"/>
                      <a:pt x="506" y="136"/>
                      <a:pt x="507" y="135"/>
                    </a:cubicBezTo>
                    <a:cubicBezTo>
                      <a:pt x="507" y="136"/>
                      <a:pt x="507" y="136"/>
                      <a:pt x="507" y="137"/>
                    </a:cubicBezTo>
                    <a:cubicBezTo>
                      <a:pt x="507" y="136"/>
                      <a:pt x="507" y="134"/>
                      <a:pt x="507" y="133"/>
                    </a:cubicBezTo>
                    <a:cubicBezTo>
                      <a:pt x="507" y="134"/>
                      <a:pt x="507" y="134"/>
                      <a:pt x="506" y="134"/>
                    </a:cubicBezTo>
                    <a:cubicBezTo>
                      <a:pt x="506" y="133"/>
                      <a:pt x="506" y="133"/>
                      <a:pt x="506" y="133"/>
                    </a:cubicBezTo>
                    <a:cubicBezTo>
                      <a:pt x="507" y="133"/>
                      <a:pt x="507" y="132"/>
                      <a:pt x="507" y="131"/>
                    </a:cubicBezTo>
                    <a:cubicBezTo>
                      <a:pt x="504" y="130"/>
                      <a:pt x="504" y="126"/>
                      <a:pt x="502" y="124"/>
                    </a:cubicBezTo>
                    <a:cubicBezTo>
                      <a:pt x="502" y="123"/>
                      <a:pt x="501" y="122"/>
                      <a:pt x="502" y="122"/>
                    </a:cubicBezTo>
                    <a:cubicBezTo>
                      <a:pt x="502" y="119"/>
                      <a:pt x="505" y="118"/>
                      <a:pt x="507" y="117"/>
                    </a:cubicBezTo>
                    <a:cubicBezTo>
                      <a:pt x="507" y="117"/>
                      <a:pt x="507" y="117"/>
                      <a:pt x="507" y="117"/>
                    </a:cubicBezTo>
                    <a:cubicBezTo>
                      <a:pt x="507" y="117"/>
                      <a:pt x="507" y="117"/>
                      <a:pt x="508" y="117"/>
                    </a:cubicBezTo>
                    <a:cubicBezTo>
                      <a:pt x="506" y="118"/>
                      <a:pt x="504" y="119"/>
                      <a:pt x="503" y="120"/>
                    </a:cubicBezTo>
                    <a:cubicBezTo>
                      <a:pt x="501" y="123"/>
                      <a:pt x="504" y="124"/>
                      <a:pt x="506" y="126"/>
                    </a:cubicBezTo>
                    <a:cubicBezTo>
                      <a:pt x="507" y="127"/>
                      <a:pt x="509" y="126"/>
                      <a:pt x="509" y="127"/>
                    </a:cubicBezTo>
                    <a:cubicBezTo>
                      <a:pt x="509" y="128"/>
                      <a:pt x="508" y="129"/>
                      <a:pt x="508" y="130"/>
                    </a:cubicBezTo>
                    <a:cubicBezTo>
                      <a:pt x="509" y="130"/>
                      <a:pt x="511" y="128"/>
                      <a:pt x="511" y="127"/>
                    </a:cubicBezTo>
                    <a:cubicBezTo>
                      <a:pt x="511" y="127"/>
                      <a:pt x="512" y="126"/>
                      <a:pt x="512" y="126"/>
                    </a:cubicBezTo>
                    <a:cubicBezTo>
                      <a:pt x="512" y="126"/>
                      <a:pt x="512" y="125"/>
                      <a:pt x="512" y="125"/>
                    </a:cubicBezTo>
                    <a:cubicBezTo>
                      <a:pt x="512" y="125"/>
                      <a:pt x="515" y="124"/>
                      <a:pt x="513" y="124"/>
                    </a:cubicBezTo>
                    <a:cubicBezTo>
                      <a:pt x="514" y="123"/>
                      <a:pt x="515" y="123"/>
                      <a:pt x="515" y="122"/>
                    </a:cubicBezTo>
                    <a:cubicBezTo>
                      <a:pt x="515" y="122"/>
                      <a:pt x="516" y="121"/>
                      <a:pt x="516" y="121"/>
                    </a:cubicBezTo>
                    <a:cubicBezTo>
                      <a:pt x="517" y="120"/>
                      <a:pt x="516" y="120"/>
                      <a:pt x="516" y="119"/>
                    </a:cubicBezTo>
                    <a:cubicBezTo>
                      <a:pt x="516" y="119"/>
                      <a:pt x="517" y="119"/>
                      <a:pt x="517" y="118"/>
                    </a:cubicBezTo>
                    <a:cubicBezTo>
                      <a:pt x="517" y="118"/>
                      <a:pt x="517" y="117"/>
                      <a:pt x="518" y="116"/>
                    </a:cubicBezTo>
                    <a:cubicBezTo>
                      <a:pt x="518" y="117"/>
                      <a:pt x="517" y="118"/>
                      <a:pt x="517" y="119"/>
                    </a:cubicBezTo>
                    <a:cubicBezTo>
                      <a:pt x="518" y="118"/>
                      <a:pt x="518" y="116"/>
                      <a:pt x="518" y="114"/>
                    </a:cubicBezTo>
                    <a:cubicBezTo>
                      <a:pt x="518" y="113"/>
                      <a:pt x="519" y="112"/>
                      <a:pt x="518" y="112"/>
                    </a:cubicBezTo>
                    <a:cubicBezTo>
                      <a:pt x="518" y="111"/>
                      <a:pt x="516" y="112"/>
                      <a:pt x="515" y="111"/>
                    </a:cubicBezTo>
                    <a:cubicBezTo>
                      <a:pt x="515" y="111"/>
                      <a:pt x="516" y="110"/>
                      <a:pt x="516" y="110"/>
                    </a:cubicBezTo>
                    <a:cubicBezTo>
                      <a:pt x="515" y="109"/>
                      <a:pt x="515" y="109"/>
                      <a:pt x="515" y="108"/>
                    </a:cubicBezTo>
                    <a:cubicBezTo>
                      <a:pt x="515" y="107"/>
                      <a:pt x="516" y="105"/>
                      <a:pt x="518" y="105"/>
                    </a:cubicBezTo>
                    <a:cubicBezTo>
                      <a:pt x="518" y="105"/>
                      <a:pt x="518" y="105"/>
                      <a:pt x="518" y="105"/>
                    </a:cubicBezTo>
                    <a:cubicBezTo>
                      <a:pt x="518" y="105"/>
                      <a:pt x="518" y="105"/>
                      <a:pt x="518" y="105"/>
                    </a:cubicBezTo>
                    <a:cubicBezTo>
                      <a:pt x="518" y="105"/>
                      <a:pt x="519" y="105"/>
                      <a:pt x="519" y="105"/>
                    </a:cubicBezTo>
                    <a:cubicBezTo>
                      <a:pt x="519" y="105"/>
                      <a:pt x="519" y="105"/>
                      <a:pt x="519" y="105"/>
                    </a:cubicBezTo>
                    <a:cubicBezTo>
                      <a:pt x="519" y="106"/>
                      <a:pt x="520" y="106"/>
                      <a:pt x="520" y="106"/>
                    </a:cubicBezTo>
                    <a:cubicBezTo>
                      <a:pt x="521" y="106"/>
                      <a:pt x="521" y="105"/>
                      <a:pt x="522" y="104"/>
                    </a:cubicBezTo>
                    <a:cubicBezTo>
                      <a:pt x="525" y="103"/>
                      <a:pt x="527" y="102"/>
                      <a:pt x="529" y="101"/>
                    </a:cubicBezTo>
                    <a:cubicBezTo>
                      <a:pt x="531" y="102"/>
                      <a:pt x="534" y="100"/>
                      <a:pt x="535" y="100"/>
                    </a:cubicBezTo>
                    <a:cubicBezTo>
                      <a:pt x="538" y="101"/>
                      <a:pt x="541" y="101"/>
                      <a:pt x="544" y="100"/>
                    </a:cubicBezTo>
                    <a:cubicBezTo>
                      <a:pt x="545" y="100"/>
                      <a:pt x="545" y="96"/>
                      <a:pt x="545" y="95"/>
                    </a:cubicBezTo>
                    <a:cubicBezTo>
                      <a:pt x="545" y="96"/>
                      <a:pt x="546" y="96"/>
                      <a:pt x="548" y="95"/>
                    </a:cubicBezTo>
                    <a:cubicBezTo>
                      <a:pt x="547" y="97"/>
                      <a:pt x="547" y="97"/>
                      <a:pt x="547" y="98"/>
                    </a:cubicBezTo>
                    <a:cubicBezTo>
                      <a:pt x="549" y="98"/>
                      <a:pt x="550" y="96"/>
                      <a:pt x="552" y="96"/>
                    </a:cubicBezTo>
                    <a:cubicBezTo>
                      <a:pt x="552" y="96"/>
                      <a:pt x="553" y="96"/>
                      <a:pt x="552" y="96"/>
                    </a:cubicBezTo>
                    <a:cubicBezTo>
                      <a:pt x="554" y="96"/>
                      <a:pt x="559" y="97"/>
                      <a:pt x="560" y="96"/>
                    </a:cubicBezTo>
                    <a:cubicBezTo>
                      <a:pt x="560" y="96"/>
                      <a:pt x="560" y="94"/>
                      <a:pt x="560" y="94"/>
                    </a:cubicBezTo>
                    <a:cubicBezTo>
                      <a:pt x="559" y="93"/>
                      <a:pt x="559" y="92"/>
                      <a:pt x="558" y="92"/>
                    </a:cubicBezTo>
                    <a:cubicBezTo>
                      <a:pt x="558" y="92"/>
                      <a:pt x="556" y="91"/>
                      <a:pt x="556" y="92"/>
                    </a:cubicBezTo>
                    <a:cubicBezTo>
                      <a:pt x="557" y="92"/>
                      <a:pt x="557" y="91"/>
                      <a:pt x="558" y="92"/>
                    </a:cubicBezTo>
                    <a:cubicBezTo>
                      <a:pt x="558" y="92"/>
                      <a:pt x="558" y="93"/>
                      <a:pt x="558" y="93"/>
                    </a:cubicBezTo>
                    <a:cubicBezTo>
                      <a:pt x="559" y="95"/>
                      <a:pt x="559" y="95"/>
                      <a:pt x="557" y="96"/>
                    </a:cubicBezTo>
                    <a:cubicBezTo>
                      <a:pt x="556" y="96"/>
                      <a:pt x="555" y="96"/>
                      <a:pt x="554" y="95"/>
                    </a:cubicBezTo>
                    <a:cubicBezTo>
                      <a:pt x="553" y="95"/>
                      <a:pt x="553" y="93"/>
                      <a:pt x="553" y="92"/>
                    </a:cubicBezTo>
                    <a:cubicBezTo>
                      <a:pt x="552" y="91"/>
                      <a:pt x="552" y="90"/>
                      <a:pt x="551" y="90"/>
                    </a:cubicBezTo>
                    <a:cubicBezTo>
                      <a:pt x="550" y="88"/>
                      <a:pt x="550" y="90"/>
                      <a:pt x="548" y="88"/>
                    </a:cubicBezTo>
                    <a:cubicBezTo>
                      <a:pt x="549" y="88"/>
                      <a:pt x="550" y="86"/>
                      <a:pt x="551" y="86"/>
                    </a:cubicBezTo>
                    <a:cubicBezTo>
                      <a:pt x="551" y="85"/>
                      <a:pt x="554" y="85"/>
                      <a:pt x="553" y="84"/>
                    </a:cubicBezTo>
                    <a:cubicBezTo>
                      <a:pt x="552" y="85"/>
                      <a:pt x="552" y="85"/>
                      <a:pt x="551" y="84"/>
                    </a:cubicBezTo>
                    <a:cubicBezTo>
                      <a:pt x="550" y="82"/>
                      <a:pt x="551" y="80"/>
                      <a:pt x="552" y="79"/>
                    </a:cubicBezTo>
                    <a:cubicBezTo>
                      <a:pt x="554" y="77"/>
                      <a:pt x="556" y="75"/>
                      <a:pt x="557" y="72"/>
                    </a:cubicBezTo>
                    <a:cubicBezTo>
                      <a:pt x="558" y="70"/>
                      <a:pt x="558" y="70"/>
                      <a:pt x="559" y="69"/>
                    </a:cubicBezTo>
                    <a:cubicBezTo>
                      <a:pt x="559" y="69"/>
                      <a:pt x="559" y="69"/>
                      <a:pt x="559" y="70"/>
                    </a:cubicBezTo>
                    <a:cubicBezTo>
                      <a:pt x="560" y="69"/>
                      <a:pt x="560" y="69"/>
                      <a:pt x="561" y="71"/>
                    </a:cubicBezTo>
                    <a:cubicBezTo>
                      <a:pt x="561" y="70"/>
                      <a:pt x="561" y="68"/>
                      <a:pt x="561" y="67"/>
                    </a:cubicBezTo>
                    <a:cubicBezTo>
                      <a:pt x="561" y="67"/>
                      <a:pt x="561" y="67"/>
                      <a:pt x="561" y="67"/>
                    </a:cubicBezTo>
                    <a:cubicBezTo>
                      <a:pt x="561" y="67"/>
                      <a:pt x="561" y="67"/>
                      <a:pt x="561" y="68"/>
                    </a:cubicBezTo>
                    <a:cubicBezTo>
                      <a:pt x="561" y="68"/>
                      <a:pt x="561" y="68"/>
                      <a:pt x="561" y="68"/>
                    </a:cubicBezTo>
                    <a:cubicBezTo>
                      <a:pt x="561" y="69"/>
                      <a:pt x="561" y="70"/>
                      <a:pt x="562" y="70"/>
                    </a:cubicBezTo>
                    <a:cubicBezTo>
                      <a:pt x="562" y="69"/>
                      <a:pt x="562" y="68"/>
                      <a:pt x="563" y="67"/>
                    </a:cubicBezTo>
                    <a:cubicBezTo>
                      <a:pt x="563" y="67"/>
                      <a:pt x="563" y="67"/>
                      <a:pt x="563" y="67"/>
                    </a:cubicBezTo>
                    <a:cubicBezTo>
                      <a:pt x="563" y="68"/>
                      <a:pt x="563" y="67"/>
                      <a:pt x="563" y="67"/>
                    </a:cubicBezTo>
                    <a:cubicBezTo>
                      <a:pt x="563" y="67"/>
                      <a:pt x="563" y="67"/>
                      <a:pt x="563" y="67"/>
                    </a:cubicBezTo>
                    <a:cubicBezTo>
                      <a:pt x="562" y="68"/>
                      <a:pt x="562" y="69"/>
                      <a:pt x="563" y="70"/>
                    </a:cubicBezTo>
                    <a:cubicBezTo>
                      <a:pt x="563" y="69"/>
                      <a:pt x="563" y="69"/>
                      <a:pt x="563" y="68"/>
                    </a:cubicBezTo>
                    <a:cubicBezTo>
                      <a:pt x="563" y="68"/>
                      <a:pt x="563" y="68"/>
                      <a:pt x="564" y="68"/>
                    </a:cubicBezTo>
                    <a:cubicBezTo>
                      <a:pt x="564" y="68"/>
                      <a:pt x="564" y="68"/>
                      <a:pt x="564" y="67"/>
                    </a:cubicBezTo>
                    <a:cubicBezTo>
                      <a:pt x="564" y="67"/>
                      <a:pt x="564" y="67"/>
                      <a:pt x="564" y="67"/>
                    </a:cubicBezTo>
                    <a:cubicBezTo>
                      <a:pt x="564" y="67"/>
                      <a:pt x="564" y="67"/>
                      <a:pt x="564" y="67"/>
                    </a:cubicBezTo>
                    <a:cubicBezTo>
                      <a:pt x="564" y="67"/>
                      <a:pt x="564" y="67"/>
                      <a:pt x="564" y="67"/>
                    </a:cubicBezTo>
                    <a:cubicBezTo>
                      <a:pt x="564" y="67"/>
                      <a:pt x="564" y="68"/>
                      <a:pt x="564" y="68"/>
                    </a:cubicBezTo>
                    <a:cubicBezTo>
                      <a:pt x="564" y="68"/>
                      <a:pt x="564" y="68"/>
                      <a:pt x="564" y="68"/>
                    </a:cubicBezTo>
                    <a:cubicBezTo>
                      <a:pt x="564" y="68"/>
                      <a:pt x="564" y="68"/>
                      <a:pt x="564" y="68"/>
                    </a:cubicBezTo>
                    <a:cubicBezTo>
                      <a:pt x="564" y="68"/>
                      <a:pt x="564" y="68"/>
                      <a:pt x="564" y="68"/>
                    </a:cubicBezTo>
                    <a:cubicBezTo>
                      <a:pt x="565" y="68"/>
                      <a:pt x="565" y="68"/>
                      <a:pt x="566" y="67"/>
                    </a:cubicBezTo>
                    <a:cubicBezTo>
                      <a:pt x="565" y="67"/>
                      <a:pt x="566" y="67"/>
                      <a:pt x="566" y="68"/>
                    </a:cubicBezTo>
                    <a:cubicBezTo>
                      <a:pt x="567" y="68"/>
                      <a:pt x="568" y="68"/>
                      <a:pt x="569" y="66"/>
                    </a:cubicBezTo>
                    <a:cubicBezTo>
                      <a:pt x="568" y="66"/>
                      <a:pt x="570" y="63"/>
                      <a:pt x="570" y="63"/>
                    </a:cubicBezTo>
                    <a:cubicBezTo>
                      <a:pt x="570" y="62"/>
                      <a:pt x="572" y="59"/>
                      <a:pt x="572" y="61"/>
                    </a:cubicBezTo>
                    <a:cubicBezTo>
                      <a:pt x="572" y="61"/>
                      <a:pt x="571" y="62"/>
                      <a:pt x="571" y="62"/>
                    </a:cubicBezTo>
                    <a:cubicBezTo>
                      <a:pt x="571" y="62"/>
                      <a:pt x="572" y="62"/>
                      <a:pt x="572" y="62"/>
                    </a:cubicBezTo>
                    <a:cubicBezTo>
                      <a:pt x="572" y="62"/>
                      <a:pt x="571" y="63"/>
                      <a:pt x="571" y="63"/>
                    </a:cubicBezTo>
                    <a:cubicBezTo>
                      <a:pt x="572" y="63"/>
                      <a:pt x="573" y="64"/>
                      <a:pt x="574" y="64"/>
                    </a:cubicBezTo>
                    <a:cubicBezTo>
                      <a:pt x="574" y="63"/>
                      <a:pt x="574" y="62"/>
                      <a:pt x="575" y="61"/>
                    </a:cubicBezTo>
                    <a:cubicBezTo>
                      <a:pt x="576" y="61"/>
                      <a:pt x="577" y="61"/>
                      <a:pt x="577" y="61"/>
                    </a:cubicBezTo>
                    <a:cubicBezTo>
                      <a:pt x="579" y="61"/>
                      <a:pt x="578" y="62"/>
                      <a:pt x="579" y="63"/>
                    </a:cubicBezTo>
                    <a:cubicBezTo>
                      <a:pt x="579" y="63"/>
                      <a:pt x="579" y="62"/>
                      <a:pt x="580" y="61"/>
                    </a:cubicBezTo>
                    <a:cubicBezTo>
                      <a:pt x="580" y="62"/>
                      <a:pt x="580" y="62"/>
                      <a:pt x="580" y="62"/>
                    </a:cubicBezTo>
                    <a:cubicBezTo>
                      <a:pt x="581" y="62"/>
                      <a:pt x="581" y="61"/>
                      <a:pt x="582" y="60"/>
                    </a:cubicBezTo>
                    <a:cubicBezTo>
                      <a:pt x="583" y="61"/>
                      <a:pt x="585" y="59"/>
                      <a:pt x="586" y="59"/>
                    </a:cubicBezTo>
                    <a:cubicBezTo>
                      <a:pt x="587" y="59"/>
                      <a:pt x="587" y="60"/>
                      <a:pt x="587" y="59"/>
                    </a:cubicBezTo>
                    <a:cubicBezTo>
                      <a:pt x="588" y="59"/>
                      <a:pt x="589" y="58"/>
                      <a:pt x="589" y="58"/>
                    </a:cubicBezTo>
                    <a:cubicBezTo>
                      <a:pt x="590" y="57"/>
                      <a:pt x="590" y="57"/>
                      <a:pt x="589" y="57"/>
                    </a:cubicBezTo>
                    <a:close/>
                    <a:moveTo>
                      <a:pt x="564" y="68"/>
                    </a:moveTo>
                    <a:cubicBezTo>
                      <a:pt x="564" y="67"/>
                      <a:pt x="564" y="67"/>
                      <a:pt x="564" y="67"/>
                    </a:cubicBezTo>
                    <a:cubicBezTo>
                      <a:pt x="564" y="67"/>
                      <a:pt x="564" y="67"/>
                      <a:pt x="564" y="68"/>
                    </a:cubicBezTo>
                    <a:cubicBezTo>
                      <a:pt x="564" y="68"/>
                      <a:pt x="564" y="68"/>
                      <a:pt x="564"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6" name="Freeform 1591">
                <a:extLst>
                  <a:ext uri="{FF2B5EF4-FFF2-40B4-BE49-F238E27FC236}">
                    <a16:creationId xmlns:a16="http://schemas.microsoft.com/office/drawing/2014/main" id="{CC45A842-E68D-4901-9BBD-E27ACA943454}"/>
                  </a:ext>
                </a:extLst>
              </p:cNvPr>
              <p:cNvSpPr>
                <a:spLocks/>
              </p:cNvSpPr>
              <p:nvPr/>
            </p:nvSpPr>
            <p:spPr bwMode="auto">
              <a:xfrm>
                <a:off x="3197" y="912"/>
                <a:ext cx="2"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7" name="Freeform 1592">
                <a:extLst>
                  <a:ext uri="{FF2B5EF4-FFF2-40B4-BE49-F238E27FC236}">
                    <a16:creationId xmlns:a16="http://schemas.microsoft.com/office/drawing/2014/main" id="{56441F36-5490-48F7-A73C-5CBB8746D8D9}"/>
                  </a:ext>
                </a:extLst>
              </p:cNvPr>
              <p:cNvSpPr>
                <a:spLocks/>
              </p:cNvSpPr>
              <p:nvPr/>
            </p:nvSpPr>
            <p:spPr bwMode="auto">
              <a:xfrm>
                <a:off x="3197" y="9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8" name="Freeform 1593">
                <a:extLst>
                  <a:ext uri="{FF2B5EF4-FFF2-40B4-BE49-F238E27FC236}">
                    <a16:creationId xmlns:a16="http://schemas.microsoft.com/office/drawing/2014/main" id="{58CE5F40-7B93-4F89-A2BF-A543F562CB50}"/>
                  </a:ext>
                </a:extLst>
              </p:cNvPr>
              <p:cNvSpPr>
                <a:spLocks/>
              </p:cNvSpPr>
              <p:nvPr/>
            </p:nvSpPr>
            <p:spPr bwMode="auto">
              <a:xfrm>
                <a:off x="3329" y="675"/>
                <a:ext cx="29" cy="15"/>
              </a:xfrm>
              <a:custGeom>
                <a:avLst/>
                <a:gdLst>
                  <a:gd name="T0" fmla="*/ 12 w 12"/>
                  <a:gd name="T1" fmla="*/ 0 h 6"/>
                  <a:gd name="T2" fmla="*/ 0 w 12"/>
                  <a:gd name="T3" fmla="*/ 6 h 6"/>
                  <a:gd name="T4" fmla="*/ 7 w 12"/>
                  <a:gd name="T5" fmla="*/ 3 h 6"/>
                  <a:gd name="T6" fmla="*/ 12 w 12"/>
                  <a:gd name="T7" fmla="*/ 0 h 6"/>
                </a:gdLst>
                <a:ahLst/>
                <a:cxnLst>
                  <a:cxn ang="0">
                    <a:pos x="T0" y="T1"/>
                  </a:cxn>
                  <a:cxn ang="0">
                    <a:pos x="T2" y="T3"/>
                  </a:cxn>
                  <a:cxn ang="0">
                    <a:pos x="T4" y="T5"/>
                  </a:cxn>
                  <a:cxn ang="0">
                    <a:pos x="T6" y="T7"/>
                  </a:cxn>
                </a:cxnLst>
                <a:rect l="0" t="0" r="r" b="b"/>
                <a:pathLst>
                  <a:path w="12" h="6">
                    <a:moveTo>
                      <a:pt x="12" y="0"/>
                    </a:moveTo>
                    <a:cubicBezTo>
                      <a:pt x="8" y="2"/>
                      <a:pt x="4" y="4"/>
                      <a:pt x="0" y="6"/>
                    </a:cubicBezTo>
                    <a:cubicBezTo>
                      <a:pt x="2" y="5"/>
                      <a:pt x="5" y="4"/>
                      <a:pt x="7" y="3"/>
                    </a:cubicBezTo>
                    <a:cubicBezTo>
                      <a:pt x="9" y="3"/>
                      <a:pt x="10" y="2"/>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9" name="Freeform 1594">
                <a:extLst>
                  <a:ext uri="{FF2B5EF4-FFF2-40B4-BE49-F238E27FC236}">
                    <a16:creationId xmlns:a16="http://schemas.microsoft.com/office/drawing/2014/main" id="{DA4F6FE3-6212-48E9-9713-D4CC09AC5128}"/>
                  </a:ext>
                </a:extLst>
              </p:cNvPr>
              <p:cNvSpPr>
                <a:spLocks/>
              </p:cNvSpPr>
              <p:nvPr/>
            </p:nvSpPr>
            <p:spPr bwMode="auto">
              <a:xfrm>
                <a:off x="3197" y="9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0" name="Freeform 1595">
                <a:extLst>
                  <a:ext uri="{FF2B5EF4-FFF2-40B4-BE49-F238E27FC236}">
                    <a16:creationId xmlns:a16="http://schemas.microsoft.com/office/drawing/2014/main" id="{E3D8A74B-44FF-4855-BC43-FBBADA721205}"/>
                  </a:ext>
                </a:extLst>
              </p:cNvPr>
              <p:cNvSpPr>
                <a:spLocks/>
              </p:cNvSpPr>
              <p:nvPr/>
            </p:nvSpPr>
            <p:spPr bwMode="auto">
              <a:xfrm>
                <a:off x="3197" y="912"/>
                <a:ext cx="2"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1" name="Freeform 1596">
                <a:extLst>
                  <a:ext uri="{FF2B5EF4-FFF2-40B4-BE49-F238E27FC236}">
                    <a16:creationId xmlns:a16="http://schemas.microsoft.com/office/drawing/2014/main" id="{13A2D429-CC64-4B1D-A35E-663555787450}"/>
                  </a:ext>
                </a:extLst>
              </p:cNvPr>
              <p:cNvSpPr>
                <a:spLocks/>
              </p:cNvSpPr>
              <p:nvPr/>
            </p:nvSpPr>
            <p:spPr bwMode="auto">
              <a:xfrm>
                <a:off x="3197" y="9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2" name="Freeform 1597">
                <a:extLst>
                  <a:ext uri="{FF2B5EF4-FFF2-40B4-BE49-F238E27FC236}">
                    <a16:creationId xmlns:a16="http://schemas.microsoft.com/office/drawing/2014/main" id="{4296A828-11EC-4008-AEF2-93102B53A118}"/>
                  </a:ext>
                </a:extLst>
              </p:cNvPr>
              <p:cNvSpPr>
                <a:spLocks/>
              </p:cNvSpPr>
              <p:nvPr/>
            </p:nvSpPr>
            <p:spPr bwMode="auto">
              <a:xfrm>
                <a:off x="3093" y="477"/>
                <a:ext cx="40" cy="26"/>
              </a:xfrm>
              <a:custGeom>
                <a:avLst/>
                <a:gdLst>
                  <a:gd name="T0" fmla="*/ 17 w 17"/>
                  <a:gd name="T1" fmla="*/ 6 h 11"/>
                  <a:gd name="T2" fmla="*/ 14 w 17"/>
                  <a:gd name="T3" fmla="*/ 7 h 11"/>
                  <a:gd name="T4" fmla="*/ 11 w 17"/>
                  <a:gd name="T5" fmla="*/ 7 h 11"/>
                  <a:gd name="T6" fmla="*/ 9 w 17"/>
                  <a:gd name="T7" fmla="*/ 5 h 11"/>
                  <a:gd name="T8" fmla="*/ 11 w 17"/>
                  <a:gd name="T9" fmla="*/ 2 h 11"/>
                  <a:gd name="T10" fmla="*/ 9 w 17"/>
                  <a:gd name="T11" fmla="*/ 1 h 11"/>
                  <a:gd name="T12" fmla="*/ 7 w 17"/>
                  <a:gd name="T13" fmla="*/ 3 h 11"/>
                  <a:gd name="T14" fmla="*/ 4 w 17"/>
                  <a:gd name="T15" fmla="*/ 2 h 11"/>
                  <a:gd name="T16" fmla="*/ 1 w 17"/>
                  <a:gd name="T17" fmla="*/ 2 h 11"/>
                  <a:gd name="T18" fmla="*/ 1 w 17"/>
                  <a:gd name="T19" fmla="*/ 3 h 11"/>
                  <a:gd name="T20" fmla="*/ 0 w 17"/>
                  <a:gd name="T21" fmla="*/ 8 h 11"/>
                  <a:gd name="T22" fmla="*/ 1 w 17"/>
                  <a:gd name="T23" fmla="*/ 9 h 11"/>
                  <a:gd name="T24" fmla="*/ 6 w 17"/>
                  <a:gd name="T25" fmla="*/ 9 h 11"/>
                  <a:gd name="T26" fmla="*/ 11 w 17"/>
                  <a:gd name="T27" fmla="*/ 10 h 11"/>
                  <a:gd name="T28" fmla="*/ 15 w 17"/>
                  <a:gd name="T29" fmla="*/ 9 h 11"/>
                  <a:gd name="T30" fmla="*/ 17 w 17"/>
                  <a:gd name="T3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7" y="6"/>
                    </a:moveTo>
                    <a:cubicBezTo>
                      <a:pt x="16" y="5"/>
                      <a:pt x="14" y="6"/>
                      <a:pt x="14" y="7"/>
                    </a:cubicBezTo>
                    <a:cubicBezTo>
                      <a:pt x="13" y="8"/>
                      <a:pt x="12" y="7"/>
                      <a:pt x="11" y="7"/>
                    </a:cubicBezTo>
                    <a:cubicBezTo>
                      <a:pt x="11" y="7"/>
                      <a:pt x="9" y="6"/>
                      <a:pt x="9" y="5"/>
                    </a:cubicBezTo>
                    <a:cubicBezTo>
                      <a:pt x="9" y="4"/>
                      <a:pt x="12" y="4"/>
                      <a:pt x="11" y="2"/>
                    </a:cubicBezTo>
                    <a:cubicBezTo>
                      <a:pt x="11" y="1"/>
                      <a:pt x="9" y="0"/>
                      <a:pt x="9" y="1"/>
                    </a:cubicBezTo>
                    <a:cubicBezTo>
                      <a:pt x="8" y="1"/>
                      <a:pt x="9" y="3"/>
                      <a:pt x="7" y="3"/>
                    </a:cubicBezTo>
                    <a:cubicBezTo>
                      <a:pt x="5" y="3"/>
                      <a:pt x="5" y="2"/>
                      <a:pt x="4" y="2"/>
                    </a:cubicBezTo>
                    <a:cubicBezTo>
                      <a:pt x="3" y="1"/>
                      <a:pt x="2" y="2"/>
                      <a:pt x="1" y="2"/>
                    </a:cubicBezTo>
                    <a:cubicBezTo>
                      <a:pt x="1" y="3"/>
                      <a:pt x="1" y="3"/>
                      <a:pt x="1" y="3"/>
                    </a:cubicBezTo>
                    <a:cubicBezTo>
                      <a:pt x="1" y="5"/>
                      <a:pt x="1" y="6"/>
                      <a:pt x="0" y="8"/>
                    </a:cubicBezTo>
                    <a:cubicBezTo>
                      <a:pt x="0" y="9"/>
                      <a:pt x="1" y="9"/>
                      <a:pt x="1" y="9"/>
                    </a:cubicBezTo>
                    <a:cubicBezTo>
                      <a:pt x="3" y="9"/>
                      <a:pt x="4" y="9"/>
                      <a:pt x="6" y="9"/>
                    </a:cubicBezTo>
                    <a:cubicBezTo>
                      <a:pt x="8" y="9"/>
                      <a:pt x="10" y="10"/>
                      <a:pt x="11" y="10"/>
                    </a:cubicBezTo>
                    <a:cubicBezTo>
                      <a:pt x="12" y="10"/>
                      <a:pt x="16" y="11"/>
                      <a:pt x="15" y="9"/>
                    </a:cubicBezTo>
                    <a:cubicBezTo>
                      <a:pt x="16" y="9"/>
                      <a:pt x="17" y="8"/>
                      <a:pt x="1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3" name="Freeform 1598">
                <a:extLst>
                  <a:ext uri="{FF2B5EF4-FFF2-40B4-BE49-F238E27FC236}">
                    <a16:creationId xmlns:a16="http://schemas.microsoft.com/office/drawing/2014/main" id="{B88888DC-F754-402C-9744-A313571D992E}"/>
                  </a:ext>
                </a:extLst>
              </p:cNvPr>
              <p:cNvSpPr>
                <a:spLocks/>
              </p:cNvSpPr>
              <p:nvPr/>
            </p:nvSpPr>
            <p:spPr bwMode="auto">
              <a:xfrm>
                <a:off x="3112" y="283"/>
                <a:ext cx="14" cy="11"/>
              </a:xfrm>
              <a:custGeom>
                <a:avLst/>
                <a:gdLst>
                  <a:gd name="T0" fmla="*/ 5 w 6"/>
                  <a:gd name="T1" fmla="*/ 0 h 5"/>
                  <a:gd name="T2" fmla="*/ 2 w 6"/>
                  <a:gd name="T3" fmla="*/ 2 h 5"/>
                  <a:gd name="T4" fmla="*/ 0 w 6"/>
                  <a:gd name="T5" fmla="*/ 5 h 5"/>
                  <a:gd name="T6" fmla="*/ 5 w 6"/>
                  <a:gd name="T7" fmla="*/ 3 h 5"/>
                  <a:gd name="T8" fmla="*/ 5 w 6"/>
                  <a:gd name="T9" fmla="*/ 0 h 5"/>
                </a:gdLst>
                <a:ahLst/>
                <a:cxnLst>
                  <a:cxn ang="0">
                    <a:pos x="T0" y="T1"/>
                  </a:cxn>
                  <a:cxn ang="0">
                    <a:pos x="T2" y="T3"/>
                  </a:cxn>
                  <a:cxn ang="0">
                    <a:pos x="T4" y="T5"/>
                  </a:cxn>
                  <a:cxn ang="0">
                    <a:pos x="T6" y="T7"/>
                  </a:cxn>
                  <a:cxn ang="0">
                    <a:pos x="T8" y="T9"/>
                  </a:cxn>
                </a:cxnLst>
                <a:rect l="0" t="0" r="r" b="b"/>
                <a:pathLst>
                  <a:path w="6" h="5">
                    <a:moveTo>
                      <a:pt x="5" y="0"/>
                    </a:moveTo>
                    <a:cubicBezTo>
                      <a:pt x="3" y="0"/>
                      <a:pt x="2" y="1"/>
                      <a:pt x="2" y="2"/>
                    </a:cubicBezTo>
                    <a:cubicBezTo>
                      <a:pt x="1" y="3"/>
                      <a:pt x="1" y="4"/>
                      <a:pt x="0" y="5"/>
                    </a:cubicBezTo>
                    <a:cubicBezTo>
                      <a:pt x="2" y="5"/>
                      <a:pt x="4" y="4"/>
                      <a:pt x="5" y="3"/>
                    </a:cubicBezTo>
                    <a:cubicBezTo>
                      <a:pt x="6" y="3"/>
                      <a:pt x="5" y="1"/>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4" name="Freeform 1599">
                <a:extLst>
                  <a:ext uri="{FF2B5EF4-FFF2-40B4-BE49-F238E27FC236}">
                    <a16:creationId xmlns:a16="http://schemas.microsoft.com/office/drawing/2014/main" id="{F25A6831-7C8C-4DE9-BFF0-9F39705F627F}"/>
                  </a:ext>
                </a:extLst>
              </p:cNvPr>
              <p:cNvSpPr>
                <a:spLocks/>
              </p:cNvSpPr>
              <p:nvPr/>
            </p:nvSpPr>
            <p:spPr bwMode="auto">
              <a:xfrm>
                <a:off x="3067" y="226"/>
                <a:ext cx="21" cy="9"/>
              </a:xfrm>
              <a:custGeom>
                <a:avLst/>
                <a:gdLst>
                  <a:gd name="T0" fmla="*/ 0 w 9"/>
                  <a:gd name="T1" fmla="*/ 4 h 4"/>
                  <a:gd name="T2" fmla="*/ 9 w 9"/>
                  <a:gd name="T3" fmla="*/ 3 h 4"/>
                  <a:gd name="T4" fmla="*/ 4 w 9"/>
                  <a:gd name="T5" fmla="*/ 0 h 4"/>
                  <a:gd name="T6" fmla="*/ 0 w 9"/>
                  <a:gd name="T7" fmla="*/ 4 h 4"/>
                </a:gdLst>
                <a:ahLst/>
                <a:cxnLst>
                  <a:cxn ang="0">
                    <a:pos x="T0" y="T1"/>
                  </a:cxn>
                  <a:cxn ang="0">
                    <a:pos x="T2" y="T3"/>
                  </a:cxn>
                  <a:cxn ang="0">
                    <a:pos x="T4" y="T5"/>
                  </a:cxn>
                  <a:cxn ang="0">
                    <a:pos x="T6" y="T7"/>
                  </a:cxn>
                </a:cxnLst>
                <a:rect l="0" t="0" r="r" b="b"/>
                <a:pathLst>
                  <a:path w="9" h="4">
                    <a:moveTo>
                      <a:pt x="0" y="4"/>
                    </a:moveTo>
                    <a:cubicBezTo>
                      <a:pt x="3" y="4"/>
                      <a:pt x="6" y="3"/>
                      <a:pt x="9" y="3"/>
                    </a:cubicBezTo>
                    <a:cubicBezTo>
                      <a:pt x="8" y="1"/>
                      <a:pt x="6" y="0"/>
                      <a:pt x="4" y="0"/>
                    </a:cubicBezTo>
                    <a:cubicBezTo>
                      <a:pt x="1" y="0"/>
                      <a:pt x="1"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5" name="Freeform 1600">
                <a:extLst>
                  <a:ext uri="{FF2B5EF4-FFF2-40B4-BE49-F238E27FC236}">
                    <a16:creationId xmlns:a16="http://schemas.microsoft.com/office/drawing/2014/main" id="{1F285ACF-0551-40F6-8A7A-0FA62A256ACD}"/>
                  </a:ext>
                </a:extLst>
              </p:cNvPr>
              <p:cNvSpPr>
                <a:spLocks/>
              </p:cNvSpPr>
              <p:nvPr/>
            </p:nvSpPr>
            <p:spPr bwMode="auto">
              <a:xfrm>
                <a:off x="3086" y="410"/>
                <a:ext cx="19" cy="43"/>
              </a:xfrm>
              <a:custGeom>
                <a:avLst/>
                <a:gdLst>
                  <a:gd name="T0" fmla="*/ 1 w 8"/>
                  <a:gd name="T1" fmla="*/ 4 h 18"/>
                  <a:gd name="T2" fmla="*/ 3 w 8"/>
                  <a:gd name="T3" fmla="*/ 10 h 18"/>
                  <a:gd name="T4" fmla="*/ 4 w 8"/>
                  <a:gd name="T5" fmla="*/ 13 h 18"/>
                  <a:gd name="T6" fmla="*/ 6 w 8"/>
                  <a:gd name="T7" fmla="*/ 18 h 18"/>
                  <a:gd name="T8" fmla="*/ 6 w 8"/>
                  <a:gd name="T9" fmla="*/ 13 h 18"/>
                  <a:gd name="T10" fmla="*/ 6 w 8"/>
                  <a:gd name="T11" fmla="*/ 7 h 18"/>
                  <a:gd name="T12" fmla="*/ 6 w 8"/>
                  <a:gd name="T13" fmla="*/ 2 h 18"/>
                  <a:gd name="T14" fmla="*/ 3 w 8"/>
                  <a:gd name="T15" fmla="*/ 1 h 18"/>
                  <a:gd name="T16" fmla="*/ 1 w 8"/>
                  <a:gd name="T17" fmla="*/ 1 h 18"/>
                  <a:gd name="T18" fmla="*/ 2 w 8"/>
                  <a:gd name="T19" fmla="*/ 2 h 18"/>
                  <a:gd name="T20" fmla="*/ 3 w 8"/>
                  <a:gd name="T21" fmla="*/ 3 h 18"/>
                  <a:gd name="T22" fmla="*/ 4 w 8"/>
                  <a:gd name="T23" fmla="*/ 4 h 18"/>
                  <a:gd name="T24" fmla="*/ 1 w 8"/>
                  <a:gd name="T2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8">
                    <a:moveTo>
                      <a:pt x="1" y="4"/>
                    </a:moveTo>
                    <a:cubicBezTo>
                      <a:pt x="0" y="6"/>
                      <a:pt x="3" y="8"/>
                      <a:pt x="3" y="10"/>
                    </a:cubicBezTo>
                    <a:cubicBezTo>
                      <a:pt x="4" y="11"/>
                      <a:pt x="4" y="12"/>
                      <a:pt x="4" y="13"/>
                    </a:cubicBezTo>
                    <a:cubicBezTo>
                      <a:pt x="5" y="15"/>
                      <a:pt x="5" y="17"/>
                      <a:pt x="6" y="18"/>
                    </a:cubicBezTo>
                    <a:cubicBezTo>
                      <a:pt x="8" y="17"/>
                      <a:pt x="7" y="14"/>
                      <a:pt x="6" y="13"/>
                    </a:cubicBezTo>
                    <a:cubicBezTo>
                      <a:pt x="6" y="11"/>
                      <a:pt x="6" y="9"/>
                      <a:pt x="6" y="7"/>
                    </a:cubicBezTo>
                    <a:cubicBezTo>
                      <a:pt x="6" y="5"/>
                      <a:pt x="6" y="4"/>
                      <a:pt x="6" y="2"/>
                    </a:cubicBezTo>
                    <a:cubicBezTo>
                      <a:pt x="5" y="2"/>
                      <a:pt x="4" y="1"/>
                      <a:pt x="3" y="1"/>
                    </a:cubicBezTo>
                    <a:cubicBezTo>
                      <a:pt x="3" y="0"/>
                      <a:pt x="2" y="0"/>
                      <a:pt x="1" y="1"/>
                    </a:cubicBezTo>
                    <a:cubicBezTo>
                      <a:pt x="1" y="1"/>
                      <a:pt x="2" y="2"/>
                      <a:pt x="2" y="2"/>
                    </a:cubicBezTo>
                    <a:cubicBezTo>
                      <a:pt x="2" y="3"/>
                      <a:pt x="2" y="3"/>
                      <a:pt x="3" y="3"/>
                    </a:cubicBezTo>
                    <a:cubicBezTo>
                      <a:pt x="3" y="3"/>
                      <a:pt x="5" y="3"/>
                      <a:pt x="4" y="4"/>
                    </a:cubicBezTo>
                    <a:cubicBezTo>
                      <a:pt x="4" y="5"/>
                      <a:pt x="2"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6" name="Freeform 1601">
                <a:extLst>
                  <a:ext uri="{FF2B5EF4-FFF2-40B4-BE49-F238E27FC236}">
                    <a16:creationId xmlns:a16="http://schemas.microsoft.com/office/drawing/2014/main" id="{A9F596E4-184B-42FC-951C-D39F150120EB}"/>
                  </a:ext>
                </a:extLst>
              </p:cNvPr>
              <p:cNvSpPr>
                <a:spLocks/>
              </p:cNvSpPr>
              <p:nvPr/>
            </p:nvSpPr>
            <p:spPr bwMode="auto">
              <a:xfrm>
                <a:off x="3072" y="297"/>
                <a:ext cx="14" cy="12"/>
              </a:xfrm>
              <a:custGeom>
                <a:avLst/>
                <a:gdLst>
                  <a:gd name="T0" fmla="*/ 6 w 6"/>
                  <a:gd name="T1" fmla="*/ 2 h 5"/>
                  <a:gd name="T2" fmla="*/ 6 w 6"/>
                  <a:gd name="T3" fmla="*/ 0 h 5"/>
                  <a:gd name="T4" fmla="*/ 4 w 6"/>
                  <a:gd name="T5" fmla="*/ 1 h 5"/>
                  <a:gd name="T6" fmla="*/ 1 w 6"/>
                  <a:gd name="T7" fmla="*/ 4 h 5"/>
                  <a:gd name="T8" fmla="*/ 6 w 6"/>
                  <a:gd name="T9" fmla="*/ 4 h 5"/>
                  <a:gd name="T10" fmla="*/ 4 w 6"/>
                  <a:gd name="T11" fmla="*/ 4 h 5"/>
                  <a:gd name="T12" fmla="*/ 6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6" y="2"/>
                    </a:moveTo>
                    <a:cubicBezTo>
                      <a:pt x="6" y="2"/>
                      <a:pt x="6" y="0"/>
                      <a:pt x="6" y="0"/>
                    </a:cubicBezTo>
                    <a:cubicBezTo>
                      <a:pt x="5" y="0"/>
                      <a:pt x="4" y="1"/>
                      <a:pt x="4" y="1"/>
                    </a:cubicBezTo>
                    <a:cubicBezTo>
                      <a:pt x="3" y="2"/>
                      <a:pt x="0" y="3"/>
                      <a:pt x="1" y="4"/>
                    </a:cubicBezTo>
                    <a:cubicBezTo>
                      <a:pt x="1" y="5"/>
                      <a:pt x="5" y="4"/>
                      <a:pt x="6" y="4"/>
                    </a:cubicBezTo>
                    <a:cubicBezTo>
                      <a:pt x="5" y="4"/>
                      <a:pt x="5" y="4"/>
                      <a:pt x="4" y="4"/>
                    </a:cubicBezTo>
                    <a:cubicBezTo>
                      <a:pt x="5" y="4"/>
                      <a:pt x="6" y="4"/>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7" name="Freeform 1602">
                <a:extLst>
                  <a:ext uri="{FF2B5EF4-FFF2-40B4-BE49-F238E27FC236}">
                    <a16:creationId xmlns:a16="http://schemas.microsoft.com/office/drawing/2014/main" id="{F33B2614-B79B-41A8-B628-F8B8A9F07A3A}"/>
                  </a:ext>
                </a:extLst>
              </p:cNvPr>
              <p:cNvSpPr>
                <a:spLocks/>
              </p:cNvSpPr>
              <p:nvPr/>
            </p:nvSpPr>
            <p:spPr bwMode="auto">
              <a:xfrm>
                <a:off x="3098" y="311"/>
                <a:ext cx="9" cy="5"/>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2" y="2"/>
                      <a:pt x="3" y="1"/>
                      <a:pt x="4" y="1"/>
                    </a:cubicBezTo>
                    <a:cubicBezTo>
                      <a:pt x="2" y="0"/>
                      <a:pt x="2"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8" name="Freeform 1603">
                <a:extLst>
                  <a:ext uri="{FF2B5EF4-FFF2-40B4-BE49-F238E27FC236}">
                    <a16:creationId xmlns:a16="http://schemas.microsoft.com/office/drawing/2014/main" id="{1F2225F9-6635-4E37-B758-F59A6BC019FE}"/>
                  </a:ext>
                </a:extLst>
              </p:cNvPr>
              <p:cNvSpPr>
                <a:spLocks/>
              </p:cNvSpPr>
              <p:nvPr/>
            </p:nvSpPr>
            <p:spPr bwMode="auto">
              <a:xfrm>
                <a:off x="3109" y="351"/>
                <a:ext cx="17" cy="14"/>
              </a:xfrm>
              <a:custGeom>
                <a:avLst/>
                <a:gdLst>
                  <a:gd name="T0" fmla="*/ 0 w 7"/>
                  <a:gd name="T1" fmla="*/ 5 h 6"/>
                  <a:gd name="T2" fmla="*/ 4 w 7"/>
                  <a:gd name="T3" fmla="*/ 5 h 6"/>
                  <a:gd name="T4" fmla="*/ 6 w 7"/>
                  <a:gd name="T5" fmla="*/ 1 h 6"/>
                  <a:gd name="T6" fmla="*/ 3 w 7"/>
                  <a:gd name="T7" fmla="*/ 1 h 6"/>
                  <a:gd name="T8" fmla="*/ 3 w 7"/>
                  <a:gd name="T9" fmla="*/ 3 h 6"/>
                  <a:gd name="T10" fmla="*/ 1 w 7"/>
                  <a:gd name="T11" fmla="*/ 4 h 6"/>
                  <a:gd name="T12" fmla="*/ 0 w 7"/>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5"/>
                    </a:moveTo>
                    <a:cubicBezTo>
                      <a:pt x="1" y="6"/>
                      <a:pt x="3" y="6"/>
                      <a:pt x="4" y="5"/>
                    </a:cubicBezTo>
                    <a:cubicBezTo>
                      <a:pt x="6" y="5"/>
                      <a:pt x="7" y="2"/>
                      <a:pt x="6" y="1"/>
                    </a:cubicBezTo>
                    <a:cubicBezTo>
                      <a:pt x="5" y="0"/>
                      <a:pt x="4" y="0"/>
                      <a:pt x="3" y="1"/>
                    </a:cubicBezTo>
                    <a:cubicBezTo>
                      <a:pt x="3" y="1"/>
                      <a:pt x="3" y="2"/>
                      <a:pt x="3" y="3"/>
                    </a:cubicBezTo>
                    <a:cubicBezTo>
                      <a:pt x="3" y="3"/>
                      <a:pt x="2" y="3"/>
                      <a:pt x="1" y="4"/>
                    </a:cubicBezTo>
                    <a:cubicBezTo>
                      <a:pt x="1" y="4"/>
                      <a:pt x="1"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9" name="Freeform 1604">
                <a:extLst>
                  <a:ext uri="{FF2B5EF4-FFF2-40B4-BE49-F238E27FC236}">
                    <a16:creationId xmlns:a16="http://schemas.microsoft.com/office/drawing/2014/main" id="{FC4EF4E8-DA9D-4602-BDDB-2F5449A82689}"/>
                  </a:ext>
                </a:extLst>
              </p:cNvPr>
              <p:cNvSpPr>
                <a:spLocks/>
              </p:cNvSpPr>
              <p:nvPr/>
            </p:nvSpPr>
            <p:spPr bwMode="auto">
              <a:xfrm>
                <a:off x="3055" y="97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0" name="Freeform 1605">
                <a:extLst>
                  <a:ext uri="{FF2B5EF4-FFF2-40B4-BE49-F238E27FC236}">
                    <a16:creationId xmlns:a16="http://schemas.microsoft.com/office/drawing/2014/main" id="{56B9EB1E-7F44-4374-938A-068332F41D79}"/>
                  </a:ext>
                </a:extLst>
              </p:cNvPr>
              <p:cNvSpPr>
                <a:spLocks/>
              </p:cNvSpPr>
              <p:nvPr/>
            </p:nvSpPr>
            <p:spPr bwMode="auto">
              <a:xfrm>
                <a:off x="3024" y="957"/>
                <a:ext cx="10" cy="0"/>
              </a:xfrm>
              <a:custGeom>
                <a:avLst/>
                <a:gdLst>
                  <a:gd name="T0" fmla="*/ 0 w 4"/>
                  <a:gd name="T1" fmla="*/ 4 w 4"/>
                  <a:gd name="T2" fmla="*/ 0 w 4"/>
                </a:gdLst>
                <a:ahLst/>
                <a:cxnLst>
                  <a:cxn ang="0">
                    <a:pos x="T0" y="0"/>
                  </a:cxn>
                  <a:cxn ang="0">
                    <a:pos x="T1" y="0"/>
                  </a:cxn>
                  <a:cxn ang="0">
                    <a:pos x="T2" y="0"/>
                  </a:cxn>
                </a:cxnLst>
                <a:rect l="0" t="0" r="r" b="b"/>
                <a:pathLst>
                  <a:path w="4">
                    <a:moveTo>
                      <a:pt x="0" y="0"/>
                    </a:moveTo>
                    <a:cubicBezTo>
                      <a:pt x="1" y="0"/>
                      <a:pt x="3" y="0"/>
                      <a:pt x="4" y="0"/>
                    </a:cubicBezTo>
                    <a:cubicBezTo>
                      <a:pt x="3"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1" name="Freeform 1606">
                <a:extLst>
                  <a:ext uri="{FF2B5EF4-FFF2-40B4-BE49-F238E27FC236}">
                    <a16:creationId xmlns:a16="http://schemas.microsoft.com/office/drawing/2014/main" id="{9BA2F2C5-8500-44FA-B814-7E3AD12630A4}"/>
                  </a:ext>
                </a:extLst>
              </p:cNvPr>
              <p:cNvSpPr>
                <a:spLocks/>
              </p:cNvSpPr>
              <p:nvPr/>
            </p:nvSpPr>
            <p:spPr bwMode="auto">
              <a:xfrm>
                <a:off x="3022" y="945"/>
                <a:ext cx="7" cy="5"/>
              </a:xfrm>
              <a:custGeom>
                <a:avLst/>
                <a:gdLst>
                  <a:gd name="T0" fmla="*/ 0 w 3"/>
                  <a:gd name="T1" fmla="*/ 2 h 2"/>
                  <a:gd name="T2" fmla="*/ 3 w 3"/>
                  <a:gd name="T3" fmla="*/ 0 h 2"/>
                  <a:gd name="T4" fmla="*/ 0 w 3"/>
                  <a:gd name="T5" fmla="*/ 2 h 2"/>
                </a:gdLst>
                <a:ahLst/>
                <a:cxnLst>
                  <a:cxn ang="0">
                    <a:pos x="T0" y="T1"/>
                  </a:cxn>
                  <a:cxn ang="0">
                    <a:pos x="T2" y="T3"/>
                  </a:cxn>
                  <a:cxn ang="0">
                    <a:pos x="T4" y="T5"/>
                  </a:cxn>
                </a:cxnLst>
                <a:rect l="0" t="0" r="r" b="b"/>
                <a:pathLst>
                  <a:path w="3" h="2">
                    <a:moveTo>
                      <a:pt x="0" y="2"/>
                    </a:moveTo>
                    <a:cubicBezTo>
                      <a:pt x="1" y="1"/>
                      <a:pt x="2" y="1"/>
                      <a:pt x="3" y="0"/>
                    </a:cubicBezTo>
                    <a:cubicBezTo>
                      <a:pt x="2" y="1"/>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2" name="Freeform 1607">
                <a:extLst>
                  <a:ext uri="{FF2B5EF4-FFF2-40B4-BE49-F238E27FC236}">
                    <a16:creationId xmlns:a16="http://schemas.microsoft.com/office/drawing/2014/main" id="{CDDF8EB3-0CB6-4DF6-AAF7-1A34FCCFA53C}"/>
                  </a:ext>
                </a:extLst>
              </p:cNvPr>
              <p:cNvSpPr>
                <a:spLocks/>
              </p:cNvSpPr>
              <p:nvPr/>
            </p:nvSpPr>
            <p:spPr bwMode="auto">
              <a:xfrm>
                <a:off x="3055" y="97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3" name="Freeform 1608">
                <a:extLst>
                  <a:ext uri="{FF2B5EF4-FFF2-40B4-BE49-F238E27FC236}">
                    <a16:creationId xmlns:a16="http://schemas.microsoft.com/office/drawing/2014/main" id="{48E00800-D486-4C4B-8837-9A21604D8293}"/>
                  </a:ext>
                </a:extLst>
              </p:cNvPr>
              <p:cNvSpPr>
                <a:spLocks/>
              </p:cNvSpPr>
              <p:nvPr/>
            </p:nvSpPr>
            <p:spPr bwMode="auto">
              <a:xfrm>
                <a:off x="2994" y="2367"/>
                <a:ext cx="2" cy="5"/>
              </a:xfrm>
              <a:custGeom>
                <a:avLst/>
                <a:gdLst>
                  <a:gd name="T0" fmla="*/ 1 w 1"/>
                  <a:gd name="T1" fmla="*/ 2 h 2"/>
                  <a:gd name="T2" fmla="*/ 1 w 1"/>
                  <a:gd name="T3" fmla="*/ 0 h 2"/>
                  <a:gd name="T4" fmla="*/ 0 w 1"/>
                  <a:gd name="T5" fmla="*/ 1 h 2"/>
                  <a:gd name="T6" fmla="*/ 1 w 1"/>
                  <a:gd name="T7" fmla="*/ 2 h 2"/>
                </a:gdLst>
                <a:ahLst/>
                <a:cxnLst>
                  <a:cxn ang="0">
                    <a:pos x="T0" y="T1"/>
                  </a:cxn>
                  <a:cxn ang="0">
                    <a:pos x="T2" y="T3"/>
                  </a:cxn>
                  <a:cxn ang="0">
                    <a:pos x="T4" y="T5"/>
                  </a:cxn>
                  <a:cxn ang="0">
                    <a:pos x="T6" y="T7"/>
                  </a:cxn>
                </a:cxnLst>
                <a:rect l="0" t="0" r="r" b="b"/>
                <a:pathLst>
                  <a:path w="1" h="2">
                    <a:moveTo>
                      <a:pt x="1" y="2"/>
                    </a:moveTo>
                    <a:cubicBezTo>
                      <a:pt x="1" y="1"/>
                      <a:pt x="1" y="1"/>
                      <a:pt x="1" y="0"/>
                    </a:cubicBezTo>
                    <a:cubicBezTo>
                      <a:pt x="0" y="0"/>
                      <a:pt x="0" y="1"/>
                      <a:pt x="0" y="1"/>
                    </a:cubicBezTo>
                    <a:cubicBezTo>
                      <a:pt x="1" y="1"/>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4" name="Freeform 1609">
                <a:extLst>
                  <a:ext uri="{FF2B5EF4-FFF2-40B4-BE49-F238E27FC236}">
                    <a16:creationId xmlns:a16="http://schemas.microsoft.com/office/drawing/2014/main" id="{EC6E9A6C-121F-4D97-BE09-6436EB67A42D}"/>
                  </a:ext>
                </a:extLst>
              </p:cNvPr>
              <p:cNvSpPr>
                <a:spLocks/>
              </p:cNvSpPr>
              <p:nvPr/>
            </p:nvSpPr>
            <p:spPr bwMode="auto">
              <a:xfrm>
                <a:off x="2994" y="2381"/>
                <a:ext cx="9" cy="7"/>
              </a:xfrm>
              <a:custGeom>
                <a:avLst/>
                <a:gdLst>
                  <a:gd name="T0" fmla="*/ 3 w 4"/>
                  <a:gd name="T1" fmla="*/ 0 h 3"/>
                  <a:gd name="T2" fmla="*/ 1 w 4"/>
                  <a:gd name="T3" fmla="*/ 0 h 3"/>
                  <a:gd name="T4" fmla="*/ 0 w 4"/>
                  <a:gd name="T5" fmla="*/ 2 h 3"/>
                  <a:gd name="T6" fmla="*/ 2 w 4"/>
                  <a:gd name="T7" fmla="*/ 3 h 3"/>
                  <a:gd name="T8" fmla="*/ 3 w 4"/>
                  <a:gd name="T9" fmla="*/ 0 h 3"/>
                </a:gdLst>
                <a:ahLst/>
                <a:cxnLst>
                  <a:cxn ang="0">
                    <a:pos x="T0" y="T1"/>
                  </a:cxn>
                  <a:cxn ang="0">
                    <a:pos x="T2" y="T3"/>
                  </a:cxn>
                  <a:cxn ang="0">
                    <a:pos x="T4" y="T5"/>
                  </a:cxn>
                  <a:cxn ang="0">
                    <a:pos x="T6" y="T7"/>
                  </a:cxn>
                  <a:cxn ang="0">
                    <a:pos x="T8" y="T9"/>
                  </a:cxn>
                </a:cxnLst>
                <a:rect l="0" t="0" r="r" b="b"/>
                <a:pathLst>
                  <a:path w="4" h="3">
                    <a:moveTo>
                      <a:pt x="3" y="0"/>
                    </a:moveTo>
                    <a:cubicBezTo>
                      <a:pt x="2" y="0"/>
                      <a:pt x="1" y="0"/>
                      <a:pt x="1" y="0"/>
                    </a:cubicBezTo>
                    <a:cubicBezTo>
                      <a:pt x="1" y="0"/>
                      <a:pt x="0" y="2"/>
                      <a:pt x="0" y="2"/>
                    </a:cubicBezTo>
                    <a:cubicBezTo>
                      <a:pt x="1" y="3"/>
                      <a:pt x="1" y="3"/>
                      <a:pt x="2" y="3"/>
                    </a:cubicBezTo>
                    <a:cubicBezTo>
                      <a:pt x="3" y="2"/>
                      <a:pt x="4"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5" name="Rectangle 1610">
                <a:extLst>
                  <a:ext uri="{FF2B5EF4-FFF2-40B4-BE49-F238E27FC236}">
                    <a16:creationId xmlns:a16="http://schemas.microsoft.com/office/drawing/2014/main" id="{B08BF40F-A5E3-44EF-B771-D62991637C7A}"/>
                  </a:ext>
                </a:extLst>
              </p:cNvPr>
              <p:cNvSpPr>
                <a:spLocks noChangeArrowheads="1"/>
              </p:cNvSpPr>
              <p:nvPr/>
            </p:nvSpPr>
            <p:spPr bwMode="auto">
              <a:xfrm>
                <a:off x="1643" y="141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6" name="Freeform 1611">
                <a:extLst>
                  <a:ext uri="{FF2B5EF4-FFF2-40B4-BE49-F238E27FC236}">
                    <a16:creationId xmlns:a16="http://schemas.microsoft.com/office/drawing/2014/main" id="{D20EC781-226A-4AD3-9002-F007E6559456}"/>
                  </a:ext>
                </a:extLst>
              </p:cNvPr>
              <p:cNvSpPr>
                <a:spLocks/>
              </p:cNvSpPr>
              <p:nvPr/>
            </p:nvSpPr>
            <p:spPr bwMode="auto">
              <a:xfrm>
                <a:off x="781" y="1958"/>
                <a:ext cx="2" cy="0"/>
              </a:xfrm>
              <a:custGeom>
                <a:avLst/>
                <a:gdLst>
                  <a:gd name="T0" fmla="*/ 0 w 1"/>
                  <a:gd name="T1" fmla="*/ 1 w 1"/>
                  <a:gd name="T2" fmla="*/ 0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7" name="Freeform 1612">
                <a:extLst>
                  <a:ext uri="{FF2B5EF4-FFF2-40B4-BE49-F238E27FC236}">
                    <a16:creationId xmlns:a16="http://schemas.microsoft.com/office/drawing/2014/main" id="{8F0FC34C-1709-4716-A103-D4F41262CB84}"/>
                  </a:ext>
                </a:extLst>
              </p:cNvPr>
              <p:cNvSpPr>
                <a:spLocks/>
              </p:cNvSpPr>
              <p:nvPr/>
            </p:nvSpPr>
            <p:spPr bwMode="auto">
              <a:xfrm>
                <a:off x="454" y="1373"/>
                <a:ext cx="7" cy="5"/>
              </a:xfrm>
              <a:custGeom>
                <a:avLst/>
                <a:gdLst>
                  <a:gd name="T0" fmla="*/ 0 w 3"/>
                  <a:gd name="T1" fmla="*/ 2 h 2"/>
                  <a:gd name="T2" fmla="*/ 0 w 3"/>
                  <a:gd name="T3" fmla="*/ 2 h 2"/>
                  <a:gd name="T4" fmla="*/ 0 w 3"/>
                  <a:gd name="T5" fmla="*/ 2 h 2"/>
                  <a:gd name="T6" fmla="*/ 1 w 3"/>
                  <a:gd name="T7" fmla="*/ 2 h 2"/>
                  <a:gd name="T8" fmla="*/ 1 w 3"/>
                  <a:gd name="T9" fmla="*/ 2 h 2"/>
                  <a:gd name="T10" fmla="*/ 3 w 3"/>
                  <a:gd name="T11" fmla="*/ 0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cubicBezTo>
                      <a:pt x="0" y="2"/>
                      <a:pt x="0" y="2"/>
                      <a:pt x="0" y="2"/>
                    </a:cubicBezTo>
                    <a:cubicBezTo>
                      <a:pt x="0" y="2"/>
                      <a:pt x="0" y="2"/>
                      <a:pt x="0" y="2"/>
                    </a:cubicBezTo>
                    <a:cubicBezTo>
                      <a:pt x="1" y="2"/>
                      <a:pt x="1" y="2"/>
                      <a:pt x="1" y="2"/>
                    </a:cubicBezTo>
                    <a:cubicBezTo>
                      <a:pt x="1" y="2"/>
                      <a:pt x="1" y="2"/>
                      <a:pt x="1" y="2"/>
                    </a:cubicBezTo>
                    <a:cubicBezTo>
                      <a:pt x="1" y="1"/>
                      <a:pt x="2" y="1"/>
                      <a:pt x="3" y="0"/>
                    </a:cubicBezTo>
                    <a:cubicBezTo>
                      <a:pt x="2" y="1"/>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8" name="Freeform 1613">
                <a:extLst>
                  <a:ext uri="{FF2B5EF4-FFF2-40B4-BE49-F238E27FC236}">
                    <a16:creationId xmlns:a16="http://schemas.microsoft.com/office/drawing/2014/main" id="{26B30D49-1CEE-4DC2-A99B-D60ACED9D004}"/>
                  </a:ext>
                </a:extLst>
              </p:cNvPr>
              <p:cNvSpPr>
                <a:spLocks/>
              </p:cNvSpPr>
              <p:nvPr/>
            </p:nvSpPr>
            <p:spPr bwMode="auto">
              <a:xfrm>
                <a:off x="587" y="153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9" name="Freeform 1614">
                <a:extLst>
                  <a:ext uri="{FF2B5EF4-FFF2-40B4-BE49-F238E27FC236}">
                    <a16:creationId xmlns:a16="http://schemas.microsoft.com/office/drawing/2014/main" id="{ECA5B1E7-BFC1-4C3C-8834-29F2645FD108}"/>
                  </a:ext>
                </a:extLst>
              </p:cNvPr>
              <p:cNvSpPr>
                <a:spLocks/>
              </p:cNvSpPr>
              <p:nvPr/>
            </p:nvSpPr>
            <p:spPr bwMode="auto">
              <a:xfrm>
                <a:off x="1438" y="2017"/>
                <a:ext cx="0" cy="5"/>
              </a:xfrm>
              <a:custGeom>
                <a:avLst/>
                <a:gdLst>
                  <a:gd name="T0" fmla="*/ 2 h 2"/>
                  <a:gd name="T1" fmla="*/ 0 h 2"/>
                  <a:gd name="T2" fmla="*/ 0 h 2"/>
                  <a:gd name="T3" fmla="*/ 2 h 2"/>
                </a:gdLst>
                <a:ahLst/>
                <a:cxnLst>
                  <a:cxn ang="0">
                    <a:pos x="0" y="T0"/>
                  </a:cxn>
                  <a:cxn ang="0">
                    <a:pos x="0" y="T1"/>
                  </a:cxn>
                  <a:cxn ang="0">
                    <a:pos x="0" y="T2"/>
                  </a:cxn>
                  <a:cxn ang="0">
                    <a:pos x="0" y="T3"/>
                  </a:cxn>
                </a:cxnLst>
                <a:rect l="0" t="0" r="r" b="b"/>
                <a:pathLst>
                  <a:path h="2">
                    <a:moveTo>
                      <a:pt x="0" y="2"/>
                    </a:moveTo>
                    <a:cubicBezTo>
                      <a:pt x="0" y="1"/>
                      <a:pt x="0" y="1"/>
                      <a:pt x="0" y="0"/>
                    </a:cubicBezTo>
                    <a:cubicBezTo>
                      <a:pt x="0" y="0"/>
                      <a:pt x="0" y="0"/>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0" name="Freeform 1615">
                <a:extLst>
                  <a:ext uri="{FF2B5EF4-FFF2-40B4-BE49-F238E27FC236}">
                    <a16:creationId xmlns:a16="http://schemas.microsoft.com/office/drawing/2014/main" id="{79123465-F48D-4183-99BC-73CD9FED292B}"/>
                  </a:ext>
                </a:extLst>
              </p:cNvPr>
              <p:cNvSpPr>
                <a:spLocks/>
              </p:cNvSpPr>
              <p:nvPr/>
            </p:nvSpPr>
            <p:spPr bwMode="auto">
              <a:xfrm>
                <a:off x="1617" y="1953"/>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1" name="Freeform 1616">
                <a:extLst>
                  <a:ext uri="{FF2B5EF4-FFF2-40B4-BE49-F238E27FC236}">
                    <a16:creationId xmlns:a16="http://schemas.microsoft.com/office/drawing/2014/main" id="{1C5E8B82-613B-4FED-B99B-6A394F92737A}"/>
                  </a:ext>
                </a:extLst>
              </p:cNvPr>
              <p:cNvSpPr>
                <a:spLocks/>
              </p:cNvSpPr>
              <p:nvPr/>
            </p:nvSpPr>
            <p:spPr bwMode="auto">
              <a:xfrm>
                <a:off x="2048" y="867"/>
                <a:ext cx="2" cy="2"/>
              </a:xfrm>
              <a:custGeom>
                <a:avLst/>
                <a:gdLst>
                  <a:gd name="T0" fmla="*/ 0 w 1"/>
                  <a:gd name="T1" fmla="*/ 0 h 1"/>
                  <a:gd name="T2" fmla="*/ 0 w 1"/>
                  <a:gd name="T3" fmla="*/ 0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2" name="Rectangle 1617">
                <a:extLst>
                  <a:ext uri="{FF2B5EF4-FFF2-40B4-BE49-F238E27FC236}">
                    <a16:creationId xmlns:a16="http://schemas.microsoft.com/office/drawing/2014/main" id="{1A464948-47E0-4F1A-B3DF-2CFCA151FC1E}"/>
                  </a:ext>
                </a:extLst>
              </p:cNvPr>
              <p:cNvSpPr>
                <a:spLocks noChangeArrowheads="1"/>
              </p:cNvSpPr>
              <p:nvPr/>
            </p:nvSpPr>
            <p:spPr bwMode="auto">
              <a:xfrm>
                <a:off x="1660" y="25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3" name="Rectangle 1618">
                <a:extLst>
                  <a:ext uri="{FF2B5EF4-FFF2-40B4-BE49-F238E27FC236}">
                    <a16:creationId xmlns:a16="http://schemas.microsoft.com/office/drawing/2014/main" id="{38623617-74A2-4478-AE77-AEEA26799111}"/>
                  </a:ext>
                </a:extLst>
              </p:cNvPr>
              <p:cNvSpPr>
                <a:spLocks noChangeArrowheads="1"/>
              </p:cNvSpPr>
              <p:nvPr/>
            </p:nvSpPr>
            <p:spPr bwMode="auto">
              <a:xfrm>
                <a:off x="1660" y="25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4" name="Freeform 1619">
                <a:extLst>
                  <a:ext uri="{FF2B5EF4-FFF2-40B4-BE49-F238E27FC236}">
                    <a16:creationId xmlns:a16="http://schemas.microsoft.com/office/drawing/2014/main" id="{E656FA71-F076-4CBA-A035-716D491DA728}"/>
                  </a:ext>
                </a:extLst>
              </p:cNvPr>
              <p:cNvSpPr>
                <a:spLocks/>
              </p:cNvSpPr>
              <p:nvPr/>
            </p:nvSpPr>
            <p:spPr bwMode="auto">
              <a:xfrm>
                <a:off x="2050" y="25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5" name="Freeform 1620">
                <a:extLst>
                  <a:ext uri="{FF2B5EF4-FFF2-40B4-BE49-F238E27FC236}">
                    <a16:creationId xmlns:a16="http://schemas.microsoft.com/office/drawing/2014/main" id="{1FDBE583-01CA-4336-A3E3-84294E1CCF12}"/>
                  </a:ext>
                </a:extLst>
              </p:cNvPr>
              <p:cNvSpPr>
                <a:spLocks/>
              </p:cNvSpPr>
              <p:nvPr/>
            </p:nvSpPr>
            <p:spPr bwMode="auto">
              <a:xfrm>
                <a:off x="442" y="1354"/>
                <a:ext cx="3" cy="7"/>
              </a:xfrm>
              <a:custGeom>
                <a:avLst/>
                <a:gdLst>
                  <a:gd name="T0" fmla="*/ 1 w 1"/>
                  <a:gd name="T1" fmla="*/ 2 h 3"/>
                  <a:gd name="T2" fmla="*/ 1 w 1"/>
                  <a:gd name="T3" fmla="*/ 1 h 3"/>
                  <a:gd name="T4" fmla="*/ 1 w 1"/>
                  <a:gd name="T5" fmla="*/ 1 h 3"/>
                  <a:gd name="T6" fmla="*/ 1 w 1"/>
                  <a:gd name="T7" fmla="*/ 1 h 3"/>
                  <a:gd name="T8" fmla="*/ 1 w 1"/>
                  <a:gd name="T9" fmla="*/ 0 h 3"/>
                  <a:gd name="T10" fmla="*/ 0 w 1"/>
                  <a:gd name="T11" fmla="*/ 2 h 3"/>
                  <a:gd name="T12" fmla="*/ 0 w 1"/>
                  <a:gd name="T13" fmla="*/ 2 h 3"/>
                  <a:gd name="T14" fmla="*/ 1 w 1"/>
                  <a:gd name="T15" fmla="*/ 2 h 3"/>
                  <a:gd name="T16" fmla="*/ 1 w 1"/>
                  <a:gd name="T17" fmla="*/ 2 h 3"/>
                  <a:gd name="T18" fmla="*/ 1 w 1"/>
                  <a:gd name="T19" fmla="*/ 2 h 3"/>
                  <a:gd name="T20" fmla="*/ 1 w 1"/>
                  <a:gd name="T21" fmla="*/ 2 h 3"/>
                  <a:gd name="T22" fmla="*/ 1 w 1"/>
                  <a:gd name="T23" fmla="*/ 3 h 3"/>
                  <a:gd name="T24" fmla="*/ 1 w 1"/>
                  <a:gd name="T25" fmla="*/ 3 h 3"/>
                  <a:gd name="T26" fmla="*/ 1 w 1"/>
                  <a:gd name="T27" fmla="*/ 3 h 3"/>
                  <a:gd name="T28" fmla="*/ 1 w 1"/>
                  <a:gd name="T2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3">
                    <a:moveTo>
                      <a:pt x="1" y="2"/>
                    </a:moveTo>
                    <a:cubicBezTo>
                      <a:pt x="1" y="2"/>
                      <a:pt x="1" y="1"/>
                      <a:pt x="1" y="1"/>
                    </a:cubicBezTo>
                    <a:cubicBezTo>
                      <a:pt x="1" y="1"/>
                      <a:pt x="1" y="1"/>
                      <a:pt x="1" y="1"/>
                    </a:cubicBezTo>
                    <a:cubicBezTo>
                      <a:pt x="1" y="1"/>
                      <a:pt x="1" y="1"/>
                      <a:pt x="1" y="1"/>
                    </a:cubicBezTo>
                    <a:cubicBezTo>
                      <a:pt x="1" y="1"/>
                      <a:pt x="1" y="1"/>
                      <a:pt x="1" y="0"/>
                    </a:cubicBezTo>
                    <a:cubicBezTo>
                      <a:pt x="1" y="1"/>
                      <a:pt x="1"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2"/>
                      <a:pt x="1" y="2"/>
                      <a:pt x="1" y="3"/>
                    </a:cubicBezTo>
                    <a:cubicBezTo>
                      <a:pt x="1" y="3"/>
                      <a:pt x="1" y="3"/>
                      <a:pt x="1" y="3"/>
                    </a:cubicBezTo>
                    <a:cubicBezTo>
                      <a:pt x="1" y="3"/>
                      <a:pt x="1" y="3"/>
                      <a:pt x="1" y="3"/>
                    </a:cubicBezTo>
                    <a:cubicBezTo>
                      <a:pt x="1" y="3"/>
                      <a:pt x="1" y="3"/>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6" name="Freeform 1621">
                <a:extLst>
                  <a:ext uri="{FF2B5EF4-FFF2-40B4-BE49-F238E27FC236}">
                    <a16:creationId xmlns:a16="http://schemas.microsoft.com/office/drawing/2014/main" id="{314DA336-54FB-4859-A4FA-DF9D99B87C2B}"/>
                  </a:ext>
                </a:extLst>
              </p:cNvPr>
              <p:cNvSpPr>
                <a:spLocks/>
              </p:cNvSpPr>
              <p:nvPr/>
            </p:nvSpPr>
            <p:spPr bwMode="auto">
              <a:xfrm>
                <a:off x="1643" y="1416"/>
                <a:ext cx="0" cy="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7" name="Freeform 1622">
                <a:extLst>
                  <a:ext uri="{FF2B5EF4-FFF2-40B4-BE49-F238E27FC236}">
                    <a16:creationId xmlns:a16="http://schemas.microsoft.com/office/drawing/2014/main" id="{3C1F9C25-03E4-4F77-8EE4-E2F499BD325B}"/>
                  </a:ext>
                </a:extLst>
              </p:cNvPr>
              <p:cNvSpPr>
                <a:spLocks/>
              </p:cNvSpPr>
              <p:nvPr/>
            </p:nvSpPr>
            <p:spPr bwMode="auto">
              <a:xfrm>
                <a:off x="2372" y="3403"/>
                <a:ext cx="2"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8" name="Freeform 1623">
                <a:extLst>
                  <a:ext uri="{FF2B5EF4-FFF2-40B4-BE49-F238E27FC236}">
                    <a16:creationId xmlns:a16="http://schemas.microsoft.com/office/drawing/2014/main" id="{2DA0A153-3F9A-4526-9FC1-EBB2C9A6519A}"/>
                  </a:ext>
                </a:extLst>
              </p:cNvPr>
              <p:cNvSpPr>
                <a:spLocks/>
              </p:cNvSpPr>
              <p:nvPr/>
            </p:nvSpPr>
            <p:spPr bwMode="auto">
              <a:xfrm>
                <a:off x="409" y="129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9" name="Freeform 1624">
                <a:extLst>
                  <a:ext uri="{FF2B5EF4-FFF2-40B4-BE49-F238E27FC236}">
                    <a16:creationId xmlns:a16="http://schemas.microsoft.com/office/drawing/2014/main" id="{8B49C83F-7D9D-46C4-9F5A-954575D02B26}"/>
                  </a:ext>
                </a:extLst>
              </p:cNvPr>
              <p:cNvSpPr>
                <a:spLocks/>
              </p:cNvSpPr>
              <p:nvPr/>
            </p:nvSpPr>
            <p:spPr bwMode="auto">
              <a:xfrm>
                <a:off x="650" y="756"/>
                <a:ext cx="3" cy="7"/>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0" y="3"/>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0" name="Freeform 1625">
                <a:extLst>
                  <a:ext uri="{FF2B5EF4-FFF2-40B4-BE49-F238E27FC236}">
                    <a16:creationId xmlns:a16="http://schemas.microsoft.com/office/drawing/2014/main" id="{F2AC95D4-BA54-45DD-A260-DA596FAEEF63}"/>
                  </a:ext>
                </a:extLst>
              </p:cNvPr>
              <p:cNvSpPr>
                <a:spLocks/>
              </p:cNvSpPr>
              <p:nvPr/>
            </p:nvSpPr>
            <p:spPr bwMode="auto">
              <a:xfrm>
                <a:off x="-68" y="1066"/>
                <a:ext cx="9" cy="2"/>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1" y="0"/>
                      <a:pt x="2" y="0"/>
                      <a:pt x="4" y="0"/>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1" name="Oval 1626">
                <a:extLst>
                  <a:ext uri="{FF2B5EF4-FFF2-40B4-BE49-F238E27FC236}">
                    <a16:creationId xmlns:a16="http://schemas.microsoft.com/office/drawing/2014/main" id="{B729EFFC-D513-4DFC-94C8-C039D02ACCFC}"/>
                  </a:ext>
                </a:extLst>
              </p:cNvPr>
              <p:cNvSpPr>
                <a:spLocks noChangeArrowheads="1"/>
              </p:cNvSpPr>
              <p:nvPr/>
            </p:nvSpPr>
            <p:spPr bwMode="auto">
              <a:xfrm>
                <a:off x="409" y="1293"/>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2" name="Freeform 1627">
                <a:extLst>
                  <a:ext uri="{FF2B5EF4-FFF2-40B4-BE49-F238E27FC236}">
                    <a16:creationId xmlns:a16="http://schemas.microsoft.com/office/drawing/2014/main" id="{BC54FCAA-636F-4F88-97BA-8D70C086BC64}"/>
                  </a:ext>
                </a:extLst>
              </p:cNvPr>
              <p:cNvSpPr>
                <a:spLocks/>
              </p:cNvSpPr>
              <p:nvPr/>
            </p:nvSpPr>
            <p:spPr bwMode="auto">
              <a:xfrm>
                <a:off x="1688" y="189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3" name="Freeform 1628">
                <a:extLst>
                  <a:ext uri="{FF2B5EF4-FFF2-40B4-BE49-F238E27FC236}">
                    <a16:creationId xmlns:a16="http://schemas.microsoft.com/office/drawing/2014/main" id="{2229F7E5-828A-476B-963B-CF794F122C99}"/>
                  </a:ext>
                </a:extLst>
              </p:cNvPr>
              <p:cNvSpPr>
                <a:spLocks/>
              </p:cNvSpPr>
              <p:nvPr/>
            </p:nvSpPr>
            <p:spPr bwMode="auto">
              <a:xfrm>
                <a:off x="2391" y="33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4" name="Freeform 1629">
                <a:extLst>
                  <a:ext uri="{FF2B5EF4-FFF2-40B4-BE49-F238E27FC236}">
                    <a16:creationId xmlns:a16="http://schemas.microsoft.com/office/drawing/2014/main" id="{15EAA993-C2E1-4112-98BC-C62D26F5E798}"/>
                  </a:ext>
                </a:extLst>
              </p:cNvPr>
              <p:cNvSpPr>
                <a:spLocks/>
              </p:cNvSpPr>
              <p:nvPr/>
            </p:nvSpPr>
            <p:spPr bwMode="auto">
              <a:xfrm>
                <a:off x="2391" y="339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5" name="Freeform 1630">
                <a:extLst>
                  <a:ext uri="{FF2B5EF4-FFF2-40B4-BE49-F238E27FC236}">
                    <a16:creationId xmlns:a16="http://schemas.microsoft.com/office/drawing/2014/main" id="{B113DA61-E200-4D81-A964-297BF4145017}"/>
                  </a:ext>
                </a:extLst>
              </p:cNvPr>
              <p:cNvSpPr>
                <a:spLocks/>
              </p:cNvSpPr>
              <p:nvPr/>
            </p:nvSpPr>
            <p:spPr bwMode="auto">
              <a:xfrm>
                <a:off x="1643" y="1416"/>
                <a:ext cx="0" cy="5"/>
              </a:xfrm>
              <a:custGeom>
                <a:avLst/>
                <a:gdLst>
                  <a:gd name="T0" fmla="*/ 2 h 5"/>
                  <a:gd name="T1" fmla="*/ 5 h 5"/>
                  <a:gd name="T2" fmla="*/ 2 h 5"/>
                  <a:gd name="T3" fmla="*/ 2 h 5"/>
                  <a:gd name="T4" fmla="*/ 0 h 5"/>
                  <a:gd name="T5" fmla="*/ 2 h 5"/>
                  <a:gd name="T6" fmla="*/ 2 h 5"/>
                </a:gdLst>
                <a:ahLst/>
                <a:cxnLst>
                  <a:cxn ang="0">
                    <a:pos x="0" y="T0"/>
                  </a:cxn>
                  <a:cxn ang="0">
                    <a:pos x="0" y="T1"/>
                  </a:cxn>
                  <a:cxn ang="0">
                    <a:pos x="0" y="T2"/>
                  </a:cxn>
                  <a:cxn ang="0">
                    <a:pos x="0" y="T3"/>
                  </a:cxn>
                  <a:cxn ang="0">
                    <a:pos x="0" y="T4"/>
                  </a:cxn>
                  <a:cxn ang="0">
                    <a:pos x="0" y="T5"/>
                  </a:cxn>
                  <a:cxn ang="0">
                    <a:pos x="0" y="T6"/>
                  </a:cxn>
                </a:cxnLst>
                <a:rect l="0" t="0" r="r" b="b"/>
                <a:pathLst>
                  <a:path h="5">
                    <a:moveTo>
                      <a:pt x="0" y="2"/>
                    </a:moveTo>
                    <a:lnTo>
                      <a:pt x="0" y="5"/>
                    </a:lnTo>
                    <a:lnTo>
                      <a:pt x="0" y="2"/>
                    </a:lnTo>
                    <a:lnTo>
                      <a:pt x="0" y="2"/>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6" name="Freeform 1631">
                <a:extLst>
                  <a:ext uri="{FF2B5EF4-FFF2-40B4-BE49-F238E27FC236}">
                    <a16:creationId xmlns:a16="http://schemas.microsoft.com/office/drawing/2014/main" id="{FA607C47-959F-40C4-9E1D-14766FA345AA}"/>
                  </a:ext>
                </a:extLst>
              </p:cNvPr>
              <p:cNvSpPr>
                <a:spLocks/>
              </p:cNvSpPr>
              <p:nvPr/>
            </p:nvSpPr>
            <p:spPr bwMode="auto">
              <a:xfrm>
                <a:off x="433" y="1343"/>
                <a:ext cx="2" cy="2"/>
              </a:xfrm>
              <a:custGeom>
                <a:avLst/>
                <a:gdLst>
                  <a:gd name="T0" fmla="*/ 1 w 1"/>
                  <a:gd name="T1" fmla="*/ 1 h 1"/>
                  <a:gd name="T2" fmla="*/ 1 w 1"/>
                  <a:gd name="T3" fmla="*/ 1 h 1"/>
                  <a:gd name="T4" fmla="*/ 1 w 1"/>
                  <a:gd name="T5" fmla="*/ 0 h 1"/>
                  <a:gd name="T6" fmla="*/ 1 w 1"/>
                  <a:gd name="T7" fmla="*/ 0 h 1"/>
                  <a:gd name="T8" fmla="*/ 0 w 1"/>
                  <a:gd name="T9" fmla="*/ 0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1"/>
                      <a:pt x="1" y="1"/>
                      <a:pt x="1" y="0"/>
                    </a:cubicBezTo>
                    <a:cubicBezTo>
                      <a:pt x="1" y="0"/>
                      <a:pt x="1" y="0"/>
                      <a:pt x="1" y="0"/>
                    </a:cubicBezTo>
                    <a:cubicBezTo>
                      <a:pt x="1" y="0"/>
                      <a:pt x="0" y="0"/>
                      <a:pt x="0" y="0"/>
                    </a:cubicBezTo>
                    <a:cubicBezTo>
                      <a:pt x="0" y="0"/>
                      <a:pt x="1" y="0"/>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7" name="Freeform 1632">
                <a:extLst>
                  <a:ext uri="{FF2B5EF4-FFF2-40B4-BE49-F238E27FC236}">
                    <a16:creationId xmlns:a16="http://schemas.microsoft.com/office/drawing/2014/main" id="{BA4C6DC0-0F6F-403C-8DCB-D504ACA5ED92}"/>
                  </a:ext>
                </a:extLst>
              </p:cNvPr>
              <p:cNvSpPr>
                <a:spLocks/>
              </p:cNvSpPr>
              <p:nvPr/>
            </p:nvSpPr>
            <p:spPr bwMode="auto">
              <a:xfrm>
                <a:off x="2287" y="2817"/>
                <a:ext cx="0" cy="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8" name="Freeform 1633">
                <a:extLst>
                  <a:ext uri="{FF2B5EF4-FFF2-40B4-BE49-F238E27FC236}">
                    <a16:creationId xmlns:a16="http://schemas.microsoft.com/office/drawing/2014/main" id="{9302E38E-91D4-46CF-A456-069DB9B4F5EB}"/>
                  </a:ext>
                </a:extLst>
              </p:cNvPr>
              <p:cNvSpPr>
                <a:spLocks/>
              </p:cNvSpPr>
              <p:nvPr/>
            </p:nvSpPr>
            <p:spPr bwMode="auto">
              <a:xfrm>
                <a:off x="2324" y="281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9" name="Freeform 1634">
                <a:extLst>
                  <a:ext uri="{FF2B5EF4-FFF2-40B4-BE49-F238E27FC236}">
                    <a16:creationId xmlns:a16="http://schemas.microsoft.com/office/drawing/2014/main" id="{677D0D14-8D37-4F1A-A4FF-A686AB3B99B6}"/>
                  </a:ext>
                </a:extLst>
              </p:cNvPr>
              <p:cNvSpPr>
                <a:spLocks/>
              </p:cNvSpPr>
              <p:nvPr/>
            </p:nvSpPr>
            <p:spPr bwMode="auto">
              <a:xfrm>
                <a:off x="1833" y="1506"/>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0" name="Freeform 1635">
                <a:extLst>
                  <a:ext uri="{FF2B5EF4-FFF2-40B4-BE49-F238E27FC236}">
                    <a16:creationId xmlns:a16="http://schemas.microsoft.com/office/drawing/2014/main" id="{F2C73FE8-CCDA-430F-9F65-4403C5F2CA69}"/>
                  </a:ext>
                </a:extLst>
              </p:cNvPr>
              <p:cNvSpPr>
                <a:spLocks/>
              </p:cNvSpPr>
              <p:nvPr/>
            </p:nvSpPr>
            <p:spPr bwMode="auto">
              <a:xfrm>
                <a:off x="1833" y="1506"/>
                <a:ext cx="2" cy="0"/>
              </a:xfrm>
              <a:custGeom>
                <a:avLst/>
                <a:gdLst>
                  <a:gd name="T0" fmla="*/ 0 w 2"/>
                  <a:gd name="T1" fmla="*/ 0 w 2"/>
                  <a:gd name="T2" fmla="*/ 0 w 2"/>
                  <a:gd name="T3" fmla="*/ 2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0" y="0"/>
                    </a:lnTo>
                    <a:lnTo>
                      <a:pt x="2" y="0"/>
                    </a:lnTo>
                    <a:lnTo>
                      <a:pt x="2" y="0"/>
                    </a:lnTo>
                    <a:lnTo>
                      <a:pt x="2"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1" name="Freeform 1636">
                <a:extLst>
                  <a:ext uri="{FF2B5EF4-FFF2-40B4-BE49-F238E27FC236}">
                    <a16:creationId xmlns:a16="http://schemas.microsoft.com/office/drawing/2014/main" id="{1DF0CDAD-0B68-4206-8904-D2631DB011EC}"/>
                  </a:ext>
                </a:extLst>
              </p:cNvPr>
              <p:cNvSpPr>
                <a:spLocks/>
              </p:cNvSpPr>
              <p:nvPr/>
            </p:nvSpPr>
            <p:spPr bwMode="auto">
              <a:xfrm>
                <a:off x="2291" y="2670"/>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2" name="Freeform 1637">
                <a:extLst>
                  <a:ext uri="{FF2B5EF4-FFF2-40B4-BE49-F238E27FC236}">
                    <a16:creationId xmlns:a16="http://schemas.microsoft.com/office/drawing/2014/main" id="{66E01F4E-9F00-43E8-B381-13F04B0C9376}"/>
                  </a:ext>
                </a:extLst>
              </p:cNvPr>
              <p:cNvSpPr>
                <a:spLocks/>
              </p:cNvSpPr>
              <p:nvPr/>
            </p:nvSpPr>
            <p:spPr bwMode="auto">
              <a:xfrm>
                <a:off x="376" y="753"/>
                <a:ext cx="5" cy="3"/>
              </a:xfrm>
              <a:custGeom>
                <a:avLst/>
                <a:gdLst>
                  <a:gd name="T0" fmla="*/ 2 w 2"/>
                  <a:gd name="T1" fmla="*/ 0 h 1"/>
                  <a:gd name="T2" fmla="*/ 0 w 2"/>
                  <a:gd name="T3" fmla="*/ 1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1"/>
                      <a:pt x="0" y="1"/>
                    </a:cubicBezTo>
                    <a:cubicBezTo>
                      <a:pt x="0" y="1"/>
                      <a:pt x="0" y="1"/>
                      <a:pt x="0" y="1"/>
                    </a:cubicBezTo>
                    <a:cubicBezTo>
                      <a:pt x="0" y="1"/>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3" name="Freeform 1638">
                <a:extLst>
                  <a:ext uri="{FF2B5EF4-FFF2-40B4-BE49-F238E27FC236}">
                    <a16:creationId xmlns:a16="http://schemas.microsoft.com/office/drawing/2014/main" id="{2B6522BD-B900-48E8-9B33-859EB07474C2}"/>
                  </a:ext>
                </a:extLst>
              </p:cNvPr>
              <p:cNvSpPr>
                <a:spLocks/>
              </p:cNvSpPr>
              <p:nvPr/>
            </p:nvSpPr>
            <p:spPr bwMode="auto">
              <a:xfrm>
                <a:off x="400" y="131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4" name="Oval 1639">
                <a:extLst>
                  <a:ext uri="{FF2B5EF4-FFF2-40B4-BE49-F238E27FC236}">
                    <a16:creationId xmlns:a16="http://schemas.microsoft.com/office/drawing/2014/main" id="{9E2794F6-615F-4D01-9621-5B952C548F6C}"/>
                  </a:ext>
                </a:extLst>
              </p:cNvPr>
              <p:cNvSpPr>
                <a:spLocks noChangeArrowheads="1"/>
              </p:cNvSpPr>
              <p:nvPr/>
            </p:nvSpPr>
            <p:spPr bwMode="auto">
              <a:xfrm>
                <a:off x="405" y="1321"/>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5" name="Freeform 1640">
                <a:extLst>
                  <a:ext uri="{FF2B5EF4-FFF2-40B4-BE49-F238E27FC236}">
                    <a16:creationId xmlns:a16="http://schemas.microsoft.com/office/drawing/2014/main" id="{A22121A9-16F2-483D-9CDD-84C677D94703}"/>
                  </a:ext>
                </a:extLst>
              </p:cNvPr>
              <p:cNvSpPr>
                <a:spLocks/>
              </p:cNvSpPr>
              <p:nvPr/>
            </p:nvSpPr>
            <p:spPr bwMode="auto">
              <a:xfrm>
                <a:off x="2171" y="1409"/>
                <a:ext cx="4" cy="2"/>
              </a:xfrm>
              <a:custGeom>
                <a:avLst/>
                <a:gdLst>
                  <a:gd name="T0" fmla="*/ 0 w 2"/>
                  <a:gd name="T1" fmla="*/ 1 h 1"/>
                  <a:gd name="T2" fmla="*/ 1 w 2"/>
                  <a:gd name="T3" fmla="*/ 1 h 1"/>
                  <a:gd name="T4" fmla="*/ 2 w 2"/>
                  <a:gd name="T5" fmla="*/ 0 h 1"/>
                  <a:gd name="T6" fmla="*/ 0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1"/>
                      <a:pt x="1" y="1"/>
                      <a:pt x="1" y="1"/>
                    </a:cubicBezTo>
                    <a:cubicBezTo>
                      <a:pt x="1" y="1"/>
                      <a:pt x="2" y="1"/>
                      <a:pt x="2" y="0"/>
                    </a:cubicBezTo>
                    <a:cubicBezTo>
                      <a:pt x="1" y="1"/>
                      <a:pt x="1"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6" name="Freeform 1641">
                <a:extLst>
                  <a:ext uri="{FF2B5EF4-FFF2-40B4-BE49-F238E27FC236}">
                    <a16:creationId xmlns:a16="http://schemas.microsoft.com/office/drawing/2014/main" id="{D6E7AA90-08E6-4C06-BEA7-24693B8AD228}"/>
                  </a:ext>
                </a:extLst>
              </p:cNvPr>
              <p:cNvSpPr>
                <a:spLocks/>
              </p:cNvSpPr>
              <p:nvPr/>
            </p:nvSpPr>
            <p:spPr bwMode="auto">
              <a:xfrm>
                <a:off x="402" y="1316"/>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7" name="Freeform 1642">
                <a:extLst>
                  <a:ext uri="{FF2B5EF4-FFF2-40B4-BE49-F238E27FC236}">
                    <a16:creationId xmlns:a16="http://schemas.microsoft.com/office/drawing/2014/main" id="{EB436634-DD6E-4E2C-B326-5E329DE11D96}"/>
                  </a:ext>
                </a:extLst>
              </p:cNvPr>
              <p:cNvSpPr>
                <a:spLocks/>
              </p:cNvSpPr>
              <p:nvPr/>
            </p:nvSpPr>
            <p:spPr bwMode="auto">
              <a:xfrm>
                <a:off x="402" y="1314"/>
                <a:ext cx="3" cy="2"/>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0"/>
                      <a:pt x="0" y="0"/>
                      <a:pt x="0" y="0"/>
                    </a:cubicBezTo>
                    <a:cubicBezTo>
                      <a:pt x="1" y="0"/>
                      <a:pt x="1" y="1"/>
                      <a:pt x="1"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8" name="Freeform 1643">
                <a:extLst>
                  <a:ext uri="{FF2B5EF4-FFF2-40B4-BE49-F238E27FC236}">
                    <a16:creationId xmlns:a16="http://schemas.microsoft.com/office/drawing/2014/main" id="{57BBDB51-5C70-4855-BA0A-70DDC1F22130}"/>
                  </a:ext>
                </a:extLst>
              </p:cNvPr>
              <p:cNvSpPr>
                <a:spLocks/>
              </p:cNvSpPr>
              <p:nvPr/>
            </p:nvSpPr>
            <p:spPr bwMode="auto">
              <a:xfrm>
                <a:off x="2015" y="1449"/>
                <a:ext cx="2" cy="0"/>
              </a:xfrm>
              <a:custGeom>
                <a:avLst/>
                <a:gdLst>
                  <a:gd name="T0" fmla="*/ 0 w 1"/>
                  <a:gd name="T1" fmla="*/ 0 w 1"/>
                  <a:gd name="T2" fmla="*/ 1 w 1"/>
                  <a:gd name="T3" fmla="*/ 1 w 1"/>
                  <a:gd name="T4" fmla="*/ 1 w 1"/>
                  <a:gd name="T5" fmla="*/ 1 w 1"/>
                  <a:gd name="T6" fmla="*/ 0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9" name="Freeform 1644">
                <a:extLst>
                  <a:ext uri="{FF2B5EF4-FFF2-40B4-BE49-F238E27FC236}">
                    <a16:creationId xmlns:a16="http://schemas.microsoft.com/office/drawing/2014/main" id="{8B8FE571-3EB2-4D4C-9985-222583721EF3}"/>
                  </a:ext>
                </a:extLst>
              </p:cNvPr>
              <p:cNvSpPr>
                <a:spLocks/>
              </p:cNvSpPr>
              <p:nvPr/>
            </p:nvSpPr>
            <p:spPr bwMode="auto">
              <a:xfrm>
                <a:off x="2012" y="144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0" name="Freeform 1645">
                <a:extLst>
                  <a:ext uri="{FF2B5EF4-FFF2-40B4-BE49-F238E27FC236}">
                    <a16:creationId xmlns:a16="http://schemas.microsoft.com/office/drawing/2014/main" id="{A61B7981-AC3C-4E48-9B9C-212A6FFC407A}"/>
                  </a:ext>
                </a:extLst>
              </p:cNvPr>
              <p:cNvSpPr>
                <a:spLocks/>
              </p:cNvSpPr>
              <p:nvPr/>
            </p:nvSpPr>
            <p:spPr bwMode="auto">
              <a:xfrm>
                <a:off x="2003" y="1447"/>
                <a:ext cx="9" cy="2"/>
              </a:xfrm>
              <a:custGeom>
                <a:avLst/>
                <a:gdLst>
                  <a:gd name="T0" fmla="*/ 4 w 4"/>
                  <a:gd name="T1" fmla="*/ 1 h 1"/>
                  <a:gd name="T2" fmla="*/ 3 w 4"/>
                  <a:gd name="T3" fmla="*/ 0 h 1"/>
                  <a:gd name="T4" fmla="*/ 3 w 4"/>
                  <a:gd name="T5" fmla="*/ 0 h 1"/>
                  <a:gd name="T6" fmla="*/ 3 w 4"/>
                  <a:gd name="T7" fmla="*/ 0 h 1"/>
                  <a:gd name="T8" fmla="*/ 2 w 4"/>
                  <a:gd name="T9" fmla="*/ 0 h 1"/>
                  <a:gd name="T10" fmla="*/ 2 w 4"/>
                  <a:gd name="T11" fmla="*/ 0 h 1"/>
                  <a:gd name="T12" fmla="*/ 0 w 4"/>
                  <a:gd name="T13" fmla="*/ 1 h 1"/>
                  <a:gd name="T14" fmla="*/ 4 w 4"/>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
                    <a:moveTo>
                      <a:pt x="4" y="1"/>
                    </a:moveTo>
                    <a:cubicBezTo>
                      <a:pt x="3" y="1"/>
                      <a:pt x="4" y="0"/>
                      <a:pt x="3" y="0"/>
                    </a:cubicBezTo>
                    <a:cubicBezTo>
                      <a:pt x="3" y="0"/>
                      <a:pt x="3" y="0"/>
                      <a:pt x="3" y="0"/>
                    </a:cubicBezTo>
                    <a:cubicBezTo>
                      <a:pt x="3" y="0"/>
                      <a:pt x="3" y="0"/>
                      <a:pt x="3" y="0"/>
                    </a:cubicBezTo>
                    <a:cubicBezTo>
                      <a:pt x="2" y="0"/>
                      <a:pt x="2" y="0"/>
                      <a:pt x="2" y="0"/>
                    </a:cubicBezTo>
                    <a:cubicBezTo>
                      <a:pt x="2" y="0"/>
                      <a:pt x="2" y="0"/>
                      <a:pt x="2" y="0"/>
                    </a:cubicBezTo>
                    <a:cubicBezTo>
                      <a:pt x="2" y="0"/>
                      <a:pt x="1" y="0"/>
                      <a:pt x="0" y="1"/>
                    </a:cubicBezTo>
                    <a:cubicBezTo>
                      <a:pt x="1" y="1"/>
                      <a:pt x="2"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1" name="Freeform 1646">
                <a:extLst>
                  <a:ext uri="{FF2B5EF4-FFF2-40B4-BE49-F238E27FC236}">
                    <a16:creationId xmlns:a16="http://schemas.microsoft.com/office/drawing/2014/main" id="{03177EB4-BE21-4184-BCEE-56770E305992}"/>
                  </a:ext>
                </a:extLst>
              </p:cNvPr>
              <p:cNvSpPr>
                <a:spLocks/>
              </p:cNvSpPr>
              <p:nvPr/>
            </p:nvSpPr>
            <p:spPr bwMode="auto">
              <a:xfrm>
                <a:off x="2017" y="144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2" name="Freeform 1647">
                <a:extLst>
                  <a:ext uri="{FF2B5EF4-FFF2-40B4-BE49-F238E27FC236}">
                    <a16:creationId xmlns:a16="http://schemas.microsoft.com/office/drawing/2014/main" id="{4AE670B6-9A8F-4C9D-8DAA-96CF1FEF3944}"/>
                  </a:ext>
                </a:extLst>
              </p:cNvPr>
              <p:cNvSpPr>
                <a:spLocks/>
              </p:cNvSpPr>
              <p:nvPr/>
            </p:nvSpPr>
            <p:spPr bwMode="auto">
              <a:xfrm>
                <a:off x="1896" y="1482"/>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3" name="Freeform 1648">
                <a:extLst>
                  <a:ext uri="{FF2B5EF4-FFF2-40B4-BE49-F238E27FC236}">
                    <a16:creationId xmlns:a16="http://schemas.microsoft.com/office/drawing/2014/main" id="{DA639F2B-1EAD-410A-AEF5-003D526DF27C}"/>
                  </a:ext>
                </a:extLst>
              </p:cNvPr>
              <p:cNvSpPr>
                <a:spLocks/>
              </p:cNvSpPr>
              <p:nvPr/>
            </p:nvSpPr>
            <p:spPr bwMode="auto">
              <a:xfrm>
                <a:off x="-59" y="1066"/>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4" name="Rectangle 1649">
                <a:extLst>
                  <a:ext uri="{FF2B5EF4-FFF2-40B4-BE49-F238E27FC236}">
                    <a16:creationId xmlns:a16="http://schemas.microsoft.com/office/drawing/2014/main" id="{E4FA77C7-4D41-47E7-B058-A7056B639194}"/>
                  </a:ext>
                </a:extLst>
              </p:cNvPr>
              <p:cNvSpPr>
                <a:spLocks noChangeArrowheads="1"/>
              </p:cNvSpPr>
              <p:nvPr/>
            </p:nvSpPr>
            <p:spPr bwMode="auto">
              <a:xfrm>
                <a:off x="1896" y="148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5" name="Freeform 1650">
                <a:extLst>
                  <a:ext uri="{FF2B5EF4-FFF2-40B4-BE49-F238E27FC236}">
                    <a16:creationId xmlns:a16="http://schemas.microsoft.com/office/drawing/2014/main" id="{278C9482-EC88-4AA8-9300-87D8B17C341B}"/>
                  </a:ext>
                </a:extLst>
              </p:cNvPr>
              <p:cNvSpPr>
                <a:spLocks/>
              </p:cNvSpPr>
              <p:nvPr/>
            </p:nvSpPr>
            <p:spPr bwMode="auto">
              <a:xfrm>
                <a:off x="1896" y="1482"/>
                <a:ext cx="0" cy="2"/>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6" name="Freeform 1651">
                <a:extLst>
                  <a:ext uri="{FF2B5EF4-FFF2-40B4-BE49-F238E27FC236}">
                    <a16:creationId xmlns:a16="http://schemas.microsoft.com/office/drawing/2014/main" id="{8FD45891-035E-46A4-B053-3597BFBD5D32}"/>
                  </a:ext>
                </a:extLst>
              </p:cNvPr>
              <p:cNvSpPr>
                <a:spLocks/>
              </p:cNvSpPr>
              <p:nvPr/>
            </p:nvSpPr>
            <p:spPr bwMode="auto">
              <a:xfrm>
                <a:off x="1617" y="195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7" name="Freeform 1652">
                <a:extLst>
                  <a:ext uri="{FF2B5EF4-FFF2-40B4-BE49-F238E27FC236}">
                    <a16:creationId xmlns:a16="http://schemas.microsoft.com/office/drawing/2014/main" id="{9C67DD6A-169E-4880-898E-A41273A8A313}"/>
                  </a:ext>
                </a:extLst>
              </p:cNvPr>
              <p:cNvSpPr>
                <a:spLocks/>
              </p:cNvSpPr>
              <p:nvPr/>
            </p:nvSpPr>
            <p:spPr bwMode="auto">
              <a:xfrm>
                <a:off x="851" y="365"/>
                <a:ext cx="5" cy="5"/>
              </a:xfrm>
              <a:custGeom>
                <a:avLst/>
                <a:gdLst>
                  <a:gd name="T0" fmla="*/ 2 w 2"/>
                  <a:gd name="T1" fmla="*/ 0 h 2"/>
                  <a:gd name="T2" fmla="*/ 1 w 2"/>
                  <a:gd name="T3" fmla="*/ 1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2" y="0"/>
                      <a:pt x="1" y="1"/>
                      <a:pt x="1" y="1"/>
                    </a:cubicBezTo>
                    <a:cubicBezTo>
                      <a:pt x="0" y="1"/>
                      <a:pt x="0" y="1"/>
                      <a:pt x="0" y="2"/>
                    </a:cubicBezTo>
                    <a:cubicBezTo>
                      <a:pt x="1"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8" name="Freeform 1653">
                <a:extLst>
                  <a:ext uri="{FF2B5EF4-FFF2-40B4-BE49-F238E27FC236}">
                    <a16:creationId xmlns:a16="http://schemas.microsoft.com/office/drawing/2014/main" id="{C69D62F5-65E5-48BF-9FDC-39B4213A8A20}"/>
                  </a:ext>
                </a:extLst>
              </p:cNvPr>
              <p:cNvSpPr>
                <a:spLocks/>
              </p:cNvSpPr>
              <p:nvPr/>
            </p:nvSpPr>
            <p:spPr bwMode="auto">
              <a:xfrm>
                <a:off x="3055" y="97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9" name="Freeform 1654">
                <a:extLst>
                  <a:ext uri="{FF2B5EF4-FFF2-40B4-BE49-F238E27FC236}">
                    <a16:creationId xmlns:a16="http://schemas.microsoft.com/office/drawing/2014/main" id="{AE961E16-1872-4219-AA1E-AF4729AF8EA0}"/>
                  </a:ext>
                </a:extLst>
              </p:cNvPr>
              <p:cNvSpPr>
                <a:spLocks/>
              </p:cNvSpPr>
              <p:nvPr/>
            </p:nvSpPr>
            <p:spPr bwMode="auto">
              <a:xfrm>
                <a:off x="3024" y="957"/>
                <a:ext cx="10" cy="0"/>
              </a:xfrm>
              <a:custGeom>
                <a:avLst/>
                <a:gdLst>
                  <a:gd name="T0" fmla="*/ 0 w 4"/>
                  <a:gd name="T1" fmla="*/ 4 w 4"/>
                  <a:gd name="T2" fmla="*/ 0 w 4"/>
                </a:gdLst>
                <a:ahLst/>
                <a:cxnLst>
                  <a:cxn ang="0">
                    <a:pos x="T0" y="0"/>
                  </a:cxn>
                  <a:cxn ang="0">
                    <a:pos x="T1" y="0"/>
                  </a:cxn>
                  <a:cxn ang="0">
                    <a:pos x="T2" y="0"/>
                  </a:cxn>
                </a:cxnLst>
                <a:rect l="0" t="0" r="r" b="b"/>
                <a:pathLst>
                  <a:path w="4">
                    <a:moveTo>
                      <a:pt x="0" y="0"/>
                    </a:moveTo>
                    <a:cubicBezTo>
                      <a:pt x="1" y="0"/>
                      <a:pt x="3" y="0"/>
                      <a:pt x="4" y="0"/>
                    </a:cubicBezTo>
                    <a:cubicBezTo>
                      <a:pt x="3"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0" name="Freeform 1655">
                <a:extLst>
                  <a:ext uri="{FF2B5EF4-FFF2-40B4-BE49-F238E27FC236}">
                    <a16:creationId xmlns:a16="http://schemas.microsoft.com/office/drawing/2014/main" id="{69780C0A-ADA1-420B-8166-F11258064E9D}"/>
                  </a:ext>
                </a:extLst>
              </p:cNvPr>
              <p:cNvSpPr>
                <a:spLocks/>
              </p:cNvSpPr>
              <p:nvPr/>
            </p:nvSpPr>
            <p:spPr bwMode="auto">
              <a:xfrm>
                <a:off x="3022" y="945"/>
                <a:ext cx="7" cy="5"/>
              </a:xfrm>
              <a:custGeom>
                <a:avLst/>
                <a:gdLst>
                  <a:gd name="T0" fmla="*/ 0 w 3"/>
                  <a:gd name="T1" fmla="*/ 2 h 2"/>
                  <a:gd name="T2" fmla="*/ 3 w 3"/>
                  <a:gd name="T3" fmla="*/ 0 h 2"/>
                  <a:gd name="T4" fmla="*/ 0 w 3"/>
                  <a:gd name="T5" fmla="*/ 2 h 2"/>
                </a:gdLst>
                <a:ahLst/>
                <a:cxnLst>
                  <a:cxn ang="0">
                    <a:pos x="T0" y="T1"/>
                  </a:cxn>
                  <a:cxn ang="0">
                    <a:pos x="T2" y="T3"/>
                  </a:cxn>
                  <a:cxn ang="0">
                    <a:pos x="T4" y="T5"/>
                  </a:cxn>
                </a:cxnLst>
                <a:rect l="0" t="0" r="r" b="b"/>
                <a:pathLst>
                  <a:path w="3" h="2">
                    <a:moveTo>
                      <a:pt x="0" y="2"/>
                    </a:moveTo>
                    <a:cubicBezTo>
                      <a:pt x="1" y="1"/>
                      <a:pt x="2" y="1"/>
                      <a:pt x="3" y="0"/>
                    </a:cubicBezTo>
                    <a:cubicBezTo>
                      <a:pt x="2" y="1"/>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1" name="Freeform 1656">
                <a:extLst>
                  <a:ext uri="{FF2B5EF4-FFF2-40B4-BE49-F238E27FC236}">
                    <a16:creationId xmlns:a16="http://schemas.microsoft.com/office/drawing/2014/main" id="{453CFB49-DC9D-4F57-AB8C-D21D393262F3}"/>
                  </a:ext>
                </a:extLst>
              </p:cNvPr>
              <p:cNvSpPr>
                <a:spLocks/>
              </p:cNvSpPr>
              <p:nvPr/>
            </p:nvSpPr>
            <p:spPr bwMode="auto">
              <a:xfrm>
                <a:off x="2459" y="1104"/>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2" name="Freeform 1657">
                <a:extLst>
                  <a:ext uri="{FF2B5EF4-FFF2-40B4-BE49-F238E27FC236}">
                    <a16:creationId xmlns:a16="http://schemas.microsoft.com/office/drawing/2014/main" id="{E95002A0-FFB4-4F5A-8035-B83F2412394A}"/>
                  </a:ext>
                </a:extLst>
              </p:cNvPr>
              <p:cNvSpPr>
                <a:spLocks/>
              </p:cNvSpPr>
              <p:nvPr/>
            </p:nvSpPr>
            <p:spPr bwMode="auto">
              <a:xfrm>
                <a:off x="2497" y="1118"/>
                <a:ext cx="2"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3" name="Freeform 1658">
                <a:extLst>
                  <a:ext uri="{FF2B5EF4-FFF2-40B4-BE49-F238E27FC236}">
                    <a16:creationId xmlns:a16="http://schemas.microsoft.com/office/drawing/2014/main" id="{36CA2A8A-9831-4FEC-95F8-8470D869FB9C}"/>
                  </a:ext>
                </a:extLst>
              </p:cNvPr>
              <p:cNvSpPr>
                <a:spLocks/>
              </p:cNvSpPr>
              <p:nvPr/>
            </p:nvSpPr>
            <p:spPr bwMode="auto">
              <a:xfrm>
                <a:off x="2497" y="1118"/>
                <a:ext cx="5" cy="0"/>
              </a:xfrm>
              <a:custGeom>
                <a:avLst/>
                <a:gdLst>
                  <a:gd name="T0" fmla="*/ 0 w 2"/>
                  <a:gd name="T1" fmla="*/ 0 w 2"/>
                  <a:gd name="T2" fmla="*/ 1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0" y="0"/>
                      <a:pt x="0" y="0"/>
                      <a:pt x="0" y="0"/>
                    </a:cubicBezTo>
                    <a:cubicBezTo>
                      <a:pt x="1" y="0"/>
                      <a:pt x="1" y="0"/>
                      <a:pt x="1" y="0"/>
                    </a:cubicBezTo>
                    <a:cubicBezTo>
                      <a:pt x="2" y="0"/>
                      <a:pt x="2" y="0"/>
                      <a:pt x="2"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4" name="Freeform 1659">
                <a:extLst>
                  <a:ext uri="{FF2B5EF4-FFF2-40B4-BE49-F238E27FC236}">
                    <a16:creationId xmlns:a16="http://schemas.microsoft.com/office/drawing/2014/main" id="{75E94607-13A8-460F-B90F-614116486AB5}"/>
                  </a:ext>
                </a:extLst>
              </p:cNvPr>
              <p:cNvSpPr>
                <a:spLocks/>
              </p:cNvSpPr>
              <p:nvPr/>
            </p:nvSpPr>
            <p:spPr bwMode="auto">
              <a:xfrm>
                <a:off x="2925" y="79"/>
                <a:ext cx="9" cy="2"/>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1" y="1"/>
                      <a:pt x="3" y="0"/>
                      <a:pt x="4" y="0"/>
                    </a:cubicBezTo>
                    <a:cubicBezTo>
                      <a:pt x="3"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5" name="Freeform 1660">
                <a:extLst>
                  <a:ext uri="{FF2B5EF4-FFF2-40B4-BE49-F238E27FC236}">
                    <a16:creationId xmlns:a16="http://schemas.microsoft.com/office/drawing/2014/main" id="{EA8AFE0C-D409-405E-ACF8-3FD66385378C}"/>
                  </a:ext>
                </a:extLst>
              </p:cNvPr>
              <p:cNvSpPr>
                <a:spLocks/>
              </p:cNvSpPr>
              <p:nvPr/>
            </p:nvSpPr>
            <p:spPr bwMode="auto">
              <a:xfrm>
                <a:off x="-328" y="223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6" name="Freeform 1661">
                <a:extLst>
                  <a:ext uri="{FF2B5EF4-FFF2-40B4-BE49-F238E27FC236}">
                    <a16:creationId xmlns:a16="http://schemas.microsoft.com/office/drawing/2014/main" id="{A122737F-072A-4856-B6A8-E222A9E37739}"/>
                  </a:ext>
                </a:extLst>
              </p:cNvPr>
              <p:cNvSpPr>
                <a:spLocks/>
              </p:cNvSpPr>
              <p:nvPr/>
            </p:nvSpPr>
            <p:spPr bwMode="auto">
              <a:xfrm>
                <a:off x="43" y="3193"/>
                <a:ext cx="2" cy="4"/>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0" y="1"/>
                      <a:pt x="0" y="0"/>
                    </a:cubicBezTo>
                    <a:cubicBezTo>
                      <a:pt x="0" y="1"/>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7" name="Freeform 1662">
                <a:extLst>
                  <a:ext uri="{FF2B5EF4-FFF2-40B4-BE49-F238E27FC236}">
                    <a16:creationId xmlns:a16="http://schemas.microsoft.com/office/drawing/2014/main" id="{CD26D3B5-CE5F-47C9-8044-DC6B7FB49977}"/>
                  </a:ext>
                </a:extLst>
              </p:cNvPr>
              <p:cNvSpPr>
                <a:spLocks/>
              </p:cNvSpPr>
              <p:nvPr/>
            </p:nvSpPr>
            <p:spPr bwMode="auto">
              <a:xfrm>
                <a:off x="-234" y="2270"/>
                <a:ext cx="5" cy="5"/>
              </a:xfrm>
              <a:custGeom>
                <a:avLst/>
                <a:gdLst>
                  <a:gd name="T0" fmla="*/ 0 w 2"/>
                  <a:gd name="T1" fmla="*/ 2 h 2"/>
                  <a:gd name="T2" fmla="*/ 0 w 2"/>
                  <a:gd name="T3" fmla="*/ 2 h 2"/>
                </a:gdLst>
                <a:ahLst/>
                <a:cxnLst>
                  <a:cxn ang="0">
                    <a:pos x="T0" y="T1"/>
                  </a:cxn>
                  <a:cxn ang="0">
                    <a:pos x="T2" y="T3"/>
                  </a:cxn>
                </a:cxnLst>
                <a:rect l="0" t="0" r="r" b="b"/>
                <a:pathLst>
                  <a:path w="2" h="2">
                    <a:moveTo>
                      <a:pt x="0" y="2"/>
                    </a:moveTo>
                    <a:cubicBezTo>
                      <a:pt x="2" y="2"/>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8" name="Freeform 1663">
                <a:extLst>
                  <a:ext uri="{FF2B5EF4-FFF2-40B4-BE49-F238E27FC236}">
                    <a16:creationId xmlns:a16="http://schemas.microsoft.com/office/drawing/2014/main" id="{759F83D2-F6E7-408C-80C6-C875720CA354}"/>
                  </a:ext>
                </a:extLst>
              </p:cNvPr>
              <p:cNvSpPr>
                <a:spLocks/>
              </p:cNvSpPr>
              <p:nvPr/>
            </p:nvSpPr>
            <p:spPr bwMode="auto">
              <a:xfrm>
                <a:off x="-243" y="2263"/>
                <a:ext cx="5" cy="5"/>
              </a:xfrm>
              <a:custGeom>
                <a:avLst/>
                <a:gdLst>
                  <a:gd name="T0" fmla="*/ 1 w 2"/>
                  <a:gd name="T1" fmla="*/ 1 h 2"/>
                  <a:gd name="T2" fmla="*/ 2 w 2"/>
                  <a:gd name="T3" fmla="*/ 0 h 2"/>
                  <a:gd name="T4" fmla="*/ 1 w 2"/>
                  <a:gd name="T5" fmla="*/ 1 h 2"/>
                  <a:gd name="T6" fmla="*/ 0 w 2"/>
                  <a:gd name="T7" fmla="*/ 1 h 2"/>
                  <a:gd name="T8" fmla="*/ 0 w 2"/>
                  <a:gd name="T9" fmla="*/ 2 h 2"/>
                  <a:gd name="T10" fmla="*/ 1 w 2"/>
                  <a:gd name="T11" fmla="*/ 2 h 2"/>
                  <a:gd name="T12" fmla="*/ 1 w 2"/>
                  <a:gd name="T13" fmla="*/ 2 h 2"/>
                  <a:gd name="T14" fmla="*/ 2 w 2"/>
                  <a:gd name="T15" fmla="*/ 1 h 2"/>
                  <a:gd name="T16" fmla="*/ 1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1" y="1"/>
                    </a:moveTo>
                    <a:cubicBezTo>
                      <a:pt x="2" y="1"/>
                      <a:pt x="2" y="0"/>
                      <a:pt x="2" y="0"/>
                    </a:cubicBezTo>
                    <a:cubicBezTo>
                      <a:pt x="2" y="0"/>
                      <a:pt x="1" y="1"/>
                      <a:pt x="1" y="1"/>
                    </a:cubicBezTo>
                    <a:cubicBezTo>
                      <a:pt x="1" y="0"/>
                      <a:pt x="0" y="1"/>
                      <a:pt x="0" y="1"/>
                    </a:cubicBezTo>
                    <a:cubicBezTo>
                      <a:pt x="0" y="1"/>
                      <a:pt x="0" y="2"/>
                      <a:pt x="0" y="2"/>
                    </a:cubicBezTo>
                    <a:cubicBezTo>
                      <a:pt x="0" y="2"/>
                      <a:pt x="0" y="2"/>
                      <a:pt x="1" y="2"/>
                    </a:cubicBezTo>
                    <a:cubicBezTo>
                      <a:pt x="1" y="2"/>
                      <a:pt x="1" y="2"/>
                      <a:pt x="1" y="2"/>
                    </a:cubicBezTo>
                    <a:cubicBezTo>
                      <a:pt x="2" y="2"/>
                      <a:pt x="2" y="2"/>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9" name="Freeform 1664">
                <a:extLst>
                  <a:ext uri="{FF2B5EF4-FFF2-40B4-BE49-F238E27FC236}">
                    <a16:creationId xmlns:a16="http://schemas.microsoft.com/office/drawing/2014/main" id="{164667C9-C965-4303-83B2-6F0CF71C811E}"/>
                  </a:ext>
                </a:extLst>
              </p:cNvPr>
              <p:cNvSpPr>
                <a:spLocks/>
              </p:cNvSpPr>
              <p:nvPr/>
            </p:nvSpPr>
            <p:spPr bwMode="auto">
              <a:xfrm>
                <a:off x="-321" y="2237"/>
                <a:ext cx="2" cy="5"/>
              </a:xfrm>
              <a:custGeom>
                <a:avLst/>
                <a:gdLst>
                  <a:gd name="T0" fmla="*/ 0 w 1"/>
                  <a:gd name="T1" fmla="*/ 2 h 2"/>
                  <a:gd name="T2" fmla="*/ 1 w 1"/>
                  <a:gd name="T3" fmla="*/ 1 h 2"/>
                  <a:gd name="T4" fmla="*/ 1 w 1"/>
                  <a:gd name="T5" fmla="*/ 0 h 2"/>
                  <a:gd name="T6" fmla="*/ 1 w 1"/>
                  <a:gd name="T7" fmla="*/ 1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1" y="2"/>
                      <a:pt x="1" y="1"/>
                      <a:pt x="1" y="1"/>
                    </a:cubicBezTo>
                    <a:cubicBezTo>
                      <a:pt x="1" y="1"/>
                      <a:pt x="1" y="1"/>
                      <a:pt x="1" y="0"/>
                    </a:cubicBezTo>
                    <a:cubicBezTo>
                      <a:pt x="1" y="1"/>
                      <a:pt x="1" y="1"/>
                      <a:pt x="1" y="1"/>
                    </a:cubicBezTo>
                    <a:cubicBezTo>
                      <a:pt x="1" y="1"/>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0" name="Freeform 1665">
                <a:extLst>
                  <a:ext uri="{FF2B5EF4-FFF2-40B4-BE49-F238E27FC236}">
                    <a16:creationId xmlns:a16="http://schemas.microsoft.com/office/drawing/2014/main" id="{6EB65AAF-985B-4C30-92C5-9683B3364DE3}"/>
                  </a:ext>
                </a:extLst>
              </p:cNvPr>
              <p:cNvSpPr>
                <a:spLocks/>
              </p:cNvSpPr>
              <p:nvPr/>
            </p:nvSpPr>
            <p:spPr bwMode="auto">
              <a:xfrm>
                <a:off x="-274" y="2244"/>
                <a:ext cx="17" cy="12"/>
              </a:xfrm>
              <a:custGeom>
                <a:avLst/>
                <a:gdLst>
                  <a:gd name="T0" fmla="*/ 3 w 7"/>
                  <a:gd name="T1" fmla="*/ 0 h 5"/>
                  <a:gd name="T2" fmla="*/ 2 w 7"/>
                  <a:gd name="T3" fmla="*/ 1 h 5"/>
                  <a:gd name="T4" fmla="*/ 0 w 7"/>
                  <a:gd name="T5" fmla="*/ 2 h 5"/>
                  <a:gd name="T6" fmla="*/ 2 w 7"/>
                  <a:gd name="T7" fmla="*/ 4 h 5"/>
                  <a:gd name="T8" fmla="*/ 3 w 7"/>
                  <a:gd name="T9" fmla="*/ 4 h 5"/>
                  <a:gd name="T10" fmla="*/ 5 w 7"/>
                  <a:gd name="T11" fmla="*/ 5 h 5"/>
                  <a:gd name="T12" fmla="*/ 7 w 7"/>
                  <a:gd name="T13" fmla="*/ 4 h 5"/>
                  <a:gd name="T14" fmla="*/ 3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3" y="0"/>
                    </a:moveTo>
                    <a:cubicBezTo>
                      <a:pt x="2" y="0"/>
                      <a:pt x="2" y="1"/>
                      <a:pt x="2" y="1"/>
                    </a:cubicBezTo>
                    <a:cubicBezTo>
                      <a:pt x="1" y="1"/>
                      <a:pt x="1" y="1"/>
                      <a:pt x="0" y="2"/>
                    </a:cubicBezTo>
                    <a:cubicBezTo>
                      <a:pt x="1" y="2"/>
                      <a:pt x="1" y="4"/>
                      <a:pt x="2" y="4"/>
                    </a:cubicBezTo>
                    <a:cubicBezTo>
                      <a:pt x="3" y="5"/>
                      <a:pt x="2" y="4"/>
                      <a:pt x="3" y="4"/>
                    </a:cubicBezTo>
                    <a:cubicBezTo>
                      <a:pt x="3" y="4"/>
                      <a:pt x="4" y="5"/>
                      <a:pt x="5" y="5"/>
                    </a:cubicBezTo>
                    <a:cubicBezTo>
                      <a:pt x="6" y="5"/>
                      <a:pt x="6" y="5"/>
                      <a:pt x="7" y="4"/>
                    </a:cubicBezTo>
                    <a:cubicBezTo>
                      <a:pt x="6" y="3"/>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1" name="Freeform 1666">
                <a:extLst>
                  <a:ext uri="{FF2B5EF4-FFF2-40B4-BE49-F238E27FC236}">
                    <a16:creationId xmlns:a16="http://schemas.microsoft.com/office/drawing/2014/main" id="{9ECB4349-047E-485E-9675-3DDCC4C43993}"/>
                  </a:ext>
                </a:extLst>
              </p:cNvPr>
              <p:cNvSpPr>
                <a:spLocks/>
              </p:cNvSpPr>
              <p:nvPr/>
            </p:nvSpPr>
            <p:spPr bwMode="auto">
              <a:xfrm>
                <a:off x="-220" y="2279"/>
                <a:ext cx="31" cy="36"/>
              </a:xfrm>
              <a:custGeom>
                <a:avLst/>
                <a:gdLst>
                  <a:gd name="T0" fmla="*/ 11 w 13"/>
                  <a:gd name="T1" fmla="*/ 7 h 15"/>
                  <a:gd name="T2" fmla="*/ 10 w 13"/>
                  <a:gd name="T3" fmla="*/ 6 h 15"/>
                  <a:gd name="T4" fmla="*/ 9 w 13"/>
                  <a:gd name="T5" fmla="*/ 4 h 15"/>
                  <a:gd name="T6" fmla="*/ 7 w 13"/>
                  <a:gd name="T7" fmla="*/ 3 h 15"/>
                  <a:gd name="T8" fmla="*/ 4 w 13"/>
                  <a:gd name="T9" fmla="*/ 1 h 15"/>
                  <a:gd name="T10" fmla="*/ 2 w 13"/>
                  <a:gd name="T11" fmla="*/ 2 h 15"/>
                  <a:gd name="T12" fmla="*/ 2 w 13"/>
                  <a:gd name="T13" fmla="*/ 4 h 15"/>
                  <a:gd name="T14" fmla="*/ 0 w 13"/>
                  <a:gd name="T15" fmla="*/ 5 h 15"/>
                  <a:gd name="T16" fmla="*/ 1 w 13"/>
                  <a:gd name="T17" fmla="*/ 8 h 15"/>
                  <a:gd name="T18" fmla="*/ 1 w 13"/>
                  <a:gd name="T19" fmla="*/ 11 h 15"/>
                  <a:gd name="T20" fmla="*/ 4 w 13"/>
                  <a:gd name="T21" fmla="*/ 15 h 15"/>
                  <a:gd name="T22" fmla="*/ 13 w 13"/>
                  <a:gd name="T23" fmla="*/ 8 h 15"/>
                  <a:gd name="T24" fmla="*/ 11 w 13"/>
                  <a:gd name="T2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5">
                    <a:moveTo>
                      <a:pt x="11" y="7"/>
                    </a:moveTo>
                    <a:cubicBezTo>
                      <a:pt x="11" y="6"/>
                      <a:pt x="10" y="6"/>
                      <a:pt x="10" y="6"/>
                    </a:cubicBezTo>
                    <a:cubicBezTo>
                      <a:pt x="9" y="5"/>
                      <a:pt x="10" y="4"/>
                      <a:pt x="9" y="4"/>
                    </a:cubicBezTo>
                    <a:cubicBezTo>
                      <a:pt x="8" y="3"/>
                      <a:pt x="7" y="3"/>
                      <a:pt x="7" y="3"/>
                    </a:cubicBezTo>
                    <a:cubicBezTo>
                      <a:pt x="6" y="2"/>
                      <a:pt x="5" y="2"/>
                      <a:pt x="4" y="1"/>
                    </a:cubicBezTo>
                    <a:cubicBezTo>
                      <a:pt x="2" y="1"/>
                      <a:pt x="1" y="0"/>
                      <a:pt x="2" y="2"/>
                    </a:cubicBezTo>
                    <a:cubicBezTo>
                      <a:pt x="2" y="3"/>
                      <a:pt x="2" y="3"/>
                      <a:pt x="2" y="4"/>
                    </a:cubicBezTo>
                    <a:cubicBezTo>
                      <a:pt x="1" y="5"/>
                      <a:pt x="1" y="5"/>
                      <a:pt x="0" y="5"/>
                    </a:cubicBezTo>
                    <a:cubicBezTo>
                      <a:pt x="0" y="6"/>
                      <a:pt x="0" y="7"/>
                      <a:pt x="1" y="8"/>
                    </a:cubicBezTo>
                    <a:cubicBezTo>
                      <a:pt x="1" y="9"/>
                      <a:pt x="2" y="10"/>
                      <a:pt x="1" y="11"/>
                    </a:cubicBezTo>
                    <a:cubicBezTo>
                      <a:pt x="1" y="14"/>
                      <a:pt x="2" y="14"/>
                      <a:pt x="4" y="15"/>
                    </a:cubicBezTo>
                    <a:cubicBezTo>
                      <a:pt x="7" y="13"/>
                      <a:pt x="10" y="11"/>
                      <a:pt x="13" y="8"/>
                    </a:cubicBezTo>
                    <a:cubicBezTo>
                      <a:pt x="12" y="8"/>
                      <a:pt x="11" y="8"/>
                      <a:pt x="1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2" name="Freeform 1667">
                <a:extLst>
                  <a:ext uri="{FF2B5EF4-FFF2-40B4-BE49-F238E27FC236}">
                    <a16:creationId xmlns:a16="http://schemas.microsoft.com/office/drawing/2014/main" id="{C1444115-C3AC-469A-8EEA-15D461EF0703}"/>
                  </a:ext>
                </a:extLst>
              </p:cNvPr>
              <p:cNvSpPr>
                <a:spLocks/>
              </p:cNvSpPr>
              <p:nvPr/>
            </p:nvSpPr>
            <p:spPr bwMode="auto">
              <a:xfrm>
                <a:off x="-236" y="2261"/>
                <a:ext cx="19" cy="11"/>
              </a:xfrm>
              <a:custGeom>
                <a:avLst/>
                <a:gdLst>
                  <a:gd name="T0" fmla="*/ 8 w 8"/>
                  <a:gd name="T1" fmla="*/ 3 h 5"/>
                  <a:gd name="T2" fmla="*/ 7 w 8"/>
                  <a:gd name="T3" fmla="*/ 3 h 5"/>
                  <a:gd name="T4" fmla="*/ 5 w 8"/>
                  <a:gd name="T5" fmla="*/ 1 h 5"/>
                  <a:gd name="T6" fmla="*/ 4 w 8"/>
                  <a:gd name="T7" fmla="*/ 1 h 5"/>
                  <a:gd name="T8" fmla="*/ 2 w 8"/>
                  <a:gd name="T9" fmla="*/ 1 h 5"/>
                  <a:gd name="T10" fmla="*/ 2 w 8"/>
                  <a:gd name="T11" fmla="*/ 0 h 5"/>
                  <a:gd name="T12" fmla="*/ 2 w 8"/>
                  <a:gd name="T13" fmla="*/ 1 h 5"/>
                  <a:gd name="T14" fmla="*/ 2 w 8"/>
                  <a:gd name="T15" fmla="*/ 1 h 5"/>
                  <a:gd name="T16" fmla="*/ 2 w 8"/>
                  <a:gd name="T17" fmla="*/ 1 h 5"/>
                  <a:gd name="T18" fmla="*/ 1 w 8"/>
                  <a:gd name="T19" fmla="*/ 1 h 5"/>
                  <a:gd name="T20" fmla="*/ 1 w 8"/>
                  <a:gd name="T21" fmla="*/ 3 h 5"/>
                  <a:gd name="T22" fmla="*/ 2 w 8"/>
                  <a:gd name="T23" fmla="*/ 3 h 5"/>
                  <a:gd name="T24" fmla="*/ 3 w 8"/>
                  <a:gd name="T25" fmla="*/ 4 h 5"/>
                  <a:gd name="T26" fmla="*/ 3 w 8"/>
                  <a:gd name="T27" fmla="*/ 4 h 5"/>
                  <a:gd name="T28" fmla="*/ 5 w 8"/>
                  <a:gd name="T29" fmla="*/ 5 h 5"/>
                  <a:gd name="T30" fmla="*/ 6 w 8"/>
                  <a:gd name="T31" fmla="*/ 5 h 5"/>
                  <a:gd name="T32" fmla="*/ 7 w 8"/>
                  <a:gd name="T33" fmla="*/ 4 h 5"/>
                  <a:gd name="T34" fmla="*/ 8 w 8"/>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5">
                    <a:moveTo>
                      <a:pt x="8" y="3"/>
                    </a:moveTo>
                    <a:cubicBezTo>
                      <a:pt x="8" y="3"/>
                      <a:pt x="7" y="3"/>
                      <a:pt x="7" y="3"/>
                    </a:cubicBezTo>
                    <a:cubicBezTo>
                      <a:pt x="6" y="2"/>
                      <a:pt x="5" y="2"/>
                      <a:pt x="5" y="1"/>
                    </a:cubicBezTo>
                    <a:cubicBezTo>
                      <a:pt x="5" y="1"/>
                      <a:pt x="4" y="1"/>
                      <a:pt x="4" y="1"/>
                    </a:cubicBezTo>
                    <a:cubicBezTo>
                      <a:pt x="3" y="1"/>
                      <a:pt x="3" y="1"/>
                      <a:pt x="2" y="1"/>
                    </a:cubicBezTo>
                    <a:cubicBezTo>
                      <a:pt x="2" y="1"/>
                      <a:pt x="2" y="1"/>
                      <a:pt x="2" y="0"/>
                    </a:cubicBezTo>
                    <a:cubicBezTo>
                      <a:pt x="2" y="1"/>
                      <a:pt x="2" y="1"/>
                      <a:pt x="2" y="1"/>
                    </a:cubicBezTo>
                    <a:cubicBezTo>
                      <a:pt x="2" y="1"/>
                      <a:pt x="2" y="1"/>
                      <a:pt x="2" y="1"/>
                    </a:cubicBezTo>
                    <a:cubicBezTo>
                      <a:pt x="2" y="1"/>
                      <a:pt x="2" y="1"/>
                      <a:pt x="2" y="1"/>
                    </a:cubicBezTo>
                    <a:cubicBezTo>
                      <a:pt x="1" y="1"/>
                      <a:pt x="1" y="0"/>
                      <a:pt x="1" y="1"/>
                    </a:cubicBezTo>
                    <a:cubicBezTo>
                      <a:pt x="0" y="2"/>
                      <a:pt x="0" y="2"/>
                      <a:pt x="1" y="3"/>
                    </a:cubicBezTo>
                    <a:cubicBezTo>
                      <a:pt x="1" y="3"/>
                      <a:pt x="1" y="3"/>
                      <a:pt x="2" y="3"/>
                    </a:cubicBezTo>
                    <a:cubicBezTo>
                      <a:pt x="2" y="3"/>
                      <a:pt x="3" y="3"/>
                      <a:pt x="3" y="4"/>
                    </a:cubicBezTo>
                    <a:cubicBezTo>
                      <a:pt x="3" y="4"/>
                      <a:pt x="3" y="4"/>
                      <a:pt x="3" y="4"/>
                    </a:cubicBezTo>
                    <a:cubicBezTo>
                      <a:pt x="4" y="5"/>
                      <a:pt x="4" y="5"/>
                      <a:pt x="5" y="5"/>
                    </a:cubicBezTo>
                    <a:cubicBezTo>
                      <a:pt x="6" y="5"/>
                      <a:pt x="6" y="5"/>
                      <a:pt x="6" y="5"/>
                    </a:cubicBezTo>
                    <a:cubicBezTo>
                      <a:pt x="7" y="5"/>
                      <a:pt x="7" y="4"/>
                      <a:pt x="7" y="4"/>
                    </a:cubicBezTo>
                    <a:cubicBezTo>
                      <a:pt x="8" y="4"/>
                      <a:pt x="8" y="4"/>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3" name="Freeform 1668">
                <a:extLst>
                  <a:ext uri="{FF2B5EF4-FFF2-40B4-BE49-F238E27FC236}">
                    <a16:creationId xmlns:a16="http://schemas.microsoft.com/office/drawing/2014/main" id="{23FE3BE5-F47F-4AC7-9A27-0E2F00FC7166}"/>
                  </a:ext>
                </a:extLst>
              </p:cNvPr>
              <p:cNvSpPr>
                <a:spLocks/>
              </p:cNvSpPr>
              <p:nvPr/>
            </p:nvSpPr>
            <p:spPr bwMode="auto">
              <a:xfrm>
                <a:off x="-250" y="2256"/>
                <a:ext cx="14" cy="5"/>
              </a:xfrm>
              <a:custGeom>
                <a:avLst/>
                <a:gdLst>
                  <a:gd name="T0" fmla="*/ 1 w 6"/>
                  <a:gd name="T1" fmla="*/ 0 h 2"/>
                  <a:gd name="T2" fmla="*/ 0 w 6"/>
                  <a:gd name="T3" fmla="*/ 2 h 2"/>
                  <a:gd name="T4" fmla="*/ 3 w 6"/>
                  <a:gd name="T5" fmla="*/ 2 h 2"/>
                  <a:gd name="T6" fmla="*/ 6 w 6"/>
                  <a:gd name="T7" fmla="*/ 1 h 2"/>
                  <a:gd name="T8" fmla="*/ 4 w 6"/>
                  <a:gd name="T9" fmla="*/ 1 h 2"/>
                  <a:gd name="T10" fmla="*/ 1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1" y="0"/>
                    </a:moveTo>
                    <a:cubicBezTo>
                      <a:pt x="0" y="0"/>
                      <a:pt x="0" y="1"/>
                      <a:pt x="0" y="2"/>
                    </a:cubicBezTo>
                    <a:cubicBezTo>
                      <a:pt x="1" y="2"/>
                      <a:pt x="2" y="1"/>
                      <a:pt x="3" y="2"/>
                    </a:cubicBezTo>
                    <a:cubicBezTo>
                      <a:pt x="4" y="2"/>
                      <a:pt x="5" y="1"/>
                      <a:pt x="6" y="1"/>
                    </a:cubicBezTo>
                    <a:cubicBezTo>
                      <a:pt x="6" y="1"/>
                      <a:pt x="5" y="1"/>
                      <a:pt x="4" y="1"/>
                    </a:cubicBezTo>
                    <a:cubicBezTo>
                      <a:pt x="3"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4" name="Freeform 1669">
                <a:extLst>
                  <a:ext uri="{FF2B5EF4-FFF2-40B4-BE49-F238E27FC236}">
                    <a16:creationId xmlns:a16="http://schemas.microsoft.com/office/drawing/2014/main" id="{BD05EF8A-36C0-4956-B571-6F616D746BF3}"/>
                  </a:ext>
                </a:extLst>
              </p:cNvPr>
              <p:cNvSpPr>
                <a:spLocks/>
              </p:cNvSpPr>
              <p:nvPr/>
            </p:nvSpPr>
            <p:spPr bwMode="auto">
              <a:xfrm>
                <a:off x="-312" y="2232"/>
                <a:ext cx="14" cy="7"/>
              </a:xfrm>
              <a:custGeom>
                <a:avLst/>
                <a:gdLst>
                  <a:gd name="T0" fmla="*/ 4 w 6"/>
                  <a:gd name="T1" fmla="*/ 0 h 3"/>
                  <a:gd name="T2" fmla="*/ 2 w 6"/>
                  <a:gd name="T3" fmla="*/ 0 h 3"/>
                  <a:gd name="T4" fmla="*/ 1 w 6"/>
                  <a:gd name="T5" fmla="*/ 1 h 3"/>
                  <a:gd name="T6" fmla="*/ 2 w 6"/>
                  <a:gd name="T7" fmla="*/ 3 h 3"/>
                  <a:gd name="T8" fmla="*/ 2 w 6"/>
                  <a:gd name="T9" fmla="*/ 3 h 3"/>
                  <a:gd name="T10" fmla="*/ 2 w 6"/>
                  <a:gd name="T11" fmla="*/ 3 h 3"/>
                  <a:gd name="T12" fmla="*/ 5 w 6"/>
                  <a:gd name="T13" fmla="*/ 1 h 3"/>
                  <a:gd name="T14" fmla="*/ 4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4" y="0"/>
                    </a:moveTo>
                    <a:cubicBezTo>
                      <a:pt x="3" y="0"/>
                      <a:pt x="3" y="0"/>
                      <a:pt x="2" y="0"/>
                    </a:cubicBezTo>
                    <a:cubicBezTo>
                      <a:pt x="2" y="0"/>
                      <a:pt x="2" y="1"/>
                      <a:pt x="1" y="1"/>
                    </a:cubicBezTo>
                    <a:cubicBezTo>
                      <a:pt x="1" y="1"/>
                      <a:pt x="0" y="2"/>
                      <a:pt x="2" y="3"/>
                    </a:cubicBezTo>
                    <a:cubicBezTo>
                      <a:pt x="2" y="3"/>
                      <a:pt x="2" y="3"/>
                      <a:pt x="2" y="3"/>
                    </a:cubicBezTo>
                    <a:cubicBezTo>
                      <a:pt x="2" y="3"/>
                      <a:pt x="2" y="3"/>
                      <a:pt x="2" y="3"/>
                    </a:cubicBezTo>
                    <a:cubicBezTo>
                      <a:pt x="4" y="3"/>
                      <a:pt x="5" y="3"/>
                      <a:pt x="5"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5" name="Freeform 1670">
                <a:extLst>
                  <a:ext uri="{FF2B5EF4-FFF2-40B4-BE49-F238E27FC236}">
                    <a16:creationId xmlns:a16="http://schemas.microsoft.com/office/drawing/2014/main" id="{2DC40705-16C7-4631-841B-0C3E0D7C18F1}"/>
                  </a:ext>
                </a:extLst>
              </p:cNvPr>
              <p:cNvSpPr>
                <a:spLocks/>
              </p:cNvSpPr>
              <p:nvPr/>
            </p:nvSpPr>
            <p:spPr bwMode="auto">
              <a:xfrm>
                <a:off x="1809" y="2239"/>
                <a:ext cx="5" cy="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6" name="Freeform 1671">
                <a:extLst>
                  <a:ext uri="{FF2B5EF4-FFF2-40B4-BE49-F238E27FC236}">
                    <a16:creationId xmlns:a16="http://schemas.microsoft.com/office/drawing/2014/main" id="{312F9A14-45CD-42EE-941E-FD14351247C7}"/>
                  </a:ext>
                </a:extLst>
              </p:cNvPr>
              <p:cNvSpPr>
                <a:spLocks/>
              </p:cNvSpPr>
              <p:nvPr/>
            </p:nvSpPr>
            <p:spPr bwMode="auto">
              <a:xfrm>
                <a:off x="1814" y="2239"/>
                <a:ext cx="4" cy="5"/>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1" y="2"/>
                      <a:pt x="2" y="2"/>
                      <a:pt x="2" y="1"/>
                    </a:cubicBezTo>
                    <a:cubicBezTo>
                      <a:pt x="2" y="0"/>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7" name="Freeform 1672">
                <a:extLst>
                  <a:ext uri="{FF2B5EF4-FFF2-40B4-BE49-F238E27FC236}">
                    <a16:creationId xmlns:a16="http://schemas.microsoft.com/office/drawing/2014/main" id="{B50DDC3F-68E8-443F-9AB4-5C9430165423}"/>
                  </a:ext>
                </a:extLst>
              </p:cNvPr>
              <p:cNvSpPr>
                <a:spLocks/>
              </p:cNvSpPr>
              <p:nvPr/>
            </p:nvSpPr>
            <p:spPr bwMode="auto">
              <a:xfrm>
                <a:off x="1802" y="2242"/>
                <a:ext cx="5" cy="2"/>
              </a:xfrm>
              <a:custGeom>
                <a:avLst/>
                <a:gdLst>
                  <a:gd name="T0" fmla="*/ 2 w 2"/>
                  <a:gd name="T1" fmla="*/ 0 h 1"/>
                  <a:gd name="T2" fmla="*/ 2 w 2"/>
                  <a:gd name="T3" fmla="*/ 1 h 1"/>
                  <a:gd name="T4" fmla="*/ 2 w 2"/>
                  <a:gd name="T5" fmla="*/ 0 h 1"/>
                  <a:gd name="T6" fmla="*/ 0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0"/>
                      <a:pt x="2" y="1"/>
                      <a:pt x="2" y="1"/>
                    </a:cubicBezTo>
                    <a:cubicBezTo>
                      <a:pt x="2" y="0"/>
                      <a:pt x="2" y="0"/>
                      <a:pt x="2" y="0"/>
                    </a:cubicBezTo>
                    <a:cubicBezTo>
                      <a:pt x="1" y="0"/>
                      <a:pt x="1" y="0"/>
                      <a:pt x="0" y="1"/>
                    </a:cubicBezTo>
                    <a:cubicBezTo>
                      <a:pt x="1" y="0"/>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8" name="Freeform 1673">
                <a:extLst>
                  <a:ext uri="{FF2B5EF4-FFF2-40B4-BE49-F238E27FC236}">
                    <a16:creationId xmlns:a16="http://schemas.microsoft.com/office/drawing/2014/main" id="{00E728FA-262F-4220-B81E-AECA37D09377}"/>
                  </a:ext>
                </a:extLst>
              </p:cNvPr>
              <p:cNvSpPr>
                <a:spLocks/>
              </p:cNvSpPr>
              <p:nvPr/>
            </p:nvSpPr>
            <p:spPr bwMode="auto">
              <a:xfrm>
                <a:off x="2079" y="2502"/>
                <a:ext cx="9" cy="5"/>
              </a:xfrm>
              <a:custGeom>
                <a:avLst/>
                <a:gdLst>
                  <a:gd name="T0" fmla="*/ 4 w 4"/>
                  <a:gd name="T1" fmla="*/ 0 h 2"/>
                  <a:gd name="T2" fmla="*/ 0 w 4"/>
                  <a:gd name="T3" fmla="*/ 2 h 2"/>
                  <a:gd name="T4" fmla="*/ 2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2" y="0"/>
                      <a:pt x="2" y="1"/>
                      <a:pt x="0" y="2"/>
                    </a:cubicBezTo>
                    <a:cubicBezTo>
                      <a:pt x="1" y="2"/>
                      <a:pt x="2" y="2"/>
                      <a:pt x="2" y="2"/>
                    </a:cubicBezTo>
                    <a:cubicBezTo>
                      <a:pt x="3" y="1"/>
                      <a:pt x="4"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9" name="Freeform 1674">
                <a:extLst>
                  <a:ext uri="{FF2B5EF4-FFF2-40B4-BE49-F238E27FC236}">
                    <a16:creationId xmlns:a16="http://schemas.microsoft.com/office/drawing/2014/main" id="{D37542D3-918C-4489-A202-EC43E0A66C8B}"/>
                  </a:ext>
                </a:extLst>
              </p:cNvPr>
              <p:cNvSpPr>
                <a:spLocks/>
              </p:cNvSpPr>
              <p:nvPr/>
            </p:nvSpPr>
            <p:spPr bwMode="auto">
              <a:xfrm>
                <a:off x="2074" y="2433"/>
                <a:ext cx="5" cy="10"/>
              </a:xfrm>
              <a:custGeom>
                <a:avLst/>
                <a:gdLst>
                  <a:gd name="T0" fmla="*/ 2 w 2"/>
                  <a:gd name="T1" fmla="*/ 0 h 4"/>
                  <a:gd name="T2" fmla="*/ 0 w 2"/>
                  <a:gd name="T3" fmla="*/ 3 h 4"/>
                  <a:gd name="T4" fmla="*/ 1 w 2"/>
                  <a:gd name="T5" fmla="*/ 4 h 4"/>
                  <a:gd name="T6" fmla="*/ 2 w 2"/>
                  <a:gd name="T7" fmla="*/ 3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1" y="1"/>
                      <a:pt x="0" y="2"/>
                      <a:pt x="0" y="3"/>
                    </a:cubicBezTo>
                    <a:cubicBezTo>
                      <a:pt x="0" y="4"/>
                      <a:pt x="1" y="4"/>
                      <a:pt x="1" y="4"/>
                    </a:cubicBezTo>
                    <a:cubicBezTo>
                      <a:pt x="2" y="4"/>
                      <a:pt x="2" y="3"/>
                      <a:pt x="2" y="3"/>
                    </a:cubicBezTo>
                    <a:cubicBezTo>
                      <a:pt x="2" y="2"/>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0" name="Freeform 1675">
                <a:extLst>
                  <a:ext uri="{FF2B5EF4-FFF2-40B4-BE49-F238E27FC236}">
                    <a16:creationId xmlns:a16="http://schemas.microsoft.com/office/drawing/2014/main" id="{B1B19F6F-B703-4125-A3F2-392037444B4D}"/>
                  </a:ext>
                </a:extLst>
              </p:cNvPr>
              <p:cNvSpPr>
                <a:spLocks/>
              </p:cNvSpPr>
              <p:nvPr/>
            </p:nvSpPr>
            <p:spPr bwMode="auto">
              <a:xfrm>
                <a:off x="2031" y="2353"/>
                <a:ext cx="5" cy="2"/>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0" y="0"/>
                      <a:pt x="0" y="0"/>
                    </a:cubicBezTo>
                    <a:cubicBezTo>
                      <a:pt x="0"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1" name="Freeform 1676">
                <a:extLst>
                  <a:ext uri="{FF2B5EF4-FFF2-40B4-BE49-F238E27FC236}">
                    <a16:creationId xmlns:a16="http://schemas.microsoft.com/office/drawing/2014/main" id="{76405542-BFA5-40F9-9382-14A61A4D01D7}"/>
                  </a:ext>
                </a:extLst>
              </p:cNvPr>
              <p:cNvSpPr>
                <a:spLocks/>
              </p:cNvSpPr>
              <p:nvPr/>
            </p:nvSpPr>
            <p:spPr bwMode="auto">
              <a:xfrm>
                <a:off x="1925" y="2324"/>
                <a:ext cx="40" cy="17"/>
              </a:xfrm>
              <a:custGeom>
                <a:avLst/>
                <a:gdLst>
                  <a:gd name="T0" fmla="*/ 15 w 17"/>
                  <a:gd name="T1" fmla="*/ 1 h 7"/>
                  <a:gd name="T2" fmla="*/ 13 w 17"/>
                  <a:gd name="T3" fmla="*/ 1 h 7"/>
                  <a:gd name="T4" fmla="*/ 12 w 17"/>
                  <a:gd name="T5" fmla="*/ 1 h 7"/>
                  <a:gd name="T6" fmla="*/ 11 w 17"/>
                  <a:gd name="T7" fmla="*/ 1 h 7"/>
                  <a:gd name="T8" fmla="*/ 2 w 17"/>
                  <a:gd name="T9" fmla="*/ 0 h 7"/>
                  <a:gd name="T10" fmla="*/ 0 w 17"/>
                  <a:gd name="T11" fmla="*/ 2 h 7"/>
                  <a:gd name="T12" fmla="*/ 1 w 17"/>
                  <a:gd name="T13" fmla="*/ 4 h 7"/>
                  <a:gd name="T14" fmla="*/ 3 w 17"/>
                  <a:gd name="T15" fmla="*/ 6 h 7"/>
                  <a:gd name="T16" fmla="*/ 5 w 17"/>
                  <a:gd name="T17" fmla="*/ 6 h 7"/>
                  <a:gd name="T18" fmla="*/ 10 w 17"/>
                  <a:gd name="T19" fmla="*/ 6 h 7"/>
                  <a:gd name="T20" fmla="*/ 15 w 17"/>
                  <a:gd name="T21" fmla="*/ 5 h 7"/>
                  <a:gd name="T22" fmla="*/ 15 w 17"/>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7">
                    <a:moveTo>
                      <a:pt x="15" y="1"/>
                    </a:moveTo>
                    <a:cubicBezTo>
                      <a:pt x="14" y="1"/>
                      <a:pt x="14" y="1"/>
                      <a:pt x="13" y="1"/>
                    </a:cubicBezTo>
                    <a:cubicBezTo>
                      <a:pt x="12" y="1"/>
                      <a:pt x="12" y="1"/>
                      <a:pt x="12" y="1"/>
                    </a:cubicBezTo>
                    <a:cubicBezTo>
                      <a:pt x="12" y="1"/>
                      <a:pt x="11" y="1"/>
                      <a:pt x="11" y="1"/>
                    </a:cubicBezTo>
                    <a:cubicBezTo>
                      <a:pt x="8" y="1"/>
                      <a:pt x="5" y="1"/>
                      <a:pt x="2" y="0"/>
                    </a:cubicBezTo>
                    <a:cubicBezTo>
                      <a:pt x="1" y="1"/>
                      <a:pt x="0" y="1"/>
                      <a:pt x="0" y="2"/>
                    </a:cubicBezTo>
                    <a:cubicBezTo>
                      <a:pt x="0" y="3"/>
                      <a:pt x="1" y="4"/>
                      <a:pt x="1" y="4"/>
                    </a:cubicBezTo>
                    <a:cubicBezTo>
                      <a:pt x="1" y="6"/>
                      <a:pt x="1" y="6"/>
                      <a:pt x="3" y="6"/>
                    </a:cubicBezTo>
                    <a:cubicBezTo>
                      <a:pt x="3" y="6"/>
                      <a:pt x="4" y="6"/>
                      <a:pt x="5" y="6"/>
                    </a:cubicBezTo>
                    <a:cubicBezTo>
                      <a:pt x="6" y="5"/>
                      <a:pt x="9" y="6"/>
                      <a:pt x="10" y="6"/>
                    </a:cubicBezTo>
                    <a:cubicBezTo>
                      <a:pt x="11" y="7"/>
                      <a:pt x="14" y="6"/>
                      <a:pt x="15" y="5"/>
                    </a:cubicBezTo>
                    <a:cubicBezTo>
                      <a:pt x="16" y="3"/>
                      <a:pt x="17" y="2"/>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2" name="Freeform 1677">
                <a:extLst>
                  <a:ext uri="{FF2B5EF4-FFF2-40B4-BE49-F238E27FC236}">
                    <a16:creationId xmlns:a16="http://schemas.microsoft.com/office/drawing/2014/main" id="{87C3469C-FBB8-48CF-B110-572F1B5CB860}"/>
                  </a:ext>
                </a:extLst>
              </p:cNvPr>
              <p:cNvSpPr>
                <a:spLocks/>
              </p:cNvSpPr>
              <p:nvPr/>
            </p:nvSpPr>
            <p:spPr bwMode="auto">
              <a:xfrm>
                <a:off x="1965" y="2334"/>
                <a:ext cx="5" cy="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3" name="Freeform 1678">
                <a:extLst>
                  <a:ext uri="{FF2B5EF4-FFF2-40B4-BE49-F238E27FC236}">
                    <a16:creationId xmlns:a16="http://schemas.microsoft.com/office/drawing/2014/main" id="{EDEDCBC9-008F-4B0B-8CA5-67CFE5F6562F}"/>
                  </a:ext>
                </a:extLst>
              </p:cNvPr>
              <p:cNvSpPr>
                <a:spLocks/>
              </p:cNvSpPr>
              <p:nvPr/>
            </p:nvSpPr>
            <p:spPr bwMode="auto">
              <a:xfrm>
                <a:off x="2045" y="2367"/>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4" name="Freeform 1679">
                <a:extLst>
                  <a:ext uri="{FF2B5EF4-FFF2-40B4-BE49-F238E27FC236}">
                    <a16:creationId xmlns:a16="http://schemas.microsoft.com/office/drawing/2014/main" id="{5E12D80C-CB66-4ED3-99C7-9034283B3167}"/>
                  </a:ext>
                </a:extLst>
              </p:cNvPr>
              <p:cNvSpPr>
                <a:spLocks/>
              </p:cNvSpPr>
              <p:nvPr/>
            </p:nvSpPr>
            <p:spPr bwMode="auto">
              <a:xfrm>
                <a:off x="2069" y="2414"/>
                <a:ext cx="12" cy="12"/>
              </a:xfrm>
              <a:custGeom>
                <a:avLst/>
                <a:gdLst>
                  <a:gd name="T0" fmla="*/ 2 w 5"/>
                  <a:gd name="T1" fmla="*/ 0 h 5"/>
                  <a:gd name="T2" fmla="*/ 1 w 5"/>
                  <a:gd name="T3" fmla="*/ 3 h 5"/>
                  <a:gd name="T4" fmla="*/ 2 w 5"/>
                  <a:gd name="T5" fmla="*/ 4 h 5"/>
                  <a:gd name="T6" fmla="*/ 2 w 5"/>
                  <a:gd name="T7" fmla="*/ 5 h 5"/>
                  <a:gd name="T8" fmla="*/ 5 w 5"/>
                  <a:gd name="T9" fmla="*/ 5 h 5"/>
                  <a:gd name="T10" fmla="*/ 2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2" y="0"/>
                    </a:moveTo>
                    <a:cubicBezTo>
                      <a:pt x="0" y="0"/>
                      <a:pt x="1" y="2"/>
                      <a:pt x="1" y="3"/>
                    </a:cubicBezTo>
                    <a:cubicBezTo>
                      <a:pt x="2" y="3"/>
                      <a:pt x="4" y="4"/>
                      <a:pt x="2" y="4"/>
                    </a:cubicBezTo>
                    <a:cubicBezTo>
                      <a:pt x="2" y="4"/>
                      <a:pt x="2" y="5"/>
                      <a:pt x="2" y="5"/>
                    </a:cubicBezTo>
                    <a:cubicBezTo>
                      <a:pt x="3" y="4"/>
                      <a:pt x="4" y="5"/>
                      <a:pt x="5" y="5"/>
                    </a:cubicBezTo>
                    <a:cubicBezTo>
                      <a:pt x="4" y="3"/>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5" name="Freeform 1680">
                <a:extLst>
                  <a:ext uri="{FF2B5EF4-FFF2-40B4-BE49-F238E27FC236}">
                    <a16:creationId xmlns:a16="http://schemas.microsoft.com/office/drawing/2014/main" id="{54F3A3A3-2760-4DF7-9072-60BCC88BCF1F}"/>
                  </a:ext>
                </a:extLst>
              </p:cNvPr>
              <p:cNvSpPr>
                <a:spLocks/>
              </p:cNvSpPr>
              <p:nvPr/>
            </p:nvSpPr>
            <p:spPr bwMode="auto">
              <a:xfrm>
                <a:off x="-255" y="2727"/>
                <a:ext cx="9" cy="9"/>
              </a:xfrm>
              <a:custGeom>
                <a:avLst/>
                <a:gdLst>
                  <a:gd name="T0" fmla="*/ 2 w 4"/>
                  <a:gd name="T1" fmla="*/ 3 h 4"/>
                  <a:gd name="T2" fmla="*/ 2 w 4"/>
                  <a:gd name="T3" fmla="*/ 1 h 4"/>
                  <a:gd name="T4" fmla="*/ 0 w 4"/>
                  <a:gd name="T5" fmla="*/ 0 h 4"/>
                  <a:gd name="T6" fmla="*/ 1 w 4"/>
                  <a:gd name="T7" fmla="*/ 2 h 4"/>
                  <a:gd name="T8" fmla="*/ 4 w 4"/>
                  <a:gd name="T9" fmla="*/ 4 h 4"/>
                  <a:gd name="T10" fmla="*/ 2 w 4"/>
                  <a:gd name="T11" fmla="*/ 3 h 4"/>
                </a:gdLst>
                <a:ahLst/>
                <a:cxnLst>
                  <a:cxn ang="0">
                    <a:pos x="T0" y="T1"/>
                  </a:cxn>
                  <a:cxn ang="0">
                    <a:pos x="T2" y="T3"/>
                  </a:cxn>
                  <a:cxn ang="0">
                    <a:pos x="T4" y="T5"/>
                  </a:cxn>
                  <a:cxn ang="0">
                    <a:pos x="T6" y="T7"/>
                  </a:cxn>
                  <a:cxn ang="0">
                    <a:pos x="T8" y="T9"/>
                  </a:cxn>
                  <a:cxn ang="0">
                    <a:pos x="T10" y="T11"/>
                  </a:cxn>
                </a:cxnLst>
                <a:rect l="0" t="0" r="r" b="b"/>
                <a:pathLst>
                  <a:path w="4" h="4">
                    <a:moveTo>
                      <a:pt x="2" y="3"/>
                    </a:moveTo>
                    <a:cubicBezTo>
                      <a:pt x="2" y="2"/>
                      <a:pt x="2" y="1"/>
                      <a:pt x="2" y="1"/>
                    </a:cubicBezTo>
                    <a:cubicBezTo>
                      <a:pt x="2" y="1"/>
                      <a:pt x="1" y="0"/>
                      <a:pt x="0" y="0"/>
                    </a:cubicBezTo>
                    <a:cubicBezTo>
                      <a:pt x="1" y="1"/>
                      <a:pt x="2" y="1"/>
                      <a:pt x="1" y="2"/>
                    </a:cubicBezTo>
                    <a:cubicBezTo>
                      <a:pt x="2" y="3"/>
                      <a:pt x="3" y="3"/>
                      <a:pt x="4" y="4"/>
                    </a:cubicBezTo>
                    <a:cubicBezTo>
                      <a:pt x="4" y="3"/>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6" name="Freeform 1681">
                <a:extLst>
                  <a:ext uri="{FF2B5EF4-FFF2-40B4-BE49-F238E27FC236}">
                    <a16:creationId xmlns:a16="http://schemas.microsoft.com/office/drawing/2014/main" id="{F4769451-CBEC-4618-95EF-0B7F7F0FEEEB}"/>
                  </a:ext>
                </a:extLst>
              </p:cNvPr>
              <p:cNvSpPr>
                <a:spLocks/>
              </p:cNvSpPr>
              <p:nvPr/>
            </p:nvSpPr>
            <p:spPr bwMode="auto">
              <a:xfrm>
                <a:off x="1658" y="2324"/>
                <a:ext cx="52" cy="22"/>
              </a:xfrm>
              <a:custGeom>
                <a:avLst/>
                <a:gdLst>
                  <a:gd name="T0" fmla="*/ 14 w 22"/>
                  <a:gd name="T1" fmla="*/ 6 h 9"/>
                  <a:gd name="T2" fmla="*/ 17 w 22"/>
                  <a:gd name="T3" fmla="*/ 6 h 9"/>
                  <a:gd name="T4" fmla="*/ 22 w 22"/>
                  <a:gd name="T5" fmla="*/ 7 h 9"/>
                  <a:gd name="T6" fmla="*/ 14 w 22"/>
                  <a:gd name="T7" fmla="*/ 2 h 9"/>
                  <a:gd name="T8" fmla="*/ 6 w 22"/>
                  <a:gd name="T9" fmla="*/ 0 h 9"/>
                  <a:gd name="T10" fmla="*/ 0 w 22"/>
                  <a:gd name="T11" fmla="*/ 2 h 9"/>
                  <a:gd name="T12" fmla="*/ 9 w 22"/>
                  <a:gd name="T13" fmla="*/ 7 h 9"/>
                  <a:gd name="T14" fmla="*/ 12 w 22"/>
                  <a:gd name="T15" fmla="*/ 8 h 9"/>
                  <a:gd name="T16" fmla="*/ 11 w 22"/>
                  <a:gd name="T17" fmla="*/ 8 h 9"/>
                  <a:gd name="T18" fmla="*/ 12 w 22"/>
                  <a:gd name="T19" fmla="*/ 7 h 9"/>
                  <a:gd name="T20" fmla="*/ 14 w 22"/>
                  <a:gd name="T2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9">
                    <a:moveTo>
                      <a:pt x="14" y="6"/>
                    </a:moveTo>
                    <a:cubicBezTo>
                      <a:pt x="16" y="6"/>
                      <a:pt x="16" y="6"/>
                      <a:pt x="17" y="6"/>
                    </a:cubicBezTo>
                    <a:cubicBezTo>
                      <a:pt x="19" y="7"/>
                      <a:pt x="20" y="7"/>
                      <a:pt x="22" y="7"/>
                    </a:cubicBezTo>
                    <a:cubicBezTo>
                      <a:pt x="21" y="4"/>
                      <a:pt x="17" y="3"/>
                      <a:pt x="14" y="2"/>
                    </a:cubicBezTo>
                    <a:cubicBezTo>
                      <a:pt x="12" y="1"/>
                      <a:pt x="9" y="1"/>
                      <a:pt x="6" y="0"/>
                    </a:cubicBezTo>
                    <a:cubicBezTo>
                      <a:pt x="4" y="1"/>
                      <a:pt x="2" y="1"/>
                      <a:pt x="0" y="2"/>
                    </a:cubicBezTo>
                    <a:cubicBezTo>
                      <a:pt x="3" y="4"/>
                      <a:pt x="6" y="7"/>
                      <a:pt x="9" y="7"/>
                    </a:cubicBezTo>
                    <a:cubicBezTo>
                      <a:pt x="10" y="7"/>
                      <a:pt x="11" y="9"/>
                      <a:pt x="12" y="8"/>
                    </a:cubicBezTo>
                    <a:cubicBezTo>
                      <a:pt x="12" y="8"/>
                      <a:pt x="11" y="8"/>
                      <a:pt x="11" y="8"/>
                    </a:cubicBezTo>
                    <a:cubicBezTo>
                      <a:pt x="12" y="8"/>
                      <a:pt x="12" y="7"/>
                      <a:pt x="12" y="7"/>
                    </a:cubicBezTo>
                    <a:cubicBezTo>
                      <a:pt x="13" y="6"/>
                      <a:pt x="14"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7" name="Freeform 1682">
                <a:extLst>
                  <a:ext uri="{FF2B5EF4-FFF2-40B4-BE49-F238E27FC236}">
                    <a16:creationId xmlns:a16="http://schemas.microsoft.com/office/drawing/2014/main" id="{E9566BBC-AA5F-44D0-ACA5-D2B2858F026F}"/>
                  </a:ext>
                </a:extLst>
              </p:cNvPr>
              <p:cNvSpPr>
                <a:spLocks/>
              </p:cNvSpPr>
              <p:nvPr/>
            </p:nvSpPr>
            <p:spPr bwMode="auto">
              <a:xfrm>
                <a:off x="1473" y="2374"/>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8" name="Freeform 1683">
                <a:extLst>
                  <a:ext uri="{FF2B5EF4-FFF2-40B4-BE49-F238E27FC236}">
                    <a16:creationId xmlns:a16="http://schemas.microsoft.com/office/drawing/2014/main" id="{955108A4-C6F9-4F38-A7BA-861C26A5D1EC}"/>
                  </a:ext>
                </a:extLst>
              </p:cNvPr>
              <p:cNvSpPr>
                <a:spLocks/>
              </p:cNvSpPr>
              <p:nvPr/>
            </p:nvSpPr>
            <p:spPr bwMode="auto">
              <a:xfrm>
                <a:off x="1778" y="2315"/>
                <a:ext cx="14" cy="5"/>
              </a:xfrm>
              <a:custGeom>
                <a:avLst/>
                <a:gdLst>
                  <a:gd name="T0" fmla="*/ 5 w 6"/>
                  <a:gd name="T1" fmla="*/ 2 h 2"/>
                  <a:gd name="T2" fmla="*/ 0 w 6"/>
                  <a:gd name="T3" fmla="*/ 0 h 2"/>
                  <a:gd name="T4" fmla="*/ 4 w 6"/>
                  <a:gd name="T5" fmla="*/ 2 h 2"/>
                  <a:gd name="T6" fmla="*/ 5 w 6"/>
                  <a:gd name="T7" fmla="*/ 2 h 2"/>
                </a:gdLst>
                <a:ahLst/>
                <a:cxnLst>
                  <a:cxn ang="0">
                    <a:pos x="T0" y="T1"/>
                  </a:cxn>
                  <a:cxn ang="0">
                    <a:pos x="T2" y="T3"/>
                  </a:cxn>
                  <a:cxn ang="0">
                    <a:pos x="T4" y="T5"/>
                  </a:cxn>
                  <a:cxn ang="0">
                    <a:pos x="T6" y="T7"/>
                  </a:cxn>
                </a:cxnLst>
                <a:rect l="0" t="0" r="r" b="b"/>
                <a:pathLst>
                  <a:path w="6" h="2">
                    <a:moveTo>
                      <a:pt x="5" y="2"/>
                    </a:moveTo>
                    <a:cubicBezTo>
                      <a:pt x="6" y="0"/>
                      <a:pt x="1" y="0"/>
                      <a:pt x="0" y="0"/>
                    </a:cubicBezTo>
                    <a:cubicBezTo>
                      <a:pt x="1" y="1"/>
                      <a:pt x="3" y="2"/>
                      <a:pt x="4" y="2"/>
                    </a:cubicBezTo>
                    <a:cubicBezTo>
                      <a:pt x="4" y="2"/>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9" name="Freeform 1684">
                <a:extLst>
                  <a:ext uri="{FF2B5EF4-FFF2-40B4-BE49-F238E27FC236}">
                    <a16:creationId xmlns:a16="http://schemas.microsoft.com/office/drawing/2014/main" id="{225D5C30-59B0-4F80-92BC-70F875B56338}"/>
                  </a:ext>
                </a:extLst>
              </p:cNvPr>
              <p:cNvSpPr>
                <a:spLocks/>
              </p:cNvSpPr>
              <p:nvPr/>
            </p:nvSpPr>
            <p:spPr bwMode="auto">
              <a:xfrm>
                <a:off x="1788" y="2287"/>
                <a:ext cx="7" cy="2"/>
              </a:xfrm>
              <a:custGeom>
                <a:avLst/>
                <a:gdLst>
                  <a:gd name="T0" fmla="*/ 3 w 3"/>
                  <a:gd name="T1" fmla="*/ 0 h 1"/>
                  <a:gd name="T2" fmla="*/ 3 w 3"/>
                  <a:gd name="T3" fmla="*/ 0 h 1"/>
                  <a:gd name="T4" fmla="*/ 2 w 3"/>
                  <a:gd name="T5" fmla="*/ 0 h 1"/>
                  <a:gd name="T6" fmla="*/ 0 w 3"/>
                  <a:gd name="T7" fmla="*/ 0 h 1"/>
                  <a:gd name="T8" fmla="*/ 0 w 3"/>
                  <a:gd name="T9" fmla="*/ 0 h 1"/>
                  <a:gd name="T10" fmla="*/ 3 w 3"/>
                  <a:gd name="T11" fmla="*/ 0 h 1"/>
                  <a:gd name="T12" fmla="*/ 3 w 3"/>
                  <a:gd name="T13" fmla="*/ 0 h 1"/>
                  <a:gd name="T14" fmla="*/ 3 w 3"/>
                  <a:gd name="T15" fmla="*/ 0 h 1"/>
                  <a:gd name="T16" fmla="*/ 3 w 3"/>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3" y="0"/>
                    </a:moveTo>
                    <a:cubicBezTo>
                      <a:pt x="3" y="0"/>
                      <a:pt x="3" y="0"/>
                      <a:pt x="3" y="0"/>
                    </a:cubicBezTo>
                    <a:cubicBezTo>
                      <a:pt x="2" y="0"/>
                      <a:pt x="2" y="0"/>
                      <a:pt x="2" y="0"/>
                    </a:cubicBezTo>
                    <a:cubicBezTo>
                      <a:pt x="1" y="0"/>
                      <a:pt x="0" y="0"/>
                      <a:pt x="0" y="0"/>
                    </a:cubicBezTo>
                    <a:cubicBezTo>
                      <a:pt x="0" y="0"/>
                      <a:pt x="0" y="0"/>
                      <a:pt x="0" y="0"/>
                    </a:cubicBezTo>
                    <a:cubicBezTo>
                      <a:pt x="1" y="0"/>
                      <a:pt x="2" y="1"/>
                      <a:pt x="3" y="0"/>
                    </a:cubicBezTo>
                    <a:cubicBezTo>
                      <a:pt x="3" y="0"/>
                      <a:pt x="3" y="0"/>
                      <a:pt x="3" y="0"/>
                    </a:cubicBezTo>
                    <a:cubicBezTo>
                      <a:pt x="3" y="0"/>
                      <a:pt x="3" y="0"/>
                      <a:pt x="3" y="0"/>
                    </a:cubicBezTo>
                    <a:cubicBezTo>
                      <a:pt x="3"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0" name="Freeform 1685">
                <a:extLst>
                  <a:ext uri="{FF2B5EF4-FFF2-40B4-BE49-F238E27FC236}">
                    <a16:creationId xmlns:a16="http://schemas.microsoft.com/office/drawing/2014/main" id="{0128BD9B-F372-4754-A685-645374CC4F8D}"/>
                  </a:ext>
                </a:extLst>
              </p:cNvPr>
              <p:cNvSpPr>
                <a:spLocks/>
              </p:cNvSpPr>
              <p:nvPr/>
            </p:nvSpPr>
            <p:spPr bwMode="auto">
              <a:xfrm>
                <a:off x="2062" y="2376"/>
                <a:ext cx="9" cy="5"/>
              </a:xfrm>
              <a:custGeom>
                <a:avLst/>
                <a:gdLst>
                  <a:gd name="T0" fmla="*/ 2 w 4"/>
                  <a:gd name="T1" fmla="*/ 0 h 2"/>
                  <a:gd name="T2" fmla="*/ 1 w 4"/>
                  <a:gd name="T3" fmla="*/ 2 h 2"/>
                  <a:gd name="T4" fmla="*/ 4 w 4"/>
                  <a:gd name="T5" fmla="*/ 2 h 2"/>
                  <a:gd name="T6" fmla="*/ 2 w 4"/>
                  <a:gd name="T7" fmla="*/ 0 h 2"/>
                </a:gdLst>
                <a:ahLst/>
                <a:cxnLst>
                  <a:cxn ang="0">
                    <a:pos x="T0" y="T1"/>
                  </a:cxn>
                  <a:cxn ang="0">
                    <a:pos x="T2" y="T3"/>
                  </a:cxn>
                  <a:cxn ang="0">
                    <a:pos x="T4" y="T5"/>
                  </a:cxn>
                  <a:cxn ang="0">
                    <a:pos x="T6" y="T7"/>
                  </a:cxn>
                </a:cxnLst>
                <a:rect l="0" t="0" r="r" b="b"/>
                <a:pathLst>
                  <a:path w="4" h="2">
                    <a:moveTo>
                      <a:pt x="2" y="0"/>
                    </a:moveTo>
                    <a:cubicBezTo>
                      <a:pt x="1" y="0"/>
                      <a:pt x="0" y="2"/>
                      <a:pt x="1" y="2"/>
                    </a:cubicBezTo>
                    <a:cubicBezTo>
                      <a:pt x="2" y="2"/>
                      <a:pt x="3" y="2"/>
                      <a:pt x="4" y="2"/>
                    </a:cubicBezTo>
                    <a:cubicBezTo>
                      <a:pt x="3"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1" name="Freeform 1686">
                <a:extLst>
                  <a:ext uri="{FF2B5EF4-FFF2-40B4-BE49-F238E27FC236}">
                    <a16:creationId xmlns:a16="http://schemas.microsoft.com/office/drawing/2014/main" id="{9A3AA2C0-9063-489C-A54D-35E7EFF5D3D9}"/>
                  </a:ext>
                </a:extLst>
              </p:cNvPr>
              <p:cNvSpPr>
                <a:spLocks/>
              </p:cNvSpPr>
              <p:nvPr/>
            </p:nvSpPr>
            <p:spPr bwMode="auto">
              <a:xfrm>
                <a:off x="2069" y="2388"/>
                <a:ext cx="2" cy="3"/>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0"/>
                      <a:pt x="1"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2" name="Freeform 1687">
                <a:extLst>
                  <a:ext uri="{FF2B5EF4-FFF2-40B4-BE49-F238E27FC236}">
                    <a16:creationId xmlns:a16="http://schemas.microsoft.com/office/drawing/2014/main" id="{268C2137-0A2E-423A-A17C-0F689668151D}"/>
                  </a:ext>
                </a:extLst>
              </p:cNvPr>
              <p:cNvSpPr>
                <a:spLocks/>
              </p:cNvSpPr>
              <p:nvPr/>
            </p:nvSpPr>
            <p:spPr bwMode="auto">
              <a:xfrm>
                <a:off x="2057" y="2379"/>
                <a:ext cx="7" cy="9"/>
              </a:xfrm>
              <a:custGeom>
                <a:avLst/>
                <a:gdLst>
                  <a:gd name="T0" fmla="*/ 1 w 3"/>
                  <a:gd name="T1" fmla="*/ 0 h 4"/>
                  <a:gd name="T2" fmla="*/ 0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0" y="1"/>
                      <a:pt x="0" y="1"/>
                    </a:cubicBezTo>
                    <a:cubicBezTo>
                      <a:pt x="0" y="2"/>
                      <a:pt x="0" y="4"/>
                      <a:pt x="1" y="4"/>
                    </a:cubicBezTo>
                    <a:cubicBezTo>
                      <a:pt x="3"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3" name="Freeform 1688">
                <a:extLst>
                  <a:ext uri="{FF2B5EF4-FFF2-40B4-BE49-F238E27FC236}">
                    <a16:creationId xmlns:a16="http://schemas.microsoft.com/office/drawing/2014/main" id="{CB66D6A2-8CB7-4301-A1DE-4085FBD3F700}"/>
                  </a:ext>
                </a:extLst>
              </p:cNvPr>
              <p:cNvSpPr>
                <a:spLocks/>
              </p:cNvSpPr>
              <p:nvPr/>
            </p:nvSpPr>
            <p:spPr bwMode="auto">
              <a:xfrm>
                <a:off x="2057" y="2476"/>
                <a:ext cx="5" cy="9"/>
              </a:xfrm>
              <a:custGeom>
                <a:avLst/>
                <a:gdLst>
                  <a:gd name="T0" fmla="*/ 0 w 2"/>
                  <a:gd name="T1" fmla="*/ 4 h 4"/>
                  <a:gd name="T2" fmla="*/ 2 w 2"/>
                  <a:gd name="T3" fmla="*/ 3 h 4"/>
                  <a:gd name="T4" fmla="*/ 0 w 2"/>
                  <a:gd name="T5" fmla="*/ 4 h 4"/>
                </a:gdLst>
                <a:ahLst/>
                <a:cxnLst>
                  <a:cxn ang="0">
                    <a:pos x="T0" y="T1"/>
                  </a:cxn>
                  <a:cxn ang="0">
                    <a:pos x="T2" y="T3"/>
                  </a:cxn>
                  <a:cxn ang="0">
                    <a:pos x="T4" y="T5"/>
                  </a:cxn>
                </a:cxnLst>
                <a:rect l="0" t="0" r="r" b="b"/>
                <a:pathLst>
                  <a:path w="2" h="4">
                    <a:moveTo>
                      <a:pt x="0" y="4"/>
                    </a:moveTo>
                    <a:cubicBezTo>
                      <a:pt x="0" y="4"/>
                      <a:pt x="1" y="3"/>
                      <a:pt x="2" y="3"/>
                    </a:cubicBezTo>
                    <a:cubicBezTo>
                      <a:pt x="1" y="0"/>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4" name="Freeform 1689">
                <a:extLst>
                  <a:ext uri="{FF2B5EF4-FFF2-40B4-BE49-F238E27FC236}">
                    <a16:creationId xmlns:a16="http://schemas.microsoft.com/office/drawing/2014/main" id="{6389BC3A-BF6B-4C5D-AA15-0DADE656EC67}"/>
                  </a:ext>
                </a:extLst>
              </p:cNvPr>
              <p:cNvSpPr>
                <a:spLocks/>
              </p:cNvSpPr>
              <p:nvPr/>
            </p:nvSpPr>
            <p:spPr bwMode="auto">
              <a:xfrm>
                <a:off x="163" y="2989"/>
                <a:ext cx="5" cy="7"/>
              </a:xfrm>
              <a:custGeom>
                <a:avLst/>
                <a:gdLst>
                  <a:gd name="T0" fmla="*/ 0 w 2"/>
                  <a:gd name="T1" fmla="*/ 1 h 3"/>
                  <a:gd name="T2" fmla="*/ 1 w 2"/>
                  <a:gd name="T3" fmla="*/ 2 h 3"/>
                  <a:gd name="T4" fmla="*/ 2 w 2"/>
                  <a:gd name="T5" fmla="*/ 2 h 3"/>
                  <a:gd name="T6" fmla="*/ 2 w 2"/>
                  <a:gd name="T7" fmla="*/ 2 h 3"/>
                  <a:gd name="T8" fmla="*/ 2 w 2"/>
                  <a:gd name="T9" fmla="*/ 2 h 3"/>
                  <a:gd name="T10" fmla="*/ 2 w 2"/>
                  <a:gd name="T11" fmla="*/ 2 h 3"/>
                  <a:gd name="T12" fmla="*/ 0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1"/>
                    </a:moveTo>
                    <a:cubicBezTo>
                      <a:pt x="0" y="3"/>
                      <a:pt x="1" y="2"/>
                      <a:pt x="1" y="2"/>
                    </a:cubicBezTo>
                    <a:cubicBezTo>
                      <a:pt x="1" y="2"/>
                      <a:pt x="1" y="2"/>
                      <a:pt x="2" y="2"/>
                    </a:cubicBezTo>
                    <a:cubicBezTo>
                      <a:pt x="2" y="2"/>
                      <a:pt x="2" y="2"/>
                      <a:pt x="2" y="2"/>
                    </a:cubicBezTo>
                    <a:cubicBezTo>
                      <a:pt x="2" y="2"/>
                      <a:pt x="2" y="2"/>
                      <a:pt x="2" y="2"/>
                    </a:cubicBezTo>
                    <a:cubicBezTo>
                      <a:pt x="2" y="2"/>
                      <a:pt x="2" y="2"/>
                      <a:pt x="2" y="2"/>
                    </a:cubicBezTo>
                    <a:cubicBezTo>
                      <a:pt x="2"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5" name="Freeform 1690">
                <a:extLst>
                  <a:ext uri="{FF2B5EF4-FFF2-40B4-BE49-F238E27FC236}">
                    <a16:creationId xmlns:a16="http://schemas.microsoft.com/office/drawing/2014/main" id="{7C3AEB27-E403-4E86-B99B-87AC7F9E8448}"/>
                  </a:ext>
                </a:extLst>
              </p:cNvPr>
              <p:cNvSpPr>
                <a:spLocks/>
              </p:cNvSpPr>
              <p:nvPr/>
            </p:nvSpPr>
            <p:spPr bwMode="auto">
              <a:xfrm>
                <a:off x="-108" y="3188"/>
                <a:ext cx="2"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1" y="0"/>
                      <a:pt x="1" y="0"/>
                    </a:cubicBezTo>
                    <a:cubicBezTo>
                      <a:pt x="1"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6" name="Freeform 1691">
                <a:extLst>
                  <a:ext uri="{FF2B5EF4-FFF2-40B4-BE49-F238E27FC236}">
                    <a16:creationId xmlns:a16="http://schemas.microsoft.com/office/drawing/2014/main" id="{8E41EDC8-B46E-4FB2-A212-802EB2DB56B4}"/>
                  </a:ext>
                </a:extLst>
              </p:cNvPr>
              <p:cNvSpPr>
                <a:spLocks/>
              </p:cNvSpPr>
              <p:nvPr/>
            </p:nvSpPr>
            <p:spPr bwMode="auto">
              <a:xfrm>
                <a:off x="-71" y="3205"/>
                <a:ext cx="3" cy="2"/>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0" y="1"/>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7" name="Freeform 1692">
                <a:extLst>
                  <a:ext uri="{FF2B5EF4-FFF2-40B4-BE49-F238E27FC236}">
                    <a16:creationId xmlns:a16="http://schemas.microsoft.com/office/drawing/2014/main" id="{1D905378-0F88-43C8-B5E2-67EBDA3E84B3}"/>
                  </a:ext>
                </a:extLst>
              </p:cNvPr>
              <p:cNvSpPr>
                <a:spLocks/>
              </p:cNvSpPr>
              <p:nvPr/>
            </p:nvSpPr>
            <p:spPr bwMode="auto">
              <a:xfrm>
                <a:off x="166" y="3003"/>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8" name="Freeform 1693">
                <a:extLst>
                  <a:ext uri="{FF2B5EF4-FFF2-40B4-BE49-F238E27FC236}">
                    <a16:creationId xmlns:a16="http://schemas.microsoft.com/office/drawing/2014/main" id="{BB949791-B924-4E55-A76F-B059A3D50761}"/>
                  </a:ext>
                </a:extLst>
              </p:cNvPr>
              <p:cNvSpPr>
                <a:spLocks/>
              </p:cNvSpPr>
              <p:nvPr/>
            </p:nvSpPr>
            <p:spPr bwMode="auto">
              <a:xfrm>
                <a:off x="189" y="3018"/>
                <a:ext cx="3"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9" name="Freeform 1694">
                <a:extLst>
                  <a:ext uri="{FF2B5EF4-FFF2-40B4-BE49-F238E27FC236}">
                    <a16:creationId xmlns:a16="http://schemas.microsoft.com/office/drawing/2014/main" id="{D52DB42C-844B-49A8-8528-181CE13F8EFA}"/>
                  </a:ext>
                </a:extLst>
              </p:cNvPr>
              <p:cNvSpPr>
                <a:spLocks/>
              </p:cNvSpPr>
              <p:nvPr/>
            </p:nvSpPr>
            <p:spPr bwMode="auto">
              <a:xfrm>
                <a:off x="185" y="3013"/>
                <a:ext cx="12" cy="2"/>
              </a:xfrm>
              <a:custGeom>
                <a:avLst/>
                <a:gdLst>
                  <a:gd name="T0" fmla="*/ 3 w 5"/>
                  <a:gd name="T1" fmla="*/ 1 h 1"/>
                  <a:gd name="T2" fmla="*/ 5 w 5"/>
                  <a:gd name="T3" fmla="*/ 0 h 1"/>
                  <a:gd name="T4" fmla="*/ 3 w 5"/>
                  <a:gd name="T5" fmla="*/ 0 h 1"/>
                  <a:gd name="T6" fmla="*/ 3 w 5"/>
                  <a:gd name="T7" fmla="*/ 1 h 1"/>
                </a:gdLst>
                <a:ahLst/>
                <a:cxnLst>
                  <a:cxn ang="0">
                    <a:pos x="T0" y="T1"/>
                  </a:cxn>
                  <a:cxn ang="0">
                    <a:pos x="T2" y="T3"/>
                  </a:cxn>
                  <a:cxn ang="0">
                    <a:pos x="T4" y="T5"/>
                  </a:cxn>
                  <a:cxn ang="0">
                    <a:pos x="T6" y="T7"/>
                  </a:cxn>
                </a:cxnLst>
                <a:rect l="0" t="0" r="r" b="b"/>
                <a:pathLst>
                  <a:path w="5" h="1">
                    <a:moveTo>
                      <a:pt x="3" y="1"/>
                    </a:moveTo>
                    <a:cubicBezTo>
                      <a:pt x="3" y="1"/>
                      <a:pt x="4" y="1"/>
                      <a:pt x="5" y="0"/>
                    </a:cubicBezTo>
                    <a:cubicBezTo>
                      <a:pt x="4" y="0"/>
                      <a:pt x="4" y="0"/>
                      <a:pt x="3" y="0"/>
                    </a:cubicBezTo>
                    <a:cubicBezTo>
                      <a:pt x="3" y="0"/>
                      <a:pt x="0"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0" name="Freeform 1695">
                <a:extLst>
                  <a:ext uri="{FF2B5EF4-FFF2-40B4-BE49-F238E27FC236}">
                    <a16:creationId xmlns:a16="http://schemas.microsoft.com/office/drawing/2014/main" id="{4438D3E0-F2AD-4CB5-8E6C-D4A8C184B8D8}"/>
                  </a:ext>
                </a:extLst>
              </p:cNvPr>
              <p:cNvSpPr>
                <a:spLocks/>
              </p:cNvSpPr>
              <p:nvPr/>
            </p:nvSpPr>
            <p:spPr bwMode="auto">
              <a:xfrm>
                <a:off x="-64" y="3202"/>
                <a:ext cx="12" cy="12"/>
              </a:xfrm>
              <a:custGeom>
                <a:avLst/>
                <a:gdLst>
                  <a:gd name="T0" fmla="*/ 3 w 5"/>
                  <a:gd name="T1" fmla="*/ 3 h 5"/>
                  <a:gd name="T2" fmla="*/ 3 w 5"/>
                  <a:gd name="T3" fmla="*/ 1 h 5"/>
                  <a:gd name="T4" fmla="*/ 2 w 5"/>
                  <a:gd name="T5" fmla="*/ 1 h 5"/>
                  <a:gd name="T6" fmla="*/ 0 w 5"/>
                  <a:gd name="T7" fmla="*/ 3 h 5"/>
                  <a:gd name="T8" fmla="*/ 2 w 5"/>
                  <a:gd name="T9" fmla="*/ 4 h 5"/>
                  <a:gd name="T10" fmla="*/ 5 w 5"/>
                  <a:gd name="T11" fmla="*/ 5 h 5"/>
                  <a:gd name="T12" fmla="*/ 4 w 5"/>
                  <a:gd name="T13" fmla="*/ 3 h 5"/>
                  <a:gd name="T14" fmla="*/ 3 w 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3"/>
                    </a:moveTo>
                    <a:cubicBezTo>
                      <a:pt x="3" y="2"/>
                      <a:pt x="3" y="2"/>
                      <a:pt x="3" y="1"/>
                    </a:cubicBezTo>
                    <a:cubicBezTo>
                      <a:pt x="3" y="1"/>
                      <a:pt x="2" y="1"/>
                      <a:pt x="2" y="1"/>
                    </a:cubicBezTo>
                    <a:cubicBezTo>
                      <a:pt x="1" y="0"/>
                      <a:pt x="0" y="1"/>
                      <a:pt x="0" y="3"/>
                    </a:cubicBezTo>
                    <a:cubicBezTo>
                      <a:pt x="0" y="3"/>
                      <a:pt x="1" y="3"/>
                      <a:pt x="2" y="4"/>
                    </a:cubicBezTo>
                    <a:cubicBezTo>
                      <a:pt x="3" y="4"/>
                      <a:pt x="4" y="4"/>
                      <a:pt x="5" y="5"/>
                    </a:cubicBezTo>
                    <a:cubicBezTo>
                      <a:pt x="5" y="4"/>
                      <a:pt x="4" y="4"/>
                      <a:pt x="4" y="3"/>
                    </a:cubicBezTo>
                    <a:cubicBezTo>
                      <a:pt x="3" y="3"/>
                      <a:pt x="3" y="4"/>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1" name="Freeform 1696">
                <a:extLst>
                  <a:ext uri="{FF2B5EF4-FFF2-40B4-BE49-F238E27FC236}">
                    <a16:creationId xmlns:a16="http://schemas.microsoft.com/office/drawing/2014/main" id="{6F31F0C6-776D-404E-8605-C639F6D5DD11}"/>
                  </a:ext>
                </a:extLst>
              </p:cNvPr>
              <p:cNvSpPr>
                <a:spLocks/>
              </p:cNvSpPr>
              <p:nvPr/>
            </p:nvSpPr>
            <p:spPr bwMode="auto">
              <a:xfrm>
                <a:off x="253" y="3228"/>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2" name="Freeform 1697">
                <a:extLst>
                  <a:ext uri="{FF2B5EF4-FFF2-40B4-BE49-F238E27FC236}">
                    <a16:creationId xmlns:a16="http://schemas.microsoft.com/office/drawing/2014/main" id="{C0C1FA64-4E01-426D-8855-8EDD73E26ABD}"/>
                  </a:ext>
                </a:extLst>
              </p:cNvPr>
              <p:cNvSpPr>
                <a:spLocks/>
              </p:cNvSpPr>
              <p:nvPr/>
            </p:nvSpPr>
            <p:spPr bwMode="auto">
              <a:xfrm>
                <a:off x="31" y="3167"/>
                <a:ext cx="5" cy="7"/>
              </a:xfrm>
              <a:custGeom>
                <a:avLst/>
                <a:gdLst>
                  <a:gd name="T0" fmla="*/ 0 w 2"/>
                  <a:gd name="T1" fmla="*/ 1 h 3"/>
                  <a:gd name="T2" fmla="*/ 2 w 2"/>
                  <a:gd name="T3" fmla="*/ 3 h 3"/>
                  <a:gd name="T4" fmla="*/ 0 w 2"/>
                  <a:gd name="T5" fmla="*/ 1 h 3"/>
                </a:gdLst>
                <a:ahLst/>
                <a:cxnLst>
                  <a:cxn ang="0">
                    <a:pos x="T0" y="T1"/>
                  </a:cxn>
                  <a:cxn ang="0">
                    <a:pos x="T2" y="T3"/>
                  </a:cxn>
                  <a:cxn ang="0">
                    <a:pos x="T4" y="T5"/>
                  </a:cxn>
                </a:cxnLst>
                <a:rect l="0" t="0" r="r" b="b"/>
                <a:pathLst>
                  <a:path w="2" h="3">
                    <a:moveTo>
                      <a:pt x="0" y="1"/>
                    </a:moveTo>
                    <a:cubicBezTo>
                      <a:pt x="0" y="2"/>
                      <a:pt x="1" y="3"/>
                      <a:pt x="2" y="3"/>
                    </a:cubicBezTo>
                    <a:cubicBezTo>
                      <a:pt x="1" y="3"/>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3" name="Freeform 1698">
                <a:extLst>
                  <a:ext uri="{FF2B5EF4-FFF2-40B4-BE49-F238E27FC236}">
                    <a16:creationId xmlns:a16="http://schemas.microsoft.com/office/drawing/2014/main" id="{D6332698-C4C6-4842-BC6C-B53685B63E2A}"/>
                  </a:ext>
                </a:extLst>
              </p:cNvPr>
              <p:cNvSpPr>
                <a:spLocks/>
              </p:cNvSpPr>
              <p:nvPr/>
            </p:nvSpPr>
            <p:spPr bwMode="auto">
              <a:xfrm>
                <a:off x="149" y="3226"/>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4" name="Freeform 1699">
                <a:extLst>
                  <a:ext uri="{FF2B5EF4-FFF2-40B4-BE49-F238E27FC236}">
                    <a16:creationId xmlns:a16="http://schemas.microsoft.com/office/drawing/2014/main" id="{74583421-99EB-475F-81B0-9291AC3AB0C3}"/>
                  </a:ext>
                </a:extLst>
              </p:cNvPr>
              <p:cNvSpPr>
                <a:spLocks/>
              </p:cNvSpPr>
              <p:nvPr/>
            </p:nvSpPr>
            <p:spPr bwMode="auto">
              <a:xfrm>
                <a:off x="149" y="3209"/>
                <a:ext cx="5" cy="5"/>
              </a:xfrm>
              <a:custGeom>
                <a:avLst/>
                <a:gdLst>
                  <a:gd name="T0" fmla="*/ 0 w 2"/>
                  <a:gd name="T1" fmla="*/ 2 h 2"/>
                  <a:gd name="T2" fmla="*/ 0 w 2"/>
                  <a:gd name="T3" fmla="*/ 1 h 2"/>
                  <a:gd name="T4" fmla="*/ 2 w 2"/>
                  <a:gd name="T5" fmla="*/ 0 h 2"/>
                  <a:gd name="T6" fmla="*/ 0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1"/>
                      <a:pt x="0" y="1"/>
                      <a:pt x="0" y="1"/>
                    </a:cubicBezTo>
                    <a:cubicBezTo>
                      <a:pt x="1" y="1"/>
                      <a:pt x="2" y="1"/>
                      <a:pt x="2" y="0"/>
                    </a:cubicBezTo>
                    <a:cubicBezTo>
                      <a:pt x="1" y="0"/>
                      <a:pt x="1" y="1"/>
                      <a:pt x="0" y="1"/>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5" name="Freeform 1700">
                <a:extLst>
                  <a:ext uri="{FF2B5EF4-FFF2-40B4-BE49-F238E27FC236}">
                    <a16:creationId xmlns:a16="http://schemas.microsoft.com/office/drawing/2014/main" id="{4ECD43B8-0484-4950-A465-BDF9A5C724BD}"/>
                  </a:ext>
                </a:extLst>
              </p:cNvPr>
              <p:cNvSpPr>
                <a:spLocks/>
              </p:cNvSpPr>
              <p:nvPr/>
            </p:nvSpPr>
            <p:spPr bwMode="auto">
              <a:xfrm>
                <a:off x="1362" y="2767"/>
                <a:ext cx="3" cy="2"/>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1" y="1"/>
                      <a:pt x="1" y="1"/>
                      <a:pt x="1" y="1"/>
                    </a:cubicBezTo>
                    <a:cubicBezTo>
                      <a:pt x="1" y="1"/>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6" name="Freeform 1701">
                <a:extLst>
                  <a:ext uri="{FF2B5EF4-FFF2-40B4-BE49-F238E27FC236}">
                    <a16:creationId xmlns:a16="http://schemas.microsoft.com/office/drawing/2014/main" id="{0757E342-9136-43D2-951B-98C7F277B2AF}"/>
                  </a:ext>
                </a:extLst>
              </p:cNvPr>
              <p:cNvSpPr>
                <a:spLocks/>
              </p:cNvSpPr>
              <p:nvPr/>
            </p:nvSpPr>
            <p:spPr bwMode="auto">
              <a:xfrm>
                <a:off x="1336" y="2783"/>
                <a:ext cx="7" cy="7"/>
              </a:xfrm>
              <a:custGeom>
                <a:avLst/>
                <a:gdLst>
                  <a:gd name="T0" fmla="*/ 3 w 3"/>
                  <a:gd name="T1" fmla="*/ 1 h 3"/>
                  <a:gd name="T2" fmla="*/ 0 w 3"/>
                  <a:gd name="T3" fmla="*/ 0 h 3"/>
                  <a:gd name="T4" fmla="*/ 1 w 3"/>
                  <a:gd name="T5" fmla="*/ 2 h 3"/>
                  <a:gd name="T6" fmla="*/ 3 w 3"/>
                  <a:gd name="T7" fmla="*/ 1 h 3"/>
                </a:gdLst>
                <a:ahLst/>
                <a:cxnLst>
                  <a:cxn ang="0">
                    <a:pos x="T0" y="T1"/>
                  </a:cxn>
                  <a:cxn ang="0">
                    <a:pos x="T2" y="T3"/>
                  </a:cxn>
                  <a:cxn ang="0">
                    <a:pos x="T4" y="T5"/>
                  </a:cxn>
                  <a:cxn ang="0">
                    <a:pos x="T6" y="T7"/>
                  </a:cxn>
                </a:cxnLst>
                <a:rect l="0" t="0" r="r" b="b"/>
                <a:pathLst>
                  <a:path w="3" h="3">
                    <a:moveTo>
                      <a:pt x="3" y="1"/>
                    </a:moveTo>
                    <a:cubicBezTo>
                      <a:pt x="2" y="0"/>
                      <a:pt x="1" y="0"/>
                      <a:pt x="0" y="0"/>
                    </a:cubicBezTo>
                    <a:cubicBezTo>
                      <a:pt x="0" y="1"/>
                      <a:pt x="1" y="2"/>
                      <a:pt x="1" y="2"/>
                    </a:cubicBezTo>
                    <a:cubicBezTo>
                      <a:pt x="2" y="3"/>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7" name="Freeform 1702">
                <a:extLst>
                  <a:ext uri="{FF2B5EF4-FFF2-40B4-BE49-F238E27FC236}">
                    <a16:creationId xmlns:a16="http://schemas.microsoft.com/office/drawing/2014/main" id="{5A57A016-7F73-4B13-BE48-9E162496E25F}"/>
                  </a:ext>
                </a:extLst>
              </p:cNvPr>
              <p:cNvSpPr>
                <a:spLocks/>
              </p:cNvSpPr>
              <p:nvPr/>
            </p:nvSpPr>
            <p:spPr bwMode="auto">
              <a:xfrm>
                <a:off x="1383" y="2793"/>
                <a:ext cx="10" cy="7"/>
              </a:xfrm>
              <a:custGeom>
                <a:avLst/>
                <a:gdLst>
                  <a:gd name="T0" fmla="*/ 2 w 4"/>
                  <a:gd name="T1" fmla="*/ 3 h 3"/>
                  <a:gd name="T2" fmla="*/ 4 w 4"/>
                  <a:gd name="T3" fmla="*/ 1 h 3"/>
                  <a:gd name="T4" fmla="*/ 4 w 4"/>
                  <a:gd name="T5" fmla="*/ 1 h 3"/>
                  <a:gd name="T6" fmla="*/ 2 w 4"/>
                  <a:gd name="T7" fmla="*/ 3 h 3"/>
                </a:gdLst>
                <a:ahLst/>
                <a:cxnLst>
                  <a:cxn ang="0">
                    <a:pos x="T0" y="T1"/>
                  </a:cxn>
                  <a:cxn ang="0">
                    <a:pos x="T2" y="T3"/>
                  </a:cxn>
                  <a:cxn ang="0">
                    <a:pos x="T4" y="T5"/>
                  </a:cxn>
                  <a:cxn ang="0">
                    <a:pos x="T6" y="T7"/>
                  </a:cxn>
                </a:cxnLst>
                <a:rect l="0" t="0" r="r" b="b"/>
                <a:pathLst>
                  <a:path w="4" h="3">
                    <a:moveTo>
                      <a:pt x="2" y="3"/>
                    </a:moveTo>
                    <a:cubicBezTo>
                      <a:pt x="2" y="3"/>
                      <a:pt x="4" y="2"/>
                      <a:pt x="4" y="1"/>
                    </a:cubicBezTo>
                    <a:cubicBezTo>
                      <a:pt x="4" y="1"/>
                      <a:pt x="4" y="1"/>
                      <a:pt x="4" y="1"/>
                    </a:cubicBezTo>
                    <a:cubicBezTo>
                      <a:pt x="4"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8" name="Freeform 1703">
                <a:extLst>
                  <a:ext uri="{FF2B5EF4-FFF2-40B4-BE49-F238E27FC236}">
                    <a16:creationId xmlns:a16="http://schemas.microsoft.com/office/drawing/2014/main" id="{42EDBB39-3A4A-40B1-BBDA-551B0FC677F0}"/>
                  </a:ext>
                </a:extLst>
              </p:cNvPr>
              <p:cNvSpPr>
                <a:spLocks/>
              </p:cNvSpPr>
              <p:nvPr/>
            </p:nvSpPr>
            <p:spPr bwMode="auto">
              <a:xfrm>
                <a:off x="1365" y="2807"/>
                <a:ext cx="2"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9" name="Freeform 1704">
                <a:extLst>
                  <a:ext uri="{FF2B5EF4-FFF2-40B4-BE49-F238E27FC236}">
                    <a16:creationId xmlns:a16="http://schemas.microsoft.com/office/drawing/2014/main" id="{7BD59F8F-39A3-4BBC-A29C-08B75A0EDC87}"/>
                  </a:ext>
                </a:extLst>
              </p:cNvPr>
              <p:cNvSpPr>
                <a:spLocks/>
              </p:cNvSpPr>
              <p:nvPr/>
            </p:nvSpPr>
            <p:spPr bwMode="auto">
              <a:xfrm>
                <a:off x="1350" y="2781"/>
                <a:ext cx="12" cy="5"/>
              </a:xfrm>
              <a:custGeom>
                <a:avLst/>
                <a:gdLst>
                  <a:gd name="T0" fmla="*/ 3 w 5"/>
                  <a:gd name="T1" fmla="*/ 0 h 2"/>
                  <a:gd name="T2" fmla="*/ 2 w 5"/>
                  <a:gd name="T3" fmla="*/ 0 h 2"/>
                  <a:gd name="T4" fmla="*/ 5 w 5"/>
                  <a:gd name="T5" fmla="*/ 2 h 2"/>
                  <a:gd name="T6" fmla="*/ 3 w 5"/>
                  <a:gd name="T7" fmla="*/ 0 h 2"/>
                </a:gdLst>
                <a:ahLst/>
                <a:cxnLst>
                  <a:cxn ang="0">
                    <a:pos x="T0" y="T1"/>
                  </a:cxn>
                  <a:cxn ang="0">
                    <a:pos x="T2" y="T3"/>
                  </a:cxn>
                  <a:cxn ang="0">
                    <a:pos x="T4" y="T5"/>
                  </a:cxn>
                  <a:cxn ang="0">
                    <a:pos x="T6" y="T7"/>
                  </a:cxn>
                </a:cxnLst>
                <a:rect l="0" t="0" r="r" b="b"/>
                <a:pathLst>
                  <a:path w="5" h="2">
                    <a:moveTo>
                      <a:pt x="3" y="0"/>
                    </a:moveTo>
                    <a:cubicBezTo>
                      <a:pt x="3" y="0"/>
                      <a:pt x="3" y="0"/>
                      <a:pt x="2" y="0"/>
                    </a:cubicBezTo>
                    <a:cubicBezTo>
                      <a:pt x="0" y="1"/>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0" name="Freeform 1705">
                <a:extLst>
                  <a:ext uri="{FF2B5EF4-FFF2-40B4-BE49-F238E27FC236}">
                    <a16:creationId xmlns:a16="http://schemas.microsoft.com/office/drawing/2014/main" id="{3E6E8990-A52E-499F-B64C-C408563F057A}"/>
                  </a:ext>
                </a:extLst>
              </p:cNvPr>
              <p:cNvSpPr>
                <a:spLocks/>
              </p:cNvSpPr>
              <p:nvPr/>
            </p:nvSpPr>
            <p:spPr bwMode="auto">
              <a:xfrm>
                <a:off x="1336" y="2774"/>
                <a:ext cx="21" cy="28"/>
              </a:xfrm>
              <a:custGeom>
                <a:avLst/>
                <a:gdLst>
                  <a:gd name="T0" fmla="*/ 7 w 9"/>
                  <a:gd name="T1" fmla="*/ 8 h 12"/>
                  <a:gd name="T2" fmla="*/ 7 w 9"/>
                  <a:gd name="T3" fmla="*/ 5 h 12"/>
                  <a:gd name="T4" fmla="*/ 5 w 9"/>
                  <a:gd name="T5" fmla="*/ 4 h 12"/>
                  <a:gd name="T6" fmla="*/ 3 w 9"/>
                  <a:gd name="T7" fmla="*/ 0 h 12"/>
                  <a:gd name="T8" fmla="*/ 1 w 9"/>
                  <a:gd name="T9" fmla="*/ 1 h 12"/>
                  <a:gd name="T10" fmla="*/ 0 w 9"/>
                  <a:gd name="T11" fmla="*/ 1 h 12"/>
                  <a:gd name="T12" fmla="*/ 2 w 9"/>
                  <a:gd name="T13" fmla="*/ 2 h 12"/>
                  <a:gd name="T14" fmla="*/ 2 w 9"/>
                  <a:gd name="T15" fmla="*/ 3 h 12"/>
                  <a:gd name="T16" fmla="*/ 4 w 9"/>
                  <a:gd name="T17" fmla="*/ 5 h 12"/>
                  <a:gd name="T18" fmla="*/ 5 w 9"/>
                  <a:gd name="T19" fmla="*/ 8 h 12"/>
                  <a:gd name="T20" fmla="*/ 2 w 9"/>
                  <a:gd name="T21" fmla="*/ 9 h 12"/>
                  <a:gd name="T22" fmla="*/ 5 w 9"/>
                  <a:gd name="T23" fmla="*/ 12 h 12"/>
                  <a:gd name="T24" fmla="*/ 9 w 9"/>
                  <a:gd name="T25" fmla="*/ 9 h 12"/>
                  <a:gd name="T26" fmla="*/ 7 w 9"/>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2">
                    <a:moveTo>
                      <a:pt x="7" y="8"/>
                    </a:moveTo>
                    <a:cubicBezTo>
                      <a:pt x="7" y="7"/>
                      <a:pt x="7" y="6"/>
                      <a:pt x="7" y="5"/>
                    </a:cubicBezTo>
                    <a:cubicBezTo>
                      <a:pt x="6" y="5"/>
                      <a:pt x="6" y="5"/>
                      <a:pt x="5" y="4"/>
                    </a:cubicBezTo>
                    <a:cubicBezTo>
                      <a:pt x="5" y="3"/>
                      <a:pt x="5" y="0"/>
                      <a:pt x="3" y="0"/>
                    </a:cubicBezTo>
                    <a:cubicBezTo>
                      <a:pt x="2" y="0"/>
                      <a:pt x="2" y="1"/>
                      <a:pt x="1" y="1"/>
                    </a:cubicBezTo>
                    <a:cubicBezTo>
                      <a:pt x="1" y="1"/>
                      <a:pt x="0" y="1"/>
                      <a:pt x="0" y="1"/>
                    </a:cubicBezTo>
                    <a:cubicBezTo>
                      <a:pt x="0" y="2"/>
                      <a:pt x="2" y="1"/>
                      <a:pt x="2" y="2"/>
                    </a:cubicBezTo>
                    <a:cubicBezTo>
                      <a:pt x="2" y="2"/>
                      <a:pt x="2" y="3"/>
                      <a:pt x="2" y="3"/>
                    </a:cubicBezTo>
                    <a:cubicBezTo>
                      <a:pt x="3" y="4"/>
                      <a:pt x="3" y="4"/>
                      <a:pt x="4" y="5"/>
                    </a:cubicBezTo>
                    <a:cubicBezTo>
                      <a:pt x="4" y="6"/>
                      <a:pt x="6" y="7"/>
                      <a:pt x="5" y="8"/>
                    </a:cubicBezTo>
                    <a:cubicBezTo>
                      <a:pt x="5" y="9"/>
                      <a:pt x="3" y="8"/>
                      <a:pt x="2" y="9"/>
                    </a:cubicBezTo>
                    <a:cubicBezTo>
                      <a:pt x="0" y="12"/>
                      <a:pt x="3" y="12"/>
                      <a:pt x="5" y="12"/>
                    </a:cubicBezTo>
                    <a:cubicBezTo>
                      <a:pt x="6" y="11"/>
                      <a:pt x="7" y="10"/>
                      <a:pt x="9" y="9"/>
                    </a:cubicBezTo>
                    <a:cubicBezTo>
                      <a:pt x="8" y="9"/>
                      <a:pt x="8" y="8"/>
                      <a:pt x="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1" name="Freeform 1706">
                <a:extLst>
                  <a:ext uri="{FF2B5EF4-FFF2-40B4-BE49-F238E27FC236}">
                    <a16:creationId xmlns:a16="http://schemas.microsoft.com/office/drawing/2014/main" id="{21A71C54-55CC-4807-B0F1-5311560AEC9C}"/>
                  </a:ext>
                </a:extLst>
              </p:cNvPr>
              <p:cNvSpPr>
                <a:spLocks/>
              </p:cNvSpPr>
              <p:nvPr/>
            </p:nvSpPr>
            <p:spPr bwMode="auto">
              <a:xfrm>
                <a:off x="1360" y="2788"/>
                <a:ext cx="12" cy="7"/>
              </a:xfrm>
              <a:custGeom>
                <a:avLst/>
                <a:gdLst>
                  <a:gd name="T0" fmla="*/ 3 w 5"/>
                  <a:gd name="T1" fmla="*/ 1 h 3"/>
                  <a:gd name="T2" fmla="*/ 4 w 5"/>
                  <a:gd name="T3" fmla="*/ 3 h 3"/>
                  <a:gd name="T4" fmla="*/ 3 w 5"/>
                  <a:gd name="T5" fmla="*/ 1 h 3"/>
                </a:gdLst>
                <a:ahLst/>
                <a:cxnLst>
                  <a:cxn ang="0">
                    <a:pos x="T0" y="T1"/>
                  </a:cxn>
                  <a:cxn ang="0">
                    <a:pos x="T2" y="T3"/>
                  </a:cxn>
                  <a:cxn ang="0">
                    <a:pos x="T4" y="T5"/>
                  </a:cxn>
                </a:cxnLst>
                <a:rect l="0" t="0" r="r" b="b"/>
                <a:pathLst>
                  <a:path w="5" h="3">
                    <a:moveTo>
                      <a:pt x="3" y="1"/>
                    </a:moveTo>
                    <a:cubicBezTo>
                      <a:pt x="0" y="1"/>
                      <a:pt x="1" y="3"/>
                      <a:pt x="4" y="3"/>
                    </a:cubicBezTo>
                    <a:cubicBezTo>
                      <a:pt x="5" y="1"/>
                      <a:pt x="4"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2" name="Freeform 1707">
                <a:extLst>
                  <a:ext uri="{FF2B5EF4-FFF2-40B4-BE49-F238E27FC236}">
                    <a16:creationId xmlns:a16="http://schemas.microsoft.com/office/drawing/2014/main" id="{4BA981A3-D92A-4427-A306-AB61FA9DA512}"/>
                  </a:ext>
                </a:extLst>
              </p:cNvPr>
              <p:cNvSpPr>
                <a:spLocks/>
              </p:cNvSpPr>
              <p:nvPr/>
            </p:nvSpPr>
            <p:spPr bwMode="auto">
              <a:xfrm>
                <a:off x="1887" y="2334"/>
                <a:ext cx="7" cy="0"/>
              </a:xfrm>
              <a:custGeom>
                <a:avLst/>
                <a:gdLst>
                  <a:gd name="T0" fmla="*/ 3 w 3"/>
                  <a:gd name="T1" fmla="*/ 2 w 3"/>
                  <a:gd name="T2" fmla="*/ 3 w 3"/>
                  <a:gd name="T3" fmla="*/ 2 w 3"/>
                  <a:gd name="T4" fmla="*/ 2 w 3"/>
                  <a:gd name="T5" fmla="*/ 2 w 3"/>
                  <a:gd name="T6" fmla="*/ 0 w 3"/>
                  <a:gd name="T7" fmla="*/ 2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cubicBezTo>
                      <a:pt x="3" y="0"/>
                      <a:pt x="2" y="0"/>
                      <a:pt x="2" y="0"/>
                    </a:cubicBezTo>
                    <a:cubicBezTo>
                      <a:pt x="2" y="0"/>
                      <a:pt x="3" y="0"/>
                      <a:pt x="3" y="0"/>
                    </a:cubicBezTo>
                    <a:cubicBezTo>
                      <a:pt x="2" y="0"/>
                      <a:pt x="2" y="0"/>
                      <a:pt x="2" y="0"/>
                    </a:cubicBezTo>
                    <a:cubicBezTo>
                      <a:pt x="2" y="0"/>
                      <a:pt x="2" y="0"/>
                      <a:pt x="2" y="0"/>
                    </a:cubicBezTo>
                    <a:cubicBezTo>
                      <a:pt x="2" y="0"/>
                      <a:pt x="2" y="0"/>
                      <a:pt x="2" y="0"/>
                    </a:cubicBezTo>
                    <a:cubicBezTo>
                      <a:pt x="1" y="0"/>
                      <a:pt x="1" y="0"/>
                      <a:pt x="0" y="0"/>
                    </a:cubicBezTo>
                    <a:cubicBezTo>
                      <a:pt x="1" y="0"/>
                      <a:pt x="2" y="0"/>
                      <a:pt x="2" y="0"/>
                    </a:cubicBezTo>
                    <a:cubicBezTo>
                      <a:pt x="2"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3" name="Freeform 1708">
                <a:extLst>
                  <a:ext uri="{FF2B5EF4-FFF2-40B4-BE49-F238E27FC236}">
                    <a16:creationId xmlns:a16="http://schemas.microsoft.com/office/drawing/2014/main" id="{0801C962-C972-41F5-89BD-27FEDC18B205}"/>
                  </a:ext>
                </a:extLst>
              </p:cNvPr>
              <p:cNvSpPr>
                <a:spLocks/>
              </p:cNvSpPr>
              <p:nvPr/>
            </p:nvSpPr>
            <p:spPr bwMode="auto">
              <a:xfrm>
                <a:off x="2064" y="2395"/>
                <a:ext cx="7" cy="12"/>
              </a:xfrm>
              <a:custGeom>
                <a:avLst/>
                <a:gdLst>
                  <a:gd name="T0" fmla="*/ 0 w 3"/>
                  <a:gd name="T1" fmla="*/ 0 h 5"/>
                  <a:gd name="T2" fmla="*/ 1 w 3"/>
                  <a:gd name="T3" fmla="*/ 5 h 5"/>
                  <a:gd name="T4" fmla="*/ 0 w 3"/>
                  <a:gd name="T5" fmla="*/ 0 h 5"/>
                </a:gdLst>
                <a:ahLst/>
                <a:cxnLst>
                  <a:cxn ang="0">
                    <a:pos x="T0" y="T1"/>
                  </a:cxn>
                  <a:cxn ang="0">
                    <a:pos x="T2" y="T3"/>
                  </a:cxn>
                  <a:cxn ang="0">
                    <a:pos x="T4" y="T5"/>
                  </a:cxn>
                </a:cxnLst>
                <a:rect l="0" t="0" r="r" b="b"/>
                <a:pathLst>
                  <a:path w="3" h="5">
                    <a:moveTo>
                      <a:pt x="0" y="0"/>
                    </a:moveTo>
                    <a:cubicBezTo>
                      <a:pt x="0" y="2"/>
                      <a:pt x="0" y="4"/>
                      <a:pt x="1" y="5"/>
                    </a:cubicBezTo>
                    <a:cubicBezTo>
                      <a:pt x="3" y="3"/>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4" name="Freeform 1709">
                <a:extLst>
                  <a:ext uri="{FF2B5EF4-FFF2-40B4-BE49-F238E27FC236}">
                    <a16:creationId xmlns:a16="http://schemas.microsoft.com/office/drawing/2014/main" id="{A314309D-FC8D-48B1-89DF-BEBDF8C1CAB6}"/>
                  </a:ext>
                </a:extLst>
              </p:cNvPr>
              <p:cNvSpPr>
                <a:spLocks/>
              </p:cNvSpPr>
              <p:nvPr/>
            </p:nvSpPr>
            <p:spPr bwMode="auto">
              <a:xfrm>
                <a:off x="1674" y="2239"/>
                <a:ext cx="3" cy="3"/>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0" y="0"/>
                    </a:cubicBezTo>
                    <a:cubicBezTo>
                      <a:pt x="1" y="1"/>
                      <a:pt x="1"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5" name="Freeform 1710">
                <a:extLst>
                  <a:ext uri="{FF2B5EF4-FFF2-40B4-BE49-F238E27FC236}">
                    <a16:creationId xmlns:a16="http://schemas.microsoft.com/office/drawing/2014/main" id="{B0C38EE8-3F2D-4083-A7B3-F0F38B81E3E4}"/>
                  </a:ext>
                </a:extLst>
              </p:cNvPr>
              <p:cNvSpPr>
                <a:spLocks/>
              </p:cNvSpPr>
              <p:nvPr/>
            </p:nvSpPr>
            <p:spPr bwMode="auto">
              <a:xfrm>
                <a:off x="1648" y="2220"/>
                <a:ext cx="10" cy="7"/>
              </a:xfrm>
              <a:custGeom>
                <a:avLst/>
                <a:gdLst>
                  <a:gd name="T0" fmla="*/ 2 w 4"/>
                  <a:gd name="T1" fmla="*/ 1 h 3"/>
                  <a:gd name="T2" fmla="*/ 0 w 4"/>
                  <a:gd name="T3" fmla="*/ 1 h 3"/>
                  <a:gd name="T4" fmla="*/ 4 w 4"/>
                  <a:gd name="T5" fmla="*/ 3 h 3"/>
                  <a:gd name="T6" fmla="*/ 2 w 4"/>
                  <a:gd name="T7" fmla="*/ 1 h 3"/>
                </a:gdLst>
                <a:ahLst/>
                <a:cxnLst>
                  <a:cxn ang="0">
                    <a:pos x="T0" y="T1"/>
                  </a:cxn>
                  <a:cxn ang="0">
                    <a:pos x="T2" y="T3"/>
                  </a:cxn>
                  <a:cxn ang="0">
                    <a:pos x="T4" y="T5"/>
                  </a:cxn>
                  <a:cxn ang="0">
                    <a:pos x="T6" y="T7"/>
                  </a:cxn>
                </a:cxnLst>
                <a:rect l="0" t="0" r="r" b="b"/>
                <a:pathLst>
                  <a:path w="4" h="3">
                    <a:moveTo>
                      <a:pt x="2" y="1"/>
                    </a:moveTo>
                    <a:cubicBezTo>
                      <a:pt x="1" y="1"/>
                      <a:pt x="1" y="1"/>
                      <a:pt x="0" y="1"/>
                    </a:cubicBezTo>
                    <a:cubicBezTo>
                      <a:pt x="1" y="2"/>
                      <a:pt x="3" y="2"/>
                      <a:pt x="4" y="3"/>
                    </a:cubicBezTo>
                    <a:cubicBezTo>
                      <a:pt x="4" y="0"/>
                      <a:pt x="3"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6" name="Freeform 1711">
                <a:extLst>
                  <a:ext uri="{FF2B5EF4-FFF2-40B4-BE49-F238E27FC236}">
                    <a16:creationId xmlns:a16="http://schemas.microsoft.com/office/drawing/2014/main" id="{045B5215-C3CD-46F9-A3B2-4C99F3946FAC}"/>
                  </a:ext>
                </a:extLst>
              </p:cNvPr>
              <p:cNvSpPr>
                <a:spLocks/>
              </p:cNvSpPr>
              <p:nvPr/>
            </p:nvSpPr>
            <p:spPr bwMode="auto">
              <a:xfrm>
                <a:off x="1582" y="2303"/>
                <a:ext cx="9" cy="5"/>
              </a:xfrm>
              <a:custGeom>
                <a:avLst/>
                <a:gdLst>
                  <a:gd name="T0" fmla="*/ 2 w 4"/>
                  <a:gd name="T1" fmla="*/ 1 h 2"/>
                  <a:gd name="T2" fmla="*/ 4 w 4"/>
                  <a:gd name="T3" fmla="*/ 0 h 2"/>
                  <a:gd name="T4" fmla="*/ 0 w 4"/>
                  <a:gd name="T5" fmla="*/ 0 h 2"/>
                  <a:gd name="T6" fmla="*/ 2 w 4"/>
                  <a:gd name="T7" fmla="*/ 1 h 2"/>
                </a:gdLst>
                <a:ahLst/>
                <a:cxnLst>
                  <a:cxn ang="0">
                    <a:pos x="T0" y="T1"/>
                  </a:cxn>
                  <a:cxn ang="0">
                    <a:pos x="T2" y="T3"/>
                  </a:cxn>
                  <a:cxn ang="0">
                    <a:pos x="T4" y="T5"/>
                  </a:cxn>
                  <a:cxn ang="0">
                    <a:pos x="T6" y="T7"/>
                  </a:cxn>
                </a:cxnLst>
                <a:rect l="0" t="0" r="r" b="b"/>
                <a:pathLst>
                  <a:path w="4" h="2">
                    <a:moveTo>
                      <a:pt x="2" y="1"/>
                    </a:moveTo>
                    <a:cubicBezTo>
                      <a:pt x="2" y="1"/>
                      <a:pt x="3" y="1"/>
                      <a:pt x="4" y="0"/>
                    </a:cubicBezTo>
                    <a:cubicBezTo>
                      <a:pt x="2" y="0"/>
                      <a:pt x="1" y="0"/>
                      <a:pt x="0" y="0"/>
                    </a:cubicBezTo>
                    <a:cubicBezTo>
                      <a:pt x="1" y="0"/>
                      <a:pt x="0"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7" name="Freeform 1712">
                <a:extLst>
                  <a:ext uri="{FF2B5EF4-FFF2-40B4-BE49-F238E27FC236}">
                    <a16:creationId xmlns:a16="http://schemas.microsoft.com/office/drawing/2014/main" id="{F68FF601-5B71-4B4A-BD73-612F806715C4}"/>
                  </a:ext>
                </a:extLst>
              </p:cNvPr>
              <p:cNvSpPr>
                <a:spLocks/>
              </p:cNvSpPr>
              <p:nvPr/>
            </p:nvSpPr>
            <p:spPr bwMode="auto">
              <a:xfrm>
                <a:off x="1497" y="2206"/>
                <a:ext cx="262" cy="88"/>
              </a:xfrm>
              <a:custGeom>
                <a:avLst/>
                <a:gdLst>
                  <a:gd name="T0" fmla="*/ 100 w 111"/>
                  <a:gd name="T1" fmla="*/ 36 h 37"/>
                  <a:gd name="T2" fmla="*/ 105 w 111"/>
                  <a:gd name="T3" fmla="*/ 34 h 37"/>
                  <a:gd name="T4" fmla="*/ 111 w 111"/>
                  <a:gd name="T5" fmla="*/ 32 h 37"/>
                  <a:gd name="T6" fmla="*/ 100 w 111"/>
                  <a:gd name="T7" fmla="*/ 27 h 37"/>
                  <a:gd name="T8" fmla="*/ 93 w 111"/>
                  <a:gd name="T9" fmla="*/ 22 h 37"/>
                  <a:gd name="T10" fmla="*/ 85 w 111"/>
                  <a:gd name="T11" fmla="*/ 20 h 37"/>
                  <a:gd name="T12" fmla="*/ 80 w 111"/>
                  <a:gd name="T13" fmla="*/ 17 h 37"/>
                  <a:gd name="T14" fmla="*/ 77 w 111"/>
                  <a:gd name="T15" fmla="*/ 17 h 37"/>
                  <a:gd name="T16" fmla="*/ 66 w 111"/>
                  <a:gd name="T17" fmla="*/ 10 h 37"/>
                  <a:gd name="T18" fmla="*/ 54 w 111"/>
                  <a:gd name="T19" fmla="*/ 5 h 37"/>
                  <a:gd name="T20" fmla="*/ 45 w 111"/>
                  <a:gd name="T21" fmla="*/ 2 h 37"/>
                  <a:gd name="T22" fmla="*/ 39 w 111"/>
                  <a:gd name="T23" fmla="*/ 1 h 37"/>
                  <a:gd name="T24" fmla="*/ 29 w 111"/>
                  <a:gd name="T25" fmla="*/ 0 h 37"/>
                  <a:gd name="T26" fmla="*/ 12 w 111"/>
                  <a:gd name="T27" fmla="*/ 5 h 37"/>
                  <a:gd name="T28" fmla="*/ 7 w 111"/>
                  <a:gd name="T29" fmla="*/ 13 h 37"/>
                  <a:gd name="T30" fmla="*/ 2 w 111"/>
                  <a:gd name="T31" fmla="*/ 14 h 37"/>
                  <a:gd name="T32" fmla="*/ 4 w 111"/>
                  <a:gd name="T33" fmla="*/ 15 h 37"/>
                  <a:gd name="T34" fmla="*/ 8 w 111"/>
                  <a:gd name="T35" fmla="*/ 14 h 37"/>
                  <a:gd name="T36" fmla="*/ 11 w 111"/>
                  <a:gd name="T37" fmla="*/ 11 h 37"/>
                  <a:gd name="T38" fmla="*/ 17 w 111"/>
                  <a:gd name="T39" fmla="*/ 10 h 37"/>
                  <a:gd name="T40" fmla="*/ 24 w 111"/>
                  <a:gd name="T41" fmla="*/ 6 h 37"/>
                  <a:gd name="T42" fmla="*/ 32 w 111"/>
                  <a:gd name="T43" fmla="*/ 6 h 37"/>
                  <a:gd name="T44" fmla="*/ 31 w 111"/>
                  <a:gd name="T45" fmla="*/ 8 h 37"/>
                  <a:gd name="T46" fmla="*/ 32 w 111"/>
                  <a:gd name="T47" fmla="*/ 11 h 37"/>
                  <a:gd name="T48" fmla="*/ 41 w 111"/>
                  <a:gd name="T49" fmla="*/ 12 h 37"/>
                  <a:gd name="T50" fmla="*/ 50 w 111"/>
                  <a:gd name="T51" fmla="*/ 15 h 37"/>
                  <a:gd name="T52" fmla="*/ 64 w 111"/>
                  <a:gd name="T53" fmla="*/ 18 h 37"/>
                  <a:gd name="T54" fmla="*/ 66 w 111"/>
                  <a:gd name="T55" fmla="*/ 23 h 37"/>
                  <a:gd name="T56" fmla="*/ 76 w 111"/>
                  <a:gd name="T57" fmla="*/ 27 h 37"/>
                  <a:gd name="T58" fmla="*/ 79 w 111"/>
                  <a:gd name="T59" fmla="*/ 28 h 37"/>
                  <a:gd name="T60" fmla="*/ 75 w 111"/>
                  <a:gd name="T61" fmla="*/ 34 h 37"/>
                  <a:gd name="T62" fmla="*/ 88 w 111"/>
                  <a:gd name="T63" fmla="*/ 3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37">
                    <a:moveTo>
                      <a:pt x="96" y="35"/>
                    </a:moveTo>
                    <a:cubicBezTo>
                      <a:pt x="97" y="36"/>
                      <a:pt x="99" y="36"/>
                      <a:pt x="100" y="36"/>
                    </a:cubicBezTo>
                    <a:cubicBezTo>
                      <a:pt x="100" y="35"/>
                      <a:pt x="101" y="34"/>
                      <a:pt x="101" y="36"/>
                    </a:cubicBezTo>
                    <a:cubicBezTo>
                      <a:pt x="102" y="35"/>
                      <a:pt x="104" y="34"/>
                      <a:pt x="105" y="34"/>
                    </a:cubicBezTo>
                    <a:cubicBezTo>
                      <a:pt x="106" y="34"/>
                      <a:pt x="108" y="34"/>
                      <a:pt x="109" y="34"/>
                    </a:cubicBezTo>
                    <a:cubicBezTo>
                      <a:pt x="109" y="34"/>
                      <a:pt x="111" y="33"/>
                      <a:pt x="111" y="32"/>
                    </a:cubicBezTo>
                    <a:cubicBezTo>
                      <a:pt x="109" y="31"/>
                      <a:pt x="106" y="29"/>
                      <a:pt x="104" y="28"/>
                    </a:cubicBezTo>
                    <a:cubicBezTo>
                      <a:pt x="102" y="27"/>
                      <a:pt x="101" y="27"/>
                      <a:pt x="100" y="27"/>
                    </a:cubicBezTo>
                    <a:cubicBezTo>
                      <a:pt x="97" y="27"/>
                      <a:pt x="97" y="27"/>
                      <a:pt x="96" y="25"/>
                    </a:cubicBezTo>
                    <a:cubicBezTo>
                      <a:pt x="96" y="23"/>
                      <a:pt x="95" y="22"/>
                      <a:pt x="93" y="22"/>
                    </a:cubicBezTo>
                    <a:cubicBezTo>
                      <a:pt x="91" y="23"/>
                      <a:pt x="90" y="23"/>
                      <a:pt x="89" y="21"/>
                    </a:cubicBezTo>
                    <a:cubicBezTo>
                      <a:pt x="88" y="21"/>
                      <a:pt x="86" y="21"/>
                      <a:pt x="85" y="20"/>
                    </a:cubicBezTo>
                    <a:cubicBezTo>
                      <a:pt x="84" y="20"/>
                      <a:pt x="82" y="19"/>
                      <a:pt x="82" y="19"/>
                    </a:cubicBezTo>
                    <a:cubicBezTo>
                      <a:pt x="81" y="18"/>
                      <a:pt x="80" y="17"/>
                      <a:pt x="80" y="17"/>
                    </a:cubicBezTo>
                    <a:cubicBezTo>
                      <a:pt x="79" y="16"/>
                      <a:pt x="79" y="16"/>
                      <a:pt x="78" y="16"/>
                    </a:cubicBezTo>
                    <a:cubicBezTo>
                      <a:pt x="77" y="15"/>
                      <a:pt x="77" y="15"/>
                      <a:pt x="77" y="17"/>
                    </a:cubicBezTo>
                    <a:cubicBezTo>
                      <a:pt x="75" y="16"/>
                      <a:pt x="74" y="15"/>
                      <a:pt x="71" y="13"/>
                    </a:cubicBezTo>
                    <a:cubicBezTo>
                      <a:pt x="70" y="12"/>
                      <a:pt x="68" y="11"/>
                      <a:pt x="66" y="10"/>
                    </a:cubicBezTo>
                    <a:cubicBezTo>
                      <a:pt x="64" y="10"/>
                      <a:pt x="62" y="9"/>
                      <a:pt x="60" y="9"/>
                    </a:cubicBezTo>
                    <a:cubicBezTo>
                      <a:pt x="57" y="8"/>
                      <a:pt x="56" y="8"/>
                      <a:pt x="54" y="5"/>
                    </a:cubicBezTo>
                    <a:cubicBezTo>
                      <a:pt x="53" y="4"/>
                      <a:pt x="50" y="4"/>
                      <a:pt x="48" y="3"/>
                    </a:cubicBezTo>
                    <a:cubicBezTo>
                      <a:pt x="47" y="3"/>
                      <a:pt x="46" y="2"/>
                      <a:pt x="45" y="2"/>
                    </a:cubicBezTo>
                    <a:cubicBezTo>
                      <a:pt x="44" y="1"/>
                      <a:pt x="43" y="2"/>
                      <a:pt x="42" y="2"/>
                    </a:cubicBezTo>
                    <a:cubicBezTo>
                      <a:pt x="41" y="2"/>
                      <a:pt x="40" y="2"/>
                      <a:pt x="39" y="1"/>
                    </a:cubicBezTo>
                    <a:cubicBezTo>
                      <a:pt x="38" y="1"/>
                      <a:pt x="37" y="1"/>
                      <a:pt x="36" y="1"/>
                    </a:cubicBezTo>
                    <a:cubicBezTo>
                      <a:pt x="34" y="1"/>
                      <a:pt x="32" y="1"/>
                      <a:pt x="29" y="0"/>
                    </a:cubicBezTo>
                    <a:cubicBezTo>
                      <a:pt x="26" y="1"/>
                      <a:pt x="24" y="2"/>
                      <a:pt x="21" y="3"/>
                    </a:cubicBezTo>
                    <a:cubicBezTo>
                      <a:pt x="18" y="3"/>
                      <a:pt x="15" y="4"/>
                      <a:pt x="12" y="5"/>
                    </a:cubicBezTo>
                    <a:cubicBezTo>
                      <a:pt x="10" y="5"/>
                      <a:pt x="8" y="7"/>
                      <a:pt x="6" y="9"/>
                    </a:cubicBezTo>
                    <a:cubicBezTo>
                      <a:pt x="6" y="10"/>
                      <a:pt x="6" y="11"/>
                      <a:pt x="7" y="13"/>
                    </a:cubicBezTo>
                    <a:cubicBezTo>
                      <a:pt x="6" y="13"/>
                      <a:pt x="5" y="13"/>
                      <a:pt x="4" y="13"/>
                    </a:cubicBezTo>
                    <a:cubicBezTo>
                      <a:pt x="3" y="13"/>
                      <a:pt x="2" y="14"/>
                      <a:pt x="2" y="14"/>
                    </a:cubicBezTo>
                    <a:cubicBezTo>
                      <a:pt x="1" y="14"/>
                      <a:pt x="0" y="14"/>
                      <a:pt x="1" y="15"/>
                    </a:cubicBezTo>
                    <a:cubicBezTo>
                      <a:pt x="1" y="15"/>
                      <a:pt x="3" y="15"/>
                      <a:pt x="4" y="15"/>
                    </a:cubicBezTo>
                    <a:cubicBezTo>
                      <a:pt x="4" y="15"/>
                      <a:pt x="5" y="15"/>
                      <a:pt x="5" y="15"/>
                    </a:cubicBezTo>
                    <a:cubicBezTo>
                      <a:pt x="6" y="15"/>
                      <a:pt x="7" y="15"/>
                      <a:pt x="8" y="14"/>
                    </a:cubicBezTo>
                    <a:cubicBezTo>
                      <a:pt x="9" y="14"/>
                      <a:pt x="9" y="14"/>
                      <a:pt x="10" y="14"/>
                    </a:cubicBezTo>
                    <a:cubicBezTo>
                      <a:pt x="10" y="13"/>
                      <a:pt x="10" y="12"/>
                      <a:pt x="11" y="11"/>
                    </a:cubicBezTo>
                    <a:cubicBezTo>
                      <a:pt x="12" y="11"/>
                      <a:pt x="13" y="11"/>
                      <a:pt x="14" y="11"/>
                    </a:cubicBezTo>
                    <a:cubicBezTo>
                      <a:pt x="16" y="11"/>
                      <a:pt x="15" y="11"/>
                      <a:pt x="17" y="10"/>
                    </a:cubicBezTo>
                    <a:cubicBezTo>
                      <a:pt x="18" y="9"/>
                      <a:pt x="19" y="8"/>
                      <a:pt x="20" y="7"/>
                    </a:cubicBezTo>
                    <a:cubicBezTo>
                      <a:pt x="21" y="7"/>
                      <a:pt x="23" y="6"/>
                      <a:pt x="24" y="6"/>
                    </a:cubicBezTo>
                    <a:cubicBezTo>
                      <a:pt x="25" y="6"/>
                      <a:pt x="27" y="6"/>
                      <a:pt x="28" y="6"/>
                    </a:cubicBezTo>
                    <a:cubicBezTo>
                      <a:pt x="29" y="6"/>
                      <a:pt x="31" y="5"/>
                      <a:pt x="32" y="6"/>
                    </a:cubicBezTo>
                    <a:cubicBezTo>
                      <a:pt x="33" y="7"/>
                      <a:pt x="35" y="8"/>
                      <a:pt x="33" y="8"/>
                    </a:cubicBezTo>
                    <a:cubicBezTo>
                      <a:pt x="32" y="8"/>
                      <a:pt x="32" y="8"/>
                      <a:pt x="31" y="8"/>
                    </a:cubicBezTo>
                    <a:cubicBezTo>
                      <a:pt x="31" y="8"/>
                      <a:pt x="29" y="8"/>
                      <a:pt x="29" y="9"/>
                    </a:cubicBezTo>
                    <a:cubicBezTo>
                      <a:pt x="29" y="10"/>
                      <a:pt x="32" y="11"/>
                      <a:pt x="32" y="11"/>
                    </a:cubicBezTo>
                    <a:cubicBezTo>
                      <a:pt x="33" y="11"/>
                      <a:pt x="38" y="11"/>
                      <a:pt x="38" y="10"/>
                    </a:cubicBezTo>
                    <a:cubicBezTo>
                      <a:pt x="39" y="11"/>
                      <a:pt x="39" y="12"/>
                      <a:pt x="41" y="12"/>
                    </a:cubicBezTo>
                    <a:cubicBezTo>
                      <a:pt x="43" y="12"/>
                      <a:pt x="45" y="12"/>
                      <a:pt x="46" y="13"/>
                    </a:cubicBezTo>
                    <a:cubicBezTo>
                      <a:pt x="48" y="13"/>
                      <a:pt x="49" y="15"/>
                      <a:pt x="50" y="15"/>
                    </a:cubicBezTo>
                    <a:cubicBezTo>
                      <a:pt x="53" y="16"/>
                      <a:pt x="56" y="17"/>
                      <a:pt x="59" y="17"/>
                    </a:cubicBezTo>
                    <a:cubicBezTo>
                      <a:pt x="61" y="17"/>
                      <a:pt x="62" y="17"/>
                      <a:pt x="64" y="18"/>
                    </a:cubicBezTo>
                    <a:cubicBezTo>
                      <a:pt x="65" y="18"/>
                      <a:pt x="65" y="20"/>
                      <a:pt x="66" y="21"/>
                    </a:cubicBezTo>
                    <a:cubicBezTo>
                      <a:pt x="66" y="21"/>
                      <a:pt x="66" y="23"/>
                      <a:pt x="66" y="23"/>
                    </a:cubicBezTo>
                    <a:cubicBezTo>
                      <a:pt x="66" y="24"/>
                      <a:pt x="67" y="24"/>
                      <a:pt x="68" y="24"/>
                    </a:cubicBezTo>
                    <a:cubicBezTo>
                      <a:pt x="70" y="26"/>
                      <a:pt x="73" y="27"/>
                      <a:pt x="76" y="27"/>
                    </a:cubicBezTo>
                    <a:cubicBezTo>
                      <a:pt x="77" y="27"/>
                      <a:pt x="77" y="27"/>
                      <a:pt x="78" y="27"/>
                    </a:cubicBezTo>
                    <a:cubicBezTo>
                      <a:pt x="78" y="27"/>
                      <a:pt x="79" y="28"/>
                      <a:pt x="79" y="28"/>
                    </a:cubicBezTo>
                    <a:cubicBezTo>
                      <a:pt x="81" y="30"/>
                      <a:pt x="81" y="30"/>
                      <a:pt x="79" y="31"/>
                    </a:cubicBezTo>
                    <a:cubicBezTo>
                      <a:pt x="78" y="32"/>
                      <a:pt x="76" y="33"/>
                      <a:pt x="75" y="34"/>
                    </a:cubicBezTo>
                    <a:cubicBezTo>
                      <a:pt x="75" y="35"/>
                      <a:pt x="74" y="35"/>
                      <a:pt x="74" y="36"/>
                    </a:cubicBezTo>
                    <a:cubicBezTo>
                      <a:pt x="78" y="37"/>
                      <a:pt x="84" y="35"/>
                      <a:pt x="88" y="35"/>
                    </a:cubicBezTo>
                    <a:cubicBezTo>
                      <a:pt x="91" y="35"/>
                      <a:pt x="93" y="35"/>
                      <a:pt x="9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8" name="Freeform 1713">
                <a:extLst>
                  <a:ext uri="{FF2B5EF4-FFF2-40B4-BE49-F238E27FC236}">
                    <a16:creationId xmlns:a16="http://schemas.microsoft.com/office/drawing/2014/main" id="{30A0260E-32CA-42E0-8AD1-BAA7B9B9DD5D}"/>
                  </a:ext>
                </a:extLst>
              </p:cNvPr>
              <p:cNvSpPr>
                <a:spLocks/>
              </p:cNvSpPr>
              <p:nvPr/>
            </p:nvSpPr>
            <p:spPr bwMode="auto">
              <a:xfrm>
                <a:off x="1629" y="2218"/>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9" name="Freeform 1714">
                <a:extLst>
                  <a:ext uri="{FF2B5EF4-FFF2-40B4-BE49-F238E27FC236}">
                    <a16:creationId xmlns:a16="http://schemas.microsoft.com/office/drawing/2014/main" id="{9766A2F9-C452-467D-83CE-1A5D2CD2830A}"/>
                  </a:ext>
                </a:extLst>
              </p:cNvPr>
              <p:cNvSpPr>
                <a:spLocks/>
              </p:cNvSpPr>
              <p:nvPr/>
            </p:nvSpPr>
            <p:spPr bwMode="auto">
              <a:xfrm>
                <a:off x="1627" y="2216"/>
                <a:ext cx="0" cy="2"/>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0" name="Freeform 1715">
                <a:extLst>
                  <a:ext uri="{FF2B5EF4-FFF2-40B4-BE49-F238E27FC236}">
                    <a16:creationId xmlns:a16="http://schemas.microsoft.com/office/drawing/2014/main" id="{47D068A7-7278-4131-B1D5-E61F76B14EEE}"/>
                  </a:ext>
                </a:extLst>
              </p:cNvPr>
              <p:cNvSpPr>
                <a:spLocks/>
              </p:cNvSpPr>
              <p:nvPr/>
            </p:nvSpPr>
            <p:spPr bwMode="auto">
              <a:xfrm>
                <a:off x="1629" y="2220"/>
                <a:ext cx="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1" name="Freeform 1716">
                <a:extLst>
                  <a:ext uri="{FF2B5EF4-FFF2-40B4-BE49-F238E27FC236}">
                    <a16:creationId xmlns:a16="http://schemas.microsoft.com/office/drawing/2014/main" id="{6C5D049D-382C-49B2-8DB5-924D4829E768}"/>
                  </a:ext>
                </a:extLst>
              </p:cNvPr>
              <p:cNvSpPr>
                <a:spLocks/>
              </p:cNvSpPr>
              <p:nvPr/>
            </p:nvSpPr>
            <p:spPr bwMode="auto">
              <a:xfrm>
                <a:off x="1660" y="2230"/>
                <a:ext cx="14" cy="9"/>
              </a:xfrm>
              <a:custGeom>
                <a:avLst/>
                <a:gdLst>
                  <a:gd name="T0" fmla="*/ 5 w 6"/>
                  <a:gd name="T1" fmla="*/ 4 h 4"/>
                  <a:gd name="T2" fmla="*/ 6 w 6"/>
                  <a:gd name="T3" fmla="*/ 3 h 4"/>
                  <a:gd name="T4" fmla="*/ 5 w 6"/>
                  <a:gd name="T5" fmla="*/ 2 h 4"/>
                  <a:gd name="T6" fmla="*/ 4 w 6"/>
                  <a:gd name="T7" fmla="*/ 3 h 4"/>
                  <a:gd name="T8" fmla="*/ 4 w 6"/>
                  <a:gd name="T9" fmla="*/ 2 h 4"/>
                  <a:gd name="T10" fmla="*/ 3 w 6"/>
                  <a:gd name="T11" fmla="*/ 1 h 4"/>
                  <a:gd name="T12" fmla="*/ 3 w 6"/>
                  <a:gd name="T13" fmla="*/ 1 h 4"/>
                  <a:gd name="T14" fmla="*/ 3 w 6"/>
                  <a:gd name="T15" fmla="*/ 0 h 4"/>
                  <a:gd name="T16" fmla="*/ 2 w 6"/>
                  <a:gd name="T17" fmla="*/ 0 h 4"/>
                  <a:gd name="T18" fmla="*/ 5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4"/>
                    </a:moveTo>
                    <a:cubicBezTo>
                      <a:pt x="6" y="4"/>
                      <a:pt x="6" y="3"/>
                      <a:pt x="6" y="3"/>
                    </a:cubicBezTo>
                    <a:cubicBezTo>
                      <a:pt x="6" y="3"/>
                      <a:pt x="5" y="2"/>
                      <a:pt x="5" y="2"/>
                    </a:cubicBezTo>
                    <a:cubicBezTo>
                      <a:pt x="5" y="2"/>
                      <a:pt x="4" y="2"/>
                      <a:pt x="4" y="3"/>
                    </a:cubicBezTo>
                    <a:cubicBezTo>
                      <a:pt x="4" y="2"/>
                      <a:pt x="4" y="2"/>
                      <a:pt x="4" y="2"/>
                    </a:cubicBezTo>
                    <a:cubicBezTo>
                      <a:pt x="4" y="1"/>
                      <a:pt x="3" y="2"/>
                      <a:pt x="3" y="1"/>
                    </a:cubicBezTo>
                    <a:cubicBezTo>
                      <a:pt x="3" y="1"/>
                      <a:pt x="3" y="1"/>
                      <a:pt x="3" y="1"/>
                    </a:cubicBezTo>
                    <a:cubicBezTo>
                      <a:pt x="3" y="1"/>
                      <a:pt x="3" y="1"/>
                      <a:pt x="3" y="0"/>
                    </a:cubicBezTo>
                    <a:cubicBezTo>
                      <a:pt x="2" y="0"/>
                      <a:pt x="2" y="1"/>
                      <a:pt x="2" y="0"/>
                    </a:cubicBezTo>
                    <a:cubicBezTo>
                      <a:pt x="0" y="1"/>
                      <a:pt x="5"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2" name="Freeform 1717">
                <a:extLst>
                  <a:ext uri="{FF2B5EF4-FFF2-40B4-BE49-F238E27FC236}">
                    <a16:creationId xmlns:a16="http://schemas.microsoft.com/office/drawing/2014/main" id="{B2C00F46-0AFD-4C20-B6A2-270A19A62181}"/>
                  </a:ext>
                </a:extLst>
              </p:cNvPr>
              <p:cNvSpPr>
                <a:spLocks/>
              </p:cNvSpPr>
              <p:nvPr/>
            </p:nvSpPr>
            <p:spPr bwMode="auto">
              <a:xfrm>
                <a:off x="1653" y="2272"/>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0"/>
                      <a:pt x="1" y="0"/>
                      <a:pt x="0" y="0"/>
                    </a:cubicBezTo>
                    <a:cubicBezTo>
                      <a:pt x="1" y="0"/>
                      <a:pt x="1"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3" name="Freeform 1718">
                <a:extLst>
                  <a:ext uri="{FF2B5EF4-FFF2-40B4-BE49-F238E27FC236}">
                    <a16:creationId xmlns:a16="http://schemas.microsoft.com/office/drawing/2014/main" id="{DC607BE8-EBF4-4261-936F-DFD8CB0CFBB2}"/>
                  </a:ext>
                </a:extLst>
              </p:cNvPr>
              <p:cNvSpPr>
                <a:spLocks/>
              </p:cNvSpPr>
              <p:nvPr/>
            </p:nvSpPr>
            <p:spPr bwMode="auto">
              <a:xfrm>
                <a:off x="1539" y="2239"/>
                <a:ext cx="17" cy="12"/>
              </a:xfrm>
              <a:custGeom>
                <a:avLst/>
                <a:gdLst>
                  <a:gd name="T0" fmla="*/ 6 w 7"/>
                  <a:gd name="T1" fmla="*/ 4 h 5"/>
                  <a:gd name="T2" fmla="*/ 7 w 7"/>
                  <a:gd name="T3" fmla="*/ 4 h 5"/>
                  <a:gd name="T4" fmla="*/ 5 w 7"/>
                  <a:gd name="T5" fmla="*/ 1 h 5"/>
                  <a:gd name="T6" fmla="*/ 3 w 7"/>
                  <a:gd name="T7" fmla="*/ 0 h 5"/>
                  <a:gd name="T8" fmla="*/ 1 w 7"/>
                  <a:gd name="T9" fmla="*/ 4 h 5"/>
                  <a:gd name="T10" fmla="*/ 6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6" y="4"/>
                    </a:moveTo>
                    <a:cubicBezTo>
                      <a:pt x="6" y="4"/>
                      <a:pt x="7" y="4"/>
                      <a:pt x="7" y="4"/>
                    </a:cubicBezTo>
                    <a:cubicBezTo>
                      <a:pt x="7" y="3"/>
                      <a:pt x="6" y="1"/>
                      <a:pt x="5" y="1"/>
                    </a:cubicBezTo>
                    <a:cubicBezTo>
                      <a:pt x="6" y="0"/>
                      <a:pt x="4" y="0"/>
                      <a:pt x="3" y="0"/>
                    </a:cubicBezTo>
                    <a:cubicBezTo>
                      <a:pt x="0" y="0"/>
                      <a:pt x="2" y="2"/>
                      <a:pt x="1" y="4"/>
                    </a:cubicBezTo>
                    <a:cubicBezTo>
                      <a:pt x="3" y="5"/>
                      <a:pt x="4" y="5"/>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4" name="Freeform 1719">
                <a:extLst>
                  <a:ext uri="{FF2B5EF4-FFF2-40B4-BE49-F238E27FC236}">
                    <a16:creationId xmlns:a16="http://schemas.microsoft.com/office/drawing/2014/main" id="{449735E0-49DF-43D8-8C53-2A6D75144460}"/>
                  </a:ext>
                </a:extLst>
              </p:cNvPr>
              <p:cNvSpPr>
                <a:spLocks/>
              </p:cNvSpPr>
              <p:nvPr/>
            </p:nvSpPr>
            <p:spPr bwMode="auto">
              <a:xfrm>
                <a:off x="1636" y="2263"/>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5" name="Freeform 1720">
                <a:extLst>
                  <a:ext uri="{FF2B5EF4-FFF2-40B4-BE49-F238E27FC236}">
                    <a16:creationId xmlns:a16="http://schemas.microsoft.com/office/drawing/2014/main" id="{3421CEC4-5609-483A-99F4-0F4BEDDFC002}"/>
                  </a:ext>
                </a:extLst>
              </p:cNvPr>
              <p:cNvSpPr>
                <a:spLocks/>
              </p:cNvSpPr>
              <p:nvPr/>
            </p:nvSpPr>
            <p:spPr bwMode="auto">
              <a:xfrm>
                <a:off x="1658" y="2225"/>
                <a:ext cx="7" cy="5"/>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1"/>
                      <a:pt x="2" y="2"/>
                      <a:pt x="3" y="2"/>
                    </a:cubicBezTo>
                    <a:cubicBezTo>
                      <a:pt x="2" y="1"/>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6" name="Freeform 1721">
                <a:extLst>
                  <a:ext uri="{FF2B5EF4-FFF2-40B4-BE49-F238E27FC236}">
                    <a16:creationId xmlns:a16="http://schemas.microsoft.com/office/drawing/2014/main" id="{BB7DCAD6-FB91-4B9F-A9BF-DB5353B0AE91}"/>
                  </a:ext>
                </a:extLst>
              </p:cNvPr>
              <p:cNvSpPr>
                <a:spLocks/>
              </p:cNvSpPr>
              <p:nvPr/>
            </p:nvSpPr>
            <p:spPr bwMode="auto">
              <a:xfrm>
                <a:off x="1740" y="2194"/>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7" name="Freeform 1722">
                <a:extLst>
                  <a:ext uri="{FF2B5EF4-FFF2-40B4-BE49-F238E27FC236}">
                    <a16:creationId xmlns:a16="http://schemas.microsoft.com/office/drawing/2014/main" id="{66A291A8-95FF-49AE-AD13-609993A75F1E}"/>
                  </a:ext>
                </a:extLst>
              </p:cNvPr>
              <p:cNvSpPr>
                <a:spLocks/>
              </p:cNvSpPr>
              <p:nvPr/>
            </p:nvSpPr>
            <p:spPr bwMode="auto">
              <a:xfrm>
                <a:off x="1714" y="2197"/>
                <a:ext cx="8" cy="4"/>
              </a:xfrm>
              <a:custGeom>
                <a:avLst/>
                <a:gdLst>
                  <a:gd name="T0" fmla="*/ 2 w 3"/>
                  <a:gd name="T1" fmla="*/ 1 h 2"/>
                  <a:gd name="T2" fmla="*/ 3 w 3"/>
                  <a:gd name="T3" fmla="*/ 2 h 2"/>
                  <a:gd name="T4" fmla="*/ 0 w 3"/>
                  <a:gd name="T5" fmla="*/ 0 h 2"/>
                  <a:gd name="T6" fmla="*/ 2 w 3"/>
                  <a:gd name="T7" fmla="*/ 1 h 2"/>
                </a:gdLst>
                <a:ahLst/>
                <a:cxnLst>
                  <a:cxn ang="0">
                    <a:pos x="T0" y="T1"/>
                  </a:cxn>
                  <a:cxn ang="0">
                    <a:pos x="T2" y="T3"/>
                  </a:cxn>
                  <a:cxn ang="0">
                    <a:pos x="T4" y="T5"/>
                  </a:cxn>
                  <a:cxn ang="0">
                    <a:pos x="T6" y="T7"/>
                  </a:cxn>
                </a:cxnLst>
                <a:rect l="0" t="0" r="r" b="b"/>
                <a:pathLst>
                  <a:path w="3" h="2">
                    <a:moveTo>
                      <a:pt x="2" y="1"/>
                    </a:moveTo>
                    <a:cubicBezTo>
                      <a:pt x="2" y="1"/>
                      <a:pt x="3" y="1"/>
                      <a:pt x="3" y="2"/>
                    </a:cubicBezTo>
                    <a:cubicBezTo>
                      <a:pt x="2" y="1"/>
                      <a:pt x="1" y="1"/>
                      <a:pt x="0" y="0"/>
                    </a:cubicBezTo>
                    <a:cubicBezTo>
                      <a:pt x="1" y="0"/>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8" name="Freeform 1723">
                <a:extLst>
                  <a:ext uri="{FF2B5EF4-FFF2-40B4-BE49-F238E27FC236}">
                    <a16:creationId xmlns:a16="http://schemas.microsoft.com/office/drawing/2014/main" id="{E2A21CAB-40D8-4D77-99AD-C91D0520DC61}"/>
                  </a:ext>
                </a:extLst>
              </p:cNvPr>
              <p:cNvSpPr>
                <a:spLocks/>
              </p:cNvSpPr>
              <p:nvPr/>
            </p:nvSpPr>
            <p:spPr bwMode="auto">
              <a:xfrm>
                <a:off x="1731" y="2204"/>
                <a:ext cx="9" cy="7"/>
              </a:xfrm>
              <a:custGeom>
                <a:avLst/>
                <a:gdLst>
                  <a:gd name="T0" fmla="*/ 1 w 4"/>
                  <a:gd name="T1" fmla="*/ 2 h 3"/>
                  <a:gd name="T2" fmla="*/ 4 w 4"/>
                  <a:gd name="T3" fmla="*/ 3 h 3"/>
                  <a:gd name="T4" fmla="*/ 2 w 4"/>
                  <a:gd name="T5" fmla="*/ 0 h 3"/>
                  <a:gd name="T6" fmla="*/ 1 w 4"/>
                  <a:gd name="T7" fmla="*/ 2 h 3"/>
                </a:gdLst>
                <a:ahLst/>
                <a:cxnLst>
                  <a:cxn ang="0">
                    <a:pos x="T0" y="T1"/>
                  </a:cxn>
                  <a:cxn ang="0">
                    <a:pos x="T2" y="T3"/>
                  </a:cxn>
                  <a:cxn ang="0">
                    <a:pos x="T4" y="T5"/>
                  </a:cxn>
                  <a:cxn ang="0">
                    <a:pos x="T6" y="T7"/>
                  </a:cxn>
                </a:cxnLst>
                <a:rect l="0" t="0" r="r" b="b"/>
                <a:pathLst>
                  <a:path w="4" h="3">
                    <a:moveTo>
                      <a:pt x="1" y="2"/>
                    </a:moveTo>
                    <a:cubicBezTo>
                      <a:pt x="2" y="3"/>
                      <a:pt x="3" y="2"/>
                      <a:pt x="4" y="3"/>
                    </a:cubicBezTo>
                    <a:cubicBezTo>
                      <a:pt x="3" y="2"/>
                      <a:pt x="2" y="1"/>
                      <a:pt x="2" y="0"/>
                    </a:cubicBezTo>
                    <a:cubicBezTo>
                      <a:pt x="2" y="1"/>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9" name="Freeform 1724">
                <a:extLst>
                  <a:ext uri="{FF2B5EF4-FFF2-40B4-BE49-F238E27FC236}">
                    <a16:creationId xmlns:a16="http://schemas.microsoft.com/office/drawing/2014/main" id="{D0C7C2E4-2145-45C0-B883-60F7A1F4F8B7}"/>
                  </a:ext>
                </a:extLst>
              </p:cNvPr>
              <p:cNvSpPr>
                <a:spLocks/>
              </p:cNvSpPr>
              <p:nvPr/>
            </p:nvSpPr>
            <p:spPr bwMode="auto">
              <a:xfrm>
                <a:off x="1667" y="2175"/>
                <a:ext cx="10" cy="19"/>
              </a:xfrm>
              <a:custGeom>
                <a:avLst/>
                <a:gdLst>
                  <a:gd name="T0" fmla="*/ 4 w 4"/>
                  <a:gd name="T1" fmla="*/ 7 h 8"/>
                  <a:gd name="T2" fmla="*/ 3 w 4"/>
                  <a:gd name="T3" fmla="*/ 2 h 8"/>
                  <a:gd name="T4" fmla="*/ 2 w 4"/>
                  <a:gd name="T5" fmla="*/ 3 h 8"/>
                  <a:gd name="T6" fmla="*/ 0 w 4"/>
                  <a:gd name="T7" fmla="*/ 4 h 8"/>
                  <a:gd name="T8" fmla="*/ 1 w 4"/>
                  <a:gd name="T9" fmla="*/ 5 h 8"/>
                  <a:gd name="T10" fmla="*/ 2 w 4"/>
                  <a:gd name="T11" fmla="*/ 7 h 8"/>
                  <a:gd name="T12" fmla="*/ 3 w 4"/>
                  <a:gd name="T13" fmla="*/ 8 h 8"/>
                  <a:gd name="T14" fmla="*/ 4 w 4"/>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7"/>
                    </a:moveTo>
                    <a:cubicBezTo>
                      <a:pt x="4" y="6"/>
                      <a:pt x="4" y="2"/>
                      <a:pt x="3" y="2"/>
                    </a:cubicBezTo>
                    <a:cubicBezTo>
                      <a:pt x="3" y="2"/>
                      <a:pt x="3" y="3"/>
                      <a:pt x="2" y="3"/>
                    </a:cubicBezTo>
                    <a:cubicBezTo>
                      <a:pt x="3" y="0"/>
                      <a:pt x="0" y="3"/>
                      <a:pt x="0" y="4"/>
                    </a:cubicBezTo>
                    <a:cubicBezTo>
                      <a:pt x="0" y="3"/>
                      <a:pt x="1" y="5"/>
                      <a:pt x="1" y="5"/>
                    </a:cubicBezTo>
                    <a:cubicBezTo>
                      <a:pt x="1" y="5"/>
                      <a:pt x="1" y="6"/>
                      <a:pt x="2" y="7"/>
                    </a:cubicBezTo>
                    <a:cubicBezTo>
                      <a:pt x="1" y="8"/>
                      <a:pt x="2" y="7"/>
                      <a:pt x="3" y="8"/>
                    </a:cubicBezTo>
                    <a:cubicBezTo>
                      <a:pt x="3" y="7"/>
                      <a:pt x="3" y="7"/>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0" name="Freeform 1725">
                <a:extLst>
                  <a:ext uri="{FF2B5EF4-FFF2-40B4-BE49-F238E27FC236}">
                    <a16:creationId xmlns:a16="http://schemas.microsoft.com/office/drawing/2014/main" id="{4F7E22B6-67ED-432C-B1D4-8D1B1FA82689}"/>
                  </a:ext>
                </a:extLst>
              </p:cNvPr>
              <p:cNvSpPr>
                <a:spLocks/>
              </p:cNvSpPr>
              <p:nvPr/>
            </p:nvSpPr>
            <p:spPr bwMode="auto">
              <a:xfrm>
                <a:off x="1757" y="2218"/>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1" name="Freeform 1726">
                <a:extLst>
                  <a:ext uri="{FF2B5EF4-FFF2-40B4-BE49-F238E27FC236}">
                    <a16:creationId xmlns:a16="http://schemas.microsoft.com/office/drawing/2014/main" id="{CE7F51BE-69B1-4941-897F-75F4C982D540}"/>
                  </a:ext>
                </a:extLst>
              </p:cNvPr>
              <p:cNvSpPr>
                <a:spLocks/>
              </p:cNvSpPr>
              <p:nvPr/>
            </p:nvSpPr>
            <p:spPr bwMode="auto">
              <a:xfrm>
                <a:off x="1759" y="2218"/>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2" name="Freeform 1727">
                <a:extLst>
                  <a:ext uri="{FF2B5EF4-FFF2-40B4-BE49-F238E27FC236}">
                    <a16:creationId xmlns:a16="http://schemas.microsoft.com/office/drawing/2014/main" id="{5EE7529A-E46F-4056-9611-E73844B339DE}"/>
                  </a:ext>
                </a:extLst>
              </p:cNvPr>
              <p:cNvSpPr>
                <a:spLocks/>
              </p:cNvSpPr>
              <p:nvPr/>
            </p:nvSpPr>
            <p:spPr bwMode="auto">
              <a:xfrm>
                <a:off x="1755" y="2216"/>
                <a:ext cx="2" cy="2"/>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3" name="Freeform 1728">
                <a:extLst>
                  <a:ext uri="{FF2B5EF4-FFF2-40B4-BE49-F238E27FC236}">
                    <a16:creationId xmlns:a16="http://schemas.microsoft.com/office/drawing/2014/main" id="{F70227E7-966C-4033-ABC8-1F3BD4920EAD}"/>
                  </a:ext>
                </a:extLst>
              </p:cNvPr>
              <p:cNvSpPr>
                <a:spLocks/>
              </p:cNvSpPr>
              <p:nvPr/>
            </p:nvSpPr>
            <p:spPr bwMode="auto">
              <a:xfrm>
                <a:off x="1769" y="2253"/>
                <a:ext cx="19" cy="12"/>
              </a:xfrm>
              <a:custGeom>
                <a:avLst/>
                <a:gdLst>
                  <a:gd name="T0" fmla="*/ 1 w 8"/>
                  <a:gd name="T1" fmla="*/ 4 h 5"/>
                  <a:gd name="T2" fmla="*/ 6 w 8"/>
                  <a:gd name="T3" fmla="*/ 3 h 5"/>
                  <a:gd name="T4" fmla="*/ 7 w 8"/>
                  <a:gd name="T5" fmla="*/ 0 h 5"/>
                  <a:gd name="T6" fmla="*/ 5 w 8"/>
                  <a:gd name="T7" fmla="*/ 2 h 5"/>
                  <a:gd name="T8" fmla="*/ 3 w 8"/>
                  <a:gd name="T9" fmla="*/ 1 h 5"/>
                  <a:gd name="T10" fmla="*/ 2 w 8"/>
                  <a:gd name="T11" fmla="*/ 2 h 5"/>
                  <a:gd name="T12" fmla="*/ 0 w 8"/>
                  <a:gd name="T13" fmla="*/ 3 h 5"/>
                  <a:gd name="T14" fmla="*/ 1 w 8"/>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1" y="4"/>
                    </a:moveTo>
                    <a:cubicBezTo>
                      <a:pt x="3" y="4"/>
                      <a:pt x="5" y="5"/>
                      <a:pt x="6" y="3"/>
                    </a:cubicBezTo>
                    <a:cubicBezTo>
                      <a:pt x="6" y="3"/>
                      <a:pt x="8" y="0"/>
                      <a:pt x="7" y="0"/>
                    </a:cubicBezTo>
                    <a:cubicBezTo>
                      <a:pt x="6" y="1"/>
                      <a:pt x="6" y="2"/>
                      <a:pt x="5" y="2"/>
                    </a:cubicBezTo>
                    <a:cubicBezTo>
                      <a:pt x="4" y="3"/>
                      <a:pt x="4" y="2"/>
                      <a:pt x="3" y="1"/>
                    </a:cubicBezTo>
                    <a:cubicBezTo>
                      <a:pt x="3" y="2"/>
                      <a:pt x="2" y="2"/>
                      <a:pt x="2" y="2"/>
                    </a:cubicBezTo>
                    <a:cubicBezTo>
                      <a:pt x="1" y="2"/>
                      <a:pt x="1" y="3"/>
                      <a:pt x="0" y="3"/>
                    </a:cubicBezTo>
                    <a:cubicBezTo>
                      <a:pt x="1" y="3"/>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4" name="Freeform 1729">
                <a:extLst>
                  <a:ext uri="{FF2B5EF4-FFF2-40B4-BE49-F238E27FC236}">
                    <a16:creationId xmlns:a16="http://schemas.microsoft.com/office/drawing/2014/main" id="{475B7646-50AF-4DD8-B647-CB05E8F6C9C1}"/>
                  </a:ext>
                </a:extLst>
              </p:cNvPr>
              <p:cNvSpPr>
                <a:spLocks/>
              </p:cNvSpPr>
              <p:nvPr/>
            </p:nvSpPr>
            <p:spPr bwMode="auto">
              <a:xfrm>
                <a:off x="1757" y="2218"/>
                <a:ext cx="9" cy="14"/>
              </a:xfrm>
              <a:custGeom>
                <a:avLst/>
                <a:gdLst>
                  <a:gd name="T0" fmla="*/ 2 w 4"/>
                  <a:gd name="T1" fmla="*/ 1 h 6"/>
                  <a:gd name="T2" fmla="*/ 2 w 4"/>
                  <a:gd name="T3" fmla="*/ 3 h 6"/>
                  <a:gd name="T4" fmla="*/ 0 w 4"/>
                  <a:gd name="T5" fmla="*/ 6 h 6"/>
                  <a:gd name="T6" fmla="*/ 3 w 4"/>
                  <a:gd name="T7" fmla="*/ 3 h 6"/>
                  <a:gd name="T8" fmla="*/ 3 w 4"/>
                  <a:gd name="T9" fmla="*/ 0 h 6"/>
                  <a:gd name="T10" fmla="*/ 3 w 4"/>
                  <a:gd name="T11" fmla="*/ 0 h 6"/>
                  <a:gd name="T12" fmla="*/ 3 w 4"/>
                  <a:gd name="T13" fmla="*/ 1 h 6"/>
                  <a:gd name="T14" fmla="*/ 2 w 4"/>
                  <a:gd name="T15" fmla="*/ 1 h 6"/>
                  <a:gd name="T16" fmla="*/ 2 w 4"/>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1"/>
                    </a:moveTo>
                    <a:cubicBezTo>
                      <a:pt x="4" y="2"/>
                      <a:pt x="3" y="3"/>
                      <a:pt x="2" y="3"/>
                    </a:cubicBezTo>
                    <a:cubicBezTo>
                      <a:pt x="1" y="4"/>
                      <a:pt x="0" y="4"/>
                      <a:pt x="0" y="6"/>
                    </a:cubicBezTo>
                    <a:cubicBezTo>
                      <a:pt x="1" y="5"/>
                      <a:pt x="2" y="4"/>
                      <a:pt x="3" y="3"/>
                    </a:cubicBezTo>
                    <a:cubicBezTo>
                      <a:pt x="4" y="2"/>
                      <a:pt x="4" y="1"/>
                      <a:pt x="3" y="0"/>
                    </a:cubicBezTo>
                    <a:cubicBezTo>
                      <a:pt x="3" y="0"/>
                      <a:pt x="3" y="0"/>
                      <a:pt x="3" y="0"/>
                    </a:cubicBezTo>
                    <a:cubicBezTo>
                      <a:pt x="2" y="0"/>
                      <a:pt x="3" y="0"/>
                      <a:pt x="3" y="1"/>
                    </a:cubicBezTo>
                    <a:cubicBezTo>
                      <a:pt x="2" y="1"/>
                      <a:pt x="2" y="1"/>
                      <a:pt x="2" y="1"/>
                    </a:cubicBezTo>
                    <a:cubicBezTo>
                      <a:pt x="2"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5" name="Freeform 1730">
                <a:extLst>
                  <a:ext uri="{FF2B5EF4-FFF2-40B4-BE49-F238E27FC236}">
                    <a16:creationId xmlns:a16="http://schemas.microsoft.com/office/drawing/2014/main" id="{B8729B01-1BB3-4B65-AA44-7828B3EF49AD}"/>
                  </a:ext>
                </a:extLst>
              </p:cNvPr>
              <p:cNvSpPr>
                <a:spLocks/>
              </p:cNvSpPr>
              <p:nvPr/>
            </p:nvSpPr>
            <p:spPr bwMode="auto">
              <a:xfrm>
                <a:off x="1781" y="2225"/>
                <a:ext cx="11" cy="5"/>
              </a:xfrm>
              <a:custGeom>
                <a:avLst/>
                <a:gdLst>
                  <a:gd name="T0" fmla="*/ 4 w 5"/>
                  <a:gd name="T1" fmla="*/ 1 h 2"/>
                  <a:gd name="T2" fmla="*/ 3 w 5"/>
                  <a:gd name="T3" fmla="*/ 1 h 2"/>
                  <a:gd name="T4" fmla="*/ 1 w 5"/>
                  <a:gd name="T5" fmla="*/ 1 h 2"/>
                  <a:gd name="T6" fmla="*/ 2 w 5"/>
                  <a:gd name="T7" fmla="*/ 1 h 2"/>
                  <a:gd name="T8" fmla="*/ 5 w 5"/>
                  <a:gd name="T9" fmla="*/ 1 h 2"/>
                  <a:gd name="T10" fmla="*/ 4 w 5"/>
                  <a:gd name="T11" fmla="*/ 1 h 2"/>
                </a:gdLst>
                <a:ahLst/>
                <a:cxnLst>
                  <a:cxn ang="0">
                    <a:pos x="T0" y="T1"/>
                  </a:cxn>
                  <a:cxn ang="0">
                    <a:pos x="T2" y="T3"/>
                  </a:cxn>
                  <a:cxn ang="0">
                    <a:pos x="T4" y="T5"/>
                  </a:cxn>
                  <a:cxn ang="0">
                    <a:pos x="T6" y="T7"/>
                  </a:cxn>
                  <a:cxn ang="0">
                    <a:pos x="T8" y="T9"/>
                  </a:cxn>
                  <a:cxn ang="0">
                    <a:pos x="T10" y="T11"/>
                  </a:cxn>
                </a:cxnLst>
                <a:rect l="0" t="0" r="r" b="b"/>
                <a:pathLst>
                  <a:path w="5" h="2">
                    <a:moveTo>
                      <a:pt x="4" y="1"/>
                    </a:moveTo>
                    <a:cubicBezTo>
                      <a:pt x="3" y="1"/>
                      <a:pt x="3" y="1"/>
                      <a:pt x="3" y="1"/>
                    </a:cubicBezTo>
                    <a:cubicBezTo>
                      <a:pt x="2" y="1"/>
                      <a:pt x="1" y="0"/>
                      <a:pt x="1" y="1"/>
                    </a:cubicBezTo>
                    <a:cubicBezTo>
                      <a:pt x="0" y="1"/>
                      <a:pt x="1" y="1"/>
                      <a:pt x="2" y="1"/>
                    </a:cubicBezTo>
                    <a:cubicBezTo>
                      <a:pt x="3" y="1"/>
                      <a:pt x="4" y="2"/>
                      <a:pt x="5" y="1"/>
                    </a:cubicBezTo>
                    <a:cubicBezTo>
                      <a:pt x="5" y="1"/>
                      <a:pt x="4"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6" name="Freeform 1731">
                <a:extLst>
                  <a:ext uri="{FF2B5EF4-FFF2-40B4-BE49-F238E27FC236}">
                    <a16:creationId xmlns:a16="http://schemas.microsoft.com/office/drawing/2014/main" id="{FBE53FAF-F82B-4DCB-9577-4210ADB338F1}"/>
                  </a:ext>
                </a:extLst>
              </p:cNvPr>
              <p:cNvSpPr>
                <a:spLocks/>
              </p:cNvSpPr>
              <p:nvPr/>
            </p:nvSpPr>
            <p:spPr bwMode="auto">
              <a:xfrm>
                <a:off x="1750" y="2182"/>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7" name="Freeform 1732">
                <a:extLst>
                  <a:ext uri="{FF2B5EF4-FFF2-40B4-BE49-F238E27FC236}">
                    <a16:creationId xmlns:a16="http://schemas.microsoft.com/office/drawing/2014/main" id="{D2F41300-F40A-47E7-9A81-145D84A7EEF6}"/>
                  </a:ext>
                </a:extLst>
              </p:cNvPr>
              <p:cNvSpPr>
                <a:spLocks/>
              </p:cNvSpPr>
              <p:nvPr/>
            </p:nvSpPr>
            <p:spPr bwMode="auto">
              <a:xfrm>
                <a:off x="1783" y="2249"/>
                <a:ext cx="2" cy="2"/>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1"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8" name="Freeform 1733">
                <a:extLst>
                  <a:ext uri="{FF2B5EF4-FFF2-40B4-BE49-F238E27FC236}">
                    <a16:creationId xmlns:a16="http://schemas.microsoft.com/office/drawing/2014/main" id="{34C6A853-8A18-4EF8-ACA5-9B39A90A7967}"/>
                  </a:ext>
                </a:extLst>
              </p:cNvPr>
              <p:cNvSpPr>
                <a:spLocks/>
              </p:cNvSpPr>
              <p:nvPr/>
            </p:nvSpPr>
            <p:spPr bwMode="auto">
              <a:xfrm>
                <a:off x="2107" y="2455"/>
                <a:ext cx="9" cy="4"/>
              </a:xfrm>
              <a:custGeom>
                <a:avLst/>
                <a:gdLst>
                  <a:gd name="T0" fmla="*/ 2 w 4"/>
                  <a:gd name="T1" fmla="*/ 2 h 2"/>
                  <a:gd name="T2" fmla="*/ 1 w 4"/>
                  <a:gd name="T3" fmla="*/ 0 h 2"/>
                  <a:gd name="T4" fmla="*/ 2 w 4"/>
                  <a:gd name="T5" fmla="*/ 2 h 2"/>
                </a:gdLst>
                <a:ahLst/>
                <a:cxnLst>
                  <a:cxn ang="0">
                    <a:pos x="T0" y="T1"/>
                  </a:cxn>
                  <a:cxn ang="0">
                    <a:pos x="T2" y="T3"/>
                  </a:cxn>
                  <a:cxn ang="0">
                    <a:pos x="T4" y="T5"/>
                  </a:cxn>
                </a:cxnLst>
                <a:rect l="0" t="0" r="r" b="b"/>
                <a:pathLst>
                  <a:path w="4" h="2">
                    <a:moveTo>
                      <a:pt x="2" y="2"/>
                    </a:moveTo>
                    <a:cubicBezTo>
                      <a:pt x="4" y="2"/>
                      <a:pt x="2" y="1"/>
                      <a:pt x="1" y="0"/>
                    </a:cubicBezTo>
                    <a:cubicBezTo>
                      <a:pt x="0" y="0"/>
                      <a:pt x="0"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9" name="Freeform 1734">
                <a:extLst>
                  <a:ext uri="{FF2B5EF4-FFF2-40B4-BE49-F238E27FC236}">
                    <a16:creationId xmlns:a16="http://schemas.microsoft.com/office/drawing/2014/main" id="{366E1EA4-76B3-46C9-AE88-025847246EA2}"/>
                  </a:ext>
                </a:extLst>
              </p:cNvPr>
              <p:cNvSpPr>
                <a:spLocks/>
              </p:cNvSpPr>
              <p:nvPr/>
            </p:nvSpPr>
            <p:spPr bwMode="auto">
              <a:xfrm>
                <a:off x="2024" y="2331"/>
                <a:ext cx="5" cy="3"/>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0" y="1"/>
                    </a:cubicBezTo>
                    <a:cubicBezTo>
                      <a:pt x="0" y="1"/>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0" name="Freeform 1735">
                <a:extLst>
                  <a:ext uri="{FF2B5EF4-FFF2-40B4-BE49-F238E27FC236}">
                    <a16:creationId xmlns:a16="http://schemas.microsoft.com/office/drawing/2014/main" id="{587AF7B7-23A5-433E-85A9-8F9F54E6C8EC}"/>
                  </a:ext>
                </a:extLst>
              </p:cNvPr>
              <p:cNvSpPr>
                <a:spLocks/>
              </p:cNvSpPr>
              <p:nvPr/>
            </p:nvSpPr>
            <p:spPr bwMode="auto">
              <a:xfrm>
                <a:off x="2055" y="2358"/>
                <a:ext cx="5" cy="4"/>
              </a:xfrm>
              <a:custGeom>
                <a:avLst/>
                <a:gdLst>
                  <a:gd name="T0" fmla="*/ 1 w 2"/>
                  <a:gd name="T1" fmla="*/ 2 h 2"/>
                  <a:gd name="T2" fmla="*/ 2 w 2"/>
                  <a:gd name="T3" fmla="*/ 2 h 2"/>
                  <a:gd name="T4" fmla="*/ 1 w 2"/>
                  <a:gd name="T5" fmla="*/ 0 h 2"/>
                  <a:gd name="T6" fmla="*/ 0 w 2"/>
                  <a:gd name="T7" fmla="*/ 2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2"/>
                      <a:pt x="2" y="2"/>
                      <a:pt x="2" y="2"/>
                    </a:cubicBezTo>
                    <a:cubicBezTo>
                      <a:pt x="2" y="1"/>
                      <a:pt x="1" y="1"/>
                      <a:pt x="1" y="0"/>
                    </a:cubicBezTo>
                    <a:cubicBezTo>
                      <a:pt x="0" y="0"/>
                      <a:pt x="0" y="1"/>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1" name="Freeform 1736">
                <a:extLst>
                  <a:ext uri="{FF2B5EF4-FFF2-40B4-BE49-F238E27FC236}">
                    <a16:creationId xmlns:a16="http://schemas.microsoft.com/office/drawing/2014/main" id="{ECF0F93A-AB5B-40CC-A39A-9FE035FEB2A7}"/>
                  </a:ext>
                </a:extLst>
              </p:cNvPr>
              <p:cNvSpPr>
                <a:spLocks/>
              </p:cNvSpPr>
              <p:nvPr/>
            </p:nvSpPr>
            <p:spPr bwMode="auto">
              <a:xfrm>
                <a:off x="2055" y="2343"/>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2" name="Freeform 1737">
                <a:extLst>
                  <a:ext uri="{FF2B5EF4-FFF2-40B4-BE49-F238E27FC236}">
                    <a16:creationId xmlns:a16="http://schemas.microsoft.com/office/drawing/2014/main" id="{17903CDD-640E-4BE4-A8E8-FBFB674C1F7C}"/>
                  </a:ext>
                </a:extLst>
              </p:cNvPr>
              <p:cNvSpPr>
                <a:spLocks/>
              </p:cNvSpPr>
              <p:nvPr/>
            </p:nvSpPr>
            <p:spPr bwMode="auto">
              <a:xfrm>
                <a:off x="1641" y="3621"/>
                <a:ext cx="5" cy="2"/>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1"/>
                      <a:pt x="2" y="1"/>
                      <a:pt x="2" y="1"/>
                    </a:cubicBezTo>
                    <a:cubicBezTo>
                      <a:pt x="2" y="0"/>
                      <a:pt x="2"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3" name="Freeform 1738">
                <a:extLst>
                  <a:ext uri="{FF2B5EF4-FFF2-40B4-BE49-F238E27FC236}">
                    <a16:creationId xmlns:a16="http://schemas.microsoft.com/office/drawing/2014/main" id="{13D73ECE-A3EC-4357-A137-E1D0422A81E8}"/>
                  </a:ext>
                </a:extLst>
              </p:cNvPr>
              <p:cNvSpPr>
                <a:spLocks/>
              </p:cNvSpPr>
              <p:nvPr/>
            </p:nvSpPr>
            <p:spPr bwMode="auto">
              <a:xfrm>
                <a:off x="906" y="3446"/>
                <a:ext cx="5" cy="5"/>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1" y="2"/>
                      <a:pt x="2" y="1"/>
                      <a:pt x="2" y="1"/>
                    </a:cubicBezTo>
                    <a:cubicBezTo>
                      <a:pt x="1" y="1"/>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4" name="Freeform 1739">
                <a:extLst>
                  <a:ext uri="{FF2B5EF4-FFF2-40B4-BE49-F238E27FC236}">
                    <a16:creationId xmlns:a16="http://schemas.microsoft.com/office/drawing/2014/main" id="{7D58CAD7-8DEF-4A3E-8B43-A4E3AC112FF3}"/>
                  </a:ext>
                </a:extLst>
              </p:cNvPr>
              <p:cNvSpPr>
                <a:spLocks/>
              </p:cNvSpPr>
              <p:nvPr/>
            </p:nvSpPr>
            <p:spPr bwMode="auto">
              <a:xfrm>
                <a:off x="1982" y="2343"/>
                <a:ext cx="7" cy="3"/>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cubicBezTo>
                      <a:pt x="1" y="1"/>
                      <a:pt x="2" y="1"/>
                      <a:pt x="3" y="0"/>
                    </a:cubicBezTo>
                    <a:cubicBezTo>
                      <a:pt x="2"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5" name="Freeform 1740">
                <a:extLst>
                  <a:ext uri="{FF2B5EF4-FFF2-40B4-BE49-F238E27FC236}">
                    <a16:creationId xmlns:a16="http://schemas.microsoft.com/office/drawing/2014/main" id="{BE3B2D3C-2064-4778-B25E-152BF06AD180}"/>
                  </a:ext>
                </a:extLst>
              </p:cNvPr>
              <p:cNvSpPr>
                <a:spLocks/>
              </p:cNvSpPr>
              <p:nvPr/>
            </p:nvSpPr>
            <p:spPr bwMode="auto">
              <a:xfrm>
                <a:off x="1979" y="2329"/>
                <a:ext cx="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6" name="Freeform 1741">
                <a:extLst>
                  <a:ext uri="{FF2B5EF4-FFF2-40B4-BE49-F238E27FC236}">
                    <a16:creationId xmlns:a16="http://schemas.microsoft.com/office/drawing/2014/main" id="{98C5A081-4350-4812-9733-B461153132EF}"/>
                  </a:ext>
                </a:extLst>
              </p:cNvPr>
              <p:cNvSpPr>
                <a:spLocks/>
              </p:cNvSpPr>
              <p:nvPr/>
            </p:nvSpPr>
            <p:spPr bwMode="auto">
              <a:xfrm>
                <a:off x="1986" y="2324"/>
                <a:ext cx="5" cy="3"/>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1"/>
                      <a:pt x="1" y="1"/>
                      <a:pt x="0" y="1"/>
                    </a:cubicBezTo>
                    <a:cubicBezTo>
                      <a:pt x="1"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7" name="Freeform 1742">
                <a:extLst>
                  <a:ext uri="{FF2B5EF4-FFF2-40B4-BE49-F238E27FC236}">
                    <a16:creationId xmlns:a16="http://schemas.microsoft.com/office/drawing/2014/main" id="{D48BE825-1539-46C2-836C-9139084B2602}"/>
                  </a:ext>
                </a:extLst>
              </p:cNvPr>
              <p:cNvSpPr>
                <a:spLocks/>
              </p:cNvSpPr>
              <p:nvPr/>
            </p:nvSpPr>
            <p:spPr bwMode="auto">
              <a:xfrm>
                <a:off x="2069" y="2450"/>
                <a:ext cx="5" cy="9"/>
              </a:xfrm>
              <a:custGeom>
                <a:avLst/>
                <a:gdLst>
                  <a:gd name="T0" fmla="*/ 2 w 2"/>
                  <a:gd name="T1" fmla="*/ 2 h 4"/>
                  <a:gd name="T2" fmla="*/ 0 w 2"/>
                  <a:gd name="T3" fmla="*/ 2 h 4"/>
                  <a:gd name="T4" fmla="*/ 0 w 2"/>
                  <a:gd name="T5" fmla="*/ 3 h 4"/>
                  <a:gd name="T6" fmla="*/ 2 w 2"/>
                  <a:gd name="T7" fmla="*/ 2 h 4"/>
                </a:gdLst>
                <a:ahLst/>
                <a:cxnLst>
                  <a:cxn ang="0">
                    <a:pos x="T0" y="T1"/>
                  </a:cxn>
                  <a:cxn ang="0">
                    <a:pos x="T2" y="T3"/>
                  </a:cxn>
                  <a:cxn ang="0">
                    <a:pos x="T4" y="T5"/>
                  </a:cxn>
                  <a:cxn ang="0">
                    <a:pos x="T6" y="T7"/>
                  </a:cxn>
                </a:cxnLst>
                <a:rect l="0" t="0" r="r" b="b"/>
                <a:pathLst>
                  <a:path w="2" h="4">
                    <a:moveTo>
                      <a:pt x="2" y="2"/>
                    </a:moveTo>
                    <a:cubicBezTo>
                      <a:pt x="2" y="0"/>
                      <a:pt x="0" y="1"/>
                      <a:pt x="0" y="2"/>
                    </a:cubicBezTo>
                    <a:cubicBezTo>
                      <a:pt x="0" y="2"/>
                      <a:pt x="0" y="3"/>
                      <a:pt x="0" y="3"/>
                    </a:cubicBezTo>
                    <a:cubicBezTo>
                      <a:pt x="1" y="4"/>
                      <a:pt x="1"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8" name="Freeform 1743">
                <a:extLst>
                  <a:ext uri="{FF2B5EF4-FFF2-40B4-BE49-F238E27FC236}">
                    <a16:creationId xmlns:a16="http://schemas.microsoft.com/office/drawing/2014/main" id="{1596F151-A7FD-4ADA-92CE-A1A96D131C19}"/>
                  </a:ext>
                </a:extLst>
              </p:cNvPr>
              <p:cNvSpPr>
                <a:spLocks/>
              </p:cNvSpPr>
              <p:nvPr/>
            </p:nvSpPr>
            <p:spPr bwMode="auto">
              <a:xfrm>
                <a:off x="-23" y="1106"/>
                <a:ext cx="23" cy="21"/>
              </a:xfrm>
              <a:custGeom>
                <a:avLst/>
                <a:gdLst>
                  <a:gd name="T0" fmla="*/ 8 w 10"/>
                  <a:gd name="T1" fmla="*/ 0 h 9"/>
                  <a:gd name="T2" fmla="*/ 5 w 10"/>
                  <a:gd name="T3" fmla="*/ 4 h 9"/>
                  <a:gd name="T4" fmla="*/ 3 w 10"/>
                  <a:gd name="T5" fmla="*/ 5 h 9"/>
                  <a:gd name="T6" fmla="*/ 0 w 10"/>
                  <a:gd name="T7" fmla="*/ 9 h 9"/>
                  <a:gd name="T8" fmla="*/ 6 w 10"/>
                  <a:gd name="T9" fmla="*/ 6 h 9"/>
                  <a:gd name="T10" fmla="*/ 9 w 10"/>
                  <a:gd name="T11" fmla="*/ 3 h 9"/>
                  <a:gd name="T12" fmla="*/ 10 w 10"/>
                  <a:gd name="T13" fmla="*/ 2 h 9"/>
                  <a:gd name="T14" fmla="*/ 8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8" y="0"/>
                    </a:moveTo>
                    <a:cubicBezTo>
                      <a:pt x="7" y="0"/>
                      <a:pt x="6" y="3"/>
                      <a:pt x="5" y="4"/>
                    </a:cubicBezTo>
                    <a:cubicBezTo>
                      <a:pt x="5" y="5"/>
                      <a:pt x="4" y="5"/>
                      <a:pt x="3" y="5"/>
                    </a:cubicBezTo>
                    <a:cubicBezTo>
                      <a:pt x="2" y="6"/>
                      <a:pt x="0" y="8"/>
                      <a:pt x="0" y="9"/>
                    </a:cubicBezTo>
                    <a:cubicBezTo>
                      <a:pt x="2" y="8"/>
                      <a:pt x="4" y="7"/>
                      <a:pt x="6" y="6"/>
                    </a:cubicBezTo>
                    <a:cubicBezTo>
                      <a:pt x="7" y="4"/>
                      <a:pt x="7" y="4"/>
                      <a:pt x="9" y="3"/>
                    </a:cubicBezTo>
                    <a:cubicBezTo>
                      <a:pt x="9" y="3"/>
                      <a:pt x="10" y="2"/>
                      <a:pt x="10" y="2"/>
                    </a:cubicBezTo>
                    <a:cubicBezTo>
                      <a:pt x="10" y="0"/>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9" name="Freeform 1744">
                <a:extLst>
                  <a:ext uri="{FF2B5EF4-FFF2-40B4-BE49-F238E27FC236}">
                    <a16:creationId xmlns:a16="http://schemas.microsoft.com/office/drawing/2014/main" id="{C18BE852-18B8-48BB-BB29-4697B433F917}"/>
                  </a:ext>
                </a:extLst>
              </p:cNvPr>
              <p:cNvSpPr>
                <a:spLocks/>
              </p:cNvSpPr>
              <p:nvPr/>
            </p:nvSpPr>
            <p:spPr bwMode="auto">
              <a:xfrm>
                <a:off x="317" y="1253"/>
                <a:ext cx="14" cy="9"/>
              </a:xfrm>
              <a:custGeom>
                <a:avLst/>
                <a:gdLst>
                  <a:gd name="T0" fmla="*/ 6 w 6"/>
                  <a:gd name="T1" fmla="*/ 1 h 4"/>
                  <a:gd name="T2" fmla="*/ 0 w 6"/>
                  <a:gd name="T3" fmla="*/ 4 h 4"/>
                  <a:gd name="T4" fmla="*/ 4 w 6"/>
                  <a:gd name="T5" fmla="*/ 4 h 4"/>
                  <a:gd name="T6" fmla="*/ 6 w 6"/>
                  <a:gd name="T7" fmla="*/ 1 h 4"/>
                </a:gdLst>
                <a:ahLst/>
                <a:cxnLst>
                  <a:cxn ang="0">
                    <a:pos x="T0" y="T1"/>
                  </a:cxn>
                  <a:cxn ang="0">
                    <a:pos x="T2" y="T3"/>
                  </a:cxn>
                  <a:cxn ang="0">
                    <a:pos x="T4" y="T5"/>
                  </a:cxn>
                  <a:cxn ang="0">
                    <a:pos x="T6" y="T7"/>
                  </a:cxn>
                </a:cxnLst>
                <a:rect l="0" t="0" r="r" b="b"/>
                <a:pathLst>
                  <a:path w="6" h="4">
                    <a:moveTo>
                      <a:pt x="6" y="1"/>
                    </a:moveTo>
                    <a:cubicBezTo>
                      <a:pt x="4" y="0"/>
                      <a:pt x="1" y="2"/>
                      <a:pt x="0" y="4"/>
                    </a:cubicBezTo>
                    <a:cubicBezTo>
                      <a:pt x="1" y="4"/>
                      <a:pt x="3" y="4"/>
                      <a:pt x="4" y="4"/>
                    </a:cubicBezTo>
                    <a:cubicBezTo>
                      <a:pt x="5" y="3"/>
                      <a:pt x="5" y="3"/>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0" name="Freeform 1745">
                <a:extLst>
                  <a:ext uri="{FF2B5EF4-FFF2-40B4-BE49-F238E27FC236}">
                    <a16:creationId xmlns:a16="http://schemas.microsoft.com/office/drawing/2014/main" id="{53829E92-88DD-4BF9-9E4C-A7DF52573A76}"/>
                  </a:ext>
                </a:extLst>
              </p:cNvPr>
              <p:cNvSpPr>
                <a:spLocks/>
              </p:cNvSpPr>
              <p:nvPr/>
            </p:nvSpPr>
            <p:spPr bwMode="auto">
              <a:xfrm>
                <a:off x="253" y="1182"/>
                <a:ext cx="40" cy="28"/>
              </a:xfrm>
              <a:custGeom>
                <a:avLst/>
                <a:gdLst>
                  <a:gd name="T0" fmla="*/ 9 w 17"/>
                  <a:gd name="T1" fmla="*/ 12 h 12"/>
                  <a:gd name="T2" fmla="*/ 7 w 17"/>
                  <a:gd name="T3" fmla="*/ 8 h 12"/>
                  <a:gd name="T4" fmla="*/ 10 w 17"/>
                  <a:gd name="T5" fmla="*/ 9 h 12"/>
                  <a:gd name="T6" fmla="*/ 17 w 17"/>
                  <a:gd name="T7" fmla="*/ 11 h 12"/>
                  <a:gd name="T8" fmla="*/ 15 w 17"/>
                  <a:gd name="T9" fmla="*/ 8 h 12"/>
                  <a:gd name="T10" fmla="*/ 13 w 17"/>
                  <a:gd name="T11" fmla="*/ 8 h 12"/>
                  <a:gd name="T12" fmla="*/ 10 w 17"/>
                  <a:gd name="T13" fmla="*/ 6 h 12"/>
                  <a:gd name="T14" fmla="*/ 6 w 17"/>
                  <a:gd name="T15" fmla="*/ 4 h 12"/>
                  <a:gd name="T16" fmla="*/ 10 w 17"/>
                  <a:gd name="T17" fmla="*/ 6 h 12"/>
                  <a:gd name="T18" fmla="*/ 16 w 17"/>
                  <a:gd name="T19" fmla="*/ 7 h 12"/>
                  <a:gd name="T20" fmla="*/ 13 w 17"/>
                  <a:gd name="T21" fmla="*/ 5 h 12"/>
                  <a:gd name="T22" fmla="*/ 16 w 17"/>
                  <a:gd name="T23" fmla="*/ 6 h 12"/>
                  <a:gd name="T24" fmla="*/ 14 w 17"/>
                  <a:gd name="T25" fmla="*/ 3 h 12"/>
                  <a:gd name="T26" fmla="*/ 13 w 17"/>
                  <a:gd name="T27" fmla="*/ 3 h 12"/>
                  <a:gd name="T28" fmla="*/ 11 w 17"/>
                  <a:gd name="T29" fmla="*/ 2 h 12"/>
                  <a:gd name="T30" fmla="*/ 9 w 17"/>
                  <a:gd name="T31" fmla="*/ 4 h 12"/>
                  <a:gd name="T32" fmla="*/ 7 w 17"/>
                  <a:gd name="T33" fmla="*/ 4 h 12"/>
                  <a:gd name="T34" fmla="*/ 9 w 17"/>
                  <a:gd name="T35" fmla="*/ 4 h 12"/>
                  <a:gd name="T36" fmla="*/ 7 w 17"/>
                  <a:gd name="T37" fmla="*/ 3 h 12"/>
                  <a:gd name="T38" fmla="*/ 9 w 17"/>
                  <a:gd name="T39" fmla="*/ 1 h 12"/>
                  <a:gd name="T40" fmla="*/ 7 w 17"/>
                  <a:gd name="T41" fmla="*/ 0 h 12"/>
                  <a:gd name="T42" fmla="*/ 5 w 17"/>
                  <a:gd name="T43" fmla="*/ 1 h 12"/>
                  <a:gd name="T44" fmla="*/ 3 w 17"/>
                  <a:gd name="T45" fmla="*/ 2 h 12"/>
                  <a:gd name="T46" fmla="*/ 1 w 17"/>
                  <a:gd name="T47" fmla="*/ 1 h 12"/>
                  <a:gd name="T48" fmla="*/ 0 w 17"/>
                  <a:gd name="T49" fmla="*/ 2 h 12"/>
                  <a:gd name="T50" fmla="*/ 4 w 17"/>
                  <a:gd name="T51" fmla="*/ 6 h 12"/>
                  <a:gd name="T52" fmla="*/ 1 w 17"/>
                  <a:gd name="T53" fmla="*/ 5 h 12"/>
                  <a:gd name="T54" fmla="*/ 1 w 17"/>
                  <a:gd name="T55" fmla="*/ 7 h 12"/>
                  <a:gd name="T56" fmla="*/ 4 w 17"/>
                  <a:gd name="T57" fmla="*/ 9 h 12"/>
                  <a:gd name="T58" fmla="*/ 3 w 17"/>
                  <a:gd name="T59" fmla="*/ 10 h 12"/>
                  <a:gd name="T60" fmla="*/ 4 w 17"/>
                  <a:gd name="T61" fmla="*/ 9 h 12"/>
                  <a:gd name="T62" fmla="*/ 4 w 17"/>
                  <a:gd name="T63" fmla="*/ 10 h 12"/>
                  <a:gd name="T64" fmla="*/ 6 w 17"/>
                  <a:gd name="T65" fmla="*/ 12 h 12"/>
                  <a:gd name="T66" fmla="*/ 9 w 17"/>
                  <a:gd name="T6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2">
                    <a:moveTo>
                      <a:pt x="9" y="12"/>
                    </a:moveTo>
                    <a:cubicBezTo>
                      <a:pt x="9" y="10"/>
                      <a:pt x="8" y="10"/>
                      <a:pt x="7" y="8"/>
                    </a:cubicBezTo>
                    <a:cubicBezTo>
                      <a:pt x="8" y="8"/>
                      <a:pt x="9" y="9"/>
                      <a:pt x="10" y="9"/>
                    </a:cubicBezTo>
                    <a:cubicBezTo>
                      <a:pt x="12" y="11"/>
                      <a:pt x="14" y="11"/>
                      <a:pt x="17" y="11"/>
                    </a:cubicBezTo>
                    <a:cubicBezTo>
                      <a:pt x="17" y="10"/>
                      <a:pt x="16" y="8"/>
                      <a:pt x="15" y="8"/>
                    </a:cubicBezTo>
                    <a:cubicBezTo>
                      <a:pt x="14" y="7"/>
                      <a:pt x="13" y="8"/>
                      <a:pt x="13" y="8"/>
                    </a:cubicBezTo>
                    <a:cubicBezTo>
                      <a:pt x="12" y="8"/>
                      <a:pt x="11" y="7"/>
                      <a:pt x="10" y="6"/>
                    </a:cubicBezTo>
                    <a:cubicBezTo>
                      <a:pt x="9" y="6"/>
                      <a:pt x="7" y="5"/>
                      <a:pt x="6" y="4"/>
                    </a:cubicBezTo>
                    <a:cubicBezTo>
                      <a:pt x="7" y="5"/>
                      <a:pt x="9" y="5"/>
                      <a:pt x="10" y="6"/>
                    </a:cubicBezTo>
                    <a:cubicBezTo>
                      <a:pt x="12" y="7"/>
                      <a:pt x="13" y="8"/>
                      <a:pt x="16" y="7"/>
                    </a:cubicBezTo>
                    <a:cubicBezTo>
                      <a:pt x="15" y="6"/>
                      <a:pt x="13" y="6"/>
                      <a:pt x="13" y="5"/>
                    </a:cubicBezTo>
                    <a:cubicBezTo>
                      <a:pt x="14" y="5"/>
                      <a:pt x="15" y="6"/>
                      <a:pt x="16" y="6"/>
                    </a:cubicBezTo>
                    <a:cubicBezTo>
                      <a:pt x="15" y="5"/>
                      <a:pt x="16" y="4"/>
                      <a:pt x="14" y="3"/>
                    </a:cubicBezTo>
                    <a:cubicBezTo>
                      <a:pt x="14" y="3"/>
                      <a:pt x="13" y="3"/>
                      <a:pt x="13" y="3"/>
                    </a:cubicBezTo>
                    <a:cubicBezTo>
                      <a:pt x="12" y="2"/>
                      <a:pt x="11" y="2"/>
                      <a:pt x="11" y="2"/>
                    </a:cubicBezTo>
                    <a:cubicBezTo>
                      <a:pt x="11" y="2"/>
                      <a:pt x="10" y="3"/>
                      <a:pt x="9" y="4"/>
                    </a:cubicBezTo>
                    <a:cubicBezTo>
                      <a:pt x="8" y="5"/>
                      <a:pt x="8" y="5"/>
                      <a:pt x="7" y="4"/>
                    </a:cubicBezTo>
                    <a:cubicBezTo>
                      <a:pt x="8" y="4"/>
                      <a:pt x="8" y="4"/>
                      <a:pt x="9" y="4"/>
                    </a:cubicBezTo>
                    <a:cubicBezTo>
                      <a:pt x="8" y="4"/>
                      <a:pt x="8" y="3"/>
                      <a:pt x="7" y="3"/>
                    </a:cubicBezTo>
                    <a:cubicBezTo>
                      <a:pt x="8" y="3"/>
                      <a:pt x="11" y="2"/>
                      <a:pt x="9" y="1"/>
                    </a:cubicBezTo>
                    <a:cubicBezTo>
                      <a:pt x="9" y="1"/>
                      <a:pt x="7" y="0"/>
                      <a:pt x="7" y="0"/>
                    </a:cubicBezTo>
                    <a:cubicBezTo>
                      <a:pt x="6" y="0"/>
                      <a:pt x="5" y="1"/>
                      <a:pt x="5" y="1"/>
                    </a:cubicBezTo>
                    <a:cubicBezTo>
                      <a:pt x="4" y="1"/>
                      <a:pt x="3" y="0"/>
                      <a:pt x="3" y="2"/>
                    </a:cubicBezTo>
                    <a:cubicBezTo>
                      <a:pt x="2" y="2"/>
                      <a:pt x="2" y="1"/>
                      <a:pt x="1" y="1"/>
                    </a:cubicBezTo>
                    <a:cubicBezTo>
                      <a:pt x="2" y="2"/>
                      <a:pt x="2" y="2"/>
                      <a:pt x="0" y="2"/>
                    </a:cubicBezTo>
                    <a:cubicBezTo>
                      <a:pt x="1" y="4"/>
                      <a:pt x="3" y="5"/>
                      <a:pt x="4" y="6"/>
                    </a:cubicBezTo>
                    <a:cubicBezTo>
                      <a:pt x="3" y="6"/>
                      <a:pt x="2" y="5"/>
                      <a:pt x="1" y="5"/>
                    </a:cubicBezTo>
                    <a:cubicBezTo>
                      <a:pt x="1" y="5"/>
                      <a:pt x="1" y="6"/>
                      <a:pt x="1" y="7"/>
                    </a:cubicBezTo>
                    <a:cubicBezTo>
                      <a:pt x="1" y="6"/>
                      <a:pt x="3" y="8"/>
                      <a:pt x="4" y="9"/>
                    </a:cubicBezTo>
                    <a:cubicBezTo>
                      <a:pt x="4" y="9"/>
                      <a:pt x="3" y="9"/>
                      <a:pt x="3" y="10"/>
                    </a:cubicBezTo>
                    <a:cubicBezTo>
                      <a:pt x="4" y="10"/>
                      <a:pt x="4" y="9"/>
                      <a:pt x="4" y="9"/>
                    </a:cubicBezTo>
                    <a:cubicBezTo>
                      <a:pt x="4" y="9"/>
                      <a:pt x="4" y="10"/>
                      <a:pt x="4" y="10"/>
                    </a:cubicBezTo>
                    <a:cubicBezTo>
                      <a:pt x="5" y="11"/>
                      <a:pt x="6" y="11"/>
                      <a:pt x="6" y="12"/>
                    </a:cubicBezTo>
                    <a:cubicBezTo>
                      <a:pt x="7" y="12"/>
                      <a:pt x="8" y="12"/>
                      <a:pt x="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1" name="Freeform 1746">
                <a:extLst>
                  <a:ext uri="{FF2B5EF4-FFF2-40B4-BE49-F238E27FC236}">
                    <a16:creationId xmlns:a16="http://schemas.microsoft.com/office/drawing/2014/main" id="{C8150A70-DF95-457F-B06C-D86F5D273365}"/>
                  </a:ext>
                </a:extLst>
              </p:cNvPr>
              <p:cNvSpPr>
                <a:spLocks/>
              </p:cNvSpPr>
              <p:nvPr/>
            </p:nvSpPr>
            <p:spPr bwMode="auto">
              <a:xfrm>
                <a:off x="-153" y="1172"/>
                <a:ext cx="33" cy="19"/>
              </a:xfrm>
              <a:custGeom>
                <a:avLst/>
                <a:gdLst>
                  <a:gd name="T0" fmla="*/ 12 w 14"/>
                  <a:gd name="T1" fmla="*/ 4 h 8"/>
                  <a:gd name="T2" fmla="*/ 12 w 14"/>
                  <a:gd name="T3" fmla="*/ 2 h 8"/>
                  <a:gd name="T4" fmla="*/ 11 w 14"/>
                  <a:gd name="T5" fmla="*/ 2 h 8"/>
                  <a:gd name="T6" fmla="*/ 9 w 14"/>
                  <a:gd name="T7" fmla="*/ 3 h 8"/>
                  <a:gd name="T8" fmla="*/ 7 w 14"/>
                  <a:gd name="T9" fmla="*/ 1 h 8"/>
                  <a:gd name="T10" fmla="*/ 4 w 14"/>
                  <a:gd name="T11" fmla="*/ 2 h 8"/>
                  <a:gd name="T12" fmla="*/ 6 w 14"/>
                  <a:gd name="T13" fmla="*/ 3 h 8"/>
                  <a:gd name="T14" fmla="*/ 6 w 14"/>
                  <a:gd name="T15" fmla="*/ 4 h 8"/>
                  <a:gd name="T16" fmla="*/ 3 w 14"/>
                  <a:gd name="T17" fmla="*/ 4 h 8"/>
                  <a:gd name="T18" fmla="*/ 4 w 14"/>
                  <a:gd name="T19" fmla="*/ 6 h 8"/>
                  <a:gd name="T20" fmla="*/ 2 w 14"/>
                  <a:gd name="T21" fmla="*/ 6 h 8"/>
                  <a:gd name="T22" fmla="*/ 2 w 14"/>
                  <a:gd name="T23" fmla="*/ 6 h 8"/>
                  <a:gd name="T24" fmla="*/ 3 w 14"/>
                  <a:gd name="T25" fmla="*/ 7 h 8"/>
                  <a:gd name="T26" fmla="*/ 5 w 14"/>
                  <a:gd name="T27" fmla="*/ 8 h 8"/>
                  <a:gd name="T28" fmla="*/ 8 w 14"/>
                  <a:gd name="T29" fmla="*/ 5 h 8"/>
                  <a:gd name="T30" fmla="*/ 10 w 14"/>
                  <a:gd name="T31" fmla="*/ 6 h 8"/>
                  <a:gd name="T32" fmla="*/ 11 w 14"/>
                  <a:gd name="T33" fmla="*/ 4 h 8"/>
                  <a:gd name="T34" fmla="*/ 13 w 14"/>
                  <a:gd name="T35" fmla="*/ 4 h 8"/>
                  <a:gd name="T36" fmla="*/ 12 w 14"/>
                  <a:gd name="T3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8">
                    <a:moveTo>
                      <a:pt x="12" y="4"/>
                    </a:moveTo>
                    <a:cubicBezTo>
                      <a:pt x="12" y="3"/>
                      <a:pt x="13" y="3"/>
                      <a:pt x="12" y="2"/>
                    </a:cubicBezTo>
                    <a:cubicBezTo>
                      <a:pt x="11" y="2"/>
                      <a:pt x="11" y="3"/>
                      <a:pt x="11" y="2"/>
                    </a:cubicBezTo>
                    <a:cubicBezTo>
                      <a:pt x="10" y="0"/>
                      <a:pt x="10" y="3"/>
                      <a:pt x="9" y="3"/>
                    </a:cubicBezTo>
                    <a:cubicBezTo>
                      <a:pt x="9" y="3"/>
                      <a:pt x="8" y="1"/>
                      <a:pt x="7" y="1"/>
                    </a:cubicBezTo>
                    <a:cubicBezTo>
                      <a:pt x="6" y="1"/>
                      <a:pt x="5" y="2"/>
                      <a:pt x="4" y="2"/>
                    </a:cubicBezTo>
                    <a:cubicBezTo>
                      <a:pt x="5" y="2"/>
                      <a:pt x="5" y="2"/>
                      <a:pt x="6" y="3"/>
                    </a:cubicBezTo>
                    <a:cubicBezTo>
                      <a:pt x="5" y="3"/>
                      <a:pt x="6" y="4"/>
                      <a:pt x="6" y="4"/>
                    </a:cubicBezTo>
                    <a:cubicBezTo>
                      <a:pt x="5" y="4"/>
                      <a:pt x="4" y="3"/>
                      <a:pt x="3" y="4"/>
                    </a:cubicBezTo>
                    <a:cubicBezTo>
                      <a:pt x="1" y="4"/>
                      <a:pt x="3" y="5"/>
                      <a:pt x="4" y="6"/>
                    </a:cubicBezTo>
                    <a:cubicBezTo>
                      <a:pt x="3" y="5"/>
                      <a:pt x="0" y="5"/>
                      <a:pt x="2" y="6"/>
                    </a:cubicBezTo>
                    <a:cubicBezTo>
                      <a:pt x="2" y="7"/>
                      <a:pt x="2" y="6"/>
                      <a:pt x="2" y="6"/>
                    </a:cubicBezTo>
                    <a:cubicBezTo>
                      <a:pt x="3" y="7"/>
                      <a:pt x="3" y="7"/>
                      <a:pt x="3" y="7"/>
                    </a:cubicBezTo>
                    <a:cubicBezTo>
                      <a:pt x="3" y="8"/>
                      <a:pt x="4" y="8"/>
                      <a:pt x="5" y="8"/>
                    </a:cubicBezTo>
                    <a:cubicBezTo>
                      <a:pt x="6" y="7"/>
                      <a:pt x="7" y="6"/>
                      <a:pt x="8" y="5"/>
                    </a:cubicBezTo>
                    <a:cubicBezTo>
                      <a:pt x="8" y="6"/>
                      <a:pt x="9" y="6"/>
                      <a:pt x="10" y="6"/>
                    </a:cubicBezTo>
                    <a:cubicBezTo>
                      <a:pt x="11" y="6"/>
                      <a:pt x="11" y="5"/>
                      <a:pt x="11" y="4"/>
                    </a:cubicBezTo>
                    <a:cubicBezTo>
                      <a:pt x="12" y="6"/>
                      <a:pt x="13" y="6"/>
                      <a:pt x="13" y="4"/>
                    </a:cubicBezTo>
                    <a:cubicBezTo>
                      <a:pt x="14" y="2"/>
                      <a:pt x="13"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2" name="Freeform 1747">
                <a:extLst>
                  <a:ext uri="{FF2B5EF4-FFF2-40B4-BE49-F238E27FC236}">
                    <a16:creationId xmlns:a16="http://schemas.microsoft.com/office/drawing/2014/main" id="{89EF7572-4670-4163-BA8B-49ABC0D7BDB6}"/>
                  </a:ext>
                </a:extLst>
              </p:cNvPr>
              <p:cNvSpPr>
                <a:spLocks/>
              </p:cNvSpPr>
              <p:nvPr/>
            </p:nvSpPr>
            <p:spPr bwMode="auto">
              <a:xfrm>
                <a:off x="267" y="1215"/>
                <a:ext cx="10" cy="12"/>
              </a:xfrm>
              <a:custGeom>
                <a:avLst/>
                <a:gdLst>
                  <a:gd name="T0" fmla="*/ 0 w 4"/>
                  <a:gd name="T1" fmla="*/ 1 h 5"/>
                  <a:gd name="T2" fmla="*/ 1 w 4"/>
                  <a:gd name="T3" fmla="*/ 2 h 5"/>
                  <a:gd name="T4" fmla="*/ 1 w 4"/>
                  <a:gd name="T5" fmla="*/ 4 h 5"/>
                  <a:gd name="T6" fmla="*/ 2 w 4"/>
                  <a:gd name="T7" fmla="*/ 5 h 5"/>
                  <a:gd name="T8" fmla="*/ 2 w 4"/>
                  <a:gd name="T9" fmla="*/ 0 h 5"/>
                  <a:gd name="T10" fmla="*/ 0 w 4"/>
                  <a:gd name="T11" fmla="*/ 1 h 5"/>
                </a:gdLst>
                <a:ahLst/>
                <a:cxnLst>
                  <a:cxn ang="0">
                    <a:pos x="T0" y="T1"/>
                  </a:cxn>
                  <a:cxn ang="0">
                    <a:pos x="T2" y="T3"/>
                  </a:cxn>
                  <a:cxn ang="0">
                    <a:pos x="T4" y="T5"/>
                  </a:cxn>
                  <a:cxn ang="0">
                    <a:pos x="T6" y="T7"/>
                  </a:cxn>
                  <a:cxn ang="0">
                    <a:pos x="T8" y="T9"/>
                  </a:cxn>
                  <a:cxn ang="0">
                    <a:pos x="T10" y="T11"/>
                  </a:cxn>
                </a:cxnLst>
                <a:rect l="0" t="0" r="r" b="b"/>
                <a:pathLst>
                  <a:path w="4" h="5">
                    <a:moveTo>
                      <a:pt x="0" y="1"/>
                    </a:moveTo>
                    <a:cubicBezTo>
                      <a:pt x="0" y="2"/>
                      <a:pt x="0" y="2"/>
                      <a:pt x="1" y="2"/>
                    </a:cubicBezTo>
                    <a:cubicBezTo>
                      <a:pt x="2" y="3"/>
                      <a:pt x="1" y="3"/>
                      <a:pt x="1" y="4"/>
                    </a:cubicBezTo>
                    <a:cubicBezTo>
                      <a:pt x="1" y="5"/>
                      <a:pt x="2" y="5"/>
                      <a:pt x="2" y="5"/>
                    </a:cubicBezTo>
                    <a:cubicBezTo>
                      <a:pt x="4" y="4"/>
                      <a:pt x="2" y="1"/>
                      <a:pt x="2"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3" name="Freeform 1748">
                <a:extLst>
                  <a:ext uri="{FF2B5EF4-FFF2-40B4-BE49-F238E27FC236}">
                    <a16:creationId xmlns:a16="http://schemas.microsoft.com/office/drawing/2014/main" id="{6EAFEB9D-4DBE-4F39-8F7F-731AD14B2901}"/>
                  </a:ext>
                </a:extLst>
              </p:cNvPr>
              <p:cNvSpPr>
                <a:spLocks/>
              </p:cNvSpPr>
              <p:nvPr/>
            </p:nvSpPr>
            <p:spPr bwMode="auto">
              <a:xfrm>
                <a:off x="-189" y="1191"/>
                <a:ext cx="64" cy="45"/>
              </a:xfrm>
              <a:custGeom>
                <a:avLst/>
                <a:gdLst>
                  <a:gd name="T0" fmla="*/ 26 w 27"/>
                  <a:gd name="T1" fmla="*/ 6 h 19"/>
                  <a:gd name="T2" fmla="*/ 24 w 27"/>
                  <a:gd name="T3" fmla="*/ 6 h 19"/>
                  <a:gd name="T4" fmla="*/ 24 w 27"/>
                  <a:gd name="T5" fmla="*/ 5 h 19"/>
                  <a:gd name="T6" fmla="*/ 23 w 27"/>
                  <a:gd name="T7" fmla="*/ 5 h 19"/>
                  <a:gd name="T8" fmla="*/ 25 w 27"/>
                  <a:gd name="T9" fmla="*/ 3 h 19"/>
                  <a:gd name="T10" fmla="*/ 24 w 27"/>
                  <a:gd name="T11" fmla="*/ 2 h 19"/>
                  <a:gd name="T12" fmla="*/ 22 w 27"/>
                  <a:gd name="T13" fmla="*/ 2 h 19"/>
                  <a:gd name="T14" fmla="*/ 20 w 27"/>
                  <a:gd name="T15" fmla="*/ 2 h 19"/>
                  <a:gd name="T16" fmla="*/ 19 w 27"/>
                  <a:gd name="T17" fmla="*/ 1 h 19"/>
                  <a:gd name="T18" fmla="*/ 18 w 27"/>
                  <a:gd name="T19" fmla="*/ 1 h 19"/>
                  <a:gd name="T20" fmla="*/ 15 w 27"/>
                  <a:gd name="T21" fmla="*/ 0 h 19"/>
                  <a:gd name="T22" fmla="*/ 18 w 27"/>
                  <a:gd name="T23" fmla="*/ 3 h 19"/>
                  <a:gd name="T24" fmla="*/ 16 w 27"/>
                  <a:gd name="T25" fmla="*/ 2 h 19"/>
                  <a:gd name="T26" fmla="*/ 16 w 27"/>
                  <a:gd name="T27" fmla="*/ 3 h 19"/>
                  <a:gd name="T28" fmla="*/ 14 w 27"/>
                  <a:gd name="T29" fmla="*/ 3 h 19"/>
                  <a:gd name="T30" fmla="*/ 15 w 27"/>
                  <a:gd name="T31" fmla="*/ 4 h 19"/>
                  <a:gd name="T32" fmla="*/ 14 w 27"/>
                  <a:gd name="T33" fmla="*/ 4 h 19"/>
                  <a:gd name="T34" fmla="*/ 14 w 27"/>
                  <a:gd name="T35" fmla="*/ 4 h 19"/>
                  <a:gd name="T36" fmla="*/ 12 w 27"/>
                  <a:gd name="T37" fmla="*/ 3 h 19"/>
                  <a:gd name="T38" fmla="*/ 9 w 27"/>
                  <a:gd name="T39" fmla="*/ 3 h 19"/>
                  <a:gd name="T40" fmla="*/ 12 w 27"/>
                  <a:gd name="T41" fmla="*/ 6 h 19"/>
                  <a:gd name="T42" fmla="*/ 9 w 27"/>
                  <a:gd name="T43" fmla="*/ 5 h 19"/>
                  <a:gd name="T44" fmla="*/ 11 w 27"/>
                  <a:gd name="T45" fmla="*/ 7 h 19"/>
                  <a:gd name="T46" fmla="*/ 10 w 27"/>
                  <a:gd name="T47" fmla="*/ 6 h 19"/>
                  <a:gd name="T48" fmla="*/ 10 w 27"/>
                  <a:gd name="T49" fmla="*/ 7 h 19"/>
                  <a:gd name="T50" fmla="*/ 7 w 27"/>
                  <a:gd name="T51" fmla="*/ 7 h 19"/>
                  <a:gd name="T52" fmla="*/ 5 w 27"/>
                  <a:gd name="T53" fmla="*/ 5 h 19"/>
                  <a:gd name="T54" fmla="*/ 3 w 27"/>
                  <a:gd name="T55" fmla="*/ 6 h 19"/>
                  <a:gd name="T56" fmla="*/ 4 w 27"/>
                  <a:gd name="T57" fmla="*/ 6 h 19"/>
                  <a:gd name="T58" fmla="*/ 2 w 27"/>
                  <a:gd name="T59" fmla="*/ 7 h 19"/>
                  <a:gd name="T60" fmla="*/ 1 w 27"/>
                  <a:gd name="T61" fmla="*/ 8 h 19"/>
                  <a:gd name="T62" fmla="*/ 0 w 27"/>
                  <a:gd name="T63" fmla="*/ 10 h 19"/>
                  <a:gd name="T64" fmla="*/ 1 w 27"/>
                  <a:gd name="T65" fmla="*/ 11 h 19"/>
                  <a:gd name="T66" fmla="*/ 2 w 27"/>
                  <a:gd name="T67" fmla="*/ 13 h 19"/>
                  <a:gd name="T68" fmla="*/ 4 w 27"/>
                  <a:gd name="T69" fmla="*/ 15 h 19"/>
                  <a:gd name="T70" fmla="*/ 5 w 27"/>
                  <a:gd name="T71" fmla="*/ 17 h 19"/>
                  <a:gd name="T72" fmla="*/ 6 w 27"/>
                  <a:gd name="T73" fmla="*/ 16 h 19"/>
                  <a:gd name="T74" fmla="*/ 6 w 27"/>
                  <a:gd name="T75" fmla="*/ 15 h 19"/>
                  <a:gd name="T76" fmla="*/ 3 w 27"/>
                  <a:gd name="T77" fmla="*/ 13 h 19"/>
                  <a:gd name="T78" fmla="*/ 5 w 27"/>
                  <a:gd name="T79" fmla="*/ 13 h 19"/>
                  <a:gd name="T80" fmla="*/ 8 w 27"/>
                  <a:gd name="T81" fmla="*/ 13 h 19"/>
                  <a:gd name="T82" fmla="*/ 7 w 27"/>
                  <a:gd name="T83" fmla="*/ 15 h 19"/>
                  <a:gd name="T84" fmla="*/ 10 w 27"/>
                  <a:gd name="T85" fmla="*/ 13 h 19"/>
                  <a:gd name="T86" fmla="*/ 7 w 27"/>
                  <a:gd name="T87" fmla="*/ 19 h 19"/>
                  <a:gd name="T88" fmla="*/ 8 w 27"/>
                  <a:gd name="T89" fmla="*/ 18 h 19"/>
                  <a:gd name="T90" fmla="*/ 10 w 27"/>
                  <a:gd name="T91" fmla="*/ 17 h 19"/>
                  <a:gd name="T92" fmla="*/ 11 w 27"/>
                  <a:gd name="T93" fmla="*/ 16 h 19"/>
                  <a:gd name="T94" fmla="*/ 10 w 27"/>
                  <a:gd name="T95" fmla="*/ 14 h 19"/>
                  <a:gd name="T96" fmla="*/ 12 w 27"/>
                  <a:gd name="T97" fmla="*/ 14 h 19"/>
                  <a:gd name="T98" fmla="*/ 14 w 27"/>
                  <a:gd name="T99" fmla="*/ 12 h 19"/>
                  <a:gd name="T100" fmla="*/ 16 w 27"/>
                  <a:gd name="T101" fmla="*/ 12 h 19"/>
                  <a:gd name="T102" fmla="*/ 19 w 27"/>
                  <a:gd name="T103" fmla="*/ 11 h 19"/>
                  <a:gd name="T104" fmla="*/ 17 w 27"/>
                  <a:gd name="T105" fmla="*/ 10 h 19"/>
                  <a:gd name="T106" fmla="*/ 22 w 27"/>
                  <a:gd name="T107" fmla="*/ 9 h 19"/>
                  <a:gd name="T108" fmla="*/ 19 w 27"/>
                  <a:gd name="T109" fmla="*/ 7 h 19"/>
                  <a:gd name="T110" fmla="*/ 25 w 27"/>
                  <a:gd name="T111" fmla="*/ 8 h 19"/>
                  <a:gd name="T112" fmla="*/ 27 w 27"/>
                  <a:gd name="T113" fmla="*/ 6 h 19"/>
                  <a:gd name="T114" fmla="*/ 26 w 27"/>
                  <a:gd name="T115"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19">
                    <a:moveTo>
                      <a:pt x="26" y="6"/>
                    </a:moveTo>
                    <a:cubicBezTo>
                      <a:pt x="25" y="5"/>
                      <a:pt x="24" y="5"/>
                      <a:pt x="24" y="6"/>
                    </a:cubicBezTo>
                    <a:cubicBezTo>
                      <a:pt x="24" y="5"/>
                      <a:pt x="24" y="5"/>
                      <a:pt x="24" y="5"/>
                    </a:cubicBezTo>
                    <a:cubicBezTo>
                      <a:pt x="24" y="5"/>
                      <a:pt x="24" y="5"/>
                      <a:pt x="23" y="5"/>
                    </a:cubicBezTo>
                    <a:cubicBezTo>
                      <a:pt x="24" y="4"/>
                      <a:pt x="25" y="3"/>
                      <a:pt x="25" y="3"/>
                    </a:cubicBezTo>
                    <a:cubicBezTo>
                      <a:pt x="25" y="2"/>
                      <a:pt x="24" y="3"/>
                      <a:pt x="24" y="2"/>
                    </a:cubicBezTo>
                    <a:cubicBezTo>
                      <a:pt x="24" y="2"/>
                      <a:pt x="22" y="0"/>
                      <a:pt x="22" y="2"/>
                    </a:cubicBezTo>
                    <a:cubicBezTo>
                      <a:pt x="21" y="1"/>
                      <a:pt x="21" y="3"/>
                      <a:pt x="20" y="2"/>
                    </a:cubicBezTo>
                    <a:cubicBezTo>
                      <a:pt x="20" y="2"/>
                      <a:pt x="20" y="1"/>
                      <a:pt x="19" y="1"/>
                    </a:cubicBezTo>
                    <a:cubicBezTo>
                      <a:pt x="19" y="1"/>
                      <a:pt x="18" y="1"/>
                      <a:pt x="18" y="1"/>
                    </a:cubicBezTo>
                    <a:cubicBezTo>
                      <a:pt x="17" y="1"/>
                      <a:pt x="15" y="0"/>
                      <a:pt x="15" y="0"/>
                    </a:cubicBezTo>
                    <a:cubicBezTo>
                      <a:pt x="15" y="0"/>
                      <a:pt x="17" y="2"/>
                      <a:pt x="18" y="3"/>
                    </a:cubicBezTo>
                    <a:cubicBezTo>
                      <a:pt x="17" y="2"/>
                      <a:pt x="16" y="2"/>
                      <a:pt x="16" y="2"/>
                    </a:cubicBezTo>
                    <a:cubicBezTo>
                      <a:pt x="16" y="2"/>
                      <a:pt x="16" y="3"/>
                      <a:pt x="16" y="3"/>
                    </a:cubicBezTo>
                    <a:cubicBezTo>
                      <a:pt x="16" y="3"/>
                      <a:pt x="15" y="3"/>
                      <a:pt x="14" y="3"/>
                    </a:cubicBezTo>
                    <a:cubicBezTo>
                      <a:pt x="12" y="2"/>
                      <a:pt x="15" y="4"/>
                      <a:pt x="15" y="4"/>
                    </a:cubicBezTo>
                    <a:cubicBezTo>
                      <a:pt x="15" y="5"/>
                      <a:pt x="14" y="4"/>
                      <a:pt x="14" y="4"/>
                    </a:cubicBezTo>
                    <a:cubicBezTo>
                      <a:pt x="14" y="4"/>
                      <a:pt x="13" y="3"/>
                      <a:pt x="14" y="4"/>
                    </a:cubicBezTo>
                    <a:cubicBezTo>
                      <a:pt x="14" y="6"/>
                      <a:pt x="12" y="3"/>
                      <a:pt x="12" y="3"/>
                    </a:cubicBezTo>
                    <a:cubicBezTo>
                      <a:pt x="11" y="1"/>
                      <a:pt x="9" y="1"/>
                      <a:pt x="9" y="3"/>
                    </a:cubicBezTo>
                    <a:cubicBezTo>
                      <a:pt x="8" y="5"/>
                      <a:pt x="11" y="4"/>
                      <a:pt x="12" y="6"/>
                    </a:cubicBezTo>
                    <a:cubicBezTo>
                      <a:pt x="12" y="6"/>
                      <a:pt x="10" y="5"/>
                      <a:pt x="9" y="5"/>
                    </a:cubicBezTo>
                    <a:cubicBezTo>
                      <a:pt x="9" y="6"/>
                      <a:pt x="11" y="6"/>
                      <a:pt x="11" y="7"/>
                    </a:cubicBezTo>
                    <a:cubicBezTo>
                      <a:pt x="11" y="7"/>
                      <a:pt x="10" y="7"/>
                      <a:pt x="10" y="6"/>
                    </a:cubicBezTo>
                    <a:cubicBezTo>
                      <a:pt x="10" y="6"/>
                      <a:pt x="10" y="7"/>
                      <a:pt x="10" y="7"/>
                    </a:cubicBezTo>
                    <a:cubicBezTo>
                      <a:pt x="9" y="7"/>
                      <a:pt x="8" y="7"/>
                      <a:pt x="7" y="7"/>
                    </a:cubicBezTo>
                    <a:cubicBezTo>
                      <a:pt x="9" y="5"/>
                      <a:pt x="6" y="5"/>
                      <a:pt x="5" y="5"/>
                    </a:cubicBezTo>
                    <a:cubicBezTo>
                      <a:pt x="4" y="5"/>
                      <a:pt x="4" y="6"/>
                      <a:pt x="3" y="6"/>
                    </a:cubicBezTo>
                    <a:cubicBezTo>
                      <a:pt x="4" y="6"/>
                      <a:pt x="4" y="6"/>
                      <a:pt x="4" y="6"/>
                    </a:cubicBezTo>
                    <a:cubicBezTo>
                      <a:pt x="3" y="6"/>
                      <a:pt x="2" y="6"/>
                      <a:pt x="2" y="7"/>
                    </a:cubicBezTo>
                    <a:cubicBezTo>
                      <a:pt x="2" y="7"/>
                      <a:pt x="1" y="8"/>
                      <a:pt x="1" y="8"/>
                    </a:cubicBezTo>
                    <a:cubicBezTo>
                      <a:pt x="1" y="8"/>
                      <a:pt x="0" y="9"/>
                      <a:pt x="0" y="10"/>
                    </a:cubicBezTo>
                    <a:cubicBezTo>
                      <a:pt x="0" y="11"/>
                      <a:pt x="0" y="11"/>
                      <a:pt x="1" y="11"/>
                    </a:cubicBezTo>
                    <a:cubicBezTo>
                      <a:pt x="2" y="11"/>
                      <a:pt x="2" y="12"/>
                      <a:pt x="2" y="13"/>
                    </a:cubicBezTo>
                    <a:cubicBezTo>
                      <a:pt x="3" y="15"/>
                      <a:pt x="3" y="14"/>
                      <a:pt x="4" y="15"/>
                    </a:cubicBezTo>
                    <a:cubicBezTo>
                      <a:pt x="4" y="16"/>
                      <a:pt x="4" y="16"/>
                      <a:pt x="5" y="17"/>
                    </a:cubicBezTo>
                    <a:cubicBezTo>
                      <a:pt x="5" y="16"/>
                      <a:pt x="6" y="16"/>
                      <a:pt x="6" y="16"/>
                    </a:cubicBezTo>
                    <a:cubicBezTo>
                      <a:pt x="6" y="16"/>
                      <a:pt x="6" y="15"/>
                      <a:pt x="6" y="15"/>
                    </a:cubicBezTo>
                    <a:cubicBezTo>
                      <a:pt x="6" y="14"/>
                      <a:pt x="4" y="14"/>
                      <a:pt x="3" y="13"/>
                    </a:cubicBezTo>
                    <a:cubicBezTo>
                      <a:pt x="4" y="13"/>
                      <a:pt x="5" y="13"/>
                      <a:pt x="5" y="13"/>
                    </a:cubicBezTo>
                    <a:cubicBezTo>
                      <a:pt x="6" y="12"/>
                      <a:pt x="7" y="13"/>
                      <a:pt x="8" y="13"/>
                    </a:cubicBezTo>
                    <a:cubicBezTo>
                      <a:pt x="8" y="13"/>
                      <a:pt x="6" y="14"/>
                      <a:pt x="7" y="15"/>
                    </a:cubicBezTo>
                    <a:cubicBezTo>
                      <a:pt x="7" y="16"/>
                      <a:pt x="10" y="13"/>
                      <a:pt x="10" y="13"/>
                    </a:cubicBezTo>
                    <a:cubicBezTo>
                      <a:pt x="9" y="15"/>
                      <a:pt x="7" y="16"/>
                      <a:pt x="7" y="19"/>
                    </a:cubicBezTo>
                    <a:cubicBezTo>
                      <a:pt x="7" y="18"/>
                      <a:pt x="8" y="19"/>
                      <a:pt x="8" y="18"/>
                    </a:cubicBezTo>
                    <a:cubicBezTo>
                      <a:pt x="9" y="18"/>
                      <a:pt x="10" y="17"/>
                      <a:pt x="10" y="17"/>
                    </a:cubicBezTo>
                    <a:cubicBezTo>
                      <a:pt x="10" y="17"/>
                      <a:pt x="11" y="16"/>
                      <a:pt x="11" y="16"/>
                    </a:cubicBezTo>
                    <a:cubicBezTo>
                      <a:pt x="13" y="15"/>
                      <a:pt x="12" y="15"/>
                      <a:pt x="10" y="14"/>
                    </a:cubicBezTo>
                    <a:cubicBezTo>
                      <a:pt x="11" y="14"/>
                      <a:pt x="12" y="14"/>
                      <a:pt x="12" y="14"/>
                    </a:cubicBezTo>
                    <a:cubicBezTo>
                      <a:pt x="13" y="13"/>
                      <a:pt x="12" y="12"/>
                      <a:pt x="14" y="12"/>
                    </a:cubicBezTo>
                    <a:cubicBezTo>
                      <a:pt x="15" y="12"/>
                      <a:pt x="15" y="12"/>
                      <a:pt x="16" y="12"/>
                    </a:cubicBezTo>
                    <a:cubicBezTo>
                      <a:pt x="16" y="12"/>
                      <a:pt x="18" y="11"/>
                      <a:pt x="19" y="11"/>
                    </a:cubicBezTo>
                    <a:cubicBezTo>
                      <a:pt x="18" y="10"/>
                      <a:pt x="17" y="11"/>
                      <a:pt x="17" y="10"/>
                    </a:cubicBezTo>
                    <a:cubicBezTo>
                      <a:pt x="18" y="10"/>
                      <a:pt x="23" y="11"/>
                      <a:pt x="22" y="9"/>
                    </a:cubicBezTo>
                    <a:cubicBezTo>
                      <a:pt x="21" y="8"/>
                      <a:pt x="19" y="8"/>
                      <a:pt x="19" y="7"/>
                    </a:cubicBezTo>
                    <a:cubicBezTo>
                      <a:pt x="21" y="7"/>
                      <a:pt x="23" y="9"/>
                      <a:pt x="25" y="8"/>
                    </a:cubicBezTo>
                    <a:cubicBezTo>
                      <a:pt x="25" y="8"/>
                      <a:pt x="27" y="6"/>
                      <a:pt x="27" y="6"/>
                    </a:cubicBezTo>
                    <a:cubicBezTo>
                      <a:pt x="27" y="5"/>
                      <a:pt x="26" y="6"/>
                      <a:pt x="2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4" name="Freeform 1749">
                <a:extLst>
                  <a:ext uri="{FF2B5EF4-FFF2-40B4-BE49-F238E27FC236}">
                    <a16:creationId xmlns:a16="http://schemas.microsoft.com/office/drawing/2014/main" id="{19B1DA46-1EA3-43C2-B9A8-215857C7DA2A}"/>
                  </a:ext>
                </a:extLst>
              </p:cNvPr>
              <p:cNvSpPr>
                <a:spLocks/>
              </p:cNvSpPr>
              <p:nvPr/>
            </p:nvSpPr>
            <p:spPr bwMode="auto">
              <a:xfrm>
                <a:off x="251" y="1189"/>
                <a:ext cx="5" cy="7"/>
              </a:xfrm>
              <a:custGeom>
                <a:avLst/>
                <a:gdLst>
                  <a:gd name="T0" fmla="*/ 1 w 2"/>
                  <a:gd name="T1" fmla="*/ 0 h 3"/>
                  <a:gd name="T2" fmla="*/ 0 w 2"/>
                  <a:gd name="T3" fmla="*/ 2 h 3"/>
                  <a:gd name="T4" fmla="*/ 1 w 2"/>
                  <a:gd name="T5" fmla="*/ 3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2"/>
                    </a:cubicBezTo>
                    <a:cubicBezTo>
                      <a:pt x="0" y="2"/>
                      <a:pt x="1" y="3"/>
                      <a:pt x="1" y="3"/>
                    </a:cubicBezTo>
                    <a:cubicBezTo>
                      <a:pt x="2" y="2"/>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5" name="Freeform 1750">
                <a:extLst>
                  <a:ext uri="{FF2B5EF4-FFF2-40B4-BE49-F238E27FC236}">
                    <a16:creationId xmlns:a16="http://schemas.microsoft.com/office/drawing/2014/main" id="{B61E3822-D479-4E50-A229-B7F947D2B92D}"/>
                  </a:ext>
                </a:extLst>
              </p:cNvPr>
              <p:cNvSpPr>
                <a:spLocks/>
              </p:cNvSpPr>
              <p:nvPr/>
            </p:nvSpPr>
            <p:spPr bwMode="auto">
              <a:xfrm>
                <a:off x="353" y="1243"/>
                <a:ext cx="9" cy="14"/>
              </a:xfrm>
              <a:custGeom>
                <a:avLst/>
                <a:gdLst>
                  <a:gd name="T0" fmla="*/ 3 w 4"/>
                  <a:gd name="T1" fmla="*/ 5 h 6"/>
                  <a:gd name="T2" fmla="*/ 3 w 4"/>
                  <a:gd name="T3" fmla="*/ 6 h 6"/>
                  <a:gd name="T4" fmla="*/ 4 w 4"/>
                  <a:gd name="T5" fmla="*/ 4 h 6"/>
                  <a:gd name="T6" fmla="*/ 0 w 4"/>
                  <a:gd name="T7" fmla="*/ 0 h 6"/>
                  <a:gd name="T8" fmla="*/ 1 w 4"/>
                  <a:gd name="T9" fmla="*/ 4 h 6"/>
                  <a:gd name="T10" fmla="*/ 3 w 4"/>
                  <a:gd name="T11" fmla="*/ 5 h 6"/>
                </a:gdLst>
                <a:ahLst/>
                <a:cxnLst>
                  <a:cxn ang="0">
                    <a:pos x="T0" y="T1"/>
                  </a:cxn>
                  <a:cxn ang="0">
                    <a:pos x="T2" y="T3"/>
                  </a:cxn>
                  <a:cxn ang="0">
                    <a:pos x="T4" y="T5"/>
                  </a:cxn>
                  <a:cxn ang="0">
                    <a:pos x="T6" y="T7"/>
                  </a:cxn>
                  <a:cxn ang="0">
                    <a:pos x="T8" y="T9"/>
                  </a:cxn>
                  <a:cxn ang="0">
                    <a:pos x="T10" y="T11"/>
                  </a:cxn>
                </a:cxnLst>
                <a:rect l="0" t="0" r="r" b="b"/>
                <a:pathLst>
                  <a:path w="4" h="6">
                    <a:moveTo>
                      <a:pt x="3" y="5"/>
                    </a:moveTo>
                    <a:cubicBezTo>
                      <a:pt x="3" y="5"/>
                      <a:pt x="3" y="6"/>
                      <a:pt x="3" y="6"/>
                    </a:cubicBezTo>
                    <a:cubicBezTo>
                      <a:pt x="4" y="5"/>
                      <a:pt x="4" y="5"/>
                      <a:pt x="4" y="4"/>
                    </a:cubicBezTo>
                    <a:cubicBezTo>
                      <a:pt x="3" y="3"/>
                      <a:pt x="2" y="2"/>
                      <a:pt x="0" y="0"/>
                    </a:cubicBezTo>
                    <a:cubicBezTo>
                      <a:pt x="0" y="2"/>
                      <a:pt x="0" y="3"/>
                      <a:pt x="1" y="4"/>
                    </a:cubicBezTo>
                    <a:cubicBezTo>
                      <a:pt x="1" y="5"/>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6" name="Freeform 1751">
                <a:extLst>
                  <a:ext uri="{FF2B5EF4-FFF2-40B4-BE49-F238E27FC236}">
                    <a16:creationId xmlns:a16="http://schemas.microsoft.com/office/drawing/2014/main" id="{69264176-248E-47CD-898B-B6F592FF0C20}"/>
                  </a:ext>
                </a:extLst>
              </p:cNvPr>
              <p:cNvSpPr>
                <a:spLocks/>
              </p:cNvSpPr>
              <p:nvPr/>
            </p:nvSpPr>
            <p:spPr bwMode="auto">
              <a:xfrm>
                <a:off x="-338" y="1281"/>
                <a:ext cx="12" cy="9"/>
              </a:xfrm>
              <a:custGeom>
                <a:avLst/>
                <a:gdLst>
                  <a:gd name="T0" fmla="*/ 3 w 5"/>
                  <a:gd name="T1" fmla="*/ 0 h 4"/>
                  <a:gd name="T2" fmla="*/ 1 w 5"/>
                  <a:gd name="T3" fmla="*/ 4 h 4"/>
                  <a:gd name="T4" fmla="*/ 4 w 5"/>
                  <a:gd name="T5" fmla="*/ 3 h 4"/>
                  <a:gd name="T6" fmla="*/ 5 w 5"/>
                  <a:gd name="T7" fmla="*/ 3 h 4"/>
                  <a:gd name="T8" fmla="*/ 3 w 5"/>
                  <a:gd name="T9" fmla="*/ 0 h 4"/>
                </a:gdLst>
                <a:ahLst/>
                <a:cxnLst>
                  <a:cxn ang="0">
                    <a:pos x="T0" y="T1"/>
                  </a:cxn>
                  <a:cxn ang="0">
                    <a:pos x="T2" y="T3"/>
                  </a:cxn>
                  <a:cxn ang="0">
                    <a:pos x="T4" y="T5"/>
                  </a:cxn>
                  <a:cxn ang="0">
                    <a:pos x="T6" y="T7"/>
                  </a:cxn>
                  <a:cxn ang="0">
                    <a:pos x="T8" y="T9"/>
                  </a:cxn>
                </a:cxnLst>
                <a:rect l="0" t="0" r="r" b="b"/>
                <a:pathLst>
                  <a:path w="5" h="4">
                    <a:moveTo>
                      <a:pt x="3" y="0"/>
                    </a:moveTo>
                    <a:cubicBezTo>
                      <a:pt x="0" y="0"/>
                      <a:pt x="2" y="2"/>
                      <a:pt x="1" y="4"/>
                    </a:cubicBezTo>
                    <a:cubicBezTo>
                      <a:pt x="2" y="4"/>
                      <a:pt x="3" y="3"/>
                      <a:pt x="4" y="3"/>
                    </a:cubicBezTo>
                    <a:cubicBezTo>
                      <a:pt x="4" y="3"/>
                      <a:pt x="5" y="4"/>
                      <a:pt x="5" y="3"/>
                    </a:cubicBezTo>
                    <a:cubicBezTo>
                      <a:pt x="4" y="2"/>
                      <a:pt x="3"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7" name="Freeform 1752">
                <a:extLst>
                  <a:ext uri="{FF2B5EF4-FFF2-40B4-BE49-F238E27FC236}">
                    <a16:creationId xmlns:a16="http://schemas.microsoft.com/office/drawing/2014/main" id="{73FC3037-6DE5-4E92-AEF2-F0FAE2C7BD5F}"/>
                  </a:ext>
                </a:extLst>
              </p:cNvPr>
              <p:cNvSpPr>
                <a:spLocks/>
              </p:cNvSpPr>
              <p:nvPr/>
            </p:nvSpPr>
            <p:spPr bwMode="auto">
              <a:xfrm>
                <a:off x="-321" y="1283"/>
                <a:ext cx="9" cy="15"/>
              </a:xfrm>
              <a:custGeom>
                <a:avLst/>
                <a:gdLst>
                  <a:gd name="T0" fmla="*/ 1 w 4"/>
                  <a:gd name="T1" fmla="*/ 3 h 6"/>
                  <a:gd name="T2" fmla="*/ 1 w 4"/>
                  <a:gd name="T3" fmla="*/ 4 h 6"/>
                  <a:gd name="T4" fmla="*/ 0 w 4"/>
                  <a:gd name="T5" fmla="*/ 6 h 6"/>
                  <a:gd name="T6" fmla="*/ 2 w 4"/>
                  <a:gd name="T7" fmla="*/ 4 h 6"/>
                  <a:gd name="T8" fmla="*/ 3 w 4"/>
                  <a:gd name="T9" fmla="*/ 3 h 6"/>
                  <a:gd name="T10" fmla="*/ 4 w 4"/>
                  <a:gd name="T11" fmla="*/ 3 h 6"/>
                  <a:gd name="T12" fmla="*/ 4 w 4"/>
                  <a:gd name="T13" fmla="*/ 2 h 6"/>
                  <a:gd name="T14" fmla="*/ 4 w 4"/>
                  <a:gd name="T15" fmla="*/ 1 h 6"/>
                  <a:gd name="T16" fmla="*/ 1 w 4"/>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1" y="3"/>
                    </a:moveTo>
                    <a:cubicBezTo>
                      <a:pt x="1" y="3"/>
                      <a:pt x="1" y="4"/>
                      <a:pt x="1" y="4"/>
                    </a:cubicBezTo>
                    <a:cubicBezTo>
                      <a:pt x="1" y="5"/>
                      <a:pt x="1" y="6"/>
                      <a:pt x="0" y="6"/>
                    </a:cubicBezTo>
                    <a:cubicBezTo>
                      <a:pt x="1" y="5"/>
                      <a:pt x="2" y="5"/>
                      <a:pt x="2" y="4"/>
                    </a:cubicBezTo>
                    <a:cubicBezTo>
                      <a:pt x="3" y="4"/>
                      <a:pt x="3" y="3"/>
                      <a:pt x="3" y="3"/>
                    </a:cubicBezTo>
                    <a:cubicBezTo>
                      <a:pt x="3" y="2"/>
                      <a:pt x="4" y="3"/>
                      <a:pt x="4" y="3"/>
                    </a:cubicBezTo>
                    <a:cubicBezTo>
                      <a:pt x="4" y="3"/>
                      <a:pt x="4" y="3"/>
                      <a:pt x="4" y="2"/>
                    </a:cubicBezTo>
                    <a:cubicBezTo>
                      <a:pt x="4" y="2"/>
                      <a:pt x="4" y="1"/>
                      <a:pt x="4" y="1"/>
                    </a:cubicBezTo>
                    <a:cubicBezTo>
                      <a:pt x="4" y="0"/>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8" name="Freeform 1753">
                <a:extLst>
                  <a:ext uri="{FF2B5EF4-FFF2-40B4-BE49-F238E27FC236}">
                    <a16:creationId xmlns:a16="http://schemas.microsoft.com/office/drawing/2014/main" id="{144E4084-B3DB-4EC0-B36F-90B621A82EFD}"/>
                  </a:ext>
                </a:extLst>
              </p:cNvPr>
              <p:cNvSpPr>
                <a:spLocks/>
              </p:cNvSpPr>
              <p:nvPr/>
            </p:nvSpPr>
            <p:spPr bwMode="auto">
              <a:xfrm>
                <a:off x="-503" y="1328"/>
                <a:ext cx="38" cy="24"/>
              </a:xfrm>
              <a:custGeom>
                <a:avLst/>
                <a:gdLst>
                  <a:gd name="T0" fmla="*/ 9 w 16"/>
                  <a:gd name="T1" fmla="*/ 8 h 10"/>
                  <a:gd name="T2" fmla="*/ 9 w 16"/>
                  <a:gd name="T3" fmla="*/ 7 h 10"/>
                  <a:gd name="T4" fmla="*/ 9 w 16"/>
                  <a:gd name="T5" fmla="*/ 7 h 10"/>
                  <a:gd name="T6" fmla="*/ 10 w 16"/>
                  <a:gd name="T7" fmla="*/ 7 h 10"/>
                  <a:gd name="T8" fmla="*/ 10 w 16"/>
                  <a:gd name="T9" fmla="*/ 6 h 10"/>
                  <a:gd name="T10" fmla="*/ 12 w 16"/>
                  <a:gd name="T11" fmla="*/ 6 h 10"/>
                  <a:gd name="T12" fmla="*/ 12 w 16"/>
                  <a:gd name="T13" fmla="*/ 6 h 10"/>
                  <a:gd name="T14" fmla="*/ 13 w 16"/>
                  <a:gd name="T15" fmla="*/ 5 h 10"/>
                  <a:gd name="T16" fmla="*/ 15 w 16"/>
                  <a:gd name="T17" fmla="*/ 4 h 10"/>
                  <a:gd name="T18" fmla="*/ 16 w 16"/>
                  <a:gd name="T19" fmla="*/ 4 h 10"/>
                  <a:gd name="T20" fmla="*/ 13 w 16"/>
                  <a:gd name="T21" fmla="*/ 3 h 10"/>
                  <a:gd name="T22" fmla="*/ 13 w 16"/>
                  <a:gd name="T23" fmla="*/ 3 h 10"/>
                  <a:gd name="T24" fmla="*/ 13 w 16"/>
                  <a:gd name="T25" fmla="*/ 3 h 10"/>
                  <a:gd name="T26" fmla="*/ 15 w 16"/>
                  <a:gd name="T27" fmla="*/ 1 h 10"/>
                  <a:gd name="T28" fmla="*/ 16 w 16"/>
                  <a:gd name="T29" fmla="*/ 1 h 10"/>
                  <a:gd name="T30" fmla="*/ 15 w 16"/>
                  <a:gd name="T31" fmla="*/ 0 h 10"/>
                  <a:gd name="T32" fmla="*/ 12 w 16"/>
                  <a:gd name="T33" fmla="*/ 1 h 10"/>
                  <a:gd name="T34" fmla="*/ 11 w 16"/>
                  <a:gd name="T35" fmla="*/ 0 h 10"/>
                  <a:gd name="T36" fmla="*/ 9 w 16"/>
                  <a:gd name="T37" fmla="*/ 0 h 10"/>
                  <a:gd name="T38" fmla="*/ 8 w 16"/>
                  <a:gd name="T39" fmla="*/ 2 h 10"/>
                  <a:gd name="T40" fmla="*/ 8 w 16"/>
                  <a:gd name="T41" fmla="*/ 3 h 10"/>
                  <a:gd name="T42" fmla="*/ 11 w 16"/>
                  <a:gd name="T43" fmla="*/ 4 h 10"/>
                  <a:gd name="T44" fmla="*/ 7 w 16"/>
                  <a:gd name="T45" fmla="*/ 6 h 10"/>
                  <a:gd name="T46" fmla="*/ 8 w 16"/>
                  <a:gd name="T47" fmla="*/ 6 h 10"/>
                  <a:gd name="T48" fmla="*/ 0 w 16"/>
                  <a:gd name="T49" fmla="*/ 9 h 10"/>
                  <a:gd name="T50" fmla="*/ 1 w 16"/>
                  <a:gd name="T51" fmla="*/ 10 h 10"/>
                  <a:gd name="T52" fmla="*/ 3 w 16"/>
                  <a:gd name="T53" fmla="*/ 10 h 10"/>
                  <a:gd name="T54" fmla="*/ 4 w 16"/>
                  <a:gd name="T55" fmla="*/ 9 h 10"/>
                  <a:gd name="T56" fmla="*/ 5 w 16"/>
                  <a:gd name="T57" fmla="*/ 9 h 10"/>
                  <a:gd name="T58" fmla="*/ 9 w 16"/>
                  <a:gd name="T5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 h="10">
                    <a:moveTo>
                      <a:pt x="9" y="8"/>
                    </a:moveTo>
                    <a:cubicBezTo>
                      <a:pt x="9" y="7"/>
                      <a:pt x="9" y="7"/>
                      <a:pt x="9" y="7"/>
                    </a:cubicBezTo>
                    <a:cubicBezTo>
                      <a:pt x="9" y="8"/>
                      <a:pt x="9" y="7"/>
                      <a:pt x="9" y="7"/>
                    </a:cubicBezTo>
                    <a:cubicBezTo>
                      <a:pt x="10" y="7"/>
                      <a:pt x="10" y="7"/>
                      <a:pt x="10" y="7"/>
                    </a:cubicBezTo>
                    <a:cubicBezTo>
                      <a:pt x="11" y="7"/>
                      <a:pt x="11" y="7"/>
                      <a:pt x="10" y="6"/>
                    </a:cubicBezTo>
                    <a:cubicBezTo>
                      <a:pt x="11" y="7"/>
                      <a:pt x="12" y="7"/>
                      <a:pt x="12" y="6"/>
                    </a:cubicBezTo>
                    <a:cubicBezTo>
                      <a:pt x="12" y="6"/>
                      <a:pt x="12" y="6"/>
                      <a:pt x="12" y="6"/>
                    </a:cubicBezTo>
                    <a:cubicBezTo>
                      <a:pt x="12" y="6"/>
                      <a:pt x="13" y="5"/>
                      <a:pt x="13" y="5"/>
                    </a:cubicBezTo>
                    <a:cubicBezTo>
                      <a:pt x="13" y="4"/>
                      <a:pt x="14" y="5"/>
                      <a:pt x="15" y="4"/>
                    </a:cubicBezTo>
                    <a:cubicBezTo>
                      <a:pt x="15" y="4"/>
                      <a:pt x="16" y="4"/>
                      <a:pt x="16" y="4"/>
                    </a:cubicBezTo>
                    <a:cubicBezTo>
                      <a:pt x="15" y="3"/>
                      <a:pt x="13" y="3"/>
                      <a:pt x="13" y="3"/>
                    </a:cubicBezTo>
                    <a:cubicBezTo>
                      <a:pt x="13" y="3"/>
                      <a:pt x="13" y="3"/>
                      <a:pt x="13" y="3"/>
                    </a:cubicBezTo>
                    <a:cubicBezTo>
                      <a:pt x="13" y="3"/>
                      <a:pt x="13" y="3"/>
                      <a:pt x="13" y="3"/>
                    </a:cubicBezTo>
                    <a:cubicBezTo>
                      <a:pt x="14" y="2"/>
                      <a:pt x="15" y="2"/>
                      <a:pt x="15" y="1"/>
                    </a:cubicBezTo>
                    <a:cubicBezTo>
                      <a:pt x="15" y="1"/>
                      <a:pt x="16" y="2"/>
                      <a:pt x="16" y="1"/>
                    </a:cubicBezTo>
                    <a:cubicBezTo>
                      <a:pt x="16" y="1"/>
                      <a:pt x="15" y="0"/>
                      <a:pt x="15" y="0"/>
                    </a:cubicBezTo>
                    <a:cubicBezTo>
                      <a:pt x="14" y="0"/>
                      <a:pt x="13" y="1"/>
                      <a:pt x="12" y="1"/>
                    </a:cubicBezTo>
                    <a:cubicBezTo>
                      <a:pt x="12" y="0"/>
                      <a:pt x="13" y="0"/>
                      <a:pt x="11" y="0"/>
                    </a:cubicBezTo>
                    <a:cubicBezTo>
                      <a:pt x="11" y="0"/>
                      <a:pt x="9" y="0"/>
                      <a:pt x="9" y="0"/>
                    </a:cubicBezTo>
                    <a:cubicBezTo>
                      <a:pt x="8" y="1"/>
                      <a:pt x="8" y="1"/>
                      <a:pt x="8" y="2"/>
                    </a:cubicBezTo>
                    <a:cubicBezTo>
                      <a:pt x="8" y="4"/>
                      <a:pt x="8" y="3"/>
                      <a:pt x="8" y="3"/>
                    </a:cubicBezTo>
                    <a:cubicBezTo>
                      <a:pt x="9" y="3"/>
                      <a:pt x="10" y="3"/>
                      <a:pt x="11" y="4"/>
                    </a:cubicBezTo>
                    <a:cubicBezTo>
                      <a:pt x="9" y="4"/>
                      <a:pt x="7" y="3"/>
                      <a:pt x="7" y="6"/>
                    </a:cubicBezTo>
                    <a:cubicBezTo>
                      <a:pt x="8" y="6"/>
                      <a:pt x="8" y="6"/>
                      <a:pt x="8" y="6"/>
                    </a:cubicBezTo>
                    <a:cubicBezTo>
                      <a:pt x="6" y="7"/>
                      <a:pt x="2" y="8"/>
                      <a:pt x="0" y="9"/>
                    </a:cubicBezTo>
                    <a:cubicBezTo>
                      <a:pt x="0" y="10"/>
                      <a:pt x="1" y="10"/>
                      <a:pt x="1" y="10"/>
                    </a:cubicBezTo>
                    <a:cubicBezTo>
                      <a:pt x="2" y="10"/>
                      <a:pt x="3" y="10"/>
                      <a:pt x="3" y="10"/>
                    </a:cubicBezTo>
                    <a:cubicBezTo>
                      <a:pt x="3" y="10"/>
                      <a:pt x="3" y="9"/>
                      <a:pt x="4" y="9"/>
                    </a:cubicBezTo>
                    <a:cubicBezTo>
                      <a:pt x="4" y="9"/>
                      <a:pt x="5" y="9"/>
                      <a:pt x="5" y="9"/>
                    </a:cubicBezTo>
                    <a:cubicBezTo>
                      <a:pt x="6" y="8"/>
                      <a:pt x="8" y="7"/>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9" name="Freeform 1754">
                <a:extLst>
                  <a:ext uri="{FF2B5EF4-FFF2-40B4-BE49-F238E27FC236}">
                    <a16:creationId xmlns:a16="http://schemas.microsoft.com/office/drawing/2014/main" id="{6B97666A-40D9-43D2-92F6-CD3D38259607}"/>
                  </a:ext>
                </a:extLst>
              </p:cNvPr>
              <p:cNvSpPr>
                <a:spLocks/>
              </p:cNvSpPr>
              <p:nvPr/>
            </p:nvSpPr>
            <p:spPr bwMode="auto">
              <a:xfrm>
                <a:off x="-463" y="1319"/>
                <a:ext cx="12" cy="7"/>
              </a:xfrm>
              <a:custGeom>
                <a:avLst/>
                <a:gdLst>
                  <a:gd name="T0" fmla="*/ 3 w 5"/>
                  <a:gd name="T1" fmla="*/ 1 h 3"/>
                  <a:gd name="T2" fmla="*/ 1 w 5"/>
                  <a:gd name="T3" fmla="*/ 1 h 3"/>
                  <a:gd name="T4" fmla="*/ 2 w 5"/>
                  <a:gd name="T5" fmla="*/ 3 h 3"/>
                  <a:gd name="T6" fmla="*/ 5 w 5"/>
                  <a:gd name="T7" fmla="*/ 2 h 3"/>
                  <a:gd name="T8" fmla="*/ 3 w 5"/>
                  <a:gd name="T9" fmla="*/ 1 h 3"/>
                  <a:gd name="T10" fmla="*/ 3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3" y="1"/>
                    </a:moveTo>
                    <a:cubicBezTo>
                      <a:pt x="2" y="1"/>
                      <a:pt x="1" y="0"/>
                      <a:pt x="1" y="1"/>
                    </a:cubicBezTo>
                    <a:cubicBezTo>
                      <a:pt x="0" y="2"/>
                      <a:pt x="1" y="3"/>
                      <a:pt x="2" y="3"/>
                    </a:cubicBezTo>
                    <a:cubicBezTo>
                      <a:pt x="3" y="3"/>
                      <a:pt x="5" y="3"/>
                      <a:pt x="5" y="2"/>
                    </a:cubicBezTo>
                    <a:cubicBezTo>
                      <a:pt x="5" y="2"/>
                      <a:pt x="4" y="1"/>
                      <a:pt x="3" y="1"/>
                    </a:cubicBezTo>
                    <a:cubicBezTo>
                      <a:pt x="3"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0" name="Freeform 1755">
                <a:extLst>
                  <a:ext uri="{FF2B5EF4-FFF2-40B4-BE49-F238E27FC236}">
                    <a16:creationId xmlns:a16="http://schemas.microsoft.com/office/drawing/2014/main" id="{04955CE6-2492-4F8A-AE9A-248C2AA6661E}"/>
                  </a:ext>
                </a:extLst>
              </p:cNvPr>
              <p:cNvSpPr>
                <a:spLocks/>
              </p:cNvSpPr>
              <p:nvPr/>
            </p:nvSpPr>
            <p:spPr bwMode="auto">
              <a:xfrm>
                <a:off x="-380" y="1312"/>
                <a:ext cx="2" cy="4"/>
              </a:xfrm>
              <a:custGeom>
                <a:avLst/>
                <a:gdLst>
                  <a:gd name="T0" fmla="*/ 1 w 1"/>
                  <a:gd name="T1" fmla="*/ 1 h 2"/>
                  <a:gd name="T2" fmla="*/ 0 w 1"/>
                  <a:gd name="T3" fmla="*/ 0 h 2"/>
                  <a:gd name="T4" fmla="*/ 1 w 1"/>
                  <a:gd name="T5" fmla="*/ 1 h 2"/>
                </a:gdLst>
                <a:ahLst/>
                <a:cxnLst>
                  <a:cxn ang="0">
                    <a:pos x="T0" y="T1"/>
                  </a:cxn>
                  <a:cxn ang="0">
                    <a:pos x="T2" y="T3"/>
                  </a:cxn>
                  <a:cxn ang="0">
                    <a:pos x="T4" y="T5"/>
                  </a:cxn>
                </a:cxnLst>
                <a:rect l="0" t="0" r="r" b="b"/>
                <a:pathLst>
                  <a:path w="1" h="2">
                    <a:moveTo>
                      <a:pt x="1" y="1"/>
                    </a:moveTo>
                    <a:cubicBezTo>
                      <a:pt x="1" y="1"/>
                      <a:pt x="0" y="0"/>
                      <a:pt x="0" y="0"/>
                    </a:cubicBezTo>
                    <a:cubicBezTo>
                      <a:pt x="0" y="1"/>
                      <a:pt x="0"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1" name="Freeform 1756">
                <a:extLst>
                  <a:ext uri="{FF2B5EF4-FFF2-40B4-BE49-F238E27FC236}">
                    <a16:creationId xmlns:a16="http://schemas.microsoft.com/office/drawing/2014/main" id="{9D7FE99A-C72D-421F-8C23-6D088F801532}"/>
                  </a:ext>
                </a:extLst>
              </p:cNvPr>
              <p:cNvSpPr>
                <a:spLocks/>
              </p:cNvSpPr>
              <p:nvPr/>
            </p:nvSpPr>
            <p:spPr bwMode="auto">
              <a:xfrm>
                <a:off x="336" y="1231"/>
                <a:ext cx="12" cy="15"/>
              </a:xfrm>
              <a:custGeom>
                <a:avLst/>
                <a:gdLst>
                  <a:gd name="T0" fmla="*/ 2 w 5"/>
                  <a:gd name="T1" fmla="*/ 1 h 6"/>
                  <a:gd name="T2" fmla="*/ 2 w 5"/>
                  <a:gd name="T3" fmla="*/ 3 h 6"/>
                  <a:gd name="T4" fmla="*/ 1 w 5"/>
                  <a:gd name="T5" fmla="*/ 5 h 6"/>
                  <a:gd name="T6" fmla="*/ 4 w 5"/>
                  <a:gd name="T7" fmla="*/ 4 h 6"/>
                  <a:gd name="T8" fmla="*/ 5 w 5"/>
                  <a:gd name="T9" fmla="*/ 4 h 6"/>
                  <a:gd name="T10" fmla="*/ 2 w 5"/>
                  <a:gd name="T11" fmla="*/ 1 h 6"/>
                </a:gdLst>
                <a:ahLst/>
                <a:cxnLst>
                  <a:cxn ang="0">
                    <a:pos x="T0" y="T1"/>
                  </a:cxn>
                  <a:cxn ang="0">
                    <a:pos x="T2" y="T3"/>
                  </a:cxn>
                  <a:cxn ang="0">
                    <a:pos x="T4" y="T5"/>
                  </a:cxn>
                  <a:cxn ang="0">
                    <a:pos x="T6" y="T7"/>
                  </a:cxn>
                  <a:cxn ang="0">
                    <a:pos x="T8" y="T9"/>
                  </a:cxn>
                  <a:cxn ang="0">
                    <a:pos x="T10" y="T11"/>
                  </a:cxn>
                </a:cxnLst>
                <a:rect l="0" t="0" r="r" b="b"/>
                <a:pathLst>
                  <a:path w="5" h="6">
                    <a:moveTo>
                      <a:pt x="2" y="1"/>
                    </a:moveTo>
                    <a:cubicBezTo>
                      <a:pt x="0" y="0"/>
                      <a:pt x="2" y="2"/>
                      <a:pt x="2" y="3"/>
                    </a:cubicBezTo>
                    <a:cubicBezTo>
                      <a:pt x="1" y="3"/>
                      <a:pt x="0" y="4"/>
                      <a:pt x="1" y="5"/>
                    </a:cubicBezTo>
                    <a:cubicBezTo>
                      <a:pt x="2" y="6"/>
                      <a:pt x="3" y="5"/>
                      <a:pt x="4" y="4"/>
                    </a:cubicBezTo>
                    <a:cubicBezTo>
                      <a:pt x="4" y="4"/>
                      <a:pt x="5" y="4"/>
                      <a:pt x="5" y="4"/>
                    </a:cubicBezTo>
                    <a:cubicBezTo>
                      <a:pt x="5" y="3"/>
                      <a:pt x="3"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2" name="Freeform 1757">
                <a:extLst>
                  <a:ext uri="{FF2B5EF4-FFF2-40B4-BE49-F238E27FC236}">
                    <a16:creationId xmlns:a16="http://schemas.microsoft.com/office/drawing/2014/main" id="{FE1D735B-3508-47FD-AD50-2FDB56D940CA}"/>
                  </a:ext>
                </a:extLst>
              </p:cNvPr>
              <p:cNvSpPr>
                <a:spLocks/>
              </p:cNvSpPr>
              <p:nvPr/>
            </p:nvSpPr>
            <p:spPr bwMode="auto">
              <a:xfrm>
                <a:off x="312" y="1222"/>
                <a:ext cx="29" cy="24"/>
              </a:xfrm>
              <a:custGeom>
                <a:avLst/>
                <a:gdLst>
                  <a:gd name="T0" fmla="*/ 0 w 12"/>
                  <a:gd name="T1" fmla="*/ 2 h 10"/>
                  <a:gd name="T2" fmla="*/ 3 w 12"/>
                  <a:gd name="T3" fmla="*/ 3 h 10"/>
                  <a:gd name="T4" fmla="*/ 1 w 12"/>
                  <a:gd name="T5" fmla="*/ 3 h 10"/>
                  <a:gd name="T6" fmla="*/ 4 w 12"/>
                  <a:gd name="T7" fmla="*/ 4 h 10"/>
                  <a:gd name="T8" fmla="*/ 3 w 12"/>
                  <a:gd name="T9" fmla="*/ 6 h 10"/>
                  <a:gd name="T10" fmla="*/ 3 w 12"/>
                  <a:gd name="T11" fmla="*/ 8 h 10"/>
                  <a:gd name="T12" fmla="*/ 5 w 12"/>
                  <a:gd name="T13" fmla="*/ 10 h 10"/>
                  <a:gd name="T14" fmla="*/ 9 w 12"/>
                  <a:gd name="T15" fmla="*/ 8 h 10"/>
                  <a:gd name="T16" fmla="*/ 8 w 12"/>
                  <a:gd name="T17" fmla="*/ 7 h 10"/>
                  <a:gd name="T18" fmla="*/ 7 w 12"/>
                  <a:gd name="T19" fmla="*/ 4 h 10"/>
                  <a:gd name="T20" fmla="*/ 8 w 12"/>
                  <a:gd name="T21" fmla="*/ 5 h 10"/>
                  <a:gd name="T22" fmla="*/ 9 w 12"/>
                  <a:gd name="T23" fmla="*/ 6 h 10"/>
                  <a:gd name="T24" fmla="*/ 11 w 12"/>
                  <a:gd name="T25" fmla="*/ 7 h 10"/>
                  <a:gd name="T26" fmla="*/ 11 w 12"/>
                  <a:gd name="T27" fmla="*/ 6 h 10"/>
                  <a:gd name="T28" fmla="*/ 8 w 12"/>
                  <a:gd name="T29" fmla="*/ 2 h 10"/>
                  <a:gd name="T30" fmla="*/ 8 w 12"/>
                  <a:gd name="T31" fmla="*/ 3 h 10"/>
                  <a:gd name="T32" fmla="*/ 2 w 12"/>
                  <a:gd name="T33" fmla="*/ 1 h 10"/>
                  <a:gd name="T34" fmla="*/ 0 w 12"/>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0">
                    <a:moveTo>
                      <a:pt x="0" y="2"/>
                    </a:moveTo>
                    <a:cubicBezTo>
                      <a:pt x="1" y="2"/>
                      <a:pt x="2" y="3"/>
                      <a:pt x="3" y="3"/>
                    </a:cubicBezTo>
                    <a:cubicBezTo>
                      <a:pt x="2" y="3"/>
                      <a:pt x="2" y="3"/>
                      <a:pt x="1" y="3"/>
                    </a:cubicBezTo>
                    <a:cubicBezTo>
                      <a:pt x="2" y="4"/>
                      <a:pt x="2" y="4"/>
                      <a:pt x="4" y="4"/>
                    </a:cubicBezTo>
                    <a:cubicBezTo>
                      <a:pt x="3" y="5"/>
                      <a:pt x="3" y="5"/>
                      <a:pt x="3" y="6"/>
                    </a:cubicBezTo>
                    <a:cubicBezTo>
                      <a:pt x="3" y="6"/>
                      <a:pt x="4" y="8"/>
                      <a:pt x="3" y="8"/>
                    </a:cubicBezTo>
                    <a:cubicBezTo>
                      <a:pt x="4" y="8"/>
                      <a:pt x="4" y="9"/>
                      <a:pt x="5" y="10"/>
                    </a:cubicBezTo>
                    <a:cubicBezTo>
                      <a:pt x="6" y="10"/>
                      <a:pt x="10" y="9"/>
                      <a:pt x="9" y="8"/>
                    </a:cubicBezTo>
                    <a:cubicBezTo>
                      <a:pt x="9" y="7"/>
                      <a:pt x="9" y="7"/>
                      <a:pt x="8" y="7"/>
                    </a:cubicBezTo>
                    <a:cubicBezTo>
                      <a:pt x="9" y="5"/>
                      <a:pt x="7" y="6"/>
                      <a:pt x="7" y="4"/>
                    </a:cubicBezTo>
                    <a:cubicBezTo>
                      <a:pt x="7" y="4"/>
                      <a:pt x="8" y="5"/>
                      <a:pt x="8" y="5"/>
                    </a:cubicBezTo>
                    <a:cubicBezTo>
                      <a:pt x="8" y="5"/>
                      <a:pt x="8" y="6"/>
                      <a:pt x="9" y="6"/>
                    </a:cubicBezTo>
                    <a:cubicBezTo>
                      <a:pt x="9" y="7"/>
                      <a:pt x="10" y="7"/>
                      <a:pt x="11" y="7"/>
                    </a:cubicBezTo>
                    <a:cubicBezTo>
                      <a:pt x="12" y="7"/>
                      <a:pt x="11" y="7"/>
                      <a:pt x="11" y="6"/>
                    </a:cubicBezTo>
                    <a:cubicBezTo>
                      <a:pt x="11" y="4"/>
                      <a:pt x="11" y="2"/>
                      <a:pt x="8" y="2"/>
                    </a:cubicBezTo>
                    <a:cubicBezTo>
                      <a:pt x="8" y="2"/>
                      <a:pt x="8" y="3"/>
                      <a:pt x="8" y="3"/>
                    </a:cubicBezTo>
                    <a:cubicBezTo>
                      <a:pt x="7" y="1"/>
                      <a:pt x="4" y="1"/>
                      <a:pt x="2" y="1"/>
                    </a:cubicBezTo>
                    <a:cubicBezTo>
                      <a:pt x="1" y="1"/>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3" name="Freeform 1758">
                <a:extLst>
                  <a:ext uri="{FF2B5EF4-FFF2-40B4-BE49-F238E27FC236}">
                    <a16:creationId xmlns:a16="http://schemas.microsoft.com/office/drawing/2014/main" id="{160987F2-699E-441A-A8D2-A7E2F52CA86E}"/>
                  </a:ext>
                </a:extLst>
              </p:cNvPr>
              <p:cNvSpPr>
                <a:spLocks/>
              </p:cNvSpPr>
              <p:nvPr/>
            </p:nvSpPr>
            <p:spPr bwMode="auto">
              <a:xfrm>
                <a:off x="272" y="1205"/>
                <a:ext cx="26" cy="50"/>
              </a:xfrm>
              <a:custGeom>
                <a:avLst/>
                <a:gdLst>
                  <a:gd name="T0" fmla="*/ 11 w 11"/>
                  <a:gd name="T1" fmla="*/ 18 h 21"/>
                  <a:gd name="T2" fmla="*/ 11 w 11"/>
                  <a:gd name="T3" fmla="*/ 16 h 21"/>
                  <a:gd name="T4" fmla="*/ 10 w 11"/>
                  <a:gd name="T5" fmla="*/ 10 h 21"/>
                  <a:gd name="T6" fmla="*/ 7 w 11"/>
                  <a:gd name="T7" fmla="*/ 3 h 21"/>
                  <a:gd name="T8" fmla="*/ 3 w 11"/>
                  <a:gd name="T9" fmla="*/ 2 h 21"/>
                  <a:gd name="T10" fmla="*/ 2 w 11"/>
                  <a:gd name="T11" fmla="*/ 1 h 21"/>
                  <a:gd name="T12" fmla="*/ 2 w 11"/>
                  <a:gd name="T13" fmla="*/ 2 h 21"/>
                  <a:gd name="T14" fmla="*/ 2 w 11"/>
                  <a:gd name="T15" fmla="*/ 4 h 21"/>
                  <a:gd name="T16" fmla="*/ 0 w 11"/>
                  <a:gd name="T17" fmla="*/ 4 h 21"/>
                  <a:gd name="T18" fmla="*/ 2 w 11"/>
                  <a:gd name="T19" fmla="*/ 5 h 21"/>
                  <a:gd name="T20" fmla="*/ 3 w 11"/>
                  <a:gd name="T21" fmla="*/ 6 h 21"/>
                  <a:gd name="T22" fmla="*/ 4 w 11"/>
                  <a:gd name="T23" fmla="*/ 6 h 21"/>
                  <a:gd name="T24" fmla="*/ 4 w 11"/>
                  <a:gd name="T25" fmla="*/ 8 h 21"/>
                  <a:gd name="T26" fmla="*/ 5 w 11"/>
                  <a:gd name="T27" fmla="*/ 9 h 21"/>
                  <a:gd name="T28" fmla="*/ 3 w 11"/>
                  <a:gd name="T29" fmla="*/ 9 h 21"/>
                  <a:gd name="T30" fmla="*/ 4 w 11"/>
                  <a:gd name="T31" fmla="*/ 10 h 21"/>
                  <a:gd name="T32" fmla="*/ 3 w 11"/>
                  <a:gd name="T33" fmla="*/ 11 h 21"/>
                  <a:gd name="T34" fmla="*/ 6 w 11"/>
                  <a:gd name="T35" fmla="*/ 11 h 21"/>
                  <a:gd name="T36" fmla="*/ 5 w 11"/>
                  <a:gd name="T37" fmla="*/ 13 h 21"/>
                  <a:gd name="T38" fmla="*/ 7 w 11"/>
                  <a:gd name="T39" fmla="*/ 12 h 21"/>
                  <a:gd name="T40" fmla="*/ 6 w 11"/>
                  <a:gd name="T41" fmla="*/ 15 h 21"/>
                  <a:gd name="T42" fmla="*/ 8 w 11"/>
                  <a:gd name="T43" fmla="*/ 13 h 21"/>
                  <a:gd name="T44" fmla="*/ 11 w 11"/>
                  <a:gd name="T45" fmla="*/ 21 h 21"/>
                  <a:gd name="T46" fmla="*/ 11 w 11"/>
                  <a:gd name="T47" fmla="*/ 19 h 21"/>
                  <a:gd name="T48" fmla="*/ 11 w 11"/>
                  <a:gd name="T49" fmla="*/ 19 h 21"/>
                  <a:gd name="T50" fmla="*/ 11 w 11"/>
                  <a:gd name="T51"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21">
                    <a:moveTo>
                      <a:pt x="11" y="18"/>
                    </a:moveTo>
                    <a:cubicBezTo>
                      <a:pt x="11" y="17"/>
                      <a:pt x="11" y="17"/>
                      <a:pt x="11" y="16"/>
                    </a:cubicBezTo>
                    <a:cubicBezTo>
                      <a:pt x="11" y="14"/>
                      <a:pt x="11" y="12"/>
                      <a:pt x="10" y="10"/>
                    </a:cubicBezTo>
                    <a:cubicBezTo>
                      <a:pt x="10" y="8"/>
                      <a:pt x="9" y="5"/>
                      <a:pt x="7" y="3"/>
                    </a:cubicBezTo>
                    <a:cubicBezTo>
                      <a:pt x="6" y="2"/>
                      <a:pt x="4" y="1"/>
                      <a:pt x="3" y="2"/>
                    </a:cubicBezTo>
                    <a:cubicBezTo>
                      <a:pt x="5" y="1"/>
                      <a:pt x="3" y="0"/>
                      <a:pt x="2" y="1"/>
                    </a:cubicBezTo>
                    <a:cubicBezTo>
                      <a:pt x="2" y="1"/>
                      <a:pt x="2" y="2"/>
                      <a:pt x="2" y="2"/>
                    </a:cubicBezTo>
                    <a:cubicBezTo>
                      <a:pt x="2" y="3"/>
                      <a:pt x="1" y="3"/>
                      <a:pt x="2" y="4"/>
                    </a:cubicBezTo>
                    <a:cubicBezTo>
                      <a:pt x="2" y="4"/>
                      <a:pt x="1" y="3"/>
                      <a:pt x="0" y="4"/>
                    </a:cubicBezTo>
                    <a:cubicBezTo>
                      <a:pt x="1" y="4"/>
                      <a:pt x="1" y="5"/>
                      <a:pt x="2" y="5"/>
                    </a:cubicBezTo>
                    <a:cubicBezTo>
                      <a:pt x="3" y="6"/>
                      <a:pt x="4" y="5"/>
                      <a:pt x="3" y="6"/>
                    </a:cubicBezTo>
                    <a:cubicBezTo>
                      <a:pt x="3" y="6"/>
                      <a:pt x="3" y="6"/>
                      <a:pt x="4" y="6"/>
                    </a:cubicBezTo>
                    <a:cubicBezTo>
                      <a:pt x="3" y="7"/>
                      <a:pt x="3" y="8"/>
                      <a:pt x="4" y="8"/>
                    </a:cubicBezTo>
                    <a:cubicBezTo>
                      <a:pt x="5" y="9"/>
                      <a:pt x="6" y="8"/>
                      <a:pt x="5" y="9"/>
                    </a:cubicBezTo>
                    <a:cubicBezTo>
                      <a:pt x="4" y="9"/>
                      <a:pt x="4" y="9"/>
                      <a:pt x="3" y="9"/>
                    </a:cubicBezTo>
                    <a:cubicBezTo>
                      <a:pt x="3" y="10"/>
                      <a:pt x="4" y="10"/>
                      <a:pt x="4" y="10"/>
                    </a:cubicBezTo>
                    <a:cubicBezTo>
                      <a:pt x="3" y="10"/>
                      <a:pt x="3" y="11"/>
                      <a:pt x="3" y="11"/>
                    </a:cubicBezTo>
                    <a:cubicBezTo>
                      <a:pt x="4" y="12"/>
                      <a:pt x="5" y="11"/>
                      <a:pt x="6" y="11"/>
                    </a:cubicBezTo>
                    <a:cubicBezTo>
                      <a:pt x="5" y="12"/>
                      <a:pt x="5" y="12"/>
                      <a:pt x="5" y="13"/>
                    </a:cubicBezTo>
                    <a:cubicBezTo>
                      <a:pt x="5" y="14"/>
                      <a:pt x="7" y="12"/>
                      <a:pt x="7" y="12"/>
                    </a:cubicBezTo>
                    <a:cubicBezTo>
                      <a:pt x="6" y="13"/>
                      <a:pt x="6" y="14"/>
                      <a:pt x="6" y="15"/>
                    </a:cubicBezTo>
                    <a:cubicBezTo>
                      <a:pt x="7" y="14"/>
                      <a:pt x="8" y="14"/>
                      <a:pt x="8" y="13"/>
                    </a:cubicBezTo>
                    <a:cubicBezTo>
                      <a:pt x="7" y="15"/>
                      <a:pt x="9" y="19"/>
                      <a:pt x="11" y="21"/>
                    </a:cubicBezTo>
                    <a:cubicBezTo>
                      <a:pt x="11" y="20"/>
                      <a:pt x="11" y="20"/>
                      <a:pt x="11" y="19"/>
                    </a:cubicBezTo>
                    <a:cubicBezTo>
                      <a:pt x="11" y="20"/>
                      <a:pt x="11" y="19"/>
                      <a:pt x="11" y="19"/>
                    </a:cubicBezTo>
                    <a:cubicBezTo>
                      <a:pt x="11" y="18"/>
                      <a:pt x="11" y="18"/>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4" name="Freeform 1759">
                <a:extLst>
                  <a:ext uri="{FF2B5EF4-FFF2-40B4-BE49-F238E27FC236}">
                    <a16:creationId xmlns:a16="http://schemas.microsoft.com/office/drawing/2014/main" id="{BAAE7552-4F4F-4622-8916-16FA3344C70C}"/>
                  </a:ext>
                </a:extLst>
              </p:cNvPr>
              <p:cNvSpPr>
                <a:spLocks/>
              </p:cNvSpPr>
              <p:nvPr/>
            </p:nvSpPr>
            <p:spPr bwMode="auto">
              <a:xfrm>
                <a:off x="303" y="1229"/>
                <a:ext cx="16" cy="31"/>
              </a:xfrm>
              <a:custGeom>
                <a:avLst/>
                <a:gdLst>
                  <a:gd name="T0" fmla="*/ 7 w 7"/>
                  <a:gd name="T1" fmla="*/ 4 h 13"/>
                  <a:gd name="T2" fmla="*/ 7 w 7"/>
                  <a:gd name="T3" fmla="*/ 2 h 13"/>
                  <a:gd name="T4" fmla="*/ 6 w 7"/>
                  <a:gd name="T5" fmla="*/ 2 h 13"/>
                  <a:gd name="T6" fmla="*/ 5 w 7"/>
                  <a:gd name="T7" fmla="*/ 3 h 13"/>
                  <a:gd name="T8" fmla="*/ 2 w 7"/>
                  <a:gd name="T9" fmla="*/ 0 h 13"/>
                  <a:gd name="T10" fmla="*/ 3 w 7"/>
                  <a:gd name="T11" fmla="*/ 1 h 13"/>
                  <a:gd name="T12" fmla="*/ 0 w 7"/>
                  <a:gd name="T13" fmla="*/ 1 h 13"/>
                  <a:gd name="T14" fmla="*/ 0 w 7"/>
                  <a:gd name="T15" fmla="*/ 3 h 13"/>
                  <a:gd name="T16" fmla="*/ 2 w 7"/>
                  <a:gd name="T17" fmla="*/ 4 h 13"/>
                  <a:gd name="T18" fmla="*/ 2 w 7"/>
                  <a:gd name="T19" fmla="*/ 4 h 13"/>
                  <a:gd name="T20" fmla="*/ 3 w 7"/>
                  <a:gd name="T21" fmla="*/ 4 h 13"/>
                  <a:gd name="T22" fmla="*/ 1 w 7"/>
                  <a:gd name="T23" fmla="*/ 5 h 13"/>
                  <a:gd name="T24" fmla="*/ 4 w 7"/>
                  <a:gd name="T25" fmla="*/ 6 h 13"/>
                  <a:gd name="T26" fmla="*/ 4 w 7"/>
                  <a:gd name="T27" fmla="*/ 8 h 13"/>
                  <a:gd name="T28" fmla="*/ 1 w 7"/>
                  <a:gd name="T29" fmla="*/ 9 h 13"/>
                  <a:gd name="T30" fmla="*/ 3 w 7"/>
                  <a:gd name="T31" fmla="*/ 9 h 13"/>
                  <a:gd name="T32" fmla="*/ 2 w 7"/>
                  <a:gd name="T33" fmla="*/ 11 h 13"/>
                  <a:gd name="T34" fmla="*/ 2 w 7"/>
                  <a:gd name="T35" fmla="*/ 11 h 13"/>
                  <a:gd name="T36" fmla="*/ 2 w 7"/>
                  <a:gd name="T37" fmla="*/ 12 h 13"/>
                  <a:gd name="T38" fmla="*/ 3 w 7"/>
                  <a:gd name="T39" fmla="*/ 13 h 13"/>
                  <a:gd name="T40" fmla="*/ 4 w 7"/>
                  <a:gd name="T41" fmla="*/ 9 h 13"/>
                  <a:gd name="T42" fmla="*/ 5 w 7"/>
                  <a:gd name="T43" fmla="*/ 11 h 13"/>
                  <a:gd name="T44" fmla="*/ 5 w 7"/>
                  <a:gd name="T45" fmla="*/ 8 h 13"/>
                  <a:gd name="T46" fmla="*/ 5 w 7"/>
                  <a:gd name="T47" fmla="*/ 4 h 13"/>
                  <a:gd name="T48" fmla="*/ 7 w 7"/>
                  <a:gd name="T4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 h="13">
                    <a:moveTo>
                      <a:pt x="7" y="4"/>
                    </a:moveTo>
                    <a:cubicBezTo>
                      <a:pt x="7" y="4"/>
                      <a:pt x="7" y="3"/>
                      <a:pt x="7" y="2"/>
                    </a:cubicBezTo>
                    <a:cubicBezTo>
                      <a:pt x="7" y="2"/>
                      <a:pt x="6" y="2"/>
                      <a:pt x="6" y="2"/>
                    </a:cubicBezTo>
                    <a:cubicBezTo>
                      <a:pt x="6" y="2"/>
                      <a:pt x="6" y="3"/>
                      <a:pt x="5" y="3"/>
                    </a:cubicBezTo>
                    <a:cubicBezTo>
                      <a:pt x="4" y="1"/>
                      <a:pt x="4" y="0"/>
                      <a:pt x="2" y="0"/>
                    </a:cubicBezTo>
                    <a:cubicBezTo>
                      <a:pt x="2" y="0"/>
                      <a:pt x="3" y="1"/>
                      <a:pt x="3" y="1"/>
                    </a:cubicBezTo>
                    <a:cubicBezTo>
                      <a:pt x="2" y="1"/>
                      <a:pt x="1" y="0"/>
                      <a:pt x="0" y="1"/>
                    </a:cubicBezTo>
                    <a:cubicBezTo>
                      <a:pt x="0" y="1"/>
                      <a:pt x="0" y="3"/>
                      <a:pt x="0" y="3"/>
                    </a:cubicBezTo>
                    <a:cubicBezTo>
                      <a:pt x="1" y="4"/>
                      <a:pt x="2" y="3"/>
                      <a:pt x="2" y="4"/>
                    </a:cubicBezTo>
                    <a:cubicBezTo>
                      <a:pt x="2" y="4"/>
                      <a:pt x="1" y="4"/>
                      <a:pt x="2" y="4"/>
                    </a:cubicBezTo>
                    <a:cubicBezTo>
                      <a:pt x="2" y="4"/>
                      <a:pt x="3" y="4"/>
                      <a:pt x="3" y="4"/>
                    </a:cubicBezTo>
                    <a:cubicBezTo>
                      <a:pt x="3" y="4"/>
                      <a:pt x="2" y="5"/>
                      <a:pt x="1" y="5"/>
                    </a:cubicBezTo>
                    <a:cubicBezTo>
                      <a:pt x="2" y="5"/>
                      <a:pt x="4" y="5"/>
                      <a:pt x="4" y="6"/>
                    </a:cubicBezTo>
                    <a:cubicBezTo>
                      <a:pt x="3" y="7"/>
                      <a:pt x="4" y="7"/>
                      <a:pt x="4" y="8"/>
                    </a:cubicBezTo>
                    <a:cubicBezTo>
                      <a:pt x="3" y="6"/>
                      <a:pt x="1" y="8"/>
                      <a:pt x="1" y="9"/>
                    </a:cubicBezTo>
                    <a:cubicBezTo>
                      <a:pt x="2" y="9"/>
                      <a:pt x="2" y="9"/>
                      <a:pt x="3" y="9"/>
                    </a:cubicBezTo>
                    <a:cubicBezTo>
                      <a:pt x="2" y="9"/>
                      <a:pt x="2" y="10"/>
                      <a:pt x="2" y="11"/>
                    </a:cubicBezTo>
                    <a:cubicBezTo>
                      <a:pt x="2" y="11"/>
                      <a:pt x="2" y="11"/>
                      <a:pt x="2" y="11"/>
                    </a:cubicBezTo>
                    <a:cubicBezTo>
                      <a:pt x="2" y="11"/>
                      <a:pt x="2" y="11"/>
                      <a:pt x="2" y="12"/>
                    </a:cubicBezTo>
                    <a:cubicBezTo>
                      <a:pt x="2" y="12"/>
                      <a:pt x="2" y="13"/>
                      <a:pt x="3" y="13"/>
                    </a:cubicBezTo>
                    <a:cubicBezTo>
                      <a:pt x="3" y="12"/>
                      <a:pt x="3" y="10"/>
                      <a:pt x="4" y="9"/>
                    </a:cubicBezTo>
                    <a:cubicBezTo>
                      <a:pt x="4" y="10"/>
                      <a:pt x="3" y="10"/>
                      <a:pt x="5" y="11"/>
                    </a:cubicBezTo>
                    <a:cubicBezTo>
                      <a:pt x="6" y="11"/>
                      <a:pt x="5" y="8"/>
                      <a:pt x="5" y="8"/>
                    </a:cubicBezTo>
                    <a:cubicBezTo>
                      <a:pt x="7" y="11"/>
                      <a:pt x="5" y="4"/>
                      <a:pt x="5" y="4"/>
                    </a:cubicBezTo>
                    <a:cubicBezTo>
                      <a:pt x="5" y="4"/>
                      <a:pt x="7" y="4"/>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5" name="Freeform 1760">
                <a:extLst>
                  <a:ext uri="{FF2B5EF4-FFF2-40B4-BE49-F238E27FC236}">
                    <a16:creationId xmlns:a16="http://schemas.microsoft.com/office/drawing/2014/main" id="{97F03096-414A-4421-BE67-8AF1655271B8}"/>
                  </a:ext>
                </a:extLst>
              </p:cNvPr>
              <p:cNvSpPr>
                <a:spLocks/>
              </p:cNvSpPr>
              <p:nvPr/>
            </p:nvSpPr>
            <p:spPr bwMode="auto">
              <a:xfrm>
                <a:off x="343" y="1248"/>
                <a:ext cx="17" cy="16"/>
              </a:xfrm>
              <a:custGeom>
                <a:avLst/>
                <a:gdLst>
                  <a:gd name="T0" fmla="*/ 2 w 7"/>
                  <a:gd name="T1" fmla="*/ 2 h 7"/>
                  <a:gd name="T2" fmla="*/ 1 w 7"/>
                  <a:gd name="T3" fmla="*/ 3 h 7"/>
                  <a:gd name="T4" fmla="*/ 2 w 7"/>
                  <a:gd name="T5" fmla="*/ 4 h 7"/>
                  <a:gd name="T6" fmla="*/ 3 w 7"/>
                  <a:gd name="T7" fmla="*/ 4 h 7"/>
                  <a:gd name="T8" fmla="*/ 3 w 7"/>
                  <a:gd name="T9" fmla="*/ 5 h 7"/>
                  <a:gd name="T10" fmla="*/ 4 w 7"/>
                  <a:gd name="T11" fmla="*/ 5 h 7"/>
                  <a:gd name="T12" fmla="*/ 4 w 7"/>
                  <a:gd name="T13" fmla="*/ 6 h 7"/>
                  <a:gd name="T14" fmla="*/ 5 w 7"/>
                  <a:gd name="T15" fmla="*/ 6 h 7"/>
                  <a:gd name="T16" fmla="*/ 6 w 7"/>
                  <a:gd name="T17" fmla="*/ 6 h 7"/>
                  <a:gd name="T18" fmla="*/ 7 w 7"/>
                  <a:gd name="T19" fmla="*/ 4 h 7"/>
                  <a:gd name="T20" fmla="*/ 3 w 7"/>
                  <a:gd name="T21" fmla="*/ 3 h 7"/>
                  <a:gd name="T22" fmla="*/ 4 w 7"/>
                  <a:gd name="T23" fmla="*/ 0 h 7"/>
                  <a:gd name="T24" fmla="*/ 2 w 7"/>
                  <a:gd name="T2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2" y="2"/>
                    </a:moveTo>
                    <a:cubicBezTo>
                      <a:pt x="1" y="2"/>
                      <a:pt x="1" y="2"/>
                      <a:pt x="1" y="3"/>
                    </a:cubicBezTo>
                    <a:cubicBezTo>
                      <a:pt x="0" y="4"/>
                      <a:pt x="1" y="4"/>
                      <a:pt x="2" y="4"/>
                    </a:cubicBezTo>
                    <a:cubicBezTo>
                      <a:pt x="2" y="4"/>
                      <a:pt x="2" y="4"/>
                      <a:pt x="3" y="4"/>
                    </a:cubicBezTo>
                    <a:cubicBezTo>
                      <a:pt x="3" y="5"/>
                      <a:pt x="3" y="5"/>
                      <a:pt x="3" y="5"/>
                    </a:cubicBezTo>
                    <a:cubicBezTo>
                      <a:pt x="3" y="5"/>
                      <a:pt x="4" y="5"/>
                      <a:pt x="4" y="5"/>
                    </a:cubicBezTo>
                    <a:cubicBezTo>
                      <a:pt x="4" y="5"/>
                      <a:pt x="3" y="6"/>
                      <a:pt x="4" y="6"/>
                    </a:cubicBezTo>
                    <a:cubicBezTo>
                      <a:pt x="4" y="7"/>
                      <a:pt x="5" y="6"/>
                      <a:pt x="5" y="6"/>
                    </a:cubicBezTo>
                    <a:cubicBezTo>
                      <a:pt x="6" y="6"/>
                      <a:pt x="6" y="6"/>
                      <a:pt x="6" y="6"/>
                    </a:cubicBezTo>
                    <a:cubicBezTo>
                      <a:pt x="6" y="6"/>
                      <a:pt x="7" y="4"/>
                      <a:pt x="7" y="4"/>
                    </a:cubicBezTo>
                    <a:cubicBezTo>
                      <a:pt x="6" y="3"/>
                      <a:pt x="4" y="2"/>
                      <a:pt x="3" y="3"/>
                    </a:cubicBezTo>
                    <a:cubicBezTo>
                      <a:pt x="3" y="2"/>
                      <a:pt x="3" y="1"/>
                      <a:pt x="4" y="0"/>
                    </a:cubicBezTo>
                    <a:cubicBezTo>
                      <a:pt x="2"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6" name="Freeform 1761">
                <a:extLst>
                  <a:ext uri="{FF2B5EF4-FFF2-40B4-BE49-F238E27FC236}">
                    <a16:creationId xmlns:a16="http://schemas.microsoft.com/office/drawing/2014/main" id="{DBAF01CB-62E5-4D66-A810-5171133FD570}"/>
                  </a:ext>
                </a:extLst>
              </p:cNvPr>
              <p:cNvSpPr>
                <a:spLocks/>
              </p:cNvSpPr>
              <p:nvPr/>
            </p:nvSpPr>
            <p:spPr bwMode="auto">
              <a:xfrm>
                <a:off x="-447" y="1324"/>
                <a:ext cx="5" cy="2"/>
              </a:xfrm>
              <a:custGeom>
                <a:avLst/>
                <a:gdLst>
                  <a:gd name="T0" fmla="*/ 0 w 2"/>
                  <a:gd name="T1" fmla="*/ 1 h 1"/>
                  <a:gd name="T2" fmla="*/ 2 w 2"/>
                  <a:gd name="T3" fmla="*/ 1 h 1"/>
                  <a:gd name="T4" fmla="*/ 0 w 2"/>
                  <a:gd name="T5" fmla="*/ 1 h 1"/>
                </a:gdLst>
                <a:ahLst/>
                <a:cxnLst>
                  <a:cxn ang="0">
                    <a:pos x="T0" y="T1"/>
                  </a:cxn>
                  <a:cxn ang="0">
                    <a:pos x="T2" y="T3"/>
                  </a:cxn>
                  <a:cxn ang="0">
                    <a:pos x="T4" y="T5"/>
                  </a:cxn>
                </a:cxnLst>
                <a:rect l="0" t="0" r="r" b="b"/>
                <a:pathLst>
                  <a:path w="2" h="1">
                    <a:moveTo>
                      <a:pt x="0" y="1"/>
                    </a:moveTo>
                    <a:cubicBezTo>
                      <a:pt x="0" y="1"/>
                      <a:pt x="1" y="1"/>
                      <a:pt x="2" y="1"/>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7" name="Freeform 1762">
                <a:extLst>
                  <a:ext uri="{FF2B5EF4-FFF2-40B4-BE49-F238E27FC236}">
                    <a16:creationId xmlns:a16="http://schemas.microsoft.com/office/drawing/2014/main" id="{2CECB745-DDEA-4D44-A79A-0BB8A1B92082}"/>
                  </a:ext>
                </a:extLst>
              </p:cNvPr>
              <p:cNvSpPr>
                <a:spLocks/>
              </p:cNvSpPr>
              <p:nvPr/>
            </p:nvSpPr>
            <p:spPr bwMode="auto">
              <a:xfrm>
                <a:off x="-494" y="1104"/>
                <a:ext cx="47" cy="26"/>
              </a:xfrm>
              <a:custGeom>
                <a:avLst/>
                <a:gdLst>
                  <a:gd name="T0" fmla="*/ 18 w 20"/>
                  <a:gd name="T1" fmla="*/ 4 h 11"/>
                  <a:gd name="T2" fmla="*/ 15 w 20"/>
                  <a:gd name="T3" fmla="*/ 2 h 11"/>
                  <a:gd name="T4" fmla="*/ 14 w 20"/>
                  <a:gd name="T5" fmla="*/ 2 h 11"/>
                  <a:gd name="T6" fmla="*/ 13 w 20"/>
                  <a:gd name="T7" fmla="*/ 1 h 11"/>
                  <a:gd name="T8" fmla="*/ 10 w 20"/>
                  <a:gd name="T9" fmla="*/ 2 h 11"/>
                  <a:gd name="T10" fmla="*/ 8 w 20"/>
                  <a:gd name="T11" fmla="*/ 2 h 11"/>
                  <a:gd name="T12" fmla="*/ 7 w 20"/>
                  <a:gd name="T13" fmla="*/ 2 h 11"/>
                  <a:gd name="T14" fmla="*/ 5 w 20"/>
                  <a:gd name="T15" fmla="*/ 4 h 11"/>
                  <a:gd name="T16" fmla="*/ 2 w 20"/>
                  <a:gd name="T17" fmla="*/ 3 h 11"/>
                  <a:gd name="T18" fmla="*/ 0 w 20"/>
                  <a:gd name="T19" fmla="*/ 4 h 11"/>
                  <a:gd name="T20" fmla="*/ 13 w 20"/>
                  <a:gd name="T21" fmla="*/ 11 h 11"/>
                  <a:gd name="T22" fmla="*/ 13 w 20"/>
                  <a:gd name="T23" fmla="*/ 9 h 11"/>
                  <a:gd name="T24" fmla="*/ 14 w 20"/>
                  <a:gd name="T25" fmla="*/ 9 h 11"/>
                  <a:gd name="T26" fmla="*/ 16 w 20"/>
                  <a:gd name="T27" fmla="*/ 9 h 11"/>
                  <a:gd name="T28" fmla="*/ 17 w 20"/>
                  <a:gd name="T29" fmla="*/ 8 h 11"/>
                  <a:gd name="T30" fmla="*/ 17 w 20"/>
                  <a:gd name="T31" fmla="*/ 9 h 11"/>
                  <a:gd name="T32" fmla="*/ 19 w 20"/>
                  <a:gd name="T33" fmla="*/ 8 h 11"/>
                  <a:gd name="T34" fmla="*/ 17 w 20"/>
                  <a:gd name="T35" fmla="*/ 6 h 11"/>
                  <a:gd name="T36" fmla="*/ 18 w 20"/>
                  <a:gd name="T37" fmla="*/ 5 h 11"/>
                  <a:gd name="T38" fmla="*/ 17 w 20"/>
                  <a:gd name="T39" fmla="*/ 4 h 11"/>
                  <a:gd name="T40" fmla="*/ 18 w 20"/>
                  <a:gd name="T4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1">
                    <a:moveTo>
                      <a:pt x="18" y="4"/>
                    </a:moveTo>
                    <a:cubicBezTo>
                      <a:pt x="18" y="2"/>
                      <a:pt x="17" y="2"/>
                      <a:pt x="15" y="2"/>
                    </a:cubicBezTo>
                    <a:cubicBezTo>
                      <a:pt x="15" y="2"/>
                      <a:pt x="14" y="2"/>
                      <a:pt x="14" y="2"/>
                    </a:cubicBezTo>
                    <a:cubicBezTo>
                      <a:pt x="13" y="2"/>
                      <a:pt x="13" y="1"/>
                      <a:pt x="13" y="1"/>
                    </a:cubicBezTo>
                    <a:cubicBezTo>
                      <a:pt x="13" y="0"/>
                      <a:pt x="11" y="1"/>
                      <a:pt x="10" y="2"/>
                    </a:cubicBezTo>
                    <a:cubicBezTo>
                      <a:pt x="10" y="0"/>
                      <a:pt x="8" y="2"/>
                      <a:pt x="8" y="2"/>
                    </a:cubicBezTo>
                    <a:cubicBezTo>
                      <a:pt x="7" y="2"/>
                      <a:pt x="7" y="2"/>
                      <a:pt x="7" y="2"/>
                    </a:cubicBezTo>
                    <a:cubicBezTo>
                      <a:pt x="6" y="3"/>
                      <a:pt x="6" y="4"/>
                      <a:pt x="5" y="4"/>
                    </a:cubicBezTo>
                    <a:cubicBezTo>
                      <a:pt x="5" y="4"/>
                      <a:pt x="3" y="3"/>
                      <a:pt x="2" y="3"/>
                    </a:cubicBezTo>
                    <a:cubicBezTo>
                      <a:pt x="1" y="3"/>
                      <a:pt x="0" y="4"/>
                      <a:pt x="0" y="4"/>
                    </a:cubicBezTo>
                    <a:cubicBezTo>
                      <a:pt x="4" y="6"/>
                      <a:pt x="8" y="8"/>
                      <a:pt x="13" y="11"/>
                    </a:cubicBezTo>
                    <a:cubicBezTo>
                      <a:pt x="12" y="10"/>
                      <a:pt x="11" y="9"/>
                      <a:pt x="13" y="9"/>
                    </a:cubicBezTo>
                    <a:cubicBezTo>
                      <a:pt x="14" y="9"/>
                      <a:pt x="14" y="9"/>
                      <a:pt x="14" y="9"/>
                    </a:cubicBezTo>
                    <a:cubicBezTo>
                      <a:pt x="15" y="9"/>
                      <a:pt x="16" y="9"/>
                      <a:pt x="16" y="9"/>
                    </a:cubicBezTo>
                    <a:cubicBezTo>
                      <a:pt x="17" y="9"/>
                      <a:pt x="17" y="8"/>
                      <a:pt x="17" y="8"/>
                    </a:cubicBezTo>
                    <a:cubicBezTo>
                      <a:pt x="17" y="8"/>
                      <a:pt x="17" y="9"/>
                      <a:pt x="17" y="9"/>
                    </a:cubicBezTo>
                    <a:cubicBezTo>
                      <a:pt x="18" y="9"/>
                      <a:pt x="18" y="8"/>
                      <a:pt x="19" y="8"/>
                    </a:cubicBezTo>
                    <a:cubicBezTo>
                      <a:pt x="20" y="7"/>
                      <a:pt x="18" y="6"/>
                      <a:pt x="17" y="6"/>
                    </a:cubicBezTo>
                    <a:cubicBezTo>
                      <a:pt x="18" y="6"/>
                      <a:pt x="18" y="5"/>
                      <a:pt x="18" y="5"/>
                    </a:cubicBezTo>
                    <a:cubicBezTo>
                      <a:pt x="18" y="5"/>
                      <a:pt x="17" y="5"/>
                      <a:pt x="17" y="4"/>
                    </a:cubicBezTo>
                    <a:cubicBezTo>
                      <a:pt x="17" y="4"/>
                      <a:pt x="18"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8" name="Freeform 1763">
                <a:extLst>
                  <a:ext uri="{FF2B5EF4-FFF2-40B4-BE49-F238E27FC236}">
                    <a16:creationId xmlns:a16="http://schemas.microsoft.com/office/drawing/2014/main" id="{2B356039-81EA-408D-BDDA-8ACE1E770D1F}"/>
                  </a:ext>
                </a:extLst>
              </p:cNvPr>
              <p:cNvSpPr>
                <a:spLocks/>
              </p:cNvSpPr>
              <p:nvPr/>
            </p:nvSpPr>
            <p:spPr bwMode="auto">
              <a:xfrm>
                <a:off x="-137" y="1170"/>
                <a:ext cx="7" cy="2"/>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cubicBezTo>
                      <a:pt x="1" y="1"/>
                      <a:pt x="2" y="0"/>
                      <a:pt x="3" y="0"/>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9" name="Freeform 1764">
                <a:extLst>
                  <a:ext uri="{FF2B5EF4-FFF2-40B4-BE49-F238E27FC236}">
                    <a16:creationId xmlns:a16="http://schemas.microsoft.com/office/drawing/2014/main" id="{B164D641-DA0D-4476-8CE8-6B04C978A983}"/>
                  </a:ext>
                </a:extLst>
              </p:cNvPr>
              <p:cNvSpPr>
                <a:spLocks/>
              </p:cNvSpPr>
              <p:nvPr/>
            </p:nvSpPr>
            <p:spPr bwMode="auto">
              <a:xfrm>
                <a:off x="1360" y="1551"/>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0" name="Freeform 1765">
                <a:extLst>
                  <a:ext uri="{FF2B5EF4-FFF2-40B4-BE49-F238E27FC236}">
                    <a16:creationId xmlns:a16="http://schemas.microsoft.com/office/drawing/2014/main" id="{916DC533-6057-4F11-AF40-6E24EB93D26B}"/>
                  </a:ext>
                </a:extLst>
              </p:cNvPr>
              <p:cNvSpPr>
                <a:spLocks/>
              </p:cNvSpPr>
              <p:nvPr/>
            </p:nvSpPr>
            <p:spPr bwMode="auto">
              <a:xfrm>
                <a:off x="-156" y="1219"/>
                <a:ext cx="12" cy="5"/>
              </a:xfrm>
              <a:custGeom>
                <a:avLst/>
                <a:gdLst>
                  <a:gd name="T0" fmla="*/ 2 w 5"/>
                  <a:gd name="T1" fmla="*/ 1 h 2"/>
                  <a:gd name="T2" fmla="*/ 2 w 5"/>
                  <a:gd name="T3" fmla="*/ 0 h 2"/>
                  <a:gd name="T4" fmla="*/ 0 w 5"/>
                  <a:gd name="T5" fmla="*/ 2 h 2"/>
                  <a:gd name="T6" fmla="*/ 5 w 5"/>
                  <a:gd name="T7" fmla="*/ 1 h 2"/>
                  <a:gd name="T8" fmla="*/ 2 w 5"/>
                  <a:gd name="T9" fmla="*/ 1 h 2"/>
                </a:gdLst>
                <a:ahLst/>
                <a:cxnLst>
                  <a:cxn ang="0">
                    <a:pos x="T0" y="T1"/>
                  </a:cxn>
                  <a:cxn ang="0">
                    <a:pos x="T2" y="T3"/>
                  </a:cxn>
                  <a:cxn ang="0">
                    <a:pos x="T4" y="T5"/>
                  </a:cxn>
                  <a:cxn ang="0">
                    <a:pos x="T6" y="T7"/>
                  </a:cxn>
                  <a:cxn ang="0">
                    <a:pos x="T8" y="T9"/>
                  </a:cxn>
                </a:cxnLst>
                <a:rect l="0" t="0" r="r" b="b"/>
                <a:pathLst>
                  <a:path w="5" h="2">
                    <a:moveTo>
                      <a:pt x="2" y="1"/>
                    </a:moveTo>
                    <a:cubicBezTo>
                      <a:pt x="2" y="1"/>
                      <a:pt x="2" y="0"/>
                      <a:pt x="2" y="0"/>
                    </a:cubicBezTo>
                    <a:cubicBezTo>
                      <a:pt x="1" y="0"/>
                      <a:pt x="0" y="1"/>
                      <a:pt x="0" y="2"/>
                    </a:cubicBezTo>
                    <a:cubicBezTo>
                      <a:pt x="2" y="1"/>
                      <a:pt x="4" y="1"/>
                      <a:pt x="5" y="1"/>
                    </a:cubicBezTo>
                    <a:cubicBezTo>
                      <a:pt x="4" y="0"/>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1" name="Freeform 1766">
                <a:extLst>
                  <a:ext uri="{FF2B5EF4-FFF2-40B4-BE49-F238E27FC236}">
                    <a16:creationId xmlns:a16="http://schemas.microsoft.com/office/drawing/2014/main" id="{1684DC0D-79F1-4B9B-942F-8F4EF452BC76}"/>
                  </a:ext>
                </a:extLst>
              </p:cNvPr>
              <p:cNvSpPr>
                <a:spLocks/>
              </p:cNvSpPr>
              <p:nvPr/>
            </p:nvSpPr>
            <p:spPr bwMode="auto">
              <a:xfrm>
                <a:off x="289" y="1177"/>
                <a:ext cx="28" cy="50"/>
              </a:xfrm>
              <a:custGeom>
                <a:avLst/>
                <a:gdLst>
                  <a:gd name="T0" fmla="*/ 6 w 12"/>
                  <a:gd name="T1" fmla="*/ 16 h 21"/>
                  <a:gd name="T2" fmla="*/ 6 w 12"/>
                  <a:gd name="T3" fmla="*/ 16 h 21"/>
                  <a:gd name="T4" fmla="*/ 5 w 12"/>
                  <a:gd name="T5" fmla="*/ 17 h 21"/>
                  <a:gd name="T6" fmla="*/ 4 w 12"/>
                  <a:gd name="T7" fmla="*/ 21 h 21"/>
                  <a:gd name="T8" fmla="*/ 7 w 12"/>
                  <a:gd name="T9" fmla="*/ 19 h 21"/>
                  <a:gd name="T10" fmla="*/ 9 w 12"/>
                  <a:gd name="T11" fmla="*/ 16 h 21"/>
                  <a:gd name="T12" fmla="*/ 12 w 12"/>
                  <a:gd name="T13" fmla="*/ 15 h 21"/>
                  <a:gd name="T14" fmla="*/ 11 w 12"/>
                  <a:gd name="T15" fmla="*/ 13 h 21"/>
                  <a:gd name="T16" fmla="*/ 10 w 12"/>
                  <a:gd name="T17" fmla="*/ 11 h 21"/>
                  <a:gd name="T18" fmla="*/ 9 w 12"/>
                  <a:gd name="T19" fmla="*/ 10 h 21"/>
                  <a:gd name="T20" fmla="*/ 7 w 12"/>
                  <a:gd name="T21" fmla="*/ 9 h 21"/>
                  <a:gd name="T22" fmla="*/ 7 w 12"/>
                  <a:gd name="T23" fmla="*/ 5 h 21"/>
                  <a:gd name="T24" fmla="*/ 9 w 12"/>
                  <a:gd name="T25" fmla="*/ 8 h 21"/>
                  <a:gd name="T26" fmla="*/ 10 w 12"/>
                  <a:gd name="T27" fmla="*/ 9 h 21"/>
                  <a:gd name="T28" fmla="*/ 12 w 12"/>
                  <a:gd name="T29" fmla="*/ 12 h 21"/>
                  <a:gd name="T30" fmla="*/ 11 w 12"/>
                  <a:gd name="T31" fmla="*/ 10 h 21"/>
                  <a:gd name="T32" fmla="*/ 11 w 12"/>
                  <a:gd name="T33" fmla="*/ 8 h 21"/>
                  <a:gd name="T34" fmla="*/ 8 w 12"/>
                  <a:gd name="T35" fmla="*/ 4 h 21"/>
                  <a:gd name="T36" fmla="*/ 6 w 12"/>
                  <a:gd name="T37" fmla="*/ 4 h 21"/>
                  <a:gd name="T38" fmla="*/ 4 w 12"/>
                  <a:gd name="T39" fmla="*/ 3 h 21"/>
                  <a:gd name="T40" fmla="*/ 3 w 12"/>
                  <a:gd name="T41" fmla="*/ 2 h 21"/>
                  <a:gd name="T42" fmla="*/ 0 w 12"/>
                  <a:gd name="T43" fmla="*/ 0 h 21"/>
                  <a:gd name="T44" fmla="*/ 1 w 12"/>
                  <a:gd name="T45" fmla="*/ 2 h 21"/>
                  <a:gd name="T46" fmla="*/ 3 w 12"/>
                  <a:gd name="T47" fmla="*/ 3 h 21"/>
                  <a:gd name="T48" fmla="*/ 2 w 12"/>
                  <a:gd name="T49" fmla="*/ 6 h 21"/>
                  <a:gd name="T50" fmla="*/ 3 w 12"/>
                  <a:gd name="T51" fmla="*/ 8 h 21"/>
                  <a:gd name="T52" fmla="*/ 4 w 12"/>
                  <a:gd name="T53" fmla="*/ 13 h 21"/>
                  <a:gd name="T54" fmla="*/ 7 w 12"/>
                  <a:gd name="T55" fmla="*/ 13 h 21"/>
                  <a:gd name="T56" fmla="*/ 7 w 12"/>
                  <a:gd name="T57" fmla="*/ 15 h 21"/>
                  <a:gd name="T58" fmla="*/ 6 w 12"/>
                  <a:gd name="T59"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1">
                    <a:moveTo>
                      <a:pt x="6" y="16"/>
                    </a:moveTo>
                    <a:cubicBezTo>
                      <a:pt x="6" y="16"/>
                      <a:pt x="6" y="16"/>
                      <a:pt x="6" y="16"/>
                    </a:cubicBezTo>
                    <a:cubicBezTo>
                      <a:pt x="6" y="16"/>
                      <a:pt x="5" y="17"/>
                      <a:pt x="5" y="17"/>
                    </a:cubicBezTo>
                    <a:cubicBezTo>
                      <a:pt x="5" y="18"/>
                      <a:pt x="4" y="19"/>
                      <a:pt x="4" y="21"/>
                    </a:cubicBezTo>
                    <a:cubicBezTo>
                      <a:pt x="5" y="20"/>
                      <a:pt x="6" y="20"/>
                      <a:pt x="7" y="19"/>
                    </a:cubicBezTo>
                    <a:cubicBezTo>
                      <a:pt x="6" y="19"/>
                      <a:pt x="10" y="17"/>
                      <a:pt x="9" y="16"/>
                    </a:cubicBezTo>
                    <a:cubicBezTo>
                      <a:pt x="10" y="16"/>
                      <a:pt x="11" y="16"/>
                      <a:pt x="12" y="15"/>
                    </a:cubicBezTo>
                    <a:cubicBezTo>
                      <a:pt x="12" y="14"/>
                      <a:pt x="12" y="14"/>
                      <a:pt x="11" y="13"/>
                    </a:cubicBezTo>
                    <a:cubicBezTo>
                      <a:pt x="11" y="13"/>
                      <a:pt x="11" y="12"/>
                      <a:pt x="10" y="11"/>
                    </a:cubicBezTo>
                    <a:cubicBezTo>
                      <a:pt x="10" y="11"/>
                      <a:pt x="9" y="10"/>
                      <a:pt x="9" y="10"/>
                    </a:cubicBezTo>
                    <a:cubicBezTo>
                      <a:pt x="9" y="9"/>
                      <a:pt x="8" y="8"/>
                      <a:pt x="7" y="9"/>
                    </a:cubicBezTo>
                    <a:cubicBezTo>
                      <a:pt x="8" y="7"/>
                      <a:pt x="8" y="6"/>
                      <a:pt x="7" y="5"/>
                    </a:cubicBezTo>
                    <a:cubicBezTo>
                      <a:pt x="8" y="5"/>
                      <a:pt x="8" y="7"/>
                      <a:pt x="9" y="8"/>
                    </a:cubicBezTo>
                    <a:cubicBezTo>
                      <a:pt x="9" y="8"/>
                      <a:pt x="10" y="9"/>
                      <a:pt x="10" y="9"/>
                    </a:cubicBezTo>
                    <a:cubicBezTo>
                      <a:pt x="11" y="10"/>
                      <a:pt x="11" y="11"/>
                      <a:pt x="12" y="12"/>
                    </a:cubicBezTo>
                    <a:cubicBezTo>
                      <a:pt x="11" y="11"/>
                      <a:pt x="11" y="11"/>
                      <a:pt x="11" y="10"/>
                    </a:cubicBezTo>
                    <a:cubicBezTo>
                      <a:pt x="11" y="9"/>
                      <a:pt x="11" y="9"/>
                      <a:pt x="11" y="8"/>
                    </a:cubicBezTo>
                    <a:cubicBezTo>
                      <a:pt x="10" y="7"/>
                      <a:pt x="9" y="4"/>
                      <a:pt x="8" y="4"/>
                    </a:cubicBezTo>
                    <a:cubicBezTo>
                      <a:pt x="7" y="4"/>
                      <a:pt x="6" y="4"/>
                      <a:pt x="6" y="4"/>
                    </a:cubicBezTo>
                    <a:cubicBezTo>
                      <a:pt x="5" y="3"/>
                      <a:pt x="5" y="4"/>
                      <a:pt x="4" y="3"/>
                    </a:cubicBezTo>
                    <a:cubicBezTo>
                      <a:pt x="3" y="3"/>
                      <a:pt x="3" y="3"/>
                      <a:pt x="3" y="2"/>
                    </a:cubicBezTo>
                    <a:cubicBezTo>
                      <a:pt x="2" y="1"/>
                      <a:pt x="1" y="0"/>
                      <a:pt x="0" y="0"/>
                    </a:cubicBezTo>
                    <a:cubicBezTo>
                      <a:pt x="0" y="1"/>
                      <a:pt x="0" y="2"/>
                      <a:pt x="1" y="2"/>
                    </a:cubicBezTo>
                    <a:cubicBezTo>
                      <a:pt x="0" y="3"/>
                      <a:pt x="2" y="4"/>
                      <a:pt x="3" y="3"/>
                    </a:cubicBezTo>
                    <a:cubicBezTo>
                      <a:pt x="2" y="4"/>
                      <a:pt x="2" y="5"/>
                      <a:pt x="2" y="6"/>
                    </a:cubicBezTo>
                    <a:cubicBezTo>
                      <a:pt x="2" y="6"/>
                      <a:pt x="3" y="7"/>
                      <a:pt x="3" y="8"/>
                    </a:cubicBezTo>
                    <a:cubicBezTo>
                      <a:pt x="3" y="10"/>
                      <a:pt x="3" y="11"/>
                      <a:pt x="4" y="13"/>
                    </a:cubicBezTo>
                    <a:cubicBezTo>
                      <a:pt x="5" y="13"/>
                      <a:pt x="6" y="13"/>
                      <a:pt x="7" y="13"/>
                    </a:cubicBezTo>
                    <a:cubicBezTo>
                      <a:pt x="6" y="14"/>
                      <a:pt x="7" y="15"/>
                      <a:pt x="7" y="15"/>
                    </a:cubicBezTo>
                    <a:cubicBezTo>
                      <a:pt x="7" y="17"/>
                      <a:pt x="7" y="15"/>
                      <a:pt x="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2" name="Freeform 1767">
                <a:extLst>
                  <a:ext uri="{FF2B5EF4-FFF2-40B4-BE49-F238E27FC236}">
                    <a16:creationId xmlns:a16="http://schemas.microsoft.com/office/drawing/2014/main" id="{C94BC240-3D8C-46C9-BA51-50D0B7BE45CB}"/>
                  </a:ext>
                </a:extLst>
              </p:cNvPr>
              <p:cNvSpPr>
                <a:spLocks/>
              </p:cNvSpPr>
              <p:nvPr/>
            </p:nvSpPr>
            <p:spPr bwMode="auto">
              <a:xfrm>
                <a:off x="324" y="1283"/>
                <a:ext cx="7" cy="5"/>
              </a:xfrm>
              <a:custGeom>
                <a:avLst/>
                <a:gdLst>
                  <a:gd name="T0" fmla="*/ 1 w 3"/>
                  <a:gd name="T1" fmla="*/ 1 h 2"/>
                  <a:gd name="T2" fmla="*/ 2 w 3"/>
                  <a:gd name="T3" fmla="*/ 2 h 2"/>
                  <a:gd name="T4" fmla="*/ 2 w 3"/>
                  <a:gd name="T5" fmla="*/ 0 h 2"/>
                  <a:gd name="T6" fmla="*/ 1 w 3"/>
                  <a:gd name="T7" fmla="*/ 1 h 2"/>
                </a:gdLst>
                <a:ahLst/>
                <a:cxnLst>
                  <a:cxn ang="0">
                    <a:pos x="T0" y="T1"/>
                  </a:cxn>
                  <a:cxn ang="0">
                    <a:pos x="T2" y="T3"/>
                  </a:cxn>
                  <a:cxn ang="0">
                    <a:pos x="T4" y="T5"/>
                  </a:cxn>
                  <a:cxn ang="0">
                    <a:pos x="T6" y="T7"/>
                  </a:cxn>
                </a:cxnLst>
                <a:rect l="0" t="0" r="r" b="b"/>
                <a:pathLst>
                  <a:path w="3" h="2">
                    <a:moveTo>
                      <a:pt x="1" y="1"/>
                    </a:moveTo>
                    <a:cubicBezTo>
                      <a:pt x="1" y="2"/>
                      <a:pt x="2" y="2"/>
                      <a:pt x="2" y="2"/>
                    </a:cubicBezTo>
                    <a:cubicBezTo>
                      <a:pt x="3" y="2"/>
                      <a:pt x="3" y="0"/>
                      <a:pt x="2" y="0"/>
                    </a:cubicBezTo>
                    <a:cubicBezTo>
                      <a:pt x="2"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3" name="Freeform 1768">
                <a:extLst>
                  <a:ext uri="{FF2B5EF4-FFF2-40B4-BE49-F238E27FC236}">
                    <a16:creationId xmlns:a16="http://schemas.microsoft.com/office/drawing/2014/main" id="{883A6791-C7B7-4625-AAE5-A0DD46CD9F5A}"/>
                  </a:ext>
                </a:extLst>
              </p:cNvPr>
              <p:cNvSpPr>
                <a:spLocks/>
              </p:cNvSpPr>
              <p:nvPr/>
            </p:nvSpPr>
            <p:spPr bwMode="auto">
              <a:xfrm>
                <a:off x="364" y="1262"/>
                <a:ext cx="24" cy="26"/>
              </a:xfrm>
              <a:custGeom>
                <a:avLst/>
                <a:gdLst>
                  <a:gd name="T0" fmla="*/ 1 w 10"/>
                  <a:gd name="T1" fmla="*/ 7 h 11"/>
                  <a:gd name="T2" fmla="*/ 3 w 10"/>
                  <a:gd name="T3" fmla="*/ 9 h 11"/>
                  <a:gd name="T4" fmla="*/ 4 w 10"/>
                  <a:gd name="T5" fmla="*/ 6 h 11"/>
                  <a:gd name="T6" fmla="*/ 6 w 10"/>
                  <a:gd name="T7" fmla="*/ 7 h 11"/>
                  <a:gd name="T8" fmla="*/ 5 w 10"/>
                  <a:gd name="T9" fmla="*/ 5 h 11"/>
                  <a:gd name="T10" fmla="*/ 6 w 10"/>
                  <a:gd name="T11" fmla="*/ 8 h 11"/>
                  <a:gd name="T12" fmla="*/ 5 w 10"/>
                  <a:gd name="T13" fmla="*/ 9 h 11"/>
                  <a:gd name="T14" fmla="*/ 7 w 10"/>
                  <a:gd name="T15" fmla="*/ 8 h 11"/>
                  <a:gd name="T16" fmla="*/ 7 w 10"/>
                  <a:gd name="T17" fmla="*/ 11 h 11"/>
                  <a:gd name="T18" fmla="*/ 8 w 10"/>
                  <a:gd name="T19" fmla="*/ 2 h 11"/>
                  <a:gd name="T20" fmla="*/ 5 w 10"/>
                  <a:gd name="T21" fmla="*/ 0 h 11"/>
                  <a:gd name="T22" fmla="*/ 3 w 10"/>
                  <a:gd name="T23" fmla="*/ 1 h 11"/>
                  <a:gd name="T24" fmla="*/ 4 w 10"/>
                  <a:gd name="T25" fmla="*/ 2 h 11"/>
                  <a:gd name="T26" fmla="*/ 2 w 10"/>
                  <a:gd name="T27" fmla="*/ 2 h 11"/>
                  <a:gd name="T28" fmla="*/ 4 w 10"/>
                  <a:gd name="T29" fmla="*/ 2 h 11"/>
                  <a:gd name="T30" fmla="*/ 2 w 10"/>
                  <a:gd name="T31" fmla="*/ 3 h 11"/>
                  <a:gd name="T32" fmla="*/ 4 w 10"/>
                  <a:gd name="T33" fmla="*/ 3 h 11"/>
                  <a:gd name="T34" fmla="*/ 2 w 10"/>
                  <a:gd name="T35" fmla="*/ 4 h 11"/>
                  <a:gd name="T36" fmla="*/ 2 w 10"/>
                  <a:gd name="T37" fmla="*/ 6 h 11"/>
                  <a:gd name="T38" fmla="*/ 1 w 10"/>
                  <a:gd name="T3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1" y="7"/>
                    </a:moveTo>
                    <a:cubicBezTo>
                      <a:pt x="1" y="8"/>
                      <a:pt x="2" y="9"/>
                      <a:pt x="3" y="9"/>
                    </a:cubicBezTo>
                    <a:cubicBezTo>
                      <a:pt x="3" y="8"/>
                      <a:pt x="4" y="7"/>
                      <a:pt x="4" y="6"/>
                    </a:cubicBezTo>
                    <a:cubicBezTo>
                      <a:pt x="4" y="7"/>
                      <a:pt x="5" y="8"/>
                      <a:pt x="6" y="7"/>
                    </a:cubicBezTo>
                    <a:cubicBezTo>
                      <a:pt x="6" y="7"/>
                      <a:pt x="5" y="5"/>
                      <a:pt x="5" y="5"/>
                    </a:cubicBezTo>
                    <a:cubicBezTo>
                      <a:pt x="6" y="6"/>
                      <a:pt x="6" y="7"/>
                      <a:pt x="6" y="8"/>
                    </a:cubicBezTo>
                    <a:cubicBezTo>
                      <a:pt x="6" y="8"/>
                      <a:pt x="5" y="9"/>
                      <a:pt x="5" y="9"/>
                    </a:cubicBezTo>
                    <a:cubicBezTo>
                      <a:pt x="6" y="10"/>
                      <a:pt x="6" y="8"/>
                      <a:pt x="7" y="8"/>
                    </a:cubicBezTo>
                    <a:cubicBezTo>
                      <a:pt x="7" y="9"/>
                      <a:pt x="7" y="10"/>
                      <a:pt x="7" y="11"/>
                    </a:cubicBezTo>
                    <a:cubicBezTo>
                      <a:pt x="10" y="9"/>
                      <a:pt x="10" y="4"/>
                      <a:pt x="8" y="2"/>
                    </a:cubicBezTo>
                    <a:cubicBezTo>
                      <a:pt x="8" y="1"/>
                      <a:pt x="7" y="0"/>
                      <a:pt x="5" y="0"/>
                    </a:cubicBezTo>
                    <a:cubicBezTo>
                      <a:pt x="5" y="0"/>
                      <a:pt x="4" y="0"/>
                      <a:pt x="3" y="1"/>
                    </a:cubicBezTo>
                    <a:cubicBezTo>
                      <a:pt x="3" y="1"/>
                      <a:pt x="3" y="1"/>
                      <a:pt x="4" y="2"/>
                    </a:cubicBezTo>
                    <a:cubicBezTo>
                      <a:pt x="4" y="2"/>
                      <a:pt x="2" y="1"/>
                      <a:pt x="2" y="2"/>
                    </a:cubicBezTo>
                    <a:cubicBezTo>
                      <a:pt x="2" y="2"/>
                      <a:pt x="3" y="2"/>
                      <a:pt x="4" y="2"/>
                    </a:cubicBezTo>
                    <a:cubicBezTo>
                      <a:pt x="3" y="3"/>
                      <a:pt x="2" y="2"/>
                      <a:pt x="2" y="3"/>
                    </a:cubicBezTo>
                    <a:cubicBezTo>
                      <a:pt x="1" y="4"/>
                      <a:pt x="3" y="3"/>
                      <a:pt x="4" y="3"/>
                    </a:cubicBezTo>
                    <a:cubicBezTo>
                      <a:pt x="3" y="3"/>
                      <a:pt x="2" y="4"/>
                      <a:pt x="2" y="4"/>
                    </a:cubicBezTo>
                    <a:cubicBezTo>
                      <a:pt x="2" y="5"/>
                      <a:pt x="3" y="4"/>
                      <a:pt x="2" y="6"/>
                    </a:cubicBezTo>
                    <a:cubicBezTo>
                      <a:pt x="2" y="6"/>
                      <a:pt x="0" y="6"/>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4" name="Freeform 1769">
                <a:extLst>
                  <a:ext uri="{FF2B5EF4-FFF2-40B4-BE49-F238E27FC236}">
                    <a16:creationId xmlns:a16="http://schemas.microsoft.com/office/drawing/2014/main" id="{B2DA688C-ECD0-4627-8595-0A6EACACE18B}"/>
                  </a:ext>
                </a:extLst>
              </p:cNvPr>
              <p:cNvSpPr>
                <a:spLocks/>
              </p:cNvSpPr>
              <p:nvPr/>
            </p:nvSpPr>
            <p:spPr bwMode="auto">
              <a:xfrm>
                <a:off x="-508" y="1343"/>
                <a:ext cx="5" cy="4"/>
              </a:xfrm>
              <a:custGeom>
                <a:avLst/>
                <a:gdLst>
                  <a:gd name="T0" fmla="*/ 0 w 2"/>
                  <a:gd name="T1" fmla="*/ 0 h 2"/>
                  <a:gd name="T2" fmla="*/ 0 w 2"/>
                  <a:gd name="T3" fmla="*/ 2 h 2"/>
                  <a:gd name="T4" fmla="*/ 2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0" y="1"/>
                      <a:pt x="0" y="2"/>
                    </a:cubicBezTo>
                    <a:cubicBezTo>
                      <a:pt x="1" y="2"/>
                      <a:pt x="1" y="1"/>
                      <a:pt x="2"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5" name="Freeform 1770">
                <a:extLst>
                  <a:ext uri="{FF2B5EF4-FFF2-40B4-BE49-F238E27FC236}">
                    <a16:creationId xmlns:a16="http://schemas.microsoft.com/office/drawing/2014/main" id="{46864494-AD04-4125-8718-C8202701C46C}"/>
                  </a:ext>
                </a:extLst>
              </p:cNvPr>
              <p:cNvSpPr>
                <a:spLocks/>
              </p:cNvSpPr>
              <p:nvPr/>
            </p:nvSpPr>
            <p:spPr bwMode="auto">
              <a:xfrm>
                <a:off x="1355" y="1553"/>
                <a:ext cx="5" cy="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1"/>
                      <a:pt x="0" y="2"/>
                    </a:cubicBezTo>
                    <a:cubicBezTo>
                      <a:pt x="1"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6" name="Freeform 1771">
                <a:extLst>
                  <a:ext uri="{FF2B5EF4-FFF2-40B4-BE49-F238E27FC236}">
                    <a16:creationId xmlns:a16="http://schemas.microsoft.com/office/drawing/2014/main" id="{A58B1B4F-0A50-47C0-8B8F-B580877C124B}"/>
                  </a:ext>
                </a:extLst>
              </p:cNvPr>
              <p:cNvSpPr>
                <a:spLocks/>
              </p:cNvSpPr>
              <p:nvPr/>
            </p:nvSpPr>
            <p:spPr bwMode="auto">
              <a:xfrm>
                <a:off x="374" y="1295"/>
                <a:ext cx="5" cy="5"/>
              </a:xfrm>
              <a:custGeom>
                <a:avLst/>
                <a:gdLst>
                  <a:gd name="T0" fmla="*/ 0 w 2"/>
                  <a:gd name="T1" fmla="*/ 0 h 2"/>
                  <a:gd name="T2" fmla="*/ 2 w 2"/>
                  <a:gd name="T3" fmla="*/ 0 h 2"/>
                  <a:gd name="T4" fmla="*/ 0 w 2"/>
                  <a:gd name="T5" fmla="*/ 0 h 2"/>
                </a:gdLst>
                <a:ahLst/>
                <a:cxnLst>
                  <a:cxn ang="0">
                    <a:pos x="T0" y="T1"/>
                  </a:cxn>
                  <a:cxn ang="0">
                    <a:pos x="T2" y="T3"/>
                  </a:cxn>
                  <a:cxn ang="0">
                    <a:pos x="T4" y="T5"/>
                  </a:cxn>
                </a:cxnLst>
                <a:rect l="0" t="0" r="r" b="b"/>
                <a:pathLst>
                  <a:path w="2" h="2">
                    <a:moveTo>
                      <a:pt x="0" y="0"/>
                    </a:moveTo>
                    <a:cubicBezTo>
                      <a:pt x="0" y="1"/>
                      <a:pt x="2" y="2"/>
                      <a:pt x="2" y="0"/>
                    </a:cubicBezTo>
                    <a:cubicBezTo>
                      <a:pt x="2"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7" name="Freeform 1772">
                <a:extLst>
                  <a:ext uri="{FF2B5EF4-FFF2-40B4-BE49-F238E27FC236}">
                    <a16:creationId xmlns:a16="http://schemas.microsoft.com/office/drawing/2014/main" id="{3FE33FCA-8B5C-42E9-9C53-C09D0845EFB2}"/>
                  </a:ext>
                </a:extLst>
              </p:cNvPr>
              <p:cNvSpPr>
                <a:spLocks/>
              </p:cNvSpPr>
              <p:nvPr/>
            </p:nvSpPr>
            <p:spPr bwMode="auto">
              <a:xfrm>
                <a:off x="-508" y="902"/>
                <a:ext cx="2" cy="3"/>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0" y="1"/>
                      <a:pt x="0" y="1"/>
                    </a:cubicBezTo>
                    <a:cubicBezTo>
                      <a:pt x="0" y="1"/>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8" name="Freeform 1773">
                <a:extLst>
                  <a:ext uri="{FF2B5EF4-FFF2-40B4-BE49-F238E27FC236}">
                    <a16:creationId xmlns:a16="http://schemas.microsoft.com/office/drawing/2014/main" id="{E00580D8-3CDD-4BA4-A579-2F9D6FE97B9F}"/>
                  </a:ext>
                </a:extLst>
              </p:cNvPr>
              <p:cNvSpPr>
                <a:spLocks/>
              </p:cNvSpPr>
              <p:nvPr/>
            </p:nvSpPr>
            <p:spPr bwMode="auto">
              <a:xfrm>
                <a:off x="322" y="1248"/>
                <a:ext cx="40" cy="59"/>
              </a:xfrm>
              <a:custGeom>
                <a:avLst/>
                <a:gdLst>
                  <a:gd name="T0" fmla="*/ 4 w 17"/>
                  <a:gd name="T1" fmla="*/ 15 h 25"/>
                  <a:gd name="T2" fmla="*/ 7 w 17"/>
                  <a:gd name="T3" fmla="*/ 16 h 25"/>
                  <a:gd name="T4" fmla="*/ 6 w 17"/>
                  <a:gd name="T5" fmla="*/ 17 h 25"/>
                  <a:gd name="T6" fmla="*/ 8 w 17"/>
                  <a:gd name="T7" fmla="*/ 16 h 25"/>
                  <a:gd name="T8" fmla="*/ 9 w 17"/>
                  <a:gd name="T9" fmla="*/ 17 h 25"/>
                  <a:gd name="T10" fmla="*/ 10 w 17"/>
                  <a:gd name="T11" fmla="*/ 16 h 25"/>
                  <a:gd name="T12" fmla="*/ 10 w 17"/>
                  <a:gd name="T13" fmla="*/ 19 h 25"/>
                  <a:gd name="T14" fmla="*/ 11 w 17"/>
                  <a:gd name="T15" fmla="*/ 18 h 25"/>
                  <a:gd name="T16" fmla="*/ 12 w 17"/>
                  <a:gd name="T17" fmla="*/ 19 h 25"/>
                  <a:gd name="T18" fmla="*/ 12 w 17"/>
                  <a:gd name="T19" fmla="*/ 21 h 25"/>
                  <a:gd name="T20" fmla="*/ 14 w 17"/>
                  <a:gd name="T21" fmla="*/ 24 h 25"/>
                  <a:gd name="T22" fmla="*/ 17 w 17"/>
                  <a:gd name="T23" fmla="*/ 22 h 25"/>
                  <a:gd name="T24" fmla="*/ 17 w 17"/>
                  <a:gd name="T25" fmla="*/ 19 h 25"/>
                  <a:gd name="T26" fmla="*/ 15 w 17"/>
                  <a:gd name="T27" fmla="*/ 20 h 25"/>
                  <a:gd name="T28" fmla="*/ 17 w 17"/>
                  <a:gd name="T29" fmla="*/ 18 h 25"/>
                  <a:gd name="T30" fmla="*/ 16 w 17"/>
                  <a:gd name="T31" fmla="*/ 16 h 25"/>
                  <a:gd name="T32" fmla="*/ 14 w 17"/>
                  <a:gd name="T33" fmla="*/ 14 h 25"/>
                  <a:gd name="T34" fmla="*/ 13 w 17"/>
                  <a:gd name="T35" fmla="*/ 14 h 25"/>
                  <a:gd name="T36" fmla="*/ 12 w 17"/>
                  <a:gd name="T37" fmla="*/ 14 h 25"/>
                  <a:gd name="T38" fmla="*/ 14 w 17"/>
                  <a:gd name="T39" fmla="*/ 13 h 25"/>
                  <a:gd name="T40" fmla="*/ 12 w 17"/>
                  <a:gd name="T41" fmla="*/ 12 h 25"/>
                  <a:gd name="T42" fmla="*/ 10 w 17"/>
                  <a:gd name="T43" fmla="*/ 13 h 25"/>
                  <a:gd name="T44" fmla="*/ 11 w 17"/>
                  <a:gd name="T45" fmla="*/ 11 h 25"/>
                  <a:gd name="T46" fmla="*/ 12 w 17"/>
                  <a:gd name="T47" fmla="*/ 12 h 25"/>
                  <a:gd name="T48" fmla="*/ 15 w 17"/>
                  <a:gd name="T49" fmla="*/ 13 h 25"/>
                  <a:gd name="T50" fmla="*/ 14 w 17"/>
                  <a:gd name="T51" fmla="*/ 12 h 25"/>
                  <a:gd name="T52" fmla="*/ 12 w 17"/>
                  <a:gd name="T53" fmla="*/ 9 h 25"/>
                  <a:gd name="T54" fmla="*/ 8 w 17"/>
                  <a:gd name="T55" fmla="*/ 5 h 25"/>
                  <a:gd name="T56" fmla="*/ 6 w 17"/>
                  <a:gd name="T57" fmla="*/ 4 h 25"/>
                  <a:gd name="T58" fmla="*/ 5 w 17"/>
                  <a:gd name="T59" fmla="*/ 1 h 25"/>
                  <a:gd name="T60" fmla="*/ 3 w 17"/>
                  <a:gd name="T61" fmla="*/ 1 h 25"/>
                  <a:gd name="T62" fmla="*/ 0 w 17"/>
                  <a:gd name="T63" fmla="*/ 0 h 25"/>
                  <a:gd name="T64" fmla="*/ 0 w 17"/>
                  <a:gd name="T65" fmla="*/ 2 h 25"/>
                  <a:gd name="T66" fmla="*/ 4 w 17"/>
                  <a:gd name="T67" fmla="*/ 3 h 25"/>
                  <a:gd name="T68" fmla="*/ 4 w 17"/>
                  <a:gd name="T69" fmla="*/ 5 h 25"/>
                  <a:gd name="T70" fmla="*/ 4 w 17"/>
                  <a:gd name="T71" fmla="*/ 6 h 25"/>
                  <a:gd name="T72" fmla="*/ 5 w 17"/>
                  <a:gd name="T73" fmla="*/ 7 h 25"/>
                  <a:gd name="T74" fmla="*/ 3 w 17"/>
                  <a:gd name="T75" fmla="*/ 11 h 25"/>
                  <a:gd name="T76" fmla="*/ 7 w 17"/>
                  <a:gd name="T77" fmla="*/ 11 h 25"/>
                  <a:gd name="T78" fmla="*/ 7 w 17"/>
                  <a:gd name="T79" fmla="*/ 11 h 25"/>
                  <a:gd name="T80" fmla="*/ 7 w 17"/>
                  <a:gd name="T81" fmla="*/ 11 h 25"/>
                  <a:gd name="T82" fmla="*/ 6 w 17"/>
                  <a:gd name="T83" fmla="*/ 11 h 25"/>
                  <a:gd name="T84" fmla="*/ 6 w 17"/>
                  <a:gd name="T85" fmla="*/ 13 h 25"/>
                  <a:gd name="T86" fmla="*/ 6 w 17"/>
                  <a:gd name="T87" fmla="*/ 13 h 25"/>
                  <a:gd name="T88" fmla="*/ 8 w 17"/>
                  <a:gd name="T89" fmla="*/ 14 h 25"/>
                  <a:gd name="T90" fmla="*/ 4 w 17"/>
                  <a:gd name="T9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 h="25">
                    <a:moveTo>
                      <a:pt x="4" y="15"/>
                    </a:moveTo>
                    <a:cubicBezTo>
                      <a:pt x="4" y="16"/>
                      <a:pt x="6" y="16"/>
                      <a:pt x="7" y="16"/>
                    </a:cubicBezTo>
                    <a:cubicBezTo>
                      <a:pt x="6" y="16"/>
                      <a:pt x="6" y="16"/>
                      <a:pt x="6" y="17"/>
                    </a:cubicBezTo>
                    <a:cubicBezTo>
                      <a:pt x="7" y="17"/>
                      <a:pt x="8" y="16"/>
                      <a:pt x="8" y="16"/>
                    </a:cubicBezTo>
                    <a:cubicBezTo>
                      <a:pt x="9" y="16"/>
                      <a:pt x="9" y="17"/>
                      <a:pt x="9" y="17"/>
                    </a:cubicBezTo>
                    <a:cubicBezTo>
                      <a:pt x="10" y="18"/>
                      <a:pt x="10" y="17"/>
                      <a:pt x="10" y="16"/>
                    </a:cubicBezTo>
                    <a:cubicBezTo>
                      <a:pt x="11" y="17"/>
                      <a:pt x="10" y="18"/>
                      <a:pt x="10" y="19"/>
                    </a:cubicBezTo>
                    <a:cubicBezTo>
                      <a:pt x="10" y="18"/>
                      <a:pt x="11" y="18"/>
                      <a:pt x="11" y="18"/>
                    </a:cubicBezTo>
                    <a:cubicBezTo>
                      <a:pt x="11" y="18"/>
                      <a:pt x="11" y="19"/>
                      <a:pt x="12" y="19"/>
                    </a:cubicBezTo>
                    <a:cubicBezTo>
                      <a:pt x="10" y="20"/>
                      <a:pt x="11" y="20"/>
                      <a:pt x="12" y="21"/>
                    </a:cubicBezTo>
                    <a:cubicBezTo>
                      <a:pt x="13" y="22"/>
                      <a:pt x="15" y="22"/>
                      <a:pt x="14" y="24"/>
                    </a:cubicBezTo>
                    <a:cubicBezTo>
                      <a:pt x="16" y="23"/>
                      <a:pt x="17" y="25"/>
                      <a:pt x="17" y="22"/>
                    </a:cubicBezTo>
                    <a:cubicBezTo>
                      <a:pt x="17" y="21"/>
                      <a:pt x="17" y="20"/>
                      <a:pt x="17" y="19"/>
                    </a:cubicBezTo>
                    <a:cubicBezTo>
                      <a:pt x="16" y="19"/>
                      <a:pt x="16" y="20"/>
                      <a:pt x="15" y="20"/>
                    </a:cubicBezTo>
                    <a:cubicBezTo>
                      <a:pt x="15" y="19"/>
                      <a:pt x="17" y="18"/>
                      <a:pt x="17" y="18"/>
                    </a:cubicBezTo>
                    <a:cubicBezTo>
                      <a:pt x="17" y="17"/>
                      <a:pt x="17" y="15"/>
                      <a:pt x="16" y="16"/>
                    </a:cubicBezTo>
                    <a:cubicBezTo>
                      <a:pt x="16" y="15"/>
                      <a:pt x="15" y="14"/>
                      <a:pt x="14" y="14"/>
                    </a:cubicBezTo>
                    <a:cubicBezTo>
                      <a:pt x="14" y="14"/>
                      <a:pt x="13" y="14"/>
                      <a:pt x="13" y="14"/>
                    </a:cubicBezTo>
                    <a:cubicBezTo>
                      <a:pt x="13" y="14"/>
                      <a:pt x="12" y="14"/>
                      <a:pt x="12" y="14"/>
                    </a:cubicBezTo>
                    <a:cubicBezTo>
                      <a:pt x="12" y="13"/>
                      <a:pt x="13" y="13"/>
                      <a:pt x="14" y="13"/>
                    </a:cubicBezTo>
                    <a:cubicBezTo>
                      <a:pt x="13" y="13"/>
                      <a:pt x="13" y="12"/>
                      <a:pt x="12" y="12"/>
                    </a:cubicBezTo>
                    <a:cubicBezTo>
                      <a:pt x="11" y="12"/>
                      <a:pt x="11" y="13"/>
                      <a:pt x="10" y="13"/>
                    </a:cubicBezTo>
                    <a:cubicBezTo>
                      <a:pt x="10" y="12"/>
                      <a:pt x="11" y="11"/>
                      <a:pt x="11" y="11"/>
                    </a:cubicBezTo>
                    <a:cubicBezTo>
                      <a:pt x="12" y="11"/>
                      <a:pt x="12" y="11"/>
                      <a:pt x="12" y="12"/>
                    </a:cubicBezTo>
                    <a:cubicBezTo>
                      <a:pt x="13" y="12"/>
                      <a:pt x="14" y="13"/>
                      <a:pt x="15" y="13"/>
                    </a:cubicBezTo>
                    <a:cubicBezTo>
                      <a:pt x="15" y="12"/>
                      <a:pt x="14" y="12"/>
                      <a:pt x="14" y="12"/>
                    </a:cubicBezTo>
                    <a:cubicBezTo>
                      <a:pt x="13" y="11"/>
                      <a:pt x="13" y="10"/>
                      <a:pt x="12" y="9"/>
                    </a:cubicBezTo>
                    <a:cubicBezTo>
                      <a:pt x="11" y="7"/>
                      <a:pt x="10" y="6"/>
                      <a:pt x="8" y="5"/>
                    </a:cubicBezTo>
                    <a:cubicBezTo>
                      <a:pt x="8" y="4"/>
                      <a:pt x="7" y="5"/>
                      <a:pt x="6" y="4"/>
                    </a:cubicBezTo>
                    <a:cubicBezTo>
                      <a:pt x="4" y="3"/>
                      <a:pt x="7" y="2"/>
                      <a:pt x="5" y="1"/>
                    </a:cubicBezTo>
                    <a:cubicBezTo>
                      <a:pt x="4" y="0"/>
                      <a:pt x="4" y="1"/>
                      <a:pt x="3" y="1"/>
                    </a:cubicBezTo>
                    <a:cubicBezTo>
                      <a:pt x="2" y="1"/>
                      <a:pt x="1" y="0"/>
                      <a:pt x="0" y="0"/>
                    </a:cubicBezTo>
                    <a:cubicBezTo>
                      <a:pt x="0" y="1"/>
                      <a:pt x="0" y="2"/>
                      <a:pt x="0" y="2"/>
                    </a:cubicBezTo>
                    <a:cubicBezTo>
                      <a:pt x="1" y="3"/>
                      <a:pt x="3" y="2"/>
                      <a:pt x="4" y="3"/>
                    </a:cubicBezTo>
                    <a:cubicBezTo>
                      <a:pt x="4" y="4"/>
                      <a:pt x="4" y="5"/>
                      <a:pt x="4" y="5"/>
                    </a:cubicBezTo>
                    <a:cubicBezTo>
                      <a:pt x="4" y="6"/>
                      <a:pt x="4" y="6"/>
                      <a:pt x="4" y="6"/>
                    </a:cubicBezTo>
                    <a:cubicBezTo>
                      <a:pt x="4" y="7"/>
                      <a:pt x="5" y="7"/>
                      <a:pt x="5" y="7"/>
                    </a:cubicBezTo>
                    <a:cubicBezTo>
                      <a:pt x="6" y="9"/>
                      <a:pt x="2" y="9"/>
                      <a:pt x="3" y="11"/>
                    </a:cubicBezTo>
                    <a:cubicBezTo>
                      <a:pt x="3" y="12"/>
                      <a:pt x="5" y="11"/>
                      <a:pt x="7" y="11"/>
                    </a:cubicBezTo>
                    <a:cubicBezTo>
                      <a:pt x="7" y="11"/>
                      <a:pt x="7" y="11"/>
                      <a:pt x="7" y="11"/>
                    </a:cubicBezTo>
                    <a:cubicBezTo>
                      <a:pt x="7" y="11"/>
                      <a:pt x="7" y="11"/>
                      <a:pt x="7" y="11"/>
                    </a:cubicBezTo>
                    <a:cubicBezTo>
                      <a:pt x="6" y="11"/>
                      <a:pt x="6" y="11"/>
                      <a:pt x="6" y="11"/>
                    </a:cubicBezTo>
                    <a:cubicBezTo>
                      <a:pt x="5" y="12"/>
                      <a:pt x="6" y="12"/>
                      <a:pt x="6" y="13"/>
                    </a:cubicBezTo>
                    <a:cubicBezTo>
                      <a:pt x="6" y="13"/>
                      <a:pt x="6" y="13"/>
                      <a:pt x="6" y="13"/>
                    </a:cubicBezTo>
                    <a:cubicBezTo>
                      <a:pt x="7" y="14"/>
                      <a:pt x="7" y="14"/>
                      <a:pt x="8" y="14"/>
                    </a:cubicBezTo>
                    <a:cubicBezTo>
                      <a:pt x="6" y="15"/>
                      <a:pt x="5" y="14"/>
                      <a:pt x="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9" name="Freeform 1774">
                <a:extLst>
                  <a:ext uri="{FF2B5EF4-FFF2-40B4-BE49-F238E27FC236}">
                    <a16:creationId xmlns:a16="http://schemas.microsoft.com/office/drawing/2014/main" id="{27760BC0-3C94-453B-8A67-9813D3025A32}"/>
                  </a:ext>
                </a:extLst>
              </p:cNvPr>
              <p:cNvSpPr>
                <a:spLocks/>
              </p:cNvSpPr>
              <p:nvPr/>
            </p:nvSpPr>
            <p:spPr bwMode="auto">
              <a:xfrm>
                <a:off x="1582" y="2166"/>
                <a:ext cx="2" cy="5"/>
              </a:xfrm>
              <a:custGeom>
                <a:avLst/>
                <a:gdLst>
                  <a:gd name="T0" fmla="*/ 1 w 1"/>
                  <a:gd name="T1" fmla="*/ 2 h 2"/>
                  <a:gd name="T2" fmla="*/ 1 w 1"/>
                  <a:gd name="T3" fmla="*/ 2 h 2"/>
                  <a:gd name="T4" fmla="*/ 1 w 1"/>
                  <a:gd name="T5" fmla="*/ 1 h 2"/>
                  <a:gd name="T6" fmla="*/ 0 w 1"/>
                  <a:gd name="T7" fmla="*/ 0 h 2"/>
                  <a:gd name="T8" fmla="*/ 1 w 1"/>
                  <a:gd name="T9" fmla="*/ 1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cubicBezTo>
                      <a:pt x="1" y="2"/>
                      <a:pt x="1" y="2"/>
                      <a:pt x="1" y="2"/>
                    </a:cubicBezTo>
                    <a:cubicBezTo>
                      <a:pt x="1" y="2"/>
                      <a:pt x="1" y="2"/>
                      <a:pt x="1" y="1"/>
                    </a:cubicBezTo>
                    <a:cubicBezTo>
                      <a:pt x="1" y="1"/>
                      <a:pt x="1" y="1"/>
                      <a:pt x="0" y="0"/>
                    </a:cubicBezTo>
                    <a:cubicBezTo>
                      <a:pt x="0" y="1"/>
                      <a:pt x="1" y="1"/>
                      <a:pt x="1" y="1"/>
                    </a:cubicBezTo>
                    <a:cubicBezTo>
                      <a:pt x="1" y="1"/>
                      <a:pt x="1"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0" name="Freeform 1775">
                <a:extLst>
                  <a:ext uri="{FF2B5EF4-FFF2-40B4-BE49-F238E27FC236}">
                    <a16:creationId xmlns:a16="http://schemas.microsoft.com/office/drawing/2014/main" id="{3B786A88-10A6-477A-BDD8-EDAA6E848B8E}"/>
                  </a:ext>
                </a:extLst>
              </p:cNvPr>
              <p:cNvSpPr>
                <a:spLocks/>
              </p:cNvSpPr>
              <p:nvPr/>
            </p:nvSpPr>
            <p:spPr bwMode="auto">
              <a:xfrm>
                <a:off x="-442" y="1324"/>
                <a:ext cx="7"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1" name="Freeform 1776">
                <a:extLst>
                  <a:ext uri="{FF2B5EF4-FFF2-40B4-BE49-F238E27FC236}">
                    <a16:creationId xmlns:a16="http://schemas.microsoft.com/office/drawing/2014/main" id="{A53BB075-9B0B-42B6-94FA-0D455EFF783D}"/>
                  </a:ext>
                </a:extLst>
              </p:cNvPr>
              <p:cNvSpPr>
                <a:spLocks/>
              </p:cNvSpPr>
              <p:nvPr/>
            </p:nvSpPr>
            <p:spPr bwMode="auto">
              <a:xfrm>
                <a:off x="-158" y="1191"/>
                <a:ext cx="7" cy="7"/>
              </a:xfrm>
              <a:custGeom>
                <a:avLst/>
                <a:gdLst>
                  <a:gd name="T0" fmla="*/ 3 w 3"/>
                  <a:gd name="T1" fmla="*/ 3 h 3"/>
                  <a:gd name="T2" fmla="*/ 0 w 3"/>
                  <a:gd name="T3" fmla="*/ 0 h 3"/>
                  <a:gd name="T4" fmla="*/ 3 w 3"/>
                  <a:gd name="T5" fmla="*/ 3 h 3"/>
                </a:gdLst>
                <a:ahLst/>
                <a:cxnLst>
                  <a:cxn ang="0">
                    <a:pos x="T0" y="T1"/>
                  </a:cxn>
                  <a:cxn ang="0">
                    <a:pos x="T2" y="T3"/>
                  </a:cxn>
                  <a:cxn ang="0">
                    <a:pos x="T4" y="T5"/>
                  </a:cxn>
                </a:cxnLst>
                <a:rect l="0" t="0" r="r" b="b"/>
                <a:pathLst>
                  <a:path w="3" h="3">
                    <a:moveTo>
                      <a:pt x="3" y="3"/>
                    </a:moveTo>
                    <a:cubicBezTo>
                      <a:pt x="2" y="2"/>
                      <a:pt x="1" y="1"/>
                      <a:pt x="0" y="0"/>
                    </a:cubicBezTo>
                    <a:cubicBezTo>
                      <a:pt x="1" y="2"/>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2" name="Freeform 1777">
                <a:extLst>
                  <a:ext uri="{FF2B5EF4-FFF2-40B4-BE49-F238E27FC236}">
                    <a16:creationId xmlns:a16="http://schemas.microsoft.com/office/drawing/2014/main" id="{8A4B7DD9-18A3-4AA0-A5F0-058D50542820}"/>
                  </a:ext>
                </a:extLst>
              </p:cNvPr>
              <p:cNvSpPr>
                <a:spLocks/>
              </p:cNvSpPr>
              <p:nvPr/>
            </p:nvSpPr>
            <p:spPr bwMode="auto">
              <a:xfrm>
                <a:off x="1343" y="2048"/>
                <a:ext cx="5" cy="2"/>
              </a:xfrm>
              <a:custGeom>
                <a:avLst/>
                <a:gdLst>
                  <a:gd name="T0" fmla="*/ 0 w 2"/>
                  <a:gd name="T1" fmla="*/ 0 h 1"/>
                  <a:gd name="T2" fmla="*/ 0 w 2"/>
                  <a:gd name="T3" fmla="*/ 1 h 1"/>
                  <a:gd name="T4" fmla="*/ 1 w 2"/>
                  <a:gd name="T5" fmla="*/ 1 h 1"/>
                  <a:gd name="T6" fmla="*/ 1 w 2"/>
                  <a:gd name="T7" fmla="*/ 1 h 1"/>
                  <a:gd name="T8" fmla="*/ 2 w 2"/>
                  <a:gd name="T9" fmla="*/ 1 h 1"/>
                  <a:gd name="T10" fmla="*/ 0 w 2"/>
                  <a:gd name="T11" fmla="*/ 0 h 1"/>
                  <a:gd name="T12" fmla="*/ 0 w 2"/>
                  <a:gd name="T13" fmla="*/ 0 h 1"/>
                  <a:gd name="T14" fmla="*/ 0 w 2"/>
                  <a:gd name="T15" fmla="*/ 0 h 1"/>
                  <a:gd name="T16" fmla="*/ 0 w 2"/>
                  <a:gd name="T17" fmla="*/ 0 h 1"/>
                  <a:gd name="T18" fmla="*/ 0 w 2"/>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0" y="0"/>
                    </a:moveTo>
                    <a:cubicBezTo>
                      <a:pt x="0" y="1"/>
                      <a:pt x="0" y="1"/>
                      <a:pt x="0" y="1"/>
                    </a:cubicBezTo>
                    <a:cubicBezTo>
                      <a:pt x="0" y="1"/>
                      <a:pt x="1" y="1"/>
                      <a:pt x="1" y="1"/>
                    </a:cubicBezTo>
                    <a:cubicBezTo>
                      <a:pt x="1" y="1"/>
                      <a:pt x="1" y="1"/>
                      <a:pt x="1" y="1"/>
                    </a:cubicBezTo>
                    <a:cubicBezTo>
                      <a:pt x="1" y="1"/>
                      <a:pt x="2" y="1"/>
                      <a:pt x="2" y="1"/>
                    </a:cubicBezTo>
                    <a:cubicBezTo>
                      <a:pt x="1" y="1"/>
                      <a:pt x="1" y="1"/>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3" name="Freeform 1778">
                <a:extLst>
                  <a:ext uri="{FF2B5EF4-FFF2-40B4-BE49-F238E27FC236}">
                    <a16:creationId xmlns:a16="http://schemas.microsoft.com/office/drawing/2014/main" id="{C470751D-5966-4D4E-9B09-131F8F233E1A}"/>
                  </a:ext>
                </a:extLst>
              </p:cNvPr>
              <p:cNvSpPr>
                <a:spLocks/>
              </p:cNvSpPr>
              <p:nvPr/>
            </p:nvSpPr>
            <p:spPr bwMode="auto">
              <a:xfrm>
                <a:off x="-343" y="1163"/>
                <a:ext cx="12" cy="14"/>
              </a:xfrm>
              <a:custGeom>
                <a:avLst/>
                <a:gdLst>
                  <a:gd name="T0" fmla="*/ 5 w 5"/>
                  <a:gd name="T1" fmla="*/ 0 h 6"/>
                  <a:gd name="T2" fmla="*/ 0 w 5"/>
                  <a:gd name="T3" fmla="*/ 2 h 6"/>
                  <a:gd name="T4" fmla="*/ 5 w 5"/>
                  <a:gd name="T5" fmla="*/ 0 h 6"/>
                </a:gdLst>
                <a:ahLst/>
                <a:cxnLst>
                  <a:cxn ang="0">
                    <a:pos x="T0" y="T1"/>
                  </a:cxn>
                  <a:cxn ang="0">
                    <a:pos x="T2" y="T3"/>
                  </a:cxn>
                  <a:cxn ang="0">
                    <a:pos x="T4" y="T5"/>
                  </a:cxn>
                </a:cxnLst>
                <a:rect l="0" t="0" r="r" b="b"/>
                <a:pathLst>
                  <a:path w="5" h="6">
                    <a:moveTo>
                      <a:pt x="5" y="0"/>
                    </a:moveTo>
                    <a:cubicBezTo>
                      <a:pt x="3" y="1"/>
                      <a:pt x="2" y="1"/>
                      <a:pt x="0" y="2"/>
                    </a:cubicBezTo>
                    <a:cubicBezTo>
                      <a:pt x="1" y="6"/>
                      <a:pt x="4" y="1"/>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4" name="Freeform 1779">
                <a:extLst>
                  <a:ext uri="{FF2B5EF4-FFF2-40B4-BE49-F238E27FC236}">
                    <a16:creationId xmlns:a16="http://schemas.microsoft.com/office/drawing/2014/main" id="{94751CD8-1505-45C1-99D1-C03F5E768442}"/>
                  </a:ext>
                </a:extLst>
              </p:cNvPr>
              <p:cNvSpPr>
                <a:spLocks/>
              </p:cNvSpPr>
              <p:nvPr/>
            </p:nvSpPr>
            <p:spPr bwMode="auto">
              <a:xfrm>
                <a:off x="1206" y="2081"/>
                <a:ext cx="5" cy="4"/>
              </a:xfrm>
              <a:custGeom>
                <a:avLst/>
                <a:gdLst>
                  <a:gd name="T0" fmla="*/ 0 w 2"/>
                  <a:gd name="T1" fmla="*/ 2 h 2"/>
                  <a:gd name="T2" fmla="*/ 2 w 2"/>
                  <a:gd name="T3" fmla="*/ 0 h 2"/>
                  <a:gd name="T4" fmla="*/ 1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0" y="2"/>
                      <a:pt x="1" y="1"/>
                      <a:pt x="2" y="0"/>
                    </a:cubicBezTo>
                    <a:cubicBezTo>
                      <a:pt x="1" y="0"/>
                      <a:pt x="1" y="0"/>
                      <a:pt x="1"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5" name="Freeform 1780">
                <a:extLst>
                  <a:ext uri="{FF2B5EF4-FFF2-40B4-BE49-F238E27FC236}">
                    <a16:creationId xmlns:a16="http://schemas.microsoft.com/office/drawing/2014/main" id="{AED3EAA8-D108-4B99-8DEE-60E798ACA04D}"/>
                  </a:ext>
                </a:extLst>
              </p:cNvPr>
              <p:cNvSpPr>
                <a:spLocks/>
              </p:cNvSpPr>
              <p:nvPr/>
            </p:nvSpPr>
            <p:spPr bwMode="auto">
              <a:xfrm>
                <a:off x="336" y="1243"/>
                <a:ext cx="9" cy="10"/>
              </a:xfrm>
              <a:custGeom>
                <a:avLst/>
                <a:gdLst>
                  <a:gd name="T0" fmla="*/ 3 w 4"/>
                  <a:gd name="T1" fmla="*/ 1 h 4"/>
                  <a:gd name="T2" fmla="*/ 1 w 4"/>
                  <a:gd name="T3" fmla="*/ 1 h 4"/>
                  <a:gd name="T4" fmla="*/ 0 w 4"/>
                  <a:gd name="T5" fmla="*/ 3 h 4"/>
                  <a:gd name="T6" fmla="*/ 3 w 4"/>
                  <a:gd name="T7" fmla="*/ 4 h 4"/>
                  <a:gd name="T8" fmla="*/ 3 w 4"/>
                  <a:gd name="T9" fmla="*/ 1 h 4"/>
                </a:gdLst>
                <a:ahLst/>
                <a:cxnLst>
                  <a:cxn ang="0">
                    <a:pos x="T0" y="T1"/>
                  </a:cxn>
                  <a:cxn ang="0">
                    <a:pos x="T2" y="T3"/>
                  </a:cxn>
                  <a:cxn ang="0">
                    <a:pos x="T4" y="T5"/>
                  </a:cxn>
                  <a:cxn ang="0">
                    <a:pos x="T6" y="T7"/>
                  </a:cxn>
                  <a:cxn ang="0">
                    <a:pos x="T8" y="T9"/>
                  </a:cxn>
                </a:cxnLst>
                <a:rect l="0" t="0" r="r" b="b"/>
                <a:pathLst>
                  <a:path w="4" h="4">
                    <a:moveTo>
                      <a:pt x="3" y="1"/>
                    </a:moveTo>
                    <a:cubicBezTo>
                      <a:pt x="2" y="1"/>
                      <a:pt x="2" y="0"/>
                      <a:pt x="1" y="1"/>
                    </a:cubicBezTo>
                    <a:cubicBezTo>
                      <a:pt x="0" y="1"/>
                      <a:pt x="0" y="2"/>
                      <a:pt x="0" y="3"/>
                    </a:cubicBezTo>
                    <a:cubicBezTo>
                      <a:pt x="1" y="3"/>
                      <a:pt x="2" y="4"/>
                      <a:pt x="3" y="4"/>
                    </a:cubicBezTo>
                    <a:cubicBezTo>
                      <a:pt x="4" y="4"/>
                      <a:pt x="4"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6" name="Freeform 1781">
                <a:extLst>
                  <a:ext uri="{FF2B5EF4-FFF2-40B4-BE49-F238E27FC236}">
                    <a16:creationId xmlns:a16="http://schemas.microsoft.com/office/drawing/2014/main" id="{AA1F0809-6F23-4DFD-BA1D-F5030ABADD57}"/>
                  </a:ext>
                </a:extLst>
              </p:cNvPr>
              <p:cNvSpPr>
                <a:spLocks/>
              </p:cNvSpPr>
              <p:nvPr/>
            </p:nvSpPr>
            <p:spPr bwMode="auto">
              <a:xfrm>
                <a:off x="1480" y="1589"/>
                <a:ext cx="5" cy="2"/>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7" name="Freeform 1782">
                <a:extLst>
                  <a:ext uri="{FF2B5EF4-FFF2-40B4-BE49-F238E27FC236}">
                    <a16:creationId xmlns:a16="http://schemas.microsoft.com/office/drawing/2014/main" id="{FF3037E1-291D-4074-8436-D22293144DC4}"/>
                  </a:ext>
                </a:extLst>
              </p:cNvPr>
              <p:cNvSpPr>
                <a:spLocks/>
              </p:cNvSpPr>
              <p:nvPr/>
            </p:nvSpPr>
            <p:spPr bwMode="auto">
              <a:xfrm>
                <a:off x="-373" y="1295"/>
                <a:ext cx="4" cy="7"/>
              </a:xfrm>
              <a:custGeom>
                <a:avLst/>
                <a:gdLst>
                  <a:gd name="T0" fmla="*/ 0 w 2"/>
                  <a:gd name="T1" fmla="*/ 1 h 3"/>
                  <a:gd name="T2" fmla="*/ 2 w 2"/>
                  <a:gd name="T3" fmla="*/ 0 h 3"/>
                  <a:gd name="T4" fmla="*/ 0 w 2"/>
                  <a:gd name="T5" fmla="*/ 1 h 3"/>
                </a:gdLst>
                <a:ahLst/>
                <a:cxnLst>
                  <a:cxn ang="0">
                    <a:pos x="T0" y="T1"/>
                  </a:cxn>
                  <a:cxn ang="0">
                    <a:pos x="T2" y="T3"/>
                  </a:cxn>
                  <a:cxn ang="0">
                    <a:pos x="T4" y="T5"/>
                  </a:cxn>
                </a:cxnLst>
                <a:rect l="0" t="0" r="r" b="b"/>
                <a:pathLst>
                  <a:path w="2" h="3">
                    <a:moveTo>
                      <a:pt x="0" y="1"/>
                    </a:moveTo>
                    <a:cubicBezTo>
                      <a:pt x="0" y="3"/>
                      <a:pt x="2" y="1"/>
                      <a:pt x="2"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8" name="Freeform 1783">
                <a:extLst>
                  <a:ext uri="{FF2B5EF4-FFF2-40B4-BE49-F238E27FC236}">
                    <a16:creationId xmlns:a16="http://schemas.microsoft.com/office/drawing/2014/main" id="{2B28D3C1-2BA6-4227-BD59-E4F1B9E58EDC}"/>
                  </a:ext>
                </a:extLst>
              </p:cNvPr>
              <p:cNvSpPr>
                <a:spLocks/>
              </p:cNvSpPr>
              <p:nvPr/>
            </p:nvSpPr>
            <p:spPr bwMode="auto">
              <a:xfrm>
                <a:off x="-307" y="1286"/>
                <a:ext cx="5" cy="7"/>
              </a:xfrm>
              <a:custGeom>
                <a:avLst/>
                <a:gdLst>
                  <a:gd name="T0" fmla="*/ 1 w 2"/>
                  <a:gd name="T1" fmla="*/ 3 h 3"/>
                  <a:gd name="T2" fmla="*/ 2 w 2"/>
                  <a:gd name="T3" fmla="*/ 0 h 3"/>
                  <a:gd name="T4" fmla="*/ 1 w 2"/>
                  <a:gd name="T5" fmla="*/ 2 h 3"/>
                  <a:gd name="T6" fmla="*/ 0 w 2"/>
                  <a:gd name="T7" fmla="*/ 2 h 3"/>
                  <a:gd name="T8" fmla="*/ 1 w 2"/>
                  <a:gd name="T9" fmla="*/ 3 h 3"/>
                </a:gdLst>
                <a:ahLst/>
                <a:cxnLst>
                  <a:cxn ang="0">
                    <a:pos x="T0" y="T1"/>
                  </a:cxn>
                  <a:cxn ang="0">
                    <a:pos x="T2" y="T3"/>
                  </a:cxn>
                  <a:cxn ang="0">
                    <a:pos x="T4" y="T5"/>
                  </a:cxn>
                  <a:cxn ang="0">
                    <a:pos x="T6" y="T7"/>
                  </a:cxn>
                  <a:cxn ang="0">
                    <a:pos x="T8" y="T9"/>
                  </a:cxn>
                </a:cxnLst>
                <a:rect l="0" t="0" r="r" b="b"/>
                <a:pathLst>
                  <a:path w="2" h="3">
                    <a:moveTo>
                      <a:pt x="1" y="3"/>
                    </a:moveTo>
                    <a:cubicBezTo>
                      <a:pt x="2" y="3"/>
                      <a:pt x="2" y="1"/>
                      <a:pt x="2" y="0"/>
                    </a:cubicBezTo>
                    <a:cubicBezTo>
                      <a:pt x="1" y="1"/>
                      <a:pt x="0" y="1"/>
                      <a:pt x="1" y="2"/>
                    </a:cubicBezTo>
                    <a:cubicBezTo>
                      <a:pt x="1" y="2"/>
                      <a:pt x="0" y="2"/>
                      <a:pt x="0" y="2"/>
                    </a:cubicBezTo>
                    <a:cubicBezTo>
                      <a:pt x="0" y="2"/>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640" name="Group 1985">
              <a:extLst>
                <a:ext uri="{FF2B5EF4-FFF2-40B4-BE49-F238E27FC236}">
                  <a16:creationId xmlns:a16="http://schemas.microsoft.com/office/drawing/2014/main" id="{0DD5DE52-EDAF-43F4-A082-94C60167FDEA}"/>
                </a:ext>
              </a:extLst>
            </p:cNvPr>
            <p:cNvGrpSpPr>
              <a:grpSpLocks/>
            </p:cNvGrpSpPr>
            <p:nvPr/>
          </p:nvGrpSpPr>
          <p:grpSpPr bwMode="auto">
            <a:xfrm>
              <a:off x="-454" y="29"/>
              <a:ext cx="3717" cy="4262"/>
              <a:chOff x="-454" y="29"/>
              <a:chExt cx="3717" cy="4262"/>
            </a:xfrm>
            <a:grpFill/>
          </p:grpSpPr>
          <p:sp>
            <p:nvSpPr>
              <p:cNvPr id="2869" name="Freeform 1785">
                <a:extLst>
                  <a:ext uri="{FF2B5EF4-FFF2-40B4-BE49-F238E27FC236}">
                    <a16:creationId xmlns:a16="http://schemas.microsoft.com/office/drawing/2014/main" id="{D07EC805-DA49-4747-8827-ECD6591CD25C}"/>
                  </a:ext>
                </a:extLst>
              </p:cNvPr>
              <p:cNvSpPr>
                <a:spLocks/>
              </p:cNvSpPr>
              <p:nvPr/>
            </p:nvSpPr>
            <p:spPr bwMode="auto">
              <a:xfrm>
                <a:off x="1393" y="1515"/>
                <a:ext cx="19" cy="7"/>
              </a:xfrm>
              <a:custGeom>
                <a:avLst/>
                <a:gdLst>
                  <a:gd name="T0" fmla="*/ 1 w 8"/>
                  <a:gd name="T1" fmla="*/ 3 h 3"/>
                  <a:gd name="T2" fmla="*/ 8 w 8"/>
                  <a:gd name="T3" fmla="*/ 0 h 3"/>
                  <a:gd name="T4" fmla="*/ 1 w 8"/>
                  <a:gd name="T5" fmla="*/ 3 h 3"/>
                </a:gdLst>
                <a:ahLst/>
                <a:cxnLst>
                  <a:cxn ang="0">
                    <a:pos x="T0" y="T1"/>
                  </a:cxn>
                  <a:cxn ang="0">
                    <a:pos x="T2" y="T3"/>
                  </a:cxn>
                  <a:cxn ang="0">
                    <a:pos x="T4" y="T5"/>
                  </a:cxn>
                </a:cxnLst>
                <a:rect l="0" t="0" r="r" b="b"/>
                <a:pathLst>
                  <a:path w="8" h="3">
                    <a:moveTo>
                      <a:pt x="1" y="3"/>
                    </a:moveTo>
                    <a:cubicBezTo>
                      <a:pt x="3" y="2"/>
                      <a:pt x="6" y="1"/>
                      <a:pt x="8" y="0"/>
                    </a:cubicBezTo>
                    <a:cubicBezTo>
                      <a:pt x="7" y="0"/>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0" name="Freeform 1786">
                <a:extLst>
                  <a:ext uri="{FF2B5EF4-FFF2-40B4-BE49-F238E27FC236}">
                    <a16:creationId xmlns:a16="http://schemas.microsoft.com/office/drawing/2014/main" id="{6B8CD876-0AF9-4707-85B0-50A98B7CA1D4}"/>
                  </a:ext>
                </a:extLst>
              </p:cNvPr>
              <p:cNvSpPr>
                <a:spLocks/>
              </p:cNvSpPr>
              <p:nvPr/>
            </p:nvSpPr>
            <p:spPr bwMode="auto">
              <a:xfrm>
                <a:off x="-454" y="1316"/>
                <a:ext cx="7" cy="8"/>
              </a:xfrm>
              <a:custGeom>
                <a:avLst/>
                <a:gdLst>
                  <a:gd name="T0" fmla="*/ 2 w 3"/>
                  <a:gd name="T1" fmla="*/ 1 h 3"/>
                  <a:gd name="T2" fmla="*/ 2 w 3"/>
                  <a:gd name="T3" fmla="*/ 3 h 3"/>
                  <a:gd name="T4" fmla="*/ 3 w 3"/>
                  <a:gd name="T5" fmla="*/ 2 h 3"/>
                  <a:gd name="T6" fmla="*/ 2 w 3"/>
                  <a:gd name="T7" fmla="*/ 1 h 3"/>
                </a:gdLst>
                <a:ahLst/>
                <a:cxnLst>
                  <a:cxn ang="0">
                    <a:pos x="T0" y="T1"/>
                  </a:cxn>
                  <a:cxn ang="0">
                    <a:pos x="T2" y="T3"/>
                  </a:cxn>
                  <a:cxn ang="0">
                    <a:pos x="T4" y="T5"/>
                  </a:cxn>
                  <a:cxn ang="0">
                    <a:pos x="T6" y="T7"/>
                  </a:cxn>
                </a:cxnLst>
                <a:rect l="0" t="0" r="r" b="b"/>
                <a:pathLst>
                  <a:path w="3" h="3">
                    <a:moveTo>
                      <a:pt x="2" y="1"/>
                    </a:moveTo>
                    <a:cubicBezTo>
                      <a:pt x="0" y="0"/>
                      <a:pt x="1" y="2"/>
                      <a:pt x="2" y="3"/>
                    </a:cubicBezTo>
                    <a:cubicBezTo>
                      <a:pt x="2" y="3"/>
                      <a:pt x="3" y="2"/>
                      <a:pt x="3" y="2"/>
                    </a:cubicBezTo>
                    <a:cubicBezTo>
                      <a:pt x="3" y="2"/>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1" name="Freeform 1787">
                <a:extLst>
                  <a:ext uri="{FF2B5EF4-FFF2-40B4-BE49-F238E27FC236}">
                    <a16:creationId xmlns:a16="http://schemas.microsoft.com/office/drawing/2014/main" id="{C87496DE-E607-4EF9-9EE2-36861504E906}"/>
                  </a:ext>
                </a:extLst>
              </p:cNvPr>
              <p:cNvSpPr>
                <a:spLocks/>
              </p:cNvSpPr>
              <p:nvPr/>
            </p:nvSpPr>
            <p:spPr bwMode="auto">
              <a:xfrm>
                <a:off x="-432" y="1290"/>
                <a:ext cx="42" cy="24"/>
              </a:xfrm>
              <a:custGeom>
                <a:avLst/>
                <a:gdLst>
                  <a:gd name="T0" fmla="*/ 17 w 18"/>
                  <a:gd name="T1" fmla="*/ 5 h 10"/>
                  <a:gd name="T2" fmla="*/ 15 w 18"/>
                  <a:gd name="T3" fmla="*/ 4 h 10"/>
                  <a:gd name="T4" fmla="*/ 14 w 18"/>
                  <a:gd name="T5" fmla="*/ 1 h 10"/>
                  <a:gd name="T6" fmla="*/ 9 w 18"/>
                  <a:gd name="T7" fmla="*/ 2 h 10"/>
                  <a:gd name="T8" fmla="*/ 3 w 18"/>
                  <a:gd name="T9" fmla="*/ 4 h 10"/>
                  <a:gd name="T10" fmla="*/ 0 w 18"/>
                  <a:gd name="T11" fmla="*/ 7 h 10"/>
                  <a:gd name="T12" fmla="*/ 3 w 18"/>
                  <a:gd name="T13" fmla="*/ 10 h 10"/>
                  <a:gd name="T14" fmla="*/ 5 w 18"/>
                  <a:gd name="T15" fmla="*/ 9 h 10"/>
                  <a:gd name="T16" fmla="*/ 6 w 18"/>
                  <a:gd name="T17" fmla="*/ 8 h 10"/>
                  <a:gd name="T18" fmla="*/ 8 w 18"/>
                  <a:gd name="T19" fmla="*/ 8 h 10"/>
                  <a:gd name="T20" fmla="*/ 12 w 18"/>
                  <a:gd name="T21" fmla="*/ 7 h 10"/>
                  <a:gd name="T22" fmla="*/ 15 w 18"/>
                  <a:gd name="T23" fmla="*/ 6 h 10"/>
                  <a:gd name="T24" fmla="*/ 18 w 18"/>
                  <a:gd name="T25" fmla="*/ 6 h 10"/>
                  <a:gd name="T26" fmla="*/ 17 w 18"/>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0">
                    <a:moveTo>
                      <a:pt x="17" y="5"/>
                    </a:moveTo>
                    <a:cubicBezTo>
                      <a:pt x="16" y="5"/>
                      <a:pt x="15" y="5"/>
                      <a:pt x="15" y="4"/>
                    </a:cubicBezTo>
                    <a:cubicBezTo>
                      <a:pt x="14" y="3"/>
                      <a:pt x="14" y="2"/>
                      <a:pt x="14" y="1"/>
                    </a:cubicBezTo>
                    <a:cubicBezTo>
                      <a:pt x="13" y="0"/>
                      <a:pt x="10" y="1"/>
                      <a:pt x="9" y="2"/>
                    </a:cubicBezTo>
                    <a:cubicBezTo>
                      <a:pt x="7" y="3"/>
                      <a:pt x="4" y="2"/>
                      <a:pt x="3" y="4"/>
                    </a:cubicBezTo>
                    <a:cubicBezTo>
                      <a:pt x="2" y="5"/>
                      <a:pt x="1" y="6"/>
                      <a:pt x="0" y="7"/>
                    </a:cubicBezTo>
                    <a:cubicBezTo>
                      <a:pt x="0" y="10"/>
                      <a:pt x="0" y="10"/>
                      <a:pt x="3" y="10"/>
                    </a:cubicBezTo>
                    <a:cubicBezTo>
                      <a:pt x="4" y="10"/>
                      <a:pt x="4" y="10"/>
                      <a:pt x="5" y="9"/>
                    </a:cubicBezTo>
                    <a:cubicBezTo>
                      <a:pt x="6" y="9"/>
                      <a:pt x="5" y="8"/>
                      <a:pt x="6" y="8"/>
                    </a:cubicBezTo>
                    <a:cubicBezTo>
                      <a:pt x="6" y="8"/>
                      <a:pt x="7" y="8"/>
                      <a:pt x="8" y="8"/>
                    </a:cubicBezTo>
                    <a:cubicBezTo>
                      <a:pt x="9" y="8"/>
                      <a:pt x="11" y="7"/>
                      <a:pt x="12" y="7"/>
                    </a:cubicBezTo>
                    <a:cubicBezTo>
                      <a:pt x="13" y="7"/>
                      <a:pt x="14" y="6"/>
                      <a:pt x="15" y="6"/>
                    </a:cubicBezTo>
                    <a:cubicBezTo>
                      <a:pt x="16" y="5"/>
                      <a:pt x="17" y="6"/>
                      <a:pt x="18" y="6"/>
                    </a:cubicBezTo>
                    <a:cubicBezTo>
                      <a:pt x="18" y="6"/>
                      <a:pt x="18" y="5"/>
                      <a:pt x="1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2" name="Freeform 1788">
                <a:extLst>
                  <a:ext uri="{FF2B5EF4-FFF2-40B4-BE49-F238E27FC236}">
                    <a16:creationId xmlns:a16="http://schemas.microsoft.com/office/drawing/2014/main" id="{18C6DF6F-B738-464E-ABB3-C352355D46D6}"/>
                  </a:ext>
                </a:extLst>
              </p:cNvPr>
              <p:cNvSpPr>
                <a:spLocks/>
              </p:cNvSpPr>
              <p:nvPr/>
            </p:nvSpPr>
            <p:spPr bwMode="auto">
              <a:xfrm>
                <a:off x="331" y="1286"/>
                <a:ext cx="14" cy="19"/>
              </a:xfrm>
              <a:custGeom>
                <a:avLst/>
                <a:gdLst>
                  <a:gd name="T0" fmla="*/ 2 w 6"/>
                  <a:gd name="T1" fmla="*/ 5 h 8"/>
                  <a:gd name="T2" fmla="*/ 1 w 6"/>
                  <a:gd name="T3" fmla="*/ 5 h 8"/>
                  <a:gd name="T4" fmla="*/ 3 w 6"/>
                  <a:gd name="T5" fmla="*/ 6 h 8"/>
                  <a:gd name="T6" fmla="*/ 4 w 6"/>
                  <a:gd name="T7" fmla="*/ 7 h 8"/>
                  <a:gd name="T8" fmla="*/ 6 w 6"/>
                  <a:gd name="T9" fmla="*/ 8 h 8"/>
                  <a:gd name="T10" fmla="*/ 1 w 6"/>
                  <a:gd name="T11" fmla="*/ 0 h 8"/>
                  <a:gd name="T12" fmla="*/ 0 w 6"/>
                  <a:gd name="T13" fmla="*/ 3 h 8"/>
                  <a:gd name="T14" fmla="*/ 2 w 6"/>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2" y="5"/>
                    </a:moveTo>
                    <a:cubicBezTo>
                      <a:pt x="2" y="5"/>
                      <a:pt x="2" y="5"/>
                      <a:pt x="1" y="5"/>
                    </a:cubicBezTo>
                    <a:cubicBezTo>
                      <a:pt x="2" y="5"/>
                      <a:pt x="2" y="6"/>
                      <a:pt x="3" y="6"/>
                    </a:cubicBezTo>
                    <a:cubicBezTo>
                      <a:pt x="3" y="6"/>
                      <a:pt x="4" y="7"/>
                      <a:pt x="4" y="7"/>
                    </a:cubicBezTo>
                    <a:cubicBezTo>
                      <a:pt x="4" y="8"/>
                      <a:pt x="5" y="8"/>
                      <a:pt x="6" y="8"/>
                    </a:cubicBezTo>
                    <a:cubicBezTo>
                      <a:pt x="4" y="5"/>
                      <a:pt x="3" y="3"/>
                      <a:pt x="1" y="0"/>
                    </a:cubicBezTo>
                    <a:cubicBezTo>
                      <a:pt x="0" y="1"/>
                      <a:pt x="0" y="2"/>
                      <a:pt x="0" y="3"/>
                    </a:cubicBezTo>
                    <a:cubicBezTo>
                      <a:pt x="1" y="3"/>
                      <a:pt x="1"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3" name="Freeform 1789">
                <a:extLst>
                  <a:ext uri="{FF2B5EF4-FFF2-40B4-BE49-F238E27FC236}">
                    <a16:creationId xmlns:a16="http://schemas.microsoft.com/office/drawing/2014/main" id="{418D6994-AF1A-4B6A-A6D9-023B82D1C385}"/>
                  </a:ext>
                </a:extLst>
              </p:cNvPr>
              <p:cNvSpPr>
                <a:spLocks/>
              </p:cNvSpPr>
              <p:nvPr/>
            </p:nvSpPr>
            <p:spPr bwMode="auto">
              <a:xfrm>
                <a:off x="369" y="1283"/>
                <a:ext cx="7" cy="12"/>
              </a:xfrm>
              <a:custGeom>
                <a:avLst/>
                <a:gdLst>
                  <a:gd name="T0" fmla="*/ 1 w 3"/>
                  <a:gd name="T1" fmla="*/ 5 h 5"/>
                  <a:gd name="T2" fmla="*/ 3 w 3"/>
                  <a:gd name="T3" fmla="*/ 4 h 5"/>
                  <a:gd name="T4" fmla="*/ 2 w 3"/>
                  <a:gd name="T5" fmla="*/ 1 h 5"/>
                  <a:gd name="T6" fmla="*/ 1 w 3"/>
                  <a:gd name="T7" fmla="*/ 3 h 5"/>
                  <a:gd name="T8" fmla="*/ 1 w 3"/>
                  <a:gd name="T9" fmla="*/ 5 h 5"/>
                </a:gdLst>
                <a:ahLst/>
                <a:cxnLst>
                  <a:cxn ang="0">
                    <a:pos x="T0" y="T1"/>
                  </a:cxn>
                  <a:cxn ang="0">
                    <a:pos x="T2" y="T3"/>
                  </a:cxn>
                  <a:cxn ang="0">
                    <a:pos x="T4" y="T5"/>
                  </a:cxn>
                  <a:cxn ang="0">
                    <a:pos x="T6" y="T7"/>
                  </a:cxn>
                  <a:cxn ang="0">
                    <a:pos x="T8" y="T9"/>
                  </a:cxn>
                </a:cxnLst>
                <a:rect l="0" t="0" r="r" b="b"/>
                <a:pathLst>
                  <a:path w="3" h="5">
                    <a:moveTo>
                      <a:pt x="1" y="5"/>
                    </a:moveTo>
                    <a:cubicBezTo>
                      <a:pt x="1" y="5"/>
                      <a:pt x="3" y="5"/>
                      <a:pt x="3" y="4"/>
                    </a:cubicBezTo>
                    <a:cubicBezTo>
                      <a:pt x="3" y="4"/>
                      <a:pt x="2" y="2"/>
                      <a:pt x="2" y="1"/>
                    </a:cubicBezTo>
                    <a:cubicBezTo>
                      <a:pt x="0" y="0"/>
                      <a:pt x="1" y="2"/>
                      <a:pt x="1" y="3"/>
                    </a:cubicBezTo>
                    <a:cubicBezTo>
                      <a:pt x="1" y="3"/>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4" name="Freeform 1790">
                <a:extLst>
                  <a:ext uri="{FF2B5EF4-FFF2-40B4-BE49-F238E27FC236}">
                    <a16:creationId xmlns:a16="http://schemas.microsoft.com/office/drawing/2014/main" id="{26303794-416C-4E67-BB7A-D1C64165E1E2}"/>
                  </a:ext>
                </a:extLst>
              </p:cNvPr>
              <p:cNvSpPr>
                <a:spLocks/>
              </p:cNvSpPr>
              <p:nvPr/>
            </p:nvSpPr>
            <p:spPr bwMode="auto">
              <a:xfrm>
                <a:off x="364" y="1281"/>
                <a:ext cx="8" cy="9"/>
              </a:xfrm>
              <a:custGeom>
                <a:avLst/>
                <a:gdLst>
                  <a:gd name="T0" fmla="*/ 1 w 3"/>
                  <a:gd name="T1" fmla="*/ 4 h 4"/>
                  <a:gd name="T2" fmla="*/ 2 w 3"/>
                  <a:gd name="T3" fmla="*/ 1 h 4"/>
                  <a:gd name="T4" fmla="*/ 3 w 3"/>
                  <a:gd name="T5" fmla="*/ 2 h 4"/>
                  <a:gd name="T6" fmla="*/ 0 w 3"/>
                  <a:gd name="T7" fmla="*/ 0 h 4"/>
                  <a:gd name="T8" fmla="*/ 1 w 3"/>
                  <a:gd name="T9" fmla="*/ 4 h 4"/>
                </a:gdLst>
                <a:ahLst/>
                <a:cxnLst>
                  <a:cxn ang="0">
                    <a:pos x="T0" y="T1"/>
                  </a:cxn>
                  <a:cxn ang="0">
                    <a:pos x="T2" y="T3"/>
                  </a:cxn>
                  <a:cxn ang="0">
                    <a:pos x="T4" y="T5"/>
                  </a:cxn>
                  <a:cxn ang="0">
                    <a:pos x="T6" y="T7"/>
                  </a:cxn>
                  <a:cxn ang="0">
                    <a:pos x="T8" y="T9"/>
                  </a:cxn>
                </a:cxnLst>
                <a:rect l="0" t="0" r="r" b="b"/>
                <a:pathLst>
                  <a:path w="3" h="4">
                    <a:moveTo>
                      <a:pt x="1" y="4"/>
                    </a:moveTo>
                    <a:cubicBezTo>
                      <a:pt x="2" y="3"/>
                      <a:pt x="2" y="2"/>
                      <a:pt x="2" y="1"/>
                    </a:cubicBezTo>
                    <a:cubicBezTo>
                      <a:pt x="2" y="1"/>
                      <a:pt x="3" y="2"/>
                      <a:pt x="3" y="2"/>
                    </a:cubicBezTo>
                    <a:cubicBezTo>
                      <a:pt x="2" y="1"/>
                      <a:pt x="1" y="0"/>
                      <a:pt x="0" y="0"/>
                    </a:cubicBezTo>
                    <a:cubicBezTo>
                      <a:pt x="0" y="1"/>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5" name="Freeform 1791">
                <a:extLst>
                  <a:ext uri="{FF2B5EF4-FFF2-40B4-BE49-F238E27FC236}">
                    <a16:creationId xmlns:a16="http://schemas.microsoft.com/office/drawing/2014/main" id="{5E5D39FA-6843-474C-AF2B-0992626D1896}"/>
                  </a:ext>
                </a:extLst>
              </p:cNvPr>
              <p:cNvSpPr>
                <a:spLocks/>
              </p:cNvSpPr>
              <p:nvPr/>
            </p:nvSpPr>
            <p:spPr bwMode="auto">
              <a:xfrm>
                <a:off x="2053" y="2514"/>
                <a:ext cx="26" cy="19"/>
              </a:xfrm>
              <a:custGeom>
                <a:avLst/>
                <a:gdLst>
                  <a:gd name="T0" fmla="*/ 8 w 11"/>
                  <a:gd name="T1" fmla="*/ 1 h 8"/>
                  <a:gd name="T2" fmla="*/ 3 w 11"/>
                  <a:gd name="T3" fmla="*/ 2 h 8"/>
                  <a:gd name="T4" fmla="*/ 5 w 11"/>
                  <a:gd name="T5" fmla="*/ 4 h 8"/>
                  <a:gd name="T6" fmla="*/ 5 w 11"/>
                  <a:gd name="T7" fmla="*/ 6 h 8"/>
                  <a:gd name="T8" fmla="*/ 3 w 11"/>
                  <a:gd name="T9" fmla="*/ 7 h 8"/>
                  <a:gd name="T10" fmla="*/ 0 w 11"/>
                  <a:gd name="T11" fmla="*/ 8 h 8"/>
                  <a:gd name="T12" fmla="*/ 5 w 11"/>
                  <a:gd name="T13" fmla="*/ 8 h 8"/>
                  <a:gd name="T14" fmla="*/ 9 w 11"/>
                  <a:gd name="T15" fmla="*/ 8 h 8"/>
                  <a:gd name="T16" fmla="*/ 9 w 11"/>
                  <a:gd name="T17" fmla="*/ 4 h 8"/>
                  <a:gd name="T18" fmla="*/ 11 w 11"/>
                  <a:gd name="T19" fmla="*/ 0 h 8"/>
                  <a:gd name="T20" fmla="*/ 8 w 11"/>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8">
                    <a:moveTo>
                      <a:pt x="8" y="1"/>
                    </a:moveTo>
                    <a:cubicBezTo>
                      <a:pt x="6" y="1"/>
                      <a:pt x="5" y="1"/>
                      <a:pt x="3" y="2"/>
                    </a:cubicBezTo>
                    <a:cubicBezTo>
                      <a:pt x="5" y="2"/>
                      <a:pt x="5" y="2"/>
                      <a:pt x="5" y="4"/>
                    </a:cubicBezTo>
                    <a:cubicBezTo>
                      <a:pt x="5" y="5"/>
                      <a:pt x="5" y="6"/>
                      <a:pt x="5" y="6"/>
                    </a:cubicBezTo>
                    <a:cubicBezTo>
                      <a:pt x="5" y="7"/>
                      <a:pt x="4" y="7"/>
                      <a:pt x="3" y="7"/>
                    </a:cubicBezTo>
                    <a:cubicBezTo>
                      <a:pt x="2" y="7"/>
                      <a:pt x="1" y="8"/>
                      <a:pt x="0" y="8"/>
                    </a:cubicBezTo>
                    <a:cubicBezTo>
                      <a:pt x="2" y="8"/>
                      <a:pt x="3" y="8"/>
                      <a:pt x="5" y="8"/>
                    </a:cubicBezTo>
                    <a:cubicBezTo>
                      <a:pt x="6" y="8"/>
                      <a:pt x="7" y="8"/>
                      <a:pt x="9" y="8"/>
                    </a:cubicBezTo>
                    <a:cubicBezTo>
                      <a:pt x="10" y="7"/>
                      <a:pt x="10" y="5"/>
                      <a:pt x="9" y="4"/>
                    </a:cubicBezTo>
                    <a:cubicBezTo>
                      <a:pt x="9" y="3"/>
                      <a:pt x="10" y="2"/>
                      <a:pt x="11" y="0"/>
                    </a:cubicBezTo>
                    <a:cubicBezTo>
                      <a:pt x="10" y="0"/>
                      <a:pt x="9"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6" name="Freeform 1792">
                <a:extLst>
                  <a:ext uri="{FF2B5EF4-FFF2-40B4-BE49-F238E27FC236}">
                    <a16:creationId xmlns:a16="http://schemas.microsoft.com/office/drawing/2014/main" id="{BFEB07DC-B276-4CA9-A0FB-D8690A15EF04}"/>
                  </a:ext>
                </a:extLst>
              </p:cNvPr>
              <p:cNvSpPr>
                <a:spLocks/>
              </p:cNvSpPr>
              <p:nvPr/>
            </p:nvSpPr>
            <p:spPr bwMode="auto">
              <a:xfrm>
                <a:off x="1573" y="2592"/>
                <a:ext cx="4" cy="9"/>
              </a:xfrm>
              <a:custGeom>
                <a:avLst/>
                <a:gdLst>
                  <a:gd name="T0" fmla="*/ 0 w 2"/>
                  <a:gd name="T1" fmla="*/ 1 h 4"/>
                  <a:gd name="T2" fmla="*/ 2 w 2"/>
                  <a:gd name="T3" fmla="*/ 3 h 4"/>
                  <a:gd name="T4" fmla="*/ 1 w 2"/>
                  <a:gd name="T5" fmla="*/ 0 h 4"/>
                  <a:gd name="T6" fmla="*/ 0 w 2"/>
                  <a:gd name="T7" fmla="*/ 1 h 4"/>
                </a:gdLst>
                <a:ahLst/>
                <a:cxnLst>
                  <a:cxn ang="0">
                    <a:pos x="T0" y="T1"/>
                  </a:cxn>
                  <a:cxn ang="0">
                    <a:pos x="T2" y="T3"/>
                  </a:cxn>
                  <a:cxn ang="0">
                    <a:pos x="T4" y="T5"/>
                  </a:cxn>
                  <a:cxn ang="0">
                    <a:pos x="T6" y="T7"/>
                  </a:cxn>
                </a:cxnLst>
                <a:rect l="0" t="0" r="r" b="b"/>
                <a:pathLst>
                  <a:path w="2" h="4">
                    <a:moveTo>
                      <a:pt x="0" y="1"/>
                    </a:moveTo>
                    <a:cubicBezTo>
                      <a:pt x="0" y="3"/>
                      <a:pt x="1" y="4"/>
                      <a:pt x="2" y="3"/>
                    </a:cubicBezTo>
                    <a:cubicBezTo>
                      <a:pt x="2" y="2"/>
                      <a:pt x="1" y="1"/>
                      <a:pt x="1"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7" name="Freeform 1793">
                <a:extLst>
                  <a:ext uri="{FF2B5EF4-FFF2-40B4-BE49-F238E27FC236}">
                    <a16:creationId xmlns:a16="http://schemas.microsoft.com/office/drawing/2014/main" id="{9E4A1001-92F4-427F-B90C-FF089CDEAECD}"/>
                  </a:ext>
                </a:extLst>
              </p:cNvPr>
              <p:cNvSpPr>
                <a:spLocks/>
              </p:cNvSpPr>
              <p:nvPr/>
            </p:nvSpPr>
            <p:spPr bwMode="auto">
              <a:xfrm>
                <a:off x="1591" y="25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8" name="Freeform 1794">
                <a:extLst>
                  <a:ext uri="{FF2B5EF4-FFF2-40B4-BE49-F238E27FC236}">
                    <a16:creationId xmlns:a16="http://schemas.microsoft.com/office/drawing/2014/main" id="{2368BEA8-46F6-41A3-8F85-04DCDAC1B355}"/>
                  </a:ext>
                </a:extLst>
              </p:cNvPr>
              <p:cNvSpPr>
                <a:spLocks/>
              </p:cNvSpPr>
              <p:nvPr/>
            </p:nvSpPr>
            <p:spPr bwMode="auto">
              <a:xfrm>
                <a:off x="1589" y="2594"/>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9" name="Freeform 1795">
                <a:extLst>
                  <a:ext uri="{FF2B5EF4-FFF2-40B4-BE49-F238E27FC236}">
                    <a16:creationId xmlns:a16="http://schemas.microsoft.com/office/drawing/2014/main" id="{B7839F4C-7A4A-4763-A8CB-930C88A33E85}"/>
                  </a:ext>
                </a:extLst>
              </p:cNvPr>
              <p:cNvSpPr>
                <a:spLocks/>
              </p:cNvSpPr>
              <p:nvPr/>
            </p:nvSpPr>
            <p:spPr bwMode="auto">
              <a:xfrm>
                <a:off x="1563" y="2552"/>
                <a:ext cx="5" cy="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1" y="0"/>
                      <a:pt x="1" y="0"/>
                      <a:pt x="0" y="0"/>
                    </a:cubicBezTo>
                    <a:cubicBezTo>
                      <a:pt x="0" y="0"/>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0" name="Freeform 1796">
                <a:extLst>
                  <a:ext uri="{FF2B5EF4-FFF2-40B4-BE49-F238E27FC236}">
                    <a16:creationId xmlns:a16="http://schemas.microsoft.com/office/drawing/2014/main" id="{3378AD4E-54C4-4FF2-B6FB-8AC6A80DE359}"/>
                  </a:ext>
                </a:extLst>
              </p:cNvPr>
              <p:cNvSpPr>
                <a:spLocks/>
              </p:cNvSpPr>
              <p:nvPr/>
            </p:nvSpPr>
            <p:spPr bwMode="auto">
              <a:xfrm>
                <a:off x="1641" y="2573"/>
                <a:ext cx="2" cy="5"/>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1" y="0"/>
                    </a:cubicBezTo>
                    <a:cubicBezTo>
                      <a:pt x="0" y="0"/>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1" name="Freeform 1797">
                <a:extLst>
                  <a:ext uri="{FF2B5EF4-FFF2-40B4-BE49-F238E27FC236}">
                    <a16:creationId xmlns:a16="http://schemas.microsoft.com/office/drawing/2014/main" id="{E51854C7-12EF-45AA-AB1C-9312874EF84E}"/>
                  </a:ext>
                </a:extLst>
              </p:cNvPr>
              <p:cNvSpPr>
                <a:spLocks/>
              </p:cNvSpPr>
              <p:nvPr/>
            </p:nvSpPr>
            <p:spPr bwMode="auto">
              <a:xfrm>
                <a:off x="1882" y="2478"/>
                <a:ext cx="3"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2" name="Freeform 1798">
                <a:extLst>
                  <a:ext uri="{FF2B5EF4-FFF2-40B4-BE49-F238E27FC236}">
                    <a16:creationId xmlns:a16="http://schemas.microsoft.com/office/drawing/2014/main" id="{08BE5378-C89C-48D0-8603-8B6779A3F130}"/>
                  </a:ext>
                </a:extLst>
              </p:cNvPr>
              <p:cNvSpPr>
                <a:spLocks/>
              </p:cNvSpPr>
              <p:nvPr/>
            </p:nvSpPr>
            <p:spPr bwMode="auto">
              <a:xfrm>
                <a:off x="1885" y="2481"/>
                <a:ext cx="4" cy="4"/>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3" name="Freeform 1799">
                <a:extLst>
                  <a:ext uri="{FF2B5EF4-FFF2-40B4-BE49-F238E27FC236}">
                    <a16:creationId xmlns:a16="http://schemas.microsoft.com/office/drawing/2014/main" id="{0DEDFE57-868F-477A-A618-BA1792CFFD2B}"/>
                  </a:ext>
                </a:extLst>
              </p:cNvPr>
              <p:cNvSpPr>
                <a:spLocks/>
              </p:cNvSpPr>
              <p:nvPr/>
            </p:nvSpPr>
            <p:spPr bwMode="auto">
              <a:xfrm>
                <a:off x="1880" y="2476"/>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4" name="Freeform 1800">
                <a:extLst>
                  <a:ext uri="{FF2B5EF4-FFF2-40B4-BE49-F238E27FC236}">
                    <a16:creationId xmlns:a16="http://schemas.microsoft.com/office/drawing/2014/main" id="{A4AE288F-A65B-42B5-BE02-9B342EA9859F}"/>
                  </a:ext>
                </a:extLst>
              </p:cNvPr>
              <p:cNvSpPr>
                <a:spLocks/>
              </p:cNvSpPr>
              <p:nvPr/>
            </p:nvSpPr>
            <p:spPr bwMode="auto">
              <a:xfrm>
                <a:off x="1896" y="2478"/>
                <a:ext cx="8" cy="7"/>
              </a:xfrm>
              <a:custGeom>
                <a:avLst/>
                <a:gdLst>
                  <a:gd name="T0" fmla="*/ 0 w 3"/>
                  <a:gd name="T1" fmla="*/ 0 h 3"/>
                  <a:gd name="T2" fmla="*/ 2 w 3"/>
                  <a:gd name="T3" fmla="*/ 3 h 3"/>
                  <a:gd name="T4" fmla="*/ 0 w 3"/>
                  <a:gd name="T5" fmla="*/ 0 h 3"/>
                </a:gdLst>
                <a:ahLst/>
                <a:cxnLst>
                  <a:cxn ang="0">
                    <a:pos x="T0" y="T1"/>
                  </a:cxn>
                  <a:cxn ang="0">
                    <a:pos x="T2" y="T3"/>
                  </a:cxn>
                  <a:cxn ang="0">
                    <a:pos x="T4" y="T5"/>
                  </a:cxn>
                </a:cxnLst>
                <a:rect l="0" t="0" r="r" b="b"/>
                <a:pathLst>
                  <a:path w="3" h="3">
                    <a:moveTo>
                      <a:pt x="0" y="0"/>
                    </a:moveTo>
                    <a:cubicBezTo>
                      <a:pt x="1" y="1"/>
                      <a:pt x="1" y="2"/>
                      <a:pt x="2" y="3"/>
                    </a:cubicBezTo>
                    <a:cubicBezTo>
                      <a:pt x="3" y="1"/>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5" name="Freeform 1801">
                <a:extLst>
                  <a:ext uri="{FF2B5EF4-FFF2-40B4-BE49-F238E27FC236}">
                    <a16:creationId xmlns:a16="http://schemas.microsoft.com/office/drawing/2014/main" id="{4B962368-699E-44AC-8912-4234C7CADD4E}"/>
                  </a:ext>
                </a:extLst>
              </p:cNvPr>
              <p:cNvSpPr>
                <a:spLocks/>
              </p:cNvSpPr>
              <p:nvPr/>
            </p:nvSpPr>
            <p:spPr bwMode="auto">
              <a:xfrm>
                <a:off x="972" y="2244"/>
                <a:ext cx="5" cy="5"/>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1"/>
                      <a:pt x="1" y="1"/>
                      <a:pt x="0" y="0"/>
                    </a:cubicBezTo>
                    <a:cubicBezTo>
                      <a:pt x="1"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6" name="Freeform 1802">
                <a:extLst>
                  <a:ext uri="{FF2B5EF4-FFF2-40B4-BE49-F238E27FC236}">
                    <a16:creationId xmlns:a16="http://schemas.microsoft.com/office/drawing/2014/main" id="{C4F50582-4469-49D8-B5C9-AF4271F79C95}"/>
                  </a:ext>
                </a:extLst>
              </p:cNvPr>
              <p:cNvSpPr>
                <a:spLocks/>
              </p:cNvSpPr>
              <p:nvPr/>
            </p:nvSpPr>
            <p:spPr bwMode="auto">
              <a:xfrm>
                <a:off x="688" y="2052"/>
                <a:ext cx="5" cy="7"/>
              </a:xfrm>
              <a:custGeom>
                <a:avLst/>
                <a:gdLst>
                  <a:gd name="T0" fmla="*/ 2 w 2"/>
                  <a:gd name="T1" fmla="*/ 3 h 3"/>
                  <a:gd name="T2" fmla="*/ 2 w 2"/>
                  <a:gd name="T3" fmla="*/ 0 h 3"/>
                  <a:gd name="T4" fmla="*/ 2 w 2"/>
                  <a:gd name="T5" fmla="*/ 3 h 3"/>
                </a:gdLst>
                <a:ahLst/>
                <a:cxnLst>
                  <a:cxn ang="0">
                    <a:pos x="T0" y="T1"/>
                  </a:cxn>
                  <a:cxn ang="0">
                    <a:pos x="T2" y="T3"/>
                  </a:cxn>
                  <a:cxn ang="0">
                    <a:pos x="T4" y="T5"/>
                  </a:cxn>
                </a:cxnLst>
                <a:rect l="0" t="0" r="r" b="b"/>
                <a:pathLst>
                  <a:path w="2" h="3">
                    <a:moveTo>
                      <a:pt x="2" y="3"/>
                    </a:moveTo>
                    <a:cubicBezTo>
                      <a:pt x="2" y="2"/>
                      <a:pt x="2" y="1"/>
                      <a:pt x="2" y="0"/>
                    </a:cubicBezTo>
                    <a:cubicBezTo>
                      <a:pt x="0" y="0"/>
                      <a:pt x="2"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7" name="Freeform 1803">
                <a:extLst>
                  <a:ext uri="{FF2B5EF4-FFF2-40B4-BE49-F238E27FC236}">
                    <a16:creationId xmlns:a16="http://schemas.microsoft.com/office/drawing/2014/main" id="{3289C1FA-B4BC-4C66-81C9-7FF43F3ABF43}"/>
                  </a:ext>
                </a:extLst>
              </p:cNvPr>
              <p:cNvSpPr>
                <a:spLocks/>
              </p:cNvSpPr>
              <p:nvPr/>
            </p:nvSpPr>
            <p:spPr bwMode="auto">
              <a:xfrm>
                <a:off x="764" y="2074"/>
                <a:ext cx="2" cy="7"/>
              </a:xfrm>
              <a:custGeom>
                <a:avLst/>
                <a:gdLst>
                  <a:gd name="T0" fmla="*/ 1 w 1"/>
                  <a:gd name="T1" fmla="*/ 1 h 3"/>
                  <a:gd name="T2" fmla="*/ 0 w 1"/>
                  <a:gd name="T3" fmla="*/ 2 h 3"/>
                  <a:gd name="T4" fmla="*/ 1 w 1"/>
                  <a:gd name="T5" fmla="*/ 3 h 3"/>
                  <a:gd name="T6" fmla="*/ 1 w 1"/>
                  <a:gd name="T7" fmla="*/ 0 h 3"/>
                  <a:gd name="T8" fmla="*/ 1 w 1"/>
                  <a:gd name="T9" fmla="*/ 1 h 3"/>
                </a:gdLst>
                <a:ahLst/>
                <a:cxnLst>
                  <a:cxn ang="0">
                    <a:pos x="T0" y="T1"/>
                  </a:cxn>
                  <a:cxn ang="0">
                    <a:pos x="T2" y="T3"/>
                  </a:cxn>
                  <a:cxn ang="0">
                    <a:pos x="T4" y="T5"/>
                  </a:cxn>
                  <a:cxn ang="0">
                    <a:pos x="T6" y="T7"/>
                  </a:cxn>
                  <a:cxn ang="0">
                    <a:pos x="T8" y="T9"/>
                  </a:cxn>
                </a:cxnLst>
                <a:rect l="0" t="0" r="r" b="b"/>
                <a:pathLst>
                  <a:path w="1" h="3">
                    <a:moveTo>
                      <a:pt x="1" y="1"/>
                    </a:moveTo>
                    <a:cubicBezTo>
                      <a:pt x="1" y="2"/>
                      <a:pt x="0" y="2"/>
                      <a:pt x="0" y="2"/>
                    </a:cubicBezTo>
                    <a:cubicBezTo>
                      <a:pt x="0" y="3"/>
                      <a:pt x="0" y="3"/>
                      <a:pt x="1" y="3"/>
                    </a:cubicBezTo>
                    <a:cubicBezTo>
                      <a:pt x="1" y="2"/>
                      <a:pt x="1" y="1"/>
                      <a:pt x="1"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8" name="Freeform 1804">
                <a:extLst>
                  <a:ext uri="{FF2B5EF4-FFF2-40B4-BE49-F238E27FC236}">
                    <a16:creationId xmlns:a16="http://schemas.microsoft.com/office/drawing/2014/main" id="{3A1DD728-DF0E-4AD9-8635-B76D606DA729}"/>
                  </a:ext>
                </a:extLst>
              </p:cNvPr>
              <p:cNvSpPr>
                <a:spLocks/>
              </p:cNvSpPr>
              <p:nvPr/>
            </p:nvSpPr>
            <p:spPr bwMode="auto">
              <a:xfrm>
                <a:off x="1334" y="2320"/>
                <a:ext cx="2" cy="2"/>
              </a:xfrm>
              <a:custGeom>
                <a:avLst/>
                <a:gdLst>
                  <a:gd name="T0" fmla="*/ 0 w 1"/>
                  <a:gd name="T1" fmla="*/ 0 h 1"/>
                  <a:gd name="T2" fmla="*/ 1 w 1"/>
                  <a:gd name="T3" fmla="*/ 0 h 1"/>
                  <a:gd name="T4" fmla="*/ 1 w 1"/>
                  <a:gd name="T5" fmla="*/ 0 h 1"/>
                  <a:gd name="T6" fmla="*/ 1 w 1"/>
                  <a:gd name="T7" fmla="*/ 0 h 1"/>
                  <a:gd name="T8" fmla="*/ 1 w 1"/>
                  <a:gd name="T9" fmla="*/ 0 h 1"/>
                  <a:gd name="T10" fmla="*/ 1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1"/>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9" name="Freeform 1805">
                <a:extLst>
                  <a:ext uri="{FF2B5EF4-FFF2-40B4-BE49-F238E27FC236}">
                    <a16:creationId xmlns:a16="http://schemas.microsoft.com/office/drawing/2014/main" id="{FC692E26-FD31-4BE4-B06E-CE30E0C2D482}"/>
                  </a:ext>
                </a:extLst>
              </p:cNvPr>
              <p:cNvSpPr>
                <a:spLocks/>
              </p:cNvSpPr>
              <p:nvPr/>
            </p:nvSpPr>
            <p:spPr bwMode="auto">
              <a:xfrm>
                <a:off x="804" y="2040"/>
                <a:ext cx="12" cy="17"/>
              </a:xfrm>
              <a:custGeom>
                <a:avLst/>
                <a:gdLst>
                  <a:gd name="T0" fmla="*/ 3 w 5"/>
                  <a:gd name="T1" fmla="*/ 2 h 7"/>
                  <a:gd name="T2" fmla="*/ 2 w 5"/>
                  <a:gd name="T3" fmla="*/ 1 h 7"/>
                  <a:gd name="T4" fmla="*/ 1 w 5"/>
                  <a:gd name="T5" fmla="*/ 0 h 7"/>
                  <a:gd name="T6" fmla="*/ 5 w 5"/>
                  <a:gd name="T7" fmla="*/ 7 h 7"/>
                  <a:gd name="T8" fmla="*/ 5 w 5"/>
                  <a:gd name="T9" fmla="*/ 4 h 7"/>
                  <a:gd name="T10" fmla="*/ 3 w 5"/>
                  <a:gd name="T11" fmla="*/ 3 h 7"/>
                  <a:gd name="T12" fmla="*/ 3 w 5"/>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3" y="2"/>
                    </a:moveTo>
                    <a:cubicBezTo>
                      <a:pt x="3" y="2"/>
                      <a:pt x="3" y="1"/>
                      <a:pt x="2" y="1"/>
                    </a:cubicBezTo>
                    <a:cubicBezTo>
                      <a:pt x="2" y="1"/>
                      <a:pt x="1" y="0"/>
                      <a:pt x="1" y="0"/>
                    </a:cubicBezTo>
                    <a:cubicBezTo>
                      <a:pt x="0" y="3"/>
                      <a:pt x="3" y="5"/>
                      <a:pt x="5" y="7"/>
                    </a:cubicBezTo>
                    <a:cubicBezTo>
                      <a:pt x="5" y="6"/>
                      <a:pt x="5" y="4"/>
                      <a:pt x="5" y="4"/>
                    </a:cubicBezTo>
                    <a:cubicBezTo>
                      <a:pt x="4" y="3"/>
                      <a:pt x="3" y="4"/>
                      <a:pt x="3" y="3"/>
                    </a:cubicBezTo>
                    <a:cubicBezTo>
                      <a:pt x="3"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0" name="Freeform 1806">
                <a:extLst>
                  <a:ext uri="{FF2B5EF4-FFF2-40B4-BE49-F238E27FC236}">
                    <a16:creationId xmlns:a16="http://schemas.microsoft.com/office/drawing/2014/main" id="{BDD8C35A-565D-4F65-9B16-83F7B35929BC}"/>
                  </a:ext>
                </a:extLst>
              </p:cNvPr>
              <p:cNvSpPr>
                <a:spLocks/>
              </p:cNvSpPr>
              <p:nvPr/>
            </p:nvSpPr>
            <p:spPr bwMode="auto">
              <a:xfrm>
                <a:off x="830" y="2050"/>
                <a:ext cx="10" cy="12"/>
              </a:xfrm>
              <a:custGeom>
                <a:avLst/>
                <a:gdLst>
                  <a:gd name="T0" fmla="*/ 1 w 4"/>
                  <a:gd name="T1" fmla="*/ 1 h 5"/>
                  <a:gd name="T2" fmla="*/ 0 w 4"/>
                  <a:gd name="T3" fmla="*/ 4 h 5"/>
                  <a:gd name="T4" fmla="*/ 3 w 4"/>
                  <a:gd name="T5" fmla="*/ 5 h 5"/>
                  <a:gd name="T6" fmla="*/ 4 w 4"/>
                  <a:gd name="T7" fmla="*/ 2 h 5"/>
                  <a:gd name="T8" fmla="*/ 3 w 4"/>
                  <a:gd name="T9" fmla="*/ 0 h 5"/>
                  <a:gd name="T10" fmla="*/ 1 w 4"/>
                  <a:gd name="T11" fmla="*/ 1 h 5"/>
                </a:gdLst>
                <a:ahLst/>
                <a:cxnLst>
                  <a:cxn ang="0">
                    <a:pos x="T0" y="T1"/>
                  </a:cxn>
                  <a:cxn ang="0">
                    <a:pos x="T2" y="T3"/>
                  </a:cxn>
                  <a:cxn ang="0">
                    <a:pos x="T4" y="T5"/>
                  </a:cxn>
                  <a:cxn ang="0">
                    <a:pos x="T6" y="T7"/>
                  </a:cxn>
                  <a:cxn ang="0">
                    <a:pos x="T8" y="T9"/>
                  </a:cxn>
                  <a:cxn ang="0">
                    <a:pos x="T10" y="T11"/>
                  </a:cxn>
                </a:cxnLst>
                <a:rect l="0" t="0" r="r" b="b"/>
                <a:pathLst>
                  <a:path w="4" h="5">
                    <a:moveTo>
                      <a:pt x="1" y="1"/>
                    </a:moveTo>
                    <a:cubicBezTo>
                      <a:pt x="1" y="2"/>
                      <a:pt x="1" y="3"/>
                      <a:pt x="0" y="4"/>
                    </a:cubicBezTo>
                    <a:cubicBezTo>
                      <a:pt x="1" y="5"/>
                      <a:pt x="2" y="5"/>
                      <a:pt x="3" y="5"/>
                    </a:cubicBezTo>
                    <a:cubicBezTo>
                      <a:pt x="3" y="4"/>
                      <a:pt x="4" y="3"/>
                      <a:pt x="4" y="2"/>
                    </a:cubicBezTo>
                    <a:cubicBezTo>
                      <a:pt x="4" y="1"/>
                      <a:pt x="3" y="1"/>
                      <a:pt x="3" y="0"/>
                    </a:cubicBezTo>
                    <a:cubicBezTo>
                      <a:pt x="2"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1" name="Freeform 1807">
                <a:extLst>
                  <a:ext uri="{FF2B5EF4-FFF2-40B4-BE49-F238E27FC236}">
                    <a16:creationId xmlns:a16="http://schemas.microsoft.com/office/drawing/2014/main" id="{A6CB9D88-8AF5-4B44-A081-B371258EE4A1}"/>
                  </a:ext>
                </a:extLst>
              </p:cNvPr>
              <p:cNvSpPr>
                <a:spLocks noEditPoints="1"/>
              </p:cNvSpPr>
              <p:nvPr/>
            </p:nvSpPr>
            <p:spPr bwMode="auto">
              <a:xfrm>
                <a:off x="2956" y="872"/>
                <a:ext cx="267" cy="123"/>
              </a:xfrm>
              <a:custGeom>
                <a:avLst/>
                <a:gdLst>
                  <a:gd name="T0" fmla="*/ 108 w 113"/>
                  <a:gd name="T1" fmla="*/ 22 h 52"/>
                  <a:gd name="T2" fmla="*/ 110 w 113"/>
                  <a:gd name="T3" fmla="*/ 20 h 52"/>
                  <a:gd name="T4" fmla="*/ 112 w 113"/>
                  <a:gd name="T5" fmla="*/ 17 h 52"/>
                  <a:gd name="T6" fmla="*/ 106 w 113"/>
                  <a:gd name="T7" fmla="*/ 15 h 52"/>
                  <a:gd name="T8" fmla="*/ 105 w 113"/>
                  <a:gd name="T9" fmla="*/ 13 h 52"/>
                  <a:gd name="T10" fmla="*/ 102 w 113"/>
                  <a:gd name="T11" fmla="*/ 10 h 52"/>
                  <a:gd name="T12" fmla="*/ 98 w 113"/>
                  <a:gd name="T13" fmla="*/ 4 h 52"/>
                  <a:gd name="T14" fmla="*/ 94 w 113"/>
                  <a:gd name="T15" fmla="*/ 5 h 52"/>
                  <a:gd name="T16" fmla="*/ 90 w 113"/>
                  <a:gd name="T17" fmla="*/ 2 h 52"/>
                  <a:gd name="T18" fmla="*/ 82 w 113"/>
                  <a:gd name="T19" fmla="*/ 2 h 52"/>
                  <a:gd name="T20" fmla="*/ 77 w 113"/>
                  <a:gd name="T21" fmla="*/ 5 h 52"/>
                  <a:gd name="T22" fmla="*/ 64 w 113"/>
                  <a:gd name="T23" fmla="*/ 6 h 52"/>
                  <a:gd name="T24" fmla="*/ 56 w 113"/>
                  <a:gd name="T25" fmla="*/ 6 h 52"/>
                  <a:gd name="T26" fmla="*/ 52 w 113"/>
                  <a:gd name="T27" fmla="*/ 10 h 52"/>
                  <a:gd name="T28" fmla="*/ 50 w 113"/>
                  <a:gd name="T29" fmla="*/ 11 h 52"/>
                  <a:gd name="T30" fmla="*/ 43 w 113"/>
                  <a:gd name="T31" fmla="*/ 9 h 52"/>
                  <a:gd name="T32" fmla="*/ 40 w 113"/>
                  <a:gd name="T33" fmla="*/ 16 h 52"/>
                  <a:gd name="T34" fmla="*/ 36 w 113"/>
                  <a:gd name="T35" fmla="*/ 19 h 52"/>
                  <a:gd name="T36" fmla="*/ 32 w 113"/>
                  <a:gd name="T37" fmla="*/ 18 h 52"/>
                  <a:gd name="T38" fmla="*/ 30 w 113"/>
                  <a:gd name="T39" fmla="*/ 15 h 52"/>
                  <a:gd name="T40" fmla="*/ 33 w 113"/>
                  <a:gd name="T41" fmla="*/ 11 h 52"/>
                  <a:gd name="T42" fmla="*/ 29 w 113"/>
                  <a:gd name="T43" fmla="*/ 7 h 52"/>
                  <a:gd name="T44" fmla="*/ 15 w 113"/>
                  <a:gd name="T45" fmla="*/ 1 h 52"/>
                  <a:gd name="T46" fmla="*/ 20 w 113"/>
                  <a:gd name="T47" fmla="*/ 2 h 52"/>
                  <a:gd name="T48" fmla="*/ 22 w 113"/>
                  <a:gd name="T49" fmla="*/ 4 h 52"/>
                  <a:gd name="T50" fmla="*/ 22 w 113"/>
                  <a:gd name="T51" fmla="*/ 9 h 52"/>
                  <a:gd name="T52" fmla="*/ 20 w 113"/>
                  <a:gd name="T53" fmla="*/ 12 h 52"/>
                  <a:gd name="T54" fmla="*/ 16 w 113"/>
                  <a:gd name="T55" fmla="*/ 7 h 52"/>
                  <a:gd name="T56" fmla="*/ 9 w 113"/>
                  <a:gd name="T57" fmla="*/ 7 h 52"/>
                  <a:gd name="T58" fmla="*/ 11 w 113"/>
                  <a:gd name="T59" fmla="*/ 11 h 52"/>
                  <a:gd name="T60" fmla="*/ 8 w 113"/>
                  <a:gd name="T61" fmla="*/ 10 h 52"/>
                  <a:gd name="T62" fmla="*/ 14 w 113"/>
                  <a:gd name="T63" fmla="*/ 12 h 52"/>
                  <a:gd name="T64" fmla="*/ 8 w 113"/>
                  <a:gd name="T65" fmla="*/ 13 h 52"/>
                  <a:gd name="T66" fmla="*/ 5 w 113"/>
                  <a:gd name="T67" fmla="*/ 15 h 52"/>
                  <a:gd name="T68" fmla="*/ 1 w 113"/>
                  <a:gd name="T69" fmla="*/ 16 h 52"/>
                  <a:gd name="T70" fmla="*/ 13 w 113"/>
                  <a:gd name="T71" fmla="*/ 17 h 52"/>
                  <a:gd name="T72" fmla="*/ 29 w 113"/>
                  <a:gd name="T73" fmla="*/ 18 h 52"/>
                  <a:gd name="T74" fmla="*/ 27 w 113"/>
                  <a:gd name="T75" fmla="*/ 23 h 52"/>
                  <a:gd name="T76" fmla="*/ 24 w 113"/>
                  <a:gd name="T77" fmla="*/ 25 h 52"/>
                  <a:gd name="T78" fmla="*/ 19 w 113"/>
                  <a:gd name="T79" fmla="*/ 25 h 52"/>
                  <a:gd name="T80" fmla="*/ 16 w 113"/>
                  <a:gd name="T81" fmla="*/ 25 h 52"/>
                  <a:gd name="T82" fmla="*/ 13 w 113"/>
                  <a:gd name="T83" fmla="*/ 27 h 52"/>
                  <a:gd name="T84" fmla="*/ 5 w 113"/>
                  <a:gd name="T85" fmla="*/ 27 h 52"/>
                  <a:gd name="T86" fmla="*/ 22 w 113"/>
                  <a:gd name="T87" fmla="*/ 31 h 52"/>
                  <a:gd name="T88" fmla="*/ 24 w 113"/>
                  <a:gd name="T89" fmla="*/ 34 h 52"/>
                  <a:gd name="T90" fmla="*/ 28 w 113"/>
                  <a:gd name="T91" fmla="*/ 33 h 52"/>
                  <a:gd name="T92" fmla="*/ 29 w 113"/>
                  <a:gd name="T93" fmla="*/ 36 h 52"/>
                  <a:gd name="T94" fmla="*/ 27 w 113"/>
                  <a:gd name="T95" fmla="*/ 38 h 52"/>
                  <a:gd name="T96" fmla="*/ 21 w 113"/>
                  <a:gd name="T97" fmla="*/ 42 h 52"/>
                  <a:gd name="T98" fmla="*/ 39 w 113"/>
                  <a:gd name="T99" fmla="*/ 44 h 52"/>
                  <a:gd name="T100" fmla="*/ 42 w 113"/>
                  <a:gd name="T101" fmla="*/ 48 h 52"/>
                  <a:gd name="T102" fmla="*/ 65 w 113"/>
                  <a:gd name="T103" fmla="*/ 51 h 52"/>
                  <a:gd name="T104" fmla="*/ 67 w 113"/>
                  <a:gd name="T105" fmla="*/ 47 h 52"/>
                  <a:gd name="T106" fmla="*/ 86 w 113"/>
                  <a:gd name="T107" fmla="*/ 40 h 52"/>
                  <a:gd name="T108" fmla="*/ 94 w 113"/>
                  <a:gd name="T109" fmla="*/ 36 h 52"/>
                  <a:gd name="T110" fmla="*/ 102 w 113"/>
                  <a:gd name="T111" fmla="*/ 35 h 52"/>
                  <a:gd name="T112" fmla="*/ 103 w 113"/>
                  <a:gd name="T113" fmla="*/ 29 h 52"/>
                  <a:gd name="T114" fmla="*/ 107 w 113"/>
                  <a:gd name="T115" fmla="*/ 30 h 52"/>
                  <a:gd name="T116" fmla="*/ 109 w 113"/>
                  <a:gd name="T117" fmla="*/ 26 h 52"/>
                  <a:gd name="T118" fmla="*/ 113 w 113"/>
                  <a:gd name="T119" fmla="*/ 24 h 52"/>
                  <a:gd name="T120" fmla="*/ 42 w 113"/>
                  <a:gd name="T121" fmla="*/ 45 h 52"/>
                  <a:gd name="T122" fmla="*/ 102 w 113"/>
                  <a:gd name="T123" fmla="*/ 17 h 52"/>
                  <a:gd name="T124" fmla="*/ 102 w 113"/>
                  <a:gd name="T125" fmla="*/ 1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 h="52">
                    <a:moveTo>
                      <a:pt x="111" y="23"/>
                    </a:moveTo>
                    <a:cubicBezTo>
                      <a:pt x="111" y="23"/>
                      <a:pt x="110" y="22"/>
                      <a:pt x="110" y="22"/>
                    </a:cubicBezTo>
                    <a:cubicBezTo>
                      <a:pt x="109" y="22"/>
                      <a:pt x="108" y="22"/>
                      <a:pt x="108" y="22"/>
                    </a:cubicBezTo>
                    <a:cubicBezTo>
                      <a:pt x="109" y="22"/>
                      <a:pt x="111" y="21"/>
                      <a:pt x="112" y="21"/>
                    </a:cubicBezTo>
                    <a:cubicBezTo>
                      <a:pt x="111" y="21"/>
                      <a:pt x="109" y="20"/>
                      <a:pt x="108" y="21"/>
                    </a:cubicBezTo>
                    <a:cubicBezTo>
                      <a:pt x="109" y="21"/>
                      <a:pt x="109" y="21"/>
                      <a:pt x="110" y="20"/>
                    </a:cubicBezTo>
                    <a:cubicBezTo>
                      <a:pt x="110" y="20"/>
                      <a:pt x="110" y="20"/>
                      <a:pt x="111" y="20"/>
                    </a:cubicBezTo>
                    <a:cubicBezTo>
                      <a:pt x="111" y="19"/>
                      <a:pt x="111" y="19"/>
                      <a:pt x="112" y="18"/>
                    </a:cubicBezTo>
                    <a:cubicBezTo>
                      <a:pt x="112" y="18"/>
                      <a:pt x="112" y="17"/>
                      <a:pt x="112" y="17"/>
                    </a:cubicBezTo>
                    <a:cubicBezTo>
                      <a:pt x="112" y="16"/>
                      <a:pt x="109" y="16"/>
                      <a:pt x="108" y="16"/>
                    </a:cubicBezTo>
                    <a:cubicBezTo>
                      <a:pt x="107" y="15"/>
                      <a:pt x="106" y="15"/>
                      <a:pt x="105" y="14"/>
                    </a:cubicBezTo>
                    <a:cubicBezTo>
                      <a:pt x="106" y="15"/>
                      <a:pt x="106" y="15"/>
                      <a:pt x="106" y="15"/>
                    </a:cubicBezTo>
                    <a:cubicBezTo>
                      <a:pt x="104" y="14"/>
                      <a:pt x="104" y="16"/>
                      <a:pt x="103" y="17"/>
                    </a:cubicBezTo>
                    <a:cubicBezTo>
                      <a:pt x="103" y="16"/>
                      <a:pt x="104" y="15"/>
                      <a:pt x="104" y="15"/>
                    </a:cubicBezTo>
                    <a:cubicBezTo>
                      <a:pt x="105" y="14"/>
                      <a:pt x="105" y="14"/>
                      <a:pt x="105" y="13"/>
                    </a:cubicBezTo>
                    <a:cubicBezTo>
                      <a:pt x="104" y="12"/>
                      <a:pt x="103" y="13"/>
                      <a:pt x="102" y="13"/>
                    </a:cubicBezTo>
                    <a:cubicBezTo>
                      <a:pt x="100" y="13"/>
                      <a:pt x="98" y="14"/>
                      <a:pt x="100" y="11"/>
                    </a:cubicBezTo>
                    <a:cubicBezTo>
                      <a:pt x="101" y="11"/>
                      <a:pt x="101" y="11"/>
                      <a:pt x="102" y="10"/>
                    </a:cubicBezTo>
                    <a:cubicBezTo>
                      <a:pt x="102" y="9"/>
                      <a:pt x="100" y="8"/>
                      <a:pt x="99" y="8"/>
                    </a:cubicBezTo>
                    <a:cubicBezTo>
                      <a:pt x="97" y="8"/>
                      <a:pt x="95" y="7"/>
                      <a:pt x="97" y="6"/>
                    </a:cubicBezTo>
                    <a:cubicBezTo>
                      <a:pt x="98" y="6"/>
                      <a:pt x="97" y="5"/>
                      <a:pt x="98" y="4"/>
                    </a:cubicBezTo>
                    <a:cubicBezTo>
                      <a:pt x="98" y="4"/>
                      <a:pt x="98" y="4"/>
                      <a:pt x="98" y="4"/>
                    </a:cubicBezTo>
                    <a:cubicBezTo>
                      <a:pt x="100" y="3"/>
                      <a:pt x="101" y="3"/>
                      <a:pt x="102" y="2"/>
                    </a:cubicBezTo>
                    <a:cubicBezTo>
                      <a:pt x="100" y="2"/>
                      <a:pt x="96" y="3"/>
                      <a:pt x="94" y="5"/>
                    </a:cubicBezTo>
                    <a:cubicBezTo>
                      <a:pt x="94" y="5"/>
                      <a:pt x="94" y="6"/>
                      <a:pt x="94" y="6"/>
                    </a:cubicBezTo>
                    <a:cubicBezTo>
                      <a:pt x="92" y="6"/>
                      <a:pt x="91" y="5"/>
                      <a:pt x="90" y="4"/>
                    </a:cubicBezTo>
                    <a:cubicBezTo>
                      <a:pt x="91" y="3"/>
                      <a:pt x="91" y="3"/>
                      <a:pt x="90" y="2"/>
                    </a:cubicBezTo>
                    <a:cubicBezTo>
                      <a:pt x="90" y="2"/>
                      <a:pt x="87" y="2"/>
                      <a:pt x="89" y="0"/>
                    </a:cubicBezTo>
                    <a:cubicBezTo>
                      <a:pt x="87" y="0"/>
                      <a:pt x="86" y="0"/>
                      <a:pt x="83" y="0"/>
                    </a:cubicBezTo>
                    <a:cubicBezTo>
                      <a:pt x="82" y="0"/>
                      <a:pt x="82" y="0"/>
                      <a:pt x="82" y="2"/>
                    </a:cubicBezTo>
                    <a:cubicBezTo>
                      <a:pt x="82" y="3"/>
                      <a:pt x="83" y="4"/>
                      <a:pt x="83" y="4"/>
                    </a:cubicBezTo>
                    <a:cubicBezTo>
                      <a:pt x="83" y="5"/>
                      <a:pt x="82" y="6"/>
                      <a:pt x="83" y="6"/>
                    </a:cubicBezTo>
                    <a:cubicBezTo>
                      <a:pt x="81" y="6"/>
                      <a:pt x="79" y="6"/>
                      <a:pt x="77" y="5"/>
                    </a:cubicBezTo>
                    <a:cubicBezTo>
                      <a:pt x="76" y="6"/>
                      <a:pt x="72" y="9"/>
                      <a:pt x="70" y="8"/>
                    </a:cubicBezTo>
                    <a:cubicBezTo>
                      <a:pt x="70" y="8"/>
                      <a:pt x="69" y="7"/>
                      <a:pt x="69" y="7"/>
                    </a:cubicBezTo>
                    <a:cubicBezTo>
                      <a:pt x="68" y="6"/>
                      <a:pt x="66" y="6"/>
                      <a:pt x="64" y="6"/>
                    </a:cubicBezTo>
                    <a:cubicBezTo>
                      <a:pt x="65" y="9"/>
                      <a:pt x="66" y="11"/>
                      <a:pt x="66" y="14"/>
                    </a:cubicBezTo>
                    <a:cubicBezTo>
                      <a:pt x="65" y="11"/>
                      <a:pt x="63" y="9"/>
                      <a:pt x="61" y="7"/>
                    </a:cubicBezTo>
                    <a:cubicBezTo>
                      <a:pt x="60" y="6"/>
                      <a:pt x="58" y="6"/>
                      <a:pt x="56" y="6"/>
                    </a:cubicBezTo>
                    <a:cubicBezTo>
                      <a:pt x="55" y="6"/>
                      <a:pt x="54" y="7"/>
                      <a:pt x="53" y="8"/>
                    </a:cubicBezTo>
                    <a:cubicBezTo>
                      <a:pt x="52" y="8"/>
                      <a:pt x="53" y="8"/>
                      <a:pt x="53" y="9"/>
                    </a:cubicBezTo>
                    <a:cubicBezTo>
                      <a:pt x="52" y="9"/>
                      <a:pt x="52" y="9"/>
                      <a:pt x="52" y="10"/>
                    </a:cubicBezTo>
                    <a:cubicBezTo>
                      <a:pt x="52" y="10"/>
                      <a:pt x="53" y="11"/>
                      <a:pt x="53" y="11"/>
                    </a:cubicBezTo>
                    <a:cubicBezTo>
                      <a:pt x="53" y="11"/>
                      <a:pt x="53" y="12"/>
                      <a:pt x="53" y="12"/>
                    </a:cubicBezTo>
                    <a:cubicBezTo>
                      <a:pt x="52" y="14"/>
                      <a:pt x="51" y="12"/>
                      <a:pt x="50" y="11"/>
                    </a:cubicBezTo>
                    <a:cubicBezTo>
                      <a:pt x="49" y="10"/>
                      <a:pt x="47" y="9"/>
                      <a:pt x="46" y="7"/>
                    </a:cubicBezTo>
                    <a:cubicBezTo>
                      <a:pt x="45" y="7"/>
                      <a:pt x="45" y="7"/>
                      <a:pt x="44" y="7"/>
                    </a:cubicBezTo>
                    <a:cubicBezTo>
                      <a:pt x="42" y="7"/>
                      <a:pt x="42" y="7"/>
                      <a:pt x="43" y="9"/>
                    </a:cubicBezTo>
                    <a:cubicBezTo>
                      <a:pt x="43" y="10"/>
                      <a:pt x="44" y="11"/>
                      <a:pt x="44" y="13"/>
                    </a:cubicBezTo>
                    <a:cubicBezTo>
                      <a:pt x="44" y="14"/>
                      <a:pt x="43" y="16"/>
                      <a:pt x="42" y="17"/>
                    </a:cubicBezTo>
                    <a:cubicBezTo>
                      <a:pt x="41" y="17"/>
                      <a:pt x="41" y="16"/>
                      <a:pt x="40" y="16"/>
                    </a:cubicBezTo>
                    <a:cubicBezTo>
                      <a:pt x="40" y="15"/>
                      <a:pt x="41" y="14"/>
                      <a:pt x="39" y="14"/>
                    </a:cubicBezTo>
                    <a:cubicBezTo>
                      <a:pt x="39" y="14"/>
                      <a:pt x="38" y="15"/>
                      <a:pt x="38" y="15"/>
                    </a:cubicBezTo>
                    <a:cubicBezTo>
                      <a:pt x="37" y="16"/>
                      <a:pt x="38" y="18"/>
                      <a:pt x="36" y="19"/>
                    </a:cubicBezTo>
                    <a:cubicBezTo>
                      <a:pt x="36" y="18"/>
                      <a:pt x="36" y="18"/>
                      <a:pt x="36" y="18"/>
                    </a:cubicBezTo>
                    <a:cubicBezTo>
                      <a:pt x="35" y="19"/>
                      <a:pt x="36" y="21"/>
                      <a:pt x="36" y="23"/>
                    </a:cubicBezTo>
                    <a:cubicBezTo>
                      <a:pt x="34" y="21"/>
                      <a:pt x="33" y="20"/>
                      <a:pt x="32" y="18"/>
                    </a:cubicBezTo>
                    <a:cubicBezTo>
                      <a:pt x="31" y="18"/>
                      <a:pt x="33" y="17"/>
                      <a:pt x="33" y="17"/>
                    </a:cubicBezTo>
                    <a:cubicBezTo>
                      <a:pt x="34" y="16"/>
                      <a:pt x="33" y="16"/>
                      <a:pt x="32" y="16"/>
                    </a:cubicBezTo>
                    <a:cubicBezTo>
                      <a:pt x="33" y="14"/>
                      <a:pt x="31" y="15"/>
                      <a:pt x="30" y="15"/>
                    </a:cubicBezTo>
                    <a:cubicBezTo>
                      <a:pt x="29" y="14"/>
                      <a:pt x="29" y="13"/>
                      <a:pt x="29" y="13"/>
                    </a:cubicBezTo>
                    <a:cubicBezTo>
                      <a:pt x="30" y="13"/>
                      <a:pt x="31" y="15"/>
                      <a:pt x="33" y="13"/>
                    </a:cubicBezTo>
                    <a:cubicBezTo>
                      <a:pt x="33" y="13"/>
                      <a:pt x="33" y="12"/>
                      <a:pt x="33" y="11"/>
                    </a:cubicBezTo>
                    <a:cubicBezTo>
                      <a:pt x="34" y="10"/>
                      <a:pt x="32" y="10"/>
                      <a:pt x="30" y="10"/>
                    </a:cubicBezTo>
                    <a:cubicBezTo>
                      <a:pt x="31" y="9"/>
                      <a:pt x="32" y="9"/>
                      <a:pt x="33" y="9"/>
                    </a:cubicBezTo>
                    <a:cubicBezTo>
                      <a:pt x="31" y="8"/>
                      <a:pt x="30" y="9"/>
                      <a:pt x="29" y="7"/>
                    </a:cubicBezTo>
                    <a:cubicBezTo>
                      <a:pt x="27" y="5"/>
                      <a:pt x="26" y="4"/>
                      <a:pt x="24" y="2"/>
                    </a:cubicBezTo>
                    <a:cubicBezTo>
                      <a:pt x="23" y="2"/>
                      <a:pt x="22" y="1"/>
                      <a:pt x="21" y="1"/>
                    </a:cubicBezTo>
                    <a:cubicBezTo>
                      <a:pt x="19" y="1"/>
                      <a:pt x="17" y="1"/>
                      <a:pt x="15" y="1"/>
                    </a:cubicBezTo>
                    <a:cubicBezTo>
                      <a:pt x="16" y="2"/>
                      <a:pt x="14" y="4"/>
                      <a:pt x="16" y="4"/>
                    </a:cubicBezTo>
                    <a:cubicBezTo>
                      <a:pt x="17" y="4"/>
                      <a:pt x="17" y="3"/>
                      <a:pt x="18" y="3"/>
                    </a:cubicBezTo>
                    <a:cubicBezTo>
                      <a:pt x="17" y="4"/>
                      <a:pt x="19" y="3"/>
                      <a:pt x="20" y="2"/>
                    </a:cubicBezTo>
                    <a:cubicBezTo>
                      <a:pt x="19" y="3"/>
                      <a:pt x="18" y="4"/>
                      <a:pt x="20" y="4"/>
                    </a:cubicBezTo>
                    <a:cubicBezTo>
                      <a:pt x="21" y="4"/>
                      <a:pt x="22" y="3"/>
                      <a:pt x="21" y="4"/>
                    </a:cubicBezTo>
                    <a:cubicBezTo>
                      <a:pt x="21" y="4"/>
                      <a:pt x="22" y="4"/>
                      <a:pt x="22" y="4"/>
                    </a:cubicBezTo>
                    <a:cubicBezTo>
                      <a:pt x="21" y="5"/>
                      <a:pt x="20" y="6"/>
                      <a:pt x="18" y="6"/>
                    </a:cubicBezTo>
                    <a:cubicBezTo>
                      <a:pt x="20" y="7"/>
                      <a:pt x="21" y="8"/>
                      <a:pt x="22" y="7"/>
                    </a:cubicBezTo>
                    <a:cubicBezTo>
                      <a:pt x="21" y="8"/>
                      <a:pt x="22" y="8"/>
                      <a:pt x="22" y="9"/>
                    </a:cubicBezTo>
                    <a:cubicBezTo>
                      <a:pt x="22" y="10"/>
                      <a:pt x="22" y="10"/>
                      <a:pt x="22" y="11"/>
                    </a:cubicBezTo>
                    <a:cubicBezTo>
                      <a:pt x="21" y="10"/>
                      <a:pt x="21" y="9"/>
                      <a:pt x="20" y="11"/>
                    </a:cubicBezTo>
                    <a:cubicBezTo>
                      <a:pt x="20" y="11"/>
                      <a:pt x="20" y="11"/>
                      <a:pt x="20" y="12"/>
                    </a:cubicBezTo>
                    <a:cubicBezTo>
                      <a:pt x="20" y="9"/>
                      <a:pt x="20" y="9"/>
                      <a:pt x="19" y="8"/>
                    </a:cubicBezTo>
                    <a:cubicBezTo>
                      <a:pt x="19" y="9"/>
                      <a:pt x="18" y="9"/>
                      <a:pt x="18" y="10"/>
                    </a:cubicBezTo>
                    <a:cubicBezTo>
                      <a:pt x="17" y="9"/>
                      <a:pt x="17" y="8"/>
                      <a:pt x="16" y="7"/>
                    </a:cubicBezTo>
                    <a:cubicBezTo>
                      <a:pt x="14" y="6"/>
                      <a:pt x="12" y="6"/>
                      <a:pt x="10" y="6"/>
                    </a:cubicBezTo>
                    <a:cubicBezTo>
                      <a:pt x="11" y="6"/>
                      <a:pt x="11" y="7"/>
                      <a:pt x="12" y="7"/>
                    </a:cubicBezTo>
                    <a:cubicBezTo>
                      <a:pt x="11" y="7"/>
                      <a:pt x="10" y="7"/>
                      <a:pt x="9" y="7"/>
                    </a:cubicBezTo>
                    <a:cubicBezTo>
                      <a:pt x="10" y="8"/>
                      <a:pt x="12" y="8"/>
                      <a:pt x="12" y="9"/>
                    </a:cubicBezTo>
                    <a:cubicBezTo>
                      <a:pt x="11" y="8"/>
                      <a:pt x="8" y="7"/>
                      <a:pt x="8" y="8"/>
                    </a:cubicBezTo>
                    <a:cubicBezTo>
                      <a:pt x="7" y="9"/>
                      <a:pt x="10" y="10"/>
                      <a:pt x="11" y="11"/>
                    </a:cubicBezTo>
                    <a:cubicBezTo>
                      <a:pt x="12" y="11"/>
                      <a:pt x="13" y="11"/>
                      <a:pt x="13" y="11"/>
                    </a:cubicBezTo>
                    <a:cubicBezTo>
                      <a:pt x="12" y="11"/>
                      <a:pt x="11" y="11"/>
                      <a:pt x="10" y="11"/>
                    </a:cubicBezTo>
                    <a:cubicBezTo>
                      <a:pt x="9" y="11"/>
                      <a:pt x="9" y="10"/>
                      <a:pt x="8" y="10"/>
                    </a:cubicBezTo>
                    <a:cubicBezTo>
                      <a:pt x="8" y="10"/>
                      <a:pt x="7" y="10"/>
                      <a:pt x="7" y="10"/>
                    </a:cubicBezTo>
                    <a:cubicBezTo>
                      <a:pt x="7" y="11"/>
                      <a:pt x="10" y="12"/>
                      <a:pt x="10" y="12"/>
                    </a:cubicBezTo>
                    <a:cubicBezTo>
                      <a:pt x="12" y="13"/>
                      <a:pt x="13" y="13"/>
                      <a:pt x="14" y="12"/>
                    </a:cubicBezTo>
                    <a:cubicBezTo>
                      <a:pt x="13" y="13"/>
                      <a:pt x="12" y="13"/>
                      <a:pt x="11" y="13"/>
                    </a:cubicBezTo>
                    <a:cubicBezTo>
                      <a:pt x="10" y="14"/>
                      <a:pt x="11" y="16"/>
                      <a:pt x="10" y="15"/>
                    </a:cubicBezTo>
                    <a:cubicBezTo>
                      <a:pt x="9" y="14"/>
                      <a:pt x="9" y="14"/>
                      <a:pt x="8" y="13"/>
                    </a:cubicBezTo>
                    <a:cubicBezTo>
                      <a:pt x="7" y="13"/>
                      <a:pt x="6" y="12"/>
                      <a:pt x="5" y="12"/>
                    </a:cubicBezTo>
                    <a:cubicBezTo>
                      <a:pt x="4" y="15"/>
                      <a:pt x="6" y="14"/>
                      <a:pt x="8" y="15"/>
                    </a:cubicBezTo>
                    <a:cubicBezTo>
                      <a:pt x="7" y="15"/>
                      <a:pt x="6" y="15"/>
                      <a:pt x="5" y="15"/>
                    </a:cubicBezTo>
                    <a:cubicBezTo>
                      <a:pt x="5" y="16"/>
                      <a:pt x="7" y="16"/>
                      <a:pt x="7" y="17"/>
                    </a:cubicBezTo>
                    <a:cubicBezTo>
                      <a:pt x="6" y="17"/>
                      <a:pt x="4" y="14"/>
                      <a:pt x="2" y="15"/>
                    </a:cubicBezTo>
                    <a:cubicBezTo>
                      <a:pt x="2" y="15"/>
                      <a:pt x="2" y="16"/>
                      <a:pt x="1" y="16"/>
                    </a:cubicBezTo>
                    <a:cubicBezTo>
                      <a:pt x="1" y="17"/>
                      <a:pt x="1" y="17"/>
                      <a:pt x="0" y="17"/>
                    </a:cubicBezTo>
                    <a:cubicBezTo>
                      <a:pt x="2" y="18"/>
                      <a:pt x="5" y="18"/>
                      <a:pt x="6" y="19"/>
                    </a:cubicBezTo>
                    <a:cubicBezTo>
                      <a:pt x="8" y="19"/>
                      <a:pt x="11" y="17"/>
                      <a:pt x="13" y="17"/>
                    </a:cubicBezTo>
                    <a:cubicBezTo>
                      <a:pt x="14" y="17"/>
                      <a:pt x="15" y="16"/>
                      <a:pt x="17" y="16"/>
                    </a:cubicBezTo>
                    <a:cubicBezTo>
                      <a:pt x="18" y="16"/>
                      <a:pt x="19" y="16"/>
                      <a:pt x="20" y="16"/>
                    </a:cubicBezTo>
                    <a:cubicBezTo>
                      <a:pt x="23" y="17"/>
                      <a:pt x="26" y="17"/>
                      <a:pt x="29" y="18"/>
                    </a:cubicBezTo>
                    <a:cubicBezTo>
                      <a:pt x="27" y="19"/>
                      <a:pt x="26" y="19"/>
                      <a:pt x="25" y="20"/>
                    </a:cubicBezTo>
                    <a:cubicBezTo>
                      <a:pt x="23" y="21"/>
                      <a:pt x="21" y="21"/>
                      <a:pt x="21" y="22"/>
                    </a:cubicBezTo>
                    <a:cubicBezTo>
                      <a:pt x="22" y="23"/>
                      <a:pt x="25" y="24"/>
                      <a:pt x="27" y="23"/>
                    </a:cubicBezTo>
                    <a:cubicBezTo>
                      <a:pt x="27" y="23"/>
                      <a:pt x="28" y="22"/>
                      <a:pt x="28" y="22"/>
                    </a:cubicBezTo>
                    <a:cubicBezTo>
                      <a:pt x="29" y="22"/>
                      <a:pt x="28" y="24"/>
                      <a:pt x="28" y="25"/>
                    </a:cubicBezTo>
                    <a:cubicBezTo>
                      <a:pt x="27" y="25"/>
                      <a:pt x="25" y="25"/>
                      <a:pt x="24" y="25"/>
                    </a:cubicBezTo>
                    <a:cubicBezTo>
                      <a:pt x="23" y="25"/>
                      <a:pt x="22" y="24"/>
                      <a:pt x="21" y="25"/>
                    </a:cubicBezTo>
                    <a:cubicBezTo>
                      <a:pt x="21" y="25"/>
                      <a:pt x="20" y="26"/>
                      <a:pt x="19" y="26"/>
                    </a:cubicBezTo>
                    <a:cubicBezTo>
                      <a:pt x="19" y="26"/>
                      <a:pt x="19" y="25"/>
                      <a:pt x="19" y="25"/>
                    </a:cubicBezTo>
                    <a:cubicBezTo>
                      <a:pt x="19" y="25"/>
                      <a:pt x="19" y="24"/>
                      <a:pt x="19" y="24"/>
                    </a:cubicBezTo>
                    <a:cubicBezTo>
                      <a:pt x="18" y="25"/>
                      <a:pt x="17" y="25"/>
                      <a:pt x="17" y="26"/>
                    </a:cubicBezTo>
                    <a:cubicBezTo>
                      <a:pt x="16" y="26"/>
                      <a:pt x="16" y="25"/>
                      <a:pt x="16" y="25"/>
                    </a:cubicBezTo>
                    <a:cubicBezTo>
                      <a:pt x="15" y="26"/>
                      <a:pt x="15" y="27"/>
                      <a:pt x="15" y="26"/>
                    </a:cubicBezTo>
                    <a:cubicBezTo>
                      <a:pt x="14" y="26"/>
                      <a:pt x="15" y="26"/>
                      <a:pt x="14" y="25"/>
                    </a:cubicBezTo>
                    <a:cubicBezTo>
                      <a:pt x="14" y="25"/>
                      <a:pt x="13" y="26"/>
                      <a:pt x="13" y="27"/>
                    </a:cubicBezTo>
                    <a:cubicBezTo>
                      <a:pt x="12" y="25"/>
                      <a:pt x="11" y="27"/>
                      <a:pt x="9" y="27"/>
                    </a:cubicBezTo>
                    <a:cubicBezTo>
                      <a:pt x="9" y="27"/>
                      <a:pt x="8" y="27"/>
                      <a:pt x="7" y="27"/>
                    </a:cubicBezTo>
                    <a:cubicBezTo>
                      <a:pt x="6" y="27"/>
                      <a:pt x="6" y="27"/>
                      <a:pt x="5" y="27"/>
                    </a:cubicBezTo>
                    <a:cubicBezTo>
                      <a:pt x="6" y="30"/>
                      <a:pt x="7" y="30"/>
                      <a:pt x="9" y="30"/>
                    </a:cubicBezTo>
                    <a:cubicBezTo>
                      <a:pt x="14" y="30"/>
                      <a:pt x="19" y="30"/>
                      <a:pt x="24" y="30"/>
                    </a:cubicBezTo>
                    <a:cubicBezTo>
                      <a:pt x="24" y="30"/>
                      <a:pt x="23" y="31"/>
                      <a:pt x="22" y="31"/>
                    </a:cubicBezTo>
                    <a:cubicBezTo>
                      <a:pt x="22" y="32"/>
                      <a:pt x="22" y="32"/>
                      <a:pt x="22" y="32"/>
                    </a:cubicBezTo>
                    <a:cubicBezTo>
                      <a:pt x="23" y="33"/>
                      <a:pt x="23" y="33"/>
                      <a:pt x="24" y="33"/>
                    </a:cubicBezTo>
                    <a:cubicBezTo>
                      <a:pt x="24" y="34"/>
                      <a:pt x="23" y="34"/>
                      <a:pt x="24" y="34"/>
                    </a:cubicBezTo>
                    <a:cubicBezTo>
                      <a:pt x="25" y="35"/>
                      <a:pt x="27" y="33"/>
                      <a:pt x="28" y="33"/>
                    </a:cubicBezTo>
                    <a:cubicBezTo>
                      <a:pt x="29" y="32"/>
                      <a:pt x="30" y="32"/>
                      <a:pt x="31" y="31"/>
                    </a:cubicBezTo>
                    <a:cubicBezTo>
                      <a:pt x="30" y="32"/>
                      <a:pt x="29" y="32"/>
                      <a:pt x="28" y="33"/>
                    </a:cubicBezTo>
                    <a:cubicBezTo>
                      <a:pt x="28" y="33"/>
                      <a:pt x="27" y="33"/>
                      <a:pt x="26" y="34"/>
                    </a:cubicBezTo>
                    <a:cubicBezTo>
                      <a:pt x="26" y="35"/>
                      <a:pt x="26" y="36"/>
                      <a:pt x="25" y="37"/>
                    </a:cubicBezTo>
                    <a:cubicBezTo>
                      <a:pt x="27" y="37"/>
                      <a:pt x="28" y="36"/>
                      <a:pt x="29" y="36"/>
                    </a:cubicBezTo>
                    <a:cubicBezTo>
                      <a:pt x="30" y="36"/>
                      <a:pt x="32" y="36"/>
                      <a:pt x="33" y="36"/>
                    </a:cubicBezTo>
                    <a:cubicBezTo>
                      <a:pt x="32" y="36"/>
                      <a:pt x="30" y="36"/>
                      <a:pt x="29" y="36"/>
                    </a:cubicBezTo>
                    <a:cubicBezTo>
                      <a:pt x="28" y="36"/>
                      <a:pt x="28" y="37"/>
                      <a:pt x="27" y="38"/>
                    </a:cubicBezTo>
                    <a:cubicBezTo>
                      <a:pt x="28" y="39"/>
                      <a:pt x="28" y="39"/>
                      <a:pt x="29" y="39"/>
                    </a:cubicBezTo>
                    <a:cubicBezTo>
                      <a:pt x="27" y="40"/>
                      <a:pt x="25" y="40"/>
                      <a:pt x="23" y="41"/>
                    </a:cubicBezTo>
                    <a:cubicBezTo>
                      <a:pt x="22" y="41"/>
                      <a:pt x="21" y="42"/>
                      <a:pt x="21" y="42"/>
                    </a:cubicBezTo>
                    <a:cubicBezTo>
                      <a:pt x="20" y="42"/>
                      <a:pt x="20" y="41"/>
                      <a:pt x="19" y="41"/>
                    </a:cubicBezTo>
                    <a:cubicBezTo>
                      <a:pt x="19" y="42"/>
                      <a:pt x="19" y="43"/>
                      <a:pt x="19" y="45"/>
                    </a:cubicBezTo>
                    <a:cubicBezTo>
                      <a:pt x="26" y="45"/>
                      <a:pt x="33" y="44"/>
                      <a:pt x="39" y="44"/>
                    </a:cubicBezTo>
                    <a:cubicBezTo>
                      <a:pt x="39" y="45"/>
                      <a:pt x="39" y="45"/>
                      <a:pt x="39" y="46"/>
                    </a:cubicBezTo>
                    <a:cubicBezTo>
                      <a:pt x="40" y="47"/>
                      <a:pt x="41" y="46"/>
                      <a:pt x="42" y="45"/>
                    </a:cubicBezTo>
                    <a:cubicBezTo>
                      <a:pt x="41" y="46"/>
                      <a:pt x="41" y="46"/>
                      <a:pt x="42" y="48"/>
                    </a:cubicBezTo>
                    <a:cubicBezTo>
                      <a:pt x="43" y="49"/>
                      <a:pt x="45" y="49"/>
                      <a:pt x="47" y="50"/>
                    </a:cubicBezTo>
                    <a:cubicBezTo>
                      <a:pt x="51" y="50"/>
                      <a:pt x="54" y="51"/>
                      <a:pt x="58" y="52"/>
                    </a:cubicBezTo>
                    <a:cubicBezTo>
                      <a:pt x="60" y="52"/>
                      <a:pt x="62" y="51"/>
                      <a:pt x="65" y="51"/>
                    </a:cubicBezTo>
                    <a:cubicBezTo>
                      <a:pt x="65" y="50"/>
                      <a:pt x="64" y="50"/>
                      <a:pt x="64" y="49"/>
                    </a:cubicBezTo>
                    <a:cubicBezTo>
                      <a:pt x="65" y="50"/>
                      <a:pt x="65" y="51"/>
                      <a:pt x="66" y="50"/>
                    </a:cubicBezTo>
                    <a:cubicBezTo>
                      <a:pt x="67" y="49"/>
                      <a:pt x="67" y="48"/>
                      <a:pt x="67" y="47"/>
                    </a:cubicBezTo>
                    <a:cubicBezTo>
                      <a:pt x="69" y="45"/>
                      <a:pt x="73" y="46"/>
                      <a:pt x="76" y="45"/>
                    </a:cubicBezTo>
                    <a:cubicBezTo>
                      <a:pt x="78" y="45"/>
                      <a:pt x="80" y="45"/>
                      <a:pt x="81" y="44"/>
                    </a:cubicBezTo>
                    <a:cubicBezTo>
                      <a:pt x="83" y="43"/>
                      <a:pt x="85" y="42"/>
                      <a:pt x="86" y="40"/>
                    </a:cubicBezTo>
                    <a:cubicBezTo>
                      <a:pt x="88" y="39"/>
                      <a:pt x="93" y="38"/>
                      <a:pt x="94" y="36"/>
                    </a:cubicBezTo>
                    <a:cubicBezTo>
                      <a:pt x="93" y="36"/>
                      <a:pt x="93" y="36"/>
                      <a:pt x="93" y="35"/>
                    </a:cubicBezTo>
                    <a:cubicBezTo>
                      <a:pt x="93" y="36"/>
                      <a:pt x="94" y="36"/>
                      <a:pt x="94" y="36"/>
                    </a:cubicBezTo>
                    <a:cubicBezTo>
                      <a:pt x="94" y="37"/>
                      <a:pt x="96" y="38"/>
                      <a:pt x="96" y="38"/>
                    </a:cubicBezTo>
                    <a:cubicBezTo>
                      <a:pt x="96" y="38"/>
                      <a:pt x="97" y="38"/>
                      <a:pt x="98" y="38"/>
                    </a:cubicBezTo>
                    <a:cubicBezTo>
                      <a:pt x="99" y="37"/>
                      <a:pt x="101" y="36"/>
                      <a:pt x="102" y="35"/>
                    </a:cubicBezTo>
                    <a:cubicBezTo>
                      <a:pt x="103" y="34"/>
                      <a:pt x="102" y="33"/>
                      <a:pt x="102" y="33"/>
                    </a:cubicBezTo>
                    <a:cubicBezTo>
                      <a:pt x="102" y="32"/>
                      <a:pt x="102" y="32"/>
                      <a:pt x="103" y="31"/>
                    </a:cubicBezTo>
                    <a:cubicBezTo>
                      <a:pt x="104" y="29"/>
                      <a:pt x="104" y="30"/>
                      <a:pt x="103" y="29"/>
                    </a:cubicBezTo>
                    <a:cubicBezTo>
                      <a:pt x="103" y="29"/>
                      <a:pt x="103" y="29"/>
                      <a:pt x="103" y="29"/>
                    </a:cubicBezTo>
                    <a:cubicBezTo>
                      <a:pt x="103" y="29"/>
                      <a:pt x="103" y="29"/>
                      <a:pt x="103" y="29"/>
                    </a:cubicBezTo>
                    <a:cubicBezTo>
                      <a:pt x="104" y="30"/>
                      <a:pt x="105" y="31"/>
                      <a:pt x="107" y="30"/>
                    </a:cubicBezTo>
                    <a:cubicBezTo>
                      <a:pt x="107" y="30"/>
                      <a:pt x="109" y="28"/>
                      <a:pt x="108" y="27"/>
                    </a:cubicBezTo>
                    <a:cubicBezTo>
                      <a:pt x="108" y="27"/>
                      <a:pt x="108" y="27"/>
                      <a:pt x="107" y="27"/>
                    </a:cubicBezTo>
                    <a:cubicBezTo>
                      <a:pt x="109" y="27"/>
                      <a:pt x="110" y="27"/>
                      <a:pt x="109" y="26"/>
                    </a:cubicBezTo>
                    <a:cubicBezTo>
                      <a:pt x="109" y="26"/>
                      <a:pt x="109" y="25"/>
                      <a:pt x="109" y="25"/>
                    </a:cubicBezTo>
                    <a:cubicBezTo>
                      <a:pt x="108" y="25"/>
                      <a:pt x="107" y="25"/>
                      <a:pt x="106" y="25"/>
                    </a:cubicBezTo>
                    <a:cubicBezTo>
                      <a:pt x="108" y="25"/>
                      <a:pt x="111" y="24"/>
                      <a:pt x="113" y="24"/>
                    </a:cubicBezTo>
                    <a:cubicBezTo>
                      <a:pt x="112" y="24"/>
                      <a:pt x="112" y="24"/>
                      <a:pt x="111" y="23"/>
                    </a:cubicBezTo>
                    <a:close/>
                    <a:moveTo>
                      <a:pt x="42" y="45"/>
                    </a:moveTo>
                    <a:cubicBezTo>
                      <a:pt x="42" y="45"/>
                      <a:pt x="42" y="45"/>
                      <a:pt x="42" y="45"/>
                    </a:cubicBezTo>
                    <a:cubicBezTo>
                      <a:pt x="42" y="45"/>
                      <a:pt x="42" y="45"/>
                      <a:pt x="42" y="45"/>
                    </a:cubicBezTo>
                    <a:close/>
                    <a:moveTo>
                      <a:pt x="102" y="17"/>
                    </a:moveTo>
                    <a:cubicBezTo>
                      <a:pt x="102" y="17"/>
                      <a:pt x="102" y="17"/>
                      <a:pt x="102" y="17"/>
                    </a:cubicBezTo>
                    <a:cubicBezTo>
                      <a:pt x="102" y="17"/>
                      <a:pt x="102" y="17"/>
                      <a:pt x="102" y="17"/>
                    </a:cubicBezTo>
                    <a:close/>
                    <a:moveTo>
                      <a:pt x="102" y="17"/>
                    </a:moveTo>
                    <a:cubicBezTo>
                      <a:pt x="102" y="17"/>
                      <a:pt x="102" y="17"/>
                      <a:pt x="102" y="17"/>
                    </a:cubicBezTo>
                    <a:cubicBezTo>
                      <a:pt x="102" y="17"/>
                      <a:pt x="103" y="17"/>
                      <a:pt x="103" y="17"/>
                    </a:cubicBezTo>
                    <a:cubicBezTo>
                      <a:pt x="102" y="17"/>
                      <a:pt x="102" y="17"/>
                      <a:pt x="10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2" name="Freeform 1808">
                <a:extLst>
                  <a:ext uri="{FF2B5EF4-FFF2-40B4-BE49-F238E27FC236}">
                    <a16:creationId xmlns:a16="http://schemas.microsoft.com/office/drawing/2014/main" id="{954C8702-4666-4B60-A112-BC4A68BDD803}"/>
                  </a:ext>
                </a:extLst>
              </p:cNvPr>
              <p:cNvSpPr>
                <a:spLocks/>
              </p:cNvSpPr>
              <p:nvPr/>
            </p:nvSpPr>
            <p:spPr bwMode="auto">
              <a:xfrm>
                <a:off x="1457" y="2376"/>
                <a:ext cx="9" cy="5"/>
              </a:xfrm>
              <a:custGeom>
                <a:avLst/>
                <a:gdLst>
                  <a:gd name="T0" fmla="*/ 0 w 4"/>
                  <a:gd name="T1" fmla="*/ 2 h 2"/>
                  <a:gd name="T2" fmla="*/ 4 w 4"/>
                  <a:gd name="T3" fmla="*/ 0 h 2"/>
                  <a:gd name="T4" fmla="*/ 0 w 4"/>
                  <a:gd name="T5" fmla="*/ 2 h 2"/>
                </a:gdLst>
                <a:ahLst/>
                <a:cxnLst>
                  <a:cxn ang="0">
                    <a:pos x="T0" y="T1"/>
                  </a:cxn>
                  <a:cxn ang="0">
                    <a:pos x="T2" y="T3"/>
                  </a:cxn>
                  <a:cxn ang="0">
                    <a:pos x="T4" y="T5"/>
                  </a:cxn>
                </a:cxnLst>
                <a:rect l="0" t="0" r="r" b="b"/>
                <a:pathLst>
                  <a:path w="4" h="2">
                    <a:moveTo>
                      <a:pt x="0" y="2"/>
                    </a:moveTo>
                    <a:cubicBezTo>
                      <a:pt x="1" y="1"/>
                      <a:pt x="3" y="1"/>
                      <a:pt x="4" y="0"/>
                    </a:cubicBezTo>
                    <a:cubicBezTo>
                      <a:pt x="3" y="0"/>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3" name="Freeform 1809">
                <a:extLst>
                  <a:ext uri="{FF2B5EF4-FFF2-40B4-BE49-F238E27FC236}">
                    <a16:creationId xmlns:a16="http://schemas.microsoft.com/office/drawing/2014/main" id="{039FAE27-9278-46F0-8798-8134444A3329}"/>
                  </a:ext>
                </a:extLst>
              </p:cNvPr>
              <p:cNvSpPr>
                <a:spLocks/>
              </p:cNvSpPr>
              <p:nvPr/>
            </p:nvSpPr>
            <p:spPr bwMode="auto">
              <a:xfrm>
                <a:off x="1797" y="375"/>
                <a:ext cx="29" cy="9"/>
              </a:xfrm>
              <a:custGeom>
                <a:avLst/>
                <a:gdLst>
                  <a:gd name="T0" fmla="*/ 5 w 12"/>
                  <a:gd name="T1" fmla="*/ 3 h 4"/>
                  <a:gd name="T2" fmla="*/ 6 w 12"/>
                  <a:gd name="T3" fmla="*/ 3 h 4"/>
                  <a:gd name="T4" fmla="*/ 12 w 12"/>
                  <a:gd name="T5" fmla="*/ 2 h 4"/>
                  <a:gd name="T6" fmla="*/ 3 w 12"/>
                  <a:gd name="T7" fmla="*/ 0 h 4"/>
                  <a:gd name="T8" fmla="*/ 0 w 12"/>
                  <a:gd name="T9" fmla="*/ 1 h 4"/>
                  <a:gd name="T10" fmla="*/ 4 w 12"/>
                  <a:gd name="T11" fmla="*/ 3 h 4"/>
                  <a:gd name="T12" fmla="*/ 5 w 12"/>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5" y="3"/>
                    </a:moveTo>
                    <a:cubicBezTo>
                      <a:pt x="5" y="4"/>
                      <a:pt x="6" y="3"/>
                      <a:pt x="6" y="3"/>
                    </a:cubicBezTo>
                    <a:cubicBezTo>
                      <a:pt x="8" y="3"/>
                      <a:pt x="10" y="3"/>
                      <a:pt x="12" y="2"/>
                    </a:cubicBezTo>
                    <a:cubicBezTo>
                      <a:pt x="9" y="1"/>
                      <a:pt x="6" y="1"/>
                      <a:pt x="3" y="0"/>
                    </a:cubicBezTo>
                    <a:cubicBezTo>
                      <a:pt x="2" y="0"/>
                      <a:pt x="1" y="1"/>
                      <a:pt x="0" y="1"/>
                    </a:cubicBezTo>
                    <a:cubicBezTo>
                      <a:pt x="1" y="2"/>
                      <a:pt x="3" y="2"/>
                      <a:pt x="4" y="3"/>
                    </a:cubicBezTo>
                    <a:cubicBezTo>
                      <a:pt x="4" y="3"/>
                      <a:pt x="4"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4" name="Freeform 1810">
                <a:extLst>
                  <a:ext uri="{FF2B5EF4-FFF2-40B4-BE49-F238E27FC236}">
                    <a16:creationId xmlns:a16="http://schemas.microsoft.com/office/drawing/2014/main" id="{ADB8E58B-3E1B-4774-B74A-25D603AA4B8F}"/>
                  </a:ext>
                </a:extLst>
              </p:cNvPr>
              <p:cNvSpPr>
                <a:spLocks/>
              </p:cNvSpPr>
              <p:nvPr/>
            </p:nvSpPr>
            <p:spPr bwMode="auto">
              <a:xfrm>
                <a:off x="2651" y="910"/>
                <a:ext cx="2" cy="2"/>
              </a:xfrm>
              <a:custGeom>
                <a:avLst/>
                <a:gdLst>
                  <a:gd name="T0" fmla="*/ 1 w 1"/>
                  <a:gd name="T1" fmla="*/ 0 h 1"/>
                  <a:gd name="T2" fmla="*/ 1 w 1"/>
                  <a:gd name="T3" fmla="*/ 0 h 1"/>
                  <a:gd name="T4" fmla="*/ 1 w 1"/>
                  <a:gd name="T5" fmla="*/ 0 h 1"/>
                  <a:gd name="T6" fmla="*/ 0 w 1"/>
                  <a:gd name="T7" fmla="*/ 1 h 1"/>
                  <a:gd name="T8" fmla="*/ 1 w 1"/>
                  <a:gd name="T9" fmla="*/ 0 h 1"/>
                  <a:gd name="T10" fmla="*/ 1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1" y="0"/>
                    </a:cubicBezTo>
                    <a:cubicBezTo>
                      <a:pt x="1" y="0"/>
                      <a:pt x="1" y="0"/>
                      <a:pt x="1" y="0"/>
                    </a:cubicBezTo>
                    <a:cubicBezTo>
                      <a:pt x="1" y="0"/>
                      <a:pt x="0" y="0"/>
                      <a:pt x="0" y="1"/>
                    </a:cubicBezTo>
                    <a:cubicBezTo>
                      <a:pt x="0" y="1"/>
                      <a:pt x="1" y="1"/>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5" name="Freeform 1811">
                <a:extLst>
                  <a:ext uri="{FF2B5EF4-FFF2-40B4-BE49-F238E27FC236}">
                    <a16:creationId xmlns:a16="http://schemas.microsoft.com/office/drawing/2014/main" id="{3AB5CAF9-F17B-49FE-8F64-5A27000DF34B}"/>
                  </a:ext>
                </a:extLst>
              </p:cNvPr>
              <p:cNvSpPr>
                <a:spLocks/>
              </p:cNvSpPr>
              <p:nvPr/>
            </p:nvSpPr>
            <p:spPr bwMode="auto">
              <a:xfrm>
                <a:off x="2398" y="86"/>
                <a:ext cx="78" cy="38"/>
              </a:xfrm>
              <a:custGeom>
                <a:avLst/>
                <a:gdLst>
                  <a:gd name="T0" fmla="*/ 26 w 33"/>
                  <a:gd name="T1" fmla="*/ 15 h 16"/>
                  <a:gd name="T2" fmla="*/ 30 w 33"/>
                  <a:gd name="T3" fmla="*/ 15 h 16"/>
                  <a:gd name="T4" fmla="*/ 28 w 33"/>
                  <a:gd name="T5" fmla="*/ 13 h 16"/>
                  <a:gd name="T6" fmla="*/ 28 w 33"/>
                  <a:gd name="T7" fmla="*/ 11 h 16"/>
                  <a:gd name="T8" fmla="*/ 33 w 33"/>
                  <a:gd name="T9" fmla="*/ 8 h 16"/>
                  <a:gd name="T10" fmla="*/ 30 w 33"/>
                  <a:gd name="T11" fmla="*/ 6 h 16"/>
                  <a:gd name="T12" fmla="*/ 27 w 33"/>
                  <a:gd name="T13" fmla="*/ 4 h 16"/>
                  <a:gd name="T14" fmla="*/ 19 w 33"/>
                  <a:gd name="T15" fmla="*/ 2 h 16"/>
                  <a:gd name="T16" fmla="*/ 15 w 33"/>
                  <a:gd name="T17" fmla="*/ 0 h 16"/>
                  <a:gd name="T18" fmla="*/ 9 w 33"/>
                  <a:gd name="T19" fmla="*/ 0 h 16"/>
                  <a:gd name="T20" fmla="*/ 9 w 33"/>
                  <a:gd name="T21" fmla="*/ 1 h 16"/>
                  <a:gd name="T22" fmla="*/ 5 w 33"/>
                  <a:gd name="T23" fmla="*/ 1 h 16"/>
                  <a:gd name="T24" fmla="*/ 0 w 33"/>
                  <a:gd name="T25" fmla="*/ 1 h 16"/>
                  <a:gd name="T26" fmla="*/ 4 w 33"/>
                  <a:gd name="T27" fmla="*/ 4 h 16"/>
                  <a:gd name="T28" fmla="*/ 26 w 33"/>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
                    <a:moveTo>
                      <a:pt x="26" y="15"/>
                    </a:moveTo>
                    <a:cubicBezTo>
                      <a:pt x="27" y="16"/>
                      <a:pt x="29" y="16"/>
                      <a:pt x="30" y="15"/>
                    </a:cubicBezTo>
                    <a:cubicBezTo>
                      <a:pt x="30" y="14"/>
                      <a:pt x="28" y="13"/>
                      <a:pt x="28" y="13"/>
                    </a:cubicBezTo>
                    <a:cubicBezTo>
                      <a:pt x="26" y="12"/>
                      <a:pt x="27" y="12"/>
                      <a:pt x="28" y="11"/>
                    </a:cubicBezTo>
                    <a:cubicBezTo>
                      <a:pt x="29" y="9"/>
                      <a:pt x="31" y="9"/>
                      <a:pt x="33" y="8"/>
                    </a:cubicBezTo>
                    <a:cubicBezTo>
                      <a:pt x="33" y="7"/>
                      <a:pt x="31" y="6"/>
                      <a:pt x="30" y="6"/>
                    </a:cubicBezTo>
                    <a:cubicBezTo>
                      <a:pt x="29" y="5"/>
                      <a:pt x="28" y="5"/>
                      <a:pt x="27" y="4"/>
                    </a:cubicBezTo>
                    <a:cubicBezTo>
                      <a:pt x="25" y="3"/>
                      <a:pt x="22" y="3"/>
                      <a:pt x="19" y="2"/>
                    </a:cubicBezTo>
                    <a:cubicBezTo>
                      <a:pt x="18" y="1"/>
                      <a:pt x="16" y="1"/>
                      <a:pt x="15" y="0"/>
                    </a:cubicBezTo>
                    <a:cubicBezTo>
                      <a:pt x="13" y="0"/>
                      <a:pt x="10" y="0"/>
                      <a:pt x="9" y="0"/>
                    </a:cubicBezTo>
                    <a:cubicBezTo>
                      <a:pt x="9" y="1"/>
                      <a:pt x="9" y="1"/>
                      <a:pt x="9" y="1"/>
                    </a:cubicBezTo>
                    <a:cubicBezTo>
                      <a:pt x="8" y="1"/>
                      <a:pt x="6" y="1"/>
                      <a:pt x="5" y="1"/>
                    </a:cubicBezTo>
                    <a:cubicBezTo>
                      <a:pt x="4" y="1"/>
                      <a:pt x="1" y="1"/>
                      <a:pt x="0" y="1"/>
                    </a:cubicBezTo>
                    <a:cubicBezTo>
                      <a:pt x="2" y="2"/>
                      <a:pt x="3" y="4"/>
                      <a:pt x="4" y="4"/>
                    </a:cubicBezTo>
                    <a:cubicBezTo>
                      <a:pt x="12" y="8"/>
                      <a:pt x="19" y="12"/>
                      <a:pt x="2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6" name="Freeform 1812">
                <a:extLst>
                  <a:ext uri="{FF2B5EF4-FFF2-40B4-BE49-F238E27FC236}">
                    <a16:creationId xmlns:a16="http://schemas.microsoft.com/office/drawing/2014/main" id="{B29F11FD-E3F4-4807-AB26-0DF48F71766C}"/>
                  </a:ext>
                </a:extLst>
              </p:cNvPr>
              <p:cNvSpPr>
                <a:spLocks/>
              </p:cNvSpPr>
              <p:nvPr/>
            </p:nvSpPr>
            <p:spPr bwMode="auto">
              <a:xfrm>
                <a:off x="2261" y="107"/>
                <a:ext cx="52" cy="19"/>
              </a:xfrm>
              <a:custGeom>
                <a:avLst/>
                <a:gdLst>
                  <a:gd name="T0" fmla="*/ 1 w 22"/>
                  <a:gd name="T1" fmla="*/ 4 h 8"/>
                  <a:gd name="T2" fmla="*/ 9 w 22"/>
                  <a:gd name="T3" fmla="*/ 7 h 8"/>
                  <a:gd name="T4" fmla="*/ 22 w 22"/>
                  <a:gd name="T5" fmla="*/ 8 h 8"/>
                  <a:gd name="T6" fmla="*/ 17 w 22"/>
                  <a:gd name="T7" fmla="*/ 5 h 8"/>
                  <a:gd name="T8" fmla="*/ 10 w 22"/>
                  <a:gd name="T9" fmla="*/ 3 h 8"/>
                  <a:gd name="T10" fmla="*/ 3 w 22"/>
                  <a:gd name="T11" fmla="*/ 0 h 8"/>
                  <a:gd name="T12" fmla="*/ 0 w 22"/>
                  <a:gd name="T13" fmla="*/ 3 h 8"/>
                  <a:gd name="T14" fmla="*/ 1 w 22"/>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8">
                    <a:moveTo>
                      <a:pt x="1" y="4"/>
                    </a:moveTo>
                    <a:cubicBezTo>
                      <a:pt x="2" y="7"/>
                      <a:pt x="6" y="6"/>
                      <a:pt x="9" y="7"/>
                    </a:cubicBezTo>
                    <a:cubicBezTo>
                      <a:pt x="13" y="7"/>
                      <a:pt x="18" y="8"/>
                      <a:pt x="22" y="8"/>
                    </a:cubicBezTo>
                    <a:cubicBezTo>
                      <a:pt x="20" y="7"/>
                      <a:pt x="19" y="6"/>
                      <a:pt x="17" y="5"/>
                    </a:cubicBezTo>
                    <a:cubicBezTo>
                      <a:pt x="14" y="4"/>
                      <a:pt x="12" y="4"/>
                      <a:pt x="10" y="3"/>
                    </a:cubicBezTo>
                    <a:cubicBezTo>
                      <a:pt x="7" y="2"/>
                      <a:pt x="5" y="0"/>
                      <a:pt x="3" y="0"/>
                    </a:cubicBezTo>
                    <a:cubicBezTo>
                      <a:pt x="2" y="0"/>
                      <a:pt x="0" y="2"/>
                      <a:pt x="0" y="3"/>
                    </a:cubicBezTo>
                    <a:cubicBezTo>
                      <a:pt x="0" y="3"/>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7" name="Freeform 1813">
                <a:extLst>
                  <a:ext uri="{FF2B5EF4-FFF2-40B4-BE49-F238E27FC236}">
                    <a16:creationId xmlns:a16="http://schemas.microsoft.com/office/drawing/2014/main" id="{7A9D92BA-0428-4609-A29F-AD36AFD2A803}"/>
                  </a:ext>
                </a:extLst>
              </p:cNvPr>
              <p:cNvSpPr>
                <a:spLocks/>
              </p:cNvSpPr>
              <p:nvPr/>
            </p:nvSpPr>
            <p:spPr bwMode="auto">
              <a:xfrm>
                <a:off x="2220" y="706"/>
                <a:ext cx="10" cy="5"/>
              </a:xfrm>
              <a:custGeom>
                <a:avLst/>
                <a:gdLst>
                  <a:gd name="T0" fmla="*/ 4 w 4"/>
                  <a:gd name="T1" fmla="*/ 2 h 2"/>
                  <a:gd name="T2" fmla="*/ 0 w 4"/>
                  <a:gd name="T3" fmla="*/ 0 h 2"/>
                  <a:gd name="T4" fmla="*/ 4 w 4"/>
                  <a:gd name="T5" fmla="*/ 2 h 2"/>
                </a:gdLst>
                <a:ahLst/>
                <a:cxnLst>
                  <a:cxn ang="0">
                    <a:pos x="T0" y="T1"/>
                  </a:cxn>
                  <a:cxn ang="0">
                    <a:pos x="T2" y="T3"/>
                  </a:cxn>
                  <a:cxn ang="0">
                    <a:pos x="T4" y="T5"/>
                  </a:cxn>
                </a:cxnLst>
                <a:rect l="0" t="0" r="r" b="b"/>
                <a:pathLst>
                  <a:path w="4" h="2">
                    <a:moveTo>
                      <a:pt x="4" y="2"/>
                    </a:moveTo>
                    <a:cubicBezTo>
                      <a:pt x="3" y="1"/>
                      <a:pt x="1" y="0"/>
                      <a:pt x="0" y="0"/>
                    </a:cubicBezTo>
                    <a:cubicBezTo>
                      <a:pt x="1" y="2"/>
                      <a:pt x="1" y="2"/>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8" name="Freeform 1814">
                <a:extLst>
                  <a:ext uri="{FF2B5EF4-FFF2-40B4-BE49-F238E27FC236}">
                    <a16:creationId xmlns:a16="http://schemas.microsoft.com/office/drawing/2014/main" id="{7BA2B8B1-D33F-4C05-BDF9-8E46A30B00F4}"/>
                  </a:ext>
                </a:extLst>
              </p:cNvPr>
              <p:cNvSpPr>
                <a:spLocks/>
              </p:cNvSpPr>
              <p:nvPr/>
            </p:nvSpPr>
            <p:spPr bwMode="auto">
              <a:xfrm>
                <a:off x="2563" y="933"/>
                <a:ext cx="14" cy="21"/>
              </a:xfrm>
              <a:custGeom>
                <a:avLst/>
                <a:gdLst>
                  <a:gd name="T0" fmla="*/ 3 w 6"/>
                  <a:gd name="T1" fmla="*/ 8 h 9"/>
                  <a:gd name="T2" fmla="*/ 6 w 6"/>
                  <a:gd name="T3" fmla="*/ 9 h 9"/>
                  <a:gd name="T4" fmla="*/ 5 w 6"/>
                  <a:gd name="T5" fmla="*/ 7 h 9"/>
                  <a:gd name="T6" fmla="*/ 4 w 6"/>
                  <a:gd name="T7" fmla="*/ 6 h 9"/>
                  <a:gd name="T8" fmla="*/ 3 w 6"/>
                  <a:gd name="T9" fmla="*/ 6 h 9"/>
                  <a:gd name="T10" fmla="*/ 3 w 6"/>
                  <a:gd name="T11" fmla="*/ 5 h 9"/>
                  <a:gd name="T12" fmla="*/ 3 w 6"/>
                  <a:gd name="T13" fmla="*/ 5 h 9"/>
                  <a:gd name="T14" fmla="*/ 3 w 6"/>
                  <a:gd name="T15" fmla="*/ 4 h 9"/>
                  <a:gd name="T16" fmla="*/ 3 w 6"/>
                  <a:gd name="T17" fmla="*/ 4 h 9"/>
                  <a:gd name="T18" fmla="*/ 3 w 6"/>
                  <a:gd name="T19" fmla="*/ 3 h 9"/>
                  <a:gd name="T20" fmla="*/ 3 w 6"/>
                  <a:gd name="T21" fmla="*/ 2 h 9"/>
                  <a:gd name="T22" fmla="*/ 1 w 6"/>
                  <a:gd name="T23" fmla="*/ 1 h 9"/>
                  <a:gd name="T24" fmla="*/ 1 w 6"/>
                  <a:gd name="T25" fmla="*/ 1 h 9"/>
                  <a:gd name="T26" fmla="*/ 0 w 6"/>
                  <a:gd name="T27" fmla="*/ 1 h 9"/>
                  <a:gd name="T28" fmla="*/ 0 w 6"/>
                  <a:gd name="T29" fmla="*/ 2 h 9"/>
                  <a:gd name="T30" fmla="*/ 2 w 6"/>
                  <a:gd name="T31" fmla="*/ 5 h 9"/>
                  <a:gd name="T32" fmla="*/ 2 w 6"/>
                  <a:gd name="T33" fmla="*/ 5 h 9"/>
                  <a:gd name="T34" fmla="*/ 2 w 6"/>
                  <a:gd name="T35" fmla="*/ 5 h 9"/>
                  <a:gd name="T36" fmla="*/ 3 w 6"/>
                  <a:gd name="T3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9">
                    <a:moveTo>
                      <a:pt x="3" y="8"/>
                    </a:moveTo>
                    <a:cubicBezTo>
                      <a:pt x="4" y="8"/>
                      <a:pt x="5" y="9"/>
                      <a:pt x="6" y="9"/>
                    </a:cubicBezTo>
                    <a:cubicBezTo>
                      <a:pt x="6" y="8"/>
                      <a:pt x="6" y="7"/>
                      <a:pt x="5" y="7"/>
                    </a:cubicBezTo>
                    <a:cubicBezTo>
                      <a:pt x="5" y="7"/>
                      <a:pt x="4" y="7"/>
                      <a:pt x="4" y="6"/>
                    </a:cubicBezTo>
                    <a:cubicBezTo>
                      <a:pt x="3" y="6"/>
                      <a:pt x="3" y="6"/>
                      <a:pt x="3" y="6"/>
                    </a:cubicBezTo>
                    <a:cubicBezTo>
                      <a:pt x="3" y="6"/>
                      <a:pt x="3" y="5"/>
                      <a:pt x="3" y="5"/>
                    </a:cubicBezTo>
                    <a:cubicBezTo>
                      <a:pt x="3" y="5"/>
                      <a:pt x="3" y="5"/>
                      <a:pt x="3" y="5"/>
                    </a:cubicBezTo>
                    <a:cubicBezTo>
                      <a:pt x="3" y="4"/>
                      <a:pt x="3" y="4"/>
                      <a:pt x="3" y="4"/>
                    </a:cubicBezTo>
                    <a:cubicBezTo>
                      <a:pt x="3" y="4"/>
                      <a:pt x="3" y="4"/>
                      <a:pt x="3" y="4"/>
                    </a:cubicBezTo>
                    <a:cubicBezTo>
                      <a:pt x="3" y="4"/>
                      <a:pt x="3" y="3"/>
                      <a:pt x="3" y="3"/>
                    </a:cubicBezTo>
                    <a:cubicBezTo>
                      <a:pt x="3" y="3"/>
                      <a:pt x="3" y="2"/>
                      <a:pt x="3" y="2"/>
                    </a:cubicBezTo>
                    <a:cubicBezTo>
                      <a:pt x="2" y="1"/>
                      <a:pt x="2" y="1"/>
                      <a:pt x="1" y="1"/>
                    </a:cubicBezTo>
                    <a:cubicBezTo>
                      <a:pt x="1" y="1"/>
                      <a:pt x="1" y="1"/>
                      <a:pt x="1" y="1"/>
                    </a:cubicBezTo>
                    <a:cubicBezTo>
                      <a:pt x="1" y="1"/>
                      <a:pt x="0" y="0"/>
                      <a:pt x="0" y="1"/>
                    </a:cubicBezTo>
                    <a:cubicBezTo>
                      <a:pt x="0" y="1"/>
                      <a:pt x="0" y="1"/>
                      <a:pt x="0" y="2"/>
                    </a:cubicBezTo>
                    <a:cubicBezTo>
                      <a:pt x="0" y="3"/>
                      <a:pt x="1" y="4"/>
                      <a:pt x="2" y="5"/>
                    </a:cubicBezTo>
                    <a:cubicBezTo>
                      <a:pt x="2" y="5"/>
                      <a:pt x="2" y="5"/>
                      <a:pt x="2" y="5"/>
                    </a:cubicBezTo>
                    <a:cubicBezTo>
                      <a:pt x="2" y="5"/>
                      <a:pt x="2" y="5"/>
                      <a:pt x="2" y="5"/>
                    </a:cubicBezTo>
                    <a:cubicBezTo>
                      <a:pt x="2" y="6"/>
                      <a:pt x="3" y="7"/>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9" name="Freeform 1815">
                <a:extLst>
                  <a:ext uri="{FF2B5EF4-FFF2-40B4-BE49-F238E27FC236}">
                    <a16:creationId xmlns:a16="http://schemas.microsoft.com/office/drawing/2014/main" id="{A01F9D7F-58BE-4B3A-AE70-20FC7F7BA582}"/>
                  </a:ext>
                </a:extLst>
              </p:cNvPr>
              <p:cNvSpPr>
                <a:spLocks/>
              </p:cNvSpPr>
              <p:nvPr/>
            </p:nvSpPr>
            <p:spPr bwMode="auto">
              <a:xfrm>
                <a:off x="2218" y="713"/>
                <a:ext cx="80" cy="45"/>
              </a:xfrm>
              <a:custGeom>
                <a:avLst/>
                <a:gdLst>
                  <a:gd name="T0" fmla="*/ 32 w 34"/>
                  <a:gd name="T1" fmla="*/ 9 h 19"/>
                  <a:gd name="T2" fmla="*/ 25 w 34"/>
                  <a:gd name="T3" fmla="*/ 7 h 19"/>
                  <a:gd name="T4" fmla="*/ 21 w 34"/>
                  <a:gd name="T5" fmla="*/ 4 h 19"/>
                  <a:gd name="T6" fmla="*/ 10 w 34"/>
                  <a:gd name="T7" fmla="*/ 0 h 19"/>
                  <a:gd name="T8" fmla="*/ 3 w 34"/>
                  <a:gd name="T9" fmla="*/ 2 h 19"/>
                  <a:gd name="T10" fmla="*/ 6 w 34"/>
                  <a:gd name="T11" fmla="*/ 6 h 19"/>
                  <a:gd name="T12" fmla="*/ 9 w 34"/>
                  <a:gd name="T13" fmla="*/ 7 h 19"/>
                  <a:gd name="T14" fmla="*/ 3 w 34"/>
                  <a:gd name="T15" fmla="*/ 7 h 19"/>
                  <a:gd name="T16" fmla="*/ 5 w 34"/>
                  <a:gd name="T17" fmla="*/ 10 h 19"/>
                  <a:gd name="T18" fmla="*/ 7 w 34"/>
                  <a:gd name="T19" fmla="*/ 11 h 19"/>
                  <a:gd name="T20" fmla="*/ 2 w 34"/>
                  <a:gd name="T21" fmla="*/ 12 h 19"/>
                  <a:gd name="T22" fmla="*/ 8 w 34"/>
                  <a:gd name="T23" fmla="*/ 13 h 19"/>
                  <a:gd name="T24" fmla="*/ 12 w 34"/>
                  <a:gd name="T25" fmla="*/ 14 h 19"/>
                  <a:gd name="T26" fmla="*/ 13 w 34"/>
                  <a:gd name="T27" fmla="*/ 15 h 19"/>
                  <a:gd name="T28" fmla="*/ 13 w 34"/>
                  <a:gd name="T29" fmla="*/ 15 h 19"/>
                  <a:gd name="T30" fmla="*/ 18 w 34"/>
                  <a:gd name="T31" fmla="*/ 16 h 19"/>
                  <a:gd name="T32" fmla="*/ 12 w 34"/>
                  <a:gd name="T33" fmla="*/ 16 h 19"/>
                  <a:gd name="T34" fmla="*/ 10 w 34"/>
                  <a:gd name="T35" fmla="*/ 18 h 19"/>
                  <a:gd name="T36" fmla="*/ 11 w 34"/>
                  <a:gd name="T37" fmla="*/ 18 h 19"/>
                  <a:gd name="T38" fmla="*/ 13 w 34"/>
                  <a:gd name="T39" fmla="*/ 19 h 19"/>
                  <a:gd name="T40" fmla="*/ 18 w 34"/>
                  <a:gd name="T41" fmla="*/ 19 h 19"/>
                  <a:gd name="T42" fmla="*/ 29 w 34"/>
                  <a:gd name="T43" fmla="*/ 16 h 19"/>
                  <a:gd name="T44" fmla="*/ 33 w 34"/>
                  <a:gd name="T45" fmla="*/ 13 h 19"/>
                  <a:gd name="T46" fmla="*/ 32 w 34"/>
                  <a:gd name="T47" fmla="*/ 11 h 19"/>
                  <a:gd name="T48" fmla="*/ 32 w 34"/>
                  <a:gd name="T4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19">
                    <a:moveTo>
                      <a:pt x="32" y="9"/>
                    </a:moveTo>
                    <a:cubicBezTo>
                      <a:pt x="31" y="8"/>
                      <a:pt x="27" y="8"/>
                      <a:pt x="25" y="7"/>
                    </a:cubicBezTo>
                    <a:cubicBezTo>
                      <a:pt x="24" y="6"/>
                      <a:pt x="23" y="5"/>
                      <a:pt x="21" y="4"/>
                    </a:cubicBezTo>
                    <a:cubicBezTo>
                      <a:pt x="19" y="1"/>
                      <a:pt x="13" y="0"/>
                      <a:pt x="10" y="0"/>
                    </a:cubicBezTo>
                    <a:cubicBezTo>
                      <a:pt x="8" y="0"/>
                      <a:pt x="3" y="0"/>
                      <a:pt x="3" y="2"/>
                    </a:cubicBezTo>
                    <a:cubicBezTo>
                      <a:pt x="3" y="4"/>
                      <a:pt x="4" y="5"/>
                      <a:pt x="6" y="6"/>
                    </a:cubicBezTo>
                    <a:cubicBezTo>
                      <a:pt x="7" y="6"/>
                      <a:pt x="8" y="6"/>
                      <a:pt x="9" y="7"/>
                    </a:cubicBezTo>
                    <a:cubicBezTo>
                      <a:pt x="8" y="7"/>
                      <a:pt x="2" y="5"/>
                      <a:pt x="3" y="7"/>
                    </a:cubicBezTo>
                    <a:cubicBezTo>
                      <a:pt x="3" y="9"/>
                      <a:pt x="4" y="9"/>
                      <a:pt x="5" y="10"/>
                    </a:cubicBezTo>
                    <a:cubicBezTo>
                      <a:pt x="6" y="10"/>
                      <a:pt x="7" y="11"/>
                      <a:pt x="7" y="11"/>
                    </a:cubicBezTo>
                    <a:cubicBezTo>
                      <a:pt x="6" y="11"/>
                      <a:pt x="0" y="9"/>
                      <a:pt x="2" y="12"/>
                    </a:cubicBezTo>
                    <a:cubicBezTo>
                      <a:pt x="4" y="12"/>
                      <a:pt x="6" y="13"/>
                      <a:pt x="8" y="13"/>
                    </a:cubicBezTo>
                    <a:cubicBezTo>
                      <a:pt x="9" y="14"/>
                      <a:pt x="11" y="14"/>
                      <a:pt x="12" y="14"/>
                    </a:cubicBezTo>
                    <a:cubicBezTo>
                      <a:pt x="10" y="15"/>
                      <a:pt x="13" y="15"/>
                      <a:pt x="13" y="15"/>
                    </a:cubicBezTo>
                    <a:cubicBezTo>
                      <a:pt x="13" y="15"/>
                      <a:pt x="13" y="15"/>
                      <a:pt x="13" y="15"/>
                    </a:cubicBezTo>
                    <a:cubicBezTo>
                      <a:pt x="14" y="16"/>
                      <a:pt x="16" y="15"/>
                      <a:pt x="18" y="16"/>
                    </a:cubicBezTo>
                    <a:cubicBezTo>
                      <a:pt x="16" y="16"/>
                      <a:pt x="13" y="16"/>
                      <a:pt x="12" y="16"/>
                    </a:cubicBezTo>
                    <a:cubicBezTo>
                      <a:pt x="10" y="16"/>
                      <a:pt x="7" y="16"/>
                      <a:pt x="10" y="18"/>
                    </a:cubicBezTo>
                    <a:cubicBezTo>
                      <a:pt x="10" y="18"/>
                      <a:pt x="11" y="18"/>
                      <a:pt x="11" y="18"/>
                    </a:cubicBezTo>
                    <a:cubicBezTo>
                      <a:pt x="12" y="18"/>
                      <a:pt x="12" y="18"/>
                      <a:pt x="13" y="19"/>
                    </a:cubicBezTo>
                    <a:cubicBezTo>
                      <a:pt x="14" y="19"/>
                      <a:pt x="16" y="19"/>
                      <a:pt x="18" y="19"/>
                    </a:cubicBezTo>
                    <a:cubicBezTo>
                      <a:pt x="21" y="18"/>
                      <a:pt x="25" y="17"/>
                      <a:pt x="29" y="16"/>
                    </a:cubicBezTo>
                    <a:cubicBezTo>
                      <a:pt x="30" y="15"/>
                      <a:pt x="32" y="14"/>
                      <a:pt x="33" y="13"/>
                    </a:cubicBezTo>
                    <a:cubicBezTo>
                      <a:pt x="34" y="12"/>
                      <a:pt x="31" y="12"/>
                      <a:pt x="32" y="11"/>
                    </a:cubicBezTo>
                    <a:cubicBezTo>
                      <a:pt x="32" y="10"/>
                      <a:pt x="33" y="10"/>
                      <a:pt x="3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0" name="Freeform 1816">
                <a:extLst>
                  <a:ext uri="{FF2B5EF4-FFF2-40B4-BE49-F238E27FC236}">
                    <a16:creationId xmlns:a16="http://schemas.microsoft.com/office/drawing/2014/main" id="{709184A0-BE7A-4C56-A263-1FE868EE8B08}"/>
                  </a:ext>
                </a:extLst>
              </p:cNvPr>
              <p:cNvSpPr>
                <a:spLocks/>
              </p:cNvSpPr>
              <p:nvPr/>
            </p:nvSpPr>
            <p:spPr bwMode="auto">
              <a:xfrm>
                <a:off x="2558" y="959"/>
                <a:ext cx="10" cy="5"/>
              </a:xfrm>
              <a:custGeom>
                <a:avLst/>
                <a:gdLst>
                  <a:gd name="T0" fmla="*/ 2 w 4"/>
                  <a:gd name="T1" fmla="*/ 0 h 2"/>
                  <a:gd name="T2" fmla="*/ 2 w 4"/>
                  <a:gd name="T3" fmla="*/ 0 h 2"/>
                  <a:gd name="T4" fmla="*/ 0 w 4"/>
                  <a:gd name="T5" fmla="*/ 2 h 2"/>
                  <a:gd name="T6" fmla="*/ 2 w 4"/>
                  <a:gd name="T7" fmla="*/ 2 h 2"/>
                  <a:gd name="T8" fmla="*/ 3 w 4"/>
                  <a:gd name="T9" fmla="*/ 2 h 2"/>
                  <a:gd name="T10" fmla="*/ 4 w 4"/>
                  <a:gd name="T11" fmla="*/ 2 h 2"/>
                  <a:gd name="T12" fmla="*/ 2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0"/>
                    </a:moveTo>
                    <a:cubicBezTo>
                      <a:pt x="2" y="0"/>
                      <a:pt x="2" y="0"/>
                      <a:pt x="2" y="0"/>
                    </a:cubicBezTo>
                    <a:cubicBezTo>
                      <a:pt x="1" y="0"/>
                      <a:pt x="1" y="1"/>
                      <a:pt x="0" y="2"/>
                    </a:cubicBezTo>
                    <a:cubicBezTo>
                      <a:pt x="1" y="2"/>
                      <a:pt x="1" y="2"/>
                      <a:pt x="2" y="2"/>
                    </a:cubicBezTo>
                    <a:cubicBezTo>
                      <a:pt x="2" y="2"/>
                      <a:pt x="3" y="2"/>
                      <a:pt x="3" y="2"/>
                    </a:cubicBezTo>
                    <a:cubicBezTo>
                      <a:pt x="3" y="2"/>
                      <a:pt x="4" y="2"/>
                      <a:pt x="4" y="2"/>
                    </a:cubicBezTo>
                    <a:cubicBezTo>
                      <a:pt x="3" y="1"/>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1" name="Freeform 1817">
                <a:extLst>
                  <a:ext uri="{FF2B5EF4-FFF2-40B4-BE49-F238E27FC236}">
                    <a16:creationId xmlns:a16="http://schemas.microsoft.com/office/drawing/2014/main" id="{B24CBF22-27FA-41ED-BC61-B76BD752078E}"/>
                  </a:ext>
                </a:extLst>
              </p:cNvPr>
              <p:cNvSpPr>
                <a:spLocks/>
              </p:cNvSpPr>
              <p:nvPr/>
            </p:nvSpPr>
            <p:spPr bwMode="auto">
              <a:xfrm>
                <a:off x="2476" y="1118"/>
                <a:ext cx="4" cy="4"/>
              </a:xfrm>
              <a:custGeom>
                <a:avLst/>
                <a:gdLst>
                  <a:gd name="T0" fmla="*/ 2 w 2"/>
                  <a:gd name="T1" fmla="*/ 0 h 2"/>
                  <a:gd name="T2" fmla="*/ 2 w 2"/>
                  <a:gd name="T3" fmla="*/ 0 h 2"/>
                  <a:gd name="T4" fmla="*/ 1 w 2"/>
                  <a:gd name="T5" fmla="*/ 0 h 2"/>
                  <a:gd name="T6" fmla="*/ 1 w 2"/>
                  <a:gd name="T7" fmla="*/ 0 h 2"/>
                  <a:gd name="T8" fmla="*/ 0 w 2"/>
                  <a:gd name="T9" fmla="*/ 1 h 2"/>
                  <a:gd name="T10" fmla="*/ 0 w 2"/>
                  <a:gd name="T11" fmla="*/ 2 h 2"/>
                  <a:gd name="T12" fmla="*/ 1 w 2"/>
                  <a:gd name="T13" fmla="*/ 1 h 2"/>
                  <a:gd name="T14" fmla="*/ 2 w 2"/>
                  <a:gd name="T15" fmla="*/ 1 h 2"/>
                  <a:gd name="T16" fmla="*/ 2 w 2"/>
                  <a:gd name="T17" fmla="*/ 1 h 2"/>
                  <a:gd name="T18" fmla="*/ 2 w 2"/>
                  <a:gd name="T19" fmla="*/ 1 h 2"/>
                  <a:gd name="T20" fmla="*/ 2 w 2"/>
                  <a:gd name="T21" fmla="*/ 0 h 2"/>
                  <a:gd name="T22" fmla="*/ 2 w 2"/>
                  <a:gd name="T23" fmla="*/ 0 h 2"/>
                  <a:gd name="T24" fmla="*/ 2 w 2"/>
                  <a:gd name="T25" fmla="*/ 0 h 2"/>
                  <a:gd name="T26" fmla="*/ 2 w 2"/>
                  <a:gd name="T27" fmla="*/ 0 h 2"/>
                  <a:gd name="T28" fmla="*/ 2 w 2"/>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2" y="0"/>
                    </a:moveTo>
                    <a:cubicBezTo>
                      <a:pt x="2" y="0"/>
                      <a:pt x="2" y="0"/>
                      <a:pt x="2" y="0"/>
                    </a:cubicBezTo>
                    <a:cubicBezTo>
                      <a:pt x="1" y="0"/>
                      <a:pt x="1" y="0"/>
                      <a:pt x="1" y="0"/>
                    </a:cubicBezTo>
                    <a:cubicBezTo>
                      <a:pt x="1" y="0"/>
                      <a:pt x="1" y="0"/>
                      <a:pt x="1" y="0"/>
                    </a:cubicBezTo>
                    <a:cubicBezTo>
                      <a:pt x="0" y="0"/>
                      <a:pt x="0" y="1"/>
                      <a:pt x="0" y="1"/>
                    </a:cubicBezTo>
                    <a:cubicBezTo>
                      <a:pt x="0" y="1"/>
                      <a:pt x="0" y="1"/>
                      <a:pt x="0" y="2"/>
                    </a:cubicBezTo>
                    <a:cubicBezTo>
                      <a:pt x="1" y="1"/>
                      <a:pt x="1" y="1"/>
                      <a:pt x="1" y="1"/>
                    </a:cubicBezTo>
                    <a:cubicBezTo>
                      <a:pt x="1" y="1"/>
                      <a:pt x="2" y="1"/>
                      <a:pt x="2" y="1"/>
                    </a:cubicBezTo>
                    <a:cubicBezTo>
                      <a:pt x="2" y="1"/>
                      <a:pt x="2" y="1"/>
                      <a:pt x="2" y="1"/>
                    </a:cubicBezTo>
                    <a:cubicBezTo>
                      <a:pt x="2" y="1"/>
                      <a:pt x="2" y="1"/>
                      <a:pt x="2" y="1"/>
                    </a:cubicBezTo>
                    <a:cubicBezTo>
                      <a:pt x="2" y="1"/>
                      <a:pt x="2" y="1"/>
                      <a:pt x="2" y="0"/>
                    </a:cubicBezTo>
                    <a:cubicBezTo>
                      <a:pt x="2" y="0"/>
                      <a:pt x="2" y="0"/>
                      <a:pt x="2" y="0"/>
                    </a:cubicBezTo>
                    <a:cubicBezTo>
                      <a:pt x="2" y="0"/>
                      <a:pt x="2" y="0"/>
                      <a:pt x="2" y="0"/>
                    </a:cubicBezTo>
                    <a:cubicBezTo>
                      <a:pt x="2" y="0"/>
                      <a:pt x="2"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2" name="Freeform 1818">
                <a:extLst>
                  <a:ext uri="{FF2B5EF4-FFF2-40B4-BE49-F238E27FC236}">
                    <a16:creationId xmlns:a16="http://schemas.microsoft.com/office/drawing/2014/main" id="{6AA88477-353A-493B-B8CD-553523609BFC}"/>
                  </a:ext>
                </a:extLst>
              </p:cNvPr>
              <p:cNvSpPr>
                <a:spLocks/>
              </p:cNvSpPr>
              <p:nvPr/>
            </p:nvSpPr>
            <p:spPr bwMode="auto">
              <a:xfrm>
                <a:off x="2528" y="1025"/>
                <a:ext cx="2" cy="3"/>
              </a:xfrm>
              <a:custGeom>
                <a:avLst/>
                <a:gdLst>
                  <a:gd name="T0" fmla="*/ 0 w 1"/>
                  <a:gd name="T1" fmla="*/ 0 h 1"/>
                  <a:gd name="T2" fmla="*/ 0 w 1"/>
                  <a:gd name="T3" fmla="*/ 1 h 1"/>
                  <a:gd name="T4" fmla="*/ 1 w 1"/>
                  <a:gd name="T5" fmla="*/ 1 h 1"/>
                  <a:gd name="T6" fmla="*/ 1 w 1"/>
                  <a:gd name="T7" fmla="*/ 1 h 1"/>
                  <a:gd name="T8" fmla="*/ 1 w 1"/>
                  <a:gd name="T9" fmla="*/ 1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0" y="0"/>
                      <a:pt x="0" y="0"/>
                      <a:pt x="0" y="1"/>
                    </a:cubicBezTo>
                    <a:cubicBezTo>
                      <a:pt x="1" y="1"/>
                      <a:pt x="1" y="1"/>
                      <a:pt x="1" y="1"/>
                    </a:cubicBezTo>
                    <a:cubicBezTo>
                      <a:pt x="1" y="1"/>
                      <a:pt x="1" y="1"/>
                      <a:pt x="1" y="1"/>
                    </a:cubicBezTo>
                    <a:cubicBezTo>
                      <a:pt x="1" y="1"/>
                      <a:pt x="1" y="1"/>
                      <a:pt x="1" y="1"/>
                    </a:cubicBezTo>
                    <a:cubicBezTo>
                      <a:pt x="1"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3" name="Freeform 1819">
                <a:extLst>
                  <a:ext uri="{FF2B5EF4-FFF2-40B4-BE49-F238E27FC236}">
                    <a16:creationId xmlns:a16="http://schemas.microsoft.com/office/drawing/2014/main" id="{1ADB2333-E254-4498-8307-3F37EE296B42}"/>
                  </a:ext>
                </a:extLst>
              </p:cNvPr>
              <p:cNvSpPr>
                <a:spLocks/>
              </p:cNvSpPr>
              <p:nvPr/>
            </p:nvSpPr>
            <p:spPr bwMode="auto">
              <a:xfrm>
                <a:off x="2244" y="668"/>
                <a:ext cx="19" cy="14"/>
              </a:xfrm>
              <a:custGeom>
                <a:avLst/>
                <a:gdLst>
                  <a:gd name="T0" fmla="*/ 2 w 8"/>
                  <a:gd name="T1" fmla="*/ 2 h 6"/>
                  <a:gd name="T2" fmla="*/ 2 w 8"/>
                  <a:gd name="T3" fmla="*/ 5 h 6"/>
                  <a:gd name="T4" fmla="*/ 5 w 8"/>
                  <a:gd name="T5" fmla="*/ 5 h 6"/>
                  <a:gd name="T6" fmla="*/ 5 w 8"/>
                  <a:gd name="T7" fmla="*/ 0 h 6"/>
                  <a:gd name="T8" fmla="*/ 2 w 8"/>
                  <a:gd name="T9" fmla="*/ 2 h 6"/>
                </a:gdLst>
                <a:ahLst/>
                <a:cxnLst>
                  <a:cxn ang="0">
                    <a:pos x="T0" y="T1"/>
                  </a:cxn>
                  <a:cxn ang="0">
                    <a:pos x="T2" y="T3"/>
                  </a:cxn>
                  <a:cxn ang="0">
                    <a:pos x="T4" y="T5"/>
                  </a:cxn>
                  <a:cxn ang="0">
                    <a:pos x="T6" y="T7"/>
                  </a:cxn>
                  <a:cxn ang="0">
                    <a:pos x="T8" y="T9"/>
                  </a:cxn>
                </a:cxnLst>
                <a:rect l="0" t="0" r="r" b="b"/>
                <a:pathLst>
                  <a:path w="8" h="6">
                    <a:moveTo>
                      <a:pt x="2" y="2"/>
                    </a:moveTo>
                    <a:cubicBezTo>
                      <a:pt x="0" y="4"/>
                      <a:pt x="1" y="4"/>
                      <a:pt x="2" y="5"/>
                    </a:cubicBezTo>
                    <a:cubicBezTo>
                      <a:pt x="3" y="5"/>
                      <a:pt x="4" y="6"/>
                      <a:pt x="5" y="5"/>
                    </a:cubicBezTo>
                    <a:cubicBezTo>
                      <a:pt x="8" y="4"/>
                      <a:pt x="6" y="2"/>
                      <a:pt x="5" y="0"/>
                    </a:cubicBezTo>
                    <a:cubicBezTo>
                      <a:pt x="3" y="0"/>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4" name="Freeform 1820">
                <a:extLst>
                  <a:ext uri="{FF2B5EF4-FFF2-40B4-BE49-F238E27FC236}">
                    <a16:creationId xmlns:a16="http://schemas.microsoft.com/office/drawing/2014/main" id="{9D585233-80D7-4243-9F6C-24370CB0F952}"/>
                  </a:ext>
                </a:extLst>
              </p:cNvPr>
              <p:cNvSpPr>
                <a:spLocks/>
              </p:cNvSpPr>
              <p:nvPr/>
            </p:nvSpPr>
            <p:spPr bwMode="auto">
              <a:xfrm>
                <a:off x="2310" y="730"/>
                <a:ext cx="14" cy="19"/>
              </a:xfrm>
              <a:custGeom>
                <a:avLst/>
                <a:gdLst>
                  <a:gd name="T0" fmla="*/ 3 w 6"/>
                  <a:gd name="T1" fmla="*/ 1 h 8"/>
                  <a:gd name="T2" fmla="*/ 0 w 6"/>
                  <a:gd name="T3" fmla="*/ 5 h 8"/>
                  <a:gd name="T4" fmla="*/ 3 w 6"/>
                  <a:gd name="T5" fmla="*/ 7 h 8"/>
                  <a:gd name="T6" fmla="*/ 3 w 6"/>
                  <a:gd name="T7" fmla="*/ 5 h 8"/>
                  <a:gd name="T8" fmla="*/ 6 w 6"/>
                  <a:gd name="T9" fmla="*/ 2 h 8"/>
                  <a:gd name="T10" fmla="*/ 6 w 6"/>
                  <a:gd name="T11" fmla="*/ 1 h 8"/>
                  <a:gd name="T12" fmla="*/ 4 w 6"/>
                  <a:gd name="T13" fmla="*/ 0 h 8"/>
                  <a:gd name="T14" fmla="*/ 1 w 6"/>
                  <a:gd name="T15" fmla="*/ 0 h 8"/>
                  <a:gd name="T16" fmla="*/ 1 w 6"/>
                  <a:gd name="T17" fmla="*/ 0 h 8"/>
                  <a:gd name="T18" fmla="*/ 0 w 6"/>
                  <a:gd name="T19" fmla="*/ 1 h 8"/>
                  <a:gd name="T20" fmla="*/ 3 w 6"/>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3" y="1"/>
                    </a:moveTo>
                    <a:cubicBezTo>
                      <a:pt x="1" y="2"/>
                      <a:pt x="0" y="2"/>
                      <a:pt x="0" y="5"/>
                    </a:cubicBezTo>
                    <a:cubicBezTo>
                      <a:pt x="0" y="6"/>
                      <a:pt x="2" y="8"/>
                      <a:pt x="3" y="7"/>
                    </a:cubicBezTo>
                    <a:cubicBezTo>
                      <a:pt x="4" y="6"/>
                      <a:pt x="3" y="6"/>
                      <a:pt x="3" y="5"/>
                    </a:cubicBezTo>
                    <a:cubicBezTo>
                      <a:pt x="3" y="4"/>
                      <a:pt x="6" y="3"/>
                      <a:pt x="6" y="2"/>
                    </a:cubicBezTo>
                    <a:cubicBezTo>
                      <a:pt x="6" y="1"/>
                      <a:pt x="6" y="1"/>
                      <a:pt x="6" y="1"/>
                    </a:cubicBezTo>
                    <a:cubicBezTo>
                      <a:pt x="5" y="1"/>
                      <a:pt x="5" y="0"/>
                      <a:pt x="4" y="0"/>
                    </a:cubicBezTo>
                    <a:cubicBezTo>
                      <a:pt x="3" y="0"/>
                      <a:pt x="2" y="0"/>
                      <a:pt x="1" y="0"/>
                    </a:cubicBezTo>
                    <a:cubicBezTo>
                      <a:pt x="1" y="0"/>
                      <a:pt x="1" y="0"/>
                      <a:pt x="1" y="0"/>
                    </a:cubicBezTo>
                    <a:cubicBezTo>
                      <a:pt x="1" y="1"/>
                      <a:pt x="0" y="1"/>
                      <a:pt x="0" y="1"/>
                    </a:cubicBezTo>
                    <a:cubicBezTo>
                      <a:pt x="1" y="2"/>
                      <a:pt x="1"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5" name="Freeform 1821">
                <a:extLst>
                  <a:ext uri="{FF2B5EF4-FFF2-40B4-BE49-F238E27FC236}">
                    <a16:creationId xmlns:a16="http://schemas.microsoft.com/office/drawing/2014/main" id="{11597E20-0C07-4F4B-ABC2-1D307FEDA13E}"/>
                  </a:ext>
                </a:extLst>
              </p:cNvPr>
              <p:cNvSpPr>
                <a:spLocks/>
              </p:cNvSpPr>
              <p:nvPr/>
            </p:nvSpPr>
            <p:spPr bwMode="auto">
              <a:xfrm>
                <a:off x="2265" y="668"/>
                <a:ext cx="19" cy="7"/>
              </a:xfrm>
              <a:custGeom>
                <a:avLst/>
                <a:gdLst>
                  <a:gd name="T0" fmla="*/ 4 w 8"/>
                  <a:gd name="T1" fmla="*/ 3 h 3"/>
                  <a:gd name="T2" fmla="*/ 6 w 8"/>
                  <a:gd name="T3" fmla="*/ 2 h 3"/>
                  <a:gd name="T4" fmla="*/ 8 w 8"/>
                  <a:gd name="T5" fmla="*/ 1 h 3"/>
                  <a:gd name="T6" fmla="*/ 0 w 8"/>
                  <a:gd name="T7" fmla="*/ 0 h 3"/>
                  <a:gd name="T8" fmla="*/ 4 w 8"/>
                  <a:gd name="T9" fmla="*/ 3 h 3"/>
                </a:gdLst>
                <a:ahLst/>
                <a:cxnLst>
                  <a:cxn ang="0">
                    <a:pos x="T0" y="T1"/>
                  </a:cxn>
                  <a:cxn ang="0">
                    <a:pos x="T2" y="T3"/>
                  </a:cxn>
                  <a:cxn ang="0">
                    <a:pos x="T4" y="T5"/>
                  </a:cxn>
                  <a:cxn ang="0">
                    <a:pos x="T6" y="T7"/>
                  </a:cxn>
                  <a:cxn ang="0">
                    <a:pos x="T8" y="T9"/>
                  </a:cxn>
                </a:cxnLst>
                <a:rect l="0" t="0" r="r" b="b"/>
                <a:pathLst>
                  <a:path w="8" h="3">
                    <a:moveTo>
                      <a:pt x="4" y="3"/>
                    </a:moveTo>
                    <a:cubicBezTo>
                      <a:pt x="5" y="3"/>
                      <a:pt x="5" y="3"/>
                      <a:pt x="6" y="2"/>
                    </a:cubicBezTo>
                    <a:cubicBezTo>
                      <a:pt x="6" y="1"/>
                      <a:pt x="8" y="1"/>
                      <a:pt x="8" y="1"/>
                    </a:cubicBezTo>
                    <a:cubicBezTo>
                      <a:pt x="6" y="0"/>
                      <a:pt x="3" y="0"/>
                      <a:pt x="0" y="0"/>
                    </a:cubicBezTo>
                    <a:cubicBezTo>
                      <a:pt x="0" y="2"/>
                      <a:pt x="1" y="3"/>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6" name="Freeform 1822">
                <a:extLst>
                  <a:ext uri="{FF2B5EF4-FFF2-40B4-BE49-F238E27FC236}">
                    <a16:creationId xmlns:a16="http://schemas.microsoft.com/office/drawing/2014/main" id="{788B8E15-E5E5-450E-8D68-737BDA314AE0}"/>
                  </a:ext>
                </a:extLst>
              </p:cNvPr>
              <p:cNvSpPr>
                <a:spLocks/>
              </p:cNvSpPr>
              <p:nvPr/>
            </p:nvSpPr>
            <p:spPr bwMode="auto">
              <a:xfrm>
                <a:off x="2419" y="1087"/>
                <a:ext cx="14" cy="5"/>
              </a:xfrm>
              <a:custGeom>
                <a:avLst/>
                <a:gdLst>
                  <a:gd name="T0" fmla="*/ 6 w 6"/>
                  <a:gd name="T1" fmla="*/ 0 h 2"/>
                  <a:gd name="T2" fmla="*/ 5 w 6"/>
                  <a:gd name="T3" fmla="*/ 0 h 2"/>
                  <a:gd name="T4" fmla="*/ 4 w 6"/>
                  <a:gd name="T5" fmla="*/ 0 h 2"/>
                  <a:gd name="T6" fmla="*/ 0 w 6"/>
                  <a:gd name="T7" fmla="*/ 2 h 2"/>
                  <a:gd name="T8" fmla="*/ 1 w 6"/>
                  <a:gd name="T9" fmla="*/ 2 h 2"/>
                  <a:gd name="T10" fmla="*/ 6 w 6"/>
                  <a:gd name="T11" fmla="*/ 0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cubicBezTo>
                      <a:pt x="6" y="0"/>
                      <a:pt x="5" y="0"/>
                      <a:pt x="5" y="0"/>
                    </a:cubicBezTo>
                    <a:cubicBezTo>
                      <a:pt x="5" y="0"/>
                      <a:pt x="4" y="0"/>
                      <a:pt x="4" y="0"/>
                    </a:cubicBezTo>
                    <a:cubicBezTo>
                      <a:pt x="2" y="0"/>
                      <a:pt x="0" y="2"/>
                      <a:pt x="0" y="2"/>
                    </a:cubicBezTo>
                    <a:cubicBezTo>
                      <a:pt x="0" y="2"/>
                      <a:pt x="1" y="2"/>
                      <a:pt x="1" y="2"/>
                    </a:cubicBezTo>
                    <a:cubicBezTo>
                      <a:pt x="3" y="1"/>
                      <a:pt x="4" y="1"/>
                      <a:pt x="6" y="0"/>
                    </a:cubicBezTo>
                    <a:cubicBezTo>
                      <a:pt x="6" y="0"/>
                      <a:pt x="6" y="0"/>
                      <a:pt x="6" y="0"/>
                    </a:cubicBezTo>
                    <a:cubicBezTo>
                      <a:pt x="6" y="0"/>
                      <a:pt x="6" y="0"/>
                      <a:pt x="6" y="0"/>
                    </a:cubicBezTo>
                    <a:cubicBezTo>
                      <a:pt x="6" y="0"/>
                      <a:pt x="6"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7" name="Freeform 1823">
                <a:extLst>
                  <a:ext uri="{FF2B5EF4-FFF2-40B4-BE49-F238E27FC236}">
                    <a16:creationId xmlns:a16="http://schemas.microsoft.com/office/drawing/2014/main" id="{440C3074-A765-4C7F-9A09-63A861F2657B}"/>
                  </a:ext>
                </a:extLst>
              </p:cNvPr>
              <p:cNvSpPr>
                <a:spLocks/>
              </p:cNvSpPr>
              <p:nvPr/>
            </p:nvSpPr>
            <p:spPr bwMode="auto">
              <a:xfrm>
                <a:off x="1828" y="375"/>
                <a:ext cx="28" cy="5"/>
              </a:xfrm>
              <a:custGeom>
                <a:avLst/>
                <a:gdLst>
                  <a:gd name="T0" fmla="*/ 3 w 12"/>
                  <a:gd name="T1" fmla="*/ 2 h 2"/>
                  <a:gd name="T2" fmla="*/ 6 w 12"/>
                  <a:gd name="T3" fmla="*/ 2 h 2"/>
                  <a:gd name="T4" fmla="*/ 12 w 12"/>
                  <a:gd name="T5" fmla="*/ 1 h 2"/>
                  <a:gd name="T6" fmla="*/ 0 w 12"/>
                  <a:gd name="T7" fmla="*/ 0 h 2"/>
                  <a:gd name="T8" fmla="*/ 3 w 12"/>
                  <a:gd name="T9" fmla="*/ 2 h 2"/>
                </a:gdLst>
                <a:ahLst/>
                <a:cxnLst>
                  <a:cxn ang="0">
                    <a:pos x="T0" y="T1"/>
                  </a:cxn>
                  <a:cxn ang="0">
                    <a:pos x="T2" y="T3"/>
                  </a:cxn>
                  <a:cxn ang="0">
                    <a:pos x="T4" y="T5"/>
                  </a:cxn>
                  <a:cxn ang="0">
                    <a:pos x="T6" y="T7"/>
                  </a:cxn>
                  <a:cxn ang="0">
                    <a:pos x="T8" y="T9"/>
                  </a:cxn>
                </a:cxnLst>
                <a:rect l="0" t="0" r="r" b="b"/>
                <a:pathLst>
                  <a:path w="12" h="2">
                    <a:moveTo>
                      <a:pt x="3" y="2"/>
                    </a:moveTo>
                    <a:cubicBezTo>
                      <a:pt x="4" y="2"/>
                      <a:pt x="5" y="2"/>
                      <a:pt x="6" y="2"/>
                    </a:cubicBezTo>
                    <a:cubicBezTo>
                      <a:pt x="8" y="2"/>
                      <a:pt x="10" y="2"/>
                      <a:pt x="12" y="1"/>
                    </a:cubicBezTo>
                    <a:cubicBezTo>
                      <a:pt x="8" y="1"/>
                      <a:pt x="4" y="1"/>
                      <a:pt x="0" y="0"/>
                    </a:cubicBezTo>
                    <a:cubicBezTo>
                      <a:pt x="1"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8" name="Freeform 1824">
                <a:extLst>
                  <a:ext uri="{FF2B5EF4-FFF2-40B4-BE49-F238E27FC236}">
                    <a16:creationId xmlns:a16="http://schemas.microsoft.com/office/drawing/2014/main" id="{A8952698-B961-46FD-918B-C44D72978679}"/>
                  </a:ext>
                </a:extLst>
              </p:cNvPr>
              <p:cNvSpPr>
                <a:spLocks/>
              </p:cNvSpPr>
              <p:nvPr/>
            </p:nvSpPr>
            <p:spPr bwMode="auto">
              <a:xfrm>
                <a:off x="1532" y="1581"/>
                <a:ext cx="5" cy="3"/>
              </a:xfrm>
              <a:custGeom>
                <a:avLst/>
                <a:gdLst>
                  <a:gd name="T0" fmla="*/ 2 w 2"/>
                  <a:gd name="T1" fmla="*/ 1 h 1"/>
                  <a:gd name="T2" fmla="*/ 2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2" y="0"/>
                      <a:pt x="2" y="0"/>
                    </a:cubicBezTo>
                    <a:cubicBezTo>
                      <a:pt x="1" y="0"/>
                      <a:pt x="0" y="0"/>
                      <a:pt x="0" y="1"/>
                    </a:cubicBezTo>
                    <a:cubicBezTo>
                      <a:pt x="0"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9" name="Freeform 1825">
                <a:extLst>
                  <a:ext uri="{FF2B5EF4-FFF2-40B4-BE49-F238E27FC236}">
                    <a16:creationId xmlns:a16="http://schemas.microsoft.com/office/drawing/2014/main" id="{9344A305-4EB8-4C97-82DF-7059A76A876E}"/>
                  </a:ext>
                </a:extLst>
              </p:cNvPr>
              <p:cNvSpPr>
                <a:spLocks/>
              </p:cNvSpPr>
              <p:nvPr/>
            </p:nvSpPr>
            <p:spPr bwMode="auto">
              <a:xfrm>
                <a:off x="1419" y="1492"/>
                <a:ext cx="9" cy="4"/>
              </a:xfrm>
              <a:custGeom>
                <a:avLst/>
                <a:gdLst>
                  <a:gd name="T0" fmla="*/ 4 w 4"/>
                  <a:gd name="T1" fmla="*/ 1 h 2"/>
                  <a:gd name="T2" fmla="*/ 2 w 4"/>
                  <a:gd name="T3" fmla="*/ 1 h 2"/>
                  <a:gd name="T4" fmla="*/ 4 w 4"/>
                  <a:gd name="T5" fmla="*/ 1 h 2"/>
                </a:gdLst>
                <a:ahLst/>
                <a:cxnLst>
                  <a:cxn ang="0">
                    <a:pos x="T0" y="T1"/>
                  </a:cxn>
                  <a:cxn ang="0">
                    <a:pos x="T2" y="T3"/>
                  </a:cxn>
                  <a:cxn ang="0">
                    <a:pos x="T4" y="T5"/>
                  </a:cxn>
                </a:cxnLst>
                <a:rect l="0" t="0" r="r" b="b"/>
                <a:pathLst>
                  <a:path w="4" h="2">
                    <a:moveTo>
                      <a:pt x="4" y="1"/>
                    </a:moveTo>
                    <a:cubicBezTo>
                      <a:pt x="4" y="0"/>
                      <a:pt x="3" y="0"/>
                      <a:pt x="2" y="1"/>
                    </a:cubicBezTo>
                    <a:cubicBezTo>
                      <a:pt x="0" y="2"/>
                      <a:pt x="4"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0" name="Freeform 1826">
                <a:extLst>
                  <a:ext uri="{FF2B5EF4-FFF2-40B4-BE49-F238E27FC236}">
                    <a16:creationId xmlns:a16="http://schemas.microsoft.com/office/drawing/2014/main" id="{64EFE63A-EEA7-4665-9709-2EA6CE75A475}"/>
                  </a:ext>
                </a:extLst>
              </p:cNvPr>
              <p:cNvSpPr>
                <a:spLocks/>
              </p:cNvSpPr>
              <p:nvPr/>
            </p:nvSpPr>
            <p:spPr bwMode="auto">
              <a:xfrm>
                <a:off x="1518" y="1570"/>
                <a:ext cx="7" cy="7"/>
              </a:xfrm>
              <a:custGeom>
                <a:avLst/>
                <a:gdLst>
                  <a:gd name="T0" fmla="*/ 2 w 3"/>
                  <a:gd name="T1" fmla="*/ 3 h 3"/>
                  <a:gd name="T2" fmla="*/ 2 w 3"/>
                  <a:gd name="T3" fmla="*/ 1 h 3"/>
                  <a:gd name="T4" fmla="*/ 0 w 3"/>
                  <a:gd name="T5" fmla="*/ 1 h 3"/>
                  <a:gd name="T6" fmla="*/ 2 w 3"/>
                  <a:gd name="T7" fmla="*/ 3 h 3"/>
                </a:gdLst>
                <a:ahLst/>
                <a:cxnLst>
                  <a:cxn ang="0">
                    <a:pos x="T0" y="T1"/>
                  </a:cxn>
                  <a:cxn ang="0">
                    <a:pos x="T2" y="T3"/>
                  </a:cxn>
                  <a:cxn ang="0">
                    <a:pos x="T4" y="T5"/>
                  </a:cxn>
                  <a:cxn ang="0">
                    <a:pos x="T6" y="T7"/>
                  </a:cxn>
                </a:cxnLst>
                <a:rect l="0" t="0" r="r" b="b"/>
                <a:pathLst>
                  <a:path w="3" h="3">
                    <a:moveTo>
                      <a:pt x="2" y="3"/>
                    </a:moveTo>
                    <a:cubicBezTo>
                      <a:pt x="3" y="2"/>
                      <a:pt x="3" y="2"/>
                      <a:pt x="2" y="1"/>
                    </a:cubicBezTo>
                    <a:cubicBezTo>
                      <a:pt x="1" y="1"/>
                      <a:pt x="0" y="0"/>
                      <a:pt x="0"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1" name="Freeform 1827">
                <a:extLst>
                  <a:ext uri="{FF2B5EF4-FFF2-40B4-BE49-F238E27FC236}">
                    <a16:creationId xmlns:a16="http://schemas.microsoft.com/office/drawing/2014/main" id="{91BDA301-5625-4265-8D42-D4C440208724}"/>
                  </a:ext>
                </a:extLst>
              </p:cNvPr>
              <p:cNvSpPr>
                <a:spLocks/>
              </p:cNvSpPr>
              <p:nvPr/>
            </p:nvSpPr>
            <p:spPr bwMode="auto">
              <a:xfrm>
                <a:off x="1667" y="2109"/>
                <a:ext cx="21" cy="28"/>
              </a:xfrm>
              <a:custGeom>
                <a:avLst/>
                <a:gdLst>
                  <a:gd name="T0" fmla="*/ 4 w 9"/>
                  <a:gd name="T1" fmla="*/ 1 h 12"/>
                  <a:gd name="T2" fmla="*/ 0 w 9"/>
                  <a:gd name="T3" fmla="*/ 1 h 12"/>
                  <a:gd name="T4" fmla="*/ 2 w 9"/>
                  <a:gd name="T5" fmla="*/ 1 h 12"/>
                  <a:gd name="T6" fmla="*/ 5 w 9"/>
                  <a:gd name="T7" fmla="*/ 3 h 12"/>
                  <a:gd name="T8" fmla="*/ 7 w 9"/>
                  <a:gd name="T9" fmla="*/ 4 h 12"/>
                  <a:gd name="T10" fmla="*/ 8 w 9"/>
                  <a:gd name="T11" fmla="*/ 5 h 12"/>
                  <a:gd name="T12" fmla="*/ 5 w 9"/>
                  <a:gd name="T13" fmla="*/ 10 h 12"/>
                  <a:gd name="T14" fmla="*/ 7 w 9"/>
                  <a:gd name="T15" fmla="*/ 12 h 12"/>
                  <a:gd name="T16" fmla="*/ 9 w 9"/>
                  <a:gd name="T17" fmla="*/ 7 h 12"/>
                  <a:gd name="T18" fmla="*/ 9 w 9"/>
                  <a:gd name="T19" fmla="*/ 5 h 12"/>
                  <a:gd name="T20" fmla="*/ 6 w 9"/>
                  <a:gd name="T21" fmla="*/ 3 h 12"/>
                  <a:gd name="T22" fmla="*/ 7 w 9"/>
                  <a:gd name="T23" fmla="*/ 3 h 12"/>
                  <a:gd name="T24" fmla="*/ 4 w 9"/>
                  <a:gd name="T2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4" y="1"/>
                    </a:moveTo>
                    <a:cubicBezTo>
                      <a:pt x="3" y="1"/>
                      <a:pt x="1" y="0"/>
                      <a:pt x="0" y="1"/>
                    </a:cubicBezTo>
                    <a:cubicBezTo>
                      <a:pt x="1" y="1"/>
                      <a:pt x="1" y="1"/>
                      <a:pt x="2" y="1"/>
                    </a:cubicBezTo>
                    <a:cubicBezTo>
                      <a:pt x="4" y="2"/>
                      <a:pt x="4" y="1"/>
                      <a:pt x="5" y="3"/>
                    </a:cubicBezTo>
                    <a:cubicBezTo>
                      <a:pt x="6" y="3"/>
                      <a:pt x="6" y="4"/>
                      <a:pt x="7" y="4"/>
                    </a:cubicBezTo>
                    <a:cubicBezTo>
                      <a:pt x="8" y="5"/>
                      <a:pt x="8" y="4"/>
                      <a:pt x="8" y="5"/>
                    </a:cubicBezTo>
                    <a:cubicBezTo>
                      <a:pt x="8" y="7"/>
                      <a:pt x="7" y="10"/>
                      <a:pt x="5" y="10"/>
                    </a:cubicBezTo>
                    <a:cubicBezTo>
                      <a:pt x="6" y="11"/>
                      <a:pt x="7" y="12"/>
                      <a:pt x="7" y="12"/>
                    </a:cubicBezTo>
                    <a:cubicBezTo>
                      <a:pt x="8" y="11"/>
                      <a:pt x="7" y="7"/>
                      <a:pt x="9" y="7"/>
                    </a:cubicBezTo>
                    <a:cubicBezTo>
                      <a:pt x="9" y="7"/>
                      <a:pt x="9" y="5"/>
                      <a:pt x="9" y="5"/>
                    </a:cubicBezTo>
                    <a:cubicBezTo>
                      <a:pt x="8" y="4"/>
                      <a:pt x="7" y="4"/>
                      <a:pt x="6" y="3"/>
                    </a:cubicBezTo>
                    <a:cubicBezTo>
                      <a:pt x="6" y="3"/>
                      <a:pt x="7" y="3"/>
                      <a:pt x="7" y="3"/>
                    </a:cubicBezTo>
                    <a:cubicBezTo>
                      <a:pt x="6" y="3"/>
                      <a:pt x="5"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2" name="Freeform 1828">
                <a:extLst>
                  <a:ext uri="{FF2B5EF4-FFF2-40B4-BE49-F238E27FC236}">
                    <a16:creationId xmlns:a16="http://schemas.microsoft.com/office/drawing/2014/main" id="{AD5E3AA4-BBE0-491F-9BD0-C6EE1AC120D5}"/>
                  </a:ext>
                </a:extLst>
              </p:cNvPr>
              <p:cNvSpPr>
                <a:spLocks/>
              </p:cNvSpPr>
              <p:nvPr/>
            </p:nvSpPr>
            <p:spPr bwMode="auto">
              <a:xfrm>
                <a:off x="1655" y="2154"/>
                <a:ext cx="19" cy="26"/>
              </a:xfrm>
              <a:custGeom>
                <a:avLst/>
                <a:gdLst>
                  <a:gd name="T0" fmla="*/ 3 w 8"/>
                  <a:gd name="T1" fmla="*/ 9 h 11"/>
                  <a:gd name="T2" fmla="*/ 4 w 8"/>
                  <a:gd name="T3" fmla="*/ 10 h 11"/>
                  <a:gd name="T4" fmla="*/ 6 w 8"/>
                  <a:gd name="T5" fmla="*/ 9 h 11"/>
                  <a:gd name="T6" fmla="*/ 7 w 8"/>
                  <a:gd name="T7" fmla="*/ 8 h 11"/>
                  <a:gd name="T8" fmla="*/ 6 w 8"/>
                  <a:gd name="T9" fmla="*/ 5 h 11"/>
                  <a:gd name="T10" fmla="*/ 2 w 8"/>
                  <a:gd name="T11" fmla="*/ 0 h 11"/>
                  <a:gd name="T12" fmla="*/ 2 w 8"/>
                  <a:gd name="T13" fmla="*/ 4 h 11"/>
                  <a:gd name="T14" fmla="*/ 1 w 8"/>
                  <a:gd name="T15" fmla="*/ 6 h 11"/>
                  <a:gd name="T16" fmla="*/ 2 w 8"/>
                  <a:gd name="T17" fmla="*/ 7 h 11"/>
                  <a:gd name="T18" fmla="*/ 1 w 8"/>
                  <a:gd name="T19" fmla="*/ 6 h 11"/>
                  <a:gd name="T20" fmla="*/ 0 w 8"/>
                  <a:gd name="T21" fmla="*/ 7 h 11"/>
                  <a:gd name="T22" fmla="*/ 2 w 8"/>
                  <a:gd name="T23" fmla="*/ 8 h 11"/>
                  <a:gd name="T24" fmla="*/ 3 w 8"/>
                  <a:gd name="T2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1">
                    <a:moveTo>
                      <a:pt x="3" y="9"/>
                    </a:moveTo>
                    <a:cubicBezTo>
                      <a:pt x="4" y="10"/>
                      <a:pt x="4" y="11"/>
                      <a:pt x="4" y="10"/>
                    </a:cubicBezTo>
                    <a:cubicBezTo>
                      <a:pt x="5" y="10"/>
                      <a:pt x="5" y="9"/>
                      <a:pt x="6" y="9"/>
                    </a:cubicBezTo>
                    <a:cubicBezTo>
                      <a:pt x="6" y="9"/>
                      <a:pt x="7" y="9"/>
                      <a:pt x="7" y="8"/>
                    </a:cubicBezTo>
                    <a:cubicBezTo>
                      <a:pt x="8" y="8"/>
                      <a:pt x="7" y="5"/>
                      <a:pt x="6" y="5"/>
                    </a:cubicBezTo>
                    <a:cubicBezTo>
                      <a:pt x="5" y="2"/>
                      <a:pt x="5" y="1"/>
                      <a:pt x="2" y="0"/>
                    </a:cubicBezTo>
                    <a:cubicBezTo>
                      <a:pt x="2" y="2"/>
                      <a:pt x="3" y="3"/>
                      <a:pt x="2" y="4"/>
                    </a:cubicBezTo>
                    <a:cubicBezTo>
                      <a:pt x="1" y="5"/>
                      <a:pt x="1" y="5"/>
                      <a:pt x="1" y="6"/>
                    </a:cubicBezTo>
                    <a:cubicBezTo>
                      <a:pt x="1" y="7"/>
                      <a:pt x="3" y="7"/>
                      <a:pt x="2" y="7"/>
                    </a:cubicBezTo>
                    <a:cubicBezTo>
                      <a:pt x="1" y="7"/>
                      <a:pt x="1" y="6"/>
                      <a:pt x="1" y="6"/>
                    </a:cubicBezTo>
                    <a:cubicBezTo>
                      <a:pt x="1" y="6"/>
                      <a:pt x="0" y="7"/>
                      <a:pt x="0" y="7"/>
                    </a:cubicBezTo>
                    <a:cubicBezTo>
                      <a:pt x="0" y="8"/>
                      <a:pt x="1" y="8"/>
                      <a:pt x="2" y="8"/>
                    </a:cubicBezTo>
                    <a:cubicBezTo>
                      <a:pt x="2" y="9"/>
                      <a:pt x="3"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3" name="Freeform 1829">
                <a:extLst>
                  <a:ext uri="{FF2B5EF4-FFF2-40B4-BE49-F238E27FC236}">
                    <a16:creationId xmlns:a16="http://schemas.microsoft.com/office/drawing/2014/main" id="{BA2F1CF0-43F4-4284-B1E1-2FE00DA31C39}"/>
                  </a:ext>
                </a:extLst>
              </p:cNvPr>
              <p:cNvSpPr>
                <a:spLocks/>
              </p:cNvSpPr>
              <p:nvPr/>
            </p:nvSpPr>
            <p:spPr bwMode="auto">
              <a:xfrm>
                <a:off x="1679" y="2159"/>
                <a:ext cx="5" cy="2"/>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0" y="1"/>
                    </a:cubicBezTo>
                    <a:cubicBezTo>
                      <a:pt x="0" y="1"/>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4" name="Freeform 1830">
                <a:extLst>
                  <a:ext uri="{FF2B5EF4-FFF2-40B4-BE49-F238E27FC236}">
                    <a16:creationId xmlns:a16="http://schemas.microsoft.com/office/drawing/2014/main" id="{9C98CC4C-20A5-4E9E-B51A-34384D9989A2}"/>
                  </a:ext>
                </a:extLst>
              </p:cNvPr>
              <p:cNvSpPr>
                <a:spLocks/>
              </p:cNvSpPr>
              <p:nvPr/>
            </p:nvSpPr>
            <p:spPr bwMode="auto">
              <a:xfrm>
                <a:off x="1641" y="2114"/>
                <a:ext cx="29" cy="7"/>
              </a:xfrm>
              <a:custGeom>
                <a:avLst/>
                <a:gdLst>
                  <a:gd name="T0" fmla="*/ 5 w 12"/>
                  <a:gd name="T1" fmla="*/ 1 h 3"/>
                  <a:gd name="T2" fmla="*/ 4 w 12"/>
                  <a:gd name="T3" fmla="*/ 0 h 3"/>
                  <a:gd name="T4" fmla="*/ 2 w 12"/>
                  <a:gd name="T5" fmla="*/ 2 h 3"/>
                  <a:gd name="T6" fmla="*/ 1 w 12"/>
                  <a:gd name="T7" fmla="*/ 2 h 3"/>
                  <a:gd name="T8" fmla="*/ 0 w 12"/>
                  <a:gd name="T9" fmla="*/ 1 h 3"/>
                  <a:gd name="T10" fmla="*/ 3 w 12"/>
                  <a:gd name="T11" fmla="*/ 3 h 3"/>
                  <a:gd name="T12" fmla="*/ 8 w 12"/>
                  <a:gd name="T13" fmla="*/ 2 h 3"/>
                  <a:gd name="T14" fmla="*/ 10 w 12"/>
                  <a:gd name="T15" fmla="*/ 2 h 3"/>
                  <a:gd name="T16" fmla="*/ 11 w 12"/>
                  <a:gd name="T17" fmla="*/ 1 h 3"/>
                  <a:gd name="T18" fmla="*/ 5 w 12"/>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
                    <a:moveTo>
                      <a:pt x="5" y="1"/>
                    </a:moveTo>
                    <a:cubicBezTo>
                      <a:pt x="5" y="1"/>
                      <a:pt x="4" y="0"/>
                      <a:pt x="4" y="0"/>
                    </a:cubicBezTo>
                    <a:cubicBezTo>
                      <a:pt x="3" y="0"/>
                      <a:pt x="3" y="2"/>
                      <a:pt x="2" y="2"/>
                    </a:cubicBezTo>
                    <a:cubicBezTo>
                      <a:pt x="2" y="2"/>
                      <a:pt x="1" y="2"/>
                      <a:pt x="1" y="2"/>
                    </a:cubicBezTo>
                    <a:cubicBezTo>
                      <a:pt x="1" y="2"/>
                      <a:pt x="1" y="1"/>
                      <a:pt x="0" y="1"/>
                    </a:cubicBezTo>
                    <a:cubicBezTo>
                      <a:pt x="1" y="2"/>
                      <a:pt x="2" y="3"/>
                      <a:pt x="3" y="3"/>
                    </a:cubicBezTo>
                    <a:cubicBezTo>
                      <a:pt x="4" y="3"/>
                      <a:pt x="6" y="2"/>
                      <a:pt x="8" y="2"/>
                    </a:cubicBezTo>
                    <a:cubicBezTo>
                      <a:pt x="8" y="2"/>
                      <a:pt x="9" y="2"/>
                      <a:pt x="10" y="2"/>
                    </a:cubicBezTo>
                    <a:cubicBezTo>
                      <a:pt x="11" y="2"/>
                      <a:pt x="12" y="2"/>
                      <a:pt x="11" y="1"/>
                    </a:cubicBezTo>
                    <a:cubicBezTo>
                      <a:pt x="9" y="1"/>
                      <a:pt x="7"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5" name="Freeform 1831">
                <a:extLst>
                  <a:ext uri="{FF2B5EF4-FFF2-40B4-BE49-F238E27FC236}">
                    <a16:creationId xmlns:a16="http://schemas.microsoft.com/office/drawing/2014/main" id="{45391F46-E143-4E5C-BCCA-E4AD19007A40}"/>
                  </a:ext>
                </a:extLst>
              </p:cNvPr>
              <p:cNvSpPr>
                <a:spLocks/>
              </p:cNvSpPr>
              <p:nvPr/>
            </p:nvSpPr>
            <p:spPr bwMode="auto">
              <a:xfrm>
                <a:off x="1705" y="2154"/>
                <a:ext cx="7" cy="17"/>
              </a:xfrm>
              <a:custGeom>
                <a:avLst/>
                <a:gdLst>
                  <a:gd name="T0" fmla="*/ 0 w 3"/>
                  <a:gd name="T1" fmla="*/ 5 h 7"/>
                  <a:gd name="T2" fmla="*/ 2 w 3"/>
                  <a:gd name="T3" fmla="*/ 7 h 7"/>
                  <a:gd name="T4" fmla="*/ 2 w 3"/>
                  <a:gd name="T5" fmla="*/ 3 h 7"/>
                  <a:gd name="T6" fmla="*/ 1 w 3"/>
                  <a:gd name="T7" fmla="*/ 0 h 7"/>
                  <a:gd name="T8" fmla="*/ 2 w 3"/>
                  <a:gd name="T9" fmla="*/ 1 h 7"/>
                  <a:gd name="T10" fmla="*/ 2 w 3"/>
                  <a:gd name="T11" fmla="*/ 4 h 7"/>
                  <a:gd name="T12" fmla="*/ 2 w 3"/>
                  <a:gd name="T13" fmla="*/ 4 h 7"/>
                  <a:gd name="T14" fmla="*/ 0 w 3"/>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5"/>
                    </a:moveTo>
                    <a:cubicBezTo>
                      <a:pt x="1" y="5"/>
                      <a:pt x="1" y="6"/>
                      <a:pt x="2" y="7"/>
                    </a:cubicBezTo>
                    <a:cubicBezTo>
                      <a:pt x="2" y="5"/>
                      <a:pt x="2" y="4"/>
                      <a:pt x="2" y="3"/>
                    </a:cubicBezTo>
                    <a:cubicBezTo>
                      <a:pt x="2" y="1"/>
                      <a:pt x="3" y="1"/>
                      <a:pt x="1" y="0"/>
                    </a:cubicBezTo>
                    <a:cubicBezTo>
                      <a:pt x="1" y="1"/>
                      <a:pt x="2" y="1"/>
                      <a:pt x="2" y="1"/>
                    </a:cubicBezTo>
                    <a:cubicBezTo>
                      <a:pt x="3" y="2"/>
                      <a:pt x="1" y="3"/>
                      <a:pt x="2" y="4"/>
                    </a:cubicBezTo>
                    <a:cubicBezTo>
                      <a:pt x="2" y="4"/>
                      <a:pt x="2" y="4"/>
                      <a:pt x="2" y="4"/>
                    </a:cubicBezTo>
                    <a:cubicBezTo>
                      <a:pt x="2" y="5"/>
                      <a:pt x="1"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6" name="Freeform 1832">
                <a:extLst>
                  <a:ext uri="{FF2B5EF4-FFF2-40B4-BE49-F238E27FC236}">
                    <a16:creationId xmlns:a16="http://schemas.microsoft.com/office/drawing/2014/main" id="{37025D83-3FAA-4219-A449-959129AB4404}"/>
                  </a:ext>
                </a:extLst>
              </p:cNvPr>
              <p:cNvSpPr>
                <a:spLocks/>
              </p:cNvSpPr>
              <p:nvPr/>
            </p:nvSpPr>
            <p:spPr bwMode="auto">
              <a:xfrm>
                <a:off x="1719" y="2168"/>
                <a:ext cx="12" cy="14"/>
              </a:xfrm>
              <a:custGeom>
                <a:avLst/>
                <a:gdLst>
                  <a:gd name="T0" fmla="*/ 2 w 5"/>
                  <a:gd name="T1" fmla="*/ 2 h 6"/>
                  <a:gd name="T2" fmla="*/ 3 w 5"/>
                  <a:gd name="T3" fmla="*/ 6 h 6"/>
                  <a:gd name="T4" fmla="*/ 4 w 5"/>
                  <a:gd name="T5" fmla="*/ 4 h 6"/>
                  <a:gd name="T6" fmla="*/ 0 w 5"/>
                  <a:gd name="T7" fmla="*/ 0 h 6"/>
                  <a:gd name="T8" fmla="*/ 2 w 5"/>
                  <a:gd name="T9" fmla="*/ 2 h 6"/>
                </a:gdLst>
                <a:ahLst/>
                <a:cxnLst>
                  <a:cxn ang="0">
                    <a:pos x="T0" y="T1"/>
                  </a:cxn>
                  <a:cxn ang="0">
                    <a:pos x="T2" y="T3"/>
                  </a:cxn>
                  <a:cxn ang="0">
                    <a:pos x="T4" y="T5"/>
                  </a:cxn>
                  <a:cxn ang="0">
                    <a:pos x="T6" y="T7"/>
                  </a:cxn>
                  <a:cxn ang="0">
                    <a:pos x="T8" y="T9"/>
                  </a:cxn>
                </a:cxnLst>
                <a:rect l="0" t="0" r="r" b="b"/>
                <a:pathLst>
                  <a:path w="5" h="6">
                    <a:moveTo>
                      <a:pt x="2" y="2"/>
                    </a:moveTo>
                    <a:cubicBezTo>
                      <a:pt x="3" y="4"/>
                      <a:pt x="4" y="5"/>
                      <a:pt x="3" y="6"/>
                    </a:cubicBezTo>
                    <a:cubicBezTo>
                      <a:pt x="5" y="5"/>
                      <a:pt x="5" y="5"/>
                      <a:pt x="4" y="4"/>
                    </a:cubicBezTo>
                    <a:cubicBezTo>
                      <a:pt x="3" y="3"/>
                      <a:pt x="1" y="1"/>
                      <a:pt x="0" y="0"/>
                    </a:cubicBezTo>
                    <a:cubicBezTo>
                      <a:pt x="0" y="1"/>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7" name="Freeform 1833">
                <a:extLst>
                  <a:ext uri="{FF2B5EF4-FFF2-40B4-BE49-F238E27FC236}">
                    <a16:creationId xmlns:a16="http://schemas.microsoft.com/office/drawing/2014/main" id="{C1BFFDF2-9B87-46C3-867E-025401BCC9C4}"/>
                  </a:ext>
                </a:extLst>
              </p:cNvPr>
              <p:cNvSpPr>
                <a:spLocks/>
              </p:cNvSpPr>
              <p:nvPr/>
            </p:nvSpPr>
            <p:spPr bwMode="auto">
              <a:xfrm>
                <a:off x="1856" y="2471"/>
                <a:ext cx="5" cy="5"/>
              </a:xfrm>
              <a:custGeom>
                <a:avLst/>
                <a:gdLst>
                  <a:gd name="T0" fmla="*/ 2 w 2"/>
                  <a:gd name="T1" fmla="*/ 2 h 2"/>
                  <a:gd name="T2" fmla="*/ 0 w 2"/>
                  <a:gd name="T3" fmla="*/ 0 h 2"/>
                  <a:gd name="T4" fmla="*/ 1 w 2"/>
                  <a:gd name="T5" fmla="*/ 1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0"/>
                      <a:pt x="0" y="0"/>
                    </a:cubicBezTo>
                    <a:cubicBezTo>
                      <a:pt x="1" y="0"/>
                      <a:pt x="1" y="1"/>
                      <a:pt x="1" y="1"/>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8" name="Freeform 1834">
                <a:extLst>
                  <a:ext uri="{FF2B5EF4-FFF2-40B4-BE49-F238E27FC236}">
                    <a16:creationId xmlns:a16="http://schemas.microsoft.com/office/drawing/2014/main" id="{8CB48EAD-879F-48B9-B4D0-04323C4F8049}"/>
                  </a:ext>
                </a:extLst>
              </p:cNvPr>
              <p:cNvSpPr>
                <a:spLocks/>
              </p:cNvSpPr>
              <p:nvPr/>
            </p:nvSpPr>
            <p:spPr bwMode="auto">
              <a:xfrm>
                <a:off x="2003" y="2516"/>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9" name="Freeform 1835">
                <a:extLst>
                  <a:ext uri="{FF2B5EF4-FFF2-40B4-BE49-F238E27FC236}">
                    <a16:creationId xmlns:a16="http://schemas.microsoft.com/office/drawing/2014/main" id="{41ECFF5C-058F-41C1-BB78-E79347E27189}"/>
                  </a:ext>
                </a:extLst>
              </p:cNvPr>
              <p:cNvSpPr>
                <a:spLocks/>
              </p:cNvSpPr>
              <p:nvPr/>
            </p:nvSpPr>
            <p:spPr bwMode="auto">
              <a:xfrm>
                <a:off x="1970" y="2511"/>
                <a:ext cx="4" cy="3"/>
              </a:xfrm>
              <a:custGeom>
                <a:avLst/>
                <a:gdLst>
                  <a:gd name="T0" fmla="*/ 2 w 2"/>
                  <a:gd name="T1" fmla="*/ 0 h 1"/>
                  <a:gd name="T2" fmla="*/ 0 w 2"/>
                  <a:gd name="T3" fmla="*/ 0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0"/>
                      <a:pt x="0" y="0"/>
                    </a:cubicBezTo>
                    <a:cubicBezTo>
                      <a:pt x="0" y="1"/>
                      <a:pt x="1" y="1"/>
                      <a:pt x="1" y="1"/>
                    </a:cubicBezTo>
                    <a:cubicBezTo>
                      <a:pt x="1" y="1"/>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0" name="Freeform 1836">
                <a:extLst>
                  <a:ext uri="{FF2B5EF4-FFF2-40B4-BE49-F238E27FC236}">
                    <a16:creationId xmlns:a16="http://schemas.microsoft.com/office/drawing/2014/main" id="{50338AA9-5B88-4DDE-B832-00ADA2FD0B65}"/>
                  </a:ext>
                </a:extLst>
              </p:cNvPr>
              <p:cNvSpPr>
                <a:spLocks/>
              </p:cNvSpPr>
              <p:nvPr/>
            </p:nvSpPr>
            <p:spPr bwMode="auto">
              <a:xfrm>
                <a:off x="1993" y="2507"/>
                <a:ext cx="15" cy="7"/>
              </a:xfrm>
              <a:custGeom>
                <a:avLst/>
                <a:gdLst>
                  <a:gd name="T0" fmla="*/ 5 w 6"/>
                  <a:gd name="T1" fmla="*/ 0 h 3"/>
                  <a:gd name="T2" fmla="*/ 3 w 6"/>
                  <a:gd name="T3" fmla="*/ 1 h 3"/>
                  <a:gd name="T4" fmla="*/ 2 w 6"/>
                  <a:gd name="T5" fmla="*/ 1 h 3"/>
                  <a:gd name="T6" fmla="*/ 0 w 6"/>
                  <a:gd name="T7" fmla="*/ 1 h 3"/>
                  <a:gd name="T8" fmla="*/ 4 w 6"/>
                  <a:gd name="T9" fmla="*/ 3 h 3"/>
                  <a:gd name="T10" fmla="*/ 6 w 6"/>
                  <a:gd name="T11" fmla="*/ 2 h 3"/>
                  <a:gd name="T12" fmla="*/ 5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5" y="0"/>
                    </a:moveTo>
                    <a:cubicBezTo>
                      <a:pt x="5" y="0"/>
                      <a:pt x="4" y="2"/>
                      <a:pt x="3" y="1"/>
                    </a:cubicBezTo>
                    <a:cubicBezTo>
                      <a:pt x="3" y="1"/>
                      <a:pt x="2" y="1"/>
                      <a:pt x="2" y="1"/>
                    </a:cubicBezTo>
                    <a:cubicBezTo>
                      <a:pt x="2" y="1"/>
                      <a:pt x="1" y="1"/>
                      <a:pt x="0" y="1"/>
                    </a:cubicBezTo>
                    <a:cubicBezTo>
                      <a:pt x="1" y="2"/>
                      <a:pt x="3" y="2"/>
                      <a:pt x="4" y="3"/>
                    </a:cubicBezTo>
                    <a:cubicBezTo>
                      <a:pt x="4" y="3"/>
                      <a:pt x="6" y="3"/>
                      <a:pt x="6" y="2"/>
                    </a:cubicBezTo>
                    <a:cubicBezTo>
                      <a:pt x="6" y="1"/>
                      <a:pt x="6" y="1"/>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1" name="Freeform 1837">
                <a:extLst>
                  <a:ext uri="{FF2B5EF4-FFF2-40B4-BE49-F238E27FC236}">
                    <a16:creationId xmlns:a16="http://schemas.microsoft.com/office/drawing/2014/main" id="{76501CC1-4BEB-4919-BB0B-DD1C9732124D}"/>
                  </a:ext>
                </a:extLst>
              </p:cNvPr>
              <p:cNvSpPr>
                <a:spLocks/>
              </p:cNvSpPr>
              <p:nvPr/>
            </p:nvSpPr>
            <p:spPr bwMode="auto">
              <a:xfrm>
                <a:off x="2629" y="4227"/>
                <a:ext cx="55" cy="30"/>
              </a:xfrm>
              <a:custGeom>
                <a:avLst/>
                <a:gdLst>
                  <a:gd name="T0" fmla="*/ 22 w 23"/>
                  <a:gd name="T1" fmla="*/ 9 h 13"/>
                  <a:gd name="T2" fmla="*/ 21 w 23"/>
                  <a:gd name="T3" fmla="*/ 8 h 13"/>
                  <a:gd name="T4" fmla="*/ 19 w 23"/>
                  <a:gd name="T5" fmla="*/ 7 h 13"/>
                  <a:gd name="T6" fmla="*/ 19 w 23"/>
                  <a:gd name="T7" fmla="*/ 6 h 13"/>
                  <a:gd name="T8" fmla="*/ 19 w 23"/>
                  <a:gd name="T9" fmla="*/ 6 h 13"/>
                  <a:gd name="T10" fmla="*/ 19 w 23"/>
                  <a:gd name="T11" fmla="*/ 6 h 13"/>
                  <a:gd name="T12" fmla="*/ 18 w 23"/>
                  <a:gd name="T13" fmla="*/ 5 h 13"/>
                  <a:gd name="T14" fmla="*/ 16 w 23"/>
                  <a:gd name="T15" fmla="*/ 6 h 13"/>
                  <a:gd name="T16" fmla="*/ 16 w 23"/>
                  <a:gd name="T17" fmla="*/ 4 h 13"/>
                  <a:gd name="T18" fmla="*/ 15 w 23"/>
                  <a:gd name="T19" fmla="*/ 5 h 13"/>
                  <a:gd name="T20" fmla="*/ 16 w 23"/>
                  <a:gd name="T21" fmla="*/ 3 h 13"/>
                  <a:gd name="T22" fmla="*/ 14 w 23"/>
                  <a:gd name="T23" fmla="*/ 2 h 13"/>
                  <a:gd name="T24" fmla="*/ 13 w 23"/>
                  <a:gd name="T25" fmla="*/ 3 h 13"/>
                  <a:gd name="T26" fmla="*/ 10 w 23"/>
                  <a:gd name="T27" fmla="*/ 2 h 13"/>
                  <a:gd name="T28" fmla="*/ 11 w 23"/>
                  <a:gd name="T29" fmla="*/ 2 h 13"/>
                  <a:gd name="T30" fmla="*/ 9 w 23"/>
                  <a:gd name="T31" fmla="*/ 2 h 13"/>
                  <a:gd name="T32" fmla="*/ 9 w 23"/>
                  <a:gd name="T33" fmla="*/ 1 h 13"/>
                  <a:gd name="T34" fmla="*/ 9 w 23"/>
                  <a:gd name="T35" fmla="*/ 2 h 13"/>
                  <a:gd name="T36" fmla="*/ 6 w 23"/>
                  <a:gd name="T37" fmla="*/ 1 h 13"/>
                  <a:gd name="T38" fmla="*/ 5 w 23"/>
                  <a:gd name="T39" fmla="*/ 1 h 13"/>
                  <a:gd name="T40" fmla="*/ 3 w 23"/>
                  <a:gd name="T41" fmla="*/ 0 h 13"/>
                  <a:gd name="T42" fmla="*/ 3 w 23"/>
                  <a:gd name="T43" fmla="*/ 1 h 13"/>
                  <a:gd name="T44" fmla="*/ 2 w 23"/>
                  <a:gd name="T45" fmla="*/ 1 h 13"/>
                  <a:gd name="T46" fmla="*/ 0 w 23"/>
                  <a:gd name="T47" fmla="*/ 1 h 13"/>
                  <a:gd name="T48" fmla="*/ 4 w 23"/>
                  <a:gd name="T49" fmla="*/ 1 h 13"/>
                  <a:gd name="T50" fmla="*/ 4 w 23"/>
                  <a:gd name="T51" fmla="*/ 3 h 13"/>
                  <a:gd name="T52" fmla="*/ 6 w 23"/>
                  <a:gd name="T53" fmla="*/ 3 h 13"/>
                  <a:gd name="T54" fmla="*/ 8 w 23"/>
                  <a:gd name="T55" fmla="*/ 3 h 13"/>
                  <a:gd name="T56" fmla="*/ 7 w 23"/>
                  <a:gd name="T57" fmla="*/ 3 h 13"/>
                  <a:gd name="T58" fmla="*/ 7 w 23"/>
                  <a:gd name="T59" fmla="*/ 4 h 13"/>
                  <a:gd name="T60" fmla="*/ 7 w 23"/>
                  <a:gd name="T61" fmla="*/ 4 h 13"/>
                  <a:gd name="T62" fmla="*/ 12 w 23"/>
                  <a:gd name="T63" fmla="*/ 6 h 13"/>
                  <a:gd name="T64" fmla="*/ 20 w 23"/>
                  <a:gd name="T65" fmla="*/ 13 h 13"/>
                  <a:gd name="T66" fmla="*/ 22 w 23"/>
                  <a:gd name="T67" fmla="*/ 13 h 13"/>
                  <a:gd name="T68" fmla="*/ 20 w 23"/>
                  <a:gd name="T69" fmla="*/ 12 h 13"/>
                  <a:gd name="T70" fmla="*/ 23 w 23"/>
                  <a:gd name="T71" fmla="*/ 12 h 13"/>
                  <a:gd name="T72" fmla="*/ 22 w 23"/>
                  <a:gd name="T7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13">
                    <a:moveTo>
                      <a:pt x="22" y="9"/>
                    </a:moveTo>
                    <a:cubicBezTo>
                      <a:pt x="22" y="9"/>
                      <a:pt x="19" y="9"/>
                      <a:pt x="21" y="8"/>
                    </a:cubicBezTo>
                    <a:cubicBezTo>
                      <a:pt x="20" y="7"/>
                      <a:pt x="20" y="7"/>
                      <a:pt x="19" y="7"/>
                    </a:cubicBezTo>
                    <a:cubicBezTo>
                      <a:pt x="19" y="7"/>
                      <a:pt x="19" y="6"/>
                      <a:pt x="19" y="6"/>
                    </a:cubicBezTo>
                    <a:cubicBezTo>
                      <a:pt x="19" y="6"/>
                      <a:pt x="19" y="6"/>
                      <a:pt x="19" y="6"/>
                    </a:cubicBezTo>
                    <a:cubicBezTo>
                      <a:pt x="19" y="6"/>
                      <a:pt x="18" y="6"/>
                      <a:pt x="19" y="6"/>
                    </a:cubicBezTo>
                    <a:cubicBezTo>
                      <a:pt x="18" y="5"/>
                      <a:pt x="18" y="5"/>
                      <a:pt x="18" y="5"/>
                    </a:cubicBezTo>
                    <a:cubicBezTo>
                      <a:pt x="17" y="4"/>
                      <a:pt x="17" y="5"/>
                      <a:pt x="16" y="6"/>
                    </a:cubicBezTo>
                    <a:cubicBezTo>
                      <a:pt x="16" y="5"/>
                      <a:pt x="16" y="4"/>
                      <a:pt x="16" y="4"/>
                    </a:cubicBezTo>
                    <a:cubicBezTo>
                      <a:pt x="15" y="4"/>
                      <a:pt x="15" y="5"/>
                      <a:pt x="15" y="5"/>
                    </a:cubicBezTo>
                    <a:cubicBezTo>
                      <a:pt x="13" y="5"/>
                      <a:pt x="15" y="3"/>
                      <a:pt x="16" y="3"/>
                    </a:cubicBezTo>
                    <a:cubicBezTo>
                      <a:pt x="15" y="3"/>
                      <a:pt x="13" y="4"/>
                      <a:pt x="14" y="2"/>
                    </a:cubicBezTo>
                    <a:cubicBezTo>
                      <a:pt x="14" y="2"/>
                      <a:pt x="13" y="2"/>
                      <a:pt x="13" y="3"/>
                    </a:cubicBezTo>
                    <a:cubicBezTo>
                      <a:pt x="13" y="1"/>
                      <a:pt x="11" y="2"/>
                      <a:pt x="10" y="2"/>
                    </a:cubicBezTo>
                    <a:cubicBezTo>
                      <a:pt x="11" y="2"/>
                      <a:pt x="11" y="2"/>
                      <a:pt x="11" y="2"/>
                    </a:cubicBezTo>
                    <a:cubicBezTo>
                      <a:pt x="10" y="2"/>
                      <a:pt x="10" y="2"/>
                      <a:pt x="9" y="2"/>
                    </a:cubicBezTo>
                    <a:cubicBezTo>
                      <a:pt x="9" y="2"/>
                      <a:pt x="10" y="1"/>
                      <a:pt x="9" y="1"/>
                    </a:cubicBezTo>
                    <a:cubicBezTo>
                      <a:pt x="9" y="1"/>
                      <a:pt x="9" y="2"/>
                      <a:pt x="9" y="2"/>
                    </a:cubicBezTo>
                    <a:cubicBezTo>
                      <a:pt x="8" y="1"/>
                      <a:pt x="6" y="2"/>
                      <a:pt x="6" y="1"/>
                    </a:cubicBezTo>
                    <a:cubicBezTo>
                      <a:pt x="6" y="1"/>
                      <a:pt x="5" y="1"/>
                      <a:pt x="5" y="1"/>
                    </a:cubicBezTo>
                    <a:cubicBezTo>
                      <a:pt x="4" y="1"/>
                      <a:pt x="4" y="0"/>
                      <a:pt x="3" y="0"/>
                    </a:cubicBezTo>
                    <a:cubicBezTo>
                      <a:pt x="3" y="0"/>
                      <a:pt x="3" y="1"/>
                      <a:pt x="3" y="1"/>
                    </a:cubicBezTo>
                    <a:cubicBezTo>
                      <a:pt x="2" y="1"/>
                      <a:pt x="2" y="1"/>
                      <a:pt x="2" y="1"/>
                    </a:cubicBezTo>
                    <a:cubicBezTo>
                      <a:pt x="1" y="1"/>
                      <a:pt x="1" y="1"/>
                      <a:pt x="0" y="1"/>
                    </a:cubicBezTo>
                    <a:cubicBezTo>
                      <a:pt x="1" y="1"/>
                      <a:pt x="4" y="1"/>
                      <a:pt x="4" y="1"/>
                    </a:cubicBezTo>
                    <a:cubicBezTo>
                      <a:pt x="5" y="2"/>
                      <a:pt x="3" y="3"/>
                      <a:pt x="4" y="3"/>
                    </a:cubicBezTo>
                    <a:cubicBezTo>
                      <a:pt x="4" y="3"/>
                      <a:pt x="6" y="3"/>
                      <a:pt x="6" y="3"/>
                    </a:cubicBezTo>
                    <a:cubicBezTo>
                      <a:pt x="7" y="3"/>
                      <a:pt x="8" y="3"/>
                      <a:pt x="8" y="3"/>
                    </a:cubicBezTo>
                    <a:cubicBezTo>
                      <a:pt x="8" y="3"/>
                      <a:pt x="7" y="3"/>
                      <a:pt x="7" y="3"/>
                    </a:cubicBezTo>
                    <a:cubicBezTo>
                      <a:pt x="7" y="4"/>
                      <a:pt x="7" y="4"/>
                      <a:pt x="7" y="4"/>
                    </a:cubicBezTo>
                    <a:cubicBezTo>
                      <a:pt x="7" y="4"/>
                      <a:pt x="7" y="4"/>
                      <a:pt x="7" y="4"/>
                    </a:cubicBezTo>
                    <a:cubicBezTo>
                      <a:pt x="9" y="5"/>
                      <a:pt x="10" y="5"/>
                      <a:pt x="12" y="6"/>
                    </a:cubicBezTo>
                    <a:cubicBezTo>
                      <a:pt x="16" y="8"/>
                      <a:pt x="18" y="10"/>
                      <a:pt x="20" y="13"/>
                    </a:cubicBezTo>
                    <a:cubicBezTo>
                      <a:pt x="21" y="13"/>
                      <a:pt x="21" y="13"/>
                      <a:pt x="22" y="13"/>
                    </a:cubicBezTo>
                    <a:cubicBezTo>
                      <a:pt x="21" y="12"/>
                      <a:pt x="20" y="12"/>
                      <a:pt x="20" y="12"/>
                    </a:cubicBezTo>
                    <a:cubicBezTo>
                      <a:pt x="21" y="12"/>
                      <a:pt x="22" y="12"/>
                      <a:pt x="23" y="12"/>
                    </a:cubicBezTo>
                    <a:cubicBezTo>
                      <a:pt x="22" y="11"/>
                      <a:pt x="21" y="10"/>
                      <a:pt x="2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2" name="Freeform 1838">
                <a:extLst>
                  <a:ext uri="{FF2B5EF4-FFF2-40B4-BE49-F238E27FC236}">
                    <a16:creationId xmlns:a16="http://schemas.microsoft.com/office/drawing/2014/main" id="{FDF89E43-D6A7-469B-B5C5-D26C3855B58B}"/>
                  </a:ext>
                </a:extLst>
              </p:cNvPr>
              <p:cNvSpPr>
                <a:spLocks/>
              </p:cNvSpPr>
              <p:nvPr/>
            </p:nvSpPr>
            <p:spPr bwMode="auto">
              <a:xfrm>
                <a:off x="1748" y="3955"/>
                <a:ext cx="9" cy="11"/>
              </a:xfrm>
              <a:custGeom>
                <a:avLst/>
                <a:gdLst>
                  <a:gd name="T0" fmla="*/ 2 w 4"/>
                  <a:gd name="T1" fmla="*/ 5 h 5"/>
                  <a:gd name="T2" fmla="*/ 4 w 4"/>
                  <a:gd name="T3" fmla="*/ 4 h 5"/>
                  <a:gd name="T4" fmla="*/ 3 w 4"/>
                  <a:gd name="T5" fmla="*/ 2 h 5"/>
                  <a:gd name="T6" fmla="*/ 2 w 4"/>
                  <a:gd name="T7" fmla="*/ 5 h 5"/>
                </a:gdLst>
                <a:ahLst/>
                <a:cxnLst>
                  <a:cxn ang="0">
                    <a:pos x="T0" y="T1"/>
                  </a:cxn>
                  <a:cxn ang="0">
                    <a:pos x="T2" y="T3"/>
                  </a:cxn>
                  <a:cxn ang="0">
                    <a:pos x="T4" y="T5"/>
                  </a:cxn>
                  <a:cxn ang="0">
                    <a:pos x="T6" y="T7"/>
                  </a:cxn>
                </a:cxnLst>
                <a:rect l="0" t="0" r="r" b="b"/>
                <a:pathLst>
                  <a:path w="4" h="5">
                    <a:moveTo>
                      <a:pt x="2" y="5"/>
                    </a:moveTo>
                    <a:cubicBezTo>
                      <a:pt x="3" y="4"/>
                      <a:pt x="4" y="5"/>
                      <a:pt x="4" y="4"/>
                    </a:cubicBezTo>
                    <a:cubicBezTo>
                      <a:pt x="4" y="3"/>
                      <a:pt x="4" y="2"/>
                      <a:pt x="3" y="2"/>
                    </a:cubicBezTo>
                    <a:cubicBezTo>
                      <a:pt x="2" y="0"/>
                      <a:pt x="0"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3" name="Freeform 1839">
                <a:extLst>
                  <a:ext uri="{FF2B5EF4-FFF2-40B4-BE49-F238E27FC236}">
                    <a16:creationId xmlns:a16="http://schemas.microsoft.com/office/drawing/2014/main" id="{145D56A2-7B5A-4BB8-91FF-95DF487521A2}"/>
                  </a:ext>
                </a:extLst>
              </p:cNvPr>
              <p:cNvSpPr>
                <a:spLocks/>
              </p:cNvSpPr>
              <p:nvPr/>
            </p:nvSpPr>
            <p:spPr bwMode="auto">
              <a:xfrm>
                <a:off x="1740" y="4167"/>
                <a:ext cx="8" cy="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0"/>
                    </a:cubicBezTo>
                    <a:cubicBezTo>
                      <a:pt x="0" y="1"/>
                      <a:pt x="1" y="1"/>
                      <a:pt x="1" y="2"/>
                    </a:cubicBezTo>
                    <a:cubicBezTo>
                      <a:pt x="2" y="1"/>
                      <a:pt x="2"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4" name="Freeform 1840">
                <a:extLst>
                  <a:ext uri="{FF2B5EF4-FFF2-40B4-BE49-F238E27FC236}">
                    <a16:creationId xmlns:a16="http://schemas.microsoft.com/office/drawing/2014/main" id="{6E323E88-D2EC-4C70-9E52-755944AE3CC0}"/>
                  </a:ext>
                </a:extLst>
              </p:cNvPr>
              <p:cNvSpPr>
                <a:spLocks/>
              </p:cNvSpPr>
              <p:nvPr/>
            </p:nvSpPr>
            <p:spPr bwMode="auto">
              <a:xfrm>
                <a:off x="1731" y="4066"/>
                <a:ext cx="9" cy="9"/>
              </a:xfrm>
              <a:custGeom>
                <a:avLst/>
                <a:gdLst>
                  <a:gd name="T0" fmla="*/ 4 w 4"/>
                  <a:gd name="T1" fmla="*/ 4 h 4"/>
                  <a:gd name="T2" fmla="*/ 3 w 4"/>
                  <a:gd name="T3" fmla="*/ 1 h 4"/>
                  <a:gd name="T4" fmla="*/ 1 w 4"/>
                  <a:gd name="T5" fmla="*/ 1 h 4"/>
                  <a:gd name="T6" fmla="*/ 2 w 4"/>
                  <a:gd name="T7" fmla="*/ 3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3"/>
                      <a:pt x="4" y="0"/>
                      <a:pt x="3" y="1"/>
                    </a:cubicBezTo>
                    <a:cubicBezTo>
                      <a:pt x="2" y="1"/>
                      <a:pt x="2" y="0"/>
                      <a:pt x="1" y="1"/>
                    </a:cubicBezTo>
                    <a:cubicBezTo>
                      <a:pt x="0" y="2"/>
                      <a:pt x="1" y="2"/>
                      <a:pt x="2" y="3"/>
                    </a:cubicBezTo>
                    <a:cubicBezTo>
                      <a:pt x="2"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5" name="Freeform 1841">
                <a:extLst>
                  <a:ext uri="{FF2B5EF4-FFF2-40B4-BE49-F238E27FC236}">
                    <a16:creationId xmlns:a16="http://schemas.microsoft.com/office/drawing/2014/main" id="{0DEAEDD9-8ADE-4EA0-A159-13B6E5A4CBEA}"/>
                  </a:ext>
                </a:extLst>
              </p:cNvPr>
              <p:cNvSpPr>
                <a:spLocks/>
              </p:cNvSpPr>
              <p:nvPr/>
            </p:nvSpPr>
            <p:spPr bwMode="auto">
              <a:xfrm>
                <a:off x="1745" y="3962"/>
                <a:ext cx="5" cy="7"/>
              </a:xfrm>
              <a:custGeom>
                <a:avLst/>
                <a:gdLst>
                  <a:gd name="T0" fmla="*/ 2 w 2"/>
                  <a:gd name="T1" fmla="*/ 0 h 3"/>
                  <a:gd name="T2" fmla="*/ 0 w 2"/>
                  <a:gd name="T3" fmla="*/ 2 h 3"/>
                  <a:gd name="T4" fmla="*/ 2 w 2"/>
                  <a:gd name="T5" fmla="*/ 0 h 3"/>
                </a:gdLst>
                <a:ahLst/>
                <a:cxnLst>
                  <a:cxn ang="0">
                    <a:pos x="T0" y="T1"/>
                  </a:cxn>
                  <a:cxn ang="0">
                    <a:pos x="T2" y="T3"/>
                  </a:cxn>
                  <a:cxn ang="0">
                    <a:pos x="T4" y="T5"/>
                  </a:cxn>
                </a:cxnLst>
                <a:rect l="0" t="0" r="r" b="b"/>
                <a:pathLst>
                  <a:path w="2" h="3">
                    <a:moveTo>
                      <a:pt x="2" y="0"/>
                    </a:moveTo>
                    <a:cubicBezTo>
                      <a:pt x="1" y="1"/>
                      <a:pt x="0" y="1"/>
                      <a:pt x="0" y="2"/>
                    </a:cubicBezTo>
                    <a:cubicBezTo>
                      <a:pt x="2" y="3"/>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6" name="Freeform 1842">
                <a:extLst>
                  <a:ext uri="{FF2B5EF4-FFF2-40B4-BE49-F238E27FC236}">
                    <a16:creationId xmlns:a16="http://schemas.microsoft.com/office/drawing/2014/main" id="{2F3777FD-7F00-4F2C-9B55-0B2DD04F27DE}"/>
                  </a:ext>
                </a:extLst>
              </p:cNvPr>
              <p:cNvSpPr>
                <a:spLocks/>
              </p:cNvSpPr>
              <p:nvPr/>
            </p:nvSpPr>
            <p:spPr bwMode="auto">
              <a:xfrm>
                <a:off x="1722" y="4049"/>
                <a:ext cx="9" cy="7"/>
              </a:xfrm>
              <a:custGeom>
                <a:avLst/>
                <a:gdLst>
                  <a:gd name="T0" fmla="*/ 2 w 4"/>
                  <a:gd name="T1" fmla="*/ 2 h 3"/>
                  <a:gd name="T2" fmla="*/ 1 w 4"/>
                  <a:gd name="T3" fmla="*/ 3 h 3"/>
                  <a:gd name="T4" fmla="*/ 3 w 4"/>
                  <a:gd name="T5" fmla="*/ 0 h 3"/>
                  <a:gd name="T6" fmla="*/ 2 w 4"/>
                  <a:gd name="T7" fmla="*/ 0 h 3"/>
                  <a:gd name="T8" fmla="*/ 1 w 4"/>
                  <a:gd name="T9" fmla="*/ 0 h 3"/>
                  <a:gd name="T10" fmla="*/ 0 w 4"/>
                  <a:gd name="T11" fmla="*/ 0 h 3"/>
                  <a:gd name="T12" fmla="*/ 2 w 4"/>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2" y="2"/>
                    </a:moveTo>
                    <a:cubicBezTo>
                      <a:pt x="2" y="3"/>
                      <a:pt x="2" y="3"/>
                      <a:pt x="1" y="3"/>
                    </a:cubicBezTo>
                    <a:cubicBezTo>
                      <a:pt x="3" y="3"/>
                      <a:pt x="4" y="2"/>
                      <a:pt x="3" y="0"/>
                    </a:cubicBezTo>
                    <a:cubicBezTo>
                      <a:pt x="3" y="0"/>
                      <a:pt x="3" y="0"/>
                      <a:pt x="2" y="0"/>
                    </a:cubicBezTo>
                    <a:cubicBezTo>
                      <a:pt x="2" y="0"/>
                      <a:pt x="1" y="0"/>
                      <a:pt x="1" y="0"/>
                    </a:cubicBezTo>
                    <a:cubicBezTo>
                      <a:pt x="1" y="0"/>
                      <a:pt x="0" y="0"/>
                      <a:pt x="0" y="0"/>
                    </a:cubicBezTo>
                    <a:cubicBezTo>
                      <a:pt x="1" y="1"/>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7" name="Freeform 1843">
                <a:extLst>
                  <a:ext uri="{FF2B5EF4-FFF2-40B4-BE49-F238E27FC236}">
                    <a16:creationId xmlns:a16="http://schemas.microsoft.com/office/drawing/2014/main" id="{362801F3-8CCA-405A-99B5-E643A274DA29}"/>
                  </a:ext>
                </a:extLst>
              </p:cNvPr>
              <p:cNvSpPr>
                <a:spLocks/>
              </p:cNvSpPr>
              <p:nvPr/>
            </p:nvSpPr>
            <p:spPr bwMode="auto">
              <a:xfrm>
                <a:off x="1722" y="4035"/>
                <a:ext cx="14" cy="21"/>
              </a:xfrm>
              <a:custGeom>
                <a:avLst/>
                <a:gdLst>
                  <a:gd name="T0" fmla="*/ 3 w 6"/>
                  <a:gd name="T1" fmla="*/ 5 h 9"/>
                  <a:gd name="T2" fmla="*/ 4 w 6"/>
                  <a:gd name="T3" fmla="*/ 9 h 9"/>
                  <a:gd name="T4" fmla="*/ 6 w 6"/>
                  <a:gd name="T5" fmla="*/ 6 h 9"/>
                  <a:gd name="T6" fmla="*/ 4 w 6"/>
                  <a:gd name="T7" fmla="*/ 3 h 9"/>
                  <a:gd name="T8" fmla="*/ 3 w 6"/>
                  <a:gd name="T9" fmla="*/ 1 h 9"/>
                  <a:gd name="T10" fmla="*/ 3 w 6"/>
                  <a:gd name="T11" fmla="*/ 0 h 9"/>
                  <a:gd name="T12" fmla="*/ 2 w 6"/>
                  <a:gd name="T13" fmla="*/ 1 h 9"/>
                  <a:gd name="T14" fmla="*/ 1 w 6"/>
                  <a:gd name="T15" fmla="*/ 4 h 9"/>
                  <a:gd name="T16" fmla="*/ 3 w 6"/>
                  <a:gd name="T17" fmla="*/ 4 h 9"/>
                  <a:gd name="T18" fmla="*/ 1 w 6"/>
                  <a:gd name="T19" fmla="*/ 5 h 9"/>
                  <a:gd name="T20" fmla="*/ 3 w 6"/>
                  <a:gd name="T2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3" y="5"/>
                    </a:moveTo>
                    <a:cubicBezTo>
                      <a:pt x="4" y="6"/>
                      <a:pt x="4" y="8"/>
                      <a:pt x="4" y="9"/>
                    </a:cubicBezTo>
                    <a:cubicBezTo>
                      <a:pt x="6" y="8"/>
                      <a:pt x="6" y="8"/>
                      <a:pt x="6" y="6"/>
                    </a:cubicBezTo>
                    <a:cubicBezTo>
                      <a:pt x="5" y="5"/>
                      <a:pt x="5" y="5"/>
                      <a:pt x="4" y="3"/>
                    </a:cubicBezTo>
                    <a:cubicBezTo>
                      <a:pt x="4" y="3"/>
                      <a:pt x="4" y="2"/>
                      <a:pt x="3" y="1"/>
                    </a:cubicBezTo>
                    <a:cubicBezTo>
                      <a:pt x="3" y="1"/>
                      <a:pt x="4" y="0"/>
                      <a:pt x="3" y="0"/>
                    </a:cubicBezTo>
                    <a:cubicBezTo>
                      <a:pt x="3" y="0"/>
                      <a:pt x="2" y="0"/>
                      <a:pt x="2" y="1"/>
                    </a:cubicBezTo>
                    <a:cubicBezTo>
                      <a:pt x="0" y="2"/>
                      <a:pt x="2" y="3"/>
                      <a:pt x="1" y="4"/>
                    </a:cubicBezTo>
                    <a:cubicBezTo>
                      <a:pt x="2" y="4"/>
                      <a:pt x="3" y="4"/>
                      <a:pt x="3" y="4"/>
                    </a:cubicBezTo>
                    <a:cubicBezTo>
                      <a:pt x="3" y="5"/>
                      <a:pt x="2" y="5"/>
                      <a:pt x="1" y="5"/>
                    </a:cubicBezTo>
                    <a:cubicBezTo>
                      <a:pt x="2" y="5"/>
                      <a:pt x="3"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8" name="Freeform 1844">
                <a:extLst>
                  <a:ext uri="{FF2B5EF4-FFF2-40B4-BE49-F238E27FC236}">
                    <a16:creationId xmlns:a16="http://schemas.microsoft.com/office/drawing/2014/main" id="{EF9EA6E9-4CBA-4785-8660-BCFCEDDF9958}"/>
                  </a:ext>
                </a:extLst>
              </p:cNvPr>
              <p:cNvSpPr>
                <a:spLocks/>
              </p:cNvSpPr>
              <p:nvPr/>
            </p:nvSpPr>
            <p:spPr bwMode="auto">
              <a:xfrm>
                <a:off x="1726" y="4099"/>
                <a:ext cx="19" cy="12"/>
              </a:xfrm>
              <a:custGeom>
                <a:avLst/>
                <a:gdLst>
                  <a:gd name="T0" fmla="*/ 5 w 8"/>
                  <a:gd name="T1" fmla="*/ 3 h 5"/>
                  <a:gd name="T2" fmla="*/ 7 w 8"/>
                  <a:gd name="T3" fmla="*/ 2 h 5"/>
                  <a:gd name="T4" fmla="*/ 4 w 8"/>
                  <a:gd name="T5" fmla="*/ 2 h 5"/>
                  <a:gd name="T6" fmla="*/ 5 w 8"/>
                  <a:gd name="T7" fmla="*/ 1 h 5"/>
                  <a:gd name="T8" fmla="*/ 4 w 8"/>
                  <a:gd name="T9" fmla="*/ 1 h 5"/>
                  <a:gd name="T10" fmla="*/ 4 w 8"/>
                  <a:gd name="T11" fmla="*/ 0 h 5"/>
                  <a:gd name="T12" fmla="*/ 2 w 8"/>
                  <a:gd name="T13" fmla="*/ 0 h 5"/>
                  <a:gd name="T14" fmla="*/ 2 w 8"/>
                  <a:gd name="T15" fmla="*/ 0 h 5"/>
                  <a:gd name="T16" fmla="*/ 1 w 8"/>
                  <a:gd name="T17" fmla="*/ 0 h 5"/>
                  <a:gd name="T18" fmla="*/ 4 w 8"/>
                  <a:gd name="T19" fmla="*/ 1 h 5"/>
                  <a:gd name="T20" fmla="*/ 2 w 8"/>
                  <a:gd name="T21" fmla="*/ 2 h 5"/>
                  <a:gd name="T22" fmla="*/ 1 w 8"/>
                  <a:gd name="T23" fmla="*/ 2 h 5"/>
                  <a:gd name="T24" fmla="*/ 3 w 8"/>
                  <a:gd name="T25" fmla="*/ 4 h 5"/>
                  <a:gd name="T26" fmla="*/ 2 w 8"/>
                  <a:gd name="T27" fmla="*/ 5 h 5"/>
                  <a:gd name="T28" fmla="*/ 5 w 8"/>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5">
                    <a:moveTo>
                      <a:pt x="5" y="3"/>
                    </a:moveTo>
                    <a:cubicBezTo>
                      <a:pt x="6" y="2"/>
                      <a:pt x="6" y="3"/>
                      <a:pt x="7" y="2"/>
                    </a:cubicBezTo>
                    <a:cubicBezTo>
                      <a:pt x="8" y="1"/>
                      <a:pt x="5" y="2"/>
                      <a:pt x="4" y="2"/>
                    </a:cubicBezTo>
                    <a:cubicBezTo>
                      <a:pt x="4" y="2"/>
                      <a:pt x="5" y="1"/>
                      <a:pt x="5" y="1"/>
                    </a:cubicBezTo>
                    <a:cubicBezTo>
                      <a:pt x="5" y="1"/>
                      <a:pt x="4" y="1"/>
                      <a:pt x="4" y="1"/>
                    </a:cubicBezTo>
                    <a:cubicBezTo>
                      <a:pt x="3" y="1"/>
                      <a:pt x="4" y="0"/>
                      <a:pt x="4" y="0"/>
                    </a:cubicBezTo>
                    <a:cubicBezTo>
                      <a:pt x="3" y="0"/>
                      <a:pt x="3" y="0"/>
                      <a:pt x="2" y="0"/>
                    </a:cubicBezTo>
                    <a:cubicBezTo>
                      <a:pt x="3" y="0"/>
                      <a:pt x="1" y="0"/>
                      <a:pt x="2" y="0"/>
                    </a:cubicBezTo>
                    <a:cubicBezTo>
                      <a:pt x="2" y="0"/>
                      <a:pt x="1" y="0"/>
                      <a:pt x="1" y="0"/>
                    </a:cubicBezTo>
                    <a:cubicBezTo>
                      <a:pt x="2" y="1"/>
                      <a:pt x="3" y="2"/>
                      <a:pt x="4" y="1"/>
                    </a:cubicBezTo>
                    <a:cubicBezTo>
                      <a:pt x="3" y="2"/>
                      <a:pt x="2" y="3"/>
                      <a:pt x="2" y="2"/>
                    </a:cubicBezTo>
                    <a:cubicBezTo>
                      <a:pt x="2" y="2"/>
                      <a:pt x="1" y="2"/>
                      <a:pt x="1" y="2"/>
                    </a:cubicBezTo>
                    <a:cubicBezTo>
                      <a:pt x="0" y="1"/>
                      <a:pt x="1" y="4"/>
                      <a:pt x="3" y="4"/>
                    </a:cubicBezTo>
                    <a:cubicBezTo>
                      <a:pt x="3" y="4"/>
                      <a:pt x="3" y="5"/>
                      <a:pt x="2" y="5"/>
                    </a:cubicBezTo>
                    <a:cubicBezTo>
                      <a:pt x="3" y="5"/>
                      <a:pt x="4"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9" name="Freeform 1845">
                <a:extLst>
                  <a:ext uri="{FF2B5EF4-FFF2-40B4-BE49-F238E27FC236}">
                    <a16:creationId xmlns:a16="http://schemas.microsoft.com/office/drawing/2014/main" id="{AC592823-24A9-4220-8FA6-B62A82A9244C}"/>
                  </a:ext>
                </a:extLst>
              </p:cNvPr>
              <p:cNvSpPr>
                <a:spLocks/>
              </p:cNvSpPr>
              <p:nvPr/>
            </p:nvSpPr>
            <p:spPr bwMode="auto">
              <a:xfrm>
                <a:off x="1722" y="4059"/>
                <a:ext cx="9" cy="7"/>
              </a:xfrm>
              <a:custGeom>
                <a:avLst/>
                <a:gdLst>
                  <a:gd name="T0" fmla="*/ 4 w 4"/>
                  <a:gd name="T1" fmla="*/ 3 h 3"/>
                  <a:gd name="T2" fmla="*/ 3 w 4"/>
                  <a:gd name="T3" fmla="*/ 2 h 3"/>
                  <a:gd name="T4" fmla="*/ 3 w 4"/>
                  <a:gd name="T5" fmla="*/ 1 h 3"/>
                  <a:gd name="T6" fmla="*/ 2 w 4"/>
                  <a:gd name="T7" fmla="*/ 2 h 3"/>
                  <a:gd name="T8" fmla="*/ 1 w 4"/>
                  <a:gd name="T9" fmla="*/ 1 h 3"/>
                  <a:gd name="T10" fmla="*/ 0 w 4"/>
                  <a:gd name="T11" fmla="*/ 1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cubicBezTo>
                      <a:pt x="4" y="2"/>
                      <a:pt x="4" y="0"/>
                      <a:pt x="3" y="2"/>
                    </a:cubicBezTo>
                    <a:cubicBezTo>
                      <a:pt x="3" y="1"/>
                      <a:pt x="3" y="1"/>
                      <a:pt x="3" y="1"/>
                    </a:cubicBezTo>
                    <a:cubicBezTo>
                      <a:pt x="2" y="1"/>
                      <a:pt x="2" y="2"/>
                      <a:pt x="2" y="2"/>
                    </a:cubicBezTo>
                    <a:cubicBezTo>
                      <a:pt x="2" y="2"/>
                      <a:pt x="2" y="1"/>
                      <a:pt x="1" y="1"/>
                    </a:cubicBezTo>
                    <a:cubicBezTo>
                      <a:pt x="1" y="1"/>
                      <a:pt x="0" y="1"/>
                      <a:pt x="0" y="1"/>
                    </a:cubicBezTo>
                    <a:cubicBezTo>
                      <a:pt x="0" y="3"/>
                      <a:pt x="4" y="3"/>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0" name="Freeform 1846">
                <a:extLst>
                  <a:ext uri="{FF2B5EF4-FFF2-40B4-BE49-F238E27FC236}">
                    <a16:creationId xmlns:a16="http://schemas.microsoft.com/office/drawing/2014/main" id="{3C67225F-CDA6-4D92-916D-02BFE7D76353}"/>
                  </a:ext>
                </a:extLst>
              </p:cNvPr>
              <p:cNvSpPr>
                <a:spLocks/>
              </p:cNvSpPr>
              <p:nvPr/>
            </p:nvSpPr>
            <p:spPr bwMode="auto">
              <a:xfrm>
                <a:off x="1752" y="3848"/>
                <a:ext cx="26" cy="50"/>
              </a:xfrm>
              <a:custGeom>
                <a:avLst/>
                <a:gdLst>
                  <a:gd name="T0" fmla="*/ 0 w 11"/>
                  <a:gd name="T1" fmla="*/ 19 h 21"/>
                  <a:gd name="T2" fmla="*/ 5 w 11"/>
                  <a:gd name="T3" fmla="*/ 21 h 21"/>
                  <a:gd name="T4" fmla="*/ 7 w 11"/>
                  <a:gd name="T5" fmla="*/ 19 h 21"/>
                  <a:gd name="T6" fmla="*/ 6 w 11"/>
                  <a:gd name="T7" fmla="*/ 17 h 21"/>
                  <a:gd name="T8" fmla="*/ 8 w 11"/>
                  <a:gd name="T9" fmla="*/ 16 h 21"/>
                  <a:gd name="T10" fmla="*/ 9 w 11"/>
                  <a:gd name="T11" fmla="*/ 16 h 21"/>
                  <a:gd name="T12" fmla="*/ 7 w 11"/>
                  <a:gd name="T13" fmla="*/ 14 h 21"/>
                  <a:gd name="T14" fmla="*/ 9 w 11"/>
                  <a:gd name="T15" fmla="*/ 14 h 21"/>
                  <a:gd name="T16" fmla="*/ 7 w 11"/>
                  <a:gd name="T17" fmla="*/ 11 h 21"/>
                  <a:gd name="T18" fmla="*/ 6 w 11"/>
                  <a:gd name="T19" fmla="*/ 10 h 21"/>
                  <a:gd name="T20" fmla="*/ 8 w 11"/>
                  <a:gd name="T21" fmla="*/ 10 h 21"/>
                  <a:gd name="T22" fmla="*/ 8 w 11"/>
                  <a:gd name="T23" fmla="*/ 7 h 21"/>
                  <a:gd name="T24" fmla="*/ 10 w 11"/>
                  <a:gd name="T25" fmla="*/ 6 h 21"/>
                  <a:gd name="T26" fmla="*/ 9 w 11"/>
                  <a:gd name="T27" fmla="*/ 5 h 21"/>
                  <a:gd name="T28" fmla="*/ 10 w 11"/>
                  <a:gd name="T29" fmla="*/ 4 h 21"/>
                  <a:gd name="T30" fmla="*/ 9 w 11"/>
                  <a:gd name="T31" fmla="*/ 3 h 21"/>
                  <a:gd name="T32" fmla="*/ 9 w 11"/>
                  <a:gd name="T33" fmla="*/ 1 h 21"/>
                  <a:gd name="T34" fmla="*/ 6 w 11"/>
                  <a:gd name="T35" fmla="*/ 2 h 21"/>
                  <a:gd name="T36" fmla="*/ 4 w 11"/>
                  <a:gd name="T37" fmla="*/ 1 h 21"/>
                  <a:gd name="T38" fmla="*/ 4 w 11"/>
                  <a:gd name="T39" fmla="*/ 2 h 21"/>
                  <a:gd name="T40" fmla="*/ 3 w 11"/>
                  <a:gd name="T41" fmla="*/ 6 h 21"/>
                  <a:gd name="T42" fmla="*/ 2 w 11"/>
                  <a:gd name="T43" fmla="*/ 9 h 21"/>
                  <a:gd name="T44" fmla="*/ 1 w 11"/>
                  <a:gd name="T45" fmla="*/ 16 h 21"/>
                  <a:gd name="T46" fmla="*/ 0 w 11"/>
                  <a:gd name="T4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21">
                    <a:moveTo>
                      <a:pt x="0" y="19"/>
                    </a:moveTo>
                    <a:cubicBezTo>
                      <a:pt x="2" y="19"/>
                      <a:pt x="4" y="20"/>
                      <a:pt x="5" y="21"/>
                    </a:cubicBezTo>
                    <a:cubicBezTo>
                      <a:pt x="6" y="20"/>
                      <a:pt x="7" y="20"/>
                      <a:pt x="7" y="19"/>
                    </a:cubicBezTo>
                    <a:cubicBezTo>
                      <a:pt x="7" y="19"/>
                      <a:pt x="6" y="18"/>
                      <a:pt x="6" y="17"/>
                    </a:cubicBezTo>
                    <a:cubicBezTo>
                      <a:pt x="6" y="17"/>
                      <a:pt x="11" y="17"/>
                      <a:pt x="8" y="16"/>
                    </a:cubicBezTo>
                    <a:cubicBezTo>
                      <a:pt x="8" y="16"/>
                      <a:pt x="9" y="16"/>
                      <a:pt x="9" y="16"/>
                    </a:cubicBezTo>
                    <a:cubicBezTo>
                      <a:pt x="8" y="15"/>
                      <a:pt x="8" y="15"/>
                      <a:pt x="7" y="14"/>
                    </a:cubicBezTo>
                    <a:cubicBezTo>
                      <a:pt x="8" y="14"/>
                      <a:pt x="9" y="15"/>
                      <a:pt x="9" y="14"/>
                    </a:cubicBezTo>
                    <a:cubicBezTo>
                      <a:pt x="9" y="13"/>
                      <a:pt x="8" y="12"/>
                      <a:pt x="7" y="11"/>
                    </a:cubicBezTo>
                    <a:cubicBezTo>
                      <a:pt x="6" y="11"/>
                      <a:pt x="6" y="11"/>
                      <a:pt x="6" y="10"/>
                    </a:cubicBezTo>
                    <a:cubicBezTo>
                      <a:pt x="6" y="8"/>
                      <a:pt x="7" y="10"/>
                      <a:pt x="8" y="10"/>
                    </a:cubicBezTo>
                    <a:cubicBezTo>
                      <a:pt x="7" y="9"/>
                      <a:pt x="7" y="8"/>
                      <a:pt x="8" y="7"/>
                    </a:cubicBezTo>
                    <a:cubicBezTo>
                      <a:pt x="9" y="7"/>
                      <a:pt x="11" y="7"/>
                      <a:pt x="10" y="6"/>
                    </a:cubicBezTo>
                    <a:cubicBezTo>
                      <a:pt x="10" y="5"/>
                      <a:pt x="9" y="5"/>
                      <a:pt x="9" y="5"/>
                    </a:cubicBezTo>
                    <a:cubicBezTo>
                      <a:pt x="9" y="5"/>
                      <a:pt x="10" y="5"/>
                      <a:pt x="10" y="4"/>
                    </a:cubicBezTo>
                    <a:cubicBezTo>
                      <a:pt x="9" y="4"/>
                      <a:pt x="9" y="4"/>
                      <a:pt x="9" y="3"/>
                    </a:cubicBezTo>
                    <a:cubicBezTo>
                      <a:pt x="9" y="3"/>
                      <a:pt x="8" y="2"/>
                      <a:pt x="9" y="1"/>
                    </a:cubicBezTo>
                    <a:cubicBezTo>
                      <a:pt x="8" y="0"/>
                      <a:pt x="7" y="1"/>
                      <a:pt x="6" y="2"/>
                    </a:cubicBezTo>
                    <a:cubicBezTo>
                      <a:pt x="5" y="2"/>
                      <a:pt x="5" y="2"/>
                      <a:pt x="4" y="1"/>
                    </a:cubicBezTo>
                    <a:cubicBezTo>
                      <a:pt x="6" y="2"/>
                      <a:pt x="4" y="0"/>
                      <a:pt x="4" y="2"/>
                    </a:cubicBezTo>
                    <a:cubicBezTo>
                      <a:pt x="3" y="3"/>
                      <a:pt x="3" y="4"/>
                      <a:pt x="3" y="6"/>
                    </a:cubicBezTo>
                    <a:cubicBezTo>
                      <a:pt x="2" y="7"/>
                      <a:pt x="2" y="8"/>
                      <a:pt x="2" y="9"/>
                    </a:cubicBezTo>
                    <a:cubicBezTo>
                      <a:pt x="2" y="12"/>
                      <a:pt x="3" y="14"/>
                      <a:pt x="1" y="16"/>
                    </a:cubicBezTo>
                    <a:cubicBezTo>
                      <a:pt x="1" y="17"/>
                      <a:pt x="0" y="18"/>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1" name="Freeform 1847">
                <a:extLst>
                  <a:ext uri="{FF2B5EF4-FFF2-40B4-BE49-F238E27FC236}">
                    <a16:creationId xmlns:a16="http://schemas.microsoft.com/office/drawing/2014/main" id="{38381EB4-C7E2-4996-A9F9-EE00C2272D79}"/>
                  </a:ext>
                </a:extLst>
              </p:cNvPr>
              <p:cNvSpPr>
                <a:spLocks/>
              </p:cNvSpPr>
              <p:nvPr/>
            </p:nvSpPr>
            <p:spPr bwMode="auto">
              <a:xfrm>
                <a:off x="1743" y="3931"/>
                <a:ext cx="2" cy="5"/>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0" y="1"/>
                      <a:pt x="1" y="0"/>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2" name="Freeform 1848">
                <a:extLst>
                  <a:ext uri="{FF2B5EF4-FFF2-40B4-BE49-F238E27FC236}">
                    <a16:creationId xmlns:a16="http://schemas.microsoft.com/office/drawing/2014/main" id="{F71316F0-5798-4F06-BE70-47CF4BD37CAD}"/>
                  </a:ext>
                </a:extLst>
              </p:cNvPr>
              <p:cNvSpPr>
                <a:spLocks/>
              </p:cNvSpPr>
              <p:nvPr/>
            </p:nvSpPr>
            <p:spPr bwMode="auto">
              <a:xfrm>
                <a:off x="1759" y="3905"/>
                <a:ext cx="7" cy="7"/>
              </a:xfrm>
              <a:custGeom>
                <a:avLst/>
                <a:gdLst>
                  <a:gd name="T0" fmla="*/ 0 w 3"/>
                  <a:gd name="T1" fmla="*/ 2 h 3"/>
                  <a:gd name="T2" fmla="*/ 1 w 3"/>
                  <a:gd name="T3" fmla="*/ 3 h 3"/>
                  <a:gd name="T4" fmla="*/ 3 w 3"/>
                  <a:gd name="T5" fmla="*/ 3 h 3"/>
                  <a:gd name="T6" fmla="*/ 0 w 3"/>
                  <a:gd name="T7" fmla="*/ 2 h 3"/>
                </a:gdLst>
                <a:ahLst/>
                <a:cxnLst>
                  <a:cxn ang="0">
                    <a:pos x="T0" y="T1"/>
                  </a:cxn>
                  <a:cxn ang="0">
                    <a:pos x="T2" y="T3"/>
                  </a:cxn>
                  <a:cxn ang="0">
                    <a:pos x="T4" y="T5"/>
                  </a:cxn>
                  <a:cxn ang="0">
                    <a:pos x="T6" y="T7"/>
                  </a:cxn>
                </a:cxnLst>
                <a:rect l="0" t="0" r="r" b="b"/>
                <a:pathLst>
                  <a:path w="3" h="3">
                    <a:moveTo>
                      <a:pt x="0" y="2"/>
                    </a:moveTo>
                    <a:cubicBezTo>
                      <a:pt x="0" y="2"/>
                      <a:pt x="1" y="3"/>
                      <a:pt x="1" y="3"/>
                    </a:cubicBezTo>
                    <a:cubicBezTo>
                      <a:pt x="2" y="1"/>
                      <a:pt x="2" y="3"/>
                      <a:pt x="3" y="3"/>
                    </a:cubicBezTo>
                    <a:cubicBezTo>
                      <a:pt x="2" y="0"/>
                      <a:pt x="2"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3" name="Freeform 1849">
                <a:extLst>
                  <a:ext uri="{FF2B5EF4-FFF2-40B4-BE49-F238E27FC236}">
                    <a16:creationId xmlns:a16="http://schemas.microsoft.com/office/drawing/2014/main" id="{6483393C-40A0-4CDC-B0D4-50779571F276}"/>
                  </a:ext>
                </a:extLst>
              </p:cNvPr>
              <p:cNvSpPr>
                <a:spLocks/>
              </p:cNvSpPr>
              <p:nvPr/>
            </p:nvSpPr>
            <p:spPr bwMode="auto">
              <a:xfrm>
                <a:off x="1752" y="3931"/>
                <a:ext cx="12" cy="7"/>
              </a:xfrm>
              <a:custGeom>
                <a:avLst/>
                <a:gdLst>
                  <a:gd name="T0" fmla="*/ 1 w 5"/>
                  <a:gd name="T1" fmla="*/ 3 h 3"/>
                  <a:gd name="T2" fmla="*/ 5 w 5"/>
                  <a:gd name="T3" fmla="*/ 2 h 3"/>
                  <a:gd name="T4" fmla="*/ 0 w 5"/>
                  <a:gd name="T5" fmla="*/ 1 h 3"/>
                  <a:gd name="T6" fmla="*/ 1 w 5"/>
                  <a:gd name="T7" fmla="*/ 3 h 3"/>
                </a:gdLst>
                <a:ahLst/>
                <a:cxnLst>
                  <a:cxn ang="0">
                    <a:pos x="T0" y="T1"/>
                  </a:cxn>
                  <a:cxn ang="0">
                    <a:pos x="T2" y="T3"/>
                  </a:cxn>
                  <a:cxn ang="0">
                    <a:pos x="T4" y="T5"/>
                  </a:cxn>
                  <a:cxn ang="0">
                    <a:pos x="T6" y="T7"/>
                  </a:cxn>
                </a:cxnLst>
                <a:rect l="0" t="0" r="r" b="b"/>
                <a:pathLst>
                  <a:path w="5" h="3">
                    <a:moveTo>
                      <a:pt x="1" y="3"/>
                    </a:moveTo>
                    <a:cubicBezTo>
                      <a:pt x="3" y="3"/>
                      <a:pt x="4" y="2"/>
                      <a:pt x="5" y="2"/>
                    </a:cubicBezTo>
                    <a:cubicBezTo>
                      <a:pt x="4" y="0"/>
                      <a:pt x="2" y="1"/>
                      <a:pt x="0" y="1"/>
                    </a:cubicBezTo>
                    <a:cubicBezTo>
                      <a:pt x="0" y="2"/>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4" name="Freeform 1850">
                <a:extLst>
                  <a:ext uri="{FF2B5EF4-FFF2-40B4-BE49-F238E27FC236}">
                    <a16:creationId xmlns:a16="http://schemas.microsoft.com/office/drawing/2014/main" id="{1F437820-A58F-43FC-AEC9-BFBD443C64F2}"/>
                  </a:ext>
                </a:extLst>
              </p:cNvPr>
              <p:cNvSpPr>
                <a:spLocks/>
              </p:cNvSpPr>
              <p:nvPr/>
            </p:nvSpPr>
            <p:spPr bwMode="auto">
              <a:xfrm>
                <a:off x="1736" y="4040"/>
                <a:ext cx="14" cy="16"/>
              </a:xfrm>
              <a:custGeom>
                <a:avLst/>
                <a:gdLst>
                  <a:gd name="T0" fmla="*/ 1 w 6"/>
                  <a:gd name="T1" fmla="*/ 4 h 7"/>
                  <a:gd name="T2" fmla="*/ 1 w 6"/>
                  <a:gd name="T3" fmla="*/ 6 h 7"/>
                  <a:gd name="T4" fmla="*/ 4 w 6"/>
                  <a:gd name="T5" fmla="*/ 7 h 7"/>
                  <a:gd name="T6" fmla="*/ 5 w 6"/>
                  <a:gd name="T7" fmla="*/ 7 h 7"/>
                  <a:gd name="T8" fmla="*/ 4 w 6"/>
                  <a:gd name="T9" fmla="*/ 4 h 7"/>
                  <a:gd name="T10" fmla="*/ 4 w 6"/>
                  <a:gd name="T11" fmla="*/ 1 h 7"/>
                  <a:gd name="T12" fmla="*/ 4 w 6"/>
                  <a:gd name="T13" fmla="*/ 0 h 7"/>
                  <a:gd name="T14" fmla="*/ 3 w 6"/>
                  <a:gd name="T15" fmla="*/ 5 h 7"/>
                  <a:gd name="T16" fmla="*/ 1 w 6"/>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1" y="4"/>
                    </a:moveTo>
                    <a:cubicBezTo>
                      <a:pt x="1" y="4"/>
                      <a:pt x="0" y="5"/>
                      <a:pt x="1" y="6"/>
                    </a:cubicBezTo>
                    <a:cubicBezTo>
                      <a:pt x="2" y="6"/>
                      <a:pt x="3" y="7"/>
                      <a:pt x="4" y="7"/>
                    </a:cubicBezTo>
                    <a:cubicBezTo>
                      <a:pt x="4" y="7"/>
                      <a:pt x="5" y="7"/>
                      <a:pt x="5" y="7"/>
                    </a:cubicBezTo>
                    <a:cubicBezTo>
                      <a:pt x="6" y="7"/>
                      <a:pt x="5" y="4"/>
                      <a:pt x="4" y="4"/>
                    </a:cubicBezTo>
                    <a:cubicBezTo>
                      <a:pt x="5" y="3"/>
                      <a:pt x="4" y="2"/>
                      <a:pt x="4" y="1"/>
                    </a:cubicBezTo>
                    <a:cubicBezTo>
                      <a:pt x="4" y="1"/>
                      <a:pt x="4" y="0"/>
                      <a:pt x="4" y="0"/>
                    </a:cubicBezTo>
                    <a:cubicBezTo>
                      <a:pt x="2" y="2"/>
                      <a:pt x="3" y="3"/>
                      <a:pt x="3" y="5"/>
                    </a:cubicBezTo>
                    <a:cubicBezTo>
                      <a:pt x="2" y="4"/>
                      <a:pt x="2"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5" name="Freeform 1851">
                <a:extLst>
                  <a:ext uri="{FF2B5EF4-FFF2-40B4-BE49-F238E27FC236}">
                    <a16:creationId xmlns:a16="http://schemas.microsoft.com/office/drawing/2014/main" id="{0E224C52-D202-4265-9996-69EE54FC2064}"/>
                  </a:ext>
                </a:extLst>
              </p:cNvPr>
              <p:cNvSpPr>
                <a:spLocks/>
              </p:cNvSpPr>
              <p:nvPr/>
            </p:nvSpPr>
            <p:spPr bwMode="auto">
              <a:xfrm>
                <a:off x="1752" y="4163"/>
                <a:ext cx="12" cy="12"/>
              </a:xfrm>
              <a:custGeom>
                <a:avLst/>
                <a:gdLst>
                  <a:gd name="T0" fmla="*/ 3 w 5"/>
                  <a:gd name="T1" fmla="*/ 5 h 5"/>
                  <a:gd name="T2" fmla="*/ 5 w 5"/>
                  <a:gd name="T3" fmla="*/ 4 h 5"/>
                  <a:gd name="T4" fmla="*/ 3 w 5"/>
                  <a:gd name="T5" fmla="*/ 2 h 5"/>
                  <a:gd name="T6" fmla="*/ 0 w 5"/>
                  <a:gd name="T7" fmla="*/ 1 h 5"/>
                  <a:gd name="T8" fmla="*/ 2 w 5"/>
                  <a:gd name="T9" fmla="*/ 2 h 5"/>
                  <a:gd name="T10" fmla="*/ 3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3" y="5"/>
                    </a:moveTo>
                    <a:cubicBezTo>
                      <a:pt x="3" y="5"/>
                      <a:pt x="5" y="4"/>
                      <a:pt x="5" y="4"/>
                    </a:cubicBezTo>
                    <a:cubicBezTo>
                      <a:pt x="5" y="4"/>
                      <a:pt x="3" y="3"/>
                      <a:pt x="3" y="2"/>
                    </a:cubicBezTo>
                    <a:cubicBezTo>
                      <a:pt x="2" y="1"/>
                      <a:pt x="1" y="0"/>
                      <a:pt x="0" y="1"/>
                    </a:cubicBezTo>
                    <a:cubicBezTo>
                      <a:pt x="0" y="1"/>
                      <a:pt x="2" y="2"/>
                      <a:pt x="2" y="2"/>
                    </a:cubicBezTo>
                    <a:cubicBezTo>
                      <a:pt x="3" y="3"/>
                      <a:pt x="1" y="3"/>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6" name="Freeform 1852">
                <a:extLst>
                  <a:ext uri="{FF2B5EF4-FFF2-40B4-BE49-F238E27FC236}">
                    <a16:creationId xmlns:a16="http://schemas.microsoft.com/office/drawing/2014/main" id="{AD109CF0-F6CF-4D9E-B3EF-4741D041CFA6}"/>
                  </a:ext>
                </a:extLst>
              </p:cNvPr>
              <p:cNvSpPr>
                <a:spLocks/>
              </p:cNvSpPr>
              <p:nvPr/>
            </p:nvSpPr>
            <p:spPr bwMode="auto">
              <a:xfrm>
                <a:off x="1731" y="4137"/>
                <a:ext cx="7" cy="12"/>
              </a:xfrm>
              <a:custGeom>
                <a:avLst/>
                <a:gdLst>
                  <a:gd name="T0" fmla="*/ 3 w 3"/>
                  <a:gd name="T1" fmla="*/ 2 h 5"/>
                  <a:gd name="T2" fmla="*/ 1 w 3"/>
                  <a:gd name="T3" fmla="*/ 0 h 5"/>
                  <a:gd name="T4" fmla="*/ 0 w 3"/>
                  <a:gd name="T5" fmla="*/ 5 h 5"/>
                  <a:gd name="T6" fmla="*/ 1 w 3"/>
                  <a:gd name="T7" fmla="*/ 4 h 5"/>
                  <a:gd name="T8" fmla="*/ 1 w 3"/>
                  <a:gd name="T9" fmla="*/ 3 h 5"/>
                  <a:gd name="T10" fmla="*/ 3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3" y="2"/>
                    </a:moveTo>
                    <a:cubicBezTo>
                      <a:pt x="3" y="2"/>
                      <a:pt x="1" y="1"/>
                      <a:pt x="1" y="0"/>
                    </a:cubicBezTo>
                    <a:cubicBezTo>
                      <a:pt x="0" y="1"/>
                      <a:pt x="0" y="5"/>
                      <a:pt x="0" y="5"/>
                    </a:cubicBezTo>
                    <a:cubicBezTo>
                      <a:pt x="0" y="5"/>
                      <a:pt x="1" y="5"/>
                      <a:pt x="1" y="4"/>
                    </a:cubicBezTo>
                    <a:cubicBezTo>
                      <a:pt x="2" y="5"/>
                      <a:pt x="1" y="3"/>
                      <a:pt x="1" y="3"/>
                    </a:cubicBezTo>
                    <a:cubicBezTo>
                      <a:pt x="2" y="3"/>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7" name="Freeform 1853">
                <a:extLst>
                  <a:ext uri="{FF2B5EF4-FFF2-40B4-BE49-F238E27FC236}">
                    <a16:creationId xmlns:a16="http://schemas.microsoft.com/office/drawing/2014/main" id="{BA26321D-DFCF-48ED-B430-C7176EF95674}"/>
                  </a:ext>
                </a:extLst>
              </p:cNvPr>
              <p:cNvSpPr>
                <a:spLocks/>
              </p:cNvSpPr>
              <p:nvPr/>
            </p:nvSpPr>
            <p:spPr bwMode="auto">
              <a:xfrm>
                <a:off x="1748" y="3952"/>
                <a:ext cx="4" cy="5"/>
              </a:xfrm>
              <a:custGeom>
                <a:avLst/>
                <a:gdLst>
                  <a:gd name="T0" fmla="*/ 2 w 2"/>
                  <a:gd name="T1" fmla="*/ 2 h 2"/>
                  <a:gd name="T2" fmla="*/ 1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0"/>
                      <a:pt x="1" y="0"/>
                    </a:cubicBezTo>
                    <a:cubicBezTo>
                      <a:pt x="0" y="1"/>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8" name="Freeform 1854">
                <a:extLst>
                  <a:ext uri="{FF2B5EF4-FFF2-40B4-BE49-F238E27FC236}">
                    <a16:creationId xmlns:a16="http://schemas.microsoft.com/office/drawing/2014/main" id="{2C65E6D2-7053-4889-AF3B-FCCFCBDA2DA2}"/>
                  </a:ext>
                </a:extLst>
              </p:cNvPr>
              <p:cNvSpPr>
                <a:spLocks/>
              </p:cNvSpPr>
              <p:nvPr/>
            </p:nvSpPr>
            <p:spPr bwMode="auto">
              <a:xfrm>
                <a:off x="1759" y="4158"/>
                <a:ext cx="10" cy="9"/>
              </a:xfrm>
              <a:custGeom>
                <a:avLst/>
                <a:gdLst>
                  <a:gd name="T0" fmla="*/ 0 w 4"/>
                  <a:gd name="T1" fmla="*/ 0 h 4"/>
                  <a:gd name="T2" fmla="*/ 4 w 4"/>
                  <a:gd name="T3" fmla="*/ 4 h 4"/>
                  <a:gd name="T4" fmla="*/ 0 w 4"/>
                  <a:gd name="T5" fmla="*/ 0 h 4"/>
                </a:gdLst>
                <a:ahLst/>
                <a:cxnLst>
                  <a:cxn ang="0">
                    <a:pos x="T0" y="T1"/>
                  </a:cxn>
                  <a:cxn ang="0">
                    <a:pos x="T2" y="T3"/>
                  </a:cxn>
                  <a:cxn ang="0">
                    <a:pos x="T4" y="T5"/>
                  </a:cxn>
                </a:cxnLst>
                <a:rect l="0" t="0" r="r" b="b"/>
                <a:pathLst>
                  <a:path w="4" h="4">
                    <a:moveTo>
                      <a:pt x="0" y="0"/>
                    </a:moveTo>
                    <a:cubicBezTo>
                      <a:pt x="1" y="2"/>
                      <a:pt x="3" y="3"/>
                      <a:pt x="4" y="4"/>
                    </a:cubicBezTo>
                    <a:cubicBezTo>
                      <a:pt x="4" y="3"/>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9" name="Freeform 1855">
                <a:extLst>
                  <a:ext uri="{FF2B5EF4-FFF2-40B4-BE49-F238E27FC236}">
                    <a16:creationId xmlns:a16="http://schemas.microsoft.com/office/drawing/2014/main" id="{15CAAA79-079B-406D-BB6B-F46D5DA879AE}"/>
                  </a:ext>
                </a:extLst>
              </p:cNvPr>
              <p:cNvSpPr>
                <a:spLocks/>
              </p:cNvSpPr>
              <p:nvPr/>
            </p:nvSpPr>
            <p:spPr bwMode="auto">
              <a:xfrm>
                <a:off x="1750" y="4028"/>
                <a:ext cx="16" cy="7"/>
              </a:xfrm>
              <a:custGeom>
                <a:avLst/>
                <a:gdLst>
                  <a:gd name="T0" fmla="*/ 5 w 7"/>
                  <a:gd name="T1" fmla="*/ 2 h 3"/>
                  <a:gd name="T2" fmla="*/ 6 w 7"/>
                  <a:gd name="T3" fmla="*/ 2 h 3"/>
                  <a:gd name="T4" fmla="*/ 6 w 7"/>
                  <a:gd name="T5" fmla="*/ 3 h 3"/>
                  <a:gd name="T6" fmla="*/ 7 w 7"/>
                  <a:gd name="T7" fmla="*/ 2 h 3"/>
                  <a:gd name="T8" fmla="*/ 0 w 7"/>
                  <a:gd name="T9" fmla="*/ 2 h 3"/>
                  <a:gd name="T10" fmla="*/ 2 w 7"/>
                  <a:gd name="T11" fmla="*/ 3 h 3"/>
                  <a:gd name="T12" fmla="*/ 5 w 7"/>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5" y="2"/>
                    </a:moveTo>
                    <a:cubicBezTo>
                      <a:pt x="5" y="2"/>
                      <a:pt x="5" y="2"/>
                      <a:pt x="6" y="2"/>
                    </a:cubicBezTo>
                    <a:cubicBezTo>
                      <a:pt x="6" y="2"/>
                      <a:pt x="6" y="3"/>
                      <a:pt x="6" y="3"/>
                    </a:cubicBezTo>
                    <a:cubicBezTo>
                      <a:pt x="7" y="2"/>
                      <a:pt x="7" y="2"/>
                      <a:pt x="7" y="2"/>
                    </a:cubicBezTo>
                    <a:cubicBezTo>
                      <a:pt x="5" y="1"/>
                      <a:pt x="2" y="0"/>
                      <a:pt x="0" y="2"/>
                    </a:cubicBezTo>
                    <a:cubicBezTo>
                      <a:pt x="1" y="2"/>
                      <a:pt x="1" y="3"/>
                      <a:pt x="2" y="3"/>
                    </a:cubicBezTo>
                    <a:cubicBezTo>
                      <a:pt x="3" y="3"/>
                      <a:pt x="4"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0" name="Freeform 1856">
                <a:extLst>
                  <a:ext uri="{FF2B5EF4-FFF2-40B4-BE49-F238E27FC236}">
                    <a16:creationId xmlns:a16="http://schemas.microsoft.com/office/drawing/2014/main" id="{A80C82DC-C699-4A5F-84BC-FBD40C8A6E59}"/>
                  </a:ext>
                </a:extLst>
              </p:cNvPr>
              <p:cNvSpPr>
                <a:spLocks/>
              </p:cNvSpPr>
              <p:nvPr/>
            </p:nvSpPr>
            <p:spPr bwMode="auto">
              <a:xfrm>
                <a:off x="1800" y="4231"/>
                <a:ext cx="4" cy="5"/>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1" y="0"/>
                      <a:pt x="0" y="1"/>
                    </a:cubicBezTo>
                    <a:cubicBezTo>
                      <a:pt x="1" y="2"/>
                      <a:pt x="2"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1" name="Freeform 1857">
                <a:extLst>
                  <a:ext uri="{FF2B5EF4-FFF2-40B4-BE49-F238E27FC236}">
                    <a16:creationId xmlns:a16="http://schemas.microsoft.com/office/drawing/2014/main" id="{EF093200-02A0-496D-B690-6C01E2896E91}"/>
                  </a:ext>
                </a:extLst>
              </p:cNvPr>
              <p:cNvSpPr>
                <a:spLocks/>
              </p:cNvSpPr>
              <p:nvPr/>
            </p:nvSpPr>
            <p:spPr bwMode="auto">
              <a:xfrm>
                <a:off x="1762" y="3917"/>
                <a:ext cx="2" cy="4"/>
              </a:xfrm>
              <a:custGeom>
                <a:avLst/>
                <a:gdLst>
                  <a:gd name="T0" fmla="*/ 0 w 1"/>
                  <a:gd name="T1" fmla="*/ 1 h 2"/>
                  <a:gd name="T2" fmla="*/ 1 w 1"/>
                  <a:gd name="T3" fmla="*/ 2 h 2"/>
                  <a:gd name="T4" fmla="*/ 0 w 1"/>
                  <a:gd name="T5" fmla="*/ 1 h 2"/>
                </a:gdLst>
                <a:ahLst/>
                <a:cxnLst>
                  <a:cxn ang="0">
                    <a:pos x="T0" y="T1"/>
                  </a:cxn>
                  <a:cxn ang="0">
                    <a:pos x="T2" y="T3"/>
                  </a:cxn>
                  <a:cxn ang="0">
                    <a:pos x="T4" y="T5"/>
                  </a:cxn>
                </a:cxnLst>
                <a:rect l="0" t="0" r="r" b="b"/>
                <a:pathLst>
                  <a:path w="1" h="2">
                    <a:moveTo>
                      <a:pt x="0" y="1"/>
                    </a:moveTo>
                    <a:cubicBezTo>
                      <a:pt x="0" y="1"/>
                      <a:pt x="1" y="1"/>
                      <a:pt x="1" y="2"/>
                    </a:cubicBezTo>
                    <a:cubicBezTo>
                      <a:pt x="1" y="1"/>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2" name="Freeform 1858">
                <a:extLst>
                  <a:ext uri="{FF2B5EF4-FFF2-40B4-BE49-F238E27FC236}">
                    <a16:creationId xmlns:a16="http://schemas.microsoft.com/office/drawing/2014/main" id="{8B85F892-C7BE-42E9-893A-20860BC89E5A}"/>
                  </a:ext>
                </a:extLst>
              </p:cNvPr>
              <p:cNvSpPr>
                <a:spLocks/>
              </p:cNvSpPr>
              <p:nvPr/>
            </p:nvSpPr>
            <p:spPr bwMode="auto">
              <a:xfrm>
                <a:off x="1743" y="3900"/>
                <a:ext cx="5" cy="5"/>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1" y="1"/>
                      <a:pt x="1" y="1"/>
                      <a:pt x="2" y="1"/>
                    </a:cubicBezTo>
                    <a:cubicBezTo>
                      <a:pt x="0" y="0"/>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3" name="Freeform 1859">
                <a:extLst>
                  <a:ext uri="{FF2B5EF4-FFF2-40B4-BE49-F238E27FC236}">
                    <a16:creationId xmlns:a16="http://schemas.microsoft.com/office/drawing/2014/main" id="{56469DEF-E09E-4DF8-BDA9-564C3EE30633}"/>
                  </a:ext>
                </a:extLst>
              </p:cNvPr>
              <p:cNvSpPr>
                <a:spLocks/>
              </p:cNvSpPr>
              <p:nvPr/>
            </p:nvSpPr>
            <p:spPr bwMode="auto">
              <a:xfrm>
                <a:off x="1740" y="4120"/>
                <a:ext cx="12" cy="12"/>
              </a:xfrm>
              <a:custGeom>
                <a:avLst/>
                <a:gdLst>
                  <a:gd name="T0" fmla="*/ 0 w 5"/>
                  <a:gd name="T1" fmla="*/ 2 h 5"/>
                  <a:gd name="T2" fmla="*/ 1 w 5"/>
                  <a:gd name="T3" fmla="*/ 4 h 5"/>
                  <a:gd name="T4" fmla="*/ 3 w 5"/>
                  <a:gd name="T5" fmla="*/ 5 h 5"/>
                  <a:gd name="T6" fmla="*/ 3 w 5"/>
                  <a:gd name="T7" fmla="*/ 4 h 5"/>
                  <a:gd name="T8" fmla="*/ 3 w 5"/>
                  <a:gd name="T9" fmla="*/ 4 h 5"/>
                  <a:gd name="T10" fmla="*/ 5 w 5"/>
                  <a:gd name="T11" fmla="*/ 5 h 5"/>
                  <a:gd name="T12" fmla="*/ 5 w 5"/>
                  <a:gd name="T13" fmla="*/ 3 h 5"/>
                  <a:gd name="T14" fmla="*/ 5 w 5"/>
                  <a:gd name="T15" fmla="*/ 2 h 5"/>
                  <a:gd name="T16" fmla="*/ 2 w 5"/>
                  <a:gd name="T17" fmla="*/ 0 h 5"/>
                  <a:gd name="T18" fmla="*/ 3 w 5"/>
                  <a:gd name="T19" fmla="*/ 1 h 5"/>
                  <a:gd name="T20" fmla="*/ 2 w 5"/>
                  <a:gd name="T21" fmla="*/ 2 h 5"/>
                  <a:gd name="T22" fmla="*/ 0 w 5"/>
                  <a:gd name="T2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0" y="2"/>
                    </a:moveTo>
                    <a:cubicBezTo>
                      <a:pt x="0" y="3"/>
                      <a:pt x="1" y="4"/>
                      <a:pt x="1" y="4"/>
                    </a:cubicBezTo>
                    <a:cubicBezTo>
                      <a:pt x="2" y="5"/>
                      <a:pt x="2" y="5"/>
                      <a:pt x="3" y="5"/>
                    </a:cubicBezTo>
                    <a:cubicBezTo>
                      <a:pt x="3" y="5"/>
                      <a:pt x="3" y="5"/>
                      <a:pt x="3" y="4"/>
                    </a:cubicBezTo>
                    <a:cubicBezTo>
                      <a:pt x="3" y="4"/>
                      <a:pt x="3" y="4"/>
                      <a:pt x="3" y="4"/>
                    </a:cubicBezTo>
                    <a:cubicBezTo>
                      <a:pt x="4" y="4"/>
                      <a:pt x="5" y="4"/>
                      <a:pt x="5" y="5"/>
                    </a:cubicBezTo>
                    <a:cubicBezTo>
                      <a:pt x="5" y="4"/>
                      <a:pt x="5" y="4"/>
                      <a:pt x="5" y="3"/>
                    </a:cubicBezTo>
                    <a:cubicBezTo>
                      <a:pt x="5" y="3"/>
                      <a:pt x="5" y="2"/>
                      <a:pt x="5" y="2"/>
                    </a:cubicBezTo>
                    <a:cubicBezTo>
                      <a:pt x="5" y="1"/>
                      <a:pt x="3" y="0"/>
                      <a:pt x="2" y="0"/>
                    </a:cubicBezTo>
                    <a:cubicBezTo>
                      <a:pt x="2" y="1"/>
                      <a:pt x="3" y="1"/>
                      <a:pt x="3" y="1"/>
                    </a:cubicBezTo>
                    <a:cubicBezTo>
                      <a:pt x="3" y="2"/>
                      <a:pt x="2" y="2"/>
                      <a:pt x="2" y="2"/>
                    </a:cubicBezTo>
                    <a:cubicBezTo>
                      <a:pt x="1" y="3"/>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4" name="Freeform 1860">
                <a:extLst>
                  <a:ext uri="{FF2B5EF4-FFF2-40B4-BE49-F238E27FC236}">
                    <a16:creationId xmlns:a16="http://schemas.microsoft.com/office/drawing/2014/main" id="{BCED76DF-7BBF-4600-9894-635D3B7D0C91}"/>
                  </a:ext>
                </a:extLst>
              </p:cNvPr>
              <p:cNvSpPr>
                <a:spLocks/>
              </p:cNvSpPr>
              <p:nvPr/>
            </p:nvSpPr>
            <p:spPr bwMode="auto">
              <a:xfrm>
                <a:off x="1757" y="4201"/>
                <a:ext cx="2" cy="2"/>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5" name="Freeform 1861">
                <a:extLst>
                  <a:ext uri="{FF2B5EF4-FFF2-40B4-BE49-F238E27FC236}">
                    <a16:creationId xmlns:a16="http://schemas.microsoft.com/office/drawing/2014/main" id="{6D8062A4-ACCD-4D4D-9341-9B60B9E0C230}"/>
                  </a:ext>
                </a:extLst>
              </p:cNvPr>
              <p:cNvSpPr>
                <a:spLocks/>
              </p:cNvSpPr>
              <p:nvPr/>
            </p:nvSpPr>
            <p:spPr bwMode="auto">
              <a:xfrm>
                <a:off x="1743" y="4184"/>
                <a:ext cx="40" cy="21"/>
              </a:xfrm>
              <a:custGeom>
                <a:avLst/>
                <a:gdLst>
                  <a:gd name="T0" fmla="*/ 17 w 17"/>
                  <a:gd name="T1" fmla="*/ 9 h 9"/>
                  <a:gd name="T2" fmla="*/ 15 w 17"/>
                  <a:gd name="T3" fmla="*/ 8 h 9"/>
                  <a:gd name="T4" fmla="*/ 15 w 17"/>
                  <a:gd name="T5" fmla="*/ 8 h 9"/>
                  <a:gd name="T6" fmla="*/ 15 w 17"/>
                  <a:gd name="T7" fmla="*/ 7 h 9"/>
                  <a:gd name="T8" fmla="*/ 14 w 17"/>
                  <a:gd name="T9" fmla="*/ 6 h 9"/>
                  <a:gd name="T10" fmla="*/ 13 w 17"/>
                  <a:gd name="T11" fmla="*/ 8 h 9"/>
                  <a:gd name="T12" fmla="*/ 13 w 17"/>
                  <a:gd name="T13" fmla="*/ 6 h 9"/>
                  <a:gd name="T14" fmla="*/ 12 w 17"/>
                  <a:gd name="T15" fmla="*/ 5 h 9"/>
                  <a:gd name="T16" fmla="*/ 11 w 17"/>
                  <a:gd name="T17" fmla="*/ 5 h 9"/>
                  <a:gd name="T18" fmla="*/ 10 w 17"/>
                  <a:gd name="T19" fmla="*/ 5 h 9"/>
                  <a:gd name="T20" fmla="*/ 9 w 17"/>
                  <a:gd name="T21" fmla="*/ 4 h 9"/>
                  <a:gd name="T22" fmla="*/ 9 w 17"/>
                  <a:gd name="T23" fmla="*/ 5 h 9"/>
                  <a:gd name="T24" fmla="*/ 8 w 17"/>
                  <a:gd name="T25" fmla="*/ 4 h 9"/>
                  <a:gd name="T26" fmla="*/ 6 w 17"/>
                  <a:gd name="T27" fmla="*/ 4 h 9"/>
                  <a:gd name="T28" fmla="*/ 4 w 17"/>
                  <a:gd name="T29" fmla="*/ 3 h 9"/>
                  <a:gd name="T30" fmla="*/ 4 w 17"/>
                  <a:gd name="T31" fmla="*/ 2 h 9"/>
                  <a:gd name="T32" fmla="*/ 3 w 17"/>
                  <a:gd name="T33" fmla="*/ 2 h 9"/>
                  <a:gd name="T34" fmla="*/ 2 w 17"/>
                  <a:gd name="T35" fmla="*/ 1 h 9"/>
                  <a:gd name="T36" fmla="*/ 1 w 17"/>
                  <a:gd name="T37" fmla="*/ 1 h 9"/>
                  <a:gd name="T38" fmla="*/ 3 w 17"/>
                  <a:gd name="T39" fmla="*/ 4 h 9"/>
                  <a:gd name="T40" fmla="*/ 5 w 17"/>
                  <a:gd name="T41" fmla="*/ 5 h 9"/>
                  <a:gd name="T42" fmla="*/ 9 w 17"/>
                  <a:gd name="T43" fmla="*/ 5 h 9"/>
                  <a:gd name="T44" fmla="*/ 12 w 17"/>
                  <a:gd name="T45" fmla="*/ 8 h 9"/>
                  <a:gd name="T46" fmla="*/ 17 w 17"/>
                  <a:gd name="T4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9">
                    <a:moveTo>
                      <a:pt x="17" y="9"/>
                    </a:moveTo>
                    <a:cubicBezTo>
                      <a:pt x="16" y="9"/>
                      <a:pt x="16" y="8"/>
                      <a:pt x="15" y="8"/>
                    </a:cubicBezTo>
                    <a:cubicBezTo>
                      <a:pt x="15" y="8"/>
                      <a:pt x="15" y="8"/>
                      <a:pt x="15" y="8"/>
                    </a:cubicBezTo>
                    <a:cubicBezTo>
                      <a:pt x="14" y="8"/>
                      <a:pt x="15" y="7"/>
                      <a:pt x="15" y="7"/>
                    </a:cubicBezTo>
                    <a:cubicBezTo>
                      <a:pt x="15" y="7"/>
                      <a:pt x="14" y="6"/>
                      <a:pt x="14" y="6"/>
                    </a:cubicBezTo>
                    <a:cubicBezTo>
                      <a:pt x="13" y="6"/>
                      <a:pt x="13" y="7"/>
                      <a:pt x="13" y="8"/>
                    </a:cubicBezTo>
                    <a:cubicBezTo>
                      <a:pt x="12" y="7"/>
                      <a:pt x="13" y="7"/>
                      <a:pt x="13" y="6"/>
                    </a:cubicBezTo>
                    <a:cubicBezTo>
                      <a:pt x="13" y="6"/>
                      <a:pt x="12" y="5"/>
                      <a:pt x="12" y="5"/>
                    </a:cubicBezTo>
                    <a:cubicBezTo>
                      <a:pt x="12" y="5"/>
                      <a:pt x="11" y="5"/>
                      <a:pt x="11" y="5"/>
                    </a:cubicBezTo>
                    <a:cubicBezTo>
                      <a:pt x="11" y="5"/>
                      <a:pt x="10" y="5"/>
                      <a:pt x="10" y="5"/>
                    </a:cubicBezTo>
                    <a:cubicBezTo>
                      <a:pt x="10" y="5"/>
                      <a:pt x="9" y="4"/>
                      <a:pt x="9" y="4"/>
                    </a:cubicBezTo>
                    <a:cubicBezTo>
                      <a:pt x="9" y="4"/>
                      <a:pt x="9" y="5"/>
                      <a:pt x="9" y="5"/>
                    </a:cubicBezTo>
                    <a:cubicBezTo>
                      <a:pt x="8" y="4"/>
                      <a:pt x="8" y="4"/>
                      <a:pt x="8" y="4"/>
                    </a:cubicBezTo>
                    <a:cubicBezTo>
                      <a:pt x="8" y="4"/>
                      <a:pt x="7" y="3"/>
                      <a:pt x="6" y="4"/>
                    </a:cubicBezTo>
                    <a:cubicBezTo>
                      <a:pt x="6" y="3"/>
                      <a:pt x="5" y="4"/>
                      <a:pt x="4" y="3"/>
                    </a:cubicBezTo>
                    <a:cubicBezTo>
                      <a:pt x="4" y="3"/>
                      <a:pt x="4" y="2"/>
                      <a:pt x="4" y="2"/>
                    </a:cubicBezTo>
                    <a:cubicBezTo>
                      <a:pt x="4" y="2"/>
                      <a:pt x="3" y="2"/>
                      <a:pt x="3" y="2"/>
                    </a:cubicBezTo>
                    <a:cubicBezTo>
                      <a:pt x="3" y="2"/>
                      <a:pt x="3" y="1"/>
                      <a:pt x="2" y="1"/>
                    </a:cubicBezTo>
                    <a:cubicBezTo>
                      <a:pt x="1" y="1"/>
                      <a:pt x="1" y="0"/>
                      <a:pt x="1" y="1"/>
                    </a:cubicBezTo>
                    <a:cubicBezTo>
                      <a:pt x="0" y="1"/>
                      <a:pt x="2" y="3"/>
                      <a:pt x="3" y="4"/>
                    </a:cubicBezTo>
                    <a:cubicBezTo>
                      <a:pt x="3" y="4"/>
                      <a:pt x="4" y="5"/>
                      <a:pt x="5" y="5"/>
                    </a:cubicBezTo>
                    <a:cubicBezTo>
                      <a:pt x="6" y="6"/>
                      <a:pt x="9" y="5"/>
                      <a:pt x="9" y="5"/>
                    </a:cubicBezTo>
                    <a:cubicBezTo>
                      <a:pt x="10" y="6"/>
                      <a:pt x="11" y="8"/>
                      <a:pt x="12" y="8"/>
                    </a:cubicBezTo>
                    <a:cubicBezTo>
                      <a:pt x="13" y="9"/>
                      <a:pt x="16" y="9"/>
                      <a:pt x="1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6" name="Freeform 1862">
                <a:extLst>
                  <a:ext uri="{FF2B5EF4-FFF2-40B4-BE49-F238E27FC236}">
                    <a16:creationId xmlns:a16="http://schemas.microsoft.com/office/drawing/2014/main" id="{1E97E20D-63FA-4F8B-8ECB-59C80337DCF9}"/>
                  </a:ext>
                </a:extLst>
              </p:cNvPr>
              <p:cNvSpPr>
                <a:spLocks/>
              </p:cNvSpPr>
              <p:nvPr/>
            </p:nvSpPr>
            <p:spPr bwMode="auto">
              <a:xfrm>
                <a:off x="1759" y="3929"/>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7" name="Freeform 1863">
                <a:extLst>
                  <a:ext uri="{FF2B5EF4-FFF2-40B4-BE49-F238E27FC236}">
                    <a16:creationId xmlns:a16="http://schemas.microsoft.com/office/drawing/2014/main" id="{84DF3A3F-1C0D-425D-997B-8F2ADF57CE11}"/>
                  </a:ext>
                </a:extLst>
              </p:cNvPr>
              <p:cNvSpPr>
                <a:spLocks/>
              </p:cNvSpPr>
              <p:nvPr/>
            </p:nvSpPr>
            <p:spPr bwMode="auto">
              <a:xfrm>
                <a:off x="1769" y="4203"/>
                <a:ext cx="38" cy="28"/>
              </a:xfrm>
              <a:custGeom>
                <a:avLst/>
                <a:gdLst>
                  <a:gd name="T0" fmla="*/ 13 w 16"/>
                  <a:gd name="T1" fmla="*/ 9 h 12"/>
                  <a:gd name="T2" fmla="*/ 14 w 16"/>
                  <a:gd name="T3" fmla="*/ 8 h 12"/>
                  <a:gd name="T4" fmla="*/ 14 w 16"/>
                  <a:gd name="T5" fmla="*/ 8 h 12"/>
                  <a:gd name="T6" fmla="*/ 14 w 16"/>
                  <a:gd name="T7" fmla="*/ 8 h 12"/>
                  <a:gd name="T8" fmla="*/ 15 w 16"/>
                  <a:gd name="T9" fmla="*/ 8 h 12"/>
                  <a:gd name="T10" fmla="*/ 16 w 16"/>
                  <a:gd name="T11" fmla="*/ 7 h 12"/>
                  <a:gd name="T12" fmla="*/ 13 w 16"/>
                  <a:gd name="T13" fmla="*/ 6 h 12"/>
                  <a:gd name="T14" fmla="*/ 13 w 16"/>
                  <a:gd name="T15" fmla="*/ 4 h 12"/>
                  <a:gd name="T16" fmla="*/ 11 w 16"/>
                  <a:gd name="T17" fmla="*/ 4 h 12"/>
                  <a:gd name="T18" fmla="*/ 10 w 16"/>
                  <a:gd name="T19" fmla="*/ 4 h 12"/>
                  <a:gd name="T20" fmla="*/ 8 w 16"/>
                  <a:gd name="T21" fmla="*/ 3 h 12"/>
                  <a:gd name="T22" fmla="*/ 7 w 16"/>
                  <a:gd name="T23" fmla="*/ 2 h 12"/>
                  <a:gd name="T24" fmla="*/ 5 w 16"/>
                  <a:gd name="T25" fmla="*/ 3 h 12"/>
                  <a:gd name="T26" fmla="*/ 3 w 16"/>
                  <a:gd name="T27" fmla="*/ 3 h 12"/>
                  <a:gd name="T28" fmla="*/ 6 w 16"/>
                  <a:gd name="T29" fmla="*/ 5 h 12"/>
                  <a:gd name="T30" fmla="*/ 7 w 16"/>
                  <a:gd name="T31" fmla="*/ 4 h 12"/>
                  <a:gd name="T32" fmla="*/ 7 w 16"/>
                  <a:gd name="T33" fmla="*/ 5 h 12"/>
                  <a:gd name="T34" fmla="*/ 4 w 16"/>
                  <a:gd name="T35" fmla="*/ 5 h 12"/>
                  <a:gd name="T36" fmla="*/ 3 w 16"/>
                  <a:gd name="T37" fmla="*/ 4 h 12"/>
                  <a:gd name="T38" fmla="*/ 1 w 16"/>
                  <a:gd name="T39" fmla="*/ 4 h 12"/>
                  <a:gd name="T40" fmla="*/ 3 w 16"/>
                  <a:gd name="T41" fmla="*/ 6 h 12"/>
                  <a:gd name="T42" fmla="*/ 5 w 16"/>
                  <a:gd name="T43" fmla="*/ 6 h 12"/>
                  <a:gd name="T44" fmla="*/ 4 w 16"/>
                  <a:gd name="T45" fmla="*/ 8 h 12"/>
                  <a:gd name="T46" fmla="*/ 4 w 16"/>
                  <a:gd name="T47" fmla="*/ 9 h 12"/>
                  <a:gd name="T48" fmla="*/ 6 w 16"/>
                  <a:gd name="T49" fmla="*/ 8 h 12"/>
                  <a:gd name="T50" fmla="*/ 7 w 16"/>
                  <a:gd name="T51" fmla="*/ 8 h 12"/>
                  <a:gd name="T52" fmla="*/ 7 w 16"/>
                  <a:gd name="T53" fmla="*/ 8 h 12"/>
                  <a:gd name="T54" fmla="*/ 8 w 16"/>
                  <a:gd name="T55" fmla="*/ 8 h 12"/>
                  <a:gd name="T56" fmla="*/ 9 w 16"/>
                  <a:gd name="T57" fmla="*/ 8 h 12"/>
                  <a:gd name="T58" fmla="*/ 11 w 16"/>
                  <a:gd name="T59" fmla="*/ 8 h 12"/>
                  <a:gd name="T60" fmla="*/ 9 w 16"/>
                  <a:gd name="T61" fmla="*/ 9 h 12"/>
                  <a:gd name="T62" fmla="*/ 8 w 16"/>
                  <a:gd name="T63" fmla="*/ 11 h 12"/>
                  <a:gd name="T64" fmla="*/ 7 w 16"/>
                  <a:gd name="T65" fmla="*/ 11 h 12"/>
                  <a:gd name="T66" fmla="*/ 9 w 16"/>
                  <a:gd name="T67" fmla="*/ 12 h 12"/>
                  <a:gd name="T68" fmla="*/ 11 w 16"/>
                  <a:gd name="T69" fmla="*/ 10 h 12"/>
                  <a:gd name="T70" fmla="*/ 12 w 16"/>
                  <a:gd name="T71" fmla="*/ 10 h 12"/>
                  <a:gd name="T72" fmla="*/ 14 w 16"/>
                  <a:gd name="T73" fmla="*/ 11 h 12"/>
                  <a:gd name="T74" fmla="*/ 13 w 16"/>
                  <a:gd name="T7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 h="12">
                    <a:moveTo>
                      <a:pt x="13" y="9"/>
                    </a:moveTo>
                    <a:cubicBezTo>
                      <a:pt x="14" y="9"/>
                      <a:pt x="14" y="8"/>
                      <a:pt x="14" y="8"/>
                    </a:cubicBezTo>
                    <a:cubicBezTo>
                      <a:pt x="14" y="8"/>
                      <a:pt x="14" y="8"/>
                      <a:pt x="14" y="8"/>
                    </a:cubicBezTo>
                    <a:cubicBezTo>
                      <a:pt x="14" y="8"/>
                      <a:pt x="14" y="8"/>
                      <a:pt x="14" y="8"/>
                    </a:cubicBezTo>
                    <a:cubicBezTo>
                      <a:pt x="14" y="8"/>
                      <a:pt x="15" y="8"/>
                      <a:pt x="15" y="8"/>
                    </a:cubicBezTo>
                    <a:cubicBezTo>
                      <a:pt x="15" y="8"/>
                      <a:pt x="15" y="8"/>
                      <a:pt x="16" y="7"/>
                    </a:cubicBezTo>
                    <a:cubicBezTo>
                      <a:pt x="15" y="7"/>
                      <a:pt x="14" y="6"/>
                      <a:pt x="13" y="6"/>
                    </a:cubicBezTo>
                    <a:cubicBezTo>
                      <a:pt x="12" y="6"/>
                      <a:pt x="13" y="5"/>
                      <a:pt x="13" y="4"/>
                    </a:cubicBezTo>
                    <a:cubicBezTo>
                      <a:pt x="13" y="4"/>
                      <a:pt x="12" y="4"/>
                      <a:pt x="11" y="4"/>
                    </a:cubicBezTo>
                    <a:cubicBezTo>
                      <a:pt x="11" y="4"/>
                      <a:pt x="10" y="4"/>
                      <a:pt x="10" y="4"/>
                    </a:cubicBezTo>
                    <a:cubicBezTo>
                      <a:pt x="9" y="4"/>
                      <a:pt x="9" y="2"/>
                      <a:pt x="8" y="3"/>
                    </a:cubicBezTo>
                    <a:cubicBezTo>
                      <a:pt x="8" y="2"/>
                      <a:pt x="8" y="2"/>
                      <a:pt x="7" y="2"/>
                    </a:cubicBezTo>
                    <a:cubicBezTo>
                      <a:pt x="7" y="0"/>
                      <a:pt x="5" y="3"/>
                      <a:pt x="5" y="3"/>
                    </a:cubicBezTo>
                    <a:cubicBezTo>
                      <a:pt x="4" y="3"/>
                      <a:pt x="4" y="3"/>
                      <a:pt x="3" y="3"/>
                    </a:cubicBezTo>
                    <a:cubicBezTo>
                      <a:pt x="4" y="4"/>
                      <a:pt x="5" y="5"/>
                      <a:pt x="6" y="5"/>
                    </a:cubicBezTo>
                    <a:cubicBezTo>
                      <a:pt x="6" y="5"/>
                      <a:pt x="7" y="4"/>
                      <a:pt x="7" y="4"/>
                    </a:cubicBezTo>
                    <a:cubicBezTo>
                      <a:pt x="7" y="5"/>
                      <a:pt x="8" y="5"/>
                      <a:pt x="7" y="5"/>
                    </a:cubicBezTo>
                    <a:cubicBezTo>
                      <a:pt x="6" y="6"/>
                      <a:pt x="5" y="5"/>
                      <a:pt x="4" y="5"/>
                    </a:cubicBezTo>
                    <a:cubicBezTo>
                      <a:pt x="4" y="4"/>
                      <a:pt x="3" y="4"/>
                      <a:pt x="3" y="4"/>
                    </a:cubicBezTo>
                    <a:cubicBezTo>
                      <a:pt x="3" y="4"/>
                      <a:pt x="1" y="4"/>
                      <a:pt x="1" y="4"/>
                    </a:cubicBezTo>
                    <a:cubicBezTo>
                      <a:pt x="0" y="5"/>
                      <a:pt x="1" y="7"/>
                      <a:pt x="3" y="6"/>
                    </a:cubicBezTo>
                    <a:cubicBezTo>
                      <a:pt x="3" y="6"/>
                      <a:pt x="4" y="6"/>
                      <a:pt x="5" y="6"/>
                    </a:cubicBezTo>
                    <a:cubicBezTo>
                      <a:pt x="5" y="7"/>
                      <a:pt x="4" y="8"/>
                      <a:pt x="4" y="8"/>
                    </a:cubicBezTo>
                    <a:cubicBezTo>
                      <a:pt x="4" y="9"/>
                      <a:pt x="5" y="9"/>
                      <a:pt x="4" y="9"/>
                    </a:cubicBezTo>
                    <a:cubicBezTo>
                      <a:pt x="5" y="9"/>
                      <a:pt x="6" y="9"/>
                      <a:pt x="6" y="8"/>
                    </a:cubicBezTo>
                    <a:cubicBezTo>
                      <a:pt x="7" y="8"/>
                      <a:pt x="7" y="8"/>
                      <a:pt x="7" y="8"/>
                    </a:cubicBezTo>
                    <a:cubicBezTo>
                      <a:pt x="7" y="8"/>
                      <a:pt x="7" y="8"/>
                      <a:pt x="7" y="8"/>
                    </a:cubicBezTo>
                    <a:cubicBezTo>
                      <a:pt x="8" y="8"/>
                      <a:pt x="8" y="8"/>
                      <a:pt x="8" y="8"/>
                    </a:cubicBezTo>
                    <a:cubicBezTo>
                      <a:pt x="9" y="8"/>
                      <a:pt x="9" y="8"/>
                      <a:pt x="9" y="8"/>
                    </a:cubicBezTo>
                    <a:cubicBezTo>
                      <a:pt x="10" y="8"/>
                      <a:pt x="10" y="8"/>
                      <a:pt x="11" y="8"/>
                    </a:cubicBezTo>
                    <a:cubicBezTo>
                      <a:pt x="10" y="9"/>
                      <a:pt x="10" y="9"/>
                      <a:pt x="9" y="9"/>
                    </a:cubicBezTo>
                    <a:cubicBezTo>
                      <a:pt x="9" y="10"/>
                      <a:pt x="9" y="10"/>
                      <a:pt x="8" y="11"/>
                    </a:cubicBezTo>
                    <a:cubicBezTo>
                      <a:pt x="8" y="11"/>
                      <a:pt x="8" y="11"/>
                      <a:pt x="7" y="11"/>
                    </a:cubicBezTo>
                    <a:cubicBezTo>
                      <a:pt x="8" y="12"/>
                      <a:pt x="8" y="12"/>
                      <a:pt x="9" y="12"/>
                    </a:cubicBezTo>
                    <a:cubicBezTo>
                      <a:pt x="10" y="12"/>
                      <a:pt x="10" y="11"/>
                      <a:pt x="11" y="10"/>
                    </a:cubicBezTo>
                    <a:cubicBezTo>
                      <a:pt x="12" y="12"/>
                      <a:pt x="12" y="11"/>
                      <a:pt x="12" y="10"/>
                    </a:cubicBezTo>
                    <a:cubicBezTo>
                      <a:pt x="13" y="10"/>
                      <a:pt x="13" y="11"/>
                      <a:pt x="14" y="11"/>
                    </a:cubicBezTo>
                    <a:cubicBezTo>
                      <a:pt x="15" y="11"/>
                      <a:pt x="14"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8" name="Freeform 1864">
                <a:extLst>
                  <a:ext uri="{FF2B5EF4-FFF2-40B4-BE49-F238E27FC236}">
                    <a16:creationId xmlns:a16="http://schemas.microsoft.com/office/drawing/2014/main" id="{8AF9A58D-110F-4B13-A995-24D65A713937}"/>
                  </a:ext>
                </a:extLst>
              </p:cNvPr>
              <p:cNvSpPr>
                <a:spLocks/>
              </p:cNvSpPr>
              <p:nvPr/>
            </p:nvSpPr>
            <p:spPr bwMode="auto">
              <a:xfrm>
                <a:off x="1757" y="3950"/>
                <a:ext cx="9" cy="5"/>
              </a:xfrm>
              <a:custGeom>
                <a:avLst/>
                <a:gdLst>
                  <a:gd name="T0" fmla="*/ 2 w 4"/>
                  <a:gd name="T1" fmla="*/ 0 h 2"/>
                  <a:gd name="T2" fmla="*/ 1 w 4"/>
                  <a:gd name="T3" fmla="*/ 1 h 2"/>
                  <a:gd name="T4" fmla="*/ 2 w 4"/>
                  <a:gd name="T5" fmla="*/ 2 h 2"/>
                  <a:gd name="T6" fmla="*/ 4 w 4"/>
                  <a:gd name="T7" fmla="*/ 2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cubicBezTo>
                      <a:pt x="1" y="0"/>
                      <a:pt x="1" y="1"/>
                      <a:pt x="1" y="1"/>
                    </a:cubicBezTo>
                    <a:cubicBezTo>
                      <a:pt x="0" y="2"/>
                      <a:pt x="2" y="2"/>
                      <a:pt x="2" y="2"/>
                    </a:cubicBezTo>
                    <a:cubicBezTo>
                      <a:pt x="3" y="2"/>
                      <a:pt x="4" y="2"/>
                      <a:pt x="4" y="2"/>
                    </a:cubicBezTo>
                    <a:cubicBezTo>
                      <a:pt x="4"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9" name="Freeform 1865">
                <a:extLst>
                  <a:ext uri="{FF2B5EF4-FFF2-40B4-BE49-F238E27FC236}">
                    <a16:creationId xmlns:a16="http://schemas.microsoft.com/office/drawing/2014/main" id="{EB3C4BD6-87F2-4CAC-BA57-BA52DA0C86A0}"/>
                  </a:ext>
                </a:extLst>
              </p:cNvPr>
              <p:cNvSpPr>
                <a:spLocks/>
              </p:cNvSpPr>
              <p:nvPr/>
            </p:nvSpPr>
            <p:spPr bwMode="auto">
              <a:xfrm>
                <a:off x="1837" y="4212"/>
                <a:ext cx="12" cy="22"/>
              </a:xfrm>
              <a:custGeom>
                <a:avLst/>
                <a:gdLst>
                  <a:gd name="T0" fmla="*/ 5 w 5"/>
                  <a:gd name="T1" fmla="*/ 7 h 9"/>
                  <a:gd name="T2" fmla="*/ 4 w 5"/>
                  <a:gd name="T3" fmla="*/ 4 h 9"/>
                  <a:gd name="T4" fmla="*/ 4 w 5"/>
                  <a:gd name="T5" fmla="*/ 0 h 9"/>
                  <a:gd name="T6" fmla="*/ 2 w 5"/>
                  <a:gd name="T7" fmla="*/ 2 h 9"/>
                  <a:gd name="T8" fmla="*/ 1 w 5"/>
                  <a:gd name="T9" fmla="*/ 4 h 9"/>
                  <a:gd name="T10" fmla="*/ 1 w 5"/>
                  <a:gd name="T11" fmla="*/ 4 h 9"/>
                  <a:gd name="T12" fmla="*/ 0 w 5"/>
                  <a:gd name="T13" fmla="*/ 6 h 9"/>
                  <a:gd name="T14" fmla="*/ 4 w 5"/>
                  <a:gd name="T15" fmla="*/ 9 h 9"/>
                  <a:gd name="T16" fmla="*/ 3 w 5"/>
                  <a:gd name="T17" fmla="*/ 7 h 9"/>
                  <a:gd name="T18" fmla="*/ 2 w 5"/>
                  <a:gd name="T19" fmla="*/ 5 h 9"/>
                  <a:gd name="T20" fmla="*/ 5 w 5"/>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9">
                    <a:moveTo>
                      <a:pt x="5" y="7"/>
                    </a:moveTo>
                    <a:cubicBezTo>
                      <a:pt x="5" y="6"/>
                      <a:pt x="5" y="5"/>
                      <a:pt x="4" y="4"/>
                    </a:cubicBezTo>
                    <a:cubicBezTo>
                      <a:pt x="4" y="3"/>
                      <a:pt x="4" y="1"/>
                      <a:pt x="4" y="0"/>
                    </a:cubicBezTo>
                    <a:cubicBezTo>
                      <a:pt x="4" y="0"/>
                      <a:pt x="2" y="1"/>
                      <a:pt x="2" y="2"/>
                    </a:cubicBezTo>
                    <a:cubicBezTo>
                      <a:pt x="2" y="2"/>
                      <a:pt x="2" y="3"/>
                      <a:pt x="1" y="4"/>
                    </a:cubicBezTo>
                    <a:cubicBezTo>
                      <a:pt x="1" y="4"/>
                      <a:pt x="1" y="4"/>
                      <a:pt x="1" y="4"/>
                    </a:cubicBezTo>
                    <a:cubicBezTo>
                      <a:pt x="0" y="5"/>
                      <a:pt x="0" y="4"/>
                      <a:pt x="0" y="6"/>
                    </a:cubicBezTo>
                    <a:cubicBezTo>
                      <a:pt x="0" y="8"/>
                      <a:pt x="2" y="9"/>
                      <a:pt x="4" y="9"/>
                    </a:cubicBezTo>
                    <a:cubicBezTo>
                      <a:pt x="3" y="8"/>
                      <a:pt x="3" y="7"/>
                      <a:pt x="3" y="7"/>
                    </a:cubicBezTo>
                    <a:cubicBezTo>
                      <a:pt x="3" y="6"/>
                      <a:pt x="2" y="6"/>
                      <a:pt x="2" y="5"/>
                    </a:cubicBezTo>
                    <a:cubicBezTo>
                      <a:pt x="2" y="5"/>
                      <a:pt x="4" y="8"/>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0" name="Freeform 1866">
                <a:extLst>
                  <a:ext uri="{FF2B5EF4-FFF2-40B4-BE49-F238E27FC236}">
                    <a16:creationId xmlns:a16="http://schemas.microsoft.com/office/drawing/2014/main" id="{A552BB48-0E4D-4692-BE34-AA8A0B3D587F}"/>
                  </a:ext>
                </a:extLst>
              </p:cNvPr>
              <p:cNvSpPr>
                <a:spLocks/>
              </p:cNvSpPr>
              <p:nvPr/>
            </p:nvSpPr>
            <p:spPr bwMode="auto">
              <a:xfrm>
                <a:off x="1724" y="4056"/>
                <a:ext cx="31" cy="43"/>
              </a:xfrm>
              <a:custGeom>
                <a:avLst/>
                <a:gdLst>
                  <a:gd name="T0" fmla="*/ 11 w 13"/>
                  <a:gd name="T1" fmla="*/ 1 h 18"/>
                  <a:gd name="T2" fmla="*/ 10 w 13"/>
                  <a:gd name="T3" fmla="*/ 1 h 18"/>
                  <a:gd name="T4" fmla="*/ 7 w 13"/>
                  <a:gd name="T5" fmla="*/ 1 h 18"/>
                  <a:gd name="T6" fmla="*/ 7 w 13"/>
                  <a:gd name="T7" fmla="*/ 2 h 18"/>
                  <a:gd name="T8" fmla="*/ 6 w 13"/>
                  <a:gd name="T9" fmla="*/ 3 h 18"/>
                  <a:gd name="T10" fmla="*/ 7 w 13"/>
                  <a:gd name="T11" fmla="*/ 3 h 18"/>
                  <a:gd name="T12" fmla="*/ 6 w 13"/>
                  <a:gd name="T13" fmla="*/ 4 h 18"/>
                  <a:gd name="T14" fmla="*/ 8 w 13"/>
                  <a:gd name="T15" fmla="*/ 6 h 18"/>
                  <a:gd name="T16" fmla="*/ 7 w 13"/>
                  <a:gd name="T17" fmla="*/ 9 h 18"/>
                  <a:gd name="T18" fmla="*/ 5 w 13"/>
                  <a:gd name="T19" fmla="*/ 7 h 18"/>
                  <a:gd name="T20" fmla="*/ 5 w 13"/>
                  <a:gd name="T21" fmla="*/ 8 h 18"/>
                  <a:gd name="T22" fmla="*/ 4 w 13"/>
                  <a:gd name="T23" fmla="*/ 9 h 18"/>
                  <a:gd name="T24" fmla="*/ 2 w 13"/>
                  <a:gd name="T25" fmla="*/ 9 h 18"/>
                  <a:gd name="T26" fmla="*/ 2 w 13"/>
                  <a:gd name="T27" fmla="*/ 8 h 18"/>
                  <a:gd name="T28" fmla="*/ 2 w 13"/>
                  <a:gd name="T29" fmla="*/ 10 h 18"/>
                  <a:gd name="T30" fmla="*/ 4 w 13"/>
                  <a:gd name="T31" fmla="*/ 15 h 18"/>
                  <a:gd name="T32" fmla="*/ 6 w 13"/>
                  <a:gd name="T33" fmla="*/ 15 h 18"/>
                  <a:gd name="T34" fmla="*/ 6 w 13"/>
                  <a:gd name="T35" fmla="*/ 14 h 18"/>
                  <a:gd name="T36" fmla="*/ 6 w 13"/>
                  <a:gd name="T37" fmla="*/ 13 h 18"/>
                  <a:gd name="T38" fmla="*/ 6 w 13"/>
                  <a:gd name="T39" fmla="*/ 11 h 18"/>
                  <a:gd name="T40" fmla="*/ 7 w 13"/>
                  <a:gd name="T41" fmla="*/ 11 h 18"/>
                  <a:gd name="T42" fmla="*/ 8 w 13"/>
                  <a:gd name="T43" fmla="*/ 10 h 18"/>
                  <a:gd name="T44" fmla="*/ 9 w 13"/>
                  <a:gd name="T45" fmla="*/ 9 h 18"/>
                  <a:gd name="T46" fmla="*/ 7 w 13"/>
                  <a:gd name="T47" fmla="*/ 11 h 18"/>
                  <a:gd name="T48" fmla="*/ 9 w 13"/>
                  <a:gd name="T49" fmla="*/ 13 h 18"/>
                  <a:gd name="T50" fmla="*/ 7 w 13"/>
                  <a:gd name="T51" fmla="*/ 13 h 18"/>
                  <a:gd name="T52" fmla="*/ 8 w 13"/>
                  <a:gd name="T53" fmla="*/ 16 h 18"/>
                  <a:gd name="T54" fmla="*/ 7 w 13"/>
                  <a:gd name="T55" fmla="*/ 16 h 18"/>
                  <a:gd name="T56" fmla="*/ 9 w 13"/>
                  <a:gd name="T57" fmla="*/ 17 h 18"/>
                  <a:gd name="T58" fmla="*/ 7 w 13"/>
                  <a:gd name="T59" fmla="*/ 18 h 18"/>
                  <a:gd name="T60" fmla="*/ 10 w 13"/>
                  <a:gd name="T61" fmla="*/ 18 h 18"/>
                  <a:gd name="T62" fmla="*/ 11 w 13"/>
                  <a:gd name="T63" fmla="*/ 15 h 18"/>
                  <a:gd name="T64" fmla="*/ 12 w 13"/>
                  <a:gd name="T65" fmla="*/ 16 h 18"/>
                  <a:gd name="T66" fmla="*/ 11 w 13"/>
                  <a:gd name="T67" fmla="*/ 14 h 18"/>
                  <a:gd name="T68" fmla="*/ 11 w 13"/>
                  <a:gd name="T69" fmla="*/ 11 h 18"/>
                  <a:gd name="T70" fmla="*/ 12 w 13"/>
                  <a:gd name="T71" fmla="*/ 8 h 18"/>
                  <a:gd name="T72" fmla="*/ 11 w 13"/>
                  <a:gd name="T73" fmla="*/ 5 h 18"/>
                  <a:gd name="T74" fmla="*/ 11 w 13"/>
                  <a:gd name="T75" fmla="*/ 4 h 18"/>
                  <a:gd name="T76" fmla="*/ 11 w 13"/>
                  <a:gd name="T77" fmla="*/ 4 h 18"/>
                  <a:gd name="T78" fmla="*/ 11 w 13"/>
                  <a:gd name="T79" fmla="*/ 2 h 18"/>
                  <a:gd name="T80" fmla="*/ 11 w 13"/>
                  <a:gd name="T8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 h="18">
                    <a:moveTo>
                      <a:pt x="11" y="1"/>
                    </a:moveTo>
                    <a:cubicBezTo>
                      <a:pt x="10" y="0"/>
                      <a:pt x="10" y="1"/>
                      <a:pt x="10" y="1"/>
                    </a:cubicBezTo>
                    <a:cubicBezTo>
                      <a:pt x="9" y="0"/>
                      <a:pt x="9" y="0"/>
                      <a:pt x="7" y="1"/>
                    </a:cubicBezTo>
                    <a:cubicBezTo>
                      <a:pt x="6" y="1"/>
                      <a:pt x="4" y="3"/>
                      <a:pt x="7" y="2"/>
                    </a:cubicBezTo>
                    <a:cubicBezTo>
                      <a:pt x="7" y="2"/>
                      <a:pt x="6" y="3"/>
                      <a:pt x="6" y="3"/>
                    </a:cubicBezTo>
                    <a:cubicBezTo>
                      <a:pt x="6" y="3"/>
                      <a:pt x="7" y="4"/>
                      <a:pt x="7" y="3"/>
                    </a:cubicBezTo>
                    <a:cubicBezTo>
                      <a:pt x="7" y="4"/>
                      <a:pt x="7" y="4"/>
                      <a:pt x="6" y="4"/>
                    </a:cubicBezTo>
                    <a:cubicBezTo>
                      <a:pt x="7" y="5"/>
                      <a:pt x="8" y="5"/>
                      <a:pt x="8" y="6"/>
                    </a:cubicBezTo>
                    <a:cubicBezTo>
                      <a:pt x="8" y="7"/>
                      <a:pt x="7" y="8"/>
                      <a:pt x="7" y="9"/>
                    </a:cubicBezTo>
                    <a:cubicBezTo>
                      <a:pt x="7" y="8"/>
                      <a:pt x="6" y="8"/>
                      <a:pt x="5" y="7"/>
                    </a:cubicBezTo>
                    <a:cubicBezTo>
                      <a:pt x="5" y="7"/>
                      <a:pt x="5" y="8"/>
                      <a:pt x="5" y="8"/>
                    </a:cubicBezTo>
                    <a:cubicBezTo>
                      <a:pt x="4" y="8"/>
                      <a:pt x="4" y="8"/>
                      <a:pt x="4" y="9"/>
                    </a:cubicBezTo>
                    <a:cubicBezTo>
                      <a:pt x="3" y="8"/>
                      <a:pt x="2" y="7"/>
                      <a:pt x="2" y="9"/>
                    </a:cubicBezTo>
                    <a:cubicBezTo>
                      <a:pt x="2" y="8"/>
                      <a:pt x="2" y="8"/>
                      <a:pt x="2" y="8"/>
                    </a:cubicBezTo>
                    <a:cubicBezTo>
                      <a:pt x="0" y="8"/>
                      <a:pt x="2" y="10"/>
                      <a:pt x="2" y="10"/>
                    </a:cubicBezTo>
                    <a:cubicBezTo>
                      <a:pt x="2" y="12"/>
                      <a:pt x="3" y="14"/>
                      <a:pt x="4" y="15"/>
                    </a:cubicBezTo>
                    <a:cubicBezTo>
                      <a:pt x="5" y="15"/>
                      <a:pt x="4" y="16"/>
                      <a:pt x="6" y="15"/>
                    </a:cubicBezTo>
                    <a:cubicBezTo>
                      <a:pt x="7" y="15"/>
                      <a:pt x="6" y="15"/>
                      <a:pt x="6" y="14"/>
                    </a:cubicBezTo>
                    <a:cubicBezTo>
                      <a:pt x="6" y="14"/>
                      <a:pt x="6" y="13"/>
                      <a:pt x="6" y="13"/>
                    </a:cubicBezTo>
                    <a:cubicBezTo>
                      <a:pt x="6" y="12"/>
                      <a:pt x="5" y="11"/>
                      <a:pt x="6" y="11"/>
                    </a:cubicBezTo>
                    <a:cubicBezTo>
                      <a:pt x="6" y="11"/>
                      <a:pt x="7" y="11"/>
                      <a:pt x="7" y="11"/>
                    </a:cubicBezTo>
                    <a:cubicBezTo>
                      <a:pt x="7" y="11"/>
                      <a:pt x="9" y="11"/>
                      <a:pt x="8" y="10"/>
                    </a:cubicBezTo>
                    <a:cubicBezTo>
                      <a:pt x="9" y="9"/>
                      <a:pt x="9" y="9"/>
                      <a:pt x="9" y="9"/>
                    </a:cubicBezTo>
                    <a:cubicBezTo>
                      <a:pt x="9" y="10"/>
                      <a:pt x="8" y="11"/>
                      <a:pt x="7" y="11"/>
                    </a:cubicBezTo>
                    <a:cubicBezTo>
                      <a:pt x="8" y="12"/>
                      <a:pt x="8" y="12"/>
                      <a:pt x="9" y="13"/>
                    </a:cubicBezTo>
                    <a:cubicBezTo>
                      <a:pt x="8" y="13"/>
                      <a:pt x="7" y="12"/>
                      <a:pt x="7" y="13"/>
                    </a:cubicBezTo>
                    <a:cubicBezTo>
                      <a:pt x="6" y="14"/>
                      <a:pt x="9" y="14"/>
                      <a:pt x="8" y="16"/>
                    </a:cubicBezTo>
                    <a:cubicBezTo>
                      <a:pt x="8" y="16"/>
                      <a:pt x="6" y="17"/>
                      <a:pt x="7" y="16"/>
                    </a:cubicBezTo>
                    <a:cubicBezTo>
                      <a:pt x="8" y="16"/>
                      <a:pt x="9" y="16"/>
                      <a:pt x="9" y="17"/>
                    </a:cubicBezTo>
                    <a:cubicBezTo>
                      <a:pt x="9" y="17"/>
                      <a:pt x="6" y="17"/>
                      <a:pt x="7" y="18"/>
                    </a:cubicBezTo>
                    <a:cubicBezTo>
                      <a:pt x="8" y="18"/>
                      <a:pt x="9" y="18"/>
                      <a:pt x="10" y="18"/>
                    </a:cubicBezTo>
                    <a:cubicBezTo>
                      <a:pt x="11" y="17"/>
                      <a:pt x="11" y="17"/>
                      <a:pt x="11" y="15"/>
                    </a:cubicBezTo>
                    <a:cubicBezTo>
                      <a:pt x="11" y="16"/>
                      <a:pt x="11" y="16"/>
                      <a:pt x="12" y="16"/>
                    </a:cubicBezTo>
                    <a:cubicBezTo>
                      <a:pt x="12" y="15"/>
                      <a:pt x="12" y="14"/>
                      <a:pt x="11" y="14"/>
                    </a:cubicBezTo>
                    <a:cubicBezTo>
                      <a:pt x="13" y="15"/>
                      <a:pt x="11" y="11"/>
                      <a:pt x="11" y="11"/>
                    </a:cubicBezTo>
                    <a:cubicBezTo>
                      <a:pt x="11" y="11"/>
                      <a:pt x="11" y="9"/>
                      <a:pt x="12" y="8"/>
                    </a:cubicBezTo>
                    <a:cubicBezTo>
                      <a:pt x="12" y="7"/>
                      <a:pt x="11" y="6"/>
                      <a:pt x="11" y="5"/>
                    </a:cubicBezTo>
                    <a:cubicBezTo>
                      <a:pt x="11" y="5"/>
                      <a:pt x="11" y="4"/>
                      <a:pt x="11" y="4"/>
                    </a:cubicBezTo>
                    <a:cubicBezTo>
                      <a:pt x="11" y="4"/>
                      <a:pt x="11" y="4"/>
                      <a:pt x="11" y="4"/>
                    </a:cubicBezTo>
                    <a:cubicBezTo>
                      <a:pt x="11" y="3"/>
                      <a:pt x="11" y="3"/>
                      <a:pt x="11" y="2"/>
                    </a:cubicBezTo>
                    <a:cubicBezTo>
                      <a:pt x="11" y="2"/>
                      <a:pt x="11" y="1"/>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1" name="Freeform 1867">
                <a:extLst>
                  <a:ext uri="{FF2B5EF4-FFF2-40B4-BE49-F238E27FC236}">
                    <a16:creationId xmlns:a16="http://schemas.microsoft.com/office/drawing/2014/main" id="{0C18FB31-5D08-4565-86EE-5300426F7456}"/>
                  </a:ext>
                </a:extLst>
              </p:cNvPr>
              <p:cNvSpPr>
                <a:spLocks/>
              </p:cNvSpPr>
              <p:nvPr/>
            </p:nvSpPr>
            <p:spPr bwMode="auto">
              <a:xfrm>
                <a:off x="1757" y="3943"/>
                <a:ext cx="12" cy="9"/>
              </a:xfrm>
              <a:custGeom>
                <a:avLst/>
                <a:gdLst>
                  <a:gd name="T0" fmla="*/ 3 w 5"/>
                  <a:gd name="T1" fmla="*/ 1 h 4"/>
                  <a:gd name="T2" fmla="*/ 0 w 5"/>
                  <a:gd name="T3" fmla="*/ 2 h 4"/>
                  <a:gd name="T4" fmla="*/ 5 w 5"/>
                  <a:gd name="T5" fmla="*/ 4 h 4"/>
                  <a:gd name="T6" fmla="*/ 3 w 5"/>
                  <a:gd name="T7" fmla="*/ 1 h 4"/>
                </a:gdLst>
                <a:ahLst/>
                <a:cxnLst>
                  <a:cxn ang="0">
                    <a:pos x="T0" y="T1"/>
                  </a:cxn>
                  <a:cxn ang="0">
                    <a:pos x="T2" y="T3"/>
                  </a:cxn>
                  <a:cxn ang="0">
                    <a:pos x="T4" y="T5"/>
                  </a:cxn>
                  <a:cxn ang="0">
                    <a:pos x="T6" y="T7"/>
                  </a:cxn>
                </a:cxnLst>
                <a:rect l="0" t="0" r="r" b="b"/>
                <a:pathLst>
                  <a:path w="5" h="4">
                    <a:moveTo>
                      <a:pt x="3" y="1"/>
                    </a:moveTo>
                    <a:cubicBezTo>
                      <a:pt x="3" y="0"/>
                      <a:pt x="0" y="1"/>
                      <a:pt x="0" y="2"/>
                    </a:cubicBezTo>
                    <a:cubicBezTo>
                      <a:pt x="1" y="3"/>
                      <a:pt x="3" y="3"/>
                      <a:pt x="5" y="4"/>
                    </a:cubicBezTo>
                    <a:cubicBezTo>
                      <a:pt x="5" y="3"/>
                      <a:pt x="5"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2" name="Freeform 1868">
                <a:extLst>
                  <a:ext uri="{FF2B5EF4-FFF2-40B4-BE49-F238E27FC236}">
                    <a16:creationId xmlns:a16="http://schemas.microsoft.com/office/drawing/2014/main" id="{C13B2DCB-091B-45DB-8CC2-CB17D2243293}"/>
                  </a:ext>
                </a:extLst>
              </p:cNvPr>
              <p:cNvSpPr>
                <a:spLocks/>
              </p:cNvSpPr>
              <p:nvPr/>
            </p:nvSpPr>
            <p:spPr bwMode="auto">
              <a:xfrm>
                <a:off x="1752" y="3950"/>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0" y="0"/>
                    </a:cubicBezTo>
                    <a:cubicBezTo>
                      <a:pt x="0"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3" name="Freeform 1869">
                <a:extLst>
                  <a:ext uri="{FF2B5EF4-FFF2-40B4-BE49-F238E27FC236}">
                    <a16:creationId xmlns:a16="http://schemas.microsoft.com/office/drawing/2014/main" id="{686D3C39-78CE-4376-B5F3-6FB7B1738B54}"/>
                  </a:ext>
                </a:extLst>
              </p:cNvPr>
              <p:cNvSpPr>
                <a:spLocks/>
              </p:cNvSpPr>
              <p:nvPr/>
            </p:nvSpPr>
            <p:spPr bwMode="auto">
              <a:xfrm>
                <a:off x="1930" y="4267"/>
                <a:ext cx="4" cy="5"/>
              </a:xfrm>
              <a:custGeom>
                <a:avLst/>
                <a:gdLst>
                  <a:gd name="T0" fmla="*/ 0 w 2"/>
                  <a:gd name="T1" fmla="*/ 1 h 2"/>
                  <a:gd name="T2" fmla="*/ 2 w 2"/>
                  <a:gd name="T3" fmla="*/ 1 h 2"/>
                  <a:gd name="T4" fmla="*/ 0 w 2"/>
                  <a:gd name="T5" fmla="*/ 1 h 2"/>
                </a:gdLst>
                <a:ahLst/>
                <a:cxnLst>
                  <a:cxn ang="0">
                    <a:pos x="T0" y="T1"/>
                  </a:cxn>
                  <a:cxn ang="0">
                    <a:pos x="T2" y="T3"/>
                  </a:cxn>
                  <a:cxn ang="0">
                    <a:pos x="T4" y="T5"/>
                  </a:cxn>
                </a:cxnLst>
                <a:rect l="0" t="0" r="r" b="b"/>
                <a:pathLst>
                  <a:path w="2" h="2">
                    <a:moveTo>
                      <a:pt x="0" y="1"/>
                    </a:moveTo>
                    <a:cubicBezTo>
                      <a:pt x="0" y="2"/>
                      <a:pt x="1" y="1"/>
                      <a:pt x="2"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4" name="Freeform 1870">
                <a:extLst>
                  <a:ext uri="{FF2B5EF4-FFF2-40B4-BE49-F238E27FC236}">
                    <a16:creationId xmlns:a16="http://schemas.microsoft.com/office/drawing/2014/main" id="{7749DB82-0C2F-4231-BF90-78F5A37D5779}"/>
                  </a:ext>
                </a:extLst>
              </p:cNvPr>
              <p:cNvSpPr>
                <a:spLocks/>
              </p:cNvSpPr>
              <p:nvPr/>
            </p:nvSpPr>
            <p:spPr bwMode="auto">
              <a:xfrm>
                <a:off x="1859" y="4257"/>
                <a:ext cx="49" cy="29"/>
              </a:xfrm>
              <a:custGeom>
                <a:avLst/>
                <a:gdLst>
                  <a:gd name="T0" fmla="*/ 20 w 21"/>
                  <a:gd name="T1" fmla="*/ 9 h 12"/>
                  <a:gd name="T2" fmla="*/ 19 w 21"/>
                  <a:gd name="T3" fmla="*/ 8 h 12"/>
                  <a:gd name="T4" fmla="*/ 17 w 21"/>
                  <a:gd name="T5" fmla="*/ 7 h 12"/>
                  <a:gd name="T6" fmla="*/ 16 w 21"/>
                  <a:gd name="T7" fmla="*/ 6 h 12"/>
                  <a:gd name="T8" fmla="*/ 14 w 21"/>
                  <a:gd name="T9" fmla="*/ 6 h 12"/>
                  <a:gd name="T10" fmla="*/ 13 w 21"/>
                  <a:gd name="T11" fmla="*/ 5 h 12"/>
                  <a:gd name="T12" fmla="*/ 18 w 21"/>
                  <a:gd name="T13" fmla="*/ 5 h 12"/>
                  <a:gd name="T14" fmla="*/ 15 w 21"/>
                  <a:gd name="T15" fmla="*/ 4 h 12"/>
                  <a:gd name="T16" fmla="*/ 12 w 21"/>
                  <a:gd name="T17" fmla="*/ 3 h 12"/>
                  <a:gd name="T18" fmla="*/ 9 w 21"/>
                  <a:gd name="T19" fmla="*/ 2 h 12"/>
                  <a:gd name="T20" fmla="*/ 14 w 21"/>
                  <a:gd name="T21" fmla="*/ 2 h 12"/>
                  <a:gd name="T22" fmla="*/ 16 w 21"/>
                  <a:gd name="T23" fmla="*/ 2 h 12"/>
                  <a:gd name="T24" fmla="*/ 17 w 21"/>
                  <a:gd name="T25" fmla="*/ 1 h 12"/>
                  <a:gd name="T26" fmla="*/ 14 w 21"/>
                  <a:gd name="T27" fmla="*/ 0 h 12"/>
                  <a:gd name="T28" fmla="*/ 10 w 21"/>
                  <a:gd name="T29" fmla="*/ 1 h 12"/>
                  <a:gd name="T30" fmla="*/ 7 w 21"/>
                  <a:gd name="T31" fmla="*/ 1 h 12"/>
                  <a:gd name="T32" fmla="*/ 6 w 21"/>
                  <a:gd name="T33" fmla="*/ 2 h 12"/>
                  <a:gd name="T34" fmla="*/ 6 w 21"/>
                  <a:gd name="T35" fmla="*/ 2 h 12"/>
                  <a:gd name="T36" fmla="*/ 5 w 21"/>
                  <a:gd name="T37" fmla="*/ 2 h 12"/>
                  <a:gd name="T38" fmla="*/ 4 w 21"/>
                  <a:gd name="T39" fmla="*/ 3 h 12"/>
                  <a:gd name="T40" fmla="*/ 4 w 21"/>
                  <a:gd name="T41" fmla="*/ 2 h 12"/>
                  <a:gd name="T42" fmla="*/ 2 w 21"/>
                  <a:gd name="T43" fmla="*/ 2 h 12"/>
                  <a:gd name="T44" fmla="*/ 0 w 21"/>
                  <a:gd name="T45" fmla="*/ 3 h 12"/>
                  <a:gd name="T46" fmla="*/ 5 w 21"/>
                  <a:gd name="T47" fmla="*/ 4 h 12"/>
                  <a:gd name="T48" fmla="*/ 3 w 21"/>
                  <a:gd name="T49" fmla="*/ 5 h 12"/>
                  <a:gd name="T50" fmla="*/ 2 w 21"/>
                  <a:gd name="T51" fmla="*/ 5 h 12"/>
                  <a:gd name="T52" fmla="*/ 6 w 21"/>
                  <a:gd name="T53" fmla="*/ 8 h 12"/>
                  <a:gd name="T54" fmla="*/ 6 w 21"/>
                  <a:gd name="T55" fmla="*/ 7 h 12"/>
                  <a:gd name="T56" fmla="*/ 7 w 21"/>
                  <a:gd name="T57" fmla="*/ 7 h 12"/>
                  <a:gd name="T58" fmla="*/ 7 w 21"/>
                  <a:gd name="T59" fmla="*/ 6 h 12"/>
                  <a:gd name="T60" fmla="*/ 5 w 21"/>
                  <a:gd name="T61" fmla="*/ 5 h 12"/>
                  <a:gd name="T62" fmla="*/ 7 w 21"/>
                  <a:gd name="T63" fmla="*/ 4 h 12"/>
                  <a:gd name="T64" fmla="*/ 7 w 21"/>
                  <a:gd name="T65" fmla="*/ 3 h 12"/>
                  <a:gd name="T66" fmla="*/ 12 w 21"/>
                  <a:gd name="T67" fmla="*/ 4 h 12"/>
                  <a:gd name="T68" fmla="*/ 10 w 21"/>
                  <a:gd name="T69" fmla="*/ 7 h 12"/>
                  <a:gd name="T70" fmla="*/ 12 w 21"/>
                  <a:gd name="T71" fmla="*/ 6 h 12"/>
                  <a:gd name="T72" fmla="*/ 11 w 21"/>
                  <a:gd name="T73" fmla="*/ 7 h 12"/>
                  <a:gd name="T74" fmla="*/ 13 w 21"/>
                  <a:gd name="T75" fmla="*/ 8 h 12"/>
                  <a:gd name="T76" fmla="*/ 15 w 21"/>
                  <a:gd name="T77" fmla="*/ 8 h 12"/>
                  <a:gd name="T78" fmla="*/ 19 w 21"/>
                  <a:gd name="T79" fmla="*/ 12 h 12"/>
                  <a:gd name="T80" fmla="*/ 20 w 21"/>
                  <a:gd name="T81" fmla="*/ 10 h 12"/>
                  <a:gd name="T82" fmla="*/ 20 w 21"/>
                  <a:gd name="T83"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12">
                    <a:moveTo>
                      <a:pt x="20" y="9"/>
                    </a:moveTo>
                    <a:cubicBezTo>
                      <a:pt x="19" y="8"/>
                      <a:pt x="20" y="8"/>
                      <a:pt x="19" y="8"/>
                    </a:cubicBezTo>
                    <a:cubicBezTo>
                      <a:pt x="20" y="7"/>
                      <a:pt x="17" y="7"/>
                      <a:pt x="17" y="7"/>
                    </a:cubicBezTo>
                    <a:cubicBezTo>
                      <a:pt x="17" y="7"/>
                      <a:pt x="16" y="6"/>
                      <a:pt x="16" y="6"/>
                    </a:cubicBezTo>
                    <a:cubicBezTo>
                      <a:pt x="15" y="6"/>
                      <a:pt x="15" y="6"/>
                      <a:pt x="14" y="6"/>
                    </a:cubicBezTo>
                    <a:cubicBezTo>
                      <a:pt x="14" y="6"/>
                      <a:pt x="14" y="6"/>
                      <a:pt x="13" y="5"/>
                    </a:cubicBezTo>
                    <a:cubicBezTo>
                      <a:pt x="14" y="5"/>
                      <a:pt x="17" y="6"/>
                      <a:pt x="18" y="5"/>
                    </a:cubicBezTo>
                    <a:cubicBezTo>
                      <a:pt x="19" y="5"/>
                      <a:pt x="16" y="4"/>
                      <a:pt x="15" y="4"/>
                    </a:cubicBezTo>
                    <a:cubicBezTo>
                      <a:pt x="14" y="4"/>
                      <a:pt x="13" y="4"/>
                      <a:pt x="12" y="3"/>
                    </a:cubicBezTo>
                    <a:cubicBezTo>
                      <a:pt x="11" y="3"/>
                      <a:pt x="10" y="2"/>
                      <a:pt x="9" y="2"/>
                    </a:cubicBezTo>
                    <a:cubicBezTo>
                      <a:pt x="10" y="2"/>
                      <a:pt x="16" y="5"/>
                      <a:pt x="14" y="2"/>
                    </a:cubicBezTo>
                    <a:cubicBezTo>
                      <a:pt x="15" y="3"/>
                      <a:pt x="16" y="3"/>
                      <a:pt x="16" y="2"/>
                    </a:cubicBezTo>
                    <a:cubicBezTo>
                      <a:pt x="16" y="2"/>
                      <a:pt x="17" y="2"/>
                      <a:pt x="17" y="1"/>
                    </a:cubicBezTo>
                    <a:cubicBezTo>
                      <a:pt x="16" y="0"/>
                      <a:pt x="15" y="0"/>
                      <a:pt x="14" y="0"/>
                    </a:cubicBezTo>
                    <a:cubicBezTo>
                      <a:pt x="13" y="0"/>
                      <a:pt x="12" y="1"/>
                      <a:pt x="10" y="1"/>
                    </a:cubicBezTo>
                    <a:cubicBezTo>
                      <a:pt x="9" y="1"/>
                      <a:pt x="8" y="1"/>
                      <a:pt x="7" y="1"/>
                    </a:cubicBezTo>
                    <a:cubicBezTo>
                      <a:pt x="7" y="1"/>
                      <a:pt x="6" y="1"/>
                      <a:pt x="6" y="2"/>
                    </a:cubicBezTo>
                    <a:cubicBezTo>
                      <a:pt x="6" y="2"/>
                      <a:pt x="5" y="2"/>
                      <a:pt x="6" y="2"/>
                    </a:cubicBezTo>
                    <a:cubicBezTo>
                      <a:pt x="5" y="2"/>
                      <a:pt x="5" y="2"/>
                      <a:pt x="5" y="2"/>
                    </a:cubicBezTo>
                    <a:cubicBezTo>
                      <a:pt x="4" y="2"/>
                      <a:pt x="5" y="3"/>
                      <a:pt x="4" y="3"/>
                    </a:cubicBezTo>
                    <a:cubicBezTo>
                      <a:pt x="4" y="3"/>
                      <a:pt x="4" y="2"/>
                      <a:pt x="4" y="2"/>
                    </a:cubicBezTo>
                    <a:cubicBezTo>
                      <a:pt x="4" y="2"/>
                      <a:pt x="2" y="2"/>
                      <a:pt x="2" y="2"/>
                    </a:cubicBezTo>
                    <a:cubicBezTo>
                      <a:pt x="1" y="2"/>
                      <a:pt x="1" y="3"/>
                      <a:pt x="0" y="3"/>
                    </a:cubicBezTo>
                    <a:cubicBezTo>
                      <a:pt x="1" y="4"/>
                      <a:pt x="3" y="4"/>
                      <a:pt x="5" y="4"/>
                    </a:cubicBezTo>
                    <a:cubicBezTo>
                      <a:pt x="4" y="4"/>
                      <a:pt x="3" y="4"/>
                      <a:pt x="3" y="5"/>
                    </a:cubicBezTo>
                    <a:cubicBezTo>
                      <a:pt x="3" y="5"/>
                      <a:pt x="3" y="5"/>
                      <a:pt x="2" y="5"/>
                    </a:cubicBezTo>
                    <a:cubicBezTo>
                      <a:pt x="3" y="6"/>
                      <a:pt x="6" y="7"/>
                      <a:pt x="6" y="8"/>
                    </a:cubicBezTo>
                    <a:cubicBezTo>
                      <a:pt x="6" y="8"/>
                      <a:pt x="6" y="7"/>
                      <a:pt x="6" y="7"/>
                    </a:cubicBezTo>
                    <a:cubicBezTo>
                      <a:pt x="6" y="7"/>
                      <a:pt x="7" y="7"/>
                      <a:pt x="7" y="7"/>
                    </a:cubicBezTo>
                    <a:cubicBezTo>
                      <a:pt x="8" y="6"/>
                      <a:pt x="7" y="6"/>
                      <a:pt x="7" y="6"/>
                    </a:cubicBezTo>
                    <a:cubicBezTo>
                      <a:pt x="7" y="5"/>
                      <a:pt x="5" y="5"/>
                      <a:pt x="5" y="5"/>
                    </a:cubicBezTo>
                    <a:cubicBezTo>
                      <a:pt x="6" y="5"/>
                      <a:pt x="7" y="5"/>
                      <a:pt x="7" y="4"/>
                    </a:cubicBezTo>
                    <a:cubicBezTo>
                      <a:pt x="7" y="4"/>
                      <a:pt x="7" y="4"/>
                      <a:pt x="7" y="3"/>
                    </a:cubicBezTo>
                    <a:cubicBezTo>
                      <a:pt x="8" y="3"/>
                      <a:pt x="11" y="5"/>
                      <a:pt x="12" y="4"/>
                    </a:cubicBezTo>
                    <a:cubicBezTo>
                      <a:pt x="12" y="5"/>
                      <a:pt x="11" y="6"/>
                      <a:pt x="10" y="7"/>
                    </a:cubicBezTo>
                    <a:cubicBezTo>
                      <a:pt x="11" y="7"/>
                      <a:pt x="12" y="6"/>
                      <a:pt x="12" y="6"/>
                    </a:cubicBezTo>
                    <a:cubicBezTo>
                      <a:pt x="12" y="6"/>
                      <a:pt x="11" y="7"/>
                      <a:pt x="11" y="7"/>
                    </a:cubicBezTo>
                    <a:cubicBezTo>
                      <a:pt x="10" y="8"/>
                      <a:pt x="12" y="8"/>
                      <a:pt x="13" y="8"/>
                    </a:cubicBezTo>
                    <a:cubicBezTo>
                      <a:pt x="14" y="8"/>
                      <a:pt x="14" y="7"/>
                      <a:pt x="15" y="8"/>
                    </a:cubicBezTo>
                    <a:cubicBezTo>
                      <a:pt x="17" y="9"/>
                      <a:pt x="18" y="10"/>
                      <a:pt x="19" y="12"/>
                    </a:cubicBezTo>
                    <a:cubicBezTo>
                      <a:pt x="20" y="11"/>
                      <a:pt x="21" y="11"/>
                      <a:pt x="20" y="10"/>
                    </a:cubicBezTo>
                    <a:cubicBezTo>
                      <a:pt x="20" y="9"/>
                      <a:pt x="20" y="9"/>
                      <a:pt x="2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5" name="Freeform 1871">
                <a:extLst>
                  <a:ext uri="{FF2B5EF4-FFF2-40B4-BE49-F238E27FC236}">
                    <a16:creationId xmlns:a16="http://schemas.microsoft.com/office/drawing/2014/main" id="{3166B851-CE0D-49BD-B60C-AF0321512C3F}"/>
                  </a:ext>
                </a:extLst>
              </p:cNvPr>
              <p:cNvSpPr>
                <a:spLocks/>
              </p:cNvSpPr>
              <p:nvPr/>
            </p:nvSpPr>
            <p:spPr bwMode="auto">
              <a:xfrm>
                <a:off x="1726" y="4113"/>
                <a:ext cx="10" cy="10"/>
              </a:xfrm>
              <a:custGeom>
                <a:avLst/>
                <a:gdLst>
                  <a:gd name="T0" fmla="*/ 2 w 4"/>
                  <a:gd name="T1" fmla="*/ 2 h 4"/>
                  <a:gd name="T2" fmla="*/ 3 w 4"/>
                  <a:gd name="T3" fmla="*/ 1 h 4"/>
                  <a:gd name="T4" fmla="*/ 3 w 4"/>
                  <a:gd name="T5" fmla="*/ 1 h 4"/>
                  <a:gd name="T6" fmla="*/ 4 w 4"/>
                  <a:gd name="T7" fmla="*/ 0 h 4"/>
                  <a:gd name="T8" fmla="*/ 1 w 4"/>
                  <a:gd name="T9" fmla="*/ 0 h 4"/>
                  <a:gd name="T10" fmla="*/ 0 w 4"/>
                  <a:gd name="T11" fmla="*/ 1 h 4"/>
                  <a:gd name="T12" fmla="*/ 2 w 4"/>
                  <a:gd name="T13" fmla="*/ 4 h 4"/>
                  <a:gd name="T14" fmla="*/ 2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2"/>
                    </a:moveTo>
                    <a:cubicBezTo>
                      <a:pt x="3" y="2"/>
                      <a:pt x="0" y="0"/>
                      <a:pt x="3" y="1"/>
                    </a:cubicBezTo>
                    <a:cubicBezTo>
                      <a:pt x="3" y="1"/>
                      <a:pt x="3" y="1"/>
                      <a:pt x="3" y="1"/>
                    </a:cubicBezTo>
                    <a:cubicBezTo>
                      <a:pt x="3" y="1"/>
                      <a:pt x="3" y="1"/>
                      <a:pt x="4" y="0"/>
                    </a:cubicBezTo>
                    <a:cubicBezTo>
                      <a:pt x="3" y="0"/>
                      <a:pt x="2" y="0"/>
                      <a:pt x="1" y="0"/>
                    </a:cubicBezTo>
                    <a:cubicBezTo>
                      <a:pt x="0" y="0"/>
                      <a:pt x="0" y="0"/>
                      <a:pt x="0" y="1"/>
                    </a:cubicBezTo>
                    <a:cubicBezTo>
                      <a:pt x="0" y="3"/>
                      <a:pt x="0" y="3"/>
                      <a:pt x="2" y="4"/>
                    </a:cubicBezTo>
                    <a:cubicBezTo>
                      <a:pt x="2" y="3"/>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6" name="Freeform 1872">
                <a:extLst>
                  <a:ext uri="{FF2B5EF4-FFF2-40B4-BE49-F238E27FC236}">
                    <a16:creationId xmlns:a16="http://schemas.microsoft.com/office/drawing/2014/main" id="{DCBD38C7-4E60-4D5C-8DAE-DF8F28642579}"/>
                  </a:ext>
                </a:extLst>
              </p:cNvPr>
              <p:cNvSpPr>
                <a:spLocks/>
              </p:cNvSpPr>
              <p:nvPr/>
            </p:nvSpPr>
            <p:spPr bwMode="auto">
              <a:xfrm>
                <a:off x="1736" y="3938"/>
                <a:ext cx="2"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0"/>
                      <a:pt x="0" y="1"/>
                      <a:pt x="0"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7" name="Freeform 1873">
                <a:extLst>
                  <a:ext uri="{FF2B5EF4-FFF2-40B4-BE49-F238E27FC236}">
                    <a16:creationId xmlns:a16="http://schemas.microsoft.com/office/drawing/2014/main" id="{9FB9B7EA-2CCD-4D19-802B-6DFA9B31F333}"/>
                  </a:ext>
                </a:extLst>
              </p:cNvPr>
              <p:cNvSpPr>
                <a:spLocks/>
              </p:cNvSpPr>
              <p:nvPr/>
            </p:nvSpPr>
            <p:spPr bwMode="auto">
              <a:xfrm>
                <a:off x="1774" y="3926"/>
                <a:ext cx="18" cy="17"/>
              </a:xfrm>
              <a:custGeom>
                <a:avLst/>
                <a:gdLst>
                  <a:gd name="T0" fmla="*/ 2 w 8"/>
                  <a:gd name="T1" fmla="*/ 2 h 7"/>
                  <a:gd name="T2" fmla="*/ 1 w 8"/>
                  <a:gd name="T3" fmla="*/ 2 h 7"/>
                  <a:gd name="T4" fmla="*/ 3 w 8"/>
                  <a:gd name="T5" fmla="*/ 5 h 7"/>
                  <a:gd name="T6" fmla="*/ 1 w 8"/>
                  <a:gd name="T7" fmla="*/ 5 h 7"/>
                  <a:gd name="T8" fmla="*/ 3 w 8"/>
                  <a:gd name="T9" fmla="*/ 7 h 7"/>
                  <a:gd name="T10" fmla="*/ 5 w 8"/>
                  <a:gd name="T11" fmla="*/ 5 h 7"/>
                  <a:gd name="T12" fmla="*/ 7 w 8"/>
                  <a:gd name="T13" fmla="*/ 4 h 7"/>
                  <a:gd name="T14" fmla="*/ 5 w 8"/>
                  <a:gd name="T15" fmla="*/ 3 h 7"/>
                  <a:gd name="T16" fmla="*/ 8 w 8"/>
                  <a:gd name="T17" fmla="*/ 2 h 7"/>
                  <a:gd name="T18" fmla="*/ 6 w 8"/>
                  <a:gd name="T19" fmla="*/ 1 h 7"/>
                  <a:gd name="T20" fmla="*/ 5 w 8"/>
                  <a:gd name="T21" fmla="*/ 0 h 7"/>
                  <a:gd name="T22" fmla="*/ 4 w 8"/>
                  <a:gd name="T23" fmla="*/ 0 h 7"/>
                  <a:gd name="T24" fmla="*/ 3 w 8"/>
                  <a:gd name="T25" fmla="*/ 0 h 7"/>
                  <a:gd name="T26" fmla="*/ 4 w 8"/>
                  <a:gd name="T27" fmla="*/ 2 h 7"/>
                  <a:gd name="T28" fmla="*/ 2 w 8"/>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2" y="2"/>
                    </a:moveTo>
                    <a:cubicBezTo>
                      <a:pt x="2" y="2"/>
                      <a:pt x="1" y="3"/>
                      <a:pt x="1" y="2"/>
                    </a:cubicBezTo>
                    <a:cubicBezTo>
                      <a:pt x="0" y="4"/>
                      <a:pt x="2" y="4"/>
                      <a:pt x="3" y="5"/>
                    </a:cubicBezTo>
                    <a:cubicBezTo>
                      <a:pt x="2" y="5"/>
                      <a:pt x="2" y="5"/>
                      <a:pt x="1" y="5"/>
                    </a:cubicBezTo>
                    <a:cubicBezTo>
                      <a:pt x="2" y="6"/>
                      <a:pt x="2" y="6"/>
                      <a:pt x="3" y="7"/>
                    </a:cubicBezTo>
                    <a:cubicBezTo>
                      <a:pt x="4" y="7"/>
                      <a:pt x="4" y="6"/>
                      <a:pt x="5" y="5"/>
                    </a:cubicBezTo>
                    <a:cubicBezTo>
                      <a:pt x="6" y="5"/>
                      <a:pt x="6" y="5"/>
                      <a:pt x="7" y="4"/>
                    </a:cubicBezTo>
                    <a:cubicBezTo>
                      <a:pt x="7" y="3"/>
                      <a:pt x="6" y="3"/>
                      <a:pt x="5" y="3"/>
                    </a:cubicBezTo>
                    <a:cubicBezTo>
                      <a:pt x="7" y="3"/>
                      <a:pt x="7" y="3"/>
                      <a:pt x="8" y="2"/>
                    </a:cubicBezTo>
                    <a:cubicBezTo>
                      <a:pt x="8" y="1"/>
                      <a:pt x="6" y="0"/>
                      <a:pt x="6" y="1"/>
                    </a:cubicBezTo>
                    <a:cubicBezTo>
                      <a:pt x="6" y="1"/>
                      <a:pt x="6" y="0"/>
                      <a:pt x="5" y="0"/>
                    </a:cubicBezTo>
                    <a:cubicBezTo>
                      <a:pt x="5" y="0"/>
                      <a:pt x="4" y="0"/>
                      <a:pt x="4" y="0"/>
                    </a:cubicBezTo>
                    <a:cubicBezTo>
                      <a:pt x="4" y="0"/>
                      <a:pt x="3" y="0"/>
                      <a:pt x="3" y="0"/>
                    </a:cubicBezTo>
                    <a:cubicBezTo>
                      <a:pt x="3" y="1"/>
                      <a:pt x="4" y="2"/>
                      <a:pt x="4" y="2"/>
                    </a:cubicBezTo>
                    <a:cubicBezTo>
                      <a:pt x="2"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8" name="Freeform 1874">
                <a:extLst>
                  <a:ext uri="{FF2B5EF4-FFF2-40B4-BE49-F238E27FC236}">
                    <a16:creationId xmlns:a16="http://schemas.microsoft.com/office/drawing/2014/main" id="{43F44965-7914-4745-A13D-EEBAEAB93C20}"/>
                  </a:ext>
                </a:extLst>
              </p:cNvPr>
              <p:cNvSpPr>
                <a:spLocks/>
              </p:cNvSpPr>
              <p:nvPr/>
            </p:nvSpPr>
            <p:spPr bwMode="auto">
              <a:xfrm>
                <a:off x="1736" y="4149"/>
                <a:ext cx="7" cy="16"/>
              </a:xfrm>
              <a:custGeom>
                <a:avLst/>
                <a:gdLst>
                  <a:gd name="T0" fmla="*/ 3 w 3"/>
                  <a:gd name="T1" fmla="*/ 1 h 7"/>
                  <a:gd name="T2" fmla="*/ 2 w 3"/>
                  <a:gd name="T3" fmla="*/ 0 h 7"/>
                  <a:gd name="T4" fmla="*/ 2 w 3"/>
                  <a:gd name="T5" fmla="*/ 3 h 7"/>
                  <a:gd name="T6" fmla="*/ 1 w 3"/>
                  <a:gd name="T7" fmla="*/ 4 h 7"/>
                  <a:gd name="T8" fmla="*/ 1 w 3"/>
                  <a:gd name="T9" fmla="*/ 7 h 7"/>
                  <a:gd name="T10" fmla="*/ 3 w 3"/>
                  <a:gd name="T11" fmla="*/ 3 h 7"/>
                  <a:gd name="T12" fmla="*/ 3 w 3"/>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3" y="1"/>
                    </a:moveTo>
                    <a:cubicBezTo>
                      <a:pt x="3" y="1"/>
                      <a:pt x="3" y="0"/>
                      <a:pt x="2" y="0"/>
                    </a:cubicBezTo>
                    <a:cubicBezTo>
                      <a:pt x="1" y="1"/>
                      <a:pt x="2" y="3"/>
                      <a:pt x="2" y="3"/>
                    </a:cubicBezTo>
                    <a:cubicBezTo>
                      <a:pt x="1" y="3"/>
                      <a:pt x="1" y="3"/>
                      <a:pt x="1" y="4"/>
                    </a:cubicBezTo>
                    <a:cubicBezTo>
                      <a:pt x="0" y="5"/>
                      <a:pt x="0" y="6"/>
                      <a:pt x="1" y="7"/>
                    </a:cubicBezTo>
                    <a:cubicBezTo>
                      <a:pt x="2" y="6"/>
                      <a:pt x="3" y="4"/>
                      <a:pt x="3" y="3"/>
                    </a:cubicBezTo>
                    <a:cubicBezTo>
                      <a:pt x="3"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9" name="Freeform 1875">
                <a:extLst>
                  <a:ext uri="{FF2B5EF4-FFF2-40B4-BE49-F238E27FC236}">
                    <a16:creationId xmlns:a16="http://schemas.microsoft.com/office/drawing/2014/main" id="{3CF2E174-50FA-4BC0-89C0-6C64E27EF395}"/>
                  </a:ext>
                </a:extLst>
              </p:cNvPr>
              <p:cNvSpPr>
                <a:spLocks/>
              </p:cNvSpPr>
              <p:nvPr/>
            </p:nvSpPr>
            <p:spPr bwMode="auto">
              <a:xfrm>
                <a:off x="1804" y="4222"/>
                <a:ext cx="31" cy="19"/>
              </a:xfrm>
              <a:custGeom>
                <a:avLst/>
                <a:gdLst>
                  <a:gd name="T0" fmla="*/ 3 w 13"/>
                  <a:gd name="T1" fmla="*/ 0 h 8"/>
                  <a:gd name="T2" fmla="*/ 2 w 13"/>
                  <a:gd name="T3" fmla="*/ 2 h 8"/>
                  <a:gd name="T4" fmla="*/ 0 w 13"/>
                  <a:gd name="T5" fmla="*/ 1 h 8"/>
                  <a:gd name="T6" fmla="*/ 4 w 13"/>
                  <a:gd name="T7" fmla="*/ 7 h 8"/>
                  <a:gd name="T8" fmla="*/ 4 w 13"/>
                  <a:gd name="T9" fmla="*/ 4 h 8"/>
                  <a:gd name="T10" fmla="*/ 3 w 13"/>
                  <a:gd name="T11" fmla="*/ 2 h 8"/>
                  <a:gd name="T12" fmla="*/ 6 w 13"/>
                  <a:gd name="T13" fmla="*/ 4 h 8"/>
                  <a:gd name="T14" fmla="*/ 6 w 13"/>
                  <a:gd name="T15" fmla="*/ 5 h 8"/>
                  <a:gd name="T16" fmla="*/ 8 w 13"/>
                  <a:gd name="T17" fmla="*/ 4 h 8"/>
                  <a:gd name="T18" fmla="*/ 11 w 13"/>
                  <a:gd name="T19" fmla="*/ 8 h 8"/>
                  <a:gd name="T20" fmla="*/ 13 w 13"/>
                  <a:gd name="T21" fmla="*/ 4 h 8"/>
                  <a:gd name="T22" fmla="*/ 10 w 13"/>
                  <a:gd name="T23" fmla="*/ 5 h 8"/>
                  <a:gd name="T24" fmla="*/ 10 w 13"/>
                  <a:gd name="T25" fmla="*/ 4 h 8"/>
                  <a:gd name="T26" fmla="*/ 9 w 13"/>
                  <a:gd name="T27" fmla="*/ 2 h 8"/>
                  <a:gd name="T28" fmla="*/ 8 w 13"/>
                  <a:gd name="T29" fmla="*/ 2 h 8"/>
                  <a:gd name="T30" fmla="*/ 8 w 13"/>
                  <a:gd name="T31" fmla="*/ 2 h 8"/>
                  <a:gd name="T32" fmla="*/ 6 w 13"/>
                  <a:gd name="T33" fmla="*/ 1 h 8"/>
                  <a:gd name="T34" fmla="*/ 6 w 13"/>
                  <a:gd name="T35" fmla="*/ 3 h 8"/>
                  <a:gd name="T36" fmla="*/ 5 w 13"/>
                  <a:gd name="T37" fmla="*/ 3 h 8"/>
                  <a:gd name="T38" fmla="*/ 6 w 13"/>
                  <a:gd name="T39" fmla="*/ 2 h 8"/>
                  <a:gd name="T40" fmla="*/ 6 w 13"/>
                  <a:gd name="T41" fmla="*/ 1 h 8"/>
                  <a:gd name="T42" fmla="*/ 4 w 13"/>
                  <a:gd name="T43" fmla="*/ 2 h 8"/>
                  <a:gd name="T44" fmla="*/ 3 w 13"/>
                  <a:gd name="T4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8">
                    <a:moveTo>
                      <a:pt x="3" y="0"/>
                    </a:moveTo>
                    <a:cubicBezTo>
                      <a:pt x="3" y="0"/>
                      <a:pt x="2" y="2"/>
                      <a:pt x="2" y="2"/>
                    </a:cubicBezTo>
                    <a:cubicBezTo>
                      <a:pt x="1" y="1"/>
                      <a:pt x="1" y="1"/>
                      <a:pt x="0" y="1"/>
                    </a:cubicBezTo>
                    <a:cubicBezTo>
                      <a:pt x="1" y="3"/>
                      <a:pt x="3" y="5"/>
                      <a:pt x="4" y="7"/>
                    </a:cubicBezTo>
                    <a:cubicBezTo>
                      <a:pt x="5" y="5"/>
                      <a:pt x="5" y="6"/>
                      <a:pt x="4" y="4"/>
                    </a:cubicBezTo>
                    <a:cubicBezTo>
                      <a:pt x="3" y="4"/>
                      <a:pt x="3" y="3"/>
                      <a:pt x="3" y="2"/>
                    </a:cubicBezTo>
                    <a:cubicBezTo>
                      <a:pt x="4" y="3"/>
                      <a:pt x="5" y="5"/>
                      <a:pt x="6" y="4"/>
                    </a:cubicBezTo>
                    <a:cubicBezTo>
                      <a:pt x="6" y="5"/>
                      <a:pt x="6" y="5"/>
                      <a:pt x="6" y="5"/>
                    </a:cubicBezTo>
                    <a:cubicBezTo>
                      <a:pt x="7" y="6"/>
                      <a:pt x="8" y="4"/>
                      <a:pt x="8" y="4"/>
                    </a:cubicBezTo>
                    <a:cubicBezTo>
                      <a:pt x="10" y="5"/>
                      <a:pt x="10" y="6"/>
                      <a:pt x="11" y="8"/>
                    </a:cubicBezTo>
                    <a:cubicBezTo>
                      <a:pt x="12" y="7"/>
                      <a:pt x="13" y="6"/>
                      <a:pt x="13" y="4"/>
                    </a:cubicBezTo>
                    <a:cubicBezTo>
                      <a:pt x="12" y="3"/>
                      <a:pt x="11" y="3"/>
                      <a:pt x="10" y="5"/>
                    </a:cubicBezTo>
                    <a:cubicBezTo>
                      <a:pt x="10" y="4"/>
                      <a:pt x="10" y="4"/>
                      <a:pt x="10" y="4"/>
                    </a:cubicBezTo>
                    <a:cubicBezTo>
                      <a:pt x="11" y="3"/>
                      <a:pt x="9" y="2"/>
                      <a:pt x="9" y="2"/>
                    </a:cubicBezTo>
                    <a:cubicBezTo>
                      <a:pt x="9" y="2"/>
                      <a:pt x="8" y="2"/>
                      <a:pt x="8" y="2"/>
                    </a:cubicBezTo>
                    <a:cubicBezTo>
                      <a:pt x="8" y="2"/>
                      <a:pt x="7" y="1"/>
                      <a:pt x="8" y="2"/>
                    </a:cubicBezTo>
                    <a:cubicBezTo>
                      <a:pt x="8" y="1"/>
                      <a:pt x="7" y="1"/>
                      <a:pt x="6" y="1"/>
                    </a:cubicBezTo>
                    <a:cubicBezTo>
                      <a:pt x="6" y="2"/>
                      <a:pt x="6" y="2"/>
                      <a:pt x="6" y="3"/>
                    </a:cubicBezTo>
                    <a:cubicBezTo>
                      <a:pt x="6" y="3"/>
                      <a:pt x="5" y="3"/>
                      <a:pt x="5" y="3"/>
                    </a:cubicBezTo>
                    <a:cubicBezTo>
                      <a:pt x="5" y="3"/>
                      <a:pt x="6" y="2"/>
                      <a:pt x="6" y="2"/>
                    </a:cubicBezTo>
                    <a:cubicBezTo>
                      <a:pt x="6" y="2"/>
                      <a:pt x="5" y="1"/>
                      <a:pt x="6" y="1"/>
                    </a:cubicBezTo>
                    <a:cubicBezTo>
                      <a:pt x="5" y="1"/>
                      <a:pt x="5" y="1"/>
                      <a:pt x="4" y="2"/>
                    </a:cubicBezTo>
                    <a:cubicBezTo>
                      <a:pt x="4"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0" name="Freeform 1876">
                <a:extLst>
                  <a:ext uri="{FF2B5EF4-FFF2-40B4-BE49-F238E27FC236}">
                    <a16:creationId xmlns:a16="http://schemas.microsoft.com/office/drawing/2014/main" id="{3154574F-B536-4576-A7D2-BBA3BDC15B4D}"/>
                  </a:ext>
                </a:extLst>
              </p:cNvPr>
              <p:cNvSpPr>
                <a:spLocks/>
              </p:cNvSpPr>
              <p:nvPr/>
            </p:nvSpPr>
            <p:spPr bwMode="auto">
              <a:xfrm>
                <a:off x="1722" y="4085"/>
                <a:ext cx="11" cy="9"/>
              </a:xfrm>
              <a:custGeom>
                <a:avLst/>
                <a:gdLst>
                  <a:gd name="T0" fmla="*/ 5 w 5"/>
                  <a:gd name="T1" fmla="*/ 4 h 4"/>
                  <a:gd name="T2" fmla="*/ 3 w 5"/>
                  <a:gd name="T3" fmla="*/ 1 h 4"/>
                  <a:gd name="T4" fmla="*/ 1 w 5"/>
                  <a:gd name="T5" fmla="*/ 1 h 4"/>
                  <a:gd name="T6" fmla="*/ 3 w 5"/>
                  <a:gd name="T7" fmla="*/ 2 h 4"/>
                  <a:gd name="T8" fmla="*/ 5 w 5"/>
                  <a:gd name="T9" fmla="*/ 4 h 4"/>
                </a:gdLst>
                <a:ahLst/>
                <a:cxnLst>
                  <a:cxn ang="0">
                    <a:pos x="T0" y="T1"/>
                  </a:cxn>
                  <a:cxn ang="0">
                    <a:pos x="T2" y="T3"/>
                  </a:cxn>
                  <a:cxn ang="0">
                    <a:pos x="T4" y="T5"/>
                  </a:cxn>
                  <a:cxn ang="0">
                    <a:pos x="T6" y="T7"/>
                  </a:cxn>
                  <a:cxn ang="0">
                    <a:pos x="T8" y="T9"/>
                  </a:cxn>
                </a:cxnLst>
                <a:rect l="0" t="0" r="r" b="b"/>
                <a:pathLst>
                  <a:path w="5" h="4">
                    <a:moveTo>
                      <a:pt x="5" y="4"/>
                    </a:moveTo>
                    <a:cubicBezTo>
                      <a:pt x="4" y="3"/>
                      <a:pt x="4" y="2"/>
                      <a:pt x="3" y="1"/>
                    </a:cubicBezTo>
                    <a:cubicBezTo>
                      <a:pt x="2" y="0"/>
                      <a:pt x="1" y="0"/>
                      <a:pt x="1" y="1"/>
                    </a:cubicBezTo>
                    <a:cubicBezTo>
                      <a:pt x="0" y="4"/>
                      <a:pt x="2" y="3"/>
                      <a:pt x="3" y="2"/>
                    </a:cubicBezTo>
                    <a:cubicBezTo>
                      <a:pt x="2" y="4"/>
                      <a:pt x="4"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1" name="Freeform 1877">
                <a:extLst>
                  <a:ext uri="{FF2B5EF4-FFF2-40B4-BE49-F238E27FC236}">
                    <a16:creationId xmlns:a16="http://schemas.microsoft.com/office/drawing/2014/main" id="{135C9B17-E657-4A9E-91A2-5CAD6086E621}"/>
                  </a:ext>
                </a:extLst>
              </p:cNvPr>
              <p:cNvSpPr>
                <a:spLocks/>
              </p:cNvSpPr>
              <p:nvPr/>
            </p:nvSpPr>
            <p:spPr bwMode="auto">
              <a:xfrm>
                <a:off x="1899" y="4257"/>
                <a:ext cx="33" cy="15"/>
              </a:xfrm>
              <a:custGeom>
                <a:avLst/>
                <a:gdLst>
                  <a:gd name="T0" fmla="*/ 7 w 14"/>
                  <a:gd name="T1" fmla="*/ 0 h 6"/>
                  <a:gd name="T2" fmla="*/ 3 w 14"/>
                  <a:gd name="T3" fmla="*/ 0 h 6"/>
                  <a:gd name="T4" fmla="*/ 0 w 14"/>
                  <a:gd name="T5" fmla="*/ 0 h 6"/>
                  <a:gd name="T6" fmla="*/ 1 w 14"/>
                  <a:gd name="T7" fmla="*/ 2 h 6"/>
                  <a:gd name="T8" fmla="*/ 1 w 14"/>
                  <a:gd name="T9" fmla="*/ 3 h 6"/>
                  <a:gd name="T10" fmla="*/ 2 w 14"/>
                  <a:gd name="T11" fmla="*/ 4 h 6"/>
                  <a:gd name="T12" fmla="*/ 6 w 14"/>
                  <a:gd name="T13" fmla="*/ 5 h 6"/>
                  <a:gd name="T14" fmla="*/ 5 w 14"/>
                  <a:gd name="T15" fmla="*/ 5 h 6"/>
                  <a:gd name="T16" fmla="*/ 7 w 14"/>
                  <a:gd name="T17" fmla="*/ 5 h 6"/>
                  <a:gd name="T18" fmla="*/ 9 w 14"/>
                  <a:gd name="T19" fmla="*/ 4 h 6"/>
                  <a:gd name="T20" fmla="*/ 10 w 14"/>
                  <a:gd name="T21" fmla="*/ 6 h 6"/>
                  <a:gd name="T22" fmla="*/ 13 w 14"/>
                  <a:gd name="T23" fmla="*/ 4 h 6"/>
                  <a:gd name="T24" fmla="*/ 7 w 14"/>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6">
                    <a:moveTo>
                      <a:pt x="7" y="0"/>
                    </a:moveTo>
                    <a:cubicBezTo>
                      <a:pt x="6" y="1"/>
                      <a:pt x="4" y="0"/>
                      <a:pt x="3" y="0"/>
                    </a:cubicBezTo>
                    <a:cubicBezTo>
                      <a:pt x="2" y="0"/>
                      <a:pt x="1" y="0"/>
                      <a:pt x="0" y="0"/>
                    </a:cubicBezTo>
                    <a:cubicBezTo>
                      <a:pt x="0" y="1"/>
                      <a:pt x="1" y="1"/>
                      <a:pt x="1" y="2"/>
                    </a:cubicBezTo>
                    <a:cubicBezTo>
                      <a:pt x="2" y="2"/>
                      <a:pt x="1" y="2"/>
                      <a:pt x="1" y="3"/>
                    </a:cubicBezTo>
                    <a:cubicBezTo>
                      <a:pt x="2" y="3"/>
                      <a:pt x="2" y="3"/>
                      <a:pt x="2" y="4"/>
                    </a:cubicBezTo>
                    <a:cubicBezTo>
                      <a:pt x="1" y="5"/>
                      <a:pt x="5" y="4"/>
                      <a:pt x="6" y="5"/>
                    </a:cubicBezTo>
                    <a:cubicBezTo>
                      <a:pt x="6" y="5"/>
                      <a:pt x="5" y="5"/>
                      <a:pt x="5" y="5"/>
                    </a:cubicBezTo>
                    <a:cubicBezTo>
                      <a:pt x="5" y="5"/>
                      <a:pt x="6" y="5"/>
                      <a:pt x="7" y="5"/>
                    </a:cubicBezTo>
                    <a:cubicBezTo>
                      <a:pt x="7" y="4"/>
                      <a:pt x="8" y="3"/>
                      <a:pt x="9" y="4"/>
                    </a:cubicBezTo>
                    <a:cubicBezTo>
                      <a:pt x="9" y="4"/>
                      <a:pt x="9" y="6"/>
                      <a:pt x="10" y="6"/>
                    </a:cubicBezTo>
                    <a:cubicBezTo>
                      <a:pt x="11" y="5"/>
                      <a:pt x="13" y="4"/>
                      <a:pt x="13" y="4"/>
                    </a:cubicBezTo>
                    <a:cubicBezTo>
                      <a:pt x="14" y="1"/>
                      <a:pt x="9" y="1"/>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2" name="Freeform 1878">
                <a:extLst>
                  <a:ext uri="{FF2B5EF4-FFF2-40B4-BE49-F238E27FC236}">
                    <a16:creationId xmlns:a16="http://schemas.microsoft.com/office/drawing/2014/main" id="{2D98D91E-D31B-4497-83A2-ABEEAA457004}"/>
                  </a:ext>
                </a:extLst>
              </p:cNvPr>
              <p:cNvSpPr>
                <a:spLocks/>
              </p:cNvSpPr>
              <p:nvPr/>
            </p:nvSpPr>
            <p:spPr bwMode="auto">
              <a:xfrm>
                <a:off x="1766" y="3957"/>
                <a:ext cx="5" cy="9"/>
              </a:xfrm>
              <a:custGeom>
                <a:avLst/>
                <a:gdLst>
                  <a:gd name="T0" fmla="*/ 1 w 2"/>
                  <a:gd name="T1" fmla="*/ 4 h 4"/>
                  <a:gd name="T2" fmla="*/ 2 w 2"/>
                  <a:gd name="T3" fmla="*/ 0 h 4"/>
                  <a:gd name="T4" fmla="*/ 0 w 2"/>
                  <a:gd name="T5" fmla="*/ 2 h 4"/>
                  <a:gd name="T6" fmla="*/ 1 w 2"/>
                  <a:gd name="T7" fmla="*/ 3 h 4"/>
                  <a:gd name="T8" fmla="*/ 1 w 2"/>
                  <a:gd name="T9" fmla="*/ 4 h 4"/>
                </a:gdLst>
                <a:ahLst/>
                <a:cxnLst>
                  <a:cxn ang="0">
                    <a:pos x="T0" y="T1"/>
                  </a:cxn>
                  <a:cxn ang="0">
                    <a:pos x="T2" y="T3"/>
                  </a:cxn>
                  <a:cxn ang="0">
                    <a:pos x="T4" y="T5"/>
                  </a:cxn>
                  <a:cxn ang="0">
                    <a:pos x="T6" y="T7"/>
                  </a:cxn>
                  <a:cxn ang="0">
                    <a:pos x="T8" y="T9"/>
                  </a:cxn>
                </a:cxnLst>
                <a:rect l="0" t="0" r="r" b="b"/>
                <a:pathLst>
                  <a:path w="2" h="4">
                    <a:moveTo>
                      <a:pt x="1" y="4"/>
                    </a:moveTo>
                    <a:cubicBezTo>
                      <a:pt x="2" y="3"/>
                      <a:pt x="2" y="2"/>
                      <a:pt x="2" y="0"/>
                    </a:cubicBezTo>
                    <a:cubicBezTo>
                      <a:pt x="0" y="1"/>
                      <a:pt x="0" y="2"/>
                      <a:pt x="0" y="2"/>
                    </a:cubicBezTo>
                    <a:cubicBezTo>
                      <a:pt x="0" y="3"/>
                      <a:pt x="0" y="3"/>
                      <a:pt x="1" y="3"/>
                    </a:cubicBezTo>
                    <a:cubicBezTo>
                      <a:pt x="1"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3" name="Freeform 1879">
                <a:extLst>
                  <a:ext uri="{FF2B5EF4-FFF2-40B4-BE49-F238E27FC236}">
                    <a16:creationId xmlns:a16="http://schemas.microsoft.com/office/drawing/2014/main" id="{FA3E234B-59E8-429B-9284-C73885E7737C}"/>
                  </a:ext>
                </a:extLst>
              </p:cNvPr>
              <p:cNvSpPr>
                <a:spLocks/>
              </p:cNvSpPr>
              <p:nvPr/>
            </p:nvSpPr>
            <p:spPr bwMode="auto">
              <a:xfrm>
                <a:off x="1759" y="3919"/>
                <a:ext cx="5" cy="5"/>
              </a:xfrm>
              <a:custGeom>
                <a:avLst/>
                <a:gdLst>
                  <a:gd name="T0" fmla="*/ 1 w 2"/>
                  <a:gd name="T1" fmla="*/ 2 h 2"/>
                  <a:gd name="T2" fmla="*/ 2 w 2"/>
                  <a:gd name="T3" fmla="*/ 1 h 2"/>
                  <a:gd name="T4" fmla="*/ 1 w 2"/>
                  <a:gd name="T5" fmla="*/ 0 h 2"/>
                  <a:gd name="T6" fmla="*/ 1 w 2"/>
                  <a:gd name="T7" fmla="*/ 2 h 2"/>
                </a:gdLst>
                <a:ahLst/>
                <a:cxnLst>
                  <a:cxn ang="0">
                    <a:pos x="T0" y="T1"/>
                  </a:cxn>
                  <a:cxn ang="0">
                    <a:pos x="T2" y="T3"/>
                  </a:cxn>
                  <a:cxn ang="0">
                    <a:pos x="T4" y="T5"/>
                  </a:cxn>
                  <a:cxn ang="0">
                    <a:pos x="T6" y="T7"/>
                  </a:cxn>
                </a:cxnLst>
                <a:rect l="0" t="0" r="r" b="b"/>
                <a:pathLst>
                  <a:path w="2" h="2">
                    <a:moveTo>
                      <a:pt x="1" y="2"/>
                    </a:moveTo>
                    <a:cubicBezTo>
                      <a:pt x="1" y="2"/>
                      <a:pt x="1" y="1"/>
                      <a:pt x="2" y="1"/>
                    </a:cubicBezTo>
                    <a:cubicBezTo>
                      <a:pt x="2" y="1"/>
                      <a:pt x="1" y="1"/>
                      <a:pt x="1" y="0"/>
                    </a:cubicBezTo>
                    <a:cubicBezTo>
                      <a:pt x="0" y="1"/>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4" name="Freeform 1880">
                <a:extLst>
                  <a:ext uri="{FF2B5EF4-FFF2-40B4-BE49-F238E27FC236}">
                    <a16:creationId xmlns:a16="http://schemas.microsoft.com/office/drawing/2014/main" id="{230ECA94-67E2-4B85-859A-163D94C70E3F}"/>
                  </a:ext>
                </a:extLst>
              </p:cNvPr>
              <p:cNvSpPr>
                <a:spLocks/>
              </p:cNvSpPr>
              <p:nvPr/>
            </p:nvSpPr>
            <p:spPr bwMode="auto">
              <a:xfrm>
                <a:off x="1757" y="3962"/>
                <a:ext cx="7" cy="4"/>
              </a:xfrm>
              <a:custGeom>
                <a:avLst/>
                <a:gdLst>
                  <a:gd name="T0" fmla="*/ 3 w 3"/>
                  <a:gd name="T1" fmla="*/ 2 h 2"/>
                  <a:gd name="T2" fmla="*/ 2 w 3"/>
                  <a:gd name="T3" fmla="*/ 0 h 2"/>
                  <a:gd name="T4" fmla="*/ 3 w 3"/>
                  <a:gd name="T5" fmla="*/ 2 h 2"/>
                </a:gdLst>
                <a:ahLst/>
                <a:cxnLst>
                  <a:cxn ang="0">
                    <a:pos x="T0" y="T1"/>
                  </a:cxn>
                  <a:cxn ang="0">
                    <a:pos x="T2" y="T3"/>
                  </a:cxn>
                  <a:cxn ang="0">
                    <a:pos x="T4" y="T5"/>
                  </a:cxn>
                </a:cxnLst>
                <a:rect l="0" t="0" r="r" b="b"/>
                <a:pathLst>
                  <a:path w="3" h="2">
                    <a:moveTo>
                      <a:pt x="3" y="2"/>
                    </a:moveTo>
                    <a:cubicBezTo>
                      <a:pt x="3" y="1"/>
                      <a:pt x="3" y="0"/>
                      <a:pt x="2" y="0"/>
                    </a:cubicBezTo>
                    <a:cubicBezTo>
                      <a:pt x="0" y="0"/>
                      <a:pt x="2" y="1"/>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5" name="Freeform 1881">
                <a:extLst>
                  <a:ext uri="{FF2B5EF4-FFF2-40B4-BE49-F238E27FC236}">
                    <a16:creationId xmlns:a16="http://schemas.microsoft.com/office/drawing/2014/main" id="{2360D35E-3ACB-4B16-A8CA-649601184988}"/>
                  </a:ext>
                </a:extLst>
              </p:cNvPr>
              <p:cNvSpPr>
                <a:spLocks/>
              </p:cNvSpPr>
              <p:nvPr/>
            </p:nvSpPr>
            <p:spPr bwMode="auto">
              <a:xfrm>
                <a:off x="1918" y="4281"/>
                <a:ext cx="7" cy="7"/>
              </a:xfrm>
              <a:custGeom>
                <a:avLst/>
                <a:gdLst>
                  <a:gd name="T0" fmla="*/ 1 w 3"/>
                  <a:gd name="T1" fmla="*/ 1 h 3"/>
                  <a:gd name="T2" fmla="*/ 0 w 3"/>
                  <a:gd name="T3" fmla="*/ 2 h 3"/>
                  <a:gd name="T4" fmla="*/ 2 w 3"/>
                  <a:gd name="T5" fmla="*/ 2 h 3"/>
                  <a:gd name="T6" fmla="*/ 3 w 3"/>
                  <a:gd name="T7" fmla="*/ 2 h 3"/>
                  <a:gd name="T8" fmla="*/ 1 w 3"/>
                  <a:gd name="T9" fmla="*/ 0 h 3"/>
                  <a:gd name="T10" fmla="*/ 1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1" y="1"/>
                    </a:moveTo>
                    <a:cubicBezTo>
                      <a:pt x="0" y="1"/>
                      <a:pt x="0" y="0"/>
                      <a:pt x="0" y="2"/>
                    </a:cubicBezTo>
                    <a:cubicBezTo>
                      <a:pt x="0" y="2"/>
                      <a:pt x="2" y="2"/>
                      <a:pt x="2" y="2"/>
                    </a:cubicBezTo>
                    <a:cubicBezTo>
                      <a:pt x="2" y="2"/>
                      <a:pt x="3" y="3"/>
                      <a:pt x="3" y="2"/>
                    </a:cubicBezTo>
                    <a:cubicBezTo>
                      <a:pt x="3" y="2"/>
                      <a:pt x="2" y="0"/>
                      <a:pt x="1"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6" name="Freeform 1882">
                <a:extLst>
                  <a:ext uri="{FF2B5EF4-FFF2-40B4-BE49-F238E27FC236}">
                    <a16:creationId xmlns:a16="http://schemas.microsoft.com/office/drawing/2014/main" id="{C72579D4-3EC0-4C60-9388-97C222791F23}"/>
                  </a:ext>
                </a:extLst>
              </p:cNvPr>
              <p:cNvSpPr>
                <a:spLocks/>
              </p:cNvSpPr>
              <p:nvPr/>
            </p:nvSpPr>
            <p:spPr bwMode="auto">
              <a:xfrm>
                <a:off x="1755" y="3938"/>
                <a:ext cx="9" cy="7"/>
              </a:xfrm>
              <a:custGeom>
                <a:avLst/>
                <a:gdLst>
                  <a:gd name="T0" fmla="*/ 0 w 4"/>
                  <a:gd name="T1" fmla="*/ 3 h 3"/>
                  <a:gd name="T2" fmla="*/ 4 w 4"/>
                  <a:gd name="T3" fmla="*/ 2 h 3"/>
                  <a:gd name="T4" fmla="*/ 0 w 4"/>
                  <a:gd name="T5" fmla="*/ 3 h 3"/>
                </a:gdLst>
                <a:ahLst/>
                <a:cxnLst>
                  <a:cxn ang="0">
                    <a:pos x="T0" y="T1"/>
                  </a:cxn>
                  <a:cxn ang="0">
                    <a:pos x="T2" y="T3"/>
                  </a:cxn>
                  <a:cxn ang="0">
                    <a:pos x="T4" y="T5"/>
                  </a:cxn>
                </a:cxnLst>
                <a:rect l="0" t="0" r="r" b="b"/>
                <a:pathLst>
                  <a:path w="4" h="3">
                    <a:moveTo>
                      <a:pt x="0" y="3"/>
                    </a:moveTo>
                    <a:cubicBezTo>
                      <a:pt x="1" y="2"/>
                      <a:pt x="3" y="3"/>
                      <a:pt x="4" y="2"/>
                    </a:cubicBezTo>
                    <a:cubicBezTo>
                      <a:pt x="2"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7" name="Freeform 1883">
                <a:extLst>
                  <a:ext uri="{FF2B5EF4-FFF2-40B4-BE49-F238E27FC236}">
                    <a16:creationId xmlns:a16="http://schemas.microsoft.com/office/drawing/2014/main" id="{93630685-B05A-4DAF-AC6F-59F86EA6B30F}"/>
                  </a:ext>
                </a:extLst>
              </p:cNvPr>
              <p:cNvSpPr>
                <a:spLocks/>
              </p:cNvSpPr>
              <p:nvPr/>
            </p:nvSpPr>
            <p:spPr bwMode="auto">
              <a:xfrm>
                <a:off x="1731" y="4037"/>
                <a:ext cx="12" cy="12"/>
              </a:xfrm>
              <a:custGeom>
                <a:avLst/>
                <a:gdLst>
                  <a:gd name="T0" fmla="*/ 2 w 5"/>
                  <a:gd name="T1" fmla="*/ 0 h 5"/>
                  <a:gd name="T2" fmla="*/ 0 w 5"/>
                  <a:gd name="T3" fmla="*/ 0 h 5"/>
                  <a:gd name="T4" fmla="*/ 2 w 5"/>
                  <a:gd name="T5" fmla="*/ 5 h 5"/>
                  <a:gd name="T6" fmla="*/ 5 w 5"/>
                  <a:gd name="T7" fmla="*/ 2 h 5"/>
                  <a:gd name="T8" fmla="*/ 4 w 5"/>
                  <a:gd name="T9" fmla="*/ 2 h 5"/>
                  <a:gd name="T10" fmla="*/ 2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2" y="0"/>
                    </a:moveTo>
                    <a:cubicBezTo>
                      <a:pt x="2" y="0"/>
                      <a:pt x="1" y="0"/>
                      <a:pt x="0" y="0"/>
                    </a:cubicBezTo>
                    <a:cubicBezTo>
                      <a:pt x="1" y="2"/>
                      <a:pt x="2" y="3"/>
                      <a:pt x="2" y="5"/>
                    </a:cubicBezTo>
                    <a:cubicBezTo>
                      <a:pt x="3" y="4"/>
                      <a:pt x="4" y="3"/>
                      <a:pt x="5" y="2"/>
                    </a:cubicBezTo>
                    <a:cubicBezTo>
                      <a:pt x="5" y="2"/>
                      <a:pt x="4" y="2"/>
                      <a:pt x="4" y="2"/>
                    </a:cubicBezTo>
                    <a:cubicBezTo>
                      <a:pt x="4" y="1"/>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8" name="Freeform 1884">
                <a:extLst>
                  <a:ext uri="{FF2B5EF4-FFF2-40B4-BE49-F238E27FC236}">
                    <a16:creationId xmlns:a16="http://schemas.microsoft.com/office/drawing/2014/main" id="{042C4D1D-FCBD-4175-990D-E868070B692E}"/>
                  </a:ext>
                </a:extLst>
              </p:cNvPr>
              <p:cNvSpPr>
                <a:spLocks/>
              </p:cNvSpPr>
              <p:nvPr/>
            </p:nvSpPr>
            <p:spPr bwMode="auto">
              <a:xfrm>
                <a:off x="1722" y="4066"/>
                <a:ext cx="9" cy="9"/>
              </a:xfrm>
              <a:custGeom>
                <a:avLst/>
                <a:gdLst>
                  <a:gd name="T0" fmla="*/ 2 w 4"/>
                  <a:gd name="T1" fmla="*/ 4 h 4"/>
                  <a:gd name="T2" fmla="*/ 3 w 4"/>
                  <a:gd name="T3" fmla="*/ 2 h 4"/>
                  <a:gd name="T4" fmla="*/ 3 w 4"/>
                  <a:gd name="T5" fmla="*/ 2 h 4"/>
                  <a:gd name="T6" fmla="*/ 3 w 4"/>
                  <a:gd name="T7" fmla="*/ 0 h 4"/>
                  <a:gd name="T8" fmla="*/ 1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2" y="3"/>
                      <a:pt x="2" y="2"/>
                      <a:pt x="3" y="2"/>
                    </a:cubicBezTo>
                    <a:cubicBezTo>
                      <a:pt x="3" y="2"/>
                      <a:pt x="3" y="2"/>
                      <a:pt x="3" y="2"/>
                    </a:cubicBezTo>
                    <a:cubicBezTo>
                      <a:pt x="4" y="1"/>
                      <a:pt x="3" y="1"/>
                      <a:pt x="3" y="0"/>
                    </a:cubicBezTo>
                    <a:cubicBezTo>
                      <a:pt x="3" y="1"/>
                      <a:pt x="1" y="1"/>
                      <a:pt x="1" y="2"/>
                    </a:cubicBezTo>
                    <a:cubicBezTo>
                      <a:pt x="0" y="3"/>
                      <a:pt x="0"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9" name="Freeform 1885">
                <a:extLst>
                  <a:ext uri="{FF2B5EF4-FFF2-40B4-BE49-F238E27FC236}">
                    <a16:creationId xmlns:a16="http://schemas.microsoft.com/office/drawing/2014/main" id="{9A7C219A-C022-4192-BC92-71FAD59BE5E2}"/>
                  </a:ext>
                </a:extLst>
              </p:cNvPr>
              <p:cNvSpPr>
                <a:spLocks/>
              </p:cNvSpPr>
              <p:nvPr/>
            </p:nvSpPr>
            <p:spPr bwMode="auto">
              <a:xfrm>
                <a:off x="1750" y="3933"/>
                <a:ext cx="2" cy="7"/>
              </a:xfrm>
              <a:custGeom>
                <a:avLst/>
                <a:gdLst>
                  <a:gd name="T0" fmla="*/ 0 w 1"/>
                  <a:gd name="T1" fmla="*/ 1 h 3"/>
                  <a:gd name="T2" fmla="*/ 1 w 1"/>
                  <a:gd name="T3" fmla="*/ 3 h 3"/>
                  <a:gd name="T4" fmla="*/ 0 w 1"/>
                  <a:gd name="T5" fmla="*/ 1 h 3"/>
                </a:gdLst>
                <a:ahLst/>
                <a:cxnLst>
                  <a:cxn ang="0">
                    <a:pos x="T0" y="T1"/>
                  </a:cxn>
                  <a:cxn ang="0">
                    <a:pos x="T2" y="T3"/>
                  </a:cxn>
                  <a:cxn ang="0">
                    <a:pos x="T4" y="T5"/>
                  </a:cxn>
                </a:cxnLst>
                <a:rect l="0" t="0" r="r" b="b"/>
                <a:pathLst>
                  <a:path w="1" h="3">
                    <a:moveTo>
                      <a:pt x="0" y="1"/>
                    </a:moveTo>
                    <a:cubicBezTo>
                      <a:pt x="0" y="2"/>
                      <a:pt x="1" y="2"/>
                      <a:pt x="1" y="3"/>
                    </a:cubicBezTo>
                    <a:cubicBezTo>
                      <a:pt x="1" y="2"/>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0" name="Freeform 1886">
                <a:extLst>
                  <a:ext uri="{FF2B5EF4-FFF2-40B4-BE49-F238E27FC236}">
                    <a16:creationId xmlns:a16="http://schemas.microsoft.com/office/drawing/2014/main" id="{2FC727DC-BA64-4B95-B55F-FA227BC6F999}"/>
                  </a:ext>
                </a:extLst>
              </p:cNvPr>
              <p:cNvSpPr>
                <a:spLocks/>
              </p:cNvSpPr>
              <p:nvPr/>
            </p:nvSpPr>
            <p:spPr bwMode="auto">
              <a:xfrm>
                <a:off x="1861" y="4255"/>
                <a:ext cx="17" cy="7"/>
              </a:xfrm>
              <a:custGeom>
                <a:avLst/>
                <a:gdLst>
                  <a:gd name="T0" fmla="*/ 7 w 7"/>
                  <a:gd name="T1" fmla="*/ 2 h 3"/>
                  <a:gd name="T2" fmla="*/ 3 w 7"/>
                  <a:gd name="T3" fmla="*/ 0 h 3"/>
                  <a:gd name="T4" fmla="*/ 0 w 7"/>
                  <a:gd name="T5" fmla="*/ 3 h 3"/>
                  <a:gd name="T6" fmla="*/ 4 w 7"/>
                  <a:gd name="T7" fmla="*/ 2 h 3"/>
                  <a:gd name="T8" fmla="*/ 7 w 7"/>
                  <a:gd name="T9" fmla="*/ 2 h 3"/>
                </a:gdLst>
                <a:ahLst/>
                <a:cxnLst>
                  <a:cxn ang="0">
                    <a:pos x="T0" y="T1"/>
                  </a:cxn>
                  <a:cxn ang="0">
                    <a:pos x="T2" y="T3"/>
                  </a:cxn>
                  <a:cxn ang="0">
                    <a:pos x="T4" y="T5"/>
                  </a:cxn>
                  <a:cxn ang="0">
                    <a:pos x="T6" y="T7"/>
                  </a:cxn>
                  <a:cxn ang="0">
                    <a:pos x="T8" y="T9"/>
                  </a:cxn>
                </a:cxnLst>
                <a:rect l="0" t="0" r="r" b="b"/>
                <a:pathLst>
                  <a:path w="7" h="3">
                    <a:moveTo>
                      <a:pt x="7" y="2"/>
                    </a:moveTo>
                    <a:cubicBezTo>
                      <a:pt x="6" y="1"/>
                      <a:pt x="4" y="1"/>
                      <a:pt x="3" y="0"/>
                    </a:cubicBezTo>
                    <a:cubicBezTo>
                      <a:pt x="1" y="0"/>
                      <a:pt x="0" y="1"/>
                      <a:pt x="0" y="3"/>
                    </a:cubicBezTo>
                    <a:cubicBezTo>
                      <a:pt x="1" y="2"/>
                      <a:pt x="3" y="2"/>
                      <a:pt x="4" y="2"/>
                    </a:cubicBezTo>
                    <a:cubicBezTo>
                      <a:pt x="5" y="2"/>
                      <a:pt x="6"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1" name="Freeform 1887">
                <a:extLst>
                  <a:ext uri="{FF2B5EF4-FFF2-40B4-BE49-F238E27FC236}">
                    <a16:creationId xmlns:a16="http://schemas.microsoft.com/office/drawing/2014/main" id="{D6F03B09-D1DE-4560-A07A-EAB65E6F70FC}"/>
                  </a:ext>
                </a:extLst>
              </p:cNvPr>
              <p:cNvSpPr>
                <a:spLocks/>
              </p:cNvSpPr>
              <p:nvPr/>
            </p:nvSpPr>
            <p:spPr bwMode="auto">
              <a:xfrm>
                <a:off x="1736" y="4153"/>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1"/>
                      <a:pt x="0" y="2"/>
                    </a:cubicBezTo>
                    <a:cubicBezTo>
                      <a:pt x="1"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2" name="Freeform 1888">
                <a:extLst>
                  <a:ext uri="{FF2B5EF4-FFF2-40B4-BE49-F238E27FC236}">
                    <a16:creationId xmlns:a16="http://schemas.microsoft.com/office/drawing/2014/main" id="{91F860A7-4805-4962-BEAA-5B5E1F9FE9C9}"/>
                  </a:ext>
                </a:extLst>
              </p:cNvPr>
              <p:cNvSpPr>
                <a:spLocks/>
              </p:cNvSpPr>
              <p:nvPr/>
            </p:nvSpPr>
            <p:spPr bwMode="auto">
              <a:xfrm>
                <a:off x="1807" y="4248"/>
                <a:ext cx="4" cy="5"/>
              </a:xfrm>
              <a:custGeom>
                <a:avLst/>
                <a:gdLst>
                  <a:gd name="T0" fmla="*/ 2 w 2"/>
                  <a:gd name="T1" fmla="*/ 2 h 2"/>
                  <a:gd name="T2" fmla="*/ 2 w 2"/>
                  <a:gd name="T3" fmla="*/ 2 h 2"/>
                </a:gdLst>
                <a:ahLst/>
                <a:cxnLst>
                  <a:cxn ang="0">
                    <a:pos x="T0" y="T1"/>
                  </a:cxn>
                  <a:cxn ang="0">
                    <a:pos x="T2" y="T3"/>
                  </a:cxn>
                </a:cxnLst>
                <a:rect l="0" t="0" r="r" b="b"/>
                <a:pathLst>
                  <a:path w="2" h="2">
                    <a:moveTo>
                      <a:pt x="2" y="2"/>
                    </a:moveTo>
                    <a:cubicBezTo>
                      <a:pt x="1" y="0"/>
                      <a:pt x="0" y="0"/>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3" name="Freeform 1889">
                <a:extLst>
                  <a:ext uri="{FF2B5EF4-FFF2-40B4-BE49-F238E27FC236}">
                    <a16:creationId xmlns:a16="http://schemas.microsoft.com/office/drawing/2014/main" id="{4C30315F-59D2-46AA-9639-1A2EFEC0D88B}"/>
                  </a:ext>
                </a:extLst>
              </p:cNvPr>
              <p:cNvSpPr>
                <a:spLocks/>
              </p:cNvSpPr>
              <p:nvPr/>
            </p:nvSpPr>
            <p:spPr bwMode="auto">
              <a:xfrm>
                <a:off x="1776" y="4227"/>
                <a:ext cx="5" cy="4"/>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0" y="1"/>
                      <a:pt x="1" y="2"/>
                      <a:pt x="2" y="2"/>
                    </a:cubicBezTo>
                    <a:cubicBezTo>
                      <a:pt x="1"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4" name="Freeform 1890">
                <a:extLst>
                  <a:ext uri="{FF2B5EF4-FFF2-40B4-BE49-F238E27FC236}">
                    <a16:creationId xmlns:a16="http://schemas.microsoft.com/office/drawing/2014/main" id="{13E85BAC-E0CF-4309-9F1C-667839DD1582}"/>
                  </a:ext>
                </a:extLst>
              </p:cNvPr>
              <p:cNvSpPr>
                <a:spLocks/>
              </p:cNvSpPr>
              <p:nvPr/>
            </p:nvSpPr>
            <p:spPr bwMode="auto">
              <a:xfrm>
                <a:off x="1738" y="4118"/>
                <a:ext cx="7" cy="7"/>
              </a:xfrm>
              <a:custGeom>
                <a:avLst/>
                <a:gdLst>
                  <a:gd name="T0" fmla="*/ 2 w 3"/>
                  <a:gd name="T1" fmla="*/ 1 h 3"/>
                  <a:gd name="T2" fmla="*/ 2 w 3"/>
                  <a:gd name="T3" fmla="*/ 1 h 3"/>
                  <a:gd name="T4" fmla="*/ 1 w 3"/>
                  <a:gd name="T5" fmla="*/ 1 h 3"/>
                  <a:gd name="T6" fmla="*/ 3 w 3"/>
                  <a:gd name="T7" fmla="*/ 3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2" y="1"/>
                      <a:pt x="3" y="1"/>
                      <a:pt x="2" y="1"/>
                    </a:cubicBezTo>
                    <a:cubicBezTo>
                      <a:pt x="2" y="0"/>
                      <a:pt x="1" y="0"/>
                      <a:pt x="1" y="1"/>
                    </a:cubicBezTo>
                    <a:cubicBezTo>
                      <a:pt x="0" y="2"/>
                      <a:pt x="2" y="3"/>
                      <a:pt x="3" y="3"/>
                    </a:cubicBezTo>
                    <a:cubicBezTo>
                      <a:pt x="2" y="2"/>
                      <a:pt x="3"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5" name="Freeform 1891">
                <a:extLst>
                  <a:ext uri="{FF2B5EF4-FFF2-40B4-BE49-F238E27FC236}">
                    <a16:creationId xmlns:a16="http://schemas.microsoft.com/office/drawing/2014/main" id="{64D558CB-04A2-4AD1-9E39-7CF65C188666}"/>
                  </a:ext>
                </a:extLst>
              </p:cNvPr>
              <p:cNvSpPr>
                <a:spLocks/>
              </p:cNvSpPr>
              <p:nvPr/>
            </p:nvSpPr>
            <p:spPr bwMode="auto">
              <a:xfrm>
                <a:off x="1757" y="3957"/>
                <a:ext cx="12" cy="5"/>
              </a:xfrm>
              <a:custGeom>
                <a:avLst/>
                <a:gdLst>
                  <a:gd name="T0" fmla="*/ 2 w 5"/>
                  <a:gd name="T1" fmla="*/ 0 h 2"/>
                  <a:gd name="T2" fmla="*/ 1 w 5"/>
                  <a:gd name="T3" fmla="*/ 1 h 2"/>
                  <a:gd name="T4" fmla="*/ 1 w 5"/>
                  <a:gd name="T5" fmla="*/ 2 h 2"/>
                  <a:gd name="T6" fmla="*/ 3 w 5"/>
                  <a:gd name="T7" fmla="*/ 2 h 2"/>
                  <a:gd name="T8" fmla="*/ 2 w 5"/>
                  <a:gd name="T9" fmla="*/ 0 h 2"/>
                </a:gdLst>
                <a:ahLst/>
                <a:cxnLst>
                  <a:cxn ang="0">
                    <a:pos x="T0" y="T1"/>
                  </a:cxn>
                  <a:cxn ang="0">
                    <a:pos x="T2" y="T3"/>
                  </a:cxn>
                  <a:cxn ang="0">
                    <a:pos x="T4" y="T5"/>
                  </a:cxn>
                  <a:cxn ang="0">
                    <a:pos x="T6" y="T7"/>
                  </a:cxn>
                  <a:cxn ang="0">
                    <a:pos x="T8" y="T9"/>
                  </a:cxn>
                </a:cxnLst>
                <a:rect l="0" t="0" r="r" b="b"/>
                <a:pathLst>
                  <a:path w="5" h="2">
                    <a:moveTo>
                      <a:pt x="2" y="0"/>
                    </a:moveTo>
                    <a:cubicBezTo>
                      <a:pt x="1" y="0"/>
                      <a:pt x="2" y="0"/>
                      <a:pt x="1" y="1"/>
                    </a:cubicBezTo>
                    <a:cubicBezTo>
                      <a:pt x="1" y="1"/>
                      <a:pt x="0" y="2"/>
                      <a:pt x="1" y="2"/>
                    </a:cubicBezTo>
                    <a:cubicBezTo>
                      <a:pt x="2" y="1"/>
                      <a:pt x="2" y="2"/>
                      <a:pt x="3" y="2"/>
                    </a:cubicBezTo>
                    <a:cubicBezTo>
                      <a:pt x="5" y="1"/>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6" name="Freeform 1892">
                <a:extLst>
                  <a:ext uri="{FF2B5EF4-FFF2-40B4-BE49-F238E27FC236}">
                    <a16:creationId xmlns:a16="http://schemas.microsoft.com/office/drawing/2014/main" id="{FB1AF49E-91F4-4C92-A8FF-3CDE1D1B91DD}"/>
                  </a:ext>
                </a:extLst>
              </p:cNvPr>
              <p:cNvSpPr>
                <a:spLocks/>
              </p:cNvSpPr>
              <p:nvPr/>
            </p:nvSpPr>
            <p:spPr bwMode="auto">
              <a:xfrm>
                <a:off x="1927" y="4288"/>
                <a:ext cx="3" cy="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7" name="Freeform 1893">
                <a:extLst>
                  <a:ext uri="{FF2B5EF4-FFF2-40B4-BE49-F238E27FC236}">
                    <a16:creationId xmlns:a16="http://schemas.microsoft.com/office/drawing/2014/main" id="{07C83166-7B54-48E6-9B76-05B26ED26B15}"/>
                  </a:ext>
                </a:extLst>
              </p:cNvPr>
              <p:cNvSpPr>
                <a:spLocks/>
              </p:cNvSpPr>
              <p:nvPr/>
            </p:nvSpPr>
            <p:spPr bwMode="auto">
              <a:xfrm>
                <a:off x="1745" y="3931"/>
                <a:ext cx="5" cy="5"/>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1" y="2"/>
                      <a:pt x="2" y="2"/>
                      <a:pt x="2" y="2"/>
                    </a:cubicBezTo>
                    <a:cubicBezTo>
                      <a:pt x="2" y="1"/>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8" name="Freeform 1894">
                <a:extLst>
                  <a:ext uri="{FF2B5EF4-FFF2-40B4-BE49-F238E27FC236}">
                    <a16:creationId xmlns:a16="http://schemas.microsoft.com/office/drawing/2014/main" id="{7FA53C4A-C0BF-4476-84A5-1195A85748A1}"/>
                  </a:ext>
                </a:extLst>
              </p:cNvPr>
              <p:cNvSpPr>
                <a:spLocks/>
              </p:cNvSpPr>
              <p:nvPr/>
            </p:nvSpPr>
            <p:spPr bwMode="auto">
              <a:xfrm>
                <a:off x="1750" y="4153"/>
                <a:ext cx="12" cy="7"/>
              </a:xfrm>
              <a:custGeom>
                <a:avLst/>
                <a:gdLst>
                  <a:gd name="T0" fmla="*/ 2 w 5"/>
                  <a:gd name="T1" fmla="*/ 1 h 3"/>
                  <a:gd name="T2" fmla="*/ 0 w 5"/>
                  <a:gd name="T3" fmla="*/ 0 h 3"/>
                  <a:gd name="T4" fmla="*/ 3 w 5"/>
                  <a:gd name="T5" fmla="*/ 3 h 3"/>
                  <a:gd name="T6" fmla="*/ 2 w 5"/>
                  <a:gd name="T7" fmla="*/ 1 h 3"/>
                </a:gdLst>
                <a:ahLst/>
                <a:cxnLst>
                  <a:cxn ang="0">
                    <a:pos x="T0" y="T1"/>
                  </a:cxn>
                  <a:cxn ang="0">
                    <a:pos x="T2" y="T3"/>
                  </a:cxn>
                  <a:cxn ang="0">
                    <a:pos x="T4" y="T5"/>
                  </a:cxn>
                  <a:cxn ang="0">
                    <a:pos x="T6" y="T7"/>
                  </a:cxn>
                </a:cxnLst>
                <a:rect l="0" t="0" r="r" b="b"/>
                <a:pathLst>
                  <a:path w="5" h="3">
                    <a:moveTo>
                      <a:pt x="2" y="1"/>
                    </a:moveTo>
                    <a:cubicBezTo>
                      <a:pt x="1" y="0"/>
                      <a:pt x="1" y="0"/>
                      <a:pt x="0" y="0"/>
                    </a:cubicBezTo>
                    <a:cubicBezTo>
                      <a:pt x="1" y="1"/>
                      <a:pt x="2" y="2"/>
                      <a:pt x="3" y="3"/>
                    </a:cubicBezTo>
                    <a:cubicBezTo>
                      <a:pt x="5"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9" name="Freeform 1895">
                <a:extLst>
                  <a:ext uri="{FF2B5EF4-FFF2-40B4-BE49-F238E27FC236}">
                    <a16:creationId xmlns:a16="http://schemas.microsoft.com/office/drawing/2014/main" id="{724DE473-DCB9-4CB9-84CB-F53ED39BE52F}"/>
                  </a:ext>
                </a:extLst>
              </p:cNvPr>
              <p:cNvSpPr>
                <a:spLocks/>
              </p:cNvSpPr>
              <p:nvPr/>
            </p:nvSpPr>
            <p:spPr bwMode="auto">
              <a:xfrm>
                <a:off x="1911" y="4288"/>
                <a:ext cx="7"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0" name="Freeform 1896">
                <a:extLst>
                  <a:ext uri="{FF2B5EF4-FFF2-40B4-BE49-F238E27FC236}">
                    <a16:creationId xmlns:a16="http://schemas.microsoft.com/office/drawing/2014/main" id="{D5773436-5277-4F0F-8ACB-E989C25FB76A}"/>
                  </a:ext>
                </a:extLst>
              </p:cNvPr>
              <p:cNvSpPr>
                <a:spLocks/>
              </p:cNvSpPr>
              <p:nvPr/>
            </p:nvSpPr>
            <p:spPr bwMode="auto">
              <a:xfrm>
                <a:off x="1797" y="4238"/>
                <a:ext cx="7" cy="3"/>
              </a:xfrm>
              <a:custGeom>
                <a:avLst/>
                <a:gdLst>
                  <a:gd name="T0" fmla="*/ 2 w 3"/>
                  <a:gd name="T1" fmla="*/ 0 h 1"/>
                  <a:gd name="T2" fmla="*/ 1 w 3"/>
                  <a:gd name="T3" fmla="*/ 1 h 1"/>
                  <a:gd name="T4" fmla="*/ 2 w 3"/>
                  <a:gd name="T5" fmla="*/ 0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0" y="0"/>
                      <a:pt x="1" y="1"/>
                    </a:cubicBezTo>
                    <a:cubicBezTo>
                      <a:pt x="1" y="1"/>
                      <a:pt x="2" y="1"/>
                      <a:pt x="2" y="0"/>
                    </a:cubicBezTo>
                    <a:cubicBezTo>
                      <a:pt x="2"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1" name="Freeform 1897">
                <a:extLst>
                  <a:ext uri="{FF2B5EF4-FFF2-40B4-BE49-F238E27FC236}">
                    <a16:creationId xmlns:a16="http://schemas.microsoft.com/office/drawing/2014/main" id="{376F9AF1-F654-454A-A9B4-D67DB092DAB2}"/>
                  </a:ext>
                </a:extLst>
              </p:cNvPr>
              <p:cNvSpPr>
                <a:spLocks/>
              </p:cNvSpPr>
              <p:nvPr/>
            </p:nvSpPr>
            <p:spPr bwMode="auto">
              <a:xfrm>
                <a:off x="1941" y="4267"/>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2" name="Freeform 1898">
                <a:extLst>
                  <a:ext uri="{FF2B5EF4-FFF2-40B4-BE49-F238E27FC236}">
                    <a16:creationId xmlns:a16="http://schemas.microsoft.com/office/drawing/2014/main" id="{A6BF3A74-9DD1-4B7B-B386-893184D30BCD}"/>
                  </a:ext>
                </a:extLst>
              </p:cNvPr>
              <p:cNvSpPr>
                <a:spLocks/>
              </p:cNvSpPr>
              <p:nvPr/>
            </p:nvSpPr>
            <p:spPr bwMode="auto">
              <a:xfrm>
                <a:off x="1764" y="4208"/>
                <a:ext cx="7" cy="4"/>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0" y="1"/>
                      <a:pt x="1" y="2"/>
                      <a:pt x="1" y="2"/>
                    </a:cubicBezTo>
                    <a:cubicBezTo>
                      <a:pt x="2" y="1"/>
                      <a:pt x="3"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3" name="Freeform 1899">
                <a:extLst>
                  <a:ext uri="{FF2B5EF4-FFF2-40B4-BE49-F238E27FC236}">
                    <a16:creationId xmlns:a16="http://schemas.microsoft.com/office/drawing/2014/main" id="{E633DB88-884D-415C-8C05-43D2587471C3}"/>
                  </a:ext>
                </a:extLst>
              </p:cNvPr>
              <p:cNvSpPr>
                <a:spLocks/>
              </p:cNvSpPr>
              <p:nvPr/>
            </p:nvSpPr>
            <p:spPr bwMode="auto">
              <a:xfrm>
                <a:off x="1750" y="4007"/>
                <a:ext cx="5" cy="2"/>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1"/>
                      <a:pt x="0" y="1"/>
                    </a:cubicBezTo>
                    <a:cubicBezTo>
                      <a:pt x="1"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4" name="Freeform 1900">
                <a:extLst>
                  <a:ext uri="{FF2B5EF4-FFF2-40B4-BE49-F238E27FC236}">
                    <a16:creationId xmlns:a16="http://schemas.microsoft.com/office/drawing/2014/main" id="{1D5ACA48-E831-4582-9CA3-10DA19A96756}"/>
                  </a:ext>
                </a:extLst>
              </p:cNvPr>
              <p:cNvSpPr>
                <a:spLocks/>
              </p:cNvSpPr>
              <p:nvPr/>
            </p:nvSpPr>
            <p:spPr bwMode="auto">
              <a:xfrm>
                <a:off x="1750" y="3924"/>
                <a:ext cx="7" cy="5"/>
              </a:xfrm>
              <a:custGeom>
                <a:avLst/>
                <a:gdLst>
                  <a:gd name="T0" fmla="*/ 0 w 3"/>
                  <a:gd name="T1" fmla="*/ 2 h 2"/>
                  <a:gd name="T2" fmla="*/ 3 w 3"/>
                  <a:gd name="T3" fmla="*/ 2 h 2"/>
                  <a:gd name="T4" fmla="*/ 1 w 3"/>
                  <a:gd name="T5" fmla="*/ 2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2"/>
                      <a:pt x="3" y="2"/>
                    </a:cubicBezTo>
                    <a:cubicBezTo>
                      <a:pt x="2" y="0"/>
                      <a:pt x="2" y="2"/>
                      <a:pt x="1" y="2"/>
                    </a:cubicBezTo>
                    <a:cubicBezTo>
                      <a:pt x="1" y="2"/>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5" name="Freeform 1901">
                <a:extLst>
                  <a:ext uri="{FF2B5EF4-FFF2-40B4-BE49-F238E27FC236}">
                    <a16:creationId xmlns:a16="http://schemas.microsoft.com/office/drawing/2014/main" id="{CB5986D8-DF75-4120-ADFD-6CA794DE22C2}"/>
                  </a:ext>
                </a:extLst>
              </p:cNvPr>
              <p:cNvSpPr>
                <a:spLocks/>
              </p:cNvSpPr>
              <p:nvPr/>
            </p:nvSpPr>
            <p:spPr bwMode="auto">
              <a:xfrm>
                <a:off x="1766" y="3929"/>
                <a:ext cx="5" cy="9"/>
              </a:xfrm>
              <a:custGeom>
                <a:avLst/>
                <a:gdLst>
                  <a:gd name="T0" fmla="*/ 0 w 2"/>
                  <a:gd name="T1" fmla="*/ 1 h 4"/>
                  <a:gd name="T2" fmla="*/ 2 w 2"/>
                  <a:gd name="T3" fmla="*/ 3 h 4"/>
                  <a:gd name="T4" fmla="*/ 0 w 2"/>
                  <a:gd name="T5" fmla="*/ 1 h 4"/>
                </a:gdLst>
                <a:ahLst/>
                <a:cxnLst>
                  <a:cxn ang="0">
                    <a:pos x="T0" y="T1"/>
                  </a:cxn>
                  <a:cxn ang="0">
                    <a:pos x="T2" y="T3"/>
                  </a:cxn>
                  <a:cxn ang="0">
                    <a:pos x="T4" y="T5"/>
                  </a:cxn>
                </a:cxnLst>
                <a:rect l="0" t="0" r="r" b="b"/>
                <a:pathLst>
                  <a:path w="2" h="4">
                    <a:moveTo>
                      <a:pt x="0" y="1"/>
                    </a:moveTo>
                    <a:cubicBezTo>
                      <a:pt x="0" y="1"/>
                      <a:pt x="0" y="4"/>
                      <a:pt x="2" y="3"/>
                    </a:cubicBezTo>
                    <a:cubicBezTo>
                      <a:pt x="1" y="2"/>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6" name="Freeform 1902">
                <a:extLst>
                  <a:ext uri="{FF2B5EF4-FFF2-40B4-BE49-F238E27FC236}">
                    <a16:creationId xmlns:a16="http://schemas.microsoft.com/office/drawing/2014/main" id="{31ADA627-FB47-4288-99F7-04BA545616A3}"/>
                  </a:ext>
                </a:extLst>
              </p:cNvPr>
              <p:cNvSpPr>
                <a:spLocks/>
              </p:cNvSpPr>
              <p:nvPr/>
            </p:nvSpPr>
            <p:spPr bwMode="auto">
              <a:xfrm>
                <a:off x="1738" y="4130"/>
                <a:ext cx="12" cy="14"/>
              </a:xfrm>
              <a:custGeom>
                <a:avLst/>
                <a:gdLst>
                  <a:gd name="T0" fmla="*/ 0 w 5"/>
                  <a:gd name="T1" fmla="*/ 6 h 6"/>
                  <a:gd name="T2" fmla="*/ 3 w 5"/>
                  <a:gd name="T3" fmla="*/ 4 h 6"/>
                  <a:gd name="T4" fmla="*/ 3 w 5"/>
                  <a:gd name="T5" fmla="*/ 4 h 6"/>
                  <a:gd name="T6" fmla="*/ 4 w 5"/>
                  <a:gd name="T7" fmla="*/ 5 h 6"/>
                  <a:gd name="T8" fmla="*/ 4 w 5"/>
                  <a:gd name="T9" fmla="*/ 4 h 6"/>
                  <a:gd name="T10" fmla="*/ 4 w 5"/>
                  <a:gd name="T11" fmla="*/ 4 h 6"/>
                  <a:gd name="T12" fmla="*/ 0 w 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6"/>
                    </a:moveTo>
                    <a:cubicBezTo>
                      <a:pt x="1" y="6"/>
                      <a:pt x="3" y="6"/>
                      <a:pt x="3" y="4"/>
                    </a:cubicBezTo>
                    <a:cubicBezTo>
                      <a:pt x="3" y="4"/>
                      <a:pt x="3" y="4"/>
                      <a:pt x="3" y="4"/>
                    </a:cubicBezTo>
                    <a:cubicBezTo>
                      <a:pt x="3" y="4"/>
                      <a:pt x="4" y="5"/>
                      <a:pt x="4" y="5"/>
                    </a:cubicBezTo>
                    <a:cubicBezTo>
                      <a:pt x="5" y="5"/>
                      <a:pt x="4" y="4"/>
                      <a:pt x="4" y="4"/>
                    </a:cubicBezTo>
                    <a:cubicBezTo>
                      <a:pt x="4" y="4"/>
                      <a:pt x="4" y="4"/>
                      <a:pt x="4" y="4"/>
                    </a:cubicBezTo>
                    <a:cubicBezTo>
                      <a:pt x="3" y="0"/>
                      <a:pt x="1"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7" name="Freeform 1903">
                <a:extLst>
                  <a:ext uri="{FF2B5EF4-FFF2-40B4-BE49-F238E27FC236}">
                    <a16:creationId xmlns:a16="http://schemas.microsoft.com/office/drawing/2014/main" id="{F110D016-DB21-4B81-9741-BCE7D260B78C}"/>
                  </a:ext>
                </a:extLst>
              </p:cNvPr>
              <p:cNvSpPr>
                <a:spLocks/>
              </p:cNvSpPr>
              <p:nvPr/>
            </p:nvSpPr>
            <p:spPr bwMode="auto">
              <a:xfrm>
                <a:off x="1731" y="4030"/>
                <a:ext cx="12" cy="7"/>
              </a:xfrm>
              <a:custGeom>
                <a:avLst/>
                <a:gdLst>
                  <a:gd name="T0" fmla="*/ 0 w 5"/>
                  <a:gd name="T1" fmla="*/ 2 h 3"/>
                  <a:gd name="T2" fmla="*/ 3 w 5"/>
                  <a:gd name="T3" fmla="*/ 3 h 3"/>
                  <a:gd name="T4" fmla="*/ 4 w 5"/>
                  <a:gd name="T5" fmla="*/ 0 h 3"/>
                  <a:gd name="T6" fmla="*/ 4 w 5"/>
                  <a:gd name="T7" fmla="*/ 2 h 3"/>
                  <a:gd name="T8" fmla="*/ 0 w 5"/>
                  <a:gd name="T9" fmla="*/ 2 h 3"/>
                </a:gdLst>
                <a:ahLst/>
                <a:cxnLst>
                  <a:cxn ang="0">
                    <a:pos x="T0" y="T1"/>
                  </a:cxn>
                  <a:cxn ang="0">
                    <a:pos x="T2" y="T3"/>
                  </a:cxn>
                  <a:cxn ang="0">
                    <a:pos x="T4" y="T5"/>
                  </a:cxn>
                  <a:cxn ang="0">
                    <a:pos x="T6" y="T7"/>
                  </a:cxn>
                  <a:cxn ang="0">
                    <a:pos x="T8" y="T9"/>
                  </a:cxn>
                </a:cxnLst>
                <a:rect l="0" t="0" r="r" b="b"/>
                <a:pathLst>
                  <a:path w="5" h="3">
                    <a:moveTo>
                      <a:pt x="0" y="2"/>
                    </a:moveTo>
                    <a:cubicBezTo>
                      <a:pt x="1" y="3"/>
                      <a:pt x="2" y="3"/>
                      <a:pt x="3" y="3"/>
                    </a:cubicBezTo>
                    <a:cubicBezTo>
                      <a:pt x="5" y="3"/>
                      <a:pt x="4" y="2"/>
                      <a:pt x="4" y="0"/>
                    </a:cubicBezTo>
                    <a:cubicBezTo>
                      <a:pt x="3" y="1"/>
                      <a:pt x="3" y="2"/>
                      <a:pt x="4" y="2"/>
                    </a:cubicBezTo>
                    <a:cubicBezTo>
                      <a:pt x="2" y="2"/>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8" name="Freeform 1904">
                <a:extLst>
                  <a:ext uri="{FF2B5EF4-FFF2-40B4-BE49-F238E27FC236}">
                    <a16:creationId xmlns:a16="http://schemas.microsoft.com/office/drawing/2014/main" id="{9CE62F76-B07D-4E9B-B5A6-33A8B7E38C47}"/>
                  </a:ext>
                </a:extLst>
              </p:cNvPr>
              <p:cNvSpPr>
                <a:spLocks/>
              </p:cNvSpPr>
              <p:nvPr/>
            </p:nvSpPr>
            <p:spPr bwMode="auto">
              <a:xfrm>
                <a:off x="1755" y="4149"/>
                <a:ext cx="9" cy="7"/>
              </a:xfrm>
              <a:custGeom>
                <a:avLst/>
                <a:gdLst>
                  <a:gd name="T0" fmla="*/ 1 w 4"/>
                  <a:gd name="T1" fmla="*/ 1 h 3"/>
                  <a:gd name="T2" fmla="*/ 1 w 4"/>
                  <a:gd name="T3" fmla="*/ 2 h 3"/>
                  <a:gd name="T4" fmla="*/ 2 w 4"/>
                  <a:gd name="T5" fmla="*/ 2 h 3"/>
                  <a:gd name="T6" fmla="*/ 3 w 4"/>
                  <a:gd name="T7" fmla="*/ 0 h 3"/>
                  <a:gd name="T8" fmla="*/ 2 w 4"/>
                  <a:gd name="T9" fmla="*/ 1 h 3"/>
                  <a:gd name="T10" fmla="*/ 1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1" y="1"/>
                    </a:moveTo>
                    <a:cubicBezTo>
                      <a:pt x="1" y="1"/>
                      <a:pt x="0" y="1"/>
                      <a:pt x="1" y="2"/>
                    </a:cubicBezTo>
                    <a:cubicBezTo>
                      <a:pt x="1" y="2"/>
                      <a:pt x="2" y="2"/>
                      <a:pt x="2" y="2"/>
                    </a:cubicBezTo>
                    <a:cubicBezTo>
                      <a:pt x="4" y="3"/>
                      <a:pt x="3" y="1"/>
                      <a:pt x="3" y="0"/>
                    </a:cubicBezTo>
                    <a:cubicBezTo>
                      <a:pt x="1" y="0"/>
                      <a:pt x="2" y="0"/>
                      <a:pt x="2" y="1"/>
                    </a:cubicBezTo>
                    <a:cubicBezTo>
                      <a:pt x="2"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9" name="Freeform 1905">
                <a:extLst>
                  <a:ext uri="{FF2B5EF4-FFF2-40B4-BE49-F238E27FC236}">
                    <a16:creationId xmlns:a16="http://schemas.microsoft.com/office/drawing/2014/main" id="{0680A7C3-EDD2-4C77-AA92-8B09D0557F3F}"/>
                  </a:ext>
                </a:extLst>
              </p:cNvPr>
              <p:cNvSpPr>
                <a:spLocks/>
              </p:cNvSpPr>
              <p:nvPr/>
            </p:nvSpPr>
            <p:spPr bwMode="auto">
              <a:xfrm>
                <a:off x="1731" y="4026"/>
                <a:ext cx="7" cy="4"/>
              </a:xfrm>
              <a:custGeom>
                <a:avLst/>
                <a:gdLst>
                  <a:gd name="T0" fmla="*/ 0 w 3"/>
                  <a:gd name="T1" fmla="*/ 1 h 2"/>
                  <a:gd name="T2" fmla="*/ 1 w 3"/>
                  <a:gd name="T3" fmla="*/ 2 h 2"/>
                  <a:gd name="T4" fmla="*/ 2 w 3"/>
                  <a:gd name="T5" fmla="*/ 1 h 2"/>
                  <a:gd name="T6" fmla="*/ 0 w 3"/>
                  <a:gd name="T7" fmla="*/ 1 h 2"/>
                </a:gdLst>
                <a:ahLst/>
                <a:cxnLst>
                  <a:cxn ang="0">
                    <a:pos x="T0" y="T1"/>
                  </a:cxn>
                  <a:cxn ang="0">
                    <a:pos x="T2" y="T3"/>
                  </a:cxn>
                  <a:cxn ang="0">
                    <a:pos x="T4" y="T5"/>
                  </a:cxn>
                  <a:cxn ang="0">
                    <a:pos x="T6" y="T7"/>
                  </a:cxn>
                </a:cxnLst>
                <a:rect l="0" t="0" r="r" b="b"/>
                <a:pathLst>
                  <a:path w="3" h="2">
                    <a:moveTo>
                      <a:pt x="0" y="1"/>
                    </a:moveTo>
                    <a:cubicBezTo>
                      <a:pt x="0" y="1"/>
                      <a:pt x="0" y="2"/>
                      <a:pt x="1" y="2"/>
                    </a:cubicBezTo>
                    <a:cubicBezTo>
                      <a:pt x="2" y="2"/>
                      <a:pt x="3" y="1"/>
                      <a:pt x="2" y="1"/>
                    </a:cubicBezTo>
                    <a:cubicBezTo>
                      <a:pt x="1"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0" name="Freeform 1906">
                <a:extLst>
                  <a:ext uri="{FF2B5EF4-FFF2-40B4-BE49-F238E27FC236}">
                    <a16:creationId xmlns:a16="http://schemas.microsoft.com/office/drawing/2014/main" id="{0439BB1F-3D0E-4356-9031-AB84D5D48841}"/>
                  </a:ext>
                </a:extLst>
              </p:cNvPr>
              <p:cNvSpPr>
                <a:spLocks/>
              </p:cNvSpPr>
              <p:nvPr/>
            </p:nvSpPr>
            <p:spPr bwMode="auto">
              <a:xfrm>
                <a:off x="1762" y="4172"/>
                <a:ext cx="7" cy="12"/>
              </a:xfrm>
              <a:custGeom>
                <a:avLst/>
                <a:gdLst>
                  <a:gd name="T0" fmla="*/ 3 w 3"/>
                  <a:gd name="T1" fmla="*/ 4 h 5"/>
                  <a:gd name="T2" fmla="*/ 3 w 3"/>
                  <a:gd name="T3" fmla="*/ 3 h 5"/>
                  <a:gd name="T4" fmla="*/ 3 w 3"/>
                  <a:gd name="T5" fmla="*/ 2 h 5"/>
                  <a:gd name="T6" fmla="*/ 0 w 3"/>
                  <a:gd name="T7" fmla="*/ 3 h 5"/>
                  <a:gd name="T8" fmla="*/ 1 w 3"/>
                  <a:gd name="T9" fmla="*/ 3 h 5"/>
                  <a:gd name="T10" fmla="*/ 1 w 3"/>
                  <a:gd name="T11" fmla="*/ 5 h 5"/>
                  <a:gd name="T12" fmla="*/ 3 w 3"/>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4"/>
                    </a:moveTo>
                    <a:cubicBezTo>
                      <a:pt x="3" y="4"/>
                      <a:pt x="3" y="3"/>
                      <a:pt x="3" y="3"/>
                    </a:cubicBezTo>
                    <a:cubicBezTo>
                      <a:pt x="3" y="2"/>
                      <a:pt x="3" y="2"/>
                      <a:pt x="3" y="2"/>
                    </a:cubicBezTo>
                    <a:cubicBezTo>
                      <a:pt x="3" y="0"/>
                      <a:pt x="0" y="2"/>
                      <a:pt x="0" y="3"/>
                    </a:cubicBezTo>
                    <a:cubicBezTo>
                      <a:pt x="0" y="3"/>
                      <a:pt x="1" y="3"/>
                      <a:pt x="1" y="3"/>
                    </a:cubicBezTo>
                    <a:cubicBezTo>
                      <a:pt x="1" y="4"/>
                      <a:pt x="1" y="5"/>
                      <a:pt x="1" y="5"/>
                    </a:cubicBezTo>
                    <a:cubicBezTo>
                      <a:pt x="2" y="5"/>
                      <a:pt x="2"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1" name="Freeform 1907">
                <a:extLst>
                  <a:ext uri="{FF2B5EF4-FFF2-40B4-BE49-F238E27FC236}">
                    <a16:creationId xmlns:a16="http://schemas.microsoft.com/office/drawing/2014/main" id="{3BFAE55C-18F6-4794-9626-E144116CB83B}"/>
                  </a:ext>
                </a:extLst>
              </p:cNvPr>
              <p:cNvSpPr>
                <a:spLocks/>
              </p:cNvSpPr>
              <p:nvPr/>
            </p:nvSpPr>
            <p:spPr bwMode="auto">
              <a:xfrm>
                <a:off x="1764" y="3936"/>
                <a:ext cx="2" cy="7"/>
              </a:xfrm>
              <a:custGeom>
                <a:avLst/>
                <a:gdLst>
                  <a:gd name="T0" fmla="*/ 1 w 1"/>
                  <a:gd name="T1" fmla="*/ 1 h 3"/>
                  <a:gd name="T2" fmla="*/ 1 w 1"/>
                  <a:gd name="T3" fmla="*/ 3 h 3"/>
                  <a:gd name="T4" fmla="*/ 1 w 1"/>
                  <a:gd name="T5" fmla="*/ 1 h 3"/>
                </a:gdLst>
                <a:ahLst/>
                <a:cxnLst>
                  <a:cxn ang="0">
                    <a:pos x="T0" y="T1"/>
                  </a:cxn>
                  <a:cxn ang="0">
                    <a:pos x="T2" y="T3"/>
                  </a:cxn>
                  <a:cxn ang="0">
                    <a:pos x="T4" y="T5"/>
                  </a:cxn>
                </a:cxnLst>
                <a:rect l="0" t="0" r="r" b="b"/>
                <a:pathLst>
                  <a:path w="1" h="3">
                    <a:moveTo>
                      <a:pt x="1" y="1"/>
                    </a:moveTo>
                    <a:cubicBezTo>
                      <a:pt x="0" y="0"/>
                      <a:pt x="1" y="3"/>
                      <a:pt x="1" y="3"/>
                    </a:cubicBezTo>
                    <a:cubicBezTo>
                      <a:pt x="1" y="3"/>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2" name="Freeform 1908">
                <a:extLst>
                  <a:ext uri="{FF2B5EF4-FFF2-40B4-BE49-F238E27FC236}">
                    <a16:creationId xmlns:a16="http://schemas.microsoft.com/office/drawing/2014/main" id="{21035218-051C-4A0C-93F7-29A3E3A6748A}"/>
                  </a:ext>
                </a:extLst>
              </p:cNvPr>
              <p:cNvSpPr>
                <a:spLocks/>
              </p:cNvSpPr>
              <p:nvPr/>
            </p:nvSpPr>
            <p:spPr bwMode="auto">
              <a:xfrm>
                <a:off x="1835" y="4257"/>
                <a:ext cx="19" cy="10"/>
              </a:xfrm>
              <a:custGeom>
                <a:avLst/>
                <a:gdLst>
                  <a:gd name="T0" fmla="*/ 5 w 8"/>
                  <a:gd name="T1" fmla="*/ 2 h 4"/>
                  <a:gd name="T2" fmla="*/ 2 w 8"/>
                  <a:gd name="T3" fmla="*/ 1 h 4"/>
                  <a:gd name="T4" fmla="*/ 5 w 8"/>
                  <a:gd name="T5" fmla="*/ 1 h 4"/>
                  <a:gd name="T6" fmla="*/ 5 w 8"/>
                  <a:gd name="T7" fmla="*/ 0 h 4"/>
                  <a:gd name="T8" fmla="*/ 7 w 8"/>
                  <a:gd name="T9" fmla="*/ 0 h 4"/>
                  <a:gd name="T10" fmla="*/ 3 w 8"/>
                  <a:gd name="T11" fmla="*/ 1 h 4"/>
                  <a:gd name="T12" fmla="*/ 2 w 8"/>
                  <a:gd name="T13" fmla="*/ 1 h 4"/>
                  <a:gd name="T14" fmla="*/ 1 w 8"/>
                  <a:gd name="T15" fmla="*/ 1 h 4"/>
                  <a:gd name="T16" fmla="*/ 0 w 8"/>
                  <a:gd name="T17" fmla="*/ 1 h 4"/>
                  <a:gd name="T18" fmla="*/ 6 w 8"/>
                  <a:gd name="T19" fmla="*/ 4 h 4"/>
                  <a:gd name="T20" fmla="*/ 7 w 8"/>
                  <a:gd name="T21" fmla="*/ 2 h 4"/>
                  <a:gd name="T22" fmla="*/ 5 w 8"/>
                  <a:gd name="T2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5" y="2"/>
                    </a:moveTo>
                    <a:cubicBezTo>
                      <a:pt x="4" y="2"/>
                      <a:pt x="3" y="2"/>
                      <a:pt x="2" y="1"/>
                    </a:cubicBezTo>
                    <a:cubicBezTo>
                      <a:pt x="3" y="1"/>
                      <a:pt x="4" y="1"/>
                      <a:pt x="5" y="1"/>
                    </a:cubicBezTo>
                    <a:cubicBezTo>
                      <a:pt x="5" y="1"/>
                      <a:pt x="5" y="1"/>
                      <a:pt x="5" y="0"/>
                    </a:cubicBezTo>
                    <a:cubicBezTo>
                      <a:pt x="6" y="0"/>
                      <a:pt x="6" y="0"/>
                      <a:pt x="7" y="0"/>
                    </a:cubicBezTo>
                    <a:cubicBezTo>
                      <a:pt x="5" y="0"/>
                      <a:pt x="4" y="0"/>
                      <a:pt x="3" y="1"/>
                    </a:cubicBezTo>
                    <a:cubicBezTo>
                      <a:pt x="2" y="1"/>
                      <a:pt x="2" y="0"/>
                      <a:pt x="2" y="1"/>
                    </a:cubicBezTo>
                    <a:cubicBezTo>
                      <a:pt x="1" y="1"/>
                      <a:pt x="1" y="1"/>
                      <a:pt x="1" y="1"/>
                    </a:cubicBezTo>
                    <a:cubicBezTo>
                      <a:pt x="1" y="0"/>
                      <a:pt x="0" y="1"/>
                      <a:pt x="0" y="1"/>
                    </a:cubicBezTo>
                    <a:cubicBezTo>
                      <a:pt x="2" y="2"/>
                      <a:pt x="4" y="3"/>
                      <a:pt x="6" y="4"/>
                    </a:cubicBezTo>
                    <a:cubicBezTo>
                      <a:pt x="7" y="3"/>
                      <a:pt x="8" y="2"/>
                      <a:pt x="7" y="2"/>
                    </a:cubicBezTo>
                    <a:cubicBezTo>
                      <a:pt x="7" y="2"/>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3" name="Freeform 1909">
                <a:extLst>
                  <a:ext uri="{FF2B5EF4-FFF2-40B4-BE49-F238E27FC236}">
                    <a16:creationId xmlns:a16="http://schemas.microsoft.com/office/drawing/2014/main" id="{D85DDDF8-82AE-4AD9-A87D-A93BDD4A6850}"/>
                  </a:ext>
                </a:extLst>
              </p:cNvPr>
              <p:cNvSpPr>
                <a:spLocks/>
              </p:cNvSpPr>
              <p:nvPr/>
            </p:nvSpPr>
            <p:spPr bwMode="auto">
              <a:xfrm>
                <a:off x="1826" y="4255"/>
                <a:ext cx="9" cy="5"/>
              </a:xfrm>
              <a:custGeom>
                <a:avLst/>
                <a:gdLst>
                  <a:gd name="T0" fmla="*/ 4 w 4"/>
                  <a:gd name="T1" fmla="*/ 1 h 2"/>
                  <a:gd name="T2" fmla="*/ 1 w 4"/>
                  <a:gd name="T3" fmla="*/ 0 h 2"/>
                  <a:gd name="T4" fmla="*/ 0 w 4"/>
                  <a:gd name="T5" fmla="*/ 2 h 2"/>
                  <a:gd name="T6" fmla="*/ 1 w 4"/>
                  <a:gd name="T7" fmla="*/ 0 h 2"/>
                  <a:gd name="T8" fmla="*/ 3 w 4"/>
                  <a:gd name="T9" fmla="*/ 1 h 2"/>
                  <a:gd name="T10" fmla="*/ 3 w 4"/>
                  <a:gd name="T11" fmla="*/ 2 h 2"/>
                  <a:gd name="T12" fmla="*/ 3 w 4"/>
                  <a:gd name="T13" fmla="*/ 1 h 2"/>
                  <a:gd name="T14" fmla="*/ 4 w 4"/>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1"/>
                    </a:moveTo>
                    <a:cubicBezTo>
                      <a:pt x="3" y="0"/>
                      <a:pt x="2" y="0"/>
                      <a:pt x="1" y="0"/>
                    </a:cubicBezTo>
                    <a:cubicBezTo>
                      <a:pt x="0" y="0"/>
                      <a:pt x="0" y="0"/>
                      <a:pt x="0" y="2"/>
                    </a:cubicBezTo>
                    <a:cubicBezTo>
                      <a:pt x="1" y="1"/>
                      <a:pt x="1" y="0"/>
                      <a:pt x="1" y="0"/>
                    </a:cubicBezTo>
                    <a:cubicBezTo>
                      <a:pt x="1" y="0"/>
                      <a:pt x="3" y="1"/>
                      <a:pt x="3" y="1"/>
                    </a:cubicBezTo>
                    <a:cubicBezTo>
                      <a:pt x="3" y="1"/>
                      <a:pt x="3" y="1"/>
                      <a:pt x="3" y="2"/>
                    </a:cubicBezTo>
                    <a:cubicBezTo>
                      <a:pt x="3" y="2"/>
                      <a:pt x="3" y="1"/>
                      <a:pt x="3" y="1"/>
                    </a:cubicBezTo>
                    <a:cubicBezTo>
                      <a:pt x="4" y="1"/>
                      <a:pt x="4"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4" name="Freeform 1910">
                <a:extLst>
                  <a:ext uri="{FF2B5EF4-FFF2-40B4-BE49-F238E27FC236}">
                    <a16:creationId xmlns:a16="http://schemas.microsoft.com/office/drawing/2014/main" id="{555B796A-FA36-4625-90CD-77D4535C2E8F}"/>
                  </a:ext>
                </a:extLst>
              </p:cNvPr>
              <p:cNvSpPr>
                <a:spLocks/>
              </p:cNvSpPr>
              <p:nvPr/>
            </p:nvSpPr>
            <p:spPr bwMode="auto">
              <a:xfrm>
                <a:off x="1745" y="4108"/>
                <a:ext cx="14" cy="17"/>
              </a:xfrm>
              <a:custGeom>
                <a:avLst/>
                <a:gdLst>
                  <a:gd name="T0" fmla="*/ 3 w 6"/>
                  <a:gd name="T1" fmla="*/ 2 h 7"/>
                  <a:gd name="T2" fmla="*/ 2 w 6"/>
                  <a:gd name="T3" fmla="*/ 2 h 7"/>
                  <a:gd name="T4" fmla="*/ 0 w 6"/>
                  <a:gd name="T5" fmla="*/ 2 h 7"/>
                  <a:gd name="T6" fmla="*/ 3 w 6"/>
                  <a:gd name="T7" fmla="*/ 7 h 7"/>
                  <a:gd name="T8" fmla="*/ 5 w 6"/>
                  <a:gd name="T9" fmla="*/ 7 h 7"/>
                  <a:gd name="T10" fmla="*/ 4 w 6"/>
                  <a:gd name="T11" fmla="*/ 5 h 7"/>
                  <a:gd name="T12" fmla="*/ 4 w 6"/>
                  <a:gd name="T13" fmla="*/ 5 h 7"/>
                  <a:gd name="T14" fmla="*/ 3 w 6"/>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3" y="2"/>
                    </a:moveTo>
                    <a:cubicBezTo>
                      <a:pt x="3" y="2"/>
                      <a:pt x="4" y="2"/>
                      <a:pt x="2" y="2"/>
                    </a:cubicBezTo>
                    <a:cubicBezTo>
                      <a:pt x="2" y="2"/>
                      <a:pt x="0" y="0"/>
                      <a:pt x="0" y="2"/>
                    </a:cubicBezTo>
                    <a:cubicBezTo>
                      <a:pt x="1" y="3"/>
                      <a:pt x="2" y="6"/>
                      <a:pt x="3" y="7"/>
                    </a:cubicBezTo>
                    <a:cubicBezTo>
                      <a:pt x="3" y="7"/>
                      <a:pt x="5" y="6"/>
                      <a:pt x="5" y="7"/>
                    </a:cubicBezTo>
                    <a:cubicBezTo>
                      <a:pt x="6" y="6"/>
                      <a:pt x="4" y="5"/>
                      <a:pt x="4" y="5"/>
                    </a:cubicBezTo>
                    <a:cubicBezTo>
                      <a:pt x="4" y="5"/>
                      <a:pt x="4" y="5"/>
                      <a:pt x="4" y="5"/>
                    </a:cubicBezTo>
                    <a:cubicBezTo>
                      <a:pt x="4" y="4"/>
                      <a:pt x="4" y="3"/>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5" name="Freeform 1911">
                <a:extLst>
                  <a:ext uri="{FF2B5EF4-FFF2-40B4-BE49-F238E27FC236}">
                    <a16:creationId xmlns:a16="http://schemas.microsoft.com/office/drawing/2014/main" id="{8C748D09-EF50-4ACF-AA59-501716C233E1}"/>
                  </a:ext>
                </a:extLst>
              </p:cNvPr>
              <p:cNvSpPr>
                <a:spLocks/>
              </p:cNvSpPr>
              <p:nvPr/>
            </p:nvSpPr>
            <p:spPr bwMode="auto">
              <a:xfrm>
                <a:off x="2329" y="2724"/>
                <a:ext cx="3" cy="3"/>
              </a:xfrm>
              <a:custGeom>
                <a:avLst/>
                <a:gdLst>
                  <a:gd name="T0" fmla="*/ 1 w 1"/>
                  <a:gd name="T1" fmla="*/ 0 h 1"/>
                  <a:gd name="T2" fmla="*/ 0 w 1"/>
                  <a:gd name="T3" fmla="*/ 1 h 1"/>
                  <a:gd name="T4" fmla="*/ 1 w 1"/>
                  <a:gd name="T5" fmla="*/ 0 h 1"/>
                  <a:gd name="T6" fmla="*/ 1 w 1"/>
                  <a:gd name="T7" fmla="*/ 0 h 1"/>
                  <a:gd name="T8" fmla="*/ 1 w 1"/>
                  <a:gd name="T9" fmla="*/ 0 h 1"/>
                  <a:gd name="T10" fmla="*/ 1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0" y="1"/>
                      <a:pt x="0" y="1"/>
                      <a:pt x="0" y="1"/>
                    </a:cubicBezTo>
                    <a:cubicBezTo>
                      <a:pt x="0" y="1"/>
                      <a:pt x="1" y="0"/>
                      <a:pt x="1" y="0"/>
                    </a:cubicBezTo>
                    <a:cubicBezTo>
                      <a:pt x="1" y="0"/>
                      <a:pt x="1" y="0"/>
                      <a:pt x="1" y="0"/>
                    </a:cubicBezTo>
                    <a:cubicBezTo>
                      <a:pt x="1" y="0"/>
                      <a:pt x="1"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6" name="Freeform 1912">
                <a:extLst>
                  <a:ext uri="{FF2B5EF4-FFF2-40B4-BE49-F238E27FC236}">
                    <a16:creationId xmlns:a16="http://schemas.microsoft.com/office/drawing/2014/main" id="{9577BAD7-859C-406E-9A07-8B4FA98C1C19}"/>
                  </a:ext>
                </a:extLst>
              </p:cNvPr>
              <p:cNvSpPr>
                <a:spLocks/>
              </p:cNvSpPr>
              <p:nvPr/>
            </p:nvSpPr>
            <p:spPr bwMode="auto">
              <a:xfrm>
                <a:off x="2317" y="2779"/>
                <a:ext cx="10" cy="4"/>
              </a:xfrm>
              <a:custGeom>
                <a:avLst/>
                <a:gdLst>
                  <a:gd name="T0" fmla="*/ 2 w 4"/>
                  <a:gd name="T1" fmla="*/ 1 h 2"/>
                  <a:gd name="T2" fmla="*/ 4 w 4"/>
                  <a:gd name="T3" fmla="*/ 0 h 2"/>
                  <a:gd name="T4" fmla="*/ 3 w 4"/>
                  <a:gd name="T5" fmla="*/ 0 h 2"/>
                  <a:gd name="T6" fmla="*/ 1 w 4"/>
                  <a:gd name="T7" fmla="*/ 0 h 2"/>
                  <a:gd name="T8" fmla="*/ 0 w 4"/>
                  <a:gd name="T9" fmla="*/ 1 h 2"/>
                  <a:gd name="T10" fmla="*/ 1 w 4"/>
                  <a:gd name="T11" fmla="*/ 2 h 2"/>
                  <a:gd name="T12" fmla="*/ 1 w 4"/>
                  <a:gd name="T13" fmla="*/ 2 h 2"/>
                  <a:gd name="T14" fmla="*/ 2 w 4"/>
                  <a:gd name="T15" fmla="*/ 2 h 2"/>
                  <a:gd name="T16" fmla="*/ 2 w 4"/>
                  <a:gd name="T17" fmla="*/ 2 h 2"/>
                  <a:gd name="T18" fmla="*/ 2 w 4"/>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2" y="1"/>
                    </a:moveTo>
                    <a:cubicBezTo>
                      <a:pt x="3" y="1"/>
                      <a:pt x="4" y="0"/>
                      <a:pt x="4" y="0"/>
                    </a:cubicBezTo>
                    <a:cubicBezTo>
                      <a:pt x="4" y="0"/>
                      <a:pt x="3" y="0"/>
                      <a:pt x="3" y="0"/>
                    </a:cubicBezTo>
                    <a:cubicBezTo>
                      <a:pt x="2" y="0"/>
                      <a:pt x="2" y="0"/>
                      <a:pt x="1" y="0"/>
                    </a:cubicBezTo>
                    <a:cubicBezTo>
                      <a:pt x="1" y="0"/>
                      <a:pt x="0" y="0"/>
                      <a:pt x="0" y="1"/>
                    </a:cubicBezTo>
                    <a:cubicBezTo>
                      <a:pt x="0" y="2"/>
                      <a:pt x="0" y="2"/>
                      <a:pt x="1" y="2"/>
                    </a:cubicBezTo>
                    <a:cubicBezTo>
                      <a:pt x="1" y="2"/>
                      <a:pt x="1" y="2"/>
                      <a:pt x="1" y="2"/>
                    </a:cubicBezTo>
                    <a:cubicBezTo>
                      <a:pt x="2" y="2"/>
                      <a:pt x="2" y="2"/>
                      <a:pt x="2" y="2"/>
                    </a:cubicBezTo>
                    <a:cubicBezTo>
                      <a:pt x="2" y="2"/>
                      <a:pt x="2" y="2"/>
                      <a:pt x="2" y="2"/>
                    </a:cubicBezTo>
                    <a:cubicBezTo>
                      <a:pt x="2" y="2"/>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7" name="Freeform 1913">
                <a:extLst>
                  <a:ext uri="{FF2B5EF4-FFF2-40B4-BE49-F238E27FC236}">
                    <a16:creationId xmlns:a16="http://schemas.microsoft.com/office/drawing/2014/main" id="{9A161D41-3D46-4CD9-8ED8-2B10CF4E613D}"/>
                  </a:ext>
                </a:extLst>
              </p:cNvPr>
              <p:cNvSpPr>
                <a:spLocks/>
              </p:cNvSpPr>
              <p:nvPr/>
            </p:nvSpPr>
            <p:spPr bwMode="auto">
              <a:xfrm>
                <a:off x="2332" y="2767"/>
                <a:ext cx="21" cy="9"/>
              </a:xfrm>
              <a:custGeom>
                <a:avLst/>
                <a:gdLst>
                  <a:gd name="T0" fmla="*/ 5 w 9"/>
                  <a:gd name="T1" fmla="*/ 1 h 4"/>
                  <a:gd name="T2" fmla="*/ 4 w 9"/>
                  <a:gd name="T3" fmla="*/ 1 h 4"/>
                  <a:gd name="T4" fmla="*/ 3 w 9"/>
                  <a:gd name="T5" fmla="*/ 2 h 4"/>
                  <a:gd name="T6" fmla="*/ 2 w 9"/>
                  <a:gd name="T7" fmla="*/ 2 h 4"/>
                  <a:gd name="T8" fmla="*/ 1 w 9"/>
                  <a:gd name="T9" fmla="*/ 2 h 4"/>
                  <a:gd name="T10" fmla="*/ 1 w 9"/>
                  <a:gd name="T11" fmla="*/ 4 h 4"/>
                  <a:gd name="T12" fmla="*/ 3 w 9"/>
                  <a:gd name="T13" fmla="*/ 4 h 4"/>
                  <a:gd name="T14" fmla="*/ 5 w 9"/>
                  <a:gd name="T15" fmla="*/ 4 h 4"/>
                  <a:gd name="T16" fmla="*/ 5 w 9"/>
                  <a:gd name="T17" fmla="*/ 4 h 4"/>
                  <a:gd name="T18" fmla="*/ 6 w 9"/>
                  <a:gd name="T19" fmla="*/ 4 h 4"/>
                  <a:gd name="T20" fmla="*/ 6 w 9"/>
                  <a:gd name="T21" fmla="*/ 3 h 4"/>
                  <a:gd name="T22" fmla="*/ 7 w 9"/>
                  <a:gd name="T23" fmla="*/ 3 h 4"/>
                  <a:gd name="T24" fmla="*/ 8 w 9"/>
                  <a:gd name="T25" fmla="*/ 2 h 4"/>
                  <a:gd name="T26" fmla="*/ 5 w 9"/>
                  <a:gd name="T2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4">
                    <a:moveTo>
                      <a:pt x="5" y="1"/>
                    </a:moveTo>
                    <a:cubicBezTo>
                      <a:pt x="4" y="1"/>
                      <a:pt x="4" y="1"/>
                      <a:pt x="4" y="1"/>
                    </a:cubicBezTo>
                    <a:cubicBezTo>
                      <a:pt x="4" y="1"/>
                      <a:pt x="4" y="2"/>
                      <a:pt x="3" y="2"/>
                    </a:cubicBezTo>
                    <a:cubicBezTo>
                      <a:pt x="3" y="2"/>
                      <a:pt x="2" y="2"/>
                      <a:pt x="2" y="2"/>
                    </a:cubicBezTo>
                    <a:cubicBezTo>
                      <a:pt x="1" y="2"/>
                      <a:pt x="1" y="2"/>
                      <a:pt x="1" y="2"/>
                    </a:cubicBezTo>
                    <a:cubicBezTo>
                      <a:pt x="0" y="3"/>
                      <a:pt x="0" y="4"/>
                      <a:pt x="1" y="4"/>
                    </a:cubicBezTo>
                    <a:cubicBezTo>
                      <a:pt x="1" y="4"/>
                      <a:pt x="2" y="4"/>
                      <a:pt x="3" y="4"/>
                    </a:cubicBezTo>
                    <a:cubicBezTo>
                      <a:pt x="4" y="4"/>
                      <a:pt x="5" y="4"/>
                      <a:pt x="5" y="4"/>
                    </a:cubicBezTo>
                    <a:cubicBezTo>
                      <a:pt x="5" y="4"/>
                      <a:pt x="5" y="4"/>
                      <a:pt x="5" y="4"/>
                    </a:cubicBezTo>
                    <a:cubicBezTo>
                      <a:pt x="5" y="4"/>
                      <a:pt x="6" y="4"/>
                      <a:pt x="6" y="4"/>
                    </a:cubicBezTo>
                    <a:cubicBezTo>
                      <a:pt x="6" y="3"/>
                      <a:pt x="6" y="3"/>
                      <a:pt x="6" y="3"/>
                    </a:cubicBezTo>
                    <a:cubicBezTo>
                      <a:pt x="6" y="3"/>
                      <a:pt x="7" y="3"/>
                      <a:pt x="7" y="3"/>
                    </a:cubicBezTo>
                    <a:cubicBezTo>
                      <a:pt x="7" y="2"/>
                      <a:pt x="8" y="2"/>
                      <a:pt x="8" y="2"/>
                    </a:cubicBezTo>
                    <a:cubicBezTo>
                      <a:pt x="9" y="0"/>
                      <a:pt x="5"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8" name="Freeform 1914">
                <a:extLst>
                  <a:ext uri="{FF2B5EF4-FFF2-40B4-BE49-F238E27FC236}">
                    <a16:creationId xmlns:a16="http://schemas.microsoft.com/office/drawing/2014/main" id="{84D2EECD-CFAF-46DA-A168-8FF85FCAFF8C}"/>
                  </a:ext>
                </a:extLst>
              </p:cNvPr>
              <p:cNvSpPr>
                <a:spLocks/>
              </p:cNvSpPr>
              <p:nvPr/>
            </p:nvSpPr>
            <p:spPr bwMode="auto">
              <a:xfrm>
                <a:off x="1979" y="4248"/>
                <a:ext cx="29" cy="9"/>
              </a:xfrm>
              <a:custGeom>
                <a:avLst/>
                <a:gdLst>
                  <a:gd name="T0" fmla="*/ 3 w 12"/>
                  <a:gd name="T1" fmla="*/ 4 h 4"/>
                  <a:gd name="T2" fmla="*/ 12 w 12"/>
                  <a:gd name="T3" fmla="*/ 1 h 4"/>
                  <a:gd name="T4" fmla="*/ 3 w 12"/>
                  <a:gd name="T5" fmla="*/ 4 h 4"/>
                </a:gdLst>
                <a:ahLst/>
                <a:cxnLst>
                  <a:cxn ang="0">
                    <a:pos x="T0" y="T1"/>
                  </a:cxn>
                  <a:cxn ang="0">
                    <a:pos x="T2" y="T3"/>
                  </a:cxn>
                  <a:cxn ang="0">
                    <a:pos x="T4" y="T5"/>
                  </a:cxn>
                </a:cxnLst>
                <a:rect l="0" t="0" r="r" b="b"/>
                <a:pathLst>
                  <a:path w="12" h="4">
                    <a:moveTo>
                      <a:pt x="3" y="4"/>
                    </a:moveTo>
                    <a:cubicBezTo>
                      <a:pt x="6" y="3"/>
                      <a:pt x="9" y="2"/>
                      <a:pt x="12" y="1"/>
                    </a:cubicBezTo>
                    <a:cubicBezTo>
                      <a:pt x="11" y="1"/>
                      <a:pt x="0" y="0"/>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9" name="Freeform 1915">
                <a:extLst>
                  <a:ext uri="{FF2B5EF4-FFF2-40B4-BE49-F238E27FC236}">
                    <a16:creationId xmlns:a16="http://schemas.microsoft.com/office/drawing/2014/main" id="{113CB521-8707-4BDF-BB5D-256D0A307D82}"/>
                  </a:ext>
                </a:extLst>
              </p:cNvPr>
              <p:cNvSpPr>
                <a:spLocks/>
              </p:cNvSpPr>
              <p:nvPr/>
            </p:nvSpPr>
            <p:spPr bwMode="auto">
              <a:xfrm>
                <a:off x="2050" y="3772"/>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1"/>
                      <a:pt x="2" y="2"/>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0" name="Freeform 1916">
                <a:extLst>
                  <a:ext uri="{FF2B5EF4-FFF2-40B4-BE49-F238E27FC236}">
                    <a16:creationId xmlns:a16="http://schemas.microsoft.com/office/drawing/2014/main" id="{B26D11EF-C1DE-466A-879D-ED3264D89658}"/>
                  </a:ext>
                </a:extLst>
              </p:cNvPr>
              <p:cNvSpPr>
                <a:spLocks/>
              </p:cNvSpPr>
              <p:nvPr/>
            </p:nvSpPr>
            <p:spPr bwMode="auto">
              <a:xfrm>
                <a:off x="2107" y="4137"/>
                <a:ext cx="52" cy="35"/>
              </a:xfrm>
              <a:custGeom>
                <a:avLst/>
                <a:gdLst>
                  <a:gd name="T0" fmla="*/ 16 w 22"/>
                  <a:gd name="T1" fmla="*/ 4 h 15"/>
                  <a:gd name="T2" fmla="*/ 19 w 22"/>
                  <a:gd name="T3" fmla="*/ 3 h 15"/>
                  <a:gd name="T4" fmla="*/ 15 w 22"/>
                  <a:gd name="T5" fmla="*/ 2 h 15"/>
                  <a:gd name="T6" fmla="*/ 15 w 22"/>
                  <a:gd name="T7" fmla="*/ 6 h 15"/>
                  <a:gd name="T8" fmla="*/ 14 w 22"/>
                  <a:gd name="T9" fmla="*/ 5 h 15"/>
                  <a:gd name="T10" fmla="*/ 14 w 22"/>
                  <a:gd name="T11" fmla="*/ 5 h 15"/>
                  <a:gd name="T12" fmla="*/ 13 w 22"/>
                  <a:gd name="T13" fmla="*/ 4 h 15"/>
                  <a:gd name="T14" fmla="*/ 13 w 22"/>
                  <a:gd name="T15" fmla="*/ 3 h 15"/>
                  <a:gd name="T16" fmla="*/ 12 w 22"/>
                  <a:gd name="T17" fmla="*/ 3 h 15"/>
                  <a:gd name="T18" fmla="*/ 12 w 22"/>
                  <a:gd name="T19" fmla="*/ 3 h 15"/>
                  <a:gd name="T20" fmla="*/ 14 w 22"/>
                  <a:gd name="T21" fmla="*/ 2 h 15"/>
                  <a:gd name="T22" fmla="*/ 12 w 22"/>
                  <a:gd name="T23" fmla="*/ 1 h 15"/>
                  <a:gd name="T24" fmla="*/ 8 w 22"/>
                  <a:gd name="T25" fmla="*/ 0 h 15"/>
                  <a:gd name="T26" fmla="*/ 6 w 22"/>
                  <a:gd name="T27" fmla="*/ 2 h 15"/>
                  <a:gd name="T28" fmla="*/ 7 w 22"/>
                  <a:gd name="T29" fmla="*/ 5 h 15"/>
                  <a:gd name="T30" fmla="*/ 6 w 22"/>
                  <a:gd name="T31" fmla="*/ 4 h 15"/>
                  <a:gd name="T32" fmla="*/ 7 w 22"/>
                  <a:gd name="T33" fmla="*/ 6 h 15"/>
                  <a:gd name="T34" fmla="*/ 7 w 22"/>
                  <a:gd name="T35" fmla="*/ 8 h 15"/>
                  <a:gd name="T36" fmla="*/ 5 w 22"/>
                  <a:gd name="T37" fmla="*/ 7 h 15"/>
                  <a:gd name="T38" fmla="*/ 0 w 22"/>
                  <a:gd name="T39" fmla="*/ 12 h 15"/>
                  <a:gd name="T40" fmla="*/ 1 w 22"/>
                  <a:gd name="T41" fmla="*/ 13 h 15"/>
                  <a:gd name="T42" fmla="*/ 1 w 22"/>
                  <a:gd name="T43" fmla="*/ 13 h 15"/>
                  <a:gd name="T44" fmla="*/ 2 w 22"/>
                  <a:gd name="T45" fmla="*/ 14 h 15"/>
                  <a:gd name="T46" fmla="*/ 2 w 22"/>
                  <a:gd name="T47" fmla="*/ 14 h 15"/>
                  <a:gd name="T48" fmla="*/ 4 w 22"/>
                  <a:gd name="T49" fmla="*/ 15 h 15"/>
                  <a:gd name="T50" fmla="*/ 3 w 22"/>
                  <a:gd name="T51" fmla="*/ 12 h 15"/>
                  <a:gd name="T52" fmla="*/ 4 w 22"/>
                  <a:gd name="T53" fmla="*/ 13 h 15"/>
                  <a:gd name="T54" fmla="*/ 6 w 22"/>
                  <a:gd name="T55" fmla="*/ 13 h 15"/>
                  <a:gd name="T56" fmla="*/ 4 w 22"/>
                  <a:gd name="T57" fmla="*/ 11 h 15"/>
                  <a:gd name="T58" fmla="*/ 7 w 22"/>
                  <a:gd name="T59" fmla="*/ 11 h 15"/>
                  <a:gd name="T60" fmla="*/ 9 w 22"/>
                  <a:gd name="T61" fmla="*/ 12 h 15"/>
                  <a:gd name="T62" fmla="*/ 10 w 22"/>
                  <a:gd name="T63" fmla="*/ 11 h 15"/>
                  <a:gd name="T64" fmla="*/ 11 w 22"/>
                  <a:gd name="T65" fmla="*/ 12 h 15"/>
                  <a:gd name="T66" fmla="*/ 11 w 22"/>
                  <a:gd name="T67" fmla="*/ 11 h 15"/>
                  <a:gd name="T68" fmla="*/ 8 w 22"/>
                  <a:gd name="T69" fmla="*/ 9 h 15"/>
                  <a:gd name="T70" fmla="*/ 8 w 22"/>
                  <a:gd name="T71" fmla="*/ 8 h 15"/>
                  <a:gd name="T72" fmla="*/ 10 w 22"/>
                  <a:gd name="T73" fmla="*/ 9 h 15"/>
                  <a:gd name="T74" fmla="*/ 11 w 22"/>
                  <a:gd name="T75" fmla="*/ 9 h 15"/>
                  <a:gd name="T76" fmla="*/ 13 w 22"/>
                  <a:gd name="T77" fmla="*/ 9 h 15"/>
                  <a:gd name="T78" fmla="*/ 14 w 22"/>
                  <a:gd name="T79" fmla="*/ 9 h 15"/>
                  <a:gd name="T80" fmla="*/ 16 w 22"/>
                  <a:gd name="T81" fmla="*/ 7 h 15"/>
                  <a:gd name="T82" fmla="*/ 20 w 22"/>
                  <a:gd name="T83" fmla="*/ 6 h 15"/>
                  <a:gd name="T84" fmla="*/ 16 w 22"/>
                  <a:gd name="T8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 h="15">
                    <a:moveTo>
                      <a:pt x="16" y="4"/>
                    </a:moveTo>
                    <a:cubicBezTo>
                      <a:pt x="16" y="3"/>
                      <a:pt x="22" y="6"/>
                      <a:pt x="19" y="3"/>
                    </a:cubicBezTo>
                    <a:cubicBezTo>
                      <a:pt x="18" y="2"/>
                      <a:pt x="16" y="2"/>
                      <a:pt x="15" y="2"/>
                    </a:cubicBezTo>
                    <a:cubicBezTo>
                      <a:pt x="13" y="3"/>
                      <a:pt x="16" y="5"/>
                      <a:pt x="15" y="6"/>
                    </a:cubicBezTo>
                    <a:cubicBezTo>
                      <a:pt x="15" y="5"/>
                      <a:pt x="15" y="5"/>
                      <a:pt x="14" y="5"/>
                    </a:cubicBezTo>
                    <a:cubicBezTo>
                      <a:pt x="14" y="4"/>
                      <a:pt x="14" y="5"/>
                      <a:pt x="14" y="5"/>
                    </a:cubicBezTo>
                    <a:cubicBezTo>
                      <a:pt x="14" y="4"/>
                      <a:pt x="13" y="4"/>
                      <a:pt x="13" y="4"/>
                    </a:cubicBezTo>
                    <a:cubicBezTo>
                      <a:pt x="13" y="4"/>
                      <a:pt x="13" y="3"/>
                      <a:pt x="13" y="3"/>
                    </a:cubicBezTo>
                    <a:cubicBezTo>
                      <a:pt x="13" y="3"/>
                      <a:pt x="12" y="4"/>
                      <a:pt x="12" y="3"/>
                    </a:cubicBezTo>
                    <a:cubicBezTo>
                      <a:pt x="12" y="3"/>
                      <a:pt x="12" y="3"/>
                      <a:pt x="12" y="3"/>
                    </a:cubicBezTo>
                    <a:cubicBezTo>
                      <a:pt x="13" y="2"/>
                      <a:pt x="15" y="4"/>
                      <a:pt x="14" y="2"/>
                    </a:cubicBezTo>
                    <a:cubicBezTo>
                      <a:pt x="13" y="1"/>
                      <a:pt x="13" y="1"/>
                      <a:pt x="12" y="1"/>
                    </a:cubicBezTo>
                    <a:cubicBezTo>
                      <a:pt x="11" y="1"/>
                      <a:pt x="9" y="2"/>
                      <a:pt x="8" y="0"/>
                    </a:cubicBezTo>
                    <a:cubicBezTo>
                      <a:pt x="9" y="2"/>
                      <a:pt x="9" y="2"/>
                      <a:pt x="6" y="2"/>
                    </a:cubicBezTo>
                    <a:cubicBezTo>
                      <a:pt x="7" y="3"/>
                      <a:pt x="8" y="4"/>
                      <a:pt x="7" y="5"/>
                    </a:cubicBezTo>
                    <a:cubicBezTo>
                      <a:pt x="7" y="4"/>
                      <a:pt x="6" y="4"/>
                      <a:pt x="6" y="4"/>
                    </a:cubicBezTo>
                    <a:cubicBezTo>
                      <a:pt x="6" y="6"/>
                      <a:pt x="7" y="5"/>
                      <a:pt x="7" y="6"/>
                    </a:cubicBezTo>
                    <a:cubicBezTo>
                      <a:pt x="8" y="6"/>
                      <a:pt x="7" y="7"/>
                      <a:pt x="7" y="8"/>
                    </a:cubicBezTo>
                    <a:cubicBezTo>
                      <a:pt x="7" y="7"/>
                      <a:pt x="7" y="6"/>
                      <a:pt x="5" y="7"/>
                    </a:cubicBezTo>
                    <a:cubicBezTo>
                      <a:pt x="3" y="7"/>
                      <a:pt x="1" y="10"/>
                      <a:pt x="0" y="12"/>
                    </a:cubicBezTo>
                    <a:cubicBezTo>
                      <a:pt x="0" y="12"/>
                      <a:pt x="1" y="13"/>
                      <a:pt x="1" y="13"/>
                    </a:cubicBezTo>
                    <a:cubicBezTo>
                      <a:pt x="1" y="13"/>
                      <a:pt x="1" y="13"/>
                      <a:pt x="1" y="13"/>
                    </a:cubicBezTo>
                    <a:cubicBezTo>
                      <a:pt x="2" y="13"/>
                      <a:pt x="1" y="14"/>
                      <a:pt x="2" y="14"/>
                    </a:cubicBezTo>
                    <a:cubicBezTo>
                      <a:pt x="2" y="14"/>
                      <a:pt x="2" y="14"/>
                      <a:pt x="2" y="14"/>
                    </a:cubicBezTo>
                    <a:cubicBezTo>
                      <a:pt x="3" y="14"/>
                      <a:pt x="3" y="15"/>
                      <a:pt x="4" y="15"/>
                    </a:cubicBezTo>
                    <a:cubicBezTo>
                      <a:pt x="4" y="14"/>
                      <a:pt x="3" y="13"/>
                      <a:pt x="3" y="12"/>
                    </a:cubicBezTo>
                    <a:cubicBezTo>
                      <a:pt x="3" y="12"/>
                      <a:pt x="4" y="12"/>
                      <a:pt x="4" y="13"/>
                    </a:cubicBezTo>
                    <a:cubicBezTo>
                      <a:pt x="5" y="13"/>
                      <a:pt x="5" y="13"/>
                      <a:pt x="6" y="13"/>
                    </a:cubicBezTo>
                    <a:cubicBezTo>
                      <a:pt x="8" y="14"/>
                      <a:pt x="6" y="11"/>
                      <a:pt x="4" y="11"/>
                    </a:cubicBezTo>
                    <a:cubicBezTo>
                      <a:pt x="5" y="10"/>
                      <a:pt x="6" y="10"/>
                      <a:pt x="7" y="11"/>
                    </a:cubicBezTo>
                    <a:cubicBezTo>
                      <a:pt x="8" y="11"/>
                      <a:pt x="8" y="12"/>
                      <a:pt x="9" y="12"/>
                    </a:cubicBezTo>
                    <a:cubicBezTo>
                      <a:pt x="9" y="11"/>
                      <a:pt x="9" y="11"/>
                      <a:pt x="10" y="11"/>
                    </a:cubicBezTo>
                    <a:cubicBezTo>
                      <a:pt x="10" y="11"/>
                      <a:pt x="11" y="12"/>
                      <a:pt x="11" y="12"/>
                    </a:cubicBezTo>
                    <a:cubicBezTo>
                      <a:pt x="11" y="12"/>
                      <a:pt x="11" y="11"/>
                      <a:pt x="11" y="11"/>
                    </a:cubicBezTo>
                    <a:cubicBezTo>
                      <a:pt x="10" y="10"/>
                      <a:pt x="9" y="10"/>
                      <a:pt x="8" y="9"/>
                    </a:cubicBezTo>
                    <a:cubicBezTo>
                      <a:pt x="8" y="8"/>
                      <a:pt x="7" y="8"/>
                      <a:pt x="8" y="8"/>
                    </a:cubicBezTo>
                    <a:cubicBezTo>
                      <a:pt x="9" y="8"/>
                      <a:pt x="9" y="9"/>
                      <a:pt x="10" y="9"/>
                    </a:cubicBezTo>
                    <a:cubicBezTo>
                      <a:pt x="10" y="9"/>
                      <a:pt x="10" y="9"/>
                      <a:pt x="11" y="9"/>
                    </a:cubicBezTo>
                    <a:cubicBezTo>
                      <a:pt x="11" y="9"/>
                      <a:pt x="12" y="9"/>
                      <a:pt x="13" y="9"/>
                    </a:cubicBezTo>
                    <a:cubicBezTo>
                      <a:pt x="13" y="9"/>
                      <a:pt x="14" y="9"/>
                      <a:pt x="14" y="9"/>
                    </a:cubicBezTo>
                    <a:cubicBezTo>
                      <a:pt x="15" y="8"/>
                      <a:pt x="16" y="7"/>
                      <a:pt x="16" y="7"/>
                    </a:cubicBezTo>
                    <a:cubicBezTo>
                      <a:pt x="17" y="7"/>
                      <a:pt x="19" y="7"/>
                      <a:pt x="20" y="6"/>
                    </a:cubicBezTo>
                    <a:cubicBezTo>
                      <a:pt x="19" y="5"/>
                      <a:pt x="16" y="5"/>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1" name="Freeform 1917">
                <a:extLst>
                  <a:ext uri="{FF2B5EF4-FFF2-40B4-BE49-F238E27FC236}">
                    <a16:creationId xmlns:a16="http://schemas.microsoft.com/office/drawing/2014/main" id="{0C6FD5E8-6FE9-49D6-A6CF-8270FA46DE72}"/>
                  </a:ext>
                </a:extLst>
              </p:cNvPr>
              <p:cNvSpPr>
                <a:spLocks/>
              </p:cNvSpPr>
              <p:nvPr/>
            </p:nvSpPr>
            <p:spPr bwMode="auto">
              <a:xfrm>
                <a:off x="2071" y="4153"/>
                <a:ext cx="10" cy="7"/>
              </a:xfrm>
              <a:custGeom>
                <a:avLst/>
                <a:gdLst>
                  <a:gd name="T0" fmla="*/ 3 w 4"/>
                  <a:gd name="T1" fmla="*/ 1 h 3"/>
                  <a:gd name="T2" fmla="*/ 2 w 4"/>
                  <a:gd name="T3" fmla="*/ 0 h 3"/>
                  <a:gd name="T4" fmla="*/ 1 w 4"/>
                  <a:gd name="T5" fmla="*/ 1 h 3"/>
                  <a:gd name="T6" fmla="*/ 0 w 4"/>
                  <a:gd name="T7" fmla="*/ 1 h 3"/>
                  <a:gd name="T8" fmla="*/ 2 w 4"/>
                  <a:gd name="T9" fmla="*/ 3 h 3"/>
                  <a:gd name="T10" fmla="*/ 3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3" y="1"/>
                    </a:moveTo>
                    <a:cubicBezTo>
                      <a:pt x="3" y="1"/>
                      <a:pt x="4" y="0"/>
                      <a:pt x="2" y="0"/>
                    </a:cubicBezTo>
                    <a:cubicBezTo>
                      <a:pt x="2" y="0"/>
                      <a:pt x="1" y="1"/>
                      <a:pt x="1" y="1"/>
                    </a:cubicBezTo>
                    <a:cubicBezTo>
                      <a:pt x="1" y="1"/>
                      <a:pt x="0" y="1"/>
                      <a:pt x="0" y="1"/>
                    </a:cubicBezTo>
                    <a:cubicBezTo>
                      <a:pt x="1" y="2"/>
                      <a:pt x="1" y="2"/>
                      <a:pt x="2" y="3"/>
                    </a:cubicBezTo>
                    <a:cubicBezTo>
                      <a:pt x="3" y="3"/>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2" name="Freeform 1918">
                <a:extLst>
                  <a:ext uri="{FF2B5EF4-FFF2-40B4-BE49-F238E27FC236}">
                    <a16:creationId xmlns:a16="http://schemas.microsoft.com/office/drawing/2014/main" id="{19679BB3-0A5B-4633-9B47-D9A45C5A9CE1}"/>
                  </a:ext>
                </a:extLst>
              </p:cNvPr>
              <p:cNvSpPr>
                <a:spLocks/>
              </p:cNvSpPr>
              <p:nvPr/>
            </p:nvSpPr>
            <p:spPr bwMode="auto">
              <a:xfrm>
                <a:off x="2076" y="4139"/>
                <a:ext cx="43" cy="31"/>
              </a:xfrm>
              <a:custGeom>
                <a:avLst/>
                <a:gdLst>
                  <a:gd name="T0" fmla="*/ 15 w 18"/>
                  <a:gd name="T1" fmla="*/ 5 h 13"/>
                  <a:gd name="T2" fmla="*/ 15 w 18"/>
                  <a:gd name="T3" fmla="*/ 4 h 13"/>
                  <a:gd name="T4" fmla="*/ 16 w 18"/>
                  <a:gd name="T5" fmla="*/ 4 h 13"/>
                  <a:gd name="T6" fmla="*/ 17 w 18"/>
                  <a:gd name="T7" fmla="*/ 3 h 13"/>
                  <a:gd name="T8" fmla="*/ 18 w 18"/>
                  <a:gd name="T9" fmla="*/ 1 h 13"/>
                  <a:gd name="T10" fmla="*/ 16 w 18"/>
                  <a:gd name="T11" fmla="*/ 1 h 13"/>
                  <a:gd name="T12" fmla="*/ 13 w 18"/>
                  <a:gd name="T13" fmla="*/ 2 h 13"/>
                  <a:gd name="T14" fmla="*/ 12 w 18"/>
                  <a:gd name="T15" fmla="*/ 1 h 13"/>
                  <a:gd name="T16" fmla="*/ 10 w 18"/>
                  <a:gd name="T17" fmla="*/ 1 h 13"/>
                  <a:gd name="T18" fmla="*/ 7 w 18"/>
                  <a:gd name="T19" fmla="*/ 2 h 13"/>
                  <a:gd name="T20" fmla="*/ 4 w 18"/>
                  <a:gd name="T21" fmla="*/ 1 h 13"/>
                  <a:gd name="T22" fmla="*/ 6 w 18"/>
                  <a:gd name="T23" fmla="*/ 2 h 13"/>
                  <a:gd name="T24" fmla="*/ 5 w 18"/>
                  <a:gd name="T25" fmla="*/ 3 h 13"/>
                  <a:gd name="T26" fmla="*/ 9 w 18"/>
                  <a:gd name="T27" fmla="*/ 5 h 13"/>
                  <a:gd name="T28" fmla="*/ 6 w 18"/>
                  <a:gd name="T29" fmla="*/ 5 h 13"/>
                  <a:gd name="T30" fmla="*/ 4 w 18"/>
                  <a:gd name="T31" fmla="*/ 5 h 13"/>
                  <a:gd name="T32" fmla="*/ 5 w 18"/>
                  <a:gd name="T33" fmla="*/ 7 h 13"/>
                  <a:gd name="T34" fmla="*/ 8 w 18"/>
                  <a:gd name="T35" fmla="*/ 5 h 13"/>
                  <a:gd name="T36" fmla="*/ 6 w 18"/>
                  <a:gd name="T37" fmla="*/ 7 h 13"/>
                  <a:gd name="T38" fmla="*/ 6 w 18"/>
                  <a:gd name="T39" fmla="*/ 6 h 13"/>
                  <a:gd name="T40" fmla="*/ 4 w 18"/>
                  <a:gd name="T41" fmla="*/ 8 h 13"/>
                  <a:gd name="T42" fmla="*/ 6 w 18"/>
                  <a:gd name="T43" fmla="*/ 8 h 13"/>
                  <a:gd name="T44" fmla="*/ 3 w 18"/>
                  <a:gd name="T45" fmla="*/ 9 h 13"/>
                  <a:gd name="T46" fmla="*/ 1 w 18"/>
                  <a:gd name="T47" fmla="*/ 10 h 13"/>
                  <a:gd name="T48" fmla="*/ 0 w 18"/>
                  <a:gd name="T49" fmla="*/ 10 h 13"/>
                  <a:gd name="T50" fmla="*/ 4 w 18"/>
                  <a:gd name="T51" fmla="*/ 13 h 13"/>
                  <a:gd name="T52" fmla="*/ 5 w 18"/>
                  <a:gd name="T53" fmla="*/ 11 h 13"/>
                  <a:gd name="T54" fmla="*/ 7 w 18"/>
                  <a:gd name="T55" fmla="*/ 11 h 13"/>
                  <a:gd name="T56" fmla="*/ 8 w 18"/>
                  <a:gd name="T57" fmla="*/ 9 h 13"/>
                  <a:gd name="T58" fmla="*/ 9 w 18"/>
                  <a:gd name="T59" fmla="*/ 9 h 13"/>
                  <a:gd name="T60" fmla="*/ 9 w 18"/>
                  <a:gd name="T61" fmla="*/ 9 h 13"/>
                  <a:gd name="T62" fmla="*/ 11 w 18"/>
                  <a:gd name="T63" fmla="*/ 9 h 13"/>
                  <a:gd name="T64" fmla="*/ 13 w 18"/>
                  <a:gd name="T65" fmla="*/ 6 h 13"/>
                  <a:gd name="T66" fmla="*/ 15 w 18"/>
                  <a:gd name="T6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3">
                    <a:moveTo>
                      <a:pt x="15" y="5"/>
                    </a:moveTo>
                    <a:cubicBezTo>
                      <a:pt x="15" y="5"/>
                      <a:pt x="15" y="5"/>
                      <a:pt x="15" y="4"/>
                    </a:cubicBezTo>
                    <a:cubicBezTo>
                      <a:pt x="16" y="4"/>
                      <a:pt x="16" y="4"/>
                      <a:pt x="16" y="4"/>
                    </a:cubicBezTo>
                    <a:cubicBezTo>
                      <a:pt x="17" y="4"/>
                      <a:pt x="16" y="3"/>
                      <a:pt x="17" y="3"/>
                    </a:cubicBezTo>
                    <a:cubicBezTo>
                      <a:pt x="17" y="2"/>
                      <a:pt x="18" y="2"/>
                      <a:pt x="18" y="1"/>
                    </a:cubicBezTo>
                    <a:cubicBezTo>
                      <a:pt x="17" y="1"/>
                      <a:pt x="16" y="0"/>
                      <a:pt x="16" y="1"/>
                    </a:cubicBezTo>
                    <a:cubicBezTo>
                      <a:pt x="15" y="1"/>
                      <a:pt x="14" y="2"/>
                      <a:pt x="13" y="2"/>
                    </a:cubicBezTo>
                    <a:cubicBezTo>
                      <a:pt x="12" y="2"/>
                      <a:pt x="12" y="2"/>
                      <a:pt x="12" y="1"/>
                    </a:cubicBezTo>
                    <a:cubicBezTo>
                      <a:pt x="11" y="1"/>
                      <a:pt x="11" y="1"/>
                      <a:pt x="10" y="1"/>
                    </a:cubicBezTo>
                    <a:cubicBezTo>
                      <a:pt x="9" y="1"/>
                      <a:pt x="8" y="3"/>
                      <a:pt x="7" y="2"/>
                    </a:cubicBezTo>
                    <a:cubicBezTo>
                      <a:pt x="6" y="1"/>
                      <a:pt x="5" y="1"/>
                      <a:pt x="4" y="1"/>
                    </a:cubicBezTo>
                    <a:cubicBezTo>
                      <a:pt x="4" y="2"/>
                      <a:pt x="5" y="2"/>
                      <a:pt x="6" y="2"/>
                    </a:cubicBezTo>
                    <a:cubicBezTo>
                      <a:pt x="6" y="2"/>
                      <a:pt x="5" y="3"/>
                      <a:pt x="5" y="3"/>
                    </a:cubicBezTo>
                    <a:cubicBezTo>
                      <a:pt x="6" y="4"/>
                      <a:pt x="8" y="4"/>
                      <a:pt x="9" y="5"/>
                    </a:cubicBezTo>
                    <a:cubicBezTo>
                      <a:pt x="8" y="5"/>
                      <a:pt x="7" y="5"/>
                      <a:pt x="6" y="5"/>
                    </a:cubicBezTo>
                    <a:cubicBezTo>
                      <a:pt x="5" y="5"/>
                      <a:pt x="5" y="6"/>
                      <a:pt x="4" y="5"/>
                    </a:cubicBezTo>
                    <a:cubicBezTo>
                      <a:pt x="4" y="6"/>
                      <a:pt x="4" y="6"/>
                      <a:pt x="5" y="7"/>
                    </a:cubicBezTo>
                    <a:cubicBezTo>
                      <a:pt x="5" y="6"/>
                      <a:pt x="7" y="5"/>
                      <a:pt x="8" y="5"/>
                    </a:cubicBezTo>
                    <a:cubicBezTo>
                      <a:pt x="8" y="6"/>
                      <a:pt x="7" y="6"/>
                      <a:pt x="6" y="7"/>
                    </a:cubicBezTo>
                    <a:cubicBezTo>
                      <a:pt x="6" y="7"/>
                      <a:pt x="6" y="6"/>
                      <a:pt x="6" y="6"/>
                    </a:cubicBezTo>
                    <a:cubicBezTo>
                      <a:pt x="5" y="6"/>
                      <a:pt x="5" y="8"/>
                      <a:pt x="4" y="8"/>
                    </a:cubicBezTo>
                    <a:cubicBezTo>
                      <a:pt x="5" y="9"/>
                      <a:pt x="5" y="9"/>
                      <a:pt x="6" y="8"/>
                    </a:cubicBezTo>
                    <a:cubicBezTo>
                      <a:pt x="4" y="9"/>
                      <a:pt x="4" y="9"/>
                      <a:pt x="3" y="9"/>
                    </a:cubicBezTo>
                    <a:cubicBezTo>
                      <a:pt x="2" y="9"/>
                      <a:pt x="2" y="9"/>
                      <a:pt x="1" y="10"/>
                    </a:cubicBezTo>
                    <a:cubicBezTo>
                      <a:pt x="0" y="10"/>
                      <a:pt x="0" y="10"/>
                      <a:pt x="0" y="10"/>
                    </a:cubicBezTo>
                    <a:cubicBezTo>
                      <a:pt x="1" y="11"/>
                      <a:pt x="2" y="12"/>
                      <a:pt x="4" y="13"/>
                    </a:cubicBezTo>
                    <a:cubicBezTo>
                      <a:pt x="5" y="12"/>
                      <a:pt x="5" y="12"/>
                      <a:pt x="5" y="11"/>
                    </a:cubicBezTo>
                    <a:cubicBezTo>
                      <a:pt x="5" y="12"/>
                      <a:pt x="6" y="12"/>
                      <a:pt x="7" y="11"/>
                    </a:cubicBezTo>
                    <a:cubicBezTo>
                      <a:pt x="8" y="10"/>
                      <a:pt x="7" y="9"/>
                      <a:pt x="8" y="9"/>
                    </a:cubicBezTo>
                    <a:cubicBezTo>
                      <a:pt x="8" y="9"/>
                      <a:pt x="9" y="10"/>
                      <a:pt x="9" y="9"/>
                    </a:cubicBezTo>
                    <a:cubicBezTo>
                      <a:pt x="9" y="9"/>
                      <a:pt x="9" y="9"/>
                      <a:pt x="9" y="9"/>
                    </a:cubicBezTo>
                    <a:cubicBezTo>
                      <a:pt x="10" y="9"/>
                      <a:pt x="10" y="9"/>
                      <a:pt x="11" y="9"/>
                    </a:cubicBezTo>
                    <a:cubicBezTo>
                      <a:pt x="12" y="9"/>
                      <a:pt x="13" y="7"/>
                      <a:pt x="13" y="6"/>
                    </a:cubicBezTo>
                    <a:cubicBezTo>
                      <a:pt x="14" y="6"/>
                      <a:pt x="14" y="5"/>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3" name="Freeform 1919">
                <a:extLst>
                  <a:ext uri="{FF2B5EF4-FFF2-40B4-BE49-F238E27FC236}">
                    <a16:creationId xmlns:a16="http://schemas.microsoft.com/office/drawing/2014/main" id="{3EFEA1AD-40A8-4CD4-B11D-2A3212B3F7D2}"/>
                  </a:ext>
                </a:extLst>
              </p:cNvPr>
              <p:cNvSpPr>
                <a:spLocks/>
              </p:cNvSpPr>
              <p:nvPr/>
            </p:nvSpPr>
            <p:spPr bwMode="auto">
              <a:xfrm>
                <a:off x="1424" y="2334"/>
                <a:ext cx="4" cy="7"/>
              </a:xfrm>
              <a:custGeom>
                <a:avLst/>
                <a:gdLst>
                  <a:gd name="T0" fmla="*/ 2 w 2"/>
                  <a:gd name="T1" fmla="*/ 0 h 3"/>
                  <a:gd name="T2" fmla="*/ 2 w 2"/>
                  <a:gd name="T3" fmla="*/ 0 h 3"/>
                  <a:gd name="T4" fmla="*/ 2 w 2"/>
                  <a:gd name="T5" fmla="*/ 0 h 3"/>
                  <a:gd name="T6" fmla="*/ 0 w 2"/>
                  <a:gd name="T7" fmla="*/ 3 h 3"/>
                  <a:gd name="T8" fmla="*/ 0 w 2"/>
                  <a:gd name="T9" fmla="*/ 2 h 3"/>
                  <a:gd name="T10" fmla="*/ 1 w 2"/>
                  <a:gd name="T11" fmla="*/ 2 h 3"/>
                  <a:gd name="T12" fmla="*/ 1 w 2"/>
                  <a:gd name="T13" fmla="*/ 2 h 3"/>
                  <a:gd name="T14" fmla="*/ 2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0"/>
                    </a:moveTo>
                    <a:cubicBezTo>
                      <a:pt x="2" y="0"/>
                      <a:pt x="2" y="0"/>
                      <a:pt x="2" y="0"/>
                    </a:cubicBezTo>
                    <a:cubicBezTo>
                      <a:pt x="2" y="0"/>
                      <a:pt x="2" y="0"/>
                      <a:pt x="2" y="0"/>
                    </a:cubicBezTo>
                    <a:cubicBezTo>
                      <a:pt x="1" y="1"/>
                      <a:pt x="0" y="2"/>
                      <a:pt x="0" y="3"/>
                    </a:cubicBezTo>
                    <a:cubicBezTo>
                      <a:pt x="0" y="3"/>
                      <a:pt x="0" y="3"/>
                      <a:pt x="0" y="2"/>
                    </a:cubicBezTo>
                    <a:cubicBezTo>
                      <a:pt x="0" y="2"/>
                      <a:pt x="1" y="2"/>
                      <a:pt x="1" y="2"/>
                    </a:cubicBezTo>
                    <a:cubicBezTo>
                      <a:pt x="1" y="2"/>
                      <a:pt x="1" y="2"/>
                      <a:pt x="1" y="2"/>
                    </a:cubicBezTo>
                    <a:cubicBezTo>
                      <a:pt x="1"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4" name="Freeform 1920">
                <a:extLst>
                  <a:ext uri="{FF2B5EF4-FFF2-40B4-BE49-F238E27FC236}">
                    <a16:creationId xmlns:a16="http://schemas.microsoft.com/office/drawing/2014/main" id="{BA67B5C4-8F11-4D24-893A-91CC25DC8BC2}"/>
                  </a:ext>
                </a:extLst>
              </p:cNvPr>
              <p:cNvSpPr>
                <a:spLocks/>
              </p:cNvSpPr>
              <p:nvPr/>
            </p:nvSpPr>
            <p:spPr bwMode="auto">
              <a:xfrm>
                <a:off x="2452" y="3361"/>
                <a:ext cx="5" cy="7"/>
              </a:xfrm>
              <a:custGeom>
                <a:avLst/>
                <a:gdLst>
                  <a:gd name="T0" fmla="*/ 2 w 2"/>
                  <a:gd name="T1" fmla="*/ 0 h 3"/>
                  <a:gd name="T2" fmla="*/ 1 w 2"/>
                  <a:gd name="T3" fmla="*/ 0 h 3"/>
                  <a:gd name="T4" fmla="*/ 1 w 2"/>
                  <a:gd name="T5" fmla="*/ 0 h 3"/>
                  <a:gd name="T6" fmla="*/ 1 w 2"/>
                  <a:gd name="T7" fmla="*/ 0 h 3"/>
                  <a:gd name="T8" fmla="*/ 1 w 2"/>
                  <a:gd name="T9" fmla="*/ 0 h 3"/>
                  <a:gd name="T10" fmla="*/ 0 w 2"/>
                  <a:gd name="T11" fmla="*/ 2 h 3"/>
                  <a:gd name="T12" fmla="*/ 0 w 2"/>
                  <a:gd name="T13" fmla="*/ 2 h 3"/>
                  <a:gd name="T14" fmla="*/ 1 w 2"/>
                  <a:gd name="T15" fmla="*/ 3 h 3"/>
                  <a:gd name="T16" fmla="*/ 2 w 2"/>
                  <a:gd name="T17" fmla="*/ 3 h 3"/>
                  <a:gd name="T18" fmla="*/ 2 w 2"/>
                  <a:gd name="T19" fmla="*/ 3 h 3"/>
                  <a:gd name="T20" fmla="*/ 2 w 2"/>
                  <a:gd name="T21" fmla="*/ 3 h 3"/>
                  <a:gd name="T22" fmla="*/ 2 w 2"/>
                  <a:gd name="T23" fmla="*/ 3 h 3"/>
                  <a:gd name="T24" fmla="*/ 2 w 2"/>
                  <a:gd name="T25" fmla="*/ 1 h 3"/>
                  <a:gd name="T26" fmla="*/ 2 w 2"/>
                  <a:gd name="T27" fmla="*/ 1 h 3"/>
                  <a:gd name="T28" fmla="*/ 2 w 2"/>
                  <a:gd name="T29" fmla="*/ 1 h 3"/>
                  <a:gd name="T30" fmla="*/ 2 w 2"/>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3">
                    <a:moveTo>
                      <a:pt x="2" y="0"/>
                    </a:moveTo>
                    <a:cubicBezTo>
                      <a:pt x="2" y="0"/>
                      <a:pt x="2" y="0"/>
                      <a:pt x="1" y="0"/>
                    </a:cubicBezTo>
                    <a:cubicBezTo>
                      <a:pt x="1" y="0"/>
                      <a:pt x="1" y="0"/>
                      <a:pt x="1" y="0"/>
                    </a:cubicBezTo>
                    <a:cubicBezTo>
                      <a:pt x="1" y="0"/>
                      <a:pt x="1" y="0"/>
                      <a:pt x="1" y="0"/>
                    </a:cubicBezTo>
                    <a:cubicBezTo>
                      <a:pt x="1" y="0"/>
                      <a:pt x="1" y="0"/>
                      <a:pt x="1" y="0"/>
                    </a:cubicBezTo>
                    <a:cubicBezTo>
                      <a:pt x="1" y="1"/>
                      <a:pt x="0" y="1"/>
                      <a:pt x="0" y="2"/>
                    </a:cubicBezTo>
                    <a:cubicBezTo>
                      <a:pt x="0" y="2"/>
                      <a:pt x="0" y="2"/>
                      <a:pt x="0" y="2"/>
                    </a:cubicBezTo>
                    <a:cubicBezTo>
                      <a:pt x="0" y="2"/>
                      <a:pt x="0" y="2"/>
                      <a:pt x="1" y="3"/>
                    </a:cubicBezTo>
                    <a:cubicBezTo>
                      <a:pt x="1" y="3"/>
                      <a:pt x="1" y="3"/>
                      <a:pt x="2" y="3"/>
                    </a:cubicBezTo>
                    <a:cubicBezTo>
                      <a:pt x="2" y="3"/>
                      <a:pt x="2" y="3"/>
                      <a:pt x="2" y="3"/>
                    </a:cubicBezTo>
                    <a:cubicBezTo>
                      <a:pt x="2" y="3"/>
                      <a:pt x="2" y="3"/>
                      <a:pt x="2" y="3"/>
                    </a:cubicBezTo>
                    <a:cubicBezTo>
                      <a:pt x="2" y="3"/>
                      <a:pt x="2" y="3"/>
                      <a:pt x="2" y="3"/>
                    </a:cubicBezTo>
                    <a:cubicBezTo>
                      <a:pt x="1" y="2"/>
                      <a:pt x="2" y="2"/>
                      <a:pt x="2" y="1"/>
                    </a:cubicBezTo>
                    <a:cubicBezTo>
                      <a:pt x="2" y="1"/>
                      <a:pt x="2" y="1"/>
                      <a:pt x="2" y="1"/>
                    </a:cubicBezTo>
                    <a:cubicBezTo>
                      <a:pt x="2" y="1"/>
                      <a:pt x="2" y="1"/>
                      <a:pt x="2" y="1"/>
                    </a:cubicBezTo>
                    <a:cubicBezTo>
                      <a:pt x="2"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5" name="Freeform 1921">
                <a:extLst>
                  <a:ext uri="{FF2B5EF4-FFF2-40B4-BE49-F238E27FC236}">
                    <a16:creationId xmlns:a16="http://schemas.microsoft.com/office/drawing/2014/main" id="{7E4876F0-4AB7-4406-B425-E3CB83C27373}"/>
                  </a:ext>
                </a:extLst>
              </p:cNvPr>
              <p:cNvSpPr>
                <a:spLocks/>
              </p:cNvSpPr>
              <p:nvPr/>
            </p:nvSpPr>
            <p:spPr bwMode="auto">
              <a:xfrm>
                <a:off x="2336" y="2755"/>
                <a:ext cx="5" cy="5"/>
              </a:xfrm>
              <a:custGeom>
                <a:avLst/>
                <a:gdLst>
                  <a:gd name="T0" fmla="*/ 2 w 2"/>
                  <a:gd name="T1" fmla="*/ 1 h 2"/>
                  <a:gd name="T2" fmla="*/ 2 w 2"/>
                  <a:gd name="T3" fmla="*/ 1 h 2"/>
                  <a:gd name="T4" fmla="*/ 2 w 2"/>
                  <a:gd name="T5" fmla="*/ 0 h 2"/>
                  <a:gd name="T6" fmla="*/ 0 w 2"/>
                  <a:gd name="T7" fmla="*/ 2 h 2"/>
                  <a:gd name="T8" fmla="*/ 1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2" y="1"/>
                      <a:pt x="2" y="1"/>
                      <a:pt x="2" y="1"/>
                    </a:cubicBezTo>
                    <a:cubicBezTo>
                      <a:pt x="2" y="1"/>
                      <a:pt x="2" y="0"/>
                      <a:pt x="2" y="0"/>
                    </a:cubicBezTo>
                    <a:cubicBezTo>
                      <a:pt x="1" y="1"/>
                      <a:pt x="0" y="1"/>
                      <a:pt x="0" y="2"/>
                    </a:cubicBezTo>
                    <a:cubicBezTo>
                      <a:pt x="0" y="2"/>
                      <a:pt x="0" y="2"/>
                      <a:pt x="1" y="2"/>
                    </a:cubicBezTo>
                    <a:cubicBezTo>
                      <a:pt x="1"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6" name="Freeform 1922">
                <a:extLst>
                  <a:ext uri="{FF2B5EF4-FFF2-40B4-BE49-F238E27FC236}">
                    <a16:creationId xmlns:a16="http://schemas.microsoft.com/office/drawing/2014/main" id="{765A1E4B-1827-4960-9B2E-751B775AEACB}"/>
                  </a:ext>
                </a:extLst>
              </p:cNvPr>
              <p:cNvSpPr>
                <a:spLocks/>
              </p:cNvSpPr>
              <p:nvPr/>
            </p:nvSpPr>
            <p:spPr bwMode="auto">
              <a:xfrm>
                <a:off x="2334" y="2762"/>
                <a:ext cx="7" cy="7"/>
              </a:xfrm>
              <a:custGeom>
                <a:avLst/>
                <a:gdLst>
                  <a:gd name="T0" fmla="*/ 1 w 3"/>
                  <a:gd name="T1" fmla="*/ 1 h 3"/>
                  <a:gd name="T2" fmla="*/ 0 w 3"/>
                  <a:gd name="T3" fmla="*/ 1 h 3"/>
                  <a:gd name="T4" fmla="*/ 1 w 3"/>
                  <a:gd name="T5" fmla="*/ 3 h 3"/>
                  <a:gd name="T6" fmla="*/ 3 w 3"/>
                  <a:gd name="T7" fmla="*/ 1 h 3"/>
                  <a:gd name="T8" fmla="*/ 3 w 3"/>
                  <a:gd name="T9" fmla="*/ 1 h 3"/>
                  <a:gd name="T10" fmla="*/ 3 w 3"/>
                  <a:gd name="T11" fmla="*/ 0 h 3"/>
                  <a:gd name="T12" fmla="*/ 3 w 3"/>
                  <a:gd name="T13" fmla="*/ 0 h 3"/>
                  <a:gd name="T14" fmla="*/ 3 w 3"/>
                  <a:gd name="T15" fmla="*/ 0 h 3"/>
                  <a:gd name="T16" fmla="*/ 2 w 3"/>
                  <a:gd name="T17" fmla="*/ 0 h 3"/>
                  <a:gd name="T18" fmla="*/ 2 w 3"/>
                  <a:gd name="T19" fmla="*/ 0 h 3"/>
                  <a:gd name="T20" fmla="*/ 2 w 3"/>
                  <a:gd name="T21" fmla="*/ 0 h 3"/>
                  <a:gd name="T22" fmla="*/ 1 w 3"/>
                  <a:gd name="T23" fmla="*/ 1 h 3"/>
                  <a:gd name="T24" fmla="*/ 1 w 3"/>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3">
                    <a:moveTo>
                      <a:pt x="1" y="1"/>
                    </a:moveTo>
                    <a:cubicBezTo>
                      <a:pt x="0" y="1"/>
                      <a:pt x="0" y="1"/>
                      <a:pt x="0" y="1"/>
                    </a:cubicBezTo>
                    <a:cubicBezTo>
                      <a:pt x="0" y="2"/>
                      <a:pt x="0" y="2"/>
                      <a:pt x="1" y="3"/>
                    </a:cubicBezTo>
                    <a:cubicBezTo>
                      <a:pt x="1" y="3"/>
                      <a:pt x="3" y="1"/>
                      <a:pt x="3" y="1"/>
                    </a:cubicBezTo>
                    <a:cubicBezTo>
                      <a:pt x="3" y="1"/>
                      <a:pt x="3" y="1"/>
                      <a:pt x="3" y="1"/>
                    </a:cubicBezTo>
                    <a:cubicBezTo>
                      <a:pt x="3" y="1"/>
                      <a:pt x="3" y="1"/>
                      <a:pt x="3" y="0"/>
                    </a:cubicBezTo>
                    <a:cubicBezTo>
                      <a:pt x="3" y="0"/>
                      <a:pt x="3" y="0"/>
                      <a:pt x="3" y="0"/>
                    </a:cubicBezTo>
                    <a:cubicBezTo>
                      <a:pt x="3" y="0"/>
                      <a:pt x="3" y="0"/>
                      <a:pt x="3" y="0"/>
                    </a:cubicBezTo>
                    <a:cubicBezTo>
                      <a:pt x="3" y="0"/>
                      <a:pt x="3" y="0"/>
                      <a:pt x="2" y="0"/>
                    </a:cubicBezTo>
                    <a:cubicBezTo>
                      <a:pt x="2" y="0"/>
                      <a:pt x="2" y="0"/>
                      <a:pt x="2" y="0"/>
                    </a:cubicBezTo>
                    <a:cubicBezTo>
                      <a:pt x="2" y="0"/>
                      <a:pt x="2" y="0"/>
                      <a:pt x="2" y="0"/>
                    </a:cubicBezTo>
                    <a:cubicBezTo>
                      <a:pt x="2" y="0"/>
                      <a:pt x="1" y="0"/>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7" name="Freeform 1923">
                <a:extLst>
                  <a:ext uri="{FF2B5EF4-FFF2-40B4-BE49-F238E27FC236}">
                    <a16:creationId xmlns:a16="http://schemas.microsoft.com/office/drawing/2014/main" id="{2188E5D5-085F-4129-A04B-D8E4D2684913}"/>
                  </a:ext>
                </a:extLst>
              </p:cNvPr>
              <p:cNvSpPr>
                <a:spLocks/>
              </p:cNvSpPr>
              <p:nvPr/>
            </p:nvSpPr>
            <p:spPr bwMode="auto">
              <a:xfrm>
                <a:off x="2327" y="2772"/>
                <a:ext cx="5" cy="4"/>
              </a:xfrm>
              <a:custGeom>
                <a:avLst/>
                <a:gdLst>
                  <a:gd name="T0" fmla="*/ 1 w 2"/>
                  <a:gd name="T1" fmla="*/ 1 h 2"/>
                  <a:gd name="T2" fmla="*/ 0 w 2"/>
                  <a:gd name="T3" fmla="*/ 0 h 2"/>
                  <a:gd name="T4" fmla="*/ 0 w 2"/>
                  <a:gd name="T5" fmla="*/ 2 h 2"/>
                  <a:gd name="T6" fmla="*/ 0 w 2"/>
                  <a:gd name="T7" fmla="*/ 2 h 2"/>
                  <a:gd name="T8" fmla="*/ 2 w 2"/>
                  <a:gd name="T9" fmla="*/ 2 h 2"/>
                  <a:gd name="T10" fmla="*/ 1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1" y="1"/>
                    </a:moveTo>
                    <a:cubicBezTo>
                      <a:pt x="1" y="1"/>
                      <a:pt x="1" y="1"/>
                      <a:pt x="0" y="0"/>
                    </a:cubicBezTo>
                    <a:cubicBezTo>
                      <a:pt x="0" y="1"/>
                      <a:pt x="0" y="2"/>
                      <a:pt x="0" y="2"/>
                    </a:cubicBezTo>
                    <a:cubicBezTo>
                      <a:pt x="0" y="2"/>
                      <a:pt x="0" y="2"/>
                      <a:pt x="0" y="2"/>
                    </a:cubicBezTo>
                    <a:cubicBezTo>
                      <a:pt x="1" y="2"/>
                      <a:pt x="1" y="2"/>
                      <a:pt x="2" y="2"/>
                    </a:cubicBezTo>
                    <a:cubicBezTo>
                      <a:pt x="2" y="2"/>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8" name="Freeform 1924">
                <a:extLst>
                  <a:ext uri="{FF2B5EF4-FFF2-40B4-BE49-F238E27FC236}">
                    <a16:creationId xmlns:a16="http://schemas.microsoft.com/office/drawing/2014/main" id="{FD28A9A6-7E7E-47BF-852A-1B0C902A2FED}"/>
                  </a:ext>
                </a:extLst>
              </p:cNvPr>
              <p:cNvSpPr>
                <a:spLocks/>
              </p:cNvSpPr>
              <p:nvPr/>
            </p:nvSpPr>
            <p:spPr bwMode="auto">
              <a:xfrm>
                <a:off x="2329" y="2762"/>
                <a:ext cx="5" cy="12"/>
              </a:xfrm>
              <a:custGeom>
                <a:avLst/>
                <a:gdLst>
                  <a:gd name="T0" fmla="*/ 2 w 2"/>
                  <a:gd name="T1" fmla="*/ 3 h 5"/>
                  <a:gd name="T2" fmla="*/ 2 w 2"/>
                  <a:gd name="T3" fmla="*/ 3 h 5"/>
                  <a:gd name="T4" fmla="*/ 2 w 2"/>
                  <a:gd name="T5" fmla="*/ 3 h 5"/>
                  <a:gd name="T6" fmla="*/ 2 w 2"/>
                  <a:gd name="T7" fmla="*/ 2 h 5"/>
                  <a:gd name="T8" fmla="*/ 2 w 2"/>
                  <a:gd name="T9" fmla="*/ 0 h 5"/>
                  <a:gd name="T10" fmla="*/ 2 w 2"/>
                  <a:gd name="T11" fmla="*/ 0 h 5"/>
                  <a:gd name="T12" fmla="*/ 1 w 2"/>
                  <a:gd name="T13" fmla="*/ 0 h 5"/>
                  <a:gd name="T14" fmla="*/ 1 w 2"/>
                  <a:gd name="T15" fmla="*/ 0 h 5"/>
                  <a:gd name="T16" fmla="*/ 1 w 2"/>
                  <a:gd name="T17" fmla="*/ 1 h 5"/>
                  <a:gd name="T18" fmla="*/ 1 w 2"/>
                  <a:gd name="T19" fmla="*/ 1 h 5"/>
                  <a:gd name="T20" fmla="*/ 1 w 2"/>
                  <a:gd name="T21" fmla="*/ 2 h 5"/>
                  <a:gd name="T22" fmla="*/ 1 w 2"/>
                  <a:gd name="T23" fmla="*/ 5 h 5"/>
                  <a:gd name="T24" fmla="*/ 2 w 2"/>
                  <a:gd name="T25" fmla="*/ 4 h 5"/>
                  <a:gd name="T26" fmla="*/ 2 w 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3"/>
                    </a:moveTo>
                    <a:cubicBezTo>
                      <a:pt x="2" y="3"/>
                      <a:pt x="2" y="3"/>
                      <a:pt x="2" y="3"/>
                    </a:cubicBezTo>
                    <a:cubicBezTo>
                      <a:pt x="2" y="3"/>
                      <a:pt x="2" y="3"/>
                      <a:pt x="2" y="3"/>
                    </a:cubicBezTo>
                    <a:cubicBezTo>
                      <a:pt x="2" y="3"/>
                      <a:pt x="2" y="2"/>
                      <a:pt x="2" y="2"/>
                    </a:cubicBezTo>
                    <a:cubicBezTo>
                      <a:pt x="2" y="2"/>
                      <a:pt x="2" y="1"/>
                      <a:pt x="2" y="0"/>
                    </a:cubicBezTo>
                    <a:cubicBezTo>
                      <a:pt x="2" y="0"/>
                      <a:pt x="2" y="0"/>
                      <a:pt x="2" y="0"/>
                    </a:cubicBezTo>
                    <a:cubicBezTo>
                      <a:pt x="1" y="0"/>
                      <a:pt x="2" y="0"/>
                      <a:pt x="1" y="0"/>
                    </a:cubicBezTo>
                    <a:cubicBezTo>
                      <a:pt x="1" y="0"/>
                      <a:pt x="1" y="0"/>
                      <a:pt x="1" y="0"/>
                    </a:cubicBezTo>
                    <a:cubicBezTo>
                      <a:pt x="1" y="0"/>
                      <a:pt x="1" y="1"/>
                      <a:pt x="1" y="1"/>
                    </a:cubicBezTo>
                    <a:cubicBezTo>
                      <a:pt x="1" y="1"/>
                      <a:pt x="1" y="1"/>
                      <a:pt x="1" y="1"/>
                    </a:cubicBezTo>
                    <a:cubicBezTo>
                      <a:pt x="1" y="2"/>
                      <a:pt x="1" y="2"/>
                      <a:pt x="1" y="2"/>
                    </a:cubicBezTo>
                    <a:cubicBezTo>
                      <a:pt x="0" y="3"/>
                      <a:pt x="0" y="4"/>
                      <a:pt x="1" y="5"/>
                    </a:cubicBezTo>
                    <a:cubicBezTo>
                      <a:pt x="1" y="4"/>
                      <a:pt x="2" y="4"/>
                      <a:pt x="2" y="4"/>
                    </a:cubicBezTo>
                    <a:cubicBezTo>
                      <a:pt x="2" y="3"/>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9" name="Freeform 1925">
                <a:extLst>
                  <a:ext uri="{FF2B5EF4-FFF2-40B4-BE49-F238E27FC236}">
                    <a16:creationId xmlns:a16="http://schemas.microsoft.com/office/drawing/2014/main" id="{1B6317B9-08B1-42EF-8F15-6B8D940CA980}"/>
                  </a:ext>
                </a:extLst>
              </p:cNvPr>
              <p:cNvSpPr>
                <a:spLocks/>
              </p:cNvSpPr>
              <p:nvPr/>
            </p:nvSpPr>
            <p:spPr bwMode="auto">
              <a:xfrm>
                <a:off x="2296" y="2790"/>
                <a:ext cx="19" cy="22"/>
              </a:xfrm>
              <a:custGeom>
                <a:avLst/>
                <a:gdLst>
                  <a:gd name="T0" fmla="*/ 7 w 8"/>
                  <a:gd name="T1" fmla="*/ 0 h 9"/>
                  <a:gd name="T2" fmla="*/ 5 w 8"/>
                  <a:gd name="T3" fmla="*/ 0 h 9"/>
                  <a:gd name="T4" fmla="*/ 0 w 8"/>
                  <a:gd name="T5" fmla="*/ 9 h 9"/>
                  <a:gd name="T6" fmla="*/ 2 w 8"/>
                  <a:gd name="T7" fmla="*/ 8 h 9"/>
                  <a:gd name="T8" fmla="*/ 4 w 8"/>
                  <a:gd name="T9" fmla="*/ 7 h 9"/>
                  <a:gd name="T10" fmla="*/ 6 w 8"/>
                  <a:gd name="T11" fmla="*/ 4 h 9"/>
                  <a:gd name="T12" fmla="*/ 7 w 8"/>
                  <a:gd name="T13" fmla="*/ 0 h 9"/>
                  <a:gd name="T14" fmla="*/ 7 w 8"/>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7" y="0"/>
                    </a:moveTo>
                    <a:cubicBezTo>
                      <a:pt x="6" y="0"/>
                      <a:pt x="6" y="0"/>
                      <a:pt x="5" y="0"/>
                    </a:cubicBezTo>
                    <a:cubicBezTo>
                      <a:pt x="2" y="1"/>
                      <a:pt x="1" y="7"/>
                      <a:pt x="0" y="9"/>
                    </a:cubicBezTo>
                    <a:cubicBezTo>
                      <a:pt x="1" y="9"/>
                      <a:pt x="1" y="9"/>
                      <a:pt x="2" y="8"/>
                    </a:cubicBezTo>
                    <a:cubicBezTo>
                      <a:pt x="3" y="8"/>
                      <a:pt x="4" y="7"/>
                      <a:pt x="4" y="7"/>
                    </a:cubicBezTo>
                    <a:cubicBezTo>
                      <a:pt x="5" y="6"/>
                      <a:pt x="6" y="5"/>
                      <a:pt x="6" y="4"/>
                    </a:cubicBezTo>
                    <a:cubicBezTo>
                      <a:pt x="7" y="3"/>
                      <a:pt x="8" y="1"/>
                      <a:pt x="7" y="0"/>
                    </a:cubicBezTo>
                    <a:cubicBezTo>
                      <a:pt x="7" y="0"/>
                      <a:pt x="7"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0" name="Freeform 1926">
                <a:extLst>
                  <a:ext uri="{FF2B5EF4-FFF2-40B4-BE49-F238E27FC236}">
                    <a16:creationId xmlns:a16="http://schemas.microsoft.com/office/drawing/2014/main" id="{D14A4BB1-30D6-4661-9EA7-C7E36CEB9329}"/>
                  </a:ext>
                </a:extLst>
              </p:cNvPr>
              <p:cNvSpPr>
                <a:spLocks/>
              </p:cNvSpPr>
              <p:nvPr/>
            </p:nvSpPr>
            <p:spPr bwMode="auto">
              <a:xfrm>
                <a:off x="2376" y="3455"/>
                <a:ext cx="5" cy="12"/>
              </a:xfrm>
              <a:custGeom>
                <a:avLst/>
                <a:gdLst>
                  <a:gd name="T0" fmla="*/ 0 w 2"/>
                  <a:gd name="T1" fmla="*/ 5 h 5"/>
                  <a:gd name="T2" fmla="*/ 1 w 2"/>
                  <a:gd name="T3" fmla="*/ 4 h 5"/>
                  <a:gd name="T4" fmla="*/ 1 w 2"/>
                  <a:gd name="T5" fmla="*/ 4 h 5"/>
                  <a:gd name="T6" fmla="*/ 2 w 2"/>
                  <a:gd name="T7" fmla="*/ 2 h 5"/>
                  <a:gd name="T8" fmla="*/ 2 w 2"/>
                  <a:gd name="T9" fmla="*/ 2 h 5"/>
                  <a:gd name="T10" fmla="*/ 2 w 2"/>
                  <a:gd name="T11" fmla="*/ 1 h 5"/>
                  <a:gd name="T12" fmla="*/ 2 w 2"/>
                  <a:gd name="T13" fmla="*/ 1 h 5"/>
                  <a:gd name="T14" fmla="*/ 1 w 2"/>
                  <a:gd name="T15" fmla="*/ 0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cubicBezTo>
                      <a:pt x="0" y="5"/>
                      <a:pt x="0" y="4"/>
                      <a:pt x="1" y="4"/>
                    </a:cubicBezTo>
                    <a:cubicBezTo>
                      <a:pt x="1" y="4"/>
                      <a:pt x="1" y="4"/>
                      <a:pt x="1" y="4"/>
                    </a:cubicBezTo>
                    <a:cubicBezTo>
                      <a:pt x="1" y="3"/>
                      <a:pt x="1" y="3"/>
                      <a:pt x="2" y="2"/>
                    </a:cubicBezTo>
                    <a:cubicBezTo>
                      <a:pt x="2" y="2"/>
                      <a:pt x="2" y="2"/>
                      <a:pt x="2" y="2"/>
                    </a:cubicBezTo>
                    <a:cubicBezTo>
                      <a:pt x="2" y="1"/>
                      <a:pt x="2" y="1"/>
                      <a:pt x="2" y="1"/>
                    </a:cubicBezTo>
                    <a:cubicBezTo>
                      <a:pt x="2" y="1"/>
                      <a:pt x="2" y="1"/>
                      <a:pt x="2" y="1"/>
                    </a:cubicBezTo>
                    <a:cubicBezTo>
                      <a:pt x="2" y="1"/>
                      <a:pt x="1" y="1"/>
                      <a:pt x="1" y="0"/>
                    </a:cubicBezTo>
                    <a:cubicBezTo>
                      <a:pt x="1" y="2"/>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1" name="Freeform 1927">
                <a:extLst>
                  <a:ext uri="{FF2B5EF4-FFF2-40B4-BE49-F238E27FC236}">
                    <a16:creationId xmlns:a16="http://schemas.microsoft.com/office/drawing/2014/main" id="{B217895F-C7D9-4C34-A6FE-133875F52795}"/>
                  </a:ext>
                </a:extLst>
              </p:cNvPr>
              <p:cNvSpPr>
                <a:spLocks/>
              </p:cNvSpPr>
              <p:nvPr/>
            </p:nvSpPr>
            <p:spPr bwMode="auto">
              <a:xfrm>
                <a:off x="2315" y="2790"/>
                <a:ext cx="7" cy="10"/>
              </a:xfrm>
              <a:custGeom>
                <a:avLst/>
                <a:gdLst>
                  <a:gd name="T0" fmla="*/ 0 w 3"/>
                  <a:gd name="T1" fmla="*/ 3 h 4"/>
                  <a:gd name="T2" fmla="*/ 0 w 3"/>
                  <a:gd name="T3" fmla="*/ 4 h 4"/>
                  <a:gd name="T4" fmla="*/ 1 w 3"/>
                  <a:gd name="T5" fmla="*/ 3 h 4"/>
                  <a:gd name="T6" fmla="*/ 2 w 3"/>
                  <a:gd name="T7" fmla="*/ 2 h 4"/>
                  <a:gd name="T8" fmla="*/ 2 w 3"/>
                  <a:gd name="T9" fmla="*/ 2 h 4"/>
                  <a:gd name="T10" fmla="*/ 3 w 3"/>
                  <a:gd name="T11" fmla="*/ 1 h 4"/>
                  <a:gd name="T12" fmla="*/ 3 w 3"/>
                  <a:gd name="T13" fmla="*/ 0 h 4"/>
                  <a:gd name="T14" fmla="*/ 3 w 3"/>
                  <a:gd name="T15" fmla="*/ 0 h 4"/>
                  <a:gd name="T16" fmla="*/ 3 w 3"/>
                  <a:gd name="T17" fmla="*/ 0 h 4"/>
                  <a:gd name="T18" fmla="*/ 3 w 3"/>
                  <a:gd name="T19" fmla="*/ 0 h 4"/>
                  <a:gd name="T20" fmla="*/ 0 w 3"/>
                  <a:gd name="T21"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0" y="3"/>
                    </a:moveTo>
                    <a:cubicBezTo>
                      <a:pt x="0" y="3"/>
                      <a:pt x="0" y="4"/>
                      <a:pt x="0" y="4"/>
                    </a:cubicBezTo>
                    <a:cubicBezTo>
                      <a:pt x="0" y="4"/>
                      <a:pt x="1" y="3"/>
                      <a:pt x="1" y="3"/>
                    </a:cubicBezTo>
                    <a:cubicBezTo>
                      <a:pt x="1" y="3"/>
                      <a:pt x="1" y="2"/>
                      <a:pt x="2" y="2"/>
                    </a:cubicBezTo>
                    <a:cubicBezTo>
                      <a:pt x="2" y="2"/>
                      <a:pt x="2" y="2"/>
                      <a:pt x="2" y="2"/>
                    </a:cubicBezTo>
                    <a:cubicBezTo>
                      <a:pt x="2" y="2"/>
                      <a:pt x="2" y="2"/>
                      <a:pt x="3" y="1"/>
                    </a:cubicBezTo>
                    <a:cubicBezTo>
                      <a:pt x="3" y="1"/>
                      <a:pt x="3" y="1"/>
                      <a:pt x="3" y="0"/>
                    </a:cubicBezTo>
                    <a:cubicBezTo>
                      <a:pt x="3" y="0"/>
                      <a:pt x="3" y="0"/>
                      <a:pt x="3" y="0"/>
                    </a:cubicBezTo>
                    <a:cubicBezTo>
                      <a:pt x="3" y="0"/>
                      <a:pt x="3" y="0"/>
                      <a:pt x="3" y="0"/>
                    </a:cubicBezTo>
                    <a:cubicBezTo>
                      <a:pt x="3" y="0"/>
                      <a:pt x="3" y="0"/>
                      <a:pt x="3" y="0"/>
                    </a:cubicBezTo>
                    <a:cubicBezTo>
                      <a:pt x="1" y="1"/>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2" name="Freeform 1928">
                <a:extLst>
                  <a:ext uri="{FF2B5EF4-FFF2-40B4-BE49-F238E27FC236}">
                    <a16:creationId xmlns:a16="http://schemas.microsoft.com/office/drawing/2014/main" id="{C50B13A6-ED1A-4E10-A356-094541DC99AF}"/>
                  </a:ext>
                </a:extLst>
              </p:cNvPr>
              <p:cNvSpPr>
                <a:spLocks/>
              </p:cNvSpPr>
              <p:nvPr/>
            </p:nvSpPr>
            <p:spPr bwMode="auto">
              <a:xfrm>
                <a:off x="2308" y="2781"/>
                <a:ext cx="7" cy="7"/>
              </a:xfrm>
              <a:custGeom>
                <a:avLst/>
                <a:gdLst>
                  <a:gd name="T0" fmla="*/ 3 w 3"/>
                  <a:gd name="T1" fmla="*/ 1 h 3"/>
                  <a:gd name="T2" fmla="*/ 3 w 3"/>
                  <a:gd name="T3" fmla="*/ 1 h 3"/>
                  <a:gd name="T4" fmla="*/ 3 w 3"/>
                  <a:gd name="T5" fmla="*/ 0 h 3"/>
                  <a:gd name="T6" fmla="*/ 0 w 3"/>
                  <a:gd name="T7" fmla="*/ 3 h 3"/>
                  <a:gd name="T8" fmla="*/ 2 w 3"/>
                  <a:gd name="T9" fmla="*/ 1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3" y="1"/>
                      <a:pt x="3" y="1"/>
                      <a:pt x="3" y="1"/>
                    </a:cubicBezTo>
                    <a:cubicBezTo>
                      <a:pt x="3" y="0"/>
                      <a:pt x="3" y="0"/>
                      <a:pt x="3" y="0"/>
                    </a:cubicBezTo>
                    <a:cubicBezTo>
                      <a:pt x="2" y="1"/>
                      <a:pt x="1" y="2"/>
                      <a:pt x="0" y="3"/>
                    </a:cubicBezTo>
                    <a:cubicBezTo>
                      <a:pt x="1" y="3"/>
                      <a:pt x="2" y="2"/>
                      <a:pt x="2" y="1"/>
                    </a:cubicBezTo>
                    <a:cubicBezTo>
                      <a:pt x="3"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3" name="Freeform 1929">
                <a:extLst>
                  <a:ext uri="{FF2B5EF4-FFF2-40B4-BE49-F238E27FC236}">
                    <a16:creationId xmlns:a16="http://schemas.microsoft.com/office/drawing/2014/main" id="{C968D33F-1C34-490E-9842-3DD69BC40C8F}"/>
                  </a:ext>
                </a:extLst>
              </p:cNvPr>
              <p:cNvSpPr>
                <a:spLocks/>
              </p:cNvSpPr>
              <p:nvPr/>
            </p:nvSpPr>
            <p:spPr bwMode="auto">
              <a:xfrm>
                <a:off x="2346" y="2776"/>
                <a:ext cx="9" cy="5"/>
              </a:xfrm>
              <a:custGeom>
                <a:avLst/>
                <a:gdLst>
                  <a:gd name="T0" fmla="*/ 1 w 4"/>
                  <a:gd name="T1" fmla="*/ 0 h 2"/>
                  <a:gd name="T2" fmla="*/ 1 w 4"/>
                  <a:gd name="T3" fmla="*/ 0 h 2"/>
                  <a:gd name="T4" fmla="*/ 0 w 4"/>
                  <a:gd name="T5" fmla="*/ 1 h 2"/>
                  <a:gd name="T6" fmla="*/ 0 w 4"/>
                  <a:gd name="T7" fmla="*/ 1 h 2"/>
                  <a:gd name="T8" fmla="*/ 0 w 4"/>
                  <a:gd name="T9" fmla="*/ 1 h 2"/>
                  <a:gd name="T10" fmla="*/ 1 w 4"/>
                  <a:gd name="T11" fmla="*/ 2 h 2"/>
                  <a:gd name="T12" fmla="*/ 4 w 4"/>
                  <a:gd name="T13" fmla="*/ 0 h 2"/>
                  <a:gd name="T14" fmla="*/ 1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1" y="0"/>
                    </a:moveTo>
                    <a:cubicBezTo>
                      <a:pt x="1" y="0"/>
                      <a:pt x="1" y="0"/>
                      <a:pt x="1" y="0"/>
                    </a:cubicBezTo>
                    <a:cubicBezTo>
                      <a:pt x="0" y="1"/>
                      <a:pt x="0" y="1"/>
                      <a:pt x="0" y="1"/>
                    </a:cubicBezTo>
                    <a:cubicBezTo>
                      <a:pt x="0" y="1"/>
                      <a:pt x="0" y="1"/>
                      <a:pt x="0" y="1"/>
                    </a:cubicBezTo>
                    <a:cubicBezTo>
                      <a:pt x="0" y="1"/>
                      <a:pt x="0" y="1"/>
                      <a:pt x="0" y="1"/>
                    </a:cubicBezTo>
                    <a:cubicBezTo>
                      <a:pt x="0" y="2"/>
                      <a:pt x="1" y="2"/>
                      <a:pt x="1" y="2"/>
                    </a:cubicBezTo>
                    <a:cubicBezTo>
                      <a:pt x="2" y="2"/>
                      <a:pt x="3" y="1"/>
                      <a:pt x="4" y="0"/>
                    </a:cubicBezTo>
                    <a:cubicBezTo>
                      <a:pt x="4"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4" name="Freeform 1930">
                <a:extLst>
                  <a:ext uri="{FF2B5EF4-FFF2-40B4-BE49-F238E27FC236}">
                    <a16:creationId xmlns:a16="http://schemas.microsoft.com/office/drawing/2014/main" id="{BBDFAF9D-BDEA-4779-AFC8-507EEBAB27AA}"/>
                  </a:ext>
                </a:extLst>
              </p:cNvPr>
              <p:cNvSpPr>
                <a:spLocks/>
              </p:cNvSpPr>
              <p:nvPr/>
            </p:nvSpPr>
            <p:spPr bwMode="auto">
              <a:xfrm>
                <a:off x="2478" y="3344"/>
                <a:ext cx="7" cy="5"/>
              </a:xfrm>
              <a:custGeom>
                <a:avLst/>
                <a:gdLst>
                  <a:gd name="T0" fmla="*/ 2 w 3"/>
                  <a:gd name="T1" fmla="*/ 1 h 2"/>
                  <a:gd name="T2" fmla="*/ 1 w 3"/>
                  <a:gd name="T3" fmla="*/ 0 h 2"/>
                  <a:gd name="T4" fmla="*/ 0 w 3"/>
                  <a:gd name="T5" fmla="*/ 2 h 2"/>
                  <a:gd name="T6" fmla="*/ 0 w 3"/>
                  <a:gd name="T7" fmla="*/ 2 h 2"/>
                  <a:gd name="T8" fmla="*/ 3 w 3"/>
                  <a:gd name="T9" fmla="*/ 1 h 2"/>
                  <a:gd name="T10" fmla="*/ 2 w 3"/>
                  <a:gd name="T11" fmla="*/ 1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2" y="0"/>
                      <a:pt x="1" y="0"/>
                      <a:pt x="1" y="0"/>
                    </a:cubicBezTo>
                    <a:cubicBezTo>
                      <a:pt x="1" y="1"/>
                      <a:pt x="1" y="1"/>
                      <a:pt x="0" y="2"/>
                    </a:cubicBezTo>
                    <a:cubicBezTo>
                      <a:pt x="0" y="2"/>
                      <a:pt x="0" y="2"/>
                      <a:pt x="0" y="2"/>
                    </a:cubicBezTo>
                    <a:cubicBezTo>
                      <a:pt x="1" y="2"/>
                      <a:pt x="2" y="1"/>
                      <a:pt x="3" y="1"/>
                    </a:cubicBezTo>
                    <a:cubicBezTo>
                      <a:pt x="2" y="1"/>
                      <a:pt x="2" y="1"/>
                      <a:pt x="2" y="1"/>
                    </a:cubicBezTo>
                    <a:cubicBezTo>
                      <a:pt x="2"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5" name="Freeform 1931">
                <a:extLst>
                  <a:ext uri="{FF2B5EF4-FFF2-40B4-BE49-F238E27FC236}">
                    <a16:creationId xmlns:a16="http://schemas.microsoft.com/office/drawing/2014/main" id="{A0E8D77F-56B8-4E91-AE2D-877D3D3DA3BA}"/>
                  </a:ext>
                </a:extLst>
              </p:cNvPr>
              <p:cNvSpPr>
                <a:spLocks/>
              </p:cNvSpPr>
              <p:nvPr/>
            </p:nvSpPr>
            <p:spPr bwMode="auto">
              <a:xfrm>
                <a:off x="1327" y="2038"/>
                <a:ext cx="7" cy="5"/>
              </a:xfrm>
              <a:custGeom>
                <a:avLst/>
                <a:gdLst>
                  <a:gd name="T0" fmla="*/ 0 w 3"/>
                  <a:gd name="T1" fmla="*/ 1 h 2"/>
                  <a:gd name="T2" fmla="*/ 3 w 3"/>
                  <a:gd name="T3" fmla="*/ 2 h 2"/>
                  <a:gd name="T4" fmla="*/ 2 w 3"/>
                  <a:gd name="T5" fmla="*/ 1 h 2"/>
                  <a:gd name="T6" fmla="*/ 0 w 3"/>
                  <a:gd name="T7" fmla="*/ 1 h 2"/>
                </a:gdLst>
                <a:ahLst/>
                <a:cxnLst>
                  <a:cxn ang="0">
                    <a:pos x="T0" y="T1"/>
                  </a:cxn>
                  <a:cxn ang="0">
                    <a:pos x="T2" y="T3"/>
                  </a:cxn>
                  <a:cxn ang="0">
                    <a:pos x="T4" y="T5"/>
                  </a:cxn>
                  <a:cxn ang="0">
                    <a:pos x="T6" y="T7"/>
                  </a:cxn>
                </a:cxnLst>
                <a:rect l="0" t="0" r="r" b="b"/>
                <a:pathLst>
                  <a:path w="3" h="2">
                    <a:moveTo>
                      <a:pt x="0" y="1"/>
                    </a:moveTo>
                    <a:cubicBezTo>
                      <a:pt x="1" y="1"/>
                      <a:pt x="2" y="1"/>
                      <a:pt x="3" y="2"/>
                    </a:cubicBezTo>
                    <a:cubicBezTo>
                      <a:pt x="3" y="1"/>
                      <a:pt x="2" y="1"/>
                      <a:pt x="2" y="1"/>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6" name="Freeform 1932">
                <a:extLst>
                  <a:ext uri="{FF2B5EF4-FFF2-40B4-BE49-F238E27FC236}">
                    <a16:creationId xmlns:a16="http://schemas.microsoft.com/office/drawing/2014/main" id="{68F1FDCA-02EE-45F2-B52F-C0095F41BCEE}"/>
                  </a:ext>
                </a:extLst>
              </p:cNvPr>
              <p:cNvSpPr>
                <a:spLocks/>
              </p:cNvSpPr>
              <p:nvPr/>
            </p:nvSpPr>
            <p:spPr bwMode="auto">
              <a:xfrm>
                <a:off x="1201" y="2121"/>
                <a:ext cx="0" cy="12"/>
              </a:xfrm>
              <a:custGeom>
                <a:avLst/>
                <a:gdLst>
                  <a:gd name="T0" fmla="*/ 5 h 5"/>
                  <a:gd name="T1" fmla="*/ 3 h 5"/>
                  <a:gd name="T2" fmla="*/ 3 h 5"/>
                  <a:gd name="T3" fmla="*/ 2 h 5"/>
                  <a:gd name="T4" fmla="*/ 0 h 5"/>
                  <a:gd name="T5" fmla="*/ 0 h 5"/>
                  <a:gd name="T6" fmla="*/ 0 h 5"/>
                  <a:gd name="T7" fmla="*/ 5 h 5"/>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5">
                    <a:moveTo>
                      <a:pt x="0" y="5"/>
                    </a:moveTo>
                    <a:cubicBezTo>
                      <a:pt x="0" y="4"/>
                      <a:pt x="0" y="4"/>
                      <a:pt x="0" y="3"/>
                    </a:cubicBezTo>
                    <a:cubicBezTo>
                      <a:pt x="0" y="3"/>
                      <a:pt x="0" y="3"/>
                      <a:pt x="0" y="3"/>
                    </a:cubicBezTo>
                    <a:cubicBezTo>
                      <a:pt x="0" y="2"/>
                      <a:pt x="0" y="2"/>
                      <a:pt x="0" y="2"/>
                    </a:cubicBezTo>
                    <a:cubicBezTo>
                      <a:pt x="0" y="1"/>
                      <a:pt x="0" y="1"/>
                      <a:pt x="0" y="0"/>
                    </a:cubicBezTo>
                    <a:cubicBezTo>
                      <a:pt x="0" y="0"/>
                      <a:pt x="0" y="0"/>
                      <a:pt x="0" y="0"/>
                    </a:cubicBezTo>
                    <a:cubicBezTo>
                      <a:pt x="0" y="0"/>
                      <a:pt x="0" y="0"/>
                      <a:pt x="0" y="0"/>
                    </a:cubicBezTo>
                    <a:cubicBezTo>
                      <a:pt x="0" y="2"/>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7" name="Freeform 1933">
                <a:extLst>
                  <a:ext uri="{FF2B5EF4-FFF2-40B4-BE49-F238E27FC236}">
                    <a16:creationId xmlns:a16="http://schemas.microsoft.com/office/drawing/2014/main" id="{BEDA1E1A-A8C5-4491-B33E-489402F6F37A}"/>
                  </a:ext>
                </a:extLst>
              </p:cNvPr>
              <p:cNvSpPr>
                <a:spLocks/>
              </p:cNvSpPr>
              <p:nvPr/>
            </p:nvSpPr>
            <p:spPr bwMode="auto">
              <a:xfrm>
                <a:off x="1407" y="2024"/>
                <a:ext cx="5"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8" name="Freeform 1934">
                <a:extLst>
                  <a:ext uri="{FF2B5EF4-FFF2-40B4-BE49-F238E27FC236}">
                    <a16:creationId xmlns:a16="http://schemas.microsoft.com/office/drawing/2014/main" id="{D86F2D8A-4A0E-48ED-B467-5CB198468032}"/>
                  </a:ext>
                </a:extLst>
              </p:cNvPr>
              <p:cNvSpPr>
                <a:spLocks/>
              </p:cNvSpPr>
              <p:nvPr/>
            </p:nvSpPr>
            <p:spPr bwMode="auto">
              <a:xfrm>
                <a:off x="575" y="1501"/>
                <a:ext cx="5" cy="5"/>
              </a:xfrm>
              <a:custGeom>
                <a:avLst/>
                <a:gdLst>
                  <a:gd name="T0" fmla="*/ 0 w 2"/>
                  <a:gd name="T1" fmla="*/ 1 h 2"/>
                  <a:gd name="T2" fmla="*/ 2 w 2"/>
                  <a:gd name="T3" fmla="*/ 2 h 2"/>
                  <a:gd name="T4" fmla="*/ 1 w 2"/>
                  <a:gd name="T5" fmla="*/ 0 h 2"/>
                  <a:gd name="T6" fmla="*/ 0 w 2"/>
                  <a:gd name="T7" fmla="*/ 1 h 2"/>
                </a:gdLst>
                <a:ahLst/>
                <a:cxnLst>
                  <a:cxn ang="0">
                    <a:pos x="T0" y="T1"/>
                  </a:cxn>
                  <a:cxn ang="0">
                    <a:pos x="T2" y="T3"/>
                  </a:cxn>
                  <a:cxn ang="0">
                    <a:pos x="T4" y="T5"/>
                  </a:cxn>
                  <a:cxn ang="0">
                    <a:pos x="T6" y="T7"/>
                  </a:cxn>
                </a:cxnLst>
                <a:rect l="0" t="0" r="r" b="b"/>
                <a:pathLst>
                  <a:path w="2" h="2">
                    <a:moveTo>
                      <a:pt x="0" y="1"/>
                    </a:moveTo>
                    <a:cubicBezTo>
                      <a:pt x="1" y="2"/>
                      <a:pt x="1" y="2"/>
                      <a:pt x="2" y="2"/>
                    </a:cubicBezTo>
                    <a:cubicBezTo>
                      <a:pt x="2" y="1"/>
                      <a:pt x="1" y="0"/>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9" name="Freeform 1935">
                <a:extLst>
                  <a:ext uri="{FF2B5EF4-FFF2-40B4-BE49-F238E27FC236}">
                    <a16:creationId xmlns:a16="http://schemas.microsoft.com/office/drawing/2014/main" id="{DEC78E23-70BD-4DAA-A69D-AEDD64939BDF}"/>
                  </a:ext>
                </a:extLst>
              </p:cNvPr>
              <p:cNvSpPr>
                <a:spLocks/>
              </p:cNvSpPr>
              <p:nvPr/>
            </p:nvSpPr>
            <p:spPr bwMode="auto">
              <a:xfrm>
                <a:off x="584" y="1508"/>
                <a:ext cx="7" cy="12"/>
              </a:xfrm>
              <a:custGeom>
                <a:avLst/>
                <a:gdLst>
                  <a:gd name="T0" fmla="*/ 1 w 3"/>
                  <a:gd name="T1" fmla="*/ 1 h 5"/>
                  <a:gd name="T2" fmla="*/ 2 w 3"/>
                  <a:gd name="T3" fmla="*/ 0 h 5"/>
                  <a:gd name="T4" fmla="*/ 1 w 3"/>
                  <a:gd name="T5" fmla="*/ 0 h 5"/>
                  <a:gd name="T6" fmla="*/ 0 w 3"/>
                  <a:gd name="T7" fmla="*/ 1 h 5"/>
                  <a:gd name="T8" fmla="*/ 0 w 3"/>
                  <a:gd name="T9" fmla="*/ 1 h 5"/>
                  <a:gd name="T10" fmla="*/ 0 w 3"/>
                  <a:gd name="T11" fmla="*/ 1 h 5"/>
                  <a:gd name="T12" fmla="*/ 0 w 3"/>
                  <a:gd name="T13" fmla="*/ 2 h 5"/>
                  <a:gd name="T14" fmla="*/ 0 w 3"/>
                  <a:gd name="T15" fmla="*/ 2 h 5"/>
                  <a:gd name="T16" fmla="*/ 2 w 3"/>
                  <a:gd name="T17" fmla="*/ 3 h 5"/>
                  <a:gd name="T18" fmla="*/ 2 w 3"/>
                  <a:gd name="T19" fmla="*/ 4 h 5"/>
                  <a:gd name="T20" fmla="*/ 3 w 3"/>
                  <a:gd name="T21" fmla="*/ 5 h 5"/>
                  <a:gd name="T22" fmla="*/ 1 w 3"/>
                  <a:gd name="T23" fmla="*/ 2 h 5"/>
                  <a:gd name="T24" fmla="*/ 1 w 3"/>
                  <a:gd name="T25" fmla="*/ 1 h 5"/>
                  <a:gd name="T26" fmla="*/ 1 w 3"/>
                  <a:gd name="T2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1" y="1"/>
                    </a:moveTo>
                    <a:cubicBezTo>
                      <a:pt x="2" y="1"/>
                      <a:pt x="3" y="1"/>
                      <a:pt x="2" y="0"/>
                    </a:cubicBezTo>
                    <a:cubicBezTo>
                      <a:pt x="1" y="0"/>
                      <a:pt x="1" y="0"/>
                      <a:pt x="1" y="0"/>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1" y="2"/>
                      <a:pt x="1" y="2"/>
                      <a:pt x="2" y="3"/>
                    </a:cubicBezTo>
                    <a:cubicBezTo>
                      <a:pt x="2" y="3"/>
                      <a:pt x="2" y="4"/>
                      <a:pt x="2" y="4"/>
                    </a:cubicBezTo>
                    <a:cubicBezTo>
                      <a:pt x="2" y="5"/>
                      <a:pt x="3" y="5"/>
                      <a:pt x="3" y="5"/>
                    </a:cubicBezTo>
                    <a:cubicBezTo>
                      <a:pt x="2" y="4"/>
                      <a:pt x="2" y="1"/>
                      <a:pt x="1" y="2"/>
                    </a:cubicBezTo>
                    <a:cubicBezTo>
                      <a:pt x="1" y="2"/>
                      <a:pt x="1" y="2"/>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0" name="Freeform 1936">
                <a:extLst>
                  <a:ext uri="{FF2B5EF4-FFF2-40B4-BE49-F238E27FC236}">
                    <a16:creationId xmlns:a16="http://schemas.microsoft.com/office/drawing/2014/main" id="{1727C0C4-7936-450E-AF31-4AE0CEAB988D}"/>
                  </a:ext>
                </a:extLst>
              </p:cNvPr>
              <p:cNvSpPr>
                <a:spLocks/>
              </p:cNvSpPr>
              <p:nvPr/>
            </p:nvSpPr>
            <p:spPr bwMode="auto">
              <a:xfrm>
                <a:off x="1251" y="2048"/>
                <a:ext cx="9" cy="7"/>
              </a:xfrm>
              <a:custGeom>
                <a:avLst/>
                <a:gdLst>
                  <a:gd name="T0" fmla="*/ 4 w 4"/>
                  <a:gd name="T1" fmla="*/ 0 h 3"/>
                  <a:gd name="T2" fmla="*/ 3 w 4"/>
                  <a:gd name="T3" fmla="*/ 0 h 3"/>
                  <a:gd name="T4" fmla="*/ 1 w 4"/>
                  <a:gd name="T5" fmla="*/ 2 h 3"/>
                  <a:gd name="T6" fmla="*/ 0 w 4"/>
                  <a:gd name="T7" fmla="*/ 3 h 3"/>
                  <a:gd name="T8" fmla="*/ 3 w 4"/>
                  <a:gd name="T9" fmla="*/ 1 h 3"/>
                  <a:gd name="T10" fmla="*/ 4 w 4"/>
                  <a:gd name="T11" fmla="*/ 0 h 3"/>
                  <a:gd name="T12" fmla="*/ 4 w 4"/>
                  <a:gd name="T13" fmla="*/ 0 h 3"/>
                  <a:gd name="T14" fmla="*/ 4 w 4"/>
                  <a:gd name="T15" fmla="*/ 0 h 3"/>
                  <a:gd name="T16" fmla="*/ 4 w 4"/>
                  <a:gd name="T17" fmla="*/ 0 h 3"/>
                  <a:gd name="T18" fmla="*/ 4 w 4"/>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4" y="0"/>
                    </a:moveTo>
                    <a:cubicBezTo>
                      <a:pt x="3" y="0"/>
                      <a:pt x="3" y="0"/>
                      <a:pt x="3" y="0"/>
                    </a:cubicBezTo>
                    <a:cubicBezTo>
                      <a:pt x="3" y="1"/>
                      <a:pt x="2" y="1"/>
                      <a:pt x="1" y="2"/>
                    </a:cubicBezTo>
                    <a:cubicBezTo>
                      <a:pt x="1" y="2"/>
                      <a:pt x="1" y="2"/>
                      <a:pt x="0" y="3"/>
                    </a:cubicBezTo>
                    <a:cubicBezTo>
                      <a:pt x="1" y="2"/>
                      <a:pt x="2" y="1"/>
                      <a:pt x="3" y="1"/>
                    </a:cubicBezTo>
                    <a:cubicBezTo>
                      <a:pt x="3" y="1"/>
                      <a:pt x="4" y="0"/>
                      <a:pt x="4" y="0"/>
                    </a:cubicBezTo>
                    <a:cubicBezTo>
                      <a:pt x="4" y="0"/>
                      <a:pt x="4" y="0"/>
                      <a:pt x="4" y="0"/>
                    </a:cubicBezTo>
                    <a:cubicBezTo>
                      <a:pt x="4" y="0"/>
                      <a:pt x="4" y="0"/>
                      <a:pt x="4" y="0"/>
                    </a:cubicBezTo>
                    <a:cubicBezTo>
                      <a:pt x="4" y="0"/>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1" name="Freeform 1937">
                <a:extLst>
                  <a:ext uri="{FF2B5EF4-FFF2-40B4-BE49-F238E27FC236}">
                    <a16:creationId xmlns:a16="http://schemas.microsoft.com/office/drawing/2014/main" id="{BE1BFF86-2203-4793-A928-384E043B48E8}"/>
                  </a:ext>
                </a:extLst>
              </p:cNvPr>
              <p:cNvSpPr>
                <a:spLocks/>
              </p:cNvSpPr>
              <p:nvPr/>
            </p:nvSpPr>
            <p:spPr bwMode="auto">
              <a:xfrm>
                <a:off x="1563" y="2121"/>
                <a:ext cx="5" cy="2"/>
              </a:xfrm>
              <a:custGeom>
                <a:avLst/>
                <a:gdLst>
                  <a:gd name="T0" fmla="*/ 0 w 2"/>
                  <a:gd name="T1" fmla="*/ 0 h 1"/>
                  <a:gd name="T2" fmla="*/ 2 w 2"/>
                  <a:gd name="T3" fmla="*/ 1 h 1"/>
                  <a:gd name="T4" fmla="*/ 2 w 2"/>
                  <a:gd name="T5" fmla="*/ 1 h 1"/>
                  <a:gd name="T6" fmla="*/ 2 w 2"/>
                  <a:gd name="T7" fmla="*/ 1 h 1"/>
                  <a:gd name="T8" fmla="*/ 2 w 2"/>
                  <a:gd name="T9" fmla="*/ 1 h 1"/>
                  <a:gd name="T10" fmla="*/ 2 w 2"/>
                  <a:gd name="T11" fmla="*/ 1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1" y="1"/>
                      <a:pt x="1" y="1"/>
                      <a:pt x="2" y="1"/>
                    </a:cubicBezTo>
                    <a:cubicBezTo>
                      <a:pt x="2" y="1"/>
                      <a:pt x="2" y="1"/>
                      <a:pt x="2" y="1"/>
                    </a:cubicBezTo>
                    <a:cubicBezTo>
                      <a:pt x="2" y="1"/>
                      <a:pt x="2" y="1"/>
                      <a:pt x="2" y="1"/>
                    </a:cubicBezTo>
                    <a:cubicBezTo>
                      <a:pt x="2" y="1"/>
                      <a:pt x="2" y="1"/>
                      <a:pt x="2" y="1"/>
                    </a:cubicBezTo>
                    <a:cubicBezTo>
                      <a:pt x="2" y="1"/>
                      <a:pt x="2"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2" name="Freeform 1938">
                <a:extLst>
                  <a:ext uri="{FF2B5EF4-FFF2-40B4-BE49-F238E27FC236}">
                    <a16:creationId xmlns:a16="http://schemas.microsoft.com/office/drawing/2014/main" id="{4F3C8EC2-DA4B-440A-B1B7-6DC683D38E04}"/>
                  </a:ext>
                </a:extLst>
              </p:cNvPr>
              <p:cNvSpPr>
                <a:spLocks/>
              </p:cNvSpPr>
              <p:nvPr/>
            </p:nvSpPr>
            <p:spPr bwMode="auto">
              <a:xfrm>
                <a:off x="1417" y="2024"/>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3" name="Freeform 1939">
                <a:extLst>
                  <a:ext uri="{FF2B5EF4-FFF2-40B4-BE49-F238E27FC236}">
                    <a16:creationId xmlns:a16="http://schemas.microsoft.com/office/drawing/2014/main" id="{FC158E29-E4CE-4382-B45D-DCE5B5211CF0}"/>
                  </a:ext>
                </a:extLst>
              </p:cNvPr>
              <p:cNvSpPr>
                <a:spLocks/>
              </p:cNvSpPr>
              <p:nvPr/>
            </p:nvSpPr>
            <p:spPr bwMode="auto">
              <a:xfrm>
                <a:off x="1211" y="2071"/>
                <a:ext cx="9" cy="10"/>
              </a:xfrm>
              <a:custGeom>
                <a:avLst/>
                <a:gdLst>
                  <a:gd name="T0" fmla="*/ 3 w 4"/>
                  <a:gd name="T1" fmla="*/ 1 h 4"/>
                  <a:gd name="T2" fmla="*/ 1 w 4"/>
                  <a:gd name="T3" fmla="*/ 2 h 4"/>
                  <a:gd name="T4" fmla="*/ 0 w 4"/>
                  <a:gd name="T5" fmla="*/ 3 h 4"/>
                  <a:gd name="T6" fmla="*/ 0 w 4"/>
                  <a:gd name="T7" fmla="*/ 4 h 4"/>
                  <a:gd name="T8" fmla="*/ 4 w 4"/>
                  <a:gd name="T9" fmla="*/ 0 h 4"/>
                  <a:gd name="T10" fmla="*/ 4 w 4"/>
                  <a:gd name="T11" fmla="*/ 1 h 4"/>
                  <a:gd name="T12" fmla="*/ 3 w 4"/>
                  <a:gd name="T13" fmla="*/ 1 h 4"/>
                  <a:gd name="T14" fmla="*/ 3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3" y="1"/>
                    </a:moveTo>
                    <a:cubicBezTo>
                      <a:pt x="2" y="1"/>
                      <a:pt x="2" y="2"/>
                      <a:pt x="1" y="2"/>
                    </a:cubicBezTo>
                    <a:cubicBezTo>
                      <a:pt x="1" y="2"/>
                      <a:pt x="1" y="3"/>
                      <a:pt x="0" y="3"/>
                    </a:cubicBezTo>
                    <a:cubicBezTo>
                      <a:pt x="0" y="3"/>
                      <a:pt x="0" y="4"/>
                      <a:pt x="0" y="4"/>
                    </a:cubicBezTo>
                    <a:cubicBezTo>
                      <a:pt x="0" y="4"/>
                      <a:pt x="4" y="1"/>
                      <a:pt x="4" y="0"/>
                    </a:cubicBezTo>
                    <a:cubicBezTo>
                      <a:pt x="4" y="0"/>
                      <a:pt x="4" y="0"/>
                      <a:pt x="4" y="1"/>
                    </a:cubicBezTo>
                    <a:cubicBezTo>
                      <a:pt x="4" y="1"/>
                      <a:pt x="4" y="1"/>
                      <a:pt x="3" y="1"/>
                    </a:cubicBezTo>
                    <a:cubicBezTo>
                      <a:pt x="3"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4" name="Freeform 1940">
                <a:extLst>
                  <a:ext uri="{FF2B5EF4-FFF2-40B4-BE49-F238E27FC236}">
                    <a16:creationId xmlns:a16="http://schemas.microsoft.com/office/drawing/2014/main" id="{8C24F12B-6D1B-45A6-B884-82F59155B631}"/>
                  </a:ext>
                </a:extLst>
              </p:cNvPr>
              <p:cNvSpPr>
                <a:spLocks/>
              </p:cNvSpPr>
              <p:nvPr/>
            </p:nvSpPr>
            <p:spPr bwMode="auto">
              <a:xfrm>
                <a:off x="577" y="1499"/>
                <a:ext cx="7" cy="2"/>
              </a:xfrm>
              <a:custGeom>
                <a:avLst/>
                <a:gdLst>
                  <a:gd name="T0" fmla="*/ 2 w 3"/>
                  <a:gd name="T1" fmla="*/ 1 h 1"/>
                  <a:gd name="T2" fmla="*/ 2 w 3"/>
                  <a:gd name="T3" fmla="*/ 0 h 1"/>
                  <a:gd name="T4" fmla="*/ 1 w 3"/>
                  <a:gd name="T5" fmla="*/ 0 h 1"/>
                  <a:gd name="T6" fmla="*/ 0 w 3"/>
                  <a:gd name="T7" fmla="*/ 0 h 1"/>
                  <a:gd name="T8" fmla="*/ 1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cubicBezTo>
                      <a:pt x="3" y="1"/>
                      <a:pt x="3" y="0"/>
                      <a:pt x="2" y="0"/>
                    </a:cubicBezTo>
                    <a:cubicBezTo>
                      <a:pt x="2" y="0"/>
                      <a:pt x="1" y="0"/>
                      <a:pt x="1" y="0"/>
                    </a:cubicBezTo>
                    <a:cubicBezTo>
                      <a:pt x="1" y="0"/>
                      <a:pt x="1" y="0"/>
                      <a:pt x="0" y="0"/>
                    </a:cubicBezTo>
                    <a:cubicBezTo>
                      <a:pt x="1" y="1"/>
                      <a:pt x="0" y="1"/>
                      <a:pt x="1"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5" name="Oval 1941">
                <a:extLst>
                  <a:ext uri="{FF2B5EF4-FFF2-40B4-BE49-F238E27FC236}">
                    <a16:creationId xmlns:a16="http://schemas.microsoft.com/office/drawing/2014/main" id="{D82BD7AB-257F-4C96-8629-DB2545AABC4E}"/>
                  </a:ext>
                </a:extLst>
              </p:cNvPr>
              <p:cNvSpPr>
                <a:spLocks noChangeArrowheads="1"/>
              </p:cNvSpPr>
              <p:nvPr/>
            </p:nvSpPr>
            <p:spPr bwMode="auto">
              <a:xfrm>
                <a:off x="1395" y="2026"/>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6" name="Freeform 1942">
                <a:extLst>
                  <a:ext uri="{FF2B5EF4-FFF2-40B4-BE49-F238E27FC236}">
                    <a16:creationId xmlns:a16="http://schemas.microsoft.com/office/drawing/2014/main" id="{71B9A5E3-72D9-4094-9DE9-64021BF66BD9}"/>
                  </a:ext>
                </a:extLst>
              </p:cNvPr>
              <p:cNvSpPr>
                <a:spLocks/>
              </p:cNvSpPr>
              <p:nvPr/>
            </p:nvSpPr>
            <p:spPr bwMode="auto">
              <a:xfrm>
                <a:off x="1447" y="2019"/>
                <a:ext cx="12" cy="3"/>
              </a:xfrm>
              <a:custGeom>
                <a:avLst/>
                <a:gdLst>
                  <a:gd name="T0" fmla="*/ 0 w 5"/>
                  <a:gd name="T1" fmla="*/ 1 h 1"/>
                  <a:gd name="T2" fmla="*/ 5 w 5"/>
                  <a:gd name="T3" fmla="*/ 0 h 1"/>
                  <a:gd name="T4" fmla="*/ 4 w 5"/>
                  <a:gd name="T5" fmla="*/ 0 h 1"/>
                  <a:gd name="T6" fmla="*/ 0 w 5"/>
                  <a:gd name="T7" fmla="*/ 1 h 1"/>
                </a:gdLst>
                <a:ahLst/>
                <a:cxnLst>
                  <a:cxn ang="0">
                    <a:pos x="T0" y="T1"/>
                  </a:cxn>
                  <a:cxn ang="0">
                    <a:pos x="T2" y="T3"/>
                  </a:cxn>
                  <a:cxn ang="0">
                    <a:pos x="T4" y="T5"/>
                  </a:cxn>
                  <a:cxn ang="0">
                    <a:pos x="T6" y="T7"/>
                  </a:cxn>
                </a:cxnLst>
                <a:rect l="0" t="0" r="r" b="b"/>
                <a:pathLst>
                  <a:path w="5" h="1">
                    <a:moveTo>
                      <a:pt x="0" y="1"/>
                    </a:moveTo>
                    <a:cubicBezTo>
                      <a:pt x="2" y="0"/>
                      <a:pt x="3" y="0"/>
                      <a:pt x="5" y="0"/>
                    </a:cubicBezTo>
                    <a:cubicBezTo>
                      <a:pt x="4" y="0"/>
                      <a:pt x="4" y="0"/>
                      <a:pt x="4" y="0"/>
                    </a:cubicBezTo>
                    <a:cubicBezTo>
                      <a:pt x="3"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7" name="Freeform 1943">
                <a:extLst>
                  <a:ext uri="{FF2B5EF4-FFF2-40B4-BE49-F238E27FC236}">
                    <a16:creationId xmlns:a16="http://schemas.microsoft.com/office/drawing/2014/main" id="{B573BF82-05EE-4D25-81E2-E4297C95000B}"/>
                  </a:ext>
                </a:extLst>
              </p:cNvPr>
              <p:cNvSpPr>
                <a:spLocks/>
              </p:cNvSpPr>
              <p:nvPr/>
            </p:nvSpPr>
            <p:spPr bwMode="auto">
              <a:xfrm>
                <a:off x="1440" y="2022"/>
                <a:ext cx="7" cy="0"/>
              </a:xfrm>
              <a:custGeom>
                <a:avLst/>
                <a:gdLst>
                  <a:gd name="T0" fmla="*/ 0 w 3"/>
                  <a:gd name="T1" fmla="*/ 3 w 3"/>
                  <a:gd name="T2" fmla="*/ 1 w 3"/>
                  <a:gd name="T3" fmla="*/ 0 w 3"/>
                </a:gdLst>
                <a:ahLst/>
                <a:cxnLst>
                  <a:cxn ang="0">
                    <a:pos x="T0" y="0"/>
                  </a:cxn>
                  <a:cxn ang="0">
                    <a:pos x="T1" y="0"/>
                  </a:cxn>
                  <a:cxn ang="0">
                    <a:pos x="T2" y="0"/>
                  </a:cxn>
                  <a:cxn ang="0">
                    <a:pos x="T3" y="0"/>
                  </a:cxn>
                </a:cxnLst>
                <a:rect l="0" t="0" r="r" b="b"/>
                <a:pathLst>
                  <a:path w="3">
                    <a:moveTo>
                      <a:pt x="0" y="0"/>
                    </a:moveTo>
                    <a:cubicBezTo>
                      <a:pt x="1" y="0"/>
                      <a:pt x="2" y="0"/>
                      <a:pt x="3" y="0"/>
                    </a:cubicBezTo>
                    <a:cubicBezTo>
                      <a:pt x="2" y="0"/>
                      <a:pt x="2"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8" name="Freeform 1944">
                <a:extLst>
                  <a:ext uri="{FF2B5EF4-FFF2-40B4-BE49-F238E27FC236}">
                    <a16:creationId xmlns:a16="http://schemas.microsoft.com/office/drawing/2014/main" id="{6FC0F20C-72CF-46F9-9CF7-B06B2DC919C1}"/>
                  </a:ext>
                </a:extLst>
              </p:cNvPr>
              <p:cNvSpPr>
                <a:spLocks/>
              </p:cNvSpPr>
              <p:nvPr/>
            </p:nvSpPr>
            <p:spPr bwMode="auto">
              <a:xfrm>
                <a:off x="1523" y="1577"/>
                <a:ext cx="9" cy="4"/>
              </a:xfrm>
              <a:custGeom>
                <a:avLst/>
                <a:gdLst>
                  <a:gd name="T0" fmla="*/ 0 w 4"/>
                  <a:gd name="T1" fmla="*/ 1 h 2"/>
                  <a:gd name="T2" fmla="*/ 0 w 4"/>
                  <a:gd name="T3" fmla="*/ 1 h 2"/>
                  <a:gd name="T4" fmla="*/ 2 w 4"/>
                  <a:gd name="T5" fmla="*/ 2 h 2"/>
                  <a:gd name="T6" fmla="*/ 2 w 4"/>
                  <a:gd name="T7" fmla="*/ 2 h 2"/>
                  <a:gd name="T8" fmla="*/ 3 w 4"/>
                  <a:gd name="T9" fmla="*/ 2 h 2"/>
                  <a:gd name="T10" fmla="*/ 3 w 4"/>
                  <a:gd name="T11" fmla="*/ 2 h 2"/>
                  <a:gd name="T12" fmla="*/ 4 w 4"/>
                  <a:gd name="T13" fmla="*/ 2 h 2"/>
                  <a:gd name="T14" fmla="*/ 3 w 4"/>
                  <a:gd name="T15" fmla="*/ 0 h 2"/>
                  <a:gd name="T16" fmla="*/ 1 w 4"/>
                  <a:gd name="T17" fmla="*/ 1 h 2"/>
                  <a:gd name="T18" fmla="*/ 1 w 4"/>
                  <a:gd name="T19" fmla="*/ 1 h 2"/>
                  <a:gd name="T20" fmla="*/ 0 w 4"/>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0" y="1"/>
                    </a:moveTo>
                    <a:cubicBezTo>
                      <a:pt x="0" y="1"/>
                      <a:pt x="0" y="1"/>
                      <a:pt x="0" y="1"/>
                    </a:cubicBezTo>
                    <a:cubicBezTo>
                      <a:pt x="0" y="1"/>
                      <a:pt x="1" y="2"/>
                      <a:pt x="2" y="2"/>
                    </a:cubicBezTo>
                    <a:cubicBezTo>
                      <a:pt x="2" y="2"/>
                      <a:pt x="2" y="2"/>
                      <a:pt x="2" y="2"/>
                    </a:cubicBezTo>
                    <a:cubicBezTo>
                      <a:pt x="2" y="2"/>
                      <a:pt x="3" y="2"/>
                      <a:pt x="3" y="2"/>
                    </a:cubicBezTo>
                    <a:cubicBezTo>
                      <a:pt x="3" y="2"/>
                      <a:pt x="3" y="2"/>
                      <a:pt x="3" y="2"/>
                    </a:cubicBezTo>
                    <a:cubicBezTo>
                      <a:pt x="3" y="2"/>
                      <a:pt x="4" y="2"/>
                      <a:pt x="4" y="2"/>
                    </a:cubicBezTo>
                    <a:cubicBezTo>
                      <a:pt x="4" y="2"/>
                      <a:pt x="3" y="0"/>
                      <a:pt x="3" y="0"/>
                    </a:cubicBezTo>
                    <a:cubicBezTo>
                      <a:pt x="2" y="1"/>
                      <a:pt x="2" y="1"/>
                      <a:pt x="1" y="1"/>
                    </a:cubicBezTo>
                    <a:cubicBezTo>
                      <a:pt x="1" y="1"/>
                      <a:pt x="1" y="1"/>
                      <a:pt x="1" y="1"/>
                    </a:cubicBezTo>
                    <a:cubicBezTo>
                      <a:pt x="1" y="1"/>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9" name="Freeform 1945">
                <a:extLst>
                  <a:ext uri="{FF2B5EF4-FFF2-40B4-BE49-F238E27FC236}">
                    <a16:creationId xmlns:a16="http://schemas.microsoft.com/office/drawing/2014/main" id="{DFD8BA11-869B-4C71-85FD-CFEC6016C4DE}"/>
                  </a:ext>
                </a:extLst>
              </p:cNvPr>
              <p:cNvSpPr>
                <a:spLocks/>
              </p:cNvSpPr>
              <p:nvPr/>
            </p:nvSpPr>
            <p:spPr bwMode="auto">
              <a:xfrm>
                <a:off x="1223" y="2071"/>
                <a:ext cx="2"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0" name="Freeform 1946">
                <a:extLst>
                  <a:ext uri="{FF2B5EF4-FFF2-40B4-BE49-F238E27FC236}">
                    <a16:creationId xmlns:a16="http://schemas.microsoft.com/office/drawing/2014/main" id="{F5E2B11C-14B7-4748-A5A7-5DD75C2BC4CE}"/>
                  </a:ext>
                </a:extLst>
              </p:cNvPr>
              <p:cNvSpPr>
                <a:spLocks/>
              </p:cNvSpPr>
              <p:nvPr/>
            </p:nvSpPr>
            <p:spPr bwMode="auto">
              <a:xfrm>
                <a:off x="1197" y="2100"/>
                <a:ext cx="2" cy="2"/>
              </a:xfrm>
              <a:custGeom>
                <a:avLst/>
                <a:gdLst>
                  <a:gd name="T0" fmla="*/ 0 w 1"/>
                  <a:gd name="T1" fmla="*/ 1 h 1"/>
                  <a:gd name="T2" fmla="*/ 0 w 1"/>
                  <a:gd name="T3" fmla="*/ 1 h 1"/>
                  <a:gd name="T4" fmla="*/ 0 w 1"/>
                  <a:gd name="T5" fmla="*/ 1 h 1"/>
                  <a:gd name="T6" fmla="*/ 1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0" y="1"/>
                      <a:pt x="0" y="1"/>
                    </a:cubicBezTo>
                    <a:cubicBezTo>
                      <a:pt x="0" y="1"/>
                      <a:pt x="0" y="1"/>
                      <a:pt x="0" y="1"/>
                    </a:cubicBezTo>
                    <a:cubicBezTo>
                      <a:pt x="0" y="1"/>
                      <a:pt x="0" y="1"/>
                      <a:pt x="1" y="0"/>
                    </a:cubicBezTo>
                    <a:cubicBezTo>
                      <a:pt x="1"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1" name="Freeform 1947">
                <a:extLst>
                  <a:ext uri="{FF2B5EF4-FFF2-40B4-BE49-F238E27FC236}">
                    <a16:creationId xmlns:a16="http://schemas.microsoft.com/office/drawing/2014/main" id="{14571B07-018D-4683-A3D1-7B37E19A14DD}"/>
                  </a:ext>
                </a:extLst>
              </p:cNvPr>
              <p:cNvSpPr>
                <a:spLocks/>
              </p:cNvSpPr>
              <p:nvPr/>
            </p:nvSpPr>
            <p:spPr bwMode="auto">
              <a:xfrm>
                <a:off x="1197" y="21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2" name="Freeform 1948">
                <a:extLst>
                  <a:ext uri="{FF2B5EF4-FFF2-40B4-BE49-F238E27FC236}">
                    <a16:creationId xmlns:a16="http://schemas.microsoft.com/office/drawing/2014/main" id="{3F29C472-7989-41C3-A8A4-63711CDCE142}"/>
                  </a:ext>
                </a:extLst>
              </p:cNvPr>
              <p:cNvSpPr>
                <a:spLocks/>
              </p:cNvSpPr>
              <p:nvPr/>
            </p:nvSpPr>
            <p:spPr bwMode="auto">
              <a:xfrm>
                <a:off x="1199" y="2088"/>
                <a:ext cx="5" cy="12"/>
              </a:xfrm>
              <a:custGeom>
                <a:avLst/>
                <a:gdLst>
                  <a:gd name="T0" fmla="*/ 0 w 2"/>
                  <a:gd name="T1" fmla="*/ 5 h 5"/>
                  <a:gd name="T2" fmla="*/ 2 w 2"/>
                  <a:gd name="T3" fmla="*/ 0 h 5"/>
                  <a:gd name="T4" fmla="*/ 0 w 2"/>
                  <a:gd name="T5" fmla="*/ 5 h 5"/>
                </a:gdLst>
                <a:ahLst/>
                <a:cxnLst>
                  <a:cxn ang="0">
                    <a:pos x="T0" y="T1"/>
                  </a:cxn>
                  <a:cxn ang="0">
                    <a:pos x="T2" y="T3"/>
                  </a:cxn>
                  <a:cxn ang="0">
                    <a:pos x="T4" y="T5"/>
                  </a:cxn>
                </a:cxnLst>
                <a:rect l="0" t="0" r="r" b="b"/>
                <a:pathLst>
                  <a:path w="2" h="5">
                    <a:moveTo>
                      <a:pt x="0" y="5"/>
                    </a:moveTo>
                    <a:cubicBezTo>
                      <a:pt x="1" y="4"/>
                      <a:pt x="1" y="2"/>
                      <a:pt x="2" y="0"/>
                    </a:cubicBezTo>
                    <a:cubicBezTo>
                      <a:pt x="1"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3" name="Freeform 1949">
                <a:extLst>
                  <a:ext uri="{FF2B5EF4-FFF2-40B4-BE49-F238E27FC236}">
                    <a16:creationId xmlns:a16="http://schemas.microsoft.com/office/drawing/2014/main" id="{E07D3F77-A3AA-40DC-B1B2-1E67344F1BCF}"/>
                  </a:ext>
                </a:extLst>
              </p:cNvPr>
              <p:cNvSpPr>
                <a:spLocks/>
              </p:cNvSpPr>
              <p:nvPr/>
            </p:nvSpPr>
            <p:spPr bwMode="auto">
              <a:xfrm>
                <a:off x="1603" y="2152"/>
                <a:ext cx="7" cy="9"/>
              </a:xfrm>
              <a:custGeom>
                <a:avLst/>
                <a:gdLst>
                  <a:gd name="T0" fmla="*/ 3 w 3"/>
                  <a:gd name="T1" fmla="*/ 0 h 4"/>
                  <a:gd name="T2" fmla="*/ 1 w 3"/>
                  <a:gd name="T3" fmla="*/ 3 h 4"/>
                  <a:gd name="T4" fmla="*/ 0 w 3"/>
                  <a:gd name="T5" fmla="*/ 4 h 4"/>
                  <a:gd name="T6" fmla="*/ 0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2" y="1"/>
                      <a:pt x="1" y="2"/>
                      <a:pt x="1" y="3"/>
                    </a:cubicBezTo>
                    <a:cubicBezTo>
                      <a:pt x="0" y="3"/>
                      <a:pt x="0" y="4"/>
                      <a:pt x="0" y="4"/>
                    </a:cubicBezTo>
                    <a:cubicBezTo>
                      <a:pt x="0" y="4"/>
                      <a:pt x="0" y="4"/>
                      <a:pt x="0" y="4"/>
                    </a:cubicBezTo>
                    <a:cubicBezTo>
                      <a:pt x="1" y="3"/>
                      <a:pt x="2"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4" name="Freeform 1950">
                <a:extLst>
                  <a:ext uri="{FF2B5EF4-FFF2-40B4-BE49-F238E27FC236}">
                    <a16:creationId xmlns:a16="http://schemas.microsoft.com/office/drawing/2014/main" id="{204A02D7-076F-4E25-8353-BC8953970349}"/>
                  </a:ext>
                </a:extLst>
              </p:cNvPr>
              <p:cNvSpPr>
                <a:spLocks/>
              </p:cNvSpPr>
              <p:nvPr/>
            </p:nvSpPr>
            <p:spPr bwMode="auto">
              <a:xfrm>
                <a:off x="875" y="2156"/>
                <a:ext cx="5" cy="8"/>
              </a:xfrm>
              <a:custGeom>
                <a:avLst/>
                <a:gdLst>
                  <a:gd name="T0" fmla="*/ 1 w 2"/>
                  <a:gd name="T1" fmla="*/ 3 h 3"/>
                  <a:gd name="T2" fmla="*/ 1 w 2"/>
                  <a:gd name="T3" fmla="*/ 3 h 3"/>
                  <a:gd name="T4" fmla="*/ 1 w 2"/>
                  <a:gd name="T5" fmla="*/ 3 h 3"/>
                  <a:gd name="T6" fmla="*/ 2 w 2"/>
                  <a:gd name="T7" fmla="*/ 3 h 3"/>
                  <a:gd name="T8" fmla="*/ 0 w 2"/>
                  <a:gd name="T9" fmla="*/ 0 h 3"/>
                  <a:gd name="T10" fmla="*/ 1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1" y="3"/>
                    </a:moveTo>
                    <a:cubicBezTo>
                      <a:pt x="1" y="3"/>
                      <a:pt x="1" y="3"/>
                      <a:pt x="1" y="3"/>
                    </a:cubicBezTo>
                    <a:cubicBezTo>
                      <a:pt x="1" y="3"/>
                      <a:pt x="1" y="3"/>
                      <a:pt x="1" y="3"/>
                    </a:cubicBezTo>
                    <a:cubicBezTo>
                      <a:pt x="1" y="3"/>
                      <a:pt x="1" y="3"/>
                      <a:pt x="2" y="3"/>
                    </a:cubicBezTo>
                    <a:cubicBezTo>
                      <a:pt x="1" y="2"/>
                      <a:pt x="1" y="1"/>
                      <a:pt x="0" y="0"/>
                    </a:cubicBezTo>
                    <a:cubicBezTo>
                      <a:pt x="0" y="2"/>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5" name="Freeform 1951">
                <a:extLst>
                  <a:ext uri="{FF2B5EF4-FFF2-40B4-BE49-F238E27FC236}">
                    <a16:creationId xmlns:a16="http://schemas.microsoft.com/office/drawing/2014/main" id="{7886D639-ABB8-4D2A-8798-B558B3FB06B2}"/>
                  </a:ext>
                </a:extLst>
              </p:cNvPr>
              <p:cNvSpPr>
                <a:spLocks/>
              </p:cNvSpPr>
              <p:nvPr/>
            </p:nvSpPr>
            <p:spPr bwMode="auto">
              <a:xfrm>
                <a:off x="894" y="2178"/>
                <a:ext cx="5" cy="4"/>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1"/>
                      <a:pt x="1" y="0"/>
                      <a:pt x="0" y="0"/>
                    </a:cubicBezTo>
                    <a:cubicBezTo>
                      <a:pt x="1" y="0"/>
                      <a:pt x="1"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6" name="Freeform 1952">
                <a:extLst>
                  <a:ext uri="{FF2B5EF4-FFF2-40B4-BE49-F238E27FC236}">
                    <a16:creationId xmlns:a16="http://schemas.microsoft.com/office/drawing/2014/main" id="{BEE86FA5-31F8-4328-969E-3E5DA9FDBA01}"/>
                  </a:ext>
                </a:extLst>
              </p:cNvPr>
              <p:cNvSpPr>
                <a:spLocks/>
              </p:cNvSpPr>
              <p:nvPr/>
            </p:nvSpPr>
            <p:spPr bwMode="auto">
              <a:xfrm>
                <a:off x="1447" y="2272"/>
                <a:ext cx="7" cy="10"/>
              </a:xfrm>
              <a:custGeom>
                <a:avLst/>
                <a:gdLst>
                  <a:gd name="T0" fmla="*/ 2 w 3"/>
                  <a:gd name="T1" fmla="*/ 0 h 4"/>
                  <a:gd name="T2" fmla="*/ 1 w 3"/>
                  <a:gd name="T3" fmla="*/ 1 h 4"/>
                  <a:gd name="T4" fmla="*/ 1 w 3"/>
                  <a:gd name="T5" fmla="*/ 1 h 4"/>
                  <a:gd name="T6" fmla="*/ 0 w 3"/>
                  <a:gd name="T7" fmla="*/ 4 h 4"/>
                  <a:gd name="T8" fmla="*/ 3 w 3"/>
                  <a:gd name="T9" fmla="*/ 0 h 4"/>
                  <a:gd name="T10" fmla="*/ 3 w 3"/>
                  <a:gd name="T11" fmla="*/ 0 h 4"/>
                  <a:gd name="T12" fmla="*/ 2 w 3"/>
                  <a:gd name="T13" fmla="*/ 0 h 4"/>
                  <a:gd name="T14" fmla="*/ 2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2" y="0"/>
                    </a:moveTo>
                    <a:cubicBezTo>
                      <a:pt x="2" y="1"/>
                      <a:pt x="2" y="1"/>
                      <a:pt x="1" y="1"/>
                    </a:cubicBezTo>
                    <a:cubicBezTo>
                      <a:pt x="1" y="1"/>
                      <a:pt x="1" y="1"/>
                      <a:pt x="1" y="1"/>
                    </a:cubicBezTo>
                    <a:cubicBezTo>
                      <a:pt x="0" y="2"/>
                      <a:pt x="0" y="3"/>
                      <a:pt x="0" y="4"/>
                    </a:cubicBezTo>
                    <a:cubicBezTo>
                      <a:pt x="1" y="3"/>
                      <a:pt x="2" y="1"/>
                      <a:pt x="3" y="0"/>
                    </a:cubicBezTo>
                    <a:cubicBezTo>
                      <a:pt x="3" y="0"/>
                      <a:pt x="3" y="0"/>
                      <a:pt x="3" y="0"/>
                    </a:cubicBezTo>
                    <a:cubicBezTo>
                      <a:pt x="3" y="0"/>
                      <a:pt x="3"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7" name="Freeform 1953">
                <a:extLst>
                  <a:ext uri="{FF2B5EF4-FFF2-40B4-BE49-F238E27FC236}">
                    <a16:creationId xmlns:a16="http://schemas.microsoft.com/office/drawing/2014/main" id="{50E170B4-E605-4D1D-8969-AC8E81451BB9}"/>
                  </a:ext>
                </a:extLst>
              </p:cNvPr>
              <p:cNvSpPr>
                <a:spLocks/>
              </p:cNvSpPr>
              <p:nvPr/>
            </p:nvSpPr>
            <p:spPr bwMode="auto">
              <a:xfrm>
                <a:off x="885" y="2173"/>
                <a:ext cx="0" cy="2"/>
              </a:xfrm>
              <a:custGeom>
                <a:avLst/>
                <a:gdLst>
                  <a:gd name="T0" fmla="*/ 0 h 1"/>
                  <a:gd name="T1" fmla="*/ 0 h 1"/>
                  <a:gd name="T2" fmla="*/ 0 h 1"/>
                  <a:gd name="T3" fmla="*/ 1 h 1"/>
                  <a:gd name="T4" fmla="*/ 0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1"/>
                      <a:pt x="0" y="1"/>
                    </a:cubicBezTo>
                    <a:cubicBezTo>
                      <a:pt x="0" y="1"/>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8" name="Freeform 1954">
                <a:extLst>
                  <a:ext uri="{FF2B5EF4-FFF2-40B4-BE49-F238E27FC236}">
                    <a16:creationId xmlns:a16="http://schemas.microsoft.com/office/drawing/2014/main" id="{4B1E42C5-A5E0-4C55-B261-632D090EBB0B}"/>
                  </a:ext>
                </a:extLst>
              </p:cNvPr>
              <p:cNvSpPr>
                <a:spLocks/>
              </p:cNvSpPr>
              <p:nvPr/>
            </p:nvSpPr>
            <p:spPr bwMode="auto">
              <a:xfrm>
                <a:off x="823" y="2064"/>
                <a:ext cx="2" cy="3"/>
              </a:xfrm>
              <a:custGeom>
                <a:avLst/>
                <a:gdLst>
                  <a:gd name="T0" fmla="*/ 0 w 1"/>
                  <a:gd name="T1" fmla="*/ 0 h 1"/>
                  <a:gd name="T2" fmla="*/ 1 w 1"/>
                  <a:gd name="T3" fmla="*/ 1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1" y="1"/>
                      <a:pt x="1" y="1"/>
                    </a:cubicBezTo>
                    <a:cubicBezTo>
                      <a:pt x="1" y="1"/>
                      <a:pt x="1" y="1"/>
                      <a:pt x="1" y="1"/>
                    </a:cubicBezTo>
                    <a:cubicBezTo>
                      <a:pt x="0" y="1"/>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9" name="Freeform 1955">
                <a:extLst>
                  <a:ext uri="{FF2B5EF4-FFF2-40B4-BE49-F238E27FC236}">
                    <a16:creationId xmlns:a16="http://schemas.microsoft.com/office/drawing/2014/main" id="{CD2C82F3-4148-40AF-8725-6EFE48F4D046}"/>
                  </a:ext>
                </a:extLst>
              </p:cNvPr>
              <p:cNvSpPr>
                <a:spLocks/>
              </p:cNvSpPr>
              <p:nvPr/>
            </p:nvSpPr>
            <p:spPr bwMode="auto">
              <a:xfrm>
                <a:off x="863" y="2133"/>
                <a:ext cx="3" cy="4"/>
              </a:xfrm>
              <a:custGeom>
                <a:avLst/>
                <a:gdLst>
                  <a:gd name="T0" fmla="*/ 0 w 1"/>
                  <a:gd name="T1" fmla="*/ 2 h 2"/>
                  <a:gd name="T2" fmla="*/ 1 w 1"/>
                  <a:gd name="T3" fmla="*/ 0 h 2"/>
                  <a:gd name="T4" fmla="*/ 0 w 1"/>
                  <a:gd name="T5" fmla="*/ 1 h 2"/>
                  <a:gd name="T6" fmla="*/ 0 w 1"/>
                  <a:gd name="T7" fmla="*/ 2 h 2"/>
                  <a:gd name="T8" fmla="*/ 0 w 1"/>
                  <a:gd name="T9" fmla="*/ 2 h 2"/>
                  <a:gd name="T10" fmla="*/ 0 w 1"/>
                  <a:gd name="T11" fmla="*/ 2 h 2"/>
                  <a:gd name="T12" fmla="*/ 0 w 1"/>
                  <a:gd name="T13" fmla="*/ 2 h 2"/>
                  <a:gd name="T14" fmla="*/ 0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2"/>
                    </a:moveTo>
                    <a:cubicBezTo>
                      <a:pt x="1" y="2"/>
                      <a:pt x="1" y="1"/>
                      <a:pt x="1" y="0"/>
                    </a:cubicBezTo>
                    <a:cubicBezTo>
                      <a:pt x="1" y="0"/>
                      <a:pt x="0" y="0"/>
                      <a:pt x="0" y="1"/>
                    </a:cubicBezTo>
                    <a:cubicBezTo>
                      <a:pt x="0" y="1"/>
                      <a:pt x="0" y="1"/>
                      <a:pt x="0" y="2"/>
                    </a:cubicBezTo>
                    <a:cubicBezTo>
                      <a:pt x="0" y="2"/>
                      <a:pt x="0" y="2"/>
                      <a:pt x="0" y="2"/>
                    </a:cubicBezTo>
                    <a:cubicBezTo>
                      <a:pt x="0" y="2"/>
                      <a:pt x="0" y="2"/>
                      <a:pt x="0" y="2"/>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0" name="Freeform 1956">
                <a:extLst>
                  <a:ext uri="{FF2B5EF4-FFF2-40B4-BE49-F238E27FC236}">
                    <a16:creationId xmlns:a16="http://schemas.microsoft.com/office/drawing/2014/main" id="{7EDE1F05-A67A-4582-A332-6F398E46CCFD}"/>
                  </a:ext>
                </a:extLst>
              </p:cNvPr>
              <p:cNvSpPr>
                <a:spLocks/>
              </p:cNvSpPr>
              <p:nvPr/>
            </p:nvSpPr>
            <p:spPr bwMode="auto">
              <a:xfrm>
                <a:off x="837" y="2154"/>
                <a:ext cx="5" cy="19"/>
              </a:xfrm>
              <a:custGeom>
                <a:avLst/>
                <a:gdLst>
                  <a:gd name="T0" fmla="*/ 1 w 2"/>
                  <a:gd name="T1" fmla="*/ 2 h 8"/>
                  <a:gd name="T2" fmla="*/ 1 w 2"/>
                  <a:gd name="T3" fmla="*/ 2 h 8"/>
                  <a:gd name="T4" fmla="*/ 2 w 2"/>
                  <a:gd name="T5" fmla="*/ 0 h 8"/>
                  <a:gd name="T6" fmla="*/ 2 w 2"/>
                  <a:gd name="T7" fmla="*/ 0 h 8"/>
                  <a:gd name="T8" fmla="*/ 1 w 2"/>
                  <a:gd name="T9" fmla="*/ 2 h 8"/>
                  <a:gd name="T10" fmla="*/ 0 w 2"/>
                  <a:gd name="T11" fmla="*/ 4 h 8"/>
                  <a:gd name="T12" fmla="*/ 1 w 2"/>
                  <a:gd name="T13" fmla="*/ 6 h 8"/>
                  <a:gd name="T14" fmla="*/ 1 w 2"/>
                  <a:gd name="T15" fmla="*/ 7 h 8"/>
                  <a:gd name="T16" fmla="*/ 2 w 2"/>
                  <a:gd name="T17" fmla="*/ 8 h 8"/>
                  <a:gd name="T18" fmla="*/ 1 w 2"/>
                  <a:gd name="T19" fmla="*/ 4 h 8"/>
                  <a:gd name="T20" fmla="*/ 1 w 2"/>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8">
                    <a:moveTo>
                      <a:pt x="1" y="2"/>
                    </a:moveTo>
                    <a:cubicBezTo>
                      <a:pt x="1" y="2"/>
                      <a:pt x="1" y="2"/>
                      <a:pt x="1" y="2"/>
                    </a:cubicBezTo>
                    <a:cubicBezTo>
                      <a:pt x="1" y="1"/>
                      <a:pt x="2" y="1"/>
                      <a:pt x="2" y="0"/>
                    </a:cubicBezTo>
                    <a:cubicBezTo>
                      <a:pt x="2" y="0"/>
                      <a:pt x="2" y="0"/>
                      <a:pt x="2" y="0"/>
                    </a:cubicBezTo>
                    <a:cubicBezTo>
                      <a:pt x="1" y="0"/>
                      <a:pt x="1" y="1"/>
                      <a:pt x="1" y="2"/>
                    </a:cubicBezTo>
                    <a:cubicBezTo>
                      <a:pt x="1" y="3"/>
                      <a:pt x="0" y="4"/>
                      <a:pt x="0" y="4"/>
                    </a:cubicBezTo>
                    <a:cubicBezTo>
                      <a:pt x="1" y="5"/>
                      <a:pt x="1" y="5"/>
                      <a:pt x="1" y="6"/>
                    </a:cubicBezTo>
                    <a:cubicBezTo>
                      <a:pt x="1" y="6"/>
                      <a:pt x="1" y="6"/>
                      <a:pt x="1" y="7"/>
                    </a:cubicBezTo>
                    <a:cubicBezTo>
                      <a:pt x="1" y="7"/>
                      <a:pt x="2" y="7"/>
                      <a:pt x="2" y="8"/>
                    </a:cubicBezTo>
                    <a:cubicBezTo>
                      <a:pt x="2" y="7"/>
                      <a:pt x="1" y="5"/>
                      <a:pt x="1" y="4"/>
                    </a:cubicBezTo>
                    <a:cubicBezTo>
                      <a:pt x="1" y="4"/>
                      <a:pt x="1" y="3"/>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1" name="Freeform 1957">
                <a:extLst>
                  <a:ext uri="{FF2B5EF4-FFF2-40B4-BE49-F238E27FC236}">
                    <a16:creationId xmlns:a16="http://schemas.microsoft.com/office/drawing/2014/main" id="{3C55A5DF-E146-476A-ACA8-7056B1C3EDB2}"/>
                  </a:ext>
                </a:extLst>
              </p:cNvPr>
              <p:cNvSpPr>
                <a:spLocks/>
              </p:cNvSpPr>
              <p:nvPr/>
            </p:nvSpPr>
            <p:spPr bwMode="auto">
              <a:xfrm>
                <a:off x="868" y="2315"/>
                <a:ext cx="2" cy="5"/>
              </a:xfrm>
              <a:custGeom>
                <a:avLst/>
                <a:gdLst>
                  <a:gd name="T0" fmla="*/ 1 w 1"/>
                  <a:gd name="T1" fmla="*/ 2 h 2"/>
                  <a:gd name="T2" fmla="*/ 0 w 1"/>
                  <a:gd name="T3" fmla="*/ 0 h 2"/>
                  <a:gd name="T4" fmla="*/ 0 w 1"/>
                  <a:gd name="T5" fmla="*/ 1 h 2"/>
                  <a:gd name="T6" fmla="*/ 0 w 1"/>
                  <a:gd name="T7" fmla="*/ 1 h 2"/>
                  <a:gd name="T8" fmla="*/ 0 w 1"/>
                  <a:gd name="T9" fmla="*/ 1 h 2"/>
                  <a:gd name="T10" fmla="*/ 0 w 1"/>
                  <a:gd name="T11" fmla="*/ 1 h 2"/>
                  <a:gd name="T12" fmla="*/ 0 w 1"/>
                  <a:gd name="T13" fmla="*/ 2 h 2"/>
                  <a:gd name="T14" fmla="*/ 1 w 1"/>
                  <a:gd name="T15" fmla="*/ 2 h 2"/>
                  <a:gd name="T16" fmla="*/ 1 w 1"/>
                  <a:gd name="T17" fmla="*/ 2 h 2"/>
                  <a:gd name="T18" fmla="*/ 1 w 1"/>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2"/>
                    </a:moveTo>
                    <a:cubicBezTo>
                      <a:pt x="0" y="1"/>
                      <a:pt x="0" y="1"/>
                      <a:pt x="0" y="0"/>
                    </a:cubicBezTo>
                    <a:cubicBezTo>
                      <a:pt x="0" y="0"/>
                      <a:pt x="0" y="1"/>
                      <a:pt x="0" y="1"/>
                    </a:cubicBezTo>
                    <a:cubicBezTo>
                      <a:pt x="0" y="1"/>
                      <a:pt x="0" y="1"/>
                      <a:pt x="0" y="1"/>
                    </a:cubicBezTo>
                    <a:cubicBezTo>
                      <a:pt x="0" y="1"/>
                      <a:pt x="0" y="1"/>
                      <a:pt x="0" y="1"/>
                    </a:cubicBezTo>
                    <a:cubicBezTo>
                      <a:pt x="0" y="1"/>
                      <a:pt x="0" y="1"/>
                      <a:pt x="0" y="1"/>
                    </a:cubicBezTo>
                    <a:cubicBezTo>
                      <a:pt x="0" y="1"/>
                      <a:pt x="0" y="1"/>
                      <a:pt x="0" y="2"/>
                    </a:cubicBezTo>
                    <a:cubicBezTo>
                      <a:pt x="0" y="2"/>
                      <a:pt x="0" y="2"/>
                      <a:pt x="1" y="2"/>
                    </a:cubicBezTo>
                    <a:cubicBezTo>
                      <a:pt x="1" y="2"/>
                      <a:pt x="1"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2" name="Freeform 1958">
                <a:extLst>
                  <a:ext uri="{FF2B5EF4-FFF2-40B4-BE49-F238E27FC236}">
                    <a16:creationId xmlns:a16="http://schemas.microsoft.com/office/drawing/2014/main" id="{CA3E462E-89B9-45C4-9AC8-EBF374BBA52F}"/>
                  </a:ext>
                </a:extLst>
              </p:cNvPr>
              <p:cNvSpPr>
                <a:spLocks/>
              </p:cNvSpPr>
              <p:nvPr/>
            </p:nvSpPr>
            <p:spPr bwMode="auto">
              <a:xfrm>
                <a:off x="2258" y="652"/>
                <a:ext cx="17" cy="7"/>
              </a:xfrm>
              <a:custGeom>
                <a:avLst/>
                <a:gdLst>
                  <a:gd name="T0" fmla="*/ 0 w 7"/>
                  <a:gd name="T1" fmla="*/ 1 h 3"/>
                  <a:gd name="T2" fmla="*/ 2 w 7"/>
                  <a:gd name="T3" fmla="*/ 3 h 3"/>
                  <a:gd name="T4" fmla="*/ 2 w 7"/>
                  <a:gd name="T5" fmla="*/ 3 h 3"/>
                  <a:gd name="T6" fmla="*/ 5 w 7"/>
                  <a:gd name="T7" fmla="*/ 2 h 3"/>
                  <a:gd name="T8" fmla="*/ 6 w 7"/>
                  <a:gd name="T9" fmla="*/ 1 h 3"/>
                  <a:gd name="T10" fmla="*/ 6 w 7"/>
                  <a:gd name="T11" fmla="*/ 1 h 3"/>
                  <a:gd name="T12" fmla="*/ 7 w 7"/>
                  <a:gd name="T13" fmla="*/ 1 h 3"/>
                  <a:gd name="T14" fmla="*/ 4 w 7"/>
                  <a:gd name="T15" fmla="*/ 0 h 3"/>
                  <a:gd name="T16" fmla="*/ 3 w 7"/>
                  <a:gd name="T17" fmla="*/ 0 h 3"/>
                  <a:gd name="T18" fmla="*/ 0 w 7"/>
                  <a:gd name="T19" fmla="*/ 1 h 3"/>
                  <a:gd name="T20" fmla="*/ 0 w 7"/>
                  <a:gd name="T21" fmla="*/ 1 h 3"/>
                  <a:gd name="T22" fmla="*/ 0 w 7"/>
                  <a:gd name="T23" fmla="*/ 1 h 3"/>
                  <a:gd name="T24" fmla="*/ 0 w 7"/>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0" y="1"/>
                    </a:moveTo>
                    <a:cubicBezTo>
                      <a:pt x="1" y="1"/>
                      <a:pt x="1" y="3"/>
                      <a:pt x="2" y="3"/>
                    </a:cubicBezTo>
                    <a:cubicBezTo>
                      <a:pt x="2" y="3"/>
                      <a:pt x="2" y="3"/>
                      <a:pt x="2" y="3"/>
                    </a:cubicBezTo>
                    <a:cubicBezTo>
                      <a:pt x="3" y="3"/>
                      <a:pt x="4" y="2"/>
                      <a:pt x="5" y="2"/>
                    </a:cubicBezTo>
                    <a:cubicBezTo>
                      <a:pt x="5" y="2"/>
                      <a:pt x="6" y="2"/>
                      <a:pt x="6" y="1"/>
                    </a:cubicBezTo>
                    <a:cubicBezTo>
                      <a:pt x="6" y="1"/>
                      <a:pt x="6" y="1"/>
                      <a:pt x="6" y="1"/>
                    </a:cubicBezTo>
                    <a:cubicBezTo>
                      <a:pt x="6" y="1"/>
                      <a:pt x="7" y="1"/>
                      <a:pt x="7" y="1"/>
                    </a:cubicBezTo>
                    <a:cubicBezTo>
                      <a:pt x="6" y="1"/>
                      <a:pt x="5" y="0"/>
                      <a:pt x="4" y="0"/>
                    </a:cubicBezTo>
                    <a:cubicBezTo>
                      <a:pt x="4" y="0"/>
                      <a:pt x="4" y="0"/>
                      <a:pt x="3" y="0"/>
                    </a:cubicBezTo>
                    <a:cubicBezTo>
                      <a:pt x="2" y="0"/>
                      <a:pt x="1" y="0"/>
                      <a:pt x="0" y="1"/>
                    </a:cubicBezTo>
                    <a:cubicBezTo>
                      <a:pt x="0" y="1"/>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3" name="Freeform 1959">
                <a:extLst>
                  <a:ext uri="{FF2B5EF4-FFF2-40B4-BE49-F238E27FC236}">
                    <a16:creationId xmlns:a16="http://schemas.microsoft.com/office/drawing/2014/main" id="{184C65D6-B829-4521-91EC-29C0BEBA9B44}"/>
                  </a:ext>
                </a:extLst>
              </p:cNvPr>
              <p:cNvSpPr>
                <a:spLocks/>
              </p:cNvSpPr>
              <p:nvPr/>
            </p:nvSpPr>
            <p:spPr bwMode="auto">
              <a:xfrm>
                <a:off x="2452" y="1106"/>
                <a:ext cx="7" cy="7"/>
              </a:xfrm>
              <a:custGeom>
                <a:avLst/>
                <a:gdLst>
                  <a:gd name="T0" fmla="*/ 3 w 3"/>
                  <a:gd name="T1" fmla="*/ 0 h 3"/>
                  <a:gd name="T2" fmla="*/ 1 w 3"/>
                  <a:gd name="T3" fmla="*/ 0 h 3"/>
                  <a:gd name="T4" fmla="*/ 1 w 3"/>
                  <a:gd name="T5" fmla="*/ 1 h 3"/>
                  <a:gd name="T6" fmla="*/ 0 w 3"/>
                  <a:gd name="T7" fmla="*/ 3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2" y="0"/>
                      <a:pt x="1" y="0"/>
                      <a:pt x="1" y="0"/>
                    </a:cubicBezTo>
                    <a:cubicBezTo>
                      <a:pt x="1" y="0"/>
                      <a:pt x="1" y="0"/>
                      <a:pt x="1" y="1"/>
                    </a:cubicBezTo>
                    <a:cubicBezTo>
                      <a:pt x="0" y="1"/>
                      <a:pt x="0" y="2"/>
                      <a:pt x="0" y="3"/>
                    </a:cubicBezTo>
                    <a:cubicBezTo>
                      <a:pt x="1" y="2"/>
                      <a:pt x="2"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4" name="Freeform 1960">
                <a:extLst>
                  <a:ext uri="{FF2B5EF4-FFF2-40B4-BE49-F238E27FC236}">
                    <a16:creationId xmlns:a16="http://schemas.microsoft.com/office/drawing/2014/main" id="{3B4BBE4B-4F1B-4A7F-A3AA-4B672C0B7046}"/>
                  </a:ext>
                </a:extLst>
              </p:cNvPr>
              <p:cNvSpPr>
                <a:spLocks/>
              </p:cNvSpPr>
              <p:nvPr/>
            </p:nvSpPr>
            <p:spPr bwMode="auto">
              <a:xfrm>
                <a:off x="2540" y="990"/>
                <a:ext cx="16" cy="12"/>
              </a:xfrm>
              <a:custGeom>
                <a:avLst/>
                <a:gdLst>
                  <a:gd name="T0" fmla="*/ 7 w 7"/>
                  <a:gd name="T1" fmla="*/ 4 h 5"/>
                  <a:gd name="T2" fmla="*/ 7 w 7"/>
                  <a:gd name="T3" fmla="*/ 4 h 5"/>
                  <a:gd name="T4" fmla="*/ 6 w 7"/>
                  <a:gd name="T5" fmla="*/ 3 h 5"/>
                  <a:gd name="T6" fmla="*/ 6 w 7"/>
                  <a:gd name="T7" fmla="*/ 3 h 5"/>
                  <a:gd name="T8" fmla="*/ 6 w 7"/>
                  <a:gd name="T9" fmla="*/ 3 h 5"/>
                  <a:gd name="T10" fmla="*/ 6 w 7"/>
                  <a:gd name="T11" fmla="*/ 3 h 5"/>
                  <a:gd name="T12" fmla="*/ 5 w 7"/>
                  <a:gd name="T13" fmla="*/ 2 h 5"/>
                  <a:gd name="T14" fmla="*/ 5 w 7"/>
                  <a:gd name="T15" fmla="*/ 2 h 5"/>
                  <a:gd name="T16" fmla="*/ 5 w 7"/>
                  <a:gd name="T17" fmla="*/ 2 h 5"/>
                  <a:gd name="T18" fmla="*/ 4 w 7"/>
                  <a:gd name="T19" fmla="*/ 2 h 5"/>
                  <a:gd name="T20" fmla="*/ 4 w 7"/>
                  <a:gd name="T21" fmla="*/ 2 h 5"/>
                  <a:gd name="T22" fmla="*/ 4 w 7"/>
                  <a:gd name="T23" fmla="*/ 2 h 5"/>
                  <a:gd name="T24" fmla="*/ 3 w 7"/>
                  <a:gd name="T25" fmla="*/ 1 h 5"/>
                  <a:gd name="T26" fmla="*/ 1 w 7"/>
                  <a:gd name="T27" fmla="*/ 0 h 5"/>
                  <a:gd name="T28" fmla="*/ 0 w 7"/>
                  <a:gd name="T29" fmla="*/ 1 h 5"/>
                  <a:gd name="T30" fmla="*/ 7 w 7"/>
                  <a:gd name="T31" fmla="*/ 5 h 5"/>
                  <a:gd name="T32" fmla="*/ 7 w 7"/>
                  <a:gd name="T3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5">
                    <a:moveTo>
                      <a:pt x="7" y="4"/>
                    </a:moveTo>
                    <a:cubicBezTo>
                      <a:pt x="7" y="4"/>
                      <a:pt x="7" y="4"/>
                      <a:pt x="7" y="4"/>
                    </a:cubicBezTo>
                    <a:cubicBezTo>
                      <a:pt x="7" y="4"/>
                      <a:pt x="6" y="4"/>
                      <a:pt x="6" y="3"/>
                    </a:cubicBezTo>
                    <a:cubicBezTo>
                      <a:pt x="6" y="3"/>
                      <a:pt x="6" y="3"/>
                      <a:pt x="6" y="3"/>
                    </a:cubicBezTo>
                    <a:cubicBezTo>
                      <a:pt x="6" y="3"/>
                      <a:pt x="6" y="3"/>
                      <a:pt x="6" y="3"/>
                    </a:cubicBezTo>
                    <a:cubicBezTo>
                      <a:pt x="6" y="3"/>
                      <a:pt x="6" y="3"/>
                      <a:pt x="6" y="3"/>
                    </a:cubicBezTo>
                    <a:cubicBezTo>
                      <a:pt x="6" y="3"/>
                      <a:pt x="5" y="3"/>
                      <a:pt x="5" y="2"/>
                    </a:cubicBezTo>
                    <a:cubicBezTo>
                      <a:pt x="5" y="2"/>
                      <a:pt x="5" y="2"/>
                      <a:pt x="5" y="2"/>
                    </a:cubicBezTo>
                    <a:cubicBezTo>
                      <a:pt x="5" y="2"/>
                      <a:pt x="5" y="2"/>
                      <a:pt x="5" y="2"/>
                    </a:cubicBezTo>
                    <a:cubicBezTo>
                      <a:pt x="5" y="2"/>
                      <a:pt x="5" y="2"/>
                      <a:pt x="4" y="2"/>
                    </a:cubicBezTo>
                    <a:cubicBezTo>
                      <a:pt x="4" y="2"/>
                      <a:pt x="4" y="2"/>
                      <a:pt x="4" y="2"/>
                    </a:cubicBezTo>
                    <a:cubicBezTo>
                      <a:pt x="4" y="2"/>
                      <a:pt x="4" y="2"/>
                      <a:pt x="4" y="2"/>
                    </a:cubicBezTo>
                    <a:cubicBezTo>
                      <a:pt x="3" y="2"/>
                      <a:pt x="3" y="1"/>
                      <a:pt x="3" y="1"/>
                    </a:cubicBezTo>
                    <a:cubicBezTo>
                      <a:pt x="2" y="1"/>
                      <a:pt x="1" y="0"/>
                      <a:pt x="1" y="0"/>
                    </a:cubicBezTo>
                    <a:cubicBezTo>
                      <a:pt x="0" y="0"/>
                      <a:pt x="0" y="0"/>
                      <a:pt x="0" y="1"/>
                    </a:cubicBezTo>
                    <a:cubicBezTo>
                      <a:pt x="2" y="2"/>
                      <a:pt x="4" y="3"/>
                      <a:pt x="7" y="5"/>
                    </a:cubicBezTo>
                    <a:cubicBezTo>
                      <a:pt x="7" y="4"/>
                      <a:pt x="7" y="4"/>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5" name="Freeform 1961">
                <a:extLst>
                  <a:ext uri="{FF2B5EF4-FFF2-40B4-BE49-F238E27FC236}">
                    <a16:creationId xmlns:a16="http://schemas.microsoft.com/office/drawing/2014/main" id="{3A09061D-D688-4D50-93B0-204255E920E8}"/>
                  </a:ext>
                </a:extLst>
              </p:cNvPr>
              <p:cNvSpPr>
                <a:spLocks/>
              </p:cNvSpPr>
              <p:nvPr/>
            </p:nvSpPr>
            <p:spPr bwMode="auto">
              <a:xfrm>
                <a:off x="2426" y="1092"/>
                <a:ext cx="5" cy="2"/>
              </a:xfrm>
              <a:custGeom>
                <a:avLst/>
                <a:gdLst>
                  <a:gd name="T0" fmla="*/ 1 w 2"/>
                  <a:gd name="T1" fmla="*/ 0 h 1"/>
                  <a:gd name="T2" fmla="*/ 1 w 2"/>
                  <a:gd name="T3" fmla="*/ 0 h 1"/>
                  <a:gd name="T4" fmla="*/ 0 w 2"/>
                  <a:gd name="T5" fmla="*/ 1 h 1"/>
                  <a:gd name="T6" fmla="*/ 0 w 2"/>
                  <a:gd name="T7" fmla="*/ 1 h 1"/>
                  <a:gd name="T8" fmla="*/ 2 w 2"/>
                  <a:gd name="T9" fmla="*/ 0 h 1"/>
                  <a:gd name="T10" fmla="*/ 1 w 2"/>
                  <a:gd name="T11" fmla="*/ 0 h 1"/>
                  <a:gd name="T12" fmla="*/ 1 w 2"/>
                  <a:gd name="T13" fmla="*/ 0 h 1"/>
                  <a:gd name="T14" fmla="*/ 1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0"/>
                    </a:moveTo>
                    <a:cubicBezTo>
                      <a:pt x="1" y="0"/>
                      <a:pt x="1" y="0"/>
                      <a:pt x="1" y="0"/>
                    </a:cubicBezTo>
                    <a:cubicBezTo>
                      <a:pt x="1" y="1"/>
                      <a:pt x="1" y="1"/>
                      <a:pt x="0" y="1"/>
                    </a:cubicBezTo>
                    <a:cubicBezTo>
                      <a:pt x="0" y="1"/>
                      <a:pt x="0" y="1"/>
                      <a:pt x="0" y="1"/>
                    </a:cubicBezTo>
                    <a:cubicBezTo>
                      <a:pt x="1" y="1"/>
                      <a:pt x="2" y="0"/>
                      <a:pt x="2" y="0"/>
                    </a:cubicBezTo>
                    <a:cubicBezTo>
                      <a:pt x="2" y="0"/>
                      <a:pt x="2"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6" name="Freeform 1962">
                <a:extLst>
                  <a:ext uri="{FF2B5EF4-FFF2-40B4-BE49-F238E27FC236}">
                    <a16:creationId xmlns:a16="http://schemas.microsoft.com/office/drawing/2014/main" id="{5A327285-26DC-452C-9B29-C7EBC0A8FA5C}"/>
                  </a:ext>
                </a:extLst>
              </p:cNvPr>
              <p:cNvSpPr>
                <a:spLocks/>
              </p:cNvSpPr>
              <p:nvPr/>
            </p:nvSpPr>
            <p:spPr bwMode="auto">
              <a:xfrm>
                <a:off x="2459" y="1104"/>
                <a:ext cx="3" cy="0"/>
              </a:xfrm>
              <a:custGeom>
                <a:avLst/>
                <a:gdLst>
                  <a:gd name="T0" fmla="*/ 0 w 1"/>
                  <a:gd name="T1" fmla="*/ 1 w 1"/>
                  <a:gd name="T2" fmla="*/ 1 w 1"/>
                  <a:gd name="T3" fmla="*/ 1 w 1"/>
                  <a:gd name="T4" fmla="*/ 1 w 1"/>
                  <a:gd name="T5" fmla="*/ 0 w 1"/>
                  <a:gd name="T6" fmla="*/ 1 w 1"/>
                  <a:gd name="T7" fmla="*/ 0 w 1"/>
                  <a:gd name="T8" fmla="*/ 0 w 1"/>
                  <a:gd name="T9" fmla="*/ 0 w 1"/>
                  <a:gd name="T10" fmla="*/ 0 w 1"/>
                  <a:gd name="T11"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
                    <a:moveTo>
                      <a:pt x="0" y="0"/>
                    </a:move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7" name="Freeform 1963">
                <a:extLst>
                  <a:ext uri="{FF2B5EF4-FFF2-40B4-BE49-F238E27FC236}">
                    <a16:creationId xmlns:a16="http://schemas.microsoft.com/office/drawing/2014/main" id="{43886142-5FDF-4B1B-924D-C088EEF75210}"/>
                  </a:ext>
                </a:extLst>
              </p:cNvPr>
              <p:cNvSpPr>
                <a:spLocks/>
              </p:cNvSpPr>
              <p:nvPr/>
            </p:nvSpPr>
            <p:spPr bwMode="auto">
              <a:xfrm>
                <a:off x="2632" y="898"/>
                <a:ext cx="16" cy="12"/>
              </a:xfrm>
              <a:custGeom>
                <a:avLst/>
                <a:gdLst>
                  <a:gd name="T0" fmla="*/ 7 w 7"/>
                  <a:gd name="T1" fmla="*/ 2 h 5"/>
                  <a:gd name="T2" fmla="*/ 5 w 7"/>
                  <a:gd name="T3" fmla="*/ 0 h 5"/>
                  <a:gd name="T4" fmla="*/ 2 w 7"/>
                  <a:gd name="T5" fmla="*/ 0 h 5"/>
                  <a:gd name="T6" fmla="*/ 2 w 7"/>
                  <a:gd name="T7" fmla="*/ 0 h 5"/>
                  <a:gd name="T8" fmla="*/ 1 w 7"/>
                  <a:gd name="T9" fmla="*/ 1 h 5"/>
                  <a:gd name="T10" fmla="*/ 0 w 7"/>
                  <a:gd name="T11" fmla="*/ 1 h 5"/>
                  <a:gd name="T12" fmla="*/ 0 w 7"/>
                  <a:gd name="T13" fmla="*/ 2 h 5"/>
                  <a:gd name="T14" fmla="*/ 0 w 7"/>
                  <a:gd name="T15" fmla="*/ 3 h 5"/>
                  <a:gd name="T16" fmla="*/ 0 w 7"/>
                  <a:gd name="T17" fmla="*/ 3 h 5"/>
                  <a:gd name="T18" fmla="*/ 0 w 7"/>
                  <a:gd name="T19" fmla="*/ 3 h 5"/>
                  <a:gd name="T20" fmla="*/ 0 w 7"/>
                  <a:gd name="T21" fmla="*/ 3 h 5"/>
                  <a:gd name="T22" fmla="*/ 5 w 7"/>
                  <a:gd name="T23" fmla="*/ 4 h 5"/>
                  <a:gd name="T24" fmla="*/ 5 w 7"/>
                  <a:gd name="T25" fmla="*/ 4 h 5"/>
                  <a:gd name="T26" fmla="*/ 5 w 7"/>
                  <a:gd name="T27" fmla="*/ 4 h 5"/>
                  <a:gd name="T28" fmla="*/ 5 w 7"/>
                  <a:gd name="T29" fmla="*/ 4 h 5"/>
                  <a:gd name="T30" fmla="*/ 6 w 7"/>
                  <a:gd name="T31" fmla="*/ 4 h 5"/>
                  <a:gd name="T32" fmla="*/ 7 w 7"/>
                  <a:gd name="T33" fmla="*/ 3 h 5"/>
                  <a:gd name="T34" fmla="*/ 7 w 7"/>
                  <a:gd name="T35" fmla="*/ 3 h 5"/>
                  <a:gd name="T36" fmla="*/ 7 w 7"/>
                  <a:gd name="T37" fmla="*/ 3 h 5"/>
                  <a:gd name="T38" fmla="*/ 6 w 7"/>
                  <a:gd name="T39" fmla="*/ 3 h 5"/>
                  <a:gd name="T40" fmla="*/ 7 w 7"/>
                  <a:gd name="T4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5">
                    <a:moveTo>
                      <a:pt x="7" y="2"/>
                    </a:moveTo>
                    <a:cubicBezTo>
                      <a:pt x="6" y="1"/>
                      <a:pt x="6" y="1"/>
                      <a:pt x="5" y="0"/>
                    </a:cubicBezTo>
                    <a:cubicBezTo>
                      <a:pt x="5" y="0"/>
                      <a:pt x="2" y="0"/>
                      <a:pt x="2" y="0"/>
                    </a:cubicBezTo>
                    <a:cubicBezTo>
                      <a:pt x="2" y="0"/>
                      <a:pt x="2" y="0"/>
                      <a:pt x="2" y="0"/>
                    </a:cubicBezTo>
                    <a:cubicBezTo>
                      <a:pt x="1" y="0"/>
                      <a:pt x="1" y="0"/>
                      <a:pt x="1" y="1"/>
                    </a:cubicBezTo>
                    <a:cubicBezTo>
                      <a:pt x="1" y="1"/>
                      <a:pt x="0" y="1"/>
                      <a:pt x="0" y="1"/>
                    </a:cubicBezTo>
                    <a:cubicBezTo>
                      <a:pt x="0" y="1"/>
                      <a:pt x="0" y="2"/>
                      <a:pt x="0" y="2"/>
                    </a:cubicBezTo>
                    <a:cubicBezTo>
                      <a:pt x="0" y="2"/>
                      <a:pt x="0" y="3"/>
                      <a:pt x="0" y="3"/>
                    </a:cubicBezTo>
                    <a:cubicBezTo>
                      <a:pt x="0" y="3"/>
                      <a:pt x="0" y="3"/>
                      <a:pt x="0" y="3"/>
                    </a:cubicBezTo>
                    <a:cubicBezTo>
                      <a:pt x="0" y="3"/>
                      <a:pt x="0" y="3"/>
                      <a:pt x="0" y="3"/>
                    </a:cubicBezTo>
                    <a:cubicBezTo>
                      <a:pt x="0" y="3"/>
                      <a:pt x="0" y="3"/>
                      <a:pt x="0" y="3"/>
                    </a:cubicBezTo>
                    <a:cubicBezTo>
                      <a:pt x="1" y="4"/>
                      <a:pt x="3" y="5"/>
                      <a:pt x="5" y="4"/>
                    </a:cubicBezTo>
                    <a:cubicBezTo>
                      <a:pt x="5" y="4"/>
                      <a:pt x="5" y="4"/>
                      <a:pt x="5" y="4"/>
                    </a:cubicBezTo>
                    <a:cubicBezTo>
                      <a:pt x="5" y="4"/>
                      <a:pt x="5" y="4"/>
                      <a:pt x="5" y="4"/>
                    </a:cubicBezTo>
                    <a:cubicBezTo>
                      <a:pt x="5" y="4"/>
                      <a:pt x="5" y="4"/>
                      <a:pt x="5" y="4"/>
                    </a:cubicBezTo>
                    <a:cubicBezTo>
                      <a:pt x="5" y="4"/>
                      <a:pt x="6" y="4"/>
                      <a:pt x="6" y="4"/>
                    </a:cubicBezTo>
                    <a:cubicBezTo>
                      <a:pt x="6" y="4"/>
                      <a:pt x="6" y="4"/>
                      <a:pt x="7" y="3"/>
                    </a:cubicBezTo>
                    <a:cubicBezTo>
                      <a:pt x="7" y="3"/>
                      <a:pt x="7" y="3"/>
                      <a:pt x="7" y="3"/>
                    </a:cubicBezTo>
                    <a:cubicBezTo>
                      <a:pt x="7" y="3"/>
                      <a:pt x="7" y="3"/>
                      <a:pt x="7" y="3"/>
                    </a:cubicBezTo>
                    <a:cubicBezTo>
                      <a:pt x="7" y="3"/>
                      <a:pt x="6" y="3"/>
                      <a:pt x="6" y="3"/>
                    </a:cubicBezTo>
                    <a:cubicBezTo>
                      <a:pt x="6" y="2"/>
                      <a:pt x="6"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8" name="Freeform 1964">
                <a:extLst>
                  <a:ext uri="{FF2B5EF4-FFF2-40B4-BE49-F238E27FC236}">
                    <a16:creationId xmlns:a16="http://schemas.microsoft.com/office/drawing/2014/main" id="{9D4CE80C-E3D5-4A47-9309-55470C4CE6CE}"/>
                  </a:ext>
                </a:extLst>
              </p:cNvPr>
              <p:cNvSpPr>
                <a:spLocks/>
              </p:cNvSpPr>
              <p:nvPr/>
            </p:nvSpPr>
            <p:spPr bwMode="auto">
              <a:xfrm>
                <a:off x="2525" y="1018"/>
                <a:ext cx="12" cy="3"/>
              </a:xfrm>
              <a:custGeom>
                <a:avLst/>
                <a:gdLst>
                  <a:gd name="T0" fmla="*/ 3 w 5"/>
                  <a:gd name="T1" fmla="*/ 1 h 1"/>
                  <a:gd name="T2" fmla="*/ 3 w 5"/>
                  <a:gd name="T3" fmla="*/ 1 h 1"/>
                  <a:gd name="T4" fmla="*/ 4 w 5"/>
                  <a:gd name="T5" fmla="*/ 0 h 1"/>
                  <a:gd name="T6" fmla="*/ 5 w 5"/>
                  <a:gd name="T7" fmla="*/ 0 h 1"/>
                  <a:gd name="T8" fmla="*/ 4 w 5"/>
                  <a:gd name="T9" fmla="*/ 0 h 1"/>
                  <a:gd name="T10" fmla="*/ 2 w 5"/>
                  <a:gd name="T11" fmla="*/ 0 h 1"/>
                  <a:gd name="T12" fmla="*/ 2 w 5"/>
                  <a:gd name="T13" fmla="*/ 0 h 1"/>
                  <a:gd name="T14" fmla="*/ 2 w 5"/>
                  <a:gd name="T15" fmla="*/ 0 h 1"/>
                  <a:gd name="T16" fmla="*/ 0 w 5"/>
                  <a:gd name="T17" fmla="*/ 1 h 1"/>
                  <a:gd name="T18" fmla="*/ 0 w 5"/>
                  <a:gd name="T19" fmla="*/ 1 h 1"/>
                  <a:gd name="T20" fmla="*/ 0 w 5"/>
                  <a:gd name="T21" fmla="*/ 1 h 1"/>
                  <a:gd name="T22" fmla="*/ 0 w 5"/>
                  <a:gd name="T23" fmla="*/ 1 h 1"/>
                  <a:gd name="T24" fmla="*/ 2 w 5"/>
                  <a:gd name="T25" fmla="*/ 1 h 1"/>
                  <a:gd name="T26" fmla="*/ 3 w 5"/>
                  <a:gd name="T27" fmla="*/ 1 h 1"/>
                  <a:gd name="T28" fmla="*/ 3 w 5"/>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1">
                    <a:moveTo>
                      <a:pt x="3" y="1"/>
                    </a:moveTo>
                    <a:cubicBezTo>
                      <a:pt x="3" y="1"/>
                      <a:pt x="3" y="1"/>
                      <a:pt x="3" y="1"/>
                    </a:cubicBezTo>
                    <a:cubicBezTo>
                      <a:pt x="4" y="1"/>
                      <a:pt x="3" y="0"/>
                      <a:pt x="4" y="0"/>
                    </a:cubicBezTo>
                    <a:cubicBezTo>
                      <a:pt x="4" y="0"/>
                      <a:pt x="5" y="1"/>
                      <a:pt x="5" y="0"/>
                    </a:cubicBezTo>
                    <a:cubicBezTo>
                      <a:pt x="5" y="0"/>
                      <a:pt x="4" y="0"/>
                      <a:pt x="4" y="0"/>
                    </a:cubicBezTo>
                    <a:cubicBezTo>
                      <a:pt x="3" y="0"/>
                      <a:pt x="3" y="0"/>
                      <a:pt x="2" y="0"/>
                    </a:cubicBezTo>
                    <a:cubicBezTo>
                      <a:pt x="2" y="0"/>
                      <a:pt x="2" y="0"/>
                      <a:pt x="2" y="0"/>
                    </a:cubicBezTo>
                    <a:cubicBezTo>
                      <a:pt x="2" y="0"/>
                      <a:pt x="2" y="0"/>
                      <a:pt x="2" y="0"/>
                    </a:cubicBezTo>
                    <a:cubicBezTo>
                      <a:pt x="1" y="0"/>
                      <a:pt x="1" y="0"/>
                      <a:pt x="0" y="1"/>
                    </a:cubicBezTo>
                    <a:cubicBezTo>
                      <a:pt x="0" y="1"/>
                      <a:pt x="0" y="1"/>
                      <a:pt x="0" y="1"/>
                    </a:cubicBezTo>
                    <a:cubicBezTo>
                      <a:pt x="0" y="1"/>
                      <a:pt x="0" y="1"/>
                      <a:pt x="0" y="1"/>
                    </a:cubicBezTo>
                    <a:cubicBezTo>
                      <a:pt x="0" y="1"/>
                      <a:pt x="0" y="1"/>
                      <a:pt x="0" y="1"/>
                    </a:cubicBezTo>
                    <a:cubicBezTo>
                      <a:pt x="1" y="1"/>
                      <a:pt x="1" y="1"/>
                      <a:pt x="2" y="1"/>
                    </a:cubicBezTo>
                    <a:cubicBezTo>
                      <a:pt x="2" y="1"/>
                      <a:pt x="3" y="1"/>
                      <a:pt x="3" y="1"/>
                    </a:cubicBezTo>
                    <a:cubicBezTo>
                      <a:pt x="3"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9" name="Freeform 1965">
                <a:extLst>
                  <a:ext uri="{FF2B5EF4-FFF2-40B4-BE49-F238E27FC236}">
                    <a16:creationId xmlns:a16="http://schemas.microsoft.com/office/drawing/2014/main" id="{7844D6F4-1477-49AE-81E2-E0B665025583}"/>
                  </a:ext>
                </a:extLst>
              </p:cNvPr>
              <p:cNvSpPr>
                <a:spLocks/>
              </p:cNvSpPr>
              <p:nvPr/>
            </p:nvSpPr>
            <p:spPr bwMode="auto">
              <a:xfrm>
                <a:off x="2499" y="111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0" name="Freeform 1966">
                <a:extLst>
                  <a:ext uri="{FF2B5EF4-FFF2-40B4-BE49-F238E27FC236}">
                    <a16:creationId xmlns:a16="http://schemas.microsoft.com/office/drawing/2014/main" id="{48935569-AD45-486A-8693-883BDC0976FA}"/>
                  </a:ext>
                </a:extLst>
              </p:cNvPr>
              <p:cNvSpPr>
                <a:spLocks/>
              </p:cNvSpPr>
              <p:nvPr/>
            </p:nvSpPr>
            <p:spPr bwMode="auto">
              <a:xfrm>
                <a:off x="2483" y="1115"/>
                <a:ext cx="23" cy="7"/>
              </a:xfrm>
              <a:custGeom>
                <a:avLst/>
                <a:gdLst>
                  <a:gd name="T0" fmla="*/ 1 w 10"/>
                  <a:gd name="T1" fmla="*/ 0 h 3"/>
                  <a:gd name="T2" fmla="*/ 6 w 10"/>
                  <a:gd name="T3" fmla="*/ 3 h 3"/>
                  <a:gd name="T4" fmla="*/ 6 w 10"/>
                  <a:gd name="T5" fmla="*/ 2 h 3"/>
                  <a:gd name="T6" fmla="*/ 7 w 10"/>
                  <a:gd name="T7" fmla="*/ 1 h 3"/>
                  <a:gd name="T8" fmla="*/ 6 w 10"/>
                  <a:gd name="T9" fmla="*/ 1 h 3"/>
                  <a:gd name="T10" fmla="*/ 6 w 10"/>
                  <a:gd name="T11" fmla="*/ 1 h 3"/>
                  <a:gd name="T12" fmla="*/ 7 w 10"/>
                  <a:gd name="T13" fmla="*/ 1 h 3"/>
                  <a:gd name="T14" fmla="*/ 6 w 10"/>
                  <a:gd name="T15" fmla="*/ 1 h 3"/>
                  <a:gd name="T16" fmla="*/ 7 w 10"/>
                  <a:gd name="T17" fmla="*/ 1 h 3"/>
                  <a:gd name="T18" fmla="*/ 6 w 10"/>
                  <a:gd name="T19" fmla="*/ 1 h 3"/>
                  <a:gd name="T20" fmla="*/ 6 w 10"/>
                  <a:gd name="T21" fmla="*/ 1 h 3"/>
                  <a:gd name="T22" fmla="*/ 8 w 10"/>
                  <a:gd name="T23" fmla="*/ 1 h 3"/>
                  <a:gd name="T24" fmla="*/ 7 w 10"/>
                  <a:gd name="T25" fmla="*/ 1 h 3"/>
                  <a:gd name="T26" fmla="*/ 9 w 10"/>
                  <a:gd name="T27" fmla="*/ 2 h 3"/>
                  <a:gd name="T28" fmla="*/ 9 w 10"/>
                  <a:gd name="T29" fmla="*/ 2 h 3"/>
                  <a:gd name="T30" fmla="*/ 9 w 10"/>
                  <a:gd name="T31" fmla="*/ 2 h 3"/>
                  <a:gd name="T32" fmla="*/ 9 w 10"/>
                  <a:gd name="T33" fmla="*/ 2 h 3"/>
                  <a:gd name="T34" fmla="*/ 10 w 10"/>
                  <a:gd name="T35" fmla="*/ 2 h 3"/>
                  <a:gd name="T36" fmla="*/ 10 w 10"/>
                  <a:gd name="T37" fmla="*/ 2 h 3"/>
                  <a:gd name="T38" fmla="*/ 10 w 10"/>
                  <a:gd name="T39" fmla="*/ 2 h 3"/>
                  <a:gd name="T40" fmla="*/ 10 w 10"/>
                  <a:gd name="T41" fmla="*/ 2 h 3"/>
                  <a:gd name="T42" fmla="*/ 10 w 10"/>
                  <a:gd name="T43" fmla="*/ 2 h 3"/>
                  <a:gd name="T44" fmla="*/ 10 w 10"/>
                  <a:gd name="T45" fmla="*/ 2 h 3"/>
                  <a:gd name="T46" fmla="*/ 10 w 10"/>
                  <a:gd name="T47" fmla="*/ 2 h 3"/>
                  <a:gd name="T48" fmla="*/ 10 w 10"/>
                  <a:gd name="T49" fmla="*/ 1 h 3"/>
                  <a:gd name="T50" fmla="*/ 10 w 10"/>
                  <a:gd name="T51" fmla="*/ 1 h 3"/>
                  <a:gd name="T52" fmla="*/ 9 w 10"/>
                  <a:gd name="T53" fmla="*/ 1 h 3"/>
                  <a:gd name="T54" fmla="*/ 9 w 10"/>
                  <a:gd name="T55" fmla="*/ 1 h 3"/>
                  <a:gd name="T56" fmla="*/ 1 w 10"/>
                  <a:gd name="T57" fmla="*/ 0 h 3"/>
                  <a:gd name="T58" fmla="*/ 0 w 10"/>
                  <a:gd name="T59" fmla="*/ 0 h 3"/>
                  <a:gd name="T60" fmla="*/ 0 w 10"/>
                  <a:gd name="T61" fmla="*/ 0 h 3"/>
                  <a:gd name="T62" fmla="*/ 0 w 10"/>
                  <a:gd name="T63" fmla="*/ 0 h 3"/>
                  <a:gd name="T64" fmla="*/ 1 w 10"/>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3">
                    <a:moveTo>
                      <a:pt x="1" y="0"/>
                    </a:moveTo>
                    <a:cubicBezTo>
                      <a:pt x="2" y="1"/>
                      <a:pt x="4" y="2"/>
                      <a:pt x="6" y="3"/>
                    </a:cubicBezTo>
                    <a:cubicBezTo>
                      <a:pt x="6" y="3"/>
                      <a:pt x="6" y="3"/>
                      <a:pt x="6" y="2"/>
                    </a:cubicBezTo>
                    <a:cubicBezTo>
                      <a:pt x="7" y="2"/>
                      <a:pt x="7" y="2"/>
                      <a:pt x="7" y="1"/>
                    </a:cubicBezTo>
                    <a:cubicBezTo>
                      <a:pt x="7" y="1"/>
                      <a:pt x="7" y="1"/>
                      <a:pt x="6" y="1"/>
                    </a:cubicBezTo>
                    <a:cubicBezTo>
                      <a:pt x="6" y="1"/>
                      <a:pt x="6" y="1"/>
                      <a:pt x="6" y="1"/>
                    </a:cubicBezTo>
                    <a:cubicBezTo>
                      <a:pt x="6" y="1"/>
                      <a:pt x="7" y="1"/>
                      <a:pt x="7" y="1"/>
                    </a:cubicBezTo>
                    <a:cubicBezTo>
                      <a:pt x="7" y="1"/>
                      <a:pt x="6" y="1"/>
                      <a:pt x="6" y="1"/>
                    </a:cubicBezTo>
                    <a:cubicBezTo>
                      <a:pt x="7" y="1"/>
                      <a:pt x="7" y="1"/>
                      <a:pt x="7" y="1"/>
                    </a:cubicBezTo>
                    <a:cubicBezTo>
                      <a:pt x="7" y="1"/>
                      <a:pt x="7" y="1"/>
                      <a:pt x="6" y="1"/>
                    </a:cubicBezTo>
                    <a:cubicBezTo>
                      <a:pt x="6" y="1"/>
                      <a:pt x="6" y="1"/>
                      <a:pt x="6" y="1"/>
                    </a:cubicBezTo>
                    <a:cubicBezTo>
                      <a:pt x="7" y="1"/>
                      <a:pt x="7" y="1"/>
                      <a:pt x="8" y="1"/>
                    </a:cubicBezTo>
                    <a:cubicBezTo>
                      <a:pt x="8" y="1"/>
                      <a:pt x="8" y="1"/>
                      <a:pt x="7" y="1"/>
                    </a:cubicBezTo>
                    <a:cubicBezTo>
                      <a:pt x="8" y="1"/>
                      <a:pt x="8" y="2"/>
                      <a:pt x="9" y="2"/>
                    </a:cubicBezTo>
                    <a:cubicBezTo>
                      <a:pt x="9" y="2"/>
                      <a:pt x="9" y="2"/>
                      <a:pt x="9" y="2"/>
                    </a:cubicBezTo>
                    <a:cubicBezTo>
                      <a:pt x="9" y="2"/>
                      <a:pt x="9" y="2"/>
                      <a:pt x="9" y="2"/>
                    </a:cubicBezTo>
                    <a:cubicBezTo>
                      <a:pt x="9" y="2"/>
                      <a:pt x="9" y="2"/>
                      <a:pt x="9" y="2"/>
                    </a:cubicBezTo>
                    <a:cubicBezTo>
                      <a:pt x="9"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1"/>
                      <a:pt x="10" y="1"/>
                    </a:cubicBezTo>
                    <a:cubicBezTo>
                      <a:pt x="10" y="1"/>
                      <a:pt x="10" y="1"/>
                      <a:pt x="10" y="1"/>
                    </a:cubicBezTo>
                    <a:cubicBezTo>
                      <a:pt x="10" y="1"/>
                      <a:pt x="10" y="1"/>
                      <a:pt x="9" y="1"/>
                    </a:cubicBezTo>
                    <a:cubicBezTo>
                      <a:pt x="9" y="1"/>
                      <a:pt x="9" y="1"/>
                      <a:pt x="9" y="1"/>
                    </a:cubicBezTo>
                    <a:cubicBezTo>
                      <a:pt x="7" y="0"/>
                      <a:pt x="4" y="0"/>
                      <a:pt x="1" y="0"/>
                    </a:cubicBezTo>
                    <a:cubicBezTo>
                      <a:pt x="1"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1" name="Freeform 1967">
                <a:extLst>
                  <a:ext uri="{FF2B5EF4-FFF2-40B4-BE49-F238E27FC236}">
                    <a16:creationId xmlns:a16="http://schemas.microsoft.com/office/drawing/2014/main" id="{D13134A6-9D8A-4ED4-87B6-6427E5636C6E}"/>
                  </a:ext>
                </a:extLst>
              </p:cNvPr>
              <p:cNvSpPr>
                <a:spLocks/>
              </p:cNvSpPr>
              <p:nvPr/>
            </p:nvSpPr>
            <p:spPr bwMode="auto">
              <a:xfrm>
                <a:off x="2476" y="1120"/>
                <a:ext cx="9" cy="2"/>
              </a:xfrm>
              <a:custGeom>
                <a:avLst/>
                <a:gdLst>
                  <a:gd name="T0" fmla="*/ 0 w 4"/>
                  <a:gd name="T1" fmla="*/ 1 h 1"/>
                  <a:gd name="T2" fmla="*/ 3 w 4"/>
                  <a:gd name="T3" fmla="*/ 1 h 1"/>
                  <a:gd name="T4" fmla="*/ 4 w 4"/>
                  <a:gd name="T5" fmla="*/ 0 h 1"/>
                  <a:gd name="T6" fmla="*/ 4 w 4"/>
                  <a:gd name="T7" fmla="*/ 0 h 1"/>
                  <a:gd name="T8" fmla="*/ 4 w 4"/>
                  <a:gd name="T9" fmla="*/ 0 h 1"/>
                  <a:gd name="T10" fmla="*/ 4 w 4"/>
                  <a:gd name="T11" fmla="*/ 0 h 1"/>
                  <a:gd name="T12" fmla="*/ 4 w 4"/>
                  <a:gd name="T13" fmla="*/ 0 h 1"/>
                  <a:gd name="T14" fmla="*/ 3 w 4"/>
                  <a:gd name="T15" fmla="*/ 0 h 1"/>
                  <a:gd name="T16" fmla="*/ 0 w 4"/>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0" y="1"/>
                    </a:moveTo>
                    <a:cubicBezTo>
                      <a:pt x="1" y="1"/>
                      <a:pt x="2" y="1"/>
                      <a:pt x="3" y="1"/>
                    </a:cubicBezTo>
                    <a:cubicBezTo>
                      <a:pt x="3" y="1"/>
                      <a:pt x="4" y="1"/>
                      <a:pt x="4" y="0"/>
                    </a:cubicBezTo>
                    <a:cubicBezTo>
                      <a:pt x="4" y="0"/>
                      <a:pt x="4" y="0"/>
                      <a:pt x="4" y="0"/>
                    </a:cubicBezTo>
                    <a:cubicBezTo>
                      <a:pt x="4" y="0"/>
                      <a:pt x="4" y="0"/>
                      <a:pt x="4" y="0"/>
                    </a:cubicBezTo>
                    <a:cubicBezTo>
                      <a:pt x="4" y="0"/>
                      <a:pt x="4" y="0"/>
                      <a:pt x="4" y="0"/>
                    </a:cubicBezTo>
                    <a:cubicBezTo>
                      <a:pt x="4" y="0"/>
                      <a:pt x="4" y="0"/>
                      <a:pt x="4" y="0"/>
                    </a:cubicBezTo>
                    <a:cubicBezTo>
                      <a:pt x="4" y="0"/>
                      <a:pt x="3" y="0"/>
                      <a:pt x="3" y="0"/>
                    </a:cubicBezTo>
                    <a:cubicBezTo>
                      <a:pt x="2"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2" name="Freeform 1968">
                <a:extLst>
                  <a:ext uri="{FF2B5EF4-FFF2-40B4-BE49-F238E27FC236}">
                    <a16:creationId xmlns:a16="http://schemas.microsoft.com/office/drawing/2014/main" id="{92307D62-F453-4937-9550-43E9B063EEB5}"/>
                  </a:ext>
                </a:extLst>
              </p:cNvPr>
              <p:cNvSpPr>
                <a:spLocks/>
              </p:cNvSpPr>
              <p:nvPr/>
            </p:nvSpPr>
            <p:spPr bwMode="auto">
              <a:xfrm>
                <a:off x="2483" y="1122"/>
                <a:ext cx="12" cy="5"/>
              </a:xfrm>
              <a:custGeom>
                <a:avLst/>
                <a:gdLst>
                  <a:gd name="T0" fmla="*/ 5 w 5"/>
                  <a:gd name="T1" fmla="*/ 1 h 2"/>
                  <a:gd name="T2" fmla="*/ 5 w 5"/>
                  <a:gd name="T3" fmla="*/ 1 h 2"/>
                  <a:gd name="T4" fmla="*/ 4 w 5"/>
                  <a:gd name="T5" fmla="*/ 0 h 2"/>
                  <a:gd name="T6" fmla="*/ 4 w 5"/>
                  <a:gd name="T7" fmla="*/ 0 h 2"/>
                  <a:gd name="T8" fmla="*/ 4 w 5"/>
                  <a:gd name="T9" fmla="*/ 0 h 2"/>
                  <a:gd name="T10" fmla="*/ 4 w 5"/>
                  <a:gd name="T11" fmla="*/ 0 h 2"/>
                  <a:gd name="T12" fmla="*/ 3 w 5"/>
                  <a:gd name="T13" fmla="*/ 0 h 2"/>
                  <a:gd name="T14" fmla="*/ 3 w 5"/>
                  <a:gd name="T15" fmla="*/ 0 h 2"/>
                  <a:gd name="T16" fmla="*/ 0 w 5"/>
                  <a:gd name="T17" fmla="*/ 1 h 2"/>
                  <a:gd name="T18" fmla="*/ 3 w 5"/>
                  <a:gd name="T19" fmla="*/ 1 h 2"/>
                  <a:gd name="T20" fmla="*/ 4 w 5"/>
                  <a:gd name="T21" fmla="*/ 1 h 2"/>
                  <a:gd name="T22" fmla="*/ 5 w 5"/>
                  <a:gd name="T23" fmla="*/ 1 h 2"/>
                  <a:gd name="T24" fmla="*/ 5 w 5"/>
                  <a:gd name="T25" fmla="*/ 1 h 2"/>
                  <a:gd name="T26" fmla="*/ 5 w 5"/>
                  <a:gd name="T27" fmla="*/ 1 h 2"/>
                  <a:gd name="T28" fmla="*/ 5 w 5"/>
                  <a:gd name="T29" fmla="*/ 1 h 2"/>
                  <a:gd name="T30" fmla="*/ 5 w 5"/>
                  <a:gd name="T3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2">
                    <a:moveTo>
                      <a:pt x="5" y="1"/>
                    </a:moveTo>
                    <a:cubicBezTo>
                      <a:pt x="5" y="1"/>
                      <a:pt x="5" y="1"/>
                      <a:pt x="5" y="1"/>
                    </a:cubicBezTo>
                    <a:cubicBezTo>
                      <a:pt x="5" y="1"/>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1" y="1"/>
                      <a:pt x="0" y="1"/>
                    </a:cubicBezTo>
                    <a:cubicBezTo>
                      <a:pt x="2" y="2"/>
                      <a:pt x="2" y="2"/>
                      <a:pt x="3" y="1"/>
                    </a:cubicBezTo>
                    <a:cubicBezTo>
                      <a:pt x="4" y="1"/>
                      <a:pt x="4" y="1"/>
                      <a:pt x="4"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3" name="Freeform 1969">
                <a:extLst>
                  <a:ext uri="{FF2B5EF4-FFF2-40B4-BE49-F238E27FC236}">
                    <a16:creationId xmlns:a16="http://schemas.microsoft.com/office/drawing/2014/main" id="{0EACD05D-01C4-4CB5-AC53-7E96EA537DA2}"/>
                  </a:ext>
                </a:extLst>
              </p:cNvPr>
              <p:cNvSpPr>
                <a:spLocks/>
              </p:cNvSpPr>
              <p:nvPr/>
            </p:nvSpPr>
            <p:spPr bwMode="auto">
              <a:xfrm>
                <a:off x="2384" y="1089"/>
                <a:ext cx="14" cy="7"/>
              </a:xfrm>
              <a:custGeom>
                <a:avLst/>
                <a:gdLst>
                  <a:gd name="T0" fmla="*/ 6 w 6"/>
                  <a:gd name="T1" fmla="*/ 1 h 3"/>
                  <a:gd name="T2" fmla="*/ 5 w 6"/>
                  <a:gd name="T3" fmla="*/ 1 h 3"/>
                  <a:gd name="T4" fmla="*/ 4 w 6"/>
                  <a:gd name="T5" fmla="*/ 0 h 3"/>
                  <a:gd name="T6" fmla="*/ 3 w 6"/>
                  <a:gd name="T7" fmla="*/ 0 h 3"/>
                  <a:gd name="T8" fmla="*/ 3 w 6"/>
                  <a:gd name="T9" fmla="*/ 0 h 3"/>
                  <a:gd name="T10" fmla="*/ 3 w 6"/>
                  <a:gd name="T11" fmla="*/ 0 h 3"/>
                  <a:gd name="T12" fmla="*/ 0 w 6"/>
                  <a:gd name="T13" fmla="*/ 1 h 3"/>
                  <a:gd name="T14" fmla="*/ 6 w 6"/>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6" y="1"/>
                    </a:moveTo>
                    <a:cubicBezTo>
                      <a:pt x="6" y="1"/>
                      <a:pt x="5" y="1"/>
                      <a:pt x="5" y="1"/>
                    </a:cubicBezTo>
                    <a:cubicBezTo>
                      <a:pt x="5" y="1"/>
                      <a:pt x="4" y="0"/>
                      <a:pt x="4" y="0"/>
                    </a:cubicBezTo>
                    <a:cubicBezTo>
                      <a:pt x="4" y="0"/>
                      <a:pt x="4" y="0"/>
                      <a:pt x="3" y="0"/>
                    </a:cubicBezTo>
                    <a:cubicBezTo>
                      <a:pt x="3" y="0"/>
                      <a:pt x="3" y="0"/>
                      <a:pt x="3" y="0"/>
                    </a:cubicBezTo>
                    <a:cubicBezTo>
                      <a:pt x="3" y="0"/>
                      <a:pt x="3" y="0"/>
                      <a:pt x="3" y="0"/>
                    </a:cubicBezTo>
                    <a:cubicBezTo>
                      <a:pt x="2" y="0"/>
                      <a:pt x="1" y="1"/>
                      <a:pt x="0" y="1"/>
                    </a:cubicBezTo>
                    <a:cubicBezTo>
                      <a:pt x="2" y="3"/>
                      <a:pt x="4" y="3"/>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4" name="Freeform 1970">
                <a:extLst>
                  <a:ext uri="{FF2B5EF4-FFF2-40B4-BE49-F238E27FC236}">
                    <a16:creationId xmlns:a16="http://schemas.microsoft.com/office/drawing/2014/main" id="{D5E3CC0C-C1D3-4FC0-8A3F-9F320E9319D6}"/>
                  </a:ext>
                </a:extLst>
              </p:cNvPr>
              <p:cNvSpPr>
                <a:spLocks/>
              </p:cNvSpPr>
              <p:nvPr/>
            </p:nvSpPr>
            <p:spPr bwMode="auto">
              <a:xfrm>
                <a:off x="2868" y="680"/>
                <a:ext cx="71" cy="28"/>
              </a:xfrm>
              <a:custGeom>
                <a:avLst/>
                <a:gdLst>
                  <a:gd name="T0" fmla="*/ 29 w 30"/>
                  <a:gd name="T1" fmla="*/ 4 h 12"/>
                  <a:gd name="T2" fmla="*/ 28 w 30"/>
                  <a:gd name="T3" fmla="*/ 3 h 12"/>
                  <a:gd name="T4" fmla="*/ 27 w 30"/>
                  <a:gd name="T5" fmla="*/ 2 h 12"/>
                  <a:gd name="T6" fmla="*/ 26 w 30"/>
                  <a:gd name="T7" fmla="*/ 0 h 12"/>
                  <a:gd name="T8" fmla="*/ 18 w 30"/>
                  <a:gd name="T9" fmla="*/ 2 h 12"/>
                  <a:gd name="T10" fmla="*/ 11 w 30"/>
                  <a:gd name="T11" fmla="*/ 4 h 12"/>
                  <a:gd name="T12" fmla="*/ 7 w 30"/>
                  <a:gd name="T13" fmla="*/ 6 h 12"/>
                  <a:gd name="T14" fmla="*/ 2 w 30"/>
                  <a:gd name="T15" fmla="*/ 8 h 12"/>
                  <a:gd name="T16" fmla="*/ 1 w 30"/>
                  <a:gd name="T17" fmla="*/ 12 h 12"/>
                  <a:gd name="T18" fmla="*/ 4 w 30"/>
                  <a:gd name="T19" fmla="*/ 12 h 12"/>
                  <a:gd name="T20" fmla="*/ 10 w 30"/>
                  <a:gd name="T21" fmla="*/ 11 h 12"/>
                  <a:gd name="T22" fmla="*/ 15 w 30"/>
                  <a:gd name="T23" fmla="*/ 10 h 12"/>
                  <a:gd name="T24" fmla="*/ 17 w 30"/>
                  <a:gd name="T25" fmla="*/ 10 h 12"/>
                  <a:gd name="T26" fmla="*/ 20 w 30"/>
                  <a:gd name="T27" fmla="*/ 9 h 12"/>
                  <a:gd name="T28" fmla="*/ 23 w 30"/>
                  <a:gd name="T29" fmla="*/ 9 h 12"/>
                  <a:gd name="T30" fmla="*/ 26 w 30"/>
                  <a:gd name="T31" fmla="*/ 8 h 12"/>
                  <a:gd name="T32" fmla="*/ 30 w 30"/>
                  <a:gd name="T33" fmla="*/ 7 h 12"/>
                  <a:gd name="T34" fmla="*/ 28 w 30"/>
                  <a:gd name="T35" fmla="*/ 5 h 12"/>
                  <a:gd name="T36" fmla="*/ 29 w 30"/>
                  <a:gd name="T37" fmla="*/ 5 h 12"/>
                  <a:gd name="T38" fmla="*/ 29 w 30"/>
                  <a:gd name="T3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12">
                    <a:moveTo>
                      <a:pt x="29" y="4"/>
                    </a:moveTo>
                    <a:cubicBezTo>
                      <a:pt x="29" y="4"/>
                      <a:pt x="29" y="3"/>
                      <a:pt x="28" y="3"/>
                    </a:cubicBezTo>
                    <a:cubicBezTo>
                      <a:pt x="28" y="2"/>
                      <a:pt x="27" y="2"/>
                      <a:pt x="27" y="2"/>
                    </a:cubicBezTo>
                    <a:cubicBezTo>
                      <a:pt x="26" y="1"/>
                      <a:pt x="26" y="1"/>
                      <a:pt x="26" y="0"/>
                    </a:cubicBezTo>
                    <a:cubicBezTo>
                      <a:pt x="23" y="0"/>
                      <a:pt x="20" y="1"/>
                      <a:pt x="18" y="2"/>
                    </a:cubicBezTo>
                    <a:cubicBezTo>
                      <a:pt x="15" y="2"/>
                      <a:pt x="12" y="2"/>
                      <a:pt x="11" y="4"/>
                    </a:cubicBezTo>
                    <a:cubicBezTo>
                      <a:pt x="9" y="4"/>
                      <a:pt x="8" y="5"/>
                      <a:pt x="7" y="6"/>
                    </a:cubicBezTo>
                    <a:cubicBezTo>
                      <a:pt x="5" y="7"/>
                      <a:pt x="3" y="7"/>
                      <a:pt x="2" y="8"/>
                    </a:cubicBezTo>
                    <a:cubicBezTo>
                      <a:pt x="1" y="9"/>
                      <a:pt x="0" y="11"/>
                      <a:pt x="1" y="12"/>
                    </a:cubicBezTo>
                    <a:cubicBezTo>
                      <a:pt x="2" y="12"/>
                      <a:pt x="3" y="12"/>
                      <a:pt x="4" y="12"/>
                    </a:cubicBezTo>
                    <a:cubicBezTo>
                      <a:pt x="6" y="11"/>
                      <a:pt x="8" y="11"/>
                      <a:pt x="10" y="11"/>
                    </a:cubicBezTo>
                    <a:cubicBezTo>
                      <a:pt x="12" y="10"/>
                      <a:pt x="13" y="10"/>
                      <a:pt x="15" y="10"/>
                    </a:cubicBezTo>
                    <a:cubicBezTo>
                      <a:pt x="16" y="10"/>
                      <a:pt x="16" y="10"/>
                      <a:pt x="17" y="10"/>
                    </a:cubicBezTo>
                    <a:cubicBezTo>
                      <a:pt x="18" y="9"/>
                      <a:pt x="19" y="9"/>
                      <a:pt x="20" y="9"/>
                    </a:cubicBezTo>
                    <a:cubicBezTo>
                      <a:pt x="22" y="9"/>
                      <a:pt x="21" y="10"/>
                      <a:pt x="23" y="9"/>
                    </a:cubicBezTo>
                    <a:cubicBezTo>
                      <a:pt x="24" y="9"/>
                      <a:pt x="25" y="8"/>
                      <a:pt x="26" y="8"/>
                    </a:cubicBezTo>
                    <a:cubicBezTo>
                      <a:pt x="27" y="8"/>
                      <a:pt x="29" y="8"/>
                      <a:pt x="30" y="7"/>
                    </a:cubicBezTo>
                    <a:cubicBezTo>
                      <a:pt x="30" y="6"/>
                      <a:pt x="28" y="5"/>
                      <a:pt x="28" y="5"/>
                    </a:cubicBezTo>
                    <a:cubicBezTo>
                      <a:pt x="28" y="5"/>
                      <a:pt x="29" y="5"/>
                      <a:pt x="29" y="5"/>
                    </a:cubicBezTo>
                    <a:cubicBezTo>
                      <a:pt x="29" y="4"/>
                      <a:pt x="29" y="4"/>
                      <a:pt x="2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5" name="Freeform 1971">
                <a:extLst>
                  <a:ext uri="{FF2B5EF4-FFF2-40B4-BE49-F238E27FC236}">
                    <a16:creationId xmlns:a16="http://schemas.microsoft.com/office/drawing/2014/main" id="{6A896DDF-F8AC-42C5-BBE6-6640F8259471}"/>
                  </a:ext>
                </a:extLst>
              </p:cNvPr>
              <p:cNvSpPr>
                <a:spLocks/>
              </p:cNvSpPr>
              <p:nvPr/>
            </p:nvSpPr>
            <p:spPr bwMode="auto">
              <a:xfrm>
                <a:off x="3031" y="585"/>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2" y="0"/>
                      <a:pt x="1" y="0"/>
                      <a:pt x="0" y="0"/>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6" name="Freeform 1972">
                <a:extLst>
                  <a:ext uri="{FF2B5EF4-FFF2-40B4-BE49-F238E27FC236}">
                    <a16:creationId xmlns:a16="http://schemas.microsoft.com/office/drawing/2014/main" id="{F09B6743-4639-46A2-89AF-70BC76FCC3FC}"/>
                  </a:ext>
                </a:extLst>
              </p:cNvPr>
              <p:cNvSpPr>
                <a:spLocks/>
              </p:cNvSpPr>
              <p:nvPr/>
            </p:nvSpPr>
            <p:spPr bwMode="auto">
              <a:xfrm>
                <a:off x="3017" y="524"/>
                <a:ext cx="45" cy="19"/>
              </a:xfrm>
              <a:custGeom>
                <a:avLst/>
                <a:gdLst>
                  <a:gd name="T0" fmla="*/ 16 w 19"/>
                  <a:gd name="T1" fmla="*/ 2 h 8"/>
                  <a:gd name="T2" fmla="*/ 11 w 19"/>
                  <a:gd name="T3" fmla="*/ 0 h 8"/>
                  <a:gd name="T4" fmla="*/ 0 w 19"/>
                  <a:gd name="T5" fmla="*/ 5 h 8"/>
                  <a:gd name="T6" fmla="*/ 5 w 19"/>
                  <a:gd name="T7" fmla="*/ 6 h 8"/>
                  <a:gd name="T8" fmla="*/ 7 w 19"/>
                  <a:gd name="T9" fmla="*/ 7 h 8"/>
                  <a:gd name="T10" fmla="*/ 9 w 19"/>
                  <a:gd name="T11" fmla="*/ 7 h 8"/>
                  <a:gd name="T12" fmla="*/ 14 w 19"/>
                  <a:gd name="T13" fmla="*/ 7 h 8"/>
                  <a:gd name="T14" fmla="*/ 19 w 19"/>
                  <a:gd name="T15" fmla="*/ 5 h 8"/>
                  <a:gd name="T16" fmla="*/ 17 w 19"/>
                  <a:gd name="T17" fmla="*/ 4 h 8"/>
                  <a:gd name="T18" fmla="*/ 16 w 19"/>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
                    <a:moveTo>
                      <a:pt x="16" y="2"/>
                    </a:moveTo>
                    <a:cubicBezTo>
                      <a:pt x="15" y="1"/>
                      <a:pt x="12" y="1"/>
                      <a:pt x="11" y="0"/>
                    </a:cubicBezTo>
                    <a:cubicBezTo>
                      <a:pt x="7" y="2"/>
                      <a:pt x="4" y="3"/>
                      <a:pt x="0" y="5"/>
                    </a:cubicBezTo>
                    <a:cubicBezTo>
                      <a:pt x="1" y="6"/>
                      <a:pt x="3" y="6"/>
                      <a:pt x="5" y="6"/>
                    </a:cubicBezTo>
                    <a:cubicBezTo>
                      <a:pt x="6" y="6"/>
                      <a:pt x="6" y="7"/>
                      <a:pt x="7" y="7"/>
                    </a:cubicBezTo>
                    <a:cubicBezTo>
                      <a:pt x="8" y="8"/>
                      <a:pt x="9" y="7"/>
                      <a:pt x="9" y="7"/>
                    </a:cubicBezTo>
                    <a:cubicBezTo>
                      <a:pt x="11" y="7"/>
                      <a:pt x="13" y="7"/>
                      <a:pt x="14" y="7"/>
                    </a:cubicBezTo>
                    <a:cubicBezTo>
                      <a:pt x="16" y="6"/>
                      <a:pt x="18" y="6"/>
                      <a:pt x="19" y="5"/>
                    </a:cubicBezTo>
                    <a:cubicBezTo>
                      <a:pt x="18" y="5"/>
                      <a:pt x="18" y="5"/>
                      <a:pt x="17" y="4"/>
                    </a:cubicBezTo>
                    <a:cubicBezTo>
                      <a:pt x="16" y="3"/>
                      <a:pt x="17" y="3"/>
                      <a:pt x="1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7" name="Freeform 1973">
                <a:extLst>
                  <a:ext uri="{FF2B5EF4-FFF2-40B4-BE49-F238E27FC236}">
                    <a16:creationId xmlns:a16="http://schemas.microsoft.com/office/drawing/2014/main" id="{FAF2D7B2-F5B0-43C9-B457-FFC897532B0D}"/>
                  </a:ext>
                </a:extLst>
              </p:cNvPr>
              <p:cNvSpPr>
                <a:spLocks/>
              </p:cNvSpPr>
              <p:nvPr/>
            </p:nvSpPr>
            <p:spPr bwMode="auto">
              <a:xfrm>
                <a:off x="2956" y="588"/>
                <a:ext cx="64" cy="21"/>
              </a:xfrm>
              <a:custGeom>
                <a:avLst/>
                <a:gdLst>
                  <a:gd name="T0" fmla="*/ 27 w 27"/>
                  <a:gd name="T1" fmla="*/ 4 h 9"/>
                  <a:gd name="T2" fmla="*/ 22 w 27"/>
                  <a:gd name="T3" fmla="*/ 2 h 9"/>
                  <a:gd name="T4" fmla="*/ 17 w 27"/>
                  <a:gd name="T5" fmla="*/ 1 h 9"/>
                  <a:gd name="T6" fmla="*/ 11 w 27"/>
                  <a:gd name="T7" fmla="*/ 1 h 9"/>
                  <a:gd name="T8" fmla="*/ 5 w 27"/>
                  <a:gd name="T9" fmla="*/ 2 h 9"/>
                  <a:gd name="T10" fmla="*/ 0 w 27"/>
                  <a:gd name="T11" fmla="*/ 3 h 9"/>
                  <a:gd name="T12" fmla="*/ 16 w 27"/>
                  <a:gd name="T13" fmla="*/ 5 h 9"/>
                  <a:gd name="T14" fmla="*/ 18 w 27"/>
                  <a:gd name="T15" fmla="*/ 6 h 9"/>
                  <a:gd name="T16" fmla="*/ 19 w 27"/>
                  <a:gd name="T17" fmla="*/ 7 h 9"/>
                  <a:gd name="T18" fmla="*/ 20 w 27"/>
                  <a:gd name="T19" fmla="*/ 7 h 9"/>
                  <a:gd name="T20" fmla="*/ 19 w 27"/>
                  <a:gd name="T21" fmla="*/ 8 h 9"/>
                  <a:gd name="T22" fmla="*/ 26 w 27"/>
                  <a:gd name="T23" fmla="*/ 8 h 9"/>
                  <a:gd name="T24" fmla="*/ 25 w 27"/>
                  <a:gd name="T25" fmla="*/ 8 h 9"/>
                  <a:gd name="T26" fmla="*/ 27 w 27"/>
                  <a:gd name="T27" fmla="*/ 8 h 9"/>
                  <a:gd name="T28" fmla="*/ 25 w 27"/>
                  <a:gd name="T29" fmla="*/ 6 h 9"/>
                  <a:gd name="T30" fmla="*/ 27 w 27"/>
                  <a:gd name="T3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9">
                    <a:moveTo>
                      <a:pt x="27" y="4"/>
                    </a:moveTo>
                    <a:cubicBezTo>
                      <a:pt x="25" y="3"/>
                      <a:pt x="24" y="2"/>
                      <a:pt x="22" y="2"/>
                    </a:cubicBezTo>
                    <a:cubicBezTo>
                      <a:pt x="20" y="2"/>
                      <a:pt x="18" y="1"/>
                      <a:pt x="17" y="1"/>
                    </a:cubicBezTo>
                    <a:cubicBezTo>
                      <a:pt x="14" y="1"/>
                      <a:pt x="13" y="0"/>
                      <a:pt x="11" y="1"/>
                    </a:cubicBezTo>
                    <a:cubicBezTo>
                      <a:pt x="9" y="2"/>
                      <a:pt x="7" y="2"/>
                      <a:pt x="5" y="2"/>
                    </a:cubicBezTo>
                    <a:cubicBezTo>
                      <a:pt x="4" y="2"/>
                      <a:pt x="0" y="2"/>
                      <a:pt x="0" y="3"/>
                    </a:cubicBezTo>
                    <a:cubicBezTo>
                      <a:pt x="5" y="4"/>
                      <a:pt x="11" y="4"/>
                      <a:pt x="16" y="5"/>
                    </a:cubicBezTo>
                    <a:cubicBezTo>
                      <a:pt x="17" y="5"/>
                      <a:pt x="18" y="5"/>
                      <a:pt x="18" y="6"/>
                    </a:cubicBezTo>
                    <a:cubicBezTo>
                      <a:pt x="19" y="6"/>
                      <a:pt x="19" y="7"/>
                      <a:pt x="19" y="7"/>
                    </a:cubicBezTo>
                    <a:cubicBezTo>
                      <a:pt x="19" y="7"/>
                      <a:pt x="20" y="7"/>
                      <a:pt x="20" y="7"/>
                    </a:cubicBezTo>
                    <a:cubicBezTo>
                      <a:pt x="20" y="7"/>
                      <a:pt x="19" y="8"/>
                      <a:pt x="19" y="8"/>
                    </a:cubicBezTo>
                    <a:cubicBezTo>
                      <a:pt x="20" y="9"/>
                      <a:pt x="24" y="8"/>
                      <a:pt x="26" y="8"/>
                    </a:cubicBezTo>
                    <a:cubicBezTo>
                      <a:pt x="26" y="8"/>
                      <a:pt x="25" y="8"/>
                      <a:pt x="25" y="8"/>
                    </a:cubicBezTo>
                    <a:cubicBezTo>
                      <a:pt x="26" y="8"/>
                      <a:pt x="26" y="8"/>
                      <a:pt x="27" y="8"/>
                    </a:cubicBezTo>
                    <a:cubicBezTo>
                      <a:pt x="27" y="7"/>
                      <a:pt x="26" y="5"/>
                      <a:pt x="25" y="6"/>
                    </a:cubicBezTo>
                    <a:cubicBezTo>
                      <a:pt x="25" y="5"/>
                      <a:pt x="26"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8" name="Freeform 1974">
                <a:extLst>
                  <a:ext uri="{FF2B5EF4-FFF2-40B4-BE49-F238E27FC236}">
                    <a16:creationId xmlns:a16="http://schemas.microsoft.com/office/drawing/2014/main" id="{D9521104-A4C5-46AB-88E7-04A62E06E921}"/>
                  </a:ext>
                </a:extLst>
              </p:cNvPr>
              <p:cNvSpPr>
                <a:spLocks/>
              </p:cNvSpPr>
              <p:nvPr/>
            </p:nvSpPr>
            <p:spPr bwMode="auto">
              <a:xfrm>
                <a:off x="2958" y="597"/>
                <a:ext cx="62" cy="36"/>
              </a:xfrm>
              <a:custGeom>
                <a:avLst/>
                <a:gdLst>
                  <a:gd name="T0" fmla="*/ 19 w 26"/>
                  <a:gd name="T1" fmla="*/ 8 h 15"/>
                  <a:gd name="T2" fmla="*/ 26 w 26"/>
                  <a:gd name="T3" fmla="*/ 8 h 15"/>
                  <a:gd name="T4" fmla="*/ 24 w 26"/>
                  <a:gd name="T5" fmla="*/ 7 h 15"/>
                  <a:gd name="T6" fmla="*/ 22 w 26"/>
                  <a:gd name="T7" fmla="*/ 7 h 15"/>
                  <a:gd name="T8" fmla="*/ 20 w 26"/>
                  <a:gd name="T9" fmla="*/ 5 h 15"/>
                  <a:gd name="T10" fmla="*/ 19 w 26"/>
                  <a:gd name="T11" fmla="*/ 5 h 15"/>
                  <a:gd name="T12" fmla="*/ 13 w 26"/>
                  <a:gd name="T13" fmla="*/ 1 h 15"/>
                  <a:gd name="T14" fmla="*/ 10 w 26"/>
                  <a:gd name="T15" fmla="*/ 1 h 15"/>
                  <a:gd name="T16" fmla="*/ 4 w 26"/>
                  <a:gd name="T17" fmla="*/ 0 h 15"/>
                  <a:gd name="T18" fmla="*/ 2 w 26"/>
                  <a:gd name="T19" fmla="*/ 1 h 15"/>
                  <a:gd name="T20" fmla="*/ 0 w 26"/>
                  <a:gd name="T21" fmla="*/ 2 h 15"/>
                  <a:gd name="T22" fmla="*/ 1 w 26"/>
                  <a:gd name="T23" fmla="*/ 5 h 15"/>
                  <a:gd name="T24" fmla="*/ 3 w 26"/>
                  <a:gd name="T25" fmla="*/ 7 h 15"/>
                  <a:gd name="T26" fmla="*/ 4 w 26"/>
                  <a:gd name="T27" fmla="*/ 7 h 15"/>
                  <a:gd name="T28" fmla="*/ 4 w 26"/>
                  <a:gd name="T29" fmla="*/ 8 h 15"/>
                  <a:gd name="T30" fmla="*/ 5 w 26"/>
                  <a:gd name="T31" fmla="*/ 8 h 15"/>
                  <a:gd name="T32" fmla="*/ 15 w 26"/>
                  <a:gd name="T33" fmla="*/ 12 h 15"/>
                  <a:gd name="T34" fmla="*/ 20 w 26"/>
                  <a:gd name="T35" fmla="*/ 15 h 15"/>
                  <a:gd name="T36" fmla="*/ 25 w 26"/>
                  <a:gd name="T37" fmla="*/ 12 h 15"/>
                  <a:gd name="T38" fmla="*/ 24 w 26"/>
                  <a:gd name="T39" fmla="*/ 12 h 15"/>
                  <a:gd name="T40" fmla="*/ 23 w 26"/>
                  <a:gd name="T41" fmla="*/ 12 h 15"/>
                  <a:gd name="T42" fmla="*/ 22 w 26"/>
                  <a:gd name="T43" fmla="*/ 11 h 15"/>
                  <a:gd name="T44" fmla="*/ 20 w 26"/>
                  <a:gd name="T45" fmla="*/ 11 h 15"/>
                  <a:gd name="T46" fmla="*/ 18 w 26"/>
                  <a:gd name="T47" fmla="*/ 10 h 15"/>
                  <a:gd name="T48" fmla="*/ 19 w 26"/>
                  <a:gd name="T49"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5">
                    <a:moveTo>
                      <a:pt x="19" y="8"/>
                    </a:moveTo>
                    <a:cubicBezTo>
                      <a:pt x="21" y="8"/>
                      <a:pt x="24" y="9"/>
                      <a:pt x="26" y="8"/>
                    </a:cubicBezTo>
                    <a:cubicBezTo>
                      <a:pt x="25" y="8"/>
                      <a:pt x="25" y="8"/>
                      <a:pt x="24" y="7"/>
                    </a:cubicBezTo>
                    <a:cubicBezTo>
                      <a:pt x="24" y="7"/>
                      <a:pt x="23" y="7"/>
                      <a:pt x="22" y="7"/>
                    </a:cubicBezTo>
                    <a:cubicBezTo>
                      <a:pt x="22" y="6"/>
                      <a:pt x="21" y="5"/>
                      <a:pt x="20" y="5"/>
                    </a:cubicBezTo>
                    <a:cubicBezTo>
                      <a:pt x="20" y="5"/>
                      <a:pt x="19" y="6"/>
                      <a:pt x="19" y="5"/>
                    </a:cubicBezTo>
                    <a:cubicBezTo>
                      <a:pt x="17" y="4"/>
                      <a:pt x="15" y="2"/>
                      <a:pt x="13" y="1"/>
                    </a:cubicBezTo>
                    <a:cubicBezTo>
                      <a:pt x="12" y="1"/>
                      <a:pt x="11" y="1"/>
                      <a:pt x="10" y="1"/>
                    </a:cubicBezTo>
                    <a:cubicBezTo>
                      <a:pt x="8" y="1"/>
                      <a:pt x="6" y="0"/>
                      <a:pt x="4" y="0"/>
                    </a:cubicBezTo>
                    <a:cubicBezTo>
                      <a:pt x="3" y="0"/>
                      <a:pt x="3" y="0"/>
                      <a:pt x="2" y="1"/>
                    </a:cubicBezTo>
                    <a:cubicBezTo>
                      <a:pt x="1" y="1"/>
                      <a:pt x="0" y="1"/>
                      <a:pt x="0" y="2"/>
                    </a:cubicBezTo>
                    <a:cubicBezTo>
                      <a:pt x="0" y="3"/>
                      <a:pt x="1" y="4"/>
                      <a:pt x="1" y="5"/>
                    </a:cubicBezTo>
                    <a:cubicBezTo>
                      <a:pt x="1" y="6"/>
                      <a:pt x="2" y="6"/>
                      <a:pt x="3" y="7"/>
                    </a:cubicBezTo>
                    <a:cubicBezTo>
                      <a:pt x="3" y="7"/>
                      <a:pt x="3" y="6"/>
                      <a:pt x="4" y="7"/>
                    </a:cubicBezTo>
                    <a:cubicBezTo>
                      <a:pt x="4" y="7"/>
                      <a:pt x="4" y="8"/>
                      <a:pt x="4" y="8"/>
                    </a:cubicBezTo>
                    <a:cubicBezTo>
                      <a:pt x="5" y="9"/>
                      <a:pt x="4" y="8"/>
                      <a:pt x="5" y="8"/>
                    </a:cubicBezTo>
                    <a:cubicBezTo>
                      <a:pt x="8" y="9"/>
                      <a:pt x="12" y="10"/>
                      <a:pt x="15" y="12"/>
                    </a:cubicBezTo>
                    <a:cubicBezTo>
                      <a:pt x="16" y="13"/>
                      <a:pt x="18" y="14"/>
                      <a:pt x="20" y="15"/>
                    </a:cubicBezTo>
                    <a:cubicBezTo>
                      <a:pt x="23" y="15"/>
                      <a:pt x="24" y="15"/>
                      <a:pt x="25" y="12"/>
                    </a:cubicBezTo>
                    <a:cubicBezTo>
                      <a:pt x="24" y="12"/>
                      <a:pt x="24" y="12"/>
                      <a:pt x="24" y="12"/>
                    </a:cubicBezTo>
                    <a:cubicBezTo>
                      <a:pt x="23" y="12"/>
                      <a:pt x="22" y="12"/>
                      <a:pt x="23" y="12"/>
                    </a:cubicBezTo>
                    <a:cubicBezTo>
                      <a:pt x="22" y="12"/>
                      <a:pt x="23" y="12"/>
                      <a:pt x="22" y="11"/>
                    </a:cubicBezTo>
                    <a:cubicBezTo>
                      <a:pt x="22" y="11"/>
                      <a:pt x="21" y="11"/>
                      <a:pt x="20" y="11"/>
                    </a:cubicBezTo>
                    <a:cubicBezTo>
                      <a:pt x="20" y="11"/>
                      <a:pt x="18" y="10"/>
                      <a:pt x="18" y="10"/>
                    </a:cubicBezTo>
                    <a:cubicBezTo>
                      <a:pt x="18" y="8"/>
                      <a:pt x="19" y="9"/>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9" name="Freeform 1975">
                <a:extLst>
                  <a:ext uri="{FF2B5EF4-FFF2-40B4-BE49-F238E27FC236}">
                    <a16:creationId xmlns:a16="http://schemas.microsoft.com/office/drawing/2014/main" id="{B905B4AC-3A1C-40B7-86EF-783964CC1FF2}"/>
                  </a:ext>
                </a:extLst>
              </p:cNvPr>
              <p:cNvSpPr>
                <a:spLocks/>
              </p:cNvSpPr>
              <p:nvPr/>
            </p:nvSpPr>
            <p:spPr bwMode="auto">
              <a:xfrm>
                <a:off x="3048" y="496"/>
                <a:ext cx="26" cy="16"/>
              </a:xfrm>
              <a:custGeom>
                <a:avLst/>
                <a:gdLst>
                  <a:gd name="T0" fmla="*/ 2 w 11"/>
                  <a:gd name="T1" fmla="*/ 5 h 7"/>
                  <a:gd name="T2" fmla="*/ 6 w 11"/>
                  <a:gd name="T3" fmla="*/ 7 h 7"/>
                  <a:gd name="T4" fmla="*/ 11 w 11"/>
                  <a:gd name="T5" fmla="*/ 4 h 7"/>
                  <a:gd name="T6" fmla="*/ 6 w 11"/>
                  <a:gd name="T7" fmla="*/ 3 h 7"/>
                  <a:gd name="T8" fmla="*/ 8 w 11"/>
                  <a:gd name="T9" fmla="*/ 1 h 7"/>
                  <a:gd name="T10" fmla="*/ 4 w 11"/>
                  <a:gd name="T11" fmla="*/ 0 h 7"/>
                  <a:gd name="T12" fmla="*/ 2 w 11"/>
                  <a:gd name="T13" fmla="*/ 1 h 7"/>
                  <a:gd name="T14" fmla="*/ 2 w 11"/>
                  <a:gd name="T15" fmla="*/ 2 h 7"/>
                  <a:gd name="T16" fmla="*/ 1 w 11"/>
                  <a:gd name="T17" fmla="*/ 4 h 7"/>
                  <a:gd name="T18" fmla="*/ 2 w 1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2" y="5"/>
                    </a:moveTo>
                    <a:cubicBezTo>
                      <a:pt x="3" y="7"/>
                      <a:pt x="4" y="7"/>
                      <a:pt x="6" y="7"/>
                    </a:cubicBezTo>
                    <a:cubicBezTo>
                      <a:pt x="7" y="6"/>
                      <a:pt x="9" y="5"/>
                      <a:pt x="11" y="4"/>
                    </a:cubicBezTo>
                    <a:cubicBezTo>
                      <a:pt x="9" y="3"/>
                      <a:pt x="7" y="3"/>
                      <a:pt x="6" y="3"/>
                    </a:cubicBezTo>
                    <a:cubicBezTo>
                      <a:pt x="6" y="2"/>
                      <a:pt x="7" y="1"/>
                      <a:pt x="8" y="1"/>
                    </a:cubicBezTo>
                    <a:cubicBezTo>
                      <a:pt x="6" y="0"/>
                      <a:pt x="5" y="0"/>
                      <a:pt x="4" y="0"/>
                    </a:cubicBezTo>
                    <a:cubicBezTo>
                      <a:pt x="3" y="0"/>
                      <a:pt x="3" y="0"/>
                      <a:pt x="2" y="1"/>
                    </a:cubicBezTo>
                    <a:cubicBezTo>
                      <a:pt x="1" y="1"/>
                      <a:pt x="2" y="1"/>
                      <a:pt x="2" y="2"/>
                    </a:cubicBezTo>
                    <a:cubicBezTo>
                      <a:pt x="2" y="3"/>
                      <a:pt x="2" y="3"/>
                      <a:pt x="1" y="4"/>
                    </a:cubicBezTo>
                    <a:cubicBezTo>
                      <a:pt x="0" y="5"/>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0" name="Freeform 1976">
                <a:extLst>
                  <a:ext uri="{FF2B5EF4-FFF2-40B4-BE49-F238E27FC236}">
                    <a16:creationId xmlns:a16="http://schemas.microsoft.com/office/drawing/2014/main" id="{0D7A8815-0DA3-4A01-B20A-65DDD3F930F2}"/>
                  </a:ext>
                </a:extLst>
              </p:cNvPr>
              <p:cNvSpPr>
                <a:spLocks/>
              </p:cNvSpPr>
              <p:nvPr/>
            </p:nvSpPr>
            <p:spPr bwMode="auto">
              <a:xfrm>
                <a:off x="2939" y="571"/>
                <a:ext cx="50" cy="12"/>
              </a:xfrm>
              <a:custGeom>
                <a:avLst/>
                <a:gdLst>
                  <a:gd name="T0" fmla="*/ 16 w 21"/>
                  <a:gd name="T1" fmla="*/ 5 h 5"/>
                  <a:gd name="T2" fmla="*/ 21 w 21"/>
                  <a:gd name="T3" fmla="*/ 5 h 5"/>
                  <a:gd name="T4" fmla="*/ 0 w 21"/>
                  <a:gd name="T5" fmla="*/ 1 h 5"/>
                  <a:gd name="T6" fmla="*/ 3 w 21"/>
                  <a:gd name="T7" fmla="*/ 3 h 5"/>
                  <a:gd name="T8" fmla="*/ 8 w 21"/>
                  <a:gd name="T9" fmla="*/ 3 h 5"/>
                  <a:gd name="T10" fmla="*/ 12 w 21"/>
                  <a:gd name="T11" fmla="*/ 4 h 5"/>
                  <a:gd name="T12" fmla="*/ 16 w 2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1" h="5">
                    <a:moveTo>
                      <a:pt x="16" y="5"/>
                    </a:moveTo>
                    <a:cubicBezTo>
                      <a:pt x="17" y="5"/>
                      <a:pt x="20" y="5"/>
                      <a:pt x="21" y="5"/>
                    </a:cubicBezTo>
                    <a:cubicBezTo>
                      <a:pt x="15" y="1"/>
                      <a:pt x="7" y="0"/>
                      <a:pt x="0" y="1"/>
                    </a:cubicBezTo>
                    <a:cubicBezTo>
                      <a:pt x="1" y="2"/>
                      <a:pt x="2" y="2"/>
                      <a:pt x="3" y="3"/>
                    </a:cubicBezTo>
                    <a:cubicBezTo>
                      <a:pt x="4" y="2"/>
                      <a:pt x="6" y="3"/>
                      <a:pt x="8" y="3"/>
                    </a:cubicBezTo>
                    <a:cubicBezTo>
                      <a:pt x="9" y="3"/>
                      <a:pt x="10" y="3"/>
                      <a:pt x="12" y="4"/>
                    </a:cubicBezTo>
                    <a:cubicBezTo>
                      <a:pt x="13" y="4"/>
                      <a:pt x="15" y="5"/>
                      <a:pt x="1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1" name="Freeform 1977">
                <a:extLst>
                  <a:ext uri="{FF2B5EF4-FFF2-40B4-BE49-F238E27FC236}">
                    <a16:creationId xmlns:a16="http://schemas.microsoft.com/office/drawing/2014/main" id="{D5A15F93-6988-4D71-BBBD-8E2EFF505401}"/>
                  </a:ext>
                </a:extLst>
              </p:cNvPr>
              <p:cNvSpPr>
                <a:spLocks/>
              </p:cNvSpPr>
              <p:nvPr/>
            </p:nvSpPr>
            <p:spPr bwMode="auto">
              <a:xfrm>
                <a:off x="3024" y="699"/>
                <a:ext cx="5" cy="9"/>
              </a:xfrm>
              <a:custGeom>
                <a:avLst/>
                <a:gdLst>
                  <a:gd name="T0" fmla="*/ 1 w 2"/>
                  <a:gd name="T1" fmla="*/ 3 h 4"/>
                  <a:gd name="T2" fmla="*/ 0 w 2"/>
                  <a:gd name="T3" fmla="*/ 1 h 4"/>
                  <a:gd name="T4" fmla="*/ 0 w 2"/>
                  <a:gd name="T5" fmla="*/ 3 h 4"/>
                  <a:gd name="T6" fmla="*/ 0 w 2"/>
                  <a:gd name="T7" fmla="*/ 4 h 4"/>
                  <a:gd name="T8" fmla="*/ 1 w 2"/>
                  <a:gd name="T9" fmla="*/ 3 h 4"/>
                </a:gdLst>
                <a:ahLst/>
                <a:cxnLst>
                  <a:cxn ang="0">
                    <a:pos x="T0" y="T1"/>
                  </a:cxn>
                  <a:cxn ang="0">
                    <a:pos x="T2" y="T3"/>
                  </a:cxn>
                  <a:cxn ang="0">
                    <a:pos x="T4" y="T5"/>
                  </a:cxn>
                  <a:cxn ang="0">
                    <a:pos x="T6" y="T7"/>
                  </a:cxn>
                  <a:cxn ang="0">
                    <a:pos x="T8" y="T9"/>
                  </a:cxn>
                </a:cxnLst>
                <a:rect l="0" t="0" r="r" b="b"/>
                <a:pathLst>
                  <a:path w="2" h="4">
                    <a:moveTo>
                      <a:pt x="1" y="3"/>
                    </a:moveTo>
                    <a:cubicBezTo>
                      <a:pt x="2" y="2"/>
                      <a:pt x="0" y="0"/>
                      <a:pt x="0" y="1"/>
                    </a:cubicBezTo>
                    <a:cubicBezTo>
                      <a:pt x="0" y="1"/>
                      <a:pt x="0" y="2"/>
                      <a:pt x="0" y="3"/>
                    </a:cubicBezTo>
                    <a:cubicBezTo>
                      <a:pt x="0" y="3"/>
                      <a:pt x="0" y="3"/>
                      <a:pt x="0" y="4"/>
                    </a:cubicBezTo>
                    <a:cubicBezTo>
                      <a:pt x="1" y="4"/>
                      <a:pt x="1"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2" name="Freeform 1978">
                <a:extLst>
                  <a:ext uri="{FF2B5EF4-FFF2-40B4-BE49-F238E27FC236}">
                    <a16:creationId xmlns:a16="http://schemas.microsoft.com/office/drawing/2014/main" id="{2CD9DBC8-590A-467E-AD56-77B441C89116}"/>
                  </a:ext>
                </a:extLst>
              </p:cNvPr>
              <p:cNvSpPr>
                <a:spLocks noEditPoints="1"/>
              </p:cNvSpPr>
              <p:nvPr/>
            </p:nvSpPr>
            <p:spPr bwMode="auto">
              <a:xfrm>
                <a:off x="1785" y="29"/>
                <a:ext cx="1478" cy="1091"/>
              </a:xfrm>
              <a:custGeom>
                <a:avLst/>
                <a:gdLst>
                  <a:gd name="T0" fmla="*/ 457 w 625"/>
                  <a:gd name="T1" fmla="*/ 292 h 461"/>
                  <a:gd name="T2" fmla="*/ 484 w 625"/>
                  <a:gd name="T3" fmla="*/ 272 h 461"/>
                  <a:gd name="T4" fmla="*/ 486 w 625"/>
                  <a:gd name="T5" fmla="*/ 268 h 461"/>
                  <a:gd name="T6" fmla="*/ 524 w 625"/>
                  <a:gd name="T7" fmla="*/ 276 h 461"/>
                  <a:gd name="T8" fmla="*/ 515 w 625"/>
                  <a:gd name="T9" fmla="*/ 262 h 461"/>
                  <a:gd name="T10" fmla="*/ 487 w 625"/>
                  <a:gd name="T11" fmla="*/ 242 h 461"/>
                  <a:gd name="T12" fmla="*/ 470 w 625"/>
                  <a:gd name="T13" fmla="*/ 231 h 461"/>
                  <a:gd name="T14" fmla="*/ 511 w 625"/>
                  <a:gd name="T15" fmla="*/ 232 h 461"/>
                  <a:gd name="T16" fmla="*/ 531 w 625"/>
                  <a:gd name="T17" fmla="*/ 209 h 461"/>
                  <a:gd name="T18" fmla="*/ 533 w 625"/>
                  <a:gd name="T19" fmla="*/ 191 h 461"/>
                  <a:gd name="T20" fmla="*/ 526 w 625"/>
                  <a:gd name="T21" fmla="*/ 173 h 461"/>
                  <a:gd name="T22" fmla="*/ 535 w 625"/>
                  <a:gd name="T23" fmla="*/ 158 h 461"/>
                  <a:gd name="T24" fmla="*/ 542 w 625"/>
                  <a:gd name="T25" fmla="*/ 138 h 461"/>
                  <a:gd name="T26" fmla="*/ 550 w 625"/>
                  <a:gd name="T27" fmla="*/ 106 h 461"/>
                  <a:gd name="T28" fmla="*/ 558 w 625"/>
                  <a:gd name="T29" fmla="*/ 76 h 461"/>
                  <a:gd name="T30" fmla="*/ 564 w 625"/>
                  <a:gd name="T31" fmla="*/ 50 h 461"/>
                  <a:gd name="T32" fmla="*/ 501 w 625"/>
                  <a:gd name="T33" fmla="*/ 41 h 461"/>
                  <a:gd name="T34" fmla="*/ 433 w 625"/>
                  <a:gd name="T35" fmla="*/ 36 h 461"/>
                  <a:gd name="T36" fmla="*/ 393 w 625"/>
                  <a:gd name="T37" fmla="*/ 19 h 461"/>
                  <a:gd name="T38" fmla="*/ 375 w 625"/>
                  <a:gd name="T39" fmla="*/ 2 h 461"/>
                  <a:gd name="T40" fmla="*/ 315 w 625"/>
                  <a:gd name="T41" fmla="*/ 10 h 461"/>
                  <a:gd name="T42" fmla="*/ 319 w 625"/>
                  <a:gd name="T43" fmla="*/ 23 h 461"/>
                  <a:gd name="T44" fmla="*/ 260 w 625"/>
                  <a:gd name="T45" fmla="*/ 37 h 461"/>
                  <a:gd name="T46" fmla="*/ 204 w 625"/>
                  <a:gd name="T47" fmla="*/ 41 h 461"/>
                  <a:gd name="T48" fmla="*/ 139 w 625"/>
                  <a:gd name="T49" fmla="*/ 44 h 461"/>
                  <a:gd name="T50" fmla="*/ 71 w 625"/>
                  <a:gd name="T51" fmla="*/ 89 h 461"/>
                  <a:gd name="T52" fmla="*/ 42 w 625"/>
                  <a:gd name="T53" fmla="*/ 114 h 461"/>
                  <a:gd name="T54" fmla="*/ 49 w 625"/>
                  <a:gd name="T55" fmla="*/ 145 h 461"/>
                  <a:gd name="T56" fmla="*/ 23 w 625"/>
                  <a:gd name="T57" fmla="*/ 160 h 461"/>
                  <a:gd name="T58" fmla="*/ 74 w 625"/>
                  <a:gd name="T59" fmla="*/ 173 h 461"/>
                  <a:gd name="T60" fmla="*/ 159 w 625"/>
                  <a:gd name="T61" fmla="*/ 199 h 461"/>
                  <a:gd name="T62" fmla="*/ 176 w 625"/>
                  <a:gd name="T63" fmla="*/ 220 h 461"/>
                  <a:gd name="T64" fmla="*/ 186 w 625"/>
                  <a:gd name="T65" fmla="*/ 247 h 461"/>
                  <a:gd name="T66" fmla="*/ 193 w 625"/>
                  <a:gd name="T67" fmla="*/ 268 h 461"/>
                  <a:gd name="T68" fmla="*/ 218 w 625"/>
                  <a:gd name="T69" fmla="*/ 262 h 461"/>
                  <a:gd name="T70" fmla="*/ 224 w 625"/>
                  <a:gd name="T71" fmla="*/ 280 h 461"/>
                  <a:gd name="T72" fmla="*/ 218 w 625"/>
                  <a:gd name="T73" fmla="*/ 294 h 461"/>
                  <a:gd name="T74" fmla="*/ 231 w 625"/>
                  <a:gd name="T75" fmla="*/ 312 h 461"/>
                  <a:gd name="T76" fmla="*/ 209 w 625"/>
                  <a:gd name="T77" fmla="*/ 324 h 461"/>
                  <a:gd name="T78" fmla="*/ 203 w 625"/>
                  <a:gd name="T79" fmla="*/ 328 h 461"/>
                  <a:gd name="T80" fmla="*/ 231 w 625"/>
                  <a:gd name="T81" fmla="*/ 332 h 461"/>
                  <a:gd name="T82" fmla="*/ 225 w 625"/>
                  <a:gd name="T83" fmla="*/ 345 h 461"/>
                  <a:gd name="T84" fmla="*/ 209 w 625"/>
                  <a:gd name="T85" fmla="*/ 352 h 461"/>
                  <a:gd name="T86" fmla="*/ 232 w 625"/>
                  <a:gd name="T87" fmla="*/ 350 h 461"/>
                  <a:gd name="T88" fmla="*/ 204 w 625"/>
                  <a:gd name="T89" fmla="*/ 367 h 461"/>
                  <a:gd name="T90" fmla="*/ 211 w 625"/>
                  <a:gd name="T91" fmla="*/ 375 h 461"/>
                  <a:gd name="T92" fmla="*/ 218 w 625"/>
                  <a:gd name="T93" fmla="*/ 392 h 461"/>
                  <a:gd name="T94" fmla="*/ 223 w 625"/>
                  <a:gd name="T95" fmla="*/ 407 h 461"/>
                  <a:gd name="T96" fmla="*/ 235 w 625"/>
                  <a:gd name="T97" fmla="*/ 418 h 461"/>
                  <a:gd name="T98" fmla="*/ 249 w 625"/>
                  <a:gd name="T99" fmla="*/ 436 h 461"/>
                  <a:gd name="T100" fmla="*/ 262 w 625"/>
                  <a:gd name="T101" fmla="*/ 446 h 461"/>
                  <a:gd name="T102" fmla="*/ 279 w 625"/>
                  <a:gd name="T103" fmla="*/ 446 h 461"/>
                  <a:gd name="T104" fmla="*/ 287 w 625"/>
                  <a:gd name="T105" fmla="*/ 454 h 461"/>
                  <a:gd name="T106" fmla="*/ 303 w 625"/>
                  <a:gd name="T107" fmla="*/ 453 h 461"/>
                  <a:gd name="T108" fmla="*/ 313 w 625"/>
                  <a:gd name="T109" fmla="*/ 439 h 461"/>
                  <a:gd name="T110" fmla="*/ 310 w 625"/>
                  <a:gd name="T111" fmla="*/ 419 h 461"/>
                  <a:gd name="T112" fmla="*/ 323 w 625"/>
                  <a:gd name="T113" fmla="*/ 407 h 461"/>
                  <a:gd name="T114" fmla="*/ 330 w 625"/>
                  <a:gd name="T115" fmla="*/ 392 h 461"/>
                  <a:gd name="T116" fmla="*/ 339 w 625"/>
                  <a:gd name="T117" fmla="*/ 372 h 461"/>
                  <a:gd name="T118" fmla="*/ 366 w 625"/>
                  <a:gd name="T119" fmla="*/ 367 h 461"/>
                  <a:gd name="T120" fmla="*/ 396 w 625"/>
                  <a:gd name="T121" fmla="*/ 355 h 461"/>
                  <a:gd name="T122" fmla="*/ 419 w 625"/>
                  <a:gd name="T123" fmla="*/ 326 h 461"/>
                  <a:gd name="T124" fmla="*/ 493 w 625"/>
                  <a:gd name="T125" fmla="*/ 308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461">
                    <a:moveTo>
                      <a:pt x="493" y="305"/>
                    </a:moveTo>
                    <a:cubicBezTo>
                      <a:pt x="494" y="305"/>
                      <a:pt x="495" y="305"/>
                      <a:pt x="496" y="306"/>
                    </a:cubicBezTo>
                    <a:cubicBezTo>
                      <a:pt x="495" y="306"/>
                      <a:pt x="497" y="306"/>
                      <a:pt x="497" y="306"/>
                    </a:cubicBezTo>
                    <a:cubicBezTo>
                      <a:pt x="498" y="306"/>
                      <a:pt x="500" y="305"/>
                      <a:pt x="500" y="304"/>
                    </a:cubicBezTo>
                    <a:cubicBezTo>
                      <a:pt x="500" y="302"/>
                      <a:pt x="499" y="303"/>
                      <a:pt x="497" y="302"/>
                    </a:cubicBezTo>
                    <a:cubicBezTo>
                      <a:pt x="498" y="302"/>
                      <a:pt x="499" y="302"/>
                      <a:pt x="500" y="302"/>
                    </a:cubicBezTo>
                    <a:cubicBezTo>
                      <a:pt x="500" y="303"/>
                      <a:pt x="501" y="302"/>
                      <a:pt x="501" y="302"/>
                    </a:cubicBezTo>
                    <a:cubicBezTo>
                      <a:pt x="502" y="303"/>
                      <a:pt x="502" y="304"/>
                      <a:pt x="503" y="303"/>
                    </a:cubicBezTo>
                    <a:cubicBezTo>
                      <a:pt x="504" y="302"/>
                      <a:pt x="505" y="300"/>
                      <a:pt x="504" y="300"/>
                    </a:cubicBezTo>
                    <a:cubicBezTo>
                      <a:pt x="503" y="299"/>
                      <a:pt x="502" y="299"/>
                      <a:pt x="501" y="299"/>
                    </a:cubicBezTo>
                    <a:cubicBezTo>
                      <a:pt x="504" y="299"/>
                      <a:pt x="506" y="299"/>
                      <a:pt x="508" y="299"/>
                    </a:cubicBezTo>
                    <a:cubicBezTo>
                      <a:pt x="508" y="299"/>
                      <a:pt x="508" y="298"/>
                      <a:pt x="508" y="298"/>
                    </a:cubicBezTo>
                    <a:cubicBezTo>
                      <a:pt x="509" y="298"/>
                      <a:pt x="510" y="299"/>
                      <a:pt x="511" y="299"/>
                    </a:cubicBezTo>
                    <a:cubicBezTo>
                      <a:pt x="511" y="297"/>
                      <a:pt x="509" y="298"/>
                      <a:pt x="508" y="297"/>
                    </a:cubicBezTo>
                    <a:cubicBezTo>
                      <a:pt x="511" y="296"/>
                      <a:pt x="513" y="296"/>
                      <a:pt x="516" y="295"/>
                    </a:cubicBezTo>
                    <a:cubicBezTo>
                      <a:pt x="517" y="295"/>
                      <a:pt x="520" y="293"/>
                      <a:pt x="520" y="292"/>
                    </a:cubicBezTo>
                    <a:cubicBezTo>
                      <a:pt x="520" y="291"/>
                      <a:pt x="517" y="292"/>
                      <a:pt x="516" y="292"/>
                    </a:cubicBezTo>
                    <a:cubicBezTo>
                      <a:pt x="512" y="291"/>
                      <a:pt x="508" y="291"/>
                      <a:pt x="504" y="291"/>
                    </a:cubicBezTo>
                    <a:cubicBezTo>
                      <a:pt x="501" y="291"/>
                      <a:pt x="498" y="291"/>
                      <a:pt x="495" y="290"/>
                    </a:cubicBezTo>
                    <a:cubicBezTo>
                      <a:pt x="494" y="289"/>
                      <a:pt x="493" y="289"/>
                      <a:pt x="492" y="289"/>
                    </a:cubicBezTo>
                    <a:cubicBezTo>
                      <a:pt x="492" y="288"/>
                      <a:pt x="491" y="288"/>
                      <a:pt x="491" y="288"/>
                    </a:cubicBezTo>
                    <a:cubicBezTo>
                      <a:pt x="490" y="288"/>
                      <a:pt x="489" y="288"/>
                      <a:pt x="488" y="288"/>
                    </a:cubicBezTo>
                    <a:cubicBezTo>
                      <a:pt x="488" y="288"/>
                      <a:pt x="489" y="287"/>
                      <a:pt x="488" y="287"/>
                    </a:cubicBezTo>
                    <a:cubicBezTo>
                      <a:pt x="487" y="287"/>
                      <a:pt x="485" y="288"/>
                      <a:pt x="485" y="288"/>
                    </a:cubicBezTo>
                    <a:cubicBezTo>
                      <a:pt x="482" y="289"/>
                      <a:pt x="479" y="290"/>
                      <a:pt x="477" y="291"/>
                    </a:cubicBezTo>
                    <a:cubicBezTo>
                      <a:pt x="474" y="291"/>
                      <a:pt x="471" y="292"/>
                      <a:pt x="468" y="293"/>
                    </a:cubicBezTo>
                    <a:cubicBezTo>
                      <a:pt x="468" y="293"/>
                      <a:pt x="468" y="294"/>
                      <a:pt x="467" y="295"/>
                    </a:cubicBezTo>
                    <a:cubicBezTo>
                      <a:pt x="466" y="296"/>
                      <a:pt x="461" y="294"/>
                      <a:pt x="459" y="294"/>
                    </a:cubicBezTo>
                    <a:cubicBezTo>
                      <a:pt x="455" y="293"/>
                      <a:pt x="455" y="293"/>
                      <a:pt x="455" y="293"/>
                    </a:cubicBezTo>
                    <a:cubicBezTo>
                      <a:pt x="455" y="293"/>
                      <a:pt x="455" y="293"/>
                      <a:pt x="455" y="293"/>
                    </a:cubicBezTo>
                    <a:cubicBezTo>
                      <a:pt x="456" y="293"/>
                      <a:pt x="456" y="292"/>
                      <a:pt x="457" y="292"/>
                    </a:cubicBezTo>
                    <a:cubicBezTo>
                      <a:pt x="459" y="292"/>
                      <a:pt x="459" y="293"/>
                      <a:pt x="461" y="293"/>
                    </a:cubicBezTo>
                    <a:cubicBezTo>
                      <a:pt x="462" y="293"/>
                      <a:pt x="463" y="292"/>
                      <a:pt x="464" y="292"/>
                    </a:cubicBezTo>
                    <a:cubicBezTo>
                      <a:pt x="466" y="291"/>
                      <a:pt x="468" y="290"/>
                      <a:pt x="470" y="289"/>
                    </a:cubicBezTo>
                    <a:cubicBezTo>
                      <a:pt x="472" y="288"/>
                      <a:pt x="474" y="290"/>
                      <a:pt x="476" y="288"/>
                    </a:cubicBezTo>
                    <a:cubicBezTo>
                      <a:pt x="476" y="288"/>
                      <a:pt x="477" y="288"/>
                      <a:pt x="476" y="287"/>
                    </a:cubicBezTo>
                    <a:cubicBezTo>
                      <a:pt x="476" y="287"/>
                      <a:pt x="476" y="286"/>
                      <a:pt x="475" y="286"/>
                    </a:cubicBezTo>
                    <a:cubicBezTo>
                      <a:pt x="474" y="285"/>
                      <a:pt x="472" y="286"/>
                      <a:pt x="471" y="286"/>
                    </a:cubicBezTo>
                    <a:cubicBezTo>
                      <a:pt x="470" y="286"/>
                      <a:pt x="469" y="286"/>
                      <a:pt x="468" y="286"/>
                    </a:cubicBezTo>
                    <a:cubicBezTo>
                      <a:pt x="466" y="286"/>
                      <a:pt x="465" y="287"/>
                      <a:pt x="464" y="287"/>
                    </a:cubicBezTo>
                    <a:cubicBezTo>
                      <a:pt x="462" y="287"/>
                      <a:pt x="458" y="288"/>
                      <a:pt x="457" y="287"/>
                    </a:cubicBezTo>
                    <a:cubicBezTo>
                      <a:pt x="456" y="287"/>
                      <a:pt x="457" y="286"/>
                      <a:pt x="457" y="285"/>
                    </a:cubicBezTo>
                    <a:cubicBezTo>
                      <a:pt x="455" y="286"/>
                      <a:pt x="453" y="285"/>
                      <a:pt x="451" y="286"/>
                    </a:cubicBezTo>
                    <a:cubicBezTo>
                      <a:pt x="449" y="287"/>
                      <a:pt x="448" y="288"/>
                      <a:pt x="447" y="286"/>
                    </a:cubicBezTo>
                    <a:cubicBezTo>
                      <a:pt x="449" y="286"/>
                      <a:pt x="451" y="285"/>
                      <a:pt x="453" y="285"/>
                    </a:cubicBezTo>
                    <a:cubicBezTo>
                      <a:pt x="454" y="285"/>
                      <a:pt x="456" y="285"/>
                      <a:pt x="457" y="284"/>
                    </a:cubicBezTo>
                    <a:cubicBezTo>
                      <a:pt x="458" y="283"/>
                      <a:pt x="459" y="281"/>
                      <a:pt x="460" y="280"/>
                    </a:cubicBezTo>
                    <a:cubicBezTo>
                      <a:pt x="460" y="279"/>
                      <a:pt x="460" y="278"/>
                      <a:pt x="460" y="278"/>
                    </a:cubicBezTo>
                    <a:cubicBezTo>
                      <a:pt x="460" y="278"/>
                      <a:pt x="459" y="278"/>
                      <a:pt x="459" y="278"/>
                    </a:cubicBezTo>
                    <a:cubicBezTo>
                      <a:pt x="458" y="277"/>
                      <a:pt x="457" y="277"/>
                      <a:pt x="456" y="277"/>
                    </a:cubicBezTo>
                    <a:cubicBezTo>
                      <a:pt x="457" y="276"/>
                      <a:pt x="459" y="276"/>
                      <a:pt x="460" y="276"/>
                    </a:cubicBezTo>
                    <a:cubicBezTo>
                      <a:pt x="461" y="276"/>
                      <a:pt x="462" y="277"/>
                      <a:pt x="464" y="277"/>
                    </a:cubicBezTo>
                    <a:cubicBezTo>
                      <a:pt x="463" y="276"/>
                      <a:pt x="462" y="276"/>
                      <a:pt x="462" y="275"/>
                    </a:cubicBezTo>
                    <a:cubicBezTo>
                      <a:pt x="461" y="275"/>
                      <a:pt x="461" y="274"/>
                      <a:pt x="461" y="274"/>
                    </a:cubicBezTo>
                    <a:cubicBezTo>
                      <a:pt x="462" y="274"/>
                      <a:pt x="463" y="275"/>
                      <a:pt x="464" y="276"/>
                    </a:cubicBezTo>
                    <a:cubicBezTo>
                      <a:pt x="465" y="276"/>
                      <a:pt x="465" y="277"/>
                      <a:pt x="466" y="277"/>
                    </a:cubicBezTo>
                    <a:cubicBezTo>
                      <a:pt x="467" y="277"/>
                      <a:pt x="468" y="277"/>
                      <a:pt x="469" y="277"/>
                    </a:cubicBezTo>
                    <a:cubicBezTo>
                      <a:pt x="471" y="277"/>
                      <a:pt x="472" y="277"/>
                      <a:pt x="473" y="277"/>
                    </a:cubicBezTo>
                    <a:cubicBezTo>
                      <a:pt x="475" y="277"/>
                      <a:pt x="477" y="276"/>
                      <a:pt x="479" y="275"/>
                    </a:cubicBezTo>
                    <a:cubicBezTo>
                      <a:pt x="480" y="275"/>
                      <a:pt x="481" y="274"/>
                      <a:pt x="482" y="274"/>
                    </a:cubicBezTo>
                    <a:cubicBezTo>
                      <a:pt x="482" y="274"/>
                      <a:pt x="483" y="274"/>
                      <a:pt x="483" y="273"/>
                    </a:cubicBezTo>
                    <a:cubicBezTo>
                      <a:pt x="484" y="273"/>
                      <a:pt x="484" y="273"/>
                      <a:pt x="484" y="272"/>
                    </a:cubicBezTo>
                    <a:cubicBezTo>
                      <a:pt x="484" y="272"/>
                      <a:pt x="483" y="272"/>
                      <a:pt x="483" y="271"/>
                    </a:cubicBezTo>
                    <a:cubicBezTo>
                      <a:pt x="483" y="271"/>
                      <a:pt x="485" y="272"/>
                      <a:pt x="485" y="272"/>
                    </a:cubicBezTo>
                    <a:cubicBezTo>
                      <a:pt x="486" y="272"/>
                      <a:pt x="485" y="269"/>
                      <a:pt x="485" y="269"/>
                    </a:cubicBezTo>
                    <a:cubicBezTo>
                      <a:pt x="485" y="268"/>
                      <a:pt x="483" y="267"/>
                      <a:pt x="482" y="267"/>
                    </a:cubicBezTo>
                    <a:cubicBezTo>
                      <a:pt x="481" y="267"/>
                      <a:pt x="480" y="267"/>
                      <a:pt x="479" y="267"/>
                    </a:cubicBezTo>
                    <a:cubicBezTo>
                      <a:pt x="478" y="267"/>
                      <a:pt x="477" y="266"/>
                      <a:pt x="476" y="267"/>
                    </a:cubicBezTo>
                    <a:cubicBezTo>
                      <a:pt x="475" y="267"/>
                      <a:pt x="474" y="267"/>
                      <a:pt x="473" y="267"/>
                    </a:cubicBezTo>
                    <a:cubicBezTo>
                      <a:pt x="472" y="267"/>
                      <a:pt x="471" y="266"/>
                      <a:pt x="470" y="266"/>
                    </a:cubicBezTo>
                    <a:cubicBezTo>
                      <a:pt x="469" y="266"/>
                      <a:pt x="467" y="268"/>
                      <a:pt x="467" y="266"/>
                    </a:cubicBezTo>
                    <a:cubicBezTo>
                      <a:pt x="467" y="265"/>
                      <a:pt x="466" y="265"/>
                      <a:pt x="465" y="265"/>
                    </a:cubicBezTo>
                    <a:cubicBezTo>
                      <a:pt x="463" y="264"/>
                      <a:pt x="461" y="265"/>
                      <a:pt x="459" y="266"/>
                    </a:cubicBezTo>
                    <a:cubicBezTo>
                      <a:pt x="458" y="266"/>
                      <a:pt x="455" y="266"/>
                      <a:pt x="455" y="265"/>
                    </a:cubicBezTo>
                    <a:cubicBezTo>
                      <a:pt x="457" y="265"/>
                      <a:pt x="459" y="265"/>
                      <a:pt x="461" y="265"/>
                    </a:cubicBezTo>
                    <a:cubicBezTo>
                      <a:pt x="462" y="264"/>
                      <a:pt x="463" y="264"/>
                      <a:pt x="464" y="264"/>
                    </a:cubicBezTo>
                    <a:cubicBezTo>
                      <a:pt x="464" y="264"/>
                      <a:pt x="466" y="264"/>
                      <a:pt x="466" y="264"/>
                    </a:cubicBezTo>
                    <a:cubicBezTo>
                      <a:pt x="467" y="263"/>
                      <a:pt x="463" y="261"/>
                      <a:pt x="462" y="261"/>
                    </a:cubicBezTo>
                    <a:cubicBezTo>
                      <a:pt x="462" y="260"/>
                      <a:pt x="461" y="260"/>
                      <a:pt x="460" y="260"/>
                    </a:cubicBezTo>
                    <a:cubicBezTo>
                      <a:pt x="459" y="259"/>
                      <a:pt x="460" y="259"/>
                      <a:pt x="461" y="260"/>
                    </a:cubicBezTo>
                    <a:cubicBezTo>
                      <a:pt x="460" y="258"/>
                      <a:pt x="457" y="258"/>
                      <a:pt x="456" y="258"/>
                    </a:cubicBezTo>
                    <a:cubicBezTo>
                      <a:pt x="454" y="258"/>
                      <a:pt x="456" y="257"/>
                      <a:pt x="455" y="256"/>
                    </a:cubicBezTo>
                    <a:cubicBezTo>
                      <a:pt x="455" y="255"/>
                      <a:pt x="453" y="256"/>
                      <a:pt x="453" y="256"/>
                    </a:cubicBezTo>
                    <a:cubicBezTo>
                      <a:pt x="456" y="255"/>
                      <a:pt x="457" y="257"/>
                      <a:pt x="460" y="258"/>
                    </a:cubicBezTo>
                    <a:cubicBezTo>
                      <a:pt x="461" y="258"/>
                      <a:pt x="462" y="258"/>
                      <a:pt x="463" y="258"/>
                    </a:cubicBezTo>
                    <a:cubicBezTo>
                      <a:pt x="464" y="259"/>
                      <a:pt x="464" y="260"/>
                      <a:pt x="465" y="260"/>
                    </a:cubicBezTo>
                    <a:cubicBezTo>
                      <a:pt x="466" y="261"/>
                      <a:pt x="467" y="261"/>
                      <a:pt x="468" y="262"/>
                    </a:cubicBezTo>
                    <a:cubicBezTo>
                      <a:pt x="468" y="263"/>
                      <a:pt x="469" y="263"/>
                      <a:pt x="469" y="264"/>
                    </a:cubicBezTo>
                    <a:cubicBezTo>
                      <a:pt x="471" y="265"/>
                      <a:pt x="473" y="266"/>
                      <a:pt x="475" y="266"/>
                    </a:cubicBezTo>
                    <a:cubicBezTo>
                      <a:pt x="475" y="265"/>
                      <a:pt x="476" y="265"/>
                      <a:pt x="477" y="265"/>
                    </a:cubicBezTo>
                    <a:cubicBezTo>
                      <a:pt x="477" y="265"/>
                      <a:pt x="478" y="265"/>
                      <a:pt x="478" y="265"/>
                    </a:cubicBezTo>
                    <a:cubicBezTo>
                      <a:pt x="479" y="265"/>
                      <a:pt x="481" y="265"/>
                      <a:pt x="482" y="265"/>
                    </a:cubicBezTo>
                    <a:cubicBezTo>
                      <a:pt x="483" y="266"/>
                      <a:pt x="485" y="267"/>
                      <a:pt x="486" y="268"/>
                    </a:cubicBezTo>
                    <a:cubicBezTo>
                      <a:pt x="487" y="268"/>
                      <a:pt x="488" y="269"/>
                      <a:pt x="489" y="270"/>
                    </a:cubicBezTo>
                    <a:cubicBezTo>
                      <a:pt x="490" y="270"/>
                      <a:pt x="490" y="270"/>
                      <a:pt x="491" y="270"/>
                    </a:cubicBezTo>
                    <a:cubicBezTo>
                      <a:pt x="492" y="270"/>
                      <a:pt x="494" y="269"/>
                      <a:pt x="494" y="269"/>
                    </a:cubicBezTo>
                    <a:cubicBezTo>
                      <a:pt x="495" y="270"/>
                      <a:pt x="494" y="270"/>
                      <a:pt x="494" y="271"/>
                    </a:cubicBezTo>
                    <a:cubicBezTo>
                      <a:pt x="494" y="271"/>
                      <a:pt x="495" y="271"/>
                      <a:pt x="495" y="271"/>
                    </a:cubicBezTo>
                    <a:cubicBezTo>
                      <a:pt x="495" y="271"/>
                      <a:pt x="495" y="272"/>
                      <a:pt x="495" y="272"/>
                    </a:cubicBezTo>
                    <a:cubicBezTo>
                      <a:pt x="495" y="273"/>
                      <a:pt x="496" y="273"/>
                      <a:pt x="497" y="273"/>
                    </a:cubicBezTo>
                    <a:cubicBezTo>
                      <a:pt x="497" y="274"/>
                      <a:pt x="498" y="275"/>
                      <a:pt x="499" y="276"/>
                    </a:cubicBezTo>
                    <a:cubicBezTo>
                      <a:pt x="499" y="276"/>
                      <a:pt x="498" y="277"/>
                      <a:pt x="499" y="278"/>
                    </a:cubicBezTo>
                    <a:cubicBezTo>
                      <a:pt x="499" y="279"/>
                      <a:pt x="499" y="280"/>
                      <a:pt x="499" y="281"/>
                    </a:cubicBezTo>
                    <a:cubicBezTo>
                      <a:pt x="501" y="284"/>
                      <a:pt x="506" y="287"/>
                      <a:pt x="510" y="287"/>
                    </a:cubicBezTo>
                    <a:cubicBezTo>
                      <a:pt x="511" y="287"/>
                      <a:pt x="512" y="287"/>
                      <a:pt x="513" y="287"/>
                    </a:cubicBezTo>
                    <a:cubicBezTo>
                      <a:pt x="516" y="286"/>
                      <a:pt x="515" y="284"/>
                      <a:pt x="516" y="282"/>
                    </a:cubicBezTo>
                    <a:cubicBezTo>
                      <a:pt x="516" y="282"/>
                      <a:pt x="516" y="279"/>
                      <a:pt x="516" y="279"/>
                    </a:cubicBezTo>
                    <a:cubicBezTo>
                      <a:pt x="517" y="279"/>
                      <a:pt x="517" y="281"/>
                      <a:pt x="517" y="281"/>
                    </a:cubicBezTo>
                    <a:cubicBezTo>
                      <a:pt x="517" y="282"/>
                      <a:pt x="517" y="284"/>
                      <a:pt x="517" y="285"/>
                    </a:cubicBezTo>
                    <a:cubicBezTo>
                      <a:pt x="517" y="287"/>
                      <a:pt x="518" y="286"/>
                      <a:pt x="519" y="286"/>
                    </a:cubicBezTo>
                    <a:cubicBezTo>
                      <a:pt x="519" y="286"/>
                      <a:pt x="519" y="286"/>
                      <a:pt x="519" y="286"/>
                    </a:cubicBezTo>
                    <a:cubicBezTo>
                      <a:pt x="519" y="284"/>
                      <a:pt x="520" y="283"/>
                      <a:pt x="522" y="283"/>
                    </a:cubicBezTo>
                    <a:cubicBezTo>
                      <a:pt x="522" y="283"/>
                      <a:pt x="523" y="283"/>
                      <a:pt x="524" y="284"/>
                    </a:cubicBezTo>
                    <a:cubicBezTo>
                      <a:pt x="524" y="283"/>
                      <a:pt x="525" y="283"/>
                      <a:pt x="525" y="282"/>
                    </a:cubicBezTo>
                    <a:cubicBezTo>
                      <a:pt x="525" y="282"/>
                      <a:pt x="524" y="282"/>
                      <a:pt x="524" y="282"/>
                    </a:cubicBezTo>
                    <a:cubicBezTo>
                      <a:pt x="524" y="281"/>
                      <a:pt x="525" y="281"/>
                      <a:pt x="526" y="281"/>
                    </a:cubicBezTo>
                    <a:cubicBezTo>
                      <a:pt x="525" y="281"/>
                      <a:pt x="524" y="281"/>
                      <a:pt x="523" y="281"/>
                    </a:cubicBezTo>
                    <a:cubicBezTo>
                      <a:pt x="524" y="281"/>
                      <a:pt x="524" y="280"/>
                      <a:pt x="525" y="280"/>
                    </a:cubicBezTo>
                    <a:cubicBezTo>
                      <a:pt x="524" y="280"/>
                      <a:pt x="523" y="281"/>
                      <a:pt x="522" y="280"/>
                    </a:cubicBezTo>
                    <a:cubicBezTo>
                      <a:pt x="523" y="280"/>
                      <a:pt x="524" y="280"/>
                      <a:pt x="524" y="279"/>
                    </a:cubicBezTo>
                    <a:cubicBezTo>
                      <a:pt x="524" y="279"/>
                      <a:pt x="524" y="278"/>
                      <a:pt x="524" y="278"/>
                    </a:cubicBezTo>
                    <a:cubicBezTo>
                      <a:pt x="525" y="278"/>
                      <a:pt x="525" y="277"/>
                      <a:pt x="525" y="277"/>
                    </a:cubicBezTo>
                    <a:cubicBezTo>
                      <a:pt x="525" y="277"/>
                      <a:pt x="524" y="277"/>
                      <a:pt x="523" y="277"/>
                    </a:cubicBezTo>
                    <a:cubicBezTo>
                      <a:pt x="524" y="277"/>
                      <a:pt x="524" y="277"/>
                      <a:pt x="524" y="276"/>
                    </a:cubicBezTo>
                    <a:cubicBezTo>
                      <a:pt x="523" y="276"/>
                      <a:pt x="522" y="277"/>
                      <a:pt x="521" y="277"/>
                    </a:cubicBezTo>
                    <a:cubicBezTo>
                      <a:pt x="522" y="276"/>
                      <a:pt x="524" y="276"/>
                      <a:pt x="525" y="276"/>
                    </a:cubicBezTo>
                    <a:cubicBezTo>
                      <a:pt x="523" y="274"/>
                      <a:pt x="520" y="275"/>
                      <a:pt x="518" y="275"/>
                    </a:cubicBezTo>
                    <a:cubicBezTo>
                      <a:pt x="520" y="275"/>
                      <a:pt x="522" y="274"/>
                      <a:pt x="524" y="274"/>
                    </a:cubicBezTo>
                    <a:cubicBezTo>
                      <a:pt x="524" y="274"/>
                      <a:pt x="523" y="273"/>
                      <a:pt x="523" y="273"/>
                    </a:cubicBezTo>
                    <a:cubicBezTo>
                      <a:pt x="524" y="274"/>
                      <a:pt x="525" y="273"/>
                      <a:pt x="524" y="272"/>
                    </a:cubicBezTo>
                    <a:cubicBezTo>
                      <a:pt x="523" y="271"/>
                      <a:pt x="522" y="272"/>
                      <a:pt x="522" y="271"/>
                    </a:cubicBezTo>
                    <a:cubicBezTo>
                      <a:pt x="523" y="271"/>
                      <a:pt x="524" y="270"/>
                      <a:pt x="525" y="270"/>
                    </a:cubicBezTo>
                    <a:cubicBezTo>
                      <a:pt x="524" y="270"/>
                      <a:pt x="524" y="270"/>
                      <a:pt x="523" y="270"/>
                    </a:cubicBezTo>
                    <a:cubicBezTo>
                      <a:pt x="523" y="270"/>
                      <a:pt x="523" y="270"/>
                      <a:pt x="524" y="270"/>
                    </a:cubicBezTo>
                    <a:cubicBezTo>
                      <a:pt x="523" y="270"/>
                      <a:pt x="523" y="269"/>
                      <a:pt x="523" y="270"/>
                    </a:cubicBezTo>
                    <a:cubicBezTo>
                      <a:pt x="523" y="269"/>
                      <a:pt x="524" y="269"/>
                      <a:pt x="524" y="269"/>
                    </a:cubicBezTo>
                    <a:cubicBezTo>
                      <a:pt x="524" y="268"/>
                      <a:pt x="524" y="268"/>
                      <a:pt x="523" y="268"/>
                    </a:cubicBezTo>
                    <a:cubicBezTo>
                      <a:pt x="523" y="268"/>
                      <a:pt x="523" y="268"/>
                      <a:pt x="524" y="268"/>
                    </a:cubicBezTo>
                    <a:cubicBezTo>
                      <a:pt x="523" y="268"/>
                      <a:pt x="523" y="268"/>
                      <a:pt x="523" y="268"/>
                    </a:cubicBezTo>
                    <a:cubicBezTo>
                      <a:pt x="523" y="267"/>
                      <a:pt x="524" y="267"/>
                      <a:pt x="522" y="266"/>
                    </a:cubicBezTo>
                    <a:cubicBezTo>
                      <a:pt x="522" y="266"/>
                      <a:pt x="522" y="267"/>
                      <a:pt x="522" y="267"/>
                    </a:cubicBezTo>
                    <a:cubicBezTo>
                      <a:pt x="521" y="267"/>
                      <a:pt x="519" y="267"/>
                      <a:pt x="518" y="268"/>
                    </a:cubicBezTo>
                    <a:cubicBezTo>
                      <a:pt x="518" y="268"/>
                      <a:pt x="518" y="269"/>
                      <a:pt x="518" y="269"/>
                    </a:cubicBezTo>
                    <a:cubicBezTo>
                      <a:pt x="517" y="270"/>
                      <a:pt x="518" y="271"/>
                      <a:pt x="517" y="271"/>
                    </a:cubicBezTo>
                    <a:cubicBezTo>
                      <a:pt x="516" y="272"/>
                      <a:pt x="516" y="267"/>
                      <a:pt x="516" y="266"/>
                    </a:cubicBezTo>
                    <a:cubicBezTo>
                      <a:pt x="517" y="264"/>
                      <a:pt x="518" y="266"/>
                      <a:pt x="520" y="265"/>
                    </a:cubicBezTo>
                    <a:cubicBezTo>
                      <a:pt x="520" y="265"/>
                      <a:pt x="519" y="264"/>
                      <a:pt x="519" y="264"/>
                    </a:cubicBezTo>
                    <a:cubicBezTo>
                      <a:pt x="520" y="264"/>
                      <a:pt x="521" y="264"/>
                      <a:pt x="521" y="263"/>
                    </a:cubicBezTo>
                    <a:cubicBezTo>
                      <a:pt x="522" y="263"/>
                      <a:pt x="522" y="263"/>
                      <a:pt x="522" y="262"/>
                    </a:cubicBezTo>
                    <a:cubicBezTo>
                      <a:pt x="521" y="262"/>
                      <a:pt x="521" y="263"/>
                      <a:pt x="520" y="263"/>
                    </a:cubicBezTo>
                    <a:cubicBezTo>
                      <a:pt x="519" y="263"/>
                      <a:pt x="518" y="261"/>
                      <a:pt x="518" y="263"/>
                    </a:cubicBezTo>
                    <a:cubicBezTo>
                      <a:pt x="518" y="263"/>
                      <a:pt x="517" y="264"/>
                      <a:pt x="517" y="264"/>
                    </a:cubicBezTo>
                    <a:cubicBezTo>
                      <a:pt x="516" y="265"/>
                      <a:pt x="515" y="264"/>
                      <a:pt x="515" y="265"/>
                    </a:cubicBezTo>
                    <a:cubicBezTo>
                      <a:pt x="514" y="264"/>
                      <a:pt x="516" y="263"/>
                      <a:pt x="516" y="262"/>
                    </a:cubicBezTo>
                    <a:cubicBezTo>
                      <a:pt x="517" y="261"/>
                      <a:pt x="517" y="261"/>
                      <a:pt x="515" y="262"/>
                    </a:cubicBezTo>
                    <a:cubicBezTo>
                      <a:pt x="514" y="262"/>
                      <a:pt x="513" y="262"/>
                      <a:pt x="512" y="263"/>
                    </a:cubicBezTo>
                    <a:cubicBezTo>
                      <a:pt x="511" y="264"/>
                      <a:pt x="511" y="264"/>
                      <a:pt x="510" y="264"/>
                    </a:cubicBezTo>
                    <a:cubicBezTo>
                      <a:pt x="510" y="262"/>
                      <a:pt x="512" y="262"/>
                      <a:pt x="513" y="261"/>
                    </a:cubicBezTo>
                    <a:cubicBezTo>
                      <a:pt x="513" y="261"/>
                      <a:pt x="514" y="260"/>
                      <a:pt x="514" y="260"/>
                    </a:cubicBezTo>
                    <a:cubicBezTo>
                      <a:pt x="514" y="260"/>
                      <a:pt x="515" y="260"/>
                      <a:pt x="515" y="260"/>
                    </a:cubicBezTo>
                    <a:cubicBezTo>
                      <a:pt x="517" y="259"/>
                      <a:pt x="515" y="258"/>
                      <a:pt x="514" y="258"/>
                    </a:cubicBezTo>
                    <a:cubicBezTo>
                      <a:pt x="513" y="258"/>
                      <a:pt x="512" y="257"/>
                      <a:pt x="511" y="257"/>
                    </a:cubicBezTo>
                    <a:cubicBezTo>
                      <a:pt x="510" y="257"/>
                      <a:pt x="509" y="258"/>
                      <a:pt x="509" y="256"/>
                    </a:cubicBezTo>
                    <a:cubicBezTo>
                      <a:pt x="509" y="255"/>
                      <a:pt x="507" y="255"/>
                      <a:pt x="506" y="255"/>
                    </a:cubicBezTo>
                    <a:cubicBezTo>
                      <a:pt x="506" y="255"/>
                      <a:pt x="505" y="254"/>
                      <a:pt x="505" y="254"/>
                    </a:cubicBezTo>
                    <a:cubicBezTo>
                      <a:pt x="504" y="254"/>
                      <a:pt x="503" y="255"/>
                      <a:pt x="503" y="255"/>
                    </a:cubicBezTo>
                    <a:cubicBezTo>
                      <a:pt x="502" y="255"/>
                      <a:pt x="502" y="253"/>
                      <a:pt x="501" y="252"/>
                    </a:cubicBezTo>
                    <a:cubicBezTo>
                      <a:pt x="501" y="252"/>
                      <a:pt x="500" y="252"/>
                      <a:pt x="499" y="251"/>
                    </a:cubicBezTo>
                    <a:cubicBezTo>
                      <a:pt x="498" y="251"/>
                      <a:pt x="498" y="251"/>
                      <a:pt x="497" y="251"/>
                    </a:cubicBezTo>
                    <a:cubicBezTo>
                      <a:pt x="496" y="250"/>
                      <a:pt x="496" y="250"/>
                      <a:pt x="495" y="249"/>
                    </a:cubicBezTo>
                    <a:cubicBezTo>
                      <a:pt x="495" y="249"/>
                      <a:pt x="493" y="249"/>
                      <a:pt x="493" y="249"/>
                    </a:cubicBezTo>
                    <a:cubicBezTo>
                      <a:pt x="492" y="249"/>
                      <a:pt x="492" y="249"/>
                      <a:pt x="492" y="249"/>
                    </a:cubicBezTo>
                    <a:cubicBezTo>
                      <a:pt x="491" y="249"/>
                      <a:pt x="491" y="250"/>
                      <a:pt x="490" y="250"/>
                    </a:cubicBezTo>
                    <a:cubicBezTo>
                      <a:pt x="490" y="250"/>
                      <a:pt x="489" y="250"/>
                      <a:pt x="488" y="251"/>
                    </a:cubicBezTo>
                    <a:cubicBezTo>
                      <a:pt x="487" y="251"/>
                      <a:pt x="487" y="252"/>
                      <a:pt x="487" y="253"/>
                    </a:cubicBezTo>
                    <a:cubicBezTo>
                      <a:pt x="486" y="254"/>
                      <a:pt x="487" y="255"/>
                      <a:pt x="485" y="255"/>
                    </a:cubicBezTo>
                    <a:cubicBezTo>
                      <a:pt x="486" y="253"/>
                      <a:pt x="486" y="252"/>
                      <a:pt x="487" y="250"/>
                    </a:cubicBezTo>
                    <a:cubicBezTo>
                      <a:pt x="487" y="249"/>
                      <a:pt x="486" y="249"/>
                      <a:pt x="485" y="249"/>
                    </a:cubicBezTo>
                    <a:cubicBezTo>
                      <a:pt x="484" y="249"/>
                      <a:pt x="483" y="250"/>
                      <a:pt x="481" y="249"/>
                    </a:cubicBezTo>
                    <a:cubicBezTo>
                      <a:pt x="484" y="249"/>
                      <a:pt x="486" y="249"/>
                      <a:pt x="488" y="249"/>
                    </a:cubicBezTo>
                    <a:cubicBezTo>
                      <a:pt x="490" y="249"/>
                      <a:pt x="491" y="249"/>
                      <a:pt x="492" y="248"/>
                    </a:cubicBezTo>
                    <a:cubicBezTo>
                      <a:pt x="492" y="248"/>
                      <a:pt x="493" y="248"/>
                      <a:pt x="493" y="248"/>
                    </a:cubicBezTo>
                    <a:cubicBezTo>
                      <a:pt x="495" y="247"/>
                      <a:pt x="494" y="247"/>
                      <a:pt x="494" y="246"/>
                    </a:cubicBezTo>
                    <a:cubicBezTo>
                      <a:pt x="493" y="245"/>
                      <a:pt x="494" y="244"/>
                      <a:pt x="492" y="244"/>
                    </a:cubicBezTo>
                    <a:cubicBezTo>
                      <a:pt x="492" y="243"/>
                      <a:pt x="490" y="243"/>
                      <a:pt x="489" y="243"/>
                    </a:cubicBezTo>
                    <a:cubicBezTo>
                      <a:pt x="489" y="242"/>
                      <a:pt x="488" y="242"/>
                      <a:pt x="487" y="242"/>
                    </a:cubicBezTo>
                    <a:cubicBezTo>
                      <a:pt x="486" y="242"/>
                      <a:pt x="486" y="241"/>
                      <a:pt x="484" y="241"/>
                    </a:cubicBezTo>
                    <a:cubicBezTo>
                      <a:pt x="483" y="242"/>
                      <a:pt x="481" y="243"/>
                      <a:pt x="479" y="243"/>
                    </a:cubicBezTo>
                    <a:cubicBezTo>
                      <a:pt x="478" y="244"/>
                      <a:pt x="479" y="243"/>
                      <a:pt x="478" y="244"/>
                    </a:cubicBezTo>
                    <a:cubicBezTo>
                      <a:pt x="477" y="245"/>
                      <a:pt x="477" y="246"/>
                      <a:pt x="476" y="246"/>
                    </a:cubicBezTo>
                    <a:cubicBezTo>
                      <a:pt x="476" y="245"/>
                      <a:pt x="476" y="244"/>
                      <a:pt x="476" y="243"/>
                    </a:cubicBezTo>
                    <a:cubicBezTo>
                      <a:pt x="476" y="243"/>
                      <a:pt x="474" y="243"/>
                      <a:pt x="474" y="244"/>
                    </a:cubicBezTo>
                    <a:cubicBezTo>
                      <a:pt x="473" y="244"/>
                      <a:pt x="472" y="244"/>
                      <a:pt x="473" y="243"/>
                    </a:cubicBezTo>
                    <a:cubicBezTo>
                      <a:pt x="473" y="242"/>
                      <a:pt x="473" y="242"/>
                      <a:pt x="472" y="241"/>
                    </a:cubicBezTo>
                    <a:cubicBezTo>
                      <a:pt x="471" y="241"/>
                      <a:pt x="470" y="242"/>
                      <a:pt x="469" y="242"/>
                    </a:cubicBezTo>
                    <a:cubicBezTo>
                      <a:pt x="468" y="242"/>
                      <a:pt x="467" y="242"/>
                      <a:pt x="466" y="241"/>
                    </a:cubicBezTo>
                    <a:cubicBezTo>
                      <a:pt x="468" y="241"/>
                      <a:pt x="470" y="241"/>
                      <a:pt x="472" y="241"/>
                    </a:cubicBezTo>
                    <a:cubicBezTo>
                      <a:pt x="473" y="240"/>
                      <a:pt x="473" y="240"/>
                      <a:pt x="475" y="241"/>
                    </a:cubicBezTo>
                    <a:cubicBezTo>
                      <a:pt x="477" y="242"/>
                      <a:pt x="478" y="243"/>
                      <a:pt x="480" y="242"/>
                    </a:cubicBezTo>
                    <a:cubicBezTo>
                      <a:pt x="482" y="241"/>
                      <a:pt x="483" y="240"/>
                      <a:pt x="485" y="240"/>
                    </a:cubicBezTo>
                    <a:cubicBezTo>
                      <a:pt x="486" y="240"/>
                      <a:pt x="488" y="240"/>
                      <a:pt x="489" y="239"/>
                    </a:cubicBezTo>
                    <a:cubicBezTo>
                      <a:pt x="489" y="239"/>
                      <a:pt x="490" y="237"/>
                      <a:pt x="489" y="236"/>
                    </a:cubicBezTo>
                    <a:cubicBezTo>
                      <a:pt x="489" y="236"/>
                      <a:pt x="488" y="236"/>
                      <a:pt x="488" y="236"/>
                    </a:cubicBezTo>
                    <a:cubicBezTo>
                      <a:pt x="487" y="236"/>
                      <a:pt x="486" y="236"/>
                      <a:pt x="485" y="236"/>
                    </a:cubicBezTo>
                    <a:cubicBezTo>
                      <a:pt x="484" y="235"/>
                      <a:pt x="483" y="235"/>
                      <a:pt x="482" y="235"/>
                    </a:cubicBezTo>
                    <a:cubicBezTo>
                      <a:pt x="481" y="234"/>
                      <a:pt x="480" y="234"/>
                      <a:pt x="479" y="234"/>
                    </a:cubicBezTo>
                    <a:cubicBezTo>
                      <a:pt x="479" y="234"/>
                      <a:pt x="478" y="234"/>
                      <a:pt x="477" y="234"/>
                    </a:cubicBezTo>
                    <a:cubicBezTo>
                      <a:pt x="475" y="234"/>
                      <a:pt x="475" y="236"/>
                      <a:pt x="473" y="236"/>
                    </a:cubicBezTo>
                    <a:cubicBezTo>
                      <a:pt x="472" y="236"/>
                      <a:pt x="468" y="234"/>
                      <a:pt x="467" y="236"/>
                    </a:cubicBezTo>
                    <a:cubicBezTo>
                      <a:pt x="467" y="237"/>
                      <a:pt x="467" y="239"/>
                      <a:pt x="466" y="239"/>
                    </a:cubicBezTo>
                    <a:cubicBezTo>
                      <a:pt x="464" y="239"/>
                      <a:pt x="467" y="237"/>
                      <a:pt x="466" y="236"/>
                    </a:cubicBezTo>
                    <a:cubicBezTo>
                      <a:pt x="465" y="235"/>
                      <a:pt x="464" y="235"/>
                      <a:pt x="463" y="235"/>
                    </a:cubicBezTo>
                    <a:cubicBezTo>
                      <a:pt x="465" y="235"/>
                      <a:pt x="468" y="234"/>
                      <a:pt x="470" y="235"/>
                    </a:cubicBezTo>
                    <a:cubicBezTo>
                      <a:pt x="471" y="235"/>
                      <a:pt x="473" y="236"/>
                      <a:pt x="473" y="235"/>
                    </a:cubicBezTo>
                    <a:cubicBezTo>
                      <a:pt x="473" y="235"/>
                      <a:pt x="475" y="233"/>
                      <a:pt x="475" y="232"/>
                    </a:cubicBezTo>
                    <a:cubicBezTo>
                      <a:pt x="475" y="232"/>
                      <a:pt x="473" y="232"/>
                      <a:pt x="473" y="232"/>
                    </a:cubicBezTo>
                    <a:cubicBezTo>
                      <a:pt x="472" y="232"/>
                      <a:pt x="471" y="232"/>
                      <a:pt x="470" y="231"/>
                    </a:cubicBezTo>
                    <a:cubicBezTo>
                      <a:pt x="469" y="231"/>
                      <a:pt x="468" y="230"/>
                      <a:pt x="467" y="230"/>
                    </a:cubicBezTo>
                    <a:cubicBezTo>
                      <a:pt x="467" y="229"/>
                      <a:pt x="465" y="229"/>
                      <a:pt x="465" y="229"/>
                    </a:cubicBezTo>
                    <a:cubicBezTo>
                      <a:pt x="465" y="229"/>
                      <a:pt x="466" y="228"/>
                      <a:pt x="467" y="228"/>
                    </a:cubicBezTo>
                    <a:cubicBezTo>
                      <a:pt x="468" y="228"/>
                      <a:pt x="470" y="230"/>
                      <a:pt x="471" y="231"/>
                    </a:cubicBezTo>
                    <a:cubicBezTo>
                      <a:pt x="472" y="231"/>
                      <a:pt x="473" y="232"/>
                      <a:pt x="474" y="232"/>
                    </a:cubicBezTo>
                    <a:cubicBezTo>
                      <a:pt x="475" y="232"/>
                      <a:pt x="476" y="231"/>
                      <a:pt x="478" y="232"/>
                    </a:cubicBezTo>
                    <a:cubicBezTo>
                      <a:pt x="479" y="233"/>
                      <a:pt x="479" y="233"/>
                      <a:pt x="480" y="233"/>
                    </a:cubicBezTo>
                    <a:cubicBezTo>
                      <a:pt x="482" y="233"/>
                      <a:pt x="483" y="233"/>
                      <a:pt x="484" y="232"/>
                    </a:cubicBezTo>
                    <a:cubicBezTo>
                      <a:pt x="486" y="230"/>
                      <a:pt x="489" y="228"/>
                      <a:pt x="490" y="226"/>
                    </a:cubicBezTo>
                    <a:cubicBezTo>
                      <a:pt x="490" y="224"/>
                      <a:pt x="487" y="223"/>
                      <a:pt x="486" y="222"/>
                    </a:cubicBezTo>
                    <a:cubicBezTo>
                      <a:pt x="485" y="222"/>
                      <a:pt x="485" y="221"/>
                      <a:pt x="484" y="220"/>
                    </a:cubicBezTo>
                    <a:cubicBezTo>
                      <a:pt x="482" y="218"/>
                      <a:pt x="485" y="220"/>
                      <a:pt x="486" y="221"/>
                    </a:cubicBezTo>
                    <a:cubicBezTo>
                      <a:pt x="487" y="222"/>
                      <a:pt x="488" y="223"/>
                      <a:pt x="489" y="223"/>
                    </a:cubicBezTo>
                    <a:cubicBezTo>
                      <a:pt x="490" y="224"/>
                      <a:pt x="490" y="223"/>
                      <a:pt x="491" y="225"/>
                    </a:cubicBezTo>
                    <a:cubicBezTo>
                      <a:pt x="491" y="225"/>
                      <a:pt x="490" y="225"/>
                      <a:pt x="491" y="226"/>
                    </a:cubicBezTo>
                    <a:cubicBezTo>
                      <a:pt x="492" y="226"/>
                      <a:pt x="492" y="226"/>
                      <a:pt x="493" y="227"/>
                    </a:cubicBezTo>
                    <a:cubicBezTo>
                      <a:pt x="494" y="227"/>
                      <a:pt x="495" y="227"/>
                      <a:pt x="496" y="227"/>
                    </a:cubicBezTo>
                    <a:cubicBezTo>
                      <a:pt x="497" y="226"/>
                      <a:pt x="495" y="225"/>
                      <a:pt x="497" y="224"/>
                    </a:cubicBezTo>
                    <a:cubicBezTo>
                      <a:pt x="498" y="222"/>
                      <a:pt x="500" y="223"/>
                      <a:pt x="502" y="223"/>
                    </a:cubicBezTo>
                    <a:cubicBezTo>
                      <a:pt x="504" y="224"/>
                      <a:pt x="505" y="223"/>
                      <a:pt x="507" y="224"/>
                    </a:cubicBezTo>
                    <a:cubicBezTo>
                      <a:pt x="509" y="225"/>
                      <a:pt x="511" y="226"/>
                      <a:pt x="513" y="227"/>
                    </a:cubicBezTo>
                    <a:cubicBezTo>
                      <a:pt x="515" y="227"/>
                      <a:pt x="517" y="225"/>
                      <a:pt x="519" y="226"/>
                    </a:cubicBezTo>
                    <a:cubicBezTo>
                      <a:pt x="517" y="226"/>
                      <a:pt x="515" y="227"/>
                      <a:pt x="513" y="227"/>
                    </a:cubicBezTo>
                    <a:cubicBezTo>
                      <a:pt x="511" y="227"/>
                      <a:pt x="509" y="226"/>
                      <a:pt x="508" y="225"/>
                    </a:cubicBezTo>
                    <a:cubicBezTo>
                      <a:pt x="507" y="225"/>
                      <a:pt x="506" y="224"/>
                      <a:pt x="505" y="224"/>
                    </a:cubicBezTo>
                    <a:cubicBezTo>
                      <a:pt x="504" y="224"/>
                      <a:pt x="503" y="224"/>
                      <a:pt x="503" y="224"/>
                    </a:cubicBezTo>
                    <a:cubicBezTo>
                      <a:pt x="502" y="224"/>
                      <a:pt x="500" y="223"/>
                      <a:pt x="500" y="224"/>
                    </a:cubicBezTo>
                    <a:cubicBezTo>
                      <a:pt x="501" y="226"/>
                      <a:pt x="502" y="227"/>
                      <a:pt x="503" y="228"/>
                    </a:cubicBezTo>
                    <a:cubicBezTo>
                      <a:pt x="505" y="229"/>
                      <a:pt x="507" y="230"/>
                      <a:pt x="509" y="230"/>
                    </a:cubicBezTo>
                    <a:cubicBezTo>
                      <a:pt x="509" y="230"/>
                      <a:pt x="509" y="231"/>
                      <a:pt x="510" y="231"/>
                    </a:cubicBezTo>
                    <a:cubicBezTo>
                      <a:pt x="510" y="231"/>
                      <a:pt x="511" y="231"/>
                      <a:pt x="511" y="232"/>
                    </a:cubicBezTo>
                    <a:cubicBezTo>
                      <a:pt x="512" y="232"/>
                      <a:pt x="513" y="232"/>
                      <a:pt x="514" y="232"/>
                    </a:cubicBezTo>
                    <a:cubicBezTo>
                      <a:pt x="516" y="232"/>
                      <a:pt x="518" y="234"/>
                      <a:pt x="520" y="233"/>
                    </a:cubicBezTo>
                    <a:cubicBezTo>
                      <a:pt x="521" y="232"/>
                      <a:pt x="522" y="231"/>
                      <a:pt x="523" y="231"/>
                    </a:cubicBezTo>
                    <a:cubicBezTo>
                      <a:pt x="524" y="231"/>
                      <a:pt x="525" y="230"/>
                      <a:pt x="526" y="230"/>
                    </a:cubicBezTo>
                    <a:cubicBezTo>
                      <a:pt x="526" y="230"/>
                      <a:pt x="525" y="229"/>
                      <a:pt x="526" y="228"/>
                    </a:cubicBezTo>
                    <a:cubicBezTo>
                      <a:pt x="527" y="228"/>
                      <a:pt x="527" y="229"/>
                      <a:pt x="527" y="229"/>
                    </a:cubicBezTo>
                    <a:cubicBezTo>
                      <a:pt x="528" y="229"/>
                      <a:pt x="529" y="229"/>
                      <a:pt x="530" y="229"/>
                    </a:cubicBezTo>
                    <a:cubicBezTo>
                      <a:pt x="531" y="229"/>
                      <a:pt x="532" y="229"/>
                      <a:pt x="534" y="229"/>
                    </a:cubicBezTo>
                    <a:cubicBezTo>
                      <a:pt x="534" y="229"/>
                      <a:pt x="535" y="229"/>
                      <a:pt x="536" y="229"/>
                    </a:cubicBezTo>
                    <a:cubicBezTo>
                      <a:pt x="538" y="229"/>
                      <a:pt x="538" y="228"/>
                      <a:pt x="537" y="226"/>
                    </a:cubicBezTo>
                    <a:cubicBezTo>
                      <a:pt x="537" y="226"/>
                      <a:pt x="537" y="225"/>
                      <a:pt x="537" y="225"/>
                    </a:cubicBezTo>
                    <a:cubicBezTo>
                      <a:pt x="537" y="224"/>
                      <a:pt x="536" y="223"/>
                      <a:pt x="537" y="224"/>
                    </a:cubicBezTo>
                    <a:cubicBezTo>
                      <a:pt x="536" y="223"/>
                      <a:pt x="539" y="223"/>
                      <a:pt x="539" y="222"/>
                    </a:cubicBezTo>
                    <a:cubicBezTo>
                      <a:pt x="539" y="220"/>
                      <a:pt x="536" y="220"/>
                      <a:pt x="535" y="220"/>
                    </a:cubicBezTo>
                    <a:cubicBezTo>
                      <a:pt x="531" y="219"/>
                      <a:pt x="528" y="218"/>
                      <a:pt x="524" y="217"/>
                    </a:cubicBezTo>
                    <a:cubicBezTo>
                      <a:pt x="523" y="217"/>
                      <a:pt x="522" y="218"/>
                      <a:pt x="522" y="218"/>
                    </a:cubicBezTo>
                    <a:cubicBezTo>
                      <a:pt x="522" y="219"/>
                      <a:pt x="523" y="220"/>
                      <a:pt x="523" y="221"/>
                    </a:cubicBezTo>
                    <a:cubicBezTo>
                      <a:pt x="524" y="221"/>
                      <a:pt x="524" y="222"/>
                      <a:pt x="524" y="223"/>
                    </a:cubicBezTo>
                    <a:cubicBezTo>
                      <a:pt x="524" y="224"/>
                      <a:pt x="525" y="225"/>
                      <a:pt x="523" y="225"/>
                    </a:cubicBezTo>
                    <a:cubicBezTo>
                      <a:pt x="523" y="225"/>
                      <a:pt x="523" y="223"/>
                      <a:pt x="523" y="222"/>
                    </a:cubicBezTo>
                    <a:cubicBezTo>
                      <a:pt x="523" y="221"/>
                      <a:pt x="523" y="221"/>
                      <a:pt x="522" y="220"/>
                    </a:cubicBezTo>
                    <a:cubicBezTo>
                      <a:pt x="520" y="219"/>
                      <a:pt x="518" y="218"/>
                      <a:pt x="516" y="217"/>
                    </a:cubicBezTo>
                    <a:cubicBezTo>
                      <a:pt x="517" y="216"/>
                      <a:pt x="518" y="217"/>
                      <a:pt x="519" y="216"/>
                    </a:cubicBezTo>
                    <a:cubicBezTo>
                      <a:pt x="520" y="216"/>
                      <a:pt x="520" y="215"/>
                      <a:pt x="520" y="215"/>
                    </a:cubicBezTo>
                    <a:cubicBezTo>
                      <a:pt x="520" y="214"/>
                      <a:pt x="521" y="214"/>
                      <a:pt x="521" y="213"/>
                    </a:cubicBezTo>
                    <a:cubicBezTo>
                      <a:pt x="521" y="213"/>
                      <a:pt x="519" y="212"/>
                      <a:pt x="517" y="212"/>
                    </a:cubicBezTo>
                    <a:cubicBezTo>
                      <a:pt x="518" y="212"/>
                      <a:pt x="520" y="212"/>
                      <a:pt x="521" y="212"/>
                    </a:cubicBezTo>
                    <a:cubicBezTo>
                      <a:pt x="522" y="212"/>
                      <a:pt x="523" y="211"/>
                      <a:pt x="523" y="209"/>
                    </a:cubicBezTo>
                    <a:cubicBezTo>
                      <a:pt x="522" y="208"/>
                      <a:pt x="521" y="207"/>
                      <a:pt x="520" y="206"/>
                    </a:cubicBezTo>
                    <a:cubicBezTo>
                      <a:pt x="523" y="207"/>
                      <a:pt x="523" y="209"/>
                      <a:pt x="526" y="209"/>
                    </a:cubicBezTo>
                    <a:cubicBezTo>
                      <a:pt x="528" y="209"/>
                      <a:pt x="529" y="209"/>
                      <a:pt x="531" y="209"/>
                    </a:cubicBezTo>
                    <a:cubicBezTo>
                      <a:pt x="533" y="209"/>
                      <a:pt x="535" y="209"/>
                      <a:pt x="537" y="209"/>
                    </a:cubicBezTo>
                    <a:cubicBezTo>
                      <a:pt x="539" y="210"/>
                      <a:pt x="539" y="212"/>
                      <a:pt x="540" y="213"/>
                    </a:cubicBezTo>
                    <a:cubicBezTo>
                      <a:pt x="542" y="213"/>
                      <a:pt x="545" y="214"/>
                      <a:pt x="546" y="213"/>
                    </a:cubicBezTo>
                    <a:cubicBezTo>
                      <a:pt x="549" y="213"/>
                      <a:pt x="550" y="210"/>
                      <a:pt x="552" y="209"/>
                    </a:cubicBezTo>
                    <a:cubicBezTo>
                      <a:pt x="552" y="208"/>
                      <a:pt x="551" y="208"/>
                      <a:pt x="550" y="208"/>
                    </a:cubicBezTo>
                    <a:cubicBezTo>
                      <a:pt x="549" y="208"/>
                      <a:pt x="549" y="207"/>
                      <a:pt x="548" y="207"/>
                    </a:cubicBezTo>
                    <a:cubicBezTo>
                      <a:pt x="549" y="206"/>
                      <a:pt x="550" y="205"/>
                      <a:pt x="548" y="204"/>
                    </a:cubicBezTo>
                    <a:cubicBezTo>
                      <a:pt x="547" y="204"/>
                      <a:pt x="546" y="206"/>
                      <a:pt x="545" y="206"/>
                    </a:cubicBezTo>
                    <a:cubicBezTo>
                      <a:pt x="544" y="207"/>
                      <a:pt x="543" y="206"/>
                      <a:pt x="541" y="205"/>
                    </a:cubicBezTo>
                    <a:cubicBezTo>
                      <a:pt x="537" y="204"/>
                      <a:pt x="534" y="206"/>
                      <a:pt x="530" y="205"/>
                    </a:cubicBezTo>
                    <a:cubicBezTo>
                      <a:pt x="531" y="205"/>
                      <a:pt x="533" y="205"/>
                      <a:pt x="534" y="205"/>
                    </a:cubicBezTo>
                    <a:cubicBezTo>
                      <a:pt x="536" y="203"/>
                      <a:pt x="534" y="203"/>
                      <a:pt x="534" y="202"/>
                    </a:cubicBezTo>
                    <a:cubicBezTo>
                      <a:pt x="534" y="201"/>
                      <a:pt x="534" y="200"/>
                      <a:pt x="534" y="200"/>
                    </a:cubicBezTo>
                    <a:cubicBezTo>
                      <a:pt x="535" y="199"/>
                      <a:pt x="534" y="199"/>
                      <a:pt x="535" y="198"/>
                    </a:cubicBezTo>
                    <a:cubicBezTo>
                      <a:pt x="535" y="196"/>
                      <a:pt x="534" y="197"/>
                      <a:pt x="533" y="197"/>
                    </a:cubicBezTo>
                    <a:cubicBezTo>
                      <a:pt x="532" y="197"/>
                      <a:pt x="531" y="196"/>
                      <a:pt x="530" y="196"/>
                    </a:cubicBezTo>
                    <a:cubicBezTo>
                      <a:pt x="530" y="196"/>
                      <a:pt x="530" y="196"/>
                      <a:pt x="531" y="196"/>
                    </a:cubicBezTo>
                    <a:cubicBezTo>
                      <a:pt x="532" y="196"/>
                      <a:pt x="533" y="195"/>
                      <a:pt x="534" y="195"/>
                    </a:cubicBezTo>
                    <a:cubicBezTo>
                      <a:pt x="534" y="196"/>
                      <a:pt x="535" y="196"/>
                      <a:pt x="535" y="196"/>
                    </a:cubicBezTo>
                    <a:cubicBezTo>
                      <a:pt x="537" y="195"/>
                      <a:pt x="532" y="192"/>
                      <a:pt x="531" y="192"/>
                    </a:cubicBezTo>
                    <a:cubicBezTo>
                      <a:pt x="530" y="191"/>
                      <a:pt x="529" y="191"/>
                      <a:pt x="529" y="191"/>
                    </a:cubicBezTo>
                    <a:cubicBezTo>
                      <a:pt x="528" y="191"/>
                      <a:pt x="527" y="189"/>
                      <a:pt x="526" y="189"/>
                    </a:cubicBezTo>
                    <a:cubicBezTo>
                      <a:pt x="523" y="188"/>
                      <a:pt x="520" y="189"/>
                      <a:pt x="517" y="188"/>
                    </a:cubicBezTo>
                    <a:cubicBezTo>
                      <a:pt x="516" y="188"/>
                      <a:pt x="515" y="187"/>
                      <a:pt x="517" y="187"/>
                    </a:cubicBezTo>
                    <a:cubicBezTo>
                      <a:pt x="518" y="187"/>
                      <a:pt x="520" y="188"/>
                      <a:pt x="522" y="188"/>
                    </a:cubicBezTo>
                    <a:cubicBezTo>
                      <a:pt x="524" y="188"/>
                      <a:pt x="525" y="189"/>
                      <a:pt x="527" y="189"/>
                    </a:cubicBezTo>
                    <a:cubicBezTo>
                      <a:pt x="526" y="187"/>
                      <a:pt x="523" y="186"/>
                      <a:pt x="522" y="186"/>
                    </a:cubicBezTo>
                    <a:cubicBezTo>
                      <a:pt x="521" y="186"/>
                      <a:pt x="519" y="185"/>
                      <a:pt x="518" y="184"/>
                    </a:cubicBezTo>
                    <a:cubicBezTo>
                      <a:pt x="522" y="185"/>
                      <a:pt x="526" y="186"/>
                      <a:pt x="529" y="188"/>
                    </a:cubicBezTo>
                    <a:cubicBezTo>
                      <a:pt x="530" y="189"/>
                      <a:pt x="529" y="190"/>
                      <a:pt x="531" y="190"/>
                    </a:cubicBezTo>
                    <a:cubicBezTo>
                      <a:pt x="531" y="191"/>
                      <a:pt x="532" y="191"/>
                      <a:pt x="533" y="191"/>
                    </a:cubicBezTo>
                    <a:cubicBezTo>
                      <a:pt x="534" y="191"/>
                      <a:pt x="534" y="192"/>
                      <a:pt x="535" y="192"/>
                    </a:cubicBezTo>
                    <a:cubicBezTo>
                      <a:pt x="536" y="192"/>
                      <a:pt x="537" y="191"/>
                      <a:pt x="539" y="191"/>
                    </a:cubicBezTo>
                    <a:cubicBezTo>
                      <a:pt x="539" y="191"/>
                      <a:pt x="541" y="191"/>
                      <a:pt x="542" y="192"/>
                    </a:cubicBezTo>
                    <a:cubicBezTo>
                      <a:pt x="542" y="193"/>
                      <a:pt x="541" y="193"/>
                      <a:pt x="542" y="194"/>
                    </a:cubicBezTo>
                    <a:cubicBezTo>
                      <a:pt x="542" y="195"/>
                      <a:pt x="543" y="195"/>
                      <a:pt x="544" y="195"/>
                    </a:cubicBezTo>
                    <a:cubicBezTo>
                      <a:pt x="547" y="195"/>
                      <a:pt x="548" y="193"/>
                      <a:pt x="548" y="191"/>
                    </a:cubicBezTo>
                    <a:cubicBezTo>
                      <a:pt x="548" y="190"/>
                      <a:pt x="548" y="190"/>
                      <a:pt x="548" y="189"/>
                    </a:cubicBezTo>
                    <a:cubicBezTo>
                      <a:pt x="547" y="187"/>
                      <a:pt x="547" y="186"/>
                      <a:pt x="546" y="185"/>
                    </a:cubicBezTo>
                    <a:cubicBezTo>
                      <a:pt x="546" y="184"/>
                      <a:pt x="546" y="184"/>
                      <a:pt x="545" y="184"/>
                    </a:cubicBezTo>
                    <a:cubicBezTo>
                      <a:pt x="546" y="184"/>
                      <a:pt x="547" y="183"/>
                      <a:pt x="548" y="183"/>
                    </a:cubicBezTo>
                    <a:cubicBezTo>
                      <a:pt x="547" y="182"/>
                      <a:pt x="546" y="182"/>
                      <a:pt x="545" y="181"/>
                    </a:cubicBezTo>
                    <a:cubicBezTo>
                      <a:pt x="545" y="180"/>
                      <a:pt x="544" y="180"/>
                      <a:pt x="544" y="179"/>
                    </a:cubicBezTo>
                    <a:cubicBezTo>
                      <a:pt x="543" y="179"/>
                      <a:pt x="542" y="179"/>
                      <a:pt x="541" y="179"/>
                    </a:cubicBezTo>
                    <a:cubicBezTo>
                      <a:pt x="538" y="179"/>
                      <a:pt x="537" y="178"/>
                      <a:pt x="535" y="178"/>
                    </a:cubicBezTo>
                    <a:cubicBezTo>
                      <a:pt x="531" y="178"/>
                      <a:pt x="527" y="179"/>
                      <a:pt x="523" y="178"/>
                    </a:cubicBezTo>
                    <a:cubicBezTo>
                      <a:pt x="522" y="178"/>
                      <a:pt x="521" y="177"/>
                      <a:pt x="523" y="177"/>
                    </a:cubicBezTo>
                    <a:cubicBezTo>
                      <a:pt x="524" y="177"/>
                      <a:pt x="524" y="178"/>
                      <a:pt x="525" y="178"/>
                    </a:cubicBezTo>
                    <a:cubicBezTo>
                      <a:pt x="526" y="178"/>
                      <a:pt x="527" y="178"/>
                      <a:pt x="528" y="178"/>
                    </a:cubicBezTo>
                    <a:cubicBezTo>
                      <a:pt x="529" y="177"/>
                      <a:pt x="530" y="177"/>
                      <a:pt x="531" y="177"/>
                    </a:cubicBezTo>
                    <a:cubicBezTo>
                      <a:pt x="533" y="177"/>
                      <a:pt x="535" y="177"/>
                      <a:pt x="537" y="178"/>
                    </a:cubicBezTo>
                    <a:cubicBezTo>
                      <a:pt x="539" y="178"/>
                      <a:pt x="540" y="176"/>
                      <a:pt x="542" y="176"/>
                    </a:cubicBezTo>
                    <a:cubicBezTo>
                      <a:pt x="543" y="176"/>
                      <a:pt x="543" y="176"/>
                      <a:pt x="544" y="176"/>
                    </a:cubicBezTo>
                    <a:cubicBezTo>
                      <a:pt x="545" y="176"/>
                      <a:pt x="545" y="175"/>
                      <a:pt x="545" y="174"/>
                    </a:cubicBezTo>
                    <a:cubicBezTo>
                      <a:pt x="542" y="173"/>
                      <a:pt x="541" y="172"/>
                      <a:pt x="538" y="173"/>
                    </a:cubicBezTo>
                    <a:cubicBezTo>
                      <a:pt x="536" y="173"/>
                      <a:pt x="532" y="170"/>
                      <a:pt x="531" y="171"/>
                    </a:cubicBezTo>
                    <a:cubicBezTo>
                      <a:pt x="532" y="173"/>
                      <a:pt x="535" y="173"/>
                      <a:pt x="537" y="174"/>
                    </a:cubicBezTo>
                    <a:cubicBezTo>
                      <a:pt x="536" y="174"/>
                      <a:pt x="535" y="175"/>
                      <a:pt x="535" y="174"/>
                    </a:cubicBezTo>
                    <a:cubicBezTo>
                      <a:pt x="534" y="173"/>
                      <a:pt x="531" y="171"/>
                      <a:pt x="530" y="171"/>
                    </a:cubicBezTo>
                    <a:cubicBezTo>
                      <a:pt x="529" y="171"/>
                      <a:pt x="529" y="172"/>
                      <a:pt x="528" y="172"/>
                    </a:cubicBezTo>
                    <a:cubicBezTo>
                      <a:pt x="528" y="172"/>
                      <a:pt x="527" y="172"/>
                      <a:pt x="527" y="172"/>
                    </a:cubicBezTo>
                    <a:cubicBezTo>
                      <a:pt x="527" y="172"/>
                      <a:pt x="527" y="173"/>
                      <a:pt x="526" y="173"/>
                    </a:cubicBezTo>
                    <a:cubicBezTo>
                      <a:pt x="526" y="173"/>
                      <a:pt x="525" y="172"/>
                      <a:pt x="525" y="172"/>
                    </a:cubicBezTo>
                    <a:cubicBezTo>
                      <a:pt x="524" y="172"/>
                      <a:pt x="527" y="169"/>
                      <a:pt x="524" y="168"/>
                    </a:cubicBezTo>
                    <a:cubicBezTo>
                      <a:pt x="524" y="168"/>
                      <a:pt x="522" y="168"/>
                      <a:pt x="522" y="168"/>
                    </a:cubicBezTo>
                    <a:cubicBezTo>
                      <a:pt x="520" y="169"/>
                      <a:pt x="517" y="169"/>
                      <a:pt x="516" y="168"/>
                    </a:cubicBezTo>
                    <a:cubicBezTo>
                      <a:pt x="517" y="168"/>
                      <a:pt x="518" y="167"/>
                      <a:pt x="518" y="167"/>
                    </a:cubicBezTo>
                    <a:cubicBezTo>
                      <a:pt x="518" y="167"/>
                      <a:pt x="519" y="168"/>
                      <a:pt x="519" y="168"/>
                    </a:cubicBezTo>
                    <a:cubicBezTo>
                      <a:pt x="520" y="168"/>
                      <a:pt x="521" y="168"/>
                      <a:pt x="522" y="168"/>
                    </a:cubicBezTo>
                    <a:cubicBezTo>
                      <a:pt x="522" y="168"/>
                      <a:pt x="525" y="167"/>
                      <a:pt x="524" y="167"/>
                    </a:cubicBezTo>
                    <a:cubicBezTo>
                      <a:pt x="523" y="167"/>
                      <a:pt x="522" y="168"/>
                      <a:pt x="521" y="168"/>
                    </a:cubicBezTo>
                    <a:cubicBezTo>
                      <a:pt x="521" y="167"/>
                      <a:pt x="524" y="166"/>
                      <a:pt x="524" y="166"/>
                    </a:cubicBezTo>
                    <a:cubicBezTo>
                      <a:pt x="523" y="165"/>
                      <a:pt x="522" y="167"/>
                      <a:pt x="521" y="166"/>
                    </a:cubicBezTo>
                    <a:cubicBezTo>
                      <a:pt x="521" y="166"/>
                      <a:pt x="522" y="165"/>
                      <a:pt x="523" y="165"/>
                    </a:cubicBezTo>
                    <a:cubicBezTo>
                      <a:pt x="523" y="164"/>
                      <a:pt x="522" y="164"/>
                      <a:pt x="521" y="164"/>
                    </a:cubicBezTo>
                    <a:cubicBezTo>
                      <a:pt x="521" y="164"/>
                      <a:pt x="520" y="164"/>
                      <a:pt x="520" y="164"/>
                    </a:cubicBezTo>
                    <a:cubicBezTo>
                      <a:pt x="518" y="164"/>
                      <a:pt x="518" y="165"/>
                      <a:pt x="518" y="166"/>
                    </a:cubicBezTo>
                    <a:cubicBezTo>
                      <a:pt x="517" y="166"/>
                      <a:pt x="516" y="164"/>
                      <a:pt x="516" y="164"/>
                    </a:cubicBezTo>
                    <a:cubicBezTo>
                      <a:pt x="515" y="163"/>
                      <a:pt x="512" y="163"/>
                      <a:pt x="515" y="162"/>
                    </a:cubicBezTo>
                    <a:cubicBezTo>
                      <a:pt x="516" y="161"/>
                      <a:pt x="518" y="162"/>
                      <a:pt x="517" y="161"/>
                    </a:cubicBezTo>
                    <a:cubicBezTo>
                      <a:pt x="517" y="160"/>
                      <a:pt x="517" y="160"/>
                      <a:pt x="518" y="159"/>
                    </a:cubicBezTo>
                    <a:cubicBezTo>
                      <a:pt x="518" y="159"/>
                      <a:pt x="519" y="159"/>
                      <a:pt x="519" y="159"/>
                    </a:cubicBezTo>
                    <a:cubicBezTo>
                      <a:pt x="520" y="160"/>
                      <a:pt x="520" y="160"/>
                      <a:pt x="520" y="160"/>
                    </a:cubicBezTo>
                    <a:cubicBezTo>
                      <a:pt x="521" y="161"/>
                      <a:pt x="521" y="161"/>
                      <a:pt x="522" y="161"/>
                    </a:cubicBezTo>
                    <a:cubicBezTo>
                      <a:pt x="523" y="162"/>
                      <a:pt x="523" y="163"/>
                      <a:pt x="524" y="164"/>
                    </a:cubicBezTo>
                    <a:cubicBezTo>
                      <a:pt x="525" y="164"/>
                      <a:pt x="528" y="162"/>
                      <a:pt x="529" y="161"/>
                    </a:cubicBezTo>
                    <a:cubicBezTo>
                      <a:pt x="530" y="160"/>
                      <a:pt x="530" y="161"/>
                      <a:pt x="531" y="160"/>
                    </a:cubicBezTo>
                    <a:cubicBezTo>
                      <a:pt x="532" y="160"/>
                      <a:pt x="533" y="160"/>
                      <a:pt x="533" y="160"/>
                    </a:cubicBezTo>
                    <a:cubicBezTo>
                      <a:pt x="532" y="159"/>
                      <a:pt x="530" y="159"/>
                      <a:pt x="528" y="159"/>
                    </a:cubicBezTo>
                    <a:cubicBezTo>
                      <a:pt x="527" y="159"/>
                      <a:pt x="526" y="159"/>
                      <a:pt x="524" y="159"/>
                    </a:cubicBezTo>
                    <a:cubicBezTo>
                      <a:pt x="526" y="158"/>
                      <a:pt x="528" y="158"/>
                      <a:pt x="530" y="158"/>
                    </a:cubicBezTo>
                    <a:cubicBezTo>
                      <a:pt x="531" y="158"/>
                      <a:pt x="532" y="158"/>
                      <a:pt x="533" y="159"/>
                    </a:cubicBezTo>
                    <a:cubicBezTo>
                      <a:pt x="534" y="159"/>
                      <a:pt x="534" y="158"/>
                      <a:pt x="535" y="158"/>
                    </a:cubicBezTo>
                    <a:cubicBezTo>
                      <a:pt x="534" y="157"/>
                      <a:pt x="533" y="157"/>
                      <a:pt x="531" y="157"/>
                    </a:cubicBezTo>
                    <a:cubicBezTo>
                      <a:pt x="533" y="156"/>
                      <a:pt x="536" y="156"/>
                      <a:pt x="538" y="157"/>
                    </a:cubicBezTo>
                    <a:cubicBezTo>
                      <a:pt x="540" y="157"/>
                      <a:pt x="542" y="157"/>
                      <a:pt x="544" y="157"/>
                    </a:cubicBezTo>
                    <a:cubicBezTo>
                      <a:pt x="546" y="158"/>
                      <a:pt x="548" y="159"/>
                      <a:pt x="550" y="159"/>
                    </a:cubicBezTo>
                    <a:cubicBezTo>
                      <a:pt x="551" y="159"/>
                      <a:pt x="551" y="159"/>
                      <a:pt x="552" y="159"/>
                    </a:cubicBezTo>
                    <a:cubicBezTo>
                      <a:pt x="554" y="159"/>
                      <a:pt x="554" y="160"/>
                      <a:pt x="555" y="160"/>
                    </a:cubicBezTo>
                    <a:cubicBezTo>
                      <a:pt x="556" y="161"/>
                      <a:pt x="556" y="160"/>
                      <a:pt x="556" y="160"/>
                    </a:cubicBezTo>
                    <a:cubicBezTo>
                      <a:pt x="557" y="160"/>
                      <a:pt x="558" y="162"/>
                      <a:pt x="558" y="161"/>
                    </a:cubicBezTo>
                    <a:cubicBezTo>
                      <a:pt x="558" y="161"/>
                      <a:pt x="557" y="161"/>
                      <a:pt x="557" y="160"/>
                    </a:cubicBezTo>
                    <a:cubicBezTo>
                      <a:pt x="557" y="160"/>
                      <a:pt x="558" y="160"/>
                      <a:pt x="558" y="160"/>
                    </a:cubicBezTo>
                    <a:cubicBezTo>
                      <a:pt x="558" y="160"/>
                      <a:pt x="559" y="161"/>
                      <a:pt x="559" y="160"/>
                    </a:cubicBezTo>
                    <a:cubicBezTo>
                      <a:pt x="559" y="159"/>
                      <a:pt x="561" y="158"/>
                      <a:pt x="561" y="158"/>
                    </a:cubicBezTo>
                    <a:cubicBezTo>
                      <a:pt x="561" y="157"/>
                      <a:pt x="561" y="156"/>
                      <a:pt x="561" y="155"/>
                    </a:cubicBezTo>
                    <a:cubicBezTo>
                      <a:pt x="561" y="154"/>
                      <a:pt x="560" y="153"/>
                      <a:pt x="560" y="152"/>
                    </a:cubicBezTo>
                    <a:cubicBezTo>
                      <a:pt x="560" y="152"/>
                      <a:pt x="560" y="150"/>
                      <a:pt x="560" y="150"/>
                    </a:cubicBezTo>
                    <a:cubicBezTo>
                      <a:pt x="559" y="150"/>
                      <a:pt x="556" y="150"/>
                      <a:pt x="555" y="150"/>
                    </a:cubicBezTo>
                    <a:cubicBezTo>
                      <a:pt x="554" y="150"/>
                      <a:pt x="553" y="150"/>
                      <a:pt x="552" y="151"/>
                    </a:cubicBezTo>
                    <a:cubicBezTo>
                      <a:pt x="551" y="151"/>
                      <a:pt x="552" y="151"/>
                      <a:pt x="552" y="151"/>
                    </a:cubicBezTo>
                    <a:cubicBezTo>
                      <a:pt x="551" y="151"/>
                      <a:pt x="551" y="151"/>
                      <a:pt x="550" y="151"/>
                    </a:cubicBezTo>
                    <a:cubicBezTo>
                      <a:pt x="549" y="151"/>
                      <a:pt x="548" y="151"/>
                      <a:pt x="547" y="150"/>
                    </a:cubicBezTo>
                    <a:cubicBezTo>
                      <a:pt x="545" y="149"/>
                      <a:pt x="544" y="148"/>
                      <a:pt x="543" y="148"/>
                    </a:cubicBezTo>
                    <a:cubicBezTo>
                      <a:pt x="541" y="146"/>
                      <a:pt x="539" y="145"/>
                      <a:pt x="537" y="144"/>
                    </a:cubicBezTo>
                    <a:cubicBezTo>
                      <a:pt x="537" y="144"/>
                      <a:pt x="538" y="144"/>
                      <a:pt x="539" y="144"/>
                    </a:cubicBezTo>
                    <a:cubicBezTo>
                      <a:pt x="538" y="142"/>
                      <a:pt x="535" y="143"/>
                      <a:pt x="534" y="141"/>
                    </a:cubicBezTo>
                    <a:cubicBezTo>
                      <a:pt x="534" y="141"/>
                      <a:pt x="535" y="141"/>
                      <a:pt x="535" y="141"/>
                    </a:cubicBezTo>
                    <a:cubicBezTo>
                      <a:pt x="536" y="140"/>
                      <a:pt x="537" y="141"/>
                      <a:pt x="538" y="141"/>
                    </a:cubicBezTo>
                    <a:cubicBezTo>
                      <a:pt x="540" y="140"/>
                      <a:pt x="541" y="140"/>
                      <a:pt x="542" y="141"/>
                    </a:cubicBezTo>
                    <a:cubicBezTo>
                      <a:pt x="544" y="142"/>
                      <a:pt x="546" y="143"/>
                      <a:pt x="548" y="143"/>
                    </a:cubicBezTo>
                    <a:cubicBezTo>
                      <a:pt x="549" y="144"/>
                      <a:pt x="550" y="143"/>
                      <a:pt x="551" y="143"/>
                    </a:cubicBezTo>
                    <a:cubicBezTo>
                      <a:pt x="552" y="143"/>
                      <a:pt x="552" y="143"/>
                      <a:pt x="552" y="142"/>
                    </a:cubicBezTo>
                    <a:cubicBezTo>
                      <a:pt x="551" y="139"/>
                      <a:pt x="545" y="138"/>
                      <a:pt x="542" y="138"/>
                    </a:cubicBezTo>
                    <a:cubicBezTo>
                      <a:pt x="541" y="138"/>
                      <a:pt x="539" y="137"/>
                      <a:pt x="537" y="137"/>
                    </a:cubicBezTo>
                    <a:cubicBezTo>
                      <a:pt x="537" y="136"/>
                      <a:pt x="536" y="136"/>
                      <a:pt x="536" y="136"/>
                    </a:cubicBezTo>
                    <a:cubicBezTo>
                      <a:pt x="535" y="136"/>
                      <a:pt x="536" y="135"/>
                      <a:pt x="535" y="135"/>
                    </a:cubicBezTo>
                    <a:cubicBezTo>
                      <a:pt x="533" y="133"/>
                      <a:pt x="530" y="137"/>
                      <a:pt x="529" y="138"/>
                    </a:cubicBezTo>
                    <a:cubicBezTo>
                      <a:pt x="528" y="139"/>
                      <a:pt x="526" y="142"/>
                      <a:pt x="529" y="142"/>
                    </a:cubicBezTo>
                    <a:cubicBezTo>
                      <a:pt x="527" y="143"/>
                      <a:pt x="525" y="143"/>
                      <a:pt x="524" y="145"/>
                    </a:cubicBezTo>
                    <a:cubicBezTo>
                      <a:pt x="525" y="144"/>
                      <a:pt x="525" y="143"/>
                      <a:pt x="526" y="143"/>
                    </a:cubicBezTo>
                    <a:cubicBezTo>
                      <a:pt x="527" y="142"/>
                      <a:pt x="527" y="141"/>
                      <a:pt x="525" y="141"/>
                    </a:cubicBezTo>
                    <a:cubicBezTo>
                      <a:pt x="524" y="141"/>
                      <a:pt x="522" y="141"/>
                      <a:pt x="521" y="141"/>
                    </a:cubicBezTo>
                    <a:cubicBezTo>
                      <a:pt x="521" y="141"/>
                      <a:pt x="522" y="140"/>
                      <a:pt x="522" y="140"/>
                    </a:cubicBezTo>
                    <a:cubicBezTo>
                      <a:pt x="523" y="138"/>
                      <a:pt x="524" y="137"/>
                      <a:pt x="525" y="135"/>
                    </a:cubicBezTo>
                    <a:cubicBezTo>
                      <a:pt x="524" y="135"/>
                      <a:pt x="524" y="136"/>
                      <a:pt x="523" y="136"/>
                    </a:cubicBezTo>
                    <a:cubicBezTo>
                      <a:pt x="524" y="134"/>
                      <a:pt x="526" y="134"/>
                      <a:pt x="527" y="132"/>
                    </a:cubicBezTo>
                    <a:cubicBezTo>
                      <a:pt x="527" y="132"/>
                      <a:pt x="525" y="131"/>
                      <a:pt x="524" y="131"/>
                    </a:cubicBezTo>
                    <a:cubicBezTo>
                      <a:pt x="525" y="131"/>
                      <a:pt x="528" y="132"/>
                      <a:pt x="528" y="130"/>
                    </a:cubicBezTo>
                    <a:cubicBezTo>
                      <a:pt x="528" y="129"/>
                      <a:pt x="527" y="129"/>
                      <a:pt x="528" y="128"/>
                    </a:cubicBezTo>
                    <a:cubicBezTo>
                      <a:pt x="528" y="126"/>
                      <a:pt x="529" y="125"/>
                      <a:pt x="530" y="123"/>
                    </a:cubicBezTo>
                    <a:cubicBezTo>
                      <a:pt x="531" y="122"/>
                      <a:pt x="533" y="121"/>
                      <a:pt x="531" y="120"/>
                    </a:cubicBezTo>
                    <a:cubicBezTo>
                      <a:pt x="530" y="119"/>
                      <a:pt x="528" y="121"/>
                      <a:pt x="527" y="120"/>
                    </a:cubicBezTo>
                    <a:cubicBezTo>
                      <a:pt x="528" y="119"/>
                      <a:pt x="531" y="120"/>
                      <a:pt x="532" y="119"/>
                    </a:cubicBezTo>
                    <a:cubicBezTo>
                      <a:pt x="531" y="118"/>
                      <a:pt x="530" y="118"/>
                      <a:pt x="530" y="119"/>
                    </a:cubicBezTo>
                    <a:cubicBezTo>
                      <a:pt x="530" y="118"/>
                      <a:pt x="532" y="117"/>
                      <a:pt x="530" y="116"/>
                    </a:cubicBezTo>
                    <a:cubicBezTo>
                      <a:pt x="531" y="115"/>
                      <a:pt x="532" y="116"/>
                      <a:pt x="533" y="116"/>
                    </a:cubicBezTo>
                    <a:cubicBezTo>
                      <a:pt x="535" y="115"/>
                      <a:pt x="534" y="114"/>
                      <a:pt x="536" y="115"/>
                    </a:cubicBezTo>
                    <a:cubicBezTo>
                      <a:pt x="537" y="115"/>
                      <a:pt x="543" y="116"/>
                      <a:pt x="542" y="114"/>
                    </a:cubicBezTo>
                    <a:cubicBezTo>
                      <a:pt x="542" y="113"/>
                      <a:pt x="541" y="111"/>
                      <a:pt x="542" y="110"/>
                    </a:cubicBezTo>
                    <a:cubicBezTo>
                      <a:pt x="542" y="109"/>
                      <a:pt x="543" y="109"/>
                      <a:pt x="543" y="109"/>
                    </a:cubicBezTo>
                    <a:cubicBezTo>
                      <a:pt x="544" y="109"/>
                      <a:pt x="544" y="110"/>
                      <a:pt x="545" y="109"/>
                    </a:cubicBezTo>
                    <a:cubicBezTo>
                      <a:pt x="545" y="109"/>
                      <a:pt x="545" y="109"/>
                      <a:pt x="546" y="109"/>
                    </a:cubicBezTo>
                    <a:cubicBezTo>
                      <a:pt x="547" y="109"/>
                      <a:pt x="547" y="107"/>
                      <a:pt x="548" y="106"/>
                    </a:cubicBezTo>
                    <a:cubicBezTo>
                      <a:pt x="549" y="106"/>
                      <a:pt x="549" y="105"/>
                      <a:pt x="550" y="106"/>
                    </a:cubicBezTo>
                    <a:cubicBezTo>
                      <a:pt x="551" y="106"/>
                      <a:pt x="550" y="106"/>
                      <a:pt x="550" y="107"/>
                    </a:cubicBezTo>
                    <a:cubicBezTo>
                      <a:pt x="549" y="108"/>
                      <a:pt x="549" y="108"/>
                      <a:pt x="550" y="108"/>
                    </a:cubicBezTo>
                    <a:cubicBezTo>
                      <a:pt x="550" y="108"/>
                      <a:pt x="551" y="108"/>
                      <a:pt x="551" y="107"/>
                    </a:cubicBezTo>
                    <a:cubicBezTo>
                      <a:pt x="553" y="105"/>
                      <a:pt x="548" y="105"/>
                      <a:pt x="547" y="105"/>
                    </a:cubicBezTo>
                    <a:cubicBezTo>
                      <a:pt x="546" y="104"/>
                      <a:pt x="546" y="106"/>
                      <a:pt x="545" y="106"/>
                    </a:cubicBezTo>
                    <a:cubicBezTo>
                      <a:pt x="545" y="107"/>
                      <a:pt x="544" y="107"/>
                      <a:pt x="544" y="108"/>
                    </a:cubicBezTo>
                    <a:cubicBezTo>
                      <a:pt x="544" y="108"/>
                      <a:pt x="544" y="109"/>
                      <a:pt x="543" y="109"/>
                    </a:cubicBezTo>
                    <a:cubicBezTo>
                      <a:pt x="544" y="107"/>
                      <a:pt x="545" y="106"/>
                      <a:pt x="545" y="105"/>
                    </a:cubicBezTo>
                    <a:cubicBezTo>
                      <a:pt x="546" y="104"/>
                      <a:pt x="546" y="102"/>
                      <a:pt x="545" y="101"/>
                    </a:cubicBezTo>
                    <a:cubicBezTo>
                      <a:pt x="545" y="100"/>
                      <a:pt x="546" y="99"/>
                      <a:pt x="546" y="98"/>
                    </a:cubicBezTo>
                    <a:cubicBezTo>
                      <a:pt x="546" y="96"/>
                      <a:pt x="547" y="96"/>
                      <a:pt x="548" y="95"/>
                    </a:cubicBezTo>
                    <a:cubicBezTo>
                      <a:pt x="550" y="94"/>
                      <a:pt x="553" y="94"/>
                      <a:pt x="555" y="94"/>
                    </a:cubicBezTo>
                    <a:cubicBezTo>
                      <a:pt x="558" y="95"/>
                      <a:pt x="560" y="95"/>
                      <a:pt x="562" y="94"/>
                    </a:cubicBezTo>
                    <a:cubicBezTo>
                      <a:pt x="564" y="92"/>
                      <a:pt x="566" y="89"/>
                      <a:pt x="568" y="88"/>
                    </a:cubicBezTo>
                    <a:cubicBezTo>
                      <a:pt x="563" y="88"/>
                      <a:pt x="557" y="89"/>
                      <a:pt x="552" y="90"/>
                    </a:cubicBezTo>
                    <a:cubicBezTo>
                      <a:pt x="548" y="90"/>
                      <a:pt x="543" y="90"/>
                      <a:pt x="539" y="92"/>
                    </a:cubicBezTo>
                    <a:cubicBezTo>
                      <a:pt x="540" y="92"/>
                      <a:pt x="539" y="93"/>
                      <a:pt x="540" y="93"/>
                    </a:cubicBezTo>
                    <a:cubicBezTo>
                      <a:pt x="540" y="93"/>
                      <a:pt x="541" y="93"/>
                      <a:pt x="542" y="93"/>
                    </a:cubicBezTo>
                    <a:cubicBezTo>
                      <a:pt x="541" y="93"/>
                      <a:pt x="539" y="94"/>
                      <a:pt x="538" y="94"/>
                    </a:cubicBezTo>
                    <a:cubicBezTo>
                      <a:pt x="537" y="94"/>
                      <a:pt x="536" y="92"/>
                      <a:pt x="534" y="92"/>
                    </a:cubicBezTo>
                    <a:cubicBezTo>
                      <a:pt x="535" y="91"/>
                      <a:pt x="540" y="87"/>
                      <a:pt x="537" y="87"/>
                    </a:cubicBezTo>
                    <a:cubicBezTo>
                      <a:pt x="540" y="84"/>
                      <a:pt x="544" y="82"/>
                      <a:pt x="548" y="83"/>
                    </a:cubicBezTo>
                    <a:cubicBezTo>
                      <a:pt x="550" y="83"/>
                      <a:pt x="553" y="84"/>
                      <a:pt x="556" y="84"/>
                    </a:cubicBezTo>
                    <a:cubicBezTo>
                      <a:pt x="559" y="84"/>
                      <a:pt x="563" y="83"/>
                      <a:pt x="566" y="83"/>
                    </a:cubicBezTo>
                    <a:cubicBezTo>
                      <a:pt x="568" y="83"/>
                      <a:pt x="571" y="84"/>
                      <a:pt x="574" y="83"/>
                    </a:cubicBezTo>
                    <a:cubicBezTo>
                      <a:pt x="575" y="83"/>
                      <a:pt x="576" y="82"/>
                      <a:pt x="577" y="82"/>
                    </a:cubicBezTo>
                    <a:cubicBezTo>
                      <a:pt x="578" y="80"/>
                      <a:pt x="581" y="79"/>
                      <a:pt x="582" y="77"/>
                    </a:cubicBezTo>
                    <a:cubicBezTo>
                      <a:pt x="580" y="76"/>
                      <a:pt x="576" y="76"/>
                      <a:pt x="574" y="76"/>
                    </a:cubicBezTo>
                    <a:cubicBezTo>
                      <a:pt x="573" y="76"/>
                      <a:pt x="571" y="75"/>
                      <a:pt x="570" y="75"/>
                    </a:cubicBezTo>
                    <a:cubicBezTo>
                      <a:pt x="568" y="74"/>
                      <a:pt x="567" y="75"/>
                      <a:pt x="566" y="75"/>
                    </a:cubicBezTo>
                    <a:cubicBezTo>
                      <a:pt x="563" y="76"/>
                      <a:pt x="561" y="76"/>
                      <a:pt x="558" y="76"/>
                    </a:cubicBezTo>
                    <a:cubicBezTo>
                      <a:pt x="556" y="76"/>
                      <a:pt x="554" y="75"/>
                      <a:pt x="552" y="75"/>
                    </a:cubicBezTo>
                    <a:cubicBezTo>
                      <a:pt x="551" y="75"/>
                      <a:pt x="550" y="75"/>
                      <a:pt x="549" y="75"/>
                    </a:cubicBezTo>
                    <a:cubicBezTo>
                      <a:pt x="548" y="75"/>
                      <a:pt x="547" y="75"/>
                      <a:pt x="546" y="74"/>
                    </a:cubicBezTo>
                    <a:cubicBezTo>
                      <a:pt x="545" y="74"/>
                      <a:pt x="542" y="73"/>
                      <a:pt x="541" y="74"/>
                    </a:cubicBezTo>
                    <a:cubicBezTo>
                      <a:pt x="540" y="74"/>
                      <a:pt x="540" y="75"/>
                      <a:pt x="539" y="75"/>
                    </a:cubicBezTo>
                    <a:cubicBezTo>
                      <a:pt x="538" y="76"/>
                      <a:pt x="537" y="76"/>
                      <a:pt x="536" y="76"/>
                    </a:cubicBezTo>
                    <a:cubicBezTo>
                      <a:pt x="536" y="76"/>
                      <a:pt x="535" y="77"/>
                      <a:pt x="535" y="77"/>
                    </a:cubicBezTo>
                    <a:cubicBezTo>
                      <a:pt x="534" y="77"/>
                      <a:pt x="534" y="77"/>
                      <a:pt x="533" y="76"/>
                    </a:cubicBezTo>
                    <a:cubicBezTo>
                      <a:pt x="532" y="76"/>
                      <a:pt x="531" y="76"/>
                      <a:pt x="530" y="75"/>
                    </a:cubicBezTo>
                    <a:cubicBezTo>
                      <a:pt x="533" y="75"/>
                      <a:pt x="535" y="76"/>
                      <a:pt x="538" y="74"/>
                    </a:cubicBezTo>
                    <a:cubicBezTo>
                      <a:pt x="540" y="73"/>
                      <a:pt x="543" y="73"/>
                      <a:pt x="546" y="73"/>
                    </a:cubicBezTo>
                    <a:cubicBezTo>
                      <a:pt x="549" y="74"/>
                      <a:pt x="554" y="75"/>
                      <a:pt x="557" y="74"/>
                    </a:cubicBezTo>
                    <a:cubicBezTo>
                      <a:pt x="558" y="73"/>
                      <a:pt x="560" y="73"/>
                      <a:pt x="560" y="72"/>
                    </a:cubicBezTo>
                    <a:cubicBezTo>
                      <a:pt x="561" y="72"/>
                      <a:pt x="562" y="70"/>
                      <a:pt x="563" y="70"/>
                    </a:cubicBezTo>
                    <a:cubicBezTo>
                      <a:pt x="564" y="70"/>
                      <a:pt x="565" y="71"/>
                      <a:pt x="566" y="71"/>
                    </a:cubicBezTo>
                    <a:cubicBezTo>
                      <a:pt x="567" y="72"/>
                      <a:pt x="569" y="71"/>
                      <a:pt x="571" y="72"/>
                    </a:cubicBezTo>
                    <a:cubicBezTo>
                      <a:pt x="573" y="72"/>
                      <a:pt x="575" y="73"/>
                      <a:pt x="577" y="72"/>
                    </a:cubicBezTo>
                    <a:cubicBezTo>
                      <a:pt x="581" y="71"/>
                      <a:pt x="584" y="70"/>
                      <a:pt x="588" y="69"/>
                    </a:cubicBezTo>
                    <a:cubicBezTo>
                      <a:pt x="589" y="69"/>
                      <a:pt x="598" y="68"/>
                      <a:pt x="598" y="67"/>
                    </a:cubicBezTo>
                    <a:cubicBezTo>
                      <a:pt x="597" y="66"/>
                      <a:pt x="597" y="66"/>
                      <a:pt x="596" y="66"/>
                    </a:cubicBezTo>
                    <a:cubicBezTo>
                      <a:pt x="606" y="61"/>
                      <a:pt x="615" y="56"/>
                      <a:pt x="625" y="51"/>
                    </a:cubicBezTo>
                    <a:cubicBezTo>
                      <a:pt x="620" y="50"/>
                      <a:pt x="615" y="48"/>
                      <a:pt x="610" y="47"/>
                    </a:cubicBezTo>
                    <a:cubicBezTo>
                      <a:pt x="605" y="46"/>
                      <a:pt x="600" y="44"/>
                      <a:pt x="596" y="43"/>
                    </a:cubicBezTo>
                    <a:cubicBezTo>
                      <a:pt x="592" y="43"/>
                      <a:pt x="588" y="43"/>
                      <a:pt x="585" y="43"/>
                    </a:cubicBezTo>
                    <a:cubicBezTo>
                      <a:pt x="582" y="43"/>
                      <a:pt x="579" y="43"/>
                      <a:pt x="576" y="43"/>
                    </a:cubicBezTo>
                    <a:cubicBezTo>
                      <a:pt x="576" y="43"/>
                      <a:pt x="573" y="43"/>
                      <a:pt x="574" y="44"/>
                    </a:cubicBezTo>
                    <a:cubicBezTo>
                      <a:pt x="573" y="44"/>
                      <a:pt x="568" y="44"/>
                      <a:pt x="568" y="45"/>
                    </a:cubicBezTo>
                    <a:cubicBezTo>
                      <a:pt x="567" y="46"/>
                      <a:pt x="569" y="46"/>
                      <a:pt x="567" y="47"/>
                    </a:cubicBezTo>
                    <a:cubicBezTo>
                      <a:pt x="566" y="48"/>
                      <a:pt x="565" y="47"/>
                      <a:pt x="564" y="48"/>
                    </a:cubicBezTo>
                    <a:cubicBezTo>
                      <a:pt x="565" y="47"/>
                      <a:pt x="564" y="49"/>
                      <a:pt x="564" y="49"/>
                    </a:cubicBezTo>
                    <a:cubicBezTo>
                      <a:pt x="564" y="49"/>
                      <a:pt x="563" y="50"/>
                      <a:pt x="564" y="50"/>
                    </a:cubicBezTo>
                    <a:cubicBezTo>
                      <a:pt x="565" y="50"/>
                      <a:pt x="565" y="50"/>
                      <a:pt x="566" y="51"/>
                    </a:cubicBezTo>
                    <a:cubicBezTo>
                      <a:pt x="564" y="51"/>
                      <a:pt x="562" y="51"/>
                      <a:pt x="561" y="51"/>
                    </a:cubicBezTo>
                    <a:cubicBezTo>
                      <a:pt x="563" y="52"/>
                      <a:pt x="561" y="55"/>
                      <a:pt x="559" y="55"/>
                    </a:cubicBezTo>
                    <a:cubicBezTo>
                      <a:pt x="557" y="55"/>
                      <a:pt x="555" y="54"/>
                      <a:pt x="553" y="53"/>
                    </a:cubicBezTo>
                    <a:cubicBezTo>
                      <a:pt x="552" y="53"/>
                      <a:pt x="548" y="51"/>
                      <a:pt x="546" y="52"/>
                    </a:cubicBezTo>
                    <a:cubicBezTo>
                      <a:pt x="544" y="53"/>
                      <a:pt x="542" y="54"/>
                      <a:pt x="539" y="55"/>
                    </a:cubicBezTo>
                    <a:cubicBezTo>
                      <a:pt x="539" y="54"/>
                      <a:pt x="539" y="52"/>
                      <a:pt x="540" y="51"/>
                    </a:cubicBezTo>
                    <a:cubicBezTo>
                      <a:pt x="540" y="50"/>
                      <a:pt x="541" y="50"/>
                      <a:pt x="542" y="49"/>
                    </a:cubicBezTo>
                    <a:cubicBezTo>
                      <a:pt x="540" y="51"/>
                      <a:pt x="536" y="50"/>
                      <a:pt x="533" y="52"/>
                    </a:cubicBezTo>
                    <a:cubicBezTo>
                      <a:pt x="532" y="53"/>
                      <a:pt x="531" y="53"/>
                      <a:pt x="531" y="54"/>
                    </a:cubicBezTo>
                    <a:cubicBezTo>
                      <a:pt x="530" y="54"/>
                      <a:pt x="529" y="55"/>
                      <a:pt x="528" y="55"/>
                    </a:cubicBezTo>
                    <a:cubicBezTo>
                      <a:pt x="527" y="55"/>
                      <a:pt x="528" y="56"/>
                      <a:pt x="527" y="56"/>
                    </a:cubicBezTo>
                    <a:cubicBezTo>
                      <a:pt x="526" y="58"/>
                      <a:pt x="522" y="60"/>
                      <a:pt x="520" y="61"/>
                    </a:cubicBezTo>
                    <a:cubicBezTo>
                      <a:pt x="518" y="62"/>
                      <a:pt x="516" y="63"/>
                      <a:pt x="515" y="64"/>
                    </a:cubicBezTo>
                    <a:cubicBezTo>
                      <a:pt x="508" y="68"/>
                      <a:pt x="502" y="72"/>
                      <a:pt x="496" y="76"/>
                    </a:cubicBezTo>
                    <a:cubicBezTo>
                      <a:pt x="496" y="76"/>
                      <a:pt x="495" y="76"/>
                      <a:pt x="495" y="76"/>
                    </a:cubicBezTo>
                    <a:cubicBezTo>
                      <a:pt x="497" y="75"/>
                      <a:pt x="496" y="73"/>
                      <a:pt x="498" y="73"/>
                    </a:cubicBezTo>
                    <a:cubicBezTo>
                      <a:pt x="499" y="72"/>
                      <a:pt x="501" y="73"/>
                      <a:pt x="501" y="71"/>
                    </a:cubicBezTo>
                    <a:cubicBezTo>
                      <a:pt x="502" y="71"/>
                      <a:pt x="501" y="70"/>
                      <a:pt x="502" y="69"/>
                    </a:cubicBezTo>
                    <a:cubicBezTo>
                      <a:pt x="502" y="68"/>
                      <a:pt x="502" y="68"/>
                      <a:pt x="503" y="67"/>
                    </a:cubicBezTo>
                    <a:cubicBezTo>
                      <a:pt x="504" y="67"/>
                      <a:pt x="504" y="66"/>
                      <a:pt x="505" y="66"/>
                    </a:cubicBezTo>
                    <a:cubicBezTo>
                      <a:pt x="507" y="65"/>
                      <a:pt x="507" y="65"/>
                      <a:pt x="508" y="64"/>
                    </a:cubicBezTo>
                    <a:cubicBezTo>
                      <a:pt x="508" y="63"/>
                      <a:pt x="510" y="63"/>
                      <a:pt x="510" y="62"/>
                    </a:cubicBezTo>
                    <a:cubicBezTo>
                      <a:pt x="512" y="60"/>
                      <a:pt x="510" y="58"/>
                      <a:pt x="513" y="58"/>
                    </a:cubicBezTo>
                    <a:cubicBezTo>
                      <a:pt x="516" y="58"/>
                      <a:pt x="517" y="56"/>
                      <a:pt x="518" y="54"/>
                    </a:cubicBezTo>
                    <a:cubicBezTo>
                      <a:pt x="520" y="50"/>
                      <a:pt x="523" y="46"/>
                      <a:pt x="520" y="41"/>
                    </a:cubicBezTo>
                    <a:cubicBezTo>
                      <a:pt x="520" y="41"/>
                      <a:pt x="519" y="39"/>
                      <a:pt x="518" y="39"/>
                    </a:cubicBezTo>
                    <a:cubicBezTo>
                      <a:pt x="517" y="39"/>
                      <a:pt x="516" y="39"/>
                      <a:pt x="516" y="39"/>
                    </a:cubicBezTo>
                    <a:cubicBezTo>
                      <a:pt x="514" y="39"/>
                      <a:pt x="512" y="40"/>
                      <a:pt x="511" y="40"/>
                    </a:cubicBezTo>
                    <a:cubicBezTo>
                      <a:pt x="509" y="40"/>
                      <a:pt x="506" y="40"/>
                      <a:pt x="504" y="40"/>
                    </a:cubicBezTo>
                    <a:cubicBezTo>
                      <a:pt x="503" y="41"/>
                      <a:pt x="502" y="40"/>
                      <a:pt x="501" y="41"/>
                    </a:cubicBezTo>
                    <a:cubicBezTo>
                      <a:pt x="501" y="41"/>
                      <a:pt x="500" y="42"/>
                      <a:pt x="500" y="42"/>
                    </a:cubicBezTo>
                    <a:cubicBezTo>
                      <a:pt x="500" y="43"/>
                      <a:pt x="500" y="43"/>
                      <a:pt x="500" y="43"/>
                    </a:cubicBezTo>
                    <a:cubicBezTo>
                      <a:pt x="500" y="44"/>
                      <a:pt x="499" y="44"/>
                      <a:pt x="499" y="45"/>
                    </a:cubicBezTo>
                    <a:cubicBezTo>
                      <a:pt x="499" y="46"/>
                      <a:pt x="499" y="47"/>
                      <a:pt x="498" y="48"/>
                    </a:cubicBezTo>
                    <a:cubicBezTo>
                      <a:pt x="497" y="49"/>
                      <a:pt x="495" y="49"/>
                      <a:pt x="494" y="49"/>
                    </a:cubicBezTo>
                    <a:cubicBezTo>
                      <a:pt x="488" y="51"/>
                      <a:pt x="482" y="52"/>
                      <a:pt x="476" y="54"/>
                    </a:cubicBezTo>
                    <a:cubicBezTo>
                      <a:pt x="473" y="54"/>
                      <a:pt x="471" y="55"/>
                      <a:pt x="469" y="56"/>
                    </a:cubicBezTo>
                    <a:cubicBezTo>
                      <a:pt x="468" y="56"/>
                      <a:pt x="467" y="56"/>
                      <a:pt x="466" y="56"/>
                    </a:cubicBezTo>
                    <a:cubicBezTo>
                      <a:pt x="466" y="56"/>
                      <a:pt x="468" y="56"/>
                      <a:pt x="468" y="56"/>
                    </a:cubicBezTo>
                    <a:cubicBezTo>
                      <a:pt x="468" y="55"/>
                      <a:pt x="468" y="55"/>
                      <a:pt x="468" y="55"/>
                    </a:cubicBezTo>
                    <a:cubicBezTo>
                      <a:pt x="467" y="54"/>
                      <a:pt x="464" y="55"/>
                      <a:pt x="464" y="54"/>
                    </a:cubicBezTo>
                    <a:cubicBezTo>
                      <a:pt x="464" y="52"/>
                      <a:pt x="470" y="52"/>
                      <a:pt x="471" y="52"/>
                    </a:cubicBezTo>
                    <a:cubicBezTo>
                      <a:pt x="474" y="51"/>
                      <a:pt x="477" y="50"/>
                      <a:pt x="480" y="49"/>
                    </a:cubicBezTo>
                    <a:cubicBezTo>
                      <a:pt x="482" y="49"/>
                      <a:pt x="485" y="48"/>
                      <a:pt x="487" y="47"/>
                    </a:cubicBezTo>
                    <a:cubicBezTo>
                      <a:pt x="488" y="46"/>
                      <a:pt x="488" y="45"/>
                      <a:pt x="488" y="44"/>
                    </a:cubicBezTo>
                    <a:cubicBezTo>
                      <a:pt x="488" y="43"/>
                      <a:pt x="488" y="43"/>
                      <a:pt x="486" y="42"/>
                    </a:cubicBezTo>
                    <a:cubicBezTo>
                      <a:pt x="478" y="42"/>
                      <a:pt x="471" y="42"/>
                      <a:pt x="463" y="42"/>
                    </a:cubicBezTo>
                    <a:cubicBezTo>
                      <a:pt x="458" y="41"/>
                      <a:pt x="453" y="41"/>
                      <a:pt x="448" y="42"/>
                    </a:cubicBezTo>
                    <a:cubicBezTo>
                      <a:pt x="444" y="42"/>
                      <a:pt x="441" y="43"/>
                      <a:pt x="437" y="43"/>
                    </a:cubicBezTo>
                    <a:cubicBezTo>
                      <a:pt x="432" y="44"/>
                      <a:pt x="428" y="45"/>
                      <a:pt x="424" y="45"/>
                    </a:cubicBezTo>
                    <a:cubicBezTo>
                      <a:pt x="419" y="46"/>
                      <a:pt x="415" y="48"/>
                      <a:pt x="410" y="49"/>
                    </a:cubicBezTo>
                    <a:cubicBezTo>
                      <a:pt x="410" y="49"/>
                      <a:pt x="409" y="50"/>
                      <a:pt x="408" y="49"/>
                    </a:cubicBezTo>
                    <a:cubicBezTo>
                      <a:pt x="408" y="48"/>
                      <a:pt x="408" y="46"/>
                      <a:pt x="408" y="46"/>
                    </a:cubicBezTo>
                    <a:cubicBezTo>
                      <a:pt x="409" y="45"/>
                      <a:pt x="411" y="44"/>
                      <a:pt x="412" y="44"/>
                    </a:cubicBezTo>
                    <a:cubicBezTo>
                      <a:pt x="415" y="44"/>
                      <a:pt x="418" y="43"/>
                      <a:pt x="420" y="43"/>
                    </a:cubicBezTo>
                    <a:cubicBezTo>
                      <a:pt x="422" y="42"/>
                      <a:pt x="424" y="42"/>
                      <a:pt x="426" y="42"/>
                    </a:cubicBezTo>
                    <a:cubicBezTo>
                      <a:pt x="427" y="42"/>
                      <a:pt x="429" y="41"/>
                      <a:pt x="430" y="41"/>
                    </a:cubicBezTo>
                    <a:cubicBezTo>
                      <a:pt x="433" y="40"/>
                      <a:pt x="436" y="40"/>
                      <a:pt x="439" y="39"/>
                    </a:cubicBezTo>
                    <a:cubicBezTo>
                      <a:pt x="434" y="38"/>
                      <a:pt x="428" y="37"/>
                      <a:pt x="423" y="36"/>
                    </a:cubicBezTo>
                    <a:cubicBezTo>
                      <a:pt x="424" y="36"/>
                      <a:pt x="426" y="36"/>
                      <a:pt x="428" y="36"/>
                    </a:cubicBezTo>
                    <a:cubicBezTo>
                      <a:pt x="430" y="36"/>
                      <a:pt x="431" y="36"/>
                      <a:pt x="433" y="36"/>
                    </a:cubicBezTo>
                    <a:cubicBezTo>
                      <a:pt x="435" y="36"/>
                      <a:pt x="436" y="37"/>
                      <a:pt x="438" y="37"/>
                    </a:cubicBezTo>
                    <a:cubicBezTo>
                      <a:pt x="439" y="37"/>
                      <a:pt x="440" y="37"/>
                      <a:pt x="440" y="37"/>
                    </a:cubicBezTo>
                    <a:cubicBezTo>
                      <a:pt x="441" y="37"/>
                      <a:pt x="441" y="38"/>
                      <a:pt x="442" y="38"/>
                    </a:cubicBezTo>
                    <a:cubicBezTo>
                      <a:pt x="449" y="38"/>
                      <a:pt x="455" y="36"/>
                      <a:pt x="462" y="36"/>
                    </a:cubicBezTo>
                    <a:cubicBezTo>
                      <a:pt x="469" y="37"/>
                      <a:pt x="476" y="38"/>
                      <a:pt x="483" y="37"/>
                    </a:cubicBezTo>
                    <a:cubicBezTo>
                      <a:pt x="486" y="37"/>
                      <a:pt x="490" y="37"/>
                      <a:pt x="493" y="37"/>
                    </a:cubicBezTo>
                    <a:cubicBezTo>
                      <a:pt x="496" y="36"/>
                      <a:pt x="499" y="35"/>
                      <a:pt x="502" y="34"/>
                    </a:cubicBezTo>
                    <a:cubicBezTo>
                      <a:pt x="506" y="33"/>
                      <a:pt x="509" y="34"/>
                      <a:pt x="513" y="33"/>
                    </a:cubicBezTo>
                    <a:cubicBezTo>
                      <a:pt x="519" y="33"/>
                      <a:pt x="523" y="29"/>
                      <a:pt x="528" y="26"/>
                    </a:cubicBezTo>
                    <a:cubicBezTo>
                      <a:pt x="527" y="25"/>
                      <a:pt x="525" y="25"/>
                      <a:pt x="524" y="24"/>
                    </a:cubicBezTo>
                    <a:cubicBezTo>
                      <a:pt x="523" y="23"/>
                      <a:pt x="521" y="24"/>
                      <a:pt x="520" y="23"/>
                    </a:cubicBezTo>
                    <a:cubicBezTo>
                      <a:pt x="518" y="22"/>
                      <a:pt x="516" y="21"/>
                      <a:pt x="514" y="22"/>
                    </a:cubicBezTo>
                    <a:cubicBezTo>
                      <a:pt x="509" y="22"/>
                      <a:pt x="505" y="22"/>
                      <a:pt x="501" y="22"/>
                    </a:cubicBezTo>
                    <a:cubicBezTo>
                      <a:pt x="502" y="21"/>
                      <a:pt x="502" y="21"/>
                      <a:pt x="501" y="20"/>
                    </a:cubicBezTo>
                    <a:cubicBezTo>
                      <a:pt x="501" y="18"/>
                      <a:pt x="498" y="18"/>
                      <a:pt x="497" y="18"/>
                    </a:cubicBezTo>
                    <a:cubicBezTo>
                      <a:pt x="493" y="19"/>
                      <a:pt x="490" y="20"/>
                      <a:pt x="486" y="21"/>
                    </a:cubicBezTo>
                    <a:cubicBezTo>
                      <a:pt x="487" y="20"/>
                      <a:pt x="487" y="20"/>
                      <a:pt x="488" y="20"/>
                    </a:cubicBezTo>
                    <a:cubicBezTo>
                      <a:pt x="489" y="20"/>
                      <a:pt x="489" y="20"/>
                      <a:pt x="489" y="19"/>
                    </a:cubicBezTo>
                    <a:cubicBezTo>
                      <a:pt x="490" y="18"/>
                      <a:pt x="491" y="18"/>
                      <a:pt x="492" y="17"/>
                    </a:cubicBezTo>
                    <a:cubicBezTo>
                      <a:pt x="492" y="17"/>
                      <a:pt x="493" y="17"/>
                      <a:pt x="493" y="16"/>
                    </a:cubicBezTo>
                    <a:cubicBezTo>
                      <a:pt x="492" y="15"/>
                      <a:pt x="491" y="14"/>
                      <a:pt x="490" y="13"/>
                    </a:cubicBezTo>
                    <a:cubicBezTo>
                      <a:pt x="488" y="12"/>
                      <a:pt x="486" y="12"/>
                      <a:pt x="484" y="12"/>
                    </a:cubicBezTo>
                    <a:cubicBezTo>
                      <a:pt x="481" y="13"/>
                      <a:pt x="478" y="14"/>
                      <a:pt x="475" y="14"/>
                    </a:cubicBezTo>
                    <a:cubicBezTo>
                      <a:pt x="468" y="13"/>
                      <a:pt x="460" y="13"/>
                      <a:pt x="453" y="13"/>
                    </a:cubicBezTo>
                    <a:cubicBezTo>
                      <a:pt x="448" y="13"/>
                      <a:pt x="444" y="12"/>
                      <a:pt x="439" y="13"/>
                    </a:cubicBezTo>
                    <a:cubicBezTo>
                      <a:pt x="437" y="13"/>
                      <a:pt x="436" y="14"/>
                      <a:pt x="433" y="14"/>
                    </a:cubicBezTo>
                    <a:cubicBezTo>
                      <a:pt x="431" y="14"/>
                      <a:pt x="430" y="14"/>
                      <a:pt x="428" y="15"/>
                    </a:cubicBezTo>
                    <a:cubicBezTo>
                      <a:pt x="420" y="18"/>
                      <a:pt x="411" y="15"/>
                      <a:pt x="403" y="17"/>
                    </a:cubicBezTo>
                    <a:cubicBezTo>
                      <a:pt x="401" y="18"/>
                      <a:pt x="402" y="19"/>
                      <a:pt x="400" y="21"/>
                    </a:cubicBezTo>
                    <a:cubicBezTo>
                      <a:pt x="399" y="21"/>
                      <a:pt x="398" y="21"/>
                      <a:pt x="397" y="20"/>
                    </a:cubicBezTo>
                    <a:cubicBezTo>
                      <a:pt x="396" y="20"/>
                      <a:pt x="394" y="19"/>
                      <a:pt x="393" y="19"/>
                    </a:cubicBezTo>
                    <a:cubicBezTo>
                      <a:pt x="391" y="18"/>
                      <a:pt x="389" y="18"/>
                      <a:pt x="387" y="19"/>
                    </a:cubicBezTo>
                    <a:cubicBezTo>
                      <a:pt x="386" y="20"/>
                      <a:pt x="385" y="21"/>
                      <a:pt x="383" y="22"/>
                    </a:cubicBezTo>
                    <a:cubicBezTo>
                      <a:pt x="383" y="21"/>
                      <a:pt x="384" y="21"/>
                      <a:pt x="384" y="21"/>
                    </a:cubicBezTo>
                    <a:cubicBezTo>
                      <a:pt x="384" y="21"/>
                      <a:pt x="384" y="19"/>
                      <a:pt x="384" y="20"/>
                    </a:cubicBezTo>
                    <a:cubicBezTo>
                      <a:pt x="384" y="19"/>
                      <a:pt x="383" y="19"/>
                      <a:pt x="382" y="18"/>
                    </a:cubicBezTo>
                    <a:cubicBezTo>
                      <a:pt x="385" y="18"/>
                      <a:pt x="387" y="18"/>
                      <a:pt x="390" y="18"/>
                    </a:cubicBezTo>
                    <a:cubicBezTo>
                      <a:pt x="392" y="17"/>
                      <a:pt x="395" y="18"/>
                      <a:pt x="398" y="17"/>
                    </a:cubicBezTo>
                    <a:cubicBezTo>
                      <a:pt x="400" y="17"/>
                      <a:pt x="402" y="16"/>
                      <a:pt x="404" y="16"/>
                    </a:cubicBezTo>
                    <a:cubicBezTo>
                      <a:pt x="405" y="16"/>
                      <a:pt x="407" y="16"/>
                      <a:pt x="408" y="16"/>
                    </a:cubicBezTo>
                    <a:cubicBezTo>
                      <a:pt x="409" y="16"/>
                      <a:pt x="410" y="15"/>
                      <a:pt x="410" y="15"/>
                    </a:cubicBezTo>
                    <a:cubicBezTo>
                      <a:pt x="409" y="14"/>
                      <a:pt x="406" y="14"/>
                      <a:pt x="404" y="12"/>
                    </a:cubicBezTo>
                    <a:cubicBezTo>
                      <a:pt x="409" y="12"/>
                      <a:pt x="413" y="14"/>
                      <a:pt x="418" y="14"/>
                    </a:cubicBezTo>
                    <a:cubicBezTo>
                      <a:pt x="421" y="15"/>
                      <a:pt x="425" y="14"/>
                      <a:pt x="428" y="13"/>
                    </a:cubicBezTo>
                    <a:cubicBezTo>
                      <a:pt x="432" y="13"/>
                      <a:pt x="435" y="12"/>
                      <a:pt x="439" y="12"/>
                    </a:cubicBezTo>
                    <a:cubicBezTo>
                      <a:pt x="443" y="11"/>
                      <a:pt x="447" y="11"/>
                      <a:pt x="451" y="12"/>
                    </a:cubicBezTo>
                    <a:cubicBezTo>
                      <a:pt x="454" y="12"/>
                      <a:pt x="457" y="12"/>
                      <a:pt x="460" y="12"/>
                    </a:cubicBezTo>
                    <a:cubicBezTo>
                      <a:pt x="463" y="12"/>
                      <a:pt x="466" y="12"/>
                      <a:pt x="469" y="12"/>
                    </a:cubicBezTo>
                    <a:cubicBezTo>
                      <a:pt x="472" y="12"/>
                      <a:pt x="474" y="12"/>
                      <a:pt x="476" y="11"/>
                    </a:cubicBezTo>
                    <a:cubicBezTo>
                      <a:pt x="477" y="11"/>
                      <a:pt x="479" y="11"/>
                      <a:pt x="480" y="11"/>
                    </a:cubicBezTo>
                    <a:cubicBezTo>
                      <a:pt x="481" y="10"/>
                      <a:pt x="483" y="9"/>
                      <a:pt x="484" y="8"/>
                    </a:cubicBezTo>
                    <a:cubicBezTo>
                      <a:pt x="470" y="6"/>
                      <a:pt x="457" y="4"/>
                      <a:pt x="443" y="2"/>
                    </a:cubicBezTo>
                    <a:cubicBezTo>
                      <a:pt x="441" y="1"/>
                      <a:pt x="439" y="1"/>
                      <a:pt x="436" y="0"/>
                    </a:cubicBezTo>
                    <a:cubicBezTo>
                      <a:pt x="435" y="0"/>
                      <a:pt x="434" y="1"/>
                      <a:pt x="432" y="1"/>
                    </a:cubicBezTo>
                    <a:cubicBezTo>
                      <a:pt x="426" y="0"/>
                      <a:pt x="420" y="0"/>
                      <a:pt x="413" y="0"/>
                    </a:cubicBezTo>
                    <a:cubicBezTo>
                      <a:pt x="410" y="0"/>
                      <a:pt x="406" y="0"/>
                      <a:pt x="403" y="0"/>
                    </a:cubicBezTo>
                    <a:cubicBezTo>
                      <a:pt x="402" y="0"/>
                      <a:pt x="400" y="0"/>
                      <a:pt x="399" y="1"/>
                    </a:cubicBezTo>
                    <a:cubicBezTo>
                      <a:pt x="397" y="1"/>
                      <a:pt x="399" y="3"/>
                      <a:pt x="399" y="4"/>
                    </a:cubicBezTo>
                    <a:cubicBezTo>
                      <a:pt x="398" y="2"/>
                      <a:pt x="394" y="1"/>
                      <a:pt x="391" y="0"/>
                    </a:cubicBezTo>
                    <a:cubicBezTo>
                      <a:pt x="390" y="0"/>
                      <a:pt x="390" y="1"/>
                      <a:pt x="389" y="1"/>
                    </a:cubicBezTo>
                    <a:cubicBezTo>
                      <a:pt x="388" y="2"/>
                      <a:pt x="386" y="2"/>
                      <a:pt x="385" y="2"/>
                    </a:cubicBezTo>
                    <a:cubicBezTo>
                      <a:pt x="382" y="2"/>
                      <a:pt x="378" y="2"/>
                      <a:pt x="375" y="2"/>
                    </a:cubicBezTo>
                    <a:cubicBezTo>
                      <a:pt x="375" y="2"/>
                      <a:pt x="369" y="2"/>
                      <a:pt x="370" y="3"/>
                    </a:cubicBezTo>
                    <a:cubicBezTo>
                      <a:pt x="370" y="3"/>
                      <a:pt x="369" y="3"/>
                      <a:pt x="369" y="3"/>
                    </a:cubicBezTo>
                    <a:cubicBezTo>
                      <a:pt x="370" y="4"/>
                      <a:pt x="373" y="5"/>
                      <a:pt x="373" y="7"/>
                    </a:cubicBezTo>
                    <a:cubicBezTo>
                      <a:pt x="369" y="6"/>
                      <a:pt x="362" y="1"/>
                      <a:pt x="358" y="4"/>
                    </a:cubicBezTo>
                    <a:cubicBezTo>
                      <a:pt x="356" y="5"/>
                      <a:pt x="362" y="7"/>
                      <a:pt x="357" y="6"/>
                    </a:cubicBezTo>
                    <a:cubicBezTo>
                      <a:pt x="355" y="6"/>
                      <a:pt x="352" y="5"/>
                      <a:pt x="349" y="5"/>
                    </a:cubicBezTo>
                    <a:cubicBezTo>
                      <a:pt x="351" y="7"/>
                      <a:pt x="348" y="10"/>
                      <a:pt x="351" y="11"/>
                    </a:cubicBezTo>
                    <a:cubicBezTo>
                      <a:pt x="353" y="11"/>
                      <a:pt x="355" y="11"/>
                      <a:pt x="357" y="11"/>
                    </a:cubicBezTo>
                    <a:cubicBezTo>
                      <a:pt x="358" y="11"/>
                      <a:pt x="360" y="12"/>
                      <a:pt x="362" y="12"/>
                    </a:cubicBezTo>
                    <a:cubicBezTo>
                      <a:pt x="364" y="13"/>
                      <a:pt x="366" y="12"/>
                      <a:pt x="369" y="12"/>
                    </a:cubicBezTo>
                    <a:cubicBezTo>
                      <a:pt x="366" y="13"/>
                      <a:pt x="363" y="13"/>
                      <a:pt x="360" y="13"/>
                    </a:cubicBezTo>
                    <a:cubicBezTo>
                      <a:pt x="357" y="13"/>
                      <a:pt x="352" y="13"/>
                      <a:pt x="350" y="15"/>
                    </a:cubicBezTo>
                    <a:cubicBezTo>
                      <a:pt x="355" y="16"/>
                      <a:pt x="360" y="13"/>
                      <a:pt x="365" y="16"/>
                    </a:cubicBezTo>
                    <a:cubicBezTo>
                      <a:pt x="363" y="16"/>
                      <a:pt x="362" y="15"/>
                      <a:pt x="360" y="15"/>
                    </a:cubicBezTo>
                    <a:cubicBezTo>
                      <a:pt x="359" y="15"/>
                      <a:pt x="358" y="16"/>
                      <a:pt x="356" y="16"/>
                    </a:cubicBezTo>
                    <a:cubicBezTo>
                      <a:pt x="353" y="16"/>
                      <a:pt x="349" y="15"/>
                      <a:pt x="346" y="17"/>
                    </a:cubicBezTo>
                    <a:cubicBezTo>
                      <a:pt x="347" y="17"/>
                      <a:pt x="349" y="17"/>
                      <a:pt x="349" y="18"/>
                    </a:cubicBezTo>
                    <a:cubicBezTo>
                      <a:pt x="350" y="19"/>
                      <a:pt x="349" y="19"/>
                      <a:pt x="350" y="19"/>
                    </a:cubicBezTo>
                    <a:cubicBezTo>
                      <a:pt x="350" y="20"/>
                      <a:pt x="350" y="20"/>
                      <a:pt x="351" y="21"/>
                    </a:cubicBezTo>
                    <a:cubicBezTo>
                      <a:pt x="352" y="22"/>
                      <a:pt x="352" y="22"/>
                      <a:pt x="351" y="22"/>
                    </a:cubicBezTo>
                    <a:cubicBezTo>
                      <a:pt x="351" y="22"/>
                      <a:pt x="350" y="21"/>
                      <a:pt x="350" y="21"/>
                    </a:cubicBezTo>
                    <a:cubicBezTo>
                      <a:pt x="349" y="21"/>
                      <a:pt x="348" y="20"/>
                      <a:pt x="347" y="19"/>
                    </a:cubicBezTo>
                    <a:cubicBezTo>
                      <a:pt x="347" y="19"/>
                      <a:pt x="348" y="19"/>
                      <a:pt x="347" y="18"/>
                    </a:cubicBezTo>
                    <a:cubicBezTo>
                      <a:pt x="346" y="18"/>
                      <a:pt x="345" y="18"/>
                      <a:pt x="345" y="18"/>
                    </a:cubicBezTo>
                    <a:cubicBezTo>
                      <a:pt x="343" y="17"/>
                      <a:pt x="342" y="17"/>
                      <a:pt x="340" y="17"/>
                    </a:cubicBezTo>
                    <a:cubicBezTo>
                      <a:pt x="337" y="17"/>
                      <a:pt x="333" y="18"/>
                      <a:pt x="330" y="16"/>
                    </a:cubicBezTo>
                    <a:cubicBezTo>
                      <a:pt x="329" y="15"/>
                      <a:pt x="327" y="15"/>
                      <a:pt x="326" y="14"/>
                    </a:cubicBezTo>
                    <a:cubicBezTo>
                      <a:pt x="325" y="14"/>
                      <a:pt x="324" y="13"/>
                      <a:pt x="323" y="13"/>
                    </a:cubicBezTo>
                    <a:cubicBezTo>
                      <a:pt x="322" y="13"/>
                      <a:pt x="320" y="14"/>
                      <a:pt x="318" y="13"/>
                    </a:cubicBezTo>
                    <a:cubicBezTo>
                      <a:pt x="318" y="13"/>
                      <a:pt x="320" y="12"/>
                      <a:pt x="320" y="11"/>
                    </a:cubicBezTo>
                    <a:cubicBezTo>
                      <a:pt x="318" y="10"/>
                      <a:pt x="316" y="10"/>
                      <a:pt x="315" y="10"/>
                    </a:cubicBezTo>
                    <a:cubicBezTo>
                      <a:pt x="312" y="10"/>
                      <a:pt x="308" y="9"/>
                      <a:pt x="305" y="9"/>
                    </a:cubicBezTo>
                    <a:cubicBezTo>
                      <a:pt x="304" y="9"/>
                      <a:pt x="302" y="10"/>
                      <a:pt x="301" y="10"/>
                    </a:cubicBezTo>
                    <a:cubicBezTo>
                      <a:pt x="300" y="10"/>
                      <a:pt x="298" y="10"/>
                      <a:pt x="297" y="11"/>
                    </a:cubicBezTo>
                    <a:cubicBezTo>
                      <a:pt x="300" y="12"/>
                      <a:pt x="304" y="12"/>
                      <a:pt x="308" y="14"/>
                    </a:cubicBezTo>
                    <a:cubicBezTo>
                      <a:pt x="306" y="13"/>
                      <a:pt x="305" y="13"/>
                      <a:pt x="303" y="13"/>
                    </a:cubicBezTo>
                    <a:cubicBezTo>
                      <a:pt x="301" y="13"/>
                      <a:pt x="299" y="13"/>
                      <a:pt x="296" y="13"/>
                    </a:cubicBezTo>
                    <a:cubicBezTo>
                      <a:pt x="292" y="13"/>
                      <a:pt x="288" y="12"/>
                      <a:pt x="284" y="12"/>
                    </a:cubicBezTo>
                    <a:cubicBezTo>
                      <a:pt x="283" y="12"/>
                      <a:pt x="280" y="12"/>
                      <a:pt x="281" y="13"/>
                    </a:cubicBezTo>
                    <a:cubicBezTo>
                      <a:pt x="282" y="14"/>
                      <a:pt x="284" y="14"/>
                      <a:pt x="285" y="15"/>
                    </a:cubicBezTo>
                    <a:cubicBezTo>
                      <a:pt x="286" y="15"/>
                      <a:pt x="287" y="16"/>
                      <a:pt x="288" y="16"/>
                    </a:cubicBezTo>
                    <a:cubicBezTo>
                      <a:pt x="292" y="17"/>
                      <a:pt x="296" y="17"/>
                      <a:pt x="300" y="18"/>
                    </a:cubicBezTo>
                    <a:cubicBezTo>
                      <a:pt x="301" y="18"/>
                      <a:pt x="301" y="18"/>
                      <a:pt x="302" y="18"/>
                    </a:cubicBezTo>
                    <a:cubicBezTo>
                      <a:pt x="299" y="18"/>
                      <a:pt x="297" y="18"/>
                      <a:pt x="294" y="18"/>
                    </a:cubicBezTo>
                    <a:cubicBezTo>
                      <a:pt x="293" y="18"/>
                      <a:pt x="291" y="17"/>
                      <a:pt x="289" y="17"/>
                    </a:cubicBezTo>
                    <a:cubicBezTo>
                      <a:pt x="288" y="17"/>
                      <a:pt x="284" y="18"/>
                      <a:pt x="285" y="17"/>
                    </a:cubicBezTo>
                    <a:cubicBezTo>
                      <a:pt x="279" y="17"/>
                      <a:pt x="273" y="17"/>
                      <a:pt x="267" y="17"/>
                    </a:cubicBezTo>
                    <a:cubicBezTo>
                      <a:pt x="279" y="18"/>
                      <a:pt x="292" y="19"/>
                      <a:pt x="304" y="20"/>
                    </a:cubicBezTo>
                    <a:cubicBezTo>
                      <a:pt x="312" y="21"/>
                      <a:pt x="320" y="22"/>
                      <a:pt x="328" y="22"/>
                    </a:cubicBezTo>
                    <a:cubicBezTo>
                      <a:pt x="331" y="23"/>
                      <a:pt x="335" y="23"/>
                      <a:pt x="337" y="24"/>
                    </a:cubicBezTo>
                    <a:cubicBezTo>
                      <a:pt x="338" y="24"/>
                      <a:pt x="338" y="24"/>
                      <a:pt x="338" y="25"/>
                    </a:cubicBezTo>
                    <a:cubicBezTo>
                      <a:pt x="339" y="26"/>
                      <a:pt x="338" y="26"/>
                      <a:pt x="338" y="26"/>
                    </a:cubicBezTo>
                    <a:cubicBezTo>
                      <a:pt x="337" y="28"/>
                      <a:pt x="339" y="28"/>
                      <a:pt x="340" y="29"/>
                    </a:cubicBezTo>
                    <a:cubicBezTo>
                      <a:pt x="338" y="29"/>
                      <a:pt x="340" y="33"/>
                      <a:pt x="338" y="32"/>
                    </a:cubicBezTo>
                    <a:cubicBezTo>
                      <a:pt x="338" y="31"/>
                      <a:pt x="337" y="31"/>
                      <a:pt x="337" y="31"/>
                    </a:cubicBezTo>
                    <a:cubicBezTo>
                      <a:pt x="336" y="30"/>
                      <a:pt x="337" y="30"/>
                      <a:pt x="337" y="29"/>
                    </a:cubicBezTo>
                    <a:cubicBezTo>
                      <a:pt x="337" y="29"/>
                      <a:pt x="337" y="29"/>
                      <a:pt x="336" y="28"/>
                    </a:cubicBezTo>
                    <a:cubicBezTo>
                      <a:pt x="336" y="28"/>
                      <a:pt x="335" y="27"/>
                      <a:pt x="334" y="27"/>
                    </a:cubicBezTo>
                    <a:cubicBezTo>
                      <a:pt x="333" y="27"/>
                      <a:pt x="332" y="27"/>
                      <a:pt x="332" y="27"/>
                    </a:cubicBezTo>
                    <a:cubicBezTo>
                      <a:pt x="331" y="27"/>
                      <a:pt x="330" y="26"/>
                      <a:pt x="329" y="26"/>
                    </a:cubicBezTo>
                    <a:cubicBezTo>
                      <a:pt x="327" y="24"/>
                      <a:pt x="324" y="23"/>
                      <a:pt x="322" y="23"/>
                    </a:cubicBezTo>
                    <a:cubicBezTo>
                      <a:pt x="321" y="23"/>
                      <a:pt x="319" y="22"/>
                      <a:pt x="319" y="23"/>
                    </a:cubicBezTo>
                    <a:cubicBezTo>
                      <a:pt x="320" y="24"/>
                      <a:pt x="321" y="25"/>
                      <a:pt x="321" y="26"/>
                    </a:cubicBezTo>
                    <a:cubicBezTo>
                      <a:pt x="321" y="26"/>
                      <a:pt x="322" y="30"/>
                      <a:pt x="320" y="29"/>
                    </a:cubicBezTo>
                    <a:cubicBezTo>
                      <a:pt x="320" y="29"/>
                      <a:pt x="319" y="28"/>
                      <a:pt x="319" y="28"/>
                    </a:cubicBezTo>
                    <a:cubicBezTo>
                      <a:pt x="318" y="27"/>
                      <a:pt x="318" y="27"/>
                      <a:pt x="319" y="26"/>
                    </a:cubicBezTo>
                    <a:cubicBezTo>
                      <a:pt x="319" y="25"/>
                      <a:pt x="317" y="22"/>
                      <a:pt x="316" y="22"/>
                    </a:cubicBezTo>
                    <a:cubicBezTo>
                      <a:pt x="312" y="21"/>
                      <a:pt x="309" y="22"/>
                      <a:pt x="305" y="21"/>
                    </a:cubicBezTo>
                    <a:cubicBezTo>
                      <a:pt x="301" y="21"/>
                      <a:pt x="297" y="22"/>
                      <a:pt x="293" y="22"/>
                    </a:cubicBezTo>
                    <a:cubicBezTo>
                      <a:pt x="289" y="22"/>
                      <a:pt x="286" y="22"/>
                      <a:pt x="282" y="21"/>
                    </a:cubicBezTo>
                    <a:cubicBezTo>
                      <a:pt x="282" y="21"/>
                      <a:pt x="282" y="21"/>
                      <a:pt x="282" y="21"/>
                    </a:cubicBezTo>
                    <a:cubicBezTo>
                      <a:pt x="284" y="23"/>
                      <a:pt x="287" y="25"/>
                      <a:pt x="290" y="27"/>
                    </a:cubicBezTo>
                    <a:cubicBezTo>
                      <a:pt x="292" y="29"/>
                      <a:pt x="294" y="30"/>
                      <a:pt x="296" y="31"/>
                    </a:cubicBezTo>
                    <a:cubicBezTo>
                      <a:pt x="297" y="32"/>
                      <a:pt x="298" y="33"/>
                      <a:pt x="298" y="33"/>
                    </a:cubicBezTo>
                    <a:cubicBezTo>
                      <a:pt x="304" y="34"/>
                      <a:pt x="309" y="35"/>
                      <a:pt x="314" y="36"/>
                    </a:cubicBezTo>
                    <a:cubicBezTo>
                      <a:pt x="312" y="36"/>
                      <a:pt x="311" y="35"/>
                      <a:pt x="310" y="35"/>
                    </a:cubicBezTo>
                    <a:cubicBezTo>
                      <a:pt x="308" y="35"/>
                      <a:pt x="307" y="35"/>
                      <a:pt x="305" y="35"/>
                    </a:cubicBezTo>
                    <a:cubicBezTo>
                      <a:pt x="302" y="35"/>
                      <a:pt x="299" y="34"/>
                      <a:pt x="296" y="33"/>
                    </a:cubicBezTo>
                    <a:cubicBezTo>
                      <a:pt x="295" y="33"/>
                      <a:pt x="288" y="33"/>
                      <a:pt x="290" y="35"/>
                    </a:cubicBezTo>
                    <a:cubicBezTo>
                      <a:pt x="290" y="36"/>
                      <a:pt x="291" y="37"/>
                      <a:pt x="292" y="38"/>
                    </a:cubicBezTo>
                    <a:cubicBezTo>
                      <a:pt x="293" y="39"/>
                      <a:pt x="291" y="39"/>
                      <a:pt x="291" y="39"/>
                    </a:cubicBezTo>
                    <a:cubicBezTo>
                      <a:pt x="290" y="41"/>
                      <a:pt x="293" y="44"/>
                      <a:pt x="293" y="46"/>
                    </a:cubicBezTo>
                    <a:cubicBezTo>
                      <a:pt x="292" y="46"/>
                      <a:pt x="291" y="47"/>
                      <a:pt x="290" y="47"/>
                    </a:cubicBezTo>
                    <a:cubicBezTo>
                      <a:pt x="289" y="47"/>
                      <a:pt x="289" y="47"/>
                      <a:pt x="288" y="47"/>
                    </a:cubicBezTo>
                    <a:cubicBezTo>
                      <a:pt x="287" y="46"/>
                      <a:pt x="286" y="47"/>
                      <a:pt x="284" y="46"/>
                    </a:cubicBezTo>
                    <a:cubicBezTo>
                      <a:pt x="283" y="45"/>
                      <a:pt x="282" y="44"/>
                      <a:pt x="281" y="44"/>
                    </a:cubicBezTo>
                    <a:cubicBezTo>
                      <a:pt x="279" y="43"/>
                      <a:pt x="277" y="43"/>
                      <a:pt x="276" y="42"/>
                    </a:cubicBezTo>
                    <a:cubicBezTo>
                      <a:pt x="276" y="42"/>
                      <a:pt x="276" y="41"/>
                      <a:pt x="276" y="41"/>
                    </a:cubicBezTo>
                    <a:cubicBezTo>
                      <a:pt x="276" y="40"/>
                      <a:pt x="276" y="40"/>
                      <a:pt x="275" y="40"/>
                    </a:cubicBezTo>
                    <a:cubicBezTo>
                      <a:pt x="274" y="39"/>
                      <a:pt x="273" y="39"/>
                      <a:pt x="272" y="39"/>
                    </a:cubicBezTo>
                    <a:cubicBezTo>
                      <a:pt x="270" y="38"/>
                      <a:pt x="268" y="38"/>
                      <a:pt x="267" y="38"/>
                    </a:cubicBezTo>
                    <a:cubicBezTo>
                      <a:pt x="265" y="37"/>
                      <a:pt x="264" y="37"/>
                      <a:pt x="262" y="37"/>
                    </a:cubicBezTo>
                    <a:cubicBezTo>
                      <a:pt x="262" y="37"/>
                      <a:pt x="260" y="37"/>
                      <a:pt x="260" y="37"/>
                    </a:cubicBezTo>
                    <a:cubicBezTo>
                      <a:pt x="259" y="37"/>
                      <a:pt x="261" y="36"/>
                      <a:pt x="260" y="36"/>
                    </a:cubicBezTo>
                    <a:cubicBezTo>
                      <a:pt x="259" y="35"/>
                      <a:pt x="258" y="34"/>
                      <a:pt x="256" y="34"/>
                    </a:cubicBezTo>
                    <a:cubicBezTo>
                      <a:pt x="254" y="33"/>
                      <a:pt x="251" y="33"/>
                      <a:pt x="248" y="32"/>
                    </a:cubicBezTo>
                    <a:cubicBezTo>
                      <a:pt x="247" y="32"/>
                      <a:pt x="247" y="31"/>
                      <a:pt x="246" y="30"/>
                    </a:cubicBezTo>
                    <a:cubicBezTo>
                      <a:pt x="245" y="29"/>
                      <a:pt x="243" y="29"/>
                      <a:pt x="242" y="29"/>
                    </a:cubicBezTo>
                    <a:cubicBezTo>
                      <a:pt x="237" y="28"/>
                      <a:pt x="232" y="28"/>
                      <a:pt x="228" y="28"/>
                    </a:cubicBezTo>
                    <a:cubicBezTo>
                      <a:pt x="227" y="28"/>
                      <a:pt x="224" y="28"/>
                      <a:pt x="224" y="29"/>
                    </a:cubicBezTo>
                    <a:cubicBezTo>
                      <a:pt x="224" y="29"/>
                      <a:pt x="224" y="30"/>
                      <a:pt x="224" y="30"/>
                    </a:cubicBezTo>
                    <a:cubicBezTo>
                      <a:pt x="225" y="31"/>
                      <a:pt x="226" y="31"/>
                      <a:pt x="226" y="32"/>
                    </a:cubicBezTo>
                    <a:cubicBezTo>
                      <a:pt x="227" y="33"/>
                      <a:pt x="227" y="34"/>
                      <a:pt x="228" y="36"/>
                    </a:cubicBezTo>
                    <a:cubicBezTo>
                      <a:pt x="228" y="37"/>
                      <a:pt x="229" y="37"/>
                      <a:pt x="230" y="37"/>
                    </a:cubicBezTo>
                    <a:cubicBezTo>
                      <a:pt x="231" y="38"/>
                      <a:pt x="233" y="39"/>
                      <a:pt x="234" y="40"/>
                    </a:cubicBezTo>
                    <a:cubicBezTo>
                      <a:pt x="236" y="41"/>
                      <a:pt x="238" y="41"/>
                      <a:pt x="240" y="43"/>
                    </a:cubicBezTo>
                    <a:cubicBezTo>
                      <a:pt x="241" y="43"/>
                      <a:pt x="239" y="44"/>
                      <a:pt x="238" y="44"/>
                    </a:cubicBezTo>
                    <a:cubicBezTo>
                      <a:pt x="237" y="44"/>
                      <a:pt x="236" y="44"/>
                      <a:pt x="235" y="44"/>
                    </a:cubicBezTo>
                    <a:cubicBezTo>
                      <a:pt x="233" y="43"/>
                      <a:pt x="232" y="43"/>
                      <a:pt x="230" y="43"/>
                    </a:cubicBezTo>
                    <a:cubicBezTo>
                      <a:pt x="229" y="43"/>
                      <a:pt x="226" y="42"/>
                      <a:pt x="224" y="43"/>
                    </a:cubicBezTo>
                    <a:cubicBezTo>
                      <a:pt x="225" y="44"/>
                      <a:pt x="227" y="44"/>
                      <a:pt x="228" y="45"/>
                    </a:cubicBezTo>
                    <a:cubicBezTo>
                      <a:pt x="229" y="45"/>
                      <a:pt x="229" y="46"/>
                      <a:pt x="230" y="47"/>
                    </a:cubicBezTo>
                    <a:cubicBezTo>
                      <a:pt x="232" y="47"/>
                      <a:pt x="234" y="47"/>
                      <a:pt x="235" y="48"/>
                    </a:cubicBezTo>
                    <a:cubicBezTo>
                      <a:pt x="236" y="48"/>
                      <a:pt x="236" y="48"/>
                      <a:pt x="236" y="49"/>
                    </a:cubicBezTo>
                    <a:cubicBezTo>
                      <a:pt x="237" y="49"/>
                      <a:pt x="236" y="49"/>
                      <a:pt x="237" y="49"/>
                    </a:cubicBezTo>
                    <a:cubicBezTo>
                      <a:pt x="237" y="50"/>
                      <a:pt x="238" y="50"/>
                      <a:pt x="238" y="50"/>
                    </a:cubicBezTo>
                    <a:cubicBezTo>
                      <a:pt x="237" y="51"/>
                      <a:pt x="236" y="51"/>
                      <a:pt x="234" y="50"/>
                    </a:cubicBezTo>
                    <a:cubicBezTo>
                      <a:pt x="233" y="50"/>
                      <a:pt x="233" y="48"/>
                      <a:pt x="232" y="48"/>
                    </a:cubicBezTo>
                    <a:cubicBezTo>
                      <a:pt x="231" y="47"/>
                      <a:pt x="229" y="47"/>
                      <a:pt x="228" y="47"/>
                    </a:cubicBezTo>
                    <a:cubicBezTo>
                      <a:pt x="227" y="46"/>
                      <a:pt x="226" y="46"/>
                      <a:pt x="225" y="45"/>
                    </a:cubicBezTo>
                    <a:cubicBezTo>
                      <a:pt x="224" y="45"/>
                      <a:pt x="223" y="45"/>
                      <a:pt x="222" y="44"/>
                    </a:cubicBezTo>
                    <a:cubicBezTo>
                      <a:pt x="221" y="43"/>
                      <a:pt x="219" y="43"/>
                      <a:pt x="218" y="43"/>
                    </a:cubicBezTo>
                    <a:cubicBezTo>
                      <a:pt x="213" y="43"/>
                      <a:pt x="209" y="40"/>
                      <a:pt x="205" y="41"/>
                    </a:cubicBezTo>
                    <a:cubicBezTo>
                      <a:pt x="205" y="41"/>
                      <a:pt x="205" y="41"/>
                      <a:pt x="204" y="41"/>
                    </a:cubicBezTo>
                    <a:cubicBezTo>
                      <a:pt x="205" y="42"/>
                      <a:pt x="201" y="46"/>
                      <a:pt x="200" y="47"/>
                    </a:cubicBezTo>
                    <a:cubicBezTo>
                      <a:pt x="200" y="48"/>
                      <a:pt x="199" y="49"/>
                      <a:pt x="199" y="49"/>
                    </a:cubicBezTo>
                    <a:cubicBezTo>
                      <a:pt x="199" y="50"/>
                      <a:pt x="199" y="50"/>
                      <a:pt x="199" y="50"/>
                    </a:cubicBezTo>
                    <a:cubicBezTo>
                      <a:pt x="199" y="52"/>
                      <a:pt x="198" y="52"/>
                      <a:pt x="199" y="53"/>
                    </a:cubicBezTo>
                    <a:cubicBezTo>
                      <a:pt x="198" y="53"/>
                      <a:pt x="197" y="53"/>
                      <a:pt x="197" y="52"/>
                    </a:cubicBezTo>
                    <a:cubicBezTo>
                      <a:pt x="196" y="52"/>
                      <a:pt x="196" y="49"/>
                      <a:pt x="196" y="49"/>
                    </a:cubicBezTo>
                    <a:cubicBezTo>
                      <a:pt x="197" y="47"/>
                      <a:pt x="198" y="46"/>
                      <a:pt x="199" y="44"/>
                    </a:cubicBezTo>
                    <a:cubicBezTo>
                      <a:pt x="199" y="44"/>
                      <a:pt x="200" y="43"/>
                      <a:pt x="199" y="43"/>
                    </a:cubicBezTo>
                    <a:cubicBezTo>
                      <a:pt x="199" y="42"/>
                      <a:pt x="199" y="42"/>
                      <a:pt x="198" y="41"/>
                    </a:cubicBezTo>
                    <a:cubicBezTo>
                      <a:pt x="198" y="39"/>
                      <a:pt x="199" y="40"/>
                      <a:pt x="197" y="38"/>
                    </a:cubicBezTo>
                    <a:cubicBezTo>
                      <a:pt x="195" y="36"/>
                      <a:pt x="193" y="34"/>
                      <a:pt x="190" y="33"/>
                    </a:cubicBezTo>
                    <a:cubicBezTo>
                      <a:pt x="189" y="32"/>
                      <a:pt x="187" y="32"/>
                      <a:pt x="185" y="33"/>
                    </a:cubicBezTo>
                    <a:cubicBezTo>
                      <a:pt x="183" y="33"/>
                      <a:pt x="181" y="33"/>
                      <a:pt x="179" y="34"/>
                    </a:cubicBezTo>
                    <a:cubicBezTo>
                      <a:pt x="180" y="34"/>
                      <a:pt x="180" y="34"/>
                      <a:pt x="181" y="34"/>
                    </a:cubicBezTo>
                    <a:cubicBezTo>
                      <a:pt x="179" y="35"/>
                      <a:pt x="176" y="34"/>
                      <a:pt x="174" y="34"/>
                    </a:cubicBezTo>
                    <a:cubicBezTo>
                      <a:pt x="173" y="35"/>
                      <a:pt x="171" y="35"/>
                      <a:pt x="170" y="35"/>
                    </a:cubicBezTo>
                    <a:cubicBezTo>
                      <a:pt x="166" y="35"/>
                      <a:pt x="163" y="36"/>
                      <a:pt x="160" y="37"/>
                    </a:cubicBezTo>
                    <a:cubicBezTo>
                      <a:pt x="153" y="38"/>
                      <a:pt x="146" y="39"/>
                      <a:pt x="138" y="41"/>
                    </a:cubicBezTo>
                    <a:cubicBezTo>
                      <a:pt x="149" y="46"/>
                      <a:pt x="159" y="52"/>
                      <a:pt x="169" y="57"/>
                    </a:cubicBezTo>
                    <a:cubicBezTo>
                      <a:pt x="168" y="58"/>
                      <a:pt x="168" y="57"/>
                      <a:pt x="166" y="56"/>
                    </a:cubicBezTo>
                    <a:cubicBezTo>
                      <a:pt x="165" y="56"/>
                      <a:pt x="163" y="56"/>
                      <a:pt x="162" y="55"/>
                    </a:cubicBezTo>
                    <a:cubicBezTo>
                      <a:pt x="161" y="55"/>
                      <a:pt x="162" y="54"/>
                      <a:pt x="162" y="54"/>
                    </a:cubicBezTo>
                    <a:cubicBezTo>
                      <a:pt x="161" y="54"/>
                      <a:pt x="161" y="53"/>
                      <a:pt x="160" y="53"/>
                    </a:cubicBezTo>
                    <a:cubicBezTo>
                      <a:pt x="160" y="53"/>
                      <a:pt x="159" y="53"/>
                      <a:pt x="159" y="53"/>
                    </a:cubicBezTo>
                    <a:cubicBezTo>
                      <a:pt x="158" y="52"/>
                      <a:pt x="158" y="52"/>
                      <a:pt x="158" y="52"/>
                    </a:cubicBezTo>
                    <a:cubicBezTo>
                      <a:pt x="157" y="51"/>
                      <a:pt x="155" y="51"/>
                      <a:pt x="154" y="51"/>
                    </a:cubicBezTo>
                    <a:cubicBezTo>
                      <a:pt x="153" y="51"/>
                      <a:pt x="151" y="50"/>
                      <a:pt x="150" y="50"/>
                    </a:cubicBezTo>
                    <a:cubicBezTo>
                      <a:pt x="149" y="50"/>
                      <a:pt x="147" y="49"/>
                      <a:pt x="146" y="49"/>
                    </a:cubicBezTo>
                    <a:cubicBezTo>
                      <a:pt x="145" y="48"/>
                      <a:pt x="147" y="47"/>
                      <a:pt x="146" y="47"/>
                    </a:cubicBezTo>
                    <a:cubicBezTo>
                      <a:pt x="145" y="46"/>
                      <a:pt x="146" y="45"/>
                      <a:pt x="144" y="44"/>
                    </a:cubicBezTo>
                    <a:cubicBezTo>
                      <a:pt x="143" y="44"/>
                      <a:pt x="141" y="44"/>
                      <a:pt x="139" y="44"/>
                    </a:cubicBezTo>
                    <a:cubicBezTo>
                      <a:pt x="136" y="44"/>
                      <a:pt x="133" y="45"/>
                      <a:pt x="131" y="45"/>
                    </a:cubicBezTo>
                    <a:cubicBezTo>
                      <a:pt x="127" y="46"/>
                      <a:pt x="123" y="46"/>
                      <a:pt x="119" y="47"/>
                    </a:cubicBezTo>
                    <a:cubicBezTo>
                      <a:pt x="117" y="47"/>
                      <a:pt x="120" y="50"/>
                      <a:pt x="121" y="51"/>
                    </a:cubicBezTo>
                    <a:cubicBezTo>
                      <a:pt x="123" y="52"/>
                      <a:pt x="123" y="52"/>
                      <a:pt x="122" y="54"/>
                    </a:cubicBezTo>
                    <a:cubicBezTo>
                      <a:pt x="121" y="55"/>
                      <a:pt x="120" y="56"/>
                      <a:pt x="120" y="57"/>
                    </a:cubicBezTo>
                    <a:cubicBezTo>
                      <a:pt x="120" y="57"/>
                      <a:pt x="121" y="58"/>
                      <a:pt x="121" y="58"/>
                    </a:cubicBezTo>
                    <a:cubicBezTo>
                      <a:pt x="122" y="59"/>
                      <a:pt x="123" y="62"/>
                      <a:pt x="121" y="63"/>
                    </a:cubicBezTo>
                    <a:cubicBezTo>
                      <a:pt x="121" y="63"/>
                      <a:pt x="120" y="63"/>
                      <a:pt x="120" y="63"/>
                    </a:cubicBezTo>
                    <a:cubicBezTo>
                      <a:pt x="119" y="63"/>
                      <a:pt x="119" y="63"/>
                      <a:pt x="118" y="63"/>
                    </a:cubicBezTo>
                    <a:cubicBezTo>
                      <a:pt x="117" y="64"/>
                      <a:pt x="117" y="64"/>
                      <a:pt x="116" y="63"/>
                    </a:cubicBezTo>
                    <a:cubicBezTo>
                      <a:pt x="114" y="62"/>
                      <a:pt x="112" y="61"/>
                      <a:pt x="111" y="61"/>
                    </a:cubicBezTo>
                    <a:cubicBezTo>
                      <a:pt x="109" y="60"/>
                      <a:pt x="107" y="60"/>
                      <a:pt x="106" y="61"/>
                    </a:cubicBezTo>
                    <a:cubicBezTo>
                      <a:pt x="105" y="61"/>
                      <a:pt x="99" y="61"/>
                      <a:pt x="99" y="62"/>
                    </a:cubicBezTo>
                    <a:cubicBezTo>
                      <a:pt x="98" y="63"/>
                      <a:pt x="99" y="64"/>
                      <a:pt x="100" y="65"/>
                    </a:cubicBezTo>
                    <a:cubicBezTo>
                      <a:pt x="100" y="66"/>
                      <a:pt x="101" y="67"/>
                      <a:pt x="102" y="67"/>
                    </a:cubicBezTo>
                    <a:cubicBezTo>
                      <a:pt x="103" y="68"/>
                      <a:pt x="104" y="70"/>
                      <a:pt x="104" y="71"/>
                    </a:cubicBezTo>
                    <a:cubicBezTo>
                      <a:pt x="103" y="70"/>
                      <a:pt x="102" y="69"/>
                      <a:pt x="101" y="68"/>
                    </a:cubicBezTo>
                    <a:cubicBezTo>
                      <a:pt x="100" y="67"/>
                      <a:pt x="98" y="65"/>
                      <a:pt x="98" y="64"/>
                    </a:cubicBezTo>
                    <a:cubicBezTo>
                      <a:pt x="86" y="69"/>
                      <a:pt x="73" y="74"/>
                      <a:pt x="60" y="79"/>
                    </a:cubicBezTo>
                    <a:cubicBezTo>
                      <a:pt x="59" y="80"/>
                      <a:pt x="57" y="80"/>
                      <a:pt x="57" y="81"/>
                    </a:cubicBezTo>
                    <a:cubicBezTo>
                      <a:pt x="57" y="81"/>
                      <a:pt x="56" y="83"/>
                      <a:pt x="56" y="83"/>
                    </a:cubicBezTo>
                    <a:cubicBezTo>
                      <a:pt x="56" y="83"/>
                      <a:pt x="56" y="84"/>
                      <a:pt x="57" y="84"/>
                    </a:cubicBezTo>
                    <a:cubicBezTo>
                      <a:pt x="57" y="84"/>
                      <a:pt x="56" y="84"/>
                      <a:pt x="57" y="85"/>
                    </a:cubicBezTo>
                    <a:cubicBezTo>
                      <a:pt x="57" y="85"/>
                      <a:pt x="58" y="85"/>
                      <a:pt x="59" y="85"/>
                    </a:cubicBezTo>
                    <a:cubicBezTo>
                      <a:pt x="60" y="86"/>
                      <a:pt x="60" y="86"/>
                      <a:pt x="61" y="87"/>
                    </a:cubicBezTo>
                    <a:cubicBezTo>
                      <a:pt x="61" y="87"/>
                      <a:pt x="60" y="87"/>
                      <a:pt x="61" y="88"/>
                    </a:cubicBezTo>
                    <a:cubicBezTo>
                      <a:pt x="61" y="88"/>
                      <a:pt x="61" y="88"/>
                      <a:pt x="62" y="88"/>
                    </a:cubicBezTo>
                    <a:cubicBezTo>
                      <a:pt x="62" y="88"/>
                      <a:pt x="64" y="88"/>
                      <a:pt x="64" y="88"/>
                    </a:cubicBezTo>
                    <a:cubicBezTo>
                      <a:pt x="66" y="87"/>
                      <a:pt x="67" y="86"/>
                      <a:pt x="68" y="87"/>
                    </a:cubicBezTo>
                    <a:cubicBezTo>
                      <a:pt x="69" y="87"/>
                      <a:pt x="70" y="87"/>
                      <a:pt x="70" y="87"/>
                    </a:cubicBezTo>
                    <a:cubicBezTo>
                      <a:pt x="70" y="88"/>
                      <a:pt x="70" y="88"/>
                      <a:pt x="71" y="89"/>
                    </a:cubicBezTo>
                    <a:cubicBezTo>
                      <a:pt x="72" y="89"/>
                      <a:pt x="74" y="89"/>
                      <a:pt x="75" y="88"/>
                    </a:cubicBezTo>
                    <a:cubicBezTo>
                      <a:pt x="76" y="88"/>
                      <a:pt x="77" y="88"/>
                      <a:pt x="78" y="87"/>
                    </a:cubicBezTo>
                    <a:cubicBezTo>
                      <a:pt x="79" y="87"/>
                      <a:pt x="79" y="87"/>
                      <a:pt x="80" y="87"/>
                    </a:cubicBezTo>
                    <a:cubicBezTo>
                      <a:pt x="84" y="88"/>
                      <a:pt x="86" y="87"/>
                      <a:pt x="89" y="84"/>
                    </a:cubicBezTo>
                    <a:cubicBezTo>
                      <a:pt x="89" y="84"/>
                      <a:pt x="90" y="83"/>
                      <a:pt x="90" y="83"/>
                    </a:cubicBezTo>
                    <a:cubicBezTo>
                      <a:pt x="91" y="84"/>
                      <a:pt x="90" y="84"/>
                      <a:pt x="90" y="85"/>
                    </a:cubicBezTo>
                    <a:cubicBezTo>
                      <a:pt x="91" y="86"/>
                      <a:pt x="93" y="85"/>
                      <a:pt x="94" y="86"/>
                    </a:cubicBezTo>
                    <a:cubicBezTo>
                      <a:pt x="93" y="86"/>
                      <a:pt x="92" y="86"/>
                      <a:pt x="91" y="86"/>
                    </a:cubicBezTo>
                    <a:cubicBezTo>
                      <a:pt x="90" y="86"/>
                      <a:pt x="89" y="87"/>
                      <a:pt x="88" y="87"/>
                    </a:cubicBezTo>
                    <a:cubicBezTo>
                      <a:pt x="86" y="88"/>
                      <a:pt x="83" y="88"/>
                      <a:pt x="81" y="89"/>
                    </a:cubicBezTo>
                    <a:cubicBezTo>
                      <a:pt x="83" y="89"/>
                      <a:pt x="82" y="90"/>
                      <a:pt x="82" y="91"/>
                    </a:cubicBezTo>
                    <a:cubicBezTo>
                      <a:pt x="80" y="93"/>
                      <a:pt x="82" y="93"/>
                      <a:pt x="82" y="95"/>
                    </a:cubicBezTo>
                    <a:cubicBezTo>
                      <a:pt x="82" y="95"/>
                      <a:pt x="83" y="95"/>
                      <a:pt x="83" y="96"/>
                    </a:cubicBezTo>
                    <a:cubicBezTo>
                      <a:pt x="83" y="96"/>
                      <a:pt x="82" y="97"/>
                      <a:pt x="82" y="97"/>
                    </a:cubicBezTo>
                    <a:cubicBezTo>
                      <a:pt x="81" y="100"/>
                      <a:pt x="79" y="102"/>
                      <a:pt x="77" y="105"/>
                    </a:cubicBezTo>
                    <a:cubicBezTo>
                      <a:pt x="76" y="106"/>
                      <a:pt x="75" y="108"/>
                      <a:pt x="72" y="109"/>
                    </a:cubicBezTo>
                    <a:cubicBezTo>
                      <a:pt x="71" y="110"/>
                      <a:pt x="70" y="109"/>
                      <a:pt x="69" y="110"/>
                    </a:cubicBezTo>
                    <a:cubicBezTo>
                      <a:pt x="68" y="110"/>
                      <a:pt x="69" y="109"/>
                      <a:pt x="68" y="109"/>
                    </a:cubicBezTo>
                    <a:cubicBezTo>
                      <a:pt x="68" y="109"/>
                      <a:pt x="67" y="109"/>
                      <a:pt x="67" y="109"/>
                    </a:cubicBezTo>
                    <a:cubicBezTo>
                      <a:pt x="66" y="109"/>
                      <a:pt x="66" y="109"/>
                      <a:pt x="65" y="109"/>
                    </a:cubicBezTo>
                    <a:cubicBezTo>
                      <a:pt x="65" y="109"/>
                      <a:pt x="64" y="109"/>
                      <a:pt x="64" y="109"/>
                    </a:cubicBezTo>
                    <a:cubicBezTo>
                      <a:pt x="64" y="109"/>
                      <a:pt x="64" y="109"/>
                      <a:pt x="64" y="109"/>
                    </a:cubicBezTo>
                    <a:cubicBezTo>
                      <a:pt x="64" y="109"/>
                      <a:pt x="63" y="110"/>
                      <a:pt x="63" y="110"/>
                    </a:cubicBezTo>
                    <a:cubicBezTo>
                      <a:pt x="62" y="110"/>
                      <a:pt x="63" y="109"/>
                      <a:pt x="62" y="109"/>
                    </a:cubicBezTo>
                    <a:cubicBezTo>
                      <a:pt x="62" y="109"/>
                      <a:pt x="61" y="110"/>
                      <a:pt x="60" y="109"/>
                    </a:cubicBezTo>
                    <a:cubicBezTo>
                      <a:pt x="59" y="110"/>
                      <a:pt x="58" y="109"/>
                      <a:pt x="56" y="109"/>
                    </a:cubicBezTo>
                    <a:cubicBezTo>
                      <a:pt x="54" y="109"/>
                      <a:pt x="52" y="110"/>
                      <a:pt x="50" y="110"/>
                    </a:cubicBezTo>
                    <a:cubicBezTo>
                      <a:pt x="50" y="110"/>
                      <a:pt x="50" y="110"/>
                      <a:pt x="50" y="110"/>
                    </a:cubicBezTo>
                    <a:cubicBezTo>
                      <a:pt x="50" y="110"/>
                      <a:pt x="50" y="110"/>
                      <a:pt x="50" y="110"/>
                    </a:cubicBezTo>
                    <a:cubicBezTo>
                      <a:pt x="47" y="111"/>
                      <a:pt x="43" y="112"/>
                      <a:pt x="40" y="113"/>
                    </a:cubicBezTo>
                    <a:cubicBezTo>
                      <a:pt x="38" y="114"/>
                      <a:pt x="41" y="114"/>
                      <a:pt x="42" y="114"/>
                    </a:cubicBezTo>
                    <a:cubicBezTo>
                      <a:pt x="42" y="115"/>
                      <a:pt x="43" y="115"/>
                      <a:pt x="43" y="116"/>
                    </a:cubicBezTo>
                    <a:cubicBezTo>
                      <a:pt x="43" y="116"/>
                      <a:pt x="41" y="116"/>
                      <a:pt x="40" y="116"/>
                    </a:cubicBezTo>
                    <a:cubicBezTo>
                      <a:pt x="36" y="117"/>
                      <a:pt x="32" y="119"/>
                      <a:pt x="28" y="120"/>
                    </a:cubicBezTo>
                    <a:cubicBezTo>
                      <a:pt x="27" y="120"/>
                      <a:pt x="25" y="120"/>
                      <a:pt x="24" y="121"/>
                    </a:cubicBezTo>
                    <a:cubicBezTo>
                      <a:pt x="23" y="121"/>
                      <a:pt x="23" y="121"/>
                      <a:pt x="22" y="121"/>
                    </a:cubicBezTo>
                    <a:cubicBezTo>
                      <a:pt x="20" y="121"/>
                      <a:pt x="18" y="121"/>
                      <a:pt x="16" y="121"/>
                    </a:cubicBezTo>
                    <a:cubicBezTo>
                      <a:pt x="13" y="122"/>
                      <a:pt x="9" y="122"/>
                      <a:pt x="5" y="123"/>
                    </a:cubicBezTo>
                    <a:cubicBezTo>
                      <a:pt x="3" y="123"/>
                      <a:pt x="5" y="124"/>
                      <a:pt x="4" y="124"/>
                    </a:cubicBezTo>
                    <a:cubicBezTo>
                      <a:pt x="4" y="124"/>
                      <a:pt x="4" y="125"/>
                      <a:pt x="4" y="125"/>
                    </a:cubicBezTo>
                    <a:cubicBezTo>
                      <a:pt x="5" y="125"/>
                      <a:pt x="3" y="126"/>
                      <a:pt x="3" y="126"/>
                    </a:cubicBezTo>
                    <a:cubicBezTo>
                      <a:pt x="2" y="127"/>
                      <a:pt x="2" y="127"/>
                      <a:pt x="2" y="127"/>
                    </a:cubicBezTo>
                    <a:cubicBezTo>
                      <a:pt x="1" y="129"/>
                      <a:pt x="1" y="130"/>
                      <a:pt x="0" y="131"/>
                    </a:cubicBezTo>
                    <a:cubicBezTo>
                      <a:pt x="4" y="132"/>
                      <a:pt x="8" y="134"/>
                      <a:pt x="13" y="135"/>
                    </a:cubicBezTo>
                    <a:cubicBezTo>
                      <a:pt x="14" y="136"/>
                      <a:pt x="16" y="136"/>
                      <a:pt x="18" y="137"/>
                    </a:cubicBezTo>
                    <a:cubicBezTo>
                      <a:pt x="19" y="137"/>
                      <a:pt x="17" y="139"/>
                      <a:pt x="18" y="139"/>
                    </a:cubicBezTo>
                    <a:cubicBezTo>
                      <a:pt x="18" y="140"/>
                      <a:pt x="22" y="139"/>
                      <a:pt x="23" y="139"/>
                    </a:cubicBezTo>
                    <a:cubicBezTo>
                      <a:pt x="26" y="139"/>
                      <a:pt x="28" y="138"/>
                      <a:pt x="31" y="138"/>
                    </a:cubicBezTo>
                    <a:cubicBezTo>
                      <a:pt x="30" y="139"/>
                      <a:pt x="29" y="138"/>
                      <a:pt x="28" y="139"/>
                    </a:cubicBezTo>
                    <a:cubicBezTo>
                      <a:pt x="27" y="139"/>
                      <a:pt x="25" y="140"/>
                      <a:pt x="24" y="141"/>
                    </a:cubicBezTo>
                    <a:cubicBezTo>
                      <a:pt x="26" y="141"/>
                      <a:pt x="28" y="142"/>
                      <a:pt x="30" y="142"/>
                    </a:cubicBezTo>
                    <a:cubicBezTo>
                      <a:pt x="32" y="141"/>
                      <a:pt x="34" y="140"/>
                      <a:pt x="36" y="140"/>
                    </a:cubicBezTo>
                    <a:cubicBezTo>
                      <a:pt x="36" y="140"/>
                      <a:pt x="36" y="141"/>
                      <a:pt x="36" y="141"/>
                    </a:cubicBezTo>
                    <a:cubicBezTo>
                      <a:pt x="35" y="141"/>
                      <a:pt x="35" y="142"/>
                      <a:pt x="34" y="142"/>
                    </a:cubicBezTo>
                    <a:cubicBezTo>
                      <a:pt x="34" y="142"/>
                      <a:pt x="35" y="143"/>
                      <a:pt x="36" y="144"/>
                    </a:cubicBezTo>
                    <a:cubicBezTo>
                      <a:pt x="36" y="143"/>
                      <a:pt x="37" y="143"/>
                      <a:pt x="38" y="143"/>
                    </a:cubicBezTo>
                    <a:cubicBezTo>
                      <a:pt x="39" y="143"/>
                      <a:pt x="41" y="144"/>
                      <a:pt x="41" y="146"/>
                    </a:cubicBezTo>
                    <a:cubicBezTo>
                      <a:pt x="41" y="146"/>
                      <a:pt x="40" y="146"/>
                      <a:pt x="40" y="146"/>
                    </a:cubicBezTo>
                    <a:cubicBezTo>
                      <a:pt x="41" y="146"/>
                      <a:pt x="41" y="146"/>
                      <a:pt x="42" y="146"/>
                    </a:cubicBezTo>
                    <a:cubicBezTo>
                      <a:pt x="42" y="146"/>
                      <a:pt x="44" y="146"/>
                      <a:pt x="44" y="145"/>
                    </a:cubicBezTo>
                    <a:cubicBezTo>
                      <a:pt x="46" y="144"/>
                      <a:pt x="45" y="144"/>
                      <a:pt x="45" y="142"/>
                    </a:cubicBezTo>
                    <a:cubicBezTo>
                      <a:pt x="46" y="144"/>
                      <a:pt x="47" y="145"/>
                      <a:pt x="49" y="145"/>
                    </a:cubicBezTo>
                    <a:cubicBezTo>
                      <a:pt x="50" y="145"/>
                      <a:pt x="52" y="145"/>
                      <a:pt x="53" y="145"/>
                    </a:cubicBezTo>
                    <a:cubicBezTo>
                      <a:pt x="55" y="145"/>
                      <a:pt x="57" y="145"/>
                      <a:pt x="59" y="144"/>
                    </a:cubicBezTo>
                    <a:cubicBezTo>
                      <a:pt x="61" y="143"/>
                      <a:pt x="64" y="143"/>
                      <a:pt x="67" y="143"/>
                    </a:cubicBezTo>
                    <a:cubicBezTo>
                      <a:pt x="68" y="143"/>
                      <a:pt x="70" y="143"/>
                      <a:pt x="71" y="145"/>
                    </a:cubicBezTo>
                    <a:cubicBezTo>
                      <a:pt x="72" y="148"/>
                      <a:pt x="67" y="147"/>
                      <a:pt x="66" y="147"/>
                    </a:cubicBezTo>
                    <a:cubicBezTo>
                      <a:pt x="67" y="148"/>
                      <a:pt x="68" y="149"/>
                      <a:pt x="69" y="149"/>
                    </a:cubicBezTo>
                    <a:cubicBezTo>
                      <a:pt x="69" y="150"/>
                      <a:pt x="70" y="151"/>
                      <a:pt x="69" y="151"/>
                    </a:cubicBezTo>
                    <a:cubicBezTo>
                      <a:pt x="67" y="151"/>
                      <a:pt x="65" y="148"/>
                      <a:pt x="63" y="148"/>
                    </a:cubicBezTo>
                    <a:cubicBezTo>
                      <a:pt x="61" y="148"/>
                      <a:pt x="58" y="148"/>
                      <a:pt x="56" y="148"/>
                    </a:cubicBezTo>
                    <a:cubicBezTo>
                      <a:pt x="53" y="148"/>
                      <a:pt x="51" y="148"/>
                      <a:pt x="48" y="148"/>
                    </a:cubicBezTo>
                    <a:cubicBezTo>
                      <a:pt x="46" y="148"/>
                      <a:pt x="42" y="149"/>
                      <a:pt x="41" y="151"/>
                    </a:cubicBezTo>
                    <a:cubicBezTo>
                      <a:pt x="43" y="151"/>
                      <a:pt x="45" y="151"/>
                      <a:pt x="47" y="152"/>
                    </a:cubicBezTo>
                    <a:cubicBezTo>
                      <a:pt x="49" y="152"/>
                      <a:pt x="51" y="151"/>
                      <a:pt x="53" y="151"/>
                    </a:cubicBezTo>
                    <a:cubicBezTo>
                      <a:pt x="55" y="152"/>
                      <a:pt x="57" y="152"/>
                      <a:pt x="60" y="152"/>
                    </a:cubicBezTo>
                    <a:cubicBezTo>
                      <a:pt x="61" y="153"/>
                      <a:pt x="62" y="153"/>
                      <a:pt x="64" y="153"/>
                    </a:cubicBezTo>
                    <a:cubicBezTo>
                      <a:pt x="66" y="153"/>
                      <a:pt x="68" y="152"/>
                      <a:pt x="70" y="152"/>
                    </a:cubicBezTo>
                    <a:cubicBezTo>
                      <a:pt x="70" y="153"/>
                      <a:pt x="69" y="153"/>
                      <a:pt x="68" y="153"/>
                    </a:cubicBezTo>
                    <a:cubicBezTo>
                      <a:pt x="67" y="153"/>
                      <a:pt x="68" y="154"/>
                      <a:pt x="68" y="154"/>
                    </a:cubicBezTo>
                    <a:cubicBezTo>
                      <a:pt x="67" y="154"/>
                      <a:pt x="67" y="153"/>
                      <a:pt x="67" y="153"/>
                    </a:cubicBezTo>
                    <a:cubicBezTo>
                      <a:pt x="66" y="153"/>
                      <a:pt x="65" y="153"/>
                      <a:pt x="65" y="153"/>
                    </a:cubicBezTo>
                    <a:cubicBezTo>
                      <a:pt x="63" y="154"/>
                      <a:pt x="60" y="153"/>
                      <a:pt x="58" y="153"/>
                    </a:cubicBezTo>
                    <a:cubicBezTo>
                      <a:pt x="56" y="153"/>
                      <a:pt x="54" y="152"/>
                      <a:pt x="52" y="152"/>
                    </a:cubicBezTo>
                    <a:cubicBezTo>
                      <a:pt x="49" y="152"/>
                      <a:pt x="47" y="153"/>
                      <a:pt x="44" y="152"/>
                    </a:cubicBezTo>
                    <a:cubicBezTo>
                      <a:pt x="40" y="152"/>
                      <a:pt x="36" y="151"/>
                      <a:pt x="32" y="151"/>
                    </a:cubicBezTo>
                    <a:cubicBezTo>
                      <a:pt x="29" y="151"/>
                      <a:pt x="27" y="151"/>
                      <a:pt x="25" y="152"/>
                    </a:cubicBezTo>
                    <a:cubicBezTo>
                      <a:pt x="23" y="152"/>
                      <a:pt x="24" y="153"/>
                      <a:pt x="22" y="153"/>
                    </a:cubicBezTo>
                    <a:cubicBezTo>
                      <a:pt x="21" y="153"/>
                      <a:pt x="20" y="153"/>
                      <a:pt x="19" y="153"/>
                    </a:cubicBezTo>
                    <a:cubicBezTo>
                      <a:pt x="19" y="153"/>
                      <a:pt x="17" y="155"/>
                      <a:pt x="17" y="156"/>
                    </a:cubicBezTo>
                    <a:cubicBezTo>
                      <a:pt x="17" y="157"/>
                      <a:pt x="19" y="157"/>
                      <a:pt x="20" y="158"/>
                    </a:cubicBezTo>
                    <a:cubicBezTo>
                      <a:pt x="19" y="156"/>
                      <a:pt x="23" y="157"/>
                      <a:pt x="24" y="158"/>
                    </a:cubicBezTo>
                    <a:cubicBezTo>
                      <a:pt x="23" y="158"/>
                      <a:pt x="22" y="159"/>
                      <a:pt x="23" y="160"/>
                    </a:cubicBezTo>
                    <a:cubicBezTo>
                      <a:pt x="23" y="161"/>
                      <a:pt x="24" y="160"/>
                      <a:pt x="25" y="160"/>
                    </a:cubicBezTo>
                    <a:cubicBezTo>
                      <a:pt x="26" y="161"/>
                      <a:pt x="27" y="160"/>
                      <a:pt x="28" y="160"/>
                    </a:cubicBezTo>
                    <a:cubicBezTo>
                      <a:pt x="31" y="158"/>
                      <a:pt x="33" y="156"/>
                      <a:pt x="36" y="156"/>
                    </a:cubicBezTo>
                    <a:cubicBezTo>
                      <a:pt x="35" y="157"/>
                      <a:pt x="34" y="157"/>
                      <a:pt x="33" y="157"/>
                    </a:cubicBezTo>
                    <a:cubicBezTo>
                      <a:pt x="32" y="158"/>
                      <a:pt x="31" y="160"/>
                      <a:pt x="31" y="161"/>
                    </a:cubicBezTo>
                    <a:cubicBezTo>
                      <a:pt x="31" y="162"/>
                      <a:pt x="35" y="162"/>
                      <a:pt x="36" y="162"/>
                    </a:cubicBezTo>
                    <a:cubicBezTo>
                      <a:pt x="38" y="163"/>
                      <a:pt x="40" y="163"/>
                      <a:pt x="42" y="163"/>
                    </a:cubicBezTo>
                    <a:cubicBezTo>
                      <a:pt x="45" y="164"/>
                      <a:pt x="48" y="163"/>
                      <a:pt x="51" y="163"/>
                    </a:cubicBezTo>
                    <a:cubicBezTo>
                      <a:pt x="51" y="163"/>
                      <a:pt x="51" y="163"/>
                      <a:pt x="51" y="163"/>
                    </a:cubicBezTo>
                    <a:cubicBezTo>
                      <a:pt x="51" y="164"/>
                      <a:pt x="52" y="165"/>
                      <a:pt x="50" y="165"/>
                    </a:cubicBezTo>
                    <a:cubicBezTo>
                      <a:pt x="49" y="165"/>
                      <a:pt x="47" y="165"/>
                      <a:pt x="46" y="165"/>
                    </a:cubicBezTo>
                    <a:cubicBezTo>
                      <a:pt x="43" y="164"/>
                      <a:pt x="43" y="166"/>
                      <a:pt x="40" y="167"/>
                    </a:cubicBezTo>
                    <a:cubicBezTo>
                      <a:pt x="39" y="168"/>
                      <a:pt x="38" y="168"/>
                      <a:pt x="37" y="168"/>
                    </a:cubicBezTo>
                    <a:cubicBezTo>
                      <a:pt x="37" y="168"/>
                      <a:pt x="36" y="168"/>
                      <a:pt x="36" y="168"/>
                    </a:cubicBezTo>
                    <a:cubicBezTo>
                      <a:pt x="35" y="169"/>
                      <a:pt x="35" y="169"/>
                      <a:pt x="36" y="170"/>
                    </a:cubicBezTo>
                    <a:cubicBezTo>
                      <a:pt x="37" y="171"/>
                      <a:pt x="38" y="171"/>
                      <a:pt x="39" y="171"/>
                    </a:cubicBezTo>
                    <a:cubicBezTo>
                      <a:pt x="40" y="172"/>
                      <a:pt x="42" y="173"/>
                      <a:pt x="44" y="174"/>
                    </a:cubicBezTo>
                    <a:cubicBezTo>
                      <a:pt x="45" y="175"/>
                      <a:pt x="46" y="176"/>
                      <a:pt x="48" y="176"/>
                    </a:cubicBezTo>
                    <a:cubicBezTo>
                      <a:pt x="49" y="176"/>
                      <a:pt x="50" y="176"/>
                      <a:pt x="51" y="176"/>
                    </a:cubicBezTo>
                    <a:cubicBezTo>
                      <a:pt x="57" y="177"/>
                      <a:pt x="62" y="178"/>
                      <a:pt x="67" y="179"/>
                    </a:cubicBezTo>
                    <a:cubicBezTo>
                      <a:pt x="67" y="177"/>
                      <a:pt x="62" y="177"/>
                      <a:pt x="61" y="176"/>
                    </a:cubicBezTo>
                    <a:cubicBezTo>
                      <a:pt x="61" y="176"/>
                      <a:pt x="61" y="175"/>
                      <a:pt x="61" y="175"/>
                    </a:cubicBezTo>
                    <a:cubicBezTo>
                      <a:pt x="61" y="175"/>
                      <a:pt x="61" y="174"/>
                      <a:pt x="61" y="174"/>
                    </a:cubicBezTo>
                    <a:cubicBezTo>
                      <a:pt x="60" y="173"/>
                      <a:pt x="60" y="172"/>
                      <a:pt x="62" y="172"/>
                    </a:cubicBezTo>
                    <a:cubicBezTo>
                      <a:pt x="63" y="172"/>
                      <a:pt x="64" y="173"/>
                      <a:pt x="65" y="173"/>
                    </a:cubicBezTo>
                    <a:cubicBezTo>
                      <a:pt x="65" y="173"/>
                      <a:pt x="64" y="173"/>
                      <a:pt x="64" y="173"/>
                    </a:cubicBezTo>
                    <a:cubicBezTo>
                      <a:pt x="65" y="174"/>
                      <a:pt x="67" y="176"/>
                      <a:pt x="68" y="175"/>
                    </a:cubicBezTo>
                    <a:cubicBezTo>
                      <a:pt x="68" y="175"/>
                      <a:pt x="68" y="174"/>
                      <a:pt x="68" y="174"/>
                    </a:cubicBezTo>
                    <a:cubicBezTo>
                      <a:pt x="69" y="173"/>
                      <a:pt x="69" y="172"/>
                      <a:pt x="70" y="172"/>
                    </a:cubicBezTo>
                    <a:cubicBezTo>
                      <a:pt x="71" y="171"/>
                      <a:pt x="75" y="171"/>
                      <a:pt x="76" y="172"/>
                    </a:cubicBezTo>
                    <a:cubicBezTo>
                      <a:pt x="76" y="173"/>
                      <a:pt x="75" y="173"/>
                      <a:pt x="74" y="173"/>
                    </a:cubicBezTo>
                    <a:cubicBezTo>
                      <a:pt x="74" y="173"/>
                      <a:pt x="75" y="173"/>
                      <a:pt x="75" y="173"/>
                    </a:cubicBezTo>
                    <a:cubicBezTo>
                      <a:pt x="72" y="174"/>
                      <a:pt x="76" y="176"/>
                      <a:pt x="77" y="176"/>
                    </a:cubicBezTo>
                    <a:cubicBezTo>
                      <a:pt x="79" y="177"/>
                      <a:pt x="79" y="176"/>
                      <a:pt x="80" y="176"/>
                    </a:cubicBezTo>
                    <a:cubicBezTo>
                      <a:pt x="82" y="176"/>
                      <a:pt x="84" y="176"/>
                      <a:pt x="85" y="175"/>
                    </a:cubicBezTo>
                    <a:cubicBezTo>
                      <a:pt x="86" y="175"/>
                      <a:pt x="86" y="174"/>
                      <a:pt x="86" y="174"/>
                    </a:cubicBezTo>
                    <a:cubicBezTo>
                      <a:pt x="85" y="175"/>
                      <a:pt x="86" y="174"/>
                      <a:pt x="86" y="174"/>
                    </a:cubicBezTo>
                    <a:cubicBezTo>
                      <a:pt x="86" y="174"/>
                      <a:pt x="86" y="173"/>
                      <a:pt x="86" y="173"/>
                    </a:cubicBezTo>
                    <a:cubicBezTo>
                      <a:pt x="86" y="173"/>
                      <a:pt x="87" y="173"/>
                      <a:pt x="87" y="173"/>
                    </a:cubicBezTo>
                    <a:cubicBezTo>
                      <a:pt x="88" y="172"/>
                      <a:pt x="89" y="172"/>
                      <a:pt x="89" y="171"/>
                    </a:cubicBezTo>
                    <a:cubicBezTo>
                      <a:pt x="89" y="171"/>
                      <a:pt x="90" y="171"/>
                      <a:pt x="90" y="172"/>
                    </a:cubicBezTo>
                    <a:cubicBezTo>
                      <a:pt x="90" y="172"/>
                      <a:pt x="91" y="174"/>
                      <a:pt x="92" y="174"/>
                    </a:cubicBezTo>
                    <a:cubicBezTo>
                      <a:pt x="93" y="175"/>
                      <a:pt x="93" y="174"/>
                      <a:pt x="94" y="174"/>
                    </a:cubicBezTo>
                    <a:cubicBezTo>
                      <a:pt x="95" y="174"/>
                      <a:pt x="95" y="173"/>
                      <a:pt x="96" y="173"/>
                    </a:cubicBezTo>
                    <a:cubicBezTo>
                      <a:pt x="103" y="173"/>
                      <a:pt x="110" y="174"/>
                      <a:pt x="118" y="174"/>
                    </a:cubicBezTo>
                    <a:cubicBezTo>
                      <a:pt x="120" y="174"/>
                      <a:pt x="122" y="174"/>
                      <a:pt x="124" y="174"/>
                    </a:cubicBezTo>
                    <a:cubicBezTo>
                      <a:pt x="124" y="174"/>
                      <a:pt x="124" y="175"/>
                      <a:pt x="125" y="175"/>
                    </a:cubicBezTo>
                    <a:cubicBezTo>
                      <a:pt x="126" y="176"/>
                      <a:pt x="128" y="176"/>
                      <a:pt x="129" y="176"/>
                    </a:cubicBezTo>
                    <a:cubicBezTo>
                      <a:pt x="135" y="177"/>
                      <a:pt x="140" y="180"/>
                      <a:pt x="146" y="182"/>
                    </a:cubicBezTo>
                    <a:cubicBezTo>
                      <a:pt x="146" y="182"/>
                      <a:pt x="151" y="184"/>
                      <a:pt x="148" y="184"/>
                    </a:cubicBezTo>
                    <a:cubicBezTo>
                      <a:pt x="149" y="184"/>
                      <a:pt x="150" y="184"/>
                      <a:pt x="150" y="185"/>
                    </a:cubicBezTo>
                    <a:cubicBezTo>
                      <a:pt x="150" y="185"/>
                      <a:pt x="149" y="185"/>
                      <a:pt x="149" y="186"/>
                    </a:cubicBezTo>
                    <a:cubicBezTo>
                      <a:pt x="150" y="187"/>
                      <a:pt x="152" y="186"/>
                      <a:pt x="152" y="188"/>
                    </a:cubicBezTo>
                    <a:cubicBezTo>
                      <a:pt x="152" y="189"/>
                      <a:pt x="151" y="189"/>
                      <a:pt x="150" y="189"/>
                    </a:cubicBezTo>
                    <a:cubicBezTo>
                      <a:pt x="149" y="189"/>
                      <a:pt x="147" y="190"/>
                      <a:pt x="147" y="191"/>
                    </a:cubicBezTo>
                    <a:cubicBezTo>
                      <a:pt x="148" y="191"/>
                      <a:pt x="150" y="190"/>
                      <a:pt x="151" y="190"/>
                    </a:cubicBezTo>
                    <a:cubicBezTo>
                      <a:pt x="151" y="190"/>
                      <a:pt x="150" y="190"/>
                      <a:pt x="150" y="191"/>
                    </a:cubicBezTo>
                    <a:cubicBezTo>
                      <a:pt x="150" y="191"/>
                      <a:pt x="150" y="191"/>
                      <a:pt x="150" y="191"/>
                    </a:cubicBezTo>
                    <a:cubicBezTo>
                      <a:pt x="150" y="191"/>
                      <a:pt x="150" y="192"/>
                      <a:pt x="150" y="191"/>
                    </a:cubicBezTo>
                    <a:cubicBezTo>
                      <a:pt x="150" y="192"/>
                      <a:pt x="149" y="191"/>
                      <a:pt x="150" y="192"/>
                    </a:cubicBezTo>
                    <a:cubicBezTo>
                      <a:pt x="150" y="193"/>
                      <a:pt x="152" y="193"/>
                      <a:pt x="153" y="194"/>
                    </a:cubicBezTo>
                    <a:cubicBezTo>
                      <a:pt x="156" y="195"/>
                      <a:pt x="157" y="198"/>
                      <a:pt x="159" y="199"/>
                    </a:cubicBezTo>
                    <a:cubicBezTo>
                      <a:pt x="160" y="199"/>
                      <a:pt x="160" y="200"/>
                      <a:pt x="161" y="200"/>
                    </a:cubicBezTo>
                    <a:cubicBezTo>
                      <a:pt x="161" y="200"/>
                      <a:pt x="162" y="200"/>
                      <a:pt x="162" y="200"/>
                    </a:cubicBezTo>
                    <a:cubicBezTo>
                      <a:pt x="164" y="200"/>
                      <a:pt x="164" y="201"/>
                      <a:pt x="165" y="201"/>
                    </a:cubicBezTo>
                    <a:cubicBezTo>
                      <a:pt x="166" y="201"/>
                      <a:pt x="165" y="202"/>
                      <a:pt x="164" y="202"/>
                    </a:cubicBezTo>
                    <a:cubicBezTo>
                      <a:pt x="163" y="203"/>
                      <a:pt x="164" y="202"/>
                      <a:pt x="163" y="202"/>
                    </a:cubicBezTo>
                    <a:cubicBezTo>
                      <a:pt x="162" y="202"/>
                      <a:pt x="161" y="202"/>
                      <a:pt x="162" y="203"/>
                    </a:cubicBezTo>
                    <a:cubicBezTo>
                      <a:pt x="163" y="204"/>
                      <a:pt x="164" y="204"/>
                      <a:pt x="165" y="204"/>
                    </a:cubicBezTo>
                    <a:cubicBezTo>
                      <a:pt x="165" y="204"/>
                      <a:pt x="166" y="205"/>
                      <a:pt x="166" y="205"/>
                    </a:cubicBezTo>
                    <a:cubicBezTo>
                      <a:pt x="167" y="205"/>
                      <a:pt x="168" y="205"/>
                      <a:pt x="168" y="205"/>
                    </a:cubicBezTo>
                    <a:cubicBezTo>
                      <a:pt x="168" y="205"/>
                      <a:pt x="169" y="205"/>
                      <a:pt x="169" y="205"/>
                    </a:cubicBezTo>
                    <a:cubicBezTo>
                      <a:pt x="167" y="206"/>
                      <a:pt x="169" y="207"/>
                      <a:pt x="170" y="207"/>
                    </a:cubicBezTo>
                    <a:cubicBezTo>
                      <a:pt x="171" y="207"/>
                      <a:pt x="171" y="207"/>
                      <a:pt x="172" y="207"/>
                    </a:cubicBezTo>
                    <a:cubicBezTo>
                      <a:pt x="172" y="208"/>
                      <a:pt x="171" y="209"/>
                      <a:pt x="171" y="209"/>
                    </a:cubicBezTo>
                    <a:cubicBezTo>
                      <a:pt x="169" y="209"/>
                      <a:pt x="167" y="209"/>
                      <a:pt x="166" y="209"/>
                    </a:cubicBezTo>
                    <a:cubicBezTo>
                      <a:pt x="167" y="210"/>
                      <a:pt x="168" y="210"/>
                      <a:pt x="170" y="210"/>
                    </a:cubicBezTo>
                    <a:cubicBezTo>
                      <a:pt x="170" y="210"/>
                      <a:pt x="172" y="209"/>
                      <a:pt x="172" y="210"/>
                    </a:cubicBezTo>
                    <a:cubicBezTo>
                      <a:pt x="172" y="211"/>
                      <a:pt x="167" y="211"/>
                      <a:pt x="167" y="211"/>
                    </a:cubicBezTo>
                    <a:cubicBezTo>
                      <a:pt x="168" y="212"/>
                      <a:pt x="169" y="212"/>
                      <a:pt x="171" y="212"/>
                    </a:cubicBezTo>
                    <a:cubicBezTo>
                      <a:pt x="170" y="213"/>
                      <a:pt x="168" y="213"/>
                      <a:pt x="168" y="214"/>
                    </a:cubicBezTo>
                    <a:cubicBezTo>
                      <a:pt x="167" y="214"/>
                      <a:pt x="166" y="214"/>
                      <a:pt x="165" y="214"/>
                    </a:cubicBezTo>
                    <a:cubicBezTo>
                      <a:pt x="164" y="214"/>
                      <a:pt x="164" y="215"/>
                      <a:pt x="163" y="215"/>
                    </a:cubicBezTo>
                    <a:cubicBezTo>
                      <a:pt x="163" y="215"/>
                      <a:pt x="162" y="214"/>
                      <a:pt x="162" y="215"/>
                    </a:cubicBezTo>
                    <a:cubicBezTo>
                      <a:pt x="162" y="215"/>
                      <a:pt x="159" y="216"/>
                      <a:pt x="162" y="216"/>
                    </a:cubicBezTo>
                    <a:cubicBezTo>
                      <a:pt x="164" y="216"/>
                      <a:pt x="167" y="216"/>
                      <a:pt x="168" y="215"/>
                    </a:cubicBezTo>
                    <a:cubicBezTo>
                      <a:pt x="169" y="214"/>
                      <a:pt x="170" y="214"/>
                      <a:pt x="171" y="214"/>
                    </a:cubicBezTo>
                    <a:cubicBezTo>
                      <a:pt x="172" y="213"/>
                      <a:pt x="172" y="212"/>
                      <a:pt x="172" y="213"/>
                    </a:cubicBezTo>
                    <a:cubicBezTo>
                      <a:pt x="173" y="213"/>
                      <a:pt x="171" y="214"/>
                      <a:pt x="171" y="215"/>
                    </a:cubicBezTo>
                    <a:cubicBezTo>
                      <a:pt x="171" y="216"/>
                      <a:pt x="171" y="217"/>
                      <a:pt x="170" y="217"/>
                    </a:cubicBezTo>
                    <a:cubicBezTo>
                      <a:pt x="171" y="217"/>
                      <a:pt x="173" y="217"/>
                      <a:pt x="174" y="218"/>
                    </a:cubicBezTo>
                    <a:cubicBezTo>
                      <a:pt x="174" y="218"/>
                      <a:pt x="172" y="218"/>
                      <a:pt x="173" y="219"/>
                    </a:cubicBezTo>
                    <a:cubicBezTo>
                      <a:pt x="173" y="219"/>
                      <a:pt x="175" y="220"/>
                      <a:pt x="176" y="220"/>
                    </a:cubicBezTo>
                    <a:cubicBezTo>
                      <a:pt x="179" y="221"/>
                      <a:pt x="176" y="221"/>
                      <a:pt x="175" y="221"/>
                    </a:cubicBezTo>
                    <a:cubicBezTo>
                      <a:pt x="175" y="223"/>
                      <a:pt x="177" y="223"/>
                      <a:pt x="177" y="224"/>
                    </a:cubicBezTo>
                    <a:cubicBezTo>
                      <a:pt x="176" y="224"/>
                      <a:pt x="176" y="223"/>
                      <a:pt x="175" y="223"/>
                    </a:cubicBezTo>
                    <a:cubicBezTo>
                      <a:pt x="174" y="223"/>
                      <a:pt x="175" y="224"/>
                      <a:pt x="174" y="224"/>
                    </a:cubicBezTo>
                    <a:cubicBezTo>
                      <a:pt x="174" y="224"/>
                      <a:pt x="175" y="224"/>
                      <a:pt x="175" y="224"/>
                    </a:cubicBezTo>
                    <a:cubicBezTo>
                      <a:pt x="175" y="225"/>
                      <a:pt x="174" y="225"/>
                      <a:pt x="173" y="225"/>
                    </a:cubicBezTo>
                    <a:cubicBezTo>
                      <a:pt x="175" y="226"/>
                      <a:pt x="176" y="226"/>
                      <a:pt x="178" y="227"/>
                    </a:cubicBezTo>
                    <a:cubicBezTo>
                      <a:pt x="179" y="228"/>
                      <a:pt x="179" y="229"/>
                      <a:pt x="180" y="229"/>
                    </a:cubicBezTo>
                    <a:cubicBezTo>
                      <a:pt x="181" y="229"/>
                      <a:pt x="181" y="230"/>
                      <a:pt x="182" y="230"/>
                    </a:cubicBezTo>
                    <a:cubicBezTo>
                      <a:pt x="184" y="230"/>
                      <a:pt x="182" y="230"/>
                      <a:pt x="181" y="230"/>
                    </a:cubicBezTo>
                    <a:cubicBezTo>
                      <a:pt x="181" y="231"/>
                      <a:pt x="181" y="231"/>
                      <a:pt x="180" y="231"/>
                    </a:cubicBezTo>
                    <a:cubicBezTo>
                      <a:pt x="180" y="231"/>
                      <a:pt x="180" y="232"/>
                      <a:pt x="180" y="232"/>
                    </a:cubicBezTo>
                    <a:cubicBezTo>
                      <a:pt x="180" y="232"/>
                      <a:pt x="180" y="233"/>
                      <a:pt x="180" y="233"/>
                    </a:cubicBezTo>
                    <a:cubicBezTo>
                      <a:pt x="180" y="233"/>
                      <a:pt x="184" y="234"/>
                      <a:pt x="181" y="234"/>
                    </a:cubicBezTo>
                    <a:cubicBezTo>
                      <a:pt x="181" y="234"/>
                      <a:pt x="180" y="234"/>
                      <a:pt x="180" y="234"/>
                    </a:cubicBezTo>
                    <a:cubicBezTo>
                      <a:pt x="179" y="235"/>
                      <a:pt x="180" y="235"/>
                      <a:pt x="180" y="235"/>
                    </a:cubicBezTo>
                    <a:cubicBezTo>
                      <a:pt x="179" y="236"/>
                      <a:pt x="178" y="235"/>
                      <a:pt x="177" y="236"/>
                    </a:cubicBezTo>
                    <a:cubicBezTo>
                      <a:pt x="176" y="237"/>
                      <a:pt x="179" y="237"/>
                      <a:pt x="180" y="237"/>
                    </a:cubicBezTo>
                    <a:cubicBezTo>
                      <a:pt x="180" y="237"/>
                      <a:pt x="181" y="237"/>
                      <a:pt x="182" y="237"/>
                    </a:cubicBezTo>
                    <a:cubicBezTo>
                      <a:pt x="183" y="237"/>
                      <a:pt x="184" y="236"/>
                      <a:pt x="184" y="237"/>
                    </a:cubicBezTo>
                    <a:cubicBezTo>
                      <a:pt x="186" y="238"/>
                      <a:pt x="186" y="237"/>
                      <a:pt x="187" y="240"/>
                    </a:cubicBezTo>
                    <a:cubicBezTo>
                      <a:pt x="187" y="242"/>
                      <a:pt x="186" y="242"/>
                      <a:pt x="185" y="242"/>
                    </a:cubicBezTo>
                    <a:cubicBezTo>
                      <a:pt x="186" y="242"/>
                      <a:pt x="186" y="243"/>
                      <a:pt x="187" y="243"/>
                    </a:cubicBezTo>
                    <a:cubicBezTo>
                      <a:pt x="188" y="243"/>
                      <a:pt x="188" y="242"/>
                      <a:pt x="188" y="242"/>
                    </a:cubicBezTo>
                    <a:cubicBezTo>
                      <a:pt x="190" y="242"/>
                      <a:pt x="188" y="243"/>
                      <a:pt x="187" y="243"/>
                    </a:cubicBezTo>
                    <a:cubicBezTo>
                      <a:pt x="186" y="243"/>
                      <a:pt x="187" y="243"/>
                      <a:pt x="187" y="244"/>
                    </a:cubicBezTo>
                    <a:cubicBezTo>
                      <a:pt x="187" y="244"/>
                      <a:pt x="186" y="244"/>
                      <a:pt x="186" y="244"/>
                    </a:cubicBezTo>
                    <a:cubicBezTo>
                      <a:pt x="186" y="244"/>
                      <a:pt x="185" y="244"/>
                      <a:pt x="186" y="245"/>
                    </a:cubicBezTo>
                    <a:cubicBezTo>
                      <a:pt x="186" y="245"/>
                      <a:pt x="187" y="245"/>
                      <a:pt x="188" y="245"/>
                    </a:cubicBezTo>
                    <a:cubicBezTo>
                      <a:pt x="187" y="246"/>
                      <a:pt x="185" y="245"/>
                      <a:pt x="185" y="246"/>
                    </a:cubicBezTo>
                    <a:cubicBezTo>
                      <a:pt x="184" y="247"/>
                      <a:pt x="184" y="248"/>
                      <a:pt x="186" y="247"/>
                    </a:cubicBezTo>
                    <a:cubicBezTo>
                      <a:pt x="187" y="247"/>
                      <a:pt x="187" y="248"/>
                      <a:pt x="189" y="248"/>
                    </a:cubicBezTo>
                    <a:cubicBezTo>
                      <a:pt x="190" y="248"/>
                      <a:pt x="190" y="247"/>
                      <a:pt x="191" y="248"/>
                    </a:cubicBezTo>
                    <a:cubicBezTo>
                      <a:pt x="190" y="248"/>
                      <a:pt x="188" y="248"/>
                      <a:pt x="187" y="248"/>
                    </a:cubicBezTo>
                    <a:cubicBezTo>
                      <a:pt x="186" y="248"/>
                      <a:pt x="185" y="248"/>
                      <a:pt x="185" y="248"/>
                    </a:cubicBezTo>
                    <a:cubicBezTo>
                      <a:pt x="184" y="248"/>
                      <a:pt x="184" y="248"/>
                      <a:pt x="183" y="248"/>
                    </a:cubicBezTo>
                    <a:cubicBezTo>
                      <a:pt x="182" y="248"/>
                      <a:pt x="180" y="247"/>
                      <a:pt x="179" y="247"/>
                    </a:cubicBezTo>
                    <a:cubicBezTo>
                      <a:pt x="179" y="248"/>
                      <a:pt x="177" y="249"/>
                      <a:pt x="178" y="249"/>
                    </a:cubicBezTo>
                    <a:cubicBezTo>
                      <a:pt x="179" y="249"/>
                      <a:pt x="180" y="249"/>
                      <a:pt x="181" y="249"/>
                    </a:cubicBezTo>
                    <a:cubicBezTo>
                      <a:pt x="180" y="249"/>
                      <a:pt x="181" y="248"/>
                      <a:pt x="181" y="248"/>
                    </a:cubicBezTo>
                    <a:cubicBezTo>
                      <a:pt x="182" y="248"/>
                      <a:pt x="182" y="250"/>
                      <a:pt x="183" y="250"/>
                    </a:cubicBezTo>
                    <a:cubicBezTo>
                      <a:pt x="183" y="250"/>
                      <a:pt x="183" y="250"/>
                      <a:pt x="183" y="250"/>
                    </a:cubicBezTo>
                    <a:cubicBezTo>
                      <a:pt x="184" y="250"/>
                      <a:pt x="184" y="249"/>
                      <a:pt x="185" y="249"/>
                    </a:cubicBezTo>
                    <a:cubicBezTo>
                      <a:pt x="186" y="249"/>
                      <a:pt x="186" y="250"/>
                      <a:pt x="187" y="250"/>
                    </a:cubicBezTo>
                    <a:cubicBezTo>
                      <a:pt x="185" y="250"/>
                      <a:pt x="185" y="250"/>
                      <a:pt x="185" y="251"/>
                    </a:cubicBezTo>
                    <a:cubicBezTo>
                      <a:pt x="185" y="253"/>
                      <a:pt x="184" y="253"/>
                      <a:pt x="183" y="253"/>
                    </a:cubicBezTo>
                    <a:cubicBezTo>
                      <a:pt x="182" y="254"/>
                      <a:pt x="181" y="255"/>
                      <a:pt x="180" y="255"/>
                    </a:cubicBezTo>
                    <a:cubicBezTo>
                      <a:pt x="180" y="256"/>
                      <a:pt x="178" y="257"/>
                      <a:pt x="178" y="257"/>
                    </a:cubicBezTo>
                    <a:cubicBezTo>
                      <a:pt x="181" y="259"/>
                      <a:pt x="184" y="259"/>
                      <a:pt x="187" y="257"/>
                    </a:cubicBezTo>
                    <a:cubicBezTo>
                      <a:pt x="187" y="257"/>
                      <a:pt x="188" y="257"/>
                      <a:pt x="188" y="256"/>
                    </a:cubicBezTo>
                    <a:cubicBezTo>
                      <a:pt x="188" y="256"/>
                      <a:pt x="188" y="255"/>
                      <a:pt x="188" y="255"/>
                    </a:cubicBezTo>
                    <a:cubicBezTo>
                      <a:pt x="189" y="254"/>
                      <a:pt x="189" y="254"/>
                      <a:pt x="190" y="253"/>
                    </a:cubicBezTo>
                    <a:cubicBezTo>
                      <a:pt x="190" y="255"/>
                      <a:pt x="188" y="258"/>
                      <a:pt x="186" y="259"/>
                    </a:cubicBezTo>
                    <a:cubicBezTo>
                      <a:pt x="185" y="259"/>
                      <a:pt x="183" y="259"/>
                      <a:pt x="182" y="259"/>
                    </a:cubicBezTo>
                    <a:cubicBezTo>
                      <a:pt x="180" y="259"/>
                      <a:pt x="180" y="260"/>
                      <a:pt x="181" y="261"/>
                    </a:cubicBezTo>
                    <a:cubicBezTo>
                      <a:pt x="180" y="261"/>
                      <a:pt x="180" y="261"/>
                      <a:pt x="179" y="261"/>
                    </a:cubicBezTo>
                    <a:cubicBezTo>
                      <a:pt x="179" y="261"/>
                      <a:pt x="178" y="262"/>
                      <a:pt x="178" y="262"/>
                    </a:cubicBezTo>
                    <a:cubicBezTo>
                      <a:pt x="178" y="262"/>
                      <a:pt x="177" y="262"/>
                      <a:pt x="176" y="262"/>
                    </a:cubicBezTo>
                    <a:cubicBezTo>
                      <a:pt x="176" y="262"/>
                      <a:pt x="175" y="263"/>
                      <a:pt x="175" y="263"/>
                    </a:cubicBezTo>
                    <a:cubicBezTo>
                      <a:pt x="177" y="265"/>
                      <a:pt x="180" y="266"/>
                      <a:pt x="182" y="267"/>
                    </a:cubicBezTo>
                    <a:cubicBezTo>
                      <a:pt x="183" y="268"/>
                      <a:pt x="185" y="269"/>
                      <a:pt x="187" y="269"/>
                    </a:cubicBezTo>
                    <a:cubicBezTo>
                      <a:pt x="189" y="270"/>
                      <a:pt x="191" y="269"/>
                      <a:pt x="193" y="268"/>
                    </a:cubicBezTo>
                    <a:cubicBezTo>
                      <a:pt x="194" y="268"/>
                      <a:pt x="195" y="268"/>
                      <a:pt x="196" y="267"/>
                    </a:cubicBezTo>
                    <a:cubicBezTo>
                      <a:pt x="196" y="265"/>
                      <a:pt x="195" y="265"/>
                      <a:pt x="194" y="264"/>
                    </a:cubicBezTo>
                    <a:cubicBezTo>
                      <a:pt x="193" y="262"/>
                      <a:pt x="195" y="264"/>
                      <a:pt x="196" y="264"/>
                    </a:cubicBezTo>
                    <a:cubicBezTo>
                      <a:pt x="198" y="264"/>
                      <a:pt x="197" y="263"/>
                      <a:pt x="196" y="262"/>
                    </a:cubicBezTo>
                    <a:cubicBezTo>
                      <a:pt x="197" y="262"/>
                      <a:pt x="200" y="262"/>
                      <a:pt x="200" y="260"/>
                    </a:cubicBezTo>
                    <a:cubicBezTo>
                      <a:pt x="200" y="260"/>
                      <a:pt x="199" y="257"/>
                      <a:pt x="199" y="256"/>
                    </a:cubicBezTo>
                    <a:cubicBezTo>
                      <a:pt x="198" y="255"/>
                      <a:pt x="196" y="255"/>
                      <a:pt x="196" y="254"/>
                    </a:cubicBezTo>
                    <a:cubicBezTo>
                      <a:pt x="196" y="253"/>
                      <a:pt x="196" y="253"/>
                      <a:pt x="196" y="253"/>
                    </a:cubicBezTo>
                    <a:cubicBezTo>
                      <a:pt x="196" y="252"/>
                      <a:pt x="195" y="252"/>
                      <a:pt x="195" y="252"/>
                    </a:cubicBezTo>
                    <a:cubicBezTo>
                      <a:pt x="195" y="251"/>
                      <a:pt x="195" y="251"/>
                      <a:pt x="196" y="250"/>
                    </a:cubicBezTo>
                    <a:cubicBezTo>
                      <a:pt x="197" y="250"/>
                      <a:pt x="198" y="250"/>
                      <a:pt x="199" y="250"/>
                    </a:cubicBezTo>
                    <a:cubicBezTo>
                      <a:pt x="198" y="251"/>
                      <a:pt x="196" y="250"/>
                      <a:pt x="196" y="251"/>
                    </a:cubicBezTo>
                    <a:cubicBezTo>
                      <a:pt x="196" y="251"/>
                      <a:pt x="197" y="254"/>
                      <a:pt x="197" y="254"/>
                    </a:cubicBezTo>
                    <a:cubicBezTo>
                      <a:pt x="198" y="256"/>
                      <a:pt x="200" y="255"/>
                      <a:pt x="201" y="257"/>
                    </a:cubicBezTo>
                    <a:cubicBezTo>
                      <a:pt x="201" y="258"/>
                      <a:pt x="202" y="260"/>
                      <a:pt x="201" y="261"/>
                    </a:cubicBezTo>
                    <a:cubicBezTo>
                      <a:pt x="202" y="261"/>
                      <a:pt x="202" y="261"/>
                      <a:pt x="203" y="261"/>
                    </a:cubicBezTo>
                    <a:cubicBezTo>
                      <a:pt x="203" y="260"/>
                      <a:pt x="204" y="260"/>
                      <a:pt x="204" y="260"/>
                    </a:cubicBezTo>
                    <a:cubicBezTo>
                      <a:pt x="205" y="260"/>
                      <a:pt x="204" y="260"/>
                      <a:pt x="204" y="260"/>
                    </a:cubicBezTo>
                    <a:cubicBezTo>
                      <a:pt x="205" y="259"/>
                      <a:pt x="204" y="259"/>
                      <a:pt x="204" y="259"/>
                    </a:cubicBezTo>
                    <a:cubicBezTo>
                      <a:pt x="204" y="258"/>
                      <a:pt x="205" y="258"/>
                      <a:pt x="205" y="258"/>
                    </a:cubicBezTo>
                    <a:cubicBezTo>
                      <a:pt x="206" y="258"/>
                      <a:pt x="206" y="257"/>
                      <a:pt x="207" y="257"/>
                    </a:cubicBezTo>
                    <a:cubicBezTo>
                      <a:pt x="208" y="257"/>
                      <a:pt x="207" y="258"/>
                      <a:pt x="206" y="258"/>
                    </a:cubicBezTo>
                    <a:cubicBezTo>
                      <a:pt x="206" y="259"/>
                      <a:pt x="206" y="259"/>
                      <a:pt x="205" y="259"/>
                    </a:cubicBezTo>
                    <a:cubicBezTo>
                      <a:pt x="205" y="259"/>
                      <a:pt x="206" y="260"/>
                      <a:pt x="206" y="260"/>
                    </a:cubicBezTo>
                    <a:cubicBezTo>
                      <a:pt x="205" y="261"/>
                      <a:pt x="203" y="261"/>
                      <a:pt x="202" y="263"/>
                    </a:cubicBezTo>
                    <a:cubicBezTo>
                      <a:pt x="203" y="263"/>
                      <a:pt x="205" y="263"/>
                      <a:pt x="207" y="263"/>
                    </a:cubicBezTo>
                    <a:cubicBezTo>
                      <a:pt x="207" y="263"/>
                      <a:pt x="208" y="263"/>
                      <a:pt x="208" y="263"/>
                    </a:cubicBezTo>
                    <a:cubicBezTo>
                      <a:pt x="209" y="263"/>
                      <a:pt x="210" y="264"/>
                      <a:pt x="210" y="264"/>
                    </a:cubicBezTo>
                    <a:cubicBezTo>
                      <a:pt x="212" y="265"/>
                      <a:pt x="213" y="264"/>
                      <a:pt x="214" y="264"/>
                    </a:cubicBezTo>
                    <a:cubicBezTo>
                      <a:pt x="215" y="264"/>
                      <a:pt x="216" y="264"/>
                      <a:pt x="216" y="263"/>
                    </a:cubicBezTo>
                    <a:cubicBezTo>
                      <a:pt x="217" y="263"/>
                      <a:pt x="217" y="262"/>
                      <a:pt x="218" y="262"/>
                    </a:cubicBezTo>
                    <a:cubicBezTo>
                      <a:pt x="218" y="266"/>
                      <a:pt x="214" y="265"/>
                      <a:pt x="212" y="265"/>
                    </a:cubicBezTo>
                    <a:cubicBezTo>
                      <a:pt x="211" y="265"/>
                      <a:pt x="210" y="266"/>
                      <a:pt x="208" y="266"/>
                    </a:cubicBezTo>
                    <a:cubicBezTo>
                      <a:pt x="207" y="266"/>
                      <a:pt x="206" y="267"/>
                      <a:pt x="205" y="268"/>
                    </a:cubicBezTo>
                    <a:cubicBezTo>
                      <a:pt x="210" y="271"/>
                      <a:pt x="214" y="267"/>
                      <a:pt x="219" y="266"/>
                    </a:cubicBezTo>
                    <a:cubicBezTo>
                      <a:pt x="220" y="266"/>
                      <a:pt x="222" y="267"/>
                      <a:pt x="220" y="268"/>
                    </a:cubicBezTo>
                    <a:cubicBezTo>
                      <a:pt x="220" y="268"/>
                      <a:pt x="218" y="268"/>
                      <a:pt x="218" y="268"/>
                    </a:cubicBezTo>
                    <a:cubicBezTo>
                      <a:pt x="216" y="268"/>
                      <a:pt x="213" y="268"/>
                      <a:pt x="212" y="270"/>
                    </a:cubicBezTo>
                    <a:cubicBezTo>
                      <a:pt x="212" y="270"/>
                      <a:pt x="212" y="271"/>
                      <a:pt x="212" y="271"/>
                    </a:cubicBezTo>
                    <a:cubicBezTo>
                      <a:pt x="211" y="272"/>
                      <a:pt x="211" y="272"/>
                      <a:pt x="210" y="272"/>
                    </a:cubicBezTo>
                    <a:cubicBezTo>
                      <a:pt x="209" y="272"/>
                      <a:pt x="209" y="273"/>
                      <a:pt x="211" y="273"/>
                    </a:cubicBezTo>
                    <a:cubicBezTo>
                      <a:pt x="213" y="273"/>
                      <a:pt x="215" y="271"/>
                      <a:pt x="216" y="270"/>
                    </a:cubicBezTo>
                    <a:cubicBezTo>
                      <a:pt x="217" y="269"/>
                      <a:pt x="218" y="269"/>
                      <a:pt x="219" y="270"/>
                    </a:cubicBezTo>
                    <a:cubicBezTo>
                      <a:pt x="220" y="271"/>
                      <a:pt x="219" y="271"/>
                      <a:pt x="218" y="271"/>
                    </a:cubicBezTo>
                    <a:cubicBezTo>
                      <a:pt x="215" y="271"/>
                      <a:pt x="214" y="273"/>
                      <a:pt x="212" y="274"/>
                    </a:cubicBezTo>
                    <a:cubicBezTo>
                      <a:pt x="214" y="275"/>
                      <a:pt x="216" y="273"/>
                      <a:pt x="218" y="274"/>
                    </a:cubicBezTo>
                    <a:cubicBezTo>
                      <a:pt x="219" y="275"/>
                      <a:pt x="221" y="273"/>
                      <a:pt x="223" y="273"/>
                    </a:cubicBezTo>
                    <a:cubicBezTo>
                      <a:pt x="222" y="274"/>
                      <a:pt x="221" y="274"/>
                      <a:pt x="220" y="275"/>
                    </a:cubicBezTo>
                    <a:cubicBezTo>
                      <a:pt x="221" y="276"/>
                      <a:pt x="224" y="276"/>
                      <a:pt x="225" y="276"/>
                    </a:cubicBezTo>
                    <a:cubicBezTo>
                      <a:pt x="225" y="278"/>
                      <a:pt x="221" y="276"/>
                      <a:pt x="220" y="276"/>
                    </a:cubicBezTo>
                    <a:cubicBezTo>
                      <a:pt x="219" y="276"/>
                      <a:pt x="216" y="274"/>
                      <a:pt x="215" y="276"/>
                    </a:cubicBezTo>
                    <a:cubicBezTo>
                      <a:pt x="217" y="277"/>
                      <a:pt x="220" y="277"/>
                      <a:pt x="222" y="278"/>
                    </a:cubicBezTo>
                    <a:cubicBezTo>
                      <a:pt x="223" y="278"/>
                      <a:pt x="223" y="279"/>
                      <a:pt x="224" y="279"/>
                    </a:cubicBezTo>
                    <a:cubicBezTo>
                      <a:pt x="224" y="279"/>
                      <a:pt x="225" y="279"/>
                      <a:pt x="225" y="279"/>
                    </a:cubicBezTo>
                    <a:cubicBezTo>
                      <a:pt x="226" y="279"/>
                      <a:pt x="226" y="278"/>
                      <a:pt x="227" y="279"/>
                    </a:cubicBezTo>
                    <a:cubicBezTo>
                      <a:pt x="227" y="280"/>
                      <a:pt x="228" y="280"/>
                      <a:pt x="228" y="281"/>
                    </a:cubicBezTo>
                    <a:cubicBezTo>
                      <a:pt x="227" y="282"/>
                      <a:pt x="225" y="280"/>
                      <a:pt x="224" y="280"/>
                    </a:cubicBezTo>
                    <a:cubicBezTo>
                      <a:pt x="223" y="280"/>
                      <a:pt x="223" y="280"/>
                      <a:pt x="222" y="280"/>
                    </a:cubicBezTo>
                    <a:cubicBezTo>
                      <a:pt x="222" y="280"/>
                      <a:pt x="222" y="281"/>
                      <a:pt x="222" y="281"/>
                    </a:cubicBezTo>
                    <a:cubicBezTo>
                      <a:pt x="221" y="281"/>
                      <a:pt x="221" y="281"/>
                      <a:pt x="221" y="281"/>
                    </a:cubicBezTo>
                    <a:cubicBezTo>
                      <a:pt x="221" y="281"/>
                      <a:pt x="222" y="282"/>
                      <a:pt x="223" y="282"/>
                    </a:cubicBezTo>
                    <a:cubicBezTo>
                      <a:pt x="223" y="282"/>
                      <a:pt x="224" y="281"/>
                      <a:pt x="224" y="280"/>
                    </a:cubicBezTo>
                    <a:cubicBezTo>
                      <a:pt x="225" y="281"/>
                      <a:pt x="225" y="282"/>
                      <a:pt x="225" y="282"/>
                    </a:cubicBezTo>
                    <a:cubicBezTo>
                      <a:pt x="225" y="282"/>
                      <a:pt x="226" y="282"/>
                      <a:pt x="226" y="282"/>
                    </a:cubicBezTo>
                    <a:cubicBezTo>
                      <a:pt x="227" y="282"/>
                      <a:pt x="228" y="282"/>
                      <a:pt x="229" y="283"/>
                    </a:cubicBezTo>
                    <a:cubicBezTo>
                      <a:pt x="228" y="283"/>
                      <a:pt x="226" y="282"/>
                      <a:pt x="225" y="283"/>
                    </a:cubicBezTo>
                    <a:cubicBezTo>
                      <a:pt x="226" y="283"/>
                      <a:pt x="226" y="283"/>
                      <a:pt x="227" y="283"/>
                    </a:cubicBezTo>
                    <a:cubicBezTo>
                      <a:pt x="227" y="284"/>
                      <a:pt x="227" y="284"/>
                      <a:pt x="228" y="284"/>
                    </a:cubicBezTo>
                    <a:cubicBezTo>
                      <a:pt x="227" y="284"/>
                      <a:pt x="226" y="284"/>
                      <a:pt x="226" y="284"/>
                    </a:cubicBezTo>
                    <a:cubicBezTo>
                      <a:pt x="226" y="284"/>
                      <a:pt x="226" y="285"/>
                      <a:pt x="225" y="285"/>
                    </a:cubicBezTo>
                    <a:cubicBezTo>
                      <a:pt x="225" y="285"/>
                      <a:pt x="224" y="284"/>
                      <a:pt x="224" y="284"/>
                    </a:cubicBezTo>
                    <a:cubicBezTo>
                      <a:pt x="224" y="284"/>
                      <a:pt x="223" y="283"/>
                      <a:pt x="223" y="283"/>
                    </a:cubicBezTo>
                    <a:cubicBezTo>
                      <a:pt x="223" y="283"/>
                      <a:pt x="222" y="284"/>
                      <a:pt x="222" y="284"/>
                    </a:cubicBezTo>
                    <a:cubicBezTo>
                      <a:pt x="222" y="284"/>
                      <a:pt x="222" y="285"/>
                      <a:pt x="223" y="285"/>
                    </a:cubicBezTo>
                    <a:cubicBezTo>
                      <a:pt x="224" y="285"/>
                      <a:pt x="224" y="285"/>
                      <a:pt x="225" y="286"/>
                    </a:cubicBezTo>
                    <a:cubicBezTo>
                      <a:pt x="225" y="286"/>
                      <a:pt x="225" y="286"/>
                      <a:pt x="224" y="286"/>
                    </a:cubicBezTo>
                    <a:cubicBezTo>
                      <a:pt x="225" y="287"/>
                      <a:pt x="227" y="287"/>
                      <a:pt x="228" y="286"/>
                    </a:cubicBezTo>
                    <a:cubicBezTo>
                      <a:pt x="229" y="286"/>
                      <a:pt x="229" y="285"/>
                      <a:pt x="230" y="285"/>
                    </a:cubicBezTo>
                    <a:cubicBezTo>
                      <a:pt x="231" y="285"/>
                      <a:pt x="229" y="287"/>
                      <a:pt x="228" y="287"/>
                    </a:cubicBezTo>
                    <a:cubicBezTo>
                      <a:pt x="229" y="287"/>
                      <a:pt x="230" y="287"/>
                      <a:pt x="230" y="288"/>
                    </a:cubicBezTo>
                    <a:cubicBezTo>
                      <a:pt x="230" y="289"/>
                      <a:pt x="228" y="288"/>
                      <a:pt x="228" y="288"/>
                    </a:cubicBezTo>
                    <a:cubicBezTo>
                      <a:pt x="227" y="288"/>
                      <a:pt x="225" y="288"/>
                      <a:pt x="224" y="288"/>
                    </a:cubicBezTo>
                    <a:cubicBezTo>
                      <a:pt x="222" y="287"/>
                      <a:pt x="220" y="286"/>
                      <a:pt x="218" y="286"/>
                    </a:cubicBezTo>
                    <a:cubicBezTo>
                      <a:pt x="216" y="285"/>
                      <a:pt x="214" y="284"/>
                      <a:pt x="212" y="283"/>
                    </a:cubicBezTo>
                    <a:cubicBezTo>
                      <a:pt x="210" y="282"/>
                      <a:pt x="208" y="281"/>
                      <a:pt x="206" y="281"/>
                    </a:cubicBezTo>
                    <a:cubicBezTo>
                      <a:pt x="204" y="280"/>
                      <a:pt x="203" y="280"/>
                      <a:pt x="201" y="281"/>
                    </a:cubicBezTo>
                    <a:cubicBezTo>
                      <a:pt x="200" y="281"/>
                      <a:pt x="198" y="280"/>
                      <a:pt x="197" y="280"/>
                    </a:cubicBezTo>
                    <a:cubicBezTo>
                      <a:pt x="195" y="280"/>
                      <a:pt x="194" y="279"/>
                      <a:pt x="192" y="280"/>
                    </a:cubicBezTo>
                    <a:cubicBezTo>
                      <a:pt x="191" y="280"/>
                      <a:pt x="190" y="280"/>
                      <a:pt x="189" y="281"/>
                    </a:cubicBezTo>
                    <a:cubicBezTo>
                      <a:pt x="189" y="281"/>
                      <a:pt x="189" y="282"/>
                      <a:pt x="188" y="282"/>
                    </a:cubicBezTo>
                    <a:cubicBezTo>
                      <a:pt x="193" y="285"/>
                      <a:pt x="199" y="287"/>
                      <a:pt x="204" y="289"/>
                    </a:cubicBezTo>
                    <a:cubicBezTo>
                      <a:pt x="207" y="290"/>
                      <a:pt x="211" y="291"/>
                      <a:pt x="214" y="293"/>
                    </a:cubicBezTo>
                    <a:cubicBezTo>
                      <a:pt x="216" y="293"/>
                      <a:pt x="217" y="294"/>
                      <a:pt x="218" y="294"/>
                    </a:cubicBezTo>
                    <a:cubicBezTo>
                      <a:pt x="219" y="294"/>
                      <a:pt x="219" y="294"/>
                      <a:pt x="220" y="294"/>
                    </a:cubicBezTo>
                    <a:cubicBezTo>
                      <a:pt x="221" y="294"/>
                      <a:pt x="221" y="295"/>
                      <a:pt x="222" y="294"/>
                    </a:cubicBezTo>
                    <a:cubicBezTo>
                      <a:pt x="223" y="294"/>
                      <a:pt x="222" y="293"/>
                      <a:pt x="224" y="293"/>
                    </a:cubicBezTo>
                    <a:cubicBezTo>
                      <a:pt x="224" y="293"/>
                      <a:pt x="226" y="293"/>
                      <a:pt x="226" y="294"/>
                    </a:cubicBezTo>
                    <a:cubicBezTo>
                      <a:pt x="226" y="295"/>
                      <a:pt x="224" y="294"/>
                      <a:pt x="225" y="294"/>
                    </a:cubicBezTo>
                    <a:cubicBezTo>
                      <a:pt x="224" y="294"/>
                      <a:pt x="223" y="295"/>
                      <a:pt x="222" y="295"/>
                    </a:cubicBezTo>
                    <a:cubicBezTo>
                      <a:pt x="224" y="295"/>
                      <a:pt x="226" y="295"/>
                      <a:pt x="228" y="295"/>
                    </a:cubicBezTo>
                    <a:cubicBezTo>
                      <a:pt x="229" y="294"/>
                      <a:pt x="230" y="294"/>
                      <a:pt x="230" y="294"/>
                    </a:cubicBezTo>
                    <a:cubicBezTo>
                      <a:pt x="231" y="294"/>
                      <a:pt x="232" y="294"/>
                      <a:pt x="232" y="294"/>
                    </a:cubicBezTo>
                    <a:cubicBezTo>
                      <a:pt x="232" y="294"/>
                      <a:pt x="230" y="295"/>
                      <a:pt x="230" y="295"/>
                    </a:cubicBezTo>
                    <a:cubicBezTo>
                      <a:pt x="229" y="296"/>
                      <a:pt x="231" y="296"/>
                      <a:pt x="231" y="296"/>
                    </a:cubicBezTo>
                    <a:cubicBezTo>
                      <a:pt x="232" y="297"/>
                      <a:pt x="232" y="298"/>
                      <a:pt x="233" y="299"/>
                    </a:cubicBezTo>
                    <a:cubicBezTo>
                      <a:pt x="231" y="300"/>
                      <a:pt x="229" y="300"/>
                      <a:pt x="227" y="300"/>
                    </a:cubicBezTo>
                    <a:cubicBezTo>
                      <a:pt x="229" y="300"/>
                      <a:pt x="231" y="300"/>
                      <a:pt x="231" y="302"/>
                    </a:cubicBezTo>
                    <a:cubicBezTo>
                      <a:pt x="229" y="302"/>
                      <a:pt x="226" y="299"/>
                      <a:pt x="226" y="304"/>
                    </a:cubicBezTo>
                    <a:cubicBezTo>
                      <a:pt x="228" y="303"/>
                      <a:pt x="228" y="304"/>
                      <a:pt x="230" y="304"/>
                    </a:cubicBezTo>
                    <a:cubicBezTo>
                      <a:pt x="230" y="303"/>
                      <a:pt x="230" y="303"/>
                      <a:pt x="231" y="303"/>
                    </a:cubicBezTo>
                    <a:cubicBezTo>
                      <a:pt x="232" y="303"/>
                      <a:pt x="232" y="303"/>
                      <a:pt x="233" y="303"/>
                    </a:cubicBezTo>
                    <a:cubicBezTo>
                      <a:pt x="232" y="303"/>
                      <a:pt x="231" y="303"/>
                      <a:pt x="230" y="304"/>
                    </a:cubicBezTo>
                    <a:cubicBezTo>
                      <a:pt x="229" y="304"/>
                      <a:pt x="229" y="304"/>
                      <a:pt x="228" y="304"/>
                    </a:cubicBezTo>
                    <a:cubicBezTo>
                      <a:pt x="226" y="304"/>
                      <a:pt x="227" y="305"/>
                      <a:pt x="227" y="306"/>
                    </a:cubicBezTo>
                    <a:cubicBezTo>
                      <a:pt x="227" y="307"/>
                      <a:pt x="226" y="308"/>
                      <a:pt x="225" y="309"/>
                    </a:cubicBezTo>
                    <a:cubicBezTo>
                      <a:pt x="226" y="310"/>
                      <a:pt x="227" y="309"/>
                      <a:pt x="228" y="309"/>
                    </a:cubicBezTo>
                    <a:cubicBezTo>
                      <a:pt x="229" y="308"/>
                      <a:pt x="229" y="309"/>
                      <a:pt x="229" y="309"/>
                    </a:cubicBezTo>
                    <a:cubicBezTo>
                      <a:pt x="230" y="308"/>
                      <a:pt x="230" y="307"/>
                      <a:pt x="231" y="307"/>
                    </a:cubicBezTo>
                    <a:cubicBezTo>
                      <a:pt x="231" y="307"/>
                      <a:pt x="230" y="309"/>
                      <a:pt x="231" y="309"/>
                    </a:cubicBezTo>
                    <a:cubicBezTo>
                      <a:pt x="231" y="310"/>
                      <a:pt x="233" y="309"/>
                      <a:pt x="233" y="309"/>
                    </a:cubicBezTo>
                    <a:cubicBezTo>
                      <a:pt x="235" y="309"/>
                      <a:pt x="233" y="310"/>
                      <a:pt x="232" y="310"/>
                    </a:cubicBezTo>
                    <a:cubicBezTo>
                      <a:pt x="231" y="310"/>
                      <a:pt x="230" y="310"/>
                      <a:pt x="228" y="310"/>
                    </a:cubicBezTo>
                    <a:cubicBezTo>
                      <a:pt x="230" y="312"/>
                      <a:pt x="234" y="310"/>
                      <a:pt x="233" y="313"/>
                    </a:cubicBezTo>
                    <a:cubicBezTo>
                      <a:pt x="232" y="311"/>
                      <a:pt x="233" y="312"/>
                      <a:pt x="231" y="312"/>
                    </a:cubicBezTo>
                    <a:cubicBezTo>
                      <a:pt x="230" y="312"/>
                      <a:pt x="232" y="314"/>
                      <a:pt x="232" y="314"/>
                    </a:cubicBezTo>
                    <a:cubicBezTo>
                      <a:pt x="229" y="314"/>
                      <a:pt x="230" y="313"/>
                      <a:pt x="229" y="312"/>
                    </a:cubicBezTo>
                    <a:cubicBezTo>
                      <a:pt x="228" y="311"/>
                      <a:pt x="227" y="312"/>
                      <a:pt x="225" y="312"/>
                    </a:cubicBezTo>
                    <a:cubicBezTo>
                      <a:pt x="226" y="311"/>
                      <a:pt x="226" y="311"/>
                      <a:pt x="227" y="310"/>
                    </a:cubicBezTo>
                    <a:cubicBezTo>
                      <a:pt x="225" y="311"/>
                      <a:pt x="224" y="310"/>
                      <a:pt x="224" y="312"/>
                    </a:cubicBezTo>
                    <a:cubicBezTo>
                      <a:pt x="224" y="313"/>
                      <a:pt x="224" y="313"/>
                      <a:pt x="223" y="315"/>
                    </a:cubicBezTo>
                    <a:cubicBezTo>
                      <a:pt x="224" y="315"/>
                      <a:pt x="225" y="314"/>
                      <a:pt x="225" y="314"/>
                    </a:cubicBezTo>
                    <a:cubicBezTo>
                      <a:pt x="224" y="315"/>
                      <a:pt x="223" y="316"/>
                      <a:pt x="223" y="317"/>
                    </a:cubicBezTo>
                    <a:cubicBezTo>
                      <a:pt x="225" y="318"/>
                      <a:pt x="226" y="315"/>
                      <a:pt x="228" y="316"/>
                    </a:cubicBezTo>
                    <a:cubicBezTo>
                      <a:pt x="228" y="317"/>
                      <a:pt x="227" y="317"/>
                      <a:pt x="226" y="318"/>
                    </a:cubicBezTo>
                    <a:cubicBezTo>
                      <a:pt x="227" y="318"/>
                      <a:pt x="227" y="318"/>
                      <a:pt x="227" y="318"/>
                    </a:cubicBezTo>
                    <a:cubicBezTo>
                      <a:pt x="227" y="320"/>
                      <a:pt x="225" y="318"/>
                      <a:pt x="225" y="318"/>
                    </a:cubicBezTo>
                    <a:cubicBezTo>
                      <a:pt x="224" y="319"/>
                      <a:pt x="225" y="319"/>
                      <a:pt x="225" y="320"/>
                    </a:cubicBezTo>
                    <a:cubicBezTo>
                      <a:pt x="225" y="320"/>
                      <a:pt x="223" y="320"/>
                      <a:pt x="223" y="320"/>
                    </a:cubicBezTo>
                    <a:cubicBezTo>
                      <a:pt x="222" y="320"/>
                      <a:pt x="221" y="320"/>
                      <a:pt x="220" y="321"/>
                    </a:cubicBezTo>
                    <a:cubicBezTo>
                      <a:pt x="220" y="321"/>
                      <a:pt x="220" y="321"/>
                      <a:pt x="220" y="320"/>
                    </a:cubicBezTo>
                    <a:cubicBezTo>
                      <a:pt x="220" y="320"/>
                      <a:pt x="219" y="321"/>
                      <a:pt x="218" y="321"/>
                    </a:cubicBezTo>
                    <a:cubicBezTo>
                      <a:pt x="218" y="321"/>
                      <a:pt x="217" y="321"/>
                      <a:pt x="217" y="321"/>
                    </a:cubicBezTo>
                    <a:cubicBezTo>
                      <a:pt x="216" y="321"/>
                      <a:pt x="216" y="321"/>
                      <a:pt x="215" y="321"/>
                    </a:cubicBezTo>
                    <a:cubicBezTo>
                      <a:pt x="215" y="321"/>
                      <a:pt x="216" y="320"/>
                      <a:pt x="215" y="320"/>
                    </a:cubicBezTo>
                    <a:cubicBezTo>
                      <a:pt x="215" y="320"/>
                      <a:pt x="214" y="320"/>
                      <a:pt x="214" y="320"/>
                    </a:cubicBezTo>
                    <a:cubicBezTo>
                      <a:pt x="213" y="321"/>
                      <a:pt x="213" y="320"/>
                      <a:pt x="212" y="320"/>
                    </a:cubicBezTo>
                    <a:cubicBezTo>
                      <a:pt x="211" y="320"/>
                      <a:pt x="210" y="321"/>
                      <a:pt x="208" y="321"/>
                    </a:cubicBezTo>
                    <a:cubicBezTo>
                      <a:pt x="209" y="321"/>
                      <a:pt x="211" y="321"/>
                      <a:pt x="210" y="322"/>
                    </a:cubicBezTo>
                    <a:cubicBezTo>
                      <a:pt x="210" y="323"/>
                      <a:pt x="208" y="322"/>
                      <a:pt x="207" y="323"/>
                    </a:cubicBezTo>
                    <a:cubicBezTo>
                      <a:pt x="206" y="323"/>
                      <a:pt x="206" y="324"/>
                      <a:pt x="205" y="324"/>
                    </a:cubicBezTo>
                    <a:cubicBezTo>
                      <a:pt x="204" y="325"/>
                      <a:pt x="204" y="325"/>
                      <a:pt x="203" y="324"/>
                    </a:cubicBezTo>
                    <a:cubicBezTo>
                      <a:pt x="202" y="324"/>
                      <a:pt x="200" y="324"/>
                      <a:pt x="201" y="325"/>
                    </a:cubicBezTo>
                    <a:cubicBezTo>
                      <a:pt x="202" y="325"/>
                      <a:pt x="202" y="325"/>
                      <a:pt x="202" y="325"/>
                    </a:cubicBezTo>
                    <a:cubicBezTo>
                      <a:pt x="203" y="325"/>
                      <a:pt x="203" y="325"/>
                      <a:pt x="203" y="325"/>
                    </a:cubicBezTo>
                    <a:cubicBezTo>
                      <a:pt x="205" y="325"/>
                      <a:pt x="207" y="324"/>
                      <a:pt x="209" y="324"/>
                    </a:cubicBezTo>
                    <a:cubicBezTo>
                      <a:pt x="208" y="324"/>
                      <a:pt x="205" y="325"/>
                      <a:pt x="206" y="326"/>
                    </a:cubicBezTo>
                    <a:cubicBezTo>
                      <a:pt x="206" y="327"/>
                      <a:pt x="207" y="327"/>
                      <a:pt x="208" y="326"/>
                    </a:cubicBezTo>
                    <a:cubicBezTo>
                      <a:pt x="208" y="326"/>
                      <a:pt x="207" y="326"/>
                      <a:pt x="207" y="326"/>
                    </a:cubicBezTo>
                    <a:cubicBezTo>
                      <a:pt x="207" y="326"/>
                      <a:pt x="209" y="325"/>
                      <a:pt x="209" y="325"/>
                    </a:cubicBezTo>
                    <a:cubicBezTo>
                      <a:pt x="210" y="325"/>
                      <a:pt x="210" y="327"/>
                      <a:pt x="210" y="327"/>
                    </a:cubicBezTo>
                    <a:cubicBezTo>
                      <a:pt x="211" y="327"/>
                      <a:pt x="213" y="326"/>
                      <a:pt x="214" y="326"/>
                    </a:cubicBezTo>
                    <a:cubicBezTo>
                      <a:pt x="217" y="326"/>
                      <a:pt x="220" y="326"/>
                      <a:pt x="223" y="325"/>
                    </a:cubicBezTo>
                    <a:cubicBezTo>
                      <a:pt x="222" y="324"/>
                      <a:pt x="221" y="324"/>
                      <a:pt x="220" y="324"/>
                    </a:cubicBezTo>
                    <a:cubicBezTo>
                      <a:pt x="220" y="324"/>
                      <a:pt x="219" y="323"/>
                      <a:pt x="218" y="323"/>
                    </a:cubicBezTo>
                    <a:cubicBezTo>
                      <a:pt x="220" y="323"/>
                      <a:pt x="222" y="323"/>
                      <a:pt x="224" y="323"/>
                    </a:cubicBezTo>
                    <a:cubicBezTo>
                      <a:pt x="225" y="322"/>
                      <a:pt x="226" y="321"/>
                      <a:pt x="227" y="322"/>
                    </a:cubicBezTo>
                    <a:cubicBezTo>
                      <a:pt x="226" y="323"/>
                      <a:pt x="224" y="325"/>
                      <a:pt x="223" y="326"/>
                    </a:cubicBezTo>
                    <a:cubicBezTo>
                      <a:pt x="224" y="327"/>
                      <a:pt x="225" y="326"/>
                      <a:pt x="225" y="327"/>
                    </a:cubicBezTo>
                    <a:cubicBezTo>
                      <a:pt x="224" y="327"/>
                      <a:pt x="222" y="326"/>
                      <a:pt x="221" y="327"/>
                    </a:cubicBezTo>
                    <a:cubicBezTo>
                      <a:pt x="222" y="328"/>
                      <a:pt x="224" y="329"/>
                      <a:pt x="225" y="328"/>
                    </a:cubicBezTo>
                    <a:cubicBezTo>
                      <a:pt x="225" y="329"/>
                      <a:pt x="226" y="329"/>
                      <a:pt x="227" y="330"/>
                    </a:cubicBezTo>
                    <a:cubicBezTo>
                      <a:pt x="227" y="330"/>
                      <a:pt x="228" y="330"/>
                      <a:pt x="228" y="330"/>
                    </a:cubicBezTo>
                    <a:cubicBezTo>
                      <a:pt x="228" y="330"/>
                      <a:pt x="228" y="330"/>
                      <a:pt x="229" y="330"/>
                    </a:cubicBezTo>
                    <a:cubicBezTo>
                      <a:pt x="229" y="330"/>
                      <a:pt x="229" y="330"/>
                      <a:pt x="229" y="330"/>
                    </a:cubicBezTo>
                    <a:cubicBezTo>
                      <a:pt x="230" y="330"/>
                      <a:pt x="229" y="331"/>
                      <a:pt x="230" y="331"/>
                    </a:cubicBezTo>
                    <a:cubicBezTo>
                      <a:pt x="231" y="331"/>
                      <a:pt x="232" y="331"/>
                      <a:pt x="234" y="331"/>
                    </a:cubicBezTo>
                    <a:cubicBezTo>
                      <a:pt x="231" y="331"/>
                      <a:pt x="228" y="331"/>
                      <a:pt x="226" y="330"/>
                    </a:cubicBezTo>
                    <a:cubicBezTo>
                      <a:pt x="225" y="330"/>
                      <a:pt x="224" y="329"/>
                      <a:pt x="223" y="329"/>
                    </a:cubicBezTo>
                    <a:cubicBezTo>
                      <a:pt x="222" y="329"/>
                      <a:pt x="221" y="329"/>
                      <a:pt x="220" y="329"/>
                    </a:cubicBezTo>
                    <a:cubicBezTo>
                      <a:pt x="218" y="329"/>
                      <a:pt x="216" y="330"/>
                      <a:pt x="213" y="329"/>
                    </a:cubicBezTo>
                    <a:cubicBezTo>
                      <a:pt x="212" y="328"/>
                      <a:pt x="211" y="328"/>
                      <a:pt x="210" y="328"/>
                    </a:cubicBezTo>
                    <a:cubicBezTo>
                      <a:pt x="209" y="327"/>
                      <a:pt x="208" y="327"/>
                      <a:pt x="207" y="327"/>
                    </a:cubicBezTo>
                    <a:cubicBezTo>
                      <a:pt x="208" y="328"/>
                      <a:pt x="208" y="328"/>
                      <a:pt x="209" y="328"/>
                    </a:cubicBezTo>
                    <a:cubicBezTo>
                      <a:pt x="209" y="328"/>
                      <a:pt x="210" y="329"/>
                      <a:pt x="211" y="329"/>
                    </a:cubicBezTo>
                    <a:cubicBezTo>
                      <a:pt x="207" y="328"/>
                      <a:pt x="205" y="327"/>
                      <a:pt x="202" y="327"/>
                    </a:cubicBezTo>
                    <a:cubicBezTo>
                      <a:pt x="202" y="328"/>
                      <a:pt x="202" y="327"/>
                      <a:pt x="203" y="328"/>
                    </a:cubicBezTo>
                    <a:cubicBezTo>
                      <a:pt x="203" y="328"/>
                      <a:pt x="203" y="327"/>
                      <a:pt x="204" y="327"/>
                    </a:cubicBezTo>
                    <a:cubicBezTo>
                      <a:pt x="204" y="327"/>
                      <a:pt x="204" y="328"/>
                      <a:pt x="204" y="328"/>
                    </a:cubicBezTo>
                    <a:cubicBezTo>
                      <a:pt x="204" y="329"/>
                      <a:pt x="206" y="330"/>
                      <a:pt x="206" y="330"/>
                    </a:cubicBezTo>
                    <a:cubicBezTo>
                      <a:pt x="208" y="331"/>
                      <a:pt x="212" y="331"/>
                      <a:pt x="214" y="331"/>
                    </a:cubicBezTo>
                    <a:cubicBezTo>
                      <a:pt x="212" y="332"/>
                      <a:pt x="209" y="331"/>
                      <a:pt x="207" y="331"/>
                    </a:cubicBezTo>
                    <a:cubicBezTo>
                      <a:pt x="206" y="330"/>
                      <a:pt x="204" y="329"/>
                      <a:pt x="203" y="329"/>
                    </a:cubicBezTo>
                    <a:cubicBezTo>
                      <a:pt x="202" y="330"/>
                      <a:pt x="205" y="331"/>
                      <a:pt x="206" y="331"/>
                    </a:cubicBezTo>
                    <a:cubicBezTo>
                      <a:pt x="205" y="331"/>
                      <a:pt x="203" y="331"/>
                      <a:pt x="202" y="331"/>
                    </a:cubicBezTo>
                    <a:cubicBezTo>
                      <a:pt x="202" y="332"/>
                      <a:pt x="203" y="332"/>
                      <a:pt x="204" y="332"/>
                    </a:cubicBezTo>
                    <a:cubicBezTo>
                      <a:pt x="203" y="333"/>
                      <a:pt x="202" y="333"/>
                      <a:pt x="201" y="333"/>
                    </a:cubicBezTo>
                    <a:cubicBezTo>
                      <a:pt x="201" y="333"/>
                      <a:pt x="201" y="332"/>
                      <a:pt x="201" y="332"/>
                    </a:cubicBezTo>
                    <a:cubicBezTo>
                      <a:pt x="199" y="332"/>
                      <a:pt x="201" y="334"/>
                      <a:pt x="202" y="333"/>
                    </a:cubicBezTo>
                    <a:cubicBezTo>
                      <a:pt x="201" y="334"/>
                      <a:pt x="199" y="334"/>
                      <a:pt x="200" y="333"/>
                    </a:cubicBezTo>
                    <a:cubicBezTo>
                      <a:pt x="199" y="333"/>
                      <a:pt x="198" y="334"/>
                      <a:pt x="198" y="334"/>
                    </a:cubicBezTo>
                    <a:cubicBezTo>
                      <a:pt x="198" y="334"/>
                      <a:pt x="199" y="334"/>
                      <a:pt x="199" y="335"/>
                    </a:cubicBezTo>
                    <a:cubicBezTo>
                      <a:pt x="199" y="336"/>
                      <a:pt x="199" y="338"/>
                      <a:pt x="199" y="339"/>
                    </a:cubicBezTo>
                    <a:cubicBezTo>
                      <a:pt x="200" y="338"/>
                      <a:pt x="202" y="337"/>
                      <a:pt x="203" y="336"/>
                    </a:cubicBezTo>
                    <a:cubicBezTo>
                      <a:pt x="205" y="334"/>
                      <a:pt x="206" y="334"/>
                      <a:pt x="208" y="334"/>
                    </a:cubicBezTo>
                    <a:cubicBezTo>
                      <a:pt x="210" y="334"/>
                      <a:pt x="212" y="332"/>
                      <a:pt x="214" y="332"/>
                    </a:cubicBezTo>
                    <a:cubicBezTo>
                      <a:pt x="215" y="332"/>
                      <a:pt x="215" y="332"/>
                      <a:pt x="216" y="332"/>
                    </a:cubicBezTo>
                    <a:cubicBezTo>
                      <a:pt x="217" y="331"/>
                      <a:pt x="218" y="331"/>
                      <a:pt x="219" y="331"/>
                    </a:cubicBezTo>
                    <a:cubicBezTo>
                      <a:pt x="218" y="332"/>
                      <a:pt x="216" y="333"/>
                      <a:pt x="215" y="335"/>
                    </a:cubicBezTo>
                    <a:cubicBezTo>
                      <a:pt x="216" y="335"/>
                      <a:pt x="219" y="333"/>
                      <a:pt x="218" y="335"/>
                    </a:cubicBezTo>
                    <a:cubicBezTo>
                      <a:pt x="219" y="334"/>
                      <a:pt x="220" y="335"/>
                      <a:pt x="221" y="335"/>
                    </a:cubicBezTo>
                    <a:cubicBezTo>
                      <a:pt x="223" y="334"/>
                      <a:pt x="220" y="332"/>
                      <a:pt x="219" y="332"/>
                    </a:cubicBezTo>
                    <a:cubicBezTo>
                      <a:pt x="220" y="331"/>
                      <a:pt x="223" y="330"/>
                      <a:pt x="225" y="331"/>
                    </a:cubicBezTo>
                    <a:cubicBezTo>
                      <a:pt x="224" y="331"/>
                      <a:pt x="225" y="332"/>
                      <a:pt x="225" y="332"/>
                    </a:cubicBezTo>
                    <a:cubicBezTo>
                      <a:pt x="225" y="333"/>
                      <a:pt x="225" y="334"/>
                      <a:pt x="225" y="334"/>
                    </a:cubicBezTo>
                    <a:cubicBezTo>
                      <a:pt x="225" y="334"/>
                      <a:pt x="226" y="334"/>
                      <a:pt x="227" y="334"/>
                    </a:cubicBezTo>
                    <a:cubicBezTo>
                      <a:pt x="227" y="334"/>
                      <a:pt x="228" y="333"/>
                      <a:pt x="229" y="333"/>
                    </a:cubicBezTo>
                    <a:cubicBezTo>
                      <a:pt x="229" y="333"/>
                      <a:pt x="230" y="332"/>
                      <a:pt x="231" y="332"/>
                    </a:cubicBezTo>
                    <a:cubicBezTo>
                      <a:pt x="231" y="332"/>
                      <a:pt x="231" y="333"/>
                      <a:pt x="231" y="333"/>
                    </a:cubicBezTo>
                    <a:cubicBezTo>
                      <a:pt x="232" y="333"/>
                      <a:pt x="232" y="333"/>
                      <a:pt x="232" y="333"/>
                    </a:cubicBezTo>
                    <a:cubicBezTo>
                      <a:pt x="231" y="335"/>
                      <a:pt x="227" y="336"/>
                      <a:pt x="225" y="337"/>
                    </a:cubicBezTo>
                    <a:cubicBezTo>
                      <a:pt x="228" y="337"/>
                      <a:pt x="229" y="335"/>
                      <a:pt x="232" y="335"/>
                    </a:cubicBezTo>
                    <a:cubicBezTo>
                      <a:pt x="233" y="335"/>
                      <a:pt x="234" y="335"/>
                      <a:pt x="236" y="336"/>
                    </a:cubicBezTo>
                    <a:cubicBezTo>
                      <a:pt x="234" y="337"/>
                      <a:pt x="232" y="337"/>
                      <a:pt x="230" y="338"/>
                    </a:cubicBezTo>
                    <a:cubicBezTo>
                      <a:pt x="228" y="338"/>
                      <a:pt x="226" y="338"/>
                      <a:pt x="224" y="337"/>
                    </a:cubicBezTo>
                    <a:cubicBezTo>
                      <a:pt x="223" y="337"/>
                      <a:pt x="222" y="336"/>
                      <a:pt x="221" y="336"/>
                    </a:cubicBezTo>
                    <a:cubicBezTo>
                      <a:pt x="218" y="336"/>
                      <a:pt x="214" y="336"/>
                      <a:pt x="211" y="335"/>
                    </a:cubicBezTo>
                    <a:cubicBezTo>
                      <a:pt x="209" y="334"/>
                      <a:pt x="209" y="335"/>
                      <a:pt x="207" y="335"/>
                    </a:cubicBezTo>
                    <a:cubicBezTo>
                      <a:pt x="204" y="337"/>
                      <a:pt x="200" y="339"/>
                      <a:pt x="197" y="341"/>
                    </a:cubicBezTo>
                    <a:cubicBezTo>
                      <a:pt x="195" y="342"/>
                      <a:pt x="195" y="344"/>
                      <a:pt x="197" y="344"/>
                    </a:cubicBezTo>
                    <a:cubicBezTo>
                      <a:pt x="198" y="344"/>
                      <a:pt x="199" y="343"/>
                      <a:pt x="200" y="343"/>
                    </a:cubicBezTo>
                    <a:cubicBezTo>
                      <a:pt x="201" y="343"/>
                      <a:pt x="201" y="343"/>
                      <a:pt x="201" y="343"/>
                    </a:cubicBezTo>
                    <a:cubicBezTo>
                      <a:pt x="202" y="343"/>
                      <a:pt x="202" y="342"/>
                      <a:pt x="202" y="342"/>
                    </a:cubicBezTo>
                    <a:cubicBezTo>
                      <a:pt x="203" y="342"/>
                      <a:pt x="203" y="343"/>
                      <a:pt x="204" y="343"/>
                    </a:cubicBezTo>
                    <a:cubicBezTo>
                      <a:pt x="204" y="343"/>
                      <a:pt x="205" y="342"/>
                      <a:pt x="205" y="342"/>
                    </a:cubicBezTo>
                    <a:cubicBezTo>
                      <a:pt x="207" y="342"/>
                      <a:pt x="209" y="341"/>
                      <a:pt x="211" y="341"/>
                    </a:cubicBezTo>
                    <a:cubicBezTo>
                      <a:pt x="212" y="341"/>
                      <a:pt x="213" y="341"/>
                      <a:pt x="214" y="341"/>
                    </a:cubicBezTo>
                    <a:cubicBezTo>
                      <a:pt x="215" y="341"/>
                      <a:pt x="215" y="341"/>
                      <a:pt x="216" y="341"/>
                    </a:cubicBezTo>
                    <a:cubicBezTo>
                      <a:pt x="217" y="341"/>
                      <a:pt x="218" y="341"/>
                      <a:pt x="220" y="341"/>
                    </a:cubicBezTo>
                    <a:cubicBezTo>
                      <a:pt x="221" y="341"/>
                      <a:pt x="221" y="341"/>
                      <a:pt x="222" y="341"/>
                    </a:cubicBezTo>
                    <a:cubicBezTo>
                      <a:pt x="223" y="341"/>
                      <a:pt x="223" y="340"/>
                      <a:pt x="224" y="340"/>
                    </a:cubicBezTo>
                    <a:cubicBezTo>
                      <a:pt x="223" y="341"/>
                      <a:pt x="222" y="341"/>
                      <a:pt x="221" y="341"/>
                    </a:cubicBezTo>
                    <a:cubicBezTo>
                      <a:pt x="220" y="342"/>
                      <a:pt x="220" y="341"/>
                      <a:pt x="221" y="342"/>
                    </a:cubicBezTo>
                    <a:cubicBezTo>
                      <a:pt x="221" y="343"/>
                      <a:pt x="222" y="345"/>
                      <a:pt x="223" y="345"/>
                    </a:cubicBezTo>
                    <a:cubicBezTo>
                      <a:pt x="224" y="346"/>
                      <a:pt x="226" y="344"/>
                      <a:pt x="227" y="344"/>
                    </a:cubicBezTo>
                    <a:cubicBezTo>
                      <a:pt x="228" y="344"/>
                      <a:pt x="229" y="344"/>
                      <a:pt x="229" y="344"/>
                    </a:cubicBezTo>
                    <a:cubicBezTo>
                      <a:pt x="230" y="344"/>
                      <a:pt x="231" y="344"/>
                      <a:pt x="232" y="344"/>
                    </a:cubicBezTo>
                    <a:cubicBezTo>
                      <a:pt x="230" y="345"/>
                      <a:pt x="229" y="344"/>
                      <a:pt x="228" y="344"/>
                    </a:cubicBezTo>
                    <a:cubicBezTo>
                      <a:pt x="227" y="345"/>
                      <a:pt x="226" y="345"/>
                      <a:pt x="225" y="345"/>
                    </a:cubicBezTo>
                    <a:cubicBezTo>
                      <a:pt x="223" y="346"/>
                      <a:pt x="222" y="345"/>
                      <a:pt x="221" y="343"/>
                    </a:cubicBezTo>
                    <a:cubicBezTo>
                      <a:pt x="219" y="341"/>
                      <a:pt x="217" y="342"/>
                      <a:pt x="215" y="342"/>
                    </a:cubicBezTo>
                    <a:cubicBezTo>
                      <a:pt x="214" y="342"/>
                      <a:pt x="213" y="341"/>
                      <a:pt x="212" y="341"/>
                    </a:cubicBezTo>
                    <a:cubicBezTo>
                      <a:pt x="211" y="341"/>
                      <a:pt x="210" y="342"/>
                      <a:pt x="210" y="342"/>
                    </a:cubicBezTo>
                    <a:cubicBezTo>
                      <a:pt x="209" y="342"/>
                      <a:pt x="208" y="342"/>
                      <a:pt x="207" y="343"/>
                    </a:cubicBezTo>
                    <a:cubicBezTo>
                      <a:pt x="206" y="343"/>
                      <a:pt x="205" y="343"/>
                      <a:pt x="204" y="343"/>
                    </a:cubicBezTo>
                    <a:cubicBezTo>
                      <a:pt x="203" y="343"/>
                      <a:pt x="202" y="343"/>
                      <a:pt x="201" y="343"/>
                    </a:cubicBezTo>
                    <a:cubicBezTo>
                      <a:pt x="201" y="344"/>
                      <a:pt x="199" y="343"/>
                      <a:pt x="199" y="344"/>
                    </a:cubicBezTo>
                    <a:cubicBezTo>
                      <a:pt x="199" y="344"/>
                      <a:pt x="200" y="344"/>
                      <a:pt x="200" y="344"/>
                    </a:cubicBezTo>
                    <a:cubicBezTo>
                      <a:pt x="200" y="344"/>
                      <a:pt x="195" y="344"/>
                      <a:pt x="195" y="345"/>
                    </a:cubicBezTo>
                    <a:cubicBezTo>
                      <a:pt x="195" y="347"/>
                      <a:pt x="199" y="346"/>
                      <a:pt x="200" y="346"/>
                    </a:cubicBezTo>
                    <a:cubicBezTo>
                      <a:pt x="199" y="347"/>
                      <a:pt x="198" y="346"/>
                      <a:pt x="196" y="347"/>
                    </a:cubicBezTo>
                    <a:cubicBezTo>
                      <a:pt x="198" y="348"/>
                      <a:pt x="200" y="348"/>
                      <a:pt x="202" y="348"/>
                    </a:cubicBezTo>
                    <a:cubicBezTo>
                      <a:pt x="201" y="348"/>
                      <a:pt x="200" y="348"/>
                      <a:pt x="199" y="348"/>
                    </a:cubicBezTo>
                    <a:cubicBezTo>
                      <a:pt x="198" y="348"/>
                      <a:pt x="197" y="348"/>
                      <a:pt x="196" y="348"/>
                    </a:cubicBezTo>
                    <a:cubicBezTo>
                      <a:pt x="199" y="350"/>
                      <a:pt x="202" y="349"/>
                      <a:pt x="205" y="349"/>
                    </a:cubicBezTo>
                    <a:cubicBezTo>
                      <a:pt x="206" y="349"/>
                      <a:pt x="207" y="350"/>
                      <a:pt x="208" y="349"/>
                    </a:cubicBezTo>
                    <a:cubicBezTo>
                      <a:pt x="209" y="349"/>
                      <a:pt x="209" y="348"/>
                      <a:pt x="210" y="348"/>
                    </a:cubicBezTo>
                    <a:cubicBezTo>
                      <a:pt x="211" y="348"/>
                      <a:pt x="211" y="350"/>
                      <a:pt x="212" y="349"/>
                    </a:cubicBezTo>
                    <a:cubicBezTo>
                      <a:pt x="211" y="349"/>
                      <a:pt x="211" y="350"/>
                      <a:pt x="210" y="350"/>
                    </a:cubicBezTo>
                    <a:cubicBezTo>
                      <a:pt x="211" y="350"/>
                      <a:pt x="211" y="351"/>
                      <a:pt x="212" y="350"/>
                    </a:cubicBezTo>
                    <a:cubicBezTo>
                      <a:pt x="211" y="351"/>
                      <a:pt x="209" y="350"/>
                      <a:pt x="207" y="350"/>
                    </a:cubicBezTo>
                    <a:cubicBezTo>
                      <a:pt x="207" y="350"/>
                      <a:pt x="206" y="350"/>
                      <a:pt x="206" y="350"/>
                    </a:cubicBezTo>
                    <a:cubicBezTo>
                      <a:pt x="206" y="350"/>
                      <a:pt x="206" y="350"/>
                      <a:pt x="205" y="351"/>
                    </a:cubicBezTo>
                    <a:cubicBezTo>
                      <a:pt x="205" y="351"/>
                      <a:pt x="205" y="350"/>
                      <a:pt x="205" y="350"/>
                    </a:cubicBezTo>
                    <a:cubicBezTo>
                      <a:pt x="204" y="350"/>
                      <a:pt x="203" y="352"/>
                      <a:pt x="204" y="351"/>
                    </a:cubicBezTo>
                    <a:cubicBezTo>
                      <a:pt x="205" y="351"/>
                      <a:pt x="206" y="351"/>
                      <a:pt x="207" y="351"/>
                    </a:cubicBezTo>
                    <a:cubicBezTo>
                      <a:pt x="207" y="351"/>
                      <a:pt x="209" y="351"/>
                      <a:pt x="207" y="351"/>
                    </a:cubicBezTo>
                    <a:cubicBezTo>
                      <a:pt x="206" y="352"/>
                      <a:pt x="204" y="352"/>
                      <a:pt x="203" y="352"/>
                    </a:cubicBezTo>
                    <a:cubicBezTo>
                      <a:pt x="204" y="353"/>
                      <a:pt x="205" y="353"/>
                      <a:pt x="206" y="352"/>
                    </a:cubicBezTo>
                    <a:cubicBezTo>
                      <a:pt x="207" y="352"/>
                      <a:pt x="208" y="352"/>
                      <a:pt x="209" y="352"/>
                    </a:cubicBezTo>
                    <a:cubicBezTo>
                      <a:pt x="208" y="353"/>
                      <a:pt x="205" y="353"/>
                      <a:pt x="203" y="353"/>
                    </a:cubicBezTo>
                    <a:cubicBezTo>
                      <a:pt x="202" y="353"/>
                      <a:pt x="202" y="353"/>
                      <a:pt x="201" y="353"/>
                    </a:cubicBezTo>
                    <a:cubicBezTo>
                      <a:pt x="200" y="354"/>
                      <a:pt x="199" y="355"/>
                      <a:pt x="201" y="354"/>
                    </a:cubicBezTo>
                    <a:cubicBezTo>
                      <a:pt x="200" y="355"/>
                      <a:pt x="202" y="355"/>
                      <a:pt x="203" y="355"/>
                    </a:cubicBezTo>
                    <a:cubicBezTo>
                      <a:pt x="204" y="355"/>
                      <a:pt x="204" y="355"/>
                      <a:pt x="205" y="355"/>
                    </a:cubicBezTo>
                    <a:cubicBezTo>
                      <a:pt x="207" y="355"/>
                      <a:pt x="209" y="356"/>
                      <a:pt x="210" y="355"/>
                    </a:cubicBezTo>
                    <a:cubicBezTo>
                      <a:pt x="209" y="357"/>
                      <a:pt x="207" y="355"/>
                      <a:pt x="205" y="355"/>
                    </a:cubicBezTo>
                    <a:cubicBezTo>
                      <a:pt x="204" y="356"/>
                      <a:pt x="203" y="357"/>
                      <a:pt x="201" y="356"/>
                    </a:cubicBezTo>
                    <a:cubicBezTo>
                      <a:pt x="201" y="356"/>
                      <a:pt x="202" y="356"/>
                      <a:pt x="202" y="356"/>
                    </a:cubicBezTo>
                    <a:cubicBezTo>
                      <a:pt x="201" y="356"/>
                      <a:pt x="198" y="355"/>
                      <a:pt x="198" y="357"/>
                    </a:cubicBezTo>
                    <a:cubicBezTo>
                      <a:pt x="198" y="357"/>
                      <a:pt x="199" y="357"/>
                      <a:pt x="199" y="357"/>
                    </a:cubicBezTo>
                    <a:cubicBezTo>
                      <a:pt x="198" y="358"/>
                      <a:pt x="196" y="358"/>
                      <a:pt x="199" y="360"/>
                    </a:cubicBezTo>
                    <a:cubicBezTo>
                      <a:pt x="200" y="360"/>
                      <a:pt x="202" y="360"/>
                      <a:pt x="203" y="360"/>
                    </a:cubicBezTo>
                    <a:cubicBezTo>
                      <a:pt x="202" y="360"/>
                      <a:pt x="201" y="360"/>
                      <a:pt x="200" y="361"/>
                    </a:cubicBezTo>
                    <a:cubicBezTo>
                      <a:pt x="199" y="361"/>
                      <a:pt x="199" y="362"/>
                      <a:pt x="198" y="362"/>
                    </a:cubicBezTo>
                    <a:cubicBezTo>
                      <a:pt x="198" y="362"/>
                      <a:pt x="199" y="362"/>
                      <a:pt x="199" y="362"/>
                    </a:cubicBezTo>
                    <a:cubicBezTo>
                      <a:pt x="199" y="362"/>
                      <a:pt x="199" y="363"/>
                      <a:pt x="198" y="363"/>
                    </a:cubicBezTo>
                    <a:cubicBezTo>
                      <a:pt x="203" y="364"/>
                      <a:pt x="205" y="360"/>
                      <a:pt x="209" y="358"/>
                    </a:cubicBezTo>
                    <a:cubicBezTo>
                      <a:pt x="210" y="357"/>
                      <a:pt x="213" y="357"/>
                      <a:pt x="214" y="356"/>
                    </a:cubicBezTo>
                    <a:cubicBezTo>
                      <a:pt x="214" y="355"/>
                      <a:pt x="214" y="354"/>
                      <a:pt x="215" y="354"/>
                    </a:cubicBezTo>
                    <a:cubicBezTo>
                      <a:pt x="216" y="353"/>
                      <a:pt x="217" y="353"/>
                      <a:pt x="218" y="352"/>
                    </a:cubicBezTo>
                    <a:cubicBezTo>
                      <a:pt x="219" y="352"/>
                      <a:pt x="220" y="351"/>
                      <a:pt x="221" y="350"/>
                    </a:cubicBezTo>
                    <a:cubicBezTo>
                      <a:pt x="222" y="350"/>
                      <a:pt x="223" y="349"/>
                      <a:pt x="225" y="349"/>
                    </a:cubicBezTo>
                    <a:cubicBezTo>
                      <a:pt x="227" y="348"/>
                      <a:pt x="230" y="346"/>
                      <a:pt x="232" y="346"/>
                    </a:cubicBezTo>
                    <a:cubicBezTo>
                      <a:pt x="231" y="347"/>
                      <a:pt x="230" y="347"/>
                      <a:pt x="229" y="347"/>
                    </a:cubicBezTo>
                    <a:cubicBezTo>
                      <a:pt x="231" y="348"/>
                      <a:pt x="233" y="347"/>
                      <a:pt x="235" y="348"/>
                    </a:cubicBezTo>
                    <a:cubicBezTo>
                      <a:pt x="233" y="348"/>
                      <a:pt x="231" y="348"/>
                      <a:pt x="230" y="348"/>
                    </a:cubicBezTo>
                    <a:cubicBezTo>
                      <a:pt x="228" y="348"/>
                      <a:pt x="228" y="348"/>
                      <a:pt x="226" y="349"/>
                    </a:cubicBezTo>
                    <a:cubicBezTo>
                      <a:pt x="225" y="349"/>
                      <a:pt x="224" y="349"/>
                      <a:pt x="226" y="350"/>
                    </a:cubicBezTo>
                    <a:cubicBezTo>
                      <a:pt x="227" y="350"/>
                      <a:pt x="227" y="350"/>
                      <a:pt x="228" y="350"/>
                    </a:cubicBezTo>
                    <a:cubicBezTo>
                      <a:pt x="229" y="350"/>
                      <a:pt x="231" y="350"/>
                      <a:pt x="232" y="350"/>
                    </a:cubicBezTo>
                    <a:cubicBezTo>
                      <a:pt x="230" y="351"/>
                      <a:pt x="229" y="350"/>
                      <a:pt x="228" y="350"/>
                    </a:cubicBezTo>
                    <a:cubicBezTo>
                      <a:pt x="227" y="350"/>
                      <a:pt x="226" y="351"/>
                      <a:pt x="225" y="350"/>
                    </a:cubicBezTo>
                    <a:cubicBezTo>
                      <a:pt x="224" y="350"/>
                      <a:pt x="223" y="350"/>
                      <a:pt x="222" y="350"/>
                    </a:cubicBezTo>
                    <a:cubicBezTo>
                      <a:pt x="221" y="351"/>
                      <a:pt x="220" y="352"/>
                      <a:pt x="219" y="352"/>
                    </a:cubicBezTo>
                    <a:cubicBezTo>
                      <a:pt x="219" y="353"/>
                      <a:pt x="218" y="353"/>
                      <a:pt x="217" y="354"/>
                    </a:cubicBezTo>
                    <a:cubicBezTo>
                      <a:pt x="215" y="354"/>
                      <a:pt x="215" y="356"/>
                      <a:pt x="213" y="357"/>
                    </a:cubicBezTo>
                    <a:cubicBezTo>
                      <a:pt x="212" y="357"/>
                      <a:pt x="211" y="357"/>
                      <a:pt x="211" y="358"/>
                    </a:cubicBezTo>
                    <a:cubicBezTo>
                      <a:pt x="210" y="358"/>
                      <a:pt x="209" y="359"/>
                      <a:pt x="208" y="359"/>
                    </a:cubicBezTo>
                    <a:cubicBezTo>
                      <a:pt x="207" y="360"/>
                      <a:pt x="207" y="360"/>
                      <a:pt x="206" y="361"/>
                    </a:cubicBezTo>
                    <a:cubicBezTo>
                      <a:pt x="205" y="361"/>
                      <a:pt x="205" y="362"/>
                      <a:pt x="204" y="362"/>
                    </a:cubicBezTo>
                    <a:cubicBezTo>
                      <a:pt x="203" y="363"/>
                      <a:pt x="201" y="363"/>
                      <a:pt x="200" y="364"/>
                    </a:cubicBezTo>
                    <a:cubicBezTo>
                      <a:pt x="201" y="364"/>
                      <a:pt x="202" y="364"/>
                      <a:pt x="203" y="364"/>
                    </a:cubicBezTo>
                    <a:cubicBezTo>
                      <a:pt x="203" y="365"/>
                      <a:pt x="197" y="365"/>
                      <a:pt x="201" y="365"/>
                    </a:cubicBezTo>
                    <a:cubicBezTo>
                      <a:pt x="203" y="366"/>
                      <a:pt x="204" y="364"/>
                      <a:pt x="206" y="364"/>
                    </a:cubicBezTo>
                    <a:cubicBezTo>
                      <a:pt x="205" y="365"/>
                      <a:pt x="203" y="366"/>
                      <a:pt x="202" y="366"/>
                    </a:cubicBezTo>
                    <a:cubicBezTo>
                      <a:pt x="203" y="367"/>
                      <a:pt x="204" y="367"/>
                      <a:pt x="205" y="366"/>
                    </a:cubicBezTo>
                    <a:cubicBezTo>
                      <a:pt x="206" y="366"/>
                      <a:pt x="206" y="366"/>
                      <a:pt x="207" y="366"/>
                    </a:cubicBezTo>
                    <a:cubicBezTo>
                      <a:pt x="207" y="365"/>
                      <a:pt x="206" y="365"/>
                      <a:pt x="207" y="365"/>
                    </a:cubicBezTo>
                    <a:cubicBezTo>
                      <a:pt x="207" y="365"/>
                      <a:pt x="208" y="365"/>
                      <a:pt x="208" y="365"/>
                    </a:cubicBezTo>
                    <a:cubicBezTo>
                      <a:pt x="208" y="365"/>
                      <a:pt x="209" y="365"/>
                      <a:pt x="209" y="365"/>
                    </a:cubicBezTo>
                    <a:cubicBezTo>
                      <a:pt x="210" y="365"/>
                      <a:pt x="210" y="367"/>
                      <a:pt x="212" y="366"/>
                    </a:cubicBezTo>
                    <a:cubicBezTo>
                      <a:pt x="212" y="366"/>
                      <a:pt x="213" y="365"/>
                      <a:pt x="213" y="365"/>
                    </a:cubicBezTo>
                    <a:cubicBezTo>
                      <a:pt x="214" y="364"/>
                      <a:pt x="215" y="364"/>
                      <a:pt x="216" y="364"/>
                    </a:cubicBezTo>
                    <a:cubicBezTo>
                      <a:pt x="216" y="364"/>
                      <a:pt x="217" y="364"/>
                      <a:pt x="217" y="364"/>
                    </a:cubicBezTo>
                    <a:cubicBezTo>
                      <a:pt x="218" y="364"/>
                      <a:pt x="218" y="365"/>
                      <a:pt x="217" y="365"/>
                    </a:cubicBezTo>
                    <a:cubicBezTo>
                      <a:pt x="216" y="365"/>
                      <a:pt x="216" y="365"/>
                      <a:pt x="215" y="365"/>
                    </a:cubicBezTo>
                    <a:cubicBezTo>
                      <a:pt x="215" y="365"/>
                      <a:pt x="215" y="365"/>
                      <a:pt x="214" y="365"/>
                    </a:cubicBezTo>
                    <a:cubicBezTo>
                      <a:pt x="213" y="365"/>
                      <a:pt x="212" y="366"/>
                      <a:pt x="212" y="367"/>
                    </a:cubicBezTo>
                    <a:cubicBezTo>
                      <a:pt x="211" y="367"/>
                      <a:pt x="210" y="367"/>
                      <a:pt x="209" y="366"/>
                    </a:cubicBezTo>
                    <a:cubicBezTo>
                      <a:pt x="208" y="366"/>
                      <a:pt x="208" y="366"/>
                      <a:pt x="206" y="366"/>
                    </a:cubicBezTo>
                    <a:cubicBezTo>
                      <a:pt x="206" y="366"/>
                      <a:pt x="205" y="367"/>
                      <a:pt x="204" y="367"/>
                    </a:cubicBezTo>
                    <a:cubicBezTo>
                      <a:pt x="203" y="368"/>
                      <a:pt x="203" y="369"/>
                      <a:pt x="202" y="369"/>
                    </a:cubicBezTo>
                    <a:cubicBezTo>
                      <a:pt x="203" y="369"/>
                      <a:pt x="205" y="368"/>
                      <a:pt x="206" y="368"/>
                    </a:cubicBezTo>
                    <a:cubicBezTo>
                      <a:pt x="205" y="369"/>
                      <a:pt x="203" y="369"/>
                      <a:pt x="202" y="370"/>
                    </a:cubicBezTo>
                    <a:cubicBezTo>
                      <a:pt x="203" y="370"/>
                      <a:pt x="204" y="370"/>
                      <a:pt x="205" y="370"/>
                    </a:cubicBezTo>
                    <a:cubicBezTo>
                      <a:pt x="205" y="370"/>
                      <a:pt x="206" y="370"/>
                      <a:pt x="206" y="370"/>
                    </a:cubicBezTo>
                    <a:cubicBezTo>
                      <a:pt x="207" y="370"/>
                      <a:pt x="207" y="369"/>
                      <a:pt x="208" y="368"/>
                    </a:cubicBezTo>
                    <a:cubicBezTo>
                      <a:pt x="208" y="369"/>
                      <a:pt x="207" y="370"/>
                      <a:pt x="207" y="371"/>
                    </a:cubicBezTo>
                    <a:cubicBezTo>
                      <a:pt x="208" y="371"/>
                      <a:pt x="208" y="370"/>
                      <a:pt x="209" y="370"/>
                    </a:cubicBezTo>
                    <a:cubicBezTo>
                      <a:pt x="208" y="371"/>
                      <a:pt x="207" y="371"/>
                      <a:pt x="207" y="371"/>
                    </a:cubicBezTo>
                    <a:cubicBezTo>
                      <a:pt x="207" y="371"/>
                      <a:pt x="207" y="371"/>
                      <a:pt x="208" y="371"/>
                    </a:cubicBezTo>
                    <a:cubicBezTo>
                      <a:pt x="207" y="372"/>
                      <a:pt x="207" y="372"/>
                      <a:pt x="207" y="372"/>
                    </a:cubicBezTo>
                    <a:cubicBezTo>
                      <a:pt x="208" y="373"/>
                      <a:pt x="209" y="371"/>
                      <a:pt x="210" y="370"/>
                    </a:cubicBezTo>
                    <a:cubicBezTo>
                      <a:pt x="210" y="371"/>
                      <a:pt x="209" y="372"/>
                      <a:pt x="209" y="373"/>
                    </a:cubicBezTo>
                    <a:cubicBezTo>
                      <a:pt x="209" y="374"/>
                      <a:pt x="209" y="373"/>
                      <a:pt x="210" y="373"/>
                    </a:cubicBezTo>
                    <a:cubicBezTo>
                      <a:pt x="210" y="373"/>
                      <a:pt x="210" y="372"/>
                      <a:pt x="210" y="373"/>
                    </a:cubicBezTo>
                    <a:cubicBezTo>
                      <a:pt x="210" y="373"/>
                      <a:pt x="210" y="374"/>
                      <a:pt x="211" y="374"/>
                    </a:cubicBezTo>
                    <a:cubicBezTo>
                      <a:pt x="211" y="374"/>
                      <a:pt x="212" y="374"/>
                      <a:pt x="212" y="374"/>
                    </a:cubicBezTo>
                    <a:cubicBezTo>
                      <a:pt x="213" y="373"/>
                      <a:pt x="215" y="372"/>
                      <a:pt x="215" y="371"/>
                    </a:cubicBezTo>
                    <a:cubicBezTo>
                      <a:pt x="215" y="371"/>
                      <a:pt x="215" y="371"/>
                      <a:pt x="215" y="370"/>
                    </a:cubicBezTo>
                    <a:cubicBezTo>
                      <a:pt x="215" y="370"/>
                      <a:pt x="216" y="370"/>
                      <a:pt x="216" y="370"/>
                    </a:cubicBezTo>
                    <a:cubicBezTo>
                      <a:pt x="218" y="370"/>
                      <a:pt x="219" y="369"/>
                      <a:pt x="221" y="368"/>
                    </a:cubicBezTo>
                    <a:cubicBezTo>
                      <a:pt x="223" y="368"/>
                      <a:pt x="224" y="368"/>
                      <a:pt x="226" y="369"/>
                    </a:cubicBezTo>
                    <a:cubicBezTo>
                      <a:pt x="227" y="369"/>
                      <a:pt x="227" y="369"/>
                      <a:pt x="227" y="369"/>
                    </a:cubicBezTo>
                    <a:cubicBezTo>
                      <a:pt x="228" y="369"/>
                      <a:pt x="229" y="370"/>
                      <a:pt x="230" y="370"/>
                    </a:cubicBezTo>
                    <a:cubicBezTo>
                      <a:pt x="228" y="370"/>
                      <a:pt x="226" y="369"/>
                      <a:pt x="224" y="369"/>
                    </a:cubicBezTo>
                    <a:cubicBezTo>
                      <a:pt x="222" y="369"/>
                      <a:pt x="220" y="369"/>
                      <a:pt x="218" y="370"/>
                    </a:cubicBezTo>
                    <a:cubicBezTo>
                      <a:pt x="218" y="370"/>
                      <a:pt x="217" y="371"/>
                      <a:pt x="216" y="371"/>
                    </a:cubicBezTo>
                    <a:cubicBezTo>
                      <a:pt x="216" y="371"/>
                      <a:pt x="216" y="372"/>
                      <a:pt x="215" y="372"/>
                    </a:cubicBezTo>
                    <a:cubicBezTo>
                      <a:pt x="215" y="372"/>
                      <a:pt x="216" y="372"/>
                      <a:pt x="216" y="372"/>
                    </a:cubicBezTo>
                    <a:cubicBezTo>
                      <a:pt x="215" y="373"/>
                      <a:pt x="214" y="373"/>
                      <a:pt x="213" y="373"/>
                    </a:cubicBezTo>
                    <a:cubicBezTo>
                      <a:pt x="212" y="374"/>
                      <a:pt x="212" y="374"/>
                      <a:pt x="211" y="375"/>
                    </a:cubicBezTo>
                    <a:cubicBezTo>
                      <a:pt x="209" y="376"/>
                      <a:pt x="209" y="376"/>
                      <a:pt x="210" y="378"/>
                    </a:cubicBezTo>
                    <a:cubicBezTo>
                      <a:pt x="210" y="378"/>
                      <a:pt x="211" y="377"/>
                      <a:pt x="211" y="377"/>
                    </a:cubicBezTo>
                    <a:cubicBezTo>
                      <a:pt x="211" y="377"/>
                      <a:pt x="211" y="376"/>
                      <a:pt x="211" y="376"/>
                    </a:cubicBezTo>
                    <a:cubicBezTo>
                      <a:pt x="212" y="376"/>
                      <a:pt x="212" y="377"/>
                      <a:pt x="213" y="376"/>
                    </a:cubicBezTo>
                    <a:cubicBezTo>
                      <a:pt x="213" y="377"/>
                      <a:pt x="212" y="378"/>
                      <a:pt x="212" y="378"/>
                    </a:cubicBezTo>
                    <a:cubicBezTo>
                      <a:pt x="213" y="378"/>
                      <a:pt x="214" y="377"/>
                      <a:pt x="215" y="376"/>
                    </a:cubicBezTo>
                    <a:cubicBezTo>
                      <a:pt x="214" y="377"/>
                      <a:pt x="213" y="378"/>
                      <a:pt x="213" y="378"/>
                    </a:cubicBezTo>
                    <a:cubicBezTo>
                      <a:pt x="213" y="379"/>
                      <a:pt x="213" y="380"/>
                      <a:pt x="212" y="380"/>
                    </a:cubicBezTo>
                    <a:cubicBezTo>
                      <a:pt x="212" y="381"/>
                      <a:pt x="213" y="381"/>
                      <a:pt x="214" y="381"/>
                    </a:cubicBezTo>
                    <a:cubicBezTo>
                      <a:pt x="215" y="382"/>
                      <a:pt x="214" y="382"/>
                      <a:pt x="214" y="382"/>
                    </a:cubicBezTo>
                    <a:cubicBezTo>
                      <a:pt x="213" y="383"/>
                      <a:pt x="213" y="383"/>
                      <a:pt x="212" y="384"/>
                    </a:cubicBezTo>
                    <a:cubicBezTo>
                      <a:pt x="214" y="385"/>
                      <a:pt x="215" y="384"/>
                      <a:pt x="214" y="383"/>
                    </a:cubicBezTo>
                    <a:cubicBezTo>
                      <a:pt x="215" y="383"/>
                      <a:pt x="215" y="383"/>
                      <a:pt x="215" y="383"/>
                    </a:cubicBezTo>
                    <a:cubicBezTo>
                      <a:pt x="215" y="384"/>
                      <a:pt x="214" y="384"/>
                      <a:pt x="214" y="385"/>
                    </a:cubicBezTo>
                    <a:cubicBezTo>
                      <a:pt x="216" y="385"/>
                      <a:pt x="216" y="383"/>
                      <a:pt x="217" y="384"/>
                    </a:cubicBezTo>
                    <a:cubicBezTo>
                      <a:pt x="217" y="382"/>
                      <a:pt x="218" y="381"/>
                      <a:pt x="219" y="382"/>
                    </a:cubicBezTo>
                    <a:cubicBezTo>
                      <a:pt x="219" y="382"/>
                      <a:pt x="218" y="383"/>
                      <a:pt x="218" y="383"/>
                    </a:cubicBezTo>
                    <a:cubicBezTo>
                      <a:pt x="218" y="384"/>
                      <a:pt x="220" y="383"/>
                      <a:pt x="220" y="382"/>
                    </a:cubicBezTo>
                    <a:cubicBezTo>
                      <a:pt x="221" y="382"/>
                      <a:pt x="221" y="381"/>
                      <a:pt x="222" y="381"/>
                    </a:cubicBezTo>
                    <a:cubicBezTo>
                      <a:pt x="222" y="382"/>
                      <a:pt x="221" y="383"/>
                      <a:pt x="220" y="383"/>
                    </a:cubicBezTo>
                    <a:cubicBezTo>
                      <a:pt x="219" y="384"/>
                      <a:pt x="219" y="384"/>
                      <a:pt x="219" y="384"/>
                    </a:cubicBezTo>
                    <a:cubicBezTo>
                      <a:pt x="219" y="384"/>
                      <a:pt x="219" y="383"/>
                      <a:pt x="219" y="383"/>
                    </a:cubicBezTo>
                    <a:cubicBezTo>
                      <a:pt x="219" y="383"/>
                      <a:pt x="218" y="384"/>
                      <a:pt x="218" y="384"/>
                    </a:cubicBezTo>
                    <a:cubicBezTo>
                      <a:pt x="218" y="384"/>
                      <a:pt x="217" y="384"/>
                      <a:pt x="216" y="385"/>
                    </a:cubicBezTo>
                    <a:cubicBezTo>
                      <a:pt x="216" y="385"/>
                      <a:pt x="216" y="385"/>
                      <a:pt x="215" y="385"/>
                    </a:cubicBezTo>
                    <a:cubicBezTo>
                      <a:pt x="215" y="386"/>
                      <a:pt x="214" y="386"/>
                      <a:pt x="214" y="386"/>
                    </a:cubicBezTo>
                    <a:cubicBezTo>
                      <a:pt x="213" y="387"/>
                      <a:pt x="213" y="389"/>
                      <a:pt x="214" y="391"/>
                    </a:cubicBezTo>
                    <a:cubicBezTo>
                      <a:pt x="214" y="391"/>
                      <a:pt x="214" y="394"/>
                      <a:pt x="214" y="394"/>
                    </a:cubicBezTo>
                    <a:cubicBezTo>
                      <a:pt x="215" y="394"/>
                      <a:pt x="215" y="394"/>
                      <a:pt x="215" y="394"/>
                    </a:cubicBezTo>
                    <a:cubicBezTo>
                      <a:pt x="215" y="393"/>
                      <a:pt x="216" y="392"/>
                      <a:pt x="217" y="392"/>
                    </a:cubicBezTo>
                    <a:cubicBezTo>
                      <a:pt x="218" y="392"/>
                      <a:pt x="218" y="392"/>
                      <a:pt x="218" y="392"/>
                    </a:cubicBezTo>
                    <a:cubicBezTo>
                      <a:pt x="219" y="393"/>
                      <a:pt x="220" y="393"/>
                      <a:pt x="220" y="394"/>
                    </a:cubicBezTo>
                    <a:cubicBezTo>
                      <a:pt x="220" y="394"/>
                      <a:pt x="220" y="395"/>
                      <a:pt x="220" y="395"/>
                    </a:cubicBezTo>
                    <a:cubicBezTo>
                      <a:pt x="220" y="395"/>
                      <a:pt x="220" y="395"/>
                      <a:pt x="220" y="395"/>
                    </a:cubicBezTo>
                    <a:cubicBezTo>
                      <a:pt x="220" y="395"/>
                      <a:pt x="220" y="395"/>
                      <a:pt x="220" y="395"/>
                    </a:cubicBezTo>
                    <a:cubicBezTo>
                      <a:pt x="220" y="396"/>
                      <a:pt x="220" y="396"/>
                      <a:pt x="220" y="396"/>
                    </a:cubicBezTo>
                    <a:cubicBezTo>
                      <a:pt x="222" y="397"/>
                      <a:pt x="225" y="396"/>
                      <a:pt x="227" y="395"/>
                    </a:cubicBezTo>
                    <a:cubicBezTo>
                      <a:pt x="228" y="395"/>
                      <a:pt x="229" y="394"/>
                      <a:pt x="230" y="393"/>
                    </a:cubicBezTo>
                    <a:cubicBezTo>
                      <a:pt x="230" y="393"/>
                      <a:pt x="231" y="392"/>
                      <a:pt x="231" y="392"/>
                    </a:cubicBezTo>
                    <a:cubicBezTo>
                      <a:pt x="232" y="392"/>
                      <a:pt x="231" y="394"/>
                      <a:pt x="231" y="395"/>
                    </a:cubicBezTo>
                    <a:cubicBezTo>
                      <a:pt x="233" y="394"/>
                      <a:pt x="235" y="394"/>
                      <a:pt x="234" y="396"/>
                    </a:cubicBezTo>
                    <a:cubicBezTo>
                      <a:pt x="234" y="394"/>
                      <a:pt x="232" y="395"/>
                      <a:pt x="231" y="395"/>
                    </a:cubicBezTo>
                    <a:cubicBezTo>
                      <a:pt x="230" y="396"/>
                      <a:pt x="229" y="395"/>
                      <a:pt x="227" y="396"/>
                    </a:cubicBezTo>
                    <a:cubicBezTo>
                      <a:pt x="226" y="396"/>
                      <a:pt x="224" y="396"/>
                      <a:pt x="223" y="397"/>
                    </a:cubicBezTo>
                    <a:cubicBezTo>
                      <a:pt x="221" y="397"/>
                      <a:pt x="220" y="397"/>
                      <a:pt x="219" y="397"/>
                    </a:cubicBezTo>
                    <a:cubicBezTo>
                      <a:pt x="220" y="398"/>
                      <a:pt x="221" y="398"/>
                      <a:pt x="221" y="398"/>
                    </a:cubicBezTo>
                    <a:cubicBezTo>
                      <a:pt x="221" y="399"/>
                      <a:pt x="221" y="400"/>
                      <a:pt x="220" y="400"/>
                    </a:cubicBezTo>
                    <a:cubicBezTo>
                      <a:pt x="222" y="401"/>
                      <a:pt x="224" y="399"/>
                      <a:pt x="226" y="399"/>
                    </a:cubicBezTo>
                    <a:cubicBezTo>
                      <a:pt x="224" y="400"/>
                      <a:pt x="222" y="401"/>
                      <a:pt x="220" y="402"/>
                    </a:cubicBezTo>
                    <a:cubicBezTo>
                      <a:pt x="220" y="402"/>
                      <a:pt x="221" y="402"/>
                      <a:pt x="221" y="402"/>
                    </a:cubicBezTo>
                    <a:cubicBezTo>
                      <a:pt x="221" y="403"/>
                      <a:pt x="220" y="403"/>
                      <a:pt x="220" y="403"/>
                    </a:cubicBezTo>
                    <a:cubicBezTo>
                      <a:pt x="220" y="404"/>
                      <a:pt x="221" y="404"/>
                      <a:pt x="221" y="405"/>
                    </a:cubicBezTo>
                    <a:cubicBezTo>
                      <a:pt x="221" y="405"/>
                      <a:pt x="223" y="406"/>
                      <a:pt x="224" y="406"/>
                    </a:cubicBezTo>
                    <a:cubicBezTo>
                      <a:pt x="224" y="406"/>
                      <a:pt x="223" y="405"/>
                      <a:pt x="223" y="405"/>
                    </a:cubicBezTo>
                    <a:cubicBezTo>
                      <a:pt x="223" y="404"/>
                      <a:pt x="223" y="403"/>
                      <a:pt x="224" y="403"/>
                    </a:cubicBezTo>
                    <a:cubicBezTo>
                      <a:pt x="225" y="403"/>
                      <a:pt x="226" y="404"/>
                      <a:pt x="227" y="404"/>
                    </a:cubicBezTo>
                    <a:cubicBezTo>
                      <a:pt x="228" y="404"/>
                      <a:pt x="229" y="403"/>
                      <a:pt x="230" y="403"/>
                    </a:cubicBezTo>
                    <a:cubicBezTo>
                      <a:pt x="229" y="404"/>
                      <a:pt x="228" y="404"/>
                      <a:pt x="227" y="404"/>
                    </a:cubicBezTo>
                    <a:cubicBezTo>
                      <a:pt x="226" y="404"/>
                      <a:pt x="225" y="404"/>
                      <a:pt x="224" y="404"/>
                    </a:cubicBezTo>
                    <a:cubicBezTo>
                      <a:pt x="224" y="404"/>
                      <a:pt x="223" y="405"/>
                      <a:pt x="224" y="405"/>
                    </a:cubicBezTo>
                    <a:cubicBezTo>
                      <a:pt x="224" y="406"/>
                      <a:pt x="226" y="405"/>
                      <a:pt x="227" y="405"/>
                    </a:cubicBezTo>
                    <a:cubicBezTo>
                      <a:pt x="226" y="406"/>
                      <a:pt x="224" y="406"/>
                      <a:pt x="223" y="407"/>
                    </a:cubicBezTo>
                    <a:cubicBezTo>
                      <a:pt x="222" y="408"/>
                      <a:pt x="223" y="408"/>
                      <a:pt x="224" y="407"/>
                    </a:cubicBezTo>
                    <a:cubicBezTo>
                      <a:pt x="224" y="407"/>
                      <a:pt x="225" y="406"/>
                      <a:pt x="225" y="406"/>
                    </a:cubicBezTo>
                    <a:cubicBezTo>
                      <a:pt x="225" y="407"/>
                      <a:pt x="224" y="408"/>
                      <a:pt x="224" y="408"/>
                    </a:cubicBezTo>
                    <a:cubicBezTo>
                      <a:pt x="226" y="408"/>
                      <a:pt x="227" y="408"/>
                      <a:pt x="229" y="408"/>
                    </a:cubicBezTo>
                    <a:cubicBezTo>
                      <a:pt x="230" y="408"/>
                      <a:pt x="231" y="407"/>
                      <a:pt x="232" y="408"/>
                    </a:cubicBezTo>
                    <a:cubicBezTo>
                      <a:pt x="230" y="408"/>
                      <a:pt x="228" y="408"/>
                      <a:pt x="226" y="408"/>
                    </a:cubicBezTo>
                    <a:cubicBezTo>
                      <a:pt x="226" y="408"/>
                      <a:pt x="224" y="408"/>
                      <a:pt x="224" y="409"/>
                    </a:cubicBezTo>
                    <a:cubicBezTo>
                      <a:pt x="224" y="409"/>
                      <a:pt x="224" y="410"/>
                      <a:pt x="224" y="411"/>
                    </a:cubicBezTo>
                    <a:cubicBezTo>
                      <a:pt x="225" y="411"/>
                      <a:pt x="226" y="410"/>
                      <a:pt x="227" y="410"/>
                    </a:cubicBezTo>
                    <a:cubicBezTo>
                      <a:pt x="227" y="411"/>
                      <a:pt x="226" y="411"/>
                      <a:pt x="226" y="412"/>
                    </a:cubicBezTo>
                    <a:cubicBezTo>
                      <a:pt x="227" y="411"/>
                      <a:pt x="229" y="410"/>
                      <a:pt x="230" y="411"/>
                    </a:cubicBezTo>
                    <a:cubicBezTo>
                      <a:pt x="231" y="411"/>
                      <a:pt x="232" y="410"/>
                      <a:pt x="232" y="410"/>
                    </a:cubicBezTo>
                    <a:cubicBezTo>
                      <a:pt x="233" y="410"/>
                      <a:pt x="234" y="410"/>
                      <a:pt x="234" y="410"/>
                    </a:cubicBezTo>
                    <a:cubicBezTo>
                      <a:pt x="234" y="411"/>
                      <a:pt x="233" y="411"/>
                      <a:pt x="232" y="411"/>
                    </a:cubicBezTo>
                    <a:cubicBezTo>
                      <a:pt x="231" y="411"/>
                      <a:pt x="231" y="412"/>
                      <a:pt x="230" y="412"/>
                    </a:cubicBezTo>
                    <a:cubicBezTo>
                      <a:pt x="230" y="412"/>
                      <a:pt x="229" y="412"/>
                      <a:pt x="229" y="413"/>
                    </a:cubicBezTo>
                    <a:cubicBezTo>
                      <a:pt x="229" y="413"/>
                      <a:pt x="230" y="414"/>
                      <a:pt x="229" y="414"/>
                    </a:cubicBezTo>
                    <a:cubicBezTo>
                      <a:pt x="230" y="415"/>
                      <a:pt x="231" y="415"/>
                      <a:pt x="232" y="414"/>
                    </a:cubicBezTo>
                    <a:cubicBezTo>
                      <a:pt x="232" y="414"/>
                      <a:pt x="234" y="412"/>
                      <a:pt x="233" y="414"/>
                    </a:cubicBezTo>
                    <a:cubicBezTo>
                      <a:pt x="233" y="415"/>
                      <a:pt x="232" y="415"/>
                      <a:pt x="232" y="416"/>
                    </a:cubicBezTo>
                    <a:cubicBezTo>
                      <a:pt x="231" y="416"/>
                      <a:pt x="232" y="417"/>
                      <a:pt x="231" y="417"/>
                    </a:cubicBezTo>
                    <a:cubicBezTo>
                      <a:pt x="232" y="417"/>
                      <a:pt x="232" y="416"/>
                      <a:pt x="233" y="416"/>
                    </a:cubicBezTo>
                    <a:cubicBezTo>
                      <a:pt x="234" y="415"/>
                      <a:pt x="233" y="415"/>
                      <a:pt x="234" y="415"/>
                    </a:cubicBezTo>
                    <a:cubicBezTo>
                      <a:pt x="235" y="414"/>
                      <a:pt x="237" y="413"/>
                      <a:pt x="238" y="413"/>
                    </a:cubicBezTo>
                    <a:cubicBezTo>
                      <a:pt x="237" y="414"/>
                      <a:pt x="236" y="414"/>
                      <a:pt x="235" y="415"/>
                    </a:cubicBezTo>
                    <a:cubicBezTo>
                      <a:pt x="234" y="415"/>
                      <a:pt x="233" y="416"/>
                      <a:pt x="233" y="417"/>
                    </a:cubicBezTo>
                    <a:cubicBezTo>
                      <a:pt x="232" y="417"/>
                      <a:pt x="232" y="418"/>
                      <a:pt x="232" y="418"/>
                    </a:cubicBezTo>
                    <a:cubicBezTo>
                      <a:pt x="233" y="419"/>
                      <a:pt x="233" y="417"/>
                      <a:pt x="233" y="417"/>
                    </a:cubicBezTo>
                    <a:cubicBezTo>
                      <a:pt x="234" y="417"/>
                      <a:pt x="234" y="417"/>
                      <a:pt x="235" y="417"/>
                    </a:cubicBezTo>
                    <a:cubicBezTo>
                      <a:pt x="235" y="417"/>
                      <a:pt x="236" y="416"/>
                      <a:pt x="236" y="416"/>
                    </a:cubicBezTo>
                    <a:cubicBezTo>
                      <a:pt x="236" y="417"/>
                      <a:pt x="235" y="417"/>
                      <a:pt x="235" y="418"/>
                    </a:cubicBezTo>
                    <a:cubicBezTo>
                      <a:pt x="234" y="418"/>
                      <a:pt x="234" y="418"/>
                      <a:pt x="234" y="419"/>
                    </a:cubicBezTo>
                    <a:cubicBezTo>
                      <a:pt x="234" y="419"/>
                      <a:pt x="233" y="419"/>
                      <a:pt x="233" y="420"/>
                    </a:cubicBezTo>
                    <a:cubicBezTo>
                      <a:pt x="233" y="420"/>
                      <a:pt x="232" y="421"/>
                      <a:pt x="232" y="421"/>
                    </a:cubicBezTo>
                    <a:cubicBezTo>
                      <a:pt x="232" y="423"/>
                      <a:pt x="235" y="424"/>
                      <a:pt x="237" y="425"/>
                    </a:cubicBezTo>
                    <a:cubicBezTo>
                      <a:pt x="237" y="425"/>
                      <a:pt x="238" y="426"/>
                      <a:pt x="239" y="426"/>
                    </a:cubicBezTo>
                    <a:cubicBezTo>
                      <a:pt x="239" y="426"/>
                      <a:pt x="239" y="425"/>
                      <a:pt x="240" y="425"/>
                    </a:cubicBezTo>
                    <a:cubicBezTo>
                      <a:pt x="241" y="425"/>
                      <a:pt x="241" y="426"/>
                      <a:pt x="242" y="426"/>
                    </a:cubicBezTo>
                    <a:cubicBezTo>
                      <a:pt x="242" y="426"/>
                      <a:pt x="240" y="426"/>
                      <a:pt x="240" y="426"/>
                    </a:cubicBezTo>
                    <a:cubicBezTo>
                      <a:pt x="239" y="427"/>
                      <a:pt x="239" y="427"/>
                      <a:pt x="239" y="428"/>
                    </a:cubicBezTo>
                    <a:cubicBezTo>
                      <a:pt x="240" y="428"/>
                      <a:pt x="241" y="427"/>
                      <a:pt x="242" y="427"/>
                    </a:cubicBezTo>
                    <a:cubicBezTo>
                      <a:pt x="242" y="428"/>
                      <a:pt x="241" y="428"/>
                      <a:pt x="241" y="429"/>
                    </a:cubicBezTo>
                    <a:cubicBezTo>
                      <a:pt x="241" y="428"/>
                      <a:pt x="240" y="428"/>
                      <a:pt x="239" y="428"/>
                    </a:cubicBezTo>
                    <a:cubicBezTo>
                      <a:pt x="238" y="428"/>
                      <a:pt x="239" y="429"/>
                      <a:pt x="239" y="430"/>
                    </a:cubicBezTo>
                    <a:cubicBezTo>
                      <a:pt x="239" y="429"/>
                      <a:pt x="239" y="430"/>
                      <a:pt x="238" y="430"/>
                    </a:cubicBezTo>
                    <a:cubicBezTo>
                      <a:pt x="239" y="430"/>
                      <a:pt x="240" y="430"/>
                      <a:pt x="240" y="430"/>
                    </a:cubicBezTo>
                    <a:cubicBezTo>
                      <a:pt x="241" y="429"/>
                      <a:pt x="241" y="429"/>
                      <a:pt x="241" y="429"/>
                    </a:cubicBezTo>
                    <a:cubicBezTo>
                      <a:pt x="242" y="429"/>
                      <a:pt x="243" y="430"/>
                      <a:pt x="244" y="430"/>
                    </a:cubicBezTo>
                    <a:cubicBezTo>
                      <a:pt x="244" y="429"/>
                      <a:pt x="244" y="427"/>
                      <a:pt x="245" y="427"/>
                    </a:cubicBezTo>
                    <a:cubicBezTo>
                      <a:pt x="245" y="427"/>
                      <a:pt x="245" y="428"/>
                      <a:pt x="244" y="429"/>
                    </a:cubicBezTo>
                    <a:cubicBezTo>
                      <a:pt x="245" y="428"/>
                      <a:pt x="246" y="428"/>
                      <a:pt x="247" y="429"/>
                    </a:cubicBezTo>
                    <a:cubicBezTo>
                      <a:pt x="246" y="429"/>
                      <a:pt x="245" y="430"/>
                      <a:pt x="245" y="430"/>
                    </a:cubicBezTo>
                    <a:cubicBezTo>
                      <a:pt x="244" y="430"/>
                      <a:pt x="244" y="430"/>
                      <a:pt x="243" y="430"/>
                    </a:cubicBezTo>
                    <a:cubicBezTo>
                      <a:pt x="241" y="431"/>
                      <a:pt x="241" y="432"/>
                      <a:pt x="241" y="433"/>
                    </a:cubicBezTo>
                    <a:cubicBezTo>
                      <a:pt x="242" y="432"/>
                      <a:pt x="243" y="432"/>
                      <a:pt x="243" y="431"/>
                    </a:cubicBezTo>
                    <a:cubicBezTo>
                      <a:pt x="243" y="432"/>
                      <a:pt x="242" y="433"/>
                      <a:pt x="242" y="434"/>
                    </a:cubicBezTo>
                    <a:cubicBezTo>
                      <a:pt x="244" y="433"/>
                      <a:pt x="245" y="430"/>
                      <a:pt x="248" y="430"/>
                    </a:cubicBezTo>
                    <a:cubicBezTo>
                      <a:pt x="247" y="431"/>
                      <a:pt x="245" y="432"/>
                      <a:pt x="245" y="432"/>
                    </a:cubicBezTo>
                    <a:cubicBezTo>
                      <a:pt x="244" y="432"/>
                      <a:pt x="245" y="434"/>
                      <a:pt x="244" y="434"/>
                    </a:cubicBezTo>
                    <a:cubicBezTo>
                      <a:pt x="245" y="434"/>
                      <a:pt x="246" y="434"/>
                      <a:pt x="247" y="433"/>
                    </a:cubicBezTo>
                    <a:cubicBezTo>
                      <a:pt x="246" y="434"/>
                      <a:pt x="244" y="435"/>
                      <a:pt x="245" y="436"/>
                    </a:cubicBezTo>
                    <a:cubicBezTo>
                      <a:pt x="245" y="437"/>
                      <a:pt x="248" y="435"/>
                      <a:pt x="249" y="436"/>
                    </a:cubicBezTo>
                    <a:cubicBezTo>
                      <a:pt x="248" y="436"/>
                      <a:pt x="247" y="437"/>
                      <a:pt x="245" y="436"/>
                    </a:cubicBezTo>
                    <a:cubicBezTo>
                      <a:pt x="244" y="436"/>
                      <a:pt x="243" y="436"/>
                      <a:pt x="242" y="437"/>
                    </a:cubicBezTo>
                    <a:cubicBezTo>
                      <a:pt x="246" y="438"/>
                      <a:pt x="249" y="438"/>
                      <a:pt x="252" y="436"/>
                    </a:cubicBezTo>
                    <a:cubicBezTo>
                      <a:pt x="252" y="437"/>
                      <a:pt x="251" y="437"/>
                      <a:pt x="251" y="437"/>
                    </a:cubicBezTo>
                    <a:cubicBezTo>
                      <a:pt x="251" y="437"/>
                      <a:pt x="252" y="437"/>
                      <a:pt x="253" y="437"/>
                    </a:cubicBezTo>
                    <a:cubicBezTo>
                      <a:pt x="251" y="438"/>
                      <a:pt x="250" y="438"/>
                      <a:pt x="248" y="438"/>
                    </a:cubicBezTo>
                    <a:cubicBezTo>
                      <a:pt x="247" y="439"/>
                      <a:pt x="246" y="439"/>
                      <a:pt x="245" y="439"/>
                    </a:cubicBezTo>
                    <a:cubicBezTo>
                      <a:pt x="246" y="439"/>
                      <a:pt x="248" y="439"/>
                      <a:pt x="249" y="439"/>
                    </a:cubicBezTo>
                    <a:cubicBezTo>
                      <a:pt x="250" y="439"/>
                      <a:pt x="251" y="440"/>
                      <a:pt x="252" y="440"/>
                    </a:cubicBezTo>
                    <a:cubicBezTo>
                      <a:pt x="252" y="440"/>
                      <a:pt x="250" y="440"/>
                      <a:pt x="251" y="441"/>
                    </a:cubicBezTo>
                    <a:cubicBezTo>
                      <a:pt x="250" y="441"/>
                      <a:pt x="249" y="441"/>
                      <a:pt x="249" y="442"/>
                    </a:cubicBezTo>
                    <a:cubicBezTo>
                      <a:pt x="249" y="443"/>
                      <a:pt x="252" y="442"/>
                      <a:pt x="252" y="442"/>
                    </a:cubicBezTo>
                    <a:cubicBezTo>
                      <a:pt x="252" y="443"/>
                      <a:pt x="251" y="443"/>
                      <a:pt x="251" y="443"/>
                    </a:cubicBezTo>
                    <a:cubicBezTo>
                      <a:pt x="253" y="442"/>
                      <a:pt x="254" y="440"/>
                      <a:pt x="256" y="440"/>
                    </a:cubicBezTo>
                    <a:cubicBezTo>
                      <a:pt x="256" y="441"/>
                      <a:pt x="255" y="441"/>
                      <a:pt x="255" y="441"/>
                    </a:cubicBezTo>
                    <a:cubicBezTo>
                      <a:pt x="254" y="441"/>
                      <a:pt x="255" y="442"/>
                      <a:pt x="255" y="442"/>
                    </a:cubicBezTo>
                    <a:cubicBezTo>
                      <a:pt x="254" y="443"/>
                      <a:pt x="253" y="442"/>
                      <a:pt x="254" y="443"/>
                    </a:cubicBezTo>
                    <a:cubicBezTo>
                      <a:pt x="254" y="445"/>
                      <a:pt x="257" y="443"/>
                      <a:pt x="258" y="443"/>
                    </a:cubicBezTo>
                    <a:cubicBezTo>
                      <a:pt x="257" y="444"/>
                      <a:pt x="256" y="444"/>
                      <a:pt x="257" y="445"/>
                    </a:cubicBezTo>
                    <a:cubicBezTo>
                      <a:pt x="256" y="445"/>
                      <a:pt x="255" y="445"/>
                      <a:pt x="254" y="445"/>
                    </a:cubicBezTo>
                    <a:cubicBezTo>
                      <a:pt x="253" y="446"/>
                      <a:pt x="252" y="445"/>
                      <a:pt x="251" y="446"/>
                    </a:cubicBezTo>
                    <a:cubicBezTo>
                      <a:pt x="253" y="446"/>
                      <a:pt x="255" y="446"/>
                      <a:pt x="256" y="446"/>
                    </a:cubicBezTo>
                    <a:cubicBezTo>
                      <a:pt x="257" y="446"/>
                      <a:pt x="258" y="446"/>
                      <a:pt x="258" y="445"/>
                    </a:cubicBezTo>
                    <a:cubicBezTo>
                      <a:pt x="258" y="446"/>
                      <a:pt x="257" y="447"/>
                      <a:pt x="256" y="447"/>
                    </a:cubicBezTo>
                    <a:cubicBezTo>
                      <a:pt x="255" y="448"/>
                      <a:pt x="254" y="447"/>
                      <a:pt x="253" y="448"/>
                    </a:cubicBezTo>
                    <a:cubicBezTo>
                      <a:pt x="254" y="448"/>
                      <a:pt x="255" y="448"/>
                      <a:pt x="256" y="448"/>
                    </a:cubicBezTo>
                    <a:cubicBezTo>
                      <a:pt x="257" y="448"/>
                      <a:pt x="258" y="448"/>
                      <a:pt x="260" y="448"/>
                    </a:cubicBezTo>
                    <a:cubicBezTo>
                      <a:pt x="260" y="449"/>
                      <a:pt x="262" y="448"/>
                      <a:pt x="263" y="448"/>
                    </a:cubicBezTo>
                    <a:cubicBezTo>
                      <a:pt x="261" y="447"/>
                      <a:pt x="259" y="448"/>
                      <a:pt x="257" y="448"/>
                    </a:cubicBezTo>
                    <a:cubicBezTo>
                      <a:pt x="258" y="447"/>
                      <a:pt x="260" y="448"/>
                      <a:pt x="261" y="447"/>
                    </a:cubicBezTo>
                    <a:cubicBezTo>
                      <a:pt x="260" y="447"/>
                      <a:pt x="262" y="446"/>
                      <a:pt x="262" y="446"/>
                    </a:cubicBezTo>
                    <a:cubicBezTo>
                      <a:pt x="264" y="446"/>
                      <a:pt x="264" y="447"/>
                      <a:pt x="265" y="446"/>
                    </a:cubicBezTo>
                    <a:cubicBezTo>
                      <a:pt x="266" y="448"/>
                      <a:pt x="264" y="448"/>
                      <a:pt x="267" y="448"/>
                    </a:cubicBezTo>
                    <a:cubicBezTo>
                      <a:pt x="267" y="448"/>
                      <a:pt x="266" y="448"/>
                      <a:pt x="266" y="448"/>
                    </a:cubicBezTo>
                    <a:cubicBezTo>
                      <a:pt x="268" y="448"/>
                      <a:pt x="270" y="448"/>
                      <a:pt x="268" y="447"/>
                    </a:cubicBezTo>
                    <a:cubicBezTo>
                      <a:pt x="268" y="447"/>
                      <a:pt x="268" y="447"/>
                      <a:pt x="269" y="447"/>
                    </a:cubicBezTo>
                    <a:cubicBezTo>
                      <a:pt x="269" y="447"/>
                      <a:pt x="268" y="447"/>
                      <a:pt x="268" y="446"/>
                    </a:cubicBezTo>
                    <a:cubicBezTo>
                      <a:pt x="269" y="447"/>
                      <a:pt x="270" y="447"/>
                      <a:pt x="270" y="446"/>
                    </a:cubicBezTo>
                    <a:cubicBezTo>
                      <a:pt x="269" y="446"/>
                      <a:pt x="270" y="446"/>
                      <a:pt x="270" y="446"/>
                    </a:cubicBezTo>
                    <a:cubicBezTo>
                      <a:pt x="270" y="445"/>
                      <a:pt x="271" y="445"/>
                      <a:pt x="272" y="445"/>
                    </a:cubicBezTo>
                    <a:cubicBezTo>
                      <a:pt x="272" y="445"/>
                      <a:pt x="272" y="445"/>
                      <a:pt x="271" y="445"/>
                    </a:cubicBezTo>
                    <a:cubicBezTo>
                      <a:pt x="272" y="445"/>
                      <a:pt x="272" y="445"/>
                      <a:pt x="272" y="445"/>
                    </a:cubicBezTo>
                    <a:cubicBezTo>
                      <a:pt x="272" y="445"/>
                      <a:pt x="272" y="444"/>
                      <a:pt x="272" y="444"/>
                    </a:cubicBezTo>
                    <a:cubicBezTo>
                      <a:pt x="273" y="444"/>
                      <a:pt x="274" y="445"/>
                      <a:pt x="275" y="445"/>
                    </a:cubicBezTo>
                    <a:cubicBezTo>
                      <a:pt x="274" y="445"/>
                      <a:pt x="274" y="445"/>
                      <a:pt x="273" y="444"/>
                    </a:cubicBezTo>
                    <a:cubicBezTo>
                      <a:pt x="274" y="444"/>
                      <a:pt x="278" y="445"/>
                      <a:pt x="277" y="444"/>
                    </a:cubicBezTo>
                    <a:cubicBezTo>
                      <a:pt x="277" y="444"/>
                      <a:pt x="278" y="444"/>
                      <a:pt x="277" y="443"/>
                    </a:cubicBezTo>
                    <a:cubicBezTo>
                      <a:pt x="277" y="442"/>
                      <a:pt x="276" y="442"/>
                      <a:pt x="275" y="442"/>
                    </a:cubicBezTo>
                    <a:cubicBezTo>
                      <a:pt x="276" y="441"/>
                      <a:pt x="276" y="442"/>
                      <a:pt x="277" y="442"/>
                    </a:cubicBezTo>
                    <a:cubicBezTo>
                      <a:pt x="277" y="442"/>
                      <a:pt x="277" y="441"/>
                      <a:pt x="277" y="441"/>
                    </a:cubicBezTo>
                    <a:cubicBezTo>
                      <a:pt x="278" y="441"/>
                      <a:pt x="278" y="440"/>
                      <a:pt x="279" y="440"/>
                    </a:cubicBezTo>
                    <a:cubicBezTo>
                      <a:pt x="279" y="441"/>
                      <a:pt x="277" y="442"/>
                      <a:pt x="277" y="442"/>
                    </a:cubicBezTo>
                    <a:cubicBezTo>
                      <a:pt x="278" y="443"/>
                      <a:pt x="279" y="443"/>
                      <a:pt x="280" y="443"/>
                    </a:cubicBezTo>
                    <a:cubicBezTo>
                      <a:pt x="279" y="443"/>
                      <a:pt x="279" y="444"/>
                      <a:pt x="278" y="444"/>
                    </a:cubicBezTo>
                    <a:cubicBezTo>
                      <a:pt x="278" y="444"/>
                      <a:pt x="278" y="445"/>
                      <a:pt x="278" y="445"/>
                    </a:cubicBezTo>
                    <a:cubicBezTo>
                      <a:pt x="278" y="445"/>
                      <a:pt x="278" y="445"/>
                      <a:pt x="277" y="445"/>
                    </a:cubicBezTo>
                    <a:cubicBezTo>
                      <a:pt x="277" y="445"/>
                      <a:pt x="276" y="446"/>
                      <a:pt x="275" y="446"/>
                    </a:cubicBezTo>
                    <a:cubicBezTo>
                      <a:pt x="277" y="447"/>
                      <a:pt x="279" y="446"/>
                      <a:pt x="280" y="445"/>
                    </a:cubicBezTo>
                    <a:cubicBezTo>
                      <a:pt x="281" y="444"/>
                      <a:pt x="281" y="443"/>
                      <a:pt x="281" y="442"/>
                    </a:cubicBezTo>
                    <a:cubicBezTo>
                      <a:pt x="282" y="442"/>
                      <a:pt x="282" y="444"/>
                      <a:pt x="283" y="444"/>
                    </a:cubicBezTo>
                    <a:cubicBezTo>
                      <a:pt x="283" y="444"/>
                      <a:pt x="284" y="443"/>
                      <a:pt x="284" y="442"/>
                    </a:cubicBezTo>
                    <a:cubicBezTo>
                      <a:pt x="283" y="444"/>
                      <a:pt x="281" y="446"/>
                      <a:pt x="279" y="446"/>
                    </a:cubicBezTo>
                    <a:cubicBezTo>
                      <a:pt x="277" y="447"/>
                      <a:pt x="276" y="447"/>
                      <a:pt x="274" y="448"/>
                    </a:cubicBezTo>
                    <a:cubicBezTo>
                      <a:pt x="275" y="448"/>
                      <a:pt x="275" y="448"/>
                      <a:pt x="276" y="448"/>
                    </a:cubicBezTo>
                    <a:cubicBezTo>
                      <a:pt x="276" y="447"/>
                      <a:pt x="277" y="448"/>
                      <a:pt x="277" y="447"/>
                    </a:cubicBezTo>
                    <a:cubicBezTo>
                      <a:pt x="276" y="448"/>
                      <a:pt x="275" y="448"/>
                      <a:pt x="274" y="449"/>
                    </a:cubicBezTo>
                    <a:cubicBezTo>
                      <a:pt x="274" y="449"/>
                      <a:pt x="276" y="450"/>
                      <a:pt x="276" y="449"/>
                    </a:cubicBezTo>
                    <a:cubicBezTo>
                      <a:pt x="276" y="449"/>
                      <a:pt x="276" y="448"/>
                      <a:pt x="276" y="448"/>
                    </a:cubicBezTo>
                    <a:cubicBezTo>
                      <a:pt x="277" y="448"/>
                      <a:pt x="278" y="448"/>
                      <a:pt x="278" y="448"/>
                    </a:cubicBezTo>
                    <a:cubicBezTo>
                      <a:pt x="278" y="449"/>
                      <a:pt x="277" y="449"/>
                      <a:pt x="277" y="449"/>
                    </a:cubicBezTo>
                    <a:cubicBezTo>
                      <a:pt x="279" y="449"/>
                      <a:pt x="280" y="449"/>
                      <a:pt x="281" y="448"/>
                    </a:cubicBezTo>
                    <a:cubicBezTo>
                      <a:pt x="281" y="447"/>
                      <a:pt x="282" y="447"/>
                      <a:pt x="282" y="446"/>
                    </a:cubicBezTo>
                    <a:cubicBezTo>
                      <a:pt x="282" y="446"/>
                      <a:pt x="282" y="445"/>
                      <a:pt x="282" y="446"/>
                    </a:cubicBezTo>
                    <a:cubicBezTo>
                      <a:pt x="283" y="447"/>
                      <a:pt x="279" y="450"/>
                      <a:pt x="278" y="450"/>
                    </a:cubicBezTo>
                    <a:cubicBezTo>
                      <a:pt x="279" y="450"/>
                      <a:pt x="279" y="451"/>
                      <a:pt x="280" y="450"/>
                    </a:cubicBezTo>
                    <a:cubicBezTo>
                      <a:pt x="279" y="451"/>
                      <a:pt x="278" y="451"/>
                      <a:pt x="276" y="452"/>
                    </a:cubicBezTo>
                    <a:cubicBezTo>
                      <a:pt x="277" y="452"/>
                      <a:pt x="279" y="451"/>
                      <a:pt x="280" y="451"/>
                    </a:cubicBezTo>
                    <a:cubicBezTo>
                      <a:pt x="279" y="451"/>
                      <a:pt x="279" y="452"/>
                      <a:pt x="279" y="452"/>
                    </a:cubicBezTo>
                    <a:cubicBezTo>
                      <a:pt x="280" y="452"/>
                      <a:pt x="281" y="452"/>
                      <a:pt x="281" y="452"/>
                    </a:cubicBezTo>
                    <a:cubicBezTo>
                      <a:pt x="281" y="451"/>
                      <a:pt x="282" y="452"/>
                      <a:pt x="282" y="451"/>
                    </a:cubicBezTo>
                    <a:cubicBezTo>
                      <a:pt x="282" y="451"/>
                      <a:pt x="283" y="450"/>
                      <a:pt x="282" y="450"/>
                    </a:cubicBezTo>
                    <a:cubicBezTo>
                      <a:pt x="283" y="450"/>
                      <a:pt x="284" y="451"/>
                      <a:pt x="285" y="450"/>
                    </a:cubicBezTo>
                    <a:cubicBezTo>
                      <a:pt x="284" y="451"/>
                      <a:pt x="283" y="451"/>
                      <a:pt x="283" y="452"/>
                    </a:cubicBezTo>
                    <a:cubicBezTo>
                      <a:pt x="282" y="452"/>
                      <a:pt x="282" y="453"/>
                      <a:pt x="281" y="453"/>
                    </a:cubicBezTo>
                    <a:cubicBezTo>
                      <a:pt x="282" y="453"/>
                      <a:pt x="283" y="453"/>
                      <a:pt x="284" y="452"/>
                    </a:cubicBezTo>
                    <a:cubicBezTo>
                      <a:pt x="284" y="452"/>
                      <a:pt x="283" y="452"/>
                      <a:pt x="284" y="452"/>
                    </a:cubicBezTo>
                    <a:cubicBezTo>
                      <a:pt x="284" y="452"/>
                      <a:pt x="284" y="452"/>
                      <a:pt x="284" y="452"/>
                    </a:cubicBezTo>
                    <a:cubicBezTo>
                      <a:pt x="284" y="452"/>
                      <a:pt x="284" y="452"/>
                      <a:pt x="284" y="451"/>
                    </a:cubicBezTo>
                    <a:cubicBezTo>
                      <a:pt x="284" y="451"/>
                      <a:pt x="285" y="451"/>
                      <a:pt x="285" y="451"/>
                    </a:cubicBezTo>
                    <a:cubicBezTo>
                      <a:pt x="285" y="452"/>
                      <a:pt x="284" y="453"/>
                      <a:pt x="283" y="454"/>
                    </a:cubicBezTo>
                    <a:cubicBezTo>
                      <a:pt x="285" y="454"/>
                      <a:pt x="286" y="454"/>
                      <a:pt x="287" y="452"/>
                    </a:cubicBezTo>
                    <a:cubicBezTo>
                      <a:pt x="288" y="451"/>
                      <a:pt x="288" y="450"/>
                      <a:pt x="290" y="450"/>
                    </a:cubicBezTo>
                    <a:cubicBezTo>
                      <a:pt x="289" y="451"/>
                      <a:pt x="288" y="453"/>
                      <a:pt x="287" y="454"/>
                    </a:cubicBezTo>
                    <a:cubicBezTo>
                      <a:pt x="289" y="453"/>
                      <a:pt x="285" y="457"/>
                      <a:pt x="284" y="458"/>
                    </a:cubicBezTo>
                    <a:cubicBezTo>
                      <a:pt x="286" y="458"/>
                      <a:pt x="287" y="458"/>
                      <a:pt x="288" y="457"/>
                    </a:cubicBezTo>
                    <a:cubicBezTo>
                      <a:pt x="289" y="455"/>
                      <a:pt x="290" y="454"/>
                      <a:pt x="292" y="452"/>
                    </a:cubicBezTo>
                    <a:cubicBezTo>
                      <a:pt x="291" y="454"/>
                      <a:pt x="289" y="455"/>
                      <a:pt x="288" y="456"/>
                    </a:cubicBezTo>
                    <a:cubicBezTo>
                      <a:pt x="288" y="457"/>
                      <a:pt x="287" y="457"/>
                      <a:pt x="287" y="458"/>
                    </a:cubicBezTo>
                    <a:cubicBezTo>
                      <a:pt x="285" y="459"/>
                      <a:pt x="284" y="459"/>
                      <a:pt x="287" y="460"/>
                    </a:cubicBezTo>
                    <a:cubicBezTo>
                      <a:pt x="287" y="460"/>
                      <a:pt x="287" y="459"/>
                      <a:pt x="287" y="459"/>
                    </a:cubicBezTo>
                    <a:cubicBezTo>
                      <a:pt x="288" y="459"/>
                      <a:pt x="288" y="461"/>
                      <a:pt x="289" y="461"/>
                    </a:cubicBezTo>
                    <a:cubicBezTo>
                      <a:pt x="289" y="461"/>
                      <a:pt x="290" y="461"/>
                      <a:pt x="290" y="461"/>
                    </a:cubicBezTo>
                    <a:cubicBezTo>
                      <a:pt x="292" y="460"/>
                      <a:pt x="291" y="460"/>
                      <a:pt x="292" y="459"/>
                    </a:cubicBezTo>
                    <a:cubicBezTo>
                      <a:pt x="292" y="458"/>
                      <a:pt x="295" y="458"/>
                      <a:pt x="293" y="457"/>
                    </a:cubicBezTo>
                    <a:cubicBezTo>
                      <a:pt x="295" y="457"/>
                      <a:pt x="294" y="457"/>
                      <a:pt x="294" y="456"/>
                    </a:cubicBezTo>
                    <a:cubicBezTo>
                      <a:pt x="294" y="456"/>
                      <a:pt x="294" y="456"/>
                      <a:pt x="294" y="456"/>
                    </a:cubicBezTo>
                    <a:cubicBezTo>
                      <a:pt x="295" y="455"/>
                      <a:pt x="296" y="456"/>
                      <a:pt x="295" y="455"/>
                    </a:cubicBezTo>
                    <a:cubicBezTo>
                      <a:pt x="296" y="456"/>
                      <a:pt x="296" y="456"/>
                      <a:pt x="296" y="457"/>
                    </a:cubicBezTo>
                    <a:cubicBezTo>
                      <a:pt x="295" y="457"/>
                      <a:pt x="295" y="457"/>
                      <a:pt x="295" y="458"/>
                    </a:cubicBezTo>
                    <a:cubicBezTo>
                      <a:pt x="295" y="459"/>
                      <a:pt x="295" y="458"/>
                      <a:pt x="296" y="458"/>
                    </a:cubicBezTo>
                    <a:cubicBezTo>
                      <a:pt x="299" y="459"/>
                      <a:pt x="303" y="459"/>
                      <a:pt x="306" y="459"/>
                    </a:cubicBezTo>
                    <a:cubicBezTo>
                      <a:pt x="306" y="459"/>
                      <a:pt x="305" y="458"/>
                      <a:pt x="305" y="457"/>
                    </a:cubicBezTo>
                    <a:cubicBezTo>
                      <a:pt x="306" y="457"/>
                      <a:pt x="305" y="455"/>
                      <a:pt x="305" y="455"/>
                    </a:cubicBezTo>
                    <a:cubicBezTo>
                      <a:pt x="304" y="455"/>
                      <a:pt x="304" y="455"/>
                      <a:pt x="304" y="456"/>
                    </a:cubicBezTo>
                    <a:cubicBezTo>
                      <a:pt x="303" y="456"/>
                      <a:pt x="303" y="456"/>
                      <a:pt x="302" y="456"/>
                    </a:cubicBezTo>
                    <a:cubicBezTo>
                      <a:pt x="302" y="456"/>
                      <a:pt x="301" y="456"/>
                      <a:pt x="301" y="456"/>
                    </a:cubicBezTo>
                    <a:cubicBezTo>
                      <a:pt x="301" y="456"/>
                      <a:pt x="302" y="455"/>
                      <a:pt x="302" y="455"/>
                    </a:cubicBezTo>
                    <a:cubicBezTo>
                      <a:pt x="302" y="455"/>
                      <a:pt x="303" y="455"/>
                      <a:pt x="303" y="454"/>
                    </a:cubicBezTo>
                    <a:cubicBezTo>
                      <a:pt x="303" y="454"/>
                      <a:pt x="295" y="452"/>
                      <a:pt x="294" y="452"/>
                    </a:cubicBezTo>
                    <a:cubicBezTo>
                      <a:pt x="296" y="452"/>
                      <a:pt x="298" y="452"/>
                      <a:pt x="300" y="453"/>
                    </a:cubicBezTo>
                    <a:cubicBezTo>
                      <a:pt x="300" y="452"/>
                      <a:pt x="300" y="451"/>
                      <a:pt x="299" y="450"/>
                    </a:cubicBezTo>
                    <a:cubicBezTo>
                      <a:pt x="300" y="451"/>
                      <a:pt x="300" y="452"/>
                      <a:pt x="302" y="453"/>
                    </a:cubicBezTo>
                    <a:cubicBezTo>
                      <a:pt x="302" y="453"/>
                      <a:pt x="304" y="454"/>
                      <a:pt x="305" y="454"/>
                    </a:cubicBezTo>
                    <a:cubicBezTo>
                      <a:pt x="305" y="453"/>
                      <a:pt x="304" y="453"/>
                      <a:pt x="303" y="453"/>
                    </a:cubicBezTo>
                    <a:cubicBezTo>
                      <a:pt x="305" y="453"/>
                      <a:pt x="305" y="453"/>
                      <a:pt x="306" y="453"/>
                    </a:cubicBezTo>
                    <a:cubicBezTo>
                      <a:pt x="307" y="453"/>
                      <a:pt x="307" y="452"/>
                      <a:pt x="308" y="452"/>
                    </a:cubicBezTo>
                    <a:cubicBezTo>
                      <a:pt x="307" y="452"/>
                      <a:pt x="306" y="452"/>
                      <a:pt x="305" y="452"/>
                    </a:cubicBezTo>
                    <a:cubicBezTo>
                      <a:pt x="306" y="452"/>
                      <a:pt x="307" y="452"/>
                      <a:pt x="308" y="452"/>
                    </a:cubicBezTo>
                    <a:cubicBezTo>
                      <a:pt x="307" y="451"/>
                      <a:pt x="305" y="451"/>
                      <a:pt x="304" y="451"/>
                    </a:cubicBezTo>
                    <a:cubicBezTo>
                      <a:pt x="306" y="450"/>
                      <a:pt x="307" y="452"/>
                      <a:pt x="309" y="450"/>
                    </a:cubicBezTo>
                    <a:cubicBezTo>
                      <a:pt x="308" y="449"/>
                      <a:pt x="306" y="449"/>
                      <a:pt x="305" y="449"/>
                    </a:cubicBezTo>
                    <a:cubicBezTo>
                      <a:pt x="305" y="449"/>
                      <a:pt x="304" y="449"/>
                      <a:pt x="304" y="449"/>
                    </a:cubicBezTo>
                    <a:cubicBezTo>
                      <a:pt x="304" y="449"/>
                      <a:pt x="304" y="449"/>
                      <a:pt x="303" y="449"/>
                    </a:cubicBezTo>
                    <a:cubicBezTo>
                      <a:pt x="303" y="448"/>
                      <a:pt x="302" y="448"/>
                      <a:pt x="301" y="448"/>
                    </a:cubicBezTo>
                    <a:cubicBezTo>
                      <a:pt x="304" y="448"/>
                      <a:pt x="306" y="449"/>
                      <a:pt x="309" y="449"/>
                    </a:cubicBezTo>
                    <a:cubicBezTo>
                      <a:pt x="308" y="448"/>
                      <a:pt x="306" y="448"/>
                      <a:pt x="305" y="448"/>
                    </a:cubicBezTo>
                    <a:cubicBezTo>
                      <a:pt x="305" y="447"/>
                      <a:pt x="302" y="448"/>
                      <a:pt x="302" y="447"/>
                    </a:cubicBezTo>
                    <a:cubicBezTo>
                      <a:pt x="303" y="447"/>
                      <a:pt x="305" y="447"/>
                      <a:pt x="306" y="447"/>
                    </a:cubicBezTo>
                    <a:cubicBezTo>
                      <a:pt x="307" y="447"/>
                      <a:pt x="308" y="447"/>
                      <a:pt x="308" y="447"/>
                    </a:cubicBezTo>
                    <a:cubicBezTo>
                      <a:pt x="309" y="447"/>
                      <a:pt x="310" y="447"/>
                      <a:pt x="309" y="446"/>
                    </a:cubicBezTo>
                    <a:cubicBezTo>
                      <a:pt x="309" y="446"/>
                      <a:pt x="310" y="446"/>
                      <a:pt x="310" y="446"/>
                    </a:cubicBezTo>
                    <a:cubicBezTo>
                      <a:pt x="309" y="445"/>
                      <a:pt x="308" y="444"/>
                      <a:pt x="307" y="445"/>
                    </a:cubicBezTo>
                    <a:cubicBezTo>
                      <a:pt x="307" y="444"/>
                      <a:pt x="305" y="444"/>
                      <a:pt x="304" y="444"/>
                    </a:cubicBezTo>
                    <a:cubicBezTo>
                      <a:pt x="303" y="444"/>
                      <a:pt x="302" y="444"/>
                      <a:pt x="300" y="444"/>
                    </a:cubicBezTo>
                    <a:cubicBezTo>
                      <a:pt x="302" y="443"/>
                      <a:pt x="304" y="444"/>
                      <a:pt x="306" y="444"/>
                    </a:cubicBezTo>
                    <a:cubicBezTo>
                      <a:pt x="308" y="444"/>
                      <a:pt x="309" y="444"/>
                      <a:pt x="310" y="444"/>
                    </a:cubicBezTo>
                    <a:cubicBezTo>
                      <a:pt x="309" y="443"/>
                      <a:pt x="307" y="443"/>
                      <a:pt x="305" y="442"/>
                    </a:cubicBezTo>
                    <a:cubicBezTo>
                      <a:pt x="306" y="442"/>
                      <a:pt x="307" y="442"/>
                      <a:pt x="308" y="442"/>
                    </a:cubicBezTo>
                    <a:cubicBezTo>
                      <a:pt x="309" y="443"/>
                      <a:pt x="310" y="442"/>
                      <a:pt x="311" y="443"/>
                    </a:cubicBezTo>
                    <a:cubicBezTo>
                      <a:pt x="310" y="442"/>
                      <a:pt x="310" y="442"/>
                      <a:pt x="309" y="442"/>
                    </a:cubicBezTo>
                    <a:cubicBezTo>
                      <a:pt x="309" y="442"/>
                      <a:pt x="307" y="442"/>
                      <a:pt x="308" y="441"/>
                    </a:cubicBezTo>
                    <a:cubicBezTo>
                      <a:pt x="308" y="441"/>
                      <a:pt x="305" y="441"/>
                      <a:pt x="304" y="440"/>
                    </a:cubicBezTo>
                    <a:cubicBezTo>
                      <a:pt x="306" y="440"/>
                      <a:pt x="307" y="440"/>
                      <a:pt x="309" y="441"/>
                    </a:cubicBezTo>
                    <a:cubicBezTo>
                      <a:pt x="309" y="441"/>
                      <a:pt x="310" y="441"/>
                      <a:pt x="310" y="441"/>
                    </a:cubicBezTo>
                    <a:cubicBezTo>
                      <a:pt x="311" y="441"/>
                      <a:pt x="312" y="440"/>
                      <a:pt x="313" y="439"/>
                    </a:cubicBezTo>
                    <a:cubicBezTo>
                      <a:pt x="312" y="439"/>
                      <a:pt x="312" y="439"/>
                      <a:pt x="311" y="438"/>
                    </a:cubicBezTo>
                    <a:cubicBezTo>
                      <a:pt x="311" y="438"/>
                      <a:pt x="311" y="438"/>
                      <a:pt x="311" y="438"/>
                    </a:cubicBezTo>
                    <a:cubicBezTo>
                      <a:pt x="311" y="437"/>
                      <a:pt x="310" y="437"/>
                      <a:pt x="310" y="437"/>
                    </a:cubicBezTo>
                    <a:cubicBezTo>
                      <a:pt x="309" y="437"/>
                      <a:pt x="308" y="438"/>
                      <a:pt x="307" y="437"/>
                    </a:cubicBezTo>
                    <a:cubicBezTo>
                      <a:pt x="307" y="437"/>
                      <a:pt x="306" y="437"/>
                      <a:pt x="306" y="436"/>
                    </a:cubicBezTo>
                    <a:cubicBezTo>
                      <a:pt x="308" y="436"/>
                      <a:pt x="312" y="438"/>
                      <a:pt x="313" y="436"/>
                    </a:cubicBezTo>
                    <a:cubicBezTo>
                      <a:pt x="314" y="434"/>
                      <a:pt x="311" y="435"/>
                      <a:pt x="311" y="435"/>
                    </a:cubicBezTo>
                    <a:cubicBezTo>
                      <a:pt x="310" y="435"/>
                      <a:pt x="310" y="434"/>
                      <a:pt x="309" y="434"/>
                    </a:cubicBezTo>
                    <a:cubicBezTo>
                      <a:pt x="309" y="434"/>
                      <a:pt x="308" y="434"/>
                      <a:pt x="308" y="434"/>
                    </a:cubicBezTo>
                    <a:cubicBezTo>
                      <a:pt x="309" y="433"/>
                      <a:pt x="311" y="434"/>
                      <a:pt x="312" y="434"/>
                    </a:cubicBezTo>
                    <a:cubicBezTo>
                      <a:pt x="314" y="434"/>
                      <a:pt x="315" y="432"/>
                      <a:pt x="313" y="431"/>
                    </a:cubicBezTo>
                    <a:cubicBezTo>
                      <a:pt x="313" y="431"/>
                      <a:pt x="315" y="432"/>
                      <a:pt x="315" y="431"/>
                    </a:cubicBezTo>
                    <a:cubicBezTo>
                      <a:pt x="315" y="430"/>
                      <a:pt x="314" y="429"/>
                      <a:pt x="313" y="430"/>
                    </a:cubicBezTo>
                    <a:cubicBezTo>
                      <a:pt x="313" y="430"/>
                      <a:pt x="312" y="431"/>
                      <a:pt x="312" y="431"/>
                    </a:cubicBezTo>
                    <a:cubicBezTo>
                      <a:pt x="311" y="431"/>
                      <a:pt x="312" y="430"/>
                      <a:pt x="312" y="429"/>
                    </a:cubicBezTo>
                    <a:cubicBezTo>
                      <a:pt x="312" y="428"/>
                      <a:pt x="313" y="427"/>
                      <a:pt x="314" y="426"/>
                    </a:cubicBezTo>
                    <a:cubicBezTo>
                      <a:pt x="313" y="426"/>
                      <a:pt x="314" y="425"/>
                      <a:pt x="313" y="425"/>
                    </a:cubicBezTo>
                    <a:cubicBezTo>
                      <a:pt x="312" y="424"/>
                      <a:pt x="311" y="425"/>
                      <a:pt x="310" y="425"/>
                    </a:cubicBezTo>
                    <a:cubicBezTo>
                      <a:pt x="310" y="425"/>
                      <a:pt x="310" y="424"/>
                      <a:pt x="310" y="424"/>
                    </a:cubicBezTo>
                    <a:cubicBezTo>
                      <a:pt x="310" y="423"/>
                      <a:pt x="309" y="423"/>
                      <a:pt x="309" y="423"/>
                    </a:cubicBezTo>
                    <a:cubicBezTo>
                      <a:pt x="308" y="423"/>
                      <a:pt x="307" y="423"/>
                      <a:pt x="307" y="422"/>
                    </a:cubicBezTo>
                    <a:cubicBezTo>
                      <a:pt x="309" y="422"/>
                      <a:pt x="310" y="423"/>
                      <a:pt x="311" y="423"/>
                    </a:cubicBezTo>
                    <a:cubicBezTo>
                      <a:pt x="312" y="424"/>
                      <a:pt x="314" y="425"/>
                      <a:pt x="315" y="424"/>
                    </a:cubicBezTo>
                    <a:cubicBezTo>
                      <a:pt x="314" y="423"/>
                      <a:pt x="311" y="424"/>
                      <a:pt x="311" y="422"/>
                    </a:cubicBezTo>
                    <a:cubicBezTo>
                      <a:pt x="312" y="422"/>
                      <a:pt x="312" y="423"/>
                      <a:pt x="313" y="423"/>
                    </a:cubicBezTo>
                    <a:cubicBezTo>
                      <a:pt x="314" y="422"/>
                      <a:pt x="313" y="421"/>
                      <a:pt x="313" y="421"/>
                    </a:cubicBezTo>
                    <a:cubicBezTo>
                      <a:pt x="313" y="421"/>
                      <a:pt x="312" y="420"/>
                      <a:pt x="311" y="420"/>
                    </a:cubicBezTo>
                    <a:cubicBezTo>
                      <a:pt x="311" y="420"/>
                      <a:pt x="310" y="420"/>
                      <a:pt x="310" y="420"/>
                    </a:cubicBezTo>
                    <a:cubicBezTo>
                      <a:pt x="309" y="420"/>
                      <a:pt x="308" y="419"/>
                      <a:pt x="307" y="419"/>
                    </a:cubicBezTo>
                    <a:cubicBezTo>
                      <a:pt x="306" y="419"/>
                      <a:pt x="306" y="419"/>
                      <a:pt x="305" y="418"/>
                    </a:cubicBezTo>
                    <a:cubicBezTo>
                      <a:pt x="307" y="418"/>
                      <a:pt x="309" y="420"/>
                      <a:pt x="310" y="419"/>
                    </a:cubicBezTo>
                    <a:cubicBezTo>
                      <a:pt x="310" y="420"/>
                      <a:pt x="311" y="418"/>
                      <a:pt x="312" y="419"/>
                    </a:cubicBezTo>
                    <a:cubicBezTo>
                      <a:pt x="312" y="418"/>
                      <a:pt x="311" y="417"/>
                      <a:pt x="311" y="417"/>
                    </a:cubicBezTo>
                    <a:cubicBezTo>
                      <a:pt x="311" y="416"/>
                      <a:pt x="310" y="417"/>
                      <a:pt x="311" y="416"/>
                    </a:cubicBezTo>
                    <a:cubicBezTo>
                      <a:pt x="312" y="416"/>
                      <a:pt x="313" y="415"/>
                      <a:pt x="314" y="415"/>
                    </a:cubicBezTo>
                    <a:cubicBezTo>
                      <a:pt x="314" y="416"/>
                      <a:pt x="313" y="416"/>
                      <a:pt x="313" y="416"/>
                    </a:cubicBezTo>
                    <a:cubicBezTo>
                      <a:pt x="314" y="416"/>
                      <a:pt x="314" y="416"/>
                      <a:pt x="314" y="416"/>
                    </a:cubicBezTo>
                    <a:cubicBezTo>
                      <a:pt x="313" y="417"/>
                      <a:pt x="314" y="417"/>
                      <a:pt x="314" y="417"/>
                    </a:cubicBezTo>
                    <a:cubicBezTo>
                      <a:pt x="315" y="417"/>
                      <a:pt x="316" y="417"/>
                      <a:pt x="316" y="417"/>
                    </a:cubicBezTo>
                    <a:cubicBezTo>
                      <a:pt x="317" y="417"/>
                      <a:pt x="317" y="417"/>
                      <a:pt x="318" y="417"/>
                    </a:cubicBezTo>
                    <a:cubicBezTo>
                      <a:pt x="318" y="417"/>
                      <a:pt x="318" y="417"/>
                      <a:pt x="318" y="417"/>
                    </a:cubicBezTo>
                    <a:cubicBezTo>
                      <a:pt x="319" y="417"/>
                      <a:pt x="320" y="415"/>
                      <a:pt x="320" y="414"/>
                    </a:cubicBezTo>
                    <a:cubicBezTo>
                      <a:pt x="319" y="414"/>
                      <a:pt x="319" y="414"/>
                      <a:pt x="318" y="414"/>
                    </a:cubicBezTo>
                    <a:cubicBezTo>
                      <a:pt x="317" y="414"/>
                      <a:pt x="317" y="414"/>
                      <a:pt x="317" y="413"/>
                    </a:cubicBezTo>
                    <a:cubicBezTo>
                      <a:pt x="317" y="413"/>
                      <a:pt x="315" y="413"/>
                      <a:pt x="315" y="413"/>
                    </a:cubicBezTo>
                    <a:cubicBezTo>
                      <a:pt x="315" y="412"/>
                      <a:pt x="316" y="412"/>
                      <a:pt x="315" y="411"/>
                    </a:cubicBezTo>
                    <a:cubicBezTo>
                      <a:pt x="316" y="411"/>
                      <a:pt x="316" y="412"/>
                      <a:pt x="317" y="412"/>
                    </a:cubicBezTo>
                    <a:cubicBezTo>
                      <a:pt x="317" y="413"/>
                      <a:pt x="318" y="413"/>
                      <a:pt x="318" y="413"/>
                    </a:cubicBezTo>
                    <a:cubicBezTo>
                      <a:pt x="319" y="413"/>
                      <a:pt x="319" y="413"/>
                      <a:pt x="320" y="414"/>
                    </a:cubicBezTo>
                    <a:cubicBezTo>
                      <a:pt x="320" y="414"/>
                      <a:pt x="321" y="413"/>
                      <a:pt x="321" y="414"/>
                    </a:cubicBezTo>
                    <a:cubicBezTo>
                      <a:pt x="321" y="412"/>
                      <a:pt x="318" y="411"/>
                      <a:pt x="317" y="410"/>
                    </a:cubicBezTo>
                    <a:cubicBezTo>
                      <a:pt x="318" y="410"/>
                      <a:pt x="320" y="411"/>
                      <a:pt x="321" y="412"/>
                    </a:cubicBezTo>
                    <a:cubicBezTo>
                      <a:pt x="321" y="412"/>
                      <a:pt x="322" y="413"/>
                      <a:pt x="322" y="412"/>
                    </a:cubicBezTo>
                    <a:cubicBezTo>
                      <a:pt x="323" y="412"/>
                      <a:pt x="322" y="411"/>
                      <a:pt x="322" y="410"/>
                    </a:cubicBezTo>
                    <a:cubicBezTo>
                      <a:pt x="321" y="410"/>
                      <a:pt x="321" y="409"/>
                      <a:pt x="321" y="409"/>
                    </a:cubicBezTo>
                    <a:cubicBezTo>
                      <a:pt x="320" y="409"/>
                      <a:pt x="320" y="409"/>
                      <a:pt x="319" y="409"/>
                    </a:cubicBezTo>
                    <a:cubicBezTo>
                      <a:pt x="319" y="408"/>
                      <a:pt x="319" y="408"/>
                      <a:pt x="319" y="408"/>
                    </a:cubicBezTo>
                    <a:cubicBezTo>
                      <a:pt x="319" y="408"/>
                      <a:pt x="319" y="408"/>
                      <a:pt x="318" y="408"/>
                    </a:cubicBezTo>
                    <a:cubicBezTo>
                      <a:pt x="318" y="407"/>
                      <a:pt x="317" y="407"/>
                      <a:pt x="319" y="407"/>
                    </a:cubicBezTo>
                    <a:cubicBezTo>
                      <a:pt x="318" y="406"/>
                      <a:pt x="318" y="406"/>
                      <a:pt x="318" y="406"/>
                    </a:cubicBezTo>
                    <a:cubicBezTo>
                      <a:pt x="319" y="406"/>
                      <a:pt x="320" y="406"/>
                      <a:pt x="321" y="406"/>
                    </a:cubicBezTo>
                    <a:cubicBezTo>
                      <a:pt x="321" y="406"/>
                      <a:pt x="322" y="407"/>
                      <a:pt x="323" y="407"/>
                    </a:cubicBezTo>
                    <a:cubicBezTo>
                      <a:pt x="323" y="408"/>
                      <a:pt x="323" y="408"/>
                      <a:pt x="324" y="408"/>
                    </a:cubicBezTo>
                    <a:cubicBezTo>
                      <a:pt x="325" y="409"/>
                      <a:pt x="325" y="409"/>
                      <a:pt x="326" y="409"/>
                    </a:cubicBezTo>
                    <a:cubicBezTo>
                      <a:pt x="325" y="408"/>
                      <a:pt x="323" y="407"/>
                      <a:pt x="321" y="406"/>
                    </a:cubicBezTo>
                    <a:cubicBezTo>
                      <a:pt x="322" y="407"/>
                      <a:pt x="323" y="407"/>
                      <a:pt x="324" y="408"/>
                    </a:cubicBezTo>
                    <a:cubicBezTo>
                      <a:pt x="324" y="407"/>
                      <a:pt x="323" y="406"/>
                      <a:pt x="323" y="405"/>
                    </a:cubicBezTo>
                    <a:cubicBezTo>
                      <a:pt x="324" y="406"/>
                      <a:pt x="324" y="407"/>
                      <a:pt x="325" y="407"/>
                    </a:cubicBezTo>
                    <a:cubicBezTo>
                      <a:pt x="326" y="408"/>
                      <a:pt x="326" y="408"/>
                      <a:pt x="327" y="408"/>
                    </a:cubicBezTo>
                    <a:cubicBezTo>
                      <a:pt x="326" y="407"/>
                      <a:pt x="325" y="406"/>
                      <a:pt x="324" y="405"/>
                    </a:cubicBezTo>
                    <a:cubicBezTo>
                      <a:pt x="325" y="406"/>
                      <a:pt x="326" y="407"/>
                      <a:pt x="327" y="407"/>
                    </a:cubicBezTo>
                    <a:cubicBezTo>
                      <a:pt x="327" y="406"/>
                      <a:pt x="326" y="406"/>
                      <a:pt x="326" y="406"/>
                    </a:cubicBezTo>
                    <a:cubicBezTo>
                      <a:pt x="327" y="406"/>
                      <a:pt x="328" y="406"/>
                      <a:pt x="329" y="406"/>
                    </a:cubicBezTo>
                    <a:cubicBezTo>
                      <a:pt x="329" y="405"/>
                      <a:pt x="329" y="405"/>
                      <a:pt x="328" y="405"/>
                    </a:cubicBezTo>
                    <a:cubicBezTo>
                      <a:pt x="328" y="404"/>
                      <a:pt x="329" y="404"/>
                      <a:pt x="328" y="403"/>
                    </a:cubicBezTo>
                    <a:cubicBezTo>
                      <a:pt x="328" y="403"/>
                      <a:pt x="326" y="403"/>
                      <a:pt x="326" y="403"/>
                    </a:cubicBezTo>
                    <a:cubicBezTo>
                      <a:pt x="325" y="403"/>
                      <a:pt x="324" y="402"/>
                      <a:pt x="323" y="402"/>
                    </a:cubicBezTo>
                    <a:cubicBezTo>
                      <a:pt x="322" y="402"/>
                      <a:pt x="321" y="402"/>
                      <a:pt x="321" y="401"/>
                    </a:cubicBezTo>
                    <a:cubicBezTo>
                      <a:pt x="324" y="401"/>
                      <a:pt x="328" y="404"/>
                      <a:pt x="331" y="403"/>
                    </a:cubicBezTo>
                    <a:cubicBezTo>
                      <a:pt x="331" y="403"/>
                      <a:pt x="331" y="403"/>
                      <a:pt x="331" y="403"/>
                    </a:cubicBezTo>
                    <a:cubicBezTo>
                      <a:pt x="332" y="403"/>
                      <a:pt x="332" y="403"/>
                      <a:pt x="331" y="402"/>
                    </a:cubicBezTo>
                    <a:cubicBezTo>
                      <a:pt x="331" y="401"/>
                      <a:pt x="331" y="401"/>
                      <a:pt x="331" y="400"/>
                    </a:cubicBezTo>
                    <a:cubicBezTo>
                      <a:pt x="331" y="399"/>
                      <a:pt x="330" y="399"/>
                      <a:pt x="329" y="399"/>
                    </a:cubicBezTo>
                    <a:cubicBezTo>
                      <a:pt x="329" y="398"/>
                      <a:pt x="330" y="397"/>
                      <a:pt x="331" y="396"/>
                    </a:cubicBezTo>
                    <a:cubicBezTo>
                      <a:pt x="330" y="396"/>
                      <a:pt x="330" y="395"/>
                      <a:pt x="329" y="395"/>
                    </a:cubicBezTo>
                    <a:cubicBezTo>
                      <a:pt x="328" y="395"/>
                      <a:pt x="328" y="395"/>
                      <a:pt x="327" y="396"/>
                    </a:cubicBezTo>
                    <a:cubicBezTo>
                      <a:pt x="326" y="396"/>
                      <a:pt x="327" y="396"/>
                      <a:pt x="326" y="396"/>
                    </a:cubicBezTo>
                    <a:cubicBezTo>
                      <a:pt x="326" y="395"/>
                      <a:pt x="325" y="395"/>
                      <a:pt x="324" y="395"/>
                    </a:cubicBezTo>
                    <a:cubicBezTo>
                      <a:pt x="323" y="395"/>
                      <a:pt x="323" y="394"/>
                      <a:pt x="322" y="394"/>
                    </a:cubicBezTo>
                    <a:cubicBezTo>
                      <a:pt x="322" y="394"/>
                      <a:pt x="321" y="394"/>
                      <a:pt x="321" y="393"/>
                    </a:cubicBezTo>
                    <a:cubicBezTo>
                      <a:pt x="321" y="393"/>
                      <a:pt x="322" y="393"/>
                      <a:pt x="323" y="393"/>
                    </a:cubicBezTo>
                    <a:cubicBezTo>
                      <a:pt x="324" y="393"/>
                      <a:pt x="326" y="393"/>
                      <a:pt x="327" y="393"/>
                    </a:cubicBezTo>
                    <a:cubicBezTo>
                      <a:pt x="328" y="393"/>
                      <a:pt x="329" y="392"/>
                      <a:pt x="330" y="392"/>
                    </a:cubicBezTo>
                    <a:cubicBezTo>
                      <a:pt x="331" y="392"/>
                      <a:pt x="331" y="392"/>
                      <a:pt x="331" y="392"/>
                    </a:cubicBezTo>
                    <a:cubicBezTo>
                      <a:pt x="332" y="392"/>
                      <a:pt x="332" y="393"/>
                      <a:pt x="332" y="393"/>
                    </a:cubicBezTo>
                    <a:cubicBezTo>
                      <a:pt x="333" y="393"/>
                      <a:pt x="334" y="392"/>
                      <a:pt x="332" y="391"/>
                    </a:cubicBezTo>
                    <a:cubicBezTo>
                      <a:pt x="332" y="391"/>
                      <a:pt x="331" y="391"/>
                      <a:pt x="331" y="390"/>
                    </a:cubicBezTo>
                    <a:cubicBezTo>
                      <a:pt x="331" y="390"/>
                      <a:pt x="331" y="390"/>
                      <a:pt x="332" y="389"/>
                    </a:cubicBezTo>
                    <a:cubicBezTo>
                      <a:pt x="332" y="389"/>
                      <a:pt x="331" y="388"/>
                      <a:pt x="331" y="387"/>
                    </a:cubicBezTo>
                    <a:cubicBezTo>
                      <a:pt x="330" y="386"/>
                      <a:pt x="330" y="386"/>
                      <a:pt x="329" y="385"/>
                    </a:cubicBezTo>
                    <a:cubicBezTo>
                      <a:pt x="329" y="385"/>
                      <a:pt x="328" y="385"/>
                      <a:pt x="328" y="385"/>
                    </a:cubicBezTo>
                    <a:cubicBezTo>
                      <a:pt x="328" y="384"/>
                      <a:pt x="328" y="385"/>
                      <a:pt x="327" y="384"/>
                    </a:cubicBezTo>
                    <a:cubicBezTo>
                      <a:pt x="327" y="384"/>
                      <a:pt x="327" y="384"/>
                      <a:pt x="327" y="384"/>
                    </a:cubicBezTo>
                    <a:cubicBezTo>
                      <a:pt x="327" y="384"/>
                      <a:pt x="326" y="383"/>
                      <a:pt x="326" y="383"/>
                    </a:cubicBezTo>
                    <a:cubicBezTo>
                      <a:pt x="326" y="382"/>
                      <a:pt x="326" y="382"/>
                      <a:pt x="326" y="382"/>
                    </a:cubicBezTo>
                    <a:cubicBezTo>
                      <a:pt x="326" y="381"/>
                      <a:pt x="326" y="381"/>
                      <a:pt x="326" y="381"/>
                    </a:cubicBezTo>
                    <a:cubicBezTo>
                      <a:pt x="326" y="380"/>
                      <a:pt x="326" y="380"/>
                      <a:pt x="326" y="380"/>
                    </a:cubicBezTo>
                    <a:cubicBezTo>
                      <a:pt x="326" y="380"/>
                      <a:pt x="326" y="380"/>
                      <a:pt x="327" y="380"/>
                    </a:cubicBezTo>
                    <a:cubicBezTo>
                      <a:pt x="328" y="380"/>
                      <a:pt x="329" y="380"/>
                      <a:pt x="330" y="380"/>
                    </a:cubicBezTo>
                    <a:cubicBezTo>
                      <a:pt x="330" y="380"/>
                      <a:pt x="330" y="381"/>
                      <a:pt x="330" y="381"/>
                    </a:cubicBezTo>
                    <a:cubicBezTo>
                      <a:pt x="331" y="381"/>
                      <a:pt x="332" y="380"/>
                      <a:pt x="332" y="380"/>
                    </a:cubicBezTo>
                    <a:cubicBezTo>
                      <a:pt x="333" y="381"/>
                      <a:pt x="333" y="381"/>
                      <a:pt x="334" y="381"/>
                    </a:cubicBezTo>
                    <a:cubicBezTo>
                      <a:pt x="334" y="381"/>
                      <a:pt x="334" y="382"/>
                      <a:pt x="335" y="381"/>
                    </a:cubicBezTo>
                    <a:cubicBezTo>
                      <a:pt x="335" y="380"/>
                      <a:pt x="336" y="379"/>
                      <a:pt x="336" y="379"/>
                    </a:cubicBezTo>
                    <a:cubicBezTo>
                      <a:pt x="337" y="378"/>
                      <a:pt x="338" y="377"/>
                      <a:pt x="339" y="377"/>
                    </a:cubicBezTo>
                    <a:cubicBezTo>
                      <a:pt x="339" y="377"/>
                      <a:pt x="339" y="377"/>
                      <a:pt x="339" y="377"/>
                    </a:cubicBezTo>
                    <a:cubicBezTo>
                      <a:pt x="339" y="377"/>
                      <a:pt x="339" y="376"/>
                      <a:pt x="339" y="376"/>
                    </a:cubicBezTo>
                    <a:cubicBezTo>
                      <a:pt x="338" y="376"/>
                      <a:pt x="338" y="376"/>
                      <a:pt x="338" y="376"/>
                    </a:cubicBezTo>
                    <a:cubicBezTo>
                      <a:pt x="338" y="375"/>
                      <a:pt x="338" y="375"/>
                      <a:pt x="338" y="375"/>
                    </a:cubicBezTo>
                    <a:cubicBezTo>
                      <a:pt x="338" y="375"/>
                      <a:pt x="339" y="375"/>
                      <a:pt x="338" y="374"/>
                    </a:cubicBezTo>
                    <a:cubicBezTo>
                      <a:pt x="338" y="374"/>
                      <a:pt x="337" y="374"/>
                      <a:pt x="337" y="374"/>
                    </a:cubicBezTo>
                    <a:cubicBezTo>
                      <a:pt x="336" y="374"/>
                      <a:pt x="335" y="374"/>
                      <a:pt x="336" y="373"/>
                    </a:cubicBezTo>
                    <a:cubicBezTo>
                      <a:pt x="337" y="372"/>
                      <a:pt x="336" y="372"/>
                      <a:pt x="337" y="372"/>
                    </a:cubicBezTo>
                    <a:cubicBezTo>
                      <a:pt x="339" y="373"/>
                      <a:pt x="339" y="373"/>
                      <a:pt x="339" y="372"/>
                    </a:cubicBezTo>
                    <a:cubicBezTo>
                      <a:pt x="340" y="371"/>
                      <a:pt x="341" y="370"/>
                      <a:pt x="341" y="371"/>
                    </a:cubicBezTo>
                    <a:cubicBezTo>
                      <a:pt x="342" y="371"/>
                      <a:pt x="343" y="373"/>
                      <a:pt x="344" y="372"/>
                    </a:cubicBezTo>
                    <a:cubicBezTo>
                      <a:pt x="345" y="371"/>
                      <a:pt x="344" y="370"/>
                      <a:pt x="344" y="369"/>
                    </a:cubicBezTo>
                    <a:cubicBezTo>
                      <a:pt x="345" y="368"/>
                      <a:pt x="346" y="371"/>
                      <a:pt x="347" y="371"/>
                    </a:cubicBezTo>
                    <a:cubicBezTo>
                      <a:pt x="347" y="372"/>
                      <a:pt x="347" y="372"/>
                      <a:pt x="348" y="372"/>
                    </a:cubicBezTo>
                    <a:cubicBezTo>
                      <a:pt x="349" y="372"/>
                      <a:pt x="350" y="372"/>
                      <a:pt x="351" y="372"/>
                    </a:cubicBezTo>
                    <a:cubicBezTo>
                      <a:pt x="351" y="371"/>
                      <a:pt x="349" y="371"/>
                      <a:pt x="350" y="370"/>
                    </a:cubicBezTo>
                    <a:cubicBezTo>
                      <a:pt x="350" y="370"/>
                      <a:pt x="353" y="371"/>
                      <a:pt x="353" y="372"/>
                    </a:cubicBezTo>
                    <a:cubicBezTo>
                      <a:pt x="354" y="371"/>
                      <a:pt x="355" y="369"/>
                      <a:pt x="356" y="368"/>
                    </a:cubicBezTo>
                    <a:cubicBezTo>
                      <a:pt x="355" y="367"/>
                      <a:pt x="354" y="367"/>
                      <a:pt x="353" y="366"/>
                    </a:cubicBezTo>
                    <a:cubicBezTo>
                      <a:pt x="352" y="364"/>
                      <a:pt x="354" y="364"/>
                      <a:pt x="355" y="364"/>
                    </a:cubicBezTo>
                    <a:cubicBezTo>
                      <a:pt x="355" y="364"/>
                      <a:pt x="358" y="364"/>
                      <a:pt x="358" y="364"/>
                    </a:cubicBezTo>
                    <a:cubicBezTo>
                      <a:pt x="358" y="363"/>
                      <a:pt x="357" y="363"/>
                      <a:pt x="357" y="363"/>
                    </a:cubicBezTo>
                    <a:cubicBezTo>
                      <a:pt x="357" y="362"/>
                      <a:pt x="359" y="362"/>
                      <a:pt x="359" y="361"/>
                    </a:cubicBezTo>
                    <a:cubicBezTo>
                      <a:pt x="359" y="361"/>
                      <a:pt x="358" y="361"/>
                      <a:pt x="358" y="361"/>
                    </a:cubicBezTo>
                    <a:cubicBezTo>
                      <a:pt x="358" y="360"/>
                      <a:pt x="360" y="361"/>
                      <a:pt x="360" y="361"/>
                    </a:cubicBezTo>
                    <a:cubicBezTo>
                      <a:pt x="362" y="360"/>
                      <a:pt x="359" y="359"/>
                      <a:pt x="358" y="359"/>
                    </a:cubicBezTo>
                    <a:cubicBezTo>
                      <a:pt x="358" y="359"/>
                      <a:pt x="357" y="359"/>
                      <a:pt x="356" y="359"/>
                    </a:cubicBezTo>
                    <a:cubicBezTo>
                      <a:pt x="356" y="358"/>
                      <a:pt x="357" y="358"/>
                      <a:pt x="358" y="358"/>
                    </a:cubicBezTo>
                    <a:cubicBezTo>
                      <a:pt x="359" y="358"/>
                      <a:pt x="359" y="359"/>
                      <a:pt x="359" y="357"/>
                    </a:cubicBezTo>
                    <a:cubicBezTo>
                      <a:pt x="360" y="358"/>
                      <a:pt x="361" y="359"/>
                      <a:pt x="362" y="359"/>
                    </a:cubicBezTo>
                    <a:cubicBezTo>
                      <a:pt x="362" y="359"/>
                      <a:pt x="363" y="359"/>
                      <a:pt x="363" y="359"/>
                    </a:cubicBezTo>
                    <a:cubicBezTo>
                      <a:pt x="364" y="359"/>
                      <a:pt x="365" y="359"/>
                      <a:pt x="365" y="359"/>
                    </a:cubicBezTo>
                    <a:cubicBezTo>
                      <a:pt x="367" y="359"/>
                      <a:pt x="366" y="359"/>
                      <a:pt x="365" y="360"/>
                    </a:cubicBezTo>
                    <a:cubicBezTo>
                      <a:pt x="363" y="361"/>
                      <a:pt x="363" y="362"/>
                      <a:pt x="362" y="363"/>
                    </a:cubicBezTo>
                    <a:cubicBezTo>
                      <a:pt x="361" y="363"/>
                      <a:pt x="361" y="363"/>
                      <a:pt x="361" y="364"/>
                    </a:cubicBezTo>
                    <a:cubicBezTo>
                      <a:pt x="361" y="364"/>
                      <a:pt x="360" y="363"/>
                      <a:pt x="360" y="364"/>
                    </a:cubicBezTo>
                    <a:cubicBezTo>
                      <a:pt x="359" y="365"/>
                      <a:pt x="360" y="366"/>
                      <a:pt x="359" y="367"/>
                    </a:cubicBezTo>
                    <a:cubicBezTo>
                      <a:pt x="360" y="367"/>
                      <a:pt x="361" y="366"/>
                      <a:pt x="362" y="367"/>
                    </a:cubicBezTo>
                    <a:cubicBezTo>
                      <a:pt x="363" y="367"/>
                      <a:pt x="365" y="369"/>
                      <a:pt x="366" y="369"/>
                    </a:cubicBezTo>
                    <a:cubicBezTo>
                      <a:pt x="367" y="368"/>
                      <a:pt x="366" y="367"/>
                      <a:pt x="366" y="367"/>
                    </a:cubicBezTo>
                    <a:cubicBezTo>
                      <a:pt x="366" y="366"/>
                      <a:pt x="366" y="366"/>
                      <a:pt x="366" y="366"/>
                    </a:cubicBezTo>
                    <a:cubicBezTo>
                      <a:pt x="367" y="365"/>
                      <a:pt x="366" y="365"/>
                      <a:pt x="366" y="365"/>
                    </a:cubicBezTo>
                    <a:cubicBezTo>
                      <a:pt x="366" y="364"/>
                      <a:pt x="367" y="364"/>
                      <a:pt x="367" y="364"/>
                    </a:cubicBezTo>
                    <a:cubicBezTo>
                      <a:pt x="367" y="365"/>
                      <a:pt x="367" y="365"/>
                      <a:pt x="367" y="366"/>
                    </a:cubicBezTo>
                    <a:cubicBezTo>
                      <a:pt x="367" y="366"/>
                      <a:pt x="368" y="368"/>
                      <a:pt x="368" y="367"/>
                    </a:cubicBezTo>
                    <a:cubicBezTo>
                      <a:pt x="369" y="368"/>
                      <a:pt x="371" y="363"/>
                      <a:pt x="373" y="364"/>
                    </a:cubicBezTo>
                    <a:cubicBezTo>
                      <a:pt x="374" y="365"/>
                      <a:pt x="374" y="365"/>
                      <a:pt x="374" y="365"/>
                    </a:cubicBezTo>
                    <a:cubicBezTo>
                      <a:pt x="375" y="366"/>
                      <a:pt x="374" y="366"/>
                      <a:pt x="375" y="366"/>
                    </a:cubicBezTo>
                    <a:cubicBezTo>
                      <a:pt x="376" y="366"/>
                      <a:pt x="377" y="366"/>
                      <a:pt x="377" y="366"/>
                    </a:cubicBezTo>
                    <a:cubicBezTo>
                      <a:pt x="378" y="366"/>
                      <a:pt x="379" y="363"/>
                      <a:pt x="380" y="363"/>
                    </a:cubicBezTo>
                    <a:cubicBezTo>
                      <a:pt x="379" y="363"/>
                      <a:pt x="379" y="363"/>
                      <a:pt x="379" y="363"/>
                    </a:cubicBezTo>
                    <a:cubicBezTo>
                      <a:pt x="379" y="362"/>
                      <a:pt x="380" y="362"/>
                      <a:pt x="381" y="362"/>
                    </a:cubicBezTo>
                    <a:cubicBezTo>
                      <a:pt x="381" y="362"/>
                      <a:pt x="382" y="362"/>
                      <a:pt x="382" y="363"/>
                    </a:cubicBezTo>
                    <a:cubicBezTo>
                      <a:pt x="382" y="362"/>
                      <a:pt x="382" y="361"/>
                      <a:pt x="381" y="361"/>
                    </a:cubicBezTo>
                    <a:cubicBezTo>
                      <a:pt x="382" y="361"/>
                      <a:pt x="382" y="361"/>
                      <a:pt x="382" y="361"/>
                    </a:cubicBezTo>
                    <a:cubicBezTo>
                      <a:pt x="382" y="360"/>
                      <a:pt x="381" y="360"/>
                      <a:pt x="381" y="360"/>
                    </a:cubicBezTo>
                    <a:cubicBezTo>
                      <a:pt x="382" y="360"/>
                      <a:pt x="381" y="359"/>
                      <a:pt x="380" y="358"/>
                    </a:cubicBezTo>
                    <a:cubicBezTo>
                      <a:pt x="378" y="357"/>
                      <a:pt x="381" y="358"/>
                      <a:pt x="382" y="359"/>
                    </a:cubicBezTo>
                    <a:cubicBezTo>
                      <a:pt x="383" y="360"/>
                      <a:pt x="383" y="360"/>
                      <a:pt x="384" y="360"/>
                    </a:cubicBezTo>
                    <a:cubicBezTo>
                      <a:pt x="385" y="360"/>
                      <a:pt x="386" y="361"/>
                      <a:pt x="388" y="361"/>
                    </a:cubicBezTo>
                    <a:cubicBezTo>
                      <a:pt x="387" y="360"/>
                      <a:pt x="386" y="360"/>
                      <a:pt x="386" y="359"/>
                    </a:cubicBezTo>
                    <a:cubicBezTo>
                      <a:pt x="386" y="358"/>
                      <a:pt x="387" y="358"/>
                      <a:pt x="387" y="358"/>
                    </a:cubicBezTo>
                    <a:cubicBezTo>
                      <a:pt x="387" y="359"/>
                      <a:pt x="388" y="360"/>
                      <a:pt x="389" y="360"/>
                    </a:cubicBezTo>
                    <a:cubicBezTo>
                      <a:pt x="390" y="360"/>
                      <a:pt x="392" y="358"/>
                      <a:pt x="392" y="357"/>
                    </a:cubicBezTo>
                    <a:cubicBezTo>
                      <a:pt x="393" y="357"/>
                      <a:pt x="393" y="356"/>
                      <a:pt x="394" y="356"/>
                    </a:cubicBezTo>
                    <a:cubicBezTo>
                      <a:pt x="395" y="355"/>
                      <a:pt x="394" y="355"/>
                      <a:pt x="394" y="355"/>
                    </a:cubicBezTo>
                    <a:cubicBezTo>
                      <a:pt x="394" y="356"/>
                      <a:pt x="393" y="354"/>
                      <a:pt x="393" y="354"/>
                    </a:cubicBezTo>
                    <a:cubicBezTo>
                      <a:pt x="393" y="354"/>
                      <a:pt x="394" y="354"/>
                      <a:pt x="393" y="354"/>
                    </a:cubicBezTo>
                    <a:cubicBezTo>
                      <a:pt x="394" y="353"/>
                      <a:pt x="394" y="353"/>
                      <a:pt x="394" y="352"/>
                    </a:cubicBezTo>
                    <a:cubicBezTo>
                      <a:pt x="394" y="353"/>
                      <a:pt x="394" y="355"/>
                      <a:pt x="396" y="354"/>
                    </a:cubicBezTo>
                    <a:cubicBezTo>
                      <a:pt x="396" y="355"/>
                      <a:pt x="396" y="355"/>
                      <a:pt x="396" y="355"/>
                    </a:cubicBezTo>
                    <a:cubicBezTo>
                      <a:pt x="397" y="354"/>
                      <a:pt x="397" y="352"/>
                      <a:pt x="398" y="351"/>
                    </a:cubicBezTo>
                    <a:cubicBezTo>
                      <a:pt x="398" y="350"/>
                      <a:pt x="399" y="350"/>
                      <a:pt x="399" y="350"/>
                    </a:cubicBezTo>
                    <a:cubicBezTo>
                      <a:pt x="399" y="349"/>
                      <a:pt x="399" y="349"/>
                      <a:pt x="399" y="349"/>
                    </a:cubicBezTo>
                    <a:cubicBezTo>
                      <a:pt x="399" y="349"/>
                      <a:pt x="399" y="349"/>
                      <a:pt x="399" y="348"/>
                    </a:cubicBezTo>
                    <a:cubicBezTo>
                      <a:pt x="399" y="347"/>
                      <a:pt x="402" y="346"/>
                      <a:pt x="403" y="346"/>
                    </a:cubicBezTo>
                    <a:cubicBezTo>
                      <a:pt x="403" y="345"/>
                      <a:pt x="403" y="345"/>
                      <a:pt x="403" y="345"/>
                    </a:cubicBezTo>
                    <a:cubicBezTo>
                      <a:pt x="403" y="344"/>
                      <a:pt x="403" y="344"/>
                      <a:pt x="402" y="344"/>
                    </a:cubicBezTo>
                    <a:cubicBezTo>
                      <a:pt x="403" y="343"/>
                      <a:pt x="404" y="343"/>
                      <a:pt x="404" y="342"/>
                    </a:cubicBezTo>
                    <a:cubicBezTo>
                      <a:pt x="404" y="342"/>
                      <a:pt x="404" y="342"/>
                      <a:pt x="404" y="342"/>
                    </a:cubicBezTo>
                    <a:cubicBezTo>
                      <a:pt x="405" y="341"/>
                      <a:pt x="403" y="342"/>
                      <a:pt x="403" y="341"/>
                    </a:cubicBezTo>
                    <a:cubicBezTo>
                      <a:pt x="403" y="341"/>
                      <a:pt x="407" y="339"/>
                      <a:pt x="405" y="339"/>
                    </a:cubicBezTo>
                    <a:cubicBezTo>
                      <a:pt x="405" y="339"/>
                      <a:pt x="405" y="339"/>
                      <a:pt x="405" y="338"/>
                    </a:cubicBezTo>
                    <a:cubicBezTo>
                      <a:pt x="406" y="337"/>
                      <a:pt x="407" y="337"/>
                      <a:pt x="408" y="337"/>
                    </a:cubicBezTo>
                    <a:cubicBezTo>
                      <a:pt x="405" y="336"/>
                      <a:pt x="408" y="335"/>
                      <a:pt x="410" y="334"/>
                    </a:cubicBezTo>
                    <a:cubicBezTo>
                      <a:pt x="413" y="333"/>
                      <a:pt x="416" y="332"/>
                      <a:pt x="418" y="330"/>
                    </a:cubicBezTo>
                    <a:cubicBezTo>
                      <a:pt x="418" y="330"/>
                      <a:pt x="418" y="330"/>
                      <a:pt x="418" y="330"/>
                    </a:cubicBezTo>
                    <a:cubicBezTo>
                      <a:pt x="418" y="330"/>
                      <a:pt x="417" y="330"/>
                      <a:pt x="418" y="329"/>
                    </a:cubicBezTo>
                    <a:cubicBezTo>
                      <a:pt x="419" y="328"/>
                      <a:pt x="419" y="328"/>
                      <a:pt x="418" y="328"/>
                    </a:cubicBezTo>
                    <a:cubicBezTo>
                      <a:pt x="418" y="328"/>
                      <a:pt x="417" y="327"/>
                      <a:pt x="417" y="327"/>
                    </a:cubicBezTo>
                    <a:cubicBezTo>
                      <a:pt x="417" y="327"/>
                      <a:pt x="416" y="327"/>
                      <a:pt x="416" y="327"/>
                    </a:cubicBezTo>
                    <a:cubicBezTo>
                      <a:pt x="416" y="327"/>
                      <a:pt x="414" y="327"/>
                      <a:pt x="415" y="326"/>
                    </a:cubicBezTo>
                    <a:cubicBezTo>
                      <a:pt x="416" y="325"/>
                      <a:pt x="418" y="325"/>
                      <a:pt x="416" y="324"/>
                    </a:cubicBezTo>
                    <a:cubicBezTo>
                      <a:pt x="416" y="324"/>
                      <a:pt x="415" y="324"/>
                      <a:pt x="414" y="323"/>
                    </a:cubicBezTo>
                    <a:cubicBezTo>
                      <a:pt x="413" y="322"/>
                      <a:pt x="413" y="322"/>
                      <a:pt x="414" y="321"/>
                    </a:cubicBezTo>
                    <a:cubicBezTo>
                      <a:pt x="414" y="321"/>
                      <a:pt x="414" y="321"/>
                      <a:pt x="414" y="321"/>
                    </a:cubicBezTo>
                    <a:cubicBezTo>
                      <a:pt x="415" y="321"/>
                      <a:pt x="414" y="320"/>
                      <a:pt x="414" y="320"/>
                    </a:cubicBezTo>
                    <a:cubicBezTo>
                      <a:pt x="414" y="320"/>
                      <a:pt x="414" y="320"/>
                      <a:pt x="414" y="319"/>
                    </a:cubicBezTo>
                    <a:cubicBezTo>
                      <a:pt x="415" y="320"/>
                      <a:pt x="415" y="321"/>
                      <a:pt x="416" y="321"/>
                    </a:cubicBezTo>
                    <a:cubicBezTo>
                      <a:pt x="416" y="322"/>
                      <a:pt x="416" y="322"/>
                      <a:pt x="416" y="323"/>
                    </a:cubicBezTo>
                    <a:cubicBezTo>
                      <a:pt x="417" y="323"/>
                      <a:pt x="418" y="323"/>
                      <a:pt x="418" y="324"/>
                    </a:cubicBezTo>
                    <a:cubicBezTo>
                      <a:pt x="419" y="325"/>
                      <a:pt x="418" y="326"/>
                      <a:pt x="419" y="326"/>
                    </a:cubicBezTo>
                    <a:cubicBezTo>
                      <a:pt x="421" y="326"/>
                      <a:pt x="423" y="325"/>
                      <a:pt x="424" y="326"/>
                    </a:cubicBezTo>
                    <a:cubicBezTo>
                      <a:pt x="423" y="326"/>
                      <a:pt x="422" y="326"/>
                      <a:pt x="422" y="327"/>
                    </a:cubicBezTo>
                    <a:cubicBezTo>
                      <a:pt x="423" y="327"/>
                      <a:pt x="422" y="327"/>
                      <a:pt x="422" y="328"/>
                    </a:cubicBezTo>
                    <a:cubicBezTo>
                      <a:pt x="422" y="329"/>
                      <a:pt x="424" y="329"/>
                      <a:pt x="425" y="329"/>
                    </a:cubicBezTo>
                    <a:cubicBezTo>
                      <a:pt x="426" y="329"/>
                      <a:pt x="427" y="329"/>
                      <a:pt x="429" y="329"/>
                    </a:cubicBezTo>
                    <a:cubicBezTo>
                      <a:pt x="430" y="330"/>
                      <a:pt x="432" y="328"/>
                      <a:pt x="433" y="327"/>
                    </a:cubicBezTo>
                    <a:cubicBezTo>
                      <a:pt x="433" y="327"/>
                      <a:pt x="432" y="326"/>
                      <a:pt x="431" y="326"/>
                    </a:cubicBezTo>
                    <a:cubicBezTo>
                      <a:pt x="432" y="326"/>
                      <a:pt x="434" y="326"/>
                      <a:pt x="435" y="327"/>
                    </a:cubicBezTo>
                    <a:cubicBezTo>
                      <a:pt x="436" y="327"/>
                      <a:pt x="435" y="328"/>
                      <a:pt x="435" y="328"/>
                    </a:cubicBezTo>
                    <a:cubicBezTo>
                      <a:pt x="436" y="329"/>
                      <a:pt x="439" y="329"/>
                      <a:pt x="438" y="327"/>
                    </a:cubicBezTo>
                    <a:cubicBezTo>
                      <a:pt x="438" y="325"/>
                      <a:pt x="435" y="327"/>
                      <a:pt x="438" y="325"/>
                    </a:cubicBezTo>
                    <a:cubicBezTo>
                      <a:pt x="439" y="325"/>
                      <a:pt x="439" y="324"/>
                      <a:pt x="439" y="324"/>
                    </a:cubicBezTo>
                    <a:cubicBezTo>
                      <a:pt x="440" y="324"/>
                      <a:pt x="440" y="323"/>
                      <a:pt x="441" y="323"/>
                    </a:cubicBezTo>
                    <a:cubicBezTo>
                      <a:pt x="442" y="324"/>
                      <a:pt x="442" y="325"/>
                      <a:pt x="443" y="325"/>
                    </a:cubicBezTo>
                    <a:cubicBezTo>
                      <a:pt x="443" y="326"/>
                      <a:pt x="445" y="327"/>
                      <a:pt x="445" y="327"/>
                    </a:cubicBezTo>
                    <a:cubicBezTo>
                      <a:pt x="446" y="326"/>
                      <a:pt x="446" y="326"/>
                      <a:pt x="447" y="325"/>
                    </a:cubicBezTo>
                    <a:cubicBezTo>
                      <a:pt x="447" y="324"/>
                      <a:pt x="448" y="324"/>
                      <a:pt x="448" y="323"/>
                    </a:cubicBezTo>
                    <a:cubicBezTo>
                      <a:pt x="450" y="324"/>
                      <a:pt x="451" y="325"/>
                      <a:pt x="452" y="324"/>
                    </a:cubicBezTo>
                    <a:cubicBezTo>
                      <a:pt x="455" y="323"/>
                      <a:pt x="457" y="322"/>
                      <a:pt x="459" y="321"/>
                    </a:cubicBezTo>
                    <a:cubicBezTo>
                      <a:pt x="461" y="320"/>
                      <a:pt x="461" y="322"/>
                      <a:pt x="462" y="322"/>
                    </a:cubicBezTo>
                    <a:cubicBezTo>
                      <a:pt x="463" y="322"/>
                      <a:pt x="464" y="322"/>
                      <a:pt x="465" y="321"/>
                    </a:cubicBezTo>
                    <a:cubicBezTo>
                      <a:pt x="470" y="320"/>
                      <a:pt x="476" y="318"/>
                      <a:pt x="481" y="316"/>
                    </a:cubicBezTo>
                    <a:cubicBezTo>
                      <a:pt x="482" y="316"/>
                      <a:pt x="483" y="314"/>
                      <a:pt x="484" y="313"/>
                    </a:cubicBezTo>
                    <a:cubicBezTo>
                      <a:pt x="484" y="312"/>
                      <a:pt x="485" y="312"/>
                      <a:pt x="484" y="311"/>
                    </a:cubicBezTo>
                    <a:cubicBezTo>
                      <a:pt x="485" y="311"/>
                      <a:pt x="486" y="311"/>
                      <a:pt x="487" y="312"/>
                    </a:cubicBezTo>
                    <a:cubicBezTo>
                      <a:pt x="487" y="312"/>
                      <a:pt x="488" y="312"/>
                      <a:pt x="488" y="312"/>
                    </a:cubicBezTo>
                    <a:cubicBezTo>
                      <a:pt x="488" y="311"/>
                      <a:pt x="487" y="310"/>
                      <a:pt x="488" y="310"/>
                    </a:cubicBezTo>
                    <a:cubicBezTo>
                      <a:pt x="488" y="309"/>
                      <a:pt x="489" y="309"/>
                      <a:pt x="490" y="308"/>
                    </a:cubicBezTo>
                    <a:cubicBezTo>
                      <a:pt x="489" y="309"/>
                      <a:pt x="487" y="309"/>
                      <a:pt x="488" y="308"/>
                    </a:cubicBezTo>
                    <a:cubicBezTo>
                      <a:pt x="489" y="307"/>
                      <a:pt x="492" y="308"/>
                      <a:pt x="493" y="308"/>
                    </a:cubicBezTo>
                    <a:cubicBezTo>
                      <a:pt x="493" y="308"/>
                      <a:pt x="493" y="308"/>
                      <a:pt x="493" y="308"/>
                    </a:cubicBezTo>
                    <a:cubicBezTo>
                      <a:pt x="494" y="309"/>
                      <a:pt x="494" y="307"/>
                      <a:pt x="494" y="306"/>
                    </a:cubicBezTo>
                    <a:cubicBezTo>
                      <a:pt x="494" y="306"/>
                      <a:pt x="493" y="306"/>
                      <a:pt x="493" y="305"/>
                    </a:cubicBezTo>
                    <a:close/>
                    <a:moveTo>
                      <a:pt x="486" y="21"/>
                    </a:moveTo>
                    <a:cubicBezTo>
                      <a:pt x="485" y="21"/>
                      <a:pt x="483" y="22"/>
                      <a:pt x="482" y="22"/>
                    </a:cubicBezTo>
                    <a:cubicBezTo>
                      <a:pt x="483" y="21"/>
                      <a:pt x="485" y="21"/>
                      <a:pt x="48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3" name="Freeform 1979">
                <a:extLst>
                  <a:ext uri="{FF2B5EF4-FFF2-40B4-BE49-F238E27FC236}">
                    <a16:creationId xmlns:a16="http://schemas.microsoft.com/office/drawing/2014/main" id="{CCBC6316-2424-43B2-A402-3482C2DB9352}"/>
                  </a:ext>
                </a:extLst>
              </p:cNvPr>
              <p:cNvSpPr>
                <a:spLocks/>
              </p:cNvSpPr>
              <p:nvPr/>
            </p:nvSpPr>
            <p:spPr bwMode="auto">
              <a:xfrm>
                <a:off x="3055" y="349"/>
                <a:ext cx="28" cy="9"/>
              </a:xfrm>
              <a:custGeom>
                <a:avLst/>
                <a:gdLst>
                  <a:gd name="T0" fmla="*/ 0 w 12"/>
                  <a:gd name="T1" fmla="*/ 1 h 4"/>
                  <a:gd name="T2" fmla="*/ 1 w 12"/>
                  <a:gd name="T3" fmla="*/ 1 h 4"/>
                  <a:gd name="T4" fmla="*/ 1 w 12"/>
                  <a:gd name="T5" fmla="*/ 1 h 4"/>
                  <a:gd name="T6" fmla="*/ 3 w 12"/>
                  <a:gd name="T7" fmla="*/ 2 h 4"/>
                  <a:gd name="T8" fmla="*/ 3 w 12"/>
                  <a:gd name="T9" fmla="*/ 2 h 4"/>
                  <a:gd name="T10" fmla="*/ 5 w 12"/>
                  <a:gd name="T11" fmla="*/ 2 h 4"/>
                  <a:gd name="T12" fmla="*/ 5 w 12"/>
                  <a:gd name="T13" fmla="*/ 2 h 4"/>
                  <a:gd name="T14" fmla="*/ 5 w 12"/>
                  <a:gd name="T15" fmla="*/ 2 h 4"/>
                  <a:gd name="T16" fmla="*/ 6 w 12"/>
                  <a:gd name="T17" fmla="*/ 3 h 4"/>
                  <a:gd name="T18" fmla="*/ 8 w 12"/>
                  <a:gd name="T19" fmla="*/ 3 h 4"/>
                  <a:gd name="T20" fmla="*/ 12 w 12"/>
                  <a:gd name="T21" fmla="*/ 4 h 4"/>
                  <a:gd name="T22" fmla="*/ 1 w 12"/>
                  <a:gd name="T23" fmla="*/ 1 h 4"/>
                  <a:gd name="T24" fmla="*/ 0 w 12"/>
                  <a:gd name="T25" fmla="*/ 0 h 4"/>
                  <a:gd name="T26" fmla="*/ 0 w 12"/>
                  <a:gd name="T27" fmla="*/ 0 h 4"/>
                  <a:gd name="T28" fmla="*/ 0 w 12"/>
                  <a:gd name="T29" fmla="*/ 0 h 4"/>
                  <a:gd name="T30" fmla="*/ 0 w 12"/>
                  <a:gd name="T31" fmla="*/ 0 h 4"/>
                  <a:gd name="T32" fmla="*/ 0 w 12"/>
                  <a:gd name="T3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4">
                    <a:moveTo>
                      <a:pt x="0" y="1"/>
                    </a:moveTo>
                    <a:cubicBezTo>
                      <a:pt x="1" y="1"/>
                      <a:pt x="1" y="1"/>
                      <a:pt x="1" y="1"/>
                    </a:cubicBezTo>
                    <a:cubicBezTo>
                      <a:pt x="1" y="1"/>
                      <a:pt x="1" y="1"/>
                      <a:pt x="1" y="1"/>
                    </a:cubicBezTo>
                    <a:cubicBezTo>
                      <a:pt x="2" y="1"/>
                      <a:pt x="2" y="2"/>
                      <a:pt x="3" y="2"/>
                    </a:cubicBezTo>
                    <a:cubicBezTo>
                      <a:pt x="3" y="2"/>
                      <a:pt x="3" y="2"/>
                      <a:pt x="3" y="2"/>
                    </a:cubicBezTo>
                    <a:cubicBezTo>
                      <a:pt x="4" y="2"/>
                      <a:pt x="4" y="2"/>
                      <a:pt x="5" y="2"/>
                    </a:cubicBezTo>
                    <a:cubicBezTo>
                      <a:pt x="5" y="2"/>
                      <a:pt x="5" y="2"/>
                      <a:pt x="5" y="2"/>
                    </a:cubicBezTo>
                    <a:cubicBezTo>
                      <a:pt x="5" y="2"/>
                      <a:pt x="5" y="2"/>
                      <a:pt x="5" y="2"/>
                    </a:cubicBezTo>
                    <a:cubicBezTo>
                      <a:pt x="5" y="3"/>
                      <a:pt x="5" y="3"/>
                      <a:pt x="6" y="3"/>
                    </a:cubicBezTo>
                    <a:cubicBezTo>
                      <a:pt x="7" y="3"/>
                      <a:pt x="7" y="3"/>
                      <a:pt x="8" y="3"/>
                    </a:cubicBezTo>
                    <a:cubicBezTo>
                      <a:pt x="9" y="3"/>
                      <a:pt x="10" y="4"/>
                      <a:pt x="12" y="4"/>
                    </a:cubicBezTo>
                    <a:cubicBezTo>
                      <a:pt x="8" y="3"/>
                      <a:pt x="5" y="2"/>
                      <a:pt x="1" y="1"/>
                    </a:cubicBezTo>
                    <a:cubicBezTo>
                      <a:pt x="1" y="1"/>
                      <a:pt x="0" y="0"/>
                      <a:pt x="0" y="0"/>
                    </a:cubicBezTo>
                    <a:cubicBezTo>
                      <a:pt x="0" y="0"/>
                      <a:pt x="0" y="0"/>
                      <a:pt x="0" y="0"/>
                    </a:cubicBezTo>
                    <a:cubicBezTo>
                      <a:pt x="0" y="0"/>
                      <a:pt x="0" y="0"/>
                      <a:pt x="0" y="0"/>
                    </a:cubicBezTo>
                    <a:cubicBezTo>
                      <a:pt x="0" y="0"/>
                      <a:pt x="0" y="0"/>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4" name="Freeform 1980">
                <a:extLst>
                  <a:ext uri="{FF2B5EF4-FFF2-40B4-BE49-F238E27FC236}">
                    <a16:creationId xmlns:a16="http://schemas.microsoft.com/office/drawing/2014/main" id="{137DFB2F-A2CB-4091-9407-BC03F5986A58}"/>
                  </a:ext>
                </a:extLst>
              </p:cNvPr>
              <p:cNvSpPr>
                <a:spLocks/>
              </p:cNvSpPr>
              <p:nvPr/>
            </p:nvSpPr>
            <p:spPr bwMode="auto">
              <a:xfrm>
                <a:off x="2265" y="907"/>
                <a:ext cx="7" cy="5"/>
              </a:xfrm>
              <a:custGeom>
                <a:avLst/>
                <a:gdLst>
                  <a:gd name="T0" fmla="*/ 3 w 3"/>
                  <a:gd name="T1" fmla="*/ 0 h 2"/>
                  <a:gd name="T2" fmla="*/ 3 w 3"/>
                  <a:gd name="T3" fmla="*/ 0 h 2"/>
                  <a:gd name="T4" fmla="*/ 2 w 3"/>
                  <a:gd name="T5" fmla="*/ 0 h 2"/>
                  <a:gd name="T6" fmla="*/ 0 w 3"/>
                  <a:gd name="T7" fmla="*/ 1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cubicBezTo>
                      <a:pt x="3" y="0"/>
                      <a:pt x="3" y="0"/>
                      <a:pt x="3" y="0"/>
                    </a:cubicBezTo>
                    <a:cubicBezTo>
                      <a:pt x="2" y="0"/>
                      <a:pt x="2" y="0"/>
                      <a:pt x="2" y="0"/>
                    </a:cubicBezTo>
                    <a:cubicBezTo>
                      <a:pt x="1" y="0"/>
                      <a:pt x="1" y="1"/>
                      <a:pt x="0" y="1"/>
                    </a:cubicBezTo>
                    <a:cubicBezTo>
                      <a:pt x="1" y="1"/>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5" name="Freeform 1981">
                <a:extLst>
                  <a:ext uri="{FF2B5EF4-FFF2-40B4-BE49-F238E27FC236}">
                    <a16:creationId xmlns:a16="http://schemas.microsoft.com/office/drawing/2014/main" id="{51FD9EEF-76CD-45B5-B436-510F996DF800}"/>
                  </a:ext>
                </a:extLst>
              </p:cNvPr>
              <p:cNvSpPr>
                <a:spLocks/>
              </p:cNvSpPr>
              <p:nvPr/>
            </p:nvSpPr>
            <p:spPr bwMode="auto">
              <a:xfrm>
                <a:off x="2060" y="1227"/>
                <a:ext cx="7" cy="14"/>
              </a:xfrm>
              <a:custGeom>
                <a:avLst/>
                <a:gdLst>
                  <a:gd name="T0" fmla="*/ 2 w 3"/>
                  <a:gd name="T1" fmla="*/ 2 h 6"/>
                  <a:gd name="T2" fmla="*/ 2 w 3"/>
                  <a:gd name="T3" fmla="*/ 2 h 6"/>
                  <a:gd name="T4" fmla="*/ 2 w 3"/>
                  <a:gd name="T5" fmla="*/ 2 h 6"/>
                  <a:gd name="T6" fmla="*/ 2 w 3"/>
                  <a:gd name="T7" fmla="*/ 2 h 6"/>
                  <a:gd name="T8" fmla="*/ 3 w 3"/>
                  <a:gd name="T9" fmla="*/ 2 h 6"/>
                  <a:gd name="T10" fmla="*/ 3 w 3"/>
                  <a:gd name="T11" fmla="*/ 1 h 6"/>
                  <a:gd name="T12" fmla="*/ 0 w 3"/>
                  <a:gd name="T13" fmla="*/ 5 h 6"/>
                  <a:gd name="T14" fmla="*/ 1 w 3"/>
                  <a:gd name="T15" fmla="*/ 4 h 6"/>
                  <a:gd name="T16" fmla="*/ 3 w 3"/>
                  <a:gd name="T17" fmla="*/ 5 h 6"/>
                  <a:gd name="T18" fmla="*/ 3 w 3"/>
                  <a:gd name="T19" fmla="*/ 5 h 6"/>
                  <a:gd name="T20" fmla="*/ 3 w 3"/>
                  <a:gd name="T21" fmla="*/ 5 h 6"/>
                  <a:gd name="T22" fmla="*/ 3 w 3"/>
                  <a:gd name="T23" fmla="*/ 4 h 6"/>
                  <a:gd name="T24" fmla="*/ 2 w 3"/>
                  <a:gd name="T25" fmla="*/ 3 h 6"/>
                  <a:gd name="T26" fmla="*/ 2 w 3"/>
                  <a:gd name="T27" fmla="*/ 3 h 6"/>
                  <a:gd name="T28" fmla="*/ 1 w 3"/>
                  <a:gd name="T29" fmla="*/ 3 h 6"/>
                  <a:gd name="T30" fmla="*/ 2 w 3"/>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2" y="2"/>
                    </a:moveTo>
                    <a:cubicBezTo>
                      <a:pt x="2" y="2"/>
                      <a:pt x="2" y="2"/>
                      <a:pt x="2" y="2"/>
                    </a:cubicBezTo>
                    <a:cubicBezTo>
                      <a:pt x="2" y="2"/>
                      <a:pt x="2" y="2"/>
                      <a:pt x="2" y="2"/>
                    </a:cubicBezTo>
                    <a:cubicBezTo>
                      <a:pt x="2" y="2"/>
                      <a:pt x="2" y="2"/>
                      <a:pt x="2" y="2"/>
                    </a:cubicBezTo>
                    <a:cubicBezTo>
                      <a:pt x="2" y="2"/>
                      <a:pt x="2" y="2"/>
                      <a:pt x="3" y="2"/>
                    </a:cubicBezTo>
                    <a:cubicBezTo>
                      <a:pt x="3" y="2"/>
                      <a:pt x="3" y="1"/>
                      <a:pt x="3" y="1"/>
                    </a:cubicBezTo>
                    <a:cubicBezTo>
                      <a:pt x="1" y="0"/>
                      <a:pt x="0" y="2"/>
                      <a:pt x="0" y="5"/>
                    </a:cubicBezTo>
                    <a:cubicBezTo>
                      <a:pt x="0" y="4"/>
                      <a:pt x="1" y="4"/>
                      <a:pt x="1" y="4"/>
                    </a:cubicBezTo>
                    <a:cubicBezTo>
                      <a:pt x="2" y="4"/>
                      <a:pt x="2" y="6"/>
                      <a:pt x="3" y="5"/>
                    </a:cubicBezTo>
                    <a:cubicBezTo>
                      <a:pt x="3" y="5"/>
                      <a:pt x="3" y="5"/>
                      <a:pt x="3" y="5"/>
                    </a:cubicBezTo>
                    <a:cubicBezTo>
                      <a:pt x="3" y="5"/>
                      <a:pt x="3" y="5"/>
                      <a:pt x="3" y="5"/>
                    </a:cubicBezTo>
                    <a:cubicBezTo>
                      <a:pt x="3" y="4"/>
                      <a:pt x="3" y="4"/>
                      <a:pt x="3" y="4"/>
                    </a:cubicBezTo>
                    <a:cubicBezTo>
                      <a:pt x="3" y="3"/>
                      <a:pt x="3" y="3"/>
                      <a:pt x="2" y="3"/>
                    </a:cubicBezTo>
                    <a:cubicBezTo>
                      <a:pt x="2" y="3"/>
                      <a:pt x="2" y="3"/>
                      <a:pt x="2" y="3"/>
                    </a:cubicBezTo>
                    <a:cubicBezTo>
                      <a:pt x="1" y="3"/>
                      <a:pt x="1" y="3"/>
                      <a:pt x="1" y="3"/>
                    </a:cubicBezTo>
                    <a:cubicBezTo>
                      <a:pt x="1" y="3"/>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6" name="Freeform 1982">
                <a:extLst>
                  <a:ext uri="{FF2B5EF4-FFF2-40B4-BE49-F238E27FC236}">
                    <a16:creationId xmlns:a16="http://schemas.microsoft.com/office/drawing/2014/main" id="{B2FA78BF-AE49-4FF4-9427-4C2AF4DFB457}"/>
                  </a:ext>
                </a:extLst>
              </p:cNvPr>
              <p:cNvSpPr>
                <a:spLocks/>
              </p:cNvSpPr>
              <p:nvPr/>
            </p:nvSpPr>
            <p:spPr bwMode="auto">
              <a:xfrm>
                <a:off x="398" y="1295"/>
                <a:ext cx="7" cy="5"/>
              </a:xfrm>
              <a:custGeom>
                <a:avLst/>
                <a:gdLst>
                  <a:gd name="T0" fmla="*/ 2 w 3"/>
                  <a:gd name="T1" fmla="*/ 2 h 2"/>
                  <a:gd name="T2" fmla="*/ 3 w 3"/>
                  <a:gd name="T3" fmla="*/ 0 h 2"/>
                  <a:gd name="T4" fmla="*/ 2 w 3"/>
                  <a:gd name="T5" fmla="*/ 1 h 2"/>
                  <a:gd name="T6" fmla="*/ 1 w 3"/>
                  <a:gd name="T7" fmla="*/ 1 h 2"/>
                  <a:gd name="T8" fmla="*/ 0 w 3"/>
                  <a:gd name="T9" fmla="*/ 2 h 2"/>
                  <a:gd name="T10" fmla="*/ 1 w 3"/>
                  <a:gd name="T11" fmla="*/ 2 h 2"/>
                  <a:gd name="T12" fmla="*/ 2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2"/>
                    </a:moveTo>
                    <a:cubicBezTo>
                      <a:pt x="2" y="1"/>
                      <a:pt x="3" y="1"/>
                      <a:pt x="3" y="0"/>
                    </a:cubicBezTo>
                    <a:cubicBezTo>
                      <a:pt x="3" y="0"/>
                      <a:pt x="2" y="0"/>
                      <a:pt x="2" y="1"/>
                    </a:cubicBezTo>
                    <a:cubicBezTo>
                      <a:pt x="2" y="1"/>
                      <a:pt x="2" y="1"/>
                      <a:pt x="1" y="1"/>
                    </a:cubicBezTo>
                    <a:cubicBezTo>
                      <a:pt x="1" y="1"/>
                      <a:pt x="1" y="2"/>
                      <a:pt x="0" y="2"/>
                    </a:cubicBezTo>
                    <a:cubicBezTo>
                      <a:pt x="1" y="2"/>
                      <a:pt x="1" y="2"/>
                      <a:pt x="1" y="2"/>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7" name="Freeform 1983">
                <a:extLst>
                  <a:ext uri="{FF2B5EF4-FFF2-40B4-BE49-F238E27FC236}">
                    <a16:creationId xmlns:a16="http://schemas.microsoft.com/office/drawing/2014/main" id="{5D72DCCA-9282-4FBC-9FFC-CB8DE5E78F1B}"/>
                  </a:ext>
                </a:extLst>
              </p:cNvPr>
              <p:cNvSpPr>
                <a:spLocks/>
              </p:cNvSpPr>
              <p:nvPr/>
            </p:nvSpPr>
            <p:spPr bwMode="auto">
              <a:xfrm>
                <a:off x="185" y="742"/>
                <a:ext cx="9" cy="4"/>
              </a:xfrm>
              <a:custGeom>
                <a:avLst/>
                <a:gdLst>
                  <a:gd name="T0" fmla="*/ 1 w 4"/>
                  <a:gd name="T1" fmla="*/ 2 h 2"/>
                  <a:gd name="T2" fmla="*/ 2 w 4"/>
                  <a:gd name="T3" fmla="*/ 2 h 2"/>
                  <a:gd name="T4" fmla="*/ 2 w 4"/>
                  <a:gd name="T5" fmla="*/ 2 h 2"/>
                  <a:gd name="T6" fmla="*/ 2 w 4"/>
                  <a:gd name="T7" fmla="*/ 2 h 2"/>
                  <a:gd name="T8" fmla="*/ 3 w 4"/>
                  <a:gd name="T9" fmla="*/ 1 h 2"/>
                  <a:gd name="T10" fmla="*/ 4 w 4"/>
                  <a:gd name="T11" fmla="*/ 1 h 2"/>
                  <a:gd name="T12" fmla="*/ 0 w 4"/>
                  <a:gd name="T13" fmla="*/ 1 h 2"/>
                  <a:gd name="T14" fmla="*/ 0 w 4"/>
                  <a:gd name="T15" fmla="*/ 1 h 2"/>
                  <a:gd name="T16" fmla="*/ 1 w 4"/>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1" y="2"/>
                    </a:moveTo>
                    <a:cubicBezTo>
                      <a:pt x="1" y="2"/>
                      <a:pt x="2" y="2"/>
                      <a:pt x="2" y="2"/>
                    </a:cubicBezTo>
                    <a:cubicBezTo>
                      <a:pt x="2" y="2"/>
                      <a:pt x="2" y="2"/>
                      <a:pt x="2" y="2"/>
                    </a:cubicBezTo>
                    <a:cubicBezTo>
                      <a:pt x="2" y="2"/>
                      <a:pt x="2" y="2"/>
                      <a:pt x="2" y="2"/>
                    </a:cubicBezTo>
                    <a:cubicBezTo>
                      <a:pt x="3" y="1"/>
                      <a:pt x="3" y="1"/>
                      <a:pt x="3" y="1"/>
                    </a:cubicBezTo>
                    <a:cubicBezTo>
                      <a:pt x="4" y="1"/>
                      <a:pt x="4" y="1"/>
                      <a:pt x="4" y="1"/>
                    </a:cubicBezTo>
                    <a:cubicBezTo>
                      <a:pt x="3" y="0"/>
                      <a:pt x="1" y="0"/>
                      <a:pt x="0" y="1"/>
                    </a:cubicBezTo>
                    <a:cubicBezTo>
                      <a:pt x="0" y="1"/>
                      <a:pt x="0" y="1"/>
                      <a:pt x="0"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8" name="Freeform 1984">
                <a:extLst>
                  <a:ext uri="{FF2B5EF4-FFF2-40B4-BE49-F238E27FC236}">
                    <a16:creationId xmlns:a16="http://schemas.microsoft.com/office/drawing/2014/main" id="{448042D3-A11F-430D-A504-2889773FB645}"/>
                  </a:ext>
                </a:extLst>
              </p:cNvPr>
              <p:cNvSpPr>
                <a:spLocks/>
              </p:cNvSpPr>
              <p:nvPr/>
            </p:nvSpPr>
            <p:spPr bwMode="auto">
              <a:xfrm>
                <a:off x="866" y="789"/>
                <a:ext cx="9" cy="2"/>
              </a:xfrm>
              <a:custGeom>
                <a:avLst/>
                <a:gdLst>
                  <a:gd name="T0" fmla="*/ 2 w 4"/>
                  <a:gd name="T1" fmla="*/ 0 h 1"/>
                  <a:gd name="T2" fmla="*/ 0 w 4"/>
                  <a:gd name="T3" fmla="*/ 1 h 1"/>
                  <a:gd name="T4" fmla="*/ 4 w 4"/>
                  <a:gd name="T5" fmla="*/ 1 h 1"/>
                  <a:gd name="T6" fmla="*/ 3 w 4"/>
                  <a:gd name="T7" fmla="*/ 0 h 1"/>
                  <a:gd name="T8" fmla="*/ 2 w 4"/>
                  <a:gd name="T9" fmla="*/ 0 h 1"/>
                </a:gdLst>
                <a:ahLst/>
                <a:cxnLst>
                  <a:cxn ang="0">
                    <a:pos x="T0" y="T1"/>
                  </a:cxn>
                  <a:cxn ang="0">
                    <a:pos x="T2" y="T3"/>
                  </a:cxn>
                  <a:cxn ang="0">
                    <a:pos x="T4" y="T5"/>
                  </a:cxn>
                  <a:cxn ang="0">
                    <a:pos x="T6" y="T7"/>
                  </a:cxn>
                  <a:cxn ang="0">
                    <a:pos x="T8" y="T9"/>
                  </a:cxn>
                </a:cxnLst>
                <a:rect l="0" t="0" r="r" b="b"/>
                <a:pathLst>
                  <a:path w="4" h="1">
                    <a:moveTo>
                      <a:pt x="2" y="0"/>
                    </a:moveTo>
                    <a:cubicBezTo>
                      <a:pt x="2" y="0"/>
                      <a:pt x="1" y="0"/>
                      <a:pt x="0" y="1"/>
                    </a:cubicBezTo>
                    <a:cubicBezTo>
                      <a:pt x="1" y="1"/>
                      <a:pt x="3" y="1"/>
                      <a:pt x="4" y="1"/>
                    </a:cubicBezTo>
                    <a:cubicBezTo>
                      <a:pt x="4" y="0"/>
                      <a:pt x="3" y="0"/>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641" name="Group 2186">
              <a:extLst>
                <a:ext uri="{FF2B5EF4-FFF2-40B4-BE49-F238E27FC236}">
                  <a16:creationId xmlns:a16="http://schemas.microsoft.com/office/drawing/2014/main" id="{02E8F765-7D93-4E5D-B99B-094C1BEECDA6}"/>
                </a:ext>
              </a:extLst>
            </p:cNvPr>
            <p:cNvGrpSpPr>
              <a:grpSpLocks/>
            </p:cNvGrpSpPr>
            <p:nvPr/>
          </p:nvGrpSpPr>
          <p:grpSpPr bwMode="auto">
            <a:xfrm>
              <a:off x="334" y="46"/>
              <a:ext cx="7852" cy="3878"/>
              <a:chOff x="334" y="46"/>
              <a:chExt cx="7852" cy="3878"/>
            </a:xfrm>
            <a:grpFill/>
          </p:grpSpPr>
          <p:sp>
            <p:nvSpPr>
              <p:cNvPr id="2669" name="Freeform 1986">
                <a:extLst>
                  <a:ext uri="{FF2B5EF4-FFF2-40B4-BE49-F238E27FC236}">
                    <a16:creationId xmlns:a16="http://schemas.microsoft.com/office/drawing/2014/main" id="{33E67AA9-68BC-455D-BB57-4C16B7088FC9}"/>
                  </a:ext>
                </a:extLst>
              </p:cNvPr>
              <p:cNvSpPr>
                <a:spLocks/>
              </p:cNvSpPr>
              <p:nvPr/>
            </p:nvSpPr>
            <p:spPr bwMode="auto">
              <a:xfrm>
                <a:off x="2142" y="1298"/>
                <a:ext cx="10" cy="4"/>
              </a:xfrm>
              <a:custGeom>
                <a:avLst/>
                <a:gdLst>
                  <a:gd name="T0" fmla="*/ 2 w 4"/>
                  <a:gd name="T1" fmla="*/ 2 h 2"/>
                  <a:gd name="T2" fmla="*/ 3 w 4"/>
                  <a:gd name="T3" fmla="*/ 2 h 2"/>
                  <a:gd name="T4" fmla="*/ 3 w 4"/>
                  <a:gd name="T5" fmla="*/ 1 h 2"/>
                  <a:gd name="T6" fmla="*/ 3 w 4"/>
                  <a:gd name="T7" fmla="*/ 0 h 2"/>
                  <a:gd name="T8" fmla="*/ 3 w 4"/>
                  <a:gd name="T9" fmla="*/ 0 h 2"/>
                  <a:gd name="T10" fmla="*/ 2 w 4"/>
                  <a:gd name="T11" fmla="*/ 0 h 2"/>
                  <a:gd name="T12" fmla="*/ 1 w 4"/>
                  <a:gd name="T13" fmla="*/ 0 h 2"/>
                  <a:gd name="T14" fmla="*/ 0 w 4"/>
                  <a:gd name="T15" fmla="*/ 0 h 2"/>
                  <a:gd name="T16" fmla="*/ 0 w 4"/>
                  <a:gd name="T17" fmla="*/ 1 h 2"/>
                  <a:gd name="T18" fmla="*/ 0 w 4"/>
                  <a:gd name="T19" fmla="*/ 1 h 2"/>
                  <a:gd name="T20" fmla="*/ 2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2" y="2"/>
                    </a:moveTo>
                    <a:cubicBezTo>
                      <a:pt x="2" y="2"/>
                      <a:pt x="3" y="2"/>
                      <a:pt x="3" y="2"/>
                    </a:cubicBezTo>
                    <a:cubicBezTo>
                      <a:pt x="3" y="1"/>
                      <a:pt x="4" y="1"/>
                      <a:pt x="3" y="1"/>
                    </a:cubicBezTo>
                    <a:cubicBezTo>
                      <a:pt x="3" y="0"/>
                      <a:pt x="3" y="0"/>
                      <a:pt x="3" y="0"/>
                    </a:cubicBezTo>
                    <a:cubicBezTo>
                      <a:pt x="3" y="0"/>
                      <a:pt x="3" y="0"/>
                      <a:pt x="3" y="0"/>
                    </a:cubicBezTo>
                    <a:cubicBezTo>
                      <a:pt x="3" y="0"/>
                      <a:pt x="2" y="0"/>
                      <a:pt x="2" y="0"/>
                    </a:cubicBezTo>
                    <a:cubicBezTo>
                      <a:pt x="1" y="0"/>
                      <a:pt x="1" y="0"/>
                      <a:pt x="1" y="0"/>
                    </a:cubicBezTo>
                    <a:cubicBezTo>
                      <a:pt x="0" y="0"/>
                      <a:pt x="0" y="0"/>
                      <a:pt x="0" y="0"/>
                    </a:cubicBezTo>
                    <a:cubicBezTo>
                      <a:pt x="0" y="1"/>
                      <a:pt x="0" y="1"/>
                      <a:pt x="0" y="1"/>
                    </a:cubicBezTo>
                    <a:cubicBezTo>
                      <a:pt x="0" y="1"/>
                      <a:pt x="0" y="1"/>
                      <a:pt x="0" y="1"/>
                    </a:cubicBezTo>
                    <a:cubicBezTo>
                      <a:pt x="1"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0" name="Freeform 1987">
                <a:extLst>
                  <a:ext uri="{FF2B5EF4-FFF2-40B4-BE49-F238E27FC236}">
                    <a16:creationId xmlns:a16="http://schemas.microsoft.com/office/drawing/2014/main" id="{A50DFF14-ECF0-42A6-9EDF-7A10B682224E}"/>
                  </a:ext>
                </a:extLst>
              </p:cNvPr>
              <p:cNvSpPr>
                <a:spLocks/>
              </p:cNvSpPr>
              <p:nvPr/>
            </p:nvSpPr>
            <p:spPr bwMode="auto">
              <a:xfrm>
                <a:off x="1428" y="2353"/>
                <a:ext cx="0" cy="2"/>
              </a:xfrm>
              <a:custGeom>
                <a:avLst/>
                <a:gdLst>
                  <a:gd name="T0" fmla="*/ 0 h 1"/>
                  <a:gd name="T1" fmla="*/ 0 h 1"/>
                  <a:gd name="T2" fmla="*/ 1 h 1"/>
                  <a:gd name="T3" fmla="*/ 1 h 1"/>
                  <a:gd name="T4" fmla="*/ 1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1"/>
                      <a:pt x="0" y="1"/>
                    </a:cubicBezTo>
                    <a:cubicBezTo>
                      <a:pt x="0" y="1"/>
                      <a:pt x="0" y="1"/>
                      <a:pt x="0" y="1"/>
                    </a:cubicBezTo>
                    <a:cubicBezTo>
                      <a:pt x="0" y="1"/>
                      <a:pt x="0" y="1"/>
                      <a:pt x="0" y="1"/>
                    </a:cubicBezTo>
                    <a:cubicBezTo>
                      <a:pt x="0" y="1"/>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1" name="Freeform 1988">
                <a:extLst>
                  <a:ext uri="{FF2B5EF4-FFF2-40B4-BE49-F238E27FC236}">
                    <a16:creationId xmlns:a16="http://schemas.microsoft.com/office/drawing/2014/main" id="{9E8DFDF2-D90B-41BD-AD4F-B128CFB56EB9}"/>
                  </a:ext>
                </a:extLst>
              </p:cNvPr>
              <p:cNvSpPr>
                <a:spLocks/>
              </p:cNvSpPr>
              <p:nvPr/>
            </p:nvSpPr>
            <p:spPr bwMode="auto">
              <a:xfrm>
                <a:off x="1426" y="2350"/>
                <a:ext cx="2" cy="5"/>
              </a:xfrm>
              <a:custGeom>
                <a:avLst/>
                <a:gdLst>
                  <a:gd name="T0" fmla="*/ 0 w 1"/>
                  <a:gd name="T1" fmla="*/ 0 h 2"/>
                  <a:gd name="T2" fmla="*/ 0 w 1"/>
                  <a:gd name="T3" fmla="*/ 0 h 2"/>
                  <a:gd name="T4" fmla="*/ 0 w 1"/>
                  <a:gd name="T5" fmla="*/ 0 h 2"/>
                  <a:gd name="T6" fmla="*/ 0 w 1"/>
                  <a:gd name="T7" fmla="*/ 1 h 2"/>
                  <a:gd name="T8" fmla="*/ 0 w 1"/>
                  <a:gd name="T9" fmla="*/ 2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0" y="0"/>
                      <a:pt x="0" y="0"/>
                      <a:pt x="0" y="0"/>
                    </a:cubicBezTo>
                    <a:cubicBezTo>
                      <a:pt x="0" y="1"/>
                      <a:pt x="0" y="1"/>
                      <a:pt x="0" y="1"/>
                    </a:cubicBezTo>
                    <a:cubicBezTo>
                      <a:pt x="0" y="1"/>
                      <a:pt x="0" y="2"/>
                      <a:pt x="0" y="2"/>
                    </a:cubicBezTo>
                    <a:cubicBezTo>
                      <a:pt x="0" y="2"/>
                      <a:pt x="1" y="1"/>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2" name="Freeform 1989">
                <a:extLst>
                  <a:ext uri="{FF2B5EF4-FFF2-40B4-BE49-F238E27FC236}">
                    <a16:creationId xmlns:a16="http://schemas.microsoft.com/office/drawing/2014/main" id="{CF849728-4F50-49AB-B54A-E391D0B13D28}"/>
                  </a:ext>
                </a:extLst>
              </p:cNvPr>
              <p:cNvSpPr>
                <a:spLocks noEditPoints="1"/>
              </p:cNvSpPr>
              <p:nvPr/>
            </p:nvSpPr>
            <p:spPr bwMode="auto">
              <a:xfrm>
                <a:off x="577" y="328"/>
                <a:ext cx="428" cy="186"/>
              </a:xfrm>
              <a:custGeom>
                <a:avLst/>
                <a:gdLst>
                  <a:gd name="T0" fmla="*/ 42 w 181"/>
                  <a:gd name="T1" fmla="*/ 18 h 79"/>
                  <a:gd name="T2" fmla="*/ 30 w 181"/>
                  <a:gd name="T3" fmla="*/ 25 h 79"/>
                  <a:gd name="T4" fmla="*/ 26 w 181"/>
                  <a:gd name="T5" fmla="*/ 30 h 79"/>
                  <a:gd name="T6" fmla="*/ 17 w 181"/>
                  <a:gd name="T7" fmla="*/ 34 h 79"/>
                  <a:gd name="T8" fmla="*/ 4 w 181"/>
                  <a:gd name="T9" fmla="*/ 39 h 79"/>
                  <a:gd name="T10" fmla="*/ 5 w 181"/>
                  <a:gd name="T11" fmla="*/ 47 h 79"/>
                  <a:gd name="T12" fmla="*/ 23 w 181"/>
                  <a:gd name="T13" fmla="*/ 42 h 79"/>
                  <a:gd name="T14" fmla="*/ 27 w 181"/>
                  <a:gd name="T15" fmla="*/ 46 h 79"/>
                  <a:gd name="T16" fmla="*/ 35 w 181"/>
                  <a:gd name="T17" fmla="*/ 42 h 79"/>
                  <a:gd name="T18" fmla="*/ 43 w 181"/>
                  <a:gd name="T19" fmla="*/ 34 h 79"/>
                  <a:gd name="T20" fmla="*/ 52 w 181"/>
                  <a:gd name="T21" fmla="*/ 33 h 79"/>
                  <a:gd name="T22" fmla="*/ 52 w 181"/>
                  <a:gd name="T23" fmla="*/ 38 h 79"/>
                  <a:gd name="T24" fmla="*/ 71 w 181"/>
                  <a:gd name="T25" fmla="*/ 41 h 79"/>
                  <a:gd name="T26" fmla="*/ 70 w 181"/>
                  <a:gd name="T27" fmla="*/ 42 h 79"/>
                  <a:gd name="T28" fmla="*/ 83 w 181"/>
                  <a:gd name="T29" fmla="*/ 48 h 79"/>
                  <a:gd name="T30" fmla="*/ 65 w 181"/>
                  <a:gd name="T31" fmla="*/ 55 h 79"/>
                  <a:gd name="T32" fmla="*/ 58 w 181"/>
                  <a:gd name="T33" fmla="*/ 58 h 79"/>
                  <a:gd name="T34" fmla="*/ 68 w 181"/>
                  <a:gd name="T35" fmla="*/ 63 h 79"/>
                  <a:gd name="T36" fmla="*/ 76 w 181"/>
                  <a:gd name="T37" fmla="*/ 64 h 79"/>
                  <a:gd name="T38" fmla="*/ 88 w 181"/>
                  <a:gd name="T39" fmla="*/ 65 h 79"/>
                  <a:gd name="T40" fmla="*/ 96 w 181"/>
                  <a:gd name="T41" fmla="*/ 58 h 79"/>
                  <a:gd name="T42" fmla="*/ 94 w 181"/>
                  <a:gd name="T43" fmla="*/ 65 h 79"/>
                  <a:gd name="T44" fmla="*/ 109 w 181"/>
                  <a:gd name="T45" fmla="*/ 64 h 79"/>
                  <a:gd name="T46" fmla="*/ 114 w 181"/>
                  <a:gd name="T47" fmla="*/ 67 h 79"/>
                  <a:gd name="T48" fmla="*/ 106 w 181"/>
                  <a:gd name="T49" fmla="*/ 78 h 79"/>
                  <a:gd name="T50" fmla="*/ 155 w 181"/>
                  <a:gd name="T51" fmla="*/ 66 h 79"/>
                  <a:gd name="T52" fmla="*/ 176 w 181"/>
                  <a:gd name="T53" fmla="*/ 63 h 79"/>
                  <a:gd name="T54" fmla="*/ 179 w 181"/>
                  <a:gd name="T55" fmla="*/ 54 h 79"/>
                  <a:gd name="T56" fmla="*/ 167 w 181"/>
                  <a:gd name="T57" fmla="*/ 50 h 79"/>
                  <a:gd name="T58" fmla="*/ 159 w 181"/>
                  <a:gd name="T59" fmla="*/ 48 h 79"/>
                  <a:gd name="T60" fmla="*/ 152 w 181"/>
                  <a:gd name="T61" fmla="*/ 38 h 79"/>
                  <a:gd name="T62" fmla="*/ 148 w 181"/>
                  <a:gd name="T63" fmla="*/ 30 h 79"/>
                  <a:gd name="T64" fmla="*/ 138 w 181"/>
                  <a:gd name="T65" fmla="*/ 31 h 79"/>
                  <a:gd name="T66" fmla="*/ 135 w 181"/>
                  <a:gd name="T67" fmla="*/ 42 h 79"/>
                  <a:gd name="T68" fmla="*/ 145 w 181"/>
                  <a:gd name="T69" fmla="*/ 54 h 79"/>
                  <a:gd name="T70" fmla="*/ 118 w 181"/>
                  <a:gd name="T71" fmla="*/ 49 h 79"/>
                  <a:gd name="T72" fmla="*/ 104 w 181"/>
                  <a:gd name="T73" fmla="*/ 40 h 79"/>
                  <a:gd name="T74" fmla="*/ 91 w 181"/>
                  <a:gd name="T75" fmla="*/ 39 h 79"/>
                  <a:gd name="T76" fmla="*/ 110 w 181"/>
                  <a:gd name="T77" fmla="*/ 30 h 79"/>
                  <a:gd name="T78" fmla="*/ 123 w 181"/>
                  <a:gd name="T79" fmla="*/ 17 h 79"/>
                  <a:gd name="T80" fmla="*/ 130 w 181"/>
                  <a:gd name="T81" fmla="*/ 15 h 79"/>
                  <a:gd name="T82" fmla="*/ 132 w 181"/>
                  <a:gd name="T83" fmla="*/ 12 h 79"/>
                  <a:gd name="T84" fmla="*/ 141 w 181"/>
                  <a:gd name="T85" fmla="*/ 14 h 79"/>
                  <a:gd name="T86" fmla="*/ 126 w 181"/>
                  <a:gd name="T87" fmla="*/ 8 h 79"/>
                  <a:gd name="T88" fmla="*/ 112 w 181"/>
                  <a:gd name="T89" fmla="*/ 3 h 79"/>
                  <a:gd name="T90" fmla="*/ 101 w 181"/>
                  <a:gd name="T91" fmla="*/ 12 h 79"/>
                  <a:gd name="T92" fmla="*/ 116 w 181"/>
                  <a:gd name="T93" fmla="*/ 17 h 79"/>
                  <a:gd name="T94" fmla="*/ 104 w 181"/>
                  <a:gd name="T95" fmla="*/ 23 h 79"/>
                  <a:gd name="T96" fmla="*/ 98 w 181"/>
                  <a:gd name="T97" fmla="*/ 23 h 79"/>
                  <a:gd name="T98" fmla="*/ 91 w 181"/>
                  <a:gd name="T99" fmla="*/ 19 h 79"/>
                  <a:gd name="T100" fmla="*/ 76 w 181"/>
                  <a:gd name="T101" fmla="*/ 13 h 79"/>
                  <a:gd name="T102" fmla="*/ 78 w 181"/>
                  <a:gd name="T103" fmla="*/ 16 h 79"/>
                  <a:gd name="T104" fmla="*/ 84 w 181"/>
                  <a:gd name="T105" fmla="*/ 23 h 79"/>
                  <a:gd name="T106" fmla="*/ 78 w 181"/>
                  <a:gd name="T107" fmla="*/ 27 h 79"/>
                  <a:gd name="T108" fmla="*/ 72 w 181"/>
                  <a:gd name="T109" fmla="*/ 33 h 79"/>
                  <a:gd name="T110" fmla="*/ 72 w 181"/>
                  <a:gd name="T111" fmla="*/ 28 h 79"/>
                  <a:gd name="T112" fmla="*/ 70 w 181"/>
                  <a:gd name="T113" fmla="*/ 20 h 79"/>
                  <a:gd name="T114" fmla="*/ 63 w 181"/>
                  <a:gd name="T115" fmla="*/ 13 h 79"/>
                  <a:gd name="T116" fmla="*/ 60 w 181"/>
                  <a:gd name="T117" fmla="*/ 17 h 79"/>
                  <a:gd name="T118" fmla="*/ 118 w 181"/>
                  <a:gd name="T119" fmla="*/ 1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1" h="79">
                    <a:moveTo>
                      <a:pt x="59" y="18"/>
                    </a:moveTo>
                    <a:cubicBezTo>
                      <a:pt x="58" y="18"/>
                      <a:pt x="57" y="17"/>
                      <a:pt x="56" y="18"/>
                    </a:cubicBezTo>
                    <a:cubicBezTo>
                      <a:pt x="55" y="18"/>
                      <a:pt x="53" y="16"/>
                      <a:pt x="52" y="16"/>
                    </a:cubicBezTo>
                    <a:cubicBezTo>
                      <a:pt x="51" y="17"/>
                      <a:pt x="50" y="17"/>
                      <a:pt x="49" y="17"/>
                    </a:cubicBezTo>
                    <a:cubicBezTo>
                      <a:pt x="48" y="17"/>
                      <a:pt x="47" y="17"/>
                      <a:pt x="46" y="17"/>
                    </a:cubicBezTo>
                    <a:cubicBezTo>
                      <a:pt x="44" y="17"/>
                      <a:pt x="44" y="17"/>
                      <a:pt x="42" y="18"/>
                    </a:cubicBezTo>
                    <a:cubicBezTo>
                      <a:pt x="42" y="18"/>
                      <a:pt x="41" y="17"/>
                      <a:pt x="40" y="18"/>
                    </a:cubicBezTo>
                    <a:cubicBezTo>
                      <a:pt x="38" y="18"/>
                      <a:pt x="38" y="19"/>
                      <a:pt x="38" y="20"/>
                    </a:cubicBezTo>
                    <a:cubicBezTo>
                      <a:pt x="37" y="21"/>
                      <a:pt x="36" y="21"/>
                      <a:pt x="35" y="22"/>
                    </a:cubicBezTo>
                    <a:cubicBezTo>
                      <a:pt x="35" y="22"/>
                      <a:pt x="34" y="22"/>
                      <a:pt x="34" y="22"/>
                    </a:cubicBezTo>
                    <a:cubicBezTo>
                      <a:pt x="33" y="23"/>
                      <a:pt x="33" y="23"/>
                      <a:pt x="33" y="23"/>
                    </a:cubicBezTo>
                    <a:cubicBezTo>
                      <a:pt x="32" y="24"/>
                      <a:pt x="31" y="24"/>
                      <a:pt x="30" y="25"/>
                    </a:cubicBezTo>
                    <a:cubicBezTo>
                      <a:pt x="30" y="25"/>
                      <a:pt x="30" y="25"/>
                      <a:pt x="30" y="26"/>
                    </a:cubicBezTo>
                    <a:cubicBezTo>
                      <a:pt x="30" y="26"/>
                      <a:pt x="29" y="26"/>
                      <a:pt x="29" y="27"/>
                    </a:cubicBezTo>
                    <a:cubicBezTo>
                      <a:pt x="29" y="27"/>
                      <a:pt x="28" y="27"/>
                      <a:pt x="28" y="27"/>
                    </a:cubicBezTo>
                    <a:cubicBezTo>
                      <a:pt x="27" y="28"/>
                      <a:pt x="27" y="27"/>
                      <a:pt x="27" y="28"/>
                    </a:cubicBezTo>
                    <a:cubicBezTo>
                      <a:pt x="27" y="28"/>
                      <a:pt x="28" y="29"/>
                      <a:pt x="27" y="29"/>
                    </a:cubicBezTo>
                    <a:cubicBezTo>
                      <a:pt x="26" y="29"/>
                      <a:pt x="26" y="30"/>
                      <a:pt x="26" y="30"/>
                    </a:cubicBezTo>
                    <a:cubicBezTo>
                      <a:pt x="25" y="30"/>
                      <a:pt x="23" y="30"/>
                      <a:pt x="23" y="30"/>
                    </a:cubicBezTo>
                    <a:cubicBezTo>
                      <a:pt x="22" y="31"/>
                      <a:pt x="22" y="31"/>
                      <a:pt x="21" y="31"/>
                    </a:cubicBezTo>
                    <a:cubicBezTo>
                      <a:pt x="21" y="31"/>
                      <a:pt x="20" y="31"/>
                      <a:pt x="19" y="31"/>
                    </a:cubicBezTo>
                    <a:cubicBezTo>
                      <a:pt x="19" y="32"/>
                      <a:pt x="19" y="32"/>
                      <a:pt x="19" y="33"/>
                    </a:cubicBezTo>
                    <a:cubicBezTo>
                      <a:pt x="19" y="33"/>
                      <a:pt x="18" y="34"/>
                      <a:pt x="18" y="34"/>
                    </a:cubicBezTo>
                    <a:cubicBezTo>
                      <a:pt x="17" y="34"/>
                      <a:pt x="17" y="34"/>
                      <a:pt x="17" y="34"/>
                    </a:cubicBezTo>
                    <a:cubicBezTo>
                      <a:pt x="17" y="34"/>
                      <a:pt x="17" y="35"/>
                      <a:pt x="17" y="35"/>
                    </a:cubicBezTo>
                    <a:cubicBezTo>
                      <a:pt x="17" y="35"/>
                      <a:pt x="16" y="35"/>
                      <a:pt x="16" y="36"/>
                    </a:cubicBezTo>
                    <a:cubicBezTo>
                      <a:pt x="15" y="37"/>
                      <a:pt x="15" y="37"/>
                      <a:pt x="13" y="37"/>
                    </a:cubicBezTo>
                    <a:cubicBezTo>
                      <a:pt x="12" y="37"/>
                      <a:pt x="12" y="36"/>
                      <a:pt x="11" y="37"/>
                    </a:cubicBezTo>
                    <a:cubicBezTo>
                      <a:pt x="10" y="37"/>
                      <a:pt x="10" y="37"/>
                      <a:pt x="9" y="37"/>
                    </a:cubicBezTo>
                    <a:cubicBezTo>
                      <a:pt x="8" y="37"/>
                      <a:pt x="5" y="37"/>
                      <a:pt x="4" y="39"/>
                    </a:cubicBezTo>
                    <a:cubicBezTo>
                      <a:pt x="4" y="40"/>
                      <a:pt x="4" y="40"/>
                      <a:pt x="4" y="40"/>
                    </a:cubicBezTo>
                    <a:cubicBezTo>
                      <a:pt x="3" y="41"/>
                      <a:pt x="3" y="41"/>
                      <a:pt x="2" y="41"/>
                    </a:cubicBezTo>
                    <a:cubicBezTo>
                      <a:pt x="3" y="41"/>
                      <a:pt x="1" y="42"/>
                      <a:pt x="1" y="42"/>
                    </a:cubicBezTo>
                    <a:cubicBezTo>
                      <a:pt x="1" y="43"/>
                      <a:pt x="1" y="43"/>
                      <a:pt x="0" y="44"/>
                    </a:cubicBezTo>
                    <a:cubicBezTo>
                      <a:pt x="2" y="43"/>
                      <a:pt x="4" y="41"/>
                      <a:pt x="6" y="43"/>
                    </a:cubicBezTo>
                    <a:cubicBezTo>
                      <a:pt x="6" y="44"/>
                      <a:pt x="4" y="46"/>
                      <a:pt x="5" y="47"/>
                    </a:cubicBezTo>
                    <a:cubicBezTo>
                      <a:pt x="6" y="48"/>
                      <a:pt x="7" y="47"/>
                      <a:pt x="8" y="47"/>
                    </a:cubicBezTo>
                    <a:cubicBezTo>
                      <a:pt x="10" y="47"/>
                      <a:pt x="12" y="48"/>
                      <a:pt x="14" y="48"/>
                    </a:cubicBezTo>
                    <a:cubicBezTo>
                      <a:pt x="16" y="48"/>
                      <a:pt x="19" y="48"/>
                      <a:pt x="21" y="47"/>
                    </a:cubicBezTo>
                    <a:cubicBezTo>
                      <a:pt x="22" y="46"/>
                      <a:pt x="21" y="46"/>
                      <a:pt x="21" y="45"/>
                    </a:cubicBezTo>
                    <a:cubicBezTo>
                      <a:pt x="21" y="44"/>
                      <a:pt x="21" y="43"/>
                      <a:pt x="22" y="43"/>
                    </a:cubicBezTo>
                    <a:cubicBezTo>
                      <a:pt x="23" y="42"/>
                      <a:pt x="23" y="42"/>
                      <a:pt x="23" y="42"/>
                    </a:cubicBezTo>
                    <a:cubicBezTo>
                      <a:pt x="25" y="43"/>
                      <a:pt x="24" y="43"/>
                      <a:pt x="24" y="43"/>
                    </a:cubicBezTo>
                    <a:cubicBezTo>
                      <a:pt x="24" y="43"/>
                      <a:pt x="24" y="44"/>
                      <a:pt x="24" y="44"/>
                    </a:cubicBezTo>
                    <a:cubicBezTo>
                      <a:pt x="24" y="44"/>
                      <a:pt x="24" y="44"/>
                      <a:pt x="24" y="44"/>
                    </a:cubicBezTo>
                    <a:cubicBezTo>
                      <a:pt x="24" y="45"/>
                      <a:pt x="24" y="44"/>
                      <a:pt x="24" y="45"/>
                    </a:cubicBezTo>
                    <a:cubicBezTo>
                      <a:pt x="25" y="45"/>
                      <a:pt x="26" y="45"/>
                      <a:pt x="26" y="46"/>
                    </a:cubicBezTo>
                    <a:cubicBezTo>
                      <a:pt x="27" y="46"/>
                      <a:pt x="27" y="46"/>
                      <a:pt x="27" y="46"/>
                    </a:cubicBezTo>
                    <a:cubicBezTo>
                      <a:pt x="27" y="47"/>
                      <a:pt x="26" y="47"/>
                      <a:pt x="27" y="48"/>
                    </a:cubicBezTo>
                    <a:cubicBezTo>
                      <a:pt x="27" y="50"/>
                      <a:pt x="27" y="50"/>
                      <a:pt x="29" y="49"/>
                    </a:cubicBezTo>
                    <a:cubicBezTo>
                      <a:pt x="30" y="49"/>
                      <a:pt x="36" y="47"/>
                      <a:pt x="37" y="46"/>
                    </a:cubicBezTo>
                    <a:cubicBezTo>
                      <a:pt x="37" y="45"/>
                      <a:pt x="36" y="45"/>
                      <a:pt x="36" y="45"/>
                    </a:cubicBezTo>
                    <a:cubicBezTo>
                      <a:pt x="36" y="44"/>
                      <a:pt x="36" y="44"/>
                      <a:pt x="36" y="43"/>
                    </a:cubicBezTo>
                    <a:cubicBezTo>
                      <a:pt x="36" y="43"/>
                      <a:pt x="36" y="42"/>
                      <a:pt x="35" y="42"/>
                    </a:cubicBezTo>
                    <a:cubicBezTo>
                      <a:pt x="35" y="41"/>
                      <a:pt x="34" y="40"/>
                      <a:pt x="34" y="39"/>
                    </a:cubicBezTo>
                    <a:cubicBezTo>
                      <a:pt x="34" y="39"/>
                      <a:pt x="36" y="38"/>
                      <a:pt x="36" y="38"/>
                    </a:cubicBezTo>
                    <a:cubicBezTo>
                      <a:pt x="37" y="39"/>
                      <a:pt x="36" y="39"/>
                      <a:pt x="37" y="40"/>
                    </a:cubicBezTo>
                    <a:cubicBezTo>
                      <a:pt x="37" y="40"/>
                      <a:pt x="38" y="42"/>
                      <a:pt x="38" y="42"/>
                    </a:cubicBezTo>
                    <a:cubicBezTo>
                      <a:pt x="41" y="44"/>
                      <a:pt x="48" y="40"/>
                      <a:pt x="45" y="37"/>
                    </a:cubicBezTo>
                    <a:cubicBezTo>
                      <a:pt x="44" y="36"/>
                      <a:pt x="41" y="36"/>
                      <a:pt x="43" y="34"/>
                    </a:cubicBezTo>
                    <a:cubicBezTo>
                      <a:pt x="44" y="34"/>
                      <a:pt x="45" y="35"/>
                      <a:pt x="45" y="35"/>
                    </a:cubicBezTo>
                    <a:cubicBezTo>
                      <a:pt x="46" y="35"/>
                      <a:pt x="48" y="34"/>
                      <a:pt x="49" y="34"/>
                    </a:cubicBezTo>
                    <a:cubicBezTo>
                      <a:pt x="48" y="33"/>
                      <a:pt x="48" y="30"/>
                      <a:pt x="49" y="30"/>
                    </a:cubicBezTo>
                    <a:cubicBezTo>
                      <a:pt x="49" y="29"/>
                      <a:pt x="53" y="28"/>
                      <a:pt x="54" y="29"/>
                    </a:cubicBezTo>
                    <a:cubicBezTo>
                      <a:pt x="55" y="30"/>
                      <a:pt x="53" y="30"/>
                      <a:pt x="53" y="31"/>
                    </a:cubicBezTo>
                    <a:cubicBezTo>
                      <a:pt x="52" y="32"/>
                      <a:pt x="52" y="32"/>
                      <a:pt x="52" y="33"/>
                    </a:cubicBezTo>
                    <a:cubicBezTo>
                      <a:pt x="52" y="33"/>
                      <a:pt x="52" y="33"/>
                      <a:pt x="52" y="33"/>
                    </a:cubicBezTo>
                    <a:cubicBezTo>
                      <a:pt x="52" y="34"/>
                      <a:pt x="52" y="34"/>
                      <a:pt x="52" y="34"/>
                    </a:cubicBezTo>
                    <a:cubicBezTo>
                      <a:pt x="52" y="34"/>
                      <a:pt x="53" y="34"/>
                      <a:pt x="52" y="35"/>
                    </a:cubicBezTo>
                    <a:cubicBezTo>
                      <a:pt x="52" y="35"/>
                      <a:pt x="52" y="35"/>
                      <a:pt x="52" y="35"/>
                    </a:cubicBezTo>
                    <a:cubicBezTo>
                      <a:pt x="52" y="35"/>
                      <a:pt x="52" y="36"/>
                      <a:pt x="52" y="36"/>
                    </a:cubicBezTo>
                    <a:cubicBezTo>
                      <a:pt x="51" y="37"/>
                      <a:pt x="51" y="37"/>
                      <a:pt x="52" y="38"/>
                    </a:cubicBezTo>
                    <a:cubicBezTo>
                      <a:pt x="53" y="38"/>
                      <a:pt x="53" y="39"/>
                      <a:pt x="54" y="39"/>
                    </a:cubicBezTo>
                    <a:cubicBezTo>
                      <a:pt x="57" y="39"/>
                      <a:pt x="59" y="40"/>
                      <a:pt x="61" y="39"/>
                    </a:cubicBezTo>
                    <a:cubicBezTo>
                      <a:pt x="62" y="39"/>
                      <a:pt x="62" y="39"/>
                      <a:pt x="62" y="38"/>
                    </a:cubicBezTo>
                    <a:cubicBezTo>
                      <a:pt x="64" y="38"/>
                      <a:pt x="66" y="38"/>
                      <a:pt x="67" y="39"/>
                    </a:cubicBezTo>
                    <a:cubicBezTo>
                      <a:pt x="67" y="39"/>
                      <a:pt x="68" y="40"/>
                      <a:pt x="69" y="40"/>
                    </a:cubicBezTo>
                    <a:cubicBezTo>
                      <a:pt x="70" y="40"/>
                      <a:pt x="70" y="41"/>
                      <a:pt x="71" y="41"/>
                    </a:cubicBezTo>
                    <a:cubicBezTo>
                      <a:pt x="73" y="41"/>
                      <a:pt x="74" y="41"/>
                      <a:pt x="76" y="41"/>
                    </a:cubicBezTo>
                    <a:cubicBezTo>
                      <a:pt x="77" y="42"/>
                      <a:pt x="79" y="41"/>
                      <a:pt x="80" y="41"/>
                    </a:cubicBezTo>
                    <a:cubicBezTo>
                      <a:pt x="82" y="42"/>
                      <a:pt x="84" y="42"/>
                      <a:pt x="86" y="42"/>
                    </a:cubicBezTo>
                    <a:cubicBezTo>
                      <a:pt x="84" y="43"/>
                      <a:pt x="81" y="42"/>
                      <a:pt x="79" y="42"/>
                    </a:cubicBezTo>
                    <a:cubicBezTo>
                      <a:pt x="77" y="42"/>
                      <a:pt x="76" y="42"/>
                      <a:pt x="74" y="42"/>
                    </a:cubicBezTo>
                    <a:cubicBezTo>
                      <a:pt x="73" y="42"/>
                      <a:pt x="71" y="42"/>
                      <a:pt x="70" y="42"/>
                    </a:cubicBezTo>
                    <a:cubicBezTo>
                      <a:pt x="69" y="42"/>
                      <a:pt x="64" y="43"/>
                      <a:pt x="65" y="45"/>
                    </a:cubicBezTo>
                    <a:cubicBezTo>
                      <a:pt x="65" y="45"/>
                      <a:pt x="66" y="45"/>
                      <a:pt x="66" y="45"/>
                    </a:cubicBezTo>
                    <a:cubicBezTo>
                      <a:pt x="66" y="46"/>
                      <a:pt x="65" y="46"/>
                      <a:pt x="65" y="47"/>
                    </a:cubicBezTo>
                    <a:cubicBezTo>
                      <a:pt x="65" y="48"/>
                      <a:pt x="66" y="48"/>
                      <a:pt x="67" y="48"/>
                    </a:cubicBezTo>
                    <a:cubicBezTo>
                      <a:pt x="69" y="49"/>
                      <a:pt x="71" y="49"/>
                      <a:pt x="73" y="48"/>
                    </a:cubicBezTo>
                    <a:cubicBezTo>
                      <a:pt x="76" y="48"/>
                      <a:pt x="79" y="48"/>
                      <a:pt x="83" y="48"/>
                    </a:cubicBezTo>
                    <a:cubicBezTo>
                      <a:pt x="84" y="48"/>
                      <a:pt x="85" y="48"/>
                      <a:pt x="83" y="49"/>
                    </a:cubicBezTo>
                    <a:cubicBezTo>
                      <a:pt x="81" y="49"/>
                      <a:pt x="79" y="49"/>
                      <a:pt x="78" y="49"/>
                    </a:cubicBezTo>
                    <a:cubicBezTo>
                      <a:pt x="75" y="49"/>
                      <a:pt x="73" y="49"/>
                      <a:pt x="71" y="50"/>
                    </a:cubicBezTo>
                    <a:cubicBezTo>
                      <a:pt x="68" y="50"/>
                      <a:pt x="64" y="50"/>
                      <a:pt x="62" y="51"/>
                    </a:cubicBezTo>
                    <a:cubicBezTo>
                      <a:pt x="61" y="51"/>
                      <a:pt x="61" y="52"/>
                      <a:pt x="60" y="53"/>
                    </a:cubicBezTo>
                    <a:cubicBezTo>
                      <a:pt x="58" y="55"/>
                      <a:pt x="63" y="55"/>
                      <a:pt x="65" y="55"/>
                    </a:cubicBezTo>
                    <a:cubicBezTo>
                      <a:pt x="67" y="55"/>
                      <a:pt x="69" y="55"/>
                      <a:pt x="72" y="54"/>
                    </a:cubicBezTo>
                    <a:cubicBezTo>
                      <a:pt x="75" y="53"/>
                      <a:pt x="79" y="52"/>
                      <a:pt x="82" y="52"/>
                    </a:cubicBezTo>
                    <a:cubicBezTo>
                      <a:pt x="81" y="52"/>
                      <a:pt x="80" y="53"/>
                      <a:pt x="79" y="54"/>
                    </a:cubicBezTo>
                    <a:cubicBezTo>
                      <a:pt x="79" y="54"/>
                      <a:pt x="77" y="54"/>
                      <a:pt x="76" y="55"/>
                    </a:cubicBezTo>
                    <a:cubicBezTo>
                      <a:pt x="75" y="55"/>
                      <a:pt x="74" y="56"/>
                      <a:pt x="72" y="56"/>
                    </a:cubicBezTo>
                    <a:cubicBezTo>
                      <a:pt x="68" y="57"/>
                      <a:pt x="63" y="57"/>
                      <a:pt x="58" y="58"/>
                    </a:cubicBezTo>
                    <a:cubicBezTo>
                      <a:pt x="57" y="58"/>
                      <a:pt x="57" y="59"/>
                      <a:pt x="56" y="60"/>
                    </a:cubicBezTo>
                    <a:cubicBezTo>
                      <a:pt x="55" y="61"/>
                      <a:pt x="55" y="61"/>
                      <a:pt x="56" y="62"/>
                    </a:cubicBezTo>
                    <a:cubicBezTo>
                      <a:pt x="57" y="63"/>
                      <a:pt x="60" y="63"/>
                      <a:pt x="61" y="63"/>
                    </a:cubicBezTo>
                    <a:cubicBezTo>
                      <a:pt x="62" y="63"/>
                      <a:pt x="63" y="64"/>
                      <a:pt x="64" y="64"/>
                    </a:cubicBezTo>
                    <a:cubicBezTo>
                      <a:pt x="65" y="64"/>
                      <a:pt x="65" y="63"/>
                      <a:pt x="66" y="63"/>
                    </a:cubicBezTo>
                    <a:cubicBezTo>
                      <a:pt x="67" y="63"/>
                      <a:pt x="67" y="63"/>
                      <a:pt x="68" y="63"/>
                    </a:cubicBezTo>
                    <a:cubicBezTo>
                      <a:pt x="69" y="63"/>
                      <a:pt x="70" y="62"/>
                      <a:pt x="70" y="63"/>
                    </a:cubicBezTo>
                    <a:cubicBezTo>
                      <a:pt x="70" y="64"/>
                      <a:pt x="68" y="64"/>
                      <a:pt x="69" y="64"/>
                    </a:cubicBezTo>
                    <a:cubicBezTo>
                      <a:pt x="69" y="65"/>
                      <a:pt x="70" y="64"/>
                      <a:pt x="70" y="64"/>
                    </a:cubicBezTo>
                    <a:cubicBezTo>
                      <a:pt x="69" y="66"/>
                      <a:pt x="72" y="66"/>
                      <a:pt x="73" y="66"/>
                    </a:cubicBezTo>
                    <a:cubicBezTo>
                      <a:pt x="74" y="67"/>
                      <a:pt x="76" y="68"/>
                      <a:pt x="76" y="66"/>
                    </a:cubicBezTo>
                    <a:cubicBezTo>
                      <a:pt x="77" y="65"/>
                      <a:pt x="76" y="65"/>
                      <a:pt x="76" y="64"/>
                    </a:cubicBezTo>
                    <a:cubicBezTo>
                      <a:pt x="77" y="64"/>
                      <a:pt x="77" y="64"/>
                      <a:pt x="79" y="63"/>
                    </a:cubicBezTo>
                    <a:cubicBezTo>
                      <a:pt x="80" y="63"/>
                      <a:pt x="80" y="63"/>
                      <a:pt x="80" y="64"/>
                    </a:cubicBezTo>
                    <a:cubicBezTo>
                      <a:pt x="80" y="65"/>
                      <a:pt x="80" y="65"/>
                      <a:pt x="80" y="65"/>
                    </a:cubicBezTo>
                    <a:cubicBezTo>
                      <a:pt x="80" y="66"/>
                      <a:pt x="81" y="66"/>
                      <a:pt x="81" y="67"/>
                    </a:cubicBezTo>
                    <a:cubicBezTo>
                      <a:pt x="82" y="67"/>
                      <a:pt x="83" y="67"/>
                      <a:pt x="84" y="67"/>
                    </a:cubicBezTo>
                    <a:cubicBezTo>
                      <a:pt x="85" y="66"/>
                      <a:pt x="87" y="66"/>
                      <a:pt x="88" y="65"/>
                    </a:cubicBezTo>
                    <a:cubicBezTo>
                      <a:pt x="88" y="65"/>
                      <a:pt x="90" y="64"/>
                      <a:pt x="89" y="63"/>
                    </a:cubicBezTo>
                    <a:cubicBezTo>
                      <a:pt x="89" y="62"/>
                      <a:pt x="88" y="61"/>
                      <a:pt x="87" y="60"/>
                    </a:cubicBezTo>
                    <a:cubicBezTo>
                      <a:pt x="89" y="61"/>
                      <a:pt x="90" y="63"/>
                      <a:pt x="91" y="61"/>
                    </a:cubicBezTo>
                    <a:cubicBezTo>
                      <a:pt x="92" y="59"/>
                      <a:pt x="91" y="58"/>
                      <a:pt x="92" y="57"/>
                    </a:cubicBezTo>
                    <a:cubicBezTo>
                      <a:pt x="92" y="56"/>
                      <a:pt x="93" y="59"/>
                      <a:pt x="93" y="59"/>
                    </a:cubicBezTo>
                    <a:cubicBezTo>
                      <a:pt x="94" y="59"/>
                      <a:pt x="95" y="59"/>
                      <a:pt x="96" y="58"/>
                    </a:cubicBezTo>
                    <a:cubicBezTo>
                      <a:pt x="96" y="59"/>
                      <a:pt x="95" y="59"/>
                      <a:pt x="94" y="60"/>
                    </a:cubicBezTo>
                    <a:cubicBezTo>
                      <a:pt x="94" y="60"/>
                      <a:pt x="94" y="61"/>
                      <a:pt x="94" y="61"/>
                    </a:cubicBezTo>
                    <a:cubicBezTo>
                      <a:pt x="94" y="62"/>
                      <a:pt x="93" y="62"/>
                      <a:pt x="93" y="63"/>
                    </a:cubicBezTo>
                    <a:cubicBezTo>
                      <a:pt x="93" y="63"/>
                      <a:pt x="93" y="63"/>
                      <a:pt x="93" y="63"/>
                    </a:cubicBezTo>
                    <a:cubicBezTo>
                      <a:pt x="93" y="64"/>
                      <a:pt x="93" y="64"/>
                      <a:pt x="93" y="64"/>
                    </a:cubicBezTo>
                    <a:cubicBezTo>
                      <a:pt x="93" y="65"/>
                      <a:pt x="93" y="65"/>
                      <a:pt x="94" y="65"/>
                    </a:cubicBezTo>
                    <a:cubicBezTo>
                      <a:pt x="95" y="65"/>
                      <a:pt x="96" y="65"/>
                      <a:pt x="97" y="65"/>
                    </a:cubicBezTo>
                    <a:cubicBezTo>
                      <a:pt x="98" y="65"/>
                      <a:pt x="105" y="65"/>
                      <a:pt x="106" y="63"/>
                    </a:cubicBezTo>
                    <a:cubicBezTo>
                      <a:pt x="106" y="63"/>
                      <a:pt x="106" y="60"/>
                      <a:pt x="107" y="61"/>
                    </a:cubicBezTo>
                    <a:cubicBezTo>
                      <a:pt x="107" y="62"/>
                      <a:pt x="106" y="62"/>
                      <a:pt x="106" y="62"/>
                    </a:cubicBezTo>
                    <a:cubicBezTo>
                      <a:pt x="107" y="63"/>
                      <a:pt x="110" y="61"/>
                      <a:pt x="109" y="63"/>
                    </a:cubicBezTo>
                    <a:cubicBezTo>
                      <a:pt x="109" y="63"/>
                      <a:pt x="108" y="63"/>
                      <a:pt x="109" y="64"/>
                    </a:cubicBezTo>
                    <a:cubicBezTo>
                      <a:pt x="109" y="64"/>
                      <a:pt x="110" y="64"/>
                      <a:pt x="110" y="64"/>
                    </a:cubicBezTo>
                    <a:cubicBezTo>
                      <a:pt x="111" y="64"/>
                      <a:pt x="112" y="64"/>
                      <a:pt x="113" y="64"/>
                    </a:cubicBezTo>
                    <a:cubicBezTo>
                      <a:pt x="114" y="64"/>
                      <a:pt x="115" y="63"/>
                      <a:pt x="115" y="63"/>
                    </a:cubicBezTo>
                    <a:cubicBezTo>
                      <a:pt x="116" y="63"/>
                      <a:pt x="116" y="63"/>
                      <a:pt x="116" y="63"/>
                    </a:cubicBezTo>
                    <a:cubicBezTo>
                      <a:pt x="118" y="63"/>
                      <a:pt x="120" y="61"/>
                      <a:pt x="121" y="61"/>
                    </a:cubicBezTo>
                    <a:cubicBezTo>
                      <a:pt x="120" y="64"/>
                      <a:pt x="117" y="67"/>
                      <a:pt x="114" y="67"/>
                    </a:cubicBezTo>
                    <a:cubicBezTo>
                      <a:pt x="111" y="66"/>
                      <a:pt x="109" y="67"/>
                      <a:pt x="107" y="67"/>
                    </a:cubicBezTo>
                    <a:cubicBezTo>
                      <a:pt x="103" y="68"/>
                      <a:pt x="99" y="69"/>
                      <a:pt x="95" y="71"/>
                    </a:cubicBezTo>
                    <a:cubicBezTo>
                      <a:pt x="93" y="71"/>
                      <a:pt x="92" y="72"/>
                      <a:pt x="90" y="72"/>
                    </a:cubicBezTo>
                    <a:cubicBezTo>
                      <a:pt x="89" y="72"/>
                      <a:pt x="88" y="72"/>
                      <a:pt x="88" y="73"/>
                    </a:cubicBezTo>
                    <a:cubicBezTo>
                      <a:pt x="87" y="75"/>
                      <a:pt x="96" y="78"/>
                      <a:pt x="98" y="78"/>
                    </a:cubicBezTo>
                    <a:cubicBezTo>
                      <a:pt x="101" y="79"/>
                      <a:pt x="103" y="79"/>
                      <a:pt x="106" y="78"/>
                    </a:cubicBezTo>
                    <a:cubicBezTo>
                      <a:pt x="114" y="75"/>
                      <a:pt x="122" y="73"/>
                      <a:pt x="129" y="71"/>
                    </a:cubicBezTo>
                    <a:cubicBezTo>
                      <a:pt x="135" y="69"/>
                      <a:pt x="140" y="67"/>
                      <a:pt x="145" y="65"/>
                    </a:cubicBezTo>
                    <a:cubicBezTo>
                      <a:pt x="146" y="65"/>
                      <a:pt x="147" y="65"/>
                      <a:pt x="147" y="66"/>
                    </a:cubicBezTo>
                    <a:cubicBezTo>
                      <a:pt x="150" y="67"/>
                      <a:pt x="152" y="67"/>
                      <a:pt x="154" y="68"/>
                    </a:cubicBezTo>
                    <a:cubicBezTo>
                      <a:pt x="154" y="68"/>
                      <a:pt x="154" y="68"/>
                      <a:pt x="154" y="68"/>
                    </a:cubicBezTo>
                    <a:cubicBezTo>
                      <a:pt x="154" y="67"/>
                      <a:pt x="155" y="67"/>
                      <a:pt x="155" y="66"/>
                    </a:cubicBezTo>
                    <a:cubicBezTo>
                      <a:pt x="155" y="66"/>
                      <a:pt x="156" y="65"/>
                      <a:pt x="156" y="65"/>
                    </a:cubicBezTo>
                    <a:cubicBezTo>
                      <a:pt x="157" y="65"/>
                      <a:pt x="157" y="65"/>
                      <a:pt x="157" y="65"/>
                    </a:cubicBezTo>
                    <a:cubicBezTo>
                      <a:pt x="159" y="65"/>
                      <a:pt x="162" y="65"/>
                      <a:pt x="164" y="65"/>
                    </a:cubicBezTo>
                    <a:cubicBezTo>
                      <a:pt x="167" y="65"/>
                      <a:pt x="170" y="65"/>
                      <a:pt x="174" y="65"/>
                    </a:cubicBezTo>
                    <a:cubicBezTo>
                      <a:pt x="175" y="65"/>
                      <a:pt x="173" y="65"/>
                      <a:pt x="174" y="64"/>
                    </a:cubicBezTo>
                    <a:cubicBezTo>
                      <a:pt x="175" y="64"/>
                      <a:pt x="176" y="64"/>
                      <a:pt x="176" y="63"/>
                    </a:cubicBezTo>
                    <a:cubicBezTo>
                      <a:pt x="176" y="62"/>
                      <a:pt x="175" y="63"/>
                      <a:pt x="175" y="62"/>
                    </a:cubicBezTo>
                    <a:cubicBezTo>
                      <a:pt x="175" y="61"/>
                      <a:pt x="176" y="61"/>
                      <a:pt x="177" y="60"/>
                    </a:cubicBezTo>
                    <a:cubicBezTo>
                      <a:pt x="177" y="60"/>
                      <a:pt x="177" y="60"/>
                      <a:pt x="178" y="59"/>
                    </a:cubicBezTo>
                    <a:cubicBezTo>
                      <a:pt x="178" y="59"/>
                      <a:pt x="177" y="59"/>
                      <a:pt x="177" y="58"/>
                    </a:cubicBezTo>
                    <a:cubicBezTo>
                      <a:pt x="177" y="57"/>
                      <a:pt x="179" y="57"/>
                      <a:pt x="177" y="57"/>
                    </a:cubicBezTo>
                    <a:cubicBezTo>
                      <a:pt x="178" y="56"/>
                      <a:pt x="179" y="55"/>
                      <a:pt x="179" y="54"/>
                    </a:cubicBezTo>
                    <a:cubicBezTo>
                      <a:pt x="181" y="53"/>
                      <a:pt x="180" y="52"/>
                      <a:pt x="180" y="50"/>
                    </a:cubicBezTo>
                    <a:cubicBezTo>
                      <a:pt x="180" y="49"/>
                      <a:pt x="179" y="48"/>
                      <a:pt x="178" y="47"/>
                    </a:cubicBezTo>
                    <a:cubicBezTo>
                      <a:pt x="176" y="46"/>
                      <a:pt x="175" y="46"/>
                      <a:pt x="173" y="45"/>
                    </a:cubicBezTo>
                    <a:cubicBezTo>
                      <a:pt x="171" y="45"/>
                      <a:pt x="169" y="44"/>
                      <a:pt x="167" y="45"/>
                    </a:cubicBezTo>
                    <a:cubicBezTo>
                      <a:pt x="166" y="46"/>
                      <a:pt x="165" y="46"/>
                      <a:pt x="165" y="48"/>
                    </a:cubicBezTo>
                    <a:cubicBezTo>
                      <a:pt x="165" y="50"/>
                      <a:pt x="166" y="49"/>
                      <a:pt x="167" y="50"/>
                    </a:cubicBezTo>
                    <a:cubicBezTo>
                      <a:pt x="165" y="50"/>
                      <a:pt x="165" y="51"/>
                      <a:pt x="165" y="53"/>
                    </a:cubicBezTo>
                    <a:cubicBezTo>
                      <a:pt x="165" y="53"/>
                      <a:pt x="165" y="52"/>
                      <a:pt x="165" y="52"/>
                    </a:cubicBezTo>
                    <a:cubicBezTo>
                      <a:pt x="164" y="51"/>
                      <a:pt x="164" y="51"/>
                      <a:pt x="164" y="50"/>
                    </a:cubicBezTo>
                    <a:cubicBezTo>
                      <a:pt x="163" y="49"/>
                      <a:pt x="164" y="48"/>
                      <a:pt x="163" y="48"/>
                    </a:cubicBezTo>
                    <a:cubicBezTo>
                      <a:pt x="163" y="48"/>
                      <a:pt x="162" y="48"/>
                      <a:pt x="162" y="48"/>
                    </a:cubicBezTo>
                    <a:cubicBezTo>
                      <a:pt x="161" y="48"/>
                      <a:pt x="160" y="48"/>
                      <a:pt x="159" y="48"/>
                    </a:cubicBezTo>
                    <a:cubicBezTo>
                      <a:pt x="157" y="48"/>
                      <a:pt x="158" y="46"/>
                      <a:pt x="157" y="45"/>
                    </a:cubicBezTo>
                    <a:cubicBezTo>
                      <a:pt x="156" y="45"/>
                      <a:pt x="155" y="44"/>
                      <a:pt x="154" y="44"/>
                    </a:cubicBezTo>
                    <a:cubicBezTo>
                      <a:pt x="154" y="45"/>
                      <a:pt x="153" y="45"/>
                      <a:pt x="152" y="45"/>
                    </a:cubicBezTo>
                    <a:cubicBezTo>
                      <a:pt x="152" y="45"/>
                      <a:pt x="152" y="44"/>
                      <a:pt x="152" y="43"/>
                    </a:cubicBezTo>
                    <a:cubicBezTo>
                      <a:pt x="152" y="42"/>
                      <a:pt x="153" y="40"/>
                      <a:pt x="152" y="40"/>
                    </a:cubicBezTo>
                    <a:cubicBezTo>
                      <a:pt x="152" y="39"/>
                      <a:pt x="152" y="39"/>
                      <a:pt x="152" y="38"/>
                    </a:cubicBezTo>
                    <a:cubicBezTo>
                      <a:pt x="151" y="38"/>
                      <a:pt x="150" y="38"/>
                      <a:pt x="149" y="37"/>
                    </a:cubicBezTo>
                    <a:cubicBezTo>
                      <a:pt x="148" y="36"/>
                      <a:pt x="149" y="34"/>
                      <a:pt x="148" y="34"/>
                    </a:cubicBezTo>
                    <a:cubicBezTo>
                      <a:pt x="147" y="34"/>
                      <a:pt x="146" y="33"/>
                      <a:pt x="147" y="32"/>
                    </a:cubicBezTo>
                    <a:cubicBezTo>
                      <a:pt x="147" y="32"/>
                      <a:pt x="149" y="32"/>
                      <a:pt x="149" y="31"/>
                    </a:cubicBezTo>
                    <a:cubicBezTo>
                      <a:pt x="149" y="30"/>
                      <a:pt x="149" y="30"/>
                      <a:pt x="148" y="30"/>
                    </a:cubicBezTo>
                    <a:cubicBezTo>
                      <a:pt x="148" y="30"/>
                      <a:pt x="148" y="30"/>
                      <a:pt x="148" y="30"/>
                    </a:cubicBezTo>
                    <a:cubicBezTo>
                      <a:pt x="147" y="29"/>
                      <a:pt x="147" y="29"/>
                      <a:pt x="147" y="29"/>
                    </a:cubicBezTo>
                    <a:cubicBezTo>
                      <a:pt x="147" y="29"/>
                      <a:pt x="147" y="28"/>
                      <a:pt x="146" y="28"/>
                    </a:cubicBezTo>
                    <a:cubicBezTo>
                      <a:pt x="145" y="28"/>
                      <a:pt x="146" y="28"/>
                      <a:pt x="145" y="28"/>
                    </a:cubicBezTo>
                    <a:cubicBezTo>
                      <a:pt x="144" y="29"/>
                      <a:pt x="143" y="28"/>
                      <a:pt x="142" y="28"/>
                    </a:cubicBezTo>
                    <a:cubicBezTo>
                      <a:pt x="141" y="28"/>
                      <a:pt x="140" y="29"/>
                      <a:pt x="140" y="30"/>
                    </a:cubicBezTo>
                    <a:cubicBezTo>
                      <a:pt x="139" y="31"/>
                      <a:pt x="139" y="31"/>
                      <a:pt x="138" y="31"/>
                    </a:cubicBezTo>
                    <a:cubicBezTo>
                      <a:pt x="138" y="32"/>
                      <a:pt x="138" y="32"/>
                      <a:pt x="138" y="33"/>
                    </a:cubicBezTo>
                    <a:cubicBezTo>
                      <a:pt x="137" y="33"/>
                      <a:pt x="134" y="35"/>
                      <a:pt x="136" y="35"/>
                    </a:cubicBezTo>
                    <a:cubicBezTo>
                      <a:pt x="136" y="36"/>
                      <a:pt x="134" y="36"/>
                      <a:pt x="133" y="36"/>
                    </a:cubicBezTo>
                    <a:cubicBezTo>
                      <a:pt x="132" y="36"/>
                      <a:pt x="129" y="37"/>
                      <a:pt x="129" y="39"/>
                    </a:cubicBezTo>
                    <a:cubicBezTo>
                      <a:pt x="130" y="40"/>
                      <a:pt x="131" y="40"/>
                      <a:pt x="131" y="40"/>
                    </a:cubicBezTo>
                    <a:cubicBezTo>
                      <a:pt x="133" y="40"/>
                      <a:pt x="134" y="41"/>
                      <a:pt x="135" y="42"/>
                    </a:cubicBezTo>
                    <a:cubicBezTo>
                      <a:pt x="137" y="43"/>
                      <a:pt x="139" y="44"/>
                      <a:pt x="141" y="45"/>
                    </a:cubicBezTo>
                    <a:cubicBezTo>
                      <a:pt x="140" y="45"/>
                      <a:pt x="138" y="46"/>
                      <a:pt x="137" y="46"/>
                    </a:cubicBezTo>
                    <a:cubicBezTo>
                      <a:pt x="136" y="47"/>
                      <a:pt x="135" y="47"/>
                      <a:pt x="133" y="48"/>
                    </a:cubicBezTo>
                    <a:cubicBezTo>
                      <a:pt x="132" y="48"/>
                      <a:pt x="136" y="49"/>
                      <a:pt x="137" y="49"/>
                    </a:cubicBezTo>
                    <a:cubicBezTo>
                      <a:pt x="139" y="50"/>
                      <a:pt x="141" y="51"/>
                      <a:pt x="144" y="52"/>
                    </a:cubicBezTo>
                    <a:cubicBezTo>
                      <a:pt x="146" y="52"/>
                      <a:pt x="145" y="52"/>
                      <a:pt x="145" y="54"/>
                    </a:cubicBezTo>
                    <a:cubicBezTo>
                      <a:pt x="145" y="55"/>
                      <a:pt x="145" y="57"/>
                      <a:pt x="144" y="57"/>
                    </a:cubicBezTo>
                    <a:cubicBezTo>
                      <a:pt x="143" y="57"/>
                      <a:pt x="141" y="56"/>
                      <a:pt x="139" y="56"/>
                    </a:cubicBezTo>
                    <a:cubicBezTo>
                      <a:pt x="137" y="56"/>
                      <a:pt x="134" y="55"/>
                      <a:pt x="132" y="55"/>
                    </a:cubicBezTo>
                    <a:cubicBezTo>
                      <a:pt x="128" y="56"/>
                      <a:pt x="125" y="56"/>
                      <a:pt x="121" y="56"/>
                    </a:cubicBezTo>
                    <a:cubicBezTo>
                      <a:pt x="120" y="56"/>
                      <a:pt x="119" y="54"/>
                      <a:pt x="119" y="53"/>
                    </a:cubicBezTo>
                    <a:cubicBezTo>
                      <a:pt x="119" y="52"/>
                      <a:pt x="120" y="50"/>
                      <a:pt x="118" y="49"/>
                    </a:cubicBezTo>
                    <a:cubicBezTo>
                      <a:pt x="118" y="49"/>
                      <a:pt x="116" y="49"/>
                      <a:pt x="115" y="49"/>
                    </a:cubicBezTo>
                    <a:cubicBezTo>
                      <a:pt x="114" y="50"/>
                      <a:pt x="112" y="50"/>
                      <a:pt x="111" y="50"/>
                    </a:cubicBezTo>
                    <a:cubicBezTo>
                      <a:pt x="112" y="49"/>
                      <a:pt x="111" y="49"/>
                      <a:pt x="112" y="48"/>
                    </a:cubicBezTo>
                    <a:cubicBezTo>
                      <a:pt x="113" y="48"/>
                      <a:pt x="114" y="48"/>
                      <a:pt x="114" y="48"/>
                    </a:cubicBezTo>
                    <a:cubicBezTo>
                      <a:pt x="113" y="47"/>
                      <a:pt x="111" y="45"/>
                      <a:pt x="109" y="44"/>
                    </a:cubicBezTo>
                    <a:cubicBezTo>
                      <a:pt x="107" y="43"/>
                      <a:pt x="105" y="41"/>
                      <a:pt x="104" y="40"/>
                    </a:cubicBezTo>
                    <a:cubicBezTo>
                      <a:pt x="103" y="40"/>
                      <a:pt x="102" y="40"/>
                      <a:pt x="102" y="41"/>
                    </a:cubicBezTo>
                    <a:cubicBezTo>
                      <a:pt x="101" y="41"/>
                      <a:pt x="100" y="40"/>
                      <a:pt x="99" y="40"/>
                    </a:cubicBezTo>
                    <a:cubicBezTo>
                      <a:pt x="98" y="41"/>
                      <a:pt x="96" y="41"/>
                      <a:pt x="95" y="41"/>
                    </a:cubicBezTo>
                    <a:cubicBezTo>
                      <a:pt x="94" y="41"/>
                      <a:pt x="91" y="41"/>
                      <a:pt x="92" y="41"/>
                    </a:cubicBezTo>
                    <a:cubicBezTo>
                      <a:pt x="93" y="41"/>
                      <a:pt x="93" y="40"/>
                      <a:pt x="92" y="40"/>
                    </a:cubicBezTo>
                    <a:cubicBezTo>
                      <a:pt x="92" y="40"/>
                      <a:pt x="92" y="40"/>
                      <a:pt x="91" y="39"/>
                    </a:cubicBezTo>
                    <a:cubicBezTo>
                      <a:pt x="92" y="39"/>
                      <a:pt x="94" y="39"/>
                      <a:pt x="95" y="39"/>
                    </a:cubicBezTo>
                    <a:cubicBezTo>
                      <a:pt x="96" y="39"/>
                      <a:pt x="97" y="36"/>
                      <a:pt x="95" y="36"/>
                    </a:cubicBezTo>
                    <a:cubicBezTo>
                      <a:pt x="96" y="36"/>
                      <a:pt x="95" y="36"/>
                      <a:pt x="96" y="35"/>
                    </a:cubicBezTo>
                    <a:cubicBezTo>
                      <a:pt x="96" y="35"/>
                      <a:pt x="97" y="34"/>
                      <a:pt x="98" y="33"/>
                    </a:cubicBezTo>
                    <a:cubicBezTo>
                      <a:pt x="99" y="32"/>
                      <a:pt x="100" y="31"/>
                      <a:pt x="102" y="32"/>
                    </a:cubicBezTo>
                    <a:cubicBezTo>
                      <a:pt x="105" y="32"/>
                      <a:pt x="107" y="31"/>
                      <a:pt x="110" y="30"/>
                    </a:cubicBezTo>
                    <a:cubicBezTo>
                      <a:pt x="111" y="29"/>
                      <a:pt x="111" y="29"/>
                      <a:pt x="111" y="28"/>
                    </a:cubicBezTo>
                    <a:cubicBezTo>
                      <a:pt x="113" y="27"/>
                      <a:pt x="116" y="25"/>
                      <a:pt x="117" y="24"/>
                    </a:cubicBezTo>
                    <a:cubicBezTo>
                      <a:pt x="117" y="23"/>
                      <a:pt x="119" y="22"/>
                      <a:pt x="118" y="22"/>
                    </a:cubicBezTo>
                    <a:cubicBezTo>
                      <a:pt x="118" y="22"/>
                      <a:pt x="116" y="23"/>
                      <a:pt x="116" y="23"/>
                    </a:cubicBezTo>
                    <a:cubicBezTo>
                      <a:pt x="117" y="22"/>
                      <a:pt x="118" y="21"/>
                      <a:pt x="119" y="20"/>
                    </a:cubicBezTo>
                    <a:cubicBezTo>
                      <a:pt x="120" y="19"/>
                      <a:pt x="122" y="17"/>
                      <a:pt x="123" y="17"/>
                    </a:cubicBezTo>
                    <a:cubicBezTo>
                      <a:pt x="124" y="17"/>
                      <a:pt x="127" y="17"/>
                      <a:pt x="127" y="17"/>
                    </a:cubicBezTo>
                    <a:cubicBezTo>
                      <a:pt x="130" y="18"/>
                      <a:pt x="132" y="17"/>
                      <a:pt x="135" y="15"/>
                    </a:cubicBezTo>
                    <a:cubicBezTo>
                      <a:pt x="134" y="14"/>
                      <a:pt x="132" y="16"/>
                      <a:pt x="131" y="16"/>
                    </a:cubicBezTo>
                    <a:cubicBezTo>
                      <a:pt x="131" y="16"/>
                      <a:pt x="130" y="15"/>
                      <a:pt x="130" y="15"/>
                    </a:cubicBezTo>
                    <a:cubicBezTo>
                      <a:pt x="129" y="15"/>
                      <a:pt x="129" y="16"/>
                      <a:pt x="128" y="16"/>
                    </a:cubicBezTo>
                    <a:cubicBezTo>
                      <a:pt x="129" y="16"/>
                      <a:pt x="129" y="15"/>
                      <a:pt x="130" y="15"/>
                    </a:cubicBezTo>
                    <a:cubicBezTo>
                      <a:pt x="128" y="15"/>
                      <a:pt x="128" y="16"/>
                      <a:pt x="126" y="15"/>
                    </a:cubicBezTo>
                    <a:cubicBezTo>
                      <a:pt x="126" y="15"/>
                      <a:pt x="126" y="15"/>
                      <a:pt x="126" y="15"/>
                    </a:cubicBezTo>
                    <a:cubicBezTo>
                      <a:pt x="127" y="15"/>
                      <a:pt x="128" y="15"/>
                      <a:pt x="129" y="14"/>
                    </a:cubicBezTo>
                    <a:cubicBezTo>
                      <a:pt x="131" y="14"/>
                      <a:pt x="134" y="14"/>
                      <a:pt x="137" y="13"/>
                    </a:cubicBezTo>
                    <a:cubicBezTo>
                      <a:pt x="135" y="12"/>
                      <a:pt x="134" y="13"/>
                      <a:pt x="132" y="13"/>
                    </a:cubicBezTo>
                    <a:cubicBezTo>
                      <a:pt x="132" y="12"/>
                      <a:pt x="132" y="12"/>
                      <a:pt x="132" y="12"/>
                    </a:cubicBezTo>
                    <a:cubicBezTo>
                      <a:pt x="133" y="12"/>
                      <a:pt x="135" y="12"/>
                      <a:pt x="136" y="12"/>
                    </a:cubicBezTo>
                    <a:cubicBezTo>
                      <a:pt x="135" y="12"/>
                      <a:pt x="134" y="11"/>
                      <a:pt x="133" y="11"/>
                    </a:cubicBezTo>
                    <a:cubicBezTo>
                      <a:pt x="133" y="11"/>
                      <a:pt x="133" y="11"/>
                      <a:pt x="133" y="10"/>
                    </a:cubicBezTo>
                    <a:cubicBezTo>
                      <a:pt x="134" y="10"/>
                      <a:pt x="135" y="11"/>
                      <a:pt x="136" y="11"/>
                    </a:cubicBezTo>
                    <a:cubicBezTo>
                      <a:pt x="137" y="11"/>
                      <a:pt x="138" y="11"/>
                      <a:pt x="139" y="12"/>
                    </a:cubicBezTo>
                    <a:cubicBezTo>
                      <a:pt x="141" y="12"/>
                      <a:pt x="140" y="13"/>
                      <a:pt x="141" y="14"/>
                    </a:cubicBezTo>
                    <a:cubicBezTo>
                      <a:pt x="142" y="13"/>
                      <a:pt x="143" y="12"/>
                      <a:pt x="144" y="11"/>
                    </a:cubicBezTo>
                    <a:cubicBezTo>
                      <a:pt x="143" y="11"/>
                      <a:pt x="142" y="10"/>
                      <a:pt x="141" y="10"/>
                    </a:cubicBezTo>
                    <a:cubicBezTo>
                      <a:pt x="140" y="10"/>
                      <a:pt x="139" y="10"/>
                      <a:pt x="138" y="9"/>
                    </a:cubicBezTo>
                    <a:cubicBezTo>
                      <a:pt x="137" y="9"/>
                      <a:pt x="137" y="9"/>
                      <a:pt x="136" y="9"/>
                    </a:cubicBezTo>
                    <a:cubicBezTo>
                      <a:pt x="135" y="9"/>
                      <a:pt x="134" y="8"/>
                      <a:pt x="132" y="8"/>
                    </a:cubicBezTo>
                    <a:cubicBezTo>
                      <a:pt x="132" y="6"/>
                      <a:pt x="128" y="9"/>
                      <a:pt x="126" y="8"/>
                    </a:cubicBezTo>
                    <a:cubicBezTo>
                      <a:pt x="126" y="8"/>
                      <a:pt x="125" y="7"/>
                      <a:pt x="125" y="6"/>
                    </a:cubicBezTo>
                    <a:cubicBezTo>
                      <a:pt x="125" y="6"/>
                      <a:pt x="125" y="6"/>
                      <a:pt x="126" y="6"/>
                    </a:cubicBezTo>
                    <a:cubicBezTo>
                      <a:pt x="128" y="5"/>
                      <a:pt x="130" y="5"/>
                      <a:pt x="132" y="5"/>
                    </a:cubicBezTo>
                    <a:cubicBezTo>
                      <a:pt x="133" y="5"/>
                      <a:pt x="138" y="2"/>
                      <a:pt x="137" y="1"/>
                    </a:cubicBezTo>
                    <a:cubicBezTo>
                      <a:pt x="136" y="0"/>
                      <a:pt x="134" y="1"/>
                      <a:pt x="133" y="1"/>
                    </a:cubicBezTo>
                    <a:cubicBezTo>
                      <a:pt x="126" y="1"/>
                      <a:pt x="119" y="2"/>
                      <a:pt x="112" y="3"/>
                    </a:cubicBezTo>
                    <a:cubicBezTo>
                      <a:pt x="108" y="4"/>
                      <a:pt x="105" y="4"/>
                      <a:pt x="101" y="5"/>
                    </a:cubicBezTo>
                    <a:cubicBezTo>
                      <a:pt x="100" y="5"/>
                      <a:pt x="100" y="6"/>
                      <a:pt x="99" y="7"/>
                    </a:cubicBezTo>
                    <a:cubicBezTo>
                      <a:pt x="99" y="8"/>
                      <a:pt x="100" y="8"/>
                      <a:pt x="101" y="9"/>
                    </a:cubicBezTo>
                    <a:cubicBezTo>
                      <a:pt x="101" y="10"/>
                      <a:pt x="100" y="10"/>
                      <a:pt x="100" y="10"/>
                    </a:cubicBezTo>
                    <a:cubicBezTo>
                      <a:pt x="100" y="10"/>
                      <a:pt x="101" y="10"/>
                      <a:pt x="101" y="11"/>
                    </a:cubicBezTo>
                    <a:cubicBezTo>
                      <a:pt x="101" y="11"/>
                      <a:pt x="100" y="12"/>
                      <a:pt x="101" y="12"/>
                    </a:cubicBezTo>
                    <a:cubicBezTo>
                      <a:pt x="101" y="14"/>
                      <a:pt x="102" y="13"/>
                      <a:pt x="103" y="14"/>
                    </a:cubicBezTo>
                    <a:cubicBezTo>
                      <a:pt x="103" y="14"/>
                      <a:pt x="103" y="15"/>
                      <a:pt x="104" y="15"/>
                    </a:cubicBezTo>
                    <a:cubicBezTo>
                      <a:pt x="105" y="15"/>
                      <a:pt x="105" y="15"/>
                      <a:pt x="106" y="15"/>
                    </a:cubicBezTo>
                    <a:cubicBezTo>
                      <a:pt x="107" y="15"/>
                      <a:pt x="107" y="15"/>
                      <a:pt x="108" y="16"/>
                    </a:cubicBezTo>
                    <a:cubicBezTo>
                      <a:pt x="109" y="17"/>
                      <a:pt x="111" y="18"/>
                      <a:pt x="112" y="18"/>
                    </a:cubicBezTo>
                    <a:cubicBezTo>
                      <a:pt x="114" y="17"/>
                      <a:pt x="115" y="17"/>
                      <a:pt x="116" y="17"/>
                    </a:cubicBezTo>
                    <a:cubicBezTo>
                      <a:pt x="116" y="17"/>
                      <a:pt x="116" y="17"/>
                      <a:pt x="116" y="17"/>
                    </a:cubicBezTo>
                    <a:cubicBezTo>
                      <a:pt x="115" y="18"/>
                      <a:pt x="114" y="18"/>
                      <a:pt x="114" y="18"/>
                    </a:cubicBezTo>
                    <a:cubicBezTo>
                      <a:pt x="113" y="19"/>
                      <a:pt x="113" y="19"/>
                      <a:pt x="112" y="20"/>
                    </a:cubicBezTo>
                    <a:cubicBezTo>
                      <a:pt x="111" y="20"/>
                      <a:pt x="110" y="22"/>
                      <a:pt x="108" y="22"/>
                    </a:cubicBezTo>
                    <a:cubicBezTo>
                      <a:pt x="107" y="22"/>
                      <a:pt x="106" y="22"/>
                      <a:pt x="106" y="22"/>
                    </a:cubicBezTo>
                    <a:cubicBezTo>
                      <a:pt x="105" y="22"/>
                      <a:pt x="105" y="23"/>
                      <a:pt x="104" y="23"/>
                    </a:cubicBezTo>
                    <a:cubicBezTo>
                      <a:pt x="104" y="23"/>
                      <a:pt x="104" y="22"/>
                      <a:pt x="103" y="22"/>
                    </a:cubicBezTo>
                    <a:cubicBezTo>
                      <a:pt x="103" y="22"/>
                      <a:pt x="103" y="23"/>
                      <a:pt x="102" y="23"/>
                    </a:cubicBezTo>
                    <a:cubicBezTo>
                      <a:pt x="102" y="23"/>
                      <a:pt x="102" y="23"/>
                      <a:pt x="101" y="23"/>
                    </a:cubicBezTo>
                    <a:cubicBezTo>
                      <a:pt x="101" y="23"/>
                      <a:pt x="100" y="24"/>
                      <a:pt x="99" y="23"/>
                    </a:cubicBezTo>
                    <a:cubicBezTo>
                      <a:pt x="99" y="23"/>
                      <a:pt x="99" y="23"/>
                      <a:pt x="99" y="23"/>
                    </a:cubicBezTo>
                    <a:cubicBezTo>
                      <a:pt x="98" y="23"/>
                      <a:pt x="98" y="23"/>
                      <a:pt x="98" y="23"/>
                    </a:cubicBezTo>
                    <a:cubicBezTo>
                      <a:pt x="98" y="23"/>
                      <a:pt x="97" y="22"/>
                      <a:pt x="96" y="22"/>
                    </a:cubicBezTo>
                    <a:cubicBezTo>
                      <a:pt x="96" y="22"/>
                      <a:pt x="96" y="22"/>
                      <a:pt x="95" y="21"/>
                    </a:cubicBezTo>
                    <a:cubicBezTo>
                      <a:pt x="95" y="21"/>
                      <a:pt x="94" y="21"/>
                      <a:pt x="94" y="21"/>
                    </a:cubicBezTo>
                    <a:cubicBezTo>
                      <a:pt x="94" y="20"/>
                      <a:pt x="93" y="20"/>
                      <a:pt x="93" y="20"/>
                    </a:cubicBezTo>
                    <a:cubicBezTo>
                      <a:pt x="93" y="20"/>
                      <a:pt x="92" y="19"/>
                      <a:pt x="92" y="19"/>
                    </a:cubicBezTo>
                    <a:cubicBezTo>
                      <a:pt x="92" y="19"/>
                      <a:pt x="91" y="19"/>
                      <a:pt x="91" y="19"/>
                    </a:cubicBezTo>
                    <a:cubicBezTo>
                      <a:pt x="91" y="18"/>
                      <a:pt x="90" y="17"/>
                      <a:pt x="89" y="17"/>
                    </a:cubicBezTo>
                    <a:cubicBezTo>
                      <a:pt x="89" y="17"/>
                      <a:pt x="88" y="17"/>
                      <a:pt x="87" y="18"/>
                    </a:cubicBezTo>
                    <a:cubicBezTo>
                      <a:pt x="85" y="18"/>
                      <a:pt x="85" y="17"/>
                      <a:pt x="83" y="16"/>
                    </a:cubicBezTo>
                    <a:cubicBezTo>
                      <a:pt x="82" y="16"/>
                      <a:pt x="81" y="16"/>
                      <a:pt x="81" y="15"/>
                    </a:cubicBezTo>
                    <a:cubicBezTo>
                      <a:pt x="80" y="14"/>
                      <a:pt x="80" y="14"/>
                      <a:pt x="79" y="14"/>
                    </a:cubicBezTo>
                    <a:cubicBezTo>
                      <a:pt x="78" y="13"/>
                      <a:pt x="77" y="13"/>
                      <a:pt x="76" y="13"/>
                    </a:cubicBezTo>
                    <a:cubicBezTo>
                      <a:pt x="75" y="13"/>
                      <a:pt x="74" y="12"/>
                      <a:pt x="73" y="11"/>
                    </a:cubicBezTo>
                    <a:cubicBezTo>
                      <a:pt x="73" y="11"/>
                      <a:pt x="71" y="11"/>
                      <a:pt x="72" y="12"/>
                    </a:cubicBezTo>
                    <a:cubicBezTo>
                      <a:pt x="72" y="13"/>
                      <a:pt x="74" y="13"/>
                      <a:pt x="74" y="14"/>
                    </a:cubicBezTo>
                    <a:cubicBezTo>
                      <a:pt x="74" y="14"/>
                      <a:pt x="74" y="15"/>
                      <a:pt x="74" y="15"/>
                    </a:cubicBezTo>
                    <a:cubicBezTo>
                      <a:pt x="74" y="15"/>
                      <a:pt x="75" y="16"/>
                      <a:pt x="75" y="16"/>
                    </a:cubicBezTo>
                    <a:cubicBezTo>
                      <a:pt x="76" y="16"/>
                      <a:pt x="77" y="16"/>
                      <a:pt x="78" y="16"/>
                    </a:cubicBezTo>
                    <a:cubicBezTo>
                      <a:pt x="78" y="16"/>
                      <a:pt x="79" y="16"/>
                      <a:pt x="79" y="16"/>
                    </a:cubicBezTo>
                    <a:cubicBezTo>
                      <a:pt x="80" y="16"/>
                      <a:pt x="79" y="16"/>
                      <a:pt x="79" y="16"/>
                    </a:cubicBezTo>
                    <a:cubicBezTo>
                      <a:pt x="79" y="17"/>
                      <a:pt x="79" y="18"/>
                      <a:pt x="80" y="18"/>
                    </a:cubicBezTo>
                    <a:cubicBezTo>
                      <a:pt x="78" y="20"/>
                      <a:pt x="80" y="19"/>
                      <a:pt x="81" y="20"/>
                    </a:cubicBezTo>
                    <a:cubicBezTo>
                      <a:pt x="82" y="21"/>
                      <a:pt x="81" y="21"/>
                      <a:pt x="82" y="22"/>
                    </a:cubicBezTo>
                    <a:cubicBezTo>
                      <a:pt x="83" y="23"/>
                      <a:pt x="84" y="23"/>
                      <a:pt x="84" y="23"/>
                    </a:cubicBezTo>
                    <a:cubicBezTo>
                      <a:pt x="84" y="23"/>
                      <a:pt x="85" y="24"/>
                      <a:pt x="85" y="24"/>
                    </a:cubicBezTo>
                    <a:cubicBezTo>
                      <a:pt x="86" y="25"/>
                      <a:pt x="86" y="24"/>
                      <a:pt x="86" y="25"/>
                    </a:cubicBezTo>
                    <a:cubicBezTo>
                      <a:pt x="86" y="26"/>
                      <a:pt x="86" y="26"/>
                      <a:pt x="85" y="26"/>
                    </a:cubicBezTo>
                    <a:cubicBezTo>
                      <a:pt x="85" y="26"/>
                      <a:pt x="85" y="26"/>
                      <a:pt x="86" y="26"/>
                    </a:cubicBezTo>
                    <a:cubicBezTo>
                      <a:pt x="85" y="27"/>
                      <a:pt x="82" y="28"/>
                      <a:pt x="81" y="27"/>
                    </a:cubicBezTo>
                    <a:cubicBezTo>
                      <a:pt x="80" y="27"/>
                      <a:pt x="79" y="27"/>
                      <a:pt x="78" y="27"/>
                    </a:cubicBezTo>
                    <a:cubicBezTo>
                      <a:pt x="77" y="27"/>
                      <a:pt x="76" y="27"/>
                      <a:pt x="77" y="28"/>
                    </a:cubicBezTo>
                    <a:cubicBezTo>
                      <a:pt x="76" y="29"/>
                      <a:pt x="76" y="29"/>
                      <a:pt x="76" y="29"/>
                    </a:cubicBezTo>
                    <a:cubicBezTo>
                      <a:pt x="75" y="30"/>
                      <a:pt x="75" y="31"/>
                      <a:pt x="75" y="31"/>
                    </a:cubicBezTo>
                    <a:cubicBezTo>
                      <a:pt x="75" y="32"/>
                      <a:pt x="76" y="32"/>
                      <a:pt x="74" y="32"/>
                    </a:cubicBezTo>
                    <a:cubicBezTo>
                      <a:pt x="74" y="33"/>
                      <a:pt x="73" y="32"/>
                      <a:pt x="73" y="32"/>
                    </a:cubicBezTo>
                    <a:cubicBezTo>
                      <a:pt x="72" y="33"/>
                      <a:pt x="72" y="33"/>
                      <a:pt x="72" y="33"/>
                    </a:cubicBezTo>
                    <a:cubicBezTo>
                      <a:pt x="73" y="34"/>
                      <a:pt x="74" y="34"/>
                      <a:pt x="73" y="35"/>
                    </a:cubicBezTo>
                    <a:cubicBezTo>
                      <a:pt x="72" y="36"/>
                      <a:pt x="71" y="35"/>
                      <a:pt x="69" y="35"/>
                    </a:cubicBezTo>
                    <a:cubicBezTo>
                      <a:pt x="69" y="35"/>
                      <a:pt x="69" y="35"/>
                      <a:pt x="68" y="34"/>
                    </a:cubicBezTo>
                    <a:cubicBezTo>
                      <a:pt x="70" y="33"/>
                      <a:pt x="71" y="32"/>
                      <a:pt x="73" y="31"/>
                    </a:cubicBezTo>
                    <a:cubicBezTo>
                      <a:pt x="73" y="31"/>
                      <a:pt x="72" y="29"/>
                      <a:pt x="72" y="29"/>
                    </a:cubicBezTo>
                    <a:cubicBezTo>
                      <a:pt x="72" y="29"/>
                      <a:pt x="72" y="29"/>
                      <a:pt x="72" y="28"/>
                    </a:cubicBezTo>
                    <a:cubicBezTo>
                      <a:pt x="71" y="28"/>
                      <a:pt x="71" y="28"/>
                      <a:pt x="70" y="28"/>
                    </a:cubicBezTo>
                    <a:cubicBezTo>
                      <a:pt x="69" y="27"/>
                      <a:pt x="69" y="26"/>
                      <a:pt x="69" y="26"/>
                    </a:cubicBezTo>
                    <a:cubicBezTo>
                      <a:pt x="69" y="26"/>
                      <a:pt x="73" y="26"/>
                      <a:pt x="73" y="26"/>
                    </a:cubicBezTo>
                    <a:cubicBezTo>
                      <a:pt x="75" y="26"/>
                      <a:pt x="75" y="25"/>
                      <a:pt x="73" y="25"/>
                    </a:cubicBezTo>
                    <a:cubicBezTo>
                      <a:pt x="72" y="25"/>
                      <a:pt x="71" y="24"/>
                      <a:pt x="70" y="24"/>
                    </a:cubicBezTo>
                    <a:cubicBezTo>
                      <a:pt x="69" y="23"/>
                      <a:pt x="69" y="21"/>
                      <a:pt x="70" y="20"/>
                    </a:cubicBezTo>
                    <a:cubicBezTo>
                      <a:pt x="73" y="19"/>
                      <a:pt x="76" y="19"/>
                      <a:pt x="78" y="18"/>
                    </a:cubicBezTo>
                    <a:cubicBezTo>
                      <a:pt x="77" y="17"/>
                      <a:pt x="76" y="16"/>
                      <a:pt x="75" y="16"/>
                    </a:cubicBezTo>
                    <a:cubicBezTo>
                      <a:pt x="74" y="15"/>
                      <a:pt x="74" y="15"/>
                      <a:pt x="73" y="15"/>
                    </a:cubicBezTo>
                    <a:cubicBezTo>
                      <a:pt x="72" y="15"/>
                      <a:pt x="72" y="15"/>
                      <a:pt x="71" y="14"/>
                    </a:cubicBezTo>
                    <a:cubicBezTo>
                      <a:pt x="70" y="13"/>
                      <a:pt x="69" y="13"/>
                      <a:pt x="67" y="13"/>
                    </a:cubicBezTo>
                    <a:cubicBezTo>
                      <a:pt x="66" y="13"/>
                      <a:pt x="64" y="13"/>
                      <a:pt x="63" y="13"/>
                    </a:cubicBezTo>
                    <a:cubicBezTo>
                      <a:pt x="66" y="14"/>
                      <a:pt x="60" y="15"/>
                      <a:pt x="60" y="15"/>
                    </a:cubicBezTo>
                    <a:cubicBezTo>
                      <a:pt x="60" y="15"/>
                      <a:pt x="62" y="16"/>
                      <a:pt x="62" y="16"/>
                    </a:cubicBezTo>
                    <a:cubicBezTo>
                      <a:pt x="63" y="16"/>
                      <a:pt x="64" y="16"/>
                      <a:pt x="65" y="16"/>
                    </a:cubicBezTo>
                    <a:cubicBezTo>
                      <a:pt x="65" y="17"/>
                      <a:pt x="65" y="17"/>
                      <a:pt x="64" y="17"/>
                    </a:cubicBezTo>
                    <a:cubicBezTo>
                      <a:pt x="64" y="17"/>
                      <a:pt x="64" y="18"/>
                      <a:pt x="64" y="18"/>
                    </a:cubicBezTo>
                    <a:cubicBezTo>
                      <a:pt x="63" y="18"/>
                      <a:pt x="61" y="17"/>
                      <a:pt x="60" y="17"/>
                    </a:cubicBezTo>
                    <a:cubicBezTo>
                      <a:pt x="60" y="17"/>
                      <a:pt x="62" y="18"/>
                      <a:pt x="62" y="18"/>
                    </a:cubicBezTo>
                    <a:cubicBezTo>
                      <a:pt x="62" y="18"/>
                      <a:pt x="59" y="18"/>
                      <a:pt x="59" y="18"/>
                    </a:cubicBezTo>
                    <a:close/>
                    <a:moveTo>
                      <a:pt x="118" y="16"/>
                    </a:moveTo>
                    <a:cubicBezTo>
                      <a:pt x="118" y="17"/>
                      <a:pt x="117" y="17"/>
                      <a:pt x="116" y="18"/>
                    </a:cubicBezTo>
                    <a:cubicBezTo>
                      <a:pt x="116" y="17"/>
                      <a:pt x="116" y="17"/>
                      <a:pt x="117" y="17"/>
                    </a:cubicBezTo>
                    <a:cubicBezTo>
                      <a:pt x="117" y="17"/>
                      <a:pt x="118" y="16"/>
                      <a:pt x="11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3" name="Freeform 1990">
                <a:extLst>
                  <a:ext uri="{FF2B5EF4-FFF2-40B4-BE49-F238E27FC236}">
                    <a16:creationId xmlns:a16="http://schemas.microsoft.com/office/drawing/2014/main" id="{1913309F-BF8A-4D9B-9ABD-2CA12ED20D05}"/>
                  </a:ext>
                </a:extLst>
              </p:cNvPr>
              <p:cNvSpPr>
                <a:spLocks/>
              </p:cNvSpPr>
              <p:nvPr/>
            </p:nvSpPr>
            <p:spPr bwMode="auto">
              <a:xfrm>
                <a:off x="665" y="429"/>
                <a:ext cx="47" cy="31"/>
              </a:xfrm>
              <a:custGeom>
                <a:avLst/>
                <a:gdLst>
                  <a:gd name="T0" fmla="*/ 8 w 20"/>
                  <a:gd name="T1" fmla="*/ 13 h 13"/>
                  <a:gd name="T2" fmla="*/ 13 w 20"/>
                  <a:gd name="T3" fmla="*/ 10 h 13"/>
                  <a:gd name="T4" fmla="*/ 18 w 20"/>
                  <a:gd name="T5" fmla="*/ 4 h 13"/>
                  <a:gd name="T6" fmla="*/ 18 w 20"/>
                  <a:gd name="T7" fmla="*/ 0 h 13"/>
                  <a:gd name="T8" fmla="*/ 15 w 20"/>
                  <a:gd name="T9" fmla="*/ 2 h 13"/>
                  <a:gd name="T10" fmla="*/ 14 w 20"/>
                  <a:gd name="T11" fmla="*/ 2 h 13"/>
                  <a:gd name="T12" fmla="*/ 13 w 20"/>
                  <a:gd name="T13" fmla="*/ 3 h 13"/>
                  <a:gd name="T14" fmla="*/ 11 w 20"/>
                  <a:gd name="T15" fmla="*/ 4 h 13"/>
                  <a:gd name="T16" fmla="*/ 6 w 20"/>
                  <a:gd name="T17" fmla="*/ 7 h 13"/>
                  <a:gd name="T18" fmla="*/ 1 w 20"/>
                  <a:gd name="T19" fmla="*/ 10 h 13"/>
                  <a:gd name="T20" fmla="*/ 3 w 20"/>
                  <a:gd name="T21" fmla="*/ 12 h 13"/>
                  <a:gd name="T22" fmla="*/ 5 w 20"/>
                  <a:gd name="T23" fmla="*/ 13 h 13"/>
                  <a:gd name="T24" fmla="*/ 8 w 20"/>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3">
                    <a:moveTo>
                      <a:pt x="8" y="13"/>
                    </a:moveTo>
                    <a:cubicBezTo>
                      <a:pt x="10" y="13"/>
                      <a:pt x="12" y="11"/>
                      <a:pt x="13" y="10"/>
                    </a:cubicBezTo>
                    <a:cubicBezTo>
                      <a:pt x="15" y="8"/>
                      <a:pt x="17" y="6"/>
                      <a:pt x="18" y="4"/>
                    </a:cubicBezTo>
                    <a:cubicBezTo>
                      <a:pt x="19" y="3"/>
                      <a:pt x="20" y="2"/>
                      <a:pt x="18" y="0"/>
                    </a:cubicBezTo>
                    <a:cubicBezTo>
                      <a:pt x="17" y="0"/>
                      <a:pt x="17" y="1"/>
                      <a:pt x="15" y="2"/>
                    </a:cubicBezTo>
                    <a:cubicBezTo>
                      <a:pt x="15" y="2"/>
                      <a:pt x="14" y="2"/>
                      <a:pt x="14" y="2"/>
                    </a:cubicBezTo>
                    <a:cubicBezTo>
                      <a:pt x="14" y="2"/>
                      <a:pt x="14" y="3"/>
                      <a:pt x="13" y="3"/>
                    </a:cubicBezTo>
                    <a:cubicBezTo>
                      <a:pt x="12" y="4"/>
                      <a:pt x="12" y="3"/>
                      <a:pt x="11" y="4"/>
                    </a:cubicBezTo>
                    <a:cubicBezTo>
                      <a:pt x="9" y="4"/>
                      <a:pt x="7" y="5"/>
                      <a:pt x="6" y="7"/>
                    </a:cubicBezTo>
                    <a:cubicBezTo>
                      <a:pt x="4" y="8"/>
                      <a:pt x="3" y="9"/>
                      <a:pt x="1" y="10"/>
                    </a:cubicBezTo>
                    <a:cubicBezTo>
                      <a:pt x="0" y="11"/>
                      <a:pt x="2" y="12"/>
                      <a:pt x="3" y="12"/>
                    </a:cubicBezTo>
                    <a:cubicBezTo>
                      <a:pt x="4" y="12"/>
                      <a:pt x="6" y="12"/>
                      <a:pt x="5" y="13"/>
                    </a:cubicBezTo>
                    <a:cubicBezTo>
                      <a:pt x="6" y="12"/>
                      <a:pt x="7" y="13"/>
                      <a:pt x="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4" name="Freeform 1991">
                <a:extLst>
                  <a:ext uri="{FF2B5EF4-FFF2-40B4-BE49-F238E27FC236}">
                    <a16:creationId xmlns:a16="http://schemas.microsoft.com/office/drawing/2014/main" id="{A320C381-BE18-4A2E-BCAF-F8C73CD0C7A0}"/>
                  </a:ext>
                </a:extLst>
              </p:cNvPr>
              <p:cNvSpPr>
                <a:spLocks/>
              </p:cNvSpPr>
              <p:nvPr/>
            </p:nvSpPr>
            <p:spPr bwMode="auto">
              <a:xfrm>
                <a:off x="1627" y="739"/>
                <a:ext cx="35" cy="24"/>
              </a:xfrm>
              <a:custGeom>
                <a:avLst/>
                <a:gdLst>
                  <a:gd name="T0" fmla="*/ 3 w 15"/>
                  <a:gd name="T1" fmla="*/ 10 h 10"/>
                  <a:gd name="T2" fmla="*/ 6 w 15"/>
                  <a:gd name="T3" fmla="*/ 9 h 10"/>
                  <a:gd name="T4" fmla="*/ 9 w 15"/>
                  <a:gd name="T5" fmla="*/ 8 h 10"/>
                  <a:gd name="T6" fmla="*/ 9 w 15"/>
                  <a:gd name="T7" fmla="*/ 7 h 10"/>
                  <a:gd name="T8" fmla="*/ 10 w 15"/>
                  <a:gd name="T9" fmla="*/ 6 h 10"/>
                  <a:gd name="T10" fmla="*/ 11 w 15"/>
                  <a:gd name="T11" fmla="*/ 4 h 10"/>
                  <a:gd name="T12" fmla="*/ 11 w 15"/>
                  <a:gd name="T13" fmla="*/ 3 h 10"/>
                  <a:gd name="T14" fmla="*/ 12 w 15"/>
                  <a:gd name="T15" fmla="*/ 3 h 10"/>
                  <a:gd name="T16" fmla="*/ 14 w 15"/>
                  <a:gd name="T17" fmla="*/ 2 h 10"/>
                  <a:gd name="T18" fmla="*/ 12 w 15"/>
                  <a:gd name="T19" fmla="*/ 0 h 10"/>
                  <a:gd name="T20" fmla="*/ 4 w 15"/>
                  <a:gd name="T21" fmla="*/ 7 h 10"/>
                  <a:gd name="T22" fmla="*/ 3 w 15"/>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0">
                    <a:moveTo>
                      <a:pt x="3" y="10"/>
                    </a:moveTo>
                    <a:cubicBezTo>
                      <a:pt x="4" y="10"/>
                      <a:pt x="5" y="9"/>
                      <a:pt x="6" y="9"/>
                    </a:cubicBezTo>
                    <a:cubicBezTo>
                      <a:pt x="7" y="9"/>
                      <a:pt x="8" y="8"/>
                      <a:pt x="9" y="8"/>
                    </a:cubicBezTo>
                    <a:cubicBezTo>
                      <a:pt x="9" y="7"/>
                      <a:pt x="9" y="7"/>
                      <a:pt x="9" y="7"/>
                    </a:cubicBezTo>
                    <a:cubicBezTo>
                      <a:pt x="9" y="6"/>
                      <a:pt x="10" y="6"/>
                      <a:pt x="10" y="6"/>
                    </a:cubicBezTo>
                    <a:cubicBezTo>
                      <a:pt x="11" y="5"/>
                      <a:pt x="11" y="4"/>
                      <a:pt x="11" y="4"/>
                    </a:cubicBezTo>
                    <a:cubicBezTo>
                      <a:pt x="11" y="4"/>
                      <a:pt x="11" y="3"/>
                      <a:pt x="11" y="3"/>
                    </a:cubicBezTo>
                    <a:cubicBezTo>
                      <a:pt x="12" y="3"/>
                      <a:pt x="12" y="4"/>
                      <a:pt x="12" y="3"/>
                    </a:cubicBezTo>
                    <a:cubicBezTo>
                      <a:pt x="13" y="3"/>
                      <a:pt x="13" y="3"/>
                      <a:pt x="14" y="2"/>
                    </a:cubicBezTo>
                    <a:cubicBezTo>
                      <a:pt x="15" y="1"/>
                      <a:pt x="12" y="0"/>
                      <a:pt x="12" y="0"/>
                    </a:cubicBezTo>
                    <a:cubicBezTo>
                      <a:pt x="9" y="2"/>
                      <a:pt x="7" y="5"/>
                      <a:pt x="4" y="7"/>
                    </a:cubicBezTo>
                    <a:cubicBezTo>
                      <a:pt x="4" y="8"/>
                      <a:pt x="0" y="10"/>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5" name="Freeform 1992">
                <a:extLst>
                  <a:ext uri="{FF2B5EF4-FFF2-40B4-BE49-F238E27FC236}">
                    <a16:creationId xmlns:a16="http://schemas.microsoft.com/office/drawing/2014/main" id="{656DAC2F-C4C1-453D-A772-690CE439A954}"/>
                  </a:ext>
                </a:extLst>
              </p:cNvPr>
              <p:cNvSpPr>
                <a:spLocks/>
              </p:cNvSpPr>
              <p:nvPr/>
            </p:nvSpPr>
            <p:spPr bwMode="auto">
              <a:xfrm>
                <a:off x="1168" y="292"/>
                <a:ext cx="90" cy="54"/>
              </a:xfrm>
              <a:custGeom>
                <a:avLst/>
                <a:gdLst>
                  <a:gd name="T0" fmla="*/ 3 w 38"/>
                  <a:gd name="T1" fmla="*/ 8 h 23"/>
                  <a:gd name="T2" fmla="*/ 5 w 38"/>
                  <a:gd name="T3" fmla="*/ 10 h 23"/>
                  <a:gd name="T4" fmla="*/ 6 w 38"/>
                  <a:gd name="T5" fmla="*/ 11 h 23"/>
                  <a:gd name="T6" fmla="*/ 6 w 38"/>
                  <a:gd name="T7" fmla="*/ 11 h 23"/>
                  <a:gd name="T8" fmla="*/ 7 w 38"/>
                  <a:gd name="T9" fmla="*/ 13 h 23"/>
                  <a:gd name="T10" fmla="*/ 10 w 38"/>
                  <a:gd name="T11" fmla="*/ 13 h 23"/>
                  <a:gd name="T12" fmla="*/ 14 w 38"/>
                  <a:gd name="T13" fmla="*/ 14 h 23"/>
                  <a:gd name="T14" fmla="*/ 17 w 38"/>
                  <a:gd name="T15" fmla="*/ 15 h 23"/>
                  <a:gd name="T16" fmla="*/ 16 w 38"/>
                  <a:gd name="T17" fmla="*/ 16 h 23"/>
                  <a:gd name="T18" fmla="*/ 8 w 38"/>
                  <a:gd name="T19" fmla="*/ 17 h 23"/>
                  <a:gd name="T20" fmla="*/ 13 w 38"/>
                  <a:gd name="T21" fmla="*/ 19 h 23"/>
                  <a:gd name="T22" fmla="*/ 15 w 38"/>
                  <a:gd name="T23" fmla="*/ 21 h 23"/>
                  <a:gd name="T24" fmla="*/ 17 w 38"/>
                  <a:gd name="T25" fmla="*/ 23 h 23"/>
                  <a:gd name="T26" fmla="*/ 32 w 38"/>
                  <a:gd name="T27" fmla="*/ 20 h 23"/>
                  <a:gd name="T28" fmla="*/ 37 w 38"/>
                  <a:gd name="T29" fmla="*/ 17 h 23"/>
                  <a:gd name="T30" fmla="*/ 36 w 38"/>
                  <a:gd name="T31" fmla="*/ 15 h 23"/>
                  <a:gd name="T32" fmla="*/ 36 w 38"/>
                  <a:gd name="T33" fmla="*/ 13 h 23"/>
                  <a:gd name="T34" fmla="*/ 38 w 38"/>
                  <a:gd name="T35" fmla="*/ 10 h 23"/>
                  <a:gd name="T36" fmla="*/ 32 w 38"/>
                  <a:gd name="T37" fmla="*/ 7 h 23"/>
                  <a:gd name="T38" fmla="*/ 29 w 38"/>
                  <a:gd name="T39" fmla="*/ 6 h 23"/>
                  <a:gd name="T40" fmla="*/ 26 w 38"/>
                  <a:gd name="T41" fmla="*/ 7 h 23"/>
                  <a:gd name="T42" fmla="*/ 23 w 38"/>
                  <a:gd name="T43" fmla="*/ 4 h 23"/>
                  <a:gd name="T44" fmla="*/ 21 w 38"/>
                  <a:gd name="T45" fmla="*/ 3 h 23"/>
                  <a:gd name="T46" fmla="*/ 17 w 38"/>
                  <a:gd name="T47" fmla="*/ 2 h 23"/>
                  <a:gd name="T48" fmla="*/ 14 w 38"/>
                  <a:gd name="T49" fmla="*/ 1 h 23"/>
                  <a:gd name="T50" fmla="*/ 7 w 38"/>
                  <a:gd name="T51" fmla="*/ 0 h 23"/>
                  <a:gd name="T52" fmla="*/ 3 w 38"/>
                  <a:gd name="T53" fmla="*/ 4 h 23"/>
                  <a:gd name="T54" fmla="*/ 5 w 38"/>
                  <a:gd name="T55" fmla="*/ 6 h 23"/>
                  <a:gd name="T56" fmla="*/ 3 w 38"/>
                  <a:gd name="T57" fmla="*/ 6 h 23"/>
                  <a:gd name="T58" fmla="*/ 3 w 38"/>
                  <a:gd name="T5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23">
                    <a:moveTo>
                      <a:pt x="3" y="8"/>
                    </a:moveTo>
                    <a:cubicBezTo>
                      <a:pt x="4" y="9"/>
                      <a:pt x="5" y="9"/>
                      <a:pt x="5" y="10"/>
                    </a:cubicBezTo>
                    <a:cubicBezTo>
                      <a:pt x="5" y="11"/>
                      <a:pt x="5" y="11"/>
                      <a:pt x="6" y="11"/>
                    </a:cubicBezTo>
                    <a:cubicBezTo>
                      <a:pt x="6" y="11"/>
                      <a:pt x="6" y="11"/>
                      <a:pt x="6" y="11"/>
                    </a:cubicBezTo>
                    <a:cubicBezTo>
                      <a:pt x="7" y="12"/>
                      <a:pt x="6" y="13"/>
                      <a:pt x="7" y="13"/>
                    </a:cubicBezTo>
                    <a:cubicBezTo>
                      <a:pt x="7" y="13"/>
                      <a:pt x="10" y="13"/>
                      <a:pt x="10" y="13"/>
                    </a:cubicBezTo>
                    <a:cubicBezTo>
                      <a:pt x="12" y="13"/>
                      <a:pt x="12" y="13"/>
                      <a:pt x="14" y="14"/>
                    </a:cubicBezTo>
                    <a:cubicBezTo>
                      <a:pt x="15" y="14"/>
                      <a:pt x="16" y="14"/>
                      <a:pt x="17" y="15"/>
                    </a:cubicBezTo>
                    <a:cubicBezTo>
                      <a:pt x="19" y="16"/>
                      <a:pt x="16" y="16"/>
                      <a:pt x="16" y="16"/>
                    </a:cubicBezTo>
                    <a:cubicBezTo>
                      <a:pt x="14" y="16"/>
                      <a:pt x="9" y="15"/>
                      <a:pt x="8" y="17"/>
                    </a:cubicBezTo>
                    <a:cubicBezTo>
                      <a:pt x="10" y="18"/>
                      <a:pt x="12" y="18"/>
                      <a:pt x="13" y="19"/>
                    </a:cubicBezTo>
                    <a:cubicBezTo>
                      <a:pt x="15" y="20"/>
                      <a:pt x="15" y="19"/>
                      <a:pt x="15" y="21"/>
                    </a:cubicBezTo>
                    <a:cubicBezTo>
                      <a:pt x="15" y="22"/>
                      <a:pt x="16" y="22"/>
                      <a:pt x="17" y="23"/>
                    </a:cubicBezTo>
                    <a:cubicBezTo>
                      <a:pt x="22" y="22"/>
                      <a:pt x="27" y="21"/>
                      <a:pt x="32" y="20"/>
                    </a:cubicBezTo>
                    <a:cubicBezTo>
                      <a:pt x="34" y="19"/>
                      <a:pt x="36" y="19"/>
                      <a:pt x="37" y="17"/>
                    </a:cubicBezTo>
                    <a:cubicBezTo>
                      <a:pt x="38" y="15"/>
                      <a:pt x="37" y="16"/>
                      <a:pt x="36" y="15"/>
                    </a:cubicBezTo>
                    <a:cubicBezTo>
                      <a:pt x="35" y="14"/>
                      <a:pt x="35" y="14"/>
                      <a:pt x="36" y="13"/>
                    </a:cubicBezTo>
                    <a:cubicBezTo>
                      <a:pt x="37" y="12"/>
                      <a:pt x="38" y="10"/>
                      <a:pt x="38" y="10"/>
                    </a:cubicBezTo>
                    <a:cubicBezTo>
                      <a:pt x="38" y="8"/>
                      <a:pt x="33" y="7"/>
                      <a:pt x="32" y="7"/>
                    </a:cubicBezTo>
                    <a:cubicBezTo>
                      <a:pt x="31" y="6"/>
                      <a:pt x="30" y="6"/>
                      <a:pt x="29" y="6"/>
                    </a:cubicBezTo>
                    <a:cubicBezTo>
                      <a:pt x="28" y="7"/>
                      <a:pt x="27" y="7"/>
                      <a:pt x="26" y="7"/>
                    </a:cubicBezTo>
                    <a:cubicBezTo>
                      <a:pt x="25" y="6"/>
                      <a:pt x="25" y="4"/>
                      <a:pt x="23" y="4"/>
                    </a:cubicBezTo>
                    <a:cubicBezTo>
                      <a:pt x="23" y="4"/>
                      <a:pt x="22" y="3"/>
                      <a:pt x="21" y="3"/>
                    </a:cubicBezTo>
                    <a:cubicBezTo>
                      <a:pt x="20" y="2"/>
                      <a:pt x="18" y="3"/>
                      <a:pt x="17" y="2"/>
                    </a:cubicBezTo>
                    <a:cubicBezTo>
                      <a:pt x="16" y="2"/>
                      <a:pt x="16" y="1"/>
                      <a:pt x="14" y="1"/>
                    </a:cubicBezTo>
                    <a:cubicBezTo>
                      <a:pt x="12" y="1"/>
                      <a:pt x="10" y="0"/>
                      <a:pt x="7" y="0"/>
                    </a:cubicBezTo>
                    <a:cubicBezTo>
                      <a:pt x="4" y="0"/>
                      <a:pt x="0" y="1"/>
                      <a:pt x="3" y="4"/>
                    </a:cubicBezTo>
                    <a:cubicBezTo>
                      <a:pt x="3" y="4"/>
                      <a:pt x="6" y="6"/>
                      <a:pt x="5" y="6"/>
                    </a:cubicBezTo>
                    <a:cubicBezTo>
                      <a:pt x="5" y="6"/>
                      <a:pt x="4" y="6"/>
                      <a:pt x="3" y="6"/>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6" name="Freeform 1993">
                <a:extLst>
                  <a:ext uri="{FF2B5EF4-FFF2-40B4-BE49-F238E27FC236}">
                    <a16:creationId xmlns:a16="http://schemas.microsoft.com/office/drawing/2014/main" id="{E1BC28A8-9872-4261-AEE0-58AFA5F92F34}"/>
                  </a:ext>
                </a:extLst>
              </p:cNvPr>
              <p:cNvSpPr>
                <a:spLocks/>
              </p:cNvSpPr>
              <p:nvPr/>
            </p:nvSpPr>
            <p:spPr bwMode="auto">
              <a:xfrm>
                <a:off x="1216" y="453"/>
                <a:ext cx="78" cy="54"/>
              </a:xfrm>
              <a:custGeom>
                <a:avLst/>
                <a:gdLst>
                  <a:gd name="T0" fmla="*/ 5 w 33"/>
                  <a:gd name="T1" fmla="*/ 14 h 23"/>
                  <a:gd name="T2" fmla="*/ 9 w 33"/>
                  <a:gd name="T3" fmla="*/ 17 h 23"/>
                  <a:gd name="T4" fmla="*/ 10 w 33"/>
                  <a:gd name="T5" fmla="*/ 17 h 23"/>
                  <a:gd name="T6" fmla="*/ 11 w 33"/>
                  <a:gd name="T7" fmla="*/ 18 h 23"/>
                  <a:gd name="T8" fmla="*/ 12 w 33"/>
                  <a:gd name="T9" fmla="*/ 18 h 23"/>
                  <a:gd name="T10" fmla="*/ 14 w 33"/>
                  <a:gd name="T11" fmla="*/ 18 h 23"/>
                  <a:gd name="T12" fmla="*/ 17 w 33"/>
                  <a:gd name="T13" fmla="*/ 20 h 23"/>
                  <a:gd name="T14" fmla="*/ 18 w 33"/>
                  <a:gd name="T15" fmla="*/ 20 h 23"/>
                  <a:gd name="T16" fmla="*/ 20 w 33"/>
                  <a:gd name="T17" fmla="*/ 21 h 23"/>
                  <a:gd name="T18" fmla="*/ 22 w 33"/>
                  <a:gd name="T19" fmla="*/ 21 h 23"/>
                  <a:gd name="T20" fmla="*/ 33 w 33"/>
                  <a:gd name="T21" fmla="*/ 17 h 23"/>
                  <a:gd name="T22" fmla="*/ 32 w 33"/>
                  <a:gd name="T23" fmla="*/ 14 h 23"/>
                  <a:gd name="T24" fmla="*/ 31 w 33"/>
                  <a:gd name="T25" fmla="*/ 13 h 23"/>
                  <a:gd name="T26" fmla="*/ 32 w 33"/>
                  <a:gd name="T27" fmla="*/ 11 h 23"/>
                  <a:gd name="T28" fmla="*/ 32 w 33"/>
                  <a:gd name="T29" fmla="*/ 9 h 23"/>
                  <a:gd name="T30" fmla="*/ 31 w 33"/>
                  <a:gd name="T31" fmla="*/ 7 h 23"/>
                  <a:gd name="T32" fmla="*/ 30 w 33"/>
                  <a:gd name="T33" fmla="*/ 6 h 23"/>
                  <a:gd name="T34" fmla="*/ 29 w 33"/>
                  <a:gd name="T35" fmla="*/ 6 h 23"/>
                  <a:gd name="T36" fmla="*/ 24 w 33"/>
                  <a:gd name="T37" fmla="*/ 2 h 23"/>
                  <a:gd name="T38" fmla="*/ 18 w 33"/>
                  <a:gd name="T39" fmla="*/ 0 h 23"/>
                  <a:gd name="T40" fmla="*/ 10 w 33"/>
                  <a:gd name="T41" fmla="*/ 3 h 23"/>
                  <a:gd name="T42" fmla="*/ 5 w 33"/>
                  <a:gd name="T43" fmla="*/ 6 h 23"/>
                  <a:gd name="T44" fmla="*/ 7 w 33"/>
                  <a:gd name="T45" fmla="*/ 5 h 23"/>
                  <a:gd name="T46" fmla="*/ 2 w 33"/>
                  <a:gd name="T47" fmla="*/ 10 h 23"/>
                  <a:gd name="T48" fmla="*/ 0 w 33"/>
                  <a:gd name="T49" fmla="*/ 14 h 23"/>
                  <a:gd name="T50" fmla="*/ 3 w 33"/>
                  <a:gd name="T51" fmla="*/ 15 h 23"/>
                  <a:gd name="T52" fmla="*/ 5 w 33"/>
                  <a:gd name="T5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23">
                    <a:moveTo>
                      <a:pt x="5" y="14"/>
                    </a:moveTo>
                    <a:cubicBezTo>
                      <a:pt x="5" y="16"/>
                      <a:pt x="7" y="17"/>
                      <a:pt x="9" y="17"/>
                    </a:cubicBezTo>
                    <a:cubicBezTo>
                      <a:pt x="9" y="17"/>
                      <a:pt x="9" y="17"/>
                      <a:pt x="10" y="17"/>
                    </a:cubicBezTo>
                    <a:cubicBezTo>
                      <a:pt x="10" y="17"/>
                      <a:pt x="10" y="18"/>
                      <a:pt x="11" y="18"/>
                    </a:cubicBezTo>
                    <a:cubicBezTo>
                      <a:pt x="11" y="19"/>
                      <a:pt x="12" y="19"/>
                      <a:pt x="12" y="18"/>
                    </a:cubicBezTo>
                    <a:cubicBezTo>
                      <a:pt x="12" y="18"/>
                      <a:pt x="13" y="18"/>
                      <a:pt x="14" y="18"/>
                    </a:cubicBezTo>
                    <a:cubicBezTo>
                      <a:pt x="15" y="18"/>
                      <a:pt x="15" y="20"/>
                      <a:pt x="17" y="20"/>
                    </a:cubicBezTo>
                    <a:cubicBezTo>
                      <a:pt x="18" y="20"/>
                      <a:pt x="18" y="20"/>
                      <a:pt x="18" y="20"/>
                    </a:cubicBezTo>
                    <a:cubicBezTo>
                      <a:pt x="19" y="20"/>
                      <a:pt x="19" y="21"/>
                      <a:pt x="20" y="21"/>
                    </a:cubicBezTo>
                    <a:cubicBezTo>
                      <a:pt x="21" y="21"/>
                      <a:pt x="22" y="21"/>
                      <a:pt x="22" y="21"/>
                    </a:cubicBezTo>
                    <a:cubicBezTo>
                      <a:pt x="26" y="20"/>
                      <a:pt x="32" y="23"/>
                      <a:pt x="33" y="17"/>
                    </a:cubicBezTo>
                    <a:cubicBezTo>
                      <a:pt x="33" y="16"/>
                      <a:pt x="33" y="15"/>
                      <a:pt x="32" y="14"/>
                    </a:cubicBezTo>
                    <a:cubicBezTo>
                      <a:pt x="32" y="13"/>
                      <a:pt x="31" y="13"/>
                      <a:pt x="31" y="13"/>
                    </a:cubicBezTo>
                    <a:cubicBezTo>
                      <a:pt x="30" y="13"/>
                      <a:pt x="32" y="11"/>
                      <a:pt x="32" y="11"/>
                    </a:cubicBezTo>
                    <a:cubicBezTo>
                      <a:pt x="32" y="11"/>
                      <a:pt x="32" y="9"/>
                      <a:pt x="32" y="9"/>
                    </a:cubicBezTo>
                    <a:cubicBezTo>
                      <a:pt x="32" y="8"/>
                      <a:pt x="31" y="8"/>
                      <a:pt x="31" y="7"/>
                    </a:cubicBezTo>
                    <a:cubicBezTo>
                      <a:pt x="30" y="7"/>
                      <a:pt x="30" y="7"/>
                      <a:pt x="30" y="6"/>
                    </a:cubicBezTo>
                    <a:cubicBezTo>
                      <a:pt x="30" y="6"/>
                      <a:pt x="29" y="6"/>
                      <a:pt x="29" y="6"/>
                    </a:cubicBezTo>
                    <a:cubicBezTo>
                      <a:pt x="27" y="5"/>
                      <a:pt x="26" y="3"/>
                      <a:pt x="24" y="2"/>
                    </a:cubicBezTo>
                    <a:cubicBezTo>
                      <a:pt x="22" y="1"/>
                      <a:pt x="20" y="1"/>
                      <a:pt x="18" y="0"/>
                    </a:cubicBezTo>
                    <a:cubicBezTo>
                      <a:pt x="15" y="1"/>
                      <a:pt x="12" y="2"/>
                      <a:pt x="10" y="3"/>
                    </a:cubicBezTo>
                    <a:cubicBezTo>
                      <a:pt x="9" y="4"/>
                      <a:pt x="5" y="4"/>
                      <a:pt x="5" y="6"/>
                    </a:cubicBezTo>
                    <a:cubicBezTo>
                      <a:pt x="5" y="6"/>
                      <a:pt x="6" y="5"/>
                      <a:pt x="7" y="5"/>
                    </a:cubicBezTo>
                    <a:cubicBezTo>
                      <a:pt x="5" y="7"/>
                      <a:pt x="3" y="8"/>
                      <a:pt x="2" y="10"/>
                    </a:cubicBezTo>
                    <a:cubicBezTo>
                      <a:pt x="1" y="11"/>
                      <a:pt x="0" y="13"/>
                      <a:pt x="0" y="14"/>
                    </a:cubicBezTo>
                    <a:cubicBezTo>
                      <a:pt x="2" y="13"/>
                      <a:pt x="2" y="15"/>
                      <a:pt x="3" y="15"/>
                    </a:cubicBezTo>
                    <a:cubicBezTo>
                      <a:pt x="4" y="16"/>
                      <a:pt x="4"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7" name="Freeform 1994">
                <a:extLst>
                  <a:ext uri="{FF2B5EF4-FFF2-40B4-BE49-F238E27FC236}">
                    <a16:creationId xmlns:a16="http://schemas.microsoft.com/office/drawing/2014/main" id="{672DE941-D805-4C13-8DE5-81FDBBDDDAE2}"/>
                  </a:ext>
                </a:extLst>
              </p:cNvPr>
              <p:cNvSpPr>
                <a:spLocks/>
              </p:cNvSpPr>
              <p:nvPr/>
            </p:nvSpPr>
            <p:spPr bwMode="auto">
              <a:xfrm>
                <a:off x="1681" y="784"/>
                <a:ext cx="59" cy="47"/>
              </a:xfrm>
              <a:custGeom>
                <a:avLst/>
                <a:gdLst>
                  <a:gd name="T0" fmla="*/ 17 w 25"/>
                  <a:gd name="T1" fmla="*/ 0 h 20"/>
                  <a:gd name="T2" fmla="*/ 14 w 25"/>
                  <a:gd name="T3" fmla="*/ 0 h 20"/>
                  <a:gd name="T4" fmla="*/ 12 w 25"/>
                  <a:gd name="T5" fmla="*/ 0 h 20"/>
                  <a:gd name="T6" fmla="*/ 11 w 25"/>
                  <a:gd name="T7" fmla="*/ 0 h 20"/>
                  <a:gd name="T8" fmla="*/ 8 w 25"/>
                  <a:gd name="T9" fmla="*/ 1 h 20"/>
                  <a:gd name="T10" fmla="*/ 6 w 25"/>
                  <a:gd name="T11" fmla="*/ 2 h 20"/>
                  <a:gd name="T12" fmla="*/ 3 w 25"/>
                  <a:gd name="T13" fmla="*/ 6 h 20"/>
                  <a:gd name="T14" fmla="*/ 0 w 25"/>
                  <a:gd name="T15" fmla="*/ 10 h 20"/>
                  <a:gd name="T16" fmla="*/ 2 w 25"/>
                  <a:gd name="T17" fmla="*/ 16 h 20"/>
                  <a:gd name="T18" fmla="*/ 10 w 25"/>
                  <a:gd name="T19" fmla="*/ 19 h 20"/>
                  <a:gd name="T20" fmla="*/ 16 w 25"/>
                  <a:gd name="T21" fmla="*/ 18 h 20"/>
                  <a:gd name="T22" fmla="*/ 23 w 25"/>
                  <a:gd name="T23" fmla="*/ 12 h 20"/>
                  <a:gd name="T24" fmla="*/ 23 w 25"/>
                  <a:gd name="T25" fmla="*/ 8 h 20"/>
                  <a:gd name="T26" fmla="*/ 23 w 25"/>
                  <a:gd name="T27" fmla="*/ 2 h 20"/>
                  <a:gd name="T28" fmla="*/ 20 w 25"/>
                  <a:gd name="T29" fmla="*/ 1 h 20"/>
                  <a:gd name="T30" fmla="*/ 17 w 25"/>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0">
                    <a:moveTo>
                      <a:pt x="17" y="0"/>
                    </a:moveTo>
                    <a:cubicBezTo>
                      <a:pt x="16" y="0"/>
                      <a:pt x="15" y="0"/>
                      <a:pt x="14" y="0"/>
                    </a:cubicBezTo>
                    <a:cubicBezTo>
                      <a:pt x="13" y="0"/>
                      <a:pt x="13" y="1"/>
                      <a:pt x="12" y="0"/>
                    </a:cubicBezTo>
                    <a:cubicBezTo>
                      <a:pt x="12" y="0"/>
                      <a:pt x="11" y="0"/>
                      <a:pt x="11" y="0"/>
                    </a:cubicBezTo>
                    <a:cubicBezTo>
                      <a:pt x="10" y="0"/>
                      <a:pt x="9" y="1"/>
                      <a:pt x="8" y="1"/>
                    </a:cubicBezTo>
                    <a:cubicBezTo>
                      <a:pt x="7" y="1"/>
                      <a:pt x="6" y="1"/>
                      <a:pt x="6" y="2"/>
                    </a:cubicBezTo>
                    <a:cubicBezTo>
                      <a:pt x="5" y="3"/>
                      <a:pt x="4" y="5"/>
                      <a:pt x="3" y="6"/>
                    </a:cubicBezTo>
                    <a:cubicBezTo>
                      <a:pt x="2" y="7"/>
                      <a:pt x="1" y="9"/>
                      <a:pt x="0" y="10"/>
                    </a:cubicBezTo>
                    <a:cubicBezTo>
                      <a:pt x="0" y="12"/>
                      <a:pt x="1" y="14"/>
                      <a:pt x="2" y="16"/>
                    </a:cubicBezTo>
                    <a:cubicBezTo>
                      <a:pt x="4" y="18"/>
                      <a:pt x="6" y="20"/>
                      <a:pt x="10" y="19"/>
                    </a:cubicBezTo>
                    <a:cubicBezTo>
                      <a:pt x="12" y="19"/>
                      <a:pt x="14" y="19"/>
                      <a:pt x="16" y="18"/>
                    </a:cubicBezTo>
                    <a:cubicBezTo>
                      <a:pt x="19" y="17"/>
                      <a:pt x="23" y="16"/>
                      <a:pt x="23" y="12"/>
                    </a:cubicBezTo>
                    <a:cubicBezTo>
                      <a:pt x="23" y="10"/>
                      <a:pt x="23" y="9"/>
                      <a:pt x="23" y="8"/>
                    </a:cubicBezTo>
                    <a:cubicBezTo>
                      <a:pt x="22" y="6"/>
                      <a:pt x="25" y="4"/>
                      <a:pt x="23" y="2"/>
                    </a:cubicBezTo>
                    <a:cubicBezTo>
                      <a:pt x="22" y="1"/>
                      <a:pt x="21" y="2"/>
                      <a:pt x="20" y="1"/>
                    </a:cubicBezTo>
                    <a:cubicBezTo>
                      <a:pt x="19" y="1"/>
                      <a:pt x="18"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8" name="Freeform 1995">
                <a:extLst>
                  <a:ext uri="{FF2B5EF4-FFF2-40B4-BE49-F238E27FC236}">
                    <a16:creationId xmlns:a16="http://schemas.microsoft.com/office/drawing/2014/main" id="{CEB56CBE-39FD-4B18-800D-D2DCDA7FB76F}"/>
                  </a:ext>
                </a:extLst>
              </p:cNvPr>
              <p:cNvSpPr>
                <a:spLocks/>
              </p:cNvSpPr>
              <p:nvPr/>
            </p:nvSpPr>
            <p:spPr bwMode="auto">
              <a:xfrm>
                <a:off x="939" y="548"/>
                <a:ext cx="9" cy="4"/>
              </a:xfrm>
              <a:custGeom>
                <a:avLst/>
                <a:gdLst>
                  <a:gd name="T0" fmla="*/ 4 w 4"/>
                  <a:gd name="T1" fmla="*/ 2 h 2"/>
                  <a:gd name="T2" fmla="*/ 0 w 4"/>
                  <a:gd name="T3" fmla="*/ 2 h 2"/>
                  <a:gd name="T4" fmla="*/ 1 w 4"/>
                  <a:gd name="T5" fmla="*/ 2 h 2"/>
                  <a:gd name="T6" fmla="*/ 1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cubicBezTo>
                      <a:pt x="3" y="1"/>
                      <a:pt x="1" y="0"/>
                      <a:pt x="0" y="2"/>
                    </a:cubicBezTo>
                    <a:cubicBezTo>
                      <a:pt x="0" y="2"/>
                      <a:pt x="0" y="2"/>
                      <a:pt x="1" y="2"/>
                    </a:cubicBezTo>
                    <a:cubicBezTo>
                      <a:pt x="1" y="2"/>
                      <a:pt x="1" y="2"/>
                      <a:pt x="1" y="2"/>
                    </a:cubicBezTo>
                    <a:cubicBezTo>
                      <a:pt x="2" y="2"/>
                      <a:pt x="3" y="2"/>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9" name="Freeform 1996">
                <a:extLst>
                  <a:ext uri="{FF2B5EF4-FFF2-40B4-BE49-F238E27FC236}">
                    <a16:creationId xmlns:a16="http://schemas.microsoft.com/office/drawing/2014/main" id="{0662787F-A1D3-45BE-91B9-4F13DAE914B1}"/>
                  </a:ext>
                </a:extLst>
              </p:cNvPr>
              <p:cNvSpPr>
                <a:spLocks/>
              </p:cNvSpPr>
              <p:nvPr/>
            </p:nvSpPr>
            <p:spPr bwMode="auto">
              <a:xfrm>
                <a:off x="1643" y="1231"/>
                <a:ext cx="8" cy="12"/>
              </a:xfrm>
              <a:custGeom>
                <a:avLst/>
                <a:gdLst>
                  <a:gd name="T0" fmla="*/ 2 w 3"/>
                  <a:gd name="T1" fmla="*/ 1 h 5"/>
                  <a:gd name="T2" fmla="*/ 1 w 3"/>
                  <a:gd name="T3" fmla="*/ 3 h 5"/>
                  <a:gd name="T4" fmla="*/ 0 w 3"/>
                  <a:gd name="T5" fmla="*/ 5 h 5"/>
                  <a:gd name="T6" fmla="*/ 2 w 3"/>
                  <a:gd name="T7" fmla="*/ 1 h 5"/>
                </a:gdLst>
                <a:ahLst/>
                <a:cxnLst>
                  <a:cxn ang="0">
                    <a:pos x="T0" y="T1"/>
                  </a:cxn>
                  <a:cxn ang="0">
                    <a:pos x="T2" y="T3"/>
                  </a:cxn>
                  <a:cxn ang="0">
                    <a:pos x="T4" y="T5"/>
                  </a:cxn>
                  <a:cxn ang="0">
                    <a:pos x="T6" y="T7"/>
                  </a:cxn>
                </a:cxnLst>
                <a:rect l="0" t="0" r="r" b="b"/>
                <a:pathLst>
                  <a:path w="3" h="5">
                    <a:moveTo>
                      <a:pt x="2" y="1"/>
                    </a:moveTo>
                    <a:cubicBezTo>
                      <a:pt x="1" y="0"/>
                      <a:pt x="1" y="2"/>
                      <a:pt x="1" y="3"/>
                    </a:cubicBezTo>
                    <a:cubicBezTo>
                      <a:pt x="0" y="3"/>
                      <a:pt x="0" y="4"/>
                      <a:pt x="0" y="5"/>
                    </a:cubicBezTo>
                    <a:cubicBezTo>
                      <a:pt x="3" y="5"/>
                      <a:pt x="2" y="3"/>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0" name="Freeform 1997">
                <a:extLst>
                  <a:ext uri="{FF2B5EF4-FFF2-40B4-BE49-F238E27FC236}">
                    <a16:creationId xmlns:a16="http://schemas.microsoft.com/office/drawing/2014/main" id="{996FF7AC-CE80-4D13-8EDD-BFBEAF87CAFF}"/>
                  </a:ext>
                </a:extLst>
              </p:cNvPr>
              <p:cNvSpPr>
                <a:spLocks/>
              </p:cNvSpPr>
              <p:nvPr/>
            </p:nvSpPr>
            <p:spPr bwMode="auto">
              <a:xfrm>
                <a:off x="1828" y="999"/>
                <a:ext cx="26" cy="15"/>
              </a:xfrm>
              <a:custGeom>
                <a:avLst/>
                <a:gdLst>
                  <a:gd name="T0" fmla="*/ 4 w 11"/>
                  <a:gd name="T1" fmla="*/ 4 h 6"/>
                  <a:gd name="T2" fmla="*/ 5 w 11"/>
                  <a:gd name="T3" fmla="*/ 5 h 6"/>
                  <a:gd name="T4" fmla="*/ 11 w 11"/>
                  <a:gd name="T5" fmla="*/ 5 h 6"/>
                  <a:gd name="T6" fmla="*/ 7 w 11"/>
                  <a:gd name="T7" fmla="*/ 2 h 6"/>
                  <a:gd name="T8" fmla="*/ 0 w 11"/>
                  <a:gd name="T9" fmla="*/ 0 h 6"/>
                  <a:gd name="T10" fmla="*/ 4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4" y="4"/>
                    </a:moveTo>
                    <a:cubicBezTo>
                      <a:pt x="5" y="4"/>
                      <a:pt x="5" y="5"/>
                      <a:pt x="5" y="5"/>
                    </a:cubicBezTo>
                    <a:cubicBezTo>
                      <a:pt x="6" y="6"/>
                      <a:pt x="9" y="6"/>
                      <a:pt x="11" y="5"/>
                    </a:cubicBezTo>
                    <a:cubicBezTo>
                      <a:pt x="10" y="4"/>
                      <a:pt x="8" y="3"/>
                      <a:pt x="7" y="2"/>
                    </a:cubicBezTo>
                    <a:cubicBezTo>
                      <a:pt x="5" y="1"/>
                      <a:pt x="3" y="1"/>
                      <a:pt x="0" y="0"/>
                    </a:cubicBezTo>
                    <a:cubicBezTo>
                      <a:pt x="2" y="1"/>
                      <a:pt x="4" y="2"/>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1" name="Freeform 1998">
                <a:extLst>
                  <a:ext uri="{FF2B5EF4-FFF2-40B4-BE49-F238E27FC236}">
                    <a16:creationId xmlns:a16="http://schemas.microsoft.com/office/drawing/2014/main" id="{B4BF1017-9C79-41CF-B86A-856927058C0A}"/>
                  </a:ext>
                </a:extLst>
              </p:cNvPr>
              <p:cNvSpPr>
                <a:spLocks/>
              </p:cNvSpPr>
              <p:nvPr/>
            </p:nvSpPr>
            <p:spPr bwMode="auto">
              <a:xfrm>
                <a:off x="989" y="346"/>
                <a:ext cx="42" cy="34"/>
              </a:xfrm>
              <a:custGeom>
                <a:avLst/>
                <a:gdLst>
                  <a:gd name="T0" fmla="*/ 4 w 18"/>
                  <a:gd name="T1" fmla="*/ 8 h 14"/>
                  <a:gd name="T2" fmla="*/ 8 w 18"/>
                  <a:gd name="T3" fmla="*/ 13 h 14"/>
                  <a:gd name="T4" fmla="*/ 10 w 18"/>
                  <a:gd name="T5" fmla="*/ 13 h 14"/>
                  <a:gd name="T6" fmla="*/ 13 w 18"/>
                  <a:gd name="T7" fmla="*/ 14 h 14"/>
                  <a:gd name="T8" fmla="*/ 16 w 18"/>
                  <a:gd name="T9" fmla="*/ 13 h 14"/>
                  <a:gd name="T10" fmla="*/ 13 w 18"/>
                  <a:gd name="T11" fmla="*/ 8 h 14"/>
                  <a:gd name="T12" fmla="*/ 13 w 18"/>
                  <a:gd name="T13" fmla="*/ 8 h 14"/>
                  <a:gd name="T14" fmla="*/ 12 w 18"/>
                  <a:gd name="T15" fmla="*/ 8 h 14"/>
                  <a:gd name="T16" fmla="*/ 11 w 18"/>
                  <a:gd name="T17" fmla="*/ 7 h 14"/>
                  <a:gd name="T18" fmla="*/ 9 w 18"/>
                  <a:gd name="T19" fmla="*/ 4 h 14"/>
                  <a:gd name="T20" fmla="*/ 4 w 18"/>
                  <a:gd name="T21" fmla="*/ 0 h 14"/>
                  <a:gd name="T22" fmla="*/ 0 w 18"/>
                  <a:gd name="T23" fmla="*/ 1 h 14"/>
                  <a:gd name="T24" fmla="*/ 4 w 18"/>
                  <a:gd name="T25"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4" y="8"/>
                    </a:moveTo>
                    <a:cubicBezTo>
                      <a:pt x="5" y="10"/>
                      <a:pt x="6" y="11"/>
                      <a:pt x="8" y="13"/>
                    </a:cubicBezTo>
                    <a:cubicBezTo>
                      <a:pt x="8" y="13"/>
                      <a:pt x="9" y="13"/>
                      <a:pt x="10" y="13"/>
                    </a:cubicBezTo>
                    <a:cubicBezTo>
                      <a:pt x="12" y="13"/>
                      <a:pt x="12" y="14"/>
                      <a:pt x="13" y="14"/>
                    </a:cubicBezTo>
                    <a:cubicBezTo>
                      <a:pt x="14" y="14"/>
                      <a:pt x="16" y="14"/>
                      <a:pt x="16" y="13"/>
                    </a:cubicBezTo>
                    <a:cubicBezTo>
                      <a:pt x="18" y="10"/>
                      <a:pt x="15" y="10"/>
                      <a:pt x="13" y="8"/>
                    </a:cubicBezTo>
                    <a:cubicBezTo>
                      <a:pt x="13" y="8"/>
                      <a:pt x="13" y="8"/>
                      <a:pt x="13" y="8"/>
                    </a:cubicBezTo>
                    <a:cubicBezTo>
                      <a:pt x="13" y="8"/>
                      <a:pt x="12" y="8"/>
                      <a:pt x="12" y="8"/>
                    </a:cubicBezTo>
                    <a:cubicBezTo>
                      <a:pt x="11" y="7"/>
                      <a:pt x="11" y="8"/>
                      <a:pt x="11" y="7"/>
                    </a:cubicBezTo>
                    <a:cubicBezTo>
                      <a:pt x="11" y="5"/>
                      <a:pt x="10" y="5"/>
                      <a:pt x="9" y="4"/>
                    </a:cubicBezTo>
                    <a:cubicBezTo>
                      <a:pt x="8" y="3"/>
                      <a:pt x="6" y="1"/>
                      <a:pt x="4" y="0"/>
                    </a:cubicBezTo>
                    <a:cubicBezTo>
                      <a:pt x="2" y="1"/>
                      <a:pt x="1" y="1"/>
                      <a:pt x="0" y="1"/>
                    </a:cubicBezTo>
                    <a:cubicBezTo>
                      <a:pt x="2" y="3"/>
                      <a:pt x="2" y="6"/>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2" name="Freeform 1999">
                <a:extLst>
                  <a:ext uri="{FF2B5EF4-FFF2-40B4-BE49-F238E27FC236}">
                    <a16:creationId xmlns:a16="http://schemas.microsoft.com/office/drawing/2014/main" id="{F70C1D79-73E9-4EF2-806F-70149AE23385}"/>
                  </a:ext>
                </a:extLst>
              </p:cNvPr>
              <p:cNvSpPr>
                <a:spLocks/>
              </p:cNvSpPr>
              <p:nvPr/>
            </p:nvSpPr>
            <p:spPr bwMode="auto">
              <a:xfrm>
                <a:off x="965" y="543"/>
                <a:ext cx="61" cy="42"/>
              </a:xfrm>
              <a:custGeom>
                <a:avLst/>
                <a:gdLst>
                  <a:gd name="T0" fmla="*/ 19 w 26"/>
                  <a:gd name="T1" fmla="*/ 1 h 18"/>
                  <a:gd name="T2" fmla="*/ 16 w 26"/>
                  <a:gd name="T3" fmla="*/ 0 h 18"/>
                  <a:gd name="T4" fmla="*/ 15 w 26"/>
                  <a:gd name="T5" fmla="*/ 0 h 18"/>
                  <a:gd name="T6" fmla="*/ 11 w 26"/>
                  <a:gd name="T7" fmla="*/ 1 h 18"/>
                  <a:gd name="T8" fmla="*/ 7 w 26"/>
                  <a:gd name="T9" fmla="*/ 1 h 18"/>
                  <a:gd name="T10" fmla="*/ 6 w 26"/>
                  <a:gd name="T11" fmla="*/ 1 h 18"/>
                  <a:gd name="T12" fmla="*/ 5 w 26"/>
                  <a:gd name="T13" fmla="*/ 1 h 18"/>
                  <a:gd name="T14" fmla="*/ 4 w 26"/>
                  <a:gd name="T15" fmla="*/ 1 h 18"/>
                  <a:gd name="T16" fmla="*/ 4 w 26"/>
                  <a:gd name="T17" fmla="*/ 2 h 18"/>
                  <a:gd name="T18" fmla="*/ 4 w 26"/>
                  <a:gd name="T19" fmla="*/ 2 h 18"/>
                  <a:gd name="T20" fmla="*/ 3 w 26"/>
                  <a:gd name="T21" fmla="*/ 2 h 18"/>
                  <a:gd name="T22" fmla="*/ 2 w 26"/>
                  <a:gd name="T23" fmla="*/ 3 h 18"/>
                  <a:gd name="T24" fmla="*/ 1 w 26"/>
                  <a:gd name="T25" fmla="*/ 4 h 18"/>
                  <a:gd name="T26" fmla="*/ 1 w 26"/>
                  <a:gd name="T27" fmla="*/ 4 h 18"/>
                  <a:gd name="T28" fmla="*/ 0 w 26"/>
                  <a:gd name="T29" fmla="*/ 6 h 18"/>
                  <a:gd name="T30" fmla="*/ 0 w 26"/>
                  <a:gd name="T31" fmla="*/ 6 h 18"/>
                  <a:gd name="T32" fmla="*/ 3 w 26"/>
                  <a:gd name="T33" fmla="*/ 7 h 18"/>
                  <a:gd name="T34" fmla="*/ 5 w 26"/>
                  <a:gd name="T35" fmla="*/ 8 h 18"/>
                  <a:gd name="T36" fmla="*/ 6 w 26"/>
                  <a:gd name="T37" fmla="*/ 8 h 18"/>
                  <a:gd name="T38" fmla="*/ 8 w 26"/>
                  <a:gd name="T39" fmla="*/ 10 h 18"/>
                  <a:gd name="T40" fmla="*/ 8 w 26"/>
                  <a:gd name="T41" fmla="*/ 10 h 18"/>
                  <a:gd name="T42" fmla="*/ 9 w 26"/>
                  <a:gd name="T43" fmla="*/ 10 h 18"/>
                  <a:gd name="T44" fmla="*/ 9 w 26"/>
                  <a:gd name="T45" fmla="*/ 11 h 18"/>
                  <a:gd name="T46" fmla="*/ 9 w 26"/>
                  <a:gd name="T47" fmla="*/ 11 h 18"/>
                  <a:gd name="T48" fmla="*/ 9 w 26"/>
                  <a:gd name="T49" fmla="*/ 11 h 18"/>
                  <a:gd name="T50" fmla="*/ 10 w 26"/>
                  <a:gd name="T51" fmla="*/ 12 h 18"/>
                  <a:gd name="T52" fmla="*/ 11 w 26"/>
                  <a:gd name="T53" fmla="*/ 13 h 18"/>
                  <a:gd name="T54" fmla="*/ 15 w 26"/>
                  <a:gd name="T55" fmla="*/ 16 h 18"/>
                  <a:gd name="T56" fmla="*/ 16 w 26"/>
                  <a:gd name="T57" fmla="*/ 18 h 18"/>
                  <a:gd name="T58" fmla="*/ 17 w 26"/>
                  <a:gd name="T59" fmla="*/ 17 h 18"/>
                  <a:gd name="T60" fmla="*/ 17 w 26"/>
                  <a:gd name="T61" fmla="*/ 17 h 18"/>
                  <a:gd name="T62" fmla="*/ 20 w 26"/>
                  <a:gd name="T63" fmla="*/ 16 h 18"/>
                  <a:gd name="T64" fmla="*/ 20 w 26"/>
                  <a:gd name="T65" fmla="*/ 16 h 18"/>
                  <a:gd name="T66" fmla="*/ 20 w 26"/>
                  <a:gd name="T67" fmla="*/ 16 h 18"/>
                  <a:gd name="T68" fmla="*/ 25 w 26"/>
                  <a:gd name="T69" fmla="*/ 9 h 18"/>
                  <a:gd name="T70" fmla="*/ 25 w 26"/>
                  <a:gd name="T71" fmla="*/ 6 h 18"/>
                  <a:gd name="T72" fmla="*/ 26 w 26"/>
                  <a:gd name="T73" fmla="*/ 5 h 18"/>
                  <a:gd name="T74" fmla="*/ 25 w 26"/>
                  <a:gd name="T75" fmla="*/ 5 h 18"/>
                  <a:gd name="T76" fmla="*/ 25 w 26"/>
                  <a:gd name="T77" fmla="*/ 4 h 18"/>
                  <a:gd name="T78" fmla="*/ 24 w 26"/>
                  <a:gd name="T79" fmla="*/ 3 h 18"/>
                  <a:gd name="T80" fmla="*/ 23 w 26"/>
                  <a:gd name="T81" fmla="*/ 3 h 18"/>
                  <a:gd name="T82" fmla="*/ 21 w 26"/>
                  <a:gd name="T83" fmla="*/ 2 h 18"/>
                  <a:gd name="T84" fmla="*/ 19 w 26"/>
                  <a:gd name="T85"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18">
                    <a:moveTo>
                      <a:pt x="19" y="1"/>
                    </a:moveTo>
                    <a:cubicBezTo>
                      <a:pt x="18" y="0"/>
                      <a:pt x="17" y="0"/>
                      <a:pt x="16" y="0"/>
                    </a:cubicBezTo>
                    <a:cubicBezTo>
                      <a:pt x="16" y="0"/>
                      <a:pt x="16" y="0"/>
                      <a:pt x="15" y="0"/>
                    </a:cubicBezTo>
                    <a:cubicBezTo>
                      <a:pt x="14" y="1"/>
                      <a:pt x="12" y="1"/>
                      <a:pt x="11" y="1"/>
                    </a:cubicBezTo>
                    <a:cubicBezTo>
                      <a:pt x="10" y="1"/>
                      <a:pt x="8" y="1"/>
                      <a:pt x="7" y="1"/>
                    </a:cubicBezTo>
                    <a:cubicBezTo>
                      <a:pt x="7" y="1"/>
                      <a:pt x="7" y="1"/>
                      <a:pt x="6" y="1"/>
                    </a:cubicBezTo>
                    <a:cubicBezTo>
                      <a:pt x="6" y="1"/>
                      <a:pt x="6" y="1"/>
                      <a:pt x="5" y="1"/>
                    </a:cubicBezTo>
                    <a:cubicBezTo>
                      <a:pt x="5" y="1"/>
                      <a:pt x="5" y="1"/>
                      <a:pt x="4" y="1"/>
                    </a:cubicBezTo>
                    <a:cubicBezTo>
                      <a:pt x="4" y="1"/>
                      <a:pt x="4" y="1"/>
                      <a:pt x="4" y="2"/>
                    </a:cubicBezTo>
                    <a:cubicBezTo>
                      <a:pt x="4" y="2"/>
                      <a:pt x="4" y="2"/>
                      <a:pt x="4" y="2"/>
                    </a:cubicBezTo>
                    <a:cubicBezTo>
                      <a:pt x="4" y="2"/>
                      <a:pt x="3" y="2"/>
                      <a:pt x="3" y="2"/>
                    </a:cubicBezTo>
                    <a:cubicBezTo>
                      <a:pt x="3" y="2"/>
                      <a:pt x="2" y="3"/>
                      <a:pt x="2" y="3"/>
                    </a:cubicBezTo>
                    <a:cubicBezTo>
                      <a:pt x="2" y="4"/>
                      <a:pt x="1" y="4"/>
                      <a:pt x="1" y="4"/>
                    </a:cubicBezTo>
                    <a:cubicBezTo>
                      <a:pt x="1" y="4"/>
                      <a:pt x="1" y="4"/>
                      <a:pt x="1" y="4"/>
                    </a:cubicBezTo>
                    <a:cubicBezTo>
                      <a:pt x="0" y="5"/>
                      <a:pt x="0" y="6"/>
                      <a:pt x="0" y="6"/>
                    </a:cubicBezTo>
                    <a:cubicBezTo>
                      <a:pt x="0" y="6"/>
                      <a:pt x="0" y="6"/>
                      <a:pt x="0" y="6"/>
                    </a:cubicBezTo>
                    <a:cubicBezTo>
                      <a:pt x="1" y="7"/>
                      <a:pt x="2" y="6"/>
                      <a:pt x="3" y="7"/>
                    </a:cubicBezTo>
                    <a:cubicBezTo>
                      <a:pt x="4" y="7"/>
                      <a:pt x="5" y="7"/>
                      <a:pt x="5" y="8"/>
                    </a:cubicBezTo>
                    <a:cubicBezTo>
                      <a:pt x="6" y="8"/>
                      <a:pt x="6" y="8"/>
                      <a:pt x="6" y="8"/>
                    </a:cubicBezTo>
                    <a:cubicBezTo>
                      <a:pt x="7" y="9"/>
                      <a:pt x="8" y="9"/>
                      <a:pt x="8" y="10"/>
                    </a:cubicBezTo>
                    <a:cubicBezTo>
                      <a:pt x="8" y="10"/>
                      <a:pt x="8" y="10"/>
                      <a:pt x="8" y="10"/>
                    </a:cubicBezTo>
                    <a:cubicBezTo>
                      <a:pt x="8" y="10"/>
                      <a:pt x="9" y="10"/>
                      <a:pt x="9" y="10"/>
                    </a:cubicBezTo>
                    <a:cubicBezTo>
                      <a:pt x="9" y="10"/>
                      <a:pt x="9" y="11"/>
                      <a:pt x="9" y="11"/>
                    </a:cubicBezTo>
                    <a:cubicBezTo>
                      <a:pt x="9" y="11"/>
                      <a:pt x="9" y="11"/>
                      <a:pt x="9" y="11"/>
                    </a:cubicBezTo>
                    <a:cubicBezTo>
                      <a:pt x="9" y="11"/>
                      <a:pt x="9" y="11"/>
                      <a:pt x="9" y="11"/>
                    </a:cubicBezTo>
                    <a:cubicBezTo>
                      <a:pt x="9" y="12"/>
                      <a:pt x="10" y="12"/>
                      <a:pt x="10" y="12"/>
                    </a:cubicBezTo>
                    <a:cubicBezTo>
                      <a:pt x="10" y="12"/>
                      <a:pt x="11" y="13"/>
                      <a:pt x="11" y="13"/>
                    </a:cubicBezTo>
                    <a:cubicBezTo>
                      <a:pt x="12" y="14"/>
                      <a:pt x="14" y="15"/>
                      <a:pt x="15" y="16"/>
                    </a:cubicBezTo>
                    <a:cubicBezTo>
                      <a:pt x="15" y="16"/>
                      <a:pt x="16" y="17"/>
                      <a:pt x="16" y="18"/>
                    </a:cubicBezTo>
                    <a:cubicBezTo>
                      <a:pt x="16" y="17"/>
                      <a:pt x="17" y="17"/>
                      <a:pt x="17" y="17"/>
                    </a:cubicBezTo>
                    <a:cubicBezTo>
                      <a:pt x="17" y="17"/>
                      <a:pt x="17" y="17"/>
                      <a:pt x="17" y="17"/>
                    </a:cubicBezTo>
                    <a:cubicBezTo>
                      <a:pt x="18" y="17"/>
                      <a:pt x="19" y="16"/>
                      <a:pt x="20" y="16"/>
                    </a:cubicBezTo>
                    <a:cubicBezTo>
                      <a:pt x="20" y="16"/>
                      <a:pt x="20" y="16"/>
                      <a:pt x="20" y="16"/>
                    </a:cubicBezTo>
                    <a:cubicBezTo>
                      <a:pt x="20" y="16"/>
                      <a:pt x="20" y="16"/>
                      <a:pt x="20" y="16"/>
                    </a:cubicBezTo>
                    <a:cubicBezTo>
                      <a:pt x="21" y="14"/>
                      <a:pt x="24" y="11"/>
                      <a:pt x="25" y="9"/>
                    </a:cubicBezTo>
                    <a:cubicBezTo>
                      <a:pt x="25" y="8"/>
                      <a:pt x="25" y="7"/>
                      <a:pt x="25" y="6"/>
                    </a:cubicBezTo>
                    <a:cubicBezTo>
                      <a:pt x="25" y="6"/>
                      <a:pt x="26" y="5"/>
                      <a:pt x="26" y="5"/>
                    </a:cubicBezTo>
                    <a:cubicBezTo>
                      <a:pt x="26" y="5"/>
                      <a:pt x="26" y="5"/>
                      <a:pt x="25" y="5"/>
                    </a:cubicBezTo>
                    <a:cubicBezTo>
                      <a:pt x="25" y="5"/>
                      <a:pt x="25" y="5"/>
                      <a:pt x="25" y="4"/>
                    </a:cubicBezTo>
                    <a:cubicBezTo>
                      <a:pt x="25" y="4"/>
                      <a:pt x="25" y="4"/>
                      <a:pt x="24" y="3"/>
                    </a:cubicBezTo>
                    <a:cubicBezTo>
                      <a:pt x="24" y="3"/>
                      <a:pt x="24" y="3"/>
                      <a:pt x="23" y="3"/>
                    </a:cubicBezTo>
                    <a:cubicBezTo>
                      <a:pt x="23" y="3"/>
                      <a:pt x="22" y="2"/>
                      <a:pt x="21" y="2"/>
                    </a:cubicBezTo>
                    <a:cubicBezTo>
                      <a:pt x="21" y="1"/>
                      <a:pt x="20" y="1"/>
                      <a:pt x="1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3" name="Freeform 2000">
                <a:extLst>
                  <a:ext uri="{FF2B5EF4-FFF2-40B4-BE49-F238E27FC236}">
                    <a16:creationId xmlns:a16="http://schemas.microsoft.com/office/drawing/2014/main" id="{548E0DD0-5C44-4195-95B9-A3F10E74EF8C}"/>
                  </a:ext>
                </a:extLst>
              </p:cNvPr>
              <p:cNvSpPr>
                <a:spLocks/>
              </p:cNvSpPr>
              <p:nvPr/>
            </p:nvSpPr>
            <p:spPr bwMode="auto">
              <a:xfrm>
                <a:off x="1599" y="720"/>
                <a:ext cx="35" cy="14"/>
              </a:xfrm>
              <a:custGeom>
                <a:avLst/>
                <a:gdLst>
                  <a:gd name="T0" fmla="*/ 0 w 15"/>
                  <a:gd name="T1" fmla="*/ 3 h 6"/>
                  <a:gd name="T2" fmla="*/ 3 w 15"/>
                  <a:gd name="T3" fmla="*/ 4 h 6"/>
                  <a:gd name="T4" fmla="*/ 4 w 15"/>
                  <a:gd name="T5" fmla="*/ 5 h 6"/>
                  <a:gd name="T6" fmla="*/ 5 w 15"/>
                  <a:gd name="T7" fmla="*/ 4 h 6"/>
                  <a:gd name="T8" fmla="*/ 5 w 15"/>
                  <a:gd name="T9" fmla="*/ 5 h 6"/>
                  <a:gd name="T10" fmla="*/ 8 w 15"/>
                  <a:gd name="T11" fmla="*/ 6 h 6"/>
                  <a:gd name="T12" fmla="*/ 7 w 15"/>
                  <a:gd name="T13" fmla="*/ 3 h 6"/>
                  <a:gd name="T14" fmla="*/ 8 w 15"/>
                  <a:gd name="T15" fmla="*/ 4 h 6"/>
                  <a:gd name="T16" fmla="*/ 15 w 15"/>
                  <a:gd name="T17" fmla="*/ 2 h 6"/>
                  <a:gd name="T18" fmla="*/ 12 w 15"/>
                  <a:gd name="T19" fmla="*/ 1 h 6"/>
                  <a:gd name="T20" fmla="*/ 10 w 15"/>
                  <a:gd name="T21" fmla="*/ 1 h 6"/>
                  <a:gd name="T22" fmla="*/ 8 w 15"/>
                  <a:gd name="T23" fmla="*/ 2 h 6"/>
                  <a:gd name="T24" fmla="*/ 5 w 15"/>
                  <a:gd name="T25" fmla="*/ 1 h 6"/>
                  <a:gd name="T26" fmla="*/ 4 w 15"/>
                  <a:gd name="T27" fmla="*/ 2 h 6"/>
                  <a:gd name="T28" fmla="*/ 0 w 15"/>
                  <a:gd name="T2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0" y="3"/>
                    </a:moveTo>
                    <a:cubicBezTo>
                      <a:pt x="1" y="3"/>
                      <a:pt x="2" y="3"/>
                      <a:pt x="3" y="4"/>
                    </a:cubicBezTo>
                    <a:cubicBezTo>
                      <a:pt x="4" y="4"/>
                      <a:pt x="5" y="5"/>
                      <a:pt x="4" y="5"/>
                    </a:cubicBezTo>
                    <a:cubicBezTo>
                      <a:pt x="5" y="5"/>
                      <a:pt x="5" y="4"/>
                      <a:pt x="5" y="4"/>
                    </a:cubicBezTo>
                    <a:cubicBezTo>
                      <a:pt x="6" y="4"/>
                      <a:pt x="5" y="5"/>
                      <a:pt x="5" y="5"/>
                    </a:cubicBezTo>
                    <a:cubicBezTo>
                      <a:pt x="6" y="6"/>
                      <a:pt x="8" y="6"/>
                      <a:pt x="8" y="6"/>
                    </a:cubicBezTo>
                    <a:cubicBezTo>
                      <a:pt x="8" y="6"/>
                      <a:pt x="7" y="4"/>
                      <a:pt x="7" y="3"/>
                    </a:cubicBezTo>
                    <a:cubicBezTo>
                      <a:pt x="7" y="3"/>
                      <a:pt x="8" y="4"/>
                      <a:pt x="8" y="4"/>
                    </a:cubicBezTo>
                    <a:cubicBezTo>
                      <a:pt x="9" y="4"/>
                      <a:pt x="14" y="3"/>
                      <a:pt x="15" y="2"/>
                    </a:cubicBezTo>
                    <a:cubicBezTo>
                      <a:pt x="15" y="1"/>
                      <a:pt x="13" y="1"/>
                      <a:pt x="12" y="1"/>
                    </a:cubicBezTo>
                    <a:cubicBezTo>
                      <a:pt x="11" y="0"/>
                      <a:pt x="11" y="1"/>
                      <a:pt x="10" y="1"/>
                    </a:cubicBezTo>
                    <a:cubicBezTo>
                      <a:pt x="10" y="1"/>
                      <a:pt x="9" y="2"/>
                      <a:pt x="8" y="2"/>
                    </a:cubicBezTo>
                    <a:cubicBezTo>
                      <a:pt x="7" y="2"/>
                      <a:pt x="6" y="1"/>
                      <a:pt x="5" y="1"/>
                    </a:cubicBezTo>
                    <a:cubicBezTo>
                      <a:pt x="3" y="0"/>
                      <a:pt x="2" y="1"/>
                      <a:pt x="4" y="2"/>
                    </a:cubicBezTo>
                    <a:cubicBezTo>
                      <a:pt x="2" y="2"/>
                      <a:pt x="1"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4" name="Freeform 2001">
                <a:extLst>
                  <a:ext uri="{FF2B5EF4-FFF2-40B4-BE49-F238E27FC236}">
                    <a16:creationId xmlns:a16="http://schemas.microsoft.com/office/drawing/2014/main" id="{360FC1D6-6EFF-4945-AA07-4956C8C72DE3}"/>
                  </a:ext>
                </a:extLst>
              </p:cNvPr>
              <p:cNvSpPr>
                <a:spLocks/>
              </p:cNvSpPr>
              <p:nvPr/>
            </p:nvSpPr>
            <p:spPr bwMode="auto">
              <a:xfrm>
                <a:off x="1015" y="465"/>
                <a:ext cx="35" cy="19"/>
              </a:xfrm>
              <a:custGeom>
                <a:avLst/>
                <a:gdLst>
                  <a:gd name="T0" fmla="*/ 1 w 15"/>
                  <a:gd name="T1" fmla="*/ 6 h 8"/>
                  <a:gd name="T2" fmla="*/ 4 w 15"/>
                  <a:gd name="T3" fmla="*/ 8 h 8"/>
                  <a:gd name="T4" fmla="*/ 10 w 15"/>
                  <a:gd name="T5" fmla="*/ 8 h 8"/>
                  <a:gd name="T6" fmla="*/ 13 w 15"/>
                  <a:gd name="T7" fmla="*/ 4 h 8"/>
                  <a:gd name="T8" fmla="*/ 11 w 15"/>
                  <a:gd name="T9" fmla="*/ 1 h 8"/>
                  <a:gd name="T10" fmla="*/ 8 w 15"/>
                  <a:gd name="T11" fmla="*/ 0 h 8"/>
                  <a:gd name="T12" fmla="*/ 3 w 15"/>
                  <a:gd name="T13" fmla="*/ 2 h 8"/>
                  <a:gd name="T14" fmla="*/ 1 w 15"/>
                  <a:gd name="T15" fmla="*/ 5 h 8"/>
                  <a:gd name="T16" fmla="*/ 1 w 15"/>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1" y="6"/>
                    </a:moveTo>
                    <a:cubicBezTo>
                      <a:pt x="2" y="7"/>
                      <a:pt x="3" y="7"/>
                      <a:pt x="4" y="8"/>
                    </a:cubicBezTo>
                    <a:cubicBezTo>
                      <a:pt x="6" y="8"/>
                      <a:pt x="8" y="8"/>
                      <a:pt x="10" y="8"/>
                    </a:cubicBezTo>
                    <a:cubicBezTo>
                      <a:pt x="11" y="7"/>
                      <a:pt x="15" y="5"/>
                      <a:pt x="13" y="4"/>
                    </a:cubicBezTo>
                    <a:cubicBezTo>
                      <a:pt x="12" y="3"/>
                      <a:pt x="12" y="2"/>
                      <a:pt x="11" y="1"/>
                    </a:cubicBezTo>
                    <a:cubicBezTo>
                      <a:pt x="11" y="0"/>
                      <a:pt x="9" y="0"/>
                      <a:pt x="8" y="0"/>
                    </a:cubicBezTo>
                    <a:cubicBezTo>
                      <a:pt x="6" y="0"/>
                      <a:pt x="4" y="0"/>
                      <a:pt x="3" y="2"/>
                    </a:cubicBezTo>
                    <a:cubicBezTo>
                      <a:pt x="2" y="3"/>
                      <a:pt x="1" y="4"/>
                      <a:pt x="1" y="5"/>
                    </a:cubicBezTo>
                    <a:cubicBezTo>
                      <a:pt x="0" y="6"/>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5" name="Freeform 2002">
                <a:extLst>
                  <a:ext uri="{FF2B5EF4-FFF2-40B4-BE49-F238E27FC236}">
                    <a16:creationId xmlns:a16="http://schemas.microsoft.com/office/drawing/2014/main" id="{89229CF6-B9BB-4086-954F-DF9B0A0154D6}"/>
                  </a:ext>
                </a:extLst>
              </p:cNvPr>
              <p:cNvSpPr>
                <a:spLocks/>
              </p:cNvSpPr>
              <p:nvPr/>
            </p:nvSpPr>
            <p:spPr bwMode="auto">
              <a:xfrm>
                <a:off x="1681" y="737"/>
                <a:ext cx="17" cy="14"/>
              </a:xfrm>
              <a:custGeom>
                <a:avLst/>
                <a:gdLst>
                  <a:gd name="T0" fmla="*/ 2 w 7"/>
                  <a:gd name="T1" fmla="*/ 0 h 6"/>
                  <a:gd name="T2" fmla="*/ 0 w 7"/>
                  <a:gd name="T3" fmla="*/ 1 h 6"/>
                  <a:gd name="T4" fmla="*/ 0 w 7"/>
                  <a:gd name="T5" fmla="*/ 3 h 6"/>
                  <a:gd name="T6" fmla="*/ 3 w 7"/>
                  <a:gd name="T7" fmla="*/ 6 h 6"/>
                  <a:gd name="T8" fmla="*/ 4 w 7"/>
                  <a:gd name="T9" fmla="*/ 6 h 6"/>
                  <a:gd name="T10" fmla="*/ 5 w 7"/>
                  <a:gd name="T11" fmla="*/ 3 h 6"/>
                  <a:gd name="T12" fmla="*/ 7 w 7"/>
                  <a:gd name="T13" fmla="*/ 2 h 6"/>
                  <a:gd name="T14" fmla="*/ 2 w 7"/>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2" y="0"/>
                    </a:moveTo>
                    <a:cubicBezTo>
                      <a:pt x="2" y="0"/>
                      <a:pt x="0" y="0"/>
                      <a:pt x="0" y="1"/>
                    </a:cubicBezTo>
                    <a:cubicBezTo>
                      <a:pt x="0" y="1"/>
                      <a:pt x="0" y="3"/>
                      <a:pt x="0" y="3"/>
                    </a:cubicBezTo>
                    <a:cubicBezTo>
                      <a:pt x="0" y="5"/>
                      <a:pt x="1" y="6"/>
                      <a:pt x="3" y="6"/>
                    </a:cubicBezTo>
                    <a:cubicBezTo>
                      <a:pt x="3" y="5"/>
                      <a:pt x="4" y="6"/>
                      <a:pt x="4" y="6"/>
                    </a:cubicBezTo>
                    <a:cubicBezTo>
                      <a:pt x="5" y="6"/>
                      <a:pt x="5" y="4"/>
                      <a:pt x="5" y="3"/>
                    </a:cubicBezTo>
                    <a:cubicBezTo>
                      <a:pt x="5" y="3"/>
                      <a:pt x="7" y="3"/>
                      <a:pt x="7" y="2"/>
                    </a:cubicBezTo>
                    <a:cubicBezTo>
                      <a:pt x="7" y="1"/>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6" name="Freeform 2003">
                <a:extLst>
                  <a:ext uri="{FF2B5EF4-FFF2-40B4-BE49-F238E27FC236}">
                    <a16:creationId xmlns:a16="http://schemas.microsoft.com/office/drawing/2014/main" id="{485FC119-CD95-496C-B8A5-577F468F807D}"/>
                  </a:ext>
                </a:extLst>
              </p:cNvPr>
              <p:cNvSpPr>
                <a:spLocks/>
              </p:cNvSpPr>
              <p:nvPr/>
            </p:nvSpPr>
            <p:spPr bwMode="auto">
              <a:xfrm>
                <a:off x="1523" y="997"/>
                <a:ext cx="50" cy="31"/>
              </a:xfrm>
              <a:custGeom>
                <a:avLst/>
                <a:gdLst>
                  <a:gd name="T0" fmla="*/ 20 w 21"/>
                  <a:gd name="T1" fmla="*/ 2 h 13"/>
                  <a:gd name="T2" fmla="*/ 19 w 21"/>
                  <a:gd name="T3" fmla="*/ 0 h 13"/>
                  <a:gd name="T4" fmla="*/ 17 w 21"/>
                  <a:gd name="T5" fmla="*/ 0 h 13"/>
                  <a:gd name="T6" fmla="*/ 15 w 21"/>
                  <a:gd name="T7" fmla="*/ 1 h 13"/>
                  <a:gd name="T8" fmla="*/ 12 w 21"/>
                  <a:gd name="T9" fmla="*/ 1 h 13"/>
                  <a:gd name="T10" fmla="*/ 10 w 21"/>
                  <a:gd name="T11" fmla="*/ 2 h 13"/>
                  <a:gd name="T12" fmla="*/ 8 w 21"/>
                  <a:gd name="T13" fmla="*/ 2 h 13"/>
                  <a:gd name="T14" fmla="*/ 6 w 21"/>
                  <a:gd name="T15" fmla="*/ 1 h 13"/>
                  <a:gd name="T16" fmla="*/ 4 w 21"/>
                  <a:gd name="T17" fmla="*/ 2 h 13"/>
                  <a:gd name="T18" fmla="*/ 3 w 21"/>
                  <a:gd name="T19" fmla="*/ 4 h 13"/>
                  <a:gd name="T20" fmla="*/ 0 w 21"/>
                  <a:gd name="T21" fmla="*/ 8 h 13"/>
                  <a:gd name="T22" fmla="*/ 2 w 21"/>
                  <a:gd name="T23" fmla="*/ 12 h 13"/>
                  <a:gd name="T24" fmla="*/ 3 w 21"/>
                  <a:gd name="T25" fmla="*/ 13 h 13"/>
                  <a:gd name="T26" fmla="*/ 4 w 21"/>
                  <a:gd name="T27" fmla="*/ 12 h 13"/>
                  <a:gd name="T28" fmla="*/ 7 w 21"/>
                  <a:gd name="T29" fmla="*/ 12 h 13"/>
                  <a:gd name="T30" fmla="*/ 12 w 21"/>
                  <a:gd name="T31" fmla="*/ 10 h 13"/>
                  <a:gd name="T32" fmla="*/ 15 w 21"/>
                  <a:gd name="T33" fmla="*/ 7 h 13"/>
                  <a:gd name="T34" fmla="*/ 20 w 21"/>
                  <a:gd name="T35" fmla="*/ 4 h 13"/>
                  <a:gd name="T36" fmla="*/ 20 w 21"/>
                  <a:gd name="T37"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3">
                    <a:moveTo>
                      <a:pt x="20" y="2"/>
                    </a:moveTo>
                    <a:cubicBezTo>
                      <a:pt x="21" y="0"/>
                      <a:pt x="20" y="0"/>
                      <a:pt x="19" y="0"/>
                    </a:cubicBezTo>
                    <a:cubicBezTo>
                      <a:pt x="18" y="0"/>
                      <a:pt x="17" y="0"/>
                      <a:pt x="17" y="0"/>
                    </a:cubicBezTo>
                    <a:cubicBezTo>
                      <a:pt x="16" y="0"/>
                      <a:pt x="16" y="1"/>
                      <a:pt x="15" y="1"/>
                    </a:cubicBezTo>
                    <a:cubicBezTo>
                      <a:pt x="14" y="1"/>
                      <a:pt x="13" y="0"/>
                      <a:pt x="12" y="1"/>
                    </a:cubicBezTo>
                    <a:cubicBezTo>
                      <a:pt x="11" y="1"/>
                      <a:pt x="11" y="1"/>
                      <a:pt x="10" y="2"/>
                    </a:cubicBezTo>
                    <a:cubicBezTo>
                      <a:pt x="9" y="2"/>
                      <a:pt x="9" y="2"/>
                      <a:pt x="8" y="2"/>
                    </a:cubicBezTo>
                    <a:cubicBezTo>
                      <a:pt x="7" y="1"/>
                      <a:pt x="7" y="1"/>
                      <a:pt x="6" y="1"/>
                    </a:cubicBezTo>
                    <a:cubicBezTo>
                      <a:pt x="5" y="1"/>
                      <a:pt x="4" y="2"/>
                      <a:pt x="4" y="2"/>
                    </a:cubicBezTo>
                    <a:cubicBezTo>
                      <a:pt x="3" y="3"/>
                      <a:pt x="4" y="4"/>
                      <a:pt x="3" y="4"/>
                    </a:cubicBezTo>
                    <a:cubicBezTo>
                      <a:pt x="3" y="6"/>
                      <a:pt x="1" y="7"/>
                      <a:pt x="0" y="8"/>
                    </a:cubicBezTo>
                    <a:cubicBezTo>
                      <a:pt x="0" y="9"/>
                      <a:pt x="1" y="11"/>
                      <a:pt x="2" y="12"/>
                    </a:cubicBezTo>
                    <a:cubicBezTo>
                      <a:pt x="2" y="13"/>
                      <a:pt x="2" y="13"/>
                      <a:pt x="3" y="13"/>
                    </a:cubicBezTo>
                    <a:cubicBezTo>
                      <a:pt x="3" y="13"/>
                      <a:pt x="4" y="12"/>
                      <a:pt x="4" y="12"/>
                    </a:cubicBezTo>
                    <a:cubicBezTo>
                      <a:pt x="5" y="12"/>
                      <a:pt x="6" y="12"/>
                      <a:pt x="7" y="12"/>
                    </a:cubicBezTo>
                    <a:cubicBezTo>
                      <a:pt x="9" y="13"/>
                      <a:pt x="11" y="11"/>
                      <a:pt x="12" y="10"/>
                    </a:cubicBezTo>
                    <a:cubicBezTo>
                      <a:pt x="13" y="9"/>
                      <a:pt x="14" y="8"/>
                      <a:pt x="15" y="7"/>
                    </a:cubicBezTo>
                    <a:cubicBezTo>
                      <a:pt x="16" y="6"/>
                      <a:pt x="19" y="6"/>
                      <a:pt x="20" y="4"/>
                    </a:cubicBezTo>
                    <a:cubicBezTo>
                      <a:pt x="20" y="4"/>
                      <a:pt x="20" y="3"/>
                      <a:pt x="2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7" name="Freeform 2004">
                <a:extLst>
                  <a:ext uri="{FF2B5EF4-FFF2-40B4-BE49-F238E27FC236}">
                    <a16:creationId xmlns:a16="http://schemas.microsoft.com/office/drawing/2014/main" id="{889C1BB3-30F5-4196-A68C-2B7A6B5A9C6E}"/>
                  </a:ext>
                </a:extLst>
              </p:cNvPr>
              <p:cNvSpPr>
                <a:spLocks/>
              </p:cNvSpPr>
              <p:nvPr/>
            </p:nvSpPr>
            <p:spPr bwMode="auto">
              <a:xfrm>
                <a:off x="1610" y="1018"/>
                <a:ext cx="26" cy="31"/>
              </a:xfrm>
              <a:custGeom>
                <a:avLst/>
                <a:gdLst>
                  <a:gd name="T0" fmla="*/ 5 w 11"/>
                  <a:gd name="T1" fmla="*/ 13 h 13"/>
                  <a:gd name="T2" fmla="*/ 7 w 11"/>
                  <a:gd name="T3" fmla="*/ 10 h 13"/>
                  <a:gd name="T4" fmla="*/ 8 w 11"/>
                  <a:gd name="T5" fmla="*/ 9 h 13"/>
                  <a:gd name="T6" fmla="*/ 8 w 11"/>
                  <a:gd name="T7" fmla="*/ 8 h 13"/>
                  <a:gd name="T8" fmla="*/ 9 w 11"/>
                  <a:gd name="T9" fmla="*/ 6 h 13"/>
                  <a:gd name="T10" fmla="*/ 10 w 11"/>
                  <a:gd name="T11" fmla="*/ 6 h 13"/>
                  <a:gd name="T12" fmla="*/ 10 w 11"/>
                  <a:gd name="T13" fmla="*/ 3 h 13"/>
                  <a:gd name="T14" fmla="*/ 10 w 11"/>
                  <a:gd name="T15" fmla="*/ 2 h 13"/>
                  <a:gd name="T16" fmla="*/ 9 w 11"/>
                  <a:gd name="T17" fmla="*/ 1 h 13"/>
                  <a:gd name="T18" fmla="*/ 7 w 11"/>
                  <a:gd name="T19" fmla="*/ 0 h 13"/>
                  <a:gd name="T20" fmla="*/ 6 w 11"/>
                  <a:gd name="T21" fmla="*/ 1 h 13"/>
                  <a:gd name="T22" fmla="*/ 5 w 11"/>
                  <a:gd name="T23" fmla="*/ 0 h 13"/>
                  <a:gd name="T24" fmla="*/ 3 w 11"/>
                  <a:gd name="T25" fmla="*/ 1 h 13"/>
                  <a:gd name="T26" fmla="*/ 1 w 11"/>
                  <a:gd name="T27" fmla="*/ 3 h 13"/>
                  <a:gd name="T28" fmla="*/ 0 w 11"/>
                  <a:gd name="T29" fmla="*/ 5 h 13"/>
                  <a:gd name="T30" fmla="*/ 0 w 11"/>
                  <a:gd name="T31" fmla="*/ 9 h 13"/>
                  <a:gd name="T32" fmla="*/ 5 w 11"/>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3">
                    <a:moveTo>
                      <a:pt x="5" y="13"/>
                    </a:moveTo>
                    <a:cubicBezTo>
                      <a:pt x="6" y="12"/>
                      <a:pt x="6" y="12"/>
                      <a:pt x="7" y="10"/>
                    </a:cubicBezTo>
                    <a:cubicBezTo>
                      <a:pt x="7" y="10"/>
                      <a:pt x="7" y="9"/>
                      <a:pt x="8" y="9"/>
                    </a:cubicBezTo>
                    <a:cubicBezTo>
                      <a:pt x="8" y="9"/>
                      <a:pt x="8" y="8"/>
                      <a:pt x="8" y="8"/>
                    </a:cubicBezTo>
                    <a:cubicBezTo>
                      <a:pt x="9" y="7"/>
                      <a:pt x="9" y="7"/>
                      <a:pt x="9" y="6"/>
                    </a:cubicBezTo>
                    <a:cubicBezTo>
                      <a:pt x="9" y="6"/>
                      <a:pt x="9" y="7"/>
                      <a:pt x="10" y="6"/>
                    </a:cubicBezTo>
                    <a:cubicBezTo>
                      <a:pt x="10" y="6"/>
                      <a:pt x="10" y="4"/>
                      <a:pt x="10" y="3"/>
                    </a:cubicBezTo>
                    <a:cubicBezTo>
                      <a:pt x="10" y="3"/>
                      <a:pt x="11" y="3"/>
                      <a:pt x="10" y="2"/>
                    </a:cubicBezTo>
                    <a:cubicBezTo>
                      <a:pt x="9" y="2"/>
                      <a:pt x="9" y="1"/>
                      <a:pt x="9" y="1"/>
                    </a:cubicBezTo>
                    <a:cubicBezTo>
                      <a:pt x="8" y="0"/>
                      <a:pt x="8" y="0"/>
                      <a:pt x="7" y="0"/>
                    </a:cubicBezTo>
                    <a:cubicBezTo>
                      <a:pt x="6" y="0"/>
                      <a:pt x="6" y="1"/>
                      <a:pt x="6" y="1"/>
                    </a:cubicBezTo>
                    <a:cubicBezTo>
                      <a:pt x="6" y="1"/>
                      <a:pt x="5" y="0"/>
                      <a:pt x="5" y="0"/>
                    </a:cubicBezTo>
                    <a:cubicBezTo>
                      <a:pt x="4" y="0"/>
                      <a:pt x="3" y="0"/>
                      <a:pt x="3" y="1"/>
                    </a:cubicBezTo>
                    <a:cubicBezTo>
                      <a:pt x="2" y="1"/>
                      <a:pt x="2" y="2"/>
                      <a:pt x="1" y="3"/>
                    </a:cubicBezTo>
                    <a:cubicBezTo>
                      <a:pt x="1" y="4"/>
                      <a:pt x="0" y="4"/>
                      <a:pt x="0" y="5"/>
                    </a:cubicBezTo>
                    <a:cubicBezTo>
                      <a:pt x="0" y="6"/>
                      <a:pt x="0" y="8"/>
                      <a:pt x="0" y="9"/>
                    </a:cubicBezTo>
                    <a:cubicBezTo>
                      <a:pt x="0" y="11"/>
                      <a:pt x="3" y="12"/>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8" name="Freeform 2005">
                <a:extLst>
                  <a:ext uri="{FF2B5EF4-FFF2-40B4-BE49-F238E27FC236}">
                    <a16:creationId xmlns:a16="http://schemas.microsoft.com/office/drawing/2014/main" id="{7699E882-2625-4D17-8F6C-C79591AC8257}"/>
                  </a:ext>
                </a:extLst>
              </p:cNvPr>
              <p:cNvSpPr>
                <a:spLocks/>
              </p:cNvSpPr>
              <p:nvPr/>
            </p:nvSpPr>
            <p:spPr bwMode="auto">
              <a:xfrm>
                <a:off x="1967" y="1044"/>
                <a:ext cx="19" cy="15"/>
              </a:xfrm>
              <a:custGeom>
                <a:avLst/>
                <a:gdLst>
                  <a:gd name="T0" fmla="*/ 5 w 8"/>
                  <a:gd name="T1" fmla="*/ 5 h 6"/>
                  <a:gd name="T2" fmla="*/ 7 w 8"/>
                  <a:gd name="T3" fmla="*/ 5 h 6"/>
                  <a:gd name="T4" fmla="*/ 7 w 8"/>
                  <a:gd name="T5" fmla="*/ 5 h 6"/>
                  <a:gd name="T6" fmla="*/ 8 w 8"/>
                  <a:gd name="T7" fmla="*/ 4 h 6"/>
                  <a:gd name="T8" fmla="*/ 8 w 8"/>
                  <a:gd name="T9" fmla="*/ 2 h 6"/>
                  <a:gd name="T10" fmla="*/ 0 w 8"/>
                  <a:gd name="T11" fmla="*/ 2 h 6"/>
                  <a:gd name="T12" fmla="*/ 5 w 8"/>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5" y="5"/>
                    </a:moveTo>
                    <a:cubicBezTo>
                      <a:pt x="6" y="6"/>
                      <a:pt x="6" y="6"/>
                      <a:pt x="7" y="5"/>
                    </a:cubicBezTo>
                    <a:cubicBezTo>
                      <a:pt x="7" y="5"/>
                      <a:pt x="7" y="5"/>
                      <a:pt x="7" y="5"/>
                    </a:cubicBezTo>
                    <a:cubicBezTo>
                      <a:pt x="7" y="4"/>
                      <a:pt x="8" y="5"/>
                      <a:pt x="8" y="4"/>
                    </a:cubicBezTo>
                    <a:cubicBezTo>
                      <a:pt x="8" y="4"/>
                      <a:pt x="8" y="3"/>
                      <a:pt x="8" y="2"/>
                    </a:cubicBezTo>
                    <a:cubicBezTo>
                      <a:pt x="6" y="1"/>
                      <a:pt x="3" y="0"/>
                      <a:pt x="0" y="2"/>
                    </a:cubicBezTo>
                    <a:cubicBezTo>
                      <a:pt x="2" y="3"/>
                      <a:pt x="3" y="4"/>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9" name="Freeform 2006">
                <a:extLst>
                  <a:ext uri="{FF2B5EF4-FFF2-40B4-BE49-F238E27FC236}">
                    <a16:creationId xmlns:a16="http://schemas.microsoft.com/office/drawing/2014/main" id="{17146B92-CCE1-4D12-85D4-91492397FE15}"/>
                  </a:ext>
                </a:extLst>
              </p:cNvPr>
              <p:cNvSpPr>
                <a:spLocks/>
              </p:cNvSpPr>
              <p:nvPr/>
            </p:nvSpPr>
            <p:spPr bwMode="auto">
              <a:xfrm>
                <a:off x="1052" y="436"/>
                <a:ext cx="34" cy="12"/>
              </a:xfrm>
              <a:custGeom>
                <a:avLst/>
                <a:gdLst>
                  <a:gd name="T0" fmla="*/ 6 w 14"/>
                  <a:gd name="T1" fmla="*/ 1 h 5"/>
                  <a:gd name="T2" fmla="*/ 6 w 14"/>
                  <a:gd name="T3" fmla="*/ 1 h 5"/>
                  <a:gd name="T4" fmla="*/ 4 w 14"/>
                  <a:gd name="T5" fmla="*/ 2 h 5"/>
                  <a:gd name="T6" fmla="*/ 4 w 14"/>
                  <a:gd name="T7" fmla="*/ 2 h 5"/>
                  <a:gd name="T8" fmla="*/ 3 w 14"/>
                  <a:gd name="T9" fmla="*/ 2 h 5"/>
                  <a:gd name="T10" fmla="*/ 0 w 14"/>
                  <a:gd name="T11" fmla="*/ 5 h 5"/>
                  <a:gd name="T12" fmla="*/ 14 w 14"/>
                  <a:gd name="T13" fmla="*/ 1 h 5"/>
                  <a:gd name="T14" fmla="*/ 14 w 14"/>
                  <a:gd name="T15" fmla="*/ 1 h 5"/>
                  <a:gd name="T16" fmla="*/ 14 w 14"/>
                  <a:gd name="T17" fmla="*/ 1 h 5"/>
                  <a:gd name="T18" fmla="*/ 14 w 14"/>
                  <a:gd name="T19" fmla="*/ 1 h 5"/>
                  <a:gd name="T20" fmla="*/ 14 w 14"/>
                  <a:gd name="T21" fmla="*/ 1 h 5"/>
                  <a:gd name="T22" fmla="*/ 13 w 14"/>
                  <a:gd name="T23" fmla="*/ 1 h 5"/>
                  <a:gd name="T24" fmla="*/ 13 w 14"/>
                  <a:gd name="T25" fmla="*/ 1 h 5"/>
                  <a:gd name="T26" fmla="*/ 13 w 14"/>
                  <a:gd name="T27" fmla="*/ 0 h 5"/>
                  <a:gd name="T28" fmla="*/ 12 w 14"/>
                  <a:gd name="T29" fmla="*/ 0 h 5"/>
                  <a:gd name="T30" fmla="*/ 12 w 14"/>
                  <a:gd name="T31" fmla="*/ 0 h 5"/>
                  <a:gd name="T32" fmla="*/ 6 w 14"/>
                  <a:gd name="T33" fmla="*/ 1 h 5"/>
                  <a:gd name="T34" fmla="*/ 6 w 14"/>
                  <a:gd name="T3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5">
                    <a:moveTo>
                      <a:pt x="6" y="1"/>
                    </a:moveTo>
                    <a:cubicBezTo>
                      <a:pt x="6" y="1"/>
                      <a:pt x="6" y="1"/>
                      <a:pt x="6" y="1"/>
                    </a:cubicBezTo>
                    <a:cubicBezTo>
                      <a:pt x="5" y="1"/>
                      <a:pt x="4" y="2"/>
                      <a:pt x="4" y="2"/>
                    </a:cubicBezTo>
                    <a:cubicBezTo>
                      <a:pt x="4" y="2"/>
                      <a:pt x="4" y="2"/>
                      <a:pt x="4" y="2"/>
                    </a:cubicBezTo>
                    <a:cubicBezTo>
                      <a:pt x="3" y="2"/>
                      <a:pt x="3" y="2"/>
                      <a:pt x="3" y="2"/>
                    </a:cubicBezTo>
                    <a:cubicBezTo>
                      <a:pt x="2" y="3"/>
                      <a:pt x="1" y="4"/>
                      <a:pt x="0" y="5"/>
                    </a:cubicBezTo>
                    <a:cubicBezTo>
                      <a:pt x="5" y="4"/>
                      <a:pt x="9" y="2"/>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3" y="1"/>
                      <a:pt x="13" y="1"/>
                    </a:cubicBezTo>
                    <a:cubicBezTo>
                      <a:pt x="13" y="1"/>
                      <a:pt x="13" y="1"/>
                      <a:pt x="13" y="1"/>
                    </a:cubicBezTo>
                    <a:cubicBezTo>
                      <a:pt x="13" y="0"/>
                      <a:pt x="13" y="0"/>
                      <a:pt x="13" y="0"/>
                    </a:cubicBezTo>
                    <a:cubicBezTo>
                      <a:pt x="12" y="0"/>
                      <a:pt x="12" y="0"/>
                      <a:pt x="12" y="0"/>
                    </a:cubicBezTo>
                    <a:cubicBezTo>
                      <a:pt x="12" y="0"/>
                      <a:pt x="12" y="0"/>
                      <a:pt x="12" y="0"/>
                    </a:cubicBezTo>
                    <a:cubicBezTo>
                      <a:pt x="10" y="0"/>
                      <a:pt x="7" y="1"/>
                      <a:pt x="6" y="1"/>
                    </a:cubicBezTo>
                    <a:cubicBezTo>
                      <a:pt x="6" y="1"/>
                      <a:pt x="6" y="1"/>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0" name="Freeform 2007">
                <a:extLst>
                  <a:ext uri="{FF2B5EF4-FFF2-40B4-BE49-F238E27FC236}">
                    <a16:creationId xmlns:a16="http://schemas.microsoft.com/office/drawing/2014/main" id="{E13AE634-6247-4FFA-8479-9179A97F572C}"/>
                  </a:ext>
                </a:extLst>
              </p:cNvPr>
              <p:cNvSpPr>
                <a:spLocks/>
              </p:cNvSpPr>
              <p:nvPr/>
            </p:nvSpPr>
            <p:spPr bwMode="auto">
              <a:xfrm>
                <a:off x="1651" y="978"/>
                <a:ext cx="26" cy="14"/>
              </a:xfrm>
              <a:custGeom>
                <a:avLst/>
                <a:gdLst>
                  <a:gd name="T0" fmla="*/ 9 w 11"/>
                  <a:gd name="T1" fmla="*/ 5 h 6"/>
                  <a:gd name="T2" fmla="*/ 11 w 11"/>
                  <a:gd name="T3" fmla="*/ 4 h 6"/>
                  <a:gd name="T4" fmla="*/ 9 w 11"/>
                  <a:gd name="T5" fmla="*/ 1 h 6"/>
                  <a:gd name="T6" fmla="*/ 8 w 11"/>
                  <a:gd name="T7" fmla="*/ 1 h 6"/>
                  <a:gd name="T8" fmla="*/ 8 w 11"/>
                  <a:gd name="T9" fmla="*/ 0 h 6"/>
                  <a:gd name="T10" fmla="*/ 7 w 11"/>
                  <a:gd name="T11" fmla="*/ 0 h 6"/>
                  <a:gd name="T12" fmla="*/ 4 w 11"/>
                  <a:gd name="T13" fmla="*/ 0 h 6"/>
                  <a:gd name="T14" fmla="*/ 1 w 11"/>
                  <a:gd name="T15" fmla="*/ 1 h 6"/>
                  <a:gd name="T16" fmla="*/ 2 w 11"/>
                  <a:gd name="T17" fmla="*/ 2 h 6"/>
                  <a:gd name="T18" fmla="*/ 5 w 11"/>
                  <a:gd name="T19" fmla="*/ 5 h 6"/>
                  <a:gd name="T20" fmla="*/ 9 w 11"/>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9" y="5"/>
                    </a:moveTo>
                    <a:cubicBezTo>
                      <a:pt x="10" y="5"/>
                      <a:pt x="11" y="5"/>
                      <a:pt x="11" y="4"/>
                    </a:cubicBezTo>
                    <a:cubicBezTo>
                      <a:pt x="11" y="3"/>
                      <a:pt x="10" y="1"/>
                      <a:pt x="9" y="1"/>
                    </a:cubicBezTo>
                    <a:cubicBezTo>
                      <a:pt x="9" y="1"/>
                      <a:pt x="9" y="1"/>
                      <a:pt x="8" y="1"/>
                    </a:cubicBezTo>
                    <a:cubicBezTo>
                      <a:pt x="8" y="1"/>
                      <a:pt x="8" y="0"/>
                      <a:pt x="8" y="0"/>
                    </a:cubicBezTo>
                    <a:cubicBezTo>
                      <a:pt x="8" y="0"/>
                      <a:pt x="7" y="0"/>
                      <a:pt x="7" y="0"/>
                    </a:cubicBezTo>
                    <a:cubicBezTo>
                      <a:pt x="6" y="0"/>
                      <a:pt x="5" y="0"/>
                      <a:pt x="4" y="0"/>
                    </a:cubicBezTo>
                    <a:cubicBezTo>
                      <a:pt x="4" y="0"/>
                      <a:pt x="0" y="1"/>
                      <a:pt x="1" y="1"/>
                    </a:cubicBezTo>
                    <a:cubicBezTo>
                      <a:pt x="1" y="2"/>
                      <a:pt x="2" y="2"/>
                      <a:pt x="2" y="2"/>
                    </a:cubicBezTo>
                    <a:cubicBezTo>
                      <a:pt x="3" y="3"/>
                      <a:pt x="4" y="4"/>
                      <a:pt x="5" y="5"/>
                    </a:cubicBezTo>
                    <a:cubicBezTo>
                      <a:pt x="7" y="6"/>
                      <a:pt x="7" y="6"/>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1" name="Freeform 2008">
                <a:extLst>
                  <a:ext uri="{FF2B5EF4-FFF2-40B4-BE49-F238E27FC236}">
                    <a16:creationId xmlns:a16="http://schemas.microsoft.com/office/drawing/2014/main" id="{AC205FEC-5C5D-435A-9368-002C0E96F9AA}"/>
                  </a:ext>
                </a:extLst>
              </p:cNvPr>
              <p:cNvSpPr>
                <a:spLocks/>
              </p:cNvSpPr>
              <p:nvPr/>
            </p:nvSpPr>
            <p:spPr bwMode="auto">
              <a:xfrm>
                <a:off x="811" y="294"/>
                <a:ext cx="100" cy="26"/>
              </a:xfrm>
              <a:custGeom>
                <a:avLst/>
                <a:gdLst>
                  <a:gd name="T0" fmla="*/ 4 w 42"/>
                  <a:gd name="T1" fmla="*/ 11 h 11"/>
                  <a:gd name="T2" fmla="*/ 11 w 42"/>
                  <a:gd name="T3" fmla="*/ 9 h 11"/>
                  <a:gd name="T4" fmla="*/ 14 w 42"/>
                  <a:gd name="T5" fmla="*/ 9 h 11"/>
                  <a:gd name="T6" fmla="*/ 15 w 42"/>
                  <a:gd name="T7" fmla="*/ 10 h 11"/>
                  <a:gd name="T8" fmla="*/ 19 w 42"/>
                  <a:gd name="T9" fmla="*/ 11 h 11"/>
                  <a:gd name="T10" fmla="*/ 23 w 42"/>
                  <a:gd name="T11" fmla="*/ 8 h 11"/>
                  <a:gd name="T12" fmla="*/ 26 w 42"/>
                  <a:gd name="T13" fmla="*/ 9 h 11"/>
                  <a:gd name="T14" fmla="*/ 35 w 42"/>
                  <a:gd name="T15" fmla="*/ 10 h 11"/>
                  <a:gd name="T16" fmla="*/ 41 w 42"/>
                  <a:gd name="T17" fmla="*/ 9 h 11"/>
                  <a:gd name="T18" fmla="*/ 40 w 42"/>
                  <a:gd name="T19" fmla="*/ 5 h 11"/>
                  <a:gd name="T20" fmla="*/ 38 w 42"/>
                  <a:gd name="T21" fmla="*/ 3 h 11"/>
                  <a:gd name="T22" fmla="*/ 34 w 42"/>
                  <a:gd name="T23" fmla="*/ 2 h 11"/>
                  <a:gd name="T24" fmla="*/ 26 w 42"/>
                  <a:gd name="T25" fmla="*/ 0 h 11"/>
                  <a:gd name="T26" fmla="*/ 22 w 42"/>
                  <a:gd name="T27" fmla="*/ 2 h 11"/>
                  <a:gd name="T28" fmla="*/ 2 w 42"/>
                  <a:gd name="T29" fmla="*/ 8 h 11"/>
                  <a:gd name="T30" fmla="*/ 1 w 42"/>
                  <a:gd name="T31" fmla="*/ 10 h 11"/>
                  <a:gd name="T32" fmla="*/ 4 w 42"/>
                  <a:gd name="T3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11">
                    <a:moveTo>
                      <a:pt x="4" y="11"/>
                    </a:moveTo>
                    <a:cubicBezTo>
                      <a:pt x="6" y="10"/>
                      <a:pt x="8" y="9"/>
                      <a:pt x="11" y="9"/>
                    </a:cubicBezTo>
                    <a:cubicBezTo>
                      <a:pt x="12" y="9"/>
                      <a:pt x="13" y="9"/>
                      <a:pt x="14" y="9"/>
                    </a:cubicBezTo>
                    <a:cubicBezTo>
                      <a:pt x="15" y="9"/>
                      <a:pt x="15" y="10"/>
                      <a:pt x="15" y="10"/>
                    </a:cubicBezTo>
                    <a:cubicBezTo>
                      <a:pt x="16" y="11"/>
                      <a:pt x="18" y="11"/>
                      <a:pt x="19" y="11"/>
                    </a:cubicBezTo>
                    <a:cubicBezTo>
                      <a:pt x="20" y="10"/>
                      <a:pt x="21" y="9"/>
                      <a:pt x="23" y="8"/>
                    </a:cubicBezTo>
                    <a:cubicBezTo>
                      <a:pt x="23" y="8"/>
                      <a:pt x="25" y="9"/>
                      <a:pt x="26" y="9"/>
                    </a:cubicBezTo>
                    <a:cubicBezTo>
                      <a:pt x="29" y="9"/>
                      <a:pt x="32" y="10"/>
                      <a:pt x="35" y="10"/>
                    </a:cubicBezTo>
                    <a:cubicBezTo>
                      <a:pt x="37" y="10"/>
                      <a:pt x="40" y="11"/>
                      <a:pt x="41" y="9"/>
                    </a:cubicBezTo>
                    <a:cubicBezTo>
                      <a:pt x="42" y="7"/>
                      <a:pt x="42" y="6"/>
                      <a:pt x="40" y="5"/>
                    </a:cubicBezTo>
                    <a:cubicBezTo>
                      <a:pt x="40" y="4"/>
                      <a:pt x="39" y="4"/>
                      <a:pt x="38" y="3"/>
                    </a:cubicBezTo>
                    <a:cubicBezTo>
                      <a:pt x="37" y="3"/>
                      <a:pt x="35" y="2"/>
                      <a:pt x="34" y="2"/>
                    </a:cubicBezTo>
                    <a:cubicBezTo>
                      <a:pt x="32" y="1"/>
                      <a:pt x="29" y="0"/>
                      <a:pt x="26" y="0"/>
                    </a:cubicBezTo>
                    <a:cubicBezTo>
                      <a:pt x="25" y="1"/>
                      <a:pt x="23" y="1"/>
                      <a:pt x="22" y="2"/>
                    </a:cubicBezTo>
                    <a:cubicBezTo>
                      <a:pt x="15" y="4"/>
                      <a:pt x="9" y="6"/>
                      <a:pt x="2" y="8"/>
                    </a:cubicBezTo>
                    <a:cubicBezTo>
                      <a:pt x="1" y="8"/>
                      <a:pt x="0" y="9"/>
                      <a:pt x="1" y="10"/>
                    </a:cubicBezTo>
                    <a:cubicBezTo>
                      <a:pt x="1" y="11"/>
                      <a:pt x="3" y="11"/>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2" name="Freeform 2009">
                <a:extLst>
                  <a:ext uri="{FF2B5EF4-FFF2-40B4-BE49-F238E27FC236}">
                    <a16:creationId xmlns:a16="http://schemas.microsoft.com/office/drawing/2014/main" id="{B5BC8992-AB8B-4DFB-90DB-678EBCE77C23}"/>
                  </a:ext>
                </a:extLst>
              </p:cNvPr>
              <p:cNvSpPr>
                <a:spLocks/>
              </p:cNvSpPr>
              <p:nvPr/>
            </p:nvSpPr>
            <p:spPr bwMode="auto">
              <a:xfrm>
                <a:off x="334" y="1309"/>
                <a:ext cx="35" cy="34"/>
              </a:xfrm>
              <a:custGeom>
                <a:avLst/>
                <a:gdLst>
                  <a:gd name="T0" fmla="*/ 10 w 15"/>
                  <a:gd name="T1" fmla="*/ 14 h 14"/>
                  <a:gd name="T2" fmla="*/ 9 w 15"/>
                  <a:gd name="T3" fmla="*/ 13 h 14"/>
                  <a:gd name="T4" fmla="*/ 12 w 15"/>
                  <a:gd name="T5" fmla="*/ 11 h 14"/>
                  <a:gd name="T6" fmla="*/ 12 w 15"/>
                  <a:gd name="T7" fmla="*/ 7 h 14"/>
                  <a:gd name="T8" fmla="*/ 14 w 15"/>
                  <a:gd name="T9" fmla="*/ 4 h 14"/>
                  <a:gd name="T10" fmla="*/ 15 w 15"/>
                  <a:gd name="T11" fmla="*/ 0 h 14"/>
                  <a:gd name="T12" fmla="*/ 10 w 15"/>
                  <a:gd name="T13" fmla="*/ 2 h 14"/>
                  <a:gd name="T14" fmla="*/ 10 w 15"/>
                  <a:gd name="T15" fmla="*/ 5 h 14"/>
                  <a:gd name="T16" fmla="*/ 9 w 15"/>
                  <a:gd name="T17" fmla="*/ 7 h 14"/>
                  <a:gd name="T18" fmla="*/ 7 w 15"/>
                  <a:gd name="T19" fmla="*/ 8 h 14"/>
                  <a:gd name="T20" fmla="*/ 8 w 15"/>
                  <a:gd name="T21" fmla="*/ 7 h 14"/>
                  <a:gd name="T22" fmla="*/ 7 w 15"/>
                  <a:gd name="T23" fmla="*/ 7 h 14"/>
                  <a:gd name="T24" fmla="*/ 10 w 15"/>
                  <a:gd name="T25" fmla="*/ 2 h 14"/>
                  <a:gd name="T26" fmla="*/ 7 w 15"/>
                  <a:gd name="T27" fmla="*/ 1 h 14"/>
                  <a:gd name="T28" fmla="*/ 6 w 15"/>
                  <a:gd name="T29" fmla="*/ 1 h 14"/>
                  <a:gd name="T30" fmla="*/ 4 w 15"/>
                  <a:gd name="T31" fmla="*/ 0 h 14"/>
                  <a:gd name="T32" fmla="*/ 3 w 15"/>
                  <a:gd name="T33" fmla="*/ 0 h 14"/>
                  <a:gd name="T34" fmla="*/ 1 w 15"/>
                  <a:gd name="T35" fmla="*/ 0 h 14"/>
                  <a:gd name="T36" fmla="*/ 1 w 15"/>
                  <a:gd name="T37" fmla="*/ 1 h 14"/>
                  <a:gd name="T38" fmla="*/ 0 w 15"/>
                  <a:gd name="T39" fmla="*/ 4 h 14"/>
                  <a:gd name="T40" fmla="*/ 0 w 15"/>
                  <a:gd name="T41" fmla="*/ 5 h 14"/>
                  <a:gd name="T42" fmla="*/ 1 w 15"/>
                  <a:gd name="T43" fmla="*/ 6 h 14"/>
                  <a:gd name="T44" fmla="*/ 2 w 15"/>
                  <a:gd name="T45" fmla="*/ 6 h 14"/>
                  <a:gd name="T46" fmla="*/ 2 w 15"/>
                  <a:gd name="T47" fmla="*/ 6 h 14"/>
                  <a:gd name="T48" fmla="*/ 1 w 15"/>
                  <a:gd name="T49" fmla="*/ 7 h 14"/>
                  <a:gd name="T50" fmla="*/ 3 w 15"/>
                  <a:gd name="T51" fmla="*/ 8 h 14"/>
                  <a:gd name="T52" fmla="*/ 2 w 15"/>
                  <a:gd name="T53" fmla="*/ 8 h 14"/>
                  <a:gd name="T54" fmla="*/ 7 w 15"/>
                  <a:gd name="T55" fmla="*/ 12 h 14"/>
                  <a:gd name="T56" fmla="*/ 4 w 15"/>
                  <a:gd name="T57" fmla="*/ 12 h 14"/>
                  <a:gd name="T58" fmla="*/ 6 w 15"/>
                  <a:gd name="T59" fmla="*/ 12 h 14"/>
                  <a:gd name="T60" fmla="*/ 5 w 15"/>
                  <a:gd name="T61" fmla="*/ 12 h 14"/>
                  <a:gd name="T62" fmla="*/ 7 w 15"/>
                  <a:gd name="T63" fmla="*/ 14 h 14"/>
                  <a:gd name="T64" fmla="*/ 10 w 15"/>
                  <a:gd name="T6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4">
                    <a:moveTo>
                      <a:pt x="10" y="14"/>
                    </a:moveTo>
                    <a:cubicBezTo>
                      <a:pt x="9" y="14"/>
                      <a:pt x="9" y="13"/>
                      <a:pt x="9" y="13"/>
                    </a:cubicBezTo>
                    <a:cubicBezTo>
                      <a:pt x="11" y="13"/>
                      <a:pt x="12" y="13"/>
                      <a:pt x="12" y="11"/>
                    </a:cubicBezTo>
                    <a:cubicBezTo>
                      <a:pt x="13" y="10"/>
                      <a:pt x="12" y="8"/>
                      <a:pt x="12" y="7"/>
                    </a:cubicBezTo>
                    <a:cubicBezTo>
                      <a:pt x="13" y="6"/>
                      <a:pt x="13" y="5"/>
                      <a:pt x="14" y="4"/>
                    </a:cubicBezTo>
                    <a:cubicBezTo>
                      <a:pt x="14" y="3"/>
                      <a:pt x="15" y="2"/>
                      <a:pt x="15" y="0"/>
                    </a:cubicBezTo>
                    <a:cubicBezTo>
                      <a:pt x="14" y="2"/>
                      <a:pt x="11" y="2"/>
                      <a:pt x="10" y="2"/>
                    </a:cubicBezTo>
                    <a:cubicBezTo>
                      <a:pt x="11" y="3"/>
                      <a:pt x="10" y="4"/>
                      <a:pt x="10" y="5"/>
                    </a:cubicBezTo>
                    <a:cubicBezTo>
                      <a:pt x="9" y="6"/>
                      <a:pt x="10" y="7"/>
                      <a:pt x="9" y="7"/>
                    </a:cubicBezTo>
                    <a:cubicBezTo>
                      <a:pt x="8" y="8"/>
                      <a:pt x="7" y="8"/>
                      <a:pt x="7" y="8"/>
                    </a:cubicBezTo>
                    <a:cubicBezTo>
                      <a:pt x="7" y="8"/>
                      <a:pt x="8" y="7"/>
                      <a:pt x="8" y="7"/>
                    </a:cubicBezTo>
                    <a:cubicBezTo>
                      <a:pt x="8" y="7"/>
                      <a:pt x="7" y="7"/>
                      <a:pt x="7" y="7"/>
                    </a:cubicBezTo>
                    <a:cubicBezTo>
                      <a:pt x="8" y="6"/>
                      <a:pt x="11" y="5"/>
                      <a:pt x="10" y="2"/>
                    </a:cubicBezTo>
                    <a:cubicBezTo>
                      <a:pt x="9" y="1"/>
                      <a:pt x="8" y="1"/>
                      <a:pt x="7" y="1"/>
                    </a:cubicBezTo>
                    <a:cubicBezTo>
                      <a:pt x="7" y="1"/>
                      <a:pt x="6" y="2"/>
                      <a:pt x="6" y="1"/>
                    </a:cubicBezTo>
                    <a:cubicBezTo>
                      <a:pt x="6" y="0"/>
                      <a:pt x="5" y="0"/>
                      <a:pt x="4" y="0"/>
                    </a:cubicBezTo>
                    <a:cubicBezTo>
                      <a:pt x="4" y="0"/>
                      <a:pt x="3" y="0"/>
                      <a:pt x="3" y="0"/>
                    </a:cubicBezTo>
                    <a:cubicBezTo>
                      <a:pt x="2" y="0"/>
                      <a:pt x="2" y="0"/>
                      <a:pt x="1" y="0"/>
                    </a:cubicBezTo>
                    <a:cubicBezTo>
                      <a:pt x="1" y="0"/>
                      <a:pt x="1" y="1"/>
                      <a:pt x="1" y="1"/>
                    </a:cubicBezTo>
                    <a:cubicBezTo>
                      <a:pt x="1" y="2"/>
                      <a:pt x="0" y="3"/>
                      <a:pt x="0" y="4"/>
                    </a:cubicBezTo>
                    <a:cubicBezTo>
                      <a:pt x="0" y="4"/>
                      <a:pt x="1" y="5"/>
                      <a:pt x="0" y="5"/>
                    </a:cubicBezTo>
                    <a:cubicBezTo>
                      <a:pt x="0" y="5"/>
                      <a:pt x="1" y="5"/>
                      <a:pt x="1" y="6"/>
                    </a:cubicBezTo>
                    <a:cubicBezTo>
                      <a:pt x="1" y="5"/>
                      <a:pt x="2" y="5"/>
                      <a:pt x="2" y="6"/>
                    </a:cubicBezTo>
                    <a:cubicBezTo>
                      <a:pt x="2" y="6"/>
                      <a:pt x="2" y="6"/>
                      <a:pt x="2" y="6"/>
                    </a:cubicBezTo>
                    <a:cubicBezTo>
                      <a:pt x="2" y="6"/>
                      <a:pt x="1" y="7"/>
                      <a:pt x="1" y="7"/>
                    </a:cubicBezTo>
                    <a:cubicBezTo>
                      <a:pt x="2" y="7"/>
                      <a:pt x="2" y="7"/>
                      <a:pt x="3" y="8"/>
                    </a:cubicBezTo>
                    <a:cubicBezTo>
                      <a:pt x="2" y="8"/>
                      <a:pt x="2" y="8"/>
                      <a:pt x="2" y="8"/>
                    </a:cubicBezTo>
                    <a:cubicBezTo>
                      <a:pt x="2" y="10"/>
                      <a:pt x="8" y="11"/>
                      <a:pt x="7" y="12"/>
                    </a:cubicBezTo>
                    <a:cubicBezTo>
                      <a:pt x="7" y="11"/>
                      <a:pt x="5" y="10"/>
                      <a:pt x="4" y="12"/>
                    </a:cubicBezTo>
                    <a:cubicBezTo>
                      <a:pt x="5" y="12"/>
                      <a:pt x="5" y="11"/>
                      <a:pt x="6" y="12"/>
                    </a:cubicBezTo>
                    <a:cubicBezTo>
                      <a:pt x="6" y="12"/>
                      <a:pt x="5" y="12"/>
                      <a:pt x="5" y="12"/>
                    </a:cubicBezTo>
                    <a:cubicBezTo>
                      <a:pt x="5" y="13"/>
                      <a:pt x="6" y="14"/>
                      <a:pt x="7" y="14"/>
                    </a:cubicBezTo>
                    <a:cubicBezTo>
                      <a:pt x="8" y="14"/>
                      <a:pt x="9" y="14"/>
                      <a:pt x="1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3" name="Freeform 2010">
                <a:extLst>
                  <a:ext uri="{FF2B5EF4-FFF2-40B4-BE49-F238E27FC236}">
                    <a16:creationId xmlns:a16="http://schemas.microsoft.com/office/drawing/2014/main" id="{543A08D8-48A9-42FF-9F56-A45671544112}"/>
                  </a:ext>
                </a:extLst>
              </p:cNvPr>
              <p:cNvSpPr>
                <a:spLocks/>
              </p:cNvSpPr>
              <p:nvPr/>
            </p:nvSpPr>
            <p:spPr bwMode="auto">
              <a:xfrm>
                <a:off x="1568" y="1340"/>
                <a:ext cx="33" cy="17"/>
              </a:xfrm>
              <a:custGeom>
                <a:avLst/>
                <a:gdLst>
                  <a:gd name="T0" fmla="*/ 5 w 14"/>
                  <a:gd name="T1" fmla="*/ 5 h 7"/>
                  <a:gd name="T2" fmla="*/ 9 w 14"/>
                  <a:gd name="T3" fmla="*/ 6 h 7"/>
                  <a:gd name="T4" fmla="*/ 13 w 14"/>
                  <a:gd name="T5" fmla="*/ 7 h 7"/>
                  <a:gd name="T6" fmla="*/ 10 w 14"/>
                  <a:gd name="T7" fmla="*/ 1 h 7"/>
                  <a:gd name="T8" fmla="*/ 3 w 14"/>
                  <a:gd name="T9" fmla="*/ 0 h 7"/>
                  <a:gd name="T10" fmla="*/ 0 w 14"/>
                  <a:gd name="T11" fmla="*/ 2 h 7"/>
                  <a:gd name="T12" fmla="*/ 5 w 14"/>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14" h="7">
                    <a:moveTo>
                      <a:pt x="5" y="5"/>
                    </a:moveTo>
                    <a:cubicBezTo>
                      <a:pt x="6" y="5"/>
                      <a:pt x="8" y="5"/>
                      <a:pt x="9" y="6"/>
                    </a:cubicBezTo>
                    <a:cubicBezTo>
                      <a:pt x="10" y="7"/>
                      <a:pt x="12" y="6"/>
                      <a:pt x="13" y="7"/>
                    </a:cubicBezTo>
                    <a:cubicBezTo>
                      <a:pt x="14" y="4"/>
                      <a:pt x="12" y="3"/>
                      <a:pt x="10" y="1"/>
                    </a:cubicBezTo>
                    <a:cubicBezTo>
                      <a:pt x="8" y="0"/>
                      <a:pt x="5" y="0"/>
                      <a:pt x="3" y="0"/>
                    </a:cubicBezTo>
                    <a:cubicBezTo>
                      <a:pt x="2" y="1"/>
                      <a:pt x="0" y="1"/>
                      <a:pt x="0" y="2"/>
                    </a:cubicBezTo>
                    <a:cubicBezTo>
                      <a:pt x="0" y="3"/>
                      <a:pt x="3" y="4"/>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4" name="Freeform 2011">
                <a:extLst>
                  <a:ext uri="{FF2B5EF4-FFF2-40B4-BE49-F238E27FC236}">
                    <a16:creationId xmlns:a16="http://schemas.microsoft.com/office/drawing/2014/main" id="{977210EF-20DE-4BB5-9D0A-ACB4636CAE21}"/>
                  </a:ext>
                </a:extLst>
              </p:cNvPr>
              <p:cNvSpPr>
                <a:spLocks/>
              </p:cNvSpPr>
              <p:nvPr/>
            </p:nvSpPr>
            <p:spPr bwMode="auto">
              <a:xfrm>
                <a:off x="1617" y="1227"/>
                <a:ext cx="29" cy="28"/>
              </a:xfrm>
              <a:custGeom>
                <a:avLst/>
                <a:gdLst>
                  <a:gd name="T0" fmla="*/ 8 w 12"/>
                  <a:gd name="T1" fmla="*/ 10 h 12"/>
                  <a:gd name="T2" fmla="*/ 10 w 12"/>
                  <a:gd name="T3" fmla="*/ 6 h 12"/>
                  <a:gd name="T4" fmla="*/ 11 w 12"/>
                  <a:gd name="T5" fmla="*/ 3 h 12"/>
                  <a:gd name="T6" fmla="*/ 9 w 12"/>
                  <a:gd name="T7" fmla="*/ 2 h 12"/>
                  <a:gd name="T8" fmla="*/ 8 w 12"/>
                  <a:gd name="T9" fmla="*/ 1 h 12"/>
                  <a:gd name="T10" fmla="*/ 7 w 12"/>
                  <a:gd name="T11" fmla="*/ 0 h 12"/>
                  <a:gd name="T12" fmla="*/ 7 w 12"/>
                  <a:gd name="T13" fmla="*/ 3 h 12"/>
                  <a:gd name="T14" fmla="*/ 6 w 12"/>
                  <a:gd name="T15" fmla="*/ 6 h 12"/>
                  <a:gd name="T16" fmla="*/ 4 w 12"/>
                  <a:gd name="T17" fmla="*/ 7 h 12"/>
                  <a:gd name="T18" fmla="*/ 5 w 12"/>
                  <a:gd name="T19" fmla="*/ 1 h 12"/>
                  <a:gd name="T20" fmla="*/ 4 w 12"/>
                  <a:gd name="T21" fmla="*/ 5 h 12"/>
                  <a:gd name="T22" fmla="*/ 2 w 12"/>
                  <a:gd name="T23" fmla="*/ 7 h 12"/>
                  <a:gd name="T24" fmla="*/ 0 w 12"/>
                  <a:gd name="T25" fmla="*/ 10 h 12"/>
                  <a:gd name="T26" fmla="*/ 1 w 12"/>
                  <a:gd name="T27" fmla="*/ 11 h 12"/>
                  <a:gd name="T28" fmla="*/ 5 w 12"/>
                  <a:gd name="T29" fmla="*/ 7 h 12"/>
                  <a:gd name="T30" fmla="*/ 4 w 12"/>
                  <a:gd name="T31" fmla="*/ 8 h 12"/>
                  <a:gd name="T32" fmla="*/ 2 w 12"/>
                  <a:gd name="T33" fmla="*/ 12 h 12"/>
                  <a:gd name="T34" fmla="*/ 6 w 12"/>
                  <a:gd name="T35" fmla="*/ 9 h 12"/>
                  <a:gd name="T36" fmla="*/ 9 w 12"/>
                  <a:gd name="T37" fmla="*/ 5 h 12"/>
                  <a:gd name="T38" fmla="*/ 7 w 12"/>
                  <a:gd name="T39" fmla="*/ 11 h 12"/>
                  <a:gd name="T40" fmla="*/ 9 w 12"/>
                  <a:gd name="T41" fmla="*/ 6 h 12"/>
                  <a:gd name="T42" fmla="*/ 10 w 12"/>
                  <a:gd name="T43" fmla="*/ 3 h 12"/>
                  <a:gd name="T44" fmla="*/ 8 w 12"/>
                  <a:gd name="T4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2">
                    <a:moveTo>
                      <a:pt x="8" y="10"/>
                    </a:moveTo>
                    <a:cubicBezTo>
                      <a:pt x="9" y="9"/>
                      <a:pt x="9" y="7"/>
                      <a:pt x="10" y="6"/>
                    </a:cubicBezTo>
                    <a:cubicBezTo>
                      <a:pt x="11" y="5"/>
                      <a:pt x="12" y="4"/>
                      <a:pt x="11" y="3"/>
                    </a:cubicBezTo>
                    <a:cubicBezTo>
                      <a:pt x="10" y="2"/>
                      <a:pt x="10" y="3"/>
                      <a:pt x="9" y="2"/>
                    </a:cubicBezTo>
                    <a:cubicBezTo>
                      <a:pt x="9" y="2"/>
                      <a:pt x="9" y="1"/>
                      <a:pt x="8" y="1"/>
                    </a:cubicBezTo>
                    <a:cubicBezTo>
                      <a:pt x="8" y="1"/>
                      <a:pt x="8" y="0"/>
                      <a:pt x="7" y="0"/>
                    </a:cubicBezTo>
                    <a:cubicBezTo>
                      <a:pt x="7" y="1"/>
                      <a:pt x="7" y="2"/>
                      <a:pt x="7" y="3"/>
                    </a:cubicBezTo>
                    <a:cubicBezTo>
                      <a:pt x="7" y="4"/>
                      <a:pt x="6" y="5"/>
                      <a:pt x="6" y="6"/>
                    </a:cubicBezTo>
                    <a:cubicBezTo>
                      <a:pt x="5" y="6"/>
                      <a:pt x="4" y="6"/>
                      <a:pt x="4" y="7"/>
                    </a:cubicBezTo>
                    <a:cubicBezTo>
                      <a:pt x="5" y="5"/>
                      <a:pt x="6" y="3"/>
                      <a:pt x="5" y="1"/>
                    </a:cubicBezTo>
                    <a:cubicBezTo>
                      <a:pt x="5" y="2"/>
                      <a:pt x="5" y="4"/>
                      <a:pt x="4" y="5"/>
                    </a:cubicBezTo>
                    <a:cubicBezTo>
                      <a:pt x="4" y="6"/>
                      <a:pt x="3" y="6"/>
                      <a:pt x="2" y="7"/>
                    </a:cubicBezTo>
                    <a:cubicBezTo>
                      <a:pt x="1" y="8"/>
                      <a:pt x="1" y="9"/>
                      <a:pt x="0" y="10"/>
                    </a:cubicBezTo>
                    <a:cubicBezTo>
                      <a:pt x="0" y="10"/>
                      <a:pt x="1" y="11"/>
                      <a:pt x="1" y="11"/>
                    </a:cubicBezTo>
                    <a:cubicBezTo>
                      <a:pt x="2" y="10"/>
                      <a:pt x="4" y="7"/>
                      <a:pt x="5" y="7"/>
                    </a:cubicBezTo>
                    <a:cubicBezTo>
                      <a:pt x="6" y="7"/>
                      <a:pt x="5" y="8"/>
                      <a:pt x="4" y="8"/>
                    </a:cubicBezTo>
                    <a:cubicBezTo>
                      <a:pt x="4" y="9"/>
                      <a:pt x="3" y="11"/>
                      <a:pt x="2" y="12"/>
                    </a:cubicBezTo>
                    <a:cubicBezTo>
                      <a:pt x="4" y="11"/>
                      <a:pt x="5" y="11"/>
                      <a:pt x="6" y="9"/>
                    </a:cubicBezTo>
                    <a:cubicBezTo>
                      <a:pt x="7" y="8"/>
                      <a:pt x="8" y="7"/>
                      <a:pt x="9" y="5"/>
                    </a:cubicBezTo>
                    <a:cubicBezTo>
                      <a:pt x="9" y="7"/>
                      <a:pt x="8" y="9"/>
                      <a:pt x="7" y="11"/>
                    </a:cubicBezTo>
                    <a:cubicBezTo>
                      <a:pt x="8" y="9"/>
                      <a:pt x="9" y="7"/>
                      <a:pt x="9" y="6"/>
                    </a:cubicBezTo>
                    <a:cubicBezTo>
                      <a:pt x="8" y="6"/>
                      <a:pt x="10" y="4"/>
                      <a:pt x="10" y="3"/>
                    </a:cubicBezTo>
                    <a:cubicBezTo>
                      <a:pt x="10" y="5"/>
                      <a:pt x="8" y="8"/>
                      <a:pt x="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5" name="Freeform 2012">
                <a:extLst>
                  <a:ext uri="{FF2B5EF4-FFF2-40B4-BE49-F238E27FC236}">
                    <a16:creationId xmlns:a16="http://schemas.microsoft.com/office/drawing/2014/main" id="{40A85D89-7795-4528-A98A-9A55F67A0530}"/>
                  </a:ext>
                </a:extLst>
              </p:cNvPr>
              <p:cNvSpPr>
                <a:spLocks/>
              </p:cNvSpPr>
              <p:nvPr/>
            </p:nvSpPr>
            <p:spPr bwMode="auto">
              <a:xfrm>
                <a:off x="2062" y="1534"/>
                <a:ext cx="43" cy="47"/>
              </a:xfrm>
              <a:custGeom>
                <a:avLst/>
                <a:gdLst>
                  <a:gd name="T0" fmla="*/ 14 w 18"/>
                  <a:gd name="T1" fmla="*/ 18 h 20"/>
                  <a:gd name="T2" fmla="*/ 17 w 18"/>
                  <a:gd name="T3" fmla="*/ 15 h 20"/>
                  <a:gd name="T4" fmla="*/ 18 w 18"/>
                  <a:gd name="T5" fmla="*/ 13 h 20"/>
                  <a:gd name="T6" fmla="*/ 18 w 18"/>
                  <a:gd name="T7" fmla="*/ 12 h 20"/>
                  <a:gd name="T8" fmla="*/ 15 w 18"/>
                  <a:gd name="T9" fmla="*/ 11 h 20"/>
                  <a:gd name="T10" fmla="*/ 14 w 18"/>
                  <a:gd name="T11" fmla="*/ 10 h 20"/>
                  <a:gd name="T12" fmla="*/ 10 w 18"/>
                  <a:gd name="T13" fmla="*/ 13 h 20"/>
                  <a:gd name="T14" fmla="*/ 13 w 18"/>
                  <a:gd name="T15" fmla="*/ 11 h 20"/>
                  <a:gd name="T16" fmla="*/ 9 w 18"/>
                  <a:gd name="T17" fmla="*/ 14 h 20"/>
                  <a:gd name="T18" fmla="*/ 8 w 18"/>
                  <a:gd name="T19" fmla="*/ 15 h 20"/>
                  <a:gd name="T20" fmla="*/ 9 w 18"/>
                  <a:gd name="T21" fmla="*/ 15 h 20"/>
                  <a:gd name="T22" fmla="*/ 10 w 18"/>
                  <a:gd name="T23" fmla="*/ 16 h 20"/>
                  <a:gd name="T24" fmla="*/ 9 w 18"/>
                  <a:gd name="T25" fmla="*/ 17 h 20"/>
                  <a:gd name="T26" fmla="*/ 7 w 18"/>
                  <a:gd name="T27" fmla="*/ 18 h 20"/>
                  <a:gd name="T28" fmla="*/ 5 w 18"/>
                  <a:gd name="T29" fmla="*/ 16 h 20"/>
                  <a:gd name="T30" fmla="*/ 5 w 18"/>
                  <a:gd name="T31" fmla="*/ 16 h 20"/>
                  <a:gd name="T32" fmla="*/ 5 w 18"/>
                  <a:gd name="T33" fmla="*/ 16 h 20"/>
                  <a:gd name="T34" fmla="*/ 5 w 18"/>
                  <a:gd name="T35" fmla="*/ 16 h 20"/>
                  <a:gd name="T36" fmla="*/ 5 w 18"/>
                  <a:gd name="T37" fmla="*/ 16 h 20"/>
                  <a:gd name="T38" fmla="*/ 7 w 18"/>
                  <a:gd name="T39" fmla="*/ 15 h 20"/>
                  <a:gd name="T40" fmla="*/ 8 w 18"/>
                  <a:gd name="T41" fmla="*/ 15 h 20"/>
                  <a:gd name="T42" fmla="*/ 8 w 18"/>
                  <a:gd name="T43" fmla="*/ 14 h 20"/>
                  <a:gd name="T44" fmla="*/ 5 w 18"/>
                  <a:gd name="T45" fmla="*/ 15 h 20"/>
                  <a:gd name="T46" fmla="*/ 9 w 18"/>
                  <a:gd name="T47" fmla="*/ 13 h 20"/>
                  <a:gd name="T48" fmla="*/ 10 w 18"/>
                  <a:gd name="T49" fmla="*/ 12 h 20"/>
                  <a:gd name="T50" fmla="*/ 11 w 18"/>
                  <a:gd name="T51" fmla="*/ 11 h 20"/>
                  <a:gd name="T52" fmla="*/ 10 w 18"/>
                  <a:gd name="T53" fmla="*/ 11 h 20"/>
                  <a:gd name="T54" fmla="*/ 12 w 18"/>
                  <a:gd name="T55" fmla="*/ 8 h 20"/>
                  <a:gd name="T56" fmla="*/ 12 w 18"/>
                  <a:gd name="T57" fmla="*/ 8 h 20"/>
                  <a:gd name="T58" fmla="*/ 12 w 18"/>
                  <a:gd name="T59" fmla="*/ 6 h 20"/>
                  <a:gd name="T60" fmla="*/ 13 w 18"/>
                  <a:gd name="T61" fmla="*/ 3 h 20"/>
                  <a:gd name="T62" fmla="*/ 11 w 18"/>
                  <a:gd name="T63" fmla="*/ 2 h 20"/>
                  <a:gd name="T64" fmla="*/ 10 w 18"/>
                  <a:gd name="T65" fmla="*/ 1 h 20"/>
                  <a:gd name="T66" fmla="*/ 10 w 18"/>
                  <a:gd name="T67" fmla="*/ 1 h 20"/>
                  <a:gd name="T68" fmla="*/ 8 w 18"/>
                  <a:gd name="T69" fmla="*/ 3 h 20"/>
                  <a:gd name="T70" fmla="*/ 7 w 18"/>
                  <a:gd name="T71" fmla="*/ 4 h 20"/>
                  <a:gd name="T72" fmla="*/ 6 w 18"/>
                  <a:gd name="T73" fmla="*/ 6 h 20"/>
                  <a:gd name="T74" fmla="*/ 6 w 18"/>
                  <a:gd name="T75" fmla="*/ 6 h 20"/>
                  <a:gd name="T76" fmla="*/ 5 w 18"/>
                  <a:gd name="T77" fmla="*/ 6 h 20"/>
                  <a:gd name="T78" fmla="*/ 5 w 18"/>
                  <a:gd name="T79" fmla="*/ 6 h 20"/>
                  <a:gd name="T80" fmla="*/ 5 w 18"/>
                  <a:gd name="T81" fmla="*/ 8 h 20"/>
                  <a:gd name="T82" fmla="*/ 2 w 18"/>
                  <a:gd name="T83" fmla="*/ 11 h 20"/>
                  <a:gd name="T84" fmla="*/ 1 w 18"/>
                  <a:gd name="T85" fmla="*/ 12 h 20"/>
                  <a:gd name="T86" fmla="*/ 1 w 18"/>
                  <a:gd name="T87" fmla="*/ 13 h 20"/>
                  <a:gd name="T88" fmla="*/ 0 w 18"/>
                  <a:gd name="T89" fmla="*/ 15 h 20"/>
                  <a:gd name="T90" fmla="*/ 3 w 18"/>
                  <a:gd name="T91" fmla="*/ 19 h 20"/>
                  <a:gd name="T92" fmla="*/ 4 w 18"/>
                  <a:gd name="T93" fmla="*/ 20 h 20"/>
                  <a:gd name="T94" fmla="*/ 5 w 18"/>
                  <a:gd name="T95" fmla="*/ 19 h 20"/>
                  <a:gd name="T96" fmla="*/ 7 w 18"/>
                  <a:gd name="T97" fmla="*/ 19 h 20"/>
                  <a:gd name="T98" fmla="*/ 12 w 18"/>
                  <a:gd name="T9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20">
                    <a:moveTo>
                      <a:pt x="12" y="18"/>
                    </a:moveTo>
                    <a:cubicBezTo>
                      <a:pt x="13" y="18"/>
                      <a:pt x="13" y="18"/>
                      <a:pt x="14" y="18"/>
                    </a:cubicBezTo>
                    <a:cubicBezTo>
                      <a:pt x="15" y="17"/>
                      <a:pt x="14" y="15"/>
                      <a:pt x="16" y="16"/>
                    </a:cubicBezTo>
                    <a:cubicBezTo>
                      <a:pt x="16" y="15"/>
                      <a:pt x="17" y="15"/>
                      <a:pt x="17" y="15"/>
                    </a:cubicBezTo>
                    <a:cubicBezTo>
                      <a:pt x="17" y="15"/>
                      <a:pt x="18" y="15"/>
                      <a:pt x="18" y="14"/>
                    </a:cubicBezTo>
                    <a:cubicBezTo>
                      <a:pt x="18" y="14"/>
                      <a:pt x="18" y="14"/>
                      <a:pt x="18" y="13"/>
                    </a:cubicBezTo>
                    <a:cubicBezTo>
                      <a:pt x="18" y="13"/>
                      <a:pt x="18" y="13"/>
                      <a:pt x="18" y="12"/>
                    </a:cubicBezTo>
                    <a:cubicBezTo>
                      <a:pt x="18" y="12"/>
                      <a:pt x="18" y="12"/>
                      <a:pt x="18" y="12"/>
                    </a:cubicBezTo>
                    <a:cubicBezTo>
                      <a:pt x="18" y="12"/>
                      <a:pt x="17" y="12"/>
                      <a:pt x="17" y="12"/>
                    </a:cubicBezTo>
                    <a:cubicBezTo>
                      <a:pt x="17" y="11"/>
                      <a:pt x="16" y="11"/>
                      <a:pt x="15" y="11"/>
                    </a:cubicBezTo>
                    <a:cubicBezTo>
                      <a:pt x="15" y="11"/>
                      <a:pt x="15" y="11"/>
                      <a:pt x="15" y="11"/>
                    </a:cubicBezTo>
                    <a:cubicBezTo>
                      <a:pt x="14" y="11"/>
                      <a:pt x="14" y="10"/>
                      <a:pt x="14" y="10"/>
                    </a:cubicBezTo>
                    <a:cubicBezTo>
                      <a:pt x="12" y="9"/>
                      <a:pt x="10" y="12"/>
                      <a:pt x="9" y="13"/>
                    </a:cubicBezTo>
                    <a:cubicBezTo>
                      <a:pt x="10" y="13"/>
                      <a:pt x="10" y="13"/>
                      <a:pt x="10" y="13"/>
                    </a:cubicBezTo>
                    <a:cubicBezTo>
                      <a:pt x="10" y="13"/>
                      <a:pt x="10" y="13"/>
                      <a:pt x="11" y="12"/>
                    </a:cubicBezTo>
                    <a:cubicBezTo>
                      <a:pt x="11" y="12"/>
                      <a:pt x="12" y="11"/>
                      <a:pt x="13" y="11"/>
                    </a:cubicBezTo>
                    <a:cubicBezTo>
                      <a:pt x="12" y="12"/>
                      <a:pt x="11" y="13"/>
                      <a:pt x="9" y="14"/>
                    </a:cubicBezTo>
                    <a:cubicBezTo>
                      <a:pt x="9" y="14"/>
                      <a:pt x="9" y="14"/>
                      <a:pt x="9" y="14"/>
                    </a:cubicBezTo>
                    <a:cubicBezTo>
                      <a:pt x="8" y="14"/>
                      <a:pt x="8" y="15"/>
                      <a:pt x="8" y="15"/>
                    </a:cubicBezTo>
                    <a:cubicBezTo>
                      <a:pt x="8" y="15"/>
                      <a:pt x="8" y="15"/>
                      <a:pt x="8" y="15"/>
                    </a:cubicBezTo>
                    <a:cubicBezTo>
                      <a:pt x="8" y="15"/>
                      <a:pt x="8" y="15"/>
                      <a:pt x="8" y="15"/>
                    </a:cubicBezTo>
                    <a:cubicBezTo>
                      <a:pt x="8" y="15"/>
                      <a:pt x="8" y="15"/>
                      <a:pt x="9" y="15"/>
                    </a:cubicBezTo>
                    <a:cubicBezTo>
                      <a:pt x="10" y="15"/>
                      <a:pt x="11" y="14"/>
                      <a:pt x="12" y="14"/>
                    </a:cubicBezTo>
                    <a:cubicBezTo>
                      <a:pt x="11" y="15"/>
                      <a:pt x="10" y="15"/>
                      <a:pt x="10" y="16"/>
                    </a:cubicBezTo>
                    <a:cubicBezTo>
                      <a:pt x="9" y="16"/>
                      <a:pt x="9" y="16"/>
                      <a:pt x="9" y="17"/>
                    </a:cubicBezTo>
                    <a:cubicBezTo>
                      <a:pt x="9" y="17"/>
                      <a:pt x="9" y="17"/>
                      <a:pt x="9" y="17"/>
                    </a:cubicBezTo>
                    <a:cubicBezTo>
                      <a:pt x="8" y="17"/>
                      <a:pt x="8" y="17"/>
                      <a:pt x="8" y="17"/>
                    </a:cubicBezTo>
                    <a:cubicBezTo>
                      <a:pt x="8" y="18"/>
                      <a:pt x="7" y="18"/>
                      <a:pt x="7" y="18"/>
                    </a:cubicBezTo>
                    <a:cubicBezTo>
                      <a:pt x="6" y="18"/>
                      <a:pt x="5" y="18"/>
                      <a:pt x="4" y="18"/>
                    </a:cubicBezTo>
                    <a:cubicBezTo>
                      <a:pt x="4" y="17"/>
                      <a:pt x="5" y="17"/>
                      <a:pt x="5" y="16"/>
                    </a:cubicBezTo>
                    <a:cubicBezTo>
                      <a:pt x="5" y="16"/>
                      <a:pt x="6" y="16"/>
                      <a:pt x="6" y="16"/>
                    </a:cubicBezTo>
                    <a:cubicBezTo>
                      <a:pt x="6" y="16"/>
                      <a:pt x="5" y="16"/>
                      <a:pt x="5" y="16"/>
                    </a:cubicBezTo>
                    <a:cubicBezTo>
                      <a:pt x="5" y="16"/>
                      <a:pt x="5" y="16"/>
                      <a:pt x="5" y="16"/>
                    </a:cubicBezTo>
                    <a:cubicBezTo>
                      <a:pt x="5" y="16"/>
                      <a:pt x="5" y="16"/>
                      <a:pt x="5" y="16"/>
                    </a:cubicBezTo>
                    <a:cubicBezTo>
                      <a:pt x="5" y="16"/>
                      <a:pt x="5" y="16"/>
                      <a:pt x="5" y="16"/>
                    </a:cubicBezTo>
                    <a:cubicBezTo>
                      <a:pt x="5" y="16"/>
                      <a:pt x="5" y="16"/>
                      <a:pt x="5" y="16"/>
                    </a:cubicBezTo>
                    <a:cubicBezTo>
                      <a:pt x="5" y="16"/>
                      <a:pt x="5" y="16"/>
                      <a:pt x="5" y="16"/>
                    </a:cubicBezTo>
                    <a:cubicBezTo>
                      <a:pt x="5" y="16"/>
                      <a:pt x="5" y="16"/>
                      <a:pt x="5" y="16"/>
                    </a:cubicBezTo>
                    <a:cubicBezTo>
                      <a:pt x="5" y="15"/>
                      <a:pt x="6" y="15"/>
                      <a:pt x="6" y="15"/>
                    </a:cubicBezTo>
                    <a:cubicBezTo>
                      <a:pt x="6" y="15"/>
                      <a:pt x="6" y="15"/>
                      <a:pt x="7" y="15"/>
                    </a:cubicBezTo>
                    <a:cubicBezTo>
                      <a:pt x="7" y="15"/>
                      <a:pt x="7" y="15"/>
                      <a:pt x="8" y="15"/>
                    </a:cubicBezTo>
                    <a:cubicBezTo>
                      <a:pt x="8" y="15"/>
                      <a:pt x="8" y="15"/>
                      <a:pt x="8" y="15"/>
                    </a:cubicBezTo>
                    <a:cubicBezTo>
                      <a:pt x="8" y="14"/>
                      <a:pt x="8" y="14"/>
                      <a:pt x="8" y="14"/>
                    </a:cubicBezTo>
                    <a:cubicBezTo>
                      <a:pt x="8" y="14"/>
                      <a:pt x="8" y="14"/>
                      <a:pt x="8" y="14"/>
                    </a:cubicBezTo>
                    <a:cubicBezTo>
                      <a:pt x="8" y="14"/>
                      <a:pt x="8" y="14"/>
                      <a:pt x="8" y="13"/>
                    </a:cubicBezTo>
                    <a:cubicBezTo>
                      <a:pt x="7" y="14"/>
                      <a:pt x="6" y="14"/>
                      <a:pt x="5" y="15"/>
                    </a:cubicBezTo>
                    <a:cubicBezTo>
                      <a:pt x="5" y="14"/>
                      <a:pt x="7" y="13"/>
                      <a:pt x="8" y="13"/>
                    </a:cubicBezTo>
                    <a:cubicBezTo>
                      <a:pt x="8" y="13"/>
                      <a:pt x="9" y="13"/>
                      <a:pt x="9" y="13"/>
                    </a:cubicBezTo>
                    <a:cubicBezTo>
                      <a:pt x="9" y="12"/>
                      <a:pt x="10" y="12"/>
                      <a:pt x="10" y="12"/>
                    </a:cubicBezTo>
                    <a:cubicBezTo>
                      <a:pt x="10" y="12"/>
                      <a:pt x="10" y="12"/>
                      <a:pt x="10" y="12"/>
                    </a:cubicBezTo>
                    <a:cubicBezTo>
                      <a:pt x="10" y="12"/>
                      <a:pt x="11" y="12"/>
                      <a:pt x="11" y="11"/>
                    </a:cubicBezTo>
                    <a:cubicBezTo>
                      <a:pt x="11" y="11"/>
                      <a:pt x="11" y="11"/>
                      <a:pt x="11" y="11"/>
                    </a:cubicBezTo>
                    <a:cubicBezTo>
                      <a:pt x="11" y="11"/>
                      <a:pt x="12" y="10"/>
                      <a:pt x="12" y="10"/>
                    </a:cubicBezTo>
                    <a:cubicBezTo>
                      <a:pt x="11" y="10"/>
                      <a:pt x="10" y="11"/>
                      <a:pt x="10" y="11"/>
                    </a:cubicBezTo>
                    <a:cubicBezTo>
                      <a:pt x="10" y="10"/>
                      <a:pt x="11" y="9"/>
                      <a:pt x="12" y="8"/>
                    </a:cubicBezTo>
                    <a:cubicBezTo>
                      <a:pt x="12" y="8"/>
                      <a:pt x="12" y="8"/>
                      <a:pt x="12" y="8"/>
                    </a:cubicBezTo>
                    <a:cubicBezTo>
                      <a:pt x="12" y="8"/>
                      <a:pt x="12" y="8"/>
                      <a:pt x="12" y="8"/>
                    </a:cubicBezTo>
                    <a:cubicBezTo>
                      <a:pt x="12" y="8"/>
                      <a:pt x="12" y="8"/>
                      <a:pt x="12" y="8"/>
                    </a:cubicBezTo>
                    <a:cubicBezTo>
                      <a:pt x="12" y="8"/>
                      <a:pt x="12" y="8"/>
                      <a:pt x="12" y="7"/>
                    </a:cubicBezTo>
                    <a:cubicBezTo>
                      <a:pt x="12" y="7"/>
                      <a:pt x="12" y="6"/>
                      <a:pt x="12" y="6"/>
                    </a:cubicBezTo>
                    <a:cubicBezTo>
                      <a:pt x="12" y="5"/>
                      <a:pt x="12" y="5"/>
                      <a:pt x="12" y="5"/>
                    </a:cubicBezTo>
                    <a:cubicBezTo>
                      <a:pt x="13" y="4"/>
                      <a:pt x="13" y="4"/>
                      <a:pt x="13" y="3"/>
                    </a:cubicBezTo>
                    <a:cubicBezTo>
                      <a:pt x="13" y="3"/>
                      <a:pt x="13" y="3"/>
                      <a:pt x="13" y="3"/>
                    </a:cubicBezTo>
                    <a:cubicBezTo>
                      <a:pt x="13" y="3"/>
                      <a:pt x="11" y="3"/>
                      <a:pt x="11" y="2"/>
                    </a:cubicBezTo>
                    <a:cubicBezTo>
                      <a:pt x="11" y="2"/>
                      <a:pt x="12" y="1"/>
                      <a:pt x="12" y="1"/>
                    </a:cubicBezTo>
                    <a:cubicBezTo>
                      <a:pt x="11" y="1"/>
                      <a:pt x="11" y="0"/>
                      <a:pt x="10" y="1"/>
                    </a:cubicBezTo>
                    <a:cubicBezTo>
                      <a:pt x="10" y="1"/>
                      <a:pt x="10" y="1"/>
                      <a:pt x="10" y="1"/>
                    </a:cubicBezTo>
                    <a:cubicBezTo>
                      <a:pt x="10" y="1"/>
                      <a:pt x="10" y="1"/>
                      <a:pt x="10" y="1"/>
                    </a:cubicBezTo>
                    <a:cubicBezTo>
                      <a:pt x="9" y="1"/>
                      <a:pt x="9" y="2"/>
                      <a:pt x="9" y="2"/>
                    </a:cubicBezTo>
                    <a:cubicBezTo>
                      <a:pt x="9" y="3"/>
                      <a:pt x="8" y="3"/>
                      <a:pt x="8" y="3"/>
                    </a:cubicBezTo>
                    <a:cubicBezTo>
                      <a:pt x="8" y="3"/>
                      <a:pt x="8" y="3"/>
                      <a:pt x="8" y="4"/>
                    </a:cubicBezTo>
                    <a:cubicBezTo>
                      <a:pt x="7" y="4"/>
                      <a:pt x="7" y="4"/>
                      <a:pt x="7" y="4"/>
                    </a:cubicBezTo>
                    <a:cubicBezTo>
                      <a:pt x="7" y="4"/>
                      <a:pt x="7" y="5"/>
                      <a:pt x="6" y="5"/>
                    </a:cubicBezTo>
                    <a:cubicBezTo>
                      <a:pt x="6" y="5"/>
                      <a:pt x="6" y="5"/>
                      <a:pt x="6" y="6"/>
                    </a:cubicBezTo>
                    <a:cubicBezTo>
                      <a:pt x="6" y="6"/>
                      <a:pt x="6" y="6"/>
                      <a:pt x="6" y="6"/>
                    </a:cubicBezTo>
                    <a:cubicBezTo>
                      <a:pt x="6" y="6"/>
                      <a:pt x="6" y="6"/>
                      <a:pt x="6" y="6"/>
                    </a:cubicBezTo>
                    <a:cubicBezTo>
                      <a:pt x="6" y="6"/>
                      <a:pt x="5" y="6"/>
                      <a:pt x="5" y="6"/>
                    </a:cubicBezTo>
                    <a:cubicBezTo>
                      <a:pt x="5" y="6"/>
                      <a:pt x="5" y="6"/>
                      <a:pt x="5" y="6"/>
                    </a:cubicBezTo>
                    <a:cubicBezTo>
                      <a:pt x="5" y="6"/>
                      <a:pt x="5" y="6"/>
                      <a:pt x="5" y="6"/>
                    </a:cubicBezTo>
                    <a:cubicBezTo>
                      <a:pt x="5" y="6"/>
                      <a:pt x="5" y="6"/>
                      <a:pt x="5" y="6"/>
                    </a:cubicBezTo>
                    <a:cubicBezTo>
                      <a:pt x="5" y="6"/>
                      <a:pt x="5" y="7"/>
                      <a:pt x="5" y="7"/>
                    </a:cubicBezTo>
                    <a:cubicBezTo>
                      <a:pt x="5" y="7"/>
                      <a:pt x="5" y="7"/>
                      <a:pt x="5" y="8"/>
                    </a:cubicBezTo>
                    <a:cubicBezTo>
                      <a:pt x="5" y="8"/>
                      <a:pt x="5" y="8"/>
                      <a:pt x="5" y="8"/>
                    </a:cubicBezTo>
                    <a:cubicBezTo>
                      <a:pt x="4" y="9"/>
                      <a:pt x="3" y="10"/>
                      <a:pt x="2" y="11"/>
                    </a:cubicBezTo>
                    <a:cubicBezTo>
                      <a:pt x="2" y="11"/>
                      <a:pt x="2" y="11"/>
                      <a:pt x="2" y="11"/>
                    </a:cubicBezTo>
                    <a:cubicBezTo>
                      <a:pt x="2" y="12"/>
                      <a:pt x="1" y="12"/>
                      <a:pt x="1" y="12"/>
                    </a:cubicBezTo>
                    <a:cubicBezTo>
                      <a:pt x="1" y="12"/>
                      <a:pt x="1" y="12"/>
                      <a:pt x="1" y="13"/>
                    </a:cubicBezTo>
                    <a:cubicBezTo>
                      <a:pt x="1" y="13"/>
                      <a:pt x="1" y="13"/>
                      <a:pt x="1" y="13"/>
                    </a:cubicBezTo>
                    <a:cubicBezTo>
                      <a:pt x="0" y="13"/>
                      <a:pt x="0" y="14"/>
                      <a:pt x="0" y="14"/>
                    </a:cubicBezTo>
                    <a:cubicBezTo>
                      <a:pt x="0" y="14"/>
                      <a:pt x="0" y="14"/>
                      <a:pt x="0" y="15"/>
                    </a:cubicBezTo>
                    <a:cubicBezTo>
                      <a:pt x="1" y="15"/>
                      <a:pt x="1" y="16"/>
                      <a:pt x="1" y="17"/>
                    </a:cubicBezTo>
                    <a:cubicBezTo>
                      <a:pt x="1" y="18"/>
                      <a:pt x="2" y="20"/>
                      <a:pt x="3" y="19"/>
                    </a:cubicBezTo>
                    <a:cubicBezTo>
                      <a:pt x="3" y="19"/>
                      <a:pt x="4" y="19"/>
                      <a:pt x="4" y="19"/>
                    </a:cubicBezTo>
                    <a:cubicBezTo>
                      <a:pt x="4" y="19"/>
                      <a:pt x="4" y="20"/>
                      <a:pt x="4" y="20"/>
                    </a:cubicBezTo>
                    <a:cubicBezTo>
                      <a:pt x="4" y="20"/>
                      <a:pt x="4" y="20"/>
                      <a:pt x="5" y="20"/>
                    </a:cubicBezTo>
                    <a:cubicBezTo>
                      <a:pt x="5" y="20"/>
                      <a:pt x="5" y="19"/>
                      <a:pt x="5" y="19"/>
                    </a:cubicBezTo>
                    <a:cubicBezTo>
                      <a:pt x="5" y="19"/>
                      <a:pt x="5" y="19"/>
                      <a:pt x="6" y="19"/>
                    </a:cubicBezTo>
                    <a:cubicBezTo>
                      <a:pt x="6" y="19"/>
                      <a:pt x="7" y="19"/>
                      <a:pt x="7" y="19"/>
                    </a:cubicBezTo>
                    <a:cubicBezTo>
                      <a:pt x="8" y="19"/>
                      <a:pt x="8" y="19"/>
                      <a:pt x="9" y="19"/>
                    </a:cubicBezTo>
                    <a:cubicBezTo>
                      <a:pt x="10" y="19"/>
                      <a:pt x="11" y="19"/>
                      <a:pt x="12" y="19"/>
                    </a:cubicBezTo>
                    <a:cubicBezTo>
                      <a:pt x="12" y="18"/>
                      <a:pt x="12" y="18"/>
                      <a:pt x="1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6" name="Freeform 2013">
                <a:extLst>
                  <a:ext uri="{FF2B5EF4-FFF2-40B4-BE49-F238E27FC236}">
                    <a16:creationId xmlns:a16="http://schemas.microsoft.com/office/drawing/2014/main" id="{AA2C5B4F-95A3-4A83-A8CD-30318BD8A8FB}"/>
                  </a:ext>
                </a:extLst>
              </p:cNvPr>
              <p:cNvSpPr>
                <a:spLocks/>
              </p:cNvSpPr>
              <p:nvPr/>
            </p:nvSpPr>
            <p:spPr bwMode="auto">
              <a:xfrm>
                <a:off x="426" y="1354"/>
                <a:ext cx="12" cy="12"/>
              </a:xfrm>
              <a:custGeom>
                <a:avLst/>
                <a:gdLst>
                  <a:gd name="T0" fmla="*/ 1 w 5"/>
                  <a:gd name="T1" fmla="*/ 0 h 5"/>
                  <a:gd name="T2" fmla="*/ 2 w 5"/>
                  <a:gd name="T3" fmla="*/ 3 h 5"/>
                  <a:gd name="T4" fmla="*/ 3 w 5"/>
                  <a:gd name="T5" fmla="*/ 5 h 5"/>
                  <a:gd name="T6" fmla="*/ 1 w 5"/>
                  <a:gd name="T7" fmla="*/ 0 h 5"/>
                </a:gdLst>
                <a:ahLst/>
                <a:cxnLst>
                  <a:cxn ang="0">
                    <a:pos x="T0" y="T1"/>
                  </a:cxn>
                  <a:cxn ang="0">
                    <a:pos x="T2" y="T3"/>
                  </a:cxn>
                  <a:cxn ang="0">
                    <a:pos x="T4" y="T5"/>
                  </a:cxn>
                  <a:cxn ang="0">
                    <a:pos x="T6" y="T7"/>
                  </a:cxn>
                </a:cxnLst>
                <a:rect l="0" t="0" r="r" b="b"/>
                <a:pathLst>
                  <a:path w="5" h="5">
                    <a:moveTo>
                      <a:pt x="1" y="0"/>
                    </a:moveTo>
                    <a:cubicBezTo>
                      <a:pt x="0" y="1"/>
                      <a:pt x="1" y="2"/>
                      <a:pt x="2" y="3"/>
                    </a:cubicBezTo>
                    <a:cubicBezTo>
                      <a:pt x="3" y="4"/>
                      <a:pt x="3" y="4"/>
                      <a:pt x="3" y="5"/>
                    </a:cubicBezTo>
                    <a:cubicBezTo>
                      <a:pt x="5" y="3"/>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7" name="Freeform 2014">
                <a:extLst>
                  <a:ext uri="{FF2B5EF4-FFF2-40B4-BE49-F238E27FC236}">
                    <a16:creationId xmlns:a16="http://schemas.microsoft.com/office/drawing/2014/main" id="{7D04F55D-8926-4C12-B642-03EB7B0BDF72}"/>
                  </a:ext>
                </a:extLst>
              </p:cNvPr>
              <p:cNvSpPr>
                <a:spLocks/>
              </p:cNvSpPr>
              <p:nvPr/>
            </p:nvSpPr>
            <p:spPr bwMode="auto">
              <a:xfrm>
                <a:off x="2100" y="1626"/>
                <a:ext cx="7" cy="3"/>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cubicBezTo>
                      <a:pt x="1" y="1"/>
                      <a:pt x="2" y="1"/>
                      <a:pt x="3" y="0"/>
                    </a:cubicBezTo>
                    <a:cubicBezTo>
                      <a:pt x="2" y="1"/>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8" name="Freeform 2015">
                <a:extLst>
                  <a:ext uri="{FF2B5EF4-FFF2-40B4-BE49-F238E27FC236}">
                    <a16:creationId xmlns:a16="http://schemas.microsoft.com/office/drawing/2014/main" id="{3AAB2A90-9900-487F-B90A-603B337A7433}"/>
                  </a:ext>
                </a:extLst>
              </p:cNvPr>
              <p:cNvSpPr>
                <a:spLocks/>
              </p:cNvSpPr>
              <p:nvPr/>
            </p:nvSpPr>
            <p:spPr bwMode="auto">
              <a:xfrm>
                <a:off x="1979" y="1014"/>
                <a:ext cx="14" cy="7"/>
              </a:xfrm>
              <a:custGeom>
                <a:avLst/>
                <a:gdLst>
                  <a:gd name="T0" fmla="*/ 4 w 6"/>
                  <a:gd name="T1" fmla="*/ 0 h 3"/>
                  <a:gd name="T2" fmla="*/ 3 w 6"/>
                  <a:gd name="T3" fmla="*/ 0 h 3"/>
                  <a:gd name="T4" fmla="*/ 0 w 6"/>
                  <a:gd name="T5" fmla="*/ 1 h 3"/>
                  <a:gd name="T6" fmla="*/ 3 w 6"/>
                  <a:gd name="T7" fmla="*/ 2 h 3"/>
                  <a:gd name="T8" fmla="*/ 6 w 6"/>
                  <a:gd name="T9" fmla="*/ 0 h 3"/>
                  <a:gd name="T10" fmla="*/ 4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4" y="0"/>
                    </a:moveTo>
                    <a:cubicBezTo>
                      <a:pt x="4" y="0"/>
                      <a:pt x="3" y="0"/>
                      <a:pt x="3" y="0"/>
                    </a:cubicBezTo>
                    <a:cubicBezTo>
                      <a:pt x="1" y="0"/>
                      <a:pt x="2" y="1"/>
                      <a:pt x="0" y="1"/>
                    </a:cubicBezTo>
                    <a:cubicBezTo>
                      <a:pt x="1" y="2"/>
                      <a:pt x="2" y="2"/>
                      <a:pt x="3" y="2"/>
                    </a:cubicBezTo>
                    <a:cubicBezTo>
                      <a:pt x="5" y="3"/>
                      <a:pt x="5" y="1"/>
                      <a:pt x="6"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9" name="Freeform 2016">
                <a:extLst>
                  <a:ext uri="{FF2B5EF4-FFF2-40B4-BE49-F238E27FC236}">
                    <a16:creationId xmlns:a16="http://schemas.microsoft.com/office/drawing/2014/main" id="{8EC65F73-CC66-4787-A46A-F106AFEE2131}"/>
                  </a:ext>
                </a:extLst>
              </p:cNvPr>
              <p:cNvSpPr>
                <a:spLocks/>
              </p:cNvSpPr>
              <p:nvPr/>
            </p:nvSpPr>
            <p:spPr bwMode="auto">
              <a:xfrm>
                <a:off x="480" y="1447"/>
                <a:ext cx="10" cy="9"/>
              </a:xfrm>
              <a:custGeom>
                <a:avLst/>
                <a:gdLst>
                  <a:gd name="T0" fmla="*/ 2 w 4"/>
                  <a:gd name="T1" fmla="*/ 3 h 4"/>
                  <a:gd name="T2" fmla="*/ 4 w 4"/>
                  <a:gd name="T3" fmla="*/ 4 h 4"/>
                  <a:gd name="T4" fmla="*/ 4 w 4"/>
                  <a:gd name="T5" fmla="*/ 4 h 4"/>
                  <a:gd name="T6" fmla="*/ 3 w 4"/>
                  <a:gd name="T7" fmla="*/ 0 h 4"/>
                  <a:gd name="T8" fmla="*/ 2 w 4"/>
                  <a:gd name="T9" fmla="*/ 3 h 4"/>
                </a:gdLst>
                <a:ahLst/>
                <a:cxnLst>
                  <a:cxn ang="0">
                    <a:pos x="T0" y="T1"/>
                  </a:cxn>
                  <a:cxn ang="0">
                    <a:pos x="T2" y="T3"/>
                  </a:cxn>
                  <a:cxn ang="0">
                    <a:pos x="T4" y="T5"/>
                  </a:cxn>
                  <a:cxn ang="0">
                    <a:pos x="T6" y="T7"/>
                  </a:cxn>
                  <a:cxn ang="0">
                    <a:pos x="T8" y="T9"/>
                  </a:cxn>
                </a:cxnLst>
                <a:rect l="0" t="0" r="r" b="b"/>
                <a:pathLst>
                  <a:path w="4" h="4">
                    <a:moveTo>
                      <a:pt x="2" y="3"/>
                    </a:moveTo>
                    <a:cubicBezTo>
                      <a:pt x="3" y="4"/>
                      <a:pt x="3" y="4"/>
                      <a:pt x="4" y="4"/>
                    </a:cubicBezTo>
                    <a:cubicBezTo>
                      <a:pt x="4" y="4"/>
                      <a:pt x="4" y="4"/>
                      <a:pt x="4" y="4"/>
                    </a:cubicBezTo>
                    <a:cubicBezTo>
                      <a:pt x="4" y="3"/>
                      <a:pt x="3" y="1"/>
                      <a:pt x="3" y="0"/>
                    </a:cubicBezTo>
                    <a:cubicBezTo>
                      <a:pt x="1" y="1"/>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0" name="Freeform 2017">
                <a:extLst>
                  <a:ext uri="{FF2B5EF4-FFF2-40B4-BE49-F238E27FC236}">
                    <a16:creationId xmlns:a16="http://schemas.microsoft.com/office/drawing/2014/main" id="{ED45D666-094C-416C-B82A-6C22BC825E14}"/>
                  </a:ext>
                </a:extLst>
              </p:cNvPr>
              <p:cNvSpPr>
                <a:spLocks/>
              </p:cNvSpPr>
              <p:nvPr/>
            </p:nvSpPr>
            <p:spPr bwMode="auto">
              <a:xfrm>
                <a:off x="1119" y="753"/>
                <a:ext cx="11" cy="15"/>
              </a:xfrm>
              <a:custGeom>
                <a:avLst/>
                <a:gdLst>
                  <a:gd name="T0" fmla="*/ 0 w 5"/>
                  <a:gd name="T1" fmla="*/ 5 h 6"/>
                  <a:gd name="T2" fmla="*/ 1 w 5"/>
                  <a:gd name="T3" fmla="*/ 5 h 6"/>
                  <a:gd name="T4" fmla="*/ 2 w 5"/>
                  <a:gd name="T5" fmla="*/ 6 h 6"/>
                  <a:gd name="T6" fmla="*/ 3 w 5"/>
                  <a:gd name="T7" fmla="*/ 6 h 6"/>
                  <a:gd name="T8" fmla="*/ 4 w 5"/>
                  <a:gd name="T9" fmla="*/ 5 h 6"/>
                  <a:gd name="T10" fmla="*/ 3 w 5"/>
                  <a:gd name="T11" fmla="*/ 1 h 6"/>
                  <a:gd name="T12" fmla="*/ 3 w 5"/>
                  <a:gd name="T13" fmla="*/ 1 h 6"/>
                  <a:gd name="T14" fmla="*/ 3 w 5"/>
                  <a:gd name="T15" fmla="*/ 1 h 6"/>
                  <a:gd name="T16" fmla="*/ 2 w 5"/>
                  <a:gd name="T17" fmla="*/ 1 h 6"/>
                  <a:gd name="T18" fmla="*/ 2 w 5"/>
                  <a:gd name="T19" fmla="*/ 1 h 6"/>
                  <a:gd name="T20" fmla="*/ 0 w 5"/>
                  <a:gd name="T21" fmla="*/ 2 h 6"/>
                  <a:gd name="T22" fmla="*/ 0 w 5"/>
                  <a:gd name="T23" fmla="*/ 3 h 6"/>
                  <a:gd name="T24" fmla="*/ 0 w 5"/>
                  <a:gd name="T25" fmla="*/ 4 h 6"/>
                  <a:gd name="T26" fmla="*/ 0 w 5"/>
                  <a:gd name="T27" fmla="*/ 5 h 6"/>
                  <a:gd name="T28" fmla="*/ 0 w 5"/>
                  <a:gd name="T2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6">
                    <a:moveTo>
                      <a:pt x="0" y="5"/>
                    </a:moveTo>
                    <a:cubicBezTo>
                      <a:pt x="0" y="5"/>
                      <a:pt x="0" y="5"/>
                      <a:pt x="1" y="5"/>
                    </a:cubicBezTo>
                    <a:cubicBezTo>
                      <a:pt x="2" y="5"/>
                      <a:pt x="1" y="6"/>
                      <a:pt x="2" y="6"/>
                    </a:cubicBezTo>
                    <a:cubicBezTo>
                      <a:pt x="2" y="6"/>
                      <a:pt x="2" y="6"/>
                      <a:pt x="3" y="6"/>
                    </a:cubicBezTo>
                    <a:cubicBezTo>
                      <a:pt x="3" y="6"/>
                      <a:pt x="4" y="5"/>
                      <a:pt x="4" y="5"/>
                    </a:cubicBezTo>
                    <a:cubicBezTo>
                      <a:pt x="5" y="4"/>
                      <a:pt x="4" y="2"/>
                      <a:pt x="3" y="1"/>
                    </a:cubicBezTo>
                    <a:cubicBezTo>
                      <a:pt x="3" y="1"/>
                      <a:pt x="3" y="1"/>
                      <a:pt x="3" y="1"/>
                    </a:cubicBezTo>
                    <a:cubicBezTo>
                      <a:pt x="3" y="1"/>
                      <a:pt x="3" y="1"/>
                      <a:pt x="3" y="1"/>
                    </a:cubicBezTo>
                    <a:cubicBezTo>
                      <a:pt x="3" y="1"/>
                      <a:pt x="2" y="1"/>
                      <a:pt x="2" y="1"/>
                    </a:cubicBezTo>
                    <a:cubicBezTo>
                      <a:pt x="2" y="1"/>
                      <a:pt x="2" y="1"/>
                      <a:pt x="2" y="1"/>
                    </a:cubicBezTo>
                    <a:cubicBezTo>
                      <a:pt x="1" y="0"/>
                      <a:pt x="0" y="1"/>
                      <a:pt x="0" y="2"/>
                    </a:cubicBezTo>
                    <a:cubicBezTo>
                      <a:pt x="0" y="2"/>
                      <a:pt x="0" y="2"/>
                      <a:pt x="0" y="3"/>
                    </a:cubicBezTo>
                    <a:cubicBezTo>
                      <a:pt x="0" y="3"/>
                      <a:pt x="0" y="3"/>
                      <a:pt x="0" y="4"/>
                    </a:cubicBezTo>
                    <a:cubicBezTo>
                      <a:pt x="0" y="4"/>
                      <a:pt x="0" y="5"/>
                      <a:pt x="0" y="5"/>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1" name="Freeform 2018">
                <a:extLst>
                  <a:ext uri="{FF2B5EF4-FFF2-40B4-BE49-F238E27FC236}">
                    <a16:creationId xmlns:a16="http://schemas.microsoft.com/office/drawing/2014/main" id="{41A0E6A2-3BC5-4AAF-85FA-BCE2E8C84A01}"/>
                  </a:ext>
                </a:extLst>
              </p:cNvPr>
              <p:cNvSpPr>
                <a:spLocks/>
              </p:cNvSpPr>
              <p:nvPr/>
            </p:nvSpPr>
            <p:spPr bwMode="auto">
              <a:xfrm>
                <a:off x="2053" y="1527"/>
                <a:ext cx="7" cy="2"/>
              </a:xfrm>
              <a:custGeom>
                <a:avLst/>
                <a:gdLst>
                  <a:gd name="T0" fmla="*/ 0 w 3"/>
                  <a:gd name="T1" fmla="*/ 0 h 1"/>
                  <a:gd name="T2" fmla="*/ 0 w 3"/>
                  <a:gd name="T3" fmla="*/ 1 h 1"/>
                  <a:gd name="T4" fmla="*/ 0 w 3"/>
                  <a:gd name="T5" fmla="*/ 0 h 1"/>
                </a:gdLst>
                <a:ahLst/>
                <a:cxnLst>
                  <a:cxn ang="0">
                    <a:pos x="T0" y="T1"/>
                  </a:cxn>
                  <a:cxn ang="0">
                    <a:pos x="T2" y="T3"/>
                  </a:cxn>
                  <a:cxn ang="0">
                    <a:pos x="T4" y="T5"/>
                  </a:cxn>
                </a:cxnLst>
                <a:rect l="0" t="0" r="r" b="b"/>
                <a:pathLst>
                  <a:path w="3" h="1">
                    <a:moveTo>
                      <a:pt x="0" y="0"/>
                    </a:moveTo>
                    <a:cubicBezTo>
                      <a:pt x="0" y="0"/>
                      <a:pt x="0" y="1"/>
                      <a:pt x="0" y="1"/>
                    </a:cubicBezTo>
                    <a:cubicBezTo>
                      <a:pt x="3"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2" name="Freeform 2019">
                <a:extLst>
                  <a:ext uri="{FF2B5EF4-FFF2-40B4-BE49-F238E27FC236}">
                    <a16:creationId xmlns:a16="http://schemas.microsoft.com/office/drawing/2014/main" id="{87D2C875-32F3-4BC4-8BA3-EA6EA026D2B7}"/>
                  </a:ext>
                </a:extLst>
              </p:cNvPr>
              <p:cNvSpPr>
                <a:spLocks/>
              </p:cNvSpPr>
              <p:nvPr/>
            </p:nvSpPr>
            <p:spPr bwMode="auto">
              <a:xfrm>
                <a:off x="2053" y="152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3" name="Freeform 2020">
                <a:extLst>
                  <a:ext uri="{FF2B5EF4-FFF2-40B4-BE49-F238E27FC236}">
                    <a16:creationId xmlns:a16="http://schemas.microsoft.com/office/drawing/2014/main" id="{9D6B5C54-3F26-4172-A488-46259AA479BC}"/>
                  </a:ext>
                </a:extLst>
              </p:cNvPr>
              <p:cNvSpPr>
                <a:spLocks/>
              </p:cNvSpPr>
              <p:nvPr/>
            </p:nvSpPr>
            <p:spPr bwMode="auto">
              <a:xfrm>
                <a:off x="2053" y="1518"/>
                <a:ext cx="9" cy="9"/>
              </a:xfrm>
              <a:custGeom>
                <a:avLst/>
                <a:gdLst>
                  <a:gd name="T0" fmla="*/ 4 w 4"/>
                  <a:gd name="T1" fmla="*/ 0 h 4"/>
                  <a:gd name="T2" fmla="*/ 2 w 4"/>
                  <a:gd name="T3" fmla="*/ 2 h 4"/>
                  <a:gd name="T4" fmla="*/ 0 w 4"/>
                  <a:gd name="T5" fmla="*/ 4 h 4"/>
                  <a:gd name="T6" fmla="*/ 2 w 4"/>
                  <a:gd name="T7" fmla="*/ 3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cubicBezTo>
                      <a:pt x="3" y="0"/>
                      <a:pt x="3" y="1"/>
                      <a:pt x="2" y="2"/>
                    </a:cubicBezTo>
                    <a:cubicBezTo>
                      <a:pt x="1" y="3"/>
                      <a:pt x="1" y="3"/>
                      <a:pt x="0" y="4"/>
                    </a:cubicBezTo>
                    <a:cubicBezTo>
                      <a:pt x="1" y="3"/>
                      <a:pt x="2" y="3"/>
                      <a:pt x="2" y="3"/>
                    </a:cubicBezTo>
                    <a:cubicBezTo>
                      <a:pt x="3" y="2"/>
                      <a:pt x="4"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4" name="Freeform 2021">
                <a:extLst>
                  <a:ext uri="{FF2B5EF4-FFF2-40B4-BE49-F238E27FC236}">
                    <a16:creationId xmlns:a16="http://schemas.microsoft.com/office/drawing/2014/main" id="{55D0B445-AB31-4CED-A677-172491A6FD62}"/>
                  </a:ext>
                </a:extLst>
              </p:cNvPr>
              <p:cNvSpPr>
                <a:spLocks/>
              </p:cNvSpPr>
              <p:nvPr/>
            </p:nvSpPr>
            <p:spPr bwMode="auto">
              <a:xfrm>
                <a:off x="379" y="1366"/>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5" name="Freeform 2022">
                <a:extLst>
                  <a:ext uri="{FF2B5EF4-FFF2-40B4-BE49-F238E27FC236}">
                    <a16:creationId xmlns:a16="http://schemas.microsoft.com/office/drawing/2014/main" id="{EFFF3B05-62D3-408C-AF47-982AB545EE9F}"/>
                  </a:ext>
                </a:extLst>
              </p:cNvPr>
              <p:cNvSpPr>
                <a:spLocks/>
              </p:cNvSpPr>
              <p:nvPr/>
            </p:nvSpPr>
            <p:spPr bwMode="auto">
              <a:xfrm>
                <a:off x="348" y="1340"/>
                <a:ext cx="35" cy="38"/>
              </a:xfrm>
              <a:custGeom>
                <a:avLst/>
                <a:gdLst>
                  <a:gd name="T0" fmla="*/ 15 w 15"/>
                  <a:gd name="T1" fmla="*/ 14 h 16"/>
                  <a:gd name="T2" fmla="*/ 12 w 15"/>
                  <a:gd name="T3" fmla="*/ 12 h 16"/>
                  <a:gd name="T4" fmla="*/ 8 w 15"/>
                  <a:gd name="T5" fmla="*/ 7 h 16"/>
                  <a:gd name="T6" fmla="*/ 9 w 15"/>
                  <a:gd name="T7" fmla="*/ 6 h 16"/>
                  <a:gd name="T8" fmla="*/ 6 w 15"/>
                  <a:gd name="T9" fmla="*/ 5 h 16"/>
                  <a:gd name="T10" fmla="*/ 6 w 15"/>
                  <a:gd name="T11" fmla="*/ 3 h 16"/>
                  <a:gd name="T12" fmla="*/ 6 w 15"/>
                  <a:gd name="T13" fmla="*/ 2 h 16"/>
                  <a:gd name="T14" fmla="*/ 7 w 15"/>
                  <a:gd name="T15" fmla="*/ 2 h 16"/>
                  <a:gd name="T16" fmla="*/ 8 w 15"/>
                  <a:gd name="T17" fmla="*/ 0 h 16"/>
                  <a:gd name="T18" fmla="*/ 5 w 15"/>
                  <a:gd name="T19" fmla="*/ 1 h 16"/>
                  <a:gd name="T20" fmla="*/ 0 w 15"/>
                  <a:gd name="T21" fmla="*/ 1 h 16"/>
                  <a:gd name="T22" fmla="*/ 4 w 15"/>
                  <a:gd name="T23" fmla="*/ 3 h 16"/>
                  <a:gd name="T24" fmla="*/ 4 w 15"/>
                  <a:gd name="T25" fmla="*/ 4 h 16"/>
                  <a:gd name="T26" fmla="*/ 2 w 15"/>
                  <a:gd name="T27" fmla="*/ 4 h 16"/>
                  <a:gd name="T28" fmla="*/ 4 w 15"/>
                  <a:gd name="T29" fmla="*/ 6 h 16"/>
                  <a:gd name="T30" fmla="*/ 5 w 15"/>
                  <a:gd name="T31" fmla="*/ 5 h 16"/>
                  <a:gd name="T32" fmla="*/ 6 w 15"/>
                  <a:gd name="T33" fmla="*/ 6 h 16"/>
                  <a:gd name="T34" fmla="*/ 5 w 15"/>
                  <a:gd name="T35" fmla="*/ 7 h 16"/>
                  <a:gd name="T36" fmla="*/ 6 w 15"/>
                  <a:gd name="T37" fmla="*/ 8 h 16"/>
                  <a:gd name="T38" fmla="*/ 8 w 15"/>
                  <a:gd name="T39" fmla="*/ 10 h 16"/>
                  <a:gd name="T40" fmla="*/ 9 w 15"/>
                  <a:gd name="T41" fmla="*/ 11 h 16"/>
                  <a:gd name="T42" fmla="*/ 10 w 15"/>
                  <a:gd name="T43" fmla="*/ 12 h 16"/>
                  <a:gd name="T44" fmla="*/ 12 w 15"/>
                  <a:gd name="T45" fmla="*/ 14 h 16"/>
                  <a:gd name="T46" fmla="*/ 12 w 15"/>
                  <a:gd name="T47" fmla="*/ 14 h 16"/>
                  <a:gd name="T48" fmla="*/ 13 w 15"/>
                  <a:gd name="T49" fmla="*/ 14 h 16"/>
                  <a:gd name="T50" fmla="*/ 15 w 15"/>
                  <a:gd name="T5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16">
                    <a:moveTo>
                      <a:pt x="15" y="14"/>
                    </a:moveTo>
                    <a:cubicBezTo>
                      <a:pt x="14" y="13"/>
                      <a:pt x="13" y="11"/>
                      <a:pt x="12" y="12"/>
                    </a:cubicBezTo>
                    <a:cubicBezTo>
                      <a:pt x="13" y="11"/>
                      <a:pt x="9" y="8"/>
                      <a:pt x="8" y="7"/>
                    </a:cubicBezTo>
                    <a:cubicBezTo>
                      <a:pt x="7" y="6"/>
                      <a:pt x="8" y="6"/>
                      <a:pt x="9" y="6"/>
                    </a:cubicBezTo>
                    <a:cubicBezTo>
                      <a:pt x="8" y="6"/>
                      <a:pt x="7" y="5"/>
                      <a:pt x="6" y="5"/>
                    </a:cubicBezTo>
                    <a:cubicBezTo>
                      <a:pt x="6" y="4"/>
                      <a:pt x="6" y="4"/>
                      <a:pt x="6" y="3"/>
                    </a:cubicBezTo>
                    <a:cubicBezTo>
                      <a:pt x="5" y="2"/>
                      <a:pt x="6" y="3"/>
                      <a:pt x="6" y="2"/>
                    </a:cubicBezTo>
                    <a:cubicBezTo>
                      <a:pt x="7" y="2"/>
                      <a:pt x="7" y="2"/>
                      <a:pt x="7" y="2"/>
                    </a:cubicBezTo>
                    <a:cubicBezTo>
                      <a:pt x="8" y="2"/>
                      <a:pt x="8" y="0"/>
                      <a:pt x="8" y="0"/>
                    </a:cubicBezTo>
                    <a:cubicBezTo>
                      <a:pt x="7" y="0"/>
                      <a:pt x="6" y="1"/>
                      <a:pt x="5" y="1"/>
                    </a:cubicBezTo>
                    <a:cubicBezTo>
                      <a:pt x="4" y="1"/>
                      <a:pt x="1" y="1"/>
                      <a:pt x="0" y="1"/>
                    </a:cubicBezTo>
                    <a:cubicBezTo>
                      <a:pt x="0" y="3"/>
                      <a:pt x="3" y="2"/>
                      <a:pt x="4" y="3"/>
                    </a:cubicBezTo>
                    <a:cubicBezTo>
                      <a:pt x="4" y="3"/>
                      <a:pt x="4" y="4"/>
                      <a:pt x="4" y="4"/>
                    </a:cubicBezTo>
                    <a:cubicBezTo>
                      <a:pt x="3" y="4"/>
                      <a:pt x="3" y="4"/>
                      <a:pt x="2" y="4"/>
                    </a:cubicBezTo>
                    <a:cubicBezTo>
                      <a:pt x="3" y="5"/>
                      <a:pt x="4" y="6"/>
                      <a:pt x="4" y="6"/>
                    </a:cubicBezTo>
                    <a:cubicBezTo>
                      <a:pt x="5" y="6"/>
                      <a:pt x="5" y="6"/>
                      <a:pt x="5" y="5"/>
                    </a:cubicBezTo>
                    <a:cubicBezTo>
                      <a:pt x="5" y="5"/>
                      <a:pt x="6" y="6"/>
                      <a:pt x="6" y="6"/>
                    </a:cubicBezTo>
                    <a:cubicBezTo>
                      <a:pt x="6" y="7"/>
                      <a:pt x="5" y="6"/>
                      <a:pt x="5" y="7"/>
                    </a:cubicBezTo>
                    <a:cubicBezTo>
                      <a:pt x="5" y="7"/>
                      <a:pt x="6" y="8"/>
                      <a:pt x="6" y="8"/>
                    </a:cubicBezTo>
                    <a:cubicBezTo>
                      <a:pt x="6" y="8"/>
                      <a:pt x="7" y="9"/>
                      <a:pt x="8" y="10"/>
                    </a:cubicBezTo>
                    <a:cubicBezTo>
                      <a:pt x="9" y="10"/>
                      <a:pt x="9" y="10"/>
                      <a:pt x="9" y="11"/>
                    </a:cubicBezTo>
                    <a:cubicBezTo>
                      <a:pt x="10" y="11"/>
                      <a:pt x="10" y="11"/>
                      <a:pt x="10" y="12"/>
                    </a:cubicBezTo>
                    <a:cubicBezTo>
                      <a:pt x="10" y="12"/>
                      <a:pt x="11" y="14"/>
                      <a:pt x="12" y="14"/>
                    </a:cubicBezTo>
                    <a:cubicBezTo>
                      <a:pt x="12" y="14"/>
                      <a:pt x="12" y="14"/>
                      <a:pt x="12" y="14"/>
                    </a:cubicBezTo>
                    <a:cubicBezTo>
                      <a:pt x="13" y="15"/>
                      <a:pt x="13" y="16"/>
                      <a:pt x="13" y="14"/>
                    </a:cubicBezTo>
                    <a:cubicBezTo>
                      <a:pt x="14" y="15"/>
                      <a:pt x="14" y="16"/>
                      <a:pt x="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6" name="Freeform 2023">
                <a:extLst>
                  <a:ext uri="{FF2B5EF4-FFF2-40B4-BE49-F238E27FC236}">
                    <a16:creationId xmlns:a16="http://schemas.microsoft.com/office/drawing/2014/main" id="{4C23B5C1-B6DC-4A8E-B809-ADA9502324A8}"/>
                  </a:ext>
                </a:extLst>
              </p:cNvPr>
              <p:cNvSpPr>
                <a:spLocks/>
              </p:cNvSpPr>
              <p:nvPr/>
            </p:nvSpPr>
            <p:spPr bwMode="auto">
              <a:xfrm>
                <a:off x="2185" y="1529"/>
                <a:ext cx="5" cy="15"/>
              </a:xfrm>
              <a:custGeom>
                <a:avLst/>
                <a:gdLst>
                  <a:gd name="T0" fmla="*/ 1 w 2"/>
                  <a:gd name="T1" fmla="*/ 6 h 6"/>
                  <a:gd name="T2" fmla="*/ 2 w 2"/>
                  <a:gd name="T3" fmla="*/ 2 h 6"/>
                  <a:gd name="T4" fmla="*/ 2 w 2"/>
                  <a:gd name="T5" fmla="*/ 4 h 6"/>
                  <a:gd name="T6" fmla="*/ 1 w 2"/>
                  <a:gd name="T7" fmla="*/ 6 h 6"/>
                </a:gdLst>
                <a:ahLst/>
                <a:cxnLst>
                  <a:cxn ang="0">
                    <a:pos x="T0" y="T1"/>
                  </a:cxn>
                  <a:cxn ang="0">
                    <a:pos x="T2" y="T3"/>
                  </a:cxn>
                  <a:cxn ang="0">
                    <a:pos x="T4" y="T5"/>
                  </a:cxn>
                  <a:cxn ang="0">
                    <a:pos x="T6" y="T7"/>
                  </a:cxn>
                </a:cxnLst>
                <a:rect l="0" t="0" r="r" b="b"/>
                <a:pathLst>
                  <a:path w="2" h="6">
                    <a:moveTo>
                      <a:pt x="1" y="6"/>
                    </a:moveTo>
                    <a:cubicBezTo>
                      <a:pt x="2" y="5"/>
                      <a:pt x="2" y="3"/>
                      <a:pt x="2" y="2"/>
                    </a:cubicBezTo>
                    <a:cubicBezTo>
                      <a:pt x="0" y="0"/>
                      <a:pt x="2" y="4"/>
                      <a:pt x="2" y="4"/>
                    </a:cubicBezTo>
                    <a:cubicBezTo>
                      <a:pt x="1" y="5"/>
                      <a:pt x="1"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7" name="Freeform 2024">
                <a:extLst>
                  <a:ext uri="{FF2B5EF4-FFF2-40B4-BE49-F238E27FC236}">
                    <a16:creationId xmlns:a16="http://schemas.microsoft.com/office/drawing/2014/main" id="{FA85C1C6-267C-4D23-8A69-00D2D2B4EFCF}"/>
                  </a:ext>
                </a:extLst>
              </p:cNvPr>
              <p:cNvSpPr>
                <a:spLocks/>
              </p:cNvSpPr>
              <p:nvPr/>
            </p:nvSpPr>
            <p:spPr bwMode="auto">
              <a:xfrm>
                <a:off x="511" y="505"/>
                <a:ext cx="253" cy="161"/>
              </a:xfrm>
              <a:custGeom>
                <a:avLst/>
                <a:gdLst>
                  <a:gd name="T0" fmla="*/ 6 w 107"/>
                  <a:gd name="T1" fmla="*/ 52 h 68"/>
                  <a:gd name="T2" fmla="*/ 18 w 107"/>
                  <a:gd name="T3" fmla="*/ 56 h 68"/>
                  <a:gd name="T4" fmla="*/ 25 w 107"/>
                  <a:gd name="T5" fmla="*/ 64 h 68"/>
                  <a:gd name="T6" fmla="*/ 32 w 107"/>
                  <a:gd name="T7" fmla="*/ 67 h 68"/>
                  <a:gd name="T8" fmla="*/ 40 w 107"/>
                  <a:gd name="T9" fmla="*/ 62 h 68"/>
                  <a:gd name="T10" fmla="*/ 44 w 107"/>
                  <a:gd name="T11" fmla="*/ 62 h 68"/>
                  <a:gd name="T12" fmla="*/ 53 w 107"/>
                  <a:gd name="T13" fmla="*/ 60 h 68"/>
                  <a:gd name="T14" fmla="*/ 56 w 107"/>
                  <a:gd name="T15" fmla="*/ 50 h 68"/>
                  <a:gd name="T16" fmla="*/ 57 w 107"/>
                  <a:gd name="T17" fmla="*/ 46 h 68"/>
                  <a:gd name="T18" fmla="*/ 61 w 107"/>
                  <a:gd name="T19" fmla="*/ 46 h 68"/>
                  <a:gd name="T20" fmla="*/ 67 w 107"/>
                  <a:gd name="T21" fmla="*/ 42 h 68"/>
                  <a:gd name="T22" fmla="*/ 69 w 107"/>
                  <a:gd name="T23" fmla="*/ 38 h 68"/>
                  <a:gd name="T24" fmla="*/ 75 w 107"/>
                  <a:gd name="T25" fmla="*/ 36 h 68"/>
                  <a:gd name="T26" fmla="*/ 87 w 107"/>
                  <a:gd name="T27" fmla="*/ 30 h 68"/>
                  <a:gd name="T28" fmla="*/ 92 w 107"/>
                  <a:gd name="T29" fmla="*/ 28 h 68"/>
                  <a:gd name="T30" fmla="*/ 105 w 107"/>
                  <a:gd name="T31" fmla="*/ 23 h 68"/>
                  <a:gd name="T32" fmla="*/ 104 w 107"/>
                  <a:gd name="T33" fmla="*/ 18 h 68"/>
                  <a:gd name="T34" fmla="*/ 93 w 107"/>
                  <a:gd name="T35" fmla="*/ 12 h 68"/>
                  <a:gd name="T36" fmla="*/ 76 w 107"/>
                  <a:gd name="T37" fmla="*/ 7 h 68"/>
                  <a:gd name="T38" fmla="*/ 71 w 107"/>
                  <a:gd name="T39" fmla="*/ 9 h 68"/>
                  <a:gd name="T40" fmla="*/ 68 w 107"/>
                  <a:gd name="T41" fmla="*/ 11 h 68"/>
                  <a:gd name="T42" fmla="*/ 66 w 107"/>
                  <a:gd name="T43" fmla="*/ 7 h 68"/>
                  <a:gd name="T44" fmla="*/ 61 w 107"/>
                  <a:gd name="T45" fmla="*/ 10 h 68"/>
                  <a:gd name="T46" fmla="*/ 56 w 107"/>
                  <a:gd name="T47" fmla="*/ 5 h 68"/>
                  <a:gd name="T48" fmla="*/ 48 w 107"/>
                  <a:gd name="T49" fmla="*/ 2 h 68"/>
                  <a:gd name="T50" fmla="*/ 44 w 107"/>
                  <a:gd name="T51" fmla="*/ 1 h 68"/>
                  <a:gd name="T52" fmla="*/ 22 w 107"/>
                  <a:gd name="T53" fmla="*/ 3 h 68"/>
                  <a:gd name="T54" fmla="*/ 14 w 107"/>
                  <a:gd name="T55" fmla="*/ 9 h 68"/>
                  <a:gd name="T56" fmla="*/ 16 w 107"/>
                  <a:gd name="T57" fmla="*/ 13 h 68"/>
                  <a:gd name="T58" fmla="*/ 19 w 107"/>
                  <a:gd name="T59" fmla="*/ 18 h 68"/>
                  <a:gd name="T60" fmla="*/ 15 w 107"/>
                  <a:gd name="T61" fmla="*/ 22 h 68"/>
                  <a:gd name="T62" fmla="*/ 10 w 107"/>
                  <a:gd name="T63" fmla="*/ 29 h 68"/>
                  <a:gd name="T64" fmla="*/ 13 w 107"/>
                  <a:gd name="T65" fmla="*/ 32 h 68"/>
                  <a:gd name="T66" fmla="*/ 9 w 107"/>
                  <a:gd name="T67" fmla="*/ 34 h 68"/>
                  <a:gd name="T68" fmla="*/ 8 w 107"/>
                  <a:gd name="T69" fmla="*/ 37 h 68"/>
                  <a:gd name="T70" fmla="*/ 5 w 107"/>
                  <a:gd name="T71" fmla="*/ 41 h 68"/>
                  <a:gd name="T72" fmla="*/ 4 w 107"/>
                  <a:gd name="T73" fmla="*/ 43 h 68"/>
                  <a:gd name="T74" fmla="*/ 3 w 107"/>
                  <a:gd name="T75" fmla="*/ 45 h 68"/>
                  <a:gd name="T76" fmla="*/ 2 w 107"/>
                  <a:gd name="T77" fmla="*/ 46 h 68"/>
                  <a:gd name="T78" fmla="*/ 0 w 107"/>
                  <a:gd name="T79" fmla="*/ 48 h 68"/>
                  <a:gd name="T80" fmla="*/ 8 w 107"/>
                  <a:gd name="T81"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68">
                    <a:moveTo>
                      <a:pt x="8" y="51"/>
                    </a:moveTo>
                    <a:cubicBezTo>
                      <a:pt x="8" y="52"/>
                      <a:pt x="7" y="52"/>
                      <a:pt x="6" y="52"/>
                    </a:cubicBezTo>
                    <a:cubicBezTo>
                      <a:pt x="8" y="53"/>
                      <a:pt x="11" y="54"/>
                      <a:pt x="14" y="55"/>
                    </a:cubicBezTo>
                    <a:cubicBezTo>
                      <a:pt x="15" y="56"/>
                      <a:pt x="17" y="56"/>
                      <a:pt x="18" y="56"/>
                    </a:cubicBezTo>
                    <a:cubicBezTo>
                      <a:pt x="19" y="57"/>
                      <a:pt x="19" y="58"/>
                      <a:pt x="20" y="59"/>
                    </a:cubicBezTo>
                    <a:cubicBezTo>
                      <a:pt x="21" y="60"/>
                      <a:pt x="23" y="62"/>
                      <a:pt x="25" y="64"/>
                    </a:cubicBezTo>
                    <a:cubicBezTo>
                      <a:pt x="26" y="66"/>
                      <a:pt x="27" y="68"/>
                      <a:pt x="30" y="68"/>
                    </a:cubicBezTo>
                    <a:cubicBezTo>
                      <a:pt x="31" y="68"/>
                      <a:pt x="31" y="67"/>
                      <a:pt x="32" y="67"/>
                    </a:cubicBezTo>
                    <a:cubicBezTo>
                      <a:pt x="33" y="66"/>
                      <a:pt x="34" y="66"/>
                      <a:pt x="35" y="65"/>
                    </a:cubicBezTo>
                    <a:cubicBezTo>
                      <a:pt x="37" y="65"/>
                      <a:pt x="38" y="64"/>
                      <a:pt x="40" y="62"/>
                    </a:cubicBezTo>
                    <a:cubicBezTo>
                      <a:pt x="41" y="61"/>
                      <a:pt x="42" y="60"/>
                      <a:pt x="43" y="61"/>
                    </a:cubicBezTo>
                    <a:cubicBezTo>
                      <a:pt x="44" y="61"/>
                      <a:pt x="44" y="62"/>
                      <a:pt x="44" y="62"/>
                    </a:cubicBezTo>
                    <a:cubicBezTo>
                      <a:pt x="45" y="63"/>
                      <a:pt x="45" y="62"/>
                      <a:pt x="46" y="62"/>
                    </a:cubicBezTo>
                    <a:cubicBezTo>
                      <a:pt x="48" y="62"/>
                      <a:pt x="51" y="61"/>
                      <a:pt x="53" y="60"/>
                    </a:cubicBezTo>
                    <a:cubicBezTo>
                      <a:pt x="56" y="59"/>
                      <a:pt x="55" y="56"/>
                      <a:pt x="55" y="54"/>
                    </a:cubicBezTo>
                    <a:cubicBezTo>
                      <a:pt x="55" y="52"/>
                      <a:pt x="55" y="51"/>
                      <a:pt x="56" y="50"/>
                    </a:cubicBezTo>
                    <a:cubicBezTo>
                      <a:pt x="57" y="50"/>
                      <a:pt x="58" y="49"/>
                      <a:pt x="58" y="48"/>
                    </a:cubicBezTo>
                    <a:cubicBezTo>
                      <a:pt x="58" y="47"/>
                      <a:pt x="56" y="46"/>
                      <a:pt x="57" y="46"/>
                    </a:cubicBezTo>
                    <a:cubicBezTo>
                      <a:pt x="57" y="46"/>
                      <a:pt x="58" y="45"/>
                      <a:pt x="58" y="46"/>
                    </a:cubicBezTo>
                    <a:cubicBezTo>
                      <a:pt x="59" y="47"/>
                      <a:pt x="60" y="46"/>
                      <a:pt x="61" y="46"/>
                    </a:cubicBezTo>
                    <a:cubicBezTo>
                      <a:pt x="62" y="47"/>
                      <a:pt x="66" y="44"/>
                      <a:pt x="66" y="43"/>
                    </a:cubicBezTo>
                    <a:cubicBezTo>
                      <a:pt x="66" y="43"/>
                      <a:pt x="66" y="42"/>
                      <a:pt x="67" y="42"/>
                    </a:cubicBezTo>
                    <a:cubicBezTo>
                      <a:pt x="67" y="41"/>
                      <a:pt x="67" y="41"/>
                      <a:pt x="67" y="41"/>
                    </a:cubicBezTo>
                    <a:cubicBezTo>
                      <a:pt x="68" y="39"/>
                      <a:pt x="68" y="39"/>
                      <a:pt x="69" y="38"/>
                    </a:cubicBezTo>
                    <a:cubicBezTo>
                      <a:pt x="70" y="38"/>
                      <a:pt x="71" y="37"/>
                      <a:pt x="72" y="37"/>
                    </a:cubicBezTo>
                    <a:cubicBezTo>
                      <a:pt x="73" y="36"/>
                      <a:pt x="74" y="36"/>
                      <a:pt x="75" y="36"/>
                    </a:cubicBezTo>
                    <a:cubicBezTo>
                      <a:pt x="77" y="34"/>
                      <a:pt x="79" y="34"/>
                      <a:pt x="81" y="33"/>
                    </a:cubicBezTo>
                    <a:cubicBezTo>
                      <a:pt x="83" y="32"/>
                      <a:pt x="85" y="30"/>
                      <a:pt x="87" y="30"/>
                    </a:cubicBezTo>
                    <a:cubicBezTo>
                      <a:pt x="88" y="30"/>
                      <a:pt x="89" y="30"/>
                      <a:pt x="90" y="29"/>
                    </a:cubicBezTo>
                    <a:cubicBezTo>
                      <a:pt x="91" y="29"/>
                      <a:pt x="92" y="28"/>
                      <a:pt x="92" y="28"/>
                    </a:cubicBezTo>
                    <a:cubicBezTo>
                      <a:pt x="94" y="27"/>
                      <a:pt x="96" y="26"/>
                      <a:pt x="98" y="26"/>
                    </a:cubicBezTo>
                    <a:cubicBezTo>
                      <a:pt x="101" y="25"/>
                      <a:pt x="103" y="24"/>
                      <a:pt x="105" y="23"/>
                    </a:cubicBezTo>
                    <a:cubicBezTo>
                      <a:pt x="107" y="22"/>
                      <a:pt x="107" y="22"/>
                      <a:pt x="106" y="20"/>
                    </a:cubicBezTo>
                    <a:cubicBezTo>
                      <a:pt x="106" y="20"/>
                      <a:pt x="104" y="18"/>
                      <a:pt x="104" y="18"/>
                    </a:cubicBezTo>
                    <a:cubicBezTo>
                      <a:pt x="102" y="18"/>
                      <a:pt x="100" y="16"/>
                      <a:pt x="98" y="15"/>
                    </a:cubicBezTo>
                    <a:cubicBezTo>
                      <a:pt x="97" y="14"/>
                      <a:pt x="95" y="13"/>
                      <a:pt x="93" y="12"/>
                    </a:cubicBezTo>
                    <a:cubicBezTo>
                      <a:pt x="90" y="9"/>
                      <a:pt x="86" y="7"/>
                      <a:pt x="82" y="7"/>
                    </a:cubicBezTo>
                    <a:cubicBezTo>
                      <a:pt x="80" y="6"/>
                      <a:pt x="78" y="6"/>
                      <a:pt x="76" y="7"/>
                    </a:cubicBezTo>
                    <a:cubicBezTo>
                      <a:pt x="75" y="7"/>
                      <a:pt x="74" y="7"/>
                      <a:pt x="72" y="7"/>
                    </a:cubicBezTo>
                    <a:cubicBezTo>
                      <a:pt x="72" y="8"/>
                      <a:pt x="71" y="8"/>
                      <a:pt x="71" y="9"/>
                    </a:cubicBezTo>
                    <a:cubicBezTo>
                      <a:pt x="72" y="10"/>
                      <a:pt x="70" y="10"/>
                      <a:pt x="69" y="11"/>
                    </a:cubicBezTo>
                    <a:cubicBezTo>
                      <a:pt x="68" y="12"/>
                      <a:pt x="68" y="12"/>
                      <a:pt x="68" y="11"/>
                    </a:cubicBezTo>
                    <a:cubicBezTo>
                      <a:pt x="68" y="10"/>
                      <a:pt x="69" y="9"/>
                      <a:pt x="68" y="8"/>
                    </a:cubicBezTo>
                    <a:cubicBezTo>
                      <a:pt x="68" y="7"/>
                      <a:pt x="66" y="7"/>
                      <a:pt x="66" y="7"/>
                    </a:cubicBezTo>
                    <a:cubicBezTo>
                      <a:pt x="65" y="8"/>
                      <a:pt x="64" y="7"/>
                      <a:pt x="64" y="8"/>
                    </a:cubicBezTo>
                    <a:cubicBezTo>
                      <a:pt x="63" y="9"/>
                      <a:pt x="62" y="10"/>
                      <a:pt x="61" y="10"/>
                    </a:cubicBezTo>
                    <a:cubicBezTo>
                      <a:pt x="61" y="9"/>
                      <a:pt x="63" y="9"/>
                      <a:pt x="63" y="7"/>
                    </a:cubicBezTo>
                    <a:cubicBezTo>
                      <a:pt x="60" y="7"/>
                      <a:pt x="58" y="6"/>
                      <a:pt x="56" y="5"/>
                    </a:cubicBezTo>
                    <a:cubicBezTo>
                      <a:pt x="54" y="5"/>
                      <a:pt x="51" y="4"/>
                      <a:pt x="49" y="3"/>
                    </a:cubicBezTo>
                    <a:cubicBezTo>
                      <a:pt x="49" y="3"/>
                      <a:pt x="49" y="2"/>
                      <a:pt x="48" y="2"/>
                    </a:cubicBezTo>
                    <a:cubicBezTo>
                      <a:pt x="48" y="2"/>
                      <a:pt x="47" y="1"/>
                      <a:pt x="47" y="1"/>
                    </a:cubicBezTo>
                    <a:cubicBezTo>
                      <a:pt x="46" y="1"/>
                      <a:pt x="45" y="1"/>
                      <a:pt x="44" y="1"/>
                    </a:cubicBezTo>
                    <a:cubicBezTo>
                      <a:pt x="40" y="0"/>
                      <a:pt x="36" y="2"/>
                      <a:pt x="33" y="2"/>
                    </a:cubicBezTo>
                    <a:cubicBezTo>
                      <a:pt x="29" y="3"/>
                      <a:pt x="25" y="3"/>
                      <a:pt x="22" y="3"/>
                    </a:cubicBezTo>
                    <a:cubicBezTo>
                      <a:pt x="18" y="4"/>
                      <a:pt x="14" y="4"/>
                      <a:pt x="11" y="5"/>
                    </a:cubicBezTo>
                    <a:cubicBezTo>
                      <a:pt x="13" y="6"/>
                      <a:pt x="13" y="7"/>
                      <a:pt x="14" y="9"/>
                    </a:cubicBezTo>
                    <a:cubicBezTo>
                      <a:pt x="14" y="10"/>
                      <a:pt x="14" y="11"/>
                      <a:pt x="15" y="12"/>
                    </a:cubicBezTo>
                    <a:cubicBezTo>
                      <a:pt x="15" y="12"/>
                      <a:pt x="16" y="13"/>
                      <a:pt x="16" y="13"/>
                    </a:cubicBezTo>
                    <a:cubicBezTo>
                      <a:pt x="17" y="15"/>
                      <a:pt x="17" y="14"/>
                      <a:pt x="19" y="15"/>
                    </a:cubicBezTo>
                    <a:cubicBezTo>
                      <a:pt x="21" y="15"/>
                      <a:pt x="21" y="17"/>
                      <a:pt x="19" y="18"/>
                    </a:cubicBezTo>
                    <a:cubicBezTo>
                      <a:pt x="18" y="19"/>
                      <a:pt x="18" y="18"/>
                      <a:pt x="18" y="20"/>
                    </a:cubicBezTo>
                    <a:cubicBezTo>
                      <a:pt x="17" y="22"/>
                      <a:pt x="16" y="22"/>
                      <a:pt x="15" y="22"/>
                    </a:cubicBezTo>
                    <a:cubicBezTo>
                      <a:pt x="14" y="23"/>
                      <a:pt x="13" y="26"/>
                      <a:pt x="12" y="27"/>
                    </a:cubicBezTo>
                    <a:cubicBezTo>
                      <a:pt x="12" y="28"/>
                      <a:pt x="10" y="28"/>
                      <a:pt x="10" y="29"/>
                    </a:cubicBezTo>
                    <a:cubicBezTo>
                      <a:pt x="10" y="30"/>
                      <a:pt x="10" y="30"/>
                      <a:pt x="11" y="31"/>
                    </a:cubicBezTo>
                    <a:cubicBezTo>
                      <a:pt x="12" y="31"/>
                      <a:pt x="13" y="31"/>
                      <a:pt x="13" y="32"/>
                    </a:cubicBezTo>
                    <a:cubicBezTo>
                      <a:pt x="13" y="33"/>
                      <a:pt x="12" y="33"/>
                      <a:pt x="11" y="34"/>
                    </a:cubicBezTo>
                    <a:cubicBezTo>
                      <a:pt x="10" y="34"/>
                      <a:pt x="9" y="34"/>
                      <a:pt x="9" y="34"/>
                    </a:cubicBezTo>
                    <a:cubicBezTo>
                      <a:pt x="9" y="34"/>
                      <a:pt x="8" y="34"/>
                      <a:pt x="7" y="34"/>
                    </a:cubicBezTo>
                    <a:cubicBezTo>
                      <a:pt x="6" y="34"/>
                      <a:pt x="8" y="36"/>
                      <a:pt x="8" y="37"/>
                    </a:cubicBezTo>
                    <a:cubicBezTo>
                      <a:pt x="8" y="38"/>
                      <a:pt x="7" y="38"/>
                      <a:pt x="7" y="39"/>
                    </a:cubicBezTo>
                    <a:cubicBezTo>
                      <a:pt x="7" y="41"/>
                      <a:pt x="7" y="40"/>
                      <a:pt x="5" y="41"/>
                    </a:cubicBezTo>
                    <a:cubicBezTo>
                      <a:pt x="5" y="42"/>
                      <a:pt x="5" y="42"/>
                      <a:pt x="4" y="42"/>
                    </a:cubicBezTo>
                    <a:cubicBezTo>
                      <a:pt x="4" y="43"/>
                      <a:pt x="4" y="43"/>
                      <a:pt x="4" y="43"/>
                    </a:cubicBezTo>
                    <a:cubicBezTo>
                      <a:pt x="4" y="43"/>
                      <a:pt x="4" y="43"/>
                      <a:pt x="4" y="44"/>
                    </a:cubicBezTo>
                    <a:cubicBezTo>
                      <a:pt x="4" y="44"/>
                      <a:pt x="3" y="44"/>
                      <a:pt x="3" y="45"/>
                    </a:cubicBezTo>
                    <a:cubicBezTo>
                      <a:pt x="3" y="45"/>
                      <a:pt x="3" y="45"/>
                      <a:pt x="3" y="46"/>
                    </a:cubicBezTo>
                    <a:cubicBezTo>
                      <a:pt x="3" y="46"/>
                      <a:pt x="2" y="46"/>
                      <a:pt x="2" y="46"/>
                    </a:cubicBezTo>
                    <a:cubicBezTo>
                      <a:pt x="2" y="46"/>
                      <a:pt x="1" y="46"/>
                      <a:pt x="1" y="47"/>
                    </a:cubicBezTo>
                    <a:cubicBezTo>
                      <a:pt x="1" y="48"/>
                      <a:pt x="1" y="48"/>
                      <a:pt x="0" y="48"/>
                    </a:cubicBezTo>
                    <a:cubicBezTo>
                      <a:pt x="0" y="49"/>
                      <a:pt x="1" y="51"/>
                      <a:pt x="0" y="51"/>
                    </a:cubicBezTo>
                    <a:cubicBezTo>
                      <a:pt x="2" y="51"/>
                      <a:pt x="6" y="51"/>
                      <a:pt x="8"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8" name="Freeform 2025">
                <a:extLst>
                  <a:ext uri="{FF2B5EF4-FFF2-40B4-BE49-F238E27FC236}">
                    <a16:creationId xmlns:a16="http://schemas.microsoft.com/office/drawing/2014/main" id="{29F7FA84-17C1-43C7-BB03-4EE1F7F14012}"/>
                  </a:ext>
                </a:extLst>
              </p:cNvPr>
              <p:cNvSpPr>
                <a:spLocks/>
              </p:cNvSpPr>
              <p:nvPr/>
            </p:nvSpPr>
            <p:spPr bwMode="auto">
              <a:xfrm>
                <a:off x="1093" y="396"/>
                <a:ext cx="33" cy="10"/>
              </a:xfrm>
              <a:custGeom>
                <a:avLst/>
                <a:gdLst>
                  <a:gd name="T0" fmla="*/ 7 w 14"/>
                  <a:gd name="T1" fmla="*/ 2 h 4"/>
                  <a:gd name="T2" fmla="*/ 6 w 14"/>
                  <a:gd name="T3" fmla="*/ 2 h 4"/>
                  <a:gd name="T4" fmla="*/ 4 w 14"/>
                  <a:gd name="T5" fmla="*/ 3 h 4"/>
                  <a:gd name="T6" fmla="*/ 0 w 14"/>
                  <a:gd name="T7" fmla="*/ 4 h 4"/>
                  <a:gd name="T8" fmla="*/ 14 w 14"/>
                  <a:gd name="T9" fmla="*/ 2 h 4"/>
                  <a:gd name="T10" fmla="*/ 13 w 14"/>
                  <a:gd name="T11" fmla="*/ 1 h 4"/>
                  <a:gd name="T12" fmla="*/ 9 w 14"/>
                  <a:gd name="T13" fmla="*/ 1 h 4"/>
                  <a:gd name="T14" fmla="*/ 8 w 14"/>
                  <a:gd name="T15" fmla="*/ 2 h 4"/>
                  <a:gd name="T16" fmla="*/ 7 w 14"/>
                  <a:gd name="T17" fmla="*/ 2 h 4"/>
                  <a:gd name="T18" fmla="*/ 7 w 14"/>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7" y="2"/>
                    </a:moveTo>
                    <a:cubicBezTo>
                      <a:pt x="7" y="2"/>
                      <a:pt x="6" y="2"/>
                      <a:pt x="6" y="2"/>
                    </a:cubicBezTo>
                    <a:cubicBezTo>
                      <a:pt x="5" y="3"/>
                      <a:pt x="5" y="3"/>
                      <a:pt x="4" y="3"/>
                    </a:cubicBezTo>
                    <a:cubicBezTo>
                      <a:pt x="2" y="3"/>
                      <a:pt x="1" y="4"/>
                      <a:pt x="0" y="4"/>
                    </a:cubicBezTo>
                    <a:cubicBezTo>
                      <a:pt x="5" y="3"/>
                      <a:pt x="10" y="3"/>
                      <a:pt x="14" y="2"/>
                    </a:cubicBezTo>
                    <a:cubicBezTo>
                      <a:pt x="14" y="1"/>
                      <a:pt x="14" y="1"/>
                      <a:pt x="13" y="1"/>
                    </a:cubicBezTo>
                    <a:cubicBezTo>
                      <a:pt x="12" y="0"/>
                      <a:pt x="10" y="1"/>
                      <a:pt x="9" y="1"/>
                    </a:cubicBezTo>
                    <a:cubicBezTo>
                      <a:pt x="8" y="1"/>
                      <a:pt x="8" y="1"/>
                      <a:pt x="8" y="2"/>
                    </a:cubicBezTo>
                    <a:cubicBezTo>
                      <a:pt x="8" y="2"/>
                      <a:pt x="7" y="2"/>
                      <a:pt x="7" y="2"/>
                    </a:cubicBezTo>
                    <a:cubicBezTo>
                      <a:pt x="7" y="2"/>
                      <a:pt x="7"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9" name="Freeform 2026">
                <a:extLst>
                  <a:ext uri="{FF2B5EF4-FFF2-40B4-BE49-F238E27FC236}">
                    <a16:creationId xmlns:a16="http://schemas.microsoft.com/office/drawing/2014/main" id="{95575C39-28D4-466B-8FD3-36DEE5FE1252}"/>
                  </a:ext>
                </a:extLst>
              </p:cNvPr>
              <p:cNvSpPr>
                <a:spLocks/>
              </p:cNvSpPr>
              <p:nvPr/>
            </p:nvSpPr>
            <p:spPr bwMode="auto">
              <a:xfrm>
                <a:off x="454" y="1390"/>
                <a:ext cx="5" cy="9"/>
              </a:xfrm>
              <a:custGeom>
                <a:avLst/>
                <a:gdLst>
                  <a:gd name="T0" fmla="*/ 2 w 2"/>
                  <a:gd name="T1" fmla="*/ 4 h 4"/>
                  <a:gd name="T2" fmla="*/ 2 w 2"/>
                  <a:gd name="T3" fmla="*/ 3 h 4"/>
                  <a:gd name="T4" fmla="*/ 2 w 2"/>
                  <a:gd name="T5" fmla="*/ 3 h 4"/>
                  <a:gd name="T6" fmla="*/ 2 w 2"/>
                  <a:gd name="T7" fmla="*/ 0 h 4"/>
                  <a:gd name="T8" fmla="*/ 0 w 2"/>
                  <a:gd name="T9" fmla="*/ 1 h 4"/>
                  <a:gd name="T10" fmla="*/ 0 w 2"/>
                  <a:gd name="T11" fmla="*/ 2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cubicBezTo>
                      <a:pt x="2" y="4"/>
                      <a:pt x="2" y="3"/>
                      <a:pt x="2" y="3"/>
                    </a:cubicBezTo>
                    <a:cubicBezTo>
                      <a:pt x="2" y="3"/>
                      <a:pt x="2" y="3"/>
                      <a:pt x="2" y="3"/>
                    </a:cubicBezTo>
                    <a:cubicBezTo>
                      <a:pt x="2" y="2"/>
                      <a:pt x="2" y="1"/>
                      <a:pt x="2" y="0"/>
                    </a:cubicBezTo>
                    <a:cubicBezTo>
                      <a:pt x="0" y="0"/>
                      <a:pt x="0" y="0"/>
                      <a:pt x="0" y="1"/>
                    </a:cubicBezTo>
                    <a:cubicBezTo>
                      <a:pt x="0" y="1"/>
                      <a:pt x="0" y="2"/>
                      <a:pt x="0" y="2"/>
                    </a:cubicBezTo>
                    <a:cubicBezTo>
                      <a:pt x="1" y="3"/>
                      <a:pt x="2"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0" name="Freeform 2027">
                <a:extLst>
                  <a:ext uri="{FF2B5EF4-FFF2-40B4-BE49-F238E27FC236}">
                    <a16:creationId xmlns:a16="http://schemas.microsoft.com/office/drawing/2014/main" id="{3DFC3AFF-F19F-4974-8DEC-0BDCCF9B3992}"/>
                  </a:ext>
                </a:extLst>
              </p:cNvPr>
              <p:cNvSpPr>
                <a:spLocks/>
              </p:cNvSpPr>
              <p:nvPr/>
            </p:nvSpPr>
            <p:spPr bwMode="auto">
              <a:xfrm>
                <a:off x="769" y="330"/>
                <a:ext cx="38" cy="21"/>
              </a:xfrm>
              <a:custGeom>
                <a:avLst/>
                <a:gdLst>
                  <a:gd name="T0" fmla="*/ 4 w 16"/>
                  <a:gd name="T1" fmla="*/ 6 h 9"/>
                  <a:gd name="T2" fmla="*/ 8 w 16"/>
                  <a:gd name="T3" fmla="*/ 8 h 9"/>
                  <a:gd name="T4" fmla="*/ 16 w 16"/>
                  <a:gd name="T5" fmla="*/ 6 h 9"/>
                  <a:gd name="T6" fmla="*/ 8 w 16"/>
                  <a:gd name="T7" fmla="*/ 0 h 9"/>
                  <a:gd name="T8" fmla="*/ 4 w 16"/>
                  <a:gd name="T9" fmla="*/ 2 h 9"/>
                  <a:gd name="T10" fmla="*/ 2 w 16"/>
                  <a:gd name="T11" fmla="*/ 3 h 9"/>
                  <a:gd name="T12" fmla="*/ 0 w 16"/>
                  <a:gd name="T13" fmla="*/ 3 h 9"/>
                  <a:gd name="T14" fmla="*/ 4 w 16"/>
                  <a:gd name="T15" fmla="*/ 6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4" y="6"/>
                    </a:moveTo>
                    <a:cubicBezTo>
                      <a:pt x="6" y="7"/>
                      <a:pt x="7" y="8"/>
                      <a:pt x="8" y="8"/>
                    </a:cubicBezTo>
                    <a:cubicBezTo>
                      <a:pt x="11" y="9"/>
                      <a:pt x="14" y="7"/>
                      <a:pt x="16" y="6"/>
                    </a:cubicBezTo>
                    <a:cubicBezTo>
                      <a:pt x="14" y="4"/>
                      <a:pt x="11" y="2"/>
                      <a:pt x="8" y="0"/>
                    </a:cubicBezTo>
                    <a:cubicBezTo>
                      <a:pt x="7" y="0"/>
                      <a:pt x="5" y="1"/>
                      <a:pt x="4" y="2"/>
                    </a:cubicBezTo>
                    <a:cubicBezTo>
                      <a:pt x="3" y="2"/>
                      <a:pt x="3" y="2"/>
                      <a:pt x="2" y="3"/>
                    </a:cubicBezTo>
                    <a:cubicBezTo>
                      <a:pt x="1" y="3"/>
                      <a:pt x="1" y="3"/>
                      <a:pt x="0" y="3"/>
                    </a:cubicBezTo>
                    <a:cubicBezTo>
                      <a:pt x="1" y="4"/>
                      <a:pt x="3" y="5"/>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1" name="Freeform 2028">
                <a:extLst>
                  <a:ext uri="{FF2B5EF4-FFF2-40B4-BE49-F238E27FC236}">
                    <a16:creationId xmlns:a16="http://schemas.microsoft.com/office/drawing/2014/main" id="{1AF7FCB6-DBF2-40E8-8B31-E5A6E95C56E2}"/>
                  </a:ext>
                </a:extLst>
              </p:cNvPr>
              <p:cNvSpPr>
                <a:spLocks/>
              </p:cNvSpPr>
              <p:nvPr/>
            </p:nvSpPr>
            <p:spPr bwMode="auto">
              <a:xfrm>
                <a:off x="1022" y="403"/>
                <a:ext cx="40" cy="19"/>
              </a:xfrm>
              <a:custGeom>
                <a:avLst/>
                <a:gdLst>
                  <a:gd name="T0" fmla="*/ 0 w 17"/>
                  <a:gd name="T1" fmla="*/ 1 h 8"/>
                  <a:gd name="T2" fmla="*/ 1 w 17"/>
                  <a:gd name="T3" fmla="*/ 3 h 8"/>
                  <a:gd name="T4" fmla="*/ 2 w 17"/>
                  <a:gd name="T5" fmla="*/ 4 h 8"/>
                  <a:gd name="T6" fmla="*/ 2 w 17"/>
                  <a:gd name="T7" fmla="*/ 6 h 8"/>
                  <a:gd name="T8" fmla="*/ 3 w 17"/>
                  <a:gd name="T9" fmla="*/ 7 h 8"/>
                  <a:gd name="T10" fmla="*/ 4 w 17"/>
                  <a:gd name="T11" fmla="*/ 7 h 8"/>
                  <a:gd name="T12" fmla="*/ 9 w 17"/>
                  <a:gd name="T13" fmla="*/ 7 h 8"/>
                  <a:gd name="T14" fmla="*/ 17 w 17"/>
                  <a:gd name="T15" fmla="*/ 5 h 8"/>
                  <a:gd name="T16" fmla="*/ 5 w 17"/>
                  <a:gd name="T17" fmla="*/ 0 h 8"/>
                  <a:gd name="T18" fmla="*/ 0 w 17"/>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8">
                    <a:moveTo>
                      <a:pt x="0" y="1"/>
                    </a:moveTo>
                    <a:cubicBezTo>
                      <a:pt x="0" y="1"/>
                      <a:pt x="0" y="3"/>
                      <a:pt x="1" y="3"/>
                    </a:cubicBezTo>
                    <a:cubicBezTo>
                      <a:pt x="1" y="4"/>
                      <a:pt x="1" y="4"/>
                      <a:pt x="2" y="4"/>
                    </a:cubicBezTo>
                    <a:cubicBezTo>
                      <a:pt x="3" y="4"/>
                      <a:pt x="3" y="5"/>
                      <a:pt x="2" y="6"/>
                    </a:cubicBezTo>
                    <a:cubicBezTo>
                      <a:pt x="4" y="5"/>
                      <a:pt x="3" y="7"/>
                      <a:pt x="3" y="7"/>
                    </a:cubicBezTo>
                    <a:cubicBezTo>
                      <a:pt x="3" y="7"/>
                      <a:pt x="4" y="7"/>
                      <a:pt x="4" y="7"/>
                    </a:cubicBezTo>
                    <a:cubicBezTo>
                      <a:pt x="6" y="7"/>
                      <a:pt x="7" y="7"/>
                      <a:pt x="9" y="7"/>
                    </a:cubicBezTo>
                    <a:cubicBezTo>
                      <a:pt x="11" y="8"/>
                      <a:pt x="15" y="7"/>
                      <a:pt x="17" y="5"/>
                    </a:cubicBezTo>
                    <a:cubicBezTo>
                      <a:pt x="13" y="3"/>
                      <a:pt x="9" y="1"/>
                      <a:pt x="5" y="0"/>
                    </a:cubicBezTo>
                    <a:cubicBezTo>
                      <a:pt x="3" y="0"/>
                      <a:pt x="2"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2" name="Freeform 2029">
                <a:extLst>
                  <a:ext uri="{FF2B5EF4-FFF2-40B4-BE49-F238E27FC236}">
                    <a16:creationId xmlns:a16="http://schemas.microsoft.com/office/drawing/2014/main" id="{37DEEE38-C92A-440E-946C-027F613FC371}"/>
                  </a:ext>
                </a:extLst>
              </p:cNvPr>
              <p:cNvSpPr>
                <a:spLocks/>
              </p:cNvSpPr>
              <p:nvPr/>
            </p:nvSpPr>
            <p:spPr bwMode="auto">
              <a:xfrm>
                <a:off x="1346" y="351"/>
                <a:ext cx="37" cy="24"/>
              </a:xfrm>
              <a:custGeom>
                <a:avLst/>
                <a:gdLst>
                  <a:gd name="T0" fmla="*/ 15 w 16"/>
                  <a:gd name="T1" fmla="*/ 4 h 10"/>
                  <a:gd name="T2" fmla="*/ 14 w 16"/>
                  <a:gd name="T3" fmla="*/ 3 h 10"/>
                  <a:gd name="T4" fmla="*/ 7 w 16"/>
                  <a:gd name="T5" fmla="*/ 1 h 10"/>
                  <a:gd name="T6" fmla="*/ 1 w 16"/>
                  <a:gd name="T7" fmla="*/ 2 h 10"/>
                  <a:gd name="T8" fmla="*/ 0 w 16"/>
                  <a:gd name="T9" fmla="*/ 6 h 10"/>
                  <a:gd name="T10" fmla="*/ 3 w 16"/>
                  <a:gd name="T11" fmla="*/ 8 h 10"/>
                  <a:gd name="T12" fmla="*/ 9 w 16"/>
                  <a:gd name="T13" fmla="*/ 10 h 10"/>
                  <a:gd name="T14" fmla="*/ 16 w 16"/>
                  <a:gd name="T15" fmla="*/ 7 h 10"/>
                  <a:gd name="T16" fmla="*/ 15 w 16"/>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15" y="4"/>
                    </a:moveTo>
                    <a:cubicBezTo>
                      <a:pt x="15" y="4"/>
                      <a:pt x="14" y="4"/>
                      <a:pt x="14" y="3"/>
                    </a:cubicBezTo>
                    <a:cubicBezTo>
                      <a:pt x="12" y="2"/>
                      <a:pt x="10" y="1"/>
                      <a:pt x="7" y="1"/>
                    </a:cubicBezTo>
                    <a:cubicBezTo>
                      <a:pt x="5" y="1"/>
                      <a:pt x="3" y="0"/>
                      <a:pt x="1" y="2"/>
                    </a:cubicBezTo>
                    <a:cubicBezTo>
                      <a:pt x="0" y="2"/>
                      <a:pt x="0" y="5"/>
                      <a:pt x="0" y="6"/>
                    </a:cubicBezTo>
                    <a:cubicBezTo>
                      <a:pt x="1" y="7"/>
                      <a:pt x="2" y="7"/>
                      <a:pt x="3" y="8"/>
                    </a:cubicBezTo>
                    <a:cubicBezTo>
                      <a:pt x="5" y="9"/>
                      <a:pt x="7" y="9"/>
                      <a:pt x="9" y="10"/>
                    </a:cubicBezTo>
                    <a:cubicBezTo>
                      <a:pt x="10" y="10"/>
                      <a:pt x="16" y="9"/>
                      <a:pt x="16" y="7"/>
                    </a:cubicBezTo>
                    <a:cubicBezTo>
                      <a:pt x="16" y="7"/>
                      <a:pt x="15"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3" name="Freeform 2030">
                <a:extLst>
                  <a:ext uri="{FF2B5EF4-FFF2-40B4-BE49-F238E27FC236}">
                    <a16:creationId xmlns:a16="http://schemas.microsoft.com/office/drawing/2014/main" id="{3B2C529C-089B-421D-95EB-B9918CAA9ACF}"/>
                  </a:ext>
                </a:extLst>
              </p:cNvPr>
              <p:cNvSpPr>
                <a:spLocks/>
              </p:cNvSpPr>
              <p:nvPr/>
            </p:nvSpPr>
            <p:spPr bwMode="auto">
              <a:xfrm>
                <a:off x="398" y="1326"/>
                <a:ext cx="23" cy="17"/>
              </a:xfrm>
              <a:custGeom>
                <a:avLst/>
                <a:gdLst>
                  <a:gd name="T0" fmla="*/ 5 w 10"/>
                  <a:gd name="T1" fmla="*/ 3 h 7"/>
                  <a:gd name="T2" fmla="*/ 0 w 10"/>
                  <a:gd name="T3" fmla="*/ 0 h 7"/>
                  <a:gd name="T4" fmla="*/ 6 w 10"/>
                  <a:gd name="T5" fmla="*/ 7 h 7"/>
                  <a:gd name="T6" fmla="*/ 5 w 10"/>
                  <a:gd name="T7" fmla="*/ 3 h 7"/>
                </a:gdLst>
                <a:ahLst/>
                <a:cxnLst>
                  <a:cxn ang="0">
                    <a:pos x="T0" y="T1"/>
                  </a:cxn>
                  <a:cxn ang="0">
                    <a:pos x="T2" y="T3"/>
                  </a:cxn>
                  <a:cxn ang="0">
                    <a:pos x="T4" y="T5"/>
                  </a:cxn>
                  <a:cxn ang="0">
                    <a:pos x="T6" y="T7"/>
                  </a:cxn>
                </a:cxnLst>
                <a:rect l="0" t="0" r="r" b="b"/>
                <a:pathLst>
                  <a:path w="10" h="7">
                    <a:moveTo>
                      <a:pt x="5" y="3"/>
                    </a:moveTo>
                    <a:cubicBezTo>
                      <a:pt x="4" y="2"/>
                      <a:pt x="1" y="0"/>
                      <a:pt x="0" y="0"/>
                    </a:cubicBezTo>
                    <a:cubicBezTo>
                      <a:pt x="2" y="3"/>
                      <a:pt x="4" y="5"/>
                      <a:pt x="6" y="7"/>
                    </a:cubicBezTo>
                    <a:cubicBezTo>
                      <a:pt x="10" y="7"/>
                      <a:pt x="6"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4" name="Freeform 2031">
                <a:extLst>
                  <a:ext uri="{FF2B5EF4-FFF2-40B4-BE49-F238E27FC236}">
                    <a16:creationId xmlns:a16="http://schemas.microsoft.com/office/drawing/2014/main" id="{CA8C292C-4D38-4185-BF16-CB4837202532}"/>
                  </a:ext>
                </a:extLst>
              </p:cNvPr>
              <p:cNvSpPr>
                <a:spLocks/>
              </p:cNvSpPr>
              <p:nvPr/>
            </p:nvSpPr>
            <p:spPr bwMode="auto">
              <a:xfrm>
                <a:off x="2227" y="1456"/>
                <a:ext cx="5"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5" name="Freeform 2032">
                <a:extLst>
                  <a:ext uri="{FF2B5EF4-FFF2-40B4-BE49-F238E27FC236}">
                    <a16:creationId xmlns:a16="http://schemas.microsoft.com/office/drawing/2014/main" id="{8449D7A5-1E19-4713-A835-3C12615F7615}"/>
                  </a:ext>
                </a:extLst>
              </p:cNvPr>
              <p:cNvSpPr>
                <a:spLocks/>
              </p:cNvSpPr>
              <p:nvPr/>
            </p:nvSpPr>
            <p:spPr bwMode="auto">
              <a:xfrm>
                <a:off x="398" y="1321"/>
                <a:ext cx="9" cy="7"/>
              </a:xfrm>
              <a:custGeom>
                <a:avLst/>
                <a:gdLst>
                  <a:gd name="T0" fmla="*/ 4 w 4"/>
                  <a:gd name="T1" fmla="*/ 3 h 3"/>
                  <a:gd name="T2" fmla="*/ 2 w 4"/>
                  <a:gd name="T3" fmla="*/ 0 h 3"/>
                  <a:gd name="T4" fmla="*/ 2 w 4"/>
                  <a:gd name="T5" fmla="*/ 2 h 3"/>
                  <a:gd name="T6" fmla="*/ 4 w 4"/>
                  <a:gd name="T7" fmla="*/ 3 h 3"/>
                </a:gdLst>
                <a:ahLst/>
                <a:cxnLst>
                  <a:cxn ang="0">
                    <a:pos x="T0" y="T1"/>
                  </a:cxn>
                  <a:cxn ang="0">
                    <a:pos x="T2" y="T3"/>
                  </a:cxn>
                  <a:cxn ang="0">
                    <a:pos x="T4" y="T5"/>
                  </a:cxn>
                  <a:cxn ang="0">
                    <a:pos x="T6" y="T7"/>
                  </a:cxn>
                </a:cxnLst>
                <a:rect l="0" t="0" r="r" b="b"/>
                <a:pathLst>
                  <a:path w="4" h="3">
                    <a:moveTo>
                      <a:pt x="4" y="3"/>
                    </a:moveTo>
                    <a:cubicBezTo>
                      <a:pt x="4" y="2"/>
                      <a:pt x="3" y="1"/>
                      <a:pt x="2" y="0"/>
                    </a:cubicBezTo>
                    <a:cubicBezTo>
                      <a:pt x="2" y="1"/>
                      <a:pt x="0" y="2"/>
                      <a:pt x="2" y="2"/>
                    </a:cubicBezTo>
                    <a:cubicBezTo>
                      <a:pt x="2" y="3"/>
                      <a:pt x="3" y="3"/>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6" name="Freeform 2033">
                <a:extLst>
                  <a:ext uri="{FF2B5EF4-FFF2-40B4-BE49-F238E27FC236}">
                    <a16:creationId xmlns:a16="http://schemas.microsoft.com/office/drawing/2014/main" id="{F2322E9C-7E9E-4CD5-9C90-66BCDCEC484D}"/>
                  </a:ext>
                </a:extLst>
              </p:cNvPr>
              <p:cNvSpPr>
                <a:spLocks/>
              </p:cNvSpPr>
              <p:nvPr/>
            </p:nvSpPr>
            <p:spPr bwMode="auto">
              <a:xfrm>
                <a:off x="2239" y="1518"/>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7" name="Freeform 2034">
                <a:extLst>
                  <a:ext uri="{FF2B5EF4-FFF2-40B4-BE49-F238E27FC236}">
                    <a16:creationId xmlns:a16="http://schemas.microsoft.com/office/drawing/2014/main" id="{8B7A8A04-5B07-47E5-A6C1-DB3F66602B41}"/>
                  </a:ext>
                </a:extLst>
              </p:cNvPr>
              <p:cNvSpPr>
                <a:spLocks/>
              </p:cNvSpPr>
              <p:nvPr/>
            </p:nvSpPr>
            <p:spPr bwMode="auto">
              <a:xfrm>
                <a:off x="2206" y="1418"/>
                <a:ext cx="3"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8" name="Freeform 2035">
                <a:extLst>
                  <a:ext uri="{FF2B5EF4-FFF2-40B4-BE49-F238E27FC236}">
                    <a16:creationId xmlns:a16="http://schemas.microsoft.com/office/drawing/2014/main" id="{7D636FEB-F459-4B64-BE44-605FBA280311}"/>
                  </a:ext>
                </a:extLst>
              </p:cNvPr>
              <p:cNvSpPr>
                <a:spLocks/>
              </p:cNvSpPr>
              <p:nvPr/>
            </p:nvSpPr>
            <p:spPr bwMode="auto">
              <a:xfrm>
                <a:off x="1677" y="969"/>
                <a:ext cx="23" cy="16"/>
              </a:xfrm>
              <a:custGeom>
                <a:avLst/>
                <a:gdLst>
                  <a:gd name="T0" fmla="*/ 3 w 10"/>
                  <a:gd name="T1" fmla="*/ 3 h 7"/>
                  <a:gd name="T2" fmla="*/ 10 w 10"/>
                  <a:gd name="T3" fmla="*/ 4 h 7"/>
                  <a:gd name="T4" fmla="*/ 9 w 10"/>
                  <a:gd name="T5" fmla="*/ 4 h 7"/>
                  <a:gd name="T6" fmla="*/ 4 w 10"/>
                  <a:gd name="T7" fmla="*/ 1 h 7"/>
                  <a:gd name="T8" fmla="*/ 1 w 10"/>
                  <a:gd name="T9" fmla="*/ 1 h 7"/>
                  <a:gd name="T10" fmla="*/ 0 w 10"/>
                  <a:gd name="T11" fmla="*/ 2 h 7"/>
                  <a:gd name="T12" fmla="*/ 1 w 10"/>
                  <a:gd name="T13" fmla="*/ 2 h 7"/>
                  <a:gd name="T14" fmla="*/ 1 w 10"/>
                  <a:gd name="T15" fmla="*/ 2 h 7"/>
                  <a:gd name="T16" fmla="*/ 3 w 10"/>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3" y="3"/>
                    </a:moveTo>
                    <a:cubicBezTo>
                      <a:pt x="5" y="5"/>
                      <a:pt x="8" y="7"/>
                      <a:pt x="10" y="4"/>
                    </a:cubicBezTo>
                    <a:cubicBezTo>
                      <a:pt x="10" y="4"/>
                      <a:pt x="9" y="4"/>
                      <a:pt x="9" y="4"/>
                    </a:cubicBezTo>
                    <a:cubicBezTo>
                      <a:pt x="7" y="3"/>
                      <a:pt x="6" y="1"/>
                      <a:pt x="4" y="1"/>
                    </a:cubicBezTo>
                    <a:cubicBezTo>
                      <a:pt x="4" y="0"/>
                      <a:pt x="2" y="1"/>
                      <a:pt x="1" y="1"/>
                    </a:cubicBezTo>
                    <a:cubicBezTo>
                      <a:pt x="1" y="1"/>
                      <a:pt x="1" y="1"/>
                      <a:pt x="0" y="2"/>
                    </a:cubicBezTo>
                    <a:cubicBezTo>
                      <a:pt x="1" y="2"/>
                      <a:pt x="1" y="2"/>
                      <a:pt x="1" y="2"/>
                    </a:cubicBezTo>
                    <a:cubicBezTo>
                      <a:pt x="1" y="2"/>
                      <a:pt x="1" y="2"/>
                      <a:pt x="1" y="2"/>
                    </a:cubicBezTo>
                    <a:cubicBezTo>
                      <a:pt x="1" y="2"/>
                      <a:pt x="3"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9" name="Freeform 2036">
                <a:extLst>
                  <a:ext uri="{FF2B5EF4-FFF2-40B4-BE49-F238E27FC236}">
                    <a16:creationId xmlns:a16="http://schemas.microsoft.com/office/drawing/2014/main" id="{61B06BB9-A023-47A0-BA9F-60A4B142B920}"/>
                  </a:ext>
                </a:extLst>
              </p:cNvPr>
              <p:cNvSpPr>
                <a:spLocks/>
              </p:cNvSpPr>
              <p:nvPr/>
            </p:nvSpPr>
            <p:spPr bwMode="auto">
              <a:xfrm>
                <a:off x="1972" y="1035"/>
                <a:ext cx="12" cy="9"/>
              </a:xfrm>
              <a:custGeom>
                <a:avLst/>
                <a:gdLst>
                  <a:gd name="T0" fmla="*/ 4 w 5"/>
                  <a:gd name="T1" fmla="*/ 4 h 4"/>
                  <a:gd name="T2" fmla="*/ 2 w 5"/>
                  <a:gd name="T3" fmla="*/ 1 h 4"/>
                  <a:gd name="T4" fmla="*/ 0 w 5"/>
                  <a:gd name="T5" fmla="*/ 1 h 4"/>
                  <a:gd name="T6" fmla="*/ 2 w 5"/>
                  <a:gd name="T7" fmla="*/ 3 h 4"/>
                  <a:gd name="T8" fmla="*/ 4 w 5"/>
                  <a:gd name="T9" fmla="*/ 4 h 4"/>
                </a:gdLst>
                <a:ahLst/>
                <a:cxnLst>
                  <a:cxn ang="0">
                    <a:pos x="T0" y="T1"/>
                  </a:cxn>
                  <a:cxn ang="0">
                    <a:pos x="T2" y="T3"/>
                  </a:cxn>
                  <a:cxn ang="0">
                    <a:pos x="T4" y="T5"/>
                  </a:cxn>
                  <a:cxn ang="0">
                    <a:pos x="T6" y="T7"/>
                  </a:cxn>
                  <a:cxn ang="0">
                    <a:pos x="T8" y="T9"/>
                  </a:cxn>
                </a:cxnLst>
                <a:rect l="0" t="0" r="r" b="b"/>
                <a:pathLst>
                  <a:path w="5" h="4">
                    <a:moveTo>
                      <a:pt x="4" y="4"/>
                    </a:moveTo>
                    <a:cubicBezTo>
                      <a:pt x="5" y="3"/>
                      <a:pt x="3" y="1"/>
                      <a:pt x="2" y="1"/>
                    </a:cubicBezTo>
                    <a:cubicBezTo>
                      <a:pt x="2" y="0"/>
                      <a:pt x="0" y="0"/>
                      <a:pt x="0" y="1"/>
                    </a:cubicBezTo>
                    <a:cubicBezTo>
                      <a:pt x="0" y="2"/>
                      <a:pt x="2" y="3"/>
                      <a:pt x="2" y="3"/>
                    </a:cubicBezTo>
                    <a:cubicBezTo>
                      <a:pt x="3"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0" name="Freeform 2037">
                <a:extLst>
                  <a:ext uri="{FF2B5EF4-FFF2-40B4-BE49-F238E27FC236}">
                    <a16:creationId xmlns:a16="http://schemas.microsoft.com/office/drawing/2014/main" id="{E21E78BC-6E8E-4650-9B66-3777877E3E94}"/>
                  </a:ext>
                </a:extLst>
              </p:cNvPr>
              <p:cNvSpPr>
                <a:spLocks/>
              </p:cNvSpPr>
              <p:nvPr/>
            </p:nvSpPr>
            <p:spPr bwMode="auto">
              <a:xfrm>
                <a:off x="1745" y="1007"/>
                <a:ext cx="17" cy="4"/>
              </a:xfrm>
              <a:custGeom>
                <a:avLst/>
                <a:gdLst>
                  <a:gd name="T0" fmla="*/ 0 w 7"/>
                  <a:gd name="T1" fmla="*/ 0 h 2"/>
                  <a:gd name="T2" fmla="*/ 7 w 7"/>
                  <a:gd name="T3" fmla="*/ 2 h 2"/>
                  <a:gd name="T4" fmla="*/ 2 w 7"/>
                  <a:gd name="T5" fmla="*/ 0 h 2"/>
                  <a:gd name="T6" fmla="*/ 0 w 7"/>
                  <a:gd name="T7" fmla="*/ 0 h 2"/>
                </a:gdLst>
                <a:ahLst/>
                <a:cxnLst>
                  <a:cxn ang="0">
                    <a:pos x="T0" y="T1"/>
                  </a:cxn>
                  <a:cxn ang="0">
                    <a:pos x="T2" y="T3"/>
                  </a:cxn>
                  <a:cxn ang="0">
                    <a:pos x="T4" y="T5"/>
                  </a:cxn>
                  <a:cxn ang="0">
                    <a:pos x="T6" y="T7"/>
                  </a:cxn>
                </a:cxnLst>
                <a:rect l="0" t="0" r="r" b="b"/>
                <a:pathLst>
                  <a:path w="7" h="2">
                    <a:moveTo>
                      <a:pt x="0" y="0"/>
                    </a:moveTo>
                    <a:cubicBezTo>
                      <a:pt x="2" y="1"/>
                      <a:pt x="5" y="2"/>
                      <a:pt x="7" y="2"/>
                    </a:cubicBezTo>
                    <a:cubicBezTo>
                      <a:pt x="6" y="1"/>
                      <a:pt x="4" y="0"/>
                      <a:pt x="2" y="0"/>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1" name="Freeform 2038">
                <a:extLst>
                  <a:ext uri="{FF2B5EF4-FFF2-40B4-BE49-F238E27FC236}">
                    <a16:creationId xmlns:a16="http://schemas.microsoft.com/office/drawing/2014/main" id="{FBBB20A6-8130-4B2A-859D-78194B8138F2}"/>
                  </a:ext>
                </a:extLst>
              </p:cNvPr>
              <p:cNvSpPr>
                <a:spLocks/>
              </p:cNvSpPr>
              <p:nvPr/>
            </p:nvSpPr>
            <p:spPr bwMode="auto">
              <a:xfrm>
                <a:off x="1362" y="394"/>
                <a:ext cx="21" cy="19"/>
              </a:xfrm>
              <a:custGeom>
                <a:avLst/>
                <a:gdLst>
                  <a:gd name="T0" fmla="*/ 8 w 9"/>
                  <a:gd name="T1" fmla="*/ 4 h 8"/>
                  <a:gd name="T2" fmla="*/ 9 w 9"/>
                  <a:gd name="T3" fmla="*/ 3 h 8"/>
                  <a:gd name="T4" fmla="*/ 9 w 9"/>
                  <a:gd name="T5" fmla="*/ 2 h 8"/>
                  <a:gd name="T6" fmla="*/ 8 w 9"/>
                  <a:gd name="T7" fmla="*/ 2 h 8"/>
                  <a:gd name="T8" fmla="*/ 7 w 9"/>
                  <a:gd name="T9" fmla="*/ 1 h 8"/>
                  <a:gd name="T10" fmla="*/ 7 w 9"/>
                  <a:gd name="T11" fmla="*/ 1 h 8"/>
                  <a:gd name="T12" fmla="*/ 7 w 9"/>
                  <a:gd name="T13" fmla="*/ 1 h 8"/>
                  <a:gd name="T14" fmla="*/ 7 w 9"/>
                  <a:gd name="T15" fmla="*/ 0 h 8"/>
                  <a:gd name="T16" fmla="*/ 6 w 9"/>
                  <a:gd name="T17" fmla="*/ 0 h 8"/>
                  <a:gd name="T18" fmla="*/ 6 w 9"/>
                  <a:gd name="T19" fmla="*/ 0 h 8"/>
                  <a:gd name="T20" fmla="*/ 6 w 9"/>
                  <a:gd name="T21" fmla="*/ 0 h 8"/>
                  <a:gd name="T22" fmla="*/ 6 w 9"/>
                  <a:gd name="T23" fmla="*/ 0 h 8"/>
                  <a:gd name="T24" fmla="*/ 5 w 9"/>
                  <a:gd name="T25" fmla="*/ 0 h 8"/>
                  <a:gd name="T26" fmla="*/ 5 w 9"/>
                  <a:gd name="T27" fmla="*/ 0 h 8"/>
                  <a:gd name="T28" fmla="*/ 1 w 9"/>
                  <a:gd name="T29" fmla="*/ 1 h 8"/>
                  <a:gd name="T30" fmla="*/ 1 w 9"/>
                  <a:gd name="T31" fmla="*/ 1 h 8"/>
                  <a:gd name="T32" fmla="*/ 0 w 9"/>
                  <a:gd name="T33" fmla="*/ 1 h 8"/>
                  <a:gd name="T34" fmla="*/ 0 w 9"/>
                  <a:gd name="T35" fmla="*/ 1 h 8"/>
                  <a:gd name="T36" fmla="*/ 0 w 9"/>
                  <a:gd name="T37" fmla="*/ 2 h 8"/>
                  <a:gd name="T38" fmla="*/ 0 w 9"/>
                  <a:gd name="T39" fmla="*/ 2 h 8"/>
                  <a:gd name="T40" fmla="*/ 0 w 9"/>
                  <a:gd name="T41" fmla="*/ 2 h 8"/>
                  <a:gd name="T42" fmla="*/ 1 w 9"/>
                  <a:gd name="T43" fmla="*/ 3 h 8"/>
                  <a:gd name="T44" fmla="*/ 1 w 9"/>
                  <a:gd name="T45" fmla="*/ 3 h 8"/>
                  <a:gd name="T46" fmla="*/ 1 w 9"/>
                  <a:gd name="T47" fmla="*/ 3 h 8"/>
                  <a:gd name="T48" fmla="*/ 5 w 9"/>
                  <a:gd name="T49" fmla="*/ 7 h 8"/>
                  <a:gd name="T50" fmla="*/ 6 w 9"/>
                  <a:gd name="T51" fmla="*/ 8 h 8"/>
                  <a:gd name="T52" fmla="*/ 8 w 9"/>
                  <a:gd name="T53" fmla="*/ 8 h 8"/>
                  <a:gd name="T54" fmla="*/ 8 w 9"/>
                  <a:gd name="T55" fmla="*/ 7 h 8"/>
                  <a:gd name="T56" fmla="*/ 9 w 9"/>
                  <a:gd name="T57" fmla="*/ 7 h 8"/>
                  <a:gd name="T58" fmla="*/ 9 w 9"/>
                  <a:gd name="T59" fmla="*/ 7 h 8"/>
                  <a:gd name="T60" fmla="*/ 9 w 9"/>
                  <a:gd name="T61" fmla="*/ 7 h 8"/>
                  <a:gd name="T62" fmla="*/ 9 w 9"/>
                  <a:gd name="T63" fmla="*/ 7 h 8"/>
                  <a:gd name="T64" fmla="*/ 7 w 9"/>
                  <a:gd name="T65" fmla="*/ 5 h 8"/>
                  <a:gd name="T66" fmla="*/ 7 w 9"/>
                  <a:gd name="T67" fmla="*/ 4 h 8"/>
                  <a:gd name="T68" fmla="*/ 8 w 9"/>
                  <a:gd name="T6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8">
                    <a:moveTo>
                      <a:pt x="8" y="4"/>
                    </a:moveTo>
                    <a:cubicBezTo>
                      <a:pt x="8" y="4"/>
                      <a:pt x="8" y="3"/>
                      <a:pt x="9" y="3"/>
                    </a:cubicBezTo>
                    <a:cubicBezTo>
                      <a:pt x="9" y="3"/>
                      <a:pt x="9" y="3"/>
                      <a:pt x="9" y="2"/>
                    </a:cubicBezTo>
                    <a:cubicBezTo>
                      <a:pt x="8" y="2"/>
                      <a:pt x="8" y="2"/>
                      <a:pt x="8" y="2"/>
                    </a:cubicBezTo>
                    <a:cubicBezTo>
                      <a:pt x="8" y="1"/>
                      <a:pt x="8" y="1"/>
                      <a:pt x="7" y="1"/>
                    </a:cubicBezTo>
                    <a:cubicBezTo>
                      <a:pt x="7" y="1"/>
                      <a:pt x="7" y="1"/>
                      <a:pt x="7" y="1"/>
                    </a:cubicBezTo>
                    <a:cubicBezTo>
                      <a:pt x="7" y="1"/>
                      <a:pt x="7" y="1"/>
                      <a:pt x="7" y="1"/>
                    </a:cubicBezTo>
                    <a:cubicBezTo>
                      <a:pt x="7" y="1"/>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4" y="0"/>
                      <a:pt x="2" y="1"/>
                      <a:pt x="1" y="1"/>
                    </a:cubicBezTo>
                    <a:cubicBezTo>
                      <a:pt x="1" y="1"/>
                      <a:pt x="1" y="1"/>
                      <a:pt x="1" y="1"/>
                    </a:cubicBezTo>
                    <a:cubicBezTo>
                      <a:pt x="1" y="1"/>
                      <a:pt x="0" y="1"/>
                      <a:pt x="0" y="1"/>
                    </a:cubicBezTo>
                    <a:cubicBezTo>
                      <a:pt x="0" y="1"/>
                      <a:pt x="0" y="1"/>
                      <a:pt x="0" y="1"/>
                    </a:cubicBezTo>
                    <a:cubicBezTo>
                      <a:pt x="0" y="1"/>
                      <a:pt x="0" y="1"/>
                      <a:pt x="0" y="2"/>
                    </a:cubicBezTo>
                    <a:cubicBezTo>
                      <a:pt x="0" y="2"/>
                      <a:pt x="0" y="2"/>
                      <a:pt x="0" y="2"/>
                    </a:cubicBezTo>
                    <a:cubicBezTo>
                      <a:pt x="0" y="2"/>
                      <a:pt x="0" y="2"/>
                      <a:pt x="0" y="2"/>
                    </a:cubicBezTo>
                    <a:cubicBezTo>
                      <a:pt x="0" y="2"/>
                      <a:pt x="0" y="3"/>
                      <a:pt x="1" y="3"/>
                    </a:cubicBezTo>
                    <a:cubicBezTo>
                      <a:pt x="1" y="3"/>
                      <a:pt x="1" y="3"/>
                      <a:pt x="1" y="3"/>
                    </a:cubicBezTo>
                    <a:cubicBezTo>
                      <a:pt x="1" y="3"/>
                      <a:pt x="1" y="3"/>
                      <a:pt x="1" y="3"/>
                    </a:cubicBezTo>
                    <a:cubicBezTo>
                      <a:pt x="2" y="4"/>
                      <a:pt x="4" y="7"/>
                      <a:pt x="5" y="7"/>
                    </a:cubicBezTo>
                    <a:cubicBezTo>
                      <a:pt x="5" y="8"/>
                      <a:pt x="6" y="8"/>
                      <a:pt x="6" y="8"/>
                    </a:cubicBezTo>
                    <a:cubicBezTo>
                      <a:pt x="6" y="8"/>
                      <a:pt x="7" y="8"/>
                      <a:pt x="8" y="8"/>
                    </a:cubicBezTo>
                    <a:cubicBezTo>
                      <a:pt x="8" y="8"/>
                      <a:pt x="8" y="7"/>
                      <a:pt x="8" y="7"/>
                    </a:cubicBezTo>
                    <a:cubicBezTo>
                      <a:pt x="9" y="7"/>
                      <a:pt x="9" y="7"/>
                      <a:pt x="9" y="7"/>
                    </a:cubicBezTo>
                    <a:cubicBezTo>
                      <a:pt x="9" y="7"/>
                      <a:pt x="9" y="7"/>
                      <a:pt x="9" y="7"/>
                    </a:cubicBezTo>
                    <a:cubicBezTo>
                      <a:pt x="9" y="7"/>
                      <a:pt x="9" y="7"/>
                      <a:pt x="9" y="7"/>
                    </a:cubicBezTo>
                    <a:cubicBezTo>
                      <a:pt x="9" y="7"/>
                      <a:pt x="9" y="7"/>
                      <a:pt x="9" y="7"/>
                    </a:cubicBezTo>
                    <a:cubicBezTo>
                      <a:pt x="8" y="6"/>
                      <a:pt x="7" y="6"/>
                      <a:pt x="7" y="5"/>
                    </a:cubicBezTo>
                    <a:cubicBezTo>
                      <a:pt x="7" y="4"/>
                      <a:pt x="7" y="4"/>
                      <a:pt x="7" y="4"/>
                    </a:cubicBezTo>
                    <a:cubicBezTo>
                      <a:pt x="7" y="4"/>
                      <a:pt x="8"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2" name="Freeform 2039">
                <a:extLst>
                  <a:ext uri="{FF2B5EF4-FFF2-40B4-BE49-F238E27FC236}">
                    <a16:creationId xmlns:a16="http://schemas.microsoft.com/office/drawing/2014/main" id="{E7812CB6-24B0-46B6-9C51-500603CF1379}"/>
                  </a:ext>
                </a:extLst>
              </p:cNvPr>
              <p:cNvSpPr>
                <a:spLocks/>
              </p:cNvSpPr>
              <p:nvPr/>
            </p:nvSpPr>
            <p:spPr bwMode="auto">
              <a:xfrm>
                <a:off x="1986" y="1508"/>
                <a:ext cx="5" cy="5"/>
              </a:xfrm>
              <a:custGeom>
                <a:avLst/>
                <a:gdLst>
                  <a:gd name="T0" fmla="*/ 0 w 2"/>
                  <a:gd name="T1" fmla="*/ 2 h 2"/>
                  <a:gd name="T2" fmla="*/ 0 w 2"/>
                  <a:gd name="T3" fmla="*/ 2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2"/>
                      <a:pt x="0" y="2"/>
                      <a:pt x="0" y="2"/>
                    </a:cubicBezTo>
                    <a:cubicBezTo>
                      <a:pt x="1" y="2"/>
                      <a:pt x="2" y="1"/>
                      <a:pt x="2" y="0"/>
                    </a:cubicBezTo>
                    <a:cubicBezTo>
                      <a:pt x="2" y="0"/>
                      <a:pt x="2" y="0"/>
                      <a:pt x="2" y="0"/>
                    </a:cubicBezTo>
                    <a:cubicBezTo>
                      <a:pt x="1"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3" name="Freeform 2040">
                <a:extLst>
                  <a:ext uri="{FF2B5EF4-FFF2-40B4-BE49-F238E27FC236}">
                    <a16:creationId xmlns:a16="http://schemas.microsoft.com/office/drawing/2014/main" id="{B0E5C602-59A1-44F0-854F-E46A60E876FA}"/>
                  </a:ext>
                </a:extLst>
              </p:cNvPr>
              <p:cNvSpPr>
                <a:spLocks/>
              </p:cNvSpPr>
              <p:nvPr/>
            </p:nvSpPr>
            <p:spPr bwMode="auto">
              <a:xfrm>
                <a:off x="499" y="1463"/>
                <a:ext cx="5" cy="5"/>
              </a:xfrm>
              <a:custGeom>
                <a:avLst/>
                <a:gdLst>
                  <a:gd name="T0" fmla="*/ 1 w 2"/>
                  <a:gd name="T1" fmla="*/ 1 h 2"/>
                  <a:gd name="T2" fmla="*/ 2 w 2"/>
                  <a:gd name="T3" fmla="*/ 2 h 2"/>
                  <a:gd name="T4" fmla="*/ 2 w 2"/>
                  <a:gd name="T5" fmla="*/ 0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2" y="2"/>
                      <a:pt x="2" y="2"/>
                    </a:cubicBezTo>
                    <a:cubicBezTo>
                      <a:pt x="2" y="1"/>
                      <a:pt x="2" y="1"/>
                      <a:pt x="2" y="0"/>
                    </a:cubicBezTo>
                    <a:cubicBezTo>
                      <a:pt x="0"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4" name="Freeform 2041">
                <a:extLst>
                  <a:ext uri="{FF2B5EF4-FFF2-40B4-BE49-F238E27FC236}">
                    <a16:creationId xmlns:a16="http://schemas.microsoft.com/office/drawing/2014/main" id="{845F39CA-32B5-4A91-B991-75815A56512F}"/>
                  </a:ext>
                </a:extLst>
              </p:cNvPr>
              <p:cNvSpPr>
                <a:spLocks/>
              </p:cNvSpPr>
              <p:nvPr/>
            </p:nvSpPr>
            <p:spPr bwMode="auto">
              <a:xfrm>
                <a:off x="2237" y="1451"/>
                <a:ext cx="7" cy="7"/>
              </a:xfrm>
              <a:custGeom>
                <a:avLst/>
                <a:gdLst>
                  <a:gd name="T0" fmla="*/ 1 w 3"/>
                  <a:gd name="T1" fmla="*/ 1 h 3"/>
                  <a:gd name="T2" fmla="*/ 0 w 3"/>
                  <a:gd name="T3" fmla="*/ 1 h 3"/>
                  <a:gd name="T4" fmla="*/ 3 w 3"/>
                  <a:gd name="T5" fmla="*/ 1 h 3"/>
                  <a:gd name="T6" fmla="*/ 3 w 3"/>
                  <a:gd name="T7" fmla="*/ 0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1" y="0"/>
                      <a:pt x="0" y="1"/>
                      <a:pt x="0" y="1"/>
                    </a:cubicBezTo>
                    <a:cubicBezTo>
                      <a:pt x="1" y="3"/>
                      <a:pt x="2" y="2"/>
                      <a:pt x="3" y="1"/>
                    </a:cubicBezTo>
                    <a:cubicBezTo>
                      <a:pt x="3" y="1"/>
                      <a:pt x="3" y="1"/>
                      <a:pt x="3" y="0"/>
                    </a:cubicBezTo>
                    <a:cubicBezTo>
                      <a:pt x="2" y="0"/>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5" name="Freeform 2042">
                <a:extLst>
                  <a:ext uri="{FF2B5EF4-FFF2-40B4-BE49-F238E27FC236}">
                    <a16:creationId xmlns:a16="http://schemas.microsoft.com/office/drawing/2014/main" id="{9A17E3BB-753F-40BC-8813-D454CE781681}"/>
                  </a:ext>
                </a:extLst>
              </p:cNvPr>
              <p:cNvSpPr>
                <a:spLocks/>
              </p:cNvSpPr>
              <p:nvPr/>
            </p:nvSpPr>
            <p:spPr bwMode="auto">
              <a:xfrm>
                <a:off x="1220" y="344"/>
                <a:ext cx="78" cy="19"/>
              </a:xfrm>
              <a:custGeom>
                <a:avLst/>
                <a:gdLst>
                  <a:gd name="T0" fmla="*/ 12 w 33"/>
                  <a:gd name="T1" fmla="*/ 8 h 8"/>
                  <a:gd name="T2" fmla="*/ 19 w 33"/>
                  <a:gd name="T3" fmla="*/ 7 h 8"/>
                  <a:gd name="T4" fmla="*/ 22 w 33"/>
                  <a:gd name="T5" fmla="*/ 8 h 8"/>
                  <a:gd name="T6" fmla="*/ 28 w 33"/>
                  <a:gd name="T7" fmla="*/ 8 h 8"/>
                  <a:gd name="T8" fmla="*/ 33 w 33"/>
                  <a:gd name="T9" fmla="*/ 2 h 8"/>
                  <a:gd name="T10" fmla="*/ 29 w 33"/>
                  <a:gd name="T11" fmla="*/ 1 h 8"/>
                  <a:gd name="T12" fmla="*/ 26 w 33"/>
                  <a:gd name="T13" fmla="*/ 2 h 8"/>
                  <a:gd name="T14" fmla="*/ 24 w 33"/>
                  <a:gd name="T15" fmla="*/ 1 h 8"/>
                  <a:gd name="T16" fmla="*/ 22 w 33"/>
                  <a:gd name="T17" fmla="*/ 1 h 8"/>
                  <a:gd name="T18" fmla="*/ 20 w 33"/>
                  <a:gd name="T19" fmla="*/ 1 h 8"/>
                  <a:gd name="T20" fmla="*/ 16 w 33"/>
                  <a:gd name="T21" fmla="*/ 1 h 8"/>
                  <a:gd name="T22" fmla="*/ 13 w 33"/>
                  <a:gd name="T23" fmla="*/ 1 h 8"/>
                  <a:gd name="T24" fmla="*/ 12 w 33"/>
                  <a:gd name="T25" fmla="*/ 1 h 8"/>
                  <a:gd name="T26" fmla="*/ 11 w 33"/>
                  <a:gd name="T27" fmla="*/ 2 h 8"/>
                  <a:gd name="T28" fmla="*/ 10 w 33"/>
                  <a:gd name="T29" fmla="*/ 0 h 8"/>
                  <a:gd name="T30" fmla="*/ 8 w 33"/>
                  <a:gd name="T31" fmla="*/ 1 h 8"/>
                  <a:gd name="T32" fmla="*/ 5 w 33"/>
                  <a:gd name="T33" fmla="*/ 1 h 8"/>
                  <a:gd name="T34" fmla="*/ 2 w 33"/>
                  <a:gd name="T35" fmla="*/ 6 h 8"/>
                  <a:gd name="T36" fmla="*/ 12 w 33"/>
                  <a:gd name="T3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8">
                    <a:moveTo>
                      <a:pt x="12" y="8"/>
                    </a:moveTo>
                    <a:cubicBezTo>
                      <a:pt x="14" y="8"/>
                      <a:pt x="17" y="7"/>
                      <a:pt x="19" y="7"/>
                    </a:cubicBezTo>
                    <a:cubicBezTo>
                      <a:pt x="20" y="7"/>
                      <a:pt x="21" y="8"/>
                      <a:pt x="22" y="8"/>
                    </a:cubicBezTo>
                    <a:cubicBezTo>
                      <a:pt x="24" y="8"/>
                      <a:pt x="26" y="8"/>
                      <a:pt x="28" y="8"/>
                    </a:cubicBezTo>
                    <a:cubicBezTo>
                      <a:pt x="30" y="8"/>
                      <a:pt x="32" y="4"/>
                      <a:pt x="33" y="2"/>
                    </a:cubicBezTo>
                    <a:cubicBezTo>
                      <a:pt x="32" y="2"/>
                      <a:pt x="30" y="1"/>
                      <a:pt x="29" y="1"/>
                    </a:cubicBezTo>
                    <a:cubicBezTo>
                      <a:pt x="28" y="1"/>
                      <a:pt x="27" y="2"/>
                      <a:pt x="26" y="2"/>
                    </a:cubicBezTo>
                    <a:cubicBezTo>
                      <a:pt x="25" y="2"/>
                      <a:pt x="25" y="1"/>
                      <a:pt x="24" y="1"/>
                    </a:cubicBezTo>
                    <a:cubicBezTo>
                      <a:pt x="23" y="1"/>
                      <a:pt x="23" y="1"/>
                      <a:pt x="22" y="1"/>
                    </a:cubicBezTo>
                    <a:cubicBezTo>
                      <a:pt x="22" y="1"/>
                      <a:pt x="21" y="1"/>
                      <a:pt x="20" y="1"/>
                    </a:cubicBezTo>
                    <a:cubicBezTo>
                      <a:pt x="19" y="1"/>
                      <a:pt x="18" y="1"/>
                      <a:pt x="16" y="1"/>
                    </a:cubicBezTo>
                    <a:cubicBezTo>
                      <a:pt x="15" y="1"/>
                      <a:pt x="15" y="1"/>
                      <a:pt x="13" y="1"/>
                    </a:cubicBezTo>
                    <a:cubicBezTo>
                      <a:pt x="13" y="1"/>
                      <a:pt x="12" y="1"/>
                      <a:pt x="12" y="1"/>
                    </a:cubicBezTo>
                    <a:cubicBezTo>
                      <a:pt x="12" y="1"/>
                      <a:pt x="11" y="2"/>
                      <a:pt x="11" y="2"/>
                    </a:cubicBezTo>
                    <a:cubicBezTo>
                      <a:pt x="10" y="1"/>
                      <a:pt x="11" y="0"/>
                      <a:pt x="10" y="0"/>
                    </a:cubicBezTo>
                    <a:cubicBezTo>
                      <a:pt x="9" y="0"/>
                      <a:pt x="9" y="1"/>
                      <a:pt x="8" y="1"/>
                    </a:cubicBezTo>
                    <a:cubicBezTo>
                      <a:pt x="8" y="1"/>
                      <a:pt x="6" y="1"/>
                      <a:pt x="5" y="1"/>
                    </a:cubicBezTo>
                    <a:cubicBezTo>
                      <a:pt x="3" y="2"/>
                      <a:pt x="0" y="3"/>
                      <a:pt x="2" y="6"/>
                    </a:cubicBezTo>
                    <a:cubicBezTo>
                      <a:pt x="5" y="8"/>
                      <a:pt x="8" y="7"/>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6" name="Freeform 2043">
                <a:extLst>
                  <a:ext uri="{FF2B5EF4-FFF2-40B4-BE49-F238E27FC236}">
                    <a16:creationId xmlns:a16="http://schemas.microsoft.com/office/drawing/2014/main" id="{C50511B0-980A-4114-8113-E4C505EE3716}"/>
                  </a:ext>
                </a:extLst>
              </p:cNvPr>
              <p:cNvSpPr>
                <a:spLocks/>
              </p:cNvSpPr>
              <p:nvPr/>
            </p:nvSpPr>
            <p:spPr bwMode="auto">
              <a:xfrm>
                <a:off x="1024" y="417"/>
                <a:ext cx="50" cy="19"/>
              </a:xfrm>
              <a:custGeom>
                <a:avLst/>
                <a:gdLst>
                  <a:gd name="T0" fmla="*/ 8 w 21"/>
                  <a:gd name="T1" fmla="*/ 2 h 8"/>
                  <a:gd name="T2" fmla="*/ 5 w 21"/>
                  <a:gd name="T3" fmla="*/ 3 h 8"/>
                  <a:gd name="T4" fmla="*/ 3 w 21"/>
                  <a:gd name="T5" fmla="*/ 3 h 8"/>
                  <a:gd name="T6" fmla="*/ 1 w 21"/>
                  <a:gd name="T7" fmla="*/ 4 h 8"/>
                  <a:gd name="T8" fmla="*/ 3 w 21"/>
                  <a:gd name="T9" fmla="*/ 6 h 8"/>
                  <a:gd name="T10" fmla="*/ 5 w 21"/>
                  <a:gd name="T11" fmla="*/ 7 h 8"/>
                  <a:gd name="T12" fmla="*/ 7 w 21"/>
                  <a:gd name="T13" fmla="*/ 7 h 8"/>
                  <a:gd name="T14" fmla="*/ 6 w 21"/>
                  <a:gd name="T15" fmla="*/ 7 h 8"/>
                  <a:gd name="T16" fmla="*/ 12 w 21"/>
                  <a:gd name="T17" fmla="*/ 7 h 8"/>
                  <a:gd name="T18" fmla="*/ 18 w 21"/>
                  <a:gd name="T19" fmla="*/ 6 h 8"/>
                  <a:gd name="T20" fmla="*/ 19 w 21"/>
                  <a:gd name="T21" fmla="*/ 2 h 8"/>
                  <a:gd name="T22" fmla="*/ 8 w 21"/>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8">
                    <a:moveTo>
                      <a:pt x="8" y="2"/>
                    </a:moveTo>
                    <a:cubicBezTo>
                      <a:pt x="7" y="3"/>
                      <a:pt x="6" y="3"/>
                      <a:pt x="5" y="3"/>
                    </a:cubicBezTo>
                    <a:cubicBezTo>
                      <a:pt x="4" y="3"/>
                      <a:pt x="3" y="3"/>
                      <a:pt x="3" y="3"/>
                    </a:cubicBezTo>
                    <a:cubicBezTo>
                      <a:pt x="2" y="4"/>
                      <a:pt x="2" y="4"/>
                      <a:pt x="1" y="4"/>
                    </a:cubicBezTo>
                    <a:cubicBezTo>
                      <a:pt x="0" y="5"/>
                      <a:pt x="2" y="6"/>
                      <a:pt x="3" y="6"/>
                    </a:cubicBezTo>
                    <a:cubicBezTo>
                      <a:pt x="3" y="6"/>
                      <a:pt x="4" y="7"/>
                      <a:pt x="5" y="7"/>
                    </a:cubicBezTo>
                    <a:cubicBezTo>
                      <a:pt x="6" y="7"/>
                      <a:pt x="6" y="7"/>
                      <a:pt x="7" y="7"/>
                    </a:cubicBezTo>
                    <a:cubicBezTo>
                      <a:pt x="7" y="7"/>
                      <a:pt x="6" y="7"/>
                      <a:pt x="6" y="7"/>
                    </a:cubicBezTo>
                    <a:cubicBezTo>
                      <a:pt x="8" y="8"/>
                      <a:pt x="10" y="7"/>
                      <a:pt x="12" y="7"/>
                    </a:cubicBezTo>
                    <a:cubicBezTo>
                      <a:pt x="14" y="7"/>
                      <a:pt x="16" y="7"/>
                      <a:pt x="18" y="6"/>
                    </a:cubicBezTo>
                    <a:cubicBezTo>
                      <a:pt x="21" y="5"/>
                      <a:pt x="20" y="4"/>
                      <a:pt x="19" y="2"/>
                    </a:cubicBezTo>
                    <a:cubicBezTo>
                      <a:pt x="16" y="0"/>
                      <a:pt x="11"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7" name="Freeform 2044">
                <a:extLst>
                  <a:ext uri="{FF2B5EF4-FFF2-40B4-BE49-F238E27FC236}">
                    <a16:creationId xmlns:a16="http://schemas.microsoft.com/office/drawing/2014/main" id="{59BD9F22-F40F-4372-968F-E7EF681EFEAC}"/>
                  </a:ext>
                </a:extLst>
              </p:cNvPr>
              <p:cNvSpPr>
                <a:spLocks/>
              </p:cNvSpPr>
              <p:nvPr/>
            </p:nvSpPr>
            <p:spPr bwMode="auto">
              <a:xfrm>
                <a:off x="364" y="1345"/>
                <a:ext cx="8" cy="5"/>
              </a:xfrm>
              <a:custGeom>
                <a:avLst/>
                <a:gdLst>
                  <a:gd name="T0" fmla="*/ 0 w 3"/>
                  <a:gd name="T1" fmla="*/ 2 h 2"/>
                  <a:gd name="T2" fmla="*/ 3 w 3"/>
                  <a:gd name="T3" fmla="*/ 1 h 2"/>
                  <a:gd name="T4" fmla="*/ 1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2"/>
                      <a:pt x="3" y="1"/>
                    </a:cubicBezTo>
                    <a:cubicBezTo>
                      <a:pt x="2" y="1"/>
                      <a:pt x="2" y="1"/>
                      <a:pt x="1" y="1"/>
                    </a:cubicBezTo>
                    <a:cubicBezTo>
                      <a:pt x="0" y="1"/>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8" name="Freeform 2045">
                <a:extLst>
                  <a:ext uri="{FF2B5EF4-FFF2-40B4-BE49-F238E27FC236}">
                    <a16:creationId xmlns:a16="http://schemas.microsoft.com/office/drawing/2014/main" id="{C8DE7F01-4922-419D-8B8A-6CA3442C82F6}"/>
                  </a:ext>
                </a:extLst>
              </p:cNvPr>
              <p:cNvSpPr>
                <a:spLocks/>
              </p:cNvSpPr>
              <p:nvPr/>
            </p:nvSpPr>
            <p:spPr bwMode="auto">
              <a:xfrm>
                <a:off x="1743" y="791"/>
                <a:ext cx="35" cy="17"/>
              </a:xfrm>
              <a:custGeom>
                <a:avLst/>
                <a:gdLst>
                  <a:gd name="T0" fmla="*/ 6 w 15"/>
                  <a:gd name="T1" fmla="*/ 7 h 7"/>
                  <a:gd name="T2" fmla="*/ 13 w 15"/>
                  <a:gd name="T3" fmla="*/ 7 h 7"/>
                  <a:gd name="T4" fmla="*/ 14 w 15"/>
                  <a:gd name="T5" fmla="*/ 4 h 7"/>
                  <a:gd name="T6" fmla="*/ 12 w 15"/>
                  <a:gd name="T7" fmla="*/ 3 h 7"/>
                  <a:gd name="T8" fmla="*/ 5 w 15"/>
                  <a:gd name="T9" fmla="*/ 0 h 7"/>
                  <a:gd name="T10" fmla="*/ 4 w 15"/>
                  <a:gd name="T11" fmla="*/ 1 h 7"/>
                  <a:gd name="T12" fmla="*/ 1 w 15"/>
                  <a:gd name="T13" fmla="*/ 2 h 7"/>
                  <a:gd name="T14" fmla="*/ 1 w 15"/>
                  <a:gd name="T15" fmla="*/ 5 h 7"/>
                  <a:gd name="T16" fmla="*/ 6 w 1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6" y="7"/>
                    </a:moveTo>
                    <a:cubicBezTo>
                      <a:pt x="8" y="6"/>
                      <a:pt x="11" y="7"/>
                      <a:pt x="13" y="7"/>
                    </a:cubicBezTo>
                    <a:cubicBezTo>
                      <a:pt x="15" y="6"/>
                      <a:pt x="14" y="5"/>
                      <a:pt x="14" y="4"/>
                    </a:cubicBezTo>
                    <a:cubicBezTo>
                      <a:pt x="14" y="3"/>
                      <a:pt x="13" y="3"/>
                      <a:pt x="12" y="3"/>
                    </a:cubicBezTo>
                    <a:cubicBezTo>
                      <a:pt x="9" y="2"/>
                      <a:pt x="7" y="1"/>
                      <a:pt x="5" y="0"/>
                    </a:cubicBezTo>
                    <a:cubicBezTo>
                      <a:pt x="4" y="0"/>
                      <a:pt x="5" y="0"/>
                      <a:pt x="4" y="1"/>
                    </a:cubicBezTo>
                    <a:cubicBezTo>
                      <a:pt x="3" y="1"/>
                      <a:pt x="2" y="2"/>
                      <a:pt x="1" y="2"/>
                    </a:cubicBezTo>
                    <a:cubicBezTo>
                      <a:pt x="0" y="3"/>
                      <a:pt x="0" y="4"/>
                      <a:pt x="1" y="5"/>
                    </a:cubicBezTo>
                    <a:cubicBezTo>
                      <a:pt x="2" y="7"/>
                      <a:pt x="4" y="7"/>
                      <a:pt x="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9" name="Freeform 2046">
                <a:extLst>
                  <a:ext uri="{FF2B5EF4-FFF2-40B4-BE49-F238E27FC236}">
                    <a16:creationId xmlns:a16="http://schemas.microsoft.com/office/drawing/2014/main" id="{DFEC6E33-22DE-43ED-9366-3F0069BE29C1}"/>
                  </a:ext>
                </a:extLst>
              </p:cNvPr>
              <p:cNvSpPr>
                <a:spLocks/>
              </p:cNvSpPr>
              <p:nvPr/>
            </p:nvSpPr>
            <p:spPr bwMode="auto">
              <a:xfrm>
                <a:off x="1665" y="957"/>
                <a:ext cx="9" cy="2"/>
              </a:xfrm>
              <a:custGeom>
                <a:avLst/>
                <a:gdLst>
                  <a:gd name="T0" fmla="*/ 4 w 4"/>
                  <a:gd name="T1" fmla="*/ 0 h 1"/>
                  <a:gd name="T2" fmla="*/ 0 w 4"/>
                  <a:gd name="T3" fmla="*/ 1 h 1"/>
                  <a:gd name="T4" fmla="*/ 4 w 4"/>
                  <a:gd name="T5" fmla="*/ 0 h 1"/>
                </a:gdLst>
                <a:ahLst/>
                <a:cxnLst>
                  <a:cxn ang="0">
                    <a:pos x="T0" y="T1"/>
                  </a:cxn>
                  <a:cxn ang="0">
                    <a:pos x="T2" y="T3"/>
                  </a:cxn>
                  <a:cxn ang="0">
                    <a:pos x="T4" y="T5"/>
                  </a:cxn>
                </a:cxnLst>
                <a:rect l="0" t="0" r="r" b="b"/>
                <a:pathLst>
                  <a:path w="4" h="1">
                    <a:moveTo>
                      <a:pt x="4" y="0"/>
                    </a:moveTo>
                    <a:cubicBezTo>
                      <a:pt x="3" y="0"/>
                      <a:pt x="1" y="0"/>
                      <a:pt x="0" y="1"/>
                    </a:cubicBezTo>
                    <a:cubicBezTo>
                      <a:pt x="2" y="1"/>
                      <a:pt x="3"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0" name="Freeform 2047">
                <a:extLst>
                  <a:ext uri="{FF2B5EF4-FFF2-40B4-BE49-F238E27FC236}">
                    <a16:creationId xmlns:a16="http://schemas.microsoft.com/office/drawing/2014/main" id="{5EC1991E-CCBA-4EA6-ADFC-575E27B908C3}"/>
                  </a:ext>
                </a:extLst>
              </p:cNvPr>
              <p:cNvSpPr>
                <a:spLocks/>
              </p:cNvSpPr>
              <p:nvPr/>
            </p:nvSpPr>
            <p:spPr bwMode="auto">
              <a:xfrm>
                <a:off x="1615" y="1234"/>
                <a:ext cx="7" cy="7"/>
              </a:xfrm>
              <a:custGeom>
                <a:avLst/>
                <a:gdLst>
                  <a:gd name="T0" fmla="*/ 2 w 3"/>
                  <a:gd name="T1" fmla="*/ 1 h 3"/>
                  <a:gd name="T2" fmla="*/ 1 w 3"/>
                  <a:gd name="T3" fmla="*/ 1 h 3"/>
                  <a:gd name="T4" fmla="*/ 0 w 3"/>
                  <a:gd name="T5" fmla="*/ 3 h 3"/>
                  <a:gd name="T6" fmla="*/ 3 w 3"/>
                  <a:gd name="T7" fmla="*/ 0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2" y="1"/>
                      <a:pt x="1" y="1"/>
                      <a:pt x="1" y="1"/>
                    </a:cubicBezTo>
                    <a:cubicBezTo>
                      <a:pt x="0" y="2"/>
                      <a:pt x="0" y="1"/>
                      <a:pt x="0" y="3"/>
                    </a:cubicBezTo>
                    <a:cubicBezTo>
                      <a:pt x="1" y="2"/>
                      <a:pt x="2" y="1"/>
                      <a:pt x="3" y="0"/>
                    </a:cubicBezTo>
                    <a:cubicBezTo>
                      <a:pt x="2" y="0"/>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1" name="Freeform 2048">
                <a:extLst>
                  <a:ext uri="{FF2B5EF4-FFF2-40B4-BE49-F238E27FC236}">
                    <a16:creationId xmlns:a16="http://schemas.microsoft.com/office/drawing/2014/main" id="{828CA3A1-038A-4C49-8898-ED1881465F86}"/>
                  </a:ext>
                </a:extLst>
              </p:cNvPr>
              <p:cNvSpPr>
                <a:spLocks/>
              </p:cNvSpPr>
              <p:nvPr/>
            </p:nvSpPr>
            <p:spPr bwMode="auto">
              <a:xfrm>
                <a:off x="1130" y="219"/>
                <a:ext cx="36" cy="26"/>
              </a:xfrm>
              <a:custGeom>
                <a:avLst/>
                <a:gdLst>
                  <a:gd name="T0" fmla="*/ 4 w 15"/>
                  <a:gd name="T1" fmla="*/ 8 h 11"/>
                  <a:gd name="T2" fmla="*/ 13 w 15"/>
                  <a:gd name="T3" fmla="*/ 11 h 11"/>
                  <a:gd name="T4" fmla="*/ 15 w 15"/>
                  <a:gd name="T5" fmla="*/ 8 h 11"/>
                  <a:gd name="T6" fmla="*/ 14 w 15"/>
                  <a:gd name="T7" fmla="*/ 6 h 11"/>
                  <a:gd name="T8" fmla="*/ 14 w 15"/>
                  <a:gd name="T9" fmla="*/ 5 h 11"/>
                  <a:gd name="T10" fmla="*/ 13 w 15"/>
                  <a:gd name="T11" fmla="*/ 2 h 11"/>
                  <a:gd name="T12" fmla="*/ 12 w 15"/>
                  <a:gd name="T13" fmla="*/ 1 h 11"/>
                  <a:gd name="T14" fmla="*/ 11 w 15"/>
                  <a:gd name="T15" fmla="*/ 1 h 11"/>
                  <a:gd name="T16" fmla="*/ 7 w 15"/>
                  <a:gd name="T17" fmla="*/ 1 h 11"/>
                  <a:gd name="T18" fmla="*/ 4 w 15"/>
                  <a:gd name="T19" fmla="*/ 0 h 11"/>
                  <a:gd name="T20" fmla="*/ 0 w 15"/>
                  <a:gd name="T21" fmla="*/ 4 h 11"/>
                  <a:gd name="T22" fmla="*/ 4 w 15"/>
                  <a:gd name="T2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4" y="8"/>
                    </a:moveTo>
                    <a:cubicBezTo>
                      <a:pt x="7" y="9"/>
                      <a:pt x="10" y="10"/>
                      <a:pt x="13" y="11"/>
                    </a:cubicBezTo>
                    <a:cubicBezTo>
                      <a:pt x="14" y="11"/>
                      <a:pt x="15" y="9"/>
                      <a:pt x="15" y="8"/>
                    </a:cubicBezTo>
                    <a:cubicBezTo>
                      <a:pt x="15" y="7"/>
                      <a:pt x="15" y="7"/>
                      <a:pt x="14" y="6"/>
                    </a:cubicBezTo>
                    <a:cubicBezTo>
                      <a:pt x="14" y="5"/>
                      <a:pt x="14" y="5"/>
                      <a:pt x="14" y="5"/>
                    </a:cubicBezTo>
                    <a:cubicBezTo>
                      <a:pt x="14" y="4"/>
                      <a:pt x="14" y="3"/>
                      <a:pt x="13" y="2"/>
                    </a:cubicBezTo>
                    <a:cubicBezTo>
                      <a:pt x="13" y="2"/>
                      <a:pt x="13" y="2"/>
                      <a:pt x="12" y="1"/>
                    </a:cubicBezTo>
                    <a:cubicBezTo>
                      <a:pt x="12" y="1"/>
                      <a:pt x="11" y="1"/>
                      <a:pt x="11" y="1"/>
                    </a:cubicBezTo>
                    <a:cubicBezTo>
                      <a:pt x="10" y="0"/>
                      <a:pt x="8" y="1"/>
                      <a:pt x="7" y="1"/>
                    </a:cubicBezTo>
                    <a:cubicBezTo>
                      <a:pt x="6" y="1"/>
                      <a:pt x="5" y="0"/>
                      <a:pt x="4" y="0"/>
                    </a:cubicBezTo>
                    <a:cubicBezTo>
                      <a:pt x="2" y="0"/>
                      <a:pt x="0" y="2"/>
                      <a:pt x="0" y="4"/>
                    </a:cubicBezTo>
                    <a:cubicBezTo>
                      <a:pt x="0" y="7"/>
                      <a:pt x="2" y="7"/>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2" name="Freeform 2049">
                <a:extLst>
                  <a:ext uri="{FF2B5EF4-FFF2-40B4-BE49-F238E27FC236}">
                    <a16:creationId xmlns:a16="http://schemas.microsoft.com/office/drawing/2014/main" id="{1122FB58-D5B8-4F24-ACFC-20B409624604}"/>
                  </a:ext>
                </a:extLst>
              </p:cNvPr>
              <p:cNvSpPr>
                <a:spLocks/>
              </p:cNvSpPr>
              <p:nvPr/>
            </p:nvSpPr>
            <p:spPr bwMode="auto">
              <a:xfrm>
                <a:off x="1896" y="1085"/>
                <a:ext cx="15" cy="16"/>
              </a:xfrm>
              <a:custGeom>
                <a:avLst/>
                <a:gdLst>
                  <a:gd name="T0" fmla="*/ 2 w 6"/>
                  <a:gd name="T1" fmla="*/ 3 h 7"/>
                  <a:gd name="T2" fmla="*/ 0 w 6"/>
                  <a:gd name="T3" fmla="*/ 5 h 7"/>
                  <a:gd name="T4" fmla="*/ 4 w 6"/>
                  <a:gd name="T5" fmla="*/ 5 h 7"/>
                  <a:gd name="T6" fmla="*/ 5 w 6"/>
                  <a:gd name="T7" fmla="*/ 1 h 7"/>
                  <a:gd name="T8" fmla="*/ 2 w 6"/>
                  <a:gd name="T9" fmla="*/ 3 h 7"/>
                </a:gdLst>
                <a:ahLst/>
                <a:cxnLst>
                  <a:cxn ang="0">
                    <a:pos x="T0" y="T1"/>
                  </a:cxn>
                  <a:cxn ang="0">
                    <a:pos x="T2" y="T3"/>
                  </a:cxn>
                  <a:cxn ang="0">
                    <a:pos x="T4" y="T5"/>
                  </a:cxn>
                  <a:cxn ang="0">
                    <a:pos x="T6" y="T7"/>
                  </a:cxn>
                  <a:cxn ang="0">
                    <a:pos x="T8" y="T9"/>
                  </a:cxn>
                </a:cxnLst>
                <a:rect l="0" t="0" r="r" b="b"/>
                <a:pathLst>
                  <a:path w="6" h="7">
                    <a:moveTo>
                      <a:pt x="2" y="3"/>
                    </a:moveTo>
                    <a:cubicBezTo>
                      <a:pt x="2" y="3"/>
                      <a:pt x="0" y="4"/>
                      <a:pt x="0" y="5"/>
                    </a:cubicBezTo>
                    <a:cubicBezTo>
                      <a:pt x="0" y="7"/>
                      <a:pt x="3" y="6"/>
                      <a:pt x="4" y="5"/>
                    </a:cubicBezTo>
                    <a:cubicBezTo>
                      <a:pt x="6" y="4"/>
                      <a:pt x="6" y="4"/>
                      <a:pt x="5" y="1"/>
                    </a:cubicBezTo>
                    <a:cubicBezTo>
                      <a:pt x="3" y="0"/>
                      <a:pt x="3" y="1"/>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3" name="Freeform 2050">
                <a:extLst>
                  <a:ext uri="{FF2B5EF4-FFF2-40B4-BE49-F238E27FC236}">
                    <a16:creationId xmlns:a16="http://schemas.microsoft.com/office/drawing/2014/main" id="{1B4EE16B-3992-4CD4-BB89-F05DC43E650C}"/>
                  </a:ext>
                </a:extLst>
              </p:cNvPr>
              <p:cNvSpPr>
                <a:spLocks/>
              </p:cNvSpPr>
              <p:nvPr/>
            </p:nvSpPr>
            <p:spPr bwMode="auto">
              <a:xfrm>
                <a:off x="1643" y="725"/>
                <a:ext cx="29" cy="12"/>
              </a:xfrm>
              <a:custGeom>
                <a:avLst/>
                <a:gdLst>
                  <a:gd name="T0" fmla="*/ 4 w 12"/>
                  <a:gd name="T1" fmla="*/ 4 h 5"/>
                  <a:gd name="T2" fmla="*/ 4 w 12"/>
                  <a:gd name="T3" fmla="*/ 4 h 5"/>
                  <a:gd name="T4" fmla="*/ 6 w 12"/>
                  <a:gd name="T5" fmla="*/ 3 h 5"/>
                  <a:gd name="T6" fmla="*/ 8 w 12"/>
                  <a:gd name="T7" fmla="*/ 0 h 5"/>
                  <a:gd name="T8" fmla="*/ 0 w 12"/>
                  <a:gd name="T9" fmla="*/ 5 h 5"/>
                  <a:gd name="T10" fmla="*/ 3 w 12"/>
                  <a:gd name="T11" fmla="*/ 4 h 5"/>
                  <a:gd name="T12" fmla="*/ 4 w 12"/>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4" y="4"/>
                    </a:moveTo>
                    <a:cubicBezTo>
                      <a:pt x="4" y="4"/>
                      <a:pt x="4" y="4"/>
                      <a:pt x="4" y="4"/>
                    </a:cubicBezTo>
                    <a:cubicBezTo>
                      <a:pt x="5" y="4"/>
                      <a:pt x="5" y="4"/>
                      <a:pt x="6" y="3"/>
                    </a:cubicBezTo>
                    <a:cubicBezTo>
                      <a:pt x="8" y="3"/>
                      <a:pt x="12" y="1"/>
                      <a:pt x="8" y="0"/>
                    </a:cubicBezTo>
                    <a:cubicBezTo>
                      <a:pt x="5" y="1"/>
                      <a:pt x="3" y="3"/>
                      <a:pt x="0" y="5"/>
                    </a:cubicBezTo>
                    <a:cubicBezTo>
                      <a:pt x="1" y="5"/>
                      <a:pt x="2" y="4"/>
                      <a:pt x="3" y="4"/>
                    </a:cubicBezTo>
                    <a:cubicBezTo>
                      <a:pt x="3" y="4"/>
                      <a:pt x="4"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4" name="Freeform 2051">
                <a:extLst>
                  <a:ext uri="{FF2B5EF4-FFF2-40B4-BE49-F238E27FC236}">
                    <a16:creationId xmlns:a16="http://schemas.microsoft.com/office/drawing/2014/main" id="{969D50F1-0D38-4CD5-81AE-8263004206DA}"/>
                  </a:ext>
                </a:extLst>
              </p:cNvPr>
              <p:cNvSpPr>
                <a:spLocks/>
              </p:cNvSpPr>
              <p:nvPr/>
            </p:nvSpPr>
            <p:spPr bwMode="auto">
              <a:xfrm>
                <a:off x="1724" y="768"/>
                <a:ext cx="19" cy="19"/>
              </a:xfrm>
              <a:custGeom>
                <a:avLst/>
                <a:gdLst>
                  <a:gd name="T0" fmla="*/ 8 w 8"/>
                  <a:gd name="T1" fmla="*/ 7 h 8"/>
                  <a:gd name="T2" fmla="*/ 8 w 8"/>
                  <a:gd name="T3" fmla="*/ 5 h 8"/>
                  <a:gd name="T4" fmla="*/ 7 w 8"/>
                  <a:gd name="T5" fmla="*/ 3 h 8"/>
                  <a:gd name="T6" fmla="*/ 6 w 8"/>
                  <a:gd name="T7" fmla="*/ 1 h 8"/>
                  <a:gd name="T8" fmla="*/ 4 w 8"/>
                  <a:gd name="T9" fmla="*/ 1 h 8"/>
                  <a:gd name="T10" fmla="*/ 3 w 8"/>
                  <a:gd name="T11" fmla="*/ 0 h 8"/>
                  <a:gd name="T12" fmla="*/ 6 w 8"/>
                  <a:gd name="T13" fmla="*/ 7 h 8"/>
                  <a:gd name="T14" fmla="*/ 8 w 8"/>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8" y="7"/>
                    </a:moveTo>
                    <a:cubicBezTo>
                      <a:pt x="8" y="6"/>
                      <a:pt x="8" y="5"/>
                      <a:pt x="8" y="5"/>
                    </a:cubicBezTo>
                    <a:cubicBezTo>
                      <a:pt x="8" y="4"/>
                      <a:pt x="7" y="3"/>
                      <a:pt x="7" y="3"/>
                    </a:cubicBezTo>
                    <a:cubicBezTo>
                      <a:pt x="6" y="2"/>
                      <a:pt x="6" y="2"/>
                      <a:pt x="6" y="1"/>
                    </a:cubicBezTo>
                    <a:cubicBezTo>
                      <a:pt x="5" y="1"/>
                      <a:pt x="5" y="1"/>
                      <a:pt x="4" y="1"/>
                    </a:cubicBezTo>
                    <a:cubicBezTo>
                      <a:pt x="4" y="1"/>
                      <a:pt x="4" y="0"/>
                      <a:pt x="3" y="0"/>
                    </a:cubicBezTo>
                    <a:cubicBezTo>
                      <a:pt x="0" y="1"/>
                      <a:pt x="5" y="6"/>
                      <a:pt x="6" y="7"/>
                    </a:cubicBezTo>
                    <a:cubicBezTo>
                      <a:pt x="7" y="7"/>
                      <a:pt x="8" y="8"/>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5" name="Freeform 2052">
                <a:extLst>
                  <a:ext uri="{FF2B5EF4-FFF2-40B4-BE49-F238E27FC236}">
                    <a16:creationId xmlns:a16="http://schemas.microsoft.com/office/drawing/2014/main" id="{9A2810F1-24F8-4D44-8586-813A8F25321D}"/>
                  </a:ext>
                </a:extLst>
              </p:cNvPr>
              <p:cNvSpPr>
                <a:spLocks/>
              </p:cNvSpPr>
              <p:nvPr/>
            </p:nvSpPr>
            <p:spPr bwMode="auto">
              <a:xfrm>
                <a:off x="1012" y="772"/>
                <a:ext cx="14" cy="10"/>
              </a:xfrm>
              <a:custGeom>
                <a:avLst/>
                <a:gdLst>
                  <a:gd name="T0" fmla="*/ 4 w 6"/>
                  <a:gd name="T1" fmla="*/ 1 h 4"/>
                  <a:gd name="T2" fmla="*/ 0 w 6"/>
                  <a:gd name="T3" fmla="*/ 1 h 4"/>
                  <a:gd name="T4" fmla="*/ 0 w 6"/>
                  <a:gd name="T5" fmla="*/ 1 h 4"/>
                  <a:gd name="T6" fmla="*/ 0 w 6"/>
                  <a:gd name="T7" fmla="*/ 1 h 4"/>
                  <a:gd name="T8" fmla="*/ 2 w 6"/>
                  <a:gd name="T9" fmla="*/ 3 h 4"/>
                  <a:gd name="T10" fmla="*/ 5 w 6"/>
                  <a:gd name="T11" fmla="*/ 4 h 4"/>
                  <a:gd name="T12" fmla="*/ 6 w 6"/>
                  <a:gd name="T13" fmla="*/ 3 h 4"/>
                  <a:gd name="T14" fmla="*/ 6 w 6"/>
                  <a:gd name="T15" fmla="*/ 2 h 4"/>
                  <a:gd name="T16" fmla="*/ 4 w 6"/>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4" y="1"/>
                    </a:moveTo>
                    <a:cubicBezTo>
                      <a:pt x="3" y="1"/>
                      <a:pt x="1" y="0"/>
                      <a:pt x="0" y="1"/>
                    </a:cubicBezTo>
                    <a:cubicBezTo>
                      <a:pt x="0" y="1"/>
                      <a:pt x="0" y="1"/>
                      <a:pt x="0" y="1"/>
                    </a:cubicBezTo>
                    <a:cubicBezTo>
                      <a:pt x="0" y="1"/>
                      <a:pt x="0" y="1"/>
                      <a:pt x="0" y="1"/>
                    </a:cubicBezTo>
                    <a:cubicBezTo>
                      <a:pt x="0" y="2"/>
                      <a:pt x="2" y="3"/>
                      <a:pt x="2" y="3"/>
                    </a:cubicBezTo>
                    <a:cubicBezTo>
                      <a:pt x="3" y="3"/>
                      <a:pt x="4" y="4"/>
                      <a:pt x="5" y="4"/>
                    </a:cubicBezTo>
                    <a:cubicBezTo>
                      <a:pt x="6" y="4"/>
                      <a:pt x="6" y="4"/>
                      <a:pt x="6" y="3"/>
                    </a:cubicBezTo>
                    <a:cubicBezTo>
                      <a:pt x="6" y="3"/>
                      <a:pt x="6" y="3"/>
                      <a:pt x="6" y="2"/>
                    </a:cubicBezTo>
                    <a:cubicBezTo>
                      <a:pt x="6" y="2"/>
                      <a:pt x="4"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6" name="Freeform 2053">
                <a:extLst>
                  <a:ext uri="{FF2B5EF4-FFF2-40B4-BE49-F238E27FC236}">
                    <a16:creationId xmlns:a16="http://schemas.microsoft.com/office/drawing/2014/main" id="{7C1D7A86-6C42-4E1F-8466-9CBC3EED75DF}"/>
                  </a:ext>
                </a:extLst>
              </p:cNvPr>
              <p:cNvSpPr>
                <a:spLocks/>
              </p:cNvSpPr>
              <p:nvPr/>
            </p:nvSpPr>
            <p:spPr bwMode="auto">
              <a:xfrm>
                <a:off x="1625" y="429"/>
                <a:ext cx="18" cy="17"/>
              </a:xfrm>
              <a:custGeom>
                <a:avLst/>
                <a:gdLst>
                  <a:gd name="T0" fmla="*/ 8 w 8"/>
                  <a:gd name="T1" fmla="*/ 0 h 7"/>
                  <a:gd name="T2" fmla="*/ 6 w 8"/>
                  <a:gd name="T3" fmla="*/ 0 h 7"/>
                  <a:gd name="T4" fmla="*/ 5 w 8"/>
                  <a:gd name="T5" fmla="*/ 1 h 7"/>
                  <a:gd name="T6" fmla="*/ 3 w 8"/>
                  <a:gd name="T7" fmla="*/ 3 h 7"/>
                  <a:gd name="T8" fmla="*/ 2 w 8"/>
                  <a:gd name="T9" fmla="*/ 3 h 7"/>
                  <a:gd name="T10" fmla="*/ 2 w 8"/>
                  <a:gd name="T11" fmla="*/ 4 h 7"/>
                  <a:gd name="T12" fmla="*/ 0 w 8"/>
                  <a:gd name="T13" fmla="*/ 5 h 7"/>
                  <a:gd name="T14" fmla="*/ 2 w 8"/>
                  <a:gd name="T15" fmla="*/ 7 h 7"/>
                  <a:gd name="T16" fmla="*/ 2 w 8"/>
                  <a:gd name="T17" fmla="*/ 7 h 7"/>
                  <a:gd name="T18" fmla="*/ 7 w 8"/>
                  <a:gd name="T19" fmla="*/ 6 h 7"/>
                  <a:gd name="T20" fmla="*/ 7 w 8"/>
                  <a:gd name="T21" fmla="*/ 6 h 7"/>
                  <a:gd name="T22" fmla="*/ 8 w 8"/>
                  <a:gd name="T23" fmla="*/ 6 h 7"/>
                  <a:gd name="T24" fmla="*/ 7 w 8"/>
                  <a:gd name="T25" fmla="*/ 6 h 7"/>
                  <a:gd name="T26" fmla="*/ 7 w 8"/>
                  <a:gd name="T27" fmla="*/ 5 h 7"/>
                  <a:gd name="T28" fmla="*/ 5 w 8"/>
                  <a:gd name="T29" fmla="*/ 4 h 7"/>
                  <a:gd name="T30" fmla="*/ 5 w 8"/>
                  <a:gd name="T31" fmla="*/ 4 h 7"/>
                  <a:gd name="T32" fmla="*/ 6 w 8"/>
                  <a:gd name="T33" fmla="*/ 3 h 7"/>
                  <a:gd name="T34" fmla="*/ 8 w 8"/>
                  <a:gd name="T3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7">
                    <a:moveTo>
                      <a:pt x="8" y="0"/>
                    </a:moveTo>
                    <a:cubicBezTo>
                      <a:pt x="8" y="0"/>
                      <a:pt x="7" y="0"/>
                      <a:pt x="6" y="0"/>
                    </a:cubicBezTo>
                    <a:cubicBezTo>
                      <a:pt x="6" y="1"/>
                      <a:pt x="6" y="1"/>
                      <a:pt x="5" y="1"/>
                    </a:cubicBezTo>
                    <a:cubicBezTo>
                      <a:pt x="5" y="2"/>
                      <a:pt x="4" y="2"/>
                      <a:pt x="3" y="3"/>
                    </a:cubicBezTo>
                    <a:cubicBezTo>
                      <a:pt x="3" y="3"/>
                      <a:pt x="3" y="3"/>
                      <a:pt x="2" y="3"/>
                    </a:cubicBezTo>
                    <a:cubicBezTo>
                      <a:pt x="2" y="3"/>
                      <a:pt x="2" y="4"/>
                      <a:pt x="2" y="4"/>
                    </a:cubicBezTo>
                    <a:cubicBezTo>
                      <a:pt x="1" y="4"/>
                      <a:pt x="0" y="5"/>
                      <a:pt x="0" y="5"/>
                    </a:cubicBezTo>
                    <a:cubicBezTo>
                      <a:pt x="0" y="6"/>
                      <a:pt x="1" y="6"/>
                      <a:pt x="2" y="7"/>
                    </a:cubicBezTo>
                    <a:cubicBezTo>
                      <a:pt x="2" y="7"/>
                      <a:pt x="2" y="7"/>
                      <a:pt x="2" y="7"/>
                    </a:cubicBezTo>
                    <a:cubicBezTo>
                      <a:pt x="4" y="7"/>
                      <a:pt x="5" y="5"/>
                      <a:pt x="7" y="6"/>
                    </a:cubicBezTo>
                    <a:cubicBezTo>
                      <a:pt x="6" y="6"/>
                      <a:pt x="6" y="6"/>
                      <a:pt x="7" y="6"/>
                    </a:cubicBezTo>
                    <a:cubicBezTo>
                      <a:pt x="7" y="6"/>
                      <a:pt x="7" y="6"/>
                      <a:pt x="8" y="6"/>
                    </a:cubicBezTo>
                    <a:cubicBezTo>
                      <a:pt x="8" y="6"/>
                      <a:pt x="8" y="6"/>
                      <a:pt x="7" y="6"/>
                    </a:cubicBezTo>
                    <a:cubicBezTo>
                      <a:pt x="7" y="6"/>
                      <a:pt x="7" y="6"/>
                      <a:pt x="7" y="5"/>
                    </a:cubicBezTo>
                    <a:cubicBezTo>
                      <a:pt x="7" y="5"/>
                      <a:pt x="6" y="5"/>
                      <a:pt x="5" y="4"/>
                    </a:cubicBezTo>
                    <a:cubicBezTo>
                      <a:pt x="5" y="4"/>
                      <a:pt x="5" y="4"/>
                      <a:pt x="5" y="4"/>
                    </a:cubicBezTo>
                    <a:cubicBezTo>
                      <a:pt x="6" y="4"/>
                      <a:pt x="6" y="3"/>
                      <a:pt x="6" y="3"/>
                    </a:cubicBezTo>
                    <a:cubicBezTo>
                      <a:pt x="7" y="2"/>
                      <a:pt x="7"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7" name="Freeform 2054">
                <a:extLst>
                  <a:ext uri="{FF2B5EF4-FFF2-40B4-BE49-F238E27FC236}">
                    <a16:creationId xmlns:a16="http://schemas.microsoft.com/office/drawing/2014/main" id="{B32FF274-AB92-4F9F-BC85-4D2A2E5516BA}"/>
                  </a:ext>
                </a:extLst>
              </p:cNvPr>
              <p:cNvSpPr>
                <a:spLocks/>
              </p:cNvSpPr>
              <p:nvPr/>
            </p:nvSpPr>
            <p:spPr bwMode="auto">
              <a:xfrm>
                <a:off x="1329" y="46"/>
                <a:ext cx="745" cy="383"/>
              </a:xfrm>
              <a:custGeom>
                <a:avLst/>
                <a:gdLst>
                  <a:gd name="T0" fmla="*/ 29 w 315"/>
                  <a:gd name="T1" fmla="*/ 40 h 162"/>
                  <a:gd name="T2" fmla="*/ 17 w 315"/>
                  <a:gd name="T3" fmla="*/ 48 h 162"/>
                  <a:gd name="T4" fmla="*/ 73 w 315"/>
                  <a:gd name="T5" fmla="*/ 46 h 162"/>
                  <a:gd name="T6" fmla="*/ 41 w 315"/>
                  <a:gd name="T7" fmla="*/ 61 h 162"/>
                  <a:gd name="T8" fmla="*/ 89 w 315"/>
                  <a:gd name="T9" fmla="*/ 50 h 162"/>
                  <a:gd name="T10" fmla="*/ 62 w 315"/>
                  <a:gd name="T11" fmla="*/ 64 h 162"/>
                  <a:gd name="T12" fmla="*/ 100 w 315"/>
                  <a:gd name="T13" fmla="*/ 57 h 162"/>
                  <a:gd name="T14" fmla="*/ 130 w 315"/>
                  <a:gd name="T15" fmla="*/ 51 h 162"/>
                  <a:gd name="T16" fmla="*/ 141 w 315"/>
                  <a:gd name="T17" fmla="*/ 46 h 162"/>
                  <a:gd name="T18" fmla="*/ 150 w 315"/>
                  <a:gd name="T19" fmla="*/ 57 h 162"/>
                  <a:gd name="T20" fmla="*/ 89 w 315"/>
                  <a:gd name="T21" fmla="*/ 69 h 162"/>
                  <a:gd name="T22" fmla="*/ 104 w 315"/>
                  <a:gd name="T23" fmla="*/ 86 h 162"/>
                  <a:gd name="T24" fmla="*/ 60 w 315"/>
                  <a:gd name="T25" fmla="*/ 77 h 162"/>
                  <a:gd name="T26" fmla="*/ 71 w 315"/>
                  <a:gd name="T27" fmla="*/ 85 h 162"/>
                  <a:gd name="T28" fmla="*/ 75 w 315"/>
                  <a:gd name="T29" fmla="*/ 99 h 162"/>
                  <a:gd name="T30" fmla="*/ 89 w 315"/>
                  <a:gd name="T31" fmla="*/ 103 h 162"/>
                  <a:gd name="T32" fmla="*/ 71 w 315"/>
                  <a:gd name="T33" fmla="*/ 103 h 162"/>
                  <a:gd name="T34" fmla="*/ 60 w 315"/>
                  <a:gd name="T35" fmla="*/ 115 h 162"/>
                  <a:gd name="T36" fmla="*/ 73 w 315"/>
                  <a:gd name="T37" fmla="*/ 110 h 162"/>
                  <a:gd name="T38" fmla="*/ 74 w 315"/>
                  <a:gd name="T39" fmla="*/ 120 h 162"/>
                  <a:gd name="T40" fmla="*/ 68 w 315"/>
                  <a:gd name="T41" fmla="*/ 127 h 162"/>
                  <a:gd name="T42" fmla="*/ 96 w 315"/>
                  <a:gd name="T43" fmla="*/ 121 h 162"/>
                  <a:gd name="T44" fmla="*/ 65 w 315"/>
                  <a:gd name="T45" fmla="*/ 134 h 162"/>
                  <a:gd name="T46" fmla="*/ 43 w 315"/>
                  <a:gd name="T47" fmla="*/ 136 h 162"/>
                  <a:gd name="T48" fmla="*/ 34 w 315"/>
                  <a:gd name="T49" fmla="*/ 143 h 162"/>
                  <a:gd name="T50" fmla="*/ 33 w 315"/>
                  <a:gd name="T51" fmla="*/ 152 h 162"/>
                  <a:gd name="T52" fmla="*/ 44 w 315"/>
                  <a:gd name="T53" fmla="*/ 152 h 162"/>
                  <a:gd name="T54" fmla="*/ 57 w 315"/>
                  <a:gd name="T55" fmla="*/ 157 h 162"/>
                  <a:gd name="T56" fmla="*/ 76 w 315"/>
                  <a:gd name="T57" fmla="*/ 155 h 162"/>
                  <a:gd name="T58" fmla="*/ 97 w 315"/>
                  <a:gd name="T59" fmla="*/ 156 h 162"/>
                  <a:gd name="T60" fmla="*/ 113 w 315"/>
                  <a:gd name="T61" fmla="*/ 157 h 162"/>
                  <a:gd name="T62" fmla="*/ 132 w 315"/>
                  <a:gd name="T63" fmla="*/ 145 h 162"/>
                  <a:gd name="T64" fmla="*/ 102 w 315"/>
                  <a:gd name="T65" fmla="*/ 138 h 162"/>
                  <a:gd name="T66" fmla="*/ 112 w 315"/>
                  <a:gd name="T67" fmla="*/ 135 h 162"/>
                  <a:gd name="T68" fmla="*/ 138 w 315"/>
                  <a:gd name="T69" fmla="*/ 124 h 162"/>
                  <a:gd name="T70" fmla="*/ 165 w 315"/>
                  <a:gd name="T71" fmla="*/ 117 h 162"/>
                  <a:gd name="T72" fmla="*/ 174 w 315"/>
                  <a:gd name="T73" fmla="*/ 103 h 162"/>
                  <a:gd name="T74" fmla="*/ 138 w 315"/>
                  <a:gd name="T75" fmla="*/ 98 h 162"/>
                  <a:gd name="T76" fmla="*/ 154 w 315"/>
                  <a:gd name="T77" fmla="*/ 95 h 162"/>
                  <a:gd name="T78" fmla="*/ 160 w 315"/>
                  <a:gd name="T79" fmla="*/ 93 h 162"/>
                  <a:gd name="T80" fmla="*/ 161 w 315"/>
                  <a:gd name="T81" fmla="*/ 89 h 162"/>
                  <a:gd name="T82" fmla="*/ 179 w 315"/>
                  <a:gd name="T83" fmla="*/ 89 h 162"/>
                  <a:gd name="T84" fmla="*/ 201 w 315"/>
                  <a:gd name="T85" fmla="*/ 84 h 162"/>
                  <a:gd name="T86" fmla="*/ 199 w 315"/>
                  <a:gd name="T87" fmla="*/ 72 h 162"/>
                  <a:gd name="T88" fmla="*/ 221 w 315"/>
                  <a:gd name="T89" fmla="*/ 67 h 162"/>
                  <a:gd name="T90" fmla="*/ 229 w 315"/>
                  <a:gd name="T91" fmla="*/ 49 h 162"/>
                  <a:gd name="T92" fmla="*/ 241 w 315"/>
                  <a:gd name="T93" fmla="*/ 39 h 162"/>
                  <a:gd name="T94" fmla="*/ 295 w 315"/>
                  <a:gd name="T95" fmla="*/ 15 h 162"/>
                  <a:gd name="T96" fmla="*/ 248 w 315"/>
                  <a:gd name="T97" fmla="*/ 12 h 162"/>
                  <a:gd name="T98" fmla="*/ 207 w 315"/>
                  <a:gd name="T99" fmla="*/ 1 h 162"/>
                  <a:gd name="T100" fmla="*/ 152 w 315"/>
                  <a:gd name="T101" fmla="*/ 6 h 162"/>
                  <a:gd name="T102" fmla="*/ 152 w 315"/>
                  <a:gd name="T103" fmla="*/ 10 h 162"/>
                  <a:gd name="T104" fmla="*/ 130 w 315"/>
                  <a:gd name="T105" fmla="*/ 11 h 162"/>
                  <a:gd name="T106" fmla="*/ 101 w 315"/>
                  <a:gd name="T107" fmla="*/ 12 h 162"/>
                  <a:gd name="T108" fmla="*/ 123 w 315"/>
                  <a:gd name="T109" fmla="*/ 29 h 162"/>
                  <a:gd name="T110" fmla="*/ 62 w 315"/>
                  <a:gd name="T111" fmla="*/ 18 h 162"/>
                  <a:gd name="T112" fmla="*/ 73 w 315"/>
                  <a:gd name="T113" fmla="*/ 31 h 162"/>
                  <a:gd name="T114" fmla="*/ 49 w 315"/>
                  <a:gd name="T115" fmla="*/ 29 h 162"/>
                  <a:gd name="T116" fmla="*/ 26 w 315"/>
                  <a:gd name="T117" fmla="*/ 3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5" h="162">
                    <a:moveTo>
                      <a:pt x="4" y="39"/>
                    </a:moveTo>
                    <a:cubicBezTo>
                      <a:pt x="5" y="39"/>
                      <a:pt x="6" y="40"/>
                      <a:pt x="7" y="40"/>
                    </a:cubicBezTo>
                    <a:cubicBezTo>
                      <a:pt x="7" y="40"/>
                      <a:pt x="9" y="40"/>
                      <a:pt x="9" y="40"/>
                    </a:cubicBezTo>
                    <a:cubicBezTo>
                      <a:pt x="10" y="39"/>
                      <a:pt x="9" y="39"/>
                      <a:pt x="9" y="38"/>
                    </a:cubicBezTo>
                    <a:cubicBezTo>
                      <a:pt x="10" y="38"/>
                      <a:pt x="11" y="38"/>
                      <a:pt x="12" y="37"/>
                    </a:cubicBezTo>
                    <a:cubicBezTo>
                      <a:pt x="13" y="36"/>
                      <a:pt x="15" y="37"/>
                      <a:pt x="16" y="37"/>
                    </a:cubicBezTo>
                    <a:cubicBezTo>
                      <a:pt x="15" y="35"/>
                      <a:pt x="18" y="37"/>
                      <a:pt x="19" y="37"/>
                    </a:cubicBezTo>
                    <a:cubicBezTo>
                      <a:pt x="20" y="37"/>
                      <a:pt x="22" y="38"/>
                      <a:pt x="23" y="38"/>
                    </a:cubicBezTo>
                    <a:cubicBezTo>
                      <a:pt x="21" y="39"/>
                      <a:pt x="19" y="39"/>
                      <a:pt x="17" y="40"/>
                    </a:cubicBezTo>
                    <a:cubicBezTo>
                      <a:pt x="15" y="41"/>
                      <a:pt x="12" y="41"/>
                      <a:pt x="11" y="42"/>
                    </a:cubicBezTo>
                    <a:cubicBezTo>
                      <a:pt x="12" y="42"/>
                      <a:pt x="15" y="44"/>
                      <a:pt x="16" y="44"/>
                    </a:cubicBezTo>
                    <a:cubicBezTo>
                      <a:pt x="17" y="43"/>
                      <a:pt x="19" y="43"/>
                      <a:pt x="20" y="43"/>
                    </a:cubicBezTo>
                    <a:cubicBezTo>
                      <a:pt x="23" y="42"/>
                      <a:pt x="26" y="41"/>
                      <a:pt x="29" y="40"/>
                    </a:cubicBezTo>
                    <a:cubicBezTo>
                      <a:pt x="35" y="38"/>
                      <a:pt x="41" y="39"/>
                      <a:pt x="47" y="40"/>
                    </a:cubicBezTo>
                    <a:cubicBezTo>
                      <a:pt x="47" y="40"/>
                      <a:pt x="47" y="41"/>
                      <a:pt x="48" y="41"/>
                    </a:cubicBezTo>
                    <a:cubicBezTo>
                      <a:pt x="46" y="41"/>
                      <a:pt x="45" y="41"/>
                      <a:pt x="44" y="40"/>
                    </a:cubicBezTo>
                    <a:cubicBezTo>
                      <a:pt x="42" y="40"/>
                      <a:pt x="41" y="40"/>
                      <a:pt x="40" y="40"/>
                    </a:cubicBezTo>
                    <a:cubicBezTo>
                      <a:pt x="38" y="40"/>
                      <a:pt x="34" y="40"/>
                      <a:pt x="32" y="41"/>
                    </a:cubicBezTo>
                    <a:cubicBezTo>
                      <a:pt x="31" y="41"/>
                      <a:pt x="30" y="41"/>
                      <a:pt x="30" y="42"/>
                    </a:cubicBezTo>
                    <a:cubicBezTo>
                      <a:pt x="29" y="42"/>
                      <a:pt x="28" y="43"/>
                      <a:pt x="27" y="43"/>
                    </a:cubicBezTo>
                    <a:cubicBezTo>
                      <a:pt x="25" y="44"/>
                      <a:pt x="22" y="44"/>
                      <a:pt x="20" y="45"/>
                    </a:cubicBezTo>
                    <a:cubicBezTo>
                      <a:pt x="21" y="46"/>
                      <a:pt x="24" y="46"/>
                      <a:pt x="25" y="47"/>
                    </a:cubicBezTo>
                    <a:cubicBezTo>
                      <a:pt x="27" y="47"/>
                      <a:pt x="29" y="46"/>
                      <a:pt x="30" y="47"/>
                    </a:cubicBezTo>
                    <a:cubicBezTo>
                      <a:pt x="29" y="47"/>
                      <a:pt x="26" y="48"/>
                      <a:pt x="24" y="48"/>
                    </a:cubicBezTo>
                    <a:cubicBezTo>
                      <a:pt x="23" y="48"/>
                      <a:pt x="22" y="47"/>
                      <a:pt x="21" y="47"/>
                    </a:cubicBezTo>
                    <a:cubicBezTo>
                      <a:pt x="19" y="47"/>
                      <a:pt x="19" y="47"/>
                      <a:pt x="17" y="48"/>
                    </a:cubicBezTo>
                    <a:cubicBezTo>
                      <a:pt x="17" y="48"/>
                      <a:pt x="16" y="48"/>
                      <a:pt x="16" y="49"/>
                    </a:cubicBezTo>
                    <a:cubicBezTo>
                      <a:pt x="17" y="50"/>
                      <a:pt x="19" y="51"/>
                      <a:pt x="20" y="52"/>
                    </a:cubicBezTo>
                    <a:cubicBezTo>
                      <a:pt x="23" y="54"/>
                      <a:pt x="27" y="52"/>
                      <a:pt x="30" y="52"/>
                    </a:cubicBezTo>
                    <a:cubicBezTo>
                      <a:pt x="32" y="51"/>
                      <a:pt x="33" y="52"/>
                      <a:pt x="35" y="51"/>
                    </a:cubicBezTo>
                    <a:cubicBezTo>
                      <a:pt x="37" y="51"/>
                      <a:pt x="39" y="51"/>
                      <a:pt x="40" y="51"/>
                    </a:cubicBezTo>
                    <a:cubicBezTo>
                      <a:pt x="44" y="51"/>
                      <a:pt x="47" y="51"/>
                      <a:pt x="51" y="51"/>
                    </a:cubicBezTo>
                    <a:cubicBezTo>
                      <a:pt x="52" y="50"/>
                      <a:pt x="54" y="50"/>
                      <a:pt x="56" y="50"/>
                    </a:cubicBezTo>
                    <a:cubicBezTo>
                      <a:pt x="57" y="50"/>
                      <a:pt x="58" y="49"/>
                      <a:pt x="59" y="48"/>
                    </a:cubicBezTo>
                    <a:cubicBezTo>
                      <a:pt x="61" y="47"/>
                      <a:pt x="65" y="46"/>
                      <a:pt x="68" y="46"/>
                    </a:cubicBezTo>
                    <a:cubicBezTo>
                      <a:pt x="69" y="46"/>
                      <a:pt x="70" y="46"/>
                      <a:pt x="70" y="46"/>
                    </a:cubicBezTo>
                    <a:cubicBezTo>
                      <a:pt x="71" y="45"/>
                      <a:pt x="71" y="45"/>
                      <a:pt x="71" y="45"/>
                    </a:cubicBezTo>
                    <a:cubicBezTo>
                      <a:pt x="71" y="45"/>
                      <a:pt x="71" y="45"/>
                      <a:pt x="71" y="45"/>
                    </a:cubicBezTo>
                    <a:cubicBezTo>
                      <a:pt x="72" y="45"/>
                      <a:pt x="72" y="46"/>
                      <a:pt x="73" y="46"/>
                    </a:cubicBezTo>
                    <a:cubicBezTo>
                      <a:pt x="73" y="47"/>
                      <a:pt x="71" y="46"/>
                      <a:pt x="71" y="47"/>
                    </a:cubicBezTo>
                    <a:cubicBezTo>
                      <a:pt x="71" y="47"/>
                      <a:pt x="71" y="47"/>
                      <a:pt x="71" y="47"/>
                    </a:cubicBezTo>
                    <a:cubicBezTo>
                      <a:pt x="71" y="47"/>
                      <a:pt x="70" y="47"/>
                      <a:pt x="70" y="47"/>
                    </a:cubicBezTo>
                    <a:cubicBezTo>
                      <a:pt x="68" y="48"/>
                      <a:pt x="65" y="48"/>
                      <a:pt x="63" y="50"/>
                    </a:cubicBezTo>
                    <a:cubicBezTo>
                      <a:pt x="62" y="50"/>
                      <a:pt x="62" y="50"/>
                      <a:pt x="61" y="50"/>
                    </a:cubicBezTo>
                    <a:cubicBezTo>
                      <a:pt x="61" y="50"/>
                      <a:pt x="61" y="51"/>
                      <a:pt x="61" y="51"/>
                    </a:cubicBezTo>
                    <a:cubicBezTo>
                      <a:pt x="60" y="51"/>
                      <a:pt x="60" y="51"/>
                      <a:pt x="59" y="51"/>
                    </a:cubicBezTo>
                    <a:cubicBezTo>
                      <a:pt x="58" y="51"/>
                      <a:pt x="57" y="52"/>
                      <a:pt x="55" y="52"/>
                    </a:cubicBezTo>
                    <a:cubicBezTo>
                      <a:pt x="53" y="53"/>
                      <a:pt x="49" y="53"/>
                      <a:pt x="46" y="53"/>
                    </a:cubicBezTo>
                    <a:cubicBezTo>
                      <a:pt x="43" y="54"/>
                      <a:pt x="40" y="53"/>
                      <a:pt x="37" y="53"/>
                    </a:cubicBezTo>
                    <a:cubicBezTo>
                      <a:pt x="33" y="53"/>
                      <a:pt x="29" y="53"/>
                      <a:pt x="25" y="55"/>
                    </a:cubicBezTo>
                    <a:cubicBezTo>
                      <a:pt x="27" y="57"/>
                      <a:pt x="32" y="58"/>
                      <a:pt x="34" y="59"/>
                    </a:cubicBezTo>
                    <a:cubicBezTo>
                      <a:pt x="36" y="60"/>
                      <a:pt x="39" y="60"/>
                      <a:pt x="41" y="61"/>
                    </a:cubicBezTo>
                    <a:cubicBezTo>
                      <a:pt x="43" y="61"/>
                      <a:pt x="46" y="63"/>
                      <a:pt x="48" y="61"/>
                    </a:cubicBezTo>
                    <a:cubicBezTo>
                      <a:pt x="49" y="61"/>
                      <a:pt x="50" y="60"/>
                      <a:pt x="50" y="59"/>
                    </a:cubicBezTo>
                    <a:cubicBezTo>
                      <a:pt x="51" y="58"/>
                      <a:pt x="52" y="58"/>
                      <a:pt x="53" y="57"/>
                    </a:cubicBezTo>
                    <a:cubicBezTo>
                      <a:pt x="56" y="56"/>
                      <a:pt x="58" y="54"/>
                      <a:pt x="61" y="53"/>
                    </a:cubicBezTo>
                    <a:cubicBezTo>
                      <a:pt x="63" y="52"/>
                      <a:pt x="64" y="51"/>
                      <a:pt x="67" y="51"/>
                    </a:cubicBezTo>
                    <a:cubicBezTo>
                      <a:pt x="68" y="51"/>
                      <a:pt x="69" y="51"/>
                      <a:pt x="70" y="51"/>
                    </a:cubicBezTo>
                    <a:cubicBezTo>
                      <a:pt x="70" y="51"/>
                      <a:pt x="71" y="51"/>
                      <a:pt x="71" y="51"/>
                    </a:cubicBezTo>
                    <a:cubicBezTo>
                      <a:pt x="71" y="51"/>
                      <a:pt x="71" y="51"/>
                      <a:pt x="71" y="51"/>
                    </a:cubicBezTo>
                    <a:cubicBezTo>
                      <a:pt x="75" y="51"/>
                      <a:pt x="80" y="51"/>
                      <a:pt x="84" y="50"/>
                    </a:cubicBezTo>
                    <a:cubicBezTo>
                      <a:pt x="86" y="50"/>
                      <a:pt x="89" y="49"/>
                      <a:pt x="91" y="49"/>
                    </a:cubicBezTo>
                    <a:cubicBezTo>
                      <a:pt x="93" y="49"/>
                      <a:pt x="95" y="49"/>
                      <a:pt x="97" y="49"/>
                    </a:cubicBezTo>
                    <a:cubicBezTo>
                      <a:pt x="97" y="49"/>
                      <a:pt x="95" y="49"/>
                      <a:pt x="94" y="50"/>
                    </a:cubicBezTo>
                    <a:cubicBezTo>
                      <a:pt x="92" y="50"/>
                      <a:pt x="91" y="50"/>
                      <a:pt x="89" y="50"/>
                    </a:cubicBezTo>
                    <a:cubicBezTo>
                      <a:pt x="87" y="51"/>
                      <a:pt x="84" y="51"/>
                      <a:pt x="81" y="51"/>
                    </a:cubicBezTo>
                    <a:cubicBezTo>
                      <a:pt x="78" y="51"/>
                      <a:pt x="75" y="52"/>
                      <a:pt x="72" y="52"/>
                    </a:cubicBezTo>
                    <a:cubicBezTo>
                      <a:pt x="72" y="52"/>
                      <a:pt x="71" y="52"/>
                      <a:pt x="71" y="52"/>
                    </a:cubicBezTo>
                    <a:cubicBezTo>
                      <a:pt x="71" y="52"/>
                      <a:pt x="71" y="52"/>
                      <a:pt x="71" y="52"/>
                    </a:cubicBezTo>
                    <a:cubicBezTo>
                      <a:pt x="71" y="52"/>
                      <a:pt x="71" y="52"/>
                      <a:pt x="71" y="52"/>
                    </a:cubicBezTo>
                    <a:cubicBezTo>
                      <a:pt x="70" y="53"/>
                      <a:pt x="68" y="53"/>
                      <a:pt x="67" y="53"/>
                    </a:cubicBezTo>
                    <a:cubicBezTo>
                      <a:pt x="66" y="53"/>
                      <a:pt x="64" y="53"/>
                      <a:pt x="63" y="54"/>
                    </a:cubicBezTo>
                    <a:cubicBezTo>
                      <a:pt x="61" y="55"/>
                      <a:pt x="60" y="56"/>
                      <a:pt x="58" y="57"/>
                    </a:cubicBezTo>
                    <a:cubicBezTo>
                      <a:pt x="57" y="59"/>
                      <a:pt x="54" y="59"/>
                      <a:pt x="53" y="61"/>
                    </a:cubicBezTo>
                    <a:cubicBezTo>
                      <a:pt x="53" y="63"/>
                      <a:pt x="55" y="63"/>
                      <a:pt x="56" y="63"/>
                    </a:cubicBezTo>
                    <a:cubicBezTo>
                      <a:pt x="57" y="64"/>
                      <a:pt x="59" y="64"/>
                      <a:pt x="60" y="64"/>
                    </a:cubicBezTo>
                    <a:cubicBezTo>
                      <a:pt x="62" y="64"/>
                      <a:pt x="63" y="62"/>
                      <a:pt x="64" y="62"/>
                    </a:cubicBezTo>
                    <a:cubicBezTo>
                      <a:pt x="64" y="63"/>
                      <a:pt x="63" y="63"/>
                      <a:pt x="62" y="64"/>
                    </a:cubicBezTo>
                    <a:cubicBezTo>
                      <a:pt x="63" y="64"/>
                      <a:pt x="65" y="64"/>
                      <a:pt x="66" y="64"/>
                    </a:cubicBezTo>
                    <a:cubicBezTo>
                      <a:pt x="67" y="64"/>
                      <a:pt x="69" y="65"/>
                      <a:pt x="70" y="65"/>
                    </a:cubicBezTo>
                    <a:cubicBezTo>
                      <a:pt x="70" y="65"/>
                      <a:pt x="71" y="65"/>
                      <a:pt x="71" y="64"/>
                    </a:cubicBezTo>
                    <a:cubicBezTo>
                      <a:pt x="71" y="64"/>
                      <a:pt x="71" y="64"/>
                      <a:pt x="71" y="65"/>
                    </a:cubicBezTo>
                    <a:cubicBezTo>
                      <a:pt x="74" y="64"/>
                      <a:pt x="76" y="65"/>
                      <a:pt x="79" y="64"/>
                    </a:cubicBezTo>
                    <a:cubicBezTo>
                      <a:pt x="80" y="64"/>
                      <a:pt x="82" y="64"/>
                      <a:pt x="83" y="63"/>
                    </a:cubicBezTo>
                    <a:cubicBezTo>
                      <a:pt x="85" y="62"/>
                      <a:pt x="83" y="61"/>
                      <a:pt x="83" y="59"/>
                    </a:cubicBezTo>
                    <a:cubicBezTo>
                      <a:pt x="83" y="59"/>
                      <a:pt x="88" y="57"/>
                      <a:pt x="89" y="57"/>
                    </a:cubicBezTo>
                    <a:cubicBezTo>
                      <a:pt x="91" y="57"/>
                      <a:pt x="88" y="58"/>
                      <a:pt x="87" y="59"/>
                    </a:cubicBezTo>
                    <a:cubicBezTo>
                      <a:pt x="87" y="59"/>
                      <a:pt x="86" y="59"/>
                      <a:pt x="86" y="59"/>
                    </a:cubicBezTo>
                    <a:cubicBezTo>
                      <a:pt x="86" y="60"/>
                      <a:pt x="87" y="60"/>
                      <a:pt x="88" y="60"/>
                    </a:cubicBezTo>
                    <a:cubicBezTo>
                      <a:pt x="91" y="60"/>
                      <a:pt x="94" y="59"/>
                      <a:pt x="96" y="58"/>
                    </a:cubicBezTo>
                    <a:cubicBezTo>
                      <a:pt x="98" y="58"/>
                      <a:pt x="99" y="58"/>
                      <a:pt x="100" y="57"/>
                    </a:cubicBezTo>
                    <a:cubicBezTo>
                      <a:pt x="102" y="57"/>
                      <a:pt x="102" y="57"/>
                      <a:pt x="104" y="57"/>
                    </a:cubicBezTo>
                    <a:cubicBezTo>
                      <a:pt x="103" y="60"/>
                      <a:pt x="98" y="60"/>
                      <a:pt x="96" y="60"/>
                    </a:cubicBezTo>
                    <a:cubicBezTo>
                      <a:pt x="94" y="60"/>
                      <a:pt x="87" y="62"/>
                      <a:pt x="91" y="64"/>
                    </a:cubicBezTo>
                    <a:cubicBezTo>
                      <a:pt x="92" y="64"/>
                      <a:pt x="95" y="64"/>
                      <a:pt x="96" y="64"/>
                    </a:cubicBezTo>
                    <a:cubicBezTo>
                      <a:pt x="98" y="63"/>
                      <a:pt x="99" y="63"/>
                      <a:pt x="101" y="63"/>
                    </a:cubicBezTo>
                    <a:cubicBezTo>
                      <a:pt x="104" y="63"/>
                      <a:pt x="107" y="62"/>
                      <a:pt x="111" y="61"/>
                    </a:cubicBezTo>
                    <a:cubicBezTo>
                      <a:pt x="114" y="61"/>
                      <a:pt x="116" y="60"/>
                      <a:pt x="119" y="59"/>
                    </a:cubicBezTo>
                    <a:cubicBezTo>
                      <a:pt x="121" y="59"/>
                      <a:pt x="124" y="58"/>
                      <a:pt x="126" y="57"/>
                    </a:cubicBezTo>
                    <a:cubicBezTo>
                      <a:pt x="126" y="57"/>
                      <a:pt x="127" y="56"/>
                      <a:pt x="127" y="56"/>
                    </a:cubicBezTo>
                    <a:cubicBezTo>
                      <a:pt x="127" y="56"/>
                      <a:pt x="127" y="55"/>
                      <a:pt x="128" y="55"/>
                    </a:cubicBezTo>
                    <a:cubicBezTo>
                      <a:pt x="128" y="55"/>
                      <a:pt x="131" y="54"/>
                      <a:pt x="130" y="53"/>
                    </a:cubicBezTo>
                    <a:cubicBezTo>
                      <a:pt x="130" y="53"/>
                      <a:pt x="129" y="53"/>
                      <a:pt x="129" y="53"/>
                    </a:cubicBezTo>
                    <a:cubicBezTo>
                      <a:pt x="128" y="52"/>
                      <a:pt x="130" y="51"/>
                      <a:pt x="130" y="51"/>
                    </a:cubicBezTo>
                    <a:cubicBezTo>
                      <a:pt x="132" y="51"/>
                      <a:pt x="129" y="50"/>
                      <a:pt x="129" y="49"/>
                    </a:cubicBezTo>
                    <a:cubicBezTo>
                      <a:pt x="128" y="49"/>
                      <a:pt x="128" y="49"/>
                      <a:pt x="127" y="48"/>
                    </a:cubicBezTo>
                    <a:cubicBezTo>
                      <a:pt x="128" y="49"/>
                      <a:pt x="130" y="50"/>
                      <a:pt x="132" y="50"/>
                    </a:cubicBezTo>
                    <a:cubicBezTo>
                      <a:pt x="132" y="50"/>
                      <a:pt x="133" y="51"/>
                      <a:pt x="134" y="50"/>
                    </a:cubicBezTo>
                    <a:cubicBezTo>
                      <a:pt x="134" y="50"/>
                      <a:pt x="135" y="50"/>
                      <a:pt x="135" y="50"/>
                    </a:cubicBezTo>
                    <a:cubicBezTo>
                      <a:pt x="135" y="50"/>
                      <a:pt x="135" y="49"/>
                      <a:pt x="135" y="49"/>
                    </a:cubicBezTo>
                    <a:cubicBezTo>
                      <a:pt x="135" y="48"/>
                      <a:pt x="137" y="48"/>
                      <a:pt x="138" y="47"/>
                    </a:cubicBezTo>
                    <a:cubicBezTo>
                      <a:pt x="139" y="47"/>
                      <a:pt x="139" y="46"/>
                      <a:pt x="140" y="46"/>
                    </a:cubicBezTo>
                    <a:cubicBezTo>
                      <a:pt x="141" y="46"/>
                      <a:pt x="142" y="45"/>
                      <a:pt x="142" y="45"/>
                    </a:cubicBezTo>
                    <a:cubicBezTo>
                      <a:pt x="142" y="45"/>
                      <a:pt x="142" y="45"/>
                      <a:pt x="142" y="45"/>
                    </a:cubicBezTo>
                    <a:cubicBezTo>
                      <a:pt x="143" y="44"/>
                      <a:pt x="145" y="44"/>
                      <a:pt x="147" y="43"/>
                    </a:cubicBezTo>
                    <a:cubicBezTo>
                      <a:pt x="149" y="43"/>
                      <a:pt x="151" y="42"/>
                      <a:pt x="152" y="42"/>
                    </a:cubicBezTo>
                    <a:cubicBezTo>
                      <a:pt x="150" y="45"/>
                      <a:pt x="144" y="45"/>
                      <a:pt x="141" y="46"/>
                    </a:cubicBezTo>
                    <a:cubicBezTo>
                      <a:pt x="141" y="47"/>
                      <a:pt x="141" y="47"/>
                      <a:pt x="142" y="47"/>
                    </a:cubicBezTo>
                    <a:cubicBezTo>
                      <a:pt x="141" y="48"/>
                      <a:pt x="141" y="48"/>
                      <a:pt x="140" y="49"/>
                    </a:cubicBezTo>
                    <a:cubicBezTo>
                      <a:pt x="139" y="49"/>
                      <a:pt x="138" y="49"/>
                      <a:pt x="137" y="49"/>
                    </a:cubicBezTo>
                    <a:cubicBezTo>
                      <a:pt x="137" y="50"/>
                      <a:pt x="136" y="51"/>
                      <a:pt x="135" y="52"/>
                    </a:cubicBezTo>
                    <a:cubicBezTo>
                      <a:pt x="135" y="52"/>
                      <a:pt x="134" y="52"/>
                      <a:pt x="134" y="52"/>
                    </a:cubicBezTo>
                    <a:cubicBezTo>
                      <a:pt x="133" y="53"/>
                      <a:pt x="133" y="53"/>
                      <a:pt x="133" y="53"/>
                    </a:cubicBezTo>
                    <a:cubicBezTo>
                      <a:pt x="133" y="54"/>
                      <a:pt x="133" y="56"/>
                      <a:pt x="133" y="56"/>
                    </a:cubicBezTo>
                    <a:cubicBezTo>
                      <a:pt x="135" y="56"/>
                      <a:pt x="137" y="56"/>
                      <a:pt x="138" y="56"/>
                    </a:cubicBezTo>
                    <a:cubicBezTo>
                      <a:pt x="141" y="55"/>
                      <a:pt x="145" y="55"/>
                      <a:pt x="148" y="55"/>
                    </a:cubicBezTo>
                    <a:cubicBezTo>
                      <a:pt x="149" y="55"/>
                      <a:pt x="151" y="56"/>
                      <a:pt x="152" y="56"/>
                    </a:cubicBezTo>
                    <a:cubicBezTo>
                      <a:pt x="154" y="56"/>
                      <a:pt x="155" y="55"/>
                      <a:pt x="157" y="55"/>
                    </a:cubicBezTo>
                    <a:cubicBezTo>
                      <a:pt x="159" y="55"/>
                      <a:pt x="157" y="57"/>
                      <a:pt x="156" y="57"/>
                    </a:cubicBezTo>
                    <a:cubicBezTo>
                      <a:pt x="154" y="57"/>
                      <a:pt x="152" y="57"/>
                      <a:pt x="150" y="57"/>
                    </a:cubicBezTo>
                    <a:cubicBezTo>
                      <a:pt x="146" y="57"/>
                      <a:pt x="142" y="57"/>
                      <a:pt x="139" y="58"/>
                    </a:cubicBezTo>
                    <a:cubicBezTo>
                      <a:pt x="136" y="58"/>
                      <a:pt x="133" y="59"/>
                      <a:pt x="130" y="60"/>
                    </a:cubicBezTo>
                    <a:cubicBezTo>
                      <a:pt x="128" y="60"/>
                      <a:pt x="125" y="61"/>
                      <a:pt x="123" y="62"/>
                    </a:cubicBezTo>
                    <a:cubicBezTo>
                      <a:pt x="125" y="63"/>
                      <a:pt x="130" y="62"/>
                      <a:pt x="133" y="62"/>
                    </a:cubicBezTo>
                    <a:cubicBezTo>
                      <a:pt x="136" y="62"/>
                      <a:pt x="139" y="62"/>
                      <a:pt x="142" y="63"/>
                    </a:cubicBezTo>
                    <a:cubicBezTo>
                      <a:pt x="140" y="64"/>
                      <a:pt x="138" y="63"/>
                      <a:pt x="136" y="63"/>
                    </a:cubicBezTo>
                    <a:cubicBezTo>
                      <a:pt x="134" y="63"/>
                      <a:pt x="133" y="64"/>
                      <a:pt x="131" y="64"/>
                    </a:cubicBezTo>
                    <a:cubicBezTo>
                      <a:pt x="128" y="64"/>
                      <a:pt x="124" y="64"/>
                      <a:pt x="121" y="64"/>
                    </a:cubicBezTo>
                    <a:cubicBezTo>
                      <a:pt x="119" y="64"/>
                      <a:pt x="119" y="65"/>
                      <a:pt x="117" y="65"/>
                    </a:cubicBezTo>
                    <a:cubicBezTo>
                      <a:pt x="116" y="66"/>
                      <a:pt x="114" y="66"/>
                      <a:pt x="113" y="66"/>
                    </a:cubicBezTo>
                    <a:cubicBezTo>
                      <a:pt x="110" y="66"/>
                      <a:pt x="107" y="67"/>
                      <a:pt x="103" y="67"/>
                    </a:cubicBezTo>
                    <a:cubicBezTo>
                      <a:pt x="100" y="67"/>
                      <a:pt x="97" y="68"/>
                      <a:pt x="94" y="68"/>
                    </a:cubicBezTo>
                    <a:cubicBezTo>
                      <a:pt x="93" y="68"/>
                      <a:pt x="90" y="68"/>
                      <a:pt x="89" y="69"/>
                    </a:cubicBezTo>
                    <a:cubicBezTo>
                      <a:pt x="89" y="69"/>
                      <a:pt x="91" y="70"/>
                      <a:pt x="92" y="71"/>
                    </a:cubicBezTo>
                    <a:cubicBezTo>
                      <a:pt x="95" y="73"/>
                      <a:pt x="99" y="76"/>
                      <a:pt x="102" y="77"/>
                    </a:cubicBezTo>
                    <a:cubicBezTo>
                      <a:pt x="104" y="77"/>
                      <a:pt x="105" y="77"/>
                      <a:pt x="107" y="78"/>
                    </a:cubicBezTo>
                    <a:cubicBezTo>
                      <a:pt x="106" y="79"/>
                      <a:pt x="105" y="78"/>
                      <a:pt x="105" y="80"/>
                    </a:cubicBezTo>
                    <a:cubicBezTo>
                      <a:pt x="106" y="81"/>
                      <a:pt x="106" y="82"/>
                      <a:pt x="106" y="83"/>
                    </a:cubicBezTo>
                    <a:cubicBezTo>
                      <a:pt x="106" y="83"/>
                      <a:pt x="111" y="84"/>
                      <a:pt x="112" y="84"/>
                    </a:cubicBezTo>
                    <a:cubicBezTo>
                      <a:pt x="114" y="85"/>
                      <a:pt x="116" y="85"/>
                      <a:pt x="117" y="84"/>
                    </a:cubicBezTo>
                    <a:cubicBezTo>
                      <a:pt x="120" y="83"/>
                      <a:pt x="122" y="84"/>
                      <a:pt x="124" y="83"/>
                    </a:cubicBezTo>
                    <a:cubicBezTo>
                      <a:pt x="122" y="85"/>
                      <a:pt x="120" y="85"/>
                      <a:pt x="118" y="85"/>
                    </a:cubicBezTo>
                    <a:cubicBezTo>
                      <a:pt x="117" y="86"/>
                      <a:pt x="116" y="86"/>
                      <a:pt x="115" y="86"/>
                    </a:cubicBezTo>
                    <a:cubicBezTo>
                      <a:pt x="114" y="86"/>
                      <a:pt x="114" y="86"/>
                      <a:pt x="113" y="86"/>
                    </a:cubicBezTo>
                    <a:cubicBezTo>
                      <a:pt x="111" y="86"/>
                      <a:pt x="109" y="85"/>
                      <a:pt x="108" y="85"/>
                    </a:cubicBezTo>
                    <a:cubicBezTo>
                      <a:pt x="106" y="85"/>
                      <a:pt x="105" y="87"/>
                      <a:pt x="104" y="86"/>
                    </a:cubicBezTo>
                    <a:cubicBezTo>
                      <a:pt x="106" y="85"/>
                      <a:pt x="104" y="84"/>
                      <a:pt x="103" y="84"/>
                    </a:cubicBezTo>
                    <a:cubicBezTo>
                      <a:pt x="101" y="83"/>
                      <a:pt x="102" y="82"/>
                      <a:pt x="101" y="81"/>
                    </a:cubicBezTo>
                    <a:cubicBezTo>
                      <a:pt x="100" y="79"/>
                      <a:pt x="98" y="79"/>
                      <a:pt x="96" y="78"/>
                    </a:cubicBezTo>
                    <a:cubicBezTo>
                      <a:pt x="92" y="76"/>
                      <a:pt x="89" y="75"/>
                      <a:pt x="85" y="72"/>
                    </a:cubicBezTo>
                    <a:cubicBezTo>
                      <a:pt x="83" y="70"/>
                      <a:pt x="78" y="70"/>
                      <a:pt x="75" y="70"/>
                    </a:cubicBezTo>
                    <a:cubicBezTo>
                      <a:pt x="74" y="70"/>
                      <a:pt x="73" y="70"/>
                      <a:pt x="72" y="70"/>
                    </a:cubicBezTo>
                    <a:cubicBezTo>
                      <a:pt x="71" y="70"/>
                      <a:pt x="71" y="70"/>
                      <a:pt x="71" y="71"/>
                    </a:cubicBezTo>
                    <a:cubicBezTo>
                      <a:pt x="71" y="71"/>
                      <a:pt x="71" y="71"/>
                      <a:pt x="71" y="71"/>
                    </a:cubicBezTo>
                    <a:cubicBezTo>
                      <a:pt x="71" y="71"/>
                      <a:pt x="71" y="70"/>
                      <a:pt x="70" y="70"/>
                    </a:cubicBezTo>
                    <a:cubicBezTo>
                      <a:pt x="68" y="71"/>
                      <a:pt x="66" y="70"/>
                      <a:pt x="63" y="69"/>
                    </a:cubicBezTo>
                    <a:cubicBezTo>
                      <a:pt x="61" y="68"/>
                      <a:pt x="56" y="68"/>
                      <a:pt x="55" y="71"/>
                    </a:cubicBezTo>
                    <a:cubicBezTo>
                      <a:pt x="54" y="73"/>
                      <a:pt x="53" y="73"/>
                      <a:pt x="55" y="75"/>
                    </a:cubicBezTo>
                    <a:cubicBezTo>
                      <a:pt x="57" y="77"/>
                      <a:pt x="58" y="77"/>
                      <a:pt x="60" y="77"/>
                    </a:cubicBezTo>
                    <a:cubicBezTo>
                      <a:pt x="61" y="77"/>
                      <a:pt x="63" y="77"/>
                      <a:pt x="64" y="77"/>
                    </a:cubicBezTo>
                    <a:cubicBezTo>
                      <a:pt x="65" y="77"/>
                      <a:pt x="66" y="78"/>
                      <a:pt x="67" y="78"/>
                    </a:cubicBezTo>
                    <a:cubicBezTo>
                      <a:pt x="67" y="78"/>
                      <a:pt x="68" y="78"/>
                      <a:pt x="68" y="78"/>
                    </a:cubicBezTo>
                    <a:cubicBezTo>
                      <a:pt x="67" y="79"/>
                      <a:pt x="65" y="78"/>
                      <a:pt x="64" y="78"/>
                    </a:cubicBezTo>
                    <a:cubicBezTo>
                      <a:pt x="63" y="78"/>
                      <a:pt x="62" y="78"/>
                      <a:pt x="61" y="78"/>
                    </a:cubicBezTo>
                    <a:cubicBezTo>
                      <a:pt x="59" y="77"/>
                      <a:pt x="58" y="77"/>
                      <a:pt x="57" y="77"/>
                    </a:cubicBezTo>
                    <a:cubicBezTo>
                      <a:pt x="55" y="78"/>
                      <a:pt x="56" y="79"/>
                      <a:pt x="56" y="80"/>
                    </a:cubicBezTo>
                    <a:cubicBezTo>
                      <a:pt x="56" y="81"/>
                      <a:pt x="55" y="81"/>
                      <a:pt x="56" y="82"/>
                    </a:cubicBezTo>
                    <a:cubicBezTo>
                      <a:pt x="57" y="82"/>
                      <a:pt x="58" y="83"/>
                      <a:pt x="59" y="83"/>
                    </a:cubicBezTo>
                    <a:cubicBezTo>
                      <a:pt x="60" y="83"/>
                      <a:pt x="61" y="84"/>
                      <a:pt x="62" y="83"/>
                    </a:cubicBezTo>
                    <a:cubicBezTo>
                      <a:pt x="65" y="83"/>
                      <a:pt x="67" y="84"/>
                      <a:pt x="69" y="85"/>
                    </a:cubicBezTo>
                    <a:cubicBezTo>
                      <a:pt x="70" y="85"/>
                      <a:pt x="70" y="85"/>
                      <a:pt x="71" y="86"/>
                    </a:cubicBezTo>
                    <a:cubicBezTo>
                      <a:pt x="71" y="86"/>
                      <a:pt x="71" y="85"/>
                      <a:pt x="71" y="85"/>
                    </a:cubicBezTo>
                    <a:cubicBezTo>
                      <a:pt x="71" y="86"/>
                      <a:pt x="71" y="86"/>
                      <a:pt x="72" y="87"/>
                    </a:cubicBezTo>
                    <a:cubicBezTo>
                      <a:pt x="73" y="89"/>
                      <a:pt x="74" y="89"/>
                      <a:pt x="76" y="90"/>
                    </a:cubicBezTo>
                    <a:cubicBezTo>
                      <a:pt x="77" y="91"/>
                      <a:pt x="77" y="93"/>
                      <a:pt x="78" y="95"/>
                    </a:cubicBezTo>
                    <a:cubicBezTo>
                      <a:pt x="78" y="96"/>
                      <a:pt x="80" y="95"/>
                      <a:pt x="80" y="95"/>
                    </a:cubicBezTo>
                    <a:cubicBezTo>
                      <a:pt x="81" y="95"/>
                      <a:pt x="81" y="94"/>
                      <a:pt x="81" y="95"/>
                    </a:cubicBezTo>
                    <a:cubicBezTo>
                      <a:pt x="81" y="95"/>
                      <a:pt x="81" y="96"/>
                      <a:pt x="81" y="96"/>
                    </a:cubicBezTo>
                    <a:cubicBezTo>
                      <a:pt x="82" y="97"/>
                      <a:pt x="83" y="97"/>
                      <a:pt x="84" y="97"/>
                    </a:cubicBezTo>
                    <a:cubicBezTo>
                      <a:pt x="84" y="98"/>
                      <a:pt x="85" y="98"/>
                      <a:pt x="85" y="98"/>
                    </a:cubicBezTo>
                    <a:cubicBezTo>
                      <a:pt x="86" y="99"/>
                      <a:pt x="87" y="98"/>
                      <a:pt x="87" y="98"/>
                    </a:cubicBezTo>
                    <a:cubicBezTo>
                      <a:pt x="86" y="100"/>
                      <a:pt x="82" y="99"/>
                      <a:pt x="80" y="98"/>
                    </a:cubicBezTo>
                    <a:cubicBezTo>
                      <a:pt x="79" y="96"/>
                      <a:pt x="76" y="96"/>
                      <a:pt x="74" y="97"/>
                    </a:cubicBezTo>
                    <a:cubicBezTo>
                      <a:pt x="74" y="97"/>
                      <a:pt x="73" y="98"/>
                      <a:pt x="73" y="98"/>
                    </a:cubicBezTo>
                    <a:cubicBezTo>
                      <a:pt x="73" y="98"/>
                      <a:pt x="74" y="99"/>
                      <a:pt x="75" y="99"/>
                    </a:cubicBezTo>
                    <a:cubicBezTo>
                      <a:pt x="76" y="100"/>
                      <a:pt x="77" y="100"/>
                      <a:pt x="78" y="100"/>
                    </a:cubicBezTo>
                    <a:cubicBezTo>
                      <a:pt x="79" y="101"/>
                      <a:pt x="80" y="100"/>
                      <a:pt x="82" y="100"/>
                    </a:cubicBezTo>
                    <a:cubicBezTo>
                      <a:pt x="83" y="100"/>
                      <a:pt x="84" y="101"/>
                      <a:pt x="85" y="101"/>
                    </a:cubicBezTo>
                    <a:cubicBezTo>
                      <a:pt x="88" y="101"/>
                      <a:pt x="90" y="101"/>
                      <a:pt x="93" y="101"/>
                    </a:cubicBezTo>
                    <a:cubicBezTo>
                      <a:pt x="95" y="102"/>
                      <a:pt x="97" y="103"/>
                      <a:pt x="100" y="101"/>
                    </a:cubicBezTo>
                    <a:cubicBezTo>
                      <a:pt x="101" y="101"/>
                      <a:pt x="102" y="100"/>
                      <a:pt x="103" y="99"/>
                    </a:cubicBezTo>
                    <a:cubicBezTo>
                      <a:pt x="103" y="99"/>
                      <a:pt x="105" y="98"/>
                      <a:pt x="106" y="98"/>
                    </a:cubicBezTo>
                    <a:cubicBezTo>
                      <a:pt x="107" y="98"/>
                      <a:pt x="106" y="99"/>
                      <a:pt x="106" y="99"/>
                    </a:cubicBezTo>
                    <a:cubicBezTo>
                      <a:pt x="105" y="100"/>
                      <a:pt x="105" y="100"/>
                      <a:pt x="104" y="101"/>
                    </a:cubicBezTo>
                    <a:cubicBezTo>
                      <a:pt x="104" y="102"/>
                      <a:pt x="104" y="102"/>
                      <a:pt x="103" y="103"/>
                    </a:cubicBezTo>
                    <a:cubicBezTo>
                      <a:pt x="103" y="103"/>
                      <a:pt x="102" y="103"/>
                      <a:pt x="102" y="103"/>
                    </a:cubicBezTo>
                    <a:cubicBezTo>
                      <a:pt x="100" y="103"/>
                      <a:pt x="98" y="103"/>
                      <a:pt x="95" y="103"/>
                    </a:cubicBezTo>
                    <a:cubicBezTo>
                      <a:pt x="93" y="103"/>
                      <a:pt x="91" y="103"/>
                      <a:pt x="89" y="103"/>
                    </a:cubicBezTo>
                    <a:cubicBezTo>
                      <a:pt x="88" y="103"/>
                      <a:pt x="91" y="104"/>
                      <a:pt x="91" y="105"/>
                    </a:cubicBezTo>
                    <a:cubicBezTo>
                      <a:pt x="92" y="105"/>
                      <a:pt x="93" y="105"/>
                      <a:pt x="94" y="106"/>
                    </a:cubicBezTo>
                    <a:cubicBezTo>
                      <a:pt x="95" y="106"/>
                      <a:pt x="97" y="104"/>
                      <a:pt x="99" y="106"/>
                    </a:cubicBezTo>
                    <a:cubicBezTo>
                      <a:pt x="99" y="106"/>
                      <a:pt x="96" y="105"/>
                      <a:pt x="96" y="106"/>
                    </a:cubicBezTo>
                    <a:cubicBezTo>
                      <a:pt x="95" y="107"/>
                      <a:pt x="98" y="108"/>
                      <a:pt x="98" y="108"/>
                    </a:cubicBezTo>
                    <a:cubicBezTo>
                      <a:pt x="100" y="109"/>
                      <a:pt x="97" y="109"/>
                      <a:pt x="96" y="109"/>
                    </a:cubicBezTo>
                    <a:cubicBezTo>
                      <a:pt x="95" y="108"/>
                      <a:pt x="95" y="107"/>
                      <a:pt x="94" y="107"/>
                    </a:cubicBezTo>
                    <a:cubicBezTo>
                      <a:pt x="93" y="106"/>
                      <a:pt x="92" y="106"/>
                      <a:pt x="91" y="106"/>
                    </a:cubicBezTo>
                    <a:cubicBezTo>
                      <a:pt x="90" y="106"/>
                      <a:pt x="89" y="105"/>
                      <a:pt x="88" y="105"/>
                    </a:cubicBezTo>
                    <a:cubicBezTo>
                      <a:pt x="87" y="104"/>
                      <a:pt x="86" y="104"/>
                      <a:pt x="85" y="104"/>
                    </a:cubicBezTo>
                    <a:cubicBezTo>
                      <a:pt x="84" y="103"/>
                      <a:pt x="83" y="103"/>
                      <a:pt x="82" y="103"/>
                    </a:cubicBezTo>
                    <a:cubicBezTo>
                      <a:pt x="78" y="103"/>
                      <a:pt x="74" y="103"/>
                      <a:pt x="71" y="101"/>
                    </a:cubicBezTo>
                    <a:cubicBezTo>
                      <a:pt x="71" y="102"/>
                      <a:pt x="71" y="103"/>
                      <a:pt x="71" y="103"/>
                    </a:cubicBezTo>
                    <a:cubicBezTo>
                      <a:pt x="71" y="103"/>
                      <a:pt x="71" y="102"/>
                      <a:pt x="71" y="101"/>
                    </a:cubicBezTo>
                    <a:cubicBezTo>
                      <a:pt x="69" y="101"/>
                      <a:pt x="66" y="102"/>
                      <a:pt x="64" y="103"/>
                    </a:cubicBezTo>
                    <a:cubicBezTo>
                      <a:pt x="61" y="103"/>
                      <a:pt x="59" y="104"/>
                      <a:pt x="56" y="104"/>
                    </a:cubicBezTo>
                    <a:cubicBezTo>
                      <a:pt x="54" y="104"/>
                      <a:pt x="51" y="105"/>
                      <a:pt x="50" y="107"/>
                    </a:cubicBezTo>
                    <a:cubicBezTo>
                      <a:pt x="50" y="110"/>
                      <a:pt x="47" y="110"/>
                      <a:pt x="45" y="112"/>
                    </a:cubicBezTo>
                    <a:cubicBezTo>
                      <a:pt x="45" y="113"/>
                      <a:pt x="45" y="115"/>
                      <a:pt x="45" y="116"/>
                    </a:cubicBezTo>
                    <a:cubicBezTo>
                      <a:pt x="45" y="117"/>
                      <a:pt x="45" y="117"/>
                      <a:pt x="46" y="117"/>
                    </a:cubicBezTo>
                    <a:cubicBezTo>
                      <a:pt x="47" y="117"/>
                      <a:pt x="48" y="117"/>
                      <a:pt x="49" y="117"/>
                    </a:cubicBezTo>
                    <a:cubicBezTo>
                      <a:pt x="48" y="118"/>
                      <a:pt x="46" y="117"/>
                      <a:pt x="45" y="119"/>
                    </a:cubicBezTo>
                    <a:cubicBezTo>
                      <a:pt x="47" y="120"/>
                      <a:pt x="50" y="119"/>
                      <a:pt x="52" y="119"/>
                    </a:cubicBezTo>
                    <a:cubicBezTo>
                      <a:pt x="54" y="119"/>
                      <a:pt x="55" y="117"/>
                      <a:pt x="56" y="117"/>
                    </a:cubicBezTo>
                    <a:cubicBezTo>
                      <a:pt x="57" y="118"/>
                      <a:pt x="58" y="117"/>
                      <a:pt x="60" y="116"/>
                    </a:cubicBezTo>
                    <a:cubicBezTo>
                      <a:pt x="60" y="116"/>
                      <a:pt x="60" y="115"/>
                      <a:pt x="60" y="115"/>
                    </a:cubicBezTo>
                    <a:cubicBezTo>
                      <a:pt x="61" y="114"/>
                      <a:pt x="62" y="114"/>
                      <a:pt x="62" y="114"/>
                    </a:cubicBezTo>
                    <a:cubicBezTo>
                      <a:pt x="62" y="114"/>
                      <a:pt x="62" y="117"/>
                      <a:pt x="61" y="117"/>
                    </a:cubicBezTo>
                    <a:cubicBezTo>
                      <a:pt x="60" y="117"/>
                      <a:pt x="60" y="118"/>
                      <a:pt x="59" y="118"/>
                    </a:cubicBezTo>
                    <a:cubicBezTo>
                      <a:pt x="59" y="118"/>
                      <a:pt x="58" y="118"/>
                      <a:pt x="58" y="119"/>
                    </a:cubicBezTo>
                    <a:cubicBezTo>
                      <a:pt x="56" y="121"/>
                      <a:pt x="63" y="120"/>
                      <a:pt x="64" y="120"/>
                    </a:cubicBezTo>
                    <a:cubicBezTo>
                      <a:pt x="65" y="119"/>
                      <a:pt x="66" y="119"/>
                      <a:pt x="67" y="119"/>
                    </a:cubicBezTo>
                    <a:cubicBezTo>
                      <a:pt x="68" y="118"/>
                      <a:pt x="68" y="117"/>
                      <a:pt x="69" y="116"/>
                    </a:cubicBezTo>
                    <a:cubicBezTo>
                      <a:pt x="70" y="116"/>
                      <a:pt x="71" y="115"/>
                      <a:pt x="71" y="114"/>
                    </a:cubicBezTo>
                    <a:cubicBezTo>
                      <a:pt x="71" y="114"/>
                      <a:pt x="71" y="114"/>
                      <a:pt x="71" y="115"/>
                    </a:cubicBezTo>
                    <a:cubicBezTo>
                      <a:pt x="71" y="114"/>
                      <a:pt x="71" y="114"/>
                      <a:pt x="71" y="113"/>
                    </a:cubicBezTo>
                    <a:cubicBezTo>
                      <a:pt x="71" y="112"/>
                      <a:pt x="72" y="112"/>
                      <a:pt x="72" y="112"/>
                    </a:cubicBezTo>
                    <a:cubicBezTo>
                      <a:pt x="73" y="111"/>
                      <a:pt x="73" y="109"/>
                      <a:pt x="74" y="109"/>
                    </a:cubicBezTo>
                    <a:cubicBezTo>
                      <a:pt x="74" y="110"/>
                      <a:pt x="74" y="110"/>
                      <a:pt x="73" y="110"/>
                    </a:cubicBezTo>
                    <a:cubicBezTo>
                      <a:pt x="73" y="111"/>
                      <a:pt x="73" y="112"/>
                      <a:pt x="73" y="112"/>
                    </a:cubicBezTo>
                    <a:cubicBezTo>
                      <a:pt x="72" y="113"/>
                      <a:pt x="72" y="114"/>
                      <a:pt x="72" y="114"/>
                    </a:cubicBezTo>
                    <a:cubicBezTo>
                      <a:pt x="73" y="114"/>
                      <a:pt x="74" y="114"/>
                      <a:pt x="75" y="114"/>
                    </a:cubicBezTo>
                    <a:cubicBezTo>
                      <a:pt x="74" y="115"/>
                      <a:pt x="73" y="115"/>
                      <a:pt x="72" y="115"/>
                    </a:cubicBezTo>
                    <a:cubicBezTo>
                      <a:pt x="72" y="115"/>
                      <a:pt x="71" y="117"/>
                      <a:pt x="71" y="117"/>
                    </a:cubicBezTo>
                    <a:cubicBezTo>
                      <a:pt x="73" y="118"/>
                      <a:pt x="75" y="117"/>
                      <a:pt x="76" y="117"/>
                    </a:cubicBezTo>
                    <a:cubicBezTo>
                      <a:pt x="78" y="117"/>
                      <a:pt x="79" y="118"/>
                      <a:pt x="80" y="118"/>
                    </a:cubicBezTo>
                    <a:cubicBezTo>
                      <a:pt x="78" y="119"/>
                      <a:pt x="77" y="118"/>
                      <a:pt x="76" y="118"/>
                    </a:cubicBezTo>
                    <a:cubicBezTo>
                      <a:pt x="74" y="117"/>
                      <a:pt x="72" y="118"/>
                      <a:pt x="71" y="118"/>
                    </a:cubicBezTo>
                    <a:cubicBezTo>
                      <a:pt x="71" y="118"/>
                      <a:pt x="71" y="119"/>
                      <a:pt x="71" y="119"/>
                    </a:cubicBezTo>
                    <a:cubicBezTo>
                      <a:pt x="71" y="119"/>
                      <a:pt x="71" y="119"/>
                      <a:pt x="71" y="119"/>
                    </a:cubicBezTo>
                    <a:cubicBezTo>
                      <a:pt x="71" y="120"/>
                      <a:pt x="71" y="120"/>
                      <a:pt x="72" y="121"/>
                    </a:cubicBezTo>
                    <a:cubicBezTo>
                      <a:pt x="73" y="121"/>
                      <a:pt x="74" y="120"/>
                      <a:pt x="74" y="120"/>
                    </a:cubicBezTo>
                    <a:cubicBezTo>
                      <a:pt x="76" y="120"/>
                      <a:pt x="77" y="120"/>
                      <a:pt x="78" y="120"/>
                    </a:cubicBezTo>
                    <a:cubicBezTo>
                      <a:pt x="77" y="121"/>
                      <a:pt x="75" y="120"/>
                      <a:pt x="74" y="121"/>
                    </a:cubicBezTo>
                    <a:cubicBezTo>
                      <a:pt x="73" y="122"/>
                      <a:pt x="72" y="121"/>
                      <a:pt x="71" y="121"/>
                    </a:cubicBezTo>
                    <a:cubicBezTo>
                      <a:pt x="71" y="122"/>
                      <a:pt x="71" y="122"/>
                      <a:pt x="71" y="123"/>
                    </a:cubicBezTo>
                    <a:cubicBezTo>
                      <a:pt x="71" y="124"/>
                      <a:pt x="71" y="124"/>
                      <a:pt x="71" y="124"/>
                    </a:cubicBezTo>
                    <a:cubicBezTo>
                      <a:pt x="72" y="124"/>
                      <a:pt x="73" y="124"/>
                      <a:pt x="74" y="124"/>
                    </a:cubicBezTo>
                    <a:cubicBezTo>
                      <a:pt x="75" y="124"/>
                      <a:pt x="76" y="123"/>
                      <a:pt x="77" y="124"/>
                    </a:cubicBezTo>
                    <a:cubicBezTo>
                      <a:pt x="76" y="124"/>
                      <a:pt x="75" y="124"/>
                      <a:pt x="74" y="124"/>
                    </a:cubicBezTo>
                    <a:cubicBezTo>
                      <a:pt x="73" y="124"/>
                      <a:pt x="73" y="125"/>
                      <a:pt x="72" y="125"/>
                    </a:cubicBezTo>
                    <a:cubicBezTo>
                      <a:pt x="71" y="125"/>
                      <a:pt x="71" y="125"/>
                      <a:pt x="71" y="124"/>
                    </a:cubicBezTo>
                    <a:cubicBezTo>
                      <a:pt x="71" y="125"/>
                      <a:pt x="71" y="125"/>
                      <a:pt x="71" y="126"/>
                    </a:cubicBezTo>
                    <a:cubicBezTo>
                      <a:pt x="70" y="126"/>
                      <a:pt x="70" y="126"/>
                      <a:pt x="70" y="126"/>
                    </a:cubicBezTo>
                    <a:cubicBezTo>
                      <a:pt x="69" y="126"/>
                      <a:pt x="69" y="127"/>
                      <a:pt x="68" y="127"/>
                    </a:cubicBezTo>
                    <a:cubicBezTo>
                      <a:pt x="66" y="128"/>
                      <a:pt x="70" y="130"/>
                      <a:pt x="71" y="130"/>
                    </a:cubicBezTo>
                    <a:cubicBezTo>
                      <a:pt x="71" y="130"/>
                      <a:pt x="71" y="130"/>
                      <a:pt x="71" y="130"/>
                    </a:cubicBezTo>
                    <a:cubicBezTo>
                      <a:pt x="71" y="131"/>
                      <a:pt x="72" y="130"/>
                      <a:pt x="73" y="130"/>
                    </a:cubicBezTo>
                    <a:cubicBezTo>
                      <a:pt x="74" y="130"/>
                      <a:pt x="76" y="129"/>
                      <a:pt x="76" y="127"/>
                    </a:cubicBezTo>
                    <a:cubicBezTo>
                      <a:pt x="77" y="128"/>
                      <a:pt x="75" y="130"/>
                      <a:pt x="74" y="130"/>
                    </a:cubicBezTo>
                    <a:cubicBezTo>
                      <a:pt x="73" y="131"/>
                      <a:pt x="71" y="131"/>
                      <a:pt x="73" y="132"/>
                    </a:cubicBezTo>
                    <a:cubicBezTo>
                      <a:pt x="75" y="132"/>
                      <a:pt x="76" y="132"/>
                      <a:pt x="78" y="132"/>
                    </a:cubicBezTo>
                    <a:cubicBezTo>
                      <a:pt x="79" y="132"/>
                      <a:pt x="80" y="133"/>
                      <a:pt x="81" y="133"/>
                    </a:cubicBezTo>
                    <a:cubicBezTo>
                      <a:pt x="85" y="133"/>
                      <a:pt x="88" y="129"/>
                      <a:pt x="90" y="126"/>
                    </a:cubicBezTo>
                    <a:cubicBezTo>
                      <a:pt x="91" y="125"/>
                      <a:pt x="92" y="125"/>
                      <a:pt x="92" y="124"/>
                    </a:cubicBezTo>
                    <a:cubicBezTo>
                      <a:pt x="93" y="124"/>
                      <a:pt x="94" y="124"/>
                      <a:pt x="93" y="123"/>
                    </a:cubicBezTo>
                    <a:cubicBezTo>
                      <a:pt x="92" y="121"/>
                      <a:pt x="97" y="120"/>
                      <a:pt x="98" y="120"/>
                    </a:cubicBezTo>
                    <a:cubicBezTo>
                      <a:pt x="97" y="121"/>
                      <a:pt x="96" y="121"/>
                      <a:pt x="96" y="121"/>
                    </a:cubicBezTo>
                    <a:cubicBezTo>
                      <a:pt x="95" y="122"/>
                      <a:pt x="95" y="124"/>
                      <a:pt x="94" y="125"/>
                    </a:cubicBezTo>
                    <a:cubicBezTo>
                      <a:pt x="93" y="126"/>
                      <a:pt x="93" y="127"/>
                      <a:pt x="92" y="128"/>
                    </a:cubicBezTo>
                    <a:cubicBezTo>
                      <a:pt x="90" y="130"/>
                      <a:pt x="89" y="132"/>
                      <a:pt x="87" y="133"/>
                    </a:cubicBezTo>
                    <a:cubicBezTo>
                      <a:pt x="86" y="133"/>
                      <a:pt x="84" y="133"/>
                      <a:pt x="83" y="134"/>
                    </a:cubicBezTo>
                    <a:cubicBezTo>
                      <a:pt x="81" y="134"/>
                      <a:pt x="86" y="135"/>
                      <a:pt x="86" y="135"/>
                    </a:cubicBezTo>
                    <a:cubicBezTo>
                      <a:pt x="87" y="136"/>
                      <a:pt x="80" y="135"/>
                      <a:pt x="80" y="135"/>
                    </a:cubicBezTo>
                    <a:cubicBezTo>
                      <a:pt x="79" y="135"/>
                      <a:pt x="78" y="135"/>
                      <a:pt x="77" y="135"/>
                    </a:cubicBezTo>
                    <a:cubicBezTo>
                      <a:pt x="76" y="135"/>
                      <a:pt x="76" y="135"/>
                      <a:pt x="75" y="135"/>
                    </a:cubicBezTo>
                    <a:cubicBezTo>
                      <a:pt x="74" y="136"/>
                      <a:pt x="74" y="137"/>
                      <a:pt x="73" y="136"/>
                    </a:cubicBezTo>
                    <a:cubicBezTo>
                      <a:pt x="72" y="136"/>
                      <a:pt x="71" y="136"/>
                      <a:pt x="71" y="135"/>
                    </a:cubicBezTo>
                    <a:cubicBezTo>
                      <a:pt x="71" y="136"/>
                      <a:pt x="71" y="136"/>
                      <a:pt x="71" y="136"/>
                    </a:cubicBezTo>
                    <a:cubicBezTo>
                      <a:pt x="71" y="136"/>
                      <a:pt x="71" y="136"/>
                      <a:pt x="71" y="135"/>
                    </a:cubicBezTo>
                    <a:cubicBezTo>
                      <a:pt x="69" y="135"/>
                      <a:pt x="66" y="136"/>
                      <a:pt x="65" y="134"/>
                    </a:cubicBezTo>
                    <a:cubicBezTo>
                      <a:pt x="64" y="134"/>
                      <a:pt x="63" y="135"/>
                      <a:pt x="63" y="134"/>
                    </a:cubicBezTo>
                    <a:cubicBezTo>
                      <a:pt x="63" y="134"/>
                      <a:pt x="63" y="132"/>
                      <a:pt x="62" y="132"/>
                    </a:cubicBezTo>
                    <a:cubicBezTo>
                      <a:pt x="62" y="131"/>
                      <a:pt x="62" y="131"/>
                      <a:pt x="62" y="131"/>
                    </a:cubicBezTo>
                    <a:cubicBezTo>
                      <a:pt x="61" y="129"/>
                      <a:pt x="60" y="127"/>
                      <a:pt x="58" y="126"/>
                    </a:cubicBezTo>
                    <a:cubicBezTo>
                      <a:pt x="55" y="125"/>
                      <a:pt x="49" y="124"/>
                      <a:pt x="46" y="124"/>
                    </a:cubicBezTo>
                    <a:cubicBezTo>
                      <a:pt x="44" y="125"/>
                      <a:pt x="42" y="126"/>
                      <a:pt x="40" y="126"/>
                    </a:cubicBezTo>
                    <a:cubicBezTo>
                      <a:pt x="40" y="126"/>
                      <a:pt x="38" y="125"/>
                      <a:pt x="38" y="125"/>
                    </a:cubicBezTo>
                    <a:cubicBezTo>
                      <a:pt x="38" y="127"/>
                      <a:pt x="38" y="127"/>
                      <a:pt x="38" y="129"/>
                    </a:cubicBezTo>
                    <a:cubicBezTo>
                      <a:pt x="38" y="129"/>
                      <a:pt x="38" y="129"/>
                      <a:pt x="38" y="129"/>
                    </a:cubicBezTo>
                    <a:cubicBezTo>
                      <a:pt x="38" y="130"/>
                      <a:pt x="39" y="130"/>
                      <a:pt x="39" y="130"/>
                    </a:cubicBezTo>
                    <a:cubicBezTo>
                      <a:pt x="40" y="131"/>
                      <a:pt x="41" y="132"/>
                      <a:pt x="41" y="133"/>
                    </a:cubicBezTo>
                    <a:cubicBezTo>
                      <a:pt x="42" y="134"/>
                      <a:pt x="42" y="134"/>
                      <a:pt x="43" y="135"/>
                    </a:cubicBezTo>
                    <a:cubicBezTo>
                      <a:pt x="43" y="135"/>
                      <a:pt x="43" y="136"/>
                      <a:pt x="43" y="136"/>
                    </a:cubicBezTo>
                    <a:cubicBezTo>
                      <a:pt x="43" y="136"/>
                      <a:pt x="44" y="136"/>
                      <a:pt x="45" y="136"/>
                    </a:cubicBezTo>
                    <a:cubicBezTo>
                      <a:pt x="46" y="136"/>
                      <a:pt x="47" y="136"/>
                      <a:pt x="48" y="136"/>
                    </a:cubicBezTo>
                    <a:cubicBezTo>
                      <a:pt x="49" y="136"/>
                      <a:pt x="50" y="136"/>
                      <a:pt x="52" y="136"/>
                    </a:cubicBezTo>
                    <a:cubicBezTo>
                      <a:pt x="51" y="136"/>
                      <a:pt x="48" y="137"/>
                      <a:pt x="48" y="137"/>
                    </a:cubicBezTo>
                    <a:cubicBezTo>
                      <a:pt x="48" y="138"/>
                      <a:pt x="49" y="138"/>
                      <a:pt x="49" y="138"/>
                    </a:cubicBezTo>
                    <a:cubicBezTo>
                      <a:pt x="49" y="138"/>
                      <a:pt x="48" y="139"/>
                      <a:pt x="48" y="139"/>
                    </a:cubicBezTo>
                    <a:cubicBezTo>
                      <a:pt x="49" y="140"/>
                      <a:pt x="50" y="140"/>
                      <a:pt x="51" y="141"/>
                    </a:cubicBezTo>
                    <a:cubicBezTo>
                      <a:pt x="50" y="140"/>
                      <a:pt x="48" y="139"/>
                      <a:pt x="47" y="140"/>
                    </a:cubicBezTo>
                    <a:cubicBezTo>
                      <a:pt x="46" y="140"/>
                      <a:pt x="45" y="141"/>
                      <a:pt x="46" y="141"/>
                    </a:cubicBezTo>
                    <a:cubicBezTo>
                      <a:pt x="45" y="142"/>
                      <a:pt x="44" y="141"/>
                      <a:pt x="43" y="141"/>
                    </a:cubicBezTo>
                    <a:cubicBezTo>
                      <a:pt x="41" y="141"/>
                      <a:pt x="41" y="141"/>
                      <a:pt x="39" y="141"/>
                    </a:cubicBezTo>
                    <a:cubicBezTo>
                      <a:pt x="38" y="141"/>
                      <a:pt x="37" y="141"/>
                      <a:pt x="36" y="141"/>
                    </a:cubicBezTo>
                    <a:cubicBezTo>
                      <a:pt x="35" y="141"/>
                      <a:pt x="35" y="142"/>
                      <a:pt x="34" y="143"/>
                    </a:cubicBezTo>
                    <a:cubicBezTo>
                      <a:pt x="33" y="143"/>
                      <a:pt x="32" y="144"/>
                      <a:pt x="31" y="144"/>
                    </a:cubicBezTo>
                    <a:cubicBezTo>
                      <a:pt x="30" y="144"/>
                      <a:pt x="30" y="145"/>
                      <a:pt x="28" y="145"/>
                    </a:cubicBezTo>
                    <a:cubicBezTo>
                      <a:pt x="27" y="146"/>
                      <a:pt x="26" y="146"/>
                      <a:pt x="25" y="146"/>
                    </a:cubicBezTo>
                    <a:cubicBezTo>
                      <a:pt x="24" y="147"/>
                      <a:pt x="25" y="148"/>
                      <a:pt x="25" y="150"/>
                    </a:cubicBezTo>
                    <a:cubicBezTo>
                      <a:pt x="25" y="151"/>
                      <a:pt x="25" y="151"/>
                      <a:pt x="24" y="151"/>
                    </a:cubicBezTo>
                    <a:cubicBezTo>
                      <a:pt x="24" y="152"/>
                      <a:pt x="24" y="152"/>
                      <a:pt x="23" y="153"/>
                    </a:cubicBezTo>
                    <a:cubicBezTo>
                      <a:pt x="24" y="154"/>
                      <a:pt x="27" y="156"/>
                      <a:pt x="29" y="156"/>
                    </a:cubicBezTo>
                    <a:cubicBezTo>
                      <a:pt x="32" y="156"/>
                      <a:pt x="32" y="154"/>
                      <a:pt x="33" y="152"/>
                    </a:cubicBezTo>
                    <a:cubicBezTo>
                      <a:pt x="33" y="153"/>
                      <a:pt x="33" y="153"/>
                      <a:pt x="33" y="154"/>
                    </a:cubicBezTo>
                    <a:cubicBezTo>
                      <a:pt x="34" y="155"/>
                      <a:pt x="33" y="154"/>
                      <a:pt x="33" y="155"/>
                    </a:cubicBezTo>
                    <a:cubicBezTo>
                      <a:pt x="33" y="155"/>
                      <a:pt x="33" y="156"/>
                      <a:pt x="33" y="156"/>
                    </a:cubicBezTo>
                    <a:cubicBezTo>
                      <a:pt x="34" y="156"/>
                      <a:pt x="35" y="154"/>
                      <a:pt x="35" y="153"/>
                    </a:cubicBezTo>
                    <a:cubicBezTo>
                      <a:pt x="35" y="152"/>
                      <a:pt x="34" y="152"/>
                      <a:pt x="33" y="152"/>
                    </a:cubicBezTo>
                    <a:cubicBezTo>
                      <a:pt x="35" y="151"/>
                      <a:pt x="33" y="151"/>
                      <a:pt x="33" y="150"/>
                    </a:cubicBezTo>
                    <a:cubicBezTo>
                      <a:pt x="33" y="149"/>
                      <a:pt x="34" y="148"/>
                      <a:pt x="35" y="148"/>
                    </a:cubicBezTo>
                    <a:cubicBezTo>
                      <a:pt x="35" y="148"/>
                      <a:pt x="35" y="149"/>
                      <a:pt x="35" y="149"/>
                    </a:cubicBezTo>
                    <a:cubicBezTo>
                      <a:pt x="35" y="150"/>
                      <a:pt x="35" y="150"/>
                      <a:pt x="35" y="150"/>
                    </a:cubicBezTo>
                    <a:cubicBezTo>
                      <a:pt x="35" y="151"/>
                      <a:pt x="35" y="151"/>
                      <a:pt x="35" y="151"/>
                    </a:cubicBezTo>
                    <a:cubicBezTo>
                      <a:pt x="35" y="151"/>
                      <a:pt x="35" y="152"/>
                      <a:pt x="35" y="152"/>
                    </a:cubicBezTo>
                    <a:cubicBezTo>
                      <a:pt x="35" y="153"/>
                      <a:pt x="37" y="155"/>
                      <a:pt x="36" y="155"/>
                    </a:cubicBezTo>
                    <a:cubicBezTo>
                      <a:pt x="37" y="156"/>
                      <a:pt x="35" y="156"/>
                      <a:pt x="37" y="157"/>
                    </a:cubicBezTo>
                    <a:cubicBezTo>
                      <a:pt x="38" y="157"/>
                      <a:pt x="39" y="157"/>
                      <a:pt x="40" y="157"/>
                    </a:cubicBezTo>
                    <a:cubicBezTo>
                      <a:pt x="42" y="157"/>
                      <a:pt x="43" y="158"/>
                      <a:pt x="44" y="157"/>
                    </a:cubicBezTo>
                    <a:cubicBezTo>
                      <a:pt x="44" y="157"/>
                      <a:pt x="45" y="155"/>
                      <a:pt x="45" y="154"/>
                    </a:cubicBezTo>
                    <a:cubicBezTo>
                      <a:pt x="45" y="154"/>
                      <a:pt x="44" y="154"/>
                      <a:pt x="44" y="154"/>
                    </a:cubicBezTo>
                    <a:cubicBezTo>
                      <a:pt x="44" y="153"/>
                      <a:pt x="45" y="153"/>
                      <a:pt x="44" y="152"/>
                    </a:cubicBezTo>
                    <a:cubicBezTo>
                      <a:pt x="45" y="152"/>
                      <a:pt x="46" y="153"/>
                      <a:pt x="46" y="154"/>
                    </a:cubicBezTo>
                    <a:cubicBezTo>
                      <a:pt x="46" y="154"/>
                      <a:pt x="46" y="155"/>
                      <a:pt x="46" y="155"/>
                    </a:cubicBezTo>
                    <a:cubicBezTo>
                      <a:pt x="47" y="155"/>
                      <a:pt x="48" y="155"/>
                      <a:pt x="49" y="155"/>
                    </a:cubicBezTo>
                    <a:cubicBezTo>
                      <a:pt x="49" y="156"/>
                      <a:pt x="49" y="156"/>
                      <a:pt x="49" y="156"/>
                    </a:cubicBezTo>
                    <a:cubicBezTo>
                      <a:pt x="49" y="157"/>
                      <a:pt x="49" y="157"/>
                      <a:pt x="50" y="157"/>
                    </a:cubicBezTo>
                    <a:cubicBezTo>
                      <a:pt x="50" y="157"/>
                      <a:pt x="51" y="157"/>
                      <a:pt x="52" y="157"/>
                    </a:cubicBezTo>
                    <a:cubicBezTo>
                      <a:pt x="54" y="158"/>
                      <a:pt x="53" y="156"/>
                      <a:pt x="54" y="155"/>
                    </a:cubicBezTo>
                    <a:cubicBezTo>
                      <a:pt x="54" y="155"/>
                      <a:pt x="56" y="154"/>
                      <a:pt x="56" y="154"/>
                    </a:cubicBezTo>
                    <a:cubicBezTo>
                      <a:pt x="57" y="154"/>
                      <a:pt x="57" y="154"/>
                      <a:pt x="56" y="153"/>
                    </a:cubicBezTo>
                    <a:cubicBezTo>
                      <a:pt x="56" y="153"/>
                      <a:pt x="55" y="152"/>
                      <a:pt x="54" y="152"/>
                    </a:cubicBezTo>
                    <a:cubicBezTo>
                      <a:pt x="56" y="152"/>
                      <a:pt x="57" y="153"/>
                      <a:pt x="58" y="154"/>
                    </a:cubicBezTo>
                    <a:cubicBezTo>
                      <a:pt x="58" y="154"/>
                      <a:pt x="57" y="154"/>
                      <a:pt x="56" y="155"/>
                    </a:cubicBezTo>
                    <a:cubicBezTo>
                      <a:pt x="56" y="155"/>
                      <a:pt x="56" y="157"/>
                      <a:pt x="57" y="157"/>
                    </a:cubicBezTo>
                    <a:cubicBezTo>
                      <a:pt x="59" y="157"/>
                      <a:pt x="62" y="157"/>
                      <a:pt x="64" y="158"/>
                    </a:cubicBezTo>
                    <a:cubicBezTo>
                      <a:pt x="66" y="158"/>
                      <a:pt x="67" y="159"/>
                      <a:pt x="69" y="159"/>
                    </a:cubicBezTo>
                    <a:cubicBezTo>
                      <a:pt x="70" y="159"/>
                      <a:pt x="71" y="159"/>
                      <a:pt x="71" y="158"/>
                    </a:cubicBezTo>
                    <a:cubicBezTo>
                      <a:pt x="71" y="158"/>
                      <a:pt x="71" y="159"/>
                      <a:pt x="71" y="159"/>
                    </a:cubicBezTo>
                    <a:cubicBezTo>
                      <a:pt x="72" y="159"/>
                      <a:pt x="74" y="159"/>
                      <a:pt x="75" y="158"/>
                    </a:cubicBezTo>
                    <a:cubicBezTo>
                      <a:pt x="75" y="156"/>
                      <a:pt x="72" y="157"/>
                      <a:pt x="71" y="155"/>
                    </a:cubicBezTo>
                    <a:cubicBezTo>
                      <a:pt x="71" y="156"/>
                      <a:pt x="71" y="156"/>
                      <a:pt x="71" y="156"/>
                    </a:cubicBezTo>
                    <a:cubicBezTo>
                      <a:pt x="71" y="156"/>
                      <a:pt x="71" y="156"/>
                      <a:pt x="71" y="155"/>
                    </a:cubicBezTo>
                    <a:cubicBezTo>
                      <a:pt x="70" y="154"/>
                      <a:pt x="70" y="154"/>
                      <a:pt x="70" y="153"/>
                    </a:cubicBezTo>
                    <a:cubicBezTo>
                      <a:pt x="70" y="153"/>
                      <a:pt x="71" y="153"/>
                      <a:pt x="71" y="153"/>
                    </a:cubicBezTo>
                    <a:cubicBezTo>
                      <a:pt x="71" y="153"/>
                      <a:pt x="71" y="152"/>
                      <a:pt x="71" y="152"/>
                    </a:cubicBezTo>
                    <a:cubicBezTo>
                      <a:pt x="71" y="153"/>
                      <a:pt x="72" y="154"/>
                      <a:pt x="72" y="154"/>
                    </a:cubicBezTo>
                    <a:cubicBezTo>
                      <a:pt x="73" y="155"/>
                      <a:pt x="75" y="156"/>
                      <a:pt x="76" y="155"/>
                    </a:cubicBezTo>
                    <a:cubicBezTo>
                      <a:pt x="76" y="155"/>
                      <a:pt x="79" y="153"/>
                      <a:pt x="79" y="152"/>
                    </a:cubicBezTo>
                    <a:cubicBezTo>
                      <a:pt x="79" y="152"/>
                      <a:pt x="78" y="151"/>
                      <a:pt x="78" y="151"/>
                    </a:cubicBezTo>
                    <a:cubicBezTo>
                      <a:pt x="80" y="153"/>
                      <a:pt x="82" y="155"/>
                      <a:pt x="85" y="156"/>
                    </a:cubicBezTo>
                    <a:cubicBezTo>
                      <a:pt x="86" y="156"/>
                      <a:pt x="88" y="157"/>
                      <a:pt x="88" y="155"/>
                    </a:cubicBezTo>
                    <a:cubicBezTo>
                      <a:pt x="88" y="153"/>
                      <a:pt x="88" y="152"/>
                      <a:pt x="87" y="151"/>
                    </a:cubicBezTo>
                    <a:cubicBezTo>
                      <a:pt x="87" y="151"/>
                      <a:pt x="86" y="151"/>
                      <a:pt x="86" y="150"/>
                    </a:cubicBezTo>
                    <a:cubicBezTo>
                      <a:pt x="87" y="150"/>
                      <a:pt x="89" y="152"/>
                      <a:pt x="89" y="152"/>
                    </a:cubicBezTo>
                    <a:cubicBezTo>
                      <a:pt x="89" y="152"/>
                      <a:pt x="90" y="151"/>
                      <a:pt x="90" y="151"/>
                    </a:cubicBezTo>
                    <a:cubicBezTo>
                      <a:pt x="89" y="152"/>
                      <a:pt x="89" y="152"/>
                      <a:pt x="90" y="153"/>
                    </a:cubicBezTo>
                    <a:cubicBezTo>
                      <a:pt x="90" y="154"/>
                      <a:pt x="90" y="155"/>
                      <a:pt x="90" y="155"/>
                    </a:cubicBezTo>
                    <a:cubicBezTo>
                      <a:pt x="91" y="156"/>
                      <a:pt x="92" y="156"/>
                      <a:pt x="92" y="156"/>
                    </a:cubicBezTo>
                    <a:cubicBezTo>
                      <a:pt x="93" y="156"/>
                      <a:pt x="93" y="157"/>
                      <a:pt x="94" y="157"/>
                    </a:cubicBezTo>
                    <a:cubicBezTo>
                      <a:pt x="95" y="157"/>
                      <a:pt x="96" y="156"/>
                      <a:pt x="97" y="156"/>
                    </a:cubicBezTo>
                    <a:cubicBezTo>
                      <a:pt x="98" y="156"/>
                      <a:pt x="99" y="157"/>
                      <a:pt x="99" y="156"/>
                    </a:cubicBezTo>
                    <a:cubicBezTo>
                      <a:pt x="100" y="155"/>
                      <a:pt x="100" y="153"/>
                      <a:pt x="99" y="152"/>
                    </a:cubicBezTo>
                    <a:cubicBezTo>
                      <a:pt x="98" y="151"/>
                      <a:pt x="95" y="148"/>
                      <a:pt x="94" y="148"/>
                    </a:cubicBezTo>
                    <a:cubicBezTo>
                      <a:pt x="94" y="148"/>
                      <a:pt x="94" y="148"/>
                      <a:pt x="94" y="148"/>
                    </a:cubicBezTo>
                    <a:cubicBezTo>
                      <a:pt x="95" y="147"/>
                      <a:pt x="97" y="149"/>
                      <a:pt x="98" y="149"/>
                    </a:cubicBezTo>
                    <a:cubicBezTo>
                      <a:pt x="100" y="150"/>
                      <a:pt x="101" y="151"/>
                      <a:pt x="103" y="151"/>
                    </a:cubicBezTo>
                    <a:cubicBezTo>
                      <a:pt x="103" y="151"/>
                      <a:pt x="101" y="151"/>
                      <a:pt x="101" y="152"/>
                    </a:cubicBezTo>
                    <a:cubicBezTo>
                      <a:pt x="101" y="152"/>
                      <a:pt x="101" y="153"/>
                      <a:pt x="101" y="154"/>
                    </a:cubicBezTo>
                    <a:cubicBezTo>
                      <a:pt x="102" y="154"/>
                      <a:pt x="105" y="155"/>
                      <a:pt x="107" y="155"/>
                    </a:cubicBezTo>
                    <a:cubicBezTo>
                      <a:pt x="108" y="155"/>
                      <a:pt x="109" y="153"/>
                      <a:pt x="109" y="153"/>
                    </a:cubicBezTo>
                    <a:cubicBezTo>
                      <a:pt x="110" y="153"/>
                      <a:pt x="113" y="155"/>
                      <a:pt x="113" y="156"/>
                    </a:cubicBezTo>
                    <a:cubicBezTo>
                      <a:pt x="113" y="156"/>
                      <a:pt x="113" y="156"/>
                      <a:pt x="114" y="156"/>
                    </a:cubicBezTo>
                    <a:cubicBezTo>
                      <a:pt x="114" y="156"/>
                      <a:pt x="113" y="157"/>
                      <a:pt x="113" y="157"/>
                    </a:cubicBezTo>
                    <a:cubicBezTo>
                      <a:pt x="112" y="159"/>
                      <a:pt x="112" y="161"/>
                      <a:pt x="111" y="162"/>
                    </a:cubicBezTo>
                    <a:cubicBezTo>
                      <a:pt x="114" y="162"/>
                      <a:pt x="117" y="161"/>
                      <a:pt x="120" y="160"/>
                    </a:cubicBezTo>
                    <a:cubicBezTo>
                      <a:pt x="122" y="160"/>
                      <a:pt x="124" y="159"/>
                      <a:pt x="126" y="159"/>
                    </a:cubicBezTo>
                    <a:cubicBezTo>
                      <a:pt x="127" y="159"/>
                      <a:pt x="128" y="159"/>
                      <a:pt x="129" y="158"/>
                    </a:cubicBezTo>
                    <a:cubicBezTo>
                      <a:pt x="131" y="157"/>
                      <a:pt x="132" y="155"/>
                      <a:pt x="134" y="153"/>
                    </a:cubicBezTo>
                    <a:cubicBezTo>
                      <a:pt x="135" y="152"/>
                      <a:pt x="136" y="156"/>
                      <a:pt x="137" y="155"/>
                    </a:cubicBezTo>
                    <a:cubicBezTo>
                      <a:pt x="139" y="154"/>
                      <a:pt x="144" y="153"/>
                      <a:pt x="144" y="150"/>
                    </a:cubicBezTo>
                    <a:cubicBezTo>
                      <a:pt x="144" y="149"/>
                      <a:pt x="144" y="149"/>
                      <a:pt x="145" y="148"/>
                    </a:cubicBezTo>
                    <a:cubicBezTo>
                      <a:pt x="145" y="147"/>
                      <a:pt x="144" y="147"/>
                      <a:pt x="144" y="147"/>
                    </a:cubicBezTo>
                    <a:cubicBezTo>
                      <a:pt x="143" y="146"/>
                      <a:pt x="143" y="145"/>
                      <a:pt x="143" y="144"/>
                    </a:cubicBezTo>
                    <a:cubicBezTo>
                      <a:pt x="142" y="143"/>
                      <a:pt x="141" y="143"/>
                      <a:pt x="140" y="143"/>
                    </a:cubicBezTo>
                    <a:cubicBezTo>
                      <a:pt x="138" y="143"/>
                      <a:pt x="134" y="148"/>
                      <a:pt x="133" y="147"/>
                    </a:cubicBezTo>
                    <a:cubicBezTo>
                      <a:pt x="132" y="146"/>
                      <a:pt x="134" y="145"/>
                      <a:pt x="132" y="145"/>
                    </a:cubicBezTo>
                    <a:cubicBezTo>
                      <a:pt x="131" y="145"/>
                      <a:pt x="130" y="145"/>
                      <a:pt x="129" y="145"/>
                    </a:cubicBezTo>
                    <a:cubicBezTo>
                      <a:pt x="126" y="146"/>
                      <a:pt x="130" y="142"/>
                      <a:pt x="131" y="141"/>
                    </a:cubicBezTo>
                    <a:cubicBezTo>
                      <a:pt x="131" y="140"/>
                      <a:pt x="130" y="139"/>
                      <a:pt x="129" y="139"/>
                    </a:cubicBezTo>
                    <a:cubicBezTo>
                      <a:pt x="127" y="138"/>
                      <a:pt x="125" y="138"/>
                      <a:pt x="123" y="139"/>
                    </a:cubicBezTo>
                    <a:cubicBezTo>
                      <a:pt x="121" y="140"/>
                      <a:pt x="119" y="142"/>
                      <a:pt x="118" y="142"/>
                    </a:cubicBezTo>
                    <a:cubicBezTo>
                      <a:pt x="118" y="141"/>
                      <a:pt x="119" y="140"/>
                      <a:pt x="119" y="139"/>
                    </a:cubicBezTo>
                    <a:cubicBezTo>
                      <a:pt x="119" y="139"/>
                      <a:pt x="118" y="139"/>
                      <a:pt x="118" y="139"/>
                    </a:cubicBezTo>
                    <a:cubicBezTo>
                      <a:pt x="117" y="139"/>
                      <a:pt x="116" y="138"/>
                      <a:pt x="115" y="138"/>
                    </a:cubicBezTo>
                    <a:cubicBezTo>
                      <a:pt x="114" y="138"/>
                      <a:pt x="113" y="138"/>
                      <a:pt x="112" y="138"/>
                    </a:cubicBezTo>
                    <a:cubicBezTo>
                      <a:pt x="111" y="138"/>
                      <a:pt x="110" y="138"/>
                      <a:pt x="109" y="138"/>
                    </a:cubicBezTo>
                    <a:cubicBezTo>
                      <a:pt x="108" y="138"/>
                      <a:pt x="107" y="139"/>
                      <a:pt x="106" y="139"/>
                    </a:cubicBezTo>
                    <a:cubicBezTo>
                      <a:pt x="106" y="139"/>
                      <a:pt x="104" y="140"/>
                      <a:pt x="104" y="140"/>
                    </a:cubicBezTo>
                    <a:cubicBezTo>
                      <a:pt x="102" y="140"/>
                      <a:pt x="103" y="139"/>
                      <a:pt x="102" y="138"/>
                    </a:cubicBezTo>
                    <a:cubicBezTo>
                      <a:pt x="102" y="138"/>
                      <a:pt x="100" y="138"/>
                      <a:pt x="100" y="137"/>
                    </a:cubicBezTo>
                    <a:cubicBezTo>
                      <a:pt x="103" y="137"/>
                      <a:pt x="106" y="137"/>
                      <a:pt x="109" y="137"/>
                    </a:cubicBezTo>
                    <a:cubicBezTo>
                      <a:pt x="109" y="136"/>
                      <a:pt x="107" y="136"/>
                      <a:pt x="106" y="135"/>
                    </a:cubicBezTo>
                    <a:cubicBezTo>
                      <a:pt x="105" y="135"/>
                      <a:pt x="105" y="135"/>
                      <a:pt x="104" y="134"/>
                    </a:cubicBezTo>
                    <a:cubicBezTo>
                      <a:pt x="104" y="134"/>
                      <a:pt x="104" y="134"/>
                      <a:pt x="105" y="133"/>
                    </a:cubicBezTo>
                    <a:cubicBezTo>
                      <a:pt x="105" y="132"/>
                      <a:pt x="104" y="132"/>
                      <a:pt x="104" y="131"/>
                    </a:cubicBezTo>
                    <a:cubicBezTo>
                      <a:pt x="103" y="130"/>
                      <a:pt x="102" y="130"/>
                      <a:pt x="102" y="129"/>
                    </a:cubicBezTo>
                    <a:cubicBezTo>
                      <a:pt x="103" y="129"/>
                      <a:pt x="106" y="131"/>
                      <a:pt x="105" y="131"/>
                    </a:cubicBezTo>
                    <a:cubicBezTo>
                      <a:pt x="105" y="132"/>
                      <a:pt x="105" y="132"/>
                      <a:pt x="106" y="132"/>
                    </a:cubicBezTo>
                    <a:cubicBezTo>
                      <a:pt x="106" y="132"/>
                      <a:pt x="106" y="133"/>
                      <a:pt x="107" y="133"/>
                    </a:cubicBezTo>
                    <a:cubicBezTo>
                      <a:pt x="107" y="133"/>
                      <a:pt x="108" y="134"/>
                      <a:pt x="109" y="134"/>
                    </a:cubicBezTo>
                    <a:cubicBezTo>
                      <a:pt x="109" y="135"/>
                      <a:pt x="110" y="135"/>
                      <a:pt x="110" y="135"/>
                    </a:cubicBezTo>
                    <a:cubicBezTo>
                      <a:pt x="111" y="135"/>
                      <a:pt x="111" y="135"/>
                      <a:pt x="112" y="135"/>
                    </a:cubicBezTo>
                    <a:cubicBezTo>
                      <a:pt x="112" y="136"/>
                      <a:pt x="113" y="136"/>
                      <a:pt x="114" y="136"/>
                    </a:cubicBezTo>
                    <a:cubicBezTo>
                      <a:pt x="116" y="137"/>
                      <a:pt x="118" y="137"/>
                      <a:pt x="120" y="138"/>
                    </a:cubicBezTo>
                    <a:cubicBezTo>
                      <a:pt x="122" y="138"/>
                      <a:pt x="123" y="137"/>
                      <a:pt x="125" y="137"/>
                    </a:cubicBezTo>
                    <a:cubicBezTo>
                      <a:pt x="126" y="137"/>
                      <a:pt x="127" y="137"/>
                      <a:pt x="129" y="137"/>
                    </a:cubicBezTo>
                    <a:cubicBezTo>
                      <a:pt x="130" y="138"/>
                      <a:pt x="132" y="137"/>
                      <a:pt x="134" y="137"/>
                    </a:cubicBezTo>
                    <a:cubicBezTo>
                      <a:pt x="134" y="137"/>
                      <a:pt x="134" y="137"/>
                      <a:pt x="134" y="137"/>
                    </a:cubicBezTo>
                    <a:cubicBezTo>
                      <a:pt x="135" y="137"/>
                      <a:pt x="137" y="135"/>
                      <a:pt x="138" y="134"/>
                    </a:cubicBezTo>
                    <a:cubicBezTo>
                      <a:pt x="139" y="133"/>
                      <a:pt x="141" y="131"/>
                      <a:pt x="143" y="129"/>
                    </a:cubicBezTo>
                    <a:cubicBezTo>
                      <a:pt x="142" y="129"/>
                      <a:pt x="142" y="129"/>
                      <a:pt x="141" y="129"/>
                    </a:cubicBezTo>
                    <a:cubicBezTo>
                      <a:pt x="142" y="128"/>
                      <a:pt x="142" y="128"/>
                      <a:pt x="142" y="128"/>
                    </a:cubicBezTo>
                    <a:cubicBezTo>
                      <a:pt x="142" y="127"/>
                      <a:pt x="143" y="127"/>
                      <a:pt x="142" y="126"/>
                    </a:cubicBezTo>
                    <a:cubicBezTo>
                      <a:pt x="142" y="126"/>
                      <a:pt x="140" y="125"/>
                      <a:pt x="140" y="125"/>
                    </a:cubicBezTo>
                    <a:cubicBezTo>
                      <a:pt x="139" y="125"/>
                      <a:pt x="139" y="124"/>
                      <a:pt x="138" y="124"/>
                    </a:cubicBezTo>
                    <a:cubicBezTo>
                      <a:pt x="137" y="124"/>
                      <a:pt x="139" y="123"/>
                      <a:pt x="139" y="123"/>
                    </a:cubicBezTo>
                    <a:cubicBezTo>
                      <a:pt x="140" y="122"/>
                      <a:pt x="140" y="122"/>
                      <a:pt x="141" y="122"/>
                    </a:cubicBezTo>
                    <a:cubicBezTo>
                      <a:pt x="142" y="123"/>
                      <a:pt x="143" y="123"/>
                      <a:pt x="144" y="123"/>
                    </a:cubicBezTo>
                    <a:cubicBezTo>
                      <a:pt x="146" y="123"/>
                      <a:pt x="147" y="123"/>
                      <a:pt x="148" y="123"/>
                    </a:cubicBezTo>
                    <a:cubicBezTo>
                      <a:pt x="150" y="123"/>
                      <a:pt x="150" y="123"/>
                      <a:pt x="152" y="124"/>
                    </a:cubicBezTo>
                    <a:cubicBezTo>
                      <a:pt x="155" y="125"/>
                      <a:pt x="159" y="122"/>
                      <a:pt x="162" y="122"/>
                    </a:cubicBezTo>
                    <a:cubicBezTo>
                      <a:pt x="163" y="122"/>
                      <a:pt x="163" y="122"/>
                      <a:pt x="163" y="123"/>
                    </a:cubicBezTo>
                    <a:cubicBezTo>
                      <a:pt x="164" y="121"/>
                      <a:pt x="165" y="119"/>
                      <a:pt x="162" y="119"/>
                    </a:cubicBezTo>
                    <a:cubicBezTo>
                      <a:pt x="161" y="119"/>
                      <a:pt x="160" y="119"/>
                      <a:pt x="159" y="118"/>
                    </a:cubicBezTo>
                    <a:cubicBezTo>
                      <a:pt x="158" y="118"/>
                      <a:pt x="157" y="118"/>
                      <a:pt x="156" y="118"/>
                    </a:cubicBezTo>
                    <a:cubicBezTo>
                      <a:pt x="155" y="118"/>
                      <a:pt x="152" y="117"/>
                      <a:pt x="154" y="117"/>
                    </a:cubicBezTo>
                    <a:cubicBezTo>
                      <a:pt x="157" y="117"/>
                      <a:pt x="160" y="116"/>
                      <a:pt x="162" y="117"/>
                    </a:cubicBezTo>
                    <a:cubicBezTo>
                      <a:pt x="163" y="117"/>
                      <a:pt x="164" y="117"/>
                      <a:pt x="165" y="117"/>
                    </a:cubicBezTo>
                    <a:cubicBezTo>
                      <a:pt x="166" y="117"/>
                      <a:pt x="167" y="117"/>
                      <a:pt x="167" y="116"/>
                    </a:cubicBezTo>
                    <a:cubicBezTo>
                      <a:pt x="168" y="115"/>
                      <a:pt x="169" y="113"/>
                      <a:pt x="169" y="112"/>
                    </a:cubicBezTo>
                    <a:cubicBezTo>
                      <a:pt x="168" y="112"/>
                      <a:pt x="166" y="112"/>
                      <a:pt x="165" y="112"/>
                    </a:cubicBezTo>
                    <a:cubicBezTo>
                      <a:pt x="164" y="112"/>
                      <a:pt x="164" y="112"/>
                      <a:pt x="163" y="112"/>
                    </a:cubicBezTo>
                    <a:cubicBezTo>
                      <a:pt x="162" y="112"/>
                      <a:pt x="162" y="111"/>
                      <a:pt x="161" y="111"/>
                    </a:cubicBezTo>
                    <a:cubicBezTo>
                      <a:pt x="160" y="110"/>
                      <a:pt x="158" y="111"/>
                      <a:pt x="156" y="111"/>
                    </a:cubicBezTo>
                    <a:cubicBezTo>
                      <a:pt x="155" y="111"/>
                      <a:pt x="156" y="110"/>
                      <a:pt x="157" y="110"/>
                    </a:cubicBezTo>
                    <a:cubicBezTo>
                      <a:pt x="159" y="110"/>
                      <a:pt x="162" y="110"/>
                      <a:pt x="164" y="110"/>
                    </a:cubicBezTo>
                    <a:cubicBezTo>
                      <a:pt x="168" y="109"/>
                      <a:pt x="172" y="109"/>
                      <a:pt x="177" y="109"/>
                    </a:cubicBezTo>
                    <a:cubicBezTo>
                      <a:pt x="176" y="108"/>
                      <a:pt x="175" y="108"/>
                      <a:pt x="174" y="107"/>
                    </a:cubicBezTo>
                    <a:cubicBezTo>
                      <a:pt x="174" y="107"/>
                      <a:pt x="175" y="106"/>
                      <a:pt x="175" y="106"/>
                    </a:cubicBezTo>
                    <a:cubicBezTo>
                      <a:pt x="175" y="105"/>
                      <a:pt x="175" y="105"/>
                      <a:pt x="175" y="104"/>
                    </a:cubicBezTo>
                    <a:cubicBezTo>
                      <a:pt x="175" y="104"/>
                      <a:pt x="173" y="105"/>
                      <a:pt x="174" y="103"/>
                    </a:cubicBezTo>
                    <a:cubicBezTo>
                      <a:pt x="174" y="103"/>
                      <a:pt x="172" y="103"/>
                      <a:pt x="171" y="102"/>
                    </a:cubicBezTo>
                    <a:cubicBezTo>
                      <a:pt x="169" y="102"/>
                      <a:pt x="168" y="102"/>
                      <a:pt x="166" y="102"/>
                    </a:cubicBezTo>
                    <a:cubicBezTo>
                      <a:pt x="165" y="102"/>
                      <a:pt x="163" y="102"/>
                      <a:pt x="162" y="102"/>
                    </a:cubicBezTo>
                    <a:cubicBezTo>
                      <a:pt x="161" y="102"/>
                      <a:pt x="161" y="102"/>
                      <a:pt x="160" y="102"/>
                    </a:cubicBezTo>
                    <a:cubicBezTo>
                      <a:pt x="159" y="103"/>
                      <a:pt x="159" y="103"/>
                      <a:pt x="158" y="103"/>
                    </a:cubicBezTo>
                    <a:cubicBezTo>
                      <a:pt x="159" y="102"/>
                      <a:pt x="161" y="101"/>
                      <a:pt x="162" y="99"/>
                    </a:cubicBezTo>
                    <a:cubicBezTo>
                      <a:pt x="158" y="99"/>
                      <a:pt x="155" y="99"/>
                      <a:pt x="152" y="99"/>
                    </a:cubicBezTo>
                    <a:cubicBezTo>
                      <a:pt x="150" y="100"/>
                      <a:pt x="148" y="100"/>
                      <a:pt x="146" y="100"/>
                    </a:cubicBezTo>
                    <a:cubicBezTo>
                      <a:pt x="144" y="100"/>
                      <a:pt x="142" y="103"/>
                      <a:pt x="139" y="104"/>
                    </a:cubicBezTo>
                    <a:cubicBezTo>
                      <a:pt x="140" y="103"/>
                      <a:pt x="141" y="102"/>
                      <a:pt x="142" y="101"/>
                    </a:cubicBezTo>
                    <a:cubicBezTo>
                      <a:pt x="142" y="101"/>
                      <a:pt x="145" y="99"/>
                      <a:pt x="144" y="99"/>
                    </a:cubicBezTo>
                    <a:cubicBezTo>
                      <a:pt x="144" y="98"/>
                      <a:pt x="143" y="98"/>
                      <a:pt x="142" y="98"/>
                    </a:cubicBezTo>
                    <a:cubicBezTo>
                      <a:pt x="141" y="98"/>
                      <a:pt x="140" y="98"/>
                      <a:pt x="138" y="98"/>
                    </a:cubicBezTo>
                    <a:cubicBezTo>
                      <a:pt x="137" y="98"/>
                      <a:pt x="135" y="98"/>
                      <a:pt x="133" y="98"/>
                    </a:cubicBezTo>
                    <a:cubicBezTo>
                      <a:pt x="136" y="98"/>
                      <a:pt x="139" y="98"/>
                      <a:pt x="142" y="98"/>
                    </a:cubicBezTo>
                    <a:cubicBezTo>
                      <a:pt x="144" y="98"/>
                      <a:pt x="145" y="99"/>
                      <a:pt x="147" y="99"/>
                    </a:cubicBezTo>
                    <a:cubicBezTo>
                      <a:pt x="149" y="99"/>
                      <a:pt x="150" y="98"/>
                      <a:pt x="152" y="98"/>
                    </a:cubicBezTo>
                    <a:cubicBezTo>
                      <a:pt x="153" y="98"/>
                      <a:pt x="154" y="98"/>
                      <a:pt x="155" y="98"/>
                    </a:cubicBezTo>
                    <a:cubicBezTo>
                      <a:pt x="156" y="97"/>
                      <a:pt x="159" y="98"/>
                      <a:pt x="161" y="98"/>
                    </a:cubicBezTo>
                    <a:cubicBezTo>
                      <a:pt x="158" y="95"/>
                      <a:pt x="155" y="97"/>
                      <a:pt x="152" y="96"/>
                    </a:cubicBezTo>
                    <a:cubicBezTo>
                      <a:pt x="150" y="95"/>
                      <a:pt x="147" y="96"/>
                      <a:pt x="145" y="96"/>
                    </a:cubicBezTo>
                    <a:cubicBezTo>
                      <a:pt x="143" y="95"/>
                      <a:pt x="142" y="96"/>
                      <a:pt x="141" y="96"/>
                    </a:cubicBezTo>
                    <a:cubicBezTo>
                      <a:pt x="140" y="96"/>
                      <a:pt x="139" y="96"/>
                      <a:pt x="140" y="95"/>
                    </a:cubicBezTo>
                    <a:cubicBezTo>
                      <a:pt x="141" y="95"/>
                      <a:pt x="143" y="95"/>
                      <a:pt x="145" y="95"/>
                    </a:cubicBezTo>
                    <a:cubicBezTo>
                      <a:pt x="147" y="95"/>
                      <a:pt x="148" y="95"/>
                      <a:pt x="150" y="95"/>
                    </a:cubicBezTo>
                    <a:cubicBezTo>
                      <a:pt x="152" y="95"/>
                      <a:pt x="153" y="95"/>
                      <a:pt x="154" y="95"/>
                    </a:cubicBezTo>
                    <a:cubicBezTo>
                      <a:pt x="156" y="95"/>
                      <a:pt x="158" y="95"/>
                      <a:pt x="160" y="95"/>
                    </a:cubicBezTo>
                    <a:cubicBezTo>
                      <a:pt x="162" y="95"/>
                      <a:pt x="162" y="95"/>
                      <a:pt x="163" y="96"/>
                    </a:cubicBezTo>
                    <a:cubicBezTo>
                      <a:pt x="164" y="96"/>
                      <a:pt x="164" y="96"/>
                      <a:pt x="164" y="97"/>
                    </a:cubicBezTo>
                    <a:cubicBezTo>
                      <a:pt x="165" y="97"/>
                      <a:pt x="166" y="98"/>
                      <a:pt x="167" y="98"/>
                    </a:cubicBezTo>
                    <a:cubicBezTo>
                      <a:pt x="168" y="98"/>
                      <a:pt x="170" y="98"/>
                      <a:pt x="171" y="99"/>
                    </a:cubicBezTo>
                    <a:cubicBezTo>
                      <a:pt x="173" y="99"/>
                      <a:pt x="174" y="99"/>
                      <a:pt x="176" y="99"/>
                    </a:cubicBezTo>
                    <a:cubicBezTo>
                      <a:pt x="176" y="99"/>
                      <a:pt x="177" y="99"/>
                      <a:pt x="178" y="99"/>
                    </a:cubicBezTo>
                    <a:cubicBezTo>
                      <a:pt x="178" y="98"/>
                      <a:pt x="176" y="97"/>
                      <a:pt x="177" y="96"/>
                    </a:cubicBezTo>
                    <a:cubicBezTo>
                      <a:pt x="176" y="96"/>
                      <a:pt x="175" y="96"/>
                      <a:pt x="175" y="96"/>
                    </a:cubicBezTo>
                    <a:cubicBezTo>
                      <a:pt x="174" y="95"/>
                      <a:pt x="177" y="94"/>
                      <a:pt x="176" y="94"/>
                    </a:cubicBezTo>
                    <a:cubicBezTo>
                      <a:pt x="174" y="94"/>
                      <a:pt x="173" y="94"/>
                      <a:pt x="172" y="94"/>
                    </a:cubicBezTo>
                    <a:cubicBezTo>
                      <a:pt x="169" y="94"/>
                      <a:pt x="166" y="94"/>
                      <a:pt x="163" y="94"/>
                    </a:cubicBezTo>
                    <a:cubicBezTo>
                      <a:pt x="162" y="94"/>
                      <a:pt x="161" y="93"/>
                      <a:pt x="160" y="93"/>
                    </a:cubicBezTo>
                    <a:cubicBezTo>
                      <a:pt x="159" y="93"/>
                      <a:pt x="158" y="93"/>
                      <a:pt x="157" y="93"/>
                    </a:cubicBezTo>
                    <a:cubicBezTo>
                      <a:pt x="155" y="93"/>
                      <a:pt x="154" y="93"/>
                      <a:pt x="153" y="93"/>
                    </a:cubicBezTo>
                    <a:cubicBezTo>
                      <a:pt x="151" y="93"/>
                      <a:pt x="150" y="94"/>
                      <a:pt x="148" y="94"/>
                    </a:cubicBezTo>
                    <a:cubicBezTo>
                      <a:pt x="148" y="94"/>
                      <a:pt x="148" y="94"/>
                      <a:pt x="148" y="94"/>
                    </a:cubicBezTo>
                    <a:cubicBezTo>
                      <a:pt x="149" y="93"/>
                      <a:pt x="146" y="92"/>
                      <a:pt x="145" y="92"/>
                    </a:cubicBezTo>
                    <a:cubicBezTo>
                      <a:pt x="144" y="92"/>
                      <a:pt x="143" y="92"/>
                      <a:pt x="142" y="92"/>
                    </a:cubicBezTo>
                    <a:cubicBezTo>
                      <a:pt x="144" y="91"/>
                      <a:pt x="147" y="92"/>
                      <a:pt x="149" y="92"/>
                    </a:cubicBezTo>
                    <a:cubicBezTo>
                      <a:pt x="151" y="92"/>
                      <a:pt x="149" y="91"/>
                      <a:pt x="148" y="89"/>
                    </a:cubicBezTo>
                    <a:cubicBezTo>
                      <a:pt x="150" y="89"/>
                      <a:pt x="152" y="91"/>
                      <a:pt x="153" y="91"/>
                    </a:cubicBezTo>
                    <a:cubicBezTo>
                      <a:pt x="154" y="92"/>
                      <a:pt x="155" y="91"/>
                      <a:pt x="156" y="92"/>
                    </a:cubicBezTo>
                    <a:cubicBezTo>
                      <a:pt x="159" y="92"/>
                      <a:pt x="161" y="92"/>
                      <a:pt x="163" y="92"/>
                    </a:cubicBezTo>
                    <a:cubicBezTo>
                      <a:pt x="163" y="91"/>
                      <a:pt x="161" y="91"/>
                      <a:pt x="161" y="90"/>
                    </a:cubicBezTo>
                    <a:cubicBezTo>
                      <a:pt x="160" y="89"/>
                      <a:pt x="161" y="90"/>
                      <a:pt x="161" y="89"/>
                    </a:cubicBezTo>
                    <a:cubicBezTo>
                      <a:pt x="160" y="88"/>
                      <a:pt x="158" y="89"/>
                      <a:pt x="157" y="89"/>
                    </a:cubicBezTo>
                    <a:cubicBezTo>
                      <a:pt x="156" y="89"/>
                      <a:pt x="155" y="88"/>
                      <a:pt x="153" y="88"/>
                    </a:cubicBezTo>
                    <a:cubicBezTo>
                      <a:pt x="153" y="89"/>
                      <a:pt x="150" y="89"/>
                      <a:pt x="151" y="88"/>
                    </a:cubicBezTo>
                    <a:cubicBezTo>
                      <a:pt x="151" y="87"/>
                      <a:pt x="160" y="88"/>
                      <a:pt x="161" y="88"/>
                    </a:cubicBezTo>
                    <a:cubicBezTo>
                      <a:pt x="162" y="89"/>
                      <a:pt x="162" y="89"/>
                      <a:pt x="162" y="90"/>
                    </a:cubicBezTo>
                    <a:cubicBezTo>
                      <a:pt x="163" y="90"/>
                      <a:pt x="164" y="90"/>
                      <a:pt x="164" y="90"/>
                    </a:cubicBezTo>
                    <a:cubicBezTo>
                      <a:pt x="165" y="90"/>
                      <a:pt x="165" y="90"/>
                      <a:pt x="166" y="90"/>
                    </a:cubicBezTo>
                    <a:cubicBezTo>
                      <a:pt x="166" y="90"/>
                      <a:pt x="167" y="90"/>
                      <a:pt x="167" y="91"/>
                    </a:cubicBezTo>
                    <a:cubicBezTo>
                      <a:pt x="169" y="91"/>
                      <a:pt x="170" y="91"/>
                      <a:pt x="171" y="91"/>
                    </a:cubicBezTo>
                    <a:cubicBezTo>
                      <a:pt x="173" y="91"/>
                      <a:pt x="173" y="91"/>
                      <a:pt x="173" y="89"/>
                    </a:cubicBezTo>
                    <a:cubicBezTo>
                      <a:pt x="173" y="88"/>
                      <a:pt x="172" y="88"/>
                      <a:pt x="173" y="88"/>
                    </a:cubicBezTo>
                    <a:cubicBezTo>
                      <a:pt x="174" y="88"/>
                      <a:pt x="175" y="89"/>
                      <a:pt x="176" y="89"/>
                    </a:cubicBezTo>
                    <a:cubicBezTo>
                      <a:pt x="177" y="90"/>
                      <a:pt x="178" y="89"/>
                      <a:pt x="179" y="89"/>
                    </a:cubicBezTo>
                    <a:cubicBezTo>
                      <a:pt x="183" y="89"/>
                      <a:pt x="186" y="89"/>
                      <a:pt x="189" y="88"/>
                    </a:cubicBezTo>
                    <a:cubicBezTo>
                      <a:pt x="191" y="88"/>
                      <a:pt x="191" y="85"/>
                      <a:pt x="191" y="84"/>
                    </a:cubicBezTo>
                    <a:cubicBezTo>
                      <a:pt x="190" y="83"/>
                      <a:pt x="189" y="83"/>
                      <a:pt x="190" y="82"/>
                    </a:cubicBezTo>
                    <a:cubicBezTo>
                      <a:pt x="188" y="82"/>
                      <a:pt x="187" y="82"/>
                      <a:pt x="186" y="82"/>
                    </a:cubicBezTo>
                    <a:cubicBezTo>
                      <a:pt x="185" y="82"/>
                      <a:pt x="184" y="81"/>
                      <a:pt x="182" y="81"/>
                    </a:cubicBezTo>
                    <a:cubicBezTo>
                      <a:pt x="181" y="81"/>
                      <a:pt x="179" y="81"/>
                      <a:pt x="178" y="81"/>
                    </a:cubicBezTo>
                    <a:cubicBezTo>
                      <a:pt x="177" y="81"/>
                      <a:pt x="176" y="82"/>
                      <a:pt x="176" y="81"/>
                    </a:cubicBezTo>
                    <a:cubicBezTo>
                      <a:pt x="175" y="81"/>
                      <a:pt x="175" y="80"/>
                      <a:pt x="175" y="80"/>
                    </a:cubicBezTo>
                    <a:cubicBezTo>
                      <a:pt x="178" y="80"/>
                      <a:pt x="183" y="79"/>
                      <a:pt x="186" y="80"/>
                    </a:cubicBezTo>
                    <a:cubicBezTo>
                      <a:pt x="185" y="80"/>
                      <a:pt x="185" y="80"/>
                      <a:pt x="185" y="80"/>
                    </a:cubicBezTo>
                    <a:cubicBezTo>
                      <a:pt x="188" y="81"/>
                      <a:pt x="191" y="80"/>
                      <a:pt x="194" y="81"/>
                    </a:cubicBezTo>
                    <a:cubicBezTo>
                      <a:pt x="191" y="83"/>
                      <a:pt x="196" y="84"/>
                      <a:pt x="198" y="84"/>
                    </a:cubicBezTo>
                    <a:cubicBezTo>
                      <a:pt x="199" y="84"/>
                      <a:pt x="200" y="85"/>
                      <a:pt x="201" y="84"/>
                    </a:cubicBezTo>
                    <a:cubicBezTo>
                      <a:pt x="202" y="84"/>
                      <a:pt x="203" y="84"/>
                      <a:pt x="205" y="84"/>
                    </a:cubicBezTo>
                    <a:cubicBezTo>
                      <a:pt x="207" y="83"/>
                      <a:pt x="209" y="83"/>
                      <a:pt x="211" y="82"/>
                    </a:cubicBezTo>
                    <a:cubicBezTo>
                      <a:pt x="212" y="81"/>
                      <a:pt x="213" y="80"/>
                      <a:pt x="212" y="79"/>
                    </a:cubicBezTo>
                    <a:cubicBezTo>
                      <a:pt x="212" y="78"/>
                      <a:pt x="211" y="79"/>
                      <a:pt x="211" y="79"/>
                    </a:cubicBezTo>
                    <a:cubicBezTo>
                      <a:pt x="208" y="79"/>
                      <a:pt x="209" y="78"/>
                      <a:pt x="211" y="78"/>
                    </a:cubicBezTo>
                    <a:cubicBezTo>
                      <a:pt x="213" y="77"/>
                      <a:pt x="214" y="77"/>
                      <a:pt x="215" y="77"/>
                    </a:cubicBezTo>
                    <a:cubicBezTo>
                      <a:pt x="217" y="77"/>
                      <a:pt x="217" y="76"/>
                      <a:pt x="217" y="75"/>
                    </a:cubicBezTo>
                    <a:cubicBezTo>
                      <a:pt x="218" y="73"/>
                      <a:pt x="215" y="74"/>
                      <a:pt x="214" y="74"/>
                    </a:cubicBezTo>
                    <a:cubicBezTo>
                      <a:pt x="212" y="74"/>
                      <a:pt x="210" y="75"/>
                      <a:pt x="209" y="75"/>
                    </a:cubicBezTo>
                    <a:cubicBezTo>
                      <a:pt x="207" y="75"/>
                      <a:pt x="205" y="75"/>
                      <a:pt x="203" y="75"/>
                    </a:cubicBezTo>
                    <a:cubicBezTo>
                      <a:pt x="201" y="75"/>
                      <a:pt x="200" y="75"/>
                      <a:pt x="199" y="75"/>
                    </a:cubicBezTo>
                    <a:cubicBezTo>
                      <a:pt x="199" y="74"/>
                      <a:pt x="201" y="73"/>
                      <a:pt x="200" y="72"/>
                    </a:cubicBezTo>
                    <a:cubicBezTo>
                      <a:pt x="200" y="72"/>
                      <a:pt x="199" y="72"/>
                      <a:pt x="199" y="72"/>
                    </a:cubicBezTo>
                    <a:cubicBezTo>
                      <a:pt x="200" y="71"/>
                      <a:pt x="203" y="72"/>
                      <a:pt x="204" y="73"/>
                    </a:cubicBezTo>
                    <a:cubicBezTo>
                      <a:pt x="206" y="74"/>
                      <a:pt x="207" y="74"/>
                      <a:pt x="208" y="74"/>
                    </a:cubicBezTo>
                    <a:cubicBezTo>
                      <a:pt x="211" y="73"/>
                      <a:pt x="213" y="72"/>
                      <a:pt x="215" y="72"/>
                    </a:cubicBezTo>
                    <a:cubicBezTo>
                      <a:pt x="217" y="72"/>
                      <a:pt x="218" y="72"/>
                      <a:pt x="220" y="72"/>
                    </a:cubicBezTo>
                    <a:cubicBezTo>
                      <a:pt x="220" y="72"/>
                      <a:pt x="221" y="72"/>
                      <a:pt x="222" y="72"/>
                    </a:cubicBezTo>
                    <a:cubicBezTo>
                      <a:pt x="222" y="71"/>
                      <a:pt x="222" y="70"/>
                      <a:pt x="221" y="69"/>
                    </a:cubicBezTo>
                    <a:cubicBezTo>
                      <a:pt x="220" y="69"/>
                      <a:pt x="219" y="69"/>
                      <a:pt x="219" y="68"/>
                    </a:cubicBezTo>
                    <a:cubicBezTo>
                      <a:pt x="219" y="67"/>
                      <a:pt x="220" y="67"/>
                      <a:pt x="219" y="67"/>
                    </a:cubicBezTo>
                    <a:cubicBezTo>
                      <a:pt x="219" y="66"/>
                      <a:pt x="218" y="66"/>
                      <a:pt x="218" y="65"/>
                    </a:cubicBezTo>
                    <a:cubicBezTo>
                      <a:pt x="217" y="65"/>
                      <a:pt x="216" y="65"/>
                      <a:pt x="216" y="64"/>
                    </a:cubicBezTo>
                    <a:cubicBezTo>
                      <a:pt x="215" y="64"/>
                      <a:pt x="215" y="64"/>
                      <a:pt x="215" y="64"/>
                    </a:cubicBezTo>
                    <a:cubicBezTo>
                      <a:pt x="217" y="64"/>
                      <a:pt x="219" y="65"/>
                      <a:pt x="220" y="66"/>
                    </a:cubicBezTo>
                    <a:cubicBezTo>
                      <a:pt x="221" y="66"/>
                      <a:pt x="221" y="66"/>
                      <a:pt x="221" y="67"/>
                    </a:cubicBezTo>
                    <a:cubicBezTo>
                      <a:pt x="221" y="68"/>
                      <a:pt x="220" y="68"/>
                      <a:pt x="221" y="68"/>
                    </a:cubicBezTo>
                    <a:cubicBezTo>
                      <a:pt x="224" y="69"/>
                      <a:pt x="227" y="68"/>
                      <a:pt x="230" y="67"/>
                    </a:cubicBezTo>
                    <a:cubicBezTo>
                      <a:pt x="236" y="63"/>
                      <a:pt x="243" y="59"/>
                      <a:pt x="249" y="55"/>
                    </a:cubicBezTo>
                    <a:cubicBezTo>
                      <a:pt x="250" y="54"/>
                      <a:pt x="252" y="53"/>
                      <a:pt x="254" y="53"/>
                    </a:cubicBezTo>
                    <a:cubicBezTo>
                      <a:pt x="258" y="51"/>
                      <a:pt x="262" y="50"/>
                      <a:pt x="266" y="48"/>
                    </a:cubicBezTo>
                    <a:cubicBezTo>
                      <a:pt x="268" y="47"/>
                      <a:pt x="271" y="46"/>
                      <a:pt x="273" y="45"/>
                    </a:cubicBezTo>
                    <a:cubicBezTo>
                      <a:pt x="274" y="45"/>
                      <a:pt x="276" y="45"/>
                      <a:pt x="277" y="44"/>
                    </a:cubicBezTo>
                    <a:cubicBezTo>
                      <a:pt x="278" y="44"/>
                      <a:pt x="279" y="41"/>
                      <a:pt x="280" y="40"/>
                    </a:cubicBezTo>
                    <a:cubicBezTo>
                      <a:pt x="277" y="39"/>
                      <a:pt x="273" y="40"/>
                      <a:pt x="270" y="41"/>
                    </a:cubicBezTo>
                    <a:cubicBezTo>
                      <a:pt x="267" y="41"/>
                      <a:pt x="264" y="42"/>
                      <a:pt x="261" y="42"/>
                    </a:cubicBezTo>
                    <a:cubicBezTo>
                      <a:pt x="255" y="43"/>
                      <a:pt x="250" y="44"/>
                      <a:pt x="244" y="46"/>
                    </a:cubicBezTo>
                    <a:cubicBezTo>
                      <a:pt x="241" y="47"/>
                      <a:pt x="237" y="47"/>
                      <a:pt x="234" y="48"/>
                    </a:cubicBezTo>
                    <a:cubicBezTo>
                      <a:pt x="232" y="48"/>
                      <a:pt x="230" y="48"/>
                      <a:pt x="229" y="49"/>
                    </a:cubicBezTo>
                    <a:cubicBezTo>
                      <a:pt x="227" y="49"/>
                      <a:pt x="225" y="51"/>
                      <a:pt x="223" y="50"/>
                    </a:cubicBezTo>
                    <a:cubicBezTo>
                      <a:pt x="224" y="50"/>
                      <a:pt x="225" y="50"/>
                      <a:pt x="225" y="49"/>
                    </a:cubicBezTo>
                    <a:cubicBezTo>
                      <a:pt x="224" y="49"/>
                      <a:pt x="222" y="49"/>
                      <a:pt x="221" y="49"/>
                    </a:cubicBezTo>
                    <a:cubicBezTo>
                      <a:pt x="233" y="46"/>
                      <a:pt x="244" y="43"/>
                      <a:pt x="256" y="41"/>
                    </a:cubicBezTo>
                    <a:cubicBezTo>
                      <a:pt x="256" y="41"/>
                      <a:pt x="257" y="41"/>
                      <a:pt x="257" y="40"/>
                    </a:cubicBezTo>
                    <a:cubicBezTo>
                      <a:pt x="257" y="40"/>
                      <a:pt x="254" y="39"/>
                      <a:pt x="253" y="39"/>
                    </a:cubicBezTo>
                    <a:cubicBezTo>
                      <a:pt x="251" y="39"/>
                      <a:pt x="249" y="39"/>
                      <a:pt x="247" y="40"/>
                    </a:cubicBezTo>
                    <a:cubicBezTo>
                      <a:pt x="244" y="40"/>
                      <a:pt x="240" y="41"/>
                      <a:pt x="237" y="40"/>
                    </a:cubicBezTo>
                    <a:cubicBezTo>
                      <a:pt x="237" y="40"/>
                      <a:pt x="236" y="40"/>
                      <a:pt x="236" y="40"/>
                    </a:cubicBezTo>
                    <a:cubicBezTo>
                      <a:pt x="236" y="39"/>
                      <a:pt x="238" y="39"/>
                      <a:pt x="237" y="38"/>
                    </a:cubicBezTo>
                    <a:cubicBezTo>
                      <a:pt x="237" y="38"/>
                      <a:pt x="235" y="37"/>
                      <a:pt x="235" y="37"/>
                    </a:cubicBezTo>
                    <a:cubicBezTo>
                      <a:pt x="234" y="37"/>
                      <a:pt x="232" y="36"/>
                      <a:pt x="231" y="36"/>
                    </a:cubicBezTo>
                    <a:cubicBezTo>
                      <a:pt x="234" y="36"/>
                      <a:pt x="237" y="38"/>
                      <a:pt x="241" y="39"/>
                    </a:cubicBezTo>
                    <a:cubicBezTo>
                      <a:pt x="242" y="40"/>
                      <a:pt x="245" y="39"/>
                      <a:pt x="247" y="39"/>
                    </a:cubicBezTo>
                    <a:cubicBezTo>
                      <a:pt x="249" y="38"/>
                      <a:pt x="251" y="38"/>
                      <a:pt x="253" y="38"/>
                    </a:cubicBezTo>
                    <a:cubicBezTo>
                      <a:pt x="255" y="38"/>
                      <a:pt x="256" y="38"/>
                      <a:pt x="258" y="38"/>
                    </a:cubicBezTo>
                    <a:cubicBezTo>
                      <a:pt x="260" y="38"/>
                      <a:pt x="262" y="38"/>
                      <a:pt x="264" y="38"/>
                    </a:cubicBezTo>
                    <a:cubicBezTo>
                      <a:pt x="269" y="37"/>
                      <a:pt x="274" y="36"/>
                      <a:pt x="280" y="35"/>
                    </a:cubicBezTo>
                    <a:cubicBezTo>
                      <a:pt x="281" y="35"/>
                      <a:pt x="282" y="35"/>
                      <a:pt x="284" y="34"/>
                    </a:cubicBezTo>
                    <a:cubicBezTo>
                      <a:pt x="287" y="33"/>
                      <a:pt x="291" y="31"/>
                      <a:pt x="295" y="29"/>
                    </a:cubicBezTo>
                    <a:cubicBezTo>
                      <a:pt x="302" y="26"/>
                      <a:pt x="308" y="23"/>
                      <a:pt x="315" y="21"/>
                    </a:cubicBezTo>
                    <a:cubicBezTo>
                      <a:pt x="314" y="20"/>
                      <a:pt x="312" y="17"/>
                      <a:pt x="310" y="17"/>
                    </a:cubicBezTo>
                    <a:cubicBezTo>
                      <a:pt x="308" y="17"/>
                      <a:pt x="305" y="17"/>
                      <a:pt x="302" y="17"/>
                    </a:cubicBezTo>
                    <a:cubicBezTo>
                      <a:pt x="300" y="16"/>
                      <a:pt x="298" y="16"/>
                      <a:pt x="296" y="17"/>
                    </a:cubicBezTo>
                    <a:cubicBezTo>
                      <a:pt x="295" y="17"/>
                      <a:pt x="294" y="18"/>
                      <a:pt x="292" y="17"/>
                    </a:cubicBezTo>
                    <a:cubicBezTo>
                      <a:pt x="293" y="16"/>
                      <a:pt x="295" y="16"/>
                      <a:pt x="295" y="15"/>
                    </a:cubicBezTo>
                    <a:cubicBezTo>
                      <a:pt x="295" y="15"/>
                      <a:pt x="296" y="15"/>
                      <a:pt x="296" y="14"/>
                    </a:cubicBezTo>
                    <a:cubicBezTo>
                      <a:pt x="296" y="14"/>
                      <a:pt x="295" y="13"/>
                      <a:pt x="294" y="13"/>
                    </a:cubicBezTo>
                    <a:cubicBezTo>
                      <a:pt x="293" y="13"/>
                      <a:pt x="291" y="12"/>
                      <a:pt x="290" y="11"/>
                    </a:cubicBezTo>
                    <a:cubicBezTo>
                      <a:pt x="289" y="11"/>
                      <a:pt x="289" y="11"/>
                      <a:pt x="288" y="10"/>
                    </a:cubicBezTo>
                    <a:cubicBezTo>
                      <a:pt x="289" y="10"/>
                      <a:pt x="290" y="10"/>
                      <a:pt x="291" y="10"/>
                    </a:cubicBezTo>
                    <a:cubicBezTo>
                      <a:pt x="292" y="9"/>
                      <a:pt x="291" y="8"/>
                      <a:pt x="290" y="8"/>
                    </a:cubicBezTo>
                    <a:cubicBezTo>
                      <a:pt x="284" y="8"/>
                      <a:pt x="278" y="9"/>
                      <a:pt x="272" y="9"/>
                    </a:cubicBezTo>
                    <a:cubicBezTo>
                      <a:pt x="273" y="9"/>
                      <a:pt x="273" y="9"/>
                      <a:pt x="273" y="9"/>
                    </a:cubicBezTo>
                    <a:cubicBezTo>
                      <a:pt x="269" y="9"/>
                      <a:pt x="265" y="8"/>
                      <a:pt x="261" y="9"/>
                    </a:cubicBezTo>
                    <a:cubicBezTo>
                      <a:pt x="259" y="9"/>
                      <a:pt x="259" y="10"/>
                      <a:pt x="258" y="10"/>
                    </a:cubicBezTo>
                    <a:cubicBezTo>
                      <a:pt x="258" y="10"/>
                      <a:pt x="258" y="11"/>
                      <a:pt x="257" y="11"/>
                    </a:cubicBezTo>
                    <a:cubicBezTo>
                      <a:pt x="256" y="11"/>
                      <a:pt x="255" y="11"/>
                      <a:pt x="254" y="11"/>
                    </a:cubicBezTo>
                    <a:cubicBezTo>
                      <a:pt x="252" y="11"/>
                      <a:pt x="250" y="12"/>
                      <a:pt x="248" y="12"/>
                    </a:cubicBezTo>
                    <a:cubicBezTo>
                      <a:pt x="245" y="12"/>
                      <a:pt x="241" y="12"/>
                      <a:pt x="238" y="13"/>
                    </a:cubicBezTo>
                    <a:cubicBezTo>
                      <a:pt x="242" y="11"/>
                      <a:pt x="247" y="10"/>
                      <a:pt x="251" y="9"/>
                    </a:cubicBezTo>
                    <a:cubicBezTo>
                      <a:pt x="255" y="9"/>
                      <a:pt x="258" y="7"/>
                      <a:pt x="261" y="6"/>
                    </a:cubicBezTo>
                    <a:cubicBezTo>
                      <a:pt x="256" y="6"/>
                      <a:pt x="251" y="5"/>
                      <a:pt x="246" y="4"/>
                    </a:cubicBezTo>
                    <a:cubicBezTo>
                      <a:pt x="242" y="4"/>
                      <a:pt x="238" y="4"/>
                      <a:pt x="234" y="4"/>
                    </a:cubicBezTo>
                    <a:cubicBezTo>
                      <a:pt x="232" y="4"/>
                      <a:pt x="230" y="4"/>
                      <a:pt x="228" y="3"/>
                    </a:cubicBezTo>
                    <a:cubicBezTo>
                      <a:pt x="229" y="3"/>
                      <a:pt x="229" y="2"/>
                      <a:pt x="227" y="1"/>
                    </a:cubicBezTo>
                    <a:cubicBezTo>
                      <a:pt x="227" y="0"/>
                      <a:pt x="224" y="1"/>
                      <a:pt x="223" y="1"/>
                    </a:cubicBezTo>
                    <a:cubicBezTo>
                      <a:pt x="219" y="2"/>
                      <a:pt x="214" y="3"/>
                      <a:pt x="209" y="4"/>
                    </a:cubicBezTo>
                    <a:cubicBezTo>
                      <a:pt x="211" y="4"/>
                      <a:pt x="214" y="5"/>
                      <a:pt x="215" y="6"/>
                    </a:cubicBezTo>
                    <a:cubicBezTo>
                      <a:pt x="213" y="6"/>
                      <a:pt x="210" y="6"/>
                      <a:pt x="208" y="5"/>
                    </a:cubicBezTo>
                    <a:cubicBezTo>
                      <a:pt x="207" y="5"/>
                      <a:pt x="205" y="4"/>
                      <a:pt x="205" y="3"/>
                    </a:cubicBezTo>
                    <a:cubicBezTo>
                      <a:pt x="205" y="3"/>
                      <a:pt x="206" y="2"/>
                      <a:pt x="207" y="1"/>
                    </a:cubicBezTo>
                    <a:cubicBezTo>
                      <a:pt x="200" y="3"/>
                      <a:pt x="194" y="4"/>
                      <a:pt x="188" y="6"/>
                    </a:cubicBezTo>
                    <a:cubicBezTo>
                      <a:pt x="189" y="7"/>
                      <a:pt x="190" y="9"/>
                      <a:pt x="192" y="9"/>
                    </a:cubicBezTo>
                    <a:cubicBezTo>
                      <a:pt x="194" y="9"/>
                      <a:pt x="196" y="10"/>
                      <a:pt x="198" y="11"/>
                    </a:cubicBezTo>
                    <a:cubicBezTo>
                      <a:pt x="197" y="11"/>
                      <a:pt x="197" y="11"/>
                      <a:pt x="197" y="11"/>
                    </a:cubicBezTo>
                    <a:cubicBezTo>
                      <a:pt x="197" y="11"/>
                      <a:pt x="197" y="11"/>
                      <a:pt x="197" y="11"/>
                    </a:cubicBezTo>
                    <a:cubicBezTo>
                      <a:pt x="193" y="10"/>
                      <a:pt x="188" y="9"/>
                      <a:pt x="185" y="7"/>
                    </a:cubicBezTo>
                    <a:cubicBezTo>
                      <a:pt x="184" y="7"/>
                      <a:pt x="183" y="6"/>
                      <a:pt x="183" y="5"/>
                    </a:cubicBezTo>
                    <a:cubicBezTo>
                      <a:pt x="182" y="5"/>
                      <a:pt x="181" y="4"/>
                      <a:pt x="180" y="4"/>
                    </a:cubicBezTo>
                    <a:cubicBezTo>
                      <a:pt x="176" y="2"/>
                      <a:pt x="172" y="2"/>
                      <a:pt x="168" y="2"/>
                    </a:cubicBezTo>
                    <a:cubicBezTo>
                      <a:pt x="166" y="3"/>
                      <a:pt x="163" y="2"/>
                      <a:pt x="161" y="2"/>
                    </a:cubicBezTo>
                    <a:cubicBezTo>
                      <a:pt x="158" y="2"/>
                      <a:pt x="155" y="2"/>
                      <a:pt x="152" y="2"/>
                    </a:cubicBezTo>
                    <a:cubicBezTo>
                      <a:pt x="151" y="3"/>
                      <a:pt x="149" y="3"/>
                      <a:pt x="148" y="3"/>
                    </a:cubicBezTo>
                    <a:cubicBezTo>
                      <a:pt x="149" y="5"/>
                      <a:pt x="149" y="5"/>
                      <a:pt x="152" y="6"/>
                    </a:cubicBezTo>
                    <a:cubicBezTo>
                      <a:pt x="152" y="6"/>
                      <a:pt x="153" y="6"/>
                      <a:pt x="154" y="7"/>
                    </a:cubicBezTo>
                    <a:cubicBezTo>
                      <a:pt x="156" y="9"/>
                      <a:pt x="158" y="8"/>
                      <a:pt x="161" y="9"/>
                    </a:cubicBezTo>
                    <a:cubicBezTo>
                      <a:pt x="160" y="9"/>
                      <a:pt x="157" y="10"/>
                      <a:pt x="158" y="11"/>
                    </a:cubicBezTo>
                    <a:cubicBezTo>
                      <a:pt x="159" y="11"/>
                      <a:pt x="160" y="11"/>
                      <a:pt x="161" y="12"/>
                    </a:cubicBezTo>
                    <a:cubicBezTo>
                      <a:pt x="162" y="12"/>
                      <a:pt x="163" y="12"/>
                      <a:pt x="164" y="12"/>
                    </a:cubicBezTo>
                    <a:cubicBezTo>
                      <a:pt x="165" y="13"/>
                      <a:pt x="166" y="13"/>
                      <a:pt x="167" y="13"/>
                    </a:cubicBezTo>
                    <a:cubicBezTo>
                      <a:pt x="166" y="14"/>
                      <a:pt x="164" y="14"/>
                      <a:pt x="162" y="15"/>
                    </a:cubicBezTo>
                    <a:cubicBezTo>
                      <a:pt x="161" y="16"/>
                      <a:pt x="160" y="17"/>
                      <a:pt x="159" y="17"/>
                    </a:cubicBezTo>
                    <a:cubicBezTo>
                      <a:pt x="159" y="17"/>
                      <a:pt x="160" y="15"/>
                      <a:pt x="160" y="15"/>
                    </a:cubicBezTo>
                    <a:cubicBezTo>
                      <a:pt x="161" y="15"/>
                      <a:pt x="162" y="14"/>
                      <a:pt x="162" y="14"/>
                    </a:cubicBezTo>
                    <a:cubicBezTo>
                      <a:pt x="162" y="13"/>
                      <a:pt x="159" y="13"/>
                      <a:pt x="158" y="13"/>
                    </a:cubicBezTo>
                    <a:cubicBezTo>
                      <a:pt x="157" y="13"/>
                      <a:pt x="155" y="12"/>
                      <a:pt x="154" y="11"/>
                    </a:cubicBezTo>
                    <a:cubicBezTo>
                      <a:pt x="154" y="11"/>
                      <a:pt x="153" y="10"/>
                      <a:pt x="152" y="10"/>
                    </a:cubicBezTo>
                    <a:cubicBezTo>
                      <a:pt x="152" y="10"/>
                      <a:pt x="151" y="9"/>
                      <a:pt x="151" y="9"/>
                    </a:cubicBezTo>
                    <a:cubicBezTo>
                      <a:pt x="150" y="9"/>
                      <a:pt x="151" y="9"/>
                      <a:pt x="151" y="9"/>
                    </a:cubicBezTo>
                    <a:cubicBezTo>
                      <a:pt x="150" y="8"/>
                      <a:pt x="150" y="8"/>
                      <a:pt x="150" y="8"/>
                    </a:cubicBezTo>
                    <a:cubicBezTo>
                      <a:pt x="148" y="7"/>
                      <a:pt x="147" y="7"/>
                      <a:pt x="145" y="7"/>
                    </a:cubicBezTo>
                    <a:cubicBezTo>
                      <a:pt x="143" y="6"/>
                      <a:pt x="142" y="6"/>
                      <a:pt x="140" y="6"/>
                    </a:cubicBezTo>
                    <a:cubicBezTo>
                      <a:pt x="138" y="6"/>
                      <a:pt x="136" y="5"/>
                      <a:pt x="134" y="5"/>
                    </a:cubicBezTo>
                    <a:cubicBezTo>
                      <a:pt x="132" y="5"/>
                      <a:pt x="130" y="4"/>
                      <a:pt x="129" y="4"/>
                    </a:cubicBezTo>
                    <a:cubicBezTo>
                      <a:pt x="128" y="4"/>
                      <a:pt x="128" y="4"/>
                      <a:pt x="127" y="5"/>
                    </a:cubicBezTo>
                    <a:cubicBezTo>
                      <a:pt x="127" y="5"/>
                      <a:pt x="126" y="6"/>
                      <a:pt x="126" y="7"/>
                    </a:cubicBezTo>
                    <a:cubicBezTo>
                      <a:pt x="125" y="8"/>
                      <a:pt x="125" y="8"/>
                      <a:pt x="124" y="8"/>
                    </a:cubicBezTo>
                    <a:cubicBezTo>
                      <a:pt x="124" y="8"/>
                      <a:pt x="123" y="9"/>
                      <a:pt x="123" y="9"/>
                    </a:cubicBezTo>
                    <a:cubicBezTo>
                      <a:pt x="123" y="10"/>
                      <a:pt x="125" y="10"/>
                      <a:pt x="125" y="10"/>
                    </a:cubicBezTo>
                    <a:cubicBezTo>
                      <a:pt x="127" y="11"/>
                      <a:pt x="128" y="11"/>
                      <a:pt x="130" y="11"/>
                    </a:cubicBezTo>
                    <a:cubicBezTo>
                      <a:pt x="132" y="11"/>
                      <a:pt x="135" y="11"/>
                      <a:pt x="137" y="11"/>
                    </a:cubicBezTo>
                    <a:cubicBezTo>
                      <a:pt x="135" y="12"/>
                      <a:pt x="133" y="11"/>
                      <a:pt x="131" y="11"/>
                    </a:cubicBezTo>
                    <a:cubicBezTo>
                      <a:pt x="127" y="11"/>
                      <a:pt x="124" y="11"/>
                      <a:pt x="120" y="11"/>
                    </a:cubicBezTo>
                    <a:cubicBezTo>
                      <a:pt x="120" y="10"/>
                      <a:pt x="119" y="10"/>
                      <a:pt x="119" y="10"/>
                    </a:cubicBezTo>
                    <a:cubicBezTo>
                      <a:pt x="118" y="9"/>
                      <a:pt x="117" y="9"/>
                      <a:pt x="116" y="9"/>
                    </a:cubicBezTo>
                    <a:cubicBezTo>
                      <a:pt x="115" y="8"/>
                      <a:pt x="113" y="8"/>
                      <a:pt x="112" y="8"/>
                    </a:cubicBezTo>
                    <a:cubicBezTo>
                      <a:pt x="111" y="8"/>
                      <a:pt x="109" y="8"/>
                      <a:pt x="108" y="8"/>
                    </a:cubicBezTo>
                    <a:cubicBezTo>
                      <a:pt x="107" y="9"/>
                      <a:pt x="109" y="10"/>
                      <a:pt x="110" y="11"/>
                    </a:cubicBezTo>
                    <a:cubicBezTo>
                      <a:pt x="110" y="11"/>
                      <a:pt x="111" y="12"/>
                      <a:pt x="111" y="12"/>
                    </a:cubicBezTo>
                    <a:cubicBezTo>
                      <a:pt x="113" y="13"/>
                      <a:pt x="114" y="14"/>
                      <a:pt x="116" y="15"/>
                    </a:cubicBezTo>
                    <a:cubicBezTo>
                      <a:pt x="113" y="15"/>
                      <a:pt x="110" y="13"/>
                      <a:pt x="107" y="13"/>
                    </a:cubicBezTo>
                    <a:cubicBezTo>
                      <a:pt x="106" y="13"/>
                      <a:pt x="105" y="13"/>
                      <a:pt x="104" y="12"/>
                    </a:cubicBezTo>
                    <a:cubicBezTo>
                      <a:pt x="103" y="12"/>
                      <a:pt x="102" y="12"/>
                      <a:pt x="101" y="12"/>
                    </a:cubicBezTo>
                    <a:cubicBezTo>
                      <a:pt x="99" y="12"/>
                      <a:pt x="101" y="15"/>
                      <a:pt x="102" y="16"/>
                    </a:cubicBezTo>
                    <a:cubicBezTo>
                      <a:pt x="104" y="16"/>
                      <a:pt x="105" y="16"/>
                      <a:pt x="107" y="16"/>
                    </a:cubicBezTo>
                    <a:cubicBezTo>
                      <a:pt x="104" y="16"/>
                      <a:pt x="101" y="16"/>
                      <a:pt x="99" y="16"/>
                    </a:cubicBezTo>
                    <a:cubicBezTo>
                      <a:pt x="98" y="16"/>
                      <a:pt x="96" y="16"/>
                      <a:pt x="96" y="16"/>
                    </a:cubicBezTo>
                    <a:cubicBezTo>
                      <a:pt x="96" y="17"/>
                      <a:pt x="94" y="18"/>
                      <a:pt x="94" y="18"/>
                    </a:cubicBezTo>
                    <a:cubicBezTo>
                      <a:pt x="94" y="20"/>
                      <a:pt x="98" y="21"/>
                      <a:pt x="99" y="21"/>
                    </a:cubicBezTo>
                    <a:cubicBezTo>
                      <a:pt x="101" y="22"/>
                      <a:pt x="103" y="23"/>
                      <a:pt x="105" y="23"/>
                    </a:cubicBezTo>
                    <a:cubicBezTo>
                      <a:pt x="106" y="24"/>
                      <a:pt x="107" y="24"/>
                      <a:pt x="108" y="24"/>
                    </a:cubicBezTo>
                    <a:cubicBezTo>
                      <a:pt x="109" y="25"/>
                      <a:pt x="111" y="24"/>
                      <a:pt x="113" y="25"/>
                    </a:cubicBezTo>
                    <a:cubicBezTo>
                      <a:pt x="110" y="26"/>
                      <a:pt x="115" y="27"/>
                      <a:pt x="116" y="27"/>
                    </a:cubicBezTo>
                    <a:cubicBezTo>
                      <a:pt x="117" y="27"/>
                      <a:pt x="118" y="27"/>
                      <a:pt x="119" y="28"/>
                    </a:cubicBezTo>
                    <a:cubicBezTo>
                      <a:pt x="120" y="28"/>
                      <a:pt x="122" y="27"/>
                      <a:pt x="123" y="28"/>
                    </a:cubicBezTo>
                    <a:cubicBezTo>
                      <a:pt x="124" y="29"/>
                      <a:pt x="122" y="29"/>
                      <a:pt x="123" y="29"/>
                    </a:cubicBezTo>
                    <a:cubicBezTo>
                      <a:pt x="124" y="29"/>
                      <a:pt x="125" y="30"/>
                      <a:pt x="125" y="30"/>
                    </a:cubicBezTo>
                    <a:cubicBezTo>
                      <a:pt x="126" y="31"/>
                      <a:pt x="127" y="31"/>
                      <a:pt x="128" y="32"/>
                    </a:cubicBezTo>
                    <a:cubicBezTo>
                      <a:pt x="128" y="32"/>
                      <a:pt x="129" y="33"/>
                      <a:pt x="130" y="33"/>
                    </a:cubicBezTo>
                    <a:cubicBezTo>
                      <a:pt x="118" y="31"/>
                      <a:pt x="106" y="28"/>
                      <a:pt x="94" y="26"/>
                    </a:cubicBezTo>
                    <a:cubicBezTo>
                      <a:pt x="95" y="26"/>
                      <a:pt x="96" y="26"/>
                      <a:pt x="97" y="27"/>
                    </a:cubicBezTo>
                    <a:cubicBezTo>
                      <a:pt x="96" y="27"/>
                      <a:pt x="95" y="27"/>
                      <a:pt x="94" y="27"/>
                    </a:cubicBezTo>
                    <a:cubicBezTo>
                      <a:pt x="94" y="27"/>
                      <a:pt x="91" y="27"/>
                      <a:pt x="91" y="27"/>
                    </a:cubicBezTo>
                    <a:cubicBezTo>
                      <a:pt x="90" y="26"/>
                      <a:pt x="92" y="25"/>
                      <a:pt x="91" y="25"/>
                    </a:cubicBezTo>
                    <a:cubicBezTo>
                      <a:pt x="90" y="24"/>
                      <a:pt x="88" y="23"/>
                      <a:pt x="87" y="22"/>
                    </a:cubicBezTo>
                    <a:cubicBezTo>
                      <a:pt x="86" y="21"/>
                      <a:pt x="84" y="20"/>
                      <a:pt x="82" y="20"/>
                    </a:cubicBezTo>
                    <a:cubicBezTo>
                      <a:pt x="78" y="19"/>
                      <a:pt x="74" y="18"/>
                      <a:pt x="71" y="17"/>
                    </a:cubicBezTo>
                    <a:cubicBezTo>
                      <a:pt x="70" y="17"/>
                      <a:pt x="70" y="17"/>
                      <a:pt x="69" y="17"/>
                    </a:cubicBezTo>
                    <a:cubicBezTo>
                      <a:pt x="67" y="17"/>
                      <a:pt x="63" y="16"/>
                      <a:pt x="62" y="18"/>
                    </a:cubicBezTo>
                    <a:cubicBezTo>
                      <a:pt x="63" y="18"/>
                      <a:pt x="65" y="18"/>
                      <a:pt x="66" y="19"/>
                    </a:cubicBezTo>
                    <a:cubicBezTo>
                      <a:pt x="67" y="21"/>
                      <a:pt x="67" y="21"/>
                      <a:pt x="66" y="22"/>
                    </a:cubicBezTo>
                    <a:cubicBezTo>
                      <a:pt x="66" y="22"/>
                      <a:pt x="64" y="22"/>
                      <a:pt x="64" y="22"/>
                    </a:cubicBezTo>
                    <a:cubicBezTo>
                      <a:pt x="60" y="23"/>
                      <a:pt x="56" y="22"/>
                      <a:pt x="53" y="23"/>
                    </a:cubicBezTo>
                    <a:cubicBezTo>
                      <a:pt x="50" y="24"/>
                      <a:pt x="55" y="26"/>
                      <a:pt x="56" y="26"/>
                    </a:cubicBezTo>
                    <a:cubicBezTo>
                      <a:pt x="57" y="26"/>
                      <a:pt x="59" y="26"/>
                      <a:pt x="60" y="26"/>
                    </a:cubicBezTo>
                    <a:cubicBezTo>
                      <a:pt x="63" y="27"/>
                      <a:pt x="66" y="27"/>
                      <a:pt x="69" y="28"/>
                    </a:cubicBezTo>
                    <a:cubicBezTo>
                      <a:pt x="70" y="28"/>
                      <a:pt x="70" y="28"/>
                      <a:pt x="71" y="28"/>
                    </a:cubicBezTo>
                    <a:cubicBezTo>
                      <a:pt x="71" y="28"/>
                      <a:pt x="71" y="28"/>
                      <a:pt x="71" y="28"/>
                    </a:cubicBezTo>
                    <a:cubicBezTo>
                      <a:pt x="71" y="28"/>
                      <a:pt x="71" y="28"/>
                      <a:pt x="71" y="28"/>
                    </a:cubicBezTo>
                    <a:cubicBezTo>
                      <a:pt x="73" y="28"/>
                      <a:pt x="73" y="29"/>
                      <a:pt x="75" y="31"/>
                    </a:cubicBezTo>
                    <a:cubicBezTo>
                      <a:pt x="72" y="31"/>
                      <a:pt x="73" y="28"/>
                      <a:pt x="71" y="29"/>
                    </a:cubicBezTo>
                    <a:cubicBezTo>
                      <a:pt x="70" y="30"/>
                      <a:pt x="72" y="31"/>
                      <a:pt x="73" y="31"/>
                    </a:cubicBezTo>
                    <a:cubicBezTo>
                      <a:pt x="72" y="31"/>
                      <a:pt x="71" y="31"/>
                      <a:pt x="71" y="31"/>
                    </a:cubicBezTo>
                    <a:cubicBezTo>
                      <a:pt x="71" y="31"/>
                      <a:pt x="71" y="31"/>
                      <a:pt x="71" y="31"/>
                    </a:cubicBezTo>
                    <a:cubicBezTo>
                      <a:pt x="71" y="31"/>
                      <a:pt x="71" y="31"/>
                      <a:pt x="71" y="31"/>
                    </a:cubicBezTo>
                    <a:cubicBezTo>
                      <a:pt x="70" y="30"/>
                      <a:pt x="70" y="30"/>
                      <a:pt x="69" y="29"/>
                    </a:cubicBezTo>
                    <a:cubicBezTo>
                      <a:pt x="68" y="28"/>
                      <a:pt x="67" y="29"/>
                      <a:pt x="66" y="29"/>
                    </a:cubicBezTo>
                    <a:cubicBezTo>
                      <a:pt x="64" y="28"/>
                      <a:pt x="63" y="28"/>
                      <a:pt x="64" y="30"/>
                    </a:cubicBezTo>
                    <a:cubicBezTo>
                      <a:pt x="65" y="31"/>
                      <a:pt x="66" y="31"/>
                      <a:pt x="67" y="32"/>
                    </a:cubicBezTo>
                    <a:cubicBezTo>
                      <a:pt x="66" y="32"/>
                      <a:pt x="64" y="30"/>
                      <a:pt x="63" y="30"/>
                    </a:cubicBezTo>
                    <a:cubicBezTo>
                      <a:pt x="62" y="29"/>
                      <a:pt x="61" y="28"/>
                      <a:pt x="60" y="28"/>
                    </a:cubicBezTo>
                    <a:cubicBezTo>
                      <a:pt x="58" y="27"/>
                      <a:pt x="56" y="27"/>
                      <a:pt x="54" y="27"/>
                    </a:cubicBezTo>
                    <a:cubicBezTo>
                      <a:pt x="53" y="27"/>
                      <a:pt x="52" y="27"/>
                      <a:pt x="51" y="27"/>
                    </a:cubicBezTo>
                    <a:cubicBezTo>
                      <a:pt x="50" y="28"/>
                      <a:pt x="51" y="28"/>
                      <a:pt x="51" y="29"/>
                    </a:cubicBezTo>
                    <a:cubicBezTo>
                      <a:pt x="51" y="29"/>
                      <a:pt x="50" y="29"/>
                      <a:pt x="49" y="29"/>
                    </a:cubicBezTo>
                    <a:cubicBezTo>
                      <a:pt x="50" y="30"/>
                      <a:pt x="52" y="30"/>
                      <a:pt x="53" y="31"/>
                    </a:cubicBezTo>
                    <a:cubicBezTo>
                      <a:pt x="52" y="31"/>
                      <a:pt x="50" y="30"/>
                      <a:pt x="49" y="30"/>
                    </a:cubicBezTo>
                    <a:cubicBezTo>
                      <a:pt x="48" y="30"/>
                      <a:pt x="47" y="30"/>
                      <a:pt x="47" y="29"/>
                    </a:cubicBezTo>
                    <a:cubicBezTo>
                      <a:pt x="47" y="29"/>
                      <a:pt x="48" y="29"/>
                      <a:pt x="48" y="28"/>
                    </a:cubicBezTo>
                    <a:cubicBezTo>
                      <a:pt x="48" y="28"/>
                      <a:pt x="47" y="27"/>
                      <a:pt x="47" y="27"/>
                    </a:cubicBezTo>
                    <a:cubicBezTo>
                      <a:pt x="46" y="27"/>
                      <a:pt x="45" y="26"/>
                      <a:pt x="43" y="26"/>
                    </a:cubicBezTo>
                    <a:cubicBezTo>
                      <a:pt x="42" y="27"/>
                      <a:pt x="41" y="26"/>
                      <a:pt x="40" y="26"/>
                    </a:cubicBezTo>
                    <a:cubicBezTo>
                      <a:pt x="37" y="26"/>
                      <a:pt x="34" y="27"/>
                      <a:pt x="32" y="28"/>
                    </a:cubicBezTo>
                    <a:cubicBezTo>
                      <a:pt x="31" y="28"/>
                      <a:pt x="31" y="28"/>
                      <a:pt x="30" y="28"/>
                    </a:cubicBezTo>
                    <a:cubicBezTo>
                      <a:pt x="29" y="29"/>
                      <a:pt x="30" y="30"/>
                      <a:pt x="29" y="30"/>
                    </a:cubicBezTo>
                    <a:cubicBezTo>
                      <a:pt x="28" y="31"/>
                      <a:pt x="27" y="30"/>
                      <a:pt x="26" y="30"/>
                    </a:cubicBezTo>
                    <a:cubicBezTo>
                      <a:pt x="26" y="31"/>
                      <a:pt x="28" y="31"/>
                      <a:pt x="28" y="32"/>
                    </a:cubicBezTo>
                    <a:cubicBezTo>
                      <a:pt x="28" y="32"/>
                      <a:pt x="26" y="33"/>
                      <a:pt x="26" y="33"/>
                    </a:cubicBezTo>
                    <a:cubicBezTo>
                      <a:pt x="25" y="33"/>
                      <a:pt x="24" y="32"/>
                      <a:pt x="23" y="32"/>
                    </a:cubicBezTo>
                    <a:cubicBezTo>
                      <a:pt x="22" y="31"/>
                      <a:pt x="21" y="31"/>
                      <a:pt x="19" y="31"/>
                    </a:cubicBezTo>
                    <a:cubicBezTo>
                      <a:pt x="18" y="31"/>
                      <a:pt x="16" y="31"/>
                      <a:pt x="14" y="31"/>
                    </a:cubicBezTo>
                    <a:cubicBezTo>
                      <a:pt x="14" y="32"/>
                      <a:pt x="13" y="32"/>
                      <a:pt x="13" y="32"/>
                    </a:cubicBezTo>
                    <a:cubicBezTo>
                      <a:pt x="12" y="32"/>
                      <a:pt x="11" y="32"/>
                      <a:pt x="10" y="33"/>
                    </a:cubicBezTo>
                    <a:cubicBezTo>
                      <a:pt x="10" y="33"/>
                      <a:pt x="9" y="33"/>
                      <a:pt x="8" y="33"/>
                    </a:cubicBezTo>
                    <a:cubicBezTo>
                      <a:pt x="8" y="33"/>
                      <a:pt x="8" y="34"/>
                      <a:pt x="7" y="34"/>
                    </a:cubicBezTo>
                    <a:cubicBezTo>
                      <a:pt x="6" y="35"/>
                      <a:pt x="5" y="34"/>
                      <a:pt x="4" y="35"/>
                    </a:cubicBezTo>
                    <a:cubicBezTo>
                      <a:pt x="3" y="35"/>
                      <a:pt x="3" y="35"/>
                      <a:pt x="2" y="35"/>
                    </a:cubicBezTo>
                    <a:cubicBezTo>
                      <a:pt x="2" y="35"/>
                      <a:pt x="2" y="36"/>
                      <a:pt x="1" y="36"/>
                    </a:cubicBezTo>
                    <a:cubicBezTo>
                      <a:pt x="1" y="37"/>
                      <a:pt x="0" y="37"/>
                      <a:pt x="0" y="37"/>
                    </a:cubicBezTo>
                    <a:cubicBezTo>
                      <a:pt x="0" y="38"/>
                      <a:pt x="3" y="38"/>
                      <a:pt x="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8" name="Freeform 2055">
                <a:extLst>
                  <a:ext uri="{FF2B5EF4-FFF2-40B4-BE49-F238E27FC236}">
                    <a16:creationId xmlns:a16="http://schemas.microsoft.com/office/drawing/2014/main" id="{A6CFA787-D8E0-4946-8F8D-812DE2207BD9}"/>
                  </a:ext>
                </a:extLst>
              </p:cNvPr>
              <p:cNvSpPr>
                <a:spLocks/>
              </p:cNvSpPr>
              <p:nvPr/>
            </p:nvSpPr>
            <p:spPr bwMode="auto">
              <a:xfrm>
                <a:off x="1495" y="115"/>
                <a:ext cx="2" cy="2"/>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9" name="Freeform 2056">
                <a:extLst>
                  <a:ext uri="{FF2B5EF4-FFF2-40B4-BE49-F238E27FC236}">
                    <a16:creationId xmlns:a16="http://schemas.microsoft.com/office/drawing/2014/main" id="{554537D2-2120-4525-AF98-FAA5E6CF289E}"/>
                  </a:ext>
                </a:extLst>
              </p:cNvPr>
              <p:cNvSpPr>
                <a:spLocks/>
              </p:cNvSpPr>
              <p:nvPr/>
            </p:nvSpPr>
            <p:spPr bwMode="auto">
              <a:xfrm>
                <a:off x="1495" y="325"/>
                <a:ext cx="2" cy="5"/>
              </a:xfrm>
              <a:custGeom>
                <a:avLst/>
                <a:gdLst>
                  <a:gd name="T0" fmla="*/ 1 w 1"/>
                  <a:gd name="T1" fmla="*/ 0 h 2"/>
                  <a:gd name="T2" fmla="*/ 1 w 1"/>
                  <a:gd name="T3" fmla="*/ 2 h 2"/>
                  <a:gd name="T4" fmla="*/ 1 w 1"/>
                  <a:gd name="T5" fmla="*/ 1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1"/>
                      <a:pt x="0" y="2"/>
                      <a:pt x="1" y="2"/>
                    </a:cubicBezTo>
                    <a:cubicBezTo>
                      <a:pt x="1" y="2"/>
                      <a:pt x="1" y="1"/>
                      <a:pt x="1" y="1"/>
                    </a:cubicBezTo>
                    <a:cubicBezTo>
                      <a:pt x="1" y="1"/>
                      <a:pt x="1" y="1"/>
                      <a:pt x="1"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0" name="Freeform 2057">
                <a:extLst>
                  <a:ext uri="{FF2B5EF4-FFF2-40B4-BE49-F238E27FC236}">
                    <a16:creationId xmlns:a16="http://schemas.microsoft.com/office/drawing/2014/main" id="{7BDB8D6B-4D96-47CD-89EA-F03FCC8DD45C}"/>
                  </a:ext>
                </a:extLst>
              </p:cNvPr>
              <p:cNvSpPr>
                <a:spLocks/>
              </p:cNvSpPr>
              <p:nvPr/>
            </p:nvSpPr>
            <p:spPr bwMode="auto">
              <a:xfrm>
                <a:off x="1485" y="339"/>
                <a:ext cx="12" cy="7"/>
              </a:xfrm>
              <a:custGeom>
                <a:avLst/>
                <a:gdLst>
                  <a:gd name="T0" fmla="*/ 1 w 5"/>
                  <a:gd name="T1" fmla="*/ 1 h 3"/>
                  <a:gd name="T2" fmla="*/ 5 w 5"/>
                  <a:gd name="T3" fmla="*/ 0 h 3"/>
                  <a:gd name="T4" fmla="*/ 1 w 5"/>
                  <a:gd name="T5" fmla="*/ 1 h 3"/>
                </a:gdLst>
                <a:ahLst/>
                <a:cxnLst>
                  <a:cxn ang="0">
                    <a:pos x="T0" y="T1"/>
                  </a:cxn>
                  <a:cxn ang="0">
                    <a:pos x="T2" y="T3"/>
                  </a:cxn>
                  <a:cxn ang="0">
                    <a:pos x="T4" y="T5"/>
                  </a:cxn>
                </a:cxnLst>
                <a:rect l="0" t="0" r="r" b="b"/>
                <a:pathLst>
                  <a:path w="5" h="3">
                    <a:moveTo>
                      <a:pt x="1" y="1"/>
                    </a:moveTo>
                    <a:cubicBezTo>
                      <a:pt x="0" y="3"/>
                      <a:pt x="5" y="2"/>
                      <a:pt x="5" y="0"/>
                    </a:cubicBezTo>
                    <a:cubicBezTo>
                      <a:pt x="4" y="1"/>
                      <a:pt x="2"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1" name="Freeform 2058">
                <a:extLst>
                  <a:ext uri="{FF2B5EF4-FFF2-40B4-BE49-F238E27FC236}">
                    <a16:creationId xmlns:a16="http://schemas.microsoft.com/office/drawing/2014/main" id="{82C1DB47-71B7-42A2-A046-D78A4ECCC42F}"/>
                  </a:ext>
                </a:extLst>
              </p:cNvPr>
              <p:cNvSpPr>
                <a:spLocks/>
              </p:cNvSpPr>
              <p:nvPr/>
            </p:nvSpPr>
            <p:spPr bwMode="auto">
              <a:xfrm>
                <a:off x="1480" y="330"/>
                <a:ext cx="17" cy="9"/>
              </a:xfrm>
              <a:custGeom>
                <a:avLst/>
                <a:gdLst>
                  <a:gd name="T0" fmla="*/ 7 w 7"/>
                  <a:gd name="T1" fmla="*/ 1 h 4"/>
                  <a:gd name="T2" fmla="*/ 0 w 7"/>
                  <a:gd name="T3" fmla="*/ 3 h 4"/>
                  <a:gd name="T4" fmla="*/ 7 w 7"/>
                  <a:gd name="T5" fmla="*/ 4 h 4"/>
                  <a:gd name="T6" fmla="*/ 7 w 7"/>
                  <a:gd name="T7" fmla="*/ 1 h 4"/>
                </a:gdLst>
                <a:ahLst/>
                <a:cxnLst>
                  <a:cxn ang="0">
                    <a:pos x="T0" y="T1"/>
                  </a:cxn>
                  <a:cxn ang="0">
                    <a:pos x="T2" y="T3"/>
                  </a:cxn>
                  <a:cxn ang="0">
                    <a:pos x="T4" y="T5"/>
                  </a:cxn>
                  <a:cxn ang="0">
                    <a:pos x="T6" y="T7"/>
                  </a:cxn>
                </a:cxnLst>
                <a:rect l="0" t="0" r="r" b="b"/>
                <a:pathLst>
                  <a:path w="7" h="4">
                    <a:moveTo>
                      <a:pt x="7" y="1"/>
                    </a:moveTo>
                    <a:cubicBezTo>
                      <a:pt x="5" y="0"/>
                      <a:pt x="1" y="2"/>
                      <a:pt x="0" y="3"/>
                    </a:cubicBezTo>
                    <a:cubicBezTo>
                      <a:pt x="2" y="4"/>
                      <a:pt x="4" y="4"/>
                      <a:pt x="7" y="4"/>
                    </a:cubicBezTo>
                    <a:cubicBezTo>
                      <a:pt x="7" y="3"/>
                      <a:pt x="7" y="2"/>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2" name="Freeform 2059">
                <a:extLst>
                  <a:ext uri="{FF2B5EF4-FFF2-40B4-BE49-F238E27FC236}">
                    <a16:creationId xmlns:a16="http://schemas.microsoft.com/office/drawing/2014/main" id="{CEF04700-9AEE-41A2-BA12-443A3FA9985C}"/>
                  </a:ext>
                </a:extLst>
              </p:cNvPr>
              <p:cNvSpPr>
                <a:spLocks/>
              </p:cNvSpPr>
              <p:nvPr/>
            </p:nvSpPr>
            <p:spPr bwMode="auto">
              <a:xfrm>
                <a:off x="1062" y="401"/>
                <a:ext cx="137" cy="85"/>
              </a:xfrm>
              <a:custGeom>
                <a:avLst/>
                <a:gdLst>
                  <a:gd name="T0" fmla="*/ 41 w 58"/>
                  <a:gd name="T1" fmla="*/ 2 h 36"/>
                  <a:gd name="T2" fmla="*/ 40 w 58"/>
                  <a:gd name="T3" fmla="*/ 6 h 36"/>
                  <a:gd name="T4" fmla="*/ 38 w 58"/>
                  <a:gd name="T5" fmla="*/ 4 h 36"/>
                  <a:gd name="T6" fmla="*/ 32 w 58"/>
                  <a:gd name="T7" fmla="*/ 2 h 36"/>
                  <a:gd name="T8" fmla="*/ 23 w 58"/>
                  <a:gd name="T9" fmla="*/ 4 h 36"/>
                  <a:gd name="T10" fmla="*/ 23 w 58"/>
                  <a:gd name="T11" fmla="*/ 7 h 36"/>
                  <a:gd name="T12" fmla="*/ 28 w 58"/>
                  <a:gd name="T13" fmla="*/ 7 h 36"/>
                  <a:gd name="T14" fmla="*/ 30 w 58"/>
                  <a:gd name="T15" fmla="*/ 9 h 36"/>
                  <a:gd name="T16" fmla="*/ 30 w 58"/>
                  <a:gd name="T17" fmla="*/ 9 h 36"/>
                  <a:gd name="T18" fmla="*/ 32 w 58"/>
                  <a:gd name="T19" fmla="*/ 11 h 36"/>
                  <a:gd name="T20" fmla="*/ 30 w 58"/>
                  <a:gd name="T21" fmla="*/ 12 h 36"/>
                  <a:gd name="T22" fmla="*/ 32 w 58"/>
                  <a:gd name="T23" fmla="*/ 16 h 36"/>
                  <a:gd name="T24" fmla="*/ 31 w 58"/>
                  <a:gd name="T25" fmla="*/ 17 h 36"/>
                  <a:gd name="T26" fmla="*/ 26 w 58"/>
                  <a:gd name="T27" fmla="*/ 12 h 36"/>
                  <a:gd name="T28" fmla="*/ 15 w 58"/>
                  <a:gd name="T29" fmla="*/ 6 h 36"/>
                  <a:gd name="T30" fmla="*/ 10 w 58"/>
                  <a:gd name="T31" fmla="*/ 7 h 36"/>
                  <a:gd name="T32" fmla="*/ 9 w 58"/>
                  <a:gd name="T33" fmla="*/ 10 h 36"/>
                  <a:gd name="T34" fmla="*/ 10 w 58"/>
                  <a:gd name="T35" fmla="*/ 10 h 36"/>
                  <a:gd name="T36" fmla="*/ 12 w 58"/>
                  <a:gd name="T37" fmla="*/ 13 h 36"/>
                  <a:gd name="T38" fmla="*/ 21 w 58"/>
                  <a:gd name="T39" fmla="*/ 19 h 36"/>
                  <a:gd name="T40" fmla="*/ 10 w 58"/>
                  <a:gd name="T41" fmla="*/ 17 h 36"/>
                  <a:gd name="T42" fmla="*/ 9 w 58"/>
                  <a:gd name="T43" fmla="*/ 19 h 36"/>
                  <a:gd name="T44" fmla="*/ 2 w 58"/>
                  <a:gd name="T45" fmla="*/ 23 h 36"/>
                  <a:gd name="T46" fmla="*/ 9 w 58"/>
                  <a:gd name="T47" fmla="*/ 24 h 36"/>
                  <a:gd name="T48" fmla="*/ 16 w 58"/>
                  <a:gd name="T49" fmla="*/ 23 h 36"/>
                  <a:gd name="T50" fmla="*/ 18 w 58"/>
                  <a:gd name="T51" fmla="*/ 23 h 36"/>
                  <a:gd name="T52" fmla="*/ 33 w 58"/>
                  <a:gd name="T53" fmla="*/ 21 h 36"/>
                  <a:gd name="T54" fmla="*/ 42 w 58"/>
                  <a:gd name="T55" fmla="*/ 21 h 36"/>
                  <a:gd name="T56" fmla="*/ 33 w 58"/>
                  <a:gd name="T57" fmla="*/ 22 h 36"/>
                  <a:gd name="T58" fmla="*/ 32 w 58"/>
                  <a:gd name="T59" fmla="*/ 24 h 36"/>
                  <a:gd name="T60" fmla="*/ 28 w 58"/>
                  <a:gd name="T61" fmla="*/ 26 h 36"/>
                  <a:gd name="T62" fmla="*/ 25 w 58"/>
                  <a:gd name="T63" fmla="*/ 27 h 36"/>
                  <a:gd name="T64" fmla="*/ 28 w 58"/>
                  <a:gd name="T65" fmla="*/ 29 h 36"/>
                  <a:gd name="T66" fmla="*/ 26 w 58"/>
                  <a:gd name="T67" fmla="*/ 35 h 36"/>
                  <a:gd name="T68" fmla="*/ 35 w 58"/>
                  <a:gd name="T69" fmla="*/ 36 h 36"/>
                  <a:gd name="T70" fmla="*/ 47 w 58"/>
                  <a:gd name="T71" fmla="*/ 35 h 36"/>
                  <a:gd name="T72" fmla="*/ 52 w 58"/>
                  <a:gd name="T73" fmla="*/ 32 h 36"/>
                  <a:gd name="T74" fmla="*/ 52 w 58"/>
                  <a:gd name="T75" fmla="*/ 29 h 36"/>
                  <a:gd name="T76" fmla="*/ 54 w 58"/>
                  <a:gd name="T77" fmla="*/ 24 h 36"/>
                  <a:gd name="T78" fmla="*/ 57 w 58"/>
                  <a:gd name="T79" fmla="*/ 21 h 36"/>
                  <a:gd name="T80" fmla="*/ 56 w 58"/>
                  <a:gd name="T81" fmla="*/ 13 h 36"/>
                  <a:gd name="T82" fmla="*/ 52 w 58"/>
                  <a:gd name="T83" fmla="*/ 4 h 36"/>
                  <a:gd name="T84" fmla="*/ 49 w 58"/>
                  <a:gd name="T85" fmla="*/ 2 h 36"/>
                  <a:gd name="T86" fmla="*/ 42 w 58"/>
                  <a:gd name="T8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36">
                    <a:moveTo>
                      <a:pt x="42" y="1"/>
                    </a:moveTo>
                    <a:cubicBezTo>
                      <a:pt x="43" y="1"/>
                      <a:pt x="45" y="1"/>
                      <a:pt x="46" y="1"/>
                    </a:cubicBezTo>
                    <a:cubicBezTo>
                      <a:pt x="46" y="2"/>
                      <a:pt x="42" y="2"/>
                      <a:pt x="41" y="2"/>
                    </a:cubicBezTo>
                    <a:cubicBezTo>
                      <a:pt x="40" y="3"/>
                      <a:pt x="41" y="4"/>
                      <a:pt x="42" y="5"/>
                    </a:cubicBezTo>
                    <a:cubicBezTo>
                      <a:pt x="43" y="6"/>
                      <a:pt x="41" y="5"/>
                      <a:pt x="41" y="5"/>
                    </a:cubicBezTo>
                    <a:cubicBezTo>
                      <a:pt x="40" y="5"/>
                      <a:pt x="40" y="6"/>
                      <a:pt x="40" y="6"/>
                    </a:cubicBezTo>
                    <a:cubicBezTo>
                      <a:pt x="39" y="6"/>
                      <a:pt x="39" y="6"/>
                      <a:pt x="39" y="6"/>
                    </a:cubicBezTo>
                    <a:cubicBezTo>
                      <a:pt x="38" y="5"/>
                      <a:pt x="39" y="5"/>
                      <a:pt x="39" y="4"/>
                    </a:cubicBezTo>
                    <a:cubicBezTo>
                      <a:pt x="39" y="4"/>
                      <a:pt x="38" y="4"/>
                      <a:pt x="38" y="4"/>
                    </a:cubicBezTo>
                    <a:cubicBezTo>
                      <a:pt x="36" y="4"/>
                      <a:pt x="36" y="2"/>
                      <a:pt x="34" y="2"/>
                    </a:cubicBezTo>
                    <a:cubicBezTo>
                      <a:pt x="34" y="2"/>
                      <a:pt x="34" y="2"/>
                      <a:pt x="35" y="2"/>
                    </a:cubicBezTo>
                    <a:cubicBezTo>
                      <a:pt x="33" y="1"/>
                      <a:pt x="33" y="2"/>
                      <a:pt x="32" y="2"/>
                    </a:cubicBezTo>
                    <a:cubicBezTo>
                      <a:pt x="31" y="2"/>
                      <a:pt x="30" y="1"/>
                      <a:pt x="29" y="1"/>
                    </a:cubicBezTo>
                    <a:cubicBezTo>
                      <a:pt x="27" y="1"/>
                      <a:pt x="25" y="2"/>
                      <a:pt x="23" y="3"/>
                    </a:cubicBezTo>
                    <a:cubicBezTo>
                      <a:pt x="23" y="3"/>
                      <a:pt x="23" y="3"/>
                      <a:pt x="23" y="4"/>
                    </a:cubicBezTo>
                    <a:cubicBezTo>
                      <a:pt x="23" y="4"/>
                      <a:pt x="23" y="4"/>
                      <a:pt x="22" y="4"/>
                    </a:cubicBezTo>
                    <a:cubicBezTo>
                      <a:pt x="22" y="4"/>
                      <a:pt x="20" y="4"/>
                      <a:pt x="21" y="5"/>
                    </a:cubicBezTo>
                    <a:cubicBezTo>
                      <a:pt x="22" y="5"/>
                      <a:pt x="23" y="6"/>
                      <a:pt x="23" y="7"/>
                    </a:cubicBezTo>
                    <a:cubicBezTo>
                      <a:pt x="24" y="7"/>
                      <a:pt x="25" y="7"/>
                      <a:pt x="26" y="7"/>
                    </a:cubicBezTo>
                    <a:cubicBezTo>
                      <a:pt x="27" y="7"/>
                      <a:pt x="27" y="7"/>
                      <a:pt x="27" y="7"/>
                    </a:cubicBezTo>
                    <a:cubicBezTo>
                      <a:pt x="28" y="7"/>
                      <a:pt x="28" y="7"/>
                      <a:pt x="28" y="7"/>
                    </a:cubicBezTo>
                    <a:cubicBezTo>
                      <a:pt x="29" y="7"/>
                      <a:pt x="29" y="7"/>
                      <a:pt x="29" y="7"/>
                    </a:cubicBezTo>
                    <a:cubicBezTo>
                      <a:pt x="30" y="8"/>
                      <a:pt x="30" y="8"/>
                      <a:pt x="31" y="8"/>
                    </a:cubicBezTo>
                    <a:cubicBezTo>
                      <a:pt x="31" y="8"/>
                      <a:pt x="31" y="8"/>
                      <a:pt x="30" y="9"/>
                    </a:cubicBezTo>
                    <a:cubicBezTo>
                      <a:pt x="31" y="9"/>
                      <a:pt x="31" y="9"/>
                      <a:pt x="32" y="9"/>
                    </a:cubicBezTo>
                    <a:cubicBezTo>
                      <a:pt x="31" y="9"/>
                      <a:pt x="30" y="8"/>
                      <a:pt x="29" y="8"/>
                    </a:cubicBezTo>
                    <a:cubicBezTo>
                      <a:pt x="29" y="9"/>
                      <a:pt x="29" y="9"/>
                      <a:pt x="30" y="9"/>
                    </a:cubicBezTo>
                    <a:cubicBezTo>
                      <a:pt x="28" y="9"/>
                      <a:pt x="27" y="8"/>
                      <a:pt x="26" y="9"/>
                    </a:cubicBezTo>
                    <a:cubicBezTo>
                      <a:pt x="25" y="10"/>
                      <a:pt x="28" y="11"/>
                      <a:pt x="29" y="11"/>
                    </a:cubicBezTo>
                    <a:cubicBezTo>
                      <a:pt x="30" y="11"/>
                      <a:pt x="31" y="11"/>
                      <a:pt x="32" y="11"/>
                    </a:cubicBezTo>
                    <a:cubicBezTo>
                      <a:pt x="34" y="12"/>
                      <a:pt x="35" y="12"/>
                      <a:pt x="36" y="12"/>
                    </a:cubicBezTo>
                    <a:cubicBezTo>
                      <a:pt x="35" y="12"/>
                      <a:pt x="33" y="12"/>
                      <a:pt x="32" y="12"/>
                    </a:cubicBezTo>
                    <a:cubicBezTo>
                      <a:pt x="31" y="12"/>
                      <a:pt x="31" y="12"/>
                      <a:pt x="30" y="12"/>
                    </a:cubicBezTo>
                    <a:cubicBezTo>
                      <a:pt x="30" y="12"/>
                      <a:pt x="29" y="12"/>
                      <a:pt x="29" y="12"/>
                    </a:cubicBezTo>
                    <a:cubicBezTo>
                      <a:pt x="28" y="12"/>
                      <a:pt x="29" y="12"/>
                      <a:pt x="29" y="13"/>
                    </a:cubicBezTo>
                    <a:cubicBezTo>
                      <a:pt x="30" y="14"/>
                      <a:pt x="31" y="15"/>
                      <a:pt x="32" y="16"/>
                    </a:cubicBezTo>
                    <a:cubicBezTo>
                      <a:pt x="32" y="16"/>
                      <a:pt x="35" y="15"/>
                      <a:pt x="36" y="16"/>
                    </a:cubicBezTo>
                    <a:cubicBezTo>
                      <a:pt x="35" y="16"/>
                      <a:pt x="34" y="16"/>
                      <a:pt x="33" y="17"/>
                    </a:cubicBezTo>
                    <a:cubicBezTo>
                      <a:pt x="32" y="17"/>
                      <a:pt x="32" y="17"/>
                      <a:pt x="31" y="17"/>
                    </a:cubicBezTo>
                    <a:cubicBezTo>
                      <a:pt x="30" y="16"/>
                      <a:pt x="29" y="15"/>
                      <a:pt x="28" y="14"/>
                    </a:cubicBezTo>
                    <a:cubicBezTo>
                      <a:pt x="27" y="13"/>
                      <a:pt x="26" y="13"/>
                      <a:pt x="24" y="13"/>
                    </a:cubicBezTo>
                    <a:cubicBezTo>
                      <a:pt x="25" y="13"/>
                      <a:pt x="26" y="13"/>
                      <a:pt x="26" y="12"/>
                    </a:cubicBezTo>
                    <a:cubicBezTo>
                      <a:pt x="25" y="12"/>
                      <a:pt x="24" y="13"/>
                      <a:pt x="24" y="13"/>
                    </a:cubicBezTo>
                    <a:cubicBezTo>
                      <a:pt x="24" y="11"/>
                      <a:pt x="22" y="11"/>
                      <a:pt x="22" y="10"/>
                    </a:cubicBezTo>
                    <a:cubicBezTo>
                      <a:pt x="19" y="9"/>
                      <a:pt x="18" y="6"/>
                      <a:pt x="15" y="6"/>
                    </a:cubicBezTo>
                    <a:cubicBezTo>
                      <a:pt x="15" y="6"/>
                      <a:pt x="10" y="5"/>
                      <a:pt x="10" y="6"/>
                    </a:cubicBezTo>
                    <a:cubicBezTo>
                      <a:pt x="10" y="6"/>
                      <a:pt x="10" y="7"/>
                      <a:pt x="10" y="7"/>
                    </a:cubicBezTo>
                    <a:cubicBezTo>
                      <a:pt x="10" y="7"/>
                      <a:pt x="10" y="7"/>
                      <a:pt x="10" y="7"/>
                    </a:cubicBezTo>
                    <a:cubicBezTo>
                      <a:pt x="10" y="7"/>
                      <a:pt x="10" y="8"/>
                      <a:pt x="10" y="8"/>
                    </a:cubicBezTo>
                    <a:cubicBezTo>
                      <a:pt x="10" y="7"/>
                      <a:pt x="10" y="8"/>
                      <a:pt x="10" y="8"/>
                    </a:cubicBezTo>
                    <a:cubicBezTo>
                      <a:pt x="9" y="8"/>
                      <a:pt x="9" y="10"/>
                      <a:pt x="9" y="10"/>
                    </a:cubicBezTo>
                    <a:cubicBezTo>
                      <a:pt x="9" y="10"/>
                      <a:pt x="9" y="10"/>
                      <a:pt x="10" y="10"/>
                    </a:cubicBezTo>
                    <a:cubicBezTo>
                      <a:pt x="10" y="10"/>
                      <a:pt x="10" y="10"/>
                      <a:pt x="10" y="10"/>
                    </a:cubicBezTo>
                    <a:cubicBezTo>
                      <a:pt x="10" y="10"/>
                      <a:pt x="10" y="10"/>
                      <a:pt x="10" y="10"/>
                    </a:cubicBezTo>
                    <a:cubicBezTo>
                      <a:pt x="11" y="10"/>
                      <a:pt x="12" y="10"/>
                      <a:pt x="12" y="10"/>
                    </a:cubicBezTo>
                    <a:cubicBezTo>
                      <a:pt x="14" y="10"/>
                      <a:pt x="15" y="10"/>
                      <a:pt x="16" y="10"/>
                    </a:cubicBezTo>
                    <a:cubicBezTo>
                      <a:pt x="15" y="11"/>
                      <a:pt x="12" y="10"/>
                      <a:pt x="12" y="13"/>
                    </a:cubicBezTo>
                    <a:cubicBezTo>
                      <a:pt x="12" y="17"/>
                      <a:pt x="15" y="14"/>
                      <a:pt x="17" y="15"/>
                    </a:cubicBezTo>
                    <a:cubicBezTo>
                      <a:pt x="16" y="15"/>
                      <a:pt x="14" y="17"/>
                      <a:pt x="15" y="18"/>
                    </a:cubicBezTo>
                    <a:cubicBezTo>
                      <a:pt x="18" y="20"/>
                      <a:pt x="18" y="19"/>
                      <a:pt x="21" y="19"/>
                    </a:cubicBezTo>
                    <a:cubicBezTo>
                      <a:pt x="19" y="20"/>
                      <a:pt x="16" y="19"/>
                      <a:pt x="14" y="18"/>
                    </a:cubicBezTo>
                    <a:cubicBezTo>
                      <a:pt x="13" y="18"/>
                      <a:pt x="11" y="16"/>
                      <a:pt x="10" y="17"/>
                    </a:cubicBezTo>
                    <a:cubicBezTo>
                      <a:pt x="10" y="17"/>
                      <a:pt x="10" y="17"/>
                      <a:pt x="10" y="17"/>
                    </a:cubicBezTo>
                    <a:cubicBezTo>
                      <a:pt x="10" y="17"/>
                      <a:pt x="10" y="17"/>
                      <a:pt x="10" y="17"/>
                    </a:cubicBezTo>
                    <a:cubicBezTo>
                      <a:pt x="9" y="17"/>
                      <a:pt x="8" y="17"/>
                      <a:pt x="7" y="18"/>
                    </a:cubicBezTo>
                    <a:cubicBezTo>
                      <a:pt x="7" y="19"/>
                      <a:pt x="8" y="19"/>
                      <a:pt x="9" y="19"/>
                    </a:cubicBezTo>
                    <a:cubicBezTo>
                      <a:pt x="7" y="20"/>
                      <a:pt x="9" y="20"/>
                      <a:pt x="10" y="21"/>
                    </a:cubicBezTo>
                    <a:cubicBezTo>
                      <a:pt x="8" y="21"/>
                      <a:pt x="6" y="20"/>
                      <a:pt x="4" y="21"/>
                    </a:cubicBezTo>
                    <a:cubicBezTo>
                      <a:pt x="5" y="22"/>
                      <a:pt x="0" y="22"/>
                      <a:pt x="2" y="23"/>
                    </a:cubicBezTo>
                    <a:cubicBezTo>
                      <a:pt x="3" y="24"/>
                      <a:pt x="3" y="25"/>
                      <a:pt x="4" y="25"/>
                    </a:cubicBezTo>
                    <a:cubicBezTo>
                      <a:pt x="5" y="25"/>
                      <a:pt x="6" y="24"/>
                      <a:pt x="8" y="24"/>
                    </a:cubicBezTo>
                    <a:cubicBezTo>
                      <a:pt x="8" y="24"/>
                      <a:pt x="9" y="24"/>
                      <a:pt x="9" y="24"/>
                    </a:cubicBezTo>
                    <a:cubicBezTo>
                      <a:pt x="10" y="24"/>
                      <a:pt x="10" y="24"/>
                      <a:pt x="10" y="24"/>
                    </a:cubicBezTo>
                    <a:cubicBezTo>
                      <a:pt x="10" y="24"/>
                      <a:pt x="10" y="24"/>
                      <a:pt x="10" y="24"/>
                    </a:cubicBezTo>
                    <a:cubicBezTo>
                      <a:pt x="12" y="24"/>
                      <a:pt x="14" y="23"/>
                      <a:pt x="16" y="23"/>
                    </a:cubicBezTo>
                    <a:cubicBezTo>
                      <a:pt x="16" y="23"/>
                      <a:pt x="16" y="24"/>
                      <a:pt x="16" y="24"/>
                    </a:cubicBezTo>
                    <a:cubicBezTo>
                      <a:pt x="17" y="24"/>
                      <a:pt x="17" y="23"/>
                      <a:pt x="17" y="23"/>
                    </a:cubicBezTo>
                    <a:cubicBezTo>
                      <a:pt x="17" y="23"/>
                      <a:pt x="18" y="23"/>
                      <a:pt x="18" y="23"/>
                    </a:cubicBezTo>
                    <a:cubicBezTo>
                      <a:pt x="20" y="23"/>
                      <a:pt x="20" y="23"/>
                      <a:pt x="21" y="23"/>
                    </a:cubicBezTo>
                    <a:cubicBezTo>
                      <a:pt x="24" y="23"/>
                      <a:pt x="25" y="22"/>
                      <a:pt x="27" y="22"/>
                    </a:cubicBezTo>
                    <a:cubicBezTo>
                      <a:pt x="29" y="22"/>
                      <a:pt x="31" y="22"/>
                      <a:pt x="33" y="21"/>
                    </a:cubicBezTo>
                    <a:cubicBezTo>
                      <a:pt x="34" y="21"/>
                      <a:pt x="34" y="21"/>
                      <a:pt x="35" y="21"/>
                    </a:cubicBezTo>
                    <a:cubicBezTo>
                      <a:pt x="34" y="21"/>
                      <a:pt x="34" y="21"/>
                      <a:pt x="34" y="22"/>
                    </a:cubicBezTo>
                    <a:cubicBezTo>
                      <a:pt x="37" y="22"/>
                      <a:pt x="39" y="20"/>
                      <a:pt x="42" y="21"/>
                    </a:cubicBezTo>
                    <a:cubicBezTo>
                      <a:pt x="40" y="22"/>
                      <a:pt x="38" y="21"/>
                      <a:pt x="37" y="22"/>
                    </a:cubicBezTo>
                    <a:cubicBezTo>
                      <a:pt x="36" y="22"/>
                      <a:pt x="35" y="22"/>
                      <a:pt x="34" y="22"/>
                    </a:cubicBezTo>
                    <a:cubicBezTo>
                      <a:pt x="33" y="22"/>
                      <a:pt x="33" y="22"/>
                      <a:pt x="33" y="22"/>
                    </a:cubicBezTo>
                    <a:cubicBezTo>
                      <a:pt x="32" y="23"/>
                      <a:pt x="33" y="23"/>
                      <a:pt x="34" y="23"/>
                    </a:cubicBezTo>
                    <a:cubicBezTo>
                      <a:pt x="33" y="24"/>
                      <a:pt x="31" y="24"/>
                      <a:pt x="30" y="24"/>
                    </a:cubicBezTo>
                    <a:cubicBezTo>
                      <a:pt x="31" y="24"/>
                      <a:pt x="31" y="24"/>
                      <a:pt x="32" y="24"/>
                    </a:cubicBezTo>
                    <a:cubicBezTo>
                      <a:pt x="31" y="25"/>
                      <a:pt x="29" y="25"/>
                      <a:pt x="28" y="25"/>
                    </a:cubicBezTo>
                    <a:cubicBezTo>
                      <a:pt x="29" y="25"/>
                      <a:pt x="30" y="25"/>
                      <a:pt x="31" y="25"/>
                    </a:cubicBezTo>
                    <a:cubicBezTo>
                      <a:pt x="30" y="26"/>
                      <a:pt x="29" y="26"/>
                      <a:pt x="28" y="26"/>
                    </a:cubicBezTo>
                    <a:cubicBezTo>
                      <a:pt x="29" y="26"/>
                      <a:pt x="29" y="26"/>
                      <a:pt x="30" y="26"/>
                    </a:cubicBezTo>
                    <a:cubicBezTo>
                      <a:pt x="29" y="26"/>
                      <a:pt x="28" y="26"/>
                      <a:pt x="26" y="26"/>
                    </a:cubicBezTo>
                    <a:cubicBezTo>
                      <a:pt x="25" y="26"/>
                      <a:pt x="24" y="26"/>
                      <a:pt x="25" y="27"/>
                    </a:cubicBezTo>
                    <a:cubicBezTo>
                      <a:pt x="27" y="28"/>
                      <a:pt x="24" y="28"/>
                      <a:pt x="23" y="28"/>
                    </a:cubicBezTo>
                    <a:cubicBezTo>
                      <a:pt x="24" y="28"/>
                      <a:pt x="24" y="29"/>
                      <a:pt x="24" y="29"/>
                    </a:cubicBezTo>
                    <a:cubicBezTo>
                      <a:pt x="26" y="30"/>
                      <a:pt x="27" y="29"/>
                      <a:pt x="28" y="29"/>
                    </a:cubicBezTo>
                    <a:cubicBezTo>
                      <a:pt x="25" y="31"/>
                      <a:pt x="30" y="30"/>
                      <a:pt x="31" y="31"/>
                    </a:cubicBezTo>
                    <a:cubicBezTo>
                      <a:pt x="29" y="31"/>
                      <a:pt x="27" y="31"/>
                      <a:pt x="25" y="32"/>
                    </a:cubicBezTo>
                    <a:cubicBezTo>
                      <a:pt x="27" y="32"/>
                      <a:pt x="26" y="34"/>
                      <a:pt x="26" y="35"/>
                    </a:cubicBezTo>
                    <a:cubicBezTo>
                      <a:pt x="27" y="35"/>
                      <a:pt x="28" y="36"/>
                      <a:pt x="29" y="36"/>
                    </a:cubicBezTo>
                    <a:cubicBezTo>
                      <a:pt x="30" y="36"/>
                      <a:pt x="31" y="36"/>
                      <a:pt x="32" y="36"/>
                    </a:cubicBezTo>
                    <a:cubicBezTo>
                      <a:pt x="33" y="36"/>
                      <a:pt x="34" y="36"/>
                      <a:pt x="35" y="36"/>
                    </a:cubicBezTo>
                    <a:cubicBezTo>
                      <a:pt x="36" y="36"/>
                      <a:pt x="37" y="34"/>
                      <a:pt x="38" y="33"/>
                    </a:cubicBezTo>
                    <a:cubicBezTo>
                      <a:pt x="38" y="33"/>
                      <a:pt x="38" y="34"/>
                      <a:pt x="37" y="34"/>
                    </a:cubicBezTo>
                    <a:cubicBezTo>
                      <a:pt x="41" y="34"/>
                      <a:pt x="44" y="34"/>
                      <a:pt x="47" y="35"/>
                    </a:cubicBezTo>
                    <a:cubicBezTo>
                      <a:pt x="48" y="35"/>
                      <a:pt x="52" y="36"/>
                      <a:pt x="52" y="34"/>
                    </a:cubicBezTo>
                    <a:cubicBezTo>
                      <a:pt x="51" y="33"/>
                      <a:pt x="49" y="32"/>
                      <a:pt x="50" y="31"/>
                    </a:cubicBezTo>
                    <a:cubicBezTo>
                      <a:pt x="50" y="31"/>
                      <a:pt x="52" y="32"/>
                      <a:pt x="52" y="32"/>
                    </a:cubicBezTo>
                    <a:cubicBezTo>
                      <a:pt x="53" y="32"/>
                      <a:pt x="55" y="33"/>
                      <a:pt x="55" y="32"/>
                    </a:cubicBezTo>
                    <a:cubicBezTo>
                      <a:pt x="54" y="32"/>
                      <a:pt x="55" y="31"/>
                      <a:pt x="53" y="32"/>
                    </a:cubicBezTo>
                    <a:cubicBezTo>
                      <a:pt x="55" y="30"/>
                      <a:pt x="49" y="30"/>
                      <a:pt x="52" y="29"/>
                    </a:cubicBezTo>
                    <a:cubicBezTo>
                      <a:pt x="51" y="29"/>
                      <a:pt x="51" y="29"/>
                      <a:pt x="50" y="29"/>
                    </a:cubicBezTo>
                    <a:cubicBezTo>
                      <a:pt x="51" y="29"/>
                      <a:pt x="52" y="28"/>
                      <a:pt x="53" y="27"/>
                    </a:cubicBezTo>
                    <a:cubicBezTo>
                      <a:pt x="53" y="27"/>
                      <a:pt x="53" y="24"/>
                      <a:pt x="54" y="24"/>
                    </a:cubicBezTo>
                    <a:cubicBezTo>
                      <a:pt x="54" y="24"/>
                      <a:pt x="55" y="25"/>
                      <a:pt x="55" y="25"/>
                    </a:cubicBezTo>
                    <a:cubicBezTo>
                      <a:pt x="56" y="26"/>
                      <a:pt x="57" y="26"/>
                      <a:pt x="58" y="27"/>
                    </a:cubicBezTo>
                    <a:cubicBezTo>
                      <a:pt x="55" y="26"/>
                      <a:pt x="58" y="22"/>
                      <a:pt x="57" y="21"/>
                    </a:cubicBezTo>
                    <a:cubicBezTo>
                      <a:pt x="55" y="21"/>
                      <a:pt x="54" y="21"/>
                      <a:pt x="55" y="19"/>
                    </a:cubicBezTo>
                    <a:cubicBezTo>
                      <a:pt x="55" y="17"/>
                      <a:pt x="55" y="17"/>
                      <a:pt x="55" y="16"/>
                    </a:cubicBezTo>
                    <a:cubicBezTo>
                      <a:pt x="55" y="15"/>
                      <a:pt x="55" y="14"/>
                      <a:pt x="56" y="13"/>
                    </a:cubicBezTo>
                    <a:cubicBezTo>
                      <a:pt x="56" y="12"/>
                      <a:pt x="56" y="10"/>
                      <a:pt x="55" y="10"/>
                    </a:cubicBezTo>
                    <a:cubicBezTo>
                      <a:pt x="53" y="9"/>
                      <a:pt x="54" y="7"/>
                      <a:pt x="54" y="5"/>
                    </a:cubicBezTo>
                    <a:cubicBezTo>
                      <a:pt x="54" y="4"/>
                      <a:pt x="53" y="4"/>
                      <a:pt x="52" y="4"/>
                    </a:cubicBezTo>
                    <a:cubicBezTo>
                      <a:pt x="51" y="4"/>
                      <a:pt x="50" y="3"/>
                      <a:pt x="49" y="3"/>
                    </a:cubicBezTo>
                    <a:cubicBezTo>
                      <a:pt x="49" y="3"/>
                      <a:pt x="47" y="3"/>
                      <a:pt x="47" y="2"/>
                    </a:cubicBezTo>
                    <a:cubicBezTo>
                      <a:pt x="48" y="2"/>
                      <a:pt x="48" y="2"/>
                      <a:pt x="49" y="2"/>
                    </a:cubicBezTo>
                    <a:cubicBezTo>
                      <a:pt x="49" y="2"/>
                      <a:pt x="48" y="2"/>
                      <a:pt x="48" y="2"/>
                    </a:cubicBezTo>
                    <a:cubicBezTo>
                      <a:pt x="47" y="2"/>
                      <a:pt x="47" y="1"/>
                      <a:pt x="46" y="0"/>
                    </a:cubicBezTo>
                    <a:cubicBezTo>
                      <a:pt x="45" y="0"/>
                      <a:pt x="43" y="0"/>
                      <a:pt x="4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3" name="Freeform 2060">
                <a:extLst>
                  <a:ext uri="{FF2B5EF4-FFF2-40B4-BE49-F238E27FC236}">
                    <a16:creationId xmlns:a16="http://schemas.microsoft.com/office/drawing/2014/main" id="{8CA8E280-A92C-467D-9719-3F2C435E27EB}"/>
                  </a:ext>
                </a:extLst>
              </p:cNvPr>
              <p:cNvSpPr>
                <a:spLocks/>
              </p:cNvSpPr>
              <p:nvPr/>
            </p:nvSpPr>
            <p:spPr bwMode="auto">
              <a:xfrm>
                <a:off x="1083" y="415"/>
                <a:ext cx="3" cy="2"/>
              </a:xfrm>
              <a:custGeom>
                <a:avLst/>
                <a:gdLst>
                  <a:gd name="T0" fmla="*/ 1 w 1"/>
                  <a:gd name="T1" fmla="*/ 0 h 1"/>
                  <a:gd name="T2" fmla="*/ 1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0" y="1"/>
                      <a:pt x="1" y="1"/>
                    </a:cubicBezTo>
                    <a:cubicBezTo>
                      <a:pt x="1" y="1"/>
                      <a:pt x="1" y="1"/>
                      <a:pt x="1" y="1"/>
                    </a:cubicBezTo>
                    <a:cubicBezTo>
                      <a:pt x="1" y="1"/>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4" name="Freeform 2061">
                <a:extLst>
                  <a:ext uri="{FF2B5EF4-FFF2-40B4-BE49-F238E27FC236}">
                    <a16:creationId xmlns:a16="http://schemas.microsoft.com/office/drawing/2014/main" id="{C72AF62D-69DA-4ED7-9E57-BDFA735BBE99}"/>
                  </a:ext>
                </a:extLst>
              </p:cNvPr>
              <p:cNvSpPr>
                <a:spLocks/>
              </p:cNvSpPr>
              <p:nvPr/>
            </p:nvSpPr>
            <p:spPr bwMode="auto">
              <a:xfrm>
                <a:off x="1067" y="536"/>
                <a:ext cx="156" cy="123"/>
              </a:xfrm>
              <a:custGeom>
                <a:avLst/>
                <a:gdLst>
                  <a:gd name="T0" fmla="*/ 64 w 66"/>
                  <a:gd name="T1" fmla="*/ 23 h 52"/>
                  <a:gd name="T2" fmla="*/ 58 w 66"/>
                  <a:gd name="T3" fmla="*/ 23 h 52"/>
                  <a:gd name="T4" fmla="*/ 53 w 66"/>
                  <a:gd name="T5" fmla="*/ 18 h 52"/>
                  <a:gd name="T6" fmla="*/ 44 w 66"/>
                  <a:gd name="T7" fmla="*/ 18 h 52"/>
                  <a:gd name="T8" fmla="*/ 53 w 66"/>
                  <a:gd name="T9" fmla="*/ 12 h 52"/>
                  <a:gd name="T10" fmla="*/ 56 w 66"/>
                  <a:gd name="T11" fmla="*/ 9 h 52"/>
                  <a:gd name="T12" fmla="*/ 54 w 66"/>
                  <a:gd name="T13" fmla="*/ 8 h 52"/>
                  <a:gd name="T14" fmla="*/ 56 w 66"/>
                  <a:gd name="T15" fmla="*/ 1 h 52"/>
                  <a:gd name="T16" fmla="*/ 49 w 66"/>
                  <a:gd name="T17" fmla="*/ 2 h 52"/>
                  <a:gd name="T18" fmla="*/ 38 w 66"/>
                  <a:gd name="T19" fmla="*/ 4 h 52"/>
                  <a:gd name="T20" fmla="*/ 33 w 66"/>
                  <a:gd name="T21" fmla="*/ 2 h 52"/>
                  <a:gd name="T22" fmla="*/ 26 w 66"/>
                  <a:gd name="T23" fmla="*/ 2 h 52"/>
                  <a:gd name="T24" fmla="*/ 29 w 66"/>
                  <a:gd name="T25" fmla="*/ 2 h 52"/>
                  <a:gd name="T26" fmla="*/ 21 w 66"/>
                  <a:gd name="T27" fmla="*/ 2 h 52"/>
                  <a:gd name="T28" fmla="*/ 18 w 66"/>
                  <a:gd name="T29" fmla="*/ 5 h 52"/>
                  <a:gd name="T30" fmla="*/ 23 w 66"/>
                  <a:gd name="T31" fmla="*/ 9 h 52"/>
                  <a:gd name="T32" fmla="*/ 17 w 66"/>
                  <a:gd name="T33" fmla="*/ 7 h 52"/>
                  <a:gd name="T34" fmla="*/ 13 w 66"/>
                  <a:gd name="T35" fmla="*/ 10 h 52"/>
                  <a:gd name="T36" fmla="*/ 24 w 66"/>
                  <a:gd name="T37" fmla="*/ 12 h 52"/>
                  <a:gd name="T38" fmla="*/ 31 w 66"/>
                  <a:gd name="T39" fmla="*/ 14 h 52"/>
                  <a:gd name="T40" fmla="*/ 24 w 66"/>
                  <a:gd name="T41" fmla="*/ 14 h 52"/>
                  <a:gd name="T42" fmla="*/ 26 w 66"/>
                  <a:gd name="T43" fmla="*/ 16 h 52"/>
                  <a:gd name="T44" fmla="*/ 26 w 66"/>
                  <a:gd name="T45" fmla="*/ 21 h 52"/>
                  <a:gd name="T46" fmla="*/ 24 w 66"/>
                  <a:gd name="T47" fmla="*/ 19 h 52"/>
                  <a:gd name="T48" fmla="*/ 20 w 66"/>
                  <a:gd name="T49" fmla="*/ 23 h 52"/>
                  <a:gd name="T50" fmla="*/ 16 w 66"/>
                  <a:gd name="T51" fmla="*/ 22 h 52"/>
                  <a:gd name="T52" fmla="*/ 8 w 66"/>
                  <a:gd name="T53" fmla="*/ 17 h 52"/>
                  <a:gd name="T54" fmla="*/ 4 w 66"/>
                  <a:gd name="T55" fmla="*/ 17 h 52"/>
                  <a:gd name="T56" fmla="*/ 1 w 66"/>
                  <a:gd name="T57" fmla="*/ 24 h 52"/>
                  <a:gd name="T58" fmla="*/ 9 w 66"/>
                  <a:gd name="T59" fmla="*/ 30 h 52"/>
                  <a:gd name="T60" fmla="*/ 13 w 66"/>
                  <a:gd name="T61" fmla="*/ 33 h 52"/>
                  <a:gd name="T62" fmla="*/ 20 w 66"/>
                  <a:gd name="T63" fmla="*/ 34 h 52"/>
                  <a:gd name="T64" fmla="*/ 30 w 66"/>
                  <a:gd name="T65" fmla="*/ 41 h 52"/>
                  <a:gd name="T66" fmla="*/ 33 w 66"/>
                  <a:gd name="T67" fmla="*/ 45 h 52"/>
                  <a:gd name="T68" fmla="*/ 36 w 66"/>
                  <a:gd name="T69" fmla="*/ 49 h 52"/>
                  <a:gd name="T70" fmla="*/ 41 w 66"/>
                  <a:gd name="T71" fmla="*/ 51 h 52"/>
                  <a:gd name="T72" fmla="*/ 46 w 66"/>
                  <a:gd name="T73" fmla="*/ 44 h 52"/>
                  <a:gd name="T74" fmla="*/ 46 w 66"/>
                  <a:gd name="T75" fmla="*/ 41 h 52"/>
                  <a:gd name="T76" fmla="*/ 46 w 66"/>
                  <a:gd name="T77" fmla="*/ 41 h 52"/>
                  <a:gd name="T78" fmla="*/ 49 w 66"/>
                  <a:gd name="T79" fmla="*/ 44 h 52"/>
                  <a:gd name="T80" fmla="*/ 63 w 66"/>
                  <a:gd name="T81" fmla="*/ 40 h 52"/>
                  <a:gd name="T82" fmla="*/ 64 w 66"/>
                  <a:gd name="T83" fmla="*/ 35 h 52"/>
                  <a:gd name="T84" fmla="*/ 61 w 66"/>
                  <a:gd name="T85" fmla="*/ 3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52">
                    <a:moveTo>
                      <a:pt x="66" y="28"/>
                    </a:moveTo>
                    <a:cubicBezTo>
                      <a:pt x="66" y="27"/>
                      <a:pt x="65" y="26"/>
                      <a:pt x="64" y="25"/>
                    </a:cubicBezTo>
                    <a:cubicBezTo>
                      <a:pt x="64" y="24"/>
                      <a:pt x="64" y="23"/>
                      <a:pt x="64" y="23"/>
                    </a:cubicBezTo>
                    <a:cubicBezTo>
                      <a:pt x="64" y="23"/>
                      <a:pt x="62" y="24"/>
                      <a:pt x="62" y="24"/>
                    </a:cubicBezTo>
                    <a:cubicBezTo>
                      <a:pt x="60" y="24"/>
                      <a:pt x="59" y="25"/>
                      <a:pt x="58" y="26"/>
                    </a:cubicBezTo>
                    <a:cubicBezTo>
                      <a:pt x="58" y="25"/>
                      <a:pt x="59" y="24"/>
                      <a:pt x="58" y="23"/>
                    </a:cubicBezTo>
                    <a:cubicBezTo>
                      <a:pt x="58" y="22"/>
                      <a:pt x="57" y="22"/>
                      <a:pt x="57" y="21"/>
                    </a:cubicBezTo>
                    <a:cubicBezTo>
                      <a:pt x="56" y="19"/>
                      <a:pt x="57" y="19"/>
                      <a:pt x="55" y="19"/>
                    </a:cubicBezTo>
                    <a:cubicBezTo>
                      <a:pt x="54" y="18"/>
                      <a:pt x="54" y="18"/>
                      <a:pt x="53" y="18"/>
                    </a:cubicBezTo>
                    <a:cubicBezTo>
                      <a:pt x="51" y="18"/>
                      <a:pt x="50" y="17"/>
                      <a:pt x="48" y="18"/>
                    </a:cubicBezTo>
                    <a:cubicBezTo>
                      <a:pt x="47" y="18"/>
                      <a:pt x="45" y="19"/>
                      <a:pt x="45" y="21"/>
                    </a:cubicBezTo>
                    <a:cubicBezTo>
                      <a:pt x="44" y="21"/>
                      <a:pt x="43" y="19"/>
                      <a:pt x="44" y="18"/>
                    </a:cubicBezTo>
                    <a:cubicBezTo>
                      <a:pt x="44" y="18"/>
                      <a:pt x="45" y="18"/>
                      <a:pt x="45" y="18"/>
                    </a:cubicBezTo>
                    <a:cubicBezTo>
                      <a:pt x="46" y="17"/>
                      <a:pt x="47" y="16"/>
                      <a:pt x="48" y="16"/>
                    </a:cubicBezTo>
                    <a:cubicBezTo>
                      <a:pt x="50" y="14"/>
                      <a:pt x="51" y="13"/>
                      <a:pt x="53" y="12"/>
                    </a:cubicBezTo>
                    <a:cubicBezTo>
                      <a:pt x="55" y="12"/>
                      <a:pt x="56" y="11"/>
                      <a:pt x="57" y="11"/>
                    </a:cubicBezTo>
                    <a:cubicBezTo>
                      <a:pt x="57" y="11"/>
                      <a:pt x="58" y="10"/>
                      <a:pt x="57" y="10"/>
                    </a:cubicBezTo>
                    <a:cubicBezTo>
                      <a:pt x="57" y="9"/>
                      <a:pt x="57" y="9"/>
                      <a:pt x="56" y="9"/>
                    </a:cubicBezTo>
                    <a:cubicBezTo>
                      <a:pt x="55" y="9"/>
                      <a:pt x="55" y="9"/>
                      <a:pt x="54" y="9"/>
                    </a:cubicBezTo>
                    <a:cubicBezTo>
                      <a:pt x="54" y="9"/>
                      <a:pt x="54" y="10"/>
                      <a:pt x="53" y="8"/>
                    </a:cubicBezTo>
                    <a:cubicBezTo>
                      <a:pt x="52" y="7"/>
                      <a:pt x="53" y="8"/>
                      <a:pt x="54" y="8"/>
                    </a:cubicBezTo>
                    <a:cubicBezTo>
                      <a:pt x="54" y="8"/>
                      <a:pt x="54" y="7"/>
                      <a:pt x="55" y="7"/>
                    </a:cubicBezTo>
                    <a:cubicBezTo>
                      <a:pt x="57" y="8"/>
                      <a:pt x="60" y="6"/>
                      <a:pt x="60" y="4"/>
                    </a:cubicBezTo>
                    <a:cubicBezTo>
                      <a:pt x="59" y="4"/>
                      <a:pt x="57" y="1"/>
                      <a:pt x="56" y="1"/>
                    </a:cubicBezTo>
                    <a:cubicBezTo>
                      <a:pt x="55" y="2"/>
                      <a:pt x="53" y="1"/>
                      <a:pt x="52" y="1"/>
                    </a:cubicBezTo>
                    <a:cubicBezTo>
                      <a:pt x="51" y="1"/>
                      <a:pt x="51" y="0"/>
                      <a:pt x="50" y="1"/>
                    </a:cubicBezTo>
                    <a:cubicBezTo>
                      <a:pt x="50" y="1"/>
                      <a:pt x="50" y="1"/>
                      <a:pt x="49" y="2"/>
                    </a:cubicBezTo>
                    <a:cubicBezTo>
                      <a:pt x="48" y="3"/>
                      <a:pt x="46" y="3"/>
                      <a:pt x="44" y="3"/>
                    </a:cubicBezTo>
                    <a:cubicBezTo>
                      <a:pt x="43" y="3"/>
                      <a:pt x="42" y="4"/>
                      <a:pt x="41" y="4"/>
                    </a:cubicBezTo>
                    <a:cubicBezTo>
                      <a:pt x="40" y="4"/>
                      <a:pt x="39" y="3"/>
                      <a:pt x="38" y="4"/>
                    </a:cubicBezTo>
                    <a:cubicBezTo>
                      <a:pt x="37" y="4"/>
                      <a:pt x="37" y="4"/>
                      <a:pt x="37" y="4"/>
                    </a:cubicBezTo>
                    <a:cubicBezTo>
                      <a:pt x="36" y="4"/>
                      <a:pt x="35" y="3"/>
                      <a:pt x="34" y="2"/>
                    </a:cubicBezTo>
                    <a:cubicBezTo>
                      <a:pt x="33" y="2"/>
                      <a:pt x="33" y="2"/>
                      <a:pt x="33" y="2"/>
                    </a:cubicBezTo>
                    <a:cubicBezTo>
                      <a:pt x="32" y="2"/>
                      <a:pt x="31" y="0"/>
                      <a:pt x="30" y="0"/>
                    </a:cubicBezTo>
                    <a:cubicBezTo>
                      <a:pt x="29" y="0"/>
                      <a:pt x="28" y="0"/>
                      <a:pt x="28" y="0"/>
                    </a:cubicBezTo>
                    <a:cubicBezTo>
                      <a:pt x="27" y="0"/>
                      <a:pt x="25" y="2"/>
                      <a:pt x="26" y="2"/>
                    </a:cubicBezTo>
                    <a:cubicBezTo>
                      <a:pt x="27" y="2"/>
                      <a:pt x="28" y="2"/>
                      <a:pt x="29" y="1"/>
                    </a:cubicBezTo>
                    <a:cubicBezTo>
                      <a:pt x="29" y="1"/>
                      <a:pt x="30" y="0"/>
                      <a:pt x="30" y="1"/>
                    </a:cubicBezTo>
                    <a:cubicBezTo>
                      <a:pt x="30" y="2"/>
                      <a:pt x="29" y="2"/>
                      <a:pt x="29" y="2"/>
                    </a:cubicBezTo>
                    <a:cubicBezTo>
                      <a:pt x="28" y="3"/>
                      <a:pt x="28" y="3"/>
                      <a:pt x="27" y="3"/>
                    </a:cubicBezTo>
                    <a:cubicBezTo>
                      <a:pt x="26" y="2"/>
                      <a:pt x="25" y="2"/>
                      <a:pt x="24" y="2"/>
                    </a:cubicBezTo>
                    <a:cubicBezTo>
                      <a:pt x="22" y="1"/>
                      <a:pt x="22" y="2"/>
                      <a:pt x="21" y="2"/>
                    </a:cubicBezTo>
                    <a:cubicBezTo>
                      <a:pt x="20" y="2"/>
                      <a:pt x="19" y="2"/>
                      <a:pt x="18" y="3"/>
                    </a:cubicBezTo>
                    <a:cubicBezTo>
                      <a:pt x="18" y="3"/>
                      <a:pt x="18" y="4"/>
                      <a:pt x="18" y="4"/>
                    </a:cubicBezTo>
                    <a:cubicBezTo>
                      <a:pt x="18" y="4"/>
                      <a:pt x="17" y="4"/>
                      <a:pt x="18" y="5"/>
                    </a:cubicBezTo>
                    <a:cubicBezTo>
                      <a:pt x="18" y="5"/>
                      <a:pt x="18" y="5"/>
                      <a:pt x="18" y="5"/>
                    </a:cubicBezTo>
                    <a:cubicBezTo>
                      <a:pt x="19" y="6"/>
                      <a:pt x="20" y="6"/>
                      <a:pt x="21" y="6"/>
                    </a:cubicBezTo>
                    <a:cubicBezTo>
                      <a:pt x="24" y="7"/>
                      <a:pt x="22" y="8"/>
                      <a:pt x="23" y="9"/>
                    </a:cubicBezTo>
                    <a:cubicBezTo>
                      <a:pt x="25" y="11"/>
                      <a:pt x="24" y="10"/>
                      <a:pt x="22" y="10"/>
                    </a:cubicBezTo>
                    <a:cubicBezTo>
                      <a:pt x="21" y="9"/>
                      <a:pt x="20" y="7"/>
                      <a:pt x="19" y="7"/>
                    </a:cubicBezTo>
                    <a:cubicBezTo>
                      <a:pt x="19" y="7"/>
                      <a:pt x="17" y="6"/>
                      <a:pt x="17" y="7"/>
                    </a:cubicBezTo>
                    <a:cubicBezTo>
                      <a:pt x="16" y="7"/>
                      <a:pt x="16" y="7"/>
                      <a:pt x="16" y="7"/>
                    </a:cubicBezTo>
                    <a:cubicBezTo>
                      <a:pt x="15" y="7"/>
                      <a:pt x="15" y="7"/>
                      <a:pt x="14" y="8"/>
                    </a:cubicBezTo>
                    <a:cubicBezTo>
                      <a:pt x="13" y="8"/>
                      <a:pt x="12" y="9"/>
                      <a:pt x="13" y="10"/>
                    </a:cubicBezTo>
                    <a:cubicBezTo>
                      <a:pt x="14" y="11"/>
                      <a:pt x="16" y="11"/>
                      <a:pt x="17" y="12"/>
                    </a:cubicBezTo>
                    <a:cubicBezTo>
                      <a:pt x="19" y="13"/>
                      <a:pt x="20" y="13"/>
                      <a:pt x="22" y="13"/>
                    </a:cubicBezTo>
                    <a:cubicBezTo>
                      <a:pt x="23" y="13"/>
                      <a:pt x="24" y="12"/>
                      <a:pt x="24" y="12"/>
                    </a:cubicBezTo>
                    <a:cubicBezTo>
                      <a:pt x="24" y="10"/>
                      <a:pt x="25" y="11"/>
                      <a:pt x="26" y="11"/>
                    </a:cubicBezTo>
                    <a:cubicBezTo>
                      <a:pt x="26" y="12"/>
                      <a:pt x="27" y="13"/>
                      <a:pt x="28" y="13"/>
                    </a:cubicBezTo>
                    <a:cubicBezTo>
                      <a:pt x="29" y="14"/>
                      <a:pt x="30" y="14"/>
                      <a:pt x="31" y="14"/>
                    </a:cubicBezTo>
                    <a:cubicBezTo>
                      <a:pt x="29" y="15"/>
                      <a:pt x="27" y="13"/>
                      <a:pt x="26" y="13"/>
                    </a:cubicBezTo>
                    <a:cubicBezTo>
                      <a:pt x="25" y="13"/>
                      <a:pt x="24" y="13"/>
                      <a:pt x="24" y="14"/>
                    </a:cubicBezTo>
                    <a:cubicBezTo>
                      <a:pt x="24" y="14"/>
                      <a:pt x="24" y="14"/>
                      <a:pt x="24" y="14"/>
                    </a:cubicBezTo>
                    <a:cubicBezTo>
                      <a:pt x="23" y="15"/>
                      <a:pt x="23" y="15"/>
                      <a:pt x="23" y="15"/>
                    </a:cubicBezTo>
                    <a:cubicBezTo>
                      <a:pt x="22" y="16"/>
                      <a:pt x="23" y="17"/>
                      <a:pt x="24" y="17"/>
                    </a:cubicBezTo>
                    <a:cubicBezTo>
                      <a:pt x="25" y="17"/>
                      <a:pt x="25" y="15"/>
                      <a:pt x="26" y="16"/>
                    </a:cubicBezTo>
                    <a:cubicBezTo>
                      <a:pt x="26" y="16"/>
                      <a:pt x="28" y="19"/>
                      <a:pt x="27" y="18"/>
                    </a:cubicBezTo>
                    <a:cubicBezTo>
                      <a:pt x="28" y="19"/>
                      <a:pt x="29" y="20"/>
                      <a:pt x="27" y="21"/>
                    </a:cubicBezTo>
                    <a:cubicBezTo>
                      <a:pt x="27" y="21"/>
                      <a:pt x="26" y="21"/>
                      <a:pt x="26" y="21"/>
                    </a:cubicBezTo>
                    <a:cubicBezTo>
                      <a:pt x="25" y="20"/>
                      <a:pt x="26" y="20"/>
                      <a:pt x="26" y="20"/>
                    </a:cubicBezTo>
                    <a:cubicBezTo>
                      <a:pt x="25" y="19"/>
                      <a:pt x="24" y="19"/>
                      <a:pt x="25" y="17"/>
                    </a:cubicBezTo>
                    <a:cubicBezTo>
                      <a:pt x="24" y="18"/>
                      <a:pt x="24" y="18"/>
                      <a:pt x="24" y="19"/>
                    </a:cubicBezTo>
                    <a:cubicBezTo>
                      <a:pt x="24" y="20"/>
                      <a:pt x="24" y="20"/>
                      <a:pt x="24" y="20"/>
                    </a:cubicBezTo>
                    <a:cubicBezTo>
                      <a:pt x="25" y="21"/>
                      <a:pt x="25" y="21"/>
                      <a:pt x="25" y="22"/>
                    </a:cubicBezTo>
                    <a:cubicBezTo>
                      <a:pt x="25" y="24"/>
                      <a:pt x="22" y="24"/>
                      <a:pt x="20" y="23"/>
                    </a:cubicBezTo>
                    <a:cubicBezTo>
                      <a:pt x="19" y="23"/>
                      <a:pt x="20" y="24"/>
                      <a:pt x="20" y="24"/>
                    </a:cubicBezTo>
                    <a:cubicBezTo>
                      <a:pt x="20" y="24"/>
                      <a:pt x="19" y="24"/>
                      <a:pt x="19" y="24"/>
                    </a:cubicBezTo>
                    <a:cubicBezTo>
                      <a:pt x="18" y="24"/>
                      <a:pt x="17" y="23"/>
                      <a:pt x="16" y="22"/>
                    </a:cubicBezTo>
                    <a:cubicBezTo>
                      <a:pt x="15" y="21"/>
                      <a:pt x="13" y="20"/>
                      <a:pt x="12" y="19"/>
                    </a:cubicBezTo>
                    <a:cubicBezTo>
                      <a:pt x="11" y="19"/>
                      <a:pt x="10" y="17"/>
                      <a:pt x="9" y="17"/>
                    </a:cubicBezTo>
                    <a:cubicBezTo>
                      <a:pt x="8" y="17"/>
                      <a:pt x="8" y="17"/>
                      <a:pt x="8" y="17"/>
                    </a:cubicBezTo>
                    <a:cubicBezTo>
                      <a:pt x="8" y="17"/>
                      <a:pt x="8" y="17"/>
                      <a:pt x="8" y="17"/>
                    </a:cubicBezTo>
                    <a:cubicBezTo>
                      <a:pt x="7" y="17"/>
                      <a:pt x="7" y="17"/>
                      <a:pt x="6" y="17"/>
                    </a:cubicBezTo>
                    <a:cubicBezTo>
                      <a:pt x="5" y="17"/>
                      <a:pt x="5" y="17"/>
                      <a:pt x="4" y="17"/>
                    </a:cubicBezTo>
                    <a:cubicBezTo>
                      <a:pt x="4" y="17"/>
                      <a:pt x="2" y="18"/>
                      <a:pt x="2" y="19"/>
                    </a:cubicBezTo>
                    <a:cubicBezTo>
                      <a:pt x="2" y="20"/>
                      <a:pt x="2" y="20"/>
                      <a:pt x="1" y="21"/>
                    </a:cubicBezTo>
                    <a:cubicBezTo>
                      <a:pt x="1" y="22"/>
                      <a:pt x="0" y="23"/>
                      <a:pt x="1" y="24"/>
                    </a:cubicBezTo>
                    <a:cubicBezTo>
                      <a:pt x="2" y="26"/>
                      <a:pt x="6" y="28"/>
                      <a:pt x="8" y="28"/>
                    </a:cubicBezTo>
                    <a:cubicBezTo>
                      <a:pt x="8" y="28"/>
                      <a:pt x="8" y="28"/>
                      <a:pt x="8" y="28"/>
                    </a:cubicBezTo>
                    <a:cubicBezTo>
                      <a:pt x="8" y="29"/>
                      <a:pt x="9" y="29"/>
                      <a:pt x="9" y="30"/>
                    </a:cubicBezTo>
                    <a:cubicBezTo>
                      <a:pt x="9" y="31"/>
                      <a:pt x="10" y="32"/>
                      <a:pt x="11" y="32"/>
                    </a:cubicBezTo>
                    <a:cubicBezTo>
                      <a:pt x="12" y="32"/>
                      <a:pt x="12" y="32"/>
                      <a:pt x="12" y="32"/>
                    </a:cubicBezTo>
                    <a:cubicBezTo>
                      <a:pt x="13" y="32"/>
                      <a:pt x="13" y="33"/>
                      <a:pt x="13" y="33"/>
                    </a:cubicBezTo>
                    <a:cubicBezTo>
                      <a:pt x="14" y="33"/>
                      <a:pt x="15" y="31"/>
                      <a:pt x="16" y="31"/>
                    </a:cubicBezTo>
                    <a:cubicBezTo>
                      <a:pt x="17" y="31"/>
                      <a:pt x="17" y="33"/>
                      <a:pt x="18" y="33"/>
                    </a:cubicBezTo>
                    <a:cubicBezTo>
                      <a:pt x="19" y="34"/>
                      <a:pt x="19" y="34"/>
                      <a:pt x="20" y="34"/>
                    </a:cubicBezTo>
                    <a:cubicBezTo>
                      <a:pt x="22" y="33"/>
                      <a:pt x="23" y="36"/>
                      <a:pt x="24" y="37"/>
                    </a:cubicBezTo>
                    <a:cubicBezTo>
                      <a:pt x="25" y="38"/>
                      <a:pt x="27" y="40"/>
                      <a:pt x="29" y="40"/>
                    </a:cubicBezTo>
                    <a:cubicBezTo>
                      <a:pt x="29" y="41"/>
                      <a:pt x="30" y="40"/>
                      <a:pt x="30" y="41"/>
                    </a:cubicBezTo>
                    <a:cubicBezTo>
                      <a:pt x="30" y="41"/>
                      <a:pt x="31" y="42"/>
                      <a:pt x="31" y="42"/>
                    </a:cubicBezTo>
                    <a:cubicBezTo>
                      <a:pt x="32" y="43"/>
                      <a:pt x="32" y="43"/>
                      <a:pt x="32" y="44"/>
                    </a:cubicBezTo>
                    <a:cubicBezTo>
                      <a:pt x="33" y="45"/>
                      <a:pt x="33" y="45"/>
                      <a:pt x="33" y="45"/>
                    </a:cubicBezTo>
                    <a:cubicBezTo>
                      <a:pt x="34" y="45"/>
                      <a:pt x="34" y="45"/>
                      <a:pt x="34" y="45"/>
                    </a:cubicBezTo>
                    <a:cubicBezTo>
                      <a:pt x="35" y="46"/>
                      <a:pt x="34" y="46"/>
                      <a:pt x="35" y="46"/>
                    </a:cubicBezTo>
                    <a:cubicBezTo>
                      <a:pt x="35" y="47"/>
                      <a:pt x="35" y="48"/>
                      <a:pt x="36" y="49"/>
                    </a:cubicBezTo>
                    <a:cubicBezTo>
                      <a:pt x="37" y="50"/>
                      <a:pt x="37" y="50"/>
                      <a:pt x="38" y="50"/>
                    </a:cubicBezTo>
                    <a:cubicBezTo>
                      <a:pt x="39" y="50"/>
                      <a:pt x="39" y="49"/>
                      <a:pt x="39" y="50"/>
                    </a:cubicBezTo>
                    <a:cubicBezTo>
                      <a:pt x="40" y="50"/>
                      <a:pt x="40" y="51"/>
                      <a:pt x="41" y="51"/>
                    </a:cubicBezTo>
                    <a:cubicBezTo>
                      <a:pt x="42" y="52"/>
                      <a:pt x="44" y="50"/>
                      <a:pt x="45" y="49"/>
                    </a:cubicBezTo>
                    <a:cubicBezTo>
                      <a:pt x="46" y="48"/>
                      <a:pt x="47" y="48"/>
                      <a:pt x="48" y="47"/>
                    </a:cubicBezTo>
                    <a:cubicBezTo>
                      <a:pt x="47" y="47"/>
                      <a:pt x="46" y="45"/>
                      <a:pt x="46" y="44"/>
                    </a:cubicBezTo>
                    <a:cubicBezTo>
                      <a:pt x="46" y="44"/>
                      <a:pt x="46" y="43"/>
                      <a:pt x="46" y="43"/>
                    </a:cubicBezTo>
                    <a:cubicBezTo>
                      <a:pt x="46" y="43"/>
                      <a:pt x="46" y="43"/>
                      <a:pt x="46" y="43"/>
                    </a:cubicBezTo>
                    <a:cubicBezTo>
                      <a:pt x="46" y="43"/>
                      <a:pt x="46" y="42"/>
                      <a:pt x="46" y="41"/>
                    </a:cubicBezTo>
                    <a:cubicBezTo>
                      <a:pt x="46" y="41"/>
                      <a:pt x="46" y="41"/>
                      <a:pt x="46" y="41"/>
                    </a:cubicBezTo>
                    <a:cubicBezTo>
                      <a:pt x="46" y="41"/>
                      <a:pt x="46" y="41"/>
                      <a:pt x="46" y="40"/>
                    </a:cubicBezTo>
                    <a:cubicBezTo>
                      <a:pt x="46" y="41"/>
                      <a:pt x="46" y="41"/>
                      <a:pt x="46" y="41"/>
                    </a:cubicBezTo>
                    <a:cubicBezTo>
                      <a:pt x="46" y="41"/>
                      <a:pt x="46" y="41"/>
                      <a:pt x="46" y="40"/>
                    </a:cubicBezTo>
                    <a:cubicBezTo>
                      <a:pt x="46" y="42"/>
                      <a:pt x="45" y="43"/>
                      <a:pt x="47" y="44"/>
                    </a:cubicBezTo>
                    <a:cubicBezTo>
                      <a:pt x="47" y="45"/>
                      <a:pt x="48" y="44"/>
                      <a:pt x="49" y="44"/>
                    </a:cubicBezTo>
                    <a:cubicBezTo>
                      <a:pt x="49" y="44"/>
                      <a:pt x="50" y="44"/>
                      <a:pt x="51" y="44"/>
                    </a:cubicBezTo>
                    <a:cubicBezTo>
                      <a:pt x="52" y="44"/>
                      <a:pt x="54" y="43"/>
                      <a:pt x="55" y="43"/>
                    </a:cubicBezTo>
                    <a:cubicBezTo>
                      <a:pt x="58" y="42"/>
                      <a:pt x="60" y="41"/>
                      <a:pt x="63" y="40"/>
                    </a:cubicBezTo>
                    <a:cubicBezTo>
                      <a:pt x="64" y="39"/>
                      <a:pt x="64" y="39"/>
                      <a:pt x="64" y="38"/>
                    </a:cubicBezTo>
                    <a:cubicBezTo>
                      <a:pt x="64" y="37"/>
                      <a:pt x="64" y="36"/>
                      <a:pt x="63" y="37"/>
                    </a:cubicBezTo>
                    <a:cubicBezTo>
                      <a:pt x="63" y="37"/>
                      <a:pt x="64" y="36"/>
                      <a:pt x="64" y="35"/>
                    </a:cubicBezTo>
                    <a:cubicBezTo>
                      <a:pt x="64" y="35"/>
                      <a:pt x="64" y="34"/>
                      <a:pt x="64" y="34"/>
                    </a:cubicBezTo>
                    <a:cubicBezTo>
                      <a:pt x="64" y="33"/>
                      <a:pt x="64" y="33"/>
                      <a:pt x="63" y="32"/>
                    </a:cubicBezTo>
                    <a:cubicBezTo>
                      <a:pt x="63" y="32"/>
                      <a:pt x="61" y="32"/>
                      <a:pt x="61" y="31"/>
                    </a:cubicBezTo>
                    <a:cubicBezTo>
                      <a:pt x="62" y="32"/>
                      <a:pt x="63" y="31"/>
                      <a:pt x="65" y="30"/>
                    </a:cubicBezTo>
                    <a:cubicBezTo>
                      <a:pt x="66" y="30"/>
                      <a:pt x="66" y="30"/>
                      <a:pt x="6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5" name="Freeform 2062">
                <a:extLst>
                  <a:ext uri="{FF2B5EF4-FFF2-40B4-BE49-F238E27FC236}">
                    <a16:creationId xmlns:a16="http://schemas.microsoft.com/office/drawing/2014/main" id="{0E3CF3BD-C1CF-4063-8204-D183B0A0489B}"/>
                  </a:ext>
                </a:extLst>
              </p:cNvPr>
              <p:cNvSpPr>
                <a:spLocks noEditPoints="1"/>
              </p:cNvSpPr>
              <p:nvPr/>
            </p:nvSpPr>
            <p:spPr bwMode="auto">
              <a:xfrm>
                <a:off x="1443" y="881"/>
                <a:ext cx="170" cy="111"/>
              </a:xfrm>
              <a:custGeom>
                <a:avLst/>
                <a:gdLst>
                  <a:gd name="T0" fmla="*/ 64 w 72"/>
                  <a:gd name="T1" fmla="*/ 30 h 47"/>
                  <a:gd name="T2" fmla="*/ 59 w 72"/>
                  <a:gd name="T3" fmla="*/ 32 h 47"/>
                  <a:gd name="T4" fmla="*/ 57 w 72"/>
                  <a:gd name="T5" fmla="*/ 30 h 47"/>
                  <a:gd name="T6" fmla="*/ 56 w 72"/>
                  <a:gd name="T7" fmla="*/ 26 h 47"/>
                  <a:gd name="T8" fmla="*/ 47 w 72"/>
                  <a:gd name="T9" fmla="*/ 19 h 47"/>
                  <a:gd name="T10" fmla="*/ 35 w 72"/>
                  <a:gd name="T11" fmla="*/ 13 h 47"/>
                  <a:gd name="T12" fmla="*/ 27 w 72"/>
                  <a:gd name="T13" fmla="*/ 8 h 47"/>
                  <a:gd name="T14" fmla="*/ 23 w 72"/>
                  <a:gd name="T15" fmla="*/ 10 h 47"/>
                  <a:gd name="T16" fmla="*/ 20 w 72"/>
                  <a:gd name="T17" fmla="*/ 7 h 47"/>
                  <a:gd name="T18" fmla="*/ 20 w 72"/>
                  <a:gd name="T19" fmla="*/ 2 h 47"/>
                  <a:gd name="T20" fmla="*/ 17 w 72"/>
                  <a:gd name="T21" fmla="*/ 0 h 47"/>
                  <a:gd name="T22" fmla="*/ 12 w 72"/>
                  <a:gd name="T23" fmla="*/ 6 h 47"/>
                  <a:gd name="T24" fmla="*/ 11 w 72"/>
                  <a:gd name="T25" fmla="*/ 9 h 47"/>
                  <a:gd name="T26" fmla="*/ 11 w 72"/>
                  <a:gd name="T27" fmla="*/ 11 h 47"/>
                  <a:gd name="T28" fmla="*/ 11 w 72"/>
                  <a:gd name="T29" fmla="*/ 14 h 47"/>
                  <a:gd name="T30" fmla="*/ 11 w 72"/>
                  <a:gd name="T31" fmla="*/ 17 h 47"/>
                  <a:gd name="T32" fmla="*/ 11 w 72"/>
                  <a:gd name="T33" fmla="*/ 19 h 47"/>
                  <a:gd name="T34" fmla="*/ 9 w 72"/>
                  <a:gd name="T35" fmla="*/ 22 h 47"/>
                  <a:gd name="T36" fmla="*/ 9 w 72"/>
                  <a:gd name="T37" fmla="*/ 25 h 47"/>
                  <a:gd name="T38" fmla="*/ 9 w 72"/>
                  <a:gd name="T39" fmla="*/ 27 h 47"/>
                  <a:gd name="T40" fmla="*/ 10 w 72"/>
                  <a:gd name="T41" fmla="*/ 30 h 47"/>
                  <a:gd name="T42" fmla="*/ 2 w 72"/>
                  <a:gd name="T43" fmla="*/ 35 h 47"/>
                  <a:gd name="T44" fmla="*/ 10 w 72"/>
                  <a:gd name="T45" fmla="*/ 37 h 47"/>
                  <a:gd name="T46" fmla="*/ 15 w 72"/>
                  <a:gd name="T47" fmla="*/ 37 h 47"/>
                  <a:gd name="T48" fmla="*/ 17 w 72"/>
                  <a:gd name="T49" fmla="*/ 38 h 47"/>
                  <a:gd name="T50" fmla="*/ 16 w 72"/>
                  <a:gd name="T51" fmla="*/ 42 h 47"/>
                  <a:gd name="T52" fmla="*/ 25 w 72"/>
                  <a:gd name="T53" fmla="*/ 44 h 47"/>
                  <a:gd name="T54" fmla="*/ 29 w 72"/>
                  <a:gd name="T55" fmla="*/ 40 h 47"/>
                  <a:gd name="T56" fmla="*/ 34 w 72"/>
                  <a:gd name="T57" fmla="*/ 37 h 47"/>
                  <a:gd name="T58" fmla="*/ 37 w 72"/>
                  <a:gd name="T59" fmla="*/ 34 h 47"/>
                  <a:gd name="T60" fmla="*/ 43 w 72"/>
                  <a:gd name="T61" fmla="*/ 29 h 47"/>
                  <a:gd name="T62" fmla="*/ 50 w 72"/>
                  <a:gd name="T63" fmla="*/ 34 h 47"/>
                  <a:gd name="T64" fmla="*/ 54 w 72"/>
                  <a:gd name="T65" fmla="*/ 38 h 47"/>
                  <a:gd name="T66" fmla="*/ 62 w 72"/>
                  <a:gd name="T67" fmla="*/ 41 h 47"/>
                  <a:gd name="T68" fmla="*/ 72 w 72"/>
                  <a:gd name="T69" fmla="*/ 36 h 47"/>
                  <a:gd name="T70" fmla="*/ 42 w 72"/>
                  <a:gd name="T71" fmla="*/ 22 h 47"/>
                  <a:gd name="T72" fmla="*/ 42 w 72"/>
                  <a:gd name="T73"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47">
                    <a:moveTo>
                      <a:pt x="67" y="34"/>
                    </a:moveTo>
                    <a:cubicBezTo>
                      <a:pt x="66" y="33"/>
                      <a:pt x="65" y="31"/>
                      <a:pt x="64" y="30"/>
                    </a:cubicBezTo>
                    <a:cubicBezTo>
                      <a:pt x="65" y="33"/>
                      <a:pt x="60" y="31"/>
                      <a:pt x="59" y="31"/>
                    </a:cubicBezTo>
                    <a:cubicBezTo>
                      <a:pt x="59" y="31"/>
                      <a:pt x="60" y="32"/>
                      <a:pt x="59" y="32"/>
                    </a:cubicBezTo>
                    <a:cubicBezTo>
                      <a:pt x="57" y="32"/>
                      <a:pt x="55" y="32"/>
                      <a:pt x="53" y="32"/>
                    </a:cubicBezTo>
                    <a:cubicBezTo>
                      <a:pt x="54" y="30"/>
                      <a:pt x="57" y="32"/>
                      <a:pt x="57" y="30"/>
                    </a:cubicBezTo>
                    <a:cubicBezTo>
                      <a:pt x="58" y="29"/>
                      <a:pt x="56" y="29"/>
                      <a:pt x="56" y="28"/>
                    </a:cubicBezTo>
                    <a:cubicBezTo>
                      <a:pt x="56" y="27"/>
                      <a:pt x="56" y="27"/>
                      <a:pt x="56" y="26"/>
                    </a:cubicBezTo>
                    <a:cubicBezTo>
                      <a:pt x="55" y="24"/>
                      <a:pt x="53" y="22"/>
                      <a:pt x="52" y="21"/>
                    </a:cubicBezTo>
                    <a:cubicBezTo>
                      <a:pt x="50" y="20"/>
                      <a:pt x="49" y="19"/>
                      <a:pt x="47" y="19"/>
                    </a:cubicBezTo>
                    <a:cubicBezTo>
                      <a:pt x="45" y="17"/>
                      <a:pt x="42" y="15"/>
                      <a:pt x="39" y="14"/>
                    </a:cubicBezTo>
                    <a:cubicBezTo>
                      <a:pt x="38" y="13"/>
                      <a:pt x="36" y="13"/>
                      <a:pt x="35" y="13"/>
                    </a:cubicBezTo>
                    <a:cubicBezTo>
                      <a:pt x="33" y="13"/>
                      <a:pt x="31" y="12"/>
                      <a:pt x="30" y="10"/>
                    </a:cubicBezTo>
                    <a:cubicBezTo>
                      <a:pt x="29" y="9"/>
                      <a:pt x="28" y="7"/>
                      <a:pt x="27" y="8"/>
                    </a:cubicBezTo>
                    <a:cubicBezTo>
                      <a:pt x="25" y="10"/>
                      <a:pt x="26" y="12"/>
                      <a:pt x="23" y="12"/>
                    </a:cubicBezTo>
                    <a:cubicBezTo>
                      <a:pt x="24" y="11"/>
                      <a:pt x="23" y="11"/>
                      <a:pt x="23" y="10"/>
                    </a:cubicBezTo>
                    <a:cubicBezTo>
                      <a:pt x="22" y="10"/>
                      <a:pt x="23" y="10"/>
                      <a:pt x="23" y="9"/>
                    </a:cubicBezTo>
                    <a:cubicBezTo>
                      <a:pt x="22" y="8"/>
                      <a:pt x="20" y="8"/>
                      <a:pt x="20" y="7"/>
                    </a:cubicBezTo>
                    <a:cubicBezTo>
                      <a:pt x="19" y="6"/>
                      <a:pt x="21" y="7"/>
                      <a:pt x="22" y="6"/>
                    </a:cubicBezTo>
                    <a:cubicBezTo>
                      <a:pt x="23" y="5"/>
                      <a:pt x="21" y="3"/>
                      <a:pt x="20" y="2"/>
                    </a:cubicBezTo>
                    <a:cubicBezTo>
                      <a:pt x="19" y="2"/>
                      <a:pt x="18" y="3"/>
                      <a:pt x="17" y="3"/>
                    </a:cubicBezTo>
                    <a:cubicBezTo>
                      <a:pt x="17" y="2"/>
                      <a:pt x="18" y="1"/>
                      <a:pt x="17" y="0"/>
                    </a:cubicBezTo>
                    <a:cubicBezTo>
                      <a:pt x="17" y="0"/>
                      <a:pt x="15" y="1"/>
                      <a:pt x="15" y="2"/>
                    </a:cubicBezTo>
                    <a:cubicBezTo>
                      <a:pt x="13" y="3"/>
                      <a:pt x="13" y="4"/>
                      <a:pt x="12" y="6"/>
                    </a:cubicBezTo>
                    <a:cubicBezTo>
                      <a:pt x="12" y="7"/>
                      <a:pt x="11" y="7"/>
                      <a:pt x="11" y="8"/>
                    </a:cubicBezTo>
                    <a:cubicBezTo>
                      <a:pt x="11" y="8"/>
                      <a:pt x="11" y="9"/>
                      <a:pt x="11" y="9"/>
                    </a:cubicBezTo>
                    <a:cubicBezTo>
                      <a:pt x="11" y="10"/>
                      <a:pt x="11" y="10"/>
                      <a:pt x="11" y="10"/>
                    </a:cubicBezTo>
                    <a:cubicBezTo>
                      <a:pt x="11" y="10"/>
                      <a:pt x="11" y="11"/>
                      <a:pt x="11" y="11"/>
                    </a:cubicBezTo>
                    <a:cubicBezTo>
                      <a:pt x="11" y="12"/>
                      <a:pt x="11" y="12"/>
                      <a:pt x="11" y="12"/>
                    </a:cubicBezTo>
                    <a:cubicBezTo>
                      <a:pt x="11" y="13"/>
                      <a:pt x="11" y="14"/>
                      <a:pt x="11" y="14"/>
                    </a:cubicBezTo>
                    <a:cubicBezTo>
                      <a:pt x="11" y="15"/>
                      <a:pt x="10" y="15"/>
                      <a:pt x="10" y="16"/>
                    </a:cubicBezTo>
                    <a:cubicBezTo>
                      <a:pt x="10" y="17"/>
                      <a:pt x="11" y="17"/>
                      <a:pt x="11" y="17"/>
                    </a:cubicBezTo>
                    <a:cubicBezTo>
                      <a:pt x="11" y="18"/>
                      <a:pt x="10" y="18"/>
                      <a:pt x="10" y="18"/>
                    </a:cubicBezTo>
                    <a:cubicBezTo>
                      <a:pt x="10" y="18"/>
                      <a:pt x="11" y="19"/>
                      <a:pt x="11" y="19"/>
                    </a:cubicBezTo>
                    <a:cubicBezTo>
                      <a:pt x="11" y="19"/>
                      <a:pt x="10" y="20"/>
                      <a:pt x="10" y="20"/>
                    </a:cubicBezTo>
                    <a:cubicBezTo>
                      <a:pt x="9" y="20"/>
                      <a:pt x="9" y="21"/>
                      <a:pt x="9" y="22"/>
                    </a:cubicBezTo>
                    <a:cubicBezTo>
                      <a:pt x="8" y="23"/>
                      <a:pt x="9" y="23"/>
                      <a:pt x="9" y="24"/>
                    </a:cubicBezTo>
                    <a:cubicBezTo>
                      <a:pt x="9" y="24"/>
                      <a:pt x="9" y="25"/>
                      <a:pt x="9" y="25"/>
                    </a:cubicBezTo>
                    <a:cubicBezTo>
                      <a:pt x="9" y="25"/>
                      <a:pt x="9" y="25"/>
                      <a:pt x="9" y="26"/>
                    </a:cubicBezTo>
                    <a:cubicBezTo>
                      <a:pt x="9" y="26"/>
                      <a:pt x="9" y="26"/>
                      <a:pt x="9" y="27"/>
                    </a:cubicBezTo>
                    <a:cubicBezTo>
                      <a:pt x="9" y="27"/>
                      <a:pt x="9" y="28"/>
                      <a:pt x="9" y="28"/>
                    </a:cubicBezTo>
                    <a:cubicBezTo>
                      <a:pt x="9" y="29"/>
                      <a:pt x="10" y="29"/>
                      <a:pt x="10" y="30"/>
                    </a:cubicBezTo>
                    <a:cubicBezTo>
                      <a:pt x="11" y="31"/>
                      <a:pt x="8" y="32"/>
                      <a:pt x="7" y="32"/>
                    </a:cubicBezTo>
                    <a:cubicBezTo>
                      <a:pt x="5" y="33"/>
                      <a:pt x="3" y="33"/>
                      <a:pt x="2" y="35"/>
                    </a:cubicBezTo>
                    <a:cubicBezTo>
                      <a:pt x="1" y="36"/>
                      <a:pt x="0" y="37"/>
                      <a:pt x="0" y="39"/>
                    </a:cubicBezTo>
                    <a:cubicBezTo>
                      <a:pt x="3" y="38"/>
                      <a:pt x="6" y="38"/>
                      <a:pt x="10" y="37"/>
                    </a:cubicBezTo>
                    <a:cubicBezTo>
                      <a:pt x="11" y="37"/>
                      <a:pt x="13" y="37"/>
                      <a:pt x="15" y="36"/>
                    </a:cubicBezTo>
                    <a:cubicBezTo>
                      <a:pt x="16" y="36"/>
                      <a:pt x="15" y="36"/>
                      <a:pt x="15" y="37"/>
                    </a:cubicBezTo>
                    <a:cubicBezTo>
                      <a:pt x="16" y="37"/>
                      <a:pt x="15" y="37"/>
                      <a:pt x="16" y="37"/>
                    </a:cubicBezTo>
                    <a:cubicBezTo>
                      <a:pt x="16" y="38"/>
                      <a:pt x="17" y="38"/>
                      <a:pt x="17" y="38"/>
                    </a:cubicBezTo>
                    <a:cubicBezTo>
                      <a:pt x="17" y="39"/>
                      <a:pt x="17" y="40"/>
                      <a:pt x="17" y="40"/>
                    </a:cubicBezTo>
                    <a:cubicBezTo>
                      <a:pt x="16" y="41"/>
                      <a:pt x="16" y="42"/>
                      <a:pt x="16" y="42"/>
                    </a:cubicBezTo>
                    <a:cubicBezTo>
                      <a:pt x="16" y="44"/>
                      <a:pt x="18" y="46"/>
                      <a:pt x="20" y="46"/>
                    </a:cubicBezTo>
                    <a:cubicBezTo>
                      <a:pt x="21" y="47"/>
                      <a:pt x="24" y="45"/>
                      <a:pt x="25" y="44"/>
                    </a:cubicBezTo>
                    <a:cubicBezTo>
                      <a:pt x="27" y="44"/>
                      <a:pt x="28" y="43"/>
                      <a:pt x="28" y="42"/>
                    </a:cubicBezTo>
                    <a:cubicBezTo>
                      <a:pt x="29" y="41"/>
                      <a:pt x="28" y="40"/>
                      <a:pt x="29" y="40"/>
                    </a:cubicBezTo>
                    <a:cubicBezTo>
                      <a:pt x="30" y="39"/>
                      <a:pt x="31" y="39"/>
                      <a:pt x="32" y="38"/>
                    </a:cubicBezTo>
                    <a:cubicBezTo>
                      <a:pt x="33" y="38"/>
                      <a:pt x="33" y="37"/>
                      <a:pt x="34" y="37"/>
                    </a:cubicBezTo>
                    <a:cubicBezTo>
                      <a:pt x="35" y="37"/>
                      <a:pt x="36" y="37"/>
                      <a:pt x="37" y="36"/>
                    </a:cubicBezTo>
                    <a:cubicBezTo>
                      <a:pt x="37" y="35"/>
                      <a:pt x="37" y="35"/>
                      <a:pt x="37" y="34"/>
                    </a:cubicBezTo>
                    <a:cubicBezTo>
                      <a:pt x="37" y="33"/>
                      <a:pt x="37" y="33"/>
                      <a:pt x="36" y="33"/>
                    </a:cubicBezTo>
                    <a:cubicBezTo>
                      <a:pt x="38" y="31"/>
                      <a:pt x="41" y="30"/>
                      <a:pt x="43" y="29"/>
                    </a:cubicBezTo>
                    <a:cubicBezTo>
                      <a:pt x="44" y="30"/>
                      <a:pt x="42" y="32"/>
                      <a:pt x="42" y="32"/>
                    </a:cubicBezTo>
                    <a:cubicBezTo>
                      <a:pt x="43" y="33"/>
                      <a:pt x="49" y="32"/>
                      <a:pt x="50" y="34"/>
                    </a:cubicBezTo>
                    <a:cubicBezTo>
                      <a:pt x="50" y="35"/>
                      <a:pt x="46" y="37"/>
                      <a:pt x="49" y="37"/>
                    </a:cubicBezTo>
                    <a:cubicBezTo>
                      <a:pt x="51" y="37"/>
                      <a:pt x="52" y="38"/>
                      <a:pt x="54" y="38"/>
                    </a:cubicBezTo>
                    <a:cubicBezTo>
                      <a:pt x="55" y="38"/>
                      <a:pt x="56" y="39"/>
                      <a:pt x="57" y="39"/>
                    </a:cubicBezTo>
                    <a:cubicBezTo>
                      <a:pt x="58" y="40"/>
                      <a:pt x="60" y="40"/>
                      <a:pt x="62" y="41"/>
                    </a:cubicBezTo>
                    <a:cubicBezTo>
                      <a:pt x="63" y="41"/>
                      <a:pt x="65" y="42"/>
                      <a:pt x="64" y="40"/>
                    </a:cubicBezTo>
                    <a:cubicBezTo>
                      <a:pt x="67" y="39"/>
                      <a:pt x="69" y="37"/>
                      <a:pt x="72" y="36"/>
                    </a:cubicBezTo>
                    <a:cubicBezTo>
                      <a:pt x="70" y="36"/>
                      <a:pt x="68" y="35"/>
                      <a:pt x="67" y="34"/>
                    </a:cubicBezTo>
                    <a:close/>
                    <a:moveTo>
                      <a:pt x="42" y="22"/>
                    </a:moveTo>
                    <a:cubicBezTo>
                      <a:pt x="42" y="22"/>
                      <a:pt x="42" y="22"/>
                      <a:pt x="42" y="23"/>
                    </a:cubicBezTo>
                    <a:cubicBezTo>
                      <a:pt x="42" y="22"/>
                      <a:pt x="42" y="22"/>
                      <a:pt x="4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6" name="Freeform 2063">
                <a:extLst>
                  <a:ext uri="{FF2B5EF4-FFF2-40B4-BE49-F238E27FC236}">
                    <a16:creationId xmlns:a16="http://schemas.microsoft.com/office/drawing/2014/main" id="{F5E195A2-18A7-4DB8-AB94-3B04580876B6}"/>
                  </a:ext>
                </a:extLst>
              </p:cNvPr>
              <p:cNvSpPr>
                <a:spLocks/>
              </p:cNvSpPr>
              <p:nvPr/>
            </p:nvSpPr>
            <p:spPr bwMode="auto">
              <a:xfrm>
                <a:off x="1078" y="763"/>
                <a:ext cx="15" cy="12"/>
              </a:xfrm>
              <a:custGeom>
                <a:avLst/>
                <a:gdLst>
                  <a:gd name="T0" fmla="*/ 4 w 6"/>
                  <a:gd name="T1" fmla="*/ 5 h 5"/>
                  <a:gd name="T2" fmla="*/ 4 w 6"/>
                  <a:gd name="T3" fmla="*/ 5 h 5"/>
                  <a:gd name="T4" fmla="*/ 5 w 6"/>
                  <a:gd name="T5" fmla="*/ 5 h 5"/>
                  <a:gd name="T6" fmla="*/ 6 w 6"/>
                  <a:gd name="T7" fmla="*/ 1 h 5"/>
                  <a:gd name="T8" fmla="*/ 4 w 6"/>
                  <a:gd name="T9" fmla="*/ 0 h 5"/>
                  <a:gd name="T10" fmla="*/ 4 w 6"/>
                  <a:gd name="T11" fmla="*/ 0 h 5"/>
                  <a:gd name="T12" fmla="*/ 4 w 6"/>
                  <a:gd name="T13" fmla="*/ 0 h 5"/>
                  <a:gd name="T14" fmla="*/ 4 w 6"/>
                  <a:gd name="T15" fmla="*/ 0 h 5"/>
                  <a:gd name="T16" fmla="*/ 3 w 6"/>
                  <a:gd name="T17" fmla="*/ 0 h 5"/>
                  <a:gd name="T18" fmla="*/ 3 w 6"/>
                  <a:gd name="T19" fmla="*/ 0 h 5"/>
                  <a:gd name="T20" fmla="*/ 2 w 6"/>
                  <a:gd name="T21" fmla="*/ 1 h 5"/>
                  <a:gd name="T22" fmla="*/ 1 w 6"/>
                  <a:gd name="T23" fmla="*/ 2 h 5"/>
                  <a:gd name="T24" fmla="*/ 0 w 6"/>
                  <a:gd name="T25" fmla="*/ 3 h 5"/>
                  <a:gd name="T26" fmla="*/ 3 w 6"/>
                  <a:gd name="T27" fmla="*/ 4 h 5"/>
                  <a:gd name="T28" fmla="*/ 3 w 6"/>
                  <a:gd name="T29" fmla="*/ 4 h 5"/>
                  <a:gd name="T30" fmla="*/ 4 w 6"/>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5">
                    <a:moveTo>
                      <a:pt x="4" y="5"/>
                    </a:moveTo>
                    <a:cubicBezTo>
                      <a:pt x="4" y="5"/>
                      <a:pt x="4" y="5"/>
                      <a:pt x="4" y="5"/>
                    </a:cubicBezTo>
                    <a:cubicBezTo>
                      <a:pt x="4" y="5"/>
                      <a:pt x="5" y="5"/>
                      <a:pt x="5" y="5"/>
                    </a:cubicBezTo>
                    <a:cubicBezTo>
                      <a:pt x="5" y="4"/>
                      <a:pt x="6" y="2"/>
                      <a:pt x="6" y="1"/>
                    </a:cubicBezTo>
                    <a:cubicBezTo>
                      <a:pt x="6" y="1"/>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3" y="0"/>
                      <a:pt x="3" y="1"/>
                      <a:pt x="2" y="1"/>
                    </a:cubicBezTo>
                    <a:cubicBezTo>
                      <a:pt x="2" y="1"/>
                      <a:pt x="2" y="2"/>
                      <a:pt x="1" y="2"/>
                    </a:cubicBezTo>
                    <a:cubicBezTo>
                      <a:pt x="1" y="2"/>
                      <a:pt x="0" y="2"/>
                      <a:pt x="0" y="3"/>
                    </a:cubicBezTo>
                    <a:cubicBezTo>
                      <a:pt x="0" y="3"/>
                      <a:pt x="2" y="4"/>
                      <a:pt x="3" y="4"/>
                    </a:cubicBezTo>
                    <a:cubicBezTo>
                      <a:pt x="3" y="4"/>
                      <a:pt x="3" y="4"/>
                      <a:pt x="3" y="4"/>
                    </a:cubicBezTo>
                    <a:cubicBezTo>
                      <a:pt x="4" y="4"/>
                      <a:pt x="4" y="5"/>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7" name="Freeform 2064">
                <a:extLst>
                  <a:ext uri="{FF2B5EF4-FFF2-40B4-BE49-F238E27FC236}">
                    <a16:creationId xmlns:a16="http://schemas.microsoft.com/office/drawing/2014/main" id="{F874CCE9-3FF1-4ACF-8B1E-5A1D082B8D2E}"/>
                  </a:ext>
                </a:extLst>
              </p:cNvPr>
              <p:cNvSpPr>
                <a:spLocks/>
              </p:cNvSpPr>
              <p:nvPr/>
            </p:nvSpPr>
            <p:spPr bwMode="auto">
              <a:xfrm>
                <a:off x="998" y="261"/>
                <a:ext cx="161" cy="85"/>
              </a:xfrm>
              <a:custGeom>
                <a:avLst/>
                <a:gdLst>
                  <a:gd name="T0" fmla="*/ 5 w 68"/>
                  <a:gd name="T1" fmla="*/ 8 h 36"/>
                  <a:gd name="T2" fmla="*/ 7 w 68"/>
                  <a:gd name="T3" fmla="*/ 11 h 36"/>
                  <a:gd name="T4" fmla="*/ 8 w 68"/>
                  <a:gd name="T5" fmla="*/ 13 h 36"/>
                  <a:gd name="T6" fmla="*/ 12 w 68"/>
                  <a:gd name="T7" fmla="*/ 10 h 36"/>
                  <a:gd name="T8" fmla="*/ 18 w 68"/>
                  <a:gd name="T9" fmla="*/ 11 h 36"/>
                  <a:gd name="T10" fmla="*/ 18 w 68"/>
                  <a:gd name="T11" fmla="*/ 14 h 36"/>
                  <a:gd name="T12" fmla="*/ 23 w 68"/>
                  <a:gd name="T13" fmla="*/ 15 h 36"/>
                  <a:gd name="T14" fmla="*/ 22 w 68"/>
                  <a:gd name="T15" fmla="*/ 16 h 36"/>
                  <a:gd name="T16" fmla="*/ 20 w 68"/>
                  <a:gd name="T17" fmla="*/ 16 h 36"/>
                  <a:gd name="T18" fmla="*/ 23 w 68"/>
                  <a:gd name="T19" fmla="*/ 18 h 36"/>
                  <a:gd name="T20" fmla="*/ 22 w 68"/>
                  <a:gd name="T21" fmla="*/ 20 h 36"/>
                  <a:gd name="T22" fmla="*/ 12 w 68"/>
                  <a:gd name="T23" fmla="*/ 18 h 36"/>
                  <a:gd name="T24" fmla="*/ 12 w 68"/>
                  <a:gd name="T25" fmla="*/ 25 h 36"/>
                  <a:gd name="T26" fmla="*/ 17 w 68"/>
                  <a:gd name="T27" fmla="*/ 26 h 36"/>
                  <a:gd name="T28" fmla="*/ 21 w 68"/>
                  <a:gd name="T29" fmla="*/ 24 h 36"/>
                  <a:gd name="T30" fmla="*/ 28 w 68"/>
                  <a:gd name="T31" fmla="*/ 23 h 36"/>
                  <a:gd name="T32" fmla="*/ 30 w 68"/>
                  <a:gd name="T33" fmla="*/ 25 h 36"/>
                  <a:gd name="T34" fmla="*/ 36 w 68"/>
                  <a:gd name="T35" fmla="*/ 25 h 36"/>
                  <a:gd name="T36" fmla="*/ 37 w 68"/>
                  <a:gd name="T37" fmla="*/ 25 h 36"/>
                  <a:gd name="T38" fmla="*/ 40 w 68"/>
                  <a:gd name="T39" fmla="*/ 25 h 36"/>
                  <a:gd name="T40" fmla="*/ 46 w 68"/>
                  <a:gd name="T41" fmla="*/ 27 h 36"/>
                  <a:gd name="T42" fmla="*/ 49 w 68"/>
                  <a:gd name="T43" fmla="*/ 29 h 36"/>
                  <a:gd name="T44" fmla="*/ 51 w 68"/>
                  <a:gd name="T45" fmla="*/ 33 h 36"/>
                  <a:gd name="T46" fmla="*/ 60 w 68"/>
                  <a:gd name="T47" fmla="*/ 35 h 36"/>
                  <a:gd name="T48" fmla="*/ 68 w 68"/>
                  <a:gd name="T49" fmla="*/ 30 h 36"/>
                  <a:gd name="T50" fmla="*/ 65 w 68"/>
                  <a:gd name="T51" fmla="*/ 27 h 36"/>
                  <a:gd name="T52" fmla="*/ 62 w 68"/>
                  <a:gd name="T53" fmla="*/ 25 h 36"/>
                  <a:gd name="T54" fmla="*/ 59 w 68"/>
                  <a:gd name="T55" fmla="*/ 21 h 36"/>
                  <a:gd name="T56" fmla="*/ 61 w 68"/>
                  <a:gd name="T57" fmla="*/ 17 h 36"/>
                  <a:gd name="T58" fmla="*/ 58 w 68"/>
                  <a:gd name="T59" fmla="*/ 17 h 36"/>
                  <a:gd name="T60" fmla="*/ 56 w 68"/>
                  <a:gd name="T61" fmla="*/ 14 h 36"/>
                  <a:gd name="T62" fmla="*/ 50 w 68"/>
                  <a:gd name="T63" fmla="*/ 13 h 36"/>
                  <a:gd name="T64" fmla="*/ 45 w 68"/>
                  <a:gd name="T65" fmla="*/ 13 h 36"/>
                  <a:gd name="T66" fmla="*/ 45 w 68"/>
                  <a:gd name="T67" fmla="*/ 9 h 36"/>
                  <a:gd name="T68" fmla="*/ 39 w 68"/>
                  <a:gd name="T69" fmla="*/ 7 h 36"/>
                  <a:gd name="T70" fmla="*/ 37 w 68"/>
                  <a:gd name="T71" fmla="*/ 7 h 36"/>
                  <a:gd name="T72" fmla="*/ 33 w 68"/>
                  <a:gd name="T73" fmla="*/ 8 h 36"/>
                  <a:gd name="T74" fmla="*/ 29 w 68"/>
                  <a:gd name="T75" fmla="*/ 9 h 36"/>
                  <a:gd name="T76" fmla="*/ 24 w 68"/>
                  <a:gd name="T77" fmla="*/ 2 h 36"/>
                  <a:gd name="T78" fmla="*/ 8 w 68"/>
                  <a:gd name="T79" fmla="*/ 1 h 36"/>
                  <a:gd name="T80" fmla="*/ 2 w 68"/>
                  <a:gd name="T81" fmla="*/ 1 h 36"/>
                  <a:gd name="T82" fmla="*/ 1 w 68"/>
                  <a:gd name="T83" fmla="*/ 3 h 36"/>
                  <a:gd name="T84" fmla="*/ 2 w 68"/>
                  <a:gd name="T85"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36">
                    <a:moveTo>
                      <a:pt x="2" y="8"/>
                    </a:moveTo>
                    <a:cubicBezTo>
                      <a:pt x="3" y="8"/>
                      <a:pt x="4" y="8"/>
                      <a:pt x="5" y="8"/>
                    </a:cubicBezTo>
                    <a:cubicBezTo>
                      <a:pt x="6" y="8"/>
                      <a:pt x="10" y="7"/>
                      <a:pt x="10" y="9"/>
                    </a:cubicBezTo>
                    <a:cubicBezTo>
                      <a:pt x="9" y="9"/>
                      <a:pt x="8" y="11"/>
                      <a:pt x="7" y="11"/>
                    </a:cubicBezTo>
                    <a:cubicBezTo>
                      <a:pt x="7" y="12"/>
                      <a:pt x="6" y="12"/>
                      <a:pt x="7" y="13"/>
                    </a:cubicBezTo>
                    <a:cubicBezTo>
                      <a:pt x="7" y="13"/>
                      <a:pt x="8" y="13"/>
                      <a:pt x="8" y="13"/>
                    </a:cubicBezTo>
                    <a:cubicBezTo>
                      <a:pt x="9" y="13"/>
                      <a:pt x="11" y="12"/>
                      <a:pt x="11" y="11"/>
                    </a:cubicBezTo>
                    <a:cubicBezTo>
                      <a:pt x="11" y="11"/>
                      <a:pt x="11" y="10"/>
                      <a:pt x="12" y="10"/>
                    </a:cubicBezTo>
                    <a:cubicBezTo>
                      <a:pt x="12" y="9"/>
                      <a:pt x="14" y="9"/>
                      <a:pt x="15" y="9"/>
                    </a:cubicBezTo>
                    <a:cubicBezTo>
                      <a:pt x="15" y="9"/>
                      <a:pt x="18" y="10"/>
                      <a:pt x="18" y="11"/>
                    </a:cubicBezTo>
                    <a:cubicBezTo>
                      <a:pt x="18" y="11"/>
                      <a:pt x="14" y="13"/>
                      <a:pt x="16" y="14"/>
                    </a:cubicBezTo>
                    <a:cubicBezTo>
                      <a:pt x="16" y="14"/>
                      <a:pt x="17" y="14"/>
                      <a:pt x="18" y="14"/>
                    </a:cubicBezTo>
                    <a:cubicBezTo>
                      <a:pt x="19" y="15"/>
                      <a:pt x="20" y="14"/>
                      <a:pt x="22" y="14"/>
                    </a:cubicBezTo>
                    <a:cubicBezTo>
                      <a:pt x="22" y="14"/>
                      <a:pt x="24" y="14"/>
                      <a:pt x="23" y="15"/>
                    </a:cubicBezTo>
                    <a:cubicBezTo>
                      <a:pt x="23" y="15"/>
                      <a:pt x="22" y="15"/>
                      <a:pt x="22" y="15"/>
                    </a:cubicBezTo>
                    <a:cubicBezTo>
                      <a:pt x="22" y="15"/>
                      <a:pt x="22" y="16"/>
                      <a:pt x="22" y="16"/>
                    </a:cubicBezTo>
                    <a:cubicBezTo>
                      <a:pt x="21" y="16"/>
                      <a:pt x="22" y="16"/>
                      <a:pt x="21" y="16"/>
                    </a:cubicBezTo>
                    <a:cubicBezTo>
                      <a:pt x="21" y="16"/>
                      <a:pt x="20" y="16"/>
                      <a:pt x="20" y="16"/>
                    </a:cubicBezTo>
                    <a:cubicBezTo>
                      <a:pt x="19" y="16"/>
                      <a:pt x="17" y="16"/>
                      <a:pt x="17" y="17"/>
                    </a:cubicBezTo>
                    <a:cubicBezTo>
                      <a:pt x="17" y="17"/>
                      <a:pt x="23" y="17"/>
                      <a:pt x="23" y="18"/>
                    </a:cubicBezTo>
                    <a:cubicBezTo>
                      <a:pt x="23" y="18"/>
                      <a:pt x="22" y="18"/>
                      <a:pt x="22" y="18"/>
                    </a:cubicBezTo>
                    <a:cubicBezTo>
                      <a:pt x="22" y="19"/>
                      <a:pt x="23" y="19"/>
                      <a:pt x="22" y="20"/>
                    </a:cubicBezTo>
                    <a:cubicBezTo>
                      <a:pt x="21" y="20"/>
                      <a:pt x="19" y="19"/>
                      <a:pt x="18" y="19"/>
                    </a:cubicBezTo>
                    <a:cubicBezTo>
                      <a:pt x="16" y="19"/>
                      <a:pt x="14" y="18"/>
                      <a:pt x="12" y="18"/>
                    </a:cubicBezTo>
                    <a:cubicBezTo>
                      <a:pt x="10" y="18"/>
                      <a:pt x="4" y="18"/>
                      <a:pt x="7" y="21"/>
                    </a:cubicBezTo>
                    <a:cubicBezTo>
                      <a:pt x="8" y="23"/>
                      <a:pt x="10" y="24"/>
                      <a:pt x="12" y="25"/>
                    </a:cubicBezTo>
                    <a:cubicBezTo>
                      <a:pt x="13" y="25"/>
                      <a:pt x="14" y="25"/>
                      <a:pt x="15" y="25"/>
                    </a:cubicBezTo>
                    <a:cubicBezTo>
                      <a:pt x="16" y="25"/>
                      <a:pt x="16" y="26"/>
                      <a:pt x="17" y="26"/>
                    </a:cubicBezTo>
                    <a:cubicBezTo>
                      <a:pt x="17" y="26"/>
                      <a:pt x="17" y="25"/>
                      <a:pt x="18" y="25"/>
                    </a:cubicBezTo>
                    <a:cubicBezTo>
                      <a:pt x="19" y="24"/>
                      <a:pt x="20" y="24"/>
                      <a:pt x="21" y="24"/>
                    </a:cubicBezTo>
                    <a:cubicBezTo>
                      <a:pt x="22" y="23"/>
                      <a:pt x="23" y="23"/>
                      <a:pt x="25" y="23"/>
                    </a:cubicBezTo>
                    <a:cubicBezTo>
                      <a:pt x="25" y="23"/>
                      <a:pt x="27" y="23"/>
                      <a:pt x="28" y="23"/>
                    </a:cubicBezTo>
                    <a:cubicBezTo>
                      <a:pt x="29" y="23"/>
                      <a:pt x="29" y="23"/>
                      <a:pt x="29" y="24"/>
                    </a:cubicBezTo>
                    <a:cubicBezTo>
                      <a:pt x="29" y="25"/>
                      <a:pt x="29" y="25"/>
                      <a:pt x="30" y="25"/>
                    </a:cubicBezTo>
                    <a:cubicBezTo>
                      <a:pt x="31" y="26"/>
                      <a:pt x="32" y="25"/>
                      <a:pt x="33" y="25"/>
                    </a:cubicBezTo>
                    <a:cubicBezTo>
                      <a:pt x="34" y="25"/>
                      <a:pt x="36" y="25"/>
                      <a:pt x="36" y="25"/>
                    </a:cubicBezTo>
                    <a:cubicBezTo>
                      <a:pt x="37" y="25"/>
                      <a:pt x="37" y="25"/>
                      <a:pt x="37" y="25"/>
                    </a:cubicBezTo>
                    <a:cubicBezTo>
                      <a:pt x="37" y="25"/>
                      <a:pt x="37" y="25"/>
                      <a:pt x="37" y="25"/>
                    </a:cubicBezTo>
                    <a:cubicBezTo>
                      <a:pt x="37" y="25"/>
                      <a:pt x="37" y="25"/>
                      <a:pt x="38" y="25"/>
                    </a:cubicBezTo>
                    <a:cubicBezTo>
                      <a:pt x="38" y="25"/>
                      <a:pt x="39" y="25"/>
                      <a:pt x="40" y="25"/>
                    </a:cubicBezTo>
                    <a:cubicBezTo>
                      <a:pt x="41" y="25"/>
                      <a:pt x="42" y="26"/>
                      <a:pt x="43" y="26"/>
                    </a:cubicBezTo>
                    <a:cubicBezTo>
                      <a:pt x="44" y="27"/>
                      <a:pt x="44" y="27"/>
                      <a:pt x="46" y="27"/>
                    </a:cubicBezTo>
                    <a:cubicBezTo>
                      <a:pt x="47" y="27"/>
                      <a:pt x="47" y="27"/>
                      <a:pt x="48" y="28"/>
                    </a:cubicBezTo>
                    <a:cubicBezTo>
                      <a:pt x="48" y="29"/>
                      <a:pt x="49" y="28"/>
                      <a:pt x="49" y="29"/>
                    </a:cubicBezTo>
                    <a:cubicBezTo>
                      <a:pt x="49" y="30"/>
                      <a:pt x="49" y="30"/>
                      <a:pt x="49" y="31"/>
                    </a:cubicBezTo>
                    <a:cubicBezTo>
                      <a:pt x="50" y="32"/>
                      <a:pt x="51" y="32"/>
                      <a:pt x="51" y="33"/>
                    </a:cubicBezTo>
                    <a:cubicBezTo>
                      <a:pt x="52" y="35"/>
                      <a:pt x="55" y="35"/>
                      <a:pt x="56" y="35"/>
                    </a:cubicBezTo>
                    <a:cubicBezTo>
                      <a:pt x="57" y="35"/>
                      <a:pt x="58" y="36"/>
                      <a:pt x="60" y="35"/>
                    </a:cubicBezTo>
                    <a:cubicBezTo>
                      <a:pt x="62" y="35"/>
                      <a:pt x="65" y="34"/>
                      <a:pt x="67" y="33"/>
                    </a:cubicBezTo>
                    <a:cubicBezTo>
                      <a:pt x="67" y="32"/>
                      <a:pt x="68" y="31"/>
                      <a:pt x="68" y="30"/>
                    </a:cubicBezTo>
                    <a:cubicBezTo>
                      <a:pt x="68" y="29"/>
                      <a:pt x="68" y="29"/>
                      <a:pt x="67" y="29"/>
                    </a:cubicBezTo>
                    <a:cubicBezTo>
                      <a:pt x="66" y="28"/>
                      <a:pt x="66" y="27"/>
                      <a:pt x="65" y="27"/>
                    </a:cubicBezTo>
                    <a:cubicBezTo>
                      <a:pt x="64" y="27"/>
                      <a:pt x="64" y="27"/>
                      <a:pt x="64" y="26"/>
                    </a:cubicBezTo>
                    <a:cubicBezTo>
                      <a:pt x="63" y="26"/>
                      <a:pt x="63" y="25"/>
                      <a:pt x="62" y="25"/>
                    </a:cubicBezTo>
                    <a:cubicBezTo>
                      <a:pt x="61" y="24"/>
                      <a:pt x="60" y="25"/>
                      <a:pt x="60" y="23"/>
                    </a:cubicBezTo>
                    <a:cubicBezTo>
                      <a:pt x="60" y="22"/>
                      <a:pt x="59" y="22"/>
                      <a:pt x="59" y="21"/>
                    </a:cubicBezTo>
                    <a:cubicBezTo>
                      <a:pt x="59" y="20"/>
                      <a:pt x="61" y="19"/>
                      <a:pt x="62" y="19"/>
                    </a:cubicBezTo>
                    <a:cubicBezTo>
                      <a:pt x="62" y="18"/>
                      <a:pt x="62" y="18"/>
                      <a:pt x="61" y="17"/>
                    </a:cubicBezTo>
                    <a:cubicBezTo>
                      <a:pt x="60" y="17"/>
                      <a:pt x="60" y="17"/>
                      <a:pt x="60" y="17"/>
                    </a:cubicBezTo>
                    <a:cubicBezTo>
                      <a:pt x="59" y="17"/>
                      <a:pt x="58" y="17"/>
                      <a:pt x="58" y="17"/>
                    </a:cubicBezTo>
                    <a:cubicBezTo>
                      <a:pt x="57" y="16"/>
                      <a:pt x="58" y="16"/>
                      <a:pt x="58" y="16"/>
                    </a:cubicBezTo>
                    <a:cubicBezTo>
                      <a:pt x="59" y="15"/>
                      <a:pt x="56" y="14"/>
                      <a:pt x="56" y="14"/>
                    </a:cubicBezTo>
                    <a:cubicBezTo>
                      <a:pt x="55" y="14"/>
                      <a:pt x="54" y="12"/>
                      <a:pt x="53" y="13"/>
                    </a:cubicBezTo>
                    <a:cubicBezTo>
                      <a:pt x="52" y="13"/>
                      <a:pt x="51" y="13"/>
                      <a:pt x="50" y="13"/>
                    </a:cubicBezTo>
                    <a:cubicBezTo>
                      <a:pt x="50" y="13"/>
                      <a:pt x="49" y="14"/>
                      <a:pt x="48" y="14"/>
                    </a:cubicBezTo>
                    <a:cubicBezTo>
                      <a:pt x="48" y="14"/>
                      <a:pt x="46" y="13"/>
                      <a:pt x="45" y="13"/>
                    </a:cubicBezTo>
                    <a:cubicBezTo>
                      <a:pt x="46" y="12"/>
                      <a:pt x="47" y="10"/>
                      <a:pt x="46" y="9"/>
                    </a:cubicBezTo>
                    <a:cubicBezTo>
                      <a:pt x="46" y="9"/>
                      <a:pt x="45" y="9"/>
                      <a:pt x="45" y="9"/>
                    </a:cubicBezTo>
                    <a:cubicBezTo>
                      <a:pt x="44" y="9"/>
                      <a:pt x="44" y="9"/>
                      <a:pt x="43" y="8"/>
                    </a:cubicBezTo>
                    <a:cubicBezTo>
                      <a:pt x="42" y="7"/>
                      <a:pt x="40" y="7"/>
                      <a:pt x="39" y="7"/>
                    </a:cubicBezTo>
                    <a:cubicBezTo>
                      <a:pt x="37" y="7"/>
                      <a:pt x="37" y="7"/>
                      <a:pt x="37" y="8"/>
                    </a:cubicBezTo>
                    <a:cubicBezTo>
                      <a:pt x="37" y="7"/>
                      <a:pt x="37" y="7"/>
                      <a:pt x="37" y="7"/>
                    </a:cubicBezTo>
                    <a:cubicBezTo>
                      <a:pt x="37" y="7"/>
                      <a:pt x="36" y="8"/>
                      <a:pt x="35" y="8"/>
                    </a:cubicBezTo>
                    <a:cubicBezTo>
                      <a:pt x="35" y="8"/>
                      <a:pt x="33" y="8"/>
                      <a:pt x="33" y="8"/>
                    </a:cubicBezTo>
                    <a:cubicBezTo>
                      <a:pt x="33" y="9"/>
                      <a:pt x="33" y="9"/>
                      <a:pt x="33" y="10"/>
                    </a:cubicBezTo>
                    <a:cubicBezTo>
                      <a:pt x="33" y="11"/>
                      <a:pt x="30" y="10"/>
                      <a:pt x="29" y="9"/>
                    </a:cubicBezTo>
                    <a:cubicBezTo>
                      <a:pt x="31" y="9"/>
                      <a:pt x="30" y="7"/>
                      <a:pt x="29" y="5"/>
                    </a:cubicBezTo>
                    <a:cubicBezTo>
                      <a:pt x="28" y="4"/>
                      <a:pt x="26" y="2"/>
                      <a:pt x="24" y="2"/>
                    </a:cubicBezTo>
                    <a:cubicBezTo>
                      <a:pt x="22" y="1"/>
                      <a:pt x="19" y="0"/>
                      <a:pt x="16" y="0"/>
                    </a:cubicBezTo>
                    <a:cubicBezTo>
                      <a:pt x="14" y="1"/>
                      <a:pt x="11" y="1"/>
                      <a:pt x="8" y="1"/>
                    </a:cubicBezTo>
                    <a:cubicBezTo>
                      <a:pt x="7" y="1"/>
                      <a:pt x="6" y="2"/>
                      <a:pt x="5" y="2"/>
                    </a:cubicBezTo>
                    <a:cubicBezTo>
                      <a:pt x="4" y="2"/>
                      <a:pt x="2" y="1"/>
                      <a:pt x="2" y="1"/>
                    </a:cubicBezTo>
                    <a:cubicBezTo>
                      <a:pt x="2" y="2"/>
                      <a:pt x="2" y="2"/>
                      <a:pt x="2" y="2"/>
                    </a:cubicBezTo>
                    <a:cubicBezTo>
                      <a:pt x="2" y="2"/>
                      <a:pt x="2" y="3"/>
                      <a:pt x="1" y="3"/>
                    </a:cubicBezTo>
                    <a:cubicBezTo>
                      <a:pt x="1" y="3"/>
                      <a:pt x="0" y="5"/>
                      <a:pt x="0" y="5"/>
                    </a:cubicBezTo>
                    <a:cubicBezTo>
                      <a:pt x="0" y="7"/>
                      <a:pt x="0"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8" name="Freeform 2065">
                <a:extLst>
                  <a:ext uri="{FF2B5EF4-FFF2-40B4-BE49-F238E27FC236}">
                    <a16:creationId xmlns:a16="http://schemas.microsoft.com/office/drawing/2014/main" id="{8EA2200F-724F-4E12-83D2-18302973DE19}"/>
                  </a:ext>
                </a:extLst>
              </p:cNvPr>
              <p:cNvSpPr>
                <a:spLocks/>
              </p:cNvSpPr>
              <p:nvPr/>
            </p:nvSpPr>
            <p:spPr bwMode="auto">
              <a:xfrm>
                <a:off x="1208" y="382"/>
                <a:ext cx="426" cy="130"/>
              </a:xfrm>
              <a:custGeom>
                <a:avLst/>
                <a:gdLst>
                  <a:gd name="T0" fmla="*/ 75 w 180"/>
                  <a:gd name="T1" fmla="*/ 53 h 55"/>
                  <a:gd name="T2" fmla="*/ 79 w 180"/>
                  <a:gd name="T3" fmla="*/ 51 h 55"/>
                  <a:gd name="T4" fmla="*/ 82 w 180"/>
                  <a:gd name="T5" fmla="*/ 48 h 55"/>
                  <a:gd name="T6" fmla="*/ 86 w 180"/>
                  <a:gd name="T7" fmla="*/ 48 h 55"/>
                  <a:gd name="T8" fmla="*/ 88 w 180"/>
                  <a:gd name="T9" fmla="*/ 54 h 55"/>
                  <a:gd name="T10" fmla="*/ 94 w 180"/>
                  <a:gd name="T11" fmla="*/ 54 h 55"/>
                  <a:gd name="T12" fmla="*/ 101 w 180"/>
                  <a:gd name="T13" fmla="*/ 54 h 55"/>
                  <a:gd name="T14" fmla="*/ 103 w 180"/>
                  <a:gd name="T15" fmla="*/ 51 h 55"/>
                  <a:gd name="T16" fmla="*/ 112 w 180"/>
                  <a:gd name="T17" fmla="*/ 54 h 55"/>
                  <a:gd name="T18" fmla="*/ 120 w 180"/>
                  <a:gd name="T19" fmla="*/ 54 h 55"/>
                  <a:gd name="T20" fmla="*/ 123 w 180"/>
                  <a:gd name="T21" fmla="*/ 54 h 55"/>
                  <a:gd name="T22" fmla="*/ 137 w 180"/>
                  <a:gd name="T23" fmla="*/ 52 h 55"/>
                  <a:gd name="T24" fmla="*/ 140 w 180"/>
                  <a:gd name="T25" fmla="*/ 47 h 55"/>
                  <a:gd name="T26" fmla="*/ 156 w 180"/>
                  <a:gd name="T27" fmla="*/ 54 h 55"/>
                  <a:gd name="T28" fmla="*/ 171 w 180"/>
                  <a:gd name="T29" fmla="*/ 50 h 55"/>
                  <a:gd name="T30" fmla="*/ 171 w 180"/>
                  <a:gd name="T31" fmla="*/ 45 h 55"/>
                  <a:gd name="T32" fmla="*/ 176 w 180"/>
                  <a:gd name="T33" fmla="*/ 43 h 55"/>
                  <a:gd name="T34" fmla="*/ 178 w 180"/>
                  <a:gd name="T35" fmla="*/ 38 h 55"/>
                  <a:gd name="T36" fmla="*/ 169 w 180"/>
                  <a:gd name="T37" fmla="*/ 34 h 55"/>
                  <a:gd name="T38" fmla="*/ 164 w 180"/>
                  <a:gd name="T39" fmla="*/ 30 h 55"/>
                  <a:gd name="T40" fmla="*/ 154 w 180"/>
                  <a:gd name="T41" fmla="*/ 27 h 55"/>
                  <a:gd name="T42" fmla="*/ 132 w 180"/>
                  <a:gd name="T43" fmla="*/ 27 h 55"/>
                  <a:gd name="T44" fmla="*/ 127 w 180"/>
                  <a:gd name="T45" fmla="*/ 30 h 55"/>
                  <a:gd name="T46" fmla="*/ 119 w 180"/>
                  <a:gd name="T47" fmla="*/ 32 h 55"/>
                  <a:gd name="T48" fmla="*/ 116 w 180"/>
                  <a:gd name="T49" fmla="*/ 35 h 55"/>
                  <a:gd name="T50" fmla="*/ 96 w 180"/>
                  <a:gd name="T51" fmla="*/ 33 h 55"/>
                  <a:gd name="T52" fmla="*/ 84 w 180"/>
                  <a:gd name="T53" fmla="*/ 30 h 55"/>
                  <a:gd name="T54" fmla="*/ 78 w 180"/>
                  <a:gd name="T55" fmla="*/ 32 h 55"/>
                  <a:gd name="T56" fmla="*/ 78 w 180"/>
                  <a:gd name="T57" fmla="*/ 30 h 55"/>
                  <a:gd name="T58" fmla="*/ 71 w 180"/>
                  <a:gd name="T59" fmla="*/ 23 h 55"/>
                  <a:gd name="T60" fmla="*/ 62 w 180"/>
                  <a:gd name="T61" fmla="*/ 24 h 55"/>
                  <a:gd name="T62" fmla="*/ 59 w 180"/>
                  <a:gd name="T63" fmla="*/ 22 h 55"/>
                  <a:gd name="T64" fmla="*/ 57 w 180"/>
                  <a:gd name="T65" fmla="*/ 19 h 55"/>
                  <a:gd name="T66" fmla="*/ 67 w 180"/>
                  <a:gd name="T67" fmla="*/ 20 h 55"/>
                  <a:gd name="T68" fmla="*/ 72 w 180"/>
                  <a:gd name="T69" fmla="*/ 16 h 55"/>
                  <a:gd name="T70" fmla="*/ 62 w 180"/>
                  <a:gd name="T71" fmla="*/ 13 h 55"/>
                  <a:gd name="T72" fmla="*/ 46 w 180"/>
                  <a:gd name="T73" fmla="*/ 10 h 55"/>
                  <a:gd name="T74" fmla="*/ 34 w 180"/>
                  <a:gd name="T75" fmla="*/ 14 h 55"/>
                  <a:gd name="T76" fmla="*/ 32 w 180"/>
                  <a:gd name="T77" fmla="*/ 3 h 55"/>
                  <a:gd name="T78" fmla="*/ 11 w 180"/>
                  <a:gd name="T79" fmla="*/ 0 h 55"/>
                  <a:gd name="T80" fmla="*/ 3 w 180"/>
                  <a:gd name="T81" fmla="*/ 3 h 55"/>
                  <a:gd name="T82" fmla="*/ 6 w 180"/>
                  <a:gd name="T83" fmla="*/ 7 h 55"/>
                  <a:gd name="T84" fmla="*/ 5 w 180"/>
                  <a:gd name="T85" fmla="*/ 9 h 55"/>
                  <a:gd name="T86" fmla="*/ 8 w 180"/>
                  <a:gd name="T87" fmla="*/ 13 h 55"/>
                  <a:gd name="T88" fmla="*/ 21 w 180"/>
                  <a:gd name="T89" fmla="*/ 16 h 55"/>
                  <a:gd name="T90" fmla="*/ 22 w 180"/>
                  <a:gd name="T91" fmla="*/ 16 h 55"/>
                  <a:gd name="T92" fmla="*/ 33 w 180"/>
                  <a:gd name="T93" fmla="*/ 16 h 55"/>
                  <a:gd name="T94" fmla="*/ 39 w 180"/>
                  <a:gd name="T95" fmla="*/ 16 h 55"/>
                  <a:gd name="T96" fmla="*/ 47 w 180"/>
                  <a:gd name="T97" fmla="*/ 25 h 55"/>
                  <a:gd name="T98" fmla="*/ 50 w 180"/>
                  <a:gd name="T99" fmla="*/ 31 h 55"/>
                  <a:gd name="T100" fmla="*/ 46 w 180"/>
                  <a:gd name="T101" fmla="*/ 37 h 55"/>
                  <a:gd name="T102" fmla="*/ 50 w 180"/>
                  <a:gd name="T103" fmla="*/ 47 h 55"/>
                  <a:gd name="T104" fmla="*/ 54 w 180"/>
                  <a:gd name="T105" fmla="*/ 50 h 55"/>
                  <a:gd name="T106" fmla="*/ 59 w 180"/>
                  <a:gd name="T107" fmla="*/ 49 h 55"/>
                  <a:gd name="T108" fmla="*/ 63 w 180"/>
                  <a:gd name="T109" fmla="*/ 50 h 55"/>
                  <a:gd name="T110" fmla="*/ 70 w 180"/>
                  <a:gd name="T111"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 h="55">
                    <a:moveTo>
                      <a:pt x="71" y="52"/>
                    </a:moveTo>
                    <a:cubicBezTo>
                      <a:pt x="71" y="52"/>
                      <a:pt x="71" y="52"/>
                      <a:pt x="71" y="52"/>
                    </a:cubicBezTo>
                    <a:cubicBezTo>
                      <a:pt x="71" y="53"/>
                      <a:pt x="71" y="53"/>
                      <a:pt x="72" y="53"/>
                    </a:cubicBezTo>
                    <a:cubicBezTo>
                      <a:pt x="73" y="53"/>
                      <a:pt x="74" y="53"/>
                      <a:pt x="75" y="53"/>
                    </a:cubicBezTo>
                    <a:cubicBezTo>
                      <a:pt x="76" y="53"/>
                      <a:pt x="76" y="53"/>
                      <a:pt x="76" y="53"/>
                    </a:cubicBezTo>
                    <a:cubicBezTo>
                      <a:pt x="77" y="52"/>
                      <a:pt x="77" y="52"/>
                      <a:pt x="77" y="52"/>
                    </a:cubicBezTo>
                    <a:cubicBezTo>
                      <a:pt x="77" y="52"/>
                      <a:pt x="77" y="52"/>
                      <a:pt x="78" y="52"/>
                    </a:cubicBezTo>
                    <a:cubicBezTo>
                      <a:pt x="79" y="52"/>
                      <a:pt x="80" y="52"/>
                      <a:pt x="79" y="51"/>
                    </a:cubicBezTo>
                    <a:cubicBezTo>
                      <a:pt x="79" y="50"/>
                      <a:pt x="79" y="49"/>
                      <a:pt x="78" y="48"/>
                    </a:cubicBezTo>
                    <a:cubicBezTo>
                      <a:pt x="79" y="49"/>
                      <a:pt x="79" y="49"/>
                      <a:pt x="80" y="49"/>
                    </a:cubicBezTo>
                    <a:cubicBezTo>
                      <a:pt x="81" y="49"/>
                      <a:pt x="80" y="47"/>
                      <a:pt x="80" y="47"/>
                    </a:cubicBezTo>
                    <a:cubicBezTo>
                      <a:pt x="81" y="47"/>
                      <a:pt x="82" y="48"/>
                      <a:pt x="82" y="48"/>
                    </a:cubicBezTo>
                    <a:cubicBezTo>
                      <a:pt x="82" y="49"/>
                      <a:pt x="82" y="51"/>
                      <a:pt x="83" y="50"/>
                    </a:cubicBezTo>
                    <a:cubicBezTo>
                      <a:pt x="83" y="50"/>
                      <a:pt x="84" y="45"/>
                      <a:pt x="85" y="47"/>
                    </a:cubicBezTo>
                    <a:cubicBezTo>
                      <a:pt x="85" y="46"/>
                      <a:pt x="86" y="44"/>
                      <a:pt x="86" y="47"/>
                    </a:cubicBezTo>
                    <a:cubicBezTo>
                      <a:pt x="86" y="47"/>
                      <a:pt x="86" y="48"/>
                      <a:pt x="86" y="48"/>
                    </a:cubicBezTo>
                    <a:cubicBezTo>
                      <a:pt x="86" y="48"/>
                      <a:pt x="88" y="48"/>
                      <a:pt x="88" y="48"/>
                    </a:cubicBezTo>
                    <a:cubicBezTo>
                      <a:pt x="88" y="48"/>
                      <a:pt x="87" y="48"/>
                      <a:pt x="87" y="48"/>
                    </a:cubicBezTo>
                    <a:cubicBezTo>
                      <a:pt x="88" y="50"/>
                      <a:pt x="83" y="53"/>
                      <a:pt x="87" y="54"/>
                    </a:cubicBezTo>
                    <a:cubicBezTo>
                      <a:pt x="87" y="54"/>
                      <a:pt x="88" y="54"/>
                      <a:pt x="88" y="54"/>
                    </a:cubicBezTo>
                    <a:cubicBezTo>
                      <a:pt x="89" y="54"/>
                      <a:pt x="89" y="54"/>
                      <a:pt x="89" y="54"/>
                    </a:cubicBezTo>
                    <a:cubicBezTo>
                      <a:pt x="90" y="54"/>
                      <a:pt x="91" y="54"/>
                      <a:pt x="92" y="54"/>
                    </a:cubicBezTo>
                    <a:cubicBezTo>
                      <a:pt x="93" y="54"/>
                      <a:pt x="93" y="53"/>
                      <a:pt x="93" y="54"/>
                    </a:cubicBezTo>
                    <a:cubicBezTo>
                      <a:pt x="93" y="54"/>
                      <a:pt x="94" y="54"/>
                      <a:pt x="94" y="54"/>
                    </a:cubicBezTo>
                    <a:cubicBezTo>
                      <a:pt x="95" y="55"/>
                      <a:pt x="96" y="54"/>
                      <a:pt x="96" y="54"/>
                    </a:cubicBezTo>
                    <a:cubicBezTo>
                      <a:pt x="96" y="54"/>
                      <a:pt x="97" y="53"/>
                      <a:pt x="97" y="53"/>
                    </a:cubicBezTo>
                    <a:cubicBezTo>
                      <a:pt x="98" y="53"/>
                      <a:pt x="98" y="54"/>
                      <a:pt x="99" y="54"/>
                    </a:cubicBezTo>
                    <a:cubicBezTo>
                      <a:pt x="100" y="54"/>
                      <a:pt x="100" y="54"/>
                      <a:pt x="101" y="54"/>
                    </a:cubicBezTo>
                    <a:cubicBezTo>
                      <a:pt x="101" y="54"/>
                      <a:pt x="101" y="53"/>
                      <a:pt x="101" y="54"/>
                    </a:cubicBezTo>
                    <a:cubicBezTo>
                      <a:pt x="101" y="54"/>
                      <a:pt x="101" y="54"/>
                      <a:pt x="102" y="54"/>
                    </a:cubicBezTo>
                    <a:cubicBezTo>
                      <a:pt x="103" y="54"/>
                      <a:pt x="104" y="54"/>
                      <a:pt x="105" y="54"/>
                    </a:cubicBezTo>
                    <a:cubicBezTo>
                      <a:pt x="104" y="54"/>
                      <a:pt x="104" y="53"/>
                      <a:pt x="103" y="51"/>
                    </a:cubicBezTo>
                    <a:cubicBezTo>
                      <a:pt x="104" y="53"/>
                      <a:pt x="107" y="55"/>
                      <a:pt x="108" y="54"/>
                    </a:cubicBezTo>
                    <a:cubicBezTo>
                      <a:pt x="109" y="53"/>
                      <a:pt x="109" y="50"/>
                      <a:pt x="110" y="52"/>
                    </a:cubicBezTo>
                    <a:cubicBezTo>
                      <a:pt x="110" y="53"/>
                      <a:pt x="110" y="54"/>
                      <a:pt x="111" y="54"/>
                    </a:cubicBezTo>
                    <a:cubicBezTo>
                      <a:pt x="111" y="54"/>
                      <a:pt x="112" y="54"/>
                      <a:pt x="112" y="54"/>
                    </a:cubicBezTo>
                    <a:cubicBezTo>
                      <a:pt x="113" y="54"/>
                      <a:pt x="114" y="54"/>
                      <a:pt x="115" y="54"/>
                    </a:cubicBezTo>
                    <a:cubicBezTo>
                      <a:pt x="117" y="54"/>
                      <a:pt x="116" y="52"/>
                      <a:pt x="116" y="51"/>
                    </a:cubicBezTo>
                    <a:cubicBezTo>
                      <a:pt x="116" y="49"/>
                      <a:pt x="117" y="52"/>
                      <a:pt x="118" y="52"/>
                    </a:cubicBezTo>
                    <a:cubicBezTo>
                      <a:pt x="118" y="53"/>
                      <a:pt x="118" y="54"/>
                      <a:pt x="120" y="54"/>
                    </a:cubicBezTo>
                    <a:cubicBezTo>
                      <a:pt x="122" y="53"/>
                      <a:pt x="120" y="51"/>
                      <a:pt x="122" y="50"/>
                    </a:cubicBezTo>
                    <a:cubicBezTo>
                      <a:pt x="122" y="49"/>
                      <a:pt x="122" y="49"/>
                      <a:pt x="122" y="48"/>
                    </a:cubicBezTo>
                    <a:cubicBezTo>
                      <a:pt x="122" y="49"/>
                      <a:pt x="122" y="49"/>
                      <a:pt x="122" y="50"/>
                    </a:cubicBezTo>
                    <a:cubicBezTo>
                      <a:pt x="122" y="51"/>
                      <a:pt x="122" y="53"/>
                      <a:pt x="123" y="54"/>
                    </a:cubicBezTo>
                    <a:cubicBezTo>
                      <a:pt x="123" y="54"/>
                      <a:pt x="124" y="54"/>
                      <a:pt x="124" y="53"/>
                    </a:cubicBezTo>
                    <a:cubicBezTo>
                      <a:pt x="125" y="53"/>
                      <a:pt x="125" y="54"/>
                      <a:pt x="126" y="54"/>
                    </a:cubicBezTo>
                    <a:cubicBezTo>
                      <a:pt x="127" y="54"/>
                      <a:pt x="129" y="54"/>
                      <a:pt x="131" y="53"/>
                    </a:cubicBezTo>
                    <a:cubicBezTo>
                      <a:pt x="133" y="52"/>
                      <a:pt x="135" y="53"/>
                      <a:pt x="137" y="52"/>
                    </a:cubicBezTo>
                    <a:cubicBezTo>
                      <a:pt x="138" y="52"/>
                      <a:pt x="137" y="51"/>
                      <a:pt x="138" y="50"/>
                    </a:cubicBezTo>
                    <a:cubicBezTo>
                      <a:pt x="138" y="50"/>
                      <a:pt x="138" y="49"/>
                      <a:pt x="138" y="49"/>
                    </a:cubicBezTo>
                    <a:cubicBezTo>
                      <a:pt x="138" y="48"/>
                      <a:pt x="137" y="47"/>
                      <a:pt x="137" y="46"/>
                    </a:cubicBezTo>
                    <a:cubicBezTo>
                      <a:pt x="138" y="46"/>
                      <a:pt x="139" y="47"/>
                      <a:pt x="140" y="47"/>
                    </a:cubicBezTo>
                    <a:cubicBezTo>
                      <a:pt x="142" y="47"/>
                      <a:pt x="140" y="49"/>
                      <a:pt x="141" y="51"/>
                    </a:cubicBezTo>
                    <a:cubicBezTo>
                      <a:pt x="142" y="52"/>
                      <a:pt x="146" y="55"/>
                      <a:pt x="148" y="52"/>
                    </a:cubicBezTo>
                    <a:cubicBezTo>
                      <a:pt x="148" y="53"/>
                      <a:pt x="151" y="54"/>
                      <a:pt x="152" y="54"/>
                    </a:cubicBezTo>
                    <a:cubicBezTo>
                      <a:pt x="153" y="54"/>
                      <a:pt x="154" y="54"/>
                      <a:pt x="156" y="54"/>
                    </a:cubicBezTo>
                    <a:cubicBezTo>
                      <a:pt x="159" y="54"/>
                      <a:pt x="162" y="53"/>
                      <a:pt x="166" y="53"/>
                    </a:cubicBezTo>
                    <a:cubicBezTo>
                      <a:pt x="167" y="53"/>
                      <a:pt x="170" y="53"/>
                      <a:pt x="171" y="51"/>
                    </a:cubicBezTo>
                    <a:cubicBezTo>
                      <a:pt x="171" y="51"/>
                      <a:pt x="171" y="51"/>
                      <a:pt x="171" y="51"/>
                    </a:cubicBezTo>
                    <a:cubicBezTo>
                      <a:pt x="171" y="51"/>
                      <a:pt x="171" y="50"/>
                      <a:pt x="171" y="50"/>
                    </a:cubicBezTo>
                    <a:cubicBezTo>
                      <a:pt x="171" y="49"/>
                      <a:pt x="171" y="49"/>
                      <a:pt x="171" y="49"/>
                    </a:cubicBezTo>
                    <a:cubicBezTo>
                      <a:pt x="171" y="48"/>
                      <a:pt x="172" y="48"/>
                      <a:pt x="172" y="47"/>
                    </a:cubicBezTo>
                    <a:cubicBezTo>
                      <a:pt x="171" y="46"/>
                      <a:pt x="170" y="46"/>
                      <a:pt x="170" y="45"/>
                    </a:cubicBezTo>
                    <a:cubicBezTo>
                      <a:pt x="170" y="45"/>
                      <a:pt x="171" y="45"/>
                      <a:pt x="171" y="45"/>
                    </a:cubicBezTo>
                    <a:cubicBezTo>
                      <a:pt x="172" y="46"/>
                      <a:pt x="171" y="46"/>
                      <a:pt x="171" y="46"/>
                    </a:cubicBezTo>
                    <a:cubicBezTo>
                      <a:pt x="172" y="47"/>
                      <a:pt x="175" y="46"/>
                      <a:pt x="175" y="46"/>
                    </a:cubicBezTo>
                    <a:cubicBezTo>
                      <a:pt x="177" y="46"/>
                      <a:pt x="178" y="46"/>
                      <a:pt x="180" y="46"/>
                    </a:cubicBezTo>
                    <a:cubicBezTo>
                      <a:pt x="178" y="45"/>
                      <a:pt x="178" y="43"/>
                      <a:pt x="176" y="43"/>
                    </a:cubicBezTo>
                    <a:cubicBezTo>
                      <a:pt x="175" y="43"/>
                      <a:pt x="175" y="43"/>
                      <a:pt x="174" y="43"/>
                    </a:cubicBezTo>
                    <a:cubicBezTo>
                      <a:pt x="173" y="44"/>
                      <a:pt x="172" y="44"/>
                      <a:pt x="171" y="44"/>
                    </a:cubicBezTo>
                    <a:cubicBezTo>
                      <a:pt x="171" y="43"/>
                      <a:pt x="169" y="43"/>
                      <a:pt x="168" y="43"/>
                    </a:cubicBezTo>
                    <a:cubicBezTo>
                      <a:pt x="172" y="41"/>
                      <a:pt x="175" y="39"/>
                      <a:pt x="178" y="38"/>
                    </a:cubicBezTo>
                    <a:cubicBezTo>
                      <a:pt x="178" y="37"/>
                      <a:pt x="178" y="37"/>
                      <a:pt x="178" y="36"/>
                    </a:cubicBezTo>
                    <a:cubicBezTo>
                      <a:pt x="178" y="35"/>
                      <a:pt x="178" y="36"/>
                      <a:pt x="177" y="35"/>
                    </a:cubicBezTo>
                    <a:cubicBezTo>
                      <a:pt x="177" y="34"/>
                      <a:pt x="177" y="34"/>
                      <a:pt x="175" y="34"/>
                    </a:cubicBezTo>
                    <a:cubicBezTo>
                      <a:pt x="173" y="34"/>
                      <a:pt x="171" y="34"/>
                      <a:pt x="169" y="34"/>
                    </a:cubicBezTo>
                    <a:cubicBezTo>
                      <a:pt x="171" y="33"/>
                      <a:pt x="172" y="33"/>
                      <a:pt x="173" y="32"/>
                    </a:cubicBezTo>
                    <a:cubicBezTo>
                      <a:pt x="172" y="33"/>
                      <a:pt x="172" y="31"/>
                      <a:pt x="171" y="31"/>
                    </a:cubicBezTo>
                    <a:cubicBezTo>
                      <a:pt x="170" y="31"/>
                      <a:pt x="169" y="30"/>
                      <a:pt x="168" y="30"/>
                    </a:cubicBezTo>
                    <a:cubicBezTo>
                      <a:pt x="167" y="30"/>
                      <a:pt x="165" y="30"/>
                      <a:pt x="164" y="30"/>
                    </a:cubicBezTo>
                    <a:cubicBezTo>
                      <a:pt x="164" y="30"/>
                      <a:pt x="163" y="31"/>
                      <a:pt x="163" y="30"/>
                    </a:cubicBezTo>
                    <a:cubicBezTo>
                      <a:pt x="161" y="30"/>
                      <a:pt x="162" y="29"/>
                      <a:pt x="161" y="28"/>
                    </a:cubicBezTo>
                    <a:cubicBezTo>
                      <a:pt x="160" y="27"/>
                      <a:pt x="158" y="27"/>
                      <a:pt x="157" y="27"/>
                    </a:cubicBezTo>
                    <a:cubicBezTo>
                      <a:pt x="156" y="27"/>
                      <a:pt x="155" y="27"/>
                      <a:pt x="154" y="27"/>
                    </a:cubicBezTo>
                    <a:cubicBezTo>
                      <a:pt x="152" y="27"/>
                      <a:pt x="150" y="26"/>
                      <a:pt x="148" y="26"/>
                    </a:cubicBezTo>
                    <a:cubicBezTo>
                      <a:pt x="145" y="27"/>
                      <a:pt x="144" y="28"/>
                      <a:pt x="142" y="28"/>
                    </a:cubicBezTo>
                    <a:cubicBezTo>
                      <a:pt x="140" y="28"/>
                      <a:pt x="139" y="28"/>
                      <a:pt x="137" y="28"/>
                    </a:cubicBezTo>
                    <a:cubicBezTo>
                      <a:pt x="136" y="27"/>
                      <a:pt x="134" y="27"/>
                      <a:pt x="132" y="27"/>
                    </a:cubicBezTo>
                    <a:cubicBezTo>
                      <a:pt x="133" y="27"/>
                      <a:pt x="131" y="28"/>
                      <a:pt x="131" y="28"/>
                    </a:cubicBezTo>
                    <a:cubicBezTo>
                      <a:pt x="131" y="28"/>
                      <a:pt x="130" y="28"/>
                      <a:pt x="130" y="28"/>
                    </a:cubicBezTo>
                    <a:cubicBezTo>
                      <a:pt x="129" y="28"/>
                      <a:pt x="129" y="29"/>
                      <a:pt x="129" y="29"/>
                    </a:cubicBezTo>
                    <a:cubicBezTo>
                      <a:pt x="128" y="30"/>
                      <a:pt x="123" y="29"/>
                      <a:pt x="127" y="30"/>
                    </a:cubicBezTo>
                    <a:cubicBezTo>
                      <a:pt x="125" y="31"/>
                      <a:pt x="123" y="30"/>
                      <a:pt x="122" y="30"/>
                    </a:cubicBezTo>
                    <a:cubicBezTo>
                      <a:pt x="122" y="30"/>
                      <a:pt x="122" y="30"/>
                      <a:pt x="122" y="30"/>
                    </a:cubicBezTo>
                    <a:cubicBezTo>
                      <a:pt x="122" y="30"/>
                      <a:pt x="121" y="30"/>
                      <a:pt x="121" y="30"/>
                    </a:cubicBezTo>
                    <a:cubicBezTo>
                      <a:pt x="122" y="31"/>
                      <a:pt x="117" y="31"/>
                      <a:pt x="119" y="32"/>
                    </a:cubicBezTo>
                    <a:cubicBezTo>
                      <a:pt x="118" y="32"/>
                      <a:pt x="117" y="31"/>
                      <a:pt x="116" y="31"/>
                    </a:cubicBezTo>
                    <a:cubicBezTo>
                      <a:pt x="115" y="31"/>
                      <a:pt x="115" y="32"/>
                      <a:pt x="114" y="32"/>
                    </a:cubicBezTo>
                    <a:cubicBezTo>
                      <a:pt x="112" y="32"/>
                      <a:pt x="111" y="32"/>
                      <a:pt x="110" y="33"/>
                    </a:cubicBezTo>
                    <a:cubicBezTo>
                      <a:pt x="112" y="34"/>
                      <a:pt x="114" y="34"/>
                      <a:pt x="116" y="35"/>
                    </a:cubicBezTo>
                    <a:cubicBezTo>
                      <a:pt x="114" y="35"/>
                      <a:pt x="112" y="35"/>
                      <a:pt x="110" y="35"/>
                    </a:cubicBezTo>
                    <a:cubicBezTo>
                      <a:pt x="108" y="35"/>
                      <a:pt x="106" y="36"/>
                      <a:pt x="105" y="35"/>
                    </a:cubicBezTo>
                    <a:cubicBezTo>
                      <a:pt x="103" y="34"/>
                      <a:pt x="100" y="31"/>
                      <a:pt x="98" y="31"/>
                    </a:cubicBezTo>
                    <a:cubicBezTo>
                      <a:pt x="97" y="31"/>
                      <a:pt x="96" y="32"/>
                      <a:pt x="96" y="33"/>
                    </a:cubicBezTo>
                    <a:cubicBezTo>
                      <a:pt x="95" y="34"/>
                      <a:pt x="95" y="34"/>
                      <a:pt x="94" y="33"/>
                    </a:cubicBezTo>
                    <a:cubicBezTo>
                      <a:pt x="94" y="32"/>
                      <a:pt x="94" y="32"/>
                      <a:pt x="93" y="32"/>
                    </a:cubicBezTo>
                    <a:cubicBezTo>
                      <a:pt x="92" y="32"/>
                      <a:pt x="90" y="34"/>
                      <a:pt x="88" y="33"/>
                    </a:cubicBezTo>
                    <a:cubicBezTo>
                      <a:pt x="87" y="33"/>
                      <a:pt x="85" y="29"/>
                      <a:pt x="84" y="30"/>
                    </a:cubicBezTo>
                    <a:cubicBezTo>
                      <a:pt x="84" y="29"/>
                      <a:pt x="83" y="31"/>
                      <a:pt x="83" y="31"/>
                    </a:cubicBezTo>
                    <a:cubicBezTo>
                      <a:pt x="82" y="31"/>
                      <a:pt x="82" y="31"/>
                      <a:pt x="82" y="31"/>
                    </a:cubicBezTo>
                    <a:cubicBezTo>
                      <a:pt x="82" y="31"/>
                      <a:pt x="83" y="32"/>
                      <a:pt x="83" y="32"/>
                    </a:cubicBezTo>
                    <a:cubicBezTo>
                      <a:pt x="81" y="32"/>
                      <a:pt x="79" y="32"/>
                      <a:pt x="78" y="32"/>
                    </a:cubicBezTo>
                    <a:cubicBezTo>
                      <a:pt x="76" y="32"/>
                      <a:pt x="74" y="32"/>
                      <a:pt x="73" y="32"/>
                    </a:cubicBezTo>
                    <a:cubicBezTo>
                      <a:pt x="73" y="31"/>
                      <a:pt x="74" y="31"/>
                      <a:pt x="74" y="31"/>
                    </a:cubicBezTo>
                    <a:cubicBezTo>
                      <a:pt x="75" y="31"/>
                      <a:pt x="75" y="31"/>
                      <a:pt x="75" y="31"/>
                    </a:cubicBezTo>
                    <a:cubicBezTo>
                      <a:pt x="76" y="31"/>
                      <a:pt x="78" y="31"/>
                      <a:pt x="78" y="30"/>
                    </a:cubicBezTo>
                    <a:cubicBezTo>
                      <a:pt x="79" y="29"/>
                      <a:pt x="77" y="27"/>
                      <a:pt x="76" y="26"/>
                    </a:cubicBezTo>
                    <a:cubicBezTo>
                      <a:pt x="75" y="25"/>
                      <a:pt x="74" y="26"/>
                      <a:pt x="73" y="27"/>
                    </a:cubicBezTo>
                    <a:cubicBezTo>
                      <a:pt x="73" y="27"/>
                      <a:pt x="73" y="26"/>
                      <a:pt x="73" y="26"/>
                    </a:cubicBezTo>
                    <a:cubicBezTo>
                      <a:pt x="73" y="25"/>
                      <a:pt x="72" y="23"/>
                      <a:pt x="71" y="23"/>
                    </a:cubicBezTo>
                    <a:cubicBezTo>
                      <a:pt x="70" y="22"/>
                      <a:pt x="70" y="23"/>
                      <a:pt x="70" y="23"/>
                    </a:cubicBezTo>
                    <a:cubicBezTo>
                      <a:pt x="69" y="24"/>
                      <a:pt x="69" y="24"/>
                      <a:pt x="68" y="23"/>
                    </a:cubicBezTo>
                    <a:cubicBezTo>
                      <a:pt x="67" y="23"/>
                      <a:pt x="63" y="23"/>
                      <a:pt x="63" y="23"/>
                    </a:cubicBezTo>
                    <a:cubicBezTo>
                      <a:pt x="62" y="23"/>
                      <a:pt x="62" y="24"/>
                      <a:pt x="62" y="24"/>
                    </a:cubicBezTo>
                    <a:cubicBezTo>
                      <a:pt x="61" y="25"/>
                      <a:pt x="60" y="26"/>
                      <a:pt x="59" y="26"/>
                    </a:cubicBezTo>
                    <a:cubicBezTo>
                      <a:pt x="59" y="25"/>
                      <a:pt x="59" y="25"/>
                      <a:pt x="60" y="24"/>
                    </a:cubicBezTo>
                    <a:cubicBezTo>
                      <a:pt x="60" y="24"/>
                      <a:pt x="61" y="24"/>
                      <a:pt x="61" y="24"/>
                    </a:cubicBezTo>
                    <a:cubicBezTo>
                      <a:pt x="61" y="24"/>
                      <a:pt x="59" y="23"/>
                      <a:pt x="59" y="22"/>
                    </a:cubicBezTo>
                    <a:cubicBezTo>
                      <a:pt x="60" y="22"/>
                      <a:pt x="61" y="22"/>
                      <a:pt x="62" y="22"/>
                    </a:cubicBezTo>
                    <a:cubicBezTo>
                      <a:pt x="64" y="22"/>
                      <a:pt x="66" y="22"/>
                      <a:pt x="68" y="21"/>
                    </a:cubicBezTo>
                    <a:cubicBezTo>
                      <a:pt x="64" y="21"/>
                      <a:pt x="60" y="20"/>
                      <a:pt x="56" y="20"/>
                    </a:cubicBezTo>
                    <a:cubicBezTo>
                      <a:pt x="57" y="20"/>
                      <a:pt x="57" y="19"/>
                      <a:pt x="57" y="19"/>
                    </a:cubicBezTo>
                    <a:cubicBezTo>
                      <a:pt x="56" y="18"/>
                      <a:pt x="55" y="18"/>
                      <a:pt x="54" y="17"/>
                    </a:cubicBezTo>
                    <a:cubicBezTo>
                      <a:pt x="55" y="17"/>
                      <a:pt x="57" y="18"/>
                      <a:pt x="58" y="18"/>
                    </a:cubicBezTo>
                    <a:cubicBezTo>
                      <a:pt x="59" y="19"/>
                      <a:pt x="60" y="19"/>
                      <a:pt x="61" y="19"/>
                    </a:cubicBezTo>
                    <a:cubicBezTo>
                      <a:pt x="63" y="20"/>
                      <a:pt x="65" y="19"/>
                      <a:pt x="67" y="20"/>
                    </a:cubicBezTo>
                    <a:cubicBezTo>
                      <a:pt x="66" y="20"/>
                      <a:pt x="66" y="19"/>
                      <a:pt x="66" y="19"/>
                    </a:cubicBezTo>
                    <a:cubicBezTo>
                      <a:pt x="68" y="18"/>
                      <a:pt x="77" y="21"/>
                      <a:pt x="78" y="18"/>
                    </a:cubicBezTo>
                    <a:cubicBezTo>
                      <a:pt x="78" y="16"/>
                      <a:pt x="77" y="16"/>
                      <a:pt x="75" y="16"/>
                    </a:cubicBezTo>
                    <a:cubicBezTo>
                      <a:pt x="74" y="16"/>
                      <a:pt x="73" y="16"/>
                      <a:pt x="72" y="16"/>
                    </a:cubicBezTo>
                    <a:cubicBezTo>
                      <a:pt x="70" y="15"/>
                      <a:pt x="68" y="14"/>
                      <a:pt x="66" y="14"/>
                    </a:cubicBezTo>
                    <a:cubicBezTo>
                      <a:pt x="62" y="14"/>
                      <a:pt x="58" y="13"/>
                      <a:pt x="55" y="12"/>
                    </a:cubicBezTo>
                    <a:cubicBezTo>
                      <a:pt x="56" y="11"/>
                      <a:pt x="58" y="13"/>
                      <a:pt x="59" y="13"/>
                    </a:cubicBezTo>
                    <a:cubicBezTo>
                      <a:pt x="60" y="13"/>
                      <a:pt x="61" y="12"/>
                      <a:pt x="62" y="13"/>
                    </a:cubicBezTo>
                    <a:cubicBezTo>
                      <a:pt x="62" y="13"/>
                      <a:pt x="63" y="13"/>
                      <a:pt x="64" y="13"/>
                    </a:cubicBezTo>
                    <a:cubicBezTo>
                      <a:pt x="62" y="10"/>
                      <a:pt x="59" y="8"/>
                      <a:pt x="55" y="8"/>
                    </a:cubicBezTo>
                    <a:cubicBezTo>
                      <a:pt x="53" y="8"/>
                      <a:pt x="51" y="9"/>
                      <a:pt x="49" y="10"/>
                    </a:cubicBezTo>
                    <a:cubicBezTo>
                      <a:pt x="48" y="10"/>
                      <a:pt x="47" y="10"/>
                      <a:pt x="46" y="10"/>
                    </a:cubicBezTo>
                    <a:cubicBezTo>
                      <a:pt x="44" y="10"/>
                      <a:pt x="43" y="10"/>
                      <a:pt x="42" y="10"/>
                    </a:cubicBezTo>
                    <a:cubicBezTo>
                      <a:pt x="41" y="10"/>
                      <a:pt x="40" y="9"/>
                      <a:pt x="39" y="10"/>
                    </a:cubicBezTo>
                    <a:cubicBezTo>
                      <a:pt x="39" y="10"/>
                      <a:pt x="38" y="11"/>
                      <a:pt x="38" y="12"/>
                    </a:cubicBezTo>
                    <a:cubicBezTo>
                      <a:pt x="37" y="12"/>
                      <a:pt x="35" y="15"/>
                      <a:pt x="34" y="14"/>
                    </a:cubicBezTo>
                    <a:cubicBezTo>
                      <a:pt x="32" y="14"/>
                      <a:pt x="35" y="13"/>
                      <a:pt x="35" y="13"/>
                    </a:cubicBezTo>
                    <a:cubicBezTo>
                      <a:pt x="36" y="12"/>
                      <a:pt x="37" y="11"/>
                      <a:pt x="37" y="11"/>
                    </a:cubicBezTo>
                    <a:cubicBezTo>
                      <a:pt x="37" y="10"/>
                      <a:pt x="39" y="8"/>
                      <a:pt x="38" y="8"/>
                    </a:cubicBezTo>
                    <a:cubicBezTo>
                      <a:pt x="36" y="6"/>
                      <a:pt x="34" y="4"/>
                      <a:pt x="32" y="3"/>
                    </a:cubicBezTo>
                    <a:cubicBezTo>
                      <a:pt x="31" y="3"/>
                      <a:pt x="30" y="4"/>
                      <a:pt x="28" y="3"/>
                    </a:cubicBezTo>
                    <a:cubicBezTo>
                      <a:pt x="26" y="3"/>
                      <a:pt x="25" y="2"/>
                      <a:pt x="23" y="2"/>
                    </a:cubicBezTo>
                    <a:cubicBezTo>
                      <a:pt x="21" y="2"/>
                      <a:pt x="19" y="1"/>
                      <a:pt x="17" y="1"/>
                    </a:cubicBezTo>
                    <a:cubicBezTo>
                      <a:pt x="15" y="0"/>
                      <a:pt x="13" y="0"/>
                      <a:pt x="11" y="0"/>
                    </a:cubicBezTo>
                    <a:cubicBezTo>
                      <a:pt x="9" y="0"/>
                      <a:pt x="7" y="0"/>
                      <a:pt x="6" y="1"/>
                    </a:cubicBezTo>
                    <a:cubicBezTo>
                      <a:pt x="8" y="2"/>
                      <a:pt x="6" y="2"/>
                      <a:pt x="5" y="2"/>
                    </a:cubicBezTo>
                    <a:cubicBezTo>
                      <a:pt x="4" y="2"/>
                      <a:pt x="3" y="2"/>
                      <a:pt x="1" y="2"/>
                    </a:cubicBezTo>
                    <a:cubicBezTo>
                      <a:pt x="2" y="2"/>
                      <a:pt x="2" y="2"/>
                      <a:pt x="3" y="3"/>
                    </a:cubicBezTo>
                    <a:cubicBezTo>
                      <a:pt x="2" y="3"/>
                      <a:pt x="0" y="3"/>
                      <a:pt x="1" y="4"/>
                    </a:cubicBezTo>
                    <a:cubicBezTo>
                      <a:pt x="2" y="5"/>
                      <a:pt x="4" y="5"/>
                      <a:pt x="6" y="6"/>
                    </a:cubicBezTo>
                    <a:cubicBezTo>
                      <a:pt x="5" y="6"/>
                      <a:pt x="5" y="6"/>
                      <a:pt x="4" y="6"/>
                    </a:cubicBezTo>
                    <a:cubicBezTo>
                      <a:pt x="5" y="6"/>
                      <a:pt x="5" y="6"/>
                      <a:pt x="6" y="7"/>
                    </a:cubicBezTo>
                    <a:cubicBezTo>
                      <a:pt x="4" y="7"/>
                      <a:pt x="2" y="7"/>
                      <a:pt x="0" y="8"/>
                    </a:cubicBezTo>
                    <a:cubicBezTo>
                      <a:pt x="0" y="8"/>
                      <a:pt x="0" y="8"/>
                      <a:pt x="0" y="8"/>
                    </a:cubicBezTo>
                    <a:cubicBezTo>
                      <a:pt x="1" y="8"/>
                      <a:pt x="2" y="8"/>
                      <a:pt x="3" y="8"/>
                    </a:cubicBezTo>
                    <a:cubicBezTo>
                      <a:pt x="4" y="8"/>
                      <a:pt x="4" y="9"/>
                      <a:pt x="5" y="9"/>
                    </a:cubicBezTo>
                    <a:cubicBezTo>
                      <a:pt x="6" y="10"/>
                      <a:pt x="6" y="9"/>
                      <a:pt x="7" y="9"/>
                    </a:cubicBezTo>
                    <a:cubicBezTo>
                      <a:pt x="7" y="10"/>
                      <a:pt x="8" y="10"/>
                      <a:pt x="8" y="11"/>
                    </a:cubicBezTo>
                    <a:cubicBezTo>
                      <a:pt x="10" y="12"/>
                      <a:pt x="11" y="10"/>
                      <a:pt x="14" y="10"/>
                    </a:cubicBezTo>
                    <a:cubicBezTo>
                      <a:pt x="12" y="12"/>
                      <a:pt x="10" y="12"/>
                      <a:pt x="8" y="13"/>
                    </a:cubicBezTo>
                    <a:cubicBezTo>
                      <a:pt x="10" y="14"/>
                      <a:pt x="11" y="14"/>
                      <a:pt x="13" y="15"/>
                    </a:cubicBezTo>
                    <a:cubicBezTo>
                      <a:pt x="13" y="15"/>
                      <a:pt x="13" y="15"/>
                      <a:pt x="14" y="15"/>
                    </a:cubicBezTo>
                    <a:cubicBezTo>
                      <a:pt x="14" y="15"/>
                      <a:pt x="15" y="15"/>
                      <a:pt x="15" y="15"/>
                    </a:cubicBezTo>
                    <a:cubicBezTo>
                      <a:pt x="17" y="15"/>
                      <a:pt x="19" y="16"/>
                      <a:pt x="21" y="16"/>
                    </a:cubicBezTo>
                    <a:cubicBezTo>
                      <a:pt x="20" y="16"/>
                      <a:pt x="17" y="16"/>
                      <a:pt x="16" y="17"/>
                    </a:cubicBezTo>
                    <a:cubicBezTo>
                      <a:pt x="15" y="18"/>
                      <a:pt x="17" y="18"/>
                      <a:pt x="18" y="18"/>
                    </a:cubicBezTo>
                    <a:cubicBezTo>
                      <a:pt x="19" y="18"/>
                      <a:pt x="20" y="18"/>
                      <a:pt x="21" y="17"/>
                    </a:cubicBezTo>
                    <a:cubicBezTo>
                      <a:pt x="21" y="17"/>
                      <a:pt x="22" y="17"/>
                      <a:pt x="22" y="16"/>
                    </a:cubicBezTo>
                    <a:cubicBezTo>
                      <a:pt x="23" y="16"/>
                      <a:pt x="22" y="17"/>
                      <a:pt x="23" y="17"/>
                    </a:cubicBezTo>
                    <a:cubicBezTo>
                      <a:pt x="25" y="17"/>
                      <a:pt x="27" y="17"/>
                      <a:pt x="29" y="17"/>
                    </a:cubicBezTo>
                    <a:cubicBezTo>
                      <a:pt x="30" y="17"/>
                      <a:pt x="31" y="18"/>
                      <a:pt x="32" y="17"/>
                    </a:cubicBezTo>
                    <a:cubicBezTo>
                      <a:pt x="32" y="17"/>
                      <a:pt x="33" y="16"/>
                      <a:pt x="33" y="16"/>
                    </a:cubicBezTo>
                    <a:cubicBezTo>
                      <a:pt x="33" y="17"/>
                      <a:pt x="34" y="17"/>
                      <a:pt x="34" y="16"/>
                    </a:cubicBezTo>
                    <a:cubicBezTo>
                      <a:pt x="35" y="16"/>
                      <a:pt x="36" y="15"/>
                      <a:pt x="37" y="15"/>
                    </a:cubicBezTo>
                    <a:cubicBezTo>
                      <a:pt x="37" y="15"/>
                      <a:pt x="38" y="15"/>
                      <a:pt x="39" y="15"/>
                    </a:cubicBezTo>
                    <a:cubicBezTo>
                      <a:pt x="39" y="15"/>
                      <a:pt x="39" y="16"/>
                      <a:pt x="39" y="16"/>
                    </a:cubicBezTo>
                    <a:cubicBezTo>
                      <a:pt x="40" y="18"/>
                      <a:pt x="42" y="18"/>
                      <a:pt x="43" y="20"/>
                    </a:cubicBezTo>
                    <a:cubicBezTo>
                      <a:pt x="44" y="21"/>
                      <a:pt x="44" y="21"/>
                      <a:pt x="44" y="22"/>
                    </a:cubicBezTo>
                    <a:cubicBezTo>
                      <a:pt x="44" y="23"/>
                      <a:pt x="44" y="23"/>
                      <a:pt x="45" y="23"/>
                    </a:cubicBezTo>
                    <a:cubicBezTo>
                      <a:pt x="45" y="24"/>
                      <a:pt x="46" y="24"/>
                      <a:pt x="47" y="25"/>
                    </a:cubicBezTo>
                    <a:cubicBezTo>
                      <a:pt x="48" y="25"/>
                      <a:pt x="49" y="25"/>
                      <a:pt x="49" y="27"/>
                    </a:cubicBezTo>
                    <a:cubicBezTo>
                      <a:pt x="49" y="28"/>
                      <a:pt x="48" y="28"/>
                      <a:pt x="49" y="29"/>
                    </a:cubicBezTo>
                    <a:cubicBezTo>
                      <a:pt x="50" y="29"/>
                      <a:pt x="50" y="30"/>
                      <a:pt x="50" y="30"/>
                    </a:cubicBezTo>
                    <a:cubicBezTo>
                      <a:pt x="50" y="29"/>
                      <a:pt x="50" y="32"/>
                      <a:pt x="50" y="31"/>
                    </a:cubicBezTo>
                    <a:cubicBezTo>
                      <a:pt x="50" y="31"/>
                      <a:pt x="50" y="31"/>
                      <a:pt x="49" y="32"/>
                    </a:cubicBezTo>
                    <a:cubicBezTo>
                      <a:pt x="49" y="32"/>
                      <a:pt x="49" y="32"/>
                      <a:pt x="48" y="32"/>
                    </a:cubicBezTo>
                    <a:cubicBezTo>
                      <a:pt x="47" y="33"/>
                      <a:pt x="45" y="36"/>
                      <a:pt x="47" y="36"/>
                    </a:cubicBezTo>
                    <a:cubicBezTo>
                      <a:pt x="46" y="36"/>
                      <a:pt x="46" y="37"/>
                      <a:pt x="46" y="37"/>
                    </a:cubicBezTo>
                    <a:cubicBezTo>
                      <a:pt x="45" y="38"/>
                      <a:pt x="45" y="39"/>
                      <a:pt x="46" y="39"/>
                    </a:cubicBezTo>
                    <a:cubicBezTo>
                      <a:pt x="47" y="41"/>
                      <a:pt x="48" y="40"/>
                      <a:pt x="48" y="42"/>
                    </a:cubicBezTo>
                    <a:cubicBezTo>
                      <a:pt x="48" y="43"/>
                      <a:pt x="49" y="44"/>
                      <a:pt x="50" y="45"/>
                    </a:cubicBezTo>
                    <a:cubicBezTo>
                      <a:pt x="50" y="46"/>
                      <a:pt x="50" y="46"/>
                      <a:pt x="50" y="47"/>
                    </a:cubicBezTo>
                    <a:cubicBezTo>
                      <a:pt x="49" y="48"/>
                      <a:pt x="50" y="48"/>
                      <a:pt x="51" y="48"/>
                    </a:cubicBezTo>
                    <a:cubicBezTo>
                      <a:pt x="51" y="48"/>
                      <a:pt x="52" y="49"/>
                      <a:pt x="52" y="49"/>
                    </a:cubicBezTo>
                    <a:cubicBezTo>
                      <a:pt x="52" y="50"/>
                      <a:pt x="52" y="49"/>
                      <a:pt x="53" y="49"/>
                    </a:cubicBezTo>
                    <a:cubicBezTo>
                      <a:pt x="53" y="49"/>
                      <a:pt x="53" y="50"/>
                      <a:pt x="54" y="50"/>
                    </a:cubicBezTo>
                    <a:cubicBezTo>
                      <a:pt x="54" y="50"/>
                      <a:pt x="55" y="51"/>
                      <a:pt x="55" y="51"/>
                    </a:cubicBezTo>
                    <a:cubicBezTo>
                      <a:pt x="57" y="51"/>
                      <a:pt x="57" y="48"/>
                      <a:pt x="57" y="50"/>
                    </a:cubicBezTo>
                    <a:cubicBezTo>
                      <a:pt x="58" y="51"/>
                      <a:pt x="59" y="51"/>
                      <a:pt x="58" y="50"/>
                    </a:cubicBezTo>
                    <a:cubicBezTo>
                      <a:pt x="58" y="49"/>
                      <a:pt x="58" y="49"/>
                      <a:pt x="59" y="49"/>
                    </a:cubicBezTo>
                    <a:cubicBezTo>
                      <a:pt x="60" y="48"/>
                      <a:pt x="62" y="47"/>
                      <a:pt x="63" y="46"/>
                    </a:cubicBezTo>
                    <a:cubicBezTo>
                      <a:pt x="64" y="47"/>
                      <a:pt x="61" y="49"/>
                      <a:pt x="60" y="50"/>
                    </a:cubicBezTo>
                    <a:cubicBezTo>
                      <a:pt x="62" y="50"/>
                      <a:pt x="62" y="49"/>
                      <a:pt x="63" y="49"/>
                    </a:cubicBezTo>
                    <a:cubicBezTo>
                      <a:pt x="63" y="49"/>
                      <a:pt x="63" y="50"/>
                      <a:pt x="63" y="50"/>
                    </a:cubicBezTo>
                    <a:cubicBezTo>
                      <a:pt x="64" y="51"/>
                      <a:pt x="64" y="51"/>
                      <a:pt x="65" y="51"/>
                    </a:cubicBezTo>
                    <a:cubicBezTo>
                      <a:pt x="65" y="51"/>
                      <a:pt x="65" y="52"/>
                      <a:pt x="66" y="52"/>
                    </a:cubicBezTo>
                    <a:cubicBezTo>
                      <a:pt x="67" y="52"/>
                      <a:pt x="66" y="52"/>
                      <a:pt x="67" y="52"/>
                    </a:cubicBezTo>
                    <a:cubicBezTo>
                      <a:pt x="68" y="52"/>
                      <a:pt x="69" y="52"/>
                      <a:pt x="70" y="52"/>
                    </a:cubicBezTo>
                    <a:cubicBezTo>
                      <a:pt x="70" y="52"/>
                      <a:pt x="70" y="52"/>
                      <a:pt x="7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9" name="Freeform 2066">
                <a:extLst>
                  <a:ext uri="{FF2B5EF4-FFF2-40B4-BE49-F238E27FC236}">
                    <a16:creationId xmlns:a16="http://schemas.microsoft.com/office/drawing/2014/main" id="{DCA86386-7252-4F7D-B7B5-2BD136CE163D}"/>
                  </a:ext>
                </a:extLst>
              </p:cNvPr>
              <p:cNvSpPr>
                <a:spLocks/>
              </p:cNvSpPr>
              <p:nvPr/>
            </p:nvSpPr>
            <p:spPr bwMode="auto">
              <a:xfrm>
                <a:off x="1147" y="529"/>
                <a:ext cx="43" cy="14"/>
              </a:xfrm>
              <a:custGeom>
                <a:avLst/>
                <a:gdLst>
                  <a:gd name="T0" fmla="*/ 1 w 18"/>
                  <a:gd name="T1" fmla="*/ 4 h 6"/>
                  <a:gd name="T2" fmla="*/ 3 w 18"/>
                  <a:gd name="T3" fmla="*/ 5 h 6"/>
                  <a:gd name="T4" fmla="*/ 4 w 18"/>
                  <a:gd name="T5" fmla="*/ 5 h 6"/>
                  <a:gd name="T6" fmla="*/ 5 w 18"/>
                  <a:gd name="T7" fmla="*/ 5 h 6"/>
                  <a:gd name="T8" fmla="*/ 5 w 18"/>
                  <a:gd name="T9" fmla="*/ 6 h 6"/>
                  <a:gd name="T10" fmla="*/ 5 w 18"/>
                  <a:gd name="T11" fmla="*/ 6 h 6"/>
                  <a:gd name="T12" fmla="*/ 5 w 18"/>
                  <a:gd name="T13" fmla="*/ 6 h 6"/>
                  <a:gd name="T14" fmla="*/ 5 w 18"/>
                  <a:gd name="T15" fmla="*/ 5 h 6"/>
                  <a:gd name="T16" fmla="*/ 6 w 18"/>
                  <a:gd name="T17" fmla="*/ 5 h 6"/>
                  <a:gd name="T18" fmla="*/ 7 w 18"/>
                  <a:gd name="T19" fmla="*/ 5 h 6"/>
                  <a:gd name="T20" fmla="*/ 7 w 18"/>
                  <a:gd name="T21" fmla="*/ 5 h 6"/>
                  <a:gd name="T22" fmla="*/ 7 w 18"/>
                  <a:gd name="T23" fmla="*/ 5 h 6"/>
                  <a:gd name="T24" fmla="*/ 7 w 18"/>
                  <a:gd name="T25" fmla="*/ 5 h 6"/>
                  <a:gd name="T26" fmla="*/ 10 w 18"/>
                  <a:gd name="T27" fmla="*/ 5 h 6"/>
                  <a:gd name="T28" fmla="*/ 10 w 18"/>
                  <a:gd name="T29" fmla="*/ 5 h 6"/>
                  <a:gd name="T30" fmla="*/ 10 w 18"/>
                  <a:gd name="T31" fmla="*/ 5 h 6"/>
                  <a:gd name="T32" fmla="*/ 10 w 18"/>
                  <a:gd name="T33" fmla="*/ 5 h 6"/>
                  <a:gd name="T34" fmla="*/ 12 w 18"/>
                  <a:gd name="T35" fmla="*/ 4 h 6"/>
                  <a:gd name="T36" fmla="*/ 12 w 18"/>
                  <a:gd name="T37" fmla="*/ 4 h 6"/>
                  <a:gd name="T38" fmla="*/ 14 w 18"/>
                  <a:gd name="T39" fmla="*/ 3 h 6"/>
                  <a:gd name="T40" fmla="*/ 18 w 18"/>
                  <a:gd name="T41" fmla="*/ 0 h 6"/>
                  <a:gd name="T42" fmla="*/ 0 w 18"/>
                  <a:gd name="T43" fmla="*/ 4 h 6"/>
                  <a:gd name="T44" fmla="*/ 0 w 18"/>
                  <a:gd name="T45" fmla="*/ 4 h 6"/>
                  <a:gd name="T46" fmla="*/ 1 w 18"/>
                  <a:gd name="T47" fmla="*/ 4 h 6"/>
                  <a:gd name="T48" fmla="*/ 1 w 18"/>
                  <a:gd name="T4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6">
                    <a:moveTo>
                      <a:pt x="1" y="4"/>
                    </a:moveTo>
                    <a:cubicBezTo>
                      <a:pt x="1" y="5"/>
                      <a:pt x="2" y="5"/>
                      <a:pt x="3" y="5"/>
                    </a:cubicBezTo>
                    <a:cubicBezTo>
                      <a:pt x="3" y="5"/>
                      <a:pt x="4" y="5"/>
                      <a:pt x="4" y="5"/>
                    </a:cubicBezTo>
                    <a:cubicBezTo>
                      <a:pt x="5" y="5"/>
                      <a:pt x="5" y="6"/>
                      <a:pt x="5" y="5"/>
                    </a:cubicBezTo>
                    <a:cubicBezTo>
                      <a:pt x="5" y="5"/>
                      <a:pt x="5" y="6"/>
                      <a:pt x="5" y="6"/>
                    </a:cubicBezTo>
                    <a:cubicBezTo>
                      <a:pt x="5" y="6"/>
                      <a:pt x="5" y="6"/>
                      <a:pt x="5" y="6"/>
                    </a:cubicBezTo>
                    <a:cubicBezTo>
                      <a:pt x="5" y="6"/>
                      <a:pt x="5" y="6"/>
                      <a:pt x="5" y="6"/>
                    </a:cubicBezTo>
                    <a:cubicBezTo>
                      <a:pt x="5" y="6"/>
                      <a:pt x="5" y="5"/>
                      <a:pt x="5" y="5"/>
                    </a:cubicBezTo>
                    <a:cubicBezTo>
                      <a:pt x="6" y="5"/>
                      <a:pt x="6" y="5"/>
                      <a:pt x="6" y="5"/>
                    </a:cubicBezTo>
                    <a:cubicBezTo>
                      <a:pt x="6" y="5"/>
                      <a:pt x="7" y="5"/>
                      <a:pt x="7" y="5"/>
                    </a:cubicBezTo>
                    <a:cubicBezTo>
                      <a:pt x="7" y="5"/>
                      <a:pt x="7" y="5"/>
                      <a:pt x="7" y="5"/>
                    </a:cubicBezTo>
                    <a:cubicBezTo>
                      <a:pt x="7" y="5"/>
                      <a:pt x="7" y="5"/>
                      <a:pt x="7" y="5"/>
                    </a:cubicBezTo>
                    <a:cubicBezTo>
                      <a:pt x="7" y="5"/>
                      <a:pt x="7" y="5"/>
                      <a:pt x="7" y="5"/>
                    </a:cubicBezTo>
                    <a:cubicBezTo>
                      <a:pt x="8" y="4"/>
                      <a:pt x="9" y="5"/>
                      <a:pt x="10" y="5"/>
                    </a:cubicBezTo>
                    <a:cubicBezTo>
                      <a:pt x="10" y="5"/>
                      <a:pt x="10" y="5"/>
                      <a:pt x="10" y="5"/>
                    </a:cubicBezTo>
                    <a:cubicBezTo>
                      <a:pt x="10" y="5"/>
                      <a:pt x="10" y="5"/>
                      <a:pt x="10" y="5"/>
                    </a:cubicBezTo>
                    <a:cubicBezTo>
                      <a:pt x="10" y="5"/>
                      <a:pt x="10" y="5"/>
                      <a:pt x="10" y="5"/>
                    </a:cubicBezTo>
                    <a:cubicBezTo>
                      <a:pt x="11" y="5"/>
                      <a:pt x="12" y="5"/>
                      <a:pt x="12" y="4"/>
                    </a:cubicBezTo>
                    <a:cubicBezTo>
                      <a:pt x="12" y="4"/>
                      <a:pt x="12" y="4"/>
                      <a:pt x="12" y="4"/>
                    </a:cubicBezTo>
                    <a:cubicBezTo>
                      <a:pt x="13" y="4"/>
                      <a:pt x="14" y="4"/>
                      <a:pt x="14" y="3"/>
                    </a:cubicBezTo>
                    <a:cubicBezTo>
                      <a:pt x="16" y="2"/>
                      <a:pt x="18" y="2"/>
                      <a:pt x="18" y="0"/>
                    </a:cubicBezTo>
                    <a:cubicBezTo>
                      <a:pt x="12" y="1"/>
                      <a:pt x="6" y="2"/>
                      <a:pt x="0" y="4"/>
                    </a:cubicBezTo>
                    <a:cubicBezTo>
                      <a:pt x="0" y="4"/>
                      <a:pt x="0" y="4"/>
                      <a:pt x="0" y="4"/>
                    </a:cubicBezTo>
                    <a:cubicBezTo>
                      <a:pt x="0" y="4"/>
                      <a:pt x="0" y="4"/>
                      <a:pt x="1" y="4"/>
                    </a:cubicBezTo>
                    <a:cubicBezTo>
                      <a:pt x="1"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0" name="Freeform 2067">
                <a:extLst>
                  <a:ext uri="{FF2B5EF4-FFF2-40B4-BE49-F238E27FC236}">
                    <a16:creationId xmlns:a16="http://schemas.microsoft.com/office/drawing/2014/main" id="{1600D570-A48B-490E-98A0-AEC05C7E2BE1}"/>
                  </a:ext>
                </a:extLst>
              </p:cNvPr>
              <p:cNvSpPr>
                <a:spLocks/>
              </p:cNvSpPr>
              <p:nvPr/>
            </p:nvSpPr>
            <p:spPr bwMode="auto">
              <a:xfrm>
                <a:off x="1211" y="148"/>
                <a:ext cx="288" cy="180"/>
              </a:xfrm>
              <a:custGeom>
                <a:avLst/>
                <a:gdLst>
                  <a:gd name="T0" fmla="*/ 4 w 122"/>
                  <a:gd name="T1" fmla="*/ 37 h 76"/>
                  <a:gd name="T2" fmla="*/ 14 w 122"/>
                  <a:gd name="T3" fmla="*/ 42 h 76"/>
                  <a:gd name="T4" fmla="*/ 11 w 122"/>
                  <a:gd name="T5" fmla="*/ 47 h 76"/>
                  <a:gd name="T6" fmla="*/ 23 w 122"/>
                  <a:gd name="T7" fmla="*/ 48 h 76"/>
                  <a:gd name="T8" fmla="*/ 32 w 122"/>
                  <a:gd name="T9" fmla="*/ 50 h 76"/>
                  <a:gd name="T10" fmla="*/ 38 w 122"/>
                  <a:gd name="T11" fmla="*/ 48 h 76"/>
                  <a:gd name="T12" fmla="*/ 43 w 122"/>
                  <a:gd name="T13" fmla="*/ 47 h 76"/>
                  <a:gd name="T14" fmla="*/ 58 w 122"/>
                  <a:gd name="T15" fmla="*/ 48 h 76"/>
                  <a:gd name="T16" fmla="*/ 59 w 122"/>
                  <a:gd name="T17" fmla="*/ 51 h 76"/>
                  <a:gd name="T18" fmla="*/ 49 w 122"/>
                  <a:gd name="T19" fmla="*/ 53 h 76"/>
                  <a:gd name="T20" fmla="*/ 39 w 122"/>
                  <a:gd name="T21" fmla="*/ 53 h 76"/>
                  <a:gd name="T22" fmla="*/ 26 w 122"/>
                  <a:gd name="T23" fmla="*/ 57 h 76"/>
                  <a:gd name="T24" fmla="*/ 35 w 122"/>
                  <a:gd name="T25" fmla="*/ 62 h 76"/>
                  <a:gd name="T26" fmla="*/ 41 w 122"/>
                  <a:gd name="T27" fmla="*/ 65 h 76"/>
                  <a:gd name="T28" fmla="*/ 50 w 122"/>
                  <a:gd name="T29" fmla="*/ 67 h 76"/>
                  <a:gd name="T30" fmla="*/ 42 w 122"/>
                  <a:gd name="T31" fmla="*/ 71 h 76"/>
                  <a:gd name="T32" fmla="*/ 51 w 122"/>
                  <a:gd name="T33" fmla="*/ 74 h 76"/>
                  <a:gd name="T34" fmla="*/ 67 w 122"/>
                  <a:gd name="T35" fmla="*/ 74 h 76"/>
                  <a:gd name="T36" fmla="*/ 69 w 122"/>
                  <a:gd name="T37" fmla="*/ 72 h 76"/>
                  <a:gd name="T38" fmla="*/ 74 w 122"/>
                  <a:gd name="T39" fmla="*/ 74 h 76"/>
                  <a:gd name="T40" fmla="*/ 71 w 122"/>
                  <a:gd name="T41" fmla="*/ 67 h 76"/>
                  <a:gd name="T42" fmla="*/ 83 w 122"/>
                  <a:gd name="T43" fmla="*/ 73 h 76"/>
                  <a:gd name="T44" fmla="*/ 90 w 122"/>
                  <a:gd name="T45" fmla="*/ 65 h 76"/>
                  <a:gd name="T46" fmla="*/ 89 w 122"/>
                  <a:gd name="T47" fmla="*/ 56 h 76"/>
                  <a:gd name="T48" fmla="*/ 91 w 122"/>
                  <a:gd name="T49" fmla="*/ 58 h 76"/>
                  <a:gd name="T50" fmla="*/ 99 w 122"/>
                  <a:gd name="T51" fmla="*/ 60 h 76"/>
                  <a:gd name="T52" fmla="*/ 106 w 122"/>
                  <a:gd name="T53" fmla="*/ 55 h 76"/>
                  <a:gd name="T54" fmla="*/ 121 w 122"/>
                  <a:gd name="T55" fmla="*/ 49 h 76"/>
                  <a:gd name="T56" fmla="*/ 118 w 122"/>
                  <a:gd name="T57" fmla="*/ 48 h 76"/>
                  <a:gd name="T58" fmla="*/ 109 w 122"/>
                  <a:gd name="T59" fmla="*/ 43 h 76"/>
                  <a:gd name="T60" fmla="*/ 100 w 122"/>
                  <a:gd name="T61" fmla="*/ 43 h 76"/>
                  <a:gd name="T62" fmla="*/ 100 w 122"/>
                  <a:gd name="T63" fmla="*/ 38 h 76"/>
                  <a:gd name="T64" fmla="*/ 99 w 122"/>
                  <a:gd name="T65" fmla="*/ 35 h 76"/>
                  <a:gd name="T66" fmla="*/ 91 w 122"/>
                  <a:gd name="T67" fmla="*/ 30 h 76"/>
                  <a:gd name="T68" fmla="*/ 83 w 122"/>
                  <a:gd name="T69" fmla="*/ 25 h 76"/>
                  <a:gd name="T70" fmla="*/ 86 w 122"/>
                  <a:gd name="T71" fmla="*/ 31 h 76"/>
                  <a:gd name="T72" fmla="*/ 79 w 122"/>
                  <a:gd name="T73" fmla="*/ 24 h 76"/>
                  <a:gd name="T74" fmla="*/ 62 w 122"/>
                  <a:gd name="T75" fmla="*/ 20 h 76"/>
                  <a:gd name="T76" fmla="*/ 39 w 122"/>
                  <a:gd name="T77" fmla="*/ 2 h 76"/>
                  <a:gd name="T78" fmla="*/ 26 w 122"/>
                  <a:gd name="T79" fmla="*/ 3 h 76"/>
                  <a:gd name="T80" fmla="*/ 37 w 122"/>
                  <a:gd name="T81" fmla="*/ 5 h 76"/>
                  <a:gd name="T82" fmla="*/ 25 w 122"/>
                  <a:gd name="T83" fmla="*/ 8 h 76"/>
                  <a:gd name="T84" fmla="*/ 14 w 122"/>
                  <a:gd name="T85" fmla="*/ 12 h 76"/>
                  <a:gd name="T86" fmla="*/ 18 w 122"/>
                  <a:gd name="T87" fmla="*/ 15 h 76"/>
                  <a:gd name="T88" fmla="*/ 16 w 122"/>
                  <a:gd name="T89" fmla="*/ 19 h 76"/>
                  <a:gd name="T90" fmla="*/ 11 w 122"/>
                  <a:gd name="T91" fmla="*/ 23 h 76"/>
                  <a:gd name="T92" fmla="*/ 4 w 122"/>
                  <a:gd name="T93" fmla="*/ 27 h 76"/>
                  <a:gd name="T94" fmla="*/ 15 w 122"/>
                  <a:gd name="T95" fmla="*/ 28 h 76"/>
                  <a:gd name="T96" fmla="*/ 26 w 122"/>
                  <a:gd name="T97" fmla="*/ 29 h 76"/>
                  <a:gd name="T98" fmla="*/ 14 w 122"/>
                  <a:gd name="T99" fmla="*/ 3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76">
                    <a:moveTo>
                      <a:pt x="14" y="33"/>
                    </a:moveTo>
                    <a:cubicBezTo>
                      <a:pt x="10" y="32"/>
                      <a:pt x="5" y="31"/>
                      <a:pt x="0" y="32"/>
                    </a:cubicBezTo>
                    <a:cubicBezTo>
                      <a:pt x="0" y="32"/>
                      <a:pt x="0" y="32"/>
                      <a:pt x="1" y="32"/>
                    </a:cubicBezTo>
                    <a:cubicBezTo>
                      <a:pt x="3" y="33"/>
                      <a:pt x="1" y="37"/>
                      <a:pt x="4" y="37"/>
                    </a:cubicBezTo>
                    <a:cubicBezTo>
                      <a:pt x="4" y="38"/>
                      <a:pt x="5" y="38"/>
                      <a:pt x="5" y="38"/>
                    </a:cubicBezTo>
                    <a:cubicBezTo>
                      <a:pt x="6" y="38"/>
                      <a:pt x="6" y="39"/>
                      <a:pt x="6" y="39"/>
                    </a:cubicBezTo>
                    <a:cubicBezTo>
                      <a:pt x="6" y="40"/>
                      <a:pt x="7" y="40"/>
                      <a:pt x="8" y="40"/>
                    </a:cubicBezTo>
                    <a:cubicBezTo>
                      <a:pt x="10" y="42"/>
                      <a:pt x="12" y="42"/>
                      <a:pt x="14" y="42"/>
                    </a:cubicBezTo>
                    <a:cubicBezTo>
                      <a:pt x="15" y="42"/>
                      <a:pt x="16" y="42"/>
                      <a:pt x="17" y="42"/>
                    </a:cubicBezTo>
                    <a:cubicBezTo>
                      <a:pt x="19" y="41"/>
                      <a:pt x="22" y="39"/>
                      <a:pt x="23" y="40"/>
                    </a:cubicBezTo>
                    <a:cubicBezTo>
                      <a:pt x="22" y="43"/>
                      <a:pt x="19" y="43"/>
                      <a:pt x="16" y="43"/>
                    </a:cubicBezTo>
                    <a:cubicBezTo>
                      <a:pt x="14" y="44"/>
                      <a:pt x="9" y="44"/>
                      <a:pt x="11" y="47"/>
                    </a:cubicBezTo>
                    <a:cubicBezTo>
                      <a:pt x="11" y="48"/>
                      <a:pt x="13" y="48"/>
                      <a:pt x="14" y="48"/>
                    </a:cubicBezTo>
                    <a:cubicBezTo>
                      <a:pt x="14" y="48"/>
                      <a:pt x="15" y="47"/>
                      <a:pt x="15" y="48"/>
                    </a:cubicBezTo>
                    <a:cubicBezTo>
                      <a:pt x="15" y="49"/>
                      <a:pt x="16" y="49"/>
                      <a:pt x="16" y="50"/>
                    </a:cubicBezTo>
                    <a:cubicBezTo>
                      <a:pt x="17" y="52"/>
                      <a:pt x="22" y="49"/>
                      <a:pt x="23" y="48"/>
                    </a:cubicBezTo>
                    <a:cubicBezTo>
                      <a:pt x="24" y="47"/>
                      <a:pt x="25" y="47"/>
                      <a:pt x="26" y="47"/>
                    </a:cubicBezTo>
                    <a:cubicBezTo>
                      <a:pt x="27" y="48"/>
                      <a:pt x="27" y="48"/>
                      <a:pt x="27" y="49"/>
                    </a:cubicBezTo>
                    <a:cubicBezTo>
                      <a:pt x="27" y="50"/>
                      <a:pt x="27" y="50"/>
                      <a:pt x="28" y="50"/>
                    </a:cubicBezTo>
                    <a:cubicBezTo>
                      <a:pt x="29" y="51"/>
                      <a:pt x="31" y="51"/>
                      <a:pt x="32" y="50"/>
                    </a:cubicBezTo>
                    <a:cubicBezTo>
                      <a:pt x="32" y="49"/>
                      <a:pt x="32" y="48"/>
                      <a:pt x="33" y="48"/>
                    </a:cubicBezTo>
                    <a:cubicBezTo>
                      <a:pt x="34" y="49"/>
                      <a:pt x="35" y="48"/>
                      <a:pt x="35" y="47"/>
                    </a:cubicBezTo>
                    <a:cubicBezTo>
                      <a:pt x="35" y="48"/>
                      <a:pt x="35" y="48"/>
                      <a:pt x="36" y="49"/>
                    </a:cubicBezTo>
                    <a:cubicBezTo>
                      <a:pt x="36" y="49"/>
                      <a:pt x="38" y="48"/>
                      <a:pt x="38" y="48"/>
                    </a:cubicBezTo>
                    <a:cubicBezTo>
                      <a:pt x="39" y="47"/>
                      <a:pt x="37" y="45"/>
                      <a:pt x="39" y="46"/>
                    </a:cubicBezTo>
                    <a:cubicBezTo>
                      <a:pt x="40" y="47"/>
                      <a:pt x="40" y="47"/>
                      <a:pt x="41" y="47"/>
                    </a:cubicBezTo>
                    <a:cubicBezTo>
                      <a:pt x="42" y="47"/>
                      <a:pt x="42" y="46"/>
                      <a:pt x="43" y="46"/>
                    </a:cubicBezTo>
                    <a:cubicBezTo>
                      <a:pt x="44" y="46"/>
                      <a:pt x="43" y="46"/>
                      <a:pt x="43" y="47"/>
                    </a:cubicBezTo>
                    <a:cubicBezTo>
                      <a:pt x="44" y="48"/>
                      <a:pt x="43" y="48"/>
                      <a:pt x="44" y="48"/>
                    </a:cubicBezTo>
                    <a:cubicBezTo>
                      <a:pt x="45" y="48"/>
                      <a:pt x="46" y="48"/>
                      <a:pt x="47" y="48"/>
                    </a:cubicBezTo>
                    <a:cubicBezTo>
                      <a:pt x="48" y="49"/>
                      <a:pt x="49" y="49"/>
                      <a:pt x="50" y="49"/>
                    </a:cubicBezTo>
                    <a:cubicBezTo>
                      <a:pt x="52" y="49"/>
                      <a:pt x="56" y="47"/>
                      <a:pt x="58" y="48"/>
                    </a:cubicBezTo>
                    <a:cubicBezTo>
                      <a:pt x="56" y="49"/>
                      <a:pt x="53" y="49"/>
                      <a:pt x="51" y="49"/>
                    </a:cubicBezTo>
                    <a:cubicBezTo>
                      <a:pt x="48" y="50"/>
                      <a:pt x="44" y="49"/>
                      <a:pt x="43" y="51"/>
                    </a:cubicBezTo>
                    <a:cubicBezTo>
                      <a:pt x="46" y="52"/>
                      <a:pt x="49" y="52"/>
                      <a:pt x="53" y="51"/>
                    </a:cubicBezTo>
                    <a:cubicBezTo>
                      <a:pt x="55" y="51"/>
                      <a:pt x="57" y="51"/>
                      <a:pt x="59" y="51"/>
                    </a:cubicBezTo>
                    <a:cubicBezTo>
                      <a:pt x="60" y="51"/>
                      <a:pt x="61" y="51"/>
                      <a:pt x="62" y="51"/>
                    </a:cubicBezTo>
                    <a:cubicBezTo>
                      <a:pt x="63" y="51"/>
                      <a:pt x="64" y="51"/>
                      <a:pt x="66" y="51"/>
                    </a:cubicBezTo>
                    <a:cubicBezTo>
                      <a:pt x="64" y="52"/>
                      <a:pt x="60" y="52"/>
                      <a:pt x="58" y="52"/>
                    </a:cubicBezTo>
                    <a:cubicBezTo>
                      <a:pt x="55" y="52"/>
                      <a:pt x="52" y="53"/>
                      <a:pt x="49" y="53"/>
                    </a:cubicBezTo>
                    <a:cubicBezTo>
                      <a:pt x="48" y="53"/>
                      <a:pt x="47" y="53"/>
                      <a:pt x="46" y="53"/>
                    </a:cubicBezTo>
                    <a:cubicBezTo>
                      <a:pt x="44" y="53"/>
                      <a:pt x="43" y="53"/>
                      <a:pt x="42" y="53"/>
                    </a:cubicBezTo>
                    <a:cubicBezTo>
                      <a:pt x="41" y="53"/>
                      <a:pt x="41" y="53"/>
                      <a:pt x="40" y="53"/>
                    </a:cubicBezTo>
                    <a:cubicBezTo>
                      <a:pt x="40" y="53"/>
                      <a:pt x="39" y="53"/>
                      <a:pt x="39" y="53"/>
                    </a:cubicBezTo>
                    <a:cubicBezTo>
                      <a:pt x="38" y="53"/>
                      <a:pt x="38" y="53"/>
                      <a:pt x="37" y="53"/>
                    </a:cubicBezTo>
                    <a:cubicBezTo>
                      <a:pt x="36" y="53"/>
                      <a:pt x="34" y="54"/>
                      <a:pt x="33" y="55"/>
                    </a:cubicBezTo>
                    <a:cubicBezTo>
                      <a:pt x="32" y="55"/>
                      <a:pt x="30" y="56"/>
                      <a:pt x="29" y="56"/>
                    </a:cubicBezTo>
                    <a:cubicBezTo>
                      <a:pt x="29" y="56"/>
                      <a:pt x="26" y="57"/>
                      <a:pt x="26" y="57"/>
                    </a:cubicBezTo>
                    <a:cubicBezTo>
                      <a:pt x="26" y="57"/>
                      <a:pt x="27" y="58"/>
                      <a:pt x="27" y="58"/>
                    </a:cubicBezTo>
                    <a:cubicBezTo>
                      <a:pt x="29" y="59"/>
                      <a:pt x="30" y="60"/>
                      <a:pt x="32" y="60"/>
                    </a:cubicBezTo>
                    <a:cubicBezTo>
                      <a:pt x="33" y="60"/>
                      <a:pt x="38" y="61"/>
                      <a:pt x="38" y="62"/>
                    </a:cubicBezTo>
                    <a:cubicBezTo>
                      <a:pt x="38" y="63"/>
                      <a:pt x="36" y="62"/>
                      <a:pt x="35" y="62"/>
                    </a:cubicBezTo>
                    <a:cubicBezTo>
                      <a:pt x="34" y="62"/>
                      <a:pt x="32" y="61"/>
                      <a:pt x="31" y="62"/>
                    </a:cubicBezTo>
                    <a:cubicBezTo>
                      <a:pt x="32" y="63"/>
                      <a:pt x="32" y="63"/>
                      <a:pt x="33" y="63"/>
                    </a:cubicBezTo>
                    <a:cubicBezTo>
                      <a:pt x="34" y="64"/>
                      <a:pt x="34" y="64"/>
                      <a:pt x="35" y="65"/>
                    </a:cubicBezTo>
                    <a:cubicBezTo>
                      <a:pt x="37" y="67"/>
                      <a:pt x="39" y="65"/>
                      <a:pt x="41" y="65"/>
                    </a:cubicBezTo>
                    <a:cubicBezTo>
                      <a:pt x="41" y="65"/>
                      <a:pt x="42" y="65"/>
                      <a:pt x="43" y="66"/>
                    </a:cubicBezTo>
                    <a:cubicBezTo>
                      <a:pt x="44" y="66"/>
                      <a:pt x="45" y="66"/>
                      <a:pt x="46" y="66"/>
                    </a:cubicBezTo>
                    <a:cubicBezTo>
                      <a:pt x="48" y="66"/>
                      <a:pt x="51" y="66"/>
                      <a:pt x="53" y="67"/>
                    </a:cubicBezTo>
                    <a:cubicBezTo>
                      <a:pt x="51" y="67"/>
                      <a:pt x="51" y="67"/>
                      <a:pt x="50" y="67"/>
                    </a:cubicBezTo>
                    <a:cubicBezTo>
                      <a:pt x="48" y="67"/>
                      <a:pt x="47" y="67"/>
                      <a:pt x="46" y="67"/>
                    </a:cubicBezTo>
                    <a:cubicBezTo>
                      <a:pt x="45" y="67"/>
                      <a:pt x="44" y="68"/>
                      <a:pt x="43" y="68"/>
                    </a:cubicBezTo>
                    <a:cubicBezTo>
                      <a:pt x="42" y="68"/>
                      <a:pt x="38" y="68"/>
                      <a:pt x="40" y="69"/>
                    </a:cubicBezTo>
                    <a:cubicBezTo>
                      <a:pt x="40" y="70"/>
                      <a:pt x="42" y="70"/>
                      <a:pt x="42" y="71"/>
                    </a:cubicBezTo>
                    <a:cubicBezTo>
                      <a:pt x="43" y="71"/>
                      <a:pt x="46" y="73"/>
                      <a:pt x="46" y="72"/>
                    </a:cubicBezTo>
                    <a:cubicBezTo>
                      <a:pt x="46" y="73"/>
                      <a:pt x="47" y="73"/>
                      <a:pt x="48" y="73"/>
                    </a:cubicBezTo>
                    <a:cubicBezTo>
                      <a:pt x="48" y="74"/>
                      <a:pt x="48" y="74"/>
                      <a:pt x="49" y="74"/>
                    </a:cubicBezTo>
                    <a:cubicBezTo>
                      <a:pt x="50" y="74"/>
                      <a:pt x="50" y="74"/>
                      <a:pt x="51" y="74"/>
                    </a:cubicBezTo>
                    <a:cubicBezTo>
                      <a:pt x="51" y="74"/>
                      <a:pt x="52" y="74"/>
                      <a:pt x="53" y="74"/>
                    </a:cubicBezTo>
                    <a:cubicBezTo>
                      <a:pt x="54" y="75"/>
                      <a:pt x="56" y="75"/>
                      <a:pt x="58" y="75"/>
                    </a:cubicBezTo>
                    <a:cubicBezTo>
                      <a:pt x="59" y="75"/>
                      <a:pt x="61" y="76"/>
                      <a:pt x="63" y="76"/>
                    </a:cubicBezTo>
                    <a:cubicBezTo>
                      <a:pt x="63" y="76"/>
                      <a:pt x="68" y="76"/>
                      <a:pt x="67" y="74"/>
                    </a:cubicBezTo>
                    <a:cubicBezTo>
                      <a:pt x="65" y="73"/>
                      <a:pt x="67" y="73"/>
                      <a:pt x="65" y="73"/>
                    </a:cubicBezTo>
                    <a:cubicBezTo>
                      <a:pt x="64" y="72"/>
                      <a:pt x="63" y="72"/>
                      <a:pt x="62" y="72"/>
                    </a:cubicBezTo>
                    <a:cubicBezTo>
                      <a:pt x="63" y="71"/>
                      <a:pt x="64" y="72"/>
                      <a:pt x="65" y="72"/>
                    </a:cubicBezTo>
                    <a:cubicBezTo>
                      <a:pt x="67" y="72"/>
                      <a:pt x="68" y="71"/>
                      <a:pt x="69" y="72"/>
                    </a:cubicBezTo>
                    <a:cubicBezTo>
                      <a:pt x="70" y="73"/>
                      <a:pt x="70" y="74"/>
                      <a:pt x="71" y="74"/>
                    </a:cubicBezTo>
                    <a:cubicBezTo>
                      <a:pt x="72" y="74"/>
                      <a:pt x="72" y="74"/>
                      <a:pt x="73" y="75"/>
                    </a:cubicBezTo>
                    <a:cubicBezTo>
                      <a:pt x="74" y="75"/>
                      <a:pt x="74" y="76"/>
                      <a:pt x="75" y="75"/>
                    </a:cubicBezTo>
                    <a:cubicBezTo>
                      <a:pt x="75" y="75"/>
                      <a:pt x="74" y="74"/>
                      <a:pt x="74" y="74"/>
                    </a:cubicBezTo>
                    <a:cubicBezTo>
                      <a:pt x="74" y="73"/>
                      <a:pt x="73" y="72"/>
                      <a:pt x="73" y="71"/>
                    </a:cubicBezTo>
                    <a:cubicBezTo>
                      <a:pt x="72" y="70"/>
                      <a:pt x="71" y="70"/>
                      <a:pt x="71" y="69"/>
                    </a:cubicBezTo>
                    <a:cubicBezTo>
                      <a:pt x="70" y="69"/>
                      <a:pt x="68" y="67"/>
                      <a:pt x="69" y="66"/>
                    </a:cubicBezTo>
                    <a:cubicBezTo>
                      <a:pt x="70" y="65"/>
                      <a:pt x="70" y="66"/>
                      <a:pt x="71" y="67"/>
                    </a:cubicBezTo>
                    <a:cubicBezTo>
                      <a:pt x="72" y="68"/>
                      <a:pt x="74" y="70"/>
                      <a:pt x="75" y="71"/>
                    </a:cubicBezTo>
                    <a:cubicBezTo>
                      <a:pt x="77" y="71"/>
                      <a:pt x="77" y="73"/>
                      <a:pt x="78" y="73"/>
                    </a:cubicBezTo>
                    <a:cubicBezTo>
                      <a:pt x="79" y="74"/>
                      <a:pt x="80" y="75"/>
                      <a:pt x="81" y="75"/>
                    </a:cubicBezTo>
                    <a:cubicBezTo>
                      <a:pt x="82" y="76"/>
                      <a:pt x="83" y="74"/>
                      <a:pt x="83" y="73"/>
                    </a:cubicBezTo>
                    <a:cubicBezTo>
                      <a:pt x="83" y="72"/>
                      <a:pt x="84" y="71"/>
                      <a:pt x="84" y="70"/>
                    </a:cubicBezTo>
                    <a:cubicBezTo>
                      <a:pt x="85" y="69"/>
                      <a:pt x="81" y="66"/>
                      <a:pt x="83" y="65"/>
                    </a:cubicBezTo>
                    <a:cubicBezTo>
                      <a:pt x="85" y="64"/>
                      <a:pt x="87" y="71"/>
                      <a:pt x="90" y="68"/>
                    </a:cubicBezTo>
                    <a:cubicBezTo>
                      <a:pt x="91" y="67"/>
                      <a:pt x="91" y="66"/>
                      <a:pt x="90" y="65"/>
                    </a:cubicBezTo>
                    <a:cubicBezTo>
                      <a:pt x="89" y="64"/>
                      <a:pt x="88" y="64"/>
                      <a:pt x="87" y="64"/>
                    </a:cubicBezTo>
                    <a:cubicBezTo>
                      <a:pt x="88" y="63"/>
                      <a:pt x="89" y="64"/>
                      <a:pt x="88" y="62"/>
                    </a:cubicBezTo>
                    <a:cubicBezTo>
                      <a:pt x="88" y="61"/>
                      <a:pt x="88" y="60"/>
                      <a:pt x="88" y="59"/>
                    </a:cubicBezTo>
                    <a:cubicBezTo>
                      <a:pt x="88" y="58"/>
                      <a:pt x="88" y="57"/>
                      <a:pt x="89" y="56"/>
                    </a:cubicBezTo>
                    <a:cubicBezTo>
                      <a:pt x="90" y="56"/>
                      <a:pt x="90" y="56"/>
                      <a:pt x="91" y="56"/>
                    </a:cubicBezTo>
                    <a:cubicBezTo>
                      <a:pt x="92" y="56"/>
                      <a:pt x="92" y="55"/>
                      <a:pt x="93" y="55"/>
                    </a:cubicBezTo>
                    <a:cubicBezTo>
                      <a:pt x="92" y="55"/>
                      <a:pt x="92" y="56"/>
                      <a:pt x="92" y="57"/>
                    </a:cubicBezTo>
                    <a:cubicBezTo>
                      <a:pt x="92" y="57"/>
                      <a:pt x="91" y="57"/>
                      <a:pt x="91" y="58"/>
                    </a:cubicBezTo>
                    <a:cubicBezTo>
                      <a:pt x="92" y="59"/>
                      <a:pt x="92" y="60"/>
                      <a:pt x="92" y="61"/>
                    </a:cubicBezTo>
                    <a:cubicBezTo>
                      <a:pt x="93" y="62"/>
                      <a:pt x="93" y="65"/>
                      <a:pt x="94" y="64"/>
                    </a:cubicBezTo>
                    <a:cubicBezTo>
                      <a:pt x="95" y="64"/>
                      <a:pt x="95" y="63"/>
                      <a:pt x="96" y="62"/>
                    </a:cubicBezTo>
                    <a:cubicBezTo>
                      <a:pt x="97" y="61"/>
                      <a:pt x="98" y="60"/>
                      <a:pt x="99" y="60"/>
                    </a:cubicBezTo>
                    <a:cubicBezTo>
                      <a:pt x="100" y="60"/>
                      <a:pt x="101" y="59"/>
                      <a:pt x="101" y="58"/>
                    </a:cubicBezTo>
                    <a:cubicBezTo>
                      <a:pt x="101" y="58"/>
                      <a:pt x="100" y="57"/>
                      <a:pt x="100" y="56"/>
                    </a:cubicBezTo>
                    <a:cubicBezTo>
                      <a:pt x="102" y="57"/>
                      <a:pt x="103" y="58"/>
                      <a:pt x="104" y="57"/>
                    </a:cubicBezTo>
                    <a:cubicBezTo>
                      <a:pt x="105" y="56"/>
                      <a:pt x="105" y="55"/>
                      <a:pt x="106" y="55"/>
                    </a:cubicBezTo>
                    <a:cubicBezTo>
                      <a:pt x="108" y="54"/>
                      <a:pt x="111" y="54"/>
                      <a:pt x="114" y="53"/>
                    </a:cubicBezTo>
                    <a:cubicBezTo>
                      <a:pt x="114" y="53"/>
                      <a:pt x="116" y="52"/>
                      <a:pt x="117" y="52"/>
                    </a:cubicBezTo>
                    <a:cubicBezTo>
                      <a:pt x="118" y="52"/>
                      <a:pt x="118" y="52"/>
                      <a:pt x="118" y="52"/>
                    </a:cubicBezTo>
                    <a:cubicBezTo>
                      <a:pt x="120" y="51"/>
                      <a:pt x="121" y="51"/>
                      <a:pt x="121" y="49"/>
                    </a:cubicBezTo>
                    <a:cubicBezTo>
                      <a:pt x="121" y="50"/>
                      <a:pt x="121" y="50"/>
                      <a:pt x="121" y="51"/>
                    </a:cubicBezTo>
                    <a:cubicBezTo>
                      <a:pt x="122" y="50"/>
                      <a:pt x="121" y="50"/>
                      <a:pt x="121" y="49"/>
                    </a:cubicBezTo>
                    <a:cubicBezTo>
                      <a:pt x="121" y="49"/>
                      <a:pt x="121" y="49"/>
                      <a:pt x="121" y="49"/>
                    </a:cubicBezTo>
                    <a:cubicBezTo>
                      <a:pt x="121" y="48"/>
                      <a:pt x="119" y="48"/>
                      <a:pt x="118" y="48"/>
                    </a:cubicBezTo>
                    <a:cubicBezTo>
                      <a:pt x="117" y="47"/>
                      <a:pt x="117" y="46"/>
                      <a:pt x="116" y="45"/>
                    </a:cubicBezTo>
                    <a:cubicBezTo>
                      <a:pt x="116" y="45"/>
                      <a:pt x="113" y="40"/>
                      <a:pt x="112" y="43"/>
                    </a:cubicBezTo>
                    <a:cubicBezTo>
                      <a:pt x="112" y="44"/>
                      <a:pt x="111" y="47"/>
                      <a:pt x="110" y="46"/>
                    </a:cubicBezTo>
                    <a:cubicBezTo>
                      <a:pt x="110" y="46"/>
                      <a:pt x="110" y="43"/>
                      <a:pt x="109" y="43"/>
                    </a:cubicBezTo>
                    <a:cubicBezTo>
                      <a:pt x="108" y="42"/>
                      <a:pt x="107" y="42"/>
                      <a:pt x="106" y="42"/>
                    </a:cubicBezTo>
                    <a:cubicBezTo>
                      <a:pt x="104" y="41"/>
                      <a:pt x="104" y="42"/>
                      <a:pt x="103" y="44"/>
                    </a:cubicBezTo>
                    <a:cubicBezTo>
                      <a:pt x="102" y="45"/>
                      <a:pt x="102" y="43"/>
                      <a:pt x="102" y="43"/>
                    </a:cubicBezTo>
                    <a:cubicBezTo>
                      <a:pt x="102" y="43"/>
                      <a:pt x="101" y="43"/>
                      <a:pt x="100" y="43"/>
                    </a:cubicBezTo>
                    <a:cubicBezTo>
                      <a:pt x="99" y="43"/>
                      <a:pt x="98" y="45"/>
                      <a:pt x="97" y="45"/>
                    </a:cubicBezTo>
                    <a:cubicBezTo>
                      <a:pt x="95" y="45"/>
                      <a:pt x="96" y="43"/>
                      <a:pt x="97" y="43"/>
                    </a:cubicBezTo>
                    <a:cubicBezTo>
                      <a:pt x="99" y="42"/>
                      <a:pt x="99" y="41"/>
                      <a:pt x="100" y="40"/>
                    </a:cubicBezTo>
                    <a:cubicBezTo>
                      <a:pt x="100" y="39"/>
                      <a:pt x="99" y="39"/>
                      <a:pt x="100" y="38"/>
                    </a:cubicBezTo>
                    <a:cubicBezTo>
                      <a:pt x="100" y="37"/>
                      <a:pt x="101" y="36"/>
                      <a:pt x="100" y="35"/>
                    </a:cubicBezTo>
                    <a:cubicBezTo>
                      <a:pt x="100" y="35"/>
                      <a:pt x="99" y="36"/>
                      <a:pt x="99" y="36"/>
                    </a:cubicBezTo>
                    <a:cubicBezTo>
                      <a:pt x="98" y="37"/>
                      <a:pt x="96" y="37"/>
                      <a:pt x="95" y="37"/>
                    </a:cubicBezTo>
                    <a:cubicBezTo>
                      <a:pt x="97" y="36"/>
                      <a:pt x="98" y="36"/>
                      <a:pt x="99" y="35"/>
                    </a:cubicBezTo>
                    <a:cubicBezTo>
                      <a:pt x="100" y="34"/>
                      <a:pt x="100" y="34"/>
                      <a:pt x="99" y="34"/>
                    </a:cubicBezTo>
                    <a:cubicBezTo>
                      <a:pt x="99" y="34"/>
                      <a:pt x="99" y="33"/>
                      <a:pt x="98" y="33"/>
                    </a:cubicBezTo>
                    <a:cubicBezTo>
                      <a:pt x="96" y="30"/>
                      <a:pt x="92" y="33"/>
                      <a:pt x="90" y="31"/>
                    </a:cubicBezTo>
                    <a:cubicBezTo>
                      <a:pt x="89" y="31"/>
                      <a:pt x="90" y="31"/>
                      <a:pt x="91" y="30"/>
                    </a:cubicBezTo>
                    <a:cubicBezTo>
                      <a:pt x="92" y="30"/>
                      <a:pt x="94" y="30"/>
                      <a:pt x="94" y="28"/>
                    </a:cubicBezTo>
                    <a:cubicBezTo>
                      <a:pt x="95" y="28"/>
                      <a:pt x="94" y="25"/>
                      <a:pt x="94" y="24"/>
                    </a:cubicBezTo>
                    <a:cubicBezTo>
                      <a:pt x="93" y="23"/>
                      <a:pt x="87" y="23"/>
                      <a:pt x="85" y="23"/>
                    </a:cubicBezTo>
                    <a:cubicBezTo>
                      <a:pt x="84" y="24"/>
                      <a:pt x="83" y="24"/>
                      <a:pt x="83" y="25"/>
                    </a:cubicBezTo>
                    <a:cubicBezTo>
                      <a:pt x="84" y="28"/>
                      <a:pt x="87" y="30"/>
                      <a:pt x="88" y="31"/>
                    </a:cubicBezTo>
                    <a:cubicBezTo>
                      <a:pt x="88" y="31"/>
                      <a:pt x="87" y="31"/>
                      <a:pt x="87" y="31"/>
                    </a:cubicBezTo>
                    <a:cubicBezTo>
                      <a:pt x="87" y="31"/>
                      <a:pt x="87" y="31"/>
                      <a:pt x="86" y="31"/>
                    </a:cubicBezTo>
                    <a:cubicBezTo>
                      <a:pt x="86" y="31"/>
                      <a:pt x="86" y="31"/>
                      <a:pt x="86" y="31"/>
                    </a:cubicBezTo>
                    <a:cubicBezTo>
                      <a:pt x="85" y="31"/>
                      <a:pt x="84" y="31"/>
                      <a:pt x="82" y="31"/>
                    </a:cubicBezTo>
                    <a:cubicBezTo>
                      <a:pt x="81" y="30"/>
                      <a:pt x="78" y="29"/>
                      <a:pt x="77" y="27"/>
                    </a:cubicBezTo>
                    <a:cubicBezTo>
                      <a:pt x="77" y="26"/>
                      <a:pt x="77" y="26"/>
                      <a:pt x="78" y="26"/>
                    </a:cubicBezTo>
                    <a:cubicBezTo>
                      <a:pt x="79" y="26"/>
                      <a:pt x="79" y="25"/>
                      <a:pt x="79" y="24"/>
                    </a:cubicBezTo>
                    <a:cubicBezTo>
                      <a:pt x="79" y="23"/>
                      <a:pt x="79" y="22"/>
                      <a:pt x="77" y="21"/>
                    </a:cubicBezTo>
                    <a:cubicBezTo>
                      <a:pt x="76" y="21"/>
                      <a:pt x="75" y="21"/>
                      <a:pt x="74" y="21"/>
                    </a:cubicBezTo>
                    <a:cubicBezTo>
                      <a:pt x="72" y="22"/>
                      <a:pt x="72" y="23"/>
                      <a:pt x="71" y="22"/>
                    </a:cubicBezTo>
                    <a:cubicBezTo>
                      <a:pt x="69" y="20"/>
                      <a:pt x="65" y="21"/>
                      <a:pt x="62" y="20"/>
                    </a:cubicBezTo>
                    <a:cubicBezTo>
                      <a:pt x="63" y="19"/>
                      <a:pt x="59" y="17"/>
                      <a:pt x="59" y="16"/>
                    </a:cubicBezTo>
                    <a:cubicBezTo>
                      <a:pt x="58" y="15"/>
                      <a:pt x="57" y="14"/>
                      <a:pt x="55" y="13"/>
                    </a:cubicBezTo>
                    <a:cubicBezTo>
                      <a:pt x="52" y="10"/>
                      <a:pt x="50" y="5"/>
                      <a:pt x="46" y="4"/>
                    </a:cubicBezTo>
                    <a:cubicBezTo>
                      <a:pt x="44" y="3"/>
                      <a:pt x="41" y="2"/>
                      <a:pt x="39" y="2"/>
                    </a:cubicBezTo>
                    <a:cubicBezTo>
                      <a:pt x="38" y="1"/>
                      <a:pt x="37" y="1"/>
                      <a:pt x="36" y="1"/>
                    </a:cubicBezTo>
                    <a:cubicBezTo>
                      <a:pt x="35" y="1"/>
                      <a:pt x="32" y="0"/>
                      <a:pt x="34" y="2"/>
                    </a:cubicBezTo>
                    <a:cubicBezTo>
                      <a:pt x="32" y="2"/>
                      <a:pt x="28" y="1"/>
                      <a:pt x="26" y="1"/>
                    </a:cubicBezTo>
                    <a:cubicBezTo>
                      <a:pt x="26" y="1"/>
                      <a:pt x="26" y="2"/>
                      <a:pt x="26" y="3"/>
                    </a:cubicBezTo>
                    <a:cubicBezTo>
                      <a:pt x="25" y="3"/>
                      <a:pt x="25" y="3"/>
                      <a:pt x="25" y="4"/>
                    </a:cubicBezTo>
                    <a:cubicBezTo>
                      <a:pt x="25" y="5"/>
                      <a:pt x="28" y="5"/>
                      <a:pt x="29" y="5"/>
                    </a:cubicBezTo>
                    <a:cubicBezTo>
                      <a:pt x="30" y="5"/>
                      <a:pt x="32" y="5"/>
                      <a:pt x="34" y="5"/>
                    </a:cubicBezTo>
                    <a:cubicBezTo>
                      <a:pt x="36" y="5"/>
                      <a:pt x="36" y="5"/>
                      <a:pt x="37" y="5"/>
                    </a:cubicBezTo>
                    <a:cubicBezTo>
                      <a:pt x="38" y="6"/>
                      <a:pt x="38" y="6"/>
                      <a:pt x="37" y="6"/>
                    </a:cubicBezTo>
                    <a:cubicBezTo>
                      <a:pt x="37" y="7"/>
                      <a:pt x="38" y="7"/>
                      <a:pt x="37" y="8"/>
                    </a:cubicBezTo>
                    <a:cubicBezTo>
                      <a:pt x="36" y="9"/>
                      <a:pt x="32" y="8"/>
                      <a:pt x="31" y="7"/>
                    </a:cubicBezTo>
                    <a:cubicBezTo>
                      <a:pt x="29" y="7"/>
                      <a:pt x="27" y="7"/>
                      <a:pt x="25" y="8"/>
                    </a:cubicBezTo>
                    <a:cubicBezTo>
                      <a:pt x="23" y="8"/>
                      <a:pt x="21" y="8"/>
                      <a:pt x="19" y="9"/>
                    </a:cubicBezTo>
                    <a:cubicBezTo>
                      <a:pt x="18" y="9"/>
                      <a:pt x="17" y="9"/>
                      <a:pt x="16" y="10"/>
                    </a:cubicBezTo>
                    <a:cubicBezTo>
                      <a:pt x="16" y="10"/>
                      <a:pt x="16" y="10"/>
                      <a:pt x="16" y="11"/>
                    </a:cubicBezTo>
                    <a:cubicBezTo>
                      <a:pt x="16" y="11"/>
                      <a:pt x="14" y="12"/>
                      <a:pt x="14" y="12"/>
                    </a:cubicBezTo>
                    <a:cubicBezTo>
                      <a:pt x="14" y="13"/>
                      <a:pt x="16" y="13"/>
                      <a:pt x="17" y="13"/>
                    </a:cubicBezTo>
                    <a:cubicBezTo>
                      <a:pt x="16" y="13"/>
                      <a:pt x="13" y="13"/>
                      <a:pt x="13" y="14"/>
                    </a:cubicBezTo>
                    <a:cubicBezTo>
                      <a:pt x="13" y="16"/>
                      <a:pt x="19" y="14"/>
                      <a:pt x="20" y="15"/>
                    </a:cubicBezTo>
                    <a:cubicBezTo>
                      <a:pt x="19" y="15"/>
                      <a:pt x="19" y="15"/>
                      <a:pt x="18" y="15"/>
                    </a:cubicBezTo>
                    <a:cubicBezTo>
                      <a:pt x="19" y="15"/>
                      <a:pt x="20" y="16"/>
                      <a:pt x="21" y="16"/>
                    </a:cubicBezTo>
                    <a:cubicBezTo>
                      <a:pt x="22" y="16"/>
                      <a:pt x="24" y="16"/>
                      <a:pt x="25" y="16"/>
                    </a:cubicBezTo>
                    <a:cubicBezTo>
                      <a:pt x="26" y="16"/>
                      <a:pt x="25" y="16"/>
                      <a:pt x="26" y="17"/>
                    </a:cubicBezTo>
                    <a:cubicBezTo>
                      <a:pt x="23" y="18"/>
                      <a:pt x="19" y="18"/>
                      <a:pt x="16" y="19"/>
                    </a:cubicBezTo>
                    <a:cubicBezTo>
                      <a:pt x="13" y="19"/>
                      <a:pt x="11" y="19"/>
                      <a:pt x="9" y="20"/>
                    </a:cubicBezTo>
                    <a:cubicBezTo>
                      <a:pt x="8" y="20"/>
                      <a:pt x="9" y="21"/>
                      <a:pt x="9" y="21"/>
                    </a:cubicBezTo>
                    <a:cubicBezTo>
                      <a:pt x="9" y="22"/>
                      <a:pt x="8" y="22"/>
                      <a:pt x="7" y="22"/>
                    </a:cubicBezTo>
                    <a:cubicBezTo>
                      <a:pt x="8" y="23"/>
                      <a:pt x="10" y="23"/>
                      <a:pt x="11" y="23"/>
                    </a:cubicBezTo>
                    <a:cubicBezTo>
                      <a:pt x="9" y="24"/>
                      <a:pt x="7" y="24"/>
                      <a:pt x="5" y="24"/>
                    </a:cubicBezTo>
                    <a:cubicBezTo>
                      <a:pt x="5" y="25"/>
                      <a:pt x="1" y="25"/>
                      <a:pt x="2" y="26"/>
                    </a:cubicBezTo>
                    <a:cubicBezTo>
                      <a:pt x="2" y="26"/>
                      <a:pt x="4" y="26"/>
                      <a:pt x="3" y="26"/>
                    </a:cubicBezTo>
                    <a:cubicBezTo>
                      <a:pt x="2" y="27"/>
                      <a:pt x="3" y="27"/>
                      <a:pt x="4" y="27"/>
                    </a:cubicBezTo>
                    <a:cubicBezTo>
                      <a:pt x="5" y="27"/>
                      <a:pt x="6" y="28"/>
                      <a:pt x="8" y="28"/>
                    </a:cubicBezTo>
                    <a:cubicBezTo>
                      <a:pt x="9" y="29"/>
                      <a:pt x="11" y="28"/>
                      <a:pt x="12" y="28"/>
                    </a:cubicBezTo>
                    <a:cubicBezTo>
                      <a:pt x="13" y="28"/>
                      <a:pt x="13" y="28"/>
                      <a:pt x="13" y="28"/>
                    </a:cubicBezTo>
                    <a:cubicBezTo>
                      <a:pt x="14" y="28"/>
                      <a:pt x="15" y="28"/>
                      <a:pt x="15" y="28"/>
                    </a:cubicBezTo>
                    <a:cubicBezTo>
                      <a:pt x="15" y="28"/>
                      <a:pt x="11" y="29"/>
                      <a:pt x="12" y="30"/>
                    </a:cubicBezTo>
                    <a:cubicBezTo>
                      <a:pt x="13" y="30"/>
                      <a:pt x="14" y="30"/>
                      <a:pt x="16" y="30"/>
                    </a:cubicBezTo>
                    <a:cubicBezTo>
                      <a:pt x="18" y="30"/>
                      <a:pt x="21" y="29"/>
                      <a:pt x="23" y="28"/>
                    </a:cubicBezTo>
                    <a:cubicBezTo>
                      <a:pt x="24" y="28"/>
                      <a:pt x="25" y="29"/>
                      <a:pt x="26" y="29"/>
                    </a:cubicBezTo>
                    <a:cubicBezTo>
                      <a:pt x="24" y="30"/>
                      <a:pt x="22" y="30"/>
                      <a:pt x="21" y="31"/>
                    </a:cubicBezTo>
                    <a:cubicBezTo>
                      <a:pt x="22" y="32"/>
                      <a:pt x="23" y="33"/>
                      <a:pt x="24" y="34"/>
                    </a:cubicBezTo>
                    <a:cubicBezTo>
                      <a:pt x="23" y="33"/>
                      <a:pt x="21" y="33"/>
                      <a:pt x="20" y="33"/>
                    </a:cubicBezTo>
                    <a:cubicBezTo>
                      <a:pt x="18" y="33"/>
                      <a:pt x="16" y="33"/>
                      <a:pt x="14"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1" name="Freeform 2068">
                <a:extLst>
                  <a:ext uri="{FF2B5EF4-FFF2-40B4-BE49-F238E27FC236}">
                    <a16:creationId xmlns:a16="http://schemas.microsoft.com/office/drawing/2014/main" id="{32647040-00B9-40C5-A3CE-395F76934652}"/>
                  </a:ext>
                </a:extLst>
              </p:cNvPr>
              <p:cNvSpPr>
                <a:spLocks/>
              </p:cNvSpPr>
              <p:nvPr/>
            </p:nvSpPr>
            <p:spPr bwMode="auto">
              <a:xfrm>
                <a:off x="1594" y="543"/>
                <a:ext cx="118" cy="50"/>
              </a:xfrm>
              <a:custGeom>
                <a:avLst/>
                <a:gdLst>
                  <a:gd name="T0" fmla="*/ 46 w 50"/>
                  <a:gd name="T1" fmla="*/ 13 h 21"/>
                  <a:gd name="T2" fmla="*/ 44 w 50"/>
                  <a:gd name="T3" fmla="*/ 11 h 21"/>
                  <a:gd name="T4" fmla="*/ 42 w 50"/>
                  <a:gd name="T5" fmla="*/ 9 h 21"/>
                  <a:gd name="T6" fmla="*/ 39 w 50"/>
                  <a:gd name="T7" fmla="*/ 7 h 21"/>
                  <a:gd name="T8" fmla="*/ 37 w 50"/>
                  <a:gd name="T9" fmla="*/ 5 h 21"/>
                  <a:gd name="T10" fmla="*/ 34 w 50"/>
                  <a:gd name="T11" fmla="*/ 4 h 21"/>
                  <a:gd name="T12" fmla="*/ 32 w 50"/>
                  <a:gd name="T13" fmla="*/ 3 h 21"/>
                  <a:gd name="T14" fmla="*/ 26 w 50"/>
                  <a:gd name="T15" fmla="*/ 2 h 21"/>
                  <a:gd name="T16" fmla="*/ 23 w 50"/>
                  <a:gd name="T17" fmla="*/ 3 h 21"/>
                  <a:gd name="T18" fmla="*/ 20 w 50"/>
                  <a:gd name="T19" fmla="*/ 3 h 21"/>
                  <a:gd name="T20" fmla="*/ 14 w 50"/>
                  <a:gd name="T21" fmla="*/ 2 h 21"/>
                  <a:gd name="T22" fmla="*/ 11 w 50"/>
                  <a:gd name="T23" fmla="*/ 2 h 21"/>
                  <a:gd name="T24" fmla="*/ 10 w 50"/>
                  <a:gd name="T25" fmla="*/ 1 h 21"/>
                  <a:gd name="T26" fmla="*/ 8 w 50"/>
                  <a:gd name="T27" fmla="*/ 2 h 21"/>
                  <a:gd name="T28" fmla="*/ 5 w 50"/>
                  <a:gd name="T29" fmla="*/ 0 h 21"/>
                  <a:gd name="T30" fmla="*/ 1 w 50"/>
                  <a:gd name="T31" fmla="*/ 1 h 21"/>
                  <a:gd name="T32" fmla="*/ 1 w 50"/>
                  <a:gd name="T33" fmla="*/ 5 h 21"/>
                  <a:gd name="T34" fmla="*/ 2 w 50"/>
                  <a:gd name="T35" fmla="*/ 6 h 21"/>
                  <a:gd name="T36" fmla="*/ 1 w 50"/>
                  <a:gd name="T37" fmla="*/ 7 h 21"/>
                  <a:gd name="T38" fmla="*/ 2 w 50"/>
                  <a:gd name="T39" fmla="*/ 10 h 21"/>
                  <a:gd name="T40" fmla="*/ 6 w 50"/>
                  <a:gd name="T41" fmla="*/ 11 h 21"/>
                  <a:gd name="T42" fmla="*/ 8 w 50"/>
                  <a:gd name="T43" fmla="*/ 11 h 21"/>
                  <a:gd name="T44" fmla="*/ 8 w 50"/>
                  <a:gd name="T45" fmla="*/ 14 h 21"/>
                  <a:gd name="T46" fmla="*/ 11 w 50"/>
                  <a:gd name="T47" fmla="*/ 18 h 21"/>
                  <a:gd name="T48" fmla="*/ 14 w 50"/>
                  <a:gd name="T49" fmla="*/ 20 h 21"/>
                  <a:gd name="T50" fmla="*/ 17 w 50"/>
                  <a:gd name="T51" fmla="*/ 20 h 21"/>
                  <a:gd name="T52" fmla="*/ 32 w 50"/>
                  <a:gd name="T53" fmla="*/ 17 h 21"/>
                  <a:gd name="T54" fmla="*/ 50 w 50"/>
                  <a:gd name="T55" fmla="*/ 17 h 21"/>
                  <a:gd name="T56" fmla="*/ 47 w 50"/>
                  <a:gd name="T57" fmla="*/ 16 h 21"/>
                  <a:gd name="T58" fmla="*/ 48 w 50"/>
                  <a:gd name="T59" fmla="*/ 14 h 21"/>
                  <a:gd name="T60" fmla="*/ 46 w 50"/>
                  <a:gd name="T61"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 h="21">
                    <a:moveTo>
                      <a:pt x="46" y="13"/>
                    </a:moveTo>
                    <a:cubicBezTo>
                      <a:pt x="45" y="13"/>
                      <a:pt x="45" y="12"/>
                      <a:pt x="44" y="11"/>
                    </a:cubicBezTo>
                    <a:cubicBezTo>
                      <a:pt x="43" y="9"/>
                      <a:pt x="43" y="9"/>
                      <a:pt x="42" y="9"/>
                    </a:cubicBezTo>
                    <a:cubicBezTo>
                      <a:pt x="41" y="9"/>
                      <a:pt x="40" y="8"/>
                      <a:pt x="39" y="7"/>
                    </a:cubicBezTo>
                    <a:cubicBezTo>
                      <a:pt x="38" y="6"/>
                      <a:pt x="38" y="6"/>
                      <a:pt x="37" y="5"/>
                    </a:cubicBezTo>
                    <a:cubicBezTo>
                      <a:pt x="36" y="5"/>
                      <a:pt x="35" y="4"/>
                      <a:pt x="34" y="4"/>
                    </a:cubicBezTo>
                    <a:cubicBezTo>
                      <a:pt x="33" y="4"/>
                      <a:pt x="32" y="4"/>
                      <a:pt x="32" y="3"/>
                    </a:cubicBezTo>
                    <a:cubicBezTo>
                      <a:pt x="29" y="3"/>
                      <a:pt x="28" y="2"/>
                      <a:pt x="26" y="2"/>
                    </a:cubicBezTo>
                    <a:cubicBezTo>
                      <a:pt x="25" y="2"/>
                      <a:pt x="24" y="3"/>
                      <a:pt x="23" y="3"/>
                    </a:cubicBezTo>
                    <a:cubicBezTo>
                      <a:pt x="21" y="2"/>
                      <a:pt x="21" y="3"/>
                      <a:pt x="20" y="3"/>
                    </a:cubicBezTo>
                    <a:cubicBezTo>
                      <a:pt x="17" y="3"/>
                      <a:pt x="16" y="3"/>
                      <a:pt x="14" y="2"/>
                    </a:cubicBezTo>
                    <a:cubicBezTo>
                      <a:pt x="13" y="2"/>
                      <a:pt x="12" y="2"/>
                      <a:pt x="11" y="2"/>
                    </a:cubicBezTo>
                    <a:cubicBezTo>
                      <a:pt x="11" y="2"/>
                      <a:pt x="10" y="1"/>
                      <a:pt x="10" y="1"/>
                    </a:cubicBezTo>
                    <a:cubicBezTo>
                      <a:pt x="9" y="1"/>
                      <a:pt x="9" y="2"/>
                      <a:pt x="8" y="2"/>
                    </a:cubicBezTo>
                    <a:cubicBezTo>
                      <a:pt x="7" y="2"/>
                      <a:pt x="6" y="0"/>
                      <a:pt x="5" y="0"/>
                    </a:cubicBezTo>
                    <a:cubicBezTo>
                      <a:pt x="4" y="0"/>
                      <a:pt x="2" y="0"/>
                      <a:pt x="1" y="1"/>
                    </a:cubicBezTo>
                    <a:cubicBezTo>
                      <a:pt x="3" y="2"/>
                      <a:pt x="0" y="3"/>
                      <a:pt x="1" y="5"/>
                    </a:cubicBezTo>
                    <a:cubicBezTo>
                      <a:pt x="2" y="5"/>
                      <a:pt x="3" y="5"/>
                      <a:pt x="2" y="6"/>
                    </a:cubicBezTo>
                    <a:cubicBezTo>
                      <a:pt x="2" y="7"/>
                      <a:pt x="1" y="7"/>
                      <a:pt x="1" y="7"/>
                    </a:cubicBezTo>
                    <a:cubicBezTo>
                      <a:pt x="1" y="8"/>
                      <a:pt x="1" y="9"/>
                      <a:pt x="2" y="10"/>
                    </a:cubicBezTo>
                    <a:cubicBezTo>
                      <a:pt x="3" y="10"/>
                      <a:pt x="5" y="11"/>
                      <a:pt x="6" y="11"/>
                    </a:cubicBezTo>
                    <a:cubicBezTo>
                      <a:pt x="7" y="11"/>
                      <a:pt x="8" y="10"/>
                      <a:pt x="8" y="11"/>
                    </a:cubicBezTo>
                    <a:cubicBezTo>
                      <a:pt x="8" y="12"/>
                      <a:pt x="8" y="14"/>
                      <a:pt x="8" y="14"/>
                    </a:cubicBezTo>
                    <a:cubicBezTo>
                      <a:pt x="8" y="16"/>
                      <a:pt x="9" y="18"/>
                      <a:pt x="11" y="18"/>
                    </a:cubicBezTo>
                    <a:cubicBezTo>
                      <a:pt x="11" y="19"/>
                      <a:pt x="13" y="20"/>
                      <a:pt x="14" y="20"/>
                    </a:cubicBezTo>
                    <a:cubicBezTo>
                      <a:pt x="15" y="20"/>
                      <a:pt x="16" y="21"/>
                      <a:pt x="17" y="20"/>
                    </a:cubicBezTo>
                    <a:cubicBezTo>
                      <a:pt x="22" y="19"/>
                      <a:pt x="27" y="17"/>
                      <a:pt x="32" y="17"/>
                    </a:cubicBezTo>
                    <a:cubicBezTo>
                      <a:pt x="38" y="17"/>
                      <a:pt x="44" y="17"/>
                      <a:pt x="50" y="17"/>
                    </a:cubicBezTo>
                    <a:cubicBezTo>
                      <a:pt x="50" y="16"/>
                      <a:pt x="48" y="17"/>
                      <a:pt x="47" y="16"/>
                    </a:cubicBezTo>
                    <a:cubicBezTo>
                      <a:pt x="47" y="16"/>
                      <a:pt x="48" y="14"/>
                      <a:pt x="48" y="14"/>
                    </a:cubicBezTo>
                    <a:cubicBezTo>
                      <a:pt x="48" y="13"/>
                      <a:pt x="47" y="13"/>
                      <a:pt x="4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2" name="Freeform 2069">
                <a:extLst>
                  <a:ext uri="{FF2B5EF4-FFF2-40B4-BE49-F238E27FC236}">
                    <a16:creationId xmlns:a16="http://schemas.microsoft.com/office/drawing/2014/main" id="{8A9953F7-9A82-42EE-9987-E322B7FAA749}"/>
                  </a:ext>
                </a:extLst>
              </p:cNvPr>
              <p:cNvSpPr>
                <a:spLocks/>
              </p:cNvSpPr>
              <p:nvPr/>
            </p:nvSpPr>
            <p:spPr bwMode="auto">
              <a:xfrm>
                <a:off x="1237" y="526"/>
                <a:ext cx="132" cy="102"/>
              </a:xfrm>
              <a:custGeom>
                <a:avLst/>
                <a:gdLst>
                  <a:gd name="T0" fmla="*/ 56 w 56"/>
                  <a:gd name="T1" fmla="*/ 5 h 43"/>
                  <a:gd name="T2" fmla="*/ 42 w 56"/>
                  <a:gd name="T3" fmla="*/ 2 h 43"/>
                  <a:gd name="T4" fmla="*/ 37 w 56"/>
                  <a:gd name="T5" fmla="*/ 3 h 43"/>
                  <a:gd name="T6" fmla="*/ 32 w 56"/>
                  <a:gd name="T7" fmla="*/ 1 h 43"/>
                  <a:gd name="T8" fmla="*/ 12 w 56"/>
                  <a:gd name="T9" fmla="*/ 1 h 43"/>
                  <a:gd name="T10" fmla="*/ 8 w 56"/>
                  <a:gd name="T11" fmla="*/ 6 h 43"/>
                  <a:gd name="T12" fmla="*/ 11 w 56"/>
                  <a:gd name="T13" fmla="*/ 10 h 43"/>
                  <a:gd name="T14" fmla="*/ 0 w 56"/>
                  <a:gd name="T15" fmla="*/ 9 h 43"/>
                  <a:gd name="T16" fmla="*/ 1 w 56"/>
                  <a:gd name="T17" fmla="*/ 11 h 43"/>
                  <a:gd name="T18" fmla="*/ 1 w 56"/>
                  <a:gd name="T19" fmla="*/ 15 h 43"/>
                  <a:gd name="T20" fmla="*/ 1 w 56"/>
                  <a:gd name="T21" fmla="*/ 17 h 43"/>
                  <a:gd name="T22" fmla="*/ 0 w 56"/>
                  <a:gd name="T23" fmla="*/ 22 h 43"/>
                  <a:gd name="T24" fmla="*/ 1 w 56"/>
                  <a:gd name="T25" fmla="*/ 25 h 43"/>
                  <a:gd name="T26" fmla="*/ 3 w 56"/>
                  <a:gd name="T27" fmla="*/ 29 h 43"/>
                  <a:gd name="T28" fmla="*/ 6 w 56"/>
                  <a:gd name="T29" fmla="*/ 32 h 43"/>
                  <a:gd name="T30" fmla="*/ 6 w 56"/>
                  <a:gd name="T31" fmla="*/ 34 h 43"/>
                  <a:gd name="T32" fmla="*/ 7 w 56"/>
                  <a:gd name="T33" fmla="*/ 39 h 43"/>
                  <a:gd name="T34" fmla="*/ 6 w 56"/>
                  <a:gd name="T35" fmla="*/ 41 h 43"/>
                  <a:gd name="T36" fmla="*/ 10 w 56"/>
                  <a:gd name="T37" fmla="*/ 42 h 43"/>
                  <a:gd name="T38" fmla="*/ 17 w 56"/>
                  <a:gd name="T39" fmla="*/ 42 h 43"/>
                  <a:gd name="T40" fmla="*/ 15 w 56"/>
                  <a:gd name="T41" fmla="*/ 41 h 43"/>
                  <a:gd name="T42" fmla="*/ 18 w 56"/>
                  <a:gd name="T43" fmla="*/ 38 h 43"/>
                  <a:gd name="T44" fmla="*/ 22 w 56"/>
                  <a:gd name="T45" fmla="*/ 35 h 43"/>
                  <a:gd name="T46" fmla="*/ 23 w 56"/>
                  <a:gd name="T47" fmla="*/ 33 h 43"/>
                  <a:gd name="T48" fmla="*/ 20 w 56"/>
                  <a:gd name="T49" fmla="*/ 29 h 43"/>
                  <a:gd name="T50" fmla="*/ 17 w 56"/>
                  <a:gd name="T51" fmla="*/ 28 h 43"/>
                  <a:gd name="T52" fmla="*/ 15 w 56"/>
                  <a:gd name="T53" fmla="*/ 27 h 43"/>
                  <a:gd name="T54" fmla="*/ 24 w 56"/>
                  <a:gd name="T55" fmla="*/ 26 h 43"/>
                  <a:gd name="T56" fmla="*/ 33 w 56"/>
                  <a:gd name="T57" fmla="*/ 28 h 43"/>
                  <a:gd name="T58" fmla="*/ 43 w 56"/>
                  <a:gd name="T59" fmla="*/ 21 h 43"/>
                  <a:gd name="T60" fmla="*/ 42 w 56"/>
                  <a:gd name="T61" fmla="*/ 18 h 43"/>
                  <a:gd name="T62" fmla="*/ 46 w 56"/>
                  <a:gd name="T63" fmla="*/ 16 h 43"/>
                  <a:gd name="T64" fmla="*/ 49 w 56"/>
                  <a:gd name="T65"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43">
                    <a:moveTo>
                      <a:pt x="54" y="8"/>
                    </a:moveTo>
                    <a:cubicBezTo>
                      <a:pt x="54" y="8"/>
                      <a:pt x="56" y="5"/>
                      <a:pt x="56" y="5"/>
                    </a:cubicBezTo>
                    <a:cubicBezTo>
                      <a:pt x="56" y="4"/>
                      <a:pt x="54" y="4"/>
                      <a:pt x="54" y="4"/>
                    </a:cubicBezTo>
                    <a:cubicBezTo>
                      <a:pt x="50" y="3"/>
                      <a:pt x="46" y="2"/>
                      <a:pt x="42" y="2"/>
                    </a:cubicBezTo>
                    <a:cubicBezTo>
                      <a:pt x="41" y="2"/>
                      <a:pt x="40" y="2"/>
                      <a:pt x="39" y="2"/>
                    </a:cubicBezTo>
                    <a:cubicBezTo>
                      <a:pt x="38" y="3"/>
                      <a:pt x="38" y="3"/>
                      <a:pt x="37" y="3"/>
                    </a:cubicBezTo>
                    <a:cubicBezTo>
                      <a:pt x="36" y="4"/>
                      <a:pt x="36" y="3"/>
                      <a:pt x="35" y="2"/>
                    </a:cubicBezTo>
                    <a:cubicBezTo>
                      <a:pt x="35" y="2"/>
                      <a:pt x="33" y="1"/>
                      <a:pt x="32" y="1"/>
                    </a:cubicBezTo>
                    <a:cubicBezTo>
                      <a:pt x="30" y="0"/>
                      <a:pt x="27" y="1"/>
                      <a:pt x="25" y="1"/>
                    </a:cubicBezTo>
                    <a:cubicBezTo>
                      <a:pt x="20" y="1"/>
                      <a:pt x="16" y="1"/>
                      <a:pt x="12" y="1"/>
                    </a:cubicBezTo>
                    <a:cubicBezTo>
                      <a:pt x="10" y="1"/>
                      <a:pt x="3" y="2"/>
                      <a:pt x="4" y="4"/>
                    </a:cubicBezTo>
                    <a:cubicBezTo>
                      <a:pt x="5" y="6"/>
                      <a:pt x="6" y="5"/>
                      <a:pt x="8" y="6"/>
                    </a:cubicBezTo>
                    <a:cubicBezTo>
                      <a:pt x="7" y="7"/>
                      <a:pt x="6" y="7"/>
                      <a:pt x="7" y="8"/>
                    </a:cubicBezTo>
                    <a:cubicBezTo>
                      <a:pt x="9" y="9"/>
                      <a:pt x="10" y="9"/>
                      <a:pt x="11" y="10"/>
                    </a:cubicBezTo>
                    <a:cubicBezTo>
                      <a:pt x="10" y="10"/>
                      <a:pt x="9" y="9"/>
                      <a:pt x="7" y="9"/>
                    </a:cubicBezTo>
                    <a:cubicBezTo>
                      <a:pt x="6" y="9"/>
                      <a:pt x="1" y="8"/>
                      <a:pt x="0" y="9"/>
                    </a:cubicBezTo>
                    <a:cubicBezTo>
                      <a:pt x="0" y="10"/>
                      <a:pt x="1" y="10"/>
                      <a:pt x="1" y="10"/>
                    </a:cubicBezTo>
                    <a:cubicBezTo>
                      <a:pt x="1" y="10"/>
                      <a:pt x="1" y="11"/>
                      <a:pt x="1" y="11"/>
                    </a:cubicBezTo>
                    <a:cubicBezTo>
                      <a:pt x="1" y="11"/>
                      <a:pt x="1" y="12"/>
                      <a:pt x="1" y="13"/>
                    </a:cubicBezTo>
                    <a:cubicBezTo>
                      <a:pt x="0" y="14"/>
                      <a:pt x="1" y="14"/>
                      <a:pt x="1" y="15"/>
                    </a:cubicBezTo>
                    <a:cubicBezTo>
                      <a:pt x="1" y="15"/>
                      <a:pt x="1" y="16"/>
                      <a:pt x="1" y="16"/>
                    </a:cubicBezTo>
                    <a:cubicBezTo>
                      <a:pt x="1" y="16"/>
                      <a:pt x="1" y="17"/>
                      <a:pt x="1" y="17"/>
                    </a:cubicBezTo>
                    <a:cubicBezTo>
                      <a:pt x="2" y="17"/>
                      <a:pt x="2" y="18"/>
                      <a:pt x="2" y="18"/>
                    </a:cubicBezTo>
                    <a:cubicBezTo>
                      <a:pt x="1" y="20"/>
                      <a:pt x="0" y="21"/>
                      <a:pt x="0" y="22"/>
                    </a:cubicBezTo>
                    <a:cubicBezTo>
                      <a:pt x="0" y="23"/>
                      <a:pt x="1" y="23"/>
                      <a:pt x="1" y="24"/>
                    </a:cubicBezTo>
                    <a:cubicBezTo>
                      <a:pt x="1" y="24"/>
                      <a:pt x="1" y="25"/>
                      <a:pt x="1" y="25"/>
                    </a:cubicBezTo>
                    <a:cubicBezTo>
                      <a:pt x="1" y="27"/>
                      <a:pt x="2" y="26"/>
                      <a:pt x="1" y="28"/>
                    </a:cubicBezTo>
                    <a:cubicBezTo>
                      <a:pt x="1" y="29"/>
                      <a:pt x="2" y="28"/>
                      <a:pt x="3" y="29"/>
                    </a:cubicBezTo>
                    <a:cubicBezTo>
                      <a:pt x="4" y="29"/>
                      <a:pt x="4" y="30"/>
                      <a:pt x="4" y="31"/>
                    </a:cubicBezTo>
                    <a:cubicBezTo>
                      <a:pt x="5" y="31"/>
                      <a:pt x="5" y="31"/>
                      <a:pt x="6" y="32"/>
                    </a:cubicBezTo>
                    <a:cubicBezTo>
                      <a:pt x="6" y="32"/>
                      <a:pt x="5" y="33"/>
                      <a:pt x="5" y="33"/>
                    </a:cubicBezTo>
                    <a:cubicBezTo>
                      <a:pt x="5" y="34"/>
                      <a:pt x="6" y="34"/>
                      <a:pt x="6" y="34"/>
                    </a:cubicBezTo>
                    <a:cubicBezTo>
                      <a:pt x="6" y="36"/>
                      <a:pt x="5" y="37"/>
                      <a:pt x="6" y="38"/>
                    </a:cubicBezTo>
                    <a:cubicBezTo>
                      <a:pt x="6" y="39"/>
                      <a:pt x="6" y="39"/>
                      <a:pt x="7" y="39"/>
                    </a:cubicBezTo>
                    <a:cubicBezTo>
                      <a:pt x="8" y="39"/>
                      <a:pt x="9" y="39"/>
                      <a:pt x="10" y="39"/>
                    </a:cubicBezTo>
                    <a:cubicBezTo>
                      <a:pt x="9" y="39"/>
                      <a:pt x="7" y="40"/>
                      <a:pt x="6" y="41"/>
                    </a:cubicBezTo>
                    <a:cubicBezTo>
                      <a:pt x="6" y="41"/>
                      <a:pt x="5" y="43"/>
                      <a:pt x="6" y="42"/>
                    </a:cubicBezTo>
                    <a:cubicBezTo>
                      <a:pt x="8" y="42"/>
                      <a:pt x="9" y="42"/>
                      <a:pt x="10" y="42"/>
                    </a:cubicBezTo>
                    <a:cubicBezTo>
                      <a:pt x="11" y="41"/>
                      <a:pt x="12" y="41"/>
                      <a:pt x="13" y="41"/>
                    </a:cubicBezTo>
                    <a:cubicBezTo>
                      <a:pt x="15" y="41"/>
                      <a:pt x="16" y="42"/>
                      <a:pt x="17" y="42"/>
                    </a:cubicBezTo>
                    <a:cubicBezTo>
                      <a:pt x="17" y="41"/>
                      <a:pt x="17" y="41"/>
                      <a:pt x="17" y="40"/>
                    </a:cubicBezTo>
                    <a:cubicBezTo>
                      <a:pt x="17" y="41"/>
                      <a:pt x="16" y="41"/>
                      <a:pt x="15" y="41"/>
                    </a:cubicBezTo>
                    <a:cubicBezTo>
                      <a:pt x="16" y="40"/>
                      <a:pt x="17" y="41"/>
                      <a:pt x="17" y="40"/>
                    </a:cubicBezTo>
                    <a:cubicBezTo>
                      <a:pt x="18" y="39"/>
                      <a:pt x="18" y="38"/>
                      <a:pt x="18" y="38"/>
                    </a:cubicBezTo>
                    <a:cubicBezTo>
                      <a:pt x="19" y="37"/>
                      <a:pt x="19" y="36"/>
                      <a:pt x="20" y="36"/>
                    </a:cubicBezTo>
                    <a:cubicBezTo>
                      <a:pt x="20" y="35"/>
                      <a:pt x="21" y="36"/>
                      <a:pt x="22" y="35"/>
                    </a:cubicBezTo>
                    <a:cubicBezTo>
                      <a:pt x="22" y="35"/>
                      <a:pt x="22" y="34"/>
                      <a:pt x="22" y="34"/>
                    </a:cubicBezTo>
                    <a:cubicBezTo>
                      <a:pt x="22" y="34"/>
                      <a:pt x="23" y="33"/>
                      <a:pt x="23" y="33"/>
                    </a:cubicBezTo>
                    <a:cubicBezTo>
                      <a:pt x="23" y="32"/>
                      <a:pt x="23" y="32"/>
                      <a:pt x="22" y="31"/>
                    </a:cubicBezTo>
                    <a:cubicBezTo>
                      <a:pt x="22" y="30"/>
                      <a:pt x="20" y="30"/>
                      <a:pt x="20" y="29"/>
                    </a:cubicBezTo>
                    <a:cubicBezTo>
                      <a:pt x="19" y="29"/>
                      <a:pt x="20" y="28"/>
                      <a:pt x="20" y="28"/>
                    </a:cubicBezTo>
                    <a:cubicBezTo>
                      <a:pt x="19" y="28"/>
                      <a:pt x="18" y="28"/>
                      <a:pt x="17" y="28"/>
                    </a:cubicBezTo>
                    <a:cubicBezTo>
                      <a:pt x="17" y="28"/>
                      <a:pt x="15" y="28"/>
                      <a:pt x="15" y="28"/>
                    </a:cubicBezTo>
                    <a:cubicBezTo>
                      <a:pt x="14" y="28"/>
                      <a:pt x="14" y="27"/>
                      <a:pt x="15" y="27"/>
                    </a:cubicBezTo>
                    <a:cubicBezTo>
                      <a:pt x="17" y="27"/>
                      <a:pt x="19" y="27"/>
                      <a:pt x="21" y="27"/>
                    </a:cubicBezTo>
                    <a:cubicBezTo>
                      <a:pt x="22" y="27"/>
                      <a:pt x="23" y="26"/>
                      <a:pt x="24" y="26"/>
                    </a:cubicBezTo>
                    <a:cubicBezTo>
                      <a:pt x="25" y="26"/>
                      <a:pt x="26" y="27"/>
                      <a:pt x="27" y="27"/>
                    </a:cubicBezTo>
                    <a:cubicBezTo>
                      <a:pt x="29" y="27"/>
                      <a:pt x="31" y="27"/>
                      <a:pt x="33" y="28"/>
                    </a:cubicBezTo>
                    <a:cubicBezTo>
                      <a:pt x="36" y="29"/>
                      <a:pt x="39" y="27"/>
                      <a:pt x="41" y="24"/>
                    </a:cubicBezTo>
                    <a:cubicBezTo>
                      <a:pt x="42" y="23"/>
                      <a:pt x="42" y="22"/>
                      <a:pt x="43" y="21"/>
                    </a:cubicBezTo>
                    <a:cubicBezTo>
                      <a:pt x="43" y="20"/>
                      <a:pt x="44" y="19"/>
                      <a:pt x="44" y="19"/>
                    </a:cubicBezTo>
                    <a:cubicBezTo>
                      <a:pt x="45" y="18"/>
                      <a:pt x="43" y="18"/>
                      <a:pt x="42" y="18"/>
                    </a:cubicBezTo>
                    <a:cubicBezTo>
                      <a:pt x="43" y="18"/>
                      <a:pt x="44" y="18"/>
                      <a:pt x="45" y="18"/>
                    </a:cubicBezTo>
                    <a:cubicBezTo>
                      <a:pt x="46" y="17"/>
                      <a:pt x="46" y="17"/>
                      <a:pt x="46" y="16"/>
                    </a:cubicBezTo>
                    <a:cubicBezTo>
                      <a:pt x="47" y="15"/>
                      <a:pt x="50" y="13"/>
                      <a:pt x="49" y="12"/>
                    </a:cubicBezTo>
                    <a:cubicBezTo>
                      <a:pt x="49" y="12"/>
                      <a:pt x="49" y="12"/>
                      <a:pt x="49" y="12"/>
                    </a:cubicBezTo>
                    <a:cubicBezTo>
                      <a:pt x="51" y="12"/>
                      <a:pt x="53" y="10"/>
                      <a:pt x="5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3" name="Freeform 2070">
                <a:extLst>
                  <a:ext uri="{FF2B5EF4-FFF2-40B4-BE49-F238E27FC236}">
                    <a16:creationId xmlns:a16="http://schemas.microsoft.com/office/drawing/2014/main" id="{ADB34C75-823D-40A5-87BA-B0C610D2FC93}"/>
                  </a:ext>
                </a:extLst>
              </p:cNvPr>
              <p:cNvSpPr>
                <a:spLocks/>
              </p:cNvSpPr>
              <p:nvPr/>
            </p:nvSpPr>
            <p:spPr bwMode="auto">
              <a:xfrm>
                <a:off x="672" y="562"/>
                <a:ext cx="444" cy="217"/>
              </a:xfrm>
              <a:custGeom>
                <a:avLst/>
                <a:gdLst>
                  <a:gd name="T0" fmla="*/ 184 w 188"/>
                  <a:gd name="T1" fmla="*/ 61 h 92"/>
                  <a:gd name="T2" fmla="*/ 179 w 188"/>
                  <a:gd name="T3" fmla="*/ 61 h 92"/>
                  <a:gd name="T4" fmla="*/ 173 w 188"/>
                  <a:gd name="T5" fmla="*/ 58 h 92"/>
                  <a:gd name="T6" fmla="*/ 163 w 188"/>
                  <a:gd name="T7" fmla="*/ 52 h 92"/>
                  <a:gd name="T8" fmla="*/ 157 w 188"/>
                  <a:gd name="T9" fmla="*/ 51 h 92"/>
                  <a:gd name="T10" fmla="*/ 149 w 188"/>
                  <a:gd name="T11" fmla="*/ 45 h 92"/>
                  <a:gd name="T12" fmla="*/ 146 w 188"/>
                  <a:gd name="T13" fmla="*/ 28 h 92"/>
                  <a:gd name="T14" fmla="*/ 140 w 188"/>
                  <a:gd name="T15" fmla="*/ 12 h 92"/>
                  <a:gd name="T16" fmla="*/ 136 w 188"/>
                  <a:gd name="T17" fmla="*/ 7 h 92"/>
                  <a:gd name="T18" fmla="*/ 124 w 188"/>
                  <a:gd name="T19" fmla="*/ 2 h 92"/>
                  <a:gd name="T20" fmla="*/ 112 w 188"/>
                  <a:gd name="T21" fmla="*/ 2 h 92"/>
                  <a:gd name="T22" fmla="*/ 112 w 188"/>
                  <a:gd name="T23" fmla="*/ 7 h 92"/>
                  <a:gd name="T24" fmla="*/ 115 w 188"/>
                  <a:gd name="T25" fmla="*/ 18 h 92"/>
                  <a:gd name="T26" fmla="*/ 118 w 188"/>
                  <a:gd name="T27" fmla="*/ 26 h 92"/>
                  <a:gd name="T28" fmla="*/ 121 w 188"/>
                  <a:gd name="T29" fmla="*/ 31 h 92"/>
                  <a:gd name="T30" fmla="*/ 114 w 188"/>
                  <a:gd name="T31" fmla="*/ 34 h 92"/>
                  <a:gd name="T32" fmla="*/ 111 w 188"/>
                  <a:gd name="T33" fmla="*/ 27 h 92"/>
                  <a:gd name="T34" fmla="*/ 107 w 188"/>
                  <a:gd name="T35" fmla="*/ 16 h 92"/>
                  <a:gd name="T36" fmla="*/ 102 w 188"/>
                  <a:gd name="T37" fmla="*/ 12 h 92"/>
                  <a:gd name="T38" fmla="*/ 96 w 188"/>
                  <a:gd name="T39" fmla="*/ 9 h 92"/>
                  <a:gd name="T40" fmla="*/ 88 w 188"/>
                  <a:gd name="T41" fmla="*/ 10 h 92"/>
                  <a:gd name="T42" fmla="*/ 90 w 188"/>
                  <a:gd name="T43" fmla="*/ 14 h 92"/>
                  <a:gd name="T44" fmla="*/ 89 w 188"/>
                  <a:gd name="T45" fmla="*/ 17 h 92"/>
                  <a:gd name="T46" fmla="*/ 82 w 188"/>
                  <a:gd name="T47" fmla="*/ 19 h 92"/>
                  <a:gd name="T48" fmla="*/ 77 w 188"/>
                  <a:gd name="T49" fmla="*/ 20 h 92"/>
                  <a:gd name="T50" fmla="*/ 78 w 188"/>
                  <a:gd name="T51" fmla="*/ 17 h 92"/>
                  <a:gd name="T52" fmla="*/ 58 w 188"/>
                  <a:gd name="T53" fmla="*/ 10 h 92"/>
                  <a:gd name="T54" fmla="*/ 53 w 188"/>
                  <a:gd name="T55" fmla="*/ 14 h 92"/>
                  <a:gd name="T56" fmla="*/ 53 w 188"/>
                  <a:gd name="T57" fmla="*/ 11 h 92"/>
                  <a:gd name="T58" fmla="*/ 53 w 188"/>
                  <a:gd name="T59" fmla="*/ 5 h 92"/>
                  <a:gd name="T60" fmla="*/ 24 w 188"/>
                  <a:gd name="T61" fmla="*/ 8 h 92"/>
                  <a:gd name="T62" fmla="*/ 9 w 188"/>
                  <a:gd name="T63" fmla="*/ 20 h 92"/>
                  <a:gd name="T64" fmla="*/ 0 w 188"/>
                  <a:gd name="T65" fmla="*/ 31 h 92"/>
                  <a:gd name="T66" fmla="*/ 12 w 188"/>
                  <a:gd name="T67" fmla="*/ 34 h 92"/>
                  <a:gd name="T68" fmla="*/ 16 w 188"/>
                  <a:gd name="T69" fmla="*/ 36 h 92"/>
                  <a:gd name="T70" fmla="*/ 33 w 188"/>
                  <a:gd name="T71" fmla="*/ 36 h 92"/>
                  <a:gd name="T72" fmla="*/ 14 w 188"/>
                  <a:gd name="T73" fmla="*/ 51 h 92"/>
                  <a:gd name="T74" fmla="*/ 29 w 188"/>
                  <a:gd name="T75" fmla="*/ 52 h 92"/>
                  <a:gd name="T76" fmla="*/ 44 w 188"/>
                  <a:gd name="T77" fmla="*/ 53 h 92"/>
                  <a:gd name="T78" fmla="*/ 58 w 188"/>
                  <a:gd name="T79" fmla="*/ 52 h 92"/>
                  <a:gd name="T80" fmla="*/ 65 w 188"/>
                  <a:gd name="T81" fmla="*/ 54 h 92"/>
                  <a:gd name="T82" fmla="*/ 72 w 188"/>
                  <a:gd name="T83" fmla="*/ 57 h 92"/>
                  <a:gd name="T84" fmla="*/ 71 w 188"/>
                  <a:gd name="T85" fmla="*/ 59 h 92"/>
                  <a:gd name="T86" fmla="*/ 43 w 188"/>
                  <a:gd name="T87" fmla="*/ 59 h 92"/>
                  <a:gd name="T88" fmla="*/ 23 w 188"/>
                  <a:gd name="T89" fmla="*/ 71 h 92"/>
                  <a:gd name="T90" fmla="*/ 57 w 188"/>
                  <a:gd name="T91" fmla="*/ 79 h 92"/>
                  <a:gd name="T92" fmla="*/ 61 w 188"/>
                  <a:gd name="T93" fmla="*/ 91 h 92"/>
                  <a:gd name="T94" fmla="*/ 110 w 188"/>
                  <a:gd name="T95" fmla="*/ 83 h 92"/>
                  <a:gd name="T96" fmla="*/ 125 w 188"/>
                  <a:gd name="T97" fmla="*/ 77 h 92"/>
                  <a:gd name="T98" fmla="*/ 139 w 188"/>
                  <a:gd name="T99" fmla="*/ 80 h 92"/>
                  <a:gd name="T100" fmla="*/ 142 w 188"/>
                  <a:gd name="T101" fmla="*/ 83 h 92"/>
                  <a:gd name="T102" fmla="*/ 170 w 188"/>
                  <a:gd name="T103" fmla="*/ 84 h 92"/>
                  <a:gd name="T104" fmla="*/ 176 w 188"/>
                  <a:gd name="T105" fmla="*/ 81 h 92"/>
                  <a:gd name="T106" fmla="*/ 175 w 188"/>
                  <a:gd name="T107" fmla="*/ 79 h 92"/>
                  <a:gd name="T108" fmla="*/ 175 w 188"/>
                  <a:gd name="T109" fmla="*/ 75 h 92"/>
                  <a:gd name="T110" fmla="*/ 169 w 188"/>
                  <a:gd name="T111" fmla="*/ 75 h 92"/>
                  <a:gd name="T112" fmla="*/ 165 w 188"/>
                  <a:gd name="T113" fmla="*/ 75 h 92"/>
                  <a:gd name="T114" fmla="*/ 164 w 188"/>
                  <a:gd name="T115" fmla="*/ 71 h 92"/>
                  <a:gd name="T116" fmla="*/ 173 w 188"/>
                  <a:gd name="T117" fmla="*/ 66 h 92"/>
                  <a:gd name="T118" fmla="*/ 175 w 188"/>
                  <a:gd name="T119" fmla="*/ 68 h 92"/>
                  <a:gd name="T120" fmla="*/ 181 w 188"/>
                  <a:gd name="T121" fmla="*/ 6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92">
                    <a:moveTo>
                      <a:pt x="181" y="68"/>
                    </a:moveTo>
                    <a:cubicBezTo>
                      <a:pt x="181" y="69"/>
                      <a:pt x="184" y="70"/>
                      <a:pt x="185" y="70"/>
                    </a:cubicBezTo>
                    <a:cubicBezTo>
                      <a:pt x="188" y="69"/>
                      <a:pt x="186" y="64"/>
                      <a:pt x="186" y="63"/>
                    </a:cubicBezTo>
                    <a:cubicBezTo>
                      <a:pt x="186" y="62"/>
                      <a:pt x="186" y="61"/>
                      <a:pt x="185" y="61"/>
                    </a:cubicBezTo>
                    <a:cubicBezTo>
                      <a:pt x="184" y="60"/>
                      <a:pt x="184" y="61"/>
                      <a:pt x="184" y="61"/>
                    </a:cubicBezTo>
                    <a:cubicBezTo>
                      <a:pt x="183" y="61"/>
                      <a:pt x="183" y="61"/>
                      <a:pt x="183" y="61"/>
                    </a:cubicBezTo>
                    <a:cubicBezTo>
                      <a:pt x="182" y="61"/>
                      <a:pt x="182" y="61"/>
                      <a:pt x="181" y="61"/>
                    </a:cubicBezTo>
                    <a:cubicBezTo>
                      <a:pt x="181" y="61"/>
                      <a:pt x="181" y="62"/>
                      <a:pt x="181" y="62"/>
                    </a:cubicBezTo>
                    <a:cubicBezTo>
                      <a:pt x="181" y="62"/>
                      <a:pt x="181" y="62"/>
                      <a:pt x="180" y="62"/>
                    </a:cubicBezTo>
                    <a:cubicBezTo>
                      <a:pt x="180" y="62"/>
                      <a:pt x="180" y="62"/>
                      <a:pt x="179" y="61"/>
                    </a:cubicBezTo>
                    <a:cubicBezTo>
                      <a:pt x="179" y="61"/>
                      <a:pt x="180" y="58"/>
                      <a:pt x="178" y="58"/>
                    </a:cubicBezTo>
                    <a:cubicBezTo>
                      <a:pt x="177" y="59"/>
                      <a:pt x="176" y="60"/>
                      <a:pt x="175" y="59"/>
                    </a:cubicBezTo>
                    <a:cubicBezTo>
                      <a:pt x="175" y="59"/>
                      <a:pt x="175" y="59"/>
                      <a:pt x="175" y="59"/>
                    </a:cubicBezTo>
                    <a:cubicBezTo>
                      <a:pt x="175" y="59"/>
                      <a:pt x="175" y="59"/>
                      <a:pt x="175" y="58"/>
                    </a:cubicBezTo>
                    <a:cubicBezTo>
                      <a:pt x="174" y="58"/>
                      <a:pt x="173" y="58"/>
                      <a:pt x="173" y="58"/>
                    </a:cubicBezTo>
                    <a:cubicBezTo>
                      <a:pt x="173" y="58"/>
                      <a:pt x="172" y="57"/>
                      <a:pt x="172" y="57"/>
                    </a:cubicBezTo>
                    <a:cubicBezTo>
                      <a:pt x="171" y="56"/>
                      <a:pt x="170" y="56"/>
                      <a:pt x="169" y="56"/>
                    </a:cubicBezTo>
                    <a:cubicBezTo>
                      <a:pt x="169" y="55"/>
                      <a:pt x="167" y="55"/>
                      <a:pt x="167" y="55"/>
                    </a:cubicBezTo>
                    <a:cubicBezTo>
                      <a:pt x="166" y="54"/>
                      <a:pt x="167" y="54"/>
                      <a:pt x="166" y="53"/>
                    </a:cubicBezTo>
                    <a:cubicBezTo>
                      <a:pt x="166" y="52"/>
                      <a:pt x="164" y="52"/>
                      <a:pt x="163" y="52"/>
                    </a:cubicBezTo>
                    <a:cubicBezTo>
                      <a:pt x="163" y="52"/>
                      <a:pt x="163" y="53"/>
                      <a:pt x="164" y="53"/>
                    </a:cubicBezTo>
                    <a:cubicBezTo>
                      <a:pt x="164" y="54"/>
                      <a:pt x="165" y="54"/>
                      <a:pt x="166" y="55"/>
                    </a:cubicBezTo>
                    <a:cubicBezTo>
                      <a:pt x="164" y="55"/>
                      <a:pt x="164" y="55"/>
                      <a:pt x="163" y="54"/>
                    </a:cubicBezTo>
                    <a:cubicBezTo>
                      <a:pt x="162" y="53"/>
                      <a:pt x="161" y="53"/>
                      <a:pt x="160" y="53"/>
                    </a:cubicBezTo>
                    <a:cubicBezTo>
                      <a:pt x="159" y="53"/>
                      <a:pt x="158" y="52"/>
                      <a:pt x="157" y="51"/>
                    </a:cubicBezTo>
                    <a:cubicBezTo>
                      <a:pt x="157" y="51"/>
                      <a:pt x="157" y="51"/>
                      <a:pt x="156" y="50"/>
                    </a:cubicBezTo>
                    <a:cubicBezTo>
                      <a:pt x="156" y="50"/>
                      <a:pt x="155" y="50"/>
                      <a:pt x="155" y="50"/>
                    </a:cubicBezTo>
                    <a:cubicBezTo>
                      <a:pt x="154" y="50"/>
                      <a:pt x="154" y="49"/>
                      <a:pt x="154" y="48"/>
                    </a:cubicBezTo>
                    <a:cubicBezTo>
                      <a:pt x="153" y="47"/>
                      <a:pt x="153" y="47"/>
                      <a:pt x="152" y="46"/>
                    </a:cubicBezTo>
                    <a:cubicBezTo>
                      <a:pt x="151" y="46"/>
                      <a:pt x="150" y="46"/>
                      <a:pt x="149" y="45"/>
                    </a:cubicBezTo>
                    <a:cubicBezTo>
                      <a:pt x="149" y="44"/>
                      <a:pt x="149" y="45"/>
                      <a:pt x="149" y="44"/>
                    </a:cubicBezTo>
                    <a:cubicBezTo>
                      <a:pt x="149" y="42"/>
                      <a:pt x="151" y="41"/>
                      <a:pt x="151" y="40"/>
                    </a:cubicBezTo>
                    <a:cubicBezTo>
                      <a:pt x="153" y="37"/>
                      <a:pt x="151" y="34"/>
                      <a:pt x="149" y="32"/>
                    </a:cubicBezTo>
                    <a:cubicBezTo>
                      <a:pt x="149" y="32"/>
                      <a:pt x="149" y="31"/>
                      <a:pt x="148" y="30"/>
                    </a:cubicBezTo>
                    <a:cubicBezTo>
                      <a:pt x="147" y="30"/>
                      <a:pt x="147" y="30"/>
                      <a:pt x="146" y="28"/>
                    </a:cubicBezTo>
                    <a:cubicBezTo>
                      <a:pt x="146" y="27"/>
                      <a:pt x="145" y="27"/>
                      <a:pt x="145" y="26"/>
                    </a:cubicBezTo>
                    <a:cubicBezTo>
                      <a:pt x="145" y="25"/>
                      <a:pt x="145" y="24"/>
                      <a:pt x="144" y="22"/>
                    </a:cubicBezTo>
                    <a:cubicBezTo>
                      <a:pt x="143" y="20"/>
                      <a:pt x="142" y="18"/>
                      <a:pt x="142" y="16"/>
                    </a:cubicBezTo>
                    <a:cubicBezTo>
                      <a:pt x="142" y="15"/>
                      <a:pt x="142" y="14"/>
                      <a:pt x="141" y="14"/>
                    </a:cubicBezTo>
                    <a:cubicBezTo>
                      <a:pt x="140" y="13"/>
                      <a:pt x="139" y="13"/>
                      <a:pt x="140" y="12"/>
                    </a:cubicBezTo>
                    <a:cubicBezTo>
                      <a:pt x="140" y="12"/>
                      <a:pt x="141" y="12"/>
                      <a:pt x="141" y="12"/>
                    </a:cubicBezTo>
                    <a:cubicBezTo>
                      <a:pt x="140" y="11"/>
                      <a:pt x="140" y="11"/>
                      <a:pt x="139" y="10"/>
                    </a:cubicBezTo>
                    <a:cubicBezTo>
                      <a:pt x="139" y="10"/>
                      <a:pt x="139" y="9"/>
                      <a:pt x="138" y="9"/>
                    </a:cubicBezTo>
                    <a:cubicBezTo>
                      <a:pt x="138" y="8"/>
                      <a:pt x="137" y="8"/>
                      <a:pt x="137" y="8"/>
                    </a:cubicBezTo>
                    <a:cubicBezTo>
                      <a:pt x="136" y="7"/>
                      <a:pt x="136" y="7"/>
                      <a:pt x="136" y="7"/>
                    </a:cubicBezTo>
                    <a:cubicBezTo>
                      <a:pt x="135" y="6"/>
                      <a:pt x="135" y="6"/>
                      <a:pt x="134" y="6"/>
                    </a:cubicBezTo>
                    <a:cubicBezTo>
                      <a:pt x="133" y="6"/>
                      <a:pt x="132" y="6"/>
                      <a:pt x="132" y="5"/>
                    </a:cubicBezTo>
                    <a:cubicBezTo>
                      <a:pt x="131" y="5"/>
                      <a:pt x="130" y="4"/>
                      <a:pt x="129" y="3"/>
                    </a:cubicBezTo>
                    <a:cubicBezTo>
                      <a:pt x="129" y="3"/>
                      <a:pt x="128" y="3"/>
                      <a:pt x="127" y="2"/>
                    </a:cubicBezTo>
                    <a:cubicBezTo>
                      <a:pt x="126" y="2"/>
                      <a:pt x="126" y="1"/>
                      <a:pt x="124" y="2"/>
                    </a:cubicBezTo>
                    <a:cubicBezTo>
                      <a:pt x="122" y="2"/>
                      <a:pt x="125" y="4"/>
                      <a:pt x="123" y="4"/>
                    </a:cubicBezTo>
                    <a:cubicBezTo>
                      <a:pt x="121" y="3"/>
                      <a:pt x="121" y="2"/>
                      <a:pt x="119" y="2"/>
                    </a:cubicBezTo>
                    <a:cubicBezTo>
                      <a:pt x="118" y="1"/>
                      <a:pt x="117" y="1"/>
                      <a:pt x="116" y="1"/>
                    </a:cubicBezTo>
                    <a:cubicBezTo>
                      <a:pt x="116" y="1"/>
                      <a:pt x="115" y="1"/>
                      <a:pt x="114" y="1"/>
                    </a:cubicBezTo>
                    <a:cubicBezTo>
                      <a:pt x="114" y="1"/>
                      <a:pt x="112" y="2"/>
                      <a:pt x="112" y="2"/>
                    </a:cubicBezTo>
                    <a:cubicBezTo>
                      <a:pt x="112" y="2"/>
                      <a:pt x="114" y="3"/>
                      <a:pt x="115" y="4"/>
                    </a:cubicBezTo>
                    <a:cubicBezTo>
                      <a:pt x="114" y="4"/>
                      <a:pt x="113" y="3"/>
                      <a:pt x="112" y="3"/>
                    </a:cubicBezTo>
                    <a:cubicBezTo>
                      <a:pt x="110" y="4"/>
                      <a:pt x="111" y="5"/>
                      <a:pt x="112" y="6"/>
                    </a:cubicBezTo>
                    <a:cubicBezTo>
                      <a:pt x="112" y="6"/>
                      <a:pt x="111" y="7"/>
                      <a:pt x="111" y="7"/>
                    </a:cubicBezTo>
                    <a:cubicBezTo>
                      <a:pt x="112" y="7"/>
                      <a:pt x="112" y="7"/>
                      <a:pt x="112" y="7"/>
                    </a:cubicBezTo>
                    <a:cubicBezTo>
                      <a:pt x="112" y="8"/>
                      <a:pt x="112" y="8"/>
                      <a:pt x="112" y="9"/>
                    </a:cubicBezTo>
                    <a:cubicBezTo>
                      <a:pt x="112" y="9"/>
                      <a:pt x="113" y="10"/>
                      <a:pt x="113" y="11"/>
                    </a:cubicBezTo>
                    <a:cubicBezTo>
                      <a:pt x="113" y="12"/>
                      <a:pt x="113" y="13"/>
                      <a:pt x="114" y="14"/>
                    </a:cubicBezTo>
                    <a:cubicBezTo>
                      <a:pt x="114" y="15"/>
                      <a:pt x="114" y="15"/>
                      <a:pt x="114" y="17"/>
                    </a:cubicBezTo>
                    <a:cubicBezTo>
                      <a:pt x="114" y="17"/>
                      <a:pt x="115" y="17"/>
                      <a:pt x="115" y="18"/>
                    </a:cubicBezTo>
                    <a:cubicBezTo>
                      <a:pt x="115" y="18"/>
                      <a:pt x="115" y="18"/>
                      <a:pt x="115" y="19"/>
                    </a:cubicBezTo>
                    <a:cubicBezTo>
                      <a:pt x="116" y="20"/>
                      <a:pt x="117" y="21"/>
                      <a:pt x="115" y="21"/>
                    </a:cubicBezTo>
                    <a:cubicBezTo>
                      <a:pt x="116" y="22"/>
                      <a:pt x="116" y="23"/>
                      <a:pt x="116" y="24"/>
                    </a:cubicBezTo>
                    <a:cubicBezTo>
                      <a:pt x="116" y="24"/>
                      <a:pt x="117" y="24"/>
                      <a:pt x="117" y="24"/>
                    </a:cubicBezTo>
                    <a:cubicBezTo>
                      <a:pt x="118" y="25"/>
                      <a:pt x="117" y="26"/>
                      <a:pt x="118" y="26"/>
                    </a:cubicBezTo>
                    <a:cubicBezTo>
                      <a:pt x="118" y="27"/>
                      <a:pt x="119" y="27"/>
                      <a:pt x="120" y="27"/>
                    </a:cubicBezTo>
                    <a:cubicBezTo>
                      <a:pt x="120" y="27"/>
                      <a:pt x="120" y="28"/>
                      <a:pt x="120" y="28"/>
                    </a:cubicBezTo>
                    <a:cubicBezTo>
                      <a:pt x="120" y="28"/>
                      <a:pt x="121" y="28"/>
                      <a:pt x="121" y="29"/>
                    </a:cubicBezTo>
                    <a:cubicBezTo>
                      <a:pt x="121" y="29"/>
                      <a:pt x="120" y="29"/>
                      <a:pt x="119" y="29"/>
                    </a:cubicBezTo>
                    <a:cubicBezTo>
                      <a:pt x="120" y="30"/>
                      <a:pt x="121" y="30"/>
                      <a:pt x="121" y="31"/>
                    </a:cubicBezTo>
                    <a:cubicBezTo>
                      <a:pt x="120" y="31"/>
                      <a:pt x="119" y="30"/>
                      <a:pt x="118" y="31"/>
                    </a:cubicBezTo>
                    <a:cubicBezTo>
                      <a:pt x="117" y="32"/>
                      <a:pt x="117" y="32"/>
                      <a:pt x="117" y="32"/>
                    </a:cubicBezTo>
                    <a:cubicBezTo>
                      <a:pt x="116" y="33"/>
                      <a:pt x="115" y="32"/>
                      <a:pt x="115" y="33"/>
                    </a:cubicBezTo>
                    <a:cubicBezTo>
                      <a:pt x="115" y="34"/>
                      <a:pt x="117" y="33"/>
                      <a:pt x="116" y="34"/>
                    </a:cubicBezTo>
                    <a:cubicBezTo>
                      <a:pt x="116" y="34"/>
                      <a:pt x="115" y="34"/>
                      <a:pt x="114" y="34"/>
                    </a:cubicBezTo>
                    <a:cubicBezTo>
                      <a:pt x="114" y="33"/>
                      <a:pt x="114" y="33"/>
                      <a:pt x="114" y="33"/>
                    </a:cubicBezTo>
                    <a:cubicBezTo>
                      <a:pt x="113" y="32"/>
                      <a:pt x="112" y="32"/>
                      <a:pt x="112" y="32"/>
                    </a:cubicBezTo>
                    <a:cubicBezTo>
                      <a:pt x="112" y="31"/>
                      <a:pt x="112" y="29"/>
                      <a:pt x="112" y="29"/>
                    </a:cubicBezTo>
                    <a:cubicBezTo>
                      <a:pt x="112" y="28"/>
                      <a:pt x="112" y="28"/>
                      <a:pt x="112" y="27"/>
                    </a:cubicBezTo>
                    <a:cubicBezTo>
                      <a:pt x="111" y="27"/>
                      <a:pt x="111" y="28"/>
                      <a:pt x="111" y="27"/>
                    </a:cubicBezTo>
                    <a:cubicBezTo>
                      <a:pt x="111" y="27"/>
                      <a:pt x="110" y="27"/>
                      <a:pt x="110" y="26"/>
                    </a:cubicBezTo>
                    <a:cubicBezTo>
                      <a:pt x="110" y="25"/>
                      <a:pt x="110" y="24"/>
                      <a:pt x="110" y="24"/>
                    </a:cubicBezTo>
                    <a:cubicBezTo>
                      <a:pt x="109" y="23"/>
                      <a:pt x="109" y="25"/>
                      <a:pt x="109" y="23"/>
                    </a:cubicBezTo>
                    <a:cubicBezTo>
                      <a:pt x="108" y="23"/>
                      <a:pt x="108" y="22"/>
                      <a:pt x="108" y="22"/>
                    </a:cubicBezTo>
                    <a:cubicBezTo>
                      <a:pt x="108" y="20"/>
                      <a:pt x="108" y="18"/>
                      <a:pt x="107" y="16"/>
                    </a:cubicBezTo>
                    <a:cubicBezTo>
                      <a:pt x="107" y="16"/>
                      <a:pt x="107" y="16"/>
                      <a:pt x="106" y="15"/>
                    </a:cubicBezTo>
                    <a:cubicBezTo>
                      <a:pt x="106" y="15"/>
                      <a:pt x="105" y="16"/>
                      <a:pt x="105" y="16"/>
                    </a:cubicBezTo>
                    <a:cubicBezTo>
                      <a:pt x="104" y="15"/>
                      <a:pt x="104" y="14"/>
                      <a:pt x="104" y="14"/>
                    </a:cubicBezTo>
                    <a:cubicBezTo>
                      <a:pt x="103" y="14"/>
                      <a:pt x="103" y="14"/>
                      <a:pt x="103" y="13"/>
                    </a:cubicBezTo>
                    <a:cubicBezTo>
                      <a:pt x="102" y="13"/>
                      <a:pt x="102" y="13"/>
                      <a:pt x="102" y="12"/>
                    </a:cubicBezTo>
                    <a:cubicBezTo>
                      <a:pt x="102" y="12"/>
                      <a:pt x="101" y="12"/>
                      <a:pt x="101" y="12"/>
                    </a:cubicBezTo>
                    <a:cubicBezTo>
                      <a:pt x="100" y="12"/>
                      <a:pt x="100" y="12"/>
                      <a:pt x="99" y="11"/>
                    </a:cubicBezTo>
                    <a:cubicBezTo>
                      <a:pt x="98" y="11"/>
                      <a:pt x="98" y="11"/>
                      <a:pt x="97" y="11"/>
                    </a:cubicBezTo>
                    <a:cubicBezTo>
                      <a:pt x="96" y="10"/>
                      <a:pt x="96" y="10"/>
                      <a:pt x="97" y="9"/>
                    </a:cubicBezTo>
                    <a:cubicBezTo>
                      <a:pt x="97" y="9"/>
                      <a:pt x="96" y="9"/>
                      <a:pt x="96" y="9"/>
                    </a:cubicBezTo>
                    <a:cubicBezTo>
                      <a:pt x="95" y="9"/>
                      <a:pt x="95" y="9"/>
                      <a:pt x="95" y="9"/>
                    </a:cubicBezTo>
                    <a:cubicBezTo>
                      <a:pt x="95" y="9"/>
                      <a:pt x="95" y="8"/>
                      <a:pt x="94" y="8"/>
                    </a:cubicBezTo>
                    <a:cubicBezTo>
                      <a:pt x="93" y="8"/>
                      <a:pt x="91" y="8"/>
                      <a:pt x="90" y="8"/>
                    </a:cubicBezTo>
                    <a:cubicBezTo>
                      <a:pt x="89" y="8"/>
                      <a:pt x="87" y="8"/>
                      <a:pt x="86" y="8"/>
                    </a:cubicBezTo>
                    <a:cubicBezTo>
                      <a:pt x="86" y="9"/>
                      <a:pt x="87" y="10"/>
                      <a:pt x="88" y="10"/>
                    </a:cubicBezTo>
                    <a:cubicBezTo>
                      <a:pt x="89" y="11"/>
                      <a:pt x="90" y="10"/>
                      <a:pt x="91" y="12"/>
                    </a:cubicBezTo>
                    <a:cubicBezTo>
                      <a:pt x="91" y="13"/>
                      <a:pt x="95" y="11"/>
                      <a:pt x="96" y="13"/>
                    </a:cubicBezTo>
                    <a:cubicBezTo>
                      <a:pt x="96" y="14"/>
                      <a:pt x="95" y="14"/>
                      <a:pt x="94" y="14"/>
                    </a:cubicBezTo>
                    <a:cubicBezTo>
                      <a:pt x="93" y="13"/>
                      <a:pt x="93" y="13"/>
                      <a:pt x="92" y="13"/>
                    </a:cubicBezTo>
                    <a:cubicBezTo>
                      <a:pt x="91" y="14"/>
                      <a:pt x="91" y="14"/>
                      <a:pt x="90" y="14"/>
                    </a:cubicBezTo>
                    <a:cubicBezTo>
                      <a:pt x="91" y="15"/>
                      <a:pt x="92" y="14"/>
                      <a:pt x="92" y="14"/>
                    </a:cubicBezTo>
                    <a:cubicBezTo>
                      <a:pt x="94" y="15"/>
                      <a:pt x="95" y="16"/>
                      <a:pt x="95" y="17"/>
                    </a:cubicBezTo>
                    <a:cubicBezTo>
                      <a:pt x="94" y="18"/>
                      <a:pt x="92" y="16"/>
                      <a:pt x="91" y="16"/>
                    </a:cubicBezTo>
                    <a:cubicBezTo>
                      <a:pt x="92" y="17"/>
                      <a:pt x="95" y="17"/>
                      <a:pt x="95" y="18"/>
                    </a:cubicBezTo>
                    <a:cubicBezTo>
                      <a:pt x="93" y="18"/>
                      <a:pt x="91" y="17"/>
                      <a:pt x="89" y="17"/>
                    </a:cubicBezTo>
                    <a:cubicBezTo>
                      <a:pt x="88" y="16"/>
                      <a:pt x="87" y="16"/>
                      <a:pt x="86" y="16"/>
                    </a:cubicBezTo>
                    <a:cubicBezTo>
                      <a:pt x="86" y="16"/>
                      <a:pt x="85" y="16"/>
                      <a:pt x="85" y="17"/>
                    </a:cubicBezTo>
                    <a:cubicBezTo>
                      <a:pt x="84" y="17"/>
                      <a:pt x="84" y="17"/>
                      <a:pt x="83" y="18"/>
                    </a:cubicBezTo>
                    <a:cubicBezTo>
                      <a:pt x="83" y="18"/>
                      <a:pt x="83" y="18"/>
                      <a:pt x="83" y="18"/>
                    </a:cubicBezTo>
                    <a:cubicBezTo>
                      <a:pt x="83" y="19"/>
                      <a:pt x="82" y="19"/>
                      <a:pt x="82" y="19"/>
                    </a:cubicBezTo>
                    <a:cubicBezTo>
                      <a:pt x="82" y="20"/>
                      <a:pt x="83" y="21"/>
                      <a:pt x="83" y="21"/>
                    </a:cubicBezTo>
                    <a:cubicBezTo>
                      <a:pt x="82" y="20"/>
                      <a:pt x="82" y="20"/>
                      <a:pt x="81" y="20"/>
                    </a:cubicBezTo>
                    <a:cubicBezTo>
                      <a:pt x="79" y="20"/>
                      <a:pt x="80" y="20"/>
                      <a:pt x="80" y="18"/>
                    </a:cubicBezTo>
                    <a:cubicBezTo>
                      <a:pt x="79" y="18"/>
                      <a:pt x="77" y="19"/>
                      <a:pt x="77" y="20"/>
                    </a:cubicBezTo>
                    <a:cubicBezTo>
                      <a:pt x="77" y="20"/>
                      <a:pt x="78" y="20"/>
                      <a:pt x="77" y="20"/>
                    </a:cubicBezTo>
                    <a:cubicBezTo>
                      <a:pt x="77" y="21"/>
                      <a:pt x="76" y="22"/>
                      <a:pt x="75" y="23"/>
                    </a:cubicBezTo>
                    <a:cubicBezTo>
                      <a:pt x="75" y="21"/>
                      <a:pt x="77" y="21"/>
                      <a:pt x="75" y="20"/>
                    </a:cubicBezTo>
                    <a:cubicBezTo>
                      <a:pt x="73" y="20"/>
                      <a:pt x="75" y="19"/>
                      <a:pt x="76" y="19"/>
                    </a:cubicBezTo>
                    <a:cubicBezTo>
                      <a:pt x="77" y="19"/>
                      <a:pt x="78" y="18"/>
                      <a:pt x="79" y="17"/>
                    </a:cubicBezTo>
                    <a:cubicBezTo>
                      <a:pt x="78" y="17"/>
                      <a:pt x="78" y="17"/>
                      <a:pt x="78" y="17"/>
                    </a:cubicBezTo>
                    <a:cubicBezTo>
                      <a:pt x="79" y="17"/>
                      <a:pt x="79" y="17"/>
                      <a:pt x="79" y="16"/>
                    </a:cubicBezTo>
                    <a:cubicBezTo>
                      <a:pt x="80" y="16"/>
                      <a:pt x="80" y="16"/>
                      <a:pt x="80" y="16"/>
                    </a:cubicBezTo>
                    <a:cubicBezTo>
                      <a:pt x="76" y="13"/>
                      <a:pt x="71" y="11"/>
                      <a:pt x="67" y="9"/>
                    </a:cubicBezTo>
                    <a:cubicBezTo>
                      <a:pt x="65" y="8"/>
                      <a:pt x="63" y="6"/>
                      <a:pt x="60" y="8"/>
                    </a:cubicBezTo>
                    <a:cubicBezTo>
                      <a:pt x="59" y="8"/>
                      <a:pt x="59" y="9"/>
                      <a:pt x="58" y="10"/>
                    </a:cubicBezTo>
                    <a:cubicBezTo>
                      <a:pt x="58" y="10"/>
                      <a:pt x="57" y="11"/>
                      <a:pt x="57" y="12"/>
                    </a:cubicBezTo>
                    <a:cubicBezTo>
                      <a:pt x="56" y="13"/>
                      <a:pt x="58" y="12"/>
                      <a:pt x="58" y="12"/>
                    </a:cubicBezTo>
                    <a:cubicBezTo>
                      <a:pt x="59" y="13"/>
                      <a:pt x="57" y="14"/>
                      <a:pt x="56" y="15"/>
                    </a:cubicBezTo>
                    <a:cubicBezTo>
                      <a:pt x="56" y="14"/>
                      <a:pt x="57" y="14"/>
                      <a:pt x="57" y="13"/>
                    </a:cubicBezTo>
                    <a:cubicBezTo>
                      <a:pt x="56" y="14"/>
                      <a:pt x="54" y="14"/>
                      <a:pt x="53" y="14"/>
                    </a:cubicBezTo>
                    <a:cubicBezTo>
                      <a:pt x="51" y="15"/>
                      <a:pt x="47" y="17"/>
                      <a:pt x="46" y="15"/>
                    </a:cubicBezTo>
                    <a:cubicBezTo>
                      <a:pt x="47" y="15"/>
                      <a:pt x="49" y="14"/>
                      <a:pt x="49" y="14"/>
                    </a:cubicBezTo>
                    <a:cubicBezTo>
                      <a:pt x="49" y="14"/>
                      <a:pt x="49" y="13"/>
                      <a:pt x="49" y="12"/>
                    </a:cubicBezTo>
                    <a:cubicBezTo>
                      <a:pt x="49" y="12"/>
                      <a:pt x="50" y="11"/>
                      <a:pt x="50" y="11"/>
                    </a:cubicBezTo>
                    <a:cubicBezTo>
                      <a:pt x="51" y="11"/>
                      <a:pt x="52" y="12"/>
                      <a:pt x="53" y="11"/>
                    </a:cubicBezTo>
                    <a:cubicBezTo>
                      <a:pt x="53" y="11"/>
                      <a:pt x="52" y="11"/>
                      <a:pt x="52" y="10"/>
                    </a:cubicBezTo>
                    <a:cubicBezTo>
                      <a:pt x="52" y="10"/>
                      <a:pt x="52" y="10"/>
                      <a:pt x="52" y="10"/>
                    </a:cubicBezTo>
                    <a:cubicBezTo>
                      <a:pt x="52" y="9"/>
                      <a:pt x="52" y="9"/>
                      <a:pt x="52" y="9"/>
                    </a:cubicBezTo>
                    <a:cubicBezTo>
                      <a:pt x="52" y="8"/>
                      <a:pt x="52" y="8"/>
                      <a:pt x="52" y="7"/>
                    </a:cubicBezTo>
                    <a:cubicBezTo>
                      <a:pt x="53" y="6"/>
                      <a:pt x="53" y="5"/>
                      <a:pt x="53" y="5"/>
                    </a:cubicBezTo>
                    <a:cubicBezTo>
                      <a:pt x="53" y="4"/>
                      <a:pt x="51" y="3"/>
                      <a:pt x="50" y="3"/>
                    </a:cubicBezTo>
                    <a:cubicBezTo>
                      <a:pt x="49" y="2"/>
                      <a:pt x="48" y="0"/>
                      <a:pt x="46" y="0"/>
                    </a:cubicBezTo>
                    <a:cubicBezTo>
                      <a:pt x="45" y="0"/>
                      <a:pt x="44" y="1"/>
                      <a:pt x="43" y="1"/>
                    </a:cubicBezTo>
                    <a:cubicBezTo>
                      <a:pt x="39" y="3"/>
                      <a:pt x="35" y="4"/>
                      <a:pt x="30" y="5"/>
                    </a:cubicBezTo>
                    <a:cubicBezTo>
                      <a:pt x="28" y="6"/>
                      <a:pt x="26" y="7"/>
                      <a:pt x="24" y="8"/>
                    </a:cubicBezTo>
                    <a:cubicBezTo>
                      <a:pt x="22" y="9"/>
                      <a:pt x="19" y="9"/>
                      <a:pt x="17" y="10"/>
                    </a:cubicBezTo>
                    <a:cubicBezTo>
                      <a:pt x="16" y="11"/>
                      <a:pt x="16" y="11"/>
                      <a:pt x="15" y="12"/>
                    </a:cubicBezTo>
                    <a:cubicBezTo>
                      <a:pt x="13" y="13"/>
                      <a:pt x="11" y="14"/>
                      <a:pt x="10" y="15"/>
                    </a:cubicBezTo>
                    <a:cubicBezTo>
                      <a:pt x="9" y="15"/>
                      <a:pt x="7" y="16"/>
                      <a:pt x="6" y="17"/>
                    </a:cubicBezTo>
                    <a:cubicBezTo>
                      <a:pt x="4" y="20"/>
                      <a:pt x="8" y="20"/>
                      <a:pt x="9" y="20"/>
                    </a:cubicBezTo>
                    <a:cubicBezTo>
                      <a:pt x="12" y="20"/>
                      <a:pt x="8" y="22"/>
                      <a:pt x="7" y="23"/>
                    </a:cubicBezTo>
                    <a:cubicBezTo>
                      <a:pt x="6" y="23"/>
                      <a:pt x="5" y="24"/>
                      <a:pt x="5" y="24"/>
                    </a:cubicBezTo>
                    <a:cubicBezTo>
                      <a:pt x="4" y="24"/>
                      <a:pt x="5" y="25"/>
                      <a:pt x="4" y="25"/>
                    </a:cubicBezTo>
                    <a:cubicBezTo>
                      <a:pt x="2" y="27"/>
                      <a:pt x="1" y="27"/>
                      <a:pt x="0" y="30"/>
                    </a:cubicBezTo>
                    <a:cubicBezTo>
                      <a:pt x="0" y="30"/>
                      <a:pt x="0" y="31"/>
                      <a:pt x="0" y="31"/>
                    </a:cubicBezTo>
                    <a:cubicBezTo>
                      <a:pt x="0" y="32"/>
                      <a:pt x="0" y="33"/>
                      <a:pt x="1" y="33"/>
                    </a:cubicBezTo>
                    <a:cubicBezTo>
                      <a:pt x="1" y="34"/>
                      <a:pt x="2" y="33"/>
                      <a:pt x="4" y="33"/>
                    </a:cubicBezTo>
                    <a:cubicBezTo>
                      <a:pt x="4" y="33"/>
                      <a:pt x="9" y="33"/>
                      <a:pt x="7" y="35"/>
                    </a:cubicBezTo>
                    <a:cubicBezTo>
                      <a:pt x="9" y="35"/>
                      <a:pt x="11" y="32"/>
                      <a:pt x="13" y="33"/>
                    </a:cubicBezTo>
                    <a:cubicBezTo>
                      <a:pt x="12" y="33"/>
                      <a:pt x="12" y="34"/>
                      <a:pt x="12" y="34"/>
                    </a:cubicBezTo>
                    <a:cubicBezTo>
                      <a:pt x="11" y="35"/>
                      <a:pt x="10" y="35"/>
                      <a:pt x="10" y="36"/>
                    </a:cubicBezTo>
                    <a:cubicBezTo>
                      <a:pt x="9" y="36"/>
                      <a:pt x="8" y="37"/>
                      <a:pt x="9" y="38"/>
                    </a:cubicBezTo>
                    <a:cubicBezTo>
                      <a:pt x="9" y="39"/>
                      <a:pt x="13" y="38"/>
                      <a:pt x="14" y="38"/>
                    </a:cubicBezTo>
                    <a:cubicBezTo>
                      <a:pt x="14" y="38"/>
                      <a:pt x="16" y="39"/>
                      <a:pt x="17" y="38"/>
                    </a:cubicBezTo>
                    <a:cubicBezTo>
                      <a:pt x="17" y="38"/>
                      <a:pt x="16" y="37"/>
                      <a:pt x="16" y="36"/>
                    </a:cubicBezTo>
                    <a:cubicBezTo>
                      <a:pt x="17" y="36"/>
                      <a:pt x="17" y="36"/>
                      <a:pt x="17" y="37"/>
                    </a:cubicBezTo>
                    <a:cubicBezTo>
                      <a:pt x="19" y="37"/>
                      <a:pt x="17" y="38"/>
                      <a:pt x="18" y="38"/>
                    </a:cubicBezTo>
                    <a:cubicBezTo>
                      <a:pt x="18" y="38"/>
                      <a:pt x="20" y="38"/>
                      <a:pt x="21" y="38"/>
                    </a:cubicBezTo>
                    <a:cubicBezTo>
                      <a:pt x="22" y="37"/>
                      <a:pt x="24" y="37"/>
                      <a:pt x="25" y="37"/>
                    </a:cubicBezTo>
                    <a:cubicBezTo>
                      <a:pt x="28" y="36"/>
                      <a:pt x="30" y="36"/>
                      <a:pt x="33" y="36"/>
                    </a:cubicBezTo>
                    <a:cubicBezTo>
                      <a:pt x="27" y="38"/>
                      <a:pt x="20" y="41"/>
                      <a:pt x="14" y="43"/>
                    </a:cubicBezTo>
                    <a:cubicBezTo>
                      <a:pt x="12" y="44"/>
                      <a:pt x="11" y="44"/>
                      <a:pt x="9" y="45"/>
                    </a:cubicBezTo>
                    <a:cubicBezTo>
                      <a:pt x="9" y="45"/>
                      <a:pt x="7" y="45"/>
                      <a:pt x="7" y="46"/>
                    </a:cubicBezTo>
                    <a:cubicBezTo>
                      <a:pt x="7" y="46"/>
                      <a:pt x="9" y="48"/>
                      <a:pt x="9" y="48"/>
                    </a:cubicBezTo>
                    <a:cubicBezTo>
                      <a:pt x="10" y="49"/>
                      <a:pt x="13" y="49"/>
                      <a:pt x="14" y="51"/>
                    </a:cubicBezTo>
                    <a:cubicBezTo>
                      <a:pt x="15" y="52"/>
                      <a:pt x="14" y="53"/>
                      <a:pt x="16" y="53"/>
                    </a:cubicBezTo>
                    <a:cubicBezTo>
                      <a:pt x="16" y="53"/>
                      <a:pt x="17" y="53"/>
                      <a:pt x="18" y="53"/>
                    </a:cubicBezTo>
                    <a:cubicBezTo>
                      <a:pt x="18" y="53"/>
                      <a:pt x="18" y="53"/>
                      <a:pt x="19" y="53"/>
                    </a:cubicBezTo>
                    <a:cubicBezTo>
                      <a:pt x="21" y="53"/>
                      <a:pt x="23" y="53"/>
                      <a:pt x="25" y="53"/>
                    </a:cubicBezTo>
                    <a:cubicBezTo>
                      <a:pt x="27" y="52"/>
                      <a:pt x="27" y="52"/>
                      <a:pt x="29" y="52"/>
                    </a:cubicBezTo>
                    <a:cubicBezTo>
                      <a:pt x="30" y="52"/>
                      <a:pt x="30" y="53"/>
                      <a:pt x="31" y="53"/>
                    </a:cubicBezTo>
                    <a:cubicBezTo>
                      <a:pt x="32" y="53"/>
                      <a:pt x="33" y="53"/>
                      <a:pt x="34" y="53"/>
                    </a:cubicBezTo>
                    <a:cubicBezTo>
                      <a:pt x="35" y="53"/>
                      <a:pt x="36" y="53"/>
                      <a:pt x="36" y="53"/>
                    </a:cubicBezTo>
                    <a:cubicBezTo>
                      <a:pt x="37" y="53"/>
                      <a:pt x="37" y="53"/>
                      <a:pt x="38" y="53"/>
                    </a:cubicBezTo>
                    <a:cubicBezTo>
                      <a:pt x="40" y="53"/>
                      <a:pt x="42" y="53"/>
                      <a:pt x="44" y="53"/>
                    </a:cubicBezTo>
                    <a:cubicBezTo>
                      <a:pt x="46" y="53"/>
                      <a:pt x="47" y="52"/>
                      <a:pt x="48" y="52"/>
                    </a:cubicBezTo>
                    <a:cubicBezTo>
                      <a:pt x="49" y="51"/>
                      <a:pt x="50" y="52"/>
                      <a:pt x="51" y="52"/>
                    </a:cubicBezTo>
                    <a:cubicBezTo>
                      <a:pt x="52" y="52"/>
                      <a:pt x="52" y="51"/>
                      <a:pt x="53" y="51"/>
                    </a:cubicBezTo>
                    <a:cubicBezTo>
                      <a:pt x="54" y="51"/>
                      <a:pt x="56" y="52"/>
                      <a:pt x="56" y="52"/>
                    </a:cubicBezTo>
                    <a:cubicBezTo>
                      <a:pt x="57" y="52"/>
                      <a:pt x="57" y="52"/>
                      <a:pt x="58" y="52"/>
                    </a:cubicBezTo>
                    <a:cubicBezTo>
                      <a:pt x="58" y="52"/>
                      <a:pt x="59" y="52"/>
                      <a:pt x="60" y="52"/>
                    </a:cubicBezTo>
                    <a:cubicBezTo>
                      <a:pt x="61" y="52"/>
                      <a:pt x="61" y="53"/>
                      <a:pt x="62" y="53"/>
                    </a:cubicBezTo>
                    <a:cubicBezTo>
                      <a:pt x="62" y="53"/>
                      <a:pt x="63" y="53"/>
                      <a:pt x="63" y="54"/>
                    </a:cubicBezTo>
                    <a:cubicBezTo>
                      <a:pt x="64" y="54"/>
                      <a:pt x="64" y="54"/>
                      <a:pt x="64" y="54"/>
                    </a:cubicBezTo>
                    <a:cubicBezTo>
                      <a:pt x="64" y="54"/>
                      <a:pt x="64" y="54"/>
                      <a:pt x="65" y="54"/>
                    </a:cubicBezTo>
                    <a:cubicBezTo>
                      <a:pt x="66" y="54"/>
                      <a:pt x="67" y="54"/>
                      <a:pt x="68" y="55"/>
                    </a:cubicBezTo>
                    <a:cubicBezTo>
                      <a:pt x="68" y="55"/>
                      <a:pt x="68" y="54"/>
                      <a:pt x="68" y="54"/>
                    </a:cubicBezTo>
                    <a:cubicBezTo>
                      <a:pt x="69" y="54"/>
                      <a:pt x="69" y="55"/>
                      <a:pt x="69" y="55"/>
                    </a:cubicBezTo>
                    <a:cubicBezTo>
                      <a:pt x="69" y="55"/>
                      <a:pt x="70" y="55"/>
                      <a:pt x="70" y="55"/>
                    </a:cubicBezTo>
                    <a:cubicBezTo>
                      <a:pt x="72" y="55"/>
                      <a:pt x="71" y="56"/>
                      <a:pt x="72" y="57"/>
                    </a:cubicBezTo>
                    <a:cubicBezTo>
                      <a:pt x="73" y="57"/>
                      <a:pt x="74" y="57"/>
                      <a:pt x="75" y="58"/>
                    </a:cubicBezTo>
                    <a:cubicBezTo>
                      <a:pt x="76" y="58"/>
                      <a:pt x="76" y="57"/>
                      <a:pt x="77" y="57"/>
                    </a:cubicBezTo>
                    <a:cubicBezTo>
                      <a:pt x="78" y="58"/>
                      <a:pt x="77" y="59"/>
                      <a:pt x="78" y="59"/>
                    </a:cubicBezTo>
                    <a:cubicBezTo>
                      <a:pt x="76" y="60"/>
                      <a:pt x="73" y="59"/>
                      <a:pt x="70" y="59"/>
                    </a:cubicBezTo>
                    <a:cubicBezTo>
                      <a:pt x="71" y="59"/>
                      <a:pt x="71" y="59"/>
                      <a:pt x="71" y="59"/>
                    </a:cubicBezTo>
                    <a:cubicBezTo>
                      <a:pt x="70" y="59"/>
                      <a:pt x="69" y="60"/>
                      <a:pt x="67" y="60"/>
                    </a:cubicBezTo>
                    <a:cubicBezTo>
                      <a:pt x="66" y="60"/>
                      <a:pt x="65" y="60"/>
                      <a:pt x="64" y="60"/>
                    </a:cubicBezTo>
                    <a:cubicBezTo>
                      <a:pt x="61" y="60"/>
                      <a:pt x="59" y="59"/>
                      <a:pt x="57" y="59"/>
                    </a:cubicBezTo>
                    <a:cubicBezTo>
                      <a:pt x="55" y="59"/>
                      <a:pt x="53" y="59"/>
                      <a:pt x="51" y="58"/>
                    </a:cubicBezTo>
                    <a:cubicBezTo>
                      <a:pt x="48" y="58"/>
                      <a:pt x="46" y="59"/>
                      <a:pt x="43" y="59"/>
                    </a:cubicBezTo>
                    <a:cubicBezTo>
                      <a:pt x="40" y="59"/>
                      <a:pt x="36" y="59"/>
                      <a:pt x="32" y="60"/>
                    </a:cubicBezTo>
                    <a:cubicBezTo>
                      <a:pt x="27" y="61"/>
                      <a:pt x="22" y="62"/>
                      <a:pt x="17" y="64"/>
                    </a:cubicBezTo>
                    <a:cubicBezTo>
                      <a:pt x="18" y="65"/>
                      <a:pt x="19" y="67"/>
                      <a:pt x="19" y="68"/>
                    </a:cubicBezTo>
                    <a:cubicBezTo>
                      <a:pt x="20" y="69"/>
                      <a:pt x="22" y="70"/>
                      <a:pt x="23" y="70"/>
                    </a:cubicBezTo>
                    <a:cubicBezTo>
                      <a:pt x="23" y="71"/>
                      <a:pt x="23" y="71"/>
                      <a:pt x="23" y="71"/>
                    </a:cubicBezTo>
                    <a:cubicBezTo>
                      <a:pt x="26" y="73"/>
                      <a:pt x="29" y="76"/>
                      <a:pt x="33" y="77"/>
                    </a:cubicBezTo>
                    <a:cubicBezTo>
                      <a:pt x="35" y="77"/>
                      <a:pt x="36" y="77"/>
                      <a:pt x="38" y="77"/>
                    </a:cubicBezTo>
                    <a:cubicBezTo>
                      <a:pt x="40" y="78"/>
                      <a:pt x="42" y="77"/>
                      <a:pt x="45" y="78"/>
                    </a:cubicBezTo>
                    <a:cubicBezTo>
                      <a:pt x="48" y="78"/>
                      <a:pt x="51" y="78"/>
                      <a:pt x="54" y="78"/>
                    </a:cubicBezTo>
                    <a:cubicBezTo>
                      <a:pt x="55" y="78"/>
                      <a:pt x="57" y="78"/>
                      <a:pt x="57" y="79"/>
                    </a:cubicBezTo>
                    <a:cubicBezTo>
                      <a:pt x="57" y="79"/>
                      <a:pt x="55" y="78"/>
                      <a:pt x="56" y="80"/>
                    </a:cubicBezTo>
                    <a:cubicBezTo>
                      <a:pt x="55" y="80"/>
                      <a:pt x="57" y="81"/>
                      <a:pt x="57" y="81"/>
                    </a:cubicBezTo>
                    <a:cubicBezTo>
                      <a:pt x="57" y="81"/>
                      <a:pt x="57" y="81"/>
                      <a:pt x="57" y="81"/>
                    </a:cubicBezTo>
                    <a:cubicBezTo>
                      <a:pt x="57" y="82"/>
                      <a:pt x="57" y="83"/>
                      <a:pt x="56" y="84"/>
                    </a:cubicBezTo>
                    <a:cubicBezTo>
                      <a:pt x="56" y="86"/>
                      <a:pt x="59" y="89"/>
                      <a:pt x="61" y="91"/>
                    </a:cubicBezTo>
                    <a:cubicBezTo>
                      <a:pt x="62" y="92"/>
                      <a:pt x="66" y="91"/>
                      <a:pt x="66" y="91"/>
                    </a:cubicBezTo>
                    <a:cubicBezTo>
                      <a:pt x="71" y="90"/>
                      <a:pt x="75" y="90"/>
                      <a:pt x="79" y="90"/>
                    </a:cubicBezTo>
                    <a:cubicBezTo>
                      <a:pt x="85" y="89"/>
                      <a:pt x="90" y="89"/>
                      <a:pt x="96" y="88"/>
                    </a:cubicBezTo>
                    <a:cubicBezTo>
                      <a:pt x="98" y="88"/>
                      <a:pt x="102" y="88"/>
                      <a:pt x="104" y="86"/>
                    </a:cubicBezTo>
                    <a:cubicBezTo>
                      <a:pt x="107" y="85"/>
                      <a:pt x="107" y="83"/>
                      <a:pt x="110" y="83"/>
                    </a:cubicBezTo>
                    <a:cubicBezTo>
                      <a:pt x="112" y="83"/>
                      <a:pt x="114" y="82"/>
                      <a:pt x="116" y="82"/>
                    </a:cubicBezTo>
                    <a:cubicBezTo>
                      <a:pt x="117" y="82"/>
                      <a:pt x="119" y="82"/>
                      <a:pt x="120" y="82"/>
                    </a:cubicBezTo>
                    <a:cubicBezTo>
                      <a:pt x="121" y="81"/>
                      <a:pt x="122" y="80"/>
                      <a:pt x="123" y="80"/>
                    </a:cubicBezTo>
                    <a:cubicBezTo>
                      <a:pt x="124" y="79"/>
                      <a:pt x="124" y="79"/>
                      <a:pt x="124" y="78"/>
                    </a:cubicBezTo>
                    <a:cubicBezTo>
                      <a:pt x="125" y="78"/>
                      <a:pt x="124" y="78"/>
                      <a:pt x="125" y="77"/>
                    </a:cubicBezTo>
                    <a:cubicBezTo>
                      <a:pt x="125" y="76"/>
                      <a:pt x="127" y="73"/>
                      <a:pt x="129" y="73"/>
                    </a:cubicBezTo>
                    <a:cubicBezTo>
                      <a:pt x="130" y="74"/>
                      <a:pt x="132" y="76"/>
                      <a:pt x="131" y="77"/>
                    </a:cubicBezTo>
                    <a:cubicBezTo>
                      <a:pt x="131" y="78"/>
                      <a:pt x="129" y="78"/>
                      <a:pt x="131" y="79"/>
                    </a:cubicBezTo>
                    <a:cubicBezTo>
                      <a:pt x="133" y="80"/>
                      <a:pt x="135" y="79"/>
                      <a:pt x="137" y="79"/>
                    </a:cubicBezTo>
                    <a:cubicBezTo>
                      <a:pt x="138" y="79"/>
                      <a:pt x="138" y="79"/>
                      <a:pt x="139" y="80"/>
                    </a:cubicBezTo>
                    <a:cubicBezTo>
                      <a:pt x="140" y="80"/>
                      <a:pt x="140" y="80"/>
                      <a:pt x="140" y="80"/>
                    </a:cubicBezTo>
                    <a:cubicBezTo>
                      <a:pt x="141" y="80"/>
                      <a:pt x="142" y="80"/>
                      <a:pt x="143" y="80"/>
                    </a:cubicBezTo>
                    <a:cubicBezTo>
                      <a:pt x="143" y="80"/>
                      <a:pt x="145" y="80"/>
                      <a:pt x="145" y="81"/>
                    </a:cubicBezTo>
                    <a:cubicBezTo>
                      <a:pt x="145" y="82"/>
                      <a:pt x="144" y="81"/>
                      <a:pt x="144" y="82"/>
                    </a:cubicBezTo>
                    <a:cubicBezTo>
                      <a:pt x="143" y="82"/>
                      <a:pt x="143" y="83"/>
                      <a:pt x="142" y="83"/>
                    </a:cubicBezTo>
                    <a:cubicBezTo>
                      <a:pt x="143" y="84"/>
                      <a:pt x="145" y="83"/>
                      <a:pt x="146" y="83"/>
                    </a:cubicBezTo>
                    <a:cubicBezTo>
                      <a:pt x="147" y="83"/>
                      <a:pt x="151" y="82"/>
                      <a:pt x="152" y="83"/>
                    </a:cubicBezTo>
                    <a:cubicBezTo>
                      <a:pt x="153" y="83"/>
                      <a:pt x="152" y="84"/>
                      <a:pt x="153" y="84"/>
                    </a:cubicBezTo>
                    <a:cubicBezTo>
                      <a:pt x="156" y="85"/>
                      <a:pt x="158" y="85"/>
                      <a:pt x="161" y="85"/>
                    </a:cubicBezTo>
                    <a:cubicBezTo>
                      <a:pt x="164" y="85"/>
                      <a:pt x="167" y="86"/>
                      <a:pt x="170" y="84"/>
                    </a:cubicBezTo>
                    <a:cubicBezTo>
                      <a:pt x="171" y="84"/>
                      <a:pt x="172" y="83"/>
                      <a:pt x="174" y="83"/>
                    </a:cubicBezTo>
                    <a:cubicBezTo>
                      <a:pt x="175" y="83"/>
                      <a:pt x="175" y="83"/>
                      <a:pt x="175" y="82"/>
                    </a:cubicBezTo>
                    <a:cubicBezTo>
                      <a:pt x="175" y="82"/>
                      <a:pt x="175" y="82"/>
                      <a:pt x="175" y="83"/>
                    </a:cubicBezTo>
                    <a:cubicBezTo>
                      <a:pt x="176" y="83"/>
                      <a:pt x="177" y="82"/>
                      <a:pt x="177" y="82"/>
                    </a:cubicBezTo>
                    <a:cubicBezTo>
                      <a:pt x="177" y="82"/>
                      <a:pt x="176" y="82"/>
                      <a:pt x="176" y="81"/>
                    </a:cubicBezTo>
                    <a:cubicBezTo>
                      <a:pt x="177" y="81"/>
                      <a:pt x="177" y="81"/>
                      <a:pt x="177" y="80"/>
                    </a:cubicBezTo>
                    <a:cubicBezTo>
                      <a:pt x="177" y="80"/>
                      <a:pt x="178" y="79"/>
                      <a:pt x="177" y="79"/>
                    </a:cubicBezTo>
                    <a:cubicBezTo>
                      <a:pt x="177" y="78"/>
                      <a:pt x="177" y="78"/>
                      <a:pt x="176" y="78"/>
                    </a:cubicBezTo>
                    <a:cubicBezTo>
                      <a:pt x="175" y="79"/>
                      <a:pt x="175" y="79"/>
                      <a:pt x="175" y="79"/>
                    </a:cubicBezTo>
                    <a:cubicBezTo>
                      <a:pt x="175" y="79"/>
                      <a:pt x="175" y="79"/>
                      <a:pt x="175" y="79"/>
                    </a:cubicBezTo>
                    <a:cubicBezTo>
                      <a:pt x="175" y="79"/>
                      <a:pt x="174" y="79"/>
                      <a:pt x="174" y="79"/>
                    </a:cubicBezTo>
                    <a:cubicBezTo>
                      <a:pt x="173" y="78"/>
                      <a:pt x="174" y="78"/>
                      <a:pt x="174" y="78"/>
                    </a:cubicBezTo>
                    <a:cubicBezTo>
                      <a:pt x="175" y="77"/>
                      <a:pt x="174" y="76"/>
                      <a:pt x="173" y="76"/>
                    </a:cubicBezTo>
                    <a:cubicBezTo>
                      <a:pt x="174" y="76"/>
                      <a:pt x="175" y="76"/>
                      <a:pt x="175" y="75"/>
                    </a:cubicBezTo>
                    <a:cubicBezTo>
                      <a:pt x="175" y="75"/>
                      <a:pt x="175" y="75"/>
                      <a:pt x="175" y="75"/>
                    </a:cubicBezTo>
                    <a:cubicBezTo>
                      <a:pt x="175" y="75"/>
                      <a:pt x="175" y="75"/>
                      <a:pt x="175" y="75"/>
                    </a:cubicBezTo>
                    <a:cubicBezTo>
                      <a:pt x="176" y="75"/>
                      <a:pt x="176" y="74"/>
                      <a:pt x="175" y="74"/>
                    </a:cubicBezTo>
                    <a:cubicBezTo>
                      <a:pt x="175" y="74"/>
                      <a:pt x="175" y="74"/>
                      <a:pt x="175" y="74"/>
                    </a:cubicBezTo>
                    <a:cubicBezTo>
                      <a:pt x="175" y="74"/>
                      <a:pt x="173" y="73"/>
                      <a:pt x="172" y="73"/>
                    </a:cubicBezTo>
                    <a:cubicBezTo>
                      <a:pt x="170" y="73"/>
                      <a:pt x="170" y="74"/>
                      <a:pt x="169" y="75"/>
                    </a:cubicBezTo>
                    <a:cubicBezTo>
                      <a:pt x="167" y="75"/>
                      <a:pt x="167" y="75"/>
                      <a:pt x="166" y="76"/>
                    </a:cubicBezTo>
                    <a:cubicBezTo>
                      <a:pt x="166" y="77"/>
                      <a:pt x="164" y="80"/>
                      <a:pt x="163" y="80"/>
                    </a:cubicBezTo>
                    <a:cubicBezTo>
                      <a:pt x="162" y="80"/>
                      <a:pt x="163" y="78"/>
                      <a:pt x="163" y="78"/>
                    </a:cubicBezTo>
                    <a:cubicBezTo>
                      <a:pt x="164" y="77"/>
                      <a:pt x="165" y="77"/>
                      <a:pt x="165" y="76"/>
                    </a:cubicBezTo>
                    <a:cubicBezTo>
                      <a:pt x="165" y="76"/>
                      <a:pt x="165" y="75"/>
                      <a:pt x="165" y="75"/>
                    </a:cubicBezTo>
                    <a:cubicBezTo>
                      <a:pt x="165" y="74"/>
                      <a:pt x="165" y="75"/>
                      <a:pt x="164" y="74"/>
                    </a:cubicBezTo>
                    <a:cubicBezTo>
                      <a:pt x="163" y="74"/>
                      <a:pt x="163" y="73"/>
                      <a:pt x="163" y="72"/>
                    </a:cubicBezTo>
                    <a:cubicBezTo>
                      <a:pt x="162" y="72"/>
                      <a:pt x="161" y="72"/>
                      <a:pt x="161" y="71"/>
                    </a:cubicBezTo>
                    <a:cubicBezTo>
                      <a:pt x="160" y="71"/>
                      <a:pt x="160" y="70"/>
                      <a:pt x="161" y="70"/>
                    </a:cubicBezTo>
                    <a:cubicBezTo>
                      <a:pt x="162" y="69"/>
                      <a:pt x="163" y="71"/>
                      <a:pt x="164" y="71"/>
                    </a:cubicBezTo>
                    <a:cubicBezTo>
                      <a:pt x="165" y="72"/>
                      <a:pt x="169" y="73"/>
                      <a:pt x="170" y="71"/>
                    </a:cubicBezTo>
                    <a:cubicBezTo>
                      <a:pt x="170" y="71"/>
                      <a:pt x="170" y="70"/>
                      <a:pt x="170" y="70"/>
                    </a:cubicBezTo>
                    <a:cubicBezTo>
                      <a:pt x="170" y="69"/>
                      <a:pt x="170" y="70"/>
                      <a:pt x="169" y="69"/>
                    </a:cubicBezTo>
                    <a:cubicBezTo>
                      <a:pt x="170" y="69"/>
                      <a:pt x="171" y="69"/>
                      <a:pt x="172" y="68"/>
                    </a:cubicBezTo>
                    <a:cubicBezTo>
                      <a:pt x="173" y="67"/>
                      <a:pt x="172" y="66"/>
                      <a:pt x="173" y="66"/>
                    </a:cubicBezTo>
                    <a:cubicBezTo>
                      <a:pt x="174" y="66"/>
                      <a:pt x="173" y="67"/>
                      <a:pt x="173" y="67"/>
                    </a:cubicBezTo>
                    <a:cubicBezTo>
                      <a:pt x="174" y="67"/>
                      <a:pt x="174" y="67"/>
                      <a:pt x="175" y="67"/>
                    </a:cubicBezTo>
                    <a:cubicBezTo>
                      <a:pt x="175" y="67"/>
                      <a:pt x="175" y="68"/>
                      <a:pt x="175" y="68"/>
                    </a:cubicBezTo>
                    <a:cubicBezTo>
                      <a:pt x="175" y="68"/>
                      <a:pt x="175" y="68"/>
                      <a:pt x="175" y="68"/>
                    </a:cubicBezTo>
                    <a:cubicBezTo>
                      <a:pt x="175" y="68"/>
                      <a:pt x="175" y="68"/>
                      <a:pt x="175" y="68"/>
                    </a:cubicBezTo>
                    <a:cubicBezTo>
                      <a:pt x="176" y="69"/>
                      <a:pt x="176" y="69"/>
                      <a:pt x="176" y="69"/>
                    </a:cubicBezTo>
                    <a:cubicBezTo>
                      <a:pt x="177" y="69"/>
                      <a:pt x="178" y="70"/>
                      <a:pt x="178" y="70"/>
                    </a:cubicBezTo>
                    <a:cubicBezTo>
                      <a:pt x="179" y="70"/>
                      <a:pt x="179" y="69"/>
                      <a:pt x="180" y="69"/>
                    </a:cubicBezTo>
                    <a:cubicBezTo>
                      <a:pt x="180" y="68"/>
                      <a:pt x="180" y="67"/>
                      <a:pt x="181" y="66"/>
                    </a:cubicBezTo>
                    <a:cubicBezTo>
                      <a:pt x="181" y="67"/>
                      <a:pt x="180" y="67"/>
                      <a:pt x="1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4" name="Freeform 2071">
                <a:extLst>
                  <a:ext uri="{FF2B5EF4-FFF2-40B4-BE49-F238E27FC236}">
                    <a16:creationId xmlns:a16="http://schemas.microsoft.com/office/drawing/2014/main" id="{EC6983F5-0F6B-4A6D-A54B-1ABC5B85A173}"/>
                  </a:ext>
                </a:extLst>
              </p:cNvPr>
              <p:cNvSpPr>
                <a:spLocks/>
              </p:cNvSpPr>
              <p:nvPr/>
            </p:nvSpPr>
            <p:spPr bwMode="auto">
              <a:xfrm>
                <a:off x="1145" y="666"/>
                <a:ext cx="104" cy="116"/>
              </a:xfrm>
              <a:custGeom>
                <a:avLst/>
                <a:gdLst>
                  <a:gd name="T0" fmla="*/ 30 w 44"/>
                  <a:gd name="T1" fmla="*/ 30 h 49"/>
                  <a:gd name="T2" fmla="*/ 29 w 44"/>
                  <a:gd name="T3" fmla="*/ 29 h 49"/>
                  <a:gd name="T4" fmla="*/ 27 w 44"/>
                  <a:gd name="T5" fmla="*/ 28 h 49"/>
                  <a:gd name="T6" fmla="*/ 27 w 44"/>
                  <a:gd name="T7" fmla="*/ 26 h 49"/>
                  <a:gd name="T8" fmla="*/ 25 w 44"/>
                  <a:gd name="T9" fmla="*/ 20 h 49"/>
                  <a:gd name="T10" fmla="*/ 22 w 44"/>
                  <a:gd name="T11" fmla="*/ 15 h 49"/>
                  <a:gd name="T12" fmla="*/ 22 w 44"/>
                  <a:gd name="T13" fmla="*/ 11 h 49"/>
                  <a:gd name="T14" fmla="*/ 19 w 44"/>
                  <a:gd name="T15" fmla="*/ 6 h 49"/>
                  <a:gd name="T16" fmla="*/ 18 w 44"/>
                  <a:gd name="T17" fmla="*/ 3 h 49"/>
                  <a:gd name="T18" fmla="*/ 16 w 44"/>
                  <a:gd name="T19" fmla="*/ 3 h 49"/>
                  <a:gd name="T20" fmla="*/ 9 w 44"/>
                  <a:gd name="T21" fmla="*/ 1 h 49"/>
                  <a:gd name="T22" fmla="*/ 3 w 44"/>
                  <a:gd name="T23" fmla="*/ 10 h 49"/>
                  <a:gd name="T24" fmla="*/ 5 w 44"/>
                  <a:gd name="T25" fmla="*/ 12 h 49"/>
                  <a:gd name="T26" fmla="*/ 9 w 44"/>
                  <a:gd name="T27" fmla="*/ 12 h 49"/>
                  <a:gd name="T28" fmla="*/ 8 w 44"/>
                  <a:gd name="T29" fmla="*/ 14 h 49"/>
                  <a:gd name="T30" fmla="*/ 10 w 44"/>
                  <a:gd name="T31" fmla="*/ 20 h 49"/>
                  <a:gd name="T32" fmla="*/ 14 w 44"/>
                  <a:gd name="T33" fmla="*/ 24 h 49"/>
                  <a:gd name="T34" fmla="*/ 13 w 44"/>
                  <a:gd name="T35" fmla="*/ 26 h 49"/>
                  <a:gd name="T36" fmla="*/ 11 w 44"/>
                  <a:gd name="T37" fmla="*/ 29 h 49"/>
                  <a:gd name="T38" fmla="*/ 10 w 44"/>
                  <a:gd name="T39" fmla="*/ 33 h 49"/>
                  <a:gd name="T40" fmla="*/ 1 w 44"/>
                  <a:gd name="T41" fmla="*/ 36 h 49"/>
                  <a:gd name="T42" fmla="*/ 0 w 44"/>
                  <a:gd name="T43" fmla="*/ 38 h 49"/>
                  <a:gd name="T44" fmla="*/ 4 w 44"/>
                  <a:gd name="T45" fmla="*/ 41 h 49"/>
                  <a:gd name="T46" fmla="*/ 6 w 44"/>
                  <a:gd name="T47" fmla="*/ 39 h 49"/>
                  <a:gd name="T48" fmla="*/ 10 w 44"/>
                  <a:gd name="T49" fmla="*/ 42 h 49"/>
                  <a:gd name="T50" fmla="*/ 13 w 44"/>
                  <a:gd name="T51" fmla="*/ 43 h 49"/>
                  <a:gd name="T52" fmla="*/ 21 w 44"/>
                  <a:gd name="T53" fmla="*/ 46 h 49"/>
                  <a:gd name="T54" fmla="*/ 25 w 44"/>
                  <a:gd name="T55" fmla="*/ 47 h 49"/>
                  <a:gd name="T56" fmla="*/ 27 w 44"/>
                  <a:gd name="T57" fmla="*/ 46 h 49"/>
                  <a:gd name="T58" fmla="*/ 30 w 44"/>
                  <a:gd name="T59" fmla="*/ 48 h 49"/>
                  <a:gd name="T60" fmla="*/ 34 w 44"/>
                  <a:gd name="T61" fmla="*/ 47 h 49"/>
                  <a:gd name="T62" fmla="*/ 34 w 44"/>
                  <a:gd name="T63" fmla="*/ 47 h 49"/>
                  <a:gd name="T64" fmla="*/ 41 w 44"/>
                  <a:gd name="T65" fmla="*/ 41 h 49"/>
                  <a:gd name="T66" fmla="*/ 38 w 44"/>
                  <a:gd name="T67" fmla="*/ 39 h 49"/>
                  <a:gd name="T68" fmla="*/ 37 w 44"/>
                  <a:gd name="T69" fmla="*/ 35 h 49"/>
                  <a:gd name="T70" fmla="*/ 34 w 44"/>
                  <a:gd name="T71" fmla="*/ 35 h 49"/>
                  <a:gd name="T72" fmla="*/ 33 w 44"/>
                  <a:gd name="T73"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49">
                    <a:moveTo>
                      <a:pt x="33" y="32"/>
                    </a:moveTo>
                    <a:cubicBezTo>
                      <a:pt x="33" y="31"/>
                      <a:pt x="31" y="31"/>
                      <a:pt x="30" y="30"/>
                    </a:cubicBezTo>
                    <a:cubicBezTo>
                      <a:pt x="30" y="30"/>
                      <a:pt x="30" y="30"/>
                      <a:pt x="29" y="30"/>
                    </a:cubicBezTo>
                    <a:cubicBezTo>
                      <a:pt x="29" y="30"/>
                      <a:pt x="29" y="29"/>
                      <a:pt x="29" y="29"/>
                    </a:cubicBezTo>
                    <a:cubicBezTo>
                      <a:pt x="29" y="29"/>
                      <a:pt x="28" y="29"/>
                      <a:pt x="28" y="29"/>
                    </a:cubicBezTo>
                    <a:cubicBezTo>
                      <a:pt x="28" y="28"/>
                      <a:pt x="28" y="29"/>
                      <a:pt x="27" y="28"/>
                    </a:cubicBezTo>
                    <a:cubicBezTo>
                      <a:pt x="27" y="28"/>
                      <a:pt x="28" y="28"/>
                      <a:pt x="28" y="27"/>
                    </a:cubicBezTo>
                    <a:cubicBezTo>
                      <a:pt x="28" y="27"/>
                      <a:pt x="27" y="26"/>
                      <a:pt x="27" y="26"/>
                    </a:cubicBezTo>
                    <a:cubicBezTo>
                      <a:pt x="26" y="25"/>
                      <a:pt x="26" y="24"/>
                      <a:pt x="26" y="23"/>
                    </a:cubicBezTo>
                    <a:cubicBezTo>
                      <a:pt x="26" y="21"/>
                      <a:pt x="25" y="21"/>
                      <a:pt x="25" y="20"/>
                    </a:cubicBezTo>
                    <a:cubicBezTo>
                      <a:pt x="25" y="18"/>
                      <a:pt x="24" y="18"/>
                      <a:pt x="23" y="17"/>
                    </a:cubicBezTo>
                    <a:cubicBezTo>
                      <a:pt x="23" y="16"/>
                      <a:pt x="23" y="16"/>
                      <a:pt x="22" y="15"/>
                    </a:cubicBezTo>
                    <a:cubicBezTo>
                      <a:pt x="22" y="14"/>
                      <a:pt x="22" y="14"/>
                      <a:pt x="23" y="13"/>
                    </a:cubicBezTo>
                    <a:cubicBezTo>
                      <a:pt x="22" y="12"/>
                      <a:pt x="22" y="12"/>
                      <a:pt x="22" y="11"/>
                    </a:cubicBezTo>
                    <a:cubicBezTo>
                      <a:pt x="21" y="10"/>
                      <a:pt x="21" y="10"/>
                      <a:pt x="21" y="9"/>
                    </a:cubicBezTo>
                    <a:cubicBezTo>
                      <a:pt x="20" y="8"/>
                      <a:pt x="20" y="7"/>
                      <a:pt x="19" y="6"/>
                    </a:cubicBezTo>
                    <a:cubicBezTo>
                      <a:pt x="19" y="5"/>
                      <a:pt x="18" y="5"/>
                      <a:pt x="18" y="5"/>
                    </a:cubicBezTo>
                    <a:cubicBezTo>
                      <a:pt x="18" y="4"/>
                      <a:pt x="18" y="4"/>
                      <a:pt x="18" y="3"/>
                    </a:cubicBezTo>
                    <a:cubicBezTo>
                      <a:pt x="17" y="2"/>
                      <a:pt x="18" y="3"/>
                      <a:pt x="17" y="3"/>
                    </a:cubicBezTo>
                    <a:cubicBezTo>
                      <a:pt x="16" y="3"/>
                      <a:pt x="16" y="3"/>
                      <a:pt x="16" y="3"/>
                    </a:cubicBezTo>
                    <a:cubicBezTo>
                      <a:pt x="15" y="2"/>
                      <a:pt x="15" y="2"/>
                      <a:pt x="14" y="2"/>
                    </a:cubicBezTo>
                    <a:cubicBezTo>
                      <a:pt x="12" y="1"/>
                      <a:pt x="11" y="1"/>
                      <a:pt x="9" y="1"/>
                    </a:cubicBezTo>
                    <a:cubicBezTo>
                      <a:pt x="8" y="1"/>
                      <a:pt x="7" y="0"/>
                      <a:pt x="6" y="1"/>
                    </a:cubicBezTo>
                    <a:cubicBezTo>
                      <a:pt x="5" y="3"/>
                      <a:pt x="4" y="7"/>
                      <a:pt x="3" y="10"/>
                    </a:cubicBezTo>
                    <a:cubicBezTo>
                      <a:pt x="3" y="10"/>
                      <a:pt x="3" y="10"/>
                      <a:pt x="3" y="10"/>
                    </a:cubicBezTo>
                    <a:cubicBezTo>
                      <a:pt x="4" y="11"/>
                      <a:pt x="4" y="12"/>
                      <a:pt x="5" y="12"/>
                    </a:cubicBezTo>
                    <a:cubicBezTo>
                      <a:pt x="5" y="12"/>
                      <a:pt x="7" y="12"/>
                      <a:pt x="7" y="12"/>
                    </a:cubicBezTo>
                    <a:cubicBezTo>
                      <a:pt x="8" y="12"/>
                      <a:pt x="8" y="12"/>
                      <a:pt x="9" y="12"/>
                    </a:cubicBezTo>
                    <a:cubicBezTo>
                      <a:pt x="9" y="12"/>
                      <a:pt x="11" y="12"/>
                      <a:pt x="11" y="12"/>
                    </a:cubicBezTo>
                    <a:cubicBezTo>
                      <a:pt x="11" y="13"/>
                      <a:pt x="9" y="13"/>
                      <a:pt x="8" y="14"/>
                    </a:cubicBezTo>
                    <a:cubicBezTo>
                      <a:pt x="8" y="16"/>
                      <a:pt x="7" y="16"/>
                      <a:pt x="8" y="18"/>
                    </a:cubicBezTo>
                    <a:cubicBezTo>
                      <a:pt x="9" y="18"/>
                      <a:pt x="10" y="19"/>
                      <a:pt x="10" y="20"/>
                    </a:cubicBezTo>
                    <a:cubicBezTo>
                      <a:pt x="11" y="21"/>
                      <a:pt x="11" y="21"/>
                      <a:pt x="12" y="22"/>
                    </a:cubicBezTo>
                    <a:cubicBezTo>
                      <a:pt x="13" y="23"/>
                      <a:pt x="13" y="23"/>
                      <a:pt x="14" y="24"/>
                    </a:cubicBezTo>
                    <a:cubicBezTo>
                      <a:pt x="13" y="24"/>
                      <a:pt x="13" y="24"/>
                      <a:pt x="13" y="24"/>
                    </a:cubicBezTo>
                    <a:cubicBezTo>
                      <a:pt x="13" y="25"/>
                      <a:pt x="13" y="25"/>
                      <a:pt x="13" y="26"/>
                    </a:cubicBezTo>
                    <a:cubicBezTo>
                      <a:pt x="12" y="28"/>
                      <a:pt x="11" y="27"/>
                      <a:pt x="10" y="28"/>
                    </a:cubicBezTo>
                    <a:cubicBezTo>
                      <a:pt x="9" y="28"/>
                      <a:pt x="10" y="29"/>
                      <a:pt x="11" y="29"/>
                    </a:cubicBezTo>
                    <a:cubicBezTo>
                      <a:pt x="9" y="29"/>
                      <a:pt x="10" y="30"/>
                      <a:pt x="11" y="31"/>
                    </a:cubicBezTo>
                    <a:cubicBezTo>
                      <a:pt x="12" y="32"/>
                      <a:pt x="12" y="32"/>
                      <a:pt x="10" y="33"/>
                    </a:cubicBezTo>
                    <a:cubicBezTo>
                      <a:pt x="8" y="33"/>
                      <a:pt x="9" y="34"/>
                      <a:pt x="8" y="35"/>
                    </a:cubicBezTo>
                    <a:cubicBezTo>
                      <a:pt x="7" y="36"/>
                      <a:pt x="3" y="35"/>
                      <a:pt x="1" y="36"/>
                    </a:cubicBezTo>
                    <a:cubicBezTo>
                      <a:pt x="1" y="36"/>
                      <a:pt x="0" y="37"/>
                      <a:pt x="0" y="38"/>
                    </a:cubicBezTo>
                    <a:cubicBezTo>
                      <a:pt x="0" y="38"/>
                      <a:pt x="0" y="38"/>
                      <a:pt x="0" y="38"/>
                    </a:cubicBezTo>
                    <a:cubicBezTo>
                      <a:pt x="1" y="40"/>
                      <a:pt x="1" y="40"/>
                      <a:pt x="3" y="41"/>
                    </a:cubicBezTo>
                    <a:cubicBezTo>
                      <a:pt x="3" y="41"/>
                      <a:pt x="4" y="41"/>
                      <a:pt x="4" y="41"/>
                    </a:cubicBezTo>
                    <a:cubicBezTo>
                      <a:pt x="4" y="41"/>
                      <a:pt x="4" y="40"/>
                      <a:pt x="5" y="39"/>
                    </a:cubicBezTo>
                    <a:cubicBezTo>
                      <a:pt x="4" y="40"/>
                      <a:pt x="6" y="39"/>
                      <a:pt x="6" y="39"/>
                    </a:cubicBezTo>
                    <a:cubicBezTo>
                      <a:pt x="7" y="39"/>
                      <a:pt x="7" y="39"/>
                      <a:pt x="7" y="40"/>
                    </a:cubicBezTo>
                    <a:cubicBezTo>
                      <a:pt x="7" y="42"/>
                      <a:pt x="9" y="41"/>
                      <a:pt x="10" y="42"/>
                    </a:cubicBezTo>
                    <a:cubicBezTo>
                      <a:pt x="11" y="42"/>
                      <a:pt x="11" y="43"/>
                      <a:pt x="12" y="41"/>
                    </a:cubicBezTo>
                    <a:cubicBezTo>
                      <a:pt x="12" y="39"/>
                      <a:pt x="13" y="43"/>
                      <a:pt x="13" y="43"/>
                    </a:cubicBezTo>
                    <a:cubicBezTo>
                      <a:pt x="14" y="44"/>
                      <a:pt x="15" y="43"/>
                      <a:pt x="16" y="44"/>
                    </a:cubicBezTo>
                    <a:cubicBezTo>
                      <a:pt x="18" y="44"/>
                      <a:pt x="19" y="46"/>
                      <a:pt x="21" y="46"/>
                    </a:cubicBezTo>
                    <a:cubicBezTo>
                      <a:pt x="22" y="46"/>
                      <a:pt x="22" y="46"/>
                      <a:pt x="23" y="46"/>
                    </a:cubicBezTo>
                    <a:cubicBezTo>
                      <a:pt x="23" y="47"/>
                      <a:pt x="24" y="47"/>
                      <a:pt x="25" y="47"/>
                    </a:cubicBezTo>
                    <a:cubicBezTo>
                      <a:pt x="25" y="46"/>
                      <a:pt x="24" y="45"/>
                      <a:pt x="25" y="46"/>
                    </a:cubicBezTo>
                    <a:cubicBezTo>
                      <a:pt x="26" y="46"/>
                      <a:pt x="26" y="46"/>
                      <a:pt x="27" y="46"/>
                    </a:cubicBezTo>
                    <a:cubicBezTo>
                      <a:pt x="27" y="48"/>
                      <a:pt x="27" y="48"/>
                      <a:pt x="28" y="49"/>
                    </a:cubicBezTo>
                    <a:cubicBezTo>
                      <a:pt x="29" y="49"/>
                      <a:pt x="30" y="48"/>
                      <a:pt x="30" y="48"/>
                    </a:cubicBezTo>
                    <a:cubicBezTo>
                      <a:pt x="30" y="48"/>
                      <a:pt x="30" y="48"/>
                      <a:pt x="30" y="48"/>
                    </a:cubicBezTo>
                    <a:cubicBezTo>
                      <a:pt x="32" y="48"/>
                      <a:pt x="33" y="48"/>
                      <a:pt x="34" y="47"/>
                    </a:cubicBezTo>
                    <a:cubicBezTo>
                      <a:pt x="34" y="47"/>
                      <a:pt x="34" y="47"/>
                      <a:pt x="34" y="47"/>
                    </a:cubicBezTo>
                    <a:cubicBezTo>
                      <a:pt x="34" y="47"/>
                      <a:pt x="34" y="47"/>
                      <a:pt x="34" y="47"/>
                    </a:cubicBezTo>
                    <a:cubicBezTo>
                      <a:pt x="38" y="45"/>
                      <a:pt x="41" y="43"/>
                      <a:pt x="44" y="41"/>
                    </a:cubicBezTo>
                    <a:cubicBezTo>
                      <a:pt x="43" y="39"/>
                      <a:pt x="42" y="41"/>
                      <a:pt x="41" y="41"/>
                    </a:cubicBezTo>
                    <a:cubicBezTo>
                      <a:pt x="40" y="41"/>
                      <a:pt x="40" y="41"/>
                      <a:pt x="39" y="40"/>
                    </a:cubicBezTo>
                    <a:cubicBezTo>
                      <a:pt x="38" y="40"/>
                      <a:pt x="38" y="41"/>
                      <a:pt x="38" y="39"/>
                    </a:cubicBezTo>
                    <a:cubicBezTo>
                      <a:pt x="38" y="38"/>
                      <a:pt x="37" y="38"/>
                      <a:pt x="37" y="37"/>
                    </a:cubicBezTo>
                    <a:cubicBezTo>
                      <a:pt x="37" y="36"/>
                      <a:pt x="37" y="36"/>
                      <a:pt x="37" y="35"/>
                    </a:cubicBezTo>
                    <a:cubicBezTo>
                      <a:pt x="35" y="32"/>
                      <a:pt x="36" y="36"/>
                      <a:pt x="35" y="37"/>
                    </a:cubicBezTo>
                    <a:cubicBezTo>
                      <a:pt x="35" y="37"/>
                      <a:pt x="34" y="36"/>
                      <a:pt x="34" y="35"/>
                    </a:cubicBezTo>
                    <a:cubicBezTo>
                      <a:pt x="33" y="36"/>
                      <a:pt x="33" y="36"/>
                      <a:pt x="33" y="36"/>
                    </a:cubicBezTo>
                    <a:cubicBezTo>
                      <a:pt x="33" y="36"/>
                      <a:pt x="33" y="36"/>
                      <a:pt x="33" y="36"/>
                    </a:cubicBezTo>
                    <a:cubicBezTo>
                      <a:pt x="34" y="35"/>
                      <a:pt x="35" y="34"/>
                      <a:pt x="3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5" name="Freeform 2072">
                <a:extLst>
                  <a:ext uri="{FF2B5EF4-FFF2-40B4-BE49-F238E27FC236}">
                    <a16:creationId xmlns:a16="http://schemas.microsoft.com/office/drawing/2014/main" id="{2D2B02E0-1EDF-434D-B0EC-DC6E0E11ACB0}"/>
                  </a:ext>
                </a:extLst>
              </p:cNvPr>
              <p:cNvSpPr>
                <a:spLocks/>
              </p:cNvSpPr>
              <p:nvPr/>
            </p:nvSpPr>
            <p:spPr bwMode="auto">
              <a:xfrm>
                <a:off x="1906" y="884"/>
                <a:ext cx="5" cy="11"/>
              </a:xfrm>
              <a:custGeom>
                <a:avLst/>
                <a:gdLst>
                  <a:gd name="T0" fmla="*/ 2 w 2"/>
                  <a:gd name="T1" fmla="*/ 1 h 5"/>
                  <a:gd name="T2" fmla="*/ 0 w 2"/>
                  <a:gd name="T3" fmla="*/ 4 h 5"/>
                  <a:gd name="T4" fmla="*/ 0 w 2"/>
                  <a:gd name="T5" fmla="*/ 5 h 5"/>
                  <a:gd name="T6" fmla="*/ 2 w 2"/>
                  <a:gd name="T7" fmla="*/ 3 h 5"/>
                  <a:gd name="T8" fmla="*/ 2 w 2"/>
                  <a:gd name="T9" fmla="*/ 1 h 5"/>
                </a:gdLst>
                <a:ahLst/>
                <a:cxnLst>
                  <a:cxn ang="0">
                    <a:pos x="T0" y="T1"/>
                  </a:cxn>
                  <a:cxn ang="0">
                    <a:pos x="T2" y="T3"/>
                  </a:cxn>
                  <a:cxn ang="0">
                    <a:pos x="T4" y="T5"/>
                  </a:cxn>
                  <a:cxn ang="0">
                    <a:pos x="T6" y="T7"/>
                  </a:cxn>
                  <a:cxn ang="0">
                    <a:pos x="T8" y="T9"/>
                  </a:cxn>
                </a:cxnLst>
                <a:rect l="0" t="0" r="r" b="b"/>
                <a:pathLst>
                  <a:path w="2" h="5">
                    <a:moveTo>
                      <a:pt x="2" y="1"/>
                    </a:moveTo>
                    <a:cubicBezTo>
                      <a:pt x="0" y="0"/>
                      <a:pt x="0" y="3"/>
                      <a:pt x="0" y="4"/>
                    </a:cubicBezTo>
                    <a:cubicBezTo>
                      <a:pt x="0" y="5"/>
                      <a:pt x="0" y="5"/>
                      <a:pt x="0" y="5"/>
                    </a:cubicBezTo>
                    <a:cubicBezTo>
                      <a:pt x="0" y="4"/>
                      <a:pt x="1" y="4"/>
                      <a:pt x="2" y="3"/>
                    </a:cubicBezTo>
                    <a:cubicBezTo>
                      <a:pt x="0" y="4"/>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6" name="Freeform 2073">
                <a:extLst>
                  <a:ext uri="{FF2B5EF4-FFF2-40B4-BE49-F238E27FC236}">
                    <a16:creationId xmlns:a16="http://schemas.microsoft.com/office/drawing/2014/main" id="{EEC288D7-ED9E-4144-B07F-C391866A1639}"/>
                  </a:ext>
                </a:extLst>
              </p:cNvPr>
              <p:cNvSpPr>
                <a:spLocks/>
              </p:cNvSpPr>
              <p:nvPr/>
            </p:nvSpPr>
            <p:spPr bwMode="auto">
              <a:xfrm>
                <a:off x="1906" y="760"/>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7" name="Freeform 2074">
                <a:extLst>
                  <a:ext uri="{FF2B5EF4-FFF2-40B4-BE49-F238E27FC236}">
                    <a16:creationId xmlns:a16="http://schemas.microsoft.com/office/drawing/2014/main" id="{CD89D249-E631-427C-BE30-92C0220954C2}"/>
                  </a:ext>
                </a:extLst>
              </p:cNvPr>
              <p:cNvSpPr>
                <a:spLocks/>
              </p:cNvSpPr>
              <p:nvPr/>
            </p:nvSpPr>
            <p:spPr bwMode="auto">
              <a:xfrm>
                <a:off x="1906" y="763"/>
                <a:ext cx="5" cy="2"/>
              </a:xfrm>
              <a:custGeom>
                <a:avLst/>
                <a:gdLst>
                  <a:gd name="T0" fmla="*/ 2 w 2"/>
                  <a:gd name="T1" fmla="*/ 1 h 1"/>
                  <a:gd name="T2" fmla="*/ 0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1" y="1"/>
                      <a:pt x="0" y="0"/>
                    </a:cubicBezTo>
                    <a:cubicBezTo>
                      <a:pt x="0" y="1"/>
                      <a:pt x="0" y="1"/>
                      <a:pt x="0" y="1"/>
                    </a:cubicBezTo>
                    <a:cubicBezTo>
                      <a:pt x="1"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8" name="Freeform 2075">
                <a:extLst>
                  <a:ext uri="{FF2B5EF4-FFF2-40B4-BE49-F238E27FC236}">
                    <a16:creationId xmlns:a16="http://schemas.microsoft.com/office/drawing/2014/main" id="{00E65A90-9C90-44AF-ACC2-5CA032E2A631}"/>
                  </a:ext>
                </a:extLst>
              </p:cNvPr>
              <p:cNvSpPr>
                <a:spLocks noEditPoints="1"/>
              </p:cNvSpPr>
              <p:nvPr/>
            </p:nvSpPr>
            <p:spPr bwMode="auto">
              <a:xfrm>
                <a:off x="1372" y="538"/>
                <a:ext cx="697" cy="502"/>
              </a:xfrm>
              <a:custGeom>
                <a:avLst/>
                <a:gdLst>
                  <a:gd name="T0" fmla="*/ 169 w 295"/>
                  <a:gd name="T1" fmla="*/ 42 h 212"/>
                  <a:gd name="T2" fmla="*/ 163 w 295"/>
                  <a:gd name="T3" fmla="*/ 36 h 212"/>
                  <a:gd name="T4" fmla="*/ 153 w 295"/>
                  <a:gd name="T5" fmla="*/ 34 h 212"/>
                  <a:gd name="T6" fmla="*/ 130 w 295"/>
                  <a:gd name="T7" fmla="*/ 33 h 212"/>
                  <a:gd name="T8" fmla="*/ 125 w 295"/>
                  <a:gd name="T9" fmla="*/ 41 h 212"/>
                  <a:gd name="T10" fmla="*/ 106 w 295"/>
                  <a:gd name="T11" fmla="*/ 28 h 212"/>
                  <a:gd name="T12" fmla="*/ 98 w 295"/>
                  <a:gd name="T13" fmla="*/ 29 h 212"/>
                  <a:gd name="T14" fmla="*/ 80 w 295"/>
                  <a:gd name="T15" fmla="*/ 3 h 212"/>
                  <a:gd name="T16" fmla="*/ 53 w 295"/>
                  <a:gd name="T17" fmla="*/ 5 h 212"/>
                  <a:gd name="T18" fmla="*/ 9 w 295"/>
                  <a:gd name="T19" fmla="*/ 19 h 212"/>
                  <a:gd name="T20" fmla="*/ 9 w 295"/>
                  <a:gd name="T21" fmla="*/ 50 h 212"/>
                  <a:gd name="T22" fmla="*/ 20 w 295"/>
                  <a:gd name="T23" fmla="*/ 67 h 212"/>
                  <a:gd name="T24" fmla="*/ 44 w 295"/>
                  <a:gd name="T25" fmla="*/ 73 h 212"/>
                  <a:gd name="T26" fmla="*/ 86 w 295"/>
                  <a:gd name="T27" fmla="*/ 75 h 212"/>
                  <a:gd name="T28" fmla="*/ 99 w 295"/>
                  <a:gd name="T29" fmla="*/ 74 h 212"/>
                  <a:gd name="T30" fmla="*/ 116 w 295"/>
                  <a:gd name="T31" fmla="*/ 62 h 212"/>
                  <a:gd name="T32" fmla="*/ 128 w 295"/>
                  <a:gd name="T33" fmla="*/ 77 h 212"/>
                  <a:gd name="T34" fmla="*/ 140 w 295"/>
                  <a:gd name="T35" fmla="*/ 84 h 212"/>
                  <a:gd name="T36" fmla="*/ 156 w 295"/>
                  <a:gd name="T37" fmla="*/ 93 h 212"/>
                  <a:gd name="T38" fmla="*/ 175 w 295"/>
                  <a:gd name="T39" fmla="*/ 106 h 212"/>
                  <a:gd name="T40" fmla="*/ 194 w 295"/>
                  <a:gd name="T41" fmla="*/ 129 h 212"/>
                  <a:gd name="T42" fmla="*/ 215 w 295"/>
                  <a:gd name="T43" fmla="*/ 138 h 212"/>
                  <a:gd name="T44" fmla="*/ 195 w 295"/>
                  <a:gd name="T45" fmla="*/ 139 h 212"/>
                  <a:gd name="T46" fmla="*/ 158 w 295"/>
                  <a:gd name="T47" fmla="*/ 154 h 212"/>
                  <a:gd name="T48" fmla="*/ 150 w 295"/>
                  <a:gd name="T49" fmla="*/ 160 h 212"/>
                  <a:gd name="T50" fmla="*/ 137 w 295"/>
                  <a:gd name="T51" fmla="*/ 173 h 212"/>
                  <a:gd name="T52" fmla="*/ 155 w 295"/>
                  <a:gd name="T53" fmla="*/ 164 h 212"/>
                  <a:gd name="T54" fmla="*/ 168 w 295"/>
                  <a:gd name="T55" fmla="*/ 167 h 212"/>
                  <a:gd name="T56" fmla="*/ 183 w 295"/>
                  <a:gd name="T57" fmla="*/ 178 h 212"/>
                  <a:gd name="T58" fmla="*/ 196 w 295"/>
                  <a:gd name="T59" fmla="*/ 191 h 212"/>
                  <a:gd name="T60" fmla="*/ 247 w 295"/>
                  <a:gd name="T61" fmla="*/ 206 h 212"/>
                  <a:gd name="T62" fmla="*/ 229 w 295"/>
                  <a:gd name="T63" fmla="*/ 194 h 212"/>
                  <a:gd name="T64" fmla="*/ 226 w 295"/>
                  <a:gd name="T65" fmla="*/ 185 h 212"/>
                  <a:gd name="T66" fmla="*/ 241 w 295"/>
                  <a:gd name="T67" fmla="*/ 194 h 212"/>
                  <a:gd name="T68" fmla="*/ 255 w 295"/>
                  <a:gd name="T69" fmla="*/ 201 h 212"/>
                  <a:gd name="T70" fmla="*/ 256 w 295"/>
                  <a:gd name="T71" fmla="*/ 183 h 212"/>
                  <a:gd name="T72" fmla="*/ 254 w 295"/>
                  <a:gd name="T73" fmla="*/ 174 h 212"/>
                  <a:gd name="T74" fmla="*/ 247 w 295"/>
                  <a:gd name="T75" fmla="*/ 165 h 212"/>
                  <a:gd name="T76" fmla="*/ 235 w 295"/>
                  <a:gd name="T77" fmla="*/ 157 h 212"/>
                  <a:gd name="T78" fmla="*/ 223 w 295"/>
                  <a:gd name="T79" fmla="*/ 144 h 212"/>
                  <a:gd name="T80" fmla="*/ 226 w 295"/>
                  <a:gd name="T81" fmla="*/ 136 h 212"/>
                  <a:gd name="T82" fmla="*/ 251 w 295"/>
                  <a:gd name="T83" fmla="*/ 139 h 212"/>
                  <a:gd name="T84" fmla="*/ 253 w 295"/>
                  <a:gd name="T85" fmla="*/ 147 h 212"/>
                  <a:gd name="T86" fmla="*/ 264 w 295"/>
                  <a:gd name="T87" fmla="*/ 154 h 212"/>
                  <a:gd name="T88" fmla="*/ 274 w 295"/>
                  <a:gd name="T89" fmla="*/ 154 h 212"/>
                  <a:gd name="T90" fmla="*/ 284 w 295"/>
                  <a:gd name="T91" fmla="*/ 147 h 212"/>
                  <a:gd name="T92" fmla="*/ 281 w 295"/>
                  <a:gd name="T93" fmla="*/ 140 h 212"/>
                  <a:gd name="T94" fmla="*/ 285 w 295"/>
                  <a:gd name="T95" fmla="*/ 134 h 212"/>
                  <a:gd name="T96" fmla="*/ 272 w 295"/>
                  <a:gd name="T97" fmla="*/ 130 h 212"/>
                  <a:gd name="T98" fmla="*/ 267 w 295"/>
                  <a:gd name="T99" fmla="*/ 122 h 212"/>
                  <a:gd name="T100" fmla="*/ 252 w 295"/>
                  <a:gd name="T101" fmla="*/ 112 h 212"/>
                  <a:gd name="T102" fmla="*/ 239 w 295"/>
                  <a:gd name="T103" fmla="*/ 110 h 212"/>
                  <a:gd name="T104" fmla="*/ 237 w 295"/>
                  <a:gd name="T105" fmla="*/ 103 h 212"/>
                  <a:gd name="T106" fmla="*/ 225 w 295"/>
                  <a:gd name="T107" fmla="*/ 99 h 212"/>
                  <a:gd name="T108" fmla="*/ 226 w 295"/>
                  <a:gd name="T109" fmla="*/ 91 h 212"/>
                  <a:gd name="T110" fmla="*/ 227 w 295"/>
                  <a:gd name="T111" fmla="*/ 88 h 212"/>
                  <a:gd name="T112" fmla="*/ 220 w 295"/>
                  <a:gd name="T113" fmla="*/ 81 h 212"/>
                  <a:gd name="T114" fmla="*/ 211 w 295"/>
                  <a:gd name="T115" fmla="*/ 78 h 212"/>
                  <a:gd name="T116" fmla="*/ 219 w 295"/>
                  <a:gd name="T117" fmla="*/ 68 h 212"/>
                  <a:gd name="T118" fmla="*/ 194 w 295"/>
                  <a:gd name="T119" fmla="*/ 69 h 212"/>
                  <a:gd name="T120" fmla="*/ 183 w 295"/>
                  <a:gd name="T121" fmla="*/ 58 h 212"/>
                  <a:gd name="T122" fmla="*/ 38 w 295"/>
                  <a:gd name="T123" fmla="*/ 56 h 212"/>
                  <a:gd name="T124" fmla="*/ 52 w 295"/>
                  <a:gd name="T125" fmla="*/ 2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5" h="212">
                    <a:moveTo>
                      <a:pt x="176" y="48"/>
                    </a:moveTo>
                    <a:cubicBezTo>
                      <a:pt x="175" y="48"/>
                      <a:pt x="174" y="50"/>
                      <a:pt x="175" y="51"/>
                    </a:cubicBezTo>
                    <a:cubicBezTo>
                      <a:pt x="174" y="51"/>
                      <a:pt x="174" y="51"/>
                      <a:pt x="174" y="51"/>
                    </a:cubicBezTo>
                    <a:cubicBezTo>
                      <a:pt x="174" y="51"/>
                      <a:pt x="174" y="51"/>
                      <a:pt x="174" y="50"/>
                    </a:cubicBezTo>
                    <a:cubicBezTo>
                      <a:pt x="172" y="49"/>
                      <a:pt x="171" y="49"/>
                      <a:pt x="170" y="50"/>
                    </a:cubicBezTo>
                    <a:cubicBezTo>
                      <a:pt x="169" y="52"/>
                      <a:pt x="168" y="55"/>
                      <a:pt x="166" y="55"/>
                    </a:cubicBezTo>
                    <a:cubicBezTo>
                      <a:pt x="168" y="54"/>
                      <a:pt x="168" y="53"/>
                      <a:pt x="168" y="52"/>
                    </a:cubicBezTo>
                    <a:cubicBezTo>
                      <a:pt x="169" y="50"/>
                      <a:pt x="169" y="50"/>
                      <a:pt x="170" y="49"/>
                    </a:cubicBezTo>
                    <a:cubicBezTo>
                      <a:pt x="170" y="49"/>
                      <a:pt x="172" y="47"/>
                      <a:pt x="170" y="47"/>
                    </a:cubicBezTo>
                    <a:cubicBezTo>
                      <a:pt x="169" y="48"/>
                      <a:pt x="169" y="48"/>
                      <a:pt x="169" y="47"/>
                    </a:cubicBezTo>
                    <a:cubicBezTo>
                      <a:pt x="169" y="46"/>
                      <a:pt x="170" y="45"/>
                      <a:pt x="169" y="45"/>
                    </a:cubicBezTo>
                    <a:cubicBezTo>
                      <a:pt x="169" y="44"/>
                      <a:pt x="168" y="44"/>
                      <a:pt x="167" y="45"/>
                    </a:cubicBezTo>
                    <a:cubicBezTo>
                      <a:pt x="166" y="47"/>
                      <a:pt x="165" y="51"/>
                      <a:pt x="163" y="52"/>
                    </a:cubicBezTo>
                    <a:cubicBezTo>
                      <a:pt x="163" y="51"/>
                      <a:pt x="164" y="48"/>
                      <a:pt x="164" y="47"/>
                    </a:cubicBezTo>
                    <a:cubicBezTo>
                      <a:pt x="164" y="47"/>
                      <a:pt x="162" y="48"/>
                      <a:pt x="162" y="48"/>
                    </a:cubicBezTo>
                    <a:cubicBezTo>
                      <a:pt x="162" y="47"/>
                      <a:pt x="163" y="47"/>
                      <a:pt x="164" y="47"/>
                    </a:cubicBezTo>
                    <a:cubicBezTo>
                      <a:pt x="165" y="47"/>
                      <a:pt x="165" y="47"/>
                      <a:pt x="165" y="46"/>
                    </a:cubicBezTo>
                    <a:cubicBezTo>
                      <a:pt x="166" y="45"/>
                      <a:pt x="166" y="44"/>
                      <a:pt x="166" y="44"/>
                    </a:cubicBezTo>
                    <a:cubicBezTo>
                      <a:pt x="167" y="43"/>
                      <a:pt x="168" y="43"/>
                      <a:pt x="169" y="42"/>
                    </a:cubicBezTo>
                    <a:cubicBezTo>
                      <a:pt x="170" y="41"/>
                      <a:pt x="168" y="41"/>
                      <a:pt x="167" y="41"/>
                    </a:cubicBezTo>
                    <a:cubicBezTo>
                      <a:pt x="165" y="41"/>
                      <a:pt x="163" y="43"/>
                      <a:pt x="163" y="45"/>
                    </a:cubicBezTo>
                    <a:cubicBezTo>
                      <a:pt x="162" y="44"/>
                      <a:pt x="165" y="41"/>
                      <a:pt x="163" y="42"/>
                    </a:cubicBezTo>
                    <a:cubicBezTo>
                      <a:pt x="161" y="42"/>
                      <a:pt x="159" y="44"/>
                      <a:pt x="158" y="45"/>
                    </a:cubicBezTo>
                    <a:cubicBezTo>
                      <a:pt x="157" y="46"/>
                      <a:pt x="159" y="47"/>
                      <a:pt x="159" y="48"/>
                    </a:cubicBezTo>
                    <a:cubicBezTo>
                      <a:pt x="159" y="49"/>
                      <a:pt x="157" y="49"/>
                      <a:pt x="157" y="50"/>
                    </a:cubicBezTo>
                    <a:cubicBezTo>
                      <a:pt x="156" y="51"/>
                      <a:pt x="155" y="52"/>
                      <a:pt x="154" y="52"/>
                    </a:cubicBezTo>
                    <a:cubicBezTo>
                      <a:pt x="155" y="51"/>
                      <a:pt x="158" y="49"/>
                      <a:pt x="157" y="48"/>
                    </a:cubicBezTo>
                    <a:cubicBezTo>
                      <a:pt x="157" y="47"/>
                      <a:pt x="157" y="47"/>
                      <a:pt x="156" y="47"/>
                    </a:cubicBezTo>
                    <a:cubicBezTo>
                      <a:pt x="155" y="47"/>
                      <a:pt x="156" y="46"/>
                      <a:pt x="156" y="46"/>
                    </a:cubicBezTo>
                    <a:cubicBezTo>
                      <a:pt x="155" y="46"/>
                      <a:pt x="155" y="46"/>
                      <a:pt x="155" y="46"/>
                    </a:cubicBezTo>
                    <a:cubicBezTo>
                      <a:pt x="157" y="45"/>
                      <a:pt x="160" y="44"/>
                      <a:pt x="158" y="43"/>
                    </a:cubicBezTo>
                    <a:cubicBezTo>
                      <a:pt x="158" y="42"/>
                      <a:pt x="152" y="45"/>
                      <a:pt x="151" y="46"/>
                    </a:cubicBezTo>
                    <a:cubicBezTo>
                      <a:pt x="151" y="45"/>
                      <a:pt x="155" y="44"/>
                      <a:pt x="155" y="43"/>
                    </a:cubicBezTo>
                    <a:cubicBezTo>
                      <a:pt x="155" y="42"/>
                      <a:pt x="152" y="43"/>
                      <a:pt x="151" y="43"/>
                    </a:cubicBezTo>
                    <a:cubicBezTo>
                      <a:pt x="153" y="41"/>
                      <a:pt x="155" y="43"/>
                      <a:pt x="157" y="42"/>
                    </a:cubicBezTo>
                    <a:cubicBezTo>
                      <a:pt x="158" y="41"/>
                      <a:pt x="159" y="40"/>
                      <a:pt x="160" y="40"/>
                    </a:cubicBezTo>
                    <a:cubicBezTo>
                      <a:pt x="160" y="40"/>
                      <a:pt x="162" y="41"/>
                      <a:pt x="162" y="40"/>
                    </a:cubicBezTo>
                    <a:cubicBezTo>
                      <a:pt x="164" y="39"/>
                      <a:pt x="164" y="38"/>
                      <a:pt x="163" y="36"/>
                    </a:cubicBezTo>
                    <a:cubicBezTo>
                      <a:pt x="163" y="35"/>
                      <a:pt x="162" y="35"/>
                      <a:pt x="161" y="35"/>
                    </a:cubicBezTo>
                    <a:cubicBezTo>
                      <a:pt x="160" y="35"/>
                      <a:pt x="159" y="35"/>
                      <a:pt x="158" y="35"/>
                    </a:cubicBezTo>
                    <a:cubicBezTo>
                      <a:pt x="157" y="35"/>
                      <a:pt x="156" y="34"/>
                      <a:pt x="155" y="34"/>
                    </a:cubicBezTo>
                    <a:cubicBezTo>
                      <a:pt x="153" y="34"/>
                      <a:pt x="153" y="36"/>
                      <a:pt x="151" y="37"/>
                    </a:cubicBezTo>
                    <a:cubicBezTo>
                      <a:pt x="150" y="37"/>
                      <a:pt x="150" y="36"/>
                      <a:pt x="149" y="38"/>
                    </a:cubicBezTo>
                    <a:cubicBezTo>
                      <a:pt x="148" y="39"/>
                      <a:pt x="148" y="41"/>
                      <a:pt x="147" y="42"/>
                    </a:cubicBezTo>
                    <a:cubicBezTo>
                      <a:pt x="146" y="43"/>
                      <a:pt x="145" y="42"/>
                      <a:pt x="144" y="42"/>
                    </a:cubicBezTo>
                    <a:cubicBezTo>
                      <a:pt x="145" y="42"/>
                      <a:pt x="146" y="42"/>
                      <a:pt x="147" y="41"/>
                    </a:cubicBezTo>
                    <a:cubicBezTo>
                      <a:pt x="148" y="40"/>
                      <a:pt x="148" y="39"/>
                      <a:pt x="148" y="38"/>
                    </a:cubicBezTo>
                    <a:cubicBezTo>
                      <a:pt x="149" y="37"/>
                      <a:pt x="149" y="36"/>
                      <a:pt x="151" y="36"/>
                    </a:cubicBezTo>
                    <a:cubicBezTo>
                      <a:pt x="153" y="36"/>
                      <a:pt x="152" y="35"/>
                      <a:pt x="151" y="35"/>
                    </a:cubicBezTo>
                    <a:cubicBezTo>
                      <a:pt x="149" y="34"/>
                      <a:pt x="147" y="34"/>
                      <a:pt x="145" y="35"/>
                    </a:cubicBezTo>
                    <a:cubicBezTo>
                      <a:pt x="144" y="36"/>
                      <a:pt x="143" y="37"/>
                      <a:pt x="142" y="38"/>
                    </a:cubicBezTo>
                    <a:cubicBezTo>
                      <a:pt x="141" y="39"/>
                      <a:pt x="141" y="40"/>
                      <a:pt x="141" y="40"/>
                    </a:cubicBezTo>
                    <a:cubicBezTo>
                      <a:pt x="140" y="40"/>
                      <a:pt x="142" y="38"/>
                      <a:pt x="142" y="38"/>
                    </a:cubicBezTo>
                    <a:cubicBezTo>
                      <a:pt x="143" y="37"/>
                      <a:pt x="143" y="36"/>
                      <a:pt x="144" y="36"/>
                    </a:cubicBezTo>
                    <a:cubicBezTo>
                      <a:pt x="145" y="35"/>
                      <a:pt x="146" y="34"/>
                      <a:pt x="147" y="34"/>
                    </a:cubicBezTo>
                    <a:cubicBezTo>
                      <a:pt x="148" y="34"/>
                      <a:pt x="149" y="34"/>
                      <a:pt x="150" y="34"/>
                    </a:cubicBezTo>
                    <a:cubicBezTo>
                      <a:pt x="151" y="34"/>
                      <a:pt x="152" y="34"/>
                      <a:pt x="153" y="34"/>
                    </a:cubicBezTo>
                    <a:cubicBezTo>
                      <a:pt x="154" y="33"/>
                      <a:pt x="155" y="33"/>
                      <a:pt x="155" y="31"/>
                    </a:cubicBezTo>
                    <a:cubicBezTo>
                      <a:pt x="155" y="31"/>
                      <a:pt x="153" y="29"/>
                      <a:pt x="153" y="28"/>
                    </a:cubicBezTo>
                    <a:cubicBezTo>
                      <a:pt x="152" y="27"/>
                      <a:pt x="152" y="27"/>
                      <a:pt x="151" y="27"/>
                    </a:cubicBezTo>
                    <a:cubicBezTo>
                      <a:pt x="150" y="27"/>
                      <a:pt x="149" y="26"/>
                      <a:pt x="148" y="26"/>
                    </a:cubicBezTo>
                    <a:cubicBezTo>
                      <a:pt x="147" y="26"/>
                      <a:pt x="146" y="25"/>
                      <a:pt x="145" y="25"/>
                    </a:cubicBezTo>
                    <a:cubicBezTo>
                      <a:pt x="144" y="26"/>
                      <a:pt x="144" y="26"/>
                      <a:pt x="143" y="26"/>
                    </a:cubicBezTo>
                    <a:cubicBezTo>
                      <a:pt x="142" y="27"/>
                      <a:pt x="143" y="26"/>
                      <a:pt x="143" y="25"/>
                    </a:cubicBezTo>
                    <a:cubicBezTo>
                      <a:pt x="142" y="25"/>
                      <a:pt x="141" y="25"/>
                      <a:pt x="140" y="25"/>
                    </a:cubicBezTo>
                    <a:cubicBezTo>
                      <a:pt x="140" y="25"/>
                      <a:pt x="139" y="25"/>
                      <a:pt x="139" y="25"/>
                    </a:cubicBezTo>
                    <a:cubicBezTo>
                      <a:pt x="139" y="25"/>
                      <a:pt x="138" y="25"/>
                      <a:pt x="138" y="24"/>
                    </a:cubicBezTo>
                    <a:cubicBezTo>
                      <a:pt x="138" y="24"/>
                      <a:pt x="138" y="24"/>
                      <a:pt x="138" y="24"/>
                    </a:cubicBezTo>
                    <a:cubicBezTo>
                      <a:pt x="136" y="21"/>
                      <a:pt x="130" y="22"/>
                      <a:pt x="127" y="23"/>
                    </a:cubicBezTo>
                    <a:cubicBezTo>
                      <a:pt x="125" y="24"/>
                      <a:pt x="123" y="24"/>
                      <a:pt x="121" y="25"/>
                    </a:cubicBezTo>
                    <a:cubicBezTo>
                      <a:pt x="120" y="26"/>
                      <a:pt x="118" y="27"/>
                      <a:pt x="119" y="28"/>
                    </a:cubicBezTo>
                    <a:cubicBezTo>
                      <a:pt x="119" y="29"/>
                      <a:pt x="121" y="30"/>
                      <a:pt x="122" y="30"/>
                    </a:cubicBezTo>
                    <a:cubicBezTo>
                      <a:pt x="124" y="31"/>
                      <a:pt x="126" y="32"/>
                      <a:pt x="128" y="33"/>
                    </a:cubicBezTo>
                    <a:cubicBezTo>
                      <a:pt x="129" y="33"/>
                      <a:pt x="130" y="33"/>
                      <a:pt x="131" y="33"/>
                    </a:cubicBezTo>
                    <a:cubicBezTo>
                      <a:pt x="132" y="33"/>
                      <a:pt x="133" y="34"/>
                      <a:pt x="134" y="34"/>
                    </a:cubicBezTo>
                    <a:cubicBezTo>
                      <a:pt x="133" y="34"/>
                      <a:pt x="132" y="33"/>
                      <a:pt x="130" y="33"/>
                    </a:cubicBezTo>
                    <a:cubicBezTo>
                      <a:pt x="130" y="33"/>
                      <a:pt x="129" y="33"/>
                      <a:pt x="129" y="33"/>
                    </a:cubicBezTo>
                    <a:cubicBezTo>
                      <a:pt x="128" y="34"/>
                      <a:pt x="128" y="34"/>
                      <a:pt x="128" y="35"/>
                    </a:cubicBezTo>
                    <a:cubicBezTo>
                      <a:pt x="128" y="33"/>
                      <a:pt x="128" y="33"/>
                      <a:pt x="126" y="32"/>
                    </a:cubicBezTo>
                    <a:cubicBezTo>
                      <a:pt x="126" y="32"/>
                      <a:pt x="125" y="32"/>
                      <a:pt x="125" y="32"/>
                    </a:cubicBezTo>
                    <a:cubicBezTo>
                      <a:pt x="125" y="32"/>
                      <a:pt x="124" y="32"/>
                      <a:pt x="124" y="32"/>
                    </a:cubicBezTo>
                    <a:cubicBezTo>
                      <a:pt x="124" y="32"/>
                      <a:pt x="124" y="31"/>
                      <a:pt x="124" y="31"/>
                    </a:cubicBezTo>
                    <a:cubicBezTo>
                      <a:pt x="123" y="31"/>
                      <a:pt x="122" y="31"/>
                      <a:pt x="121" y="31"/>
                    </a:cubicBezTo>
                    <a:cubicBezTo>
                      <a:pt x="119" y="30"/>
                      <a:pt x="120" y="31"/>
                      <a:pt x="119" y="32"/>
                    </a:cubicBezTo>
                    <a:cubicBezTo>
                      <a:pt x="119" y="32"/>
                      <a:pt x="119" y="30"/>
                      <a:pt x="118" y="30"/>
                    </a:cubicBezTo>
                    <a:cubicBezTo>
                      <a:pt x="118" y="30"/>
                      <a:pt x="116" y="30"/>
                      <a:pt x="116" y="30"/>
                    </a:cubicBezTo>
                    <a:cubicBezTo>
                      <a:pt x="115" y="31"/>
                      <a:pt x="116" y="33"/>
                      <a:pt x="117" y="33"/>
                    </a:cubicBezTo>
                    <a:cubicBezTo>
                      <a:pt x="118" y="34"/>
                      <a:pt x="119" y="34"/>
                      <a:pt x="120" y="34"/>
                    </a:cubicBezTo>
                    <a:cubicBezTo>
                      <a:pt x="120" y="35"/>
                      <a:pt x="121" y="36"/>
                      <a:pt x="121" y="36"/>
                    </a:cubicBezTo>
                    <a:cubicBezTo>
                      <a:pt x="121" y="38"/>
                      <a:pt x="122" y="37"/>
                      <a:pt x="123" y="37"/>
                    </a:cubicBezTo>
                    <a:cubicBezTo>
                      <a:pt x="123" y="37"/>
                      <a:pt x="124" y="38"/>
                      <a:pt x="125" y="39"/>
                    </a:cubicBezTo>
                    <a:cubicBezTo>
                      <a:pt x="125" y="40"/>
                      <a:pt x="126" y="40"/>
                      <a:pt x="127" y="40"/>
                    </a:cubicBezTo>
                    <a:cubicBezTo>
                      <a:pt x="124" y="41"/>
                      <a:pt x="124" y="37"/>
                      <a:pt x="122" y="37"/>
                    </a:cubicBezTo>
                    <a:cubicBezTo>
                      <a:pt x="120" y="37"/>
                      <a:pt x="122" y="39"/>
                      <a:pt x="122" y="39"/>
                    </a:cubicBezTo>
                    <a:cubicBezTo>
                      <a:pt x="123" y="40"/>
                      <a:pt x="124" y="40"/>
                      <a:pt x="125" y="41"/>
                    </a:cubicBezTo>
                    <a:cubicBezTo>
                      <a:pt x="123" y="41"/>
                      <a:pt x="122" y="40"/>
                      <a:pt x="121" y="39"/>
                    </a:cubicBezTo>
                    <a:cubicBezTo>
                      <a:pt x="120" y="37"/>
                      <a:pt x="120" y="36"/>
                      <a:pt x="119" y="35"/>
                    </a:cubicBezTo>
                    <a:cubicBezTo>
                      <a:pt x="118" y="34"/>
                      <a:pt x="117" y="34"/>
                      <a:pt x="116" y="34"/>
                    </a:cubicBezTo>
                    <a:cubicBezTo>
                      <a:pt x="115" y="34"/>
                      <a:pt x="115" y="34"/>
                      <a:pt x="115" y="35"/>
                    </a:cubicBezTo>
                    <a:cubicBezTo>
                      <a:pt x="115" y="37"/>
                      <a:pt x="116" y="37"/>
                      <a:pt x="117" y="38"/>
                    </a:cubicBezTo>
                    <a:cubicBezTo>
                      <a:pt x="117" y="38"/>
                      <a:pt x="118" y="38"/>
                      <a:pt x="118" y="38"/>
                    </a:cubicBezTo>
                    <a:cubicBezTo>
                      <a:pt x="118" y="38"/>
                      <a:pt x="118" y="39"/>
                      <a:pt x="119" y="39"/>
                    </a:cubicBezTo>
                    <a:cubicBezTo>
                      <a:pt x="118" y="39"/>
                      <a:pt x="117" y="38"/>
                      <a:pt x="116" y="38"/>
                    </a:cubicBezTo>
                    <a:cubicBezTo>
                      <a:pt x="114" y="37"/>
                      <a:pt x="114" y="37"/>
                      <a:pt x="112" y="37"/>
                    </a:cubicBezTo>
                    <a:cubicBezTo>
                      <a:pt x="111" y="38"/>
                      <a:pt x="113" y="36"/>
                      <a:pt x="114" y="35"/>
                    </a:cubicBezTo>
                    <a:cubicBezTo>
                      <a:pt x="114" y="34"/>
                      <a:pt x="115" y="33"/>
                      <a:pt x="114" y="32"/>
                    </a:cubicBezTo>
                    <a:cubicBezTo>
                      <a:pt x="114" y="31"/>
                      <a:pt x="112" y="30"/>
                      <a:pt x="111" y="29"/>
                    </a:cubicBezTo>
                    <a:cubicBezTo>
                      <a:pt x="110" y="29"/>
                      <a:pt x="109" y="31"/>
                      <a:pt x="108" y="31"/>
                    </a:cubicBezTo>
                    <a:cubicBezTo>
                      <a:pt x="108" y="32"/>
                      <a:pt x="107" y="32"/>
                      <a:pt x="107" y="32"/>
                    </a:cubicBezTo>
                    <a:cubicBezTo>
                      <a:pt x="107" y="32"/>
                      <a:pt x="107" y="33"/>
                      <a:pt x="106" y="32"/>
                    </a:cubicBezTo>
                    <a:cubicBezTo>
                      <a:pt x="106" y="32"/>
                      <a:pt x="106" y="32"/>
                      <a:pt x="107" y="32"/>
                    </a:cubicBezTo>
                    <a:cubicBezTo>
                      <a:pt x="108" y="31"/>
                      <a:pt x="108" y="30"/>
                      <a:pt x="107" y="29"/>
                    </a:cubicBezTo>
                    <a:cubicBezTo>
                      <a:pt x="106" y="29"/>
                      <a:pt x="107" y="29"/>
                      <a:pt x="106" y="28"/>
                    </a:cubicBezTo>
                    <a:cubicBezTo>
                      <a:pt x="106" y="28"/>
                      <a:pt x="107" y="27"/>
                      <a:pt x="106" y="28"/>
                    </a:cubicBezTo>
                    <a:cubicBezTo>
                      <a:pt x="106" y="26"/>
                      <a:pt x="104" y="29"/>
                      <a:pt x="104" y="29"/>
                    </a:cubicBezTo>
                    <a:cubicBezTo>
                      <a:pt x="104" y="29"/>
                      <a:pt x="102" y="30"/>
                      <a:pt x="102" y="30"/>
                    </a:cubicBezTo>
                    <a:cubicBezTo>
                      <a:pt x="102" y="32"/>
                      <a:pt x="106" y="33"/>
                      <a:pt x="107" y="34"/>
                    </a:cubicBezTo>
                    <a:cubicBezTo>
                      <a:pt x="105" y="34"/>
                      <a:pt x="104" y="33"/>
                      <a:pt x="102" y="32"/>
                    </a:cubicBezTo>
                    <a:cubicBezTo>
                      <a:pt x="102" y="31"/>
                      <a:pt x="101" y="31"/>
                      <a:pt x="101" y="32"/>
                    </a:cubicBezTo>
                    <a:cubicBezTo>
                      <a:pt x="101" y="32"/>
                      <a:pt x="101" y="33"/>
                      <a:pt x="100" y="33"/>
                    </a:cubicBezTo>
                    <a:cubicBezTo>
                      <a:pt x="100" y="33"/>
                      <a:pt x="100" y="33"/>
                      <a:pt x="99" y="33"/>
                    </a:cubicBezTo>
                    <a:cubicBezTo>
                      <a:pt x="99" y="34"/>
                      <a:pt x="101" y="35"/>
                      <a:pt x="99" y="36"/>
                    </a:cubicBezTo>
                    <a:cubicBezTo>
                      <a:pt x="99" y="36"/>
                      <a:pt x="98" y="37"/>
                      <a:pt x="97" y="37"/>
                    </a:cubicBezTo>
                    <a:cubicBezTo>
                      <a:pt x="96" y="37"/>
                      <a:pt x="96" y="39"/>
                      <a:pt x="94" y="39"/>
                    </a:cubicBezTo>
                    <a:cubicBezTo>
                      <a:pt x="95" y="38"/>
                      <a:pt x="96" y="37"/>
                      <a:pt x="95" y="36"/>
                    </a:cubicBezTo>
                    <a:cubicBezTo>
                      <a:pt x="95" y="36"/>
                      <a:pt x="94" y="36"/>
                      <a:pt x="93" y="36"/>
                    </a:cubicBezTo>
                    <a:cubicBezTo>
                      <a:pt x="93" y="35"/>
                      <a:pt x="94" y="35"/>
                      <a:pt x="95" y="35"/>
                    </a:cubicBezTo>
                    <a:cubicBezTo>
                      <a:pt x="96" y="35"/>
                      <a:pt x="96" y="35"/>
                      <a:pt x="97" y="35"/>
                    </a:cubicBezTo>
                    <a:cubicBezTo>
                      <a:pt x="99" y="36"/>
                      <a:pt x="97" y="35"/>
                      <a:pt x="96" y="34"/>
                    </a:cubicBezTo>
                    <a:cubicBezTo>
                      <a:pt x="96" y="34"/>
                      <a:pt x="95" y="33"/>
                      <a:pt x="94" y="33"/>
                    </a:cubicBezTo>
                    <a:cubicBezTo>
                      <a:pt x="95" y="33"/>
                      <a:pt x="95" y="33"/>
                      <a:pt x="95" y="32"/>
                    </a:cubicBezTo>
                    <a:cubicBezTo>
                      <a:pt x="96" y="31"/>
                      <a:pt x="96" y="30"/>
                      <a:pt x="97" y="30"/>
                    </a:cubicBezTo>
                    <a:cubicBezTo>
                      <a:pt x="98" y="29"/>
                      <a:pt x="98" y="30"/>
                      <a:pt x="98" y="29"/>
                    </a:cubicBezTo>
                    <a:cubicBezTo>
                      <a:pt x="99" y="28"/>
                      <a:pt x="99" y="27"/>
                      <a:pt x="98" y="27"/>
                    </a:cubicBezTo>
                    <a:cubicBezTo>
                      <a:pt x="97" y="26"/>
                      <a:pt x="94" y="29"/>
                      <a:pt x="94" y="30"/>
                    </a:cubicBezTo>
                    <a:cubicBezTo>
                      <a:pt x="93" y="31"/>
                      <a:pt x="91" y="32"/>
                      <a:pt x="90" y="32"/>
                    </a:cubicBezTo>
                    <a:cubicBezTo>
                      <a:pt x="90" y="32"/>
                      <a:pt x="91" y="31"/>
                      <a:pt x="92" y="31"/>
                    </a:cubicBezTo>
                    <a:cubicBezTo>
                      <a:pt x="92" y="31"/>
                      <a:pt x="92" y="30"/>
                      <a:pt x="92" y="30"/>
                    </a:cubicBezTo>
                    <a:cubicBezTo>
                      <a:pt x="92" y="30"/>
                      <a:pt x="93" y="30"/>
                      <a:pt x="93" y="29"/>
                    </a:cubicBezTo>
                    <a:cubicBezTo>
                      <a:pt x="94" y="28"/>
                      <a:pt x="95" y="27"/>
                      <a:pt x="96" y="27"/>
                    </a:cubicBezTo>
                    <a:cubicBezTo>
                      <a:pt x="96" y="26"/>
                      <a:pt x="97" y="26"/>
                      <a:pt x="97" y="26"/>
                    </a:cubicBezTo>
                    <a:cubicBezTo>
                      <a:pt x="98" y="26"/>
                      <a:pt x="98" y="25"/>
                      <a:pt x="98" y="25"/>
                    </a:cubicBezTo>
                    <a:cubicBezTo>
                      <a:pt x="98" y="24"/>
                      <a:pt x="101" y="22"/>
                      <a:pt x="101" y="22"/>
                    </a:cubicBezTo>
                    <a:cubicBezTo>
                      <a:pt x="100" y="21"/>
                      <a:pt x="97" y="20"/>
                      <a:pt x="97" y="18"/>
                    </a:cubicBezTo>
                    <a:cubicBezTo>
                      <a:pt x="97" y="17"/>
                      <a:pt x="99" y="15"/>
                      <a:pt x="96" y="14"/>
                    </a:cubicBezTo>
                    <a:cubicBezTo>
                      <a:pt x="95" y="13"/>
                      <a:pt x="91" y="13"/>
                      <a:pt x="91" y="11"/>
                    </a:cubicBezTo>
                    <a:cubicBezTo>
                      <a:pt x="91" y="10"/>
                      <a:pt x="92" y="9"/>
                      <a:pt x="91" y="8"/>
                    </a:cubicBezTo>
                    <a:cubicBezTo>
                      <a:pt x="91" y="7"/>
                      <a:pt x="91" y="6"/>
                      <a:pt x="90" y="6"/>
                    </a:cubicBezTo>
                    <a:cubicBezTo>
                      <a:pt x="90" y="5"/>
                      <a:pt x="89" y="5"/>
                      <a:pt x="89" y="5"/>
                    </a:cubicBezTo>
                    <a:cubicBezTo>
                      <a:pt x="89" y="4"/>
                      <a:pt x="89" y="4"/>
                      <a:pt x="88" y="3"/>
                    </a:cubicBezTo>
                    <a:cubicBezTo>
                      <a:pt x="87" y="3"/>
                      <a:pt x="86" y="3"/>
                      <a:pt x="85" y="3"/>
                    </a:cubicBezTo>
                    <a:cubicBezTo>
                      <a:pt x="83" y="3"/>
                      <a:pt x="82" y="3"/>
                      <a:pt x="80" y="3"/>
                    </a:cubicBezTo>
                    <a:cubicBezTo>
                      <a:pt x="78" y="3"/>
                      <a:pt x="76" y="3"/>
                      <a:pt x="75" y="3"/>
                    </a:cubicBezTo>
                    <a:cubicBezTo>
                      <a:pt x="74" y="3"/>
                      <a:pt x="73" y="4"/>
                      <a:pt x="72" y="5"/>
                    </a:cubicBezTo>
                    <a:cubicBezTo>
                      <a:pt x="71" y="5"/>
                      <a:pt x="70" y="5"/>
                      <a:pt x="69" y="5"/>
                    </a:cubicBezTo>
                    <a:cubicBezTo>
                      <a:pt x="68" y="6"/>
                      <a:pt x="66" y="6"/>
                      <a:pt x="64" y="7"/>
                    </a:cubicBezTo>
                    <a:cubicBezTo>
                      <a:pt x="64" y="7"/>
                      <a:pt x="63" y="7"/>
                      <a:pt x="63" y="7"/>
                    </a:cubicBezTo>
                    <a:cubicBezTo>
                      <a:pt x="63" y="8"/>
                      <a:pt x="65" y="8"/>
                      <a:pt x="65" y="8"/>
                    </a:cubicBezTo>
                    <a:cubicBezTo>
                      <a:pt x="67" y="9"/>
                      <a:pt x="67" y="9"/>
                      <a:pt x="66" y="11"/>
                    </a:cubicBezTo>
                    <a:cubicBezTo>
                      <a:pt x="65" y="9"/>
                      <a:pt x="63" y="8"/>
                      <a:pt x="61" y="8"/>
                    </a:cubicBezTo>
                    <a:cubicBezTo>
                      <a:pt x="60" y="8"/>
                      <a:pt x="59" y="9"/>
                      <a:pt x="58" y="9"/>
                    </a:cubicBezTo>
                    <a:cubicBezTo>
                      <a:pt x="57" y="9"/>
                      <a:pt x="57" y="9"/>
                      <a:pt x="57" y="10"/>
                    </a:cubicBezTo>
                    <a:cubicBezTo>
                      <a:pt x="57" y="11"/>
                      <a:pt x="59" y="12"/>
                      <a:pt x="59" y="13"/>
                    </a:cubicBezTo>
                    <a:cubicBezTo>
                      <a:pt x="58" y="13"/>
                      <a:pt x="57" y="12"/>
                      <a:pt x="56" y="11"/>
                    </a:cubicBezTo>
                    <a:cubicBezTo>
                      <a:pt x="55" y="11"/>
                      <a:pt x="56" y="10"/>
                      <a:pt x="54" y="10"/>
                    </a:cubicBezTo>
                    <a:cubicBezTo>
                      <a:pt x="53" y="10"/>
                      <a:pt x="53" y="10"/>
                      <a:pt x="53" y="11"/>
                    </a:cubicBezTo>
                    <a:cubicBezTo>
                      <a:pt x="53" y="11"/>
                      <a:pt x="53" y="11"/>
                      <a:pt x="53" y="11"/>
                    </a:cubicBezTo>
                    <a:cubicBezTo>
                      <a:pt x="52" y="11"/>
                      <a:pt x="52" y="11"/>
                      <a:pt x="52" y="11"/>
                    </a:cubicBezTo>
                    <a:cubicBezTo>
                      <a:pt x="52" y="11"/>
                      <a:pt x="52" y="11"/>
                      <a:pt x="52" y="11"/>
                    </a:cubicBezTo>
                    <a:cubicBezTo>
                      <a:pt x="53" y="10"/>
                      <a:pt x="53" y="10"/>
                      <a:pt x="53" y="9"/>
                    </a:cubicBezTo>
                    <a:cubicBezTo>
                      <a:pt x="53" y="8"/>
                      <a:pt x="53" y="5"/>
                      <a:pt x="53" y="5"/>
                    </a:cubicBezTo>
                    <a:cubicBezTo>
                      <a:pt x="52" y="5"/>
                      <a:pt x="52" y="5"/>
                      <a:pt x="52" y="5"/>
                    </a:cubicBezTo>
                    <a:cubicBezTo>
                      <a:pt x="52" y="5"/>
                      <a:pt x="53" y="4"/>
                      <a:pt x="53" y="4"/>
                    </a:cubicBezTo>
                    <a:cubicBezTo>
                      <a:pt x="53" y="4"/>
                      <a:pt x="53" y="4"/>
                      <a:pt x="53" y="5"/>
                    </a:cubicBezTo>
                    <a:cubicBezTo>
                      <a:pt x="55" y="4"/>
                      <a:pt x="54" y="3"/>
                      <a:pt x="53" y="2"/>
                    </a:cubicBezTo>
                    <a:cubicBezTo>
                      <a:pt x="53" y="2"/>
                      <a:pt x="53" y="2"/>
                      <a:pt x="53" y="2"/>
                    </a:cubicBezTo>
                    <a:cubicBezTo>
                      <a:pt x="53" y="2"/>
                      <a:pt x="52" y="2"/>
                      <a:pt x="52" y="2"/>
                    </a:cubicBezTo>
                    <a:cubicBezTo>
                      <a:pt x="50" y="1"/>
                      <a:pt x="48" y="1"/>
                      <a:pt x="46" y="1"/>
                    </a:cubicBezTo>
                    <a:cubicBezTo>
                      <a:pt x="43" y="1"/>
                      <a:pt x="39" y="0"/>
                      <a:pt x="35" y="1"/>
                    </a:cubicBezTo>
                    <a:cubicBezTo>
                      <a:pt x="31" y="1"/>
                      <a:pt x="28" y="2"/>
                      <a:pt x="24" y="4"/>
                    </a:cubicBezTo>
                    <a:cubicBezTo>
                      <a:pt x="23" y="4"/>
                      <a:pt x="21" y="5"/>
                      <a:pt x="20" y="6"/>
                    </a:cubicBezTo>
                    <a:cubicBezTo>
                      <a:pt x="18" y="7"/>
                      <a:pt x="17" y="8"/>
                      <a:pt x="16" y="9"/>
                    </a:cubicBezTo>
                    <a:cubicBezTo>
                      <a:pt x="15" y="9"/>
                      <a:pt x="14" y="10"/>
                      <a:pt x="13" y="11"/>
                    </a:cubicBezTo>
                    <a:cubicBezTo>
                      <a:pt x="14" y="11"/>
                      <a:pt x="15" y="11"/>
                      <a:pt x="15" y="12"/>
                    </a:cubicBezTo>
                    <a:cubicBezTo>
                      <a:pt x="14" y="12"/>
                      <a:pt x="13" y="11"/>
                      <a:pt x="12" y="12"/>
                    </a:cubicBezTo>
                    <a:cubicBezTo>
                      <a:pt x="11" y="12"/>
                      <a:pt x="11" y="13"/>
                      <a:pt x="11" y="13"/>
                    </a:cubicBezTo>
                    <a:cubicBezTo>
                      <a:pt x="11" y="14"/>
                      <a:pt x="10" y="14"/>
                      <a:pt x="10" y="14"/>
                    </a:cubicBezTo>
                    <a:cubicBezTo>
                      <a:pt x="9" y="15"/>
                      <a:pt x="9" y="16"/>
                      <a:pt x="9" y="17"/>
                    </a:cubicBezTo>
                    <a:cubicBezTo>
                      <a:pt x="8" y="18"/>
                      <a:pt x="8" y="18"/>
                      <a:pt x="8" y="18"/>
                    </a:cubicBezTo>
                    <a:cubicBezTo>
                      <a:pt x="8" y="19"/>
                      <a:pt x="9" y="19"/>
                      <a:pt x="9" y="19"/>
                    </a:cubicBezTo>
                    <a:cubicBezTo>
                      <a:pt x="9" y="20"/>
                      <a:pt x="8" y="20"/>
                      <a:pt x="8" y="20"/>
                    </a:cubicBezTo>
                    <a:cubicBezTo>
                      <a:pt x="8" y="20"/>
                      <a:pt x="8" y="20"/>
                      <a:pt x="8" y="21"/>
                    </a:cubicBezTo>
                    <a:cubicBezTo>
                      <a:pt x="8" y="21"/>
                      <a:pt x="8" y="22"/>
                      <a:pt x="8" y="22"/>
                    </a:cubicBezTo>
                    <a:cubicBezTo>
                      <a:pt x="8" y="23"/>
                      <a:pt x="8" y="22"/>
                      <a:pt x="7" y="22"/>
                    </a:cubicBezTo>
                    <a:cubicBezTo>
                      <a:pt x="5" y="22"/>
                      <a:pt x="6" y="22"/>
                      <a:pt x="6" y="24"/>
                    </a:cubicBezTo>
                    <a:cubicBezTo>
                      <a:pt x="6" y="26"/>
                      <a:pt x="5" y="24"/>
                      <a:pt x="4" y="25"/>
                    </a:cubicBezTo>
                    <a:cubicBezTo>
                      <a:pt x="4" y="26"/>
                      <a:pt x="4" y="27"/>
                      <a:pt x="4" y="28"/>
                    </a:cubicBezTo>
                    <a:cubicBezTo>
                      <a:pt x="3" y="28"/>
                      <a:pt x="3" y="28"/>
                      <a:pt x="3" y="28"/>
                    </a:cubicBezTo>
                    <a:cubicBezTo>
                      <a:pt x="2" y="29"/>
                      <a:pt x="3" y="29"/>
                      <a:pt x="3" y="30"/>
                    </a:cubicBezTo>
                    <a:cubicBezTo>
                      <a:pt x="3" y="30"/>
                      <a:pt x="2" y="31"/>
                      <a:pt x="2" y="32"/>
                    </a:cubicBezTo>
                    <a:cubicBezTo>
                      <a:pt x="3" y="33"/>
                      <a:pt x="6" y="33"/>
                      <a:pt x="5" y="34"/>
                    </a:cubicBezTo>
                    <a:cubicBezTo>
                      <a:pt x="5" y="34"/>
                      <a:pt x="3" y="35"/>
                      <a:pt x="2" y="35"/>
                    </a:cubicBezTo>
                    <a:cubicBezTo>
                      <a:pt x="1" y="35"/>
                      <a:pt x="2" y="36"/>
                      <a:pt x="2" y="37"/>
                    </a:cubicBezTo>
                    <a:cubicBezTo>
                      <a:pt x="1" y="38"/>
                      <a:pt x="0" y="38"/>
                      <a:pt x="1" y="39"/>
                    </a:cubicBezTo>
                    <a:cubicBezTo>
                      <a:pt x="2" y="40"/>
                      <a:pt x="2" y="41"/>
                      <a:pt x="3" y="42"/>
                    </a:cubicBezTo>
                    <a:cubicBezTo>
                      <a:pt x="3" y="43"/>
                      <a:pt x="2" y="43"/>
                      <a:pt x="2" y="43"/>
                    </a:cubicBezTo>
                    <a:cubicBezTo>
                      <a:pt x="1" y="44"/>
                      <a:pt x="2" y="46"/>
                      <a:pt x="2" y="46"/>
                    </a:cubicBezTo>
                    <a:cubicBezTo>
                      <a:pt x="2" y="48"/>
                      <a:pt x="2" y="49"/>
                      <a:pt x="5" y="49"/>
                    </a:cubicBezTo>
                    <a:cubicBezTo>
                      <a:pt x="6" y="50"/>
                      <a:pt x="8" y="50"/>
                      <a:pt x="9" y="50"/>
                    </a:cubicBezTo>
                    <a:cubicBezTo>
                      <a:pt x="12" y="50"/>
                      <a:pt x="14" y="51"/>
                      <a:pt x="16" y="51"/>
                    </a:cubicBezTo>
                    <a:cubicBezTo>
                      <a:pt x="18" y="51"/>
                      <a:pt x="20" y="52"/>
                      <a:pt x="22" y="51"/>
                    </a:cubicBezTo>
                    <a:cubicBezTo>
                      <a:pt x="23" y="51"/>
                      <a:pt x="23" y="50"/>
                      <a:pt x="25" y="52"/>
                    </a:cubicBezTo>
                    <a:cubicBezTo>
                      <a:pt x="26" y="53"/>
                      <a:pt x="28" y="54"/>
                      <a:pt x="29" y="55"/>
                    </a:cubicBezTo>
                    <a:cubicBezTo>
                      <a:pt x="30" y="55"/>
                      <a:pt x="31" y="55"/>
                      <a:pt x="32" y="56"/>
                    </a:cubicBezTo>
                    <a:cubicBezTo>
                      <a:pt x="31" y="56"/>
                      <a:pt x="30" y="55"/>
                      <a:pt x="30" y="55"/>
                    </a:cubicBezTo>
                    <a:cubicBezTo>
                      <a:pt x="29" y="55"/>
                      <a:pt x="29" y="56"/>
                      <a:pt x="29" y="56"/>
                    </a:cubicBezTo>
                    <a:cubicBezTo>
                      <a:pt x="28" y="57"/>
                      <a:pt x="26" y="56"/>
                      <a:pt x="25" y="56"/>
                    </a:cubicBezTo>
                    <a:cubicBezTo>
                      <a:pt x="23" y="56"/>
                      <a:pt x="21" y="57"/>
                      <a:pt x="19" y="56"/>
                    </a:cubicBezTo>
                    <a:cubicBezTo>
                      <a:pt x="18" y="56"/>
                      <a:pt x="17" y="55"/>
                      <a:pt x="16" y="55"/>
                    </a:cubicBezTo>
                    <a:cubicBezTo>
                      <a:pt x="15" y="55"/>
                      <a:pt x="15" y="55"/>
                      <a:pt x="14" y="55"/>
                    </a:cubicBezTo>
                    <a:cubicBezTo>
                      <a:pt x="13" y="55"/>
                      <a:pt x="13" y="55"/>
                      <a:pt x="12" y="55"/>
                    </a:cubicBezTo>
                    <a:cubicBezTo>
                      <a:pt x="11" y="55"/>
                      <a:pt x="10" y="55"/>
                      <a:pt x="9" y="54"/>
                    </a:cubicBezTo>
                    <a:cubicBezTo>
                      <a:pt x="9" y="54"/>
                      <a:pt x="7" y="53"/>
                      <a:pt x="6" y="54"/>
                    </a:cubicBezTo>
                    <a:cubicBezTo>
                      <a:pt x="6" y="54"/>
                      <a:pt x="6" y="54"/>
                      <a:pt x="6" y="54"/>
                    </a:cubicBezTo>
                    <a:cubicBezTo>
                      <a:pt x="7" y="55"/>
                      <a:pt x="8" y="56"/>
                      <a:pt x="8" y="57"/>
                    </a:cubicBezTo>
                    <a:cubicBezTo>
                      <a:pt x="6" y="57"/>
                      <a:pt x="9" y="59"/>
                      <a:pt x="9" y="60"/>
                    </a:cubicBezTo>
                    <a:cubicBezTo>
                      <a:pt x="12" y="62"/>
                      <a:pt x="14" y="63"/>
                      <a:pt x="16" y="65"/>
                    </a:cubicBezTo>
                    <a:cubicBezTo>
                      <a:pt x="17" y="66"/>
                      <a:pt x="19" y="66"/>
                      <a:pt x="20" y="67"/>
                    </a:cubicBezTo>
                    <a:cubicBezTo>
                      <a:pt x="21" y="67"/>
                      <a:pt x="22" y="68"/>
                      <a:pt x="23" y="68"/>
                    </a:cubicBezTo>
                    <a:cubicBezTo>
                      <a:pt x="22" y="68"/>
                      <a:pt x="21" y="68"/>
                      <a:pt x="19" y="68"/>
                    </a:cubicBezTo>
                    <a:cubicBezTo>
                      <a:pt x="21" y="69"/>
                      <a:pt x="23" y="70"/>
                      <a:pt x="25" y="69"/>
                    </a:cubicBezTo>
                    <a:cubicBezTo>
                      <a:pt x="25" y="69"/>
                      <a:pt x="26" y="69"/>
                      <a:pt x="26" y="69"/>
                    </a:cubicBezTo>
                    <a:cubicBezTo>
                      <a:pt x="26" y="69"/>
                      <a:pt x="26" y="68"/>
                      <a:pt x="26" y="68"/>
                    </a:cubicBezTo>
                    <a:cubicBezTo>
                      <a:pt x="26" y="68"/>
                      <a:pt x="27" y="68"/>
                      <a:pt x="28" y="68"/>
                    </a:cubicBezTo>
                    <a:cubicBezTo>
                      <a:pt x="29" y="68"/>
                      <a:pt x="31" y="69"/>
                      <a:pt x="32" y="69"/>
                    </a:cubicBezTo>
                    <a:cubicBezTo>
                      <a:pt x="34" y="68"/>
                      <a:pt x="31" y="67"/>
                      <a:pt x="30" y="67"/>
                    </a:cubicBezTo>
                    <a:cubicBezTo>
                      <a:pt x="31" y="66"/>
                      <a:pt x="32" y="65"/>
                      <a:pt x="33" y="66"/>
                    </a:cubicBezTo>
                    <a:cubicBezTo>
                      <a:pt x="36" y="67"/>
                      <a:pt x="33" y="67"/>
                      <a:pt x="33" y="68"/>
                    </a:cubicBezTo>
                    <a:cubicBezTo>
                      <a:pt x="33" y="68"/>
                      <a:pt x="36" y="68"/>
                      <a:pt x="36" y="68"/>
                    </a:cubicBezTo>
                    <a:cubicBezTo>
                      <a:pt x="36" y="68"/>
                      <a:pt x="36" y="67"/>
                      <a:pt x="36" y="67"/>
                    </a:cubicBezTo>
                    <a:cubicBezTo>
                      <a:pt x="36" y="67"/>
                      <a:pt x="36" y="66"/>
                      <a:pt x="37" y="66"/>
                    </a:cubicBezTo>
                    <a:cubicBezTo>
                      <a:pt x="37" y="66"/>
                      <a:pt x="40" y="66"/>
                      <a:pt x="39" y="64"/>
                    </a:cubicBezTo>
                    <a:cubicBezTo>
                      <a:pt x="40" y="65"/>
                      <a:pt x="37" y="67"/>
                      <a:pt x="37" y="68"/>
                    </a:cubicBezTo>
                    <a:cubicBezTo>
                      <a:pt x="36" y="70"/>
                      <a:pt x="40" y="72"/>
                      <a:pt x="42" y="73"/>
                    </a:cubicBezTo>
                    <a:cubicBezTo>
                      <a:pt x="43" y="74"/>
                      <a:pt x="44" y="74"/>
                      <a:pt x="46" y="74"/>
                    </a:cubicBezTo>
                    <a:cubicBezTo>
                      <a:pt x="47" y="74"/>
                      <a:pt x="49" y="74"/>
                      <a:pt x="50" y="74"/>
                    </a:cubicBezTo>
                    <a:cubicBezTo>
                      <a:pt x="49" y="73"/>
                      <a:pt x="46" y="72"/>
                      <a:pt x="44" y="73"/>
                    </a:cubicBezTo>
                    <a:cubicBezTo>
                      <a:pt x="45" y="71"/>
                      <a:pt x="51" y="72"/>
                      <a:pt x="53" y="73"/>
                    </a:cubicBezTo>
                    <a:cubicBezTo>
                      <a:pt x="53" y="73"/>
                      <a:pt x="53" y="73"/>
                      <a:pt x="53" y="72"/>
                    </a:cubicBezTo>
                    <a:cubicBezTo>
                      <a:pt x="53" y="73"/>
                      <a:pt x="53" y="73"/>
                      <a:pt x="53" y="73"/>
                    </a:cubicBezTo>
                    <a:cubicBezTo>
                      <a:pt x="54" y="73"/>
                      <a:pt x="54" y="72"/>
                      <a:pt x="54" y="72"/>
                    </a:cubicBezTo>
                    <a:cubicBezTo>
                      <a:pt x="55" y="72"/>
                      <a:pt x="56" y="73"/>
                      <a:pt x="57" y="74"/>
                    </a:cubicBezTo>
                    <a:cubicBezTo>
                      <a:pt x="58" y="74"/>
                      <a:pt x="59" y="74"/>
                      <a:pt x="60" y="74"/>
                    </a:cubicBezTo>
                    <a:cubicBezTo>
                      <a:pt x="61" y="74"/>
                      <a:pt x="62" y="74"/>
                      <a:pt x="63" y="74"/>
                    </a:cubicBezTo>
                    <a:cubicBezTo>
                      <a:pt x="64" y="75"/>
                      <a:pt x="65" y="75"/>
                      <a:pt x="66" y="75"/>
                    </a:cubicBezTo>
                    <a:cubicBezTo>
                      <a:pt x="68" y="75"/>
                      <a:pt x="70" y="74"/>
                      <a:pt x="71" y="74"/>
                    </a:cubicBezTo>
                    <a:cubicBezTo>
                      <a:pt x="72" y="74"/>
                      <a:pt x="73" y="74"/>
                      <a:pt x="74" y="75"/>
                    </a:cubicBezTo>
                    <a:cubicBezTo>
                      <a:pt x="75" y="75"/>
                      <a:pt x="75" y="75"/>
                      <a:pt x="75" y="76"/>
                    </a:cubicBezTo>
                    <a:cubicBezTo>
                      <a:pt x="76" y="76"/>
                      <a:pt x="76" y="75"/>
                      <a:pt x="76" y="76"/>
                    </a:cubicBezTo>
                    <a:cubicBezTo>
                      <a:pt x="77" y="76"/>
                      <a:pt x="78" y="77"/>
                      <a:pt x="79" y="77"/>
                    </a:cubicBezTo>
                    <a:cubicBezTo>
                      <a:pt x="80" y="77"/>
                      <a:pt x="81" y="77"/>
                      <a:pt x="82" y="78"/>
                    </a:cubicBezTo>
                    <a:cubicBezTo>
                      <a:pt x="82" y="77"/>
                      <a:pt x="82" y="77"/>
                      <a:pt x="83" y="77"/>
                    </a:cubicBezTo>
                    <a:cubicBezTo>
                      <a:pt x="84" y="76"/>
                      <a:pt x="83" y="77"/>
                      <a:pt x="84" y="77"/>
                    </a:cubicBezTo>
                    <a:cubicBezTo>
                      <a:pt x="84" y="77"/>
                      <a:pt x="86" y="76"/>
                      <a:pt x="86" y="76"/>
                    </a:cubicBezTo>
                    <a:cubicBezTo>
                      <a:pt x="86" y="76"/>
                      <a:pt x="86" y="76"/>
                      <a:pt x="86" y="76"/>
                    </a:cubicBezTo>
                    <a:cubicBezTo>
                      <a:pt x="86" y="75"/>
                      <a:pt x="86" y="75"/>
                      <a:pt x="86" y="75"/>
                    </a:cubicBezTo>
                    <a:cubicBezTo>
                      <a:pt x="86" y="75"/>
                      <a:pt x="85" y="75"/>
                      <a:pt x="84" y="74"/>
                    </a:cubicBezTo>
                    <a:cubicBezTo>
                      <a:pt x="84" y="74"/>
                      <a:pt x="83" y="73"/>
                      <a:pt x="83" y="73"/>
                    </a:cubicBezTo>
                    <a:cubicBezTo>
                      <a:pt x="82" y="72"/>
                      <a:pt x="81" y="72"/>
                      <a:pt x="79" y="72"/>
                    </a:cubicBezTo>
                    <a:cubicBezTo>
                      <a:pt x="78" y="71"/>
                      <a:pt x="77" y="71"/>
                      <a:pt x="76" y="70"/>
                    </a:cubicBezTo>
                    <a:cubicBezTo>
                      <a:pt x="75" y="70"/>
                      <a:pt x="74" y="69"/>
                      <a:pt x="73" y="68"/>
                    </a:cubicBezTo>
                    <a:cubicBezTo>
                      <a:pt x="75" y="69"/>
                      <a:pt x="78" y="70"/>
                      <a:pt x="80" y="71"/>
                    </a:cubicBezTo>
                    <a:cubicBezTo>
                      <a:pt x="82" y="72"/>
                      <a:pt x="83" y="73"/>
                      <a:pt x="85" y="74"/>
                    </a:cubicBezTo>
                    <a:cubicBezTo>
                      <a:pt x="87" y="75"/>
                      <a:pt x="87" y="75"/>
                      <a:pt x="88" y="75"/>
                    </a:cubicBezTo>
                    <a:cubicBezTo>
                      <a:pt x="90" y="76"/>
                      <a:pt x="91" y="76"/>
                      <a:pt x="92" y="77"/>
                    </a:cubicBezTo>
                    <a:cubicBezTo>
                      <a:pt x="93" y="78"/>
                      <a:pt x="94" y="79"/>
                      <a:pt x="95" y="79"/>
                    </a:cubicBezTo>
                    <a:cubicBezTo>
                      <a:pt x="97" y="79"/>
                      <a:pt x="95" y="77"/>
                      <a:pt x="94" y="76"/>
                    </a:cubicBezTo>
                    <a:cubicBezTo>
                      <a:pt x="93" y="76"/>
                      <a:pt x="92" y="75"/>
                      <a:pt x="91" y="74"/>
                    </a:cubicBezTo>
                    <a:cubicBezTo>
                      <a:pt x="90" y="73"/>
                      <a:pt x="90" y="74"/>
                      <a:pt x="89" y="74"/>
                    </a:cubicBezTo>
                    <a:cubicBezTo>
                      <a:pt x="89" y="74"/>
                      <a:pt x="88" y="73"/>
                      <a:pt x="88" y="73"/>
                    </a:cubicBezTo>
                    <a:cubicBezTo>
                      <a:pt x="87" y="73"/>
                      <a:pt x="87" y="73"/>
                      <a:pt x="86" y="73"/>
                    </a:cubicBezTo>
                    <a:cubicBezTo>
                      <a:pt x="85" y="71"/>
                      <a:pt x="89" y="72"/>
                      <a:pt x="89" y="72"/>
                    </a:cubicBezTo>
                    <a:cubicBezTo>
                      <a:pt x="90" y="72"/>
                      <a:pt x="92" y="72"/>
                      <a:pt x="93" y="72"/>
                    </a:cubicBezTo>
                    <a:cubicBezTo>
                      <a:pt x="94" y="73"/>
                      <a:pt x="95" y="73"/>
                      <a:pt x="96" y="73"/>
                    </a:cubicBezTo>
                    <a:cubicBezTo>
                      <a:pt x="97" y="73"/>
                      <a:pt x="98" y="73"/>
                      <a:pt x="99" y="74"/>
                    </a:cubicBezTo>
                    <a:cubicBezTo>
                      <a:pt x="100" y="74"/>
                      <a:pt x="100" y="74"/>
                      <a:pt x="101" y="74"/>
                    </a:cubicBezTo>
                    <a:cubicBezTo>
                      <a:pt x="103" y="74"/>
                      <a:pt x="104" y="74"/>
                      <a:pt x="104" y="75"/>
                    </a:cubicBezTo>
                    <a:cubicBezTo>
                      <a:pt x="105" y="75"/>
                      <a:pt x="105" y="74"/>
                      <a:pt x="106" y="75"/>
                    </a:cubicBezTo>
                    <a:cubicBezTo>
                      <a:pt x="106" y="76"/>
                      <a:pt x="106" y="77"/>
                      <a:pt x="107" y="77"/>
                    </a:cubicBezTo>
                    <a:cubicBezTo>
                      <a:pt x="108" y="77"/>
                      <a:pt x="109" y="76"/>
                      <a:pt x="110" y="76"/>
                    </a:cubicBezTo>
                    <a:cubicBezTo>
                      <a:pt x="111" y="76"/>
                      <a:pt x="113" y="76"/>
                      <a:pt x="114" y="76"/>
                    </a:cubicBezTo>
                    <a:cubicBezTo>
                      <a:pt x="115" y="76"/>
                      <a:pt x="118" y="76"/>
                      <a:pt x="117" y="74"/>
                    </a:cubicBezTo>
                    <a:cubicBezTo>
                      <a:pt x="117" y="72"/>
                      <a:pt x="116" y="69"/>
                      <a:pt x="115" y="68"/>
                    </a:cubicBezTo>
                    <a:cubicBezTo>
                      <a:pt x="113" y="67"/>
                      <a:pt x="113" y="69"/>
                      <a:pt x="112" y="68"/>
                    </a:cubicBezTo>
                    <a:cubicBezTo>
                      <a:pt x="111" y="68"/>
                      <a:pt x="111" y="67"/>
                      <a:pt x="111" y="67"/>
                    </a:cubicBezTo>
                    <a:cubicBezTo>
                      <a:pt x="110" y="67"/>
                      <a:pt x="110" y="68"/>
                      <a:pt x="109" y="68"/>
                    </a:cubicBezTo>
                    <a:cubicBezTo>
                      <a:pt x="109" y="68"/>
                      <a:pt x="108" y="67"/>
                      <a:pt x="108" y="67"/>
                    </a:cubicBezTo>
                    <a:cubicBezTo>
                      <a:pt x="108" y="66"/>
                      <a:pt x="109" y="66"/>
                      <a:pt x="110" y="66"/>
                    </a:cubicBezTo>
                    <a:cubicBezTo>
                      <a:pt x="110" y="66"/>
                      <a:pt x="110" y="65"/>
                      <a:pt x="111" y="65"/>
                    </a:cubicBezTo>
                    <a:cubicBezTo>
                      <a:pt x="111" y="66"/>
                      <a:pt x="112" y="67"/>
                      <a:pt x="113" y="65"/>
                    </a:cubicBezTo>
                    <a:cubicBezTo>
                      <a:pt x="113" y="64"/>
                      <a:pt x="114" y="64"/>
                      <a:pt x="114" y="63"/>
                    </a:cubicBezTo>
                    <a:cubicBezTo>
                      <a:pt x="113" y="63"/>
                      <a:pt x="113" y="63"/>
                      <a:pt x="112" y="63"/>
                    </a:cubicBezTo>
                    <a:cubicBezTo>
                      <a:pt x="113" y="61"/>
                      <a:pt x="114" y="62"/>
                      <a:pt x="115" y="62"/>
                    </a:cubicBezTo>
                    <a:cubicBezTo>
                      <a:pt x="115" y="63"/>
                      <a:pt x="115" y="62"/>
                      <a:pt x="116" y="62"/>
                    </a:cubicBezTo>
                    <a:cubicBezTo>
                      <a:pt x="116" y="63"/>
                      <a:pt x="116" y="63"/>
                      <a:pt x="117" y="64"/>
                    </a:cubicBezTo>
                    <a:cubicBezTo>
                      <a:pt x="116" y="63"/>
                      <a:pt x="115" y="63"/>
                      <a:pt x="114" y="64"/>
                    </a:cubicBezTo>
                    <a:cubicBezTo>
                      <a:pt x="114" y="64"/>
                      <a:pt x="115" y="64"/>
                      <a:pt x="115" y="64"/>
                    </a:cubicBezTo>
                    <a:cubicBezTo>
                      <a:pt x="114" y="64"/>
                      <a:pt x="113" y="64"/>
                      <a:pt x="113" y="65"/>
                    </a:cubicBezTo>
                    <a:cubicBezTo>
                      <a:pt x="114" y="65"/>
                      <a:pt x="115" y="66"/>
                      <a:pt x="115" y="66"/>
                    </a:cubicBezTo>
                    <a:cubicBezTo>
                      <a:pt x="115" y="66"/>
                      <a:pt x="115" y="66"/>
                      <a:pt x="115" y="65"/>
                    </a:cubicBezTo>
                    <a:cubicBezTo>
                      <a:pt x="116" y="66"/>
                      <a:pt x="116" y="66"/>
                      <a:pt x="117" y="66"/>
                    </a:cubicBezTo>
                    <a:cubicBezTo>
                      <a:pt x="117" y="66"/>
                      <a:pt x="118" y="68"/>
                      <a:pt x="118" y="68"/>
                    </a:cubicBezTo>
                    <a:cubicBezTo>
                      <a:pt x="118" y="69"/>
                      <a:pt x="118" y="67"/>
                      <a:pt x="119" y="67"/>
                    </a:cubicBezTo>
                    <a:cubicBezTo>
                      <a:pt x="120" y="67"/>
                      <a:pt x="120" y="68"/>
                      <a:pt x="119" y="68"/>
                    </a:cubicBezTo>
                    <a:cubicBezTo>
                      <a:pt x="119" y="69"/>
                      <a:pt x="120" y="69"/>
                      <a:pt x="120" y="70"/>
                    </a:cubicBezTo>
                    <a:cubicBezTo>
                      <a:pt x="121" y="70"/>
                      <a:pt x="120" y="70"/>
                      <a:pt x="121" y="70"/>
                    </a:cubicBezTo>
                    <a:cubicBezTo>
                      <a:pt x="121" y="70"/>
                      <a:pt x="121" y="70"/>
                      <a:pt x="122" y="70"/>
                    </a:cubicBezTo>
                    <a:cubicBezTo>
                      <a:pt x="122" y="70"/>
                      <a:pt x="122" y="71"/>
                      <a:pt x="122" y="70"/>
                    </a:cubicBezTo>
                    <a:cubicBezTo>
                      <a:pt x="123" y="70"/>
                      <a:pt x="123" y="70"/>
                      <a:pt x="123" y="69"/>
                    </a:cubicBezTo>
                    <a:cubicBezTo>
                      <a:pt x="124" y="70"/>
                      <a:pt x="126" y="68"/>
                      <a:pt x="127" y="70"/>
                    </a:cubicBezTo>
                    <a:cubicBezTo>
                      <a:pt x="128" y="72"/>
                      <a:pt x="128" y="75"/>
                      <a:pt x="128" y="77"/>
                    </a:cubicBezTo>
                    <a:cubicBezTo>
                      <a:pt x="128" y="80"/>
                      <a:pt x="129" y="78"/>
                      <a:pt x="130" y="78"/>
                    </a:cubicBezTo>
                    <a:cubicBezTo>
                      <a:pt x="129" y="77"/>
                      <a:pt x="129" y="77"/>
                      <a:pt x="128" y="77"/>
                    </a:cubicBezTo>
                    <a:cubicBezTo>
                      <a:pt x="130" y="76"/>
                      <a:pt x="132" y="76"/>
                      <a:pt x="135" y="75"/>
                    </a:cubicBezTo>
                    <a:cubicBezTo>
                      <a:pt x="134" y="76"/>
                      <a:pt x="133" y="76"/>
                      <a:pt x="132" y="76"/>
                    </a:cubicBezTo>
                    <a:cubicBezTo>
                      <a:pt x="131" y="77"/>
                      <a:pt x="132" y="77"/>
                      <a:pt x="133" y="77"/>
                    </a:cubicBezTo>
                    <a:cubicBezTo>
                      <a:pt x="133" y="77"/>
                      <a:pt x="133" y="77"/>
                      <a:pt x="134" y="77"/>
                    </a:cubicBezTo>
                    <a:cubicBezTo>
                      <a:pt x="135" y="77"/>
                      <a:pt x="134" y="77"/>
                      <a:pt x="135" y="77"/>
                    </a:cubicBezTo>
                    <a:cubicBezTo>
                      <a:pt x="135" y="77"/>
                      <a:pt x="136" y="77"/>
                      <a:pt x="137" y="77"/>
                    </a:cubicBezTo>
                    <a:cubicBezTo>
                      <a:pt x="135" y="78"/>
                      <a:pt x="137" y="78"/>
                      <a:pt x="137" y="79"/>
                    </a:cubicBezTo>
                    <a:cubicBezTo>
                      <a:pt x="136" y="80"/>
                      <a:pt x="135" y="79"/>
                      <a:pt x="134" y="79"/>
                    </a:cubicBezTo>
                    <a:cubicBezTo>
                      <a:pt x="133" y="80"/>
                      <a:pt x="132" y="80"/>
                      <a:pt x="134" y="81"/>
                    </a:cubicBezTo>
                    <a:cubicBezTo>
                      <a:pt x="134" y="81"/>
                      <a:pt x="134" y="81"/>
                      <a:pt x="135" y="81"/>
                    </a:cubicBezTo>
                    <a:cubicBezTo>
                      <a:pt x="135" y="81"/>
                      <a:pt x="135" y="81"/>
                      <a:pt x="135" y="81"/>
                    </a:cubicBezTo>
                    <a:cubicBezTo>
                      <a:pt x="136" y="81"/>
                      <a:pt x="136" y="81"/>
                      <a:pt x="136" y="81"/>
                    </a:cubicBezTo>
                    <a:cubicBezTo>
                      <a:pt x="137" y="82"/>
                      <a:pt x="137" y="82"/>
                      <a:pt x="137" y="82"/>
                    </a:cubicBezTo>
                    <a:cubicBezTo>
                      <a:pt x="138" y="82"/>
                      <a:pt x="138" y="81"/>
                      <a:pt x="138" y="81"/>
                    </a:cubicBezTo>
                    <a:cubicBezTo>
                      <a:pt x="139" y="81"/>
                      <a:pt x="140" y="80"/>
                      <a:pt x="138" y="80"/>
                    </a:cubicBezTo>
                    <a:cubicBezTo>
                      <a:pt x="139" y="79"/>
                      <a:pt x="141" y="80"/>
                      <a:pt x="143" y="80"/>
                    </a:cubicBezTo>
                    <a:cubicBezTo>
                      <a:pt x="142" y="81"/>
                      <a:pt x="141" y="80"/>
                      <a:pt x="141" y="80"/>
                    </a:cubicBezTo>
                    <a:cubicBezTo>
                      <a:pt x="140" y="81"/>
                      <a:pt x="140" y="80"/>
                      <a:pt x="139" y="81"/>
                    </a:cubicBezTo>
                    <a:cubicBezTo>
                      <a:pt x="138" y="82"/>
                      <a:pt x="139" y="82"/>
                      <a:pt x="140" y="84"/>
                    </a:cubicBezTo>
                    <a:cubicBezTo>
                      <a:pt x="141" y="85"/>
                      <a:pt x="140" y="85"/>
                      <a:pt x="142" y="85"/>
                    </a:cubicBezTo>
                    <a:cubicBezTo>
                      <a:pt x="143" y="85"/>
                      <a:pt x="144" y="85"/>
                      <a:pt x="145" y="85"/>
                    </a:cubicBezTo>
                    <a:cubicBezTo>
                      <a:pt x="146" y="86"/>
                      <a:pt x="147" y="86"/>
                      <a:pt x="148" y="87"/>
                    </a:cubicBezTo>
                    <a:cubicBezTo>
                      <a:pt x="148" y="88"/>
                      <a:pt x="149" y="88"/>
                      <a:pt x="148" y="89"/>
                    </a:cubicBezTo>
                    <a:cubicBezTo>
                      <a:pt x="147" y="90"/>
                      <a:pt x="147" y="91"/>
                      <a:pt x="146" y="91"/>
                    </a:cubicBezTo>
                    <a:cubicBezTo>
                      <a:pt x="144" y="93"/>
                      <a:pt x="142" y="91"/>
                      <a:pt x="140" y="91"/>
                    </a:cubicBezTo>
                    <a:cubicBezTo>
                      <a:pt x="139" y="91"/>
                      <a:pt x="138" y="91"/>
                      <a:pt x="138" y="92"/>
                    </a:cubicBezTo>
                    <a:cubicBezTo>
                      <a:pt x="139" y="94"/>
                      <a:pt x="140" y="94"/>
                      <a:pt x="138" y="96"/>
                    </a:cubicBezTo>
                    <a:cubicBezTo>
                      <a:pt x="136" y="99"/>
                      <a:pt x="141" y="97"/>
                      <a:pt x="142" y="97"/>
                    </a:cubicBezTo>
                    <a:cubicBezTo>
                      <a:pt x="144" y="96"/>
                      <a:pt x="145" y="96"/>
                      <a:pt x="146" y="95"/>
                    </a:cubicBezTo>
                    <a:cubicBezTo>
                      <a:pt x="147" y="95"/>
                      <a:pt x="148" y="95"/>
                      <a:pt x="149" y="94"/>
                    </a:cubicBezTo>
                    <a:cubicBezTo>
                      <a:pt x="150" y="94"/>
                      <a:pt x="150" y="93"/>
                      <a:pt x="150" y="92"/>
                    </a:cubicBezTo>
                    <a:cubicBezTo>
                      <a:pt x="151" y="93"/>
                      <a:pt x="153" y="95"/>
                      <a:pt x="154" y="93"/>
                    </a:cubicBezTo>
                    <a:cubicBezTo>
                      <a:pt x="155" y="92"/>
                      <a:pt x="154" y="92"/>
                      <a:pt x="155" y="91"/>
                    </a:cubicBezTo>
                    <a:cubicBezTo>
                      <a:pt x="157" y="90"/>
                      <a:pt x="157" y="91"/>
                      <a:pt x="158" y="91"/>
                    </a:cubicBezTo>
                    <a:cubicBezTo>
                      <a:pt x="157" y="92"/>
                      <a:pt x="156" y="92"/>
                      <a:pt x="155" y="93"/>
                    </a:cubicBezTo>
                    <a:cubicBezTo>
                      <a:pt x="155" y="93"/>
                      <a:pt x="156" y="93"/>
                      <a:pt x="156" y="93"/>
                    </a:cubicBezTo>
                    <a:cubicBezTo>
                      <a:pt x="156" y="93"/>
                      <a:pt x="155" y="93"/>
                      <a:pt x="155" y="93"/>
                    </a:cubicBezTo>
                    <a:cubicBezTo>
                      <a:pt x="155" y="93"/>
                      <a:pt x="156" y="93"/>
                      <a:pt x="156" y="93"/>
                    </a:cubicBezTo>
                    <a:cubicBezTo>
                      <a:pt x="156" y="93"/>
                      <a:pt x="155" y="93"/>
                      <a:pt x="155" y="94"/>
                    </a:cubicBezTo>
                    <a:cubicBezTo>
                      <a:pt x="155" y="94"/>
                      <a:pt x="158" y="93"/>
                      <a:pt x="158" y="93"/>
                    </a:cubicBezTo>
                    <a:cubicBezTo>
                      <a:pt x="159" y="94"/>
                      <a:pt x="156" y="95"/>
                      <a:pt x="155" y="95"/>
                    </a:cubicBezTo>
                    <a:cubicBezTo>
                      <a:pt x="156" y="96"/>
                      <a:pt x="159" y="97"/>
                      <a:pt x="158" y="95"/>
                    </a:cubicBezTo>
                    <a:cubicBezTo>
                      <a:pt x="159" y="95"/>
                      <a:pt x="160" y="95"/>
                      <a:pt x="159" y="96"/>
                    </a:cubicBezTo>
                    <a:cubicBezTo>
                      <a:pt x="159" y="96"/>
                      <a:pt x="159" y="97"/>
                      <a:pt x="159" y="97"/>
                    </a:cubicBezTo>
                    <a:cubicBezTo>
                      <a:pt x="159" y="98"/>
                      <a:pt x="159" y="98"/>
                      <a:pt x="159" y="98"/>
                    </a:cubicBezTo>
                    <a:cubicBezTo>
                      <a:pt x="160" y="99"/>
                      <a:pt x="160" y="99"/>
                      <a:pt x="161" y="100"/>
                    </a:cubicBezTo>
                    <a:cubicBezTo>
                      <a:pt x="162" y="100"/>
                      <a:pt x="163" y="101"/>
                      <a:pt x="163" y="101"/>
                    </a:cubicBezTo>
                    <a:cubicBezTo>
                      <a:pt x="164" y="101"/>
                      <a:pt x="166" y="101"/>
                      <a:pt x="166" y="100"/>
                    </a:cubicBezTo>
                    <a:cubicBezTo>
                      <a:pt x="167" y="99"/>
                      <a:pt x="161" y="97"/>
                      <a:pt x="165" y="97"/>
                    </a:cubicBezTo>
                    <a:cubicBezTo>
                      <a:pt x="167" y="97"/>
                      <a:pt x="168" y="98"/>
                      <a:pt x="168" y="99"/>
                    </a:cubicBezTo>
                    <a:cubicBezTo>
                      <a:pt x="167" y="101"/>
                      <a:pt x="165" y="103"/>
                      <a:pt x="168" y="104"/>
                    </a:cubicBezTo>
                    <a:cubicBezTo>
                      <a:pt x="168" y="104"/>
                      <a:pt x="170" y="104"/>
                      <a:pt x="169" y="105"/>
                    </a:cubicBezTo>
                    <a:cubicBezTo>
                      <a:pt x="170" y="105"/>
                      <a:pt x="171" y="104"/>
                      <a:pt x="172" y="103"/>
                    </a:cubicBezTo>
                    <a:cubicBezTo>
                      <a:pt x="172" y="103"/>
                      <a:pt x="172" y="103"/>
                      <a:pt x="173" y="103"/>
                    </a:cubicBezTo>
                    <a:cubicBezTo>
                      <a:pt x="173" y="103"/>
                      <a:pt x="173" y="105"/>
                      <a:pt x="173" y="106"/>
                    </a:cubicBezTo>
                    <a:cubicBezTo>
                      <a:pt x="174" y="106"/>
                      <a:pt x="174" y="106"/>
                      <a:pt x="175" y="106"/>
                    </a:cubicBezTo>
                    <a:cubicBezTo>
                      <a:pt x="175" y="106"/>
                      <a:pt x="175" y="105"/>
                      <a:pt x="175" y="106"/>
                    </a:cubicBezTo>
                    <a:cubicBezTo>
                      <a:pt x="176" y="106"/>
                      <a:pt x="175" y="107"/>
                      <a:pt x="176" y="107"/>
                    </a:cubicBezTo>
                    <a:cubicBezTo>
                      <a:pt x="176" y="109"/>
                      <a:pt x="177" y="110"/>
                      <a:pt x="176" y="111"/>
                    </a:cubicBezTo>
                    <a:cubicBezTo>
                      <a:pt x="177" y="111"/>
                      <a:pt x="176" y="112"/>
                      <a:pt x="177" y="112"/>
                    </a:cubicBezTo>
                    <a:cubicBezTo>
                      <a:pt x="177" y="112"/>
                      <a:pt x="178" y="112"/>
                      <a:pt x="178" y="112"/>
                    </a:cubicBezTo>
                    <a:cubicBezTo>
                      <a:pt x="178" y="112"/>
                      <a:pt x="178" y="113"/>
                      <a:pt x="178" y="113"/>
                    </a:cubicBezTo>
                    <a:cubicBezTo>
                      <a:pt x="180" y="114"/>
                      <a:pt x="179" y="114"/>
                      <a:pt x="179" y="115"/>
                    </a:cubicBezTo>
                    <a:cubicBezTo>
                      <a:pt x="178" y="116"/>
                      <a:pt x="180" y="116"/>
                      <a:pt x="180" y="116"/>
                    </a:cubicBezTo>
                    <a:cubicBezTo>
                      <a:pt x="181" y="117"/>
                      <a:pt x="181" y="118"/>
                      <a:pt x="181" y="118"/>
                    </a:cubicBezTo>
                    <a:cubicBezTo>
                      <a:pt x="181" y="119"/>
                      <a:pt x="181" y="119"/>
                      <a:pt x="181" y="119"/>
                    </a:cubicBezTo>
                    <a:cubicBezTo>
                      <a:pt x="181" y="120"/>
                      <a:pt x="181" y="120"/>
                      <a:pt x="182" y="120"/>
                    </a:cubicBezTo>
                    <a:cubicBezTo>
                      <a:pt x="182" y="121"/>
                      <a:pt x="182" y="121"/>
                      <a:pt x="182" y="122"/>
                    </a:cubicBezTo>
                    <a:cubicBezTo>
                      <a:pt x="183" y="122"/>
                      <a:pt x="183" y="122"/>
                      <a:pt x="183" y="122"/>
                    </a:cubicBezTo>
                    <a:cubicBezTo>
                      <a:pt x="183" y="122"/>
                      <a:pt x="183" y="124"/>
                      <a:pt x="183" y="124"/>
                    </a:cubicBezTo>
                    <a:cubicBezTo>
                      <a:pt x="181" y="127"/>
                      <a:pt x="178" y="129"/>
                      <a:pt x="176" y="131"/>
                    </a:cubicBezTo>
                    <a:cubicBezTo>
                      <a:pt x="178" y="132"/>
                      <a:pt x="180" y="132"/>
                      <a:pt x="182" y="132"/>
                    </a:cubicBezTo>
                    <a:cubicBezTo>
                      <a:pt x="184" y="132"/>
                      <a:pt x="186" y="133"/>
                      <a:pt x="188" y="133"/>
                    </a:cubicBezTo>
                    <a:cubicBezTo>
                      <a:pt x="189" y="133"/>
                      <a:pt x="190" y="134"/>
                      <a:pt x="191" y="134"/>
                    </a:cubicBezTo>
                    <a:cubicBezTo>
                      <a:pt x="193" y="133"/>
                      <a:pt x="192" y="131"/>
                      <a:pt x="193" y="131"/>
                    </a:cubicBezTo>
                    <a:cubicBezTo>
                      <a:pt x="193" y="130"/>
                      <a:pt x="194" y="130"/>
                      <a:pt x="194" y="129"/>
                    </a:cubicBezTo>
                    <a:cubicBezTo>
                      <a:pt x="194" y="128"/>
                      <a:pt x="194" y="128"/>
                      <a:pt x="194" y="126"/>
                    </a:cubicBezTo>
                    <a:cubicBezTo>
                      <a:pt x="194" y="127"/>
                      <a:pt x="194" y="127"/>
                      <a:pt x="195" y="127"/>
                    </a:cubicBezTo>
                    <a:cubicBezTo>
                      <a:pt x="196" y="127"/>
                      <a:pt x="196" y="127"/>
                      <a:pt x="197" y="127"/>
                    </a:cubicBezTo>
                    <a:cubicBezTo>
                      <a:pt x="197" y="127"/>
                      <a:pt x="197" y="127"/>
                      <a:pt x="198" y="127"/>
                    </a:cubicBezTo>
                    <a:cubicBezTo>
                      <a:pt x="199" y="128"/>
                      <a:pt x="199" y="128"/>
                      <a:pt x="199" y="129"/>
                    </a:cubicBezTo>
                    <a:cubicBezTo>
                      <a:pt x="199" y="129"/>
                      <a:pt x="199" y="129"/>
                      <a:pt x="199" y="130"/>
                    </a:cubicBezTo>
                    <a:cubicBezTo>
                      <a:pt x="199" y="130"/>
                      <a:pt x="200" y="130"/>
                      <a:pt x="200" y="130"/>
                    </a:cubicBezTo>
                    <a:cubicBezTo>
                      <a:pt x="200" y="130"/>
                      <a:pt x="199" y="130"/>
                      <a:pt x="200" y="130"/>
                    </a:cubicBezTo>
                    <a:cubicBezTo>
                      <a:pt x="200" y="131"/>
                      <a:pt x="200" y="131"/>
                      <a:pt x="200" y="131"/>
                    </a:cubicBezTo>
                    <a:cubicBezTo>
                      <a:pt x="201" y="131"/>
                      <a:pt x="202" y="132"/>
                      <a:pt x="203" y="132"/>
                    </a:cubicBezTo>
                    <a:cubicBezTo>
                      <a:pt x="203" y="132"/>
                      <a:pt x="203" y="132"/>
                      <a:pt x="203" y="132"/>
                    </a:cubicBezTo>
                    <a:cubicBezTo>
                      <a:pt x="204" y="132"/>
                      <a:pt x="206" y="132"/>
                      <a:pt x="208" y="133"/>
                    </a:cubicBezTo>
                    <a:cubicBezTo>
                      <a:pt x="209" y="133"/>
                      <a:pt x="209" y="134"/>
                      <a:pt x="210" y="134"/>
                    </a:cubicBezTo>
                    <a:cubicBezTo>
                      <a:pt x="211" y="134"/>
                      <a:pt x="211" y="134"/>
                      <a:pt x="212" y="135"/>
                    </a:cubicBezTo>
                    <a:cubicBezTo>
                      <a:pt x="212" y="135"/>
                      <a:pt x="212" y="135"/>
                      <a:pt x="212" y="135"/>
                    </a:cubicBezTo>
                    <a:cubicBezTo>
                      <a:pt x="212" y="135"/>
                      <a:pt x="213" y="135"/>
                      <a:pt x="213" y="135"/>
                    </a:cubicBezTo>
                    <a:cubicBezTo>
                      <a:pt x="213" y="135"/>
                      <a:pt x="213" y="134"/>
                      <a:pt x="214" y="134"/>
                    </a:cubicBezTo>
                    <a:cubicBezTo>
                      <a:pt x="214" y="135"/>
                      <a:pt x="212" y="136"/>
                      <a:pt x="212" y="137"/>
                    </a:cubicBezTo>
                    <a:cubicBezTo>
                      <a:pt x="212" y="137"/>
                      <a:pt x="215" y="136"/>
                      <a:pt x="215" y="138"/>
                    </a:cubicBezTo>
                    <a:cubicBezTo>
                      <a:pt x="214" y="138"/>
                      <a:pt x="212" y="139"/>
                      <a:pt x="212" y="139"/>
                    </a:cubicBezTo>
                    <a:cubicBezTo>
                      <a:pt x="211" y="139"/>
                      <a:pt x="211" y="139"/>
                      <a:pt x="211" y="140"/>
                    </a:cubicBezTo>
                    <a:cubicBezTo>
                      <a:pt x="211" y="140"/>
                      <a:pt x="211" y="140"/>
                      <a:pt x="210" y="141"/>
                    </a:cubicBezTo>
                    <a:cubicBezTo>
                      <a:pt x="210" y="141"/>
                      <a:pt x="211" y="141"/>
                      <a:pt x="211" y="141"/>
                    </a:cubicBezTo>
                    <a:cubicBezTo>
                      <a:pt x="210" y="142"/>
                      <a:pt x="208" y="140"/>
                      <a:pt x="207" y="140"/>
                    </a:cubicBezTo>
                    <a:cubicBezTo>
                      <a:pt x="205" y="139"/>
                      <a:pt x="204" y="141"/>
                      <a:pt x="202" y="141"/>
                    </a:cubicBezTo>
                    <a:cubicBezTo>
                      <a:pt x="201" y="140"/>
                      <a:pt x="202" y="140"/>
                      <a:pt x="201" y="140"/>
                    </a:cubicBezTo>
                    <a:cubicBezTo>
                      <a:pt x="201" y="140"/>
                      <a:pt x="200" y="139"/>
                      <a:pt x="200" y="139"/>
                    </a:cubicBezTo>
                    <a:cubicBezTo>
                      <a:pt x="200" y="139"/>
                      <a:pt x="200" y="139"/>
                      <a:pt x="200" y="139"/>
                    </a:cubicBezTo>
                    <a:cubicBezTo>
                      <a:pt x="199" y="139"/>
                      <a:pt x="199" y="140"/>
                      <a:pt x="199" y="140"/>
                    </a:cubicBezTo>
                    <a:cubicBezTo>
                      <a:pt x="199" y="141"/>
                      <a:pt x="199" y="141"/>
                      <a:pt x="198" y="141"/>
                    </a:cubicBezTo>
                    <a:cubicBezTo>
                      <a:pt x="198" y="141"/>
                      <a:pt x="197" y="142"/>
                      <a:pt x="197" y="142"/>
                    </a:cubicBezTo>
                    <a:cubicBezTo>
                      <a:pt x="196" y="143"/>
                      <a:pt x="195" y="144"/>
                      <a:pt x="194" y="145"/>
                    </a:cubicBezTo>
                    <a:cubicBezTo>
                      <a:pt x="194" y="145"/>
                      <a:pt x="195" y="143"/>
                      <a:pt x="195" y="143"/>
                    </a:cubicBezTo>
                    <a:cubicBezTo>
                      <a:pt x="195" y="142"/>
                      <a:pt x="193" y="143"/>
                      <a:pt x="193" y="143"/>
                    </a:cubicBezTo>
                    <a:cubicBezTo>
                      <a:pt x="193" y="143"/>
                      <a:pt x="194" y="142"/>
                      <a:pt x="194" y="141"/>
                    </a:cubicBezTo>
                    <a:cubicBezTo>
                      <a:pt x="194" y="141"/>
                      <a:pt x="194" y="141"/>
                      <a:pt x="194" y="141"/>
                    </a:cubicBezTo>
                    <a:cubicBezTo>
                      <a:pt x="194" y="140"/>
                      <a:pt x="194" y="140"/>
                      <a:pt x="194" y="140"/>
                    </a:cubicBezTo>
                    <a:cubicBezTo>
                      <a:pt x="194" y="140"/>
                      <a:pt x="195" y="139"/>
                      <a:pt x="195" y="139"/>
                    </a:cubicBezTo>
                    <a:cubicBezTo>
                      <a:pt x="194" y="138"/>
                      <a:pt x="194" y="138"/>
                      <a:pt x="194" y="138"/>
                    </a:cubicBezTo>
                    <a:cubicBezTo>
                      <a:pt x="194" y="138"/>
                      <a:pt x="194" y="137"/>
                      <a:pt x="193" y="137"/>
                    </a:cubicBezTo>
                    <a:cubicBezTo>
                      <a:pt x="193" y="137"/>
                      <a:pt x="193" y="136"/>
                      <a:pt x="193" y="136"/>
                    </a:cubicBezTo>
                    <a:cubicBezTo>
                      <a:pt x="192" y="134"/>
                      <a:pt x="189" y="134"/>
                      <a:pt x="188" y="134"/>
                    </a:cubicBezTo>
                    <a:cubicBezTo>
                      <a:pt x="186" y="133"/>
                      <a:pt x="185" y="133"/>
                      <a:pt x="183" y="133"/>
                    </a:cubicBezTo>
                    <a:cubicBezTo>
                      <a:pt x="181" y="133"/>
                      <a:pt x="180" y="133"/>
                      <a:pt x="178" y="133"/>
                    </a:cubicBezTo>
                    <a:cubicBezTo>
                      <a:pt x="176" y="132"/>
                      <a:pt x="175" y="131"/>
                      <a:pt x="173" y="133"/>
                    </a:cubicBezTo>
                    <a:cubicBezTo>
                      <a:pt x="169" y="136"/>
                      <a:pt x="165" y="139"/>
                      <a:pt x="161" y="143"/>
                    </a:cubicBezTo>
                    <a:cubicBezTo>
                      <a:pt x="161" y="144"/>
                      <a:pt x="163" y="144"/>
                      <a:pt x="163" y="145"/>
                    </a:cubicBezTo>
                    <a:cubicBezTo>
                      <a:pt x="165" y="146"/>
                      <a:pt x="166" y="147"/>
                      <a:pt x="167" y="148"/>
                    </a:cubicBezTo>
                    <a:cubicBezTo>
                      <a:pt x="168" y="148"/>
                      <a:pt x="168" y="148"/>
                      <a:pt x="168" y="149"/>
                    </a:cubicBezTo>
                    <a:cubicBezTo>
                      <a:pt x="169" y="149"/>
                      <a:pt x="168" y="149"/>
                      <a:pt x="168" y="150"/>
                    </a:cubicBezTo>
                    <a:cubicBezTo>
                      <a:pt x="168" y="150"/>
                      <a:pt x="169" y="150"/>
                      <a:pt x="169" y="150"/>
                    </a:cubicBezTo>
                    <a:cubicBezTo>
                      <a:pt x="169" y="150"/>
                      <a:pt x="169" y="151"/>
                      <a:pt x="169" y="151"/>
                    </a:cubicBezTo>
                    <a:cubicBezTo>
                      <a:pt x="169" y="151"/>
                      <a:pt x="169" y="151"/>
                      <a:pt x="170" y="152"/>
                    </a:cubicBezTo>
                    <a:cubicBezTo>
                      <a:pt x="170" y="152"/>
                      <a:pt x="170" y="153"/>
                      <a:pt x="170" y="153"/>
                    </a:cubicBezTo>
                    <a:cubicBezTo>
                      <a:pt x="168" y="153"/>
                      <a:pt x="167" y="152"/>
                      <a:pt x="164" y="152"/>
                    </a:cubicBezTo>
                    <a:cubicBezTo>
                      <a:pt x="163" y="152"/>
                      <a:pt x="162" y="154"/>
                      <a:pt x="161" y="155"/>
                    </a:cubicBezTo>
                    <a:cubicBezTo>
                      <a:pt x="159" y="155"/>
                      <a:pt x="159" y="155"/>
                      <a:pt x="158" y="154"/>
                    </a:cubicBezTo>
                    <a:cubicBezTo>
                      <a:pt x="159" y="153"/>
                      <a:pt x="156" y="154"/>
                      <a:pt x="155" y="154"/>
                    </a:cubicBezTo>
                    <a:cubicBezTo>
                      <a:pt x="154" y="155"/>
                      <a:pt x="154" y="154"/>
                      <a:pt x="154" y="155"/>
                    </a:cubicBezTo>
                    <a:cubicBezTo>
                      <a:pt x="154" y="156"/>
                      <a:pt x="154" y="157"/>
                      <a:pt x="153" y="157"/>
                    </a:cubicBezTo>
                    <a:cubicBezTo>
                      <a:pt x="152" y="157"/>
                      <a:pt x="151" y="156"/>
                      <a:pt x="150" y="156"/>
                    </a:cubicBezTo>
                    <a:cubicBezTo>
                      <a:pt x="149" y="156"/>
                      <a:pt x="149" y="156"/>
                      <a:pt x="149" y="156"/>
                    </a:cubicBezTo>
                    <a:cubicBezTo>
                      <a:pt x="149" y="156"/>
                      <a:pt x="149" y="156"/>
                      <a:pt x="149" y="156"/>
                    </a:cubicBezTo>
                    <a:cubicBezTo>
                      <a:pt x="148" y="155"/>
                      <a:pt x="147" y="156"/>
                      <a:pt x="145" y="156"/>
                    </a:cubicBezTo>
                    <a:cubicBezTo>
                      <a:pt x="146" y="157"/>
                      <a:pt x="148" y="158"/>
                      <a:pt x="149" y="158"/>
                    </a:cubicBezTo>
                    <a:cubicBezTo>
                      <a:pt x="150" y="159"/>
                      <a:pt x="150" y="159"/>
                      <a:pt x="151" y="160"/>
                    </a:cubicBezTo>
                    <a:cubicBezTo>
                      <a:pt x="151" y="161"/>
                      <a:pt x="151" y="161"/>
                      <a:pt x="152" y="161"/>
                    </a:cubicBezTo>
                    <a:cubicBezTo>
                      <a:pt x="152" y="161"/>
                      <a:pt x="152" y="161"/>
                      <a:pt x="152" y="161"/>
                    </a:cubicBezTo>
                    <a:cubicBezTo>
                      <a:pt x="152" y="162"/>
                      <a:pt x="150" y="163"/>
                      <a:pt x="149" y="163"/>
                    </a:cubicBezTo>
                    <a:cubicBezTo>
                      <a:pt x="150" y="163"/>
                      <a:pt x="151" y="163"/>
                      <a:pt x="151" y="163"/>
                    </a:cubicBezTo>
                    <a:cubicBezTo>
                      <a:pt x="151" y="164"/>
                      <a:pt x="152" y="165"/>
                      <a:pt x="152" y="165"/>
                    </a:cubicBezTo>
                    <a:cubicBezTo>
                      <a:pt x="151" y="165"/>
                      <a:pt x="151" y="164"/>
                      <a:pt x="150" y="164"/>
                    </a:cubicBezTo>
                    <a:cubicBezTo>
                      <a:pt x="150" y="164"/>
                      <a:pt x="149" y="164"/>
                      <a:pt x="149" y="163"/>
                    </a:cubicBezTo>
                    <a:cubicBezTo>
                      <a:pt x="149" y="163"/>
                      <a:pt x="148" y="162"/>
                      <a:pt x="148" y="162"/>
                    </a:cubicBezTo>
                    <a:cubicBezTo>
                      <a:pt x="148" y="161"/>
                      <a:pt x="150" y="162"/>
                      <a:pt x="151" y="161"/>
                    </a:cubicBezTo>
                    <a:cubicBezTo>
                      <a:pt x="151" y="161"/>
                      <a:pt x="151" y="160"/>
                      <a:pt x="150" y="160"/>
                    </a:cubicBezTo>
                    <a:cubicBezTo>
                      <a:pt x="150" y="159"/>
                      <a:pt x="149" y="159"/>
                      <a:pt x="149" y="159"/>
                    </a:cubicBezTo>
                    <a:cubicBezTo>
                      <a:pt x="148" y="158"/>
                      <a:pt x="148" y="158"/>
                      <a:pt x="147" y="158"/>
                    </a:cubicBezTo>
                    <a:cubicBezTo>
                      <a:pt x="146" y="157"/>
                      <a:pt x="144" y="156"/>
                      <a:pt x="143" y="156"/>
                    </a:cubicBezTo>
                    <a:cubicBezTo>
                      <a:pt x="141" y="155"/>
                      <a:pt x="139" y="155"/>
                      <a:pt x="137" y="154"/>
                    </a:cubicBezTo>
                    <a:cubicBezTo>
                      <a:pt x="136" y="154"/>
                      <a:pt x="134" y="154"/>
                      <a:pt x="133" y="154"/>
                    </a:cubicBezTo>
                    <a:cubicBezTo>
                      <a:pt x="133" y="154"/>
                      <a:pt x="132" y="153"/>
                      <a:pt x="132" y="153"/>
                    </a:cubicBezTo>
                    <a:cubicBezTo>
                      <a:pt x="131" y="154"/>
                      <a:pt x="131" y="156"/>
                      <a:pt x="131" y="157"/>
                    </a:cubicBezTo>
                    <a:cubicBezTo>
                      <a:pt x="130" y="157"/>
                      <a:pt x="131" y="158"/>
                      <a:pt x="131" y="158"/>
                    </a:cubicBezTo>
                    <a:cubicBezTo>
                      <a:pt x="131" y="158"/>
                      <a:pt x="129" y="158"/>
                      <a:pt x="129" y="158"/>
                    </a:cubicBezTo>
                    <a:cubicBezTo>
                      <a:pt x="128" y="159"/>
                      <a:pt x="126" y="159"/>
                      <a:pt x="126" y="160"/>
                    </a:cubicBezTo>
                    <a:cubicBezTo>
                      <a:pt x="124" y="161"/>
                      <a:pt x="122" y="164"/>
                      <a:pt x="121" y="166"/>
                    </a:cubicBezTo>
                    <a:cubicBezTo>
                      <a:pt x="121" y="167"/>
                      <a:pt x="123" y="168"/>
                      <a:pt x="123" y="169"/>
                    </a:cubicBezTo>
                    <a:cubicBezTo>
                      <a:pt x="124" y="169"/>
                      <a:pt x="124" y="170"/>
                      <a:pt x="124" y="170"/>
                    </a:cubicBezTo>
                    <a:cubicBezTo>
                      <a:pt x="124" y="170"/>
                      <a:pt x="124" y="170"/>
                      <a:pt x="124" y="171"/>
                    </a:cubicBezTo>
                    <a:cubicBezTo>
                      <a:pt x="124" y="171"/>
                      <a:pt x="125" y="171"/>
                      <a:pt x="125" y="171"/>
                    </a:cubicBezTo>
                    <a:cubicBezTo>
                      <a:pt x="127" y="172"/>
                      <a:pt x="129" y="173"/>
                      <a:pt x="131" y="173"/>
                    </a:cubicBezTo>
                    <a:cubicBezTo>
                      <a:pt x="132" y="173"/>
                      <a:pt x="133" y="173"/>
                      <a:pt x="135" y="173"/>
                    </a:cubicBezTo>
                    <a:cubicBezTo>
                      <a:pt x="136" y="173"/>
                      <a:pt x="137" y="174"/>
                      <a:pt x="138" y="174"/>
                    </a:cubicBezTo>
                    <a:cubicBezTo>
                      <a:pt x="137" y="174"/>
                      <a:pt x="137" y="173"/>
                      <a:pt x="137" y="173"/>
                    </a:cubicBezTo>
                    <a:cubicBezTo>
                      <a:pt x="138" y="172"/>
                      <a:pt x="140" y="173"/>
                      <a:pt x="141" y="173"/>
                    </a:cubicBezTo>
                    <a:cubicBezTo>
                      <a:pt x="140" y="173"/>
                      <a:pt x="140" y="172"/>
                      <a:pt x="140" y="172"/>
                    </a:cubicBezTo>
                    <a:cubicBezTo>
                      <a:pt x="141" y="172"/>
                      <a:pt x="141" y="173"/>
                      <a:pt x="142" y="173"/>
                    </a:cubicBezTo>
                    <a:cubicBezTo>
                      <a:pt x="143" y="172"/>
                      <a:pt x="141" y="172"/>
                      <a:pt x="141" y="172"/>
                    </a:cubicBezTo>
                    <a:cubicBezTo>
                      <a:pt x="141" y="172"/>
                      <a:pt x="142" y="171"/>
                      <a:pt x="142" y="172"/>
                    </a:cubicBezTo>
                    <a:cubicBezTo>
                      <a:pt x="143" y="172"/>
                      <a:pt x="143" y="171"/>
                      <a:pt x="143" y="171"/>
                    </a:cubicBezTo>
                    <a:cubicBezTo>
                      <a:pt x="145" y="171"/>
                      <a:pt x="146" y="171"/>
                      <a:pt x="147" y="171"/>
                    </a:cubicBezTo>
                    <a:cubicBezTo>
                      <a:pt x="147" y="171"/>
                      <a:pt x="146" y="171"/>
                      <a:pt x="147" y="170"/>
                    </a:cubicBezTo>
                    <a:cubicBezTo>
                      <a:pt x="146" y="170"/>
                      <a:pt x="146" y="170"/>
                      <a:pt x="146" y="169"/>
                    </a:cubicBezTo>
                    <a:cubicBezTo>
                      <a:pt x="147" y="169"/>
                      <a:pt x="147" y="170"/>
                      <a:pt x="148" y="170"/>
                    </a:cubicBezTo>
                    <a:cubicBezTo>
                      <a:pt x="148" y="169"/>
                      <a:pt x="147" y="169"/>
                      <a:pt x="146" y="168"/>
                    </a:cubicBezTo>
                    <a:cubicBezTo>
                      <a:pt x="146" y="168"/>
                      <a:pt x="147" y="168"/>
                      <a:pt x="147" y="168"/>
                    </a:cubicBezTo>
                    <a:cubicBezTo>
                      <a:pt x="146" y="167"/>
                      <a:pt x="147" y="167"/>
                      <a:pt x="148" y="168"/>
                    </a:cubicBezTo>
                    <a:cubicBezTo>
                      <a:pt x="150" y="168"/>
                      <a:pt x="152" y="169"/>
                      <a:pt x="154" y="170"/>
                    </a:cubicBezTo>
                    <a:cubicBezTo>
                      <a:pt x="156" y="170"/>
                      <a:pt x="159" y="172"/>
                      <a:pt x="160" y="170"/>
                    </a:cubicBezTo>
                    <a:cubicBezTo>
                      <a:pt x="159" y="170"/>
                      <a:pt x="158" y="169"/>
                      <a:pt x="159" y="169"/>
                    </a:cubicBezTo>
                    <a:cubicBezTo>
                      <a:pt x="159" y="169"/>
                      <a:pt x="159" y="169"/>
                      <a:pt x="159" y="168"/>
                    </a:cubicBezTo>
                    <a:cubicBezTo>
                      <a:pt x="161" y="169"/>
                      <a:pt x="160" y="168"/>
                      <a:pt x="159" y="167"/>
                    </a:cubicBezTo>
                    <a:cubicBezTo>
                      <a:pt x="157" y="166"/>
                      <a:pt x="156" y="165"/>
                      <a:pt x="155" y="164"/>
                    </a:cubicBezTo>
                    <a:cubicBezTo>
                      <a:pt x="155" y="164"/>
                      <a:pt x="157" y="165"/>
                      <a:pt x="158" y="164"/>
                    </a:cubicBezTo>
                    <a:cubicBezTo>
                      <a:pt x="158" y="164"/>
                      <a:pt x="157" y="163"/>
                      <a:pt x="159" y="163"/>
                    </a:cubicBezTo>
                    <a:cubicBezTo>
                      <a:pt x="158" y="163"/>
                      <a:pt x="158" y="162"/>
                      <a:pt x="159" y="163"/>
                    </a:cubicBezTo>
                    <a:cubicBezTo>
                      <a:pt x="160" y="163"/>
                      <a:pt x="159" y="164"/>
                      <a:pt x="159" y="164"/>
                    </a:cubicBezTo>
                    <a:cubicBezTo>
                      <a:pt x="158" y="166"/>
                      <a:pt x="158" y="165"/>
                      <a:pt x="159" y="166"/>
                    </a:cubicBezTo>
                    <a:cubicBezTo>
                      <a:pt x="160" y="168"/>
                      <a:pt x="161" y="166"/>
                      <a:pt x="162" y="166"/>
                    </a:cubicBezTo>
                    <a:cubicBezTo>
                      <a:pt x="163" y="167"/>
                      <a:pt x="164" y="166"/>
                      <a:pt x="164" y="165"/>
                    </a:cubicBezTo>
                    <a:cubicBezTo>
                      <a:pt x="164" y="166"/>
                      <a:pt x="164" y="167"/>
                      <a:pt x="165" y="168"/>
                    </a:cubicBezTo>
                    <a:cubicBezTo>
                      <a:pt x="164" y="168"/>
                      <a:pt x="162" y="168"/>
                      <a:pt x="164" y="169"/>
                    </a:cubicBezTo>
                    <a:cubicBezTo>
                      <a:pt x="164" y="169"/>
                      <a:pt x="164" y="169"/>
                      <a:pt x="164" y="169"/>
                    </a:cubicBezTo>
                    <a:cubicBezTo>
                      <a:pt x="164" y="169"/>
                      <a:pt x="164" y="169"/>
                      <a:pt x="165" y="170"/>
                    </a:cubicBezTo>
                    <a:cubicBezTo>
                      <a:pt x="165" y="171"/>
                      <a:pt x="164" y="170"/>
                      <a:pt x="163" y="170"/>
                    </a:cubicBezTo>
                    <a:cubicBezTo>
                      <a:pt x="164" y="170"/>
                      <a:pt x="164" y="171"/>
                      <a:pt x="164" y="171"/>
                    </a:cubicBezTo>
                    <a:cubicBezTo>
                      <a:pt x="166" y="171"/>
                      <a:pt x="165" y="171"/>
                      <a:pt x="165" y="170"/>
                    </a:cubicBezTo>
                    <a:cubicBezTo>
                      <a:pt x="166" y="170"/>
                      <a:pt x="166" y="170"/>
                      <a:pt x="166" y="170"/>
                    </a:cubicBezTo>
                    <a:cubicBezTo>
                      <a:pt x="166" y="170"/>
                      <a:pt x="167" y="169"/>
                      <a:pt x="167" y="170"/>
                    </a:cubicBezTo>
                    <a:cubicBezTo>
                      <a:pt x="167" y="169"/>
                      <a:pt x="166" y="168"/>
                      <a:pt x="166" y="168"/>
                    </a:cubicBezTo>
                    <a:cubicBezTo>
                      <a:pt x="167" y="167"/>
                      <a:pt x="168" y="169"/>
                      <a:pt x="169" y="168"/>
                    </a:cubicBezTo>
                    <a:cubicBezTo>
                      <a:pt x="169" y="168"/>
                      <a:pt x="168" y="167"/>
                      <a:pt x="168" y="167"/>
                    </a:cubicBezTo>
                    <a:cubicBezTo>
                      <a:pt x="169" y="166"/>
                      <a:pt x="171" y="167"/>
                      <a:pt x="171" y="168"/>
                    </a:cubicBezTo>
                    <a:cubicBezTo>
                      <a:pt x="171" y="168"/>
                      <a:pt x="170" y="169"/>
                      <a:pt x="171" y="169"/>
                    </a:cubicBezTo>
                    <a:cubicBezTo>
                      <a:pt x="172" y="168"/>
                      <a:pt x="172" y="168"/>
                      <a:pt x="172" y="168"/>
                    </a:cubicBezTo>
                    <a:cubicBezTo>
                      <a:pt x="172" y="167"/>
                      <a:pt x="171" y="167"/>
                      <a:pt x="172" y="167"/>
                    </a:cubicBezTo>
                    <a:cubicBezTo>
                      <a:pt x="173" y="168"/>
                      <a:pt x="173" y="168"/>
                      <a:pt x="172" y="169"/>
                    </a:cubicBezTo>
                    <a:cubicBezTo>
                      <a:pt x="172" y="169"/>
                      <a:pt x="170" y="169"/>
                      <a:pt x="171" y="170"/>
                    </a:cubicBezTo>
                    <a:cubicBezTo>
                      <a:pt x="171" y="170"/>
                      <a:pt x="170" y="170"/>
                      <a:pt x="170" y="171"/>
                    </a:cubicBezTo>
                    <a:cubicBezTo>
                      <a:pt x="170" y="171"/>
                      <a:pt x="171" y="171"/>
                      <a:pt x="171" y="171"/>
                    </a:cubicBezTo>
                    <a:cubicBezTo>
                      <a:pt x="171" y="172"/>
                      <a:pt x="171" y="172"/>
                      <a:pt x="171" y="172"/>
                    </a:cubicBezTo>
                    <a:cubicBezTo>
                      <a:pt x="171" y="172"/>
                      <a:pt x="171" y="173"/>
                      <a:pt x="171" y="173"/>
                    </a:cubicBezTo>
                    <a:cubicBezTo>
                      <a:pt x="172" y="173"/>
                      <a:pt x="172" y="172"/>
                      <a:pt x="172" y="172"/>
                    </a:cubicBezTo>
                    <a:cubicBezTo>
                      <a:pt x="174" y="172"/>
                      <a:pt x="176" y="175"/>
                      <a:pt x="177" y="176"/>
                    </a:cubicBezTo>
                    <a:cubicBezTo>
                      <a:pt x="176" y="176"/>
                      <a:pt x="176" y="176"/>
                      <a:pt x="177" y="177"/>
                    </a:cubicBezTo>
                    <a:cubicBezTo>
                      <a:pt x="178" y="178"/>
                      <a:pt x="178" y="177"/>
                      <a:pt x="179" y="176"/>
                    </a:cubicBezTo>
                    <a:cubicBezTo>
                      <a:pt x="179" y="177"/>
                      <a:pt x="179" y="177"/>
                      <a:pt x="179" y="178"/>
                    </a:cubicBezTo>
                    <a:cubicBezTo>
                      <a:pt x="179" y="178"/>
                      <a:pt x="179" y="178"/>
                      <a:pt x="179" y="179"/>
                    </a:cubicBezTo>
                    <a:cubicBezTo>
                      <a:pt x="179" y="178"/>
                      <a:pt x="179" y="180"/>
                      <a:pt x="179" y="180"/>
                    </a:cubicBezTo>
                    <a:cubicBezTo>
                      <a:pt x="180" y="182"/>
                      <a:pt x="182" y="179"/>
                      <a:pt x="183" y="179"/>
                    </a:cubicBezTo>
                    <a:cubicBezTo>
                      <a:pt x="183" y="179"/>
                      <a:pt x="183" y="179"/>
                      <a:pt x="183" y="178"/>
                    </a:cubicBezTo>
                    <a:cubicBezTo>
                      <a:pt x="183" y="179"/>
                      <a:pt x="183" y="181"/>
                      <a:pt x="183" y="181"/>
                    </a:cubicBezTo>
                    <a:cubicBezTo>
                      <a:pt x="183" y="181"/>
                      <a:pt x="182" y="181"/>
                      <a:pt x="182" y="181"/>
                    </a:cubicBezTo>
                    <a:cubicBezTo>
                      <a:pt x="182" y="181"/>
                      <a:pt x="182" y="182"/>
                      <a:pt x="182" y="183"/>
                    </a:cubicBezTo>
                    <a:cubicBezTo>
                      <a:pt x="183" y="182"/>
                      <a:pt x="183" y="181"/>
                      <a:pt x="183" y="181"/>
                    </a:cubicBezTo>
                    <a:cubicBezTo>
                      <a:pt x="184" y="181"/>
                      <a:pt x="185" y="182"/>
                      <a:pt x="186" y="182"/>
                    </a:cubicBezTo>
                    <a:cubicBezTo>
                      <a:pt x="187" y="182"/>
                      <a:pt x="187" y="181"/>
                      <a:pt x="186" y="181"/>
                    </a:cubicBezTo>
                    <a:cubicBezTo>
                      <a:pt x="187" y="180"/>
                      <a:pt x="189" y="181"/>
                      <a:pt x="190" y="182"/>
                    </a:cubicBezTo>
                    <a:cubicBezTo>
                      <a:pt x="190" y="182"/>
                      <a:pt x="190" y="183"/>
                      <a:pt x="190" y="184"/>
                    </a:cubicBezTo>
                    <a:cubicBezTo>
                      <a:pt x="190" y="184"/>
                      <a:pt x="191" y="183"/>
                      <a:pt x="192" y="183"/>
                    </a:cubicBezTo>
                    <a:cubicBezTo>
                      <a:pt x="192" y="183"/>
                      <a:pt x="193" y="184"/>
                      <a:pt x="193" y="184"/>
                    </a:cubicBezTo>
                    <a:cubicBezTo>
                      <a:pt x="193" y="185"/>
                      <a:pt x="191" y="185"/>
                      <a:pt x="190" y="186"/>
                    </a:cubicBezTo>
                    <a:cubicBezTo>
                      <a:pt x="190" y="186"/>
                      <a:pt x="190" y="186"/>
                      <a:pt x="190" y="187"/>
                    </a:cubicBezTo>
                    <a:cubicBezTo>
                      <a:pt x="189" y="187"/>
                      <a:pt x="188" y="187"/>
                      <a:pt x="187" y="187"/>
                    </a:cubicBezTo>
                    <a:cubicBezTo>
                      <a:pt x="187" y="187"/>
                      <a:pt x="184" y="186"/>
                      <a:pt x="184" y="186"/>
                    </a:cubicBezTo>
                    <a:cubicBezTo>
                      <a:pt x="184" y="187"/>
                      <a:pt x="186" y="188"/>
                      <a:pt x="187" y="189"/>
                    </a:cubicBezTo>
                    <a:cubicBezTo>
                      <a:pt x="188" y="189"/>
                      <a:pt x="188" y="190"/>
                      <a:pt x="189" y="190"/>
                    </a:cubicBezTo>
                    <a:cubicBezTo>
                      <a:pt x="188" y="191"/>
                      <a:pt x="190" y="191"/>
                      <a:pt x="191" y="191"/>
                    </a:cubicBezTo>
                    <a:cubicBezTo>
                      <a:pt x="192" y="192"/>
                      <a:pt x="194" y="192"/>
                      <a:pt x="196" y="192"/>
                    </a:cubicBezTo>
                    <a:cubicBezTo>
                      <a:pt x="196" y="191"/>
                      <a:pt x="196" y="191"/>
                      <a:pt x="196" y="191"/>
                    </a:cubicBezTo>
                    <a:cubicBezTo>
                      <a:pt x="196" y="192"/>
                      <a:pt x="196" y="193"/>
                      <a:pt x="195" y="193"/>
                    </a:cubicBezTo>
                    <a:cubicBezTo>
                      <a:pt x="195" y="193"/>
                      <a:pt x="194" y="193"/>
                      <a:pt x="194" y="194"/>
                    </a:cubicBezTo>
                    <a:cubicBezTo>
                      <a:pt x="194" y="195"/>
                      <a:pt x="207" y="197"/>
                      <a:pt x="208" y="197"/>
                    </a:cubicBezTo>
                    <a:cubicBezTo>
                      <a:pt x="208" y="197"/>
                      <a:pt x="207" y="197"/>
                      <a:pt x="208" y="196"/>
                    </a:cubicBezTo>
                    <a:cubicBezTo>
                      <a:pt x="208" y="196"/>
                      <a:pt x="211" y="197"/>
                      <a:pt x="212" y="197"/>
                    </a:cubicBezTo>
                    <a:cubicBezTo>
                      <a:pt x="211" y="198"/>
                      <a:pt x="211" y="198"/>
                      <a:pt x="211" y="199"/>
                    </a:cubicBezTo>
                    <a:cubicBezTo>
                      <a:pt x="210" y="199"/>
                      <a:pt x="210" y="199"/>
                      <a:pt x="210" y="199"/>
                    </a:cubicBezTo>
                    <a:cubicBezTo>
                      <a:pt x="211" y="201"/>
                      <a:pt x="212" y="200"/>
                      <a:pt x="213" y="200"/>
                    </a:cubicBezTo>
                    <a:cubicBezTo>
                      <a:pt x="213" y="202"/>
                      <a:pt x="213" y="202"/>
                      <a:pt x="215" y="203"/>
                    </a:cubicBezTo>
                    <a:cubicBezTo>
                      <a:pt x="219" y="205"/>
                      <a:pt x="223" y="206"/>
                      <a:pt x="227" y="207"/>
                    </a:cubicBezTo>
                    <a:cubicBezTo>
                      <a:pt x="227" y="206"/>
                      <a:pt x="227" y="206"/>
                      <a:pt x="227" y="206"/>
                    </a:cubicBezTo>
                    <a:cubicBezTo>
                      <a:pt x="227" y="206"/>
                      <a:pt x="227" y="207"/>
                      <a:pt x="228" y="207"/>
                    </a:cubicBezTo>
                    <a:cubicBezTo>
                      <a:pt x="231" y="208"/>
                      <a:pt x="235" y="209"/>
                      <a:pt x="239" y="210"/>
                    </a:cubicBezTo>
                    <a:cubicBezTo>
                      <a:pt x="241" y="211"/>
                      <a:pt x="242" y="211"/>
                      <a:pt x="244" y="212"/>
                    </a:cubicBezTo>
                    <a:cubicBezTo>
                      <a:pt x="245" y="212"/>
                      <a:pt x="246" y="211"/>
                      <a:pt x="247" y="211"/>
                    </a:cubicBezTo>
                    <a:cubicBezTo>
                      <a:pt x="247" y="211"/>
                      <a:pt x="246" y="210"/>
                      <a:pt x="245" y="209"/>
                    </a:cubicBezTo>
                    <a:cubicBezTo>
                      <a:pt x="245" y="209"/>
                      <a:pt x="245" y="208"/>
                      <a:pt x="245" y="208"/>
                    </a:cubicBezTo>
                    <a:cubicBezTo>
                      <a:pt x="245" y="208"/>
                      <a:pt x="246" y="209"/>
                      <a:pt x="246" y="208"/>
                    </a:cubicBezTo>
                    <a:cubicBezTo>
                      <a:pt x="247" y="208"/>
                      <a:pt x="246" y="207"/>
                      <a:pt x="247" y="206"/>
                    </a:cubicBezTo>
                    <a:cubicBezTo>
                      <a:pt x="246" y="205"/>
                      <a:pt x="245" y="206"/>
                      <a:pt x="244" y="205"/>
                    </a:cubicBezTo>
                    <a:cubicBezTo>
                      <a:pt x="244" y="205"/>
                      <a:pt x="245" y="205"/>
                      <a:pt x="245" y="205"/>
                    </a:cubicBezTo>
                    <a:cubicBezTo>
                      <a:pt x="243" y="203"/>
                      <a:pt x="243" y="205"/>
                      <a:pt x="242" y="204"/>
                    </a:cubicBezTo>
                    <a:cubicBezTo>
                      <a:pt x="242" y="204"/>
                      <a:pt x="243" y="204"/>
                      <a:pt x="243" y="203"/>
                    </a:cubicBezTo>
                    <a:cubicBezTo>
                      <a:pt x="243" y="203"/>
                      <a:pt x="242" y="203"/>
                      <a:pt x="242" y="203"/>
                    </a:cubicBezTo>
                    <a:cubicBezTo>
                      <a:pt x="241" y="202"/>
                      <a:pt x="241" y="201"/>
                      <a:pt x="241" y="201"/>
                    </a:cubicBezTo>
                    <a:cubicBezTo>
                      <a:pt x="241" y="200"/>
                      <a:pt x="240" y="200"/>
                      <a:pt x="240" y="200"/>
                    </a:cubicBezTo>
                    <a:cubicBezTo>
                      <a:pt x="239" y="200"/>
                      <a:pt x="239" y="199"/>
                      <a:pt x="239" y="199"/>
                    </a:cubicBezTo>
                    <a:cubicBezTo>
                      <a:pt x="237" y="198"/>
                      <a:pt x="236" y="200"/>
                      <a:pt x="236" y="198"/>
                    </a:cubicBezTo>
                    <a:cubicBezTo>
                      <a:pt x="236" y="197"/>
                      <a:pt x="235" y="197"/>
                      <a:pt x="235" y="197"/>
                    </a:cubicBezTo>
                    <a:cubicBezTo>
                      <a:pt x="234" y="196"/>
                      <a:pt x="234" y="197"/>
                      <a:pt x="234" y="196"/>
                    </a:cubicBezTo>
                    <a:cubicBezTo>
                      <a:pt x="234" y="196"/>
                      <a:pt x="233" y="196"/>
                      <a:pt x="233" y="196"/>
                    </a:cubicBezTo>
                    <a:cubicBezTo>
                      <a:pt x="234" y="196"/>
                      <a:pt x="234" y="195"/>
                      <a:pt x="233" y="194"/>
                    </a:cubicBezTo>
                    <a:cubicBezTo>
                      <a:pt x="233" y="194"/>
                      <a:pt x="232" y="195"/>
                      <a:pt x="232" y="195"/>
                    </a:cubicBezTo>
                    <a:cubicBezTo>
                      <a:pt x="232" y="194"/>
                      <a:pt x="232" y="194"/>
                      <a:pt x="232" y="194"/>
                    </a:cubicBezTo>
                    <a:cubicBezTo>
                      <a:pt x="231" y="194"/>
                      <a:pt x="230" y="195"/>
                      <a:pt x="230" y="195"/>
                    </a:cubicBezTo>
                    <a:cubicBezTo>
                      <a:pt x="230" y="194"/>
                      <a:pt x="231" y="194"/>
                      <a:pt x="231" y="194"/>
                    </a:cubicBezTo>
                    <a:cubicBezTo>
                      <a:pt x="230" y="193"/>
                      <a:pt x="230" y="193"/>
                      <a:pt x="229" y="194"/>
                    </a:cubicBezTo>
                    <a:cubicBezTo>
                      <a:pt x="229" y="194"/>
                      <a:pt x="229" y="194"/>
                      <a:pt x="229" y="194"/>
                    </a:cubicBezTo>
                    <a:cubicBezTo>
                      <a:pt x="229" y="194"/>
                      <a:pt x="228" y="194"/>
                      <a:pt x="229" y="194"/>
                    </a:cubicBezTo>
                    <a:cubicBezTo>
                      <a:pt x="229" y="193"/>
                      <a:pt x="230" y="193"/>
                      <a:pt x="230" y="193"/>
                    </a:cubicBezTo>
                    <a:cubicBezTo>
                      <a:pt x="230" y="192"/>
                      <a:pt x="228" y="192"/>
                      <a:pt x="228" y="192"/>
                    </a:cubicBezTo>
                    <a:cubicBezTo>
                      <a:pt x="227" y="192"/>
                      <a:pt x="227" y="194"/>
                      <a:pt x="226" y="191"/>
                    </a:cubicBezTo>
                    <a:cubicBezTo>
                      <a:pt x="226" y="191"/>
                      <a:pt x="226" y="191"/>
                      <a:pt x="226" y="191"/>
                    </a:cubicBezTo>
                    <a:cubicBezTo>
                      <a:pt x="226" y="191"/>
                      <a:pt x="225" y="191"/>
                      <a:pt x="225" y="191"/>
                    </a:cubicBezTo>
                    <a:cubicBezTo>
                      <a:pt x="224" y="191"/>
                      <a:pt x="224" y="190"/>
                      <a:pt x="223" y="189"/>
                    </a:cubicBezTo>
                    <a:cubicBezTo>
                      <a:pt x="223" y="188"/>
                      <a:pt x="221" y="187"/>
                      <a:pt x="220" y="186"/>
                    </a:cubicBezTo>
                    <a:cubicBezTo>
                      <a:pt x="219" y="185"/>
                      <a:pt x="219" y="185"/>
                      <a:pt x="218" y="184"/>
                    </a:cubicBezTo>
                    <a:cubicBezTo>
                      <a:pt x="218" y="184"/>
                      <a:pt x="217" y="183"/>
                      <a:pt x="217" y="182"/>
                    </a:cubicBezTo>
                    <a:cubicBezTo>
                      <a:pt x="217" y="182"/>
                      <a:pt x="216" y="182"/>
                      <a:pt x="216" y="182"/>
                    </a:cubicBezTo>
                    <a:cubicBezTo>
                      <a:pt x="217" y="181"/>
                      <a:pt x="218" y="181"/>
                      <a:pt x="218" y="182"/>
                    </a:cubicBezTo>
                    <a:cubicBezTo>
                      <a:pt x="219" y="180"/>
                      <a:pt x="220" y="179"/>
                      <a:pt x="221" y="179"/>
                    </a:cubicBezTo>
                    <a:cubicBezTo>
                      <a:pt x="223" y="179"/>
                      <a:pt x="224" y="180"/>
                      <a:pt x="224" y="182"/>
                    </a:cubicBezTo>
                    <a:cubicBezTo>
                      <a:pt x="224" y="182"/>
                      <a:pt x="224" y="183"/>
                      <a:pt x="224" y="183"/>
                    </a:cubicBezTo>
                    <a:cubicBezTo>
                      <a:pt x="224" y="183"/>
                      <a:pt x="224" y="183"/>
                      <a:pt x="224" y="183"/>
                    </a:cubicBezTo>
                    <a:cubicBezTo>
                      <a:pt x="224" y="183"/>
                      <a:pt x="224" y="184"/>
                      <a:pt x="224" y="184"/>
                    </a:cubicBezTo>
                    <a:cubicBezTo>
                      <a:pt x="224" y="184"/>
                      <a:pt x="224" y="184"/>
                      <a:pt x="225" y="184"/>
                    </a:cubicBezTo>
                    <a:cubicBezTo>
                      <a:pt x="225" y="184"/>
                      <a:pt x="226" y="185"/>
                      <a:pt x="226" y="185"/>
                    </a:cubicBezTo>
                    <a:cubicBezTo>
                      <a:pt x="226" y="185"/>
                      <a:pt x="226" y="185"/>
                      <a:pt x="226" y="185"/>
                    </a:cubicBezTo>
                    <a:cubicBezTo>
                      <a:pt x="226" y="185"/>
                      <a:pt x="226" y="185"/>
                      <a:pt x="227" y="185"/>
                    </a:cubicBezTo>
                    <a:cubicBezTo>
                      <a:pt x="227" y="186"/>
                      <a:pt x="228" y="187"/>
                      <a:pt x="228" y="187"/>
                    </a:cubicBezTo>
                    <a:cubicBezTo>
                      <a:pt x="229" y="188"/>
                      <a:pt x="230" y="188"/>
                      <a:pt x="229" y="186"/>
                    </a:cubicBezTo>
                    <a:cubicBezTo>
                      <a:pt x="229" y="185"/>
                      <a:pt x="228" y="185"/>
                      <a:pt x="228" y="184"/>
                    </a:cubicBezTo>
                    <a:cubicBezTo>
                      <a:pt x="228" y="184"/>
                      <a:pt x="227" y="182"/>
                      <a:pt x="227" y="182"/>
                    </a:cubicBezTo>
                    <a:cubicBezTo>
                      <a:pt x="227" y="182"/>
                      <a:pt x="227" y="181"/>
                      <a:pt x="227" y="181"/>
                    </a:cubicBezTo>
                    <a:cubicBezTo>
                      <a:pt x="228" y="182"/>
                      <a:pt x="228" y="183"/>
                      <a:pt x="229" y="183"/>
                    </a:cubicBezTo>
                    <a:cubicBezTo>
                      <a:pt x="229" y="183"/>
                      <a:pt x="229" y="183"/>
                      <a:pt x="230" y="183"/>
                    </a:cubicBezTo>
                    <a:cubicBezTo>
                      <a:pt x="230" y="183"/>
                      <a:pt x="230" y="184"/>
                      <a:pt x="230" y="184"/>
                    </a:cubicBezTo>
                    <a:cubicBezTo>
                      <a:pt x="230" y="185"/>
                      <a:pt x="231" y="185"/>
                      <a:pt x="231" y="186"/>
                    </a:cubicBezTo>
                    <a:cubicBezTo>
                      <a:pt x="231" y="186"/>
                      <a:pt x="232" y="187"/>
                      <a:pt x="233" y="187"/>
                    </a:cubicBezTo>
                    <a:cubicBezTo>
                      <a:pt x="233" y="188"/>
                      <a:pt x="235" y="189"/>
                      <a:pt x="236" y="189"/>
                    </a:cubicBezTo>
                    <a:cubicBezTo>
                      <a:pt x="237" y="189"/>
                      <a:pt x="237" y="189"/>
                      <a:pt x="237" y="189"/>
                    </a:cubicBezTo>
                    <a:cubicBezTo>
                      <a:pt x="237" y="189"/>
                      <a:pt x="237" y="190"/>
                      <a:pt x="237" y="190"/>
                    </a:cubicBezTo>
                    <a:cubicBezTo>
                      <a:pt x="237" y="190"/>
                      <a:pt x="237" y="190"/>
                      <a:pt x="237" y="190"/>
                    </a:cubicBezTo>
                    <a:cubicBezTo>
                      <a:pt x="238" y="191"/>
                      <a:pt x="238" y="192"/>
                      <a:pt x="239" y="190"/>
                    </a:cubicBezTo>
                    <a:cubicBezTo>
                      <a:pt x="239" y="191"/>
                      <a:pt x="239" y="192"/>
                      <a:pt x="239" y="192"/>
                    </a:cubicBezTo>
                    <a:cubicBezTo>
                      <a:pt x="240" y="193"/>
                      <a:pt x="240" y="193"/>
                      <a:pt x="241" y="194"/>
                    </a:cubicBezTo>
                    <a:cubicBezTo>
                      <a:pt x="241" y="193"/>
                      <a:pt x="240" y="193"/>
                      <a:pt x="240" y="192"/>
                    </a:cubicBezTo>
                    <a:cubicBezTo>
                      <a:pt x="242" y="193"/>
                      <a:pt x="240" y="190"/>
                      <a:pt x="239" y="189"/>
                    </a:cubicBezTo>
                    <a:cubicBezTo>
                      <a:pt x="242" y="190"/>
                      <a:pt x="241" y="192"/>
                      <a:pt x="243" y="194"/>
                    </a:cubicBezTo>
                    <a:cubicBezTo>
                      <a:pt x="243" y="194"/>
                      <a:pt x="244" y="194"/>
                      <a:pt x="245" y="194"/>
                    </a:cubicBezTo>
                    <a:cubicBezTo>
                      <a:pt x="245" y="194"/>
                      <a:pt x="245" y="195"/>
                      <a:pt x="245" y="194"/>
                    </a:cubicBezTo>
                    <a:cubicBezTo>
                      <a:pt x="245" y="193"/>
                      <a:pt x="244" y="192"/>
                      <a:pt x="244" y="192"/>
                    </a:cubicBezTo>
                    <a:cubicBezTo>
                      <a:pt x="245" y="192"/>
                      <a:pt x="245" y="192"/>
                      <a:pt x="245" y="193"/>
                    </a:cubicBezTo>
                    <a:cubicBezTo>
                      <a:pt x="245" y="192"/>
                      <a:pt x="246" y="193"/>
                      <a:pt x="246" y="193"/>
                    </a:cubicBezTo>
                    <a:cubicBezTo>
                      <a:pt x="246" y="193"/>
                      <a:pt x="246" y="193"/>
                      <a:pt x="246" y="193"/>
                    </a:cubicBezTo>
                    <a:cubicBezTo>
                      <a:pt x="247" y="193"/>
                      <a:pt x="246" y="194"/>
                      <a:pt x="247" y="194"/>
                    </a:cubicBezTo>
                    <a:cubicBezTo>
                      <a:pt x="247" y="194"/>
                      <a:pt x="248" y="193"/>
                      <a:pt x="248" y="193"/>
                    </a:cubicBezTo>
                    <a:cubicBezTo>
                      <a:pt x="248" y="193"/>
                      <a:pt x="247" y="194"/>
                      <a:pt x="247" y="194"/>
                    </a:cubicBezTo>
                    <a:cubicBezTo>
                      <a:pt x="247" y="195"/>
                      <a:pt x="248" y="195"/>
                      <a:pt x="248" y="195"/>
                    </a:cubicBezTo>
                    <a:cubicBezTo>
                      <a:pt x="249" y="196"/>
                      <a:pt x="249" y="195"/>
                      <a:pt x="250" y="194"/>
                    </a:cubicBezTo>
                    <a:cubicBezTo>
                      <a:pt x="249" y="196"/>
                      <a:pt x="252" y="198"/>
                      <a:pt x="254" y="196"/>
                    </a:cubicBezTo>
                    <a:cubicBezTo>
                      <a:pt x="254" y="196"/>
                      <a:pt x="254" y="196"/>
                      <a:pt x="254" y="196"/>
                    </a:cubicBezTo>
                    <a:cubicBezTo>
                      <a:pt x="253" y="196"/>
                      <a:pt x="253" y="197"/>
                      <a:pt x="254" y="197"/>
                    </a:cubicBezTo>
                    <a:cubicBezTo>
                      <a:pt x="254" y="197"/>
                      <a:pt x="253" y="200"/>
                      <a:pt x="254" y="198"/>
                    </a:cubicBezTo>
                    <a:cubicBezTo>
                      <a:pt x="254" y="199"/>
                      <a:pt x="254" y="200"/>
                      <a:pt x="255" y="201"/>
                    </a:cubicBezTo>
                    <a:cubicBezTo>
                      <a:pt x="256" y="201"/>
                      <a:pt x="257" y="200"/>
                      <a:pt x="258" y="199"/>
                    </a:cubicBezTo>
                    <a:cubicBezTo>
                      <a:pt x="257" y="198"/>
                      <a:pt x="256" y="197"/>
                      <a:pt x="255" y="196"/>
                    </a:cubicBezTo>
                    <a:cubicBezTo>
                      <a:pt x="255" y="195"/>
                      <a:pt x="255" y="194"/>
                      <a:pt x="254" y="194"/>
                    </a:cubicBezTo>
                    <a:cubicBezTo>
                      <a:pt x="255" y="194"/>
                      <a:pt x="255" y="194"/>
                      <a:pt x="256" y="195"/>
                    </a:cubicBezTo>
                    <a:cubicBezTo>
                      <a:pt x="256" y="194"/>
                      <a:pt x="256" y="194"/>
                      <a:pt x="256" y="194"/>
                    </a:cubicBezTo>
                    <a:cubicBezTo>
                      <a:pt x="256" y="195"/>
                      <a:pt x="257" y="195"/>
                      <a:pt x="258" y="195"/>
                    </a:cubicBezTo>
                    <a:cubicBezTo>
                      <a:pt x="259" y="196"/>
                      <a:pt x="260" y="195"/>
                      <a:pt x="261" y="195"/>
                    </a:cubicBezTo>
                    <a:cubicBezTo>
                      <a:pt x="260" y="195"/>
                      <a:pt x="259" y="194"/>
                      <a:pt x="259" y="194"/>
                    </a:cubicBezTo>
                    <a:cubicBezTo>
                      <a:pt x="259" y="193"/>
                      <a:pt x="260" y="192"/>
                      <a:pt x="259" y="192"/>
                    </a:cubicBezTo>
                    <a:cubicBezTo>
                      <a:pt x="259" y="191"/>
                      <a:pt x="258" y="191"/>
                      <a:pt x="257" y="191"/>
                    </a:cubicBezTo>
                    <a:cubicBezTo>
                      <a:pt x="257" y="191"/>
                      <a:pt x="255" y="190"/>
                      <a:pt x="257" y="190"/>
                    </a:cubicBezTo>
                    <a:cubicBezTo>
                      <a:pt x="256" y="190"/>
                      <a:pt x="256" y="190"/>
                      <a:pt x="256" y="189"/>
                    </a:cubicBezTo>
                    <a:cubicBezTo>
                      <a:pt x="256" y="189"/>
                      <a:pt x="257" y="190"/>
                      <a:pt x="257" y="189"/>
                    </a:cubicBezTo>
                    <a:cubicBezTo>
                      <a:pt x="257" y="190"/>
                      <a:pt x="258" y="190"/>
                      <a:pt x="258" y="189"/>
                    </a:cubicBezTo>
                    <a:cubicBezTo>
                      <a:pt x="257" y="189"/>
                      <a:pt x="256" y="187"/>
                      <a:pt x="256" y="187"/>
                    </a:cubicBezTo>
                    <a:cubicBezTo>
                      <a:pt x="256" y="186"/>
                      <a:pt x="257" y="186"/>
                      <a:pt x="256" y="186"/>
                    </a:cubicBezTo>
                    <a:cubicBezTo>
                      <a:pt x="256" y="185"/>
                      <a:pt x="256" y="185"/>
                      <a:pt x="256" y="185"/>
                    </a:cubicBezTo>
                    <a:cubicBezTo>
                      <a:pt x="256" y="184"/>
                      <a:pt x="257" y="184"/>
                      <a:pt x="257" y="184"/>
                    </a:cubicBezTo>
                    <a:cubicBezTo>
                      <a:pt x="257" y="184"/>
                      <a:pt x="257" y="184"/>
                      <a:pt x="256" y="183"/>
                    </a:cubicBezTo>
                    <a:cubicBezTo>
                      <a:pt x="256" y="182"/>
                      <a:pt x="255" y="181"/>
                      <a:pt x="254" y="181"/>
                    </a:cubicBezTo>
                    <a:cubicBezTo>
                      <a:pt x="256" y="180"/>
                      <a:pt x="256" y="182"/>
                      <a:pt x="257" y="183"/>
                    </a:cubicBezTo>
                    <a:cubicBezTo>
                      <a:pt x="257" y="183"/>
                      <a:pt x="257" y="183"/>
                      <a:pt x="258" y="184"/>
                    </a:cubicBezTo>
                    <a:cubicBezTo>
                      <a:pt x="258" y="184"/>
                      <a:pt x="258" y="185"/>
                      <a:pt x="259" y="185"/>
                    </a:cubicBezTo>
                    <a:cubicBezTo>
                      <a:pt x="259" y="186"/>
                      <a:pt x="259" y="189"/>
                      <a:pt x="260" y="189"/>
                    </a:cubicBezTo>
                    <a:cubicBezTo>
                      <a:pt x="261" y="190"/>
                      <a:pt x="262" y="190"/>
                      <a:pt x="262" y="189"/>
                    </a:cubicBezTo>
                    <a:cubicBezTo>
                      <a:pt x="262" y="189"/>
                      <a:pt x="262" y="189"/>
                      <a:pt x="261" y="188"/>
                    </a:cubicBezTo>
                    <a:cubicBezTo>
                      <a:pt x="263" y="189"/>
                      <a:pt x="262" y="186"/>
                      <a:pt x="262" y="185"/>
                    </a:cubicBezTo>
                    <a:cubicBezTo>
                      <a:pt x="262" y="183"/>
                      <a:pt x="262" y="183"/>
                      <a:pt x="260" y="182"/>
                    </a:cubicBezTo>
                    <a:cubicBezTo>
                      <a:pt x="259" y="181"/>
                      <a:pt x="256" y="181"/>
                      <a:pt x="258" y="179"/>
                    </a:cubicBezTo>
                    <a:cubicBezTo>
                      <a:pt x="259" y="179"/>
                      <a:pt x="260" y="178"/>
                      <a:pt x="261" y="178"/>
                    </a:cubicBezTo>
                    <a:cubicBezTo>
                      <a:pt x="260" y="177"/>
                      <a:pt x="259" y="177"/>
                      <a:pt x="258" y="177"/>
                    </a:cubicBezTo>
                    <a:cubicBezTo>
                      <a:pt x="258" y="177"/>
                      <a:pt x="258" y="178"/>
                      <a:pt x="258" y="178"/>
                    </a:cubicBezTo>
                    <a:cubicBezTo>
                      <a:pt x="258" y="178"/>
                      <a:pt x="256" y="177"/>
                      <a:pt x="256" y="177"/>
                    </a:cubicBezTo>
                    <a:cubicBezTo>
                      <a:pt x="256" y="177"/>
                      <a:pt x="255" y="177"/>
                      <a:pt x="255" y="177"/>
                    </a:cubicBezTo>
                    <a:cubicBezTo>
                      <a:pt x="255" y="177"/>
                      <a:pt x="256" y="177"/>
                      <a:pt x="256" y="176"/>
                    </a:cubicBezTo>
                    <a:cubicBezTo>
                      <a:pt x="255" y="176"/>
                      <a:pt x="255" y="175"/>
                      <a:pt x="254" y="175"/>
                    </a:cubicBezTo>
                    <a:cubicBezTo>
                      <a:pt x="254" y="174"/>
                      <a:pt x="254" y="175"/>
                      <a:pt x="253" y="175"/>
                    </a:cubicBezTo>
                    <a:cubicBezTo>
                      <a:pt x="253" y="175"/>
                      <a:pt x="254" y="174"/>
                      <a:pt x="254" y="174"/>
                    </a:cubicBezTo>
                    <a:cubicBezTo>
                      <a:pt x="253" y="173"/>
                      <a:pt x="253" y="174"/>
                      <a:pt x="251" y="173"/>
                    </a:cubicBezTo>
                    <a:cubicBezTo>
                      <a:pt x="252" y="173"/>
                      <a:pt x="252" y="173"/>
                      <a:pt x="253" y="173"/>
                    </a:cubicBezTo>
                    <a:cubicBezTo>
                      <a:pt x="252" y="172"/>
                      <a:pt x="251" y="173"/>
                      <a:pt x="250" y="172"/>
                    </a:cubicBezTo>
                    <a:cubicBezTo>
                      <a:pt x="252" y="172"/>
                      <a:pt x="254" y="173"/>
                      <a:pt x="255" y="172"/>
                    </a:cubicBezTo>
                    <a:cubicBezTo>
                      <a:pt x="255" y="172"/>
                      <a:pt x="255" y="171"/>
                      <a:pt x="255" y="171"/>
                    </a:cubicBezTo>
                    <a:cubicBezTo>
                      <a:pt x="255" y="171"/>
                      <a:pt x="256" y="171"/>
                      <a:pt x="256" y="171"/>
                    </a:cubicBezTo>
                    <a:cubicBezTo>
                      <a:pt x="256" y="169"/>
                      <a:pt x="255" y="170"/>
                      <a:pt x="254" y="169"/>
                    </a:cubicBezTo>
                    <a:cubicBezTo>
                      <a:pt x="254" y="170"/>
                      <a:pt x="254" y="170"/>
                      <a:pt x="254" y="170"/>
                    </a:cubicBezTo>
                    <a:cubicBezTo>
                      <a:pt x="254" y="170"/>
                      <a:pt x="253" y="170"/>
                      <a:pt x="253" y="170"/>
                    </a:cubicBezTo>
                    <a:cubicBezTo>
                      <a:pt x="253" y="170"/>
                      <a:pt x="252" y="169"/>
                      <a:pt x="252" y="169"/>
                    </a:cubicBezTo>
                    <a:cubicBezTo>
                      <a:pt x="251" y="169"/>
                      <a:pt x="250" y="170"/>
                      <a:pt x="250" y="169"/>
                    </a:cubicBezTo>
                    <a:cubicBezTo>
                      <a:pt x="249" y="169"/>
                      <a:pt x="251" y="167"/>
                      <a:pt x="251" y="167"/>
                    </a:cubicBezTo>
                    <a:cubicBezTo>
                      <a:pt x="252" y="165"/>
                      <a:pt x="249" y="165"/>
                      <a:pt x="250" y="166"/>
                    </a:cubicBezTo>
                    <a:cubicBezTo>
                      <a:pt x="249" y="165"/>
                      <a:pt x="250" y="165"/>
                      <a:pt x="250" y="164"/>
                    </a:cubicBezTo>
                    <a:cubicBezTo>
                      <a:pt x="250" y="164"/>
                      <a:pt x="249" y="164"/>
                      <a:pt x="249" y="164"/>
                    </a:cubicBezTo>
                    <a:cubicBezTo>
                      <a:pt x="249" y="164"/>
                      <a:pt x="249" y="163"/>
                      <a:pt x="248" y="163"/>
                    </a:cubicBezTo>
                    <a:cubicBezTo>
                      <a:pt x="248" y="164"/>
                      <a:pt x="248" y="162"/>
                      <a:pt x="247" y="163"/>
                    </a:cubicBezTo>
                    <a:cubicBezTo>
                      <a:pt x="247" y="164"/>
                      <a:pt x="248" y="166"/>
                      <a:pt x="248" y="167"/>
                    </a:cubicBezTo>
                    <a:cubicBezTo>
                      <a:pt x="248" y="166"/>
                      <a:pt x="247" y="166"/>
                      <a:pt x="247" y="165"/>
                    </a:cubicBezTo>
                    <a:cubicBezTo>
                      <a:pt x="247" y="167"/>
                      <a:pt x="246" y="165"/>
                      <a:pt x="246" y="165"/>
                    </a:cubicBezTo>
                    <a:cubicBezTo>
                      <a:pt x="245" y="165"/>
                      <a:pt x="245" y="166"/>
                      <a:pt x="245" y="166"/>
                    </a:cubicBezTo>
                    <a:cubicBezTo>
                      <a:pt x="244" y="167"/>
                      <a:pt x="244" y="165"/>
                      <a:pt x="243" y="165"/>
                    </a:cubicBezTo>
                    <a:cubicBezTo>
                      <a:pt x="244" y="165"/>
                      <a:pt x="245" y="165"/>
                      <a:pt x="245" y="163"/>
                    </a:cubicBezTo>
                    <a:cubicBezTo>
                      <a:pt x="245" y="162"/>
                      <a:pt x="244" y="163"/>
                      <a:pt x="244" y="163"/>
                    </a:cubicBezTo>
                    <a:cubicBezTo>
                      <a:pt x="243" y="163"/>
                      <a:pt x="244" y="162"/>
                      <a:pt x="243" y="162"/>
                    </a:cubicBezTo>
                    <a:cubicBezTo>
                      <a:pt x="243" y="162"/>
                      <a:pt x="243" y="162"/>
                      <a:pt x="243" y="162"/>
                    </a:cubicBezTo>
                    <a:cubicBezTo>
                      <a:pt x="242" y="162"/>
                      <a:pt x="242" y="162"/>
                      <a:pt x="241" y="162"/>
                    </a:cubicBezTo>
                    <a:cubicBezTo>
                      <a:pt x="241" y="161"/>
                      <a:pt x="240" y="160"/>
                      <a:pt x="240" y="160"/>
                    </a:cubicBezTo>
                    <a:cubicBezTo>
                      <a:pt x="240" y="160"/>
                      <a:pt x="240" y="163"/>
                      <a:pt x="240" y="163"/>
                    </a:cubicBezTo>
                    <a:cubicBezTo>
                      <a:pt x="240" y="164"/>
                      <a:pt x="240" y="165"/>
                      <a:pt x="239" y="164"/>
                    </a:cubicBezTo>
                    <a:cubicBezTo>
                      <a:pt x="239" y="163"/>
                      <a:pt x="238" y="161"/>
                      <a:pt x="237" y="160"/>
                    </a:cubicBezTo>
                    <a:cubicBezTo>
                      <a:pt x="238" y="160"/>
                      <a:pt x="240" y="159"/>
                      <a:pt x="239" y="158"/>
                    </a:cubicBezTo>
                    <a:cubicBezTo>
                      <a:pt x="239" y="158"/>
                      <a:pt x="238" y="159"/>
                      <a:pt x="238" y="160"/>
                    </a:cubicBezTo>
                    <a:cubicBezTo>
                      <a:pt x="237" y="160"/>
                      <a:pt x="237" y="159"/>
                      <a:pt x="237" y="159"/>
                    </a:cubicBezTo>
                    <a:cubicBezTo>
                      <a:pt x="236" y="160"/>
                      <a:pt x="236" y="160"/>
                      <a:pt x="236" y="160"/>
                    </a:cubicBezTo>
                    <a:cubicBezTo>
                      <a:pt x="236" y="159"/>
                      <a:pt x="237" y="160"/>
                      <a:pt x="237" y="159"/>
                    </a:cubicBezTo>
                    <a:cubicBezTo>
                      <a:pt x="237" y="157"/>
                      <a:pt x="236" y="158"/>
                      <a:pt x="236" y="157"/>
                    </a:cubicBezTo>
                    <a:cubicBezTo>
                      <a:pt x="236" y="157"/>
                      <a:pt x="235" y="157"/>
                      <a:pt x="235" y="157"/>
                    </a:cubicBezTo>
                    <a:cubicBezTo>
                      <a:pt x="235" y="156"/>
                      <a:pt x="235" y="155"/>
                      <a:pt x="234" y="155"/>
                    </a:cubicBezTo>
                    <a:cubicBezTo>
                      <a:pt x="234" y="155"/>
                      <a:pt x="234" y="155"/>
                      <a:pt x="234" y="155"/>
                    </a:cubicBezTo>
                    <a:cubicBezTo>
                      <a:pt x="235" y="155"/>
                      <a:pt x="236" y="155"/>
                      <a:pt x="236" y="154"/>
                    </a:cubicBezTo>
                    <a:cubicBezTo>
                      <a:pt x="235" y="153"/>
                      <a:pt x="235" y="153"/>
                      <a:pt x="234" y="153"/>
                    </a:cubicBezTo>
                    <a:cubicBezTo>
                      <a:pt x="233" y="153"/>
                      <a:pt x="233" y="154"/>
                      <a:pt x="232" y="153"/>
                    </a:cubicBezTo>
                    <a:cubicBezTo>
                      <a:pt x="232" y="152"/>
                      <a:pt x="232" y="152"/>
                      <a:pt x="232" y="151"/>
                    </a:cubicBezTo>
                    <a:cubicBezTo>
                      <a:pt x="233" y="151"/>
                      <a:pt x="233" y="150"/>
                      <a:pt x="233" y="150"/>
                    </a:cubicBezTo>
                    <a:cubicBezTo>
                      <a:pt x="232" y="149"/>
                      <a:pt x="231" y="150"/>
                      <a:pt x="231" y="150"/>
                    </a:cubicBezTo>
                    <a:cubicBezTo>
                      <a:pt x="230" y="150"/>
                      <a:pt x="230" y="150"/>
                      <a:pt x="229" y="151"/>
                    </a:cubicBezTo>
                    <a:cubicBezTo>
                      <a:pt x="228" y="151"/>
                      <a:pt x="228" y="151"/>
                      <a:pt x="227" y="152"/>
                    </a:cubicBezTo>
                    <a:cubicBezTo>
                      <a:pt x="227" y="152"/>
                      <a:pt x="226" y="152"/>
                      <a:pt x="226" y="153"/>
                    </a:cubicBezTo>
                    <a:cubicBezTo>
                      <a:pt x="226" y="153"/>
                      <a:pt x="226" y="153"/>
                      <a:pt x="226" y="153"/>
                    </a:cubicBezTo>
                    <a:cubicBezTo>
                      <a:pt x="226" y="153"/>
                      <a:pt x="226" y="153"/>
                      <a:pt x="226" y="153"/>
                    </a:cubicBezTo>
                    <a:cubicBezTo>
                      <a:pt x="226" y="151"/>
                      <a:pt x="226" y="150"/>
                      <a:pt x="226" y="148"/>
                    </a:cubicBezTo>
                    <a:cubicBezTo>
                      <a:pt x="226" y="148"/>
                      <a:pt x="225" y="148"/>
                      <a:pt x="224" y="148"/>
                    </a:cubicBezTo>
                    <a:cubicBezTo>
                      <a:pt x="224" y="147"/>
                      <a:pt x="225" y="146"/>
                      <a:pt x="225" y="145"/>
                    </a:cubicBezTo>
                    <a:cubicBezTo>
                      <a:pt x="225" y="145"/>
                      <a:pt x="224" y="146"/>
                      <a:pt x="224" y="146"/>
                    </a:cubicBezTo>
                    <a:cubicBezTo>
                      <a:pt x="223" y="145"/>
                      <a:pt x="223" y="146"/>
                      <a:pt x="223" y="146"/>
                    </a:cubicBezTo>
                    <a:cubicBezTo>
                      <a:pt x="223" y="145"/>
                      <a:pt x="223" y="144"/>
                      <a:pt x="223" y="144"/>
                    </a:cubicBezTo>
                    <a:cubicBezTo>
                      <a:pt x="223" y="144"/>
                      <a:pt x="224" y="145"/>
                      <a:pt x="225" y="145"/>
                    </a:cubicBezTo>
                    <a:cubicBezTo>
                      <a:pt x="226" y="144"/>
                      <a:pt x="226" y="143"/>
                      <a:pt x="225" y="143"/>
                    </a:cubicBezTo>
                    <a:cubicBezTo>
                      <a:pt x="225" y="142"/>
                      <a:pt x="225" y="142"/>
                      <a:pt x="224" y="142"/>
                    </a:cubicBezTo>
                    <a:cubicBezTo>
                      <a:pt x="225" y="142"/>
                      <a:pt x="226" y="142"/>
                      <a:pt x="226" y="143"/>
                    </a:cubicBezTo>
                    <a:cubicBezTo>
                      <a:pt x="226" y="143"/>
                      <a:pt x="226" y="142"/>
                      <a:pt x="226" y="142"/>
                    </a:cubicBezTo>
                    <a:cubicBezTo>
                      <a:pt x="226" y="143"/>
                      <a:pt x="227" y="143"/>
                      <a:pt x="227" y="143"/>
                    </a:cubicBezTo>
                    <a:cubicBezTo>
                      <a:pt x="226" y="143"/>
                      <a:pt x="226" y="143"/>
                      <a:pt x="226" y="143"/>
                    </a:cubicBezTo>
                    <a:cubicBezTo>
                      <a:pt x="226" y="144"/>
                      <a:pt x="226" y="144"/>
                      <a:pt x="226" y="144"/>
                    </a:cubicBezTo>
                    <a:cubicBezTo>
                      <a:pt x="226" y="145"/>
                      <a:pt x="227" y="145"/>
                      <a:pt x="227" y="146"/>
                    </a:cubicBezTo>
                    <a:cubicBezTo>
                      <a:pt x="229" y="147"/>
                      <a:pt x="232" y="145"/>
                      <a:pt x="234" y="146"/>
                    </a:cubicBezTo>
                    <a:cubicBezTo>
                      <a:pt x="234" y="145"/>
                      <a:pt x="234" y="145"/>
                      <a:pt x="233" y="144"/>
                    </a:cubicBezTo>
                    <a:cubicBezTo>
                      <a:pt x="233" y="144"/>
                      <a:pt x="234" y="144"/>
                      <a:pt x="234" y="143"/>
                    </a:cubicBezTo>
                    <a:cubicBezTo>
                      <a:pt x="234" y="142"/>
                      <a:pt x="233" y="142"/>
                      <a:pt x="232" y="142"/>
                    </a:cubicBezTo>
                    <a:cubicBezTo>
                      <a:pt x="232" y="142"/>
                      <a:pt x="232" y="141"/>
                      <a:pt x="231" y="141"/>
                    </a:cubicBezTo>
                    <a:cubicBezTo>
                      <a:pt x="231" y="141"/>
                      <a:pt x="230" y="141"/>
                      <a:pt x="230" y="140"/>
                    </a:cubicBezTo>
                    <a:cubicBezTo>
                      <a:pt x="230" y="140"/>
                      <a:pt x="229" y="140"/>
                      <a:pt x="229" y="140"/>
                    </a:cubicBezTo>
                    <a:cubicBezTo>
                      <a:pt x="229" y="140"/>
                      <a:pt x="229" y="140"/>
                      <a:pt x="229" y="140"/>
                    </a:cubicBezTo>
                    <a:cubicBezTo>
                      <a:pt x="229" y="139"/>
                      <a:pt x="229" y="139"/>
                      <a:pt x="229" y="138"/>
                    </a:cubicBezTo>
                    <a:cubicBezTo>
                      <a:pt x="228" y="137"/>
                      <a:pt x="227" y="136"/>
                      <a:pt x="226" y="136"/>
                    </a:cubicBezTo>
                    <a:cubicBezTo>
                      <a:pt x="228" y="136"/>
                      <a:pt x="229" y="137"/>
                      <a:pt x="230" y="138"/>
                    </a:cubicBezTo>
                    <a:cubicBezTo>
                      <a:pt x="231" y="138"/>
                      <a:pt x="233" y="140"/>
                      <a:pt x="233" y="139"/>
                    </a:cubicBezTo>
                    <a:cubicBezTo>
                      <a:pt x="234" y="139"/>
                      <a:pt x="233" y="138"/>
                      <a:pt x="233" y="137"/>
                    </a:cubicBezTo>
                    <a:cubicBezTo>
                      <a:pt x="233" y="137"/>
                      <a:pt x="234" y="137"/>
                      <a:pt x="235" y="137"/>
                    </a:cubicBezTo>
                    <a:cubicBezTo>
                      <a:pt x="234" y="136"/>
                      <a:pt x="234" y="136"/>
                      <a:pt x="233" y="135"/>
                    </a:cubicBezTo>
                    <a:cubicBezTo>
                      <a:pt x="233" y="135"/>
                      <a:pt x="229" y="135"/>
                      <a:pt x="229" y="134"/>
                    </a:cubicBezTo>
                    <a:cubicBezTo>
                      <a:pt x="229" y="135"/>
                      <a:pt x="231" y="134"/>
                      <a:pt x="231" y="134"/>
                    </a:cubicBezTo>
                    <a:cubicBezTo>
                      <a:pt x="232" y="134"/>
                      <a:pt x="234" y="134"/>
                      <a:pt x="235" y="135"/>
                    </a:cubicBezTo>
                    <a:cubicBezTo>
                      <a:pt x="236" y="135"/>
                      <a:pt x="238" y="135"/>
                      <a:pt x="238" y="134"/>
                    </a:cubicBezTo>
                    <a:cubicBezTo>
                      <a:pt x="237" y="134"/>
                      <a:pt x="236" y="134"/>
                      <a:pt x="236" y="133"/>
                    </a:cubicBezTo>
                    <a:cubicBezTo>
                      <a:pt x="237" y="133"/>
                      <a:pt x="238" y="134"/>
                      <a:pt x="239" y="134"/>
                    </a:cubicBezTo>
                    <a:cubicBezTo>
                      <a:pt x="238" y="135"/>
                      <a:pt x="238" y="135"/>
                      <a:pt x="238" y="137"/>
                    </a:cubicBezTo>
                    <a:cubicBezTo>
                      <a:pt x="239" y="138"/>
                      <a:pt x="240" y="137"/>
                      <a:pt x="242" y="137"/>
                    </a:cubicBezTo>
                    <a:cubicBezTo>
                      <a:pt x="241" y="138"/>
                      <a:pt x="241" y="138"/>
                      <a:pt x="243" y="140"/>
                    </a:cubicBezTo>
                    <a:cubicBezTo>
                      <a:pt x="243" y="140"/>
                      <a:pt x="244" y="140"/>
                      <a:pt x="245" y="139"/>
                    </a:cubicBezTo>
                    <a:cubicBezTo>
                      <a:pt x="245" y="140"/>
                      <a:pt x="244" y="140"/>
                      <a:pt x="244" y="140"/>
                    </a:cubicBezTo>
                    <a:cubicBezTo>
                      <a:pt x="246" y="142"/>
                      <a:pt x="247" y="143"/>
                      <a:pt x="249" y="141"/>
                    </a:cubicBezTo>
                    <a:cubicBezTo>
                      <a:pt x="250" y="141"/>
                      <a:pt x="251" y="140"/>
                      <a:pt x="251" y="139"/>
                    </a:cubicBezTo>
                    <a:cubicBezTo>
                      <a:pt x="251" y="139"/>
                      <a:pt x="251" y="139"/>
                      <a:pt x="251" y="139"/>
                    </a:cubicBezTo>
                    <a:cubicBezTo>
                      <a:pt x="251" y="139"/>
                      <a:pt x="251" y="139"/>
                      <a:pt x="251" y="139"/>
                    </a:cubicBezTo>
                    <a:cubicBezTo>
                      <a:pt x="251" y="139"/>
                      <a:pt x="251" y="139"/>
                      <a:pt x="251" y="139"/>
                    </a:cubicBezTo>
                    <a:cubicBezTo>
                      <a:pt x="252" y="138"/>
                      <a:pt x="252" y="138"/>
                      <a:pt x="252" y="138"/>
                    </a:cubicBezTo>
                    <a:cubicBezTo>
                      <a:pt x="252" y="138"/>
                      <a:pt x="252" y="138"/>
                      <a:pt x="252" y="138"/>
                    </a:cubicBezTo>
                    <a:cubicBezTo>
                      <a:pt x="252" y="138"/>
                      <a:pt x="251" y="139"/>
                      <a:pt x="252" y="138"/>
                    </a:cubicBezTo>
                    <a:cubicBezTo>
                      <a:pt x="252" y="138"/>
                      <a:pt x="252" y="138"/>
                      <a:pt x="252" y="138"/>
                    </a:cubicBezTo>
                    <a:cubicBezTo>
                      <a:pt x="252" y="139"/>
                      <a:pt x="251" y="139"/>
                      <a:pt x="251" y="139"/>
                    </a:cubicBezTo>
                    <a:cubicBezTo>
                      <a:pt x="251" y="139"/>
                      <a:pt x="251" y="139"/>
                      <a:pt x="251" y="139"/>
                    </a:cubicBezTo>
                    <a:cubicBezTo>
                      <a:pt x="251" y="139"/>
                      <a:pt x="250" y="141"/>
                      <a:pt x="250" y="141"/>
                    </a:cubicBezTo>
                    <a:cubicBezTo>
                      <a:pt x="250" y="141"/>
                      <a:pt x="250" y="141"/>
                      <a:pt x="250" y="141"/>
                    </a:cubicBezTo>
                    <a:cubicBezTo>
                      <a:pt x="249" y="142"/>
                      <a:pt x="248" y="143"/>
                      <a:pt x="247" y="144"/>
                    </a:cubicBezTo>
                    <a:cubicBezTo>
                      <a:pt x="249" y="144"/>
                      <a:pt x="252" y="143"/>
                      <a:pt x="254" y="142"/>
                    </a:cubicBezTo>
                    <a:cubicBezTo>
                      <a:pt x="255" y="142"/>
                      <a:pt x="258" y="141"/>
                      <a:pt x="259" y="141"/>
                    </a:cubicBezTo>
                    <a:cubicBezTo>
                      <a:pt x="259" y="140"/>
                      <a:pt x="260" y="140"/>
                      <a:pt x="260" y="139"/>
                    </a:cubicBezTo>
                    <a:cubicBezTo>
                      <a:pt x="261" y="139"/>
                      <a:pt x="262" y="139"/>
                      <a:pt x="262" y="138"/>
                    </a:cubicBezTo>
                    <a:cubicBezTo>
                      <a:pt x="262" y="139"/>
                      <a:pt x="260" y="140"/>
                      <a:pt x="260" y="141"/>
                    </a:cubicBezTo>
                    <a:cubicBezTo>
                      <a:pt x="259" y="141"/>
                      <a:pt x="260" y="142"/>
                      <a:pt x="259" y="142"/>
                    </a:cubicBezTo>
                    <a:cubicBezTo>
                      <a:pt x="259" y="144"/>
                      <a:pt x="258" y="144"/>
                      <a:pt x="260" y="145"/>
                    </a:cubicBezTo>
                    <a:cubicBezTo>
                      <a:pt x="257" y="145"/>
                      <a:pt x="254" y="144"/>
                      <a:pt x="253" y="147"/>
                    </a:cubicBezTo>
                    <a:cubicBezTo>
                      <a:pt x="252" y="147"/>
                      <a:pt x="252" y="148"/>
                      <a:pt x="252" y="148"/>
                    </a:cubicBezTo>
                    <a:cubicBezTo>
                      <a:pt x="252" y="149"/>
                      <a:pt x="253" y="148"/>
                      <a:pt x="253" y="149"/>
                    </a:cubicBezTo>
                    <a:cubicBezTo>
                      <a:pt x="253" y="149"/>
                      <a:pt x="252" y="150"/>
                      <a:pt x="252" y="150"/>
                    </a:cubicBezTo>
                    <a:cubicBezTo>
                      <a:pt x="253" y="150"/>
                      <a:pt x="254" y="150"/>
                      <a:pt x="255" y="150"/>
                    </a:cubicBezTo>
                    <a:cubicBezTo>
                      <a:pt x="257" y="151"/>
                      <a:pt x="254" y="150"/>
                      <a:pt x="254" y="151"/>
                    </a:cubicBezTo>
                    <a:cubicBezTo>
                      <a:pt x="253" y="152"/>
                      <a:pt x="257" y="152"/>
                      <a:pt x="258" y="152"/>
                    </a:cubicBezTo>
                    <a:cubicBezTo>
                      <a:pt x="258" y="152"/>
                      <a:pt x="256" y="152"/>
                      <a:pt x="255" y="153"/>
                    </a:cubicBezTo>
                    <a:cubicBezTo>
                      <a:pt x="255" y="153"/>
                      <a:pt x="256" y="155"/>
                      <a:pt x="256" y="155"/>
                    </a:cubicBezTo>
                    <a:cubicBezTo>
                      <a:pt x="258" y="155"/>
                      <a:pt x="260" y="154"/>
                      <a:pt x="261" y="154"/>
                    </a:cubicBezTo>
                    <a:cubicBezTo>
                      <a:pt x="262" y="154"/>
                      <a:pt x="264" y="153"/>
                      <a:pt x="262" y="154"/>
                    </a:cubicBezTo>
                    <a:cubicBezTo>
                      <a:pt x="261" y="155"/>
                      <a:pt x="259" y="155"/>
                      <a:pt x="258" y="155"/>
                    </a:cubicBezTo>
                    <a:cubicBezTo>
                      <a:pt x="259" y="155"/>
                      <a:pt x="259" y="155"/>
                      <a:pt x="260" y="155"/>
                    </a:cubicBezTo>
                    <a:cubicBezTo>
                      <a:pt x="260" y="156"/>
                      <a:pt x="259" y="156"/>
                      <a:pt x="258" y="156"/>
                    </a:cubicBezTo>
                    <a:cubicBezTo>
                      <a:pt x="258" y="157"/>
                      <a:pt x="259" y="157"/>
                      <a:pt x="260" y="157"/>
                    </a:cubicBezTo>
                    <a:cubicBezTo>
                      <a:pt x="260" y="157"/>
                      <a:pt x="260" y="158"/>
                      <a:pt x="260" y="158"/>
                    </a:cubicBezTo>
                    <a:cubicBezTo>
                      <a:pt x="260" y="158"/>
                      <a:pt x="261" y="158"/>
                      <a:pt x="261" y="159"/>
                    </a:cubicBezTo>
                    <a:cubicBezTo>
                      <a:pt x="261" y="159"/>
                      <a:pt x="261" y="159"/>
                      <a:pt x="261" y="159"/>
                    </a:cubicBezTo>
                    <a:cubicBezTo>
                      <a:pt x="262" y="158"/>
                      <a:pt x="262" y="157"/>
                      <a:pt x="262" y="156"/>
                    </a:cubicBezTo>
                    <a:cubicBezTo>
                      <a:pt x="263" y="155"/>
                      <a:pt x="264" y="155"/>
                      <a:pt x="264" y="154"/>
                    </a:cubicBezTo>
                    <a:cubicBezTo>
                      <a:pt x="264" y="155"/>
                      <a:pt x="264" y="156"/>
                      <a:pt x="264" y="156"/>
                    </a:cubicBezTo>
                    <a:cubicBezTo>
                      <a:pt x="263" y="157"/>
                      <a:pt x="263" y="157"/>
                      <a:pt x="263" y="158"/>
                    </a:cubicBezTo>
                    <a:cubicBezTo>
                      <a:pt x="264" y="159"/>
                      <a:pt x="265" y="158"/>
                      <a:pt x="266" y="158"/>
                    </a:cubicBezTo>
                    <a:cubicBezTo>
                      <a:pt x="266" y="158"/>
                      <a:pt x="265" y="159"/>
                      <a:pt x="264" y="159"/>
                    </a:cubicBezTo>
                    <a:cubicBezTo>
                      <a:pt x="265" y="159"/>
                      <a:pt x="265" y="160"/>
                      <a:pt x="265" y="160"/>
                    </a:cubicBezTo>
                    <a:cubicBezTo>
                      <a:pt x="266" y="160"/>
                      <a:pt x="267" y="160"/>
                      <a:pt x="268" y="160"/>
                    </a:cubicBezTo>
                    <a:cubicBezTo>
                      <a:pt x="268" y="161"/>
                      <a:pt x="270" y="160"/>
                      <a:pt x="271" y="160"/>
                    </a:cubicBezTo>
                    <a:cubicBezTo>
                      <a:pt x="271" y="160"/>
                      <a:pt x="269" y="161"/>
                      <a:pt x="269" y="161"/>
                    </a:cubicBezTo>
                    <a:cubicBezTo>
                      <a:pt x="269" y="162"/>
                      <a:pt x="271" y="161"/>
                      <a:pt x="271" y="161"/>
                    </a:cubicBezTo>
                    <a:cubicBezTo>
                      <a:pt x="271" y="162"/>
                      <a:pt x="271" y="162"/>
                      <a:pt x="271" y="162"/>
                    </a:cubicBezTo>
                    <a:cubicBezTo>
                      <a:pt x="271" y="163"/>
                      <a:pt x="271" y="163"/>
                      <a:pt x="272" y="163"/>
                    </a:cubicBezTo>
                    <a:cubicBezTo>
                      <a:pt x="272" y="161"/>
                      <a:pt x="273" y="159"/>
                      <a:pt x="272" y="158"/>
                    </a:cubicBezTo>
                    <a:cubicBezTo>
                      <a:pt x="273" y="158"/>
                      <a:pt x="274" y="158"/>
                      <a:pt x="274" y="158"/>
                    </a:cubicBezTo>
                    <a:cubicBezTo>
                      <a:pt x="273" y="157"/>
                      <a:pt x="273" y="157"/>
                      <a:pt x="273" y="156"/>
                    </a:cubicBezTo>
                    <a:cubicBezTo>
                      <a:pt x="273" y="156"/>
                      <a:pt x="273" y="156"/>
                      <a:pt x="273" y="156"/>
                    </a:cubicBezTo>
                    <a:cubicBezTo>
                      <a:pt x="273" y="156"/>
                      <a:pt x="273" y="156"/>
                      <a:pt x="273" y="155"/>
                    </a:cubicBezTo>
                    <a:cubicBezTo>
                      <a:pt x="273" y="155"/>
                      <a:pt x="273" y="155"/>
                      <a:pt x="273" y="155"/>
                    </a:cubicBezTo>
                    <a:cubicBezTo>
                      <a:pt x="272" y="154"/>
                      <a:pt x="272" y="154"/>
                      <a:pt x="271" y="153"/>
                    </a:cubicBezTo>
                    <a:cubicBezTo>
                      <a:pt x="272" y="153"/>
                      <a:pt x="273" y="154"/>
                      <a:pt x="274" y="154"/>
                    </a:cubicBezTo>
                    <a:cubicBezTo>
                      <a:pt x="273" y="153"/>
                      <a:pt x="271" y="153"/>
                      <a:pt x="271" y="151"/>
                    </a:cubicBezTo>
                    <a:cubicBezTo>
                      <a:pt x="272" y="152"/>
                      <a:pt x="272" y="152"/>
                      <a:pt x="273" y="152"/>
                    </a:cubicBezTo>
                    <a:cubicBezTo>
                      <a:pt x="274" y="152"/>
                      <a:pt x="274" y="151"/>
                      <a:pt x="273" y="150"/>
                    </a:cubicBezTo>
                    <a:cubicBezTo>
                      <a:pt x="272" y="150"/>
                      <a:pt x="271" y="151"/>
                      <a:pt x="270" y="150"/>
                    </a:cubicBezTo>
                    <a:cubicBezTo>
                      <a:pt x="271" y="150"/>
                      <a:pt x="273" y="149"/>
                      <a:pt x="274" y="150"/>
                    </a:cubicBezTo>
                    <a:cubicBezTo>
                      <a:pt x="273" y="149"/>
                      <a:pt x="272" y="147"/>
                      <a:pt x="272" y="145"/>
                    </a:cubicBezTo>
                    <a:cubicBezTo>
                      <a:pt x="273" y="147"/>
                      <a:pt x="274" y="148"/>
                      <a:pt x="275" y="149"/>
                    </a:cubicBezTo>
                    <a:cubicBezTo>
                      <a:pt x="275" y="150"/>
                      <a:pt x="275" y="151"/>
                      <a:pt x="276" y="150"/>
                    </a:cubicBezTo>
                    <a:cubicBezTo>
                      <a:pt x="277" y="150"/>
                      <a:pt x="277" y="150"/>
                      <a:pt x="278" y="151"/>
                    </a:cubicBezTo>
                    <a:cubicBezTo>
                      <a:pt x="278" y="150"/>
                      <a:pt x="278" y="149"/>
                      <a:pt x="278" y="148"/>
                    </a:cubicBezTo>
                    <a:cubicBezTo>
                      <a:pt x="279" y="149"/>
                      <a:pt x="279" y="150"/>
                      <a:pt x="279" y="151"/>
                    </a:cubicBezTo>
                    <a:cubicBezTo>
                      <a:pt x="280" y="151"/>
                      <a:pt x="280" y="151"/>
                      <a:pt x="281" y="151"/>
                    </a:cubicBezTo>
                    <a:cubicBezTo>
                      <a:pt x="281" y="151"/>
                      <a:pt x="281" y="150"/>
                      <a:pt x="281" y="150"/>
                    </a:cubicBezTo>
                    <a:cubicBezTo>
                      <a:pt x="280" y="149"/>
                      <a:pt x="280" y="149"/>
                      <a:pt x="280" y="149"/>
                    </a:cubicBezTo>
                    <a:cubicBezTo>
                      <a:pt x="280" y="149"/>
                      <a:pt x="279" y="149"/>
                      <a:pt x="279" y="148"/>
                    </a:cubicBezTo>
                    <a:cubicBezTo>
                      <a:pt x="280" y="148"/>
                      <a:pt x="281" y="149"/>
                      <a:pt x="282" y="149"/>
                    </a:cubicBezTo>
                    <a:cubicBezTo>
                      <a:pt x="281" y="147"/>
                      <a:pt x="279" y="147"/>
                      <a:pt x="279" y="146"/>
                    </a:cubicBezTo>
                    <a:cubicBezTo>
                      <a:pt x="280" y="146"/>
                      <a:pt x="280" y="147"/>
                      <a:pt x="282" y="147"/>
                    </a:cubicBezTo>
                    <a:cubicBezTo>
                      <a:pt x="283" y="148"/>
                      <a:pt x="283" y="147"/>
                      <a:pt x="284" y="147"/>
                    </a:cubicBezTo>
                    <a:cubicBezTo>
                      <a:pt x="284" y="147"/>
                      <a:pt x="284" y="146"/>
                      <a:pt x="284" y="146"/>
                    </a:cubicBezTo>
                    <a:cubicBezTo>
                      <a:pt x="284" y="146"/>
                      <a:pt x="283" y="146"/>
                      <a:pt x="283" y="146"/>
                    </a:cubicBezTo>
                    <a:cubicBezTo>
                      <a:pt x="283" y="145"/>
                      <a:pt x="283" y="145"/>
                      <a:pt x="282" y="144"/>
                    </a:cubicBezTo>
                    <a:cubicBezTo>
                      <a:pt x="282" y="144"/>
                      <a:pt x="282" y="144"/>
                      <a:pt x="282" y="144"/>
                    </a:cubicBezTo>
                    <a:cubicBezTo>
                      <a:pt x="281" y="144"/>
                      <a:pt x="280" y="144"/>
                      <a:pt x="279" y="144"/>
                    </a:cubicBezTo>
                    <a:cubicBezTo>
                      <a:pt x="279" y="144"/>
                      <a:pt x="279" y="143"/>
                      <a:pt x="279" y="143"/>
                    </a:cubicBezTo>
                    <a:cubicBezTo>
                      <a:pt x="278" y="143"/>
                      <a:pt x="277" y="142"/>
                      <a:pt x="277" y="142"/>
                    </a:cubicBezTo>
                    <a:cubicBezTo>
                      <a:pt x="278" y="142"/>
                      <a:pt x="278" y="142"/>
                      <a:pt x="279" y="143"/>
                    </a:cubicBezTo>
                    <a:cubicBezTo>
                      <a:pt x="280" y="144"/>
                      <a:pt x="280" y="144"/>
                      <a:pt x="282" y="144"/>
                    </a:cubicBezTo>
                    <a:cubicBezTo>
                      <a:pt x="282" y="144"/>
                      <a:pt x="282" y="144"/>
                      <a:pt x="283" y="144"/>
                    </a:cubicBezTo>
                    <a:cubicBezTo>
                      <a:pt x="283" y="144"/>
                      <a:pt x="284" y="144"/>
                      <a:pt x="284" y="145"/>
                    </a:cubicBezTo>
                    <a:cubicBezTo>
                      <a:pt x="285" y="145"/>
                      <a:pt x="287" y="144"/>
                      <a:pt x="288" y="144"/>
                    </a:cubicBezTo>
                    <a:cubicBezTo>
                      <a:pt x="287" y="144"/>
                      <a:pt x="287" y="144"/>
                      <a:pt x="287" y="143"/>
                    </a:cubicBezTo>
                    <a:cubicBezTo>
                      <a:pt x="286" y="143"/>
                      <a:pt x="286" y="142"/>
                      <a:pt x="285" y="142"/>
                    </a:cubicBezTo>
                    <a:cubicBezTo>
                      <a:pt x="285" y="141"/>
                      <a:pt x="283" y="141"/>
                      <a:pt x="283" y="141"/>
                    </a:cubicBezTo>
                    <a:cubicBezTo>
                      <a:pt x="282" y="141"/>
                      <a:pt x="282" y="141"/>
                      <a:pt x="282" y="141"/>
                    </a:cubicBezTo>
                    <a:cubicBezTo>
                      <a:pt x="281" y="141"/>
                      <a:pt x="281" y="141"/>
                      <a:pt x="280" y="141"/>
                    </a:cubicBezTo>
                    <a:cubicBezTo>
                      <a:pt x="279" y="140"/>
                      <a:pt x="279" y="139"/>
                      <a:pt x="279" y="139"/>
                    </a:cubicBezTo>
                    <a:cubicBezTo>
                      <a:pt x="279" y="139"/>
                      <a:pt x="280" y="140"/>
                      <a:pt x="281" y="140"/>
                    </a:cubicBezTo>
                    <a:cubicBezTo>
                      <a:pt x="281" y="140"/>
                      <a:pt x="283" y="138"/>
                      <a:pt x="282" y="137"/>
                    </a:cubicBezTo>
                    <a:cubicBezTo>
                      <a:pt x="282" y="137"/>
                      <a:pt x="281" y="138"/>
                      <a:pt x="280" y="137"/>
                    </a:cubicBezTo>
                    <a:cubicBezTo>
                      <a:pt x="281" y="136"/>
                      <a:pt x="283" y="138"/>
                      <a:pt x="285" y="138"/>
                    </a:cubicBezTo>
                    <a:cubicBezTo>
                      <a:pt x="285" y="139"/>
                      <a:pt x="285" y="139"/>
                      <a:pt x="285" y="139"/>
                    </a:cubicBezTo>
                    <a:cubicBezTo>
                      <a:pt x="285" y="140"/>
                      <a:pt x="285" y="140"/>
                      <a:pt x="286" y="141"/>
                    </a:cubicBezTo>
                    <a:cubicBezTo>
                      <a:pt x="286" y="141"/>
                      <a:pt x="286" y="142"/>
                      <a:pt x="287" y="142"/>
                    </a:cubicBezTo>
                    <a:cubicBezTo>
                      <a:pt x="288" y="143"/>
                      <a:pt x="288" y="142"/>
                      <a:pt x="289" y="142"/>
                    </a:cubicBezTo>
                    <a:cubicBezTo>
                      <a:pt x="290" y="142"/>
                      <a:pt x="291" y="142"/>
                      <a:pt x="292" y="142"/>
                    </a:cubicBezTo>
                    <a:cubicBezTo>
                      <a:pt x="291" y="141"/>
                      <a:pt x="290" y="140"/>
                      <a:pt x="289" y="139"/>
                    </a:cubicBezTo>
                    <a:cubicBezTo>
                      <a:pt x="289" y="139"/>
                      <a:pt x="290" y="139"/>
                      <a:pt x="290" y="139"/>
                    </a:cubicBezTo>
                    <a:cubicBezTo>
                      <a:pt x="290" y="139"/>
                      <a:pt x="290" y="139"/>
                      <a:pt x="290" y="139"/>
                    </a:cubicBezTo>
                    <a:cubicBezTo>
                      <a:pt x="290" y="139"/>
                      <a:pt x="290" y="139"/>
                      <a:pt x="290" y="139"/>
                    </a:cubicBezTo>
                    <a:cubicBezTo>
                      <a:pt x="292" y="139"/>
                      <a:pt x="292" y="141"/>
                      <a:pt x="293" y="140"/>
                    </a:cubicBezTo>
                    <a:cubicBezTo>
                      <a:pt x="294" y="140"/>
                      <a:pt x="295" y="140"/>
                      <a:pt x="295" y="139"/>
                    </a:cubicBezTo>
                    <a:cubicBezTo>
                      <a:pt x="295" y="139"/>
                      <a:pt x="292" y="135"/>
                      <a:pt x="291" y="135"/>
                    </a:cubicBezTo>
                    <a:cubicBezTo>
                      <a:pt x="290" y="134"/>
                      <a:pt x="290" y="134"/>
                      <a:pt x="288" y="134"/>
                    </a:cubicBezTo>
                    <a:cubicBezTo>
                      <a:pt x="286" y="134"/>
                      <a:pt x="286" y="134"/>
                      <a:pt x="286" y="136"/>
                    </a:cubicBezTo>
                    <a:cubicBezTo>
                      <a:pt x="286" y="136"/>
                      <a:pt x="286" y="135"/>
                      <a:pt x="286" y="135"/>
                    </a:cubicBezTo>
                    <a:cubicBezTo>
                      <a:pt x="285" y="135"/>
                      <a:pt x="285" y="134"/>
                      <a:pt x="285" y="134"/>
                    </a:cubicBezTo>
                    <a:cubicBezTo>
                      <a:pt x="285" y="133"/>
                      <a:pt x="285" y="133"/>
                      <a:pt x="286" y="132"/>
                    </a:cubicBezTo>
                    <a:cubicBezTo>
                      <a:pt x="286" y="130"/>
                      <a:pt x="287" y="128"/>
                      <a:pt x="288" y="127"/>
                    </a:cubicBezTo>
                    <a:cubicBezTo>
                      <a:pt x="287" y="127"/>
                      <a:pt x="285" y="127"/>
                      <a:pt x="285" y="127"/>
                    </a:cubicBezTo>
                    <a:cubicBezTo>
                      <a:pt x="285" y="127"/>
                      <a:pt x="285" y="128"/>
                      <a:pt x="285" y="128"/>
                    </a:cubicBezTo>
                    <a:cubicBezTo>
                      <a:pt x="285" y="128"/>
                      <a:pt x="283" y="128"/>
                      <a:pt x="283" y="129"/>
                    </a:cubicBezTo>
                    <a:cubicBezTo>
                      <a:pt x="283" y="130"/>
                      <a:pt x="285" y="131"/>
                      <a:pt x="284" y="132"/>
                    </a:cubicBezTo>
                    <a:cubicBezTo>
                      <a:pt x="284" y="131"/>
                      <a:pt x="283" y="128"/>
                      <a:pt x="282" y="128"/>
                    </a:cubicBezTo>
                    <a:cubicBezTo>
                      <a:pt x="280" y="128"/>
                      <a:pt x="280" y="129"/>
                      <a:pt x="280" y="130"/>
                    </a:cubicBezTo>
                    <a:cubicBezTo>
                      <a:pt x="280" y="130"/>
                      <a:pt x="280" y="131"/>
                      <a:pt x="280" y="131"/>
                    </a:cubicBezTo>
                    <a:cubicBezTo>
                      <a:pt x="280" y="131"/>
                      <a:pt x="280" y="131"/>
                      <a:pt x="279" y="132"/>
                    </a:cubicBezTo>
                    <a:cubicBezTo>
                      <a:pt x="279" y="132"/>
                      <a:pt x="279" y="133"/>
                      <a:pt x="278" y="133"/>
                    </a:cubicBezTo>
                    <a:cubicBezTo>
                      <a:pt x="279" y="132"/>
                      <a:pt x="279" y="131"/>
                      <a:pt x="279" y="130"/>
                    </a:cubicBezTo>
                    <a:cubicBezTo>
                      <a:pt x="279" y="129"/>
                      <a:pt x="279" y="129"/>
                      <a:pt x="279" y="128"/>
                    </a:cubicBezTo>
                    <a:cubicBezTo>
                      <a:pt x="278" y="128"/>
                      <a:pt x="274" y="128"/>
                      <a:pt x="274" y="129"/>
                    </a:cubicBezTo>
                    <a:cubicBezTo>
                      <a:pt x="274" y="129"/>
                      <a:pt x="274" y="131"/>
                      <a:pt x="274" y="131"/>
                    </a:cubicBezTo>
                    <a:cubicBezTo>
                      <a:pt x="274" y="131"/>
                      <a:pt x="273" y="132"/>
                      <a:pt x="273" y="132"/>
                    </a:cubicBezTo>
                    <a:cubicBezTo>
                      <a:pt x="273" y="131"/>
                      <a:pt x="273" y="130"/>
                      <a:pt x="273" y="129"/>
                    </a:cubicBezTo>
                    <a:cubicBezTo>
                      <a:pt x="272" y="130"/>
                      <a:pt x="271" y="131"/>
                      <a:pt x="269" y="130"/>
                    </a:cubicBezTo>
                    <a:cubicBezTo>
                      <a:pt x="270" y="130"/>
                      <a:pt x="271" y="130"/>
                      <a:pt x="272" y="130"/>
                    </a:cubicBezTo>
                    <a:cubicBezTo>
                      <a:pt x="272" y="130"/>
                      <a:pt x="271" y="129"/>
                      <a:pt x="272" y="129"/>
                    </a:cubicBezTo>
                    <a:cubicBezTo>
                      <a:pt x="273" y="128"/>
                      <a:pt x="274" y="129"/>
                      <a:pt x="275" y="128"/>
                    </a:cubicBezTo>
                    <a:cubicBezTo>
                      <a:pt x="276" y="127"/>
                      <a:pt x="273" y="126"/>
                      <a:pt x="276" y="125"/>
                    </a:cubicBezTo>
                    <a:cubicBezTo>
                      <a:pt x="276" y="124"/>
                      <a:pt x="277" y="124"/>
                      <a:pt x="278" y="123"/>
                    </a:cubicBezTo>
                    <a:cubicBezTo>
                      <a:pt x="278" y="122"/>
                      <a:pt x="276" y="122"/>
                      <a:pt x="276" y="123"/>
                    </a:cubicBezTo>
                    <a:cubicBezTo>
                      <a:pt x="274" y="123"/>
                      <a:pt x="274" y="123"/>
                      <a:pt x="273" y="124"/>
                    </a:cubicBezTo>
                    <a:cubicBezTo>
                      <a:pt x="273" y="125"/>
                      <a:pt x="273" y="125"/>
                      <a:pt x="272" y="126"/>
                    </a:cubicBezTo>
                    <a:cubicBezTo>
                      <a:pt x="271" y="127"/>
                      <a:pt x="270" y="126"/>
                      <a:pt x="270" y="128"/>
                    </a:cubicBezTo>
                    <a:cubicBezTo>
                      <a:pt x="269" y="126"/>
                      <a:pt x="273" y="126"/>
                      <a:pt x="273" y="123"/>
                    </a:cubicBezTo>
                    <a:cubicBezTo>
                      <a:pt x="270" y="123"/>
                      <a:pt x="267" y="124"/>
                      <a:pt x="265" y="124"/>
                    </a:cubicBezTo>
                    <a:cubicBezTo>
                      <a:pt x="264" y="125"/>
                      <a:pt x="262" y="125"/>
                      <a:pt x="262" y="125"/>
                    </a:cubicBezTo>
                    <a:cubicBezTo>
                      <a:pt x="261" y="126"/>
                      <a:pt x="261" y="127"/>
                      <a:pt x="260" y="127"/>
                    </a:cubicBezTo>
                    <a:cubicBezTo>
                      <a:pt x="260" y="125"/>
                      <a:pt x="262" y="125"/>
                      <a:pt x="264" y="124"/>
                    </a:cubicBezTo>
                    <a:cubicBezTo>
                      <a:pt x="265" y="124"/>
                      <a:pt x="267" y="124"/>
                      <a:pt x="268" y="123"/>
                    </a:cubicBezTo>
                    <a:cubicBezTo>
                      <a:pt x="266" y="122"/>
                      <a:pt x="264" y="123"/>
                      <a:pt x="263" y="123"/>
                    </a:cubicBezTo>
                    <a:cubicBezTo>
                      <a:pt x="261" y="123"/>
                      <a:pt x="260" y="124"/>
                      <a:pt x="259" y="124"/>
                    </a:cubicBezTo>
                    <a:cubicBezTo>
                      <a:pt x="261" y="122"/>
                      <a:pt x="263" y="124"/>
                      <a:pt x="265" y="122"/>
                    </a:cubicBezTo>
                    <a:cubicBezTo>
                      <a:pt x="263" y="122"/>
                      <a:pt x="261" y="122"/>
                      <a:pt x="259" y="121"/>
                    </a:cubicBezTo>
                    <a:cubicBezTo>
                      <a:pt x="262" y="121"/>
                      <a:pt x="265" y="122"/>
                      <a:pt x="267" y="122"/>
                    </a:cubicBezTo>
                    <a:cubicBezTo>
                      <a:pt x="268" y="122"/>
                      <a:pt x="268" y="122"/>
                      <a:pt x="268" y="121"/>
                    </a:cubicBezTo>
                    <a:cubicBezTo>
                      <a:pt x="267" y="120"/>
                      <a:pt x="267" y="119"/>
                      <a:pt x="266" y="118"/>
                    </a:cubicBezTo>
                    <a:cubicBezTo>
                      <a:pt x="267" y="118"/>
                      <a:pt x="266" y="116"/>
                      <a:pt x="265" y="116"/>
                    </a:cubicBezTo>
                    <a:cubicBezTo>
                      <a:pt x="263" y="114"/>
                      <a:pt x="262" y="112"/>
                      <a:pt x="260" y="114"/>
                    </a:cubicBezTo>
                    <a:cubicBezTo>
                      <a:pt x="259" y="114"/>
                      <a:pt x="259" y="115"/>
                      <a:pt x="259" y="115"/>
                    </a:cubicBezTo>
                    <a:cubicBezTo>
                      <a:pt x="258" y="115"/>
                      <a:pt x="259" y="115"/>
                      <a:pt x="259" y="115"/>
                    </a:cubicBezTo>
                    <a:cubicBezTo>
                      <a:pt x="258" y="115"/>
                      <a:pt x="259" y="114"/>
                      <a:pt x="258" y="114"/>
                    </a:cubicBezTo>
                    <a:cubicBezTo>
                      <a:pt x="258" y="114"/>
                      <a:pt x="257" y="114"/>
                      <a:pt x="257" y="114"/>
                    </a:cubicBezTo>
                    <a:cubicBezTo>
                      <a:pt x="256" y="115"/>
                      <a:pt x="255" y="115"/>
                      <a:pt x="255" y="116"/>
                    </a:cubicBezTo>
                    <a:cubicBezTo>
                      <a:pt x="255" y="116"/>
                      <a:pt x="255" y="115"/>
                      <a:pt x="256" y="114"/>
                    </a:cubicBezTo>
                    <a:cubicBezTo>
                      <a:pt x="256" y="114"/>
                      <a:pt x="256" y="114"/>
                      <a:pt x="257" y="114"/>
                    </a:cubicBezTo>
                    <a:cubicBezTo>
                      <a:pt x="257" y="113"/>
                      <a:pt x="257" y="113"/>
                      <a:pt x="256" y="112"/>
                    </a:cubicBezTo>
                    <a:cubicBezTo>
                      <a:pt x="257" y="113"/>
                      <a:pt x="258" y="111"/>
                      <a:pt x="257" y="111"/>
                    </a:cubicBezTo>
                    <a:cubicBezTo>
                      <a:pt x="258" y="111"/>
                      <a:pt x="259" y="111"/>
                      <a:pt x="260" y="110"/>
                    </a:cubicBezTo>
                    <a:cubicBezTo>
                      <a:pt x="257" y="110"/>
                      <a:pt x="252" y="110"/>
                      <a:pt x="252" y="113"/>
                    </a:cubicBezTo>
                    <a:cubicBezTo>
                      <a:pt x="251" y="114"/>
                      <a:pt x="252" y="114"/>
                      <a:pt x="253" y="115"/>
                    </a:cubicBezTo>
                    <a:cubicBezTo>
                      <a:pt x="253" y="115"/>
                      <a:pt x="254" y="116"/>
                      <a:pt x="254" y="117"/>
                    </a:cubicBezTo>
                    <a:cubicBezTo>
                      <a:pt x="253" y="116"/>
                      <a:pt x="252" y="115"/>
                      <a:pt x="251" y="114"/>
                    </a:cubicBezTo>
                    <a:cubicBezTo>
                      <a:pt x="251" y="113"/>
                      <a:pt x="251" y="113"/>
                      <a:pt x="252" y="112"/>
                    </a:cubicBezTo>
                    <a:cubicBezTo>
                      <a:pt x="252" y="112"/>
                      <a:pt x="252" y="111"/>
                      <a:pt x="252" y="110"/>
                    </a:cubicBezTo>
                    <a:cubicBezTo>
                      <a:pt x="252" y="110"/>
                      <a:pt x="251" y="110"/>
                      <a:pt x="250" y="111"/>
                    </a:cubicBezTo>
                    <a:cubicBezTo>
                      <a:pt x="249" y="111"/>
                      <a:pt x="249" y="111"/>
                      <a:pt x="249" y="112"/>
                    </a:cubicBezTo>
                    <a:cubicBezTo>
                      <a:pt x="249" y="112"/>
                      <a:pt x="248" y="112"/>
                      <a:pt x="247" y="113"/>
                    </a:cubicBezTo>
                    <a:cubicBezTo>
                      <a:pt x="247" y="113"/>
                      <a:pt x="247" y="114"/>
                      <a:pt x="247" y="115"/>
                    </a:cubicBezTo>
                    <a:cubicBezTo>
                      <a:pt x="247" y="115"/>
                      <a:pt x="247" y="116"/>
                      <a:pt x="247" y="116"/>
                    </a:cubicBezTo>
                    <a:cubicBezTo>
                      <a:pt x="247" y="115"/>
                      <a:pt x="246" y="114"/>
                      <a:pt x="247" y="113"/>
                    </a:cubicBezTo>
                    <a:cubicBezTo>
                      <a:pt x="247" y="113"/>
                      <a:pt x="247" y="112"/>
                      <a:pt x="247" y="112"/>
                    </a:cubicBezTo>
                    <a:cubicBezTo>
                      <a:pt x="247" y="112"/>
                      <a:pt x="247" y="111"/>
                      <a:pt x="247" y="111"/>
                    </a:cubicBezTo>
                    <a:cubicBezTo>
                      <a:pt x="247" y="110"/>
                      <a:pt x="249" y="109"/>
                      <a:pt x="248" y="107"/>
                    </a:cubicBezTo>
                    <a:cubicBezTo>
                      <a:pt x="247" y="109"/>
                      <a:pt x="247" y="109"/>
                      <a:pt x="246" y="110"/>
                    </a:cubicBezTo>
                    <a:cubicBezTo>
                      <a:pt x="245" y="110"/>
                      <a:pt x="244" y="110"/>
                      <a:pt x="244" y="111"/>
                    </a:cubicBezTo>
                    <a:cubicBezTo>
                      <a:pt x="243" y="111"/>
                      <a:pt x="243" y="112"/>
                      <a:pt x="243" y="113"/>
                    </a:cubicBezTo>
                    <a:cubicBezTo>
                      <a:pt x="243" y="113"/>
                      <a:pt x="243" y="114"/>
                      <a:pt x="242" y="113"/>
                    </a:cubicBezTo>
                    <a:cubicBezTo>
                      <a:pt x="241" y="113"/>
                      <a:pt x="240" y="112"/>
                      <a:pt x="239" y="112"/>
                    </a:cubicBezTo>
                    <a:cubicBezTo>
                      <a:pt x="240" y="112"/>
                      <a:pt x="242" y="113"/>
                      <a:pt x="243" y="112"/>
                    </a:cubicBezTo>
                    <a:cubicBezTo>
                      <a:pt x="243" y="112"/>
                      <a:pt x="243" y="111"/>
                      <a:pt x="244" y="110"/>
                    </a:cubicBezTo>
                    <a:cubicBezTo>
                      <a:pt x="244" y="110"/>
                      <a:pt x="246" y="109"/>
                      <a:pt x="244" y="109"/>
                    </a:cubicBezTo>
                    <a:cubicBezTo>
                      <a:pt x="243" y="108"/>
                      <a:pt x="240" y="109"/>
                      <a:pt x="239" y="110"/>
                    </a:cubicBezTo>
                    <a:cubicBezTo>
                      <a:pt x="239" y="109"/>
                      <a:pt x="240" y="108"/>
                      <a:pt x="240" y="108"/>
                    </a:cubicBezTo>
                    <a:cubicBezTo>
                      <a:pt x="239" y="108"/>
                      <a:pt x="237" y="109"/>
                      <a:pt x="237" y="109"/>
                    </a:cubicBezTo>
                    <a:cubicBezTo>
                      <a:pt x="236" y="109"/>
                      <a:pt x="238" y="108"/>
                      <a:pt x="238" y="107"/>
                    </a:cubicBezTo>
                    <a:cubicBezTo>
                      <a:pt x="238" y="107"/>
                      <a:pt x="238" y="107"/>
                      <a:pt x="238" y="107"/>
                    </a:cubicBezTo>
                    <a:cubicBezTo>
                      <a:pt x="238" y="107"/>
                      <a:pt x="238" y="107"/>
                      <a:pt x="238" y="107"/>
                    </a:cubicBezTo>
                    <a:cubicBezTo>
                      <a:pt x="239" y="105"/>
                      <a:pt x="237" y="105"/>
                      <a:pt x="235" y="105"/>
                    </a:cubicBezTo>
                    <a:cubicBezTo>
                      <a:pt x="233" y="105"/>
                      <a:pt x="234" y="106"/>
                      <a:pt x="233" y="107"/>
                    </a:cubicBezTo>
                    <a:cubicBezTo>
                      <a:pt x="233" y="108"/>
                      <a:pt x="232" y="107"/>
                      <a:pt x="231" y="107"/>
                    </a:cubicBezTo>
                    <a:cubicBezTo>
                      <a:pt x="232" y="107"/>
                      <a:pt x="233" y="107"/>
                      <a:pt x="233" y="107"/>
                    </a:cubicBezTo>
                    <a:cubicBezTo>
                      <a:pt x="233" y="106"/>
                      <a:pt x="233" y="106"/>
                      <a:pt x="234" y="105"/>
                    </a:cubicBezTo>
                    <a:cubicBezTo>
                      <a:pt x="234" y="104"/>
                      <a:pt x="235" y="105"/>
                      <a:pt x="236" y="104"/>
                    </a:cubicBezTo>
                    <a:cubicBezTo>
                      <a:pt x="235" y="104"/>
                      <a:pt x="232" y="104"/>
                      <a:pt x="231" y="104"/>
                    </a:cubicBezTo>
                    <a:cubicBezTo>
                      <a:pt x="231" y="105"/>
                      <a:pt x="231" y="105"/>
                      <a:pt x="231" y="105"/>
                    </a:cubicBezTo>
                    <a:cubicBezTo>
                      <a:pt x="231" y="105"/>
                      <a:pt x="230" y="106"/>
                      <a:pt x="230" y="106"/>
                    </a:cubicBezTo>
                    <a:cubicBezTo>
                      <a:pt x="231" y="105"/>
                      <a:pt x="230" y="104"/>
                      <a:pt x="231" y="104"/>
                    </a:cubicBezTo>
                    <a:cubicBezTo>
                      <a:pt x="230" y="104"/>
                      <a:pt x="228" y="104"/>
                      <a:pt x="228" y="105"/>
                    </a:cubicBezTo>
                    <a:cubicBezTo>
                      <a:pt x="228" y="104"/>
                      <a:pt x="229" y="104"/>
                      <a:pt x="231" y="104"/>
                    </a:cubicBezTo>
                    <a:cubicBezTo>
                      <a:pt x="232" y="103"/>
                      <a:pt x="232" y="103"/>
                      <a:pt x="234" y="103"/>
                    </a:cubicBezTo>
                    <a:cubicBezTo>
                      <a:pt x="235" y="103"/>
                      <a:pt x="236" y="104"/>
                      <a:pt x="237" y="103"/>
                    </a:cubicBezTo>
                    <a:cubicBezTo>
                      <a:pt x="238" y="103"/>
                      <a:pt x="237" y="102"/>
                      <a:pt x="239" y="103"/>
                    </a:cubicBezTo>
                    <a:cubicBezTo>
                      <a:pt x="239" y="102"/>
                      <a:pt x="239" y="102"/>
                      <a:pt x="240" y="102"/>
                    </a:cubicBezTo>
                    <a:cubicBezTo>
                      <a:pt x="237" y="102"/>
                      <a:pt x="233" y="102"/>
                      <a:pt x="230" y="103"/>
                    </a:cubicBezTo>
                    <a:cubicBezTo>
                      <a:pt x="230" y="102"/>
                      <a:pt x="230" y="101"/>
                      <a:pt x="230" y="101"/>
                    </a:cubicBezTo>
                    <a:cubicBezTo>
                      <a:pt x="231" y="101"/>
                      <a:pt x="231" y="101"/>
                      <a:pt x="231" y="100"/>
                    </a:cubicBezTo>
                    <a:cubicBezTo>
                      <a:pt x="230" y="101"/>
                      <a:pt x="228" y="102"/>
                      <a:pt x="227" y="103"/>
                    </a:cubicBezTo>
                    <a:cubicBezTo>
                      <a:pt x="227" y="103"/>
                      <a:pt x="227" y="102"/>
                      <a:pt x="227" y="102"/>
                    </a:cubicBezTo>
                    <a:cubicBezTo>
                      <a:pt x="227" y="102"/>
                      <a:pt x="227" y="101"/>
                      <a:pt x="227" y="101"/>
                    </a:cubicBezTo>
                    <a:cubicBezTo>
                      <a:pt x="227" y="101"/>
                      <a:pt x="227" y="101"/>
                      <a:pt x="227" y="100"/>
                    </a:cubicBezTo>
                    <a:cubicBezTo>
                      <a:pt x="227" y="101"/>
                      <a:pt x="227" y="101"/>
                      <a:pt x="227" y="101"/>
                    </a:cubicBezTo>
                    <a:cubicBezTo>
                      <a:pt x="226" y="101"/>
                      <a:pt x="226" y="101"/>
                      <a:pt x="226" y="100"/>
                    </a:cubicBezTo>
                    <a:cubicBezTo>
                      <a:pt x="226" y="101"/>
                      <a:pt x="226" y="101"/>
                      <a:pt x="226" y="101"/>
                    </a:cubicBezTo>
                    <a:cubicBezTo>
                      <a:pt x="226" y="101"/>
                      <a:pt x="226" y="100"/>
                      <a:pt x="225" y="100"/>
                    </a:cubicBezTo>
                    <a:cubicBezTo>
                      <a:pt x="224" y="100"/>
                      <a:pt x="223" y="99"/>
                      <a:pt x="222" y="99"/>
                    </a:cubicBezTo>
                    <a:cubicBezTo>
                      <a:pt x="221" y="100"/>
                      <a:pt x="220" y="100"/>
                      <a:pt x="219" y="100"/>
                    </a:cubicBezTo>
                    <a:cubicBezTo>
                      <a:pt x="219" y="99"/>
                      <a:pt x="220" y="99"/>
                      <a:pt x="220" y="99"/>
                    </a:cubicBezTo>
                    <a:cubicBezTo>
                      <a:pt x="220" y="99"/>
                      <a:pt x="220" y="98"/>
                      <a:pt x="221" y="98"/>
                    </a:cubicBezTo>
                    <a:cubicBezTo>
                      <a:pt x="221" y="98"/>
                      <a:pt x="222" y="99"/>
                      <a:pt x="223" y="99"/>
                    </a:cubicBezTo>
                    <a:cubicBezTo>
                      <a:pt x="224" y="99"/>
                      <a:pt x="224" y="98"/>
                      <a:pt x="225" y="99"/>
                    </a:cubicBezTo>
                    <a:cubicBezTo>
                      <a:pt x="224" y="96"/>
                      <a:pt x="220" y="97"/>
                      <a:pt x="218" y="96"/>
                    </a:cubicBezTo>
                    <a:cubicBezTo>
                      <a:pt x="218" y="96"/>
                      <a:pt x="217" y="97"/>
                      <a:pt x="216" y="97"/>
                    </a:cubicBezTo>
                    <a:cubicBezTo>
                      <a:pt x="216" y="97"/>
                      <a:pt x="217" y="96"/>
                      <a:pt x="216" y="96"/>
                    </a:cubicBezTo>
                    <a:cubicBezTo>
                      <a:pt x="216" y="95"/>
                      <a:pt x="213" y="95"/>
                      <a:pt x="212" y="95"/>
                    </a:cubicBezTo>
                    <a:cubicBezTo>
                      <a:pt x="212" y="95"/>
                      <a:pt x="213" y="95"/>
                      <a:pt x="213" y="95"/>
                    </a:cubicBezTo>
                    <a:cubicBezTo>
                      <a:pt x="213" y="95"/>
                      <a:pt x="212" y="95"/>
                      <a:pt x="212" y="95"/>
                    </a:cubicBezTo>
                    <a:cubicBezTo>
                      <a:pt x="215" y="94"/>
                      <a:pt x="217" y="96"/>
                      <a:pt x="220" y="96"/>
                    </a:cubicBezTo>
                    <a:cubicBezTo>
                      <a:pt x="221" y="96"/>
                      <a:pt x="222" y="95"/>
                      <a:pt x="223" y="95"/>
                    </a:cubicBezTo>
                    <a:cubicBezTo>
                      <a:pt x="224" y="95"/>
                      <a:pt x="225" y="96"/>
                      <a:pt x="226" y="96"/>
                    </a:cubicBezTo>
                    <a:cubicBezTo>
                      <a:pt x="226" y="95"/>
                      <a:pt x="222" y="94"/>
                      <a:pt x="221" y="94"/>
                    </a:cubicBezTo>
                    <a:cubicBezTo>
                      <a:pt x="223" y="94"/>
                      <a:pt x="225" y="94"/>
                      <a:pt x="226" y="95"/>
                    </a:cubicBezTo>
                    <a:cubicBezTo>
                      <a:pt x="226" y="92"/>
                      <a:pt x="222" y="93"/>
                      <a:pt x="221" y="93"/>
                    </a:cubicBezTo>
                    <a:cubicBezTo>
                      <a:pt x="221" y="93"/>
                      <a:pt x="221" y="93"/>
                      <a:pt x="221" y="93"/>
                    </a:cubicBezTo>
                    <a:cubicBezTo>
                      <a:pt x="222" y="92"/>
                      <a:pt x="223" y="92"/>
                      <a:pt x="224" y="92"/>
                    </a:cubicBezTo>
                    <a:cubicBezTo>
                      <a:pt x="225" y="92"/>
                      <a:pt x="226" y="93"/>
                      <a:pt x="226" y="93"/>
                    </a:cubicBezTo>
                    <a:cubicBezTo>
                      <a:pt x="226" y="93"/>
                      <a:pt x="226" y="92"/>
                      <a:pt x="226" y="92"/>
                    </a:cubicBezTo>
                    <a:cubicBezTo>
                      <a:pt x="227" y="92"/>
                      <a:pt x="228" y="92"/>
                      <a:pt x="229" y="92"/>
                    </a:cubicBezTo>
                    <a:cubicBezTo>
                      <a:pt x="229" y="91"/>
                      <a:pt x="227" y="91"/>
                      <a:pt x="226" y="90"/>
                    </a:cubicBezTo>
                    <a:cubicBezTo>
                      <a:pt x="226" y="91"/>
                      <a:pt x="226" y="91"/>
                      <a:pt x="226" y="91"/>
                    </a:cubicBezTo>
                    <a:cubicBezTo>
                      <a:pt x="226" y="91"/>
                      <a:pt x="226" y="90"/>
                      <a:pt x="226" y="90"/>
                    </a:cubicBezTo>
                    <a:cubicBezTo>
                      <a:pt x="226" y="90"/>
                      <a:pt x="225" y="90"/>
                      <a:pt x="224" y="89"/>
                    </a:cubicBezTo>
                    <a:cubicBezTo>
                      <a:pt x="222" y="89"/>
                      <a:pt x="219" y="90"/>
                      <a:pt x="217" y="91"/>
                    </a:cubicBezTo>
                    <a:cubicBezTo>
                      <a:pt x="217" y="90"/>
                      <a:pt x="216" y="90"/>
                      <a:pt x="215" y="90"/>
                    </a:cubicBezTo>
                    <a:cubicBezTo>
                      <a:pt x="216" y="90"/>
                      <a:pt x="218" y="90"/>
                      <a:pt x="219" y="90"/>
                    </a:cubicBezTo>
                    <a:cubicBezTo>
                      <a:pt x="220" y="89"/>
                      <a:pt x="220" y="89"/>
                      <a:pt x="221" y="89"/>
                    </a:cubicBezTo>
                    <a:cubicBezTo>
                      <a:pt x="220" y="88"/>
                      <a:pt x="218" y="89"/>
                      <a:pt x="217" y="88"/>
                    </a:cubicBezTo>
                    <a:cubicBezTo>
                      <a:pt x="218" y="88"/>
                      <a:pt x="220" y="88"/>
                      <a:pt x="222" y="88"/>
                    </a:cubicBezTo>
                    <a:cubicBezTo>
                      <a:pt x="223" y="88"/>
                      <a:pt x="224" y="88"/>
                      <a:pt x="224" y="88"/>
                    </a:cubicBezTo>
                    <a:cubicBezTo>
                      <a:pt x="225" y="88"/>
                      <a:pt x="226" y="89"/>
                      <a:pt x="225" y="88"/>
                    </a:cubicBezTo>
                    <a:cubicBezTo>
                      <a:pt x="224" y="87"/>
                      <a:pt x="224" y="87"/>
                      <a:pt x="224" y="87"/>
                    </a:cubicBezTo>
                    <a:cubicBezTo>
                      <a:pt x="223" y="87"/>
                      <a:pt x="222" y="87"/>
                      <a:pt x="222" y="87"/>
                    </a:cubicBezTo>
                    <a:cubicBezTo>
                      <a:pt x="221" y="87"/>
                      <a:pt x="220" y="87"/>
                      <a:pt x="219" y="87"/>
                    </a:cubicBezTo>
                    <a:cubicBezTo>
                      <a:pt x="218" y="86"/>
                      <a:pt x="217" y="86"/>
                      <a:pt x="216" y="86"/>
                    </a:cubicBezTo>
                    <a:cubicBezTo>
                      <a:pt x="215" y="86"/>
                      <a:pt x="214" y="87"/>
                      <a:pt x="214" y="87"/>
                    </a:cubicBezTo>
                    <a:cubicBezTo>
                      <a:pt x="215" y="85"/>
                      <a:pt x="219" y="86"/>
                      <a:pt x="221" y="87"/>
                    </a:cubicBezTo>
                    <a:cubicBezTo>
                      <a:pt x="223" y="87"/>
                      <a:pt x="225" y="86"/>
                      <a:pt x="226" y="88"/>
                    </a:cubicBezTo>
                    <a:cubicBezTo>
                      <a:pt x="226" y="87"/>
                      <a:pt x="226" y="87"/>
                      <a:pt x="226" y="87"/>
                    </a:cubicBezTo>
                    <a:cubicBezTo>
                      <a:pt x="226" y="87"/>
                      <a:pt x="226" y="87"/>
                      <a:pt x="227" y="88"/>
                    </a:cubicBezTo>
                    <a:cubicBezTo>
                      <a:pt x="227" y="88"/>
                      <a:pt x="228" y="88"/>
                      <a:pt x="229" y="88"/>
                    </a:cubicBezTo>
                    <a:cubicBezTo>
                      <a:pt x="230" y="89"/>
                      <a:pt x="231" y="89"/>
                      <a:pt x="232" y="89"/>
                    </a:cubicBezTo>
                    <a:cubicBezTo>
                      <a:pt x="233" y="89"/>
                      <a:pt x="233" y="89"/>
                      <a:pt x="234" y="89"/>
                    </a:cubicBezTo>
                    <a:cubicBezTo>
                      <a:pt x="234" y="89"/>
                      <a:pt x="234" y="90"/>
                      <a:pt x="235" y="89"/>
                    </a:cubicBezTo>
                    <a:cubicBezTo>
                      <a:pt x="236" y="88"/>
                      <a:pt x="237" y="89"/>
                      <a:pt x="238" y="90"/>
                    </a:cubicBezTo>
                    <a:cubicBezTo>
                      <a:pt x="240" y="90"/>
                      <a:pt x="240" y="88"/>
                      <a:pt x="239" y="87"/>
                    </a:cubicBezTo>
                    <a:cubicBezTo>
                      <a:pt x="239" y="86"/>
                      <a:pt x="238" y="85"/>
                      <a:pt x="237" y="85"/>
                    </a:cubicBezTo>
                    <a:cubicBezTo>
                      <a:pt x="234" y="84"/>
                      <a:pt x="233" y="84"/>
                      <a:pt x="230" y="83"/>
                    </a:cubicBezTo>
                    <a:cubicBezTo>
                      <a:pt x="229" y="83"/>
                      <a:pt x="228" y="84"/>
                      <a:pt x="226" y="84"/>
                    </a:cubicBezTo>
                    <a:cubicBezTo>
                      <a:pt x="226" y="84"/>
                      <a:pt x="226" y="84"/>
                      <a:pt x="226" y="84"/>
                    </a:cubicBezTo>
                    <a:cubicBezTo>
                      <a:pt x="226" y="83"/>
                      <a:pt x="226" y="84"/>
                      <a:pt x="225" y="83"/>
                    </a:cubicBezTo>
                    <a:cubicBezTo>
                      <a:pt x="224" y="83"/>
                      <a:pt x="223" y="83"/>
                      <a:pt x="222" y="82"/>
                    </a:cubicBezTo>
                    <a:cubicBezTo>
                      <a:pt x="220" y="81"/>
                      <a:pt x="219" y="81"/>
                      <a:pt x="217" y="82"/>
                    </a:cubicBezTo>
                    <a:cubicBezTo>
                      <a:pt x="215" y="83"/>
                      <a:pt x="213" y="83"/>
                      <a:pt x="211" y="83"/>
                    </a:cubicBezTo>
                    <a:cubicBezTo>
                      <a:pt x="210" y="82"/>
                      <a:pt x="209" y="82"/>
                      <a:pt x="208" y="82"/>
                    </a:cubicBezTo>
                    <a:cubicBezTo>
                      <a:pt x="207" y="83"/>
                      <a:pt x="206" y="83"/>
                      <a:pt x="206" y="82"/>
                    </a:cubicBezTo>
                    <a:cubicBezTo>
                      <a:pt x="207" y="82"/>
                      <a:pt x="209" y="82"/>
                      <a:pt x="210" y="82"/>
                    </a:cubicBezTo>
                    <a:cubicBezTo>
                      <a:pt x="211" y="82"/>
                      <a:pt x="212" y="82"/>
                      <a:pt x="214" y="82"/>
                    </a:cubicBezTo>
                    <a:cubicBezTo>
                      <a:pt x="216" y="82"/>
                      <a:pt x="218" y="80"/>
                      <a:pt x="220" y="81"/>
                    </a:cubicBezTo>
                    <a:cubicBezTo>
                      <a:pt x="222" y="81"/>
                      <a:pt x="223" y="81"/>
                      <a:pt x="224" y="80"/>
                    </a:cubicBezTo>
                    <a:cubicBezTo>
                      <a:pt x="225" y="79"/>
                      <a:pt x="226" y="79"/>
                      <a:pt x="226" y="78"/>
                    </a:cubicBezTo>
                    <a:cubicBezTo>
                      <a:pt x="226" y="78"/>
                      <a:pt x="226" y="77"/>
                      <a:pt x="226" y="77"/>
                    </a:cubicBezTo>
                    <a:cubicBezTo>
                      <a:pt x="226" y="77"/>
                      <a:pt x="226" y="78"/>
                      <a:pt x="226" y="78"/>
                    </a:cubicBezTo>
                    <a:cubicBezTo>
                      <a:pt x="227" y="78"/>
                      <a:pt x="228" y="78"/>
                      <a:pt x="229" y="78"/>
                    </a:cubicBezTo>
                    <a:cubicBezTo>
                      <a:pt x="230" y="78"/>
                      <a:pt x="231" y="79"/>
                      <a:pt x="233" y="79"/>
                    </a:cubicBezTo>
                    <a:cubicBezTo>
                      <a:pt x="233" y="79"/>
                      <a:pt x="235" y="79"/>
                      <a:pt x="235" y="78"/>
                    </a:cubicBezTo>
                    <a:cubicBezTo>
                      <a:pt x="235" y="78"/>
                      <a:pt x="235" y="77"/>
                      <a:pt x="234" y="76"/>
                    </a:cubicBezTo>
                    <a:cubicBezTo>
                      <a:pt x="234" y="76"/>
                      <a:pt x="235" y="75"/>
                      <a:pt x="234" y="75"/>
                    </a:cubicBezTo>
                    <a:cubicBezTo>
                      <a:pt x="234" y="74"/>
                      <a:pt x="233" y="74"/>
                      <a:pt x="233" y="73"/>
                    </a:cubicBezTo>
                    <a:cubicBezTo>
                      <a:pt x="232" y="73"/>
                      <a:pt x="232" y="72"/>
                      <a:pt x="231" y="72"/>
                    </a:cubicBezTo>
                    <a:cubicBezTo>
                      <a:pt x="230" y="70"/>
                      <a:pt x="228" y="69"/>
                      <a:pt x="226" y="69"/>
                    </a:cubicBezTo>
                    <a:cubicBezTo>
                      <a:pt x="226" y="69"/>
                      <a:pt x="226" y="69"/>
                      <a:pt x="226" y="69"/>
                    </a:cubicBezTo>
                    <a:cubicBezTo>
                      <a:pt x="226" y="69"/>
                      <a:pt x="226" y="69"/>
                      <a:pt x="226" y="68"/>
                    </a:cubicBezTo>
                    <a:cubicBezTo>
                      <a:pt x="225" y="68"/>
                      <a:pt x="224" y="69"/>
                      <a:pt x="224" y="71"/>
                    </a:cubicBezTo>
                    <a:cubicBezTo>
                      <a:pt x="224" y="72"/>
                      <a:pt x="225" y="72"/>
                      <a:pt x="223" y="72"/>
                    </a:cubicBezTo>
                    <a:cubicBezTo>
                      <a:pt x="221" y="73"/>
                      <a:pt x="221" y="74"/>
                      <a:pt x="219" y="74"/>
                    </a:cubicBezTo>
                    <a:cubicBezTo>
                      <a:pt x="218" y="75"/>
                      <a:pt x="216" y="75"/>
                      <a:pt x="215" y="76"/>
                    </a:cubicBezTo>
                    <a:cubicBezTo>
                      <a:pt x="214" y="76"/>
                      <a:pt x="212" y="78"/>
                      <a:pt x="211" y="78"/>
                    </a:cubicBezTo>
                    <a:cubicBezTo>
                      <a:pt x="210" y="78"/>
                      <a:pt x="210" y="77"/>
                      <a:pt x="209" y="77"/>
                    </a:cubicBezTo>
                    <a:cubicBezTo>
                      <a:pt x="208" y="77"/>
                      <a:pt x="208" y="78"/>
                      <a:pt x="207" y="78"/>
                    </a:cubicBezTo>
                    <a:cubicBezTo>
                      <a:pt x="208" y="77"/>
                      <a:pt x="209" y="77"/>
                      <a:pt x="210" y="77"/>
                    </a:cubicBezTo>
                    <a:cubicBezTo>
                      <a:pt x="212" y="77"/>
                      <a:pt x="212" y="77"/>
                      <a:pt x="214" y="76"/>
                    </a:cubicBezTo>
                    <a:cubicBezTo>
                      <a:pt x="215" y="75"/>
                      <a:pt x="219" y="74"/>
                      <a:pt x="219" y="72"/>
                    </a:cubicBezTo>
                    <a:cubicBezTo>
                      <a:pt x="219" y="70"/>
                      <a:pt x="218" y="71"/>
                      <a:pt x="216" y="70"/>
                    </a:cubicBezTo>
                    <a:cubicBezTo>
                      <a:pt x="216" y="70"/>
                      <a:pt x="215" y="70"/>
                      <a:pt x="215" y="70"/>
                    </a:cubicBezTo>
                    <a:cubicBezTo>
                      <a:pt x="214" y="70"/>
                      <a:pt x="214" y="71"/>
                      <a:pt x="213" y="71"/>
                    </a:cubicBezTo>
                    <a:cubicBezTo>
                      <a:pt x="212" y="71"/>
                      <a:pt x="211" y="71"/>
                      <a:pt x="210" y="71"/>
                    </a:cubicBezTo>
                    <a:cubicBezTo>
                      <a:pt x="209" y="72"/>
                      <a:pt x="209" y="72"/>
                      <a:pt x="209" y="73"/>
                    </a:cubicBezTo>
                    <a:cubicBezTo>
                      <a:pt x="209" y="75"/>
                      <a:pt x="208" y="74"/>
                      <a:pt x="206" y="75"/>
                    </a:cubicBezTo>
                    <a:cubicBezTo>
                      <a:pt x="205" y="75"/>
                      <a:pt x="203" y="77"/>
                      <a:pt x="201" y="77"/>
                    </a:cubicBezTo>
                    <a:cubicBezTo>
                      <a:pt x="203" y="75"/>
                      <a:pt x="205" y="74"/>
                      <a:pt x="208" y="74"/>
                    </a:cubicBezTo>
                    <a:cubicBezTo>
                      <a:pt x="207" y="72"/>
                      <a:pt x="205" y="73"/>
                      <a:pt x="204" y="74"/>
                    </a:cubicBezTo>
                    <a:cubicBezTo>
                      <a:pt x="205" y="73"/>
                      <a:pt x="206" y="73"/>
                      <a:pt x="207" y="72"/>
                    </a:cubicBezTo>
                    <a:cubicBezTo>
                      <a:pt x="207" y="72"/>
                      <a:pt x="208" y="71"/>
                      <a:pt x="208" y="71"/>
                    </a:cubicBezTo>
                    <a:cubicBezTo>
                      <a:pt x="209" y="70"/>
                      <a:pt x="210" y="70"/>
                      <a:pt x="211" y="70"/>
                    </a:cubicBezTo>
                    <a:cubicBezTo>
                      <a:pt x="213" y="69"/>
                      <a:pt x="215" y="69"/>
                      <a:pt x="217" y="69"/>
                    </a:cubicBezTo>
                    <a:cubicBezTo>
                      <a:pt x="218" y="68"/>
                      <a:pt x="218" y="68"/>
                      <a:pt x="219" y="68"/>
                    </a:cubicBezTo>
                    <a:cubicBezTo>
                      <a:pt x="219" y="68"/>
                      <a:pt x="220" y="67"/>
                      <a:pt x="220" y="67"/>
                    </a:cubicBezTo>
                    <a:cubicBezTo>
                      <a:pt x="221" y="67"/>
                      <a:pt x="221" y="67"/>
                      <a:pt x="222" y="67"/>
                    </a:cubicBezTo>
                    <a:cubicBezTo>
                      <a:pt x="222" y="66"/>
                      <a:pt x="223" y="64"/>
                      <a:pt x="223" y="64"/>
                    </a:cubicBezTo>
                    <a:cubicBezTo>
                      <a:pt x="222" y="63"/>
                      <a:pt x="220" y="63"/>
                      <a:pt x="219" y="62"/>
                    </a:cubicBezTo>
                    <a:cubicBezTo>
                      <a:pt x="218" y="62"/>
                      <a:pt x="217" y="61"/>
                      <a:pt x="216" y="61"/>
                    </a:cubicBezTo>
                    <a:cubicBezTo>
                      <a:pt x="215" y="61"/>
                      <a:pt x="214" y="60"/>
                      <a:pt x="213" y="60"/>
                    </a:cubicBezTo>
                    <a:cubicBezTo>
                      <a:pt x="211" y="59"/>
                      <a:pt x="210" y="60"/>
                      <a:pt x="208" y="61"/>
                    </a:cubicBezTo>
                    <a:cubicBezTo>
                      <a:pt x="207" y="62"/>
                      <a:pt x="206" y="63"/>
                      <a:pt x="204" y="63"/>
                    </a:cubicBezTo>
                    <a:cubicBezTo>
                      <a:pt x="204" y="63"/>
                      <a:pt x="203" y="63"/>
                      <a:pt x="202" y="63"/>
                    </a:cubicBezTo>
                    <a:cubicBezTo>
                      <a:pt x="202" y="63"/>
                      <a:pt x="203" y="64"/>
                      <a:pt x="203" y="65"/>
                    </a:cubicBezTo>
                    <a:cubicBezTo>
                      <a:pt x="202" y="64"/>
                      <a:pt x="201" y="63"/>
                      <a:pt x="201" y="63"/>
                    </a:cubicBezTo>
                    <a:cubicBezTo>
                      <a:pt x="202" y="62"/>
                      <a:pt x="203" y="62"/>
                      <a:pt x="204" y="62"/>
                    </a:cubicBezTo>
                    <a:cubicBezTo>
                      <a:pt x="204" y="62"/>
                      <a:pt x="205" y="62"/>
                      <a:pt x="205" y="61"/>
                    </a:cubicBezTo>
                    <a:cubicBezTo>
                      <a:pt x="206" y="61"/>
                      <a:pt x="207" y="60"/>
                      <a:pt x="207" y="59"/>
                    </a:cubicBezTo>
                    <a:cubicBezTo>
                      <a:pt x="208" y="58"/>
                      <a:pt x="207" y="58"/>
                      <a:pt x="206" y="58"/>
                    </a:cubicBezTo>
                    <a:cubicBezTo>
                      <a:pt x="204" y="59"/>
                      <a:pt x="202" y="60"/>
                      <a:pt x="200" y="61"/>
                    </a:cubicBezTo>
                    <a:cubicBezTo>
                      <a:pt x="199" y="61"/>
                      <a:pt x="199" y="61"/>
                      <a:pt x="198" y="62"/>
                    </a:cubicBezTo>
                    <a:cubicBezTo>
                      <a:pt x="197" y="62"/>
                      <a:pt x="196" y="62"/>
                      <a:pt x="196" y="63"/>
                    </a:cubicBezTo>
                    <a:cubicBezTo>
                      <a:pt x="195" y="65"/>
                      <a:pt x="194" y="67"/>
                      <a:pt x="194" y="69"/>
                    </a:cubicBezTo>
                    <a:cubicBezTo>
                      <a:pt x="193" y="70"/>
                      <a:pt x="193" y="71"/>
                      <a:pt x="192" y="71"/>
                    </a:cubicBezTo>
                    <a:cubicBezTo>
                      <a:pt x="192" y="69"/>
                      <a:pt x="193" y="68"/>
                      <a:pt x="194" y="66"/>
                    </a:cubicBezTo>
                    <a:cubicBezTo>
                      <a:pt x="194" y="65"/>
                      <a:pt x="194" y="65"/>
                      <a:pt x="194" y="64"/>
                    </a:cubicBezTo>
                    <a:cubicBezTo>
                      <a:pt x="193" y="64"/>
                      <a:pt x="192" y="64"/>
                      <a:pt x="191" y="64"/>
                    </a:cubicBezTo>
                    <a:cubicBezTo>
                      <a:pt x="192" y="63"/>
                      <a:pt x="190" y="64"/>
                      <a:pt x="189" y="64"/>
                    </a:cubicBezTo>
                    <a:cubicBezTo>
                      <a:pt x="189" y="64"/>
                      <a:pt x="190" y="64"/>
                      <a:pt x="190" y="64"/>
                    </a:cubicBezTo>
                    <a:cubicBezTo>
                      <a:pt x="190" y="63"/>
                      <a:pt x="189" y="63"/>
                      <a:pt x="190" y="63"/>
                    </a:cubicBezTo>
                    <a:cubicBezTo>
                      <a:pt x="191" y="63"/>
                      <a:pt x="192" y="63"/>
                      <a:pt x="193" y="63"/>
                    </a:cubicBezTo>
                    <a:cubicBezTo>
                      <a:pt x="194" y="63"/>
                      <a:pt x="195" y="62"/>
                      <a:pt x="196" y="61"/>
                    </a:cubicBezTo>
                    <a:cubicBezTo>
                      <a:pt x="198" y="61"/>
                      <a:pt x="198" y="60"/>
                      <a:pt x="199" y="59"/>
                    </a:cubicBezTo>
                    <a:cubicBezTo>
                      <a:pt x="200" y="57"/>
                      <a:pt x="201" y="57"/>
                      <a:pt x="200" y="55"/>
                    </a:cubicBezTo>
                    <a:cubicBezTo>
                      <a:pt x="200" y="55"/>
                      <a:pt x="199" y="53"/>
                      <a:pt x="198" y="53"/>
                    </a:cubicBezTo>
                    <a:cubicBezTo>
                      <a:pt x="197" y="53"/>
                      <a:pt x="195" y="55"/>
                      <a:pt x="194" y="55"/>
                    </a:cubicBezTo>
                    <a:cubicBezTo>
                      <a:pt x="194" y="56"/>
                      <a:pt x="194" y="58"/>
                      <a:pt x="193" y="58"/>
                    </a:cubicBezTo>
                    <a:cubicBezTo>
                      <a:pt x="192" y="58"/>
                      <a:pt x="192" y="58"/>
                      <a:pt x="191" y="58"/>
                    </a:cubicBezTo>
                    <a:cubicBezTo>
                      <a:pt x="189" y="58"/>
                      <a:pt x="187" y="59"/>
                      <a:pt x="185" y="60"/>
                    </a:cubicBezTo>
                    <a:cubicBezTo>
                      <a:pt x="184" y="60"/>
                      <a:pt x="183" y="60"/>
                      <a:pt x="182" y="61"/>
                    </a:cubicBezTo>
                    <a:cubicBezTo>
                      <a:pt x="182" y="61"/>
                      <a:pt x="182" y="61"/>
                      <a:pt x="182" y="60"/>
                    </a:cubicBezTo>
                    <a:cubicBezTo>
                      <a:pt x="182" y="59"/>
                      <a:pt x="185" y="59"/>
                      <a:pt x="183" y="58"/>
                    </a:cubicBezTo>
                    <a:cubicBezTo>
                      <a:pt x="182" y="57"/>
                      <a:pt x="179" y="59"/>
                      <a:pt x="178" y="59"/>
                    </a:cubicBezTo>
                    <a:cubicBezTo>
                      <a:pt x="179" y="59"/>
                      <a:pt x="180" y="59"/>
                      <a:pt x="181" y="58"/>
                    </a:cubicBezTo>
                    <a:cubicBezTo>
                      <a:pt x="183" y="57"/>
                      <a:pt x="183" y="56"/>
                      <a:pt x="184" y="55"/>
                    </a:cubicBezTo>
                    <a:cubicBezTo>
                      <a:pt x="185" y="54"/>
                      <a:pt x="186" y="53"/>
                      <a:pt x="188" y="54"/>
                    </a:cubicBezTo>
                    <a:cubicBezTo>
                      <a:pt x="189" y="54"/>
                      <a:pt x="190" y="55"/>
                      <a:pt x="191" y="54"/>
                    </a:cubicBezTo>
                    <a:cubicBezTo>
                      <a:pt x="192" y="54"/>
                      <a:pt x="192" y="52"/>
                      <a:pt x="193" y="52"/>
                    </a:cubicBezTo>
                    <a:cubicBezTo>
                      <a:pt x="194" y="51"/>
                      <a:pt x="194" y="51"/>
                      <a:pt x="194" y="51"/>
                    </a:cubicBezTo>
                    <a:cubicBezTo>
                      <a:pt x="194" y="50"/>
                      <a:pt x="193" y="49"/>
                      <a:pt x="193" y="49"/>
                    </a:cubicBezTo>
                    <a:cubicBezTo>
                      <a:pt x="192" y="47"/>
                      <a:pt x="190" y="46"/>
                      <a:pt x="188" y="46"/>
                    </a:cubicBezTo>
                    <a:cubicBezTo>
                      <a:pt x="187" y="45"/>
                      <a:pt x="186" y="45"/>
                      <a:pt x="185" y="45"/>
                    </a:cubicBezTo>
                    <a:cubicBezTo>
                      <a:pt x="184" y="44"/>
                      <a:pt x="183" y="44"/>
                      <a:pt x="182" y="44"/>
                    </a:cubicBezTo>
                    <a:cubicBezTo>
                      <a:pt x="181" y="44"/>
                      <a:pt x="180" y="43"/>
                      <a:pt x="180" y="43"/>
                    </a:cubicBezTo>
                    <a:cubicBezTo>
                      <a:pt x="179" y="44"/>
                      <a:pt x="177" y="45"/>
                      <a:pt x="177" y="46"/>
                    </a:cubicBezTo>
                    <a:cubicBezTo>
                      <a:pt x="178" y="48"/>
                      <a:pt x="177" y="47"/>
                      <a:pt x="176" y="48"/>
                    </a:cubicBezTo>
                    <a:close/>
                    <a:moveTo>
                      <a:pt x="34" y="56"/>
                    </a:moveTo>
                    <a:cubicBezTo>
                      <a:pt x="35" y="56"/>
                      <a:pt x="35" y="56"/>
                      <a:pt x="35" y="56"/>
                    </a:cubicBezTo>
                    <a:cubicBezTo>
                      <a:pt x="35" y="56"/>
                      <a:pt x="35" y="56"/>
                      <a:pt x="34" y="56"/>
                    </a:cubicBezTo>
                    <a:close/>
                    <a:moveTo>
                      <a:pt x="38" y="56"/>
                    </a:moveTo>
                    <a:cubicBezTo>
                      <a:pt x="38" y="56"/>
                      <a:pt x="38" y="56"/>
                      <a:pt x="38" y="56"/>
                    </a:cubicBezTo>
                    <a:cubicBezTo>
                      <a:pt x="38" y="56"/>
                      <a:pt x="38" y="56"/>
                      <a:pt x="38" y="56"/>
                    </a:cubicBezTo>
                    <a:close/>
                    <a:moveTo>
                      <a:pt x="46" y="52"/>
                    </a:moveTo>
                    <a:cubicBezTo>
                      <a:pt x="46" y="52"/>
                      <a:pt x="46" y="52"/>
                      <a:pt x="47" y="52"/>
                    </a:cubicBezTo>
                    <a:cubicBezTo>
                      <a:pt x="46" y="52"/>
                      <a:pt x="46" y="52"/>
                      <a:pt x="46" y="52"/>
                    </a:cubicBezTo>
                    <a:close/>
                    <a:moveTo>
                      <a:pt x="49" y="52"/>
                    </a:moveTo>
                    <a:cubicBezTo>
                      <a:pt x="49" y="52"/>
                      <a:pt x="49" y="52"/>
                      <a:pt x="49" y="52"/>
                    </a:cubicBezTo>
                    <a:cubicBezTo>
                      <a:pt x="49" y="52"/>
                      <a:pt x="49" y="52"/>
                      <a:pt x="49" y="52"/>
                    </a:cubicBezTo>
                    <a:close/>
                    <a:moveTo>
                      <a:pt x="49" y="18"/>
                    </a:moveTo>
                    <a:cubicBezTo>
                      <a:pt x="49" y="18"/>
                      <a:pt x="49" y="18"/>
                      <a:pt x="49" y="18"/>
                    </a:cubicBezTo>
                    <a:cubicBezTo>
                      <a:pt x="49" y="18"/>
                      <a:pt x="49" y="18"/>
                      <a:pt x="49" y="18"/>
                    </a:cubicBezTo>
                    <a:close/>
                    <a:moveTo>
                      <a:pt x="50" y="18"/>
                    </a:moveTo>
                    <a:cubicBezTo>
                      <a:pt x="50" y="18"/>
                      <a:pt x="50" y="18"/>
                      <a:pt x="50" y="18"/>
                    </a:cubicBezTo>
                    <a:cubicBezTo>
                      <a:pt x="50" y="18"/>
                      <a:pt x="50" y="18"/>
                      <a:pt x="50" y="18"/>
                    </a:cubicBezTo>
                    <a:close/>
                    <a:moveTo>
                      <a:pt x="50" y="47"/>
                    </a:moveTo>
                    <a:cubicBezTo>
                      <a:pt x="50" y="47"/>
                      <a:pt x="51" y="47"/>
                      <a:pt x="51" y="47"/>
                    </a:cubicBezTo>
                    <a:cubicBezTo>
                      <a:pt x="51" y="47"/>
                      <a:pt x="50" y="47"/>
                      <a:pt x="50" y="47"/>
                    </a:cubicBezTo>
                    <a:close/>
                    <a:moveTo>
                      <a:pt x="52" y="29"/>
                    </a:moveTo>
                    <a:cubicBezTo>
                      <a:pt x="53" y="29"/>
                      <a:pt x="53" y="29"/>
                      <a:pt x="53" y="29"/>
                    </a:cubicBezTo>
                    <a:cubicBezTo>
                      <a:pt x="53" y="29"/>
                      <a:pt x="53" y="29"/>
                      <a:pt x="52" y="29"/>
                    </a:cubicBezTo>
                    <a:close/>
                    <a:moveTo>
                      <a:pt x="53" y="53"/>
                    </a:moveTo>
                    <a:cubicBezTo>
                      <a:pt x="53" y="53"/>
                      <a:pt x="53" y="53"/>
                      <a:pt x="53" y="53"/>
                    </a:cubicBezTo>
                    <a:cubicBezTo>
                      <a:pt x="53" y="53"/>
                      <a:pt x="53" y="53"/>
                      <a:pt x="53" y="53"/>
                    </a:cubicBezTo>
                    <a:close/>
                    <a:moveTo>
                      <a:pt x="286" y="139"/>
                    </a:moveTo>
                    <a:cubicBezTo>
                      <a:pt x="286" y="139"/>
                      <a:pt x="286" y="139"/>
                      <a:pt x="286" y="139"/>
                    </a:cubicBezTo>
                    <a:cubicBezTo>
                      <a:pt x="287" y="139"/>
                      <a:pt x="287" y="139"/>
                      <a:pt x="287" y="139"/>
                    </a:cubicBezTo>
                    <a:cubicBezTo>
                      <a:pt x="287" y="139"/>
                      <a:pt x="286" y="140"/>
                      <a:pt x="286" y="139"/>
                    </a:cubicBezTo>
                    <a:close/>
                    <a:moveTo>
                      <a:pt x="229" y="108"/>
                    </a:moveTo>
                    <a:cubicBezTo>
                      <a:pt x="229" y="107"/>
                      <a:pt x="228" y="107"/>
                      <a:pt x="228" y="107"/>
                    </a:cubicBezTo>
                    <a:cubicBezTo>
                      <a:pt x="228" y="107"/>
                      <a:pt x="229" y="107"/>
                      <a:pt x="229" y="108"/>
                    </a:cubicBezTo>
                    <a:close/>
                    <a:moveTo>
                      <a:pt x="228" y="107"/>
                    </a:moveTo>
                    <a:cubicBezTo>
                      <a:pt x="228" y="107"/>
                      <a:pt x="228" y="107"/>
                      <a:pt x="228" y="106"/>
                    </a:cubicBezTo>
                    <a:cubicBezTo>
                      <a:pt x="228" y="107"/>
                      <a:pt x="228" y="107"/>
                      <a:pt x="22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9" name="Freeform 2076">
                <a:extLst>
                  <a:ext uri="{FF2B5EF4-FFF2-40B4-BE49-F238E27FC236}">
                    <a16:creationId xmlns:a16="http://schemas.microsoft.com/office/drawing/2014/main" id="{4F8CF732-9CBB-4FAE-A619-86AAA150177F}"/>
                  </a:ext>
                </a:extLst>
              </p:cNvPr>
              <p:cNvSpPr>
                <a:spLocks/>
              </p:cNvSpPr>
              <p:nvPr/>
            </p:nvSpPr>
            <p:spPr bwMode="auto">
              <a:xfrm>
                <a:off x="1906" y="876"/>
                <a:ext cx="0" cy="3"/>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0"/>
                      <a:pt x="0" y="1"/>
                      <a:pt x="0" y="1"/>
                    </a:cubicBezTo>
                    <a:cubicBezTo>
                      <a:pt x="0" y="1"/>
                      <a:pt x="0" y="1"/>
                      <a:pt x="0" y="1"/>
                    </a:cubicBezTo>
                    <a:cubicBezTo>
                      <a:pt x="0" y="1"/>
                      <a:pt x="0"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0" name="Freeform 2077">
                <a:extLst>
                  <a:ext uri="{FF2B5EF4-FFF2-40B4-BE49-F238E27FC236}">
                    <a16:creationId xmlns:a16="http://schemas.microsoft.com/office/drawing/2014/main" id="{8CEBB80A-6C99-4685-B53A-BD56F36160FF}"/>
                  </a:ext>
                </a:extLst>
              </p:cNvPr>
              <p:cNvSpPr>
                <a:spLocks/>
              </p:cNvSpPr>
              <p:nvPr/>
            </p:nvSpPr>
            <p:spPr bwMode="auto">
              <a:xfrm>
                <a:off x="1128" y="751"/>
                <a:ext cx="5" cy="7"/>
              </a:xfrm>
              <a:custGeom>
                <a:avLst/>
                <a:gdLst>
                  <a:gd name="T0" fmla="*/ 2 w 2"/>
                  <a:gd name="T1" fmla="*/ 3 h 3"/>
                  <a:gd name="T2" fmla="*/ 2 w 2"/>
                  <a:gd name="T3" fmla="*/ 2 h 3"/>
                  <a:gd name="T4" fmla="*/ 2 w 2"/>
                  <a:gd name="T5" fmla="*/ 1 h 3"/>
                  <a:gd name="T6" fmla="*/ 2 w 2"/>
                  <a:gd name="T7" fmla="*/ 0 h 3"/>
                  <a:gd name="T8" fmla="*/ 1 w 2"/>
                  <a:gd name="T9" fmla="*/ 0 h 3"/>
                  <a:gd name="T10" fmla="*/ 0 w 2"/>
                  <a:gd name="T11" fmla="*/ 0 h 3"/>
                  <a:gd name="T12" fmla="*/ 0 w 2"/>
                  <a:gd name="T13" fmla="*/ 1 h 3"/>
                  <a:gd name="T14" fmla="*/ 2 w 2"/>
                  <a:gd name="T15" fmla="*/ 3 h 3"/>
                  <a:gd name="T16" fmla="*/ 2 w 2"/>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3"/>
                    </a:moveTo>
                    <a:cubicBezTo>
                      <a:pt x="2" y="2"/>
                      <a:pt x="2" y="2"/>
                      <a:pt x="2" y="2"/>
                    </a:cubicBezTo>
                    <a:cubicBezTo>
                      <a:pt x="2" y="2"/>
                      <a:pt x="2" y="1"/>
                      <a:pt x="2" y="1"/>
                    </a:cubicBezTo>
                    <a:cubicBezTo>
                      <a:pt x="2" y="1"/>
                      <a:pt x="2" y="0"/>
                      <a:pt x="2" y="0"/>
                    </a:cubicBezTo>
                    <a:cubicBezTo>
                      <a:pt x="2" y="0"/>
                      <a:pt x="1" y="0"/>
                      <a:pt x="1" y="0"/>
                    </a:cubicBezTo>
                    <a:cubicBezTo>
                      <a:pt x="1" y="0"/>
                      <a:pt x="1" y="0"/>
                      <a:pt x="0" y="0"/>
                    </a:cubicBezTo>
                    <a:cubicBezTo>
                      <a:pt x="0" y="0"/>
                      <a:pt x="0" y="1"/>
                      <a:pt x="0" y="1"/>
                    </a:cubicBezTo>
                    <a:cubicBezTo>
                      <a:pt x="0" y="2"/>
                      <a:pt x="2" y="3"/>
                      <a:pt x="2" y="3"/>
                    </a:cubicBezTo>
                    <a:cubicBezTo>
                      <a:pt x="2" y="3"/>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1" name="Freeform 2078">
                <a:extLst>
                  <a:ext uri="{FF2B5EF4-FFF2-40B4-BE49-F238E27FC236}">
                    <a16:creationId xmlns:a16="http://schemas.microsoft.com/office/drawing/2014/main" id="{653F1182-38CF-4D65-A22A-948BF9AA7724}"/>
                  </a:ext>
                </a:extLst>
              </p:cNvPr>
              <p:cNvSpPr>
                <a:spLocks/>
              </p:cNvSpPr>
              <p:nvPr/>
            </p:nvSpPr>
            <p:spPr bwMode="auto">
              <a:xfrm>
                <a:off x="1537" y="1581"/>
                <a:ext cx="40" cy="15"/>
              </a:xfrm>
              <a:custGeom>
                <a:avLst/>
                <a:gdLst>
                  <a:gd name="T0" fmla="*/ 0 w 17"/>
                  <a:gd name="T1" fmla="*/ 1 h 6"/>
                  <a:gd name="T2" fmla="*/ 1 w 17"/>
                  <a:gd name="T3" fmla="*/ 1 h 6"/>
                  <a:gd name="T4" fmla="*/ 3 w 17"/>
                  <a:gd name="T5" fmla="*/ 2 h 6"/>
                  <a:gd name="T6" fmla="*/ 8 w 17"/>
                  <a:gd name="T7" fmla="*/ 3 h 6"/>
                  <a:gd name="T8" fmla="*/ 11 w 17"/>
                  <a:gd name="T9" fmla="*/ 5 h 6"/>
                  <a:gd name="T10" fmla="*/ 13 w 17"/>
                  <a:gd name="T11" fmla="*/ 5 h 6"/>
                  <a:gd name="T12" fmla="*/ 15 w 17"/>
                  <a:gd name="T13" fmla="*/ 4 h 6"/>
                  <a:gd name="T14" fmla="*/ 13 w 17"/>
                  <a:gd name="T15" fmla="*/ 5 h 6"/>
                  <a:gd name="T16" fmla="*/ 13 w 17"/>
                  <a:gd name="T17" fmla="*/ 5 h 6"/>
                  <a:gd name="T18" fmla="*/ 14 w 17"/>
                  <a:gd name="T19" fmla="*/ 5 h 6"/>
                  <a:gd name="T20" fmla="*/ 14 w 17"/>
                  <a:gd name="T21" fmla="*/ 6 h 6"/>
                  <a:gd name="T22" fmla="*/ 16 w 17"/>
                  <a:gd name="T23" fmla="*/ 4 h 6"/>
                  <a:gd name="T24" fmla="*/ 17 w 17"/>
                  <a:gd name="T25" fmla="*/ 2 h 6"/>
                  <a:gd name="T26" fmla="*/ 16 w 17"/>
                  <a:gd name="T27" fmla="*/ 1 h 6"/>
                  <a:gd name="T28" fmla="*/ 15 w 17"/>
                  <a:gd name="T29" fmla="*/ 3 h 6"/>
                  <a:gd name="T30" fmla="*/ 15 w 17"/>
                  <a:gd name="T31" fmla="*/ 2 h 6"/>
                  <a:gd name="T32" fmla="*/ 13 w 17"/>
                  <a:gd name="T33" fmla="*/ 0 h 6"/>
                  <a:gd name="T34" fmla="*/ 13 w 17"/>
                  <a:gd name="T35" fmla="*/ 0 h 6"/>
                  <a:gd name="T36" fmla="*/ 11 w 17"/>
                  <a:gd name="T37" fmla="*/ 0 h 6"/>
                  <a:gd name="T38" fmla="*/ 11 w 17"/>
                  <a:gd name="T39" fmla="*/ 0 h 6"/>
                  <a:gd name="T40" fmla="*/ 9 w 17"/>
                  <a:gd name="T41" fmla="*/ 0 h 6"/>
                  <a:gd name="T42" fmla="*/ 8 w 17"/>
                  <a:gd name="T43" fmla="*/ 0 h 6"/>
                  <a:gd name="T44" fmla="*/ 7 w 17"/>
                  <a:gd name="T45" fmla="*/ 1 h 6"/>
                  <a:gd name="T46" fmla="*/ 6 w 17"/>
                  <a:gd name="T47" fmla="*/ 1 h 6"/>
                  <a:gd name="T48" fmla="*/ 5 w 17"/>
                  <a:gd name="T49" fmla="*/ 1 h 6"/>
                  <a:gd name="T50" fmla="*/ 5 w 17"/>
                  <a:gd name="T51" fmla="*/ 1 h 6"/>
                  <a:gd name="T52" fmla="*/ 5 w 17"/>
                  <a:gd name="T53" fmla="*/ 1 h 6"/>
                  <a:gd name="T54" fmla="*/ 5 w 17"/>
                  <a:gd name="T55" fmla="*/ 1 h 6"/>
                  <a:gd name="T56" fmla="*/ 3 w 17"/>
                  <a:gd name="T57" fmla="*/ 0 h 6"/>
                  <a:gd name="T58" fmla="*/ 3 w 17"/>
                  <a:gd name="T59" fmla="*/ 0 h 6"/>
                  <a:gd name="T60" fmla="*/ 0 w 17"/>
                  <a:gd name="T61" fmla="*/ 1 h 6"/>
                  <a:gd name="T62" fmla="*/ 0 w 17"/>
                  <a:gd name="T63" fmla="*/ 1 h 6"/>
                  <a:gd name="T64" fmla="*/ 0 w 17"/>
                  <a:gd name="T6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 h="6">
                    <a:moveTo>
                      <a:pt x="0" y="1"/>
                    </a:moveTo>
                    <a:cubicBezTo>
                      <a:pt x="0" y="1"/>
                      <a:pt x="1" y="1"/>
                      <a:pt x="1" y="1"/>
                    </a:cubicBezTo>
                    <a:cubicBezTo>
                      <a:pt x="2" y="1"/>
                      <a:pt x="2" y="2"/>
                      <a:pt x="3" y="2"/>
                    </a:cubicBezTo>
                    <a:cubicBezTo>
                      <a:pt x="5" y="2"/>
                      <a:pt x="6" y="3"/>
                      <a:pt x="8" y="3"/>
                    </a:cubicBezTo>
                    <a:cubicBezTo>
                      <a:pt x="9" y="4"/>
                      <a:pt x="10" y="4"/>
                      <a:pt x="11" y="5"/>
                    </a:cubicBezTo>
                    <a:cubicBezTo>
                      <a:pt x="12" y="5"/>
                      <a:pt x="12" y="5"/>
                      <a:pt x="13" y="5"/>
                    </a:cubicBezTo>
                    <a:cubicBezTo>
                      <a:pt x="14" y="4"/>
                      <a:pt x="14" y="4"/>
                      <a:pt x="15" y="4"/>
                    </a:cubicBezTo>
                    <a:cubicBezTo>
                      <a:pt x="15" y="4"/>
                      <a:pt x="14" y="5"/>
                      <a:pt x="13" y="5"/>
                    </a:cubicBezTo>
                    <a:cubicBezTo>
                      <a:pt x="13" y="5"/>
                      <a:pt x="13" y="5"/>
                      <a:pt x="13" y="5"/>
                    </a:cubicBezTo>
                    <a:cubicBezTo>
                      <a:pt x="14" y="5"/>
                      <a:pt x="14" y="5"/>
                      <a:pt x="14" y="5"/>
                    </a:cubicBezTo>
                    <a:cubicBezTo>
                      <a:pt x="14" y="6"/>
                      <a:pt x="14" y="6"/>
                      <a:pt x="14" y="6"/>
                    </a:cubicBezTo>
                    <a:cubicBezTo>
                      <a:pt x="15" y="5"/>
                      <a:pt x="15" y="4"/>
                      <a:pt x="16" y="4"/>
                    </a:cubicBezTo>
                    <a:cubicBezTo>
                      <a:pt x="16" y="3"/>
                      <a:pt x="17" y="3"/>
                      <a:pt x="17" y="2"/>
                    </a:cubicBezTo>
                    <a:cubicBezTo>
                      <a:pt x="16" y="2"/>
                      <a:pt x="17" y="0"/>
                      <a:pt x="16" y="1"/>
                    </a:cubicBezTo>
                    <a:cubicBezTo>
                      <a:pt x="15" y="1"/>
                      <a:pt x="15" y="2"/>
                      <a:pt x="15" y="3"/>
                    </a:cubicBezTo>
                    <a:cubicBezTo>
                      <a:pt x="15" y="3"/>
                      <a:pt x="15" y="2"/>
                      <a:pt x="15" y="2"/>
                    </a:cubicBezTo>
                    <a:cubicBezTo>
                      <a:pt x="14" y="1"/>
                      <a:pt x="14" y="0"/>
                      <a:pt x="13" y="0"/>
                    </a:cubicBezTo>
                    <a:cubicBezTo>
                      <a:pt x="13" y="0"/>
                      <a:pt x="13" y="0"/>
                      <a:pt x="13" y="0"/>
                    </a:cubicBezTo>
                    <a:cubicBezTo>
                      <a:pt x="12" y="0"/>
                      <a:pt x="12" y="0"/>
                      <a:pt x="11" y="0"/>
                    </a:cubicBezTo>
                    <a:cubicBezTo>
                      <a:pt x="11" y="0"/>
                      <a:pt x="11" y="0"/>
                      <a:pt x="11" y="0"/>
                    </a:cubicBezTo>
                    <a:cubicBezTo>
                      <a:pt x="10" y="0"/>
                      <a:pt x="10" y="0"/>
                      <a:pt x="9" y="0"/>
                    </a:cubicBezTo>
                    <a:cubicBezTo>
                      <a:pt x="9" y="0"/>
                      <a:pt x="8" y="0"/>
                      <a:pt x="8" y="0"/>
                    </a:cubicBezTo>
                    <a:cubicBezTo>
                      <a:pt x="7" y="0"/>
                      <a:pt x="7" y="1"/>
                      <a:pt x="7" y="1"/>
                    </a:cubicBezTo>
                    <a:cubicBezTo>
                      <a:pt x="6" y="1"/>
                      <a:pt x="6" y="1"/>
                      <a:pt x="6" y="1"/>
                    </a:cubicBezTo>
                    <a:cubicBezTo>
                      <a:pt x="5" y="1"/>
                      <a:pt x="5" y="1"/>
                      <a:pt x="5" y="1"/>
                    </a:cubicBezTo>
                    <a:cubicBezTo>
                      <a:pt x="5" y="1"/>
                      <a:pt x="5" y="1"/>
                      <a:pt x="5" y="1"/>
                    </a:cubicBezTo>
                    <a:cubicBezTo>
                      <a:pt x="5" y="1"/>
                      <a:pt x="5" y="1"/>
                      <a:pt x="5" y="1"/>
                    </a:cubicBezTo>
                    <a:cubicBezTo>
                      <a:pt x="5" y="1"/>
                      <a:pt x="5" y="1"/>
                      <a:pt x="5" y="1"/>
                    </a:cubicBezTo>
                    <a:cubicBezTo>
                      <a:pt x="4" y="0"/>
                      <a:pt x="5" y="0"/>
                      <a:pt x="3" y="0"/>
                    </a:cubicBezTo>
                    <a:cubicBezTo>
                      <a:pt x="3" y="0"/>
                      <a:pt x="3" y="0"/>
                      <a:pt x="3" y="0"/>
                    </a:cubicBezTo>
                    <a:cubicBezTo>
                      <a:pt x="2" y="0"/>
                      <a:pt x="0" y="1"/>
                      <a:pt x="0" y="1"/>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2" name="Freeform 2079">
                <a:extLst>
                  <a:ext uri="{FF2B5EF4-FFF2-40B4-BE49-F238E27FC236}">
                    <a16:creationId xmlns:a16="http://schemas.microsoft.com/office/drawing/2014/main" id="{4DD14609-1ACA-47BB-9A67-273D0E6B3968}"/>
                  </a:ext>
                </a:extLst>
              </p:cNvPr>
              <p:cNvSpPr>
                <a:spLocks/>
              </p:cNvSpPr>
              <p:nvPr/>
            </p:nvSpPr>
            <p:spPr bwMode="auto">
              <a:xfrm>
                <a:off x="1982" y="1089"/>
                <a:ext cx="11" cy="7"/>
              </a:xfrm>
              <a:custGeom>
                <a:avLst/>
                <a:gdLst>
                  <a:gd name="T0" fmla="*/ 5 w 5"/>
                  <a:gd name="T1" fmla="*/ 2 h 3"/>
                  <a:gd name="T2" fmla="*/ 2 w 5"/>
                  <a:gd name="T3" fmla="*/ 1 h 3"/>
                  <a:gd name="T4" fmla="*/ 1 w 5"/>
                  <a:gd name="T5" fmla="*/ 0 h 3"/>
                  <a:gd name="T6" fmla="*/ 1 w 5"/>
                  <a:gd name="T7" fmla="*/ 0 h 3"/>
                  <a:gd name="T8" fmla="*/ 0 w 5"/>
                  <a:gd name="T9" fmla="*/ 0 h 3"/>
                  <a:gd name="T10" fmla="*/ 1 w 5"/>
                  <a:gd name="T11" fmla="*/ 1 h 3"/>
                  <a:gd name="T12" fmla="*/ 1 w 5"/>
                  <a:gd name="T13" fmla="*/ 1 h 3"/>
                  <a:gd name="T14" fmla="*/ 1 w 5"/>
                  <a:gd name="T15" fmla="*/ 2 h 3"/>
                  <a:gd name="T16" fmla="*/ 2 w 5"/>
                  <a:gd name="T17" fmla="*/ 2 h 3"/>
                  <a:gd name="T18" fmla="*/ 4 w 5"/>
                  <a:gd name="T19" fmla="*/ 3 h 3"/>
                  <a:gd name="T20" fmla="*/ 5 w 5"/>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3">
                    <a:moveTo>
                      <a:pt x="5" y="2"/>
                    </a:moveTo>
                    <a:cubicBezTo>
                      <a:pt x="4" y="1"/>
                      <a:pt x="3" y="1"/>
                      <a:pt x="2" y="1"/>
                    </a:cubicBezTo>
                    <a:cubicBezTo>
                      <a:pt x="1" y="1"/>
                      <a:pt x="1" y="1"/>
                      <a:pt x="1" y="0"/>
                    </a:cubicBezTo>
                    <a:cubicBezTo>
                      <a:pt x="1" y="0"/>
                      <a:pt x="1" y="0"/>
                      <a:pt x="1" y="0"/>
                    </a:cubicBezTo>
                    <a:cubicBezTo>
                      <a:pt x="1" y="0"/>
                      <a:pt x="0" y="0"/>
                      <a:pt x="0" y="0"/>
                    </a:cubicBezTo>
                    <a:cubicBezTo>
                      <a:pt x="0" y="1"/>
                      <a:pt x="1" y="1"/>
                      <a:pt x="1" y="1"/>
                    </a:cubicBezTo>
                    <a:cubicBezTo>
                      <a:pt x="1" y="1"/>
                      <a:pt x="1" y="1"/>
                      <a:pt x="1" y="1"/>
                    </a:cubicBezTo>
                    <a:cubicBezTo>
                      <a:pt x="1" y="2"/>
                      <a:pt x="1" y="2"/>
                      <a:pt x="1" y="2"/>
                    </a:cubicBezTo>
                    <a:cubicBezTo>
                      <a:pt x="2" y="2"/>
                      <a:pt x="2" y="2"/>
                      <a:pt x="2" y="2"/>
                    </a:cubicBezTo>
                    <a:cubicBezTo>
                      <a:pt x="2" y="2"/>
                      <a:pt x="3" y="2"/>
                      <a:pt x="4" y="3"/>
                    </a:cubicBezTo>
                    <a:cubicBezTo>
                      <a:pt x="4" y="2"/>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3" name="Freeform 2080">
                <a:extLst>
                  <a:ext uri="{FF2B5EF4-FFF2-40B4-BE49-F238E27FC236}">
                    <a16:creationId xmlns:a16="http://schemas.microsoft.com/office/drawing/2014/main" id="{BF14C178-1A12-4CB3-B7F2-ECC94CC8A2B3}"/>
                  </a:ext>
                </a:extLst>
              </p:cNvPr>
              <p:cNvSpPr>
                <a:spLocks/>
              </p:cNvSpPr>
              <p:nvPr/>
            </p:nvSpPr>
            <p:spPr bwMode="auto">
              <a:xfrm>
                <a:off x="1116" y="682"/>
                <a:ext cx="14" cy="12"/>
              </a:xfrm>
              <a:custGeom>
                <a:avLst/>
                <a:gdLst>
                  <a:gd name="T0" fmla="*/ 1 w 6"/>
                  <a:gd name="T1" fmla="*/ 3 h 5"/>
                  <a:gd name="T2" fmla="*/ 3 w 6"/>
                  <a:gd name="T3" fmla="*/ 4 h 5"/>
                  <a:gd name="T4" fmla="*/ 5 w 6"/>
                  <a:gd name="T5" fmla="*/ 5 h 5"/>
                  <a:gd name="T6" fmla="*/ 5 w 6"/>
                  <a:gd name="T7" fmla="*/ 3 h 5"/>
                  <a:gd name="T8" fmla="*/ 3 w 6"/>
                  <a:gd name="T9" fmla="*/ 1 h 5"/>
                  <a:gd name="T10" fmla="*/ 1 w 6"/>
                  <a:gd name="T11" fmla="*/ 1 h 5"/>
                  <a:gd name="T12" fmla="*/ 0 w 6"/>
                  <a:gd name="T13" fmla="*/ 0 h 5"/>
                  <a:gd name="T14" fmla="*/ 0 w 6"/>
                  <a:gd name="T15" fmla="*/ 2 h 5"/>
                  <a:gd name="T16" fmla="*/ 1 w 6"/>
                  <a:gd name="T17" fmla="*/ 3 h 5"/>
                  <a:gd name="T18" fmla="*/ 1 w 6"/>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1" y="3"/>
                    </a:moveTo>
                    <a:cubicBezTo>
                      <a:pt x="2" y="3"/>
                      <a:pt x="2" y="4"/>
                      <a:pt x="3" y="4"/>
                    </a:cubicBezTo>
                    <a:cubicBezTo>
                      <a:pt x="4" y="4"/>
                      <a:pt x="5" y="5"/>
                      <a:pt x="5" y="5"/>
                    </a:cubicBezTo>
                    <a:cubicBezTo>
                      <a:pt x="6" y="4"/>
                      <a:pt x="6" y="3"/>
                      <a:pt x="5" y="3"/>
                    </a:cubicBezTo>
                    <a:cubicBezTo>
                      <a:pt x="5" y="2"/>
                      <a:pt x="4" y="1"/>
                      <a:pt x="3" y="1"/>
                    </a:cubicBezTo>
                    <a:cubicBezTo>
                      <a:pt x="2" y="1"/>
                      <a:pt x="2" y="1"/>
                      <a:pt x="1" y="1"/>
                    </a:cubicBezTo>
                    <a:cubicBezTo>
                      <a:pt x="1" y="1"/>
                      <a:pt x="1" y="1"/>
                      <a:pt x="0" y="0"/>
                    </a:cubicBezTo>
                    <a:cubicBezTo>
                      <a:pt x="0" y="1"/>
                      <a:pt x="0" y="2"/>
                      <a:pt x="0" y="2"/>
                    </a:cubicBezTo>
                    <a:cubicBezTo>
                      <a:pt x="0" y="2"/>
                      <a:pt x="1" y="3"/>
                      <a:pt x="1" y="3"/>
                    </a:cubicBezTo>
                    <a:cubicBezTo>
                      <a:pt x="1"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4" name="Freeform 2081">
                <a:extLst>
                  <a:ext uri="{FF2B5EF4-FFF2-40B4-BE49-F238E27FC236}">
                    <a16:creationId xmlns:a16="http://schemas.microsoft.com/office/drawing/2014/main" id="{EB9AD027-C322-4BBC-8139-1F588BA96AB5}"/>
                  </a:ext>
                </a:extLst>
              </p:cNvPr>
              <p:cNvSpPr>
                <a:spLocks/>
              </p:cNvSpPr>
              <p:nvPr/>
            </p:nvSpPr>
            <p:spPr bwMode="auto">
              <a:xfrm>
                <a:off x="937" y="810"/>
                <a:ext cx="4" cy="10"/>
              </a:xfrm>
              <a:custGeom>
                <a:avLst/>
                <a:gdLst>
                  <a:gd name="T0" fmla="*/ 1 w 2"/>
                  <a:gd name="T1" fmla="*/ 4 h 4"/>
                  <a:gd name="T2" fmla="*/ 1 w 2"/>
                  <a:gd name="T3" fmla="*/ 4 h 4"/>
                  <a:gd name="T4" fmla="*/ 1 w 2"/>
                  <a:gd name="T5" fmla="*/ 4 h 4"/>
                  <a:gd name="T6" fmla="*/ 2 w 2"/>
                  <a:gd name="T7" fmla="*/ 2 h 4"/>
                  <a:gd name="T8" fmla="*/ 2 w 2"/>
                  <a:gd name="T9" fmla="*/ 2 h 4"/>
                  <a:gd name="T10" fmla="*/ 2 w 2"/>
                  <a:gd name="T11" fmla="*/ 1 h 4"/>
                  <a:gd name="T12" fmla="*/ 2 w 2"/>
                  <a:gd name="T13" fmla="*/ 1 h 4"/>
                  <a:gd name="T14" fmla="*/ 2 w 2"/>
                  <a:gd name="T15" fmla="*/ 1 h 4"/>
                  <a:gd name="T16" fmla="*/ 2 w 2"/>
                  <a:gd name="T17" fmla="*/ 1 h 4"/>
                  <a:gd name="T18" fmla="*/ 1 w 2"/>
                  <a:gd name="T19" fmla="*/ 1 h 4"/>
                  <a:gd name="T20" fmla="*/ 1 w 2"/>
                  <a:gd name="T21" fmla="*/ 1 h 4"/>
                  <a:gd name="T22" fmla="*/ 0 w 2"/>
                  <a:gd name="T23" fmla="*/ 1 h 4"/>
                  <a:gd name="T24" fmla="*/ 0 w 2"/>
                  <a:gd name="T25" fmla="*/ 1 h 4"/>
                  <a:gd name="T26" fmla="*/ 0 w 2"/>
                  <a:gd name="T27" fmla="*/ 3 h 4"/>
                  <a:gd name="T28" fmla="*/ 0 w 2"/>
                  <a:gd name="T29" fmla="*/ 3 h 4"/>
                  <a:gd name="T30" fmla="*/ 1 w 2"/>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4">
                    <a:moveTo>
                      <a:pt x="1" y="4"/>
                    </a:moveTo>
                    <a:cubicBezTo>
                      <a:pt x="1" y="4"/>
                      <a:pt x="1" y="4"/>
                      <a:pt x="1" y="4"/>
                    </a:cubicBezTo>
                    <a:cubicBezTo>
                      <a:pt x="1" y="4"/>
                      <a:pt x="1" y="4"/>
                      <a:pt x="1" y="4"/>
                    </a:cubicBezTo>
                    <a:cubicBezTo>
                      <a:pt x="2" y="4"/>
                      <a:pt x="2" y="3"/>
                      <a:pt x="2" y="2"/>
                    </a:cubicBezTo>
                    <a:cubicBezTo>
                      <a:pt x="2" y="2"/>
                      <a:pt x="2" y="2"/>
                      <a:pt x="2" y="2"/>
                    </a:cubicBezTo>
                    <a:cubicBezTo>
                      <a:pt x="2" y="2"/>
                      <a:pt x="2" y="1"/>
                      <a:pt x="2" y="1"/>
                    </a:cubicBezTo>
                    <a:cubicBezTo>
                      <a:pt x="2" y="1"/>
                      <a:pt x="2" y="1"/>
                      <a:pt x="2" y="1"/>
                    </a:cubicBezTo>
                    <a:cubicBezTo>
                      <a:pt x="2" y="1"/>
                      <a:pt x="2" y="1"/>
                      <a:pt x="2" y="1"/>
                    </a:cubicBezTo>
                    <a:cubicBezTo>
                      <a:pt x="2" y="1"/>
                      <a:pt x="2" y="1"/>
                      <a:pt x="2" y="1"/>
                    </a:cubicBezTo>
                    <a:cubicBezTo>
                      <a:pt x="2" y="0"/>
                      <a:pt x="1" y="0"/>
                      <a:pt x="1" y="1"/>
                    </a:cubicBezTo>
                    <a:cubicBezTo>
                      <a:pt x="1" y="1"/>
                      <a:pt x="1" y="1"/>
                      <a:pt x="1" y="1"/>
                    </a:cubicBezTo>
                    <a:cubicBezTo>
                      <a:pt x="1" y="1"/>
                      <a:pt x="0" y="1"/>
                      <a:pt x="0" y="1"/>
                    </a:cubicBezTo>
                    <a:cubicBezTo>
                      <a:pt x="0" y="1"/>
                      <a:pt x="0" y="1"/>
                      <a:pt x="0" y="1"/>
                    </a:cubicBezTo>
                    <a:cubicBezTo>
                      <a:pt x="0" y="1"/>
                      <a:pt x="0" y="2"/>
                      <a:pt x="0" y="3"/>
                    </a:cubicBezTo>
                    <a:cubicBezTo>
                      <a:pt x="0" y="3"/>
                      <a:pt x="0" y="3"/>
                      <a:pt x="0" y="3"/>
                    </a:cubicBezTo>
                    <a:cubicBezTo>
                      <a:pt x="0" y="3"/>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5" name="Freeform 2082">
                <a:extLst>
                  <a:ext uri="{FF2B5EF4-FFF2-40B4-BE49-F238E27FC236}">
                    <a16:creationId xmlns:a16="http://schemas.microsoft.com/office/drawing/2014/main" id="{77548F95-6A25-42F8-80C7-4F41EC11CB9E}"/>
                  </a:ext>
                </a:extLst>
              </p:cNvPr>
              <p:cNvSpPr>
                <a:spLocks/>
              </p:cNvSpPr>
              <p:nvPr/>
            </p:nvSpPr>
            <p:spPr bwMode="auto">
              <a:xfrm>
                <a:off x="1447" y="784"/>
                <a:ext cx="17" cy="26"/>
              </a:xfrm>
              <a:custGeom>
                <a:avLst/>
                <a:gdLst>
                  <a:gd name="T0" fmla="*/ 1 w 7"/>
                  <a:gd name="T1" fmla="*/ 7 h 11"/>
                  <a:gd name="T2" fmla="*/ 1 w 7"/>
                  <a:gd name="T3" fmla="*/ 7 h 11"/>
                  <a:gd name="T4" fmla="*/ 1 w 7"/>
                  <a:gd name="T5" fmla="*/ 8 h 11"/>
                  <a:gd name="T6" fmla="*/ 1 w 7"/>
                  <a:gd name="T7" fmla="*/ 8 h 11"/>
                  <a:gd name="T8" fmla="*/ 2 w 7"/>
                  <a:gd name="T9" fmla="*/ 9 h 11"/>
                  <a:gd name="T10" fmla="*/ 2 w 7"/>
                  <a:gd name="T11" fmla="*/ 10 h 11"/>
                  <a:gd name="T12" fmla="*/ 3 w 7"/>
                  <a:gd name="T13" fmla="*/ 10 h 11"/>
                  <a:gd name="T14" fmla="*/ 6 w 7"/>
                  <a:gd name="T15" fmla="*/ 9 h 11"/>
                  <a:gd name="T16" fmla="*/ 6 w 7"/>
                  <a:gd name="T17" fmla="*/ 3 h 11"/>
                  <a:gd name="T18" fmla="*/ 6 w 7"/>
                  <a:gd name="T19" fmla="*/ 3 h 11"/>
                  <a:gd name="T20" fmla="*/ 6 w 7"/>
                  <a:gd name="T21" fmla="*/ 3 h 11"/>
                  <a:gd name="T22" fmla="*/ 5 w 7"/>
                  <a:gd name="T23" fmla="*/ 1 h 11"/>
                  <a:gd name="T24" fmla="*/ 4 w 7"/>
                  <a:gd name="T25" fmla="*/ 0 h 11"/>
                  <a:gd name="T26" fmla="*/ 2 w 7"/>
                  <a:gd name="T27" fmla="*/ 2 h 11"/>
                  <a:gd name="T28" fmla="*/ 1 w 7"/>
                  <a:gd name="T29" fmla="*/ 4 h 11"/>
                  <a:gd name="T30" fmla="*/ 0 w 7"/>
                  <a:gd name="T31" fmla="*/ 4 h 11"/>
                  <a:gd name="T32" fmla="*/ 1 w 7"/>
                  <a:gd name="T33" fmla="*/ 5 h 11"/>
                  <a:gd name="T34" fmla="*/ 2 w 7"/>
                  <a:gd name="T35" fmla="*/ 6 h 11"/>
                  <a:gd name="T36" fmla="*/ 1 w 7"/>
                  <a:gd name="T3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1">
                    <a:moveTo>
                      <a:pt x="1" y="7"/>
                    </a:moveTo>
                    <a:cubicBezTo>
                      <a:pt x="1" y="7"/>
                      <a:pt x="1" y="7"/>
                      <a:pt x="1" y="7"/>
                    </a:cubicBezTo>
                    <a:cubicBezTo>
                      <a:pt x="1" y="8"/>
                      <a:pt x="1" y="8"/>
                      <a:pt x="1" y="8"/>
                    </a:cubicBezTo>
                    <a:cubicBezTo>
                      <a:pt x="1" y="8"/>
                      <a:pt x="1" y="8"/>
                      <a:pt x="1" y="8"/>
                    </a:cubicBezTo>
                    <a:cubicBezTo>
                      <a:pt x="1" y="8"/>
                      <a:pt x="1" y="9"/>
                      <a:pt x="2" y="9"/>
                    </a:cubicBezTo>
                    <a:cubicBezTo>
                      <a:pt x="2" y="9"/>
                      <a:pt x="2" y="9"/>
                      <a:pt x="2" y="10"/>
                    </a:cubicBezTo>
                    <a:cubicBezTo>
                      <a:pt x="3" y="10"/>
                      <a:pt x="3" y="10"/>
                      <a:pt x="3" y="10"/>
                    </a:cubicBezTo>
                    <a:cubicBezTo>
                      <a:pt x="5" y="11"/>
                      <a:pt x="6" y="10"/>
                      <a:pt x="6" y="9"/>
                    </a:cubicBezTo>
                    <a:cubicBezTo>
                      <a:pt x="7" y="7"/>
                      <a:pt x="6" y="4"/>
                      <a:pt x="6" y="3"/>
                    </a:cubicBezTo>
                    <a:cubicBezTo>
                      <a:pt x="6" y="3"/>
                      <a:pt x="6" y="3"/>
                      <a:pt x="6" y="3"/>
                    </a:cubicBezTo>
                    <a:cubicBezTo>
                      <a:pt x="6" y="3"/>
                      <a:pt x="6" y="3"/>
                      <a:pt x="6" y="3"/>
                    </a:cubicBezTo>
                    <a:cubicBezTo>
                      <a:pt x="6" y="2"/>
                      <a:pt x="6" y="2"/>
                      <a:pt x="5" y="1"/>
                    </a:cubicBezTo>
                    <a:cubicBezTo>
                      <a:pt x="5" y="1"/>
                      <a:pt x="4" y="0"/>
                      <a:pt x="4" y="0"/>
                    </a:cubicBezTo>
                    <a:cubicBezTo>
                      <a:pt x="3" y="0"/>
                      <a:pt x="2" y="1"/>
                      <a:pt x="2" y="2"/>
                    </a:cubicBezTo>
                    <a:cubicBezTo>
                      <a:pt x="2" y="2"/>
                      <a:pt x="1" y="3"/>
                      <a:pt x="1" y="4"/>
                    </a:cubicBezTo>
                    <a:cubicBezTo>
                      <a:pt x="1" y="4"/>
                      <a:pt x="0" y="4"/>
                      <a:pt x="0" y="4"/>
                    </a:cubicBezTo>
                    <a:cubicBezTo>
                      <a:pt x="0" y="5"/>
                      <a:pt x="1" y="5"/>
                      <a:pt x="1" y="5"/>
                    </a:cubicBezTo>
                    <a:cubicBezTo>
                      <a:pt x="2" y="6"/>
                      <a:pt x="2" y="6"/>
                      <a:pt x="2" y="6"/>
                    </a:cubicBezTo>
                    <a:cubicBezTo>
                      <a:pt x="1"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6" name="Freeform 2083">
                <a:extLst>
                  <a:ext uri="{FF2B5EF4-FFF2-40B4-BE49-F238E27FC236}">
                    <a16:creationId xmlns:a16="http://schemas.microsoft.com/office/drawing/2014/main" id="{78993616-73D3-498F-89F6-8C83B5C4EE6A}"/>
                  </a:ext>
                </a:extLst>
              </p:cNvPr>
              <p:cNvSpPr>
                <a:spLocks/>
              </p:cNvSpPr>
              <p:nvPr/>
            </p:nvSpPr>
            <p:spPr bwMode="auto">
              <a:xfrm>
                <a:off x="1074" y="339"/>
                <a:ext cx="38" cy="12"/>
              </a:xfrm>
              <a:custGeom>
                <a:avLst/>
                <a:gdLst>
                  <a:gd name="T0" fmla="*/ 1 w 16"/>
                  <a:gd name="T1" fmla="*/ 1 h 5"/>
                  <a:gd name="T2" fmla="*/ 0 w 16"/>
                  <a:gd name="T3" fmla="*/ 2 h 5"/>
                  <a:gd name="T4" fmla="*/ 0 w 16"/>
                  <a:gd name="T5" fmla="*/ 3 h 5"/>
                  <a:gd name="T6" fmla="*/ 4 w 16"/>
                  <a:gd name="T7" fmla="*/ 5 h 5"/>
                  <a:gd name="T8" fmla="*/ 9 w 16"/>
                  <a:gd name="T9" fmla="*/ 4 h 5"/>
                  <a:gd name="T10" fmla="*/ 16 w 16"/>
                  <a:gd name="T11" fmla="*/ 3 h 5"/>
                  <a:gd name="T12" fmla="*/ 15 w 16"/>
                  <a:gd name="T13" fmla="*/ 3 h 5"/>
                  <a:gd name="T14" fmla="*/ 14 w 16"/>
                  <a:gd name="T15" fmla="*/ 2 h 5"/>
                  <a:gd name="T16" fmla="*/ 14 w 16"/>
                  <a:gd name="T17" fmla="*/ 2 h 5"/>
                  <a:gd name="T18" fmla="*/ 11 w 16"/>
                  <a:gd name="T19" fmla="*/ 1 h 5"/>
                  <a:gd name="T20" fmla="*/ 10 w 16"/>
                  <a:gd name="T21" fmla="*/ 1 h 5"/>
                  <a:gd name="T22" fmla="*/ 8 w 16"/>
                  <a:gd name="T23" fmla="*/ 0 h 5"/>
                  <a:gd name="T24" fmla="*/ 7 w 16"/>
                  <a:gd name="T25" fmla="*/ 0 h 5"/>
                  <a:gd name="T26" fmla="*/ 7 w 16"/>
                  <a:gd name="T27" fmla="*/ 0 h 5"/>
                  <a:gd name="T28" fmla="*/ 6 w 16"/>
                  <a:gd name="T29" fmla="*/ 1 h 5"/>
                  <a:gd name="T30" fmla="*/ 5 w 16"/>
                  <a:gd name="T31" fmla="*/ 1 h 5"/>
                  <a:gd name="T32" fmla="*/ 5 w 16"/>
                  <a:gd name="T33" fmla="*/ 1 h 5"/>
                  <a:gd name="T34" fmla="*/ 1 w 16"/>
                  <a:gd name="T3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5">
                    <a:moveTo>
                      <a:pt x="1" y="1"/>
                    </a:moveTo>
                    <a:cubicBezTo>
                      <a:pt x="1" y="2"/>
                      <a:pt x="1" y="2"/>
                      <a:pt x="0" y="2"/>
                    </a:cubicBezTo>
                    <a:cubicBezTo>
                      <a:pt x="0" y="2"/>
                      <a:pt x="0" y="3"/>
                      <a:pt x="0" y="3"/>
                    </a:cubicBezTo>
                    <a:cubicBezTo>
                      <a:pt x="1" y="4"/>
                      <a:pt x="3" y="5"/>
                      <a:pt x="4" y="5"/>
                    </a:cubicBezTo>
                    <a:cubicBezTo>
                      <a:pt x="6" y="5"/>
                      <a:pt x="8" y="5"/>
                      <a:pt x="9" y="4"/>
                    </a:cubicBezTo>
                    <a:cubicBezTo>
                      <a:pt x="11" y="3"/>
                      <a:pt x="14" y="4"/>
                      <a:pt x="16" y="3"/>
                    </a:cubicBezTo>
                    <a:cubicBezTo>
                      <a:pt x="16" y="3"/>
                      <a:pt x="15" y="3"/>
                      <a:pt x="15" y="3"/>
                    </a:cubicBezTo>
                    <a:cubicBezTo>
                      <a:pt x="15" y="2"/>
                      <a:pt x="15" y="2"/>
                      <a:pt x="14" y="2"/>
                    </a:cubicBezTo>
                    <a:cubicBezTo>
                      <a:pt x="14" y="2"/>
                      <a:pt x="14" y="2"/>
                      <a:pt x="14" y="2"/>
                    </a:cubicBezTo>
                    <a:cubicBezTo>
                      <a:pt x="13" y="2"/>
                      <a:pt x="12" y="1"/>
                      <a:pt x="11" y="1"/>
                    </a:cubicBezTo>
                    <a:cubicBezTo>
                      <a:pt x="11" y="1"/>
                      <a:pt x="10" y="1"/>
                      <a:pt x="10" y="1"/>
                    </a:cubicBezTo>
                    <a:cubicBezTo>
                      <a:pt x="9" y="1"/>
                      <a:pt x="9" y="0"/>
                      <a:pt x="8" y="0"/>
                    </a:cubicBezTo>
                    <a:cubicBezTo>
                      <a:pt x="8" y="0"/>
                      <a:pt x="8" y="0"/>
                      <a:pt x="7" y="0"/>
                    </a:cubicBezTo>
                    <a:cubicBezTo>
                      <a:pt x="7" y="0"/>
                      <a:pt x="7" y="0"/>
                      <a:pt x="7" y="0"/>
                    </a:cubicBezTo>
                    <a:cubicBezTo>
                      <a:pt x="6" y="1"/>
                      <a:pt x="6" y="0"/>
                      <a:pt x="6" y="1"/>
                    </a:cubicBezTo>
                    <a:cubicBezTo>
                      <a:pt x="5" y="1"/>
                      <a:pt x="5" y="1"/>
                      <a:pt x="5" y="1"/>
                    </a:cubicBezTo>
                    <a:cubicBezTo>
                      <a:pt x="5" y="1"/>
                      <a:pt x="5" y="1"/>
                      <a:pt x="5" y="1"/>
                    </a:cubicBezTo>
                    <a:cubicBezTo>
                      <a:pt x="4"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7" name="Freeform 2084">
                <a:extLst>
                  <a:ext uri="{FF2B5EF4-FFF2-40B4-BE49-F238E27FC236}">
                    <a16:creationId xmlns:a16="http://schemas.microsoft.com/office/drawing/2014/main" id="{F304528C-8798-4FF1-8315-D62754435F84}"/>
                  </a:ext>
                </a:extLst>
              </p:cNvPr>
              <p:cNvSpPr>
                <a:spLocks/>
              </p:cNvSpPr>
              <p:nvPr/>
            </p:nvSpPr>
            <p:spPr bwMode="auto">
              <a:xfrm>
                <a:off x="1648" y="1078"/>
                <a:ext cx="12" cy="4"/>
              </a:xfrm>
              <a:custGeom>
                <a:avLst/>
                <a:gdLst>
                  <a:gd name="T0" fmla="*/ 5 w 5"/>
                  <a:gd name="T1" fmla="*/ 0 h 2"/>
                  <a:gd name="T2" fmla="*/ 4 w 5"/>
                  <a:gd name="T3" fmla="*/ 0 h 2"/>
                  <a:gd name="T4" fmla="*/ 1 w 5"/>
                  <a:gd name="T5" fmla="*/ 1 h 2"/>
                  <a:gd name="T6" fmla="*/ 1 w 5"/>
                  <a:gd name="T7" fmla="*/ 1 h 2"/>
                  <a:gd name="T8" fmla="*/ 0 w 5"/>
                  <a:gd name="T9" fmla="*/ 2 h 2"/>
                  <a:gd name="T10" fmla="*/ 5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5" y="0"/>
                    </a:moveTo>
                    <a:cubicBezTo>
                      <a:pt x="4" y="0"/>
                      <a:pt x="4" y="0"/>
                      <a:pt x="4" y="0"/>
                    </a:cubicBezTo>
                    <a:cubicBezTo>
                      <a:pt x="3" y="1"/>
                      <a:pt x="2" y="1"/>
                      <a:pt x="1" y="1"/>
                    </a:cubicBezTo>
                    <a:cubicBezTo>
                      <a:pt x="1" y="1"/>
                      <a:pt x="1" y="1"/>
                      <a:pt x="1" y="1"/>
                    </a:cubicBezTo>
                    <a:cubicBezTo>
                      <a:pt x="0" y="1"/>
                      <a:pt x="0" y="1"/>
                      <a:pt x="0" y="2"/>
                    </a:cubicBezTo>
                    <a:cubicBezTo>
                      <a:pt x="1" y="2"/>
                      <a:pt x="4" y="1"/>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8" name="Freeform 2085">
                <a:extLst>
                  <a:ext uri="{FF2B5EF4-FFF2-40B4-BE49-F238E27FC236}">
                    <a16:creationId xmlns:a16="http://schemas.microsoft.com/office/drawing/2014/main" id="{D774D4F9-0C54-4D41-96A5-3511EE6E7DFD}"/>
                  </a:ext>
                </a:extLst>
              </p:cNvPr>
              <p:cNvSpPr>
                <a:spLocks/>
              </p:cNvSpPr>
              <p:nvPr/>
            </p:nvSpPr>
            <p:spPr bwMode="auto">
              <a:xfrm>
                <a:off x="1204" y="571"/>
                <a:ext cx="14" cy="12"/>
              </a:xfrm>
              <a:custGeom>
                <a:avLst/>
                <a:gdLst>
                  <a:gd name="T0" fmla="*/ 1 w 6"/>
                  <a:gd name="T1" fmla="*/ 0 h 5"/>
                  <a:gd name="T2" fmla="*/ 0 w 6"/>
                  <a:gd name="T3" fmla="*/ 1 h 5"/>
                  <a:gd name="T4" fmla="*/ 0 w 6"/>
                  <a:gd name="T5" fmla="*/ 1 h 5"/>
                  <a:gd name="T6" fmla="*/ 0 w 6"/>
                  <a:gd name="T7" fmla="*/ 1 h 5"/>
                  <a:gd name="T8" fmla="*/ 0 w 6"/>
                  <a:gd name="T9" fmla="*/ 1 h 5"/>
                  <a:gd name="T10" fmla="*/ 0 w 6"/>
                  <a:gd name="T11" fmla="*/ 3 h 5"/>
                  <a:gd name="T12" fmla="*/ 1 w 6"/>
                  <a:gd name="T13" fmla="*/ 5 h 5"/>
                  <a:gd name="T14" fmla="*/ 4 w 6"/>
                  <a:gd name="T15" fmla="*/ 5 h 5"/>
                  <a:gd name="T16" fmla="*/ 5 w 6"/>
                  <a:gd name="T17" fmla="*/ 3 h 5"/>
                  <a:gd name="T18" fmla="*/ 5 w 6"/>
                  <a:gd name="T19" fmla="*/ 2 h 5"/>
                  <a:gd name="T20" fmla="*/ 5 w 6"/>
                  <a:gd name="T21" fmla="*/ 1 h 5"/>
                  <a:gd name="T22" fmla="*/ 3 w 6"/>
                  <a:gd name="T23" fmla="*/ 0 h 5"/>
                  <a:gd name="T24" fmla="*/ 2 w 6"/>
                  <a:gd name="T25" fmla="*/ 0 h 5"/>
                  <a:gd name="T26" fmla="*/ 1 w 6"/>
                  <a:gd name="T27" fmla="*/ 0 h 5"/>
                  <a:gd name="T28" fmla="*/ 1 w 6"/>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5">
                    <a:moveTo>
                      <a:pt x="1" y="0"/>
                    </a:moveTo>
                    <a:cubicBezTo>
                      <a:pt x="1" y="1"/>
                      <a:pt x="0" y="1"/>
                      <a:pt x="0" y="1"/>
                    </a:cubicBezTo>
                    <a:cubicBezTo>
                      <a:pt x="0" y="1"/>
                      <a:pt x="0" y="1"/>
                      <a:pt x="0" y="1"/>
                    </a:cubicBezTo>
                    <a:cubicBezTo>
                      <a:pt x="0" y="1"/>
                      <a:pt x="0" y="1"/>
                      <a:pt x="0" y="1"/>
                    </a:cubicBezTo>
                    <a:cubicBezTo>
                      <a:pt x="0" y="1"/>
                      <a:pt x="0" y="1"/>
                      <a:pt x="0" y="1"/>
                    </a:cubicBezTo>
                    <a:cubicBezTo>
                      <a:pt x="0" y="2"/>
                      <a:pt x="0" y="2"/>
                      <a:pt x="0" y="3"/>
                    </a:cubicBezTo>
                    <a:cubicBezTo>
                      <a:pt x="0" y="4"/>
                      <a:pt x="1" y="4"/>
                      <a:pt x="1" y="5"/>
                    </a:cubicBezTo>
                    <a:cubicBezTo>
                      <a:pt x="2" y="5"/>
                      <a:pt x="4" y="5"/>
                      <a:pt x="4" y="5"/>
                    </a:cubicBezTo>
                    <a:cubicBezTo>
                      <a:pt x="5" y="4"/>
                      <a:pt x="5" y="4"/>
                      <a:pt x="5" y="3"/>
                    </a:cubicBezTo>
                    <a:cubicBezTo>
                      <a:pt x="6" y="3"/>
                      <a:pt x="6" y="2"/>
                      <a:pt x="5" y="2"/>
                    </a:cubicBezTo>
                    <a:cubicBezTo>
                      <a:pt x="5" y="2"/>
                      <a:pt x="5" y="1"/>
                      <a:pt x="5" y="1"/>
                    </a:cubicBezTo>
                    <a:cubicBezTo>
                      <a:pt x="4" y="1"/>
                      <a:pt x="4" y="0"/>
                      <a:pt x="3" y="0"/>
                    </a:cubicBezTo>
                    <a:cubicBezTo>
                      <a:pt x="3" y="0"/>
                      <a:pt x="3" y="0"/>
                      <a:pt x="2" y="0"/>
                    </a:cubicBezTo>
                    <a:cubicBezTo>
                      <a:pt x="2"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9" name="Freeform 2086">
                <a:extLst>
                  <a:ext uri="{FF2B5EF4-FFF2-40B4-BE49-F238E27FC236}">
                    <a16:creationId xmlns:a16="http://schemas.microsoft.com/office/drawing/2014/main" id="{CE1EF8B4-1233-4D24-B0B5-BF848CCF8323}"/>
                  </a:ext>
                </a:extLst>
              </p:cNvPr>
              <p:cNvSpPr>
                <a:spLocks/>
              </p:cNvSpPr>
              <p:nvPr/>
            </p:nvSpPr>
            <p:spPr bwMode="auto">
              <a:xfrm>
                <a:off x="1405" y="1520"/>
                <a:ext cx="26" cy="17"/>
              </a:xfrm>
              <a:custGeom>
                <a:avLst/>
                <a:gdLst>
                  <a:gd name="T0" fmla="*/ 4 w 11"/>
                  <a:gd name="T1" fmla="*/ 6 h 7"/>
                  <a:gd name="T2" fmla="*/ 4 w 11"/>
                  <a:gd name="T3" fmla="*/ 7 h 7"/>
                  <a:gd name="T4" fmla="*/ 8 w 11"/>
                  <a:gd name="T5" fmla="*/ 3 h 7"/>
                  <a:gd name="T6" fmla="*/ 11 w 11"/>
                  <a:gd name="T7" fmla="*/ 2 h 7"/>
                  <a:gd name="T8" fmla="*/ 4 w 11"/>
                  <a:gd name="T9" fmla="*/ 2 h 7"/>
                  <a:gd name="T10" fmla="*/ 4 w 11"/>
                  <a:gd name="T11" fmla="*/ 6 h 7"/>
                </a:gdLst>
                <a:ahLst/>
                <a:cxnLst>
                  <a:cxn ang="0">
                    <a:pos x="T0" y="T1"/>
                  </a:cxn>
                  <a:cxn ang="0">
                    <a:pos x="T2" y="T3"/>
                  </a:cxn>
                  <a:cxn ang="0">
                    <a:pos x="T4" y="T5"/>
                  </a:cxn>
                  <a:cxn ang="0">
                    <a:pos x="T6" y="T7"/>
                  </a:cxn>
                  <a:cxn ang="0">
                    <a:pos x="T8" y="T9"/>
                  </a:cxn>
                  <a:cxn ang="0">
                    <a:pos x="T10" y="T11"/>
                  </a:cxn>
                </a:cxnLst>
                <a:rect l="0" t="0" r="r" b="b"/>
                <a:pathLst>
                  <a:path w="11" h="7">
                    <a:moveTo>
                      <a:pt x="4" y="6"/>
                    </a:moveTo>
                    <a:cubicBezTo>
                      <a:pt x="3" y="6"/>
                      <a:pt x="3" y="7"/>
                      <a:pt x="4" y="7"/>
                    </a:cubicBezTo>
                    <a:cubicBezTo>
                      <a:pt x="5" y="6"/>
                      <a:pt x="7" y="4"/>
                      <a:pt x="8" y="3"/>
                    </a:cubicBezTo>
                    <a:cubicBezTo>
                      <a:pt x="9" y="1"/>
                      <a:pt x="10" y="2"/>
                      <a:pt x="11" y="2"/>
                    </a:cubicBezTo>
                    <a:cubicBezTo>
                      <a:pt x="9" y="0"/>
                      <a:pt x="6" y="1"/>
                      <a:pt x="4" y="2"/>
                    </a:cubicBezTo>
                    <a:cubicBezTo>
                      <a:pt x="2" y="3"/>
                      <a:pt x="0" y="5"/>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0" name="Freeform 2087">
                <a:extLst>
                  <a:ext uri="{FF2B5EF4-FFF2-40B4-BE49-F238E27FC236}">
                    <a16:creationId xmlns:a16="http://schemas.microsoft.com/office/drawing/2014/main" id="{48FE07B3-1396-4DD2-BA8E-AD0051011AD6}"/>
                  </a:ext>
                </a:extLst>
              </p:cNvPr>
              <p:cNvSpPr>
                <a:spLocks/>
              </p:cNvSpPr>
              <p:nvPr/>
            </p:nvSpPr>
            <p:spPr bwMode="auto">
              <a:xfrm>
                <a:off x="686" y="1936"/>
                <a:ext cx="5" cy="7"/>
              </a:xfrm>
              <a:custGeom>
                <a:avLst/>
                <a:gdLst>
                  <a:gd name="T0" fmla="*/ 0 w 2"/>
                  <a:gd name="T1" fmla="*/ 0 h 3"/>
                  <a:gd name="T2" fmla="*/ 2 w 2"/>
                  <a:gd name="T3" fmla="*/ 2 h 3"/>
                  <a:gd name="T4" fmla="*/ 0 w 2"/>
                  <a:gd name="T5" fmla="*/ 0 h 3"/>
                </a:gdLst>
                <a:ahLst/>
                <a:cxnLst>
                  <a:cxn ang="0">
                    <a:pos x="T0" y="T1"/>
                  </a:cxn>
                  <a:cxn ang="0">
                    <a:pos x="T2" y="T3"/>
                  </a:cxn>
                  <a:cxn ang="0">
                    <a:pos x="T4" y="T5"/>
                  </a:cxn>
                </a:cxnLst>
                <a:rect l="0" t="0" r="r" b="b"/>
                <a:pathLst>
                  <a:path w="2" h="3">
                    <a:moveTo>
                      <a:pt x="0" y="0"/>
                    </a:moveTo>
                    <a:cubicBezTo>
                      <a:pt x="0" y="1"/>
                      <a:pt x="1" y="3"/>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1" name="Freeform 2088">
                <a:extLst>
                  <a:ext uri="{FF2B5EF4-FFF2-40B4-BE49-F238E27FC236}">
                    <a16:creationId xmlns:a16="http://schemas.microsoft.com/office/drawing/2014/main" id="{2872248B-E61F-4E7F-A561-E99F2702E397}"/>
                  </a:ext>
                </a:extLst>
              </p:cNvPr>
              <p:cNvSpPr>
                <a:spLocks/>
              </p:cNvSpPr>
              <p:nvPr/>
            </p:nvSpPr>
            <p:spPr bwMode="auto">
              <a:xfrm>
                <a:off x="1700" y="1884"/>
                <a:ext cx="7" cy="10"/>
              </a:xfrm>
              <a:custGeom>
                <a:avLst/>
                <a:gdLst>
                  <a:gd name="T0" fmla="*/ 1 w 3"/>
                  <a:gd name="T1" fmla="*/ 2 h 4"/>
                  <a:gd name="T2" fmla="*/ 1 w 3"/>
                  <a:gd name="T3" fmla="*/ 3 h 4"/>
                  <a:gd name="T4" fmla="*/ 0 w 3"/>
                  <a:gd name="T5" fmla="*/ 4 h 4"/>
                  <a:gd name="T6" fmla="*/ 3 w 3"/>
                  <a:gd name="T7" fmla="*/ 0 h 4"/>
                  <a:gd name="T8" fmla="*/ 2 w 3"/>
                  <a:gd name="T9" fmla="*/ 1 h 4"/>
                  <a:gd name="T10" fmla="*/ 2 w 3"/>
                  <a:gd name="T11" fmla="*/ 1 h 4"/>
                  <a:gd name="T12" fmla="*/ 1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2"/>
                    </a:moveTo>
                    <a:cubicBezTo>
                      <a:pt x="1" y="2"/>
                      <a:pt x="1" y="2"/>
                      <a:pt x="1" y="3"/>
                    </a:cubicBezTo>
                    <a:cubicBezTo>
                      <a:pt x="1" y="3"/>
                      <a:pt x="0" y="3"/>
                      <a:pt x="0" y="4"/>
                    </a:cubicBezTo>
                    <a:cubicBezTo>
                      <a:pt x="1" y="3"/>
                      <a:pt x="2" y="1"/>
                      <a:pt x="3" y="0"/>
                    </a:cubicBezTo>
                    <a:cubicBezTo>
                      <a:pt x="3" y="0"/>
                      <a:pt x="3" y="1"/>
                      <a:pt x="2" y="1"/>
                    </a:cubicBezTo>
                    <a:cubicBezTo>
                      <a:pt x="2" y="1"/>
                      <a:pt x="2" y="1"/>
                      <a:pt x="2" y="1"/>
                    </a:cubicBezTo>
                    <a:cubicBezTo>
                      <a:pt x="2" y="1"/>
                      <a:pt x="2"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2" name="Freeform 2089">
                <a:extLst>
                  <a:ext uri="{FF2B5EF4-FFF2-40B4-BE49-F238E27FC236}">
                    <a16:creationId xmlns:a16="http://schemas.microsoft.com/office/drawing/2014/main" id="{4D90F6C9-FE43-4856-B62D-62124A1CB22C}"/>
                  </a:ext>
                </a:extLst>
              </p:cNvPr>
              <p:cNvSpPr>
                <a:spLocks/>
              </p:cNvSpPr>
              <p:nvPr/>
            </p:nvSpPr>
            <p:spPr bwMode="auto">
              <a:xfrm>
                <a:off x="1719" y="1872"/>
                <a:ext cx="7" cy="5"/>
              </a:xfrm>
              <a:custGeom>
                <a:avLst/>
                <a:gdLst>
                  <a:gd name="T0" fmla="*/ 2 w 3"/>
                  <a:gd name="T1" fmla="*/ 0 h 2"/>
                  <a:gd name="T2" fmla="*/ 0 w 3"/>
                  <a:gd name="T3" fmla="*/ 2 h 2"/>
                  <a:gd name="T4" fmla="*/ 2 w 3"/>
                  <a:gd name="T5" fmla="*/ 0 h 2"/>
                </a:gdLst>
                <a:ahLst/>
                <a:cxnLst>
                  <a:cxn ang="0">
                    <a:pos x="T0" y="T1"/>
                  </a:cxn>
                  <a:cxn ang="0">
                    <a:pos x="T2" y="T3"/>
                  </a:cxn>
                  <a:cxn ang="0">
                    <a:pos x="T4" y="T5"/>
                  </a:cxn>
                </a:cxnLst>
                <a:rect l="0" t="0" r="r" b="b"/>
                <a:pathLst>
                  <a:path w="3" h="2">
                    <a:moveTo>
                      <a:pt x="2" y="0"/>
                    </a:moveTo>
                    <a:cubicBezTo>
                      <a:pt x="2" y="1"/>
                      <a:pt x="1" y="1"/>
                      <a:pt x="0" y="2"/>
                    </a:cubicBezTo>
                    <a:cubicBezTo>
                      <a:pt x="1" y="2"/>
                      <a:pt x="3"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3" name="Freeform 2090">
                <a:extLst>
                  <a:ext uri="{FF2B5EF4-FFF2-40B4-BE49-F238E27FC236}">
                    <a16:creationId xmlns:a16="http://schemas.microsoft.com/office/drawing/2014/main" id="{9D73659F-2A2F-4929-A581-5E3DC37888C3}"/>
                  </a:ext>
                </a:extLst>
              </p:cNvPr>
              <p:cNvSpPr>
                <a:spLocks/>
              </p:cNvSpPr>
              <p:nvPr/>
            </p:nvSpPr>
            <p:spPr bwMode="auto">
              <a:xfrm>
                <a:off x="1674" y="973"/>
                <a:ext cx="3" cy="0"/>
              </a:xfrm>
              <a:custGeom>
                <a:avLst/>
                <a:gdLst>
                  <a:gd name="T0" fmla="*/ 1 w 1"/>
                  <a:gd name="T1" fmla="*/ 0 w 1"/>
                  <a:gd name="T2" fmla="*/ 0 w 1"/>
                  <a:gd name="T3" fmla="*/ 0 w 1"/>
                  <a:gd name="T4" fmla="*/ 0 w 1"/>
                  <a:gd name="T5" fmla="*/ 1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4" name="Freeform 2091">
                <a:extLst>
                  <a:ext uri="{FF2B5EF4-FFF2-40B4-BE49-F238E27FC236}">
                    <a16:creationId xmlns:a16="http://schemas.microsoft.com/office/drawing/2014/main" id="{DB135D89-7E41-4BD2-85C6-FF3ADF101652}"/>
                  </a:ext>
                </a:extLst>
              </p:cNvPr>
              <p:cNvSpPr>
                <a:spLocks/>
              </p:cNvSpPr>
              <p:nvPr/>
            </p:nvSpPr>
            <p:spPr bwMode="auto">
              <a:xfrm>
                <a:off x="650" y="91"/>
                <a:ext cx="3" cy="9"/>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3"/>
                      <a:pt x="0" y="4"/>
                    </a:cubicBezTo>
                    <a:cubicBezTo>
                      <a:pt x="0" y="3"/>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5" name="Freeform 2092">
                <a:extLst>
                  <a:ext uri="{FF2B5EF4-FFF2-40B4-BE49-F238E27FC236}">
                    <a16:creationId xmlns:a16="http://schemas.microsoft.com/office/drawing/2014/main" id="{64C2FC32-97B4-4F05-85F1-55254DE49180}"/>
                  </a:ext>
                </a:extLst>
              </p:cNvPr>
              <p:cNvSpPr>
                <a:spLocks/>
              </p:cNvSpPr>
              <p:nvPr/>
            </p:nvSpPr>
            <p:spPr bwMode="auto">
              <a:xfrm>
                <a:off x="376" y="86"/>
                <a:ext cx="5" cy="5"/>
              </a:xfrm>
              <a:custGeom>
                <a:avLst/>
                <a:gdLst>
                  <a:gd name="T0" fmla="*/ 1 w 2"/>
                  <a:gd name="T1" fmla="*/ 1 h 2"/>
                  <a:gd name="T2" fmla="*/ 0 w 2"/>
                  <a:gd name="T3" fmla="*/ 2 h 2"/>
                  <a:gd name="T4" fmla="*/ 1 w 2"/>
                  <a:gd name="T5" fmla="*/ 1 h 2"/>
                </a:gdLst>
                <a:ahLst/>
                <a:cxnLst>
                  <a:cxn ang="0">
                    <a:pos x="T0" y="T1"/>
                  </a:cxn>
                  <a:cxn ang="0">
                    <a:pos x="T2" y="T3"/>
                  </a:cxn>
                  <a:cxn ang="0">
                    <a:pos x="T4" y="T5"/>
                  </a:cxn>
                </a:cxnLst>
                <a:rect l="0" t="0" r="r" b="b"/>
                <a:pathLst>
                  <a:path w="2" h="2">
                    <a:moveTo>
                      <a:pt x="1" y="1"/>
                    </a:moveTo>
                    <a:cubicBezTo>
                      <a:pt x="1" y="1"/>
                      <a:pt x="0" y="2"/>
                      <a:pt x="0" y="2"/>
                    </a:cubicBezTo>
                    <a:cubicBezTo>
                      <a:pt x="0" y="2"/>
                      <a:pt x="2"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6" name="Freeform 2093">
                <a:extLst>
                  <a:ext uri="{FF2B5EF4-FFF2-40B4-BE49-F238E27FC236}">
                    <a16:creationId xmlns:a16="http://schemas.microsoft.com/office/drawing/2014/main" id="{19136CE6-60C1-4A72-9DF0-4B2BF837E84F}"/>
                  </a:ext>
                </a:extLst>
              </p:cNvPr>
              <p:cNvSpPr>
                <a:spLocks/>
              </p:cNvSpPr>
              <p:nvPr/>
            </p:nvSpPr>
            <p:spPr bwMode="auto">
              <a:xfrm>
                <a:off x="1173" y="649"/>
                <a:ext cx="17" cy="22"/>
              </a:xfrm>
              <a:custGeom>
                <a:avLst/>
                <a:gdLst>
                  <a:gd name="T0" fmla="*/ 6 w 7"/>
                  <a:gd name="T1" fmla="*/ 2 h 9"/>
                  <a:gd name="T2" fmla="*/ 5 w 7"/>
                  <a:gd name="T3" fmla="*/ 2 h 9"/>
                  <a:gd name="T4" fmla="*/ 4 w 7"/>
                  <a:gd name="T5" fmla="*/ 0 h 9"/>
                  <a:gd name="T6" fmla="*/ 1 w 7"/>
                  <a:gd name="T7" fmla="*/ 6 h 9"/>
                  <a:gd name="T8" fmla="*/ 3 w 7"/>
                  <a:gd name="T9" fmla="*/ 8 h 9"/>
                  <a:gd name="T10" fmla="*/ 5 w 7"/>
                  <a:gd name="T11" fmla="*/ 9 h 9"/>
                  <a:gd name="T12" fmla="*/ 5 w 7"/>
                  <a:gd name="T13" fmla="*/ 8 h 9"/>
                  <a:gd name="T14" fmla="*/ 4 w 7"/>
                  <a:gd name="T15" fmla="*/ 8 h 9"/>
                  <a:gd name="T16" fmla="*/ 5 w 7"/>
                  <a:gd name="T17" fmla="*/ 7 h 9"/>
                  <a:gd name="T18" fmla="*/ 5 w 7"/>
                  <a:gd name="T19" fmla="*/ 6 h 9"/>
                  <a:gd name="T20" fmla="*/ 6 w 7"/>
                  <a:gd name="T21" fmla="*/ 5 h 9"/>
                  <a:gd name="T22" fmla="*/ 6 w 7"/>
                  <a:gd name="T23" fmla="*/ 6 h 9"/>
                  <a:gd name="T24" fmla="*/ 5 w 7"/>
                  <a:gd name="T25" fmla="*/ 5 h 9"/>
                  <a:gd name="T26" fmla="*/ 4 w 7"/>
                  <a:gd name="T27" fmla="*/ 6 h 9"/>
                  <a:gd name="T28" fmla="*/ 3 w 7"/>
                  <a:gd name="T29" fmla="*/ 7 h 9"/>
                  <a:gd name="T30" fmla="*/ 2 w 7"/>
                  <a:gd name="T31" fmla="*/ 5 h 9"/>
                  <a:gd name="T32" fmla="*/ 2 w 7"/>
                  <a:gd name="T33" fmla="*/ 4 h 9"/>
                  <a:gd name="T34" fmla="*/ 6 w 7"/>
                  <a:gd name="T3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6" y="2"/>
                    </a:moveTo>
                    <a:cubicBezTo>
                      <a:pt x="6" y="1"/>
                      <a:pt x="5" y="2"/>
                      <a:pt x="5" y="2"/>
                    </a:cubicBezTo>
                    <a:cubicBezTo>
                      <a:pt x="4" y="1"/>
                      <a:pt x="5" y="1"/>
                      <a:pt x="4" y="0"/>
                    </a:cubicBezTo>
                    <a:cubicBezTo>
                      <a:pt x="3" y="2"/>
                      <a:pt x="2" y="4"/>
                      <a:pt x="1" y="6"/>
                    </a:cubicBezTo>
                    <a:cubicBezTo>
                      <a:pt x="0" y="7"/>
                      <a:pt x="2" y="8"/>
                      <a:pt x="3" y="8"/>
                    </a:cubicBezTo>
                    <a:cubicBezTo>
                      <a:pt x="4" y="9"/>
                      <a:pt x="4" y="9"/>
                      <a:pt x="5" y="9"/>
                    </a:cubicBezTo>
                    <a:cubicBezTo>
                      <a:pt x="5" y="9"/>
                      <a:pt x="5" y="9"/>
                      <a:pt x="5" y="8"/>
                    </a:cubicBezTo>
                    <a:cubicBezTo>
                      <a:pt x="5" y="8"/>
                      <a:pt x="4" y="8"/>
                      <a:pt x="4" y="8"/>
                    </a:cubicBezTo>
                    <a:cubicBezTo>
                      <a:pt x="4" y="8"/>
                      <a:pt x="5" y="7"/>
                      <a:pt x="5" y="7"/>
                    </a:cubicBezTo>
                    <a:cubicBezTo>
                      <a:pt x="4" y="6"/>
                      <a:pt x="4" y="7"/>
                      <a:pt x="5" y="6"/>
                    </a:cubicBezTo>
                    <a:cubicBezTo>
                      <a:pt x="5" y="6"/>
                      <a:pt x="7" y="5"/>
                      <a:pt x="6" y="5"/>
                    </a:cubicBezTo>
                    <a:cubicBezTo>
                      <a:pt x="6" y="5"/>
                      <a:pt x="6" y="6"/>
                      <a:pt x="6" y="6"/>
                    </a:cubicBezTo>
                    <a:cubicBezTo>
                      <a:pt x="5" y="6"/>
                      <a:pt x="5" y="5"/>
                      <a:pt x="5" y="5"/>
                    </a:cubicBezTo>
                    <a:cubicBezTo>
                      <a:pt x="5" y="6"/>
                      <a:pt x="4" y="6"/>
                      <a:pt x="4" y="6"/>
                    </a:cubicBezTo>
                    <a:cubicBezTo>
                      <a:pt x="3" y="7"/>
                      <a:pt x="3" y="7"/>
                      <a:pt x="3" y="7"/>
                    </a:cubicBezTo>
                    <a:cubicBezTo>
                      <a:pt x="1" y="6"/>
                      <a:pt x="2" y="6"/>
                      <a:pt x="2" y="5"/>
                    </a:cubicBezTo>
                    <a:cubicBezTo>
                      <a:pt x="2" y="5"/>
                      <a:pt x="2" y="4"/>
                      <a:pt x="2" y="4"/>
                    </a:cubicBezTo>
                    <a:cubicBezTo>
                      <a:pt x="3" y="3"/>
                      <a:pt x="5"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7" name="Freeform 2094">
                <a:extLst>
                  <a:ext uri="{FF2B5EF4-FFF2-40B4-BE49-F238E27FC236}">
                    <a16:creationId xmlns:a16="http://schemas.microsoft.com/office/drawing/2014/main" id="{4B551855-BEF6-4556-9200-915386DBB729}"/>
                  </a:ext>
                </a:extLst>
              </p:cNvPr>
              <p:cNvSpPr>
                <a:spLocks/>
              </p:cNvSpPr>
              <p:nvPr/>
            </p:nvSpPr>
            <p:spPr bwMode="auto">
              <a:xfrm>
                <a:off x="1833" y="841"/>
                <a:ext cx="2" cy="0"/>
              </a:xfrm>
              <a:custGeom>
                <a:avLst/>
                <a:gdLst>
                  <a:gd name="T0" fmla="*/ 1 w 1"/>
                  <a:gd name="T1" fmla="*/ 1 w 1"/>
                  <a:gd name="T2" fmla="*/ 0 w 1"/>
                  <a:gd name="T3" fmla="*/ 0 w 1"/>
                  <a:gd name="T4" fmla="*/ 0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0" y="0"/>
                      <a:pt x="0" y="0"/>
                      <a:pt x="0" y="0"/>
                    </a:cubicBezTo>
                    <a:cubicBezTo>
                      <a:pt x="0" y="0"/>
                      <a:pt x="0" y="0"/>
                      <a:pt x="0" y="0"/>
                    </a:cubicBezTo>
                    <a:cubicBezTo>
                      <a:pt x="0"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8" name="Freeform 2095">
                <a:extLst>
                  <a:ext uri="{FF2B5EF4-FFF2-40B4-BE49-F238E27FC236}">
                    <a16:creationId xmlns:a16="http://schemas.microsoft.com/office/drawing/2014/main" id="{0EE02FC7-BD45-4108-985F-CD8995EE5846}"/>
                  </a:ext>
                </a:extLst>
              </p:cNvPr>
              <p:cNvSpPr>
                <a:spLocks/>
              </p:cNvSpPr>
              <p:nvPr/>
            </p:nvSpPr>
            <p:spPr bwMode="auto">
              <a:xfrm>
                <a:off x="528" y="183"/>
                <a:ext cx="184" cy="92"/>
              </a:xfrm>
              <a:custGeom>
                <a:avLst/>
                <a:gdLst>
                  <a:gd name="T0" fmla="*/ 3 w 78"/>
                  <a:gd name="T1" fmla="*/ 19 h 39"/>
                  <a:gd name="T2" fmla="*/ 6 w 78"/>
                  <a:gd name="T3" fmla="*/ 18 h 39"/>
                  <a:gd name="T4" fmla="*/ 7 w 78"/>
                  <a:gd name="T5" fmla="*/ 16 h 39"/>
                  <a:gd name="T6" fmla="*/ 15 w 78"/>
                  <a:gd name="T7" fmla="*/ 17 h 39"/>
                  <a:gd name="T8" fmla="*/ 22 w 78"/>
                  <a:gd name="T9" fmla="*/ 16 h 39"/>
                  <a:gd name="T10" fmla="*/ 28 w 78"/>
                  <a:gd name="T11" fmla="*/ 15 h 39"/>
                  <a:gd name="T12" fmla="*/ 35 w 78"/>
                  <a:gd name="T13" fmla="*/ 20 h 39"/>
                  <a:gd name="T14" fmla="*/ 24 w 78"/>
                  <a:gd name="T15" fmla="*/ 20 h 39"/>
                  <a:gd name="T16" fmla="*/ 27 w 78"/>
                  <a:gd name="T17" fmla="*/ 26 h 39"/>
                  <a:gd name="T18" fmla="*/ 22 w 78"/>
                  <a:gd name="T19" fmla="*/ 28 h 39"/>
                  <a:gd name="T20" fmla="*/ 22 w 78"/>
                  <a:gd name="T21" fmla="*/ 32 h 39"/>
                  <a:gd name="T22" fmla="*/ 26 w 78"/>
                  <a:gd name="T23" fmla="*/ 36 h 39"/>
                  <a:gd name="T24" fmla="*/ 33 w 78"/>
                  <a:gd name="T25" fmla="*/ 36 h 39"/>
                  <a:gd name="T26" fmla="*/ 36 w 78"/>
                  <a:gd name="T27" fmla="*/ 32 h 39"/>
                  <a:gd name="T28" fmla="*/ 37 w 78"/>
                  <a:gd name="T29" fmla="*/ 29 h 39"/>
                  <a:gd name="T30" fmla="*/ 45 w 78"/>
                  <a:gd name="T31" fmla="*/ 26 h 39"/>
                  <a:gd name="T32" fmla="*/ 48 w 78"/>
                  <a:gd name="T33" fmla="*/ 29 h 39"/>
                  <a:gd name="T34" fmla="*/ 44 w 78"/>
                  <a:gd name="T35" fmla="*/ 33 h 39"/>
                  <a:gd name="T36" fmla="*/ 41 w 78"/>
                  <a:gd name="T37" fmla="*/ 36 h 39"/>
                  <a:gd name="T38" fmla="*/ 37 w 78"/>
                  <a:gd name="T39" fmla="*/ 37 h 39"/>
                  <a:gd name="T40" fmla="*/ 46 w 78"/>
                  <a:gd name="T41" fmla="*/ 35 h 39"/>
                  <a:gd name="T42" fmla="*/ 52 w 78"/>
                  <a:gd name="T43" fmla="*/ 32 h 39"/>
                  <a:gd name="T44" fmla="*/ 57 w 78"/>
                  <a:gd name="T45" fmla="*/ 30 h 39"/>
                  <a:gd name="T46" fmla="*/ 54 w 78"/>
                  <a:gd name="T47" fmla="*/ 27 h 39"/>
                  <a:gd name="T48" fmla="*/ 54 w 78"/>
                  <a:gd name="T49" fmla="*/ 25 h 39"/>
                  <a:gd name="T50" fmla="*/ 56 w 78"/>
                  <a:gd name="T51" fmla="*/ 23 h 39"/>
                  <a:gd name="T52" fmla="*/ 63 w 78"/>
                  <a:gd name="T53" fmla="*/ 23 h 39"/>
                  <a:gd name="T54" fmla="*/ 66 w 78"/>
                  <a:gd name="T55" fmla="*/ 25 h 39"/>
                  <a:gd name="T56" fmla="*/ 68 w 78"/>
                  <a:gd name="T57" fmla="*/ 25 h 39"/>
                  <a:gd name="T58" fmla="*/ 70 w 78"/>
                  <a:gd name="T59" fmla="*/ 25 h 39"/>
                  <a:gd name="T60" fmla="*/ 72 w 78"/>
                  <a:gd name="T61" fmla="*/ 24 h 39"/>
                  <a:gd name="T62" fmla="*/ 74 w 78"/>
                  <a:gd name="T63" fmla="*/ 24 h 39"/>
                  <a:gd name="T64" fmla="*/ 71 w 78"/>
                  <a:gd name="T65" fmla="*/ 22 h 39"/>
                  <a:gd name="T66" fmla="*/ 71 w 78"/>
                  <a:gd name="T67" fmla="*/ 20 h 39"/>
                  <a:gd name="T68" fmla="*/ 73 w 78"/>
                  <a:gd name="T69" fmla="*/ 18 h 39"/>
                  <a:gd name="T70" fmla="*/ 76 w 78"/>
                  <a:gd name="T71" fmla="*/ 15 h 39"/>
                  <a:gd name="T72" fmla="*/ 74 w 78"/>
                  <a:gd name="T73" fmla="*/ 12 h 39"/>
                  <a:gd name="T74" fmla="*/ 75 w 78"/>
                  <a:gd name="T75" fmla="*/ 9 h 39"/>
                  <a:gd name="T76" fmla="*/ 70 w 78"/>
                  <a:gd name="T77" fmla="*/ 12 h 39"/>
                  <a:gd name="T78" fmla="*/ 68 w 78"/>
                  <a:gd name="T79" fmla="*/ 13 h 39"/>
                  <a:gd name="T80" fmla="*/ 57 w 78"/>
                  <a:gd name="T81" fmla="*/ 13 h 39"/>
                  <a:gd name="T82" fmla="*/ 55 w 78"/>
                  <a:gd name="T83" fmla="*/ 14 h 39"/>
                  <a:gd name="T84" fmla="*/ 54 w 78"/>
                  <a:gd name="T85" fmla="*/ 13 h 39"/>
                  <a:gd name="T86" fmla="*/ 50 w 78"/>
                  <a:gd name="T87" fmla="*/ 13 h 39"/>
                  <a:gd name="T88" fmla="*/ 50 w 78"/>
                  <a:gd name="T89" fmla="*/ 11 h 39"/>
                  <a:gd name="T90" fmla="*/ 52 w 78"/>
                  <a:gd name="T91" fmla="*/ 8 h 39"/>
                  <a:gd name="T92" fmla="*/ 55 w 78"/>
                  <a:gd name="T93" fmla="*/ 7 h 39"/>
                  <a:gd name="T94" fmla="*/ 59 w 78"/>
                  <a:gd name="T95" fmla="*/ 5 h 39"/>
                  <a:gd name="T96" fmla="*/ 52 w 78"/>
                  <a:gd name="T97" fmla="*/ 1 h 39"/>
                  <a:gd name="T98" fmla="*/ 50 w 78"/>
                  <a:gd name="T99" fmla="*/ 2 h 39"/>
                  <a:gd name="T100" fmla="*/ 42 w 78"/>
                  <a:gd name="T101" fmla="*/ 5 h 39"/>
                  <a:gd name="T102" fmla="*/ 38 w 78"/>
                  <a:gd name="T103" fmla="*/ 6 h 39"/>
                  <a:gd name="T104" fmla="*/ 37 w 78"/>
                  <a:gd name="T105" fmla="*/ 7 h 39"/>
                  <a:gd name="T106" fmla="*/ 31 w 78"/>
                  <a:gd name="T107" fmla="*/ 9 h 39"/>
                  <a:gd name="T108" fmla="*/ 29 w 78"/>
                  <a:gd name="T109" fmla="*/ 9 h 39"/>
                  <a:gd name="T110" fmla="*/ 26 w 78"/>
                  <a:gd name="T111" fmla="*/ 9 h 39"/>
                  <a:gd name="T112" fmla="*/ 22 w 78"/>
                  <a:gd name="T113" fmla="*/ 11 h 39"/>
                  <a:gd name="T114" fmla="*/ 20 w 78"/>
                  <a:gd name="T115" fmla="*/ 10 h 39"/>
                  <a:gd name="T116" fmla="*/ 13 w 78"/>
                  <a:gd name="T117" fmla="*/ 12 h 39"/>
                  <a:gd name="T118" fmla="*/ 9 w 78"/>
                  <a:gd name="T119" fmla="*/ 13 h 39"/>
                  <a:gd name="T120" fmla="*/ 4 w 78"/>
                  <a:gd name="T121" fmla="*/ 14 h 39"/>
                  <a:gd name="T122" fmla="*/ 2 w 78"/>
                  <a:gd name="T123" fmla="*/ 14 h 39"/>
                  <a:gd name="T124" fmla="*/ 2 w 78"/>
                  <a:gd name="T125"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 h="39">
                    <a:moveTo>
                      <a:pt x="2" y="20"/>
                    </a:moveTo>
                    <a:cubicBezTo>
                      <a:pt x="3" y="21"/>
                      <a:pt x="3" y="20"/>
                      <a:pt x="3" y="19"/>
                    </a:cubicBezTo>
                    <a:cubicBezTo>
                      <a:pt x="4" y="18"/>
                      <a:pt x="4" y="19"/>
                      <a:pt x="4" y="18"/>
                    </a:cubicBezTo>
                    <a:cubicBezTo>
                      <a:pt x="5" y="18"/>
                      <a:pt x="5" y="19"/>
                      <a:pt x="6" y="18"/>
                    </a:cubicBezTo>
                    <a:cubicBezTo>
                      <a:pt x="6" y="17"/>
                      <a:pt x="5" y="17"/>
                      <a:pt x="5" y="17"/>
                    </a:cubicBezTo>
                    <a:cubicBezTo>
                      <a:pt x="5" y="16"/>
                      <a:pt x="6" y="16"/>
                      <a:pt x="7" y="16"/>
                    </a:cubicBezTo>
                    <a:cubicBezTo>
                      <a:pt x="8" y="16"/>
                      <a:pt x="9" y="16"/>
                      <a:pt x="10" y="16"/>
                    </a:cubicBezTo>
                    <a:cubicBezTo>
                      <a:pt x="12" y="17"/>
                      <a:pt x="14" y="17"/>
                      <a:pt x="15" y="17"/>
                    </a:cubicBezTo>
                    <a:cubicBezTo>
                      <a:pt x="16" y="17"/>
                      <a:pt x="17" y="16"/>
                      <a:pt x="18" y="16"/>
                    </a:cubicBezTo>
                    <a:cubicBezTo>
                      <a:pt x="19" y="16"/>
                      <a:pt x="22" y="17"/>
                      <a:pt x="22" y="16"/>
                    </a:cubicBezTo>
                    <a:cubicBezTo>
                      <a:pt x="22" y="15"/>
                      <a:pt x="20" y="15"/>
                      <a:pt x="22" y="15"/>
                    </a:cubicBezTo>
                    <a:cubicBezTo>
                      <a:pt x="24" y="14"/>
                      <a:pt x="26" y="15"/>
                      <a:pt x="28" y="15"/>
                    </a:cubicBezTo>
                    <a:cubicBezTo>
                      <a:pt x="32" y="15"/>
                      <a:pt x="35" y="16"/>
                      <a:pt x="38" y="17"/>
                    </a:cubicBezTo>
                    <a:cubicBezTo>
                      <a:pt x="42" y="19"/>
                      <a:pt x="37" y="20"/>
                      <a:pt x="35" y="20"/>
                    </a:cubicBezTo>
                    <a:cubicBezTo>
                      <a:pt x="33" y="20"/>
                      <a:pt x="32" y="19"/>
                      <a:pt x="30" y="19"/>
                    </a:cubicBezTo>
                    <a:cubicBezTo>
                      <a:pt x="28" y="19"/>
                      <a:pt x="26" y="19"/>
                      <a:pt x="24" y="20"/>
                    </a:cubicBezTo>
                    <a:cubicBezTo>
                      <a:pt x="25" y="21"/>
                      <a:pt x="29" y="23"/>
                      <a:pt x="29" y="24"/>
                    </a:cubicBezTo>
                    <a:cubicBezTo>
                      <a:pt x="29" y="25"/>
                      <a:pt x="27" y="25"/>
                      <a:pt x="27" y="26"/>
                    </a:cubicBezTo>
                    <a:cubicBezTo>
                      <a:pt x="26" y="26"/>
                      <a:pt x="25" y="26"/>
                      <a:pt x="24" y="26"/>
                    </a:cubicBezTo>
                    <a:cubicBezTo>
                      <a:pt x="23" y="27"/>
                      <a:pt x="24" y="28"/>
                      <a:pt x="22" y="28"/>
                    </a:cubicBezTo>
                    <a:cubicBezTo>
                      <a:pt x="23" y="29"/>
                      <a:pt x="25" y="29"/>
                      <a:pt x="24" y="31"/>
                    </a:cubicBezTo>
                    <a:cubicBezTo>
                      <a:pt x="23" y="31"/>
                      <a:pt x="22" y="32"/>
                      <a:pt x="22" y="32"/>
                    </a:cubicBezTo>
                    <a:cubicBezTo>
                      <a:pt x="21" y="32"/>
                      <a:pt x="16" y="32"/>
                      <a:pt x="16" y="33"/>
                    </a:cubicBezTo>
                    <a:cubicBezTo>
                      <a:pt x="17" y="35"/>
                      <a:pt x="25" y="35"/>
                      <a:pt x="26" y="36"/>
                    </a:cubicBezTo>
                    <a:cubicBezTo>
                      <a:pt x="27" y="36"/>
                      <a:pt x="28" y="35"/>
                      <a:pt x="29" y="36"/>
                    </a:cubicBezTo>
                    <a:cubicBezTo>
                      <a:pt x="31" y="37"/>
                      <a:pt x="31" y="37"/>
                      <a:pt x="33" y="36"/>
                    </a:cubicBezTo>
                    <a:cubicBezTo>
                      <a:pt x="34" y="35"/>
                      <a:pt x="36" y="34"/>
                      <a:pt x="36" y="33"/>
                    </a:cubicBezTo>
                    <a:cubicBezTo>
                      <a:pt x="36" y="32"/>
                      <a:pt x="36" y="32"/>
                      <a:pt x="36" y="32"/>
                    </a:cubicBezTo>
                    <a:cubicBezTo>
                      <a:pt x="36" y="31"/>
                      <a:pt x="36" y="31"/>
                      <a:pt x="37" y="31"/>
                    </a:cubicBezTo>
                    <a:cubicBezTo>
                      <a:pt x="37" y="30"/>
                      <a:pt x="36" y="30"/>
                      <a:pt x="37" y="29"/>
                    </a:cubicBezTo>
                    <a:cubicBezTo>
                      <a:pt x="38" y="29"/>
                      <a:pt x="39" y="28"/>
                      <a:pt x="40" y="28"/>
                    </a:cubicBezTo>
                    <a:cubicBezTo>
                      <a:pt x="41" y="27"/>
                      <a:pt x="43" y="26"/>
                      <a:pt x="45" y="26"/>
                    </a:cubicBezTo>
                    <a:cubicBezTo>
                      <a:pt x="46" y="26"/>
                      <a:pt x="48" y="26"/>
                      <a:pt x="48" y="27"/>
                    </a:cubicBezTo>
                    <a:cubicBezTo>
                      <a:pt x="48" y="27"/>
                      <a:pt x="49" y="28"/>
                      <a:pt x="48" y="29"/>
                    </a:cubicBezTo>
                    <a:cubicBezTo>
                      <a:pt x="48" y="30"/>
                      <a:pt x="47" y="31"/>
                      <a:pt x="46" y="31"/>
                    </a:cubicBezTo>
                    <a:cubicBezTo>
                      <a:pt x="46" y="32"/>
                      <a:pt x="45" y="32"/>
                      <a:pt x="44" y="33"/>
                    </a:cubicBezTo>
                    <a:cubicBezTo>
                      <a:pt x="44" y="33"/>
                      <a:pt x="42" y="34"/>
                      <a:pt x="42" y="34"/>
                    </a:cubicBezTo>
                    <a:cubicBezTo>
                      <a:pt x="42" y="35"/>
                      <a:pt x="43" y="35"/>
                      <a:pt x="41" y="36"/>
                    </a:cubicBezTo>
                    <a:cubicBezTo>
                      <a:pt x="41" y="36"/>
                      <a:pt x="39" y="36"/>
                      <a:pt x="39" y="36"/>
                    </a:cubicBezTo>
                    <a:cubicBezTo>
                      <a:pt x="38" y="36"/>
                      <a:pt x="37" y="36"/>
                      <a:pt x="37" y="37"/>
                    </a:cubicBezTo>
                    <a:cubicBezTo>
                      <a:pt x="36" y="38"/>
                      <a:pt x="38" y="39"/>
                      <a:pt x="39" y="39"/>
                    </a:cubicBezTo>
                    <a:cubicBezTo>
                      <a:pt x="41" y="39"/>
                      <a:pt x="45" y="36"/>
                      <a:pt x="46" y="35"/>
                    </a:cubicBezTo>
                    <a:cubicBezTo>
                      <a:pt x="48" y="34"/>
                      <a:pt x="50" y="33"/>
                      <a:pt x="52" y="31"/>
                    </a:cubicBezTo>
                    <a:cubicBezTo>
                      <a:pt x="52" y="31"/>
                      <a:pt x="52" y="32"/>
                      <a:pt x="52" y="32"/>
                    </a:cubicBezTo>
                    <a:cubicBezTo>
                      <a:pt x="52" y="30"/>
                      <a:pt x="54" y="30"/>
                      <a:pt x="55" y="30"/>
                    </a:cubicBezTo>
                    <a:cubicBezTo>
                      <a:pt x="55" y="30"/>
                      <a:pt x="56" y="30"/>
                      <a:pt x="57" y="30"/>
                    </a:cubicBezTo>
                    <a:cubicBezTo>
                      <a:pt x="57" y="29"/>
                      <a:pt x="56" y="28"/>
                      <a:pt x="55" y="28"/>
                    </a:cubicBezTo>
                    <a:cubicBezTo>
                      <a:pt x="55" y="28"/>
                      <a:pt x="54" y="28"/>
                      <a:pt x="54" y="27"/>
                    </a:cubicBezTo>
                    <a:cubicBezTo>
                      <a:pt x="53" y="27"/>
                      <a:pt x="52" y="26"/>
                      <a:pt x="51" y="26"/>
                    </a:cubicBezTo>
                    <a:cubicBezTo>
                      <a:pt x="52" y="25"/>
                      <a:pt x="53" y="26"/>
                      <a:pt x="54" y="25"/>
                    </a:cubicBezTo>
                    <a:cubicBezTo>
                      <a:pt x="54" y="24"/>
                      <a:pt x="56" y="24"/>
                      <a:pt x="56" y="24"/>
                    </a:cubicBezTo>
                    <a:cubicBezTo>
                      <a:pt x="55" y="24"/>
                      <a:pt x="54" y="23"/>
                      <a:pt x="56" y="23"/>
                    </a:cubicBezTo>
                    <a:cubicBezTo>
                      <a:pt x="57" y="22"/>
                      <a:pt x="58" y="23"/>
                      <a:pt x="58" y="23"/>
                    </a:cubicBezTo>
                    <a:cubicBezTo>
                      <a:pt x="60" y="23"/>
                      <a:pt x="62" y="22"/>
                      <a:pt x="63" y="23"/>
                    </a:cubicBezTo>
                    <a:cubicBezTo>
                      <a:pt x="64" y="23"/>
                      <a:pt x="65" y="23"/>
                      <a:pt x="65" y="24"/>
                    </a:cubicBezTo>
                    <a:cubicBezTo>
                      <a:pt x="65" y="24"/>
                      <a:pt x="66" y="25"/>
                      <a:pt x="66" y="25"/>
                    </a:cubicBezTo>
                    <a:cubicBezTo>
                      <a:pt x="66" y="25"/>
                      <a:pt x="67" y="25"/>
                      <a:pt x="67" y="25"/>
                    </a:cubicBezTo>
                    <a:cubicBezTo>
                      <a:pt x="68" y="25"/>
                      <a:pt x="67" y="25"/>
                      <a:pt x="68" y="25"/>
                    </a:cubicBezTo>
                    <a:cubicBezTo>
                      <a:pt x="68" y="24"/>
                      <a:pt x="68" y="24"/>
                      <a:pt x="69" y="24"/>
                    </a:cubicBezTo>
                    <a:cubicBezTo>
                      <a:pt x="69" y="24"/>
                      <a:pt x="69" y="25"/>
                      <a:pt x="70" y="25"/>
                    </a:cubicBezTo>
                    <a:cubicBezTo>
                      <a:pt x="70" y="25"/>
                      <a:pt x="71" y="24"/>
                      <a:pt x="71" y="24"/>
                    </a:cubicBezTo>
                    <a:cubicBezTo>
                      <a:pt x="71" y="24"/>
                      <a:pt x="72" y="25"/>
                      <a:pt x="72" y="24"/>
                    </a:cubicBezTo>
                    <a:cubicBezTo>
                      <a:pt x="73" y="24"/>
                      <a:pt x="73" y="24"/>
                      <a:pt x="73" y="24"/>
                    </a:cubicBezTo>
                    <a:cubicBezTo>
                      <a:pt x="73" y="24"/>
                      <a:pt x="74" y="24"/>
                      <a:pt x="74" y="24"/>
                    </a:cubicBezTo>
                    <a:cubicBezTo>
                      <a:pt x="75" y="23"/>
                      <a:pt x="75" y="22"/>
                      <a:pt x="74" y="22"/>
                    </a:cubicBezTo>
                    <a:cubicBezTo>
                      <a:pt x="74" y="21"/>
                      <a:pt x="72" y="23"/>
                      <a:pt x="71" y="22"/>
                    </a:cubicBezTo>
                    <a:cubicBezTo>
                      <a:pt x="70" y="22"/>
                      <a:pt x="70" y="22"/>
                      <a:pt x="71" y="21"/>
                    </a:cubicBezTo>
                    <a:cubicBezTo>
                      <a:pt x="71" y="21"/>
                      <a:pt x="71" y="21"/>
                      <a:pt x="71" y="20"/>
                    </a:cubicBezTo>
                    <a:cubicBezTo>
                      <a:pt x="71" y="20"/>
                      <a:pt x="71" y="20"/>
                      <a:pt x="71" y="20"/>
                    </a:cubicBezTo>
                    <a:cubicBezTo>
                      <a:pt x="71" y="19"/>
                      <a:pt x="72" y="19"/>
                      <a:pt x="73" y="18"/>
                    </a:cubicBezTo>
                    <a:cubicBezTo>
                      <a:pt x="74" y="18"/>
                      <a:pt x="75" y="19"/>
                      <a:pt x="75" y="18"/>
                    </a:cubicBezTo>
                    <a:cubicBezTo>
                      <a:pt x="75" y="16"/>
                      <a:pt x="76" y="16"/>
                      <a:pt x="76" y="15"/>
                    </a:cubicBezTo>
                    <a:cubicBezTo>
                      <a:pt x="77" y="13"/>
                      <a:pt x="77" y="12"/>
                      <a:pt x="78" y="12"/>
                    </a:cubicBezTo>
                    <a:cubicBezTo>
                      <a:pt x="77" y="11"/>
                      <a:pt x="75" y="12"/>
                      <a:pt x="74" y="12"/>
                    </a:cubicBezTo>
                    <a:cubicBezTo>
                      <a:pt x="74" y="11"/>
                      <a:pt x="74" y="11"/>
                      <a:pt x="75" y="10"/>
                    </a:cubicBezTo>
                    <a:cubicBezTo>
                      <a:pt x="75" y="10"/>
                      <a:pt x="75" y="9"/>
                      <a:pt x="75" y="9"/>
                    </a:cubicBezTo>
                    <a:cubicBezTo>
                      <a:pt x="76" y="9"/>
                      <a:pt x="77" y="9"/>
                      <a:pt x="76" y="8"/>
                    </a:cubicBezTo>
                    <a:cubicBezTo>
                      <a:pt x="73" y="8"/>
                      <a:pt x="72" y="9"/>
                      <a:pt x="70" y="12"/>
                    </a:cubicBezTo>
                    <a:cubicBezTo>
                      <a:pt x="70" y="11"/>
                      <a:pt x="71" y="11"/>
                      <a:pt x="71" y="11"/>
                    </a:cubicBezTo>
                    <a:cubicBezTo>
                      <a:pt x="70" y="12"/>
                      <a:pt x="69" y="13"/>
                      <a:pt x="68" y="13"/>
                    </a:cubicBezTo>
                    <a:cubicBezTo>
                      <a:pt x="67" y="13"/>
                      <a:pt x="65" y="14"/>
                      <a:pt x="64" y="14"/>
                    </a:cubicBezTo>
                    <a:cubicBezTo>
                      <a:pt x="62" y="14"/>
                      <a:pt x="59" y="13"/>
                      <a:pt x="57" y="13"/>
                    </a:cubicBezTo>
                    <a:cubicBezTo>
                      <a:pt x="57" y="14"/>
                      <a:pt x="57" y="14"/>
                      <a:pt x="57" y="14"/>
                    </a:cubicBezTo>
                    <a:cubicBezTo>
                      <a:pt x="56" y="14"/>
                      <a:pt x="55" y="14"/>
                      <a:pt x="55" y="14"/>
                    </a:cubicBezTo>
                    <a:cubicBezTo>
                      <a:pt x="55" y="13"/>
                      <a:pt x="56" y="13"/>
                      <a:pt x="56" y="13"/>
                    </a:cubicBezTo>
                    <a:cubicBezTo>
                      <a:pt x="55" y="12"/>
                      <a:pt x="55" y="13"/>
                      <a:pt x="54" y="13"/>
                    </a:cubicBezTo>
                    <a:cubicBezTo>
                      <a:pt x="53" y="14"/>
                      <a:pt x="53" y="13"/>
                      <a:pt x="52" y="13"/>
                    </a:cubicBezTo>
                    <a:cubicBezTo>
                      <a:pt x="51" y="12"/>
                      <a:pt x="51" y="13"/>
                      <a:pt x="50" y="13"/>
                    </a:cubicBezTo>
                    <a:cubicBezTo>
                      <a:pt x="49" y="13"/>
                      <a:pt x="48" y="12"/>
                      <a:pt x="48" y="13"/>
                    </a:cubicBezTo>
                    <a:cubicBezTo>
                      <a:pt x="48" y="12"/>
                      <a:pt x="49" y="12"/>
                      <a:pt x="50" y="11"/>
                    </a:cubicBezTo>
                    <a:cubicBezTo>
                      <a:pt x="47" y="11"/>
                      <a:pt x="49" y="10"/>
                      <a:pt x="50" y="10"/>
                    </a:cubicBezTo>
                    <a:cubicBezTo>
                      <a:pt x="51" y="10"/>
                      <a:pt x="51" y="9"/>
                      <a:pt x="52" y="8"/>
                    </a:cubicBezTo>
                    <a:cubicBezTo>
                      <a:pt x="52" y="8"/>
                      <a:pt x="53" y="8"/>
                      <a:pt x="53" y="8"/>
                    </a:cubicBezTo>
                    <a:cubicBezTo>
                      <a:pt x="54" y="7"/>
                      <a:pt x="55" y="7"/>
                      <a:pt x="55" y="7"/>
                    </a:cubicBezTo>
                    <a:cubicBezTo>
                      <a:pt x="56" y="7"/>
                      <a:pt x="57" y="7"/>
                      <a:pt x="57" y="7"/>
                    </a:cubicBezTo>
                    <a:cubicBezTo>
                      <a:pt x="58" y="6"/>
                      <a:pt x="58" y="6"/>
                      <a:pt x="59" y="5"/>
                    </a:cubicBezTo>
                    <a:cubicBezTo>
                      <a:pt x="60" y="5"/>
                      <a:pt x="62" y="5"/>
                      <a:pt x="63" y="4"/>
                    </a:cubicBezTo>
                    <a:cubicBezTo>
                      <a:pt x="61" y="4"/>
                      <a:pt x="52" y="2"/>
                      <a:pt x="52" y="1"/>
                    </a:cubicBezTo>
                    <a:cubicBezTo>
                      <a:pt x="52" y="1"/>
                      <a:pt x="52" y="1"/>
                      <a:pt x="52" y="0"/>
                    </a:cubicBezTo>
                    <a:cubicBezTo>
                      <a:pt x="52" y="2"/>
                      <a:pt x="52" y="2"/>
                      <a:pt x="50" y="2"/>
                    </a:cubicBezTo>
                    <a:cubicBezTo>
                      <a:pt x="49" y="3"/>
                      <a:pt x="49" y="3"/>
                      <a:pt x="48" y="3"/>
                    </a:cubicBezTo>
                    <a:cubicBezTo>
                      <a:pt x="46" y="3"/>
                      <a:pt x="44" y="5"/>
                      <a:pt x="42" y="5"/>
                    </a:cubicBezTo>
                    <a:cubicBezTo>
                      <a:pt x="40" y="5"/>
                      <a:pt x="40" y="4"/>
                      <a:pt x="39" y="5"/>
                    </a:cubicBezTo>
                    <a:cubicBezTo>
                      <a:pt x="39" y="6"/>
                      <a:pt x="38" y="6"/>
                      <a:pt x="38" y="6"/>
                    </a:cubicBezTo>
                    <a:cubicBezTo>
                      <a:pt x="38" y="6"/>
                      <a:pt x="37" y="6"/>
                      <a:pt x="37" y="6"/>
                    </a:cubicBezTo>
                    <a:cubicBezTo>
                      <a:pt x="37" y="6"/>
                      <a:pt x="37" y="7"/>
                      <a:pt x="37" y="7"/>
                    </a:cubicBezTo>
                    <a:cubicBezTo>
                      <a:pt x="36" y="7"/>
                      <a:pt x="35" y="7"/>
                      <a:pt x="34" y="8"/>
                    </a:cubicBezTo>
                    <a:cubicBezTo>
                      <a:pt x="33" y="8"/>
                      <a:pt x="32" y="8"/>
                      <a:pt x="31" y="9"/>
                    </a:cubicBezTo>
                    <a:cubicBezTo>
                      <a:pt x="31" y="9"/>
                      <a:pt x="30" y="9"/>
                      <a:pt x="30" y="9"/>
                    </a:cubicBezTo>
                    <a:cubicBezTo>
                      <a:pt x="30" y="9"/>
                      <a:pt x="29" y="9"/>
                      <a:pt x="29" y="9"/>
                    </a:cubicBezTo>
                    <a:cubicBezTo>
                      <a:pt x="28" y="9"/>
                      <a:pt x="28" y="9"/>
                      <a:pt x="27" y="9"/>
                    </a:cubicBezTo>
                    <a:cubicBezTo>
                      <a:pt x="27" y="9"/>
                      <a:pt x="27" y="10"/>
                      <a:pt x="26" y="9"/>
                    </a:cubicBezTo>
                    <a:cubicBezTo>
                      <a:pt x="26" y="11"/>
                      <a:pt x="24" y="9"/>
                      <a:pt x="22" y="10"/>
                    </a:cubicBezTo>
                    <a:cubicBezTo>
                      <a:pt x="22" y="10"/>
                      <a:pt x="22" y="11"/>
                      <a:pt x="22" y="11"/>
                    </a:cubicBezTo>
                    <a:cubicBezTo>
                      <a:pt x="22" y="11"/>
                      <a:pt x="22" y="11"/>
                      <a:pt x="21" y="11"/>
                    </a:cubicBezTo>
                    <a:cubicBezTo>
                      <a:pt x="20" y="11"/>
                      <a:pt x="20" y="11"/>
                      <a:pt x="20" y="10"/>
                    </a:cubicBezTo>
                    <a:cubicBezTo>
                      <a:pt x="19" y="12"/>
                      <a:pt x="17" y="12"/>
                      <a:pt x="16" y="12"/>
                    </a:cubicBezTo>
                    <a:cubicBezTo>
                      <a:pt x="15" y="12"/>
                      <a:pt x="14" y="12"/>
                      <a:pt x="13" y="12"/>
                    </a:cubicBezTo>
                    <a:cubicBezTo>
                      <a:pt x="13" y="13"/>
                      <a:pt x="12" y="14"/>
                      <a:pt x="12" y="14"/>
                    </a:cubicBezTo>
                    <a:cubicBezTo>
                      <a:pt x="10" y="14"/>
                      <a:pt x="10" y="13"/>
                      <a:pt x="9" y="13"/>
                    </a:cubicBezTo>
                    <a:cubicBezTo>
                      <a:pt x="8" y="13"/>
                      <a:pt x="8" y="14"/>
                      <a:pt x="7" y="15"/>
                    </a:cubicBezTo>
                    <a:cubicBezTo>
                      <a:pt x="6" y="15"/>
                      <a:pt x="5" y="14"/>
                      <a:pt x="4" y="14"/>
                    </a:cubicBezTo>
                    <a:cubicBezTo>
                      <a:pt x="4" y="14"/>
                      <a:pt x="3" y="15"/>
                      <a:pt x="3" y="15"/>
                    </a:cubicBezTo>
                    <a:cubicBezTo>
                      <a:pt x="2" y="15"/>
                      <a:pt x="2" y="14"/>
                      <a:pt x="2" y="14"/>
                    </a:cubicBezTo>
                    <a:cubicBezTo>
                      <a:pt x="1" y="14"/>
                      <a:pt x="0" y="15"/>
                      <a:pt x="0" y="16"/>
                    </a:cubicBezTo>
                    <a:cubicBezTo>
                      <a:pt x="0" y="17"/>
                      <a:pt x="1" y="18"/>
                      <a:pt x="2" y="19"/>
                    </a:cubicBezTo>
                    <a:cubicBezTo>
                      <a:pt x="2" y="19"/>
                      <a:pt x="2"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9" name="Freeform 2096">
                <a:extLst>
                  <a:ext uri="{FF2B5EF4-FFF2-40B4-BE49-F238E27FC236}">
                    <a16:creationId xmlns:a16="http://schemas.microsoft.com/office/drawing/2014/main" id="{DA0EC418-8DCC-4BBD-BCB0-A4998C907831}"/>
                  </a:ext>
                </a:extLst>
              </p:cNvPr>
              <p:cNvSpPr>
                <a:spLocks/>
              </p:cNvSpPr>
              <p:nvPr/>
            </p:nvSpPr>
            <p:spPr bwMode="auto">
              <a:xfrm>
                <a:off x="1608" y="2843"/>
                <a:ext cx="14" cy="14"/>
              </a:xfrm>
              <a:custGeom>
                <a:avLst/>
                <a:gdLst>
                  <a:gd name="T0" fmla="*/ 4 w 6"/>
                  <a:gd name="T1" fmla="*/ 0 h 6"/>
                  <a:gd name="T2" fmla="*/ 1 w 6"/>
                  <a:gd name="T3" fmla="*/ 2 h 6"/>
                  <a:gd name="T4" fmla="*/ 4 w 6"/>
                  <a:gd name="T5" fmla="*/ 0 h 6"/>
                </a:gdLst>
                <a:ahLst/>
                <a:cxnLst>
                  <a:cxn ang="0">
                    <a:pos x="T0" y="T1"/>
                  </a:cxn>
                  <a:cxn ang="0">
                    <a:pos x="T2" y="T3"/>
                  </a:cxn>
                  <a:cxn ang="0">
                    <a:pos x="T4" y="T5"/>
                  </a:cxn>
                </a:cxnLst>
                <a:rect l="0" t="0" r="r" b="b"/>
                <a:pathLst>
                  <a:path w="6" h="6">
                    <a:moveTo>
                      <a:pt x="4" y="0"/>
                    </a:moveTo>
                    <a:cubicBezTo>
                      <a:pt x="2" y="0"/>
                      <a:pt x="1" y="0"/>
                      <a:pt x="1" y="2"/>
                    </a:cubicBezTo>
                    <a:cubicBezTo>
                      <a:pt x="0" y="6"/>
                      <a:pt x="6"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0" name="Freeform 2097">
                <a:extLst>
                  <a:ext uri="{FF2B5EF4-FFF2-40B4-BE49-F238E27FC236}">
                    <a16:creationId xmlns:a16="http://schemas.microsoft.com/office/drawing/2014/main" id="{DF47B364-03A0-4AA3-B44D-02AFBE5A86F8}"/>
                  </a:ext>
                </a:extLst>
              </p:cNvPr>
              <p:cNvSpPr>
                <a:spLocks/>
              </p:cNvSpPr>
              <p:nvPr/>
            </p:nvSpPr>
            <p:spPr bwMode="auto">
              <a:xfrm>
                <a:off x="2793" y="1771"/>
                <a:ext cx="2" cy="4"/>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0"/>
                      <a:pt x="1" y="0"/>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1" name="Freeform 2098">
                <a:extLst>
                  <a:ext uri="{FF2B5EF4-FFF2-40B4-BE49-F238E27FC236}">
                    <a16:creationId xmlns:a16="http://schemas.microsoft.com/office/drawing/2014/main" id="{D58D82D1-F51C-494F-A86B-100B68F16021}"/>
                  </a:ext>
                </a:extLst>
              </p:cNvPr>
              <p:cNvSpPr>
                <a:spLocks/>
              </p:cNvSpPr>
              <p:nvPr/>
            </p:nvSpPr>
            <p:spPr bwMode="auto">
              <a:xfrm>
                <a:off x="2859" y="1797"/>
                <a:ext cx="14" cy="5"/>
              </a:xfrm>
              <a:custGeom>
                <a:avLst/>
                <a:gdLst>
                  <a:gd name="T0" fmla="*/ 2 w 6"/>
                  <a:gd name="T1" fmla="*/ 2 h 2"/>
                  <a:gd name="T2" fmla="*/ 6 w 6"/>
                  <a:gd name="T3" fmla="*/ 2 h 2"/>
                  <a:gd name="T4" fmla="*/ 2 w 6"/>
                  <a:gd name="T5" fmla="*/ 0 h 2"/>
                  <a:gd name="T6" fmla="*/ 2 w 6"/>
                  <a:gd name="T7" fmla="*/ 2 h 2"/>
                </a:gdLst>
                <a:ahLst/>
                <a:cxnLst>
                  <a:cxn ang="0">
                    <a:pos x="T0" y="T1"/>
                  </a:cxn>
                  <a:cxn ang="0">
                    <a:pos x="T2" y="T3"/>
                  </a:cxn>
                  <a:cxn ang="0">
                    <a:pos x="T4" y="T5"/>
                  </a:cxn>
                  <a:cxn ang="0">
                    <a:pos x="T6" y="T7"/>
                  </a:cxn>
                </a:cxnLst>
                <a:rect l="0" t="0" r="r" b="b"/>
                <a:pathLst>
                  <a:path w="6" h="2">
                    <a:moveTo>
                      <a:pt x="2" y="2"/>
                    </a:moveTo>
                    <a:cubicBezTo>
                      <a:pt x="3" y="2"/>
                      <a:pt x="4" y="2"/>
                      <a:pt x="6" y="2"/>
                    </a:cubicBezTo>
                    <a:cubicBezTo>
                      <a:pt x="5" y="1"/>
                      <a:pt x="3" y="1"/>
                      <a:pt x="2" y="0"/>
                    </a:cubicBezTo>
                    <a:cubicBezTo>
                      <a:pt x="0"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2" name="Freeform 2099">
                <a:extLst>
                  <a:ext uri="{FF2B5EF4-FFF2-40B4-BE49-F238E27FC236}">
                    <a16:creationId xmlns:a16="http://schemas.microsoft.com/office/drawing/2014/main" id="{A9CDCDA3-1DC7-404F-BCAC-00F18B656A3B}"/>
                  </a:ext>
                </a:extLst>
              </p:cNvPr>
              <p:cNvSpPr>
                <a:spLocks/>
              </p:cNvSpPr>
              <p:nvPr/>
            </p:nvSpPr>
            <p:spPr bwMode="auto">
              <a:xfrm>
                <a:off x="2885" y="1790"/>
                <a:ext cx="12" cy="4"/>
              </a:xfrm>
              <a:custGeom>
                <a:avLst/>
                <a:gdLst>
                  <a:gd name="T0" fmla="*/ 3 w 5"/>
                  <a:gd name="T1" fmla="*/ 0 h 2"/>
                  <a:gd name="T2" fmla="*/ 1 w 5"/>
                  <a:gd name="T3" fmla="*/ 1 h 2"/>
                  <a:gd name="T4" fmla="*/ 4 w 5"/>
                  <a:gd name="T5" fmla="*/ 2 h 2"/>
                  <a:gd name="T6" fmla="*/ 3 w 5"/>
                  <a:gd name="T7" fmla="*/ 0 h 2"/>
                </a:gdLst>
                <a:ahLst/>
                <a:cxnLst>
                  <a:cxn ang="0">
                    <a:pos x="T0" y="T1"/>
                  </a:cxn>
                  <a:cxn ang="0">
                    <a:pos x="T2" y="T3"/>
                  </a:cxn>
                  <a:cxn ang="0">
                    <a:pos x="T4" y="T5"/>
                  </a:cxn>
                  <a:cxn ang="0">
                    <a:pos x="T6" y="T7"/>
                  </a:cxn>
                </a:cxnLst>
                <a:rect l="0" t="0" r="r" b="b"/>
                <a:pathLst>
                  <a:path w="5" h="2">
                    <a:moveTo>
                      <a:pt x="3" y="0"/>
                    </a:moveTo>
                    <a:cubicBezTo>
                      <a:pt x="3" y="0"/>
                      <a:pt x="2" y="0"/>
                      <a:pt x="1" y="1"/>
                    </a:cubicBezTo>
                    <a:cubicBezTo>
                      <a:pt x="0" y="2"/>
                      <a:pt x="4" y="2"/>
                      <a:pt x="4" y="2"/>
                    </a:cubicBezTo>
                    <a:cubicBezTo>
                      <a:pt x="4" y="1"/>
                      <a:pt x="5"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3" name="Freeform 2100">
                <a:extLst>
                  <a:ext uri="{FF2B5EF4-FFF2-40B4-BE49-F238E27FC236}">
                    <a16:creationId xmlns:a16="http://schemas.microsoft.com/office/drawing/2014/main" id="{FD83AC30-0CFA-45BB-B0CC-D9542952DE20}"/>
                  </a:ext>
                </a:extLst>
              </p:cNvPr>
              <p:cNvSpPr>
                <a:spLocks/>
              </p:cNvSpPr>
              <p:nvPr/>
            </p:nvSpPr>
            <p:spPr bwMode="auto">
              <a:xfrm>
                <a:off x="2925" y="1813"/>
                <a:ext cx="16" cy="7"/>
              </a:xfrm>
              <a:custGeom>
                <a:avLst/>
                <a:gdLst>
                  <a:gd name="T0" fmla="*/ 7 w 7"/>
                  <a:gd name="T1" fmla="*/ 2 h 3"/>
                  <a:gd name="T2" fmla="*/ 5 w 7"/>
                  <a:gd name="T3" fmla="*/ 1 h 3"/>
                  <a:gd name="T4" fmla="*/ 2 w 7"/>
                  <a:gd name="T5" fmla="*/ 2 h 3"/>
                  <a:gd name="T6" fmla="*/ 0 w 7"/>
                  <a:gd name="T7" fmla="*/ 1 h 3"/>
                  <a:gd name="T8" fmla="*/ 4 w 7"/>
                  <a:gd name="T9" fmla="*/ 3 h 3"/>
                  <a:gd name="T10" fmla="*/ 7 w 7"/>
                  <a:gd name="T11" fmla="*/ 2 h 3"/>
                </a:gdLst>
                <a:ahLst/>
                <a:cxnLst>
                  <a:cxn ang="0">
                    <a:pos x="T0" y="T1"/>
                  </a:cxn>
                  <a:cxn ang="0">
                    <a:pos x="T2" y="T3"/>
                  </a:cxn>
                  <a:cxn ang="0">
                    <a:pos x="T4" y="T5"/>
                  </a:cxn>
                  <a:cxn ang="0">
                    <a:pos x="T6" y="T7"/>
                  </a:cxn>
                  <a:cxn ang="0">
                    <a:pos x="T8" y="T9"/>
                  </a:cxn>
                  <a:cxn ang="0">
                    <a:pos x="T10" y="T11"/>
                  </a:cxn>
                </a:cxnLst>
                <a:rect l="0" t="0" r="r" b="b"/>
                <a:pathLst>
                  <a:path w="7" h="3">
                    <a:moveTo>
                      <a:pt x="7" y="2"/>
                    </a:moveTo>
                    <a:cubicBezTo>
                      <a:pt x="7" y="1"/>
                      <a:pt x="5" y="1"/>
                      <a:pt x="5" y="1"/>
                    </a:cubicBezTo>
                    <a:cubicBezTo>
                      <a:pt x="4" y="1"/>
                      <a:pt x="3" y="2"/>
                      <a:pt x="2" y="2"/>
                    </a:cubicBezTo>
                    <a:cubicBezTo>
                      <a:pt x="1" y="1"/>
                      <a:pt x="1" y="0"/>
                      <a:pt x="0" y="1"/>
                    </a:cubicBezTo>
                    <a:cubicBezTo>
                      <a:pt x="1" y="2"/>
                      <a:pt x="3" y="3"/>
                      <a:pt x="4" y="3"/>
                    </a:cubicBezTo>
                    <a:cubicBezTo>
                      <a:pt x="5" y="3"/>
                      <a:pt x="7"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4" name="Freeform 2101">
                <a:extLst>
                  <a:ext uri="{FF2B5EF4-FFF2-40B4-BE49-F238E27FC236}">
                    <a16:creationId xmlns:a16="http://schemas.microsoft.com/office/drawing/2014/main" id="{7692C0F8-C94D-4BDB-B73B-55F79175C82E}"/>
                  </a:ext>
                </a:extLst>
              </p:cNvPr>
              <p:cNvSpPr>
                <a:spLocks/>
              </p:cNvSpPr>
              <p:nvPr/>
            </p:nvSpPr>
            <p:spPr bwMode="auto">
              <a:xfrm>
                <a:off x="2941" y="1842"/>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5" name="Freeform 2102">
                <a:extLst>
                  <a:ext uri="{FF2B5EF4-FFF2-40B4-BE49-F238E27FC236}">
                    <a16:creationId xmlns:a16="http://schemas.microsoft.com/office/drawing/2014/main" id="{8867819D-C9BA-4E6F-98BA-78F20B12ED39}"/>
                  </a:ext>
                </a:extLst>
              </p:cNvPr>
              <p:cNvSpPr>
                <a:spLocks/>
              </p:cNvSpPr>
              <p:nvPr/>
            </p:nvSpPr>
            <p:spPr bwMode="auto">
              <a:xfrm>
                <a:off x="2934" y="2358"/>
                <a:ext cx="15" cy="7"/>
              </a:xfrm>
              <a:custGeom>
                <a:avLst/>
                <a:gdLst>
                  <a:gd name="T0" fmla="*/ 4 w 6"/>
                  <a:gd name="T1" fmla="*/ 0 h 3"/>
                  <a:gd name="T2" fmla="*/ 2 w 6"/>
                  <a:gd name="T3" fmla="*/ 0 h 3"/>
                  <a:gd name="T4" fmla="*/ 2 w 6"/>
                  <a:gd name="T5" fmla="*/ 3 h 3"/>
                  <a:gd name="T6" fmla="*/ 4 w 6"/>
                  <a:gd name="T7" fmla="*/ 0 h 3"/>
                </a:gdLst>
                <a:ahLst/>
                <a:cxnLst>
                  <a:cxn ang="0">
                    <a:pos x="T0" y="T1"/>
                  </a:cxn>
                  <a:cxn ang="0">
                    <a:pos x="T2" y="T3"/>
                  </a:cxn>
                  <a:cxn ang="0">
                    <a:pos x="T4" y="T5"/>
                  </a:cxn>
                  <a:cxn ang="0">
                    <a:pos x="T6" y="T7"/>
                  </a:cxn>
                </a:cxnLst>
                <a:rect l="0" t="0" r="r" b="b"/>
                <a:pathLst>
                  <a:path w="6" h="3">
                    <a:moveTo>
                      <a:pt x="4" y="0"/>
                    </a:moveTo>
                    <a:cubicBezTo>
                      <a:pt x="3" y="0"/>
                      <a:pt x="3" y="0"/>
                      <a:pt x="2" y="0"/>
                    </a:cubicBezTo>
                    <a:cubicBezTo>
                      <a:pt x="0" y="1"/>
                      <a:pt x="1" y="1"/>
                      <a:pt x="2" y="3"/>
                    </a:cubicBezTo>
                    <a:cubicBezTo>
                      <a:pt x="2" y="3"/>
                      <a:pt x="6"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6" name="Freeform 2103">
                <a:extLst>
                  <a:ext uri="{FF2B5EF4-FFF2-40B4-BE49-F238E27FC236}">
                    <a16:creationId xmlns:a16="http://schemas.microsoft.com/office/drawing/2014/main" id="{DB67810B-3473-4BFA-AA98-8672CE060001}"/>
                  </a:ext>
                </a:extLst>
              </p:cNvPr>
              <p:cNvSpPr>
                <a:spLocks/>
              </p:cNvSpPr>
              <p:nvPr/>
            </p:nvSpPr>
            <p:spPr bwMode="auto">
              <a:xfrm>
                <a:off x="2941" y="2365"/>
                <a:ext cx="5" cy="2"/>
              </a:xfrm>
              <a:custGeom>
                <a:avLst/>
                <a:gdLst>
                  <a:gd name="T0" fmla="*/ 2 w 2"/>
                  <a:gd name="T1" fmla="*/ 1 h 1"/>
                  <a:gd name="T2" fmla="*/ 2 w 2"/>
                  <a:gd name="T3" fmla="*/ 0 h 1"/>
                  <a:gd name="T4" fmla="*/ 2 w 2"/>
                  <a:gd name="T5" fmla="*/ 1 h 1"/>
                </a:gdLst>
                <a:ahLst/>
                <a:cxnLst>
                  <a:cxn ang="0">
                    <a:pos x="T0" y="T1"/>
                  </a:cxn>
                  <a:cxn ang="0">
                    <a:pos x="T2" y="T3"/>
                  </a:cxn>
                  <a:cxn ang="0">
                    <a:pos x="T4" y="T5"/>
                  </a:cxn>
                </a:cxnLst>
                <a:rect l="0" t="0" r="r" b="b"/>
                <a:pathLst>
                  <a:path w="2" h="1">
                    <a:moveTo>
                      <a:pt x="2" y="1"/>
                    </a:moveTo>
                    <a:cubicBezTo>
                      <a:pt x="2" y="1"/>
                      <a:pt x="2" y="0"/>
                      <a:pt x="2" y="0"/>
                    </a:cubicBezTo>
                    <a:cubicBezTo>
                      <a:pt x="1" y="0"/>
                      <a:pt x="0"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7" name="Freeform 2104">
                <a:extLst>
                  <a:ext uri="{FF2B5EF4-FFF2-40B4-BE49-F238E27FC236}">
                    <a16:creationId xmlns:a16="http://schemas.microsoft.com/office/drawing/2014/main" id="{AE53B398-30A7-4699-9448-85C982779C89}"/>
                  </a:ext>
                </a:extLst>
              </p:cNvPr>
              <p:cNvSpPr>
                <a:spLocks/>
              </p:cNvSpPr>
              <p:nvPr/>
            </p:nvSpPr>
            <p:spPr bwMode="auto">
              <a:xfrm>
                <a:off x="2956" y="2369"/>
                <a:ext cx="12" cy="7"/>
              </a:xfrm>
              <a:custGeom>
                <a:avLst/>
                <a:gdLst>
                  <a:gd name="T0" fmla="*/ 2 w 5"/>
                  <a:gd name="T1" fmla="*/ 3 h 3"/>
                  <a:gd name="T2" fmla="*/ 5 w 5"/>
                  <a:gd name="T3" fmla="*/ 1 h 3"/>
                  <a:gd name="T4" fmla="*/ 3 w 5"/>
                  <a:gd name="T5" fmla="*/ 1 h 3"/>
                  <a:gd name="T6" fmla="*/ 2 w 5"/>
                  <a:gd name="T7" fmla="*/ 3 h 3"/>
                </a:gdLst>
                <a:ahLst/>
                <a:cxnLst>
                  <a:cxn ang="0">
                    <a:pos x="T0" y="T1"/>
                  </a:cxn>
                  <a:cxn ang="0">
                    <a:pos x="T2" y="T3"/>
                  </a:cxn>
                  <a:cxn ang="0">
                    <a:pos x="T4" y="T5"/>
                  </a:cxn>
                  <a:cxn ang="0">
                    <a:pos x="T6" y="T7"/>
                  </a:cxn>
                </a:cxnLst>
                <a:rect l="0" t="0" r="r" b="b"/>
                <a:pathLst>
                  <a:path w="5" h="3">
                    <a:moveTo>
                      <a:pt x="2" y="3"/>
                    </a:moveTo>
                    <a:cubicBezTo>
                      <a:pt x="3" y="2"/>
                      <a:pt x="5" y="2"/>
                      <a:pt x="5" y="1"/>
                    </a:cubicBezTo>
                    <a:cubicBezTo>
                      <a:pt x="5" y="1"/>
                      <a:pt x="4" y="1"/>
                      <a:pt x="3" y="1"/>
                    </a:cubicBezTo>
                    <a:cubicBezTo>
                      <a:pt x="0" y="0"/>
                      <a:pt x="2" y="1"/>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8" name="Freeform 2105">
                <a:extLst>
                  <a:ext uri="{FF2B5EF4-FFF2-40B4-BE49-F238E27FC236}">
                    <a16:creationId xmlns:a16="http://schemas.microsoft.com/office/drawing/2014/main" id="{B068E544-DF49-4A62-8F1D-D544B49335F5}"/>
                  </a:ext>
                </a:extLst>
              </p:cNvPr>
              <p:cNvSpPr>
                <a:spLocks/>
              </p:cNvSpPr>
              <p:nvPr/>
            </p:nvSpPr>
            <p:spPr bwMode="auto">
              <a:xfrm>
                <a:off x="2986" y="2405"/>
                <a:ext cx="3" cy="5"/>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0"/>
                      <a:pt x="1" y="0"/>
                    </a:cubicBezTo>
                    <a:cubicBezTo>
                      <a:pt x="0"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9" name="Freeform 2106">
                <a:extLst>
                  <a:ext uri="{FF2B5EF4-FFF2-40B4-BE49-F238E27FC236}">
                    <a16:creationId xmlns:a16="http://schemas.microsoft.com/office/drawing/2014/main" id="{716B07E0-F8E0-4AA7-A44A-A4A196C6D06C}"/>
                  </a:ext>
                </a:extLst>
              </p:cNvPr>
              <p:cNvSpPr>
                <a:spLocks/>
              </p:cNvSpPr>
              <p:nvPr/>
            </p:nvSpPr>
            <p:spPr bwMode="auto">
              <a:xfrm>
                <a:off x="2972" y="2405"/>
                <a:ext cx="12" cy="9"/>
              </a:xfrm>
              <a:custGeom>
                <a:avLst/>
                <a:gdLst>
                  <a:gd name="T0" fmla="*/ 1 w 5"/>
                  <a:gd name="T1" fmla="*/ 0 h 4"/>
                  <a:gd name="T2" fmla="*/ 4 w 5"/>
                  <a:gd name="T3" fmla="*/ 4 h 4"/>
                  <a:gd name="T4" fmla="*/ 1 w 5"/>
                  <a:gd name="T5" fmla="*/ 0 h 4"/>
                </a:gdLst>
                <a:ahLst/>
                <a:cxnLst>
                  <a:cxn ang="0">
                    <a:pos x="T0" y="T1"/>
                  </a:cxn>
                  <a:cxn ang="0">
                    <a:pos x="T2" y="T3"/>
                  </a:cxn>
                  <a:cxn ang="0">
                    <a:pos x="T4" y="T5"/>
                  </a:cxn>
                </a:cxnLst>
                <a:rect l="0" t="0" r="r" b="b"/>
                <a:pathLst>
                  <a:path w="5" h="4">
                    <a:moveTo>
                      <a:pt x="1" y="0"/>
                    </a:moveTo>
                    <a:cubicBezTo>
                      <a:pt x="1" y="2"/>
                      <a:pt x="0" y="4"/>
                      <a:pt x="4" y="4"/>
                    </a:cubicBezTo>
                    <a:cubicBezTo>
                      <a:pt x="5" y="2"/>
                      <a:pt x="3"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0" name="Freeform 2107">
                <a:extLst>
                  <a:ext uri="{FF2B5EF4-FFF2-40B4-BE49-F238E27FC236}">
                    <a16:creationId xmlns:a16="http://schemas.microsoft.com/office/drawing/2014/main" id="{1182E29C-D63B-45D6-A281-52BFB4A2EFA3}"/>
                  </a:ext>
                </a:extLst>
              </p:cNvPr>
              <p:cNvSpPr>
                <a:spLocks/>
              </p:cNvSpPr>
              <p:nvPr/>
            </p:nvSpPr>
            <p:spPr bwMode="auto">
              <a:xfrm>
                <a:off x="2956" y="2412"/>
                <a:ext cx="4" cy="5"/>
              </a:xfrm>
              <a:custGeom>
                <a:avLst/>
                <a:gdLst>
                  <a:gd name="T0" fmla="*/ 2 w 2"/>
                  <a:gd name="T1" fmla="*/ 2 h 2"/>
                  <a:gd name="T2" fmla="*/ 2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0"/>
                      <a:pt x="2" y="0"/>
                    </a:cubicBezTo>
                    <a:cubicBezTo>
                      <a:pt x="0"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1" name="Freeform 2108">
                <a:extLst>
                  <a:ext uri="{FF2B5EF4-FFF2-40B4-BE49-F238E27FC236}">
                    <a16:creationId xmlns:a16="http://schemas.microsoft.com/office/drawing/2014/main" id="{97F7AF51-B7A0-474B-8F14-27CBC47C0086}"/>
                  </a:ext>
                </a:extLst>
              </p:cNvPr>
              <p:cNvSpPr>
                <a:spLocks/>
              </p:cNvSpPr>
              <p:nvPr/>
            </p:nvSpPr>
            <p:spPr bwMode="auto">
              <a:xfrm>
                <a:off x="1438" y="20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2" name="Freeform 2109">
                <a:extLst>
                  <a:ext uri="{FF2B5EF4-FFF2-40B4-BE49-F238E27FC236}">
                    <a16:creationId xmlns:a16="http://schemas.microsoft.com/office/drawing/2014/main" id="{9ABA197D-0EC0-415F-94C0-794D2596D44E}"/>
                  </a:ext>
                </a:extLst>
              </p:cNvPr>
              <p:cNvSpPr>
                <a:spLocks/>
              </p:cNvSpPr>
              <p:nvPr/>
            </p:nvSpPr>
            <p:spPr bwMode="auto">
              <a:xfrm>
                <a:off x="3651" y="1416"/>
                <a:ext cx="2"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3" name="Freeform 2110">
                <a:extLst>
                  <a:ext uri="{FF2B5EF4-FFF2-40B4-BE49-F238E27FC236}">
                    <a16:creationId xmlns:a16="http://schemas.microsoft.com/office/drawing/2014/main" id="{1C637BB7-C99D-44AB-92A0-C90C2DCE7F34}"/>
                  </a:ext>
                </a:extLst>
              </p:cNvPr>
              <p:cNvSpPr>
                <a:spLocks/>
              </p:cNvSpPr>
              <p:nvPr/>
            </p:nvSpPr>
            <p:spPr bwMode="auto">
              <a:xfrm>
                <a:off x="6918" y="1870"/>
                <a:ext cx="12" cy="14"/>
              </a:xfrm>
              <a:custGeom>
                <a:avLst/>
                <a:gdLst>
                  <a:gd name="T0" fmla="*/ 2 w 5"/>
                  <a:gd name="T1" fmla="*/ 5 h 6"/>
                  <a:gd name="T2" fmla="*/ 2 w 5"/>
                  <a:gd name="T3" fmla="*/ 6 h 6"/>
                  <a:gd name="T4" fmla="*/ 5 w 5"/>
                  <a:gd name="T5" fmla="*/ 4 h 6"/>
                  <a:gd name="T6" fmla="*/ 5 w 5"/>
                  <a:gd name="T7" fmla="*/ 3 h 6"/>
                  <a:gd name="T8" fmla="*/ 2 w 5"/>
                  <a:gd name="T9" fmla="*/ 0 h 6"/>
                  <a:gd name="T10" fmla="*/ 0 w 5"/>
                  <a:gd name="T11" fmla="*/ 3 h 6"/>
                  <a:gd name="T12" fmla="*/ 2 w 5"/>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2" y="5"/>
                    </a:moveTo>
                    <a:cubicBezTo>
                      <a:pt x="2" y="5"/>
                      <a:pt x="2" y="6"/>
                      <a:pt x="2" y="6"/>
                    </a:cubicBezTo>
                    <a:cubicBezTo>
                      <a:pt x="3" y="6"/>
                      <a:pt x="4" y="5"/>
                      <a:pt x="5" y="4"/>
                    </a:cubicBezTo>
                    <a:cubicBezTo>
                      <a:pt x="5" y="4"/>
                      <a:pt x="5" y="3"/>
                      <a:pt x="5" y="3"/>
                    </a:cubicBezTo>
                    <a:cubicBezTo>
                      <a:pt x="5" y="1"/>
                      <a:pt x="4" y="0"/>
                      <a:pt x="2" y="0"/>
                    </a:cubicBezTo>
                    <a:cubicBezTo>
                      <a:pt x="1" y="0"/>
                      <a:pt x="0" y="1"/>
                      <a:pt x="0" y="3"/>
                    </a:cubicBezTo>
                    <a:cubicBezTo>
                      <a:pt x="0" y="4"/>
                      <a:pt x="0"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4" name="Freeform 2111">
                <a:extLst>
                  <a:ext uri="{FF2B5EF4-FFF2-40B4-BE49-F238E27FC236}">
                    <a16:creationId xmlns:a16="http://schemas.microsoft.com/office/drawing/2014/main" id="{4F76E605-2171-4CFB-BFFC-7B4A9D83CBC1}"/>
                  </a:ext>
                </a:extLst>
              </p:cNvPr>
              <p:cNvSpPr>
                <a:spLocks/>
              </p:cNvSpPr>
              <p:nvPr/>
            </p:nvSpPr>
            <p:spPr bwMode="auto">
              <a:xfrm>
                <a:off x="3994" y="168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5" name="Freeform 2112">
                <a:extLst>
                  <a:ext uri="{FF2B5EF4-FFF2-40B4-BE49-F238E27FC236}">
                    <a16:creationId xmlns:a16="http://schemas.microsoft.com/office/drawing/2014/main" id="{453A12B4-FBDB-4F8D-9CC9-6704367A2F3E}"/>
                  </a:ext>
                </a:extLst>
              </p:cNvPr>
              <p:cNvSpPr>
                <a:spLocks/>
              </p:cNvSpPr>
              <p:nvPr/>
            </p:nvSpPr>
            <p:spPr bwMode="auto">
              <a:xfrm>
                <a:off x="3975" y="1671"/>
                <a:ext cx="2" cy="3"/>
              </a:xfrm>
              <a:custGeom>
                <a:avLst/>
                <a:gdLst>
                  <a:gd name="T0" fmla="*/ 0 w 1"/>
                  <a:gd name="T1" fmla="*/ 1 h 1"/>
                  <a:gd name="T2" fmla="*/ 1 w 1"/>
                  <a:gd name="T3" fmla="*/ 1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1"/>
                    </a:cubicBezTo>
                    <a:cubicBezTo>
                      <a:pt x="1"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6" name="Freeform 2113">
                <a:extLst>
                  <a:ext uri="{FF2B5EF4-FFF2-40B4-BE49-F238E27FC236}">
                    <a16:creationId xmlns:a16="http://schemas.microsoft.com/office/drawing/2014/main" id="{CFF63ED6-B2B4-49B6-83E2-944962814923}"/>
                  </a:ext>
                </a:extLst>
              </p:cNvPr>
              <p:cNvSpPr>
                <a:spLocks/>
              </p:cNvSpPr>
              <p:nvPr/>
            </p:nvSpPr>
            <p:spPr bwMode="auto">
              <a:xfrm>
                <a:off x="4972" y="1581"/>
                <a:ext cx="0" cy="3"/>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7" name="Freeform 2114">
                <a:extLst>
                  <a:ext uri="{FF2B5EF4-FFF2-40B4-BE49-F238E27FC236}">
                    <a16:creationId xmlns:a16="http://schemas.microsoft.com/office/drawing/2014/main" id="{AEB74552-2D4F-4F8E-94E4-AC6A5CB9D04B}"/>
                  </a:ext>
                </a:extLst>
              </p:cNvPr>
              <p:cNvSpPr>
                <a:spLocks/>
              </p:cNvSpPr>
              <p:nvPr/>
            </p:nvSpPr>
            <p:spPr bwMode="auto">
              <a:xfrm>
                <a:off x="4731" y="155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8" name="Freeform 2115">
                <a:extLst>
                  <a:ext uri="{FF2B5EF4-FFF2-40B4-BE49-F238E27FC236}">
                    <a16:creationId xmlns:a16="http://schemas.microsoft.com/office/drawing/2014/main" id="{BB4B0B38-516B-4BB2-B687-DFC86636BEB7}"/>
                  </a:ext>
                </a:extLst>
              </p:cNvPr>
              <p:cNvSpPr>
                <a:spLocks/>
              </p:cNvSpPr>
              <p:nvPr/>
            </p:nvSpPr>
            <p:spPr bwMode="auto">
              <a:xfrm>
                <a:off x="4781" y="2523"/>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9" name="Rectangle 2116">
                <a:extLst>
                  <a:ext uri="{FF2B5EF4-FFF2-40B4-BE49-F238E27FC236}">
                    <a16:creationId xmlns:a16="http://schemas.microsoft.com/office/drawing/2014/main" id="{DFA37E40-CACD-4B75-A707-A38AA2ADC98F}"/>
                  </a:ext>
                </a:extLst>
              </p:cNvPr>
              <p:cNvSpPr>
                <a:spLocks noChangeArrowheads="1"/>
              </p:cNvSpPr>
              <p:nvPr/>
            </p:nvSpPr>
            <p:spPr bwMode="auto">
              <a:xfrm>
                <a:off x="4783" y="252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0" name="Rectangle 2117">
                <a:extLst>
                  <a:ext uri="{FF2B5EF4-FFF2-40B4-BE49-F238E27FC236}">
                    <a16:creationId xmlns:a16="http://schemas.microsoft.com/office/drawing/2014/main" id="{D1119D9B-110B-4EFB-8C3B-2CFBC5C6B9AD}"/>
                  </a:ext>
                </a:extLst>
              </p:cNvPr>
              <p:cNvSpPr>
                <a:spLocks noChangeArrowheads="1"/>
              </p:cNvSpPr>
              <p:nvPr/>
            </p:nvSpPr>
            <p:spPr bwMode="auto">
              <a:xfrm>
                <a:off x="7897" y="317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1" name="Freeform 2118">
                <a:extLst>
                  <a:ext uri="{FF2B5EF4-FFF2-40B4-BE49-F238E27FC236}">
                    <a16:creationId xmlns:a16="http://schemas.microsoft.com/office/drawing/2014/main" id="{6D73FEBB-EC8C-40AD-8A08-144E0A6DC3EB}"/>
                  </a:ext>
                </a:extLst>
              </p:cNvPr>
              <p:cNvSpPr>
                <a:spLocks/>
              </p:cNvSpPr>
              <p:nvPr/>
            </p:nvSpPr>
            <p:spPr bwMode="auto">
              <a:xfrm>
                <a:off x="5918" y="2511"/>
                <a:ext cx="5" cy="5"/>
              </a:xfrm>
              <a:custGeom>
                <a:avLst/>
                <a:gdLst>
                  <a:gd name="T0" fmla="*/ 0 w 2"/>
                  <a:gd name="T1" fmla="*/ 0 h 2"/>
                  <a:gd name="T2" fmla="*/ 0 w 2"/>
                  <a:gd name="T3" fmla="*/ 0 h 2"/>
                  <a:gd name="T4" fmla="*/ 2 w 2"/>
                  <a:gd name="T5" fmla="*/ 2 h 2"/>
                  <a:gd name="T6" fmla="*/ 1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0"/>
                      <a:pt x="0" y="0"/>
                      <a:pt x="0" y="0"/>
                    </a:cubicBezTo>
                    <a:cubicBezTo>
                      <a:pt x="0" y="1"/>
                      <a:pt x="2" y="2"/>
                      <a:pt x="2" y="2"/>
                    </a:cubicBezTo>
                    <a:cubicBezTo>
                      <a:pt x="2" y="2"/>
                      <a:pt x="1" y="0"/>
                      <a:pt x="1" y="0"/>
                    </a:cubicBezTo>
                    <a:cubicBezTo>
                      <a:pt x="1"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2" name="Freeform 2119">
                <a:extLst>
                  <a:ext uri="{FF2B5EF4-FFF2-40B4-BE49-F238E27FC236}">
                    <a16:creationId xmlns:a16="http://schemas.microsoft.com/office/drawing/2014/main" id="{12988B71-2F35-497D-B675-EA61135A112F}"/>
                  </a:ext>
                </a:extLst>
              </p:cNvPr>
              <p:cNvSpPr>
                <a:spLocks/>
              </p:cNvSpPr>
              <p:nvPr/>
            </p:nvSpPr>
            <p:spPr bwMode="auto">
              <a:xfrm>
                <a:off x="7022" y="3039"/>
                <a:ext cx="0" cy="2"/>
              </a:xfrm>
              <a:custGeom>
                <a:avLst/>
                <a:gdLst>
                  <a:gd name="T0" fmla="*/ 0 h 1"/>
                  <a:gd name="T1" fmla="*/ 0 h 1"/>
                </a:gdLst>
                <a:ahLst/>
                <a:cxnLst>
                  <a:cxn ang="0">
                    <a:pos x="0" y="T0"/>
                  </a:cxn>
                  <a:cxn ang="0">
                    <a:pos x="0" y="T1"/>
                  </a:cxn>
                </a:cxnLst>
                <a:rect l="0" t="0" r="r" b="b"/>
                <a:pathLst>
                  <a:path h="1">
                    <a:moveTo>
                      <a:pt x="0" y="0"/>
                    </a:moveTo>
                    <a:cubicBezTo>
                      <a:pt x="0" y="0"/>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3" name="Rectangle 2120">
                <a:extLst>
                  <a:ext uri="{FF2B5EF4-FFF2-40B4-BE49-F238E27FC236}">
                    <a16:creationId xmlns:a16="http://schemas.microsoft.com/office/drawing/2014/main" id="{1E7EFF79-EBF0-459E-B84E-9BD741D0905E}"/>
                  </a:ext>
                </a:extLst>
              </p:cNvPr>
              <p:cNvSpPr>
                <a:spLocks noChangeArrowheads="1"/>
              </p:cNvSpPr>
              <p:nvPr/>
            </p:nvSpPr>
            <p:spPr bwMode="auto">
              <a:xfrm>
                <a:off x="7020" y="302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4" name="Freeform 2121">
                <a:extLst>
                  <a:ext uri="{FF2B5EF4-FFF2-40B4-BE49-F238E27FC236}">
                    <a16:creationId xmlns:a16="http://schemas.microsoft.com/office/drawing/2014/main" id="{749A5598-F799-4F1E-B427-091A93573A5F}"/>
                  </a:ext>
                </a:extLst>
              </p:cNvPr>
              <p:cNvSpPr>
                <a:spLocks/>
              </p:cNvSpPr>
              <p:nvPr/>
            </p:nvSpPr>
            <p:spPr bwMode="auto">
              <a:xfrm>
                <a:off x="7003" y="3034"/>
                <a:ext cx="0" cy="3"/>
              </a:xfrm>
              <a:custGeom>
                <a:avLst/>
                <a:gdLst>
                  <a:gd name="T0" fmla="*/ 1 h 1"/>
                  <a:gd name="T1" fmla="*/ 1 h 1"/>
                </a:gdLst>
                <a:ahLst/>
                <a:cxnLst>
                  <a:cxn ang="0">
                    <a:pos x="0" y="T0"/>
                  </a:cxn>
                  <a:cxn ang="0">
                    <a:pos x="0" y="T1"/>
                  </a:cxn>
                </a:cxnLst>
                <a:rect l="0" t="0" r="r" b="b"/>
                <a:pathLst>
                  <a:path h="1">
                    <a:moveTo>
                      <a:pt x="0" y="1"/>
                    </a:move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5" name="Freeform 2122">
                <a:extLst>
                  <a:ext uri="{FF2B5EF4-FFF2-40B4-BE49-F238E27FC236}">
                    <a16:creationId xmlns:a16="http://schemas.microsoft.com/office/drawing/2014/main" id="{C0A78990-565E-4463-9032-62C58751A879}"/>
                  </a:ext>
                </a:extLst>
              </p:cNvPr>
              <p:cNvSpPr>
                <a:spLocks/>
              </p:cNvSpPr>
              <p:nvPr/>
            </p:nvSpPr>
            <p:spPr bwMode="auto">
              <a:xfrm>
                <a:off x="5275" y="2473"/>
                <a:ext cx="7" cy="8"/>
              </a:xfrm>
              <a:custGeom>
                <a:avLst/>
                <a:gdLst>
                  <a:gd name="T0" fmla="*/ 0 w 3"/>
                  <a:gd name="T1" fmla="*/ 3 h 3"/>
                  <a:gd name="T2" fmla="*/ 3 w 3"/>
                  <a:gd name="T3" fmla="*/ 0 h 3"/>
                  <a:gd name="T4" fmla="*/ 0 w 3"/>
                  <a:gd name="T5" fmla="*/ 0 h 3"/>
                  <a:gd name="T6" fmla="*/ 0 w 3"/>
                  <a:gd name="T7" fmla="*/ 3 h 3"/>
                </a:gdLst>
                <a:ahLst/>
                <a:cxnLst>
                  <a:cxn ang="0">
                    <a:pos x="T0" y="T1"/>
                  </a:cxn>
                  <a:cxn ang="0">
                    <a:pos x="T2" y="T3"/>
                  </a:cxn>
                  <a:cxn ang="0">
                    <a:pos x="T4" y="T5"/>
                  </a:cxn>
                  <a:cxn ang="0">
                    <a:pos x="T6" y="T7"/>
                  </a:cxn>
                </a:cxnLst>
                <a:rect l="0" t="0" r="r" b="b"/>
                <a:pathLst>
                  <a:path w="3" h="3">
                    <a:moveTo>
                      <a:pt x="0" y="3"/>
                    </a:moveTo>
                    <a:cubicBezTo>
                      <a:pt x="3" y="0"/>
                      <a:pt x="3" y="0"/>
                      <a:pt x="3" y="0"/>
                    </a:cubicBezTo>
                    <a:cubicBezTo>
                      <a:pt x="2" y="0"/>
                      <a:pt x="1" y="0"/>
                      <a:pt x="0" y="0"/>
                    </a:cubicBezTo>
                    <a:cubicBezTo>
                      <a:pt x="0"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6" name="Freeform 2123">
                <a:extLst>
                  <a:ext uri="{FF2B5EF4-FFF2-40B4-BE49-F238E27FC236}">
                    <a16:creationId xmlns:a16="http://schemas.microsoft.com/office/drawing/2014/main" id="{74B8C829-EA0E-4E11-97C8-F5CD8C5A72A5}"/>
                  </a:ext>
                </a:extLst>
              </p:cNvPr>
              <p:cNvSpPr>
                <a:spLocks/>
              </p:cNvSpPr>
              <p:nvPr/>
            </p:nvSpPr>
            <p:spPr bwMode="auto">
              <a:xfrm>
                <a:off x="5793" y="2284"/>
                <a:ext cx="2" cy="7"/>
              </a:xfrm>
              <a:custGeom>
                <a:avLst/>
                <a:gdLst>
                  <a:gd name="T0" fmla="*/ 1 w 1"/>
                  <a:gd name="T1" fmla="*/ 2 h 3"/>
                  <a:gd name="T2" fmla="*/ 0 w 1"/>
                  <a:gd name="T3" fmla="*/ 0 h 3"/>
                  <a:gd name="T4" fmla="*/ 1 w 1"/>
                  <a:gd name="T5" fmla="*/ 2 h 3"/>
                  <a:gd name="T6" fmla="*/ 1 w 1"/>
                  <a:gd name="T7" fmla="*/ 3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1" y="1"/>
                      <a:pt x="0" y="1"/>
                      <a:pt x="0" y="0"/>
                    </a:cubicBezTo>
                    <a:cubicBezTo>
                      <a:pt x="0" y="1"/>
                      <a:pt x="0" y="2"/>
                      <a:pt x="1" y="2"/>
                    </a:cubicBezTo>
                    <a:cubicBezTo>
                      <a:pt x="1" y="2"/>
                      <a:pt x="1" y="3"/>
                      <a:pt x="1" y="3"/>
                    </a:cubicBezTo>
                    <a:cubicBezTo>
                      <a:pt x="1" y="3"/>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7" name="Freeform 2124">
                <a:extLst>
                  <a:ext uri="{FF2B5EF4-FFF2-40B4-BE49-F238E27FC236}">
                    <a16:creationId xmlns:a16="http://schemas.microsoft.com/office/drawing/2014/main" id="{FEA2D830-2137-44EF-9B03-EE17488B0816}"/>
                  </a:ext>
                </a:extLst>
              </p:cNvPr>
              <p:cNvSpPr>
                <a:spLocks/>
              </p:cNvSpPr>
              <p:nvPr/>
            </p:nvSpPr>
            <p:spPr bwMode="auto">
              <a:xfrm>
                <a:off x="5471" y="252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8" name="Freeform 2125">
                <a:extLst>
                  <a:ext uri="{FF2B5EF4-FFF2-40B4-BE49-F238E27FC236}">
                    <a16:creationId xmlns:a16="http://schemas.microsoft.com/office/drawing/2014/main" id="{36FB1EC6-32B1-49DC-A9E1-042F4186C2B7}"/>
                  </a:ext>
                </a:extLst>
              </p:cNvPr>
              <p:cNvSpPr>
                <a:spLocks/>
              </p:cNvSpPr>
              <p:nvPr/>
            </p:nvSpPr>
            <p:spPr bwMode="auto">
              <a:xfrm>
                <a:off x="7178" y="2566"/>
                <a:ext cx="3" cy="0"/>
              </a:xfrm>
              <a:custGeom>
                <a:avLst/>
                <a:gdLst>
                  <a:gd name="T0" fmla="*/ 0 w 1"/>
                  <a:gd name="T1" fmla="*/ 0 w 1"/>
                </a:gdLst>
                <a:ahLst/>
                <a:cxnLst>
                  <a:cxn ang="0">
                    <a:pos x="T0" y="0"/>
                  </a:cxn>
                  <a:cxn ang="0">
                    <a:pos x="T1" y="0"/>
                  </a:cxn>
                </a:cxnLst>
                <a:rect l="0" t="0" r="r" b="b"/>
                <a:pathLst>
                  <a:path w="1">
                    <a:moveTo>
                      <a:pt x="0" y="0"/>
                    </a:moveTo>
                    <a:cubicBezTo>
                      <a:pt x="0"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9" name="Freeform 2126">
                <a:extLst>
                  <a:ext uri="{FF2B5EF4-FFF2-40B4-BE49-F238E27FC236}">
                    <a16:creationId xmlns:a16="http://schemas.microsoft.com/office/drawing/2014/main" id="{2D0C0206-2BC2-4061-B931-485887E083AF}"/>
                  </a:ext>
                </a:extLst>
              </p:cNvPr>
              <p:cNvSpPr>
                <a:spLocks/>
              </p:cNvSpPr>
              <p:nvPr/>
            </p:nvSpPr>
            <p:spPr bwMode="auto">
              <a:xfrm>
                <a:off x="7209" y="2596"/>
                <a:ext cx="0" cy="3"/>
              </a:xfrm>
              <a:custGeom>
                <a:avLst/>
                <a:gdLst>
                  <a:gd name="T0" fmla="*/ 0 h 1"/>
                  <a:gd name="T1" fmla="*/ 0 h 1"/>
                </a:gdLst>
                <a:ahLst/>
                <a:cxnLst>
                  <a:cxn ang="0">
                    <a:pos x="0" y="T0"/>
                  </a:cxn>
                  <a:cxn ang="0">
                    <a:pos x="0" y="T1"/>
                  </a:cxn>
                </a:cxnLst>
                <a:rect l="0" t="0" r="r" b="b"/>
                <a:pathLst>
                  <a:path h="1">
                    <a:moveTo>
                      <a:pt x="0" y="0"/>
                    </a:moveTo>
                    <a:cubicBezTo>
                      <a:pt x="0" y="0"/>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0" name="Rectangle 2127">
                <a:extLst>
                  <a:ext uri="{FF2B5EF4-FFF2-40B4-BE49-F238E27FC236}">
                    <a16:creationId xmlns:a16="http://schemas.microsoft.com/office/drawing/2014/main" id="{F3709949-16FB-49D1-87D0-B6BA2ABD1A7A}"/>
                  </a:ext>
                </a:extLst>
              </p:cNvPr>
              <p:cNvSpPr>
                <a:spLocks noChangeArrowheads="1"/>
              </p:cNvSpPr>
              <p:nvPr/>
            </p:nvSpPr>
            <p:spPr bwMode="auto">
              <a:xfrm>
                <a:off x="7211" y="259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1" name="Rectangle 2128">
                <a:extLst>
                  <a:ext uri="{FF2B5EF4-FFF2-40B4-BE49-F238E27FC236}">
                    <a16:creationId xmlns:a16="http://schemas.microsoft.com/office/drawing/2014/main" id="{69974A8C-211E-4853-B6C4-CFDB5F87BC42}"/>
                  </a:ext>
                </a:extLst>
              </p:cNvPr>
              <p:cNvSpPr>
                <a:spLocks noChangeArrowheads="1"/>
              </p:cNvSpPr>
              <p:nvPr/>
            </p:nvSpPr>
            <p:spPr bwMode="auto">
              <a:xfrm>
                <a:off x="7216" y="260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2" name="Freeform 2129">
                <a:extLst>
                  <a:ext uri="{FF2B5EF4-FFF2-40B4-BE49-F238E27FC236}">
                    <a16:creationId xmlns:a16="http://schemas.microsoft.com/office/drawing/2014/main" id="{E3A5A92D-AC26-4716-9E23-94C5E8055F7D}"/>
                  </a:ext>
                </a:extLst>
              </p:cNvPr>
              <p:cNvSpPr>
                <a:spLocks/>
              </p:cNvSpPr>
              <p:nvPr/>
            </p:nvSpPr>
            <p:spPr bwMode="auto">
              <a:xfrm>
                <a:off x="7987" y="3919"/>
                <a:ext cx="2" cy="5"/>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1"/>
                      <a:pt x="0" y="2"/>
                      <a:pt x="0" y="2"/>
                    </a:cubicBezTo>
                    <a:cubicBezTo>
                      <a:pt x="1" y="2"/>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3" name="Freeform 2130">
                <a:extLst>
                  <a:ext uri="{FF2B5EF4-FFF2-40B4-BE49-F238E27FC236}">
                    <a16:creationId xmlns:a16="http://schemas.microsoft.com/office/drawing/2014/main" id="{72B46AA7-CE73-4899-A686-C3ED554EFE48}"/>
                  </a:ext>
                </a:extLst>
              </p:cNvPr>
              <p:cNvSpPr>
                <a:spLocks/>
              </p:cNvSpPr>
              <p:nvPr/>
            </p:nvSpPr>
            <p:spPr bwMode="auto">
              <a:xfrm>
                <a:off x="7970" y="3905"/>
                <a:ext cx="17" cy="14"/>
              </a:xfrm>
              <a:custGeom>
                <a:avLst/>
                <a:gdLst>
                  <a:gd name="T0" fmla="*/ 5 w 7"/>
                  <a:gd name="T1" fmla="*/ 1 h 6"/>
                  <a:gd name="T2" fmla="*/ 7 w 7"/>
                  <a:gd name="T3" fmla="*/ 1 h 6"/>
                  <a:gd name="T4" fmla="*/ 5 w 7"/>
                  <a:gd name="T5" fmla="*/ 1 h 6"/>
                  <a:gd name="T6" fmla="*/ 3 w 7"/>
                  <a:gd name="T7" fmla="*/ 0 h 6"/>
                  <a:gd name="T8" fmla="*/ 2 w 7"/>
                  <a:gd name="T9" fmla="*/ 1 h 6"/>
                  <a:gd name="T10" fmla="*/ 0 w 7"/>
                  <a:gd name="T11" fmla="*/ 2 h 6"/>
                  <a:gd name="T12" fmla="*/ 2 w 7"/>
                  <a:gd name="T13" fmla="*/ 2 h 6"/>
                  <a:gd name="T14" fmla="*/ 3 w 7"/>
                  <a:gd name="T15" fmla="*/ 2 h 6"/>
                  <a:gd name="T16" fmla="*/ 3 w 7"/>
                  <a:gd name="T17" fmla="*/ 2 h 6"/>
                  <a:gd name="T18" fmla="*/ 3 w 7"/>
                  <a:gd name="T19" fmla="*/ 4 h 6"/>
                  <a:gd name="T20" fmla="*/ 4 w 7"/>
                  <a:gd name="T21" fmla="*/ 5 h 6"/>
                  <a:gd name="T22" fmla="*/ 6 w 7"/>
                  <a:gd name="T23" fmla="*/ 5 h 6"/>
                  <a:gd name="T24" fmla="*/ 5 w 7"/>
                  <a:gd name="T25" fmla="*/ 4 h 6"/>
                  <a:gd name="T26" fmla="*/ 5 w 7"/>
                  <a:gd name="T27" fmla="*/ 2 h 6"/>
                  <a:gd name="T28" fmla="*/ 5 w 7"/>
                  <a:gd name="T29" fmla="*/ 2 h 6"/>
                  <a:gd name="T30" fmla="*/ 4 w 7"/>
                  <a:gd name="T31" fmla="*/ 1 h 6"/>
                  <a:gd name="T32" fmla="*/ 4 w 7"/>
                  <a:gd name="T33" fmla="*/ 1 h 6"/>
                  <a:gd name="T34" fmla="*/ 5 w 7"/>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6">
                    <a:moveTo>
                      <a:pt x="5" y="1"/>
                    </a:moveTo>
                    <a:cubicBezTo>
                      <a:pt x="6" y="1"/>
                      <a:pt x="7" y="2"/>
                      <a:pt x="7" y="1"/>
                    </a:cubicBezTo>
                    <a:cubicBezTo>
                      <a:pt x="6" y="1"/>
                      <a:pt x="5" y="1"/>
                      <a:pt x="5" y="1"/>
                    </a:cubicBezTo>
                    <a:cubicBezTo>
                      <a:pt x="4" y="1"/>
                      <a:pt x="4" y="0"/>
                      <a:pt x="3" y="0"/>
                    </a:cubicBezTo>
                    <a:cubicBezTo>
                      <a:pt x="3" y="0"/>
                      <a:pt x="3" y="1"/>
                      <a:pt x="2" y="1"/>
                    </a:cubicBezTo>
                    <a:cubicBezTo>
                      <a:pt x="1" y="1"/>
                      <a:pt x="1" y="1"/>
                      <a:pt x="0" y="2"/>
                    </a:cubicBezTo>
                    <a:cubicBezTo>
                      <a:pt x="1" y="2"/>
                      <a:pt x="1" y="2"/>
                      <a:pt x="2" y="2"/>
                    </a:cubicBezTo>
                    <a:cubicBezTo>
                      <a:pt x="2" y="2"/>
                      <a:pt x="2" y="1"/>
                      <a:pt x="3" y="2"/>
                    </a:cubicBezTo>
                    <a:cubicBezTo>
                      <a:pt x="3" y="2"/>
                      <a:pt x="3" y="2"/>
                      <a:pt x="3" y="2"/>
                    </a:cubicBezTo>
                    <a:cubicBezTo>
                      <a:pt x="3" y="2"/>
                      <a:pt x="3" y="3"/>
                      <a:pt x="3" y="4"/>
                    </a:cubicBezTo>
                    <a:cubicBezTo>
                      <a:pt x="3" y="6"/>
                      <a:pt x="3" y="6"/>
                      <a:pt x="4" y="5"/>
                    </a:cubicBezTo>
                    <a:cubicBezTo>
                      <a:pt x="4" y="5"/>
                      <a:pt x="5" y="5"/>
                      <a:pt x="6" y="5"/>
                    </a:cubicBezTo>
                    <a:cubicBezTo>
                      <a:pt x="6" y="5"/>
                      <a:pt x="6" y="4"/>
                      <a:pt x="5" y="4"/>
                    </a:cubicBezTo>
                    <a:cubicBezTo>
                      <a:pt x="4" y="3"/>
                      <a:pt x="3" y="2"/>
                      <a:pt x="5" y="2"/>
                    </a:cubicBezTo>
                    <a:cubicBezTo>
                      <a:pt x="5" y="2"/>
                      <a:pt x="5" y="2"/>
                      <a:pt x="5" y="2"/>
                    </a:cubicBezTo>
                    <a:cubicBezTo>
                      <a:pt x="4" y="2"/>
                      <a:pt x="4" y="2"/>
                      <a:pt x="4" y="1"/>
                    </a:cubicBezTo>
                    <a:cubicBezTo>
                      <a:pt x="4" y="1"/>
                      <a:pt x="4" y="1"/>
                      <a:pt x="4" y="1"/>
                    </a:cubicBezTo>
                    <a:cubicBezTo>
                      <a:pt x="4" y="1"/>
                      <a:pt x="5"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4" name="Freeform 2131">
                <a:extLst>
                  <a:ext uri="{FF2B5EF4-FFF2-40B4-BE49-F238E27FC236}">
                    <a16:creationId xmlns:a16="http://schemas.microsoft.com/office/drawing/2014/main" id="{74123926-7FBC-4B55-AF0A-3CD3A992CD97}"/>
                  </a:ext>
                </a:extLst>
              </p:cNvPr>
              <p:cNvSpPr>
                <a:spLocks/>
              </p:cNvSpPr>
              <p:nvPr/>
            </p:nvSpPr>
            <p:spPr bwMode="auto">
              <a:xfrm>
                <a:off x="7918" y="3195"/>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1"/>
                      <a:pt x="0" y="0"/>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5" name="Freeform 2132">
                <a:extLst>
                  <a:ext uri="{FF2B5EF4-FFF2-40B4-BE49-F238E27FC236}">
                    <a16:creationId xmlns:a16="http://schemas.microsoft.com/office/drawing/2014/main" id="{A8E17DF3-DBE8-460F-AC43-41DC447C385F}"/>
                  </a:ext>
                </a:extLst>
              </p:cNvPr>
              <p:cNvSpPr>
                <a:spLocks/>
              </p:cNvSpPr>
              <p:nvPr/>
            </p:nvSpPr>
            <p:spPr bwMode="auto">
              <a:xfrm>
                <a:off x="7892" y="3186"/>
                <a:ext cx="7" cy="4"/>
              </a:xfrm>
              <a:custGeom>
                <a:avLst/>
                <a:gdLst>
                  <a:gd name="T0" fmla="*/ 2 w 3"/>
                  <a:gd name="T1" fmla="*/ 0 h 2"/>
                  <a:gd name="T2" fmla="*/ 1 w 3"/>
                  <a:gd name="T3" fmla="*/ 1 h 2"/>
                  <a:gd name="T4" fmla="*/ 1 w 3"/>
                  <a:gd name="T5" fmla="*/ 0 h 2"/>
                  <a:gd name="T6" fmla="*/ 0 w 3"/>
                  <a:gd name="T7" fmla="*/ 2 h 2"/>
                  <a:gd name="T8" fmla="*/ 1 w 3"/>
                  <a:gd name="T9" fmla="*/ 2 h 2"/>
                  <a:gd name="T10" fmla="*/ 1 w 3"/>
                  <a:gd name="T11" fmla="*/ 2 h 2"/>
                  <a:gd name="T12" fmla="*/ 3 w 3"/>
                  <a:gd name="T13" fmla="*/ 0 h 2"/>
                  <a:gd name="T14" fmla="*/ 2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0"/>
                    </a:moveTo>
                    <a:cubicBezTo>
                      <a:pt x="2" y="0"/>
                      <a:pt x="1" y="1"/>
                      <a:pt x="1" y="1"/>
                    </a:cubicBezTo>
                    <a:cubicBezTo>
                      <a:pt x="1" y="1"/>
                      <a:pt x="1" y="1"/>
                      <a:pt x="1" y="0"/>
                    </a:cubicBezTo>
                    <a:cubicBezTo>
                      <a:pt x="1" y="1"/>
                      <a:pt x="1" y="2"/>
                      <a:pt x="0" y="2"/>
                    </a:cubicBezTo>
                    <a:cubicBezTo>
                      <a:pt x="1" y="2"/>
                      <a:pt x="1" y="2"/>
                      <a:pt x="1" y="2"/>
                    </a:cubicBezTo>
                    <a:cubicBezTo>
                      <a:pt x="1" y="2"/>
                      <a:pt x="1" y="2"/>
                      <a:pt x="1" y="2"/>
                    </a:cubicBezTo>
                    <a:cubicBezTo>
                      <a:pt x="2" y="2"/>
                      <a:pt x="3" y="1"/>
                      <a:pt x="3" y="0"/>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6" name="Freeform 2133">
                <a:extLst>
                  <a:ext uri="{FF2B5EF4-FFF2-40B4-BE49-F238E27FC236}">
                    <a16:creationId xmlns:a16="http://schemas.microsoft.com/office/drawing/2014/main" id="{CCE8BAEE-E7BD-4094-9240-166D86BC363C}"/>
                  </a:ext>
                </a:extLst>
              </p:cNvPr>
              <p:cNvSpPr>
                <a:spLocks/>
              </p:cNvSpPr>
              <p:nvPr/>
            </p:nvSpPr>
            <p:spPr bwMode="auto">
              <a:xfrm>
                <a:off x="7554" y="3037"/>
                <a:ext cx="7" cy="2"/>
              </a:xfrm>
              <a:custGeom>
                <a:avLst/>
                <a:gdLst>
                  <a:gd name="T0" fmla="*/ 0 w 3"/>
                  <a:gd name="T1" fmla="*/ 1 h 1"/>
                  <a:gd name="T2" fmla="*/ 1 w 3"/>
                  <a:gd name="T3" fmla="*/ 1 h 1"/>
                  <a:gd name="T4" fmla="*/ 1 w 3"/>
                  <a:gd name="T5" fmla="*/ 1 h 1"/>
                  <a:gd name="T6" fmla="*/ 3 w 3"/>
                  <a:gd name="T7" fmla="*/ 0 h 1"/>
                  <a:gd name="T8" fmla="*/ 3 w 3"/>
                  <a:gd name="T9" fmla="*/ 0 h 1"/>
                  <a:gd name="T10" fmla="*/ 1 w 3"/>
                  <a:gd name="T11" fmla="*/ 0 h 1"/>
                  <a:gd name="T12" fmla="*/ 0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1"/>
                    </a:moveTo>
                    <a:cubicBezTo>
                      <a:pt x="1" y="1"/>
                      <a:pt x="1" y="0"/>
                      <a:pt x="1" y="1"/>
                    </a:cubicBezTo>
                    <a:cubicBezTo>
                      <a:pt x="1" y="1"/>
                      <a:pt x="1" y="1"/>
                      <a:pt x="1" y="1"/>
                    </a:cubicBezTo>
                    <a:cubicBezTo>
                      <a:pt x="2" y="1"/>
                      <a:pt x="2" y="1"/>
                      <a:pt x="3" y="0"/>
                    </a:cubicBezTo>
                    <a:cubicBezTo>
                      <a:pt x="3" y="0"/>
                      <a:pt x="3" y="0"/>
                      <a:pt x="3" y="0"/>
                    </a:cubicBezTo>
                    <a:cubicBezTo>
                      <a:pt x="2" y="0"/>
                      <a:pt x="1" y="0"/>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7" name="Freeform 2134">
                <a:extLst>
                  <a:ext uri="{FF2B5EF4-FFF2-40B4-BE49-F238E27FC236}">
                    <a16:creationId xmlns:a16="http://schemas.microsoft.com/office/drawing/2014/main" id="{546CBB63-C741-4CBF-A6E9-E7F6F958361F}"/>
                  </a:ext>
                </a:extLst>
              </p:cNvPr>
              <p:cNvSpPr>
                <a:spLocks/>
              </p:cNvSpPr>
              <p:nvPr/>
            </p:nvSpPr>
            <p:spPr bwMode="auto">
              <a:xfrm>
                <a:off x="7578" y="3058"/>
                <a:ext cx="5" cy="5"/>
              </a:xfrm>
              <a:custGeom>
                <a:avLst/>
                <a:gdLst>
                  <a:gd name="T0" fmla="*/ 2 w 2"/>
                  <a:gd name="T1" fmla="*/ 1 h 2"/>
                  <a:gd name="T2" fmla="*/ 0 w 2"/>
                  <a:gd name="T3" fmla="*/ 0 h 2"/>
                  <a:gd name="T4" fmla="*/ 0 w 2"/>
                  <a:gd name="T5" fmla="*/ 0 h 2"/>
                  <a:gd name="T6" fmla="*/ 0 w 2"/>
                  <a:gd name="T7" fmla="*/ 0 h 2"/>
                  <a:gd name="T8" fmla="*/ 0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1"/>
                      <a:pt x="1" y="0"/>
                      <a:pt x="0" y="0"/>
                    </a:cubicBezTo>
                    <a:cubicBezTo>
                      <a:pt x="0" y="0"/>
                      <a:pt x="0" y="0"/>
                      <a:pt x="0" y="0"/>
                    </a:cubicBezTo>
                    <a:cubicBezTo>
                      <a:pt x="0" y="0"/>
                      <a:pt x="0" y="0"/>
                      <a:pt x="0" y="0"/>
                    </a:cubicBezTo>
                    <a:cubicBezTo>
                      <a:pt x="0" y="1"/>
                      <a:pt x="0" y="1"/>
                      <a:pt x="0" y="2"/>
                    </a:cubicBezTo>
                    <a:cubicBezTo>
                      <a:pt x="1" y="2"/>
                      <a:pt x="1"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8" name="Freeform 2135">
                <a:extLst>
                  <a:ext uri="{FF2B5EF4-FFF2-40B4-BE49-F238E27FC236}">
                    <a16:creationId xmlns:a16="http://schemas.microsoft.com/office/drawing/2014/main" id="{6D04445B-26E2-41BD-BB2B-608E7CD5A521}"/>
                  </a:ext>
                </a:extLst>
              </p:cNvPr>
              <p:cNvSpPr>
                <a:spLocks/>
              </p:cNvSpPr>
              <p:nvPr/>
            </p:nvSpPr>
            <p:spPr bwMode="auto">
              <a:xfrm>
                <a:off x="8143" y="1238"/>
                <a:ext cx="7" cy="3"/>
              </a:xfrm>
              <a:custGeom>
                <a:avLst/>
                <a:gdLst>
                  <a:gd name="T0" fmla="*/ 2 w 3"/>
                  <a:gd name="T1" fmla="*/ 1 h 1"/>
                  <a:gd name="T2" fmla="*/ 3 w 3"/>
                  <a:gd name="T3" fmla="*/ 1 h 1"/>
                  <a:gd name="T4" fmla="*/ 0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2" y="1"/>
                      <a:pt x="3" y="1"/>
                    </a:cubicBezTo>
                    <a:cubicBezTo>
                      <a:pt x="2" y="0"/>
                      <a:pt x="1" y="0"/>
                      <a:pt x="0" y="0"/>
                    </a:cubicBezTo>
                    <a:cubicBezTo>
                      <a:pt x="0"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9" name="Freeform 2136">
                <a:extLst>
                  <a:ext uri="{FF2B5EF4-FFF2-40B4-BE49-F238E27FC236}">
                    <a16:creationId xmlns:a16="http://schemas.microsoft.com/office/drawing/2014/main" id="{E8C159DE-0584-4228-ACBD-34143C14235E}"/>
                  </a:ext>
                </a:extLst>
              </p:cNvPr>
              <p:cNvSpPr>
                <a:spLocks/>
              </p:cNvSpPr>
              <p:nvPr/>
            </p:nvSpPr>
            <p:spPr bwMode="auto">
              <a:xfrm>
                <a:off x="8093" y="978"/>
                <a:ext cx="76" cy="33"/>
              </a:xfrm>
              <a:custGeom>
                <a:avLst/>
                <a:gdLst>
                  <a:gd name="T0" fmla="*/ 32 w 32"/>
                  <a:gd name="T1" fmla="*/ 8 h 14"/>
                  <a:gd name="T2" fmla="*/ 20 w 32"/>
                  <a:gd name="T3" fmla="*/ 4 h 14"/>
                  <a:gd name="T4" fmla="*/ 14 w 32"/>
                  <a:gd name="T5" fmla="*/ 2 h 14"/>
                  <a:gd name="T6" fmla="*/ 9 w 32"/>
                  <a:gd name="T7" fmla="*/ 4 h 14"/>
                  <a:gd name="T8" fmla="*/ 4 w 32"/>
                  <a:gd name="T9" fmla="*/ 3 h 14"/>
                  <a:gd name="T10" fmla="*/ 1 w 32"/>
                  <a:gd name="T11" fmla="*/ 0 h 14"/>
                  <a:gd name="T12" fmla="*/ 0 w 32"/>
                  <a:gd name="T13" fmla="*/ 3 h 14"/>
                  <a:gd name="T14" fmla="*/ 0 w 32"/>
                  <a:gd name="T15" fmla="*/ 4 h 14"/>
                  <a:gd name="T16" fmla="*/ 0 w 32"/>
                  <a:gd name="T17" fmla="*/ 6 h 14"/>
                  <a:gd name="T18" fmla="*/ 5 w 32"/>
                  <a:gd name="T19" fmla="*/ 7 h 14"/>
                  <a:gd name="T20" fmla="*/ 15 w 32"/>
                  <a:gd name="T21" fmla="*/ 8 h 14"/>
                  <a:gd name="T22" fmla="*/ 8 w 32"/>
                  <a:gd name="T23" fmla="*/ 6 h 14"/>
                  <a:gd name="T24" fmla="*/ 10 w 32"/>
                  <a:gd name="T25" fmla="*/ 6 h 14"/>
                  <a:gd name="T26" fmla="*/ 14 w 32"/>
                  <a:gd name="T27" fmla="*/ 8 h 14"/>
                  <a:gd name="T28" fmla="*/ 16 w 32"/>
                  <a:gd name="T29" fmla="*/ 10 h 14"/>
                  <a:gd name="T30" fmla="*/ 20 w 32"/>
                  <a:gd name="T31" fmla="*/ 11 h 14"/>
                  <a:gd name="T32" fmla="*/ 19 w 32"/>
                  <a:gd name="T33" fmla="*/ 11 h 14"/>
                  <a:gd name="T34" fmla="*/ 21 w 32"/>
                  <a:gd name="T35" fmla="*/ 13 h 14"/>
                  <a:gd name="T36" fmla="*/ 21 w 32"/>
                  <a:gd name="T37" fmla="*/ 13 h 14"/>
                  <a:gd name="T38" fmla="*/ 23 w 32"/>
                  <a:gd name="T39" fmla="*/ 13 h 14"/>
                  <a:gd name="T40" fmla="*/ 27 w 32"/>
                  <a:gd name="T41" fmla="*/ 10 h 14"/>
                  <a:gd name="T42" fmla="*/ 32 w 32"/>
                  <a:gd name="T43"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14">
                    <a:moveTo>
                      <a:pt x="32" y="8"/>
                    </a:moveTo>
                    <a:cubicBezTo>
                      <a:pt x="28" y="7"/>
                      <a:pt x="24" y="5"/>
                      <a:pt x="20" y="4"/>
                    </a:cubicBezTo>
                    <a:cubicBezTo>
                      <a:pt x="18" y="3"/>
                      <a:pt x="16" y="2"/>
                      <a:pt x="14" y="2"/>
                    </a:cubicBezTo>
                    <a:cubicBezTo>
                      <a:pt x="12" y="3"/>
                      <a:pt x="10" y="4"/>
                      <a:pt x="9" y="4"/>
                    </a:cubicBezTo>
                    <a:cubicBezTo>
                      <a:pt x="7" y="4"/>
                      <a:pt x="5" y="3"/>
                      <a:pt x="4" y="3"/>
                    </a:cubicBezTo>
                    <a:cubicBezTo>
                      <a:pt x="3" y="3"/>
                      <a:pt x="1" y="1"/>
                      <a:pt x="1" y="0"/>
                    </a:cubicBezTo>
                    <a:cubicBezTo>
                      <a:pt x="1" y="2"/>
                      <a:pt x="1" y="2"/>
                      <a:pt x="0" y="3"/>
                    </a:cubicBezTo>
                    <a:cubicBezTo>
                      <a:pt x="0" y="3"/>
                      <a:pt x="0" y="3"/>
                      <a:pt x="0" y="4"/>
                    </a:cubicBezTo>
                    <a:cubicBezTo>
                      <a:pt x="0" y="4"/>
                      <a:pt x="0" y="6"/>
                      <a:pt x="0" y="6"/>
                    </a:cubicBezTo>
                    <a:cubicBezTo>
                      <a:pt x="1" y="8"/>
                      <a:pt x="4" y="7"/>
                      <a:pt x="5" y="7"/>
                    </a:cubicBezTo>
                    <a:cubicBezTo>
                      <a:pt x="8" y="6"/>
                      <a:pt x="12" y="7"/>
                      <a:pt x="15" y="8"/>
                    </a:cubicBezTo>
                    <a:cubicBezTo>
                      <a:pt x="13" y="7"/>
                      <a:pt x="10" y="6"/>
                      <a:pt x="8" y="6"/>
                    </a:cubicBezTo>
                    <a:cubicBezTo>
                      <a:pt x="8" y="6"/>
                      <a:pt x="9" y="6"/>
                      <a:pt x="10" y="6"/>
                    </a:cubicBezTo>
                    <a:cubicBezTo>
                      <a:pt x="11" y="6"/>
                      <a:pt x="13" y="7"/>
                      <a:pt x="14" y="8"/>
                    </a:cubicBezTo>
                    <a:cubicBezTo>
                      <a:pt x="15" y="8"/>
                      <a:pt x="18" y="9"/>
                      <a:pt x="16" y="10"/>
                    </a:cubicBezTo>
                    <a:cubicBezTo>
                      <a:pt x="17" y="10"/>
                      <a:pt x="19" y="10"/>
                      <a:pt x="20" y="11"/>
                    </a:cubicBezTo>
                    <a:cubicBezTo>
                      <a:pt x="20" y="11"/>
                      <a:pt x="19" y="11"/>
                      <a:pt x="19" y="11"/>
                    </a:cubicBezTo>
                    <a:cubicBezTo>
                      <a:pt x="20" y="11"/>
                      <a:pt x="21" y="12"/>
                      <a:pt x="21" y="13"/>
                    </a:cubicBezTo>
                    <a:cubicBezTo>
                      <a:pt x="21" y="13"/>
                      <a:pt x="21" y="13"/>
                      <a:pt x="21" y="13"/>
                    </a:cubicBezTo>
                    <a:cubicBezTo>
                      <a:pt x="22" y="14"/>
                      <a:pt x="22" y="14"/>
                      <a:pt x="23" y="13"/>
                    </a:cubicBezTo>
                    <a:cubicBezTo>
                      <a:pt x="24" y="12"/>
                      <a:pt x="25" y="10"/>
                      <a:pt x="27" y="10"/>
                    </a:cubicBezTo>
                    <a:cubicBezTo>
                      <a:pt x="30" y="11"/>
                      <a:pt x="30" y="11"/>
                      <a:pt x="3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0" name="Freeform 2137">
                <a:extLst>
                  <a:ext uri="{FF2B5EF4-FFF2-40B4-BE49-F238E27FC236}">
                    <a16:creationId xmlns:a16="http://schemas.microsoft.com/office/drawing/2014/main" id="{4F30AFDF-04F3-453A-A0B0-EF4C691BD82A}"/>
                  </a:ext>
                </a:extLst>
              </p:cNvPr>
              <p:cNvSpPr>
                <a:spLocks/>
              </p:cNvSpPr>
              <p:nvPr/>
            </p:nvSpPr>
            <p:spPr bwMode="auto">
              <a:xfrm>
                <a:off x="8136" y="1361"/>
                <a:ext cx="12" cy="8"/>
              </a:xfrm>
              <a:custGeom>
                <a:avLst/>
                <a:gdLst>
                  <a:gd name="T0" fmla="*/ 0 w 5"/>
                  <a:gd name="T1" fmla="*/ 2 h 3"/>
                  <a:gd name="T2" fmla="*/ 3 w 5"/>
                  <a:gd name="T3" fmla="*/ 3 h 3"/>
                  <a:gd name="T4" fmla="*/ 0 w 5"/>
                  <a:gd name="T5" fmla="*/ 2 h 3"/>
                </a:gdLst>
                <a:ahLst/>
                <a:cxnLst>
                  <a:cxn ang="0">
                    <a:pos x="T0" y="T1"/>
                  </a:cxn>
                  <a:cxn ang="0">
                    <a:pos x="T2" y="T3"/>
                  </a:cxn>
                  <a:cxn ang="0">
                    <a:pos x="T4" y="T5"/>
                  </a:cxn>
                </a:cxnLst>
                <a:rect l="0" t="0" r="r" b="b"/>
                <a:pathLst>
                  <a:path w="5" h="3">
                    <a:moveTo>
                      <a:pt x="0" y="2"/>
                    </a:moveTo>
                    <a:cubicBezTo>
                      <a:pt x="1" y="2"/>
                      <a:pt x="2" y="2"/>
                      <a:pt x="3" y="3"/>
                    </a:cubicBezTo>
                    <a:cubicBezTo>
                      <a:pt x="5" y="0"/>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1" name="Freeform 2138">
                <a:extLst>
                  <a:ext uri="{FF2B5EF4-FFF2-40B4-BE49-F238E27FC236}">
                    <a16:creationId xmlns:a16="http://schemas.microsoft.com/office/drawing/2014/main" id="{018974D5-2792-42C0-B237-07D19817E087}"/>
                  </a:ext>
                </a:extLst>
              </p:cNvPr>
              <p:cNvSpPr>
                <a:spLocks/>
              </p:cNvSpPr>
              <p:nvPr/>
            </p:nvSpPr>
            <p:spPr bwMode="auto">
              <a:xfrm>
                <a:off x="7989" y="1395"/>
                <a:ext cx="5" cy="2"/>
              </a:xfrm>
              <a:custGeom>
                <a:avLst/>
                <a:gdLst>
                  <a:gd name="T0" fmla="*/ 0 w 2"/>
                  <a:gd name="T1" fmla="*/ 1 h 1"/>
                  <a:gd name="T2" fmla="*/ 2 w 2"/>
                  <a:gd name="T3" fmla="*/ 1 h 1"/>
                  <a:gd name="T4" fmla="*/ 0 w 2"/>
                  <a:gd name="T5" fmla="*/ 1 h 1"/>
                </a:gdLst>
                <a:ahLst/>
                <a:cxnLst>
                  <a:cxn ang="0">
                    <a:pos x="T0" y="T1"/>
                  </a:cxn>
                  <a:cxn ang="0">
                    <a:pos x="T2" y="T3"/>
                  </a:cxn>
                  <a:cxn ang="0">
                    <a:pos x="T4" y="T5"/>
                  </a:cxn>
                </a:cxnLst>
                <a:rect l="0" t="0" r="r" b="b"/>
                <a:pathLst>
                  <a:path w="2" h="1">
                    <a:moveTo>
                      <a:pt x="0" y="1"/>
                    </a:moveTo>
                    <a:cubicBezTo>
                      <a:pt x="1" y="1"/>
                      <a:pt x="1" y="1"/>
                      <a:pt x="2" y="1"/>
                    </a:cubicBezTo>
                    <a:cubicBezTo>
                      <a:pt x="1" y="1"/>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2" name="Freeform 2139">
                <a:extLst>
                  <a:ext uri="{FF2B5EF4-FFF2-40B4-BE49-F238E27FC236}">
                    <a16:creationId xmlns:a16="http://schemas.microsoft.com/office/drawing/2014/main" id="{29EC747C-BD10-4739-B740-7C3DD7695331}"/>
                  </a:ext>
                </a:extLst>
              </p:cNvPr>
              <p:cNvSpPr>
                <a:spLocks/>
              </p:cNvSpPr>
              <p:nvPr/>
            </p:nvSpPr>
            <p:spPr bwMode="auto">
              <a:xfrm>
                <a:off x="8041" y="1387"/>
                <a:ext cx="24" cy="5"/>
              </a:xfrm>
              <a:custGeom>
                <a:avLst/>
                <a:gdLst>
                  <a:gd name="T0" fmla="*/ 1 w 10"/>
                  <a:gd name="T1" fmla="*/ 1 h 2"/>
                  <a:gd name="T2" fmla="*/ 0 w 10"/>
                  <a:gd name="T3" fmla="*/ 1 h 2"/>
                  <a:gd name="T4" fmla="*/ 6 w 10"/>
                  <a:gd name="T5" fmla="*/ 2 h 2"/>
                  <a:gd name="T6" fmla="*/ 7 w 10"/>
                  <a:gd name="T7" fmla="*/ 1 h 2"/>
                  <a:gd name="T8" fmla="*/ 10 w 10"/>
                  <a:gd name="T9" fmla="*/ 1 h 2"/>
                  <a:gd name="T10" fmla="*/ 4 w 10"/>
                  <a:gd name="T11" fmla="*/ 1 h 2"/>
                  <a:gd name="T12" fmla="*/ 1 w 10"/>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0" h="2">
                    <a:moveTo>
                      <a:pt x="1" y="1"/>
                    </a:moveTo>
                    <a:cubicBezTo>
                      <a:pt x="0" y="1"/>
                      <a:pt x="0" y="1"/>
                      <a:pt x="0" y="1"/>
                    </a:cubicBezTo>
                    <a:cubicBezTo>
                      <a:pt x="1" y="1"/>
                      <a:pt x="4" y="2"/>
                      <a:pt x="6" y="2"/>
                    </a:cubicBezTo>
                    <a:cubicBezTo>
                      <a:pt x="6" y="2"/>
                      <a:pt x="7" y="2"/>
                      <a:pt x="7" y="1"/>
                    </a:cubicBezTo>
                    <a:cubicBezTo>
                      <a:pt x="8" y="1"/>
                      <a:pt x="9" y="1"/>
                      <a:pt x="10" y="1"/>
                    </a:cubicBezTo>
                    <a:cubicBezTo>
                      <a:pt x="8" y="1"/>
                      <a:pt x="6" y="1"/>
                      <a:pt x="4" y="1"/>
                    </a:cubicBezTo>
                    <a:cubicBezTo>
                      <a:pt x="5" y="0"/>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3" name="Freeform 2140">
                <a:extLst>
                  <a:ext uri="{FF2B5EF4-FFF2-40B4-BE49-F238E27FC236}">
                    <a16:creationId xmlns:a16="http://schemas.microsoft.com/office/drawing/2014/main" id="{329645FE-01A5-4E95-A71D-D24ACD3B0924}"/>
                  </a:ext>
                </a:extLst>
              </p:cNvPr>
              <p:cNvSpPr>
                <a:spLocks/>
              </p:cNvSpPr>
              <p:nvPr/>
            </p:nvSpPr>
            <p:spPr bwMode="auto">
              <a:xfrm>
                <a:off x="8008" y="1380"/>
                <a:ext cx="33" cy="12"/>
              </a:xfrm>
              <a:custGeom>
                <a:avLst/>
                <a:gdLst>
                  <a:gd name="T0" fmla="*/ 14 w 14"/>
                  <a:gd name="T1" fmla="*/ 1 h 5"/>
                  <a:gd name="T2" fmla="*/ 12 w 14"/>
                  <a:gd name="T3" fmla="*/ 0 h 5"/>
                  <a:gd name="T4" fmla="*/ 11 w 14"/>
                  <a:gd name="T5" fmla="*/ 2 h 5"/>
                  <a:gd name="T6" fmla="*/ 8 w 14"/>
                  <a:gd name="T7" fmla="*/ 3 h 5"/>
                  <a:gd name="T8" fmla="*/ 6 w 14"/>
                  <a:gd name="T9" fmla="*/ 4 h 5"/>
                  <a:gd name="T10" fmla="*/ 6 w 14"/>
                  <a:gd name="T11" fmla="*/ 4 h 5"/>
                  <a:gd name="T12" fmla="*/ 5 w 14"/>
                  <a:gd name="T13" fmla="*/ 4 h 5"/>
                  <a:gd name="T14" fmla="*/ 4 w 14"/>
                  <a:gd name="T15" fmla="*/ 4 h 5"/>
                  <a:gd name="T16" fmla="*/ 3 w 14"/>
                  <a:gd name="T17" fmla="*/ 5 h 5"/>
                  <a:gd name="T18" fmla="*/ 0 w 14"/>
                  <a:gd name="T19" fmla="*/ 5 h 5"/>
                  <a:gd name="T20" fmla="*/ 7 w 14"/>
                  <a:gd name="T21" fmla="*/ 5 h 5"/>
                  <a:gd name="T22" fmla="*/ 11 w 14"/>
                  <a:gd name="T23" fmla="*/ 4 h 5"/>
                  <a:gd name="T24" fmla="*/ 12 w 14"/>
                  <a:gd name="T25" fmla="*/ 4 h 5"/>
                  <a:gd name="T26" fmla="*/ 13 w 14"/>
                  <a:gd name="T27" fmla="*/ 4 h 5"/>
                  <a:gd name="T28" fmla="*/ 12 w 14"/>
                  <a:gd name="T29" fmla="*/ 2 h 5"/>
                  <a:gd name="T30" fmla="*/ 14 w 14"/>
                  <a:gd name="T3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5">
                    <a:moveTo>
                      <a:pt x="14" y="1"/>
                    </a:moveTo>
                    <a:cubicBezTo>
                      <a:pt x="14" y="0"/>
                      <a:pt x="13" y="0"/>
                      <a:pt x="12" y="0"/>
                    </a:cubicBezTo>
                    <a:cubicBezTo>
                      <a:pt x="12" y="0"/>
                      <a:pt x="12" y="1"/>
                      <a:pt x="11" y="2"/>
                    </a:cubicBezTo>
                    <a:cubicBezTo>
                      <a:pt x="10" y="3"/>
                      <a:pt x="9" y="3"/>
                      <a:pt x="8" y="3"/>
                    </a:cubicBezTo>
                    <a:cubicBezTo>
                      <a:pt x="8" y="4"/>
                      <a:pt x="7" y="4"/>
                      <a:pt x="6" y="4"/>
                    </a:cubicBezTo>
                    <a:cubicBezTo>
                      <a:pt x="6" y="4"/>
                      <a:pt x="6" y="4"/>
                      <a:pt x="6" y="4"/>
                    </a:cubicBezTo>
                    <a:cubicBezTo>
                      <a:pt x="5" y="4"/>
                      <a:pt x="5" y="4"/>
                      <a:pt x="5" y="4"/>
                    </a:cubicBezTo>
                    <a:cubicBezTo>
                      <a:pt x="5" y="4"/>
                      <a:pt x="4" y="4"/>
                      <a:pt x="4" y="4"/>
                    </a:cubicBezTo>
                    <a:cubicBezTo>
                      <a:pt x="4" y="5"/>
                      <a:pt x="3" y="4"/>
                      <a:pt x="3" y="5"/>
                    </a:cubicBezTo>
                    <a:cubicBezTo>
                      <a:pt x="2" y="5"/>
                      <a:pt x="2" y="5"/>
                      <a:pt x="0" y="5"/>
                    </a:cubicBezTo>
                    <a:cubicBezTo>
                      <a:pt x="3" y="5"/>
                      <a:pt x="5" y="5"/>
                      <a:pt x="7" y="5"/>
                    </a:cubicBezTo>
                    <a:cubicBezTo>
                      <a:pt x="9" y="5"/>
                      <a:pt x="10" y="4"/>
                      <a:pt x="11" y="4"/>
                    </a:cubicBezTo>
                    <a:cubicBezTo>
                      <a:pt x="11" y="4"/>
                      <a:pt x="11" y="4"/>
                      <a:pt x="12" y="4"/>
                    </a:cubicBezTo>
                    <a:cubicBezTo>
                      <a:pt x="12" y="3"/>
                      <a:pt x="13" y="4"/>
                      <a:pt x="13" y="4"/>
                    </a:cubicBezTo>
                    <a:cubicBezTo>
                      <a:pt x="13" y="3"/>
                      <a:pt x="12" y="2"/>
                      <a:pt x="12" y="2"/>
                    </a:cubicBezTo>
                    <a:cubicBezTo>
                      <a:pt x="12" y="2"/>
                      <a:pt x="14" y="2"/>
                      <a:pt x="1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4" name="Freeform 2141">
                <a:extLst>
                  <a:ext uri="{FF2B5EF4-FFF2-40B4-BE49-F238E27FC236}">
                    <a16:creationId xmlns:a16="http://schemas.microsoft.com/office/drawing/2014/main" id="{F7597B27-B6DF-4C3D-A7FB-9B77C1A507EA}"/>
                  </a:ext>
                </a:extLst>
              </p:cNvPr>
              <p:cNvSpPr>
                <a:spLocks/>
              </p:cNvSpPr>
              <p:nvPr/>
            </p:nvSpPr>
            <p:spPr bwMode="auto">
              <a:xfrm>
                <a:off x="7987" y="1397"/>
                <a:ext cx="5" cy="2"/>
              </a:xfrm>
              <a:custGeom>
                <a:avLst/>
                <a:gdLst>
                  <a:gd name="T0" fmla="*/ 1 w 2"/>
                  <a:gd name="T1" fmla="*/ 1 h 1"/>
                  <a:gd name="T2" fmla="*/ 2 w 2"/>
                  <a:gd name="T3" fmla="*/ 1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2" y="1"/>
                      <a:pt x="2" y="1"/>
                    </a:cubicBezTo>
                    <a:cubicBezTo>
                      <a:pt x="1" y="0"/>
                      <a:pt x="1" y="0"/>
                      <a:pt x="0"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5" name="Freeform 2142">
                <a:extLst>
                  <a:ext uri="{FF2B5EF4-FFF2-40B4-BE49-F238E27FC236}">
                    <a16:creationId xmlns:a16="http://schemas.microsoft.com/office/drawing/2014/main" id="{FB236440-785E-4D5C-B541-6A092915A806}"/>
                  </a:ext>
                </a:extLst>
              </p:cNvPr>
              <p:cNvSpPr>
                <a:spLocks/>
              </p:cNvSpPr>
              <p:nvPr/>
            </p:nvSpPr>
            <p:spPr bwMode="auto">
              <a:xfrm>
                <a:off x="8129" y="1217"/>
                <a:ext cx="4" cy="5"/>
              </a:xfrm>
              <a:custGeom>
                <a:avLst/>
                <a:gdLst>
                  <a:gd name="T0" fmla="*/ 1 w 2"/>
                  <a:gd name="T1" fmla="*/ 2 h 2"/>
                  <a:gd name="T2" fmla="*/ 2 w 2"/>
                  <a:gd name="T3" fmla="*/ 0 h 2"/>
                  <a:gd name="T4" fmla="*/ 0 w 2"/>
                  <a:gd name="T5" fmla="*/ 1 h 2"/>
                  <a:gd name="T6" fmla="*/ 1 w 2"/>
                  <a:gd name="T7" fmla="*/ 2 h 2"/>
                </a:gdLst>
                <a:ahLst/>
                <a:cxnLst>
                  <a:cxn ang="0">
                    <a:pos x="T0" y="T1"/>
                  </a:cxn>
                  <a:cxn ang="0">
                    <a:pos x="T2" y="T3"/>
                  </a:cxn>
                  <a:cxn ang="0">
                    <a:pos x="T4" y="T5"/>
                  </a:cxn>
                  <a:cxn ang="0">
                    <a:pos x="T6" y="T7"/>
                  </a:cxn>
                </a:cxnLst>
                <a:rect l="0" t="0" r="r" b="b"/>
                <a:pathLst>
                  <a:path w="2" h="2">
                    <a:moveTo>
                      <a:pt x="1" y="2"/>
                    </a:moveTo>
                    <a:cubicBezTo>
                      <a:pt x="2" y="1"/>
                      <a:pt x="2" y="1"/>
                      <a:pt x="2" y="0"/>
                    </a:cubicBezTo>
                    <a:cubicBezTo>
                      <a:pt x="1" y="0"/>
                      <a:pt x="1" y="1"/>
                      <a:pt x="0" y="1"/>
                    </a:cubicBezTo>
                    <a:cubicBezTo>
                      <a:pt x="0" y="1"/>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6" name="Freeform 2143">
                <a:extLst>
                  <a:ext uri="{FF2B5EF4-FFF2-40B4-BE49-F238E27FC236}">
                    <a16:creationId xmlns:a16="http://schemas.microsoft.com/office/drawing/2014/main" id="{305DAFBF-970B-43B3-8D1E-524DE968A362}"/>
                  </a:ext>
                </a:extLst>
              </p:cNvPr>
              <p:cNvSpPr>
                <a:spLocks/>
              </p:cNvSpPr>
              <p:nvPr/>
            </p:nvSpPr>
            <p:spPr bwMode="auto">
              <a:xfrm>
                <a:off x="7982" y="1397"/>
                <a:ext cx="5" cy="5"/>
              </a:xfrm>
              <a:custGeom>
                <a:avLst/>
                <a:gdLst>
                  <a:gd name="T0" fmla="*/ 1 w 2"/>
                  <a:gd name="T1" fmla="*/ 2 h 2"/>
                  <a:gd name="T2" fmla="*/ 1 w 2"/>
                  <a:gd name="T3" fmla="*/ 1 h 2"/>
                  <a:gd name="T4" fmla="*/ 1 w 2"/>
                  <a:gd name="T5" fmla="*/ 0 h 2"/>
                  <a:gd name="T6" fmla="*/ 1 w 2"/>
                  <a:gd name="T7" fmla="*/ 2 h 2"/>
                </a:gdLst>
                <a:ahLst/>
                <a:cxnLst>
                  <a:cxn ang="0">
                    <a:pos x="T0" y="T1"/>
                  </a:cxn>
                  <a:cxn ang="0">
                    <a:pos x="T2" y="T3"/>
                  </a:cxn>
                  <a:cxn ang="0">
                    <a:pos x="T4" y="T5"/>
                  </a:cxn>
                  <a:cxn ang="0">
                    <a:pos x="T6" y="T7"/>
                  </a:cxn>
                </a:cxnLst>
                <a:rect l="0" t="0" r="r" b="b"/>
                <a:pathLst>
                  <a:path w="2" h="2">
                    <a:moveTo>
                      <a:pt x="1" y="2"/>
                    </a:moveTo>
                    <a:cubicBezTo>
                      <a:pt x="1" y="2"/>
                      <a:pt x="2" y="1"/>
                      <a:pt x="1" y="1"/>
                    </a:cubicBezTo>
                    <a:cubicBezTo>
                      <a:pt x="1" y="0"/>
                      <a:pt x="1" y="0"/>
                      <a:pt x="1" y="0"/>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7" name="Freeform 2144">
                <a:extLst>
                  <a:ext uri="{FF2B5EF4-FFF2-40B4-BE49-F238E27FC236}">
                    <a16:creationId xmlns:a16="http://schemas.microsoft.com/office/drawing/2014/main" id="{F1888EC4-A4CD-4A15-95B2-F4CC93223E04}"/>
                  </a:ext>
                </a:extLst>
              </p:cNvPr>
              <p:cNvSpPr>
                <a:spLocks/>
              </p:cNvSpPr>
              <p:nvPr/>
            </p:nvSpPr>
            <p:spPr bwMode="auto">
              <a:xfrm>
                <a:off x="7970" y="1395"/>
                <a:ext cx="15" cy="11"/>
              </a:xfrm>
              <a:custGeom>
                <a:avLst/>
                <a:gdLst>
                  <a:gd name="T0" fmla="*/ 0 w 6"/>
                  <a:gd name="T1" fmla="*/ 5 h 5"/>
                  <a:gd name="T2" fmla="*/ 1 w 6"/>
                  <a:gd name="T3" fmla="*/ 3 h 5"/>
                  <a:gd name="T4" fmla="*/ 2 w 6"/>
                  <a:gd name="T5" fmla="*/ 4 h 5"/>
                  <a:gd name="T6" fmla="*/ 2 w 6"/>
                  <a:gd name="T7" fmla="*/ 4 h 5"/>
                  <a:gd name="T8" fmla="*/ 4 w 6"/>
                  <a:gd name="T9" fmla="*/ 3 h 5"/>
                  <a:gd name="T10" fmla="*/ 4 w 6"/>
                  <a:gd name="T11" fmla="*/ 3 h 5"/>
                  <a:gd name="T12" fmla="*/ 5 w 6"/>
                  <a:gd name="T13" fmla="*/ 3 h 5"/>
                  <a:gd name="T14" fmla="*/ 3 w 6"/>
                  <a:gd name="T15" fmla="*/ 1 h 5"/>
                  <a:gd name="T16" fmla="*/ 3 w 6"/>
                  <a:gd name="T17" fmla="*/ 0 h 5"/>
                  <a:gd name="T18" fmla="*/ 2 w 6"/>
                  <a:gd name="T19" fmla="*/ 0 h 5"/>
                  <a:gd name="T20" fmla="*/ 2 w 6"/>
                  <a:gd name="T21" fmla="*/ 2 h 5"/>
                  <a:gd name="T22" fmla="*/ 0 w 6"/>
                  <a:gd name="T23" fmla="*/ 2 h 5"/>
                  <a:gd name="T24" fmla="*/ 0 w 6"/>
                  <a:gd name="T2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5">
                    <a:moveTo>
                      <a:pt x="0" y="5"/>
                    </a:moveTo>
                    <a:cubicBezTo>
                      <a:pt x="0" y="4"/>
                      <a:pt x="0" y="4"/>
                      <a:pt x="1" y="3"/>
                    </a:cubicBezTo>
                    <a:cubicBezTo>
                      <a:pt x="1" y="4"/>
                      <a:pt x="1" y="4"/>
                      <a:pt x="2" y="4"/>
                    </a:cubicBezTo>
                    <a:cubicBezTo>
                      <a:pt x="3" y="4"/>
                      <a:pt x="2" y="4"/>
                      <a:pt x="2" y="4"/>
                    </a:cubicBezTo>
                    <a:cubicBezTo>
                      <a:pt x="3" y="3"/>
                      <a:pt x="3" y="4"/>
                      <a:pt x="4" y="3"/>
                    </a:cubicBezTo>
                    <a:cubicBezTo>
                      <a:pt x="4" y="3"/>
                      <a:pt x="4" y="3"/>
                      <a:pt x="4" y="3"/>
                    </a:cubicBezTo>
                    <a:cubicBezTo>
                      <a:pt x="4" y="3"/>
                      <a:pt x="5" y="3"/>
                      <a:pt x="5" y="3"/>
                    </a:cubicBezTo>
                    <a:cubicBezTo>
                      <a:pt x="6" y="2"/>
                      <a:pt x="4" y="1"/>
                      <a:pt x="3" y="1"/>
                    </a:cubicBezTo>
                    <a:cubicBezTo>
                      <a:pt x="3" y="0"/>
                      <a:pt x="4" y="0"/>
                      <a:pt x="3" y="0"/>
                    </a:cubicBezTo>
                    <a:cubicBezTo>
                      <a:pt x="3" y="0"/>
                      <a:pt x="2" y="0"/>
                      <a:pt x="2" y="0"/>
                    </a:cubicBezTo>
                    <a:cubicBezTo>
                      <a:pt x="1" y="0"/>
                      <a:pt x="2" y="2"/>
                      <a:pt x="2" y="2"/>
                    </a:cubicBezTo>
                    <a:cubicBezTo>
                      <a:pt x="2" y="2"/>
                      <a:pt x="1" y="2"/>
                      <a:pt x="0" y="2"/>
                    </a:cubicBezTo>
                    <a:cubicBezTo>
                      <a:pt x="0" y="2"/>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8" name="Freeform 2145">
                <a:extLst>
                  <a:ext uri="{FF2B5EF4-FFF2-40B4-BE49-F238E27FC236}">
                    <a16:creationId xmlns:a16="http://schemas.microsoft.com/office/drawing/2014/main" id="{8D0CF594-E416-40C2-B479-04881FD876D5}"/>
                  </a:ext>
                </a:extLst>
              </p:cNvPr>
              <p:cNvSpPr>
                <a:spLocks/>
              </p:cNvSpPr>
              <p:nvPr/>
            </p:nvSpPr>
            <p:spPr bwMode="auto">
              <a:xfrm>
                <a:off x="8143" y="1359"/>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9" name="Freeform 2146">
                <a:extLst>
                  <a:ext uri="{FF2B5EF4-FFF2-40B4-BE49-F238E27FC236}">
                    <a16:creationId xmlns:a16="http://schemas.microsoft.com/office/drawing/2014/main" id="{966543E9-E3E4-4250-B04E-5C48E380EF89}"/>
                  </a:ext>
                </a:extLst>
              </p:cNvPr>
              <p:cNvSpPr>
                <a:spLocks/>
              </p:cNvSpPr>
              <p:nvPr/>
            </p:nvSpPr>
            <p:spPr bwMode="auto">
              <a:xfrm>
                <a:off x="8162" y="1343"/>
                <a:ext cx="24" cy="21"/>
              </a:xfrm>
              <a:custGeom>
                <a:avLst/>
                <a:gdLst>
                  <a:gd name="T0" fmla="*/ 6 w 10"/>
                  <a:gd name="T1" fmla="*/ 4 h 9"/>
                  <a:gd name="T2" fmla="*/ 4 w 10"/>
                  <a:gd name="T3" fmla="*/ 4 h 9"/>
                  <a:gd name="T4" fmla="*/ 2 w 10"/>
                  <a:gd name="T5" fmla="*/ 5 h 9"/>
                  <a:gd name="T6" fmla="*/ 2 w 10"/>
                  <a:gd name="T7" fmla="*/ 7 h 9"/>
                  <a:gd name="T8" fmla="*/ 1 w 10"/>
                  <a:gd name="T9" fmla="*/ 8 h 9"/>
                  <a:gd name="T10" fmla="*/ 1 w 10"/>
                  <a:gd name="T11" fmla="*/ 8 h 9"/>
                  <a:gd name="T12" fmla="*/ 0 w 10"/>
                  <a:gd name="T13" fmla="*/ 9 h 9"/>
                  <a:gd name="T14" fmla="*/ 10 w 10"/>
                  <a:gd name="T15" fmla="*/ 2 h 9"/>
                  <a:gd name="T16" fmla="*/ 10 w 10"/>
                  <a:gd name="T17" fmla="*/ 0 h 9"/>
                  <a:gd name="T18" fmla="*/ 6 w 10"/>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9">
                    <a:moveTo>
                      <a:pt x="6" y="4"/>
                    </a:moveTo>
                    <a:cubicBezTo>
                      <a:pt x="6" y="4"/>
                      <a:pt x="4" y="4"/>
                      <a:pt x="4" y="4"/>
                    </a:cubicBezTo>
                    <a:cubicBezTo>
                      <a:pt x="3" y="4"/>
                      <a:pt x="2" y="5"/>
                      <a:pt x="2" y="5"/>
                    </a:cubicBezTo>
                    <a:cubicBezTo>
                      <a:pt x="2" y="6"/>
                      <a:pt x="2" y="6"/>
                      <a:pt x="2" y="7"/>
                    </a:cubicBezTo>
                    <a:cubicBezTo>
                      <a:pt x="2" y="7"/>
                      <a:pt x="1" y="7"/>
                      <a:pt x="1" y="8"/>
                    </a:cubicBezTo>
                    <a:cubicBezTo>
                      <a:pt x="1" y="8"/>
                      <a:pt x="1" y="8"/>
                      <a:pt x="1" y="8"/>
                    </a:cubicBezTo>
                    <a:cubicBezTo>
                      <a:pt x="1" y="9"/>
                      <a:pt x="0" y="8"/>
                      <a:pt x="0" y="9"/>
                    </a:cubicBezTo>
                    <a:cubicBezTo>
                      <a:pt x="3" y="7"/>
                      <a:pt x="7" y="4"/>
                      <a:pt x="10" y="2"/>
                    </a:cubicBezTo>
                    <a:cubicBezTo>
                      <a:pt x="10" y="1"/>
                      <a:pt x="10" y="1"/>
                      <a:pt x="10" y="0"/>
                    </a:cubicBezTo>
                    <a:cubicBezTo>
                      <a:pt x="7" y="0"/>
                      <a:pt x="5" y="1"/>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0" name="Freeform 2147">
                <a:extLst>
                  <a:ext uri="{FF2B5EF4-FFF2-40B4-BE49-F238E27FC236}">
                    <a16:creationId xmlns:a16="http://schemas.microsoft.com/office/drawing/2014/main" id="{98B842A5-14F5-45F3-A40C-6685630C3017}"/>
                  </a:ext>
                </a:extLst>
              </p:cNvPr>
              <p:cNvSpPr>
                <a:spLocks/>
              </p:cNvSpPr>
              <p:nvPr/>
            </p:nvSpPr>
            <p:spPr bwMode="auto">
              <a:xfrm>
                <a:off x="8183" y="902"/>
                <a:ext cx="3" cy="5"/>
              </a:xfrm>
              <a:custGeom>
                <a:avLst/>
                <a:gdLst>
                  <a:gd name="T0" fmla="*/ 1 w 1"/>
                  <a:gd name="T1" fmla="*/ 0 h 2"/>
                  <a:gd name="T2" fmla="*/ 1 w 1"/>
                  <a:gd name="T3" fmla="*/ 2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1"/>
                      <a:pt x="1" y="2"/>
                    </a:cubicBezTo>
                    <a:cubicBezTo>
                      <a:pt x="1" y="2"/>
                      <a:pt x="1" y="2"/>
                      <a:pt x="1" y="2"/>
                    </a:cubicBezTo>
                    <a:cubicBezTo>
                      <a:pt x="0"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1" name="Freeform 2148">
                <a:extLst>
                  <a:ext uri="{FF2B5EF4-FFF2-40B4-BE49-F238E27FC236}">
                    <a16:creationId xmlns:a16="http://schemas.microsoft.com/office/drawing/2014/main" id="{4F5C69DE-AC38-49F4-BDFE-925C6BE9BE80}"/>
                  </a:ext>
                </a:extLst>
              </p:cNvPr>
              <p:cNvSpPr>
                <a:spLocks/>
              </p:cNvSpPr>
              <p:nvPr/>
            </p:nvSpPr>
            <p:spPr bwMode="auto">
              <a:xfrm>
                <a:off x="7715" y="1359"/>
                <a:ext cx="21" cy="10"/>
              </a:xfrm>
              <a:custGeom>
                <a:avLst/>
                <a:gdLst>
                  <a:gd name="T0" fmla="*/ 4 w 9"/>
                  <a:gd name="T1" fmla="*/ 1 h 4"/>
                  <a:gd name="T2" fmla="*/ 0 w 9"/>
                  <a:gd name="T3" fmla="*/ 2 h 4"/>
                  <a:gd name="T4" fmla="*/ 4 w 9"/>
                  <a:gd name="T5" fmla="*/ 4 h 4"/>
                  <a:gd name="T6" fmla="*/ 6 w 9"/>
                  <a:gd name="T7" fmla="*/ 3 h 4"/>
                  <a:gd name="T8" fmla="*/ 6 w 9"/>
                  <a:gd name="T9" fmla="*/ 4 h 4"/>
                  <a:gd name="T10" fmla="*/ 8 w 9"/>
                  <a:gd name="T11" fmla="*/ 3 h 4"/>
                  <a:gd name="T12" fmla="*/ 9 w 9"/>
                  <a:gd name="T13" fmla="*/ 3 h 4"/>
                  <a:gd name="T14" fmla="*/ 6 w 9"/>
                  <a:gd name="T15" fmla="*/ 1 h 4"/>
                  <a:gd name="T16" fmla="*/ 4 w 9"/>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4" y="1"/>
                    </a:moveTo>
                    <a:cubicBezTo>
                      <a:pt x="2" y="0"/>
                      <a:pt x="1" y="1"/>
                      <a:pt x="0" y="2"/>
                    </a:cubicBezTo>
                    <a:cubicBezTo>
                      <a:pt x="1" y="3"/>
                      <a:pt x="3" y="3"/>
                      <a:pt x="4" y="4"/>
                    </a:cubicBezTo>
                    <a:cubicBezTo>
                      <a:pt x="5" y="4"/>
                      <a:pt x="5" y="3"/>
                      <a:pt x="6" y="3"/>
                    </a:cubicBezTo>
                    <a:cubicBezTo>
                      <a:pt x="6" y="3"/>
                      <a:pt x="6" y="4"/>
                      <a:pt x="6" y="4"/>
                    </a:cubicBezTo>
                    <a:cubicBezTo>
                      <a:pt x="7" y="3"/>
                      <a:pt x="7" y="3"/>
                      <a:pt x="8" y="3"/>
                    </a:cubicBezTo>
                    <a:cubicBezTo>
                      <a:pt x="8" y="3"/>
                      <a:pt x="9" y="3"/>
                      <a:pt x="9" y="3"/>
                    </a:cubicBezTo>
                    <a:cubicBezTo>
                      <a:pt x="9" y="2"/>
                      <a:pt x="7" y="1"/>
                      <a:pt x="6" y="1"/>
                    </a:cubicBezTo>
                    <a:cubicBezTo>
                      <a:pt x="8" y="1"/>
                      <a:pt x="4"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2" name="Freeform 2149">
                <a:extLst>
                  <a:ext uri="{FF2B5EF4-FFF2-40B4-BE49-F238E27FC236}">
                    <a16:creationId xmlns:a16="http://schemas.microsoft.com/office/drawing/2014/main" id="{03F8EC98-8CA0-4211-B031-40F201FD157C}"/>
                  </a:ext>
                </a:extLst>
              </p:cNvPr>
              <p:cNvSpPr>
                <a:spLocks/>
              </p:cNvSpPr>
              <p:nvPr/>
            </p:nvSpPr>
            <p:spPr bwMode="auto">
              <a:xfrm>
                <a:off x="7826" y="1390"/>
                <a:ext cx="14" cy="9"/>
              </a:xfrm>
              <a:custGeom>
                <a:avLst/>
                <a:gdLst>
                  <a:gd name="T0" fmla="*/ 6 w 6"/>
                  <a:gd name="T1" fmla="*/ 0 h 4"/>
                  <a:gd name="T2" fmla="*/ 2 w 6"/>
                  <a:gd name="T3" fmla="*/ 4 h 4"/>
                  <a:gd name="T4" fmla="*/ 5 w 6"/>
                  <a:gd name="T5" fmla="*/ 2 h 4"/>
                  <a:gd name="T6" fmla="*/ 5 w 6"/>
                  <a:gd name="T7" fmla="*/ 1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cubicBezTo>
                      <a:pt x="5" y="1"/>
                      <a:pt x="0" y="2"/>
                      <a:pt x="2" y="4"/>
                    </a:cubicBezTo>
                    <a:cubicBezTo>
                      <a:pt x="3" y="1"/>
                      <a:pt x="4" y="3"/>
                      <a:pt x="5" y="2"/>
                    </a:cubicBezTo>
                    <a:cubicBezTo>
                      <a:pt x="5" y="2"/>
                      <a:pt x="5" y="2"/>
                      <a:pt x="5" y="1"/>
                    </a:cubicBezTo>
                    <a:cubicBezTo>
                      <a:pt x="5" y="1"/>
                      <a:pt x="6"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3" name="Freeform 2150">
                <a:extLst>
                  <a:ext uri="{FF2B5EF4-FFF2-40B4-BE49-F238E27FC236}">
                    <a16:creationId xmlns:a16="http://schemas.microsoft.com/office/drawing/2014/main" id="{8A85DD53-71CD-45CB-975E-884C21F45AB0}"/>
                  </a:ext>
                </a:extLst>
              </p:cNvPr>
              <p:cNvSpPr>
                <a:spLocks/>
              </p:cNvSpPr>
              <p:nvPr/>
            </p:nvSpPr>
            <p:spPr bwMode="auto">
              <a:xfrm>
                <a:off x="7736" y="1376"/>
                <a:ext cx="10" cy="7"/>
              </a:xfrm>
              <a:custGeom>
                <a:avLst/>
                <a:gdLst>
                  <a:gd name="T0" fmla="*/ 3 w 4"/>
                  <a:gd name="T1" fmla="*/ 3 h 3"/>
                  <a:gd name="T2" fmla="*/ 4 w 4"/>
                  <a:gd name="T3" fmla="*/ 0 h 3"/>
                  <a:gd name="T4" fmla="*/ 1 w 4"/>
                  <a:gd name="T5" fmla="*/ 1 h 3"/>
                  <a:gd name="T6" fmla="*/ 0 w 4"/>
                  <a:gd name="T7" fmla="*/ 2 h 3"/>
                  <a:gd name="T8" fmla="*/ 3 w 4"/>
                  <a:gd name="T9" fmla="*/ 3 h 3"/>
                </a:gdLst>
                <a:ahLst/>
                <a:cxnLst>
                  <a:cxn ang="0">
                    <a:pos x="T0" y="T1"/>
                  </a:cxn>
                  <a:cxn ang="0">
                    <a:pos x="T2" y="T3"/>
                  </a:cxn>
                  <a:cxn ang="0">
                    <a:pos x="T4" y="T5"/>
                  </a:cxn>
                  <a:cxn ang="0">
                    <a:pos x="T6" y="T7"/>
                  </a:cxn>
                  <a:cxn ang="0">
                    <a:pos x="T8" y="T9"/>
                  </a:cxn>
                </a:cxnLst>
                <a:rect l="0" t="0" r="r" b="b"/>
                <a:pathLst>
                  <a:path w="4" h="3">
                    <a:moveTo>
                      <a:pt x="3" y="3"/>
                    </a:moveTo>
                    <a:cubicBezTo>
                      <a:pt x="3" y="2"/>
                      <a:pt x="3" y="1"/>
                      <a:pt x="4" y="0"/>
                    </a:cubicBezTo>
                    <a:cubicBezTo>
                      <a:pt x="2" y="0"/>
                      <a:pt x="3" y="1"/>
                      <a:pt x="1" y="1"/>
                    </a:cubicBezTo>
                    <a:cubicBezTo>
                      <a:pt x="1" y="1"/>
                      <a:pt x="0" y="1"/>
                      <a:pt x="0" y="2"/>
                    </a:cubicBezTo>
                    <a:cubicBezTo>
                      <a:pt x="1" y="2"/>
                      <a:pt x="2"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4" name="Freeform 2151">
                <a:extLst>
                  <a:ext uri="{FF2B5EF4-FFF2-40B4-BE49-F238E27FC236}">
                    <a16:creationId xmlns:a16="http://schemas.microsoft.com/office/drawing/2014/main" id="{6FC0BEF5-4B74-4B5F-8D64-8CB542A41266}"/>
                  </a:ext>
                </a:extLst>
              </p:cNvPr>
              <p:cNvSpPr>
                <a:spLocks/>
              </p:cNvSpPr>
              <p:nvPr/>
            </p:nvSpPr>
            <p:spPr bwMode="auto">
              <a:xfrm>
                <a:off x="7989" y="1390"/>
                <a:ext cx="5" cy="5"/>
              </a:xfrm>
              <a:custGeom>
                <a:avLst/>
                <a:gdLst>
                  <a:gd name="T0" fmla="*/ 0 w 2"/>
                  <a:gd name="T1" fmla="*/ 0 h 2"/>
                  <a:gd name="T2" fmla="*/ 1 w 2"/>
                  <a:gd name="T3" fmla="*/ 2 h 2"/>
                  <a:gd name="T4" fmla="*/ 0 w 2"/>
                  <a:gd name="T5" fmla="*/ 0 h 2"/>
                </a:gdLst>
                <a:ahLst/>
                <a:cxnLst>
                  <a:cxn ang="0">
                    <a:pos x="T0" y="T1"/>
                  </a:cxn>
                  <a:cxn ang="0">
                    <a:pos x="T2" y="T3"/>
                  </a:cxn>
                  <a:cxn ang="0">
                    <a:pos x="T4" y="T5"/>
                  </a:cxn>
                </a:cxnLst>
                <a:rect l="0" t="0" r="r" b="b"/>
                <a:pathLst>
                  <a:path w="2" h="2">
                    <a:moveTo>
                      <a:pt x="0" y="0"/>
                    </a:moveTo>
                    <a:cubicBezTo>
                      <a:pt x="0" y="1"/>
                      <a:pt x="0" y="1"/>
                      <a:pt x="1"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5" name="Freeform 2152">
                <a:extLst>
                  <a:ext uri="{FF2B5EF4-FFF2-40B4-BE49-F238E27FC236}">
                    <a16:creationId xmlns:a16="http://schemas.microsoft.com/office/drawing/2014/main" id="{A676551C-0B83-4F5F-82E7-98B62DDC450E}"/>
                  </a:ext>
                </a:extLst>
              </p:cNvPr>
              <p:cNvSpPr>
                <a:spLocks/>
              </p:cNvSpPr>
              <p:nvPr/>
            </p:nvSpPr>
            <p:spPr bwMode="auto">
              <a:xfrm>
                <a:off x="8119" y="1371"/>
                <a:ext cx="5" cy="5"/>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1"/>
                      <a:pt x="1" y="1"/>
                      <a:pt x="0" y="1"/>
                    </a:cubicBezTo>
                    <a:cubicBezTo>
                      <a:pt x="1" y="2"/>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6" name="Freeform 2153">
                <a:extLst>
                  <a:ext uri="{FF2B5EF4-FFF2-40B4-BE49-F238E27FC236}">
                    <a16:creationId xmlns:a16="http://schemas.microsoft.com/office/drawing/2014/main" id="{6B6E58B1-2D2C-4034-AD8B-2DAC10311BD9}"/>
                  </a:ext>
                </a:extLst>
              </p:cNvPr>
              <p:cNvSpPr>
                <a:spLocks/>
              </p:cNvSpPr>
              <p:nvPr/>
            </p:nvSpPr>
            <p:spPr bwMode="auto">
              <a:xfrm>
                <a:off x="7883" y="1392"/>
                <a:ext cx="7" cy="5"/>
              </a:xfrm>
              <a:custGeom>
                <a:avLst/>
                <a:gdLst>
                  <a:gd name="T0" fmla="*/ 2 w 3"/>
                  <a:gd name="T1" fmla="*/ 2 h 2"/>
                  <a:gd name="T2" fmla="*/ 2 w 3"/>
                  <a:gd name="T3" fmla="*/ 0 h 2"/>
                  <a:gd name="T4" fmla="*/ 0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3" y="2"/>
                      <a:pt x="3" y="1"/>
                      <a:pt x="2" y="0"/>
                    </a:cubicBezTo>
                    <a:cubicBezTo>
                      <a:pt x="2" y="0"/>
                      <a:pt x="1" y="0"/>
                      <a:pt x="0" y="1"/>
                    </a:cubicBezTo>
                    <a:cubicBezTo>
                      <a:pt x="1"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7" name="Freeform 2154">
                <a:extLst>
                  <a:ext uri="{FF2B5EF4-FFF2-40B4-BE49-F238E27FC236}">
                    <a16:creationId xmlns:a16="http://schemas.microsoft.com/office/drawing/2014/main" id="{9FB167C5-DC71-4309-8C83-39ADBB5FD88A}"/>
                  </a:ext>
                </a:extLst>
              </p:cNvPr>
              <p:cNvSpPr>
                <a:spLocks/>
              </p:cNvSpPr>
              <p:nvPr/>
            </p:nvSpPr>
            <p:spPr bwMode="auto">
              <a:xfrm>
                <a:off x="8074" y="1378"/>
                <a:ext cx="7" cy="7"/>
              </a:xfrm>
              <a:custGeom>
                <a:avLst/>
                <a:gdLst>
                  <a:gd name="T0" fmla="*/ 1 w 3"/>
                  <a:gd name="T1" fmla="*/ 3 h 3"/>
                  <a:gd name="T2" fmla="*/ 3 w 3"/>
                  <a:gd name="T3" fmla="*/ 2 h 3"/>
                  <a:gd name="T4" fmla="*/ 1 w 3"/>
                  <a:gd name="T5" fmla="*/ 3 h 3"/>
                </a:gdLst>
                <a:ahLst/>
                <a:cxnLst>
                  <a:cxn ang="0">
                    <a:pos x="T0" y="T1"/>
                  </a:cxn>
                  <a:cxn ang="0">
                    <a:pos x="T2" y="T3"/>
                  </a:cxn>
                  <a:cxn ang="0">
                    <a:pos x="T4" y="T5"/>
                  </a:cxn>
                </a:cxnLst>
                <a:rect l="0" t="0" r="r" b="b"/>
                <a:pathLst>
                  <a:path w="3" h="3">
                    <a:moveTo>
                      <a:pt x="1" y="3"/>
                    </a:moveTo>
                    <a:cubicBezTo>
                      <a:pt x="1" y="3"/>
                      <a:pt x="3" y="2"/>
                      <a:pt x="3" y="2"/>
                    </a:cubicBezTo>
                    <a:cubicBezTo>
                      <a:pt x="2" y="0"/>
                      <a:pt x="0" y="1"/>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8" name="Freeform 2155">
                <a:extLst>
                  <a:ext uri="{FF2B5EF4-FFF2-40B4-BE49-F238E27FC236}">
                    <a16:creationId xmlns:a16="http://schemas.microsoft.com/office/drawing/2014/main" id="{597874B9-BF10-4E57-B595-391F9328A7E9}"/>
                  </a:ext>
                </a:extLst>
              </p:cNvPr>
              <p:cNvSpPr>
                <a:spLocks/>
              </p:cNvSpPr>
              <p:nvPr/>
            </p:nvSpPr>
            <p:spPr bwMode="auto">
              <a:xfrm>
                <a:off x="8074" y="1104"/>
                <a:ext cx="7" cy="4"/>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1"/>
                      <a:pt x="2" y="2"/>
                      <a:pt x="3" y="2"/>
                    </a:cubicBezTo>
                    <a:cubicBezTo>
                      <a:pt x="2" y="0"/>
                      <a:pt x="2"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9" name="Freeform 2156">
                <a:extLst>
                  <a:ext uri="{FF2B5EF4-FFF2-40B4-BE49-F238E27FC236}">
                    <a16:creationId xmlns:a16="http://schemas.microsoft.com/office/drawing/2014/main" id="{FB371173-023F-41AD-9732-39D10F79BD9E}"/>
                  </a:ext>
                </a:extLst>
              </p:cNvPr>
              <p:cNvSpPr>
                <a:spLocks/>
              </p:cNvSpPr>
              <p:nvPr/>
            </p:nvSpPr>
            <p:spPr bwMode="auto">
              <a:xfrm>
                <a:off x="8065" y="1099"/>
                <a:ext cx="5" cy="5"/>
              </a:xfrm>
              <a:custGeom>
                <a:avLst/>
                <a:gdLst>
                  <a:gd name="T0" fmla="*/ 1 w 2"/>
                  <a:gd name="T1" fmla="*/ 1 h 2"/>
                  <a:gd name="T2" fmla="*/ 0 w 2"/>
                  <a:gd name="T3" fmla="*/ 0 h 2"/>
                  <a:gd name="T4" fmla="*/ 0 w 2"/>
                  <a:gd name="T5" fmla="*/ 0 h 2"/>
                  <a:gd name="T6" fmla="*/ 2 w 2"/>
                  <a:gd name="T7" fmla="*/ 2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0" y="0"/>
                      <a:pt x="1" y="0"/>
                      <a:pt x="0" y="0"/>
                    </a:cubicBezTo>
                    <a:cubicBezTo>
                      <a:pt x="0" y="0"/>
                      <a:pt x="0" y="0"/>
                      <a:pt x="0" y="0"/>
                    </a:cubicBezTo>
                    <a:cubicBezTo>
                      <a:pt x="1" y="1"/>
                      <a:pt x="1" y="1"/>
                      <a:pt x="2" y="2"/>
                    </a:cubicBezTo>
                    <a:cubicBezTo>
                      <a:pt x="2" y="2"/>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0" name="Freeform 2157">
                <a:extLst>
                  <a:ext uri="{FF2B5EF4-FFF2-40B4-BE49-F238E27FC236}">
                    <a16:creationId xmlns:a16="http://schemas.microsoft.com/office/drawing/2014/main" id="{CEAD33CA-BA73-4CE7-B7A1-1B64B3E38A57}"/>
                  </a:ext>
                </a:extLst>
              </p:cNvPr>
              <p:cNvSpPr>
                <a:spLocks/>
              </p:cNvSpPr>
              <p:nvPr/>
            </p:nvSpPr>
            <p:spPr bwMode="auto">
              <a:xfrm>
                <a:off x="7956" y="1397"/>
                <a:ext cx="12" cy="7"/>
              </a:xfrm>
              <a:custGeom>
                <a:avLst/>
                <a:gdLst>
                  <a:gd name="T0" fmla="*/ 1 w 5"/>
                  <a:gd name="T1" fmla="*/ 2 h 3"/>
                  <a:gd name="T2" fmla="*/ 3 w 5"/>
                  <a:gd name="T3" fmla="*/ 2 h 3"/>
                  <a:gd name="T4" fmla="*/ 4 w 5"/>
                  <a:gd name="T5" fmla="*/ 1 h 3"/>
                  <a:gd name="T6" fmla="*/ 5 w 5"/>
                  <a:gd name="T7" fmla="*/ 0 h 3"/>
                  <a:gd name="T8" fmla="*/ 0 w 5"/>
                  <a:gd name="T9" fmla="*/ 2 h 3"/>
                  <a:gd name="T10" fmla="*/ 1 w 5"/>
                  <a:gd name="T11" fmla="*/ 2 h 3"/>
                </a:gdLst>
                <a:ahLst/>
                <a:cxnLst>
                  <a:cxn ang="0">
                    <a:pos x="T0" y="T1"/>
                  </a:cxn>
                  <a:cxn ang="0">
                    <a:pos x="T2" y="T3"/>
                  </a:cxn>
                  <a:cxn ang="0">
                    <a:pos x="T4" y="T5"/>
                  </a:cxn>
                  <a:cxn ang="0">
                    <a:pos x="T6" y="T7"/>
                  </a:cxn>
                  <a:cxn ang="0">
                    <a:pos x="T8" y="T9"/>
                  </a:cxn>
                  <a:cxn ang="0">
                    <a:pos x="T10" y="T11"/>
                  </a:cxn>
                </a:cxnLst>
                <a:rect l="0" t="0" r="r" b="b"/>
                <a:pathLst>
                  <a:path w="5" h="3">
                    <a:moveTo>
                      <a:pt x="1" y="2"/>
                    </a:moveTo>
                    <a:cubicBezTo>
                      <a:pt x="2" y="2"/>
                      <a:pt x="2" y="3"/>
                      <a:pt x="3" y="2"/>
                    </a:cubicBezTo>
                    <a:cubicBezTo>
                      <a:pt x="4" y="2"/>
                      <a:pt x="3" y="2"/>
                      <a:pt x="4" y="1"/>
                    </a:cubicBezTo>
                    <a:cubicBezTo>
                      <a:pt x="4" y="1"/>
                      <a:pt x="4" y="0"/>
                      <a:pt x="5" y="0"/>
                    </a:cubicBezTo>
                    <a:cubicBezTo>
                      <a:pt x="3" y="1"/>
                      <a:pt x="1" y="2"/>
                      <a:pt x="0" y="2"/>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1" name="Freeform 2158">
                <a:extLst>
                  <a:ext uri="{FF2B5EF4-FFF2-40B4-BE49-F238E27FC236}">
                    <a16:creationId xmlns:a16="http://schemas.microsoft.com/office/drawing/2014/main" id="{A14E0512-C169-4A87-A4EE-5D69D6151474}"/>
                  </a:ext>
                </a:extLst>
              </p:cNvPr>
              <p:cNvSpPr>
                <a:spLocks/>
              </p:cNvSpPr>
              <p:nvPr/>
            </p:nvSpPr>
            <p:spPr bwMode="auto">
              <a:xfrm>
                <a:off x="7937" y="1395"/>
                <a:ext cx="17" cy="11"/>
              </a:xfrm>
              <a:custGeom>
                <a:avLst/>
                <a:gdLst>
                  <a:gd name="T0" fmla="*/ 4 w 7"/>
                  <a:gd name="T1" fmla="*/ 1 h 5"/>
                  <a:gd name="T2" fmla="*/ 3 w 7"/>
                  <a:gd name="T3" fmla="*/ 0 h 5"/>
                  <a:gd name="T4" fmla="*/ 1 w 7"/>
                  <a:gd name="T5" fmla="*/ 1 h 5"/>
                  <a:gd name="T6" fmla="*/ 4 w 7"/>
                  <a:gd name="T7" fmla="*/ 5 h 5"/>
                  <a:gd name="T8" fmla="*/ 5 w 7"/>
                  <a:gd name="T9" fmla="*/ 3 h 5"/>
                  <a:gd name="T10" fmla="*/ 5 w 7"/>
                  <a:gd name="T11" fmla="*/ 2 h 5"/>
                  <a:gd name="T12" fmla="*/ 7 w 7"/>
                  <a:gd name="T13" fmla="*/ 1 h 5"/>
                  <a:gd name="T14" fmla="*/ 4 w 7"/>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1"/>
                    </a:moveTo>
                    <a:cubicBezTo>
                      <a:pt x="4" y="1"/>
                      <a:pt x="4" y="1"/>
                      <a:pt x="3" y="0"/>
                    </a:cubicBezTo>
                    <a:cubicBezTo>
                      <a:pt x="3" y="0"/>
                      <a:pt x="1" y="0"/>
                      <a:pt x="1" y="1"/>
                    </a:cubicBezTo>
                    <a:cubicBezTo>
                      <a:pt x="0" y="1"/>
                      <a:pt x="3" y="4"/>
                      <a:pt x="4" y="5"/>
                    </a:cubicBezTo>
                    <a:cubicBezTo>
                      <a:pt x="4" y="4"/>
                      <a:pt x="5" y="4"/>
                      <a:pt x="5" y="3"/>
                    </a:cubicBezTo>
                    <a:cubicBezTo>
                      <a:pt x="5" y="3"/>
                      <a:pt x="5" y="2"/>
                      <a:pt x="5" y="2"/>
                    </a:cubicBezTo>
                    <a:cubicBezTo>
                      <a:pt x="5" y="2"/>
                      <a:pt x="6" y="2"/>
                      <a:pt x="7" y="1"/>
                    </a:cubicBezTo>
                    <a:cubicBezTo>
                      <a:pt x="6" y="1"/>
                      <a:pt x="5"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2" name="Freeform 2159">
                <a:extLst>
                  <a:ext uri="{FF2B5EF4-FFF2-40B4-BE49-F238E27FC236}">
                    <a16:creationId xmlns:a16="http://schemas.microsoft.com/office/drawing/2014/main" id="{0F3F4504-A551-46E8-B332-C338CE0A5121}"/>
                  </a:ext>
                </a:extLst>
              </p:cNvPr>
              <p:cNvSpPr>
                <a:spLocks/>
              </p:cNvSpPr>
              <p:nvPr/>
            </p:nvSpPr>
            <p:spPr bwMode="auto">
              <a:xfrm>
                <a:off x="7864" y="1404"/>
                <a:ext cx="19" cy="9"/>
              </a:xfrm>
              <a:custGeom>
                <a:avLst/>
                <a:gdLst>
                  <a:gd name="T0" fmla="*/ 8 w 8"/>
                  <a:gd name="T1" fmla="*/ 4 h 4"/>
                  <a:gd name="T2" fmla="*/ 4 w 8"/>
                  <a:gd name="T3" fmla="*/ 2 h 4"/>
                  <a:gd name="T4" fmla="*/ 3 w 8"/>
                  <a:gd name="T5" fmla="*/ 1 h 4"/>
                  <a:gd name="T6" fmla="*/ 0 w 8"/>
                  <a:gd name="T7" fmla="*/ 0 h 4"/>
                  <a:gd name="T8" fmla="*/ 6 w 8"/>
                  <a:gd name="T9" fmla="*/ 4 h 4"/>
                  <a:gd name="T10" fmla="*/ 8 w 8"/>
                  <a:gd name="T11" fmla="*/ 4 h 4"/>
                </a:gdLst>
                <a:ahLst/>
                <a:cxnLst>
                  <a:cxn ang="0">
                    <a:pos x="T0" y="T1"/>
                  </a:cxn>
                  <a:cxn ang="0">
                    <a:pos x="T2" y="T3"/>
                  </a:cxn>
                  <a:cxn ang="0">
                    <a:pos x="T4" y="T5"/>
                  </a:cxn>
                  <a:cxn ang="0">
                    <a:pos x="T6" y="T7"/>
                  </a:cxn>
                  <a:cxn ang="0">
                    <a:pos x="T8" y="T9"/>
                  </a:cxn>
                  <a:cxn ang="0">
                    <a:pos x="T10" y="T11"/>
                  </a:cxn>
                </a:cxnLst>
                <a:rect l="0" t="0" r="r" b="b"/>
                <a:pathLst>
                  <a:path w="8" h="4">
                    <a:moveTo>
                      <a:pt x="8" y="4"/>
                    </a:moveTo>
                    <a:cubicBezTo>
                      <a:pt x="7" y="3"/>
                      <a:pt x="5" y="3"/>
                      <a:pt x="4" y="2"/>
                    </a:cubicBezTo>
                    <a:cubicBezTo>
                      <a:pt x="4" y="2"/>
                      <a:pt x="3" y="1"/>
                      <a:pt x="3" y="1"/>
                    </a:cubicBezTo>
                    <a:cubicBezTo>
                      <a:pt x="2" y="0"/>
                      <a:pt x="1" y="0"/>
                      <a:pt x="0" y="0"/>
                    </a:cubicBezTo>
                    <a:cubicBezTo>
                      <a:pt x="2" y="2"/>
                      <a:pt x="4" y="3"/>
                      <a:pt x="6" y="4"/>
                    </a:cubicBezTo>
                    <a:cubicBezTo>
                      <a:pt x="7" y="4"/>
                      <a:pt x="7"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3" name="Freeform 2160">
                <a:extLst>
                  <a:ext uri="{FF2B5EF4-FFF2-40B4-BE49-F238E27FC236}">
                    <a16:creationId xmlns:a16="http://schemas.microsoft.com/office/drawing/2014/main" id="{0BF2C504-9C5E-4F9D-A0F5-06CB64BDB842}"/>
                  </a:ext>
                </a:extLst>
              </p:cNvPr>
              <p:cNvSpPr>
                <a:spLocks/>
              </p:cNvSpPr>
              <p:nvPr/>
            </p:nvSpPr>
            <p:spPr bwMode="auto">
              <a:xfrm>
                <a:off x="4310" y="1570"/>
                <a:ext cx="12" cy="4"/>
              </a:xfrm>
              <a:custGeom>
                <a:avLst/>
                <a:gdLst>
                  <a:gd name="T0" fmla="*/ 5 w 5"/>
                  <a:gd name="T1" fmla="*/ 2 h 2"/>
                  <a:gd name="T2" fmla="*/ 0 w 5"/>
                  <a:gd name="T3" fmla="*/ 0 h 2"/>
                  <a:gd name="T4" fmla="*/ 5 w 5"/>
                  <a:gd name="T5" fmla="*/ 2 h 2"/>
                </a:gdLst>
                <a:ahLst/>
                <a:cxnLst>
                  <a:cxn ang="0">
                    <a:pos x="T0" y="T1"/>
                  </a:cxn>
                  <a:cxn ang="0">
                    <a:pos x="T2" y="T3"/>
                  </a:cxn>
                  <a:cxn ang="0">
                    <a:pos x="T4" y="T5"/>
                  </a:cxn>
                </a:cxnLst>
                <a:rect l="0" t="0" r="r" b="b"/>
                <a:pathLst>
                  <a:path w="5" h="2">
                    <a:moveTo>
                      <a:pt x="5" y="2"/>
                    </a:moveTo>
                    <a:cubicBezTo>
                      <a:pt x="4" y="1"/>
                      <a:pt x="2" y="1"/>
                      <a:pt x="0" y="0"/>
                    </a:cubicBezTo>
                    <a:cubicBezTo>
                      <a:pt x="0" y="2"/>
                      <a:pt x="4"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4" name="Freeform 2161">
                <a:extLst>
                  <a:ext uri="{FF2B5EF4-FFF2-40B4-BE49-F238E27FC236}">
                    <a16:creationId xmlns:a16="http://schemas.microsoft.com/office/drawing/2014/main" id="{3C928454-DC71-4BC2-B443-79BDCFC59E9F}"/>
                  </a:ext>
                </a:extLst>
              </p:cNvPr>
              <p:cNvSpPr>
                <a:spLocks/>
              </p:cNvSpPr>
              <p:nvPr/>
            </p:nvSpPr>
            <p:spPr bwMode="auto">
              <a:xfrm>
                <a:off x="3521" y="1092"/>
                <a:ext cx="4" cy="12"/>
              </a:xfrm>
              <a:custGeom>
                <a:avLst/>
                <a:gdLst>
                  <a:gd name="T0" fmla="*/ 2 w 2"/>
                  <a:gd name="T1" fmla="*/ 1 h 5"/>
                  <a:gd name="T2" fmla="*/ 0 w 2"/>
                  <a:gd name="T3" fmla="*/ 2 h 5"/>
                  <a:gd name="T4" fmla="*/ 1 w 2"/>
                  <a:gd name="T5" fmla="*/ 5 h 5"/>
                  <a:gd name="T6" fmla="*/ 2 w 2"/>
                  <a:gd name="T7" fmla="*/ 1 h 5"/>
                </a:gdLst>
                <a:ahLst/>
                <a:cxnLst>
                  <a:cxn ang="0">
                    <a:pos x="T0" y="T1"/>
                  </a:cxn>
                  <a:cxn ang="0">
                    <a:pos x="T2" y="T3"/>
                  </a:cxn>
                  <a:cxn ang="0">
                    <a:pos x="T4" y="T5"/>
                  </a:cxn>
                  <a:cxn ang="0">
                    <a:pos x="T6" y="T7"/>
                  </a:cxn>
                </a:cxnLst>
                <a:rect l="0" t="0" r="r" b="b"/>
                <a:pathLst>
                  <a:path w="2" h="5">
                    <a:moveTo>
                      <a:pt x="2" y="1"/>
                    </a:moveTo>
                    <a:cubicBezTo>
                      <a:pt x="0" y="0"/>
                      <a:pt x="1" y="1"/>
                      <a:pt x="0" y="2"/>
                    </a:cubicBezTo>
                    <a:cubicBezTo>
                      <a:pt x="0" y="3"/>
                      <a:pt x="0" y="3"/>
                      <a:pt x="1" y="5"/>
                    </a:cubicBezTo>
                    <a:cubicBezTo>
                      <a:pt x="1" y="3"/>
                      <a:pt x="1"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5" name="Freeform 2162">
                <a:extLst>
                  <a:ext uri="{FF2B5EF4-FFF2-40B4-BE49-F238E27FC236}">
                    <a16:creationId xmlns:a16="http://schemas.microsoft.com/office/drawing/2014/main" id="{8E01F02B-8F40-43B1-ADB3-3E059B3727A9}"/>
                  </a:ext>
                </a:extLst>
              </p:cNvPr>
              <p:cNvSpPr>
                <a:spLocks/>
              </p:cNvSpPr>
              <p:nvPr/>
            </p:nvSpPr>
            <p:spPr bwMode="auto">
              <a:xfrm>
                <a:off x="3509" y="1096"/>
                <a:ext cx="14" cy="29"/>
              </a:xfrm>
              <a:custGeom>
                <a:avLst/>
                <a:gdLst>
                  <a:gd name="T0" fmla="*/ 3 w 6"/>
                  <a:gd name="T1" fmla="*/ 5 h 12"/>
                  <a:gd name="T2" fmla="*/ 2 w 6"/>
                  <a:gd name="T3" fmla="*/ 5 h 12"/>
                  <a:gd name="T4" fmla="*/ 0 w 6"/>
                  <a:gd name="T5" fmla="*/ 6 h 12"/>
                  <a:gd name="T6" fmla="*/ 2 w 6"/>
                  <a:gd name="T7" fmla="*/ 6 h 12"/>
                  <a:gd name="T8" fmla="*/ 2 w 6"/>
                  <a:gd name="T9" fmla="*/ 7 h 12"/>
                  <a:gd name="T10" fmla="*/ 4 w 6"/>
                  <a:gd name="T11" fmla="*/ 6 h 12"/>
                  <a:gd name="T12" fmla="*/ 4 w 6"/>
                  <a:gd name="T13" fmla="*/ 9 h 12"/>
                  <a:gd name="T14" fmla="*/ 4 w 6"/>
                  <a:gd name="T15" fmla="*/ 12 h 12"/>
                  <a:gd name="T16" fmla="*/ 6 w 6"/>
                  <a:gd name="T17" fmla="*/ 3 h 12"/>
                  <a:gd name="T18" fmla="*/ 5 w 6"/>
                  <a:gd name="T19" fmla="*/ 4 h 12"/>
                  <a:gd name="T20" fmla="*/ 4 w 6"/>
                  <a:gd name="T21" fmla="*/ 1 h 12"/>
                  <a:gd name="T22" fmla="*/ 2 w 6"/>
                  <a:gd name="T23" fmla="*/ 1 h 12"/>
                  <a:gd name="T24" fmla="*/ 3 w 6"/>
                  <a:gd name="T25" fmla="*/ 2 h 12"/>
                  <a:gd name="T26" fmla="*/ 1 w 6"/>
                  <a:gd name="T27" fmla="*/ 3 h 12"/>
                  <a:gd name="T28" fmla="*/ 2 w 6"/>
                  <a:gd name="T29" fmla="*/ 3 h 12"/>
                  <a:gd name="T30" fmla="*/ 4 w 6"/>
                  <a:gd name="T31" fmla="*/ 5 h 12"/>
                  <a:gd name="T32" fmla="*/ 3 w 6"/>
                  <a:gd name="T3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2">
                    <a:moveTo>
                      <a:pt x="3" y="5"/>
                    </a:moveTo>
                    <a:cubicBezTo>
                      <a:pt x="3" y="5"/>
                      <a:pt x="3" y="5"/>
                      <a:pt x="2" y="5"/>
                    </a:cubicBezTo>
                    <a:cubicBezTo>
                      <a:pt x="1" y="5"/>
                      <a:pt x="1" y="5"/>
                      <a:pt x="0" y="6"/>
                    </a:cubicBezTo>
                    <a:cubicBezTo>
                      <a:pt x="0" y="7"/>
                      <a:pt x="1" y="7"/>
                      <a:pt x="2" y="6"/>
                    </a:cubicBezTo>
                    <a:cubicBezTo>
                      <a:pt x="1" y="7"/>
                      <a:pt x="1" y="7"/>
                      <a:pt x="2" y="7"/>
                    </a:cubicBezTo>
                    <a:cubicBezTo>
                      <a:pt x="3" y="7"/>
                      <a:pt x="2" y="6"/>
                      <a:pt x="4" y="6"/>
                    </a:cubicBezTo>
                    <a:cubicBezTo>
                      <a:pt x="3" y="7"/>
                      <a:pt x="4" y="8"/>
                      <a:pt x="4" y="9"/>
                    </a:cubicBezTo>
                    <a:cubicBezTo>
                      <a:pt x="4" y="10"/>
                      <a:pt x="2" y="11"/>
                      <a:pt x="4" y="12"/>
                    </a:cubicBezTo>
                    <a:cubicBezTo>
                      <a:pt x="5" y="9"/>
                      <a:pt x="6" y="6"/>
                      <a:pt x="6" y="3"/>
                    </a:cubicBezTo>
                    <a:cubicBezTo>
                      <a:pt x="6" y="3"/>
                      <a:pt x="6" y="4"/>
                      <a:pt x="5" y="4"/>
                    </a:cubicBezTo>
                    <a:cubicBezTo>
                      <a:pt x="5" y="3"/>
                      <a:pt x="4" y="2"/>
                      <a:pt x="4" y="1"/>
                    </a:cubicBezTo>
                    <a:cubicBezTo>
                      <a:pt x="4" y="0"/>
                      <a:pt x="3" y="0"/>
                      <a:pt x="2" y="1"/>
                    </a:cubicBezTo>
                    <a:cubicBezTo>
                      <a:pt x="2" y="1"/>
                      <a:pt x="3" y="2"/>
                      <a:pt x="3" y="2"/>
                    </a:cubicBezTo>
                    <a:cubicBezTo>
                      <a:pt x="2" y="2"/>
                      <a:pt x="0" y="1"/>
                      <a:pt x="1" y="3"/>
                    </a:cubicBezTo>
                    <a:cubicBezTo>
                      <a:pt x="1" y="3"/>
                      <a:pt x="2" y="3"/>
                      <a:pt x="2" y="3"/>
                    </a:cubicBezTo>
                    <a:cubicBezTo>
                      <a:pt x="2" y="4"/>
                      <a:pt x="3" y="4"/>
                      <a:pt x="4" y="5"/>
                    </a:cubicBezTo>
                    <a:cubicBezTo>
                      <a:pt x="3" y="4"/>
                      <a:pt x="4"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6" name="Freeform 2163">
                <a:extLst>
                  <a:ext uri="{FF2B5EF4-FFF2-40B4-BE49-F238E27FC236}">
                    <a16:creationId xmlns:a16="http://schemas.microsoft.com/office/drawing/2014/main" id="{D01CBB96-7E16-4857-B3CA-9275B3FC52FE}"/>
                  </a:ext>
                </a:extLst>
              </p:cNvPr>
              <p:cNvSpPr>
                <a:spLocks/>
              </p:cNvSpPr>
              <p:nvPr/>
            </p:nvSpPr>
            <p:spPr bwMode="auto">
              <a:xfrm>
                <a:off x="3417" y="1269"/>
                <a:ext cx="9" cy="10"/>
              </a:xfrm>
              <a:custGeom>
                <a:avLst/>
                <a:gdLst>
                  <a:gd name="T0" fmla="*/ 4 w 4"/>
                  <a:gd name="T1" fmla="*/ 2 h 4"/>
                  <a:gd name="T2" fmla="*/ 3 w 4"/>
                  <a:gd name="T3" fmla="*/ 1 h 4"/>
                  <a:gd name="T4" fmla="*/ 2 w 4"/>
                  <a:gd name="T5" fmla="*/ 0 h 4"/>
                  <a:gd name="T6" fmla="*/ 3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cubicBezTo>
                      <a:pt x="4" y="2"/>
                      <a:pt x="3" y="1"/>
                      <a:pt x="3" y="1"/>
                    </a:cubicBezTo>
                    <a:cubicBezTo>
                      <a:pt x="3" y="1"/>
                      <a:pt x="3" y="0"/>
                      <a:pt x="2" y="0"/>
                    </a:cubicBezTo>
                    <a:cubicBezTo>
                      <a:pt x="0" y="0"/>
                      <a:pt x="3" y="4"/>
                      <a:pt x="3" y="4"/>
                    </a:cubicBezTo>
                    <a:cubicBezTo>
                      <a:pt x="4" y="4"/>
                      <a:pt x="4"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7" name="Freeform 2164">
                <a:extLst>
                  <a:ext uri="{FF2B5EF4-FFF2-40B4-BE49-F238E27FC236}">
                    <a16:creationId xmlns:a16="http://schemas.microsoft.com/office/drawing/2014/main" id="{C5FD9CB6-0E20-4E35-AC2E-0B22F49D7C4D}"/>
                  </a:ext>
                </a:extLst>
              </p:cNvPr>
              <p:cNvSpPr>
                <a:spLocks/>
              </p:cNvSpPr>
              <p:nvPr/>
            </p:nvSpPr>
            <p:spPr bwMode="auto">
              <a:xfrm>
                <a:off x="3384" y="1203"/>
                <a:ext cx="28" cy="21"/>
              </a:xfrm>
              <a:custGeom>
                <a:avLst/>
                <a:gdLst>
                  <a:gd name="T0" fmla="*/ 7 w 12"/>
                  <a:gd name="T1" fmla="*/ 1 h 9"/>
                  <a:gd name="T2" fmla="*/ 6 w 12"/>
                  <a:gd name="T3" fmla="*/ 0 h 9"/>
                  <a:gd name="T4" fmla="*/ 5 w 12"/>
                  <a:gd name="T5" fmla="*/ 2 h 9"/>
                  <a:gd name="T6" fmla="*/ 2 w 12"/>
                  <a:gd name="T7" fmla="*/ 1 h 9"/>
                  <a:gd name="T8" fmla="*/ 2 w 12"/>
                  <a:gd name="T9" fmla="*/ 3 h 9"/>
                  <a:gd name="T10" fmla="*/ 1 w 12"/>
                  <a:gd name="T11" fmla="*/ 2 h 9"/>
                  <a:gd name="T12" fmla="*/ 2 w 12"/>
                  <a:gd name="T13" fmla="*/ 4 h 9"/>
                  <a:gd name="T14" fmla="*/ 5 w 12"/>
                  <a:gd name="T15" fmla="*/ 5 h 9"/>
                  <a:gd name="T16" fmla="*/ 4 w 12"/>
                  <a:gd name="T17" fmla="*/ 5 h 9"/>
                  <a:gd name="T18" fmla="*/ 8 w 12"/>
                  <a:gd name="T19" fmla="*/ 6 h 9"/>
                  <a:gd name="T20" fmla="*/ 10 w 12"/>
                  <a:gd name="T21" fmla="*/ 7 h 9"/>
                  <a:gd name="T22" fmla="*/ 8 w 12"/>
                  <a:gd name="T23" fmla="*/ 9 h 9"/>
                  <a:gd name="T24" fmla="*/ 10 w 12"/>
                  <a:gd name="T25" fmla="*/ 8 h 9"/>
                  <a:gd name="T26" fmla="*/ 11 w 12"/>
                  <a:gd name="T27" fmla="*/ 7 h 9"/>
                  <a:gd name="T28" fmla="*/ 12 w 12"/>
                  <a:gd name="T29" fmla="*/ 6 h 9"/>
                  <a:gd name="T30" fmla="*/ 9 w 12"/>
                  <a:gd name="T31" fmla="*/ 6 h 9"/>
                  <a:gd name="T32" fmla="*/ 8 w 12"/>
                  <a:gd name="T33" fmla="*/ 6 h 9"/>
                  <a:gd name="T34" fmla="*/ 8 w 12"/>
                  <a:gd name="T35" fmla="*/ 5 h 9"/>
                  <a:gd name="T36" fmla="*/ 7 w 12"/>
                  <a:gd name="T37" fmla="*/ 5 h 9"/>
                  <a:gd name="T38" fmla="*/ 7 w 12"/>
                  <a:gd name="T39" fmla="*/ 4 h 9"/>
                  <a:gd name="T40" fmla="*/ 7 w 12"/>
                  <a:gd name="T4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9">
                    <a:moveTo>
                      <a:pt x="7" y="1"/>
                    </a:moveTo>
                    <a:cubicBezTo>
                      <a:pt x="7" y="1"/>
                      <a:pt x="6" y="0"/>
                      <a:pt x="6" y="0"/>
                    </a:cubicBezTo>
                    <a:cubicBezTo>
                      <a:pt x="5" y="0"/>
                      <a:pt x="4" y="1"/>
                      <a:pt x="5" y="2"/>
                    </a:cubicBezTo>
                    <a:cubicBezTo>
                      <a:pt x="4" y="3"/>
                      <a:pt x="3" y="1"/>
                      <a:pt x="2" y="1"/>
                    </a:cubicBezTo>
                    <a:cubicBezTo>
                      <a:pt x="2" y="2"/>
                      <a:pt x="2" y="2"/>
                      <a:pt x="2" y="3"/>
                    </a:cubicBezTo>
                    <a:cubicBezTo>
                      <a:pt x="2" y="3"/>
                      <a:pt x="2" y="2"/>
                      <a:pt x="1" y="2"/>
                    </a:cubicBezTo>
                    <a:cubicBezTo>
                      <a:pt x="0" y="3"/>
                      <a:pt x="2" y="3"/>
                      <a:pt x="2" y="4"/>
                    </a:cubicBezTo>
                    <a:cubicBezTo>
                      <a:pt x="3" y="4"/>
                      <a:pt x="4" y="4"/>
                      <a:pt x="5" y="5"/>
                    </a:cubicBezTo>
                    <a:cubicBezTo>
                      <a:pt x="4" y="5"/>
                      <a:pt x="4" y="5"/>
                      <a:pt x="4" y="5"/>
                    </a:cubicBezTo>
                    <a:cubicBezTo>
                      <a:pt x="4" y="6"/>
                      <a:pt x="9" y="8"/>
                      <a:pt x="8" y="6"/>
                    </a:cubicBezTo>
                    <a:cubicBezTo>
                      <a:pt x="9" y="7"/>
                      <a:pt x="9" y="7"/>
                      <a:pt x="10" y="7"/>
                    </a:cubicBezTo>
                    <a:cubicBezTo>
                      <a:pt x="10" y="8"/>
                      <a:pt x="9" y="9"/>
                      <a:pt x="8" y="9"/>
                    </a:cubicBezTo>
                    <a:cubicBezTo>
                      <a:pt x="9" y="9"/>
                      <a:pt x="10" y="9"/>
                      <a:pt x="10" y="8"/>
                    </a:cubicBezTo>
                    <a:cubicBezTo>
                      <a:pt x="10" y="8"/>
                      <a:pt x="11" y="7"/>
                      <a:pt x="11" y="7"/>
                    </a:cubicBezTo>
                    <a:cubicBezTo>
                      <a:pt x="11" y="7"/>
                      <a:pt x="12" y="7"/>
                      <a:pt x="12" y="6"/>
                    </a:cubicBezTo>
                    <a:cubicBezTo>
                      <a:pt x="11" y="6"/>
                      <a:pt x="10" y="6"/>
                      <a:pt x="9" y="6"/>
                    </a:cubicBezTo>
                    <a:cubicBezTo>
                      <a:pt x="9" y="6"/>
                      <a:pt x="8" y="6"/>
                      <a:pt x="8" y="6"/>
                    </a:cubicBezTo>
                    <a:cubicBezTo>
                      <a:pt x="8" y="6"/>
                      <a:pt x="8" y="5"/>
                      <a:pt x="8" y="5"/>
                    </a:cubicBezTo>
                    <a:cubicBezTo>
                      <a:pt x="8" y="5"/>
                      <a:pt x="7" y="5"/>
                      <a:pt x="7" y="5"/>
                    </a:cubicBezTo>
                    <a:cubicBezTo>
                      <a:pt x="7" y="5"/>
                      <a:pt x="8" y="4"/>
                      <a:pt x="7" y="4"/>
                    </a:cubicBezTo>
                    <a:cubicBezTo>
                      <a:pt x="7" y="3"/>
                      <a:pt x="7" y="2"/>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8" name="Freeform 2165">
                <a:extLst>
                  <a:ext uri="{FF2B5EF4-FFF2-40B4-BE49-F238E27FC236}">
                    <a16:creationId xmlns:a16="http://schemas.microsoft.com/office/drawing/2014/main" id="{84363558-4613-45DF-86E4-6FABCAC43D83}"/>
                  </a:ext>
                </a:extLst>
              </p:cNvPr>
              <p:cNvSpPr>
                <a:spLocks/>
              </p:cNvSpPr>
              <p:nvPr/>
            </p:nvSpPr>
            <p:spPr bwMode="auto">
              <a:xfrm>
                <a:off x="3511" y="1432"/>
                <a:ext cx="12" cy="8"/>
              </a:xfrm>
              <a:custGeom>
                <a:avLst/>
                <a:gdLst>
                  <a:gd name="T0" fmla="*/ 0 w 5"/>
                  <a:gd name="T1" fmla="*/ 1 h 3"/>
                  <a:gd name="T2" fmla="*/ 3 w 5"/>
                  <a:gd name="T3" fmla="*/ 3 h 3"/>
                  <a:gd name="T4" fmla="*/ 5 w 5"/>
                  <a:gd name="T5" fmla="*/ 1 h 3"/>
                  <a:gd name="T6" fmla="*/ 0 w 5"/>
                  <a:gd name="T7" fmla="*/ 1 h 3"/>
                </a:gdLst>
                <a:ahLst/>
                <a:cxnLst>
                  <a:cxn ang="0">
                    <a:pos x="T0" y="T1"/>
                  </a:cxn>
                  <a:cxn ang="0">
                    <a:pos x="T2" y="T3"/>
                  </a:cxn>
                  <a:cxn ang="0">
                    <a:pos x="T4" y="T5"/>
                  </a:cxn>
                  <a:cxn ang="0">
                    <a:pos x="T6" y="T7"/>
                  </a:cxn>
                </a:cxnLst>
                <a:rect l="0" t="0" r="r" b="b"/>
                <a:pathLst>
                  <a:path w="5" h="3">
                    <a:moveTo>
                      <a:pt x="0" y="1"/>
                    </a:moveTo>
                    <a:cubicBezTo>
                      <a:pt x="1" y="2"/>
                      <a:pt x="2" y="2"/>
                      <a:pt x="3" y="3"/>
                    </a:cubicBezTo>
                    <a:cubicBezTo>
                      <a:pt x="4" y="3"/>
                      <a:pt x="4" y="1"/>
                      <a:pt x="5" y="1"/>
                    </a:cubicBezTo>
                    <a:cubicBezTo>
                      <a:pt x="3"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9" name="Freeform 2166">
                <a:extLst>
                  <a:ext uri="{FF2B5EF4-FFF2-40B4-BE49-F238E27FC236}">
                    <a16:creationId xmlns:a16="http://schemas.microsoft.com/office/drawing/2014/main" id="{F96A1247-AD5F-47BE-B2FA-EAB04120F6F4}"/>
                  </a:ext>
                </a:extLst>
              </p:cNvPr>
              <p:cNvSpPr>
                <a:spLocks/>
              </p:cNvSpPr>
              <p:nvPr/>
            </p:nvSpPr>
            <p:spPr bwMode="auto">
              <a:xfrm>
                <a:off x="3377" y="1193"/>
                <a:ext cx="11" cy="8"/>
              </a:xfrm>
              <a:custGeom>
                <a:avLst/>
                <a:gdLst>
                  <a:gd name="T0" fmla="*/ 3 w 5"/>
                  <a:gd name="T1" fmla="*/ 1 h 3"/>
                  <a:gd name="T2" fmla="*/ 1 w 5"/>
                  <a:gd name="T3" fmla="*/ 2 h 3"/>
                  <a:gd name="T4" fmla="*/ 0 w 5"/>
                  <a:gd name="T5" fmla="*/ 1 h 3"/>
                  <a:gd name="T6" fmla="*/ 2 w 5"/>
                  <a:gd name="T7" fmla="*/ 3 h 3"/>
                  <a:gd name="T8" fmla="*/ 3 w 5"/>
                  <a:gd name="T9" fmla="*/ 1 h 3"/>
                </a:gdLst>
                <a:ahLst/>
                <a:cxnLst>
                  <a:cxn ang="0">
                    <a:pos x="T0" y="T1"/>
                  </a:cxn>
                  <a:cxn ang="0">
                    <a:pos x="T2" y="T3"/>
                  </a:cxn>
                  <a:cxn ang="0">
                    <a:pos x="T4" y="T5"/>
                  </a:cxn>
                  <a:cxn ang="0">
                    <a:pos x="T6" y="T7"/>
                  </a:cxn>
                  <a:cxn ang="0">
                    <a:pos x="T8" y="T9"/>
                  </a:cxn>
                </a:cxnLst>
                <a:rect l="0" t="0" r="r" b="b"/>
                <a:pathLst>
                  <a:path w="5" h="3">
                    <a:moveTo>
                      <a:pt x="3" y="1"/>
                    </a:moveTo>
                    <a:cubicBezTo>
                      <a:pt x="2" y="0"/>
                      <a:pt x="2" y="1"/>
                      <a:pt x="1" y="2"/>
                    </a:cubicBezTo>
                    <a:cubicBezTo>
                      <a:pt x="1" y="2"/>
                      <a:pt x="0" y="2"/>
                      <a:pt x="0" y="1"/>
                    </a:cubicBezTo>
                    <a:cubicBezTo>
                      <a:pt x="0" y="2"/>
                      <a:pt x="1" y="3"/>
                      <a:pt x="2" y="3"/>
                    </a:cubicBezTo>
                    <a:cubicBezTo>
                      <a:pt x="3" y="3"/>
                      <a:pt x="5"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0" name="Freeform 2167">
                <a:extLst>
                  <a:ext uri="{FF2B5EF4-FFF2-40B4-BE49-F238E27FC236}">
                    <a16:creationId xmlns:a16="http://schemas.microsoft.com/office/drawing/2014/main" id="{A6DC0A84-89C5-4062-B009-46D00E9C57B6}"/>
                  </a:ext>
                </a:extLst>
              </p:cNvPr>
              <p:cNvSpPr>
                <a:spLocks/>
              </p:cNvSpPr>
              <p:nvPr/>
            </p:nvSpPr>
            <p:spPr bwMode="auto">
              <a:xfrm>
                <a:off x="3377" y="1175"/>
                <a:ext cx="23" cy="21"/>
              </a:xfrm>
              <a:custGeom>
                <a:avLst/>
                <a:gdLst>
                  <a:gd name="T0" fmla="*/ 4 w 10"/>
                  <a:gd name="T1" fmla="*/ 2 h 9"/>
                  <a:gd name="T2" fmla="*/ 2 w 10"/>
                  <a:gd name="T3" fmla="*/ 4 h 9"/>
                  <a:gd name="T4" fmla="*/ 1 w 10"/>
                  <a:gd name="T5" fmla="*/ 4 h 9"/>
                  <a:gd name="T6" fmla="*/ 0 w 10"/>
                  <a:gd name="T7" fmla="*/ 7 h 9"/>
                  <a:gd name="T8" fmla="*/ 3 w 10"/>
                  <a:gd name="T9" fmla="*/ 9 h 9"/>
                  <a:gd name="T10" fmla="*/ 5 w 10"/>
                  <a:gd name="T11" fmla="*/ 9 h 9"/>
                  <a:gd name="T12" fmla="*/ 5 w 10"/>
                  <a:gd name="T13" fmla="*/ 7 h 9"/>
                  <a:gd name="T14" fmla="*/ 6 w 10"/>
                  <a:gd name="T15" fmla="*/ 8 h 9"/>
                  <a:gd name="T16" fmla="*/ 8 w 10"/>
                  <a:gd name="T17" fmla="*/ 7 h 9"/>
                  <a:gd name="T18" fmla="*/ 5 w 10"/>
                  <a:gd name="T19" fmla="*/ 6 h 9"/>
                  <a:gd name="T20" fmla="*/ 8 w 10"/>
                  <a:gd name="T21" fmla="*/ 4 h 9"/>
                  <a:gd name="T22" fmla="*/ 10 w 10"/>
                  <a:gd name="T23" fmla="*/ 4 h 9"/>
                  <a:gd name="T24" fmla="*/ 10 w 10"/>
                  <a:gd name="T25" fmla="*/ 1 h 9"/>
                  <a:gd name="T26" fmla="*/ 8 w 10"/>
                  <a:gd name="T27" fmla="*/ 0 h 9"/>
                  <a:gd name="T28" fmla="*/ 5 w 10"/>
                  <a:gd name="T29" fmla="*/ 2 h 9"/>
                  <a:gd name="T30" fmla="*/ 4 w 10"/>
                  <a:gd name="T3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9">
                    <a:moveTo>
                      <a:pt x="4" y="2"/>
                    </a:moveTo>
                    <a:cubicBezTo>
                      <a:pt x="3" y="3"/>
                      <a:pt x="3" y="4"/>
                      <a:pt x="2" y="4"/>
                    </a:cubicBezTo>
                    <a:cubicBezTo>
                      <a:pt x="2" y="4"/>
                      <a:pt x="2" y="3"/>
                      <a:pt x="1" y="4"/>
                    </a:cubicBezTo>
                    <a:cubicBezTo>
                      <a:pt x="0" y="4"/>
                      <a:pt x="1" y="6"/>
                      <a:pt x="0" y="7"/>
                    </a:cubicBezTo>
                    <a:cubicBezTo>
                      <a:pt x="1" y="8"/>
                      <a:pt x="2" y="8"/>
                      <a:pt x="3" y="9"/>
                    </a:cubicBezTo>
                    <a:cubicBezTo>
                      <a:pt x="4" y="9"/>
                      <a:pt x="4" y="9"/>
                      <a:pt x="5" y="9"/>
                    </a:cubicBezTo>
                    <a:cubicBezTo>
                      <a:pt x="4" y="8"/>
                      <a:pt x="3" y="7"/>
                      <a:pt x="5" y="7"/>
                    </a:cubicBezTo>
                    <a:cubicBezTo>
                      <a:pt x="6" y="6"/>
                      <a:pt x="5" y="7"/>
                      <a:pt x="6" y="8"/>
                    </a:cubicBezTo>
                    <a:cubicBezTo>
                      <a:pt x="6" y="9"/>
                      <a:pt x="8" y="7"/>
                      <a:pt x="8" y="7"/>
                    </a:cubicBezTo>
                    <a:cubicBezTo>
                      <a:pt x="7" y="6"/>
                      <a:pt x="6" y="6"/>
                      <a:pt x="5" y="6"/>
                    </a:cubicBezTo>
                    <a:cubicBezTo>
                      <a:pt x="6" y="5"/>
                      <a:pt x="8" y="5"/>
                      <a:pt x="8" y="4"/>
                    </a:cubicBezTo>
                    <a:cubicBezTo>
                      <a:pt x="8" y="4"/>
                      <a:pt x="9" y="5"/>
                      <a:pt x="10" y="4"/>
                    </a:cubicBezTo>
                    <a:cubicBezTo>
                      <a:pt x="10" y="3"/>
                      <a:pt x="10" y="2"/>
                      <a:pt x="10" y="1"/>
                    </a:cubicBezTo>
                    <a:cubicBezTo>
                      <a:pt x="10" y="1"/>
                      <a:pt x="10" y="0"/>
                      <a:pt x="8" y="0"/>
                    </a:cubicBezTo>
                    <a:cubicBezTo>
                      <a:pt x="7" y="0"/>
                      <a:pt x="6" y="1"/>
                      <a:pt x="5" y="2"/>
                    </a:cubicBezTo>
                    <a:cubicBezTo>
                      <a:pt x="5" y="2"/>
                      <a:pt x="5" y="2"/>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1" name="Freeform 2168">
                <a:extLst>
                  <a:ext uri="{FF2B5EF4-FFF2-40B4-BE49-F238E27FC236}">
                    <a16:creationId xmlns:a16="http://schemas.microsoft.com/office/drawing/2014/main" id="{4F77AE0B-B039-4B34-9515-8BFB6BFA3D92}"/>
                  </a:ext>
                </a:extLst>
              </p:cNvPr>
              <p:cNvSpPr>
                <a:spLocks/>
              </p:cNvSpPr>
              <p:nvPr/>
            </p:nvSpPr>
            <p:spPr bwMode="auto">
              <a:xfrm>
                <a:off x="3388" y="1222"/>
                <a:ext cx="12" cy="7"/>
              </a:xfrm>
              <a:custGeom>
                <a:avLst/>
                <a:gdLst>
                  <a:gd name="T0" fmla="*/ 3 w 5"/>
                  <a:gd name="T1" fmla="*/ 3 h 3"/>
                  <a:gd name="T2" fmla="*/ 3 w 5"/>
                  <a:gd name="T3" fmla="*/ 3 h 3"/>
                </a:gdLst>
                <a:ahLst/>
                <a:cxnLst>
                  <a:cxn ang="0">
                    <a:pos x="T0" y="T1"/>
                  </a:cxn>
                  <a:cxn ang="0">
                    <a:pos x="T2" y="T3"/>
                  </a:cxn>
                </a:cxnLst>
                <a:rect l="0" t="0" r="r" b="b"/>
                <a:pathLst>
                  <a:path w="5" h="3">
                    <a:moveTo>
                      <a:pt x="3" y="3"/>
                    </a:moveTo>
                    <a:cubicBezTo>
                      <a:pt x="5" y="1"/>
                      <a:pt x="0"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2" name="Freeform 2169">
                <a:extLst>
                  <a:ext uri="{FF2B5EF4-FFF2-40B4-BE49-F238E27FC236}">
                    <a16:creationId xmlns:a16="http://schemas.microsoft.com/office/drawing/2014/main" id="{DF7EC66E-23F0-4D4F-8822-CC1327939385}"/>
                  </a:ext>
                </a:extLst>
              </p:cNvPr>
              <p:cNvSpPr>
                <a:spLocks/>
              </p:cNvSpPr>
              <p:nvPr/>
            </p:nvSpPr>
            <p:spPr bwMode="auto">
              <a:xfrm>
                <a:off x="3393" y="1238"/>
                <a:ext cx="21" cy="12"/>
              </a:xfrm>
              <a:custGeom>
                <a:avLst/>
                <a:gdLst>
                  <a:gd name="T0" fmla="*/ 3 w 9"/>
                  <a:gd name="T1" fmla="*/ 4 h 5"/>
                  <a:gd name="T2" fmla="*/ 2 w 9"/>
                  <a:gd name="T3" fmla="*/ 5 h 5"/>
                  <a:gd name="T4" fmla="*/ 5 w 9"/>
                  <a:gd name="T5" fmla="*/ 4 h 5"/>
                  <a:gd name="T6" fmla="*/ 6 w 9"/>
                  <a:gd name="T7" fmla="*/ 4 h 5"/>
                  <a:gd name="T8" fmla="*/ 7 w 9"/>
                  <a:gd name="T9" fmla="*/ 5 h 5"/>
                  <a:gd name="T10" fmla="*/ 8 w 9"/>
                  <a:gd name="T11" fmla="*/ 4 h 5"/>
                  <a:gd name="T12" fmla="*/ 6 w 9"/>
                  <a:gd name="T13" fmla="*/ 2 h 5"/>
                  <a:gd name="T14" fmla="*/ 4 w 9"/>
                  <a:gd name="T15" fmla="*/ 0 h 5"/>
                  <a:gd name="T16" fmla="*/ 3 w 9"/>
                  <a:gd name="T17" fmla="*/ 0 h 5"/>
                  <a:gd name="T18" fmla="*/ 2 w 9"/>
                  <a:gd name="T19" fmla="*/ 0 h 5"/>
                  <a:gd name="T20" fmla="*/ 2 w 9"/>
                  <a:gd name="T21" fmla="*/ 2 h 5"/>
                  <a:gd name="T22" fmla="*/ 5 w 9"/>
                  <a:gd name="T23" fmla="*/ 2 h 5"/>
                  <a:gd name="T24" fmla="*/ 3 w 9"/>
                  <a:gd name="T2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3" y="4"/>
                    </a:moveTo>
                    <a:cubicBezTo>
                      <a:pt x="2" y="4"/>
                      <a:pt x="0" y="4"/>
                      <a:pt x="2" y="5"/>
                    </a:cubicBezTo>
                    <a:cubicBezTo>
                      <a:pt x="3" y="5"/>
                      <a:pt x="4" y="5"/>
                      <a:pt x="5" y="4"/>
                    </a:cubicBezTo>
                    <a:cubicBezTo>
                      <a:pt x="6" y="4"/>
                      <a:pt x="6" y="4"/>
                      <a:pt x="6" y="4"/>
                    </a:cubicBezTo>
                    <a:cubicBezTo>
                      <a:pt x="6" y="4"/>
                      <a:pt x="6" y="5"/>
                      <a:pt x="7" y="5"/>
                    </a:cubicBezTo>
                    <a:cubicBezTo>
                      <a:pt x="7" y="5"/>
                      <a:pt x="7" y="4"/>
                      <a:pt x="8" y="4"/>
                    </a:cubicBezTo>
                    <a:cubicBezTo>
                      <a:pt x="9" y="3"/>
                      <a:pt x="7" y="2"/>
                      <a:pt x="6" y="2"/>
                    </a:cubicBezTo>
                    <a:cubicBezTo>
                      <a:pt x="5" y="1"/>
                      <a:pt x="5" y="0"/>
                      <a:pt x="4" y="0"/>
                    </a:cubicBezTo>
                    <a:cubicBezTo>
                      <a:pt x="4" y="0"/>
                      <a:pt x="3" y="0"/>
                      <a:pt x="3" y="0"/>
                    </a:cubicBezTo>
                    <a:cubicBezTo>
                      <a:pt x="3" y="0"/>
                      <a:pt x="2" y="0"/>
                      <a:pt x="2" y="0"/>
                    </a:cubicBezTo>
                    <a:cubicBezTo>
                      <a:pt x="1" y="1"/>
                      <a:pt x="2" y="1"/>
                      <a:pt x="2" y="2"/>
                    </a:cubicBezTo>
                    <a:cubicBezTo>
                      <a:pt x="3" y="2"/>
                      <a:pt x="4" y="2"/>
                      <a:pt x="5" y="2"/>
                    </a:cubicBezTo>
                    <a:cubicBezTo>
                      <a:pt x="5" y="3"/>
                      <a:pt x="5"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3" name="Freeform 2170">
                <a:extLst>
                  <a:ext uri="{FF2B5EF4-FFF2-40B4-BE49-F238E27FC236}">
                    <a16:creationId xmlns:a16="http://schemas.microsoft.com/office/drawing/2014/main" id="{046EDC71-1D1C-43AE-9111-8FBB43073B40}"/>
                  </a:ext>
                </a:extLst>
              </p:cNvPr>
              <p:cNvSpPr>
                <a:spLocks/>
              </p:cNvSpPr>
              <p:nvPr/>
            </p:nvSpPr>
            <p:spPr bwMode="auto">
              <a:xfrm>
                <a:off x="3367" y="1203"/>
                <a:ext cx="12" cy="5"/>
              </a:xfrm>
              <a:custGeom>
                <a:avLst/>
                <a:gdLst>
                  <a:gd name="T0" fmla="*/ 2 w 5"/>
                  <a:gd name="T1" fmla="*/ 2 h 2"/>
                  <a:gd name="T2" fmla="*/ 3 w 5"/>
                  <a:gd name="T3" fmla="*/ 2 h 2"/>
                  <a:gd name="T4" fmla="*/ 5 w 5"/>
                  <a:gd name="T5" fmla="*/ 1 h 2"/>
                  <a:gd name="T6" fmla="*/ 0 w 5"/>
                  <a:gd name="T7" fmla="*/ 0 h 2"/>
                  <a:gd name="T8" fmla="*/ 2 w 5"/>
                  <a:gd name="T9" fmla="*/ 2 h 2"/>
                </a:gdLst>
                <a:ahLst/>
                <a:cxnLst>
                  <a:cxn ang="0">
                    <a:pos x="T0" y="T1"/>
                  </a:cxn>
                  <a:cxn ang="0">
                    <a:pos x="T2" y="T3"/>
                  </a:cxn>
                  <a:cxn ang="0">
                    <a:pos x="T4" y="T5"/>
                  </a:cxn>
                  <a:cxn ang="0">
                    <a:pos x="T6" y="T7"/>
                  </a:cxn>
                  <a:cxn ang="0">
                    <a:pos x="T8" y="T9"/>
                  </a:cxn>
                </a:cxnLst>
                <a:rect l="0" t="0" r="r" b="b"/>
                <a:pathLst>
                  <a:path w="5" h="2">
                    <a:moveTo>
                      <a:pt x="2" y="2"/>
                    </a:moveTo>
                    <a:cubicBezTo>
                      <a:pt x="2" y="2"/>
                      <a:pt x="2" y="2"/>
                      <a:pt x="3" y="2"/>
                    </a:cubicBezTo>
                    <a:cubicBezTo>
                      <a:pt x="4" y="2"/>
                      <a:pt x="4" y="1"/>
                      <a:pt x="5" y="1"/>
                    </a:cubicBezTo>
                    <a:cubicBezTo>
                      <a:pt x="3" y="0"/>
                      <a:pt x="2" y="0"/>
                      <a:pt x="0"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4" name="Freeform 2171">
                <a:extLst>
                  <a:ext uri="{FF2B5EF4-FFF2-40B4-BE49-F238E27FC236}">
                    <a16:creationId xmlns:a16="http://schemas.microsoft.com/office/drawing/2014/main" id="{F4F1BB7A-BA5B-443D-B018-286ED1E8546D}"/>
                  </a:ext>
                </a:extLst>
              </p:cNvPr>
              <p:cNvSpPr>
                <a:spLocks/>
              </p:cNvSpPr>
              <p:nvPr/>
            </p:nvSpPr>
            <p:spPr bwMode="auto">
              <a:xfrm>
                <a:off x="3525" y="1089"/>
                <a:ext cx="8" cy="7"/>
              </a:xfrm>
              <a:custGeom>
                <a:avLst/>
                <a:gdLst>
                  <a:gd name="T0" fmla="*/ 1 w 3"/>
                  <a:gd name="T1" fmla="*/ 3 h 3"/>
                  <a:gd name="T2" fmla="*/ 1 w 3"/>
                  <a:gd name="T3" fmla="*/ 0 h 3"/>
                  <a:gd name="T4" fmla="*/ 0 w 3"/>
                  <a:gd name="T5" fmla="*/ 1 h 3"/>
                  <a:gd name="T6" fmla="*/ 1 w 3"/>
                  <a:gd name="T7" fmla="*/ 3 h 3"/>
                </a:gdLst>
                <a:ahLst/>
                <a:cxnLst>
                  <a:cxn ang="0">
                    <a:pos x="T0" y="T1"/>
                  </a:cxn>
                  <a:cxn ang="0">
                    <a:pos x="T2" y="T3"/>
                  </a:cxn>
                  <a:cxn ang="0">
                    <a:pos x="T4" y="T5"/>
                  </a:cxn>
                  <a:cxn ang="0">
                    <a:pos x="T6" y="T7"/>
                  </a:cxn>
                </a:cxnLst>
                <a:rect l="0" t="0" r="r" b="b"/>
                <a:pathLst>
                  <a:path w="3" h="3">
                    <a:moveTo>
                      <a:pt x="1" y="3"/>
                    </a:moveTo>
                    <a:cubicBezTo>
                      <a:pt x="2" y="2"/>
                      <a:pt x="3" y="0"/>
                      <a:pt x="1" y="0"/>
                    </a:cubicBezTo>
                    <a:cubicBezTo>
                      <a:pt x="1" y="0"/>
                      <a:pt x="1" y="0"/>
                      <a:pt x="0" y="1"/>
                    </a:cubicBezTo>
                    <a:cubicBezTo>
                      <a:pt x="0" y="2"/>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5" name="Freeform 2172">
                <a:extLst>
                  <a:ext uri="{FF2B5EF4-FFF2-40B4-BE49-F238E27FC236}">
                    <a16:creationId xmlns:a16="http://schemas.microsoft.com/office/drawing/2014/main" id="{2BBD7A4D-BD22-48A5-86B7-35E14C15C632}"/>
                  </a:ext>
                </a:extLst>
              </p:cNvPr>
              <p:cNvSpPr>
                <a:spLocks/>
              </p:cNvSpPr>
              <p:nvPr/>
            </p:nvSpPr>
            <p:spPr bwMode="auto">
              <a:xfrm>
                <a:off x="3466" y="1158"/>
                <a:ext cx="5" cy="5"/>
              </a:xfrm>
              <a:custGeom>
                <a:avLst/>
                <a:gdLst>
                  <a:gd name="T0" fmla="*/ 2 w 2"/>
                  <a:gd name="T1" fmla="*/ 2 h 2"/>
                  <a:gd name="T2" fmla="*/ 1 w 2"/>
                  <a:gd name="T3" fmla="*/ 0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2" y="1"/>
                      <a:pt x="1" y="0"/>
                    </a:cubicBezTo>
                    <a:cubicBezTo>
                      <a:pt x="1" y="0"/>
                      <a:pt x="1" y="0"/>
                      <a:pt x="0" y="0"/>
                    </a:cubicBezTo>
                    <a:cubicBezTo>
                      <a:pt x="1"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6" name="Freeform 2173">
                <a:extLst>
                  <a:ext uri="{FF2B5EF4-FFF2-40B4-BE49-F238E27FC236}">
                    <a16:creationId xmlns:a16="http://schemas.microsoft.com/office/drawing/2014/main" id="{1D5763C0-8553-40C0-8ED1-84D2E32CD6D5}"/>
                  </a:ext>
                </a:extLst>
              </p:cNvPr>
              <p:cNvSpPr>
                <a:spLocks/>
              </p:cNvSpPr>
              <p:nvPr/>
            </p:nvSpPr>
            <p:spPr bwMode="auto">
              <a:xfrm>
                <a:off x="3398" y="1167"/>
                <a:ext cx="194" cy="291"/>
              </a:xfrm>
              <a:custGeom>
                <a:avLst/>
                <a:gdLst>
                  <a:gd name="T0" fmla="*/ 7 w 82"/>
                  <a:gd name="T1" fmla="*/ 19 h 123"/>
                  <a:gd name="T2" fmla="*/ 9 w 82"/>
                  <a:gd name="T3" fmla="*/ 23 h 123"/>
                  <a:gd name="T4" fmla="*/ 4 w 82"/>
                  <a:gd name="T5" fmla="*/ 28 h 123"/>
                  <a:gd name="T6" fmla="*/ 6 w 82"/>
                  <a:gd name="T7" fmla="*/ 32 h 123"/>
                  <a:gd name="T8" fmla="*/ 9 w 82"/>
                  <a:gd name="T9" fmla="*/ 31 h 123"/>
                  <a:gd name="T10" fmla="*/ 8 w 82"/>
                  <a:gd name="T11" fmla="*/ 33 h 123"/>
                  <a:gd name="T12" fmla="*/ 6 w 82"/>
                  <a:gd name="T13" fmla="*/ 40 h 123"/>
                  <a:gd name="T14" fmla="*/ 7 w 82"/>
                  <a:gd name="T15" fmla="*/ 42 h 123"/>
                  <a:gd name="T16" fmla="*/ 5 w 82"/>
                  <a:gd name="T17" fmla="*/ 48 h 123"/>
                  <a:gd name="T18" fmla="*/ 8 w 82"/>
                  <a:gd name="T19" fmla="*/ 44 h 123"/>
                  <a:gd name="T20" fmla="*/ 8 w 82"/>
                  <a:gd name="T21" fmla="*/ 40 h 123"/>
                  <a:gd name="T22" fmla="*/ 12 w 82"/>
                  <a:gd name="T23" fmla="*/ 37 h 123"/>
                  <a:gd name="T24" fmla="*/ 12 w 82"/>
                  <a:gd name="T25" fmla="*/ 40 h 123"/>
                  <a:gd name="T26" fmla="*/ 15 w 82"/>
                  <a:gd name="T27" fmla="*/ 36 h 123"/>
                  <a:gd name="T28" fmla="*/ 15 w 82"/>
                  <a:gd name="T29" fmla="*/ 43 h 123"/>
                  <a:gd name="T30" fmla="*/ 11 w 82"/>
                  <a:gd name="T31" fmla="*/ 54 h 123"/>
                  <a:gd name="T32" fmla="*/ 14 w 82"/>
                  <a:gd name="T33" fmla="*/ 56 h 123"/>
                  <a:gd name="T34" fmla="*/ 22 w 82"/>
                  <a:gd name="T35" fmla="*/ 57 h 123"/>
                  <a:gd name="T36" fmla="*/ 30 w 82"/>
                  <a:gd name="T37" fmla="*/ 55 h 123"/>
                  <a:gd name="T38" fmla="*/ 27 w 82"/>
                  <a:gd name="T39" fmla="*/ 61 h 123"/>
                  <a:gd name="T40" fmla="*/ 32 w 82"/>
                  <a:gd name="T41" fmla="*/ 66 h 123"/>
                  <a:gd name="T42" fmla="*/ 34 w 82"/>
                  <a:gd name="T43" fmla="*/ 71 h 123"/>
                  <a:gd name="T44" fmla="*/ 33 w 82"/>
                  <a:gd name="T45" fmla="*/ 76 h 123"/>
                  <a:gd name="T46" fmla="*/ 25 w 82"/>
                  <a:gd name="T47" fmla="*/ 77 h 123"/>
                  <a:gd name="T48" fmla="*/ 21 w 82"/>
                  <a:gd name="T49" fmla="*/ 77 h 123"/>
                  <a:gd name="T50" fmla="*/ 20 w 82"/>
                  <a:gd name="T51" fmla="*/ 79 h 123"/>
                  <a:gd name="T52" fmla="*/ 22 w 82"/>
                  <a:gd name="T53" fmla="*/ 83 h 123"/>
                  <a:gd name="T54" fmla="*/ 17 w 82"/>
                  <a:gd name="T55" fmla="*/ 93 h 123"/>
                  <a:gd name="T56" fmla="*/ 11 w 82"/>
                  <a:gd name="T57" fmla="*/ 100 h 123"/>
                  <a:gd name="T58" fmla="*/ 16 w 82"/>
                  <a:gd name="T59" fmla="*/ 99 h 123"/>
                  <a:gd name="T60" fmla="*/ 25 w 82"/>
                  <a:gd name="T61" fmla="*/ 102 h 123"/>
                  <a:gd name="T62" fmla="*/ 33 w 82"/>
                  <a:gd name="T63" fmla="*/ 105 h 123"/>
                  <a:gd name="T64" fmla="*/ 14 w 82"/>
                  <a:gd name="T65" fmla="*/ 115 h 123"/>
                  <a:gd name="T66" fmla="*/ 12 w 82"/>
                  <a:gd name="T67" fmla="*/ 120 h 123"/>
                  <a:gd name="T68" fmla="*/ 22 w 82"/>
                  <a:gd name="T69" fmla="*/ 118 h 123"/>
                  <a:gd name="T70" fmla="*/ 29 w 82"/>
                  <a:gd name="T71" fmla="*/ 113 h 123"/>
                  <a:gd name="T72" fmla="*/ 44 w 82"/>
                  <a:gd name="T73" fmla="*/ 114 h 123"/>
                  <a:gd name="T74" fmla="*/ 49 w 82"/>
                  <a:gd name="T75" fmla="*/ 110 h 123"/>
                  <a:gd name="T76" fmla="*/ 67 w 82"/>
                  <a:gd name="T77" fmla="*/ 112 h 123"/>
                  <a:gd name="T78" fmla="*/ 78 w 82"/>
                  <a:gd name="T79" fmla="*/ 104 h 123"/>
                  <a:gd name="T80" fmla="*/ 72 w 82"/>
                  <a:gd name="T81" fmla="*/ 102 h 123"/>
                  <a:gd name="T82" fmla="*/ 74 w 82"/>
                  <a:gd name="T83" fmla="*/ 98 h 123"/>
                  <a:gd name="T84" fmla="*/ 76 w 82"/>
                  <a:gd name="T85" fmla="*/ 95 h 123"/>
                  <a:gd name="T86" fmla="*/ 82 w 82"/>
                  <a:gd name="T87" fmla="*/ 88 h 123"/>
                  <a:gd name="T88" fmla="*/ 67 w 82"/>
                  <a:gd name="T89" fmla="*/ 84 h 123"/>
                  <a:gd name="T90" fmla="*/ 67 w 82"/>
                  <a:gd name="T91" fmla="*/ 80 h 123"/>
                  <a:gd name="T92" fmla="*/ 62 w 82"/>
                  <a:gd name="T93" fmla="*/ 72 h 123"/>
                  <a:gd name="T94" fmla="*/ 59 w 82"/>
                  <a:gd name="T95" fmla="*/ 62 h 123"/>
                  <a:gd name="T96" fmla="*/ 48 w 82"/>
                  <a:gd name="T97" fmla="*/ 48 h 123"/>
                  <a:gd name="T98" fmla="*/ 33 w 82"/>
                  <a:gd name="T99" fmla="*/ 37 h 123"/>
                  <a:gd name="T100" fmla="*/ 41 w 82"/>
                  <a:gd name="T101" fmla="*/ 27 h 123"/>
                  <a:gd name="T102" fmla="*/ 45 w 82"/>
                  <a:gd name="T103" fmla="*/ 18 h 123"/>
                  <a:gd name="T104" fmla="*/ 23 w 82"/>
                  <a:gd name="T105" fmla="*/ 16 h 123"/>
                  <a:gd name="T106" fmla="*/ 23 w 82"/>
                  <a:gd name="T107" fmla="*/ 15 h 123"/>
                  <a:gd name="T108" fmla="*/ 27 w 82"/>
                  <a:gd name="T109" fmla="*/ 8 h 123"/>
                  <a:gd name="T110" fmla="*/ 30 w 82"/>
                  <a:gd name="T111" fmla="*/ 0 h 123"/>
                  <a:gd name="T112" fmla="*/ 18 w 82"/>
                  <a:gd name="T113" fmla="*/ 3 h 123"/>
                  <a:gd name="T114" fmla="*/ 15 w 82"/>
                  <a:gd name="T115" fmla="*/ 1 h 123"/>
                  <a:gd name="T116" fmla="*/ 11 w 82"/>
                  <a:gd name="T117" fmla="*/ 6 h 123"/>
                  <a:gd name="T118" fmla="*/ 8 w 82"/>
                  <a:gd name="T119" fmla="*/ 9 h 123"/>
                  <a:gd name="T120" fmla="*/ 10 w 82"/>
                  <a:gd name="T121" fmla="*/ 12 h 123"/>
                  <a:gd name="T122" fmla="*/ 6 w 82"/>
                  <a:gd name="T123" fmla="*/ 13 h 123"/>
                  <a:gd name="T124" fmla="*/ 4 w 82"/>
                  <a:gd name="T125" fmla="*/ 1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123">
                    <a:moveTo>
                      <a:pt x="7" y="19"/>
                    </a:moveTo>
                    <a:cubicBezTo>
                      <a:pt x="7" y="19"/>
                      <a:pt x="7" y="19"/>
                      <a:pt x="7" y="19"/>
                    </a:cubicBezTo>
                    <a:cubicBezTo>
                      <a:pt x="7" y="19"/>
                      <a:pt x="7" y="19"/>
                      <a:pt x="7" y="19"/>
                    </a:cubicBezTo>
                    <a:cubicBezTo>
                      <a:pt x="7" y="19"/>
                      <a:pt x="7" y="19"/>
                      <a:pt x="7" y="19"/>
                    </a:cubicBezTo>
                    <a:cubicBezTo>
                      <a:pt x="6" y="20"/>
                      <a:pt x="6" y="20"/>
                      <a:pt x="5" y="20"/>
                    </a:cubicBezTo>
                    <a:cubicBezTo>
                      <a:pt x="7" y="21"/>
                      <a:pt x="7" y="21"/>
                      <a:pt x="8" y="20"/>
                    </a:cubicBezTo>
                    <a:cubicBezTo>
                      <a:pt x="8" y="21"/>
                      <a:pt x="6" y="21"/>
                      <a:pt x="6" y="22"/>
                    </a:cubicBezTo>
                    <a:cubicBezTo>
                      <a:pt x="6" y="23"/>
                      <a:pt x="8" y="23"/>
                      <a:pt x="9" y="23"/>
                    </a:cubicBezTo>
                    <a:cubicBezTo>
                      <a:pt x="7" y="24"/>
                      <a:pt x="7" y="23"/>
                      <a:pt x="6" y="23"/>
                    </a:cubicBezTo>
                    <a:cubicBezTo>
                      <a:pt x="4" y="23"/>
                      <a:pt x="6" y="25"/>
                      <a:pt x="7" y="25"/>
                    </a:cubicBezTo>
                    <a:cubicBezTo>
                      <a:pt x="6" y="26"/>
                      <a:pt x="5" y="24"/>
                      <a:pt x="4" y="25"/>
                    </a:cubicBezTo>
                    <a:cubicBezTo>
                      <a:pt x="3" y="25"/>
                      <a:pt x="4" y="27"/>
                      <a:pt x="4" y="28"/>
                    </a:cubicBezTo>
                    <a:cubicBezTo>
                      <a:pt x="4" y="28"/>
                      <a:pt x="4" y="28"/>
                      <a:pt x="4" y="28"/>
                    </a:cubicBezTo>
                    <a:cubicBezTo>
                      <a:pt x="3" y="28"/>
                      <a:pt x="1" y="28"/>
                      <a:pt x="0" y="29"/>
                    </a:cubicBezTo>
                    <a:cubicBezTo>
                      <a:pt x="1" y="30"/>
                      <a:pt x="3" y="31"/>
                      <a:pt x="4" y="31"/>
                    </a:cubicBezTo>
                    <a:cubicBezTo>
                      <a:pt x="5" y="32"/>
                      <a:pt x="5" y="32"/>
                      <a:pt x="6" y="32"/>
                    </a:cubicBezTo>
                    <a:cubicBezTo>
                      <a:pt x="8" y="31"/>
                      <a:pt x="10" y="29"/>
                      <a:pt x="12" y="27"/>
                    </a:cubicBezTo>
                    <a:cubicBezTo>
                      <a:pt x="12" y="28"/>
                      <a:pt x="12" y="29"/>
                      <a:pt x="13" y="29"/>
                    </a:cubicBezTo>
                    <a:cubicBezTo>
                      <a:pt x="12" y="29"/>
                      <a:pt x="11" y="30"/>
                      <a:pt x="10" y="30"/>
                    </a:cubicBezTo>
                    <a:cubicBezTo>
                      <a:pt x="9" y="30"/>
                      <a:pt x="9" y="31"/>
                      <a:pt x="9" y="31"/>
                    </a:cubicBezTo>
                    <a:cubicBezTo>
                      <a:pt x="9" y="31"/>
                      <a:pt x="10" y="31"/>
                      <a:pt x="10" y="31"/>
                    </a:cubicBezTo>
                    <a:cubicBezTo>
                      <a:pt x="9" y="32"/>
                      <a:pt x="8" y="31"/>
                      <a:pt x="8" y="32"/>
                    </a:cubicBezTo>
                    <a:cubicBezTo>
                      <a:pt x="10" y="33"/>
                      <a:pt x="10" y="33"/>
                      <a:pt x="12" y="32"/>
                    </a:cubicBezTo>
                    <a:cubicBezTo>
                      <a:pt x="10" y="34"/>
                      <a:pt x="10" y="32"/>
                      <a:pt x="8" y="33"/>
                    </a:cubicBezTo>
                    <a:cubicBezTo>
                      <a:pt x="8" y="33"/>
                      <a:pt x="6" y="35"/>
                      <a:pt x="7" y="36"/>
                    </a:cubicBezTo>
                    <a:cubicBezTo>
                      <a:pt x="7" y="36"/>
                      <a:pt x="7" y="37"/>
                      <a:pt x="7" y="37"/>
                    </a:cubicBezTo>
                    <a:cubicBezTo>
                      <a:pt x="7" y="37"/>
                      <a:pt x="7" y="37"/>
                      <a:pt x="7" y="37"/>
                    </a:cubicBezTo>
                    <a:cubicBezTo>
                      <a:pt x="7" y="38"/>
                      <a:pt x="6" y="39"/>
                      <a:pt x="6" y="40"/>
                    </a:cubicBezTo>
                    <a:cubicBezTo>
                      <a:pt x="6" y="40"/>
                      <a:pt x="6" y="39"/>
                      <a:pt x="7" y="39"/>
                    </a:cubicBezTo>
                    <a:cubicBezTo>
                      <a:pt x="7" y="39"/>
                      <a:pt x="6" y="40"/>
                      <a:pt x="6" y="41"/>
                    </a:cubicBezTo>
                    <a:cubicBezTo>
                      <a:pt x="6" y="41"/>
                      <a:pt x="7" y="41"/>
                      <a:pt x="7" y="40"/>
                    </a:cubicBezTo>
                    <a:cubicBezTo>
                      <a:pt x="6" y="41"/>
                      <a:pt x="5" y="42"/>
                      <a:pt x="7" y="42"/>
                    </a:cubicBezTo>
                    <a:cubicBezTo>
                      <a:pt x="7" y="42"/>
                      <a:pt x="8" y="42"/>
                      <a:pt x="8" y="42"/>
                    </a:cubicBezTo>
                    <a:cubicBezTo>
                      <a:pt x="7" y="43"/>
                      <a:pt x="6" y="43"/>
                      <a:pt x="6" y="45"/>
                    </a:cubicBezTo>
                    <a:cubicBezTo>
                      <a:pt x="6" y="46"/>
                      <a:pt x="6" y="46"/>
                      <a:pt x="5" y="47"/>
                    </a:cubicBezTo>
                    <a:cubicBezTo>
                      <a:pt x="5" y="47"/>
                      <a:pt x="5" y="48"/>
                      <a:pt x="5" y="48"/>
                    </a:cubicBezTo>
                    <a:cubicBezTo>
                      <a:pt x="5" y="49"/>
                      <a:pt x="7" y="49"/>
                      <a:pt x="7" y="49"/>
                    </a:cubicBezTo>
                    <a:cubicBezTo>
                      <a:pt x="8" y="48"/>
                      <a:pt x="7" y="48"/>
                      <a:pt x="7" y="47"/>
                    </a:cubicBezTo>
                    <a:cubicBezTo>
                      <a:pt x="7" y="47"/>
                      <a:pt x="8" y="46"/>
                      <a:pt x="8" y="45"/>
                    </a:cubicBezTo>
                    <a:cubicBezTo>
                      <a:pt x="8" y="45"/>
                      <a:pt x="8" y="45"/>
                      <a:pt x="8" y="44"/>
                    </a:cubicBezTo>
                    <a:cubicBezTo>
                      <a:pt x="8" y="44"/>
                      <a:pt x="8" y="43"/>
                      <a:pt x="9" y="43"/>
                    </a:cubicBezTo>
                    <a:cubicBezTo>
                      <a:pt x="9" y="43"/>
                      <a:pt x="10" y="43"/>
                      <a:pt x="10" y="42"/>
                    </a:cubicBezTo>
                    <a:cubicBezTo>
                      <a:pt x="10" y="42"/>
                      <a:pt x="9" y="41"/>
                      <a:pt x="9" y="41"/>
                    </a:cubicBezTo>
                    <a:cubicBezTo>
                      <a:pt x="9" y="41"/>
                      <a:pt x="8" y="40"/>
                      <a:pt x="8" y="40"/>
                    </a:cubicBezTo>
                    <a:cubicBezTo>
                      <a:pt x="8" y="39"/>
                      <a:pt x="9" y="40"/>
                      <a:pt x="9" y="39"/>
                    </a:cubicBezTo>
                    <a:cubicBezTo>
                      <a:pt x="10" y="39"/>
                      <a:pt x="10" y="38"/>
                      <a:pt x="11" y="37"/>
                    </a:cubicBezTo>
                    <a:cubicBezTo>
                      <a:pt x="11" y="37"/>
                      <a:pt x="12" y="36"/>
                      <a:pt x="13" y="36"/>
                    </a:cubicBezTo>
                    <a:cubicBezTo>
                      <a:pt x="12" y="36"/>
                      <a:pt x="12" y="37"/>
                      <a:pt x="12" y="37"/>
                    </a:cubicBezTo>
                    <a:cubicBezTo>
                      <a:pt x="11" y="37"/>
                      <a:pt x="11" y="37"/>
                      <a:pt x="11" y="38"/>
                    </a:cubicBezTo>
                    <a:cubicBezTo>
                      <a:pt x="10" y="39"/>
                      <a:pt x="9" y="40"/>
                      <a:pt x="10" y="41"/>
                    </a:cubicBezTo>
                    <a:cubicBezTo>
                      <a:pt x="11" y="41"/>
                      <a:pt x="11" y="40"/>
                      <a:pt x="11" y="40"/>
                    </a:cubicBezTo>
                    <a:cubicBezTo>
                      <a:pt x="11" y="41"/>
                      <a:pt x="12" y="41"/>
                      <a:pt x="12" y="40"/>
                    </a:cubicBezTo>
                    <a:cubicBezTo>
                      <a:pt x="13" y="41"/>
                      <a:pt x="13" y="42"/>
                      <a:pt x="14" y="40"/>
                    </a:cubicBezTo>
                    <a:cubicBezTo>
                      <a:pt x="14" y="39"/>
                      <a:pt x="14" y="38"/>
                      <a:pt x="14" y="37"/>
                    </a:cubicBezTo>
                    <a:cubicBezTo>
                      <a:pt x="14" y="37"/>
                      <a:pt x="14" y="37"/>
                      <a:pt x="14" y="38"/>
                    </a:cubicBezTo>
                    <a:cubicBezTo>
                      <a:pt x="15" y="37"/>
                      <a:pt x="15" y="37"/>
                      <a:pt x="15" y="36"/>
                    </a:cubicBezTo>
                    <a:cubicBezTo>
                      <a:pt x="16" y="38"/>
                      <a:pt x="15" y="39"/>
                      <a:pt x="17" y="40"/>
                    </a:cubicBezTo>
                    <a:cubicBezTo>
                      <a:pt x="17" y="40"/>
                      <a:pt x="18" y="40"/>
                      <a:pt x="18" y="40"/>
                    </a:cubicBezTo>
                    <a:cubicBezTo>
                      <a:pt x="17" y="40"/>
                      <a:pt x="16" y="40"/>
                      <a:pt x="15" y="40"/>
                    </a:cubicBezTo>
                    <a:cubicBezTo>
                      <a:pt x="13" y="40"/>
                      <a:pt x="14" y="42"/>
                      <a:pt x="15" y="43"/>
                    </a:cubicBezTo>
                    <a:cubicBezTo>
                      <a:pt x="15" y="45"/>
                      <a:pt x="15" y="44"/>
                      <a:pt x="16" y="45"/>
                    </a:cubicBezTo>
                    <a:cubicBezTo>
                      <a:pt x="18" y="47"/>
                      <a:pt x="15" y="50"/>
                      <a:pt x="14" y="51"/>
                    </a:cubicBezTo>
                    <a:cubicBezTo>
                      <a:pt x="13" y="52"/>
                      <a:pt x="13" y="53"/>
                      <a:pt x="12" y="54"/>
                    </a:cubicBezTo>
                    <a:cubicBezTo>
                      <a:pt x="12" y="54"/>
                      <a:pt x="11" y="54"/>
                      <a:pt x="11" y="54"/>
                    </a:cubicBezTo>
                    <a:cubicBezTo>
                      <a:pt x="11" y="55"/>
                      <a:pt x="12" y="56"/>
                      <a:pt x="12" y="56"/>
                    </a:cubicBezTo>
                    <a:cubicBezTo>
                      <a:pt x="12" y="56"/>
                      <a:pt x="13" y="57"/>
                      <a:pt x="13" y="57"/>
                    </a:cubicBezTo>
                    <a:cubicBezTo>
                      <a:pt x="13" y="58"/>
                      <a:pt x="13" y="59"/>
                      <a:pt x="14" y="59"/>
                    </a:cubicBezTo>
                    <a:cubicBezTo>
                      <a:pt x="14" y="58"/>
                      <a:pt x="13" y="56"/>
                      <a:pt x="14" y="56"/>
                    </a:cubicBezTo>
                    <a:cubicBezTo>
                      <a:pt x="15" y="55"/>
                      <a:pt x="17" y="57"/>
                      <a:pt x="18" y="58"/>
                    </a:cubicBezTo>
                    <a:cubicBezTo>
                      <a:pt x="18" y="58"/>
                      <a:pt x="19" y="58"/>
                      <a:pt x="19" y="58"/>
                    </a:cubicBezTo>
                    <a:cubicBezTo>
                      <a:pt x="20" y="56"/>
                      <a:pt x="19" y="56"/>
                      <a:pt x="19" y="56"/>
                    </a:cubicBezTo>
                    <a:cubicBezTo>
                      <a:pt x="18" y="54"/>
                      <a:pt x="21" y="56"/>
                      <a:pt x="22" y="57"/>
                    </a:cubicBezTo>
                    <a:cubicBezTo>
                      <a:pt x="24" y="57"/>
                      <a:pt x="25" y="56"/>
                      <a:pt x="26" y="55"/>
                    </a:cubicBezTo>
                    <a:cubicBezTo>
                      <a:pt x="27" y="54"/>
                      <a:pt x="27" y="54"/>
                      <a:pt x="28" y="54"/>
                    </a:cubicBezTo>
                    <a:cubicBezTo>
                      <a:pt x="30" y="54"/>
                      <a:pt x="31" y="54"/>
                      <a:pt x="33" y="54"/>
                    </a:cubicBezTo>
                    <a:cubicBezTo>
                      <a:pt x="32" y="54"/>
                      <a:pt x="30" y="54"/>
                      <a:pt x="30" y="55"/>
                    </a:cubicBezTo>
                    <a:cubicBezTo>
                      <a:pt x="30" y="55"/>
                      <a:pt x="30" y="55"/>
                      <a:pt x="30" y="55"/>
                    </a:cubicBezTo>
                    <a:cubicBezTo>
                      <a:pt x="29" y="56"/>
                      <a:pt x="29" y="57"/>
                      <a:pt x="28" y="57"/>
                    </a:cubicBezTo>
                    <a:cubicBezTo>
                      <a:pt x="28" y="58"/>
                      <a:pt x="27" y="59"/>
                      <a:pt x="27" y="60"/>
                    </a:cubicBezTo>
                    <a:cubicBezTo>
                      <a:pt x="27" y="60"/>
                      <a:pt x="27" y="60"/>
                      <a:pt x="27" y="61"/>
                    </a:cubicBezTo>
                    <a:cubicBezTo>
                      <a:pt x="27" y="61"/>
                      <a:pt x="29" y="63"/>
                      <a:pt x="29" y="64"/>
                    </a:cubicBezTo>
                    <a:cubicBezTo>
                      <a:pt x="29" y="64"/>
                      <a:pt x="29" y="64"/>
                      <a:pt x="30" y="65"/>
                    </a:cubicBezTo>
                    <a:cubicBezTo>
                      <a:pt x="30" y="65"/>
                      <a:pt x="31" y="66"/>
                      <a:pt x="31" y="66"/>
                    </a:cubicBezTo>
                    <a:cubicBezTo>
                      <a:pt x="32" y="66"/>
                      <a:pt x="32" y="67"/>
                      <a:pt x="32" y="66"/>
                    </a:cubicBezTo>
                    <a:cubicBezTo>
                      <a:pt x="33" y="64"/>
                      <a:pt x="33" y="65"/>
                      <a:pt x="35" y="65"/>
                    </a:cubicBezTo>
                    <a:cubicBezTo>
                      <a:pt x="34" y="66"/>
                      <a:pt x="34" y="67"/>
                      <a:pt x="33" y="68"/>
                    </a:cubicBezTo>
                    <a:cubicBezTo>
                      <a:pt x="33" y="68"/>
                      <a:pt x="33" y="69"/>
                      <a:pt x="33" y="69"/>
                    </a:cubicBezTo>
                    <a:cubicBezTo>
                      <a:pt x="33" y="70"/>
                      <a:pt x="33" y="71"/>
                      <a:pt x="34" y="71"/>
                    </a:cubicBezTo>
                    <a:cubicBezTo>
                      <a:pt x="34" y="72"/>
                      <a:pt x="33" y="72"/>
                      <a:pt x="33" y="73"/>
                    </a:cubicBezTo>
                    <a:cubicBezTo>
                      <a:pt x="33" y="73"/>
                      <a:pt x="32" y="73"/>
                      <a:pt x="32" y="74"/>
                    </a:cubicBezTo>
                    <a:cubicBezTo>
                      <a:pt x="32" y="75"/>
                      <a:pt x="35" y="76"/>
                      <a:pt x="35" y="77"/>
                    </a:cubicBezTo>
                    <a:cubicBezTo>
                      <a:pt x="33" y="78"/>
                      <a:pt x="34" y="76"/>
                      <a:pt x="33" y="76"/>
                    </a:cubicBezTo>
                    <a:cubicBezTo>
                      <a:pt x="33" y="76"/>
                      <a:pt x="31" y="76"/>
                      <a:pt x="31" y="76"/>
                    </a:cubicBezTo>
                    <a:cubicBezTo>
                      <a:pt x="31" y="76"/>
                      <a:pt x="32" y="78"/>
                      <a:pt x="32" y="78"/>
                    </a:cubicBezTo>
                    <a:cubicBezTo>
                      <a:pt x="31" y="78"/>
                      <a:pt x="30" y="78"/>
                      <a:pt x="28" y="78"/>
                    </a:cubicBezTo>
                    <a:cubicBezTo>
                      <a:pt x="27" y="77"/>
                      <a:pt x="25" y="77"/>
                      <a:pt x="25" y="77"/>
                    </a:cubicBezTo>
                    <a:cubicBezTo>
                      <a:pt x="24" y="77"/>
                      <a:pt x="24" y="78"/>
                      <a:pt x="23" y="78"/>
                    </a:cubicBezTo>
                    <a:cubicBezTo>
                      <a:pt x="23" y="78"/>
                      <a:pt x="22" y="78"/>
                      <a:pt x="21" y="79"/>
                    </a:cubicBezTo>
                    <a:cubicBezTo>
                      <a:pt x="22" y="78"/>
                      <a:pt x="22" y="78"/>
                      <a:pt x="23" y="77"/>
                    </a:cubicBezTo>
                    <a:cubicBezTo>
                      <a:pt x="22" y="77"/>
                      <a:pt x="21" y="77"/>
                      <a:pt x="21" y="77"/>
                    </a:cubicBezTo>
                    <a:cubicBezTo>
                      <a:pt x="20" y="76"/>
                      <a:pt x="20" y="76"/>
                      <a:pt x="20" y="76"/>
                    </a:cubicBezTo>
                    <a:cubicBezTo>
                      <a:pt x="19" y="75"/>
                      <a:pt x="18" y="76"/>
                      <a:pt x="17" y="76"/>
                    </a:cubicBezTo>
                    <a:cubicBezTo>
                      <a:pt x="18" y="77"/>
                      <a:pt x="19" y="79"/>
                      <a:pt x="19" y="80"/>
                    </a:cubicBezTo>
                    <a:cubicBezTo>
                      <a:pt x="20" y="80"/>
                      <a:pt x="20" y="79"/>
                      <a:pt x="20" y="79"/>
                    </a:cubicBezTo>
                    <a:cubicBezTo>
                      <a:pt x="20" y="80"/>
                      <a:pt x="19" y="81"/>
                      <a:pt x="19" y="81"/>
                    </a:cubicBezTo>
                    <a:cubicBezTo>
                      <a:pt x="19" y="83"/>
                      <a:pt x="16" y="83"/>
                      <a:pt x="15" y="84"/>
                    </a:cubicBezTo>
                    <a:cubicBezTo>
                      <a:pt x="17" y="85"/>
                      <a:pt x="18" y="84"/>
                      <a:pt x="19" y="83"/>
                    </a:cubicBezTo>
                    <a:cubicBezTo>
                      <a:pt x="20" y="83"/>
                      <a:pt x="21" y="83"/>
                      <a:pt x="22" y="83"/>
                    </a:cubicBezTo>
                    <a:cubicBezTo>
                      <a:pt x="22" y="84"/>
                      <a:pt x="21" y="84"/>
                      <a:pt x="22" y="86"/>
                    </a:cubicBezTo>
                    <a:cubicBezTo>
                      <a:pt x="22" y="87"/>
                      <a:pt x="22" y="87"/>
                      <a:pt x="24" y="88"/>
                    </a:cubicBezTo>
                    <a:cubicBezTo>
                      <a:pt x="23" y="89"/>
                      <a:pt x="22" y="91"/>
                      <a:pt x="21" y="92"/>
                    </a:cubicBezTo>
                    <a:cubicBezTo>
                      <a:pt x="20" y="93"/>
                      <a:pt x="18" y="93"/>
                      <a:pt x="17" y="93"/>
                    </a:cubicBezTo>
                    <a:cubicBezTo>
                      <a:pt x="15" y="95"/>
                      <a:pt x="12" y="96"/>
                      <a:pt x="10" y="97"/>
                    </a:cubicBezTo>
                    <a:cubicBezTo>
                      <a:pt x="10" y="97"/>
                      <a:pt x="11" y="98"/>
                      <a:pt x="12" y="98"/>
                    </a:cubicBezTo>
                    <a:cubicBezTo>
                      <a:pt x="11" y="99"/>
                      <a:pt x="11" y="99"/>
                      <a:pt x="10" y="99"/>
                    </a:cubicBezTo>
                    <a:cubicBezTo>
                      <a:pt x="11" y="99"/>
                      <a:pt x="11" y="99"/>
                      <a:pt x="11" y="100"/>
                    </a:cubicBezTo>
                    <a:cubicBezTo>
                      <a:pt x="12" y="99"/>
                      <a:pt x="13" y="99"/>
                      <a:pt x="14" y="98"/>
                    </a:cubicBezTo>
                    <a:cubicBezTo>
                      <a:pt x="14" y="100"/>
                      <a:pt x="13" y="100"/>
                      <a:pt x="12" y="100"/>
                    </a:cubicBezTo>
                    <a:cubicBezTo>
                      <a:pt x="13" y="100"/>
                      <a:pt x="12" y="101"/>
                      <a:pt x="13" y="100"/>
                    </a:cubicBezTo>
                    <a:cubicBezTo>
                      <a:pt x="14" y="100"/>
                      <a:pt x="15" y="99"/>
                      <a:pt x="16" y="99"/>
                    </a:cubicBezTo>
                    <a:cubicBezTo>
                      <a:pt x="17" y="99"/>
                      <a:pt x="18" y="99"/>
                      <a:pt x="19" y="99"/>
                    </a:cubicBezTo>
                    <a:cubicBezTo>
                      <a:pt x="18" y="98"/>
                      <a:pt x="22" y="100"/>
                      <a:pt x="22" y="100"/>
                    </a:cubicBezTo>
                    <a:cubicBezTo>
                      <a:pt x="21" y="100"/>
                      <a:pt x="20" y="100"/>
                      <a:pt x="20" y="101"/>
                    </a:cubicBezTo>
                    <a:cubicBezTo>
                      <a:pt x="22" y="102"/>
                      <a:pt x="24" y="102"/>
                      <a:pt x="25" y="102"/>
                    </a:cubicBezTo>
                    <a:cubicBezTo>
                      <a:pt x="26" y="102"/>
                      <a:pt x="27" y="102"/>
                      <a:pt x="27" y="103"/>
                    </a:cubicBezTo>
                    <a:cubicBezTo>
                      <a:pt x="28" y="103"/>
                      <a:pt x="28" y="103"/>
                      <a:pt x="29" y="103"/>
                    </a:cubicBezTo>
                    <a:cubicBezTo>
                      <a:pt x="32" y="102"/>
                      <a:pt x="35" y="101"/>
                      <a:pt x="38" y="100"/>
                    </a:cubicBezTo>
                    <a:cubicBezTo>
                      <a:pt x="36" y="101"/>
                      <a:pt x="35" y="103"/>
                      <a:pt x="33" y="105"/>
                    </a:cubicBezTo>
                    <a:cubicBezTo>
                      <a:pt x="32" y="106"/>
                      <a:pt x="34" y="106"/>
                      <a:pt x="32" y="106"/>
                    </a:cubicBezTo>
                    <a:cubicBezTo>
                      <a:pt x="29" y="106"/>
                      <a:pt x="25" y="105"/>
                      <a:pt x="22" y="106"/>
                    </a:cubicBezTo>
                    <a:cubicBezTo>
                      <a:pt x="20" y="106"/>
                      <a:pt x="17" y="109"/>
                      <a:pt x="17" y="111"/>
                    </a:cubicBezTo>
                    <a:cubicBezTo>
                      <a:pt x="17" y="113"/>
                      <a:pt x="15" y="114"/>
                      <a:pt x="14" y="115"/>
                    </a:cubicBezTo>
                    <a:cubicBezTo>
                      <a:pt x="11" y="115"/>
                      <a:pt x="8" y="120"/>
                      <a:pt x="5" y="121"/>
                    </a:cubicBezTo>
                    <a:cubicBezTo>
                      <a:pt x="7" y="121"/>
                      <a:pt x="9" y="121"/>
                      <a:pt x="10" y="122"/>
                    </a:cubicBezTo>
                    <a:cubicBezTo>
                      <a:pt x="10" y="122"/>
                      <a:pt x="10" y="123"/>
                      <a:pt x="11" y="123"/>
                    </a:cubicBezTo>
                    <a:cubicBezTo>
                      <a:pt x="11" y="122"/>
                      <a:pt x="12" y="121"/>
                      <a:pt x="12" y="120"/>
                    </a:cubicBezTo>
                    <a:cubicBezTo>
                      <a:pt x="14" y="119"/>
                      <a:pt x="16" y="119"/>
                      <a:pt x="18" y="118"/>
                    </a:cubicBezTo>
                    <a:cubicBezTo>
                      <a:pt x="19" y="118"/>
                      <a:pt x="20" y="118"/>
                      <a:pt x="21" y="118"/>
                    </a:cubicBezTo>
                    <a:cubicBezTo>
                      <a:pt x="21" y="117"/>
                      <a:pt x="21" y="117"/>
                      <a:pt x="21" y="116"/>
                    </a:cubicBezTo>
                    <a:cubicBezTo>
                      <a:pt x="21" y="117"/>
                      <a:pt x="22" y="118"/>
                      <a:pt x="22" y="118"/>
                    </a:cubicBezTo>
                    <a:cubicBezTo>
                      <a:pt x="23" y="118"/>
                      <a:pt x="23" y="118"/>
                      <a:pt x="23" y="118"/>
                    </a:cubicBezTo>
                    <a:cubicBezTo>
                      <a:pt x="24" y="118"/>
                      <a:pt x="25" y="119"/>
                      <a:pt x="25" y="119"/>
                    </a:cubicBezTo>
                    <a:cubicBezTo>
                      <a:pt x="27" y="120"/>
                      <a:pt x="28" y="117"/>
                      <a:pt x="28" y="115"/>
                    </a:cubicBezTo>
                    <a:cubicBezTo>
                      <a:pt x="28" y="115"/>
                      <a:pt x="29" y="114"/>
                      <a:pt x="29" y="113"/>
                    </a:cubicBezTo>
                    <a:cubicBezTo>
                      <a:pt x="31" y="113"/>
                      <a:pt x="35" y="112"/>
                      <a:pt x="38" y="114"/>
                    </a:cubicBezTo>
                    <a:cubicBezTo>
                      <a:pt x="38" y="114"/>
                      <a:pt x="39" y="115"/>
                      <a:pt x="39" y="115"/>
                    </a:cubicBezTo>
                    <a:cubicBezTo>
                      <a:pt x="40" y="115"/>
                      <a:pt x="40" y="114"/>
                      <a:pt x="41" y="114"/>
                    </a:cubicBezTo>
                    <a:cubicBezTo>
                      <a:pt x="41" y="114"/>
                      <a:pt x="43" y="114"/>
                      <a:pt x="44" y="114"/>
                    </a:cubicBezTo>
                    <a:cubicBezTo>
                      <a:pt x="44" y="113"/>
                      <a:pt x="43" y="113"/>
                      <a:pt x="43" y="113"/>
                    </a:cubicBezTo>
                    <a:cubicBezTo>
                      <a:pt x="43" y="112"/>
                      <a:pt x="44" y="112"/>
                      <a:pt x="45" y="112"/>
                    </a:cubicBezTo>
                    <a:cubicBezTo>
                      <a:pt x="47" y="112"/>
                      <a:pt x="48" y="112"/>
                      <a:pt x="50" y="110"/>
                    </a:cubicBezTo>
                    <a:cubicBezTo>
                      <a:pt x="49" y="110"/>
                      <a:pt x="49" y="110"/>
                      <a:pt x="49" y="110"/>
                    </a:cubicBezTo>
                    <a:cubicBezTo>
                      <a:pt x="50" y="110"/>
                      <a:pt x="52" y="111"/>
                      <a:pt x="53" y="111"/>
                    </a:cubicBezTo>
                    <a:cubicBezTo>
                      <a:pt x="54" y="111"/>
                      <a:pt x="55" y="111"/>
                      <a:pt x="56" y="112"/>
                    </a:cubicBezTo>
                    <a:cubicBezTo>
                      <a:pt x="56" y="113"/>
                      <a:pt x="61" y="111"/>
                      <a:pt x="63" y="111"/>
                    </a:cubicBezTo>
                    <a:cubicBezTo>
                      <a:pt x="64" y="112"/>
                      <a:pt x="66" y="112"/>
                      <a:pt x="67" y="112"/>
                    </a:cubicBezTo>
                    <a:cubicBezTo>
                      <a:pt x="69" y="112"/>
                      <a:pt x="72" y="110"/>
                      <a:pt x="74" y="109"/>
                    </a:cubicBezTo>
                    <a:cubicBezTo>
                      <a:pt x="75" y="109"/>
                      <a:pt x="77" y="108"/>
                      <a:pt x="78" y="107"/>
                    </a:cubicBezTo>
                    <a:cubicBezTo>
                      <a:pt x="78" y="106"/>
                      <a:pt x="78" y="106"/>
                      <a:pt x="78" y="105"/>
                    </a:cubicBezTo>
                    <a:cubicBezTo>
                      <a:pt x="78" y="105"/>
                      <a:pt x="78" y="104"/>
                      <a:pt x="78" y="104"/>
                    </a:cubicBezTo>
                    <a:cubicBezTo>
                      <a:pt x="78" y="103"/>
                      <a:pt x="79" y="104"/>
                      <a:pt x="77" y="103"/>
                    </a:cubicBezTo>
                    <a:cubicBezTo>
                      <a:pt x="74" y="103"/>
                      <a:pt x="71" y="103"/>
                      <a:pt x="68" y="103"/>
                    </a:cubicBezTo>
                    <a:cubicBezTo>
                      <a:pt x="69" y="102"/>
                      <a:pt x="70" y="102"/>
                      <a:pt x="71" y="102"/>
                    </a:cubicBezTo>
                    <a:cubicBezTo>
                      <a:pt x="71" y="102"/>
                      <a:pt x="72" y="102"/>
                      <a:pt x="72" y="102"/>
                    </a:cubicBezTo>
                    <a:cubicBezTo>
                      <a:pt x="72" y="102"/>
                      <a:pt x="73" y="101"/>
                      <a:pt x="73" y="101"/>
                    </a:cubicBezTo>
                    <a:cubicBezTo>
                      <a:pt x="74" y="100"/>
                      <a:pt x="73" y="99"/>
                      <a:pt x="72" y="99"/>
                    </a:cubicBezTo>
                    <a:cubicBezTo>
                      <a:pt x="72" y="99"/>
                      <a:pt x="72" y="100"/>
                      <a:pt x="71" y="99"/>
                    </a:cubicBezTo>
                    <a:cubicBezTo>
                      <a:pt x="72" y="99"/>
                      <a:pt x="74" y="98"/>
                      <a:pt x="74" y="98"/>
                    </a:cubicBezTo>
                    <a:cubicBezTo>
                      <a:pt x="75" y="98"/>
                      <a:pt x="75" y="98"/>
                      <a:pt x="75" y="98"/>
                    </a:cubicBezTo>
                    <a:cubicBezTo>
                      <a:pt x="77" y="98"/>
                      <a:pt x="76" y="97"/>
                      <a:pt x="75" y="96"/>
                    </a:cubicBezTo>
                    <a:cubicBezTo>
                      <a:pt x="75" y="96"/>
                      <a:pt x="76" y="96"/>
                      <a:pt x="77" y="96"/>
                    </a:cubicBezTo>
                    <a:cubicBezTo>
                      <a:pt x="76" y="96"/>
                      <a:pt x="76" y="95"/>
                      <a:pt x="76" y="95"/>
                    </a:cubicBezTo>
                    <a:cubicBezTo>
                      <a:pt x="76" y="95"/>
                      <a:pt x="77" y="96"/>
                      <a:pt x="77" y="96"/>
                    </a:cubicBezTo>
                    <a:cubicBezTo>
                      <a:pt x="78" y="96"/>
                      <a:pt x="78" y="96"/>
                      <a:pt x="79" y="95"/>
                    </a:cubicBezTo>
                    <a:cubicBezTo>
                      <a:pt x="79" y="95"/>
                      <a:pt x="80" y="95"/>
                      <a:pt x="80" y="94"/>
                    </a:cubicBezTo>
                    <a:cubicBezTo>
                      <a:pt x="81" y="93"/>
                      <a:pt x="82" y="90"/>
                      <a:pt x="82" y="88"/>
                    </a:cubicBezTo>
                    <a:cubicBezTo>
                      <a:pt x="82" y="86"/>
                      <a:pt x="80" y="84"/>
                      <a:pt x="78" y="83"/>
                    </a:cubicBezTo>
                    <a:cubicBezTo>
                      <a:pt x="77" y="82"/>
                      <a:pt x="73" y="82"/>
                      <a:pt x="71" y="82"/>
                    </a:cubicBezTo>
                    <a:cubicBezTo>
                      <a:pt x="70" y="82"/>
                      <a:pt x="70" y="82"/>
                      <a:pt x="69" y="83"/>
                    </a:cubicBezTo>
                    <a:cubicBezTo>
                      <a:pt x="68" y="83"/>
                      <a:pt x="68" y="84"/>
                      <a:pt x="67" y="84"/>
                    </a:cubicBezTo>
                    <a:cubicBezTo>
                      <a:pt x="67" y="84"/>
                      <a:pt x="66" y="84"/>
                      <a:pt x="65" y="83"/>
                    </a:cubicBezTo>
                    <a:cubicBezTo>
                      <a:pt x="65" y="83"/>
                      <a:pt x="65" y="83"/>
                      <a:pt x="64" y="83"/>
                    </a:cubicBezTo>
                    <a:cubicBezTo>
                      <a:pt x="64" y="83"/>
                      <a:pt x="65" y="82"/>
                      <a:pt x="65" y="82"/>
                    </a:cubicBezTo>
                    <a:cubicBezTo>
                      <a:pt x="66" y="81"/>
                      <a:pt x="66" y="81"/>
                      <a:pt x="67" y="80"/>
                    </a:cubicBezTo>
                    <a:cubicBezTo>
                      <a:pt x="69" y="78"/>
                      <a:pt x="64" y="75"/>
                      <a:pt x="62" y="73"/>
                    </a:cubicBezTo>
                    <a:cubicBezTo>
                      <a:pt x="62" y="73"/>
                      <a:pt x="61" y="72"/>
                      <a:pt x="60" y="72"/>
                    </a:cubicBezTo>
                    <a:cubicBezTo>
                      <a:pt x="59" y="72"/>
                      <a:pt x="59" y="73"/>
                      <a:pt x="58" y="72"/>
                    </a:cubicBezTo>
                    <a:cubicBezTo>
                      <a:pt x="59" y="72"/>
                      <a:pt x="61" y="71"/>
                      <a:pt x="62" y="72"/>
                    </a:cubicBezTo>
                    <a:cubicBezTo>
                      <a:pt x="62" y="72"/>
                      <a:pt x="62" y="73"/>
                      <a:pt x="63" y="73"/>
                    </a:cubicBezTo>
                    <a:cubicBezTo>
                      <a:pt x="64" y="73"/>
                      <a:pt x="64" y="72"/>
                      <a:pt x="65" y="73"/>
                    </a:cubicBezTo>
                    <a:cubicBezTo>
                      <a:pt x="64" y="71"/>
                      <a:pt x="63" y="68"/>
                      <a:pt x="62" y="66"/>
                    </a:cubicBezTo>
                    <a:cubicBezTo>
                      <a:pt x="61" y="64"/>
                      <a:pt x="60" y="63"/>
                      <a:pt x="59" y="62"/>
                    </a:cubicBezTo>
                    <a:cubicBezTo>
                      <a:pt x="58" y="62"/>
                      <a:pt x="57" y="60"/>
                      <a:pt x="56" y="60"/>
                    </a:cubicBezTo>
                    <a:cubicBezTo>
                      <a:pt x="54" y="59"/>
                      <a:pt x="53" y="58"/>
                      <a:pt x="51" y="58"/>
                    </a:cubicBezTo>
                    <a:cubicBezTo>
                      <a:pt x="51" y="57"/>
                      <a:pt x="50" y="55"/>
                      <a:pt x="50" y="54"/>
                    </a:cubicBezTo>
                    <a:cubicBezTo>
                      <a:pt x="49" y="52"/>
                      <a:pt x="48" y="50"/>
                      <a:pt x="48" y="48"/>
                    </a:cubicBezTo>
                    <a:cubicBezTo>
                      <a:pt x="47" y="44"/>
                      <a:pt x="44" y="43"/>
                      <a:pt x="42" y="41"/>
                    </a:cubicBezTo>
                    <a:cubicBezTo>
                      <a:pt x="37" y="38"/>
                      <a:pt x="31" y="40"/>
                      <a:pt x="26" y="38"/>
                    </a:cubicBezTo>
                    <a:cubicBezTo>
                      <a:pt x="27" y="38"/>
                      <a:pt x="28" y="39"/>
                      <a:pt x="30" y="39"/>
                    </a:cubicBezTo>
                    <a:cubicBezTo>
                      <a:pt x="31" y="39"/>
                      <a:pt x="32" y="38"/>
                      <a:pt x="33" y="37"/>
                    </a:cubicBezTo>
                    <a:cubicBezTo>
                      <a:pt x="34" y="36"/>
                      <a:pt x="34" y="37"/>
                      <a:pt x="35" y="37"/>
                    </a:cubicBezTo>
                    <a:cubicBezTo>
                      <a:pt x="38" y="36"/>
                      <a:pt x="36" y="33"/>
                      <a:pt x="35" y="33"/>
                    </a:cubicBezTo>
                    <a:cubicBezTo>
                      <a:pt x="37" y="32"/>
                      <a:pt x="38" y="30"/>
                      <a:pt x="39" y="29"/>
                    </a:cubicBezTo>
                    <a:cubicBezTo>
                      <a:pt x="39" y="28"/>
                      <a:pt x="40" y="28"/>
                      <a:pt x="41" y="27"/>
                    </a:cubicBezTo>
                    <a:cubicBezTo>
                      <a:pt x="41" y="26"/>
                      <a:pt x="41" y="26"/>
                      <a:pt x="42" y="25"/>
                    </a:cubicBezTo>
                    <a:cubicBezTo>
                      <a:pt x="42" y="24"/>
                      <a:pt x="43" y="24"/>
                      <a:pt x="43" y="23"/>
                    </a:cubicBezTo>
                    <a:cubicBezTo>
                      <a:pt x="43" y="22"/>
                      <a:pt x="43" y="21"/>
                      <a:pt x="44" y="20"/>
                    </a:cubicBezTo>
                    <a:cubicBezTo>
                      <a:pt x="44" y="20"/>
                      <a:pt x="45" y="19"/>
                      <a:pt x="45" y="18"/>
                    </a:cubicBezTo>
                    <a:cubicBezTo>
                      <a:pt x="46" y="18"/>
                      <a:pt x="46" y="16"/>
                      <a:pt x="45" y="16"/>
                    </a:cubicBezTo>
                    <a:cubicBezTo>
                      <a:pt x="41" y="15"/>
                      <a:pt x="38" y="15"/>
                      <a:pt x="34" y="15"/>
                    </a:cubicBezTo>
                    <a:cubicBezTo>
                      <a:pt x="31" y="14"/>
                      <a:pt x="29" y="14"/>
                      <a:pt x="27" y="15"/>
                    </a:cubicBezTo>
                    <a:cubicBezTo>
                      <a:pt x="25" y="16"/>
                      <a:pt x="24" y="16"/>
                      <a:pt x="23" y="16"/>
                    </a:cubicBezTo>
                    <a:cubicBezTo>
                      <a:pt x="22" y="16"/>
                      <a:pt x="22" y="18"/>
                      <a:pt x="21" y="18"/>
                    </a:cubicBezTo>
                    <a:cubicBezTo>
                      <a:pt x="20" y="18"/>
                      <a:pt x="21" y="15"/>
                      <a:pt x="21" y="15"/>
                    </a:cubicBezTo>
                    <a:cubicBezTo>
                      <a:pt x="22" y="15"/>
                      <a:pt x="22" y="14"/>
                      <a:pt x="23" y="14"/>
                    </a:cubicBezTo>
                    <a:cubicBezTo>
                      <a:pt x="23" y="14"/>
                      <a:pt x="23" y="15"/>
                      <a:pt x="23" y="15"/>
                    </a:cubicBezTo>
                    <a:cubicBezTo>
                      <a:pt x="23" y="14"/>
                      <a:pt x="24" y="14"/>
                      <a:pt x="24" y="13"/>
                    </a:cubicBezTo>
                    <a:cubicBezTo>
                      <a:pt x="24" y="12"/>
                      <a:pt x="20" y="13"/>
                      <a:pt x="19" y="12"/>
                    </a:cubicBezTo>
                    <a:cubicBezTo>
                      <a:pt x="20" y="12"/>
                      <a:pt x="24" y="13"/>
                      <a:pt x="22" y="11"/>
                    </a:cubicBezTo>
                    <a:cubicBezTo>
                      <a:pt x="22" y="11"/>
                      <a:pt x="26" y="9"/>
                      <a:pt x="27" y="8"/>
                    </a:cubicBezTo>
                    <a:cubicBezTo>
                      <a:pt x="28" y="7"/>
                      <a:pt x="29" y="6"/>
                      <a:pt x="30" y="6"/>
                    </a:cubicBezTo>
                    <a:cubicBezTo>
                      <a:pt x="32" y="4"/>
                      <a:pt x="32" y="3"/>
                      <a:pt x="33" y="0"/>
                    </a:cubicBezTo>
                    <a:cubicBezTo>
                      <a:pt x="32" y="0"/>
                      <a:pt x="31" y="0"/>
                      <a:pt x="31" y="0"/>
                    </a:cubicBezTo>
                    <a:cubicBezTo>
                      <a:pt x="30" y="0"/>
                      <a:pt x="29" y="0"/>
                      <a:pt x="30" y="0"/>
                    </a:cubicBezTo>
                    <a:cubicBezTo>
                      <a:pt x="29" y="0"/>
                      <a:pt x="29" y="1"/>
                      <a:pt x="28" y="1"/>
                    </a:cubicBezTo>
                    <a:cubicBezTo>
                      <a:pt x="28" y="1"/>
                      <a:pt x="28" y="1"/>
                      <a:pt x="27" y="1"/>
                    </a:cubicBezTo>
                    <a:cubicBezTo>
                      <a:pt x="26" y="1"/>
                      <a:pt x="23" y="3"/>
                      <a:pt x="23" y="1"/>
                    </a:cubicBezTo>
                    <a:cubicBezTo>
                      <a:pt x="22" y="3"/>
                      <a:pt x="19" y="2"/>
                      <a:pt x="18" y="3"/>
                    </a:cubicBezTo>
                    <a:cubicBezTo>
                      <a:pt x="18" y="3"/>
                      <a:pt x="19" y="2"/>
                      <a:pt x="18" y="2"/>
                    </a:cubicBezTo>
                    <a:cubicBezTo>
                      <a:pt x="17" y="1"/>
                      <a:pt x="16" y="3"/>
                      <a:pt x="15" y="3"/>
                    </a:cubicBezTo>
                    <a:cubicBezTo>
                      <a:pt x="16" y="3"/>
                      <a:pt x="16" y="2"/>
                      <a:pt x="16" y="2"/>
                    </a:cubicBezTo>
                    <a:cubicBezTo>
                      <a:pt x="16" y="1"/>
                      <a:pt x="15" y="1"/>
                      <a:pt x="15" y="1"/>
                    </a:cubicBezTo>
                    <a:cubicBezTo>
                      <a:pt x="15" y="1"/>
                      <a:pt x="14" y="1"/>
                      <a:pt x="14" y="1"/>
                    </a:cubicBezTo>
                    <a:cubicBezTo>
                      <a:pt x="12" y="1"/>
                      <a:pt x="12" y="2"/>
                      <a:pt x="11" y="4"/>
                    </a:cubicBezTo>
                    <a:cubicBezTo>
                      <a:pt x="11" y="5"/>
                      <a:pt x="12" y="6"/>
                      <a:pt x="13" y="6"/>
                    </a:cubicBezTo>
                    <a:cubicBezTo>
                      <a:pt x="13" y="6"/>
                      <a:pt x="12" y="6"/>
                      <a:pt x="11" y="6"/>
                    </a:cubicBezTo>
                    <a:cubicBezTo>
                      <a:pt x="10" y="6"/>
                      <a:pt x="10" y="7"/>
                      <a:pt x="9" y="6"/>
                    </a:cubicBezTo>
                    <a:cubicBezTo>
                      <a:pt x="9" y="7"/>
                      <a:pt x="10" y="8"/>
                      <a:pt x="10" y="8"/>
                    </a:cubicBezTo>
                    <a:cubicBezTo>
                      <a:pt x="10" y="8"/>
                      <a:pt x="10" y="9"/>
                      <a:pt x="9" y="9"/>
                    </a:cubicBezTo>
                    <a:cubicBezTo>
                      <a:pt x="9" y="9"/>
                      <a:pt x="8" y="8"/>
                      <a:pt x="8" y="9"/>
                    </a:cubicBezTo>
                    <a:cubicBezTo>
                      <a:pt x="8" y="9"/>
                      <a:pt x="10" y="10"/>
                      <a:pt x="10" y="10"/>
                    </a:cubicBezTo>
                    <a:cubicBezTo>
                      <a:pt x="11" y="11"/>
                      <a:pt x="12" y="11"/>
                      <a:pt x="12" y="12"/>
                    </a:cubicBezTo>
                    <a:cubicBezTo>
                      <a:pt x="11" y="12"/>
                      <a:pt x="10" y="11"/>
                      <a:pt x="9" y="11"/>
                    </a:cubicBezTo>
                    <a:cubicBezTo>
                      <a:pt x="9" y="12"/>
                      <a:pt x="10" y="12"/>
                      <a:pt x="10" y="12"/>
                    </a:cubicBezTo>
                    <a:cubicBezTo>
                      <a:pt x="10" y="12"/>
                      <a:pt x="9" y="11"/>
                      <a:pt x="9" y="11"/>
                    </a:cubicBezTo>
                    <a:cubicBezTo>
                      <a:pt x="8" y="11"/>
                      <a:pt x="8" y="12"/>
                      <a:pt x="8" y="12"/>
                    </a:cubicBezTo>
                    <a:cubicBezTo>
                      <a:pt x="7" y="12"/>
                      <a:pt x="7" y="11"/>
                      <a:pt x="7" y="11"/>
                    </a:cubicBezTo>
                    <a:cubicBezTo>
                      <a:pt x="6" y="11"/>
                      <a:pt x="6" y="12"/>
                      <a:pt x="6" y="13"/>
                    </a:cubicBezTo>
                    <a:cubicBezTo>
                      <a:pt x="6" y="12"/>
                      <a:pt x="5" y="11"/>
                      <a:pt x="5" y="12"/>
                    </a:cubicBezTo>
                    <a:cubicBezTo>
                      <a:pt x="4" y="13"/>
                      <a:pt x="7" y="17"/>
                      <a:pt x="8" y="17"/>
                    </a:cubicBezTo>
                    <a:cubicBezTo>
                      <a:pt x="6" y="17"/>
                      <a:pt x="6" y="17"/>
                      <a:pt x="5" y="17"/>
                    </a:cubicBezTo>
                    <a:cubicBezTo>
                      <a:pt x="5" y="17"/>
                      <a:pt x="4" y="16"/>
                      <a:pt x="4" y="17"/>
                    </a:cubicBezTo>
                    <a:cubicBezTo>
                      <a:pt x="4" y="19"/>
                      <a:pt x="6" y="19"/>
                      <a:pt x="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7" name="Freeform 2174">
                <a:extLst>
                  <a:ext uri="{FF2B5EF4-FFF2-40B4-BE49-F238E27FC236}">
                    <a16:creationId xmlns:a16="http://schemas.microsoft.com/office/drawing/2014/main" id="{7EE86A20-1771-4877-90A1-78B1AC976778}"/>
                  </a:ext>
                </a:extLst>
              </p:cNvPr>
              <p:cNvSpPr>
                <a:spLocks/>
              </p:cNvSpPr>
              <p:nvPr/>
            </p:nvSpPr>
            <p:spPr bwMode="auto">
              <a:xfrm>
                <a:off x="3369" y="1210"/>
                <a:ext cx="8" cy="12"/>
              </a:xfrm>
              <a:custGeom>
                <a:avLst/>
                <a:gdLst>
                  <a:gd name="T0" fmla="*/ 0 w 3"/>
                  <a:gd name="T1" fmla="*/ 1 h 5"/>
                  <a:gd name="T2" fmla="*/ 2 w 3"/>
                  <a:gd name="T3" fmla="*/ 2 h 5"/>
                  <a:gd name="T4" fmla="*/ 0 w 3"/>
                  <a:gd name="T5" fmla="*/ 2 h 5"/>
                  <a:gd name="T6" fmla="*/ 2 w 3"/>
                  <a:gd name="T7" fmla="*/ 5 h 5"/>
                  <a:gd name="T8" fmla="*/ 1 w 3"/>
                  <a:gd name="T9" fmla="*/ 4 h 5"/>
                  <a:gd name="T10" fmla="*/ 1 w 3"/>
                  <a:gd name="T11" fmla="*/ 3 h 5"/>
                  <a:gd name="T12" fmla="*/ 0 w 3"/>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1"/>
                    </a:moveTo>
                    <a:cubicBezTo>
                      <a:pt x="1" y="1"/>
                      <a:pt x="2" y="2"/>
                      <a:pt x="2" y="2"/>
                    </a:cubicBezTo>
                    <a:cubicBezTo>
                      <a:pt x="1" y="1"/>
                      <a:pt x="0" y="0"/>
                      <a:pt x="0" y="2"/>
                    </a:cubicBezTo>
                    <a:cubicBezTo>
                      <a:pt x="0" y="4"/>
                      <a:pt x="0" y="5"/>
                      <a:pt x="2" y="5"/>
                    </a:cubicBezTo>
                    <a:cubicBezTo>
                      <a:pt x="1" y="5"/>
                      <a:pt x="1" y="5"/>
                      <a:pt x="1" y="4"/>
                    </a:cubicBezTo>
                    <a:cubicBezTo>
                      <a:pt x="1" y="3"/>
                      <a:pt x="1" y="3"/>
                      <a:pt x="1" y="3"/>
                    </a:cubicBezTo>
                    <a:cubicBezTo>
                      <a:pt x="3" y="2"/>
                      <a:pt x="2" y="3"/>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8" name="Freeform 2175">
                <a:extLst>
                  <a:ext uri="{FF2B5EF4-FFF2-40B4-BE49-F238E27FC236}">
                    <a16:creationId xmlns:a16="http://schemas.microsoft.com/office/drawing/2014/main" id="{7947E96F-7206-48FD-8D3E-FF76BE2C386F}"/>
                  </a:ext>
                </a:extLst>
              </p:cNvPr>
              <p:cNvSpPr>
                <a:spLocks/>
              </p:cNvSpPr>
              <p:nvPr/>
            </p:nvSpPr>
            <p:spPr bwMode="auto">
              <a:xfrm>
                <a:off x="3388" y="1236"/>
                <a:ext cx="5" cy="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0" y="2"/>
                      <a:pt x="0" y="2"/>
                    </a:cubicBezTo>
                    <a:cubicBezTo>
                      <a:pt x="1" y="2"/>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9" name="Freeform 2176">
                <a:extLst>
                  <a:ext uri="{FF2B5EF4-FFF2-40B4-BE49-F238E27FC236}">
                    <a16:creationId xmlns:a16="http://schemas.microsoft.com/office/drawing/2014/main" id="{7CBD17EA-F5B5-4965-B006-D1081ECFC6B0}"/>
                  </a:ext>
                </a:extLst>
              </p:cNvPr>
              <p:cNvSpPr>
                <a:spLocks/>
              </p:cNvSpPr>
              <p:nvPr/>
            </p:nvSpPr>
            <p:spPr bwMode="auto">
              <a:xfrm>
                <a:off x="3369" y="1208"/>
                <a:ext cx="8" cy="4"/>
              </a:xfrm>
              <a:custGeom>
                <a:avLst/>
                <a:gdLst>
                  <a:gd name="T0" fmla="*/ 1 w 3"/>
                  <a:gd name="T1" fmla="*/ 2 h 2"/>
                  <a:gd name="T2" fmla="*/ 0 w 3"/>
                  <a:gd name="T3" fmla="*/ 1 h 2"/>
                  <a:gd name="T4" fmla="*/ 1 w 3"/>
                  <a:gd name="T5" fmla="*/ 2 h 2"/>
                </a:gdLst>
                <a:ahLst/>
                <a:cxnLst>
                  <a:cxn ang="0">
                    <a:pos x="T0" y="T1"/>
                  </a:cxn>
                  <a:cxn ang="0">
                    <a:pos x="T2" y="T3"/>
                  </a:cxn>
                  <a:cxn ang="0">
                    <a:pos x="T4" y="T5"/>
                  </a:cxn>
                </a:cxnLst>
                <a:rect l="0" t="0" r="r" b="b"/>
                <a:pathLst>
                  <a:path w="3" h="2">
                    <a:moveTo>
                      <a:pt x="1" y="2"/>
                    </a:moveTo>
                    <a:cubicBezTo>
                      <a:pt x="3" y="1"/>
                      <a:pt x="1" y="0"/>
                      <a:pt x="0" y="1"/>
                    </a:cubicBezTo>
                    <a:cubicBezTo>
                      <a:pt x="1" y="1"/>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0" name="Freeform 2177">
                <a:extLst>
                  <a:ext uri="{FF2B5EF4-FFF2-40B4-BE49-F238E27FC236}">
                    <a16:creationId xmlns:a16="http://schemas.microsoft.com/office/drawing/2014/main" id="{02DAA63B-A99C-4E1C-A8E1-A14CCB3ED8CA}"/>
                  </a:ext>
                </a:extLst>
              </p:cNvPr>
              <p:cNvSpPr>
                <a:spLocks/>
              </p:cNvSpPr>
              <p:nvPr/>
            </p:nvSpPr>
            <p:spPr bwMode="auto">
              <a:xfrm>
                <a:off x="3367" y="1227"/>
                <a:ext cx="2" cy="2"/>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1" y="0"/>
                      <a:pt x="1" y="0"/>
                      <a:pt x="1" y="0"/>
                    </a:cubicBezTo>
                    <a:cubicBezTo>
                      <a:pt x="1" y="0"/>
                      <a:pt x="1"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1" name="Freeform 2178">
                <a:extLst>
                  <a:ext uri="{FF2B5EF4-FFF2-40B4-BE49-F238E27FC236}">
                    <a16:creationId xmlns:a16="http://schemas.microsoft.com/office/drawing/2014/main" id="{B1F7A4C4-7505-4714-BBB9-A06996F1C511}"/>
                  </a:ext>
                </a:extLst>
              </p:cNvPr>
              <p:cNvSpPr>
                <a:spLocks/>
              </p:cNvSpPr>
              <p:nvPr/>
            </p:nvSpPr>
            <p:spPr bwMode="auto">
              <a:xfrm>
                <a:off x="3381" y="1243"/>
                <a:ext cx="5" cy="3"/>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0"/>
                      <a:pt x="2" y="0"/>
                      <a:pt x="2" y="0"/>
                    </a:cubicBezTo>
                    <a:cubicBezTo>
                      <a:pt x="1"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2" name="Freeform 2179">
                <a:extLst>
                  <a:ext uri="{FF2B5EF4-FFF2-40B4-BE49-F238E27FC236}">
                    <a16:creationId xmlns:a16="http://schemas.microsoft.com/office/drawing/2014/main" id="{127B1B4C-EF77-4F89-82EF-070B0FFD0BA8}"/>
                  </a:ext>
                </a:extLst>
              </p:cNvPr>
              <p:cNvSpPr>
                <a:spLocks/>
              </p:cNvSpPr>
              <p:nvPr/>
            </p:nvSpPr>
            <p:spPr bwMode="auto">
              <a:xfrm>
                <a:off x="3466" y="1151"/>
                <a:ext cx="22" cy="9"/>
              </a:xfrm>
              <a:custGeom>
                <a:avLst/>
                <a:gdLst>
                  <a:gd name="T0" fmla="*/ 6 w 9"/>
                  <a:gd name="T1" fmla="*/ 4 h 4"/>
                  <a:gd name="T2" fmla="*/ 5 w 9"/>
                  <a:gd name="T3" fmla="*/ 2 h 4"/>
                  <a:gd name="T4" fmla="*/ 3 w 9"/>
                  <a:gd name="T5" fmla="*/ 2 h 4"/>
                  <a:gd name="T6" fmla="*/ 4 w 9"/>
                  <a:gd name="T7" fmla="*/ 0 h 4"/>
                  <a:gd name="T8" fmla="*/ 2 w 9"/>
                  <a:gd name="T9" fmla="*/ 0 h 4"/>
                  <a:gd name="T10" fmla="*/ 1 w 9"/>
                  <a:gd name="T11" fmla="*/ 2 h 4"/>
                  <a:gd name="T12" fmla="*/ 6 w 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 h="4">
                    <a:moveTo>
                      <a:pt x="6" y="4"/>
                    </a:moveTo>
                    <a:cubicBezTo>
                      <a:pt x="9" y="3"/>
                      <a:pt x="6" y="3"/>
                      <a:pt x="5" y="2"/>
                    </a:cubicBezTo>
                    <a:cubicBezTo>
                      <a:pt x="5" y="2"/>
                      <a:pt x="4" y="3"/>
                      <a:pt x="3" y="2"/>
                    </a:cubicBezTo>
                    <a:cubicBezTo>
                      <a:pt x="4" y="1"/>
                      <a:pt x="5" y="1"/>
                      <a:pt x="4" y="0"/>
                    </a:cubicBezTo>
                    <a:cubicBezTo>
                      <a:pt x="3" y="0"/>
                      <a:pt x="2" y="0"/>
                      <a:pt x="2" y="0"/>
                    </a:cubicBezTo>
                    <a:cubicBezTo>
                      <a:pt x="1" y="0"/>
                      <a:pt x="0" y="1"/>
                      <a:pt x="1" y="2"/>
                    </a:cubicBezTo>
                    <a:cubicBezTo>
                      <a:pt x="1" y="4"/>
                      <a:pt x="5"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3" name="Freeform 2180">
                <a:extLst>
                  <a:ext uri="{FF2B5EF4-FFF2-40B4-BE49-F238E27FC236}">
                    <a16:creationId xmlns:a16="http://schemas.microsoft.com/office/drawing/2014/main" id="{DDD82DF0-233F-4A54-8A1F-1143E5B9DBC9}"/>
                  </a:ext>
                </a:extLst>
              </p:cNvPr>
              <p:cNvSpPr>
                <a:spLocks/>
              </p:cNvSpPr>
              <p:nvPr/>
            </p:nvSpPr>
            <p:spPr bwMode="auto">
              <a:xfrm>
                <a:off x="3403" y="1255"/>
                <a:ext cx="9" cy="12"/>
              </a:xfrm>
              <a:custGeom>
                <a:avLst/>
                <a:gdLst>
                  <a:gd name="T0" fmla="*/ 3 w 4"/>
                  <a:gd name="T1" fmla="*/ 1 h 5"/>
                  <a:gd name="T2" fmla="*/ 4 w 4"/>
                  <a:gd name="T3" fmla="*/ 0 h 5"/>
                  <a:gd name="T4" fmla="*/ 2 w 4"/>
                  <a:gd name="T5" fmla="*/ 1 h 5"/>
                  <a:gd name="T6" fmla="*/ 1 w 4"/>
                  <a:gd name="T7" fmla="*/ 5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3" y="1"/>
                      <a:pt x="4" y="1"/>
                      <a:pt x="4" y="0"/>
                    </a:cubicBezTo>
                    <a:cubicBezTo>
                      <a:pt x="4" y="0"/>
                      <a:pt x="2" y="1"/>
                      <a:pt x="2" y="1"/>
                    </a:cubicBezTo>
                    <a:cubicBezTo>
                      <a:pt x="0" y="3"/>
                      <a:pt x="0" y="4"/>
                      <a:pt x="1" y="5"/>
                    </a:cubicBezTo>
                    <a:cubicBezTo>
                      <a:pt x="2" y="4"/>
                      <a:pt x="3"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4" name="Freeform 2181">
                <a:extLst>
                  <a:ext uri="{FF2B5EF4-FFF2-40B4-BE49-F238E27FC236}">
                    <a16:creationId xmlns:a16="http://schemas.microsoft.com/office/drawing/2014/main" id="{B6281DFD-96DD-42D4-A3AD-A0DEF4876375}"/>
                  </a:ext>
                </a:extLst>
              </p:cNvPr>
              <p:cNvSpPr>
                <a:spLocks/>
              </p:cNvSpPr>
              <p:nvPr/>
            </p:nvSpPr>
            <p:spPr bwMode="auto">
              <a:xfrm>
                <a:off x="3391" y="1262"/>
                <a:ext cx="12" cy="12"/>
              </a:xfrm>
              <a:custGeom>
                <a:avLst/>
                <a:gdLst>
                  <a:gd name="T0" fmla="*/ 5 w 5"/>
                  <a:gd name="T1" fmla="*/ 3 h 5"/>
                  <a:gd name="T2" fmla="*/ 4 w 5"/>
                  <a:gd name="T3" fmla="*/ 0 h 5"/>
                  <a:gd name="T4" fmla="*/ 2 w 5"/>
                  <a:gd name="T5" fmla="*/ 2 h 5"/>
                  <a:gd name="T6" fmla="*/ 2 w 5"/>
                  <a:gd name="T7" fmla="*/ 1 h 5"/>
                  <a:gd name="T8" fmla="*/ 1 w 5"/>
                  <a:gd name="T9" fmla="*/ 2 h 5"/>
                  <a:gd name="T10" fmla="*/ 3 w 5"/>
                  <a:gd name="T11" fmla="*/ 2 h 5"/>
                  <a:gd name="T12" fmla="*/ 3 w 5"/>
                  <a:gd name="T13" fmla="*/ 5 h 5"/>
                  <a:gd name="T14" fmla="*/ 5 w 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3"/>
                    </a:moveTo>
                    <a:cubicBezTo>
                      <a:pt x="5" y="2"/>
                      <a:pt x="4" y="1"/>
                      <a:pt x="4" y="0"/>
                    </a:cubicBezTo>
                    <a:cubicBezTo>
                      <a:pt x="4" y="0"/>
                      <a:pt x="3" y="1"/>
                      <a:pt x="2" y="2"/>
                    </a:cubicBezTo>
                    <a:cubicBezTo>
                      <a:pt x="2" y="1"/>
                      <a:pt x="2" y="1"/>
                      <a:pt x="2" y="1"/>
                    </a:cubicBezTo>
                    <a:cubicBezTo>
                      <a:pt x="2" y="1"/>
                      <a:pt x="0" y="1"/>
                      <a:pt x="1" y="2"/>
                    </a:cubicBezTo>
                    <a:cubicBezTo>
                      <a:pt x="1" y="3"/>
                      <a:pt x="2" y="2"/>
                      <a:pt x="3" y="2"/>
                    </a:cubicBezTo>
                    <a:cubicBezTo>
                      <a:pt x="3" y="3"/>
                      <a:pt x="3" y="5"/>
                      <a:pt x="3" y="5"/>
                    </a:cubicBezTo>
                    <a:cubicBezTo>
                      <a:pt x="4" y="4"/>
                      <a:pt x="5" y="5"/>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5" name="Freeform 2182">
                <a:extLst>
                  <a:ext uri="{FF2B5EF4-FFF2-40B4-BE49-F238E27FC236}">
                    <a16:creationId xmlns:a16="http://schemas.microsoft.com/office/drawing/2014/main" id="{05E256C2-E253-4355-AAED-1E234F0FC0FF}"/>
                  </a:ext>
                </a:extLst>
              </p:cNvPr>
              <p:cNvSpPr>
                <a:spLocks/>
              </p:cNvSpPr>
              <p:nvPr/>
            </p:nvSpPr>
            <p:spPr bwMode="auto">
              <a:xfrm>
                <a:off x="4828" y="1783"/>
                <a:ext cx="3" cy="9"/>
              </a:xfrm>
              <a:custGeom>
                <a:avLst/>
                <a:gdLst>
                  <a:gd name="T0" fmla="*/ 1 w 1"/>
                  <a:gd name="T1" fmla="*/ 0 h 4"/>
                  <a:gd name="T2" fmla="*/ 1 w 1"/>
                  <a:gd name="T3" fmla="*/ 4 h 4"/>
                  <a:gd name="T4" fmla="*/ 1 w 1"/>
                  <a:gd name="T5" fmla="*/ 0 h 4"/>
                </a:gdLst>
                <a:ahLst/>
                <a:cxnLst>
                  <a:cxn ang="0">
                    <a:pos x="T0" y="T1"/>
                  </a:cxn>
                  <a:cxn ang="0">
                    <a:pos x="T2" y="T3"/>
                  </a:cxn>
                  <a:cxn ang="0">
                    <a:pos x="T4" y="T5"/>
                  </a:cxn>
                </a:cxnLst>
                <a:rect l="0" t="0" r="r" b="b"/>
                <a:pathLst>
                  <a:path w="1" h="4">
                    <a:moveTo>
                      <a:pt x="1" y="0"/>
                    </a:moveTo>
                    <a:cubicBezTo>
                      <a:pt x="0" y="1"/>
                      <a:pt x="1" y="3"/>
                      <a:pt x="1" y="4"/>
                    </a:cubicBezTo>
                    <a:cubicBezTo>
                      <a:pt x="1"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6" name="Freeform 2183">
                <a:extLst>
                  <a:ext uri="{FF2B5EF4-FFF2-40B4-BE49-F238E27FC236}">
                    <a16:creationId xmlns:a16="http://schemas.microsoft.com/office/drawing/2014/main" id="{D6909460-CC98-4629-BDA5-AFFC07B3A160}"/>
                  </a:ext>
                </a:extLst>
              </p:cNvPr>
              <p:cNvSpPr>
                <a:spLocks/>
              </p:cNvSpPr>
              <p:nvPr/>
            </p:nvSpPr>
            <p:spPr bwMode="auto">
              <a:xfrm>
                <a:off x="4169" y="1752"/>
                <a:ext cx="9" cy="2"/>
              </a:xfrm>
              <a:custGeom>
                <a:avLst/>
                <a:gdLst>
                  <a:gd name="T0" fmla="*/ 4 w 4"/>
                  <a:gd name="T1" fmla="*/ 0 h 1"/>
                  <a:gd name="T2" fmla="*/ 0 w 4"/>
                  <a:gd name="T3" fmla="*/ 0 h 1"/>
                  <a:gd name="T4" fmla="*/ 4 w 4"/>
                  <a:gd name="T5" fmla="*/ 0 h 1"/>
                </a:gdLst>
                <a:ahLst/>
                <a:cxnLst>
                  <a:cxn ang="0">
                    <a:pos x="T0" y="T1"/>
                  </a:cxn>
                  <a:cxn ang="0">
                    <a:pos x="T2" y="T3"/>
                  </a:cxn>
                  <a:cxn ang="0">
                    <a:pos x="T4" y="T5"/>
                  </a:cxn>
                </a:cxnLst>
                <a:rect l="0" t="0" r="r" b="b"/>
                <a:pathLst>
                  <a:path w="4" h="1">
                    <a:moveTo>
                      <a:pt x="4" y="0"/>
                    </a:moveTo>
                    <a:cubicBezTo>
                      <a:pt x="2" y="0"/>
                      <a:pt x="1" y="0"/>
                      <a:pt x="0" y="0"/>
                    </a:cubicBezTo>
                    <a:cubicBezTo>
                      <a:pt x="1" y="1"/>
                      <a:pt x="3"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7" name="Freeform 2184">
                <a:extLst>
                  <a:ext uri="{FF2B5EF4-FFF2-40B4-BE49-F238E27FC236}">
                    <a16:creationId xmlns:a16="http://schemas.microsoft.com/office/drawing/2014/main" id="{8DD71BA0-3B8E-4634-A6F8-87580CA68040}"/>
                  </a:ext>
                </a:extLst>
              </p:cNvPr>
              <p:cNvSpPr>
                <a:spLocks/>
              </p:cNvSpPr>
              <p:nvPr/>
            </p:nvSpPr>
            <p:spPr bwMode="auto">
              <a:xfrm>
                <a:off x="3819" y="1901"/>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8" name="Freeform 2185">
                <a:extLst>
                  <a:ext uri="{FF2B5EF4-FFF2-40B4-BE49-F238E27FC236}">
                    <a16:creationId xmlns:a16="http://schemas.microsoft.com/office/drawing/2014/main" id="{77CE7DB1-09F9-4FBD-9C6B-DE36EB70EE0D}"/>
                  </a:ext>
                </a:extLst>
              </p:cNvPr>
              <p:cNvSpPr>
                <a:spLocks/>
              </p:cNvSpPr>
              <p:nvPr/>
            </p:nvSpPr>
            <p:spPr bwMode="auto">
              <a:xfrm>
                <a:off x="3987" y="1193"/>
                <a:ext cx="23" cy="36"/>
              </a:xfrm>
              <a:custGeom>
                <a:avLst/>
                <a:gdLst>
                  <a:gd name="T0" fmla="*/ 10 w 10"/>
                  <a:gd name="T1" fmla="*/ 2 h 15"/>
                  <a:gd name="T2" fmla="*/ 7 w 10"/>
                  <a:gd name="T3" fmla="*/ 1 h 15"/>
                  <a:gd name="T4" fmla="*/ 5 w 10"/>
                  <a:gd name="T5" fmla="*/ 1 h 15"/>
                  <a:gd name="T6" fmla="*/ 4 w 10"/>
                  <a:gd name="T7" fmla="*/ 2 h 15"/>
                  <a:gd name="T8" fmla="*/ 2 w 10"/>
                  <a:gd name="T9" fmla="*/ 4 h 15"/>
                  <a:gd name="T10" fmla="*/ 0 w 10"/>
                  <a:gd name="T11" fmla="*/ 5 h 15"/>
                  <a:gd name="T12" fmla="*/ 0 w 10"/>
                  <a:gd name="T13" fmla="*/ 10 h 15"/>
                  <a:gd name="T14" fmla="*/ 0 w 10"/>
                  <a:gd name="T15" fmla="*/ 15 h 15"/>
                  <a:gd name="T16" fmla="*/ 3 w 10"/>
                  <a:gd name="T17" fmla="*/ 14 h 15"/>
                  <a:gd name="T18" fmla="*/ 4 w 10"/>
                  <a:gd name="T19" fmla="*/ 11 h 15"/>
                  <a:gd name="T20" fmla="*/ 6 w 10"/>
                  <a:gd name="T21" fmla="*/ 10 h 15"/>
                  <a:gd name="T22" fmla="*/ 6 w 10"/>
                  <a:gd name="T23" fmla="*/ 9 h 15"/>
                  <a:gd name="T24" fmla="*/ 8 w 10"/>
                  <a:gd name="T25" fmla="*/ 8 h 15"/>
                  <a:gd name="T26" fmla="*/ 7 w 10"/>
                  <a:gd name="T27" fmla="*/ 6 h 15"/>
                  <a:gd name="T28" fmla="*/ 7 w 10"/>
                  <a:gd name="T29" fmla="*/ 5 h 15"/>
                  <a:gd name="T30" fmla="*/ 7 w 10"/>
                  <a:gd name="T31" fmla="*/ 4 h 15"/>
                  <a:gd name="T32" fmla="*/ 7 w 10"/>
                  <a:gd name="T33" fmla="*/ 3 h 15"/>
                  <a:gd name="T34" fmla="*/ 7 w 10"/>
                  <a:gd name="T35" fmla="*/ 3 h 15"/>
                  <a:gd name="T36" fmla="*/ 7 w 10"/>
                  <a:gd name="T37" fmla="*/ 3 h 15"/>
                  <a:gd name="T38" fmla="*/ 7 w 10"/>
                  <a:gd name="T39" fmla="*/ 3 h 15"/>
                  <a:gd name="T40" fmla="*/ 8 w 10"/>
                  <a:gd name="T41" fmla="*/ 3 h 15"/>
                  <a:gd name="T42" fmla="*/ 9 w 10"/>
                  <a:gd name="T43" fmla="*/ 2 h 15"/>
                  <a:gd name="T44" fmla="*/ 10 w 10"/>
                  <a:gd name="T4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15">
                    <a:moveTo>
                      <a:pt x="10" y="2"/>
                    </a:moveTo>
                    <a:cubicBezTo>
                      <a:pt x="10" y="0"/>
                      <a:pt x="8" y="0"/>
                      <a:pt x="7" y="1"/>
                    </a:cubicBezTo>
                    <a:cubicBezTo>
                      <a:pt x="7" y="0"/>
                      <a:pt x="6" y="0"/>
                      <a:pt x="5" y="1"/>
                    </a:cubicBezTo>
                    <a:cubicBezTo>
                      <a:pt x="5" y="1"/>
                      <a:pt x="4" y="1"/>
                      <a:pt x="4" y="2"/>
                    </a:cubicBezTo>
                    <a:cubicBezTo>
                      <a:pt x="3" y="2"/>
                      <a:pt x="3" y="3"/>
                      <a:pt x="2" y="4"/>
                    </a:cubicBezTo>
                    <a:cubicBezTo>
                      <a:pt x="2" y="5"/>
                      <a:pt x="1" y="5"/>
                      <a:pt x="0" y="5"/>
                    </a:cubicBezTo>
                    <a:cubicBezTo>
                      <a:pt x="0" y="6"/>
                      <a:pt x="0" y="9"/>
                      <a:pt x="0" y="10"/>
                    </a:cubicBezTo>
                    <a:cubicBezTo>
                      <a:pt x="0" y="12"/>
                      <a:pt x="1" y="13"/>
                      <a:pt x="0" y="15"/>
                    </a:cubicBezTo>
                    <a:cubicBezTo>
                      <a:pt x="1" y="15"/>
                      <a:pt x="2" y="14"/>
                      <a:pt x="3" y="14"/>
                    </a:cubicBezTo>
                    <a:cubicBezTo>
                      <a:pt x="3" y="12"/>
                      <a:pt x="3" y="12"/>
                      <a:pt x="4" y="11"/>
                    </a:cubicBezTo>
                    <a:cubicBezTo>
                      <a:pt x="4" y="11"/>
                      <a:pt x="6" y="11"/>
                      <a:pt x="6" y="10"/>
                    </a:cubicBezTo>
                    <a:cubicBezTo>
                      <a:pt x="6" y="10"/>
                      <a:pt x="6" y="9"/>
                      <a:pt x="6" y="9"/>
                    </a:cubicBezTo>
                    <a:cubicBezTo>
                      <a:pt x="7" y="8"/>
                      <a:pt x="8" y="8"/>
                      <a:pt x="8" y="8"/>
                    </a:cubicBezTo>
                    <a:cubicBezTo>
                      <a:pt x="9" y="7"/>
                      <a:pt x="7" y="7"/>
                      <a:pt x="7" y="6"/>
                    </a:cubicBezTo>
                    <a:cubicBezTo>
                      <a:pt x="7" y="6"/>
                      <a:pt x="7" y="6"/>
                      <a:pt x="7" y="5"/>
                    </a:cubicBezTo>
                    <a:cubicBezTo>
                      <a:pt x="7" y="5"/>
                      <a:pt x="7" y="5"/>
                      <a:pt x="7" y="4"/>
                    </a:cubicBezTo>
                    <a:cubicBezTo>
                      <a:pt x="7" y="4"/>
                      <a:pt x="7" y="3"/>
                      <a:pt x="7" y="3"/>
                    </a:cubicBezTo>
                    <a:cubicBezTo>
                      <a:pt x="7" y="3"/>
                      <a:pt x="7" y="3"/>
                      <a:pt x="7" y="3"/>
                    </a:cubicBezTo>
                    <a:cubicBezTo>
                      <a:pt x="7" y="3"/>
                      <a:pt x="7" y="3"/>
                      <a:pt x="7" y="3"/>
                    </a:cubicBezTo>
                    <a:cubicBezTo>
                      <a:pt x="7" y="3"/>
                      <a:pt x="7" y="3"/>
                      <a:pt x="7" y="3"/>
                    </a:cubicBezTo>
                    <a:cubicBezTo>
                      <a:pt x="7" y="3"/>
                      <a:pt x="7" y="3"/>
                      <a:pt x="8" y="3"/>
                    </a:cubicBezTo>
                    <a:cubicBezTo>
                      <a:pt x="8" y="3"/>
                      <a:pt x="9" y="3"/>
                      <a:pt x="9" y="2"/>
                    </a:cubicBezTo>
                    <a:cubicBezTo>
                      <a:pt x="9" y="2"/>
                      <a:pt x="9" y="1"/>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642" name="Group 2387">
              <a:extLst>
                <a:ext uri="{FF2B5EF4-FFF2-40B4-BE49-F238E27FC236}">
                  <a16:creationId xmlns:a16="http://schemas.microsoft.com/office/drawing/2014/main" id="{213DBC66-C30D-4073-8E7F-466DCB4ED008}"/>
                </a:ext>
              </a:extLst>
            </p:cNvPr>
            <p:cNvGrpSpPr>
              <a:grpSpLocks/>
            </p:cNvGrpSpPr>
            <p:nvPr/>
          </p:nvGrpSpPr>
          <p:grpSpPr bwMode="auto">
            <a:xfrm>
              <a:off x="3154" y="212"/>
              <a:ext cx="4715" cy="3967"/>
              <a:chOff x="3154" y="212"/>
              <a:chExt cx="4715" cy="3967"/>
            </a:xfrm>
            <a:grpFill/>
          </p:grpSpPr>
          <p:sp>
            <p:nvSpPr>
              <p:cNvPr id="2469" name="Freeform 2187">
                <a:extLst>
                  <a:ext uri="{FF2B5EF4-FFF2-40B4-BE49-F238E27FC236}">
                    <a16:creationId xmlns:a16="http://schemas.microsoft.com/office/drawing/2014/main" id="{6D12988B-19A5-4B0C-9BE9-55E0F6F513C5}"/>
                  </a:ext>
                </a:extLst>
              </p:cNvPr>
              <p:cNvSpPr>
                <a:spLocks/>
              </p:cNvSpPr>
              <p:nvPr/>
            </p:nvSpPr>
            <p:spPr bwMode="auto">
              <a:xfrm>
                <a:off x="3826" y="1179"/>
                <a:ext cx="12" cy="10"/>
              </a:xfrm>
              <a:custGeom>
                <a:avLst/>
                <a:gdLst>
                  <a:gd name="T0" fmla="*/ 4 w 5"/>
                  <a:gd name="T1" fmla="*/ 2 h 4"/>
                  <a:gd name="T2" fmla="*/ 1 w 5"/>
                  <a:gd name="T3" fmla="*/ 2 h 4"/>
                  <a:gd name="T4" fmla="*/ 0 w 5"/>
                  <a:gd name="T5" fmla="*/ 3 h 4"/>
                  <a:gd name="T6" fmla="*/ 4 w 5"/>
                  <a:gd name="T7" fmla="*/ 2 h 4"/>
                </a:gdLst>
                <a:ahLst/>
                <a:cxnLst>
                  <a:cxn ang="0">
                    <a:pos x="T0" y="T1"/>
                  </a:cxn>
                  <a:cxn ang="0">
                    <a:pos x="T2" y="T3"/>
                  </a:cxn>
                  <a:cxn ang="0">
                    <a:pos x="T4" y="T5"/>
                  </a:cxn>
                  <a:cxn ang="0">
                    <a:pos x="T6" y="T7"/>
                  </a:cxn>
                </a:cxnLst>
                <a:rect l="0" t="0" r="r" b="b"/>
                <a:pathLst>
                  <a:path w="5" h="4">
                    <a:moveTo>
                      <a:pt x="4" y="2"/>
                    </a:moveTo>
                    <a:cubicBezTo>
                      <a:pt x="3" y="0"/>
                      <a:pt x="2" y="2"/>
                      <a:pt x="1" y="2"/>
                    </a:cubicBezTo>
                    <a:cubicBezTo>
                      <a:pt x="0" y="2"/>
                      <a:pt x="0" y="3"/>
                      <a:pt x="0" y="3"/>
                    </a:cubicBezTo>
                    <a:cubicBezTo>
                      <a:pt x="1" y="3"/>
                      <a:pt x="5" y="4"/>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0" name="Freeform 2188">
                <a:extLst>
                  <a:ext uri="{FF2B5EF4-FFF2-40B4-BE49-F238E27FC236}">
                    <a16:creationId xmlns:a16="http://schemas.microsoft.com/office/drawing/2014/main" id="{37912B91-65F4-418E-B4D8-67DD5CF722F3}"/>
                  </a:ext>
                </a:extLst>
              </p:cNvPr>
              <p:cNvSpPr>
                <a:spLocks/>
              </p:cNvSpPr>
              <p:nvPr/>
            </p:nvSpPr>
            <p:spPr bwMode="auto">
              <a:xfrm>
                <a:off x="3826" y="1189"/>
                <a:ext cx="9" cy="4"/>
              </a:xfrm>
              <a:custGeom>
                <a:avLst/>
                <a:gdLst>
                  <a:gd name="T0" fmla="*/ 2 w 4"/>
                  <a:gd name="T1" fmla="*/ 1 h 2"/>
                  <a:gd name="T2" fmla="*/ 2 w 4"/>
                  <a:gd name="T3" fmla="*/ 0 h 2"/>
                  <a:gd name="T4" fmla="*/ 2 w 4"/>
                  <a:gd name="T5" fmla="*/ 1 h 2"/>
                </a:gdLst>
                <a:ahLst/>
                <a:cxnLst>
                  <a:cxn ang="0">
                    <a:pos x="T0" y="T1"/>
                  </a:cxn>
                  <a:cxn ang="0">
                    <a:pos x="T2" y="T3"/>
                  </a:cxn>
                  <a:cxn ang="0">
                    <a:pos x="T4" y="T5"/>
                  </a:cxn>
                </a:cxnLst>
                <a:rect l="0" t="0" r="r" b="b"/>
                <a:pathLst>
                  <a:path w="4" h="2">
                    <a:moveTo>
                      <a:pt x="2" y="1"/>
                    </a:moveTo>
                    <a:cubicBezTo>
                      <a:pt x="4" y="0"/>
                      <a:pt x="3" y="0"/>
                      <a:pt x="2" y="0"/>
                    </a:cubicBezTo>
                    <a:cubicBezTo>
                      <a:pt x="0" y="0"/>
                      <a:pt x="1"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1" name="Freeform 2189">
                <a:extLst>
                  <a:ext uri="{FF2B5EF4-FFF2-40B4-BE49-F238E27FC236}">
                    <a16:creationId xmlns:a16="http://schemas.microsoft.com/office/drawing/2014/main" id="{D8401E91-3251-454D-84C9-89CC79A62070}"/>
                  </a:ext>
                </a:extLst>
              </p:cNvPr>
              <p:cNvSpPr>
                <a:spLocks/>
              </p:cNvSpPr>
              <p:nvPr/>
            </p:nvSpPr>
            <p:spPr bwMode="auto">
              <a:xfrm>
                <a:off x="3944" y="1212"/>
                <a:ext cx="19" cy="41"/>
              </a:xfrm>
              <a:custGeom>
                <a:avLst/>
                <a:gdLst>
                  <a:gd name="T0" fmla="*/ 2 w 8"/>
                  <a:gd name="T1" fmla="*/ 15 h 17"/>
                  <a:gd name="T2" fmla="*/ 3 w 8"/>
                  <a:gd name="T3" fmla="*/ 14 h 17"/>
                  <a:gd name="T4" fmla="*/ 5 w 8"/>
                  <a:gd name="T5" fmla="*/ 7 h 17"/>
                  <a:gd name="T6" fmla="*/ 8 w 8"/>
                  <a:gd name="T7" fmla="*/ 1 h 17"/>
                  <a:gd name="T8" fmla="*/ 6 w 8"/>
                  <a:gd name="T9" fmla="*/ 2 h 17"/>
                  <a:gd name="T10" fmla="*/ 5 w 8"/>
                  <a:gd name="T11" fmla="*/ 6 h 17"/>
                  <a:gd name="T12" fmla="*/ 3 w 8"/>
                  <a:gd name="T13" fmla="*/ 7 h 17"/>
                  <a:gd name="T14" fmla="*/ 2 w 8"/>
                  <a:gd name="T15" fmla="*/ 10 h 17"/>
                  <a:gd name="T16" fmla="*/ 0 w 8"/>
                  <a:gd name="T17" fmla="*/ 14 h 17"/>
                  <a:gd name="T18" fmla="*/ 2 w 8"/>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7">
                    <a:moveTo>
                      <a:pt x="2" y="15"/>
                    </a:moveTo>
                    <a:cubicBezTo>
                      <a:pt x="2" y="15"/>
                      <a:pt x="3" y="14"/>
                      <a:pt x="3" y="14"/>
                    </a:cubicBezTo>
                    <a:cubicBezTo>
                      <a:pt x="4" y="11"/>
                      <a:pt x="5" y="9"/>
                      <a:pt x="5" y="7"/>
                    </a:cubicBezTo>
                    <a:cubicBezTo>
                      <a:pt x="6" y="6"/>
                      <a:pt x="8" y="1"/>
                      <a:pt x="8" y="1"/>
                    </a:cubicBezTo>
                    <a:cubicBezTo>
                      <a:pt x="7" y="0"/>
                      <a:pt x="6" y="2"/>
                      <a:pt x="6" y="2"/>
                    </a:cubicBezTo>
                    <a:cubicBezTo>
                      <a:pt x="6" y="3"/>
                      <a:pt x="5" y="4"/>
                      <a:pt x="5" y="6"/>
                    </a:cubicBezTo>
                    <a:cubicBezTo>
                      <a:pt x="4" y="6"/>
                      <a:pt x="4" y="7"/>
                      <a:pt x="3" y="7"/>
                    </a:cubicBezTo>
                    <a:cubicBezTo>
                      <a:pt x="3" y="8"/>
                      <a:pt x="2" y="9"/>
                      <a:pt x="2" y="10"/>
                    </a:cubicBezTo>
                    <a:cubicBezTo>
                      <a:pt x="1" y="11"/>
                      <a:pt x="1" y="12"/>
                      <a:pt x="0" y="14"/>
                    </a:cubicBezTo>
                    <a:cubicBezTo>
                      <a:pt x="1" y="15"/>
                      <a:pt x="1" y="17"/>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2" name="Freeform 2190">
                <a:extLst>
                  <a:ext uri="{FF2B5EF4-FFF2-40B4-BE49-F238E27FC236}">
                    <a16:creationId xmlns:a16="http://schemas.microsoft.com/office/drawing/2014/main" id="{06AC6253-4436-4D73-BE65-2CDC2B1B154F}"/>
                  </a:ext>
                </a:extLst>
              </p:cNvPr>
              <p:cNvSpPr>
                <a:spLocks/>
              </p:cNvSpPr>
              <p:nvPr/>
            </p:nvSpPr>
            <p:spPr bwMode="auto">
              <a:xfrm>
                <a:off x="4183" y="304"/>
                <a:ext cx="19" cy="9"/>
              </a:xfrm>
              <a:custGeom>
                <a:avLst/>
                <a:gdLst>
                  <a:gd name="T0" fmla="*/ 3 w 8"/>
                  <a:gd name="T1" fmla="*/ 0 h 4"/>
                  <a:gd name="T2" fmla="*/ 5 w 8"/>
                  <a:gd name="T3" fmla="*/ 4 h 4"/>
                  <a:gd name="T4" fmla="*/ 7 w 8"/>
                  <a:gd name="T5" fmla="*/ 4 h 4"/>
                  <a:gd name="T6" fmla="*/ 8 w 8"/>
                  <a:gd name="T7" fmla="*/ 3 h 4"/>
                  <a:gd name="T8" fmla="*/ 5 w 8"/>
                  <a:gd name="T9" fmla="*/ 1 h 4"/>
                  <a:gd name="T10" fmla="*/ 3 w 8"/>
                  <a:gd name="T11" fmla="*/ 0 h 4"/>
                </a:gdLst>
                <a:ahLst/>
                <a:cxnLst>
                  <a:cxn ang="0">
                    <a:pos x="T0" y="T1"/>
                  </a:cxn>
                  <a:cxn ang="0">
                    <a:pos x="T2" y="T3"/>
                  </a:cxn>
                  <a:cxn ang="0">
                    <a:pos x="T4" y="T5"/>
                  </a:cxn>
                  <a:cxn ang="0">
                    <a:pos x="T6" y="T7"/>
                  </a:cxn>
                  <a:cxn ang="0">
                    <a:pos x="T8" y="T9"/>
                  </a:cxn>
                  <a:cxn ang="0">
                    <a:pos x="T10" y="T11"/>
                  </a:cxn>
                </a:cxnLst>
                <a:rect l="0" t="0" r="r" b="b"/>
                <a:pathLst>
                  <a:path w="8" h="4">
                    <a:moveTo>
                      <a:pt x="3" y="0"/>
                    </a:moveTo>
                    <a:cubicBezTo>
                      <a:pt x="0" y="0"/>
                      <a:pt x="4" y="4"/>
                      <a:pt x="5" y="4"/>
                    </a:cubicBezTo>
                    <a:cubicBezTo>
                      <a:pt x="6" y="4"/>
                      <a:pt x="6" y="4"/>
                      <a:pt x="7" y="4"/>
                    </a:cubicBezTo>
                    <a:cubicBezTo>
                      <a:pt x="7" y="4"/>
                      <a:pt x="7" y="3"/>
                      <a:pt x="8" y="3"/>
                    </a:cubicBezTo>
                    <a:cubicBezTo>
                      <a:pt x="7" y="2"/>
                      <a:pt x="6" y="2"/>
                      <a:pt x="5" y="1"/>
                    </a:cubicBezTo>
                    <a:cubicBezTo>
                      <a:pt x="4"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3" name="Freeform 2191">
                <a:extLst>
                  <a:ext uri="{FF2B5EF4-FFF2-40B4-BE49-F238E27FC236}">
                    <a16:creationId xmlns:a16="http://schemas.microsoft.com/office/drawing/2014/main" id="{611B1BC4-DE98-48CF-B2A3-9C2252795E56}"/>
                  </a:ext>
                </a:extLst>
              </p:cNvPr>
              <p:cNvSpPr>
                <a:spLocks/>
              </p:cNvSpPr>
              <p:nvPr/>
            </p:nvSpPr>
            <p:spPr bwMode="auto">
              <a:xfrm>
                <a:off x="4001" y="522"/>
                <a:ext cx="14" cy="7"/>
              </a:xfrm>
              <a:custGeom>
                <a:avLst/>
                <a:gdLst>
                  <a:gd name="T0" fmla="*/ 3 w 6"/>
                  <a:gd name="T1" fmla="*/ 3 h 3"/>
                  <a:gd name="T2" fmla="*/ 5 w 6"/>
                  <a:gd name="T3" fmla="*/ 1 h 3"/>
                  <a:gd name="T4" fmla="*/ 3 w 6"/>
                  <a:gd name="T5" fmla="*/ 0 h 3"/>
                  <a:gd name="T6" fmla="*/ 1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4" y="3"/>
                      <a:pt x="5" y="2"/>
                      <a:pt x="5" y="1"/>
                    </a:cubicBezTo>
                    <a:cubicBezTo>
                      <a:pt x="6" y="0"/>
                      <a:pt x="4" y="0"/>
                      <a:pt x="3" y="0"/>
                    </a:cubicBezTo>
                    <a:cubicBezTo>
                      <a:pt x="2" y="0"/>
                      <a:pt x="2" y="0"/>
                      <a:pt x="1" y="0"/>
                    </a:cubicBezTo>
                    <a:cubicBezTo>
                      <a:pt x="0" y="0"/>
                      <a:pt x="3"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4" name="Freeform 2192">
                <a:extLst>
                  <a:ext uri="{FF2B5EF4-FFF2-40B4-BE49-F238E27FC236}">
                    <a16:creationId xmlns:a16="http://schemas.microsoft.com/office/drawing/2014/main" id="{1C9E866D-E66F-41E6-8478-42100A7EE890}"/>
                  </a:ext>
                </a:extLst>
              </p:cNvPr>
              <p:cNvSpPr>
                <a:spLocks/>
              </p:cNvSpPr>
              <p:nvPr/>
            </p:nvSpPr>
            <p:spPr bwMode="auto">
              <a:xfrm>
                <a:off x="3807" y="238"/>
                <a:ext cx="262" cy="184"/>
              </a:xfrm>
              <a:custGeom>
                <a:avLst/>
                <a:gdLst>
                  <a:gd name="T0" fmla="*/ 9 w 111"/>
                  <a:gd name="T1" fmla="*/ 17 h 78"/>
                  <a:gd name="T2" fmla="*/ 12 w 111"/>
                  <a:gd name="T3" fmla="*/ 21 h 78"/>
                  <a:gd name="T4" fmla="*/ 11 w 111"/>
                  <a:gd name="T5" fmla="*/ 25 h 78"/>
                  <a:gd name="T6" fmla="*/ 8 w 111"/>
                  <a:gd name="T7" fmla="*/ 30 h 78"/>
                  <a:gd name="T8" fmla="*/ 23 w 111"/>
                  <a:gd name="T9" fmla="*/ 34 h 78"/>
                  <a:gd name="T10" fmla="*/ 30 w 111"/>
                  <a:gd name="T11" fmla="*/ 42 h 78"/>
                  <a:gd name="T12" fmla="*/ 35 w 111"/>
                  <a:gd name="T13" fmla="*/ 40 h 78"/>
                  <a:gd name="T14" fmla="*/ 37 w 111"/>
                  <a:gd name="T15" fmla="*/ 36 h 78"/>
                  <a:gd name="T16" fmla="*/ 42 w 111"/>
                  <a:gd name="T17" fmla="*/ 33 h 78"/>
                  <a:gd name="T18" fmla="*/ 46 w 111"/>
                  <a:gd name="T19" fmla="*/ 28 h 78"/>
                  <a:gd name="T20" fmla="*/ 53 w 111"/>
                  <a:gd name="T21" fmla="*/ 36 h 78"/>
                  <a:gd name="T22" fmla="*/ 58 w 111"/>
                  <a:gd name="T23" fmla="*/ 32 h 78"/>
                  <a:gd name="T24" fmla="*/ 59 w 111"/>
                  <a:gd name="T25" fmla="*/ 37 h 78"/>
                  <a:gd name="T26" fmla="*/ 49 w 111"/>
                  <a:gd name="T27" fmla="*/ 42 h 78"/>
                  <a:gd name="T28" fmla="*/ 30 w 111"/>
                  <a:gd name="T29" fmla="*/ 45 h 78"/>
                  <a:gd name="T30" fmla="*/ 33 w 111"/>
                  <a:gd name="T31" fmla="*/ 52 h 78"/>
                  <a:gd name="T32" fmla="*/ 46 w 111"/>
                  <a:gd name="T33" fmla="*/ 50 h 78"/>
                  <a:gd name="T34" fmla="*/ 60 w 111"/>
                  <a:gd name="T35" fmla="*/ 50 h 78"/>
                  <a:gd name="T36" fmla="*/ 65 w 111"/>
                  <a:gd name="T37" fmla="*/ 51 h 78"/>
                  <a:gd name="T38" fmla="*/ 46 w 111"/>
                  <a:gd name="T39" fmla="*/ 53 h 78"/>
                  <a:gd name="T40" fmla="*/ 56 w 111"/>
                  <a:gd name="T41" fmla="*/ 58 h 78"/>
                  <a:gd name="T42" fmla="*/ 46 w 111"/>
                  <a:gd name="T43" fmla="*/ 57 h 78"/>
                  <a:gd name="T44" fmla="*/ 38 w 111"/>
                  <a:gd name="T45" fmla="*/ 57 h 78"/>
                  <a:gd name="T46" fmla="*/ 40 w 111"/>
                  <a:gd name="T47" fmla="*/ 65 h 78"/>
                  <a:gd name="T48" fmla="*/ 52 w 111"/>
                  <a:gd name="T49" fmla="*/ 67 h 78"/>
                  <a:gd name="T50" fmla="*/ 57 w 111"/>
                  <a:gd name="T51" fmla="*/ 69 h 78"/>
                  <a:gd name="T52" fmla="*/ 54 w 111"/>
                  <a:gd name="T53" fmla="*/ 73 h 78"/>
                  <a:gd name="T54" fmla="*/ 64 w 111"/>
                  <a:gd name="T55" fmla="*/ 76 h 78"/>
                  <a:gd name="T56" fmla="*/ 65 w 111"/>
                  <a:gd name="T57" fmla="*/ 71 h 78"/>
                  <a:gd name="T58" fmla="*/ 69 w 111"/>
                  <a:gd name="T59" fmla="*/ 63 h 78"/>
                  <a:gd name="T60" fmla="*/ 76 w 111"/>
                  <a:gd name="T61" fmla="*/ 58 h 78"/>
                  <a:gd name="T62" fmla="*/ 85 w 111"/>
                  <a:gd name="T63" fmla="*/ 43 h 78"/>
                  <a:gd name="T64" fmla="*/ 89 w 111"/>
                  <a:gd name="T65" fmla="*/ 35 h 78"/>
                  <a:gd name="T66" fmla="*/ 96 w 111"/>
                  <a:gd name="T67" fmla="*/ 32 h 78"/>
                  <a:gd name="T68" fmla="*/ 103 w 111"/>
                  <a:gd name="T69" fmla="*/ 31 h 78"/>
                  <a:gd name="T70" fmla="*/ 109 w 111"/>
                  <a:gd name="T71" fmla="*/ 30 h 78"/>
                  <a:gd name="T72" fmla="*/ 94 w 111"/>
                  <a:gd name="T73" fmla="*/ 24 h 78"/>
                  <a:gd name="T74" fmla="*/ 84 w 111"/>
                  <a:gd name="T75" fmla="*/ 21 h 78"/>
                  <a:gd name="T76" fmla="*/ 79 w 111"/>
                  <a:gd name="T77" fmla="*/ 12 h 78"/>
                  <a:gd name="T78" fmla="*/ 72 w 111"/>
                  <a:gd name="T79" fmla="*/ 14 h 78"/>
                  <a:gd name="T80" fmla="*/ 64 w 111"/>
                  <a:gd name="T81" fmla="*/ 5 h 78"/>
                  <a:gd name="T82" fmla="*/ 56 w 111"/>
                  <a:gd name="T83" fmla="*/ 2 h 78"/>
                  <a:gd name="T84" fmla="*/ 53 w 111"/>
                  <a:gd name="T85" fmla="*/ 8 h 78"/>
                  <a:gd name="T86" fmla="*/ 58 w 111"/>
                  <a:gd name="T87" fmla="*/ 19 h 78"/>
                  <a:gd name="T88" fmla="*/ 57 w 111"/>
                  <a:gd name="T89" fmla="*/ 24 h 78"/>
                  <a:gd name="T90" fmla="*/ 53 w 111"/>
                  <a:gd name="T91" fmla="*/ 20 h 78"/>
                  <a:gd name="T92" fmla="*/ 49 w 111"/>
                  <a:gd name="T93" fmla="*/ 13 h 78"/>
                  <a:gd name="T94" fmla="*/ 42 w 111"/>
                  <a:gd name="T95" fmla="*/ 6 h 78"/>
                  <a:gd name="T96" fmla="*/ 36 w 111"/>
                  <a:gd name="T97" fmla="*/ 15 h 78"/>
                  <a:gd name="T98" fmla="*/ 30 w 111"/>
                  <a:gd name="T99" fmla="*/ 13 h 78"/>
                  <a:gd name="T100" fmla="*/ 18 w 111"/>
                  <a:gd name="T101" fmla="*/ 11 h 78"/>
                  <a:gd name="T102" fmla="*/ 34 w 111"/>
                  <a:gd name="T103" fmla="*/ 7 h 78"/>
                  <a:gd name="T104" fmla="*/ 19 w 111"/>
                  <a:gd name="T105" fmla="*/ 7 h 78"/>
                  <a:gd name="T106" fmla="*/ 14 w 111"/>
                  <a:gd name="T107" fmla="*/ 9 h 78"/>
                  <a:gd name="T108" fmla="*/ 5 w 111"/>
                  <a:gd name="T109" fmla="*/ 6 h 78"/>
                  <a:gd name="T110" fmla="*/ 4 w 111"/>
                  <a:gd name="T111"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78">
                    <a:moveTo>
                      <a:pt x="5" y="20"/>
                    </a:moveTo>
                    <a:cubicBezTo>
                      <a:pt x="5" y="21"/>
                      <a:pt x="5" y="21"/>
                      <a:pt x="6" y="21"/>
                    </a:cubicBezTo>
                    <a:cubicBezTo>
                      <a:pt x="7" y="22"/>
                      <a:pt x="11" y="21"/>
                      <a:pt x="10" y="19"/>
                    </a:cubicBezTo>
                    <a:cubicBezTo>
                      <a:pt x="10" y="19"/>
                      <a:pt x="9" y="18"/>
                      <a:pt x="9" y="17"/>
                    </a:cubicBezTo>
                    <a:cubicBezTo>
                      <a:pt x="10" y="16"/>
                      <a:pt x="12" y="18"/>
                      <a:pt x="12" y="18"/>
                    </a:cubicBezTo>
                    <a:cubicBezTo>
                      <a:pt x="11" y="17"/>
                      <a:pt x="12" y="18"/>
                      <a:pt x="13" y="17"/>
                    </a:cubicBezTo>
                    <a:cubicBezTo>
                      <a:pt x="14" y="17"/>
                      <a:pt x="15" y="17"/>
                      <a:pt x="14" y="19"/>
                    </a:cubicBezTo>
                    <a:cubicBezTo>
                      <a:pt x="13" y="20"/>
                      <a:pt x="13" y="20"/>
                      <a:pt x="12" y="21"/>
                    </a:cubicBezTo>
                    <a:cubicBezTo>
                      <a:pt x="12" y="21"/>
                      <a:pt x="11" y="22"/>
                      <a:pt x="11" y="22"/>
                    </a:cubicBezTo>
                    <a:cubicBezTo>
                      <a:pt x="11" y="23"/>
                      <a:pt x="13" y="24"/>
                      <a:pt x="14" y="24"/>
                    </a:cubicBezTo>
                    <a:cubicBezTo>
                      <a:pt x="15" y="24"/>
                      <a:pt x="18" y="24"/>
                      <a:pt x="17" y="25"/>
                    </a:cubicBezTo>
                    <a:cubicBezTo>
                      <a:pt x="15" y="27"/>
                      <a:pt x="13" y="26"/>
                      <a:pt x="11" y="25"/>
                    </a:cubicBezTo>
                    <a:cubicBezTo>
                      <a:pt x="10" y="25"/>
                      <a:pt x="7" y="24"/>
                      <a:pt x="5" y="24"/>
                    </a:cubicBezTo>
                    <a:cubicBezTo>
                      <a:pt x="4" y="24"/>
                      <a:pt x="4" y="24"/>
                      <a:pt x="5" y="25"/>
                    </a:cubicBezTo>
                    <a:cubicBezTo>
                      <a:pt x="6" y="26"/>
                      <a:pt x="7" y="27"/>
                      <a:pt x="8" y="28"/>
                    </a:cubicBezTo>
                    <a:cubicBezTo>
                      <a:pt x="8" y="29"/>
                      <a:pt x="7" y="29"/>
                      <a:pt x="8" y="30"/>
                    </a:cubicBezTo>
                    <a:cubicBezTo>
                      <a:pt x="9" y="30"/>
                      <a:pt x="10" y="31"/>
                      <a:pt x="11" y="31"/>
                    </a:cubicBezTo>
                    <a:cubicBezTo>
                      <a:pt x="13" y="32"/>
                      <a:pt x="15" y="33"/>
                      <a:pt x="17" y="34"/>
                    </a:cubicBezTo>
                    <a:cubicBezTo>
                      <a:pt x="18" y="34"/>
                      <a:pt x="19" y="35"/>
                      <a:pt x="20" y="35"/>
                    </a:cubicBezTo>
                    <a:cubicBezTo>
                      <a:pt x="21" y="35"/>
                      <a:pt x="22" y="34"/>
                      <a:pt x="23" y="34"/>
                    </a:cubicBezTo>
                    <a:cubicBezTo>
                      <a:pt x="21" y="36"/>
                      <a:pt x="18" y="35"/>
                      <a:pt x="15" y="36"/>
                    </a:cubicBezTo>
                    <a:cubicBezTo>
                      <a:pt x="16" y="38"/>
                      <a:pt x="18" y="39"/>
                      <a:pt x="19" y="40"/>
                    </a:cubicBezTo>
                    <a:cubicBezTo>
                      <a:pt x="21" y="42"/>
                      <a:pt x="21" y="42"/>
                      <a:pt x="24" y="42"/>
                    </a:cubicBezTo>
                    <a:cubicBezTo>
                      <a:pt x="25" y="42"/>
                      <a:pt x="28" y="43"/>
                      <a:pt x="30" y="42"/>
                    </a:cubicBezTo>
                    <a:cubicBezTo>
                      <a:pt x="31" y="42"/>
                      <a:pt x="30" y="42"/>
                      <a:pt x="29" y="41"/>
                    </a:cubicBezTo>
                    <a:cubicBezTo>
                      <a:pt x="30" y="40"/>
                      <a:pt x="31" y="41"/>
                      <a:pt x="31" y="41"/>
                    </a:cubicBezTo>
                    <a:cubicBezTo>
                      <a:pt x="32" y="41"/>
                      <a:pt x="32" y="40"/>
                      <a:pt x="32" y="40"/>
                    </a:cubicBezTo>
                    <a:cubicBezTo>
                      <a:pt x="33" y="40"/>
                      <a:pt x="34" y="41"/>
                      <a:pt x="35" y="40"/>
                    </a:cubicBezTo>
                    <a:cubicBezTo>
                      <a:pt x="36" y="39"/>
                      <a:pt x="34" y="39"/>
                      <a:pt x="35" y="38"/>
                    </a:cubicBezTo>
                    <a:cubicBezTo>
                      <a:pt x="35" y="38"/>
                      <a:pt x="37" y="38"/>
                      <a:pt x="38" y="38"/>
                    </a:cubicBezTo>
                    <a:cubicBezTo>
                      <a:pt x="39" y="38"/>
                      <a:pt x="40" y="38"/>
                      <a:pt x="40" y="37"/>
                    </a:cubicBezTo>
                    <a:cubicBezTo>
                      <a:pt x="39" y="36"/>
                      <a:pt x="37" y="37"/>
                      <a:pt x="37" y="36"/>
                    </a:cubicBezTo>
                    <a:cubicBezTo>
                      <a:pt x="35" y="35"/>
                      <a:pt x="39" y="35"/>
                      <a:pt x="38" y="34"/>
                    </a:cubicBezTo>
                    <a:cubicBezTo>
                      <a:pt x="38" y="33"/>
                      <a:pt x="38" y="32"/>
                      <a:pt x="37" y="32"/>
                    </a:cubicBezTo>
                    <a:cubicBezTo>
                      <a:pt x="38" y="31"/>
                      <a:pt x="39" y="30"/>
                      <a:pt x="40" y="30"/>
                    </a:cubicBezTo>
                    <a:cubicBezTo>
                      <a:pt x="41" y="30"/>
                      <a:pt x="41" y="33"/>
                      <a:pt x="42" y="33"/>
                    </a:cubicBezTo>
                    <a:cubicBezTo>
                      <a:pt x="43" y="33"/>
                      <a:pt x="43" y="32"/>
                      <a:pt x="44" y="32"/>
                    </a:cubicBezTo>
                    <a:cubicBezTo>
                      <a:pt x="44" y="32"/>
                      <a:pt x="45" y="32"/>
                      <a:pt x="45" y="32"/>
                    </a:cubicBezTo>
                    <a:cubicBezTo>
                      <a:pt x="46" y="32"/>
                      <a:pt x="45" y="31"/>
                      <a:pt x="45" y="31"/>
                    </a:cubicBezTo>
                    <a:cubicBezTo>
                      <a:pt x="45" y="30"/>
                      <a:pt x="45" y="28"/>
                      <a:pt x="46" y="28"/>
                    </a:cubicBezTo>
                    <a:cubicBezTo>
                      <a:pt x="48" y="27"/>
                      <a:pt x="48" y="31"/>
                      <a:pt x="48" y="32"/>
                    </a:cubicBezTo>
                    <a:cubicBezTo>
                      <a:pt x="47" y="34"/>
                      <a:pt x="45" y="35"/>
                      <a:pt x="47" y="36"/>
                    </a:cubicBezTo>
                    <a:cubicBezTo>
                      <a:pt x="48" y="37"/>
                      <a:pt x="49" y="36"/>
                      <a:pt x="50" y="36"/>
                    </a:cubicBezTo>
                    <a:cubicBezTo>
                      <a:pt x="51" y="36"/>
                      <a:pt x="53" y="36"/>
                      <a:pt x="53" y="36"/>
                    </a:cubicBezTo>
                    <a:cubicBezTo>
                      <a:pt x="54" y="35"/>
                      <a:pt x="54" y="35"/>
                      <a:pt x="55" y="34"/>
                    </a:cubicBezTo>
                    <a:cubicBezTo>
                      <a:pt x="55" y="34"/>
                      <a:pt x="56" y="34"/>
                      <a:pt x="56" y="34"/>
                    </a:cubicBezTo>
                    <a:cubicBezTo>
                      <a:pt x="57" y="34"/>
                      <a:pt x="57" y="33"/>
                      <a:pt x="57" y="32"/>
                    </a:cubicBezTo>
                    <a:cubicBezTo>
                      <a:pt x="57" y="32"/>
                      <a:pt x="58" y="32"/>
                      <a:pt x="58" y="32"/>
                    </a:cubicBezTo>
                    <a:cubicBezTo>
                      <a:pt x="58" y="31"/>
                      <a:pt x="58" y="30"/>
                      <a:pt x="59" y="31"/>
                    </a:cubicBezTo>
                    <a:cubicBezTo>
                      <a:pt x="60" y="31"/>
                      <a:pt x="61" y="32"/>
                      <a:pt x="62" y="31"/>
                    </a:cubicBezTo>
                    <a:cubicBezTo>
                      <a:pt x="61" y="33"/>
                      <a:pt x="58" y="35"/>
                      <a:pt x="57" y="37"/>
                    </a:cubicBezTo>
                    <a:cubicBezTo>
                      <a:pt x="58" y="37"/>
                      <a:pt x="59" y="37"/>
                      <a:pt x="59" y="37"/>
                    </a:cubicBezTo>
                    <a:cubicBezTo>
                      <a:pt x="60" y="37"/>
                      <a:pt x="61" y="38"/>
                      <a:pt x="62" y="38"/>
                    </a:cubicBezTo>
                    <a:cubicBezTo>
                      <a:pt x="59" y="38"/>
                      <a:pt x="57" y="38"/>
                      <a:pt x="54" y="39"/>
                    </a:cubicBezTo>
                    <a:cubicBezTo>
                      <a:pt x="53" y="39"/>
                      <a:pt x="52" y="39"/>
                      <a:pt x="51" y="39"/>
                    </a:cubicBezTo>
                    <a:cubicBezTo>
                      <a:pt x="50" y="41"/>
                      <a:pt x="51" y="41"/>
                      <a:pt x="49" y="42"/>
                    </a:cubicBezTo>
                    <a:cubicBezTo>
                      <a:pt x="48" y="42"/>
                      <a:pt x="46" y="43"/>
                      <a:pt x="44" y="43"/>
                    </a:cubicBezTo>
                    <a:cubicBezTo>
                      <a:pt x="41" y="44"/>
                      <a:pt x="38" y="45"/>
                      <a:pt x="35" y="46"/>
                    </a:cubicBezTo>
                    <a:cubicBezTo>
                      <a:pt x="34" y="47"/>
                      <a:pt x="32" y="45"/>
                      <a:pt x="31" y="45"/>
                    </a:cubicBezTo>
                    <a:cubicBezTo>
                      <a:pt x="31" y="44"/>
                      <a:pt x="30" y="45"/>
                      <a:pt x="30" y="45"/>
                    </a:cubicBezTo>
                    <a:cubicBezTo>
                      <a:pt x="28" y="45"/>
                      <a:pt x="28" y="45"/>
                      <a:pt x="28" y="47"/>
                    </a:cubicBezTo>
                    <a:cubicBezTo>
                      <a:pt x="28" y="48"/>
                      <a:pt x="28" y="49"/>
                      <a:pt x="29" y="50"/>
                    </a:cubicBezTo>
                    <a:cubicBezTo>
                      <a:pt x="29" y="52"/>
                      <a:pt x="29" y="52"/>
                      <a:pt x="31" y="52"/>
                    </a:cubicBezTo>
                    <a:cubicBezTo>
                      <a:pt x="32" y="52"/>
                      <a:pt x="32" y="52"/>
                      <a:pt x="33" y="52"/>
                    </a:cubicBezTo>
                    <a:cubicBezTo>
                      <a:pt x="34" y="51"/>
                      <a:pt x="39" y="52"/>
                      <a:pt x="39" y="51"/>
                    </a:cubicBezTo>
                    <a:cubicBezTo>
                      <a:pt x="39" y="51"/>
                      <a:pt x="39" y="52"/>
                      <a:pt x="39" y="52"/>
                    </a:cubicBezTo>
                    <a:cubicBezTo>
                      <a:pt x="41" y="51"/>
                      <a:pt x="42" y="51"/>
                      <a:pt x="43" y="51"/>
                    </a:cubicBezTo>
                    <a:cubicBezTo>
                      <a:pt x="44" y="51"/>
                      <a:pt x="45" y="50"/>
                      <a:pt x="46" y="50"/>
                    </a:cubicBezTo>
                    <a:cubicBezTo>
                      <a:pt x="47" y="49"/>
                      <a:pt x="48" y="49"/>
                      <a:pt x="49" y="49"/>
                    </a:cubicBezTo>
                    <a:cubicBezTo>
                      <a:pt x="50" y="49"/>
                      <a:pt x="50" y="50"/>
                      <a:pt x="51" y="50"/>
                    </a:cubicBezTo>
                    <a:cubicBezTo>
                      <a:pt x="53" y="50"/>
                      <a:pt x="56" y="50"/>
                      <a:pt x="58" y="50"/>
                    </a:cubicBezTo>
                    <a:cubicBezTo>
                      <a:pt x="59" y="50"/>
                      <a:pt x="59" y="50"/>
                      <a:pt x="60" y="50"/>
                    </a:cubicBezTo>
                    <a:cubicBezTo>
                      <a:pt x="61" y="50"/>
                      <a:pt x="60" y="49"/>
                      <a:pt x="61" y="49"/>
                    </a:cubicBezTo>
                    <a:cubicBezTo>
                      <a:pt x="62" y="48"/>
                      <a:pt x="63" y="48"/>
                      <a:pt x="64" y="48"/>
                    </a:cubicBezTo>
                    <a:cubicBezTo>
                      <a:pt x="63" y="48"/>
                      <a:pt x="63" y="49"/>
                      <a:pt x="62" y="49"/>
                    </a:cubicBezTo>
                    <a:cubicBezTo>
                      <a:pt x="62" y="51"/>
                      <a:pt x="64" y="51"/>
                      <a:pt x="65" y="51"/>
                    </a:cubicBezTo>
                    <a:cubicBezTo>
                      <a:pt x="64" y="51"/>
                      <a:pt x="63" y="51"/>
                      <a:pt x="62" y="51"/>
                    </a:cubicBezTo>
                    <a:cubicBezTo>
                      <a:pt x="61" y="51"/>
                      <a:pt x="59" y="51"/>
                      <a:pt x="58" y="51"/>
                    </a:cubicBezTo>
                    <a:cubicBezTo>
                      <a:pt x="56" y="51"/>
                      <a:pt x="54" y="52"/>
                      <a:pt x="52" y="52"/>
                    </a:cubicBezTo>
                    <a:cubicBezTo>
                      <a:pt x="50" y="52"/>
                      <a:pt x="48" y="52"/>
                      <a:pt x="46" y="53"/>
                    </a:cubicBezTo>
                    <a:cubicBezTo>
                      <a:pt x="44" y="53"/>
                      <a:pt x="42" y="53"/>
                      <a:pt x="40" y="54"/>
                    </a:cubicBezTo>
                    <a:cubicBezTo>
                      <a:pt x="42" y="56"/>
                      <a:pt x="47" y="55"/>
                      <a:pt x="49" y="56"/>
                    </a:cubicBezTo>
                    <a:cubicBezTo>
                      <a:pt x="51" y="56"/>
                      <a:pt x="52" y="56"/>
                      <a:pt x="53" y="57"/>
                    </a:cubicBezTo>
                    <a:cubicBezTo>
                      <a:pt x="54" y="57"/>
                      <a:pt x="55" y="58"/>
                      <a:pt x="56" y="58"/>
                    </a:cubicBezTo>
                    <a:cubicBezTo>
                      <a:pt x="56" y="58"/>
                      <a:pt x="55" y="59"/>
                      <a:pt x="55" y="59"/>
                    </a:cubicBezTo>
                    <a:cubicBezTo>
                      <a:pt x="54" y="59"/>
                      <a:pt x="53" y="57"/>
                      <a:pt x="52" y="57"/>
                    </a:cubicBezTo>
                    <a:cubicBezTo>
                      <a:pt x="51" y="57"/>
                      <a:pt x="50" y="57"/>
                      <a:pt x="49" y="57"/>
                    </a:cubicBezTo>
                    <a:cubicBezTo>
                      <a:pt x="48" y="57"/>
                      <a:pt x="47" y="57"/>
                      <a:pt x="46" y="57"/>
                    </a:cubicBezTo>
                    <a:cubicBezTo>
                      <a:pt x="45" y="56"/>
                      <a:pt x="44" y="56"/>
                      <a:pt x="43" y="56"/>
                    </a:cubicBezTo>
                    <a:cubicBezTo>
                      <a:pt x="42" y="56"/>
                      <a:pt x="42" y="56"/>
                      <a:pt x="41" y="56"/>
                    </a:cubicBezTo>
                    <a:cubicBezTo>
                      <a:pt x="40" y="56"/>
                      <a:pt x="40" y="57"/>
                      <a:pt x="40" y="57"/>
                    </a:cubicBezTo>
                    <a:cubicBezTo>
                      <a:pt x="40" y="58"/>
                      <a:pt x="38" y="58"/>
                      <a:pt x="38" y="57"/>
                    </a:cubicBezTo>
                    <a:cubicBezTo>
                      <a:pt x="38" y="55"/>
                      <a:pt x="34" y="56"/>
                      <a:pt x="32" y="56"/>
                    </a:cubicBezTo>
                    <a:cubicBezTo>
                      <a:pt x="32" y="57"/>
                      <a:pt x="31" y="57"/>
                      <a:pt x="32" y="58"/>
                    </a:cubicBezTo>
                    <a:cubicBezTo>
                      <a:pt x="32" y="59"/>
                      <a:pt x="33" y="60"/>
                      <a:pt x="34" y="61"/>
                    </a:cubicBezTo>
                    <a:cubicBezTo>
                      <a:pt x="35" y="64"/>
                      <a:pt x="37" y="64"/>
                      <a:pt x="40" y="65"/>
                    </a:cubicBezTo>
                    <a:cubicBezTo>
                      <a:pt x="41" y="65"/>
                      <a:pt x="43" y="65"/>
                      <a:pt x="44" y="66"/>
                    </a:cubicBezTo>
                    <a:cubicBezTo>
                      <a:pt x="46" y="67"/>
                      <a:pt x="47" y="68"/>
                      <a:pt x="49" y="68"/>
                    </a:cubicBezTo>
                    <a:cubicBezTo>
                      <a:pt x="50" y="68"/>
                      <a:pt x="51" y="68"/>
                      <a:pt x="52" y="68"/>
                    </a:cubicBezTo>
                    <a:cubicBezTo>
                      <a:pt x="53" y="68"/>
                      <a:pt x="52" y="67"/>
                      <a:pt x="52" y="67"/>
                    </a:cubicBezTo>
                    <a:cubicBezTo>
                      <a:pt x="52" y="67"/>
                      <a:pt x="53" y="67"/>
                      <a:pt x="53" y="67"/>
                    </a:cubicBezTo>
                    <a:cubicBezTo>
                      <a:pt x="54" y="67"/>
                      <a:pt x="55" y="68"/>
                      <a:pt x="56" y="68"/>
                    </a:cubicBezTo>
                    <a:cubicBezTo>
                      <a:pt x="57" y="68"/>
                      <a:pt x="58" y="68"/>
                      <a:pt x="59" y="68"/>
                    </a:cubicBezTo>
                    <a:cubicBezTo>
                      <a:pt x="58" y="69"/>
                      <a:pt x="57" y="68"/>
                      <a:pt x="57" y="69"/>
                    </a:cubicBezTo>
                    <a:cubicBezTo>
                      <a:pt x="56" y="69"/>
                      <a:pt x="56" y="70"/>
                      <a:pt x="56" y="69"/>
                    </a:cubicBezTo>
                    <a:cubicBezTo>
                      <a:pt x="56" y="68"/>
                      <a:pt x="54" y="69"/>
                      <a:pt x="53" y="69"/>
                    </a:cubicBezTo>
                    <a:cubicBezTo>
                      <a:pt x="52" y="69"/>
                      <a:pt x="49" y="69"/>
                      <a:pt x="48" y="71"/>
                    </a:cubicBezTo>
                    <a:cubicBezTo>
                      <a:pt x="50" y="72"/>
                      <a:pt x="52" y="72"/>
                      <a:pt x="54" y="73"/>
                    </a:cubicBezTo>
                    <a:cubicBezTo>
                      <a:pt x="54" y="74"/>
                      <a:pt x="56" y="74"/>
                      <a:pt x="56" y="75"/>
                    </a:cubicBezTo>
                    <a:cubicBezTo>
                      <a:pt x="57" y="75"/>
                      <a:pt x="56" y="77"/>
                      <a:pt x="57" y="77"/>
                    </a:cubicBezTo>
                    <a:cubicBezTo>
                      <a:pt x="59" y="76"/>
                      <a:pt x="59" y="78"/>
                      <a:pt x="62" y="77"/>
                    </a:cubicBezTo>
                    <a:cubicBezTo>
                      <a:pt x="63" y="77"/>
                      <a:pt x="63" y="77"/>
                      <a:pt x="64" y="76"/>
                    </a:cubicBezTo>
                    <a:cubicBezTo>
                      <a:pt x="64" y="76"/>
                      <a:pt x="65" y="75"/>
                      <a:pt x="66" y="75"/>
                    </a:cubicBezTo>
                    <a:cubicBezTo>
                      <a:pt x="66" y="74"/>
                      <a:pt x="64" y="74"/>
                      <a:pt x="64" y="73"/>
                    </a:cubicBezTo>
                    <a:cubicBezTo>
                      <a:pt x="63" y="73"/>
                      <a:pt x="63" y="73"/>
                      <a:pt x="64" y="72"/>
                    </a:cubicBezTo>
                    <a:cubicBezTo>
                      <a:pt x="64" y="72"/>
                      <a:pt x="64" y="72"/>
                      <a:pt x="65" y="71"/>
                    </a:cubicBezTo>
                    <a:cubicBezTo>
                      <a:pt x="65" y="70"/>
                      <a:pt x="66" y="70"/>
                      <a:pt x="67" y="69"/>
                    </a:cubicBezTo>
                    <a:cubicBezTo>
                      <a:pt x="67" y="68"/>
                      <a:pt x="66" y="68"/>
                      <a:pt x="65" y="67"/>
                    </a:cubicBezTo>
                    <a:cubicBezTo>
                      <a:pt x="67" y="67"/>
                      <a:pt x="67" y="68"/>
                      <a:pt x="68" y="66"/>
                    </a:cubicBezTo>
                    <a:cubicBezTo>
                      <a:pt x="68" y="65"/>
                      <a:pt x="68" y="64"/>
                      <a:pt x="69" y="63"/>
                    </a:cubicBezTo>
                    <a:cubicBezTo>
                      <a:pt x="69" y="63"/>
                      <a:pt x="69" y="62"/>
                      <a:pt x="69" y="61"/>
                    </a:cubicBezTo>
                    <a:cubicBezTo>
                      <a:pt x="70" y="60"/>
                      <a:pt x="71" y="59"/>
                      <a:pt x="71" y="58"/>
                    </a:cubicBezTo>
                    <a:cubicBezTo>
                      <a:pt x="72" y="57"/>
                      <a:pt x="73" y="57"/>
                      <a:pt x="74" y="57"/>
                    </a:cubicBezTo>
                    <a:cubicBezTo>
                      <a:pt x="75" y="57"/>
                      <a:pt x="76" y="58"/>
                      <a:pt x="76" y="58"/>
                    </a:cubicBezTo>
                    <a:cubicBezTo>
                      <a:pt x="77" y="57"/>
                      <a:pt x="78" y="55"/>
                      <a:pt x="78" y="54"/>
                    </a:cubicBezTo>
                    <a:cubicBezTo>
                      <a:pt x="78" y="53"/>
                      <a:pt x="79" y="51"/>
                      <a:pt x="79" y="50"/>
                    </a:cubicBezTo>
                    <a:cubicBezTo>
                      <a:pt x="79" y="49"/>
                      <a:pt x="79" y="45"/>
                      <a:pt x="80" y="45"/>
                    </a:cubicBezTo>
                    <a:cubicBezTo>
                      <a:pt x="82" y="46"/>
                      <a:pt x="86" y="46"/>
                      <a:pt x="85" y="43"/>
                    </a:cubicBezTo>
                    <a:cubicBezTo>
                      <a:pt x="85" y="42"/>
                      <a:pt x="84" y="40"/>
                      <a:pt x="84" y="39"/>
                    </a:cubicBezTo>
                    <a:cubicBezTo>
                      <a:pt x="85" y="39"/>
                      <a:pt x="85" y="39"/>
                      <a:pt x="85" y="38"/>
                    </a:cubicBezTo>
                    <a:cubicBezTo>
                      <a:pt x="85" y="36"/>
                      <a:pt x="84" y="36"/>
                      <a:pt x="86" y="36"/>
                    </a:cubicBezTo>
                    <a:cubicBezTo>
                      <a:pt x="87" y="36"/>
                      <a:pt x="88" y="36"/>
                      <a:pt x="89" y="35"/>
                    </a:cubicBezTo>
                    <a:cubicBezTo>
                      <a:pt x="90" y="35"/>
                      <a:pt x="90" y="35"/>
                      <a:pt x="91" y="35"/>
                    </a:cubicBezTo>
                    <a:cubicBezTo>
                      <a:pt x="92" y="35"/>
                      <a:pt x="92" y="34"/>
                      <a:pt x="92" y="33"/>
                    </a:cubicBezTo>
                    <a:cubicBezTo>
                      <a:pt x="93" y="32"/>
                      <a:pt x="94" y="33"/>
                      <a:pt x="95" y="33"/>
                    </a:cubicBezTo>
                    <a:cubicBezTo>
                      <a:pt x="95" y="33"/>
                      <a:pt x="96" y="32"/>
                      <a:pt x="96" y="32"/>
                    </a:cubicBezTo>
                    <a:cubicBezTo>
                      <a:pt x="96" y="32"/>
                      <a:pt x="97" y="32"/>
                      <a:pt x="98" y="32"/>
                    </a:cubicBezTo>
                    <a:cubicBezTo>
                      <a:pt x="99" y="32"/>
                      <a:pt x="100" y="33"/>
                      <a:pt x="101" y="32"/>
                    </a:cubicBezTo>
                    <a:cubicBezTo>
                      <a:pt x="101" y="32"/>
                      <a:pt x="101" y="31"/>
                      <a:pt x="102" y="31"/>
                    </a:cubicBezTo>
                    <a:cubicBezTo>
                      <a:pt x="102" y="31"/>
                      <a:pt x="103" y="31"/>
                      <a:pt x="103" y="31"/>
                    </a:cubicBezTo>
                    <a:cubicBezTo>
                      <a:pt x="104" y="31"/>
                      <a:pt x="105" y="32"/>
                      <a:pt x="106" y="32"/>
                    </a:cubicBezTo>
                    <a:cubicBezTo>
                      <a:pt x="107" y="32"/>
                      <a:pt x="107" y="32"/>
                      <a:pt x="107" y="31"/>
                    </a:cubicBezTo>
                    <a:cubicBezTo>
                      <a:pt x="108" y="31"/>
                      <a:pt x="108" y="32"/>
                      <a:pt x="109" y="32"/>
                    </a:cubicBezTo>
                    <a:cubicBezTo>
                      <a:pt x="109" y="31"/>
                      <a:pt x="109" y="31"/>
                      <a:pt x="109" y="30"/>
                    </a:cubicBezTo>
                    <a:cubicBezTo>
                      <a:pt x="110" y="30"/>
                      <a:pt x="111" y="30"/>
                      <a:pt x="111" y="29"/>
                    </a:cubicBezTo>
                    <a:cubicBezTo>
                      <a:pt x="111" y="28"/>
                      <a:pt x="103" y="26"/>
                      <a:pt x="102" y="26"/>
                    </a:cubicBezTo>
                    <a:cubicBezTo>
                      <a:pt x="100" y="26"/>
                      <a:pt x="99" y="25"/>
                      <a:pt x="97" y="24"/>
                    </a:cubicBezTo>
                    <a:cubicBezTo>
                      <a:pt x="96" y="24"/>
                      <a:pt x="95" y="24"/>
                      <a:pt x="94" y="24"/>
                    </a:cubicBezTo>
                    <a:cubicBezTo>
                      <a:pt x="93" y="23"/>
                      <a:pt x="93" y="21"/>
                      <a:pt x="92" y="21"/>
                    </a:cubicBezTo>
                    <a:cubicBezTo>
                      <a:pt x="90" y="20"/>
                      <a:pt x="89" y="20"/>
                      <a:pt x="87" y="20"/>
                    </a:cubicBezTo>
                    <a:cubicBezTo>
                      <a:pt x="87" y="20"/>
                      <a:pt x="87" y="21"/>
                      <a:pt x="86" y="21"/>
                    </a:cubicBezTo>
                    <a:cubicBezTo>
                      <a:pt x="86" y="21"/>
                      <a:pt x="85" y="21"/>
                      <a:pt x="84" y="21"/>
                    </a:cubicBezTo>
                    <a:cubicBezTo>
                      <a:pt x="83" y="20"/>
                      <a:pt x="83" y="17"/>
                      <a:pt x="83" y="16"/>
                    </a:cubicBezTo>
                    <a:cubicBezTo>
                      <a:pt x="83" y="15"/>
                      <a:pt x="83" y="15"/>
                      <a:pt x="83" y="14"/>
                    </a:cubicBezTo>
                    <a:cubicBezTo>
                      <a:pt x="83" y="14"/>
                      <a:pt x="83" y="13"/>
                      <a:pt x="82" y="13"/>
                    </a:cubicBezTo>
                    <a:cubicBezTo>
                      <a:pt x="81" y="12"/>
                      <a:pt x="80" y="12"/>
                      <a:pt x="79" y="12"/>
                    </a:cubicBezTo>
                    <a:cubicBezTo>
                      <a:pt x="78" y="11"/>
                      <a:pt x="76" y="11"/>
                      <a:pt x="75" y="11"/>
                    </a:cubicBezTo>
                    <a:cubicBezTo>
                      <a:pt x="74" y="12"/>
                      <a:pt x="74" y="13"/>
                      <a:pt x="74" y="14"/>
                    </a:cubicBezTo>
                    <a:cubicBezTo>
                      <a:pt x="74" y="14"/>
                      <a:pt x="71" y="16"/>
                      <a:pt x="71" y="16"/>
                    </a:cubicBezTo>
                    <a:cubicBezTo>
                      <a:pt x="70" y="15"/>
                      <a:pt x="72" y="15"/>
                      <a:pt x="72" y="14"/>
                    </a:cubicBezTo>
                    <a:cubicBezTo>
                      <a:pt x="72" y="13"/>
                      <a:pt x="72" y="13"/>
                      <a:pt x="72" y="12"/>
                    </a:cubicBezTo>
                    <a:cubicBezTo>
                      <a:pt x="72" y="11"/>
                      <a:pt x="72" y="10"/>
                      <a:pt x="73" y="9"/>
                    </a:cubicBezTo>
                    <a:cubicBezTo>
                      <a:pt x="73" y="9"/>
                      <a:pt x="76" y="8"/>
                      <a:pt x="75" y="7"/>
                    </a:cubicBezTo>
                    <a:cubicBezTo>
                      <a:pt x="71" y="6"/>
                      <a:pt x="68" y="6"/>
                      <a:pt x="64" y="5"/>
                    </a:cubicBezTo>
                    <a:cubicBezTo>
                      <a:pt x="64" y="5"/>
                      <a:pt x="62" y="4"/>
                      <a:pt x="62" y="4"/>
                    </a:cubicBezTo>
                    <a:cubicBezTo>
                      <a:pt x="61" y="3"/>
                      <a:pt x="60" y="2"/>
                      <a:pt x="59" y="0"/>
                    </a:cubicBezTo>
                    <a:cubicBezTo>
                      <a:pt x="57" y="1"/>
                      <a:pt x="55" y="1"/>
                      <a:pt x="53" y="1"/>
                    </a:cubicBezTo>
                    <a:cubicBezTo>
                      <a:pt x="54" y="1"/>
                      <a:pt x="56" y="1"/>
                      <a:pt x="56" y="2"/>
                    </a:cubicBezTo>
                    <a:cubicBezTo>
                      <a:pt x="57" y="2"/>
                      <a:pt x="57" y="3"/>
                      <a:pt x="57" y="4"/>
                    </a:cubicBezTo>
                    <a:cubicBezTo>
                      <a:pt x="57" y="4"/>
                      <a:pt x="57" y="4"/>
                      <a:pt x="57" y="4"/>
                    </a:cubicBezTo>
                    <a:cubicBezTo>
                      <a:pt x="57" y="5"/>
                      <a:pt x="54" y="3"/>
                      <a:pt x="53" y="4"/>
                    </a:cubicBezTo>
                    <a:cubicBezTo>
                      <a:pt x="52" y="5"/>
                      <a:pt x="53" y="7"/>
                      <a:pt x="53" y="8"/>
                    </a:cubicBezTo>
                    <a:cubicBezTo>
                      <a:pt x="53" y="9"/>
                      <a:pt x="54" y="10"/>
                      <a:pt x="55" y="11"/>
                    </a:cubicBezTo>
                    <a:cubicBezTo>
                      <a:pt x="55" y="12"/>
                      <a:pt x="55" y="13"/>
                      <a:pt x="55" y="14"/>
                    </a:cubicBezTo>
                    <a:cubicBezTo>
                      <a:pt x="56" y="16"/>
                      <a:pt x="56" y="17"/>
                      <a:pt x="56" y="17"/>
                    </a:cubicBezTo>
                    <a:cubicBezTo>
                      <a:pt x="57" y="18"/>
                      <a:pt x="57" y="18"/>
                      <a:pt x="58" y="19"/>
                    </a:cubicBezTo>
                    <a:cubicBezTo>
                      <a:pt x="58" y="19"/>
                      <a:pt x="58" y="20"/>
                      <a:pt x="58" y="20"/>
                    </a:cubicBezTo>
                    <a:cubicBezTo>
                      <a:pt x="58" y="22"/>
                      <a:pt x="59" y="22"/>
                      <a:pt x="60" y="23"/>
                    </a:cubicBezTo>
                    <a:cubicBezTo>
                      <a:pt x="60" y="24"/>
                      <a:pt x="61" y="25"/>
                      <a:pt x="61" y="26"/>
                    </a:cubicBezTo>
                    <a:cubicBezTo>
                      <a:pt x="60" y="26"/>
                      <a:pt x="58" y="25"/>
                      <a:pt x="57" y="24"/>
                    </a:cubicBezTo>
                    <a:cubicBezTo>
                      <a:pt x="57" y="24"/>
                      <a:pt x="58" y="23"/>
                      <a:pt x="57" y="23"/>
                    </a:cubicBezTo>
                    <a:cubicBezTo>
                      <a:pt x="57" y="22"/>
                      <a:pt x="57" y="22"/>
                      <a:pt x="56" y="22"/>
                    </a:cubicBezTo>
                    <a:cubicBezTo>
                      <a:pt x="56" y="21"/>
                      <a:pt x="55" y="20"/>
                      <a:pt x="54" y="20"/>
                    </a:cubicBezTo>
                    <a:cubicBezTo>
                      <a:pt x="53" y="20"/>
                      <a:pt x="52" y="22"/>
                      <a:pt x="53" y="20"/>
                    </a:cubicBezTo>
                    <a:cubicBezTo>
                      <a:pt x="54" y="19"/>
                      <a:pt x="54" y="19"/>
                      <a:pt x="53" y="18"/>
                    </a:cubicBezTo>
                    <a:cubicBezTo>
                      <a:pt x="53" y="18"/>
                      <a:pt x="52" y="17"/>
                      <a:pt x="52" y="17"/>
                    </a:cubicBezTo>
                    <a:cubicBezTo>
                      <a:pt x="51" y="17"/>
                      <a:pt x="51" y="16"/>
                      <a:pt x="50" y="15"/>
                    </a:cubicBezTo>
                    <a:cubicBezTo>
                      <a:pt x="50" y="14"/>
                      <a:pt x="50" y="14"/>
                      <a:pt x="49" y="13"/>
                    </a:cubicBezTo>
                    <a:cubicBezTo>
                      <a:pt x="49" y="13"/>
                      <a:pt x="49" y="12"/>
                      <a:pt x="49" y="12"/>
                    </a:cubicBezTo>
                    <a:cubicBezTo>
                      <a:pt x="48" y="11"/>
                      <a:pt x="49" y="10"/>
                      <a:pt x="48" y="10"/>
                    </a:cubicBezTo>
                    <a:cubicBezTo>
                      <a:pt x="48" y="10"/>
                      <a:pt x="47" y="10"/>
                      <a:pt x="47" y="9"/>
                    </a:cubicBezTo>
                    <a:cubicBezTo>
                      <a:pt x="45" y="8"/>
                      <a:pt x="44" y="6"/>
                      <a:pt x="42" y="6"/>
                    </a:cubicBezTo>
                    <a:cubicBezTo>
                      <a:pt x="40" y="5"/>
                      <a:pt x="40" y="7"/>
                      <a:pt x="38" y="8"/>
                    </a:cubicBezTo>
                    <a:cubicBezTo>
                      <a:pt x="38" y="9"/>
                      <a:pt x="36" y="9"/>
                      <a:pt x="37" y="10"/>
                    </a:cubicBezTo>
                    <a:cubicBezTo>
                      <a:pt x="36" y="10"/>
                      <a:pt x="35" y="10"/>
                      <a:pt x="34" y="11"/>
                    </a:cubicBezTo>
                    <a:cubicBezTo>
                      <a:pt x="34" y="12"/>
                      <a:pt x="35" y="14"/>
                      <a:pt x="36" y="15"/>
                    </a:cubicBezTo>
                    <a:cubicBezTo>
                      <a:pt x="36" y="16"/>
                      <a:pt x="37" y="16"/>
                      <a:pt x="36" y="17"/>
                    </a:cubicBezTo>
                    <a:cubicBezTo>
                      <a:pt x="35" y="18"/>
                      <a:pt x="35" y="18"/>
                      <a:pt x="34" y="18"/>
                    </a:cubicBezTo>
                    <a:cubicBezTo>
                      <a:pt x="33" y="18"/>
                      <a:pt x="34" y="15"/>
                      <a:pt x="33" y="15"/>
                    </a:cubicBezTo>
                    <a:cubicBezTo>
                      <a:pt x="32" y="14"/>
                      <a:pt x="31" y="13"/>
                      <a:pt x="30" y="13"/>
                    </a:cubicBezTo>
                    <a:cubicBezTo>
                      <a:pt x="29" y="13"/>
                      <a:pt x="28" y="14"/>
                      <a:pt x="27" y="13"/>
                    </a:cubicBezTo>
                    <a:cubicBezTo>
                      <a:pt x="26" y="12"/>
                      <a:pt x="30" y="12"/>
                      <a:pt x="29" y="11"/>
                    </a:cubicBezTo>
                    <a:cubicBezTo>
                      <a:pt x="29" y="10"/>
                      <a:pt x="26" y="10"/>
                      <a:pt x="25" y="11"/>
                    </a:cubicBezTo>
                    <a:cubicBezTo>
                      <a:pt x="23" y="11"/>
                      <a:pt x="19" y="12"/>
                      <a:pt x="18" y="11"/>
                    </a:cubicBezTo>
                    <a:cubicBezTo>
                      <a:pt x="19" y="11"/>
                      <a:pt x="21" y="10"/>
                      <a:pt x="22" y="10"/>
                    </a:cubicBezTo>
                    <a:cubicBezTo>
                      <a:pt x="23" y="9"/>
                      <a:pt x="24" y="9"/>
                      <a:pt x="24" y="8"/>
                    </a:cubicBezTo>
                    <a:cubicBezTo>
                      <a:pt x="25" y="8"/>
                      <a:pt x="27" y="8"/>
                      <a:pt x="28" y="8"/>
                    </a:cubicBezTo>
                    <a:cubicBezTo>
                      <a:pt x="30" y="8"/>
                      <a:pt x="33" y="9"/>
                      <a:pt x="34" y="7"/>
                    </a:cubicBezTo>
                    <a:cubicBezTo>
                      <a:pt x="36" y="3"/>
                      <a:pt x="30" y="4"/>
                      <a:pt x="28" y="4"/>
                    </a:cubicBezTo>
                    <a:cubicBezTo>
                      <a:pt x="27" y="5"/>
                      <a:pt x="26" y="5"/>
                      <a:pt x="25" y="5"/>
                    </a:cubicBezTo>
                    <a:cubicBezTo>
                      <a:pt x="24" y="5"/>
                      <a:pt x="23" y="6"/>
                      <a:pt x="22" y="6"/>
                    </a:cubicBezTo>
                    <a:cubicBezTo>
                      <a:pt x="22" y="6"/>
                      <a:pt x="19" y="7"/>
                      <a:pt x="19" y="7"/>
                    </a:cubicBezTo>
                    <a:cubicBezTo>
                      <a:pt x="18" y="6"/>
                      <a:pt x="19" y="6"/>
                      <a:pt x="18" y="5"/>
                    </a:cubicBezTo>
                    <a:cubicBezTo>
                      <a:pt x="18" y="5"/>
                      <a:pt x="17" y="5"/>
                      <a:pt x="17" y="5"/>
                    </a:cubicBezTo>
                    <a:cubicBezTo>
                      <a:pt x="16" y="5"/>
                      <a:pt x="16" y="5"/>
                      <a:pt x="15" y="6"/>
                    </a:cubicBezTo>
                    <a:cubicBezTo>
                      <a:pt x="15" y="6"/>
                      <a:pt x="15" y="9"/>
                      <a:pt x="14" y="9"/>
                    </a:cubicBezTo>
                    <a:cubicBezTo>
                      <a:pt x="14" y="8"/>
                      <a:pt x="13" y="6"/>
                      <a:pt x="13" y="6"/>
                    </a:cubicBezTo>
                    <a:cubicBezTo>
                      <a:pt x="13" y="5"/>
                      <a:pt x="11" y="5"/>
                      <a:pt x="10" y="5"/>
                    </a:cubicBezTo>
                    <a:cubicBezTo>
                      <a:pt x="9" y="5"/>
                      <a:pt x="8" y="6"/>
                      <a:pt x="7" y="6"/>
                    </a:cubicBezTo>
                    <a:cubicBezTo>
                      <a:pt x="7" y="6"/>
                      <a:pt x="6" y="6"/>
                      <a:pt x="5" y="6"/>
                    </a:cubicBezTo>
                    <a:cubicBezTo>
                      <a:pt x="5" y="7"/>
                      <a:pt x="6" y="9"/>
                      <a:pt x="5" y="9"/>
                    </a:cubicBezTo>
                    <a:cubicBezTo>
                      <a:pt x="5" y="10"/>
                      <a:pt x="4" y="9"/>
                      <a:pt x="3" y="9"/>
                    </a:cubicBezTo>
                    <a:cubicBezTo>
                      <a:pt x="3" y="9"/>
                      <a:pt x="2" y="10"/>
                      <a:pt x="2" y="10"/>
                    </a:cubicBezTo>
                    <a:cubicBezTo>
                      <a:pt x="3" y="11"/>
                      <a:pt x="4" y="11"/>
                      <a:pt x="4" y="11"/>
                    </a:cubicBezTo>
                    <a:cubicBezTo>
                      <a:pt x="4" y="11"/>
                      <a:pt x="1" y="11"/>
                      <a:pt x="0" y="11"/>
                    </a:cubicBezTo>
                    <a:cubicBezTo>
                      <a:pt x="0" y="12"/>
                      <a:pt x="1" y="15"/>
                      <a:pt x="2" y="16"/>
                    </a:cubicBezTo>
                    <a:cubicBezTo>
                      <a:pt x="3" y="17"/>
                      <a:pt x="4" y="18"/>
                      <a:pt x="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5" name="Freeform 2193">
                <a:extLst>
                  <a:ext uri="{FF2B5EF4-FFF2-40B4-BE49-F238E27FC236}">
                    <a16:creationId xmlns:a16="http://schemas.microsoft.com/office/drawing/2014/main" id="{3104AFDD-576A-4678-9F28-4C6B8C45D14D}"/>
                  </a:ext>
                </a:extLst>
              </p:cNvPr>
              <p:cNvSpPr>
                <a:spLocks/>
              </p:cNvSpPr>
              <p:nvPr/>
            </p:nvSpPr>
            <p:spPr bwMode="auto">
              <a:xfrm>
                <a:off x="4048" y="335"/>
                <a:ext cx="102" cy="52"/>
              </a:xfrm>
              <a:custGeom>
                <a:avLst/>
                <a:gdLst>
                  <a:gd name="T0" fmla="*/ 43 w 43"/>
                  <a:gd name="T1" fmla="*/ 11 h 22"/>
                  <a:gd name="T2" fmla="*/ 38 w 43"/>
                  <a:gd name="T3" fmla="*/ 8 h 22"/>
                  <a:gd name="T4" fmla="*/ 37 w 43"/>
                  <a:gd name="T5" fmla="*/ 7 h 22"/>
                  <a:gd name="T6" fmla="*/ 36 w 43"/>
                  <a:gd name="T7" fmla="*/ 8 h 22"/>
                  <a:gd name="T8" fmla="*/ 35 w 43"/>
                  <a:gd name="T9" fmla="*/ 8 h 22"/>
                  <a:gd name="T10" fmla="*/ 32 w 43"/>
                  <a:gd name="T11" fmla="*/ 9 h 22"/>
                  <a:gd name="T12" fmla="*/ 29 w 43"/>
                  <a:gd name="T13" fmla="*/ 7 h 22"/>
                  <a:gd name="T14" fmla="*/ 26 w 43"/>
                  <a:gd name="T15" fmla="*/ 6 h 22"/>
                  <a:gd name="T16" fmla="*/ 28 w 43"/>
                  <a:gd name="T17" fmla="*/ 3 h 22"/>
                  <a:gd name="T18" fmla="*/ 28 w 43"/>
                  <a:gd name="T19" fmla="*/ 1 h 22"/>
                  <a:gd name="T20" fmla="*/ 25 w 43"/>
                  <a:gd name="T21" fmla="*/ 0 h 22"/>
                  <a:gd name="T22" fmla="*/ 19 w 43"/>
                  <a:gd name="T23" fmla="*/ 0 h 22"/>
                  <a:gd name="T24" fmla="*/ 17 w 43"/>
                  <a:gd name="T25" fmla="*/ 1 h 22"/>
                  <a:gd name="T26" fmla="*/ 15 w 43"/>
                  <a:gd name="T27" fmla="*/ 1 h 22"/>
                  <a:gd name="T28" fmla="*/ 12 w 43"/>
                  <a:gd name="T29" fmla="*/ 1 h 22"/>
                  <a:gd name="T30" fmla="*/ 6 w 43"/>
                  <a:gd name="T31" fmla="*/ 2 h 22"/>
                  <a:gd name="T32" fmla="*/ 3 w 43"/>
                  <a:gd name="T33" fmla="*/ 4 h 22"/>
                  <a:gd name="T34" fmla="*/ 6 w 43"/>
                  <a:gd name="T35" fmla="*/ 6 h 22"/>
                  <a:gd name="T36" fmla="*/ 10 w 43"/>
                  <a:gd name="T37" fmla="*/ 7 h 22"/>
                  <a:gd name="T38" fmla="*/ 9 w 43"/>
                  <a:gd name="T39" fmla="*/ 8 h 22"/>
                  <a:gd name="T40" fmla="*/ 8 w 43"/>
                  <a:gd name="T41" fmla="*/ 10 h 22"/>
                  <a:gd name="T42" fmla="*/ 6 w 43"/>
                  <a:gd name="T43" fmla="*/ 12 h 22"/>
                  <a:gd name="T44" fmla="*/ 4 w 43"/>
                  <a:gd name="T45" fmla="*/ 14 h 22"/>
                  <a:gd name="T46" fmla="*/ 2 w 43"/>
                  <a:gd name="T47" fmla="*/ 17 h 22"/>
                  <a:gd name="T48" fmla="*/ 10 w 43"/>
                  <a:gd name="T49" fmla="*/ 16 h 22"/>
                  <a:gd name="T50" fmla="*/ 21 w 43"/>
                  <a:gd name="T51" fmla="*/ 15 h 22"/>
                  <a:gd name="T52" fmla="*/ 20 w 43"/>
                  <a:gd name="T53" fmla="*/ 17 h 22"/>
                  <a:gd name="T54" fmla="*/ 19 w 43"/>
                  <a:gd name="T55" fmla="*/ 20 h 22"/>
                  <a:gd name="T56" fmla="*/ 22 w 43"/>
                  <a:gd name="T57" fmla="*/ 21 h 22"/>
                  <a:gd name="T58" fmla="*/ 23 w 43"/>
                  <a:gd name="T59" fmla="*/ 20 h 22"/>
                  <a:gd name="T60" fmla="*/ 27 w 43"/>
                  <a:gd name="T61" fmla="*/ 19 h 22"/>
                  <a:gd name="T62" fmla="*/ 29 w 43"/>
                  <a:gd name="T63" fmla="*/ 18 h 22"/>
                  <a:gd name="T64" fmla="*/ 32 w 43"/>
                  <a:gd name="T65" fmla="*/ 17 h 22"/>
                  <a:gd name="T66" fmla="*/ 35 w 43"/>
                  <a:gd name="T67" fmla="*/ 14 h 22"/>
                  <a:gd name="T68" fmla="*/ 43 w 43"/>
                  <a:gd name="T6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22">
                    <a:moveTo>
                      <a:pt x="43" y="11"/>
                    </a:moveTo>
                    <a:cubicBezTo>
                      <a:pt x="41" y="10"/>
                      <a:pt x="39" y="9"/>
                      <a:pt x="38" y="8"/>
                    </a:cubicBezTo>
                    <a:cubicBezTo>
                      <a:pt x="37" y="8"/>
                      <a:pt x="37" y="8"/>
                      <a:pt x="37" y="7"/>
                    </a:cubicBezTo>
                    <a:cubicBezTo>
                      <a:pt x="37" y="7"/>
                      <a:pt x="36" y="8"/>
                      <a:pt x="36" y="8"/>
                    </a:cubicBezTo>
                    <a:cubicBezTo>
                      <a:pt x="36" y="8"/>
                      <a:pt x="35" y="8"/>
                      <a:pt x="35" y="8"/>
                    </a:cubicBezTo>
                    <a:cubicBezTo>
                      <a:pt x="34" y="8"/>
                      <a:pt x="33" y="9"/>
                      <a:pt x="32" y="9"/>
                    </a:cubicBezTo>
                    <a:cubicBezTo>
                      <a:pt x="31" y="9"/>
                      <a:pt x="30" y="8"/>
                      <a:pt x="29" y="7"/>
                    </a:cubicBezTo>
                    <a:cubicBezTo>
                      <a:pt x="29" y="7"/>
                      <a:pt x="26" y="6"/>
                      <a:pt x="26" y="6"/>
                    </a:cubicBezTo>
                    <a:cubicBezTo>
                      <a:pt x="26" y="6"/>
                      <a:pt x="27" y="4"/>
                      <a:pt x="28" y="3"/>
                    </a:cubicBezTo>
                    <a:cubicBezTo>
                      <a:pt x="28" y="2"/>
                      <a:pt x="28" y="2"/>
                      <a:pt x="28" y="1"/>
                    </a:cubicBezTo>
                    <a:cubicBezTo>
                      <a:pt x="27" y="1"/>
                      <a:pt x="26" y="0"/>
                      <a:pt x="25" y="0"/>
                    </a:cubicBezTo>
                    <a:cubicBezTo>
                      <a:pt x="23" y="0"/>
                      <a:pt x="21" y="0"/>
                      <a:pt x="19" y="0"/>
                    </a:cubicBezTo>
                    <a:cubicBezTo>
                      <a:pt x="18" y="1"/>
                      <a:pt x="18" y="1"/>
                      <a:pt x="17" y="1"/>
                    </a:cubicBezTo>
                    <a:cubicBezTo>
                      <a:pt x="17" y="1"/>
                      <a:pt x="16" y="1"/>
                      <a:pt x="15" y="1"/>
                    </a:cubicBezTo>
                    <a:cubicBezTo>
                      <a:pt x="14" y="1"/>
                      <a:pt x="13" y="1"/>
                      <a:pt x="12" y="1"/>
                    </a:cubicBezTo>
                    <a:cubicBezTo>
                      <a:pt x="10" y="1"/>
                      <a:pt x="8" y="1"/>
                      <a:pt x="6" y="2"/>
                    </a:cubicBezTo>
                    <a:cubicBezTo>
                      <a:pt x="5" y="2"/>
                      <a:pt x="0" y="3"/>
                      <a:pt x="3" y="4"/>
                    </a:cubicBezTo>
                    <a:cubicBezTo>
                      <a:pt x="4" y="5"/>
                      <a:pt x="5" y="5"/>
                      <a:pt x="6" y="6"/>
                    </a:cubicBezTo>
                    <a:cubicBezTo>
                      <a:pt x="7" y="6"/>
                      <a:pt x="9" y="6"/>
                      <a:pt x="10" y="7"/>
                    </a:cubicBezTo>
                    <a:cubicBezTo>
                      <a:pt x="9" y="7"/>
                      <a:pt x="9" y="8"/>
                      <a:pt x="9" y="8"/>
                    </a:cubicBezTo>
                    <a:cubicBezTo>
                      <a:pt x="9" y="9"/>
                      <a:pt x="8" y="9"/>
                      <a:pt x="8" y="10"/>
                    </a:cubicBezTo>
                    <a:cubicBezTo>
                      <a:pt x="7" y="10"/>
                      <a:pt x="6" y="11"/>
                      <a:pt x="6" y="12"/>
                    </a:cubicBezTo>
                    <a:cubicBezTo>
                      <a:pt x="5" y="14"/>
                      <a:pt x="5" y="14"/>
                      <a:pt x="4" y="14"/>
                    </a:cubicBezTo>
                    <a:cubicBezTo>
                      <a:pt x="2" y="15"/>
                      <a:pt x="2" y="15"/>
                      <a:pt x="2" y="17"/>
                    </a:cubicBezTo>
                    <a:cubicBezTo>
                      <a:pt x="4" y="17"/>
                      <a:pt x="7" y="17"/>
                      <a:pt x="10" y="16"/>
                    </a:cubicBezTo>
                    <a:cubicBezTo>
                      <a:pt x="14" y="16"/>
                      <a:pt x="17" y="16"/>
                      <a:pt x="21" y="15"/>
                    </a:cubicBezTo>
                    <a:cubicBezTo>
                      <a:pt x="22" y="15"/>
                      <a:pt x="20" y="17"/>
                      <a:pt x="20" y="17"/>
                    </a:cubicBezTo>
                    <a:cubicBezTo>
                      <a:pt x="18" y="18"/>
                      <a:pt x="17" y="18"/>
                      <a:pt x="19" y="20"/>
                    </a:cubicBezTo>
                    <a:cubicBezTo>
                      <a:pt x="20" y="20"/>
                      <a:pt x="21" y="22"/>
                      <a:pt x="22" y="21"/>
                    </a:cubicBezTo>
                    <a:cubicBezTo>
                      <a:pt x="23" y="21"/>
                      <a:pt x="22" y="20"/>
                      <a:pt x="23" y="20"/>
                    </a:cubicBezTo>
                    <a:cubicBezTo>
                      <a:pt x="24" y="19"/>
                      <a:pt x="25" y="19"/>
                      <a:pt x="27" y="19"/>
                    </a:cubicBezTo>
                    <a:cubicBezTo>
                      <a:pt x="28" y="19"/>
                      <a:pt x="28" y="19"/>
                      <a:pt x="29" y="18"/>
                    </a:cubicBezTo>
                    <a:cubicBezTo>
                      <a:pt x="30" y="18"/>
                      <a:pt x="31" y="18"/>
                      <a:pt x="32" y="17"/>
                    </a:cubicBezTo>
                    <a:cubicBezTo>
                      <a:pt x="33" y="16"/>
                      <a:pt x="33" y="15"/>
                      <a:pt x="35" y="14"/>
                    </a:cubicBezTo>
                    <a:cubicBezTo>
                      <a:pt x="38" y="13"/>
                      <a:pt x="41" y="12"/>
                      <a:pt x="4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6" name="Freeform 2194">
                <a:extLst>
                  <a:ext uri="{FF2B5EF4-FFF2-40B4-BE49-F238E27FC236}">
                    <a16:creationId xmlns:a16="http://schemas.microsoft.com/office/drawing/2014/main" id="{773FA0FB-93CA-4F51-AEB2-104C8A46841A}"/>
                  </a:ext>
                </a:extLst>
              </p:cNvPr>
              <p:cNvSpPr>
                <a:spLocks/>
              </p:cNvSpPr>
              <p:nvPr/>
            </p:nvSpPr>
            <p:spPr bwMode="auto">
              <a:xfrm>
                <a:off x="3977" y="212"/>
                <a:ext cx="229" cy="75"/>
              </a:xfrm>
              <a:custGeom>
                <a:avLst/>
                <a:gdLst>
                  <a:gd name="T0" fmla="*/ 11 w 97"/>
                  <a:gd name="T1" fmla="*/ 12 h 32"/>
                  <a:gd name="T2" fmla="*/ 9 w 97"/>
                  <a:gd name="T3" fmla="*/ 12 h 32"/>
                  <a:gd name="T4" fmla="*/ 8 w 97"/>
                  <a:gd name="T5" fmla="*/ 13 h 32"/>
                  <a:gd name="T6" fmla="*/ 9 w 97"/>
                  <a:gd name="T7" fmla="*/ 16 h 32"/>
                  <a:gd name="T8" fmla="*/ 13 w 97"/>
                  <a:gd name="T9" fmla="*/ 18 h 32"/>
                  <a:gd name="T10" fmla="*/ 26 w 97"/>
                  <a:gd name="T11" fmla="*/ 17 h 32"/>
                  <a:gd name="T12" fmla="*/ 46 w 97"/>
                  <a:gd name="T13" fmla="*/ 17 h 32"/>
                  <a:gd name="T14" fmla="*/ 42 w 97"/>
                  <a:gd name="T15" fmla="*/ 18 h 32"/>
                  <a:gd name="T16" fmla="*/ 41 w 97"/>
                  <a:gd name="T17" fmla="*/ 19 h 32"/>
                  <a:gd name="T18" fmla="*/ 31 w 97"/>
                  <a:gd name="T19" fmla="*/ 19 h 32"/>
                  <a:gd name="T20" fmla="*/ 30 w 97"/>
                  <a:gd name="T21" fmla="*/ 22 h 32"/>
                  <a:gd name="T22" fmla="*/ 32 w 97"/>
                  <a:gd name="T23" fmla="*/ 27 h 32"/>
                  <a:gd name="T24" fmla="*/ 41 w 97"/>
                  <a:gd name="T25" fmla="*/ 27 h 32"/>
                  <a:gd name="T26" fmla="*/ 53 w 97"/>
                  <a:gd name="T27" fmla="*/ 27 h 32"/>
                  <a:gd name="T28" fmla="*/ 67 w 97"/>
                  <a:gd name="T29" fmla="*/ 29 h 32"/>
                  <a:gd name="T30" fmla="*/ 69 w 97"/>
                  <a:gd name="T31" fmla="*/ 28 h 32"/>
                  <a:gd name="T32" fmla="*/ 79 w 97"/>
                  <a:gd name="T33" fmla="*/ 26 h 32"/>
                  <a:gd name="T34" fmla="*/ 84 w 97"/>
                  <a:gd name="T35" fmla="*/ 24 h 32"/>
                  <a:gd name="T36" fmla="*/ 85 w 97"/>
                  <a:gd name="T37" fmla="*/ 20 h 32"/>
                  <a:gd name="T38" fmla="*/ 95 w 97"/>
                  <a:gd name="T39" fmla="*/ 16 h 32"/>
                  <a:gd name="T40" fmla="*/ 96 w 97"/>
                  <a:gd name="T41" fmla="*/ 13 h 32"/>
                  <a:gd name="T42" fmla="*/ 75 w 97"/>
                  <a:gd name="T43" fmla="*/ 5 h 32"/>
                  <a:gd name="T44" fmla="*/ 66 w 97"/>
                  <a:gd name="T45" fmla="*/ 4 h 32"/>
                  <a:gd name="T46" fmla="*/ 62 w 97"/>
                  <a:gd name="T47" fmla="*/ 5 h 32"/>
                  <a:gd name="T48" fmla="*/ 55 w 97"/>
                  <a:gd name="T49" fmla="*/ 9 h 32"/>
                  <a:gd name="T50" fmla="*/ 56 w 97"/>
                  <a:gd name="T51" fmla="*/ 6 h 32"/>
                  <a:gd name="T52" fmla="*/ 54 w 97"/>
                  <a:gd name="T53" fmla="*/ 2 h 32"/>
                  <a:gd name="T54" fmla="*/ 47 w 97"/>
                  <a:gd name="T55" fmla="*/ 2 h 32"/>
                  <a:gd name="T56" fmla="*/ 49 w 97"/>
                  <a:gd name="T57" fmla="*/ 5 h 32"/>
                  <a:gd name="T58" fmla="*/ 48 w 97"/>
                  <a:gd name="T59" fmla="*/ 7 h 32"/>
                  <a:gd name="T60" fmla="*/ 46 w 97"/>
                  <a:gd name="T61" fmla="*/ 12 h 32"/>
                  <a:gd name="T62" fmla="*/ 39 w 97"/>
                  <a:gd name="T63" fmla="*/ 9 h 32"/>
                  <a:gd name="T64" fmla="*/ 33 w 97"/>
                  <a:gd name="T65" fmla="*/ 7 h 32"/>
                  <a:gd name="T66" fmla="*/ 26 w 97"/>
                  <a:gd name="T67" fmla="*/ 3 h 32"/>
                  <a:gd name="T68" fmla="*/ 17 w 97"/>
                  <a:gd name="T69" fmla="*/ 2 h 32"/>
                  <a:gd name="T70" fmla="*/ 21 w 97"/>
                  <a:gd name="T71" fmla="*/ 4 h 32"/>
                  <a:gd name="T72" fmla="*/ 19 w 97"/>
                  <a:gd name="T73" fmla="*/ 7 h 32"/>
                  <a:gd name="T74" fmla="*/ 12 w 97"/>
                  <a:gd name="T75" fmla="*/ 4 h 32"/>
                  <a:gd name="T76" fmla="*/ 14 w 97"/>
                  <a:gd name="T77" fmla="*/ 7 h 32"/>
                  <a:gd name="T78" fmla="*/ 12 w 97"/>
                  <a:gd name="T7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 h="32">
                    <a:moveTo>
                      <a:pt x="12" y="11"/>
                    </a:moveTo>
                    <a:cubicBezTo>
                      <a:pt x="12" y="11"/>
                      <a:pt x="11" y="12"/>
                      <a:pt x="11" y="12"/>
                    </a:cubicBezTo>
                    <a:cubicBezTo>
                      <a:pt x="10" y="12"/>
                      <a:pt x="11" y="12"/>
                      <a:pt x="11" y="12"/>
                    </a:cubicBezTo>
                    <a:cubicBezTo>
                      <a:pt x="10" y="13"/>
                      <a:pt x="10" y="13"/>
                      <a:pt x="9" y="12"/>
                    </a:cubicBezTo>
                    <a:cubicBezTo>
                      <a:pt x="9" y="12"/>
                      <a:pt x="9" y="12"/>
                      <a:pt x="9" y="12"/>
                    </a:cubicBezTo>
                    <a:cubicBezTo>
                      <a:pt x="10" y="13"/>
                      <a:pt x="8" y="13"/>
                      <a:pt x="8" y="13"/>
                    </a:cubicBezTo>
                    <a:cubicBezTo>
                      <a:pt x="8" y="14"/>
                      <a:pt x="8" y="13"/>
                      <a:pt x="8" y="14"/>
                    </a:cubicBezTo>
                    <a:cubicBezTo>
                      <a:pt x="8" y="15"/>
                      <a:pt x="9" y="15"/>
                      <a:pt x="9" y="16"/>
                    </a:cubicBezTo>
                    <a:cubicBezTo>
                      <a:pt x="9" y="16"/>
                      <a:pt x="10" y="19"/>
                      <a:pt x="11" y="19"/>
                    </a:cubicBezTo>
                    <a:cubicBezTo>
                      <a:pt x="11" y="18"/>
                      <a:pt x="12" y="18"/>
                      <a:pt x="13" y="18"/>
                    </a:cubicBezTo>
                    <a:cubicBezTo>
                      <a:pt x="15" y="19"/>
                      <a:pt x="18" y="19"/>
                      <a:pt x="20" y="18"/>
                    </a:cubicBezTo>
                    <a:cubicBezTo>
                      <a:pt x="22" y="18"/>
                      <a:pt x="24" y="17"/>
                      <a:pt x="26" y="17"/>
                    </a:cubicBezTo>
                    <a:cubicBezTo>
                      <a:pt x="29" y="16"/>
                      <a:pt x="32" y="17"/>
                      <a:pt x="35" y="17"/>
                    </a:cubicBezTo>
                    <a:cubicBezTo>
                      <a:pt x="39" y="17"/>
                      <a:pt x="42" y="17"/>
                      <a:pt x="46" y="17"/>
                    </a:cubicBezTo>
                    <a:cubicBezTo>
                      <a:pt x="48" y="17"/>
                      <a:pt x="45" y="17"/>
                      <a:pt x="45" y="18"/>
                    </a:cubicBezTo>
                    <a:cubicBezTo>
                      <a:pt x="44" y="18"/>
                      <a:pt x="43" y="18"/>
                      <a:pt x="42" y="18"/>
                    </a:cubicBezTo>
                    <a:cubicBezTo>
                      <a:pt x="42" y="18"/>
                      <a:pt x="42" y="19"/>
                      <a:pt x="42" y="19"/>
                    </a:cubicBezTo>
                    <a:cubicBezTo>
                      <a:pt x="41" y="19"/>
                      <a:pt x="41" y="19"/>
                      <a:pt x="41" y="19"/>
                    </a:cubicBezTo>
                    <a:cubicBezTo>
                      <a:pt x="40" y="19"/>
                      <a:pt x="39" y="19"/>
                      <a:pt x="39" y="19"/>
                    </a:cubicBezTo>
                    <a:cubicBezTo>
                      <a:pt x="36" y="19"/>
                      <a:pt x="33" y="19"/>
                      <a:pt x="31" y="19"/>
                    </a:cubicBezTo>
                    <a:cubicBezTo>
                      <a:pt x="32" y="20"/>
                      <a:pt x="34" y="21"/>
                      <a:pt x="35" y="22"/>
                    </a:cubicBezTo>
                    <a:cubicBezTo>
                      <a:pt x="34" y="23"/>
                      <a:pt x="31" y="22"/>
                      <a:pt x="30" y="22"/>
                    </a:cubicBezTo>
                    <a:cubicBezTo>
                      <a:pt x="27" y="22"/>
                      <a:pt x="25" y="20"/>
                      <a:pt x="23" y="20"/>
                    </a:cubicBezTo>
                    <a:cubicBezTo>
                      <a:pt x="24" y="24"/>
                      <a:pt x="28" y="26"/>
                      <a:pt x="32" y="27"/>
                    </a:cubicBezTo>
                    <a:cubicBezTo>
                      <a:pt x="34" y="27"/>
                      <a:pt x="36" y="26"/>
                      <a:pt x="37" y="26"/>
                    </a:cubicBezTo>
                    <a:cubicBezTo>
                      <a:pt x="39" y="26"/>
                      <a:pt x="40" y="27"/>
                      <a:pt x="41" y="27"/>
                    </a:cubicBezTo>
                    <a:cubicBezTo>
                      <a:pt x="42" y="26"/>
                      <a:pt x="43" y="26"/>
                      <a:pt x="43" y="26"/>
                    </a:cubicBezTo>
                    <a:cubicBezTo>
                      <a:pt x="47" y="25"/>
                      <a:pt x="50" y="26"/>
                      <a:pt x="53" y="27"/>
                    </a:cubicBezTo>
                    <a:cubicBezTo>
                      <a:pt x="57" y="28"/>
                      <a:pt x="60" y="32"/>
                      <a:pt x="65" y="31"/>
                    </a:cubicBezTo>
                    <a:cubicBezTo>
                      <a:pt x="66" y="30"/>
                      <a:pt x="66" y="30"/>
                      <a:pt x="67" y="29"/>
                    </a:cubicBezTo>
                    <a:cubicBezTo>
                      <a:pt x="67" y="28"/>
                      <a:pt x="67" y="28"/>
                      <a:pt x="68" y="28"/>
                    </a:cubicBezTo>
                    <a:cubicBezTo>
                      <a:pt x="68" y="28"/>
                      <a:pt x="69" y="28"/>
                      <a:pt x="69" y="28"/>
                    </a:cubicBezTo>
                    <a:cubicBezTo>
                      <a:pt x="72" y="27"/>
                      <a:pt x="74" y="28"/>
                      <a:pt x="76" y="27"/>
                    </a:cubicBezTo>
                    <a:cubicBezTo>
                      <a:pt x="77" y="27"/>
                      <a:pt x="78" y="27"/>
                      <a:pt x="79" y="26"/>
                    </a:cubicBezTo>
                    <a:cubicBezTo>
                      <a:pt x="80" y="26"/>
                      <a:pt x="81" y="26"/>
                      <a:pt x="82" y="26"/>
                    </a:cubicBezTo>
                    <a:cubicBezTo>
                      <a:pt x="83" y="25"/>
                      <a:pt x="82" y="24"/>
                      <a:pt x="84" y="24"/>
                    </a:cubicBezTo>
                    <a:cubicBezTo>
                      <a:pt x="85" y="23"/>
                      <a:pt x="83" y="22"/>
                      <a:pt x="83" y="21"/>
                    </a:cubicBezTo>
                    <a:cubicBezTo>
                      <a:pt x="83" y="21"/>
                      <a:pt x="84" y="21"/>
                      <a:pt x="85" y="20"/>
                    </a:cubicBezTo>
                    <a:cubicBezTo>
                      <a:pt x="86" y="20"/>
                      <a:pt x="88" y="19"/>
                      <a:pt x="90" y="18"/>
                    </a:cubicBezTo>
                    <a:cubicBezTo>
                      <a:pt x="91" y="17"/>
                      <a:pt x="93" y="16"/>
                      <a:pt x="95" y="16"/>
                    </a:cubicBezTo>
                    <a:cubicBezTo>
                      <a:pt x="96" y="16"/>
                      <a:pt x="97" y="15"/>
                      <a:pt x="97" y="14"/>
                    </a:cubicBezTo>
                    <a:cubicBezTo>
                      <a:pt x="97" y="13"/>
                      <a:pt x="96" y="13"/>
                      <a:pt x="96" y="13"/>
                    </a:cubicBezTo>
                    <a:cubicBezTo>
                      <a:pt x="96" y="12"/>
                      <a:pt x="97" y="10"/>
                      <a:pt x="97" y="10"/>
                    </a:cubicBezTo>
                    <a:cubicBezTo>
                      <a:pt x="90" y="8"/>
                      <a:pt x="83" y="7"/>
                      <a:pt x="75" y="5"/>
                    </a:cubicBezTo>
                    <a:cubicBezTo>
                      <a:pt x="73" y="5"/>
                      <a:pt x="70" y="4"/>
                      <a:pt x="67" y="3"/>
                    </a:cubicBezTo>
                    <a:cubicBezTo>
                      <a:pt x="67" y="3"/>
                      <a:pt x="65" y="3"/>
                      <a:pt x="66" y="4"/>
                    </a:cubicBezTo>
                    <a:cubicBezTo>
                      <a:pt x="66" y="4"/>
                      <a:pt x="67" y="4"/>
                      <a:pt x="68" y="5"/>
                    </a:cubicBezTo>
                    <a:cubicBezTo>
                      <a:pt x="66" y="5"/>
                      <a:pt x="64" y="5"/>
                      <a:pt x="62" y="5"/>
                    </a:cubicBezTo>
                    <a:cubicBezTo>
                      <a:pt x="62" y="5"/>
                      <a:pt x="61" y="6"/>
                      <a:pt x="62" y="6"/>
                    </a:cubicBezTo>
                    <a:cubicBezTo>
                      <a:pt x="60" y="7"/>
                      <a:pt x="57" y="10"/>
                      <a:pt x="55" y="9"/>
                    </a:cubicBezTo>
                    <a:cubicBezTo>
                      <a:pt x="53" y="9"/>
                      <a:pt x="54" y="6"/>
                      <a:pt x="55" y="6"/>
                    </a:cubicBezTo>
                    <a:cubicBezTo>
                      <a:pt x="55" y="6"/>
                      <a:pt x="56" y="6"/>
                      <a:pt x="56" y="6"/>
                    </a:cubicBezTo>
                    <a:cubicBezTo>
                      <a:pt x="57" y="6"/>
                      <a:pt x="57" y="4"/>
                      <a:pt x="57" y="4"/>
                    </a:cubicBezTo>
                    <a:cubicBezTo>
                      <a:pt x="57" y="4"/>
                      <a:pt x="55" y="3"/>
                      <a:pt x="54" y="2"/>
                    </a:cubicBezTo>
                    <a:cubicBezTo>
                      <a:pt x="53" y="2"/>
                      <a:pt x="52" y="1"/>
                      <a:pt x="51" y="0"/>
                    </a:cubicBezTo>
                    <a:cubicBezTo>
                      <a:pt x="53" y="3"/>
                      <a:pt x="49" y="1"/>
                      <a:pt x="47" y="2"/>
                    </a:cubicBezTo>
                    <a:cubicBezTo>
                      <a:pt x="47" y="3"/>
                      <a:pt x="47" y="4"/>
                      <a:pt x="47" y="4"/>
                    </a:cubicBezTo>
                    <a:cubicBezTo>
                      <a:pt x="48" y="5"/>
                      <a:pt x="49" y="4"/>
                      <a:pt x="49" y="5"/>
                    </a:cubicBezTo>
                    <a:cubicBezTo>
                      <a:pt x="50" y="6"/>
                      <a:pt x="48" y="5"/>
                      <a:pt x="48" y="6"/>
                    </a:cubicBezTo>
                    <a:cubicBezTo>
                      <a:pt x="48" y="6"/>
                      <a:pt x="48" y="7"/>
                      <a:pt x="48" y="7"/>
                    </a:cubicBezTo>
                    <a:cubicBezTo>
                      <a:pt x="48" y="7"/>
                      <a:pt x="48" y="8"/>
                      <a:pt x="48" y="8"/>
                    </a:cubicBezTo>
                    <a:cubicBezTo>
                      <a:pt x="47" y="10"/>
                      <a:pt x="48" y="11"/>
                      <a:pt x="46" y="12"/>
                    </a:cubicBezTo>
                    <a:cubicBezTo>
                      <a:pt x="45" y="11"/>
                      <a:pt x="46" y="11"/>
                      <a:pt x="45" y="11"/>
                    </a:cubicBezTo>
                    <a:cubicBezTo>
                      <a:pt x="44" y="9"/>
                      <a:pt x="41" y="10"/>
                      <a:pt x="39" y="9"/>
                    </a:cubicBezTo>
                    <a:cubicBezTo>
                      <a:pt x="40" y="9"/>
                      <a:pt x="40" y="9"/>
                      <a:pt x="40" y="8"/>
                    </a:cubicBezTo>
                    <a:cubicBezTo>
                      <a:pt x="38" y="8"/>
                      <a:pt x="35" y="8"/>
                      <a:pt x="33" y="7"/>
                    </a:cubicBezTo>
                    <a:cubicBezTo>
                      <a:pt x="31" y="7"/>
                      <a:pt x="31" y="6"/>
                      <a:pt x="30" y="5"/>
                    </a:cubicBezTo>
                    <a:cubicBezTo>
                      <a:pt x="28" y="4"/>
                      <a:pt x="27" y="4"/>
                      <a:pt x="26" y="3"/>
                    </a:cubicBezTo>
                    <a:cubicBezTo>
                      <a:pt x="23" y="3"/>
                      <a:pt x="21" y="1"/>
                      <a:pt x="19" y="0"/>
                    </a:cubicBezTo>
                    <a:cubicBezTo>
                      <a:pt x="19" y="1"/>
                      <a:pt x="16" y="2"/>
                      <a:pt x="17" y="2"/>
                    </a:cubicBezTo>
                    <a:cubicBezTo>
                      <a:pt x="19" y="3"/>
                      <a:pt x="21" y="3"/>
                      <a:pt x="22" y="3"/>
                    </a:cubicBezTo>
                    <a:cubicBezTo>
                      <a:pt x="21" y="4"/>
                      <a:pt x="21" y="4"/>
                      <a:pt x="21" y="4"/>
                    </a:cubicBezTo>
                    <a:cubicBezTo>
                      <a:pt x="21" y="4"/>
                      <a:pt x="21" y="4"/>
                      <a:pt x="21" y="4"/>
                    </a:cubicBezTo>
                    <a:cubicBezTo>
                      <a:pt x="20" y="5"/>
                      <a:pt x="20" y="6"/>
                      <a:pt x="19" y="7"/>
                    </a:cubicBezTo>
                    <a:cubicBezTo>
                      <a:pt x="18" y="7"/>
                      <a:pt x="15" y="5"/>
                      <a:pt x="14" y="5"/>
                    </a:cubicBezTo>
                    <a:cubicBezTo>
                      <a:pt x="14" y="4"/>
                      <a:pt x="12" y="4"/>
                      <a:pt x="12" y="4"/>
                    </a:cubicBezTo>
                    <a:cubicBezTo>
                      <a:pt x="12" y="5"/>
                      <a:pt x="13" y="5"/>
                      <a:pt x="13" y="5"/>
                    </a:cubicBezTo>
                    <a:cubicBezTo>
                      <a:pt x="14" y="6"/>
                      <a:pt x="14" y="6"/>
                      <a:pt x="14" y="7"/>
                    </a:cubicBezTo>
                    <a:cubicBezTo>
                      <a:pt x="10" y="8"/>
                      <a:pt x="5" y="8"/>
                      <a:pt x="0" y="9"/>
                    </a:cubicBezTo>
                    <a:cubicBezTo>
                      <a:pt x="4" y="10"/>
                      <a:pt x="8" y="10"/>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7" name="Freeform 2195">
                <a:extLst>
                  <a:ext uri="{FF2B5EF4-FFF2-40B4-BE49-F238E27FC236}">
                    <a16:creationId xmlns:a16="http://schemas.microsoft.com/office/drawing/2014/main" id="{B789F9DF-BDC1-42AA-BA3D-E2000108DF75}"/>
                  </a:ext>
                </a:extLst>
              </p:cNvPr>
              <p:cNvSpPr>
                <a:spLocks/>
              </p:cNvSpPr>
              <p:nvPr/>
            </p:nvSpPr>
            <p:spPr bwMode="auto">
              <a:xfrm>
                <a:off x="4315" y="228"/>
                <a:ext cx="45" cy="7"/>
              </a:xfrm>
              <a:custGeom>
                <a:avLst/>
                <a:gdLst>
                  <a:gd name="T0" fmla="*/ 15 w 19"/>
                  <a:gd name="T1" fmla="*/ 1 h 3"/>
                  <a:gd name="T2" fmla="*/ 19 w 19"/>
                  <a:gd name="T3" fmla="*/ 0 h 3"/>
                  <a:gd name="T4" fmla="*/ 0 w 19"/>
                  <a:gd name="T5" fmla="*/ 3 h 3"/>
                  <a:gd name="T6" fmla="*/ 10 w 19"/>
                  <a:gd name="T7" fmla="*/ 2 h 3"/>
                  <a:gd name="T8" fmla="*/ 15 w 19"/>
                  <a:gd name="T9" fmla="*/ 1 h 3"/>
                </a:gdLst>
                <a:ahLst/>
                <a:cxnLst>
                  <a:cxn ang="0">
                    <a:pos x="T0" y="T1"/>
                  </a:cxn>
                  <a:cxn ang="0">
                    <a:pos x="T2" y="T3"/>
                  </a:cxn>
                  <a:cxn ang="0">
                    <a:pos x="T4" y="T5"/>
                  </a:cxn>
                  <a:cxn ang="0">
                    <a:pos x="T6" y="T7"/>
                  </a:cxn>
                  <a:cxn ang="0">
                    <a:pos x="T8" y="T9"/>
                  </a:cxn>
                </a:cxnLst>
                <a:rect l="0" t="0" r="r" b="b"/>
                <a:pathLst>
                  <a:path w="19" h="3">
                    <a:moveTo>
                      <a:pt x="15" y="1"/>
                    </a:moveTo>
                    <a:cubicBezTo>
                      <a:pt x="16" y="1"/>
                      <a:pt x="18" y="1"/>
                      <a:pt x="19" y="0"/>
                    </a:cubicBezTo>
                    <a:cubicBezTo>
                      <a:pt x="13" y="1"/>
                      <a:pt x="6" y="2"/>
                      <a:pt x="0" y="3"/>
                    </a:cubicBezTo>
                    <a:cubicBezTo>
                      <a:pt x="3" y="3"/>
                      <a:pt x="7" y="3"/>
                      <a:pt x="10" y="2"/>
                    </a:cubicBezTo>
                    <a:cubicBezTo>
                      <a:pt x="12" y="2"/>
                      <a:pt x="13"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8" name="Freeform 2196">
                <a:extLst>
                  <a:ext uri="{FF2B5EF4-FFF2-40B4-BE49-F238E27FC236}">
                    <a16:creationId xmlns:a16="http://schemas.microsoft.com/office/drawing/2014/main" id="{77CE6344-9B68-4F0D-85F4-E6CDCC15540B}"/>
                  </a:ext>
                </a:extLst>
              </p:cNvPr>
              <p:cNvSpPr>
                <a:spLocks/>
              </p:cNvSpPr>
              <p:nvPr/>
            </p:nvSpPr>
            <p:spPr bwMode="auto">
              <a:xfrm>
                <a:off x="4223" y="297"/>
                <a:ext cx="43" cy="7"/>
              </a:xfrm>
              <a:custGeom>
                <a:avLst/>
                <a:gdLst>
                  <a:gd name="T0" fmla="*/ 6 w 18"/>
                  <a:gd name="T1" fmla="*/ 2 h 3"/>
                  <a:gd name="T2" fmla="*/ 10 w 18"/>
                  <a:gd name="T3" fmla="*/ 1 h 3"/>
                  <a:gd name="T4" fmla="*/ 14 w 18"/>
                  <a:gd name="T5" fmla="*/ 2 h 3"/>
                  <a:gd name="T6" fmla="*/ 18 w 18"/>
                  <a:gd name="T7" fmla="*/ 1 h 3"/>
                  <a:gd name="T8" fmla="*/ 8 w 18"/>
                  <a:gd name="T9" fmla="*/ 0 h 3"/>
                  <a:gd name="T10" fmla="*/ 0 w 18"/>
                  <a:gd name="T11" fmla="*/ 2 h 3"/>
                  <a:gd name="T12" fmla="*/ 2 w 18"/>
                  <a:gd name="T13" fmla="*/ 3 h 3"/>
                  <a:gd name="T14" fmla="*/ 6 w 18"/>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
                    <a:moveTo>
                      <a:pt x="6" y="2"/>
                    </a:moveTo>
                    <a:cubicBezTo>
                      <a:pt x="7" y="2"/>
                      <a:pt x="9" y="1"/>
                      <a:pt x="10" y="1"/>
                    </a:cubicBezTo>
                    <a:cubicBezTo>
                      <a:pt x="11" y="2"/>
                      <a:pt x="13" y="3"/>
                      <a:pt x="14" y="2"/>
                    </a:cubicBezTo>
                    <a:cubicBezTo>
                      <a:pt x="15" y="2"/>
                      <a:pt x="17" y="2"/>
                      <a:pt x="18" y="1"/>
                    </a:cubicBezTo>
                    <a:cubicBezTo>
                      <a:pt x="15" y="1"/>
                      <a:pt x="11" y="0"/>
                      <a:pt x="8" y="0"/>
                    </a:cubicBezTo>
                    <a:cubicBezTo>
                      <a:pt x="5" y="0"/>
                      <a:pt x="3" y="2"/>
                      <a:pt x="0" y="2"/>
                    </a:cubicBezTo>
                    <a:cubicBezTo>
                      <a:pt x="0" y="3"/>
                      <a:pt x="1" y="3"/>
                      <a:pt x="2" y="3"/>
                    </a:cubicBezTo>
                    <a:cubicBezTo>
                      <a:pt x="3" y="3"/>
                      <a:pt x="5" y="1"/>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9" name="Freeform 2197">
                <a:extLst>
                  <a:ext uri="{FF2B5EF4-FFF2-40B4-BE49-F238E27FC236}">
                    <a16:creationId xmlns:a16="http://schemas.microsoft.com/office/drawing/2014/main" id="{B0B9B566-2A40-4D57-812B-5A760DF82659}"/>
                  </a:ext>
                </a:extLst>
              </p:cNvPr>
              <p:cNvSpPr>
                <a:spLocks/>
              </p:cNvSpPr>
              <p:nvPr/>
            </p:nvSpPr>
            <p:spPr bwMode="auto">
              <a:xfrm>
                <a:off x="4152" y="417"/>
                <a:ext cx="9" cy="10"/>
              </a:xfrm>
              <a:custGeom>
                <a:avLst/>
                <a:gdLst>
                  <a:gd name="T0" fmla="*/ 0 w 4"/>
                  <a:gd name="T1" fmla="*/ 4 h 4"/>
                  <a:gd name="T2" fmla="*/ 4 w 4"/>
                  <a:gd name="T3" fmla="*/ 0 h 4"/>
                  <a:gd name="T4" fmla="*/ 0 w 4"/>
                  <a:gd name="T5" fmla="*/ 4 h 4"/>
                </a:gdLst>
                <a:ahLst/>
                <a:cxnLst>
                  <a:cxn ang="0">
                    <a:pos x="T0" y="T1"/>
                  </a:cxn>
                  <a:cxn ang="0">
                    <a:pos x="T2" y="T3"/>
                  </a:cxn>
                  <a:cxn ang="0">
                    <a:pos x="T4" y="T5"/>
                  </a:cxn>
                </a:cxnLst>
                <a:rect l="0" t="0" r="r" b="b"/>
                <a:pathLst>
                  <a:path w="4" h="4">
                    <a:moveTo>
                      <a:pt x="0" y="4"/>
                    </a:moveTo>
                    <a:cubicBezTo>
                      <a:pt x="1" y="3"/>
                      <a:pt x="3" y="2"/>
                      <a:pt x="4" y="0"/>
                    </a:cubicBezTo>
                    <a:cubicBezTo>
                      <a:pt x="3" y="1"/>
                      <a:pt x="1"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0" name="Freeform 2198">
                <a:extLst>
                  <a:ext uri="{FF2B5EF4-FFF2-40B4-BE49-F238E27FC236}">
                    <a16:creationId xmlns:a16="http://schemas.microsoft.com/office/drawing/2014/main" id="{869DBC61-82D0-4997-8C4E-6DA781203208}"/>
                  </a:ext>
                </a:extLst>
              </p:cNvPr>
              <p:cNvSpPr>
                <a:spLocks/>
              </p:cNvSpPr>
              <p:nvPr/>
            </p:nvSpPr>
            <p:spPr bwMode="auto">
              <a:xfrm>
                <a:off x="4034" y="316"/>
                <a:ext cx="52" cy="21"/>
              </a:xfrm>
              <a:custGeom>
                <a:avLst/>
                <a:gdLst>
                  <a:gd name="T0" fmla="*/ 11 w 22"/>
                  <a:gd name="T1" fmla="*/ 9 h 9"/>
                  <a:gd name="T2" fmla="*/ 13 w 22"/>
                  <a:gd name="T3" fmla="*/ 8 h 9"/>
                  <a:gd name="T4" fmla="*/ 20 w 22"/>
                  <a:gd name="T5" fmla="*/ 8 h 9"/>
                  <a:gd name="T6" fmla="*/ 22 w 22"/>
                  <a:gd name="T7" fmla="*/ 6 h 9"/>
                  <a:gd name="T8" fmla="*/ 22 w 22"/>
                  <a:gd name="T9" fmla="*/ 4 h 9"/>
                  <a:gd name="T10" fmla="*/ 22 w 22"/>
                  <a:gd name="T11" fmla="*/ 3 h 9"/>
                  <a:gd name="T12" fmla="*/ 21 w 22"/>
                  <a:gd name="T13" fmla="*/ 2 h 9"/>
                  <a:gd name="T14" fmla="*/ 20 w 22"/>
                  <a:gd name="T15" fmla="*/ 0 h 9"/>
                  <a:gd name="T16" fmla="*/ 19 w 22"/>
                  <a:gd name="T17" fmla="*/ 1 h 9"/>
                  <a:gd name="T18" fmla="*/ 18 w 22"/>
                  <a:gd name="T19" fmla="*/ 1 h 9"/>
                  <a:gd name="T20" fmla="*/ 16 w 22"/>
                  <a:gd name="T21" fmla="*/ 0 h 9"/>
                  <a:gd name="T22" fmla="*/ 15 w 22"/>
                  <a:gd name="T23" fmla="*/ 1 h 9"/>
                  <a:gd name="T24" fmla="*/ 12 w 22"/>
                  <a:gd name="T25" fmla="*/ 0 h 9"/>
                  <a:gd name="T26" fmla="*/ 10 w 22"/>
                  <a:gd name="T27" fmla="*/ 1 h 9"/>
                  <a:gd name="T28" fmla="*/ 7 w 22"/>
                  <a:gd name="T29" fmla="*/ 1 h 9"/>
                  <a:gd name="T30" fmla="*/ 0 w 22"/>
                  <a:gd name="T31" fmla="*/ 3 h 9"/>
                  <a:gd name="T32" fmla="*/ 6 w 22"/>
                  <a:gd name="T33" fmla="*/ 6 h 9"/>
                  <a:gd name="T34" fmla="*/ 7 w 22"/>
                  <a:gd name="T35" fmla="*/ 7 h 9"/>
                  <a:gd name="T36" fmla="*/ 6 w 22"/>
                  <a:gd name="T37" fmla="*/ 9 h 9"/>
                  <a:gd name="T38" fmla="*/ 11 w 22"/>
                  <a:gd name="T3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9">
                    <a:moveTo>
                      <a:pt x="11" y="9"/>
                    </a:moveTo>
                    <a:cubicBezTo>
                      <a:pt x="12" y="9"/>
                      <a:pt x="12" y="8"/>
                      <a:pt x="13" y="8"/>
                    </a:cubicBezTo>
                    <a:cubicBezTo>
                      <a:pt x="15" y="8"/>
                      <a:pt x="18" y="8"/>
                      <a:pt x="20" y="8"/>
                    </a:cubicBezTo>
                    <a:cubicBezTo>
                      <a:pt x="21" y="8"/>
                      <a:pt x="22" y="7"/>
                      <a:pt x="22" y="6"/>
                    </a:cubicBezTo>
                    <a:cubicBezTo>
                      <a:pt x="22" y="6"/>
                      <a:pt x="22" y="5"/>
                      <a:pt x="22" y="4"/>
                    </a:cubicBezTo>
                    <a:cubicBezTo>
                      <a:pt x="22" y="4"/>
                      <a:pt x="22" y="3"/>
                      <a:pt x="22" y="3"/>
                    </a:cubicBezTo>
                    <a:cubicBezTo>
                      <a:pt x="22" y="2"/>
                      <a:pt x="21" y="2"/>
                      <a:pt x="21" y="2"/>
                    </a:cubicBezTo>
                    <a:cubicBezTo>
                      <a:pt x="21" y="2"/>
                      <a:pt x="21" y="1"/>
                      <a:pt x="20" y="0"/>
                    </a:cubicBezTo>
                    <a:cubicBezTo>
                      <a:pt x="20" y="0"/>
                      <a:pt x="20" y="1"/>
                      <a:pt x="19" y="1"/>
                    </a:cubicBezTo>
                    <a:cubicBezTo>
                      <a:pt x="19" y="1"/>
                      <a:pt x="18" y="1"/>
                      <a:pt x="18" y="1"/>
                    </a:cubicBezTo>
                    <a:cubicBezTo>
                      <a:pt x="17" y="0"/>
                      <a:pt x="17" y="0"/>
                      <a:pt x="16" y="0"/>
                    </a:cubicBezTo>
                    <a:cubicBezTo>
                      <a:pt x="16" y="0"/>
                      <a:pt x="15" y="1"/>
                      <a:pt x="15" y="1"/>
                    </a:cubicBezTo>
                    <a:cubicBezTo>
                      <a:pt x="14" y="1"/>
                      <a:pt x="13" y="0"/>
                      <a:pt x="12" y="0"/>
                    </a:cubicBezTo>
                    <a:cubicBezTo>
                      <a:pt x="10" y="0"/>
                      <a:pt x="11" y="0"/>
                      <a:pt x="10" y="1"/>
                    </a:cubicBezTo>
                    <a:cubicBezTo>
                      <a:pt x="9" y="1"/>
                      <a:pt x="8" y="1"/>
                      <a:pt x="7" y="1"/>
                    </a:cubicBezTo>
                    <a:cubicBezTo>
                      <a:pt x="5" y="2"/>
                      <a:pt x="2" y="2"/>
                      <a:pt x="0" y="3"/>
                    </a:cubicBezTo>
                    <a:cubicBezTo>
                      <a:pt x="2" y="3"/>
                      <a:pt x="5" y="4"/>
                      <a:pt x="6" y="6"/>
                    </a:cubicBezTo>
                    <a:cubicBezTo>
                      <a:pt x="6" y="6"/>
                      <a:pt x="7" y="7"/>
                      <a:pt x="7" y="7"/>
                    </a:cubicBezTo>
                    <a:cubicBezTo>
                      <a:pt x="7" y="8"/>
                      <a:pt x="6" y="9"/>
                      <a:pt x="6" y="9"/>
                    </a:cubicBezTo>
                    <a:cubicBezTo>
                      <a:pt x="7" y="8"/>
                      <a:pt x="9" y="9"/>
                      <a:pt x="1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1" name="Freeform 2199">
                <a:extLst>
                  <a:ext uri="{FF2B5EF4-FFF2-40B4-BE49-F238E27FC236}">
                    <a16:creationId xmlns:a16="http://schemas.microsoft.com/office/drawing/2014/main" id="{C0127F18-F343-4AB3-B0CC-56A3CBFC5B41}"/>
                  </a:ext>
                </a:extLst>
              </p:cNvPr>
              <p:cNvSpPr>
                <a:spLocks/>
              </p:cNvSpPr>
              <p:nvPr/>
            </p:nvSpPr>
            <p:spPr bwMode="auto">
              <a:xfrm>
                <a:off x="3641" y="1754"/>
                <a:ext cx="12" cy="7"/>
              </a:xfrm>
              <a:custGeom>
                <a:avLst/>
                <a:gdLst>
                  <a:gd name="T0" fmla="*/ 3 w 5"/>
                  <a:gd name="T1" fmla="*/ 0 h 3"/>
                  <a:gd name="T2" fmla="*/ 0 w 5"/>
                  <a:gd name="T3" fmla="*/ 0 h 3"/>
                  <a:gd name="T4" fmla="*/ 5 w 5"/>
                  <a:gd name="T5" fmla="*/ 3 h 3"/>
                  <a:gd name="T6" fmla="*/ 3 w 5"/>
                  <a:gd name="T7" fmla="*/ 0 h 3"/>
                </a:gdLst>
                <a:ahLst/>
                <a:cxnLst>
                  <a:cxn ang="0">
                    <a:pos x="T0" y="T1"/>
                  </a:cxn>
                  <a:cxn ang="0">
                    <a:pos x="T2" y="T3"/>
                  </a:cxn>
                  <a:cxn ang="0">
                    <a:pos x="T4" y="T5"/>
                  </a:cxn>
                  <a:cxn ang="0">
                    <a:pos x="T6" y="T7"/>
                  </a:cxn>
                </a:cxnLst>
                <a:rect l="0" t="0" r="r" b="b"/>
                <a:pathLst>
                  <a:path w="5" h="3">
                    <a:moveTo>
                      <a:pt x="3" y="0"/>
                    </a:moveTo>
                    <a:cubicBezTo>
                      <a:pt x="3" y="0"/>
                      <a:pt x="0" y="0"/>
                      <a:pt x="0" y="0"/>
                    </a:cubicBezTo>
                    <a:cubicBezTo>
                      <a:pt x="1" y="2"/>
                      <a:pt x="3" y="2"/>
                      <a:pt x="5" y="3"/>
                    </a:cubicBezTo>
                    <a:cubicBezTo>
                      <a:pt x="5" y="2"/>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2" name="Freeform 2200">
                <a:extLst>
                  <a:ext uri="{FF2B5EF4-FFF2-40B4-BE49-F238E27FC236}">
                    <a16:creationId xmlns:a16="http://schemas.microsoft.com/office/drawing/2014/main" id="{B3DD78B0-A755-4681-A362-AAE1649DEA65}"/>
                  </a:ext>
                </a:extLst>
              </p:cNvPr>
              <p:cNvSpPr>
                <a:spLocks/>
              </p:cNvSpPr>
              <p:nvPr/>
            </p:nvSpPr>
            <p:spPr bwMode="auto">
              <a:xfrm>
                <a:off x="3577" y="1780"/>
                <a:ext cx="12" cy="10"/>
              </a:xfrm>
              <a:custGeom>
                <a:avLst/>
                <a:gdLst>
                  <a:gd name="T0" fmla="*/ 2 w 5"/>
                  <a:gd name="T1" fmla="*/ 1 h 4"/>
                  <a:gd name="T2" fmla="*/ 2 w 5"/>
                  <a:gd name="T3" fmla="*/ 4 h 4"/>
                  <a:gd name="T4" fmla="*/ 4 w 5"/>
                  <a:gd name="T5" fmla="*/ 1 h 4"/>
                  <a:gd name="T6" fmla="*/ 2 w 5"/>
                  <a:gd name="T7" fmla="*/ 1 h 4"/>
                </a:gdLst>
                <a:ahLst/>
                <a:cxnLst>
                  <a:cxn ang="0">
                    <a:pos x="T0" y="T1"/>
                  </a:cxn>
                  <a:cxn ang="0">
                    <a:pos x="T2" y="T3"/>
                  </a:cxn>
                  <a:cxn ang="0">
                    <a:pos x="T4" y="T5"/>
                  </a:cxn>
                  <a:cxn ang="0">
                    <a:pos x="T6" y="T7"/>
                  </a:cxn>
                </a:cxnLst>
                <a:rect l="0" t="0" r="r" b="b"/>
                <a:pathLst>
                  <a:path w="5" h="4">
                    <a:moveTo>
                      <a:pt x="2" y="1"/>
                    </a:moveTo>
                    <a:cubicBezTo>
                      <a:pt x="0" y="2"/>
                      <a:pt x="1" y="2"/>
                      <a:pt x="2" y="4"/>
                    </a:cubicBezTo>
                    <a:cubicBezTo>
                      <a:pt x="2" y="3"/>
                      <a:pt x="5" y="2"/>
                      <a:pt x="4" y="1"/>
                    </a:cubicBezTo>
                    <a:cubicBezTo>
                      <a:pt x="4" y="0"/>
                      <a:pt x="3"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3" name="Freeform 2201">
                <a:extLst>
                  <a:ext uri="{FF2B5EF4-FFF2-40B4-BE49-F238E27FC236}">
                    <a16:creationId xmlns:a16="http://schemas.microsoft.com/office/drawing/2014/main" id="{DC9C2CC7-01E0-4017-AF88-2A773039D228}"/>
                  </a:ext>
                </a:extLst>
              </p:cNvPr>
              <p:cNvSpPr>
                <a:spLocks/>
              </p:cNvSpPr>
              <p:nvPr/>
            </p:nvSpPr>
            <p:spPr bwMode="auto">
              <a:xfrm>
                <a:off x="3606" y="1757"/>
                <a:ext cx="28" cy="18"/>
              </a:xfrm>
              <a:custGeom>
                <a:avLst/>
                <a:gdLst>
                  <a:gd name="T0" fmla="*/ 9 w 12"/>
                  <a:gd name="T1" fmla="*/ 1 h 8"/>
                  <a:gd name="T2" fmla="*/ 9 w 12"/>
                  <a:gd name="T3" fmla="*/ 0 h 8"/>
                  <a:gd name="T4" fmla="*/ 0 w 12"/>
                  <a:gd name="T5" fmla="*/ 5 h 8"/>
                  <a:gd name="T6" fmla="*/ 2 w 12"/>
                  <a:gd name="T7" fmla="*/ 5 h 8"/>
                  <a:gd name="T8" fmla="*/ 3 w 12"/>
                  <a:gd name="T9" fmla="*/ 6 h 8"/>
                  <a:gd name="T10" fmla="*/ 4 w 12"/>
                  <a:gd name="T11" fmla="*/ 7 h 8"/>
                  <a:gd name="T12" fmla="*/ 7 w 12"/>
                  <a:gd name="T13" fmla="*/ 8 h 8"/>
                  <a:gd name="T14" fmla="*/ 9 w 12"/>
                  <a:gd name="T15" fmla="*/ 7 h 8"/>
                  <a:gd name="T16" fmla="*/ 11 w 12"/>
                  <a:gd name="T17" fmla="*/ 3 h 8"/>
                  <a:gd name="T18" fmla="*/ 9 w 12"/>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9" y="1"/>
                    </a:moveTo>
                    <a:cubicBezTo>
                      <a:pt x="7" y="2"/>
                      <a:pt x="8" y="1"/>
                      <a:pt x="9" y="0"/>
                    </a:cubicBezTo>
                    <a:cubicBezTo>
                      <a:pt x="6" y="0"/>
                      <a:pt x="3" y="3"/>
                      <a:pt x="0" y="5"/>
                    </a:cubicBezTo>
                    <a:cubicBezTo>
                      <a:pt x="1" y="5"/>
                      <a:pt x="1" y="6"/>
                      <a:pt x="2" y="5"/>
                    </a:cubicBezTo>
                    <a:cubicBezTo>
                      <a:pt x="3" y="5"/>
                      <a:pt x="3" y="5"/>
                      <a:pt x="3" y="6"/>
                    </a:cubicBezTo>
                    <a:cubicBezTo>
                      <a:pt x="4" y="6"/>
                      <a:pt x="4" y="7"/>
                      <a:pt x="4" y="7"/>
                    </a:cubicBezTo>
                    <a:cubicBezTo>
                      <a:pt x="5" y="8"/>
                      <a:pt x="6" y="8"/>
                      <a:pt x="7" y="8"/>
                    </a:cubicBezTo>
                    <a:cubicBezTo>
                      <a:pt x="8" y="8"/>
                      <a:pt x="8" y="8"/>
                      <a:pt x="9" y="7"/>
                    </a:cubicBezTo>
                    <a:cubicBezTo>
                      <a:pt x="10" y="6"/>
                      <a:pt x="12" y="4"/>
                      <a:pt x="11" y="3"/>
                    </a:cubicBezTo>
                    <a:cubicBezTo>
                      <a:pt x="11" y="2"/>
                      <a:pt x="6" y="3"/>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4" name="Freeform 2202">
                <a:extLst>
                  <a:ext uri="{FF2B5EF4-FFF2-40B4-BE49-F238E27FC236}">
                    <a16:creationId xmlns:a16="http://schemas.microsoft.com/office/drawing/2014/main" id="{5B50FEC4-D62F-4DE1-A378-3304E0597E4C}"/>
                  </a:ext>
                </a:extLst>
              </p:cNvPr>
              <p:cNvSpPr>
                <a:spLocks/>
              </p:cNvSpPr>
              <p:nvPr/>
            </p:nvSpPr>
            <p:spPr bwMode="auto">
              <a:xfrm>
                <a:off x="4627" y="2563"/>
                <a:ext cx="12" cy="5"/>
              </a:xfrm>
              <a:custGeom>
                <a:avLst/>
                <a:gdLst>
                  <a:gd name="T0" fmla="*/ 0 w 5"/>
                  <a:gd name="T1" fmla="*/ 0 h 2"/>
                  <a:gd name="T2" fmla="*/ 5 w 5"/>
                  <a:gd name="T3" fmla="*/ 2 h 2"/>
                  <a:gd name="T4" fmla="*/ 0 w 5"/>
                  <a:gd name="T5" fmla="*/ 0 h 2"/>
                  <a:gd name="T6" fmla="*/ 0 w 5"/>
                  <a:gd name="T7" fmla="*/ 0 h 2"/>
                </a:gdLst>
                <a:ahLst/>
                <a:cxnLst>
                  <a:cxn ang="0">
                    <a:pos x="T0" y="T1"/>
                  </a:cxn>
                  <a:cxn ang="0">
                    <a:pos x="T2" y="T3"/>
                  </a:cxn>
                  <a:cxn ang="0">
                    <a:pos x="T4" y="T5"/>
                  </a:cxn>
                  <a:cxn ang="0">
                    <a:pos x="T6" y="T7"/>
                  </a:cxn>
                </a:cxnLst>
                <a:rect l="0" t="0" r="r" b="b"/>
                <a:pathLst>
                  <a:path w="5" h="2">
                    <a:moveTo>
                      <a:pt x="0" y="0"/>
                    </a:moveTo>
                    <a:cubicBezTo>
                      <a:pt x="2" y="1"/>
                      <a:pt x="3" y="2"/>
                      <a:pt x="5" y="2"/>
                    </a:cubicBezTo>
                    <a:cubicBezTo>
                      <a:pt x="4" y="2"/>
                      <a:pt x="2"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5" name="Freeform 2203">
                <a:extLst>
                  <a:ext uri="{FF2B5EF4-FFF2-40B4-BE49-F238E27FC236}">
                    <a16:creationId xmlns:a16="http://schemas.microsoft.com/office/drawing/2014/main" id="{64C389FF-6187-4FD4-A0A6-C159765A0D50}"/>
                  </a:ext>
                </a:extLst>
              </p:cNvPr>
              <p:cNvSpPr>
                <a:spLocks/>
              </p:cNvSpPr>
              <p:nvPr/>
            </p:nvSpPr>
            <p:spPr bwMode="auto">
              <a:xfrm>
                <a:off x="6053" y="2743"/>
                <a:ext cx="7" cy="3"/>
              </a:xfrm>
              <a:custGeom>
                <a:avLst/>
                <a:gdLst>
                  <a:gd name="T0" fmla="*/ 0 w 3"/>
                  <a:gd name="T1" fmla="*/ 1 h 1"/>
                  <a:gd name="T2" fmla="*/ 3 w 3"/>
                  <a:gd name="T3" fmla="*/ 0 h 1"/>
                  <a:gd name="T4" fmla="*/ 2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1"/>
                      <a:pt x="2" y="0"/>
                      <a:pt x="3" y="0"/>
                    </a:cubicBezTo>
                    <a:cubicBezTo>
                      <a:pt x="3" y="0"/>
                      <a:pt x="2" y="0"/>
                      <a:pt x="2"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6" name="Freeform 2204">
                <a:extLst>
                  <a:ext uri="{FF2B5EF4-FFF2-40B4-BE49-F238E27FC236}">
                    <a16:creationId xmlns:a16="http://schemas.microsoft.com/office/drawing/2014/main" id="{82AE7789-795C-48A7-9453-C76E6490DDFF}"/>
                  </a:ext>
                </a:extLst>
              </p:cNvPr>
              <p:cNvSpPr>
                <a:spLocks/>
              </p:cNvSpPr>
              <p:nvPr/>
            </p:nvSpPr>
            <p:spPr bwMode="auto">
              <a:xfrm>
                <a:off x="4887" y="2887"/>
                <a:ext cx="3" cy="5"/>
              </a:xfrm>
              <a:custGeom>
                <a:avLst/>
                <a:gdLst>
                  <a:gd name="T0" fmla="*/ 0 w 1"/>
                  <a:gd name="T1" fmla="*/ 0 h 2"/>
                  <a:gd name="T2" fmla="*/ 1 w 1"/>
                  <a:gd name="T3" fmla="*/ 2 h 2"/>
                  <a:gd name="T4" fmla="*/ 1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1" y="2"/>
                    </a:cubicBezTo>
                    <a:cubicBezTo>
                      <a:pt x="1" y="2"/>
                      <a:pt x="1" y="2"/>
                      <a:pt x="1" y="2"/>
                    </a:cubicBezTo>
                    <a:cubicBezTo>
                      <a:pt x="1" y="2"/>
                      <a:pt x="1" y="2"/>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7" name="Freeform 2205">
                <a:extLst>
                  <a:ext uri="{FF2B5EF4-FFF2-40B4-BE49-F238E27FC236}">
                    <a16:creationId xmlns:a16="http://schemas.microsoft.com/office/drawing/2014/main" id="{65E67693-B304-46BF-9EE0-3E7197D803A9}"/>
                  </a:ext>
                </a:extLst>
              </p:cNvPr>
              <p:cNvSpPr>
                <a:spLocks/>
              </p:cNvSpPr>
              <p:nvPr/>
            </p:nvSpPr>
            <p:spPr bwMode="auto">
              <a:xfrm>
                <a:off x="4559" y="2362"/>
                <a:ext cx="4" cy="7"/>
              </a:xfrm>
              <a:custGeom>
                <a:avLst/>
                <a:gdLst>
                  <a:gd name="T0" fmla="*/ 0 w 2"/>
                  <a:gd name="T1" fmla="*/ 2 h 3"/>
                  <a:gd name="T2" fmla="*/ 2 w 2"/>
                  <a:gd name="T3" fmla="*/ 3 h 3"/>
                  <a:gd name="T4" fmla="*/ 1 w 2"/>
                  <a:gd name="T5" fmla="*/ 0 h 3"/>
                  <a:gd name="T6" fmla="*/ 0 w 2"/>
                  <a:gd name="T7" fmla="*/ 2 h 3"/>
                </a:gdLst>
                <a:ahLst/>
                <a:cxnLst>
                  <a:cxn ang="0">
                    <a:pos x="T0" y="T1"/>
                  </a:cxn>
                  <a:cxn ang="0">
                    <a:pos x="T2" y="T3"/>
                  </a:cxn>
                  <a:cxn ang="0">
                    <a:pos x="T4" y="T5"/>
                  </a:cxn>
                  <a:cxn ang="0">
                    <a:pos x="T6" y="T7"/>
                  </a:cxn>
                </a:cxnLst>
                <a:rect l="0" t="0" r="r" b="b"/>
                <a:pathLst>
                  <a:path w="2" h="3">
                    <a:moveTo>
                      <a:pt x="0" y="2"/>
                    </a:moveTo>
                    <a:cubicBezTo>
                      <a:pt x="1" y="2"/>
                      <a:pt x="1" y="3"/>
                      <a:pt x="2" y="3"/>
                    </a:cubicBezTo>
                    <a:cubicBezTo>
                      <a:pt x="1" y="2"/>
                      <a:pt x="1" y="1"/>
                      <a:pt x="1" y="0"/>
                    </a:cubicBezTo>
                    <a:cubicBezTo>
                      <a:pt x="1"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8" name="Freeform 2206">
                <a:extLst>
                  <a:ext uri="{FF2B5EF4-FFF2-40B4-BE49-F238E27FC236}">
                    <a16:creationId xmlns:a16="http://schemas.microsoft.com/office/drawing/2014/main" id="{3395ADD7-1071-4D01-9AFD-84FD1C5A28AD}"/>
                  </a:ext>
                </a:extLst>
              </p:cNvPr>
              <p:cNvSpPr>
                <a:spLocks/>
              </p:cNvSpPr>
              <p:nvPr/>
            </p:nvSpPr>
            <p:spPr bwMode="auto">
              <a:xfrm>
                <a:off x="4563" y="2365"/>
                <a:ext cx="5" cy="9"/>
              </a:xfrm>
              <a:custGeom>
                <a:avLst/>
                <a:gdLst>
                  <a:gd name="T0" fmla="*/ 0 w 2"/>
                  <a:gd name="T1" fmla="*/ 2 h 4"/>
                  <a:gd name="T2" fmla="*/ 2 w 2"/>
                  <a:gd name="T3" fmla="*/ 4 h 4"/>
                  <a:gd name="T4" fmla="*/ 0 w 2"/>
                  <a:gd name="T5" fmla="*/ 2 h 4"/>
                </a:gdLst>
                <a:ahLst/>
                <a:cxnLst>
                  <a:cxn ang="0">
                    <a:pos x="T0" y="T1"/>
                  </a:cxn>
                  <a:cxn ang="0">
                    <a:pos x="T2" y="T3"/>
                  </a:cxn>
                  <a:cxn ang="0">
                    <a:pos x="T4" y="T5"/>
                  </a:cxn>
                </a:cxnLst>
                <a:rect l="0" t="0" r="r" b="b"/>
                <a:pathLst>
                  <a:path w="2" h="4">
                    <a:moveTo>
                      <a:pt x="0" y="2"/>
                    </a:moveTo>
                    <a:cubicBezTo>
                      <a:pt x="0" y="3"/>
                      <a:pt x="1" y="3"/>
                      <a:pt x="2" y="4"/>
                    </a:cubicBezTo>
                    <a:cubicBezTo>
                      <a:pt x="1" y="2"/>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9" name="Freeform 2207">
                <a:extLst>
                  <a:ext uri="{FF2B5EF4-FFF2-40B4-BE49-F238E27FC236}">
                    <a16:creationId xmlns:a16="http://schemas.microsoft.com/office/drawing/2014/main" id="{BBFF40B8-3628-42E2-9941-304DE2E8D4E2}"/>
                  </a:ext>
                </a:extLst>
              </p:cNvPr>
              <p:cNvSpPr>
                <a:spLocks/>
              </p:cNvSpPr>
              <p:nvPr/>
            </p:nvSpPr>
            <p:spPr bwMode="auto">
              <a:xfrm>
                <a:off x="4556" y="2365"/>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0" name="Freeform 2208">
                <a:extLst>
                  <a:ext uri="{FF2B5EF4-FFF2-40B4-BE49-F238E27FC236}">
                    <a16:creationId xmlns:a16="http://schemas.microsoft.com/office/drawing/2014/main" id="{108D2CE7-6205-491C-A7C2-BB21F3C19DEB}"/>
                  </a:ext>
                </a:extLst>
              </p:cNvPr>
              <p:cNvSpPr>
                <a:spLocks/>
              </p:cNvSpPr>
              <p:nvPr/>
            </p:nvSpPr>
            <p:spPr bwMode="auto">
              <a:xfrm>
                <a:off x="4559" y="2367"/>
                <a:ext cx="4" cy="2"/>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1" name="Freeform 2209">
                <a:extLst>
                  <a:ext uri="{FF2B5EF4-FFF2-40B4-BE49-F238E27FC236}">
                    <a16:creationId xmlns:a16="http://schemas.microsoft.com/office/drawing/2014/main" id="{6FE3CA9D-FD90-443A-A388-D052E98BE3E8}"/>
                  </a:ext>
                </a:extLst>
              </p:cNvPr>
              <p:cNvSpPr>
                <a:spLocks/>
              </p:cNvSpPr>
              <p:nvPr/>
            </p:nvSpPr>
            <p:spPr bwMode="auto">
              <a:xfrm>
                <a:off x="6538" y="2530"/>
                <a:ext cx="21" cy="14"/>
              </a:xfrm>
              <a:custGeom>
                <a:avLst/>
                <a:gdLst>
                  <a:gd name="T0" fmla="*/ 3 w 9"/>
                  <a:gd name="T1" fmla="*/ 2 h 6"/>
                  <a:gd name="T2" fmla="*/ 0 w 9"/>
                  <a:gd name="T3" fmla="*/ 4 h 6"/>
                  <a:gd name="T4" fmla="*/ 1 w 9"/>
                  <a:gd name="T5" fmla="*/ 5 h 6"/>
                  <a:gd name="T6" fmla="*/ 3 w 9"/>
                  <a:gd name="T7" fmla="*/ 6 h 6"/>
                  <a:gd name="T8" fmla="*/ 8 w 9"/>
                  <a:gd name="T9" fmla="*/ 5 h 6"/>
                  <a:gd name="T10" fmla="*/ 8 w 9"/>
                  <a:gd name="T11" fmla="*/ 4 h 6"/>
                  <a:gd name="T12" fmla="*/ 8 w 9"/>
                  <a:gd name="T13" fmla="*/ 4 h 6"/>
                  <a:gd name="T14" fmla="*/ 8 w 9"/>
                  <a:gd name="T15" fmla="*/ 3 h 6"/>
                  <a:gd name="T16" fmla="*/ 8 w 9"/>
                  <a:gd name="T17" fmla="*/ 1 h 6"/>
                  <a:gd name="T18" fmla="*/ 5 w 9"/>
                  <a:gd name="T19" fmla="*/ 0 h 6"/>
                  <a:gd name="T20" fmla="*/ 3 w 9"/>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3" y="2"/>
                    </a:moveTo>
                    <a:cubicBezTo>
                      <a:pt x="2" y="3"/>
                      <a:pt x="0" y="3"/>
                      <a:pt x="0" y="4"/>
                    </a:cubicBezTo>
                    <a:cubicBezTo>
                      <a:pt x="0" y="4"/>
                      <a:pt x="1" y="6"/>
                      <a:pt x="1" y="5"/>
                    </a:cubicBezTo>
                    <a:cubicBezTo>
                      <a:pt x="1" y="6"/>
                      <a:pt x="2" y="6"/>
                      <a:pt x="3" y="6"/>
                    </a:cubicBezTo>
                    <a:cubicBezTo>
                      <a:pt x="4" y="6"/>
                      <a:pt x="7" y="6"/>
                      <a:pt x="8" y="5"/>
                    </a:cubicBezTo>
                    <a:cubicBezTo>
                      <a:pt x="9" y="4"/>
                      <a:pt x="8" y="4"/>
                      <a:pt x="8" y="4"/>
                    </a:cubicBezTo>
                    <a:cubicBezTo>
                      <a:pt x="8" y="4"/>
                      <a:pt x="8" y="4"/>
                      <a:pt x="8" y="4"/>
                    </a:cubicBezTo>
                    <a:cubicBezTo>
                      <a:pt x="8" y="4"/>
                      <a:pt x="8" y="3"/>
                      <a:pt x="8" y="3"/>
                    </a:cubicBezTo>
                    <a:cubicBezTo>
                      <a:pt x="8" y="3"/>
                      <a:pt x="8" y="2"/>
                      <a:pt x="8" y="1"/>
                    </a:cubicBezTo>
                    <a:cubicBezTo>
                      <a:pt x="8" y="1"/>
                      <a:pt x="6" y="0"/>
                      <a:pt x="5" y="0"/>
                    </a:cubicBezTo>
                    <a:cubicBezTo>
                      <a:pt x="4" y="0"/>
                      <a:pt x="4" y="1"/>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2" name="Freeform 2210">
                <a:extLst>
                  <a:ext uri="{FF2B5EF4-FFF2-40B4-BE49-F238E27FC236}">
                    <a16:creationId xmlns:a16="http://schemas.microsoft.com/office/drawing/2014/main" id="{D1406754-D41A-4AB4-8490-BE5AA9129530}"/>
                  </a:ext>
                </a:extLst>
              </p:cNvPr>
              <p:cNvSpPr>
                <a:spLocks/>
              </p:cNvSpPr>
              <p:nvPr/>
            </p:nvSpPr>
            <p:spPr bwMode="auto">
              <a:xfrm>
                <a:off x="6549" y="2471"/>
                <a:ext cx="34" cy="38"/>
              </a:xfrm>
              <a:custGeom>
                <a:avLst/>
                <a:gdLst>
                  <a:gd name="T0" fmla="*/ 4 w 14"/>
                  <a:gd name="T1" fmla="*/ 5 h 16"/>
                  <a:gd name="T2" fmla="*/ 8 w 14"/>
                  <a:gd name="T3" fmla="*/ 9 h 16"/>
                  <a:gd name="T4" fmla="*/ 8 w 14"/>
                  <a:gd name="T5" fmla="*/ 10 h 16"/>
                  <a:gd name="T6" fmla="*/ 8 w 14"/>
                  <a:gd name="T7" fmla="*/ 13 h 16"/>
                  <a:gd name="T8" fmla="*/ 10 w 14"/>
                  <a:gd name="T9" fmla="*/ 16 h 16"/>
                  <a:gd name="T10" fmla="*/ 11 w 14"/>
                  <a:gd name="T11" fmla="*/ 15 h 16"/>
                  <a:gd name="T12" fmla="*/ 13 w 14"/>
                  <a:gd name="T13" fmla="*/ 16 h 16"/>
                  <a:gd name="T14" fmla="*/ 14 w 14"/>
                  <a:gd name="T15" fmla="*/ 15 h 16"/>
                  <a:gd name="T16" fmla="*/ 13 w 14"/>
                  <a:gd name="T17" fmla="*/ 15 h 16"/>
                  <a:gd name="T18" fmla="*/ 14 w 14"/>
                  <a:gd name="T19" fmla="*/ 13 h 16"/>
                  <a:gd name="T20" fmla="*/ 13 w 14"/>
                  <a:gd name="T21" fmla="*/ 8 h 16"/>
                  <a:gd name="T22" fmla="*/ 13 w 14"/>
                  <a:gd name="T23" fmla="*/ 4 h 16"/>
                  <a:gd name="T24" fmla="*/ 13 w 14"/>
                  <a:gd name="T25" fmla="*/ 4 h 16"/>
                  <a:gd name="T26" fmla="*/ 12 w 14"/>
                  <a:gd name="T27" fmla="*/ 4 h 16"/>
                  <a:gd name="T28" fmla="*/ 11 w 14"/>
                  <a:gd name="T29" fmla="*/ 2 h 16"/>
                  <a:gd name="T30" fmla="*/ 11 w 14"/>
                  <a:gd name="T31" fmla="*/ 2 h 16"/>
                  <a:gd name="T32" fmla="*/ 10 w 14"/>
                  <a:gd name="T33" fmla="*/ 0 h 16"/>
                  <a:gd name="T34" fmla="*/ 6 w 14"/>
                  <a:gd name="T35" fmla="*/ 0 h 16"/>
                  <a:gd name="T36" fmla="*/ 0 w 14"/>
                  <a:gd name="T37" fmla="*/ 0 h 16"/>
                  <a:gd name="T38" fmla="*/ 4 w 14"/>
                  <a:gd name="T39"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6">
                    <a:moveTo>
                      <a:pt x="4" y="5"/>
                    </a:moveTo>
                    <a:cubicBezTo>
                      <a:pt x="5" y="6"/>
                      <a:pt x="7" y="8"/>
                      <a:pt x="8" y="9"/>
                    </a:cubicBezTo>
                    <a:cubicBezTo>
                      <a:pt x="7" y="9"/>
                      <a:pt x="8" y="10"/>
                      <a:pt x="8" y="10"/>
                    </a:cubicBezTo>
                    <a:cubicBezTo>
                      <a:pt x="7" y="11"/>
                      <a:pt x="7" y="12"/>
                      <a:pt x="8" y="13"/>
                    </a:cubicBezTo>
                    <a:cubicBezTo>
                      <a:pt x="9" y="14"/>
                      <a:pt x="9" y="15"/>
                      <a:pt x="10" y="16"/>
                    </a:cubicBezTo>
                    <a:cubicBezTo>
                      <a:pt x="10" y="16"/>
                      <a:pt x="11" y="15"/>
                      <a:pt x="11" y="15"/>
                    </a:cubicBezTo>
                    <a:cubicBezTo>
                      <a:pt x="12" y="15"/>
                      <a:pt x="13" y="15"/>
                      <a:pt x="13" y="16"/>
                    </a:cubicBezTo>
                    <a:cubicBezTo>
                      <a:pt x="13" y="14"/>
                      <a:pt x="13" y="16"/>
                      <a:pt x="14" y="15"/>
                    </a:cubicBezTo>
                    <a:cubicBezTo>
                      <a:pt x="14" y="15"/>
                      <a:pt x="14" y="15"/>
                      <a:pt x="13" y="15"/>
                    </a:cubicBezTo>
                    <a:cubicBezTo>
                      <a:pt x="13" y="14"/>
                      <a:pt x="14" y="14"/>
                      <a:pt x="14" y="13"/>
                    </a:cubicBezTo>
                    <a:cubicBezTo>
                      <a:pt x="14" y="12"/>
                      <a:pt x="14" y="10"/>
                      <a:pt x="13" y="8"/>
                    </a:cubicBezTo>
                    <a:cubicBezTo>
                      <a:pt x="13" y="8"/>
                      <a:pt x="12" y="5"/>
                      <a:pt x="13" y="4"/>
                    </a:cubicBezTo>
                    <a:cubicBezTo>
                      <a:pt x="13" y="4"/>
                      <a:pt x="13" y="4"/>
                      <a:pt x="13" y="4"/>
                    </a:cubicBezTo>
                    <a:cubicBezTo>
                      <a:pt x="13" y="4"/>
                      <a:pt x="12" y="4"/>
                      <a:pt x="12" y="4"/>
                    </a:cubicBezTo>
                    <a:cubicBezTo>
                      <a:pt x="10" y="3"/>
                      <a:pt x="11" y="3"/>
                      <a:pt x="11" y="2"/>
                    </a:cubicBezTo>
                    <a:cubicBezTo>
                      <a:pt x="11" y="2"/>
                      <a:pt x="11" y="2"/>
                      <a:pt x="11" y="2"/>
                    </a:cubicBezTo>
                    <a:cubicBezTo>
                      <a:pt x="11" y="2"/>
                      <a:pt x="10" y="1"/>
                      <a:pt x="10" y="0"/>
                    </a:cubicBezTo>
                    <a:cubicBezTo>
                      <a:pt x="9" y="0"/>
                      <a:pt x="7" y="0"/>
                      <a:pt x="6" y="0"/>
                    </a:cubicBezTo>
                    <a:cubicBezTo>
                      <a:pt x="4" y="0"/>
                      <a:pt x="2" y="0"/>
                      <a:pt x="0" y="0"/>
                    </a:cubicBezTo>
                    <a:cubicBezTo>
                      <a:pt x="1" y="3"/>
                      <a:pt x="1" y="4"/>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3" name="Freeform 2211">
                <a:extLst>
                  <a:ext uri="{FF2B5EF4-FFF2-40B4-BE49-F238E27FC236}">
                    <a16:creationId xmlns:a16="http://schemas.microsoft.com/office/drawing/2014/main" id="{506CD6F1-0538-410C-8556-68D063887FA1}"/>
                  </a:ext>
                </a:extLst>
              </p:cNvPr>
              <p:cNvSpPr>
                <a:spLocks/>
              </p:cNvSpPr>
              <p:nvPr/>
            </p:nvSpPr>
            <p:spPr bwMode="auto">
              <a:xfrm>
                <a:off x="6549" y="2497"/>
                <a:ext cx="24" cy="36"/>
              </a:xfrm>
              <a:custGeom>
                <a:avLst/>
                <a:gdLst>
                  <a:gd name="T0" fmla="*/ 1 w 10"/>
                  <a:gd name="T1" fmla="*/ 3 h 15"/>
                  <a:gd name="T2" fmla="*/ 1 w 10"/>
                  <a:gd name="T3" fmla="*/ 5 h 15"/>
                  <a:gd name="T4" fmla="*/ 2 w 10"/>
                  <a:gd name="T5" fmla="*/ 6 h 15"/>
                  <a:gd name="T6" fmla="*/ 4 w 10"/>
                  <a:gd name="T7" fmla="*/ 6 h 15"/>
                  <a:gd name="T8" fmla="*/ 5 w 10"/>
                  <a:gd name="T9" fmla="*/ 14 h 15"/>
                  <a:gd name="T10" fmla="*/ 8 w 10"/>
                  <a:gd name="T11" fmla="*/ 15 h 15"/>
                  <a:gd name="T12" fmla="*/ 8 w 10"/>
                  <a:gd name="T13" fmla="*/ 12 h 15"/>
                  <a:gd name="T14" fmla="*/ 9 w 10"/>
                  <a:gd name="T15" fmla="*/ 14 h 15"/>
                  <a:gd name="T16" fmla="*/ 10 w 10"/>
                  <a:gd name="T17" fmla="*/ 12 h 15"/>
                  <a:gd name="T18" fmla="*/ 9 w 10"/>
                  <a:gd name="T19" fmla="*/ 9 h 15"/>
                  <a:gd name="T20" fmla="*/ 7 w 10"/>
                  <a:gd name="T21" fmla="*/ 2 h 15"/>
                  <a:gd name="T22" fmla="*/ 3 w 10"/>
                  <a:gd name="T23" fmla="*/ 2 h 15"/>
                  <a:gd name="T24" fmla="*/ 0 w 10"/>
                  <a:gd name="T25" fmla="*/ 0 h 15"/>
                  <a:gd name="T26" fmla="*/ 1 w 10"/>
                  <a:gd name="T27"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5">
                    <a:moveTo>
                      <a:pt x="1" y="3"/>
                    </a:moveTo>
                    <a:cubicBezTo>
                      <a:pt x="1" y="3"/>
                      <a:pt x="1" y="4"/>
                      <a:pt x="1" y="5"/>
                    </a:cubicBezTo>
                    <a:cubicBezTo>
                      <a:pt x="1" y="5"/>
                      <a:pt x="1" y="7"/>
                      <a:pt x="2" y="6"/>
                    </a:cubicBezTo>
                    <a:cubicBezTo>
                      <a:pt x="2" y="8"/>
                      <a:pt x="3" y="5"/>
                      <a:pt x="4" y="6"/>
                    </a:cubicBezTo>
                    <a:cubicBezTo>
                      <a:pt x="6" y="6"/>
                      <a:pt x="5" y="13"/>
                      <a:pt x="5" y="14"/>
                    </a:cubicBezTo>
                    <a:cubicBezTo>
                      <a:pt x="6" y="15"/>
                      <a:pt x="7" y="15"/>
                      <a:pt x="8" y="15"/>
                    </a:cubicBezTo>
                    <a:cubicBezTo>
                      <a:pt x="8" y="14"/>
                      <a:pt x="7" y="13"/>
                      <a:pt x="8" y="12"/>
                    </a:cubicBezTo>
                    <a:cubicBezTo>
                      <a:pt x="8" y="13"/>
                      <a:pt x="9" y="13"/>
                      <a:pt x="9" y="14"/>
                    </a:cubicBezTo>
                    <a:cubicBezTo>
                      <a:pt x="10" y="14"/>
                      <a:pt x="10" y="13"/>
                      <a:pt x="10" y="12"/>
                    </a:cubicBezTo>
                    <a:cubicBezTo>
                      <a:pt x="10" y="12"/>
                      <a:pt x="10" y="10"/>
                      <a:pt x="9" y="9"/>
                    </a:cubicBezTo>
                    <a:cubicBezTo>
                      <a:pt x="7" y="7"/>
                      <a:pt x="8" y="4"/>
                      <a:pt x="7" y="2"/>
                    </a:cubicBezTo>
                    <a:cubicBezTo>
                      <a:pt x="6" y="2"/>
                      <a:pt x="4" y="3"/>
                      <a:pt x="3" y="2"/>
                    </a:cubicBezTo>
                    <a:cubicBezTo>
                      <a:pt x="2" y="2"/>
                      <a:pt x="1" y="1"/>
                      <a:pt x="0" y="0"/>
                    </a:cubicBezTo>
                    <a:cubicBezTo>
                      <a:pt x="1"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4" name="Freeform 2212">
                <a:extLst>
                  <a:ext uri="{FF2B5EF4-FFF2-40B4-BE49-F238E27FC236}">
                    <a16:creationId xmlns:a16="http://schemas.microsoft.com/office/drawing/2014/main" id="{DD94E007-7F25-460D-9315-BEBFF4CFD329}"/>
                  </a:ext>
                </a:extLst>
              </p:cNvPr>
              <p:cNvSpPr>
                <a:spLocks/>
              </p:cNvSpPr>
              <p:nvPr/>
            </p:nvSpPr>
            <p:spPr bwMode="auto">
              <a:xfrm>
                <a:off x="6436" y="2322"/>
                <a:ext cx="111" cy="149"/>
              </a:xfrm>
              <a:custGeom>
                <a:avLst/>
                <a:gdLst>
                  <a:gd name="T0" fmla="*/ 4 w 47"/>
                  <a:gd name="T1" fmla="*/ 31 h 63"/>
                  <a:gd name="T2" fmla="*/ 8 w 47"/>
                  <a:gd name="T3" fmla="*/ 40 h 63"/>
                  <a:gd name="T4" fmla="*/ 8 w 47"/>
                  <a:gd name="T5" fmla="*/ 43 h 63"/>
                  <a:gd name="T6" fmla="*/ 10 w 47"/>
                  <a:gd name="T7" fmla="*/ 40 h 63"/>
                  <a:gd name="T8" fmla="*/ 15 w 47"/>
                  <a:gd name="T9" fmla="*/ 40 h 63"/>
                  <a:gd name="T10" fmla="*/ 15 w 47"/>
                  <a:gd name="T11" fmla="*/ 45 h 63"/>
                  <a:gd name="T12" fmla="*/ 11 w 47"/>
                  <a:gd name="T13" fmla="*/ 46 h 63"/>
                  <a:gd name="T14" fmla="*/ 14 w 47"/>
                  <a:gd name="T15" fmla="*/ 51 h 63"/>
                  <a:gd name="T16" fmla="*/ 16 w 47"/>
                  <a:gd name="T17" fmla="*/ 52 h 63"/>
                  <a:gd name="T18" fmla="*/ 20 w 47"/>
                  <a:gd name="T19" fmla="*/ 50 h 63"/>
                  <a:gd name="T20" fmla="*/ 26 w 47"/>
                  <a:gd name="T21" fmla="*/ 51 h 63"/>
                  <a:gd name="T22" fmla="*/ 31 w 47"/>
                  <a:gd name="T23" fmla="*/ 57 h 63"/>
                  <a:gd name="T24" fmla="*/ 29 w 47"/>
                  <a:gd name="T25" fmla="*/ 49 h 63"/>
                  <a:gd name="T26" fmla="*/ 37 w 47"/>
                  <a:gd name="T27" fmla="*/ 55 h 63"/>
                  <a:gd name="T28" fmla="*/ 41 w 47"/>
                  <a:gd name="T29" fmla="*/ 59 h 63"/>
                  <a:gd name="T30" fmla="*/ 44 w 47"/>
                  <a:gd name="T31" fmla="*/ 59 h 63"/>
                  <a:gd name="T32" fmla="*/ 45 w 47"/>
                  <a:gd name="T33" fmla="*/ 60 h 63"/>
                  <a:gd name="T34" fmla="*/ 46 w 47"/>
                  <a:gd name="T35" fmla="*/ 63 h 63"/>
                  <a:gd name="T36" fmla="*/ 45 w 47"/>
                  <a:gd name="T37" fmla="*/ 58 h 63"/>
                  <a:gd name="T38" fmla="*/ 44 w 47"/>
                  <a:gd name="T39" fmla="*/ 56 h 63"/>
                  <a:gd name="T40" fmla="*/ 43 w 47"/>
                  <a:gd name="T41" fmla="*/ 52 h 63"/>
                  <a:gd name="T42" fmla="*/ 39 w 47"/>
                  <a:gd name="T43" fmla="*/ 48 h 63"/>
                  <a:gd name="T44" fmla="*/ 39 w 47"/>
                  <a:gd name="T45" fmla="*/ 49 h 63"/>
                  <a:gd name="T46" fmla="*/ 36 w 47"/>
                  <a:gd name="T47" fmla="*/ 52 h 63"/>
                  <a:gd name="T48" fmla="*/ 34 w 47"/>
                  <a:gd name="T49" fmla="*/ 46 h 63"/>
                  <a:gd name="T50" fmla="*/ 27 w 47"/>
                  <a:gd name="T51" fmla="*/ 49 h 63"/>
                  <a:gd name="T52" fmla="*/ 24 w 47"/>
                  <a:gd name="T53" fmla="*/ 48 h 63"/>
                  <a:gd name="T54" fmla="*/ 22 w 47"/>
                  <a:gd name="T55" fmla="*/ 41 h 63"/>
                  <a:gd name="T56" fmla="*/ 20 w 47"/>
                  <a:gd name="T57" fmla="*/ 33 h 63"/>
                  <a:gd name="T58" fmla="*/ 21 w 47"/>
                  <a:gd name="T59" fmla="*/ 30 h 63"/>
                  <a:gd name="T60" fmla="*/ 26 w 47"/>
                  <a:gd name="T61" fmla="*/ 27 h 63"/>
                  <a:gd name="T62" fmla="*/ 30 w 47"/>
                  <a:gd name="T63" fmla="*/ 17 h 63"/>
                  <a:gd name="T64" fmla="*/ 27 w 47"/>
                  <a:gd name="T65" fmla="*/ 11 h 63"/>
                  <a:gd name="T66" fmla="*/ 28 w 47"/>
                  <a:gd name="T67" fmla="*/ 1 h 63"/>
                  <a:gd name="T68" fmla="*/ 22 w 47"/>
                  <a:gd name="T69" fmla="*/ 4 h 63"/>
                  <a:gd name="T70" fmla="*/ 12 w 47"/>
                  <a:gd name="T71" fmla="*/ 1 h 63"/>
                  <a:gd name="T72" fmla="*/ 10 w 47"/>
                  <a:gd name="T73" fmla="*/ 1 h 63"/>
                  <a:gd name="T74" fmla="*/ 9 w 47"/>
                  <a:gd name="T75" fmla="*/ 8 h 63"/>
                  <a:gd name="T76" fmla="*/ 8 w 47"/>
                  <a:gd name="T77" fmla="*/ 21 h 63"/>
                  <a:gd name="T78" fmla="*/ 7 w 47"/>
                  <a:gd name="T79" fmla="*/ 27 h 63"/>
                  <a:gd name="T80" fmla="*/ 3 w 47"/>
                  <a:gd name="T81" fmla="*/ 2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63">
                    <a:moveTo>
                      <a:pt x="3" y="24"/>
                    </a:moveTo>
                    <a:cubicBezTo>
                      <a:pt x="0" y="24"/>
                      <a:pt x="4" y="30"/>
                      <a:pt x="4" y="31"/>
                    </a:cubicBezTo>
                    <a:cubicBezTo>
                      <a:pt x="4" y="34"/>
                      <a:pt x="5" y="37"/>
                      <a:pt x="5" y="40"/>
                    </a:cubicBezTo>
                    <a:cubicBezTo>
                      <a:pt x="6" y="40"/>
                      <a:pt x="7" y="40"/>
                      <a:pt x="8" y="40"/>
                    </a:cubicBezTo>
                    <a:cubicBezTo>
                      <a:pt x="6" y="42"/>
                      <a:pt x="8" y="41"/>
                      <a:pt x="9" y="42"/>
                    </a:cubicBezTo>
                    <a:cubicBezTo>
                      <a:pt x="9" y="43"/>
                      <a:pt x="8" y="43"/>
                      <a:pt x="8" y="43"/>
                    </a:cubicBezTo>
                    <a:cubicBezTo>
                      <a:pt x="9" y="44"/>
                      <a:pt x="9" y="44"/>
                      <a:pt x="9" y="44"/>
                    </a:cubicBezTo>
                    <a:cubicBezTo>
                      <a:pt x="11" y="45"/>
                      <a:pt x="10" y="41"/>
                      <a:pt x="10" y="40"/>
                    </a:cubicBezTo>
                    <a:cubicBezTo>
                      <a:pt x="11" y="40"/>
                      <a:pt x="12" y="41"/>
                      <a:pt x="13" y="41"/>
                    </a:cubicBezTo>
                    <a:cubicBezTo>
                      <a:pt x="13" y="40"/>
                      <a:pt x="14" y="40"/>
                      <a:pt x="15" y="40"/>
                    </a:cubicBezTo>
                    <a:cubicBezTo>
                      <a:pt x="16" y="40"/>
                      <a:pt x="18" y="41"/>
                      <a:pt x="18" y="42"/>
                    </a:cubicBezTo>
                    <a:cubicBezTo>
                      <a:pt x="18" y="44"/>
                      <a:pt x="16" y="45"/>
                      <a:pt x="15" y="45"/>
                    </a:cubicBezTo>
                    <a:cubicBezTo>
                      <a:pt x="14" y="45"/>
                      <a:pt x="14" y="45"/>
                      <a:pt x="13" y="44"/>
                    </a:cubicBezTo>
                    <a:cubicBezTo>
                      <a:pt x="12" y="45"/>
                      <a:pt x="11" y="46"/>
                      <a:pt x="11" y="46"/>
                    </a:cubicBezTo>
                    <a:cubicBezTo>
                      <a:pt x="11" y="48"/>
                      <a:pt x="11" y="49"/>
                      <a:pt x="11" y="51"/>
                    </a:cubicBezTo>
                    <a:cubicBezTo>
                      <a:pt x="12" y="49"/>
                      <a:pt x="12" y="49"/>
                      <a:pt x="14" y="51"/>
                    </a:cubicBezTo>
                    <a:cubicBezTo>
                      <a:pt x="14" y="51"/>
                      <a:pt x="13" y="51"/>
                      <a:pt x="14" y="52"/>
                    </a:cubicBezTo>
                    <a:cubicBezTo>
                      <a:pt x="14" y="52"/>
                      <a:pt x="15" y="52"/>
                      <a:pt x="16" y="52"/>
                    </a:cubicBezTo>
                    <a:cubicBezTo>
                      <a:pt x="16" y="52"/>
                      <a:pt x="17" y="53"/>
                      <a:pt x="18" y="52"/>
                    </a:cubicBezTo>
                    <a:cubicBezTo>
                      <a:pt x="19" y="52"/>
                      <a:pt x="19" y="51"/>
                      <a:pt x="20" y="50"/>
                    </a:cubicBezTo>
                    <a:cubicBezTo>
                      <a:pt x="22" y="49"/>
                      <a:pt x="22" y="49"/>
                      <a:pt x="24" y="50"/>
                    </a:cubicBezTo>
                    <a:cubicBezTo>
                      <a:pt x="25" y="50"/>
                      <a:pt x="26" y="51"/>
                      <a:pt x="26" y="51"/>
                    </a:cubicBezTo>
                    <a:cubicBezTo>
                      <a:pt x="27" y="52"/>
                      <a:pt x="27" y="53"/>
                      <a:pt x="28" y="53"/>
                    </a:cubicBezTo>
                    <a:cubicBezTo>
                      <a:pt x="30" y="53"/>
                      <a:pt x="30" y="56"/>
                      <a:pt x="31" y="57"/>
                    </a:cubicBezTo>
                    <a:cubicBezTo>
                      <a:pt x="31" y="55"/>
                      <a:pt x="30" y="54"/>
                      <a:pt x="30" y="52"/>
                    </a:cubicBezTo>
                    <a:cubicBezTo>
                      <a:pt x="30" y="51"/>
                      <a:pt x="30" y="50"/>
                      <a:pt x="29" y="49"/>
                    </a:cubicBezTo>
                    <a:cubicBezTo>
                      <a:pt x="31" y="49"/>
                      <a:pt x="31" y="50"/>
                      <a:pt x="32" y="50"/>
                    </a:cubicBezTo>
                    <a:cubicBezTo>
                      <a:pt x="34" y="52"/>
                      <a:pt x="35" y="54"/>
                      <a:pt x="37" y="55"/>
                    </a:cubicBezTo>
                    <a:cubicBezTo>
                      <a:pt x="38" y="56"/>
                      <a:pt x="38" y="56"/>
                      <a:pt x="38" y="58"/>
                    </a:cubicBezTo>
                    <a:cubicBezTo>
                      <a:pt x="38" y="59"/>
                      <a:pt x="40" y="59"/>
                      <a:pt x="41" y="59"/>
                    </a:cubicBezTo>
                    <a:cubicBezTo>
                      <a:pt x="42" y="60"/>
                      <a:pt x="43" y="60"/>
                      <a:pt x="44" y="60"/>
                    </a:cubicBezTo>
                    <a:cubicBezTo>
                      <a:pt x="44" y="60"/>
                      <a:pt x="44" y="59"/>
                      <a:pt x="44" y="59"/>
                    </a:cubicBezTo>
                    <a:cubicBezTo>
                      <a:pt x="45" y="59"/>
                      <a:pt x="45" y="59"/>
                      <a:pt x="46" y="59"/>
                    </a:cubicBezTo>
                    <a:cubicBezTo>
                      <a:pt x="45" y="60"/>
                      <a:pt x="45" y="60"/>
                      <a:pt x="45" y="60"/>
                    </a:cubicBezTo>
                    <a:cubicBezTo>
                      <a:pt x="44" y="61"/>
                      <a:pt x="44" y="60"/>
                      <a:pt x="44" y="60"/>
                    </a:cubicBezTo>
                    <a:cubicBezTo>
                      <a:pt x="43" y="62"/>
                      <a:pt x="46" y="63"/>
                      <a:pt x="46" y="63"/>
                    </a:cubicBezTo>
                    <a:cubicBezTo>
                      <a:pt x="47" y="63"/>
                      <a:pt x="47" y="58"/>
                      <a:pt x="47" y="58"/>
                    </a:cubicBezTo>
                    <a:cubicBezTo>
                      <a:pt x="47" y="58"/>
                      <a:pt x="45" y="57"/>
                      <a:pt x="45" y="58"/>
                    </a:cubicBezTo>
                    <a:cubicBezTo>
                      <a:pt x="44" y="58"/>
                      <a:pt x="43" y="58"/>
                      <a:pt x="43" y="58"/>
                    </a:cubicBezTo>
                    <a:cubicBezTo>
                      <a:pt x="43" y="58"/>
                      <a:pt x="43" y="56"/>
                      <a:pt x="44" y="56"/>
                    </a:cubicBezTo>
                    <a:cubicBezTo>
                      <a:pt x="43" y="56"/>
                      <a:pt x="40" y="53"/>
                      <a:pt x="41" y="51"/>
                    </a:cubicBezTo>
                    <a:cubicBezTo>
                      <a:pt x="41" y="51"/>
                      <a:pt x="42" y="51"/>
                      <a:pt x="43" y="52"/>
                    </a:cubicBezTo>
                    <a:cubicBezTo>
                      <a:pt x="44" y="52"/>
                      <a:pt x="44" y="51"/>
                      <a:pt x="45" y="51"/>
                    </a:cubicBezTo>
                    <a:cubicBezTo>
                      <a:pt x="45" y="49"/>
                      <a:pt x="40" y="49"/>
                      <a:pt x="39" y="48"/>
                    </a:cubicBezTo>
                    <a:cubicBezTo>
                      <a:pt x="39" y="48"/>
                      <a:pt x="39" y="48"/>
                      <a:pt x="39" y="47"/>
                    </a:cubicBezTo>
                    <a:cubicBezTo>
                      <a:pt x="39" y="48"/>
                      <a:pt x="39" y="49"/>
                      <a:pt x="39" y="49"/>
                    </a:cubicBezTo>
                    <a:cubicBezTo>
                      <a:pt x="39" y="49"/>
                      <a:pt x="38" y="50"/>
                      <a:pt x="38" y="50"/>
                    </a:cubicBezTo>
                    <a:cubicBezTo>
                      <a:pt x="38" y="51"/>
                      <a:pt x="37" y="51"/>
                      <a:pt x="36" y="52"/>
                    </a:cubicBezTo>
                    <a:cubicBezTo>
                      <a:pt x="35" y="51"/>
                      <a:pt x="36" y="49"/>
                      <a:pt x="36" y="48"/>
                    </a:cubicBezTo>
                    <a:cubicBezTo>
                      <a:pt x="35" y="48"/>
                      <a:pt x="35" y="46"/>
                      <a:pt x="34" y="46"/>
                    </a:cubicBezTo>
                    <a:cubicBezTo>
                      <a:pt x="33" y="45"/>
                      <a:pt x="31" y="44"/>
                      <a:pt x="30" y="45"/>
                    </a:cubicBezTo>
                    <a:cubicBezTo>
                      <a:pt x="29" y="46"/>
                      <a:pt x="28" y="50"/>
                      <a:pt x="27" y="49"/>
                    </a:cubicBezTo>
                    <a:cubicBezTo>
                      <a:pt x="27" y="49"/>
                      <a:pt x="27" y="49"/>
                      <a:pt x="27" y="50"/>
                    </a:cubicBezTo>
                    <a:cubicBezTo>
                      <a:pt x="26" y="49"/>
                      <a:pt x="25" y="49"/>
                      <a:pt x="24" y="48"/>
                    </a:cubicBezTo>
                    <a:cubicBezTo>
                      <a:pt x="23" y="48"/>
                      <a:pt x="23" y="47"/>
                      <a:pt x="22" y="45"/>
                    </a:cubicBezTo>
                    <a:cubicBezTo>
                      <a:pt x="22" y="44"/>
                      <a:pt x="22" y="42"/>
                      <a:pt x="22" y="41"/>
                    </a:cubicBezTo>
                    <a:cubicBezTo>
                      <a:pt x="22" y="40"/>
                      <a:pt x="21" y="39"/>
                      <a:pt x="21" y="38"/>
                    </a:cubicBezTo>
                    <a:cubicBezTo>
                      <a:pt x="19" y="36"/>
                      <a:pt x="18" y="35"/>
                      <a:pt x="20" y="33"/>
                    </a:cubicBezTo>
                    <a:cubicBezTo>
                      <a:pt x="20" y="32"/>
                      <a:pt x="21" y="31"/>
                      <a:pt x="21" y="30"/>
                    </a:cubicBezTo>
                    <a:cubicBezTo>
                      <a:pt x="21" y="30"/>
                      <a:pt x="21" y="30"/>
                      <a:pt x="21" y="30"/>
                    </a:cubicBezTo>
                    <a:cubicBezTo>
                      <a:pt x="20" y="27"/>
                      <a:pt x="25" y="27"/>
                      <a:pt x="26" y="25"/>
                    </a:cubicBezTo>
                    <a:cubicBezTo>
                      <a:pt x="26" y="26"/>
                      <a:pt x="26" y="26"/>
                      <a:pt x="26" y="27"/>
                    </a:cubicBezTo>
                    <a:cubicBezTo>
                      <a:pt x="27" y="24"/>
                      <a:pt x="28" y="22"/>
                      <a:pt x="29" y="20"/>
                    </a:cubicBezTo>
                    <a:cubicBezTo>
                      <a:pt x="30" y="19"/>
                      <a:pt x="30" y="18"/>
                      <a:pt x="30" y="17"/>
                    </a:cubicBezTo>
                    <a:cubicBezTo>
                      <a:pt x="30" y="17"/>
                      <a:pt x="31" y="16"/>
                      <a:pt x="30" y="16"/>
                    </a:cubicBezTo>
                    <a:cubicBezTo>
                      <a:pt x="29" y="14"/>
                      <a:pt x="28" y="13"/>
                      <a:pt x="27" y="11"/>
                    </a:cubicBezTo>
                    <a:cubicBezTo>
                      <a:pt x="26" y="11"/>
                      <a:pt x="28" y="7"/>
                      <a:pt x="28" y="6"/>
                    </a:cubicBezTo>
                    <a:cubicBezTo>
                      <a:pt x="28" y="4"/>
                      <a:pt x="28" y="3"/>
                      <a:pt x="28" y="1"/>
                    </a:cubicBezTo>
                    <a:cubicBezTo>
                      <a:pt x="27" y="2"/>
                      <a:pt x="26" y="3"/>
                      <a:pt x="25" y="3"/>
                    </a:cubicBezTo>
                    <a:cubicBezTo>
                      <a:pt x="24" y="4"/>
                      <a:pt x="22" y="3"/>
                      <a:pt x="22" y="4"/>
                    </a:cubicBezTo>
                    <a:cubicBezTo>
                      <a:pt x="22" y="2"/>
                      <a:pt x="16" y="1"/>
                      <a:pt x="15" y="0"/>
                    </a:cubicBezTo>
                    <a:cubicBezTo>
                      <a:pt x="14" y="1"/>
                      <a:pt x="13" y="1"/>
                      <a:pt x="12" y="1"/>
                    </a:cubicBezTo>
                    <a:cubicBezTo>
                      <a:pt x="12" y="1"/>
                      <a:pt x="11" y="1"/>
                      <a:pt x="11" y="1"/>
                    </a:cubicBezTo>
                    <a:cubicBezTo>
                      <a:pt x="11" y="1"/>
                      <a:pt x="11" y="1"/>
                      <a:pt x="10" y="1"/>
                    </a:cubicBezTo>
                    <a:cubicBezTo>
                      <a:pt x="10" y="2"/>
                      <a:pt x="10" y="3"/>
                      <a:pt x="10" y="4"/>
                    </a:cubicBezTo>
                    <a:cubicBezTo>
                      <a:pt x="10" y="5"/>
                      <a:pt x="9" y="6"/>
                      <a:pt x="9" y="8"/>
                    </a:cubicBezTo>
                    <a:cubicBezTo>
                      <a:pt x="9" y="11"/>
                      <a:pt x="9" y="14"/>
                      <a:pt x="9" y="17"/>
                    </a:cubicBezTo>
                    <a:cubicBezTo>
                      <a:pt x="9" y="18"/>
                      <a:pt x="8" y="21"/>
                      <a:pt x="8" y="21"/>
                    </a:cubicBezTo>
                    <a:cubicBezTo>
                      <a:pt x="8" y="23"/>
                      <a:pt x="10" y="25"/>
                      <a:pt x="8" y="26"/>
                    </a:cubicBezTo>
                    <a:cubicBezTo>
                      <a:pt x="8" y="27"/>
                      <a:pt x="7" y="27"/>
                      <a:pt x="7" y="27"/>
                    </a:cubicBezTo>
                    <a:cubicBezTo>
                      <a:pt x="6" y="27"/>
                      <a:pt x="4" y="25"/>
                      <a:pt x="4" y="24"/>
                    </a:cubicBezTo>
                    <a:cubicBezTo>
                      <a:pt x="4" y="24"/>
                      <a:pt x="4"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5" name="Freeform 2213">
                <a:extLst>
                  <a:ext uri="{FF2B5EF4-FFF2-40B4-BE49-F238E27FC236}">
                    <a16:creationId xmlns:a16="http://schemas.microsoft.com/office/drawing/2014/main" id="{94D4F637-717B-4F87-8A89-6F2251E19A80}"/>
                  </a:ext>
                </a:extLst>
              </p:cNvPr>
              <p:cNvSpPr>
                <a:spLocks/>
              </p:cNvSpPr>
              <p:nvPr/>
            </p:nvSpPr>
            <p:spPr bwMode="auto">
              <a:xfrm>
                <a:off x="6379" y="2499"/>
                <a:ext cx="62" cy="76"/>
              </a:xfrm>
              <a:custGeom>
                <a:avLst/>
                <a:gdLst>
                  <a:gd name="T0" fmla="*/ 8 w 26"/>
                  <a:gd name="T1" fmla="*/ 22 h 32"/>
                  <a:gd name="T2" fmla="*/ 4 w 26"/>
                  <a:gd name="T3" fmla="*/ 26 h 32"/>
                  <a:gd name="T4" fmla="*/ 1 w 26"/>
                  <a:gd name="T5" fmla="*/ 29 h 32"/>
                  <a:gd name="T6" fmla="*/ 0 w 26"/>
                  <a:gd name="T7" fmla="*/ 32 h 32"/>
                  <a:gd name="T8" fmla="*/ 7 w 26"/>
                  <a:gd name="T9" fmla="*/ 27 h 32"/>
                  <a:gd name="T10" fmla="*/ 13 w 26"/>
                  <a:gd name="T11" fmla="*/ 22 h 32"/>
                  <a:gd name="T12" fmla="*/ 15 w 26"/>
                  <a:gd name="T13" fmla="*/ 20 h 32"/>
                  <a:gd name="T14" fmla="*/ 16 w 26"/>
                  <a:gd name="T15" fmla="*/ 18 h 32"/>
                  <a:gd name="T16" fmla="*/ 17 w 26"/>
                  <a:gd name="T17" fmla="*/ 15 h 32"/>
                  <a:gd name="T18" fmla="*/ 19 w 26"/>
                  <a:gd name="T19" fmla="*/ 15 h 32"/>
                  <a:gd name="T20" fmla="*/ 22 w 26"/>
                  <a:gd name="T21" fmla="*/ 11 h 32"/>
                  <a:gd name="T22" fmla="*/ 26 w 26"/>
                  <a:gd name="T23" fmla="*/ 9 h 32"/>
                  <a:gd name="T24" fmla="*/ 25 w 26"/>
                  <a:gd name="T25" fmla="*/ 9 h 32"/>
                  <a:gd name="T26" fmla="*/ 24 w 26"/>
                  <a:gd name="T27" fmla="*/ 8 h 32"/>
                  <a:gd name="T28" fmla="*/ 24 w 26"/>
                  <a:gd name="T29" fmla="*/ 7 h 32"/>
                  <a:gd name="T30" fmla="*/ 24 w 26"/>
                  <a:gd name="T31" fmla="*/ 6 h 32"/>
                  <a:gd name="T32" fmla="*/ 23 w 26"/>
                  <a:gd name="T33" fmla="*/ 6 h 32"/>
                  <a:gd name="T34" fmla="*/ 24 w 26"/>
                  <a:gd name="T35" fmla="*/ 4 h 32"/>
                  <a:gd name="T36" fmla="*/ 24 w 26"/>
                  <a:gd name="T37" fmla="*/ 2 h 32"/>
                  <a:gd name="T38" fmla="*/ 23 w 26"/>
                  <a:gd name="T39" fmla="*/ 0 h 32"/>
                  <a:gd name="T40" fmla="*/ 22 w 26"/>
                  <a:gd name="T41" fmla="*/ 5 h 32"/>
                  <a:gd name="T42" fmla="*/ 23 w 26"/>
                  <a:gd name="T43" fmla="*/ 7 h 32"/>
                  <a:gd name="T44" fmla="*/ 23 w 26"/>
                  <a:gd name="T45" fmla="*/ 7 h 32"/>
                  <a:gd name="T46" fmla="*/ 21 w 26"/>
                  <a:gd name="T47" fmla="*/ 6 h 32"/>
                  <a:gd name="T48" fmla="*/ 20 w 26"/>
                  <a:gd name="T49" fmla="*/ 6 h 32"/>
                  <a:gd name="T50" fmla="*/ 21 w 26"/>
                  <a:gd name="T51" fmla="*/ 9 h 32"/>
                  <a:gd name="T52" fmla="*/ 20 w 26"/>
                  <a:gd name="T53" fmla="*/ 10 h 32"/>
                  <a:gd name="T54" fmla="*/ 17 w 26"/>
                  <a:gd name="T55" fmla="*/ 14 h 32"/>
                  <a:gd name="T56" fmla="*/ 16 w 26"/>
                  <a:gd name="T57" fmla="*/ 14 h 32"/>
                  <a:gd name="T58" fmla="*/ 11 w 26"/>
                  <a:gd name="T59" fmla="*/ 20 h 32"/>
                  <a:gd name="T60" fmla="*/ 8 w 26"/>
                  <a:gd name="T61"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32">
                    <a:moveTo>
                      <a:pt x="8" y="22"/>
                    </a:moveTo>
                    <a:cubicBezTo>
                      <a:pt x="6" y="23"/>
                      <a:pt x="5" y="25"/>
                      <a:pt x="4" y="26"/>
                    </a:cubicBezTo>
                    <a:cubicBezTo>
                      <a:pt x="3" y="27"/>
                      <a:pt x="2" y="28"/>
                      <a:pt x="1" y="29"/>
                    </a:cubicBezTo>
                    <a:cubicBezTo>
                      <a:pt x="0" y="30"/>
                      <a:pt x="0" y="31"/>
                      <a:pt x="0" y="32"/>
                    </a:cubicBezTo>
                    <a:cubicBezTo>
                      <a:pt x="2" y="30"/>
                      <a:pt x="5" y="29"/>
                      <a:pt x="7" y="27"/>
                    </a:cubicBezTo>
                    <a:cubicBezTo>
                      <a:pt x="9" y="25"/>
                      <a:pt x="12" y="24"/>
                      <a:pt x="13" y="22"/>
                    </a:cubicBezTo>
                    <a:cubicBezTo>
                      <a:pt x="14" y="21"/>
                      <a:pt x="14" y="21"/>
                      <a:pt x="15" y="20"/>
                    </a:cubicBezTo>
                    <a:cubicBezTo>
                      <a:pt x="15" y="19"/>
                      <a:pt x="16" y="18"/>
                      <a:pt x="16" y="18"/>
                    </a:cubicBezTo>
                    <a:cubicBezTo>
                      <a:pt x="17" y="17"/>
                      <a:pt x="15" y="16"/>
                      <a:pt x="17" y="15"/>
                    </a:cubicBezTo>
                    <a:cubicBezTo>
                      <a:pt x="18" y="15"/>
                      <a:pt x="19" y="15"/>
                      <a:pt x="19" y="15"/>
                    </a:cubicBezTo>
                    <a:cubicBezTo>
                      <a:pt x="21" y="14"/>
                      <a:pt x="21" y="12"/>
                      <a:pt x="22" y="11"/>
                    </a:cubicBezTo>
                    <a:cubicBezTo>
                      <a:pt x="23" y="11"/>
                      <a:pt x="25" y="10"/>
                      <a:pt x="26" y="9"/>
                    </a:cubicBezTo>
                    <a:cubicBezTo>
                      <a:pt x="26" y="9"/>
                      <a:pt x="25" y="9"/>
                      <a:pt x="25" y="9"/>
                    </a:cubicBezTo>
                    <a:cubicBezTo>
                      <a:pt x="25" y="8"/>
                      <a:pt x="25" y="8"/>
                      <a:pt x="24" y="8"/>
                    </a:cubicBezTo>
                    <a:cubicBezTo>
                      <a:pt x="25" y="8"/>
                      <a:pt x="25" y="7"/>
                      <a:pt x="24" y="7"/>
                    </a:cubicBezTo>
                    <a:cubicBezTo>
                      <a:pt x="24" y="6"/>
                      <a:pt x="24" y="7"/>
                      <a:pt x="24" y="6"/>
                    </a:cubicBezTo>
                    <a:cubicBezTo>
                      <a:pt x="24" y="6"/>
                      <a:pt x="23" y="6"/>
                      <a:pt x="23" y="6"/>
                    </a:cubicBezTo>
                    <a:cubicBezTo>
                      <a:pt x="23" y="5"/>
                      <a:pt x="24" y="5"/>
                      <a:pt x="24" y="4"/>
                    </a:cubicBezTo>
                    <a:cubicBezTo>
                      <a:pt x="23" y="4"/>
                      <a:pt x="24" y="3"/>
                      <a:pt x="24" y="2"/>
                    </a:cubicBezTo>
                    <a:cubicBezTo>
                      <a:pt x="24" y="1"/>
                      <a:pt x="24" y="2"/>
                      <a:pt x="23" y="0"/>
                    </a:cubicBezTo>
                    <a:cubicBezTo>
                      <a:pt x="23" y="2"/>
                      <a:pt x="21" y="4"/>
                      <a:pt x="22" y="5"/>
                    </a:cubicBezTo>
                    <a:cubicBezTo>
                      <a:pt x="22" y="6"/>
                      <a:pt x="23" y="7"/>
                      <a:pt x="23" y="7"/>
                    </a:cubicBezTo>
                    <a:cubicBezTo>
                      <a:pt x="23" y="7"/>
                      <a:pt x="23" y="7"/>
                      <a:pt x="23" y="7"/>
                    </a:cubicBezTo>
                    <a:cubicBezTo>
                      <a:pt x="23" y="7"/>
                      <a:pt x="22" y="6"/>
                      <a:pt x="21" y="6"/>
                    </a:cubicBezTo>
                    <a:cubicBezTo>
                      <a:pt x="21" y="5"/>
                      <a:pt x="21" y="5"/>
                      <a:pt x="20" y="6"/>
                    </a:cubicBezTo>
                    <a:cubicBezTo>
                      <a:pt x="20" y="7"/>
                      <a:pt x="21" y="8"/>
                      <a:pt x="21" y="9"/>
                    </a:cubicBezTo>
                    <a:cubicBezTo>
                      <a:pt x="21" y="10"/>
                      <a:pt x="19" y="12"/>
                      <a:pt x="20" y="10"/>
                    </a:cubicBezTo>
                    <a:cubicBezTo>
                      <a:pt x="19" y="11"/>
                      <a:pt x="18" y="13"/>
                      <a:pt x="17" y="14"/>
                    </a:cubicBezTo>
                    <a:cubicBezTo>
                      <a:pt x="16" y="15"/>
                      <a:pt x="16" y="15"/>
                      <a:pt x="16" y="14"/>
                    </a:cubicBezTo>
                    <a:cubicBezTo>
                      <a:pt x="14" y="16"/>
                      <a:pt x="13" y="18"/>
                      <a:pt x="11" y="20"/>
                    </a:cubicBezTo>
                    <a:cubicBezTo>
                      <a:pt x="11" y="20"/>
                      <a:pt x="8" y="23"/>
                      <a:pt x="8"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6" name="Freeform 2214">
                <a:extLst>
                  <a:ext uri="{FF2B5EF4-FFF2-40B4-BE49-F238E27FC236}">
                    <a16:creationId xmlns:a16="http://schemas.microsoft.com/office/drawing/2014/main" id="{AD4D0996-BA71-43A4-B76B-EE809884C051}"/>
                  </a:ext>
                </a:extLst>
              </p:cNvPr>
              <p:cNvSpPr>
                <a:spLocks/>
              </p:cNvSpPr>
              <p:nvPr/>
            </p:nvSpPr>
            <p:spPr bwMode="auto">
              <a:xfrm>
                <a:off x="6526" y="2504"/>
                <a:ext cx="19" cy="45"/>
              </a:xfrm>
              <a:custGeom>
                <a:avLst/>
                <a:gdLst>
                  <a:gd name="T0" fmla="*/ 8 w 8"/>
                  <a:gd name="T1" fmla="*/ 8 h 19"/>
                  <a:gd name="T2" fmla="*/ 8 w 8"/>
                  <a:gd name="T3" fmla="*/ 6 h 19"/>
                  <a:gd name="T4" fmla="*/ 8 w 8"/>
                  <a:gd name="T5" fmla="*/ 0 h 19"/>
                  <a:gd name="T6" fmla="*/ 7 w 8"/>
                  <a:gd name="T7" fmla="*/ 3 h 19"/>
                  <a:gd name="T8" fmla="*/ 5 w 8"/>
                  <a:gd name="T9" fmla="*/ 6 h 19"/>
                  <a:gd name="T10" fmla="*/ 2 w 8"/>
                  <a:gd name="T11" fmla="*/ 11 h 19"/>
                  <a:gd name="T12" fmla="*/ 1 w 8"/>
                  <a:gd name="T13" fmla="*/ 14 h 19"/>
                  <a:gd name="T14" fmla="*/ 1 w 8"/>
                  <a:gd name="T15" fmla="*/ 19 h 19"/>
                  <a:gd name="T16" fmla="*/ 5 w 8"/>
                  <a:gd name="T17" fmla="*/ 11 h 19"/>
                  <a:gd name="T18" fmla="*/ 8 w 8"/>
                  <a:gd name="T1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9">
                    <a:moveTo>
                      <a:pt x="8" y="8"/>
                    </a:moveTo>
                    <a:cubicBezTo>
                      <a:pt x="8" y="7"/>
                      <a:pt x="8" y="6"/>
                      <a:pt x="8" y="6"/>
                    </a:cubicBezTo>
                    <a:cubicBezTo>
                      <a:pt x="8" y="4"/>
                      <a:pt x="8" y="2"/>
                      <a:pt x="8" y="0"/>
                    </a:cubicBezTo>
                    <a:cubicBezTo>
                      <a:pt x="7" y="0"/>
                      <a:pt x="7" y="2"/>
                      <a:pt x="7" y="3"/>
                    </a:cubicBezTo>
                    <a:cubicBezTo>
                      <a:pt x="6" y="3"/>
                      <a:pt x="6" y="5"/>
                      <a:pt x="5" y="6"/>
                    </a:cubicBezTo>
                    <a:cubicBezTo>
                      <a:pt x="4" y="8"/>
                      <a:pt x="4" y="9"/>
                      <a:pt x="2" y="11"/>
                    </a:cubicBezTo>
                    <a:cubicBezTo>
                      <a:pt x="1" y="13"/>
                      <a:pt x="1" y="13"/>
                      <a:pt x="1" y="14"/>
                    </a:cubicBezTo>
                    <a:cubicBezTo>
                      <a:pt x="1" y="16"/>
                      <a:pt x="0" y="17"/>
                      <a:pt x="1" y="19"/>
                    </a:cubicBezTo>
                    <a:cubicBezTo>
                      <a:pt x="2" y="17"/>
                      <a:pt x="3" y="13"/>
                      <a:pt x="5" y="11"/>
                    </a:cubicBezTo>
                    <a:cubicBezTo>
                      <a:pt x="6" y="10"/>
                      <a:pt x="7" y="10"/>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7" name="Freeform 2215">
                <a:extLst>
                  <a:ext uri="{FF2B5EF4-FFF2-40B4-BE49-F238E27FC236}">
                    <a16:creationId xmlns:a16="http://schemas.microsoft.com/office/drawing/2014/main" id="{EFAF76B8-03D2-466F-B0C8-839363CCD47B}"/>
                  </a:ext>
                </a:extLst>
              </p:cNvPr>
              <p:cNvSpPr>
                <a:spLocks/>
              </p:cNvSpPr>
              <p:nvPr/>
            </p:nvSpPr>
            <p:spPr bwMode="auto">
              <a:xfrm>
                <a:off x="6521" y="2471"/>
                <a:ext cx="24" cy="21"/>
              </a:xfrm>
              <a:custGeom>
                <a:avLst/>
                <a:gdLst>
                  <a:gd name="T0" fmla="*/ 2 w 10"/>
                  <a:gd name="T1" fmla="*/ 7 h 9"/>
                  <a:gd name="T2" fmla="*/ 5 w 10"/>
                  <a:gd name="T3" fmla="*/ 4 h 9"/>
                  <a:gd name="T4" fmla="*/ 6 w 10"/>
                  <a:gd name="T5" fmla="*/ 6 h 9"/>
                  <a:gd name="T6" fmla="*/ 7 w 10"/>
                  <a:gd name="T7" fmla="*/ 7 h 9"/>
                  <a:gd name="T8" fmla="*/ 8 w 10"/>
                  <a:gd name="T9" fmla="*/ 7 h 9"/>
                  <a:gd name="T10" fmla="*/ 10 w 10"/>
                  <a:gd name="T11" fmla="*/ 9 h 9"/>
                  <a:gd name="T12" fmla="*/ 8 w 10"/>
                  <a:gd name="T13" fmla="*/ 4 h 9"/>
                  <a:gd name="T14" fmla="*/ 7 w 10"/>
                  <a:gd name="T15" fmla="*/ 3 h 9"/>
                  <a:gd name="T16" fmla="*/ 2 w 10"/>
                  <a:gd name="T17" fmla="*/ 0 h 9"/>
                  <a:gd name="T18" fmla="*/ 2 w 10"/>
                  <a:gd name="T19" fmla="*/ 2 h 9"/>
                  <a:gd name="T20" fmla="*/ 1 w 10"/>
                  <a:gd name="T21" fmla="*/ 4 h 9"/>
                  <a:gd name="T22" fmla="*/ 2 w 10"/>
                  <a:gd name="T23" fmla="*/ 4 h 9"/>
                  <a:gd name="T24" fmla="*/ 2 w 10"/>
                  <a:gd name="T25" fmla="*/ 4 h 9"/>
                  <a:gd name="T26" fmla="*/ 2 w 10"/>
                  <a:gd name="T27" fmla="*/ 5 h 9"/>
                  <a:gd name="T28" fmla="*/ 2 w 10"/>
                  <a:gd name="T2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9">
                    <a:moveTo>
                      <a:pt x="2" y="7"/>
                    </a:moveTo>
                    <a:cubicBezTo>
                      <a:pt x="3" y="6"/>
                      <a:pt x="4" y="3"/>
                      <a:pt x="5" y="4"/>
                    </a:cubicBezTo>
                    <a:cubicBezTo>
                      <a:pt x="5" y="5"/>
                      <a:pt x="6" y="6"/>
                      <a:pt x="6" y="6"/>
                    </a:cubicBezTo>
                    <a:cubicBezTo>
                      <a:pt x="6" y="6"/>
                      <a:pt x="7" y="7"/>
                      <a:pt x="7" y="7"/>
                    </a:cubicBezTo>
                    <a:cubicBezTo>
                      <a:pt x="7" y="7"/>
                      <a:pt x="8" y="7"/>
                      <a:pt x="8" y="7"/>
                    </a:cubicBezTo>
                    <a:cubicBezTo>
                      <a:pt x="9" y="8"/>
                      <a:pt x="10" y="8"/>
                      <a:pt x="10" y="9"/>
                    </a:cubicBezTo>
                    <a:cubicBezTo>
                      <a:pt x="10" y="8"/>
                      <a:pt x="9" y="5"/>
                      <a:pt x="8" y="4"/>
                    </a:cubicBezTo>
                    <a:cubicBezTo>
                      <a:pt x="8" y="4"/>
                      <a:pt x="7" y="4"/>
                      <a:pt x="7" y="3"/>
                    </a:cubicBezTo>
                    <a:cubicBezTo>
                      <a:pt x="5" y="2"/>
                      <a:pt x="4" y="1"/>
                      <a:pt x="2" y="0"/>
                    </a:cubicBezTo>
                    <a:cubicBezTo>
                      <a:pt x="2" y="1"/>
                      <a:pt x="2" y="2"/>
                      <a:pt x="2" y="2"/>
                    </a:cubicBezTo>
                    <a:cubicBezTo>
                      <a:pt x="2" y="3"/>
                      <a:pt x="1" y="3"/>
                      <a:pt x="1" y="4"/>
                    </a:cubicBezTo>
                    <a:cubicBezTo>
                      <a:pt x="2" y="4"/>
                      <a:pt x="2" y="4"/>
                      <a:pt x="2" y="4"/>
                    </a:cubicBezTo>
                    <a:cubicBezTo>
                      <a:pt x="2" y="4"/>
                      <a:pt x="2" y="4"/>
                      <a:pt x="2" y="4"/>
                    </a:cubicBezTo>
                    <a:cubicBezTo>
                      <a:pt x="2" y="4"/>
                      <a:pt x="2" y="4"/>
                      <a:pt x="2" y="5"/>
                    </a:cubicBezTo>
                    <a:cubicBezTo>
                      <a:pt x="2" y="5"/>
                      <a:pt x="0" y="8"/>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8" name="Freeform 2216">
                <a:extLst>
                  <a:ext uri="{FF2B5EF4-FFF2-40B4-BE49-F238E27FC236}">
                    <a16:creationId xmlns:a16="http://schemas.microsoft.com/office/drawing/2014/main" id="{73A223E5-F8BC-4EC7-BFB0-817B71B28501}"/>
                  </a:ext>
                </a:extLst>
              </p:cNvPr>
              <p:cNvSpPr>
                <a:spLocks/>
              </p:cNvSpPr>
              <p:nvPr/>
            </p:nvSpPr>
            <p:spPr bwMode="auto">
              <a:xfrm>
                <a:off x="6445" y="2485"/>
                <a:ext cx="3" cy="10"/>
              </a:xfrm>
              <a:custGeom>
                <a:avLst/>
                <a:gdLst>
                  <a:gd name="T0" fmla="*/ 0 w 1"/>
                  <a:gd name="T1" fmla="*/ 0 h 4"/>
                  <a:gd name="T2" fmla="*/ 0 w 1"/>
                  <a:gd name="T3" fmla="*/ 4 h 4"/>
                  <a:gd name="T4" fmla="*/ 1 w 1"/>
                  <a:gd name="T5" fmla="*/ 2 h 4"/>
                  <a:gd name="T6" fmla="*/ 1 w 1"/>
                  <a:gd name="T7" fmla="*/ 2 h 4"/>
                  <a:gd name="T8" fmla="*/ 1 w 1"/>
                  <a:gd name="T9" fmla="*/ 1 h 4"/>
                  <a:gd name="T10" fmla="*/ 1 w 1"/>
                  <a:gd name="T11" fmla="*/ 1 h 4"/>
                  <a:gd name="T12" fmla="*/ 0 w 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0" y="0"/>
                    </a:moveTo>
                    <a:cubicBezTo>
                      <a:pt x="0" y="2"/>
                      <a:pt x="0" y="3"/>
                      <a:pt x="0" y="4"/>
                    </a:cubicBezTo>
                    <a:cubicBezTo>
                      <a:pt x="1" y="3"/>
                      <a:pt x="1" y="3"/>
                      <a:pt x="1" y="2"/>
                    </a:cubicBezTo>
                    <a:cubicBezTo>
                      <a:pt x="1" y="2"/>
                      <a:pt x="1" y="2"/>
                      <a:pt x="1" y="2"/>
                    </a:cubicBezTo>
                    <a:cubicBezTo>
                      <a:pt x="1" y="2"/>
                      <a:pt x="1" y="1"/>
                      <a:pt x="1" y="1"/>
                    </a:cubicBezTo>
                    <a:cubicBezTo>
                      <a:pt x="1" y="1"/>
                      <a:pt x="1" y="1"/>
                      <a:pt x="1"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9" name="Freeform 2217">
                <a:extLst>
                  <a:ext uri="{FF2B5EF4-FFF2-40B4-BE49-F238E27FC236}">
                    <a16:creationId xmlns:a16="http://schemas.microsoft.com/office/drawing/2014/main" id="{DC14DDE7-E756-436B-813D-8A1E24609ADE}"/>
                  </a:ext>
                </a:extLst>
              </p:cNvPr>
              <p:cNvSpPr>
                <a:spLocks/>
              </p:cNvSpPr>
              <p:nvPr/>
            </p:nvSpPr>
            <p:spPr bwMode="auto">
              <a:xfrm>
                <a:off x="6561" y="2554"/>
                <a:ext cx="3"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0" name="Freeform 2218">
                <a:extLst>
                  <a:ext uri="{FF2B5EF4-FFF2-40B4-BE49-F238E27FC236}">
                    <a16:creationId xmlns:a16="http://schemas.microsoft.com/office/drawing/2014/main" id="{95C14660-EC32-414F-8EB6-79C467AE48C8}"/>
                  </a:ext>
                </a:extLst>
              </p:cNvPr>
              <p:cNvSpPr>
                <a:spLocks/>
              </p:cNvSpPr>
              <p:nvPr/>
            </p:nvSpPr>
            <p:spPr bwMode="auto">
              <a:xfrm>
                <a:off x="6502" y="2511"/>
                <a:ext cx="31" cy="48"/>
              </a:xfrm>
              <a:custGeom>
                <a:avLst/>
                <a:gdLst>
                  <a:gd name="T0" fmla="*/ 4 w 13"/>
                  <a:gd name="T1" fmla="*/ 8 h 20"/>
                  <a:gd name="T2" fmla="*/ 3 w 13"/>
                  <a:gd name="T3" fmla="*/ 10 h 20"/>
                  <a:gd name="T4" fmla="*/ 2 w 13"/>
                  <a:gd name="T5" fmla="*/ 10 h 20"/>
                  <a:gd name="T6" fmla="*/ 2 w 13"/>
                  <a:gd name="T7" fmla="*/ 10 h 20"/>
                  <a:gd name="T8" fmla="*/ 3 w 13"/>
                  <a:gd name="T9" fmla="*/ 16 h 20"/>
                  <a:gd name="T10" fmla="*/ 5 w 13"/>
                  <a:gd name="T11" fmla="*/ 17 h 20"/>
                  <a:gd name="T12" fmla="*/ 6 w 13"/>
                  <a:gd name="T13" fmla="*/ 18 h 20"/>
                  <a:gd name="T14" fmla="*/ 8 w 13"/>
                  <a:gd name="T15" fmla="*/ 20 h 20"/>
                  <a:gd name="T16" fmla="*/ 9 w 13"/>
                  <a:gd name="T17" fmla="*/ 15 h 20"/>
                  <a:gd name="T18" fmla="*/ 10 w 13"/>
                  <a:gd name="T19" fmla="*/ 8 h 20"/>
                  <a:gd name="T20" fmla="*/ 13 w 13"/>
                  <a:gd name="T21" fmla="*/ 1 h 20"/>
                  <a:gd name="T22" fmla="*/ 12 w 13"/>
                  <a:gd name="T23" fmla="*/ 1 h 20"/>
                  <a:gd name="T24" fmla="*/ 11 w 13"/>
                  <a:gd name="T25" fmla="*/ 0 h 20"/>
                  <a:gd name="T26" fmla="*/ 9 w 13"/>
                  <a:gd name="T27" fmla="*/ 0 h 20"/>
                  <a:gd name="T28" fmla="*/ 4 w 13"/>
                  <a:gd name="T29"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0">
                    <a:moveTo>
                      <a:pt x="4" y="8"/>
                    </a:moveTo>
                    <a:cubicBezTo>
                      <a:pt x="4" y="9"/>
                      <a:pt x="3" y="10"/>
                      <a:pt x="3" y="10"/>
                    </a:cubicBezTo>
                    <a:cubicBezTo>
                      <a:pt x="3" y="10"/>
                      <a:pt x="3" y="10"/>
                      <a:pt x="2" y="10"/>
                    </a:cubicBezTo>
                    <a:cubicBezTo>
                      <a:pt x="2" y="10"/>
                      <a:pt x="2" y="10"/>
                      <a:pt x="2" y="10"/>
                    </a:cubicBezTo>
                    <a:cubicBezTo>
                      <a:pt x="0" y="12"/>
                      <a:pt x="3" y="15"/>
                      <a:pt x="3" y="16"/>
                    </a:cubicBezTo>
                    <a:cubicBezTo>
                      <a:pt x="4" y="16"/>
                      <a:pt x="5" y="16"/>
                      <a:pt x="5" y="17"/>
                    </a:cubicBezTo>
                    <a:cubicBezTo>
                      <a:pt x="6" y="17"/>
                      <a:pt x="6" y="17"/>
                      <a:pt x="6" y="18"/>
                    </a:cubicBezTo>
                    <a:cubicBezTo>
                      <a:pt x="6" y="19"/>
                      <a:pt x="6" y="20"/>
                      <a:pt x="8" y="20"/>
                    </a:cubicBezTo>
                    <a:cubicBezTo>
                      <a:pt x="11" y="20"/>
                      <a:pt x="9" y="16"/>
                      <a:pt x="9" y="15"/>
                    </a:cubicBezTo>
                    <a:cubicBezTo>
                      <a:pt x="8" y="13"/>
                      <a:pt x="10" y="10"/>
                      <a:pt x="10" y="8"/>
                    </a:cubicBezTo>
                    <a:cubicBezTo>
                      <a:pt x="11" y="6"/>
                      <a:pt x="12" y="3"/>
                      <a:pt x="13" y="1"/>
                    </a:cubicBezTo>
                    <a:cubicBezTo>
                      <a:pt x="12" y="1"/>
                      <a:pt x="13" y="1"/>
                      <a:pt x="12" y="1"/>
                    </a:cubicBezTo>
                    <a:cubicBezTo>
                      <a:pt x="12" y="0"/>
                      <a:pt x="12" y="0"/>
                      <a:pt x="11" y="0"/>
                    </a:cubicBezTo>
                    <a:cubicBezTo>
                      <a:pt x="10" y="0"/>
                      <a:pt x="10" y="0"/>
                      <a:pt x="9" y="0"/>
                    </a:cubicBezTo>
                    <a:cubicBezTo>
                      <a:pt x="6" y="1"/>
                      <a:pt x="5" y="5"/>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1" name="Freeform 2219">
                <a:extLst>
                  <a:ext uri="{FF2B5EF4-FFF2-40B4-BE49-F238E27FC236}">
                    <a16:creationId xmlns:a16="http://schemas.microsoft.com/office/drawing/2014/main" id="{54E03F04-1B64-4459-94AC-F2B87F6C1132}"/>
                  </a:ext>
                </a:extLst>
              </p:cNvPr>
              <p:cNvSpPr>
                <a:spLocks/>
              </p:cNvSpPr>
              <p:nvPr/>
            </p:nvSpPr>
            <p:spPr bwMode="auto">
              <a:xfrm>
                <a:off x="6490" y="2540"/>
                <a:ext cx="116" cy="104"/>
              </a:xfrm>
              <a:custGeom>
                <a:avLst/>
                <a:gdLst>
                  <a:gd name="T0" fmla="*/ 38 w 49"/>
                  <a:gd name="T1" fmla="*/ 6 h 44"/>
                  <a:gd name="T2" fmla="*/ 35 w 49"/>
                  <a:gd name="T3" fmla="*/ 7 h 44"/>
                  <a:gd name="T4" fmla="*/ 31 w 49"/>
                  <a:gd name="T5" fmla="*/ 8 h 44"/>
                  <a:gd name="T6" fmla="*/ 27 w 49"/>
                  <a:gd name="T7" fmla="*/ 12 h 44"/>
                  <a:gd name="T8" fmla="*/ 19 w 49"/>
                  <a:gd name="T9" fmla="*/ 18 h 44"/>
                  <a:gd name="T10" fmla="*/ 20 w 49"/>
                  <a:gd name="T11" fmla="*/ 13 h 44"/>
                  <a:gd name="T12" fmla="*/ 16 w 49"/>
                  <a:gd name="T13" fmla="*/ 11 h 44"/>
                  <a:gd name="T14" fmla="*/ 12 w 49"/>
                  <a:gd name="T15" fmla="*/ 15 h 44"/>
                  <a:gd name="T16" fmla="*/ 10 w 49"/>
                  <a:gd name="T17" fmla="*/ 17 h 44"/>
                  <a:gd name="T18" fmla="*/ 3 w 49"/>
                  <a:gd name="T19" fmla="*/ 23 h 44"/>
                  <a:gd name="T20" fmla="*/ 2 w 49"/>
                  <a:gd name="T21" fmla="*/ 29 h 44"/>
                  <a:gd name="T22" fmla="*/ 5 w 49"/>
                  <a:gd name="T23" fmla="*/ 28 h 44"/>
                  <a:gd name="T24" fmla="*/ 7 w 49"/>
                  <a:gd name="T25" fmla="*/ 23 h 44"/>
                  <a:gd name="T26" fmla="*/ 10 w 49"/>
                  <a:gd name="T27" fmla="*/ 22 h 44"/>
                  <a:gd name="T28" fmla="*/ 13 w 49"/>
                  <a:gd name="T29" fmla="*/ 22 h 44"/>
                  <a:gd name="T30" fmla="*/ 13 w 49"/>
                  <a:gd name="T31" fmla="*/ 24 h 44"/>
                  <a:gd name="T32" fmla="*/ 16 w 49"/>
                  <a:gd name="T33" fmla="*/ 25 h 44"/>
                  <a:gd name="T34" fmla="*/ 24 w 49"/>
                  <a:gd name="T35" fmla="*/ 24 h 44"/>
                  <a:gd name="T36" fmla="*/ 23 w 49"/>
                  <a:gd name="T37" fmla="*/ 28 h 44"/>
                  <a:gd name="T38" fmla="*/ 23 w 49"/>
                  <a:gd name="T39" fmla="*/ 35 h 44"/>
                  <a:gd name="T40" fmla="*/ 34 w 49"/>
                  <a:gd name="T41" fmla="*/ 40 h 44"/>
                  <a:gd name="T42" fmla="*/ 35 w 49"/>
                  <a:gd name="T43" fmla="*/ 43 h 44"/>
                  <a:gd name="T44" fmla="*/ 39 w 49"/>
                  <a:gd name="T45" fmla="*/ 40 h 44"/>
                  <a:gd name="T46" fmla="*/ 37 w 49"/>
                  <a:gd name="T47" fmla="*/ 33 h 44"/>
                  <a:gd name="T48" fmla="*/ 41 w 49"/>
                  <a:gd name="T49" fmla="*/ 25 h 44"/>
                  <a:gd name="T50" fmla="*/ 44 w 49"/>
                  <a:gd name="T51" fmla="*/ 30 h 44"/>
                  <a:gd name="T52" fmla="*/ 45 w 49"/>
                  <a:gd name="T53" fmla="*/ 36 h 44"/>
                  <a:gd name="T54" fmla="*/ 45 w 49"/>
                  <a:gd name="T55" fmla="*/ 30 h 44"/>
                  <a:gd name="T56" fmla="*/ 47 w 49"/>
                  <a:gd name="T57" fmla="*/ 30 h 44"/>
                  <a:gd name="T58" fmla="*/ 49 w 49"/>
                  <a:gd name="T59" fmla="*/ 26 h 44"/>
                  <a:gd name="T60" fmla="*/ 47 w 49"/>
                  <a:gd name="T61" fmla="*/ 19 h 44"/>
                  <a:gd name="T62" fmla="*/ 47 w 49"/>
                  <a:gd name="T63" fmla="*/ 14 h 44"/>
                  <a:gd name="T64" fmla="*/ 46 w 49"/>
                  <a:gd name="T65" fmla="*/ 11 h 44"/>
                  <a:gd name="T66" fmla="*/ 42 w 49"/>
                  <a:gd name="T6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4">
                    <a:moveTo>
                      <a:pt x="37" y="0"/>
                    </a:moveTo>
                    <a:cubicBezTo>
                      <a:pt x="37" y="2"/>
                      <a:pt x="38" y="4"/>
                      <a:pt x="38" y="6"/>
                    </a:cubicBezTo>
                    <a:cubicBezTo>
                      <a:pt x="38" y="7"/>
                      <a:pt x="38" y="8"/>
                      <a:pt x="38" y="8"/>
                    </a:cubicBezTo>
                    <a:cubicBezTo>
                      <a:pt x="37" y="8"/>
                      <a:pt x="36" y="8"/>
                      <a:pt x="35" y="7"/>
                    </a:cubicBezTo>
                    <a:cubicBezTo>
                      <a:pt x="34" y="9"/>
                      <a:pt x="35" y="10"/>
                      <a:pt x="33" y="9"/>
                    </a:cubicBezTo>
                    <a:cubicBezTo>
                      <a:pt x="32" y="9"/>
                      <a:pt x="32" y="8"/>
                      <a:pt x="31" y="8"/>
                    </a:cubicBezTo>
                    <a:cubicBezTo>
                      <a:pt x="30" y="8"/>
                      <a:pt x="30" y="12"/>
                      <a:pt x="30" y="13"/>
                    </a:cubicBezTo>
                    <a:cubicBezTo>
                      <a:pt x="29" y="13"/>
                      <a:pt x="27" y="12"/>
                      <a:pt x="27" y="12"/>
                    </a:cubicBezTo>
                    <a:cubicBezTo>
                      <a:pt x="26" y="14"/>
                      <a:pt x="25" y="15"/>
                      <a:pt x="24" y="16"/>
                    </a:cubicBezTo>
                    <a:cubicBezTo>
                      <a:pt x="23" y="16"/>
                      <a:pt x="20" y="19"/>
                      <a:pt x="19" y="18"/>
                    </a:cubicBezTo>
                    <a:cubicBezTo>
                      <a:pt x="20" y="18"/>
                      <a:pt x="21" y="17"/>
                      <a:pt x="21" y="16"/>
                    </a:cubicBezTo>
                    <a:cubicBezTo>
                      <a:pt x="21" y="15"/>
                      <a:pt x="21" y="13"/>
                      <a:pt x="20" y="13"/>
                    </a:cubicBezTo>
                    <a:cubicBezTo>
                      <a:pt x="20" y="12"/>
                      <a:pt x="20" y="12"/>
                      <a:pt x="19" y="12"/>
                    </a:cubicBezTo>
                    <a:cubicBezTo>
                      <a:pt x="18" y="12"/>
                      <a:pt x="17" y="12"/>
                      <a:pt x="16" y="11"/>
                    </a:cubicBezTo>
                    <a:cubicBezTo>
                      <a:pt x="16" y="11"/>
                      <a:pt x="16" y="11"/>
                      <a:pt x="16" y="11"/>
                    </a:cubicBezTo>
                    <a:cubicBezTo>
                      <a:pt x="14" y="12"/>
                      <a:pt x="13" y="13"/>
                      <a:pt x="12" y="15"/>
                    </a:cubicBezTo>
                    <a:cubicBezTo>
                      <a:pt x="12" y="15"/>
                      <a:pt x="11" y="17"/>
                      <a:pt x="11" y="17"/>
                    </a:cubicBezTo>
                    <a:cubicBezTo>
                      <a:pt x="11" y="17"/>
                      <a:pt x="10" y="17"/>
                      <a:pt x="10" y="17"/>
                    </a:cubicBezTo>
                    <a:cubicBezTo>
                      <a:pt x="7" y="18"/>
                      <a:pt x="5" y="18"/>
                      <a:pt x="3" y="20"/>
                    </a:cubicBezTo>
                    <a:cubicBezTo>
                      <a:pt x="3" y="21"/>
                      <a:pt x="3" y="22"/>
                      <a:pt x="3" y="23"/>
                    </a:cubicBezTo>
                    <a:cubicBezTo>
                      <a:pt x="3" y="23"/>
                      <a:pt x="3" y="23"/>
                      <a:pt x="3" y="24"/>
                    </a:cubicBezTo>
                    <a:cubicBezTo>
                      <a:pt x="2" y="25"/>
                      <a:pt x="0" y="29"/>
                      <a:pt x="2" y="29"/>
                    </a:cubicBezTo>
                    <a:cubicBezTo>
                      <a:pt x="3" y="30"/>
                      <a:pt x="3" y="30"/>
                      <a:pt x="4" y="29"/>
                    </a:cubicBezTo>
                    <a:cubicBezTo>
                      <a:pt x="4" y="28"/>
                      <a:pt x="5" y="28"/>
                      <a:pt x="5" y="28"/>
                    </a:cubicBezTo>
                    <a:cubicBezTo>
                      <a:pt x="5" y="27"/>
                      <a:pt x="5" y="25"/>
                      <a:pt x="6" y="25"/>
                    </a:cubicBezTo>
                    <a:cubicBezTo>
                      <a:pt x="5" y="24"/>
                      <a:pt x="7" y="23"/>
                      <a:pt x="7" y="23"/>
                    </a:cubicBezTo>
                    <a:cubicBezTo>
                      <a:pt x="7" y="23"/>
                      <a:pt x="7" y="23"/>
                      <a:pt x="6" y="23"/>
                    </a:cubicBezTo>
                    <a:cubicBezTo>
                      <a:pt x="7" y="22"/>
                      <a:pt x="9" y="20"/>
                      <a:pt x="10" y="22"/>
                    </a:cubicBezTo>
                    <a:cubicBezTo>
                      <a:pt x="11" y="23"/>
                      <a:pt x="10" y="24"/>
                      <a:pt x="10" y="24"/>
                    </a:cubicBezTo>
                    <a:cubicBezTo>
                      <a:pt x="11" y="24"/>
                      <a:pt x="12" y="22"/>
                      <a:pt x="13" y="22"/>
                    </a:cubicBezTo>
                    <a:cubicBezTo>
                      <a:pt x="13" y="21"/>
                      <a:pt x="14" y="22"/>
                      <a:pt x="14" y="23"/>
                    </a:cubicBezTo>
                    <a:cubicBezTo>
                      <a:pt x="14" y="23"/>
                      <a:pt x="13" y="23"/>
                      <a:pt x="13" y="24"/>
                    </a:cubicBezTo>
                    <a:cubicBezTo>
                      <a:pt x="14" y="24"/>
                      <a:pt x="15" y="24"/>
                      <a:pt x="15" y="24"/>
                    </a:cubicBezTo>
                    <a:cubicBezTo>
                      <a:pt x="15" y="24"/>
                      <a:pt x="16" y="25"/>
                      <a:pt x="16" y="25"/>
                    </a:cubicBezTo>
                    <a:cubicBezTo>
                      <a:pt x="16" y="24"/>
                      <a:pt x="15" y="22"/>
                      <a:pt x="17" y="21"/>
                    </a:cubicBezTo>
                    <a:cubicBezTo>
                      <a:pt x="19" y="19"/>
                      <a:pt x="22" y="23"/>
                      <a:pt x="24" y="24"/>
                    </a:cubicBezTo>
                    <a:cubicBezTo>
                      <a:pt x="25" y="25"/>
                      <a:pt x="25" y="25"/>
                      <a:pt x="24" y="26"/>
                    </a:cubicBezTo>
                    <a:cubicBezTo>
                      <a:pt x="24" y="27"/>
                      <a:pt x="23" y="27"/>
                      <a:pt x="23" y="28"/>
                    </a:cubicBezTo>
                    <a:cubicBezTo>
                      <a:pt x="22" y="29"/>
                      <a:pt x="23" y="31"/>
                      <a:pt x="23" y="33"/>
                    </a:cubicBezTo>
                    <a:cubicBezTo>
                      <a:pt x="23" y="34"/>
                      <a:pt x="22" y="34"/>
                      <a:pt x="23" y="35"/>
                    </a:cubicBezTo>
                    <a:cubicBezTo>
                      <a:pt x="25" y="37"/>
                      <a:pt x="28" y="38"/>
                      <a:pt x="31" y="40"/>
                    </a:cubicBezTo>
                    <a:cubicBezTo>
                      <a:pt x="32" y="40"/>
                      <a:pt x="33" y="41"/>
                      <a:pt x="34" y="40"/>
                    </a:cubicBezTo>
                    <a:cubicBezTo>
                      <a:pt x="34" y="39"/>
                      <a:pt x="34" y="38"/>
                      <a:pt x="35" y="38"/>
                    </a:cubicBezTo>
                    <a:cubicBezTo>
                      <a:pt x="35" y="40"/>
                      <a:pt x="34" y="41"/>
                      <a:pt x="35" y="43"/>
                    </a:cubicBezTo>
                    <a:cubicBezTo>
                      <a:pt x="36" y="44"/>
                      <a:pt x="37" y="43"/>
                      <a:pt x="38" y="42"/>
                    </a:cubicBezTo>
                    <a:cubicBezTo>
                      <a:pt x="38" y="42"/>
                      <a:pt x="39" y="40"/>
                      <a:pt x="39" y="40"/>
                    </a:cubicBezTo>
                    <a:cubicBezTo>
                      <a:pt x="40" y="38"/>
                      <a:pt x="39" y="35"/>
                      <a:pt x="38" y="34"/>
                    </a:cubicBezTo>
                    <a:cubicBezTo>
                      <a:pt x="38" y="33"/>
                      <a:pt x="37" y="33"/>
                      <a:pt x="37" y="33"/>
                    </a:cubicBezTo>
                    <a:cubicBezTo>
                      <a:pt x="36" y="34"/>
                      <a:pt x="37" y="31"/>
                      <a:pt x="37" y="31"/>
                    </a:cubicBezTo>
                    <a:cubicBezTo>
                      <a:pt x="38" y="30"/>
                      <a:pt x="39" y="26"/>
                      <a:pt x="41" y="25"/>
                    </a:cubicBezTo>
                    <a:cubicBezTo>
                      <a:pt x="42" y="25"/>
                      <a:pt x="42" y="27"/>
                      <a:pt x="42" y="28"/>
                    </a:cubicBezTo>
                    <a:cubicBezTo>
                      <a:pt x="43" y="30"/>
                      <a:pt x="43" y="30"/>
                      <a:pt x="44" y="30"/>
                    </a:cubicBezTo>
                    <a:cubicBezTo>
                      <a:pt x="44" y="31"/>
                      <a:pt x="43" y="33"/>
                      <a:pt x="44" y="34"/>
                    </a:cubicBezTo>
                    <a:cubicBezTo>
                      <a:pt x="44" y="35"/>
                      <a:pt x="45" y="35"/>
                      <a:pt x="45" y="36"/>
                    </a:cubicBezTo>
                    <a:cubicBezTo>
                      <a:pt x="45" y="35"/>
                      <a:pt x="45" y="33"/>
                      <a:pt x="45" y="31"/>
                    </a:cubicBezTo>
                    <a:cubicBezTo>
                      <a:pt x="45" y="31"/>
                      <a:pt x="44" y="29"/>
                      <a:pt x="45" y="30"/>
                    </a:cubicBezTo>
                    <a:cubicBezTo>
                      <a:pt x="46" y="30"/>
                      <a:pt x="46" y="30"/>
                      <a:pt x="46" y="30"/>
                    </a:cubicBezTo>
                    <a:cubicBezTo>
                      <a:pt x="46" y="30"/>
                      <a:pt x="46" y="32"/>
                      <a:pt x="47" y="30"/>
                    </a:cubicBezTo>
                    <a:cubicBezTo>
                      <a:pt x="47" y="29"/>
                      <a:pt x="47" y="29"/>
                      <a:pt x="47" y="29"/>
                    </a:cubicBezTo>
                    <a:cubicBezTo>
                      <a:pt x="48" y="28"/>
                      <a:pt x="48" y="27"/>
                      <a:pt x="49" y="26"/>
                    </a:cubicBezTo>
                    <a:cubicBezTo>
                      <a:pt x="49" y="25"/>
                      <a:pt x="49" y="24"/>
                      <a:pt x="49" y="22"/>
                    </a:cubicBezTo>
                    <a:cubicBezTo>
                      <a:pt x="49" y="21"/>
                      <a:pt x="48" y="20"/>
                      <a:pt x="47" y="19"/>
                    </a:cubicBezTo>
                    <a:cubicBezTo>
                      <a:pt x="48" y="19"/>
                      <a:pt x="47" y="17"/>
                      <a:pt x="48" y="16"/>
                    </a:cubicBezTo>
                    <a:cubicBezTo>
                      <a:pt x="45" y="17"/>
                      <a:pt x="47" y="15"/>
                      <a:pt x="47" y="14"/>
                    </a:cubicBezTo>
                    <a:cubicBezTo>
                      <a:pt x="46" y="12"/>
                      <a:pt x="45" y="13"/>
                      <a:pt x="44" y="13"/>
                    </a:cubicBezTo>
                    <a:cubicBezTo>
                      <a:pt x="43" y="12"/>
                      <a:pt x="46" y="11"/>
                      <a:pt x="46" y="11"/>
                    </a:cubicBezTo>
                    <a:cubicBezTo>
                      <a:pt x="47" y="9"/>
                      <a:pt x="45" y="7"/>
                      <a:pt x="45" y="5"/>
                    </a:cubicBezTo>
                    <a:cubicBezTo>
                      <a:pt x="43" y="6"/>
                      <a:pt x="43" y="5"/>
                      <a:pt x="42" y="4"/>
                    </a:cubicBezTo>
                    <a:cubicBezTo>
                      <a:pt x="41" y="2"/>
                      <a:pt x="39" y="1"/>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2" name="Freeform 2220">
                <a:extLst>
                  <a:ext uri="{FF2B5EF4-FFF2-40B4-BE49-F238E27FC236}">
                    <a16:creationId xmlns:a16="http://schemas.microsoft.com/office/drawing/2014/main" id="{A88C4776-9995-4131-95CD-204EE9DA9251}"/>
                  </a:ext>
                </a:extLst>
              </p:cNvPr>
              <p:cNvSpPr>
                <a:spLocks/>
              </p:cNvSpPr>
              <p:nvPr/>
            </p:nvSpPr>
            <p:spPr bwMode="auto">
              <a:xfrm>
                <a:off x="6504" y="2473"/>
                <a:ext cx="8" cy="5"/>
              </a:xfrm>
              <a:custGeom>
                <a:avLst/>
                <a:gdLst>
                  <a:gd name="T0" fmla="*/ 2 w 3"/>
                  <a:gd name="T1" fmla="*/ 0 h 2"/>
                  <a:gd name="T2" fmla="*/ 0 w 3"/>
                  <a:gd name="T3" fmla="*/ 1 h 2"/>
                  <a:gd name="T4" fmla="*/ 3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2" y="0"/>
                      <a:pt x="0" y="0"/>
                      <a:pt x="0" y="1"/>
                    </a:cubicBezTo>
                    <a:cubicBezTo>
                      <a:pt x="0" y="1"/>
                      <a:pt x="2" y="2"/>
                      <a:pt x="3" y="2"/>
                    </a:cubicBezTo>
                    <a:cubicBezTo>
                      <a:pt x="3" y="1"/>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3" name="Freeform 2221">
                <a:extLst>
                  <a:ext uri="{FF2B5EF4-FFF2-40B4-BE49-F238E27FC236}">
                    <a16:creationId xmlns:a16="http://schemas.microsoft.com/office/drawing/2014/main" id="{27F8D4D0-E2F3-43CD-8EA0-C4F203D04271}"/>
                  </a:ext>
                </a:extLst>
              </p:cNvPr>
              <p:cNvSpPr>
                <a:spLocks/>
              </p:cNvSpPr>
              <p:nvPr/>
            </p:nvSpPr>
            <p:spPr bwMode="auto">
              <a:xfrm>
                <a:off x="6488" y="2410"/>
                <a:ext cx="9" cy="11"/>
              </a:xfrm>
              <a:custGeom>
                <a:avLst/>
                <a:gdLst>
                  <a:gd name="T0" fmla="*/ 2 w 4"/>
                  <a:gd name="T1" fmla="*/ 0 h 5"/>
                  <a:gd name="T2" fmla="*/ 2 w 4"/>
                  <a:gd name="T3" fmla="*/ 5 h 5"/>
                  <a:gd name="T4" fmla="*/ 3 w 4"/>
                  <a:gd name="T5" fmla="*/ 2 h 5"/>
                  <a:gd name="T6" fmla="*/ 3 w 4"/>
                  <a:gd name="T7" fmla="*/ 1 h 5"/>
                  <a:gd name="T8" fmla="*/ 2 w 4"/>
                  <a:gd name="T9" fmla="*/ 0 h 5"/>
                </a:gdLst>
                <a:ahLst/>
                <a:cxnLst>
                  <a:cxn ang="0">
                    <a:pos x="T0" y="T1"/>
                  </a:cxn>
                  <a:cxn ang="0">
                    <a:pos x="T2" y="T3"/>
                  </a:cxn>
                  <a:cxn ang="0">
                    <a:pos x="T4" y="T5"/>
                  </a:cxn>
                  <a:cxn ang="0">
                    <a:pos x="T6" y="T7"/>
                  </a:cxn>
                  <a:cxn ang="0">
                    <a:pos x="T8" y="T9"/>
                  </a:cxn>
                </a:cxnLst>
                <a:rect l="0" t="0" r="r" b="b"/>
                <a:pathLst>
                  <a:path w="4" h="5">
                    <a:moveTo>
                      <a:pt x="2" y="0"/>
                    </a:moveTo>
                    <a:cubicBezTo>
                      <a:pt x="0" y="1"/>
                      <a:pt x="2" y="4"/>
                      <a:pt x="2" y="5"/>
                    </a:cubicBezTo>
                    <a:cubicBezTo>
                      <a:pt x="4" y="4"/>
                      <a:pt x="3" y="4"/>
                      <a:pt x="3" y="2"/>
                    </a:cubicBezTo>
                    <a:cubicBezTo>
                      <a:pt x="3" y="2"/>
                      <a:pt x="3" y="2"/>
                      <a:pt x="3" y="1"/>
                    </a:cubicBezTo>
                    <a:cubicBezTo>
                      <a:pt x="3" y="1"/>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4" name="Freeform 2222">
                <a:extLst>
                  <a:ext uri="{FF2B5EF4-FFF2-40B4-BE49-F238E27FC236}">
                    <a16:creationId xmlns:a16="http://schemas.microsoft.com/office/drawing/2014/main" id="{2544A15B-C948-41F0-BEB6-09CD2BABE7CD}"/>
                  </a:ext>
                </a:extLst>
              </p:cNvPr>
              <p:cNvSpPr>
                <a:spLocks/>
              </p:cNvSpPr>
              <p:nvPr/>
            </p:nvSpPr>
            <p:spPr bwMode="auto">
              <a:xfrm>
                <a:off x="6434" y="2658"/>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5" name="Freeform 2223">
                <a:extLst>
                  <a:ext uri="{FF2B5EF4-FFF2-40B4-BE49-F238E27FC236}">
                    <a16:creationId xmlns:a16="http://schemas.microsoft.com/office/drawing/2014/main" id="{54F6E48D-8D9A-48E4-90C5-10F4F6189627}"/>
                  </a:ext>
                </a:extLst>
              </p:cNvPr>
              <p:cNvSpPr>
                <a:spLocks/>
              </p:cNvSpPr>
              <p:nvPr/>
            </p:nvSpPr>
            <p:spPr bwMode="auto">
              <a:xfrm>
                <a:off x="6507" y="2516"/>
                <a:ext cx="5" cy="9"/>
              </a:xfrm>
              <a:custGeom>
                <a:avLst/>
                <a:gdLst>
                  <a:gd name="T0" fmla="*/ 1 w 2"/>
                  <a:gd name="T1" fmla="*/ 4 h 4"/>
                  <a:gd name="T2" fmla="*/ 2 w 2"/>
                  <a:gd name="T3" fmla="*/ 0 h 4"/>
                  <a:gd name="T4" fmla="*/ 0 w 2"/>
                  <a:gd name="T5" fmla="*/ 2 h 4"/>
                  <a:gd name="T6" fmla="*/ 1 w 2"/>
                  <a:gd name="T7" fmla="*/ 4 h 4"/>
                </a:gdLst>
                <a:ahLst/>
                <a:cxnLst>
                  <a:cxn ang="0">
                    <a:pos x="T0" y="T1"/>
                  </a:cxn>
                  <a:cxn ang="0">
                    <a:pos x="T2" y="T3"/>
                  </a:cxn>
                  <a:cxn ang="0">
                    <a:pos x="T4" y="T5"/>
                  </a:cxn>
                  <a:cxn ang="0">
                    <a:pos x="T6" y="T7"/>
                  </a:cxn>
                </a:cxnLst>
                <a:rect l="0" t="0" r="r" b="b"/>
                <a:pathLst>
                  <a:path w="2" h="4">
                    <a:moveTo>
                      <a:pt x="1" y="4"/>
                    </a:moveTo>
                    <a:cubicBezTo>
                      <a:pt x="1" y="2"/>
                      <a:pt x="2" y="2"/>
                      <a:pt x="2" y="0"/>
                    </a:cubicBezTo>
                    <a:cubicBezTo>
                      <a:pt x="1" y="1"/>
                      <a:pt x="0" y="2"/>
                      <a:pt x="0" y="2"/>
                    </a:cubicBezTo>
                    <a:cubicBezTo>
                      <a:pt x="0" y="3"/>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6" name="Freeform 2224">
                <a:extLst>
                  <a:ext uri="{FF2B5EF4-FFF2-40B4-BE49-F238E27FC236}">
                    <a16:creationId xmlns:a16="http://schemas.microsoft.com/office/drawing/2014/main" id="{E1FA77BE-347F-4DA2-B2C0-A03FF17C2229}"/>
                  </a:ext>
                </a:extLst>
              </p:cNvPr>
              <p:cNvSpPr>
                <a:spLocks/>
              </p:cNvSpPr>
              <p:nvPr/>
            </p:nvSpPr>
            <p:spPr bwMode="auto">
              <a:xfrm>
                <a:off x="6590" y="2533"/>
                <a:ext cx="7" cy="9"/>
              </a:xfrm>
              <a:custGeom>
                <a:avLst/>
                <a:gdLst>
                  <a:gd name="T0" fmla="*/ 1 w 3"/>
                  <a:gd name="T1" fmla="*/ 4 h 4"/>
                  <a:gd name="T2" fmla="*/ 3 w 3"/>
                  <a:gd name="T3" fmla="*/ 3 h 4"/>
                  <a:gd name="T4" fmla="*/ 1 w 3"/>
                  <a:gd name="T5" fmla="*/ 0 h 4"/>
                  <a:gd name="T6" fmla="*/ 1 w 3"/>
                  <a:gd name="T7" fmla="*/ 4 h 4"/>
                </a:gdLst>
                <a:ahLst/>
                <a:cxnLst>
                  <a:cxn ang="0">
                    <a:pos x="T0" y="T1"/>
                  </a:cxn>
                  <a:cxn ang="0">
                    <a:pos x="T2" y="T3"/>
                  </a:cxn>
                  <a:cxn ang="0">
                    <a:pos x="T4" y="T5"/>
                  </a:cxn>
                  <a:cxn ang="0">
                    <a:pos x="T6" y="T7"/>
                  </a:cxn>
                </a:cxnLst>
                <a:rect l="0" t="0" r="r" b="b"/>
                <a:pathLst>
                  <a:path w="3" h="4">
                    <a:moveTo>
                      <a:pt x="1" y="4"/>
                    </a:moveTo>
                    <a:cubicBezTo>
                      <a:pt x="2" y="3"/>
                      <a:pt x="2" y="3"/>
                      <a:pt x="3" y="3"/>
                    </a:cubicBezTo>
                    <a:cubicBezTo>
                      <a:pt x="2" y="2"/>
                      <a:pt x="2" y="1"/>
                      <a:pt x="1" y="0"/>
                    </a:cubicBezTo>
                    <a:cubicBezTo>
                      <a:pt x="1" y="2"/>
                      <a:pt x="0" y="2"/>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7" name="Freeform 2225">
                <a:extLst>
                  <a:ext uri="{FF2B5EF4-FFF2-40B4-BE49-F238E27FC236}">
                    <a16:creationId xmlns:a16="http://schemas.microsoft.com/office/drawing/2014/main" id="{86DF37DF-5505-4AE7-A876-4FFC95600DD7}"/>
                  </a:ext>
                </a:extLst>
              </p:cNvPr>
              <p:cNvSpPr>
                <a:spLocks/>
              </p:cNvSpPr>
              <p:nvPr/>
            </p:nvSpPr>
            <p:spPr bwMode="auto">
              <a:xfrm>
                <a:off x="6531" y="2552"/>
                <a:ext cx="7" cy="4"/>
              </a:xfrm>
              <a:custGeom>
                <a:avLst/>
                <a:gdLst>
                  <a:gd name="T0" fmla="*/ 0 w 3"/>
                  <a:gd name="T1" fmla="*/ 1 h 2"/>
                  <a:gd name="T2" fmla="*/ 1 w 3"/>
                  <a:gd name="T3" fmla="*/ 2 h 2"/>
                  <a:gd name="T4" fmla="*/ 1 w 3"/>
                  <a:gd name="T5" fmla="*/ 0 h 2"/>
                  <a:gd name="T6" fmla="*/ 0 w 3"/>
                  <a:gd name="T7" fmla="*/ 1 h 2"/>
                </a:gdLst>
                <a:ahLst/>
                <a:cxnLst>
                  <a:cxn ang="0">
                    <a:pos x="T0" y="T1"/>
                  </a:cxn>
                  <a:cxn ang="0">
                    <a:pos x="T2" y="T3"/>
                  </a:cxn>
                  <a:cxn ang="0">
                    <a:pos x="T4" y="T5"/>
                  </a:cxn>
                  <a:cxn ang="0">
                    <a:pos x="T6" y="T7"/>
                  </a:cxn>
                </a:cxnLst>
                <a:rect l="0" t="0" r="r" b="b"/>
                <a:pathLst>
                  <a:path w="3" h="2">
                    <a:moveTo>
                      <a:pt x="0" y="1"/>
                    </a:moveTo>
                    <a:cubicBezTo>
                      <a:pt x="0" y="2"/>
                      <a:pt x="1" y="2"/>
                      <a:pt x="1" y="2"/>
                    </a:cubicBezTo>
                    <a:cubicBezTo>
                      <a:pt x="3" y="2"/>
                      <a:pt x="2" y="1"/>
                      <a:pt x="1" y="0"/>
                    </a:cubicBezTo>
                    <a:cubicBezTo>
                      <a:pt x="1"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8" name="Freeform 2226">
                <a:extLst>
                  <a:ext uri="{FF2B5EF4-FFF2-40B4-BE49-F238E27FC236}">
                    <a16:creationId xmlns:a16="http://schemas.microsoft.com/office/drawing/2014/main" id="{C38A7B4D-37D8-4EBE-BFB1-6C6BAC28ED76}"/>
                  </a:ext>
                </a:extLst>
              </p:cNvPr>
              <p:cNvSpPr>
                <a:spLocks/>
              </p:cNvSpPr>
              <p:nvPr/>
            </p:nvSpPr>
            <p:spPr bwMode="auto">
              <a:xfrm>
                <a:off x="6372" y="2580"/>
                <a:ext cx="5" cy="7"/>
              </a:xfrm>
              <a:custGeom>
                <a:avLst/>
                <a:gdLst>
                  <a:gd name="T0" fmla="*/ 2 w 2"/>
                  <a:gd name="T1" fmla="*/ 1 h 3"/>
                  <a:gd name="T2" fmla="*/ 1 w 2"/>
                  <a:gd name="T3" fmla="*/ 3 h 3"/>
                  <a:gd name="T4" fmla="*/ 2 w 2"/>
                  <a:gd name="T5" fmla="*/ 1 h 3"/>
                  <a:gd name="T6" fmla="*/ 2 w 2"/>
                  <a:gd name="T7" fmla="*/ 1 h 3"/>
                </a:gdLst>
                <a:ahLst/>
                <a:cxnLst>
                  <a:cxn ang="0">
                    <a:pos x="T0" y="T1"/>
                  </a:cxn>
                  <a:cxn ang="0">
                    <a:pos x="T2" y="T3"/>
                  </a:cxn>
                  <a:cxn ang="0">
                    <a:pos x="T4" y="T5"/>
                  </a:cxn>
                  <a:cxn ang="0">
                    <a:pos x="T6" y="T7"/>
                  </a:cxn>
                </a:cxnLst>
                <a:rect l="0" t="0" r="r" b="b"/>
                <a:pathLst>
                  <a:path w="2" h="3">
                    <a:moveTo>
                      <a:pt x="2" y="1"/>
                    </a:moveTo>
                    <a:cubicBezTo>
                      <a:pt x="0" y="0"/>
                      <a:pt x="1" y="3"/>
                      <a:pt x="1" y="3"/>
                    </a:cubicBezTo>
                    <a:cubicBezTo>
                      <a:pt x="1" y="3"/>
                      <a:pt x="2" y="2"/>
                      <a:pt x="2" y="1"/>
                    </a:cubicBezTo>
                    <a:cubicBezTo>
                      <a:pt x="2"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9" name="Freeform 2227">
                <a:extLst>
                  <a:ext uri="{FF2B5EF4-FFF2-40B4-BE49-F238E27FC236}">
                    <a16:creationId xmlns:a16="http://schemas.microsoft.com/office/drawing/2014/main" id="{1606227A-338B-4549-815B-63C3CF5EEF10}"/>
                  </a:ext>
                </a:extLst>
              </p:cNvPr>
              <p:cNvSpPr>
                <a:spLocks/>
              </p:cNvSpPr>
              <p:nvPr/>
            </p:nvSpPr>
            <p:spPr bwMode="auto">
              <a:xfrm>
                <a:off x="6490" y="2613"/>
                <a:ext cx="14" cy="10"/>
              </a:xfrm>
              <a:custGeom>
                <a:avLst/>
                <a:gdLst>
                  <a:gd name="T0" fmla="*/ 2 w 6"/>
                  <a:gd name="T1" fmla="*/ 4 h 4"/>
                  <a:gd name="T2" fmla="*/ 4 w 6"/>
                  <a:gd name="T3" fmla="*/ 3 h 4"/>
                  <a:gd name="T4" fmla="*/ 4 w 6"/>
                  <a:gd name="T5" fmla="*/ 2 h 4"/>
                  <a:gd name="T6" fmla="*/ 4 w 6"/>
                  <a:gd name="T7" fmla="*/ 1 h 4"/>
                  <a:gd name="T8" fmla="*/ 3 w 6"/>
                  <a:gd name="T9" fmla="*/ 0 h 4"/>
                  <a:gd name="T10" fmla="*/ 0 w 6"/>
                  <a:gd name="T11" fmla="*/ 1 h 4"/>
                  <a:gd name="T12" fmla="*/ 2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4"/>
                    </a:moveTo>
                    <a:cubicBezTo>
                      <a:pt x="2" y="4"/>
                      <a:pt x="4" y="4"/>
                      <a:pt x="4" y="3"/>
                    </a:cubicBezTo>
                    <a:cubicBezTo>
                      <a:pt x="4" y="3"/>
                      <a:pt x="4" y="3"/>
                      <a:pt x="4" y="2"/>
                    </a:cubicBezTo>
                    <a:cubicBezTo>
                      <a:pt x="5" y="2"/>
                      <a:pt x="6" y="2"/>
                      <a:pt x="4" y="1"/>
                    </a:cubicBezTo>
                    <a:cubicBezTo>
                      <a:pt x="3" y="1"/>
                      <a:pt x="3" y="0"/>
                      <a:pt x="3" y="0"/>
                    </a:cubicBezTo>
                    <a:cubicBezTo>
                      <a:pt x="2" y="0"/>
                      <a:pt x="1" y="2"/>
                      <a:pt x="0" y="1"/>
                    </a:cubicBezTo>
                    <a:cubicBezTo>
                      <a:pt x="1" y="2"/>
                      <a:pt x="1"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0" name="Freeform 2228">
                <a:extLst>
                  <a:ext uri="{FF2B5EF4-FFF2-40B4-BE49-F238E27FC236}">
                    <a16:creationId xmlns:a16="http://schemas.microsoft.com/office/drawing/2014/main" id="{E215B549-9C26-46C4-B5EF-257B1B31504A}"/>
                  </a:ext>
                </a:extLst>
              </p:cNvPr>
              <p:cNvSpPr>
                <a:spLocks/>
              </p:cNvSpPr>
              <p:nvPr/>
            </p:nvSpPr>
            <p:spPr bwMode="auto">
              <a:xfrm>
                <a:off x="6583" y="2604"/>
                <a:ext cx="2" cy="7"/>
              </a:xfrm>
              <a:custGeom>
                <a:avLst/>
                <a:gdLst>
                  <a:gd name="T0" fmla="*/ 1 w 1"/>
                  <a:gd name="T1" fmla="*/ 3 h 3"/>
                  <a:gd name="T2" fmla="*/ 1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1"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1" name="Freeform 2229">
                <a:extLst>
                  <a:ext uri="{FF2B5EF4-FFF2-40B4-BE49-F238E27FC236}">
                    <a16:creationId xmlns:a16="http://schemas.microsoft.com/office/drawing/2014/main" id="{DC12F058-5372-47B6-AF0B-3BBE657ED4C9}"/>
                  </a:ext>
                </a:extLst>
              </p:cNvPr>
              <p:cNvSpPr>
                <a:spLocks/>
              </p:cNvSpPr>
              <p:nvPr/>
            </p:nvSpPr>
            <p:spPr bwMode="auto">
              <a:xfrm>
                <a:off x="6490" y="2268"/>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2" name="Freeform 2230">
                <a:extLst>
                  <a:ext uri="{FF2B5EF4-FFF2-40B4-BE49-F238E27FC236}">
                    <a16:creationId xmlns:a16="http://schemas.microsoft.com/office/drawing/2014/main" id="{8E848B15-07E1-4CF2-9CF0-DF22D1E7745A}"/>
                  </a:ext>
                </a:extLst>
              </p:cNvPr>
              <p:cNvSpPr>
                <a:spLocks/>
              </p:cNvSpPr>
              <p:nvPr/>
            </p:nvSpPr>
            <p:spPr bwMode="auto">
              <a:xfrm>
                <a:off x="6533" y="2469"/>
                <a:ext cx="5" cy="9"/>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1"/>
                      <a:pt x="2" y="3"/>
                      <a:pt x="2" y="4"/>
                    </a:cubicBezTo>
                    <a:cubicBezTo>
                      <a:pt x="2" y="3"/>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3" name="Freeform 2231">
                <a:extLst>
                  <a:ext uri="{FF2B5EF4-FFF2-40B4-BE49-F238E27FC236}">
                    <a16:creationId xmlns:a16="http://schemas.microsoft.com/office/drawing/2014/main" id="{95B71CCC-A092-4ECE-A20E-60439FACF755}"/>
                  </a:ext>
                </a:extLst>
              </p:cNvPr>
              <p:cNvSpPr>
                <a:spLocks/>
              </p:cNvSpPr>
              <p:nvPr/>
            </p:nvSpPr>
            <p:spPr bwMode="auto">
              <a:xfrm>
                <a:off x="6490" y="2313"/>
                <a:ext cx="3"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0" y="0"/>
                      <a:pt x="0" y="1"/>
                      <a:pt x="1" y="2"/>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4" name="Freeform 2232">
                <a:extLst>
                  <a:ext uri="{FF2B5EF4-FFF2-40B4-BE49-F238E27FC236}">
                    <a16:creationId xmlns:a16="http://schemas.microsoft.com/office/drawing/2014/main" id="{02910CF2-C1B1-42A9-857E-B9CAF31A41B9}"/>
                  </a:ext>
                </a:extLst>
              </p:cNvPr>
              <p:cNvSpPr>
                <a:spLocks/>
              </p:cNvSpPr>
              <p:nvPr/>
            </p:nvSpPr>
            <p:spPr bwMode="auto">
              <a:xfrm>
                <a:off x="6490" y="2488"/>
                <a:ext cx="33" cy="37"/>
              </a:xfrm>
              <a:custGeom>
                <a:avLst/>
                <a:gdLst>
                  <a:gd name="T0" fmla="*/ 1 w 14"/>
                  <a:gd name="T1" fmla="*/ 2 h 16"/>
                  <a:gd name="T2" fmla="*/ 1 w 14"/>
                  <a:gd name="T3" fmla="*/ 2 h 16"/>
                  <a:gd name="T4" fmla="*/ 3 w 14"/>
                  <a:gd name="T5" fmla="*/ 4 h 16"/>
                  <a:gd name="T6" fmla="*/ 3 w 14"/>
                  <a:gd name="T7" fmla="*/ 8 h 16"/>
                  <a:gd name="T8" fmla="*/ 2 w 14"/>
                  <a:gd name="T9" fmla="*/ 11 h 16"/>
                  <a:gd name="T10" fmla="*/ 3 w 14"/>
                  <a:gd name="T11" fmla="*/ 15 h 16"/>
                  <a:gd name="T12" fmla="*/ 10 w 14"/>
                  <a:gd name="T13" fmla="*/ 11 h 16"/>
                  <a:gd name="T14" fmla="*/ 14 w 14"/>
                  <a:gd name="T15" fmla="*/ 8 h 16"/>
                  <a:gd name="T16" fmla="*/ 13 w 14"/>
                  <a:gd name="T17" fmla="*/ 7 h 16"/>
                  <a:gd name="T18" fmla="*/ 14 w 14"/>
                  <a:gd name="T19" fmla="*/ 5 h 16"/>
                  <a:gd name="T20" fmla="*/ 11 w 14"/>
                  <a:gd name="T21" fmla="*/ 5 h 16"/>
                  <a:gd name="T22" fmla="*/ 7 w 14"/>
                  <a:gd name="T23" fmla="*/ 3 h 16"/>
                  <a:gd name="T24" fmla="*/ 2 w 14"/>
                  <a:gd name="T25" fmla="*/ 0 h 16"/>
                  <a:gd name="T26" fmla="*/ 1 w 14"/>
                  <a:gd name="T2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6">
                    <a:moveTo>
                      <a:pt x="1" y="2"/>
                    </a:moveTo>
                    <a:cubicBezTo>
                      <a:pt x="1" y="2"/>
                      <a:pt x="1" y="2"/>
                      <a:pt x="1" y="2"/>
                    </a:cubicBezTo>
                    <a:cubicBezTo>
                      <a:pt x="3" y="2"/>
                      <a:pt x="3" y="3"/>
                      <a:pt x="3" y="4"/>
                    </a:cubicBezTo>
                    <a:cubicBezTo>
                      <a:pt x="3" y="5"/>
                      <a:pt x="3" y="7"/>
                      <a:pt x="3" y="8"/>
                    </a:cubicBezTo>
                    <a:cubicBezTo>
                      <a:pt x="3" y="9"/>
                      <a:pt x="2" y="10"/>
                      <a:pt x="2" y="11"/>
                    </a:cubicBezTo>
                    <a:cubicBezTo>
                      <a:pt x="2" y="12"/>
                      <a:pt x="0" y="16"/>
                      <a:pt x="3" y="15"/>
                    </a:cubicBezTo>
                    <a:cubicBezTo>
                      <a:pt x="5" y="14"/>
                      <a:pt x="8" y="13"/>
                      <a:pt x="10" y="11"/>
                    </a:cubicBezTo>
                    <a:cubicBezTo>
                      <a:pt x="11" y="10"/>
                      <a:pt x="13" y="9"/>
                      <a:pt x="14" y="8"/>
                    </a:cubicBezTo>
                    <a:cubicBezTo>
                      <a:pt x="14" y="7"/>
                      <a:pt x="13" y="7"/>
                      <a:pt x="13" y="7"/>
                    </a:cubicBezTo>
                    <a:cubicBezTo>
                      <a:pt x="13" y="6"/>
                      <a:pt x="14" y="6"/>
                      <a:pt x="14" y="5"/>
                    </a:cubicBezTo>
                    <a:cubicBezTo>
                      <a:pt x="14" y="3"/>
                      <a:pt x="12" y="4"/>
                      <a:pt x="11" y="5"/>
                    </a:cubicBezTo>
                    <a:cubicBezTo>
                      <a:pt x="10" y="4"/>
                      <a:pt x="8" y="4"/>
                      <a:pt x="7" y="3"/>
                    </a:cubicBezTo>
                    <a:cubicBezTo>
                      <a:pt x="5" y="2"/>
                      <a:pt x="4" y="1"/>
                      <a:pt x="2" y="0"/>
                    </a:cubicBezTo>
                    <a:cubicBezTo>
                      <a:pt x="1" y="0"/>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5" name="Freeform 2233">
                <a:extLst>
                  <a:ext uri="{FF2B5EF4-FFF2-40B4-BE49-F238E27FC236}">
                    <a16:creationId xmlns:a16="http://schemas.microsoft.com/office/drawing/2014/main" id="{37128380-B79A-4A5C-B76A-0F51E8D34AF2}"/>
                  </a:ext>
                </a:extLst>
              </p:cNvPr>
              <p:cNvSpPr>
                <a:spLocks/>
              </p:cNvSpPr>
              <p:nvPr/>
            </p:nvSpPr>
            <p:spPr bwMode="auto">
              <a:xfrm>
                <a:off x="6519" y="2459"/>
                <a:ext cx="2"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6" name="Freeform 2234">
                <a:extLst>
                  <a:ext uri="{FF2B5EF4-FFF2-40B4-BE49-F238E27FC236}">
                    <a16:creationId xmlns:a16="http://schemas.microsoft.com/office/drawing/2014/main" id="{D55D8057-A2FA-43B6-B492-0737B1CCF1F0}"/>
                  </a:ext>
                </a:extLst>
              </p:cNvPr>
              <p:cNvSpPr>
                <a:spLocks/>
              </p:cNvSpPr>
              <p:nvPr/>
            </p:nvSpPr>
            <p:spPr bwMode="auto">
              <a:xfrm>
                <a:off x="6443" y="2646"/>
                <a:ext cx="9" cy="10"/>
              </a:xfrm>
              <a:custGeom>
                <a:avLst/>
                <a:gdLst>
                  <a:gd name="T0" fmla="*/ 2 w 4"/>
                  <a:gd name="T1" fmla="*/ 3 h 4"/>
                  <a:gd name="T2" fmla="*/ 2 w 4"/>
                  <a:gd name="T3" fmla="*/ 3 h 4"/>
                  <a:gd name="T4" fmla="*/ 3 w 4"/>
                  <a:gd name="T5" fmla="*/ 2 h 4"/>
                  <a:gd name="T6" fmla="*/ 3 w 4"/>
                  <a:gd name="T7" fmla="*/ 3 h 4"/>
                  <a:gd name="T8" fmla="*/ 4 w 4"/>
                  <a:gd name="T9" fmla="*/ 3 h 4"/>
                  <a:gd name="T10" fmla="*/ 4 w 4"/>
                  <a:gd name="T11" fmla="*/ 2 h 4"/>
                  <a:gd name="T12" fmla="*/ 0 w 4"/>
                  <a:gd name="T13" fmla="*/ 4 h 4"/>
                  <a:gd name="T14" fmla="*/ 2 w 4"/>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3"/>
                    </a:moveTo>
                    <a:cubicBezTo>
                      <a:pt x="2" y="3"/>
                      <a:pt x="2" y="3"/>
                      <a:pt x="2" y="3"/>
                    </a:cubicBezTo>
                    <a:cubicBezTo>
                      <a:pt x="2" y="2"/>
                      <a:pt x="3" y="3"/>
                      <a:pt x="3" y="2"/>
                    </a:cubicBezTo>
                    <a:cubicBezTo>
                      <a:pt x="3" y="2"/>
                      <a:pt x="3" y="2"/>
                      <a:pt x="3" y="3"/>
                    </a:cubicBezTo>
                    <a:cubicBezTo>
                      <a:pt x="3" y="3"/>
                      <a:pt x="4" y="3"/>
                      <a:pt x="4" y="3"/>
                    </a:cubicBezTo>
                    <a:cubicBezTo>
                      <a:pt x="4" y="3"/>
                      <a:pt x="4" y="2"/>
                      <a:pt x="4" y="2"/>
                    </a:cubicBezTo>
                    <a:cubicBezTo>
                      <a:pt x="4" y="0"/>
                      <a:pt x="1" y="3"/>
                      <a:pt x="0" y="4"/>
                    </a:cubicBezTo>
                    <a:cubicBezTo>
                      <a:pt x="1" y="3"/>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7" name="Freeform 2235">
                <a:extLst>
                  <a:ext uri="{FF2B5EF4-FFF2-40B4-BE49-F238E27FC236}">
                    <a16:creationId xmlns:a16="http://schemas.microsoft.com/office/drawing/2014/main" id="{D54C78E5-EB4E-4885-B421-EEF08056ADEA}"/>
                  </a:ext>
                </a:extLst>
              </p:cNvPr>
              <p:cNvSpPr>
                <a:spLocks/>
              </p:cNvSpPr>
              <p:nvPr/>
            </p:nvSpPr>
            <p:spPr bwMode="auto">
              <a:xfrm>
                <a:off x="6478" y="2303"/>
                <a:ext cx="5" cy="2"/>
              </a:xfrm>
              <a:custGeom>
                <a:avLst/>
                <a:gdLst>
                  <a:gd name="T0" fmla="*/ 2 w 2"/>
                  <a:gd name="T1" fmla="*/ 1 h 1"/>
                  <a:gd name="T2" fmla="*/ 2 w 2"/>
                  <a:gd name="T3" fmla="*/ 0 h 1"/>
                  <a:gd name="T4" fmla="*/ 0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2" y="0"/>
                      <a:pt x="2" y="0"/>
                    </a:cubicBezTo>
                    <a:cubicBezTo>
                      <a:pt x="2" y="0"/>
                      <a:pt x="1" y="0"/>
                      <a:pt x="0" y="0"/>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8" name="Freeform 2236">
                <a:extLst>
                  <a:ext uri="{FF2B5EF4-FFF2-40B4-BE49-F238E27FC236}">
                    <a16:creationId xmlns:a16="http://schemas.microsoft.com/office/drawing/2014/main" id="{99DB6A11-D26C-4E2A-A9BC-6264F2E012A7}"/>
                  </a:ext>
                </a:extLst>
              </p:cNvPr>
              <p:cNvSpPr>
                <a:spLocks/>
              </p:cNvSpPr>
              <p:nvPr/>
            </p:nvSpPr>
            <p:spPr bwMode="auto">
              <a:xfrm>
                <a:off x="6552" y="2492"/>
                <a:ext cx="9" cy="7"/>
              </a:xfrm>
              <a:custGeom>
                <a:avLst/>
                <a:gdLst>
                  <a:gd name="T0" fmla="*/ 0 w 4"/>
                  <a:gd name="T1" fmla="*/ 1 h 3"/>
                  <a:gd name="T2" fmla="*/ 1 w 4"/>
                  <a:gd name="T3" fmla="*/ 3 h 3"/>
                  <a:gd name="T4" fmla="*/ 0 w 4"/>
                  <a:gd name="T5" fmla="*/ 1 h 3"/>
                </a:gdLst>
                <a:ahLst/>
                <a:cxnLst>
                  <a:cxn ang="0">
                    <a:pos x="T0" y="T1"/>
                  </a:cxn>
                  <a:cxn ang="0">
                    <a:pos x="T2" y="T3"/>
                  </a:cxn>
                  <a:cxn ang="0">
                    <a:pos x="T4" y="T5"/>
                  </a:cxn>
                </a:cxnLst>
                <a:rect l="0" t="0" r="r" b="b"/>
                <a:pathLst>
                  <a:path w="4" h="3">
                    <a:moveTo>
                      <a:pt x="0" y="1"/>
                    </a:moveTo>
                    <a:cubicBezTo>
                      <a:pt x="1" y="1"/>
                      <a:pt x="1" y="2"/>
                      <a:pt x="1" y="3"/>
                    </a:cubicBezTo>
                    <a:cubicBezTo>
                      <a:pt x="4" y="2"/>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9" name="Freeform 2237">
                <a:extLst>
                  <a:ext uri="{FF2B5EF4-FFF2-40B4-BE49-F238E27FC236}">
                    <a16:creationId xmlns:a16="http://schemas.microsoft.com/office/drawing/2014/main" id="{E4DABE4E-4751-49B3-B897-BB9522C3C187}"/>
                  </a:ext>
                </a:extLst>
              </p:cNvPr>
              <p:cNvSpPr>
                <a:spLocks/>
              </p:cNvSpPr>
              <p:nvPr/>
            </p:nvSpPr>
            <p:spPr bwMode="auto">
              <a:xfrm>
                <a:off x="6490" y="2447"/>
                <a:ext cx="10" cy="10"/>
              </a:xfrm>
              <a:custGeom>
                <a:avLst/>
                <a:gdLst>
                  <a:gd name="T0" fmla="*/ 2 w 4"/>
                  <a:gd name="T1" fmla="*/ 0 h 4"/>
                  <a:gd name="T2" fmla="*/ 1 w 4"/>
                  <a:gd name="T3" fmla="*/ 0 h 4"/>
                  <a:gd name="T4" fmla="*/ 0 w 4"/>
                  <a:gd name="T5" fmla="*/ 2 h 4"/>
                  <a:gd name="T6" fmla="*/ 2 w 4"/>
                  <a:gd name="T7" fmla="*/ 4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2" y="0"/>
                      <a:pt x="1" y="0"/>
                      <a:pt x="1" y="0"/>
                    </a:cubicBezTo>
                    <a:cubicBezTo>
                      <a:pt x="1" y="1"/>
                      <a:pt x="0" y="1"/>
                      <a:pt x="0" y="2"/>
                    </a:cubicBezTo>
                    <a:cubicBezTo>
                      <a:pt x="0" y="3"/>
                      <a:pt x="1" y="3"/>
                      <a:pt x="2" y="4"/>
                    </a:cubicBezTo>
                    <a:cubicBezTo>
                      <a:pt x="3" y="2"/>
                      <a:pt x="4"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0" name="Freeform 2238">
                <a:extLst>
                  <a:ext uri="{FF2B5EF4-FFF2-40B4-BE49-F238E27FC236}">
                    <a16:creationId xmlns:a16="http://schemas.microsoft.com/office/drawing/2014/main" id="{DE2D3222-5F80-4156-B3FC-6D18E316D053}"/>
                  </a:ext>
                </a:extLst>
              </p:cNvPr>
              <p:cNvSpPr>
                <a:spLocks/>
              </p:cNvSpPr>
              <p:nvPr/>
            </p:nvSpPr>
            <p:spPr bwMode="auto">
              <a:xfrm>
                <a:off x="6443" y="2476"/>
                <a:ext cx="12" cy="12"/>
              </a:xfrm>
              <a:custGeom>
                <a:avLst/>
                <a:gdLst>
                  <a:gd name="T0" fmla="*/ 1 w 5"/>
                  <a:gd name="T1" fmla="*/ 3 h 5"/>
                  <a:gd name="T2" fmla="*/ 3 w 5"/>
                  <a:gd name="T3" fmla="*/ 5 h 5"/>
                  <a:gd name="T4" fmla="*/ 5 w 5"/>
                  <a:gd name="T5" fmla="*/ 3 h 5"/>
                  <a:gd name="T6" fmla="*/ 4 w 5"/>
                  <a:gd name="T7" fmla="*/ 2 h 5"/>
                  <a:gd name="T8" fmla="*/ 4 w 5"/>
                  <a:gd name="T9" fmla="*/ 3 h 5"/>
                  <a:gd name="T10" fmla="*/ 0 w 5"/>
                  <a:gd name="T11" fmla="*/ 1 h 5"/>
                  <a:gd name="T12" fmla="*/ 0 w 5"/>
                  <a:gd name="T13" fmla="*/ 2 h 5"/>
                  <a:gd name="T14" fmla="*/ 1 w 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1" y="3"/>
                    </a:moveTo>
                    <a:cubicBezTo>
                      <a:pt x="1" y="4"/>
                      <a:pt x="2" y="4"/>
                      <a:pt x="3" y="5"/>
                    </a:cubicBezTo>
                    <a:cubicBezTo>
                      <a:pt x="3" y="4"/>
                      <a:pt x="4" y="4"/>
                      <a:pt x="5" y="3"/>
                    </a:cubicBezTo>
                    <a:cubicBezTo>
                      <a:pt x="4" y="3"/>
                      <a:pt x="4" y="2"/>
                      <a:pt x="4" y="2"/>
                    </a:cubicBezTo>
                    <a:cubicBezTo>
                      <a:pt x="4" y="2"/>
                      <a:pt x="4" y="3"/>
                      <a:pt x="4" y="3"/>
                    </a:cubicBezTo>
                    <a:cubicBezTo>
                      <a:pt x="3" y="3"/>
                      <a:pt x="0" y="0"/>
                      <a:pt x="0" y="1"/>
                    </a:cubicBezTo>
                    <a:cubicBezTo>
                      <a:pt x="0" y="2"/>
                      <a:pt x="0" y="2"/>
                      <a:pt x="0" y="2"/>
                    </a:cubicBezTo>
                    <a:cubicBezTo>
                      <a:pt x="1" y="2"/>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1" name="Freeform 2239">
                <a:extLst>
                  <a:ext uri="{FF2B5EF4-FFF2-40B4-BE49-F238E27FC236}">
                    <a16:creationId xmlns:a16="http://schemas.microsoft.com/office/drawing/2014/main" id="{24339430-4CD8-4C43-9ACF-9B075E478EB9}"/>
                  </a:ext>
                </a:extLst>
              </p:cNvPr>
              <p:cNvSpPr>
                <a:spLocks/>
              </p:cNvSpPr>
              <p:nvPr/>
            </p:nvSpPr>
            <p:spPr bwMode="auto">
              <a:xfrm>
                <a:off x="6580" y="2523"/>
                <a:ext cx="3" cy="12"/>
              </a:xfrm>
              <a:custGeom>
                <a:avLst/>
                <a:gdLst>
                  <a:gd name="T0" fmla="*/ 1 w 1"/>
                  <a:gd name="T1" fmla="*/ 5 h 5"/>
                  <a:gd name="T2" fmla="*/ 1 w 1"/>
                  <a:gd name="T3" fmla="*/ 0 h 5"/>
                  <a:gd name="T4" fmla="*/ 0 w 1"/>
                  <a:gd name="T5" fmla="*/ 3 h 5"/>
                  <a:gd name="T6" fmla="*/ 0 w 1"/>
                  <a:gd name="T7" fmla="*/ 4 h 5"/>
                  <a:gd name="T8" fmla="*/ 0 w 1"/>
                  <a:gd name="T9" fmla="*/ 5 h 5"/>
                  <a:gd name="T10" fmla="*/ 1 w 1"/>
                  <a:gd name="T11" fmla="*/ 5 h 5"/>
                  <a:gd name="T12" fmla="*/ 1 w 1"/>
                  <a:gd name="T13" fmla="*/ 5 h 5"/>
                  <a:gd name="T14" fmla="*/ 1 w 1"/>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5">
                    <a:moveTo>
                      <a:pt x="1" y="5"/>
                    </a:moveTo>
                    <a:cubicBezTo>
                      <a:pt x="1" y="4"/>
                      <a:pt x="1" y="2"/>
                      <a:pt x="1" y="0"/>
                    </a:cubicBezTo>
                    <a:cubicBezTo>
                      <a:pt x="1" y="1"/>
                      <a:pt x="0" y="2"/>
                      <a:pt x="0" y="3"/>
                    </a:cubicBezTo>
                    <a:cubicBezTo>
                      <a:pt x="0" y="3"/>
                      <a:pt x="0" y="4"/>
                      <a:pt x="0" y="4"/>
                    </a:cubicBezTo>
                    <a:cubicBezTo>
                      <a:pt x="0" y="5"/>
                      <a:pt x="1" y="4"/>
                      <a:pt x="0" y="5"/>
                    </a:cubicBezTo>
                    <a:cubicBezTo>
                      <a:pt x="1" y="5"/>
                      <a:pt x="1" y="5"/>
                      <a:pt x="1" y="5"/>
                    </a:cubicBezTo>
                    <a:cubicBezTo>
                      <a:pt x="1" y="5"/>
                      <a:pt x="1" y="5"/>
                      <a:pt x="1" y="5"/>
                    </a:cubicBezTo>
                    <a:cubicBezTo>
                      <a:pt x="1"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2" name="Freeform 2240">
                <a:extLst>
                  <a:ext uri="{FF2B5EF4-FFF2-40B4-BE49-F238E27FC236}">
                    <a16:creationId xmlns:a16="http://schemas.microsoft.com/office/drawing/2014/main" id="{C716F9C8-065A-4EF1-B551-3D1FBE4BD56E}"/>
                  </a:ext>
                </a:extLst>
              </p:cNvPr>
              <p:cNvSpPr>
                <a:spLocks/>
              </p:cNvSpPr>
              <p:nvPr/>
            </p:nvSpPr>
            <p:spPr bwMode="auto">
              <a:xfrm>
                <a:off x="6455" y="2447"/>
                <a:ext cx="31" cy="34"/>
              </a:xfrm>
              <a:custGeom>
                <a:avLst/>
                <a:gdLst>
                  <a:gd name="T0" fmla="*/ 13 w 13"/>
                  <a:gd name="T1" fmla="*/ 5 h 14"/>
                  <a:gd name="T2" fmla="*/ 10 w 13"/>
                  <a:gd name="T3" fmla="*/ 3 h 14"/>
                  <a:gd name="T4" fmla="*/ 6 w 13"/>
                  <a:gd name="T5" fmla="*/ 1 h 14"/>
                  <a:gd name="T6" fmla="*/ 3 w 13"/>
                  <a:gd name="T7" fmla="*/ 1 h 14"/>
                  <a:gd name="T8" fmla="*/ 2 w 13"/>
                  <a:gd name="T9" fmla="*/ 1 h 14"/>
                  <a:gd name="T10" fmla="*/ 0 w 13"/>
                  <a:gd name="T11" fmla="*/ 1 h 14"/>
                  <a:gd name="T12" fmla="*/ 4 w 13"/>
                  <a:gd name="T13" fmla="*/ 7 h 14"/>
                  <a:gd name="T14" fmla="*/ 9 w 13"/>
                  <a:gd name="T15" fmla="*/ 14 h 14"/>
                  <a:gd name="T16" fmla="*/ 11 w 13"/>
                  <a:gd name="T17" fmla="*/ 13 h 14"/>
                  <a:gd name="T18" fmla="*/ 11 w 13"/>
                  <a:gd name="T19" fmla="*/ 13 h 14"/>
                  <a:gd name="T20" fmla="*/ 12 w 13"/>
                  <a:gd name="T21" fmla="*/ 11 h 14"/>
                  <a:gd name="T22" fmla="*/ 12 w 13"/>
                  <a:gd name="T23" fmla="*/ 8 h 14"/>
                  <a:gd name="T24" fmla="*/ 12 w 13"/>
                  <a:gd name="T25" fmla="*/ 6 h 14"/>
                  <a:gd name="T26" fmla="*/ 13 w 13"/>
                  <a:gd name="T27"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4">
                    <a:moveTo>
                      <a:pt x="13" y="5"/>
                    </a:moveTo>
                    <a:cubicBezTo>
                      <a:pt x="12" y="4"/>
                      <a:pt x="11" y="4"/>
                      <a:pt x="10" y="3"/>
                    </a:cubicBezTo>
                    <a:cubicBezTo>
                      <a:pt x="9" y="2"/>
                      <a:pt x="7" y="2"/>
                      <a:pt x="6" y="1"/>
                    </a:cubicBezTo>
                    <a:cubicBezTo>
                      <a:pt x="6" y="1"/>
                      <a:pt x="4" y="1"/>
                      <a:pt x="3" y="1"/>
                    </a:cubicBezTo>
                    <a:cubicBezTo>
                      <a:pt x="3" y="1"/>
                      <a:pt x="3" y="1"/>
                      <a:pt x="2" y="1"/>
                    </a:cubicBezTo>
                    <a:cubicBezTo>
                      <a:pt x="1" y="0"/>
                      <a:pt x="0" y="0"/>
                      <a:pt x="0" y="1"/>
                    </a:cubicBezTo>
                    <a:cubicBezTo>
                      <a:pt x="3" y="2"/>
                      <a:pt x="3" y="5"/>
                      <a:pt x="4" y="7"/>
                    </a:cubicBezTo>
                    <a:cubicBezTo>
                      <a:pt x="5" y="10"/>
                      <a:pt x="7" y="12"/>
                      <a:pt x="9" y="14"/>
                    </a:cubicBezTo>
                    <a:cubicBezTo>
                      <a:pt x="10" y="14"/>
                      <a:pt x="10" y="12"/>
                      <a:pt x="11" y="13"/>
                    </a:cubicBezTo>
                    <a:cubicBezTo>
                      <a:pt x="11" y="13"/>
                      <a:pt x="11" y="12"/>
                      <a:pt x="11" y="13"/>
                    </a:cubicBezTo>
                    <a:cubicBezTo>
                      <a:pt x="11" y="11"/>
                      <a:pt x="11" y="11"/>
                      <a:pt x="12" y="11"/>
                    </a:cubicBezTo>
                    <a:cubicBezTo>
                      <a:pt x="13" y="9"/>
                      <a:pt x="12" y="9"/>
                      <a:pt x="12" y="8"/>
                    </a:cubicBezTo>
                    <a:cubicBezTo>
                      <a:pt x="12" y="7"/>
                      <a:pt x="12" y="6"/>
                      <a:pt x="12" y="6"/>
                    </a:cubicBezTo>
                    <a:cubicBezTo>
                      <a:pt x="12" y="5"/>
                      <a:pt x="13" y="5"/>
                      <a:pt x="1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3" name="Freeform 2241">
                <a:extLst>
                  <a:ext uri="{FF2B5EF4-FFF2-40B4-BE49-F238E27FC236}">
                    <a16:creationId xmlns:a16="http://schemas.microsoft.com/office/drawing/2014/main" id="{758ADC09-0C1C-45D4-872F-42BEAFFB0784}"/>
                  </a:ext>
                </a:extLst>
              </p:cNvPr>
              <p:cNvSpPr>
                <a:spLocks/>
              </p:cNvSpPr>
              <p:nvPr/>
            </p:nvSpPr>
            <p:spPr bwMode="auto">
              <a:xfrm>
                <a:off x="6493" y="2469"/>
                <a:ext cx="7" cy="14"/>
              </a:xfrm>
              <a:custGeom>
                <a:avLst/>
                <a:gdLst>
                  <a:gd name="T0" fmla="*/ 2 w 3"/>
                  <a:gd name="T1" fmla="*/ 0 h 6"/>
                  <a:gd name="T2" fmla="*/ 1 w 3"/>
                  <a:gd name="T3" fmla="*/ 6 h 6"/>
                  <a:gd name="T4" fmla="*/ 2 w 3"/>
                  <a:gd name="T5" fmla="*/ 1 h 6"/>
                  <a:gd name="T6" fmla="*/ 2 w 3"/>
                  <a:gd name="T7" fmla="*/ 0 h 6"/>
                </a:gdLst>
                <a:ahLst/>
                <a:cxnLst>
                  <a:cxn ang="0">
                    <a:pos x="T0" y="T1"/>
                  </a:cxn>
                  <a:cxn ang="0">
                    <a:pos x="T2" y="T3"/>
                  </a:cxn>
                  <a:cxn ang="0">
                    <a:pos x="T4" y="T5"/>
                  </a:cxn>
                  <a:cxn ang="0">
                    <a:pos x="T6" y="T7"/>
                  </a:cxn>
                </a:cxnLst>
                <a:rect l="0" t="0" r="r" b="b"/>
                <a:pathLst>
                  <a:path w="3" h="6">
                    <a:moveTo>
                      <a:pt x="2" y="0"/>
                    </a:moveTo>
                    <a:cubicBezTo>
                      <a:pt x="0" y="1"/>
                      <a:pt x="0" y="5"/>
                      <a:pt x="1" y="6"/>
                    </a:cubicBezTo>
                    <a:cubicBezTo>
                      <a:pt x="2" y="6"/>
                      <a:pt x="2" y="3"/>
                      <a:pt x="2" y="1"/>
                    </a:cubicBezTo>
                    <a:cubicBezTo>
                      <a:pt x="3" y="1"/>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4" name="Freeform 2242">
                <a:extLst>
                  <a:ext uri="{FF2B5EF4-FFF2-40B4-BE49-F238E27FC236}">
                    <a16:creationId xmlns:a16="http://schemas.microsoft.com/office/drawing/2014/main" id="{290E8C5D-5C50-4C75-9555-53FEEECCC43D}"/>
                  </a:ext>
                </a:extLst>
              </p:cNvPr>
              <p:cNvSpPr>
                <a:spLocks/>
              </p:cNvSpPr>
              <p:nvPr/>
            </p:nvSpPr>
            <p:spPr bwMode="auto">
              <a:xfrm>
                <a:off x="6542" y="2433"/>
                <a:ext cx="12" cy="17"/>
              </a:xfrm>
              <a:custGeom>
                <a:avLst/>
                <a:gdLst>
                  <a:gd name="T0" fmla="*/ 3 w 5"/>
                  <a:gd name="T1" fmla="*/ 7 h 7"/>
                  <a:gd name="T2" fmla="*/ 4 w 5"/>
                  <a:gd name="T3" fmla="*/ 3 h 7"/>
                  <a:gd name="T4" fmla="*/ 4 w 5"/>
                  <a:gd name="T5" fmla="*/ 2 h 7"/>
                  <a:gd name="T6" fmla="*/ 2 w 5"/>
                  <a:gd name="T7" fmla="*/ 3 h 7"/>
                  <a:gd name="T8" fmla="*/ 1 w 5"/>
                  <a:gd name="T9" fmla="*/ 5 h 7"/>
                  <a:gd name="T10" fmla="*/ 3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3" y="7"/>
                    </a:moveTo>
                    <a:cubicBezTo>
                      <a:pt x="3" y="6"/>
                      <a:pt x="5" y="4"/>
                      <a:pt x="4" y="3"/>
                    </a:cubicBezTo>
                    <a:cubicBezTo>
                      <a:pt x="4" y="2"/>
                      <a:pt x="4" y="2"/>
                      <a:pt x="4" y="2"/>
                    </a:cubicBezTo>
                    <a:cubicBezTo>
                      <a:pt x="2" y="0"/>
                      <a:pt x="2" y="1"/>
                      <a:pt x="2" y="3"/>
                    </a:cubicBezTo>
                    <a:cubicBezTo>
                      <a:pt x="2" y="4"/>
                      <a:pt x="2" y="4"/>
                      <a:pt x="1" y="5"/>
                    </a:cubicBezTo>
                    <a:cubicBezTo>
                      <a:pt x="0" y="5"/>
                      <a:pt x="2"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5" name="Freeform 2243">
                <a:extLst>
                  <a:ext uri="{FF2B5EF4-FFF2-40B4-BE49-F238E27FC236}">
                    <a16:creationId xmlns:a16="http://schemas.microsoft.com/office/drawing/2014/main" id="{52ADCFDA-5CF3-482D-880E-1094667A32E6}"/>
                  </a:ext>
                </a:extLst>
              </p:cNvPr>
              <p:cNvSpPr>
                <a:spLocks/>
              </p:cNvSpPr>
              <p:nvPr/>
            </p:nvSpPr>
            <p:spPr bwMode="auto">
              <a:xfrm>
                <a:off x="6469" y="2630"/>
                <a:ext cx="14" cy="7"/>
              </a:xfrm>
              <a:custGeom>
                <a:avLst/>
                <a:gdLst>
                  <a:gd name="T0" fmla="*/ 4 w 6"/>
                  <a:gd name="T1" fmla="*/ 1 h 3"/>
                  <a:gd name="T2" fmla="*/ 3 w 6"/>
                  <a:gd name="T3" fmla="*/ 1 h 3"/>
                  <a:gd name="T4" fmla="*/ 3 w 6"/>
                  <a:gd name="T5" fmla="*/ 1 h 3"/>
                  <a:gd name="T6" fmla="*/ 1 w 6"/>
                  <a:gd name="T7" fmla="*/ 1 h 3"/>
                  <a:gd name="T8" fmla="*/ 0 w 6"/>
                  <a:gd name="T9" fmla="*/ 1 h 3"/>
                  <a:gd name="T10" fmla="*/ 4 w 6"/>
                  <a:gd name="T11" fmla="*/ 3 h 3"/>
                  <a:gd name="T12" fmla="*/ 4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4" y="1"/>
                    </a:moveTo>
                    <a:cubicBezTo>
                      <a:pt x="4" y="1"/>
                      <a:pt x="3" y="1"/>
                      <a:pt x="3" y="1"/>
                    </a:cubicBezTo>
                    <a:cubicBezTo>
                      <a:pt x="3" y="1"/>
                      <a:pt x="3" y="1"/>
                      <a:pt x="3" y="1"/>
                    </a:cubicBezTo>
                    <a:cubicBezTo>
                      <a:pt x="2" y="0"/>
                      <a:pt x="1" y="0"/>
                      <a:pt x="1" y="1"/>
                    </a:cubicBezTo>
                    <a:cubicBezTo>
                      <a:pt x="0" y="1"/>
                      <a:pt x="0" y="1"/>
                      <a:pt x="0" y="1"/>
                    </a:cubicBezTo>
                    <a:cubicBezTo>
                      <a:pt x="0" y="2"/>
                      <a:pt x="3" y="2"/>
                      <a:pt x="4" y="3"/>
                    </a:cubicBezTo>
                    <a:cubicBezTo>
                      <a:pt x="5" y="2"/>
                      <a:pt x="6"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6" name="Freeform 2244">
                <a:extLst>
                  <a:ext uri="{FF2B5EF4-FFF2-40B4-BE49-F238E27FC236}">
                    <a16:creationId xmlns:a16="http://schemas.microsoft.com/office/drawing/2014/main" id="{ACE10653-D070-4433-953D-3930056E1143}"/>
                  </a:ext>
                </a:extLst>
              </p:cNvPr>
              <p:cNvSpPr>
                <a:spLocks/>
              </p:cNvSpPr>
              <p:nvPr/>
            </p:nvSpPr>
            <p:spPr bwMode="auto">
              <a:xfrm>
                <a:off x="6798" y="2592"/>
                <a:ext cx="2" cy="7"/>
              </a:xfrm>
              <a:custGeom>
                <a:avLst/>
                <a:gdLst>
                  <a:gd name="T0" fmla="*/ 1 w 1"/>
                  <a:gd name="T1" fmla="*/ 0 h 3"/>
                  <a:gd name="T2" fmla="*/ 1 w 1"/>
                  <a:gd name="T3" fmla="*/ 0 h 3"/>
                  <a:gd name="T4" fmla="*/ 1 w 1"/>
                  <a:gd name="T5" fmla="*/ 0 h 3"/>
                  <a:gd name="T6" fmla="*/ 1 w 1"/>
                  <a:gd name="T7" fmla="*/ 0 h 3"/>
                  <a:gd name="T8" fmla="*/ 0 w 1"/>
                  <a:gd name="T9" fmla="*/ 2 h 3"/>
                  <a:gd name="T10" fmla="*/ 0 w 1"/>
                  <a:gd name="T11" fmla="*/ 3 h 3"/>
                  <a:gd name="T12" fmla="*/ 0 w 1"/>
                  <a:gd name="T13" fmla="*/ 3 h 3"/>
                  <a:gd name="T14" fmla="*/ 1 w 1"/>
                  <a:gd name="T15" fmla="*/ 1 h 3"/>
                  <a:gd name="T16" fmla="*/ 1 w 1"/>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0"/>
                    </a:moveTo>
                    <a:cubicBezTo>
                      <a:pt x="1" y="0"/>
                      <a:pt x="1" y="0"/>
                      <a:pt x="1" y="0"/>
                    </a:cubicBezTo>
                    <a:cubicBezTo>
                      <a:pt x="1" y="0"/>
                      <a:pt x="1" y="0"/>
                      <a:pt x="1" y="0"/>
                    </a:cubicBezTo>
                    <a:cubicBezTo>
                      <a:pt x="1" y="0"/>
                      <a:pt x="1" y="0"/>
                      <a:pt x="1" y="0"/>
                    </a:cubicBezTo>
                    <a:cubicBezTo>
                      <a:pt x="0" y="1"/>
                      <a:pt x="0" y="2"/>
                      <a:pt x="0" y="2"/>
                    </a:cubicBezTo>
                    <a:cubicBezTo>
                      <a:pt x="0" y="3"/>
                      <a:pt x="0" y="3"/>
                      <a:pt x="0" y="3"/>
                    </a:cubicBezTo>
                    <a:cubicBezTo>
                      <a:pt x="0" y="3"/>
                      <a:pt x="0" y="3"/>
                      <a:pt x="0" y="3"/>
                    </a:cubicBezTo>
                    <a:cubicBezTo>
                      <a:pt x="1" y="2"/>
                      <a:pt x="1"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7" name="Freeform 2245">
                <a:extLst>
                  <a:ext uri="{FF2B5EF4-FFF2-40B4-BE49-F238E27FC236}">
                    <a16:creationId xmlns:a16="http://schemas.microsoft.com/office/drawing/2014/main" id="{D9D96501-E05F-4962-AAD1-4FB41CAAC38B}"/>
                  </a:ext>
                </a:extLst>
              </p:cNvPr>
              <p:cNvSpPr>
                <a:spLocks/>
              </p:cNvSpPr>
              <p:nvPr/>
            </p:nvSpPr>
            <p:spPr bwMode="auto">
              <a:xfrm>
                <a:off x="6793" y="2601"/>
                <a:ext cx="2" cy="3"/>
              </a:xfrm>
              <a:custGeom>
                <a:avLst/>
                <a:gdLst>
                  <a:gd name="T0" fmla="*/ 1 w 1"/>
                  <a:gd name="T1" fmla="*/ 0 h 1"/>
                  <a:gd name="T2" fmla="*/ 1 w 1"/>
                  <a:gd name="T3" fmla="*/ 0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1" y="0"/>
                      <a:pt x="1" y="0"/>
                      <a:pt x="0" y="1"/>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8" name="Freeform 2246">
                <a:extLst>
                  <a:ext uri="{FF2B5EF4-FFF2-40B4-BE49-F238E27FC236}">
                    <a16:creationId xmlns:a16="http://schemas.microsoft.com/office/drawing/2014/main" id="{CE192D12-27B8-4D18-924A-127829E0F0B1}"/>
                  </a:ext>
                </a:extLst>
              </p:cNvPr>
              <p:cNvSpPr>
                <a:spLocks/>
              </p:cNvSpPr>
              <p:nvPr/>
            </p:nvSpPr>
            <p:spPr bwMode="auto">
              <a:xfrm>
                <a:off x="3154" y="194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9" name="Freeform 2247">
                <a:extLst>
                  <a:ext uri="{FF2B5EF4-FFF2-40B4-BE49-F238E27FC236}">
                    <a16:creationId xmlns:a16="http://schemas.microsoft.com/office/drawing/2014/main" id="{C1E1AADE-2B24-4C4A-ACF0-4495E9EBDBF2}"/>
                  </a:ext>
                </a:extLst>
              </p:cNvPr>
              <p:cNvSpPr>
                <a:spLocks/>
              </p:cNvSpPr>
              <p:nvPr/>
            </p:nvSpPr>
            <p:spPr bwMode="auto">
              <a:xfrm>
                <a:off x="7594" y="3995"/>
                <a:ext cx="17" cy="19"/>
              </a:xfrm>
              <a:custGeom>
                <a:avLst/>
                <a:gdLst>
                  <a:gd name="T0" fmla="*/ 5 w 7"/>
                  <a:gd name="T1" fmla="*/ 3 h 8"/>
                  <a:gd name="T2" fmla="*/ 5 w 7"/>
                  <a:gd name="T3" fmla="*/ 1 h 8"/>
                  <a:gd name="T4" fmla="*/ 2 w 7"/>
                  <a:gd name="T5" fmla="*/ 1 h 8"/>
                  <a:gd name="T6" fmla="*/ 2 w 7"/>
                  <a:gd name="T7" fmla="*/ 3 h 8"/>
                  <a:gd name="T8" fmla="*/ 0 w 7"/>
                  <a:gd name="T9" fmla="*/ 8 h 8"/>
                  <a:gd name="T10" fmla="*/ 2 w 7"/>
                  <a:gd name="T11" fmla="*/ 6 h 8"/>
                  <a:gd name="T12" fmla="*/ 4 w 7"/>
                  <a:gd name="T13" fmla="*/ 6 h 8"/>
                  <a:gd name="T14" fmla="*/ 7 w 7"/>
                  <a:gd name="T15" fmla="*/ 5 h 8"/>
                  <a:gd name="T16" fmla="*/ 7 w 7"/>
                  <a:gd name="T17" fmla="*/ 3 h 8"/>
                  <a:gd name="T18" fmla="*/ 5 w 7"/>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3"/>
                    </a:moveTo>
                    <a:cubicBezTo>
                      <a:pt x="7" y="3"/>
                      <a:pt x="6" y="2"/>
                      <a:pt x="5" y="1"/>
                    </a:cubicBezTo>
                    <a:cubicBezTo>
                      <a:pt x="4" y="0"/>
                      <a:pt x="3" y="0"/>
                      <a:pt x="2" y="1"/>
                    </a:cubicBezTo>
                    <a:cubicBezTo>
                      <a:pt x="2" y="1"/>
                      <a:pt x="3" y="2"/>
                      <a:pt x="2" y="3"/>
                    </a:cubicBezTo>
                    <a:cubicBezTo>
                      <a:pt x="2" y="4"/>
                      <a:pt x="0" y="6"/>
                      <a:pt x="0" y="8"/>
                    </a:cubicBezTo>
                    <a:cubicBezTo>
                      <a:pt x="1" y="8"/>
                      <a:pt x="1" y="6"/>
                      <a:pt x="2" y="6"/>
                    </a:cubicBezTo>
                    <a:cubicBezTo>
                      <a:pt x="3" y="6"/>
                      <a:pt x="3" y="7"/>
                      <a:pt x="4" y="6"/>
                    </a:cubicBezTo>
                    <a:cubicBezTo>
                      <a:pt x="5" y="6"/>
                      <a:pt x="7" y="6"/>
                      <a:pt x="7" y="5"/>
                    </a:cubicBezTo>
                    <a:cubicBezTo>
                      <a:pt x="7" y="5"/>
                      <a:pt x="7" y="4"/>
                      <a:pt x="7" y="3"/>
                    </a:cubicBezTo>
                    <a:cubicBezTo>
                      <a:pt x="6" y="4"/>
                      <a:pt x="5"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0" name="Freeform 2248">
                <a:extLst>
                  <a:ext uri="{FF2B5EF4-FFF2-40B4-BE49-F238E27FC236}">
                    <a16:creationId xmlns:a16="http://schemas.microsoft.com/office/drawing/2014/main" id="{CF63D855-8AB1-47E4-A391-206F3D9B6176}"/>
                  </a:ext>
                </a:extLst>
              </p:cNvPr>
              <p:cNvSpPr>
                <a:spLocks/>
              </p:cNvSpPr>
              <p:nvPr/>
            </p:nvSpPr>
            <p:spPr bwMode="auto">
              <a:xfrm>
                <a:off x="7720" y="3642"/>
                <a:ext cx="142" cy="201"/>
              </a:xfrm>
              <a:custGeom>
                <a:avLst/>
                <a:gdLst>
                  <a:gd name="T0" fmla="*/ 54 w 60"/>
                  <a:gd name="T1" fmla="*/ 38 h 85"/>
                  <a:gd name="T2" fmla="*/ 35 w 60"/>
                  <a:gd name="T3" fmla="*/ 38 h 85"/>
                  <a:gd name="T4" fmla="*/ 32 w 60"/>
                  <a:gd name="T5" fmla="*/ 32 h 85"/>
                  <a:gd name="T6" fmla="*/ 30 w 60"/>
                  <a:gd name="T7" fmla="*/ 27 h 85"/>
                  <a:gd name="T8" fmla="*/ 28 w 60"/>
                  <a:gd name="T9" fmla="*/ 29 h 85"/>
                  <a:gd name="T10" fmla="*/ 23 w 60"/>
                  <a:gd name="T11" fmla="*/ 29 h 85"/>
                  <a:gd name="T12" fmla="*/ 20 w 60"/>
                  <a:gd name="T13" fmla="*/ 29 h 85"/>
                  <a:gd name="T14" fmla="*/ 21 w 60"/>
                  <a:gd name="T15" fmla="*/ 25 h 85"/>
                  <a:gd name="T16" fmla="*/ 20 w 60"/>
                  <a:gd name="T17" fmla="*/ 20 h 85"/>
                  <a:gd name="T18" fmla="*/ 16 w 60"/>
                  <a:gd name="T19" fmla="*/ 16 h 85"/>
                  <a:gd name="T20" fmla="*/ 16 w 60"/>
                  <a:gd name="T21" fmla="*/ 9 h 85"/>
                  <a:gd name="T22" fmla="*/ 13 w 60"/>
                  <a:gd name="T23" fmla="*/ 9 h 85"/>
                  <a:gd name="T24" fmla="*/ 9 w 60"/>
                  <a:gd name="T25" fmla="*/ 6 h 85"/>
                  <a:gd name="T26" fmla="*/ 6 w 60"/>
                  <a:gd name="T27" fmla="*/ 5 h 85"/>
                  <a:gd name="T28" fmla="*/ 4 w 60"/>
                  <a:gd name="T29" fmla="*/ 5 h 85"/>
                  <a:gd name="T30" fmla="*/ 2 w 60"/>
                  <a:gd name="T31" fmla="*/ 1 h 85"/>
                  <a:gd name="T32" fmla="*/ 0 w 60"/>
                  <a:gd name="T33" fmla="*/ 0 h 85"/>
                  <a:gd name="T34" fmla="*/ 7 w 60"/>
                  <a:gd name="T35" fmla="*/ 13 h 85"/>
                  <a:gd name="T36" fmla="*/ 8 w 60"/>
                  <a:gd name="T37" fmla="*/ 12 h 85"/>
                  <a:gd name="T38" fmla="*/ 10 w 60"/>
                  <a:gd name="T39" fmla="*/ 15 h 85"/>
                  <a:gd name="T40" fmla="*/ 15 w 60"/>
                  <a:gd name="T41" fmla="*/ 23 h 85"/>
                  <a:gd name="T42" fmla="*/ 14 w 60"/>
                  <a:gd name="T43" fmla="*/ 20 h 85"/>
                  <a:gd name="T44" fmla="*/ 15 w 60"/>
                  <a:gd name="T45" fmla="*/ 20 h 85"/>
                  <a:gd name="T46" fmla="*/ 18 w 60"/>
                  <a:gd name="T47" fmla="*/ 22 h 85"/>
                  <a:gd name="T48" fmla="*/ 17 w 60"/>
                  <a:gd name="T49" fmla="*/ 26 h 85"/>
                  <a:gd name="T50" fmla="*/ 16 w 60"/>
                  <a:gd name="T51" fmla="*/ 26 h 85"/>
                  <a:gd name="T52" fmla="*/ 20 w 60"/>
                  <a:gd name="T53" fmla="*/ 30 h 85"/>
                  <a:gd name="T54" fmla="*/ 20 w 60"/>
                  <a:gd name="T55" fmla="*/ 34 h 85"/>
                  <a:gd name="T56" fmla="*/ 21 w 60"/>
                  <a:gd name="T57" fmla="*/ 43 h 85"/>
                  <a:gd name="T58" fmla="*/ 19 w 60"/>
                  <a:gd name="T59" fmla="*/ 51 h 85"/>
                  <a:gd name="T60" fmla="*/ 10 w 60"/>
                  <a:gd name="T61" fmla="*/ 58 h 85"/>
                  <a:gd name="T62" fmla="*/ 19 w 60"/>
                  <a:gd name="T63" fmla="*/ 64 h 85"/>
                  <a:gd name="T64" fmla="*/ 26 w 60"/>
                  <a:gd name="T65" fmla="*/ 69 h 85"/>
                  <a:gd name="T66" fmla="*/ 21 w 60"/>
                  <a:gd name="T67" fmla="*/ 79 h 85"/>
                  <a:gd name="T68" fmla="*/ 21 w 60"/>
                  <a:gd name="T69" fmla="*/ 82 h 85"/>
                  <a:gd name="T70" fmla="*/ 23 w 60"/>
                  <a:gd name="T71" fmla="*/ 83 h 85"/>
                  <a:gd name="T72" fmla="*/ 26 w 60"/>
                  <a:gd name="T73" fmla="*/ 85 h 85"/>
                  <a:gd name="T74" fmla="*/ 36 w 60"/>
                  <a:gd name="T75" fmla="*/ 75 h 85"/>
                  <a:gd name="T76" fmla="*/ 45 w 60"/>
                  <a:gd name="T77" fmla="*/ 62 h 85"/>
                  <a:gd name="T78" fmla="*/ 47 w 60"/>
                  <a:gd name="T79" fmla="*/ 55 h 85"/>
                  <a:gd name="T80" fmla="*/ 53 w 60"/>
                  <a:gd name="T81" fmla="*/ 56 h 85"/>
                  <a:gd name="T82" fmla="*/ 56 w 60"/>
                  <a:gd name="T83" fmla="*/ 49 h 85"/>
                  <a:gd name="T84" fmla="*/ 58 w 60"/>
                  <a:gd name="T85" fmla="*/ 3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85">
                    <a:moveTo>
                      <a:pt x="58" y="38"/>
                    </a:moveTo>
                    <a:cubicBezTo>
                      <a:pt x="56" y="37"/>
                      <a:pt x="55" y="36"/>
                      <a:pt x="54" y="38"/>
                    </a:cubicBezTo>
                    <a:cubicBezTo>
                      <a:pt x="53" y="39"/>
                      <a:pt x="51" y="39"/>
                      <a:pt x="50" y="41"/>
                    </a:cubicBezTo>
                    <a:cubicBezTo>
                      <a:pt x="45" y="44"/>
                      <a:pt x="40" y="39"/>
                      <a:pt x="35" y="38"/>
                    </a:cubicBezTo>
                    <a:cubicBezTo>
                      <a:pt x="35" y="39"/>
                      <a:pt x="33" y="37"/>
                      <a:pt x="33" y="36"/>
                    </a:cubicBezTo>
                    <a:cubicBezTo>
                      <a:pt x="33" y="35"/>
                      <a:pt x="32" y="33"/>
                      <a:pt x="32" y="32"/>
                    </a:cubicBezTo>
                    <a:cubicBezTo>
                      <a:pt x="32" y="30"/>
                      <a:pt x="32" y="29"/>
                      <a:pt x="31" y="28"/>
                    </a:cubicBezTo>
                    <a:cubicBezTo>
                      <a:pt x="30" y="27"/>
                      <a:pt x="33" y="27"/>
                      <a:pt x="30" y="27"/>
                    </a:cubicBezTo>
                    <a:cubicBezTo>
                      <a:pt x="28" y="27"/>
                      <a:pt x="30" y="26"/>
                      <a:pt x="29" y="25"/>
                    </a:cubicBezTo>
                    <a:cubicBezTo>
                      <a:pt x="27" y="24"/>
                      <a:pt x="28" y="28"/>
                      <a:pt x="28" y="29"/>
                    </a:cubicBezTo>
                    <a:cubicBezTo>
                      <a:pt x="28" y="30"/>
                      <a:pt x="29" y="31"/>
                      <a:pt x="29" y="32"/>
                    </a:cubicBezTo>
                    <a:cubicBezTo>
                      <a:pt x="26" y="32"/>
                      <a:pt x="25" y="30"/>
                      <a:pt x="23" y="29"/>
                    </a:cubicBezTo>
                    <a:cubicBezTo>
                      <a:pt x="23" y="30"/>
                      <a:pt x="23" y="28"/>
                      <a:pt x="22" y="29"/>
                    </a:cubicBezTo>
                    <a:cubicBezTo>
                      <a:pt x="22" y="29"/>
                      <a:pt x="21" y="28"/>
                      <a:pt x="20" y="29"/>
                    </a:cubicBezTo>
                    <a:cubicBezTo>
                      <a:pt x="21" y="28"/>
                      <a:pt x="22" y="27"/>
                      <a:pt x="21" y="26"/>
                    </a:cubicBezTo>
                    <a:cubicBezTo>
                      <a:pt x="21" y="25"/>
                      <a:pt x="20" y="26"/>
                      <a:pt x="21" y="25"/>
                    </a:cubicBezTo>
                    <a:cubicBezTo>
                      <a:pt x="21" y="24"/>
                      <a:pt x="21" y="23"/>
                      <a:pt x="22" y="23"/>
                    </a:cubicBezTo>
                    <a:cubicBezTo>
                      <a:pt x="21" y="22"/>
                      <a:pt x="20" y="21"/>
                      <a:pt x="20" y="20"/>
                    </a:cubicBezTo>
                    <a:cubicBezTo>
                      <a:pt x="19" y="19"/>
                      <a:pt x="19" y="18"/>
                      <a:pt x="18" y="17"/>
                    </a:cubicBezTo>
                    <a:cubicBezTo>
                      <a:pt x="17" y="17"/>
                      <a:pt x="17" y="17"/>
                      <a:pt x="16" y="16"/>
                    </a:cubicBezTo>
                    <a:cubicBezTo>
                      <a:pt x="16" y="16"/>
                      <a:pt x="17" y="16"/>
                      <a:pt x="17" y="16"/>
                    </a:cubicBezTo>
                    <a:cubicBezTo>
                      <a:pt x="17" y="14"/>
                      <a:pt x="17" y="11"/>
                      <a:pt x="16" y="9"/>
                    </a:cubicBezTo>
                    <a:cubicBezTo>
                      <a:pt x="16" y="10"/>
                      <a:pt x="15" y="10"/>
                      <a:pt x="15" y="11"/>
                    </a:cubicBezTo>
                    <a:cubicBezTo>
                      <a:pt x="15" y="10"/>
                      <a:pt x="14" y="10"/>
                      <a:pt x="13" y="9"/>
                    </a:cubicBezTo>
                    <a:cubicBezTo>
                      <a:pt x="15" y="8"/>
                      <a:pt x="11" y="7"/>
                      <a:pt x="10" y="7"/>
                    </a:cubicBezTo>
                    <a:cubicBezTo>
                      <a:pt x="10" y="6"/>
                      <a:pt x="9" y="6"/>
                      <a:pt x="9" y="6"/>
                    </a:cubicBezTo>
                    <a:cubicBezTo>
                      <a:pt x="7" y="6"/>
                      <a:pt x="7" y="7"/>
                      <a:pt x="7" y="5"/>
                    </a:cubicBezTo>
                    <a:cubicBezTo>
                      <a:pt x="7" y="5"/>
                      <a:pt x="6" y="5"/>
                      <a:pt x="6" y="5"/>
                    </a:cubicBezTo>
                    <a:cubicBezTo>
                      <a:pt x="6" y="6"/>
                      <a:pt x="6" y="6"/>
                      <a:pt x="6" y="6"/>
                    </a:cubicBezTo>
                    <a:cubicBezTo>
                      <a:pt x="5" y="7"/>
                      <a:pt x="5" y="5"/>
                      <a:pt x="4" y="5"/>
                    </a:cubicBezTo>
                    <a:cubicBezTo>
                      <a:pt x="3" y="4"/>
                      <a:pt x="2" y="3"/>
                      <a:pt x="2" y="1"/>
                    </a:cubicBezTo>
                    <a:cubicBezTo>
                      <a:pt x="2" y="1"/>
                      <a:pt x="2" y="1"/>
                      <a:pt x="2" y="1"/>
                    </a:cubicBezTo>
                    <a:cubicBezTo>
                      <a:pt x="3" y="2"/>
                      <a:pt x="4" y="0"/>
                      <a:pt x="3" y="0"/>
                    </a:cubicBezTo>
                    <a:cubicBezTo>
                      <a:pt x="3" y="0"/>
                      <a:pt x="0" y="0"/>
                      <a:pt x="0" y="0"/>
                    </a:cubicBezTo>
                    <a:cubicBezTo>
                      <a:pt x="1" y="2"/>
                      <a:pt x="3" y="4"/>
                      <a:pt x="4" y="7"/>
                    </a:cubicBezTo>
                    <a:cubicBezTo>
                      <a:pt x="5" y="9"/>
                      <a:pt x="6" y="11"/>
                      <a:pt x="7" y="13"/>
                    </a:cubicBezTo>
                    <a:cubicBezTo>
                      <a:pt x="7" y="11"/>
                      <a:pt x="8" y="12"/>
                      <a:pt x="9" y="11"/>
                    </a:cubicBezTo>
                    <a:cubicBezTo>
                      <a:pt x="9" y="11"/>
                      <a:pt x="8" y="11"/>
                      <a:pt x="8" y="12"/>
                    </a:cubicBezTo>
                    <a:cubicBezTo>
                      <a:pt x="8" y="12"/>
                      <a:pt x="8" y="12"/>
                      <a:pt x="8" y="12"/>
                    </a:cubicBezTo>
                    <a:cubicBezTo>
                      <a:pt x="8" y="13"/>
                      <a:pt x="9" y="14"/>
                      <a:pt x="10" y="15"/>
                    </a:cubicBezTo>
                    <a:cubicBezTo>
                      <a:pt x="11" y="18"/>
                      <a:pt x="12" y="20"/>
                      <a:pt x="13" y="22"/>
                    </a:cubicBezTo>
                    <a:cubicBezTo>
                      <a:pt x="13" y="23"/>
                      <a:pt x="14" y="24"/>
                      <a:pt x="15" y="23"/>
                    </a:cubicBezTo>
                    <a:cubicBezTo>
                      <a:pt x="15" y="22"/>
                      <a:pt x="13" y="21"/>
                      <a:pt x="13" y="20"/>
                    </a:cubicBezTo>
                    <a:cubicBezTo>
                      <a:pt x="13" y="21"/>
                      <a:pt x="14" y="20"/>
                      <a:pt x="14" y="20"/>
                    </a:cubicBezTo>
                    <a:cubicBezTo>
                      <a:pt x="15" y="21"/>
                      <a:pt x="15" y="21"/>
                      <a:pt x="15" y="21"/>
                    </a:cubicBezTo>
                    <a:cubicBezTo>
                      <a:pt x="15" y="21"/>
                      <a:pt x="15" y="21"/>
                      <a:pt x="15" y="20"/>
                    </a:cubicBezTo>
                    <a:cubicBezTo>
                      <a:pt x="16" y="21"/>
                      <a:pt x="16" y="21"/>
                      <a:pt x="17" y="20"/>
                    </a:cubicBezTo>
                    <a:cubicBezTo>
                      <a:pt x="16" y="22"/>
                      <a:pt x="16" y="22"/>
                      <a:pt x="18" y="22"/>
                    </a:cubicBezTo>
                    <a:cubicBezTo>
                      <a:pt x="17" y="22"/>
                      <a:pt x="16" y="22"/>
                      <a:pt x="16" y="23"/>
                    </a:cubicBezTo>
                    <a:cubicBezTo>
                      <a:pt x="17" y="23"/>
                      <a:pt x="17" y="25"/>
                      <a:pt x="17" y="26"/>
                    </a:cubicBezTo>
                    <a:cubicBezTo>
                      <a:pt x="17" y="25"/>
                      <a:pt x="16" y="24"/>
                      <a:pt x="15" y="24"/>
                    </a:cubicBezTo>
                    <a:cubicBezTo>
                      <a:pt x="15" y="25"/>
                      <a:pt x="16" y="26"/>
                      <a:pt x="16" y="26"/>
                    </a:cubicBezTo>
                    <a:cubicBezTo>
                      <a:pt x="17" y="28"/>
                      <a:pt x="17" y="29"/>
                      <a:pt x="18" y="31"/>
                    </a:cubicBezTo>
                    <a:cubicBezTo>
                      <a:pt x="19" y="31"/>
                      <a:pt x="19" y="30"/>
                      <a:pt x="20" y="30"/>
                    </a:cubicBezTo>
                    <a:cubicBezTo>
                      <a:pt x="20" y="30"/>
                      <a:pt x="22" y="31"/>
                      <a:pt x="22" y="31"/>
                    </a:cubicBezTo>
                    <a:cubicBezTo>
                      <a:pt x="21" y="31"/>
                      <a:pt x="21" y="32"/>
                      <a:pt x="20" y="34"/>
                    </a:cubicBezTo>
                    <a:cubicBezTo>
                      <a:pt x="22" y="35"/>
                      <a:pt x="22" y="38"/>
                      <a:pt x="23" y="40"/>
                    </a:cubicBezTo>
                    <a:cubicBezTo>
                      <a:pt x="22" y="40"/>
                      <a:pt x="21" y="42"/>
                      <a:pt x="21" y="43"/>
                    </a:cubicBezTo>
                    <a:cubicBezTo>
                      <a:pt x="22" y="43"/>
                      <a:pt x="22" y="43"/>
                      <a:pt x="22" y="43"/>
                    </a:cubicBezTo>
                    <a:cubicBezTo>
                      <a:pt x="20" y="45"/>
                      <a:pt x="21" y="48"/>
                      <a:pt x="19" y="51"/>
                    </a:cubicBezTo>
                    <a:cubicBezTo>
                      <a:pt x="18" y="52"/>
                      <a:pt x="18" y="53"/>
                      <a:pt x="16" y="54"/>
                    </a:cubicBezTo>
                    <a:cubicBezTo>
                      <a:pt x="14" y="56"/>
                      <a:pt x="12" y="57"/>
                      <a:pt x="10" y="58"/>
                    </a:cubicBezTo>
                    <a:cubicBezTo>
                      <a:pt x="12" y="60"/>
                      <a:pt x="13" y="60"/>
                      <a:pt x="15" y="61"/>
                    </a:cubicBezTo>
                    <a:cubicBezTo>
                      <a:pt x="16" y="62"/>
                      <a:pt x="17" y="63"/>
                      <a:pt x="19" y="64"/>
                    </a:cubicBezTo>
                    <a:cubicBezTo>
                      <a:pt x="19" y="64"/>
                      <a:pt x="21" y="64"/>
                      <a:pt x="21" y="64"/>
                    </a:cubicBezTo>
                    <a:cubicBezTo>
                      <a:pt x="23" y="66"/>
                      <a:pt x="25" y="67"/>
                      <a:pt x="26" y="69"/>
                    </a:cubicBezTo>
                    <a:cubicBezTo>
                      <a:pt x="26" y="72"/>
                      <a:pt x="25" y="74"/>
                      <a:pt x="24" y="76"/>
                    </a:cubicBezTo>
                    <a:cubicBezTo>
                      <a:pt x="23" y="77"/>
                      <a:pt x="22" y="78"/>
                      <a:pt x="21" y="79"/>
                    </a:cubicBezTo>
                    <a:cubicBezTo>
                      <a:pt x="21" y="80"/>
                      <a:pt x="19" y="81"/>
                      <a:pt x="20" y="82"/>
                    </a:cubicBezTo>
                    <a:cubicBezTo>
                      <a:pt x="20" y="83"/>
                      <a:pt x="21" y="82"/>
                      <a:pt x="21" y="82"/>
                    </a:cubicBezTo>
                    <a:cubicBezTo>
                      <a:pt x="21" y="81"/>
                      <a:pt x="22" y="81"/>
                      <a:pt x="22" y="82"/>
                    </a:cubicBezTo>
                    <a:cubicBezTo>
                      <a:pt x="22" y="83"/>
                      <a:pt x="22" y="83"/>
                      <a:pt x="23" y="83"/>
                    </a:cubicBezTo>
                    <a:cubicBezTo>
                      <a:pt x="24" y="83"/>
                      <a:pt x="24" y="82"/>
                      <a:pt x="25" y="83"/>
                    </a:cubicBezTo>
                    <a:cubicBezTo>
                      <a:pt x="26" y="84"/>
                      <a:pt x="26" y="85"/>
                      <a:pt x="26" y="85"/>
                    </a:cubicBezTo>
                    <a:cubicBezTo>
                      <a:pt x="28" y="84"/>
                      <a:pt x="31" y="82"/>
                      <a:pt x="33" y="81"/>
                    </a:cubicBezTo>
                    <a:cubicBezTo>
                      <a:pt x="35" y="80"/>
                      <a:pt x="36" y="77"/>
                      <a:pt x="36" y="75"/>
                    </a:cubicBezTo>
                    <a:cubicBezTo>
                      <a:pt x="38" y="73"/>
                      <a:pt x="40" y="72"/>
                      <a:pt x="41" y="70"/>
                    </a:cubicBezTo>
                    <a:cubicBezTo>
                      <a:pt x="42" y="67"/>
                      <a:pt x="44" y="64"/>
                      <a:pt x="45" y="62"/>
                    </a:cubicBezTo>
                    <a:cubicBezTo>
                      <a:pt x="43" y="62"/>
                      <a:pt x="43" y="58"/>
                      <a:pt x="43" y="58"/>
                    </a:cubicBezTo>
                    <a:cubicBezTo>
                      <a:pt x="44" y="56"/>
                      <a:pt x="45" y="56"/>
                      <a:pt x="47" y="55"/>
                    </a:cubicBezTo>
                    <a:cubicBezTo>
                      <a:pt x="48" y="55"/>
                      <a:pt x="52" y="54"/>
                      <a:pt x="53" y="55"/>
                    </a:cubicBezTo>
                    <a:cubicBezTo>
                      <a:pt x="53" y="55"/>
                      <a:pt x="52" y="57"/>
                      <a:pt x="53" y="56"/>
                    </a:cubicBezTo>
                    <a:cubicBezTo>
                      <a:pt x="54" y="56"/>
                      <a:pt x="54" y="55"/>
                      <a:pt x="53" y="55"/>
                    </a:cubicBezTo>
                    <a:cubicBezTo>
                      <a:pt x="52" y="53"/>
                      <a:pt x="54" y="51"/>
                      <a:pt x="56" y="49"/>
                    </a:cubicBezTo>
                    <a:cubicBezTo>
                      <a:pt x="59" y="47"/>
                      <a:pt x="57" y="43"/>
                      <a:pt x="58" y="40"/>
                    </a:cubicBezTo>
                    <a:cubicBezTo>
                      <a:pt x="59" y="39"/>
                      <a:pt x="60" y="38"/>
                      <a:pt x="5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1" name="Freeform 2249">
                <a:extLst>
                  <a:ext uri="{FF2B5EF4-FFF2-40B4-BE49-F238E27FC236}">
                    <a16:creationId xmlns:a16="http://schemas.microsoft.com/office/drawing/2014/main" id="{8F227506-90DC-4A9F-B18D-9DC4BB9E01CB}"/>
                  </a:ext>
                </a:extLst>
              </p:cNvPr>
              <p:cNvSpPr>
                <a:spLocks/>
              </p:cNvSpPr>
              <p:nvPr/>
            </p:nvSpPr>
            <p:spPr bwMode="auto">
              <a:xfrm>
                <a:off x="7566" y="3813"/>
                <a:ext cx="192" cy="182"/>
              </a:xfrm>
              <a:custGeom>
                <a:avLst/>
                <a:gdLst>
                  <a:gd name="T0" fmla="*/ 81 w 81"/>
                  <a:gd name="T1" fmla="*/ 6 h 77"/>
                  <a:gd name="T2" fmla="*/ 79 w 81"/>
                  <a:gd name="T3" fmla="*/ 8 h 77"/>
                  <a:gd name="T4" fmla="*/ 77 w 81"/>
                  <a:gd name="T5" fmla="*/ 7 h 77"/>
                  <a:gd name="T6" fmla="*/ 70 w 81"/>
                  <a:gd name="T7" fmla="*/ 10 h 77"/>
                  <a:gd name="T8" fmla="*/ 67 w 81"/>
                  <a:gd name="T9" fmla="*/ 4 h 77"/>
                  <a:gd name="T10" fmla="*/ 67 w 81"/>
                  <a:gd name="T11" fmla="*/ 0 h 77"/>
                  <a:gd name="T12" fmla="*/ 60 w 81"/>
                  <a:gd name="T13" fmla="*/ 3 h 77"/>
                  <a:gd name="T14" fmla="*/ 59 w 81"/>
                  <a:gd name="T15" fmla="*/ 10 h 77"/>
                  <a:gd name="T16" fmla="*/ 53 w 81"/>
                  <a:gd name="T17" fmla="*/ 15 h 77"/>
                  <a:gd name="T18" fmla="*/ 52 w 81"/>
                  <a:gd name="T19" fmla="*/ 18 h 77"/>
                  <a:gd name="T20" fmla="*/ 44 w 81"/>
                  <a:gd name="T21" fmla="*/ 29 h 77"/>
                  <a:gd name="T22" fmla="*/ 29 w 81"/>
                  <a:gd name="T23" fmla="*/ 40 h 77"/>
                  <a:gd name="T24" fmla="*/ 20 w 81"/>
                  <a:gd name="T25" fmla="*/ 44 h 77"/>
                  <a:gd name="T26" fmla="*/ 16 w 81"/>
                  <a:gd name="T27" fmla="*/ 51 h 77"/>
                  <a:gd name="T28" fmla="*/ 10 w 81"/>
                  <a:gd name="T29" fmla="*/ 54 h 77"/>
                  <a:gd name="T30" fmla="*/ 8 w 81"/>
                  <a:gd name="T31" fmla="*/ 56 h 77"/>
                  <a:gd name="T32" fmla="*/ 8 w 81"/>
                  <a:gd name="T33" fmla="*/ 58 h 77"/>
                  <a:gd name="T34" fmla="*/ 7 w 81"/>
                  <a:gd name="T35" fmla="*/ 62 h 77"/>
                  <a:gd name="T36" fmla="*/ 4 w 81"/>
                  <a:gd name="T37" fmla="*/ 62 h 77"/>
                  <a:gd name="T38" fmla="*/ 4 w 81"/>
                  <a:gd name="T39" fmla="*/ 64 h 77"/>
                  <a:gd name="T40" fmla="*/ 4 w 81"/>
                  <a:gd name="T41" fmla="*/ 65 h 77"/>
                  <a:gd name="T42" fmla="*/ 3 w 81"/>
                  <a:gd name="T43" fmla="*/ 66 h 77"/>
                  <a:gd name="T44" fmla="*/ 3 w 81"/>
                  <a:gd name="T45" fmla="*/ 67 h 77"/>
                  <a:gd name="T46" fmla="*/ 5 w 81"/>
                  <a:gd name="T47" fmla="*/ 68 h 77"/>
                  <a:gd name="T48" fmla="*/ 3 w 81"/>
                  <a:gd name="T49" fmla="*/ 70 h 77"/>
                  <a:gd name="T50" fmla="*/ 13 w 81"/>
                  <a:gd name="T51" fmla="*/ 71 h 77"/>
                  <a:gd name="T52" fmla="*/ 20 w 81"/>
                  <a:gd name="T53" fmla="*/ 74 h 77"/>
                  <a:gd name="T54" fmla="*/ 24 w 81"/>
                  <a:gd name="T55" fmla="*/ 76 h 77"/>
                  <a:gd name="T56" fmla="*/ 40 w 81"/>
                  <a:gd name="T57" fmla="*/ 68 h 77"/>
                  <a:gd name="T58" fmla="*/ 43 w 81"/>
                  <a:gd name="T59" fmla="*/ 67 h 77"/>
                  <a:gd name="T60" fmla="*/ 49 w 81"/>
                  <a:gd name="T61" fmla="*/ 52 h 77"/>
                  <a:gd name="T62" fmla="*/ 50 w 81"/>
                  <a:gd name="T63" fmla="*/ 47 h 77"/>
                  <a:gd name="T64" fmla="*/ 60 w 81"/>
                  <a:gd name="T65" fmla="*/ 42 h 77"/>
                  <a:gd name="T66" fmla="*/ 62 w 81"/>
                  <a:gd name="T67" fmla="*/ 41 h 77"/>
                  <a:gd name="T68" fmla="*/ 67 w 81"/>
                  <a:gd name="T69" fmla="*/ 42 h 77"/>
                  <a:gd name="T70" fmla="*/ 66 w 81"/>
                  <a:gd name="T71" fmla="*/ 39 h 77"/>
                  <a:gd name="T72" fmla="*/ 65 w 81"/>
                  <a:gd name="T73" fmla="*/ 35 h 77"/>
                  <a:gd name="T74" fmla="*/ 76 w 81"/>
                  <a:gd name="T75" fmla="*/ 22 h 77"/>
                  <a:gd name="T76" fmla="*/ 81 w 81"/>
                  <a:gd name="T77" fmla="*/ 15 h 77"/>
                  <a:gd name="T78" fmla="*/ 81 w 81"/>
                  <a:gd name="T79" fmla="*/ 9 h 77"/>
                  <a:gd name="T80" fmla="*/ 80 w 81"/>
                  <a:gd name="T81" fmla="*/ 8 h 77"/>
                  <a:gd name="T82" fmla="*/ 80 w 81"/>
                  <a:gd name="T8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77">
                    <a:moveTo>
                      <a:pt x="81" y="7"/>
                    </a:moveTo>
                    <a:cubicBezTo>
                      <a:pt x="81" y="7"/>
                      <a:pt x="81" y="6"/>
                      <a:pt x="81" y="6"/>
                    </a:cubicBezTo>
                    <a:cubicBezTo>
                      <a:pt x="81" y="6"/>
                      <a:pt x="77" y="7"/>
                      <a:pt x="77" y="8"/>
                    </a:cubicBezTo>
                    <a:cubicBezTo>
                      <a:pt x="77" y="9"/>
                      <a:pt x="79" y="8"/>
                      <a:pt x="79" y="8"/>
                    </a:cubicBezTo>
                    <a:cubicBezTo>
                      <a:pt x="78" y="9"/>
                      <a:pt x="77" y="8"/>
                      <a:pt x="76" y="9"/>
                    </a:cubicBezTo>
                    <a:cubicBezTo>
                      <a:pt x="77" y="8"/>
                      <a:pt x="77" y="8"/>
                      <a:pt x="77" y="7"/>
                    </a:cubicBezTo>
                    <a:cubicBezTo>
                      <a:pt x="77" y="6"/>
                      <a:pt x="77" y="6"/>
                      <a:pt x="78" y="5"/>
                    </a:cubicBezTo>
                    <a:cubicBezTo>
                      <a:pt x="75" y="6"/>
                      <a:pt x="72" y="8"/>
                      <a:pt x="70" y="10"/>
                    </a:cubicBezTo>
                    <a:cubicBezTo>
                      <a:pt x="69" y="8"/>
                      <a:pt x="69" y="7"/>
                      <a:pt x="69" y="5"/>
                    </a:cubicBezTo>
                    <a:cubicBezTo>
                      <a:pt x="68" y="4"/>
                      <a:pt x="68" y="4"/>
                      <a:pt x="67" y="4"/>
                    </a:cubicBezTo>
                    <a:cubicBezTo>
                      <a:pt x="66" y="4"/>
                      <a:pt x="65" y="3"/>
                      <a:pt x="65" y="2"/>
                    </a:cubicBezTo>
                    <a:cubicBezTo>
                      <a:pt x="66" y="1"/>
                      <a:pt x="66" y="0"/>
                      <a:pt x="67" y="0"/>
                    </a:cubicBezTo>
                    <a:cubicBezTo>
                      <a:pt x="66" y="0"/>
                      <a:pt x="65" y="0"/>
                      <a:pt x="65" y="0"/>
                    </a:cubicBezTo>
                    <a:cubicBezTo>
                      <a:pt x="63" y="1"/>
                      <a:pt x="62" y="2"/>
                      <a:pt x="60" y="3"/>
                    </a:cubicBezTo>
                    <a:cubicBezTo>
                      <a:pt x="60" y="4"/>
                      <a:pt x="59" y="5"/>
                      <a:pt x="59" y="6"/>
                    </a:cubicBezTo>
                    <a:cubicBezTo>
                      <a:pt x="59" y="7"/>
                      <a:pt x="59" y="9"/>
                      <a:pt x="59" y="10"/>
                    </a:cubicBezTo>
                    <a:cubicBezTo>
                      <a:pt x="58" y="12"/>
                      <a:pt x="56" y="13"/>
                      <a:pt x="55" y="14"/>
                    </a:cubicBezTo>
                    <a:cubicBezTo>
                      <a:pt x="54" y="15"/>
                      <a:pt x="54" y="15"/>
                      <a:pt x="53" y="15"/>
                    </a:cubicBezTo>
                    <a:cubicBezTo>
                      <a:pt x="53" y="15"/>
                      <a:pt x="53" y="15"/>
                      <a:pt x="53" y="15"/>
                    </a:cubicBezTo>
                    <a:cubicBezTo>
                      <a:pt x="52" y="16"/>
                      <a:pt x="52" y="17"/>
                      <a:pt x="52" y="18"/>
                    </a:cubicBezTo>
                    <a:cubicBezTo>
                      <a:pt x="51" y="20"/>
                      <a:pt x="50" y="22"/>
                      <a:pt x="49" y="24"/>
                    </a:cubicBezTo>
                    <a:cubicBezTo>
                      <a:pt x="49" y="26"/>
                      <a:pt x="46" y="28"/>
                      <a:pt x="44" y="29"/>
                    </a:cubicBezTo>
                    <a:cubicBezTo>
                      <a:pt x="42" y="31"/>
                      <a:pt x="40" y="33"/>
                      <a:pt x="37" y="35"/>
                    </a:cubicBezTo>
                    <a:cubicBezTo>
                      <a:pt x="34" y="37"/>
                      <a:pt x="31" y="38"/>
                      <a:pt x="29" y="40"/>
                    </a:cubicBezTo>
                    <a:cubicBezTo>
                      <a:pt x="27" y="42"/>
                      <a:pt x="25" y="43"/>
                      <a:pt x="23" y="43"/>
                    </a:cubicBezTo>
                    <a:cubicBezTo>
                      <a:pt x="22" y="43"/>
                      <a:pt x="20" y="43"/>
                      <a:pt x="20" y="44"/>
                    </a:cubicBezTo>
                    <a:cubicBezTo>
                      <a:pt x="19" y="45"/>
                      <a:pt x="18" y="46"/>
                      <a:pt x="18" y="47"/>
                    </a:cubicBezTo>
                    <a:cubicBezTo>
                      <a:pt x="16" y="49"/>
                      <a:pt x="14" y="49"/>
                      <a:pt x="16" y="51"/>
                    </a:cubicBezTo>
                    <a:cubicBezTo>
                      <a:pt x="15" y="52"/>
                      <a:pt x="14" y="52"/>
                      <a:pt x="13" y="53"/>
                    </a:cubicBezTo>
                    <a:cubicBezTo>
                      <a:pt x="12" y="53"/>
                      <a:pt x="11" y="53"/>
                      <a:pt x="10" y="54"/>
                    </a:cubicBezTo>
                    <a:cubicBezTo>
                      <a:pt x="10" y="54"/>
                      <a:pt x="11" y="55"/>
                      <a:pt x="11" y="55"/>
                    </a:cubicBezTo>
                    <a:cubicBezTo>
                      <a:pt x="10" y="56"/>
                      <a:pt x="9" y="55"/>
                      <a:pt x="8" y="56"/>
                    </a:cubicBezTo>
                    <a:cubicBezTo>
                      <a:pt x="9" y="56"/>
                      <a:pt x="9" y="56"/>
                      <a:pt x="9" y="56"/>
                    </a:cubicBezTo>
                    <a:cubicBezTo>
                      <a:pt x="8" y="57"/>
                      <a:pt x="6" y="56"/>
                      <a:pt x="8" y="58"/>
                    </a:cubicBezTo>
                    <a:cubicBezTo>
                      <a:pt x="6" y="57"/>
                      <a:pt x="6" y="59"/>
                      <a:pt x="8" y="59"/>
                    </a:cubicBezTo>
                    <a:cubicBezTo>
                      <a:pt x="6" y="60"/>
                      <a:pt x="9" y="61"/>
                      <a:pt x="7" y="62"/>
                    </a:cubicBezTo>
                    <a:cubicBezTo>
                      <a:pt x="8" y="61"/>
                      <a:pt x="7" y="60"/>
                      <a:pt x="6" y="61"/>
                    </a:cubicBezTo>
                    <a:cubicBezTo>
                      <a:pt x="7" y="59"/>
                      <a:pt x="3" y="60"/>
                      <a:pt x="4" y="62"/>
                    </a:cubicBezTo>
                    <a:cubicBezTo>
                      <a:pt x="4" y="64"/>
                      <a:pt x="5" y="62"/>
                      <a:pt x="6" y="63"/>
                    </a:cubicBezTo>
                    <a:cubicBezTo>
                      <a:pt x="6" y="63"/>
                      <a:pt x="4" y="63"/>
                      <a:pt x="4" y="64"/>
                    </a:cubicBezTo>
                    <a:cubicBezTo>
                      <a:pt x="4" y="64"/>
                      <a:pt x="5" y="64"/>
                      <a:pt x="6" y="64"/>
                    </a:cubicBezTo>
                    <a:cubicBezTo>
                      <a:pt x="5" y="64"/>
                      <a:pt x="5" y="64"/>
                      <a:pt x="4" y="65"/>
                    </a:cubicBezTo>
                    <a:cubicBezTo>
                      <a:pt x="5" y="64"/>
                      <a:pt x="5" y="64"/>
                      <a:pt x="6" y="65"/>
                    </a:cubicBezTo>
                    <a:cubicBezTo>
                      <a:pt x="5" y="65"/>
                      <a:pt x="4" y="65"/>
                      <a:pt x="3" y="66"/>
                    </a:cubicBezTo>
                    <a:cubicBezTo>
                      <a:pt x="1" y="66"/>
                      <a:pt x="0" y="66"/>
                      <a:pt x="1" y="68"/>
                    </a:cubicBezTo>
                    <a:cubicBezTo>
                      <a:pt x="2" y="68"/>
                      <a:pt x="3" y="67"/>
                      <a:pt x="3" y="67"/>
                    </a:cubicBezTo>
                    <a:cubicBezTo>
                      <a:pt x="4" y="68"/>
                      <a:pt x="2" y="68"/>
                      <a:pt x="2" y="69"/>
                    </a:cubicBezTo>
                    <a:cubicBezTo>
                      <a:pt x="3" y="69"/>
                      <a:pt x="4" y="68"/>
                      <a:pt x="5" y="68"/>
                    </a:cubicBezTo>
                    <a:cubicBezTo>
                      <a:pt x="4" y="68"/>
                      <a:pt x="4" y="69"/>
                      <a:pt x="4" y="69"/>
                    </a:cubicBezTo>
                    <a:cubicBezTo>
                      <a:pt x="4" y="69"/>
                      <a:pt x="3" y="70"/>
                      <a:pt x="3" y="70"/>
                    </a:cubicBezTo>
                    <a:cubicBezTo>
                      <a:pt x="3" y="71"/>
                      <a:pt x="6" y="71"/>
                      <a:pt x="7" y="71"/>
                    </a:cubicBezTo>
                    <a:cubicBezTo>
                      <a:pt x="9" y="71"/>
                      <a:pt x="11" y="71"/>
                      <a:pt x="13" y="71"/>
                    </a:cubicBezTo>
                    <a:cubicBezTo>
                      <a:pt x="14" y="71"/>
                      <a:pt x="14" y="73"/>
                      <a:pt x="15" y="73"/>
                    </a:cubicBezTo>
                    <a:cubicBezTo>
                      <a:pt x="16" y="73"/>
                      <a:pt x="19" y="73"/>
                      <a:pt x="20" y="74"/>
                    </a:cubicBezTo>
                    <a:cubicBezTo>
                      <a:pt x="21" y="75"/>
                      <a:pt x="20" y="75"/>
                      <a:pt x="20" y="76"/>
                    </a:cubicBezTo>
                    <a:cubicBezTo>
                      <a:pt x="21" y="76"/>
                      <a:pt x="23" y="76"/>
                      <a:pt x="24" y="76"/>
                    </a:cubicBezTo>
                    <a:cubicBezTo>
                      <a:pt x="28" y="77"/>
                      <a:pt x="30" y="76"/>
                      <a:pt x="33" y="75"/>
                    </a:cubicBezTo>
                    <a:cubicBezTo>
                      <a:pt x="37" y="73"/>
                      <a:pt x="37" y="70"/>
                      <a:pt x="40" y="68"/>
                    </a:cubicBezTo>
                    <a:cubicBezTo>
                      <a:pt x="42" y="68"/>
                      <a:pt x="43" y="67"/>
                      <a:pt x="45" y="67"/>
                    </a:cubicBezTo>
                    <a:cubicBezTo>
                      <a:pt x="44" y="66"/>
                      <a:pt x="43" y="66"/>
                      <a:pt x="43" y="67"/>
                    </a:cubicBezTo>
                    <a:cubicBezTo>
                      <a:pt x="43" y="63"/>
                      <a:pt x="46" y="59"/>
                      <a:pt x="48" y="56"/>
                    </a:cubicBezTo>
                    <a:cubicBezTo>
                      <a:pt x="49" y="55"/>
                      <a:pt x="49" y="53"/>
                      <a:pt x="49" y="52"/>
                    </a:cubicBezTo>
                    <a:cubicBezTo>
                      <a:pt x="49" y="51"/>
                      <a:pt x="49" y="50"/>
                      <a:pt x="50" y="49"/>
                    </a:cubicBezTo>
                    <a:cubicBezTo>
                      <a:pt x="50" y="49"/>
                      <a:pt x="50" y="48"/>
                      <a:pt x="50" y="47"/>
                    </a:cubicBezTo>
                    <a:cubicBezTo>
                      <a:pt x="51" y="46"/>
                      <a:pt x="53" y="45"/>
                      <a:pt x="55" y="45"/>
                    </a:cubicBezTo>
                    <a:cubicBezTo>
                      <a:pt x="57" y="44"/>
                      <a:pt x="58" y="43"/>
                      <a:pt x="60" y="42"/>
                    </a:cubicBezTo>
                    <a:cubicBezTo>
                      <a:pt x="61" y="41"/>
                      <a:pt x="63" y="39"/>
                      <a:pt x="64" y="40"/>
                    </a:cubicBezTo>
                    <a:cubicBezTo>
                      <a:pt x="64" y="41"/>
                      <a:pt x="63" y="41"/>
                      <a:pt x="62" y="41"/>
                    </a:cubicBezTo>
                    <a:cubicBezTo>
                      <a:pt x="63" y="41"/>
                      <a:pt x="64" y="41"/>
                      <a:pt x="65" y="41"/>
                    </a:cubicBezTo>
                    <a:cubicBezTo>
                      <a:pt x="66" y="41"/>
                      <a:pt x="66" y="42"/>
                      <a:pt x="67" y="42"/>
                    </a:cubicBezTo>
                    <a:cubicBezTo>
                      <a:pt x="70" y="41"/>
                      <a:pt x="68" y="37"/>
                      <a:pt x="67" y="39"/>
                    </a:cubicBezTo>
                    <a:cubicBezTo>
                      <a:pt x="67" y="38"/>
                      <a:pt x="67" y="38"/>
                      <a:pt x="66" y="39"/>
                    </a:cubicBezTo>
                    <a:cubicBezTo>
                      <a:pt x="66" y="38"/>
                      <a:pt x="65" y="38"/>
                      <a:pt x="65" y="39"/>
                    </a:cubicBezTo>
                    <a:cubicBezTo>
                      <a:pt x="65" y="38"/>
                      <a:pt x="65" y="36"/>
                      <a:pt x="65" y="35"/>
                    </a:cubicBezTo>
                    <a:cubicBezTo>
                      <a:pt x="65" y="34"/>
                      <a:pt x="67" y="32"/>
                      <a:pt x="68" y="31"/>
                    </a:cubicBezTo>
                    <a:cubicBezTo>
                      <a:pt x="71" y="28"/>
                      <a:pt x="73" y="25"/>
                      <a:pt x="76" y="22"/>
                    </a:cubicBezTo>
                    <a:cubicBezTo>
                      <a:pt x="77" y="20"/>
                      <a:pt x="78" y="19"/>
                      <a:pt x="79" y="17"/>
                    </a:cubicBezTo>
                    <a:cubicBezTo>
                      <a:pt x="79" y="17"/>
                      <a:pt x="81" y="16"/>
                      <a:pt x="81" y="15"/>
                    </a:cubicBezTo>
                    <a:cubicBezTo>
                      <a:pt x="81" y="14"/>
                      <a:pt x="80" y="13"/>
                      <a:pt x="80" y="12"/>
                    </a:cubicBezTo>
                    <a:cubicBezTo>
                      <a:pt x="78" y="9"/>
                      <a:pt x="80" y="10"/>
                      <a:pt x="81" y="9"/>
                    </a:cubicBezTo>
                    <a:cubicBezTo>
                      <a:pt x="80" y="9"/>
                      <a:pt x="79" y="10"/>
                      <a:pt x="78" y="9"/>
                    </a:cubicBezTo>
                    <a:cubicBezTo>
                      <a:pt x="78" y="9"/>
                      <a:pt x="79" y="9"/>
                      <a:pt x="80" y="8"/>
                    </a:cubicBezTo>
                    <a:cubicBezTo>
                      <a:pt x="80" y="8"/>
                      <a:pt x="80" y="8"/>
                      <a:pt x="80" y="7"/>
                    </a:cubicBezTo>
                    <a:cubicBezTo>
                      <a:pt x="80" y="7"/>
                      <a:pt x="80" y="8"/>
                      <a:pt x="80" y="7"/>
                    </a:cubicBezTo>
                    <a:cubicBezTo>
                      <a:pt x="80" y="8"/>
                      <a:pt x="81" y="7"/>
                      <a:pt x="8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2" name="Freeform 2250">
                <a:extLst>
                  <a:ext uri="{FF2B5EF4-FFF2-40B4-BE49-F238E27FC236}">
                    <a16:creationId xmlns:a16="http://schemas.microsoft.com/office/drawing/2014/main" id="{A46D522D-736F-4BAC-A052-6F81DEAF752F}"/>
                  </a:ext>
                </a:extLst>
              </p:cNvPr>
              <p:cNvSpPr>
                <a:spLocks/>
              </p:cNvSpPr>
              <p:nvPr/>
            </p:nvSpPr>
            <p:spPr bwMode="auto">
              <a:xfrm>
                <a:off x="7864" y="4087"/>
                <a:ext cx="5" cy="2"/>
              </a:xfrm>
              <a:custGeom>
                <a:avLst/>
                <a:gdLst>
                  <a:gd name="T0" fmla="*/ 2 w 2"/>
                  <a:gd name="T1" fmla="*/ 0 h 1"/>
                  <a:gd name="T2" fmla="*/ 2 w 2"/>
                  <a:gd name="T3" fmla="*/ 0 h 1"/>
                </a:gdLst>
                <a:ahLst/>
                <a:cxnLst>
                  <a:cxn ang="0">
                    <a:pos x="T0" y="T1"/>
                  </a:cxn>
                  <a:cxn ang="0">
                    <a:pos x="T2" y="T3"/>
                  </a:cxn>
                </a:cxnLst>
                <a:rect l="0" t="0" r="r" b="b"/>
                <a:pathLst>
                  <a:path w="2" h="1">
                    <a:moveTo>
                      <a:pt x="2" y="0"/>
                    </a:moveTo>
                    <a:cubicBezTo>
                      <a:pt x="0" y="0"/>
                      <a:pt x="0"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3" name="Freeform 2251">
                <a:extLst>
                  <a:ext uri="{FF2B5EF4-FFF2-40B4-BE49-F238E27FC236}">
                    <a16:creationId xmlns:a16="http://schemas.microsoft.com/office/drawing/2014/main" id="{509D927B-C3DC-4857-9358-158556FA5A1D}"/>
                  </a:ext>
                </a:extLst>
              </p:cNvPr>
              <p:cNvSpPr>
                <a:spLocks/>
              </p:cNvSpPr>
              <p:nvPr/>
            </p:nvSpPr>
            <p:spPr bwMode="auto">
              <a:xfrm>
                <a:off x="7552" y="4113"/>
                <a:ext cx="12" cy="12"/>
              </a:xfrm>
              <a:custGeom>
                <a:avLst/>
                <a:gdLst>
                  <a:gd name="T0" fmla="*/ 5 w 5"/>
                  <a:gd name="T1" fmla="*/ 1 h 5"/>
                  <a:gd name="T2" fmla="*/ 3 w 5"/>
                  <a:gd name="T3" fmla="*/ 2 h 5"/>
                  <a:gd name="T4" fmla="*/ 2 w 5"/>
                  <a:gd name="T5" fmla="*/ 3 h 5"/>
                  <a:gd name="T6" fmla="*/ 5 w 5"/>
                  <a:gd name="T7" fmla="*/ 5 h 5"/>
                  <a:gd name="T8" fmla="*/ 4 w 5"/>
                  <a:gd name="T9" fmla="*/ 3 h 5"/>
                  <a:gd name="T10" fmla="*/ 5 w 5"/>
                  <a:gd name="T11" fmla="*/ 1 h 5"/>
                </a:gdLst>
                <a:ahLst/>
                <a:cxnLst>
                  <a:cxn ang="0">
                    <a:pos x="T0" y="T1"/>
                  </a:cxn>
                  <a:cxn ang="0">
                    <a:pos x="T2" y="T3"/>
                  </a:cxn>
                  <a:cxn ang="0">
                    <a:pos x="T4" y="T5"/>
                  </a:cxn>
                  <a:cxn ang="0">
                    <a:pos x="T6" y="T7"/>
                  </a:cxn>
                  <a:cxn ang="0">
                    <a:pos x="T8" y="T9"/>
                  </a:cxn>
                  <a:cxn ang="0">
                    <a:pos x="T10" y="T11"/>
                  </a:cxn>
                </a:cxnLst>
                <a:rect l="0" t="0" r="r" b="b"/>
                <a:pathLst>
                  <a:path w="5" h="5">
                    <a:moveTo>
                      <a:pt x="5" y="1"/>
                    </a:moveTo>
                    <a:cubicBezTo>
                      <a:pt x="4" y="0"/>
                      <a:pt x="3" y="0"/>
                      <a:pt x="3" y="2"/>
                    </a:cubicBezTo>
                    <a:cubicBezTo>
                      <a:pt x="3" y="3"/>
                      <a:pt x="3" y="3"/>
                      <a:pt x="2" y="3"/>
                    </a:cubicBezTo>
                    <a:cubicBezTo>
                      <a:pt x="0" y="5"/>
                      <a:pt x="3" y="4"/>
                      <a:pt x="5" y="5"/>
                    </a:cubicBezTo>
                    <a:cubicBezTo>
                      <a:pt x="5" y="4"/>
                      <a:pt x="4" y="4"/>
                      <a:pt x="4" y="3"/>
                    </a:cubicBezTo>
                    <a:cubicBezTo>
                      <a:pt x="4" y="2"/>
                      <a:pt x="5" y="2"/>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4" name="Freeform 2252">
                <a:extLst>
                  <a:ext uri="{FF2B5EF4-FFF2-40B4-BE49-F238E27FC236}">
                    <a16:creationId xmlns:a16="http://schemas.microsoft.com/office/drawing/2014/main" id="{C8DE52C8-19E8-4DBF-ABC8-5289609E4C0F}"/>
                  </a:ext>
                </a:extLst>
              </p:cNvPr>
              <p:cNvSpPr>
                <a:spLocks/>
              </p:cNvSpPr>
              <p:nvPr/>
            </p:nvSpPr>
            <p:spPr bwMode="auto">
              <a:xfrm>
                <a:off x="7630" y="4177"/>
                <a:ext cx="5" cy="2"/>
              </a:xfrm>
              <a:custGeom>
                <a:avLst/>
                <a:gdLst>
                  <a:gd name="T0" fmla="*/ 0 w 2"/>
                  <a:gd name="T1" fmla="*/ 0 h 1"/>
                  <a:gd name="T2" fmla="*/ 2 w 2"/>
                  <a:gd name="T3" fmla="*/ 0 h 1"/>
                  <a:gd name="T4" fmla="*/ 0 w 2"/>
                  <a:gd name="T5" fmla="*/ 0 h 1"/>
                </a:gdLst>
                <a:ahLst/>
                <a:cxnLst>
                  <a:cxn ang="0">
                    <a:pos x="T0" y="T1"/>
                  </a:cxn>
                  <a:cxn ang="0">
                    <a:pos x="T2" y="T3"/>
                  </a:cxn>
                  <a:cxn ang="0">
                    <a:pos x="T4" y="T5"/>
                  </a:cxn>
                </a:cxnLst>
                <a:rect l="0" t="0" r="r" b="b"/>
                <a:pathLst>
                  <a:path w="2" h="1">
                    <a:moveTo>
                      <a:pt x="0" y="0"/>
                    </a:moveTo>
                    <a:cubicBezTo>
                      <a:pt x="1" y="1"/>
                      <a:pt x="2" y="1"/>
                      <a:pt x="2"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5" name="Freeform 2253">
                <a:extLst>
                  <a:ext uri="{FF2B5EF4-FFF2-40B4-BE49-F238E27FC236}">
                    <a16:creationId xmlns:a16="http://schemas.microsoft.com/office/drawing/2014/main" id="{965612C1-7E19-4870-A647-9DD49217D535}"/>
                  </a:ext>
                </a:extLst>
              </p:cNvPr>
              <p:cNvSpPr>
                <a:spLocks/>
              </p:cNvSpPr>
              <p:nvPr/>
            </p:nvSpPr>
            <p:spPr bwMode="auto">
              <a:xfrm>
                <a:off x="4041" y="718"/>
                <a:ext cx="12" cy="7"/>
              </a:xfrm>
              <a:custGeom>
                <a:avLst/>
                <a:gdLst>
                  <a:gd name="T0" fmla="*/ 0 w 5"/>
                  <a:gd name="T1" fmla="*/ 1 h 3"/>
                  <a:gd name="T2" fmla="*/ 2 w 5"/>
                  <a:gd name="T3" fmla="*/ 2 h 3"/>
                  <a:gd name="T4" fmla="*/ 3 w 5"/>
                  <a:gd name="T5" fmla="*/ 3 h 3"/>
                  <a:gd name="T6" fmla="*/ 4 w 5"/>
                  <a:gd name="T7" fmla="*/ 2 h 3"/>
                  <a:gd name="T8" fmla="*/ 5 w 5"/>
                  <a:gd name="T9" fmla="*/ 0 h 3"/>
                  <a:gd name="T10" fmla="*/ 0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0" y="1"/>
                    </a:moveTo>
                    <a:cubicBezTo>
                      <a:pt x="1" y="2"/>
                      <a:pt x="1" y="3"/>
                      <a:pt x="2" y="2"/>
                    </a:cubicBezTo>
                    <a:cubicBezTo>
                      <a:pt x="2" y="2"/>
                      <a:pt x="2" y="3"/>
                      <a:pt x="3" y="3"/>
                    </a:cubicBezTo>
                    <a:cubicBezTo>
                      <a:pt x="3" y="3"/>
                      <a:pt x="4" y="2"/>
                      <a:pt x="4" y="2"/>
                    </a:cubicBezTo>
                    <a:cubicBezTo>
                      <a:pt x="5" y="2"/>
                      <a:pt x="4" y="1"/>
                      <a:pt x="5" y="0"/>
                    </a:cubicBezTo>
                    <a:cubicBezTo>
                      <a:pt x="3"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6" name="Freeform 2254">
                <a:extLst>
                  <a:ext uri="{FF2B5EF4-FFF2-40B4-BE49-F238E27FC236}">
                    <a16:creationId xmlns:a16="http://schemas.microsoft.com/office/drawing/2014/main" id="{7B5FB4B5-B741-4696-BB9E-E1791EDCD845}"/>
                  </a:ext>
                </a:extLst>
              </p:cNvPr>
              <p:cNvSpPr>
                <a:spLocks/>
              </p:cNvSpPr>
              <p:nvPr/>
            </p:nvSpPr>
            <p:spPr bwMode="auto">
              <a:xfrm>
                <a:off x="4100" y="699"/>
                <a:ext cx="21" cy="17"/>
              </a:xfrm>
              <a:custGeom>
                <a:avLst/>
                <a:gdLst>
                  <a:gd name="T0" fmla="*/ 5 w 9"/>
                  <a:gd name="T1" fmla="*/ 5 h 7"/>
                  <a:gd name="T2" fmla="*/ 8 w 9"/>
                  <a:gd name="T3" fmla="*/ 2 h 7"/>
                  <a:gd name="T4" fmla="*/ 7 w 9"/>
                  <a:gd name="T5" fmla="*/ 0 h 7"/>
                  <a:gd name="T6" fmla="*/ 7 w 9"/>
                  <a:gd name="T7" fmla="*/ 1 h 7"/>
                  <a:gd name="T8" fmla="*/ 0 w 9"/>
                  <a:gd name="T9" fmla="*/ 4 h 7"/>
                  <a:gd name="T10" fmla="*/ 5 w 9"/>
                  <a:gd name="T11" fmla="*/ 5 h 7"/>
                </a:gdLst>
                <a:ahLst/>
                <a:cxnLst>
                  <a:cxn ang="0">
                    <a:pos x="T0" y="T1"/>
                  </a:cxn>
                  <a:cxn ang="0">
                    <a:pos x="T2" y="T3"/>
                  </a:cxn>
                  <a:cxn ang="0">
                    <a:pos x="T4" y="T5"/>
                  </a:cxn>
                  <a:cxn ang="0">
                    <a:pos x="T6" y="T7"/>
                  </a:cxn>
                  <a:cxn ang="0">
                    <a:pos x="T8" y="T9"/>
                  </a:cxn>
                  <a:cxn ang="0">
                    <a:pos x="T10" y="T11"/>
                  </a:cxn>
                </a:cxnLst>
                <a:rect l="0" t="0" r="r" b="b"/>
                <a:pathLst>
                  <a:path w="9" h="7">
                    <a:moveTo>
                      <a:pt x="5" y="5"/>
                    </a:moveTo>
                    <a:cubicBezTo>
                      <a:pt x="6" y="5"/>
                      <a:pt x="9" y="3"/>
                      <a:pt x="8" y="2"/>
                    </a:cubicBezTo>
                    <a:cubicBezTo>
                      <a:pt x="8" y="1"/>
                      <a:pt x="8" y="0"/>
                      <a:pt x="7" y="0"/>
                    </a:cubicBezTo>
                    <a:cubicBezTo>
                      <a:pt x="6" y="0"/>
                      <a:pt x="7" y="1"/>
                      <a:pt x="7" y="1"/>
                    </a:cubicBezTo>
                    <a:cubicBezTo>
                      <a:pt x="5" y="3"/>
                      <a:pt x="3" y="3"/>
                      <a:pt x="0" y="4"/>
                    </a:cubicBezTo>
                    <a:cubicBezTo>
                      <a:pt x="2" y="5"/>
                      <a:pt x="3" y="7"/>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7" name="Freeform 2255">
                <a:extLst>
                  <a:ext uri="{FF2B5EF4-FFF2-40B4-BE49-F238E27FC236}">
                    <a16:creationId xmlns:a16="http://schemas.microsoft.com/office/drawing/2014/main" id="{0E97948E-74D5-409F-BFD5-326F7E679436}"/>
                  </a:ext>
                </a:extLst>
              </p:cNvPr>
              <p:cNvSpPr>
                <a:spLocks/>
              </p:cNvSpPr>
              <p:nvPr/>
            </p:nvSpPr>
            <p:spPr bwMode="auto">
              <a:xfrm>
                <a:off x="3682" y="1035"/>
                <a:ext cx="9" cy="5"/>
              </a:xfrm>
              <a:custGeom>
                <a:avLst/>
                <a:gdLst>
                  <a:gd name="T0" fmla="*/ 4 w 4"/>
                  <a:gd name="T1" fmla="*/ 0 h 2"/>
                  <a:gd name="T2" fmla="*/ 2 w 4"/>
                  <a:gd name="T3" fmla="*/ 2 h 2"/>
                  <a:gd name="T4" fmla="*/ 4 w 4"/>
                  <a:gd name="T5" fmla="*/ 0 h 2"/>
                </a:gdLst>
                <a:ahLst/>
                <a:cxnLst>
                  <a:cxn ang="0">
                    <a:pos x="T0" y="T1"/>
                  </a:cxn>
                  <a:cxn ang="0">
                    <a:pos x="T2" y="T3"/>
                  </a:cxn>
                  <a:cxn ang="0">
                    <a:pos x="T4" y="T5"/>
                  </a:cxn>
                </a:cxnLst>
                <a:rect l="0" t="0" r="r" b="b"/>
                <a:pathLst>
                  <a:path w="4" h="2">
                    <a:moveTo>
                      <a:pt x="4" y="0"/>
                    </a:moveTo>
                    <a:cubicBezTo>
                      <a:pt x="3" y="0"/>
                      <a:pt x="0" y="1"/>
                      <a:pt x="2" y="2"/>
                    </a:cubicBezTo>
                    <a:cubicBezTo>
                      <a:pt x="3" y="2"/>
                      <a:pt x="3"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8" name="Freeform 2256">
                <a:extLst>
                  <a:ext uri="{FF2B5EF4-FFF2-40B4-BE49-F238E27FC236}">
                    <a16:creationId xmlns:a16="http://schemas.microsoft.com/office/drawing/2014/main" id="{4B0AF0D7-B1F9-42D3-BBFC-2A016406C749}"/>
                  </a:ext>
                </a:extLst>
              </p:cNvPr>
              <p:cNvSpPr>
                <a:spLocks/>
              </p:cNvSpPr>
              <p:nvPr/>
            </p:nvSpPr>
            <p:spPr bwMode="auto">
              <a:xfrm>
                <a:off x="3674" y="1141"/>
                <a:ext cx="5" cy="10"/>
              </a:xfrm>
              <a:custGeom>
                <a:avLst/>
                <a:gdLst>
                  <a:gd name="T0" fmla="*/ 0 w 2"/>
                  <a:gd name="T1" fmla="*/ 3 h 4"/>
                  <a:gd name="T2" fmla="*/ 1 w 2"/>
                  <a:gd name="T3" fmla="*/ 3 h 4"/>
                  <a:gd name="T4" fmla="*/ 1 w 2"/>
                  <a:gd name="T5" fmla="*/ 0 h 4"/>
                  <a:gd name="T6" fmla="*/ 0 w 2"/>
                  <a:gd name="T7" fmla="*/ 3 h 4"/>
                </a:gdLst>
                <a:ahLst/>
                <a:cxnLst>
                  <a:cxn ang="0">
                    <a:pos x="T0" y="T1"/>
                  </a:cxn>
                  <a:cxn ang="0">
                    <a:pos x="T2" y="T3"/>
                  </a:cxn>
                  <a:cxn ang="0">
                    <a:pos x="T4" y="T5"/>
                  </a:cxn>
                  <a:cxn ang="0">
                    <a:pos x="T6" y="T7"/>
                  </a:cxn>
                </a:cxnLst>
                <a:rect l="0" t="0" r="r" b="b"/>
                <a:pathLst>
                  <a:path w="2" h="4">
                    <a:moveTo>
                      <a:pt x="0" y="3"/>
                    </a:moveTo>
                    <a:cubicBezTo>
                      <a:pt x="1" y="4"/>
                      <a:pt x="1" y="4"/>
                      <a:pt x="1" y="3"/>
                    </a:cubicBezTo>
                    <a:cubicBezTo>
                      <a:pt x="2" y="2"/>
                      <a:pt x="1" y="1"/>
                      <a:pt x="1" y="0"/>
                    </a:cubicBezTo>
                    <a:cubicBezTo>
                      <a:pt x="0" y="1"/>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9" name="Freeform 2257">
                <a:extLst>
                  <a:ext uri="{FF2B5EF4-FFF2-40B4-BE49-F238E27FC236}">
                    <a16:creationId xmlns:a16="http://schemas.microsoft.com/office/drawing/2014/main" id="{41BFCD74-D82A-44BF-978C-BBAA0DCE85A3}"/>
                  </a:ext>
                </a:extLst>
              </p:cNvPr>
              <p:cNvSpPr>
                <a:spLocks/>
              </p:cNvSpPr>
              <p:nvPr/>
            </p:nvSpPr>
            <p:spPr bwMode="auto">
              <a:xfrm>
                <a:off x="4001" y="720"/>
                <a:ext cx="26" cy="14"/>
              </a:xfrm>
              <a:custGeom>
                <a:avLst/>
                <a:gdLst>
                  <a:gd name="T0" fmla="*/ 7 w 11"/>
                  <a:gd name="T1" fmla="*/ 6 h 6"/>
                  <a:gd name="T2" fmla="*/ 10 w 11"/>
                  <a:gd name="T3" fmla="*/ 3 h 6"/>
                  <a:gd name="T4" fmla="*/ 9 w 11"/>
                  <a:gd name="T5" fmla="*/ 2 h 6"/>
                  <a:gd name="T6" fmla="*/ 4 w 11"/>
                  <a:gd name="T7" fmla="*/ 2 h 6"/>
                  <a:gd name="T8" fmla="*/ 1 w 11"/>
                  <a:gd name="T9" fmla="*/ 3 h 6"/>
                  <a:gd name="T10" fmla="*/ 3 w 11"/>
                  <a:gd name="T11" fmla="*/ 5 h 6"/>
                  <a:gd name="T12" fmla="*/ 7 w 1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7" y="6"/>
                    </a:moveTo>
                    <a:cubicBezTo>
                      <a:pt x="8" y="6"/>
                      <a:pt x="9" y="4"/>
                      <a:pt x="10" y="3"/>
                    </a:cubicBezTo>
                    <a:cubicBezTo>
                      <a:pt x="11" y="2"/>
                      <a:pt x="10" y="2"/>
                      <a:pt x="9" y="2"/>
                    </a:cubicBezTo>
                    <a:cubicBezTo>
                      <a:pt x="8" y="1"/>
                      <a:pt x="3" y="0"/>
                      <a:pt x="4" y="2"/>
                    </a:cubicBezTo>
                    <a:cubicBezTo>
                      <a:pt x="3" y="1"/>
                      <a:pt x="2" y="2"/>
                      <a:pt x="1" y="3"/>
                    </a:cubicBezTo>
                    <a:cubicBezTo>
                      <a:pt x="0" y="4"/>
                      <a:pt x="1" y="4"/>
                      <a:pt x="3" y="5"/>
                    </a:cubicBezTo>
                    <a:cubicBezTo>
                      <a:pt x="4" y="6"/>
                      <a:pt x="5" y="6"/>
                      <a:pt x="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0" name="Freeform 2258">
                <a:extLst>
                  <a:ext uri="{FF2B5EF4-FFF2-40B4-BE49-F238E27FC236}">
                    <a16:creationId xmlns:a16="http://schemas.microsoft.com/office/drawing/2014/main" id="{57BAB769-8EF8-4D4F-8283-AC388FE65272}"/>
                  </a:ext>
                </a:extLst>
              </p:cNvPr>
              <p:cNvSpPr>
                <a:spLocks/>
              </p:cNvSpPr>
              <p:nvPr/>
            </p:nvSpPr>
            <p:spPr bwMode="auto">
              <a:xfrm>
                <a:off x="3897" y="765"/>
                <a:ext cx="26" cy="22"/>
              </a:xfrm>
              <a:custGeom>
                <a:avLst/>
                <a:gdLst>
                  <a:gd name="T0" fmla="*/ 4 w 11"/>
                  <a:gd name="T1" fmla="*/ 5 h 9"/>
                  <a:gd name="T2" fmla="*/ 1 w 11"/>
                  <a:gd name="T3" fmla="*/ 8 h 9"/>
                  <a:gd name="T4" fmla="*/ 2 w 11"/>
                  <a:gd name="T5" fmla="*/ 8 h 9"/>
                  <a:gd name="T6" fmla="*/ 3 w 11"/>
                  <a:gd name="T7" fmla="*/ 7 h 9"/>
                  <a:gd name="T8" fmla="*/ 7 w 11"/>
                  <a:gd name="T9" fmla="*/ 7 h 9"/>
                  <a:gd name="T10" fmla="*/ 6 w 11"/>
                  <a:gd name="T11" fmla="*/ 9 h 9"/>
                  <a:gd name="T12" fmla="*/ 9 w 11"/>
                  <a:gd name="T13" fmla="*/ 8 h 9"/>
                  <a:gd name="T14" fmla="*/ 10 w 11"/>
                  <a:gd name="T15" fmla="*/ 6 h 9"/>
                  <a:gd name="T16" fmla="*/ 10 w 11"/>
                  <a:gd name="T17" fmla="*/ 4 h 9"/>
                  <a:gd name="T18" fmla="*/ 9 w 11"/>
                  <a:gd name="T19" fmla="*/ 4 h 9"/>
                  <a:gd name="T20" fmla="*/ 7 w 11"/>
                  <a:gd name="T21" fmla="*/ 2 h 9"/>
                  <a:gd name="T22" fmla="*/ 7 w 11"/>
                  <a:gd name="T23" fmla="*/ 3 h 9"/>
                  <a:gd name="T24" fmla="*/ 4 w 11"/>
                  <a:gd name="T2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9">
                    <a:moveTo>
                      <a:pt x="4" y="5"/>
                    </a:moveTo>
                    <a:cubicBezTo>
                      <a:pt x="3" y="6"/>
                      <a:pt x="0" y="7"/>
                      <a:pt x="1" y="8"/>
                    </a:cubicBezTo>
                    <a:cubicBezTo>
                      <a:pt x="1" y="9"/>
                      <a:pt x="2" y="8"/>
                      <a:pt x="2" y="8"/>
                    </a:cubicBezTo>
                    <a:cubicBezTo>
                      <a:pt x="3" y="8"/>
                      <a:pt x="3" y="8"/>
                      <a:pt x="3" y="7"/>
                    </a:cubicBezTo>
                    <a:cubicBezTo>
                      <a:pt x="4" y="7"/>
                      <a:pt x="5" y="7"/>
                      <a:pt x="7" y="7"/>
                    </a:cubicBezTo>
                    <a:cubicBezTo>
                      <a:pt x="6" y="8"/>
                      <a:pt x="5" y="9"/>
                      <a:pt x="6" y="9"/>
                    </a:cubicBezTo>
                    <a:cubicBezTo>
                      <a:pt x="7" y="9"/>
                      <a:pt x="9" y="8"/>
                      <a:pt x="9" y="8"/>
                    </a:cubicBezTo>
                    <a:cubicBezTo>
                      <a:pt x="10" y="7"/>
                      <a:pt x="11" y="7"/>
                      <a:pt x="10" y="6"/>
                    </a:cubicBezTo>
                    <a:cubicBezTo>
                      <a:pt x="10" y="5"/>
                      <a:pt x="11" y="5"/>
                      <a:pt x="10" y="4"/>
                    </a:cubicBezTo>
                    <a:cubicBezTo>
                      <a:pt x="10" y="4"/>
                      <a:pt x="9" y="5"/>
                      <a:pt x="9" y="4"/>
                    </a:cubicBezTo>
                    <a:cubicBezTo>
                      <a:pt x="9" y="4"/>
                      <a:pt x="7" y="0"/>
                      <a:pt x="7" y="2"/>
                    </a:cubicBezTo>
                    <a:cubicBezTo>
                      <a:pt x="6" y="3"/>
                      <a:pt x="7" y="3"/>
                      <a:pt x="7" y="3"/>
                    </a:cubicBezTo>
                    <a:cubicBezTo>
                      <a:pt x="6" y="4"/>
                      <a:pt x="5" y="5"/>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1" name="Freeform 2259">
                <a:extLst>
                  <a:ext uri="{FF2B5EF4-FFF2-40B4-BE49-F238E27FC236}">
                    <a16:creationId xmlns:a16="http://schemas.microsoft.com/office/drawing/2014/main" id="{C894F1AC-651C-454D-ACD5-46BAD600E128}"/>
                  </a:ext>
                </a:extLst>
              </p:cNvPr>
              <p:cNvSpPr>
                <a:spLocks/>
              </p:cNvSpPr>
              <p:nvPr/>
            </p:nvSpPr>
            <p:spPr bwMode="auto">
              <a:xfrm>
                <a:off x="3743" y="1002"/>
                <a:ext cx="5" cy="2"/>
              </a:xfrm>
              <a:custGeom>
                <a:avLst/>
                <a:gdLst>
                  <a:gd name="T0" fmla="*/ 2 w 2"/>
                  <a:gd name="T1" fmla="*/ 0 h 1"/>
                  <a:gd name="T2" fmla="*/ 0 w 2"/>
                  <a:gd name="T3" fmla="*/ 0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0"/>
                      <a:pt x="0" y="0"/>
                    </a:cubicBezTo>
                    <a:cubicBezTo>
                      <a:pt x="0" y="0"/>
                      <a:pt x="0" y="0"/>
                      <a:pt x="1" y="1"/>
                    </a:cubicBezTo>
                    <a:cubicBezTo>
                      <a:pt x="1"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2" name="Freeform 2260">
                <a:extLst>
                  <a:ext uri="{FF2B5EF4-FFF2-40B4-BE49-F238E27FC236}">
                    <a16:creationId xmlns:a16="http://schemas.microsoft.com/office/drawing/2014/main" id="{B44F9F90-C3DA-48E9-95C5-5534791922FF}"/>
                  </a:ext>
                </a:extLst>
              </p:cNvPr>
              <p:cNvSpPr>
                <a:spLocks/>
              </p:cNvSpPr>
              <p:nvPr/>
            </p:nvSpPr>
            <p:spPr bwMode="auto">
              <a:xfrm>
                <a:off x="3923" y="758"/>
                <a:ext cx="16" cy="17"/>
              </a:xfrm>
              <a:custGeom>
                <a:avLst/>
                <a:gdLst>
                  <a:gd name="T0" fmla="*/ 2 w 7"/>
                  <a:gd name="T1" fmla="*/ 5 h 7"/>
                  <a:gd name="T2" fmla="*/ 5 w 7"/>
                  <a:gd name="T3" fmla="*/ 3 h 7"/>
                  <a:gd name="T4" fmla="*/ 6 w 7"/>
                  <a:gd name="T5" fmla="*/ 2 h 7"/>
                  <a:gd name="T6" fmla="*/ 7 w 7"/>
                  <a:gd name="T7" fmla="*/ 0 h 7"/>
                  <a:gd name="T8" fmla="*/ 0 w 7"/>
                  <a:gd name="T9" fmla="*/ 6 h 7"/>
                  <a:gd name="T10" fmla="*/ 1 w 7"/>
                  <a:gd name="T11" fmla="*/ 5 h 7"/>
                  <a:gd name="T12" fmla="*/ 2 w 7"/>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2" y="5"/>
                    </a:moveTo>
                    <a:cubicBezTo>
                      <a:pt x="3" y="5"/>
                      <a:pt x="4" y="4"/>
                      <a:pt x="5" y="3"/>
                    </a:cubicBezTo>
                    <a:cubicBezTo>
                      <a:pt x="5" y="3"/>
                      <a:pt x="6" y="3"/>
                      <a:pt x="6" y="2"/>
                    </a:cubicBezTo>
                    <a:cubicBezTo>
                      <a:pt x="7" y="1"/>
                      <a:pt x="7" y="1"/>
                      <a:pt x="7" y="0"/>
                    </a:cubicBezTo>
                    <a:cubicBezTo>
                      <a:pt x="4" y="1"/>
                      <a:pt x="0" y="2"/>
                      <a:pt x="0" y="6"/>
                    </a:cubicBezTo>
                    <a:cubicBezTo>
                      <a:pt x="0" y="7"/>
                      <a:pt x="1" y="6"/>
                      <a:pt x="1" y="5"/>
                    </a:cubicBezTo>
                    <a:cubicBezTo>
                      <a:pt x="1" y="4"/>
                      <a:pt x="2"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3" name="Freeform 2261">
                <a:extLst>
                  <a:ext uri="{FF2B5EF4-FFF2-40B4-BE49-F238E27FC236}">
                    <a16:creationId xmlns:a16="http://schemas.microsoft.com/office/drawing/2014/main" id="{B07ADE07-8266-4A02-9F19-4F13AA4B3413}"/>
                  </a:ext>
                </a:extLst>
              </p:cNvPr>
              <p:cNvSpPr>
                <a:spLocks/>
              </p:cNvSpPr>
              <p:nvPr/>
            </p:nvSpPr>
            <p:spPr bwMode="auto">
              <a:xfrm>
                <a:off x="3913" y="770"/>
                <a:ext cx="38" cy="28"/>
              </a:xfrm>
              <a:custGeom>
                <a:avLst/>
                <a:gdLst>
                  <a:gd name="T0" fmla="*/ 5 w 16"/>
                  <a:gd name="T1" fmla="*/ 12 h 12"/>
                  <a:gd name="T2" fmla="*/ 6 w 16"/>
                  <a:gd name="T3" fmla="*/ 11 h 12"/>
                  <a:gd name="T4" fmla="*/ 8 w 16"/>
                  <a:gd name="T5" fmla="*/ 10 h 12"/>
                  <a:gd name="T6" fmla="*/ 11 w 16"/>
                  <a:gd name="T7" fmla="*/ 8 h 12"/>
                  <a:gd name="T8" fmla="*/ 15 w 16"/>
                  <a:gd name="T9" fmla="*/ 7 h 12"/>
                  <a:gd name="T10" fmla="*/ 16 w 16"/>
                  <a:gd name="T11" fmla="*/ 2 h 12"/>
                  <a:gd name="T12" fmla="*/ 12 w 16"/>
                  <a:gd name="T13" fmla="*/ 2 h 12"/>
                  <a:gd name="T14" fmla="*/ 11 w 16"/>
                  <a:gd name="T15" fmla="*/ 4 h 12"/>
                  <a:gd name="T16" fmla="*/ 10 w 16"/>
                  <a:gd name="T17" fmla="*/ 6 h 12"/>
                  <a:gd name="T18" fmla="*/ 7 w 16"/>
                  <a:gd name="T19" fmla="*/ 8 h 12"/>
                  <a:gd name="T20" fmla="*/ 8 w 16"/>
                  <a:gd name="T21" fmla="*/ 6 h 12"/>
                  <a:gd name="T22" fmla="*/ 9 w 16"/>
                  <a:gd name="T23" fmla="*/ 5 h 12"/>
                  <a:gd name="T24" fmla="*/ 8 w 16"/>
                  <a:gd name="T25" fmla="*/ 4 h 12"/>
                  <a:gd name="T26" fmla="*/ 9 w 16"/>
                  <a:gd name="T27" fmla="*/ 0 h 12"/>
                  <a:gd name="T28" fmla="*/ 6 w 16"/>
                  <a:gd name="T29" fmla="*/ 3 h 12"/>
                  <a:gd name="T30" fmla="*/ 5 w 16"/>
                  <a:gd name="T31" fmla="*/ 4 h 12"/>
                  <a:gd name="T32" fmla="*/ 7 w 16"/>
                  <a:gd name="T33" fmla="*/ 5 h 12"/>
                  <a:gd name="T34" fmla="*/ 4 w 16"/>
                  <a:gd name="T35" fmla="*/ 4 h 12"/>
                  <a:gd name="T36" fmla="*/ 5 w 16"/>
                  <a:gd name="T37" fmla="*/ 6 h 12"/>
                  <a:gd name="T38" fmla="*/ 3 w 16"/>
                  <a:gd name="T39" fmla="*/ 7 h 12"/>
                  <a:gd name="T40" fmla="*/ 3 w 16"/>
                  <a:gd name="T41" fmla="*/ 9 h 12"/>
                  <a:gd name="T42" fmla="*/ 0 w 16"/>
                  <a:gd name="T43" fmla="*/ 11 h 12"/>
                  <a:gd name="T44" fmla="*/ 5 w 16"/>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12">
                    <a:moveTo>
                      <a:pt x="5" y="12"/>
                    </a:moveTo>
                    <a:cubicBezTo>
                      <a:pt x="6" y="12"/>
                      <a:pt x="5" y="12"/>
                      <a:pt x="6" y="11"/>
                    </a:cubicBezTo>
                    <a:cubicBezTo>
                      <a:pt x="7" y="11"/>
                      <a:pt x="8" y="10"/>
                      <a:pt x="8" y="10"/>
                    </a:cubicBezTo>
                    <a:cubicBezTo>
                      <a:pt x="9" y="9"/>
                      <a:pt x="10" y="8"/>
                      <a:pt x="11" y="8"/>
                    </a:cubicBezTo>
                    <a:cubicBezTo>
                      <a:pt x="12" y="7"/>
                      <a:pt x="13" y="7"/>
                      <a:pt x="15" y="7"/>
                    </a:cubicBezTo>
                    <a:cubicBezTo>
                      <a:pt x="15" y="7"/>
                      <a:pt x="16" y="3"/>
                      <a:pt x="16" y="2"/>
                    </a:cubicBezTo>
                    <a:cubicBezTo>
                      <a:pt x="15" y="3"/>
                      <a:pt x="13" y="1"/>
                      <a:pt x="12" y="2"/>
                    </a:cubicBezTo>
                    <a:cubicBezTo>
                      <a:pt x="11" y="3"/>
                      <a:pt x="11" y="3"/>
                      <a:pt x="11" y="4"/>
                    </a:cubicBezTo>
                    <a:cubicBezTo>
                      <a:pt x="12" y="4"/>
                      <a:pt x="11" y="5"/>
                      <a:pt x="10" y="6"/>
                    </a:cubicBezTo>
                    <a:cubicBezTo>
                      <a:pt x="9" y="6"/>
                      <a:pt x="8" y="7"/>
                      <a:pt x="7" y="8"/>
                    </a:cubicBezTo>
                    <a:cubicBezTo>
                      <a:pt x="8" y="7"/>
                      <a:pt x="7" y="6"/>
                      <a:pt x="8" y="6"/>
                    </a:cubicBezTo>
                    <a:cubicBezTo>
                      <a:pt x="8" y="6"/>
                      <a:pt x="9" y="6"/>
                      <a:pt x="9" y="5"/>
                    </a:cubicBezTo>
                    <a:cubicBezTo>
                      <a:pt x="9" y="5"/>
                      <a:pt x="8" y="4"/>
                      <a:pt x="8" y="4"/>
                    </a:cubicBezTo>
                    <a:cubicBezTo>
                      <a:pt x="9" y="3"/>
                      <a:pt x="9" y="2"/>
                      <a:pt x="9" y="0"/>
                    </a:cubicBezTo>
                    <a:cubicBezTo>
                      <a:pt x="6" y="0"/>
                      <a:pt x="6" y="0"/>
                      <a:pt x="6" y="3"/>
                    </a:cubicBezTo>
                    <a:cubicBezTo>
                      <a:pt x="5" y="3"/>
                      <a:pt x="4" y="3"/>
                      <a:pt x="5" y="4"/>
                    </a:cubicBezTo>
                    <a:cubicBezTo>
                      <a:pt x="5" y="4"/>
                      <a:pt x="6" y="4"/>
                      <a:pt x="7" y="5"/>
                    </a:cubicBezTo>
                    <a:cubicBezTo>
                      <a:pt x="6" y="5"/>
                      <a:pt x="4" y="4"/>
                      <a:pt x="4" y="4"/>
                    </a:cubicBezTo>
                    <a:cubicBezTo>
                      <a:pt x="4" y="5"/>
                      <a:pt x="5" y="6"/>
                      <a:pt x="5" y="6"/>
                    </a:cubicBezTo>
                    <a:cubicBezTo>
                      <a:pt x="4" y="6"/>
                      <a:pt x="3" y="7"/>
                      <a:pt x="3" y="7"/>
                    </a:cubicBezTo>
                    <a:cubicBezTo>
                      <a:pt x="3" y="8"/>
                      <a:pt x="3" y="8"/>
                      <a:pt x="3" y="9"/>
                    </a:cubicBezTo>
                    <a:cubicBezTo>
                      <a:pt x="2" y="10"/>
                      <a:pt x="1" y="11"/>
                      <a:pt x="0" y="11"/>
                    </a:cubicBezTo>
                    <a:cubicBezTo>
                      <a:pt x="2" y="11"/>
                      <a:pt x="3" y="11"/>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4" name="Freeform 2262">
                <a:extLst>
                  <a:ext uri="{FF2B5EF4-FFF2-40B4-BE49-F238E27FC236}">
                    <a16:creationId xmlns:a16="http://schemas.microsoft.com/office/drawing/2014/main" id="{3AA71E63-B7AE-4E28-B36A-A980616D8F11}"/>
                  </a:ext>
                </a:extLst>
              </p:cNvPr>
              <p:cNvSpPr>
                <a:spLocks/>
              </p:cNvSpPr>
              <p:nvPr/>
            </p:nvSpPr>
            <p:spPr bwMode="auto">
              <a:xfrm>
                <a:off x="3984" y="730"/>
                <a:ext cx="26" cy="14"/>
              </a:xfrm>
              <a:custGeom>
                <a:avLst/>
                <a:gdLst>
                  <a:gd name="T0" fmla="*/ 8 w 11"/>
                  <a:gd name="T1" fmla="*/ 4 h 6"/>
                  <a:gd name="T2" fmla="*/ 11 w 11"/>
                  <a:gd name="T3" fmla="*/ 3 h 6"/>
                  <a:gd name="T4" fmla="*/ 8 w 11"/>
                  <a:gd name="T5" fmla="*/ 1 h 6"/>
                  <a:gd name="T6" fmla="*/ 7 w 11"/>
                  <a:gd name="T7" fmla="*/ 1 h 6"/>
                  <a:gd name="T8" fmla="*/ 7 w 11"/>
                  <a:gd name="T9" fmla="*/ 4 h 6"/>
                  <a:gd name="T10" fmla="*/ 6 w 11"/>
                  <a:gd name="T11" fmla="*/ 2 h 6"/>
                  <a:gd name="T12" fmla="*/ 5 w 11"/>
                  <a:gd name="T13" fmla="*/ 3 h 6"/>
                  <a:gd name="T14" fmla="*/ 5 w 11"/>
                  <a:gd name="T15" fmla="*/ 3 h 6"/>
                  <a:gd name="T16" fmla="*/ 4 w 11"/>
                  <a:gd name="T17" fmla="*/ 2 h 6"/>
                  <a:gd name="T18" fmla="*/ 2 w 11"/>
                  <a:gd name="T19" fmla="*/ 4 h 6"/>
                  <a:gd name="T20" fmla="*/ 3 w 11"/>
                  <a:gd name="T21" fmla="*/ 6 h 6"/>
                  <a:gd name="T22" fmla="*/ 0 w 11"/>
                  <a:gd name="T23" fmla="*/ 6 h 6"/>
                  <a:gd name="T24" fmla="*/ 6 w 11"/>
                  <a:gd name="T25" fmla="*/ 6 h 6"/>
                  <a:gd name="T26" fmla="*/ 8 w 11"/>
                  <a:gd name="T2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6">
                    <a:moveTo>
                      <a:pt x="8" y="4"/>
                    </a:moveTo>
                    <a:cubicBezTo>
                      <a:pt x="9" y="4"/>
                      <a:pt x="11" y="3"/>
                      <a:pt x="11" y="3"/>
                    </a:cubicBezTo>
                    <a:cubicBezTo>
                      <a:pt x="11" y="2"/>
                      <a:pt x="9" y="1"/>
                      <a:pt x="8" y="1"/>
                    </a:cubicBezTo>
                    <a:cubicBezTo>
                      <a:pt x="9" y="1"/>
                      <a:pt x="8" y="0"/>
                      <a:pt x="7" y="1"/>
                    </a:cubicBezTo>
                    <a:cubicBezTo>
                      <a:pt x="7" y="1"/>
                      <a:pt x="7" y="3"/>
                      <a:pt x="7" y="4"/>
                    </a:cubicBezTo>
                    <a:cubicBezTo>
                      <a:pt x="7" y="3"/>
                      <a:pt x="7" y="2"/>
                      <a:pt x="6" y="2"/>
                    </a:cubicBezTo>
                    <a:cubicBezTo>
                      <a:pt x="5" y="2"/>
                      <a:pt x="5" y="3"/>
                      <a:pt x="5" y="3"/>
                    </a:cubicBezTo>
                    <a:cubicBezTo>
                      <a:pt x="5" y="3"/>
                      <a:pt x="5" y="3"/>
                      <a:pt x="5" y="3"/>
                    </a:cubicBezTo>
                    <a:cubicBezTo>
                      <a:pt x="4" y="3"/>
                      <a:pt x="4" y="2"/>
                      <a:pt x="4" y="2"/>
                    </a:cubicBezTo>
                    <a:cubicBezTo>
                      <a:pt x="3" y="3"/>
                      <a:pt x="3" y="4"/>
                      <a:pt x="2" y="4"/>
                    </a:cubicBezTo>
                    <a:cubicBezTo>
                      <a:pt x="2" y="5"/>
                      <a:pt x="3" y="5"/>
                      <a:pt x="3" y="6"/>
                    </a:cubicBezTo>
                    <a:cubicBezTo>
                      <a:pt x="2" y="5"/>
                      <a:pt x="1" y="5"/>
                      <a:pt x="0" y="6"/>
                    </a:cubicBezTo>
                    <a:cubicBezTo>
                      <a:pt x="2" y="6"/>
                      <a:pt x="4" y="6"/>
                      <a:pt x="6" y="6"/>
                    </a:cubicBezTo>
                    <a:cubicBezTo>
                      <a:pt x="8" y="6"/>
                      <a:pt x="8" y="6"/>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5" name="Freeform 2263">
                <a:extLst>
                  <a:ext uri="{FF2B5EF4-FFF2-40B4-BE49-F238E27FC236}">
                    <a16:creationId xmlns:a16="http://schemas.microsoft.com/office/drawing/2014/main" id="{CA8D91B6-C5DE-4F19-B84F-B6F45B0D2B9E}"/>
                  </a:ext>
                </a:extLst>
              </p:cNvPr>
              <p:cNvSpPr>
                <a:spLocks/>
              </p:cNvSpPr>
              <p:nvPr/>
            </p:nvSpPr>
            <p:spPr bwMode="auto">
              <a:xfrm>
                <a:off x="3951" y="744"/>
                <a:ext cx="36" cy="24"/>
              </a:xfrm>
              <a:custGeom>
                <a:avLst/>
                <a:gdLst>
                  <a:gd name="T0" fmla="*/ 5 w 15"/>
                  <a:gd name="T1" fmla="*/ 10 h 10"/>
                  <a:gd name="T2" fmla="*/ 6 w 15"/>
                  <a:gd name="T3" fmla="*/ 10 h 10"/>
                  <a:gd name="T4" fmla="*/ 11 w 15"/>
                  <a:gd name="T5" fmla="*/ 8 h 10"/>
                  <a:gd name="T6" fmla="*/ 14 w 15"/>
                  <a:gd name="T7" fmla="*/ 7 h 10"/>
                  <a:gd name="T8" fmla="*/ 14 w 15"/>
                  <a:gd name="T9" fmla="*/ 5 h 10"/>
                  <a:gd name="T10" fmla="*/ 14 w 15"/>
                  <a:gd name="T11" fmla="*/ 3 h 10"/>
                  <a:gd name="T12" fmla="*/ 15 w 15"/>
                  <a:gd name="T13" fmla="*/ 2 h 10"/>
                  <a:gd name="T14" fmla="*/ 12 w 15"/>
                  <a:gd name="T15" fmla="*/ 0 h 10"/>
                  <a:gd name="T16" fmla="*/ 12 w 15"/>
                  <a:gd name="T17" fmla="*/ 1 h 10"/>
                  <a:gd name="T18" fmla="*/ 11 w 15"/>
                  <a:gd name="T19" fmla="*/ 0 h 10"/>
                  <a:gd name="T20" fmla="*/ 11 w 15"/>
                  <a:gd name="T21" fmla="*/ 1 h 10"/>
                  <a:gd name="T22" fmla="*/ 9 w 15"/>
                  <a:gd name="T23" fmla="*/ 0 h 10"/>
                  <a:gd name="T24" fmla="*/ 10 w 15"/>
                  <a:gd name="T25" fmla="*/ 2 h 10"/>
                  <a:gd name="T26" fmla="*/ 9 w 15"/>
                  <a:gd name="T27" fmla="*/ 2 h 10"/>
                  <a:gd name="T28" fmla="*/ 6 w 15"/>
                  <a:gd name="T29" fmla="*/ 2 h 10"/>
                  <a:gd name="T30" fmla="*/ 9 w 15"/>
                  <a:gd name="T31" fmla="*/ 3 h 10"/>
                  <a:gd name="T32" fmla="*/ 8 w 15"/>
                  <a:gd name="T33" fmla="*/ 4 h 10"/>
                  <a:gd name="T34" fmla="*/ 3 w 15"/>
                  <a:gd name="T35" fmla="*/ 4 h 10"/>
                  <a:gd name="T36" fmla="*/ 5 w 15"/>
                  <a:gd name="T37" fmla="*/ 6 h 10"/>
                  <a:gd name="T38" fmla="*/ 4 w 15"/>
                  <a:gd name="T39" fmla="*/ 7 h 10"/>
                  <a:gd name="T40" fmla="*/ 2 w 15"/>
                  <a:gd name="T41" fmla="*/ 10 h 10"/>
                  <a:gd name="T42" fmla="*/ 5 w 15"/>
                  <a:gd name="T43" fmla="*/ 9 h 10"/>
                  <a:gd name="T44" fmla="*/ 5 w 15"/>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0">
                    <a:moveTo>
                      <a:pt x="5" y="10"/>
                    </a:moveTo>
                    <a:cubicBezTo>
                      <a:pt x="6" y="10"/>
                      <a:pt x="6" y="10"/>
                      <a:pt x="6" y="10"/>
                    </a:cubicBezTo>
                    <a:cubicBezTo>
                      <a:pt x="7" y="9"/>
                      <a:pt x="9" y="8"/>
                      <a:pt x="11" y="8"/>
                    </a:cubicBezTo>
                    <a:cubicBezTo>
                      <a:pt x="12" y="8"/>
                      <a:pt x="13" y="7"/>
                      <a:pt x="14" y="7"/>
                    </a:cubicBezTo>
                    <a:cubicBezTo>
                      <a:pt x="14" y="7"/>
                      <a:pt x="14" y="6"/>
                      <a:pt x="14" y="5"/>
                    </a:cubicBezTo>
                    <a:cubicBezTo>
                      <a:pt x="14" y="5"/>
                      <a:pt x="15" y="2"/>
                      <a:pt x="14" y="3"/>
                    </a:cubicBezTo>
                    <a:cubicBezTo>
                      <a:pt x="14" y="3"/>
                      <a:pt x="14" y="2"/>
                      <a:pt x="15" y="2"/>
                    </a:cubicBezTo>
                    <a:cubicBezTo>
                      <a:pt x="13" y="1"/>
                      <a:pt x="13" y="0"/>
                      <a:pt x="12" y="0"/>
                    </a:cubicBezTo>
                    <a:cubicBezTo>
                      <a:pt x="12" y="0"/>
                      <a:pt x="12" y="1"/>
                      <a:pt x="12" y="1"/>
                    </a:cubicBezTo>
                    <a:cubicBezTo>
                      <a:pt x="12" y="1"/>
                      <a:pt x="11" y="0"/>
                      <a:pt x="11" y="0"/>
                    </a:cubicBezTo>
                    <a:cubicBezTo>
                      <a:pt x="11" y="0"/>
                      <a:pt x="10" y="0"/>
                      <a:pt x="11" y="1"/>
                    </a:cubicBezTo>
                    <a:cubicBezTo>
                      <a:pt x="10" y="1"/>
                      <a:pt x="10" y="0"/>
                      <a:pt x="9" y="0"/>
                    </a:cubicBezTo>
                    <a:cubicBezTo>
                      <a:pt x="10" y="1"/>
                      <a:pt x="10" y="1"/>
                      <a:pt x="10" y="2"/>
                    </a:cubicBezTo>
                    <a:cubicBezTo>
                      <a:pt x="10" y="2"/>
                      <a:pt x="10" y="2"/>
                      <a:pt x="9" y="2"/>
                    </a:cubicBezTo>
                    <a:cubicBezTo>
                      <a:pt x="8" y="2"/>
                      <a:pt x="7" y="2"/>
                      <a:pt x="6" y="2"/>
                    </a:cubicBezTo>
                    <a:cubicBezTo>
                      <a:pt x="6" y="3"/>
                      <a:pt x="8" y="3"/>
                      <a:pt x="9" y="3"/>
                    </a:cubicBezTo>
                    <a:cubicBezTo>
                      <a:pt x="8" y="3"/>
                      <a:pt x="7" y="3"/>
                      <a:pt x="8" y="4"/>
                    </a:cubicBezTo>
                    <a:cubicBezTo>
                      <a:pt x="7" y="3"/>
                      <a:pt x="3" y="3"/>
                      <a:pt x="3" y="4"/>
                    </a:cubicBezTo>
                    <a:cubicBezTo>
                      <a:pt x="3" y="5"/>
                      <a:pt x="4" y="6"/>
                      <a:pt x="5" y="6"/>
                    </a:cubicBezTo>
                    <a:cubicBezTo>
                      <a:pt x="3" y="7"/>
                      <a:pt x="2" y="7"/>
                      <a:pt x="4" y="7"/>
                    </a:cubicBezTo>
                    <a:cubicBezTo>
                      <a:pt x="4" y="7"/>
                      <a:pt x="0" y="10"/>
                      <a:pt x="2" y="10"/>
                    </a:cubicBezTo>
                    <a:cubicBezTo>
                      <a:pt x="3" y="10"/>
                      <a:pt x="4" y="9"/>
                      <a:pt x="5" y="9"/>
                    </a:cubicBezTo>
                    <a:cubicBezTo>
                      <a:pt x="4" y="10"/>
                      <a:pt x="5"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6" name="Freeform 2264">
                <a:extLst>
                  <a:ext uri="{FF2B5EF4-FFF2-40B4-BE49-F238E27FC236}">
                    <a16:creationId xmlns:a16="http://schemas.microsoft.com/office/drawing/2014/main" id="{4842AEE1-2301-49E4-83F5-B635123C290F}"/>
                  </a:ext>
                </a:extLst>
              </p:cNvPr>
              <p:cNvSpPr>
                <a:spLocks/>
              </p:cNvSpPr>
              <p:nvPr/>
            </p:nvSpPr>
            <p:spPr bwMode="auto">
              <a:xfrm>
                <a:off x="3750" y="981"/>
                <a:ext cx="14" cy="2"/>
              </a:xfrm>
              <a:custGeom>
                <a:avLst/>
                <a:gdLst>
                  <a:gd name="T0" fmla="*/ 6 w 6"/>
                  <a:gd name="T1" fmla="*/ 0 h 1"/>
                  <a:gd name="T2" fmla="*/ 0 w 6"/>
                  <a:gd name="T3" fmla="*/ 1 h 1"/>
                  <a:gd name="T4" fmla="*/ 6 w 6"/>
                  <a:gd name="T5" fmla="*/ 0 h 1"/>
                </a:gdLst>
                <a:ahLst/>
                <a:cxnLst>
                  <a:cxn ang="0">
                    <a:pos x="T0" y="T1"/>
                  </a:cxn>
                  <a:cxn ang="0">
                    <a:pos x="T2" y="T3"/>
                  </a:cxn>
                  <a:cxn ang="0">
                    <a:pos x="T4" y="T5"/>
                  </a:cxn>
                </a:cxnLst>
                <a:rect l="0" t="0" r="r" b="b"/>
                <a:pathLst>
                  <a:path w="6" h="1">
                    <a:moveTo>
                      <a:pt x="6" y="0"/>
                    </a:moveTo>
                    <a:cubicBezTo>
                      <a:pt x="4" y="0"/>
                      <a:pt x="2" y="1"/>
                      <a:pt x="0" y="1"/>
                    </a:cubicBezTo>
                    <a:cubicBezTo>
                      <a:pt x="2" y="1"/>
                      <a:pt x="4"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7" name="Freeform 2265">
                <a:extLst>
                  <a:ext uri="{FF2B5EF4-FFF2-40B4-BE49-F238E27FC236}">
                    <a16:creationId xmlns:a16="http://schemas.microsoft.com/office/drawing/2014/main" id="{327A91BA-8A0C-49EA-A42A-DF5008458E95}"/>
                  </a:ext>
                </a:extLst>
              </p:cNvPr>
              <p:cNvSpPr>
                <a:spLocks/>
              </p:cNvSpPr>
              <p:nvPr/>
            </p:nvSpPr>
            <p:spPr bwMode="auto">
              <a:xfrm>
                <a:off x="4079" y="690"/>
                <a:ext cx="38" cy="16"/>
              </a:xfrm>
              <a:custGeom>
                <a:avLst/>
                <a:gdLst>
                  <a:gd name="T0" fmla="*/ 7 w 16"/>
                  <a:gd name="T1" fmla="*/ 6 h 7"/>
                  <a:gd name="T2" fmla="*/ 8 w 16"/>
                  <a:gd name="T3" fmla="*/ 6 h 7"/>
                  <a:gd name="T4" fmla="*/ 8 w 16"/>
                  <a:gd name="T5" fmla="*/ 5 h 7"/>
                  <a:gd name="T6" fmla="*/ 10 w 16"/>
                  <a:gd name="T7" fmla="*/ 6 h 7"/>
                  <a:gd name="T8" fmla="*/ 11 w 16"/>
                  <a:gd name="T9" fmla="*/ 5 h 7"/>
                  <a:gd name="T10" fmla="*/ 12 w 16"/>
                  <a:gd name="T11" fmla="*/ 5 h 7"/>
                  <a:gd name="T12" fmla="*/ 13 w 16"/>
                  <a:gd name="T13" fmla="*/ 3 h 7"/>
                  <a:gd name="T14" fmla="*/ 15 w 16"/>
                  <a:gd name="T15" fmla="*/ 2 h 7"/>
                  <a:gd name="T16" fmla="*/ 16 w 16"/>
                  <a:gd name="T17" fmla="*/ 1 h 7"/>
                  <a:gd name="T18" fmla="*/ 14 w 16"/>
                  <a:gd name="T19" fmla="*/ 1 h 7"/>
                  <a:gd name="T20" fmla="*/ 6 w 16"/>
                  <a:gd name="T21" fmla="*/ 3 h 7"/>
                  <a:gd name="T22" fmla="*/ 4 w 16"/>
                  <a:gd name="T23" fmla="*/ 3 h 7"/>
                  <a:gd name="T24" fmla="*/ 2 w 16"/>
                  <a:gd name="T25" fmla="*/ 4 h 7"/>
                  <a:gd name="T26" fmla="*/ 1 w 16"/>
                  <a:gd name="T27" fmla="*/ 3 h 7"/>
                  <a:gd name="T28" fmla="*/ 2 w 16"/>
                  <a:gd name="T29" fmla="*/ 7 h 7"/>
                  <a:gd name="T30" fmla="*/ 7 w 16"/>
                  <a:gd name="T3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7">
                    <a:moveTo>
                      <a:pt x="7" y="6"/>
                    </a:moveTo>
                    <a:cubicBezTo>
                      <a:pt x="7" y="6"/>
                      <a:pt x="8" y="5"/>
                      <a:pt x="8" y="6"/>
                    </a:cubicBezTo>
                    <a:cubicBezTo>
                      <a:pt x="8" y="6"/>
                      <a:pt x="8" y="6"/>
                      <a:pt x="8" y="5"/>
                    </a:cubicBezTo>
                    <a:cubicBezTo>
                      <a:pt x="9" y="6"/>
                      <a:pt x="10" y="6"/>
                      <a:pt x="10" y="6"/>
                    </a:cubicBezTo>
                    <a:cubicBezTo>
                      <a:pt x="11" y="6"/>
                      <a:pt x="11" y="5"/>
                      <a:pt x="11" y="5"/>
                    </a:cubicBezTo>
                    <a:cubicBezTo>
                      <a:pt x="11" y="5"/>
                      <a:pt x="12" y="5"/>
                      <a:pt x="12" y="5"/>
                    </a:cubicBezTo>
                    <a:cubicBezTo>
                      <a:pt x="12" y="4"/>
                      <a:pt x="13" y="3"/>
                      <a:pt x="13" y="3"/>
                    </a:cubicBezTo>
                    <a:cubicBezTo>
                      <a:pt x="14" y="2"/>
                      <a:pt x="14" y="3"/>
                      <a:pt x="15" y="2"/>
                    </a:cubicBezTo>
                    <a:cubicBezTo>
                      <a:pt x="15" y="2"/>
                      <a:pt x="16" y="2"/>
                      <a:pt x="16" y="1"/>
                    </a:cubicBezTo>
                    <a:cubicBezTo>
                      <a:pt x="16" y="0"/>
                      <a:pt x="15" y="0"/>
                      <a:pt x="14" y="1"/>
                    </a:cubicBezTo>
                    <a:cubicBezTo>
                      <a:pt x="12" y="4"/>
                      <a:pt x="9" y="3"/>
                      <a:pt x="6" y="3"/>
                    </a:cubicBezTo>
                    <a:cubicBezTo>
                      <a:pt x="4" y="1"/>
                      <a:pt x="5" y="4"/>
                      <a:pt x="4" y="3"/>
                    </a:cubicBezTo>
                    <a:cubicBezTo>
                      <a:pt x="3" y="2"/>
                      <a:pt x="3" y="4"/>
                      <a:pt x="2" y="4"/>
                    </a:cubicBezTo>
                    <a:cubicBezTo>
                      <a:pt x="2" y="4"/>
                      <a:pt x="1" y="3"/>
                      <a:pt x="1" y="3"/>
                    </a:cubicBezTo>
                    <a:cubicBezTo>
                      <a:pt x="0" y="4"/>
                      <a:pt x="3" y="6"/>
                      <a:pt x="2" y="7"/>
                    </a:cubicBezTo>
                    <a:cubicBezTo>
                      <a:pt x="3" y="7"/>
                      <a:pt x="6" y="6"/>
                      <a:pt x="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8" name="Freeform 2266">
                <a:extLst>
                  <a:ext uri="{FF2B5EF4-FFF2-40B4-BE49-F238E27FC236}">
                    <a16:creationId xmlns:a16="http://schemas.microsoft.com/office/drawing/2014/main" id="{C71309A2-FC40-49AF-A84E-F8644268BB1A}"/>
                  </a:ext>
                </a:extLst>
              </p:cNvPr>
              <p:cNvSpPr>
                <a:spLocks/>
              </p:cNvSpPr>
              <p:nvPr/>
            </p:nvSpPr>
            <p:spPr bwMode="auto">
              <a:xfrm>
                <a:off x="4020" y="716"/>
                <a:ext cx="16" cy="7"/>
              </a:xfrm>
              <a:custGeom>
                <a:avLst/>
                <a:gdLst>
                  <a:gd name="T0" fmla="*/ 3 w 7"/>
                  <a:gd name="T1" fmla="*/ 3 h 3"/>
                  <a:gd name="T2" fmla="*/ 5 w 7"/>
                  <a:gd name="T3" fmla="*/ 3 h 3"/>
                  <a:gd name="T4" fmla="*/ 5 w 7"/>
                  <a:gd name="T5" fmla="*/ 1 h 3"/>
                  <a:gd name="T6" fmla="*/ 0 w 7"/>
                  <a:gd name="T7" fmla="*/ 0 h 3"/>
                  <a:gd name="T8" fmla="*/ 2 w 7"/>
                  <a:gd name="T9" fmla="*/ 2 h 3"/>
                  <a:gd name="T10" fmla="*/ 3 w 7"/>
                  <a:gd name="T11" fmla="*/ 3 h 3"/>
                </a:gdLst>
                <a:ahLst/>
                <a:cxnLst>
                  <a:cxn ang="0">
                    <a:pos x="T0" y="T1"/>
                  </a:cxn>
                  <a:cxn ang="0">
                    <a:pos x="T2" y="T3"/>
                  </a:cxn>
                  <a:cxn ang="0">
                    <a:pos x="T4" y="T5"/>
                  </a:cxn>
                  <a:cxn ang="0">
                    <a:pos x="T6" y="T7"/>
                  </a:cxn>
                  <a:cxn ang="0">
                    <a:pos x="T8" y="T9"/>
                  </a:cxn>
                  <a:cxn ang="0">
                    <a:pos x="T10" y="T11"/>
                  </a:cxn>
                </a:cxnLst>
                <a:rect l="0" t="0" r="r" b="b"/>
                <a:pathLst>
                  <a:path w="7" h="3">
                    <a:moveTo>
                      <a:pt x="3" y="3"/>
                    </a:moveTo>
                    <a:cubicBezTo>
                      <a:pt x="4" y="3"/>
                      <a:pt x="4" y="3"/>
                      <a:pt x="5" y="3"/>
                    </a:cubicBezTo>
                    <a:cubicBezTo>
                      <a:pt x="7" y="2"/>
                      <a:pt x="6" y="2"/>
                      <a:pt x="5" y="1"/>
                    </a:cubicBezTo>
                    <a:cubicBezTo>
                      <a:pt x="4" y="1"/>
                      <a:pt x="2" y="0"/>
                      <a:pt x="0" y="0"/>
                    </a:cubicBezTo>
                    <a:cubicBezTo>
                      <a:pt x="1" y="1"/>
                      <a:pt x="2" y="1"/>
                      <a:pt x="2" y="2"/>
                    </a:cubicBezTo>
                    <a:cubicBezTo>
                      <a:pt x="2" y="2"/>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9" name="Freeform 2267">
                <a:extLst>
                  <a:ext uri="{FF2B5EF4-FFF2-40B4-BE49-F238E27FC236}">
                    <a16:creationId xmlns:a16="http://schemas.microsoft.com/office/drawing/2014/main" id="{1205D378-61BC-4CB0-B1F1-A114001801C1}"/>
                  </a:ext>
                </a:extLst>
              </p:cNvPr>
              <p:cNvSpPr>
                <a:spLocks/>
              </p:cNvSpPr>
              <p:nvPr/>
            </p:nvSpPr>
            <p:spPr bwMode="auto">
              <a:xfrm>
                <a:off x="3677" y="1122"/>
                <a:ext cx="7" cy="5"/>
              </a:xfrm>
              <a:custGeom>
                <a:avLst/>
                <a:gdLst>
                  <a:gd name="T0" fmla="*/ 1 w 3"/>
                  <a:gd name="T1" fmla="*/ 2 h 2"/>
                  <a:gd name="T2" fmla="*/ 3 w 3"/>
                  <a:gd name="T3" fmla="*/ 2 h 2"/>
                  <a:gd name="T4" fmla="*/ 0 w 3"/>
                  <a:gd name="T5" fmla="*/ 0 h 2"/>
                  <a:gd name="T6" fmla="*/ 1 w 3"/>
                  <a:gd name="T7" fmla="*/ 2 h 2"/>
                </a:gdLst>
                <a:ahLst/>
                <a:cxnLst>
                  <a:cxn ang="0">
                    <a:pos x="T0" y="T1"/>
                  </a:cxn>
                  <a:cxn ang="0">
                    <a:pos x="T2" y="T3"/>
                  </a:cxn>
                  <a:cxn ang="0">
                    <a:pos x="T4" y="T5"/>
                  </a:cxn>
                  <a:cxn ang="0">
                    <a:pos x="T6" y="T7"/>
                  </a:cxn>
                </a:cxnLst>
                <a:rect l="0" t="0" r="r" b="b"/>
                <a:pathLst>
                  <a:path w="3" h="2">
                    <a:moveTo>
                      <a:pt x="1" y="2"/>
                    </a:moveTo>
                    <a:cubicBezTo>
                      <a:pt x="1" y="2"/>
                      <a:pt x="2" y="2"/>
                      <a:pt x="3" y="2"/>
                    </a:cubicBezTo>
                    <a:cubicBezTo>
                      <a:pt x="3" y="1"/>
                      <a:pt x="2" y="0"/>
                      <a:pt x="0" y="0"/>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0" name="Freeform 2268">
                <a:extLst>
                  <a:ext uri="{FF2B5EF4-FFF2-40B4-BE49-F238E27FC236}">
                    <a16:creationId xmlns:a16="http://schemas.microsoft.com/office/drawing/2014/main" id="{060D1B89-395C-4CE4-B9DC-37F6D566D97B}"/>
                  </a:ext>
                </a:extLst>
              </p:cNvPr>
              <p:cNvSpPr>
                <a:spLocks/>
              </p:cNvSpPr>
              <p:nvPr/>
            </p:nvSpPr>
            <p:spPr bwMode="auto">
              <a:xfrm>
                <a:off x="3738" y="990"/>
                <a:ext cx="10" cy="5"/>
              </a:xfrm>
              <a:custGeom>
                <a:avLst/>
                <a:gdLst>
                  <a:gd name="T0" fmla="*/ 2 w 4"/>
                  <a:gd name="T1" fmla="*/ 1 h 2"/>
                  <a:gd name="T2" fmla="*/ 0 w 4"/>
                  <a:gd name="T3" fmla="*/ 1 h 2"/>
                  <a:gd name="T4" fmla="*/ 4 w 4"/>
                  <a:gd name="T5" fmla="*/ 2 h 2"/>
                  <a:gd name="T6" fmla="*/ 2 w 4"/>
                  <a:gd name="T7" fmla="*/ 1 h 2"/>
                </a:gdLst>
                <a:ahLst/>
                <a:cxnLst>
                  <a:cxn ang="0">
                    <a:pos x="T0" y="T1"/>
                  </a:cxn>
                  <a:cxn ang="0">
                    <a:pos x="T2" y="T3"/>
                  </a:cxn>
                  <a:cxn ang="0">
                    <a:pos x="T4" y="T5"/>
                  </a:cxn>
                  <a:cxn ang="0">
                    <a:pos x="T6" y="T7"/>
                  </a:cxn>
                </a:cxnLst>
                <a:rect l="0" t="0" r="r" b="b"/>
                <a:pathLst>
                  <a:path w="4" h="2">
                    <a:moveTo>
                      <a:pt x="2" y="1"/>
                    </a:moveTo>
                    <a:cubicBezTo>
                      <a:pt x="1" y="1"/>
                      <a:pt x="1" y="1"/>
                      <a:pt x="0" y="1"/>
                    </a:cubicBezTo>
                    <a:cubicBezTo>
                      <a:pt x="1" y="2"/>
                      <a:pt x="3" y="2"/>
                      <a:pt x="4" y="2"/>
                    </a:cubicBezTo>
                    <a:cubicBezTo>
                      <a:pt x="3" y="1"/>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1" name="Freeform 2269">
                <a:extLst>
                  <a:ext uri="{FF2B5EF4-FFF2-40B4-BE49-F238E27FC236}">
                    <a16:creationId xmlns:a16="http://schemas.microsoft.com/office/drawing/2014/main" id="{D1EC40EF-8E4D-4E2E-BBD8-B78108E2724E}"/>
                  </a:ext>
                </a:extLst>
              </p:cNvPr>
              <p:cNvSpPr>
                <a:spLocks/>
              </p:cNvSpPr>
              <p:nvPr/>
            </p:nvSpPr>
            <p:spPr bwMode="auto">
              <a:xfrm>
                <a:off x="3750" y="983"/>
                <a:ext cx="24" cy="12"/>
              </a:xfrm>
              <a:custGeom>
                <a:avLst/>
                <a:gdLst>
                  <a:gd name="T0" fmla="*/ 7 w 10"/>
                  <a:gd name="T1" fmla="*/ 3 h 5"/>
                  <a:gd name="T2" fmla="*/ 8 w 10"/>
                  <a:gd name="T3" fmla="*/ 1 h 5"/>
                  <a:gd name="T4" fmla="*/ 0 w 10"/>
                  <a:gd name="T5" fmla="*/ 3 h 5"/>
                  <a:gd name="T6" fmla="*/ 7 w 10"/>
                  <a:gd name="T7" fmla="*/ 3 h 5"/>
                </a:gdLst>
                <a:ahLst/>
                <a:cxnLst>
                  <a:cxn ang="0">
                    <a:pos x="T0" y="T1"/>
                  </a:cxn>
                  <a:cxn ang="0">
                    <a:pos x="T2" y="T3"/>
                  </a:cxn>
                  <a:cxn ang="0">
                    <a:pos x="T4" y="T5"/>
                  </a:cxn>
                  <a:cxn ang="0">
                    <a:pos x="T6" y="T7"/>
                  </a:cxn>
                </a:cxnLst>
                <a:rect l="0" t="0" r="r" b="b"/>
                <a:pathLst>
                  <a:path w="10" h="5">
                    <a:moveTo>
                      <a:pt x="7" y="3"/>
                    </a:moveTo>
                    <a:cubicBezTo>
                      <a:pt x="8" y="3"/>
                      <a:pt x="10" y="2"/>
                      <a:pt x="8" y="1"/>
                    </a:cubicBezTo>
                    <a:cubicBezTo>
                      <a:pt x="6" y="0"/>
                      <a:pt x="2" y="3"/>
                      <a:pt x="0" y="3"/>
                    </a:cubicBezTo>
                    <a:cubicBezTo>
                      <a:pt x="2" y="5"/>
                      <a:pt x="5" y="4"/>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2" name="Freeform 2270">
                <a:extLst>
                  <a:ext uri="{FF2B5EF4-FFF2-40B4-BE49-F238E27FC236}">
                    <a16:creationId xmlns:a16="http://schemas.microsoft.com/office/drawing/2014/main" id="{0F1CD321-5EF4-4A0D-948F-332989457BA4}"/>
                  </a:ext>
                </a:extLst>
              </p:cNvPr>
              <p:cNvSpPr>
                <a:spLocks/>
              </p:cNvSpPr>
              <p:nvPr/>
            </p:nvSpPr>
            <p:spPr bwMode="auto">
              <a:xfrm>
                <a:off x="4088" y="711"/>
                <a:ext cx="17" cy="7"/>
              </a:xfrm>
              <a:custGeom>
                <a:avLst/>
                <a:gdLst>
                  <a:gd name="T0" fmla="*/ 7 w 7"/>
                  <a:gd name="T1" fmla="*/ 1 h 3"/>
                  <a:gd name="T2" fmla="*/ 2 w 7"/>
                  <a:gd name="T3" fmla="*/ 0 h 3"/>
                  <a:gd name="T4" fmla="*/ 2 w 7"/>
                  <a:gd name="T5" fmla="*/ 0 h 3"/>
                  <a:gd name="T6" fmla="*/ 0 w 7"/>
                  <a:gd name="T7" fmla="*/ 0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6" y="0"/>
                      <a:pt x="3" y="0"/>
                      <a:pt x="2" y="0"/>
                    </a:cubicBezTo>
                    <a:cubicBezTo>
                      <a:pt x="2" y="0"/>
                      <a:pt x="2" y="0"/>
                      <a:pt x="2" y="0"/>
                    </a:cubicBezTo>
                    <a:cubicBezTo>
                      <a:pt x="1" y="0"/>
                      <a:pt x="1" y="0"/>
                      <a:pt x="0" y="0"/>
                    </a:cubicBezTo>
                    <a:cubicBezTo>
                      <a:pt x="2" y="1"/>
                      <a:pt x="5" y="3"/>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3" name="Freeform 2271">
                <a:extLst>
                  <a:ext uri="{FF2B5EF4-FFF2-40B4-BE49-F238E27FC236}">
                    <a16:creationId xmlns:a16="http://schemas.microsoft.com/office/drawing/2014/main" id="{5387A8B3-6565-4895-B3C0-C514907B1F0E}"/>
                  </a:ext>
                </a:extLst>
              </p:cNvPr>
              <p:cNvSpPr>
                <a:spLocks/>
              </p:cNvSpPr>
              <p:nvPr/>
            </p:nvSpPr>
            <p:spPr bwMode="auto">
              <a:xfrm>
                <a:off x="3691" y="1030"/>
                <a:ext cx="5" cy="10"/>
              </a:xfrm>
              <a:custGeom>
                <a:avLst/>
                <a:gdLst>
                  <a:gd name="T0" fmla="*/ 2 w 2"/>
                  <a:gd name="T1" fmla="*/ 1 h 4"/>
                  <a:gd name="T2" fmla="*/ 0 w 2"/>
                  <a:gd name="T3" fmla="*/ 1 h 4"/>
                  <a:gd name="T4" fmla="*/ 0 w 2"/>
                  <a:gd name="T5" fmla="*/ 3 h 4"/>
                  <a:gd name="T6" fmla="*/ 2 w 2"/>
                  <a:gd name="T7" fmla="*/ 1 h 4"/>
                </a:gdLst>
                <a:ahLst/>
                <a:cxnLst>
                  <a:cxn ang="0">
                    <a:pos x="T0" y="T1"/>
                  </a:cxn>
                  <a:cxn ang="0">
                    <a:pos x="T2" y="T3"/>
                  </a:cxn>
                  <a:cxn ang="0">
                    <a:pos x="T4" y="T5"/>
                  </a:cxn>
                  <a:cxn ang="0">
                    <a:pos x="T6" y="T7"/>
                  </a:cxn>
                </a:cxnLst>
                <a:rect l="0" t="0" r="r" b="b"/>
                <a:pathLst>
                  <a:path w="2" h="4">
                    <a:moveTo>
                      <a:pt x="2" y="1"/>
                    </a:moveTo>
                    <a:cubicBezTo>
                      <a:pt x="1" y="1"/>
                      <a:pt x="0" y="0"/>
                      <a:pt x="0" y="1"/>
                    </a:cubicBezTo>
                    <a:cubicBezTo>
                      <a:pt x="0" y="1"/>
                      <a:pt x="0" y="3"/>
                      <a:pt x="0" y="3"/>
                    </a:cubicBezTo>
                    <a:cubicBezTo>
                      <a:pt x="1" y="4"/>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4" name="Freeform 2272">
                <a:extLst>
                  <a:ext uri="{FF2B5EF4-FFF2-40B4-BE49-F238E27FC236}">
                    <a16:creationId xmlns:a16="http://schemas.microsoft.com/office/drawing/2014/main" id="{31BFCFDC-10BE-4651-BA0A-41A8EA5CF9BB}"/>
                  </a:ext>
                </a:extLst>
              </p:cNvPr>
              <p:cNvSpPr>
                <a:spLocks/>
              </p:cNvSpPr>
              <p:nvPr/>
            </p:nvSpPr>
            <p:spPr bwMode="auto">
              <a:xfrm>
                <a:off x="3875" y="796"/>
                <a:ext cx="17" cy="12"/>
              </a:xfrm>
              <a:custGeom>
                <a:avLst/>
                <a:gdLst>
                  <a:gd name="T0" fmla="*/ 1 w 7"/>
                  <a:gd name="T1" fmla="*/ 5 h 5"/>
                  <a:gd name="T2" fmla="*/ 3 w 7"/>
                  <a:gd name="T3" fmla="*/ 4 h 5"/>
                  <a:gd name="T4" fmla="*/ 7 w 7"/>
                  <a:gd name="T5" fmla="*/ 2 h 5"/>
                  <a:gd name="T6" fmla="*/ 6 w 7"/>
                  <a:gd name="T7" fmla="*/ 1 h 5"/>
                  <a:gd name="T8" fmla="*/ 6 w 7"/>
                  <a:gd name="T9" fmla="*/ 1 h 5"/>
                  <a:gd name="T10" fmla="*/ 4 w 7"/>
                  <a:gd name="T11" fmla="*/ 0 h 5"/>
                  <a:gd name="T12" fmla="*/ 3 w 7"/>
                  <a:gd name="T13" fmla="*/ 1 h 5"/>
                  <a:gd name="T14" fmla="*/ 1 w 7"/>
                  <a:gd name="T15" fmla="*/ 2 h 5"/>
                  <a:gd name="T16" fmla="*/ 2 w 7"/>
                  <a:gd name="T17" fmla="*/ 2 h 5"/>
                  <a:gd name="T18" fmla="*/ 1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1" y="5"/>
                    </a:moveTo>
                    <a:cubicBezTo>
                      <a:pt x="1" y="4"/>
                      <a:pt x="2" y="5"/>
                      <a:pt x="3" y="4"/>
                    </a:cubicBezTo>
                    <a:cubicBezTo>
                      <a:pt x="5" y="4"/>
                      <a:pt x="6" y="3"/>
                      <a:pt x="7" y="2"/>
                    </a:cubicBezTo>
                    <a:cubicBezTo>
                      <a:pt x="7" y="1"/>
                      <a:pt x="6" y="1"/>
                      <a:pt x="6" y="1"/>
                    </a:cubicBezTo>
                    <a:cubicBezTo>
                      <a:pt x="6" y="2"/>
                      <a:pt x="5" y="1"/>
                      <a:pt x="6" y="1"/>
                    </a:cubicBezTo>
                    <a:cubicBezTo>
                      <a:pt x="5" y="0"/>
                      <a:pt x="5" y="0"/>
                      <a:pt x="4" y="0"/>
                    </a:cubicBezTo>
                    <a:cubicBezTo>
                      <a:pt x="4" y="0"/>
                      <a:pt x="4" y="1"/>
                      <a:pt x="3" y="1"/>
                    </a:cubicBezTo>
                    <a:cubicBezTo>
                      <a:pt x="3" y="1"/>
                      <a:pt x="2" y="1"/>
                      <a:pt x="1" y="2"/>
                    </a:cubicBezTo>
                    <a:cubicBezTo>
                      <a:pt x="1" y="2"/>
                      <a:pt x="2" y="2"/>
                      <a:pt x="2" y="2"/>
                    </a:cubicBezTo>
                    <a:cubicBezTo>
                      <a:pt x="0" y="3"/>
                      <a:pt x="0"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5" name="Freeform 2273">
                <a:extLst>
                  <a:ext uri="{FF2B5EF4-FFF2-40B4-BE49-F238E27FC236}">
                    <a16:creationId xmlns:a16="http://schemas.microsoft.com/office/drawing/2014/main" id="{11B413D8-D039-4CA8-94A4-398E06A8BD0D}"/>
                  </a:ext>
                </a:extLst>
              </p:cNvPr>
              <p:cNvSpPr>
                <a:spLocks/>
              </p:cNvSpPr>
              <p:nvPr/>
            </p:nvSpPr>
            <p:spPr bwMode="auto">
              <a:xfrm>
                <a:off x="3859" y="805"/>
                <a:ext cx="9" cy="12"/>
              </a:xfrm>
              <a:custGeom>
                <a:avLst/>
                <a:gdLst>
                  <a:gd name="T0" fmla="*/ 4 w 4"/>
                  <a:gd name="T1" fmla="*/ 0 h 5"/>
                  <a:gd name="T2" fmla="*/ 2 w 4"/>
                  <a:gd name="T3" fmla="*/ 2 h 5"/>
                  <a:gd name="T4" fmla="*/ 0 w 4"/>
                  <a:gd name="T5" fmla="*/ 5 h 5"/>
                  <a:gd name="T6" fmla="*/ 4 w 4"/>
                  <a:gd name="T7" fmla="*/ 3 h 5"/>
                  <a:gd name="T8" fmla="*/ 3 w 4"/>
                  <a:gd name="T9" fmla="*/ 2 h 5"/>
                  <a:gd name="T10" fmla="*/ 4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4" y="0"/>
                    </a:moveTo>
                    <a:cubicBezTo>
                      <a:pt x="3" y="0"/>
                      <a:pt x="2" y="1"/>
                      <a:pt x="2" y="2"/>
                    </a:cubicBezTo>
                    <a:cubicBezTo>
                      <a:pt x="1" y="3"/>
                      <a:pt x="0" y="4"/>
                      <a:pt x="0" y="5"/>
                    </a:cubicBezTo>
                    <a:cubicBezTo>
                      <a:pt x="1" y="5"/>
                      <a:pt x="3" y="4"/>
                      <a:pt x="4" y="3"/>
                    </a:cubicBezTo>
                    <a:cubicBezTo>
                      <a:pt x="4" y="2"/>
                      <a:pt x="3" y="2"/>
                      <a:pt x="3" y="2"/>
                    </a:cubicBezTo>
                    <a:cubicBezTo>
                      <a:pt x="3" y="1"/>
                      <a:pt x="4"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6" name="Freeform 2274">
                <a:extLst>
                  <a:ext uri="{FF2B5EF4-FFF2-40B4-BE49-F238E27FC236}">
                    <a16:creationId xmlns:a16="http://schemas.microsoft.com/office/drawing/2014/main" id="{E4247467-ADD7-422B-8E3B-7A08CCEC1EC8}"/>
                  </a:ext>
                </a:extLst>
              </p:cNvPr>
              <p:cNvSpPr>
                <a:spLocks/>
              </p:cNvSpPr>
              <p:nvPr/>
            </p:nvSpPr>
            <p:spPr bwMode="auto">
              <a:xfrm>
                <a:off x="4119" y="692"/>
                <a:ext cx="12" cy="12"/>
              </a:xfrm>
              <a:custGeom>
                <a:avLst/>
                <a:gdLst>
                  <a:gd name="T0" fmla="*/ 1 w 5"/>
                  <a:gd name="T1" fmla="*/ 4 h 5"/>
                  <a:gd name="T2" fmla="*/ 5 w 5"/>
                  <a:gd name="T3" fmla="*/ 4 h 5"/>
                  <a:gd name="T4" fmla="*/ 3 w 5"/>
                  <a:gd name="T5" fmla="*/ 1 h 5"/>
                  <a:gd name="T6" fmla="*/ 1 w 5"/>
                  <a:gd name="T7" fmla="*/ 4 h 5"/>
                </a:gdLst>
                <a:ahLst/>
                <a:cxnLst>
                  <a:cxn ang="0">
                    <a:pos x="T0" y="T1"/>
                  </a:cxn>
                  <a:cxn ang="0">
                    <a:pos x="T2" y="T3"/>
                  </a:cxn>
                  <a:cxn ang="0">
                    <a:pos x="T4" y="T5"/>
                  </a:cxn>
                  <a:cxn ang="0">
                    <a:pos x="T6" y="T7"/>
                  </a:cxn>
                </a:cxnLst>
                <a:rect l="0" t="0" r="r" b="b"/>
                <a:pathLst>
                  <a:path w="5" h="5">
                    <a:moveTo>
                      <a:pt x="1" y="4"/>
                    </a:moveTo>
                    <a:cubicBezTo>
                      <a:pt x="2" y="4"/>
                      <a:pt x="4" y="5"/>
                      <a:pt x="5" y="4"/>
                    </a:cubicBezTo>
                    <a:cubicBezTo>
                      <a:pt x="5" y="2"/>
                      <a:pt x="5" y="2"/>
                      <a:pt x="3" y="1"/>
                    </a:cubicBezTo>
                    <a:cubicBezTo>
                      <a:pt x="0" y="0"/>
                      <a:pt x="1" y="2"/>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7" name="Freeform 2275">
                <a:extLst>
                  <a:ext uri="{FF2B5EF4-FFF2-40B4-BE49-F238E27FC236}">
                    <a16:creationId xmlns:a16="http://schemas.microsoft.com/office/drawing/2014/main" id="{5F162225-3328-40BF-9722-5DD46A1FA8AD}"/>
                  </a:ext>
                </a:extLst>
              </p:cNvPr>
              <p:cNvSpPr>
                <a:spLocks/>
              </p:cNvSpPr>
              <p:nvPr/>
            </p:nvSpPr>
            <p:spPr bwMode="auto">
              <a:xfrm>
                <a:off x="3679" y="1115"/>
                <a:ext cx="10" cy="10"/>
              </a:xfrm>
              <a:custGeom>
                <a:avLst/>
                <a:gdLst>
                  <a:gd name="T0" fmla="*/ 3 w 4"/>
                  <a:gd name="T1" fmla="*/ 1 h 4"/>
                  <a:gd name="T2" fmla="*/ 0 w 4"/>
                  <a:gd name="T3" fmla="*/ 2 h 4"/>
                  <a:gd name="T4" fmla="*/ 2 w 4"/>
                  <a:gd name="T5" fmla="*/ 4 h 4"/>
                  <a:gd name="T6" fmla="*/ 3 w 4"/>
                  <a:gd name="T7" fmla="*/ 1 h 4"/>
                </a:gdLst>
                <a:ahLst/>
                <a:cxnLst>
                  <a:cxn ang="0">
                    <a:pos x="T0" y="T1"/>
                  </a:cxn>
                  <a:cxn ang="0">
                    <a:pos x="T2" y="T3"/>
                  </a:cxn>
                  <a:cxn ang="0">
                    <a:pos x="T4" y="T5"/>
                  </a:cxn>
                  <a:cxn ang="0">
                    <a:pos x="T6" y="T7"/>
                  </a:cxn>
                </a:cxnLst>
                <a:rect l="0" t="0" r="r" b="b"/>
                <a:pathLst>
                  <a:path w="4" h="4">
                    <a:moveTo>
                      <a:pt x="3" y="1"/>
                    </a:moveTo>
                    <a:cubicBezTo>
                      <a:pt x="2" y="0"/>
                      <a:pt x="1" y="2"/>
                      <a:pt x="0" y="2"/>
                    </a:cubicBezTo>
                    <a:cubicBezTo>
                      <a:pt x="1" y="3"/>
                      <a:pt x="1" y="3"/>
                      <a:pt x="2" y="4"/>
                    </a:cubicBezTo>
                    <a:cubicBezTo>
                      <a:pt x="3" y="4"/>
                      <a:pt x="4"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8" name="Freeform 2276">
                <a:extLst>
                  <a:ext uri="{FF2B5EF4-FFF2-40B4-BE49-F238E27FC236}">
                    <a16:creationId xmlns:a16="http://schemas.microsoft.com/office/drawing/2014/main" id="{AA80553C-3DB5-4137-8421-168DFB49BA49}"/>
                  </a:ext>
                </a:extLst>
              </p:cNvPr>
              <p:cNvSpPr>
                <a:spLocks/>
              </p:cNvSpPr>
              <p:nvPr/>
            </p:nvSpPr>
            <p:spPr bwMode="auto">
              <a:xfrm>
                <a:off x="4159" y="675"/>
                <a:ext cx="21" cy="10"/>
              </a:xfrm>
              <a:custGeom>
                <a:avLst/>
                <a:gdLst>
                  <a:gd name="T0" fmla="*/ 2 w 9"/>
                  <a:gd name="T1" fmla="*/ 3 h 4"/>
                  <a:gd name="T2" fmla="*/ 4 w 9"/>
                  <a:gd name="T3" fmla="*/ 4 h 4"/>
                  <a:gd name="T4" fmla="*/ 9 w 9"/>
                  <a:gd name="T5" fmla="*/ 3 h 4"/>
                  <a:gd name="T6" fmla="*/ 8 w 9"/>
                  <a:gd name="T7" fmla="*/ 1 h 4"/>
                  <a:gd name="T8" fmla="*/ 7 w 9"/>
                  <a:gd name="T9" fmla="*/ 1 h 4"/>
                  <a:gd name="T10" fmla="*/ 5 w 9"/>
                  <a:gd name="T11" fmla="*/ 0 h 4"/>
                  <a:gd name="T12" fmla="*/ 3 w 9"/>
                  <a:gd name="T13" fmla="*/ 0 h 4"/>
                  <a:gd name="T14" fmla="*/ 5 w 9"/>
                  <a:gd name="T15" fmla="*/ 2 h 4"/>
                  <a:gd name="T16" fmla="*/ 1 w 9"/>
                  <a:gd name="T17" fmla="*/ 2 h 4"/>
                  <a:gd name="T18" fmla="*/ 2 w 9"/>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2" y="3"/>
                    </a:moveTo>
                    <a:cubicBezTo>
                      <a:pt x="2" y="4"/>
                      <a:pt x="3" y="4"/>
                      <a:pt x="4" y="4"/>
                    </a:cubicBezTo>
                    <a:cubicBezTo>
                      <a:pt x="5" y="4"/>
                      <a:pt x="7" y="3"/>
                      <a:pt x="9" y="3"/>
                    </a:cubicBezTo>
                    <a:cubicBezTo>
                      <a:pt x="7" y="3"/>
                      <a:pt x="9" y="1"/>
                      <a:pt x="8" y="1"/>
                    </a:cubicBezTo>
                    <a:cubicBezTo>
                      <a:pt x="8" y="1"/>
                      <a:pt x="7" y="1"/>
                      <a:pt x="7" y="1"/>
                    </a:cubicBezTo>
                    <a:cubicBezTo>
                      <a:pt x="6" y="1"/>
                      <a:pt x="6" y="0"/>
                      <a:pt x="5" y="0"/>
                    </a:cubicBezTo>
                    <a:cubicBezTo>
                      <a:pt x="4" y="0"/>
                      <a:pt x="4" y="0"/>
                      <a:pt x="3" y="0"/>
                    </a:cubicBezTo>
                    <a:cubicBezTo>
                      <a:pt x="4" y="1"/>
                      <a:pt x="4" y="1"/>
                      <a:pt x="5" y="2"/>
                    </a:cubicBezTo>
                    <a:cubicBezTo>
                      <a:pt x="4" y="2"/>
                      <a:pt x="2" y="1"/>
                      <a:pt x="1" y="2"/>
                    </a:cubicBezTo>
                    <a:cubicBezTo>
                      <a:pt x="0" y="3"/>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9" name="Freeform 2277">
                <a:extLst>
                  <a:ext uri="{FF2B5EF4-FFF2-40B4-BE49-F238E27FC236}">
                    <a16:creationId xmlns:a16="http://schemas.microsoft.com/office/drawing/2014/main" id="{3DBCFE93-1867-4740-8C3F-9E0469E5D941}"/>
                  </a:ext>
                </a:extLst>
              </p:cNvPr>
              <p:cNvSpPr>
                <a:spLocks/>
              </p:cNvSpPr>
              <p:nvPr/>
            </p:nvSpPr>
            <p:spPr bwMode="auto">
              <a:xfrm>
                <a:off x="3750" y="997"/>
                <a:ext cx="7" cy="5"/>
              </a:xfrm>
              <a:custGeom>
                <a:avLst/>
                <a:gdLst>
                  <a:gd name="T0" fmla="*/ 3 w 3"/>
                  <a:gd name="T1" fmla="*/ 2 h 2"/>
                  <a:gd name="T2" fmla="*/ 1 w 3"/>
                  <a:gd name="T3" fmla="*/ 2 h 2"/>
                  <a:gd name="T4" fmla="*/ 0 w 3"/>
                  <a:gd name="T5" fmla="*/ 2 h 2"/>
                  <a:gd name="T6" fmla="*/ 3 w 3"/>
                  <a:gd name="T7" fmla="*/ 2 h 2"/>
                </a:gdLst>
                <a:ahLst/>
                <a:cxnLst>
                  <a:cxn ang="0">
                    <a:pos x="T0" y="T1"/>
                  </a:cxn>
                  <a:cxn ang="0">
                    <a:pos x="T2" y="T3"/>
                  </a:cxn>
                  <a:cxn ang="0">
                    <a:pos x="T4" y="T5"/>
                  </a:cxn>
                  <a:cxn ang="0">
                    <a:pos x="T6" y="T7"/>
                  </a:cxn>
                </a:cxnLst>
                <a:rect l="0" t="0" r="r" b="b"/>
                <a:pathLst>
                  <a:path w="3" h="2">
                    <a:moveTo>
                      <a:pt x="3" y="2"/>
                    </a:moveTo>
                    <a:cubicBezTo>
                      <a:pt x="2" y="1"/>
                      <a:pt x="1" y="0"/>
                      <a:pt x="1" y="2"/>
                    </a:cubicBezTo>
                    <a:cubicBezTo>
                      <a:pt x="1" y="1"/>
                      <a:pt x="0" y="1"/>
                      <a:pt x="0" y="2"/>
                    </a:cubicBezTo>
                    <a:cubicBezTo>
                      <a:pt x="1" y="2"/>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0" name="Freeform 2278">
                <a:extLst>
                  <a:ext uri="{FF2B5EF4-FFF2-40B4-BE49-F238E27FC236}">
                    <a16:creationId xmlns:a16="http://schemas.microsoft.com/office/drawing/2014/main" id="{A39B90CF-20E2-4863-9BB3-257B824E18CE}"/>
                  </a:ext>
                </a:extLst>
              </p:cNvPr>
              <p:cNvSpPr>
                <a:spLocks/>
              </p:cNvSpPr>
              <p:nvPr/>
            </p:nvSpPr>
            <p:spPr bwMode="auto">
              <a:xfrm>
                <a:off x="3672" y="1127"/>
                <a:ext cx="5" cy="7"/>
              </a:xfrm>
              <a:custGeom>
                <a:avLst/>
                <a:gdLst>
                  <a:gd name="T0" fmla="*/ 1 w 2"/>
                  <a:gd name="T1" fmla="*/ 0 h 3"/>
                  <a:gd name="T2" fmla="*/ 1 w 2"/>
                  <a:gd name="T3" fmla="*/ 1 h 3"/>
                  <a:gd name="T4" fmla="*/ 1 w 2"/>
                  <a:gd name="T5" fmla="*/ 0 h 3"/>
                  <a:gd name="T6" fmla="*/ 1 w 2"/>
                  <a:gd name="T7" fmla="*/ 3 h 3"/>
                  <a:gd name="T8" fmla="*/ 2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1" y="0"/>
                      <a:pt x="0" y="0"/>
                      <a:pt x="1" y="1"/>
                    </a:cubicBezTo>
                    <a:cubicBezTo>
                      <a:pt x="1" y="1"/>
                      <a:pt x="1" y="0"/>
                      <a:pt x="1" y="0"/>
                    </a:cubicBezTo>
                    <a:cubicBezTo>
                      <a:pt x="1" y="1"/>
                      <a:pt x="1" y="2"/>
                      <a:pt x="1" y="3"/>
                    </a:cubicBezTo>
                    <a:cubicBezTo>
                      <a:pt x="2" y="3"/>
                      <a:pt x="2" y="2"/>
                      <a:pt x="2"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1" name="Freeform 2279">
                <a:extLst>
                  <a:ext uri="{FF2B5EF4-FFF2-40B4-BE49-F238E27FC236}">
                    <a16:creationId xmlns:a16="http://schemas.microsoft.com/office/drawing/2014/main" id="{27929418-A965-4B25-8972-8847CC24A26A}"/>
                  </a:ext>
                </a:extLst>
              </p:cNvPr>
              <p:cNvSpPr>
                <a:spLocks/>
              </p:cNvSpPr>
              <p:nvPr/>
            </p:nvSpPr>
            <p:spPr bwMode="auto">
              <a:xfrm>
                <a:off x="3892" y="791"/>
                <a:ext cx="24" cy="12"/>
              </a:xfrm>
              <a:custGeom>
                <a:avLst/>
                <a:gdLst>
                  <a:gd name="T0" fmla="*/ 1 w 10"/>
                  <a:gd name="T1" fmla="*/ 5 h 5"/>
                  <a:gd name="T2" fmla="*/ 10 w 10"/>
                  <a:gd name="T3" fmla="*/ 0 h 5"/>
                  <a:gd name="T4" fmla="*/ 4 w 10"/>
                  <a:gd name="T5" fmla="*/ 1 h 5"/>
                  <a:gd name="T6" fmla="*/ 2 w 10"/>
                  <a:gd name="T7" fmla="*/ 3 h 5"/>
                  <a:gd name="T8" fmla="*/ 2 w 10"/>
                  <a:gd name="T9" fmla="*/ 3 h 5"/>
                  <a:gd name="T10" fmla="*/ 1 w 10"/>
                  <a:gd name="T11" fmla="*/ 4 h 5"/>
                  <a:gd name="T12" fmla="*/ 1 w 1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1" y="5"/>
                    </a:moveTo>
                    <a:cubicBezTo>
                      <a:pt x="4" y="4"/>
                      <a:pt x="8" y="3"/>
                      <a:pt x="10" y="0"/>
                    </a:cubicBezTo>
                    <a:cubicBezTo>
                      <a:pt x="8" y="0"/>
                      <a:pt x="6" y="1"/>
                      <a:pt x="4" y="1"/>
                    </a:cubicBezTo>
                    <a:cubicBezTo>
                      <a:pt x="3" y="2"/>
                      <a:pt x="3" y="2"/>
                      <a:pt x="2" y="3"/>
                    </a:cubicBezTo>
                    <a:cubicBezTo>
                      <a:pt x="2" y="3"/>
                      <a:pt x="1" y="2"/>
                      <a:pt x="2" y="3"/>
                    </a:cubicBezTo>
                    <a:cubicBezTo>
                      <a:pt x="1" y="4"/>
                      <a:pt x="1" y="3"/>
                      <a:pt x="1" y="4"/>
                    </a:cubicBezTo>
                    <a:cubicBezTo>
                      <a:pt x="1" y="4"/>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2" name="Freeform 2280">
                <a:extLst>
                  <a:ext uri="{FF2B5EF4-FFF2-40B4-BE49-F238E27FC236}">
                    <a16:creationId xmlns:a16="http://schemas.microsoft.com/office/drawing/2014/main" id="{89A90ED8-1A78-424D-961C-2BFA72C8F582}"/>
                  </a:ext>
                </a:extLst>
              </p:cNvPr>
              <p:cNvSpPr>
                <a:spLocks/>
              </p:cNvSpPr>
              <p:nvPr/>
            </p:nvSpPr>
            <p:spPr bwMode="auto">
              <a:xfrm>
                <a:off x="3641" y="1399"/>
                <a:ext cx="10" cy="5"/>
              </a:xfrm>
              <a:custGeom>
                <a:avLst/>
                <a:gdLst>
                  <a:gd name="T0" fmla="*/ 4 w 4"/>
                  <a:gd name="T1" fmla="*/ 1 h 2"/>
                  <a:gd name="T2" fmla="*/ 0 w 4"/>
                  <a:gd name="T3" fmla="*/ 0 h 2"/>
                  <a:gd name="T4" fmla="*/ 2 w 4"/>
                  <a:gd name="T5" fmla="*/ 0 h 2"/>
                  <a:gd name="T6" fmla="*/ 4 w 4"/>
                  <a:gd name="T7" fmla="*/ 1 h 2"/>
                </a:gdLst>
                <a:ahLst/>
                <a:cxnLst>
                  <a:cxn ang="0">
                    <a:pos x="T0" y="T1"/>
                  </a:cxn>
                  <a:cxn ang="0">
                    <a:pos x="T2" y="T3"/>
                  </a:cxn>
                  <a:cxn ang="0">
                    <a:pos x="T4" y="T5"/>
                  </a:cxn>
                  <a:cxn ang="0">
                    <a:pos x="T6" y="T7"/>
                  </a:cxn>
                </a:cxnLst>
                <a:rect l="0" t="0" r="r" b="b"/>
                <a:pathLst>
                  <a:path w="4" h="2">
                    <a:moveTo>
                      <a:pt x="4" y="1"/>
                    </a:moveTo>
                    <a:cubicBezTo>
                      <a:pt x="3" y="0"/>
                      <a:pt x="2" y="0"/>
                      <a:pt x="0" y="0"/>
                    </a:cubicBezTo>
                    <a:cubicBezTo>
                      <a:pt x="1" y="0"/>
                      <a:pt x="2" y="0"/>
                      <a:pt x="2" y="0"/>
                    </a:cubicBezTo>
                    <a:cubicBezTo>
                      <a:pt x="3" y="1"/>
                      <a:pt x="3"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3" name="Freeform 2281">
                <a:extLst>
                  <a:ext uri="{FF2B5EF4-FFF2-40B4-BE49-F238E27FC236}">
                    <a16:creationId xmlns:a16="http://schemas.microsoft.com/office/drawing/2014/main" id="{BF58CF98-FB39-49F5-AE3F-35EFFCB5A082}"/>
                  </a:ext>
                </a:extLst>
              </p:cNvPr>
              <p:cNvSpPr>
                <a:spLocks/>
              </p:cNvSpPr>
              <p:nvPr/>
            </p:nvSpPr>
            <p:spPr bwMode="auto">
              <a:xfrm>
                <a:off x="3696" y="1345"/>
                <a:ext cx="7" cy="0"/>
              </a:xfrm>
              <a:custGeom>
                <a:avLst/>
                <a:gdLst>
                  <a:gd name="T0" fmla="*/ 0 w 3"/>
                  <a:gd name="T1" fmla="*/ 2 w 3"/>
                  <a:gd name="T2" fmla="*/ 3 w 3"/>
                  <a:gd name="T3" fmla="*/ 0 w 3"/>
                </a:gdLst>
                <a:ahLst/>
                <a:cxnLst>
                  <a:cxn ang="0">
                    <a:pos x="T0" y="0"/>
                  </a:cxn>
                  <a:cxn ang="0">
                    <a:pos x="T1" y="0"/>
                  </a:cxn>
                  <a:cxn ang="0">
                    <a:pos x="T2" y="0"/>
                  </a:cxn>
                  <a:cxn ang="0">
                    <a:pos x="T3" y="0"/>
                  </a:cxn>
                </a:cxnLst>
                <a:rect l="0" t="0" r="r" b="b"/>
                <a:pathLst>
                  <a:path w="3">
                    <a:moveTo>
                      <a:pt x="0" y="0"/>
                    </a:moveTo>
                    <a:cubicBezTo>
                      <a:pt x="1" y="0"/>
                      <a:pt x="1" y="0"/>
                      <a:pt x="2" y="0"/>
                    </a:cubicBezTo>
                    <a:cubicBezTo>
                      <a:pt x="2" y="0"/>
                      <a:pt x="2" y="0"/>
                      <a:pt x="3" y="0"/>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4" name="Freeform 2282">
                <a:extLst>
                  <a:ext uri="{FF2B5EF4-FFF2-40B4-BE49-F238E27FC236}">
                    <a16:creationId xmlns:a16="http://schemas.microsoft.com/office/drawing/2014/main" id="{F581604D-637F-4AEE-A76C-192FE0770634}"/>
                  </a:ext>
                </a:extLst>
              </p:cNvPr>
              <p:cNvSpPr>
                <a:spLocks/>
              </p:cNvSpPr>
              <p:nvPr/>
            </p:nvSpPr>
            <p:spPr bwMode="auto">
              <a:xfrm>
                <a:off x="3674" y="1347"/>
                <a:ext cx="5" cy="3"/>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0"/>
                      <a:pt x="0" y="1"/>
                    </a:cubicBezTo>
                    <a:cubicBezTo>
                      <a:pt x="1" y="1"/>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5" name="Freeform 2283">
                <a:extLst>
                  <a:ext uri="{FF2B5EF4-FFF2-40B4-BE49-F238E27FC236}">
                    <a16:creationId xmlns:a16="http://schemas.microsoft.com/office/drawing/2014/main" id="{698B02EB-61A6-442E-B120-D2603737C58A}"/>
                  </a:ext>
                </a:extLst>
              </p:cNvPr>
              <p:cNvSpPr>
                <a:spLocks/>
              </p:cNvSpPr>
              <p:nvPr/>
            </p:nvSpPr>
            <p:spPr bwMode="auto">
              <a:xfrm>
                <a:off x="3663" y="1354"/>
                <a:ext cx="7" cy="7"/>
              </a:xfrm>
              <a:custGeom>
                <a:avLst/>
                <a:gdLst>
                  <a:gd name="T0" fmla="*/ 2 w 3"/>
                  <a:gd name="T1" fmla="*/ 0 h 3"/>
                  <a:gd name="T2" fmla="*/ 0 w 3"/>
                  <a:gd name="T3" fmla="*/ 3 h 3"/>
                  <a:gd name="T4" fmla="*/ 2 w 3"/>
                  <a:gd name="T5" fmla="*/ 0 h 3"/>
                </a:gdLst>
                <a:ahLst/>
                <a:cxnLst>
                  <a:cxn ang="0">
                    <a:pos x="T0" y="T1"/>
                  </a:cxn>
                  <a:cxn ang="0">
                    <a:pos x="T2" y="T3"/>
                  </a:cxn>
                  <a:cxn ang="0">
                    <a:pos x="T4" y="T5"/>
                  </a:cxn>
                </a:cxnLst>
                <a:rect l="0" t="0" r="r" b="b"/>
                <a:pathLst>
                  <a:path w="3" h="3">
                    <a:moveTo>
                      <a:pt x="2" y="0"/>
                    </a:moveTo>
                    <a:cubicBezTo>
                      <a:pt x="1" y="1"/>
                      <a:pt x="1" y="2"/>
                      <a:pt x="0" y="3"/>
                    </a:cubicBezTo>
                    <a:cubicBezTo>
                      <a:pt x="1" y="2"/>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6" name="Freeform 2284">
                <a:extLst>
                  <a:ext uri="{FF2B5EF4-FFF2-40B4-BE49-F238E27FC236}">
                    <a16:creationId xmlns:a16="http://schemas.microsoft.com/office/drawing/2014/main" id="{E9D1B588-CA72-42FB-B994-23851E4DC747}"/>
                  </a:ext>
                </a:extLst>
              </p:cNvPr>
              <p:cNvSpPr>
                <a:spLocks/>
              </p:cNvSpPr>
              <p:nvPr/>
            </p:nvSpPr>
            <p:spPr bwMode="auto">
              <a:xfrm>
                <a:off x="3639" y="1402"/>
                <a:ext cx="9" cy="4"/>
              </a:xfrm>
              <a:custGeom>
                <a:avLst/>
                <a:gdLst>
                  <a:gd name="T0" fmla="*/ 2 w 4"/>
                  <a:gd name="T1" fmla="*/ 1 h 2"/>
                  <a:gd name="T2" fmla="*/ 3 w 4"/>
                  <a:gd name="T3" fmla="*/ 1 h 2"/>
                  <a:gd name="T4" fmla="*/ 1 w 4"/>
                  <a:gd name="T5" fmla="*/ 0 h 2"/>
                  <a:gd name="T6" fmla="*/ 0 w 4"/>
                  <a:gd name="T7" fmla="*/ 1 h 2"/>
                  <a:gd name="T8" fmla="*/ 2 w 4"/>
                  <a:gd name="T9" fmla="*/ 1 h 2"/>
                </a:gdLst>
                <a:ahLst/>
                <a:cxnLst>
                  <a:cxn ang="0">
                    <a:pos x="T0" y="T1"/>
                  </a:cxn>
                  <a:cxn ang="0">
                    <a:pos x="T2" y="T3"/>
                  </a:cxn>
                  <a:cxn ang="0">
                    <a:pos x="T4" y="T5"/>
                  </a:cxn>
                  <a:cxn ang="0">
                    <a:pos x="T6" y="T7"/>
                  </a:cxn>
                  <a:cxn ang="0">
                    <a:pos x="T8" y="T9"/>
                  </a:cxn>
                </a:cxnLst>
                <a:rect l="0" t="0" r="r" b="b"/>
                <a:pathLst>
                  <a:path w="4" h="2">
                    <a:moveTo>
                      <a:pt x="2" y="1"/>
                    </a:moveTo>
                    <a:cubicBezTo>
                      <a:pt x="2" y="1"/>
                      <a:pt x="4" y="2"/>
                      <a:pt x="3" y="1"/>
                    </a:cubicBezTo>
                    <a:cubicBezTo>
                      <a:pt x="3" y="0"/>
                      <a:pt x="2" y="0"/>
                      <a:pt x="1" y="0"/>
                    </a:cubicBezTo>
                    <a:cubicBezTo>
                      <a:pt x="1" y="0"/>
                      <a:pt x="0" y="0"/>
                      <a:pt x="0" y="1"/>
                    </a:cubicBezTo>
                    <a:cubicBezTo>
                      <a:pt x="0"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7" name="Freeform 2285">
                <a:extLst>
                  <a:ext uri="{FF2B5EF4-FFF2-40B4-BE49-F238E27FC236}">
                    <a16:creationId xmlns:a16="http://schemas.microsoft.com/office/drawing/2014/main" id="{B2B45A27-1021-42F9-A0B3-B7A19EACA7A2}"/>
                  </a:ext>
                </a:extLst>
              </p:cNvPr>
              <p:cNvSpPr>
                <a:spLocks/>
              </p:cNvSpPr>
              <p:nvPr/>
            </p:nvSpPr>
            <p:spPr bwMode="auto">
              <a:xfrm>
                <a:off x="7592" y="3122"/>
                <a:ext cx="5" cy="4"/>
              </a:xfrm>
              <a:custGeom>
                <a:avLst/>
                <a:gdLst>
                  <a:gd name="T0" fmla="*/ 0 w 2"/>
                  <a:gd name="T1" fmla="*/ 1 h 2"/>
                  <a:gd name="T2" fmla="*/ 1 w 2"/>
                  <a:gd name="T3" fmla="*/ 2 h 2"/>
                  <a:gd name="T4" fmla="*/ 1 w 2"/>
                  <a:gd name="T5" fmla="*/ 1 h 2"/>
                  <a:gd name="T6" fmla="*/ 1 w 2"/>
                  <a:gd name="T7" fmla="*/ 0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0" y="2"/>
                      <a:pt x="0" y="2"/>
                      <a:pt x="1" y="2"/>
                    </a:cubicBezTo>
                    <a:cubicBezTo>
                      <a:pt x="1" y="2"/>
                      <a:pt x="1" y="2"/>
                      <a:pt x="1" y="1"/>
                    </a:cubicBezTo>
                    <a:cubicBezTo>
                      <a:pt x="2" y="1"/>
                      <a:pt x="2" y="0"/>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8" name="Freeform 2286">
                <a:extLst>
                  <a:ext uri="{FF2B5EF4-FFF2-40B4-BE49-F238E27FC236}">
                    <a16:creationId xmlns:a16="http://schemas.microsoft.com/office/drawing/2014/main" id="{5379A2B4-AE71-4FBD-BC01-BD650DAB21BC}"/>
                  </a:ext>
                </a:extLst>
              </p:cNvPr>
              <p:cNvSpPr>
                <a:spLocks/>
              </p:cNvSpPr>
              <p:nvPr/>
            </p:nvSpPr>
            <p:spPr bwMode="auto">
              <a:xfrm>
                <a:off x="7597" y="3110"/>
                <a:ext cx="2"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9" name="Freeform 2287">
                <a:extLst>
                  <a:ext uri="{FF2B5EF4-FFF2-40B4-BE49-F238E27FC236}">
                    <a16:creationId xmlns:a16="http://schemas.microsoft.com/office/drawing/2014/main" id="{36263E13-866C-4966-BED4-981195D5E013}"/>
                  </a:ext>
                </a:extLst>
              </p:cNvPr>
              <p:cNvSpPr>
                <a:spLocks/>
              </p:cNvSpPr>
              <p:nvPr/>
            </p:nvSpPr>
            <p:spPr bwMode="auto">
              <a:xfrm>
                <a:off x="7585" y="3157"/>
                <a:ext cx="2" cy="5"/>
              </a:xfrm>
              <a:custGeom>
                <a:avLst/>
                <a:gdLst>
                  <a:gd name="T0" fmla="*/ 0 w 1"/>
                  <a:gd name="T1" fmla="*/ 0 h 2"/>
                  <a:gd name="T2" fmla="*/ 0 w 1"/>
                  <a:gd name="T3" fmla="*/ 0 h 2"/>
                  <a:gd name="T4" fmla="*/ 0 w 1"/>
                  <a:gd name="T5" fmla="*/ 0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0"/>
                      <a:pt x="0" y="0"/>
                      <a:pt x="0" y="0"/>
                    </a:cubicBezTo>
                    <a:cubicBezTo>
                      <a:pt x="0" y="1"/>
                      <a:pt x="0" y="1"/>
                      <a:pt x="1"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0" name="Freeform 2288">
                <a:extLst>
                  <a:ext uri="{FF2B5EF4-FFF2-40B4-BE49-F238E27FC236}">
                    <a16:creationId xmlns:a16="http://schemas.microsoft.com/office/drawing/2014/main" id="{15E260BA-B775-4CB9-A2A5-BCD9F73A304E}"/>
                  </a:ext>
                </a:extLst>
              </p:cNvPr>
              <p:cNvSpPr>
                <a:spLocks/>
              </p:cNvSpPr>
              <p:nvPr/>
            </p:nvSpPr>
            <p:spPr bwMode="auto">
              <a:xfrm>
                <a:off x="7609" y="3179"/>
                <a:ext cx="9" cy="9"/>
              </a:xfrm>
              <a:custGeom>
                <a:avLst/>
                <a:gdLst>
                  <a:gd name="T0" fmla="*/ 2 w 4"/>
                  <a:gd name="T1" fmla="*/ 2 h 4"/>
                  <a:gd name="T2" fmla="*/ 2 w 4"/>
                  <a:gd name="T3" fmla="*/ 2 h 4"/>
                  <a:gd name="T4" fmla="*/ 1 w 4"/>
                  <a:gd name="T5" fmla="*/ 2 h 4"/>
                  <a:gd name="T6" fmla="*/ 1 w 4"/>
                  <a:gd name="T7" fmla="*/ 2 h 4"/>
                  <a:gd name="T8" fmla="*/ 0 w 4"/>
                  <a:gd name="T9" fmla="*/ 2 h 4"/>
                  <a:gd name="T10" fmla="*/ 0 w 4"/>
                  <a:gd name="T11" fmla="*/ 3 h 4"/>
                  <a:gd name="T12" fmla="*/ 4 w 4"/>
                  <a:gd name="T13" fmla="*/ 4 h 4"/>
                  <a:gd name="T14" fmla="*/ 2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2"/>
                    </a:moveTo>
                    <a:cubicBezTo>
                      <a:pt x="2" y="2"/>
                      <a:pt x="2" y="2"/>
                      <a:pt x="2" y="2"/>
                    </a:cubicBezTo>
                    <a:cubicBezTo>
                      <a:pt x="2" y="2"/>
                      <a:pt x="1" y="2"/>
                      <a:pt x="1" y="2"/>
                    </a:cubicBezTo>
                    <a:cubicBezTo>
                      <a:pt x="1" y="2"/>
                      <a:pt x="1" y="2"/>
                      <a:pt x="1" y="2"/>
                    </a:cubicBezTo>
                    <a:cubicBezTo>
                      <a:pt x="1" y="2"/>
                      <a:pt x="0" y="0"/>
                      <a:pt x="0" y="2"/>
                    </a:cubicBezTo>
                    <a:cubicBezTo>
                      <a:pt x="0" y="3"/>
                      <a:pt x="0" y="3"/>
                      <a:pt x="0" y="3"/>
                    </a:cubicBezTo>
                    <a:cubicBezTo>
                      <a:pt x="1" y="4"/>
                      <a:pt x="3" y="4"/>
                      <a:pt x="4" y="4"/>
                    </a:cubicBezTo>
                    <a:cubicBezTo>
                      <a:pt x="3" y="4"/>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1" name="Freeform 2289">
                <a:extLst>
                  <a:ext uri="{FF2B5EF4-FFF2-40B4-BE49-F238E27FC236}">
                    <a16:creationId xmlns:a16="http://schemas.microsoft.com/office/drawing/2014/main" id="{54D3E897-4D48-467E-934B-A5858F47E537}"/>
                  </a:ext>
                </a:extLst>
              </p:cNvPr>
              <p:cNvSpPr>
                <a:spLocks/>
              </p:cNvSpPr>
              <p:nvPr/>
            </p:nvSpPr>
            <p:spPr bwMode="auto">
              <a:xfrm>
                <a:off x="7571" y="3131"/>
                <a:ext cx="16" cy="26"/>
              </a:xfrm>
              <a:custGeom>
                <a:avLst/>
                <a:gdLst>
                  <a:gd name="T0" fmla="*/ 2 w 7"/>
                  <a:gd name="T1" fmla="*/ 4 h 11"/>
                  <a:gd name="T2" fmla="*/ 2 w 7"/>
                  <a:gd name="T3" fmla="*/ 3 h 11"/>
                  <a:gd name="T4" fmla="*/ 1 w 7"/>
                  <a:gd name="T5" fmla="*/ 2 h 11"/>
                  <a:gd name="T6" fmla="*/ 0 w 7"/>
                  <a:gd name="T7" fmla="*/ 3 h 11"/>
                  <a:gd name="T8" fmla="*/ 0 w 7"/>
                  <a:gd name="T9" fmla="*/ 3 h 11"/>
                  <a:gd name="T10" fmla="*/ 1 w 7"/>
                  <a:gd name="T11" fmla="*/ 6 h 11"/>
                  <a:gd name="T12" fmla="*/ 1 w 7"/>
                  <a:gd name="T13" fmla="*/ 8 h 11"/>
                  <a:gd name="T14" fmla="*/ 2 w 7"/>
                  <a:gd name="T15" fmla="*/ 11 h 11"/>
                  <a:gd name="T16" fmla="*/ 4 w 7"/>
                  <a:gd name="T17" fmla="*/ 11 h 11"/>
                  <a:gd name="T18" fmla="*/ 5 w 7"/>
                  <a:gd name="T19" fmla="*/ 11 h 11"/>
                  <a:gd name="T20" fmla="*/ 7 w 7"/>
                  <a:gd name="T21" fmla="*/ 10 h 11"/>
                  <a:gd name="T22" fmla="*/ 7 w 7"/>
                  <a:gd name="T23" fmla="*/ 10 h 11"/>
                  <a:gd name="T24" fmla="*/ 7 w 7"/>
                  <a:gd name="T25" fmla="*/ 10 h 11"/>
                  <a:gd name="T26" fmla="*/ 6 w 7"/>
                  <a:gd name="T27" fmla="*/ 6 h 11"/>
                  <a:gd name="T28" fmla="*/ 5 w 7"/>
                  <a:gd name="T29" fmla="*/ 4 h 11"/>
                  <a:gd name="T30" fmla="*/ 4 w 7"/>
                  <a:gd name="T31" fmla="*/ 6 h 11"/>
                  <a:gd name="T32" fmla="*/ 2 w 7"/>
                  <a:gd name="T33" fmla="*/ 6 h 11"/>
                  <a:gd name="T34" fmla="*/ 2 w 7"/>
                  <a:gd name="T3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1">
                    <a:moveTo>
                      <a:pt x="2" y="4"/>
                    </a:moveTo>
                    <a:cubicBezTo>
                      <a:pt x="2" y="3"/>
                      <a:pt x="2" y="3"/>
                      <a:pt x="2" y="3"/>
                    </a:cubicBezTo>
                    <a:cubicBezTo>
                      <a:pt x="1" y="3"/>
                      <a:pt x="1" y="2"/>
                      <a:pt x="1" y="2"/>
                    </a:cubicBezTo>
                    <a:cubicBezTo>
                      <a:pt x="1" y="1"/>
                      <a:pt x="0" y="0"/>
                      <a:pt x="0" y="3"/>
                    </a:cubicBezTo>
                    <a:cubicBezTo>
                      <a:pt x="0" y="3"/>
                      <a:pt x="0" y="3"/>
                      <a:pt x="0" y="3"/>
                    </a:cubicBezTo>
                    <a:cubicBezTo>
                      <a:pt x="0" y="4"/>
                      <a:pt x="0" y="5"/>
                      <a:pt x="1" y="6"/>
                    </a:cubicBezTo>
                    <a:cubicBezTo>
                      <a:pt x="1" y="7"/>
                      <a:pt x="1" y="7"/>
                      <a:pt x="1" y="8"/>
                    </a:cubicBezTo>
                    <a:cubicBezTo>
                      <a:pt x="1" y="9"/>
                      <a:pt x="2" y="11"/>
                      <a:pt x="2" y="11"/>
                    </a:cubicBezTo>
                    <a:cubicBezTo>
                      <a:pt x="3" y="11"/>
                      <a:pt x="4" y="11"/>
                      <a:pt x="4" y="11"/>
                    </a:cubicBezTo>
                    <a:cubicBezTo>
                      <a:pt x="5" y="11"/>
                      <a:pt x="5" y="11"/>
                      <a:pt x="5" y="11"/>
                    </a:cubicBezTo>
                    <a:cubicBezTo>
                      <a:pt x="6" y="11"/>
                      <a:pt x="6" y="10"/>
                      <a:pt x="7" y="10"/>
                    </a:cubicBezTo>
                    <a:cubicBezTo>
                      <a:pt x="7" y="10"/>
                      <a:pt x="7" y="10"/>
                      <a:pt x="7" y="10"/>
                    </a:cubicBezTo>
                    <a:cubicBezTo>
                      <a:pt x="7" y="10"/>
                      <a:pt x="7" y="10"/>
                      <a:pt x="7" y="10"/>
                    </a:cubicBezTo>
                    <a:cubicBezTo>
                      <a:pt x="7" y="9"/>
                      <a:pt x="6" y="7"/>
                      <a:pt x="6" y="6"/>
                    </a:cubicBezTo>
                    <a:cubicBezTo>
                      <a:pt x="5" y="5"/>
                      <a:pt x="5" y="5"/>
                      <a:pt x="5" y="4"/>
                    </a:cubicBezTo>
                    <a:cubicBezTo>
                      <a:pt x="4" y="3"/>
                      <a:pt x="5" y="6"/>
                      <a:pt x="4" y="6"/>
                    </a:cubicBezTo>
                    <a:cubicBezTo>
                      <a:pt x="3" y="7"/>
                      <a:pt x="3" y="6"/>
                      <a:pt x="2" y="6"/>
                    </a:cubicBezTo>
                    <a:cubicBezTo>
                      <a:pt x="2" y="5"/>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2" name="Freeform 2290">
                <a:extLst>
                  <a:ext uri="{FF2B5EF4-FFF2-40B4-BE49-F238E27FC236}">
                    <a16:creationId xmlns:a16="http://schemas.microsoft.com/office/drawing/2014/main" id="{D3810D3E-40F2-4D84-97BB-81B652B7DB81}"/>
                  </a:ext>
                </a:extLst>
              </p:cNvPr>
              <p:cNvSpPr>
                <a:spLocks/>
              </p:cNvSpPr>
              <p:nvPr/>
            </p:nvSpPr>
            <p:spPr bwMode="auto">
              <a:xfrm>
                <a:off x="7585" y="3162"/>
                <a:ext cx="17" cy="19"/>
              </a:xfrm>
              <a:custGeom>
                <a:avLst/>
                <a:gdLst>
                  <a:gd name="T0" fmla="*/ 1 w 7"/>
                  <a:gd name="T1" fmla="*/ 2 h 8"/>
                  <a:gd name="T2" fmla="*/ 1 w 7"/>
                  <a:gd name="T3" fmla="*/ 4 h 8"/>
                  <a:gd name="T4" fmla="*/ 2 w 7"/>
                  <a:gd name="T5" fmla="*/ 4 h 8"/>
                  <a:gd name="T6" fmla="*/ 3 w 7"/>
                  <a:gd name="T7" fmla="*/ 5 h 8"/>
                  <a:gd name="T8" fmla="*/ 4 w 7"/>
                  <a:gd name="T9" fmla="*/ 8 h 8"/>
                  <a:gd name="T10" fmla="*/ 6 w 7"/>
                  <a:gd name="T11" fmla="*/ 7 h 8"/>
                  <a:gd name="T12" fmla="*/ 7 w 7"/>
                  <a:gd name="T13" fmla="*/ 7 h 8"/>
                  <a:gd name="T14" fmla="*/ 7 w 7"/>
                  <a:gd name="T15" fmla="*/ 7 h 8"/>
                  <a:gd name="T16" fmla="*/ 5 w 7"/>
                  <a:gd name="T17" fmla="*/ 5 h 8"/>
                  <a:gd name="T18" fmla="*/ 3 w 7"/>
                  <a:gd name="T19" fmla="*/ 3 h 8"/>
                  <a:gd name="T20" fmla="*/ 3 w 7"/>
                  <a:gd name="T21" fmla="*/ 4 h 8"/>
                  <a:gd name="T22" fmla="*/ 2 w 7"/>
                  <a:gd name="T23" fmla="*/ 2 h 8"/>
                  <a:gd name="T24" fmla="*/ 1 w 7"/>
                  <a:gd name="T2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1" y="2"/>
                    </a:moveTo>
                    <a:cubicBezTo>
                      <a:pt x="0" y="3"/>
                      <a:pt x="0" y="3"/>
                      <a:pt x="1" y="4"/>
                    </a:cubicBezTo>
                    <a:cubicBezTo>
                      <a:pt x="2" y="4"/>
                      <a:pt x="2" y="3"/>
                      <a:pt x="2" y="4"/>
                    </a:cubicBezTo>
                    <a:cubicBezTo>
                      <a:pt x="3" y="5"/>
                      <a:pt x="2" y="5"/>
                      <a:pt x="3" y="5"/>
                    </a:cubicBezTo>
                    <a:cubicBezTo>
                      <a:pt x="3" y="6"/>
                      <a:pt x="3" y="8"/>
                      <a:pt x="4" y="8"/>
                    </a:cubicBezTo>
                    <a:cubicBezTo>
                      <a:pt x="4" y="8"/>
                      <a:pt x="5" y="8"/>
                      <a:pt x="6" y="7"/>
                    </a:cubicBezTo>
                    <a:cubicBezTo>
                      <a:pt x="6" y="7"/>
                      <a:pt x="7" y="7"/>
                      <a:pt x="7" y="7"/>
                    </a:cubicBezTo>
                    <a:cubicBezTo>
                      <a:pt x="7" y="7"/>
                      <a:pt x="7" y="7"/>
                      <a:pt x="7" y="7"/>
                    </a:cubicBezTo>
                    <a:cubicBezTo>
                      <a:pt x="7" y="6"/>
                      <a:pt x="6" y="5"/>
                      <a:pt x="5" y="5"/>
                    </a:cubicBezTo>
                    <a:cubicBezTo>
                      <a:pt x="4" y="4"/>
                      <a:pt x="4" y="4"/>
                      <a:pt x="3" y="3"/>
                    </a:cubicBezTo>
                    <a:cubicBezTo>
                      <a:pt x="3" y="3"/>
                      <a:pt x="3" y="4"/>
                      <a:pt x="3" y="4"/>
                    </a:cubicBezTo>
                    <a:cubicBezTo>
                      <a:pt x="3" y="3"/>
                      <a:pt x="3" y="2"/>
                      <a:pt x="2" y="2"/>
                    </a:cubicBezTo>
                    <a:cubicBezTo>
                      <a:pt x="1" y="0"/>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3" name="Freeform 2291">
                <a:extLst>
                  <a:ext uri="{FF2B5EF4-FFF2-40B4-BE49-F238E27FC236}">
                    <a16:creationId xmlns:a16="http://schemas.microsoft.com/office/drawing/2014/main" id="{0C861F90-20BA-4F4D-972E-1939DD75ED1E}"/>
                  </a:ext>
                </a:extLst>
              </p:cNvPr>
              <p:cNvSpPr>
                <a:spLocks/>
              </p:cNvSpPr>
              <p:nvPr/>
            </p:nvSpPr>
            <p:spPr bwMode="auto">
              <a:xfrm>
                <a:off x="7592" y="3110"/>
                <a:ext cx="2" cy="7"/>
              </a:xfrm>
              <a:custGeom>
                <a:avLst/>
                <a:gdLst>
                  <a:gd name="T0" fmla="*/ 1 w 1"/>
                  <a:gd name="T1" fmla="*/ 0 h 3"/>
                  <a:gd name="T2" fmla="*/ 0 w 1"/>
                  <a:gd name="T3" fmla="*/ 1 h 3"/>
                  <a:gd name="T4" fmla="*/ 0 w 1"/>
                  <a:gd name="T5" fmla="*/ 3 h 3"/>
                  <a:gd name="T6" fmla="*/ 1 w 1"/>
                  <a:gd name="T7" fmla="*/ 1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1" y="1"/>
                      <a:pt x="1" y="1"/>
                      <a:pt x="0" y="1"/>
                    </a:cubicBezTo>
                    <a:cubicBezTo>
                      <a:pt x="0" y="2"/>
                      <a:pt x="0" y="2"/>
                      <a:pt x="0" y="3"/>
                    </a:cubicBezTo>
                    <a:cubicBezTo>
                      <a:pt x="1" y="2"/>
                      <a:pt x="1" y="2"/>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4" name="Freeform 2292">
                <a:extLst>
                  <a:ext uri="{FF2B5EF4-FFF2-40B4-BE49-F238E27FC236}">
                    <a16:creationId xmlns:a16="http://schemas.microsoft.com/office/drawing/2014/main" id="{C60FB8B4-A847-40A2-A486-B1084836677B}"/>
                  </a:ext>
                </a:extLst>
              </p:cNvPr>
              <p:cNvSpPr>
                <a:spLocks/>
              </p:cNvSpPr>
              <p:nvPr/>
            </p:nvSpPr>
            <p:spPr bwMode="auto">
              <a:xfrm>
                <a:off x="7599" y="3150"/>
                <a:ext cx="7" cy="5"/>
              </a:xfrm>
              <a:custGeom>
                <a:avLst/>
                <a:gdLst>
                  <a:gd name="T0" fmla="*/ 0 w 3"/>
                  <a:gd name="T1" fmla="*/ 1 h 2"/>
                  <a:gd name="T2" fmla="*/ 0 w 3"/>
                  <a:gd name="T3" fmla="*/ 1 h 2"/>
                  <a:gd name="T4" fmla="*/ 1 w 3"/>
                  <a:gd name="T5" fmla="*/ 2 h 2"/>
                  <a:gd name="T6" fmla="*/ 1 w 3"/>
                  <a:gd name="T7" fmla="*/ 2 h 2"/>
                  <a:gd name="T8" fmla="*/ 1 w 3"/>
                  <a:gd name="T9" fmla="*/ 2 h 2"/>
                  <a:gd name="T10" fmla="*/ 3 w 3"/>
                  <a:gd name="T11" fmla="*/ 0 h 2"/>
                  <a:gd name="T12" fmla="*/ 3 w 3"/>
                  <a:gd name="T13" fmla="*/ 0 h 2"/>
                  <a:gd name="T14" fmla="*/ 0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1"/>
                    </a:moveTo>
                    <a:cubicBezTo>
                      <a:pt x="0" y="1"/>
                      <a:pt x="0" y="1"/>
                      <a:pt x="0" y="1"/>
                    </a:cubicBezTo>
                    <a:cubicBezTo>
                      <a:pt x="0" y="1"/>
                      <a:pt x="0" y="2"/>
                      <a:pt x="1" y="2"/>
                    </a:cubicBezTo>
                    <a:cubicBezTo>
                      <a:pt x="1" y="2"/>
                      <a:pt x="1" y="2"/>
                      <a:pt x="1" y="2"/>
                    </a:cubicBezTo>
                    <a:cubicBezTo>
                      <a:pt x="1" y="2"/>
                      <a:pt x="1" y="2"/>
                      <a:pt x="1" y="2"/>
                    </a:cubicBezTo>
                    <a:cubicBezTo>
                      <a:pt x="2" y="1"/>
                      <a:pt x="2" y="1"/>
                      <a:pt x="3" y="0"/>
                    </a:cubicBezTo>
                    <a:cubicBezTo>
                      <a:pt x="3" y="0"/>
                      <a:pt x="3" y="0"/>
                      <a:pt x="3" y="0"/>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5" name="Freeform 2293">
                <a:extLst>
                  <a:ext uri="{FF2B5EF4-FFF2-40B4-BE49-F238E27FC236}">
                    <a16:creationId xmlns:a16="http://schemas.microsoft.com/office/drawing/2014/main" id="{F4470ACE-326D-4C39-B00A-F4C4A30489B9}"/>
                  </a:ext>
                </a:extLst>
              </p:cNvPr>
              <p:cNvSpPr>
                <a:spLocks/>
              </p:cNvSpPr>
              <p:nvPr/>
            </p:nvSpPr>
            <p:spPr bwMode="auto">
              <a:xfrm>
                <a:off x="7609" y="3141"/>
                <a:ext cx="2" cy="11"/>
              </a:xfrm>
              <a:custGeom>
                <a:avLst/>
                <a:gdLst>
                  <a:gd name="T0" fmla="*/ 0 w 1"/>
                  <a:gd name="T1" fmla="*/ 0 h 5"/>
                  <a:gd name="T2" fmla="*/ 0 w 1"/>
                  <a:gd name="T3" fmla="*/ 1 h 5"/>
                  <a:gd name="T4" fmla="*/ 0 w 1"/>
                  <a:gd name="T5" fmla="*/ 4 h 5"/>
                  <a:gd name="T6" fmla="*/ 0 w 1"/>
                  <a:gd name="T7" fmla="*/ 5 h 5"/>
                  <a:gd name="T8" fmla="*/ 1 w 1"/>
                  <a:gd name="T9" fmla="*/ 4 h 5"/>
                  <a:gd name="T10" fmla="*/ 0 w 1"/>
                  <a:gd name="T11" fmla="*/ 1 h 5"/>
                  <a:gd name="T12" fmla="*/ 0 w 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0" y="0"/>
                    </a:moveTo>
                    <a:cubicBezTo>
                      <a:pt x="0" y="0"/>
                      <a:pt x="0" y="0"/>
                      <a:pt x="0" y="1"/>
                    </a:cubicBezTo>
                    <a:cubicBezTo>
                      <a:pt x="0" y="2"/>
                      <a:pt x="0" y="3"/>
                      <a:pt x="0" y="4"/>
                    </a:cubicBezTo>
                    <a:cubicBezTo>
                      <a:pt x="0" y="4"/>
                      <a:pt x="0" y="4"/>
                      <a:pt x="0" y="5"/>
                    </a:cubicBezTo>
                    <a:cubicBezTo>
                      <a:pt x="1" y="5"/>
                      <a:pt x="1" y="4"/>
                      <a:pt x="1" y="4"/>
                    </a:cubicBezTo>
                    <a:cubicBezTo>
                      <a:pt x="1" y="3"/>
                      <a:pt x="1" y="2"/>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6" name="Freeform 2294">
                <a:extLst>
                  <a:ext uri="{FF2B5EF4-FFF2-40B4-BE49-F238E27FC236}">
                    <a16:creationId xmlns:a16="http://schemas.microsoft.com/office/drawing/2014/main" id="{A9B8E8A8-7813-40AC-9391-D9BB913AAAC0}"/>
                  </a:ext>
                </a:extLst>
              </p:cNvPr>
              <p:cNvSpPr>
                <a:spLocks/>
              </p:cNvSpPr>
              <p:nvPr/>
            </p:nvSpPr>
            <p:spPr bwMode="auto">
              <a:xfrm>
                <a:off x="7611" y="3155"/>
                <a:ext cx="0" cy="12"/>
              </a:xfrm>
              <a:custGeom>
                <a:avLst/>
                <a:gdLst>
                  <a:gd name="T0" fmla="*/ 1 h 5"/>
                  <a:gd name="T1" fmla="*/ 0 h 5"/>
                  <a:gd name="T2" fmla="*/ 1 h 5"/>
                  <a:gd name="T3" fmla="*/ 2 h 5"/>
                  <a:gd name="T4" fmla="*/ 3 h 5"/>
                  <a:gd name="T5" fmla="*/ 5 h 5"/>
                  <a:gd name="T6" fmla="*/ 3 h 5"/>
                  <a:gd name="T7" fmla="*/ 2 h 5"/>
                  <a:gd name="T8" fmla="*/ 1 h 5"/>
                  <a:gd name="T9" fmla="*/ 1 h 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5">
                    <a:moveTo>
                      <a:pt x="0" y="1"/>
                    </a:moveTo>
                    <a:cubicBezTo>
                      <a:pt x="0" y="1"/>
                      <a:pt x="0" y="0"/>
                      <a:pt x="0" y="0"/>
                    </a:cubicBezTo>
                    <a:cubicBezTo>
                      <a:pt x="0" y="1"/>
                      <a:pt x="0" y="1"/>
                      <a:pt x="0" y="1"/>
                    </a:cubicBezTo>
                    <a:cubicBezTo>
                      <a:pt x="0" y="2"/>
                      <a:pt x="0" y="2"/>
                      <a:pt x="0" y="2"/>
                    </a:cubicBezTo>
                    <a:cubicBezTo>
                      <a:pt x="0" y="2"/>
                      <a:pt x="0" y="3"/>
                      <a:pt x="0" y="3"/>
                    </a:cubicBezTo>
                    <a:cubicBezTo>
                      <a:pt x="0" y="4"/>
                      <a:pt x="0" y="4"/>
                      <a:pt x="0" y="5"/>
                    </a:cubicBezTo>
                    <a:cubicBezTo>
                      <a:pt x="0" y="5"/>
                      <a:pt x="0" y="4"/>
                      <a:pt x="0" y="3"/>
                    </a:cubicBezTo>
                    <a:cubicBezTo>
                      <a:pt x="0" y="3"/>
                      <a:pt x="0" y="2"/>
                      <a:pt x="0" y="2"/>
                    </a:cubicBezTo>
                    <a:cubicBezTo>
                      <a:pt x="0" y="1"/>
                      <a:pt x="0" y="1"/>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7" name="Freeform 2295">
                <a:extLst>
                  <a:ext uri="{FF2B5EF4-FFF2-40B4-BE49-F238E27FC236}">
                    <a16:creationId xmlns:a16="http://schemas.microsoft.com/office/drawing/2014/main" id="{7FEFB25C-F947-40EA-84EC-73E956273EED}"/>
                  </a:ext>
                </a:extLst>
              </p:cNvPr>
              <p:cNvSpPr>
                <a:spLocks/>
              </p:cNvSpPr>
              <p:nvPr/>
            </p:nvSpPr>
            <p:spPr bwMode="auto">
              <a:xfrm>
                <a:off x="7604" y="3167"/>
                <a:ext cx="9" cy="9"/>
              </a:xfrm>
              <a:custGeom>
                <a:avLst/>
                <a:gdLst>
                  <a:gd name="T0" fmla="*/ 1 w 4"/>
                  <a:gd name="T1" fmla="*/ 2 h 4"/>
                  <a:gd name="T2" fmla="*/ 1 w 4"/>
                  <a:gd name="T3" fmla="*/ 2 h 4"/>
                  <a:gd name="T4" fmla="*/ 1 w 4"/>
                  <a:gd name="T5" fmla="*/ 2 h 4"/>
                  <a:gd name="T6" fmla="*/ 0 w 4"/>
                  <a:gd name="T7" fmla="*/ 3 h 4"/>
                  <a:gd name="T8" fmla="*/ 1 w 4"/>
                  <a:gd name="T9" fmla="*/ 3 h 4"/>
                  <a:gd name="T10" fmla="*/ 1 w 4"/>
                  <a:gd name="T11" fmla="*/ 4 h 4"/>
                  <a:gd name="T12" fmla="*/ 1 w 4"/>
                  <a:gd name="T13" fmla="*/ 3 h 4"/>
                  <a:gd name="T14" fmla="*/ 2 w 4"/>
                  <a:gd name="T15" fmla="*/ 4 h 4"/>
                  <a:gd name="T16" fmla="*/ 4 w 4"/>
                  <a:gd name="T17" fmla="*/ 3 h 4"/>
                  <a:gd name="T18" fmla="*/ 3 w 4"/>
                  <a:gd name="T19" fmla="*/ 2 h 4"/>
                  <a:gd name="T20" fmla="*/ 3 w 4"/>
                  <a:gd name="T21" fmla="*/ 2 h 4"/>
                  <a:gd name="T22" fmla="*/ 2 w 4"/>
                  <a:gd name="T23" fmla="*/ 2 h 4"/>
                  <a:gd name="T24" fmla="*/ 1 w 4"/>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1" y="2"/>
                    </a:moveTo>
                    <a:cubicBezTo>
                      <a:pt x="1" y="2"/>
                      <a:pt x="1" y="2"/>
                      <a:pt x="1" y="2"/>
                    </a:cubicBezTo>
                    <a:cubicBezTo>
                      <a:pt x="1" y="2"/>
                      <a:pt x="1" y="2"/>
                      <a:pt x="1" y="2"/>
                    </a:cubicBezTo>
                    <a:cubicBezTo>
                      <a:pt x="0" y="2"/>
                      <a:pt x="0" y="3"/>
                      <a:pt x="0" y="3"/>
                    </a:cubicBezTo>
                    <a:cubicBezTo>
                      <a:pt x="0" y="3"/>
                      <a:pt x="1" y="3"/>
                      <a:pt x="1" y="3"/>
                    </a:cubicBezTo>
                    <a:cubicBezTo>
                      <a:pt x="1" y="3"/>
                      <a:pt x="1" y="4"/>
                      <a:pt x="1" y="4"/>
                    </a:cubicBezTo>
                    <a:cubicBezTo>
                      <a:pt x="1" y="4"/>
                      <a:pt x="1" y="4"/>
                      <a:pt x="1" y="3"/>
                    </a:cubicBezTo>
                    <a:cubicBezTo>
                      <a:pt x="1" y="4"/>
                      <a:pt x="2" y="4"/>
                      <a:pt x="2" y="4"/>
                    </a:cubicBezTo>
                    <a:cubicBezTo>
                      <a:pt x="4" y="3"/>
                      <a:pt x="4" y="3"/>
                      <a:pt x="4" y="3"/>
                    </a:cubicBezTo>
                    <a:cubicBezTo>
                      <a:pt x="3" y="3"/>
                      <a:pt x="3" y="3"/>
                      <a:pt x="3" y="2"/>
                    </a:cubicBezTo>
                    <a:cubicBezTo>
                      <a:pt x="3" y="2"/>
                      <a:pt x="3" y="2"/>
                      <a:pt x="3" y="2"/>
                    </a:cubicBezTo>
                    <a:cubicBezTo>
                      <a:pt x="2" y="0"/>
                      <a:pt x="3" y="1"/>
                      <a:pt x="2" y="2"/>
                    </a:cubicBezTo>
                    <a:cubicBezTo>
                      <a:pt x="2"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8" name="Freeform 2296">
                <a:extLst>
                  <a:ext uri="{FF2B5EF4-FFF2-40B4-BE49-F238E27FC236}">
                    <a16:creationId xmlns:a16="http://schemas.microsoft.com/office/drawing/2014/main" id="{74C9F602-F92B-4586-BCBF-BFBFBF163BC0}"/>
                  </a:ext>
                </a:extLst>
              </p:cNvPr>
              <p:cNvSpPr>
                <a:spLocks/>
              </p:cNvSpPr>
              <p:nvPr/>
            </p:nvSpPr>
            <p:spPr bwMode="auto">
              <a:xfrm>
                <a:off x="7630" y="3231"/>
                <a:ext cx="9" cy="9"/>
              </a:xfrm>
              <a:custGeom>
                <a:avLst/>
                <a:gdLst>
                  <a:gd name="T0" fmla="*/ 2 w 4"/>
                  <a:gd name="T1" fmla="*/ 1 h 4"/>
                  <a:gd name="T2" fmla="*/ 0 w 4"/>
                  <a:gd name="T3" fmla="*/ 3 h 4"/>
                  <a:gd name="T4" fmla="*/ 4 w 4"/>
                  <a:gd name="T5" fmla="*/ 4 h 4"/>
                  <a:gd name="T6" fmla="*/ 3 w 4"/>
                  <a:gd name="T7" fmla="*/ 3 h 4"/>
                  <a:gd name="T8" fmla="*/ 2 w 4"/>
                  <a:gd name="T9" fmla="*/ 1 h 4"/>
                </a:gdLst>
                <a:ahLst/>
                <a:cxnLst>
                  <a:cxn ang="0">
                    <a:pos x="T0" y="T1"/>
                  </a:cxn>
                  <a:cxn ang="0">
                    <a:pos x="T2" y="T3"/>
                  </a:cxn>
                  <a:cxn ang="0">
                    <a:pos x="T4" y="T5"/>
                  </a:cxn>
                  <a:cxn ang="0">
                    <a:pos x="T6" y="T7"/>
                  </a:cxn>
                  <a:cxn ang="0">
                    <a:pos x="T8" y="T9"/>
                  </a:cxn>
                </a:cxnLst>
                <a:rect l="0" t="0" r="r" b="b"/>
                <a:pathLst>
                  <a:path w="4" h="4">
                    <a:moveTo>
                      <a:pt x="2" y="1"/>
                    </a:moveTo>
                    <a:cubicBezTo>
                      <a:pt x="0" y="0"/>
                      <a:pt x="0" y="2"/>
                      <a:pt x="0" y="3"/>
                    </a:cubicBezTo>
                    <a:cubicBezTo>
                      <a:pt x="1" y="3"/>
                      <a:pt x="2" y="4"/>
                      <a:pt x="4" y="4"/>
                    </a:cubicBezTo>
                    <a:cubicBezTo>
                      <a:pt x="3" y="4"/>
                      <a:pt x="3" y="3"/>
                      <a:pt x="3" y="3"/>
                    </a:cubicBezTo>
                    <a:cubicBezTo>
                      <a:pt x="3" y="2"/>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9" name="Freeform 2297">
                <a:extLst>
                  <a:ext uri="{FF2B5EF4-FFF2-40B4-BE49-F238E27FC236}">
                    <a16:creationId xmlns:a16="http://schemas.microsoft.com/office/drawing/2014/main" id="{21AE1297-3763-42DC-9178-28512E41195C}"/>
                  </a:ext>
                </a:extLst>
              </p:cNvPr>
              <p:cNvSpPr>
                <a:spLocks/>
              </p:cNvSpPr>
              <p:nvPr/>
            </p:nvSpPr>
            <p:spPr bwMode="auto">
              <a:xfrm>
                <a:off x="7646" y="3271"/>
                <a:ext cx="5" cy="2"/>
              </a:xfrm>
              <a:custGeom>
                <a:avLst/>
                <a:gdLst>
                  <a:gd name="T0" fmla="*/ 1 w 2"/>
                  <a:gd name="T1" fmla="*/ 0 h 1"/>
                  <a:gd name="T2" fmla="*/ 2 w 2"/>
                  <a:gd name="T3" fmla="*/ 1 h 1"/>
                  <a:gd name="T4" fmla="*/ 1 w 2"/>
                  <a:gd name="T5" fmla="*/ 0 h 1"/>
                </a:gdLst>
                <a:ahLst/>
                <a:cxnLst>
                  <a:cxn ang="0">
                    <a:pos x="T0" y="T1"/>
                  </a:cxn>
                  <a:cxn ang="0">
                    <a:pos x="T2" y="T3"/>
                  </a:cxn>
                  <a:cxn ang="0">
                    <a:pos x="T4" y="T5"/>
                  </a:cxn>
                </a:cxnLst>
                <a:rect l="0" t="0" r="r" b="b"/>
                <a:pathLst>
                  <a:path w="2" h="1">
                    <a:moveTo>
                      <a:pt x="1" y="0"/>
                    </a:moveTo>
                    <a:cubicBezTo>
                      <a:pt x="0" y="1"/>
                      <a:pt x="1" y="1"/>
                      <a:pt x="2"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0" name="Freeform 2298">
                <a:extLst>
                  <a:ext uri="{FF2B5EF4-FFF2-40B4-BE49-F238E27FC236}">
                    <a16:creationId xmlns:a16="http://schemas.microsoft.com/office/drawing/2014/main" id="{095E63CC-DC09-4BD1-B0EE-E9DA035E64DB}"/>
                  </a:ext>
                </a:extLst>
              </p:cNvPr>
              <p:cNvSpPr>
                <a:spLocks/>
              </p:cNvSpPr>
              <p:nvPr/>
            </p:nvSpPr>
            <p:spPr bwMode="auto">
              <a:xfrm>
                <a:off x="7635" y="3249"/>
                <a:ext cx="7" cy="10"/>
              </a:xfrm>
              <a:custGeom>
                <a:avLst/>
                <a:gdLst>
                  <a:gd name="T0" fmla="*/ 0 w 3"/>
                  <a:gd name="T1" fmla="*/ 2 h 4"/>
                  <a:gd name="T2" fmla="*/ 2 w 3"/>
                  <a:gd name="T3" fmla="*/ 4 h 4"/>
                  <a:gd name="T4" fmla="*/ 0 w 3"/>
                  <a:gd name="T5" fmla="*/ 0 h 4"/>
                  <a:gd name="T6" fmla="*/ 0 w 3"/>
                  <a:gd name="T7" fmla="*/ 2 h 4"/>
                </a:gdLst>
                <a:ahLst/>
                <a:cxnLst>
                  <a:cxn ang="0">
                    <a:pos x="T0" y="T1"/>
                  </a:cxn>
                  <a:cxn ang="0">
                    <a:pos x="T2" y="T3"/>
                  </a:cxn>
                  <a:cxn ang="0">
                    <a:pos x="T4" y="T5"/>
                  </a:cxn>
                  <a:cxn ang="0">
                    <a:pos x="T6" y="T7"/>
                  </a:cxn>
                </a:cxnLst>
                <a:rect l="0" t="0" r="r" b="b"/>
                <a:pathLst>
                  <a:path w="3" h="4">
                    <a:moveTo>
                      <a:pt x="0" y="2"/>
                    </a:moveTo>
                    <a:cubicBezTo>
                      <a:pt x="1" y="3"/>
                      <a:pt x="2" y="4"/>
                      <a:pt x="2" y="4"/>
                    </a:cubicBezTo>
                    <a:cubicBezTo>
                      <a:pt x="3" y="2"/>
                      <a:pt x="2"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1" name="Freeform 2299">
                <a:extLst>
                  <a:ext uri="{FF2B5EF4-FFF2-40B4-BE49-F238E27FC236}">
                    <a16:creationId xmlns:a16="http://schemas.microsoft.com/office/drawing/2014/main" id="{FAD3B92B-A444-4737-ADF9-340075FECC04}"/>
                  </a:ext>
                </a:extLst>
              </p:cNvPr>
              <p:cNvSpPr>
                <a:spLocks/>
              </p:cNvSpPr>
              <p:nvPr/>
            </p:nvSpPr>
            <p:spPr bwMode="auto">
              <a:xfrm>
                <a:off x="7609" y="3205"/>
                <a:ext cx="11" cy="7"/>
              </a:xfrm>
              <a:custGeom>
                <a:avLst/>
                <a:gdLst>
                  <a:gd name="T0" fmla="*/ 3 w 5"/>
                  <a:gd name="T1" fmla="*/ 3 h 3"/>
                  <a:gd name="T2" fmla="*/ 5 w 5"/>
                  <a:gd name="T3" fmla="*/ 2 h 3"/>
                  <a:gd name="T4" fmla="*/ 3 w 5"/>
                  <a:gd name="T5" fmla="*/ 0 h 3"/>
                  <a:gd name="T6" fmla="*/ 1 w 5"/>
                  <a:gd name="T7" fmla="*/ 3 h 3"/>
                  <a:gd name="T8" fmla="*/ 1 w 5"/>
                  <a:gd name="T9" fmla="*/ 3 h 3"/>
                  <a:gd name="T10" fmla="*/ 3 w 5"/>
                  <a:gd name="T11" fmla="*/ 3 h 3"/>
                </a:gdLst>
                <a:ahLst/>
                <a:cxnLst>
                  <a:cxn ang="0">
                    <a:pos x="T0" y="T1"/>
                  </a:cxn>
                  <a:cxn ang="0">
                    <a:pos x="T2" y="T3"/>
                  </a:cxn>
                  <a:cxn ang="0">
                    <a:pos x="T4" y="T5"/>
                  </a:cxn>
                  <a:cxn ang="0">
                    <a:pos x="T6" y="T7"/>
                  </a:cxn>
                  <a:cxn ang="0">
                    <a:pos x="T8" y="T9"/>
                  </a:cxn>
                  <a:cxn ang="0">
                    <a:pos x="T10" y="T11"/>
                  </a:cxn>
                </a:cxnLst>
                <a:rect l="0" t="0" r="r" b="b"/>
                <a:pathLst>
                  <a:path w="5" h="3">
                    <a:moveTo>
                      <a:pt x="3" y="3"/>
                    </a:moveTo>
                    <a:cubicBezTo>
                      <a:pt x="3" y="3"/>
                      <a:pt x="4" y="3"/>
                      <a:pt x="5" y="2"/>
                    </a:cubicBezTo>
                    <a:cubicBezTo>
                      <a:pt x="4" y="2"/>
                      <a:pt x="4" y="1"/>
                      <a:pt x="3" y="0"/>
                    </a:cubicBezTo>
                    <a:cubicBezTo>
                      <a:pt x="2" y="0"/>
                      <a:pt x="0" y="2"/>
                      <a:pt x="1" y="3"/>
                    </a:cubicBezTo>
                    <a:cubicBezTo>
                      <a:pt x="1" y="2"/>
                      <a:pt x="2" y="2"/>
                      <a:pt x="1" y="3"/>
                    </a:cubicBezTo>
                    <a:cubicBezTo>
                      <a:pt x="2" y="3"/>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2" name="Freeform 2300">
                <a:extLst>
                  <a:ext uri="{FF2B5EF4-FFF2-40B4-BE49-F238E27FC236}">
                    <a16:creationId xmlns:a16="http://schemas.microsoft.com/office/drawing/2014/main" id="{749BF678-349F-491F-A026-753D4265FA45}"/>
                  </a:ext>
                </a:extLst>
              </p:cNvPr>
              <p:cNvSpPr>
                <a:spLocks/>
              </p:cNvSpPr>
              <p:nvPr/>
            </p:nvSpPr>
            <p:spPr bwMode="auto">
              <a:xfrm>
                <a:off x="5958" y="2625"/>
                <a:ext cx="3" cy="2"/>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0" y="1"/>
                      <a:pt x="0" y="1"/>
                    </a:cubicBezTo>
                    <a:cubicBezTo>
                      <a:pt x="0"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3" name="Freeform 2301">
                <a:extLst>
                  <a:ext uri="{FF2B5EF4-FFF2-40B4-BE49-F238E27FC236}">
                    <a16:creationId xmlns:a16="http://schemas.microsoft.com/office/drawing/2014/main" id="{DEDB1810-9A4D-426B-ABCB-6C6F64E6B82A}"/>
                  </a:ext>
                </a:extLst>
              </p:cNvPr>
              <p:cNvSpPr>
                <a:spLocks/>
              </p:cNvSpPr>
              <p:nvPr/>
            </p:nvSpPr>
            <p:spPr bwMode="auto">
              <a:xfrm>
                <a:off x="6415" y="2667"/>
                <a:ext cx="2" cy="3"/>
              </a:xfrm>
              <a:custGeom>
                <a:avLst/>
                <a:gdLst>
                  <a:gd name="T0" fmla="*/ 1 w 1"/>
                  <a:gd name="T1" fmla="*/ 1 h 1"/>
                  <a:gd name="T2" fmla="*/ 0 w 1"/>
                  <a:gd name="T3" fmla="*/ 0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1"/>
                      <a:pt x="0" y="1"/>
                      <a:pt x="0" y="0"/>
                    </a:cubicBezTo>
                    <a:cubicBezTo>
                      <a:pt x="0"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4" name="Freeform 2302">
                <a:extLst>
                  <a:ext uri="{FF2B5EF4-FFF2-40B4-BE49-F238E27FC236}">
                    <a16:creationId xmlns:a16="http://schemas.microsoft.com/office/drawing/2014/main" id="{DFA689AE-71D9-4BC1-B0B9-453A2BD5B9EC}"/>
                  </a:ext>
                </a:extLst>
              </p:cNvPr>
              <p:cNvSpPr>
                <a:spLocks/>
              </p:cNvSpPr>
              <p:nvPr/>
            </p:nvSpPr>
            <p:spPr bwMode="auto">
              <a:xfrm>
                <a:off x="6330" y="2646"/>
                <a:ext cx="2" cy="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5" name="Freeform 2303">
                <a:extLst>
                  <a:ext uri="{FF2B5EF4-FFF2-40B4-BE49-F238E27FC236}">
                    <a16:creationId xmlns:a16="http://schemas.microsoft.com/office/drawing/2014/main" id="{17CD847C-8551-48BF-8260-C8FE99D4CDEA}"/>
                  </a:ext>
                </a:extLst>
              </p:cNvPr>
              <p:cNvSpPr>
                <a:spLocks/>
              </p:cNvSpPr>
              <p:nvPr/>
            </p:nvSpPr>
            <p:spPr bwMode="auto">
              <a:xfrm>
                <a:off x="5956" y="2620"/>
                <a:ext cx="7" cy="7"/>
              </a:xfrm>
              <a:custGeom>
                <a:avLst/>
                <a:gdLst>
                  <a:gd name="T0" fmla="*/ 2 w 3"/>
                  <a:gd name="T1" fmla="*/ 0 h 3"/>
                  <a:gd name="T2" fmla="*/ 0 w 3"/>
                  <a:gd name="T3" fmla="*/ 1 h 3"/>
                  <a:gd name="T4" fmla="*/ 2 w 3"/>
                  <a:gd name="T5" fmla="*/ 0 h 3"/>
                </a:gdLst>
                <a:ahLst/>
                <a:cxnLst>
                  <a:cxn ang="0">
                    <a:pos x="T0" y="T1"/>
                  </a:cxn>
                  <a:cxn ang="0">
                    <a:pos x="T2" y="T3"/>
                  </a:cxn>
                  <a:cxn ang="0">
                    <a:pos x="T4" y="T5"/>
                  </a:cxn>
                </a:cxnLst>
                <a:rect l="0" t="0" r="r" b="b"/>
                <a:pathLst>
                  <a:path w="3" h="3">
                    <a:moveTo>
                      <a:pt x="2" y="0"/>
                    </a:moveTo>
                    <a:cubicBezTo>
                      <a:pt x="1" y="1"/>
                      <a:pt x="1" y="1"/>
                      <a:pt x="0" y="1"/>
                    </a:cubicBezTo>
                    <a:cubicBezTo>
                      <a:pt x="0" y="3"/>
                      <a:pt x="3"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6" name="Freeform 2304">
                <a:extLst>
                  <a:ext uri="{FF2B5EF4-FFF2-40B4-BE49-F238E27FC236}">
                    <a16:creationId xmlns:a16="http://schemas.microsoft.com/office/drawing/2014/main" id="{61ADF97F-DA30-4DD0-8620-D558857BCAA9}"/>
                  </a:ext>
                </a:extLst>
              </p:cNvPr>
              <p:cNvSpPr>
                <a:spLocks/>
              </p:cNvSpPr>
              <p:nvPr/>
            </p:nvSpPr>
            <p:spPr bwMode="auto">
              <a:xfrm>
                <a:off x="6382" y="2615"/>
                <a:ext cx="4" cy="3"/>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7" name="Freeform 2305">
                <a:extLst>
                  <a:ext uri="{FF2B5EF4-FFF2-40B4-BE49-F238E27FC236}">
                    <a16:creationId xmlns:a16="http://schemas.microsoft.com/office/drawing/2014/main" id="{FA4B8E12-D480-4F4A-B7DE-E5803D0F13DC}"/>
                  </a:ext>
                </a:extLst>
              </p:cNvPr>
              <p:cNvSpPr>
                <a:spLocks/>
              </p:cNvSpPr>
              <p:nvPr/>
            </p:nvSpPr>
            <p:spPr bwMode="auto">
              <a:xfrm>
                <a:off x="6374" y="2599"/>
                <a:ext cx="8" cy="7"/>
              </a:xfrm>
              <a:custGeom>
                <a:avLst/>
                <a:gdLst>
                  <a:gd name="T0" fmla="*/ 1 w 3"/>
                  <a:gd name="T1" fmla="*/ 3 h 3"/>
                  <a:gd name="T2" fmla="*/ 3 w 3"/>
                  <a:gd name="T3" fmla="*/ 2 h 3"/>
                  <a:gd name="T4" fmla="*/ 1 w 3"/>
                  <a:gd name="T5" fmla="*/ 1 h 3"/>
                  <a:gd name="T6" fmla="*/ 1 w 3"/>
                  <a:gd name="T7" fmla="*/ 3 h 3"/>
                </a:gdLst>
                <a:ahLst/>
                <a:cxnLst>
                  <a:cxn ang="0">
                    <a:pos x="T0" y="T1"/>
                  </a:cxn>
                  <a:cxn ang="0">
                    <a:pos x="T2" y="T3"/>
                  </a:cxn>
                  <a:cxn ang="0">
                    <a:pos x="T4" y="T5"/>
                  </a:cxn>
                  <a:cxn ang="0">
                    <a:pos x="T6" y="T7"/>
                  </a:cxn>
                </a:cxnLst>
                <a:rect l="0" t="0" r="r" b="b"/>
                <a:pathLst>
                  <a:path w="3" h="3">
                    <a:moveTo>
                      <a:pt x="1" y="3"/>
                    </a:moveTo>
                    <a:cubicBezTo>
                      <a:pt x="1" y="3"/>
                      <a:pt x="2" y="2"/>
                      <a:pt x="3" y="2"/>
                    </a:cubicBezTo>
                    <a:cubicBezTo>
                      <a:pt x="3" y="0"/>
                      <a:pt x="3" y="0"/>
                      <a:pt x="1" y="1"/>
                    </a:cubicBezTo>
                    <a:cubicBezTo>
                      <a:pt x="1"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8" name="Freeform 2306">
                <a:extLst>
                  <a:ext uri="{FF2B5EF4-FFF2-40B4-BE49-F238E27FC236}">
                    <a16:creationId xmlns:a16="http://schemas.microsoft.com/office/drawing/2014/main" id="{35164394-E954-4D87-9D43-6251E53ECB50}"/>
                  </a:ext>
                </a:extLst>
              </p:cNvPr>
              <p:cNvSpPr>
                <a:spLocks/>
              </p:cNvSpPr>
              <p:nvPr/>
            </p:nvSpPr>
            <p:spPr bwMode="auto">
              <a:xfrm>
                <a:off x="6062" y="2708"/>
                <a:ext cx="3" cy="4"/>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1" y="0"/>
                    </a:cubicBezTo>
                    <a:cubicBezTo>
                      <a:pt x="0" y="1"/>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9" name="Freeform 2307">
                <a:extLst>
                  <a:ext uri="{FF2B5EF4-FFF2-40B4-BE49-F238E27FC236}">
                    <a16:creationId xmlns:a16="http://schemas.microsoft.com/office/drawing/2014/main" id="{3E56B575-A80B-4EDD-A32D-999BD8DF4F30}"/>
                  </a:ext>
                </a:extLst>
              </p:cNvPr>
              <p:cNvSpPr>
                <a:spLocks/>
              </p:cNvSpPr>
              <p:nvPr/>
            </p:nvSpPr>
            <p:spPr bwMode="auto">
              <a:xfrm>
                <a:off x="6237" y="2710"/>
                <a:ext cx="3" cy="14"/>
              </a:xfrm>
              <a:custGeom>
                <a:avLst/>
                <a:gdLst>
                  <a:gd name="T0" fmla="*/ 0 w 1"/>
                  <a:gd name="T1" fmla="*/ 0 h 6"/>
                  <a:gd name="T2" fmla="*/ 0 w 1"/>
                  <a:gd name="T3" fmla="*/ 3 h 6"/>
                  <a:gd name="T4" fmla="*/ 0 w 1"/>
                  <a:gd name="T5" fmla="*/ 0 h 6"/>
                </a:gdLst>
                <a:ahLst/>
                <a:cxnLst>
                  <a:cxn ang="0">
                    <a:pos x="T0" y="T1"/>
                  </a:cxn>
                  <a:cxn ang="0">
                    <a:pos x="T2" y="T3"/>
                  </a:cxn>
                  <a:cxn ang="0">
                    <a:pos x="T4" y="T5"/>
                  </a:cxn>
                </a:cxnLst>
                <a:rect l="0" t="0" r="r" b="b"/>
                <a:pathLst>
                  <a:path w="1" h="6">
                    <a:moveTo>
                      <a:pt x="0" y="0"/>
                    </a:moveTo>
                    <a:cubicBezTo>
                      <a:pt x="0" y="1"/>
                      <a:pt x="0" y="2"/>
                      <a:pt x="0" y="3"/>
                    </a:cubicBezTo>
                    <a:cubicBezTo>
                      <a:pt x="1" y="6"/>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0" name="Freeform 2308">
                <a:extLst>
                  <a:ext uri="{FF2B5EF4-FFF2-40B4-BE49-F238E27FC236}">
                    <a16:creationId xmlns:a16="http://schemas.microsoft.com/office/drawing/2014/main" id="{EB87B435-86C9-4F8C-881C-8FC7CE5E4A0E}"/>
                  </a:ext>
                </a:extLst>
              </p:cNvPr>
              <p:cNvSpPr>
                <a:spLocks/>
              </p:cNvSpPr>
              <p:nvPr/>
            </p:nvSpPr>
            <p:spPr bwMode="auto">
              <a:xfrm>
                <a:off x="6408" y="2665"/>
                <a:ext cx="4" cy="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0"/>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1" name="Freeform 2309">
                <a:extLst>
                  <a:ext uri="{FF2B5EF4-FFF2-40B4-BE49-F238E27FC236}">
                    <a16:creationId xmlns:a16="http://schemas.microsoft.com/office/drawing/2014/main" id="{2761BF89-2A07-4145-B39E-551A7E1E1111}"/>
                  </a:ext>
                </a:extLst>
              </p:cNvPr>
              <p:cNvSpPr>
                <a:spLocks/>
              </p:cNvSpPr>
              <p:nvPr/>
            </p:nvSpPr>
            <p:spPr bwMode="auto">
              <a:xfrm>
                <a:off x="4965" y="2270"/>
                <a:ext cx="7" cy="14"/>
              </a:xfrm>
              <a:custGeom>
                <a:avLst/>
                <a:gdLst>
                  <a:gd name="T0" fmla="*/ 3 w 3"/>
                  <a:gd name="T1" fmla="*/ 0 h 6"/>
                  <a:gd name="T2" fmla="*/ 0 w 3"/>
                  <a:gd name="T3" fmla="*/ 6 h 6"/>
                  <a:gd name="T4" fmla="*/ 3 w 3"/>
                  <a:gd name="T5" fmla="*/ 2 h 6"/>
                  <a:gd name="T6" fmla="*/ 3 w 3"/>
                  <a:gd name="T7" fmla="*/ 0 h 6"/>
                </a:gdLst>
                <a:ahLst/>
                <a:cxnLst>
                  <a:cxn ang="0">
                    <a:pos x="T0" y="T1"/>
                  </a:cxn>
                  <a:cxn ang="0">
                    <a:pos x="T2" y="T3"/>
                  </a:cxn>
                  <a:cxn ang="0">
                    <a:pos x="T4" y="T5"/>
                  </a:cxn>
                  <a:cxn ang="0">
                    <a:pos x="T6" y="T7"/>
                  </a:cxn>
                </a:cxnLst>
                <a:rect l="0" t="0" r="r" b="b"/>
                <a:pathLst>
                  <a:path w="3" h="6">
                    <a:moveTo>
                      <a:pt x="3" y="0"/>
                    </a:moveTo>
                    <a:cubicBezTo>
                      <a:pt x="2" y="2"/>
                      <a:pt x="1" y="4"/>
                      <a:pt x="0" y="6"/>
                    </a:cubicBezTo>
                    <a:cubicBezTo>
                      <a:pt x="1" y="4"/>
                      <a:pt x="1" y="3"/>
                      <a:pt x="3" y="2"/>
                    </a:cubicBezTo>
                    <a:cubicBezTo>
                      <a:pt x="3" y="1"/>
                      <a:pt x="2"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2" name="Freeform 2310">
                <a:extLst>
                  <a:ext uri="{FF2B5EF4-FFF2-40B4-BE49-F238E27FC236}">
                    <a16:creationId xmlns:a16="http://schemas.microsoft.com/office/drawing/2014/main" id="{8DF24160-9C2B-490C-A2B7-3A543EE96091}"/>
                  </a:ext>
                </a:extLst>
              </p:cNvPr>
              <p:cNvSpPr>
                <a:spLocks/>
              </p:cNvSpPr>
              <p:nvPr/>
            </p:nvSpPr>
            <p:spPr bwMode="auto">
              <a:xfrm>
                <a:off x="3894" y="1868"/>
                <a:ext cx="5" cy="4"/>
              </a:xfrm>
              <a:custGeom>
                <a:avLst/>
                <a:gdLst>
                  <a:gd name="T0" fmla="*/ 1 w 2"/>
                  <a:gd name="T1" fmla="*/ 0 h 2"/>
                  <a:gd name="T2" fmla="*/ 0 w 2"/>
                  <a:gd name="T3" fmla="*/ 0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0" y="0"/>
                    </a:cubicBezTo>
                    <a:cubicBezTo>
                      <a:pt x="1" y="1"/>
                      <a:pt x="2" y="2"/>
                      <a:pt x="2" y="2"/>
                    </a:cubicBezTo>
                    <a:cubicBezTo>
                      <a:pt x="2" y="0"/>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3" name="Freeform 2311">
                <a:extLst>
                  <a:ext uri="{FF2B5EF4-FFF2-40B4-BE49-F238E27FC236}">
                    <a16:creationId xmlns:a16="http://schemas.microsoft.com/office/drawing/2014/main" id="{9A788737-77BF-40C8-ACB4-455B7001423C}"/>
                  </a:ext>
                </a:extLst>
              </p:cNvPr>
              <p:cNvSpPr>
                <a:spLocks/>
              </p:cNvSpPr>
              <p:nvPr/>
            </p:nvSpPr>
            <p:spPr bwMode="auto">
              <a:xfrm>
                <a:off x="5079" y="3259"/>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4" name="Freeform 2312">
                <a:extLst>
                  <a:ext uri="{FF2B5EF4-FFF2-40B4-BE49-F238E27FC236}">
                    <a16:creationId xmlns:a16="http://schemas.microsoft.com/office/drawing/2014/main" id="{0EDA74B2-C254-4037-AC80-7A080216C7DA}"/>
                  </a:ext>
                </a:extLst>
              </p:cNvPr>
              <p:cNvSpPr>
                <a:spLocks/>
              </p:cNvSpPr>
              <p:nvPr/>
            </p:nvSpPr>
            <p:spPr bwMode="auto">
              <a:xfrm>
                <a:off x="6651" y="1896"/>
                <a:ext cx="7" cy="7"/>
              </a:xfrm>
              <a:custGeom>
                <a:avLst/>
                <a:gdLst>
                  <a:gd name="T0" fmla="*/ 1 w 3"/>
                  <a:gd name="T1" fmla="*/ 1 h 3"/>
                  <a:gd name="T2" fmla="*/ 1 w 3"/>
                  <a:gd name="T3" fmla="*/ 3 h 3"/>
                  <a:gd name="T4" fmla="*/ 1 w 3"/>
                  <a:gd name="T5" fmla="*/ 3 h 3"/>
                  <a:gd name="T6" fmla="*/ 3 w 3"/>
                  <a:gd name="T7" fmla="*/ 0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0" y="1"/>
                      <a:pt x="0" y="3"/>
                      <a:pt x="1" y="3"/>
                    </a:cubicBezTo>
                    <a:cubicBezTo>
                      <a:pt x="1" y="3"/>
                      <a:pt x="1" y="3"/>
                      <a:pt x="1" y="3"/>
                    </a:cubicBezTo>
                    <a:cubicBezTo>
                      <a:pt x="2" y="2"/>
                      <a:pt x="2" y="1"/>
                      <a:pt x="3" y="0"/>
                    </a:cubicBezTo>
                    <a:cubicBezTo>
                      <a:pt x="2"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5" name="Freeform 2313">
                <a:extLst>
                  <a:ext uri="{FF2B5EF4-FFF2-40B4-BE49-F238E27FC236}">
                    <a16:creationId xmlns:a16="http://schemas.microsoft.com/office/drawing/2014/main" id="{64EC82FB-8320-48CE-8700-D8B64B6D11CC}"/>
                  </a:ext>
                </a:extLst>
              </p:cNvPr>
              <p:cNvSpPr>
                <a:spLocks/>
              </p:cNvSpPr>
              <p:nvPr/>
            </p:nvSpPr>
            <p:spPr bwMode="auto">
              <a:xfrm>
                <a:off x="6668" y="1915"/>
                <a:ext cx="4" cy="5"/>
              </a:xfrm>
              <a:custGeom>
                <a:avLst/>
                <a:gdLst>
                  <a:gd name="T0" fmla="*/ 0 w 2"/>
                  <a:gd name="T1" fmla="*/ 2 h 2"/>
                  <a:gd name="T2" fmla="*/ 2 w 2"/>
                  <a:gd name="T3" fmla="*/ 1 h 2"/>
                  <a:gd name="T4" fmla="*/ 1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1" y="2"/>
                      <a:pt x="1" y="1"/>
                      <a:pt x="2" y="1"/>
                    </a:cubicBezTo>
                    <a:cubicBezTo>
                      <a:pt x="1" y="0"/>
                      <a:pt x="1" y="0"/>
                      <a:pt x="1"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6" name="Freeform 2314">
                <a:extLst>
                  <a:ext uri="{FF2B5EF4-FFF2-40B4-BE49-F238E27FC236}">
                    <a16:creationId xmlns:a16="http://schemas.microsoft.com/office/drawing/2014/main" id="{BEDF173C-C26F-4AED-B2AD-F1DCF80363DC}"/>
                  </a:ext>
                </a:extLst>
              </p:cNvPr>
              <p:cNvSpPr>
                <a:spLocks/>
              </p:cNvSpPr>
              <p:nvPr/>
            </p:nvSpPr>
            <p:spPr bwMode="auto">
              <a:xfrm>
                <a:off x="6670" y="1903"/>
                <a:ext cx="5" cy="10"/>
              </a:xfrm>
              <a:custGeom>
                <a:avLst/>
                <a:gdLst>
                  <a:gd name="T0" fmla="*/ 0 w 2"/>
                  <a:gd name="T1" fmla="*/ 4 h 4"/>
                  <a:gd name="T2" fmla="*/ 1 w 2"/>
                  <a:gd name="T3" fmla="*/ 4 h 4"/>
                  <a:gd name="T4" fmla="*/ 2 w 2"/>
                  <a:gd name="T5" fmla="*/ 0 h 4"/>
                  <a:gd name="T6" fmla="*/ 1 w 2"/>
                  <a:gd name="T7" fmla="*/ 1 h 4"/>
                  <a:gd name="T8" fmla="*/ 1 w 2"/>
                  <a:gd name="T9" fmla="*/ 2 h 4"/>
                  <a:gd name="T10" fmla="*/ 0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0" y="4"/>
                    </a:moveTo>
                    <a:cubicBezTo>
                      <a:pt x="0" y="4"/>
                      <a:pt x="1" y="4"/>
                      <a:pt x="1" y="4"/>
                    </a:cubicBezTo>
                    <a:cubicBezTo>
                      <a:pt x="1" y="3"/>
                      <a:pt x="2" y="2"/>
                      <a:pt x="2" y="0"/>
                    </a:cubicBezTo>
                    <a:cubicBezTo>
                      <a:pt x="2" y="1"/>
                      <a:pt x="1" y="1"/>
                      <a:pt x="1" y="1"/>
                    </a:cubicBezTo>
                    <a:cubicBezTo>
                      <a:pt x="0" y="2"/>
                      <a:pt x="1" y="2"/>
                      <a:pt x="1" y="2"/>
                    </a:cubicBezTo>
                    <a:cubicBezTo>
                      <a:pt x="0" y="3"/>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7" name="Freeform 2315">
                <a:extLst>
                  <a:ext uri="{FF2B5EF4-FFF2-40B4-BE49-F238E27FC236}">
                    <a16:creationId xmlns:a16="http://schemas.microsoft.com/office/drawing/2014/main" id="{BAD823C2-05BC-46C8-AEDB-E1FFCC9C9081}"/>
                  </a:ext>
                </a:extLst>
              </p:cNvPr>
              <p:cNvSpPr>
                <a:spLocks/>
              </p:cNvSpPr>
              <p:nvPr/>
            </p:nvSpPr>
            <p:spPr bwMode="auto">
              <a:xfrm>
                <a:off x="6708" y="1825"/>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8" name="Freeform 2316">
                <a:extLst>
                  <a:ext uri="{FF2B5EF4-FFF2-40B4-BE49-F238E27FC236}">
                    <a16:creationId xmlns:a16="http://schemas.microsoft.com/office/drawing/2014/main" id="{6B8CC61F-C586-4985-BFAB-1010DEE173AD}"/>
                  </a:ext>
                </a:extLst>
              </p:cNvPr>
              <p:cNvSpPr>
                <a:spLocks/>
              </p:cNvSpPr>
              <p:nvPr/>
            </p:nvSpPr>
            <p:spPr bwMode="auto">
              <a:xfrm>
                <a:off x="6594" y="1906"/>
                <a:ext cx="7" cy="7"/>
              </a:xfrm>
              <a:custGeom>
                <a:avLst/>
                <a:gdLst>
                  <a:gd name="T0" fmla="*/ 1 w 3"/>
                  <a:gd name="T1" fmla="*/ 2 h 3"/>
                  <a:gd name="T2" fmla="*/ 0 w 3"/>
                  <a:gd name="T3" fmla="*/ 3 h 3"/>
                  <a:gd name="T4" fmla="*/ 3 w 3"/>
                  <a:gd name="T5" fmla="*/ 2 h 3"/>
                  <a:gd name="T6" fmla="*/ 1 w 3"/>
                  <a:gd name="T7" fmla="*/ 2 h 3"/>
                </a:gdLst>
                <a:ahLst/>
                <a:cxnLst>
                  <a:cxn ang="0">
                    <a:pos x="T0" y="T1"/>
                  </a:cxn>
                  <a:cxn ang="0">
                    <a:pos x="T2" y="T3"/>
                  </a:cxn>
                  <a:cxn ang="0">
                    <a:pos x="T4" y="T5"/>
                  </a:cxn>
                  <a:cxn ang="0">
                    <a:pos x="T6" y="T7"/>
                  </a:cxn>
                </a:cxnLst>
                <a:rect l="0" t="0" r="r" b="b"/>
                <a:pathLst>
                  <a:path w="3" h="3">
                    <a:moveTo>
                      <a:pt x="1" y="2"/>
                    </a:moveTo>
                    <a:cubicBezTo>
                      <a:pt x="0" y="2"/>
                      <a:pt x="0" y="2"/>
                      <a:pt x="0" y="3"/>
                    </a:cubicBezTo>
                    <a:cubicBezTo>
                      <a:pt x="1" y="2"/>
                      <a:pt x="2" y="2"/>
                      <a:pt x="3" y="2"/>
                    </a:cubicBezTo>
                    <a:cubicBezTo>
                      <a:pt x="2" y="0"/>
                      <a:pt x="2"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9" name="Freeform 2317">
                <a:extLst>
                  <a:ext uri="{FF2B5EF4-FFF2-40B4-BE49-F238E27FC236}">
                    <a16:creationId xmlns:a16="http://schemas.microsoft.com/office/drawing/2014/main" id="{86E5EAA4-2F06-48EF-9593-C6DE97138C1D}"/>
                  </a:ext>
                </a:extLst>
              </p:cNvPr>
              <p:cNvSpPr>
                <a:spLocks/>
              </p:cNvSpPr>
              <p:nvPr/>
            </p:nvSpPr>
            <p:spPr bwMode="auto">
              <a:xfrm>
                <a:off x="6559" y="1813"/>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0" name="Freeform 2318">
                <a:extLst>
                  <a:ext uri="{FF2B5EF4-FFF2-40B4-BE49-F238E27FC236}">
                    <a16:creationId xmlns:a16="http://schemas.microsoft.com/office/drawing/2014/main" id="{C59F6E8B-27D6-4BC4-AB8A-D1F75F8D360F}"/>
                  </a:ext>
                </a:extLst>
              </p:cNvPr>
              <p:cNvSpPr>
                <a:spLocks/>
              </p:cNvSpPr>
              <p:nvPr/>
            </p:nvSpPr>
            <p:spPr bwMode="auto">
              <a:xfrm>
                <a:off x="6635" y="1899"/>
                <a:ext cx="7" cy="4"/>
              </a:xfrm>
              <a:custGeom>
                <a:avLst/>
                <a:gdLst>
                  <a:gd name="T0" fmla="*/ 3 w 3"/>
                  <a:gd name="T1" fmla="*/ 2 h 2"/>
                  <a:gd name="T2" fmla="*/ 2 w 3"/>
                  <a:gd name="T3" fmla="*/ 0 h 2"/>
                  <a:gd name="T4" fmla="*/ 1 w 3"/>
                  <a:gd name="T5" fmla="*/ 2 h 2"/>
                  <a:gd name="T6" fmla="*/ 3 w 3"/>
                  <a:gd name="T7" fmla="*/ 2 h 2"/>
                </a:gdLst>
                <a:ahLst/>
                <a:cxnLst>
                  <a:cxn ang="0">
                    <a:pos x="T0" y="T1"/>
                  </a:cxn>
                  <a:cxn ang="0">
                    <a:pos x="T2" y="T3"/>
                  </a:cxn>
                  <a:cxn ang="0">
                    <a:pos x="T4" y="T5"/>
                  </a:cxn>
                  <a:cxn ang="0">
                    <a:pos x="T6" y="T7"/>
                  </a:cxn>
                </a:cxnLst>
                <a:rect l="0" t="0" r="r" b="b"/>
                <a:pathLst>
                  <a:path w="3" h="2">
                    <a:moveTo>
                      <a:pt x="3" y="2"/>
                    </a:moveTo>
                    <a:cubicBezTo>
                      <a:pt x="3" y="1"/>
                      <a:pt x="2" y="1"/>
                      <a:pt x="2" y="0"/>
                    </a:cubicBezTo>
                    <a:cubicBezTo>
                      <a:pt x="0" y="0"/>
                      <a:pt x="0" y="1"/>
                      <a:pt x="1" y="2"/>
                    </a:cubicBezTo>
                    <a:cubicBezTo>
                      <a:pt x="1" y="2"/>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1" name="Freeform 2319">
                <a:extLst>
                  <a:ext uri="{FF2B5EF4-FFF2-40B4-BE49-F238E27FC236}">
                    <a16:creationId xmlns:a16="http://schemas.microsoft.com/office/drawing/2014/main" id="{CDB8DEA3-0EED-4D38-B386-1EBAD8760042}"/>
                  </a:ext>
                </a:extLst>
              </p:cNvPr>
              <p:cNvSpPr>
                <a:spLocks/>
              </p:cNvSpPr>
              <p:nvPr/>
            </p:nvSpPr>
            <p:spPr bwMode="auto">
              <a:xfrm>
                <a:off x="6594" y="1936"/>
                <a:ext cx="22" cy="12"/>
              </a:xfrm>
              <a:custGeom>
                <a:avLst/>
                <a:gdLst>
                  <a:gd name="T0" fmla="*/ 0 w 9"/>
                  <a:gd name="T1" fmla="*/ 3 h 5"/>
                  <a:gd name="T2" fmla="*/ 9 w 9"/>
                  <a:gd name="T3" fmla="*/ 0 h 5"/>
                  <a:gd name="T4" fmla="*/ 4 w 9"/>
                  <a:gd name="T5" fmla="*/ 0 h 5"/>
                  <a:gd name="T6" fmla="*/ 0 w 9"/>
                  <a:gd name="T7" fmla="*/ 3 h 5"/>
                </a:gdLst>
                <a:ahLst/>
                <a:cxnLst>
                  <a:cxn ang="0">
                    <a:pos x="T0" y="T1"/>
                  </a:cxn>
                  <a:cxn ang="0">
                    <a:pos x="T2" y="T3"/>
                  </a:cxn>
                  <a:cxn ang="0">
                    <a:pos x="T4" y="T5"/>
                  </a:cxn>
                  <a:cxn ang="0">
                    <a:pos x="T6" y="T7"/>
                  </a:cxn>
                </a:cxnLst>
                <a:rect l="0" t="0" r="r" b="b"/>
                <a:pathLst>
                  <a:path w="9" h="5">
                    <a:moveTo>
                      <a:pt x="0" y="3"/>
                    </a:moveTo>
                    <a:cubicBezTo>
                      <a:pt x="3" y="5"/>
                      <a:pt x="6" y="2"/>
                      <a:pt x="9" y="0"/>
                    </a:cubicBezTo>
                    <a:cubicBezTo>
                      <a:pt x="7" y="0"/>
                      <a:pt x="5" y="0"/>
                      <a:pt x="4" y="0"/>
                    </a:cubicBezTo>
                    <a:cubicBezTo>
                      <a:pt x="3" y="1"/>
                      <a:pt x="2"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2" name="Freeform 2320">
                <a:extLst>
                  <a:ext uri="{FF2B5EF4-FFF2-40B4-BE49-F238E27FC236}">
                    <a16:creationId xmlns:a16="http://schemas.microsoft.com/office/drawing/2014/main" id="{06C44F69-2FB8-407B-B79F-FCDEC7BF7605}"/>
                  </a:ext>
                </a:extLst>
              </p:cNvPr>
              <p:cNvSpPr>
                <a:spLocks/>
              </p:cNvSpPr>
              <p:nvPr/>
            </p:nvSpPr>
            <p:spPr bwMode="auto">
              <a:xfrm>
                <a:off x="3492" y="1480"/>
                <a:ext cx="7" cy="2"/>
              </a:xfrm>
              <a:custGeom>
                <a:avLst/>
                <a:gdLst>
                  <a:gd name="T0" fmla="*/ 1 w 3"/>
                  <a:gd name="T1" fmla="*/ 0 h 1"/>
                  <a:gd name="T2" fmla="*/ 3 w 3"/>
                  <a:gd name="T3" fmla="*/ 1 h 1"/>
                  <a:gd name="T4" fmla="*/ 3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0" y="1"/>
                      <a:pt x="3" y="1"/>
                      <a:pt x="3" y="1"/>
                    </a:cubicBezTo>
                    <a:cubicBezTo>
                      <a:pt x="3" y="1"/>
                      <a:pt x="3" y="0"/>
                      <a:pt x="3" y="0"/>
                    </a:cubicBezTo>
                    <a:cubicBezTo>
                      <a:pt x="3"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3" name="Freeform 2321">
                <a:extLst>
                  <a:ext uri="{FF2B5EF4-FFF2-40B4-BE49-F238E27FC236}">
                    <a16:creationId xmlns:a16="http://schemas.microsoft.com/office/drawing/2014/main" id="{005CC3D2-A81F-4ADE-AD72-FDBE98B8B852}"/>
                  </a:ext>
                </a:extLst>
              </p:cNvPr>
              <p:cNvSpPr>
                <a:spLocks/>
              </p:cNvSpPr>
              <p:nvPr/>
            </p:nvSpPr>
            <p:spPr bwMode="auto">
              <a:xfrm>
                <a:off x="6916" y="1901"/>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4" name="Freeform 2322">
                <a:extLst>
                  <a:ext uri="{FF2B5EF4-FFF2-40B4-BE49-F238E27FC236}">
                    <a16:creationId xmlns:a16="http://schemas.microsoft.com/office/drawing/2014/main" id="{D4389814-D530-496E-BD3E-C4EC4F982C59}"/>
                  </a:ext>
                </a:extLst>
              </p:cNvPr>
              <p:cNvSpPr>
                <a:spLocks/>
              </p:cNvSpPr>
              <p:nvPr/>
            </p:nvSpPr>
            <p:spPr bwMode="auto">
              <a:xfrm>
                <a:off x="6925" y="1596"/>
                <a:ext cx="145" cy="120"/>
              </a:xfrm>
              <a:custGeom>
                <a:avLst/>
                <a:gdLst>
                  <a:gd name="T0" fmla="*/ 5 w 61"/>
                  <a:gd name="T1" fmla="*/ 34 h 51"/>
                  <a:gd name="T2" fmla="*/ 2 w 61"/>
                  <a:gd name="T3" fmla="*/ 35 h 51"/>
                  <a:gd name="T4" fmla="*/ 0 w 61"/>
                  <a:gd name="T5" fmla="*/ 39 h 51"/>
                  <a:gd name="T6" fmla="*/ 2 w 61"/>
                  <a:gd name="T7" fmla="*/ 47 h 51"/>
                  <a:gd name="T8" fmla="*/ 4 w 61"/>
                  <a:gd name="T9" fmla="*/ 51 h 51"/>
                  <a:gd name="T10" fmla="*/ 7 w 61"/>
                  <a:gd name="T11" fmla="*/ 47 h 51"/>
                  <a:gd name="T12" fmla="*/ 9 w 61"/>
                  <a:gd name="T13" fmla="*/ 46 h 51"/>
                  <a:gd name="T14" fmla="*/ 13 w 61"/>
                  <a:gd name="T15" fmla="*/ 46 h 51"/>
                  <a:gd name="T16" fmla="*/ 10 w 61"/>
                  <a:gd name="T17" fmla="*/ 43 h 51"/>
                  <a:gd name="T18" fmla="*/ 7 w 61"/>
                  <a:gd name="T19" fmla="*/ 41 h 51"/>
                  <a:gd name="T20" fmla="*/ 10 w 61"/>
                  <a:gd name="T21" fmla="*/ 37 h 51"/>
                  <a:gd name="T22" fmla="*/ 12 w 61"/>
                  <a:gd name="T23" fmla="*/ 40 h 51"/>
                  <a:gd name="T24" fmla="*/ 21 w 61"/>
                  <a:gd name="T25" fmla="*/ 37 h 51"/>
                  <a:gd name="T26" fmla="*/ 26 w 61"/>
                  <a:gd name="T27" fmla="*/ 40 h 51"/>
                  <a:gd name="T28" fmla="*/ 34 w 61"/>
                  <a:gd name="T29" fmla="*/ 44 h 51"/>
                  <a:gd name="T30" fmla="*/ 37 w 61"/>
                  <a:gd name="T31" fmla="*/ 39 h 51"/>
                  <a:gd name="T32" fmla="*/ 42 w 61"/>
                  <a:gd name="T33" fmla="*/ 32 h 51"/>
                  <a:gd name="T34" fmla="*/ 51 w 61"/>
                  <a:gd name="T35" fmla="*/ 32 h 51"/>
                  <a:gd name="T36" fmla="*/ 52 w 61"/>
                  <a:gd name="T37" fmla="*/ 31 h 51"/>
                  <a:gd name="T38" fmla="*/ 61 w 61"/>
                  <a:gd name="T39" fmla="*/ 27 h 51"/>
                  <a:gd name="T40" fmla="*/ 57 w 61"/>
                  <a:gd name="T41" fmla="*/ 28 h 51"/>
                  <a:gd name="T42" fmla="*/ 55 w 61"/>
                  <a:gd name="T43" fmla="*/ 24 h 51"/>
                  <a:gd name="T44" fmla="*/ 54 w 61"/>
                  <a:gd name="T45" fmla="*/ 21 h 51"/>
                  <a:gd name="T46" fmla="*/ 55 w 61"/>
                  <a:gd name="T47" fmla="*/ 19 h 51"/>
                  <a:gd name="T48" fmla="*/ 52 w 61"/>
                  <a:gd name="T49" fmla="*/ 19 h 51"/>
                  <a:gd name="T50" fmla="*/ 45 w 61"/>
                  <a:gd name="T51" fmla="*/ 19 h 51"/>
                  <a:gd name="T52" fmla="*/ 44 w 61"/>
                  <a:gd name="T53" fmla="*/ 18 h 51"/>
                  <a:gd name="T54" fmla="*/ 33 w 61"/>
                  <a:gd name="T55" fmla="*/ 12 h 51"/>
                  <a:gd name="T56" fmla="*/ 20 w 61"/>
                  <a:gd name="T57" fmla="*/ 1 h 51"/>
                  <a:gd name="T58" fmla="*/ 19 w 61"/>
                  <a:gd name="T59" fmla="*/ 2 h 51"/>
                  <a:gd name="T60" fmla="*/ 20 w 61"/>
                  <a:gd name="T61" fmla="*/ 8 h 51"/>
                  <a:gd name="T62" fmla="*/ 16 w 61"/>
                  <a:gd name="T63" fmla="*/ 22 h 51"/>
                  <a:gd name="T64" fmla="*/ 16 w 61"/>
                  <a:gd name="T65" fmla="*/ 27 h 51"/>
                  <a:gd name="T66" fmla="*/ 12 w 61"/>
                  <a:gd name="T67" fmla="*/ 28 h 51"/>
                  <a:gd name="T68" fmla="*/ 8 w 61"/>
                  <a:gd name="T69" fmla="*/ 28 h 51"/>
                  <a:gd name="T70" fmla="*/ 7 w 61"/>
                  <a:gd name="T7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 h="51">
                    <a:moveTo>
                      <a:pt x="6" y="32"/>
                    </a:moveTo>
                    <a:cubicBezTo>
                      <a:pt x="6" y="32"/>
                      <a:pt x="5" y="34"/>
                      <a:pt x="5" y="34"/>
                    </a:cubicBezTo>
                    <a:cubicBezTo>
                      <a:pt x="4" y="34"/>
                      <a:pt x="4" y="34"/>
                      <a:pt x="4" y="34"/>
                    </a:cubicBezTo>
                    <a:cubicBezTo>
                      <a:pt x="3" y="34"/>
                      <a:pt x="3" y="35"/>
                      <a:pt x="2" y="35"/>
                    </a:cubicBezTo>
                    <a:cubicBezTo>
                      <a:pt x="2" y="35"/>
                      <a:pt x="1" y="35"/>
                      <a:pt x="1" y="35"/>
                    </a:cubicBezTo>
                    <a:cubicBezTo>
                      <a:pt x="0" y="36"/>
                      <a:pt x="0" y="38"/>
                      <a:pt x="0" y="39"/>
                    </a:cubicBezTo>
                    <a:cubicBezTo>
                      <a:pt x="0" y="41"/>
                      <a:pt x="1" y="41"/>
                      <a:pt x="2" y="42"/>
                    </a:cubicBezTo>
                    <a:cubicBezTo>
                      <a:pt x="4" y="44"/>
                      <a:pt x="3" y="45"/>
                      <a:pt x="2" y="47"/>
                    </a:cubicBezTo>
                    <a:cubicBezTo>
                      <a:pt x="2" y="47"/>
                      <a:pt x="2" y="48"/>
                      <a:pt x="2" y="49"/>
                    </a:cubicBezTo>
                    <a:cubicBezTo>
                      <a:pt x="2" y="50"/>
                      <a:pt x="4" y="51"/>
                      <a:pt x="4" y="51"/>
                    </a:cubicBezTo>
                    <a:cubicBezTo>
                      <a:pt x="5" y="50"/>
                      <a:pt x="6" y="49"/>
                      <a:pt x="6" y="48"/>
                    </a:cubicBezTo>
                    <a:cubicBezTo>
                      <a:pt x="6" y="48"/>
                      <a:pt x="6" y="48"/>
                      <a:pt x="7" y="47"/>
                    </a:cubicBezTo>
                    <a:cubicBezTo>
                      <a:pt x="7" y="47"/>
                      <a:pt x="8" y="47"/>
                      <a:pt x="8" y="46"/>
                    </a:cubicBezTo>
                    <a:cubicBezTo>
                      <a:pt x="9" y="46"/>
                      <a:pt x="8" y="46"/>
                      <a:pt x="9" y="46"/>
                    </a:cubicBezTo>
                    <a:cubicBezTo>
                      <a:pt x="9" y="46"/>
                      <a:pt x="10" y="46"/>
                      <a:pt x="11" y="46"/>
                    </a:cubicBezTo>
                    <a:cubicBezTo>
                      <a:pt x="12" y="47"/>
                      <a:pt x="12" y="47"/>
                      <a:pt x="13" y="46"/>
                    </a:cubicBezTo>
                    <a:cubicBezTo>
                      <a:pt x="14" y="45"/>
                      <a:pt x="13" y="45"/>
                      <a:pt x="12" y="45"/>
                    </a:cubicBezTo>
                    <a:cubicBezTo>
                      <a:pt x="11" y="44"/>
                      <a:pt x="11" y="43"/>
                      <a:pt x="10" y="43"/>
                    </a:cubicBezTo>
                    <a:cubicBezTo>
                      <a:pt x="9" y="42"/>
                      <a:pt x="9" y="42"/>
                      <a:pt x="8" y="42"/>
                    </a:cubicBezTo>
                    <a:cubicBezTo>
                      <a:pt x="7" y="42"/>
                      <a:pt x="7" y="42"/>
                      <a:pt x="7" y="41"/>
                    </a:cubicBezTo>
                    <a:cubicBezTo>
                      <a:pt x="5" y="41"/>
                      <a:pt x="4" y="40"/>
                      <a:pt x="5" y="39"/>
                    </a:cubicBezTo>
                    <a:cubicBezTo>
                      <a:pt x="6" y="36"/>
                      <a:pt x="8" y="36"/>
                      <a:pt x="10" y="37"/>
                    </a:cubicBezTo>
                    <a:cubicBezTo>
                      <a:pt x="10" y="37"/>
                      <a:pt x="11" y="38"/>
                      <a:pt x="11" y="38"/>
                    </a:cubicBezTo>
                    <a:cubicBezTo>
                      <a:pt x="11" y="39"/>
                      <a:pt x="12" y="39"/>
                      <a:pt x="12" y="40"/>
                    </a:cubicBezTo>
                    <a:cubicBezTo>
                      <a:pt x="12" y="40"/>
                      <a:pt x="15" y="38"/>
                      <a:pt x="16" y="37"/>
                    </a:cubicBezTo>
                    <a:cubicBezTo>
                      <a:pt x="18" y="36"/>
                      <a:pt x="19" y="36"/>
                      <a:pt x="21" y="37"/>
                    </a:cubicBezTo>
                    <a:cubicBezTo>
                      <a:pt x="22" y="37"/>
                      <a:pt x="23" y="38"/>
                      <a:pt x="24" y="38"/>
                    </a:cubicBezTo>
                    <a:cubicBezTo>
                      <a:pt x="25" y="38"/>
                      <a:pt x="25" y="39"/>
                      <a:pt x="26" y="40"/>
                    </a:cubicBezTo>
                    <a:cubicBezTo>
                      <a:pt x="28" y="41"/>
                      <a:pt x="31" y="41"/>
                      <a:pt x="34" y="43"/>
                    </a:cubicBezTo>
                    <a:cubicBezTo>
                      <a:pt x="34" y="43"/>
                      <a:pt x="34" y="44"/>
                      <a:pt x="34" y="44"/>
                    </a:cubicBezTo>
                    <a:cubicBezTo>
                      <a:pt x="35" y="44"/>
                      <a:pt x="36" y="43"/>
                      <a:pt x="36" y="42"/>
                    </a:cubicBezTo>
                    <a:cubicBezTo>
                      <a:pt x="36" y="40"/>
                      <a:pt x="36" y="40"/>
                      <a:pt x="37" y="39"/>
                    </a:cubicBezTo>
                    <a:cubicBezTo>
                      <a:pt x="37" y="37"/>
                      <a:pt x="38" y="36"/>
                      <a:pt x="39" y="36"/>
                    </a:cubicBezTo>
                    <a:cubicBezTo>
                      <a:pt x="40" y="35"/>
                      <a:pt x="41" y="33"/>
                      <a:pt x="42" y="32"/>
                    </a:cubicBezTo>
                    <a:cubicBezTo>
                      <a:pt x="44" y="32"/>
                      <a:pt x="47" y="32"/>
                      <a:pt x="49" y="32"/>
                    </a:cubicBezTo>
                    <a:cubicBezTo>
                      <a:pt x="50" y="32"/>
                      <a:pt x="50" y="32"/>
                      <a:pt x="51" y="32"/>
                    </a:cubicBezTo>
                    <a:cubicBezTo>
                      <a:pt x="51" y="31"/>
                      <a:pt x="51" y="30"/>
                      <a:pt x="51" y="31"/>
                    </a:cubicBezTo>
                    <a:cubicBezTo>
                      <a:pt x="52" y="31"/>
                      <a:pt x="52" y="31"/>
                      <a:pt x="52" y="31"/>
                    </a:cubicBezTo>
                    <a:cubicBezTo>
                      <a:pt x="53" y="31"/>
                      <a:pt x="53" y="31"/>
                      <a:pt x="54" y="31"/>
                    </a:cubicBezTo>
                    <a:cubicBezTo>
                      <a:pt x="56" y="29"/>
                      <a:pt x="59" y="28"/>
                      <a:pt x="61" y="27"/>
                    </a:cubicBezTo>
                    <a:cubicBezTo>
                      <a:pt x="61" y="27"/>
                      <a:pt x="57" y="27"/>
                      <a:pt x="58" y="28"/>
                    </a:cubicBezTo>
                    <a:cubicBezTo>
                      <a:pt x="58" y="28"/>
                      <a:pt x="57" y="28"/>
                      <a:pt x="57" y="28"/>
                    </a:cubicBezTo>
                    <a:cubicBezTo>
                      <a:pt x="56" y="27"/>
                      <a:pt x="56" y="27"/>
                      <a:pt x="56" y="26"/>
                    </a:cubicBezTo>
                    <a:cubicBezTo>
                      <a:pt x="56" y="25"/>
                      <a:pt x="55" y="24"/>
                      <a:pt x="55" y="24"/>
                    </a:cubicBezTo>
                    <a:cubicBezTo>
                      <a:pt x="56" y="24"/>
                      <a:pt x="56" y="24"/>
                      <a:pt x="57" y="24"/>
                    </a:cubicBezTo>
                    <a:cubicBezTo>
                      <a:pt x="56" y="23"/>
                      <a:pt x="54" y="23"/>
                      <a:pt x="54" y="21"/>
                    </a:cubicBezTo>
                    <a:cubicBezTo>
                      <a:pt x="54" y="21"/>
                      <a:pt x="54" y="20"/>
                      <a:pt x="54" y="20"/>
                    </a:cubicBezTo>
                    <a:cubicBezTo>
                      <a:pt x="54" y="20"/>
                      <a:pt x="55" y="19"/>
                      <a:pt x="55" y="19"/>
                    </a:cubicBezTo>
                    <a:cubicBezTo>
                      <a:pt x="56" y="18"/>
                      <a:pt x="57" y="16"/>
                      <a:pt x="56" y="14"/>
                    </a:cubicBezTo>
                    <a:cubicBezTo>
                      <a:pt x="55" y="16"/>
                      <a:pt x="53" y="18"/>
                      <a:pt x="52" y="19"/>
                    </a:cubicBezTo>
                    <a:cubicBezTo>
                      <a:pt x="51" y="20"/>
                      <a:pt x="49" y="20"/>
                      <a:pt x="48" y="20"/>
                    </a:cubicBezTo>
                    <a:cubicBezTo>
                      <a:pt x="47" y="19"/>
                      <a:pt x="46" y="19"/>
                      <a:pt x="45" y="19"/>
                    </a:cubicBezTo>
                    <a:cubicBezTo>
                      <a:pt x="45" y="19"/>
                      <a:pt x="44" y="19"/>
                      <a:pt x="44" y="18"/>
                    </a:cubicBezTo>
                    <a:cubicBezTo>
                      <a:pt x="44" y="18"/>
                      <a:pt x="44" y="18"/>
                      <a:pt x="44" y="18"/>
                    </a:cubicBezTo>
                    <a:cubicBezTo>
                      <a:pt x="43" y="17"/>
                      <a:pt x="43" y="17"/>
                      <a:pt x="42" y="17"/>
                    </a:cubicBezTo>
                    <a:cubicBezTo>
                      <a:pt x="39" y="18"/>
                      <a:pt x="35" y="14"/>
                      <a:pt x="33" y="12"/>
                    </a:cubicBezTo>
                    <a:cubicBezTo>
                      <a:pt x="29" y="8"/>
                      <a:pt x="25" y="4"/>
                      <a:pt x="22" y="0"/>
                    </a:cubicBezTo>
                    <a:cubicBezTo>
                      <a:pt x="21" y="0"/>
                      <a:pt x="21" y="1"/>
                      <a:pt x="20" y="1"/>
                    </a:cubicBezTo>
                    <a:cubicBezTo>
                      <a:pt x="20" y="1"/>
                      <a:pt x="19" y="1"/>
                      <a:pt x="19" y="1"/>
                    </a:cubicBezTo>
                    <a:cubicBezTo>
                      <a:pt x="19" y="1"/>
                      <a:pt x="19" y="1"/>
                      <a:pt x="19" y="2"/>
                    </a:cubicBezTo>
                    <a:cubicBezTo>
                      <a:pt x="19" y="3"/>
                      <a:pt x="18" y="4"/>
                      <a:pt x="19" y="5"/>
                    </a:cubicBezTo>
                    <a:cubicBezTo>
                      <a:pt x="19" y="6"/>
                      <a:pt x="20" y="7"/>
                      <a:pt x="20" y="8"/>
                    </a:cubicBezTo>
                    <a:cubicBezTo>
                      <a:pt x="21" y="11"/>
                      <a:pt x="19" y="15"/>
                      <a:pt x="19" y="18"/>
                    </a:cubicBezTo>
                    <a:cubicBezTo>
                      <a:pt x="19" y="20"/>
                      <a:pt x="15" y="21"/>
                      <a:pt x="16" y="22"/>
                    </a:cubicBezTo>
                    <a:cubicBezTo>
                      <a:pt x="16" y="24"/>
                      <a:pt x="16" y="25"/>
                      <a:pt x="16" y="25"/>
                    </a:cubicBezTo>
                    <a:cubicBezTo>
                      <a:pt x="16" y="26"/>
                      <a:pt x="17" y="27"/>
                      <a:pt x="16" y="27"/>
                    </a:cubicBezTo>
                    <a:cubicBezTo>
                      <a:pt x="15" y="28"/>
                      <a:pt x="14" y="30"/>
                      <a:pt x="13" y="29"/>
                    </a:cubicBezTo>
                    <a:cubicBezTo>
                      <a:pt x="12" y="29"/>
                      <a:pt x="12" y="29"/>
                      <a:pt x="12" y="28"/>
                    </a:cubicBezTo>
                    <a:cubicBezTo>
                      <a:pt x="11" y="28"/>
                      <a:pt x="10" y="29"/>
                      <a:pt x="10" y="29"/>
                    </a:cubicBezTo>
                    <a:cubicBezTo>
                      <a:pt x="9" y="29"/>
                      <a:pt x="9" y="28"/>
                      <a:pt x="8" y="28"/>
                    </a:cubicBezTo>
                    <a:cubicBezTo>
                      <a:pt x="8" y="27"/>
                      <a:pt x="6" y="26"/>
                      <a:pt x="5" y="28"/>
                    </a:cubicBezTo>
                    <a:cubicBezTo>
                      <a:pt x="5" y="29"/>
                      <a:pt x="6" y="29"/>
                      <a:pt x="7" y="30"/>
                    </a:cubicBezTo>
                    <a:cubicBezTo>
                      <a:pt x="7" y="31"/>
                      <a:pt x="7" y="31"/>
                      <a:pt x="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5" name="Freeform 2323">
                <a:extLst>
                  <a:ext uri="{FF2B5EF4-FFF2-40B4-BE49-F238E27FC236}">
                    <a16:creationId xmlns:a16="http://schemas.microsoft.com/office/drawing/2014/main" id="{0804E497-03AB-47BE-BADF-6638640FCDF0}"/>
                  </a:ext>
                </a:extLst>
              </p:cNvPr>
              <p:cNvSpPr>
                <a:spLocks/>
              </p:cNvSpPr>
              <p:nvPr/>
            </p:nvSpPr>
            <p:spPr bwMode="auto">
              <a:xfrm>
                <a:off x="6677" y="1925"/>
                <a:ext cx="62" cy="78"/>
              </a:xfrm>
              <a:custGeom>
                <a:avLst/>
                <a:gdLst>
                  <a:gd name="T0" fmla="*/ 2 w 26"/>
                  <a:gd name="T1" fmla="*/ 10 h 33"/>
                  <a:gd name="T2" fmla="*/ 2 w 26"/>
                  <a:gd name="T3" fmla="*/ 13 h 33"/>
                  <a:gd name="T4" fmla="*/ 2 w 26"/>
                  <a:gd name="T5" fmla="*/ 16 h 33"/>
                  <a:gd name="T6" fmla="*/ 7 w 26"/>
                  <a:gd name="T7" fmla="*/ 13 h 33"/>
                  <a:gd name="T8" fmla="*/ 6 w 26"/>
                  <a:gd name="T9" fmla="*/ 15 h 33"/>
                  <a:gd name="T10" fmla="*/ 8 w 26"/>
                  <a:gd name="T11" fmla="*/ 15 h 33"/>
                  <a:gd name="T12" fmla="*/ 6 w 26"/>
                  <a:gd name="T13" fmla="*/ 12 h 33"/>
                  <a:gd name="T14" fmla="*/ 7 w 26"/>
                  <a:gd name="T15" fmla="*/ 11 h 33"/>
                  <a:gd name="T16" fmla="*/ 6 w 26"/>
                  <a:gd name="T17" fmla="*/ 9 h 33"/>
                  <a:gd name="T18" fmla="*/ 8 w 26"/>
                  <a:gd name="T19" fmla="*/ 9 h 33"/>
                  <a:gd name="T20" fmla="*/ 10 w 26"/>
                  <a:gd name="T21" fmla="*/ 12 h 33"/>
                  <a:gd name="T22" fmla="*/ 11 w 26"/>
                  <a:gd name="T23" fmla="*/ 14 h 33"/>
                  <a:gd name="T24" fmla="*/ 9 w 26"/>
                  <a:gd name="T25" fmla="*/ 15 h 33"/>
                  <a:gd name="T26" fmla="*/ 11 w 26"/>
                  <a:gd name="T27" fmla="*/ 15 h 33"/>
                  <a:gd name="T28" fmla="*/ 10 w 26"/>
                  <a:gd name="T29" fmla="*/ 18 h 33"/>
                  <a:gd name="T30" fmla="*/ 7 w 26"/>
                  <a:gd name="T31" fmla="*/ 25 h 33"/>
                  <a:gd name="T32" fmla="*/ 6 w 26"/>
                  <a:gd name="T33" fmla="*/ 29 h 33"/>
                  <a:gd name="T34" fmla="*/ 6 w 26"/>
                  <a:gd name="T35" fmla="*/ 29 h 33"/>
                  <a:gd name="T36" fmla="*/ 8 w 26"/>
                  <a:gd name="T37" fmla="*/ 31 h 33"/>
                  <a:gd name="T38" fmla="*/ 9 w 26"/>
                  <a:gd name="T39" fmla="*/ 31 h 33"/>
                  <a:gd name="T40" fmla="*/ 11 w 26"/>
                  <a:gd name="T41" fmla="*/ 31 h 33"/>
                  <a:gd name="T42" fmla="*/ 10 w 26"/>
                  <a:gd name="T43" fmla="*/ 29 h 33"/>
                  <a:gd name="T44" fmla="*/ 11 w 26"/>
                  <a:gd name="T45" fmla="*/ 26 h 33"/>
                  <a:gd name="T46" fmla="*/ 13 w 26"/>
                  <a:gd name="T47" fmla="*/ 26 h 33"/>
                  <a:gd name="T48" fmla="*/ 12 w 26"/>
                  <a:gd name="T49" fmla="*/ 27 h 33"/>
                  <a:gd name="T50" fmla="*/ 12 w 26"/>
                  <a:gd name="T51" fmla="*/ 33 h 33"/>
                  <a:gd name="T52" fmla="*/ 16 w 26"/>
                  <a:gd name="T53" fmla="*/ 30 h 33"/>
                  <a:gd name="T54" fmla="*/ 16 w 26"/>
                  <a:gd name="T55" fmla="*/ 28 h 33"/>
                  <a:gd name="T56" fmla="*/ 19 w 26"/>
                  <a:gd name="T57" fmla="*/ 26 h 33"/>
                  <a:gd name="T58" fmla="*/ 20 w 26"/>
                  <a:gd name="T59" fmla="*/ 24 h 33"/>
                  <a:gd name="T60" fmla="*/ 22 w 26"/>
                  <a:gd name="T61" fmla="*/ 18 h 33"/>
                  <a:gd name="T62" fmla="*/ 24 w 26"/>
                  <a:gd name="T63" fmla="*/ 14 h 33"/>
                  <a:gd name="T64" fmla="*/ 26 w 26"/>
                  <a:gd name="T65" fmla="*/ 11 h 33"/>
                  <a:gd name="T66" fmla="*/ 25 w 26"/>
                  <a:gd name="T67" fmla="*/ 12 h 33"/>
                  <a:gd name="T68" fmla="*/ 24 w 26"/>
                  <a:gd name="T69" fmla="*/ 8 h 33"/>
                  <a:gd name="T70" fmla="*/ 22 w 26"/>
                  <a:gd name="T71" fmla="*/ 8 h 33"/>
                  <a:gd name="T72" fmla="*/ 20 w 26"/>
                  <a:gd name="T73" fmla="*/ 7 h 33"/>
                  <a:gd name="T74" fmla="*/ 21 w 26"/>
                  <a:gd name="T75" fmla="*/ 6 h 33"/>
                  <a:gd name="T76" fmla="*/ 21 w 26"/>
                  <a:gd name="T77" fmla="*/ 3 h 33"/>
                  <a:gd name="T78" fmla="*/ 20 w 26"/>
                  <a:gd name="T79" fmla="*/ 4 h 33"/>
                  <a:gd name="T80" fmla="*/ 19 w 26"/>
                  <a:gd name="T81" fmla="*/ 4 h 33"/>
                  <a:gd name="T82" fmla="*/ 15 w 26"/>
                  <a:gd name="T83" fmla="*/ 0 h 33"/>
                  <a:gd name="T84" fmla="*/ 11 w 26"/>
                  <a:gd name="T85" fmla="*/ 0 h 33"/>
                  <a:gd name="T86" fmla="*/ 9 w 26"/>
                  <a:gd name="T87" fmla="*/ 2 h 33"/>
                  <a:gd name="T88" fmla="*/ 7 w 26"/>
                  <a:gd name="T89" fmla="*/ 3 h 33"/>
                  <a:gd name="T90" fmla="*/ 5 w 26"/>
                  <a:gd name="T91" fmla="*/ 5 h 33"/>
                  <a:gd name="T92" fmla="*/ 3 w 26"/>
                  <a:gd name="T93" fmla="*/ 5 h 33"/>
                  <a:gd name="T94" fmla="*/ 3 w 26"/>
                  <a:gd name="T95" fmla="*/ 7 h 33"/>
                  <a:gd name="T96" fmla="*/ 0 w 26"/>
                  <a:gd name="T97" fmla="*/ 7 h 33"/>
                  <a:gd name="T98" fmla="*/ 2 w 26"/>
                  <a:gd name="T99"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 h="33">
                    <a:moveTo>
                      <a:pt x="2" y="10"/>
                    </a:moveTo>
                    <a:cubicBezTo>
                      <a:pt x="1" y="11"/>
                      <a:pt x="1" y="12"/>
                      <a:pt x="2" y="13"/>
                    </a:cubicBezTo>
                    <a:cubicBezTo>
                      <a:pt x="3" y="14"/>
                      <a:pt x="4" y="14"/>
                      <a:pt x="2" y="16"/>
                    </a:cubicBezTo>
                    <a:cubicBezTo>
                      <a:pt x="4" y="15"/>
                      <a:pt x="5" y="14"/>
                      <a:pt x="7" y="13"/>
                    </a:cubicBezTo>
                    <a:cubicBezTo>
                      <a:pt x="7" y="14"/>
                      <a:pt x="6" y="15"/>
                      <a:pt x="6" y="15"/>
                    </a:cubicBezTo>
                    <a:cubicBezTo>
                      <a:pt x="7" y="15"/>
                      <a:pt x="8" y="15"/>
                      <a:pt x="8" y="15"/>
                    </a:cubicBezTo>
                    <a:cubicBezTo>
                      <a:pt x="8" y="14"/>
                      <a:pt x="7" y="13"/>
                      <a:pt x="6" y="12"/>
                    </a:cubicBezTo>
                    <a:cubicBezTo>
                      <a:pt x="6" y="12"/>
                      <a:pt x="7" y="12"/>
                      <a:pt x="7" y="11"/>
                    </a:cubicBezTo>
                    <a:cubicBezTo>
                      <a:pt x="6" y="11"/>
                      <a:pt x="6" y="10"/>
                      <a:pt x="6" y="9"/>
                    </a:cubicBezTo>
                    <a:cubicBezTo>
                      <a:pt x="7" y="9"/>
                      <a:pt x="7" y="8"/>
                      <a:pt x="8" y="9"/>
                    </a:cubicBezTo>
                    <a:cubicBezTo>
                      <a:pt x="9" y="9"/>
                      <a:pt x="9" y="11"/>
                      <a:pt x="10" y="12"/>
                    </a:cubicBezTo>
                    <a:cubicBezTo>
                      <a:pt x="10" y="12"/>
                      <a:pt x="11" y="13"/>
                      <a:pt x="11" y="14"/>
                    </a:cubicBezTo>
                    <a:cubicBezTo>
                      <a:pt x="10" y="14"/>
                      <a:pt x="10" y="15"/>
                      <a:pt x="9" y="15"/>
                    </a:cubicBezTo>
                    <a:cubicBezTo>
                      <a:pt x="10" y="15"/>
                      <a:pt x="11" y="15"/>
                      <a:pt x="11" y="15"/>
                    </a:cubicBezTo>
                    <a:cubicBezTo>
                      <a:pt x="11" y="15"/>
                      <a:pt x="10" y="19"/>
                      <a:pt x="10" y="18"/>
                    </a:cubicBezTo>
                    <a:cubicBezTo>
                      <a:pt x="8" y="21"/>
                      <a:pt x="5" y="21"/>
                      <a:pt x="7" y="25"/>
                    </a:cubicBezTo>
                    <a:cubicBezTo>
                      <a:pt x="7" y="25"/>
                      <a:pt x="9" y="30"/>
                      <a:pt x="6" y="29"/>
                    </a:cubicBezTo>
                    <a:cubicBezTo>
                      <a:pt x="6" y="29"/>
                      <a:pt x="6" y="29"/>
                      <a:pt x="6" y="29"/>
                    </a:cubicBezTo>
                    <a:cubicBezTo>
                      <a:pt x="6" y="30"/>
                      <a:pt x="7" y="30"/>
                      <a:pt x="8" y="31"/>
                    </a:cubicBezTo>
                    <a:cubicBezTo>
                      <a:pt x="8" y="31"/>
                      <a:pt x="9" y="31"/>
                      <a:pt x="9" y="31"/>
                    </a:cubicBezTo>
                    <a:cubicBezTo>
                      <a:pt x="10" y="31"/>
                      <a:pt x="11" y="32"/>
                      <a:pt x="11" y="31"/>
                    </a:cubicBezTo>
                    <a:cubicBezTo>
                      <a:pt x="12" y="31"/>
                      <a:pt x="11" y="30"/>
                      <a:pt x="10" y="29"/>
                    </a:cubicBezTo>
                    <a:cubicBezTo>
                      <a:pt x="10" y="28"/>
                      <a:pt x="10" y="27"/>
                      <a:pt x="11" y="26"/>
                    </a:cubicBezTo>
                    <a:cubicBezTo>
                      <a:pt x="11" y="26"/>
                      <a:pt x="12" y="25"/>
                      <a:pt x="13" y="26"/>
                    </a:cubicBezTo>
                    <a:cubicBezTo>
                      <a:pt x="13" y="26"/>
                      <a:pt x="13" y="27"/>
                      <a:pt x="12" y="27"/>
                    </a:cubicBezTo>
                    <a:cubicBezTo>
                      <a:pt x="13" y="30"/>
                      <a:pt x="13" y="31"/>
                      <a:pt x="12" y="33"/>
                    </a:cubicBezTo>
                    <a:cubicBezTo>
                      <a:pt x="13" y="32"/>
                      <a:pt x="15" y="31"/>
                      <a:pt x="16" y="30"/>
                    </a:cubicBezTo>
                    <a:cubicBezTo>
                      <a:pt x="16" y="30"/>
                      <a:pt x="16" y="29"/>
                      <a:pt x="16" y="28"/>
                    </a:cubicBezTo>
                    <a:cubicBezTo>
                      <a:pt x="19" y="29"/>
                      <a:pt x="19" y="29"/>
                      <a:pt x="19" y="26"/>
                    </a:cubicBezTo>
                    <a:cubicBezTo>
                      <a:pt x="20" y="26"/>
                      <a:pt x="20" y="25"/>
                      <a:pt x="20" y="24"/>
                    </a:cubicBezTo>
                    <a:cubicBezTo>
                      <a:pt x="20" y="22"/>
                      <a:pt x="21" y="20"/>
                      <a:pt x="22" y="18"/>
                    </a:cubicBezTo>
                    <a:cubicBezTo>
                      <a:pt x="23" y="17"/>
                      <a:pt x="23" y="15"/>
                      <a:pt x="24" y="14"/>
                    </a:cubicBezTo>
                    <a:cubicBezTo>
                      <a:pt x="24" y="13"/>
                      <a:pt x="25" y="12"/>
                      <a:pt x="26" y="11"/>
                    </a:cubicBezTo>
                    <a:cubicBezTo>
                      <a:pt x="26" y="12"/>
                      <a:pt x="25" y="12"/>
                      <a:pt x="25" y="12"/>
                    </a:cubicBezTo>
                    <a:cubicBezTo>
                      <a:pt x="25" y="11"/>
                      <a:pt x="25" y="8"/>
                      <a:pt x="24" y="8"/>
                    </a:cubicBezTo>
                    <a:cubicBezTo>
                      <a:pt x="24" y="8"/>
                      <a:pt x="23" y="8"/>
                      <a:pt x="22" y="8"/>
                    </a:cubicBezTo>
                    <a:cubicBezTo>
                      <a:pt x="22" y="8"/>
                      <a:pt x="20" y="7"/>
                      <a:pt x="20" y="7"/>
                    </a:cubicBezTo>
                    <a:cubicBezTo>
                      <a:pt x="20" y="7"/>
                      <a:pt x="21" y="7"/>
                      <a:pt x="21" y="6"/>
                    </a:cubicBezTo>
                    <a:cubicBezTo>
                      <a:pt x="22" y="6"/>
                      <a:pt x="22" y="3"/>
                      <a:pt x="21" y="3"/>
                    </a:cubicBezTo>
                    <a:cubicBezTo>
                      <a:pt x="21" y="3"/>
                      <a:pt x="20" y="3"/>
                      <a:pt x="20" y="4"/>
                    </a:cubicBezTo>
                    <a:cubicBezTo>
                      <a:pt x="19" y="4"/>
                      <a:pt x="19" y="4"/>
                      <a:pt x="19" y="4"/>
                    </a:cubicBezTo>
                    <a:cubicBezTo>
                      <a:pt x="17" y="4"/>
                      <a:pt x="14" y="2"/>
                      <a:pt x="15" y="0"/>
                    </a:cubicBezTo>
                    <a:cubicBezTo>
                      <a:pt x="14" y="0"/>
                      <a:pt x="12" y="0"/>
                      <a:pt x="11" y="0"/>
                    </a:cubicBezTo>
                    <a:cubicBezTo>
                      <a:pt x="10" y="1"/>
                      <a:pt x="10" y="1"/>
                      <a:pt x="9" y="2"/>
                    </a:cubicBezTo>
                    <a:cubicBezTo>
                      <a:pt x="9" y="3"/>
                      <a:pt x="9" y="3"/>
                      <a:pt x="7" y="3"/>
                    </a:cubicBezTo>
                    <a:cubicBezTo>
                      <a:pt x="6" y="4"/>
                      <a:pt x="6" y="4"/>
                      <a:pt x="5" y="5"/>
                    </a:cubicBezTo>
                    <a:cubicBezTo>
                      <a:pt x="5" y="5"/>
                      <a:pt x="4" y="5"/>
                      <a:pt x="3" y="5"/>
                    </a:cubicBezTo>
                    <a:cubicBezTo>
                      <a:pt x="3" y="5"/>
                      <a:pt x="3" y="6"/>
                      <a:pt x="3" y="7"/>
                    </a:cubicBezTo>
                    <a:cubicBezTo>
                      <a:pt x="2" y="7"/>
                      <a:pt x="1" y="7"/>
                      <a:pt x="0" y="7"/>
                    </a:cubicBezTo>
                    <a:cubicBezTo>
                      <a:pt x="0" y="8"/>
                      <a:pt x="1" y="8"/>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6" name="Freeform 2324">
                <a:extLst>
                  <a:ext uri="{FF2B5EF4-FFF2-40B4-BE49-F238E27FC236}">
                    <a16:creationId xmlns:a16="http://schemas.microsoft.com/office/drawing/2014/main" id="{4FA4BAD9-A6FA-4C78-AA23-179D03AC3218}"/>
                  </a:ext>
                </a:extLst>
              </p:cNvPr>
              <p:cNvSpPr>
                <a:spLocks/>
              </p:cNvSpPr>
              <p:nvPr/>
            </p:nvSpPr>
            <p:spPr bwMode="auto">
              <a:xfrm>
                <a:off x="6679" y="1927"/>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7" name="Freeform 2325">
                <a:extLst>
                  <a:ext uri="{FF2B5EF4-FFF2-40B4-BE49-F238E27FC236}">
                    <a16:creationId xmlns:a16="http://schemas.microsoft.com/office/drawing/2014/main" id="{3959BCF2-608B-4F9B-A9BF-38AAC8E82295}"/>
                  </a:ext>
                </a:extLst>
              </p:cNvPr>
              <p:cNvSpPr>
                <a:spLocks noEditPoints="1"/>
              </p:cNvSpPr>
              <p:nvPr/>
            </p:nvSpPr>
            <p:spPr bwMode="auto">
              <a:xfrm>
                <a:off x="6710" y="1712"/>
                <a:ext cx="272" cy="227"/>
              </a:xfrm>
              <a:custGeom>
                <a:avLst/>
                <a:gdLst>
                  <a:gd name="T0" fmla="*/ 15 w 115"/>
                  <a:gd name="T1" fmla="*/ 85 h 96"/>
                  <a:gd name="T2" fmla="*/ 30 w 115"/>
                  <a:gd name="T3" fmla="*/ 84 h 96"/>
                  <a:gd name="T4" fmla="*/ 45 w 115"/>
                  <a:gd name="T5" fmla="*/ 81 h 96"/>
                  <a:gd name="T6" fmla="*/ 43 w 115"/>
                  <a:gd name="T7" fmla="*/ 87 h 96"/>
                  <a:gd name="T8" fmla="*/ 46 w 115"/>
                  <a:gd name="T9" fmla="*/ 93 h 96"/>
                  <a:gd name="T10" fmla="*/ 58 w 115"/>
                  <a:gd name="T11" fmla="*/ 86 h 96"/>
                  <a:gd name="T12" fmla="*/ 59 w 115"/>
                  <a:gd name="T13" fmla="*/ 86 h 96"/>
                  <a:gd name="T14" fmla="*/ 58 w 115"/>
                  <a:gd name="T15" fmla="*/ 83 h 96"/>
                  <a:gd name="T16" fmla="*/ 61 w 115"/>
                  <a:gd name="T17" fmla="*/ 80 h 96"/>
                  <a:gd name="T18" fmla="*/ 64 w 115"/>
                  <a:gd name="T19" fmla="*/ 82 h 96"/>
                  <a:gd name="T20" fmla="*/ 75 w 115"/>
                  <a:gd name="T21" fmla="*/ 81 h 96"/>
                  <a:gd name="T22" fmla="*/ 78 w 115"/>
                  <a:gd name="T23" fmla="*/ 77 h 96"/>
                  <a:gd name="T24" fmla="*/ 81 w 115"/>
                  <a:gd name="T25" fmla="*/ 82 h 96"/>
                  <a:gd name="T26" fmla="*/ 84 w 115"/>
                  <a:gd name="T27" fmla="*/ 77 h 96"/>
                  <a:gd name="T28" fmla="*/ 91 w 115"/>
                  <a:gd name="T29" fmla="*/ 78 h 96"/>
                  <a:gd name="T30" fmla="*/ 97 w 115"/>
                  <a:gd name="T31" fmla="*/ 75 h 96"/>
                  <a:gd name="T32" fmla="*/ 99 w 115"/>
                  <a:gd name="T33" fmla="*/ 61 h 96"/>
                  <a:gd name="T34" fmla="*/ 103 w 115"/>
                  <a:gd name="T35" fmla="*/ 52 h 96"/>
                  <a:gd name="T36" fmla="*/ 105 w 115"/>
                  <a:gd name="T37" fmla="*/ 39 h 96"/>
                  <a:gd name="T38" fmla="*/ 109 w 115"/>
                  <a:gd name="T39" fmla="*/ 32 h 96"/>
                  <a:gd name="T40" fmla="*/ 112 w 115"/>
                  <a:gd name="T41" fmla="*/ 31 h 96"/>
                  <a:gd name="T42" fmla="*/ 107 w 115"/>
                  <a:gd name="T43" fmla="*/ 9 h 96"/>
                  <a:gd name="T44" fmla="*/ 105 w 115"/>
                  <a:gd name="T45" fmla="*/ 1 h 96"/>
                  <a:gd name="T46" fmla="*/ 105 w 115"/>
                  <a:gd name="T47" fmla="*/ 4 h 96"/>
                  <a:gd name="T48" fmla="*/ 102 w 115"/>
                  <a:gd name="T49" fmla="*/ 8 h 96"/>
                  <a:gd name="T50" fmla="*/ 99 w 115"/>
                  <a:gd name="T51" fmla="*/ 5 h 96"/>
                  <a:gd name="T52" fmla="*/ 93 w 115"/>
                  <a:gd name="T53" fmla="*/ 10 h 96"/>
                  <a:gd name="T54" fmla="*/ 90 w 115"/>
                  <a:gd name="T55" fmla="*/ 19 h 96"/>
                  <a:gd name="T56" fmla="*/ 93 w 115"/>
                  <a:gd name="T57" fmla="*/ 21 h 96"/>
                  <a:gd name="T58" fmla="*/ 87 w 115"/>
                  <a:gd name="T59" fmla="*/ 39 h 96"/>
                  <a:gd name="T60" fmla="*/ 79 w 115"/>
                  <a:gd name="T61" fmla="*/ 49 h 96"/>
                  <a:gd name="T62" fmla="*/ 63 w 115"/>
                  <a:gd name="T63" fmla="*/ 57 h 96"/>
                  <a:gd name="T64" fmla="*/ 62 w 115"/>
                  <a:gd name="T65" fmla="*/ 54 h 96"/>
                  <a:gd name="T66" fmla="*/ 64 w 115"/>
                  <a:gd name="T67" fmla="*/ 51 h 96"/>
                  <a:gd name="T68" fmla="*/ 63 w 115"/>
                  <a:gd name="T69" fmla="*/ 49 h 96"/>
                  <a:gd name="T70" fmla="*/ 57 w 115"/>
                  <a:gd name="T71" fmla="*/ 60 h 96"/>
                  <a:gd name="T72" fmla="*/ 50 w 115"/>
                  <a:gd name="T73" fmla="*/ 72 h 96"/>
                  <a:gd name="T74" fmla="*/ 45 w 115"/>
                  <a:gd name="T75" fmla="*/ 70 h 96"/>
                  <a:gd name="T76" fmla="*/ 18 w 115"/>
                  <a:gd name="T77" fmla="*/ 73 h 96"/>
                  <a:gd name="T78" fmla="*/ 6 w 115"/>
                  <a:gd name="T79" fmla="*/ 83 h 96"/>
                  <a:gd name="T80" fmla="*/ 0 w 115"/>
                  <a:gd name="T81" fmla="*/ 86 h 96"/>
                  <a:gd name="T82" fmla="*/ 0 w 115"/>
                  <a:gd name="T83" fmla="*/ 89 h 96"/>
                  <a:gd name="T84" fmla="*/ 9 w 115"/>
                  <a:gd name="T85" fmla="*/ 89 h 96"/>
                  <a:gd name="T86" fmla="*/ 93 w 115"/>
                  <a:gd name="T87" fmla="*/ 70 h 96"/>
                  <a:gd name="T88" fmla="*/ 90 w 115"/>
                  <a:gd name="T8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96">
                    <a:moveTo>
                      <a:pt x="11" y="90"/>
                    </a:moveTo>
                    <a:cubicBezTo>
                      <a:pt x="11" y="90"/>
                      <a:pt x="12" y="91"/>
                      <a:pt x="12" y="91"/>
                    </a:cubicBezTo>
                    <a:cubicBezTo>
                      <a:pt x="12" y="90"/>
                      <a:pt x="14" y="85"/>
                      <a:pt x="15" y="85"/>
                    </a:cubicBezTo>
                    <a:cubicBezTo>
                      <a:pt x="17" y="86"/>
                      <a:pt x="16" y="87"/>
                      <a:pt x="18" y="87"/>
                    </a:cubicBezTo>
                    <a:cubicBezTo>
                      <a:pt x="20" y="87"/>
                      <a:pt x="23" y="86"/>
                      <a:pt x="25" y="84"/>
                    </a:cubicBezTo>
                    <a:cubicBezTo>
                      <a:pt x="27" y="83"/>
                      <a:pt x="29" y="85"/>
                      <a:pt x="30" y="84"/>
                    </a:cubicBezTo>
                    <a:cubicBezTo>
                      <a:pt x="31" y="84"/>
                      <a:pt x="31" y="83"/>
                      <a:pt x="32" y="82"/>
                    </a:cubicBezTo>
                    <a:cubicBezTo>
                      <a:pt x="32" y="82"/>
                      <a:pt x="34" y="81"/>
                      <a:pt x="35" y="81"/>
                    </a:cubicBezTo>
                    <a:cubicBezTo>
                      <a:pt x="38" y="81"/>
                      <a:pt x="42" y="81"/>
                      <a:pt x="45" y="81"/>
                    </a:cubicBezTo>
                    <a:cubicBezTo>
                      <a:pt x="48" y="81"/>
                      <a:pt x="46" y="83"/>
                      <a:pt x="45" y="84"/>
                    </a:cubicBezTo>
                    <a:cubicBezTo>
                      <a:pt x="44" y="85"/>
                      <a:pt x="44" y="85"/>
                      <a:pt x="43" y="86"/>
                    </a:cubicBezTo>
                    <a:cubicBezTo>
                      <a:pt x="43" y="86"/>
                      <a:pt x="43" y="87"/>
                      <a:pt x="43" y="87"/>
                    </a:cubicBezTo>
                    <a:cubicBezTo>
                      <a:pt x="43" y="88"/>
                      <a:pt x="43" y="88"/>
                      <a:pt x="43" y="88"/>
                    </a:cubicBezTo>
                    <a:cubicBezTo>
                      <a:pt x="43" y="89"/>
                      <a:pt x="43" y="90"/>
                      <a:pt x="42" y="91"/>
                    </a:cubicBezTo>
                    <a:cubicBezTo>
                      <a:pt x="44" y="91"/>
                      <a:pt x="45" y="92"/>
                      <a:pt x="46" y="93"/>
                    </a:cubicBezTo>
                    <a:cubicBezTo>
                      <a:pt x="44" y="93"/>
                      <a:pt x="50" y="95"/>
                      <a:pt x="50" y="96"/>
                    </a:cubicBezTo>
                    <a:cubicBezTo>
                      <a:pt x="52" y="94"/>
                      <a:pt x="54" y="91"/>
                      <a:pt x="56" y="88"/>
                    </a:cubicBezTo>
                    <a:cubicBezTo>
                      <a:pt x="56" y="87"/>
                      <a:pt x="57" y="87"/>
                      <a:pt x="58" y="86"/>
                    </a:cubicBezTo>
                    <a:cubicBezTo>
                      <a:pt x="58" y="86"/>
                      <a:pt x="58" y="86"/>
                      <a:pt x="59" y="86"/>
                    </a:cubicBezTo>
                    <a:cubicBezTo>
                      <a:pt x="59" y="86"/>
                      <a:pt x="59" y="85"/>
                      <a:pt x="59" y="85"/>
                    </a:cubicBezTo>
                    <a:cubicBezTo>
                      <a:pt x="59" y="85"/>
                      <a:pt x="59" y="86"/>
                      <a:pt x="59" y="86"/>
                    </a:cubicBezTo>
                    <a:cubicBezTo>
                      <a:pt x="60" y="86"/>
                      <a:pt x="61" y="86"/>
                      <a:pt x="61" y="86"/>
                    </a:cubicBezTo>
                    <a:cubicBezTo>
                      <a:pt x="61" y="86"/>
                      <a:pt x="61" y="86"/>
                      <a:pt x="61" y="86"/>
                    </a:cubicBezTo>
                    <a:cubicBezTo>
                      <a:pt x="61" y="85"/>
                      <a:pt x="60" y="83"/>
                      <a:pt x="58" y="83"/>
                    </a:cubicBezTo>
                    <a:cubicBezTo>
                      <a:pt x="58" y="82"/>
                      <a:pt x="57" y="83"/>
                      <a:pt x="58" y="81"/>
                    </a:cubicBezTo>
                    <a:cubicBezTo>
                      <a:pt x="58" y="79"/>
                      <a:pt x="59" y="77"/>
                      <a:pt x="61" y="77"/>
                    </a:cubicBezTo>
                    <a:cubicBezTo>
                      <a:pt x="61" y="78"/>
                      <a:pt x="60" y="79"/>
                      <a:pt x="61" y="80"/>
                    </a:cubicBezTo>
                    <a:cubicBezTo>
                      <a:pt x="61" y="81"/>
                      <a:pt x="61" y="82"/>
                      <a:pt x="61" y="80"/>
                    </a:cubicBezTo>
                    <a:cubicBezTo>
                      <a:pt x="62" y="80"/>
                      <a:pt x="62" y="79"/>
                      <a:pt x="62" y="79"/>
                    </a:cubicBezTo>
                    <a:cubicBezTo>
                      <a:pt x="62" y="81"/>
                      <a:pt x="63" y="80"/>
                      <a:pt x="64" y="82"/>
                    </a:cubicBezTo>
                    <a:cubicBezTo>
                      <a:pt x="63" y="82"/>
                      <a:pt x="63" y="82"/>
                      <a:pt x="62" y="83"/>
                    </a:cubicBezTo>
                    <a:cubicBezTo>
                      <a:pt x="65" y="82"/>
                      <a:pt x="68" y="82"/>
                      <a:pt x="70" y="81"/>
                    </a:cubicBezTo>
                    <a:cubicBezTo>
                      <a:pt x="71" y="81"/>
                      <a:pt x="74" y="82"/>
                      <a:pt x="75" y="81"/>
                    </a:cubicBezTo>
                    <a:cubicBezTo>
                      <a:pt x="76" y="80"/>
                      <a:pt x="76" y="79"/>
                      <a:pt x="77" y="79"/>
                    </a:cubicBezTo>
                    <a:cubicBezTo>
                      <a:pt x="77" y="78"/>
                      <a:pt x="78" y="78"/>
                      <a:pt x="78" y="78"/>
                    </a:cubicBezTo>
                    <a:cubicBezTo>
                      <a:pt x="78" y="78"/>
                      <a:pt x="78" y="77"/>
                      <a:pt x="78" y="77"/>
                    </a:cubicBezTo>
                    <a:cubicBezTo>
                      <a:pt x="79" y="76"/>
                      <a:pt x="81" y="76"/>
                      <a:pt x="82" y="77"/>
                    </a:cubicBezTo>
                    <a:cubicBezTo>
                      <a:pt x="81" y="77"/>
                      <a:pt x="81" y="78"/>
                      <a:pt x="80" y="78"/>
                    </a:cubicBezTo>
                    <a:cubicBezTo>
                      <a:pt x="80" y="79"/>
                      <a:pt x="81" y="82"/>
                      <a:pt x="81" y="82"/>
                    </a:cubicBezTo>
                    <a:cubicBezTo>
                      <a:pt x="81" y="82"/>
                      <a:pt x="82" y="82"/>
                      <a:pt x="82" y="82"/>
                    </a:cubicBezTo>
                    <a:cubicBezTo>
                      <a:pt x="83" y="81"/>
                      <a:pt x="84" y="80"/>
                      <a:pt x="84" y="78"/>
                    </a:cubicBezTo>
                    <a:cubicBezTo>
                      <a:pt x="84" y="77"/>
                      <a:pt x="84" y="77"/>
                      <a:pt x="84" y="77"/>
                    </a:cubicBezTo>
                    <a:cubicBezTo>
                      <a:pt x="85" y="76"/>
                      <a:pt x="86" y="76"/>
                      <a:pt x="87" y="76"/>
                    </a:cubicBezTo>
                    <a:cubicBezTo>
                      <a:pt x="89" y="76"/>
                      <a:pt x="90" y="77"/>
                      <a:pt x="91" y="78"/>
                    </a:cubicBezTo>
                    <a:cubicBezTo>
                      <a:pt x="91" y="78"/>
                      <a:pt x="91" y="78"/>
                      <a:pt x="91" y="78"/>
                    </a:cubicBezTo>
                    <a:cubicBezTo>
                      <a:pt x="91" y="79"/>
                      <a:pt x="91" y="79"/>
                      <a:pt x="91" y="79"/>
                    </a:cubicBezTo>
                    <a:cubicBezTo>
                      <a:pt x="91" y="79"/>
                      <a:pt x="92" y="79"/>
                      <a:pt x="92" y="79"/>
                    </a:cubicBezTo>
                    <a:cubicBezTo>
                      <a:pt x="94" y="78"/>
                      <a:pt x="97" y="76"/>
                      <a:pt x="97" y="75"/>
                    </a:cubicBezTo>
                    <a:cubicBezTo>
                      <a:pt x="97" y="71"/>
                      <a:pt x="99" y="71"/>
                      <a:pt x="102" y="69"/>
                    </a:cubicBezTo>
                    <a:cubicBezTo>
                      <a:pt x="101" y="68"/>
                      <a:pt x="99" y="66"/>
                      <a:pt x="99" y="65"/>
                    </a:cubicBezTo>
                    <a:cubicBezTo>
                      <a:pt x="99" y="64"/>
                      <a:pt x="99" y="63"/>
                      <a:pt x="99" y="61"/>
                    </a:cubicBezTo>
                    <a:cubicBezTo>
                      <a:pt x="100" y="60"/>
                      <a:pt x="100" y="58"/>
                      <a:pt x="101" y="56"/>
                    </a:cubicBezTo>
                    <a:cubicBezTo>
                      <a:pt x="101" y="56"/>
                      <a:pt x="102" y="56"/>
                      <a:pt x="103" y="55"/>
                    </a:cubicBezTo>
                    <a:cubicBezTo>
                      <a:pt x="103" y="54"/>
                      <a:pt x="103" y="53"/>
                      <a:pt x="103" y="52"/>
                    </a:cubicBezTo>
                    <a:cubicBezTo>
                      <a:pt x="103" y="49"/>
                      <a:pt x="102" y="46"/>
                      <a:pt x="102" y="43"/>
                    </a:cubicBezTo>
                    <a:cubicBezTo>
                      <a:pt x="102" y="42"/>
                      <a:pt x="102" y="41"/>
                      <a:pt x="103" y="40"/>
                    </a:cubicBezTo>
                    <a:cubicBezTo>
                      <a:pt x="104" y="39"/>
                      <a:pt x="104" y="39"/>
                      <a:pt x="105" y="39"/>
                    </a:cubicBezTo>
                    <a:cubicBezTo>
                      <a:pt x="106" y="38"/>
                      <a:pt x="106" y="38"/>
                      <a:pt x="106" y="38"/>
                    </a:cubicBezTo>
                    <a:cubicBezTo>
                      <a:pt x="107" y="38"/>
                      <a:pt x="108" y="39"/>
                      <a:pt x="108" y="39"/>
                    </a:cubicBezTo>
                    <a:cubicBezTo>
                      <a:pt x="108" y="36"/>
                      <a:pt x="108" y="35"/>
                      <a:pt x="109" y="32"/>
                    </a:cubicBezTo>
                    <a:cubicBezTo>
                      <a:pt x="110" y="31"/>
                      <a:pt x="109" y="32"/>
                      <a:pt x="110" y="31"/>
                    </a:cubicBezTo>
                    <a:cubicBezTo>
                      <a:pt x="111" y="31"/>
                      <a:pt x="111" y="31"/>
                      <a:pt x="111" y="31"/>
                    </a:cubicBezTo>
                    <a:cubicBezTo>
                      <a:pt x="111" y="31"/>
                      <a:pt x="112" y="31"/>
                      <a:pt x="112" y="31"/>
                    </a:cubicBezTo>
                    <a:cubicBezTo>
                      <a:pt x="112" y="30"/>
                      <a:pt x="114" y="25"/>
                      <a:pt x="113" y="25"/>
                    </a:cubicBezTo>
                    <a:cubicBezTo>
                      <a:pt x="115" y="24"/>
                      <a:pt x="111" y="17"/>
                      <a:pt x="111" y="15"/>
                    </a:cubicBezTo>
                    <a:cubicBezTo>
                      <a:pt x="110" y="13"/>
                      <a:pt x="108" y="11"/>
                      <a:pt x="107" y="9"/>
                    </a:cubicBezTo>
                    <a:cubicBezTo>
                      <a:pt x="107" y="7"/>
                      <a:pt x="107" y="5"/>
                      <a:pt x="108" y="3"/>
                    </a:cubicBezTo>
                    <a:cubicBezTo>
                      <a:pt x="108" y="3"/>
                      <a:pt x="108" y="2"/>
                      <a:pt x="108" y="2"/>
                    </a:cubicBezTo>
                    <a:cubicBezTo>
                      <a:pt x="108" y="1"/>
                      <a:pt x="106" y="1"/>
                      <a:pt x="105" y="1"/>
                    </a:cubicBezTo>
                    <a:cubicBezTo>
                      <a:pt x="105" y="1"/>
                      <a:pt x="103" y="0"/>
                      <a:pt x="103" y="0"/>
                    </a:cubicBezTo>
                    <a:cubicBezTo>
                      <a:pt x="102" y="0"/>
                      <a:pt x="100" y="4"/>
                      <a:pt x="101" y="5"/>
                    </a:cubicBezTo>
                    <a:cubicBezTo>
                      <a:pt x="101" y="6"/>
                      <a:pt x="104" y="3"/>
                      <a:pt x="105" y="4"/>
                    </a:cubicBezTo>
                    <a:cubicBezTo>
                      <a:pt x="106" y="4"/>
                      <a:pt x="106" y="6"/>
                      <a:pt x="105" y="7"/>
                    </a:cubicBezTo>
                    <a:cubicBezTo>
                      <a:pt x="105" y="7"/>
                      <a:pt x="105" y="8"/>
                      <a:pt x="105" y="8"/>
                    </a:cubicBezTo>
                    <a:cubicBezTo>
                      <a:pt x="104" y="9"/>
                      <a:pt x="103" y="8"/>
                      <a:pt x="102" y="8"/>
                    </a:cubicBezTo>
                    <a:cubicBezTo>
                      <a:pt x="101" y="8"/>
                      <a:pt x="101" y="9"/>
                      <a:pt x="101" y="9"/>
                    </a:cubicBezTo>
                    <a:cubicBezTo>
                      <a:pt x="100" y="9"/>
                      <a:pt x="100" y="7"/>
                      <a:pt x="99" y="5"/>
                    </a:cubicBezTo>
                    <a:cubicBezTo>
                      <a:pt x="99" y="5"/>
                      <a:pt x="100" y="5"/>
                      <a:pt x="99" y="5"/>
                    </a:cubicBezTo>
                    <a:cubicBezTo>
                      <a:pt x="99" y="4"/>
                      <a:pt x="97" y="4"/>
                      <a:pt x="96" y="4"/>
                    </a:cubicBezTo>
                    <a:cubicBezTo>
                      <a:pt x="96" y="6"/>
                      <a:pt x="97" y="6"/>
                      <a:pt x="96" y="8"/>
                    </a:cubicBezTo>
                    <a:cubicBezTo>
                      <a:pt x="95" y="9"/>
                      <a:pt x="94" y="9"/>
                      <a:pt x="93" y="10"/>
                    </a:cubicBezTo>
                    <a:cubicBezTo>
                      <a:pt x="92" y="12"/>
                      <a:pt x="91" y="11"/>
                      <a:pt x="92" y="13"/>
                    </a:cubicBezTo>
                    <a:cubicBezTo>
                      <a:pt x="93" y="15"/>
                      <a:pt x="91" y="18"/>
                      <a:pt x="91" y="19"/>
                    </a:cubicBezTo>
                    <a:cubicBezTo>
                      <a:pt x="91" y="19"/>
                      <a:pt x="90" y="19"/>
                      <a:pt x="90" y="19"/>
                    </a:cubicBezTo>
                    <a:cubicBezTo>
                      <a:pt x="90" y="19"/>
                      <a:pt x="91" y="20"/>
                      <a:pt x="91" y="20"/>
                    </a:cubicBezTo>
                    <a:cubicBezTo>
                      <a:pt x="91" y="20"/>
                      <a:pt x="92" y="20"/>
                      <a:pt x="92" y="20"/>
                    </a:cubicBezTo>
                    <a:cubicBezTo>
                      <a:pt x="92" y="20"/>
                      <a:pt x="93" y="20"/>
                      <a:pt x="93" y="21"/>
                    </a:cubicBezTo>
                    <a:cubicBezTo>
                      <a:pt x="94" y="22"/>
                      <a:pt x="93" y="25"/>
                      <a:pt x="93" y="26"/>
                    </a:cubicBezTo>
                    <a:cubicBezTo>
                      <a:pt x="92" y="29"/>
                      <a:pt x="90" y="32"/>
                      <a:pt x="89" y="35"/>
                    </a:cubicBezTo>
                    <a:cubicBezTo>
                      <a:pt x="88" y="36"/>
                      <a:pt x="88" y="38"/>
                      <a:pt x="87" y="39"/>
                    </a:cubicBezTo>
                    <a:cubicBezTo>
                      <a:pt x="87" y="40"/>
                      <a:pt x="87" y="40"/>
                      <a:pt x="87" y="41"/>
                    </a:cubicBezTo>
                    <a:cubicBezTo>
                      <a:pt x="86" y="42"/>
                      <a:pt x="85" y="43"/>
                      <a:pt x="84" y="44"/>
                    </a:cubicBezTo>
                    <a:cubicBezTo>
                      <a:pt x="82" y="45"/>
                      <a:pt x="81" y="47"/>
                      <a:pt x="79" y="49"/>
                    </a:cubicBezTo>
                    <a:cubicBezTo>
                      <a:pt x="78" y="49"/>
                      <a:pt x="78" y="50"/>
                      <a:pt x="77" y="50"/>
                    </a:cubicBezTo>
                    <a:cubicBezTo>
                      <a:pt x="74" y="52"/>
                      <a:pt x="71" y="53"/>
                      <a:pt x="69" y="55"/>
                    </a:cubicBezTo>
                    <a:cubicBezTo>
                      <a:pt x="67" y="56"/>
                      <a:pt x="65" y="59"/>
                      <a:pt x="63" y="57"/>
                    </a:cubicBezTo>
                    <a:cubicBezTo>
                      <a:pt x="62" y="56"/>
                      <a:pt x="62" y="56"/>
                      <a:pt x="63" y="56"/>
                    </a:cubicBezTo>
                    <a:cubicBezTo>
                      <a:pt x="63" y="55"/>
                      <a:pt x="63" y="54"/>
                      <a:pt x="63" y="54"/>
                    </a:cubicBezTo>
                    <a:cubicBezTo>
                      <a:pt x="62" y="53"/>
                      <a:pt x="62" y="54"/>
                      <a:pt x="62" y="54"/>
                    </a:cubicBezTo>
                    <a:cubicBezTo>
                      <a:pt x="62" y="54"/>
                      <a:pt x="61" y="54"/>
                      <a:pt x="61" y="53"/>
                    </a:cubicBezTo>
                    <a:cubicBezTo>
                      <a:pt x="61" y="52"/>
                      <a:pt x="62" y="52"/>
                      <a:pt x="62" y="52"/>
                    </a:cubicBezTo>
                    <a:cubicBezTo>
                      <a:pt x="63" y="52"/>
                      <a:pt x="63" y="51"/>
                      <a:pt x="64" y="51"/>
                    </a:cubicBezTo>
                    <a:cubicBezTo>
                      <a:pt x="64" y="51"/>
                      <a:pt x="64" y="51"/>
                      <a:pt x="65" y="51"/>
                    </a:cubicBezTo>
                    <a:cubicBezTo>
                      <a:pt x="65" y="50"/>
                      <a:pt x="66" y="49"/>
                      <a:pt x="65" y="48"/>
                    </a:cubicBezTo>
                    <a:cubicBezTo>
                      <a:pt x="65" y="48"/>
                      <a:pt x="64" y="49"/>
                      <a:pt x="63" y="49"/>
                    </a:cubicBezTo>
                    <a:cubicBezTo>
                      <a:pt x="63" y="49"/>
                      <a:pt x="61" y="50"/>
                      <a:pt x="60" y="50"/>
                    </a:cubicBezTo>
                    <a:cubicBezTo>
                      <a:pt x="59" y="51"/>
                      <a:pt x="60" y="54"/>
                      <a:pt x="60" y="56"/>
                    </a:cubicBezTo>
                    <a:cubicBezTo>
                      <a:pt x="60" y="57"/>
                      <a:pt x="58" y="59"/>
                      <a:pt x="57" y="60"/>
                    </a:cubicBezTo>
                    <a:cubicBezTo>
                      <a:pt x="56" y="62"/>
                      <a:pt x="53" y="65"/>
                      <a:pt x="52" y="67"/>
                    </a:cubicBezTo>
                    <a:cubicBezTo>
                      <a:pt x="52" y="68"/>
                      <a:pt x="53" y="69"/>
                      <a:pt x="53" y="70"/>
                    </a:cubicBezTo>
                    <a:cubicBezTo>
                      <a:pt x="52" y="69"/>
                      <a:pt x="51" y="71"/>
                      <a:pt x="50" y="72"/>
                    </a:cubicBezTo>
                    <a:cubicBezTo>
                      <a:pt x="48" y="73"/>
                      <a:pt x="47" y="71"/>
                      <a:pt x="45" y="73"/>
                    </a:cubicBezTo>
                    <a:cubicBezTo>
                      <a:pt x="45" y="72"/>
                      <a:pt x="44" y="71"/>
                      <a:pt x="44" y="71"/>
                    </a:cubicBezTo>
                    <a:cubicBezTo>
                      <a:pt x="44" y="70"/>
                      <a:pt x="45" y="70"/>
                      <a:pt x="45" y="70"/>
                    </a:cubicBezTo>
                    <a:cubicBezTo>
                      <a:pt x="45" y="68"/>
                      <a:pt x="41" y="70"/>
                      <a:pt x="40" y="70"/>
                    </a:cubicBezTo>
                    <a:cubicBezTo>
                      <a:pt x="37" y="71"/>
                      <a:pt x="32" y="71"/>
                      <a:pt x="29" y="71"/>
                    </a:cubicBezTo>
                    <a:cubicBezTo>
                      <a:pt x="25" y="71"/>
                      <a:pt x="21" y="72"/>
                      <a:pt x="18" y="73"/>
                    </a:cubicBezTo>
                    <a:cubicBezTo>
                      <a:pt x="18" y="75"/>
                      <a:pt x="17" y="75"/>
                      <a:pt x="16" y="76"/>
                    </a:cubicBezTo>
                    <a:cubicBezTo>
                      <a:pt x="13" y="78"/>
                      <a:pt x="11" y="79"/>
                      <a:pt x="9" y="81"/>
                    </a:cubicBezTo>
                    <a:cubicBezTo>
                      <a:pt x="8" y="82"/>
                      <a:pt x="7" y="82"/>
                      <a:pt x="6" y="83"/>
                    </a:cubicBezTo>
                    <a:cubicBezTo>
                      <a:pt x="5" y="84"/>
                      <a:pt x="5" y="85"/>
                      <a:pt x="4" y="85"/>
                    </a:cubicBezTo>
                    <a:cubicBezTo>
                      <a:pt x="2" y="85"/>
                      <a:pt x="1" y="84"/>
                      <a:pt x="0" y="85"/>
                    </a:cubicBezTo>
                    <a:cubicBezTo>
                      <a:pt x="0" y="85"/>
                      <a:pt x="0" y="86"/>
                      <a:pt x="0" y="86"/>
                    </a:cubicBezTo>
                    <a:cubicBezTo>
                      <a:pt x="0" y="86"/>
                      <a:pt x="0" y="87"/>
                      <a:pt x="0" y="87"/>
                    </a:cubicBezTo>
                    <a:cubicBezTo>
                      <a:pt x="0" y="88"/>
                      <a:pt x="0" y="88"/>
                      <a:pt x="0" y="88"/>
                    </a:cubicBezTo>
                    <a:cubicBezTo>
                      <a:pt x="0" y="88"/>
                      <a:pt x="0" y="88"/>
                      <a:pt x="0" y="89"/>
                    </a:cubicBezTo>
                    <a:cubicBezTo>
                      <a:pt x="0" y="89"/>
                      <a:pt x="0" y="89"/>
                      <a:pt x="0" y="90"/>
                    </a:cubicBezTo>
                    <a:cubicBezTo>
                      <a:pt x="0" y="90"/>
                      <a:pt x="1" y="90"/>
                      <a:pt x="1" y="90"/>
                    </a:cubicBezTo>
                    <a:cubicBezTo>
                      <a:pt x="4" y="90"/>
                      <a:pt x="6" y="90"/>
                      <a:pt x="9" y="89"/>
                    </a:cubicBezTo>
                    <a:cubicBezTo>
                      <a:pt x="9" y="90"/>
                      <a:pt x="10" y="90"/>
                      <a:pt x="11" y="90"/>
                    </a:cubicBezTo>
                    <a:close/>
                    <a:moveTo>
                      <a:pt x="90" y="67"/>
                    </a:moveTo>
                    <a:cubicBezTo>
                      <a:pt x="92" y="67"/>
                      <a:pt x="93" y="68"/>
                      <a:pt x="93" y="70"/>
                    </a:cubicBezTo>
                    <a:cubicBezTo>
                      <a:pt x="93" y="70"/>
                      <a:pt x="93" y="71"/>
                      <a:pt x="93" y="71"/>
                    </a:cubicBezTo>
                    <a:cubicBezTo>
                      <a:pt x="92" y="72"/>
                      <a:pt x="91" y="73"/>
                      <a:pt x="90" y="73"/>
                    </a:cubicBezTo>
                    <a:cubicBezTo>
                      <a:pt x="90" y="73"/>
                      <a:pt x="90" y="72"/>
                      <a:pt x="90" y="72"/>
                    </a:cubicBezTo>
                    <a:cubicBezTo>
                      <a:pt x="88" y="72"/>
                      <a:pt x="88" y="71"/>
                      <a:pt x="88" y="70"/>
                    </a:cubicBezTo>
                    <a:cubicBezTo>
                      <a:pt x="88" y="68"/>
                      <a:pt x="89" y="67"/>
                      <a:pt x="9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8" name="Freeform 2326">
                <a:extLst>
                  <a:ext uri="{FF2B5EF4-FFF2-40B4-BE49-F238E27FC236}">
                    <a16:creationId xmlns:a16="http://schemas.microsoft.com/office/drawing/2014/main" id="{7FDCF042-A6CA-4B25-940E-E9B54543B0EF}"/>
                  </a:ext>
                </a:extLst>
              </p:cNvPr>
              <p:cNvSpPr>
                <a:spLocks/>
              </p:cNvSpPr>
              <p:nvPr/>
            </p:nvSpPr>
            <p:spPr bwMode="auto">
              <a:xfrm>
                <a:off x="6736" y="1913"/>
                <a:ext cx="66" cy="47"/>
              </a:xfrm>
              <a:custGeom>
                <a:avLst/>
                <a:gdLst>
                  <a:gd name="T0" fmla="*/ 11 w 28"/>
                  <a:gd name="T1" fmla="*/ 5 h 20"/>
                  <a:gd name="T2" fmla="*/ 9 w 28"/>
                  <a:gd name="T3" fmla="*/ 3 h 20"/>
                  <a:gd name="T4" fmla="*/ 7 w 28"/>
                  <a:gd name="T5" fmla="*/ 6 h 20"/>
                  <a:gd name="T6" fmla="*/ 7 w 28"/>
                  <a:gd name="T7" fmla="*/ 7 h 20"/>
                  <a:gd name="T8" fmla="*/ 0 w 28"/>
                  <a:gd name="T9" fmla="*/ 12 h 20"/>
                  <a:gd name="T10" fmla="*/ 2 w 28"/>
                  <a:gd name="T11" fmla="*/ 11 h 20"/>
                  <a:gd name="T12" fmla="*/ 3 w 28"/>
                  <a:gd name="T13" fmla="*/ 11 h 20"/>
                  <a:gd name="T14" fmla="*/ 5 w 28"/>
                  <a:gd name="T15" fmla="*/ 12 h 20"/>
                  <a:gd name="T16" fmla="*/ 4 w 28"/>
                  <a:gd name="T17" fmla="*/ 14 h 20"/>
                  <a:gd name="T18" fmla="*/ 4 w 28"/>
                  <a:gd name="T19" fmla="*/ 15 h 20"/>
                  <a:gd name="T20" fmla="*/ 5 w 28"/>
                  <a:gd name="T21" fmla="*/ 17 h 20"/>
                  <a:gd name="T22" fmla="*/ 7 w 28"/>
                  <a:gd name="T23" fmla="*/ 19 h 20"/>
                  <a:gd name="T24" fmla="*/ 11 w 28"/>
                  <a:gd name="T25" fmla="*/ 19 h 20"/>
                  <a:gd name="T26" fmla="*/ 10 w 28"/>
                  <a:gd name="T27" fmla="*/ 18 h 20"/>
                  <a:gd name="T28" fmla="*/ 10 w 28"/>
                  <a:gd name="T29" fmla="*/ 17 h 20"/>
                  <a:gd name="T30" fmla="*/ 14 w 28"/>
                  <a:gd name="T31" fmla="*/ 12 h 20"/>
                  <a:gd name="T32" fmla="*/ 20 w 28"/>
                  <a:gd name="T33" fmla="*/ 10 h 20"/>
                  <a:gd name="T34" fmla="*/ 23 w 28"/>
                  <a:gd name="T35" fmla="*/ 13 h 20"/>
                  <a:gd name="T36" fmla="*/ 28 w 28"/>
                  <a:gd name="T37" fmla="*/ 6 h 20"/>
                  <a:gd name="T38" fmla="*/ 27 w 28"/>
                  <a:gd name="T39" fmla="*/ 5 h 20"/>
                  <a:gd name="T40" fmla="*/ 27 w 28"/>
                  <a:gd name="T41" fmla="*/ 2 h 20"/>
                  <a:gd name="T42" fmla="*/ 27 w 28"/>
                  <a:gd name="T43" fmla="*/ 2 h 20"/>
                  <a:gd name="T44" fmla="*/ 26 w 28"/>
                  <a:gd name="T45" fmla="*/ 2 h 20"/>
                  <a:gd name="T46" fmla="*/ 21 w 28"/>
                  <a:gd name="T47" fmla="*/ 0 h 20"/>
                  <a:gd name="T48" fmla="*/ 16 w 28"/>
                  <a:gd name="T49" fmla="*/ 1 h 20"/>
                  <a:gd name="T50" fmla="*/ 16 w 28"/>
                  <a:gd name="T51" fmla="*/ 4 h 20"/>
                  <a:gd name="T52" fmla="*/ 11 w 28"/>
                  <a:gd name="T53"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0">
                    <a:moveTo>
                      <a:pt x="11" y="5"/>
                    </a:moveTo>
                    <a:cubicBezTo>
                      <a:pt x="11" y="4"/>
                      <a:pt x="10" y="3"/>
                      <a:pt x="9" y="3"/>
                    </a:cubicBezTo>
                    <a:cubicBezTo>
                      <a:pt x="10" y="3"/>
                      <a:pt x="8" y="5"/>
                      <a:pt x="7" y="6"/>
                    </a:cubicBezTo>
                    <a:cubicBezTo>
                      <a:pt x="7" y="6"/>
                      <a:pt x="7" y="7"/>
                      <a:pt x="7" y="7"/>
                    </a:cubicBezTo>
                    <a:cubicBezTo>
                      <a:pt x="5" y="9"/>
                      <a:pt x="2" y="10"/>
                      <a:pt x="0" y="12"/>
                    </a:cubicBezTo>
                    <a:cubicBezTo>
                      <a:pt x="1" y="11"/>
                      <a:pt x="1" y="12"/>
                      <a:pt x="2" y="11"/>
                    </a:cubicBezTo>
                    <a:cubicBezTo>
                      <a:pt x="2" y="11"/>
                      <a:pt x="3" y="11"/>
                      <a:pt x="3" y="11"/>
                    </a:cubicBezTo>
                    <a:cubicBezTo>
                      <a:pt x="5" y="10"/>
                      <a:pt x="3" y="13"/>
                      <a:pt x="5" y="12"/>
                    </a:cubicBezTo>
                    <a:cubicBezTo>
                      <a:pt x="5" y="13"/>
                      <a:pt x="5" y="13"/>
                      <a:pt x="4" y="14"/>
                    </a:cubicBezTo>
                    <a:cubicBezTo>
                      <a:pt x="5" y="14"/>
                      <a:pt x="5" y="15"/>
                      <a:pt x="4" y="15"/>
                    </a:cubicBezTo>
                    <a:cubicBezTo>
                      <a:pt x="5" y="15"/>
                      <a:pt x="5" y="16"/>
                      <a:pt x="5" y="17"/>
                    </a:cubicBezTo>
                    <a:cubicBezTo>
                      <a:pt x="7" y="16"/>
                      <a:pt x="7" y="17"/>
                      <a:pt x="7" y="19"/>
                    </a:cubicBezTo>
                    <a:cubicBezTo>
                      <a:pt x="8" y="18"/>
                      <a:pt x="10" y="20"/>
                      <a:pt x="11" y="19"/>
                    </a:cubicBezTo>
                    <a:cubicBezTo>
                      <a:pt x="11" y="18"/>
                      <a:pt x="10" y="18"/>
                      <a:pt x="10" y="18"/>
                    </a:cubicBezTo>
                    <a:cubicBezTo>
                      <a:pt x="10" y="18"/>
                      <a:pt x="10" y="18"/>
                      <a:pt x="10" y="17"/>
                    </a:cubicBezTo>
                    <a:cubicBezTo>
                      <a:pt x="11" y="15"/>
                      <a:pt x="13" y="14"/>
                      <a:pt x="14" y="12"/>
                    </a:cubicBezTo>
                    <a:cubicBezTo>
                      <a:pt x="16" y="11"/>
                      <a:pt x="17" y="9"/>
                      <a:pt x="20" y="10"/>
                    </a:cubicBezTo>
                    <a:cubicBezTo>
                      <a:pt x="21" y="11"/>
                      <a:pt x="21" y="12"/>
                      <a:pt x="23" y="13"/>
                    </a:cubicBezTo>
                    <a:cubicBezTo>
                      <a:pt x="23" y="10"/>
                      <a:pt x="26" y="8"/>
                      <a:pt x="28" y="6"/>
                    </a:cubicBezTo>
                    <a:cubicBezTo>
                      <a:pt x="27" y="6"/>
                      <a:pt x="28" y="5"/>
                      <a:pt x="27" y="5"/>
                    </a:cubicBezTo>
                    <a:cubicBezTo>
                      <a:pt x="27" y="4"/>
                      <a:pt x="27" y="3"/>
                      <a:pt x="27" y="2"/>
                    </a:cubicBezTo>
                    <a:cubicBezTo>
                      <a:pt x="27" y="2"/>
                      <a:pt x="27" y="2"/>
                      <a:pt x="27" y="2"/>
                    </a:cubicBezTo>
                    <a:cubicBezTo>
                      <a:pt x="27" y="1"/>
                      <a:pt x="27" y="2"/>
                      <a:pt x="26" y="2"/>
                    </a:cubicBezTo>
                    <a:cubicBezTo>
                      <a:pt x="24" y="2"/>
                      <a:pt x="23" y="1"/>
                      <a:pt x="21" y="0"/>
                    </a:cubicBezTo>
                    <a:cubicBezTo>
                      <a:pt x="20" y="0"/>
                      <a:pt x="18" y="1"/>
                      <a:pt x="16" y="1"/>
                    </a:cubicBezTo>
                    <a:cubicBezTo>
                      <a:pt x="17" y="2"/>
                      <a:pt x="17" y="3"/>
                      <a:pt x="16" y="4"/>
                    </a:cubicBezTo>
                    <a:cubicBezTo>
                      <a:pt x="15" y="4"/>
                      <a:pt x="12" y="6"/>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9" name="Freeform 2327">
                <a:extLst>
                  <a:ext uri="{FF2B5EF4-FFF2-40B4-BE49-F238E27FC236}">
                    <a16:creationId xmlns:a16="http://schemas.microsoft.com/office/drawing/2014/main" id="{6167DDD9-DC63-4F6A-B0ED-3CF754A5EF71}"/>
                  </a:ext>
                </a:extLst>
              </p:cNvPr>
              <p:cNvSpPr>
                <a:spLocks/>
              </p:cNvSpPr>
              <p:nvPr/>
            </p:nvSpPr>
            <p:spPr bwMode="auto">
              <a:xfrm>
                <a:off x="6573" y="2164"/>
                <a:ext cx="5" cy="4"/>
              </a:xfrm>
              <a:custGeom>
                <a:avLst/>
                <a:gdLst>
                  <a:gd name="T0" fmla="*/ 2 w 2"/>
                  <a:gd name="T1" fmla="*/ 2 h 2"/>
                  <a:gd name="T2" fmla="*/ 1 w 2"/>
                  <a:gd name="T3" fmla="*/ 0 h 2"/>
                  <a:gd name="T4" fmla="*/ 2 w 2"/>
                  <a:gd name="T5" fmla="*/ 2 h 2"/>
                </a:gdLst>
                <a:ahLst/>
                <a:cxnLst>
                  <a:cxn ang="0">
                    <a:pos x="T0" y="T1"/>
                  </a:cxn>
                  <a:cxn ang="0">
                    <a:pos x="T2" y="T3"/>
                  </a:cxn>
                  <a:cxn ang="0">
                    <a:pos x="T4" y="T5"/>
                  </a:cxn>
                </a:cxnLst>
                <a:rect l="0" t="0" r="r" b="b"/>
                <a:pathLst>
                  <a:path w="2" h="2">
                    <a:moveTo>
                      <a:pt x="2" y="2"/>
                    </a:moveTo>
                    <a:cubicBezTo>
                      <a:pt x="2" y="1"/>
                      <a:pt x="1" y="1"/>
                      <a:pt x="1" y="0"/>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0" name="Freeform 2328">
                <a:extLst>
                  <a:ext uri="{FF2B5EF4-FFF2-40B4-BE49-F238E27FC236}">
                    <a16:creationId xmlns:a16="http://schemas.microsoft.com/office/drawing/2014/main" id="{5A6620F0-D12F-4000-87A4-DF6451B3F3C7}"/>
                  </a:ext>
                </a:extLst>
              </p:cNvPr>
              <p:cNvSpPr>
                <a:spLocks/>
              </p:cNvSpPr>
              <p:nvPr/>
            </p:nvSpPr>
            <p:spPr bwMode="auto">
              <a:xfrm>
                <a:off x="6954" y="1596"/>
                <a:ext cx="0" cy="4"/>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2"/>
                      <a:pt x="0" y="2"/>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1" name="Freeform 2329">
                <a:extLst>
                  <a:ext uri="{FF2B5EF4-FFF2-40B4-BE49-F238E27FC236}">
                    <a16:creationId xmlns:a16="http://schemas.microsoft.com/office/drawing/2014/main" id="{7D873622-983E-4E04-881D-26A6B393AC50}"/>
                  </a:ext>
                </a:extLst>
              </p:cNvPr>
              <p:cNvSpPr>
                <a:spLocks/>
              </p:cNvSpPr>
              <p:nvPr/>
            </p:nvSpPr>
            <p:spPr bwMode="auto">
              <a:xfrm>
                <a:off x="6653" y="1955"/>
                <a:ext cx="8" cy="7"/>
              </a:xfrm>
              <a:custGeom>
                <a:avLst/>
                <a:gdLst>
                  <a:gd name="T0" fmla="*/ 1 w 3"/>
                  <a:gd name="T1" fmla="*/ 1 h 3"/>
                  <a:gd name="T2" fmla="*/ 3 w 3"/>
                  <a:gd name="T3" fmla="*/ 2 h 3"/>
                  <a:gd name="T4" fmla="*/ 3 w 3"/>
                  <a:gd name="T5" fmla="*/ 0 h 3"/>
                  <a:gd name="T6" fmla="*/ 1 w 3"/>
                  <a:gd name="T7" fmla="*/ 1 h 3"/>
                </a:gdLst>
                <a:ahLst/>
                <a:cxnLst>
                  <a:cxn ang="0">
                    <a:pos x="T0" y="T1"/>
                  </a:cxn>
                  <a:cxn ang="0">
                    <a:pos x="T2" y="T3"/>
                  </a:cxn>
                  <a:cxn ang="0">
                    <a:pos x="T4" y="T5"/>
                  </a:cxn>
                  <a:cxn ang="0">
                    <a:pos x="T6" y="T7"/>
                  </a:cxn>
                </a:cxnLst>
                <a:rect l="0" t="0" r="r" b="b"/>
                <a:pathLst>
                  <a:path w="3" h="3">
                    <a:moveTo>
                      <a:pt x="1" y="1"/>
                    </a:moveTo>
                    <a:cubicBezTo>
                      <a:pt x="0" y="3"/>
                      <a:pt x="3" y="2"/>
                      <a:pt x="3" y="2"/>
                    </a:cubicBezTo>
                    <a:cubicBezTo>
                      <a:pt x="3" y="1"/>
                      <a:pt x="3" y="1"/>
                      <a:pt x="3" y="0"/>
                    </a:cubicBezTo>
                    <a:cubicBezTo>
                      <a:pt x="2"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2" name="Freeform 2330">
                <a:extLst>
                  <a:ext uri="{FF2B5EF4-FFF2-40B4-BE49-F238E27FC236}">
                    <a16:creationId xmlns:a16="http://schemas.microsoft.com/office/drawing/2014/main" id="{BBC77909-57FE-4E5D-B254-F1331EBF5739}"/>
                  </a:ext>
                </a:extLst>
              </p:cNvPr>
              <p:cNvSpPr>
                <a:spLocks/>
              </p:cNvSpPr>
              <p:nvPr/>
            </p:nvSpPr>
            <p:spPr bwMode="auto">
              <a:xfrm>
                <a:off x="6708" y="2007"/>
                <a:ext cx="7" cy="15"/>
              </a:xfrm>
              <a:custGeom>
                <a:avLst/>
                <a:gdLst>
                  <a:gd name="T0" fmla="*/ 1 w 3"/>
                  <a:gd name="T1" fmla="*/ 3 h 6"/>
                  <a:gd name="T2" fmla="*/ 1 w 3"/>
                  <a:gd name="T3" fmla="*/ 6 h 6"/>
                  <a:gd name="T4" fmla="*/ 3 w 3"/>
                  <a:gd name="T5" fmla="*/ 0 h 6"/>
                  <a:gd name="T6" fmla="*/ 1 w 3"/>
                  <a:gd name="T7" fmla="*/ 3 h 6"/>
                </a:gdLst>
                <a:ahLst/>
                <a:cxnLst>
                  <a:cxn ang="0">
                    <a:pos x="T0" y="T1"/>
                  </a:cxn>
                  <a:cxn ang="0">
                    <a:pos x="T2" y="T3"/>
                  </a:cxn>
                  <a:cxn ang="0">
                    <a:pos x="T4" y="T5"/>
                  </a:cxn>
                  <a:cxn ang="0">
                    <a:pos x="T6" y="T7"/>
                  </a:cxn>
                </a:cxnLst>
                <a:rect l="0" t="0" r="r" b="b"/>
                <a:pathLst>
                  <a:path w="3" h="6">
                    <a:moveTo>
                      <a:pt x="1" y="3"/>
                    </a:moveTo>
                    <a:cubicBezTo>
                      <a:pt x="1" y="4"/>
                      <a:pt x="0" y="4"/>
                      <a:pt x="1" y="6"/>
                    </a:cubicBezTo>
                    <a:cubicBezTo>
                      <a:pt x="1" y="4"/>
                      <a:pt x="2" y="2"/>
                      <a:pt x="3" y="0"/>
                    </a:cubicBezTo>
                    <a:cubicBezTo>
                      <a:pt x="1" y="2"/>
                      <a:pt x="2"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3" name="Freeform 2331">
                <a:extLst>
                  <a:ext uri="{FF2B5EF4-FFF2-40B4-BE49-F238E27FC236}">
                    <a16:creationId xmlns:a16="http://schemas.microsoft.com/office/drawing/2014/main" id="{B498FA59-68B1-484D-AC2F-DBF4CF969F65}"/>
                  </a:ext>
                </a:extLst>
              </p:cNvPr>
              <p:cNvSpPr>
                <a:spLocks/>
              </p:cNvSpPr>
              <p:nvPr/>
            </p:nvSpPr>
            <p:spPr bwMode="auto">
              <a:xfrm>
                <a:off x="6661" y="2085"/>
                <a:ext cx="2" cy="5"/>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1" y="0"/>
                    </a:cubicBezTo>
                    <a:cubicBezTo>
                      <a:pt x="0" y="1"/>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4" name="Freeform 2332">
                <a:extLst>
                  <a:ext uri="{FF2B5EF4-FFF2-40B4-BE49-F238E27FC236}">
                    <a16:creationId xmlns:a16="http://schemas.microsoft.com/office/drawing/2014/main" id="{67E5F11C-68B8-4055-A555-6634D7E7345C}"/>
                  </a:ext>
                </a:extLst>
              </p:cNvPr>
              <p:cNvSpPr>
                <a:spLocks/>
              </p:cNvSpPr>
              <p:nvPr/>
            </p:nvSpPr>
            <p:spPr bwMode="auto">
              <a:xfrm>
                <a:off x="6670" y="2078"/>
                <a:ext cx="2"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5" name="Oval 2333">
                <a:extLst>
                  <a:ext uri="{FF2B5EF4-FFF2-40B4-BE49-F238E27FC236}">
                    <a16:creationId xmlns:a16="http://schemas.microsoft.com/office/drawing/2014/main" id="{D2662C74-BB65-4F7E-B678-59AB93A2B351}"/>
                  </a:ext>
                </a:extLst>
              </p:cNvPr>
              <p:cNvSpPr>
                <a:spLocks noChangeArrowheads="1"/>
              </p:cNvSpPr>
              <p:nvPr/>
            </p:nvSpPr>
            <p:spPr bwMode="auto">
              <a:xfrm>
                <a:off x="6982" y="2116"/>
                <a:ext cx="1" cy="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6" name="Freeform 2334">
                <a:extLst>
                  <a:ext uri="{FF2B5EF4-FFF2-40B4-BE49-F238E27FC236}">
                    <a16:creationId xmlns:a16="http://schemas.microsoft.com/office/drawing/2014/main" id="{889F70B9-228B-4A4A-B999-AA6B5D4999CD}"/>
                  </a:ext>
                </a:extLst>
              </p:cNvPr>
              <p:cNvSpPr>
                <a:spLocks/>
              </p:cNvSpPr>
              <p:nvPr/>
            </p:nvSpPr>
            <p:spPr bwMode="auto">
              <a:xfrm>
                <a:off x="6663" y="1948"/>
                <a:ext cx="5" cy="7"/>
              </a:xfrm>
              <a:custGeom>
                <a:avLst/>
                <a:gdLst>
                  <a:gd name="T0" fmla="*/ 2 w 2"/>
                  <a:gd name="T1" fmla="*/ 0 h 3"/>
                  <a:gd name="T2" fmla="*/ 0 w 2"/>
                  <a:gd name="T3" fmla="*/ 1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2" y="0"/>
                      <a:pt x="0" y="1"/>
                      <a:pt x="0" y="1"/>
                    </a:cubicBezTo>
                    <a:cubicBezTo>
                      <a:pt x="0" y="2"/>
                      <a:pt x="1" y="2"/>
                      <a:pt x="1" y="3"/>
                    </a:cubicBezTo>
                    <a:cubicBezTo>
                      <a:pt x="1" y="2"/>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7" name="Freeform 2335">
                <a:extLst>
                  <a:ext uri="{FF2B5EF4-FFF2-40B4-BE49-F238E27FC236}">
                    <a16:creationId xmlns:a16="http://schemas.microsoft.com/office/drawing/2014/main" id="{0026835E-8D47-4B3C-9462-14A0A2490BA9}"/>
                  </a:ext>
                </a:extLst>
              </p:cNvPr>
              <p:cNvSpPr>
                <a:spLocks/>
              </p:cNvSpPr>
              <p:nvPr/>
            </p:nvSpPr>
            <p:spPr bwMode="auto">
              <a:xfrm>
                <a:off x="6760" y="1858"/>
                <a:ext cx="12" cy="10"/>
              </a:xfrm>
              <a:custGeom>
                <a:avLst/>
                <a:gdLst>
                  <a:gd name="T0" fmla="*/ 3 w 5"/>
                  <a:gd name="T1" fmla="*/ 0 h 4"/>
                  <a:gd name="T2" fmla="*/ 3 w 5"/>
                  <a:gd name="T3" fmla="*/ 0 h 4"/>
                </a:gdLst>
                <a:ahLst/>
                <a:cxnLst>
                  <a:cxn ang="0">
                    <a:pos x="T0" y="T1"/>
                  </a:cxn>
                  <a:cxn ang="0">
                    <a:pos x="T2" y="T3"/>
                  </a:cxn>
                </a:cxnLst>
                <a:rect l="0" t="0" r="r" b="b"/>
                <a:pathLst>
                  <a:path w="5" h="4">
                    <a:moveTo>
                      <a:pt x="3" y="0"/>
                    </a:moveTo>
                    <a:cubicBezTo>
                      <a:pt x="0" y="1"/>
                      <a:pt x="5" y="4"/>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8" name="Freeform 2336">
                <a:extLst>
                  <a:ext uri="{FF2B5EF4-FFF2-40B4-BE49-F238E27FC236}">
                    <a16:creationId xmlns:a16="http://schemas.microsoft.com/office/drawing/2014/main" id="{E86992CE-A88D-4548-B7B5-1DFA5C5ECF46}"/>
                  </a:ext>
                </a:extLst>
              </p:cNvPr>
              <p:cNvSpPr>
                <a:spLocks/>
              </p:cNvSpPr>
              <p:nvPr/>
            </p:nvSpPr>
            <p:spPr bwMode="auto">
              <a:xfrm>
                <a:off x="6798" y="1908"/>
                <a:ext cx="11" cy="9"/>
              </a:xfrm>
              <a:custGeom>
                <a:avLst/>
                <a:gdLst>
                  <a:gd name="T0" fmla="*/ 3 w 5"/>
                  <a:gd name="T1" fmla="*/ 4 h 4"/>
                  <a:gd name="T2" fmla="*/ 4 w 5"/>
                  <a:gd name="T3" fmla="*/ 3 h 4"/>
                  <a:gd name="T4" fmla="*/ 4 w 5"/>
                  <a:gd name="T5" fmla="*/ 2 h 4"/>
                  <a:gd name="T6" fmla="*/ 5 w 5"/>
                  <a:gd name="T7" fmla="*/ 0 h 4"/>
                  <a:gd name="T8" fmla="*/ 3 w 5"/>
                  <a:gd name="T9" fmla="*/ 4 h 4"/>
                </a:gdLst>
                <a:ahLst/>
                <a:cxnLst>
                  <a:cxn ang="0">
                    <a:pos x="T0" y="T1"/>
                  </a:cxn>
                  <a:cxn ang="0">
                    <a:pos x="T2" y="T3"/>
                  </a:cxn>
                  <a:cxn ang="0">
                    <a:pos x="T4" y="T5"/>
                  </a:cxn>
                  <a:cxn ang="0">
                    <a:pos x="T6" y="T7"/>
                  </a:cxn>
                  <a:cxn ang="0">
                    <a:pos x="T8" y="T9"/>
                  </a:cxn>
                </a:cxnLst>
                <a:rect l="0" t="0" r="r" b="b"/>
                <a:pathLst>
                  <a:path w="5" h="4">
                    <a:moveTo>
                      <a:pt x="3" y="4"/>
                    </a:moveTo>
                    <a:cubicBezTo>
                      <a:pt x="3" y="4"/>
                      <a:pt x="4" y="4"/>
                      <a:pt x="4" y="3"/>
                    </a:cubicBezTo>
                    <a:cubicBezTo>
                      <a:pt x="4" y="3"/>
                      <a:pt x="4" y="3"/>
                      <a:pt x="4" y="2"/>
                    </a:cubicBezTo>
                    <a:cubicBezTo>
                      <a:pt x="4" y="1"/>
                      <a:pt x="4" y="1"/>
                      <a:pt x="5" y="0"/>
                    </a:cubicBezTo>
                    <a:cubicBezTo>
                      <a:pt x="4" y="1"/>
                      <a:pt x="0"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9" name="Freeform 2337">
                <a:extLst>
                  <a:ext uri="{FF2B5EF4-FFF2-40B4-BE49-F238E27FC236}">
                    <a16:creationId xmlns:a16="http://schemas.microsoft.com/office/drawing/2014/main" id="{AFAA436F-BB61-4C76-B566-6C0B936217DD}"/>
                  </a:ext>
                </a:extLst>
              </p:cNvPr>
              <p:cNvSpPr>
                <a:spLocks/>
              </p:cNvSpPr>
              <p:nvPr/>
            </p:nvSpPr>
            <p:spPr bwMode="auto">
              <a:xfrm>
                <a:off x="6630" y="2114"/>
                <a:ext cx="14" cy="19"/>
              </a:xfrm>
              <a:custGeom>
                <a:avLst/>
                <a:gdLst>
                  <a:gd name="T0" fmla="*/ 1 w 6"/>
                  <a:gd name="T1" fmla="*/ 5 h 8"/>
                  <a:gd name="T2" fmla="*/ 1 w 6"/>
                  <a:gd name="T3" fmla="*/ 6 h 8"/>
                  <a:gd name="T4" fmla="*/ 1 w 6"/>
                  <a:gd name="T5" fmla="*/ 8 h 8"/>
                  <a:gd name="T6" fmla="*/ 4 w 6"/>
                  <a:gd name="T7" fmla="*/ 4 h 8"/>
                  <a:gd name="T8" fmla="*/ 6 w 6"/>
                  <a:gd name="T9" fmla="*/ 0 h 8"/>
                  <a:gd name="T10" fmla="*/ 6 w 6"/>
                  <a:gd name="T11" fmla="*/ 1 h 8"/>
                  <a:gd name="T12" fmla="*/ 5 w 6"/>
                  <a:gd name="T13" fmla="*/ 2 h 8"/>
                  <a:gd name="T14" fmla="*/ 4 w 6"/>
                  <a:gd name="T15" fmla="*/ 1 h 8"/>
                  <a:gd name="T16" fmla="*/ 3 w 6"/>
                  <a:gd name="T17" fmla="*/ 2 h 8"/>
                  <a:gd name="T18" fmla="*/ 3 w 6"/>
                  <a:gd name="T19" fmla="*/ 3 h 8"/>
                  <a:gd name="T20" fmla="*/ 2 w 6"/>
                  <a:gd name="T21" fmla="*/ 4 h 8"/>
                  <a:gd name="T22" fmla="*/ 1 w 6"/>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1" y="5"/>
                    </a:moveTo>
                    <a:cubicBezTo>
                      <a:pt x="1" y="5"/>
                      <a:pt x="1" y="6"/>
                      <a:pt x="1" y="6"/>
                    </a:cubicBezTo>
                    <a:cubicBezTo>
                      <a:pt x="1" y="7"/>
                      <a:pt x="0" y="6"/>
                      <a:pt x="1" y="8"/>
                    </a:cubicBezTo>
                    <a:cubicBezTo>
                      <a:pt x="2" y="6"/>
                      <a:pt x="3" y="5"/>
                      <a:pt x="4" y="4"/>
                    </a:cubicBezTo>
                    <a:cubicBezTo>
                      <a:pt x="5" y="3"/>
                      <a:pt x="6" y="1"/>
                      <a:pt x="6" y="0"/>
                    </a:cubicBezTo>
                    <a:cubicBezTo>
                      <a:pt x="6" y="0"/>
                      <a:pt x="6" y="1"/>
                      <a:pt x="6" y="1"/>
                    </a:cubicBezTo>
                    <a:cubicBezTo>
                      <a:pt x="5" y="1"/>
                      <a:pt x="5" y="1"/>
                      <a:pt x="5" y="2"/>
                    </a:cubicBezTo>
                    <a:cubicBezTo>
                      <a:pt x="5" y="2"/>
                      <a:pt x="4" y="1"/>
                      <a:pt x="4" y="1"/>
                    </a:cubicBezTo>
                    <a:cubicBezTo>
                      <a:pt x="3" y="1"/>
                      <a:pt x="3" y="1"/>
                      <a:pt x="3" y="2"/>
                    </a:cubicBezTo>
                    <a:cubicBezTo>
                      <a:pt x="4" y="3"/>
                      <a:pt x="4" y="3"/>
                      <a:pt x="3" y="3"/>
                    </a:cubicBezTo>
                    <a:cubicBezTo>
                      <a:pt x="3" y="3"/>
                      <a:pt x="2" y="4"/>
                      <a:pt x="2" y="4"/>
                    </a:cubicBezTo>
                    <a:cubicBezTo>
                      <a:pt x="2" y="4"/>
                      <a:pt x="2"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0" name="Freeform 2338">
                <a:extLst>
                  <a:ext uri="{FF2B5EF4-FFF2-40B4-BE49-F238E27FC236}">
                    <a16:creationId xmlns:a16="http://schemas.microsoft.com/office/drawing/2014/main" id="{3F615D00-4BED-4607-9F7F-3A7CE8BD5097}"/>
                  </a:ext>
                </a:extLst>
              </p:cNvPr>
              <p:cNvSpPr>
                <a:spLocks/>
              </p:cNvSpPr>
              <p:nvPr/>
            </p:nvSpPr>
            <p:spPr bwMode="auto">
              <a:xfrm>
                <a:off x="6653" y="2097"/>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1" name="Freeform 2339">
                <a:extLst>
                  <a:ext uri="{FF2B5EF4-FFF2-40B4-BE49-F238E27FC236}">
                    <a16:creationId xmlns:a16="http://schemas.microsoft.com/office/drawing/2014/main" id="{CA16D2BE-CD05-430C-BAE0-42555F5240DD}"/>
                  </a:ext>
                </a:extLst>
              </p:cNvPr>
              <p:cNvSpPr>
                <a:spLocks/>
              </p:cNvSpPr>
              <p:nvPr/>
            </p:nvSpPr>
            <p:spPr bwMode="auto">
              <a:xfrm>
                <a:off x="6956" y="1603"/>
                <a:ext cx="10" cy="7"/>
              </a:xfrm>
              <a:custGeom>
                <a:avLst/>
                <a:gdLst>
                  <a:gd name="T0" fmla="*/ 1 w 4"/>
                  <a:gd name="T1" fmla="*/ 0 h 3"/>
                  <a:gd name="T2" fmla="*/ 1 w 4"/>
                  <a:gd name="T3" fmla="*/ 0 h 3"/>
                </a:gdLst>
                <a:ahLst/>
                <a:cxnLst>
                  <a:cxn ang="0">
                    <a:pos x="T0" y="T1"/>
                  </a:cxn>
                  <a:cxn ang="0">
                    <a:pos x="T2" y="T3"/>
                  </a:cxn>
                </a:cxnLst>
                <a:rect l="0" t="0" r="r" b="b"/>
                <a:pathLst>
                  <a:path w="4" h="3">
                    <a:moveTo>
                      <a:pt x="1" y="0"/>
                    </a:moveTo>
                    <a:cubicBezTo>
                      <a:pt x="0" y="2"/>
                      <a:pt x="4"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2" name="Freeform 2340">
                <a:extLst>
                  <a:ext uri="{FF2B5EF4-FFF2-40B4-BE49-F238E27FC236}">
                    <a16:creationId xmlns:a16="http://schemas.microsoft.com/office/drawing/2014/main" id="{F9560E9E-6D8B-4E10-A5BF-FE70662A0F62}"/>
                  </a:ext>
                </a:extLst>
              </p:cNvPr>
              <p:cNvSpPr>
                <a:spLocks/>
              </p:cNvSpPr>
              <p:nvPr/>
            </p:nvSpPr>
            <p:spPr bwMode="auto">
              <a:xfrm>
                <a:off x="6925" y="1946"/>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3" name="Freeform 2341">
                <a:extLst>
                  <a:ext uri="{FF2B5EF4-FFF2-40B4-BE49-F238E27FC236}">
                    <a16:creationId xmlns:a16="http://schemas.microsoft.com/office/drawing/2014/main" id="{1E7A77EF-ED5B-41F9-A712-EB1C5A4CDDA7}"/>
                  </a:ext>
                </a:extLst>
              </p:cNvPr>
              <p:cNvSpPr>
                <a:spLocks/>
              </p:cNvSpPr>
              <p:nvPr/>
            </p:nvSpPr>
            <p:spPr bwMode="auto">
              <a:xfrm>
                <a:off x="6888" y="1804"/>
                <a:ext cx="7" cy="14"/>
              </a:xfrm>
              <a:custGeom>
                <a:avLst/>
                <a:gdLst>
                  <a:gd name="T0" fmla="*/ 0 w 3"/>
                  <a:gd name="T1" fmla="*/ 6 h 6"/>
                  <a:gd name="T2" fmla="*/ 3 w 3"/>
                  <a:gd name="T3" fmla="*/ 0 h 6"/>
                  <a:gd name="T4" fmla="*/ 0 w 3"/>
                  <a:gd name="T5" fmla="*/ 3 h 6"/>
                  <a:gd name="T6" fmla="*/ 0 w 3"/>
                  <a:gd name="T7" fmla="*/ 6 h 6"/>
                </a:gdLst>
                <a:ahLst/>
                <a:cxnLst>
                  <a:cxn ang="0">
                    <a:pos x="T0" y="T1"/>
                  </a:cxn>
                  <a:cxn ang="0">
                    <a:pos x="T2" y="T3"/>
                  </a:cxn>
                  <a:cxn ang="0">
                    <a:pos x="T4" y="T5"/>
                  </a:cxn>
                  <a:cxn ang="0">
                    <a:pos x="T6" y="T7"/>
                  </a:cxn>
                </a:cxnLst>
                <a:rect l="0" t="0" r="r" b="b"/>
                <a:pathLst>
                  <a:path w="3" h="6">
                    <a:moveTo>
                      <a:pt x="0" y="6"/>
                    </a:moveTo>
                    <a:cubicBezTo>
                      <a:pt x="3" y="6"/>
                      <a:pt x="3" y="3"/>
                      <a:pt x="3" y="0"/>
                    </a:cubicBezTo>
                    <a:cubicBezTo>
                      <a:pt x="2" y="1"/>
                      <a:pt x="0" y="2"/>
                      <a:pt x="0" y="3"/>
                    </a:cubicBezTo>
                    <a:cubicBezTo>
                      <a:pt x="0" y="4"/>
                      <a:pt x="1"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4" name="Freeform 2342">
                <a:extLst>
                  <a:ext uri="{FF2B5EF4-FFF2-40B4-BE49-F238E27FC236}">
                    <a16:creationId xmlns:a16="http://schemas.microsoft.com/office/drawing/2014/main" id="{A592691F-F88C-489E-897D-784338309563}"/>
                  </a:ext>
                </a:extLst>
              </p:cNvPr>
              <p:cNvSpPr>
                <a:spLocks/>
              </p:cNvSpPr>
              <p:nvPr/>
            </p:nvSpPr>
            <p:spPr bwMode="auto">
              <a:xfrm>
                <a:off x="6535" y="2175"/>
                <a:ext cx="7" cy="5"/>
              </a:xfrm>
              <a:custGeom>
                <a:avLst/>
                <a:gdLst>
                  <a:gd name="T0" fmla="*/ 1 w 3"/>
                  <a:gd name="T1" fmla="*/ 0 h 2"/>
                  <a:gd name="T2" fmla="*/ 0 w 3"/>
                  <a:gd name="T3" fmla="*/ 1 h 2"/>
                  <a:gd name="T4" fmla="*/ 2 w 3"/>
                  <a:gd name="T5" fmla="*/ 2 h 2"/>
                  <a:gd name="T6" fmla="*/ 1 w 3"/>
                  <a:gd name="T7" fmla="*/ 0 h 2"/>
                </a:gdLst>
                <a:ahLst/>
                <a:cxnLst>
                  <a:cxn ang="0">
                    <a:pos x="T0" y="T1"/>
                  </a:cxn>
                  <a:cxn ang="0">
                    <a:pos x="T2" y="T3"/>
                  </a:cxn>
                  <a:cxn ang="0">
                    <a:pos x="T4" y="T5"/>
                  </a:cxn>
                  <a:cxn ang="0">
                    <a:pos x="T6" y="T7"/>
                  </a:cxn>
                </a:cxnLst>
                <a:rect l="0" t="0" r="r" b="b"/>
                <a:pathLst>
                  <a:path w="3" h="2">
                    <a:moveTo>
                      <a:pt x="1" y="0"/>
                    </a:moveTo>
                    <a:cubicBezTo>
                      <a:pt x="1" y="1"/>
                      <a:pt x="1" y="1"/>
                      <a:pt x="0" y="1"/>
                    </a:cubicBezTo>
                    <a:cubicBezTo>
                      <a:pt x="0" y="1"/>
                      <a:pt x="1" y="2"/>
                      <a:pt x="2" y="2"/>
                    </a:cubicBezTo>
                    <a:cubicBezTo>
                      <a:pt x="3"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5" name="Freeform 2343">
                <a:extLst>
                  <a:ext uri="{FF2B5EF4-FFF2-40B4-BE49-F238E27FC236}">
                    <a16:creationId xmlns:a16="http://schemas.microsoft.com/office/drawing/2014/main" id="{9C0134DE-4B33-4901-9A14-9A541F74947E}"/>
                  </a:ext>
                </a:extLst>
              </p:cNvPr>
              <p:cNvSpPr>
                <a:spLocks/>
              </p:cNvSpPr>
              <p:nvPr/>
            </p:nvSpPr>
            <p:spPr bwMode="auto">
              <a:xfrm>
                <a:off x="6916" y="1690"/>
                <a:ext cx="5" cy="7"/>
              </a:xfrm>
              <a:custGeom>
                <a:avLst/>
                <a:gdLst>
                  <a:gd name="T0" fmla="*/ 0 w 2"/>
                  <a:gd name="T1" fmla="*/ 1 h 3"/>
                  <a:gd name="T2" fmla="*/ 0 w 2"/>
                  <a:gd name="T3" fmla="*/ 3 h 3"/>
                  <a:gd name="T4" fmla="*/ 0 w 2"/>
                  <a:gd name="T5" fmla="*/ 1 h 3"/>
                </a:gdLst>
                <a:ahLst/>
                <a:cxnLst>
                  <a:cxn ang="0">
                    <a:pos x="T0" y="T1"/>
                  </a:cxn>
                  <a:cxn ang="0">
                    <a:pos x="T2" y="T3"/>
                  </a:cxn>
                  <a:cxn ang="0">
                    <a:pos x="T4" y="T5"/>
                  </a:cxn>
                </a:cxnLst>
                <a:rect l="0" t="0" r="r" b="b"/>
                <a:pathLst>
                  <a:path w="2" h="3">
                    <a:moveTo>
                      <a:pt x="0" y="1"/>
                    </a:moveTo>
                    <a:cubicBezTo>
                      <a:pt x="0" y="1"/>
                      <a:pt x="0" y="3"/>
                      <a:pt x="0" y="3"/>
                    </a:cubicBezTo>
                    <a:cubicBezTo>
                      <a:pt x="0" y="3"/>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6" name="Freeform 2344">
                <a:extLst>
                  <a:ext uri="{FF2B5EF4-FFF2-40B4-BE49-F238E27FC236}">
                    <a16:creationId xmlns:a16="http://schemas.microsoft.com/office/drawing/2014/main" id="{1A2FEFBD-6CA4-4105-BB53-9AB64D696627}"/>
                  </a:ext>
                </a:extLst>
              </p:cNvPr>
              <p:cNvSpPr>
                <a:spLocks/>
              </p:cNvSpPr>
              <p:nvPr/>
            </p:nvSpPr>
            <p:spPr bwMode="auto">
              <a:xfrm>
                <a:off x="6689" y="1962"/>
                <a:ext cx="5" cy="10"/>
              </a:xfrm>
              <a:custGeom>
                <a:avLst/>
                <a:gdLst>
                  <a:gd name="T0" fmla="*/ 2 w 2"/>
                  <a:gd name="T1" fmla="*/ 2 h 4"/>
                  <a:gd name="T2" fmla="*/ 2 w 2"/>
                  <a:gd name="T3" fmla="*/ 0 h 4"/>
                  <a:gd name="T4" fmla="*/ 0 w 2"/>
                  <a:gd name="T5" fmla="*/ 0 h 4"/>
                  <a:gd name="T6" fmla="*/ 0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cubicBezTo>
                      <a:pt x="2" y="2"/>
                      <a:pt x="2" y="1"/>
                      <a:pt x="2" y="0"/>
                    </a:cubicBezTo>
                    <a:cubicBezTo>
                      <a:pt x="1" y="0"/>
                      <a:pt x="1" y="0"/>
                      <a:pt x="0" y="0"/>
                    </a:cubicBezTo>
                    <a:cubicBezTo>
                      <a:pt x="0" y="1"/>
                      <a:pt x="0" y="3"/>
                      <a:pt x="0" y="4"/>
                    </a:cubicBezTo>
                    <a:cubicBezTo>
                      <a:pt x="1" y="4"/>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7" name="Freeform 2345">
                <a:extLst>
                  <a:ext uri="{FF2B5EF4-FFF2-40B4-BE49-F238E27FC236}">
                    <a16:creationId xmlns:a16="http://schemas.microsoft.com/office/drawing/2014/main" id="{D3B9D893-9F3B-4F89-8057-1AA6B9D31060}"/>
                  </a:ext>
                </a:extLst>
              </p:cNvPr>
              <p:cNvSpPr>
                <a:spLocks/>
              </p:cNvSpPr>
              <p:nvPr/>
            </p:nvSpPr>
            <p:spPr bwMode="auto">
              <a:xfrm>
                <a:off x="6545" y="2171"/>
                <a:ext cx="7" cy="9"/>
              </a:xfrm>
              <a:custGeom>
                <a:avLst/>
                <a:gdLst>
                  <a:gd name="T0" fmla="*/ 2 w 3"/>
                  <a:gd name="T1" fmla="*/ 2 h 4"/>
                  <a:gd name="T2" fmla="*/ 3 w 3"/>
                  <a:gd name="T3" fmla="*/ 0 h 4"/>
                  <a:gd name="T4" fmla="*/ 0 w 3"/>
                  <a:gd name="T5" fmla="*/ 2 h 4"/>
                  <a:gd name="T6" fmla="*/ 2 w 3"/>
                  <a:gd name="T7" fmla="*/ 2 h 4"/>
                </a:gdLst>
                <a:ahLst/>
                <a:cxnLst>
                  <a:cxn ang="0">
                    <a:pos x="T0" y="T1"/>
                  </a:cxn>
                  <a:cxn ang="0">
                    <a:pos x="T2" y="T3"/>
                  </a:cxn>
                  <a:cxn ang="0">
                    <a:pos x="T4" y="T5"/>
                  </a:cxn>
                  <a:cxn ang="0">
                    <a:pos x="T6" y="T7"/>
                  </a:cxn>
                </a:cxnLst>
                <a:rect l="0" t="0" r="r" b="b"/>
                <a:pathLst>
                  <a:path w="3" h="4">
                    <a:moveTo>
                      <a:pt x="2" y="2"/>
                    </a:moveTo>
                    <a:cubicBezTo>
                      <a:pt x="2" y="1"/>
                      <a:pt x="3" y="1"/>
                      <a:pt x="3" y="0"/>
                    </a:cubicBezTo>
                    <a:cubicBezTo>
                      <a:pt x="2" y="1"/>
                      <a:pt x="1" y="1"/>
                      <a:pt x="0" y="2"/>
                    </a:cubicBezTo>
                    <a:cubicBezTo>
                      <a:pt x="1" y="4"/>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8" name="Freeform 2346">
                <a:extLst>
                  <a:ext uri="{FF2B5EF4-FFF2-40B4-BE49-F238E27FC236}">
                    <a16:creationId xmlns:a16="http://schemas.microsoft.com/office/drawing/2014/main" id="{E9603C57-53E2-450F-859D-5CC37A2BAC18}"/>
                  </a:ext>
                </a:extLst>
              </p:cNvPr>
              <p:cNvSpPr>
                <a:spLocks/>
              </p:cNvSpPr>
              <p:nvPr/>
            </p:nvSpPr>
            <p:spPr bwMode="auto">
              <a:xfrm>
                <a:off x="6696" y="2019"/>
                <a:ext cx="9" cy="5"/>
              </a:xfrm>
              <a:custGeom>
                <a:avLst/>
                <a:gdLst>
                  <a:gd name="T0" fmla="*/ 3 w 4"/>
                  <a:gd name="T1" fmla="*/ 2 h 2"/>
                  <a:gd name="T2" fmla="*/ 2 w 4"/>
                  <a:gd name="T3" fmla="*/ 0 h 2"/>
                  <a:gd name="T4" fmla="*/ 1 w 4"/>
                  <a:gd name="T5" fmla="*/ 1 h 2"/>
                  <a:gd name="T6" fmla="*/ 3 w 4"/>
                  <a:gd name="T7" fmla="*/ 2 h 2"/>
                </a:gdLst>
                <a:ahLst/>
                <a:cxnLst>
                  <a:cxn ang="0">
                    <a:pos x="T0" y="T1"/>
                  </a:cxn>
                  <a:cxn ang="0">
                    <a:pos x="T2" y="T3"/>
                  </a:cxn>
                  <a:cxn ang="0">
                    <a:pos x="T4" y="T5"/>
                  </a:cxn>
                  <a:cxn ang="0">
                    <a:pos x="T6" y="T7"/>
                  </a:cxn>
                </a:cxnLst>
                <a:rect l="0" t="0" r="r" b="b"/>
                <a:pathLst>
                  <a:path w="4" h="2">
                    <a:moveTo>
                      <a:pt x="3" y="2"/>
                    </a:moveTo>
                    <a:cubicBezTo>
                      <a:pt x="4" y="1"/>
                      <a:pt x="3" y="0"/>
                      <a:pt x="2" y="0"/>
                    </a:cubicBezTo>
                    <a:cubicBezTo>
                      <a:pt x="1" y="0"/>
                      <a:pt x="0" y="0"/>
                      <a:pt x="1" y="1"/>
                    </a:cubicBezTo>
                    <a:cubicBezTo>
                      <a:pt x="1" y="2"/>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9" name="Freeform 2347">
                <a:extLst>
                  <a:ext uri="{FF2B5EF4-FFF2-40B4-BE49-F238E27FC236}">
                    <a16:creationId xmlns:a16="http://schemas.microsoft.com/office/drawing/2014/main" id="{7A2E3973-DBA3-4243-B48D-240B0568CCDD}"/>
                  </a:ext>
                </a:extLst>
              </p:cNvPr>
              <p:cNvSpPr>
                <a:spLocks/>
              </p:cNvSpPr>
              <p:nvPr/>
            </p:nvSpPr>
            <p:spPr bwMode="auto">
              <a:xfrm>
                <a:off x="6668" y="2071"/>
                <a:ext cx="11" cy="10"/>
              </a:xfrm>
              <a:custGeom>
                <a:avLst/>
                <a:gdLst>
                  <a:gd name="T0" fmla="*/ 1 w 5"/>
                  <a:gd name="T1" fmla="*/ 3 h 4"/>
                  <a:gd name="T2" fmla="*/ 2 w 5"/>
                  <a:gd name="T3" fmla="*/ 3 h 4"/>
                  <a:gd name="T4" fmla="*/ 5 w 5"/>
                  <a:gd name="T5" fmla="*/ 0 h 4"/>
                  <a:gd name="T6" fmla="*/ 3 w 5"/>
                  <a:gd name="T7" fmla="*/ 1 h 4"/>
                  <a:gd name="T8" fmla="*/ 0 w 5"/>
                  <a:gd name="T9" fmla="*/ 2 h 4"/>
                  <a:gd name="T10" fmla="*/ 1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1" y="3"/>
                    </a:moveTo>
                    <a:cubicBezTo>
                      <a:pt x="2" y="3"/>
                      <a:pt x="1" y="3"/>
                      <a:pt x="2" y="3"/>
                    </a:cubicBezTo>
                    <a:cubicBezTo>
                      <a:pt x="3" y="4"/>
                      <a:pt x="4" y="1"/>
                      <a:pt x="5" y="0"/>
                    </a:cubicBezTo>
                    <a:cubicBezTo>
                      <a:pt x="4" y="0"/>
                      <a:pt x="3" y="1"/>
                      <a:pt x="3" y="1"/>
                    </a:cubicBezTo>
                    <a:cubicBezTo>
                      <a:pt x="2" y="1"/>
                      <a:pt x="1" y="2"/>
                      <a:pt x="0" y="2"/>
                    </a:cubicBezTo>
                    <a:cubicBezTo>
                      <a:pt x="1" y="2"/>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0" name="Freeform 2348">
                <a:extLst>
                  <a:ext uri="{FF2B5EF4-FFF2-40B4-BE49-F238E27FC236}">
                    <a16:creationId xmlns:a16="http://schemas.microsoft.com/office/drawing/2014/main" id="{91E43B6C-4AE1-479B-B53C-00C66243CFCE}"/>
                  </a:ext>
                </a:extLst>
              </p:cNvPr>
              <p:cNvSpPr>
                <a:spLocks/>
              </p:cNvSpPr>
              <p:nvPr/>
            </p:nvSpPr>
            <p:spPr bwMode="auto">
              <a:xfrm>
                <a:off x="3745" y="1721"/>
                <a:ext cx="41" cy="69"/>
              </a:xfrm>
              <a:custGeom>
                <a:avLst/>
                <a:gdLst>
                  <a:gd name="T0" fmla="*/ 16 w 17"/>
                  <a:gd name="T1" fmla="*/ 4 h 29"/>
                  <a:gd name="T2" fmla="*/ 14 w 17"/>
                  <a:gd name="T3" fmla="*/ 4 h 29"/>
                  <a:gd name="T4" fmla="*/ 14 w 17"/>
                  <a:gd name="T5" fmla="*/ 1 h 29"/>
                  <a:gd name="T6" fmla="*/ 11 w 17"/>
                  <a:gd name="T7" fmla="*/ 0 h 29"/>
                  <a:gd name="T8" fmla="*/ 3 w 17"/>
                  <a:gd name="T9" fmla="*/ 5 h 29"/>
                  <a:gd name="T10" fmla="*/ 1 w 17"/>
                  <a:gd name="T11" fmla="*/ 3 h 29"/>
                  <a:gd name="T12" fmla="*/ 0 w 17"/>
                  <a:gd name="T13" fmla="*/ 5 h 29"/>
                  <a:gd name="T14" fmla="*/ 0 w 17"/>
                  <a:gd name="T15" fmla="*/ 6 h 29"/>
                  <a:gd name="T16" fmla="*/ 0 w 17"/>
                  <a:gd name="T17" fmla="*/ 8 h 29"/>
                  <a:gd name="T18" fmla="*/ 2 w 17"/>
                  <a:gd name="T19" fmla="*/ 8 h 29"/>
                  <a:gd name="T20" fmla="*/ 3 w 17"/>
                  <a:gd name="T21" fmla="*/ 10 h 29"/>
                  <a:gd name="T22" fmla="*/ 3 w 17"/>
                  <a:gd name="T23" fmla="*/ 14 h 29"/>
                  <a:gd name="T24" fmla="*/ 3 w 17"/>
                  <a:gd name="T25" fmla="*/ 15 h 29"/>
                  <a:gd name="T26" fmla="*/ 4 w 17"/>
                  <a:gd name="T27" fmla="*/ 18 h 29"/>
                  <a:gd name="T28" fmla="*/ 3 w 17"/>
                  <a:gd name="T29" fmla="*/ 20 h 29"/>
                  <a:gd name="T30" fmla="*/ 3 w 17"/>
                  <a:gd name="T31" fmla="*/ 21 h 29"/>
                  <a:gd name="T32" fmla="*/ 2 w 17"/>
                  <a:gd name="T33" fmla="*/ 26 h 29"/>
                  <a:gd name="T34" fmla="*/ 2 w 17"/>
                  <a:gd name="T35" fmla="*/ 26 h 29"/>
                  <a:gd name="T36" fmla="*/ 5 w 17"/>
                  <a:gd name="T37" fmla="*/ 28 h 29"/>
                  <a:gd name="T38" fmla="*/ 8 w 17"/>
                  <a:gd name="T39" fmla="*/ 28 h 29"/>
                  <a:gd name="T40" fmla="*/ 10 w 17"/>
                  <a:gd name="T41" fmla="*/ 24 h 29"/>
                  <a:gd name="T42" fmla="*/ 10 w 17"/>
                  <a:gd name="T43" fmla="*/ 24 h 29"/>
                  <a:gd name="T44" fmla="*/ 11 w 17"/>
                  <a:gd name="T45" fmla="*/ 24 h 29"/>
                  <a:gd name="T46" fmla="*/ 12 w 17"/>
                  <a:gd name="T47" fmla="*/ 25 h 29"/>
                  <a:gd name="T48" fmla="*/ 14 w 17"/>
                  <a:gd name="T49" fmla="*/ 26 h 29"/>
                  <a:gd name="T50" fmla="*/ 17 w 17"/>
                  <a:gd name="T51" fmla="*/ 10 h 29"/>
                  <a:gd name="T52" fmla="*/ 17 w 17"/>
                  <a:gd name="T53" fmla="*/ 7 h 29"/>
                  <a:gd name="T54" fmla="*/ 16 w 17"/>
                  <a:gd name="T5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 h="29">
                    <a:moveTo>
                      <a:pt x="16" y="4"/>
                    </a:moveTo>
                    <a:cubicBezTo>
                      <a:pt x="15" y="4"/>
                      <a:pt x="14" y="4"/>
                      <a:pt x="14" y="4"/>
                    </a:cubicBezTo>
                    <a:cubicBezTo>
                      <a:pt x="14" y="3"/>
                      <a:pt x="15" y="2"/>
                      <a:pt x="14" y="1"/>
                    </a:cubicBezTo>
                    <a:cubicBezTo>
                      <a:pt x="13" y="1"/>
                      <a:pt x="12" y="0"/>
                      <a:pt x="11" y="0"/>
                    </a:cubicBezTo>
                    <a:cubicBezTo>
                      <a:pt x="9" y="1"/>
                      <a:pt x="6" y="5"/>
                      <a:pt x="3" y="5"/>
                    </a:cubicBezTo>
                    <a:cubicBezTo>
                      <a:pt x="2" y="5"/>
                      <a:pt x="2" y="4"/>
                      <a:pt x="1" y="3"/>
                    </a:cubicBezTo>
                    <a:cubicBezTo>
                      <a:pt x="1" y="4"/>
                      <a:pt x="1" y="4"/>
                      <a:pt x="0" y="5"/>
                    </a:cubicBezTo>
                    <a:cubicBezTo>
                      <a:pt x="0" y="6"/>
                      <a:pt x="0" y="6"/>
                      <a:pt x="0" y="6"/>
                    </a:cubicBezTo>
                    <a:cubicBezTo>
                      <a:pt x="0" y="6"/>
                      <a:pt x="0" y="7"/>
                      <a:pt x="0" y="8"/>
                    </a:cubicBezTo>
                    <a:cubicBezTo>
                      <a:pt x="0" y="7"/>
                      <a:pt x="1" y="8"/>
                      <a:pt x="2" y="8"/>
                    </a:cubicBezTo>
                    <a:cubicBezTo>
                      <a:pt x="2" y="8"/>
                      <a:pt x="3" y="10"/>
                      <a:pt x="3" y="10"/>
                    </a:cubicBezTo>
                    <a:cubicBezTo>
                      <a:pt x="4" y="12"/>
                      <a:pt x="3" y="12"/>
                      <a:pt x="3" y="14"/>
                    </a:cubicBezTo>
                    <a:cubicBezTo>
                      <a:pt x="3" y="14"/>
                      <a:pt x="3" y="14"/>
                      <a:pt x="3" y="15"/>
                    </a:cubicBezTo>
                    <a:cubicBezTo>
                      <a:pt x="3" y="16"/>
                      <a:pt x="4" y="17"/>
                      <a:pt x="4" y="18"/>
                    </a:cubicBezTo>
                    <a:cubicBezTo>
                      <a:pt x="4" y="18"/>
                      <a:pt x="3" y="20"/>
                      <a:pt x="3" y="20"/>
                    </a:cubicBezTo>
                    <a:cubicBezTo>
                      <a:pt x="3" y="20"/>
                      <a:pt x="3" y="21"/>
                      <a:pt x="3" y="21"/>
                    </a:cubicBezTo>
                    <a:cubicBezTo>
                      <a:pt x="2" y="22"/>
                      <a:pt x="3" y="24"/>
                      <a:pt x="2" y="26"/>
                    </a:cubicBezTo>
                    <a:cubicBezTo>
                      <a:pt x="2" y="26"/>
                      <a:pt x="2" y="25"/>
                      <a:pt x="2" y="26"/>
                    </a:cubicBezTo>
                    <a:cubicBezTo>
                      <a:pt x="4" y="26"/>
                      <a:pt x="4" y="27"/>
                      <a:pt x="5" y="28"/>
                    </a:cubicBezTo>
                    <a:cubicBezTo>
                      <a:pt x="5" y="29"/>
                      <a:pt x="7" y="28"/>
                      <a:pt x="8" y="28"/>
                    </a:cubicBezTo>
                    <a:cubicBezTo>
                      <a:pt x="9" y="27"/>
                      <a:pt x="9" y="25"/>
                      <a:pt x="10" y="24"/>
                    </a:cubicBezTo>
                    <a:cubicBezTo>
                      <a:pt x="10" y="24"/>
                      <a:pt x="10" y="24"/>
                      <a:pt x="10" y="24"/>
                    </a:cubicBezTo>
                    <a:cubicBezTo>
                      <a:pt x="11" y="25"/>
                      <a:pt x="11" y="24"/>
                      <a:pt x="11" y="24"/>
                    </a:cubicBezTo>
                    <a:cubicBezTo>
                      <a:pt x="12" y="24"/>
                      <a:pt x="12" y="24"/>
                      <a:pt x="12" y="25"/>
                    </a:cubicBezTo>
                    <a:cubicBezTo>
                      <a:pt x="13" y="25"/>
                      <a:pt x="14" y="25"/>
                      <a:pt x="14" y="26"/>
                    </a:cubicBezTo>
                    <a:cubicBezTo>
                      <a:pt x="16" y="20"/>
                      <a:pt x="16" y="15"/>
                      <a:pt x="17" y="10"/>
                    </a:cubicBezTo>
                    <a:cubicBezTo>
                      <a:pt x="17" y="9"/>
                      <a:pt x="17" y="8"/>
                      <a:pt x="17" y="7"/>
                    </a:cubicBezTo>
                    <a:cubicBezTo>
                      <a:pt x="17" y="7"/>
                      <a:pt x="16" y="5"/>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1" name="Freeform 2349">
                <a:extLst>
                  <a:ext uri="{FF2B5EF4-FFF2-40B4-BE49-F238E27FC236}">
                    <a16:creationId xmlns:a16="http://schemas.microsoft.com/office/drawing/2014/main" id="{CEE9C555-1ADB-47CE-B5DD-30A9F5FC0CB2}"/>
                  </a:ext>
                </a:extLst>
              </p:cNvPr>
              <p:cNvSpPr>
                <a:spLocks/>
              </p:cNvSpPr>
              <p:nvPr/>
            </p:nvSpPr>
            <p:spPr bwMode="auto">
              <a:xfrm>
                <a:off x="3838" y="1844"/>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2" name="Freeform 2350">
                <a:extLst>
                  <a:ext uri="{FF2B5EF4-FFF2-40B4-BE49-F238E27FC236}">
                    <a16:creationId xmlns:a16="http://schemas.microsoft.com/office/drawing/2014/main" id="{1873586E-47C7-4446-AED9-0F499E5E4784}"/>
                  </a:ext>
                </a:extLst>
              </p:cNvPr>
              <p:cNvSpPr>
                <a:spLocks/>
              </p:cNvSpPr>
              <p:nvPr/>
            </p:nvSpPr>
            <p:spPr bwMode="auto">
              <a:xfrm>
                <a:off x="3793" y="1671"/>
                <a:ext cx="9" cy="7"/>
              </a:xfrm>
              <a:custGeom>
                <a:avLst/>
                <a:gdLst>
                  <a:gd name="T0" fmla="*/ 2 w 4"/>
                  <a:gd name="T1" fmla="*/ 1 h 3"/>
                  <a:gd name="T2" fmla="*/ 1 w 4"/>
                  <a:gd name="T3" fmla="*/ 1 h 3"/>
                  <a:gd name="T4" fmla="*/ 0 w 4"/>
                  <a:gd name="T5" fmla="*/ 2 h 3"/>
                  <a:gd name="T6" fmla="*/ 3 w 4"/>
                  <a:gd name="T7" fmla="*/ 3 h 3"/>
                  <a:gd name="T8" fmla="*/ 2 w 4"/>
                  <a:gd name="T9" fmla="*/ 1 h 3"/>
                </a:gdLst>
                <a:ahLst/>
                <a:cxnLst>
                  <a:cxn ang="0">
                    <a:pos x="T0" y="T1"/>
                  </a:cxn>
                  <a:cxn ang="0">
                    <a:pos x="T2" y="T3"/>
                  </a:cxn>
                  <a:cxn ang="0">
                    <a:pos x="T4" y="T5"/>
                  </a:cxn>
                  <a:cxn ang="0">
                    <a:pos x="T6" y="T7"/>
                  </a:cxn>
                  <a:cxn ang="0">
                    <a:pos x="T8" y="T9"/>
                  </a:cxn>
                </a:cxnLst>
                <a:rect l="0" t="0" r="r" b="b"/>
                <a:pathLst>
                  <a:path w="4" h="3">
                    <a:moveTo>
                      <a:pt x="2" y="1"/>
                    </a:moveTo>
                    <a:cubicBezTo>
                      <a:pt x="2" y="1"/>
                      <a:pt x="1" y="1"/>
                      <a:pt x="1" y="1"/>
                    </a:cubicBezTo>
                    <a:cubicBezTo>
                      <a:pt x="1" y="2"/>
                      <a:pt x="0" y="1"/>
                      <a:pt x="0" y="2"/>
                    </a:cubicBezTo>
                    <a:cubicBezTo>
                      <a:pt x="1" y="2"/>
                      <a:pt x="2" y="2"/>
                      <a:pt x="3" y="3"/>
                    </a:cubicBezTo>
                    <a:cubicBezTo>
                      <a:pt x="4" y="0"/>
                      <a:pt x="4"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3" name="Freeform 2351">
                <a:extLst>
                  <a:ext uri="{FF2B5EF4-FFF2-40B4-BE49-F238E27FC236}">
                    <a16:creationId xmlns:a16="http://schemas.microsoft.com/office/drawing/2014/main" id="{697F9B9E-314B-4ECD-BA31-11BC6B96C7E4}"/>
                  </a:ext>
                </a:extLst>
              </p:cNvPr>
              <p:cNvSpPr>
                <a:spLocks/>
              </p:cNvSpPr>
              <p:nvPr/>
            </p:nvSpPr>
            <p:spPr bwMode="auto">
              <a:xfrm>
                <a:off x="3847" y="1804"/>
                <a:ext cx="80" cy="45"/>
              </a:xfrm>
              <a:custGeom>
                <a:avLst/>
                <a:gdLst>
                  <a:gd name="T0" fmla="*/ 29 w 34"/>
                  <a:gd name="T1" fmla="*/ 8 h 19"/>
                  <a:gd name="T2" fmla="*/ 34 w 34"/>
                  <a:gd name="T3" fmla="*/ 0 h 19"/>
                  <a:gd name="T4" fmla="*/ 26 w 34"/>
                  <a:gd name="T5" fmla="*/ 2 h 19"/>
                  <a:gd name="T6" fmla="*/ 19 w 34"/>
                  <a:gd name="T7" fmla="*/ 3 h 19"/>
                  <a:gd name="T8" fmla="*/ 11 w 34"/>
                  <a:gd name="T9" fmla="*/ 2 h 19"/>
                  <a:gd name="T10" fmla="*/ 10 w 34"/>
                  <a:gd name="T11" fmla="*/ 1 h 19"/>
                  <a:gd name="T12" fmla="*/ 5 w 34"/>
                  <a:gd name="T13" fmla="*/ 3 h 19"/>
                  <a:gd name="T14" fmla="*/ 4 w 34"/>
                  <a:gd name="T15" fmla="*/ 2 h 19"/>
                  <a:gd name="T16" fmla="*/ 3 w 34"/>
                  <a:gd name="T17" fmla="*/ 2 h 19"/>
                  <a:gd name="T18" fmla="*/ 1 w 34"/>
                  <a:gd name="T19" fmla="*/ 6 h 19"/>
                  <a:gd name="T20" fmla="*/ 3 w 34"/>
                  <a:gd name="T21" fmla="*/ 9 h 19"/>
                  <a:gd name="T22" fmla="*/ 5 w 34"/>
                  <a:gd name="T23" fmla="*/ 9 h 19"/>
                  <a:gd name="T24" fmla="*/ 8 w 34"/>
                  <a:gd name="T25" fmla="*/ 10 h 19"/>
                  <a:gd name="T26" fmla="*/ 17 w 34"/>
                  <a:gd name="T27" fmla="*/ 14 h 19"/>
                  <a:gd name="T28" fmla="*/ 21 w 34"/>
                  <a:gd name="T29" fmla="*/ 17 h 19"/>
                  <a:gd name="T30" fmla="*/ 22 w 34"/>
                  <a:gd name="T31" fmla="*/ 18 h 19"/>
                  <a:gd name="T32" fmla="*/ 28 w 34"/>
                  <a:gd name="T33" fmla="*/ 19 h 19"/>
                  <a:gd name="T34" fmla="*/ 31 w 34"/>
                  <a:gd name="T35" fmla="*/ 15 h 19"/>
                  <a:gd name="T36" fmla="*/ 28 w 34"/>
                  <a:gd name="T37" fmla="*/ 12 h 19"/>
                  <a:gd name="T38" fmla="*/ 29 w 34"/>
                  <a:gd name="T3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19">
                    <a:moveTo>
                      <a:pt x="29" y="8"/>
                    </a:moveTo>
                    <a:cubicBezTo>
                      <a:pt x="30" y="5"/>
                      <a:pt x="32" y="3"/>
                      <a:pt x="34" y="0"/>
                    </a:cubicBezTo>
                    <a:cubicBezTo>
                      <a:pt x="31" y="1"/>
                      <a:pt x="28" y="2"/>
                      <a:pt x="26" y="2"/>
                    </a:cubicBezTo>
                    <a:cubicBezTo>
                      <a:pt x="24" y="2"/>
                      <a:pt x="21" y="4"/>
                      <a:pt x="19" y="3"/>
                    </a:cubicBezTo>
                    <a:cubicBezTo>
                      <a:pt x="16" y="3"/>
                      <a:pt x="14" y="3"/>
                      <a:pt x="11" y="2"/>
                    </a:cubicBezTo>
                    <a:cubicBezTo>
                      <a:pt x="10" y="2"/>
                      <a:pt x="11" y="1"/>
                      <a:pt x="10" y="1"/>
                    </a:cubicBezTo>
                    <a:cubicBezTo>
                      <a:pt x="9" y="1"/>
                      <a:pt x="7" y="3"/>
                      <a:pt x="5" y="3"/>
                    </a:cubicBezTo>
                    <a:cubicBezTo>
                      <a:pt x="4" y="3"/>
                      <a:pt x="5" y="2"/>
                      <a:pt x="4" y="2"/>
                    </a:cubicBezTo>
                    <a:cubicBezTo>
                      <a:pt x="4" y="2"/>
                      <a:pt x="4" y="1"/>
                      <a:pt x="3" y="2"/>
                    </a:cubicBezTo>
                    <a:cubicBezTo>
                      <a:pt x="3" y="3"/>
                      <a:pt x="0" y="6"/>
                      <a:pt x="1" y="6"/>
                    </a:cubicBezTo>
                    <a:cubicBezTo>
                      <a:pt x="2" y="7"/>
                      <a:pt x="2" y="8"/>
                      <a:pt x="3" y="9"/>
                    </a:cubicBezTo>
                    <a:cubicBezTo>
                      <a:pt x="4" y="9"/>
                      <a:pt x="5" y="9"/>
                      <a:pt x="5" y="9"/>
                    </a:cubicBezTo>
                    <a:cubicBezTo>
                      <a:pt x="6" y="9"/>
                      <a:pt x="8" y="10"/>
                      <a:pt x="8" y="10"/>
                    </a:cubicBezTo>
                    <a:cubicBezTo>
                      <a:pt x="11" y="11"/>
                      <a:pt x="14" y="13"/>
                      <a:pt x="17" y="14"/>
                    </a:cubicBezTo>
                    <a:cubicBezTo>
                      <a:pt x="19" y="15"/>
                      <a:pt x="20" y="15"/>
                      <a:pt x="21" y="17"/>
                    </a:cubicBezTo>
                    <a:cubicBezTo>
                      <a:pt x="21" y="17"/>
                      <a:pt x="21" y="17"/>
                      <a:pt x="22" y="18"/>
                    </a:cubicBezTo>
                    <a:cubicBezTo>
                      <a:pt x="23" y="19"/>
                      <a:pt x="27" y="19"/>
                      <a:pt x="28" y="19"/>
                    </a:cubicBezTo>
                    <a:cubicBezTo>
                      <a:pt x="29" y="18"/>
                      <a:pt x="29" y="15"/>
                      <a:pt x="31" y="15"/>
                    </a:cubicBezTo>
                    <a:cubicBezTo>
                      <a:pt x="30" y="14"/>
                      <a:pt x="29" y="13"/>
                      <a:pt x="28" y="12"/>
                    </a:cubicBezTo>
                    <a:cubicBezTo>
                      <a:pt x="28" y="11"/>
                      <a:pt x="29" y="8"/>
                      <a:pt x="2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4" name="Freeform 2352">
                <a:extLst>
                  <a:ext uri="{FF2B5EF4-FFF2-40B4-BE49-F238E27FC236}">
                    <a16:creationId xmlns:a16="http://schemas.microsoft.com/office/drawing/2014/main" id="{B0A289AF-E012-4636-940F-1F90D22CFEB3}"/>
                  </a:ext>
                </a:extLst>
              </p:cNvPr>
              <p:cNvSpPr>
                <a:spLocks/>
              </p:cNvSpPr>
              <p:nvPr/>
            </p:nvSpPr>
            <p:spPr bwMode="auto">
              <a:xfrm>
                <a:off x="5675" y="2239"/>
                <a:ext cx="2" cy="7"/>
              </a:xfrm>
              <a:custGeom>
                <a:avLst/>
                <a:gdLst>
                  <a:gd name="T0" fmla="*/ 0 w 1"/>
                  <a:gd name="T1" fmla="*/ 3 h 3"/>
                  <a:gd name="T2" fmla="*/ 1 w 1"/>
                  <a:gd name="T3" fmla="*/ 0 h 3"/>
                  <a:gd name="T4" fmla="*/ 0 w 1"/>
                  <a:gd name="T5" fmla="*/ 3 h 3"/>
                </a:gdLst>
                <a:ahLst/>
                <a:cxnLst>
                  <a:cxn ang="0">
                    <a:pos x="T0" y="T1"/>
                  </a:cxn>
                  <a:cxn ang="0">
                    <a:pos x="T2" y="T3"/>
                  </a:cxn>
                  <a:cxn ang="0">
                    <a:pos x="T4" y="T5"/>
                  </a:cxn>
                </a:cxnLst>
                <a:rect l="0" t="0" r="r" b="b"/>
                <a:pathLst>
                  <a:path w="1" h="3">
                    <a:moveTo>
                      <a:pt x="0" y="3"/>
                    </a:moveTo>
                    <a:cubicBezTo>
                      <a:pt x="1" y="2"/>
                      <a:pt x="1" y="1"/>
                      <a:pt x="1" y="0"/>
                    </a:cubicBezTo>
                    <a:cubicBezTo>
                      <a:pt x="1"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5" name="Freeform 2353">
                <a:extLst>
                  <a:ext uri="{FF2B5EF4-FFF2-40B4-BE49-F238E27FC236}">
                    <a16:creationId xmlns:a16="http://schemas.microsoft.com/office/drawing/2014/main" id="{1D3418C0-48C6-4CD2-946F-68467ED433C4}"/>
                  </a:ext>
                </a:extLst>
              </p:cNvPr>
              <p:cNvSpPr>
                <a:spLocks/>
              </p:cNvSpPr>
              <p:nvPr/>
            </p:nvSpPr>
            <p:spPr bwMode="auto">
              <a:xfrm>
                <a:off x="5471" y="2528"/>
                <a:ext cx="5"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cubicBezTo>
                      <a:pt x="1" y="0"/>
                      <a:pt x="1" y="0"/>
                      <a:pt x="0" y="0"/>
                    </a:cubicBezTo>
                    <a:cubicBezTo>
                      <a:pt x="0" y="0"/>
                      <a:pt x="0" y="0"/>
                      <a:pt x="0" y="0"/>
                    </a:cubicBezTo>
                    <a:cubicBezTo>
                      <a:pt x="0" y="0"/>
                      <a:pt x="0" y="0"/>
                      <a:pt x="0" y="0"/>
                    </a:cubicBezTo>
                    <a:cubicBezTo>
                      <a:pt x="1"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6" name="Freeform 2354">
                <a:extLst>
                  <a:ext uri="{FF2B5EF4-FFF2-40B4-BE49-F238E27FC236}">
                    <a16:creationId xmlns:a16="http://schemas.microsoft.com/office/drawing/2014/main" id="{7780B8FD-AB33-4509-8FA2-98C08116CC2A}"/>
                  </a:ext>
                </a:extLst>
              </p:cNvPr>
              <p:cNvSpPr>
                <a:spLocks/>
              </p:cNvSpPr>
              <p:nvPr/>
            </p:nvSpPr>
            <p:spPr bwMode="auto">
              <a:xfrm>
                <a:off x="5677" y="2239"/>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7" name="Freeform 2355">
                <a:extLst>
                  <a:ext uri="{FF2B5EF4-FFF2-40B4-BE49-F238E27FC236}">
                    <a16:creationId xmlns:a16="http://schemas.microsoft.com/office/drawing/2014/main" id="{C26F8062-5344-47C7-A7D2-4B20C941670F}"/>
                  </a:ext>
                </a:extLst>
              </p:cNvPr>
              <p:cNvSpPr>
                <a:spLocks/>
              </p:cNvSpPr>
              <p:nvPr/>
            </p:nvSpPr>
            <p:spPr bwMode="auto">
              <a:xfrm>
                <a:off x="3433" y="1314"/>
                <a:ext cx="12" cy="12"/>
              </a:xfrm>
              <a:custGeom>
                <a:avLst/>
                <a:gdLst>
                  <a:gd name="T0" fmla="*/ 2 w 5"/>
                  <a:gd name="T1" fmla="*/ 1 h 5"/>
                  <a:gd name="T2" fmla="*/ 1 w 5"/>
                  <a:gd name="T3" fmla="*/ 3 h 5"/>
                  <a:gd name="T4" fmla="*/ 0 w 5"/>
                  <a:gd name="T5" fmla="*/ 5 h 5"/>
                  <a:gd name="T6" fmla="*/ 4 w 5"/>
                  <a:gd name="T7" fmla="*/ 3 h 5"/>
                  <a:gd name="T8" fmla="*/ 5 w 5"/>
                  <a:gd name="T9" fmla="*/ 1 h 5"/>
                  <a:gd name="T10" fmla="*/ 4 w 5"/>
                  <a:gd name="T11" fmla="*/ 0 h 5"/>
                  <a:gd name="T12" fmla="*/ 2 w 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1"/>
                    </a:moveTo>
                    <a:cubicBezTo>
                      <a:pt x="2" y="2"/>
                      <a:pt x="1" y="2"/>
                      <a:pt x="1" y="3"/>
                    </a:cubicBezTo>
                    <a:cubicBezTo>
                      <a:pt x="0" y="4"/>
                      <a:pt x="0" y="4"/>
                      <a:pt x="0" y="5"/>
                    </a:cubicBezTo>
                    <a:cubicBezTo>
                      <a:pt x="2" y="5"/>
                      <a:pt x="3" y="4"/>
                      <a:pt x="4" y="3"/>
                    </a:cubicBezTo>
                    <a:cubicBezTo>
                      <a:pt x="4" y="3"/>
                      <a:pt x="5" y="2"/>
                      <a:pt x="5" y="1"/>
                    </a:cubicBezTo>
                    <a:cubicBezTo>
                      <a:pt x="5" y="1"/>
                      <a:pt x="4" y="1"/>
                      <a:pt x="4" y="0"/>
                    </a:cubicBezTo>
                    <a:cubicBezTo>
                      <a:pt x="4" y="0"/>
                      <a:pt x="3"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8" name="Freeform 2356">
                <a:extLst>
                  <a:ext uri="{FF2B5EF4-FFF2-40B4-BE49-F238E27FC236}">
                    <a16:creationId xmlns:a16="http://schemas.microsoft.com/office/drawing/2014/main" id="{C9AEDC3B-AD34-4C9C-ADBB-CFC307E1F4B2}"/>
                  </a:ext>
                </a:extLst>
              </p:cNvPr>
              <p:cNvSpPr>
                <a:spLocks/>
              </p:cNvSpPr>
              <p:nvPr/>
            </p:nvSpPr>
            <p:spPr bwMode="auto">
              <a:xfrm>
                <a:off x="5842" y="2639"/>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9" name="Freeform 2357">
                <a:extLst>
                  <a:ext uri="{FF2B5EF4-FFF2-40B4-BE49-F238E27FC236}">
                    <a16:creationId xmlns:a16="http://schemas.microsoft.com/office/drawing/2014/main" id="{4DE953AB-6C31-45C1-89E2-232EEE9A234E}"/>
                  </a:ext>
                </a:extLst>
              </p:cNvPr>
              <p:cNvSpPr>
                <a:spLocks/>
              </p:cNvSpPr>
              <p:nvPr/>
            </p:nvSpPr>
            <p:spPr bwMode="auto">
              <a:xfrm>
                <a:off x="6069" y="2774"/>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0" name="Freeform 2358">
                <a:extLst>
                  <a:ext uri="{FF2B5EF4-FFF2-40B4-BE49-F238E27FC236}">
                    <a16:creationId xmlns:a16="http://schemas.microsoft.com/office/drawing/2014/main" id="{C39F8B2A-E7DD-44D6-A0FF-3CEE77C61B4D}"/>
                  </a:ext>
                </a:extLst>
              </p:cNvPr>
              <p:cNvSpPr>
                <a:spLocks/>
              </p:cNvSpPr>
              <p:nvPr/>
            </p:nvSpPr>
            <p:spPr bwMode="auto">
              <a:xfrm>
                <a:off x="6694" y="2776"/>
                <a:ext cx="28" cy="12"/>
              </a:xfrm>
              <a:custGeom>
                <a:avLst/>
                <a:gdLst>
                  <a:gd name="T0" fmla="*/ 2 w 12"/>
                  <a:gd name="T1" fmla="*/ 3 h 5"/>
                  <a:gd name="T2" fmla="*/ 3 w 12"/>
                  <a:gd name="T3" fmla="*/ 3 h 5"/>
                  <a:gd name="T4" fmla="*/ 3 w 12"/>
                  <a:gd name="T5" fmla="*/ 5 h 5"/>
                  <a:gd name="T6" fmla="*/ 4 w 12"/>
                  <a:gd name="T7" fmla="*/ 4 h 5"/>
                  <a:gd name="T8" fmla="*/ 5 w 12"/>
                  <a:gd name="T9" fmla="*/ 5 h 5"/>
                  <a:gd name="T10" fmla="*/ 7 w 12"/>
                  <a:gd name="T11" fmla="*/ 4 h 5"/>
                  <a:gd name="T12" fmla="*/ 9 w 12"/>
                  <a:gd name="T13" fmla="*/ 4 h 5"/>
                  <a:gd name="T14" fmla="*/ 10 w 12"/>
                  <a:gd name="T15" fmla="*/ 4 h 5"/>
                  <a:gd name="T16" fmla="*/ 11 w 12"/>
                  <a:gd name="T17" fmla="*/ 2 h 5"/>
                  <a:gd name="T18" fmla="*/ 9 w 12"/>
                  <a:gd name="T19" fmla="*/ 1 h 5"/>
                  <a:gd name="T20" fmla="*/ 8 w 12"/>
                  <a:gd name="T21" fmla="*/ 1 h 5"/>
                  <a:gd name="T22" fmla="*/ 6 w 12"/>
                  <a:gd name="T23" fmla="*/ 0 h 5"/>
                  <a:gd name="T24" fmla="*/ 0 w 12"/>
                  <a:gd name="T25" fmla="*/ 3 h 5"/>
                  <a:gd name="T26" fmla="*/ 2 w 1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5">
                    <a:moveTo>
                      <a:pt x="2" y="3"/>
                    </a:moveTo>
                    <a:cubicBezTo>
                      <a:pt x="2" y="3"/>
                      <a:pt x="3" y="3"/>
                      <a:pt x="3" y="3"/>
                    </a:cubicBezTo>
                    <a:cubicBezTo>
                      <a:pt x="3" y="3"/>
                      <a:pt x="3" y="4"/>
                      <a:pt x="3" y="5"/>
                    </a:cubicBezTo>
                    <a:cubicBezTo>
                      <a:pt x="3" y="4"/>
                      <a:pt x="3" y="4"/>
                      <a:pt x="4" y="4"/>
                    </a:cubicBezTo>
                    <a:cubicBezTo>
                      <a:pt x="5" y="3"/>
                      <a:pt x="5" y="5"/>
                      <a:pt x="5" y="5"/>
                    </a:cubicBezTo>
                    <a:cubicBezTo>
                      <a:pt x="6" y="5"/>
                      <a:pt x="8" y="5"/>
                      <a:pt x="7" y="4"/>
                    </a:cubicBezTo>
                    <a:cubicBezTo>
                      <a:pt x="8" y="4"/>
                      <a:pt x="8" y="4"/>
                      <a:pt x="9" y="4"/>
                    </a:cubicBezTo>
                    <a:cubicBezTo>
                      <a:pt x="9" y="4"/>
                      <a:pt x="10" y="4"/>
                      <a:pt x="10" y="4"/>
                    </a:cubicBezTo>
                    <a:cubicBezTo>
                      <a:pt x="12" y="4"/>
                      <a:pt x="11" y="2"/>
                      <a:pt x="11" y="2"/>
                    </a:cubicBezTo>
                    <a:cubicBezTo>
                      <a:pt x="10" y="2"/>
                      <a:pt x="9" y="1"/>
                      <a:pt x="9" y="1"/>
                    </a:cubicBezTo>
                    <a:cubicBezTo>
                      <a:pt x="8" y="1"/>
                      <a:pt x="8" y="1"/>
                      <a:pt x="8" y="1"/>
                    </a:cubicBezTo>
                    <a:cubicBezTo>
                      <a:pt x="7" y="1"/>
                      <a:pt x="7" y="1"/>
                      <a:pt x="6" y="0"/>
                    </a:cubicBezTo>
                    <a:cubicBezTo>
                      <a:pt x="4" y="1"/>
                      <a:pt x="2" y="2"/>
                      <a:pt x="0" y="3"/>
                    </a:cubicBezTo>
                    <a:cubicBezTo>
                      <a:pt x="1" y="3"/>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1" name="Freeform 2359">
                <a:extLst>
                  <a:ext uri="{FF2B5EF4-FFF2-40B4-BE49-F238E27FC236}">
                    <a16:creationId xmlns:a16="http://schemas.microsoft.com/office/drawing/2014/main" id="{6C3013E8-6A69-43CE-BE69-21C4028F9529}"/>
                  </a:ext>
                </a:extLst>
              </p:cNvPr>
              <p:cNvSpPr>
                <a:spLocks/>
              </p:cNvSpPr>
              <p:nvPr/>
            </p:nvSpPr>
            <p:spPr bwMode="auto">
              <a:xfrm>
                <a:off x="6540" y="2975"/>
                <a:ext cx="12" cy="9"/>
              </a:xfrm>
              <a:custGeom>
                <a:avLst/>
                <a:gdLst>
                  <a:gd name="T0" fmla="*/ 2 w 5"/>
                  <a:gd name="T1" fmla="*/ 3 h 4"/>
                  <a:gd name="T2" fmla="*/ 3 w 5"/>
                  <a:gd name="T3" fmla="*/ 4 h 4"/>
                  <a:gd name="T4" fmla="*/ 5 w 5"/>
                  <a:gd name="T5" fmla="*/ 0 h 4"/>
                  <a:gd name="T6" fmla="*/ 1 w 5"/>
                  <a:gd name="T7" fmla="*/ 2 h 4"/>
                  <a:gd name="T8" fmla="*/ 2 w 5"/>
                  <a:gd name="T9" fmla="*/ 3 h 4"/>
                </a:gdLst>
                <a:ahLst/>
                <a:cxnLst>
                  <a:cxn ang="0">
                    <a:pos x="T0" y="T1"/>
                  </a:cxn>
                  <a:cxn ang="0">
                    <a:pos x="T2" y="T3"/>
                  </a:cxn>
                  <a:cxn ang="0">
                    <a:pos x="T4" y="T5"/>
                  </a:cxn>
                  <a:cxn ang="0">
                    <a:pos x="T6" y="T7"/>
                  </a:cxn>
                  <a:cxn ang="0">
                    <a:pos x="T8" y="T9"/>
                  </a:cxn>
                </a:cxnLst>
                <a:rect l="0" t="0" r="r" b="b"/>
                <a:pathLst>
                  <a:path w="5" h="4">
                    <a:moveTo>
                      <a:pt x="2" y="3"/>
                    </a:moveTo>
                    <a:cubicBezTo>
                      <a:pt x="2" y="4"/>
                      <a:pt x="2" y="4"/>
                      <a:pt x="3" y="4"/>
                    </a:cubicBezTo>
                    <a:cubicBezTo>
                      <a:pt x="4" y="3"/>
                      <a:pt x="5" y="1"/>
                      <a:pt x="5" y="0"/>
                    </a:cubicBezTo>
                    <a:cubicBezTo>
                      <a:pt x="3" y="1"/>
                      <a:pt x="2" y="1"/>
                      <a:pt x="1" y="2"/>
                    </a:cubicBezTo>
                    <a:cubicBezTo>
                      <a:pt x="0" y="3"/>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2" name="Freeform 2360">
                <a:extLst>
                  <a:ext uri="{FF2B5EF4-FFF2-40B4-BE49-F238E27FC236}">
                    <a16:creationId xmlns:a16="http://schemas.microsoft.com/office/drawing/2014/main" id="{DCDA7BFD-7D76-481E-8892-6BC658A65B58}"/>
                  </a:ext>
                </a:extLst>
              </p:cNvPr>
              <p:cNvSpPr>
                <a:spLocks/>
              </p:cNvSpPr>
              <p:nvPr/>
            </p:nvSpPr>
            <p:spPr bwMode="auto">
              <a:xfrm>
                <a:off x="6067" y="2786"/>
                <a:ext cx="10" cy="7"/>
              </a:xfrm>
              <a:custGeom>
                <a:avLst/>
                <a:gdLst>
                  <a:gd name="T0" fmla="*/ 1 w 4"/>
                  <a:gd name="T1" fmla="*/ 3 h 3"/>
                  <a:gd name="T2" fmla="*/ 2 w 4"/>
                  <a:gd name="T3" fmla="*/ 3 h 3"/>
                  <a:gd name="T4" fmla="*/ 2 w 4"/>
                  <a:gd name="T5" fmla="*/ 0 h 3"/>
                  <a:gd name="T6" fmla="*/ 1 w 4"/>
                  <a:gd name="T7" fmla="*/ 1 h 3"/>
                  <a:gd name="T8" fmla="*/ 0 w 4"/>
                  <a:gd name="T9" fmla="*/ 1 h 3"/>
                  <a:gd name="T10" fmla="*/ 1 w 4"/>
                  <a:gd name="T11" fmla="*/ 3 h 3"/>
                  <a:gd name="T12" fmla="*/ 1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3"/>
                    </a:moveTo>
                    <a:cubicBezTo>
                      <a:pt x="1" y="3"/>
                      <a:pt x="2" y="3"/>
                      <a:pt x="2" y="3"/>
                    </a:cubicBezTo>
                    <a:cubicBezTo>
                      <a:pt x="4" y="2"/>
                      <a:pt x="3" y="1"/>
                      <a:pt x="2" y="0"/>
                    </a:cubicBezTo>
                    <a:cubicBezTo>
                      <a:pt x="1" y="1"/>
                      <a:pt x="1" y="0"/>
                      <a:pt x="1" y="1"/>
                    </a:cubicBezTo>
                    <a:cubicBezTo>
                      <a:pt x="0" y="0"/>
                      <a:pt x="0" y="0"/>
                      <a:pt x="0" y="1"/>
                    </a:cubicBezTo>
                    <a:cubicBezTo>
                      <a:pt x="0" y="1"/>
                      <a:pt x="0" y="2"/>
                      <a:pt x="1" y="3"/>
                    </a:cubicBezTo>
                    <a:cubicBezTo>
                      <a:pt x="1" y="3"/>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3" name="Freeform 2361">
                <a:extLst>
                  <a:ext uri="{FF2B5EF4-FFF2-40B4-BE49-F238E27FC236}">
                    <a16:creationId xmlns:a16="http://schemas.microsoft.com/office/drawing/2014/main" id="{17C687AA-B394-4F6D-B2C5-01CED744D27F}"/>
                  </a:ext>
                </a:extLst>
              </p:cNvPr>
              <p:cNvSpPr>
                <a:spLocks/>
              </p:cNvSpPr>
              <p:nvPr/>
            </p:nvSpPr>
            <p:spPr bwMode="auto">
              <a:xfrm>
                <a:off x="6095" y="2921"/>
                <a:ext cx="223" cy="68"/>
              </a:xfrm>
              <a:custGeom>
                <a:avLst/>
                <a:gdLst>
                  <a:gd name="T0" fmla="*/ 86 w 94"/>
                  <a:gd name="T1" fmla="*/ 27 h 29"/>
                  <a:gd name="T2" fmla="*/ 94 w 94"/>
                  <a:gd name="T3" fmla="*/ 29 h 29"/>
                  <a:gd name="T4" fmla="*/ 91 w 94"/>
                  <a:gd name="T5" fmla="*/ 25 h 29"/>
                  <a:gd name="T6" fmla="*/ 92 w 94"/>
                  <a:gd name="T7" fmla="*/ 22 h 29"/>
                  <a:gd name="T8" fmla="*/ 90 w 94"/>
                  <a:gd name="T9" fmla="*/ 19 h 29"/>
                  <a:gd name="T10" fmla="*/ 87 w 94"/>
                  <a:gd name="T11" fmla="*/ 17 h 29"/>
                  <a:gd name="T12" fmla="*/ 83 w 94"/>
                  <a:gd name="T13" fmla="*/ 18 h 29"/>
                  <a:gd name="T14" fmla="*/ 76 w 94"/>
                  <a:gd name="T15" fmla="*/ 17 h 29"/>
                  <a:gd name="T16" fmla="*/ 75 w 94"/>
                  <a:gd name="T17" fmla="*/ 15 h 29"/>
                  <a:gd name="T18" fmla="*/ 74 w 94"/>
                  <a:gd name="T19" fmla="*/ 14 h 29"/>
                  <a:gd name="T20" fmla="*/ 73 w 94"/>
                  <a:gd name="T21" fmla="*/ 10 h 29"/>
                  <a:gd name="T22" fmla="*/ 69 w 94"/>
                  <a:gd name="T23" fmla="*/ 10 h 29"/>
                  <a:gd name="T24" fmla="*/ 59 w 94"/>
                  <a:gd name="T25" fmla="*/ 8 h 29"/>
                  <a:gd name="T26" fmla="*/ 56 w 94"/>
                  <a:gd name="T27" fmla="*/ 5 h 29"/>
                  <a:gd name="T28" fmla="*/ 53 w 94"/>
                  <a:gd name="T29" fmla="*/ 6 h 29"/>
                  <a:gd name="T30" fmla="*/ 51 w 94"/>
                  <a:gd name="T31" fmla="*/ 11 h 29"/>
                  <a:gd name="T32" fmla="*/ 43 w 94"/>
                  <a:gd name="T33" fmla="*/ 9 h 29"/>
                  <a:gd name="T34" fmla="*/ 38 w 94"/>
                  <a:gd name="T35" fmla="*/ 10 h 29"/>
                  <a:gd name="T36" fmla="*/ 35 w 94"/>
                  <a:gd name="T37" fmla="*/ 9 h 29"/>
                  <a:gd name="T38" fmla="*/ 32 w 94"/>
                  <a:gd name="T39" fmla="*/ 8 h 29"/>
                  <a:gd name="T40" fmla="*/ 30 w 94"/>
                  <a:gd name="T41" fmla="*/ 4 h 29"/>
                  <a:gd name="T42" fmla="*/ 28 w 94"/>
                  <a:gd name="T43" fmla="*/ 3 h 29"/>
                  <a:gd name="T44" fmla="*/ 23 w 94"/>
                  <a:gd name="T45" fmla="*/ 3 h 29"/>
                  <a:gd name="T46" fmla="*/ 19 w 94"/>
                  <a:gd name="T47" fmla="*/ 2 h 29"/>
                  <a:gd name="T48" fmla="*/ 17 w 94"/>
                  <a:gd name="T49" fmla="*/ 0 h 29"/>
                  <a:gd name="T50" fmla="*/ 19 w 94"/>
                  <a:gd name="T51" fmla="*/ 3 h 29"/>
                  <a:gd name="T52" fmla="*/ 16 w 94"/>
                  <a:gd name="T53" fmla="*/ 5 h 29"/>
                  <a:gd name="T54" fmla="*/ 13 w 94"/>
                  <a:gd name="T55" fmla="*/ 3 h 29"/>
                  <a:gd name="T56" fmla="*/ 13 w 94"/>
                  <a:gd name="T57" fmla="*/ 1 h 29"/>
                  <a:gd name="T58" fmla="*/ 6 w 94"/>
                  <a:gd name="T59" fmla="*/ 0 h 29"/>
                  <a:gd name="T60" fmla="*/ 0 w 94"/>
                  <a:gd name="T61" fmla="*/ 9 h 29"/>
                  <a:gd name="T62" fmla="*/ 10 w 94"/>
                  <a:gd name="T63" fmla="*/ 11 h 29"/>
                  <a:gd name="T64" fmla="*/ 10 w 94"/>
                  <a:gd name="T65" fmla="*/ 15 h 29"/>
                  <a:gd name="T66" fmla="*/ 12 w 94"/>
                  <a:gd name="T67" fmla="*/ 15 h 29"/>
                  <a:gd name="T68" fmla="*/ 20 w 94"/>
                  <a:gd name="T69" fmla="*/ 16 h 29"/>
                  <a:gd name="T70" fmla="*/ 27 w 94"/>
                  <a:gd name="T71" fmla="*/ 19 h 29"/>
                  <a:gd name="T72" fmla="*/ 31 w 94"/>
                  <a:gd name="T73" fmla="*/ 19 h 29"/>
                  <a:gd name="T74" fmla="*/ 35 w 94"/>
                  <a:gd name="T75" fmla="*/ 18 h 29"/>
                  <a:gd name="T76" fmla="*/ 45 w 94"/>
                  <a:gd name="T77" fmla="*/ 20 h 29"/>
                  <a:gd name="T78" fmla="*/ 52 w 94"/>
                  <a:gd name="T79" fmla="*/ 22 h 29"/>
                  <a:gd name="T80" fmla="*/ 56 w 94"/>
                  <a:gd name="T81" fmla="*/ 24 h 29"/>
                  <a:gd name="T82" fmla="*/ 61 w 94"/>
                  <a:gd name="T83" fmla="*/ 24 h 29"/>
                  <a:gd name="T84" fmla="*/ 64 w 94"/>
                  <a:gd name="T85" fmla="*/ 24 h 29"/>
                  <a:gd name="T86" fmla="*/ 68 w 94"/>
                  <a:gd name="T87" fmla="*/ 25 h 29"/>
                  <a:gd name="T88" fmla="*/ 73 w 94"/>
                  <a:gd name="T89" fmla="*/ 26 h 29"/>
                  <a:gd name="T90" fmla="*/ 77 w 94"/>
                  <a:gd name="T91" fmla="*/ 25 h 29"/>
                  <a:gd name="T92" fmla="*/ 86 w 94"/>
                  <a:gd name="T93"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29">
                    <a:moveTo>
                      <a:pt x="86" y="27"/>
                    </a:moveTo>
                    <a:cubicBezTo>
                      <a:pt x="88" y="28"/>
                      <a:pt x="91" y="28"/>
                      <a:pt x="94" y="29"/>
                    </a:cubicBezTo>
                    <a:cubicBezTo>
                      <a:pt x="92" y="28"/>
                      <a:pt x="91" y="27"/>
                      <a:pt x="91" y="25"/>
                    </a:cubicBezTo>
                    <a:cubicBezTo>
                      <a:pt x="91" y="24"/>
                      <a:pt x="91" y="23"/>
                      <a:pt x="92" y="22"/>
                    </a:cubicBezTo>
                    <a:cubicBezTo>
                      <a:pt x="92" y="20"/>
                      <a:pt x="92" y="20"/>
                      <a:pt x="90" y="19"/>
                    </a:cubicBezTo>
                    <a:cubicBezTo>
                      <a:pt x="90" y="18"/>
                      <a:pt x="88" y="17"/>
                      <a:pt x="87" y="17"/>
                    </a:cubicBezTo>
                    <a:cubicBezTo>
                      <a:pt x="86" y="17"/>
                      <a:pt x="84" y="18"/>
                      <a:pt x="83" y="18"/>
                    </a:cubicBezTo>
                    <a:cubicBezTo>
                      <a:pt x="80" y="19"/>
                      <a:pt x="78" y="19"/>
                      <a:pt x="76" y="17"/>
                    </a:cubicBezTo>
                    <a:cubicBezTo>
                      <a:pt x="75" y="17"/>
                      <a:pt x="75" y="16"/>
                      <a:pt x="75" y="15"/>
                    </a:cubicBezTo>
                    <a:cubicBezTo>
                      <a:pt x="75" y="14"/>
                      <a:pt x="74" y="14"/>
                      <a:pt x="74" y="14"/>
                    </a:cubicBezTo>
                    <a:cubicBezTo>
                      <a:pt x="73" y="13"/>
                      <a:pt x="73" y="12"/>
                      <a:pt x="73" y="10"/>
                    </a:cubicBezTo>
                    <a:cubicBezTo>
                      <a:pt x="73" y="9"/>
                      <a:pt x="70" y="10"/>
                      <a:pt x="69" y="10"/>
                    </a:cubicBezTo>
                    <a:cubicBezTo>
                      <a:pt x="65" y="9"/>
                      <a:pt x="63" y="8"/>
                      <a:pt x="59" y="8"/>
                    </a:cubicBezTo>
                    <a:cubicBezTo>
                      <a:pt x="58" y="8"/>
                      <a:pt x="57" y="6"/>
                      <a:pt x="56" y="5"/>
                    </a:cubicBezTo>
                    <a:cubicBezTo>
                      <a:pt x="56" y="5"/>
                      <a:pt x="54" y="6"/>
                      <a:pt x="53" y="6"/>
                    </a:cubicBezTo>
                    <a:cubicBezTo>
                      <a:pt x="53" y="7"/>
                      <a:pt x="52" y="11"/>
                      <a:pt x="51" y="11"/>
                    </a:cubicBezTo>
                    <a:cubicBezTo>
                      <a:pt x="48" y="10"/>
                      <a:pt x="45" y="10"/>
                      <a:pt x="43" y="9"/>
                    </a:cubicBezTo>
                    <a:cubicBezTo>
                      <a:pt x="41" y="9"/>
                      <a:pt x="40" y="10"/>
                      <a:pt x="38" y="10"/>
                    </a:cubicBezTo>
                    <a:cubicBezTo>
                      <a:pt x="37" y="9"/>
                      <a:pt x="36" y="9"/>
                      <a:pt x="35" y="9"/>
                    </a:cubicBezTo>
                    <a:cubicBezTo>
                      <a:pt x="34" y="9"/>
                      <a:pt x="32" y="9"/>
                      <a:pt x="32" y="8"/>
                    </a:cubicBezTo>
                    <a:cubicBezTo>
                      <a:pt x="32" y="6"/>
                      <a:pt x="31" y="5"/>
                      <a:pt x="30" y="4"/>
                    </a:cubicBezTo>
                    <a:cubicBezTo>
                      <a:pt x="29" y="3"/>
                      <a:pt x="29" y="3"/>
                      <a:pt x="28" y="3"/>
                    </a:cubicBezTo>
                    <a:cubicBezTo>
                      <a:pt x="26" y="3"/>
                      <a:pt x="25" y="3"/>
                      <a:pt x="23" y="3"/>
                    </a:cubicBezTo>
                    <a:cubicBezTo>
                      <a:pt x="22" y="3"/>
                      <a:pt x="21" y="2"/>
                      <a:pt x="19" y="2"/>
                    </a:cubicBezTo>
                    <a:cubicBezTo>
                      <a:pt x="19" y="2"/>
                      <a:pt x="18" y="1"/>
                      <a:pt x="17" y="0"/>
                    </a:cubicBezTo>
                    <a:cubicBezTo>
                      <a:pt x="18" y="1"/>
                      <a:pt x="19" y="2"/>
                      <a:pt x="19" y="3"/>
                    </a:cubicBezTo>
                    <a:cubicBezTo>
                      <a:pt x="19" y="4"/>
                      <a:pt x="17" y="5"/>
                      <a:pt x="16" y="5"/>
                    </a:cubicBezTo>
                    <a:cubicBezTo>
                      <a:pt x="14" y="5"/>
                      <a:pt x="13" y="4"/>
                      <a:pt x="13" y="3"/>
                    </a:cubicBezTo>
                    <a:cubicBezTo>
                      <a:pt x="13" y="2"/>
                      <a:pt x="13" y="2"/>
                      <a:pt x="13" y="1"/>
                    </a:cubicBezTo>
                    <a:cubicBezTo>
                      <a:pt x="11" y="1"/>
                      <a:pt x="8" y="0"/>
                      <a:pt x="6" y="0"/>
                    </a:cubicBezTo>
                    <a:cubicBezTo>
                      <a:pt x="4" y="2"/>
                      <a:pt x="2" y="6"/>
                      <a:pt x="0" y="9"/>
                    </a:cubicBezTo>
                    <a:cubicBezTo>
                      <a:pt x="4" y="9"/>
                      <a:pt x="7" y="10"/>
                      <a:pt x="10" y="11"/>
                    </a:cubicBezTo>
                    <a:cubicBezTo>
                      <a:pt x="12" y="12"/>
                      <a:pt x="10" y="13"/>
                      <a:pt x="10" y="15"/>
                    </a:cubicBezTo>
                    <a:cubicBezTo>
                      <a:pt x="10" y="15"/>
                      <a:pt x="11" y="15"/>
                      <a:pt x="12" y="15"/>
                    </a:cubicBezTo>
                    <a:cubicBezTo>
                      <a:pt x="15" y="16"/>
                      <a:pt x="17" y="16"/>
                      <a:pt x="20" y="16"/>
                    </a:cubicBezTo>
                    <a:cubicBezTo>
                      <a:pt x="22" y="16"/>
                      <a:pt x="24" y="18"/>
                      <a:pt x="27" y="19"/>
                    </a:cubicBezTo>
                    <a:cubicBezTo>
                      <a:pt x="28" y="19"/>
                      <a:pt x="29" y="19"/>
                      <a:pt x="31" y="19"/>
                    </a:cubicBezTo>
                    <a:cubicBezTo>
                      <a:pt x="32" y="18"/>
                      <a:pt x="33" y="18"/>
                      <a:pt x="35" y="18"/>
                    </a:cubicBezTo>
                    <a:cubicBezTo>
                      <a:pt x="38" y="18"/>
                      <a:pt x="41" y="19"/>
                      <a:pt x="45" y="20"/>
                    </a:cubicBezTo>
                    <a:cubicBezTo>
                      <a:pt x="47" y="20"/>
                      <a:pt x="50" y="21"/>
                      <a:pt x="52" y="22"/>
                    </a:cubicBezTo>
                    <a:cubicBezTo>
                      <a:pt x="54" y="23"/>
                      <a:pt x="55" y="24"/>
                      <a:pt x="56" y="24"/>
                    </a:cubicBezTo>
                    <a:cubicBezTo>
                      <a:pt x="58" y="24"/>
                      <a:pt x="60" y="24"/>
                      <a:pt x="61" y="24"/>
                    </a:cubicBezTo>
                    <a:cubicBezTo>
                      <a:pt x="62" y="24"/>
                      <a:pt x="64" y="26"/>
                      <a:pt x="64" y="24"/>
                    </a:cubicBezTo>
                    <a:cubicBezTo>
                      <a:pt x="65" y="24"/>
                      <a:pt x="67" y="24"/>
                      <a:pt x="68" y="25"/>
                    </a:cubicBezTo>
                    <a:cubicBezTo>
                      <a:pt x="70" y="25"/>
                      <a:pt x="72" y="25"/>
                      <a:pt x="73" y="26"/>
                    </a:cubicBezTo>
                    <a:cubicBezTo>
                      <a:pt x="74" y="26"/>
                      <a:pt x="76" y="25"/>
                      <a:pt x="77" y="25"/>
                    </a:cubicBezTo>
                    <a:cubicBezTo>
                      <a:pt x="80" y="24"/>
                      <a:pt x="82" y="25"/>
                      <a:pt x="86"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4" name="Freeform 2362">
                <a:extLst>
                  <a:ext uri="{FF2B5EF4-FFF2-40B4-BE49-F238E27FC236}">
                    <a16:creationId xmlns:a16="http://schemas.microsoft.com/office/drawing/2014/main" id="{83757CF0-EC57-4C58-B9B9-6909BA733DEA}"/>
                  </a:ext>
                </a:extLst>
              </p:cNvPr>
              <p:cNvSpPr>
                <a:spLocks/>
              </p:cNvSpPr>
              <p:nvPr/>
            </p:nvSpPr>
            <p:spPr bwMode="auto">
              <a:xfrm>
                <a:off x="6015" y="2743"/>
                <a:ext cx="10" cy="12"/>
              </a:xfrm>
              <a:custGeom>
                <a:avLst/>
                <a:gdLst>
                  <a:gd name="T0" fmla="*/ 2 w 4"/>
                  <a:gd name="T1" fmla="*/ 5 h 5"/>
                  <a:gd name="T2" fmla="*/ 3 w 4"/>
                  <a:gd name="T3" fmla="*/ 1 h 5"/>
                  <a:gd name="T4" fmla="*/ 1 w 4"/>
                  <a:gd name="T5" fmla="*/ 0 h 5"/>
                  <a:gd name="T6" fmla="*/ 2 w 4"/>
                  <a:gd name="T7" fmla="*/ 5 h 5"/>
                </a:gdLst>
                <a:ahLst/>
                <a:cxnLst>
                  <a:cxn ang="0">
                    <a:pos x="T0" y="T1"/>
                  </a:cxn>
                  <a:cxn ang="0">
                    <a:pos x="T2" y="T3"/>
                  </a:cxn>
                  <a:cxn ang="0">
                    <a:pos x="T4" y="T5"/>
                  </a:cxn>
                  <a:cxn ang="0">
                    <a:pos x="T6" y="T7"/>
                  </a:cxn>
                </a:cxnLst>
                <a:rect l="0" t="0" r="r" b="b"/>
                <a:pathLst>
                  <a:path w="4" h="5">
                    <a:moveTo>
                      <a:pt x="2" y="5"/>
                    </a:moveTo>
                    <a:cubicBezTo>
                      <a:pt x="3" y="3"/>
                      <a:pt x="4" y="2"/>
                      <a:pt x="3" y="1"/>
                    </a:cubicBezTo>
                    <a:cubicBezTo>
                      <a:pt x="2" y="1"/>
                      <a:pt x="2" y="0"/>
                      <a:pt x="1" y="0"/>
                    </a:cubicBezTo>
                    <a:cubicBezTo>
                      <a:pt x="0" y="1"/>
                      <a:pt x="2"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5" name="Freeform 2363">
                <a:extLst>
                  <a:ext uri="{FF2B5EF4-FFF2-40B4-BE49-F238E27FC236}">
                    <a16:creationId xmlns:a16="http://schemas.microsoft.com/office/drawing/2014/main" id="{513B4A22-FDAA-4580-8B6C-A97574920900}"/>
                  </a:ext>
                </a:extLst>
              </p:cNvPr>
              <p:cNvSpPr>
                <a:spLocks/>
              </p:cNvSpPr>
              <p:nvPr/>
            </p:nvSpPr>
            <p:spPr bwMode="auto">
              <a:xfrm>
                <a:off x="6554" y="2814"/>
                <a:ext cx="21" cy="12"/>
              </a:xfrm>
              <a:custGeom>
                <a:avLst/>
                <a:gdLst>
                  <a:gd name="T0" fmla="*/ 8 w 9"/>
                  <a:gd name="T1" fmla="*/ 3 h 5"/>
                  <a:gd name="T2" fmla="*/ 8 w 9"/>
                  <a:gd name="T3" fmla="*/ 2 h 5"/>
                  <a:gd name="T4" fmla="*/ 7 w 9"/>
                  <a:gd name="T5" fmla="*/ 2 h 5"/>
                  <a:gd name="T6" fmla="*/ 6 w 9"/>
                  <a:gd name="T7" fmla="*/ 2 h 5"/>
                  <a:gd name="T8" fmla="*/ 6 w 9"/>
                  <a:gd name="T9" fmla="*/ 2 h 5"/>
                  <a:gd name="T10" fmla="*/ 0 w 9"/>
                  <a:gd name="T11" fmla="*/ 1 h 5"/>
                  <a:gd name="T12" fmla="*/ 0 w 9"/>
                  <a:gd name="T13" fmla="*/ 5 h 5"/>
                  <a:gd name="T14" fmla="*/ 3 w 9"/>
                  <a:gd name="T15" fmla="*/ 4 h 5"/>
                  <a:gd name="T16" fmla="*/ 4 w 9"/>
                  <a:gd name="T17" fmla="*/ 4 h 5"/>
                  <a:gd name="T18" fmla="*/ 8 w 9"/>
                  <a:gd name="T19" fmla="*/ 4 h 5"/>
                  <a:gd name="T20" fmla="*/ 9 w 9"/>
                  <a:gd name="T21" fmla="*/ 3 h 5"/>
                  <a:gd name="T22" fmla="*/ 9 w 9"/>
                  <a:gd name="T23" fmla="*/ 2 h 5"/>
                  <a:gd name="T24" fmla="*/ 8 w 9"/>
                  <a:gd name="T25" fmla="*/ 2 h 5"/>
                  <a:gd name="T26" fmla="*/ 8 w 9"/>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5">
                    <a:moveTo>
                      <a:pt x="8" y="3"/>
                    </a:moveTo>
                    <a:cubicBezTo>
                      <a:pt x="8" y="3"/>
                      <a:pt x="8" y="2"/>
                      <a:pt x="8" y="2"/>
                    </a:cubicBezTo>
                    <a:cubicBezTo>
                      <a:pt x="7" y="2"/>
                      <a:pt x="7" y="2"/>
                      <a:pt x="7" y="2"/>
                    </a:cubicBezTo>
                    <a:cubicBezTo>
                      <a:pt x="7" y="2"/>
                      <a:pt x="7" y="2"/>
                      <a:pt x="6" y="2"/>
                    </a:cubicBezTo>
                    <a:cubicBezTo>
                      <a:pt x="6" y="2"/>
                      <a:pt x="6" y="2"/>
                      <a:pt x="6" y="2"/>
                    </a:cubicBezTo>
                    <a:cubicBezTo>
                      <a:pt x="4" y="2"/>
                      <a:pt x="1" y="0"/>
                      <a:pt x="0" y="1"/>
                    </a:cubicBezTo>
                    <a:cubicBezTo>
                      <a:pt x="0" y="3"/>
                      <a:pt x="0" y="4"/>
                      <a:pt x="0" y="5"/>
                    </a:cubicBezTo>
                    <a:cubicBezTo>
                      <a:pt x="1" y="5"/>
                      <a:pt x="2" y="5"/>
                      <a:pt x="3" y="4"/>
                    </a:cubicBezTo>
                    <a:cubicBezTo>
                      <a:pt x="3" y="4"/>
                      <a:pt x="3" y="4"/>
                      <a:pt x="4" y="4"/>
                    </a:cubicBezTo>
                    <a:cubicBezTo>
                      <a:pt x="5" y="4"/>
                      <a:pt x="7" y="4"/>
                      <a:pt x="8" y="4"/>
                    </a:cubicBezTo>
                    <a:cubicBezTo>
                      <a:pt x="9" y="3"/>
                      <a:pt x="9" y="4"/>
                      <a:pt x="9" y="3"/>
                    </a:cubicBezTo>
                    <a:cubicBezTo>
                      <a:pt x="9" y="3"/>
                      <a:pt x="9" y="2"/>
                      <a:pt x="9" y="2"/>
                    </a:cubicBezTo>
                    <a:cubicBezTo>
                      <a:pt x="8" y="2"/>
                      <a:pt x="8" y="2"/>
                      <a:pt x="8" y="2"/>
                    </a:cubicBezTo>
                    <a:cubicBezTo>
                      <a:pt x="8" y="2"/>
                      <a:pt x="8" y="3"/>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6" name="Freeform 2364">
                <a:extLst>
                  <a:ext uri="{FF2B5EF4-FFF2-40B4-BE49-F238E27FC236}">
                    <a16:creationId xmlns:a16="http://schemas.microsoft.com/office/drawing/2014/main" id="{D3E22696-01A2-4E57-8C93-7F3D90639789}"/>
                  </a:ext>
                </a:extLst>
              </p:cNvPr>
              <p:cNvSpPr>
                <a:spLocks/>
              </p:cNvSpPr>
              <p:nvPr/>
            </p:nvSpPr>
            <p:spPr bwMode="auto">
              <a:xfrm>
                <a:off x="6526" y="2975"/>
                <a:ext cx="16" cy="9"/>
              </a:xfrm>
              <a:custGeom>
                <a:avLst/>
                <a:gdLst>
                  <a:gd name="T0" fmla="*/ 3 w 7"/>
                  <a:gd name="T1" fmla="*/ 4 h 4"/>
                  <a:gd name="T2" fmla="*/ 3 w 7"/>
                  <a:gd name="T3" fmla="*/ 3 h 4"/>
                  <a:gd name="T4" fmla="*/ 3 w 7"/>
                  <a:gd name="T5" fmla="*/ 3 h 4"/>
                  <a:gd name="T6" fmla="*/ 4 w 7"/>
                  <a:gd name="T7" fmla="*/ 3 h 4"/>
                  <a:gd name="T8" fmla="*/ 7 w 7"/>
                  <a:gd name="T9" fmla="*/ 1 h 4"/>
                  <a:gd name="T10" fmla="*/ 4 w 7"/>
                  <a:gd name="T11" fmla="*/ 1 h 4"/>
                  <a:gd name="T12" fmla="*/ 4 w 7"/>
                  <a:gd name="T13" fmla="*/ 1 h 4"/>
                  <a:gd name="T14" fmla="*/ 4 w 7"/>
                  <a:gd name="T15" fmla="*/ 1 h 4"/>
                  <a:gd name="T16" fmla="*/ 3 w 7"/>
                  <a:gd name="T17" fmla="*/ 2 h 4"/>
                  <a:gd name="T18" fmla="*/ 1 w 7"/>
                  <a:gd name="T19" fmla="*/ 1 h 4"/>
                  <a:gd name="T20" fmla="*/ 0 w 7"/>
                  <a:gd name="T21" fmla="*/ 4 h 4"/>
                  <a:gd name="T22" fmla="*/ 2 w 7"/>
                  <a:gd name="T23" fmla="*/ 4 h 4"/>
                  <a:gd name="T24" fmla="*/ 3 w 7"/>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3" y="4"/>
                    </a:moveTo>
                    <a:cubicBezTo>
                      <a:pt x="3" y="4"/>
                      <a:pt x="3" y="3"/>
                      <a:pt x="3" y="3"/>
                    </a:cubicBezTo>
                    <a:cubicBezTo>
                      <a:pt x="3" y="4"/>
                      <a:pt x="3" y="3"/>
                      <a:pt x="3" y="3"/>
                    </a:cubicBezTo>
                    <a:cubicBezTo>
                      <a:pt x="4" y="3"/>
                      <a:pt x="4" y="3"/>
                      <a:pt x="4" y="3"/>
                    </a:cubicBezTo>
                    <a:cubicBezTo>
                      <a:pt x="5" y="2"/>
                      <a:pt x="6" y="1"/>
                      <a:pt x="7" y="1"/>
                    </a:cubicBezTo>
                    <a:cubicBezTo>
                      <a:pt x="6" y="0"/>
                      <a:pt x="5" y="0"/>
                      <a:pt x="4" y="1"/>
                    </a:cubicBezTo>
                    <a:cubicBezTo>
                      <a:pt x="4" y="1"/>
                      <a:pt x="4" y="0"/>
                      <a:pt x="4" y="1"/>
                    </a:cubicBezTo>
                    <a:cubicBezTo>
                      <a:pt x="4" y="1"/>
                      <a:pt x="4" y="1"/>
                      <a:pt x="4" y="1"/>
                    </a:cubicBezTo>
                    <a:cubicBezTo>
                      <a:pt x="3" y="2"/>
                      <a:pt x="3" y="2"/>
                      <a:pt x="3" y="2"/>
                    </a:cubicBezTo>
                    <a:cubicBezTo>
                      <a:pt x="2" y="2"/>
                      <a:pt x="4" y="0"/>
                      <a:pt x="1" y="1"/>
                    </a:cubicBezTo>
                    <a:cubicBezTo>
                      <a:pt x="3" y="2"/>
                      <a:pt x="0" y="3"/>
                      <a:pt x="0" y="4"/>
                    </a:cubicBezTo>
                    <a:cubicBezTo>
                      <a:pt x="0" y="4"/>
                      <a:pt x="1" y="4"/>
                      <a:pt x="2" y="4"/>
                    </a:cubicBezTo>
                    <a:cubicBezTo>
                      <a:pt x="2" y="4"/>
                      <a:pt x="3"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7" name="Freeform 2365">
                <a:extLst>
                  <a:ext uri="{FF2B5EF4-FFF2-40B4-BE49-F238E27FC236}">
                    <a16:creationId xmlns:a16="http://schemas.microsoft.com/office/drawing/2014/main" id="{B4B37B08-CB07-4079-950C-297A28DB13D1}"/>
                  </a:ext>
                </a:extLst>
              </p:cNvPr>
              <p:cNvSpPr>
                <a:spLocks/>
              </p:cNvSpPr>
              <p:nvPr/>
            </p:nvSpPr>
            <p:spPr bwMode="auto">
              <a:xfrm>
                <a:off x="5949" y="2826"/>
                <a:ext cx="12" cy="9"/>
              </a:xfrm>
              <a:custGeom>
                <a:avLst/>
                <a:gdLst>
                  <a:gd name="T0" fmla="*/ 2 w 5"/>
                  <a:gd name="T1" fmla="*/ 0 h 4"/>
                  <a:gd name="T2" fmla="*/ 5 w 5"/>
                  <a:gd name="T3" fmla="*/ 4 h 4"/>
                  <a:gd name="T4" fmla="*/ 3 w 5"/>
                  <a:gd name="T5" fmla="*/ 1 h 4"/>
                  <a:gd name="T6" fmla="*/ 2 w 5"/>
                  <a:gd name="T7" fmla="*/ 0 h 4"/>
                </a:gdLst>
                <a:ahLst/>
                <a:cxnLst>
                  <a:cxn ang="0">
                    <a:pos x="T0" y="T1"/>
                  </a:cxn>
                  <a:cxn ang="0">
                    <a:pos x="T2" y="T3"/>
                  </a:cxn>
                  <a:cxn ang="0">
                    <a:pos x="T4" y="T5"/>
                  </a:cxn>
                  <a:cxn ang="0">
                    <a:pos x="T6" y="T7"/>
                  </a:cxn>
                </a:cxnLst>
                <a:rect l="0" t="0" r="r" b="b"/>
                <a:pathLst>
                  <a:path w="5" h="4">
                    <a:moveTo>
                      <a:pt x="2" y="0"/>
                    </a:moveTo>
                    <a:cubicBezTo>
                      <a:pt x="0" y="2"/>
                      <a:pt x="4" y="3"/>
                      <a:pt x="5" y="4"/>
                    </a:cubicBezTo>
                    <a:cubicBezTo>
                      <a:pt x="5" y="3"/>
                      <a:pt x="4" y="1"/>
                      <a:pt x="3" y="1"/>
                    </a:cubicBezTo>
                    <a:cubicBezTo>
                      <a:pt x="3"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8" name="Freeform 2366">
                <a:extLst>
                  <a:ext uri="{FF2B5EF4-FFF2-40B4-BE49-F238E27FC236}">
                    <a16:creationId xmlns:a16="http://schemas.microsoft.com/office/drawing/2014/main" id="{F8FD67E0-6925-4785-94C8-E979ABCA860D}"/>
                  </a:ext>
                </a:extLst>
              </p:cNvPr>
              <p:cNvSpPr>
                <a:spLocks/>
              </p:cNvSpPr>
              <p:nvPr/>
            </p:nvSpPr>
            <p:spPr bwMode="auto">
              <a:xfrm>
                <a:off x="6389" y="2677"/>
                <a:ext cx="2" cy="5"/>
              </a:xfrm>
              <a:custGeom>
                <a:avLst/>
                <a:gdLst>
                  <a:gd name="T0" fmla="*/ 0 w 1"/>
                  <a:gd name="T1" fmla="*/ 0 h 2"/>
                  <a:gd name="T2" fmla="*/ 0 w 1"/>
                  <a:gd name="T3" fmla="*/ 1 h 2"/>
                  <a:gd name="T4" fmla="*/ 0 w 1"/>
                  <a:gd name="T5" fmla="*/ 1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0" y="1"/>
                    </a:cubicBezTo>
                    <a:cubicBezTo>
                      <a:pt x="0" y="1"/>
                      <a:pt x="0" y="1"/>
                      <a:pt x="0" y="1"/>
                    </a:cubicBezTo>
                    <a:cubicBezTo>
                      <a:pt x="1" y="2"/>
                      <a:pt x="1" y="2"/>
                      <a:pt x="1"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9" name="Freeform 2367">
                <a:extLst>
                  <a:ext uri="{FF2B5EF4-FFF2-40B4-BE49-F238E27FC236}">
                    <a16:creationId xmlns:a16="http://schemas.microsoft.com/office/drawing/2014/main" id="{14321852-B672-43B5-92BF-AFC5EC0E201E}"/>
                  </a:ext>
                </a:extLst>
              </p:cNvPr>
              <p:cNvSpPr>
                <a:spLocks/>
              </p:cNvSpPr>
              <p:nvPr/>
            </p:nvSpPr>
            <p:spPr bwMode="auto">
              <a:xfrm>
                <a:off x="6873" y="2956"/>
                <a:ext cx="33" cy="26"/>
              </a:xfrm>
              <a:custGeom>
                <a:avLst/>
                <a:gdLst>
                  <a:gd name="T0" fmla="*/ 14 w 14"/>
                  <a:gd name="T1" fmla="*/ 2 h 11"/>
                  <a:gd name="T2" fmla="*/ 12 w 14"/>
                  <a:gd name="T3" fmla="*/ 1 h 11"/>
                  <a:gd name="T4" fmla="*/ 10 w 14"/>
                  <a:gd name="T5" fmla="*/ 0 h 11"/>
                  <a:gd name="T6" fmla="*/ 7 w 14"/>
                  <a:gd name="T7" fmla="*/ 0 h 11"/>
                  <a:gd name="T8" fmla="*/ 2 w 14"/>
                  <a:gd name="T9" fmla="*/ 5 h 11"/>
                  <a:gd name="T10" fmla="*/ 0 w 14"/>
                  <a:gd name="T11" fmla="*/ 11 h 11"/>
                  <a:gd name="T12" fmla="*/ 1 w 14"/>
                  <a:gd name="T13" fmla="*/ 10 h 11"/>
                  <a:gd name="T14" fmla="*/ 4 w 14"/>
                  <a:gd name="T15" fmla="*/ 10 h 11"/>
                  <a:gd name="T16" fmla="*/ 8 w 14"/>
                  <a:gd name="T17" fmla="*/ 10 h 11"/>
                  <a:gd name="T18" fmla="*/ 10 w 14"/>
                  <a:gd name="T19" fmla="*/ 9 h 11"/>
                  <a:gd name="T20" fmla="*/ 11 w 14"/>
                  <a:gd name="T21" fmla="*/ 8 h 11"/>
                  <a:gd name="T22" fmla="*/ 13 w 14"/>
                  <a:gd name="T23" fmla="*/ 7 h 11"/>
                  <a:gd name="T24" fmla="*/ 12 w 14"/>
                  <a:gd name="T25" fmla="*/ 6 h 11"/>
                  <a:gd name="T26" fmla="*/ 13 w 14"/>
                  <a:gd name="T27" fmla="*/ 5 h 11"/>
                  <a:gd name="T28" fmla="*/ 13 w 14"/>
                  <a:gd name="T29" fmla="*/ 4 h 11"/>
                  <a:gd name="T30" fmla="*/ 14 w 14"/>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1">
                    <a:moveTo>
                      <a:pt x="14" y="2"/>
                    </a:moveTo>
                    <a:cubicBezTo>
                      <a:pt x="14" y="2"/>
                      <a:pt x="13" y="1"/>
                      <a:pt x="12" y="1"/>
                    </a:cubicBezTo>
                    <a:cubicBezTo>
                      <a:pt x="12" y="0"/>
                      <a:pt x="12" y="0"/>
                      <a:pt x="10" y="0"/>
                    </a:cubicBezTo>
                    <a:cubicBezTo>
                      <a:pt x="9" y="0"/>
                      <a:pt x="8" y="0"/>
                      <a:pt x="7" y="0"/>
                    </a:cubicBezTo>
                    <a:cubicBezTo>
                      <a:pt x="5" y="2"/>
                      <a:pt x="3" y="3"/>
                      <a:pt x="2" y="5"/>
                    </a:cubicBezTo>
                    <a:cubicBezTo>
                      <a:pt x="1" y="7"/>
                      <a:pt x="0" y="9"/>
                      <a:pt x="0" y="11"/>
                    </a:cubicBezTo>
                    <a:cubicBezTo>
                      <a:pt x="0" y="11"/>
                      <a:pt x="0" y="10"/>
                      <a:pt x="1" y="10"/>
                    </a:cubicBezTo>
                    <a:cubicBezTo>
                      <a:pt x="2" y="10"/>
                      <a:pt x="3" y="10"/>
                      <a:pt x="4" y="10"/>
                    </a:cubicBezTo>
                    <a:cubicBezTo>
                      <a:pt x="5" y="10"/>
                      <a:pt x="7" y="11"/>
                      <a:pt x="8" y="10"/>
                    </a:cubicBezTo>
                    <a:cubicBezTo>
                      <a:pt x="8" y="10"/>
                      <a:pt x="9" y="9"/>
                      <a:pt x="10" y="9"/>
                    </a:cubicBezTo>
                    <a:cubicBezTo>
                      <a:pt x="10" y="8"/>
                      <a:pt x="10" y="8"/>
                      <a:pt x="11" y="8"/>
                    </a:cubicBezTo>
                    <a:cubicBezTo>
                      <a:pt x="11" y="8"/>
                      <a:pt x="12" y="8"/>
                      <a:pt x="13" y="7"/>
                    </a:cubicBezTo>
                    <a:cubicBezTo>
                      <a:pt x="13" y="7"/>
                      <a:pt x="12" y="6"/>
                      <a:pt x="12" y="6"/>
                    </a:cubicBezTo>
                    <a:cubicBezTo>
                      <a:pt x="13" y="5"/>
                      <a:pt x="13" y="5"/>
                      <a:pt x="13" y="5"/>
                    </a:cubicBezTo>
                    <a:cubicBezTo>
                      <a:pt x="14" y="4"/>
                      <a:pt x="13" y="4"/>
                      <a:pt x="13" y="4"/>
                    </a:cubicBezTo>
                    <a:cubicBezTo>
                      <a:pt x="14" y="3"/>
                      <a:pt x="14" y="3"/>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0" name="Freeform 2368">
                <a:extLst>
                  <a:ext uri="{FF2B5EF4-FFF2-40B4-BE49-F238E27FC236}">
                    <a16:creationId xmlns:a16="http://schemas.microsoft.com/office/drawing/2014/main" id="{26980A11-5200-4A4D-A8DF-8A73793D6998}"/>
                  </a:ext>
                </a:extLst>
              </p:cNvPr>
              <p:cNvSpPr>
                <a:spLocks/>
              </p:cNvSpPr>
              <p:nvPr/>
            </p:nvSpPr>
            <p:spPr bwMode="auto">
              <a:xfrm>
                <a:off x="6786" y="2925"/>
                <a:ext cx="14" cy="22"/>
              </a:xfrm>
              <a:custGeom>
                <a:avLst/>
                <a:gdLst>
                  <a:gd name="T0" fmla="*/ 1 w 6"/>
                  <a:gd name="T1" fmla="*/ 7 h 9"/>
                  <a:gd name="T2" fmla="*/ 4 w 6"/>
                  <a:gd name="T3" fmla="*/ 5 h 9"/>
                  <a:gd name="T4" fmla="*/ 1 w 6"/>
                  <a:gd name="T5" fmla="*/ 0 h 9"/>
                  <a:gd name="T6" fmla="*/ 2 w 6"/>
                  <a:gd name="T7" fmla="*/ 4 h 9"/>
                  <a:gd name="T8" fmla="*/ 1 w 6"/>
                  <a:gd name="T9" fmla="*/ 7 h 9"/>
                </a:gdLst>
                <a:ahLst/>
                <a:cxnLst>
                  <a:cxn ang="0">
                    <a:pos x="T0" y="T1"/>
                  </a:cxn>
                  <a:cxn ang="0">
                    <a:pos x="T2" y="T3"/>
                  </a:cxn>
                  <a:cxn ang="0">
                    <a:pos x="T4" y="T5"/>
                  </a:cxn>
                  <a:cxn ang="0">
                    <a:pos x="T6" y="T7"/>
                  </a:cxn>
                  <a:cxn ang="0">
                    <a:pos x="T8" y="T9"/>
                  </a:cxn>
                </a:cxnLst>
                <a:rect l="0" t="0" r="r" b="b"/>
                <a:pathLst>
                  <a:path w="6" h="9">
                    <a:moveTo>
                      <a:pt x="1" y="7"/>
                    </a:moveTo>
                    <a:cubicBezTo>
                      <a:pt x="2" y="9"/>
                      <a:pt x="3" y="7"/>
                      <a:pt x="4" y="5"/>
                    </a:cubicBezTo>
                    <a:cubicBezTo>
                      <a:pt x="6" y="6"/>
                      <a:pt x="1" y="1"/>
                      <a:pt x="1" y="0"/>
                    </a:cubicBezTo>
                    <a:cubicBezTo>
                      <a:pt x="1" y="2"/>
                      <a:pt x="0" y="3"/>
                      <a:pt x="2" y="4"/>
                    </a:cubicBezTo>
                    <a:cubicBezTo>
                      <a:pt x="0" y="3"/>
                      <a:pt x="0"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1" name="Freeform 2369">
                <a:extLst>
                  <a:ext uri="{FF2B5EF4-FFF2-40B4-BE49-F238E27FC236}">
                    <a16:creationId xmlns:a16="http://schemas.microsoft.com/office/drawing/2014/main" id="{8D9D72D1-FC29-4CBB-8444-8A11956111F0}"/>
                  </a:ext>
                </a:extLst>
              </p:cNvPr>
              <p:cNvSpPr>
                <a:spLocks/>
              </p:cNvSpPr>
              <p:nvPr/>
            </p:nvSpPr>
            <p:spPr bwMode="auto">
              <a:xfrm>
                <a:off x="6270" y="2942"/>
                <a:ext cx="36" cy="12"/>
              </a:xfrm>
              <a:custGeom>
                <a:avLst/>
                <a:gdLst>
                  <a:gd name="T0" fmla="*/ 10 w 15"/>
                  <a:gd name="T1" fmla="*/ 1 h 5"/>
                  <a:gd name="T2" fmla="*/ 0 w 15"/>
                  <a:gd name="T3" fmla="*/ 3 h 5"/>
                  <a:gd name="T4" fmla="*/ 1 w 15"/>
                  <a:gd name="T5" fmla="*/ 4 h 5"/>
                  <a:gd name="T6" fmla="*/ 15 w 15"/>
                  <a:gd name="T7" fmla="*/ 2 h 5"/>
                  <a:gd name="T8" fmla="*/ 10 w 15"/>
                  <a:gd name="T9" fmla="*/ 1 h 5"/>
                </a:gdLst>
                <a:ahLst/>
                <a:cxnLst>
                  <a:cxn ang="0">
                    <a:pos x="T0" y="T1"/>
                  </a:cxn>
                  <a:cxn ang="0">
                    <a:pos x="T2" y="T3"/>
                  </a:cxn>
                  <a:cxn ang="0">
                    <a:pos x="T4" y="T5"/>
                  </a:cxn>
                  <a:cxn ang="0">
                    <a:pos x="T6" y="T7"/>
                  </a:cxn>
                  <a:cxn ang="0">
                    <a:pos x="T8" y="T9"/>
                  </a:cxn>
                </a:cxnLst>
                <a:rect l="0" t="0" r="r" b="b"/>
                <a:pathLst>
                  <a:path w="15" h="5">
                    <a:moveTo>
                      <a:pt x="10" y="1"/>
                    </a:moveTo>
                    <a:cubicBezTo>
                      <a:pt x="7" y="1"/>
                      <a:pt x="2" y="0"/>
                      <a:pt x="0" y="3"/>
                    </a:cubicBezTo>
                    <a:cubicBezTo>
                      <a:pt x="0" y="4"/>
                      <a:pt x="0" y="3"/>
                      <a:pt x="1" y="4"/>
                    </a:cubicBezTo>
                    <a:cubicBezTo>
                      <a:pt x="6" y="5"/>
                      <a:pt x="10" y="4"/>
                      <a:pt x="15" y="2"/>
                    </a:cubicBezTo>
                    <a:cubicBezTo>
                      <a:pt x="13" y="0"/>
                      <a:pt x="11" y="1"/>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2" name="Freeform 2370">
                <a:extLst>
                  <a:ext uri="{FF2B5EF4-FFF2-40B4-BE49-F238E27FC236}">
                    <a16:creationId xmlns:a16="http://schemas.microsoft.com/office/drawing/2014/main" id="{9AF4F42D-7E5A-4BB5-9C81-17B1F75B7CEA}"/>
                  </a:ext>
                </a:extLst>
              </p:cNvPr>
              <p:cNvSpPr>
                <a:spLocks/>
              </p:cNvSpPr>
              <p:nvPr/>
            </p:nvSpPr>
            <p:spPr bwMode="auto">
              <a:xfrm>
                <a:off x="6760" y="2904"/>
                <a:ext cx="5" cy="10"/>
              </a:xfrm>
              <a:custGeom>
                <a:avLst/>
                <a:gdLst>
                  <a:gd name="T0" fmla="*/ 2 w 2"/>
                  <a:gd name="T1" fmla="*/ 0 h 4"/>
                  <a:gd name="T2" fmla="*/ 1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3"/>
                      <a:pt x="1" y="4"/>
                    </a:cubicBezTo>
                    <a:cubicBezTo>
                      <a:pt x="1" y="3"/>
                      <a:pt x="2"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3" name="Freeform 2371">
                <a:extLst>
                  <a:ext uri="{FF2B5EF4-FFF2-40B4-BE49-F238E27FC236}">
                    <a16:creationId xmlns:a16="http://schemas.microsoft.com/office/drawing/2014/main" id="{63F98C58-64E6-4B8F-9AE3-2E4B69C29355}"/>
                  </a:ext>
                </a:extLst>
              </p:cNvPr>
              <p:cNvSpPr>
                <a:spLocks/>
              </p:cNvSpPr>
              <p:nvPr/>
            </p:nvSpPr>
            <p:spPr bwMode="auto">
              <a:xfrm>
                <a:off x="6757" y="2914"/>
                <a:ext cx="3" cy="9"/>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0" y="0"/>
                      <a:pt x="0" y="3"/>
                      <a:pt x="0" y="4"/>
                    </a:cubicBezTo>
                    <a:cubicBezTo>
                      <a:pt x="0" y="3"/>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4" name="Freeform 2372">
                <a:extLst>
                  <a:ext uri="{FF2B5EF4-FFF2-40B4-BE49-F238E27FC236}">
                    <a16:creationId xmlns:a16="http://schemas.microsoft.com/office/drawing/2014/main" id="{6D7AC7CC-8088-4D45-B224-981CADF6C51F}"/>
                  </a:ext>
                </a:extLst>
              </p:cNvPr>
              <p:cNvSpPr>
                <a:spLocks/>
              </p:cNvSpPr>
              <p:nvPr/>
            </p:nvSpPr>
            <p:spPr bwMode="auto">
              <a:xfrm>
                <a:off x="6441" y="2973"/>
                <a:ext cx="80" cy="21"/>
              </a:xfrm>
              <a:custGeom>
                <a:avLst/>
                <a:gdLst>
                  <a:gd name="T0" fmla="*/ 29 w 34"/>
                  <a:gd name="T1" fmla="*/ 6 h 9"/>
                  <a:gd name="T2" fmla="*/ 31 w 34"/>
                  <a:gd name="T3" fmla="*/ 6 h 9"/>
                  <a:gd name="T4" fmla="*/ 32 w 34"/>
                  <a:gd name="T5" fmla="*/ 4 h 9"/>
                  <a:gd name="T6" fmla="*/ 33 w 34"/>
                  <a:gd name="T7" fmla="*/ 3 h 9"/>
                  <a:gd name="T8" fmla="*/ 33 w 34"/>
                  <a:gd name="T9" fmla="*/ 3 h 9"/>
                  <a:gd name="T10" fmla="*/ 32 w 34"/>
                  <a:gd name="T11" fmla="*/ 0 h 9"/>
                  <a:gd name="T12" fmla="*/ 33 w 34"/>
                  <a:gd name="T13" fmla="*/ 1 h 9"/>
                  <a:gd name="T14" fmla="*/ 28 w 34"/>
                  <a:gd name="T15" fmla="*/ 4 h 9"/>
                  <a:gd name="T16" fmla="*/ 28 w 34"/>
                  <a:gd name="T17" fmla="*/ 5 h 9"/>
                  <a:gd name="T18" fmla="*/ 25 w 34"/>
                  <a:gd name="T19" fmla="*/ 5 h 9"/>
                  <a:gd name="T20" fmla="*/ 19 w 34"/>
                  <a:gd name="T21" fmla="*/ 4 h 9"/>
                  <a:gd name="T22" fmla="*/ 18 w 34"/>
                  <a:gd name="T23" fmla="*/ 5 h 9"/>
                  <a:gd name="T24" fmla="*/ 14 w 34"/>
                  <a:gd name="T25" fmla="*/ 4 h 9"/>
                  <a:gd name="T26" fmla="*/ 8 w 34"/>
                  <a:gd name="T27" fmla="*/ 3 h 9"/>
                  <a:gd name="T28" fmla="*/ 1 w 34"/>
                  <a:gd name="T29" fmla="*/ 5 h 9"/>
                  <a:gd name="T30" fmla="*/ 6 w 34"/>
                  <a:gd name="T31" fmla="*/ 8 h 9"/>
                  <a:gd name="T32" fmla="*/ 11 w 34"/>
                  <a:gd name="T33" fmla="*/ 8 h 9"/>
                  <a:gd name="T34" fmla="*/ 12 w 34"/>
                  <a:gd name="T35" fmla="*/ 9 h 9"/>
                  <a:gd name="T36" fmla="*/ 16 w 34"/>
                  <a:gd name="T37" fmla="*/ 8 h 9"/>
                  <a:gd name="T38" fmla="*/ 20 w 34"/>
                  <a:gd name="T39" fmla="*/ 8 h 9"/>
                  <a:gd name="T40" fmla="*/ 23 w 34"/>
                  <a:gd name="T41" fmla="*/ 8 h 9"/>
                  <a:gd name="T42" fmla="*/ 29 w 34"/>
                  <a:gd name="T4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9">
                    <a:moveTo>
                      <a:pt x="29" y="6"/>
                    </a:moveTo>
                    <a:cubicBezTo>
                      <a:pt x="29" y="6"/>
                      <a:pt x="31" y="6"/>
                      <a:pt x="31" y="6"/>
                    </a:cubicBezTo>
                    <a:cubicBezTo>
                      <a:pt x="32" y="5"/>
                      <a:pt x="32" y="5"/>
                      <a:pt x="32" y="4"/>
                    </a:cubicBezTo>
                    <a:cubicBezTo>
                      <a:pt x="32" y="4"/>
                      <a:pt x="33" y="3"/>
                      <a:pt x="33" y="3"/>
                    </a:cubicBezTo>
                    <a:cubicBezTo>
                      <a:pt x="33" y="3"/>
                      <a:pt x="33" y="3"/>
                      <a:pt x="33" y="3"/>
                    </a:cubicBezTo>
                    <a:cubicBezTo>
                      <a:pt x="34" y="2"/>
                      <a:pt x="32" y="0"/>
                      <a:pt x="32" y="0"/>
                    </a:cubicBezTo>
                    <a:cubicBezTo>
                      <a:pt x="32" y="1"/>
                      <a:pt x="32" y="1"/>
                      <a:pt x="33" y="1"/>
                    </a:cubicBezTo>
                    <a:cubicBezTo>
                      <a:pt x="31" y="2"/>
                      <a:pt x="29" y="3"/>
                      <a:pt x="28" y="4"/>
                    </a:cubicBezTo>
                    <a:cubicBezTo>
                      <a:pt x="28" y="5"/>
                      <a:pt x="28" y="5"/>
                      <a:pt x="28" y="5"/>
                    </a:cubicBezTo>
                    <a:cubicBezTo>
                      <a:pt x="27" y="6"/>
                      <a:pt x="26" y="6"/>
                      <a:pt x="25" y="5"/>
                    </a:cubicBezTo>
                    <a:cubicBezTo>
                      <a:pt x="23" y="5"/>
                      <a:pt x="21" y="4"/>
                      <a:pt x="19" y="4"/>
                    </a:cubicBezTo>
                    <a:cubicBezTo>
                      <a:pt x="19" y="4"/>
                      <a:pt x="18" y="6"/>
                      <a:pt x="18" y="5"/>
                    </a:cubicBezTo>
                    <a:cubicBezTo>
                      <a:pt x="17" y="5"/>
                      <a:pt x="15" y="4"/>
                      <a:pt x="14" y="4"/>
                    </a:cubicBezTo>
                    <a:cubicBezTo>
                      <a:pt x="12" y="3"/>
                      <a:pt x="10" y="3"/>
                      <a:pt x="8" y="3"/>
                    </a:cubicBezTo>
                    <a:cubicBezTo>
                      <a:pt x="5" y="3"/>
                      <a:pt x="1" y="2"/>
                      <a:pt x="1" y="5"/>
                    </a:cubicBezTo>
                    <a:cubicBezTo>
                      <a:pt x="0" y="8"/>
                      <a:pt x="3" y="8"/>
                      <a:pt x="6" y="8"/>
                    </a:cubicBezTo>
                    <a:cubicBezTo>
                      <a:pt x="7" y="8"/>
                      <a:pt x="10" y="7"/>
                      <a:pt x="11" y="8"/>
                    </a:cubicBezTo>
                    <a:cubicBezTo>
                      <a:pt x="11" y="8"/>
                      <a:pt x="12" y="9"/>
                      <a:pt x="12" y="9"/>
                    </a:cubicBezTo>
                    <a:cubicBezTo>
                      <a:pt x="14" y="9"/>
                      <a:pt x="15" y="8"/>
                      <a:pt x="16" y="8"/>
                    </a:cubicBezTo>
                    <a:cubicBezTo>
                      <a:pt x="17" y="7"/>
                      <a:pt x="19" y="8"/>
                      <a:pt x="20" y="8"/>
                    </a:cubicBezTo>
                    <a:cubicBezTo>
                      <a:pt x="21" y="8"/>
                      <a:pt x="22" y="8"/>
                      <a:pt x="23" y="8"/>
                    </a:cubicBezTo>
                    <a:cubicBezTo>
                      <a:pt x="25" y="7"/>
                      <a:pt x="27" y="7"/>
                      <a:pt x="29"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5" name="Freeform 2373">
                <a:extLst>
                  <a:ext uri="{FF2B5EF4-FFF2-40B4-BE49-F238E27FC236}">
                    <a16:creationId xmlns:a16="http://schemas.microsoft.com/office/drawing/2014/main" id="{E2F6ED45-DC1A-4DF3-9A57-8D8B3050C612}"/>
                  </a:ext>
                </a:extLst>
              </p:cNvPr>
              <p:cNvSpPr>
                <a:spLocks/>
              </p:cNvSpPr>
              <p:nvPr/>
            </p:nvSpPr>
            <p:spPr bwMode="auto">
              <a:xfrm>
                <a:off x="6313" y="2970"/>
                <a:ext cx="31" cy="22"/>
              </a:xfrm>
              <a:custGeom>
                <a:avLst/>
                <a:gdLst>
                  <a:gd name="T0" fmla="*/ 13 w 13"/>
                  <a:gd name="T1" fmla="*/ 4 h 9"/>
                  <a:gd name="T2" fmla="*/ 11 w 13"/>
                  <a:gd name="T3" fmla="*/ 3 h 9"/>
                  <a:gd name="T4" fmla="*/ 0 w 13"/>
                  <a:gd name="T5" fmla="*/ 2 h 9"/>
                  <a:gd name="T6" fmla="*/ 5 w 13"/>
                  <a:gd name="T7" fmla="*/ 5 h 9"/>
                  <a:gd name="T8" fmla="*/ 7 w 13"/>
                  <a:gd name="T9" fmla="*/ 7 h 9"/>
                  <a:gd name="T10" fmla="*/ 7 w 13"/>
                  <a:gd name="T11" fmla="*/ 9 h 9"/>
                  <a:gd name="T12" fmla="*/ 9 w 13"/>
                  <a:gd name="T13" fmla="*/ 7 h 9"/>
                  <a:gd name="T14" fmla="*/ 13 w 13"/>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13" y="4"/>
                    </a:moveTo>
                    <a:cubicBezTo>
                      <a:pt x="13" y="4"/>
                      <a:pt x="11" y="3"/>
                      <a:pt x="11" y="3"/>
                    </a:cubicBezTo>
                    <a:cubicBezTo>
                      <a:pt x="8" y="0"/>
                      <a:pt x="4" y="1"/>
                      <a:pt x="0" y="2"/>
                    </a:cubicBezTo>
                    <a:cubicBezTo>
                      <a:pt x="1" y="4"/>
                      <a:pt x="2" y="4"/>
                      <a:pt x="5" y="5"/>
                    </a:cubicBezTo>
                    <a:cubicBezTo>
                      <a:pt x="5" y="5"/>
                      <a:pt x="7" y="6"/>
                      <a:pt x="7" y="7"/>
                    </a:cubicBezTo>
                    <a:cubicBezTo>
                      <a:pt x="7" y="7"/>
                      <a:pt x="6" y="9"/>
                      <a:pt x="7" y="9"/>
                    </a:cubicBezTo>
                    <a:cubicBezTo>
                      <a:pt x="7" y="9"/>
                      <a:pt x="8" y="7"/>
                      <a:pt x="9" y="7"/>
                    </a:cubicBezTo>
                    <a:cubicBezTo>
                      <a:pt x="10" y="6"/>
                      <a:pt x="13" y="5"/>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6" name="Freeform 2374">
                <a:extLst>
                  <a:ext uri="{FF2B5EF4-FFF2-40B4-BE49-F238E27FC236}">
                    <a16:creationId xmlns:a16="http://schemas.microsoft.com/office/drawing/2014/main" id="{3E1FAE5E-7E1C-4293-9FF7-6227E8FF1708}"/>
                  </a:ext>
                </a:extLst>
              </p:cNvPr>
              <p:cNvSpPr>
                <a:spLocks/>
              </p:cNvSpPr>
              <p:nvPr/>
            </p:nvSpPr>
            <p:spPr bwMode="auto">
              <a:xfrm>
                <a:off x="5925" y="2736"/>
                <a:ext cx="5" cy="2"/>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7" name="Freeform 2375">
                <a:extLst>
                  <a:ext uri="{FF2B5EF4-FFF2-40B4-BE49-F238E27FC236}">
                    <a16:creationId xmlns:a16="http://schemas.microsoft.com/office/drawing/2014/main" id="{2906F06D-5777-4BBC-A803-2F2CA2961235}"/>
                  </a:ext>
                </a:extLst>
              </p:cNvPr>
              <p:cNvSpPr>
                <a:spLocks/>
              </p:cNvSpPr>
              <p:nvPr/>
            </p:nvSpPr>
            <p:spPr bwMode="auto">
              <a:xfrm>
                <a:off x="6339" y="2987"/>
                <a:ext cx="2" cy="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0"/>
                      <a:pt x="0" y="0"/>
                    </a:cubicBezTo>
                    <a:cubicBezTo>
                      <a:pt x="0" y="1"/>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8" name="Freeform 2376">
                <a:extLst>
                  <a:ext uri="{FF2B5EF4-FFF2-40B4-BE49-F238E27FC236}">
                    <a16:creationId xmlns:a16="http://schemas.microsoft.com/office/drawing/2014/main" id="{E0A11193-9752-4A50-8B57-1F9FBFE2E36B}"/>
                  </a:ext>
                </a:extLst>
              </p:cNvPr>
              <p:cNvSpPr>
                <a:spLocks/>
              </p:cNvSpPr>
              <p:nvPr/>
            </p:nvSpPr>
            <p:spPr bwMode="auto">
              <a:xfrm>
                <a:off x="6126" y="2847"/>
                <a:ext cx="5" cy="5"/>
              </a:xfrm>
              <a:custGeom>
                <a:avLst/>
                <a:gdLst>
                  <a:gd name="T0" fmla="*/ 0 w 2"/>
                  <a:gd name="T1" fmla="*/ 1 h 2"/>
                  <a:gd name="T2" fmla="*/ 1 w 2"/>
                  <a:gd name="T3" fmla="*/ 0 h 2"/>
                  <a:gd name="T4" fmla="*/ 0 w 2"/>
                  <a:gd name="T5" fmla="*/ 1 h 2"/>
                </a:gdLst>
                <a:ahLst/>
                <a:cxnLst>
                  <a:cxn ang="0">
                    <a:pos x="T0" y="T1"/>
                  </a:cxn>
                  <a:cxn ang="0">
                    <a:pos x="T2" y="T3"/>
                  </a:cxn>
                  <a:cxn ang="0">
                    <a:pos x="T4" y="T5"/>
                  </a:cxn>
                </a:cxnLst>
                <a:rect l="0" t="0" r="r" b="b"/>
                <a:pathLst>
                  <a:path w="2" h="2">
                    <a:moveTo>
                      <a:pt x="0" y="1"/>
                    </a:moveTo>
                    <a:cubicBezTo>
                      <a:pt x="1" y="1"/>
                      <a:pt x="2" y="2"/>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9" name="Freeform 2377">
                <a:extLst>
                  <a:ext uri="{FF2B5EF4-FFF2-40B4-BE49-F238E27FC236}">
                    <a16:creationId xmlns:a16="http://schemas.microsoft.com/office/drawing/2014/main" id="{506A2F31-6443-4B17-9DEE-5A7A34D54A4D}"/>
                  </a:ext>
                </a:extLst>
              </p:cNvPr>
              <p:cNvSpPr>
                <a:spLocks/>
              </p:cNvSpPr>
              <p:nvPr/>
            </p:nvSpPr>
            <p:spPr bwMode="auto">
              <a:xfrm>
                <a:off x="6048" y="2783"/>
                <a:ext cx="5" cy="3"/>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0" name="Freeform 2378">
                <a:extLst>
                  <a:ext uri="{FF2B5EF4-FFF2-40B4-BE49-F238E27FC236}">
                    <a16:creationId xmlns:a16="http://schemas.microsoft.com/office/drawing/2014/main" id="{85581E64-4D31-4405-A30B-398B4F08EA82}"/>
                  </a:ext>
                </a:extLst>
              </p:cNvPr>
              <p:cNvSpPr>
                <a:spLocks/>
              </p:cNvSpPr>
              <p:nvPr/>
            </p:nvSpPr>
            <p:spPr bwMode="auto">
              <a:xfrm>
                <a:off x="6086" y="2812"/>
                <a:ext cx="43" cy="42"/>
              </a:xfrm>
              <a:custGeom>
                <a:avLst/>
                <a:gdLst>
                  <a:gd name="T0" fmla="*/ 3 w 18"/>
                  <a:gd name="T1" fmla="*/ 4 h 18"/>
                  <a:gd name="T2" fmla="*/ 2 w 18"/>
                  <a:gd name="T3" fmla="*/ 7 h 18"/>
                  <a:gd name="T4" fmla="*/ 3 w 18"/>
                  <a:gd name="T5" fmla="*/ 7 h 18"/>
                  <a:gd name="T6" fmla="*/ 4 w 18"/>
                  <a:gd name="T7" fmla="*/ 7 h 18"/>
                  <a:gd name="T8" fmla="*/ 5 w 18"/>
                  <a:gd name="T9" fmla="*/ 7 h 18"/>
                  <a:gd name="T10" fmla="*/ 6 w 18"/>
                  <a:gd name="T11" fmla="*/ 7 h 18"/>
                  <a:gd name="T12" fmla="*/ 7 w 18"/>
                  <a:gd name="T13" fmla="*/ 7 h 18"/>
                  <a:gd name="T14" fmla="*/ 8 w 18"/>
                  <a:gd name="T15" fmla="*/ 10 h 18"/>
                  <a:gd name="T16" fmla="*/ 9 w 18"/>
                  <a:gd name="T17" fmla="*/ 11 h 18"/>
                  <a:gd name="T18" fmla="*/ 9 w 18"/>
                  <a:gd name="T19" fmla="*/ 14 h 18"/>
                  <a:gd name="T20" fmla="*/ 10 w 18"/>
                  <a:gd name="T21" fmla="*/ 14 h 18"/>
                  <a:gd name="T22" fmla="*/ 11 w 18"/>
                  <a:gd name="T23" fmla="*/ 15 h 18"/>
                  <a:gd name="T24" fmla="*/ 17 w 18"/>
                  <a:gd name="T25" fmla="*/ 17 h 18"/>
                  <a:gd name="T26" fmla="*/ 16 w 18"/>
                  <a:gd name="T27" fmla="*/ 15 h 18"/>
                  <a:gd name="T28" fmla="*/ 18 w 18"/>
                  <a:gd name="T29" fmla="*/ 12 h 18"/>
                  <a:gd name="T30" fmla="*/ 13 w 18"/>
                  <a:gd name="T31" fmla="*/ 10 h 18"/>
                  <a:gd name="T32" fmla="*/ 11 w 18"/>
                  <a:gd name="T33" fmla="*/ 6 h 18"/>
                  <a:gd name="T34" fmla="*/ 10 w 18"/>
                  <a:gd name="T35" fmla="*/ 1 h 18"/>
                  <a:gd name="T36" fmla="*/ 7 w 18"/>
                  <a:gd name="T37" fmla="*/ 1 h 18"/>
                  <a:gd name="T38" fmla="*/ 7 w 18"/>
                  <a:gd name="T39" fmla="*/ 4 h 18"/>
                  <a:gd name="T40" fmla="*/ 4 w 18"/>
                  <a:gd name="T41" fmla="*/ 1 h 18"/>
                  <a:gd name="T42" fmla="*/ 3 w 18"/>
                  <a:gd name="T43" fmla="*/ 2 h 18"/>
                  <a:gd name="T44" fmla="*/ 3 w 18"/>
                  <a:gd name="T4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8">
                    <a:moveTo>
                      <a:pt x="3" y="4"/>
                    </a:moveTo>
                    <a:cubicBezTo>
                      <a:pt x="1" y="6"/>
                      <a:pt x="0" y="6"/>
                      <a:pt x="2" y="7"/>
                    </a:cubicBezTo>
                    <a:cubicBezTo>
                      <a:pt x="2" y="7"/>
                      <a:pt x="3" y="7"/>
                      <a:pt x="3" y="7"/>
                    </a:cubicBezTo>
                    <a:cubicBezTo>
                      <a:pt x="3" y="7"/>
                      <a:pt x="4" y="7"/>
                      <a:pt x="4" y="7"/>
                    </a:cubicBezTo>
                    <a:cubicBezTo>
                      <a:pt x="4" y="7"/>
                      <a:pt x="5" y="7"/>
                      <a:pt x="5" y="7"/>
                    </a:cubicBezTo>
                    <a:cubicBezTo>
                      <a:pt x="5" y="7"/>
                      <a:pt x="6" y="7"/>
                      <a:pt x="6" y="7"/>
                    </a:cubicBezTo>
                    <a:cubicBezTo>
                      <a:pt x="6" y="7"/>
                      <a:pt x="7" y="7"/>
                      <a:pt x="7" y="7"/>
                    </a:cubicBezTo>
                    <a:cubicBezTo>
                      <a:pt x="7" y="8"/>
                      <a:pt x="7" y="9"/>
                      <a:pt x="8" y="10"/>
                    </a:cubicBezTo>
                    <a:cubicBezTo>
                      <a:pt x="8" y="10"/>
                      <a:pt x="9" y="10"/>
                      <a:pt x="9" y="11"/>
                    </a:cubicBezTo>
                    <a:cubicBezTo>
                      <a:pt x="9" y="12"/>
                      <a:pt x="9" y="13"/>
                      <a:pt x="9" y="14"/>
                    </a:cubicBezTo>
                    <a:cubicBezTo>
                      <a:pt x="9" y="14"/>
                      <a:pt x="9" y="14"/>
                      <a:pt x="10" y="14"/>
                    </a:cubicBezTo>
                    <a:cubicBezTo>
                      <a:pt x="10" y="15"/>
                      <a:pt x="11" y="15"/>
                      <a:pt x="11" y="15"/>
                    </a:cubicBezTo>
                    <a:cubicBezTo>
                      <a:pt x="12" y="15"/>
                      <a:pt x="17" y="18"/>
                      <a:pt x="17" y="17"/>
                    </a:cubicBezTo>
                    <a:cubicBezTo>
                      <a:pt x="17" y="16"/>
                      <a:pt x="16" y="16"/>
                      <a:pt x="16" y="15"/>
                    </a:cubicBezTo>
                    <a:cubicBezTo>
                      <a:pt x="15" y="14"/>
                      <a:pt x="18" y="12"/>
                      <a:pt x="18" y="12"/>
                    </a:cubicBezTo>
                    <a:cubicBezTo>
                      <a:pt x="17" y="11"/>
                      <a:pt x="14" y="11"/>
                      <a:pt x="13" y="10"/>
                    </a:cubicBezTo>
                    <a:cubicBezTo>
                      <a:pt x="12" y="9"/>
                      <a:pt x="12" y="7"/>
                      <a:pt x="11" y="6"/>
                    </a:cubicBezTo>
                    <a:cubicBezTo>
                      <a:pt x="11" y="4"/>
                      <a:pt x="11" y="2"/>
                      <a:pt x="10" y="1"/>
                    </a:cubicBezTo>
                    <a:cubicBezTo>
                      <a:pt x="9" y="0"/>
                      <a:pt x="8" y="1"/>
                      <a:pt x="7" y="1"/>
                    </a:cubicBezTo>
                    <a:cubicBezTo>
                      <a:pt x="7" y="2"/>
                      <a:pt x="7" y="3"/>
                      <a:pt x="7" y="4"/>
                    </a:cubicBezTo>
                    <a:cubicBezTo>
                      <a:pt x="6" y="2"/>
                      <a:pt x="6" y="0"/>
                      <a:pt x="4" y="1"/>
                    </a:cubicBezTo>
                    <a:cubicBezTo>
                      <a:pt x="3" y="2"/>
                      <a:pt x="3" y="2"/>
                      <a:pt x="3" y="2"/>
                    </a:cubicBezTo>
                    <a:cubicBezTo>
                      <a:pt x="3" y="3"/>
                      <a:pt x="4" y="3"/>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1" name="Freeform 2379">
                <a:extLst>
                  <a:ext uri="{FF2B5EF4-FFF2-40B4-BE49-F238E27FC236}">
                    <a16:creationId xmlns:a16="http://schemas.microsoft.com/office/drawing/2014/main" id="{B939F3BC-6058-4778-8194-0577C78B1B21}"/>
                  </a:ext>
                </a:extLst>
              </p:cNvPr>
              <p:cNvSpPr>
                <a:spLocks/>
              </p:cNvSpPr>
              <p:nvPr/>
            </p:nvSpPr>
            <p:spPr bwMode="auto">
              <a:xfrm>
                <a:off x="6145" y="2838"/>
                <a:ext cx="19" cy="19"/>
              </a:xfrm>
              <a:custGeom>
                <a:avLst/>
                <a:gdLst>
                  <a:gd name="T0" fmla="*/ 2 w 8"/>
                  <a:gd name="T1" fmla="*/ 1 h 8"/>
                  <a:gd name="T2" fmla="*/ 1 w 8"/>
                  <a:gd name="T3" fmla="*/ 2 h 8"/>
                  <a:gd name="T4" fmla="*/ 1 w 8"/>
                  <a:gd name="T5" fmla="*/ 4 h 8"/>
                  <a:gd name="T6" fmla="*/ 1 w 8"/>
                  <a:gd name="T7" fmla="*/ 7 h 8"/>
                  <a:gd name="T8" fmla="*/ 4 w 8"/>
                  <a:gd name="T9" fmla="*/ 6 h 8"/>
                  <a:gd name="T10" fmla="*/ 6 w 8"/>
                  <a:gd name="T11" fmla="*/ 7 h 8"/>
                  <a:gd name="T12" fmla="*/ 7 w 8"/>
                  <a:gd name="T13" fmla="*/ 6 h 8"/>
                  <a:gd name="T14" fmla="*/ 8 w 8"/>
                  <a:gd name="T15" fmla="*/ 3 h 8"/>
                  <a:gd name="T16" fmla="*/ 7 w 8"/>
                  <a:gd name="T17" fmla="*/ 2 h 8"/>
                  <a:gd name="T18" fmla="*/ 2 w 8"/>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2" y="1"/>
                    </a:moveTo>
                    <a:cubicBezTo>
                      <a:pt x="1" y="1"/>
                      <a:pt x="1" y="2"/>
                      <a:pt x="1" y="2"/>
                    </a:cubicBezTo>
                    <a:cubicBezTo>
                      <a:pt x="1" y="2"/>
                      <a:pt x="0" y="4"/>
                      <a:pt x="1" y="4"/>
                    </a:cubicBezTo>
                    <a:cubicBezTo>
                      <a:pt x="1" y="5"/>
                      <a:pt x="1" y="7"/>
                      <a:pt x="1" y="7"/>
                    </a:cubicBezTo>
                    <a:cubicBezTo>
                      <a:pt x="2" y="8"/>
                      <a:pt x="3" y="6"/>
                      <a:pt x="4" y="6"/>
                    </a:cubicBezTo>
                    <a:cubicBezTo>
                      <a:pt x="4" y="6"/>
                      <a:pt x="5" y="7"/>
                      <a:pt x="6" y="7"/>
                    </a:cubicBezTo>
                    <a:cubicBezTo>
                      <a:pt x="6" y="7"/>
                      <a:pt x="7" y="7"/>
                      <a:pt x="7" y="6"/>
                    </a:cubicBezTo>
                    <a:cubicBezTo>
                      <a:pt x="7" y="5"/>
                      <a:pt x="8" y="4"/>
                      <a:pt x="8" y="3"/>
                    </a:cubicBezTo>
                    <a:cubicBezTo>
                      <a:pt x="8" y="2"/>
                      <a:pt x="7" y="2"/>
                      <a:pt x="7" y="2"/>
                    </a:cubicBezTo>
                    <a:cubicBezTo>
                      <a:pt x="5" y="1"/>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2" name="Freeform 2380">
                <a:extLst>
                  <a:ext uri="{FF2B5EF4-FFF2-40B4-BE49-F238E27FC236}">
                    <a16:creationId xmlns:a16="http://schemas.microsoft.com/office/drawing/2014/main" id="{FE071390-858E-4FE8-87BC-4AB563663C04}"/>
                  </a:ext>
                </a:extLst>
              </p:cNvPr>
              <p:cNvSpPr>
                <a:spLocks/>
              </p:cNvSpPr>
              <p:nvPr/>
            </p:nvSpPr>
            <p:spPr bwMode="auto">
              <a:xfrm>
                <a:off x="6722" y="2873"/>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3" name="Freeform 2381">
                <a:extLst>
                  <a:ext uri="{FF2B5EF4-FFF2-40B4-BE49-F238E27FC236}">
                    <a16:creationId xmlns:a16="http://schemas.microsoft.com/office/drawing/2014/main" id="{A98D24AE-984C-46FF-AABA-F02A23A6F06D}"/>
                  </a:ext>
                </a:extLst>
              </p:cNvPr>
              <p:cNvSpPr>
                <a:spLocks/>
              </p:cNvSpPr>
              <p:nvPr/>
            </p:nvSpPr>
            <p:spPr bwMode="auto">
              <a:xfrm>
                <a:off x="6637" y="2845"/>
                <a:ext cx="73" cy="26"/>
              </a:xfrm>
              <a:custGeom>
                <a:avLst/>
                <a:gdLst>
                  <a:gd name="T0" fmla="*/ 5 w 31"/>
                  <a:gd name="T1" fmla="*/ 1 h 11"/>
                  <a:gd name="T2" fmla="*/ 2 w 31"/>
                  <a:gd name="T3" fmla="*/ 2 h 11"/>
                  <a:gd name="T4" fmla="*/ 0 w 31"/>
                  <a:gd name="T5" fmla="*/ 4 h 11"/>
                  <a:gd name="T6" fmla="*/ 1 w 31"/>
                  <a:gd name="T7" fmla="*/ 6 h 11"/>
                  <a:gd name="T8" fmla="*/ 0 w 31"/>
                  <a:gd name="T9" fmla="*/ 8 h 11"/>
                  <a:gd name="T10" fmla="*/ 2 w 31"/>
                  <a:gd name="T11" fmla="*/ 6 h 11"/>
                  <a:gd name="T12" fmla="*/ 2 w 31"/>
                  <a:gd name="T13" fmla="*/ 4 h 11"/>
                  <a:gd name="T14" fmla="*/ 3 w 31"/>
                  <a:gd name="T15" fmla="*/ 3 h 11"/>
                  <a:gd name="T16" fmla="*/ 3 w 31"/>
                  <a:gd name="T17" fmla="*/ 4 h 11"/>
                  <a:gd name="T18" fmla="*/ 3 w 31"/>
                  <a:gd name="T19" fmla="*/ 4 h 11"/>
                  <a:gd name="T20" fmla="*/ 4 w 31"/>
                  <a:gd name="T21" fmla="*/ 5 h 11"/>
                  <a:gd name="T22" fmla="*/ 6 w 31"/>
                  <a:gd name="T23" fmla="*/ 7 h 11"/>
                  <a:gd name="T24" fmla="*/ 9 w 31"/>
                  <a:gd name="T25" fmla="*/ 5 h 11"/>
                  <a:gd name="T26" fmla="*/ 11 w 31"/>
                  <a:gd name="T27" fmla="*/ 5 h 11"/>
                  <a:gd name="T28" fmla="*/ 17 w 31"/>
                  <a:gd name="T29" fmla="*/ 6 h 11"/>
                  <a:gd name="T30" fmla="*/ 19 w 31"/>
                  <a:gd name="T31" fmla="*/ 5 h 11"/>
                  <a:gd name="T32" fmla="*/ 30 w 31"/>
                  <a:gd name="T33" fmla="*/ 11 h 11"/>
                  <a:gd name="T34" fmla="*/ 30 w 31"/>
                  <a:gd name="T35" fmla="*/ 7 h 11"/>
                  <a:gd name="T36" fmla="*/ 29 w 31"/>
                  <a:gd name="T37" fmla="*/ 6 h 11"/>
                  <a:gd name="T38" fmla="*/ 28 w 31"/>
                  <a:gd name="T39" fmla="*/ 5 h 11"/>
                  <a:gd name="T40" fmla="*/ 25 w 31"/>
                  <a:gd name="T41" fmla="*/ 2 h 11"/>
                  <a:gd name="T42" fmla="*/ 20 w 31"/>
                  <a:gd name="T43" fmla="*/ 1 h 11"/>
                  <a:gd name="T44" fmla="*/ 18 w 31"/>
                  <a:gd name="T45" fmla="*/ 0 h 11"/>
                  <a:gd name="T46" fmla="*/ 15 w 31"/>
                  <a:gd name="T47" fmla="*/ 1 h 11"/>
                  <a:gd name="T48" fmla="*/ 12 w 31"/>
                  <a:gd name="T49" fmla="*/ 1 h 11"/>
                  <a:gd name="T50" fmla="*/ 12 w 31"/>
                  <a:gd name="T51" fmla="*/ 0 h 11"/>
                  <a:gd name="T52" fmla="*/ 11 w 31"/>
                  <a:gd name="T53" fmla="*/ 1 h 11"/>
                  <a:gd name="T54" fmla="*/ 5 w 31"/>
                  <a:gd name="T5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11">
                    <a:moveTo>
                      <a:pt x="5" y="1"/>
                    </a:moveTo>
                    <a:cubicBezTo>
                      <a:pt x="4" y="1"/>
                      <a:pt x="2" y="0"/>
                      <a:pt x="2" y="2"/>
                    </a:cubicBezTo>
                    <a:cubicBezTo>
                      <a:pt x="2" y="3"/>
                      <a:pt x="1" y="4"/>
                      <a:pt x="0" y="4"/>
                    </a:cubicBezTo>
                    <a:cubicBezTo>
                      <a:pt x="0" y="5"/>
                      <a:pt x="1" y="5"/>
                      <a:pt x="1" y="6"/>
                    </a:cubicBezTo>
                    <a:cubicBezTo>
                      <a:pt x="1" y="7"/>
                      <a:pt x="0" y="7"/>
                      <a:pt x="0" y="8"/>
                    </a:cubicBezTo>
                    <a:cubicBezTo>
                      <a:pt x="1" y="7"/>
                      <a:pt x="1" y="6"/>
                      <a:pt x="2" y="6"/>
                    </a:cubicBezTo>
                    <a:cubicBezTo>
                      <a:pt x="2" y="5"/>
                      <a:pt x="2" y="5"/>
                      <a:pt x="2" y="4"/>
                    </a:cubicBezTo>
                    <a:cubicBezTo>
                      <a:pt x="2" y="4"/>
                      <a:pt x="2" y="3"/>
                      <a:pt x="3" y="3"/>
                    </a:cubicBezTo>
                    <a:cubicBezTo>
                      <a:pt x="3" y="3"/>
                      <a:pt x="3" y="3"/>
                      <a:pt x="3" y="4"/>
                    </a:cubicBezTo>
                    <a:cubicBezTo>
                      <a:pt x="3" y="4"/>
                      <a:pt x="3" y="4"/>
                      <a:pt x="3" y="4"/>
                    </a:cubicBezTo>
                    <a:cubicBezTo>
                      <a:pt x="3" y="4"/>
                      <a:pt x="4" y="4"/>
                      <a:pt x="4" y="5"/>
                    </a:cubicBezTo>
                    <a:cubicBezTo>
                      <a:pt x="5" y="5"/>
                      <a:pt x="5" y="6"/>
                      <a:pt x="6" y="7"/>
                    </a:cubicBezTo>
                    <a:cubicBezTo>
                      <a:pt x="7" y="7"/>
                      <a:pt x="8" y="5"/>
                      <a:pt x="9" y="5"/>
                    </a:cubicBezTo>
                    <a:cubicBezTo>
                      <a:pt x="10" y="4"/>
                      <a:pt x="10" y="4"/>
                      <a:pt x="11" y="5"/>
                    </a:cubicBezTo>
                    <a:cubicBezTo>
                      <a:pt x="11" y="6"/>
                      <a:pt x="16" y="6"/>
                      <a:pt x="17" y="6"/>
                    </a:cubicBezTo>
                    <a:cubicBezTo>
                      <a:pt x="16" y="5"/>
                      <a:pt x="18" y="5"/>
                      <a:pt x="19" y="5"/>
                    </a:cubicBezTo>
                    <a:cubicBezTo>
                      <a:pt x="23" y="6"/>
                      <a:pt x="27" y="9"/>
                      <a:pt x="30" y="11"/>
                    </a:cubicBezTo>
                    <a:cubicBezTo>
                      <a:pt x="30" y="9"/>
                      <a:pt x="31" y="8"/>
                      <a:pt x="30" y="7"/>
                    </a:cubicBezTo>
                    <a:cubicBezTo>
                      <a:pt x="30" y="6"/>
                      <a:pt x="30" y="7"/>
                      <a:pt x="29" y="6"/>
                    </a:cubicBezTo>
                    <a:cubicBezTo>
                      <a:pt x="28" y="6"/>
                      <a:pt x="28" y="6"/>
                      <a:pt x="28" y="5"/>
                    </a:cubicBezTo>
                    <a:cubicBezTo>
                      <a:pt x="28" y="3"/>
                      <a:pt x="26" y="2"/>
                      <a:pt x="25" y="2"/>
                    </a:cubicBezTo>
                    <a:cubicBezTo>
                      <a:pt x="23" y="2"/>
                      <a:pt x="21" y="2"/>
                      <a:pt x="20" y="1"/>
                    </a:cubicBezTo>
                    <a:cubicBezTo>
                      <a:pt x="19" y="1"/>
                      <a:pt x="19" y="0"/>
                      <a:pt x="18" y="0"/>
                    </a:cubicBezTo>
                    <a:cubicBezTo>
                      <a:pt x="16" y="0"/>
                      <a:pt x="16" y="0"/>
                      <a:pt x="15" y="1"/>
                    </a:cubicBezTo>
                    <a:cubicBezTo>
                      <a:pt x="14" y="1"/>
                      <a:pt x="13" y="2"/>
                      <a:pt x="12" y="1"/>
                    </a:cubicBezTo>
                    <a:cubicBezTo>
                      <a:pt x="12" y="1"/>
                      <a:pt x="13" y="0"/>
                      <a:pt x="12" y="0"/>
                    </a:cubicBezTo>
                    <a:cubicBezTo>
                      <a:pt x="12" y="0"/>
                      <a:pt x="11" y="0"/>
                      <a:pt x="11" y="1"/>
                    </a:cubicBezTo>
                    <a:cubicBezTo>
                      <a:pt x="9" y="1"/>
                      <a:pt x="7"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4" name="Freeform 2382">
                <a:extLst>
                  <a:ext uri="{FF2B5EF4-FFF2-40B4-BE49-F238E27FC236}">
                    <a16:creationId xmlns:a16="http://schemas.microsoft.com/office/drawing/2014/main" id="{DD180C7A-E9C5-4C06-A373-A373CF7CAA58}"/>
                  </a:ext>
                </a:extLst>
              </p:cNvPr>
              <p:cNvSpPr>
                <a:spLocks/>
              </p:cNvSpPr>
              <p:nvPr/>
            </p:nvSpPr>
            <p:spPr bwMode="auto">
              <a:xfrm>
                <a:off x="6043" y="2750"/>
                <a:ext cx="3"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5" name="Freeform 2383">
                <a:extLst>
                  <a:ext uri="{FF2B5EF4-FFF2-40B4-BE49-F238E27FC236}">
                    <a16:creationId xmlns:a16="http://schemas.microsoft.com/office/drawing/2014/main" id="{B2D142F5-A53E-47FD-9C55-FA6AD320E850}"/>
                  </a:ext>
                </a:extLst>
              </p:cNvPr>
              <p:cNvSpPr>
                <a:spLocks/>
              </p:cNvSpPr>
              <p:nvPr/>
            </p:nvSpPr>
            <p:spPr bwMode="auto">
              <a:xfrm>
                <a:off x="6053" y="2755"/>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6" name="Freeform 2384">
                <a:extLst>
                  <a:ext uri="{FF2B5EF4-FFF2-40B4-BE49-F238E27FC236}">
                    <a16:creationId xmlns:a16="http://schemas.microsoft.com/office/drawing/2014/main" id="{20D8076D-E9A5-495E-B929-F5945BA36825}"/>
                  </a:ext>
                </a:extLst>
              </p:cNvPr>
              <p:cNvSpPr>
                <a:spLocks/>
              </p:cNvSpPr>
              <p:nvPr/>
            </p:nvSpPr>
            <p:spPr bwMode="auto">
              <a:xfrm>
                <a:off x="6590" y="2852"/>
                <a:ext cx="33" cy="19"/>
              </a:xfrm>
              <a:custGeom>
                <a:avLst/>
                <a:gdLst>
                  <a:gd name="T0" fmla="*/ 11 w 14"/>
                  <a:gd name="T1" fmla="*/ 1 h 8"/>
                  <a:gd name="T2" fmla="*/ 5 w 14"/>
                  <a:gd name="T3" fmla="*/ 0 h 8"/>
                  <a:gd name="T4" fmla="*/ 1 w 14"/>
                  <a:gd name="T5" fmla="*/ 3 h 8"/>
                  <a:gd name="T6" fmla="*/ 3 w 14"/>
                  <a:gd name="T7" fmla="*/ 5 h 8"/>
                  <a:gd name="T8" fmla="*/ 8 w 14"/>
                  <a:gd name="T9" fmla="*/ 8 h 8"/>
                  <a:gd name="T10" fmla="*/ 14 w 14"/>
                  <a:gd name="T11" fmla="*/ 5 h 8"/>
                  <a:gd name="T12" fmla="*/ 14 w 14"/>
                  <a:gd name="T13" fmla="*/ 3 h 8"/>
                  <a:gd name="T14" fmla="*/ 12 w 14"/>
                  <a:gd name="T15" fmla="*/ 2 h 8"/>
                  <a:gd name="T16" fmla="*/ 11 w 14"/>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8">
                    <a:moveTo>
                      <a:pt x="11" y="1"/>
                    </a:moveTo>
                    <a:cubicBezTo>
                      <a:pt x="9" y="0"/>
                      <a:pt x="8" y="0"/>
                      <a:pt x="5" y="0"/>
                    </a:cubicBezTo>
                    <a:cubicBezTo>
                      <a:pt x="3" y="0"/>
                      <a:pt x="0" y="0"/>
                      <a:pt x="1" y="3"/>
                    </a:cubicBezTo>
                    <a:cubicBezTo>
                      <a:pt x="2" y="4"/>
                      <a:pt x="3" y="5"/>
                      <a:pt x="3" y="5"/>
                    </a:cubicBezTo>
                    <a:cubicBezTo>
                      <a:pt x="4" y="6"/>
                      <a:pt x="7" y="8"/>
                      <a:pt x="8" y="8"/>
                    </a:cubicBezTo>
                    <a:cubicBezTo>
                      <a:pt x="9" y="8"/>
                      <a:pt x="13" y="6"/>
                      <a:pt x="14" y="5"/>
                    </a:cubicBezTo>
                    <a:cubicBezTo>
                      <a:pt x="14" y="5"/>
                      <a:pt x="14" y="3"/>
                      <a:pt x="14" y="3"/>
                    </a:cubicBezTo>
                    <a:cubicBezTo>
                      <a:pt x="13" y="2"/>
                      <a:pt x="13" y="3"/>
                      <a:pt x="12" y="2"/>
                    </a:cubicBezTo>
                    <a:cubicBezTo>
                      <a:pt x="12" y="1"/>
                      <a:pt x="12" y="1"/>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7" name="Freeform 2385">
                <a:extLst>
                  <a:ext uri="{FF2B5EF4-FFF2-40B4-BE49-F238E27FC236}">
                    <a16:creationId xmlns:a16="http://schemas.microsoft.com/office/drawing/2014/main" id="{6466629D-EE13-4969-BFF2-C87CB65EAEAC}"/>
                  </a:ext>
                </a:extLst>
              </p:cNvPr>
              <p:cNvSpPr>
                <a:spLocks/>
              </p:cNvSpPr>
              <p:nvPr/>
            </p:nvSpPr>
            <p:spPr bwMode="auto">
              <a:xfrm>
                <a:off x="6422" y="3003"/>
                <a:ext cx="47" cy="24"/>
              </a:xfrm>
              <a:custGeom>
                <a:avLst/>
                <a:gdLst>
                  <a:gd name="T0" fmla="*/ 1 w 20"/>
                  <a:gd name="T1" fmla="*/ 3 h 10"/>
                  <a:gd name="T2" fmla="*/ 4 w 20"/>
                  <a:gd name="T3" fmla="*/ 5 h 10"/>
                  <a:gd name="T4" fmla="*/ 8 w 20"/>
                  <a:gd name="T5" fmla="*/ 5 h 10"/>
                  <a:gd name="T6" fmla="*/ 15 w 20"/>
                  <a:gd name="T7" fmla="*/ 10 h 10"/>
                  <a:gd name="T8" fmla="*/ 16 w 20"/>
                  <a:gd name="T9" fmla="*/ 9 h 10"/>
                  <a:gd name="T10" fmla="*/ 19 w 20"/>
                  <a:gd name="T11" fmla="*/ 7 h 10"/>
                  <a:gd name="T12" fmla="*/ 17 w 20"/>
                  <a:gd name="T13" fmla="*/ 5 h 10"/>
                  <a:gd name="T14" fmla="*/ 16 w 20"/>
                  <a:gd name="T15" fmla="*/ 4 h 10"/>
                  <a:gd name="T16" fmla="*/ 15 w 20"/>
                  <a:gd name="T17" fmla="*/ 3 h 10"/>
                  <a:gd name="T18" fmla="*/ 13 w 20"/>
                  <a:gd name="T19" fmla="*/ 3 h 10"/>
                  <a:gd name="T20" fmla="*/ 13 w 20"/>
                  <a:gd name="T21" fmla="*/ 2 h 10"/>
                  <a:gd name="T22" fmla="*/ 12 w 20"/>
                  <a:gd name="T23" fmla="*/ 1 h 10"/>
                  <a:gd name="T24" fmla="*/ 9 w 20"/>
                  <a:gd name="T25" fmla="*/ 0 h 10"/>
                  <a:gd name="T26" fmla="*/ 0 w 20"/>
                  <a:gd name="T27" fmla="*/ 2 h 10"/>
                  <a:gd name="T28" fmla="*/ 1 w 20"/>
                  <a:gd name="T2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0">
                    <a:moveTo>
                      <a:pt x="1" y="3"/>
                    </a:moveTo>
                    <a:cubicBezTo>
                      <a:pt x="1" y="4"/>
                      <a:pt x="3" y="5"/>
                      <a:pt x="4" y="5"/>
                    </a:cubicBezTo>
                    <a:cubicBezTo>
                      <a:pt x="5" y="5"/>
                      <a:pt x="6" y="4"/>
                      <a:pt x="8" y="5"/>
                    </a:cubicBezTo>
                    <a:cubicBezTo>
                      <a:pt x="10" y="7"/>
                      <a:pt x="13" y="8"/>
                      <a:pt x="15" y="10"/>
                    </a:cubicBezTo>
                    <a:cubicBezTo>
                      <a:pt x="15" y="10"/>
                      <a:pt x="16" y="9"/>
                      <a:pt x="16" y="9"/>
                    </a:cubicBezTo>
                    <a:cubicBezTo>
                      <a:pt x="17" y="9"/>
                      <a:pt x="20" y="9"/>
                      <a:pt x="19" y="7"/>
                    </a:cubicBezTo>
                    <a:cubicBezTo>
                      <a:pt x="19" y="6"/>
                      <a:pt x="18" y="6"/>
                      <a:pt x="17" y="5"/>
                    </a:cubicBezTo>
                    <a:cubicBezTo>
                      <a:pt x="17" y="5"/>
                      <a:pt x="17" y="4"/>
                      <a:pt x="16" y="4"/>
                    </a:cubicBezTo>
                    <a:cubicBezTo>
                      <a:pt x="15" y="3"/>
                      <a:pt x="15" y="3"/>
                      <a:pt x="15" y="3"/>
                    </a:cubicBezTo>
                    <a:cubicBezTo>
                      <a:pt x="14" y="3"/>
                      <a:pt x="14" y="4"/>
                      <a:pt x="13" y="3"/>
                    </a:cubicBezTo>
                    <a:cubicBezTo>
                      <a:pt x="13" y="3"/>
                      <a:pt x="13" y="2"/>
                      <a:pt x="13" y="2"/>
                    </a:cubicBezTo>
                    <a:cubicBezTo>
                      <a:pt x="13" y="1"/>
                      <a:pt x="12" y="2"/>
                      <a:pt x="12" y="1"/>
                    </a:cubicBezTo>
                    <a:cubicBezTo>
                      <a:pt x="11" y="1"/>
                      <a:pt x="11" y="0"/>
                      <a:pt x="9" y="0"/>
                    </a:cubicBezTo>
                    <a:cubicBezTo>
                      <a:pt x="6" y="0"/>
                      <a:pt x="3" y="0"/>
                      <a:pt x="0" y="2"/>
                    </a:cubicBezTo>
                    <a:cubicBezTo>
                      <a:pt x="0" y="2"/>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8" name="Freeform 2386">
                <a:extLst>
                  <a:ext uri="{FF2B5EF4-FFF2-40B4-BE49-F238E27FC236}">
                    <a16:creationId xmlns:a16="http://schemas.microsoft.com/office/drawing/2014/main" id="{C16A99FC-73BC-467F-A500-D6145E9E35A8}"/>
                  </a:ext>
                </a:extLst>
              </p:cNvPr>
              <p:cNvSpPr>
                <a:spLocks/>
              </p:cNvSpPr>
              <p:nvPr/>
            </p:nvSpPr>
            <p:spPr bwMode="auto">
              <a:xfrm>
                <a:off x="6509" y="2880"/>
                <a:ext cx="17" cy="34"/>
              </a:xfrm>
              <a:custGeom>
                <a:avLst/>
                <a:gdLst>
                  <a:gd name="T0" fmla="*/ 2 w 7"/>
                  <a:gd name="T1" fmla="*/ 14 h 14"/>
                  <a:gd name="T2" fmla="*/ 3 w 7"/>
                  <a:gd name="T3" fmla="*/ 14 h 14"/>
                  <a:gd name="T4" fmla="*/ 6 w 7"/>
                  <a:gd name="T5" fmla="*/ 10 h 14"/>
                  <a:gd name="T6" fmla="*/ 5 w 7"/>
                  <a:gd name="T7" fmla="*/ 9 h 14"/>
                  <a:gd name="T8" fmla="*/ 5 w 7"/>
                  <a:gd name="T9" fmla="*/ 5 h 14"/>
                  <a:gd name="T10" fmla="*/ 6 w 7"/>
                  <a:gd name="T11" fmla="*/ 6 h 14"/>
                  <a:gd name="T12" fmla="*/ 3 w 7"/>
                  <a:gd name="T13" fmla="*/ 2 h 14"/>
                  <a:gd name="T14" fmla="*/ 3 w 7"/>
                  <a:gd name="T15" fmla="*/ 5 h 14"/>
                  <a:gd name="T16" fmla="*/ 2 w 7"/>
                  <a:gd name="T17" fmla="*/ 9 h 14"/>
                  <a:gd name="T18" fmla="*/ 1 w 7"/>
                  <a:gd name="T19" fmla="*/ 12 h 14"/>
                  <a:gd name="T20" fmla="*/ 0 w 7"/>
                  <a:gd name="T21" fmla="*/ 13 h 14"/>
                  <a:gd name="T22" fmla="*/ 2 w 7"/>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4">
                    <a:moveTo>
                      <a:pt x="2" y="14"/>
                    </a:moveTo>
                    <a:cubicBezTo>
                      <a:pt x="3" y="14"/>
                      <a:pt x="2" y="14"/>
                      <a:pt x="3" y="14"/>
                    </a:cubicBezTo>
                    <a:cubicBezTo>
                      <a:pt x="4" y="13"/>
                      <a:pt x="7" y="11"/>
                      <a:pt x="6" y="10"/>
                    </a:cubicBezTo>
                    <a:cubicBezTo>
                      <a:pt x="6" y="10"/>
                      <a:pt x="5" y="9"/>
                      <a:pt x="5" y="9"/>
                    </a:cubicBezTo>
                    <a:cubicBezTo>
                      <a:pt x="4" y="8"/>
                      <a:pt x="4" y="6"/>
                      <a:pt x="5" y="5"/>
                    </a:cubicBezTo>
                    <a:cubicBezTo>
                      <a:pt x="6" y="4"/>
                      <a:pt x="6" y="5"/>
                      <a:pt x="6" y="6"/>
                    </a:cubicBezTo>
                    <a:cubicBezTo>
                      <a:pt x="7" y="4"/>
                      <a:pt x="5" y="0"/>
                      <a:pt x="3" y="2"/>
                    </a:cubicBezTo>
                    <a:cubicBezTo>
                      <a:pt x="3" y="3"/>
                      <a:pt x="3" y="4"/>
                      <a:pt x="3" y="5"/>
                    </a:cubicBezTo>
                    <a:cubicBezTo>
                      <a:pt x="3" y="6"/>
                      <a:pt x="2" y="8"/>
                      <a:pt x="2" y="9"/>
                    </a:cubicBezTo>
                    <a:cubicBezTo>
                      <a:pt x="2" y="10"/>
                      <a:pt x="1" y="11"/>
                      <a:pt x="1" y="12"/>
                    </a:cubicBezTo>
                    <a:cubicBezTo>
                      <a:pt x="0" y="12"/>
                      <a:pt x="0" y="13"/>
                      <a:pt x="0" y="13"/>
                    </a:cubicBezTo>
                    <a:cubicBezTo>
                      <a:pt x="1" y="13"/>
                      <a:pt x="1"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643" name="Group 2588">
              <a:extLst>
                <a:ext uri="{FF2B5EF4-FFF2-40B4-BE49-F238E27FC236}">
                  <a16:creationId xmlns:a16="http://schemas.microsoft.com/office/drawing/2014/main" id="{94674E3B-7AEF-43F8-9532-F52433BBE93E}"/>
                </a:ext>
              </a:extLst>
            </p:cNvPr>
            <p:cNvGrpSpPr>
              <a:grpSpLocks/>
            </p:cNvGrpSpPr>
            <p:nvPr/>
          </p:nvGrpSpPr>
          <p:grpSpPr bwMode="auto">
            <a:xfrm>
              <a:off x="3301" y="1033"/>
              <a:ext cx="4594" cy="3168"/>
              <a:chOff x="3301" y="1033"/>
              <a:chExt cx="4594" cy="3168"/>
            </a:xfrm>
            <a:grpFill/>
          </p:grpSpPr>
          <p:sp>
            <p:nvSpPr>
              <p:cNvPr id="2269" name="Freeform 2388">
                <a:extLst>
                  <a:ext uri="{FF2B5EF4-FFF2-40B4-BE49-F238E27FC236}">
                    <a16:creationId xmlns:a16="http://schemas.microsoft.com/office/drawing/2014/main" id="{04DF8357-7D42-4C3C-BE75-AD2C74A25759}"/>
                  </a:ext>
                </a:extLst>
              </p:cNvPr>
              <p:cNvSpPr>
                <a:spLocks/>
              </p:cNvSpPr>
              <p:nvPr/>
            </p:nvSpPr>
            <p:spPr bwMode="auto">
              <a:xfrm>
                <a:off x="5968" y="2845"/>
                <a:ext cx="9" cy="12"/>
              </a:xfrm>
              <a:custGeom>
                <a:avLst/>
                <a:gdLst>
                  <a:gd name="T0" fmla="*/ 0 w 4"/>
                  <a:gd name="T1" fmla="*/ 0 h 5"/>
                  <a:gd name="T2" fmla="*/ 3 w 4"/>
                  <a:gd name="T3" fmla="*/ 5 h 5"/>
                  <a:gd name="T4" fmla="*/ 2 w 4"/>
                  <a:gd name="T5" fmla="*/ 4 h 5"/>
                  <a:gd name="T6" fmla="*/ 0 w 4"/>
                  <a:gd name="T7" fmla="*/ 0 h 5"/>
                </a:gdLst>
                <a:ahLst/>
                <a:cxnLst>
                  <a:cxn ang="0">
                    <a:pos x="T0" y="T1"/>
                  </a:cxn>
                  <a:cxn ang="0">
                    <a:pos x="T2" y="T3"/>
                  </a:cxn>
                  <a:cxn ang="0">
                    <a:pos x="T4" y="T5"/>
                  </a:cxn>
                  <a:cxn ang="0">
                    <a:pos x="T6" y="T7"/>
                  </a:cxn>
                </a:cxnLst>
                <a:rect l="0" t="0" r="r" b="b"/>
                <a:pathLst>
                  <a:path w="4" h="5">
                    <a:moveTo>
                      <a:pt x="0" y="0"/>
                    </a:moveTo>
                    <a:cubicBezTo>
                      <a:pt x="1" y="2"/>
                      <a:pt x="2" y="4"/>
                      <a:pt x="3" y="5"/>
                    </a:cubicBezTo>
                    <a:cubicBezTo>
                      <a:pt x="3" y="5"/>
                      <a:pt x="2" y="4"/>
                      <a:pt x="2" y="4"/>
                    </a:cubicBezTo>
                    <a:cubicBezTo>
                      <a:pt x="4" y="3"/>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0" name="Freeform 2389">
                <a:extLst>
                  <a:ext uri="{FF2B5EF4-FFF2-40B4-BE49-F238E27FC236}">
                    <a16:creationId xmlns:a16="http://schemas.microsoft.com/office/drawing/2014/main" id="{A0660852-29AF-47EA-A154-852E211F20B2}"/>
                  </a:ext>
                </a:extLst>
              </p:cNvPr>
              <p:cNvSpPr>
                <a:spLocks/>
              </p:cNvSpPr>
              <p:nvPr/>
            </p:nvSpPr>
            <p:spPr bwMode="auto">
              <a:xfrm>
                <a:off x="6358" y="2859"/>
                <a:ext cx="2" cy="7"/>
              </a:xfrm>
              <a:custGeom>
                <a:avLst/>
                <a:gdLst>
                  <a:gd name="T0" fmla="*/ 0 w 1"/>
                  <a:gd name="T1" fmla="*/ 1 h 3"/>
                  <a:gd name="T2" fmla="*/ 0 w 1"/>
                  <a:gd name="T3" fmla="*/ 1 h 3"/>
                  <a:gd name="T4" fmla="*/ 0 w 1"/>
                  <a:gd name="T5" fmla="*/ 1 h 3"/>
                  <a:gd name="T6" fmla="*/ 1 w 1"/>
                  <a:gd name="T7" fmla="*/ 3 h 3"/>
                  <a:gd name="T8" fmla="*/ 1 w 1"/>
                  <a:gd name="T9" fmla="*/ 0 h 3"/>
                  <a:gd name="T10" fmla="*/ 0 w 1"/>
                  <a:gd name="T11" fmla="*/ 1 h 3"/>
                </a:gdLst>
                <a:ahLst/>
                <a:cxnLst>
                  <a:cxn ang="0">
                    <a:pos x="T0" y="T1"/>
                  </a:cxn>
                  <a:cxn ang="0">
                    <a:pos x="T2" y="T3"/>
                  </a:cxn>
                  <a:cxn ang="0">
                    <a:pos x="T4" y="T5"/>
                  </a:cxn>
                  <a:cxn ang="0">
                    <a:pos x="T6" y="T7"/>
                  </a:cxn>
                  <a:cxn ang="0">
                    <a:pos x="T8" y="T9"/>
                  </a:cxn>
                  <a:cxn ang="0">
                    <a:pos x="T10" y="T11"/>
                  </a:cxn>
                </a:cxnLst>
                <a:rect l="0" t="0" r="r" b="b"/>
                <a:pathLst>
                  <a:path w="1" h="3">
                    <a:moveTo>
                      <a:pt x="0" y="1"/>
                    </a:moveTo>
                    <a:cubicBezTo>
                      <a:pt x="0" y="1"/>
                      <a:pt x="0" y="1"/>
                      <a:pt x="0" y="1"/>
                    </a:cubicBezTo>
                    <a:cubicBezTo>
                      <a:pt x="0" y="1"/>
                      <a:pt x="0" y="1"/>
                      <a:pt x="0" y="1"/>
                    </a:cubicBezTo>
                    <a:cubicBezTo>
                      <a:pt x="0" y="1"/>
                      <a:pt x="0" y="2"/>
                      <a:pt x="1" y="3"/>
                    </a:cubicBezTo>
                    <a:cubicBezTo>
                      <a:pt x="1" y="2"/>
                      <a:pt x="1" y="1"/>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1" name="Freeform 2390">
                <a:extLst>
                  <a:ext uri="{FF2B5EF4-FFF2-40B4-BE49-F238E27FC236}">
                    <a16:creationId xmlns:a16="http://schemas.microsoft.com/office/drawing/2014/main" id="{821136DB-53B6-417F-BDCB-03A6A2D300B5}"/>
                  </a:ext>
                </a:extLst>
              </p:cNvPr>
              <p:cNvSpPr>
                <a:spLocks/>
              </p:cNvSpPr>
              <p:nvPr/>
            </p:nvSpPr>
            <p:spPr bwMode="auto">
              <a:xfrm>
                <a:off x="6788" y="2909"/>
                <a:ext cx="17" cy="23"/>
              </a:xfrm>
              <a:custGeom>
                <a:avLst/>
                <a:gdLst>
                  <a:gd name="T0" fmla="*/ 6 w 7"/>
                  <a:gd name="T1" fmla="*/ 6 h 10"/>
                  <a:gd name="T2" fmla="*/ 5 w 7"/>
                  <a:gd name="T3" fmla="*/ 1 h 10"/>
                  <a:gd name="T4" fmla="*/ 5 w 7"/>
                  <a:gd name="T5" fmla="*/ 0 h 10"/>
                  <a:gd name="T6" fmla="*/ 4 w 7"/>
                  <a:gd name="T7" fmla="*/ 0 h 10"/>
                  <a:gd name="T8" fmla="*/ 4 w 7"/>
                  <a:gd name="T9" fmla="*/ 1 h 10"/>
                  <a:gd name="T10" fmla="*/ 3 w 7"/>
                  <a:gd name="T11" fmla="*/ 1 h 10"/>
                  <a:gd name="T12" fmla="*/ 2 w 7"/>
                  <a:gd name="T13" fmla="*/ 2 h 10"/>
                  <a:gd name="T14" fmla="*/ 1 w 7"/>
                  <a:gd name="T15" fmla="*/ 3 h 10"/>
                  <a:gd name="T16" fmla="*/ 2 w 7"/>
                  <a:gd name="T17" fmla="*/ 4 h 10"/>
                  <a:gd name="T18" fmla="*/ 2 w 7"/>
                  <a:gd name="T19" fmla="*/ 5 h 10"/>
                  <a:gd name="T20" fmla="*/ 1 w 7"/>
                  <a:gd name="T21" fmla="*/ 7 h 10"/>
                  <a:gd name="T22" fmla="*/ 5 w 7"/>
                  <a:gd name="T23" fmla="*/ 9 h 10"/>
                  <a:gd name="T24" fmla="*/ 6 w 7"/>
                  <a:gd name="T25" fmla="*/ 8 h 10"/>
                  <a:gd name="T26" fmla="*/ 6 w 7"/>
                  <a:gd name="T2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0">
                    <a:moveTo>
                      <a:pt x="6" y="6"/>
                    </a:moveTo>
                    <a:cubicBezTo>
                      <a:pt x="6" y="4"/>
                      <a:pt x="7" y="2"/>
                      <a:pt x="5" y="1"/>
                    </a:cubicBezTo>
                    <a:cubicBezTo>
                      <a:pt x="5" y="0"/>
                      <a:pt x="5" y="0"/>
                      <a:pt x="5" y="0"/>
                    </a:cubicBezTo>
                    <a:cubicBezTo>
                      <a:pt x="3" y="0"/>
                      <a:pt x="4" y="0"/>
                      <a:pt x="4" y="0"/>
                    </a:cubicBezTo>
                    <a:cubicBezTo>
                      <a:pt x="3" y="1"/>
                      <a:pt x="4" y="1"/>
                      <a:pt x="4" y="1"/>
                    </a:cubicBezTo>
                    <a:cubicBezTo>
                      <a:pt x="4" y="1"/>
                      <a:pt x="3" y="1"/>
                      <a:pt x="3" y="1"/>
                    </a:cubicBezTo>
                    <a:cubicBezTo>
                      <a:pt x="3" y="2"/>
                      <a:pt x="3" y="2"/>
                      <a:pt x="2" y="2"/>
                    </a:cubicBezTo>
                    <a:cubicBezTo>
                      <a:pt x="1" y="3"/>
                      <a:pt x="0" y="3"/>
                      <a:pt x="1" y="3"/>
                    </a:cubicBezTo>
                    <a:cubicBezTo>
                      <a:pt x="2" y="4"/>
                      <a:pt x="2" y="3"/>
                      <a:pt x="2" y="4"/>
                    </a:cubicBezTo>
                    <a:cubicBezTo>
                      <a:pt x="2" y="4"/>
                      <a:pt x="2" y="4"/>
                      <a:pt x="2" y="5"/>
                    </a:cubicBezTo>
                    <a:cubicBezTo>
                      <a:pt x="2" y="5"/>
                      <a:pt x="1" y="7"/>
                      <a:pt x="1" y="7"/>
                    </a:cubicBezTo>
                    <a:cubicBezTo>
                      <a:pt x="1" y="8"/>
                      <a:pt x="4" y="10"/>
                      <a:pt x="5" y="9"/>
                    </a:cubicBezTo>
                    <a:cubicBezTo>
                      <a:pt x="6" y="9"/>
                      <a:pt x="7" y="7"/>
                      <a:pt x="6" y="8"/>
                    </a:cubicBezTo>
                    <a:cubicBezTo>
                      <a:pt x="7" y="7"/>
                      <a:pt x="6"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2" name="Freeform 2391">
                <a:extLst>
                  <a:ext uri="{FF2B5EF4-FFF2-40B4-BE49-F238E27FC236}">
                    <a16:creationId xmlns:a16="http://schemas.microsoft.com/office/drawing/2014/main" id="{A94E2024-30A0-4679-9CD1-A5D210F6A4E0}"/>
                  </a:ext>
                </a:extLst>
              </p:cNvPr>
              <p:cNvSpPr>
                <a:spLocks/>
              </p:cNvSpPr>
              <p:nvPr/>
            </p:nvSpPr>
            <p:spPr bwMode="auto">
              <a:xfrm>
                <a:off x="6698" y="2788"/>
                <a:ext cx="5" cy="2"/>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1" y="0"/>
                      <a:pt x="1"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3" name="Freeform 2392">
                <a:extLst>
                  <a:ext uri="{FF2B5EF4-FFF2-40B4-BE49-F238E27FC236}">
                    <a16:creationId xmlns:a16="http://schemas.microsoft.com/office/drawing/2014/main" id="{4AF00605-0B10-4A46-B5DC-C5AE1F1D7680}"/>
                  </a:ext>
                </a:extLst>
              </p:cNvPr>
              <p:cNvSpPr>
                <a:spLocks/>
              </p:cNvSpPr>
              <p:nvPr/>
            </p:nvSpPr>
            <p:spPr bwMode="auto">
              <a:xfrm>
                <a:off x="6514" y="2805"/>
                <a:ext cx="19" cy="14"/>
              </a:xfrm>
              <a:custGeom>
                <a:avLst/>
                <a:gdLst>
                  <a:gd name="T0" fmla="*/ 5 w 8"/>
                  <a:gd name="T1" fmla="*/ 2 h 6"/>
                  <a:gd name="T2" fmla="*/ 4 w 8"/>
                  <a:gd name="T3" fmla="*/ 0 h 6"/>
                  <a:gd name="T4" fmla="*/ 3 w 8"/>
                  <a:gd name="T5" fmla="*/ 0 h 6"/>
                  <a:gd name="T6" fmla="*/ 1 w 8"/>
                  <a:gd name="T7" fmla="*/ 1 h 6"/>
                  <a:gd name="T8" fmla="*/ 0 w 8"/>
                  <a:gd name="T9" fmla="*/ 3 h 6"/>
                  <a:gd name="T10" fmla="*/ 4 w 8"/>
                  <a:gd name="T11" fmla="*/ 2 h 6"/>
                  <a:gd name="T12" fmla="*/ 4 w 8"/>
                  <a:gd name="T13" fmla="*/ 3 h 6"/>
                  <a:gd name="T14" fmla="*/ 5 w 8"/>
                  <a:gd name="T15" fmla="*/ 5 h 6"/>
                  <a:gd name="T16" fmla="*/ 8 w 8"/>
                  <a:gd name="T17" fmla="*/ 1 h 6"/>
                  <a:gd name="T18" fmla="*/ 5 w 8"/>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5" y="2"/>
                    </a:moveTo>
                    <a:cubicBezTo>
                      <a:pt x="5" y="1"/>
                      <a:pt x="5" y="0"/>
                      <a:pt x="4" y="0"/>
                    </a:cubicBezTo>
                    <a:cubicBezTo>
                      <a:pt x="4" y="0"/>
                      <a:pt x="3" y="0"/>
                      <a:pt x="3" y="0"/>
                    </a:cubicBezTo>
                    <a:cubicBezTo>
                      <a:pt x="2" y="0"/>
                      <a:pt x="1" y="0"/>
                      <a:pt x="1" y="1"/>
                    </a:cubicBezTo>
                    <a:cubicBezTo>
                      <a:pt x="0" y="2"/>
                      <a:pt x="0" y="3"/>
                      <a:pt x="0" y="3"/>
                    </a:cubicBezTo>
                    <a:cubicBezTo>
                      <a:pt x="1" y="6"/>
                      <a:pt x="3" y="2"/>
                      <a:pt x="4" y="2"/>
                    </a:cubicBezTo>
                    <a:cubicBezTo>
                      <a:pt x="4" y="2"/>
                      <a:pt x="4" y="3"/>
                      <a:pt x="4" y="3"/>
                    </a:cubicBezTo>
                    <a:cubicBezTo>
                      <a:pt x="4" y="5"/>
                      <a:pt x="3" y="4"/>
                      <a:pt x="5" y="5"/>
                    </a:cubicBezTo>
                    <a:cubicBezTo>
                      <a:pt x="5" y="2"/>
                      <a:pt x="6" y="3"/>
                      <a:pt x="8" y="1"/>
                    </a:cubicBezTo>
                    <a:cubicBezTo>
                      <a:pt x="7" y="1"/>
                      <a:pt x="6" y="0"/>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4" name="Freeform 2393">
                <a:extLst>
                  <a:ext uri="{FF2B5EF4-FFF2-40B4-BE49-F238E27FC236}">
                    <a16:creationId xmlns:a16="http://schemas.microsoft.com/office/drawing/2014/main" id="{711EAB5F-2E97-4270-A2E5-A0D110283B5E}"/>
                  </a:ext>
                </a:extLst>
              </p:cNvPr>
              <p:cNvSpPr>
                <a:spLocks/>
              </p:cNvSpPr>
              <p:nvPr/>
            </p:nvSpPr>
            <p:spPr bwMode="auto">
              <a:xfrm>
                <a:off x="6651" y="2949"/>
                <a:ext cx="5" cy="2"/>
              </a:xfrm>
              <a:custGeom>
                <a:avLst/>
                <a:gdLst>
                  <a:gd name="T0" fmla="*/ 2 w 2"/>
                  <a:gd name="T1" fmla="*/ 1 h 1"/>
                  <a:gd name="T2" fmla="*/ 2 w 2"/>
                  <a:gd name="T3" fmla="*/ 0 h 1"/>
                  <a:gd name="T4" fmla="*/ 2 w 2"/>
                  <a:gd name="T5" fmla="*/ 1 h 1"/>
                </a:gdLst>
                <a:ahLst/>
                <a:cxnLst>
                  <a:cxn ang="0">
                    <a:pos x="T0" y="T1"/>
                  </a:cxn>
                  <a:cxn ang="0">
                    <a:pos x="T2" y="T3"/>
                  </a:cxn>
                  <a:cxn ang="0">
                    <a:pos x="T4" y="T5"/>
                  </a:cxn>
                </a:cxnLst>
                <a:rect l="0" t="0" r="r" b="b"/>
                <a:pathLst>
                  <a:path w="2" h="1">
                    <a:moveTo>
                      <a:pt x="2" y="1"/>
                    </a:moveTo>
                    <a:cubicBezTo>
                      <a:pt x="2" y="1"/>
                      <a:pt x="2" y="0"/>
                      <a:pt x="2" y="0"/>
                    </a:cubicBezTo>
                    <a:cubicBezTo>
                      <a:pt x="0" y="0"/>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5" name="Freeform 2394">
                <a:extLst>
                  <a:ext uri="{FF2B5EF4-FFF2-40B4-BE49-F238E27FC236}">
                    <a16:creationId xmlns:a16="http://schemas.microsoft.com/office/drawing/2014/main" id="{0ED442FE-3002-4153-BC29-ACBB28988DAA}"/>
                  </a:ext>
                </a:extLst>
              </p:cNvPr>
              <p:cNvSpPr>
                <a:spLocks/>
              </p:cNvSpPr>
              <p:nvPr/>
            </p:nvSpPr>
            <p:spPr bwMode="auto">
              <a:xfrm>
                <a:off x="6625" y="2809"/>
                <a:ext cx="19" cy="10"/>
              </a:xfrm>
              <a:custGeom>
                <a:avLst/>
                <a:gdLst>
                  <a:gd name="T0" fmla="*/ 3 w 8"/>
                  <a:gd name="T1" fmla="*/ 4 h 4"/>
                  <a:gd name="T2" fmla="*/ 6 w 8"/>
                  <a:gd name="T3" fmla="*/ 4 h 4"/>
                  <a:gd name="T4" fmla="*/ 6 w 8"/>
                  <a:gd name="T5" fmla="*/ 2 h 4"/>
                  <a:gd name="T6" fmla="*/ 1 w 8"/>
                  <a:gd name="T7" fmla="*/ 1 h 4"/>
                  <a:gd name="T8" fmla="*/ 0 w 8"/>
                  <a:gd name="T9" fmla="*/ 3 h 4"/>
                  <a:gd name="T10" fmla="*/ 3 w 8"/>
                  <a:gd name="T11" fmla="*/ 4 h 4"/>
                </a:gdLst>
                <a:ahLst/>
                <a:cxnLst>
                  <a:cxn ang="0">
                    <a:pos x="T0" y="T1"/>
                  </a:cxn>
                  <a:cxn ang="0">
                    <a:pos x="T2" y="T3"/>
                  </a:cxn>
                  <a:cxn ang="0">
                    <a:pos x="T4" y="T5"/>
                  </a:cxn>
                  <a:cxn ang="0">
                    <a:pos x="T6" y="T7"/>
                  </a:cxn>
                  <a:cxn ang="0">
                    <a:pos x="T8" y="T9"/>
                  </a:cxn>
                  <a:cxn ang="0">
                    <a:pos x="T10" y="T11"/>
                  </a:cxn>
                </a:cxnLst>
                <a:rect l="0" t="0" r="r" b="b"/>
                <a:pathLst>
                  <a:path w="8" h="4">
                    <a:moveTo>
                      <a:pt x="3" y="4"/>
                    </a:moveTo>
                    <a:cubicBezTo>
                      <a:pt x="4" y="4"/>
                      <a:pt x="5" y="4"/>
                      <a:pt x="6" y="4"/>
                    </a:cubicBezTo>
                    <a:cubicBezTo>
                      <a:pt x="8" y="4"/>
                      <a:pt x="8" y="4"/>
                      <a:pt x="6" y="2"/>
                    </a:cubicBezTo>
                    <a:cubicBezTo>
                      <a:pt x="4" y="0"/>
                      <a:pt x="3" y="0"/>
                      <a:pt x="1" y="1"/>
                    </a:cubicBezTo>
                    <a:cubicBezTo>
                      <a:pt x="0" y="1"/>
                      <a:pt x="0" y="3"/>
                      <a:pt x="0" y="3"/>
                    </a:cubicBezTo>
                    <a:cubicBezTo>
                      <a:pt x="1" y="4"/>
                      <a:pt x="2"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6" name="Freeform 2395">
                <a:extLst>
                  <a:ext uri="{FF2B5EF4-FFF2-40B4-BE49-F238E27FC236}">
                    <a16:creationId xmlns:a16="http://schemas.microsoft.com/office/drawing/2014/main" id="{7B0FF9F4-D0B4-4AD5-AA7A-FF9F1C9EDEAB}"/>
                  </a:ext>
                </a:extLst>
              </p:cNvPr>
              <p:cNvSpPr>
                <a:spLocks/>
              </p:cNvSpPr>
              <p:nvPr/>
            </p:nvSpPr>
            <p:spPr bwMode="auto">
              <a:xfrm>
                <a:off x="5892" y="2741"/>
                <a:ext cx="21" cy="23"/>
              </a:xfrm>
              <a:custGeom>
                <a:avLst/>
                <a:gdLst>
                  <a:gd name="T0" fmla="*/ 3 w 9"/>
                  <a:gd name="T1" fmla="*/ 0 h 10"/>
                  <a:gd name="T2" fmla="*/ 0 w 9"/>
                  <a:gd name="T3" fmla="*/ 1 h 10"/>
                  <a:gd name="T4" fmla="*/ 5 w 9"/>
                  <a:gd name="T5" fmla="*/ 6 h 10"/>
                  <a:gd name="T6" fmla="*/ 8 w 9"/>
                  <a:gd name="T7" fmla="*/ 10 h 10"/>
                  <a:gd name="T8" fmla="*/ 9 w 9"/>
                  <a:gd name="T9" fmla="*/ 8 h 10"/>
                  <a:gd name="T10" fmla="*/ 8 w 9"/>
                  <a:gd name="T11" fmla="*/ 5 h 10"/>
                  <a:gd name="T12" fmla="*/ 3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0"/>
                    </a:moveTo>
                    <a:cubicBezTo>
                      <a:pt x="3" y="1"/>
                      <a:pt x="1" y="1"/>
                      <a:pt x="0" y="1"/>
                    </a:cubicBezTo>
                    <a:cubicBezTo>
                      <a:pt x="2" y="2"/>
                      <a:pt x="3" y="5"/>
                      <a:pt x="5" y="6"/>
                    </a:cubicBezTo>
                    <a:cubicBezTo>
                      <a:pt x="6" y="7"/>
                      <a:pt x="7" y="9"/>
                      <a:pt x="8" y="10"/>
                    </a:cubicBezTo>
                    <a:cubicBezTo>
                      <a:pt x="9" y="9"/>
                      <a:pt x="9" y="8"/>
                      <a:pt x="9" y="8"/>
                    </a:cubicBezTo>
                    <a:cubicBezTo>
                      <a:pt x="9" y="6"/>
                      <a:pt x="9" y="6"/>
                      <a:pt x="8" y="5"/>
                    </a:cubicBezTo>
                    <a:cubicBezTo>
                      <a:pt x="7" y="3"/>
                      <a:pt x="5"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7" name="Freeform 2396">
                <a:extLst>
                  <a:ext uri="{FF2B5EF4-FFF2-40B4-BE49-F238E27FC236}">
                    <a16:creationId xmlns:a16="http://schemas.microsoft.com/office/drawing/2014/main" id="{907A2891-1241-4A2B-83ED-B1B0B16F571D}"/>
                  </a:ext>
                </a:extLst>
              </p:cNvPr>
              <p:cNvSpPr>
                <a:spLocks/>
              </p:cNvSpPr>
              <p:nvPr/>
            </p:nvSpPr>
            <p:spPr bwMode="auto">
              <a:xfrm>
                <a:off x="6793" y="2826"/>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8" name="Freeform 2397">
                <a:extLst>
                  <a:ext uri="{FF2B5EF4-FFF2-40B4-BE49-F238E27FC236}">
                    <a16:creationId xmlns:a16="http://schemas.microsoft.com/office/drawing/2014/main" id="{9E87B386-514F-4769-AE0C-9C734F6D7BBB}"/>
                  </a:ext>
                </a:extLst>
              </p:cNvPr>
              <p:cNvSpPr>
                <a:spLocks/>
              </p:cNvSpPr>
              <p:nvPr/>
            </p:nvSpPr>
            <p:spPr bwMode="auto">
              <a:xfrm>
                <a:off x="6623" y="2757"/>
                <a:ext cx="2"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0"/>
                      <a:pt x="0" y="0"/>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9" name="Freeform 2398">
                <a:extLst>
                  <a:ext uri="{FF2B5EF4-FFF2-40B4-BE49-F238E27FC236}">
                    <a16:creationId xmlns:a16="http://schemas.microsoft.com/office/drawing/2014/main" id="{0D5F80D8-972E-45F5-8E4A-F3020C7AAC6D}"/>
                  </a:ext>
                </a:extLst>
              </p:cNvPr>
              <p:cNvSpPr>
                <a:spLocks/>
              </p:cNvSpPr>
              <p:nvPr/>
            </p:nvSpPr>
            <p:spPr bwMode="auto">
              <a:xfrm>
                <a:off x="6623" y="2786"/>
                <a:ext cx="14" cy="12"/>
              </a:xfrm>
              <a:custGeom>
                <a:avLst/>
                <a:gdLst>
                  <a:gd name="T0" fmla="*/ 1 w 6"/>
                  <a:gd name="T1" fmla="*/ 2 h 5"/>
                  <a:gd name="T2" fmla="*/ 2 w 6"/>
                  <a:gd name="T3" fmla="*/ 3 h 5"/>
                  <a:gd name="T4" fmla="*/ 2 w 6"/>
                  <a:gd name="T5" fmla="*/ 4 h 5"/>
                  <a:gd name="T6" fmla="*/ 2 w 6"/>
                  <a:gd name="T7" fmla="*/ 5 h 5"/>
                  <a:gd name="T8" fmla="*/ 5 w 6"/>
                  <a:gd name="T9" fmla="*/ 5 h 5"/>
                  <a:gd name="T10" fmla="*/ 6 w 6"/>
                  <a:gd name="T11" fmla="*/ 5 h 5"/>
                  <a:gd name="T12" fmla="*/ 4 w 6"/>
                  <a:gd name="T13" fmla="*/ 4 h 5"/>
                  <a:gd name="T14" fmla="*/ 4 w 6"/>
                  <a:gd name="T15" fmla="*/ 3 h 5"/>
                  <a:gd name="T16" fmla="*/ 2 w 6"/>
                  <a:gd name="T17" fmla="*/ 0 h 5"/>
                  <a:gd name="T18" fmla="*/ 2 w 6"/>
                  <a:gd name="T19" fmla="*/ 1 h 5"/>
                  <a:gd name="T20" fmla="*/ 1 w 6"/>
                  <a:gd name="T21" fmla="*/ 0 h 5"/>
                  <a:gd name="T22" fmla="*/ 1 w 6"/>
                  <a:gd name="T2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1" y="2"/>
                    </a:moveTo>
                    <a:cubicBezTo>
                      <a:pt x="1" y="3"/>
                      <a:pt x="2" y="3"/>
                      <a:pt x="2" y="3"/>
                    </a:cubicBezTo>
                    <a:cubicBezTo>
                      <a:pt x="2" y="3"/>
                      <a:pt x="2" y="4"/>
                      <a:pt x="2" y="4"/>
                    </a:cubicBezTo>
                    <a:cubicBezTo>
                      <a:pt x="2" y="4"/>
                      <a:pt x="1" y="5"/>
                      <a:pt x="2" y="5"/>
                    </a:cubicBezTo>
                    <a:cubicBezTo>
                      <a:pt x="4" y="4"/>
                      <a:pt x="3" y="5"/>
                      <a:pt x="5" y="5"/>
                    </a:cubicBezTo>
                    <a:cubicBezTo>
                      <a:pt x="5" y="5"/>
                      <a:pt x="6" y="5"/>
                      <a:pt x="6" y="5"/>
                    </a:cubicBezTo>
                    <a:cubicBezTo>
                      <a:pt x="6" y="4"/>
                      <a:pt x="5" y="4"/>
                      <a:pt x="4" y="4"/>
                    </a:cubicBezTo>
                    <a:cubicBezTo>
                      <a:pt x="4" y="3"/>
                      <a:pt x="4" y="4"/>
                      <a:pt x="4" y="3"/>
                    </a:cubicBezTo>
                    <a:cubicBezTo>
                      <a:pt x="3" y="2"/>
                      <a:pt x="3" y="1"/>
                      <a:pt x="2" y="0"/>
                    </a:cubicBezTo>
                    <a:cubicBezTo>
                      <a:pt x="2" y="0"/>
                      <a:pt x="2" y="1"/>
                      <a:pt x="2" y="1"/>
                    </a:cubicBezTo>
                    <a:cubicBezTo>
                      <a:pt x="1" y="1"/>
                      <a:pt x="1" y="0"/>
                      <a:pt x="1" y="0"/>
                    </a:cubicBezTo>
                    <a:cubicBezTo>
                      <a:pt x="0" y="0"/>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0" name="Freeform 2399">
                <a:extLst>
                  <a:ext uri="{FF2B5EF4-FFF2-40B4-BE49-F238E27FC236}">
                    <a16:creationId xmlns:a16="http://schemas.microsoft.com/office/drawing/2014/main" id="{0A4D2A3D-027F-4250-939A-9025516DD2D9}"/>
                  </a:ext>
                </a:extLst>
              </p:cNvPr>
              <p:cNvSpPr>
                <a:spLocks/>
              </p:cNvSpPr>
              <p:nvPr/>
            </p:nvSpPr>
            <p:spPr bwMode="auto">
              <a:xfrm>
                <a:off x="6268" y="2916"/>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1" name="Freeform 2400">
                <a:extLst>
                  <a:ext uri="{FF2B5EF4-FFF2-40B4-BE49-F238E27FC236}">
                    <a16:creationId xmlns:a16="http://schemas.microsoft.com/office/drawing/2014/main" id="{1DA52356-324D-4846-B86F-A48DCAE61309}"/>
                  </a:ext>
                </a:extLst>
              </p:cNvPr>
              <p:cNvSpPr>
                <a:spLocks/>
              </p:cNvSpPr>
              <p:nvPr/>
            </p:nvSpPr>
            <p:spPr bwMode="auto">
              <a:xfrm>
                <a:off x="5847" y="2641"/>
                <a:ext cx="263" cy="280"/>
              </a:xfrm>
              <a:custGeom>
                <a:avLst/>
                <a:gdLst>
                  <a:gd name="T0" fmla="*/ 109 w 111"/>
                  <a:gd name="T1" fmla="*/ 116 h 118"/>
                  <a:gd name="T2" fmla="*/ 110 w 111"/>
                  <a:gd name="T3" fmla="*/ 98 h 118"/>
                  <a:gd name="T4" fmla="*/ 109 w 111"/>
                  <a:gd name="T5" fmla="*/ 93 h 118"/>
                  <a:gd name="T6" fmla="*/ 107 w 111"/>
                  <a:gd name="T7" fmla="*/ 82 h 118"/>
                  <a:gd name="T8" fmla="*/ 99 w 111"/>
                  <a:gd name="T9" fmla="*/ 81 h 118"/>
                  <a:gd name="T10" fmla="*/ 98 w 111"/>
                  <a:gd name="T11" fmla="*/ 83 h 118"/>
                  <a:gd name="T12" fmla="*/ 96 w 111"/>
                  <a:gd name="T13" fmla="*/ 82 h 118"/>
                  <a:gd name="T14" fmla="*/ 96 w 111"/>
                  <a:gd name="T15" fmla="*/ 78 h 118"/>
                  <a:gd name="T16" fmla="*/ 95 w 111"/>
                  <a:gd name="T17" fmla="*/ 74 h 118"/>
                  <a:gd name="T18" fmla="*/ 92 w 111"/>
                  <a:gd name="T19" fmla="*/ 68 h 118"/>
                  <a:gd name="T20" fmla="*/ 87 w 111"/>
                  <a:gd name="T21" fmla="*/ 67 h 118"/>
                  <a:gd name="T22" fmla="*/ 86 w 111"/>
                  <a:gd name="T23" fmla="*/ 62 h 118"/>
                  <a:gd name="T24" fmla="*/ 85 w 111"/>
                  <a:gd name="T25" fmla="*/ 60 h 118"/>
                  <a:gd name="T26" fmla="*/ 85 w 111"/>
                  <a:gd name="T27" fmla="*/ 58 h 118"/>
                  <a:gd name="T28" fmla="*/ 86 w 111"/>
                  <a:gd name="T29" fmla="*/ 58 h 118"/>
                  <a:gd name="T30" fmla="*/ 86 w 111"/>
                  <a:gd name="T31" fmla="*/ 54 h 118"/>
                  <a:gd name="T32" fmla="*/ 74 w 111"/>
                  <a:gd name="T33" fmla="*/ 55 h 118"/>
                  <a:gd name="T34" fmla="*/ 79 w 111"/>
                  <a:gd name="T35" fmla="*/ 54 h 118"/>
                  <a:gd name="T36" fmla="*/ 79 w 111"/>
                  <a:gd name="T37" fmla="*/ 50 h 118"/>
                  <a:gd name="T38" fmla="*/ 74 w 111"/>
                  <a:gd name="T39" fmla="*/ 49 h 118"/>
                  <a:gd name="T40" fmla="*/ 68 w 111"/>
                  <a:gd name="T41" fmla="*/ 41 h 118"/>
                  <a:gd name="T42" fmla="*/ 63 w 111"/>
                  <a:gd name="T43" fmla="*/ 39 h 118"/>
                  <a:gd name="T44" fmla="*/ 58 w 111"/>
                  <a:gd name="T45" fmla="*/ 35 h 118"/>
                  <a:gd name="T46" fmla="*/ 59 w 111"/>
                  <a:gd name="T47" fmla="*/ 39 h 118"/>
                  <a:gd name="T48" fmla="*/ 55 w 111"/>
                  <a:gd name="T49" fmla="*/ 35 h 118"/>
                  <a:gd name="T50" fmla="*/ 51 w 111"/>
                  <a:gd name="T51" fmla="*/ 31 h 118"/>
                  <a:gd name="T52" fmla="*/ 49 w 111"/>
                  <a:gd name="T53" fmla="*/ 30 h 118"/>
                  <a:gd name="T54" fmla="*/ 41 w 111"/>
                  <a:gd name="T55" fmla="*/ 21 h 118"/>
                  <a:gd name="T56" fmla="*/ 38 w 111"/>
                  <a:gd name="T57" fmla="*/ 21 h 118"/>
                  <a:gd name="T58" fmla="*/ 33 w 111"/>
                  <a:gd name="T59" fmla="*/ 21 h 118"/>
                  <a:gd name="T60" fmla="*/ 36 w 111"/>
                  <a:gd name="T61" fmla="*/ 18 h 118"/>
                  <a:gd name="T62" fmla="*/ 31 w 111"/>
                  <a:gd name="T63" fmla="*/ 15 h 118"/>
                  <a:gd name="T64" fmla="*/ 29 w 111"/>
                  <a:gd name="T65" fmla="*/ 11 h 118"/>
                  <a:gd name="T66" fmla="*/ 24 w 111"/>
                  <a:gd name="T67" fmla="*/ 4 h 118"/>
                  <a:gd name="T68" fmla="*/ 19 w 111"/>
                  <a:gd name="T69" fmla="*/ 4 h 118"/>
                  <a:gd name="T70" fmla="*/ 4 w 111"/>
                  <a:gd name="T71" fmla="*/ 0 h 118"/>
                  <a:gd name="T72" fmla="*/ 1 w 111"/>
                  <a:gd name="T73" fmla="*/ 2 h 118"/>
                  <a:gd name="T74" fmla="*/ 15 w 111"/>
                  <a:gd name="T75" fmla="*/ 20 h 118"/>
                  <a:gd name="T76" fmla="*/ 23 w 111"/>
                  <a:gd name="T77" fmla="*/ 26 h 118"/>
                  <a:gd name="T78" fmla="*/ 25 w 111"/>
                  <a:gd name="T79" fmla="*/ 30 h 118"/>
                  <a:gd name="T80" fmla="*/ 28 w 111"/>
                  <a:gd name="T81" fmla="*/ 35 h 118"/>
                  <a:gd name="T82" fmla="*/ 36 w 111"/>
                  <a:gd name="T83" fmla="*/ 40 h 118"/>
                  <a:gd name="T84" fmla="*/ 37 w 111"/>
                  <a:gd name="T85" fmla="*/ 41 h 118"/>
                  <a:gd name="T86" fmla="*/ 40 w 111"/>
                  <a:gd name="T87" fmla="*/ 53 h 118"/>
                  <a:gd name="T88" fmla="*/ 46 w 111"/>
                  <a:gd name="T89" fmla="*/ 58 h 118"/>
                  <a:gd name="T90" fmla="*/ 57 w 111"/>
                  <a:gd name="T91" fmla="*/ 75 h 118"/>
                  <a:gd name="T92" fmla="*/ 65 w 111"/>
                  <a:gd name="T93" fmla="*/ 90 h 118"/>
                  <a:gd name="T94" fmla="*/ 73 w 111"/>
                  <a:gd name="T95" fmla="*/ 98 h 118"/>
                  <a:gd name="T96" fmla="*/ 84 w 111"/>
                  <a:gd name="T97" fmla="*/ 106 h 118"/>
                  <a:gd name="T98" fmla="*/ 95 w 111"/>
                  <a:gd name="T99" fmla="*/ 117 h 118"/>
                  <a:gd name="T100" fmla="*/ 97 w 111"/>
                  <a:gd name="T101" fmla="*/ 114 h 118"/>
                  <a:gd name="T102" fmla="*/ 100 w 111"/>
                  <a:gd name="T103" fmla="*/ 116 h 118"/>
                  <a:gd name="T104" fmla="*/ 104 w 111"/>
                  <a:gd name="T105" fmla="*/ 11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 h="118">
                    <a:moveTo>
                      <a:pt x="108" y="118"/>
                    </a:moveTo>
                    <a:cubicBezTo>
                      <a:pt x="108" y="117"/>
                      <a:pt x="109" y="116"/>
                      <a:pt x="109" y="116"/>
                    </a:cubicBezTo>
                    <a:cubicBezTo>
                      <a:pt x="109" y="111"/>
                      <a:pt x="109" y="107"/>
                      <a:pt x="109" y="102"/>
                    </a:cubicBezTo>
                    <a:cubicBezTo>
                      <a:pt x="109" y="100"/>
                      <a:pt x="109" y="100"/>
                      <a:pt x="110" y="98"/>
                    </a:cubicBezTo>
                    <a:cubicBezTo>
                      <a:pt x="110" y="97"/>
                      <a:pt x="110" y="97"/>
                      <a:pt x="110" y="96"/>
                    </a:cubicBezTo>
                    <a:cubicBezTo>
                      <a:pt x="110" y="95"/>
                      <a:pt x="108" y="95"/>
                      <a:pt x="109" y="93"/>
                    </a:cubicBezTo>
                    <a:cubicBezTo>
                      <a:pt x="110" y="92"/>
                      <a:pt x="111" y="91"/>
                      <a:pt x="111" y="91"/>
                    </a:cubicBezTo>
                    <a:cubicBezTo>
                      <a:pt x="111" y="87"/>
                      <a:pt x="109" y="85"/>
                      <a:pt x="107" y="82"/>
                    </a:cubicBezTo>
                    <a:cubicBezTo>
                      <a:pt x="106" y="81"/>
                      <a:pt x="104" y="82"/>
                      <a:pt x="103" y="81"/>
                    </a:cubicBezTo>
                    <a:cubicBezTo>
                      <a:pt x="102" y="81"/>
                      <a:pt x="100" y="81"/>
                      <a:pt x="99" y="81"/>
                    </a:cubicBezTo>
                    <a:cubicBezTo>
                      <a:pt x="99" y="81"/>
                      <a:pt x="98" y="82"/>
                      <a:pt x="98" y="82"/>
                    </a:cubicBezTo>
                    <a:cubicBezTo>
                      <a:pt x="98" y="82"/>
                      <a:pt x="98" y="83"/>
                      <a:pt x="98" y="83"/>
                    </a:cubicBezTo>
                    <a:cubicBezTo>
                      <a:pt x="97" y="84"/>
                      <a:pt x="97" y="85"/>
                      <a:pt x="96" y="86"/>
                    </a:cubicBezTo>
                    <a:cubicBezTo>
                      <a:pt x="96" y="83"/>
                      <a:pt x="99" y="84"/>
                      <a:pt x="96" y="82"/>
                    </a:cubicBezTo>
                    <a:cubicBezTo>
                      <a:pt x="97" y="81"/>
                      <a:pt x="98" y="81"/>
                      <a:pt x="98" y="81"/>
                    </a:cubicBezTo>
                    <a:cubicBezTo>
                      <a:pt x="100" y="79"/>
                      <a:pt x="96" y="79"/>
                      <a:pt x="96" y="78"/>
                    </a:cubicBezTo>
                    <a:cubicBezTo>
                      <a:pt x="95" y="77"/>
                      <a:pt x="95" y="77"/>
                      <a:pt x="95" y="76"/>
                    </a:cubicBezTo>
                    <a:cubicBezTo>
                      <a:pt x="95" y="75"/>
                      <a:pt x="96" y="75"/>
                      <a:pt x="95" y="74"/>
                    </a:cubicBezTo>
                    <a:cubicBezTo>
                      <a:pt x="95" y="72"/>
                      <a:pt x="95" y="71"/>
                      <a:pt x="94" y="69"/>
                    </a:cubicBezTo>
                    <a:cubicBezTo>
                      <a:pt x="94" y="67"/>
                      <a:pt x="93" y="68"/>
                      <a:pt x="92" y="68"/>
                    </a:cubicBezTo>
                    <a:cubicBezTo>
                      <a:pt x="91" y="68"/>
                      <a:pt x="90" y="68"/>
                      <a:pt x="90" y="67"/>
                    </a:cubicBezTo>
                    <a:cubicBezTo>
                      <a:pt x="89" y="67"/>
                      <a:pt x="88" y="67"/>
                      <a:pt x="87" y="67"/>
                    </a:cubicBezTo>
                    <a:cubicBezTo>
                      <a:pt x="85" y="66"/>
                      <a:pt x="84" y="64"/>
                      <a:pt x="84" y="62"/>
                    </a:cubicBezTo>
                    <a:cubicBezTo>
                      <a:pt x="84" y="63"/>
                      <a:pt x="85" y="62"/>
                      <a:pt x="86" y="62"/>
                    </a:cubicBezTo>
                    <a:cubicBezTo>
                      <a:pt x="85" y="61"/>
                      <a:pt x="84" y="61"/>
                      <a:pt x="83" y="61"/>
                    </a:cubicBezTo>
                    <a:cubicBezTo>
                      <a:pt x="84" y="61"/>
                      <a:pt x="85" y="60"/>
                      <a:pt x="85" y="60"/>
                    </a:cubicBezTo>
                    <a:cubicBezTo>
                      <a:pt x="84" y="60"/>
                      <a:pt x="84" y="60"/>
                      <a:pt x="83" y="60"/>
                    </a:cubicBezTo>
                    <a:cubicBezTo>
                      <a:pt x="84" y="60"/>
                      <a:pt x="84" y="59"/>
                      <a:pt x="85" y="58"/>
                    </a:cubicBezTo>
                    <a:cubicBezTo>
                      <a:pt x="86" y="58"/>
                      <a:pt x="86" y="58"/>
                      <a:pt x="86" y="58"/>
                    </a:cubicBezTo>
                    <a:cubicBezTo>
                      <a:pt x="86" y="57"/>
                      <a:pt x="86" y="58"/>
                      <a:pt x="86" y="58"/>
                    </a:cubicBezTo>
                    <a:cubicBezTo>
                      <a:pt x="87" y="58"/>
                      <a:pt x="88" y="58"/>
                      <a:pt x="88" y="57"/>
                    </a:cubicBezTo>
                    <a:cubicBezTo>
                      <a:pt x="88" y="57"/>
                      <a:pt x="88" y="53"/>
                      <a:pt x="86" y="54"/>
                    </a:cubicBezTo>
                    <a:cubicBezTo>
                      <a:pt x="86" y="53"/>
                      <a:pt x="85" y="52"/>
                      <a:pt x="84" y="52"/>
                    </a:cubicBezTo>
                    <a:cubicBezTo>
                      <a:pt x="81" y="51"/>
                      <a:pt x="77" y="58"/>
                      <a:pt x="74" y="55"/>
                    </a:cubicBezTo>
                    <a:cubicBezTo>
                      <a:pt x="76" y="55"/>
                      <a:pt x="76" y="55"/>
                      <a:pt x="77" y="55"/>
                    </a:cubicBezTo>
                    <a:cubicBezTo>
                      <a:pt x="78" y="54"/>
                      <a:pt x="78" y="54"/>
                      <a:pt x="79" y="54"/>
                    </a:cubicBezTo>
                    <a:cubicBezTo>
                      <a:pt x="79" y="54"/>
                      <a:pt x="81" y="53"/>
                      <a:pt x="81" y="53"/>
                    </a:cubicBezTo>
                    <a:cubicBezTo>
                      <a:pt x="81" y="52"/>
                      <a:pt x="80" y="50"/>
                      <a:pt x="79" y="50"/>
                    </a:cubicBezTo>
                    <a:cubicBezTo>
                      <a:pt x="78" y="50"/>
                      <a:pt x="77" y="50"/>
                      <a:pt x="75" y="50"/>
                    </a:cubicBezTo>
                    <a:cubicBezTo>
                      <a:pt x="74" y="49"/>
                      <a:pt x="74" y="49"/>
                      <a:pt x="74" y="49"/>
                    </a:cubicBezTo>
                    <a:cubicBezTo>
                      <a:pt x="72" y="48"/>
                      <a:pt x="72" y="47"/>
                      <a:pt x="71" y="45"/>
                    </a:cubicBezTo>
                    <a:cubicBezTo>
                      <a:pt x="71" y="44"/>
                      <a:pt x="69" y="43"/>
                      <a:pt x="68" y="41"/>
                    </a:cubicBezTo>
                    <a:cubicBezTo>
                      <a:pt x="67" y="40"/>
                      <a:pt x="66" y="40"/>
                      <a:pt x="64" y="40"/>
                    </a:cubicBezTo>
                    <a:cubicBezTo>
                      <a:pt x="63" y="40"/>
                      <a:pt x="64" y="40"/>
                      <a:pt x="63" y="39"/>
                    </a:cubicBezTo>
                    <a:cubicBezTo>
                      <a:pt x="63" y="38"/>
                      <a:pt x="62" y="37"/>
                      <a:pt x="62" y="37"/>
                    </a:cubicBezTo>
                    <a:cubicBezTo>
                      <a:pt x="61" y="35"/>
                      <a:pt x="60" y="35"/>
                      <a:pt x="58" y="35"/>
                    </a:cubicBezTo>
                    <a:cubicBezTo>
                      <a:pt x="57" y="34"/>
                      <a:pt x="57" y="35"/>
                      <a:pt x="58" y="36"/>
                    </a:cubicBezTo>
                    <a:cubicBezTo>
                      <a:pt x="58" y="37"/>
                      <a:pt x="59" y="37"/>
                      <a:pt x="59" y="39"/>
                    </a:cubicBezTo>
                    <a:cubicBezTo>
                      <a:pt x="58" y="38"/>
                      <a:pt x="58" y="37"/>
                      <a:pt x="58" y="37"/>
                    </a:cubicBezTo>
                    <a:cubicBezTo>
                      <a:pt x="57" y="36"/>
                      <a:pt x="56" y="36"/>
                      <a:pt x="55" y="35"/>
                    </a:cubicBezTo>
                    <a:cubicBezTo>
                      <a:pt x="54" y="35"/>
                      <a:pt x="54" y="34"/>
                      <a:pt x="54" y="34"/>
                    </a:cubicBezTo>
                    <a:cubicBezTo>
                      <a:pt x="52" y="32"/>
                      <a:pt x="53" y="31"/>
                      <a:pt x="51" y="31"/>
                    </a:cubicBezTo>
                    <a:cubicBezTo>
                      <a:pt x="51" y="31"/>
                      <a:pt x="51" y="31"/>
                      <a:pt x="51" y="32"/>
                    </a:cubicBezTo>
                    <a:cubicBezTo>
                      <a:pt x="50" y="31"/>
                      <a:pt x="50" y="31"/>
                      <a:pt x="49" y="30"/>
                    </a:cubicBezTo>
                    <a:cubicBezTo>
                      <a:pt x="49" y="29"/>
                      <a:pt x="50" y="28"/>
                      <a:pt x="48" y="27"/>
                    </a:cubicBezTo>
                    <a:cubicBezTo>
                      <a:pt x="46" y="25"/>
                      <a:pt x="43" y="23"/>
                      <a:pt x="41" y="21"/>
                    </a:cubicBezTo>
                    <a:cubicBezTo>
                      <a:pt x="40" y="21"/>
                      <a:pt x="39" y="21"/>
                      <a:pt x="38" y="20"/>
                    </a:cubicBezTo>
                    <a:cubicBezTo>
                      <a:pt x="38" y="20"/>
                      <a:pt x="38" y="21"/>
                      <a:pt x="38" y="21"/>
                    </a:cubicBezTo>
                    <a:cubicBezTo>
                      <a:pt x="38" y="22"/>
                      <a:pt x="37" y="24"/>
                      <a:pt x="36" y="24"/>
                    </a:cubicBezTo>
                    <a:cubicBezTo>
                      <a:pt x="34" y="24"/>
                      <a:pt x="33" y="22"/>
                      <a:pt x="33" y="21"/>
                    </a:cubicBezTo>
                    <a:cubicBezTo>
                      <a:pt x="33" y="19"/>
                      <a:pt x="34" y="18"/>
                      <a:pt x="36" y="18"/>
                    </a:cubicBezTo>
                    <a:cubicBezTo>
                      <a:pt x="36" y="18"/>
                      <a:pt x="36" y="18"/>
                      <a:pt x="36" y="18"/>
                    </a:cubicBezTo>
                    <a:cubicBezTo>
                      <a:pt x="35" y="17"/>
                      <a:pt x="34" y="17"/>
                      <a:pt x="33" y="16"/>
                    </a:cubicBezTo>
                    <a:cubicBezTo>
                      <a:pt x="32" y="16"/>
                      <a:pt x="31" y="15"/>
                      <a:pt x="31" y="15"/>
                    </a:cubicBezTo>
                    <a:cubicBezTo>
                      <a:pt x="31" y="15"/>
                      <a:pt x="32" y="14"/>
                      <a:pt x="31" y="13"/>
                    </a:cubicBezTo>
                    <a:cubicBezTo>
                      <a:pt x="31" y="13"/>
                      <a:pt x="30" y="11"/>
                      <a:pt x="29" y="11"/>
                    </a:cubicBezTo>
                    <a:cubicBezTo>
                      <a:pt x="28" y="11"/>
                      <a:pt x="29" y="9"/>
                      <a:pt x="28" y="8"/>
                    </a:cubicBezTo>
                    <a:cubicBezTo>
                      <a:pt x="28" y="7"/>
                      <a:pt x="26" y="5"/>
                      <a:pt x="24" y="4"/>
                    </a:cubicBezTo>
                    <a:cubicBezTo>
                      <a:pt x="23" y="3"/>
                      <a:pt x="23" y="4"/>
                      <a:pt x="22" y="4"/>
                    </a:cubicBezTo>
                    <a:cubicBezTo>
                      <a:pt x="20" y="5"/>
                      <a:pt x="20" y="5"/>
                      <a:pt x="19" y="4"/>
                    </a:cubicBezTo>
                    <a:cubicBezTo>
                      <a:pt x="18" y="3"/>
                      <a:pt x="16" y="4"/>
                      <a:pt x="14" y="4"/>
                    </a:cubicBezTo>
                    <a:cubicBezTo>
                      <a:pt x="10" y="4"/>
                      <a:pt x="8" y="1"/>
                      <a:pt x="4" y="0"/>
                    </a:cubicBezTo>
                    <a:cubicBezTo>
                      <a:pt x="3" y="0"/>
                      <a:pt x="2" y="0"/>
                      <a:pt x="1" y="0"/>
                    </a:cubicBezTo>
                    <a:cubicBezTo>
                      <a:pt x="0" y="1"/>
                      <a:pt x="0" y="1"/>
                      <a:pt x="1" y="2"/>
                    </a:cubicBezTo>
                    <a:cubicBezTo>
                      <a:pt x="1" y="4"/>
                      <a:pt x="2" y="5"/>
                      <a:pt x="3" y="7"/>
                    </a:cubicBezTo>
                    <a:cubicBezTo>
                      <a:pt x="6" y="12"/>
                      <a:pt x="10" y="17"/>
                      <a:pt x="15" y="20"/>
                    </a:cubicBezTo>
                    <a:cubicBezTo>
                      <a:pt x="17" y="20"/>
                      <a:pt x="18" y="21"/>
                      <a:pt x="19" y="22"/>
                    </a:cubicBezTo>
                    <a:cubicBezTo>
                      <a:pt x="20" y="23"/>
                      <a:pt x="22" y="25"/>
                      <a:pt x="23" y="26"/>
                    </a:cubicBezTo>
                    <a:cubicBezTo>
                      <a:pt x="23" y="27"/>
                      <a:pt x="24" y="28"/>
                      <a:pt x="25" y="28"/>
                    </a:cubicBezTo>
                    <a:cubicBezTo>
                      <a:pt x="25" y="29"/>
                      <a:pt x="25" y="30"/>
                      <a:pt x="25" y="30"/>
                    </a:cubicBezTo>
                    <a:cubicBezTo>
                      <a:pt x="25" y="31"/>
                      <a:pt x="25" y="33"/>
                      <a:pt x="26" y="34"/>
                    </a:cubicBezTo>
                    <a:cubicBezTo>
                      <a:pt x="27" y="34"/>
                      <a:pt x="27" y="34"/>
                      <a:pt x="28" y="35"/>
                    </a:cubicBezTo>
                    <a:cubicBezTo>
                      <a:pt x="30" y="35"/>
                      <a:pt x="31" y="36"/>
                      <a:pt x="32" y="36"/>
                    </a:cubicBezTo>
                    <a:cubicBezTo>
                      <a:pt x="34" y="37"/>
                      <a:pt x="35" y="38"/>
                      <a:pt x="36" y="40"/>
                    </a:cubicBezTo>
                    <a:cubicBezTo>
                      <a:pt x="36" y="39"/>
                      <a:pt x="36" y="39"/>
                      <a:pt x="36" y="39"/>
                    </a:cubicBezTo>
                    <a:cubicBezTo>
                      <a:pt x="37" y="39"/>
                      <a:pt x="37" y="40"/>
                      <a:pt x="37" y="41"/>
                    </a:cubicBezTo>
                    <a:cubicBezTo>
                      <a:pt x="37" y="43"/>
                      <a:pt x="37" y="44"/>
                      <a:pt x="38" y="46"/>
                    </a:cubicBezTo>
                    <a:cubicBezTo>
                      <a:pt x="39" y="48"/>
                      <a:pt x="39" y="51"/>
                      <a:pt x="40" y="53"/>
                    </a:cubicBezTo>
                    <a:cubicBezTo>
                      <a:pt x="41" y="55"/>
                      <a:pt x="42" y="55"/>
                      <a:pt x="44" y="56"/>
                    </a:cubicBezTo>
                    <a:cubicBezTo>
                      <a:pt x="45" y="56"/>
                      <a:pt x="45" y="57"/>
                      <a:pt x="46" y="58"/>
                    </a:cubicBezTo>
                    <a:cubicBezTo>
                      <a:pt x="48" y="61"/>
                      <a:pt x="52" y="64"/>
                      <a:pt x="53" y="68"/>
                    </a:cubicBezTo>
                    <a:cubicBezTo>
                      <a:pt x="53" y="71"/>
                      <a:pt x="56" y="73"/>
                      <a:pt x="57" y="75"/>
                    </a:cubicBezTo>
                    <a:cubicBezTo>
                      <a:pt x="58" y="78"/>
                      <a:pt x="59" y="80"/>
                      <a:pt x="60" y="82"/>
                    </a:cubicBezTo>
                    <a:cubicBezTo>
                      <a:pt x="60" y="85"/>
                      <a:pt x="63" y="87"/>
                      <a:pt x="65" y="90"/>
                    </a:cubicBezTo>
                    <a:cubicBezTo>
                      <a:pt x="67" y="92"/>
                      <a:pt x="70" y="94"/>
                      <a:pt x="72" y="95"/>
                    </a:cubicBezTo>
                    <a:cubicBezTo>
                      <a:pt x="73" y="96"/>
                      <a:pt x="72" y="98"/>
                      <a:pt x="73" y="98"/>
                    </a:cubicBezTo>
                    <a:cubicBezTo>
                      <a:pt x="74" y="99"/>
                      <a:pt x="76" y="100"/>
                      <a:pt x="77" y="101"/>
                    </a:cubicBezTo>
                    <a:cubicBezTo>
                      <a:pt x="79" y="103"/>
                      <a:pt x="82" y="105"/>
                      <a:pt x="84" y="106"/>
                    </a:cubicBezTo>
                    <a:cubicBezTo>
                      <a:pt x="86" y="108"/>
                      <a:pt x="88" y="110"/>
                      <a:pt x="90" y="112"/>
                    </a:cubicBezTo>
                    <a:cubicBezTo>
                      <a:pt x="92" y="113"/>
                      <a:pt x="93" y="115"/>
                      <a:pt x="95" y="117"/>
                    </a:cubicBezTo>
                    <a:cubicBezTo>
                      <a:pt x="95" y="117"/>
                      <a:pt x="96" y="118"/>
                      <a:pt x="97" y="118"/>
                    </a:cubicBezTo>
                    <a:cubicBezTo>
                      <a:pt x="97" y="117"/>
                      <a:pt x="95" y="113"/>
                      <a:pt x="97" y="114"/>
                    </a:cubicBezTo>
                    <a:cubicBezTo>
                      <a:pt x="98" y="114"/>
                      <a:pt x="98" y="115"/>
                      <a:pt x="99" y="115"/>
                    </a:cubicBezTo>
                    <a:cubicBezTo>
                      <a:pt x="99" y="115"/>
                      <a:pt x="100" y="115"/>
                      <a:pt x="100" y="116"/>
                    </a:cubicBezTo>
                    <a:cubicBezTo>
                      <a:pt x="101" y="116"/>
                      <a:pt x="102" y="117"/>
                      <a:pt x="102" y="116"/>
                    </a:cubicBezTo>
                    <a:cubicBezTo>
                      <a:pt x="103" y="115"/>
                      <a:pt x="103" y="114"/>
                      <a:pt x="104" y="114"/>
                    </a:cubicBezTo>
                    <a:cubicBezTo>
                      <a:pt x="105" y="114"/>
                      <a:pt x="107" y="117"/>
                      <a:pt x="108"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2" name="Freeform 2401">
                <a:extLst>
                  <a:ext uri="{FF2B5EF4-FFF2-40B4-BE49-F238E27FC236}">
                    <a16:creationId xmlns:a16="http://schemas.microsoft.com/office/drawing/2014/main" id="{4087B235-E17B-4F50-8BC2-F7ECD609131F}"/>
                  </a:ext>
                </a:extLst>
              </p:cNvPr>
              <p:cNvSpPr>
                <a:spLocks/>
              </p:cNvSpPr>
              <p:nvPr/>
            </p:nvSpPr>
            <p:spPr bwMode="auto">
              <a:xfrm>
                <a:off x="6819" y="2793"/>
                <a:ext cx="12" cy="5"/>
              </a:xfrm>
              <a:custGeom>
                <a:avLst/>
                <a:gdLst>
                  <a:gd name="T0" fmla="*/ 0 w 5"/>
                  <a:gd name="T1" fmla="*/ 0 h 2"/>
                  <a:gd name="T2" fmla="*/ 3 w 5"/>
                  <a:gd name="T3" fmla="*/ 2 h 2"/>
                  <a:gd name="T4" fmla="*/ 0 w 5"/>
                  <a:gd name="T5" fmla="*/ 0 h 2"/>
                </a:gdLst>
                <a:ahLst/>
                <a:cxnLst>
                  <a:cxn ang="0">
                    <a:pos x="T0" y="T1"/>
                  </a:cxn>
                  <a:cxn ang="0">
                    <a:pos x="T2" y="T3"/>
                  </a:cxn>
                  <a:cxn ang="0">
                    <a:pos x="T4" y="T5"/>
                  </a:cxn>
                </a:cxnLst>
                <a:rect l="0" t="0" r="r" b="b"/>
                <a:pathLst>
                  <a:path w="5" h="2">
                    <a:moveTo>
                      <a:pt x="0" y="0"/>
                    </a:moveTo>
                    <a:cubicBezTo>
                      <a:pt x="1" y="1"/>
                      <a:pt x="2" y="1"/>
                      <a:pt x="3" y="2"/>
                    </a:cubicBezTo>
                    <a:cubicBezTo>
                      <a:pt x="5"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3" name="Freeform 2402">
                <a:extLst>
                  <a:ext uri="{FF2B5EF4-FFF2-40B4-BE49-F238E27FC236}">
                    <a16:creationId xmlns:a16="http://schemas.microsoft.com/office/drawing/2014/main" id="{1E07AD10-9100-426A-9792-44CF3C463011}"/>
                  </a:ext>
                </a:extLst>
              </p:cNvPr>
              <p:cNvSpPr>
                <a:spLocks/>
              </p:cNvSpPr>
              <p:nvPr/>
            </p:nvSpPr>
            <p:spPr bwMode="auto">
              <a:xfrm>
                <a:off x="6625" y="2724"/>
                <a:ext cx="36" cy="76"/>
              </a:xfrm>
              <a:custGeom>
                <a:avLst/>
                <a:gdLst>
                  <a:gd name="T0" fmla="*/ 1 w 15"/>
                  <a:gd name="T1" fmla="*/ 9 h 32"/>
                  <a:gd name="T2" fmla="*/ 1 w 15"/>
                  <a:gd name="T3" fmla="*/ 12 h 32"/>
                  <a:gd name="T4" fmla="*/ 2 w 15"/>
                  <a:gd name="T5" fmla="*/ 14 h 32"/>
                  <a:gd name="T6" fmla="*/ 2 w 15"/>
                  <a:gd name="T7" fmla="*/ 16 h 32"/>
                  <a:gd name="T8" fmla="*/ 3 w 15"/>
                  <a:gd name="T9" fmla="*/ 20 h 32"/>
                  <a:gd name="T10" fmla="*/ 3 w 15"/>
                  <a:gd name="T11" fmla="*/ 25 h 32"/>
                  <a:gd name="T12" fmla="*/ 6 w 15"/>
                  <a:gd name="T13" fmla="*/ 29 h 32"/>
                  <a:gd name="T14" fmla="*/ 11 w 15"/>
                  <a:gd name="T15" fmla="*/ 32 h 32"/>
                  <a:gd name="T16" fmla="*/ 6 w 15"/>
                  <a:gd name="T17" fmla="*/ 23 h 32"/>
                  <a:gd name="T18" fmla="*/ 5 w 15"/>
                  <a:gd name="T19" fmla="*/ 20 h 32"/>
                  <a:gd name="T20" fmla="*/ 6 w 15"/>
                  <a:gd name="T21" fmla="*/ 18 h 32"/>
                  <a:gd name="T22" fmla="*/ 13 w 15"/>
                  <a:gd name="T23" fmla="*/ 19 h 32"/>
                  <a:gd name="T24" fmla="*/ 15 w 15"/>
                  <a:gd name="T25" fmla="*/ 20 h 32"/>
                  <a:gd name="T26" fmla="*/ 11 w 15"/>
                  <a:gd name="T27" fmla="*/ 16 h 32"/>
                  <a:gd name="T28" fmla="*/ 10 w 15"/>
                  <a:gd name="T29" fmla="*/ 16 h 32"/>
                  <a:gd name="T30" fmla="*/ 12 w 15"/>
                  <a:gd name="T31" fmla="*/ 12 h 32"/>
                  <a:gd name="T32" fmla="*/ 14 w 15"/>
                  <a:gd name="T33" fmla="*/ 10 h 32"/>
                  <a:gd name="T34" fmla="*/ 14 w 15"/>
                  <a:gd name="T35" fmla="*/ 9 h 32"/>
                  <a:gd name="T36" fmla="*/ 14 w 15"/>
                  <a:gd name="T37" fmla="*/ 7 h 32"/>
                  <a:gd name="T38" fmla="*/ 10 w 15"/>
                  <a:gd name="T39" fmla="*/ 7 h 32"/>
                  <a:gd name="T40" fmla="*/ 8 w 15"/>
                  <a:gd name="T41" fmla="*/ 8 h 32"/>
                  <a:gd name="T42" fmla="*/ 7 w 15"/>
                  <a:gd name="T43" fmla="*/ 9 h 32"/>
                  <a:gd name="T44" fmla="*/ 8 w 15"/>
                  <a:gd name="T45" fmla="*/ 11 h 32"/>
                  <a:gd name="T46" fmla="*/ 6 w 15"/>
                  <a:gd name="T47" fmla="*/ 12 h 32"/>
                  <a:gd name="T48" fmla="*/ 5 w 15"/>
                  <a:gd name="T49" fmla="*/ 14 h 32"/>
                  <a:gd name="T50" fmla="*/ 3 w 15"/>
                  <a:gd name="T51" fmla="*/ 13 h 32"/>
                  <a:gd name="T52" fmla="*/ 4 w 15"/>
                  <a:gd name="T53" fmla="*/ 11 h 32"/>
                  <a:gd name="T54" fmla="*/ 5 w 15"/>
                  <a:gd name="T55" fmla="*/ 11 h 32"/>
                  <a:gd name="T56" fmla="*/ 5 w 15"/>
                  <a:gd name="T57" fmla="*/ 10 h 32"/>
                  <a:gd name="T58" fmla="*/ 6 w 15"/>
                  <a:gd name="T59" fmla="*/ 9 h 32"/>
                  <a:gd name="T60" fmla="*/ 6 w 15"/>
                  <a:gd name="T61" fmla="*/ 4 h 32"/>
                  <a:gd name="T62" fmla="*/ 6 w 15"/>
                  <a:gd name="T63" fmla="*/ 2 h 32"/>
                  <a:gd name="T64" fmla="*/ 7 w 15"/>
                  <a:gd name="T65" fmla="*/ 0 h 32"/>
                  <a:gd name="T66" fmla="*/ 3 w 15"/>
                  <a:gd name="T67" fmla="*/ 2 h 32"/>
                  <a:gd name="T68" fmla="*/ 2 w 15"/>
                  <a:gd name="T69" fmla="*/ 5 h 32"/>
                  <a:gd name="T70" fmla="*/ 1 w 15"/>
                  <a:gd name="T71"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32">
                    <a:moveTo>
                      <a:pt x="1" y="9"/>
                    </a:moveTo>
                    <a:cubicBezTo>
                      <a:pt x="0" y="10"/>
                      <a:pt x="0" y="11"/>
                      <a:pt x="1" y="12"/>
                    </a:cubicBezTo>
                    <a:cubicBezTo>
                      <a:pt x="1" y="12"/>
                      <a:pt x="2" y="13"/>
                      <a:pt x="2" y="14"/>
                    </a:cubicBezTo>
                    <a:cubicBezTo>
                      <a:pt x="2" y="14"/>
                      <a:pt x="2" y="15"/>
                      <a:pt x="2" y="16"/>
                    </a:cubicBezTo>
                    <a:cubicBezTo>
                      <a:pt x="1" y="17"/>
                      <a:pt x="3" y="18"/>
                      <a:pt x="3" y="20"/>
                    </a:cubicBezTo>
                    <a:cubicBezTo>
                      <a:pt x="3" y="21"/>
                      <a:pt x="3" y="23"/>
                      <a:pt x="3" y="25"/>
                    </a:cubicBezTo>
                    <a:cubicBezTo>
                      <a:pt x="3" y="26"/>
                      <a:pt x="5" y="28"/>
                      <a:pt x="6" y="29"/>
                    </a:cubicBezTo>
                    <a:cubicBezTo>
                      <a:pt x="7" y="30"/>
                      <a:pt x="9" y="31"/>
                      <a:pt x="11" y="32"/>
                    </a:cubicBezTo>
                    <a:cubicBezTo>
                      <a:pt x="9" y="29"/>
                      <a:pt x="7" y="26"/>
                      <a:pt x="6" y="23"/>
                    </a:cubicBezTo>
                    <a:cubicBezTo>
                      <a:pt x="5" y="22"/>
                      <a:pt x="5" y="21"/>
                      <a:pt x="5" y="20"/>
                    </a:cubicBezTo>
                    <a:cubicBezTo>
                      <a:pt x="5" y="19"/>
                      <a:pt x="5" y="18"/>
                      <a:pt x="6" y="18"/>
                    </a:cubicBezTo>
                    <a:cubicBezTo>
                      <a:pt x="9" y="18"/>
                      <a:pt x="11" y="19"/>
                      <a:pt x="13" y="19"/>
                    </a:cubicBezTo>
                    <a:cubicBezTo>
                      <a:pt x="14" y="20"/>
                      <a:pt x="15" y="20"/>
                      <a:pt x="15" y="20"/>
                    </a:cubicBezTo>
                    <a:cubicBezTo>
                      <a:pt x="14" y="19"/>
                      <a:pt x="13" y="17"/>
                      <a:pt x="11" y="16"/>
                    </a:cubicBezTo>
                    <a:cubicBezTo>
                      <a:pt x="11" y="16"/>
                      <a:pt x="10" y="16"/>
                      <a:pt x="10" y="16"/>
                    </a:cubicBezTo>
                    <a:cubicBezTo>
                      <a:pt x="7" y="14"/>
                      <a:pt x="11" y="13"/>
                      <a:pt x="12" y="12"/>
                    </a:cubicBezTo>
                    <a:cubicBezTo>
                      <a:pt x="14" y="11"/>
                      <a:pt x="13" y="11"/>
                      <a:pt x="14" y="10"/>
                    </a:cubicBezTo>
                    <a:cubicBezTo>
                      <a:pt x="14" y="9"/>
                      <a:pt x="14" y="9"/>
                      <a:pt x="14" y="9"/>
                    </a:cubicBezTo>
                    <a:cubicBezTo>
                      <a:pt x="14" y="8"/>
                      <a:pt x="13" y="7"/>
                      <a:pt x="14" y="7"/>
                    </a:cubicBezTo>
                    <a:cubicBezTo>
                      <a:pt x="13" y="6"/>
                      <a:pt x="11" y="7"/>
                      <a:pt x="10" y="7"/>
                    </a:cubicBezTo>
                    <a:cubicBezTo>
                      <a:pt x="10" y="7"/>
                      <a:pt x="9" y="8"/>
                      <a:pt x="8" y="8"/>
                    </a:cubicBezTo>
                    <a:cubicBezTo>
                      <a:pt x="8" y="8"/>
                      <a:pt x="7" y="9"/>
                      <a:pt x="7" y="9"/>
                    </a:cubicBezTo>
                    <a:cubicBezTo>
                      <a:pt x="7" y="10"/>
                      <a:pt x="9" y="10"/>
                      <a:pt x="8" y="11"/>
                    </a:cubicBezTo>
                    <a:cubicBezTo>
                      <a:pt x="7" y="11"/>
                      <a:pt x="6" y="11"/>
                      <a:pt x="6" y="12"/>
                    </a:cubicBezTo>
                    <a:cubicBezTo>
                      <a:pt x="5" y="13"/>
                      <a:pt x="6" y="14"/>
                      <a:pt x="5" y="14"/>
                    </a:cubicBezTo>
                    <a:cubicBezTo>
                      <a:pt x="4" y="15"/>
                      <a:pt x="3" y="14"/>
                      <a:pt x="3" y="13"/>
                    </a:cubicBezTo>
                    <a:cubicBezTo>
                      <a:pt x="3" y="12"/>
                      <a:pt x="4" y="11"/>
                      <a:pt x="4" y="11"/>
                    </a:cubicBezTo>
                    <a:cubicBezTo>
                      <a:pt x="5" y="11"/>
                      <a:pt x="5" y="11"/>
                      <a:pt x="5" y="11"/>
                    </a:cubicBezTo>
                    <a:cubicBezTo>
                      <a:pt x="5" y="11"/>
                      <a:pt x="5" y="10"/>
                      <a:pt x="5" y="10"/>
                    </a:cubicBezTo>
                    <a:cubicBezTo>
                      <a:pt x="6" y="10"/>
                      <a:pt x="6" y="9"/>
                      <a:pt x="6" y="9"/>
                    </a:cubicBezTo>
                    <a:cubicBezTo>
                      <a:pt x="7" y="8"/>
                      <a:pt x="6" y="6"/>
                      <a:pt x="6" y="4"/>
                    </a:cubicBezTo>
                    <a:cubicBezTo>
                      <a:pt x="5" y="3"/>
                      <a:pt x="5" y="3"/>
                      <a:pt x="6" y="2"/>
                    </a:cubicBezTo>
                    <a:cubicBezTo>
                      <a:pt x="6" y="2"/>
                      <a:pt x="7" y="1"/>
                      <a:pt x="7" y="0"/>
                    </a:cubicBezTo>
                    <a:cubicBezTo>
                      <a:pt x="6" y="1"/>
                      <a:pt x="5" y="2"/>
                      <a:pt x="3" y="2"/>
                    </a:cubicBezTo>
                    <a:cubicBezTo>
                      <a:pt x="3" y="3"/>
                      <a:pt x="2" y="4"/>
                      <a:pt x="2" y="5"/>
                    </a:cubicBezTo>
                    <a:cubicBezTo>
                      <a:pt x="1" y="7"/>
                      <a:pt x="1" y="8"/>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4" name="Freeform 2403">
                <a:extLst>
                  <a:ext uri="{FF2B5EF4-FFF2-40B4-BE49-F238E27FC236}">
                    <a16:creationId xmlns:a16="http://schemas.microsoft.com/office/drawing/2014/main" id="{9866C2AD-84A2-47F4-BE97-F3FDF84CCE1F}"/>
                  </a:ext>
                </a:extLst>
              </p:cNvPr>
              <p:cNvSpPr>
                <a:spLocks/>
              </p:cNvSpPr>
              <p:nvPr/>
            </p:nvSpPr>
            <p:spPr bwMode="auto">
              <a:xfrm>
                <a:off x="6176" y="2963"/>
                <a:ext cx="7" cy="3"/>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2" y="1"/>
                      <a:pt x="1" y="0"/>
                      <a:pt x="0" y="0"/>
                    </a:cubicBezTo>
                    <a:cubicBezTo>
                      <a:pt x="1" y="1"/>
                      <a:pt x="2"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5" name="Freeform 2404">
                <a:extLst>
                  <a:ext uri="{FF2B5EF4-FFF2-40B4-BE49-F238E27FC236}">
                    <a16:creationId xmlns:a16="http://schemas.microsoft.com/office/drawing/2014/main" id="{BA95DB86-006F-4996-B633-F6F54FCA42FC}"/>
                  </a:ext>
                </a:extLst>
              </p:cNvPr>
              <p:cNvSpPr>
                <a:spLocks/>
              </p:cNvSpPr>
              <p:nvPr/>
            </p:nvSpPr>
            <p:spPr bwMode="auto">
              <a:xfrm>
                <a:off x="6753" y="2914"/>
                <a:ext cx="2" cy="7"/>
              </a:xfrm>
              <a:custGeom>
                <a:avLst/>
                <a:gdLst>
                  <a:gd name="T0" fmla="*/ 1 w 1"/>
                  <a:gd name="T1" fmla="*/ 3 h 3"/>
                  <a:gd name="T2" fmla="*/ 1 w 1"/>
                  <a:gd name="T3" fmla="*/ 0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cubicBezTo>
                      <a:pt x="1" y="2"/>
                      <a:pt x="1" y="1"/>
                      <a:pt x="1" y="0"/>
                    </a:cubicBezTo>
                    <a:cubicBezTo>
                      <a:pt x="0" y="0"/>
                      <a:pt x="0" y="0"/>
                      <a:pt x="0" y="0"/>
                    </a:cubicBezTo>
                    <a:cubicBezTo>
                      <a:pt x="0" y="1"/>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6" name="Freeform 2405">
                <a:extLst>
                  <a:ext uri="{FF2B5EF4-FFF2-40B4-BE49-F238E27FC236}">
                    <a16:creationId xmlns:a16="http://schemas.microsoft.com/office/drawing/2014/main" id="{15B6A63E-94E6-4443-9F7B-69826458F142}"/>
                  </a:ext>
                </a:extLst>
              </p:cNvPr>
              <p:cNvSpPr>
                <a:spLocks/>
              </p:cNvSpPr>
              <p:nvPr/>
            </p:nvSpPr>
            <p:spPr bwMode="auto">
              <a:xfrm>
                <a:off x="5928" y="2798"/>
                <a:ext cx="19" cy="23"/>
              </a:xfrm>
              <a:custGeom>
                <a:avLst/>
                <a:gdLst>
                  <a:gd name="T0" fmla="*/ 4 w 8"/>
                  <a:gd name="T1" fmla="*/ 1 h 10"/>
                  <a:gd name="T2" fmla="*/ 2 w 8"/>
                  <a:gd name="T3" fmla="*/ 2 h 10"/>
                  <a:gd name="T4" fmla="*/ 3 w 8"/>
                  <a:gd name="T5" fmla="*/ 6 h 10"/>
                  <a:gd name="T6" fmla="*/ 6 w 8"/>
                  <a:gd name="T7" fmla="*/ 10 h 10"/>
                  <a:gd name="T8" fmla="*/ 7 w 8"/>
                  <a:gd name="T9" fmla="*/ 6 h 10"/>
                  <a:gd name="T10" fmla="*/ 4 w 8"/>
                  <a:gd name="T11" fmla="*/ 1 h 10"/>
                </a:gdLst>
                <a:ahLst/>
                <a:cxnLst>
                  <a:cxn ang="0">
                    <a:pos x="T0" y="T1"/>
                  </a:cxn>
                  <a:cxn ang="0">
                    <a:pos x="T2" y="T3"/>
                  </a:cxn>
                  <a:cxn ang="0">
                    <a:pos x="T4" y="T5"/>
                  </a:cxn>
                  <a:cxn ang="0">
                    <a:pos x="T6" y="T7"/>
                  </a:cxn>
                  <a:cxn ang="0">
                    <a:pos x="T8" y="T9"/>
                  </a:cxn>
                  <a:cxn ang="0">
                    <a:pos x="T10" y="T11"/>
                  </a:cxn>
                </a:cxnLst>
                <a:rect l="0" t="0" r="r" b="b"/>
                <a:pathLst>
                  <a:path w="8" h="10">
                    <a:moveTo>
                      <a:pt x="4" y="1"/>
                    </a:moveTo>
                    <a:cubicBezTo>
                      <a:pt x="4" y="0"/>
                      <a:pt x="2" y="1"/>
                      <a:pt x="2" y="2"/>
                    </a:cubicBezTo>
                    <a:cubicBezTo>
                      <a:pt x="0" y="3"/>
                      <a:pt x="2" y="5"/>
                      <a:pt x="3" y="6"/>
                    </a:cubicBezTo>
                    <a:cubicBezTo>
                      <a:pt x="4" y="8"/>
                      <a:pt x="4" y="9"/>
                      <a:pt x="6" y="10"/>
                    </a:cubicBezTo>
                    <a:cubicBezTo>
                      <a:pt x="8" y="8"/>
                      <a:pt x="8" y="8"/>
                      <a:pt x="7" y="6"/>
                    </a:cubicBezTo>
                    <a:cubicBezTo>
                      <a:pt x="6" y="4"/>
                      <a:pt x="5" y="3"/>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7" name="Freeform 2406">
                <a:extLst>
                  <a:ext uri="{FF2B5EF4-FFF2-40B4-BE49-F238E27FC236}">
                    <a16:creationId xmlns:a16="http://schemas.microsoft.com/office/drawing/2014/main" id="{F7D020F3-5663-4A87-A8B0-E59A6496BB07}"/>
                  </a:ext>
                </a:extLst>
              </p:cNvPr>
              <p:cNvSpPr>
                <a:spLocks/>
              </p:cNvSpPr>
              <p:nvPr/>
            </p:nvSpPr>
            <p:spPr bwMode="auto">
              <a:xfrm>
                <a:off x="6587" y="2961"/>
                <a:ext cx="26" cy="9"/>
              </a:xfrm>
              <a:custGeom>
                <a:avLst/>
                <a:gdLst>
                  <a:gd name="T0" fmla="*/ 0 w 11"/>
                  <a:gd name="T1" fmla="*/ 4 h 4"/>
                  <a:gd name="T2" fmla="*/ 5 w 11"/>
                  <a:gd name="T3" fmla="*/ 3 h 4"/>
                  <a:gd name="T4" fmla="*/ 9 w 11"/>
                  <a:gd name="T5" fmla="*/ 2 h 4"/>
                  <a:gd name="T6" fmla="*/ 9 w 11"/>
                  <a:gd name="T7" fmla="*/ 0 h 4"/>
                  <a:gd name="T8" fmla="*/ 7 w 11"/>
                  <a:gd name="T9" fmla="*/ 0 h 4"/>
                  <a:gd name="T10" fmla="*/ 6 w 11"/>
                  <a:gd name="T11" fmla="*/ 1 h 4"/>
                  <a:gd name="T12" fmla="*/ 3 w 11"/>
                  <a:gd name="T13" fmla="*/ 1 h 4"/>
                  <a:gd name="T14" fmla="*/ 1 w 11"/>
                  <a:gd name="T15" fmla="*/ 2 h 4"/>
                  <a:gd name="T16" fmla="*/ 0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0" y="4"/>
                    </a:moveTo>
                    <a:cubicBezTo>
                      <a:pt x="2" y="3"/>
                      <a:pt x="3" y="3"/>
                      <a:pt x="5" y="3"/>
                    </a:cubicBezTo>
                    <a:cubicBezTo>
                      <a:pt x="7" y="4"/>
                      <a:pt x="7" y="3"/>
                      <a:pt x="9" y="2"/>
                    </a:cubicBezTo>
                    <a:cubicBezTo>
                      <a:pt x="11" y="1"/>
                      <a:pt x="10" y="1"/>
                      <a:pt x="9" y="0"/>
                    </a:cubicBezTo>
                    <a:cubicBezTo>
                      <a:pt x="8" y="0"/>
                      <a:pt x="8" y="0"/>
                      <a:pt x="7" y="0"/>
                    </a:cubicBezTo>
                    <a:cubicBezTo>
                      <a:pt x="7" y="0"/>
                      <a:pt x="6" y="0"/>
                      <a:pt x="6" y="1"/>
                    </a:cubicBezTo>
                    <a:cubicBezTo>
                      <a:pt x="5" y="1"/>
                      <a:pt x="4" y="1"/>
                      <a:pt x="3" y="1"/>
                    </a:cubicBezTo>
                    <a:cubicBezTo>
                      <a:pt x="2" y="1"/>
                      <a:pt x="2" y="1"/>
                      <a:pt x="1"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8" name="Freeform 2407">
                <a:extLst>
                  <a:ext uri="{FF2B5EF4-FFF2-40B4-BE49-F238E27FC236}">
                    <a16:creationId xmlns:a16="http://schemas.microsoft.com/office/drawing/2014/main" id="{74CEC3B9-9EE2-4EE7-ADF4-C0AFD8E5D9AB}"/>
                  </a:ext>
                </a:extLst>
              </p:cNvPr>
              <p:cNvSpPr>
                <a:spLocks/>
              </p:cNvSpPr>
              <p:nvPr/>
            </p:nvSpPr>
            <p:spPr bwMode="auto">
              <a:xfrm>
                <a:off x="6715" y="2949"/>
                <a:ext cx="14" cy="24"/>
              </a:xfrm>
              <a:custGeom>
                <a:avLst/>
                <a:gdLst>
                  <a:gd name="T0" fmla="*/ 6 w 6"/>
                  <a:gd name="T1" fmla="*/ 1 h 10"/>
                  <a:gd name="T2" fmla="*/ 6 w 6"/>
                  <a:gd name="T3" fmla="*/ 0 h 10"/>
                  <a:gd name="T4" fmla="*/ 1 w 6"/>
                  <a:gd name="T5" fmla="*/ 4 h 10"/>
                  <a:gd name="T6" fmla="*/ 0 w 6"/>
                  <a:gd name="T7" fmla="*/ 6 h 10"/>
                  <a:gd name="T8" fmla="*/ 0 w 6"/>
                  <a:gd name="T9" fmla="*/ 7 h 10"/>
                  <a:gd name="T10" fmla="*/ 0 w 6"/>
                  <a:gd name="T11" fmla="*/ 9 h 10"/>
                  <a:gd name="T12" fmla="*/ 1 w 6"/>
                  <a:gd name="T13" fmla="*/ 9 h 10"/>
                  <a:gd name="T14" fmla="*/ 2 w 6"/>
                  <a:gd name="T15" fmla="*/ 9 h 10"/>
                  <a:gd name="T16" fmla="*/ 3 w 6"/>
                  <a:gd name="T17" fmla="*/ 8 h 10"/>
                  <a:gd name="T18" fmla="*/ 3 w 6"/>
                  <a:gd name="T19" fmla="*/ 7 h 10"/>
                  <a:gd name="T20" fmla="*/ 5 w 6"/>
                  <a:gd name="T21" fmla="*/ 6 h 10"/>
                  <a:gd name="T22" fmla="*/ 6 w 6"/>
                  <a:gd name="T23" fmla="*/ 3 h 10"/>
                  <a:gd name="T24" fmla="*/ 6 w 6"/>
                  <a:gd name="T2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0">
                    <a:moveTo>
                      <a:pt x="6" y="1"/>
                    </a:moveTo>
                    <a:cubicBezTo>
                      <a:pt x="6" y="1"/>
                      <a:pt x="6" y="0"/>
                      <a:pt x="6" y="0"/>
                    </a:cubicBezTo>
                    <a:cubicBezTo>
                      <a:pt x="4" y="1"/>
                      <a:pt x="2" y="3"/>
                      <a:pt x="1" y="4"/>
                    </a:cubicBezTo>
                    <a:cubicBezTo>
                      <a:pt x="1" y="5"/>
                      <a:pt x="1" y="6"/>
                      <a:pt x="0" y="6"/>
                    </a:cubicBezTo>
                    <a:cubicBezTo>
                      <a:pt x="0" y="6"/>
                      <a:pt x="0" y="7"/>
                      <a:pt x="0" y="7"/>
                    </a:cubicBezTo>
                    <a:cubicBezTo>
                      <a:pt x="0" y="7"/>
                      <a:pt x="0" y="8"/>
                      <a:pt x="0" y="9"/>
                    </a:cubicBezTo>
                    <a:cubicBezTo>
                      <a:pt x="0" y="10"/>
                      <a:pt x="0" y="9"/>
                      <a:pt x="1" y="9"/>
                    </a:cubicBezTo>
                    <a:cubicBezTo>
                      <a:pt x="1" y="10"/>
                      <a:pt x="2" y="9"/>
                      <a:pt x="2" y="9"/>
                    </a:cubicBezTo>
                    <a:cubicBezTo>
                      <a:pt x="2" y="9"/>
                      <a:pt x="3" y="8"/>
                      <a:pt x="3" y="8"/>
                    </a:cubicBezTo>
                    <a:cubicBezTo>
                      <a:pt x="3" y="8"/>
                      <a:pt x="3" y="8"/>
                      <a:pt x="3" y="7"/>
                    </a:cubicBezTo>
                    <a:cubicBezTo>
                      <a:pt x="4" y="7"/>
                      <a:pt x="5" y="6"/>
                      <a:pt x="5" y="6"/>
                    </a:cubicBezTo>
                    <a:cubicBezTo>
                      <a:pt x="6" y="5"/>
                      <a:pt x="6" y="4"/>
                      <a:pt x="6" y="3"/>
                    </a:cubicBezTo>
                    <a:cubicBezTo>
                      <a:pt x="5" y="3"/>
                      <a:pt x="5"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9" name="Freeform 2408">
                <a:extLst>
                  <a:ext uri="{FF2B5EF4-FFF2-40B4-BE49-F238E27FC236}">
                    <a16:creationId xmlns:a16="http://schemas.microsoft.com/office/drawing/2014/main" id="{D553EF4B-1473-4CBC-B232-0E12E2AA9F5D}"/>
                  </a:ext>
                </a:extLst>
              </p:cNvPr>
              <p:cNvSpPr>
                <a:spLocks/>
              </p:cNvSpPr>
              <p:nvPr/>
            </p:nvSpPr>
            <p:spPr bwMode="auto">
              <a:xfrm>
                <a:off x="6821" y="2817"/>
                <a:ext cx="33" cy="9"/>
              </a:xfrm>
              <a:custGeom>
                <a:avLst/>
                <a:gdLst>
                  <a:gd name="T0" fmla="*/ 11 w 14"/>
                  <a:gd name="T1" fmla="*/ 3 h 4"/>
                  <a:gd name="T2" fmla="*/ 14 w 14"/>
                  <a:gd name="T3" fmla="*/ 2 h 4"/>
                  <a:gd name="T4" fmla="*/ 13 w 14"/>
                  <a:gd name="T5" fmla="*/ 1 h 4"/>
                  <a:gd name="T6" fmla="*/ 10 w 14"/>
                  <a:gd name="T7" fmla="*/ 1 h 4"/>
                  <a:gd name="T8" fmla="*/ 7 w 14"/>
                  <a:gd name="T9" fmla="*/ 0 h 4"/>
                  <a:gd name="T10" fmla="*/ 0 w 14"/>
                  <a:gd name="T11" fmla="*/ 0 h 4"/>
                  <a:gd name="T12" fmla="*/ 11 w 14"/>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11" y="3"/>
                    </a:moveTo>
                    <a:cubicBezTo>
                      <a:pt x="12" y="3"/>
                      <a:pt x="13" y="2"/>
                      <a:pt x="14" y="2"/>
                    </a:cubicBezTo>
                    <a:cubicBezTo>
                      <a:pt x="14" y="1"/>
                      <a:pt x="13" y="1"/>
                      <a:pt x="13" y="1"/>
                    </a:cubicBezTo>
                    <a:cubicBezTo>
                      <a:pt x="12" y="1"/>
                      <a:pt x="11" y="1"/>
                      <a:pt x="10" y="1"/>
                    </a:cubicBezTo>
                    <a:cubicBezTo>
                      <a:pt x="9" y="1"/>
                      <a:pt x="8" y="1"/>
                      <a:pt x="7" y="0"/>
                    </a:cubicBezTo>
                    <a:cubicBezTo>
                      <a:pt x="5" y="0"/>
                      <a:pt x="2" y="0"/>
                      <a:pt x="0" y="0"/>
                    </a:cubicBezTo>
                    <a:cubicBezTo>
                      <a:pt x="0" y="0"/>
                      <a:pt x="10" y="4"/>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0" name="Freeform 2409">
                <a:extLst>
                  <a:ext uri="{FF2B5EF4-FFF2-40B4-BE49-F238E27FC236}">
                    <a16:creationId xmlns:a16="http://schemas.microsoft.com/office/drawing/2014/main" id="{29E20980-84FA-48A8-9597-C90164454212}"/>
                  </a:ext>
                </a:extLst>
              </p:cNvPr>
              <p:cNvSpPr>
                <a:spLocks/>
              </p:cNvSpPr>
              <p:nvPr/>
            </p:nvSpPr>
            <p:spPr bwMode="auto">
              <a:xfrm>
                <a:off x="6490" y="2899"/>
                <a:ext cx="5" cy="10"/>
              </a:xfrm>
              <a:custGeom>
                <a:avLst/>
                <a:gdLst>
                  <a:gd name="T0" fmla="*/ 0 w 2"/>
                  <a:gd name="T1" fmla="*/ 2 h 4"/>
                  <a:gd name="T2" fmla="*/ 2 w 2"/>
                  <a:gd name="T3" fmla="*/ 4 h 4"/>
                  <a:gd name="T4" fmla="*/ 2 w 2"/>
                  <a:gd name="T5" fmla="*/ 0 h 4"/>
                  <a:gd name="T6" fmla="*/ 0 w 2"/>
                  <a:gd name="T7" fmla="*/ 2 h 4"/>
                </a:gdLst>
                <a:ahLst/>
                <a:cxnLst>
                  <a:cxn ang="0">
                    <a:pos x="T0" y="T1"/>
                  </a:cxn>
                  <a:cxn ang="0">
                    <a:pos x="T2" y="T3"/>
                  </a:cxn>
                  <a:cxn ang="0">
                    <a:pos x="T4" y="T5"/>
                  </a:cxn>
                  <a:cxn ang="0">
                    <a:pos x="T6" y="T7"/>
                  </a:cxn>
                </a:cxnLst>
                <a:rect l="0" t="0" r="r" b="b"/>
                <a:pathLst>
                  <a:path w="2" h="4">
                    <a:moveTo>
                      <a:pt x="0" y="2"/>
                    </a:moveTo>
                    <a:cubicBezTo>
                      <a:pt x="0" y="3"/>
                      <a:pt x="1" y="4"/>
                      <a:pt x="2" y="4"/>
                    </a:cubicBezTo>
                    <a:cubicBezTo>
                      <a:pt x="2" y="3"/>
                      <a:pt x="2" y="2"/>
                      <a:pt x="2" y="0"/>
                    </a:cubicBezTo>
                    <a:cubicBezTo>
                      <a:pt x="1"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1" name="Freeform 2410">
                <a:extLst>
                  <a:ext uri="{FF2B5EF4-FFF2-40B4-BE49-F238E27FC236}">
                    <a16:creationId xmlns:a16="http://schemas.microsoft.com/office/drawing/2014/main" id="{193438B8-4DBA-4D14-9A59-5ECAEB74671E}"/>
                  </a:ext>
                </a:extLst>
              </p:cNvPr>
              <p:cNvSpPr>
                <a:spLocks/>
              </p:cNvSpPr>
              <p:nvPr/>
            </p:nvSpPr>
            <p:spPr bwMode="auto">
              <a:xfrm>
                <a:off x="6417" y="2734"/>
                <a:ext cx="156" cy="182"/>
              </a:xfrm>
              <a:custGeom>
                <a:avLst/>
                <a:gdLst>
                  <a:gd name="T0" fmla="*/ 0 w 66"/>
                  <a:gd name="T1" fmla="*/ 46 h 77"/>
                  <a:gd name="T2" fmla="*/ 0 w 66"/>
                  <a:gd name="T3" fmla="*/ 50 h 77"/>
                  <a:gd name="T4" fmla="*/ 4 w 66"/>
                  <a:gd name="T5" fmla="*/ 54 h 77"/>
                  <a:gd name="T6" fmla="*/ 8 w 66"/>
                  <a:gd name="T7" fmla="*/ 58 h 77"/>
                  <a:gd name="T8" fmla="*/ 7 w 66"/>
                  <a:gd name="T9" fmla="*/ 70 h 77"/>
                  <a:gd name="T10" fmla="*/ 9 w 66"/>
                  <a:gd name="T11" fmla="*/ 76 h 77"/>
                  <a:gd name="T12" fmla="*/ 15 w 66"/>
                  <a:gd name="T13" fmla="*/ 75 h 77"/>
                  <a:gd name="T14" fmla="*/ 16 w 66"/>
                  <a:gd name="T15" fmla="*/ 69 h 77"/>
                  <a:gd name="T16" fmla="*/ 17 w 66"/>
                  <a:gd name="T17" fmla="*/ 58 h 77"/>
                  <a:gd name="T18" fmla="*/ 15 w 66"/>
                  <a:gd name="T19" fmla="*/ 49 h 77"/>
                  <a:gd name="T20" fmla="*/ 22 w 66"/>
                  <a:gd name="T21" fmla="*/ 45 h 77"/>
                  <a:gd name="T22" fmla="*/ 22 w 66"/>
                  <a:gd name="T23" fmla="*/ 53 h 77"/>
                  <a:gd name="T24" fmla="*/ 25 w 66"/>
                  <a:gd name="T25" fmla="*/ 57 h 77"/>
                  <a:gd name="T26" fmla="*/ 27 w 66"/>
                  <a:gd name="T27" fmla="*/ 59 h 77"/>
                  <a:gd name="T28" fmla="*/ 29 w 66"/>
                  <a:gd name="T29" fmla="*/ 61 h 77"/>
                  <a:gd name="T30" fmla="*/ 31 w 66"/>
                  <a:gd name="T31" fmla="*/ 68 h 77"/>
                  <a:gd name="T32" fmla="*/ 35 w 66"/>
                  <a:gd name="T33" fmla="*/ 64 h 77"/>
                  <a:gd name="T34" fmla="*/ 39 w 66"/>
                  <a:gd name="T35" fmla="*/ 63 h 77"/>
                  <a:gd name="T36" fmla="*/ 40 w 66"/>
                  <a:gd name="T37" fmla="*/ 61 h 77"/>
                  <a:gd name="T38" fmla="*/ 40 w 66"/>
                  <a:gd name="T39" fmla="*/ 58 h 77"/>
                  <a:gd name="T40" fmla="*/ 37 w 66"/>
                  <a:gd name="T41" fmla="*/ 57 h 77"/>
                  <a:gd name="T42" fmla="*/ 37 w 66"/>
                  <a:gd name="T43" fmla="*/ 54 h 77"/>
                  <a:gd name="T44" fmla="*/ 38 w 66"/>
                  <a:gd name="T45" fmla="*/ 51 h 77"/>
                  <a:gd name="T46" fmla="*/ 33 w 66"/>
                  <a:gd name="T47" fmla="*/ 46 h 77"/>
                  <a:gd name="T48" fmla="*/ 29 w 66"/>
                  <a:gd name="T49" fmla="*/ 41 h 77"/>
                  <a:gd name="T50" fmla="*/ 26 w 66"/>
                  <a:gd name="T51" fmla="*/ 39 h 77"/>
                  <a:gd name="T52" fmla="*/ 31 w 66"/>
                  <a:gd name="T53" fmla="*/ 37 h 77"/>
                  <a:gd name="T54" fmla="*/ 41 w 66"/>
                  <a:gd name="T55" fmla="*/ 28 h 77"/>
                  <a:gd name="T56" fmla="*/ 47 w 66"/>
                  <a:gd name="T57" fmla="*/ 29 h 77"/>
                  <a:gd name="T58" fmla="*/ 45 w 66"/>
                  <a:gd name="T59" fmla="*/ 24 h 77"/>
                  <a:gd name="T60" fmla="*/ 40 w 66"/>
                  <a:gd name="T61" fmla="*/ 26 h 77"/>
                  <a:gd name="T62" fmla="*/ 32 w 66"/>
                  <a:gd name="T63" fmla="*/ 28 h 77"/>
                  <a:gd name="T64" fmla="*/ 29 w 66"/>
                  <a:gd name="T65" fmla="*/ 27 h 77"/>
                  <a:gd name="T66" fmla="*/ 25 w 66"/>
                  <a:gd name="T67" fmla="*/ 30 h 77"/>
                  <a:gd name="T68" fmla="*/ 19 w 66"/>
                  <a:gd name="T69" fmla="*/ 33 h 77"/>
                  <a:gd name="T70" fmla="*/ 17 w 66"/>
                  <a:gd name="T71" fmla="*/ 28 h 77"/>
                  <a:gd name="T72" fmla="*/ 14 w 66"/>
                  <a:gd name="T73" fmla="*/ 26 h 77"/>
                  <a:gd name="T74" fmla="*/ 13 w 66"/>
                  <a:gd name="T75" fmla="*/ 21 h 77"/>
                  <a:gd name="T76" fmla="*/ 26 w 66"/>
                  <a:gd name="T77" fmla="*/ 14 h 77"/>
                  <a:gd name="T78" fmla="*/ 44 w 66"/>
                  <a:gd name="T79" fmla="*/ 14 h 77"/>
                  <a:gd name="T80" fmla="*/ 52 w 66"/>
                  <a:gd name="T81" fmla="*/ 15 h 77"/>
                  <a:gd name="T82" fmla="*/ 60 w 66"/>
                  <a:gd name="T83" fmla="*/ 10 h 77"/>
                  <a:gd name="T84" fmla="*/ 65 w 66"/>
                  <a:gd name="T85" fmla="*/ 4 h 77"/>
                  <a:gd name="T86" fmla="*/ 62 w 66"/>
                  <a:gd name="T87" fmla="*/ 2 h 77"/>
                  <a:gd name="T88" fmla="*/ 59 w 66"/>
                  <a:gd name="T89" fmla="*/ 6 h 77"/>
                  <a:gd name="T90" fmla="*/ 53 w 66"/>
                  <a:gd name="T91" fmla="*/ 10 h 77"/>
                  <a:gd name="T92" fmla="*/ 42 w 66"/>
                  <a:gd name="T93" fmla="*/ 10 h 77"/>
                  <a:gd name="T94" fmla="*/ 30 w 66"/>
                  <a:gd name="T95" fmla="*/ 8 h 77"/>
                  <a:gd name="T96" fmla="*/ 26 w 66"/>
                  <a:gd name="T97" fmla="*/ 5 h 77"/>
                  <a:gd name="T98" fmla="*/ 21 w 66"/>
                  <a:gd name="T99" fmla="*/ 7 h 77"/>
                  <a:gd name="T100" fmla="*/ 17 w 66"/>
                  <a:gd name="T101" fmla="*/ 10 h 77"/>
                  <a:gd name="T102" fmla="*/ 16 w 66"/>
                  <a:gd name="T103" fmla="*/ 8 h 77"/>
                  <a:gd name="T104" fmla="*/ 14 w 66"/>
                  <a:gd name="T105" fmla="*/ 11 h 77"/>
                  <a:gd name="T106" fmla="*/ 12 w 66"/>
                  <a:gd name="T107" fmla="*/ 13 h 77"/>
                  <a:gd name="T108" fmla="*/ 10 w 66"/>
                  <a:gd name="T109" fmla="*/ 18 h 77"/>
                  <a:gd name="T110" fmla="*/ 11 w 66"/>
                  <a:gd name="T111" fmla="*/ 21 h 77"/>
                  <a:gd name="T112" fmla="*/ 10 w 66"/>
                  <a:gd name="T113" fmla="*/ 25 h 77"/>
                  <a:gd name="T114" fmla="*/ 6 w 66"/>
                  <a:gd name="T115" fmla="*/ 31 h 77"/>
                  <a:gd name="T116" fmla="*/ 1 w 66"/>
                  <a:gd name="T117"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77">
                    <a:moveTo>
                      <a:pt x="1" y="46"/>
                    </a:moveTo>
                    <a:cubicBezTo>
                      <a:pt x="1" y="45"/>
                      <a:pt x="0" y="45"/>
                      <a:pt x="0" y="46"/>
                    </a:cubicBezTo>
                    <a:cubicBezTo>
                      <a:pt x="0" y="46"/>
                      <a:pt x="1" y="47"/>
                      <a:pt x="1" y="47"/>
                    </a:cubicBezTo>
                    <a:cubicBezTo>
                      <a:pt x="1" y="49"/>
                      <a:pt x="0" y="49"/>
                      <a:pt x="0" y="50"/>
                    </a:cubicBezTo>
                    <a:cubicBezTo>
                      <a:pt x="0" y="51"/>
                      <a:pt x="1" y="52"/>
                      <a:pt x="2" y="53"/>
                    </a:cubicBezTo>
                    <a:cubicBezTo>
                      <a:pt x="2" y="54"/>
                      <a:pt x="2" y="54"/>
                      <a:pt x="4" y="54"/>
                    </a:cubicBezTo>
                    <a:cubicBezTo>
                      <a:pt x="5" y="54"/>
                      <a:pt x="6" y="54"/>
                      <a:pt x="7" y="54"/>
                    </a:cubicBezTo>
                    <a:cubicBezTo>
                      <a:pt x="7" y="56"/>
                      <a:pt x="7" y="56"/>
                      <a:pt x="8" y="58"/>
                    </a:cubicBezTo>
                    <a:cubicBezTo>
                      <a:pt x="9" y="60"/>
                      <a:pt x="8" y="63"/>
                      <a:pt x="8" y="65"/>
                    </a:cubicBezTo>
                    <a:cubicBezTo>
                      <a:pt x="8" y="66"/>
                      <a:pt x="8" y="68"/>
                      <a:pt x="7" y="70"/>
                    </a:cubicBezTo>
                    <a:cubicBezTo>
                      <a:pt x="6" y="72"/>
                      <a:pt x="6" y="74"/>
                      <a:pt x="7" y="76"/>
                    </a:cubicBezTo>
                    <a:cubicBezTo>
                      <a:pt x="8" y="75"/>
                      <a:pt x="8" y="76"/>
                      <a:pt x="9" y="76"/>
                    </a:cubicBezTo>
                    <a:cubicBezTo>
                      <a:pt x="10" y="77"/>
                      <a:pt x="10" y="76"/>
                      <a:pt x="11" y="76"/>
                    </a:cubicBezTo>
                    <a:cubicBezTo>
                      <a:pt x="12" y="75"/>
                      <a:pt x="13" y="76"/>
                      <a:pt x="15" y="75"/>
                    </a:cubicBezTo>
                    <a:cubicBezTo>
                      <a:pt x="16" y="75"/>
                      <a:pt x="16" y="75"/>
                      <a:pt x="17" y="76"/>
                    </a:cubicBezTo>
                    <a:cubicBezTo>
                      <a:pt x="17" y="74"/>
                      <a:pt x="15" y="72"/>
                      <a:pt x="16" y="69"/>
                    </a:cubicBezTo>
                    <a:cubicBezTo>
                      <a:pt x="16" y="68"/>
                      <a:pt x="17" y="66"/>
                      <a:pt x="17" y="65"/>
                    </a:cubicBezTo>
                    <a:cubicBezTo>
                      <a:pt x="16" y="63"/>
                      <a:pt x="17" y="61"/>
                      <a:pt x="17" y="58"/>
                    </a:cubicBezTo>
                    <a:cubicBezTo>
                      <a:pt x="17" y="56"/>
                      <a:pt x="17" y="54"/>
                      <a:pt x="17" y="52"/>
                    </a:cubicBezTo>
                    <a:cubicBezTo>
                      <a:pt x="16" y="51"/>
                      <a:pt x="15" y="50"/>
                      <a:pt x="15" y="49"/>
                    </a:cubicBezTo>
                    <a:cubicBezTo>
                      <a:pt x="15" y="48"/>
                      <a:pt x="16" y="48"/>
                      <a:pt x="17" y="47"/>
                    </a:cubicBezTo>
                    <a:cubicBezTo>
                      <a:pt x="19" y="46"/>
                      <a:pt x="20" y="45"/>
                      <a:pt x="22" y="45"/>
                    </a:cubicBezTo>
                    <a:cubicBezTo>
                      <a:pt x="24" y="46"/>
                      <a:pt x="24" y="49"/>
                      <a:pt x="23" y="51"/>
                    </a:cubicBezTo>
                    <a:cubicBezTo>
                      <a:pt x="23" y="52"/>
                      <a:pt x="22" y="52"/>
                      <a:pt x="22" y="53"/>
                    </a:cubicBezTo>
                    <a:cubicBezTo>
                      <a:pt x="21" y="54"/>
                      <a:pt x="21" y="54"/>
                      <a:pt x="22" y="55"/>
                    </a:cubicBezTo>
                    <a:cubicBezTo>
                      <a:pt x="23" y="56"/>
                      <a:pt x="24" y="57"/>
                      <a:pt x="25" y="57"/>
                    </a:cubicBezTo>
                    <a:cubicBezTo>
                      <a:pt x="25" y="57"/>
                      <a:pt x="25" y="57"/>
                      <a:pt x="25" y="57"/>
                    </a:cubicBezTo>
                    <a:cubicBezTo>
                      <a:pt x="26" y="58"/>
                      <a:pt x="26" y="59"/>
                      <a:pt x="27" y="59"/>
                    </a:cubicBezTo>
                    <a:cubicBezTo>
                      <a:pt x="27" y="59"/>
                      <a:pt x="28" y="59"/>
                      <a:pt x="28" y="59"/>
                    </a:cubicBezTo>
                    <a:cubicBezTo>
                      <a:pt x="29" y="60"/>
                      <a:pt x="29" y="60"/>
                      <a:pt x="29" y="61"/>
                    </a:cubicBezTo>
                    <a:cubicBezTo>
                      <a:pt x="29" y="62"/>
                      <a:pt x="27" y="65"/>
                      <a:pt x="28" y="65"/>
                    </a:cubicBezTo>
                    <a:cubicBezTo>
                      <a:pt x="29" y="67"/>
                      <a:pt x="30" y="68"/>
                      <a:pt x="31" y="68"/>
                    </a:cubicBezTo>
                    <a:cubicBezTo>
                      <a:pt x="32" y="68"/>
                      <a:pt x="33" y="68"/>
                      <a:pt x="33" y="68"/>
                    </a:cubicBezTo>
                    <a:cubicBezTo>
                      <a:pt x="34" y="68"/>
                      <a:pt x="34" y="66"/>
                      <a:pt x="35" y="64"/>
                    </a:cubicBezTo>
                    <a:cubicBezTo>
                      <a:pt x="35" y="64"/>
                      <a:pt x="37" y="64"/>
                      <a:pt x="38" y="64"/>
                    </a:cubicBezTo>
                    <a:cubicBezTo>
                      <a:pt x="38" y="64"/>
                      <a:pt x="39" y="63"/>
                      <a:pt x="39" y="63"/>
                    </a:cubicBezTo>
                    <a:cubicBezTo>
                      <a:pt x="40" y="64"/>
                      <a:pt x="40" y="65"/>
                      <a:pt x="41" y="64"/>
                    </a:cubicBezTo>
                    <a:cubicBezTo>
                      <a:pt x="43" y="63"/>
                      <a:pt x="43" y="59"/>
                      <a:pt x="40" y="61"/>
                    </a:cubicBezTo>
                    <a:cubicBezTo>
                      <a:pt x="40" y="60"/>
                      <a:pt x="40" y="59"/>
                      <a:pt x="39" y="59"/>
                    </a:cubicBezTo>
                    <a:cubicBezTo>
                      <a:pt x="39" y="59"/>
                      <a:pt x="39" y="59"/>
                      <a:pt x="40" y="58"/>
                    </a:cubicBezTo>
                    <a:cubicBezTo>
                      <a:pt x="39" y="58"/>
                      <a:pt x="38" y="57"/>
                      <a:pt x="37" y="57"/>
                    </a:cubicBezTo>
                    <a:cubicBezTo>
                      <a:pt x="37" y="56"/>
                      <a:pt x="37" y="57"/>
                      <a:pt x="37" y="57"/>
                    </a:cubicBezTo>
                    <a:cubicBezTo>
                      <a:pt x="37" y="56"/>
                      <a:pt x="36" y="56"/>
                      <a:pt x="36" y="56"/>
                    </a:cubicBezTo>
                    <a:cubicBezTo>
                      <a:pt x="35" y="54"/>
                      <a:pt x="36" y="55"/>
                      <a:pt x="37" y="54"/>
                    </a:cubicBezTo>
                    <a:cubicBezTo>
                      <a:pt x="37" y="53"/>
                      <a:pt x="36" y="52"/>
                      <a:pt x="37" y="51"/>
                    </a:cubicBezTo>
                    <a:cubicBezTo>
                      <a:pt x="37" y="51"/>
                      <a:pt x="38" y="51"/>
                      <a:pt x="38" y="51"/>
                    </a:cubicBezTo>
                    <a:cubicBezTo>
                      <a:pt x="36" y="50"/>
                      <a:pt x="36" y="49"/>
                      <a:pt x="35" y="48"/>
                    </a:cubicBezTo>
                    <a:cubicBezTo>
                      <a:pt x="34" y="47"/>
                      <a:pt x="34" y="47"/>
                      <a:pt x="33" y="46"/>
                    </a:cubicBezTo>
                    <a:cubicBezTo>
                      <a:pt x="32" y="44"/>
                      <a:pt x="32" y="42"/>
                      <a:pt x="30" y="41"/>
                    </a:cubicBezTo>
                    <a:cubicBezTo>
                      <a:pt x="30" y="40"/>
                      <a:pt x="29" y="41"/>
                      <a:pt x="29" y="41"/>
                    </a:cubicBezTo>
                    <a:cubicBezTo>
                      <a:pt x="28" y="40"/>
                      <a:pt x="28" y="39"/>
                      <a:pt x="28" y="39"/>
                    </a:cubicBezTo>
                    <a:cubicBezTo>
                      <a:pt x="27" y="38"/>
                      <a:pt x="27" y="38"/>
                      <a:pt x="26" y="39"/>
                    </a:cubicBezTo>
                    <a:cubicBezTo>
                      <a:pt x="26" y="38"/>
                      <a:pt x="26" y="38"/>
                      <a:pt x="26" y="37"/>
                    </a:cubicBezTo>
                    <a:cubicBezTo>
                      <a:pt x="29" y="38"/>
                      <a:pt x="29" y="39"/>
                      <a:pt x="31" y="37"/>
                    </a:cubicBezTo>
                    <a:cubicBezTo>
                      <a:pt x="34" y="35"/>
                      <a:pt x="37" y="33"/>
                      <a:pt x="40" y="30"/>
                    </a:cubicBezTo>
                    <a:cubicBezTo>
                      <a:pt x="40" y="30"/>
                      <a:pt x="41" y="29"/>
                      <a:pt x="41" y="28"/>
                    </a:cubicBezTo>
                    <a:cubicBezTo>
                      <a:pt x="42" y="28"/>
                      <a:pt x="42" y="28"/>
                      <a:pt x="43" y="27"/>
                    </a:cubicBezTo>
                    <a:cubicBezTo>
                      <a:pt x="45" y="27"/>
                      <a:pt x="45" y="28"/>
                      <a:pt x="47" y="29"/>
                    </a:cubicBezTo>
                    <a:cubicBezTo>
                      <a:pt x="47" y="27"/>
                      <a:pt x="48" y="25"/>
                      <a:pt x="46" y="24"/>
                    </a:cubicBezTo>
                    <a:cubicBezTo>
                      <a:pt x="46" y="24"/>
                      <a:pt x="46" y="24"/>
                      <a:pt x="45" y="24"/>
                    </a:cubicBezTo>
                    <a:cubicBezTo>
                      <a:pt x="44" y="24"/>
                      <a:pt x="43" y="25"/>
                      <a:pt x="42" y="26"/>
                    </a:cubicBezTo>
                    <a:cubicBezTo>
                      <a:pt x="44" y="26"/>
                      <a:pt x="40" y="26"/>
                      <a:pt x="40" y="26"/>
                    </a:cubicBezTo>
                    <a:cubicBezTo>
                      <a:pt x="39" y="26"/>
                      <a:pt x="37" y="26"/>
                      <a:pt x="35" y="26"/>
                    </a:cubicBezTo>
                    <a:cubicBezTo>
                      <a:pt x="34" y="26"/>
                      <a:pt x="33" y="27"/>
                      <a:pt x="32" y="28"/>
                    </a:cubicBezTo>
                    <a:cubicBezTo>
                      <a:pt x="31" y="28"/>
                      <a:pt x="30" y="27"/>
                      <a:pt x="30" y="27"/>
                    </a:cubicBezTo>
                    <a:cubicBezTo>
                      <a:pt x="29" y="27"/>
                      <a:pt x="30" y="26"/>
                      <a:pt x="29" y="27"/>
                    </a:cubicBezTo>
                    <a:cubicBezTo>
                      <a:pt x="28" y="27"/>
                      <a:pt x="28" y="28"/>
                      <a:pt x="27" y="28"/>
                    </a:cubicBezTo>
                    <a:cubicBezTo>
                      <a:pt x="26" y="29"/>
                      <a:pt x="26" y="30"/>
                      <a:pt x="25" y="30"/>
                    </a:cubicBezTo>
                    <a:cubicBezTo>
                      <a:pt x="25" y="31"/>
                      <a:pt x="25" y="32"/>
                      <a:pt x="24" y="32"/>
                    </a:cubicBezTo>
                    <a:cubicBezTo>
                      <a:pt x="23" y="34"/>
                      <a:pt x="21" y="31"/>
                      <a:pt x="19" y="33"/>
                    </a:cubicBezTo>
                    <a:cubicBezTo>
                      <a:pt x="19" y="31"/>
                      <a:pt x="19" y="29"/>
                      <a:pt x="17" y="28"/>
                    </a:cubicBezTo>
                    <a:cubicBezTo>
                      <a:pt x="17" y="28"/>
                      <a:pt x="17" y="28"/>
                      <a:pt x="17" y="28"/>
                    </a:cubicBezTo>
                    <a:cubicBezTo>
                      <a:pt x="16" y="28"/>
                      <a:pt x="16" y="28"/>
                      <a:pt x="16" y="28"/>
                    </a:cubicBezTo>
                    <a:cubicBezTo>
                      <a:pt x="15" y="28"/>
                      <a:pt x="14" y="27"/>
                      <a:pt x="14" y="26"/>
                    </a:cubicBezTo>
                    <a:cubicBezTo>
                      <a:pt x="13" y="25"/>
                      <a:pt x="13" y="24"/>
                      <a:pt x="13" y="23"/>
                    </a:cubicBezTo>
                    <a:cubicBezTo>
                      <a:pt x="13" y="23"/>
                      <a:pt x="13" y="22"/>
                      <a:pt x="13" y="21"/>
                    </a:cubicBezTo>
                    <a:cubicBezTo>
                      <a:pt x="13" y="18"/>
                      <a:pt x="14" y="15"/>
                      <a:pt x="16" y="14"/>
                    </a:cubicBezTo>
                    <a:cubicBezTo>
                      <a:pt x="19" y="12"/>
                      <a:pt x="23" y="14"/>
                      <a:pt x="26" y="14"/>
                    </a:cubicBezTo>
                    <a:cubicBezTo>
                      <a:pt x="29" y="14"/>
                      <a:pt x="32" y="13"/>
                      <a:pt x="35" y="13"/>
                    </a:cubicBezTo>
                    <a:cubicBezTo>
                      <a:pt x="38" y="13"/>
                      <a:pt x="41" y="13"/>
                      <a:pt x="44" y="14"/>
                    </a:cubicBezTo>
                    <a:cubicBezTo>
                      <a:pt x="45" y="14"/>
                      <a:pt x="47" y="15"/>
                      <a:pt x="48" y="15"/>
                    </a:cubicBezTo>
                    <a:cubicBezTo>
                      <a:pt x="50" y="16"/>
                      <a:pt x="50" y="16"/>
                      <a:pt x="52" y="15"/>
                    </a:cubicBezTo>
                    <a:cubicBezTo>
                      <a:pt x="53" y="15"/>
                      <a:pt x="56" y="15"/>
                      <a:pt x="56" y="14"/>
                    </a:cubicBezTo>
                    <a:cubicBezTo>
                      <a:pt x="58" y="13"/>
                      <a:pt x="59" y="12"/>
                      <a:pt x="60" y="10"/>
                    </a:cubicBezTo>
                    <a:cubicBezTo>
                      <a:pt x="61" y="10"/>
                      <a:pt x="62" y="9"/>
                      <a:pt x="63" y="8"/>
                    </a:cubicBezTo>
                    <a:cubicBezTo>
                      <a:pt x="63" y="7"/>
                      <a:pt x="64" y="6"/>
                      <a:pt x="65" y="4"/>
                    </a:cubicBezTo>
                    <a:cubicBezTo>
                      <a:pt x="65" y="3"/>
                      <a:pt x="66" y="2"/>
                      <a:pt x="64" y="1"/>
                    </a:cubicBezTo>
                    <a:cubicBezTo>
                      <a:pt x="63" y="0"/>
                      <a:pt x="62" y="2"/>
                      <a:pt x="62" y="2"/>
                    </a:cubicBezTo>
                    <a:cubicBezTo>
                      <a:pt x="61" y="4"/>
                      <a:pt x="61" y="4"/>
                      <a:pt x="59" y="4"/>
                    </a:cubicBezTo>
                    <a:cubicBezTo>
                      <a:pt x="60" y="6"/>
                      <a:pt x="60" y="6"/>
                      <a:pt x="59" y="6"/>
                    </a:cubicBezTo>
                    <a:cubicBezTo>
                      <a:pt x="58" y="7"/>
                      <a:pt x="56" y="8"/>
                      <a:pt x="55" y="9"/>
                    </a:cubicBezTo>
                    <a:cubicBezTo>
                      <a:pt x="55" y="9"/>
                      <a:pt x="53" y="9"/>
                      <a:pt x="53" y="10"/>
                    </a:cubicBezTo>
                    <a:cubicBezTo>
                      <a:pt x="51" y="10"/>
                      <a:pt x="49" y="9"/>
                      <a:pt x="47" y="9"/>
                    </a:cubicBezTo>
                    <a:cubicBezTo>
                      <a:pt x="45" y="9"/>
                      <a:pt x="44" y="9"/>
                      <a:pt x="42" y="10"/>
                    </a:cubicBezTo>
                    <a:cubicBezTo>
                      <a:pt x="40" y="10"/>
                      <a:pt x="37" y="9"/>
                      <a:pt x="35" y="8"/>
                    </a:cubicBezTo>
                    <a:cubicBezTo>
                      <a:pt x="34" y="7"/>
                      <a:pt x="31" y="8"/>
                      <a:pt x="30" y="8"/>
                    </a:cubicBezTo>
                    <a:cubicBezTo>
                      <a:pt x="28" y="8"/>
                      <a:pt x="29" y="6"/>
                      <a:pt x="28" y="6"/>
                    </a:cubicBezTo>
                    <a:cubicBezTo>
                      <a:pt x="27" y="5"/>
                      <a:pt x="27" y="5"/>
                      <a:pt x="26" y="5"/>
                    </a:cubicBezTo>
                    <a:cubicBezTo>
                      <a:pt x="24" y="6"/>
                      <a:pt x="23" y="5"/>
                      <a:pt x="21" y="5"/>
                    </a:cubicBezTo>
                    <a:cubicBezTo>
                      <a:pt x="21" y="6"/>
                      <a:pt x="21" y="7"/>
                      <a:pt x="21" y="7"/>
                    </a:cubicBezTo>
                    <a:cubicBezTo>
                      <a:pt x="20" y="8"/>
                      <a:pt x="20" y="8"/>
                      <a:pt x="19" y="9"/>
                    </a:cubicBezTo>
                    <a:cubicBezTo>
                      <a:pt x="18" y="10"/>
                      <a:pt x="19" y="11"/>
                      <a:pt x="17" y="10"/>
                    </a:cubicBezTo>
                    <a:cubicBezTo>
                      <a:pt x="17" y="10"/>
                      <a:pt x="16" y="9"/>
                      <a:pt x="16" y="9"/>
                    </a:cubicBezTo>
                    <a:cubicBezTo>
                      <a:pt x="16" y="9"/>
                      <a:pt x="16" y="8"/>
                      <a:pt x="16" y="8"/>
                    </a:cubicBezTo>
                    <a:cubicBezTo>
                      <a:pt x="16" y="8"/>
                      <a:pt x="15" y="9"/>
                      <a:pt x="15" y="9"/>
                    </a:cubicBezTo>
                    <a:cubicBezTo>
                      <a:pt x="15" y="10"/>
                      <a:pt x="14" y="10"/>
                      <a:pt x="14" y="11"/>
                    </a:cubicBezTo>
                    <a:cubicBezTo>
                      <a:pt x="14" y="11"/>
                      <a:pt x="13" y="11"/>
                      <a:pt x="13" y="11"/>
                    </a:cubicBezTo>
                    <a:cubicBezTo>
                      <a:pt x="13" y="12"/>
                      <a:pt x="12" y="13"/>
                      <a:pt x="12" y="13"/>
                    </a:cubicBezTo>
                    <a:cubicBezTo>
                      <a:pt x="12" y="13"/>
                      <a:pt x="12" y="13"/>
                      <a:pt x="12" y="14"/>
                    </a:cubicBezTo>
                    <a:cubicBezTo>
                      <a:pt x="11" y="15"/>
                      <a:pt x="10" y="17"/>
                      <a:pt x="10" y="18"/>
                    </a:cubicBezTo>
                    <a:cubicBezTo>
                      <a:pt x="9" y="18"/>
                      <a:pt x="9" y="18"/>
                      <a:pt x="9" y="18"/>
                    </a:cubicBezTo>
                    <a:cubicBezTo>
                      <a:pt x="10" y="19"/>
                      <a:pt x="10" y="19"/>
                      <a:pt x="11" y="21"/>
                    </a:cubicBezTo>
                    <a:cubicBezTo>
                      <a:pt x="11" y="22"/>
                      <a:pt x="12" y="25"/>
                      <a:pt x="10" y="26"/>
                    </a:cubicBezTo>
                    <a:cubicBezTo>
                      <a:pt x="10" y="26"/>
                      <a:pt x="10" y="25"/>
                      <a:pt x="10" y="25"/>
                    </a:cubicBezTo>
                    <a:cubicBezTo>
                      <a:pt x="8" y="26"/>
                      <a:pt x="7" y="28"/>
                      <a:pt x="6" y="30"/>
                    </a:cubicBezTo>
                    <a:cubicBezTo>
                      <a:pt x="6" y="31"/>
                      <a:pt x="6" y="31"/>
                      <a:pt x="6" y="31"/>
                    </a:cubicBezTo>
                    <a:cubicBezTo>
                      <a:pt x="5" y="33"/>
                      <a:pt x="6" y="36"/>
                      <a:pt x="5" y="38"/>
                    </a:cubicBezTo>
                    <a:cubicBezTo>
                      <a:pt x="4" y="40"/>
                      <a:pt x="3" y="43"/>
                      <a:pt x="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2" name="Freeform 2411">
                <a:extLst>
                  <a:ext uri="{FF2B5EF4-FFF2-40B4-BE49-F238E27FC236}">
                    <a16:creationId xmlns:a16="http://schemas.microsoft.com/office/drawing/2014/main" id="{3C4B4E10-5B85-4C23-BE3D-A88013E19BB0}"/>
                  </a:ext>
                </a:extLst>
              </p:cNvPr>
              <p:cNvSpPr>
                <a:spLocks/>
              </p:cNvSpPr>
              <p:nvPr/>
            </p:nvSpPr>
            <p:spPr bwMode="auto">
              <a:xfrm>
                <a:off x="6682" y="2805"/>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3" name="Freeform 2412">
                <a:extLst>
                  <a:ext uri="{FF2B5EF4-FFF2-40B4-BE49-F238E27FC236}">
                    <a16:creationId xmlns:a16="http://schemas.microsoft.com/office/drawing/2014/main" id="{1F9663D6-4709-40D8-9B9F-F13E84AD07CE}"/>
                  </a:ext>
                </a:extLst>
              </p:cNvPr>
              <p:cNvSpPr>
                <a:spLocks/>
              </p:cNvSpPr>
              <p:nvPr/>
            </p:nvSpPr>
            <p:spPr bwMode="auto">
              <a:xfrm>
                <a:off x="6346" y="2975"/>
                <a:ext cx="26" cy="19"/>
              </a:xfrm>
              <a:custGeom>
                <a:avLst/>
                <a:gdLst>
                  <a:gd name="T0" fmla="*/ 8 w 11"/>
                  <a:gd name="T1" fmla="*/ 1 h 8"/>
                  <a:gd name="T2" fmla="*/ 2 w 11"/>
                  <a:gd name="T3" fmla="*/ 4 h 8"/>
                  <a:gd name="T4" fmla="*/ 0 w 11"/>
                  <a:gd name="T5" fmla="*/ 7 h 8"/>
                  <a:gd name="T6" fmla="*/ 1 w 11"/>
                  <a:gd name="T7" fmla="*/ 7 h 8"/>
                  <a:gd name="T8" fmla="*/ 2 w 11"/>
                  <a:gd name="T9" fmla="*/ 7 h 8"/>
                  <a:gd name="T10" fmla="*/ 4 w 11"/>
                  <a:gd name="T11" fmla="*/ 8 h 8"/>
                  <a:gd name="T12" fmla="*/ 6 w 11"/>
                  <a:gd name="T13" fmla="*/ 8 h 8"/>
                  <a:gd name="T14" fmla="*/ 7 w 11"/>
                  <a:gd name="T15" fmla="*/ 7 h 8"/>
                  <a:gd name="T16" fmla="*/ 8 w 11"/>
                  <a:gd name="T17" fmla="*/ 7 h 8"/>
                  <a:gd name="T18" fmla="*/ 8 w 11"/>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8" y="1"/>
                    </a:moveTo>
                    <a:cubicBezTo>
                      <a:pt x="7" y="0"/>
                      <a:pt x="2" y="1"/>
                      <a:pt x="2" y="4"/>
                    </a:cubicBezTo>
                    <a:cubicBezTo>
                      <a:pt x="3" y="5"/>
                      <a:pt x="1" y="6"/>
                      <a:pt x="0" y="7"/>
                    </a:cubicBezTo>
                    <a:cubicBezTo>
                      <a:pt x="1" y="7"/>
                      <a:pt x="1" y="7"/>
                      <a:pt x="1" y="7"/>
                    </a:cubicBezTo>
                    <a:cubicBezTo>
                      <a:pt x="1" y="7"/>
                      <a:pt x="2" y="7"/>
                      <a:pt x="2" y="7"/>
                    </a:cubicBezTo>
                    <a:cubicBezTo>
                      <a:pt x="2" y="8"/>
                      <a:pt x="3" y="7"/>
                      <a:pt x="4" y="8"/>
                    </a:cubicBezTo>
                    <a:cubicBezTo>
                      <a:pt x="5" y="8"/>
                      <a:pt x="5" y="8"/>
                      <a:pt x="6" y="8"/>
                    </a:cubicBezTo>
                    <a:cubicBezTo>
                      <a:pt x="7" y="8"/>
                      <a:pt x="6" y="7"/>
                      <a:pt x="7" y="7"/>
                    </a:cubicBezTo>
                    <a:cubicBezTo>
                      <a:pt x="7" y="7"/>
                      <a:pt x="8" y="7"/>
                      <a:pt x="8" y="7"/>
                    </a:cubicBezTo>
                    <a:cubicBezTo>
                      <a:pt x="6" y="7"/>
                      <a:pt x="11" y="2"/>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4" name="Freeform 2413">
                <a:extLst>
                  <a:ext uri="{FF2B5EF4-FFF2-40B4-BE49-F238E27FC236}">
                    <a16:creationId xmlns:a16="http://schemas.microsoft.com/office/drawing/2014/main" id="{3F6D078E-D9FD-4D63-9DE5-1FF3A1BBF093}"/>
                  </a:ext>
                </a:extLst>
              </p:cNvPr>
              <p:cNvSpPr>
                <a:spLocks/>
              </p:cNvSpPr>
              <p:nvPr/>
            </p:nvSpPr>
            <p:spPr bwMode="auto">
              <a:xfrm>
                <a:off x="6367" y="2973"/>
                <a:ext cx="59" cy="26"/>
              </a:xfrm>
              <a:custGeom>
                <a:avLst/>
                <a:gdLst>
                  <a:gd name="T0" fmla="*/ 3 w 25"/>
                  <a:gd name="T1" fmla="*/ 10 h 11"/>
                  <a:gd name="T2" fmla="*/ 4 w 25"/>
                  <a:gd name="T3" fmla="*/ 11 h 11"/>
                  <a:gd name="T4" fmla="*/ 11 w 25"/>
                  <a:gd name="T5" fmla="*/ 9 h 11"/>
                  <a:gd name="T6" fmla="*/ 15 w 25"/>
                  <a:gd name="T7" fmla="*/ 8 h 11"/>
                  <a:gd name="T8" fmla="*/ 17 w 25"/>
                  <a:gd name="T9" fmla="*/ 5 h 11"/>
                  <a:gd name="T10" fmla="*/ 18 w 25"/>
                  <a:gd name="T11" fmla="*/ 6 h 11"/>
                  <a:gd name="T12" fmla="*/ 18 w 25"/>
                  <a:gd name="T13" fmla="*/ 8 h 11"/>
                  <a:gd name="T14" fmla="*/ 21 w 25"/>
                  <a:gd name="T15" fmla="*/ 8 h 11"/>
                  <a:gd name="T16" fmla="*/ 25 w 25"/>
                  <a:gd name="T17" fmla="*/ 6 h 11"/>
                  <a:gd name="T18" fmla="*/ 25 w 25"/>
                  <a:gd name="T19" fmla="*/ 5 h 11"/>
                  <a:gd name="T20" fmla="*/ 24 w 25"/>
                  <a:gd name="T21" fmla="*/ 5 h 11"/>
                  <a:gd name="T22" fmla="*/ 24 w 25"/>
                  <a:gd name="T23" fmla="*/ 4 h 11"/>
                  <a:gd name="T24" fmla="*/ 22 w 25"/>
                  <a:gd name="T25" fmla="*/ 3 h 11"/>
                  <a:gd name="T26" fmla="*/ 20 w 25"/>
                  <a:gd name="T27" fmla="*/ 4 h 11"/>
                  <a:gd name="T28" fmla="*/ 16 w 25"/>
                  <a:gd name="T29" fmla="*/ 3 h 11"/>
                  <a:gd name="T30" fmla="*/ 11 w 25"/>
                  <a:gd name="T31" fmla="*/ 1 h 11"/>
                  <a:gd name="T32" fmla="*/ 12 w 25"/>
                  <a:gd name="T33" fmla="*/ 3 h 11"/>
                  <a:gd name="T34" fmla="*/ 16 w 25"/>
                  <a:gd name="T35" fmla="*/ 5 h 11"/>
                  <a:gd name="T36" fmla="*/ 11 w 25"/>
                  <a:gd name="T37" fmla="*/ 7 h 11"/>
                  <a:gd name="T38" fmla="*/ 10 w 25"/>
                  <a:gd name="T39" fmla="*/ 6 h 11"/>
                  <a:gd name="T40" fmla="*/ 7 w 25"/>
                  <a:gd name="T41" fmla="*/ 4 h 11"/>
                  <a:gd name="T42" fmla="*/ 3 w 25"/>
                  <a:gd name="T43" fmla="*/ 4 h 11"/>
                  <a:gd name="T44" fmla="*/ 1 w 25"/>
                  <a:gd name="T45" fmla="*/ 5 h 11"/>
                  <a:gd name="T46" fmla="*/ 1 w 25"/>
                  <a:gd name="T47" fmla="*/ 7 h 11"/>
                  <a:gd name="T48" fmla="*/ 3 w 25"/>
                  <a:gd name="T4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1">
                    <a:moveTo>
                      <a:pt x="3" y="10"/>
                    </a:moveTo>
                    <a:cubicBezTo>
                      <a:pt x="3" y="11"/>
                      <a:pt x="3" y="11"/>
                      <a:pt x="4" y="11"/>
                    </a:cubicBezTo>
                    <a:cubicBezTo>
                      <a:pt x="6" y="11"/>
                      <a:pt x="9" y="10"/>
                      <a:pt x="11" y="9"/>
                    </a:cubicBezTo>
                    <a:cubicBezTo>
                      <a:pt x="12" y="9"/>
                      <a:pt x="13" y="8"/>
                      <a:pt x="15" y="8"/>
                    </a:cubicBezTo>
                    <a:cubicBezTo>
                      <a:pt x="16" y="7"/>
                      <a:pt x="16" y="6"/>
                      <a:pt x="17" y="5"/>
                    </a:cubicBezTo>
                    <a:cubicBezTo>
                      <a:pt x="18" y="6"/>
                      <a:pt x="18" y="6"/>
                      <a:pt x="18" y="6"/>
                    </a:cubicBezTo>
                    <a:cubicBezTo>
                      <a:pt x="18" y="7"/>
                      <a:pt x="18" y="8"/>
                      <a:pt x="18" y="8"/>
                    </a:cubicBezTo>
                    <a:cubicBezTo>
                      <a:pt x="19" y="8"/>
                      <a:pt x="20" y="8"/>
                      <a:pt x="21" y="8"/>
                    </a:cubicBezTo>
                    <a:cubicBezTo>
                      <a:pt x="22" y="7"/>
                      <a:pt x="25" y="7"/>
                      <a:pt x="25" y="6"/>
                    </a:cubicBezTo>
                    <a:cubicBezTo>
                      <a:pt x="25" y="6"/>
                      <a:pt x="25" y="6"/>
                      <a:pt x="25" y="5"/>
                    </a:cubicBezTo>
                    <a:cubicBezTo>
                      <a:pt x="24" y="6"/>
                      <a:pt x="24" y="6"/>
                      <a:pt x="24" y="5"/>
                    </a:cubicBezTo>
                    <a:cubicBezTo>
                      <a:pt x="24" y="5"/>
                      <a:pt x="24" y="4"/>
                      <a:pt x="24" y="4"/>
                    </a:cubicBezTo>
                    <a:cubicBezTo>
                      <a:pt x="24" y="3"/>
                      <a:pt x="23" y="3"/>
                      <a:pt x="22" y="3"/>
                    </a:cubicBezTo>
                    <a:cubicBezTo>
                      <a:pt x="21" y="3"/>
                      <a:pt x="21" y="3"/>
                      <a:pt x="20" y="4"/>
                    </a:cubicBezTo>
                    <a:cubicBezTo>
                      <a:pt x="20" y="2"/>
                      <a:pt x="19" y="1"/>
                      <a:pt x="16" y="3"/>
                    </a:cubicBezTo>
                    <a:cubicBezTo>
                      <a:pt x="14" y="1"/>
                      <a:pt x="14" y="0"/>
                      <a:pt x="11" y="1"/>
                    </a:cubicBezTo>
                    <a:cubicBezTo>
                      <a:pt x="11" y="2"/>
                      <a:pt x="11" y="3"/>
                      <a:pt x="12" y="3"/>
                    </a:cubicBezTo>
                    <a:cubicBezTo>
                      <a:pt x="13" y="4"/>
                      <a:pt x="16" y="5"/>
                      <a:pt x="16" y="5"/>
                    </a:cubicBezTo>
                    <a:cubicBezTo>
                      <a:pt x="16" y="6"/>
                      <a:pt x="12" y="7"/>
                      <a:pt x="11" y="7"/>
                    </a:cubicBezTo>
                    <a:cubicBezTo>
                      <a:pt x="11" y="6"/>
                      <a:pt x="11" y="6"/>
                      <a:pt x="10" y="6"/>
                    </a:cubicBezTo>
                    <a:cubicBezTo>
                      <a:pt x="9" y="5"/>
                      <a:pt x="8" y="5"/>
                      <a:pt x="7" y="4"/>
                    </a:cubicBezTo>
                    <a:cubicBezTo>
                      <a:pt x="5" y="3"/>
                      <a:pt x="5" y="3"/>
                      <a:pt x="3" y="4"/>
                    </a:cubicBezTo>
                    <a:cubicBezTo>
                      <a:pt x="2" y="4"/>
                      <a:pt x="1" y="5"/>
                      <a:pt x="1" y="5"/>
                    </a:cubicBezTo>
                    <a:cubicBezTo>
                      <a:pt x="1" y="6"/>
                      <a:pt x="1" y="7"/>
                      <a:pt x="1" y="7"/>
                    </a:cubicBezTo>
                    <a:cubicBezTo>
                      <a:pt x="1" y="10"/>
                      <a:pt x="0" y="10"/>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5" name="Freeform 2414">
                <a:extLst>
                  <a:ext uri="{FF2B5EF4-FFF2-40B4-BE49-F238E27FC236}">
                    <a16:creationId xmlns:a16="http://schemas.microsoft.com/office/drawing/2014/main" id="{6E9DDD87-4EE2-43FF-9ECC-4584762A7828}"/>
                  </a:ext>
                </a:extLst>
              </p:cNvPr>
              <p:cNvSpPr>
                <a:spLocks/>
              </p:cNvSpPr>
              <p:nvPr/>
            </p:nvSpPr>
            <p:spPr bwMode="auto">
              <a:xfrm>
                <a:off x="6625" y="2958"/>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6" name="Freeform 2415">
                <a:extLst>
                  <a:ext uri="{FF2B5EF4-FFF2-40B4-BE49-F238E27FC236}">
                    <a16:creationId xmlns:a16="http://schemas.microsoft.com/office/drawing/2014/main" id="{582E3DE4-6806-4B17-99B1-C23E52AD7BA1}"/>
                  </a:ext>
                </a:extLst>
              </p:cNvPr>
              <p:cNvSpPr>
                <a:spLocks/>
              </p:cNvSpPr>
              <p:nvPr/>
            </p:nvSpPr>
            <p:spPr bwMode="auto">
              <a:xfrm>
                <a:off x="6330" y="2942"/>
                <a:ext cx="9" cy="5"/>
              </a:xfrm>
              <a:custGeom>
                <a:avLst/>
                <a:gdLst>
                  <a:gd name="T0" fmla="*/ 2 w 4"/>
                  <a:gd name="T1" fmla="*/ 2 h 2"/>
                  <a:gd name="T2" fmla="*/ 4 w 4"/>
                  <a:gd name="T3" fmla="*/ 1 h 2"/>
                  <a:gd name="T4" fmla="*/ 4 w 4"/>
                  <a:gd name="T5" fmla="*/ 1 h 2"/>
                  <a:gd name="T6" fmla="*/ 1 w 4"/>
                  <a:gd name="T7" fmla="*/ 0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cubicBezTo>
                      <a:pt x="2" y="2"/>
                      <a:pt x="4" y="1"/>
                      <a:pt x="4" y="1"/>
                    </a:cubicBezTo>
                    <a:cubicBezTo>
                      <a:pt x="4" y="1"/>
                      <a:pt x="4" y="1"/>
                      <a:pt x="4" y="1"/>
                    </a:cubicBezTo>
                    <a:cubicBezTo>
                      <a:pt x="3" y="1"/>
                      <a:pt x="2" y="1"/>
                      <a:pt x="1"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7" name="Freeform 2416">
                <a:extLst>
                  <a:ext uri="{FF2B5EF4-FFF2-40B4-BE49-F238E27FC236}">
                    <a16:creationId xmlns:a16="http://schemas.microsoft.com/office/drawing/2014/main" id="{A9F018F4-F670-45D7-835C-9C5893E38F1A}"/>
                  </a:ext>
                </a:extLst>
              </p:cNvPr>
              <p:cNvSpPr>
                <a:spLocks/>
              </p:cNvSpPr>
              <p:nvPr/>
            </p:nvSpPr>
            <p:spPr bwMode="auto">
              <a:xfrm>
                <a:off x="6422" y="2975"/>
                <a:ext cx="2" cy="2"/>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8" name="Freeform 2417">
                <a:extLst>
                  <a:ext uri="{FF2B5EF4-FFF2-40B4-BE49-F238E27FC236}">
                    <a16:creationId xmlns:a16="http://schemas.microsoft.com/office/drawing/2014/main" id="{DE80EBDE-B8B1-4183-B3FB-E66CF01AC95F}"/>
                  </a:ext>
                </a:extLst>
              </p:cNvPr>
              <p:cNvSpPr>
                <a:spLocks/>
              </p:cNvSpPr>
              <p:nvPr/>
            </p:nvSpPr>
            <p:spPr bwMode="auto">
              <a:xfrm>
                <a:off x="6176" y="2814"/>
                <a:ext cx="5" cy="3"/>
              </a:xfrm>
              <a:custGeom>
                <a:avLst/>
                <a:gdLst>
                  <a:gd name="T0" fmla="*/ 0 w 2"/>
                  <a:gd name="T1" fmla="*/ 0 h 1"/>
                  <a:gd name="T2" fmla="*/ 2 w 2"/>
                  <a:gd name="T3" fmla="*/ 0 h 1"/>
                  <a:gd name="T4" fmla="*/ 0 w 2"/>
                  <a:gd name="T5" fmla="*/ 0 h 1"/>
                </a:gdLst>
                <a:ahLst/>
                <a:cxnLst>
                  <a:cxn ang="0">
                    <a:pos x="T0" y="T1"/>
                  </a:cxn>
                  <a:cxn ang="0">
                    <a:pos x="T2" y="T3"/>
                  </a:cxn>
                  <a:cxn ang="0">
                    <a:pos x="T4" y="T5"/>
                  </a:cxn>
                </a:cxnLst>
                <a:rect l="0" t="0" r="r" b="b"/>
                <a:pathLst>
                  <a:path w="2" h="1">
                    <a:moveTo>
                      <a:pt x="0" y="0"/>
                    </a:moveTo>
                    <a:cubicBezTo>
                      <a:pt x="1" y="1"/>
                      <a:pt x="1" y="0"/>
                      <a:pt x="2"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9" name="Freeform 2418">
                <a:extLst>
                  <a:ext uri="{FF2B5EF4-FFF2-40B4-BE49-F238E27FC236}">
                    <a16:creationId xmlns:a16="http://schemas.microsoft.com/office/drawing/2014/main" id="{F0F4D331-DC7E-453B-94FC-0DBA0301859B}"/>
                  </a:ext>
                </a:extLst>
              </p:cNvPr>
              <p:cNvSpPr>
                <a:spLocks/>
              </p:cNvSpPr>
              <p:nvPr/>
            </p:nvSpPr>
            <p:spPr bwMode="auto">
              <a:xfrm>
                <a:off x="6708" y="2973"/>
                <a:ext cx="9" cy="7"/>
              </a:xfrm>
              <a:custGeom>
                <a:avLst/>
                <a:gdLst>
                  <a:gd name="T0" fmla="*/ 0 w 4"/>
                  <a:gd name="T1" fmla="*/ 3 h 3"/>
                  <a:gd name="T2" fmla="*/ 2 w 4"/>
                  <a:gd name="T3" fmla="*/ 2 h 3"/>
                  <a:gd name="T4" fmla="*/ 4 w 4"/>
                  <a:gd name="T5" fmla="*/ 1 h 3"/>
                  <a:gd name="T6" fmla="*/ 0 w 4"/>
                  <a:gd name="T7" fmla="*/ 3 h 3"/>
                </a:gdLst>
                <a:ahLst/>
                <a:cxnLst>
                  <a:cxn ang="0">
                    <a:pos x="T0" y="T1"/>
                  </a:cxn>
                  <a:cxn ang="0">
                    <a:pos x="T2" y="T3"/>
                  </a:cxn>
                  <a:cxn ang="0">
                    <a:pos x="T4" y="T5"/>
                  </a:cxn>
                  <a:cxn ang="0">
                    <a:pos x="T6" y="T7"/>
                  </a:cxn>
                </a:cxnLst>
                <a:rect l="0" t="0" r="r" b="b"/>
                <a:pathLst>
                  <a:path w="4" h="3">
                    <a:moveTo>
                      <a:pt x="0" y="3"/>
                    </a:moveTo>
                    <a:cubicBezTo>
                      <a:pt x="1" y="2"/>
                      <a:pt x="1" y="2"/>
                      <a:pt x="2" y="2"/>
                    </a:cubicBezTo>
                    <a:cubicBezTo>
                      <a:pt x="3" y="1"/>
                      <a:pt x="3" y="1"/>
                      <a:pt x="4" y="1"/>
                    </a:cubicBezTo>
                    <a:cubicBezTo>
                      <a:pt x="2"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0" name="Freeform 2419">
                <a:extLst>
                  <a:ext uri="{FF2B5EF4-FFF2-40B4-BE49-F238E27FC236}">
                    <a16:creationId xmlns:a16="http://schemas.microsoft.com/office/drawing/2014/main" id="{0E8011CE-D44F-46D0-AEE4-C767C7C29A22}"/>
                  </a:ext>
                </a:extLst>
              </p:cNvPr>
              <p:cNvSpPr>
                <a:spLocks/>
              </p:cNvSpPr>
              <p:nvPr/>
            </p:nvSpPr>
            <p:spPr bwMode="auto">
              <a:xfrm>
                <a:off x="6625" y="2760"/>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1" name="Freeform 2420">
                <a:extLst>
                  <a:ext uri="{FF2B5EF4-FFF2-40B4-BE49-F238E27FC236}">
                    <a16:creationId xmlns:a16="http://schemas.microsoft.com/office/drawing/2014/main" id="{AC6FA5E5-EB2A-407E-8808-D1A97C9827B7}"/>
                  </a:ext>
                </a:extLst>
              </p:cNvPr>
              <p:cNvSpPr>
                <a:spLocks/>
              </p:cNvSpPr>
              <p:nvPr/>
            </p:nvSpPr>
            <p:spPr bwMode="auto">
              <a:xfrm>
                <a:off x="6637" y="2864"/>
                <a:ext cx="9" cy="5"/>
              </a:xfrm>
              <a:custGeom>
                <a:avLst/>
                <a:gdLst>
                  <a:gd name="T0" fmla="*/ 1 w 4"/>
                  <a:gd name="T1" fmla="*/ 1 h 2"/>
                  <a:gd name="T2" fmla="*/ 2 w 4"/>
                  <a:gd name="T3" fmla="*/ 1 h 2"/>
                  <a:gd name="T4" fmla="*/ 4 w 4"/>
                  <a:gd name="T5" fmla="*/ 0 h 2"/>
                  <a:gd name="T6" fmla="*/ 1 w 4"/>
                  <a:gd name="T7" fmla="*/ 1 h 2"/>
                </a:gdLst>
                <a:ahLst/>
                <a:cxnLst>
                  <a:cxn ang="0">
                    <a:pos x="T0" y="T1"/>
                  </a:cxn>
                  <a:cxn ang="0">
                    <a:pos x="T2" y="T3"/>
                  </a:cxn>
                  <a:cxn ang="0">
                    <a:pos x="T4" y="T5"/>
                  </a:cxn>
                  <a:cxn ang="0">
                    <a:pos x="T6" y="T7"/>
                  </a:cxn>
                </a:cxnLst>
                <a:rect l="0" t="0" r="r" b="b"/>
                <a:pathLst>
                  <a:path w="4" h="2">
                    <a:moveTo>
                      <a:pt x="1" y="1"/>
                    </a:moveTo>
                    <a:cubicBezTo>
                      <a:pt x="0" y="2"/>
                      <a:pt x="1" y="2"/>
                      <a:pt x="2" y="1"/>
                    </a:cubicBezTo>
                    <a:cubicBezTo>
                      <a:pt x="3" y="1"/>
                      <a:pt x="3" y="1"/>
                      <a:pt x="4" y="0"/>
                    </a:cubicBezTo>
                    <a:cubicBezTo>
                      <a:pt x="3"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2" name="Freeform 2421">
                <a:extLst>
                  <a:ext uri="{FF2B5EF4-FFF2-40B4-BE49-F238E27FC236}">
                    <a16:creationId xmlns:a16="http://schemas.microsoft.com/office/drawing/2014/main" id="{197196BA-5643-4EA3-9EF2-3E11AE51F374}"/>
                  </a:ext>
                </a:extLst>
              </p:cNvPr>
              <p:cNvSpPr>
                <a:spLocks/>
              </p:cNvSpPr>
              <p:nvPr/>
            </p:nvSpPr>
            <p:spPr bwMode="auto">
              <a:xfrm>
                <a:off x="6609" y="2667"/>
                <a:ext cx="4" cy="15"/>
              </a:xfrm>
              <a:custGeom>
                <a:avLst/>
                <a:gdLst>
                  <a:gd name="T0" fmla="*/ 1 w 2"/>
                  <a:gd name="T1" fmla="*/ 0 h 6"/>
                  <a:gd name="T2" fmla="*/ 1 w 2"/>
                  <a:gd name="T3" fmla="*/ 6 h 6"/>
                  <a:gd name="T4" fmla="*/ 2 w 2"/>
                  <a:gd name="T5" fmla="*/ 4 h 6"/>
                  <a:gd name="T6" fmla="*/ 2 w 2"/>
                  <a:gd name="T7" fmla="*/ 3 h 6"/>
                  <a:gd name="T8" fmla="*/ 2 w 2"/>
                  <a:gd name="T9" fmla="*/ 2 h 6"/>
                  <a:gd name="T10" fmla="*/ 2 w 2"/>
                  <a:gd name="T11" fmla="*/ 1 h 6"/>
                  <a:gd name="T12" fmla="*/ 1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1" y="0"/>
                    </a:moveTo>
                    <a:cubicBezTo>
                      <a:pt x="0" y="2"/>
                      <a:pt x="1" y="4"/>
                      <a:pt x="1" y="6"/>
                    </a:cubicBezTo>
                    <a:cubicBezTo>
                      <a:pt x="1" y="5"/>
                      <a:pt x="1" y="4"/>
                      <a:pt x="2" y="4"/>
                    </a:cubicBezTo>
                    <a:cubicBezTo>
                      <a:pt x="2" y="3"/>
                      <a:pt x="2" y="3"/>
                      <a:pt x="2" y="3"/>
                    </a:cubicBezTo>
                    <a:cubicBezTo>
                      <a:pt x="2" y="2"/>
                      <a:pt x="2" y="2"/>
                      <a:pt x="2" y="2"/>
                    </a:cubicBezTo>
                    <a:cubicBezTo>
                      <a:pt x="2" y="2"/>
                      <a:pt x="2" y="1"/>
                      <a:pt x="2"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3" name="Freeform 2422">
                <a:extLst>
                  <a:ext uri="{FF2B5EF4-FFF2-40B4-BE49-F238E27FC236}">
                    <a16:creationId xmlns:a16="http://schemas.microsoft.com/office/drawing/2014/main" id="{93B1DE09-A737-4948-A4BF-3F19DAB6E04E}"/>
                  </a:ext>
                </a:extLst>
              </p:cNvPr>
              <p:cNvSpPr>
                <a:spLocks/>
              </p:cNvSpPr>
              <p:nvPr/>
            </p:nvSpPr>
            <p:spPr bwMode="auto">
              <a:xfrm>
                <a:off x="6157" y="2675"/>
                <a:ext cx="9" cy="14"/>
              </a:xfrm>
              <a:custGeom>
                <a:avLst/>
                <a:gdLst>
                  <a:gd name="T0" fmla="*/ 1 w 4"/>
                  <a:gd name="T1" fmla="*/ 6 h 6"/>
                  <a:gd name="T2" fmla="*/ 3 w 4"/>
                  <a:gd name="T3" fmla="*/ 6 h 6"/>
                  <a:gd name="T4" fmla="*/ 4 w 4"/>
                  <a:gd name="T5" fmla="*/ 4 h 6"/>
                  <a:gd name="T6" fmla="*/ 2 w 4"/>
                  <a:gd name="T7" fmla="*/ 0 h 6"/>
                  <a:gd name="T8" fmla="*/ 0 w 4"/>
                  <a:gd name="T9" fmla="*/ 2 h 6"/>
                  <a:gd name="T10" fmla="*/ 1 w 4"/>
                  <a:gd name="T11" fmla="*/ 4 h 6"/>
                  <a:gd name="T12" fmla="*/ 3 w 4"/>
                  <a:gd name="T13" fmla="*/ 5 h 6"/>
                  <a:gd name="T14" fmla="*/ 1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1" y="6"/>
                    </a:moveTo>
                    <a:cubicBezTo>
                      <a:pt x="1" y="6"/>
                      <a:pt x="3" y="6"/>
                      <a:pt x="3" y="6"/>
                    </a:cubicBezTo>
                    <a:cubicBezTo>
                      <a:pt x="3" y="6"/>
                      <a:pt x="4" y="5"/>
                      <a:pt x="4" y="4"/>
                    </a:cubicBezTo>
                    <a:cubicBezTo>
                      <a:pt x="4" y="2"/>
                      <a:pt x="3" y="2"/>
                      <a:pt x="2" y="0"/>
                    </a:cubicBezTo>
                    <a:cubicBezTo>
                      <a:pt x="2" y="1"/>
                      <a:pt x="0" y="1"/>
                      <a:pt x="0" y="2"/>
                    </a:cubicBezTo>
                    <a:cubicBezTo>
                      <a:pt x="0" y="3"/>
                      <a:pt x="0" y="3"/>
                      <a:pt x="1" y="4"/>
                    </a:cubicBezTo>
                    <a:cubicBezTo>
                      <a:pt x="1" y="4"/>
                      <a:pt x="3" y="4"/>
                      <a:pt x="3" y="5"/>
                    </a:cubicBezTo>
                    <a:cubicBezTo>
                      <a:pt x="3" y="5"/>
                      <a:pt x="1"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4" name="Freeform 2423">
                <a:extLst>
                  <a:ext uri="{FF2B5EF4-FFF2-40B4-BE49-F238E27FC236}">
                    <a16:creationId xmlns:a16="http://schemas.microsoft.com/office/drawing/2014/main" id="{31BFEB1E-E25E-44FF-AF43-8D9D59058B5F}"/>
                  </a:ext>
                </a:extLst>
              </p:cNvPr>
              <p:cNvSpPr>
                <a:spLocks/>
              </p:cNvSpPr>
              <p:nvPr/>
            </p:nvSpPr>
            <p:spPr bwMode="auto">
              <a:xfrm>
                <a:off x="6039" y="2760"/>
                <a:ext cx="4" cy="4"/>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1" y="2"/>
                      <a:pt x="1" y="2"/>
                      <a:pt x="2" y="1"/>
                    </a:cubicBezTo>
                    <a:cubicBezTo>
                      <a:pt x="1" y="0"/>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5" name="Freeform 2424">
                <a:extLst>
                  <a:ext uri="{FF2B5EF4-FFF2-40B4-BE49-F238E27FC236}">
                    <a16:creationId xmlns:a16="http://schemas.microsoft.com/office/drawing/2014/main" id="{2CD4369D-1383-4DA1-96EE-F165E184FD02}"/>
                  </a:ext>
                </a:extLst>
              </p:cNvPr>
              <p:cNvSpPr>
                <a:spLocks/>
              </p:cNvSpPr>
              <p:nvPr/>
            </p:nvSpPr>
            <p:spPr bwMode="auto">
              <a:xfrm>
                <a:off x="6022" y="2748"/>
                <a:ext cx="19" cy="12"/>
              </a:xfrm>
              <a:custGeom>
                <a:avLst/>
                <a:gdLst>
                  <a:gd name="T0" fmla="*/ 5 w 8"/>
                  <a:gd name="T1" fmla="*/ 1 h 5"/>
                  <a:gd name="T2" fmla="*/ 4 w 8"/>
                  <a:gd name="T3" fmla="*/ 1 h 5"/>
                  <a:gd name="T4" fmla="*/ 2 w 8"/>
                  <a:gd name="T5" fmla="*/ 2 h 5"/>
                  <a:gd name="T6" fmla="*/ 2 w 8"/>
                  <a:gd name="T7" fmla="*/ 2 h 5"/>
                  <a:gd name="T8" fmla="*/ 1 w 8"/>
                  <a:gd name="T9" fmla="*/ 1 h 5"/>
                  <a:gd name="T10" fmla="*/ 1 w 8"/>
                  <a:gd name="T11" fmla="*/ 3 h 5"/>
                  <a:gd name="T12" fmla="*/ 0 w 8"/>
                  <a:gd name="T13" fmla="*/ 3 h 5"/>
                  <a:gd name="T14" fmla="*/ 6 w 8"/>
                  <a:gd name="T15" fmla="*/ 4 h 5"/>
                  <a:gd name="T16" fmla="*/ 3 w 8"/>
                  <a:gd name="T17" fmla="*/ 2 h 5"/>
                  <a:gd name="T18" fmla="*/ 2 w 8"/>
                  <a:gd name="T19" fmla="*/ 2 h 5"/>
                  <a:gd name="T20" fmla="*/ 3 w 8"/>
                  <a:gd name="T21" fmla="*/ 2 h 5"/>
                  <a:gd name="T22" fmla="*/ 8 w 8"/>
                  <a:gd name="T23" fmla="*/ 4 h 5"/>
                  <a:gd name="T24" fmla="*/ 5 w 8"/>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5" y="1"/>
                    </a:moveTo>
                    <a:cubicBezTo>
                      <a:pt x="5" y="1"/>
                      <a:pt x="4" y="0"/>
                      <a:pt x="4" y="1"/>
                    </a:cubicBezTo>
                    <a:cubicBezTo>
                      <a:pt x="3" y="1"/>
                      <a:pt x="3" y="1"/>
                      <a:pt x="2" y="2"/>
                    </a:cubicBezTo>
                    <a:cubicBezTo>
                      <a:pt x="2" y="2"/>
                      <a:pt x="2" y="2"/>
                      <a:pt x="2" y="2"/>
                    </a:cubicBezTo>
                    <a:cubicBezTo>
                      <a:pt x="2" y="1"/>
                      <a:pt x="2" y="1"/>
                      <a:pt x="1" y="1"/>
                    </a:cubicBezTo>
                    <a:cubicBezTo>
                      <a:pt x="0" y="1"/>
                      <a:pt x="1" y="2"/>
                      <a:pt x="1" y="3"/>
                    </a:cubicBezTo>
                    <a:cubicBezTo>
                      <a:pt x="1" y="3"/>
                      <a:pt x="0" y="3"/>
                      <a:pt x="0" y="3"/>
                    </a:cubicBezTo>
                    <a:cubicBezTo>
                      <a:pt x="0" y="5"/>
                      <a:pt x="6" y="4"/>
                      <a:pt x="6" y="4"/>
                    </a:cubicBezTo>
                    <a:cubicBezTo>
                      <a:pt x="5" y="3"/>
                      <a:pt x="4" y="3"/>
                      <a:pt x="3" y="2"/>
                    </a:cubicBezTo>
                    <a:cubicBezTo>
                      <a:pt x="2" y="2"/>
                      <a:pt x="2" y="2"/>
                      <a:pt x="2" y="2"/>
                    </a:cubicBezTo>
                    <a:cubicBezTo>
                      <a:pt x="2" y="2"/>
                      <a:pt x="3" y="2"/>
                      <a:pt x="3" y="2"/>
                    </a:cubicBezTo>
                    <a:cubicBezTo>
                      <a:pt x="4" y="2"/>
                      <a:pt x="7" y="3"/>
                      <a:pt x="8" y="4"/>
                    </a:cubicBezTo>
                    <a:cubicBezTo>
                      <a:pt x="7" y="2"/>
                      <a:pt x="6" y="2"/>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6" name="Freeform 2425">
                <a:extLst>
                  <a:ext uri="{FF2B5EF4-FFF2-40B4-BE49-F238E27FC236}">
                    <a16:creationId xmlns:a16="http://schemas.microsoft.com/office/drawing/2014/main" id="{0375B50D-5E04-4B86-898A-AEC2F86273F6}"/>
                  </a:ext>
                </a:extLst>
              </p:cNvPr>
              <p:cNvSpPr>
                <a:spLocks/>
              </p:cNvSpPr>
              <p:nvPr/>
            </p:nvSpPr>
            <p:spPr bwMode="auto">
              <a:xfrm>
                <a:off x="6769" y="2876"/>
                <a:ext cx="5" cy="4"/>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1"/>
                      <a:pt x="0" y="1"/>
                      <a:pt x="0"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7" name="Freeform 2426">
                <a:extLst>
                  <a:ext uri="{FF2B5EF4-FFF2-40B4-BE49-F238E27FC236}">
                    <a16:creationId xmlns:a16="http://schemas.microsoft.com/office/drawing/2014/main" id="{2F5CCFAC-270C-40EA-A110-6C4188B06771}"/>
                  </a:ext>
                </a:extLst>
              </p:cNvPr>
              <p:cNvSpPr>
                <a:spLocks/>
              </p:cNvSpPr>
              <p:nvPr/>
            </p:nvSpPr>
            <p:spPr bwMode="auto">
              <a:xfrm>
                <a:off x="6493" y="2786"/>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8" name="Freeform 2427">
                <a:extLst>
                  <a:ext uri="{FF2B5EF4-FFF2-40B4-BE49-F238E27FC236}">
                    <a16:creationId xmlns:a16="http://schemas.microsoft.com/office/drawing/2014/main" id="{9E751DD7-1066-4964-A22B-3AB2B32AE168}"/>
                  </a:ext>
                </a:extLst>
              </p:cNvPr>
              <p:cNvSpPr>
                <a:spLocks/>
              </p:cNvSpPr>
              <p:nvPr/>
            </p:nvSpPr>
            <p:spPr bwMode="auto">
              <a:xfrm>
                <a:off x="6625" y="2769"/>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9" name="Freeform 2428">
                <a:extLst>
                  <a:ext uri="{FF2B5EF4-FFF2-40B4-BE49-F238E27FC236}">
                    <a16:creationId xmlns:a16="http://schemas.microsoft.com/office/drawing/2014/main" id="{0930C2C8-3BFB-4FCF-80CF-C42F3526EEA2}"/>
                  </a:ext>
                </a:extLst>
              </p:cNvPr>
              <p:cNvSpPr>
                <a:spLocks/>
              </p:cNvSpPr>
              <p:nvPr/>
            </p:nvSpPr>
            <p:spPr bwMode="auto">
              <a:xfrm>
                <a:off x="6538" y="2824"/>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0" name="Freeform 2429">
                <a:extLst>
                  <a:ext uri="{FF2B5EF4-FFF2-40B4-BE49-F238E27FC236}">
                    <a16:creationId xmlns:a16="http://schemas.microsoft.com/office/drawing/2014/main" id="{8F3FB429-19CF-4798-85E0-4A08DB1201BF}"/>
                  </a:ext>
                </a:extLst>
              </p:cNvPr>
              <p:cNvSpPr>
                <a:spLocks/>
              </p:cNvSpPr>
              <p:nvPr/>
            </p:nvSpPr>
            <p:spPr bwMode="auto">
              <a:xfrm>
                <a:off x="6055" y="2755"/>
                <a:ext cx="5" cy="2"/>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1"/>
                      <a:pt x="1"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1" name="Freeform 2430">
                <a:extLst>
                  <a:ext uri="{FF2B5EF4-FFF2-40B4-BE49-F238E27FC236}">
                    <a16:creationId xmlns:a16="http://schemas.microsoft.com/office/drawing/2014/main" id="{E5B5336A-176E-44BF-9C62-E95C51710DAE}"/>
                  </a:ext>
                </a:extLst>
              </p:cNvPr>
              <p:cNvSpPr>
                <a:spLocks/>
              </p:cNvSpPr>
              <p:nvPr/>
            </p:nvSpPr>
            <p:spPr bwMode="auto">
              <a:xfrm>
                <a:off x="6065" y="2757"/>
                <a:ext cx="2"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2" name="Freeform 2431">
                <a:extLst>
                  <a:ext uri="{FF2B5EF4-FFF2-40B4-BE49-F238E27FC236}">
                    <a16:creationId xmlns:a16="http://schemas.microsoft.com/office/drawing/2014/main" id="{4CC5A54A-721A-48C7-83D6-6670B50A012E}"/>
                  </a:ext>
                </a:extLst>
              </p:cNvPr>
              <p:cNvSpPr>
                <a:spLocks/>
              </p:cNvSpPr>
              <p:nvPr/>
            </p:nvSpPr>
            <p:spPr bwMode="auto">
              <a:xfrm>
                <a:off x="6043" y="2755"/>
                <a:ext cx="5" cy="7"/>
              </a:xfrm>
              <a:custGeom>
                <a:avLst/>
                <a:gdLst>
                  <a:gd name="T0" fmla="*/ 2 w 2"/>
                  <a:gd name="T1" fmla="*/ 2 h 3"/>
                  <a:gd name="T2" fmla="*/ 1 w 2"/>
                  <a:gd name="T3" fmla="*/ 0 h 3"/>
                  <a:gd name="T4" fmla="*/ 2 w 2"/>
                  <a:gd name="T5" fmla="*/ 2 h 3"/>
                </a:gdLst>
                <a:ahLst/>
                <a:cxnLst>
                  <a:cxn ang="0">
                    <a:pos x="T0" y="T1"/>
                  </a:cxn>
                  <a:cxn ang="0">
                    <a:pos x="T2" y="T3"/>
                  </a:cxn>
                  <a:cxn ang="0">
                    <a:pos x="T4" y="T5"/>
                  </a:cxn>
                </a:cxnLst>
                <a:rect l="0" t="0" r="r" b="b"/>
                <a:pathLst>
                  <a:path w="2" h="3">
                    <a:moveTo>
                      <a:pt x="2" y="2"/>
                    </a:moveTo>
                    <a:cubicBezTo>
                      <a:pt x="2" y="1"/>
                      <a:pt x="1" y="1"/>
                      <a:pt x="1" y="0"/>
                    </a:cubicBezTo>
                    <a:cubicBezTo>
                      <a:pt x="0" y="1"/>
                      <a:pt x="1"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3" name="Freeform 2432">
                <a:extLst>
                  <a:ext uri="{FF2B5EF4-FFF2-40B4-BE49-F238E27FC236}">
                    <a16:creationId xmlns:a16="http://schemas.microsoft.com/office/drawing/2014/main" id="{382CA680-6756-4BFE-B4F8-F64126AD8D28}"/>
                  </a:ext>
                </a:extLst>
              </p:cNvPr>
              <p:cNvSpPr>
                <a:spLocks/>
              </p:cNvSpPr>
              <p:nvPr/>
            </p:nvSpPr>
            <p:spPr bwMode="auto">
              <a:xfrm>
                <a:off x="6635" y="2973"/>
                <a:ext cx="9" cy="4"/>
              </a:xfrm>
              <a:custGeom>
                <a:avLst/>
                <a:gdLst>
                  <a:gd name="T0" fmla="*/ 2 w 4"/>
                  <a:gd name="T1" fmla="*/ 2 h 2"/>
                  <a:gd name="T2" fmla="*/ 4 w 4"/>
                  <a:gd name="T3" fmla="*/ 1 h 2"/>
                  <a:gd name="T4" fmla="*/ 0 w 4"/>
                  <a:gd name="T5" fmla="*/ 0 h 2"/>
                  <a:gd name="T6" fmla="*/ 2 w 4"/>
                  <a:gd name="T7" fmla="*/ 2 h 2"/>
                </a:gdLst>
                <a:ahLst/>
                <a:cxnLst>
                  <a:cxn ang="0">
                    <a:pos x="T0" y="T1"/>
                  </a:cxn>
                  <a:cxn ang="0">
                    <a:pos x="T2" y="T3"/>
                  </a:cxn>
                  <a:cxn ang="0">
                    <a:pos x="T4" y="T5"/>
                  </a:cxn>
                  <a:cxn ang="0">
                    <a:pos x="T6" y="T7"/>
                  </a:cxn>
                </a:cxnLst>
                <a:rect l="0" t="0" r="r" b="b"/>
                <a:pathLst>
                  <a:path w="4" h="2">
                    <a:moveTo>
                      <a:pt x="2" y="2"/>
                    </a:moveTo>
                    <a:cubicBezTo>
                      <a:pt x="3" y="2"/>
                      <a:pt x="3" y="2"/>
                      <a:pt x="4" y="1"/>
                    </a:cubicBezTo>
                    <a:cubicBezTo>
                      <a:pt x="2" y="1"/>
                      <a:pt x="1" y="1"/>
                      <a:pt x="0"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4" name="Freeform 2433">
                <a:extLst>
                  <a:ext uri="{FF2B5EF4-FFF2-40B4-BE49-F238E27FC236}">
                    <a16:creationId xmlns:a16="http://schemas.microsoft.com/office/drawing/2014/main" id="{F374C984-87A8-49EF-BDB2-CCEC8C61E464}"/>
                  </a:ext>
                </a:extLst>
              </p:cNvPr>
              <p:cNvSpPr>
                <a:spLocks/>
              </p:cNvSpPr>
              <p:nvPr/>
            </p:nvSpPr>
            <p:spPr bwMode="auto">
              <a:xfrm>
                <a:off x="6455" y="2918"/>
                <a:ext cx="5" cy="17"/>
              </a:xfrm>
              <a:custGeom>
                <a:avLst/>
                <a:gdLst>
                  <a:gd name="T0" fmla="*/ 1 w 2"/>
                  <a:gd name="T1" fmla="*/ 7 h 7"/>
                  <a:gd name="T2" fmla="*/ 2 w 2"/>
                  <a:gd name="T3" fmla="*/ 0 h 7"/>
                  <a:gd name="T4" fmla="*/ 1 w 2"/>
                  <a:gd name="T5" fmla="*/ 7 h 7"/>
                </a:gdLst>
                <a:ahLst/>
                <a:cxnLst>
                  <a:cxn ang="0">
                    <a:pos x="T0" y="T1"/>
                  </a:cxn>
                  <a:cxn ang="0">
                    <a:pos x="T2" y="T3"/>
                  </a:cxn>
                  <a:cxn ang="0">
                    <a:pos x="T4" y="T5"/>
                  </a:cxn>
                </a:cxnLst>
                <a:rect l="0" t="0" r="r" b="b"/>
                <a:pathLst>
                  <a:path w="2" h="7">
                    <a:moveTo>
                      <a:pt x="1" y="7"/>
                    </a:moveTo>
                    <a:cubicBezTo>
                      <a:pt x="2" y="4"/>
                      <a:pt x="2" y="2"/>
                      <a:pt x="2" y="0"/>
                    </a:cubicBezTo>
                    <a:cubicBezTo>
                      <a:pt x="0" y="1"/>
                      <a:pt x="1" y="5"/>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5" name="Freeform 2434">
                <a:extLst>
                  <a:ext uri="{FF2B5EF4-FFF2-40B4-BE49-F238E27FC236}">
                    <a16:creationId xmlns:a16="http://schemas.microsoft.com/office/drawing/2014/main" id="{89C377A2-3AB5-4568-9341-CEAE858E1B0F}"/>
                  </a:ext>
                </a:extLst>
              </p:cNvPr>
              <p:cNvSpPr>
                <a:spLocks/>
              </p:cNvSpPr>
              <p:nvPr/>
            </p:nvSpPr>
            <p:spPr bwMode="auto">
              <a:xfrm>
                <a:off x="6074" y="2772"/>
                <a:ext cx="3" cy="4"/>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0" y="1"/>
                      <a:pt x="0" y="0"/>
                    </a:cubicBezTo>
                    <a:cubicBezTo>
                      <a:pt x="0" y="1"/>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6" name="Freeform 2435">
                <a:extLst>
                  <a:ext uri="{FF2B5EF4-FFF2-40B4-BE49-F238E27FC236}">
                    <a16:creationId xmlns:a16="http://schemas.microsoft.com/office/drawing/2014/main" id="{52E23451-43E2-460D-BB46-8EB185AAD467}"/>
                  </a:ext>
                </a:extLst>
              </p:cNvPr>
              <p:cNvSpPr>
                <a:spLocks/>
              </p:cNvSpPr>
              <p:nvPr/>
            </p:nvSpPr>
            <p:spPr bwMode="auto">
              <a:xfrm>
                <a:off x="6734" y="2951"/>
                <a:ext cx="2"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7" name="Freeform 2436">
                <a:extLst>
                  <a:ext uri="{FF2B5EF4-FFF2-40B4-BE49-F238E27FC236}">
                    <a16:creationId xmlns:a16="http://schemas.microsoft.com/office/drawing/2014/main" id="{AC167340-24E0-48AE-88EE-AA19E8BD111A}"/>
                  </a:ext>
                </a:extLst>
              </p:cNvPr>
              <p:cNvSpPr>
                <a:spLocks/>
              </p:cNvSpPr>
              <p:nvPr/>
            </p:nvSpPr>
            <p:spPr bwMode="auto">
              <a:xfrm>
                <a:off x="6731" y="2949"/>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0"/>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8" name="Freeform 2437">
                <a:extLst>
                  <a:ext uri="{FF2B5EF4-FFF2-40B4-BE49-F238E27FC236}">
                    <a16:creationId xmlns:a16="http://schemas.microsoft.com/office/drawing/2014/main" id="{4FC5A366-F693-4C2F-8D0C-4B656F5E6F32}"/>
                  </a:ext>
                </a:extLst>
              </p:cNvPr>
              <p:cNvSpPr>
                <a:spLocks/>
              </p:cNvSpPr>
              <p:nvPr/>
            </p:nvSpPr>
            <p:spPr bwMode="auto">
              <a:xfrm>
                <a:off x="6502" y="2890"/>
                <a:ext cx="12" cy="19"/>
              </a:xfrm>
              <a:custGeom>
                <a:avLst/>
                <a:gdLst>
                  <a:gd name="T0" fmla="*/ 1 w 5"/>
                  <a:gd name="T1" fmla="*/ 8 h 8"/>
                  <a:gd name="T2" fmla="*/ 3 w 5"/>
                  <a:gd name="T3" fmla="*/ 7 h 8"/>
                  <a:gd name="T4" fmla="*/ 4 w 5"/>
                  <a:gd name="T5" fmla="*/ 6 h 8"/>
                  <a:gd name="T6" fmla="*/ 4 w 5"/>
                  <a:gd name="T7" fmla="*/ 5 h 8"/>
                  <a:gd name="T8" fmla="*/ 5 w 5"/>
                  <a:gd name="T9" fmla="*/ 3 h 8"/>
                  <a:gd name="T10" fmla="*/ 4 w 5"/>
                  <a:gd name="T11" fmla="*/ 0 h 8"/>
                  <a:gd name="T12" fmla="*/ 3 w 5"/>
                  <a:gd name="T13" fmla="*/ 1 h 8"/>
                  <a:gd name="T14" fmla="*/ 1 w 5"/>
                  <a:gd name="T15" fmla="*/ 1 h 8"/>
                  <a:gd name="T16" fmla="*/ 0 w 5"/>
                  <a:gd name="T17" fmla="*/ 5 h 8"/>
                  <a:gd name="T18" fmla="*/ 1 w 5"/>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1" y="8"/>
                    </a:moveTo>
                    <a:cubicBezTo>
                      <a:pt x="3" y="8"/>
                      <a:pt x="3" y="8"/>
                      <a:pt x="3" y="7"/>
                    </a:cubicBezTo>
                    <a:cubicBezTo>
                      <a:pt x="4" y="7"/>
                      <a:pt x="4" y="7"/>
                      <a:pt x="4" y="6"/>
                    </a:cubicBezTo>
                    <a:cubicBezTo>
                      <a:pt x="4" y="5"/>
                      <a:pt x="3" y="6"/>
                      <a:pt x="4" y="5"/>
                    </a:cubicBezTo>
                    <a:cubicBezTo>
                      <a:pt x="4" y="4"/>
                      <a:pt x="4" y="4"/>
                      <a:pt x="5" y="3"/>
                    </a:cubicBezTo>
                    <a:cubicBezTo>
                      <a:pt x="5" y="2"/>
                      <a:pt x="4" y="1"/>
                      <a:pt x="4" y="0"/>
                    </a:cubicBezTo>
                    <a:cubicBezTo>
                      <a:pt x="3" y="0"/>
                      <a:pt x="3" y="0"/>
                      <a:pt x="3" y="1"/>
                    </a:cubicBezTo>
                    <a:cubicBezTo>
                      <a:pt x="2" y="1"/>
                      <a:pt x="1" y="1"/>
                      <a:pt x="1" y="1"/>
                    </a:cubicBezTo>
                    <a:cubicBezTo>
                      <a:pt x="0" y="2"/>
                      <a:pt x="2" y="4"/>
                      <a:pt x="0" y="5"/>
                    </a:cubicBezTo>
                    <a:cubicBezTo>
                      <a:pt x="0" y="7"/>
                      <a:pt x="0" y="7"/>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9" name="Freeform 2438">
                <a:extLst>
                  <a:ext uri="{FF2B5EF4-FFF2-40B4-BE49-F238E27FC236}">
                    <a16:creationId xmlns:a16="http://schemas.microsoft.com/office/drawing/2014/main" id="{727F0BAC-63B2-466F-A9E8-0D97BF6C2E2E}"/>
                  </a:ext>
                </a:extLst>
              </p:cNvPr>
              <p:cNvSpPr>
                <a:spLocks/>
              </p:cNvSpPr>
              <p:nvPr/>
            </p:nvSpPr>
            <p:spPr bwMode="auto">
              <a:xfrm>
                <a:off x="6516" y="2977"/>
                <a:ext cx="15" cy="5"/>
              </a:xfrm>
              <a:custGeom>
                <a:avLst/>
                <a:gdLst>
                  <a:gd name="T0" fmla="*/ 4 w 6"/>
                  <a:gd name="T1" fmla="*/ 1 h 2"/>
                  <a:gd name="T2" fmla="*/ 5 w 6"/>
                  <a:gd name="T3" fmla="*/ 1 h 2"/>
                  <a:gd name="T4" fmla="*/ 2 w 6"/>
                  <a:gd name="T5" fmla="*/ 0 h 2"/>
                  <a:gd name="T6" fmla="*/ 4 w 6"/>
                  <a:gd name="T7" fmla="*/ 1 h 2"/>
                </a:gdLst>
                <a:ahLst/>
                <a:cxnLst>
                  <a:cxn ang="0">
                    <a:pos x="T0" y="T1"/>
                  </a:cxn>
                  <a:cxn ang="0">
                    <a:pos x="T2" y="T3"/>
                  </a:cxn>
                  <a:cxn ang="0">
                    <a:pos x="T4" y="T5"/>
                  </a:cxn>
                  <a:cxn ang="0">
                    <a:pos x="T6" y="T7"/>
                  </a:cxn>
                </a:cxnLst>
                <a:rect l="0" t="0" r="r" b="b"/>
                <a:pathLst>
                  <a:path w="6" h="2">
                    <a:moveTo>
                      <a:pt x="4" y="1"/>
                    </a:moveTo>
                    <a:cubicBezTo>
                      <a:pt x="4" y="1"/>
                      <a:pt x="4" y="2"/>
                      <a:pt x="5" y="1"/>
                    </a:cubicBezTo>
                    <a:cubicBezTo>
                      <a:pt x="6" y="0"/>
                      <a:pt x="3" y="0"/>
                      <a:pt x="2" y="0"/>
                    </a:cubicBezTo>
                    <a:cubicBezTo>
                      <a:pt x="0" y="2"/>
                      <a:pt x="3"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0" name="Freeform 2439">
                <a:extLst>
                  <a:ext uri="{FF2B5EF4-FFF2-40B4-BE49-F238E27FC236}">
                    <a16:creationId xmlns:a16="http://schemas.microsoft.com/office/drawing/2014/main" id="{681AC1EA-F683-4E8C-A6D7-86BF39B55105}"/>
                  </a:ext>
                </a:extLst>
              </p:cNvPr>
              <p:cNvSpPr>
                <a:spLocks/>
              </p:cNvSpPr>
              <p:nvPr/>
            </p:nvSpPr>
            <p:spPr bwMode="auto">
              <a:xfrm>
                <a:off x="6488" y="3032"/>
                <a:ext cx="7" cy="2"/>
              </a:xfrm>
              <a:custGeom>
                <a:avLst/>
                <a:gdLst>
                  <a:gd name="T0" fmla="*/ 3 w 3"/>
                  <a:gd name="T1" fmla="*/ 0 h 1"/>
                  <a:gd name="T2" fmla="*/ 0 w 3"/>
                  <a:gd name="T3" fmla="*/ 0 h 1"/>
                  <a:gd name="T4" fmla="*/ 3 w 3"/>
                  <a:gd name="T5" fmla="*/ 0 h 1"/>
                </a:gdLst>
                <a:ahLst/>
                <a:cxnLst>
                  <a:cxn ang="0">
                    <a:pos x="T0" y="T1"/>
                  </a:cxn>
                  <a:cxn ang="0">
                    <a:pos x="T2" y="T3"/>
                  </a:cxn>
                  <a:cxn ang="0">
                    <a:pos x="T4" y="T5"/>
                  </a:cxn>
                </a:cxnLst>
                <a:rect l="0" t="0" r="r" b="b"/>
                <a:pathLst>
                  <a:path w="3" h="1">
                    <a:moveTo>
                      <a:pt x="3" y="0"/>
                    </a:moveTo>
                    <a:cubicBezTo>
                      <a:pt x="2" y="0"/>
                      <a:pt x="1" y="0"/>
                      <a:pt x="0" y="0"/>
                    </a:cubicBezTo>
                    <a:cubicBezTo>
                      <a:pt x="1" y="1"/>
                      <a:pt x="3"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1" name="Freeform 2440">
                <a:extLst>
                  <a:ext uri="{FF2B5EF4-FFF2-40B4-BE49-F238E27FC236}">
                    <a16:creationId xmlns:a16="http://schemas.microsoft.com/office/drawing/2014/main" id="{2A837DD7-20BE-4AE3-8B84-225CF14158C0}"/>
                  </a:ext>
                </a:extLst>
              </p:cNvPr>
              <p:cNvSpPr>
                <a:spLocks/>
              </p:cNvSpPr>
              <p:nvPr/>
            </p:nvSpPr>
            <p:spPr bwMode="auto">
              <a:xfrm>
                <a:off x="6618" y="2793"/>
                <a:ext cx="5" cy="5"/>
              </a:xfrm>
              <a:custGeom>
                <a:avLst/>
                <a:gdLst>
                  <a:gd name="T0" fmla="*/ 2 w 2"/>
                  <a:gd name="T1" fmla="*/ 0 h 2"/>
                  <a:gd name="T2" fmla="*/ 1 w 2"/>
                  <a:gd name="T3" fmla="*/ 1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1"/>
                      <a:pt x="1" y="1"/>
                    </a:cubicBezTo>
                    <a:cubicBezTo>
                      <a:pt x="1" y="1"/>
                      <a:pt x="2" y="2"/>
                      <a:pt x="2" y="2"/>
                    </a:cubicBezTo>
                    <a:cubicBezTo>
                      <a:pt x="2"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2" name="Freeform 2441">
                <a:extLst>
                  <a:ext uri="{FF2B5EF4-FFF2-40B4-BE49-F238E27FC236}">
                    <a16:creationId xmlns:a16="http://schemas.microsoft.com/office/drawing/2014/main" id="{725C17D5-542F-4179-83C7-A35BADC298AD}"/>
                  </a:ext>
                </a:extLst>
              </p:cNvPr>
              <p:cNvSpPr>
                <a:spLocks/>
              </p:cNvSpPr>
              <p:nvPr/>
            </p:nvSpPr>
            <p:spPr bwMode="auto">
              <a:xfrm>
                <a:off x="6672" y="2776"/>
                <a:ext cx="5"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2" y="2"/>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3" name="Freeform 2442">
                <a:extLst>
                  <a:ext uri="{FF2B5EF4-FFF2-40B4-BE49-F238E27FC236}">
                    <a16:creationId xmlns:a16="http://schemas.microsoft.com/office/drawing/2014/main" id="{B9FF2AC9-4AE2-4FF2-89A9-914B8963B9DD}"/>
                  </a:ext>
                </a:extLst>
              </p:cNvPr>
              <p:cNvSpPr>
                <a:spLocks/>
              </p:cNvSpPr>
              <p:nvPr/>
            </p:nvSpPr>
            <p:spPr bwMode="auto">
              <a:xfrm>
                <a:off x="5850" y="2634"/>
                <a:ext cx="2"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4" name="Freeform 2443">
                <a:extLst>
                  <a:ext uri="{FF2B5EF4-FFF2-40B4-BE49-F238E27FC236}">
                    <a16:creationId xmlns:a16="http://schemas.microsoft.com/office/drawing/2014/main" id="{ED961154-5849-40E9-B938-17CDEE81911C}"/>
                  </a:ext>
                </a:extLst>
              </p:cNvPr>
              <p:cNvSpPr>
                <a:spLocks/>
              </p:cNvSpPr>
              <p:nvPr/>
            </p:nvSpPr>
            <p:spPr bwMode="auto">
              <a:xfrm>
                <a:off x="5996" y="2727"/>
                <a:ext cx="10" cy="11"/>
              </a:xfrm>
              <a:custGeom>
                <a:avLst/>
                <a:gdLst>
                  <a:gd name="T0" fmla="*/ 4 w 4"/>
                  <a:gd name="T1" fmla="*/ 2 h 5"/>
                  <a:gd name="T2" fmla="*/ 3 w 4"/>
                  <a:gd name="T3" fmla="*/ 0 h 5"/>
                  <a:gd name="T4" fmla="*/ 2 w 4"/>
                  <a:gd name="T5" fmla="*/ 0 h 5"/>
                  <a:gd name="T6" fmla="*/ 1 w 4"/>
                  <a:gd name="T7" fmla="*/ 0 h 5"/>
                  <a:gd name="T8" fmla="*/ 1 w 4"/>
                  <a:gd name="T9" fmla="*/ 3 h 5"/>
                  <a:gd name="T10" fmla="*/ 4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4" y="2"/>
                    </a:moveTo>
                    <a:cubicBezTo>
                      <a:pt x="4" y="0"/>
                      <a:pt x="4" y="0"/>
                      <a:pt x="3" y="0"/>
                    </a:cubicBezTo>
                    <a:cubicBezTo>
                      <a:pt x="3" y="0"/>
                      <a:pt x="2" y="0"/>
                      <a:pt x="2" y="0"/>
                    </a:cubicBezTo>
                    <a:cubicBezTo>
                      <a:pt x="1" y="0"/>
                      <a:pt x="1" y="0"/>
                      <a:pt x="1" y="0"/>
                    </a:cubicBezTo>
                    <a:cubicBezTo>
                      <a:pt x="0" y="1"/>
                      <a:pt x="1" y="3"/>
                      <a:pt x="1" y="3"/>
                    </a:cubicBezTo>
                    <a:cubicBezTo>
                      <a:pt x="3" y="5"/>
                      <a:pt x="4"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5" name="Freeform 2444">
                <a:extLst>
                  <a:ext uri="{FF2B5EF4-FFF2-40B4-BE49-F238E27FC236}">
                    <a16:creationId xmlns:a16="http://schemas.microsoft.com/office/drawing/2014/main" id="{E8CD7039-298D-4781-AFAD-5C718F9C945F}"/>
                  </a:ext>
                </a:extLst>
              </p:cNvPr>
              <p:cNvSpPr>
                <a:spLocks/>
              </p:cNvSpPr>
              <p:nvPr/>
            </p:nvSpPr>
            <p:spPr bwMode="auto">
              <a:xfrm>
                <a:off x="6575" y="2710"/>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6" name="Freeform 2445">
                <a:extLst>
                  <a:ext uri="{FF2B5EF4-FFF2-40B4-BE49-F238E27FC236}">
                    <a16:creationId xmlns:a16="http://schemas.microsoft.com/office/drawing/2014/main" id="{BDF36762-17C1-42E0-B3C5-CAC5E269A0C7}"/>
                  </a:ext>
                </a:extLst>
              </p:cNvPr>
              <p:cNvSpPr>
                <a:spLocks/>
              </p:cNvSpPr>
              <p:nvPr/>
            </p:nvSpPr>
            <p:spPr bwMode="auto">
              <a:xfrm>
                <a:off x="6181" y="2715"/>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7" name="Freeform 2446">
                <a:extLst>
                  <a:ext uri="{FF2B5EF4-FFF2-40B4-BE49-F238E27FC236}">
                    <a16:creationId xmlns:a16="http://schemas.microsoft.com/office/drawing/2014/main" id="{63126101-981B-45FC-8869-2281B4E53F19}"/>
                  </a:ext>
                </a:extLst>
              </p:cNvPr>
              <p:cNvSpPr>
                <a:spLocks/>
              </p:cNvSpPr>
              <p:nvPr/>
            </p:nvSpPr>
            <p:spPr bwMode="auto">
              <a:xfrm>
                <a:off x="6013" y="2738"/>
                <a:ext cx="12" cy="8"/>
              </a:xfrm>
              <a:custGeom>
                <a:avLst/>
                <a:gdLst>
                  <a:gd name="T0" fmla="*/ 2 w 5"/>
                  <a:gd name="T1" fmla="*/ 0 h 3"/>
                  <a:gd name="T2" fmla="*/ 0 w 5"/>
                  <a:gd name="T3" fmla="*/ 0 h 3"/>
                  <a:gd name="T4" fmla="*/ 2 w 5"/>
                  <a:gd name="T5" fmla="*/ 2 h 3"/>
                  <a:gd name="T6" fmla="*/ 5 w 5"/>
                  <a:gd name="T7" fmla="*/ 3 h 3"/>
                  <a:gd name="T8" fmla="*/ 2 w 5"/>
                  <a:gd name="T9" fmla="*/ 0 h 3"/>
                </a:gdLst>
                <a:ahLst/>
                <a:cxnLst>
                  <a:cxn ang="0">
                    <a:pos x="T0" y="T1"/>
                  </a:cxn>
                  <a:cxn ang="0">
                    <a:pos x="T2" y="T3"/>
                  </a:cxn>
                  <a:cxn ang="0">
                    <a:pos x="T4" y="T5"/>
                  </a:cxn>
                  <a:cxn ang="0">
                    <a:pos x="T6" y="T7"/>
                  </a:cxn>
                  <a:cxn ang="0">
                    <a:pos x="T8" y="T9"/>
                  </a:cxn>
                </a:cxnLst>
                <a:rect l="0" t="0" r="r" b="b"/>
                <a:pathLst>
                  <a:path w="5" h="3">
                    <a:moveTo>
                      <a:pt x="2" y="0"/>
                    </a:moveTo>
                    <a:cubicBezTo>
                      <a:pt x="1" y="0"/>
                      <a:pt x="0" y="0"/>
                      <a:pt x="0" y="0"/>
                    </a:cubicBezTo>
                    <a:cubicBezTo>
                      <a:pt x="0" y="1"/>
                      <a:pt x="1" y="2"/>
                      <a:pt x="2" y="2"/>
                    </a:cubicBezTo>
                    <a:cubicBezTo>
                      <a:pt x="3" y="2"/>
                      <a:pt x="4" y="3"/>
                      <a:pt x="5" y="3"/>
                    </a:cubicBezTo>
                    <a:cubicBezTo>
                      <a:pt x="5" y="1"/>
                      <a:pt x="4"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8" name="Freeform 2447">
                <a:extLst>
                  <a:ext uri="{FF2B5EF4-FFF2-40B4-BE49-F238E27FC236}">
                    <a16:creationId xmlns:a16="http://schemas.microsoft.com/office/drawing/2014/main" id="{9BC70182-3443-45BC-AB69-C100A190F1CE}"/>
                  </a:ext>
                </a:extLst>
              </p:cNvPr>
              <p:cNvSpPr>
                <a:spLocks/>
              </p:cNvSpPr>
              <p:nvPr/>
            </p:nvSpPr>
            <p:spPr bwMode="auto">
              <a:xfrm>
                <a:off x="6649" y="2861"/>
                <a:ext cx="4" cy="3"/>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0" y="1"/>
                      <a:pt x="0" y="1"/>
                    </a:cubicBezTo>
                    <a:cubicBezTo>
                      <a:pt x="1" y="1"/>
                      <a:pt x="1" y="1"/>
                      <a:pt x="2" y="1"/>
                    </a:cubicBezTo>
                    <a:cubicBezTo>
                      <a:pt x="2"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9" name="Freeform 2448">
                <a:extLst>
                  <a:ext uri="{FF2B5EF4-FFF2-40B4-BE49-F238E27FC236}">
                    <a16:creationId xmlns:a16="http://schemas.microsoft.com/office/drawing/2014/main" id="{D3010C8B-E9A4-4D4D-AE5E-3854085ACA06}"/>
                  </a:ext>
                </a:extLst>
              </p:cNvPr>
              <p:cNvSpPr>
                <a:spLocks/>
              </p:cNvSpPr>
              <p:nvPr/>
            </p:nvSpPr>
            <p:spPr bwMode="auto">
              <a:xfrm>
                <a:off x="6800" y="2800"/>
                <a:ext cx="12" cy="7"/>
              </a:xfrm>
              <a:custGeom>
                <a:avLst/>
                <a:gdLst>
                  <a:gd name="T0" fmla="*/ 3 w 5"/>
                  <a:gd name="T1" fmla="*/ 0 h 3"/>
                  <a:gd name="T2" fmla="*/ 3 w 5"/>
                  <a:gd name="T3" fmla="*/ 0 h 3"/>
                </a:gdLst>
                <a:ahLst/>
                <a:cxnLst>
                  <a:cxn ang="0">
                    <a:pos x="T0" y="T1"/>
                  </a:cxn>
                  <a:cxn ang="0">
                    <a:pos x="T2" y="T3"/>
                  </a:cxn>
                </a:cxnLst>
                <a:rect l="0" t="0" r="r" b="b"/>
                <a:pathLst>
                  <a:path w="5" h="3">
                    <a:moveTo>
                      <a:pt x="3" y="0"/>
                    </a:moveTo>
                    <a:cubicBezTo>
                      <a:pt x="0" y="1"/>
                      <a:pt x="5" y="3"/>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0" name="Freeform 2449">
                <a:extLst>
                  <a:ext uri="{FF2B5EF4-FFF2-40B4-BE49-F238E27FC236}">
                    <a16:creationId xmlns:a16="http://schemas.microsoft.com/office/drawing/2014/main" id="{C2CC662E-110D-44A0-BBC7-D09E12965D5A}"/>
                  </a:ext>
                </a:extLst>
              </p:cNvPr>
              <p:cNvSpPr>
                <a:spLocks/>
              </p:cNvSpPr>
              <p:nvPr/>
            </p:nvSpPr>
            <p:spPr bwMode="auto">
              <a:xfrm>
                <a:off x="6798" y="2833"/>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1" name="Freeform 2450">
                <a:extLst>
                  <a:ext uri="{FF2B5EF4-FFF2-40B4-BE49-F238E27FC236}">
                    <a16:creationId xmlns:a16="http://schemas.microsoft.com/office/drawing/2014/main" id="{B2C9FD98-2522-4613-B446-EA1ACC875D75}"/>
                  </a:ext>
                </a:extLst>
              </p:cNvPr>
              <p:cNvSpPr>
                <a:spLocks/>
              </p:cNvSpPr>
              <p:nvPr/>
            </p:nvSpPr>
            <p:spPr bwMode="auto">
              <a:xfrm>
                <a:off x="6058" y="2748"/>
                <a:ext cx="7" cy="7"/>
              </a:xfrm>
              <a:custGeom>
                <a:avLst/>
                <a:gdLst>
                  <a:gd name="T0" fmla="*/ 1 w 3"/>
                  <a:gd name="T1" fmla="*/ 1 h 3"/>
                  <a:gd name="T2" fmla="*/ 0 w 3"/>
                  <a:gd name="T3" fmla="*/ 1 h 3"/>
                  <a:gd name="T4" fmla="*/ 3 w 3"/>
                  <a:gd name="T5" fmla="*/ 1 h 3"/>
                  <a:gd name="T6" fmla="*/ 1 w 3"/>
                  <a:gd name="T7" fmla="*/ 1 h 3"/>
                </a:gdLst>
                <a:ahLst/>
                <a:cxnLst>
                  <a:cxn ang="0">
                    <a:pos x="T0" y="T1"/>
                  </a:cxn>
                  <a:cxn ang="0">
                    <a:pos x="T2" y="T3"/>
                  </a:cxn>
                  <a:cxn ang="0">
                    <a:pos x="T4" y="T5"/>
                  </a:cxn>
                  <a:cxn ang="0">
                    <a:pos x="T6" y="T7"/>
                  </a:cxn>
                </a:cxnLst>
                <a:rect l="0" t="0" r="r" b="b"/>
                <a:pathLst>
                  <a:path w="3" h="3">
                    <a:moveTo>
                      <a:pt x="1" y="1"/>
                    </a:moveTo>
                    <a:cubicBezTo>
                      <a:pt x="0" y="1"/>
                      <a:pt x="0" y="1"/>
                      <a:pt x="0" y="1"/>
                    </a:cubicBezTo>
                    <a:cubicBezTo>
                      <a:pt x="1" y="3"/>
                      <a:pt x="2" y="3"/>
                      <a:pt x="3" y="1"/>
                    </a:cubicBezTo>
                    <a:cubicBezTo>
                      <a:pt x="2" y="1"/>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2" name="Freeform 2451">
                <a:extLst>
                  <a:ext uri="{FF2B5EF4-FFF2-40B4-BE49-F238E27FC236}">
                    <a16:creationId xmlns:a16="http://schemas.microsoft.com/office/drawing/2014/main" id="{E18D3B53-8104-4CD6-8A27-0D86EA6D1526}"/>
                  </a:ext>
                </a:extLst>
              </p:cNvPr>
              <p:cNvSpPr>
                <a:spLocks/>
              </p:cNvSpPr>
              <p:nvPr/>
            </p:nvSpPr>
            <p:spPr bwMode="auto">
              <a:xfrm>
                <a:off x="6067" y="2748"/>
                <a:ext cx="10" cy="12"/>
              </a:xfrm>
              <a:custGeom>
                <a:avLst/>
                <a:gdLst>
                  <a:gd name="T0" fmla="*/ 0 w 4"/>
                  <a:gd name="T1" fmla="*/ 1 h 5"/>
                  <a:gd name="T2" fmla="*/ 1 w 4"/>
                  <a:gd name="T3" fmla="*/ 2 h 5"/>
                  <a:gd name="T4" fmla="*/ 3 w 4"/>
                  <a:gd name="T5" fmla="*/ 3 h 5"/>
                  <a:gd name="T6" fmla="*/ 4 w 4"/>
                  <a:gd name="T7" fmla="*/ 3 h 5"/>
                  <a:gd name="T8" fmla="*/ 4 w 4"/>
                  <a:gd name="T9" fmla="*/ 1 h 5"/>
                  <a:gd name="T10" fmla="*/ 3 w 4"/>
                  <a:gd name="T11" fmla="*/ 0 h 5"/>
                  <a:gd name="T12" fmla="*/ 0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1"/>
                    </a:moveTo>
                    <a:cubicBezTo>
                      <a:pt x="0" y="1"/>
                      <a:pt x="0" y="2"/>
                      <a:pt x="1" y="2"/>
                    </a:cubicBezTo>
                    <a:cubicBezTo>
                      <a:pt x="2" y="2"/>
                      <a:pt x="2" y="5"/>
                      <a:pt x="3" y="3"/>
                    </a:cubicBezTo>
                    <a:cubicBezTo>
                      <a:pt x="4" y="3"/>
                      <a:pt x="4" y="3"/>
                      <a:pt x="4" y="3"/>
                    </a:cubicBezTo>
                    <a:cubicBezTo>
                      <a:pt x="4" y="2"/>
                      <a:pt x="4" y="2"/>
                      <a:pt x="4" y="1"/>
                    </a:cubicBezTo>
                    <a:cubicBezTo>
                      <a:pt x="4" y="1"/>
                      <a:pt x="3" y="0"/>
                      <a:pt x="3" y="0"/>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3" name="Freeform 2452">
                <a:extLst>
                  <a:ext uri="{FF2B5EF4-FFF2-40B4-BE49-F238E27FC236}">
                    <a16:creationId xmlns:a16="http://schemas.microsoft.com/office/drawing/2014/main" id="{CEE60111-0D94-4867-B9E3-A15DDD801797}"/>
                  </a:ext>
                </a:extLst>
              </p:cNvPr>
              <p:cNvSpPr>
                <a:spLocks/>
              </p:cNvSpPr>
              <p:nvPr/>
            </p:nvSpPr>
            <p:spPr bwMode="auto">
              <a:xfrm>
                <a:off x="5923" y="2779"/>
                <a:ext cx="5"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3"/>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4" name="Freeform 2453">
                <a:extLst>
                  <a:ext uri="{FF2B5EF4-FFF2-40B4-BE49-F238E27FC236}">
                    <a16:creationId xmlns:a16="http://schemas.microsoft.com/office/drawing/2014/main" id="{89E85B47-03B1-49D9-AC70-CB624B0AAAE1}"/>
                  </a:ext>
                </a:extLst>
              </p:cNvPr>
              <p:cNvSpPr>
                <a:spLocks/>
              </p:cNvSpPr>
              <p:nvPr/>
            </p:nvSpPr>
            <p:spPr bwMode="auto">
              <a:xfrm>
                <a:off x="6578" y="2686"/>
                <a:ext cx="7" cy="10"/>
              </a:xfrm>
              <a:custGeom>
                <a:avLst/>
                <a:gdLst>
                  <a:gd name="T0" fmla="*/ 0 w 3"/>
                  <a:gd name="T1" fmla="*/ 0 h 4"/>
                  <a:gd name="T2" fmla="*/ 2 w 3"/>
                  <a:gd name="T3" fmla="*/ 4 h 4"/>
                  <a:gd name="T4" fmla="*/ 2 w 3"/>
                  <a:gd name="T5" fmla="*/ 2 h 4"/>
                  <a:gd name="T6" fmla="*/ 0 w 3"/>
                  <a:gd name="T7" fmla="*/ 0 h 4"/>
                </a:gdLst>
                <a:ahLst/>
                <a:cxnLst>
                  <a:cxn ang="0">
                    <a:pos x="T0" y="T1"/>
                  </a:cxn>
                  <a:cxn ang="0">
                    <a:pos x="T2" y="T3"/>
                  </a:cxn>
                  <a:cxn ang="0">
                    <a:pos x="T4" y="T5"/>
                  </a:cxn>
                  <a:cxn ang="0">
                    <a:pos x="T6" y="T7"/>
                  </a:cxn>
                </a:cxnLst>
                <a:rect l="0" t="0" r="r" b="b"/>
                <a:pathLst>
                  <a:path w="3" h="4">
                    <a:moveTo>
                      <a:pt x="0" y="0"/>
                    </a:moveTo>
                    <a:cubicBezTo>
                      <a:pt x="1" y="2"/>
                      <a:pt x="2" y="3"/>
                      <a:pt x="2" y="4"/>
                    </a:cubicBezTo>
                    <a:cubicBezTo>
                      <a:pt x="3" y="3"/>
                      <a:pt x="3" y="3"/>
                      <a:pt x="2"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5" name="Freeform 2454">
                <a:extLst>
                  <a:ext uri="{FF2B5EF4-FFF2-40B4-BE49-F238E27FC236}">
                    <a16:creationId xmlns:a16="http://schemas.microsoft.com/office/drawing/2014/main" id="{289E758D-30F6-491D-9170-51B00508F1FF}"/>
                  </a:ext>
                </a:extLst>
              </p:cNvPr>
              <p:cNvSpPr>
                <a:spLocks/>
              </p:cNvSpPr>
              <p:nvPr/>
            </p:nvSpPr>
            <p:spPr bwMode="auto">
              <a:xfrm>
                <a:off x="6486" y="2788"/>
                <a:ext cx="7" cy="2"/>
              </a:xfrm>
              <a:custGeom>
                <a:avLst/>
                <a:gdLst>
                  <a:gd name="T0" fmla="*/ 0 w 3"/>
                  <a:gd name="T1" fmla="*/ 1 h 1"/>
                  <a:gd name="T2" fmla="*/ 3 w 3"/>
                  <a:gd name="T3" fmla="*/ 0 h 1"/>
                  <a:gd name="T4" fmla="*/ 1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1"/>
                      <a:pt x="2" y="1"/>
                      <a:pt x="3" y="0"/>
                    </a:cubicBezTo>
                    <a:cubicBezTo>
                      <a:pt x="2" y="0"/>
                      <a:pt x="2" y="0"/>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6" name="Freeform 2455">
                <a:extLst>
                  <a:ext uri="{FF2B5EF4-FFF2-40B4-BE49-F238E27FC236}">
                    <a16:creationId xmlns:a16="http://schemas.microsoft.com/office/drawing/2014/main" id="{1D761D50-327B-4D32-AB81-93C6BF60D2FB}"/>
                  </a:ext>
                </a:extLst>
              </p:cNvPr>
              <p:cNvSpPr>
                <a:spLocks/>
              </p:cNvSpPr>
              <p:nvPr/>
            </p:nvSpPr>
            <p:spPr bwMode="auto">
              <a:xfrm>
                <a:off x="6176" y="2705"/>
                <a:ext cx="2"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7" name="Freeform 2456">
                <a:extLst>
                  <a:ext uri="{FF2B5EF4-FFF2-40B4-BE49-F238E27FC236}">
                    <a16:creationId xmlns:a16="http://schemas.microsoft.com/office/drawing/2014/main" id="{AECD201B-3DB2-4E2B-A1B5-2ECB8E6BB2EC}"/>
                  </a:ext>
                </a:extLst>
              </p:cNvPr>
              <p:cNvSpPr>
                <a:spLocks/>
              </p:cNvSpPr>
              <p:nvPr/>
            </p:nvSpPr>
            <p:spPr bwMode="auto">
              <a:xfrm>
                <a:off x="6412" y="2722"/>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8" name="Freeform 2457">
                <a:extLst>
                  <a:ext uri="{FF2B5EF4-FFF2-40B4-BE49-F238E27FC236}">
                    <a16:creationId xmlns:a16="http://schemas.microsoft.com/office/drawing/2014/main" id="{8C9FC2E7-947F-470A-965B-5F9CDB088A79}"/>
                  </a:ext>
                </a:extLst>
              </p:cNvPr>
              <p:cNvSpPr>
                <a:spLocks/>
              </p:cNvSpPr>
              <p:nvPr/>
            </p:nvSpPr>
            <p:spPr bwMode="auto">
              <a:xfrm>
                <a:off x="6190" y="2800"/>
                <a:ext cx="9" cy="7"/>
              </a:xfrm>
              <a:custGeom>
                <a:avLst/>
                <a:gdLst>
                  <a:gd name="T0" fmla="*/ 3 w 4"/>
                  <a:gd name="T1" fmla="*/ 1 h 3"/>
                  <a:gd name="T2" fmla="*/ 3 w 4"/>
                  <a:gd name="T3" fmla="*/ 0 h 3"/>
                  <a:gd name="T4" fmla="*/ 1 w 4"/>
                  <a:gd name="T5" fmla="*/ 0 h 3"/>
                  <a:gd name="T6" fmla="*/ 1 w 4"/>
                  <a:gd name="T7" fmla="*/ 0 h 3"/>
                  <a:gd name="T8" fmla="*/ 1 w 4"/>
                  <a:gd name="T9" fmla="*/ 0 h 3"/>
                  <a:gd name="T10" fmla="*/ 1 w 4"/>
                  <a:gd name="T11" fmla="*/ 0 h 3"/>
                  <a:gd name="T12" fmla="*/ 1 w 4"/>
                  <a:gd name="T13" fmla="*/ 0 h 3"/>
                  <a:gd name="T14" fmla="*/ 1 w 4"/>
                  <a:gd name="T15" fmla="*/ 1 h 3"/>
                  <a:gd name="T16" fmla="*/ 0 w 4"/>
                  <a:gd name="T17" fmla="*/ 3 h 3"/>
                  <a:gd name="T18" fmla="*/ 4 w 4"/>
                  <a:gd name="T19" fmla="*/ 2 h 3"/>
                  <a:gd name="T20" fmla="*/ 4 w 4"/>
                  <a:gd name="T21" fmla="*/ 2 h 3"/>
                  <a:gd name="T22" fmla="*/ 4 w 4"/>
                  <a:gd name="T23" fmla="*/ 1 h 3"/>
                  <a:gd name="T24" fmla="*/ 4 w 4"/>
                  <a:gd name="T25" fmla="*/ 1 h 3"/>
                  <a:gd name="T26" fmla="*/ 4 w 4"/>
                  <a:gd name="T27" fmla="*/ 1 h 3"/>
                  <a:gd name="T28" fmla="*/ 3 w 4"/>
                  <a:gd name="T2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3" y="1"/>
                    </a:moveTo>
                    <a:cubicBezTo>
                      <a:pt x="3" y="1"/>
                      <a:pt x="3" y="1"/>
                      <a:pt x="3" y="0"/>
                    </a:cubicBezTo>
                    <a:cubicBezTo>
                      <a:pt x="2" y="0"/>
                      <a:pt x="2"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1" y="1"/>
                      <a:pt x="1" y="2"/>
                      <a:pt x="0" y="3"/>
                    </a:cubicBezTo>
                    <a:cubicBezTo>
                      <a:pt x="1" y="3"/>
                      <a:pt x="3" y="3"/>
                      <a:pt x="4" y="2"/>
                    </a:cubicBezTo>
                    <a:cubicBezTo>
                      <a:pt x="4" y="2"/>
                      <a:pt x="4" y="2"/>
                      <a:pt x="4" y="2"/>
                    </a:cubicBezTo>
                    <a:cubicBezTo>
                      <a:pt x="4" y="2"/>
                      <a:pt x="4" y="2"/>
                      <a:pt x="4" y="1"/>
                    </a:cubicBezTo>
                    <a:cubicBezTo>
                      <a:pt x="4" y="1"/>
                      <a:pt x="4" y="1"/>
                      <a:pt x="4" y="1"/>
                    </a:cubicBezTo>
                    <a:cubicBezTo>
                      <a:pt x="4" y="1"/>
                      <a:pt x="4" y="1"/>
                      <a:pt x="4" y="1"/>
                    </a:cubicBezTo>
                    <a:cubicBezTo>
                      <a:pt x="4"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9" name="Freeform 2458">
                <a:extLst>
                  <a:ext uri="{FF2B5EF4-FFF2-40B4-BE49-F238E27FC236}">
                    <a16:creationId xmlns:a16="http://schemas.microsoft.com/office/drawing/2014/main" id="{372AE67D-2C0E-4E60-8B26-E2C56F95B541}"/>
                  </a:ext>
                </a:extLst>
              </p:cNvPr>
              <p:cNvSpPr>
                <a:spLocks/>
              </p:cNvSpPr>
              <p:nvPr/>
            </p:nvSpPr>
            <p:spPr bwMode="auto">
              <a:xfrm>
                <a:off x="6618" y="2783"/>
                <a:ext cx="5" cy="7"/>
              </a:xfrm>
              <a:custGeom>
                <a:avLst/>
                <a:gdLst>
                  <a:gd name="T0" fmla="*/ 0 w 2"/>
                  <a:gd name="T1" fmla="*/ 2 h 3"/>
                  <a:gd name="T2" fmla="*/ 0 w 2"/>
                  <a:gd name="T3" fmla="*/ 3 h 3"/>
                  <a:gd name="T4" fmla="*/ 2 w 2"/>
                  <a:gd name="T5" fmla="*/ 0 h 3"/>
                  <a:gd name="T6" fmla="*/ 0 w 2"/>
                  <a:gd name="T7" fmla="*/ 2 h 3"/>
                </a:gdLst>
                <a:ahLst/>
                <a:cxnLst>
                  <a:cxn ang="0">
                    <a:pos x="T0" y="T1"/>
                  </a:cxn>
                  <a:cxn ang="0">
                    <a:pos x="T2" y="T3"/>
                  </a:cxn>
                  <a:cxn ang="0">
                    <a:pos x="T4" y="T5"/>
                  </a:cxn>
                  <a:cxn ang="0">
                    <a:pos x="T6" y="T7"/>
                  </a:cxn>
                </a:cxnLst>
                <a:rect l="0" t="0" r="r" b="b"/>
                <a:pathLst>
                  <a:path w="2" h="3">
                    <a:moveTo>
                      <a:pt x="0" y="2"/>
                    </a:moveTo>
                    <a:cubicBezTo>
                      <a:pt x="0" y="2"/>
                      <a:pt x="0" y="3"/>
                      <a:pt x="0" y="3"/>
                    </a:cubicBezTo>
                    <a:cubicBezTo>
                      <a:pt x="2" y="3"/>
                      <a:pt x="2" y="1"/>
                      <a:pt x="2"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0" name="Freeform 2459">
                <a:extLst>
                  <a:ext uri="{FF2B5EF4-FFF2-40B4-BE49-F238E27FC236}">
                    <a16:creationId xmlns:a16="http://schemas.microsoft.com/office/drawing/2014/main" id="{72292D7E-49EC-49B1-8AE9-BFF1901D260C}"/>
                  </a:ext>
                </a:extLst>
              </p:cNvPr>
              <p:cNvSpPr>
                <a:spLocks/>
              </p:cNvSpPr>
              <p:nvPr/>
            </p:nvSpPr>
            <p:spPr bwMode="auto">
              <a:xfrm>
                <a:off x="6015" y="2904"/>
                <a:ext cx="7" cy="5"/>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1"/>
                      <a:pt x="2" y="2"/>
                      <a:pt x="3" y="2"/>
                    </a:cubicBezTo>
                    <a:cubicBezTo>
                      <a:pt x="3" y="1"/>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1" name="Freeform 2460">
                <a:extLst>
                  <a:ext uri="{FF2B5EF4-FFF2-40B4-BE49-F238E27FC236}">
                    <a16:creationId xmlns:a16="http://schemas.microsoft.com/office/drawing/2014/main" id="{E527E83C-D898-4A99-A5AE-BD29FA262B3D}"/>
                  </a:ext>
                </a:extLst>
              </p:cNvPr>
              <p:cNvSpPr>
                <a:spLocks/>
              </p:cNvSpPr>
              <p:nvPr/>
            </p:nvSpPr>
            <p:spPr bwMode="auto">
              <a:xfrm>
                <a:off x="6812" y="2812"/>
                <a:ext cx="5" cy="2"/>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1"/>
                      <a:pt x="1" y="1"/>
                      <a:pt x="2" y="1"/>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2" name="Freeform 2461">
                <a:extLst>
                  <a:ext uri="{FF2B5EF4-FFF2-40B4-BE49-F238E27FC236}">
                    <a16:creationId xmlns:a16="http://schemas.microsoft.com/office/drawing/2014/main" id="{EC318A35-9C44-423D-AE8B-497D25A8015A}"/>
                  </a:ext>
                </a:extLst>
              </p:cNvPr>
              <p:cNvSpPr>
                <a:spLocks/>
              </p:cNvSpPr>
              <p:nvPr/>
            </p:nvSpPr>
            <p:spPr bwMode="auto">
              <a:xfrm>
                <a:off x="6526" y="3022"/>
                <a:ext cx="2" cy="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2"/>
                      <a:pt x="1" y="1"/>
                      <a:pt x="1" y="0"/>
                    </a:cubicBezTo>
                    <a:cubicBezTo>
                      <a:pt x="1"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3" name="Freeform 2462">
                <a:extLst>
                  <a:ext uri="{FF2B5EF4-FFF2-40B4-BE49-F238E27FC236}">
                    <a16:creationId xmlns:a16="http://schemas.microsoft.com/office/drawing/2014/main" id="{19DDA70F-E7F5-4CF4-B875-10FAC5345F45}"/>
                  </a:ext>
                </a:extLst>
              </p:cNvPr>
              <p:cNvSpPr>
                <a:spLocks/>
              </p:cNvSpPr>
              <p:nvPr/>
            </p:nvSpPr>
            <p:spPr bwMode="auto">
              <a:xfrm>
                <a:off x="6058" y="2753"/>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4" name="Freeform 2463">
                <a:extLst>
                  <a:ext uri="{FF2B5EF4-FFF2-40B4-BE49-F238E27FC236}">
                    <a16:creationId xmlns:a16="http://schemas.microsoft.com/office/drawing/2014/main" id="{85EE53EB-22E2-44C5-82E3-7CA30EAD6B00}"/>
                  </a:ext>
                </a:extLst>
              </p:cNvPr>
              <p:cNvSpPr>
                <a:spLocks/>
              </p:cNvSpPr>
              <p:nvPr/>
            </p:nvSpPr>
            <p:spPr bwMode="auto">
              <a:xfrm>
                <a:off x="6788" y="2819"/>
                <a:ext cx="3" cy="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2"/>
                      <a:pt x="1" y="1"/>
                      <a:pt x="1"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5" name="Freeform 2464">
                <a:extLst>
                  <a:ext uri="{FF2B5EF4-FFF2-40B4-BE49-F238E27FC236}">
                    <a16:creationId xmlns:a16="http://schemas.microsoft.com/office/drawing/2014/main" id="{B29A7000-B945-4C4E-9DB7-DF6E26511F3A}"/>
                  </a:ext>
                </a:extLst>
              </p:cNvPr>
              <p:cNvSpPr>
                <a:spLocks/>
              </p:cNvSpPr>
              <p:nvPr/>
            </p:nvSpPr>
            <p:spPr bwMode="auto">
              <a:xfrm>
                <a:off x="6088" y="2935"/>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6" name="Freeform 2465">
                <a:extLst>
                  <a:ext uri="{FF2B5EF4-FFF2-40B4-BE49-F238E27FC236}">
                    <a16:creationId xmlns:a16="http://schemas.microsoft.com/office/drawing/2014/main" id="{34721319-76FD-4689-90D2-C2160892138F}"/>
                  </a:ext>
                </a:extLst>
              </p:cNvPr>
              <p:cNvSpPr>
                <a:spLocks/>
              </p:cNvSpPr>
              <p:nvPr/>
            </p:nvSpPr>
            <p:spPr bwMode="auto">
              <a:xfrm>
                <a:off x="6062" y="2755"/>
                <a:ext cx="5" cy="2"/>
              </a:xfrm>
              <a:custGeom>
                <a:avLst/>
                <a:gdLst>
                  <a:gd name="T0" fmla="*/ 1 w 2"/>
                  <a:gd name="T1" fmla="*/ 1 h 1"/>
                  <a:gd name="T2" fmla="*/ 2 w 2"/>
                  <a:gd name="T3" fmla="*/ 1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2" y="1"/>
                      <a:pt x="2" y="1"/>
                    </a:cubicBezTo>
                    <a:cubicBezTo>
                      <a:pt x="1" y="0"/>
                      <a:pt x="1" y="0"/>
                      <a:pt x="0"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7" name="Freeform 2466">
                <a:extLst>
                  <a:ext uri="{FF2B5EF4-FFF2-40B4-BE49-F238E27FC236}">
                    <a16:creationId xmlns:a16="http://schemas.microsoft.com/office/drawing/2014/main" id="{233F851F-EA34-493B-B3BA-E281AB1E2030}"/>
                  </a:ext>
                </a:extLst>
              </p:cNvPr>
              <p:cNvSpPr>
                <a:spLocks/>
              </p:cNvSpPr>
              <p:nvPr/>
            </p:nvSpPr>
            <p:spPr bwMode="auto">
              <a:xfrm>
                <a:off x="6677" y="2966"/>
                <a:ext cx="10" cy="7"/>
              </a:xfrm>
              <a:custGeom>
                <a:avLst/>
                <a:gdLst>
                  <a:gd name="T0" fmla="*/ 2 w 4"/>
                  <a:gd name="T1" fmla="*/ 3 h 3"/>
                  <a:gd name="T2" fmla="*/ 3 w 4"/>
                  <a:gd name="T3" fmla="*/ 2 h 3"/>
                  <a:gd name="T4" fmla="*/ 1 w 4"/>
                  <a:gd name="T5" fmla="*/ 0 h 3"/>
                  <a:gd name="T6" fmla="*/ 2 w 4"/>
                  <a:gd name="T7" fmla="*/ 3 h 3"/>
                </a:gdLst>
                <a:ahLst/>
                <a:cxnLst>
                  <a:cxn ang="0">
                    <a:pos x="T0" y="T1"/>
                  </a:cxn>
                  <a:cxn ang="0">
                    <a:pos x="T2" y="T3"/>
                  </a:cxn>
                  <a:cxn ang="0">
                    <a:pos x="T4" y="T5"/>
                  </a:cxn>
                  <a:cxn ang="0">
                    <a:pos x="T6" y="T7"/>
                  </a:cxn>
                </a:cxnLst>
                <a:rect l="0" t="0" r="r" b="b"/>
                <a:pathLst>
                  <a:path w="4" h="3">
                    <a:moveTo>
                      <a:pt x="2" y="3"/>
                    </a:moveTo>
                    <a:cubicBezTo>
                      <a:pt x="2" y="3"/>
                      <a:pt x="3" y="3"/>
                      <a:pt x="3" y="2"/>
                    </a:cubicBezTo>
                    <a:cubicBezTo>
                      <a:pt x="4" y="0"/>
                      <a:pt x="2" y="0"/>
                      <a:pt x="1" y="0"/>
                    </a:cubicBezTo>
                    <a:cubicBezTo>
                      <a:pt x="0" y="1"/>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8" name="Freeform 2467">
                <a:extLst>
                  <a:ext uri="{FF2B5EF4-FFF2-40B4-BE49-F238E27FC236}">
                    <a16:creationId xmlns:a16="http://schemas.microsoft.com/office/drawing/2014/main" id="{9C67C417-F81B-4D7A-B114-86ABF53D62DC}"/>
                  </a:ext>
                </a:extLst>
              </p:cNvPr>
              <p:cNvSpPr>
                <a:spLocks/>
              </p:cNvSpPr>
              <p:nvPr/>
            </p:nvSpPr>
            <p:spPr bwMode="auto">
              <a:xfrm>
                <a:off x="6653" y="2861"/>
                <a:ext cx="5" cy="5"/>
              </a:xfrm>
              <a:custGeom>
                <a:avLst/>
                <a:gdLst>
                  <a:gd name="T0" fmla="*/ 2 w 2"/>
                  <a:gd name="T1" fmla="*/ 1 h 2"/>
                  <a:gd name="T2" fmla="*/ 0 w 2"/>
                  <a:gd name="T3" fmla="*/ 0 h 2"/>
                  <a:gd name="T4" fmla="*/ 2 w 2"/>
                  <a:gd name="T5" fmla="*/ 1 h 2"/>
                </a:gdLst>
                <a:ahLst/>
                <a:cxnLst>
                  <a:cxn ang="0">
                    <a:pos x="T0" y="T1"/>
                  </a:cxn>
                  <a:cxn ang="0">
                    <a:pos x="T2" y="T3"/>
                  </a:cxn>
                  <a:cxn ang="0">
                    <a:pos x="T4" y="T5"/>
                  </a:cxn>
                </a:cxnLst>
                <a:rect l="0" t="0" r="r" b="b"/>
                <a:pathLst>
                  <a:path w="2" h="2">
                    <a:moveTo>
                      <a:pt x="2" y="1"/>
                    </a:moveTo>
                    <a:cubicBezTo>
                      <a:pt x="1" y="1"/>
                      <a:pt x="1" y="0"/>
                      <a:pt x="0" y="0"/>
                    </a:cubicBezTo>
                    <a:cubicBezTo>
                      <a:pt x="0" y="1"/>
                      <a:pt x="1"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9" name="Freeform 2468">
                <a:extLst>
                  <a:ext uri="{FF2B5EF4-FFF2-40B4-BE49-F238E27FC236}">
                    <a16:creationId xmlns:a16="http://schemas.microsoft.com/office/drawing/2014/main" id="{2D7B0624-5359-4423-914B-46C1DAE93443}"/>
                  </a:ext>
                </a:extLst>
              </p:cNvPr>
              <p:cNvSpPr>
                <a:spLocks/>
              </p:cNvSpPr>
              <p:nvPr/>
            </p:nvSpPr>
            <p:spPr bwMode="auto">
              <a:xfrm>
                <a:off x="6100" y="2703"/>
                <a:ext cx="5" cy="5"/>
              </a:xfrm>
              <a:custGeom>
                <a:avLst/>
                <a:gdLst>
                  <a:gd name="T0" fmla="*/ 2 w 2"/>
                  <a:gd name="T1" fmla="*/ 1 h 2"/>
                  <a:gd name="T2" fmla="*/ 1 w 2"/>
                  <a:gd name="T3" fmla="*/ 0 h 2"/>
                  <a:gd name="T4" fmla="*/ 1 w 2"/>
                  <a:gd name="T5" fmla="*/ 2 h 2"/>
                  <a:gd name="T6" fmla="*/ 2 w 2"/>
                  <a:gd name="T7" fmla="*/ 1 h 2"/>
                </a:gdLst>
                <a:ahLst/>
                <a:cxnLst>
                  <a:cxn ang="0">
                    <a:pos x="T0" y="T1"/>
                  </a:cxn>
                  <a:cxn ang="0">
                    <a:pos x="T2" y="T3"/>
                  </a:cxn>
                  <a:cxn ang="0">
                    <a:pos x="T4" y="T5"/>
                  </a:cxn>
                  <a:cxn ang="0">
                    <a:pos x="T6" y="T7"/>
                  </a:cxn>
                </a:cxnLst>
                <a:rect l="0" t="0" r="r" b="b"/>
                <a:pathLst>
                  <a:path w="2" h="2">
                    <a:moveTo>
                      <a:pt x="2" y="1"/>
                    </a:moveTo>
                    <a:cubicBezTo>
                      <a:pt x="2" y="1"/>
                      <a:pt x="1" y="1"/>
                      <a:pt x="1" y="0"/>
                    </a:cubicBezTo>
                    <a:cubicBezTo>
                      <a:pt x="0" y="1"/>
                      <a:pt x="1" y="2"/>
                      <a:pt x="1" y="2"/>
                    </a:cubicBezTo>
                    <a:cubicBezTo>
                      <a:pt x="1" y="2"/>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0" name="Freeform 2469">
                <a:extLst>
                  <a:ext uri="{FF2B5EF4-FFF2-40B4-BE49-F238E27FC236}">
                    <a16:creationId xmlns:a16="http://schemas.microsoft.com/office/drawing/2014/main" id="{A9A4C356-051B-47B9-9267-C51437B5567E}"/>
                  </a:ext>
                </a:extLst>
              </p:cNvPr>
              <p:cNvSpPr>
                <a:spLocks/>
              </p:cNvSpPr>
              <p:nvPr/>
            </p:nvSpPr>
            <p:spPr bwMode="auto">
              <a:xfrm>
                <a:off x="6627" y="2805"/>
                <a:ext cx="5" cy="2"/>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0" y="1"/>
                      <a:pt x="1" y="1"/>
                      <a:pt x="2" y="1"/>
                    </a:cubicBezTo>
                    <a:cubicBezTo>
                      <a:pt x="2" y="1"/>
                      <a:pt x="1" y="1"/>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1" name="Freeform 2470">
                <a:extLst>
                  <a:ext uri="{FF2B5EF4-FFF2-40B4-BE49-F238E27FC236}">
                    <a16:creationId xmlns:a16="http://schemas.microsoft.com/office/drawing/2014/main" id="{9D29F957-5E56-4726-A8E7-11E3A68AA3BA}"/>
                  </a:ext>
                </a:extLst>
              </p:cNvPr>
              <p:cNvSpPr>
                <a:spLocks/>
              </p:cNvSpPr>
              <p:nvPr/>
            </p:nvSpPr>
            <p:spPr bwMode="auto">
              <a:xfrm>
                <a:off x="5963" y="2838"/>
                <a:ext cx="7" cy="9"/>
              </a:xfrm>
              <a:custGeom>
                <a:avLst/>
                <a:gdLst>
                  <a:gd name="T0" fmla="*/ 0 w 3"/>
                  <a:gd name="T1" fmla="*/ 0 h 4"/>
                  <a:gd name="T2" fmla="*/ 1 w 3"/>
                  <a:gd name="T3" fmla="*/ 3 h 4"/>
                  <a:gd name="T4" fmla="*/ 2 w 3"/>
                  <a:gd name="T5" fmla="*/ 2 h 4"/>
                  <a:gd name="T6" fmla="*/ 0 w 3"/>
                  <a:gd name="T7" fmla="*/ 0 h 4"/>
                </a:gdLst>
                <a:ahLst/>
                <a:cxnLst>
                  <a:cxn ang="0">
                    <a:pos x="T0" y="T1"/>
                  </a:cxn>
                  <a:cxn ang="0">
                    <a:pos x="T2" y="T3"/>
                  </a:cxn>
                  <a:cxn ang="0">
                    <a:pos x="T4" y="T5"/>
                  </a:cxn>
                  <a:cxn ang="0">
                    <a:pos x="T6" y="T7"/>
                  </a:cxn>
                </a:cxnLst>
                <a:rect l="0" t="0" r="r" b="b"/>
                <a:pathLst>
                  <a:path w="3" h="4">
                    <a:moveTo>
                      <a:pt x="0" y="0"/>
                    </a:moveTo>
                    <a:cubicBezTo>
                      <a:pt x="0" y="1"/>
                      <a:pt x="0" y="2"/>
                      <a:pt x="1" y="3"/>
                    </a:cubicBezTo>
                    <a:cubicBezTo>
                      <a:pt x="2" y="4"/>
                      <a:pt x="3" y="3"/>
                      <a:pt x="2"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2" name="Freeform 2471">
                <a:extLst>
                  <a:ext uri="{FF2B5EF4-FFF2-40B4-BE49-F238E27FC236}">
                    <a16:creationId xmlns:a16="http://schemas.microsoft.com/office/drawing/2014/main" id="{8835310E-4F9B-4903-8C9D-4E88C51B98C2}"/>
                  </a:ext>
                </a:extLst>
              </p:cNvPr>
              <p:cNvSpPr>
                <a:spLocks/>
              </p:cNvSpPr>
              <p:nvPr/>
            </p:nvSpPr>
            <p:spPr bwMode="auto">
              <a:xfrm>
                <a:off x="5923" y="2781"/>
                <a:ext cx="5" cy="9"/>
              </a:xfrm>
              <a:custGeom>
                <a:avLst/>
                <a:gdLst>
                  <a:gd name="T0" fmla="*/ 1 w 2"/>
                  <a:gd name="T1" fmla="*/ 2 h 4"/>
                  <a:gd name="T2" fmla="*/ 0 w 2"/>
                  <a:gd name="T3" fmla="*/ 4 h 4"/>
                  <a:gd name="T4" fmla="*/ 2 w 2"/>
                  <a:gd name="T5" fmla="*/ 3 h 4"/>
                  <a:gd name="T6" fmla="*/ 1 w 2"/>
                  <a:gd name="T7" fmla="*/ 2 h 4"/>
                </a:gdLst>
                <a:ahLst/>
                <a:cxnLst>
                  <a:cxn ang="0">
                    <a:pos x="T0" y="T1"/>
                  </a:cxn>
                  <a:cxn ang="0">
                    <a:pos x="T2" y="T3"/>
                  </a:cxn>
                  <a:cxn ang="0">
                    <a:pos x="T4" y="T5"/>
                  </a:cxn>
                  <a:cxn ang="0">
                    <a:pos x="T6" y="T7"/>
                  </a:cxn>
                </a:cxnLst>
                <a:rect l="0" t="0" r="r" b="b"/>
                <a:pathLst>
                  <a:path w="2" h="4">
                    <a:moveTo>
                      <a:pt x="1" y="2"/>
                    </a:moveTo>
                    <a:cubicBezTo>
                      <a:pt x="0" y="3"/>
                      <a:pt x="1" y="4"/>
                      <a:pt x="0" y="4"/>
                    </a:cubicBezTo>
                    <a:cubicBezTo>
                      <a:pt x="1" y="4"/>
                      <a:pt x="1" y="4"/>
                      <a:pt x="2" y="3"/>
                    </a:cubicBezTo>
                    <a:cubicBezTo>
                      <a:pt x="2" y="2"/>
                      <a:pt x="1"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3" name="Freeform 2472">
                <a:extLst>
                  <a:ext uri="{FF2B5EF4-FFF2-40B4-BE49-F238E27FC236}">
                    <a16:creationId xmlns:a16="http://schemas.microsoft.com/office/drawing/2014/main" id="{2626C9C2-4187-45B1-8978-506665B05E8E}"/>
                  </a:ext>
                </a:extLst>
              </p:cNvPr>
              <p:cNvSpPr>
                <a:spLocks/>
              </p:cNvSpPr>
              <p:nvPr/>
            </p:nvSpPr>
            <p:spPr bwMode="auto">
              <a:xfrm>
                <a:off x="6587" y="2826"/>
                <a:ext cx="5" cy="12"/>
              </a:xfrm>
              <a:custGeom>
                <a:avLst/>
                <a:gdLst>
                  <a:gd name="T0" fmla="*/ 1 w 2"/>
                  <a:gd name="T1" fmla="*/ 0 h 5"/>
                  <a:gd name="T2" fmla="*/ 1 w 2"/>
                  <a:gd name="T3" fmla="*/ 3 h 5"/>
                  <a:gd name="T4" fmla="*/ 2 w 2"/>
                  <a:gd name="T5" fmla="*/ 5 h 5"/>
                  <a:gd name="T6" fmla="*/ 1 w 2"/>
                  <a:gd name="T7" fmla="*/ 0 h 5"/>
                </a:gdLst>
                <a:ahLst/>
                <a:cxnLst>
                  <a:cxn ang="0">
                    <a:pos x="T0" y="T1"/>
                  </a:cxn>
                  <a:cxn ang="0">
                    <a:pos x="T2" y="T3"/>
                  </a:cxn>
                  <a:cxn ang="0">
                    <a:pos x="T4" y="T5"/>
                  </a:cxn>
                  <a:cxn ang="0">
                    <a:pos x="T6" y="T7"/>
                  </a:cxn>
                </a:cxnLst>
                <a:rect l="0" t="0" r="r" b="b"/>
                <a:pathLst>
                  <a:path w="2" h="5">
                    <a:moveTo>
                      <a:pt x="1" y="0"/>
                    </a:moveTo>
                    <a:cubicBezTo>
                      <a:pt x="0" y="0"/>
                      <a:pt x="1" y="1"/>
                      <a:pt x="1" y="3"/>
                    </a:cubicBezTo>
                    <a:cubicBezTo>
                      <a:pt x="1" y="3"/>
                      <a:pt x="1" y="4"/>
                      <a:pt x="2" y="5"/>
                    </a:cubicBezTo>
                    <a:cubicBezTo>
                      <a:pt x="2"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4" name="Freeform 2473">
                <a:extLst>
                  <a:ext uri="{FF2B5EF4-FFF2-40B4-BE49-F238E27FC236}">
                    <a16:creationId xmlns:a16="http://schemas.microsoft.com/office/drawing/2014/main" id="{EF1E1156-C07E-4F14-89BA-8DAA567910A7}"/>
                  </a:ext>
                </a:extLst>
              </p:cNvPr>
              <p:cNvSpPr>
                <a:spLocks/>
              </p:cNvSpPr>
              <p:nvPr/>
            </p:nvSpPr>
            <p:spPr bwMode="auto">
              <a:xfrm>
                <a:off x="5895" y="2722"/>
                <a:ext cx="4" cy="5"/>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1" y="1"/>
                      <a:pt x="1" y="2"/>
                      <a:pt x="2" y="2"/>
                    </a:cubicBezTo>
                    <a:cubicBezTo>
                      <a:pt x="2"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5" name="Freeform 2474">
                <a:extLst>
                  <a:ext uri="{FF2B5EF4-FFF2-40B4-BE49-F238E27FC236}">
                    <a16:creationId xmlns:a16="http://schemas.microsoft.com/office/drawing/2014/main" id="{C11FDAD5-1714-42A2-92C1-DA6587B1F7AC}"/>
                  </a:ext>
                </a:extLst>
              </p:cNvPr>
              <p:cNvSpPr>
                <a:spLocks/>
              </p:cNvSpPr>
              <p:nvPr/>
            </p:nvSpPr>
            <p:spPr bwMode="auto">
              <a:xfrm>
                <a:off x="6531" y="2814"/>
                <a:ext cx="2" cy="7"/>
              </a:xfrm>
              <a:custGeom>
                <a:avLst/>
                <a:gdLst>
                  <a:gd name="T0" fmla="*/ 0 w 1"/>
                  <a:gd name="T1" fmla="*/ 2 h 3"/>
                  <a:gd name="T2" fmla="*/ 1 w 1"/>
                  <a:gd name="T3" fmla="*/ 0 h 3"/>
                  <a:gd name="T4" fmla="*/ 0 w 1"/>
                  <a:gd name="T5" fmla="*/ 2 h 3"/>
                </a:gdLst>
                <a:ahLst/>
                <a:cxnLst>
                  <a:cxn ang="0">
                    <a:pos x="T0" y="T1"/>
                  </a:cxn>
                  <a:cxn ang="0">
                    <a:pos x="T2" y="T3"/>
                  </a:cxn>
                  <a:cxn ang="0">
                    <a:pos x="T4" y="T5"/>
                  </a:cxn>
                </a:cxnLst>
                <a:rect l="0" t="0" r="r" b="b"/>
                <a:pathLst>
                  <a:path w="1" h="3">
                    <a:moveTo>
                      <a:pt x="0" y="2"/>
                    </a:moveTo>
                    <a:cubicBezTo>
                      <a:pt x="1" y="3"/>
                      <a:pt x="1" y="0"/>
                      <a:pt x="1"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6" name="Freeform 2475">
                <a:extLst>
                  <a:ext uri="{FF2B5EF4-FFF2-40B4-BE49-F238E27FC236}">
                    <a16:creationId xmlns:a16="http://schemas.microsoft.com/office/drawing/2014/main" id="{FA2E0F9A-7023-41C0-B539-6AEA637C5C90}"/>
                  </a:ext>
                </a:extLst>
              </p:cNvPr>
              <p:cNvSpPr>
                <a:spLocks/>
              </p:cNvSpPr>
              <p:nvPr/>
            </p:nvSpPr>
            <p:spPr bwMode="auto">
              <a:xfrm>
                <a:off x="6516" y="2873"/>
                <a:ext cx="10" cy="7"/>
              </a:xfrm>
              <a:custGeom>
                <a:avLst/>
                <a:gdLst>
                  <a:gd name="T0" fmla="*/ 4 w 4"/>
                  <a:gd name="T1" fmla="*/ 2 h 3"/>
                  <a:gd name="T2" fmla="*/ 2 w 4"/>
                  <a:gd name="T3" fmla="*/ 0 h 3"/>
                  <a:gd name="T4" fmla="*/ 2 w 4"/>
                  <a:gd name="T5" fmla="*/ 3 h 3"/>
                  <a:gd name="T6" fmla="*/ 4 w 4"/>
                  <a:gd name="T7" fmla="*/ 2 h 3"/>
                </a:gdLst>
                <a:ahLst/>
                <a:cxnLst>
                  <a:cxn ang="0">
                    <a:pos x="T0" y="T1"/>
                  </a:cxn>
                  <a:cxn ang="0">
                    <a:pos x="T2" y="T3"/>
                  </a:cxn>
                  <a:cxn ang="0">
                    <a:pos x="T4" y="T5"/>
                  </a:cxn>
                  <a:cxn ang="0">
                    <a:pos x="T6" y="T7"/>
                  </a:cxn>
                </a:cxnLst>
                <a:rect l="0" t="0" r="r" b="b"/>
                <a:pathLst>
                  <a:path w="4" h="3">
                    <a:moveTo>
                      <a:pt x="4" y="2"/>
                    </a:moveTo>
                    <a:cubicBezTo>
                      <a:pt x="4" y="1"/>
                      <a:pt x="3" y="1"/>
                      <a:pt x="2" y="0"/>
                    </a:cubicBezTo>
                    <a:cubicBezTo>
                      <a:pt x="0" y="1"/>
                      <a:pt x="1" y="2"/>
                      <a:pt x="2" y="3"/>
                    </a:cubicBezTo>
                    <a:cubicBezTo>
                      <a:pt x="3" y="3"/>
                      <a:pt x="3"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7" name="Freeform 2476">
                <a:extLst>
                  <a:ext uri="{FF2B5EF4-FFF2-40B4-BE49-F238E27FC236}">
                    <a16:creationId xmlns:a16="http://schemas.microsoft.com/office/drawing/2014/main" id="{60F03BEF-BAB1-43DB-B1BF-6C4F834FBA60}"/>
                  </a:ext>
                </a:extLst>
              </p:cNvPr>
              <p:cNvSpPr>
                <a:spLocks/>
              </p:cNvSpPr>
              <p:nvPr/>
            </p:nvSpPr>
            <p:spPr bwMode="auto">
              <a:xfrm>
                <a:off x="6431" y="2982"/>
                <a:ext cx="5" cy="10"/>
              </a:xfrm>
              <a:custGeom>
                <a:avLst/>
                <a:gdLst>
                  <a:gd name="T0" fmla="*/ 0 w 2"/>
                  <a:gd name="T1" fmla="*/ 2 h 4"/>
                  <a:gd name="T2" fmla="*/ 1 w 2"/>
                  <a:gd name="T3" fmla="*/ 2 h 4"/>
                  <a:gd name="T4" fmla="*/ 1 w 2"/>
                  <a:gd name="T5" fmla="*/ 0 h 4"/>
                  <a:gd name="T6" fmla="*/ 0 w 2"/>
                  <a:gd name="T7" fmla="*/ 2 h 4"/>
                </a:gdLst>
                <a:ahLst/>
                <a:cxnLst>
                  <a:cxn ang="0">
                    <a:pos x="T0" y="T1"/>
                  </a:cxn>
                  <a:cxn ang="0">
                    <a:pos x="T2" y="T3"/>
                  </a:cxn>
                  <a:cxn ang="0">
                    <a:pos x="T4" y="T5"/>
                  </a:cxn>
                  <a:cxn ang="0">
                    <a:pos x="T6" y="T7"/>
                  </a:cxn>
                </a:cxnLst>
                <a:rect l="0" t="0" r="r" b="b"/>
                <a:pathLst>
                  <a:path w="2" h="4">
                    <a:moveTo>
                      <a:pt x="0" y="2"/>
                    </a:moveTo>
                    <a:cubicBezTo>
                      <a:pt x="1" y="2"/>
                      <a:pt x="0" y="4"/>
                      <a:pt x="1" y="2"/>
                    </a:cubicBezTo>
                    <a:cubicBezTo>
                      <a:pt x="2" y="1"/>
                      <a:pt x="2" y="1"/>
                      <a:pt x="1" y="0"/>
                    </a:cubicBezTo>
                    <a:cubicBezTo>
                      <a:pt x="1"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8" name="Freeform 2477">
                <a:extLst>
                  <a:ext uri="{FF2B5EF4-FFF2-40B4-BE49-F238E27FC236}">
                    <a16:creationId xmlns:a16="http://schemas.microsoft.com/office/drawing/2014/main" id="{3F6187D0-FF94-40AF-BFA7-E0D0BFAE60B7}"/>
                  </a:ext>
                </a:extLst>
              </p:cNvPr>
              <p:cNvSpPr>
                <a:spLocks/>
              </p:cNvSpPr>
              <p:nvPr/>
            </p:nvSpPr>
            <p:spPr bwMode="auto">
              <a:xfrm>
                <a:off x="6895" y="2975"/>
                <a:ext cx="9" cy="7"/>
              </a:xfrm>
              <a:custGeom>
                <a:avLst/>
                <a:gdLst>
                  <a:gd name="T0" fmla="*/ 3 w 4"/>
                  <a:gd name="T1" fmla="*/ 2 h 3"/>
                  <a:gd name="T2" fmla="*/ 3 w 4"/>
                  <a:gd name="T3" fmla="*/ 0 h 3"/>
                  <a:gd name="T4" fmla="*/ 0 w 4"/>
                  <a:gd name="T5" fmla="*/ 2 h 3"/>
                  <a:gd name="T6" fmla="*/ 3 w 4"/>
                  <a:gd name="T7" fmla="*/ 2 h 3"/>
                </a:gdLst>
                <a:ahLst/>
                <a:cxnLst>
                  <a:cxn ang="0">
                    <a:pos x="T0" y="T1"/>
                  </a:cxn>
                  <a:cxn ang="0">
                    <a:pos x="T2" y="T3"/>
                  </a:cxn>
                  <a:cxn ang="0">
                    <a:pos x="T4" y="T5"/>
                  </a:cxn>
                  <a:cxn ang="0">
                    <a:pos x="T6" y="T7"/>
                  </a:cxn>
                </a:cxnLst>
                <a:rect l="0" t="0" r="r" b="b"/>
                <a:pathLst>
                  <a:path w="4" h="3">
                    <a:moveTo>
                      <a:pt x="3" y="2"/>
                    </a:moveTo>
                    <a:cubicBezTo>
                      <a:pt x="4" y="2"/>
                      <a:pt x="3" y="2"/>
                      <a:pt x="3" y="0"/>
                    </a:cubicBezTo>
                    <a:cubicBezTo>
                      <a:pt x="2" y="0"/>
                      <a:pt x="0" y="1"/>
                      <a:pt x="0" y="2"/>
                    </a:cubicBezTo>
                    <a:cubicBezTo>
                      <a:pt x="0" y="2"/>
                      <a:pt x="2" y="3"/>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9" name="Freeform 2478">
                <a:extLst>
                  <a:ext uri="{FF2B5EF4-FFF2-40B4-BE49-F238E27FC236}">
                    <a16:creationId xmlns:a16="http://schemas.microsoft.com/office/drawing/2014/main" id="{D396CD4C-1053-4295-AFA5-4C085E875273}"/>
                  </a:ext>
                </a:extLst>
              </p:cNvPr>
              <p:cNvSpPr>
                <a:spLocks/>
              </p:cNvSpPr>
              <p:nvPr/>
            </p:nvSpPr>
            <p:spPr bwMode="auto">
              <a:xfrm>
                <a:off x="6828" y="2795"/>
                <a:ext cx="15" cy="12"/>
              </a:xfrm>
              <a:custGeom>
                <a:avLst/>
                <a:gdLst>
                  <a:gd name="T0" fmla="*/ 3 w 6"/>
                  <a:gd name="T1" fmla="*/ 5 h 5"/>
                  <a:gd name="T2" fmla="*/ 6 w 6"/>
                  <a:gd name="T3" fmla="*/ 4 h 5"/>
                  <a:gd name="T4" fmla="*/ 5 w 6"/>
                  <a:gd name="T5" fmla="*/ 3 h 5"/>
                  <a:gd name="T6" fmla="*/ 4 w 6"/>
                  <a:gd name="T7" fmla="*/ 3 h 5"/>
                  <a:gd name="T8" fmla="*/ 3 w 6"/>
                  <a:gd name="T9" fmla="*/ 2 h 5"/>
                  <a:gd name="T10" fmla="*/ 0 w 6"/>
                  <a:gd name="T11" fmla="*/ 0 h 5"/>
                  <a:gd name="T12" fmla="*/ 1 w 6"/>
                  <a:gd name="T13" fmla="*/ 5 h 5"/>
                  <a:gd name="T14" fmla="*/ 3 w 6"/>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3" y="5"/>
                    </a:moveTo>
                    <a:cubicBezTo>
                      <a:pt x="4" y="5"/>
                      <a:pt x="5" y="5"/>
                      <a:pt x="6" y="4"/>
                    </a:cubicBezTo>
                    <a:cubicBezTo>
                      <a:pt x="6" y="4"/>
                      <a:pt x="5" y="4"/>
                      <a:pt x="5" y="3"/>
                    </a:cubicBezTo>
                    <a:cubicBezTo>
                      <a:pt x="5" y="3"/>
                      <a:pt x="4" y="3"/>
                      <a:pt x="4" y="3"/>
                    </a:cubicBezTo>
                    <a:cubicBezTo>
                      <a:pt x="3" y="3"/>
                      <a:pt x="3" y="2"/>
                      <a:pt x="3" y="2"/>
                    </a:cubicBezTo>
                    <a:cubicBezTo>
                      <a:pt x="3" y="1"/>
                      <a:pt x="0" y="0"/>
                      <a:pt x="0" y="0"/>
                    </a:cubicBezTo>
                    <a:cubicBezTo>
                      <a:pt x="0" y="1"/>
                      <a:pt x="0" y="4"/>
                      <a:pt x="1" y="5"/>
                    </a:cubicBezTo>
                    <a:cubicBezTo>
                      <a:pt x="1" y="5"/>
                      <a:pt x="3"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0" name="Freeform 2479">
                <a:extLst>
                  <a:ext uri="{FF2B5EF4-FFF2-40B4-BE49-F238E27FC236}">
                    <a16:creationId xmlns:a16="http://schemas.microsoft.com/office/drawing/2014/main" id="{328AD7F2-EF6E-48F7-AEB5-A5CD8F53703A}"/>
                  </a:ext>
                </a:extLst>
              </p:cNvPr>
              <p:cNvSpPr>
                <a:spLocks/>
              </p:cNvSpPr>
              <p:nvPr/>
            </p:nvSpPr>
            <p:spPr bwMode="auto">
              <a:xfrm>
                <a:off x="6549" y="2973"/>
                <a:ext cx="22" cy="9"/>
              </a:xfrm>
              <a:custGeom>
                <a:avLst/>
                <a:gdLst>
                  <a:gd name="T0" fmla="*/ 3 w 9"/>
                  <a:gd name="T1" fmla="*/ 4 h 4"/>
                  <a:gd name="T2" fmla="*/ 6 w 9"/>
                  <a:gd name="T3" fmla="*/ 3 h 4"/>
                  <a:gd name="T4" fmla="*/ 9 w 9"/>
                  <a:gd name="T5" fmla="*/ 3 h 4"/>
                  <a:gd name="T6" fmla="*/ 9 w 9"/>
                  <a:gd name="T7" fmla="*/ 1 h 4"/>
                  <a:gd name="T8" fmla="*/ 2 w 9"/>
                  <a:gd name="T9" fmla="*/ 1 h 4"/>
                  <a:gd name="T10" fmla="*/ 3 w 9"/>
                  <a:gd name="T11" fmla="*/ 2 h 4"/>
                  <a:gd name="T12" fmla="*/ 2 w 9"/>
                  <a:gd name="T13" fmla="*/ 3 h 4"/>
                  <a:gd name="T14" fmla="*/ 3 w 9"/>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3" y="4"/>
                    </a:moveTo>
                    <a:cubicBezTo>
                      <a:pt x="4" y="4"/>
                      <a:pt x="5" y="4"/>
                      <a:pt x="6" y="3"/>
                    </a:cubicBezTo>
                    <a:cubicBezTo>
                      <a:pt x="6" y="3"/>
                      <a:pt x="8" y="3"/>
                      <a:pt x="9" y="3"/>
                    </a:cubicBezTo>
                    <a:cubicBezTo>
                      <a:pt x="9" y="3"/>
                      <a:pt x="9" y="2"/>
                      <a:pt x="9" y="1"/>
                    </a:cubicBezTo>
                    <a:cubicBezTo>
                      <a:pt x="8" y="0"/>
                      <a:pt x="4" y="1"/>
                      <a:pt x="2" y="1"/>
                    </a:cubicBezTo>
                    <a:cubicBezTo>
                      <a:pt x="1" y="2"/>
                      <a:pt x="1" y="2"/>
                      <a:pt x="3" y="2"/>
                    </a:cubicBezTo>
                    <a:cubicBezTo>
                      <a:pt x="2" y="2"/>
                      <a:pt x="2" y="2"/>
                      <a:pt x="2" y="3"/>
                    </a:cubicBezTo>
                    <a:cubicBezTo>
                      <a:pt x="0" y="4"/>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1" name="Freeform 2480">
                <a:extLst>
                  <a:ext uri="{FF2B5EF4-FFF2-40B4-BE49-F238E27FC236}">
                    <a16:creationId xmlns:a16="http://schemas.microsoft.com/office/drawing/2014/main" id="{8F3A3B35-1BC4-420C-B6EB-098895E2EB3B}"/>
                  </a:ext>
                </a:extLst>
              </p:cNvPr>
              <p:cNvSpPr>
                <a:spLocks/>
              </p:cNvSpPr>
              <p:nvPr/>
            </p:nvSpPr>
            <p:spPr bwMode="auto">
              <a:xfrm>
                <a:off x="6703" y="2800"/>
                <a:ext cx="12" cy="9"/>
              </a:xfrm>
              <a:custGeom>
                <a:avLst/>
                <a:gdLst>
                  <a:gd name="T0" fmla="*/ 2 w 5"/>
                  <a:gd name="T1" fmla="*/ 4 h 4"/>
                  <a:gd name="T2" fmla="*/ 4 w 5"/>
                  <a:gd name="T3" fmla="*/ 1 h 4"/>
                  <a:gd name="T4" fmla="*/ 2 w 5"/>
                  <a:gd name="T5" fmla="*/ 0 h 4"/>
                  <a:gd name="T6" fmla="*/ 1 w 5"/>
                  <a:gd name="T7" fmla="*/ 2 h 4"/>
                  <a:gd name="T8" fmla="*/ 2 w 5"/>
                  <a:gd name="T9" fmla="*/ 4 h 4"/>
                </a:gdLst>
                <a:ahLst/>
                <a:cxnLst>
                  <a:cxn ang="0">
                    <a:pos x="T0" y="T1"/>
                  </a:cxn>
                  <a:cxn ang="0">
                    <a:pos x="T2" y="T3"/>
                  </a:cxn>
                  <a:cxn ang="0">
                    <a:pos x="T4" y="T5"/>
                  </a:cxn>
                  <a:cxn ang="0">
                    <a:pos x="T6" y="T7"/>
                  </a:cxn>
                  <a:cxn ang="0">
                    <a:pos x="T8" y="T9"/>
                  </a:cxn>
                </a:cxnLst>
                <a:rect l="0" t="0" r="r" b="b"/>
                <a:pathLst>
                  <a:path w="5" h="4">
                    <a:moveTo>
                      <a:pt x="2" y="4"/>
                    </a:moveTo>
                    <a:cubicBezTo>
                      <a:pt x="4" y="4"/>
                      <a:pt x="5" y="2"/>
                      <a:pt x="4" y="1"/>
                    </a:cubicBezTo>
                    <a:cubicBezTo>
                      <a:pt x="4" y="0"/>
                      <a:pt x="4" y="0"/>
                      <a:pt x="2" y="0"/>
                    </a:cubicBezTo>
                    <a:cubicBezTo>
                      <a:pt x="1" y="0"/>
                      <a:pt x="0" y="0"/>
                      <a:pt x="1" y="2"/>
                    </a:cubicBezTo>
                    <a:cubicBezTo>
                      <a:pt x="1" y="2"/>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2" name="Freeform 2481">
                <a:extLst>
                  <a:ext uri="{FF2B5EF4-FFF2-40B4-BE49-F238E27FC236}">
                    <a16:creationId xmlns:a16="http://schemas.microsoft.com/office/drawing/2014/main" id="{69653814-0EB5-493B-AE12-587DF6885616}"/>
                  </a:ext>
                </a:extLst>
              </p:cNvPr>
              <p:cNvSpPr>
                <a:spLocks/>
              </p:cNvSpPr>
              <p:nvPr/>
            </p:nvSpPr>
            <p:spPr bwMode="auto">
              <a:xfrm>
                <a:off x="6698" y="2798"/>
                <a:ext cx="7" cy="2"/>
              </a:xfrm>
              <a:custGeom>
                <a:avLst/>
                <a:gdLst>
                  <a:gd name="T0" fmla="*/ 2 w 3"/>
                  <a:gd name="T1" fmla="*/ 0 h 1"/>
                  <a:gd name="T2" fmla="*/ 0 w 3"/>
                  <a:gd name="T3" fmla="*/ 0 h 1"/>
                  <a:gd name="T4" fmla="*/ 0 w 3"/>
                  <a:gd name="T5" fmla="*/ 1 h 1"/>
                  <a:gd name="T6" fmla="*/ 3 w 3"/>
                  <a:gd name="T7" fmla="*/ 0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cubicBezTo>
                      <a:pt x="1" y="0"/>
                      <a:pt x="1" y="0"/>
                      <a:pt x="0" y="0"/>
                    </a:cubicBezTo>
                    <a:cubicBezTo>
                      <a:pt x="0" y="0"/>
                      <a:pt x="0" y="0"/>
                      <a:pt x="0" y="1"/>
                    </a:cubicBezTo>
                    <a:cubicBezTo>
                      <a:pt x="1" y="0"/>
                      <a:pt x="2" y="0"/>
                      <a:pt x="3"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3" name="Freeform 2482">
                <a:extLst>
                  <a:ext uri="{FF2B5EF4-FFF2-40B4-BE49-F238E27FC236}">
                    <a16:creationId xmlns:a16="http://schemas.microsoft.com/office/drawing/2014/main" id="{0EF7E65F-F846-48A8-9439-2287224013C9}"/>
                  </a:ext>
                </a:extLst>
              </p:cNvPr>
              <p:cNvSpPr>
                <a:spLocks/>
              </p:cNvSpPr>
              <p:nvPr/>
            </p:nvSpPr>
            <p:spPr bwMode="auto">
              <a:xfrm>
                <a:off x="6072" y="2776"/>
                <a:ext cx="12" cy="10"/>
              </a:xfrm>
              <a:custGeom>
                <a:avLst/>
                <a:gdLst>
                  <a:gd name="T0" fmla="*/ 5 w 5"/>
                  <a:gd name="T1" fmla="*/ 4 h 4"/>
                  <a:gd name="T2" fmla="*/ 1 w 5"/>
                  <a:gd name="T3" fmla="*/ 0 h 4"/>
                  <a:gd name="T4" fmla="*/ 0 w 5"/>
                  <a:gd name="T5" fmla="*/ 3 h 4"/>
                  <a:gd name="T6" fmla="*/ 1 w 5"/>
                  <a:gd name="T7" fmla="*/ 3 h 4"/>
                  <a:gd name="T8" fmla="*/ 3 w 5"/>
                  <a:gd name="T9" fmla="*/ 3 h 4"/>
                  <a:gd name="T10" fmla="*/ 5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5" y="4"/>
                    </a:moveTo>
                    <a:cubicBezTo>
                      <a:pt x="3" y="3"/>
                      <a:pt x="2" y="1"/>
                      <a:pt x="1" y="0"/>
                    </a:cubicBezTo>
                    <a:cubicBezTo>
                      <a:pt x="0" y="1"/>
                      <a:pt x="0" y="2"/>
                      <a:pt x="0" y="3"/>
                    </a:cubicBezTo>
                    <a:cubicBezTo>
                      <a:pt x="0" y="3"/>
                      <a:pt x="1" y="3"/>
                      <a:pt x="1" y="3"/>
                    </a:cubicBezTo>
                    <a:cubicBezTo>
                      <a:pt x="1" y="3"/>
                      <a:pt x="2" y="2"/>
                      <a:pt x="3" y="3"/>
                    </a:cubicBezTo>
                    <a:cubicBezTo>
                      <a:pt x="3" y="3"/>
                      <a:pt x="4"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4" name="Freeform 2483">
                <a:extLst>
                  <a:ext uri="{FF2B5EF4-FFF2-40B4-BE49-F238E27FC236}">
                    <a16:creationId xmlns:a16="http://schemas.microsoft.com/office/drawing/2014/main" id="{7E347895-3E4C-4004-8EE3-FD8BE791627D}"/>
                  </a:ext>
                </a:extLst>
              </p:cNvPr>
              <p:cNvSpPr>
                <a:spLocks/>
              </p:cNvSpPr>
              <p:nvPr/>
            </p:nvSpPr>
            <p:spPr bwMode="auto">
              <a:xfrm>
                <a:off x="6644" y="2712"/>
                <a:ext cx="12" cy="17"/>
              </a:xfrm>
              <a:custGeom>
                <a:avLst/>
                <a:gdLst>
                  <a:gd name="T0" fmla="*/ 1 w 5"/>
                  <a:gd name="T1" fmla="*/ 4 h 7"/>
                  <a:gd name="T2" fmla="*/ 1 w 5"/>
                  <a:gd name="T3" fmla="*/ 5 h 7"/>
                  <a:gd name="T4" fmla="*/ 1 w 5"/>
                  <a:gd name="T5" fmla="*/ 7 h 7"/>
                  <a:gd name="T6" fmla="*/ 4 w 5"/>
                  <a:gd name="T7" fmla="*/ 6 h 7"/>
                  <a:gd name="T8" fmla="*/ 4 w 5"/>
                  <a:gd name="T9" fmla="*/ 0 h 7"/>
                  <a:gd name="T10" fmla="*/ 1 w 5"/>
                  <a:gd name="T11" fmla="*/ 4 h 7"/>
                </a:gdLst>
                <a:ahLst/>
                <a:cxnLst>
                  <a:cxn ang="0">
                    <a:pos x="T0" y="T1"/>
                  </a:cxn>
                  <a:cxn ang="0">
                    <a:pos x="T2" y="T3"/>
                  </a:cxn>
                  <a:cxn ang="0">
                    <a:pos x="T4" y="T5"/>
                  </a:cxn>
                  <a:cxn ang="0">
                    <a:pos x="T6" y="T7"/>
                  </a:cxn>
                  <a:cxn ang="0">
                    <a:pos x="T8" y="T9"/>
                  </a:cxn>
                  <a:cxn ang="0">
                    <a:pos x="T10" y="T11"/>
                  </a:cxn>
                </a:cxnLst>
                <a:rect l="0" t="0" r="r" b="b"/>
                <a:pathLst>
                  <a:path w="5" h="7">
                    <a:moveTo>
                      <a:pt x="1" y="4"/>
                    </a:moveTo>
                    <a:cubicBezTo>
                      <a:pt x="1" y="4"/>
                      <a:pt x="0" y="5"/>
                      <a:pt x="1" y="5"/>
                    </a:cubicBezTo>
                    <a:cubicBezTo>
                      <a:pt x="1" y="6"/>
                      <a:pt x="1" y="7"/>
                      <a:pt x="1" y="7"/>
                    </a:cubicBezTo>
                    <a:cubicBezTo>
                      <a:pt x="2" y="7"/>
                      <a:pt x="3" y="7"/>
                      <a:pt x="4" y="6"/>
                    </a:cubicBezTo>
                    <a:cubicBezTo>
                      <a:pt x="5" y="5"/>
                      <a:pt x="5" y="2"/>
                      <a:pt x="4" y="0"/>
                    </a:cubicBezTo>
                    <a:cubicBezTo>
                      <a:pt x="3" y="1"/>
                      <a:pt x="1" y="2"/>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5" name="Freeform 2484">
                <a:extLst>
                  <a:ext uri="{FF2B5EF4-FFF2-40B4-BE49-F238E27FC236}">
                    <a16:creationId xmlns:a16="http://schemas.microsoft.com/office/drawing/2014/main" id="{C2895E86-FA98-4E9B-B49A-D70729FEC347}"/>
                  </a:ext>
                </a:extLst>
              </p:cNvPr>
              <p:cNvSpPr>
                <a:spLocks/>
              </p:cNvSpPr>
              <p:nvPr/>
            </p:nvSpPr>
            <p:spPr bwMode="auto">
              <a:xfrm>
                <a:off x="6573" y="2821"/>
                <a:ext cx="26" cy="3"/>
              </a:xfrm>
              <a:custGeom>
                <a:avLst/>
                <a:gdLst>
                  <a:gd name="T0" fmla="*/ 2 w 11"/>
                  <a:gd name="T1" fmla="*/ 1 h 1"/>
                  <a:gd name="T2" fmla="*/ 5 w 11"/>
                  <a:gd name="T3" fmla="*/ 1 h 1"/>
                  <a:gd name="T4" fmla="*/ 7 w 11"/>
                  <a:gd name="T5" fmla="*/ 1 h 1"/>
                  <a:gd name="T6" fmla="*/ 11 w 11"/>
                  <a:gd name="T7" fmla="*/ 0 h 1"/>
                  <a:gd name="T8" fmla="*/ 2 w 11"/>
                  <a:gd name="T9" fmla="*/ 0 h 1"/>
                  <a:gd name="T10" fmla="*/ 2 w 11"/>
                  <a:gd name="T11" fmla="*/ 1 h 1"/>
                </a:gdLst>
                <a:ahLst/>
                <a:cxnLst>
                  <a:cxn ang="0">
                    <a:pos x="T0" y="T1"/>
                  </a:cxn>
                  <a:cxn ang="0">
                    <a:pos x="T2" y="T3"/>
                  </a:cxn>
                  <a:cxn ang="0">
                    <a:pos x="T4" y="T5"/>
                  </a:cxn>
                  <a:cxn ang="0">
                    <a:pos x="T6" y="T7"/>
                  </a:cxn>
                  <a:cxn ang="0">
                    <a:pos x="T8" y="T9"/>
                  </a:cxn>
                  <a:cxn ang="0">
                    <a:pos x="T10" y="T11"/>
                  </a:cxn>
                </a:cxnLst>
                <a:rect l="0" t="0" r="r" b="b"/>
                <a:pathLst>
                  <a:path w="11" h="1">
                    <a:moveTo>
                      <a:pt x="2" y="1"/>
                    </a:moveTo>
                    <a:cubicBezTo>
                      <a:pt x="3" y="1"/>
                      <a:pt x="4" y="1"/>
                      <a:pt x="5" y="1"/>
                    </a:cubicBezTo>
                    <a:cubicBezTo>
                      <a:pt x="6" y="1"/>
                      <a:pt x="7" y="1"/>
                      <a:pt x="7" y="1"/>
                    </a:cubicBezTo>
                    <a:cubicBezTo>
                      <a:pt x="8" y="1"/>
                      <a:pt x="11" y="1"/>
                      <a:pt x="11" y="0"/>
                    </a:cubicBezTo>
                    <a:cubicBezTo>
                      <a:pt x="8" y="0"/>
                      <a:pt x="5" y="0"/>
                      <a:pt x="2" y="0"/>
                    </a:cubicBezTo>
                    <a:cubicBezTo>
                      <a:pt x="0" y="0"/>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6" name="Freeform 2485">
                <a:extLst>
                  <a:ext uri="{FF2B5EF4-FFF2-40B4-BE49-F238E27FC236}">
                    <a16:creationId xmlns:a16="http://schemas.microsoft.com/office/drawing/2014/main" id="{083B4C97-3030-4146-A20C-625D6E32C9E5}"/>
                  </a:ext>
                </a:extLst>
              </p:cNvPr>
              <p:cNvSpPr>
                <a:spLocks/>
              </p:cNvSpPr>
              <p:nvPr/>
            </p:nvSpPr>
            <p:spPr bwMode="auto">
              <a:xfrm>
                <a:off x="6512" y="3029"/>
                <a:ext cx="16" cy="15"/>
              </a:xfrm>
              <a:custGeom>
                <a:avLst/>
                <a:gdLst>
                  <a:gd name="T0" fmla="*/ 4 w 7"/>
                  <a:gd name="T1" fmla="*/ 4 h 6"/>
                  <a:gd name="T2" fmla="*/ 6 w 7"/>
                  <a:gd name="T3" fmla="*/ 4 h 6"/>
                  <a:gd name="T4" fmla="*/ 7 w 7"/>
                  <a:gd name="T5" fmla="*/ 0 h 6"/>
                  <a:gd name="T6" fmla="*/ 3 w 7"/>
                  <a:gd name="T7" fmla="*/ 3 h 6"/>
                  <a:gd name="T8" fmla="*/ 2 w 7"/>
                  <a:gd name="T9" fmla="*/ 4 h 6"/>
                  <a:gd name="T10" fmla="*/ 4 w 7"/>
                  <a:gd name="T11" fmla="*/ 4 h 6"/>
                </a:gdLst>
                <a:ahLst/>
                <a:cxnLst>
                  <a:cxn ang="0">
                    <a:pos x="T0" y="T1"/>
                  </a:cxn>
                  <a:cxn ang="0">
                    <a:pos x="T2" y="T3"/>
                  </a:cxn>
                  <a:cxn ang="0">
                    <a:pos x="T4" y="T5"/>
                  </a:cxn>
                  <a:cxn ang="0">
                    <a:pos x="T6" y="T7"/>
                  </a:cxn>
                  <a:cxn ang="0">
                    <a:pos x="T8" y="T9"/>
                  </a:cxn>
                  <a:cxn ang="0">
                    <a:pos x="T10" y="T11"/>
                  </a:cxn>
                </a:cxnLst>
                <a:rect l="0" t="0" r="r" b="b"/>
                <a:pathLst>
                  <a:path w="7" h="6">
                    <a:moveTo>
                      <a:pt x="4" y="4"/>
                    </a:moveTo>
                    <a:cubicBezTo>
                      <a:pt x="5" y="4"/>
                      <a:pt x="5" y="4"/>
                      <a:pt x="6" y="4"/>
                    </a:cubicBezTo>
                    <a:cubicBezTo>
                      <a:pt x="7" y="3"/>
                      <a:pt x="7" y="3"/>
                      <a:pt x="7" y="0"/>
                    </a:cubicBezTo>
                    <a:cubicBezTo>
                      <a:pt x="6" y="1"/>
                      <a:pt x="5" y="2"/>
                      <a:pt x="3" y="3"/>
                    </a:cubicBezTo>
                    <a:cubicBezTo>
                      <a:pt x="3" y="3"/>
                      <a:pt x="2" y="3"/>
                      <a:pt x="2" y="4"/>
                    </a:cubicBezTo>
                    <a:cubicBezTo>
                      <a:pt x="0" y="6"/>
                      <a:pt x="4" y="5"/>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7" name="Freeform 2486">
                <a:extLst>
                  <a:ext uri="{FF2B5EF4-FFF2-40B4-BE49-F238E27FC236}">
                    <a16:creationId xmlns:a16="http://schemas.microsoft.com/office/drawing/2014/main" id="{70AD95B3-9CCB-4C04-9A31-CA31C6E88502}"/>
                  </a:ext>
                </a:extLst>
              </p:cNvPr>
              <p:cNvSpPr>
                <a:spLocks/>
              </p:cNvSpPr>
              <p:nvPr/>
            </p:nvSpPr>
            <p:spPr bwMode="auto">
              <a:xfrm>
                <a:off x="6682" y="2817"/>
                <a:ext cx="16" cy="9"/>
              </a:xfrm>
              <a:custGeom>
                <a:avLst/>
                <a:gdLst>
                  <a:gd name="T0" fmla="*/ 4 w 7"/>
                  <a:gd name="T1" fmla="*/ 4 h 4"/>
                  <a:gd name="T2" fmla="*/ 5 w 7"/>
                  <a:gd name="T3" fmla="*/ 4 h 4"/>
                  <a:gd name="T4" fmla="*/ 6 w 7"/>
                  <a:gd name="T5" fmla="*/ 4 h 4"/>
                  <a:gd name="T6" fmla="*/ 7 w 7"/>
                  <a:gd name="T7" fmla="*/ 4 h 4"/>
                  <a:gd name="T8" fmla="*/ 7 w 7"/>
                  <a:gd name="T9" fmla="*/ 2 h 4"/>
                  <a:gd name="T10" fmla="*/ 6 w 7"/>
                  <a:gd name="T11" fmla="*/ 1 h 4"/>
                  <a:gd name="T12" fmla="*/ 2 w 7"/>
                  <a:gd name="T13" fmla="*/ 1 h 4"/>
                  <a:gd name="T14" fmla="*/ 0 w 7"/>
                  <a:gd name="T15" fmla="*/ 3 h 4"/>
                  <a:gd name="T16" fmla="*/ 4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4"/>
                    </a:moveTo>
                    <a:cubicBezTo>
                      <a:pt x="4" y="4"/>
                      <a:pt x="5" y="4"/>
                      <a:pt x="5" y="4"/>
                    </a:cubicBezTo>
                    <a:cubicBezTo>
                      <a:pt x="5" y="4"/>
                      <a:pt x="6" y="4"/>
                      <a:pt x="6" y="4"/>
                    </a:cubicBezTo>
                    <a:cubicBezTo>
                      <a:pt x="6" y="3"/>
                      <a:pt x="6" y="4"/>
                      <a:pt x="7" y="4"/>
                    </a:cubicBezTo>
                    <a:cubicBezTo>
                      <a:pt x="7" y="4"/>
                      <a:pt x="7" y="2"/>
                      <a:pt x="7" y="2"/>
                    </a:cubicBezTo>
                    <a:cubicBezTo>
                      <a:pt x="7" y="2"/>
                      <a:pt x="6" y="1"/>
                      <a:pt x="6" y="1"/>
                    </a:cubicBezTo>
                    <a:cubicBezTo>
                      <a:pt x="6" y="0"/>
                      <a:pt x="3" y="1"/>
                      <a:pt x="2" y="1"/>
                    </a:cubicBezTo>
                    <a:cubicBezTo>
                      <a:pt x="2" y="2"/>
                      <a:pt x="1" y="2"/>
                      <a:pt x="0" y="3"/>
                    </a:cubicBezTo>
                    <a:cubicBezTo>
                      <a:pt x="1"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8" name="Freeform 2487">
                <a:extLst>
                  <a:ext uri="{FF2B5EF4-FFF2-40B4-BE49-F238E27FC236}">
                    <a16:creationId xmlns:a16="http://schemas.microsoft.com/office/drawing/2014/main" id="{6BC9B66D-D5ED-46FD-A260-CD2282EB9EA3}"/>
                  </a:ext>
                </a:extLst>
              </p:cNvPr>
              <p:cNvSpPr>
                <a:spLocks/>
              </p:cNvSpPr>
              <p:nvPr/>
            </p:nvSpPr>
            <p:spPr bwMode="auto">
              <a:xfrm>
                <a:off x="5859" y="2705"/>
                <a:ext cx="19" cy="17"/>
              </a:xfrm>
              <a:custGeom>
                <a:avLst/>
                <a:gdLst>
                  <a:gd name="T0" fmla="*/ 6 w 8"/>
                  <a:gd name="T1" fmla="*/ 4 h 7"/>
                  <a:gd name="T2" fmla="*/ 1 w 8"/>
                  <a:gd name="T3" fmla="*/ 0 h 7"/>
                  <a:gd name="T4" fmla="*/ 1 w 8"/>
                  <a:gd name="T5" fmla="*/ 2 h 7"/>
                  <a:gd name="T6" fmla="*/ 2 w 8"/>
                  <a:gd name="T7" fmla="*/ 3 h 7"/>
                  <a:gd name="T8" fmla="*/ 3 w 8"/>
                  <a:gd name="T9" fmla="*/ 4 h 7"/>
                  <a:gd name="T10" fmla="*/ 8 w 8"/>
                  <a:gd name="T11" fmla="*/ 6 h 7"/>
                  <a:gd name="T12" fmla="*/ 6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6" y="4"/>
                    </a:moveTo>
                    <a:cubicBezTo>
                      <a:pt x="4" y="3"/>
                      <a:pt x="3" y="1"/>
                      <a:pt x="1" y="0"/>
                    </a:cubicBezTo>
                    <a:cubicBezTo>
                      <a:pt x="1" y="1"/>
                      <a:pt x="0" y="2"/>
                      <a:pt x="1" y="2"/>
                    </a:cubicBezTo>
                    <a:cubicBezTo>
                      <a:pt x="1" y="3"/>
                      <a:pt x="1" y="3"/>
                      <a:pt x="2" y="3"/>
                    </a:cubicBezTo>
                    <a:cubicBezTo>
                      <a:pt x="2" y="4"/>
                      <a:pt x="3" y="4"/>
                      <a:pt x="3" y="4"/>
                    </a:cubicBezTo>
                    <a:cubicBezTo>
                      <a:pt x="5" y="4"/>
                      <a:pt x="7" y="7"/>
                      <a:pt x="8" y="6"/>
                    </a:cubicBezTo>
                    <a:cubicBezTo>
                      <a:pt x="8" y="4"/>
                      <a:pt x="7" y="5"/>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9" name="Freeform 2488">
                <a:extLst>
                  <a:ext uri="{FF2B5EF4-FFF2-40B4-BE49-F238E27FC236}">
                    <a16:creationId xmlns:a16="http://schemas.microsoft.com/office/drawing/2014/main" id="{FAFCAF21-3EEE-47D6-ACDB-4CD371D4B55E}"/>
                  </a:ext>
                </a:extLst>
              </p:cNvPr>
              <p:cNvSpPr>
                <a:spLocks/>
              </p:cNvSpPr>
              <p:nvPr/>
            </p:nvSpPr>
            <p:spPr bwMode="auto">
              <a:xfrm>
                <a:off x="6351" y="2857"/>
                <a:ext cx="7" cy="19"/>
              </a:xfrm>
              <a:custGeom>
                <a:avLst/>
                <a:gdLst>
                  <a:gd name="T0" fmla="*/ 0 w 3"/>
                  <a:gd name="T1" fmla="*/ 7 h 8"/>
                  <a:gd name="T2" fmla="*/ 0 w 3"/>
                  <a:gd name="T3" fmla="*/ 8 h 8"/>
                  <a:gd name="T4" fmla="*/ 1 w 3"/>
                  <a:gd name="T5" fmla="*/ 8 h 8"/>
                  <a:gd name="T6" fmla="*/ 1 w 3"/>
                  <a:gd name="T7" fmla="*/ 8 h 8"/>
                  <a:gd name="T8" fmla="*/ 3 w 3"/>
                  <a:gd name="T9" fmla="*/ 6 h 8"/>
                  <a:gd name="T10" fmla="*/ 2 w 3"/>
                  <a:gd name="T11" fmla="*/ 0 h 8"/>
                  <a:gd name="T12" fmla="*/ 2 w 3"/>
                  <a:gd name="T13" fmla="*/ 0 h 8"/>
                  <a:gd name="T14" fmla="*/ 1 w 3"/>
                  <a:gd name="T15" fmla="*/ 0 h 8"/>
                  <a:gd name="T16" fmla="*/ 1 w 3"/>
                  <a:gd name="T17" fmla="*/ 0 h 8"/>
                  <a:gd name="T18" fmla="*/ 1 w 3"/>
                  <a:gd name="T19" fmla="*/ 1 h 8"/>
                  <a:gd name="T20" fmla="*/ 1 w 3"/>
                  <a:gd name="T21" fmla="*/ 1 h 8"/>
                  <a:gd name="T22" fmla="*/ 1 w 3"/>
                  <a:gd name="T23" fmla="*/ 1 h 8"/>
                  <a:gd name="T24" fmla="*/ 0 w 3"/>
                  <a:gd name="T25" fmla="*/ 5 h 8"/>
                  <a:gd name="T26" fmla="*/ 0 w 3"/>
                  <a:gd name="T27" fmla="*/ 7 h 8"/>
                  <a:gd name="T28" fmla="*/ 0 w 3"/>
                  <a:gd name="T29" fmla="*/ 7 h 8"/>
                  <a:gd name="T30" fmla="*/ 0 w 3"/>
                  <a:gd name="T3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8">
                    <a:moveTo>
                      <a:pt x="0" y="7"/>
                    </a:moveTo>
                    <a:cubicBezTo>
                      <a:pt x="0" y="7"/>
                      <a:pt x="0" y="8"/>
                      <a:pt x="0" y="8"/>
                    </a:cubicBezTo>
                    <a:cubicBezTo>
                      <a:pt x="0" y="8"/>
                      <a:pt x="0" y="8"/>
                      <a:pt x="1" y="8"/>
                    </a:cubicBezTo>
                    <a:cubicBezTo>
                      <a:pt x="1" y="8"/>
                      <a:pt x="1" y="8"/>
                      <a:pt x="1" y="8"/>
                    </a:cubicBezTo>
                    <a:cubicBezTo>
                      <a:pt x="1" y="8"/>
                      <a:pt x="2" y="6"/>
                      <a:pt x="3" y="6"/>
                    </a:cubicBezTo>
                    <a:cubicBezTo>
                      <a:pt x="3" y="4"/>
                      <a:pt x="3" y="2"/>
                      <a:pt x="2" y="0"/>
                    </a:cubicBezTo>
                    <a:cubicBezTo>
                      <a:pt x="2" y="0"/>
                      <a:pt x="2" y="0"/>
                      <a:pt x="2" y="0"/>
                    </a:cubicBezTo>
                    <a:cubicBezTo>
                      <a:pt x="2" y="0"/>
                      <a:pt x="1" y="0"/>
                      <a:pt x="1" y="0"/>
                    </a:cubicBezTo>
                    <a:cubicBezTo>
                      <a:pt x="1" y="0"/>
                      <a:pt x="1" y="0"/>
                      <a:pt x="1" y="0"/>
                    </a:cubicBezTo>
                    <a:cubicBezTo>
                      <a:pt x="1" y="1"/>
                      <a:pt x="1" y="1"/>
                      <a:pt x="1" y="1"/>
                    </a:cubicBezTo>
                    <a:cubicBezTo>
                      <a:pt x="1" y="1"/>
                      <a:pt x="1" y="1"/>
                      <a:pt x="1" y="1"/>
                    </a:cubicBezTo>
                    <a:cubicBezTo>
                      <a:pt x="1" y="1"/>
                      <a:pt x="1" y="1"/>
                      <a:pt x="1" y="1"/>
                    </a:cubicBezTo>
                    <a:cubicBezTo>
                      <a:pt x="0" y="2"/>
                      <a:pt x="0" y="4"/>
                      <a:pt x="0" y="5"/>
                    </a:cubicBezTo>
                    <a:cubicBezTo>
                      <a:pt x="0" y="5"/>
                      <a:pt x="0" y="6"/>
                      <a:pt x="0" y="7"/>
                    </a:cubicBezTo>
                    <a:cubicBezTo>
                      <a:pt x="0" y="7"/>
                      <a:pt x="0" y="7"/>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0" name="Freeform 2489">
                <a:extLst>
                  <a:ext uri="{FF2B5EF4-FFF2-40B4-BE49-F238E27FC236}">
                    <a16:creationId xmlns:a16="http://schemas.microsoft.com/office/drawing/2014/main" id="{DE955212-8C3C-4743-B725-3BBE3A8BA9F8}"/>
                  </a:ext>
                </a:extLst>
              </p:cNvPr>
              <p:cNvSpPr>
                <a:spLocks/>
              </p:cNvSpPr>
              <p:nvPr/>
            </p:nvSpPr>
            <p:spPr bwMode="auto">
              <a:xfrm>
                <a:off x="3894" y="1605"/>
                <a:ext cx="5" cy="17"/>
              </a:xfrm>
              <a:custGeom>
                <a:avLst/>
                <a:gdLst>
                  <a:gd name="T0" fmla="*/ 1 w 2"/>
                  <a:gd name="T1" fmla="*/ 1 h 7"/>
                  <a:gd name="T2" fmla="*/ 0 w 2"/>
                  <a:gd name="T3" fmla="*/ 0 h 7"/>
                  <a:gd name="T4" fmla="*/ 2 w 2"/>
                  <a:gd name="T5" fmla="*/ 7 h 7"/>
                  <a:gd name="T6" fmla="*/ 2 w 2"/>
                  <a:gd name="T7" fmla="*/ 4 h 7"/>
                  <a:gd name="T8" fmla="*/ 2 w 2"/>
                  <a:gd name="T9" fmla="*/ 3 h 7"/>
                  <a:gd name="T10" fmla="*/ 1 w 2"/>
                  <a:gd name="T11" fmla="*/ 1 h 7"/>
                </a:gdLst>
                <a:ahLst/>
                <a:cxnLst>
                  <a:cxn ang="0">
                    <a:pos x="T0" y="T1"/>
                  </a:cxn>
                  <a:cxn ang="0">
                    <a:pos x="T2" y="T3"/>
                  </a:cxn>
                  <a:cxn ang="0">
                    <a:pos x="T4" y="T5"/>
                  </a:cxn>
                  <a:cxn ang="0">
                    <a:pos x="T6" y="T7"/>
                  </a:cxn>
                  <a:cxn ang="0">
                    <a:pos x="T8" y="T9"/>
                  </a:cxn>
                  <a:cxn ang="0">
                    <a:pos x="T10" y="T11"/>
                  </a:cxn>
                </a:cxnLst>
                <a:rect l="0" t="0" r="r" b="b"/>
                <a:pathLst>
                  <a:path w="2" h="7">
                    <a:moveTo>
                      <a:pt x="1" y="1"/>
                    </a:moveTo>
                    <a:cubicBezTo>
                      <a:pt x="0" y="1"/>
                      <a:pt x="1" y="0"/>
                      <a:pt x="0" y="0"/>
                    </a:cubicBezTo>
                    <a:cubicBezTo>
                      <a:pt x="1" y="2"/>
                      <a:pt x="1" y="5"/>
                      <a:pt x="2" y="7"/>
                    </a:cubicBezTo>
                    <a:cubicBezTo>
                      <a:pt x="2" y="6"/>
                      <a:pt x="2" y="5"/>
                      <a:pt x="2" y="4"/>
                    </a:cubicBezTo>
                    <a:cubicBezTo>
                      <a:pt x="2" y="4"/>
                      <a:pt x="2" y="3"/>
                      <a:pt x="2" y="3"/>
                    </a:cubicBezTo>
                    <a:cubicBezTo>
                      <a:pt x="2"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1" name="Freeform 2490">
                <a:extLst>
                  <a:ext uri="{FF2B5EF4-FFF2-40B4-BE49-F238E27FC236}">
                    <a16:creationId xmlns:a16="http://schemas.microsoft.com/office/drawing/2014/main" id="{9986C642-32A9-45E8-8462-329B938A8440}"/>
                  </a:ext>
                </a:extLst>
              </p:cNvPr>
              <p:cNvSpPr>
                <a:spLocks/>
              </p:cNvSpPr>
              <p:nvPr/>
            </p:nvSpPr>
            <p:spPr bwMode="auto">
              <a:xfrm>
                <a:off x="3953" y="1671"/>
                <a:ext cx="10" cy="0"/>
              </a:xfrm>
              <a:custGeom>
                <a:avLst/>
                <a:gdLst>
                  <a:gd name="T0" fmla="*/ 4 w 4"/>
                  <a:gd name="T1" fmla="*/ 0 w 4"/>
                  <a:gd name="T2" fmla="*/ 1 w 4"/>
                  <a:gd name="T3" fmla="*/ 4 w 4"/>
                </a:gdLst>
                <a:ahLst/>
                <a:cxnLst>
                  <a:cxn ang="0">
                    <a:pos x="T0" y="0"/>
                  </a:cxn>
                  <a:cxn ang="0">
                    <a:pos x="T1" y="0"/>
                  </a:cxn>
                  <a:cxn ang="0">
                    <a:pos x="T2" y="0"/>
                  </a:cxn>
                  <a:cxn ang="0">
                    <a:pos x="T3" y="0"/>
                  </a:cxn>
                </a:cxnLst>
                <a:rect l="0" t="0" r="r" b="b"/>
                <a:pathLst>
                  <a:path w="4">
                    <a:moveTo>
                      <a:pt x="4" y="0"/>
                    </a:moveTo>
                    <a:cubicBezTo>
                      <a:pt x="3" y="0"/>
                      <a:pt x="2" y="0"/>
                      <a:pt x="0" y="0"/>
                    </a:cubicBezTo>
                    <a:cubicBezTo>
                      <a:pt x="1" y="0"/>
                      <a:pt x="1" y="0"/>
                      <a:pt x="1" y="0"/>
                    </a:cubicBezTo>
                    <a:cubicBezTo>
                      <a:pt x="2" y="0"/>
                      <a:pt x="3"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2" name="Freeform 2491">
                <a:extLst>
                  <a:ext uri="{FF2B5EF4-FFF2-40B4-BE49-F238E27FC236}">
                    <a16:creationId xmlns:a16="http://schemas.microsoft.com/office/drawing/2014/main" id="{F4E7A093-5E24-4DC6-86C7-A9749942A212}"/>
                  </a:ext>
                </a:extLst>
              </p:cNvPr>
              <p:cNvSpPr>
                <a:spLocks/>
              </p:cNvSpPr>
              <p:nvPr/>
            </p:nvSpPr>
            <p:spPr bwMode="auto">
              <a:xfrm>
                <a:off x="3956" y="1676"/>
                <a:ext cx="0" cy="2"/>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3" name="Freeform 2492">
                <a:extLst>
                  <a:ext uri="{FF2B5EF4-FFF2-40B4-BE49-F238E27FC236}">
                    <a16:creationId xmlns:a16="http://schemas.microsoft.com/office/drawing/2014/main" id="{879AC057-6A9D-4341-B43B-76701A3ED233}"/>
                  </a:ext>
                </a:extLst>
              </p:cNvPr>
              <p:cNvSpPr>
                <a:spLocks/>
              </p:cNvSpPr>
              <p:nvPr/>
            </p:nvSpPr>
            <p:spPr bwMode="auto">
              <a:xfrm>
                <a:off x="3946" y="1657"/>
                <a:ext cx="12" cy="5"/>
              </a:xfrm>
              <a:custGeom>
                <a:avLst/>
                <a:gdLst>
                  <a:gd name="T0" fmla="*/ 2 w 5"/>
                  <a:gd name="T1" fmla="*/ 1 h 2"/>
                  <a:gd name="T2" fmla="*/ 0 w 5"/>
                  <a:gd name="T3" fmla="*/ 0 h 2"/>
                  <a:gd name="T4" fmla="*/ 2 w 5"/>
                  <a:gd name="T5" fmla="*/ 2 h 2"/>
                  <a:gd name="T6" fmla="*/ 2 w 5"/>
                  <a:gd name="T7" fmla="*/ 1 h 2"/>
                </a:gdLst>
                <a:ahLst/>
                <a:cxnLst>
                  <a:cxn ang="0">
                    <a:pos x="T0" y="T1"/>
                  </a:cxn>
                  <a:cxn ang="0">
                    <a:pos x="T2" y="T3"/>
                  </a:cxn>
                  <a:cxn ang="0">
                    <a:pos x="T4" y="T5"/>
                  </a:cxn>
                  <a:cxn ang="0">
                    <a:pos x="T6" y="T7"/>
                  </a:cxn>
                </a:cxnLst>
                <a:rect l="0" t="0" r="r" b="b"/>
                <a:pathLst>
                  <a:path w="5" h="2">
                    <a:moveTo>
                      <a:pt x="2" y="1"/>
                    </a:moveTo>
                    <a:cubicBezTo>
                      <a:pt x="1" y="0"/>
                      <a:pt x="0" y="0"/>
                      <a:pt x="0" y="0"/>
                    </a:cubicBezTo>
                    <a:cubicBezTo>
                      <a:pt x="0" y="1"/>
                      <a:pt x="1" y="2"/>
                      <a:pt x="2" y="2"/>
                    </a:cubicBezTo>
                    <a:cubicBezTo>
                      <a:pt x="5" y="2"/>
                      <a:pt x="5"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4" name="Freeform 2493">
                <a:extLst>
                  <a:ext uri="{FF2B5EF4-FFF2-40B4-BE49-F238E27FC236}">
                    <a16:creationId xmlns:a16="http://schemas.microsoft.com/office/drawing/2014/main" id="{35577A4F-F0EB-422D-A1C3-67D3DF4DBDA8}"/>
                  </a:ext>
                </a:extLst>
              </p:cNvPr>
              <p:cNvSpPr>
                <a:spLocks/>
              </p:cNvSpPr>
              <p:nvPr/>
            </p:nvSpPr>
            <p:spPr bwMode="auto">
              <a:xfrm>
                <a:off x="3968" y="1676"/>
                <a:ext cx="9" cy="2"/>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1" y="0"/>
                      <a:pt x="3" y="1"/>
                      <a:pt x="4" y="1"/>
                    </a:cubicBezTo>
                    <a:cubicBezTo>
                      <a:pt x="3"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5" name="Freeform 2494">
                <a:extLst>
                  <a:ext uri="{FF2B5EF4-FFF2-40B4-BE49-F238E27FC236}">
                    <a16:creationId xmlns:a16="http://schemas.microsoft.com/office/drawing/2014/main" id="{96E5728A-24EC-425D-BDAD-D397B19E58FD}"/>
                  </a:ext>
                </a:extLst>
              </p:cNvPr>
              <p:cNvSpPr>
                <a:spLocks/>
              </p:cNvSpPr>
              <p:nvPr/>
            </p:nvSpPr>
            <p:spPr bwMode="auto">
              <a:xfrm>
                <a:off x="3935" y="1667"/>
                <a:ext cx="4" cy="4"/>
              </a:xfrm>
              <a:custGeom>
                <a:avLst/>
                <a:gdLst>
                  <a:gd name="T0" fmla="*/ 2 w 2"/>
                  <a:gd name="T1" fmla="*/ 0 h 2"/>
                  <a:gd name="T2" fmla="*/ 2 w 2"/>
                  <a:gd name="T3" fmla="*/ 0 h 2"/>
                </a:gdLst>
                <a:ahLst/>
                <a:cxnLst>
                  <a:cxn ang="0">
                    <a:pos x="T0" y="T1"/>
                  </a:cxn>
                  <a:cxn ang="0">
                    <a:pos x="T2" y="T3"/>
                  </a:cxn>
                </a:cxnLst>
                <a:rect l="0" t="0" r="r" b="b"/>
                <a:pathLst>
                  <a:path w="2" h="2">
                    <a:moveTo>
                      <a:pt x="2" y="0"/>
                    </a:moveTo>
                    <a:cubicBezTo>
                      <a:pt x="0" y="0"/>
                      <a:pt x="1"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6" name="Freeform 2495">
                <a:extLst>
                  <a:ext uri="{FF2B5EF4-FFF2-40B4-BE49-F238E27FC236}">
                    <a16:creationId xmlns:a16="http://schemas.microsoft.com/office/drawing/2014/main" id="{2EB09BE0-C468-4BD2-8772-48368805F4E9}"/>
                  </a:ext>
                </a:extLst>
              </p:cNvPr>
              <p:cNvSpPr>
                <a:spLocks/>
              </p:cNvSpPr>
              <p:nvPr/>
            </p:nvSpPr>
            <p:spPr bwMode="auto">
              <a:xfrm>
                <a:off x="3913" y="1641"/>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1"/>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7" name="Freeform 2496">
                <a:extLst>
                  <a:ext uri="{FF2B5EF4-FFF2-40B4-BE49-F238E27FC236}">
                    <a16:creationId xmlns:a16="http://schemas.microsoft.com/office/drawing/2014/main" id="{7C189C53-9EE0-4D26-8101-B64D97F61B90}"/>
                  </a:ext>
                </a:extLst>
              </p:cNvPr>
              <p:cNvSpPr>
                <a:spLocks/>
              </p:cNvSpPr>
              <p:nvPr/>
            </p:nvSpPr>
            <p:spPr bwMode="auto">
              <a:xfrm>
                <a:off x="3908" y="1636"/>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1"/>
                      <a:pt x="2"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8" name="Freeform 2497">
                <a:extLst>
                  <a:ext uri="{FF2B5EF4-FFF2-40B4-BE49-F238E27FC236}">
                    <a16:creationId xmlns:a16="http://schemas.microsoft.com/office/drawing/2014/main" id="{CE7F3B7C-3638-46AA-8A5D-4C0E47826825}"/>
                  </a:ext>
                </a:extLst>
              </p:cNvPr>
              <p:cNvSpPr>
                <a:spLocks/>
              </p:cNvSpPr>
              <p:nvPr/>
            </p:nvSpPr>
            <p:spPr bwMode="auto">
              <a:xfrm>
                <a:off x="3904" y="1619"/>
                <a:ext cx="12" cy="12"/>
              </a:xfrm>
              <a:custGeom>
                <a:avLst/>
                <a:gdLst>
                  <a:gd name="T0" fmla="*/ 2 w 5"/>
                  <a:gd name="T1" fmla="*/ 1 h 5"/>
                  <a:gd name="T2" fmla="*/ 2 w 5"/>
                  <a:gd name="T3" fmla="*/ 1 h 5"/>
                  <a:gd name="T4" fmla="*/ 0 w 5"/>
                  <a:gd name="T5" fmla="*/ 0 h 5"/>
                  <a:gd name="T6" fmla="*/ 5 w 5"/>
                  <a:gd name="T7" fmla="*/ 5 h 5"/>
                  <a:gd name="T8" fmla="*/ 2 w 5"/>
                  <a:gd name="T9" fmla="*/ 2 h 5"/>
                  <a:gd name="T10" fmla="*/ 2 w 5"/>
                  <a:gd name="T11" fmla="*/ 1 h 5"/>
                </a:gdLst>
                <a:ahLst/>
                <a:cxnLst>
                  <a:cxn ang="0">
                    <a:pos x="T0" y="T1"/>
                  </a:cxn>
                  <a:cxn ang="0">
                    <a:pos x="T2" y="T3"/>
                  </a:cxn>
                  <a:cxn ang="0">
                    <a:pos x="T4" y="T5"/>
                  </a:cxn>
                  <a:cxn ang="0">
                    <a:pos x="T6" y="T7"/>
                  </a:cxn>
                  <a:cxn ang="0">
                    <a:pos x="T8" y="T9"/>
                  </a:cxn>
                  <a:cxn ang="0">
                    <a:pos x="T10" y="T11"/>
                  </a:cxn>
                </a:cxnLst>
                <a:rect l="0" t="0" r="r" b="b"/>
                <a:pathLst>
                  <a:path w="5" h="5">
                    <a:moveTo>
                      <a:pt x="2" y="1"/>
                    </a:moveTo>
                    <a:cubicBezTo>
                      <a:pt x="2" y="1"/>
                      <a:pt x="2" y="1"/>
                      <a:pt x="2" y="1"/>
                    </a:cubicBezTo>
                    <a:cubicBezTo>
                      <a:pt x="1" y="1"/>
                      <a:pt x="1" y="0"/>
                      <a:pt x="0" y="0"/>
                    </a:cubicBezTo>
                    <a:cubicBezTo>
                      <a:pt x="2" y="2"/>
                      <a:pt x="3" y="3"/>
                      <a:pt x="5" y="5"/>
                    </a:cubicBezTo>
                    <a:cubicBezTo>
                      <a:pt x="5" y="2"/>
                      <a:pt x="3" y="3"/>
                      <a:pt x="2" y="2"/>
                    </a:cubicBezTo>
                    <a:cubicBezTo>
                      <a:pt x="2" y="2"/>
                      <a:pt x="3"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9" name="Freeform 2498">
                <a:extLst>
                  <a:ext uri="{FF2B5EF4-FFF2-40B4-BE49-F238E27FC236}">
                    <a16:creationId xmlns:a16="http://schemas.microsoft.com/office/drawing/2014/main" id="{5F592C2D-9404-447C-A8A5-60690E87A96E}"/>
                  </a:ext>
                </a:extLst>
              </p:cNvPr>
              <p:cNvSpPr>
                <a:spLocks/>
              </p:cNvSpPr>
              <p:nvPr/>
            </p:nvSpPr>
            <p:spPr bwMode="auto">
              <a:xfrm>
                <a:off x="3897" y="1603"/>
                <a:ext cx="7" cy="9"/>
              </a:xfrm>
              <a:custGeom>
                <a:avLst/>
                <a:gdLst>
                  <a:gd name="T0" fmla="*/ 0 w 3"/>
                  <a:gd name="T1" fmla="*/ 2 h 4"/>
                  <a:gd name="T2" fmla="*/ 3 w 3"/>
                  <a:gd name="T3" fmla="*/ 4 h 4"/>
                  <a:gd name="T4" fmla="*/ 2 w 3"/>
                  <a:gd name="T5" fmla="*/ 1 h 4"/>
                  <a:gd name="T6" fmla="*/ 2 w 3"/>
                  <a:gd name="T7" fmla="*/ 0 h 4"/>
                  <a:gd name="T8" fmla="*/ 0 w 3"/>
                  <a:gd name="T9" fmla="*/ 2 h 4"/>
                </a:gdLst>
                <a:ahLst/>
                <a:cxnLst>
                  <a:cxn ang="0">
                    <a:pos x="T0" y="T1"/>
                  </a:cxn>
                  <a:cxn ang="0">
                    <a:pos x="T2" y="T3"/>
                  </a:cxn>
                  <a:cxn ang="0">
                    <a:pos x="T4" y="T5"/>
                  </a:cxn>
                  <a:cxn ang="0">
                    <a:pos x="T6" y="T7"/>
                  </a:cxn>
                  <a:cxn ang="0">
                    <a:pos x="T8" y="T9"/>
                  </a:cxn>
                </a:cxnLst>
                <a:rect l="0" t="0" r="r" b="b"/>
                <a:pathLst>
                  <a:path w="3" h="4">
                    <a:moveTo>
                      <a:pt x="0" y="2"/>
                    </a:moveTo>
                    <a:cubicBezTo>
                      <a:pt x="1" y="3"/>
                      <a:pt x="2" y="3"/>
                      <a:pt x="3" y="4"/>
                    </a:cubicBezTo>
                    <a:cubicBezTo>
                      <a:pt x="3" y="3"/>
                      <a:pt x="3" y="1"/>
                      <a:pt x="2" y="1"/>
                    </a:cubicBezTo>
                    <a:cubicBezTo>
                      <a:pt x="2" y="1"/>
                      <a:pt x="2" y="0"/>
                      <a:pt x="2" y="0"/>
                    </a:cubicBezTo>
                    <a:cubicBezTo>
                      <a:pt x="1" y="1"/>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0" name="Freeform 2499">
                <a:extLst>
                  <a:ext uri="{FF2B5EF4-FFF2-40B4-BE49-F238E27FC236}">
                    <a16:creationId xmlns:a16="http://schemas.microsoft.com/office/drawing/2014/main" id="{AF8A7823-DF72-4578-84DC-C81FF5338C4A}"/>
                  </a:ext>
                </a:extLst>
              </p:cNvPr>
              <p:cNvSpPr>
                <a:spLocks/>
              </p:cNvSpPr>
              <p:nvPr/>
            </p:nvSpPr>
            <p:spPr bwMode="auto">
              <a:xfrm>
                <a:off x="3944" y="1662"/>
                <a:ext cx="19" cy="5"/>
              </a:xfrm>
              <a:custGeom>
                <a:avLst/>
                <a:gdLst>
                  <a:gd name="T0" fmla="*/ 3 w 8"/>
                  <a:gd name="T1" fmla="*/ 1 h 2"/>
                  <a:gd name="T2" fmla="*/ 0 w 8"/>
                  <a:gd name="T3" fmla="*/ 1 h 2"/>
                  <a:gd name="T4" fmla="*/ 8 w 8"/>
                  <a:gd name="T5" fmla="*/ 2 h 2"/>
                  <a:gd name="T6" fmla="*/ 3 w 8"/>
                  <a:gd name="T7" fmla="*/ 1 h 2"/>
                </a:gdLst>
                <a:ahLst/>
                <a:cxnLst>
                  <a:cxn ang="0">
                    <a:pos x="T0" y="T1"/>
                  </a:cxn>
                  <a:cxn ang="0">
                    <a:pos x="T2" y="T3"/>
                  </a:cxn>
                  <a:cxn ang="0">
                    <a:pos x="T4" y="T5"/>
                  </a:cxn>
                  <a:cxn ang="0">
                    <a:pos x="T6" y="T7"/>
                  </a:cxn>
                </a:cxnLst>
                <a:rect l="0" t="0" r="r" b="b"/>
                <a:pathLst>
                  <a:path w="8" h="2">
                    <a:moveTo>
                      <a:pt x="3" y="1"/>
                    </a:moveTo>
                    <a:cubicBezTo>
                      <a:pt x="2" y="0"/>
                      <a:pt x="2" y="0"/>
                      <a:pt x="0" y="1"/>
                    </a:cubicBezTo>
                    <a:cubicBezTo>
                      <a:pt x="3" y="1"/>
                      <a:pt x="6" y="2"/>
                      <a:pt x="8" y="2"/>
                    </a:cubicBezTo>
                    <a:cubicBezTo>
                      <a:pt x="7" y="1"/>
                      <a:pt x="5"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1" name="Freeform 2500">
                <a:extLst>
                  <a:ext uri="{FF2B5EF4-FFF2-40B4-BE49-F238E27FC236}">
                    <a16:creationId xmlns:a16="http://schemas.microsoft.com/office/drawing/2014/main" id="{6A125E41-9AB2-4163-A53A-E68D5997F6E3}"/>
                  </a:ext>
                </a:extLst>
              </p:cNvPr>
              <p:cNvSpPr>
                <a:spLocks/>
              </p:cNvSpPr>
              <p:nvPr/>
            </p:nvSpPr>
            <p:spPr bwMode="auto">
              <a:xfrm>
                <a:off x="5318" y="4194"/>
                <a:ext cx="14" cy="7"/>
              </a:xfrm>
              <a:custGeom>
                <a:avLst/>
                <a:gdLst>
                  <a:gd name="T0" fmla="*/ 1 w 6"/>
                  <a:gd name="T1" fmla="*/ 1 h 3"/>
                  <a:gd name="T2" fmla="*/ 2 w 6"/>
                  <a:gd name="T3" fmla="*/ 2 h 3"/>
                  <a:gd name="T4" fmla="*/ 6 w 6"/>
                  <a:gd name="T5" fmla="*/ 2 h 3"/>
                  <a:gd name="T6" fmla="*/ 0 w 6"/>
                  <a:gd name="T7" fmla="*/ 0 h 3"/>
                  <a:gd name="T8" fmla="*/ 1 w 6"/>
                  <a:gd name="T9" fmla="*/ 1 h 3"/>
                </a:gdLst>
                <a:ahLst/>
                <a:cxnLst>
                  <a:cxn ang="0">
                    <a:pos x="T0" y="T1"/>
                  </a:cxn>
                  <a:cxn ang="0">
                    <a:pos x="T2" y="T3"/>
                  </a:cxn>
                  <a:cxn ang="0">
                    <a:pos x="T4" y="T5"/>
                  </a:cxn>
                  <a:cxn ang="0">
                    <a:pos x="T6" y="T7"/>
                  </a:cxn>
                  <a:cxn ang="0">
                    <a:pos x="T8" y="T9"/>
                  </a:cxn>
                </a:cxnLst>
                <a:rect l="0" t="0" r="r" b="b"/>
                <a:pathLst>
                  <a:path w="6" h="3">
                    <a:moveTo>
                      <a:pt x="1" y="1"/>
                    </a:moveTo>
                    <a:cubicBezTo>
                      <a:pt x="1" y="1"/>
                      <a:pt x="1" y="2"/>
                      <a:pt x="2" y="2"/>
                    </a:cubicBezTo>
                    <a:cubicBezTo>
                      <a:pt x="3" y="3"/>
                      <a:pt x="4" y="2"/>
                      <a:pt x="6" y="2"/>
                    </a:cubicBezTo>
                    <a:cubicBezTo>
                      <a:pt x="4" y="1"/>
                      <a:pt x="2" y="1"/>
                      <a:pt x="0" y="0"/>
                    </a:cubicBezTo>
                    <a:cubicBezTo>
                      <a:pt x="0" y="1"/>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2" name="Freeform 2501">
                <a:extLst>
                  <a:ext uri="{FF2B5EF4-FFF2-40B4-BE49-F238E27FC236}">
                    <a16:creationId xmlns:a16="http://schemas.microsoft.com/office/drawing/2014/main" id="{232CF486-B0B9-40F4-A5CB-D8A32B3D3522}"/>
                  </a:ext>
                </a:extLst>
              </p:cNvPr>
              <p:cNvSpPr>
                <a:spLocks/>
              </p:cNvSpPr>
              <p:nvPr/>
            </p:nvSpPr>
            <p:spPr bwMode="auto">
              <a:xfrm>
                <a:off x="4161" y="1832"/>
                <a:ext cx="8" cy="10"/>
              </a:xfrm>
              <a:custGeom>
                <a:avLst/>
                <a:gdLst>
                  <a:gd name="T0" fmla="*/ 2 w 3"/>
                  <a:gd name="T1" fmla="*/ 2 h 4"/>
                  <a:gd name="T2" fmla="*/ 0 w 3"/>
                  <a:gd name="T3" fmla="*/ 2 h 4"/>
                  <a:gd name="T4" fmla="*/ 1 w 3"/>
                  <a:gd name="T5" fmla="*/ 4 h 4"/>
                  <a:gd name="T6" fmla="*/ 2 w 3"/>
                  <a:gd name="T7" fmla="*/ 2 h 4"/>
                </a:gdLst>
                <a:ahLst/>
                <a:cxnLst>
                  <a:cxn ang="0">
                    <a:pos x="T0" y="T1"/>
                  </a:cxn>
                  <a:cxn ang="0">
                    <a:pos x="T2" y="T3"/>
                  </a:cxn>
                  <a:cxn ang="0">
                    <a:pos x="T4" y="T5"/>
                  </a:cxn>
                  <a:cxn ang="0">
                    <a:pos x="T6" y="T7"/>
                  </a:cxn>
                </a:cxnLst>
                <a:rect l="0" t="0" r="r" b="b"/>
                <a:pathLst>
                  <a:path w="3" h="4">
                    <a:moveTo>
                      <a:pt x="2" y="2"/>
                    </a:moveTo>
                    <a:cubicBezTo>
                      <a:pt x="2" y="0"/>
                      <a:pt x="0" y="2"/>
                      <a:pt x="0" y="2"/>
                    </a:cubicBezTo>
                    <a:cubicBezTo>
                      <a:pt x="0" y="3"/>
                      <a:pt x="0" y="4"/>
                      <a:pt x="1" y="4"/>
                    </a:cubicBezTo>
                    <a:cubicBezTo>
                      <a:pt x="2" y="4"/>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3" name="Freeform 2502">
                <a:extLst>
                  <a:ext uri="{FF2B5EF4-FFF2-40B4-BE49-F238E27FC236}">
                    <a16:creationId xmlns:a16="http://schemas.microsoft.com/office/drawing/2014/main" id="{DE75EA7A-3136-469E-B176-1D5395FBFAD5}"/>
                  </a:ext>
                </a:extLst>
              </p:cNvPr>
              <p:cNvSpPr>
                <a:spLocks/>
              </p:cNvSpPr>
              <p:nvPr/>
            </p:nvSpPr>
            <p:spPr bwMode="auto">
              <a:xfrm>
                <a:off x="4159" y="1846"/>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4" name="Freeform 2503">
                <a:extLst>
                  <a:ext uri="{FF2B5EF4-FFF2-40B4-BE49-F238E27FC236}">
                    <a16:creationId xmlns:a16="http://schemas.microsoft.com/office/drawing/2014/main" id="{1DDC9073-4CC1-4737-938E-03FF1D433586}"/>
                  </a:ext>
                </a:extLst>
              </p:cNvPr>
              <p:cNvSpPr>
                <a:spLocks/>
              </p:cNvSpPr>
              <p:nvPr/>
            </p:nvSpPr>
            <p:spPr bwMode="auto">
              <a:xfrm>
                <a:off x="4114" y="1813"/>
                <a:ext cx="3"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5" name="Freeform 2504">
                <a:extLst>
                  <a:ext uri="{FF2B5EF4-FFF2-40B4-BE49-F238E27FC236}">
                    <a16:creationId xmlns:a16="http://schemas.microsoft.com/office/drawing/2014/main" id="{20607465-E16D-4AD9-AA4C-E490FE128AA0}"/>
                  </a:ext>
                </a:extLst>
              </p:cNvPr>
              <p:cNvSpPr>
                <a:spLocks/>
              </p:cNvSpPr>
              <p:nvPr/>
            </p:nvSpPr>
            <p:spPr bwMode="auto">
              <a:xfrm>
                <a:off x="4152" y="1754"/>
                <a:ext cx="12" cy="7"/>
              </a:xfrm>
              <a:custGeom>
                <a:avLst/>
                <a:gdLst>
                  <a:gd name="T0" fmla="*/ 3 w 5"/>
                  <a:gd name="T1" fmla="*/ 1 h 3"/>
                  <a:gd name="T2" fmla="*/ 3 w 5"/>
                  <a:gd name="T3" fmla="*/ 1 h 3"/>
                  <a:gd name="T4" fmla="*/ 2 w 5"/>
                  <a:gd name="T5" fmla="*/ 1 h 3"/>
                  <a:gd name="T6" fmla="*/ 1 w 5"/>
                  <a:gd name="T7" fmla="*/ 1 h 3"/>
                  <a:gd name="T8" fmla="*/ 1 w 5"/>
                  <a:gd name="T9" fmla="*/ 3 h 3"/>
                  <a:gd name="T10" fmla="*/ 4 w 5"/>
                  <a:gd name="T11" fmla="*/ 3 h 3"/>
                  <a:gd name="T12" fmla="*/ 5 w 5"/>
                  <a:gd name="T13" fmla="*/ 0 h 3"/>
                  <a:gd name="T14" fmla="*/ 3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1"/>
                    </a:moveTo>
                    <a:cubicBezTo>
                      <a:pt x="3" y="1"/>
                      <a:pt x="3" y="1"/>
                      <a:pt x="3" y="1"/>
                    </a:cubicBezTo>
                    <a:cubicBezTo>
                      <a:pt x="3" y="1"/>
                      <a:pt x="2" y="1"/>
                      <a:pt x="2" y="1"/>
                    </a:cubicBezTo>
                    <a:cubicBezTo>
                      <a:pt x="2" y="1"/>
                      <a:pt x="2" y="1"/>
                      <a:pt x="1" y="1"/>
                    </a:cubicBezTo>
                    <a:cubicBezTo>
                      <a:pt x="0" y="1"/>
                      <a:pt x="1" y="1"/>
                      <a:pt x="1" y="3"/>
                    </a:cubicBezTo>
                    <a:cubicBezTo>
                      <a:pt x="3" y="2"/>
                      <a:pt x="3" y="1"/>
                      <a:pt x="4" y="3"/>
                    </a:cubicBezTo>
                    <a:cubicBezTo>
                      <a:pt x="3" y="2"/>
                      <a:pt x="5" y="2"/>
                      <a:pt x="5" y="0"/>
                    </a:cubicBezTo>
                    <a:cubicBezTo>
                      <a:pt x="4" y="1"/>
                      <a:pt x="4"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6" name="Freeform 2505">
                <a:extLst>
                  <a:ext uri="{FF2B5EF4-FFF2-40B4-BE49-F238E27FC236}">
                    <a16:creationId xmlns:a16="http://schemas.microsoft.com/office/drawing/2014/main" id="{2BAED42C-3097-4F56-969B-1B2942CF2EC3}"/>
                  </a:ext>
                </a:extLst>
              </p:cNvPr>
              <p:cNvSpPr>
                <a:spLocks/>
              </p:cNvSpPr>
              <p:nvPr/>
            </p:nvSpPr>
            <p:spPr bwMode="auto">
              <a:xfrm>
                <a:off x="4154" y="1837"/>
                <a:ext cx="5" cy="5"/>
              </a:xfrm>
              <a:custGeom>
                <a:avLst/>
                <a:gdLst>
                  <a:gd name="T0" fmla="*/ 1 w 2"/>
                  <a:gd name="T1" fmla="*/ 2 h 2"/>
                  <a:gd name="T2" fmla="*/ 2 w 2"/>
                  <a:gd name="T3" fmla="*/ 0 h 2"/>
                  <a:gd name="T4" fmla="*/ 1 w 2"/>
                  <a:gd name="T5" fmla="*/ 2 h 2"/>
                </a:gdLst>
                <a:ahLst/>
                <a:cxnLst>
                  <a:cxn ang="0">
                    <a:pos x="T0" y="T1"/>
                  </a:cxn>
                  <a:cxn ang="0">
                    <a:pos x="T2" y="T3"/>
                  </a:cxn>
                  <a:cxn ang="0">
                    <a:pos x="T4" y="T5"/>
                  </a:cxn>
                </a:cxnLst>
                <a:rect l="0" t="0" r="r" b="b"/>
                <a:pathLst>
                  <a:path w="2" h="2">
                    <a:moveTo>
                      <a:pt x="1" y="2"/>
                    </a:moveTo>
                    <a:cubicBezTo>
                      <a:pt x="2" y="1"/>
                      <a:pt x="2" y="1"/>
                      <a:pt x="2" y="0"/>
                    </a:cubicBezTo>
                    <a:cubicBezTo>
                      <a:pt x="1" y="0"/>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7" name="Freeform 2506">
                <a:extLst>
                  <a:ext uri="{FF2B5EF4-FFF2-40B4-BE49-F238E27FC236}">
                    <a16:creationId xmlns:a16="http://schemas.microsoft.com/office/drawing/2014/main" id="{988FE37A-C5C0-4A7F-8621-417D6939ADA7}"/>
                  </a:ext>
                </a:extLst>
              </p:cNvPr>
              <p:cNvSpPr>
                <a:spLocks/>
              </p:cNvSpPr>
              <p:nvPr/>
            </p:nvSpPr>
            <p:spPr bwMode="auto">
              <a:xfrm>
                <a:off x="4161" y="1856"/>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8" name="Freeform 2507">
                <a:extLst>
                  <a:ext uri="{FF2B5EF4-FFF2-40B4-BE49-F238E27FC236}">
                    <a16:creationId xmlns:a16="http://schemas.microsoft.com/office/drawing/2014/main" id="{6B84F329-B7ED-48C2-9A7E-1DE993E3F43D}"/>
                  </a:ext>
                </a:extLst>
              </p:cNvPr>
              <p:cNvSpPr>
                <a:spLocks/>
              </p:cNvSpPr>
              <p:nvPr/>
            </p:nvSpPr>
            <p:spPr bwMode="auto">
              <a:xfrm>
                <a:off x="4176" y="1820"/>
                <a:ext cx="9" cy="5"/>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1"/>
                      <a:pt x="2" y="2"/>
                      <a:pt x="0" y="2"/>
                    </a:cubicBezTo>
                    <a:cubicBezTo>
                      <a:pt x="2" y="2"/>
                      <a:pt x="3" y="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9" name="Freeform 2508">
                <a:extLst>
                  <a:ext uri="{FF2B5EF4-FFF2-40B4-BE49-F238E27FC236}">
                    <a16:creationId xmlns:a16="http://schemas.microsoft.com/office/drawing/2014/main" id="{600F11DA-BE61-4CE0-B5C8-BEA9426598F8}"/>
                  </a:ext>
                </a:extLst>
              </p:cNvPr>
              <p:cNvSpPr>
                <a:spLocks/>
              </p:cNvSpPr>
              <p:nvPr/>
            </p:nvSpPr>
            <p:spPr bwMode="auto">
              <a:xfrm>
                <a:off x="4150" y="1825"/>
                <a:ext cx="2" cy="5"/>
              </a:xfrm>
              <a:custGeom>
                <a:avLst/>
                <a:gdLst>
                  <a:gd name="T0" fmla="*/ 0 w 1"/>
                  <a:gd name="T1" fmla="*/ 2 h 2"/>
                  <a:gd name="T2" fmla="*/ 0 w 1"/>
                  <a:gd name="T3" fmla="*/ 2 h 2"/>
                </a:gdLst>
                <a:ahLst/>
                <a:cxnLst>
                  <a:cxn ang="0">
                    <a:pos x="T0" y="T1"/>
                  </a:cxn>
                  <a:cxn ang="0">
                    <a:pos x="T2" y="T3"/>
                  </a:cxn>
                </a:cxnLst>
                <a:rect l="0" t="0" r="r" b="b"/>
                <a:pathLst>
                  <a:path w="1" h="2">
                    <a:moveTo>
                      <a:pt x="0" y="2"/>
                    </a:moveTo>
                    <a:cubicBezTo>
                      <a:pt x="1" y="1"/>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0" name="Freeform 2509">
                <a:extLst>
                  <a:ext uri="{FF2B5EF4-FFF2-40B4-BE49-F238E27FC236}">
                    <a16:creationId xmlns:a16="http://schemas.microsoft.com/office/drawing/2014/main" id="{04DBD216-6D86-42A9-A814-A58E4BF9804C}"/>
                  </a:ext>
                </a:extLst>
              </p:cNvPr>
              <p:cNvSpPr>
                <a:spLocks/>
              </p:cNvSpPr>
              <p:nvPr/>
            </p:nvSpPr>
            <p:spPr bwMode="auto">
              <a:xfrm>
                <a:off x="4119" y="1778"/>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1" name="Freeform 2510">
                <a:extLst>
                  <a:ext uri="{FF2B5EF4-FFF2-40B4-BE49-F238E27FC236}">
                    <a16:creationId xmlns:a16="http://schemas.microsoft.com/office/drawing/2014/main" id="{22C55982-C856-4CD2-8884-94F7C308FBD5}"/>
                  </a:ext>
                </a:extLst>
              </p:cNvPr>
              <p:cNvSpPr>
                <a:spLocks/>
              </p:cNvSpPr>
              <p:nvPr/>
            </p:nvSpPr>
            <p:spPr bwMode="auto">
              <a:xfrm>
                <a:off x="4173" y="1773"/>
                <a:ext cx="22" cy="12"/>
              </a:xfrm>
              <a:custGeom>
                <a:avLst/>
                <a:gdLst>
                  <a:gd name="T0" fmla="*/ 8 w 9"/>
                  <a:gd name="T1" fmla="*/ 4 h 5"/>
                  <a:gd name="T2" fmla="*/ 6 w 9"/>
                  <a:gd name="T3" fmla="*/ 2 h 5"/>
                  <a:gd name="T4" fmla="*/ 5 w 9"/>
                  <a:gd name="T5" fmla="*/ 0 h 5"/>
                  <a:gd name="T6" fmla="*/ 2 w 9"/>
                  <a:gd name="T7" fmla="*/ 1 h 5"/>
                  <a:gd name="T8" fmla="*/ 0 w 9"/>
                  <a:gd name="T9" fmla="*/ 2 h 5"/>
                  <a:gd name="T10" fmla="*/ 4 w 9"/>
                  <a:gd name="T11" fmla="*/ 2 h 5"/>
                  <a:gd name="T12" fmla="*/ 2 w 9"/>
                  <a:gd name="T13" fmla="*/ 4 h 5"/>
                  <a:gd name="T14" fmla="*/ 6 w 9"/>
                  <a:gd name="T15" fmla="*/ 5 h 5"/>
                  <a:gd name="T16" fmla="*/ 6 w 9"/>
                  <a:gd name="T17" fmla="*/ 3 h 5"/>
                  <a:gd name="T18" fmla="*/ 8 w 9"/>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5">
                    <a:moveTo>
                      <a:pt x="8" y="4"/>
                    </a:moveTo>
                    <a:cubicBezTo>
                      <a:pt x="8" y="3"/>
                      <a:pt x="6" y="2"/>
                      <a:pt x="6" y="2"/>
                    </a:cubicBezTo>
                    <a:cubicBezTo>
                      <a:pt x="5" y="1"/>
                      <a:pt x="6" y="1"/>
                      <a:pt x="5" y="0"/>
                    </a:cubicBezTo>
                    <a:cubicBezTo>
                      <a:pt x="4" y="0"/>
                      <a:pt x="3" y="1"/>
                      <a:pt x="2" y="1"/>
                    </a:cubicBezTo>
                    <a:cubicBezTo>
                      <a:pt x="1" y="2"/>
                      <a:pt x="1" y="1"/>
                      <a:pt x="0" y="2"/>
                    </a:cubicBezTo>
                    <a:cubicBezTo>
                      <a:pt x="1" y="2"/>
                      <a:pt x="3" y="2"/>
                      <a:pt x="4" y="2"/>
                    </a:cubicBezTo>
                    <a:cubicBezTo>
                      <a:pt x="4" y="3"/>
                      <a:pt x="3" y="4"/>
                      <a:pt x="2" y="4"/>
                    </a:cubicBezTo>
                    <a:cubicBezTo>
                      <a:pt x="3" y="4"/>
                      <a:pt x="5" y="5"/>
                      <a:pt x="6" y="5"/>
                    </a:cubicBezTo>
                    <a:cubicBezTo>
                      <a:pt x="9" y="5"/>
                      <a:pt x="5" y="4"/>
                      <a:pt x="6" y="3"/>
                    </a:cubicBezTo>
                    <a:cubicBezTo>
                      <a:pt x="7" y="3"/>
                      <a:pt x="7" y="5"/>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2" name="Freeform 2511">
                <a:extLst>
                  <a:ext uri="{FF2B5EF4-FFF2-40B4-BE49-F238E27FC236}">
                    <a16:creationId xmlns:a16="http://schemas.microsoft.com/office/drawing/2014/main" id="{9DC08912-8F1A-4681-B91A-95D9E60C5738}"/>
                  </a:ext>
                </a:extLst>
              </p:cNvPr>
              <p:cNvSpPr>
                <a:spLocks/>
              </p:cNvSpPr>
              <p:nvPr/>
            </p:nvSpPr>
            <p:spPr bwMode="auto">
              <a:xfrm>
                <a:off x="4164" y="1742"/>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2" y="0"/>
                      <a:pt x="1" y="0"/>
                      <a:pt x="0" y="0"/>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3" name="Freeform 2512">
                <a:extLst>
                  <a:ext uri="{FF2B5EF4-FFF2-40B4-BE49-F238E27FC236}">
                    <a16:creationId xmlns:a16="http://schemas.microsoft.com/office/drawing/2014/main" id="{02C8271A-C9D0-459B-BA15-4CCA0C0D32CA}"/>
                  </a:ext>
                </a:extLst>
              </p:cNvPr>
              <p:cNvSpPr>
                <a:spLocks/>
              </p:cNvSpPr>
              <p:nvPr/>
            </p:nvSpPr>
            <p:spPr bwMode="auto">
              <a:xfrm>
                <a:off x="4145" y="1839"/>
                <a:ext cx="2"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0"/>
                      <a:pt x="0" y="1"/>
                      <a:pt x="0" y="2"/>
                    </a:cubicBezTo>
                    <a:cubicBezTo>
                      <a:pt x="0"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4" name="Freeform 2513">
                <a:extLst>
                  <a:ext uri="{FF2B5EF4-FFF2-40B4-BE49-F238E27FC236}">
                    <a16:creationId xmlns:a16="http://schemas.microsoft.com/office/drawing/2014/main" id="{28B4D8DF-6A77-43F8-BD84-CBEBBF0256D1}"/>
                  </a:ext>
                </a:extLst>
              </p:cNvPr>
              <p:cNvSpPr>
                <a:spLocks/>
              </p:cNvSpPr>
              <p:nvPr/>
            </p:nvSpPr>
            <p:spPr bwMode="auto">
              <a:xfrm>
                <a:off x="4117" y="1877"/>
                <a:ext cx="68" cy="22"/>
              </a:xfrm>
              <a:custGeom>
                <a:avLst/>
                <a:gdLst>
                  <a:gd name="T0" fmla="*/ 25 w 29"/>
                  <a:gd name="T1" fmla="*/ 6 h 9"/>
                  <a:gd name="T2" fmla="*/ 24 w 29"/>
                  <a:gd name="T3" fmla="*/ 6 h 9"/>
                  <a:gd name="T4" fmla="*/ 23 w 29"/>
                  <a:gd name="T5" fmla="*/ 4 h 9"/>
                  <a:gd name="T6" fmla="*/ 20 w 29"/>
                  <a:gd name="T7" fmla="*/ 4 h 9"/>
                  <a:gd name="T8" fmla="*/ 15 w 29"/>
                  <a:gd name="T9" fmla="*/ 3 h 9"/>
                  <a:gd name="T10" fmla="*/ 8 w 29"/>
                  <a:gd name="T11" fmla="*/ 3 h 9"/>
                  <a:gd name="T12" fmla="*/ 6 w 29"/>
                  <a:gd name="T13" fmla="*/ 2 h 9"/>
                  <a:gd name="T14" fmla="*/ 7 w 29"/>
                  <a:gd name="T15" fmla="*/ 1 h 9"/>
                  <a:gd name="T16" fmla="*/ 3 w 29"/>
                  <a:gd name="T17" fmla="*/ 1 h 9"/>
                  <a:gd name="T18" fmla="*/ 2 w 29"/>
                  <a:gd name="T19" fmla="*/ 0 h 9"/>
                  <a:gd name="T20" fmla="*/ 0 w 29"/>
                  <a:gd name="T21" fmla="*/ 4 h 9"/>
                  <a:gd name="T22" fmla="*/ 10 w 29"/>
                  <a:gd name="T23" fmla="*/ 6 h 9"/>
                  <a:gd name="T24" fmla="*/ 13 w 29"/>
                  <a:gd name="T25" fmla="*/ 9 h 9"/>
                  <a:gd name="T26" fmla="*/ 21 w 29"/>
                  <a:gd name="T27" fmla="*/ 8 h 9"/>
                  <a:gd name="T28" fmla="*/ 27 w 29"/>
                  <a:gd name="T29" fmla="*/ 7 h 9"/>
                  <a:gd name="T30" fmla="*/ 28 w 29"/>
                  <a:gd name="T31" fmla="*/ 6 h 9"/>
                  <a:gd name="T32" fmla="*/ 29 w 29"/>
                  <a:gd name="T33" fmla="*/ 6 h 9"/>
                  <a:gd name="T34" fmla="*/ 28 w 29"/>
                  <a:gd name="T35" fmla="*/ 5 h 9"/>
                  <a:gd name="T36" fmla="*/ 29 w 29"/>
                  <a:gd name="T37" fmla="*/ 4 h 9"/>
                  <a:gd name="T38" fmla="*/ 25 w 29"/>
                  <a:gd name="T3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9">
                    <a:moveTo>
                      <a:pt x="25" y="6"/>
                    </a:moveTo>
                    <a:cubicBezTo>
                      <a:pt x="24" y="6"/>
                      <a:pt x="24" y="6"/>
                      <a:pt x="24" y="6"/>
                    </a:cubicBezTo>
                    <a:cubicBezTo>
                      <a:pt x="23" y="6"/>
                      <a:pt x="23" y="4"/>
                      <a:pt x="23" y="4"/>
                    </a:cubicBezTo>
                    <a:cubicBezTo>
                      <a:pt x="22" y="4"/>
                      <a:pt x="21" y="4"/>
                      <a:pt x="20" y="4"/>
                    </a:cubicBezTo>
                    <a:cubicBezTo>
                      <a:pt x="19" y="4"/>
                      <a:pt x="17" y="3"/>
                      <a:pt x="15" y="3"/>
                    </a:cubicBezTo>
                    <a:cubicBezTo>
                      <a:pt x="13" y="3"/>
                      <a:pt x="9" y="5"/>
                      <a:pt x="8" y="3"/>
                    </a:cubicBezTo>
                    <a:cubicBezTo>
                      <a:pt x="8" y="2"/>
                      <a:pt x="5" y="2"/>
                      <a:pt x="6" y="2"/>
                    </a:cubicBezTo>
                    <a:cubicBezTo>
                      <a:pt x="7" y="2"/>
                      <a:pt x="7" y="2"/>
                      <a:pt x="7" y="1"/>
                    </a:cubicBezTo>
                    <a:cubicBezTo>
                      <a:pt x="6" y="0"/>
                      <a:pt x="4" y="1"/>
                      <a:pt x="3" y="1"/>
                    </a:cubicBezTo>
                    <a:cubicBezTo>
                      <a:pt x="2" y="1"/>
                      <a:pt x="3" y="0"/>
                      <a:pt x="2" y="0"/>
                    </a:cubicBezTo>
                    <a:cubicBezTo>
                      <a:pt x="2" y="1"/>
                      <a:pt x="1" y="3"/>
                      <a:pt x="0" y="4"/>
                    </a:cubicBezTo>
                    <a:cubicBezTo>
                      <a:pt x="3" y="5"/>
                      <a:pt x="6" y="5"/>
                      <a:pt x="10" y="6"/>
                    </a:cubicBezTo>
                    <a:cubicBezTo>
                      <a:pt x="11" y="6"/>
                      <a:pt x="14" y="7"/>
                      <a:pt x="13" y="9"/>
                    </a:cubicBezTo>
                    <a:cubicBezTo>
                      <a:pt x="16" y="8"/>
                      <a:pt x="18" y="8"/>
                      <a:pt x="21" y="8"/>
                    </a:cubicBezTo>
                    <a:cubicBezTo>
                      <a:pt x="23" y="8"/>
                      <a:pt x="25" y="7"/>
                      <a:pt x="27" y="7"/>
                    </a:cubicBezTo>
                    <a:cubicBezTo>
                      <a:pt x="28" y="7"/>
                      <a:pt x="28" y="7"/>
                      <a:pt x="28" y="6"/>
                    </a:cubicBezTo>
                    <a:cubicBezTo>
                      <a:pt x="28" y="6"/>
                      <a:pt x="29" y="6"/>
                      <a:pt x="29" y="6"/>
                    </a:cubicBezTo>
                    <a:cubicBezTo>
                      <a:pt x="29" y="5"/>
                      <a:pt x="28" y="5"/>
                      <a:pt x="28" y="5"/>
                    </a:cubicBezTo>
                    <a:cubicBezTo>
                      <a:pt x="28" y="5"/>
                      <a:pt x="28" y="4"/>
                      <a:pt x="29" y="4"/>
                    </a:cubicBezTo>
                    <a:cubicBezTo>
                      <a:pt x="27" y="6"/>
                      <a:pt x="27" y="5"/>
                      <a:pt x="2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5" name="Freeform 2514">
                <a:extLst>
                  <a:ext uri="{FF2B5EF4-FFF2-40B4-BE49-F238E27FC236}">
                    <a16:creationId xmlns:a16="http://schemas.microsoft.com/office/drawing/2014/main" id="{6E9D952F-4C9B-49E1-8117-888B9DA82D88}"/>
                  </a:ext>
                </a:extLst>
              </p:cNvPr>
              <p:cNvSpPr>
                <a:spLocks/>
              </p:cNvSpPr>
              <p:nvPr/>
            </p:nvSpPr>
            <p:spPr bwMode="auto">
              <a:xfrm>
                <a:off x="4218" y="1856"/>
                <a:ext cx="14" cy="14"/>
              </a:xfrm>
              <a:custGeom>
                <a:avLst/>
                <a:gdLst>
                  <a:gd name="T0" fmla="*/ 2 w 6"/>
                  <a:gd name="T1" fmla="*/ 1 h 6"/>
                  <a:gd name="T2" fmla="*/ 0 w 6"/>
                  <a:gd name="T3" fmla="*/ 3 h 6"/>
                  <a:gd name="T4" fmla="*/ 0 w 6"/>
                  <a:gd name="T5" fmla="*/ 5 h 6"/>
                  <a:gd name="T6" fmla="*/ 0 w 6"/>
                  <a:gd name="T7" fmla="*/ 6 h 6"/>
                  <a:gd name="T8" fmla="*/ 2 w 6"/>
                  <a:gd name="T9" fmla="*/ 5 h 6"/>
                  <a:gd name="T10" fmla="*/ 4 w 6"/>
                  <a:gd name="T11" fmla="*/ 5 h 6"/>
                  <a:gd name="T12" fmla="*/ 5 w 6"/>
                  <a:gd name="T13" fmla="*/ 2 h 6"/>
                  <a:gd name="T14" fmla="*/ 5 w 6"/>
                  <a:gd name="T15" fmla="*/ 0 h 6"/>
                  <a:gd name="T16" fmla="*/ 2 w 6"/>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2" y="1"/>
                    </a:moveTo>
                    <a:cubicBezTo>
                      <a:pt x="2" y="2"/>
                      <a:pt x="1" y="2"/>
                      <a:pt x="0" y="3"/>
                    </a:cubicBezTo>
                    <a:cubicBezTo>
                      <a:pt x="0" y="4"/>
                      <a:pt x="0" y="5"/>
                      <a:pt x="0" y="5"/>
                    </a:cubicBezTo>
                    <a:cubicBezTo>
                      <a:pt x="0" y="6"/>
                      <a:pt x="0" y="6"/>
                      <a:pt x="0" y="6"/>
                    </a:cubicBezTo>
                    <a:cubicBezTo>
                      <a:pt x="0" y="6"/>
                      <a:pt x="2" y="5"/>
                      <a:pt x="2" y="5"/>
                    </a:cubicBezTo>
                    <a:cubicBezTo>
                      <a:pt x="3" y="5"/>
                      <a:pt x="3" y="4"/>
                      <a:pt x="4" y="5"/>
                    </a:cubicBezTo>
                    <a:cubicBezTo>
                      <a:pt x="4" y="3"/>
                      <a:pt x="4" y="3"/>
                      <a:pt x="5" y="2"/>
                    </a:cubicBezTo>
                    <a:cubicBezTo>
                      <a:pt x="5" y="2"/>
                      <a:pt x="6" y="1"/>
                      <a:pt x="5" y="0"/>
                    </a:cubicBezTo>
                    <a:cubicBezTo>
                      <a:pt x="5" y="0"/>
                      <a:pt x="3"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6" name="Freeform 2515">
                <a:extLst>
                  <a:ext uri="{FF2B5EF4-FFF2-40B4-BE49-F238E27FC236}">
                    <a16:creationId xmlns:a16="http://schemas.microsoft.com/office/drawing/2014/main" id="{6776B6CE-0327-4BD9-BDB6-989D27C548A6}"/>
                  </a:ext>
                </a:extLst>
              </p:cNvPr>
              <p:cNvSpPr>
                <a:spLocks/>
              </p:cNvSpPr>
              <p:nvPr/>
            </p:nvSpPr>
            <p:spPr bwMode="auto">
              <a:xfrm>
                <a:off x="4145" y="1811"/>
                <a:ext cx="7" cy="9"/>
              </a:xfrm>
              <a:custGeom>
                <a:avLst/>
                <a:gdLst>
                  <a:gd name="T0" fmla="*/ 3 w 3"/>
                  <a:gd name="T1" fmla="*/ 2 h 4"/>
                  <a:gd name="T2" fmla="*/ 2 w 3"/>
                  <a:gd name="T3" fmla="*/ 2 h 4"/>
                  <a:gd name="T4" fmla="*/ 0 w 3"/>
                  <a:gd name="T5" fmla="*/ 1 h 4"/>
                  <a:gd name="T6" fmla="*/ 3 w 3"/>
                  <a:gd name="T7" fmla="*/ 4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2" y="2"/>
                      <a:pt x="2" y="2"/>
                    </a:cubicBezTo>
                    <a:cubicBezTo>
                      <a:pt x="1" y="1"/>
                      <a:pt x="1" y="0"/>
                      <a:pt x="0" y="1"/>
                    </a:cubicBezTo>
                    <a:cubicBezTo>
                      <a:pt x="1" y="2"/>
                      <a:pt x="2" y="3"/>
                      <a:pt x="3" y="4"/>
                    </a:cubicBezTo>
                    <a:cubicBezTo>
                      <a:pt x="3" y="4"/>
                      <a:pt x="3" y="3"/>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7" name="Freeform 2516">
                <a:extLst>
                  <a:ext uri="{FF2B5EF4-FFF2-40B4-BE49-F238E27FC236}">
                    <a16:creationId xmlns:a16="http://schemas.microsoft.com/office/drawing/2014/main" id="{C8F24BD3-A27E-4226-9E76-476F05FF3595}"/>
                  </a:ext>
                </a:extLst>
              </p:cNvPr>
              <p:cNvSpPr>
                <a:spLocks/>
              </p:cNvSpPr>
              <p:nvPr/>
            </p:nvSpPr>
            <p:spPr bwMode="auto">
              <a:xfrm>
                <a:off x="4100" y="1783"/>
                <a:ext cx="43" cy="30"/>
              </a:xfrm>
              <a:custGeom>
                <a:avLst/>
                <a:gdLst>
                  <a:gd name="T0" fmla="*/ 5 w 18"/>
                  <a:gd name="T1" fmla="*/ 0 h 13"/>
                  <a:gd name="T2" fmla="*/ 0 w 18"/>
                  <a:gd name="T3" fmla="*/ 2 h 13"/>
                  <a:gd name="T4" fmla="*/ 3 w 18"/>
                  <a:gd name="T5" fmla="*/ 3 h 13"/>
                  <a:gd name="T6" fmla="*/ 8 w 18"/>
                  <a:gd name="T7" fmla="*/ 7 h 13"/>
                  <a:gd name="T8" fmla="*/ 12 w 18"/>
                  <a:gd name="T9" fmla="*/ 8 h 13"/>
                  <a:gd name="T10" fmla="*/ 14 w 18"/>
                  <a:gd name="T11" fmla="*/ 11 h 13"/>
                  <a:gd name="T12" fmla="*/ 17 w 18"/>
                  <a:gd name="T13" fmla="*/ 13 h 13"/>
                  <a:gd name="T14" fmla="*/ 18 w 18"/>
                  <a:gd name="T15" fmla="*/ 11 h 13"/>
                  <a:gd name="T16" fmla="*/ 15 w 18"/>
                  <a:gd name="T17" fmla="*/ 9 h 13"/>
                  <a:gd name="T18" fmla="*/ 14 w 18"/>
                  <a:gd name="T19" fmla="*/ 8 h 13"/>
                  <a:gd name="T20" fmla="*/ 14 w 18"/>
                  <a:gd name="T21" fmla="*/ 6 h 13"/>
                  <a:gd name="T22" fmla="*/ 13 w 18"/>
                  <a:gd name="T23" fmla="*/ 6 h 13"/>
                  <a:gd name="T24" fmla="*/ 13 w 18"/>
                  <a:gd name="T25" fmla="*/ 5 h 13"/>
                  <a:gd name="T26" fmla="*/ 11 w 18"/>
                  <a:gd name="T27" fmla="*/ 5 h 13"/>
                  <a:gd name="T28" fmla="*/ 9 w 18"/>
                  <a:gd name="T29" fmla="*/ 4 h 13"/>
                  <a:gd name="T30" fmla="*/ 7 w 18"/>
                  <a:gd name="T31" fmla="*/ 3 h 13"/>
                  <a:gd name="T32" fmla="*/ 5 w 18"/>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5" y="0"/>
                    </a:moveTo>
                    <a:cubicBezTo>
                      <a:pt x="3" y="0"/>
                      <a:pt x="2" y="2"/>
                      <a:pt x="0" y="2"/>
                    </a:cubicBezTo>
                    <a:cubicBezTo>
                      <a:pt x="1" y="2"/>
                      <a:pt x="2" y="2"/>
                      <a:pt x="3" y="3"/>
                    </a:cubicBezTo>
                    <a:cubicBezTo>
                      <a:pt x="5" y="4"/>
                      <a:pt x="6" y="6"/>
                      <a:pt x="8" y="7"/>
                    </a:cubicBezTo>
                    <a:cubicBezTo>
                      <a:pt x="10" y="8"/>
                      <a:pt x="11" y="8"/>
                      <a:pt x="12" y="8"/>
                    </a:cubicBezTo>
                    <a:cubicBezTo>
                      <a:pt x="13" y="8"/>
                      <a:pt x="13" y="10"/>
                      <a:pt x="14" y="11"/>
                    </a:cubicBezTo>
                    <a:cubicBezTo>
                      <a:pt x="15" y="12"/>
                      <a:pt x="16" y="12"/>
                      <a:pt x="17" y="13"/>
                    </a:cubicBezTo>
                    <a:cubicBezTo>
                      <a:pt x="18" y="12"/>
                      <a:pt x="18" y="12"/>
                      <a:pt x="18" y="11"/>
                    </a:cubicBezTo>
                    <a:cubicBezTo>
                      <a:pt x="16" y="11"/>
                      <a:pt x="15" y="11"/>
                      <a:pt x="15" y="9"/>
                    </a:cubicBezTo>
                    <a:cubicBezTo>
                      <a:pt x="14" y="9"/>
                      <a:pt x="14" y="8"/>
                      <a:pt x="14" y="8"/>
                    </a:cubicBezTo>
                    <a:cubicBezTo>
                      <a:pt x="14" y="7"/>
                      <a:pt x="14" y="7"/>
                      <a:pt x="14" y="6"/>
                    </a:cubicBezTo>
                    <a:cubicBezTo>
                      <a:pt x="14" y="6"/>
                      <a:pt x="13" y="6"/>
                      <a:pt x="13" y="6"/>
                    </a:cubicBezTo>
                    <a:cubicBezTo>
                      <a:pt x="13" y="5"/>
                      <a:pt x="14" y="5"/>
                      <a:pt x="13" y="5"/>
                    </a:cubicBezTo>
                    <a:cubicBezTo>
                      <a:pt x="12" y="4"/>
                      <a:pt x="11" y="5"/>
                      <a:pt x="11" y="5"/>
                    </a:cubicBezTo>
                    <a:cubicBezTo>
                      <a:pt x="10" y="4"/>
                      <a:pt x="10" y="4"/>
                      <a:pt x="9" y="4"/>
                    </a:cubicBezTo>
                    <a:cubicBezTo>
                      <a:pt x="8" y="3"/>
                      <a:pt x="8" y="4"/>
                      <a:pt x="7" y="3"/>
                    </a:cubicBezTo>
                    <a:cubicBezTo>
                      <a:pt x="6" y="2"/>
                      <a:pt x="6"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8" name="Freeform 2517">
                <a:extLst>
                  <a:ext uri="{FF2B5EF4-FFF2-40B4-BE49-F238E27FC236}">
                    <a16:creationId xmlns:a16="http://schemas.microsoft.com/office/drawing/2014/main" id="{39047703-FD39-410C-B97D-68AFE2866FEF}"/>
                  </a:ext>
                </a:extLst>
              </p:cNvPr>
              <p:cNvSpPr>
                <a:spLocks/>
              </p:cNvSpPr>
              <p:nvPr/>
            </p:nvSpPr>
            <p:spPr bwMode="auto">
              <a:xfrm>
                <a:off x="4192" y="1818"/>
                <a:ext cx="12" cy="5"/>
              </a:xfrm>
              <a:custGeom>
                <a:avLst/>
                <a:gdLst>
                  <a:gd name="T0" fmla="*/ 4 w 5"/>
                  <a:gd name="T1" fmla="*/ 0 h 2"/>
                  <a:gd name="T2" fmla="*/ 0 w 5"/>
                  <a:gd name="T3" fmla="*/ 0 h 2"/>
                  <a:gd name="T4" fmla="*/ 2 w 5"/>
                  <a:gd name="T5" fmla="*/ 2 h 2"/>
                  <a:gd name="T6" fmla="*/ 4 w 5"/>
                  <a:gd name="T7" fmla="*/ 0 h 2"/>
                </a:gdLst>
                <a:ahLst/>
                <a:cxnLst>
                  <a:cxn ang="0">
                    <a:pos x="T0" y="T1"/>
                  </a:cxn>
                  <a:cxn ang="0">
                    <a:pos x="T2" y="T3"/>
                  </a:cxn>
                  <a:cxn ang="0">
                    <a:pos x="T4" y="T5"/>
                  </a:cxn>
                  <a:cxn ang="0">
                    <a:pos x="T6" y="T7"/>
                  </a:cxn>
                </a:cxnLst>
                <a:rect l="0" t="0" r="r" b="b"/>
                <a:pathLst>
                  <a:path w="5" h="2">
                    <a:moveTo>
                      <a:pt x="4" y="0"/>
                    </a:moveTo>
                    <a:cubicBezTo>
                      <a:pt x="3" y="0"/>
                      <a:pt x="1" y="0"/>
                      <a:pt x="0" y="0"/>
                    </a:cubicBezTo>
                    <a:cubicBezTo>
                      <a:pt x="0" y="1"/>
                      <a:pt x="1" y="1"/>
                      <a:pt x="2" y="2"/>
                    </a:cubicBezTo>
                    <a:cubicBezTo>
                      <a:pt x="3" y="1"/>
                      <a:pt x="5"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9" name="Freeform 2518">
                <a:extLst>
                  <a:ext uri="{FF2B5EF4-FFF2-40B4-BE49-F238E27FC236}">
                    <a16:creationId xmlns:a16="http://schemas.microsoft.com/office/drawing/2014/main" id="{2DD46CFE-C9A8-4DE0-B4C9-C5843CBE6AA0}"/>
                  </a:ext>
                </a:extLst>
              </p:cNvPr>
              <p:cNvSpPr>
                <a:spLocks/>
              </p:cNvSpPr>
              <p:nvPr/>
            </p:nvSpPr>
            <p:spPr bwMode="auto">
              <a:xfrm>
                <a:off x="4114" y="1818"/>
                <a:ext cx="5" cy="2"/>
              </a:xfrm>
              <a:custGeom>
                <a:avLst/>
                <a:gdLst>
                  <a:gd name="T0" fmla="*/ 2 w 2"/>
                  <a:gd name="T1" fmla="*/ 1 h 1"/>
                  <a:gd name="T2" fmla="*/ 0 w 2"/>
                  <a:gd name="T3" fmla="*/ 1 h 1"/>
                  <a:gd name="T4" fmla="*/ 1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1" y="0"/>
                      <a:pt x="1" y="0"/>
                      <a:pt x="0" y="1"/>
                    </a:cubicBezTo>
                    <a:cubicBezTo>
                      <a:pt x="1" y="1"/>
                      <a:pt x="1" y="1"/>
                      <a:pt x="1" y="1"/>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0" name="Freeform 2519">
                <a:extLst>
                  <a:ext uri="{FF2B5EF4-FFF2-40B4-BE49-F238E27FC236}">
                    <a16:creationId xmlns:a16="http://schemas.microsoft.com/office/drawing/2014/main" id="{3CD6F7DF-EB47-4A48-B668-B4DD6ADC566A}"/>
                  </a:ext>
                </a:extLst>
              </p:cNvPr>
              <p:cNvSpPr>
                <a:spLocks/>
              </p:cNvSpPr>
              <p:nvPr/>
            </p:nvSpPr>
            <p:spPr bwMode="auto">
              <a:xfrm>
                <a:off x="4202" y="1872"/>
                <a:ext cx="4" cy="12"/>
              </a:xfrm>
              <a:custGeom>
                <a:avLst/>
                <a:gdLst>
                  <a:gd name="T0" fmla="*/ 1 w 2"/>
                  <a:gd name="T1" fmla="*/ 5 h 5"/>
                  <a:gd name="T2" fmla="*/ 2 w 2"/>
                  <a:gd name="T3" fmla="*/ 3 h 5"/>
                  <a:gd name="T4" fmla="*/ 1 w 2"/>
                  <a:gd name="T5" fmla="*/ 3 h 5"/>
                  <a:gd name="T6" fmla="*/ 2 w 2"/>
                  <a:gd name="T7" fmla="*/ 0 h 5"/>
                  <a:gd name="T8" fmla="*/ 1 w 2"/>
                  <a:gd name="T9" fmla="*/ 5 h 5"/>
                </a:gdLst>
                <a:ahLst/>
                <a:cxnLst>
                  <a:cxn ang="0">
                    <a:pos x="T0" y="T1"/>
                  </a:cxn>
                  <a:cxn ang="0">
                    <a:pos x="T2" y="T3"/>
                  </a:cxn>
                  <a:cxn ang="0">
                    <a:pos x="T4" y="T5"/>
                  </a:cxn>
                  <a:cxn ang="0">
                    <a:pos x="T6" y="T7"/>
                  </a:cxn>
                  <a:cxn ang="0">
                    <a:pos x="T8" y="T9"/>
                  </a:cxn>
                </a:cxnLst>
                <a:rect l="0" t="0" r="r" b="b"/>
                <a:pathLst>
                  <a:path w="2" h="5">
                    <a:moveTo>
                      <a:pt x="1" y="5"/>
                    </a:moveTo>
                    <a:cubicBezTo>
                      <a:pt x="2" y="4"/>
                      <a:pt x="2" y="5"/>
                      <a:pt x="2" y="3"/>
                    </a:cubicBezTo>
                    <a:cubicBezTo>
                      <a:pt x="2" y="3"/>
                      <a:pt x="1" y="3"/>
                      <a:pt x="1" y="3"/>
                    </a:cubicBezTo>
                    <a:cubicBezTo>
                      <a:pt x="1" y="2"/>
                      <a:pt x="2" y="1"/>
                      <a:pt x="2" y="0"/>
                    </a:cubicBezTo>
                    <a:cubicBezTo>
                      <a:pt x="0" y="2"/>
                      <a:pt x="0"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1" name="Freeform 2520">
                <a:extLst>
                  <a:ext uri="{FF2B5EF4-FFF2-40B4-BE49-F238E27FC236}">
                    <a16:creationId xmlns:a16="http://schemas.microsoft.com/office/drawing/2014/main" id="{E6E7EA85-605B-4124-8725-CFC8095648C9}"/>
                  </a:ext>
                </a:extLst>
              </p:cNvPr>
              <p:cNvSpPr>
                <a:spLocks/>
              </p:cNvSpPr>
              <p:nvPr/>
            </p:nvSpPr>
            <p:spPr bwMode="auto">
              <a:xfrm>
                <a:off x="4135" y="1846"/>
                <a:ext cx="8" cy="5"/>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1"/>
                      <a:pt x="0" y="2"/>
                    </a:cubicBezTo>
                    <a:cubicBezTo>
                      <a:pt x="1" y="1"/>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2" name="Freeform 2521">
                <a:extLst>
                  <a:ext uri="{FF2B5EF4-FFF2-40B4-BE49-F238E27FC236}">
                    <a16:creationId xmlns:a16="http://schemas.microsoft.com/office/drawing/2014/main" id="{81561ACA-176D-406E-A107-FC6799CD1BE9}"/>
                  </a:ext>
                </a:extLst>
              </p:cNvPr>
              <p:cNvSpPr>
                <a:spLocks/>
              </p:cNvSpPr>
              <p:nvPr/>
            </p:nvSpPr>
            <p:spPr bwMode="auto">
              <a:xfrm>
                <a:off x="4100" y="1858"/>
                <a:ext cx="5" cy="7"/>
              </a:xfrm>
              <a:custGeom>
                <a:avLst/>
                <a:gdLst>
                  <a:gd name="T0" fmla="*/ 2 w 2"/>
                  <a:gd name="T1" fmla="*/ 3 h 3"/>
                  <a:gd name="T2" fmla="*/ 1 w 2"/>
                  <a:gd name="T3" fmla="*/ 0 h 3"/>
                  <a:gd name="T4" fmla="*/ 2 w 2"/>
                  <a:gd name="T5" fmla="*/ 3 h 3"/>
                </a:gdLst>
                <a:ahLst/>
                <a:cxnLst>
                  <a:cxn ang="0">
                    <a:pos x="T0" y="T1"/>
                  </a:cxn>
                  <a:cxn ang="0">
                    <a:pos x="T2" y="T3"/>
                  </a:cxn>
                  <a:cxn ang="0">
                    <a:pos x="T4" y="T5"/>
                  </a:cxn>
                </a:cxnLst>
                <a:rect l="0" t="0" r="r" b="b"/>
                <a:pathLst>
                  <a:path w="2" h="3">
                    <a:moveTo>
                      <a:pt x="2" y="3"/>
                    </a:moveTo>
                    <a:cubicBezTo>
                      <a:pt x="2" y="2"/>
                      <a:pt x="2" y="1"/>
                      <a:pt x="1" y="0"/>
                    </a:cubicBezTo>
                    <a:cubicBezTo>
                      <a:pt x="1" y="1"/>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3" name="Freeform 2522">
                <a:extLst>
                  <a:ext uri="{FF2B5EF4-FFF2-40B4-BE49-F238E27FC236}">
                    <a16:creationId xmlns:a16="http://schemas.microsoft.com/office/drawing/2014/main" id="{9E66C647-9723-4CF7-8F20-763C461151FA}"/>
                  </a:ext>
                </a:extLst>
              </p:cNvPr>
              <p:cNvSpPr>
                <a:spLocks/>
              </p:cNvSpPr>
              <p:nvPr/>
            </p:nvSpPr>
            <p:spPr bwMode="auto">
              <a:xfrm>
                <a:off x="4046" y="1816"/>
                <a:ext cx="9" cy="7"/>
              </a:xfrm>
              <a:custGeom>
                <a:avLst/>
                <a:gdLst>
                  <a:gd name="T0" fmla="*/ 1 w 4"/>
                  <a:gd name="T1" fmla="*/ 0 h 3"/>
                  <a:gd name="T2" fmla="*/ 3 w 4"/>
                  <a:gd name="T3" fmla="*/ 3 h 3"/>
                  <a:gd name="T4" fmla="*/ 4 w 4"/>
                  <a:gd name="T5" fmla="*/ 2 h 3"/>
                  <a:gd name="T6" fmla="*/ 2 w 4"/>
                  <a:gd name="T7" fmla="*/ 0 h 3"/>
                  <a:gd name="T8" fmla="*/ 1 w 4"/>
                  <a:gd name="T9" fmla="*/ 0 h 3"/>
                </a:gdLst>
                <a:ahLst/>
                <a:cxnLst>
                  <a:cxn ang="0">
                    <a:pos x="T0" y="T1"/>
                  </a:cxn>
                  <a:cxn ang="0">
                    <a:pos x="T2" y="T3"/>
                  </a:cxn>
                  <a:cxn ang="0">
                    <a:pos x="T4" y="T5"/>
                  </a:cxn>
                  <a:cxn ang="0">
                    <a:pos x="T6" y="T7"/>
                  </a:cxn>
                  <a:cxn ang="0">
                    <a:pos x="T8" y="T9"/>
                  </a:cxn>
                </a:cxnLst>
                <a:rect l="0" t="0" r="r" b="b"/>
                <a:pathLst>
                  <a:path w="4" h="3">
                    <a:moveTo>
                      <a:pt x="1" y="0"/>
                    </a:moveTo>
                    <a:cubicBezTo>
                      <a:pt x="0" y="0"/>
                      <a:pt x="2" y="2"/>
                      <a:pt x="3" y="3"/>
                    </a:cubicBezTo>
                    <a:cubicBezTo>
                      <a:pt x="3" y="2"/>
                      <a:pt x="4" y="2"/>
                      <a:pt x="4" y="2"/>
                    </a:cubicBezTo>
                    <a:cubicBezTo>
                      <a:pt x="3" y="1"/>
                      <a:pt x="3"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4" name="Freeform 2523">
                <a:extLst>
                  <a:ext uri="{FF2B5EF4-FFF2-40B4-BE49-F238E27FC236}">
                    <a16:creationId xmlns:a16="http://schemas.microsoft.com/office/drawing/2014/main" id="{2D080C03-2C33-4ED2-A899-598827FBD330}"/>
                  </a:ext>
                </a:extLst>
              </p:cNvPr>
              <p:cNvSpPr>
                <a:spLocks/>
              </p:cNvSpPr>
              <p:nvPr/>
            </p:nvSpPr>
            <p:spPr bwMode="auto">
              <a:xfrm>
                <a:off x="4140" y="1733"/>
                <a:ext cx="10" cy="7"/>
              </a:xfrm>
              <a:custGeom>
                <a:avLst/>
                <a:gdLst>
                  <a:gd name="T0" fmla="*/ 1 w 4"/>
                  <a:gd name="T1" fmla="*/ 1 h 3"/>
                  <a:gd name="T2" fmla="*/ 2 w 4"/>
                  <a:gd name="T3" fmla="*/ 3 h 3"/>
                  <a:gd name="T4" fmla="*/ 3 w 4"/>
                  <a:gd name="T5" fmla="*/ 1 h 3"/>
                  <a:gd name="T6" fmla="*/ 1 w 4"/>
                  <a:gd name="T7" fmla="*/ 1 h 3"/>
                </a:gdLst>
                <a:ahLst/>
                <a:cxnLst>
                  <a:cxn ang="0">
                    <a:pos x="T0" y="T1"/>
                  </a:cxn>
                  <a:cxn ang="0">
                    <a:pos x="T2" y="T3"/>
                  </a:cxn>
                  <a:cxn ang="0">
                    <a:pos x="T4" y="T5"/>
                  </a:cxn>
                  <a:cxn ang="0">
                    <a:pos x="T6" y="T7"/>
                  </a:cxn>
                </a:cxnLst>
                <a:rect l="0" t="0" r="r" b="b"/>
                <a:pathLst>
                  <a:path w="4" h="3">
                    <a:moveTo>
                      <a:pt x="1" y="1"/>
                    </a:moveTo>
                    <a:cubicBezTo>
                      <a:pt x="0" y="1"/>
                      <a:pt x="1" y="2"/>
                      <a:pt x="2" y="3"/>
                    </a:cubicBezTo>
                    <a:cubicBezTo>
                      <a:pt x="2" y="2"/>
                      <a:pt x="4" y="2"/>
                      <a:pt x="3" y="1"/>
                    </a:cubicBezTo>
                    <a:cubicBezTo>
                      <a:pt x="3"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5" name="Freeform 2524">
                <a:extLst>
                  <a:ext uri="{FF2B5EF4-FFF2-40B4-BE49-F238E27FC236}">
                    <a16:creationId xmlns:a16="http://schemas.microsoft.com/office/drawing/2014/main" id="{8B2F6701-E7A6-4D08-B09E-5976837E7710}"/>
                  </a:ext>
                </a:extLst>
              </p:cNvPr>
              <p:cNvSpPr>
                <a:spLocks/>
              </p:cNvSpPr>
              <p:nvPr/>
            </p:nvSpPr>
            <p:spPr bwMode="auto">
              <a:xfrm>
                <a:off x="4138" y="1828"/>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6" name="Freeform 2525">
                <a:extLst>
                  <a:ext uri="{FF2B5EF4-FFF2-40B4-BE49-F238E27FC236}">
                    <a16:creationId xmlns:a16="http://schemas.microsoft.com/office/drawing/2014/main" id="{30D08D5F-9213-4BE2-B621-F3381F03332D}"/>
                  </a:ext>
                </a:extLst>
              </p:cNvPr>
              <p:cNvSpPr>
                <a:spLocks/>
              </p:cNvSpPr>
              <p:nvPr/>
            </p:nvSpPr>
            <p:spPr bwMode="auto">
              <a:xfrm>
                <a:off x="4199" y="1839"/>
                <a:ext cx="5" cy="3"/>
              </a:xfrm>
              <a:custGeom>
                <a:avLst/>
                <a:gdLst>
                  <a:gd name="T0" fmla="*/ 0 w 2"/>
                  <a:gd name="T1" fmla="*/ 0 h 1"/>
                  <a:gd name="T2" fmla="*/ 0 w 2"/>
                  <a:gd name="T3" fmla="*/ 1 h 1"/>
                  <a:gd name="T4" fmla="*/ 0 w 2"/>
                  <a:gd name="T5" fmla="*/ 0 h 1"/>
                </a:gdLst>
                <a:ahLst/>
                <a:cxnLst>
                  <a:cxn ang="0">
                    <a:pos x="T0" y="T1"/>
                  </a:cxn>
                  <a:cxn ang="0">
                    <a:pos x="T2" y="T3"/>
                  </a:cxn>
                  <a:cxn ang="0">
                    <a:pos x="T4" y="T5"/>
                  </a:cxn>
                </a:cxnLst>
                <a:rect l="0" t="0" r="r" b="b"/>
                <a:pathLst>
                  <a:path w="2" h="1">
                    <a:moveTo>
                      <a:pt x="0" y="0"/>
                    </a:moveTo>
                    <a:cubicBezTo>
                      <a:pt x="0" y="0"/>
                      <a:pt x="0" y="1"/>
                      <a:pt x="0" y="1"/>
                    </a:cubicBezTo>
                    <a:cubicBezTo>
                      <a:pt x="2"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7" name="Freeform 2526">
                <a:extLst>
                  <a:ext uri="{FF2B5EF4-FFF2-40B4-BE49-F238E27FC236}">
                    <a16:creationId xmlns:a16="http://schemas.microsoft.com/office/drawing/2014/main" id="{E2E1FACA-7C0C-40E9-9033-23A1D72194D5}"/>
                  </a:ext>
                </a:extLst>
              </p:cNvPr>
              <p:cNvSpPr>
                <a:spLocks/>
              </p:cNvSpPr>
              <p:nvPr/>
            </p:nvSpPr>
            <p:spPr bwMode="auto">
              <a:xfrm>
                <a:off x="4135" y="1823"/>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8" name="Freeform 2527">
                <a:extLst>
                  <a:ext uri="{FF2B5EF4-FFF2-40B4-BE49-F238E27FC236}">
                    <a16:creationId xmlns:a16="http://schemas.microsoft.com/office/drawing/2014/main" id="{8A90A407-10CC-4DFE-A9F5-14DB596154C0}"/>
                  </a:ext>
                </a:extLst>
              </p:cNvPr>
              <p:cNvSpPr>
                <a:spLocks/>
              </p:cNvSpPr>
              <p:nvPr/>
            </p:nvSpPr>
            <p:spPr bwMode="auto">
              <a:xfrm>
                <a:off x="4041" y="1799"/>
                <a:ext cx="9" cy="12"/>
              </a:xfrm>
              <a:custGeom>
                <a:avLst/>
                <a:gdLst>
                  <a:gd name="T0" fmla="*/ 2 w 4"/>
                  <a:gd name="T1" fmla="*/ 0 h 5"/>
                  <a:gd name="T2" fmla="*/ 1 w 4"/>
                  <a:gd name="T3" fmla="*/ 2 h 5"/>
                  <a:gd name="T4" fmla="*/ 0 w 4"/>
                  <a:gd name="T5" fmla="*/ 3 h 5"/>
                  <a:gd name="T6" fmla="*/ 1 w 4"/>
                  <a:gd name="T7" fmla="*/ 4 h 5"/>
                  <a:gd name="T8" fmla="*/ 1 w 4"/>
                  <a:gd name="T9" fmla="*/ 4 h 5"/>
                  <a:gd name="T10" fmla="*/ 2 w 4"/>
                  <a:gd name="T11" fmla="*/ 4 h 5"/>
                  <a:gd name="T12" fmla="*/ 4 w 4"/>
                  <a:gd name="T13" fmla="*/ 5 h 5"/>
                  <a:gd name="T14" fmla="*/ 2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0"/>
                    </a:moveTo>
                    <a:cubicBezTo>
                      <a:pt x="2" y="1"/>
                      <a:pt x="1" y="1"/>
                      <a:pt x="1" y="2"/>
                    </a:cubicBezTo>
                    <a:cubicBezTo>
                      <a:pt x="0" y="2"/>
                      <a:pt x="0" y="3"/>
                      <a:pt x="0" y="3"/>
                    </a:cubicBezTo>
                    <a:cubicBezTo>
                      <a:pt x="0" y="3"/>
                      <a:pt x="1" y="3"/>
                      <a:pt x="1" y="4"/>
                    </a:cubicBezTo>
                    <a:cubicBezTo>
                      <a:pt x="1" y="4"/>
                      <a:pt x="1" y="4"/>
                      <a:pt x="1" y="4"/>
                    </a:cubicBezTo>
                    <a:cubicBezTo>
                      <a:pt x="2" y="4"/>
                      <a:pt x="2" y="4"/>
                      <a:pt x="2" y="4"/>
                    </a:cubicBezTo>
                    <a:cubicBezTo>
                      <a:pt x="3" y="4"/>
                      <a:pt x="4" y="5"/>
                      <a:pt x="4" y="5"/>
                    </a:cubicBezTo>
                    <a:cubicBezTo>
                      <a:pt x="4" y="3"/>
                      <a:pt x="3"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9" name="Freeform 2528">
                <a:extLst>
                  <a:ext uri="{FF2B5EF4-FFF2-40B4-BE49-F238E27FC236}">
                    <a16:creationId xmlns:a16="http://schemas.microsoft.com/office/drawing/2014/main" id="{5852DB7A-09B0-42DB-944C-2A6CD288348C}"/>
                  </a:ext>
                </a:extLst>
              </p:cNvPr>
              <p:cNvSpPr>
                <a:spLocks/>
              </p:cNvSpPr>
              <p:nvPr/>
            </p:nvSpPr>
            <p:spPr bwMode="auto">
              <a:xfrm>
                <a:off x="4161" y="1828"/>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0" name="Freeform 2529">
                <a:extLst>
                  <a:ext uri="{FF2B5EF4-FFF2-40B4-BE49-F238E27FC236}">
                    <a16:creationId xmlns:a16="http://schemas.microsoft.com/office/drawing/2014/main" id="{0BE596DB-3A20-4B46-8913-E234322ED3DD}"/>
                  </a:ext>
                </a:extLst>
              </p:cNvPr>
              <p:cNvSpPr>
                <a:spLocks/>
              </p:cNvSpPr>
              <p:nvPr/>
            </p:nvSpPr>
            <p:spPr bwMode="auto">
              <a:xfrm>
                <a:off x="4202" y="1844"/>
                <a:ext cx="7" cy="5"/>
              </a:xfrm>
              <a:custGeom>
                <a:avLst/>
                <a:gdLst>
                  <a:gd name="T0" fmla="*/ 0 w 3"/>
                  <a:gd name="T1" fmla="*/ 2 h 2"/>
                  <a:gd name="T2" fmla="*/ 3 w 3"/>
                  <a:gd name="T3" fmla="*/ 0 h 2"/>
                  <a:gd name="T4" fmla="*/ 0 w 3"/>
                  <a:gd name="T5" fmla="*/ 2 h 2"/>
                </a:gdLst>
                <a:ahLst/>
                <a:cxnLst>
                  <a:cxn ang="0">
                    <a:pos x="T0" y="T1"/>
                  </a:cxn>
                  <a:cxn ang="0">
                    <a:pos x="T2" y="T3"/>
                  </a:cxn>
                  <a:cxn ang="0">
                    <a:pos x="T4" y="T5"/>
                  </a:cxn>
                </a:cxnLst>
                <a:rect l="0" t="0" r="r" b="b"/>
                <a:pathLst>
                  <a:path w="3" h="2">
                    <a:moveTo>
                      <a:pt x="0" y="2"/>
                    </a:moveTo>
                    <a:cubicBezTo>
                      <a:pt x="0" y="1"/>
                      <a:pt x="2" y="1"/>
                      <a:pt x="3" y="0"/>
                    </a:cubicBezTo>
                    <a:cubicBezTo>
                      <a:pt x="1" y="0"/>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1" name="Freeform 2530">
                <a:extLst>
                  <a:ext uri="{FF2B5EF4-FFF2-40B4-BE49-F238E27FC236}">
                    <a16:creationId xmlns:a16="http://schemas.microsoft.com/office/drawing/2014/main" id="{6BF192ED-A4E7-4F3C-905E-DFE2153FE058}"/>
                  </a:ext>
                </a:extLst>
              </p:cNvPr>
              <p:cNvSpPr>
                <a:spLocks/>
              </p:cNvSpPr>
              <p:nvPr/>
            </p:nvSpPr>
            <p:spPr bwMode="auto">
              <a:xfrm>
                <a:off x="4221" y="1851"/>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2" name="Freeform 2531">
                <a:extLst>
                  <a:ext uri="{FF2B5EF4-FFF2-40B4-BE49-F238E27FC236}">
                    <a16:creationId xmlns:a16="http://schemas.microsoft.com/office/drawing/2014/main" id="{26DC2EAC-0558-4AE4-8A1A-C824D4FF3691}"/>
                  </a:ext>
                </a:extLst>
              </p:cNvPr>
              <p:cNvSpPr>
                <a:spLocks/>
              </p:cNvSpPr>
              <p:nvPr/>
            </p:nvSpPr>
            <p:spPr bwMode="auto">
              <a:xfrm>
                <a:off x="4046" y="1790"/>
                <a:ext cx="4" cy="7"/>
              </a:xfrm>
              <a:custGeom>
                <a:avLst/>
                <a:gdLst>
                  <a:gd name="T0" fmla="*/ 1 w 2"/>
                  <a:gd name="T1" fmla="*/ 0 h 3"/>
                  <a:gd name="T2" fmla="*/ 0 w 2"/>
                  <a:gd name="T3" fmla="*/ 3 h 3"/>
                  <a:gd name="T4" fmla="*/ 1 w 2"/>
                  <a:gd name="T5" fmla="*/ 0 h 3"/>
                </a:gdLst>
                <a:ahLst/>
                <a:cxnLst>
                  <a:cxn ang="0">
                    <a:pos x="T0" y="T1"/>
                  </a:cxn>
                  <a:cxn ang="0">
                    <a:pos x="T2" y="T3"/>
                  </a:cxn>
                  <a:cxn ang="0">
                    <a:pos x="T4" y="T5"/>
                  </a:cxn>
                </a:cxnLst>
                <a:rect l="0" t="0" r="r" b="b"/>
                <a:pathLst>
                  <a:path w="2" h="3">
                    <a:moveTo>
                      <a:pt x="1" y="0"/>
                    </a:moveTo>
                    <a:cubicBezTo>
                      <a:pt x="0" y="0"/>
                      <a:pt x="0" y="2"/>
                      <a:pt x="0" y="3"/>
                    </a:cubicBezTo>
                    <a:cubicBezTo>
                      <a:pt x="2" y="3"/>
                      <a:pt x="2"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3" name="Freeform 2532">
                <a:extLst>
                  <a:ext uri="{FF2B5EF4-FFF2-40B4-BE49-F238E27FC236}">
                    <a16:creationId xmlns:a16="http://schemas.microsoft.com/office/drawing/2014/main" id="{5EF5EA81-0DF8-49BE-BE2B-2882C68E085B}"/>
                  </a:ext>
                </a:extLst>
              </p:cNvPr>
              <p:cNvSpPr>
                <a:spLocks/>
              </p:cNvSpPr>
              <p:nvPr/>
            </p:nvSpPr>
            <p:spPr bwMode="auto">
              <a:xfrm>
                <a:off x="4140" y="1785"/>
                <a:ext cx="7" cy="7"/>
              </a:xfrm>
              <a:custGeom>
                <a:avLst/>
                <a:gdLst>
                  <a:gd name="T0" fmla="*/ 0 w 3"/>
                  <a:gd name="T1" fmla="*/ 0 h 3"/>
                  <a:gd name="T2" fmla="*/ 1 w 3"/>
                  <a:gd name="T3" fmla="*/ 3 h 3"/>
                  <a:gd name="T4" fmla="*/ 1 w 3"/>
                  <a:gd name="T5" fmla="*/ 1 h 3"/>
                  <a:gd name="T6" fmla="*/ 1 w 3"/>
                  <a:gd name="T7" fmla="*/ 1 h 3"/>
                  <a:gd name="T8" fmla="*/ 0 w 3"/>
                  <a:gd name="T9" fmla="*/ 0 h 3"/>
                </a:gdLst>
                <a:ahLst/>
                <a:cxnLst>
                  <a:cxn ang="0">
                    <a:pos x="T0" y="T1"/>
                  </a:cxn>
                  <a:cxn ang="0">
                    <a:pos x="T2" y="T3"/>
                  </a:cxn>
                  <a:cxn ang="0">
                    <a:pos x="T4" y="T5"/>
                  </a:cxn>
                  <a:cxn ang="0">
                    <a:pos x="T6" y="T7"/>
                  </a:cxn>
                  <a:cxn ang="0">
                    <a:pos x="T8" y="T9"/>
                  </a:cxn>
                </a:cxnLst>
                <a:rect l="0" t="0" r="r" b="b"/>
                <a:pathLst>
                  <a:path w="3" h="3">
                    <a:moveTo>
                      <a:pt x="0" y="0"/>
                    </a:moveTo>
                    <a:cubicBezTo>
                      <a:pt x="0" y="1"/>
                      <a:pt x="1" y="2"/>
                      <a:pt x="1" y="3"/>
                    </a:cubicBezTo>
                    <a:cubicBezTo>
                      <a:pt x="3" y="3"/>
                      <a:pt x="2" y="2"/>
                      <a:pt x="1" y="1"/>
                    </a:cubicBezTo>
                    <a:cubicBezTo>
                      <a:pt x="1" y="1"/>
                      <a:pt x="1" y="1"/>
                      <a:pt x="1" y="1"/>
                    </a:cubicBezTo>
                    <a:cubicBezTo>
                      <a:pt x="1"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4" name="Freeform 2533">
                <a:extLst>
                  <a:ext uri="{FF2B5EF4-FFF2-40B4-BE49-F238E27FC236}">
                    <a16:creationId xmlns:a16="http://schemas.microsoft.com/office/drawing/2014/main" id="{DA5A58C9-4698-49BF-8232-23665AF27453}"/>
                  </a:ext>
                </a:extLst>
              </p:cNvPr>
              <p:cNvSpPr>
                <a:spLocks/>
              </p:cNvSpPr>
              <p:nvPr/>
            </p:nvSpPr>
            <p:spPr bwMode="auto">
              <a:xfrm>
                <a:off x="4173" y="1794"/>
                <a:ext cx="10" cy="15"/>
              </a:xfrm>
              <a:custGeom>
                <a:avLst/>
                <a:gdLst>
                  <a:gd name="T0" fmla="*/ 2 w 4"/>
                  <a:gd name="T1" fmla="*/ 1 h 6"/>
                  <a:gd name="T2" fmla="*/ 0 w 4"/>
                  <a:gd name="T3" fmla="*/ 1 h 6"/>
                  <a:gd name="T4" fmla="*/ 2 w 4"/>
                  <a:gd name="T5" fmla="*/ 6 h 6"/>
                  <a:gd name="T6" fmla="*/ 3 w 4"/>
                  <a:gd name="T7" fmla="*/ 2 h 6"/>
                  <a:gd name="T8" fmla="*/ 2 w 4"/>
                  <a:gd name="T9" fmla="*/ 1 h 6"/>
                </a:gdLst>
                <a:ahLst/>
                <a:cxnLst>
                  <a:cxn ang="0">
                    <a:pos x="T0" y="T1"/>
                  </a:cxn>
                  <a:cxn ang="0">
                    <a:pos x="T2" y="T3"/>
                  </a:cxn>
                  <a:cxn ang="0">
                    <a:pos x="T4" y="T5"/>
                  </a:cxn>
                  <a:cxn ang="0">
                    <a:pos x="T6" y="T7"/>
                  </a:cxn>
                  <a:cxn ang="0">
                    <a:pos x="T8" y="T9"/>
                  </a:cxn>
                </a:cxnLst>
                <a:rect l="0" t="0" r="r" b="b"/>
                <a:pathLst>
                  <a:path w="4" h="6">
                    <a:moveTo>
                      <a:pt x="2" y="1"/>
                    </a:moveTo>
                    <a:cubicBezTo>
                      <a:pt x="1" y="0"/>
                      <a:pt x="0" y="0"/>
                      <a:pt x="0" y="1"/>
                    </a:cubicBezTo>
                    <a:cubicBezTo>
                      <a:pt x="0" y="4"/>
                      <a:pt x="0" y="4"/>
                      <a:pt x="2" y="6"/>
                    </a:cubicBezTo>
                    <a:cubicBezTo>
                      <a:pt x="3" y="5"/>
                      <a:pt x="3" y="3"/>
                      <a:pt x="3" y="2"/>
                    </a:cubicBezTo>
                    <a:cubicBezTo>
                      <a:pt x="4" y="1"/>
                      <a:pt x="3"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5" name="Freeform 2534">
                <a:extLst>
                  <a:ext uri="{FF2B5EF4-FFF2-40B4-BE49-F238E27FC236}">
                    <a16:creationId xmlns:a16="http://schemas.microsoft.com/office/drawing/2014/main" id="{FCDBB44E-0A58-4212-AD58-7A84617D9789}"/>
                  </a:ext>
                </a:extLst>
              </p:cNvPr>
              <p:cNvSpPr>
                <a:spLocks/>
              </p:cNvSpPr>
              <p:nvPr/>
            </p:nvSpPr>
            <p:spPr bwMode="auto">
              <a:xfrm>
                <a:off x="4022" y="1761"/>
                <a:ext cx="12" cy="10"/>
              </a:xfrm>
              <a:custGeom>
                <a:avLst/>
                <a:gdLst>
                  <a:gd name="T0" fmla="*/ 3 w 5"/>
                  <a:gd name="T1" fmla="*/ 0 h 4"/>
                  <a:gd name="T2" fmla="*/ 1 w 5"/>
                  <a:gd name="T3" fmla="*/ 0 h 4"/>
                  <a:gd name="T4" fmla="*/ 1 w 5"/>
                  <a:gd name="T5" fmla="*/ 0 h 4"/>
                  <a:gd name="T6" fmla="*/ 3 w 5"/>
                  <a:gd name="T7" fmla="*/ 4 h 4"/>
                  <a:gd name="T8" fmla="*/ 3 w 5"/>
                  <a:gd name="T9" fmla="*/ 2 h 4"/>
                  <a:gd name="T10" fmla="*/ 3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3" y="0"/>
                    </a:moveTo>
                    <a:cubicBezTo>
                      <a:pt x="3" y="0"/>
                      <a:pt x="2" y="0"/>
                      <a:pt x="1" y="0"/>
                    </a:cubicBezTo>
                    <a:cubicBezTo>
                      <a:pt x="1" y="0"/>
                      <a:pt x="1" y="0"/>
                      <a:pt x="1" y="0"/>
                    </a:cubicBezTo>
                    <a:cubicBezTo>
                      <a:pt x="0" y="1"/>
                      <a:pt x="3" y="3"/>
                      <a:pt x="3" y="4"/>
                    </a:cubicBezTo>
                    <a:cubicBezTo>
                      <a:pt x="3" y="3"/>
                      <a:pt x="3" y="3"/>
                      <a:pt x="3" y="2"/>
                    </a:cubicBezTo>
                    <a:cubicBezTo>
                      <a:pt x="1" y="2"/>
                      <a:pt x="5"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6" name="Freeform 2535">
                <a:extLst>
                  <a:ext uri="{FF2B5EF4-FFF2-40B4-BE49-F238E27FC236}">
                    <a16:creationId xmlns:a16="http://schemas.microsoft.com/office/drawing/2014/main" id="{6A28EAE4-AD9C-470D-B205-DFA8739BDEB3}"/>
                  </a:ext>
                </a:extLst>
              </p:cNvPr>
              <p:cNvSpPr>
                <a:spLocks/>
              </p:cNvSpPr>
              <p:nvPr/>
            </p:nvSpPr>
            <p:spPr bwMode="auto">
              <a:xfrm>
                <a:off x="4152" y="1820"/>
                <a:ext cx="7" cy="5"/>
              </a:xfrm>
              <a:custGeom>
                <a:avLst/>
                <a:gdLst>
                  <a:gd name="T0" fmla="*/ 0 w 3"/>
                  <a:gd name="T1" fmla="*/ 0 h 2"/>
                  <a:gd name="T2" fmla="*/ 2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2" y="2"/>
                    </a:cubicBezTo>
                    <a:cubicBezTo>
                      <a:pt x="3"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7" name="Freeform 2536">
                <a:extLst>
                  <a:ext uri="{FF2B5EF4-FFF2-40B4-BE49-F238E27FC236}">
                    <a16:creationId xmlns:a16="http://schemas.microsoft.com/office/drawing/2014/main" id="{2B087C9E-61F4-4D9E-9E99-D41EB5CF6ED3}"/>
                  </a:ext>
                </a:extLst>
              </p:cNvPr>
              <p:cNvSpPr>
                <a:spLocks/>
              </p:cNvSpPr>
              <p:nvPr/>
            </p:nvSpPr>
            <p:spPr bwMode="auto">
              <a:xfrm>
                <a:off x="7041" y="2447"/>
                <a:ext cx="7" cy="8"/>
              </a:xfrm>
              <a:custGeom>
                <a:avLst/>
                <a:gdLst>
                  <a:gd name="T0" fmla="*/ 3 w 3"/>
                  <a:gd name="T1" fmla="*/ 0 h 3"/>
                  <a:gd name="T2" fmla="*/ 2 w 3"/>
                  <a:gd name="T3" fmla="*/ 0 h 3"/>
                  <a:gd name="T4" fmla="*/ 0 w 3"/>
                  <a:gd name="T5" fmla="*/ 1 h 3"/>
                  <a:gd name="T6" fmla="*/ 1 w 3"/>
                  <a:gd name="T7" fmla="*/ 3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3" y="0"/>
                      <a:pt x="2" y="0"/>
                      <a:pt x="2" y="0"/>
                    </a:cubicBezTo>
                    <a:cubicBezTo>
                      <a:pt x="1" y="1"/>
                      <a:pt x="1" y="1"/>
                      <a:pt x="0" y="1"/>
                    </a:cubicBezTo>
                    <a:cubicBezTo>
                      <a:pt x="0" y="2"/>
                      <a:pt x="0" y="3"/>
                      <a:pt x="1" y="3"/>
                    </a:cubicBezTo>
                    <a:cubicBezTo>
                      <a:pt x="1" y="3"/>
                      <a:pt x="3"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8" name="Freeform 2537">
                <a:extLst>
                  <a:ext uri="{FF2B5EF4-FFF2-40B4-BE49-F238E27FC236}">
                    <a16:creationId xmlns:a16="http://schemas.microsoft.com/office/drawing/2014/main" id="{7A0C71EE-A585-4913-8B6F-C4AF1A85D80A}"/>
                  </a:ext>
                </a:extLst>
              </p:cNvPr>
              <p:cNvSpPr>
                <a:spLocks/>
              </p:cNvSpPr>
              <p:nvPr/>
            </p:nvSpPr>
            <p:spPr bwMode="auto">
              <a:xfrm>
                <a:off x="3812" y="1309"/>
                <a:ext cx="9" cy="5"/>
              </a:xfrm>
              <a:custGeom>
                <a:avLst/>
                <a:gdLst>
                  <a:gd name="T0" fmla="*/ 2 w 4"/>
                  <a:gd name="T1" fmla="*/ 0 h 2"/>
                  <a:gd name="T2" fmla="*/ 4 w 4"/>
                  <a:gd name="T3" fmla="*/ 2 h 2"/>
                  <a:gd name="T4" fmla="*/ 2 w 4"/>
                  <a:gd name="T5" fmla="*/ 0 h 2"/>
                </a:gdLst>
                <a:ahLst/>
                <a:cxnLst>
                  <a:cxn ang="0">
                    <a:pos x="T0" y="T1"/>
                  </a:cxn>
                  <a:cxn ang="0">
                    <a:pos x="T2" y="T3"/>
                  </a:cxn>
                  <a:cxn ang="0">
                    <a:pos x="T4" y="T5"/>
                  </a:cxn>
                </a:cxnLst>
                <a:rect l="0" t="0" r="r" b="b"/>
                <a:pathLst>
                  <a:path w="4" h="2">
                    <a:moveTo>
                      <a:pt x="2" y="0"/>
                    </a:moveTo>
                    <a:cubicBezTo>
                      <a:pt x="0" y="1"/>
                      <a:pt x="3" y="2"/>
                      <a:pt x="4" y="2"/>
                    </a:cubicBezTo>
                    <a:cubicBezTo>
                      <a:pt x="3" y="1"/>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9" name="Freeform 2538">
                <a:extLst>
                  <a:ext uri="{FF2B5EF4-FFF2-40B4-BE49-F238E27FC236}">
                    <a16:creationId xmlns:a16="http://schemas.microsoft.com/office/drawing/2014/main" id="{B54B7392-844E-41EA-A06D-FFE05C5E2210}"/>
                  </a:ext>
                </a:extLst>
              </p:cNvPr>
              <p:cNvSpPr>
                <a:spLocks/>
              </p:cNvSpPr>
              <p:nvPr/>
            </p:nvSpPr>
            <p:spPr bwMode="auto">
              <a:xfrm>
                <a:off x="3729" y="1335"/>
                <a:ext cx="5" cy="0"/>
              </a:xfrm>
              <a:custGeom>
                <a:avLst/>
                <a:gdLst>
                  <a:gd name="T0" fmla="*/ 0 w 2"/>
                  <a:gd name="T1" fmla="*/ 2 w 2"/>
                  <a:gd name="T2" fmla="*/ 0 w 2"/>
                  <a:gd name="T3" fmla="*/ 0 w 2"/>
                </a:gdLst>
                <a:ahLst/>
                <a:cxnLst>
                  <a:cxn ang="0">
                    <a:pos x="T0" y="0"/>
                  </a:cxn>
                  <a:cxn ang="0">
                    <a:pos x="T1" y="0"/>
                  </a:cxn>
                  <a:cxn ang="0">
                    <a:pos x="T2" y="0"/>
                  </a:cxn>
                  <a:cxn ang="0">
                    <a:pos x="T3" y="0"/>
                  </a:cxn>
                </a:cxnLst>
                <a:rect l="0" t="0" r="r" b="b"/>
                <a:pathLst>
                  <a:path w="2">
                    <a:moveTo>
                      <a:pt x="0" y="0"/>
                    </a:moveTo>
                    <a:cubicBezTo>
                      <a:pt x="1" y="0"/>
                      <a:pt x="1" y="0"/>
                      <a:pt x="2" y="0"/>
                    </a:cubicBezTo>
                    <a:cubicBezTo>
                      <a:pt x="1"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0" name="Freeform 2539">
                <a:extLst>
                  <a:ext uri="{FF2B5EF4-FFF2-40B4-BE49-F238E27FC236}">
                    <a16:creationId xmlns:a16="http://schemas.microsoft.com/office/drawing/2014/main" id="{DD6ACDA4-8B11-40DD-B03E-A921F02DA017}"/>
                  </a:ext>
                </a:extLst>
              </p:cNvPr>
              <p:cNvSpPr>
                <a:spLocks/>
              </p:cNvSpPr>
              <p:nvPr/>
            </p:nvSpPr>
            <p:spPr bwMode="auto">
              <a:xfrm>
                <a:off x="3866" y="1305"/>
                <a:ext cx="16" cy="16"/>
              </a:xfrm>
              <a:custGeom>
                <a:avLst/>
                <a:gdLst>
                  <a:gd name="T0" fmla="*/ 2 w 7"/>
                  <a:gd name="T1" fmla="*/ 2 h 7"/>
                  <a:gd name="T2" fmla="*/ 2 w 7"/>
                  <a:gd name="T3" fmla="*/ 2 h 7"/>
                  <a:gd name="T4" fmla="*/ 2 w 7"/>
                  <a:gd name="T5" fmla="*/ 2 h 7"/>
                  <a:gd name="T6" fmla="*/ 0 w 7"/>
                  <a:gd name="T7" fmla="*/ 2 h 7"/>
                  <a:gd name="T8" fmla="*/ 3 w 7"/>
                  <a:gd name="T9" fmla="*/ 7 h 7"/>
                  <a:gd name="T10" fmla="*/ 5 w 7"/>
                  <a:gd name="T11" fmla="*/ 5 h 7"/>
                  <a:gd name="T12" fmla="*/ 6 w 7"/>
                  <a:gd name="T13" fmla="*/ 6 h 7"/>
                  <a:gd name="T14" fmla="*/ 6 w 7"/>
                  <a:gd name="T15" fmla="*/ 5 h 7"/>
                  <a:gd name="T16" fmla="*/ 5 w 7"/>
                  <a:gd name="T17" fmla="*/ 3 h 7"/>
                  <a:gd name="T18" fmla="*/ 5 w 7"/>
                  <a:gd name="T19" fmla="*/ 2 h 7"/>
                  <a:gd name="T20" fmla="*/ 3 w 7"/>
                  <a:gd name="T21" fmla="*/ 1 h 7"/>
                  <a:gd name="T22" fmla="*/ 3 w 7"/>
                  <a:gd name="T23" fmla="*/ 0 h 7"/>
                  <a:gd name="T24" fmla="*/ 1 w 7"/>
                  <a:gd name="T25" fmla="*/ 1 h 7"/>
                  <a:gd name="T26" fmla="*/ 2 w 7"/>
                  <a:gd name="T27" fmla="*/ 1 h 7"/>
                  <a:gd name="T28" fmla="*/ 3 w 7"/>
                  <a:gd name="T29" fmla="*/ 2 h 7"/>
                  <a:gd name="T30" fmla="*/ 2 w 7"/>
                  <a:gd name="T3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2" y="2"/>
                    </a:moveTo>
                    <a:cubicBezTo>
                      <a:pt x="2" y="2"/>
                      <a:pt x="2" y="2"/>
                      <a:pt x="2" y="2"/>
                    </a:cubicBezTo>
                    <a:cubicBezTo>
                      <a:pt x="2" y="2"/>
                      <a:pt x="2" y="2"/>
                      <a:pt x="2" y="2"/>
                    </a:cubicBezTo>
                    <a:cubicBezTo>
                      <a:pt x="2" y="2"/>
                      <a:pt x="0" y="2"/>
                      <a:pt x="0" y="2"/>
                    </a:cubicBezTo>
                    <a:cubicBezTo>
                      <a:pt x="0" y="5"/>
                      <a:pt x="0" y="5"/>
                      <a:pt x="3" y="7"/>
                    </a:cubicBezTo>
                    <a:cubicBezTo>
                      <a:pt x="3" y="5"/>
                      <a:pt x="3" y="5"/>
                      <a:pt x="5" y="5"/>
                    </a:cubicBezTo>
                    <a:cubicBezTo>
                      <a:pt x="5" y="5"/>
                      <a:pt x="6" y="5"/>
                      <a:pt x="6" y="6"/>
                    </a:cubicBezTo>
                    <a:cubicBezTo>
                      <a:pt x="6" y="5"/>
                      <a:pt x="6" y="5"/>
                      <a:pt x="6" y="5"/>
                    </a:cubicBezTo>
                    <a:cubicBezTo>
                      <a:pt x="6" y="4"/>
                      <a:pt x="4" y="4"/>
                      <a:pt x="5" y="3"/>
                    </a:cubicBezTo>
                    <a:cubicBezTo>
                      <a:pt x="5" y="2"/>
                      <a:pt x="7" y="2"/>
                      <a:pt x="5" y="2"/>
                    </a:cubicBezTo>
                    <a:cubicBezTo>
                      <a:pt x="4" y="1"/>
                      <a:pt x="3" y="2"/>
                      <a:pt x="3" y="1"/>
                    </a:cubicBezTo>
                    <a:cubicBezTo>
                      <a:pt x="2" y="1"/>
                      <a:pt x="3" y="0"/>
                      <a:pt x="3" y="0"/>
                    </a:cubicBezTo>
                    <a:cubicBezTo>
                      <a:pt x="3" y="0"/>
                      <a:pt x="1" y="0"/>
                      <a:pt x="1" y="1"/>
                    </a:cubicBezTo>
                    <a:cubicBezTo>
                      <a:pt x="2" y="0"/>
                      <a:pt x="2" y="1"/>
                      <a:pt x="2" y="1"/>
                    </a:cubicBezTo>
                    <a:cubicBezTo>
                      <a:pt x="3" y="1"/>
                      <a:pt x="3" y="1"/>
                      <a:pt x="3" y="2"/>
                    </a:cubicBezTo>
                    <a:cubicBezTo>
                      <a:pt x="3"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1" name="Freeform 2540">
                <a:extLst>
                  <a:ext uri="{FF2B5EF4-FFF2-40B4-BE49-F238E27FC236}">
                    <a16:creationId xmlns:a16="http://schemas.microsoft.com/office/drawing/2014/main" id="{94640B39-FC6E-4BC8-9FD6-A81FDC93F89A}"/>
                  </a:ext>
                </a:extLst>
              </p:cNvPr>
              <p:cNvSpPr>
                <a:spLocks/>
              </p:cNvSpPr>
              <p:nvPr/>
            </p:nvSpPr>
            <p:spPr bwMode="auto">
              <a:xfrm>
                <a:off x="3495" y="1548"/>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2" name="Freeform 2541">
                <a:extLst>
                  <a:ext uri="{FF2B5EF4-FFF2-40B4-BE49-F238E27FC236}">
                    <a16:creationId xmlns:a16="http://schemas.microsoft.com/office/drawing/2014/main" id="{4E9C6CDB-B505-419E-8E77-891E3ECB1B72}"/>
                  </a:ext>
                </a:extLst>
              </p:cNvPr>
              <p:cNvSpPr>
                <a:spLocks/>
              </p:cNvSpPr>
              <p:nvPr/>
            </p:nvSpPr>
            <p:spPr bwMode="auto">
              <a:xfrm>
                <a:off x="4795" y="3985"/>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2" y="1"/>
                      <a:pt x="1" y="0"/>
                      <a:pt x="0" y="0"/>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3" name="Freeform 2542">
                <a:extLst>
                  <a:ext uri="{FF2B5EF4-FFF2-40B4-BE49-F238E27FC236}">
                    <a16:creationId xmlns:a16="http://schemas.microsoft.com/office/drawing/2014/main" id="{EF560FB6-F8A0-4F6B-B620-E20367B8E43F}"/>
                  </a:ext>
                </a:extLst>
              </p:cNvPr>
              <p:cNvSpPr>
                <a:spLocks/>
              </p:cNvSpPr>
              <p:nvPr/>
            </p:nvSpPr>
            <p:spPr bwMode="auto">
              <a:xfrm>
                <a:off x="4760" y="3976"/>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4" name="Freeform 2543">
                <a:extLst>
                  <a:ext uri="{FF2B5EF4-FFF2-40B4-BE49-F238E27FC236}">
                    <a16:creationId xmlns:a16="http://schemas.microsoft.com/office/drawing/2014/main" id="{50295B0D-FC2C-4C1F-A76B-2FD373086DDC}"/>
                  </a:ext>
                </a:extLst>
              </p:cNvPr>
              <p:cNvSpPr>
                <a:spLocks/>
              </p:cNvSpPr>
              <p:nvPr/>
            </p:nvSpPr>
            <p:spPr bwMode="auto">
              <a:xfrm>
                <a:off x="3471" y="1539"/>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5" name="Freeform 2544">
                <a:extLst>
                  <a:ext uri="{FF2B5EF4-FFF2-40B4-BE49-F238E27FC236}">
                    <a16:creationId xmlns:a16="http://schemas.microsoft.com/office/drawing/2014/main" id="{C89F20AC-3780-4329-BE8F-5E0DD3621146}"/>
                  </a:ext>
                </a:extLst>
              </p:cNvPr>
              <p:cNvSpPr>
                <a:spLocks/>
              </p:cNvSpPr>
              <p:nvPr/>
            </p:nvSpPr>
            <p:spPr bwMode="auto">
              <a:xfrm>
                <a:off x="3514" y="1572"/>
                <a:ext cx="4" cy="2"/>
              </a:xfrm>
              <a:custGeom>
                <a:avLst/>
                <a:gdLst>
                  <a:gd name="T0" fmla="*/ 0 w 2"/>
                  <a:gd name="T1" fmla="*/ 1 h 1"/>
                  <a:gd name="T2" fmla="*/ 2 w 2"/>
                  <a:gd name="T3" fmla="*/ 1 h 1"/>
                  <a:gd name="T4" fmla="*/ 0 w 2"/>
                  <a:gd name="T5" fmla="*/ 1 h 1"/>
                </a:gdLst>
                <a:ahLst/>
                <a:cxnLst>
                  <a:cxn ang="0">
                    <a:pos x="T0" y="T1"/>
                  </a:cxn>
                  <a:cxn ang="0">
                    <a:pos x="T2" y="T3"/>
                  </a:cxn>
                  <a:cxn ang="0">
                    <a:pos x="T4" y="T5"/>
                  </a:cxn>
                </a:cxnLst>
                <a:rect l="0" t="0" r="r" b="b"/>
                <a:pathLst>
                  <a:path w="2" h="1">
                    <a:moveTo>
                      <a:pt x="0" y="1"/>
                    </a:moveTo>
                    <a:cubicBezTo>
                      <a:pt x="0" y="1"/>
                      <a:pt x="1" y="1"/>
                      <a:pt x="2" y="1"/>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6" name="Freeform 2545">
                <a:extLst>
                  <a:ext uri="{FF2B5EF4-FFF2-40B4-BE49-F238E27FC236}">
                    <a16:creationId xmlns:a16="http://schemas.microsoft.com/office/drawing/2014/main" id="{CCBB021E-F29B-4FB7-BAD5-8077D960FCD2}"/>
                  </a:ext>
                </a:extLst>
              </p:cNvPr>
              <p:cNvSpPr>
                <a:spLocks/>
              </p:cNvSpPr>
              <p:nvPr/>
            </p:nvSpPr>
            <p:spPr bwMode="auto">
              <a:xfrm>
                <a:off x="3516" y="1579"/>
                <a:ext cx="5"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7" name="Freeform 2546">
                <a:extLst>
                  <a:ext uri="{FF2B5EF4-FFF2-40B4-BE49-F238E27FC236}">
                    <a16:creationId xmlns:a16="http://schemas.microsoft.com/office/drawing/2014/main" id="{9440872C-4069-4BD6-B88A-B9B775DE586F}"/>
                  </a:ext>
                </a:extLst>
              </p:cNvPr>
              <p:cNvSpPr>
                <a:spLocks/>
              </p:cNvSpPr>
              <p:nvPr/>
            </p:nvSpPr>
            <p:spPr bwMode="auto">
              <a:xfrm>
                <a:off x="3755" y="1669"/>
                <a:ext cx="26" cy="47"/>
              </a:xfrm>
              <a:custGeom>
                <a:avLst/>
                <a:gdLst>
                  <a:gd name="T0" fmla="*/ 7 w 11"/>
                  <a:gd name="T1" fmla="*/ 4 h 20"/>
                  <a:gd name="T2" fmla="*/ 1 w 11"/>
                  <a:gd name="T3" fmla="*/ 8 h 20"/>
                  <a:gd name="T4" fmla="*/ 1 w 11"/>
                  <a:gd name="T5" fmla="*/ 13 h 20"/>
                  <a:gd name="T6" fmla="*/ 2 w 11"/>
                  <a:gd name="T7" fmla="*/ 14 h 20"/>
                  <a:gd name="T8" fmla="*/ 1 w 11"/>
                  <a:gd name="T9" fmla="*/ 15 h 20"/>
                  <a:gd name="T10" fmla="*/ 3 w 11"/>
                  <a:gd name="T11" fmla="*/ 16 h 20"/>
                  <a:gd name="T12" fmla="*/ 7 w 11"/>
                  <a:gd name="T13" fmla="*/ 20 h 20"/>
                  <a:gd name="T14" fmla="*/ 10 w 11"/>
                  <a:gd name="T15" fmla="*/ 9 h 20"/>
                  <a:gd name="T16" fmla="*/ 10 w 11"/>
                  <a:gd name="T17" fmla="*/ 5 h 20"/>
                  <a:gd name="T18" fmla="*/ 8 w 11"/>
                  <a:gd name="T19" fmla="*/ 0 h 20"/>
                  <a:gd name="T20" fmla="*/ 7 w 11"/>
                  <a:gd name="T21"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0">
                    <a:moveTo>
                      <a:pt x="7" y="4"/>
                    </a:moveTo>
                    <a:cubicBezTo>
                      <a:pt x="4" y="4"/>
                      <a:pt x="3" y="6"/>
                      <a:pt x="1" y="8"/>
                    </a:cubicBezTo>
                    <a:cubicBezTo>
                      <a:pt x="0" y="8"/>
                      <a:pt x="2" y="12"/>
                      <a:pt x="1" y="13"/>
                    </a:cubicBezTo>
                    <a:cubicBezTo>
                      <a:pt x="2" y="13"/>
                      <a:pt x="3" y="13"/>
                      <a:pt x="2" y="14"/>
                    </a:cubicBezTo>
                    <a:cubicBezTo>
                      <a:pt x="2" y="15"/>
                      <a:pt x="2" y="15"/>
                      <a:pt x="1" y="15"/>
                    </a:cubicBezTo>
                    <a:cubicBezTo>
                      <a:pt x="2" y="16"/>
                      <a:pt x="2" y="16"/>
                      <a:pt x="3" y="16"/>
                    </a:cubicBezTo>
                    <a:cubicBezTo>
                      <a:pt x="2" y="19"/>
                      <a:pt x="5" y="19"/>
                      <a:pt x="7" y="20"/>
                    </a:cubicBezTo>
                    <a:cubicBezTo>
                      <a:pt x="8" y="17"/>
                      <a:pt x="9" y="13"/>
                      <a:pt x="10" y="9"/>
                    </a:cubicBezTo>
                    <a:cubicBezTo>
                      <a:pt x="11" y="8"/>
                      <a:pt x="10" y="6"/>
                      <a:pt x="10" y="5"/>
                    </a:cubicBezTo>
                    <a:cubicBezTo>
                      <a:pt x="10" y="3"/>
                      <a:pt x="10" y="0"/>
                      <a:pt x="8" y="0"/>
                    </a:cubicBezTo>
                    <a:cubicBezTo>
                      <a:pt x="8" y="2"/>
                      <a:pt x="9" y="4"/>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8" name="Freeform 2547">
                <a:extLst>
                  <a:ext uri="{FF2B5EF4-FFF2-40B4-BE49-F238E27FC236}">
                    <a16:creationId xmlns:a16="http://schemas.microsoft.com/office/drawing/2014/main" id="{0D837B5C-167A-4FD4-92EB-ADFDA176E29A}"/>
                  </a:ext>
                </a:extLst>
              </p:cNvPr>
              <p:cNvSpPr>
                <a:spLocks/>
              </p:cNvSpPr>
              <p:nvPr/>
            </p:nvSpPr>
            <p:spPr bwMode="auto">
              <a:xfrm>
                <a:off x="3379" y="1033"/>
                <a:ext cx="12" cy="11"/>
              </a:xfrm>
              <a:custGeom>
                <a:avLst/>
                <a:gdLst>
                  <a:gd name="T0" fmla="*/ 1 w 5"/>
                  <a:gd name="T1" fmla="*/ 3 h 5"/>
                  <a:gd name="T2" fmla="*/ 3 w 5"/>
                  <a:gd name="T3" fmla="*/ 3 h 5"/>
                  <a:gd name="T4" fmla="*/ 4 w 5"/>
                  <a:gd name="T5" fmla="*/ 5 h 5"/>
                  <a:gd name="T6" fmla="*/ 4 w 5"/>
                  <a:gd name="T7" fmla="*/ 3 h 5"/>
                  <a:gd name="T8" fmla="*/ 4 w 5"/>
                  <a:gd name="T9" fmla="*/ 3 h 5"/>
                  <a:gd name="T10" fmla="*/ 0 w 5"/>
                  <a:gd name="T11" fmla="*/ 1 h 5"/>
                  <a:gd name="T12" fmla="*/ 1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1" y="3"/>
                    </a:moveTo>
                    <a:cubicBezTo>
                      <a:pt x="2" y="4"/>
                      <a:pt x="2" y="3"/>
                      <a:pt x="3" y="3"/>
                    </a:cubicBezTo>
                    <a:cubicBezTo>
                      <a:pt x="3" y="3"/>
                      <a:pt x="4" y="5"/>
                      <a:pt x="4" y="5"/>
                    </a:cubicBezTo>
                    <a:cubicBezTo>
                      <a:pt x="5" y="4"/>
                      <a:pt x="5" y="4"/>
                      <a:pt x="4" y="3"/>
                    </a:cubicBezTo>
                    <a:cubicBezTo>
                      <a:pt x="4" y="3"/>
                      <a:pt x="4" y="3"/>
                      <a:pt x="4" y="3"/>
                    </a:cubicBezTo>
                    <a:cubicBezTo>
                      <a:pt x="3" y="2"/>
                      <a:pt x="2" y="0"/>
                      <a:pt x="0" y="1"/>
                    </a:cubicBezTo>
                    <a:cubicBezTo>
                      <a:pt x="0" y="2"/>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9" name="Freeform 2548">
                <a:extLst>
                  <a:ext uri="{FF2B5EF4-FFF2-40B4-BE49-F238E27FC236}">
                    <a16:creationId xmlns:a16="http://schemas.microsoft.com/office/drawing/2014/main" id="{99050029-C5E7-4A7E-A2C4-B57459D536C2}"/>
                  </a:ext>
                </a:extLst>
              </p:cNvPr>
              <p:cNvSpPr>
                <a:spLocks/>
              </p:cNvSpPr>
              <p:nvPr/>
            </p:nvSpPr>
            <p:spPr bwMode="auto">
              <a:xfrm>
                <a:off x="3381" y="1049"/>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2"/>
                      <a:pt x="3" y="3"/>
                    </a:cubicBezTo>
                    <a:cubicBezTo>
                      <a:pt x="3" y="1"/>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0" name="Freeform 2549">
                <a:extLst>
                  <a:ext uri="{FF2B5EF4-FFF2-40B4-BE49-F238E27FC236}">
                    <a16:creationId xmlns:a16="http://schemas.microsoft.com/office/drawing/2014/main" id="{CFE4F6B0-1434-4A0A-83F7-FB7F9A4F0ACB}"/>
                  </a:ext>
                </a:extLst>
              </p:cNvPr>
              <p:cNvSpPr>
                <a:spLocks/>
              </p:cNvSpPr>
              <p:nvPr/>
            </p:nvSpPr>
            <p:spPr bwMode="auto">
              <a:xfrm>
                <a:off x="3381" y="1061"/>
                <a:ext cx="7" cy="9"/>
              </a:xfrm>
              <a:custGeom>
                <a:avLst/>
                <a:gdLst>
                  <a:gd name="T0" fmla="*/ 3 w 3"/>
                  <a:gd name="T1" fmla="*/ 4 h 4"/>
                  <a:gd name="T2" fmla="*/ 0 w 3"/>
                  <a:gd name="T3" fmla="*/ 0 h 4"/>
                  <a:gd name="T4" fmla="*/ 3 w 3"/>
                  <a:gd name="T5" fmla="*/ 4 h 4"/>
                </a:gdLst>
                <a:ahLst/>
                <a:cxnLst>
                  <a:cxn ang="0">
                    <a:pos x="T0" y="T1"/>
                  </a:cxn>
                  <a:cxn ang="0">
                    <a:pos x="T2" y="T3"/>
                  </a:cxn>
                  <a:cxn ang="0">
                    <a:pos x="T4" y="T5"/>
                  </a:cxn>
                </a:cxnLst>
                <a:rect l="0" t="0" r="r" b="b"/>
                <a:pathLst>
                  <a:path w="3" h="4">
                    <a:moveTo>
                      <a:pt x="3" y="4"/>
                    </a:moveTo>
                    <a:cubicBezTo>
                      <a:pt x="2" y="1"/>
                      <a:pt x="2" y="0"/>
                      <a:pt x="0" y="0"/>
                    </a:cubicBezTo>
                    <a:cubicBezTo>
                      <a:pt x="0" y="2"/>
                      <a:pt x="2" y="2"/>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1" name="Freeform 2550">
                <a:extLst>
                  <a:ext uri="{FF2B5EF4-FFF2-40B4-BE49-F238E27FC236}">
                    <a16:creationId xmlns:a16="http://schemas.microsoft.com/office/drawing/2014/main" id="{44531D54-6F06-46B6-9D96-9A91B451046D}"/>
                  </a:ext>
                </a:extLst>
              </p:cNvPr>
              <p:cNvSpPr>
                <a:spLocks/>
              </p:cNvSpPr>
              <p:nvPr/>
            </p:nvSpPr>
            <p:spPr bwMode="auto">
              <a:xfrm>
                <a:off x="3391" y="1033"/>
                <a:ext cx="4" cy="7"/>
              </a:xfrm>
              <a:custGeom>
                <a:avLst/>
                <a:gdLst>
                  <a:gd name="T0" fmla="*/ 1 w 2"/>
                  <a:gd name="T1" fmla="*/ 1 h 3"/>
                  <a:gd name="T2" fmla="*/ 0 w 2"/>
                  <a:gd name="T3" fmla="*/ 0 h 3"/>
                  <a:gd name="T4" fmla="*/ 0 w 2"/>
                  <a:gd name="T5" fmla="*/ 3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1"/>
                      <a:pt x="0" y="0"/>
                    </a:cubicBezTo>
                    <a:cubicBezTo>
                      <a:pt x="0" y="1"/>
                      <a:pt x="0" y="2"/>
                      <a:pt x="0" y="3"/>
                    </a:cubicBezTo>
                    <a:cubicBezTo>
                      <a:pt x="2" y="3"/>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2" name="Freeform 2551">
                <a:extLst>
                  <a:ext uri="{FF2B5EF4-FFF2-40B4-BE49-F238E27FC236}">
                    <a16:creationId xmlns:a16="http://schemas.microsoft.com/office/drawing/2014/main" id="{E5E45E41-2C47-4E7A-8A00-5E44890AECE2}"/>
                  </a:ext>
                </a:extLst>
              </p:cNvPr>
              <p:cNvSpPr>
                <a:spLocks/>
              </p:cNvSpPr>
              <p:nvPr/>
            </p:nvSpPr>
            <p:spPr bwMode="auto">
              <a:xfrm>
                <a:off x="3369" y="1042"/>
                <a:ext cx="12" cy="5"/>
              </a:xfrm>
              <a:custGeom>
                <a:avLst/>
                <a:gdLst>
                  <a:gd name="T0" fmla="*/ 2 w 5"/>
                  <a:gd name="T1" fmla="*/ 2 h 2"/>
                  <a:gd name="T2" fmla="*/ 2 w 5"/>
                  <a:gd name="T3" fmla="*/ 0 h 2"/>
                  <a:gd name="T4" fmla="*/ 0 w 5"/>
                  <a:gd name="T5" fmla="*/ 0 h 2"/>
                  <a:gd name="T6" fmla="*/ 2 w 5"/>
                  <a:gd name="T7" fmla="*/ 2 h 2"/>
                </a:gdLst>
                <a:ahLst/>
                <a:cxnLst>
                  <a:cxn ang="0">
                    <a:pos x="T0" y="T1"/>
                  </a:cxn>
                  <a:cxn ang="0">
                    <a:pos x="T2" y="T3"/>
                  </a:cxn>
                  <a:cxn ang="0">
                    <a:pos x="T4" y="T5"/>
                  </a:cxn>
                  <a:cxn ang="0">
                    <a:pos x="T6" y="T7"/>
                  </a:cxn>
                </a:cxnLst>
                <a:rect l="0" t="0" r="r" b="b"/>
                <a:pathLst>
                  <a:path w="5" h="2">
                    <a:moveTo>
                      <a:pt x="2" y="2"/>
                    </a:moveTo>
                    <a:cubicBezTo>
                      <a:pt x="4" y="1"/>
                      <a:pt x="5" y="0"/>
                      <a:pt x="2" y="0"/>
                    </a:cubicBezTo>
                    <a:cubicBezTo>
                      <a:pt x="2" y="0"/>
                      <a:pt x="1" y="0"/>
                      <a:pt x="0" y="0"/>
                    </a:cubicBezTo>
                    <a:cubicBezTo>
                      <a:pt x="1"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3" name="Freeform 2552">
                <a:extLst>
                  <a:ext uri="{FF2B5EF4-FFF2-40B4-BE49-F238E27FC236}">
                    <a16:creationId xmlns:a16="http://schemas.microsoft.com/office/drawing/2014/main" id="{A5159702-D208-4CCE-8E1B-A40E19CEEA3B}"/>
                  </a:ext>
                </a:extLst>
              </p:cNvPr>
              <p:cNvSpPr>
                <a:spLocks/>
              </p:cNvSpPr>
              <p:nvPr/>
            </p:nvSpPr>
            <p:spPr bwMode="auto">
              <a:xfrm>
                <a:off x="3369" y="1035"/>
                <a:ext cx="17" cy="14"/>
              </a:xfrm>
              <a:custGeom>
                <a:avLst/>
                <a:gdLst>
                  <a:gd name="T0" fmla="*/ 7 w 7"/>
                  <a:gd name="T1" fmla="*/ 6 h 6"/>
                  <a:gd name="T2" fmla="*/ 7 w 7"/>
                  <a:gd name="T3" fmla="*/ 4 h 6"/>
                  <a:gd name="T4" fmla="*/ 6 w 7"/>
                  <a:gd name="T5" fmla="*/ 4 h 6"/>
                  <a:gd name="T6" fmla="*/ 5 w 7"/>
                  <a:gd name="T7" fmla="*/ 3 h 6"/>
                  <a:gd name="T8" fmla="*/ 5 w 7"/>
                  <a:gd name="T9" fmla="*/ 2 h 6"/>
                  <a:gd name="T10" fmla="*/ 4 w 7"/>
                  <a:gd name="T11" fmla="*/ 1 h 6"/>
                  <a:gd name="T12" fmla="*/ 2 w 7"/>
                  <a:gd name="T13" fmla="*/ 0 h 6"/>
                  <a:gd name="T14" fmla="*/ 7 w 7"/>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7" y="6"/>
                    </a:moveTo>
                    <a:cubicBezTo>
                      <a:pt x="7" y="5"/>
                      <a:pt x="7" y="5"/>
                      <a:pt x="7" y="4"/>
                    </a:cubicBezTo>
                    <a:cubicBezTo>
                      <a:pt x="7" y="4"/>
                      <a:pt x="6" y="4"/>
                      <a:pt x="6" y="4"/>
                    </a:cubicBezTo>
                    <a:cubicBezTo>
                      <a:pt x="6" y="4"/>
                      <a:pt x="7" y="3"/>
                      <a:pt x="5" y="3"/>
                    </a:cubicBezTo>
                    <a:cubicBezTo>
                      <a:pt x="6" y="2"/>
                      <a:pt x="5" y="3"/>
                      <a:pt x="5" y="2"/>
                    </a:cubicBezTo>
                    <a:cubicBezTo>
                      <a:pt x="4" y="2"/>
                      <a:pt x="4" y="1"/>
                      <a:pt x="4" y="1"/>
                    </a:cubicBezTo>
                    <a:cubicBezTo>
                      <a:pt x="4" y="1"/>
                      <a:pt x="3" y="0"/>
                      <a:pt x="2" y="0"/>
                    </a:cubicBezTo>
                    <a:cubicBezTo>
                      <a:pt x="0" y="2"/>
                      <a:pt x="7" y="6"/>
                      <a:pt x="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4" name="Freeform 2553">
                <a:extLst>
                  <a:ext uri="{FF2B5EF4-FFF2-40B4-BE49-F238E27FC236}">
                    <a16:creationId xmlns:a16="http://schemas.microsoft.com/office/drawing/2014/main" id="{99A80C1B-7557-47F7-BB6E-950F86BD2139}"/>
                  </a:ext>
                </a:extLst>
              </p:cNvPr>
              <p:cNvSpPr>
                <a:spLocks/>
              </p:cNvSpPr>
              <p:nvPr/>
            </p:nvSpPr>
            <p:spPr bwMode="auto">
              <a:xfrm>
                <a:off x="6883" y="2547"/>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5" name="Freeform 2554">
                <a:extLst>
                  <a:ext uri="{FF2B5EF4-FFF2-40B4-BE49-F238E27FC236}">
                    <a16:creationId xmlns:a16="http://schemas.microsoft.com/office/drawing/2014/main" id="{0C3713DA-9174-4809-B5A7-5DF0049CCE5F}"/>
                  </a:ext>
                </a:extLst>
              </p:cNvPr>
              <p:cNvSpPr>
                <a:spLocks/>
              </p:cNvSpPr>
              <p:nvPr/>
            </p:nvSpPr>
            <p:spPr bwMode="auto">
              <a:xfrm>
                <a:off x="7483" y="2646"/>
                <a:ext cx="3" cy="5"/>
              </a:xfrm>
              <a:custGeom>
                <a:avLst/>
                <a:gdLst>
                  <a:gd name="T0" fmla="*/ 1 w 1"/>
                  <a:gd name="T1" fmla="*/ 2 h 2"/>
                  <a:gd name="T2" fmla="*/ 1 w 1"/>
                  <a:gd name="T3" fmla="*/ 0 h 2"/>
                  <a:gd name="T4" fmla="*/ 0 w 1"/>
                  <a:gd name="T5" fmla="*/ 1 h 2"/>
                  <a:gd name="T6" fmla="*/ 1 w 1"/>
                  <a:gd name="T7" fmla="*/ 2 h 2"/>
                </a:gdLst>
                <a:ahLst/>
                <a:cxnLst>
                  <a:cxn ang="0">
                    <a:pos x="T0" y="T1"/>
                  </a:cxn>
                  <a:cxn ang="0">
                    <a:pos x="T2" y="T3"/>
                  </a:cxn>
                  <a:cxn ang="0">
                    <a:pos x="T4" y="T5"/>
                  </a:cxn>
                  <a:cxn ang="0">
                    <a:pos x="T6" y="T7"/>
                  </a:cxn>
                </a:cxnLst>
                <a:rect l="0" t="0" r="r" b="b"/>
                <a:pathLst>
                  <a:path w="1" h="2">
                    <a:moveTo>
                      <a:pt x="1" y="2"/>
                    </a:moveTo>
                    <a:cubicBezTo>
                      <a:pt x="1" y="1"/>
                      <a:pt x="1" y="1"/>
                      <a:pt x="1" y="0"/>
                    </a:cubicBezTo>
                    <a:cubicBezTo>
                      <a:pt x="1" y="1"/>
                      <a:pt x="0" y="1"/>
                      <a:pt x="0" y="1"/>
                    </a:cubicBezTo>
                    <a:cubicBezTo>
                      <a:pt x="0" y="1"/>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6" name="Freeform 2555">
                <a:extLst>
                  <a:ext uri="{FF2B5EF4-FFF2-40B4-BE49-F238E27FC236}">
                    <a16:creationId xmlns:a16="http://schemas.microsoft.com/office/drawing/2014/main" id="{06A828BC-1056-47FF-9752-E5E495E1BC8B}"/>
                  </a:ext>
                </a:extLst>
              </p:cNvPr>
              <p:cNvSpPr>
                <a:spLocks/>
              </p:cNvSpPr>
              <p:nvPr/>
            </p:nvSpPr>
            <p:spPr bwMode="auto">
              <a:xfrm>
                <a:off x="7370" y="2608"/>
                <a:ext cx="5" cy="5"/>
              </a:xfrm>
              <a:custGeom>
                <a:avLst/>
                <a:gdLst>
                  <a:gd name="T0" fmla="*/ 1 w 2"/>
                  <a:gd name="T1" fmla="*/ 1 h 2"/>
                  <a:gd name="T2" fmla="*/ 0 w 2"/>
                  <a:gd name="T3" fmla="*/ 0 h 2"/>
                  <a:gd name="T4" fmla="*/ 0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0" y="0"/>
                      <a:pt x="0" y="0"/>
                    </a:cubicBezTo>
                    <a:cubicBezTo>
                      <a:pt x="0" y="1"/>
                      <a:pt x="0" y="1"/>
                      <a:pt x="0" y="2"/>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7" name="Freeform 2556">
                <a:extLst>
                  <a:ext uri="{FF2B5EF4-FFF2-40B4-BE49-F238E27FC236}">
                    <a16:creationId xmlns:a16="http://schemas.microsoft.com/office/drawing/2014/main" id="{FFDAE9E9-0947-41FE-B1A1-2F21619822F9}"/>
                  </a:ext>
                </a:extLst>
              </p:cNvPr>
              <p:cNvSpPr>
                <a:spLocks/>
              </p:cNvSpPr>
              <p:nvPr/>
            </p:nvSpPr>
            <p:spPr bwMode="auto">
              <a:xfrm>
                <a:off x="7838" y="3231"/>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8" name="Freeform 2557">
                <a:extLst>
                  <a:ext uri="{FF2B5EF4-FFF2-40B4-BE49-F238E27FC236}">
                    <a16:creationId xmlns:a16="http://schemas.microsoft.com/office/drawing/2014/main" id="{BE7E4368-3898-4354-82CB-409093C70C3B}"/>
                  </a:ext>
                </a:extLst>
              </p:cNvPr>
              <p:cNvSpPr>
                <a:spLocks/>
              </p:cNvSpPr>
              <p:nvPr/>
            </p:nvSpPr>
            <p:spPr bwMode="auto">
              <a:xfrm>
                <a:off x="7826" y="3200"/>
                <a:ext cx="38" cy="23"/>
              </a:xfrm>
              <a:custGeom>
                <a:avLst/>
                <a:gdLst>
                  <a:gd name="T0" fmla="*/ 15 w 16"/>
                  <a:gd name="T1" fmla="*/ 5 h 10"/>
                  <a:gd name="T2" fmla="*/ 15 w 16"/>
                  <a:gd name="T3" fmla="*/ 4 h 10"/>
                  <a:gd name="T4" fmla="*/ 15 w 16"/>
                  <a:gd name="T5" fmla="*/ 3 h 10"/>
                  <a:gd name="T6" fmla="*/ 14 w 16"/>
                  <a:gd name="T7" fmla="*/ 3 h 10"/>
                  <a:gd name="T8" fmla="*/ 11 w 16"/>
                  <a:gd name="T9" fmla="*/ 0 h 10"/>
                  <a:gd name="T10" fmla="*/ 7 w 16"/>
                  <a:gd name="T11" fmla="*/ 1 h 10"/>
                  <a:gd name="T12" fmla="*/ 2 w 16"/>
                  <a:gd name="T13" fmla="*/ 8 h 10"/>
                  <a:gd name="T14" fmla="*/ 4 w 16"/>
                  <a:gd name="T15" fmla="*/ 9 h 10"/>
                  <a:gd name="T16" fmla="*/ 7 w 16"/>
                  <a:gd name="T17" fmla="*/ 10 h 10"/>
                  <a:gd name="T18" fmla="*/ 14 w 16"/>
                  <a:gd name="T19" fmla="*/ 8 h 10"/>
                  <a:gd name="T20" fmla="*/ 16 w 16"/>
                  <a:gd name="T21" fmla="*/ 7 h 10"/>
                  <a:gd name="T22" fmla="*/ 15 w 16"/>
                  <a:gd name="T2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0">
                    <a:moveTo>
                      <a:pt x="15" y="5"/>
                    </a:moveTo>
                    <a:cubicBezTo>
                      <a:pt x="15" y="5"/>
                      <a:pt x="15" y="4"/>
                      <a:pt x="15" y="4"/>
                    </a:cubicBezTo>
                    <a:cubicBezTo>
                      <a:pt x="15" y="4"/>
                      <a:pt x="15" y="4"/>
                      <a:pt x="15" y="3"/>
                    </a:cubicBezTo>
                    <a:cubicBezTo>
                      <a:pt x="15" y="3"/>
                      <a:pt x="14" y="3"/>
                      <a:pt x="14" y="3"/>
                    </a:cubicBezTo>
                    <a:cubicBezTo>
                      <a:pt x="13" y="2"/>
                      <a:pt x="12" y="1"/>
                      <a:pt x="11" y="0"/>
                    </a:cubicBezTo>
                    <a:cubicBezTo>
                      <a:pt x="10" y="1"/>
                      <a:pt x="7" y="1"/>
                      <a:pt x="7" y="1"/>
                    </a:cubicBezTo>
                    <a:cubicBezTo>
                      <a:pt x="5" y="2"/>
                      <a:pt x="0" y="5"/>
                      <a:pt x="2" y="8"/>
                    </a:cubicBezTo>
                    <a:cubicBezTo>
                      <a:pt x="2" y="8"/>
                      <a:pt x="3" y="9"/>
                      <a:pt x="4" y="9"/>
                    </a:cubicBezTo>
                    <a:cubicBezTo>
                      <a:pt x="5" y="9"/>
                      <a:pt x="6" y="10"/>
                      <a:pt x="7" y="10"/>
                    </a:cubicBezTo>
                    <a:cubicBezTo>
                      <a:pt x="9" y="10"/>
                      <a:pt x="12" y="9"/>
                      <a:pt x="14" y="8"/>
                    </a:cubicBezTo>
                    <a:cubicBezTo>
                      <a:pt x="15" y="8"/>
                      <a:pt x="16" y="8"/>
                      <a:pt x="16" y="7"/>
                    </a:cubicBezTo>
                    <a:cubicBezTo>
                      <a:pt x="15" y="7"/>
                      <a:pt x="15" y="6"/>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9" name="Freeform 2558">
                <a:extLst>
                  <a:ext uri="{FF2B5EF4-FFF2-40B4-BE49-F238E27FC236}">
                    <a16:creationId xmlns:a16="http://schemas.microsoft.com/office/drawing/2014/main" id="{6C01440F-A9D5-458E-98BE-66C2B030E286}"/>
                  </a:ext>
                </a:extLst>
              </p:cNvPr>
              <p:cNvSpPr>
                <a:spLocks/>
              </p:cNvSpPr>
              <p:nvPr/>
            </p:nvSpPr>
            <p:spPr bwMode="auto">
              <a:xfrm>
                <a:off x="7866" y="3207"/>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0" name="Freeform 2559">
                <a:extLst>
                  <a:ext uri="{FF2B5EF4-FFF2-40B4-BE49-F238E27FC236}">
                    <a16:creationId xmlns:a16="http://schemas.microsoft.com/office/drawing/2014/main" id="{9B1AFA90-9CDD-4FF8-BEDD-396538A15565}"/>
                  </a:ext>
                </a:extLst>
              </p:cNvPr>
              <p:cNvSpPr>
                <a:spLocks/>
              </p:cNvSpPr>
              <p:nvPr/>
            </p:nvSpPr>
            <p:spPr bwMode="auto">
              <a:xfrm>
                <a:off x="7859" y="3171"/>
                <a:ext cx="36" cy="22"/>
              </a:xfrm>
              <a:custGeom>
                <a:avLst/>
                <a:gdLst>
                  <a:gd name="T0" fmla="*/ 14 w 15"/>
                  <a:gd name="T1" fmla="*/ 4 h 9"/>
                  <a:gd name="T2" fmla="*/ 10 w 15"/>
                  <a:gd name="T3" fmla="*/ 6 h 9"/>
                  <a:gd name="T4" fmla="*/ 15 w 15"/>
                  <a:gd name="T5" fmla="*/ 0 h 9"/>
                  <a:gd name="T6" fmla="*/ 14 w 15"/>
                  <a:gd name="T7" fmla="*/ 1 h 9"/>
                  <a:gd name="T8" fmla="*/ 13 w 15"/>
                  <a:gd name="T9" fmla="*/ 0 h 9"/>
                  <a:gd name="T10" fmla="*/ 12 w 15"/>
                  <a:gd name="T11" fmla="*/ 1 h 9"/>
                  <a:gd name="T12" fmla="*/ 11 w 15"/>
                  <a:gd name="T13" fmla="*/ 1 h 9"/>
                  <a:gd name="T14" fmla="*/ 11 w 15"/>
                  <a:gd name="T15" fmla="*/ 1 h 9"/>
                  <a:gd name="T16" fmla="*/ 9 w 15"/>
                  <a:gd name="T17" fmla="*/ 2 h 9"/>
                  <a:gd name="T18" fmla="*/ 6 w 15"/>
                  <a:gd name="T19" fmla="*/ 3 h 9"/>
                  <a:gd name="T20" fmla="*/ 5 w 15"/>
                  <a:gd name="T21" fmla="*/ 3 h 9"/>
                  <a:gd name="T22" fmla="*/ 4 w 15"/>
                  <a:gd name="T23" fmla="*/ 4 h 9"/>
                  <a:gd name="T24" fmla="*/ 3 w 15"/>
                  <a:gd name="T25" fmla="*/ 5 h 9"/>
                  <a:gd name="T26" fmla="*/ 2 w 15"/>
                  <a:gd name="T27" fmla="*/ 5 h 9"/>
                  <a:gd name="T28" fmla="*/ 1 w 15"/>
                  <a:gd name="T29" fmla="*/ 5 h 9"/>
                  <a:gd name="T30" fmla="*/ 1 w 15"/>
                  <a:gd name="T31" fmla="*/ 5 h 9"/>
                  <a:gd name="T32" fmla="*/ 0 w 15"/>
                  <a:gd name="T33" fmla="*/ 6 h 9"/>
                  <a:gd name="T34" fmla="*/ 2 w 15"/>
                  <a:gd name="T35" fmla="*/ 8 h 9"/>
                  <a:gd name="T36" fmla="*/ 2 w 15"/>
                  <a:gd name="T37" fmla="*/ 9 h 9"/>
                  <a:gd name="T38" fmla="*/ 5 w 15"/>
                  <a:gd name="T39" fmla="*/ 8 h 9"/>
                  <a:gd name="T40" fmla="*/ 11 w 15"/>
                  <a:gd name="T41" fmla="*/ 7 h 9"/>
                  <a:gd name="T42" fmla="*/ 14 w 15"/>
                  <a:gd name="T43" fmla="*/ 6 h 9"/>
                  <a:gd name="T44" fmla="*/ 14 w 15"/>
                  <a:gd name="T45" fmla="*/ 6 h 9"/>
                  <a:gd name="T46" fmla="*/ 14 w 15"/>
                  <a:gd name="T4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9">
                    <a:moveTo>
                      <a:pt x="14" y="4"/>
                    </a:moveTo>
                    <a:cubicBezTo>
                      <a:pt x="13" y="5"/>
                      <a:pt x="11" y="6"/>
                      <a:pt x="10" y="6"/>
                    </a:cubicBezTo>
                    <a:cubicBezTo>
                      <a:pt x="10" y="4"/>
                      <a:pt x="15" y="2"/>
                      <a:pt x="15" y="0"/>
                    </a:cubicBezTo>
                    <a:cubicBezTo>
                      <a:pt x="15" y="0"/>
                      <a:pt x="14" y="1"/>
                      <a:pt x="14" y="1"/>
                    </a:cubicBezTo>
                    <a:cubicBezTo>
                      <a:pt x="14" y="1"/>
                      <a:pt x="13" y="0"/>
                      <a:pt x="13" y="0"/>
                    </a:cubicBezTo>
                    <a:cubicBezTo>
                      <a:pt x="12" y="0"/>
                      <a:pt x="12" y="1"/>
                      <a:pt x="12" y="1"/>
                    </a:cubicBezTo>
                    <a:cubicBezTo>
                      <a:pt x="11" y="1"/>
                      <a:pt x="11" y="1"/>
                      <a:pt x="11" y="1"/>
                    </a:cubicBezTo>
                    <a:cubicBezTo>
                      <a:pt x="11" y="1"/>
                      <a:pt x="11" y="1"/>
                      <a:pt x="11" y="1"/>
                    </a:cubicBezTo>
                    <a:cubicBezTo>
                      <a:pt x="10" y="1"/>
                      <a:pt x="9" y="2"/>
                      <a:pt x="9" y="2"/>
                    </a:cubicBezTo>
                    <a:cubicBezTo>
                      <a:pt x="8" y="2"/>
                      <a:pt x="7" y="2"/>
                      <a:pt x="6" y="3"/>
                    </a:cubicBezTo>
                    <a:cubicBezTo>
                      <a:pt x="6" y="3"/>
                      <a:pt x="5" y="3"/>
                      <a:pt x="5" y="3"/>
                    </a:cubicBezTo>
                    <a:cubicBezTo>
                      <a:pt x="4" y="3"/>
                      <a:pt x="4" y="4"/>
                      <a:pt x="4" y="4"/>
                    </a:cubicBezTo>
                    <a:cubicBezTo>
                      <a:pt x="4" y="4"/>
                      <a:pt x="3" y="4"/>
                      <a:pt x="3" y="5"/>
                    </a:cubicBezTo>
                    <a:cubicBezTo>
                      <a:pt x="3" y="4"/>
                      <a:pt x="3" y="5"/>
                      <a:pt x="2" y="5"/>
                    </a:cubicBezTo>
                    <a:cubicBezTo>
                      <a:pt x="2" y="5"/>
                      <a:pt x="2" y="5"/>
                      <a:pt x="1" y="5"/>
                    </a:cubicBezTo>
                    <a:cubicBezTo>
                      <a:pt x="1" y="5"/>
                      <a:pt x="1" y="5"/>
                      <a:pt x="1" y="5"/>
                    </a:cubicBezTo>
                    <a:cubicBezTo>
                      <a:pt x="0" y="5"/>
                      <a:pt x="0" y="6"/>
                      <a:pt x="0" y="6"/>
                    </a:cubicBezTo>
                    <a:cubicBezTo>
                      <a:pt x="1" y="7"/>
                      <a:pt x="1" y="7"/>
                      <a:pt x="2" y="8"/>
                    </a:cubicBezTo>
                    <a:cubicBezTo>
                      <a:pt x="2" y="8"/>
                      <a:pt x="2" y="9"/>
                      <a:pt x="2" y="9"/>
                    </a:cubicBezTo>
                    <a:cubicBezTo>
                      <a:pt x="3" y="9"/>
                      <a:pt x="5" y="8"/>
                      <a:pt x="5" y="8"/>
                    </a:cubicBezTo>
                    <a:cubicBezTo>
                      <a:pt x="7" y="7"/>
                      <a:pt x="9" y="7"/>
                      <a:pt x="11" y="7"/>
                    </a:cubicBezTo>
                    <a:cubicBezTo>
                      <a:pt x="12" y="6"/>
                      <a:pt x="13" y="6"/>
                      <a:pt x="14" y="6"/>
                    </a:cubicBezTo>
                    <a:cubicBezTo>
                      <a:pt x="14" y="6"/>
                      <a:pt x="14" y="6"/>
                      <a:pt x="14" y="6"/>
                    </a:cubicBezTo>
                    <a:cubicBezTo>
                      <a:pt x="14" y="5"/>
                      <a:pt x="14"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1" name="Freeform 2560">
                <a:extLst>
                  <a:ext uri="{FF2B5EF4-FFF2-40B4-BE49-F238E27FC236}">
                    <a16:creationId xmlns:a16="http://schemas.microsoft.com/office/drawing/2014/main" id="{7D2E79A1-695C-4530-BFB3-4E1D5875AC4E}"/>
                  </a:ext>
                </a:extLst>
              </p:cNvPr>
              <p:cNvSpPr>
                <a:spLocks/>
              </p:cNvSpPr>
              <p:nvPr/>
            </p:nvSpPr>
            <p:spPr bwMode="auto">
              <a:xfrm>
                <a:off x="7829" y="3193"/>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1"/>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2" name="Freeform 2561">
                <a:extLst>
                  <a:ext uri="{FF2B5EF4-FFF2-40B4-BE49-F238E27FC236}">
                    <a16:creationId xmlns:a16="http://schemas.microsoft.com/office/drawing/2014/main" id="{D92C266D-19D6-4814-9FF6-953326FA3C02}"/>
                  </a:ext>
                </a:extLst>
              </p:cNvPr>
              <p:cNvSpPr>
                <a:spLocks/>
              </p:cNvSpPr>
              <p:nvPr/>
            </p:nvSpPr>
            <p:spPr bwMode="auto">
              <a:xfrm>
                <a:off x="7881" y="3197"/>
                <a:ext cx="2" cy="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1"/>
                      <a:pt x="1"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3" name="Freeform 2562">
                <a:extLst>
                  <a:ext uri="{FF2B5EF4-FFF2-40B4-BE49-F238E27FC236}">
                    <a16:creationId xmlns:a16="http://schemas.microsoft.com/office/drawing/2014/main" id="{978CC6D5-BBEE-4F30-A0B4-2D6C5122A327}"/>
                  </a:ext>
                </a:extLst>
              </p:cNvPr>
              <p:cNvSpPr>
                <a:spLocks/>
              </p:cNvSpPr>
              <p:nvPr/>
            </p:nvSpPr>
            <p:spPr bwMode="auto">
              <a:xfrm>
                <a:off x="7876" y="3212"/>
                <a:ext cx="5" cy="7"/>
              </a:xfrm>
              <a:custGeom>
                <a:avLst/>
                <a:gdLst>
                  <a:gd name="T0" fmla="*/ 2 w 2"/>
                  <a:gd name="T1" fmla="*/ 3 h 3"/>
                  <a:gd name="T2" fmla="*/ 2 w 2"/>
                  <a:gd name="T3" fmla="*/ 3 h 3"/>
                </a:gdLst>
                <a:ahLst/>
                <a:cxnLst>
                  <a:cxn ang="0">
                    <a:pos x="T0" y="T1"/>
                  </a:cxn>
                  <a:cxn ang="0">
                    <a:pos x="T2" y="T3"/>
                  </a:cxn>
                </a:cxnLst>
                <a:rect l="0" t="0" r="r" b="b"/>
                <a:pathLst>
                  <a:path w="2" h="3">
                    <a:moveTo>
                      <a:pt x="2" y="3"/>
                    </a:moveTo>
                    <a:cubicBezTo>
                      <a:pt x="2" y="2"/>
                      <a:pt x="0" y="0"/>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4" name="Freeform 2563">
                <a:extLst>
                  <a:ext uri="{FF2B5EF4-FFF2-40B4-BE49-F238E27FC236}">
                    <a16:creationId xmlns:a16="http://schemas.microsoft.com/office/drawing/2014/main" id="{C60E5B6E-23A2-4805-A48F-DBD57B11365B}"/>
                  </a:ext>
                </a:extLst>
              </p:cNvPr>
              <p:cNvSpPr>
                <a:spLocks/>
              </p:cNvSpPr>
              <p:nvPr/>
            </p:nvSpPr>
            <p:spPr bwMode="auto">
              <a:xfrm>
                <a:off x="7833" y="3186"/>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5" name="Freeform 2564">
                <a:extLst>
                  <a:ext uri="{FF2B5EF4-FFF2-40B4-BE49-F238E27FC236}">
                    <a16:creationId xmlns:a16="http://schemas.microsoft.com/office/drawing/2014/main" id="{A9A55D52-164B-4CF7-BCE7-E786920EE457}"/>
                  </a:ext>
                </a:extLst>
              </p:cNvPr>
              <p:cNvSpPr>
                <a:spLocks/>
              </p:cNvSpPr>
              <p:nvPr/>
            </p:nvSpPr>
            <p:spPr bwMode="auto">
              <a:xfrm>
                <a:off x="7847" y="3240"/>
                <a:ext cx="12" cy="7"/>
              </a:xfrm>
              <a:custGeom>
                <a:avLst/>
                <a:gdLst>
                  <a:gd name="T0" fmla="*/ 3 w 5"/>
                  <a:gd name="T1" fmla="*/ 1 h 3"/>
                  <a:gd name="T2" fmla="*/ 4 w 5"/>
                  <a:gd name="T3" fmla="*/ 1 h 3"/>
                  <a:gd name="T4" fmla="*/ 4 w 5"/>
                  <a:gd name="T5" fmla="*/ 0 h 3"/>
                  <a:gd name="T6" fmla="*/ 0 w 5"/>
                  <a:gd name="T7" fmla="*/ 2 h 3"/>
                  <a:gd name="T8" fmla="*/ 1 w 5"/>
                  <a:gd name="T9" fmla="*/ 2 h 3"/>
                  <a:gd name="T10" fmla="*/ 3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3" y="1"/>
                    </a:moveTo>
                    <a:cubicBezTo>
                      <a:pt x="3" y="1"/>
                      <a:pt x="4" y="1"/>
                      <a:pt x="4" y="1"/>
                    </a:cubicBezTo>
                    <a:cubicBezTo>
                      <a:pt x="5" y="1"/>
                      <a:pt x="5" y="0"/>
                      <a:pt x="4" y="0"/>
                    </a:cubicBezTo>
                    <a:cubicBezTo>
                      <a:pt x="2" y="0"/>
                      <a:pt x="1" y="1"/>
                      <a:pt x="0" y="2"/>
                    </a:cubicBezTo>
                    <a:cubicBezTo>
                      <a:pt x="0" y="2"/>
                      <a:pt x="0" y="2"/>
                      <a:pt x="1" y="2"/>
                    </a:cubicBezTo>
                    <a:cubicBezTo>
                      <a:pt x="3" y="3"/>
                      <a:pt x="1"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6" name="Freeform 2565">
                <a:extLst>
                  <a:ext uri="{FF2B5EF4-FFF2-40B4-BE49-F238E27FC236}">
                    <a16:creationId xmlns:a16="http://schemas.microsoft.com/office/drawing/2014/main" id="{5B8B139C-E864-4794-B284-BEF173A89DA1}"/>
                  </a:ext>
                </a:extLst>
              </p:cNvPr>
              <p:cNvSpPr>
                <a:spLocks/>
              </p:cNvSpPr>
              <p:nvPr/>
            </p:nvSpPr>
            <p:spPr bwMode="auto">
              <a:xfrm>
                <a:off x="4088" y="1106"/>
                <a:ext cx="3" cy="2"/>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1"/>
                      <a:pt x="0" y="1"/>
                    </a:cubicBezTo>
                    <a:cubicBezTo>
                      <a:pt x="1" y="1"/>
                      <a:pt x="1" y="1"/>
                      <a:pt x="1"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7" name="Freeform 2566">
                <a:extLst>
                  <a:ext uri="{FF2B5EF4-FFF2-40B4-BE49-F238E27FC236}">
                    <a16:creationId xmlns:a16="http://schemas.microsoft.com/office/drawing/2014/main" id="{37A2E9BA-6E26-41F8-91E5-4E5BD6C6EF3E}"/>
                  </a:ext>
                </a:extLst>
              </p:cNvPr>
              <p:cNvSpPr>
                <a:spLocks/>
              </p:cNvSpPr>
              <p:nvPr/>
            </p:nvSpPr>
            <p:spPr bwMode="auto">
              <a:xfrm>
                <a:off x="4074" y="1115"/>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8" name="Freeform 2567">
                <a:extLst>
                  <a:ext uri="{FF2B5EF4-FFF2-40B4-BE49-F238E27FC236}">
                    <a16:creationId xmlns:a16="http://schemas.microsoft.com/office/drawing/2014/main" id="{B98E5FC4-DFB8-4802-8F8B-90ED62200B76}"/>
                  </a:ext>
                </a:extLst>
              </p:cNvPr>
              <p:cNvSpPr>
                <a:spLocks/>
              </p:cNvSpPr>
              <p:nvPr/>
            </p:nvSpPr>
            <p:spPr bwMode="auto">
              <a:xfrm>
                <a:off x="4039" y="1113"/>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9" name="Freeform 2568">
                <a:extLst>
                  <a:ext uri="{FF2B5EF4-FFF2-40B4-BE49-F238E27FC236}">
                    <a16:creationId xmlns:a16="http://schemas.microsoft.com/office/drawing/2014/main" id="{D1D3C934-24DE-4C15-B690-2802B367AC5B}"/>
                  </a:ext>
                </a:extLst>
              </p:cNvPr>
              <p:cNvSpPr>
                <a:spLocks/>
              </p:cNvSpPr>
              <p:nvPr/>
            </p:nvSpPr>
            <p:spPr bwMode="auto">
              <a:xfrm>
                <a:off x="4022" y="1108"/>
                <a:ext cx="5" cy="7"/>
              </a:xfrm>
              <a:custGeom>
                <a:avLst/>
                <a:gdLst>
                  <a:gd name="T0" fmla="*/ 0 w 2"/>
                  <a:gd name="T1" fmla="*/ 3 h 3"/>
                  <a:gd name="T2" fmla="*/ 0 w 2"/>
                  <a:gd name="T3" fmla="*/ 0 h 3"/>
                  <a:gd name="T4" fmla="*/ 0 w 2"/>
                  <a:gd name="T5" fmla="*/ 3 h 3"/>
                </a:gdLst>
                <a:ahLst/>
                <a:cxnLst>
                  <a:cxn ang="0">
                    <a:pos x="T0" y="T1"/>
                  </a:cxn>
                  <a:cxn ang="0">
                    <a:pos x="T2" y="T3"/>
                  </a:cxn>
                  <a:cxn ang="0">
                    <a:pos x="T4" y="T5"/>
                  </a:cxn>
                </a:cxnLst>
                <a:rect l="0" t="0" r="r" b="b"/>
                <a:pathLst>
                  <a:path w="2" h="3">
                    <a:moveTo>
                      <a:pt x="0" y="3"/>
                    </a:moveTo>
                    <a:cubicBezTo>
                      <a:pt x="2" y="2"/>
                      <a:pt x="1" y="1"/>
                      <a:pt x="0" y="0"/>
                    </a:cubicBezTo>
                    <a:cubicBezTo>
                      <a:pt x="0"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0" name="Freeform 2569">
                <a:extLst>
                  <a:ext uri="{FF2B5EF4-FFF2-40B4-BE49-F238E27FC236}">
                    <a16:creationId xmlns:a16="http://schemas.microsoft.com/office/drawing/2014/main" id="{8B3D2C52-27AF-455B-932C-45A76F8D7C3B}"/>
                  </a:ext>
                </a:extLst>
              </p:cNvPr>
              <p:cNvSpPr>
                <a:spLocks/>
              </p:cNvSpPr>
              <p:nvPr/>
            </p:nvSpPr>
            <p:spPr bwMode="auto">
              <a:xfrm>
                <a:off x="4079" y="1113"/>
                <a:ext cx="4" cy="2"/>
              </a:xfrm>
              <a:custGeom>
                <a:avLst/>
                <a:gdLst>
                  <a:gd name="T0" fmla="*/ 2 w 2"/>
                  <a:gd name="T1" fmla="*/ 0 h 1"/>
                  <a:gd name="T2" fmla="*/ 2 w 2"/>
                  <a:gd name="T3" fmla="*/ 0 h 1"/>
                </a:gdLst>
                <a:ahLst/>
                <a:cxnLst>
                  <a:cxn ang="0">
                    <a:pos x="T0" y="T1"/>
                  </a:cxn>
                  <a:cxn ang="0">
                    <a:pos x="T2" y="T3"/>
                  </a:cxn>
                </a:cxnLst>
                <a:rect l="0" t="0" r="r" b="b"/>
                <a:pathLst>
                  <a:path w="2" h="1">
                    <a:moveTo>
                      <a:pt x="2" y="0"/>
                    </a:moveTo>
                    <a:cubicBezTo>
                      <a:pt x="0" y="1"/>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1" name="Freeform 2570">
                <a:extLst>
                  <a:ext uri="{FF2B5EF4-FFF2-40B4-BE49-F238E27FC236}">
                    <a16:creationId xmlns:a16="http://schemas.microsoft.com/office/drawing/2014/main" id="{FF0BD893-DEFC-4664-836A-436F83144EBB}"/>
                  </a:ext>
                </a:extLst>
              </p:cNvPr>
              <p:cNvSpPr>
                <a:spLocks/>
              </p:cNvSpPr>
              <p:nvPr/>
            </p:nvSpPr>
            <p:spPr bwMode="auto">
              <a:xfrm>
                <a:off x="4031" y="1115"/>
                <a:ext cx="8" cy="5"/>
              </a:xfrm>
              <a:custGeom>
                <a:avLst/>
                <a:gdLst>
                  <a:gd name="T0" fmla="*/ 0 w 3"/>
                  <a:gd name="T1" fmla="*/ 1 h 2"/>
                  <a:gd name="T2" fmla="*/ 2 w 3"/>
                  <a:gd name="T3" fmla="*/ 2 h 2"/>
                  <a:gd name="T4" fmla="*/ 0 w 3"/>
                  <a:gd name="T5" fmla="*/ 1 h 2"/>
                </a:gdLst>
                <a:ahLst/>
                <a:cxnLst>
                  <a:cxn ang="0">
                    <a:pos x="T0" y="T1"/>
                  </a:cxn>
                  <a:cxn ang="0">
                    <a:pos x="T2" y="T3"/>
                  </a:cxn>
                  <a:cxn ang="0">
                    <a:pos x="T4" y="T5"/>
                  </a:cxn>
                </a:cxnLst>
                <a:rect l="0" t="0" r="r" b="b"/>
                <a:pathLst>
                  <a:path w="3" h="2">
                    <a:moveTo>
                      <a:pt x="0" y="1"/>
                    </a:moveTo>
                    <a:cubicBezTo>
                      <a:pt x="1" y="1"/>
                      <a:pt x="1" y="1"/>
                      <a:pt x="2" y="2"/>
                    </a:cubicBezTo>
                    <a:cubicBezTo>
                      <a:pt x="3" y="1"/>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2" name="Freeform 2571">
                <a:extLst>
                  <a:ext uri="{FF2B5EF4-FFF2-40B4-BE49-F238E27FC236}">
                    <a16:creationId xmlns:a16="http://schemas.microsoft.com/office/drawing/2014/main" id="{CA30A139-2C9E-4609-A07D-2B36B76227D2}"/>
                  </a:ext>
                </a:extLst>
              </p:cNvPr>
              <p:cNvSpPr>
                <a:spLocks/>
              </p:cNvSpPr>
              <p:nvPr/>
            </p:nvSpPr>
            <p:spPr bwMode="auto">
              <a:xfrm>
                <a:off x="4083" y="1108"/>
                <a:ext cx="5" cy="3"/>
              </a:xfrm>
              <a:custGeom>
                <a:avLst/>
                <a:gdLst>
                  <a:gd name="T0" fmla="*/ 2 w 2"/>
                  <a:gd name="T1" fmla="*/ 0 h 1"/>
                  <a:gd name="T2" fmla="*/ 0 w 2"/>
                  <a:gd name="T3" fmla="*/ 1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1" y="0"/>
                      <a:pt x="0" y="1"/>
                    </a:cubicBezTo>
                    <a:cubicBezTo>
                      <a:pt x="0" y="1"/>
                      <a:pt x="1" y="1"/>
                      <a:pt x="1" y="1"/>
                    </a:cubicBezTo>
                    <a:cubicBezTo>
                      <a:pt x="1"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3" name="Freeform 2572">
                <a:extLst>
                  <a:ext uri="{FF2B5EF4-FFF2-40B4-BE49-F238E27FC236}">
                    <a16:creationId xmlns:a16="http://schemas.microsoft.com/office/drawing/2014/main" id="{AF10DA5F-5E64-4147-B168-BD5DFD73040C}"/>
                  </a:ext>
                </a:extLst>
              </p:cNvPr>
              <p:cNvSpPr>
                <a:spLocks/>
              </p:cNvSpPr>
              <p:nvPr/>
            </p:nvSpPr>
            <p:spPr bwMode="auto">
              <a:xfrm>
                <a:off x="4024" y="1104"/>
                <a:ext cx="15" cy="14"/>
              </a:xfrm>
              <a:custGeom>
                <a:avLst/>
                <a:gdLst>
                  <a:gd name="T0" fmla="*/ 3 w 6"/>
                  <a:gd name="T1" fmla="*/ 1 h 6"/>
                  <a:gd name="T2" fmla="*/ 2 w 6"/>
                  <a:gd name="T3" fmla="*/ 1 h 6"/>
                  <a:gd name="T4" fmla="*/ 0 w 6"/>
                  <a:gd name="T5" fmla="*/ 2 h 6"/>
                  <a:gd name="T6" fmla="*/ 3 w 6"/>
                  <a:gd name="T7" fmla="*/ 6 h 6"/>
                  <a:gd name="T8" fmla="*/ 4 w 6"/>
                  <a:gd name="T9" fmla="*/ 3 h 6"/>
                  <a:gd name="T10" fmla="*/ 4 w 6"/>
                  <a:gd name="T11" fmla="*/ 2 h 6"/>
                  <a:gd name="T12" fmla="*/ 6 w 6"/>
                  <a:gd name="T13" fmla="*/ 4 h 6"/>
                  <a:gd name="T14" fmla="*/ 4 w 6"/>
                  <a:gd name="T15" fmla="*/ 2 h 6"/>
                  <a:gd name="T16" fmla="*/ 4 w 6"/>
                  <a:gd name="T17" fmla="*/ 1 h 6"/>
                  <a:gd name="T18" fmla="*/ 3 w 6"/>
                  <a:gd name="T19" fmla="*/ 1 h 6"/>
                  <a:gd name="T20" fmla="*/ 3 w 6"/>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3" y="1"/>
                    </a:moveTo>
                    <a:cubicBezTo>
                      <a:pt x="2" y="1"/>
                      <a:pt x="2" y="0"/>
                      <a:pt x="2" y="1"/>
                    </a:cubicBezTo>
                    <a:cubicBezTo>
                      <a:pt x="1" y="1"/>
                      <a:pt x="1" y="3"/>
                      <a:pt x="0" y="2"/>
                    </a:cubicBezTo>
                    <a:cubicBezTo>
                      <a:pt x="1" y="4"/>
                      <a:pt x="2" y="5"/>
                      <a:pt x="3" y="6"/>
                    </a:cubicBezTo>
                    <a:cubicBezTo>
                      <a:pt x="4" y="5"/>
                      <a:pt x="4" y="4"/>
                      <a:pt x="4" y="3"/>
                    </a:cubicBezTo>
                    <a:cubicBezTo>
                      <a:pt x="3" y="2"/>
                      <a:pt x="3" y="3"/>
                      <a:pt x="4" y="2"/>
                    </a:cubicBezTo>
                    <a:cubicBezTo>
                      <a:pt x="4" y="3"/>
                      <a:pt x="5" y="5"/>
                      <a:pt x="6" y="4"/>
                    </a:cubicBezTo>
                    <a:cubicBezTo>
                      <a:pt x="6" y="3"/>
                      <a:pt x="6" y="1"/>
                      <a:pt x="4" y="2"/>
                    </a:cubicBezTo>
                    <a:cubicBezTo>
                      <a:pt x="5" y="1"/>
                      <a:pt x="4" y="1"/>
                      <a:pt x="4" y="1"/>
                    </a:cubicBezTo>
                    <a:cubicBezTo>
                      <a:pt x="4" y="1"/>
                      <a:pt x="3" y="1"/>
                      <a:pt x="3" y="1"/>
                    </a:cubicBezTo>
                    <a:cubicBezTo>
                      <a:pt x="3"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4" name="Freeform 2573">
                <a:extLst>
                  <a:ext uri="{FF2B5EF4-FFF2-40B4-BE49-F238E27FC236}">
                    <a16:creationId xmlns:a16="http://schemas.microsoft.com/office/drawing/2014/main" id="{38493216-435D-4F09-9798-01DA13B710FB}"/>
                  </a:ext>
                </a:extLst>
              </p:cNvPr>
              <p:cNvSpPr>
                <a:spLocks/>
              </p:cNvSpPr>
              <p:nvPr/>
            </p:nvSpPr>
            <p:spPr bwMode="auto">
              <a:xfrm>
                <a:off x="4081" y="1153"/>
                <a:ext cx="21" cy="12"/>
              </a:xfrm>
              <a:custGeom>
                <a:avLst/>
                <a:gdLst>
                  <a:gd name="T0" fmla="*/ 4 w 9"/>
                  <a:gd name="T1" fmla="*/ 5 h 5"/>
                  <a:gd name="T2" fmla="*/ 9 w 9"/>
                  <a:gd name="T3" fmla="*/ 3 h 5"/>
                  <a:gd name="T4" fmla="*/ 7 w 9"/>
                  <a:gd name="T5" fmla="*/ 0 h 5"/>
                  <a:gd name="T6" fmla="*/ 0 w 9"/>
                  <a:gd name="T7" fmla="*/ 2 h 5"/>
                  <a:gd name="T8" fmla="*/ 4 w 9"/>
                  <a:gd name="T9" fmla="*/ 5 h 5"/>
                </a:gdLst>
                <a:ahLst/>
                <a:cxnLst>
                  <a:cxn ang="0">
                    <a:pos x="T0" y="T1"/>
                  </a:cxn>
                  <a:cxn ang="0">
                    <a:pos x="T2" y="T3"/>
                  </a:cxn>
                  <a:cxn ang="0">
                    <a:pos x="T4" y="T5"/>
                  </a:cxn>
                  <a:cxn ang="0">
                    <a:pos x="T6" y="T7"/>
                  </a:cxn>
                  <a:cxn ang="0">
                    <a:pos x="T8" y="T9"/>
                  </a:cxn>
                </a:cxnLst>
                <a:rect l="0" t="0" r="r" b="b"/>
                <a:pathLst>
                  <a:path w="9" h="5">
                    <a:moveTo>
                      <a:pt x="4" y="5"/>
                    </a:moveTo>
                    <a:cubicBezTo>
                      <a:pt x="6" y="5"/>
                      <a:pt x="8" y="4"/>
                      <a:pt x="9" y="3"/>
                    </a:cubicBezTo>
                    <a:cubicBezTo>
                      <a:pt x="9" y="3"/>
                      <a:pt x="7" y="1"/>
                      <a:pt x="7" y="0"/>
                    </a:cubicBezTo>
                    <a:cubicBezTo>
                      <a:pt x="5" y="1"/>
                      <a:pt x="3" y="2"/>
                      <a:pt x="0" y="2"/>
                    </a:cubicBezTo>
                    <a:cubicBezTo>
                      <a:pt x="2" y="2"/>
                      <a:pt x="6" y="3"/>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5" name="Freeform 2574">
                <a:extLst>
                  <a:ext uri="{FF2B5EF4-FFF2-40B4-BE49-F238E27FC236}">
                    <a16:creationId xmlns:a16="http://schemas.microsoft.com/office/drawing/2014/main" id="{9C194337-7A5F-45E4-8C08-3FFAB510C4D7}"/>
                  </a:ext>
                </a:extLst>
              </p:cNvPr>
              <p:cNvSpPr>
                <a:spLocks/>
              </p:cNvSpPr>
              <p:nvPr/>
            </p:nvSpPr>
            <p:spPr bwMode="auto">
              <a:xfrm>
                <a:off x="4076" y="1170"/>
                <a:ext cx="36" cy="26"/>
              </a:xfrm>
              <a:custGeom>
                <a:avLst/>
                <a:gdLst>
                  <a:gd name="T0" fmla="*/ 1 w 15"/>
                  <a:gd name="T1" fmla="*/ 3 h 11"/>
                  <a:gd name="T2" fmla="*/ 0 w 15"/>
                  <a:gd name="T3" fmla="*/ 5 h 11"/>
                  <a:gd name="T4" fmla="*/ 1 w 15"/>
                  <a:gd name="T5" fmla="*/ 5 h 11"/>
                  <a:gd name="T6" fmla="*/ 3 w 15"/>
                  <a:gd name="T7" fmla="*/ 7 h 11"/>
                  <a:gd name="T8" fmla="*/ 2 w 15"/>
                  <a:gd name="T9" fmla="*/ 10 h 11"/>
                  <a:gd name="T10" fmla="*/ 4 w 15"/>
                  <a:gd name="T11" fmla="*/ 8 h 11"/>
                  <a:gd name="T12" fmla="*/ 7 w 15"/>
                  <a:gd name="T13" fmla="*/ 5 h 11"/>
                  <a:gd name="T14" fmla="*/ 10 w 15"/>
                  <a:gd name="T15" fmla="*/ 5 h 11"/>
                  <a:gd name="T16" fmla="*/ 11 w 15"/>
                  <a:gd name="T17" fmla="*/ 3 h 11"/>
                  <a:gd name="T18" fmla="*/ 15 w 15"/>
                  <a:gd name="T19" fmla="*/ 2 h 11"/>
                  <a:gd name="T20" fmla="*/ 10 w 15"/>
                  <a:gd name="T21" fmla="*/ 0 h 11"/>
                  <a:gd name="T22" fmla="*/ 4 w 15"/>
                  <a:gd name="T23" fmla="*/ 1 h 11"/>
                  <a:gd name="T24" fmla="*/ 0 w 15"/>
                  <a:gd name="T25" fmla="*/ 2 h 11"/>
                  <a:gd name="T26" fmla="*/ 1 w 15"/>
                  <a:gd name="T2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1">
                    <a:moveTo>
                      <a:pt x="1" y="3"/>
                    </a:moveTo>
                    <a:cubicBezTo>
                      <a:pt x="2" y="4"/>
                      <a:pt x="0" y="4"/>
                      <a:pt x="0" y="5"/>
                    </a:cubicBezTo>
                    <a:cubicBezTo>
                      <a:pt x="0" y="5"/>
                      <a:pt x="0" y="5"/>
                      <a:pt x="1" y="5"/>
                    </a:cubicBezTo>
                    <a:cubicBezTo>
                      <a:pt x="1" y="6"/>
                      <a:pt x="3" y="6"/>
                      <a:pt x="3" y="7"/>
                    </a:cubicBezTo>
                    <a:cubicBezTo>
                      <a:pt x="3" y="8"/>
                      <a:pt x="1" y="10"/>
                      <a:pt x="2" y="10"/>
                    </a:cubicBezTo>
                    <a:cubicBezTo>
                      <a:pt x="3" y="11"/>
                      <a:pt x="4" y="9"/>
                      <a:pt x="4" y="8"/>
                    </a:cubicBezTo>
                    <a:cubicBezTo>
                      <a:pt x="4" y="7"/>
                      <a:pt x="5" y="5"/>
                      <a:pt x="7" y="5"/>
                    </a:cubicBezTo>
                    <a:cubicBezTo>
                      <a:pt x="8" y="5"/>
                      <a:pt x="9" y="5"/>
                      <a:pt x="10" y="5"/>
                    </a:cubicBezTo>
                    <a:cubicBezTo>
                      <a:pt x="11" y="5"/>
                      <a:pt x="11" y="4"/>
                      <a:pt x="11" y="3"/>
                    </a:cubicBezTo>
                    <a:cubicBezTo>
                      <a:pt x="13" y="2"/>
                      <a:pt x="14" y="3"/>
                      <a:pt x="15" y="2"/>
                    </a:cubicBezTo>
                    <a:cubicBezTo>
                      <a:pt x="14" y="1"/>
                      <a:pt x="11" y="0"/>
                      <a:pt x="10" y="0"/>
                    </a:cubicBezTo>
                    <a:cubicBezTo>
                      <a:pt x="7" y="0"/>
                      <a:pt x="6" y="0"/>
                      <a:pt x="4" y="1"/>
                    </a:cubicBezTo>
                    <a:cubicBezTo>
                      <a:pt x="2" y="3"/>
                      <a:pt x="2" y="2"/>
                      <a:pt x="0" y="2"/>
                    </a:cubicBezTo>
                    <a:cubicBezTo>
                      <a:pt x="0" y="2"/>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6" name="Freeform 2575">
                <a:extLst>
                  <a:ext uri="{FF2B5EF4-FFF2-40B4-BE49-F238E27FC236}">
                    <a16:creationId xmlns:a16="http://schemas.microsoft.com/office/drawing/2014/main" id="{95C0CB9F-27B4-4E46-93EE-CF440A9B2B00}"/>
                  </a:ext>
                </a:extLst>
              </p:cNvPr>
              <p:cNvSpPr>
                <a:spLocks/>
              </p:cNvSpPr>
              <p:nvPr/>
            </p:nvSpPr>
            <p:spPr bwMode="auto">
              <a:xfrm>
                <a:off x="3301" y="1326"/>
                <a:ext cx="9" cy="5"/>
              </a:xfrm>
              <a:custGeom>
                <a:avLst/>
                <a:gdLst>
                  <a:gd name="T0" fmla="*/ 2 w 4"/>
                  <a:gd name="T1" fmla="*/ 0 h 2"/>
                  <a:gd name="T2" fmla="*/ 0 w 4"/>
                  <a:gd name="T3" fmla="*/ 1 h 2"/>
                  <a:gd name="T4" fmla="*/ 3 w 4"/>
                  <a:gd name="T5" fmla="*/ 2 h 2"/>
                  <a:gd name="T6" fmla="*/ 2 w 4"/>
                  <a:gd name="T7" fmla="*/ 0 h 2"/>
                </a:gdLst>
                <a:ahLst/>
                <a:cxnLst>
                  <a:cxn ang="0">
                    <a:pos x="T0" y="T1"/>
                  </a:cxn>
                  <a:cxn ang="0">
                    <a:pos x="T2" y="T3"/>
                  </a:cxn>
                  <a:cxn ang="0">
                    <a:pos x="T4" y="T5"/>
                  </a:cxn>
                  <a:cxn ang="0">
                    <a:pos x="T6" y="T7"/>
                  </a:cxn>
                </a:cxnLst>
                <a:rect l="0" t="0" r="r" b="b"/>
                <a:pathLst>
                  <a:path w="4" h="2">
                    <a:moveTo>
                      <a:pt x="2" y="0"/>
                    </a:moveTo>
                    <a:cubicBezTo>
                      <a:pt x="2" y="0"/>
                      <a:pt x="1" y="1"/>
                      <a:pt x="0" y="1"/>
                    </a:cubicBezTo>
                    <a:cubicBezTo>
                      <a:pt x="1" y="2"/>
                      <a:pt x="2" y="2"/>
                      <a:pt x="3" y="2"/>
                    </a:cubicBezTo>
                    <a:cubicBezTo>
                      <a:pt x="3" y="1"/>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7" name="Freeform 2576">
                <a:extLst>
                  <a:ext uri="{FF2B5EF4-FFF2-40B4-BE49-F238E27FC236}">
                    <a16:creationId xmlns:a16="http://schemas.microsoft.com/office/drawing/2014/main" id="{200F4E2D-4EAA-4C26-A482-60E7AF3C3C26}"/>
                  </a:ext>
                </a:extLst>
              </p:cNvPr>
              <p:cNvSpPr>
                <a:spLocks/>
              </p:cNvSpPr>
              <p:nvPr/>
            </p:nvSpPr>
            <p:spPr bwMode="auto">
              <a:xfrm>
                <a:off x="3781" y="1290"/>
                <a:ext cx="9" cy="10"/>
              </a:xfrm>
              <a:custGeom>
                <a:avLst/>
                <a:gdLst>
                  <a:gd name="T0" fmla="*/ 2 w 4"/>
                  <a:gd name="T1" fmla="*/ 1 h 4"/>
                  <a:gd name="T2" fmla="*/ 2 w 4"/>
                  <a:gd name="T3" fmla="*/ 0 h 4"/>
                  <a:gd name="T4" fmla="*/ 0 w 4"/>
                  <a:gd name="T5" fmla="*/ 1 h 4"/>
                  <a:gd name="T6" fmla="*/ 2 w 4"/>
                  <a:gd name="T7" fmla="*/ 2 h 4"/>
                  <a:gd name="T8" fmla="*/ 4 w 4"/>
                  <a:gd name="T9" fmla="*/ 4 h 4"/>
                  <a:gd name="T10" fmla="*/ 2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2" y="1"/>
                    </a:moveTo>
                    <a:cubicBezTo>
                      <a:pt x="2" y="1"/>
                      <a:pt x="2" y="0"/>
                      <a:pt x="2" y="0"/>
                    </a:cubicBezTo>
                    <a:cubicBezTo>
                      <a:pt x="1" y="0"/>
                      <a:pt x="1" y="0"/>
                      <a:pt x="0" y="1"/>
                    </a:cubicBezTo>
                    <a:cubicBezTo>
                      <a:pt x="1" y="1"/>
                      <a:pt x="2" y="1"/>
                      <a:pt x="2" y="2"/>
                    </a:cubicBezTo>
                    <a:cubicBezTo>
                      <a:pt x="2" y="3"/>
                      <a:pt x="3" y="3"/>
                      <a:pt x="4" y="4"/>
                    </a:cubicBezTo>
                    <a:cubicBezTo>
                      <a:pt x="4" y="2"/>
                      <a:pt x="4"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8" name="Freeform 2577">
                <a:extLst>
                  <a:ext uri="{FF2B5EF4-FFF2-40B4-BE49-F238E27FC236}">
                    <a16:creationId xmlns:a16="http://schemas.microsoft.com/office/drawing/2014/main" id="{FA17493D-0FD3-4385-8926-5833149A842B}"/>
                  </a:ext>
                </a:extLst>
              </p:cNvPr>
              <p:cNvSpPr>
                <a:spLocks/>
              </p:cNvSpPr>
              <p:nvPr/>
            </p:nvSpPr>
            <p:spPr bwMode="auto">
              <a:xfrm>
                <a:off x="3748" y="1201"/>
                <a:ext cx="59" cy="40"/>
              </a:xfrm>
              <a:custGeom>
                <a:avLst/>
                <a:gdLst>
                  <a:gd name="T0" fmla="*/ 25 w 25"/>
                  <a:gd name="T1" fmla="*/ 0 h 17"/>
                  <a:gd name="T2" fmla="*/ 17 w 25"/>
                  <a:gd name="T3" fmla="*/ 3 h 17"/>
                  <a:gd name="T4" fmla="*/ 12 w 25"/>
                  <a:gd name="T5" fmla="*/ 9 h 17"/>
                  <a:gd name="T6" fmla="*/ 4 w 25"/>
                  <a:gd name="T7" fmla="*/ 9 h 17"/>
                  <a:gd name="T8" fmla="*/ 0 w 25"/>
                  <a:gd name="T9" fmla="*/ 15 h 17"/>
                  <a:gd name="T10" fmla="*/ 3 w 25"/>
                  <a:gd name="T11" fmla="*/ 17 h 17"/>
                  <a:gd name="T12" fmla="*/ 2 w 25"/>
                  <a:gd name="T13" fmla="*/ 15 h 17"/>
                  <a:gd name="T14" fmla="*/ 4 w 25"/>
                  <a:gd name="T15" fmla="*/ 13 h 17"/>
                  <a:gd name="T16" fmla="*/ 5 w 25"/>
                  <a:gd name="T17" fmla="*/ 15 h 17"/>
                  <a:gd name="T18" fmla="*/ 6 w 25"/>
                  <a:gd name="T19" fmla="*/ 15 h 17"/>
                  <a:gd name="T20" fmla="*/ 7 w 25"/>
                  <a:gd name="T21" fmla="*/ 13 h 17"/>
                  <a:gd name="T22" fmla="*/ 7 w 25"/>
                  <a:gd name="T23" fmla="*/ 11 h 17"/>
                  <a:gd name="T24" fmla="*/ 14 w 25"/>
                  <a:gd name="T25" fmla="*/ 10 h 17"/>
                  <a:gd name="T26" fmla="*/ 20 w 25"/>
                  <a:gd name="T27" fmla="*/ 10 h 17"/>
                  <a:gd name="T28" fmla="*/ 22 w 25"/>
                  <a:gd name="T29" fmla="*/ 8 h 17"/>
                  <a:gd name="T30" fmla="*/ 23 w 25"/>
                  <a:gd name="T31" fmla="*/ 5 h 17"/>
                  <a:gd name="T32" fmla="*/ 23 w 25"/>
                  <a:gd name="T33" fmla="*/ 2 h 17"/>
                  <a:gd name="T34" fmla="*/ 25 w 2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7">
                    <a:moveTo>
                      <a:pt x="25" y="0"/>
                    </a:moveTo>
                    <a:cubicBezTo>
                      <a:pt x="22" y="1"/>
                      <a:pt x="19" y="2"/>
                      <a:pt x="17" y="3"/>
                    </a:cubicBezTo>
                    <a:cubicBezTo>
                      <a:pt x="15" y="4"/>
                      <a:pt x="14" y="8"/>
                      <a:pt x="12" y="9"/>
                    </a:cubicBezTo>
                    <a:cubicBezTo>
                      <a:pt x="9" y="9"/>
                      <a:pt x="6" y="8"/>
                      <a:pt x="4" y="9"/>
                    </a:cubicBezTo>
                    <a:cubicBezTo>
                      <a:pt x="2" y="10"/>
                      <a:pt x="1" y="13"/>
                      <a:pt x="0" y="15"/>
                    </a:cubicBezTo>
                    <a:cubicBezTo>
                      <a:pt x="1" y="15"/>
                      <a:pt x="2" y="16"/>
                      <a:pt x="3" y="17"/>
                    </a:cubicBezTo>
                    <a:cubicBezTo>
                      <a:pt x="4" y="17"/>
                      <a:pt x="2" y="16"/>
                      <a:pt x="2" y="15"/>
                    </a:cubicBezTo>
                    <a:cubicBezTo>
                      <a:pt x="3" y="15"/>
                      <a:pt x="3" y="14"/>
                      <a:pt x="4" y="13"/>
                    </a:cubicBezTo>
                    <a:cubicBezTo>
                      <a:pt x="3" y="14"/>
                      <a:pt x="4" y="16"/>
                      <a:pt x="5" y="15"/>
                    </a:cubicBezTo>
                    <a:cubicBezTo>
                      <a:pt x="5" y="15"/>
                      <a:pt x="6" y="15"/>
                      <a:pt x="6" y="15"/>
                    </a:cubicBezTo>
                    <a:cubicBezTo>
                      <a:pt x="7" y="14"/>
                      <a:pt x="6" y="12"/>
                      <a:pt x="7" y="13"/>
                    </a:cubicBezTo>
                    <a:cubicBezTo>
                      <a:pt x="7" y="12"/>
                      <a:pt x="7" y="12"/>
                      <a:pt x="7" y="11"/>
                    </a:cubicBezTo>
                    <a:cubicBezTo>
                      <a:pt x="9" y="10"/>
                      <a:pt x="11" y="10"/>
                      <a:pt x="14" y="10"/>
                    </a:cubicBezTo>
                    <a:cubicBezTo>
                      <a:pt x="16" y="9"/>
                      <a:pt x="18" y="10"/>
                      <a:pt x="20" y="10"/>
                    </a:cubicBezTo>
                    <a:cubicBezTo>
                      <a:pt x="21" y="10"/>
                      <a:pt x="22" y="10"/>
                      <a:pt x="22" y="8"/>
                    </a:cubicBezTo>
                    <a:cubicBezTo>
                      <a:pt x="23" y="7"/>
                      <a:pt x="23" y="6"/>
                      <a:pt x="23" y="5"/>
                    </a:cubicBezTo>
                    <a:cubicBezTo>
                      <a:pt x="23" y="5"/>
                      <a:pt x="22" y="3"/>
                      <a:pt x="23" y="2"/>
                    </a:cubicBezTo>
                    <a:cubicBezTo>
                      <a:pt x="23" y="2"/>
                      <a:pt x="24" y="1"/>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9" name="Freeform 2578">
                <a:extLst>
                  <a:ext uri="{FF2B5EF4-FFF2-40B4-BE49-F238E27FC236}">
                    <a16:creationId xmlns:a16="http://schemas.microsoft.com/office/drawing/2014/main" id="{427AFCF7-3F9A-4B48-90F2-D745B9AC5203}"/>
                  </a:ext>
                </a:extLst>
              </p:cNvPr>
              <p:cNvSpPr>
                <a:spLocks/>
              </p:cNvSpPr>
              <p:nvPr/>
            </p:nvSpPr>
            <p:spPr bwMode="auto">
              <a:xfrm>
                <a:off x="3783" y="1274"/>
                <a:ext cx="26" cy="19"/>
              </a:xfrm>
              <a:custGeom>
                <a:avLst/>
                <a:gdLst>
                  <a:gd name="T0" fmla="*/ 8 w 11"/>
                  <a:gd name="T1" fmla="*/ 8 h 8"/>
                  <a:gd name="T2" fmla="*/ 11 w 11"/>
                  <a:gd name="T3" fmla="*/ 5 h 8"/>
                  <a:gd name="T4" fmla="*/ 11 w 11"/>
                  <a:gd name="T5" fmla="*/ 3 h 8"/>
                  <a:gd name="T6" fmla="*/ 9 w 11"/>
                  <a:gd name="T7" fmla="*/ 2 h 8"/>
                  <a:gd name="T8" fmla="*/ 11 w 11"/>
                  <a:gd name="T9" fmla="*/ 1 h 8"/>
                  <a:gd name="T10" fmla="*/ 10 w 11"/>
                  <a:gd name="T11" fmla="*/ 0 h 8"/>
                  <a:gd name="T12" fmla="*/ 9 w 11"/>
                  <a:gd name="T13" fmla="*/ 2 h 8"/>
                  <a:gd name="T14" fmla="*/ 7 w 11"/>
                  <a:gd name="T15" fmla="*/ 2 h 8"/>
                  <a:gd name="T16" fmla="*/ 8 w 11"/>
                  <a:gd name="T17" fmla="*/ 1 h 8"/>
                  <a:gd name="T18" fmla="*/ 3 w 11"/>
                  <a:gd name="T19" fmla="*/ 1 h 8"/>
                  <a:gd name="T20" fmla="*/ 0 w 11"/>
                  <a:gd name="T21" fmla="*/ 1 h 8"/>
                  <a:gd name="T22" fmla="*/ 1 w 11"/>
                  <a:gd name="T23" fmla="*/ 3 h 8"/>
                  <a:gd name="T24" fmla="*/ 3 w 11"/>
                  <a:gd name="T25" fmla="*/ 5 h 8"/>
                  <a:gd name="T26" fmla="*/ 5 w 11"/>
                  <a:gd name="T27" fmla="*/ 7 h 8"/>
                  <a:gd name="T28" fmla="*/ 8 w 11"/>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8">
                    <a:moveTo>
                      <a:pt x="8" y="8"/>
                    </a:moveTo>
                    <a:cubicBezTo>
                      <a:pt x="9" y="8"/>
                      <a:pt x="11" y="7"/>
                      <a:pt x="11" y="5"/>
                    </a:cubicBezTo>
                    <a:cubicBezTo>
                      <a:pt x="11" y="5"/>
                      <a:pt x="11" y="4"/>
                      <a:pt x="11" y="3"/>
                    </a:cubicBezTo>
                    <a:cubicBezTo>
                      <a:pt x="10" y="2"/>
                      <a:pt x="9" y="2"/>
                      <a:pt x="9" y="2"/>
                    </a:cubicBezTo>
                    <a:cubicBezTo>
                      <a:pt x="9" y="2"/>
                      <a:pt x="10" y="2"/>
                      <a:pt x="11" y="1"/>
                    </a:cubicBezTo>
                    <a:cubicBezTo>
                      <a:pt x="11" y="1"/>
                      <a:pt x="10" y="0"/>
                      <a:pt x="10" y="0"/>
                    </a:cubicBezTo>
                    <a:cubicBezTo>
                      <a:pt x="9" y="0"/>
                      <a:pt x="9" y="1"/>
                      <a:pt x="9" y="2"/>
                    </a:cubicBezTo>
                    <a:cubicBezTo>
                      <a:pt x="8" y="2"/>
                      <a:pt x="8" y="2"/>
                      <a:pt x="7" y="2"/>
                    </a:cubicBezTo>
                    <a:cubicBezTo>
                      <a:pt x="8" y="2"/>
                      <a:pt x="8" y="1"/>
                      <a:pt x="8" y="1"/>
                    </a:cubicBezTo>
                    <a:cubicBezTo>
                      <a:pt x="7" y="0"/>
                      <a:pt x="5" y="0"/>
                      <a:pt x="3" y="1"/>
                    </a:cubicBezTo>
                    <a:cubicBezTo>
                      <a:pt x="2" y="1"/>
                      <a:pt x="1" y="1"/>
                      <a:pt x="0" y="1"/>
                    </a:cubicBezTo>
                    <a:cubicBezTo>
                      <a:pt x="1" y="2"/>
                      <a:pt x="1" y="2"/>
                      <a:pt x="1" y="3"/>
                    </a:cubicBezTo>
                    <a:cubicBezTo>
                      <a:pt x="2" y="4"/>
                      <a:pt x="2" y="5"/>
                      <a:pt x="3" y="5"/>
                    </a:cubicBezTo>
                    <a:cubicBezTo>
                      <a:pt x="3" y="6"/>
                      <a:pt x="4" y="6"/>
                      <a:pt x="5" y="7"/>
                    </a:cubicBezTo>
                    <a:cubicBezTo>
                      <a:pt x="6" y="7"/>
                      <a:pt x="7" y="8"/>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0" name="Freeform 2579">
                <a:extLst>
                  <a:ext uri="{FF2B5EF4-FFF2-40B4-BE49-F238E27FC236}">
                    <a16:creationId xmlns:a16="http://schemas.microsoft.com/office/drawing/2014/main" id="{B37167CA-0D19-42AF-BDA3-1B593CD69C10}"/>
                  </a:ext>
                </a:extLst>
              </p:cNvPr>
              <p:cNvSpPr>
                <a:spLocks/>
              </p:cNvSpPr>
              <p:nvPr/>
            </p:nvSpPr>
            <p:spPr bwMode="auto">
              <a:xfrm>
                <a:off x="3814" y="1255"/>
                <a:ext cx="40" cy="54"/>
              </a:xfrm>
              <a:custGeom>
                <a:avLst/>
                <a:gdLst>
                  <a:gd name="T0" fmla="*/ 0 w 17"/>
                  <a:gd name="T1" fmla="*/ 7 h 23"/>
                  <a:gd name="T2" fmla="*/ 2 w 17"/>
                  <a:gd name="T3" fmla="*/ 8 h 23"/>
                  <a:gd name="T4" fmla="*/ 2 w 17"/>
                  <a:gd name="T5" fmla="*/ 11 h 23"/>
                  <a:gd name="T6" fmla="*/ 3 w 17"/>
                  <a:gd name="T7" fmla="*/ 13 h 23"/>
                  <a:gd name="T8" fmla="*/ 9 w 17"/>
                  <a:gd name="T9" fmla="*/ 15 h 23"/>
                  <a:gd name="T10" fmla="*/ 7 w 17"/>
                  <a:gd name="T11" fmla="*/ 15 h 23"/>
                  <a:gd name="T12" fmla="*/ 9 w 17"/>
                  <a:gd name="T13" fmla="*/ 16 h 23"/>
                  <a:gd name="T14" fmla="*/ 9 w 17"/>
                  <a:gd name="T15" fmla="*/ 19 h 23"/>
                  <a:gd name="T16" fmla="*/ 10 w 17"/>
                  <a:gd name="T17" fmla="*/ 22 h 23"/>
                  <a:gd name="T18" fmla="*/ 10 w 17"/>
                  <a:gd name="T19" fmla="*/ 23 h 23"/>
                  <a:gd name="T20" fmla="*/ 12 w 17"/>
                  <a:gd name="T21" fmla="*/ 19 h 23"/>
                  <a:gd name="T22" fmla="*/ 9 w 17"/>
                  <a:gd name="T23" fmla="*/ 17 h 23"/>
                  <a:gd name="T24" fmla="*/ 11 w 17"/>
                  <a:gd name="T25" fmla="*/ 16 h 23"/>
                  <a:gd name="T26" fmla="*/ 11 w 17"/>
                  <a:gd name="T27" fmla="*/ 14 h 23"/>
                  <a:gd name="T28" fmla="*/ 15 w 17"/>
                  <a:gd name="T29" fmla="*/ 13 h 23"/>
                  <a:gd name="T30" fmla="*/ 13 w 17"/>
                  <a:gd name="T31" fmla="*/ 10 h 23"/>
                  <a:gd name="T32" fmla="*/ 14 w 17"/>
                  <a:gd name="T33" fmla="*/ 8 h 23"/>
                  <a:gd name="T34" fmla="*/ 16 w 17"/>
                  <a:gd name="T35" fmla="*/ 7 h 23"/>
                  <a:gd name="T36" fmla="*/ 16 w 17"/>
                  <a:gd name="T37" fmla="*/ 4 h 23"/>
                  <a:gd name="T38" fmla="*/ 15 w 17"/>
                  <a:gd name="T39" fmla="*/ 2 h 23"/>
                  <a:gd name="T40" fmla="*/ 12 w 17"/>
                  <a:gd name="T41" fmla="*/ 1 h 23"/>
                  <a:gd name="T42" fmla="*/ 10 w 17"/>
                  <a:gd name="T43" fmla="*/ 2 h 23"/>
                  <a:gd name="T44" fmla="*/ 11 w 17"/>
                  <a:gd name="T45" fmla="*/ 5 h 23"/>
                  <a:gd name="T46" fmla="*/ 10 w 17"/>
                  <a:gd name="T47" fmla="*/ 7 h 23"/>
                  <a:gd name="T48" fmla="*/ 10 w 17"/>
                  <a:gd name="T49" fmla="*/ 3 h 23"/>
                  <a:gd name="T50" fmla="*/ 8 w 17"/>
                  <a:gd name="T51" fmla="*/ 7 h 23"/>
                  <a:gd name="T52" fmla="*/ 7 w 17"/>
                  <a:gd name="T53" fmla="*/ 6 h 23"/>
                  <a:gd name="T54" fmla="*/ 7 w 17"/>
                  <a:gd name="T55" fmla="*/ 5 h 23"/>
                  <a:gd name="T56" fmla="*/ 8 w 17"/>
                  <a:gd name="T57" fmla="*/ 3 h 23"/>
                  <a:gd name="T58" fmla="*/ 3 w 17"/>
                  <a:gd name="T59" fmla="*/ 3 h 23"/>
                  <a:gd name="T60" fmla="*/ 5 w 17"/>
                  <a:gd name="T61" fmla="*/ 4 h 23"/>
                  <a:gd name="T62" fmla="*/ 2 w 17"/>
                  <a:gd name="T63" fmla="*/ 7 h 23"/>
                  <a:gd name="T64" fmla="*/ 0 w 17"/>
                  <a:gd name="T65" fmla="*/ 6 h 23"/>
                  <a:gd name="T66" fmla="*/ 0 w 17"/>
                  <a:gd name="T6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3">
                    <a:moveTo>
                      <a:pt x="0" y="7"/>
                    </a:moveTo>
                    <a:cubicBezTo>
                      <a:pt x="0" y="8"/>
                      <a:pt x="1" y="7"/>
                      <a:pt x="2" y="8"/>
                    </a:cubicBezTo>
                    <a:cubicBezTo>
                      <a:pt x="2" y="9"/>
                      <a:pt x="2" y="10"/>
                      <a:pt x="2" y="11"/>
                    </a:cubicBezTo>
                    <a:cubicBezTo>
                      <a:pt x="3" y="12"/>
                      <a:pt x="0" y="11"/>
                      <a:pt x="3" y="13"/>
                    </a:cubicBezTo>
                    <a:cubicBezTo>
                      <a:pt x="5" y="13"/>
                      <a:pt x="7" y="14"/>
                      <a:pt x="9" y="15"/>
                    </a:cubicBezTo>
                    <a:cubicBezTo>
                      <a:pt x="8" y="15"/>
                      <a:pt x="7" y="16"/>
                      <a:pt x="7" y="15"/>
                    </a:cubicBezTo>
                    <a:cubicBezTo>
                      <a:pt x="7" y="16"/>
                      <a:pt x="8" y="16"/>
                      <a:pt x="9" y="16"/>
                    </a:cubicBezTo>
                    <a:cubicBezTo>
                      <a:pt x="7" y="18"/>
                      <a:pt x="7" y="17"/>
                      <a:pt x="9" y="19"/>
                    </a:cubicBezTo>
                    <a:cubicBezTo>
                      <a:pt x="9" y="20"/>
                      <a:pt x="9" y="21"/>
                      <a:pt x="10" y="22"/>
                    </a:cubicBezTo>
                    <a:cubicBezTo>
                      <a:pt x="10" y="22"/>
                      <a:pt x="10" y="23"/>
                      <a:pt x="10" y="23"/>
                    </a:cubicBezTo>
                    <a:cubicBezTo>
                      <a:pt x="11" y="21"/>
                      <a:pt x="11" y="20"/>
                      <a:pt x="12" y="19"/>
                    </a:cubicBezTo>
                    <a:cubicBezTo>
                      <a:pt x="11" y="18"/>
                      <a:pt x="10" y="18"/>
                      <a:pt x="9" y="17"/>
                    </a:cubicBezTo>
                    <a:cubicBezTo>
                      <a:pt x="10" y="17"/>
                      <a:pt x="11" y="17"/>
                      <a:pt x="11" y="16"/>
                    </a:cubicBezTo>
                    <a:cubicBezTo>
                      <a:pt x="12" y="15"/>
                      <a:pt x="11" y="15"/>
                      <a:pt x="11" y="14"/>
                    </a:cubicBezTo>
                    <a:cubicBezTo>
                      <a:pt x="11" y="14"/>
                      <a:pt x="15" y="13"/>
                      <a:pt x="15" y="13"/>
                    </a:cubicBezTo>
                    <a:cubicBezTo>
                      <a:pt x="15" y="11"/>
                      <a:pt x="13" y="11"/>
                      <a:pt x="13" y="10"/>
                    </a:cubicBezTo>
                    <a:cubicBezTo>
                      <a:pt x="12" y="9"/>
                      <a:pt x="13" y="8"/>
                      <a:pt x="14" y="8"/>
                    </a:cubicBezTo>
                    <a:cubicBezTo>
                      <a:pt x="15" y="8"/>
                      <a:pt x="16" y="8"/>
                      <a:pt x="16" y="7"/>
                    </a:cubicBezTo>
                    <a:cubicBezTo>
                      <a:pt x="17" y="6"/>
                      <a:pt x="17" y="5"/>
                      <a:pt x="16" y="4"/>
                    </a:cubicBezTo>
                    <a:cubicBezTo>
                      <a:pt x="16" y="3"/>
                      <a:pt x="16" y="3"/>
                      <a:pt x="15" y="2"/>
                    </a:cubicBezTo>
                    <a:cubicBezTo>
                      <a:pt x="14" y="0"/>
                      <a:pt x="13" y="1"/>
                      <a:pt x="12" y="1"/>
                    </a:cubicBezTo>
                    <a:cubicBezTo>
                      <a:pt x="11" y="1"/>
                      <a:pt x="11" y="2"/>
                      <a:pt x="10" y="2"/>
                    </a:cubicBezTo>
                    <a:cubicBezTo>
                      <a:pt x="11" y="3"/>
                      <a:pt x="11" y="4"/>
                      <a:pt x="11" y="5"/>
                    </a:cubicBezTo>
                    <a:cubicBezTo>
                      <a:pt x="11" y="7"/>
                      <a:pt x="11" y="7"/>
                      <a:pt x="10" y="7"/>
                    </a:cubicBezTo>
                    <a:cubicBezTo>
                      <a:pt x="11" y="5"/>
                      <a:pt x="11" y="5"/>
                      <a:pt x="10" y="3"/>
                    </a:cubicBezTo>
                    <a:cubicBezTo>
                      <a:pt x="10" y="4"/>
                      <a:pt x="9" y="6"/>
                      <a:pt x="8" y="7"/>
                    </a:cubicBezTo>
                    <a:cubicBezTo>
                      <a:pt x="8" y="7"/>
                      <a:pt x="7" y="6"/>
                      <a:pt x="7" y="6"/>
                    </a:cubicBezTo>
                    <a:cubicBezTo>
                      <a:pt x="7" y="5"/>
                      <a:pt x="7" y="5"/>
                      <a:pt x="7" y="5"/>
                    </a:cubicBezTo>
                    <a:cubicBezTo>
                      <a:pt x="7" y="4"/>
                      <a:pt x="8" y="4"/>
                      <a:pt x="8" y="3"/>
                    </a:cubicBezTo>
                    <a:cubicBezTo>
                      <a:pt x="6" y="3"/>
                      <a:pt x="5" y="2"/>
                      <a:pt x="3" y="3"/>
                    </a:cubicBezTo>
                    <a:cubicBezTo>
                      <a:pt x="4" y="3"/>
                      <a:pt x="6" y="3"/>
                      <a:pt x="5" y="4"/>
                    </a:cubicBezTo>
                    <a:cubicBezTo>
                      <a:pt x="5" y="5"/>
                      <a:pt x="3" y="6"/>
                      <a:pt x="2" y="7"/>
                    </a:cubicBezTo>
                    <a:cubicBezTo>
                      <a:pt x="1" y="7"/>
                      <a:pt x="0" y="6"/>
                      <a:pt x="0" y="6"/>
                    </a:cubicBezTo>
                    <a:cubicBezTo>
                      <a:pt x="0" y="6"/>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1" name="Freeform 2580">
                <a:extLst>
                  <a:ext uri="{FF2B5EF4-FFF2-40B4-BE49-F238E27FC236}">
                    <a16:creationId xmlns:a16="http://schemas.microsoft.com/office/drawing/2014/main" id="{53E7A481-D2BD-47AB-A659-8BEE2D41ADFD}"/>
                  </a:ext>
                </a:extLst>
              </p:cNvPr>
              <p:cNvSpPr>
                <a:spLocks/>
              </p:cNvSpPr>
              <p:nvPr/>
            </p:nvSpPr>
            <p:spPr bwMode="auto">
              <a:xfrm>
                <a:off x="3802" y="1260"/>
                <a:ext cx="5" cy="7"/>
              </a:xfrm>
              <a:custGeom>
                <a:avLst/>
                <a:gdLst>
                  <a:gd name="T0" fmla="*/ 2 w 2"/>
                  <a:gd name="T1" fmla="*/ 2 h 3"/>
                  <a:gd name="T2" fmla="*/ 1 w 2"/>
                  <a:gd name="T3" fmla="*/ 0 h 3"/>
                  <a:gd name="T4" fmla="*/ 0 w 2"/>
                  <a:gd name="T5" fmla="*/ 3 h 3"/>
                  <a:gd name="T6" fmla="*/ 2 w 2"/>
                  <a:gd name="T7" fmla="*/ 2 h 3"/>
                </a:gdLst>
                <a:ahLst/>
                <a:cxnLst>
                  <a:cxn ang="0">
                    <a:pos x="T0" y="T1"/>
                  </a:cxn>
                  <a:cxn ang="0">
                    <a:pos x="T2" y="T3"/>
                  </a:cxn>
                  <a:cxn ang="0">
                    <a:pos x="T4" y="T5"/>
                  </a:cxn>
                  <a:cxn ang="0">
                    <a:pos x="T6" y="T7"/>
                  </a:cxn>
                </a:cxnLst>
                <a:rect l="0" t="0" r="r" b="b"/>
                <a:pathLst>
                  <a:path w="2" h="3">
                    <a:moveTo>
                      <a:pt x="2" y="2"/>
                    </a:moveTo>
                    <a:cubicBezTo>
                      <a:pt x="1" y="1"/>
                      <a:pt x="1" y="1"/>
                      <a:pt x="1" y="0"/>
                    </a:cubicBezTo>
                    <a:cubicBezTo>
                      <a:pt x="0" y="1"/>
                      <a:pt x="0" y="3"/>
                      <a:pt x="0" y="3"/>
                    </a:cubicBezTo>
                    <a:cubicBezTo>
                      <a:pt x="1" y="3"/>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2" name="Freeform 2581">
                <a:extLst>
                  <a:ext uri="{FF2B5EF4-FFF2-40B4-BE49-F238E27FC236}">
                    <a16:creationId xmlns:a16="http://schemas.microsoft.com/office/drawing/2014/main" id="{BB846AC4-98C1-4685-A64B-3DDEADA987CD}"/>
                  </a:ext>
                </a:extLst>
              </p:cNvPr>
              <p:cNvSpPr>
                <a:spLocks/>
              </p:cNvSpPr>
              <p:nvPr/>
            </p:nvSpPr>
            <p:spPr bwMode="auto">
              <a:xfrm>
                <a:off x="3814" y="1217"/>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3" name="Freeform 2582">
                <a:extLst>
                  <a:ext uri="{FF2B5EF4-FFF2-40B4-BE49-F238E27FC236}">
                    <a16:creationId xmlns:a16="http://schemas.microsoft.com/office/drawing/2014/main" id="{F113BC79-C40E-413B-933F-B3FD00438938}"/>
                  </a:ext>
                </a:extLst>
              </p:cNvPr>
              <p:cNvSpPr>
                <a:spLocks/>
              </p:cNvSpPr>
              <p:nvPr/>
            </p:nvSpPr>
            <p:spPr bwMode="auto">
              <a:xfrm>
                <a:off x="3812" y="1298"/>
                <a:ext cx="23" cy="9"/>
              </a:xfrm>
              <a:custGeom>
                <a:avLst/>
                <a:gdLst>
                  <a:gd name="T0" fmla="*/ 10 w 10"/>
                  <a:gd name="T1" fmla="*/ 2 h 4"/>
                  <a:gd name="T2" fmla="*/ 7 w 10"/>
                  <a:gd name="T3" fmla="*/ 1 h 4"/>
                  <a:gd name="T4" fmla="*/ 5 w 10"/>
                  <a:gd name="T5" fmla="*/ 0 h 4"/>
                  <a:gd name="T6" fmla="*/ 2 w 10"/>
                  <a:gd name="T7" fmla="*/ 1 h 4"/>
                  <a:gd name="T8" fmla="*/ 2 w 10"/>
                  <a:gd name="T9" fmla="*/ 1 h 4"/>
                  <a:gd name="T10" fmla="*/ 4 w 10"/>
                  <a:gd name="T11" fmla="*/ 3 h 4"/>
                  <a:gd name="T12" fmla="*/ 10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2"/>
                    </a:moveTo>
                    <a:cubicBezTo>
                      <a:pt x="9" y="1"/>
                      <a:pt x="9" y="1"/>
                      <a:pt x="7" y="1"/>
                    </a:cubicBezTo>
                    <a:cubicBezTo>
                      <a:pt x="6" y="1"/>
                      <a:pt x="6" y="1"/>
                      <a:pt x="5" y="0"/>
                    </a:cubicBezTo>
                    <a:cubicBezTo>
                      <a:pt x="4" y="0"/>
                      <a:pt x="3" y="0"/>
                      <a:pt x="2" y="1"/>
                    </a:cubicBezTo>
                    <a:cubicBezTo>
                      <a:pt x="2" y="1"/>
                      <a:pt x="2" y="1"/>
                      <a:pt x="2" y="1"/>
                    </a:cubicBezTo>
                    <a:cubicBezTo>
                      <a:pt x="0" y="2"/>
                      <a:pt x="4" y="3"/>
                      <a:pt x="4" y="3"/>
                    </a:cubicBezTo>
                    <a:cubicBezTo>
                      <a:pt x="6" y="4"/>
                      <a:pt x="8" y="3"/>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4" name="Freeform 2583">
                <a:extLst>
                  <a:ext uri="{FF2B5EF4-FFF2-40B4-BE49-F238E27FC236}">
                    <a16:creationId xmlns:a16="http://schemas.microsoft.com/office/drawing/2014/main" id="{5F66510D-F543-4ADF-929E-1B2570B4958A}"/>
                  </a:ext>
                </a:extLst>
              </p:cNvPr>
              <p:cNvSpPr>
                <a:spLocks/>
              </p:cNvSpPr>
              <p:nvPr/>
            </p:nvSpPr>
            <p:spPr bwMode="auto">
              <a:xfrm>
                <a:off x="3804" y="1288"/>
                <a:ext cx="10" cy="14"/>
              </a:xfrm>
              <a:custGeom>
                <a:avLst/>
                <a:gdLst>
                  <a:gd name="T0" fmla="*/ 4 w 4"/>
                  <a:gd name="T1" fmla="*/ 0 h 6"/>
                  <a:gd name="T2" fmla="*/ 2 w 4"/>
                  <a:gd name="T3" fmla="*/ 3 h 6"/>
                  <a:gd name="T4" fmla="*/ 1 w 4"/>
                  <a:gd name="T5" fmla="*/ 6 h 6"/>
                  <a:gd name="T6" fmla="*/ 4 w 4"/>
                  <a:gd name="T7" fmla="*/ 0 h 6"/>
                </a:gdLst>
                <a:ahLst/>
                <a:cxnLst>
                  <a:cxn ang="0">
                    <a:pos x="T0" y="T1"/>
                  </a:cxn>
                  <a:cxn ang="0">
                    <a:pos x="T2" y="T3"/>
                  </a:cxn>
                  <a:cxn ang="0">
                    <a:pos x="T4" y="T5"/>
                  </a:cxn>
                  <a:cxn ang="0">
                    <a:pos x="T6" y="T7"/>
                  </a:cxn>
                </a:cxnLst>
                <a:rect l="0" t="0" r="r" b="b"/>
                <a:pathLst>
                  <a:path w="4" h="6">
                    <a:moveTo>
                      <a:pt x="4" y="0"/>
                    </a:moveTo>
                    <a:cubicBezTo>
                      <a:pt x="3" y="1"/>
                      <a:pt x="2" y="2"/>
                      <a:pt x="2" y="3"/>
                    </a:cubicBezTo>
                    <a:cubicBezTo>
                      <a:pt x="1" y="5"/>
                      <a:pt x="0" y="4"/>
                      <a:pt x="1" y="6"/>
                    </a:cubicBezTo>
                    <a:cubicBezTo>
                      <a:pt x="2" y="5"/>
                      <a:pt x="4" y="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5" name="Freeform 2584">
                <a:extLst>
                  <a:ext uri="{FF2B5EF4-FFF2-40B4-BE49-F238E27FC236}">
                    <a16:creationId xmlns:a16="http://schemas.microsoft.com/office/drawing/2014/main" id="{0EFD7246-0292-457B-8422-09DFE2C2C676}"/>
                  </a:ext>
                </a:extLst>
              </p:cNvPr>
              <p:cNvSpPr>
                <a:spLocks/>
              </p:cNvSpPr>
              <p:nvPr/>
            </p:nvSpPr>
            <p:spPr bwMode="auto">
              <a:xfrm>
                <a:off x="3842" y="1293"/>
                <a:ext cx="12" cy="5"/>
              </a:xfrm>
              <a:custGeom>
                <a:avLst/>
                <a:gdLst>
                  <a:gd name="T0" fmla="*/ 0 w 5"/>
                  <a:gd name="T1" fmla="*/ 2 h 2"/>
                  <a:gd name="T2" fmla="*/ 2 w 5"/>
                  <a:gd name="T3" fmla="*/ 1 h 2"/>
                  <a:gd name="T4" fmla="*/ 4 w 5"/>
                  <a:gd name="T5" fmla="*/ 1 h 2"/>
                  <a:gd name="T6" fmla="*/ 1 w 5"/>
                  <a:gd name="T7" fmla="*/ 0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cubicBezTo>
                      <a:pt x="1" y="2"/>
                      <a:pt x="1" y="1"/>
                      <a:pt x="2" y="1"/>
                    </a:cubicBezTo>
                    <a:cubicBezTo>
                      <a:pt x="3" y="1"/>
                      <a:pt x="3" y="1"/>
                      <a:pt x="4" y="1"/>
                    </a:cubicBezTo>
                    <a:cubicBezTo>
                      <a:pt x="5" y="1"/>
                      <a:pt x="2" y="0"/>
                      <a:pt x="1" y="0"/>
                    </a:cubicBezTo>
                    <a:cubicBezTo>
                      <a:pt x="1" y="0"/>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6" name="Freeform 2585">
                <a:extLst>
                  <a:ext uri="{FF2B5EF4-FFF2-40B4-BE49-F238E27FC236}">
                    <a16:creationId xmlns:a16="http://schemas.microsoft.com/office/drawing/2014/main" id="{53AA532D-AB5D-4D3A-9A98-0D2FF7956373}"/>
                  </a:ext>
                </a:extLst>
              </p:cNvPr>
              <p:cNvSpPr>
                <a:spLocks/>
              </p:cNvSpPr>
              <p:nvPr/>
            </p:nvSpPr>
            <p:spPr bwMode="auto">
              <a:xfrm>
                <a:off x="7055" y="2433"/>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7" name="Freeform 2586">
                <a:extLst>
                  <a:ext uri="{FF2B5EF4-FFF2-40B4-BE49-F238E27FC236}">
                    <a16:creationId xmlns:a16="http://schemas.microsoft.com/office/drawing/2014/main" id="{0E41178B-375A-4A4F-90F1-E5DCFADE5765}"/>
                  </a:ext>
                </a:extLst>
              </p:cNvPr>
              <p:cNvSpPr>
                <a:spLocks/>
              </p:cNvSpPr>
              <p:nvPr/>
            </p:nvSpPr>
            <p:spPr bwMode="auto">
              <a:xfrm>
                <a:off x="7065" y="2410"/>
                <a:ext cx="2" cy="4"/>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0" y="1"/>
                      <a:pt x="1"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8" name="Freeform 2587">
                <a:extLst>
                  <a:ext uri="{FF2B5EF4-FFF2-40B4-BE49-F238E27FC236}">
                    <a16:creationId xmlns:a16="http://schemas.microsoft.com/office/drawing/2014/main" id="{B4D50430-DA92-4381-A85C-3D2BD7B29FCF}"/>
                  </a:ext>
                </a:extLst>
              </p:cNvPr>
              <p:cNvSpPr>
                <a:spLocks/>
              </p:cNvSpPr>
              <p:nvPr/>
            </p:nvSpPr>
            <p:spPr bwMode="auto">
              <a:xfrm>
                <a:off x="7067" y="2405"/>
                <a:ext cx="3" cy="5"/>
              </a:xfrm>
              <a:custGeom>
                <a:avLst/>
                <a:gdLst>
                  <a:gd name="T0" fmla="*/ 1 w 1"/>
                  <a:gd name="T1" fmla="*/ 0 h 2"/>
                  <a:gd name="T2" fmla="*/ 1 w 1"/>
                  <a:gd name="T3" fmla="*/ 0 h 2"/>
                  <a:gd name="T4" fmla="*/ 1 w 1"/>
                  <a:gd name="T5" fmla="*/ 0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1" y="0"/>
                    </a:cubicBezTo>
                    <a:cubicBezTo>
                      <a:pt x="1" y="0"/>
                      <a:pt x="1" y="0"/>
                      <a:pt x="1" y="0"/>
                    </a:cubicBezTo>
                    <a:cubicBezTo>
                      <a:pt x="1" y="1"/>
                      <a:pt x="1" y="1"/>
                      <a:pt x="0" y="2"/>
                    </a:cubicBezTo>
                    <a:cubicBezTo>
                      <a:pt x="1"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644" name="Group 2789">
              <a:extLst>
                <a:ext uri="{FF2B5EF4-FFF2-40B4-BE49-F238E27FC236}">
                  <a16:creationId xmlns:a16="http://schemas.microsoft.com/office/drawing/2014/main" id="{95CEC765-64B9-4886-9034-548D0F9465C6}"/>
                </a:ext>
              </a:extLst>
            </p:cNvPr>
            <p:cNvGrpSpPr>
              <a:grpSpLocks/>
            </p:cNvGrpSpPr>
            <p:nvPr/>
          </p:nvGrpSpPr>
          <p:grpSpPr bwMode="auto">
            <a:xfrm>
              <a:off x="4634" y="136"/>
              <a:ext cx="3322" cy="4117"/>
              <a:chOff x="4634" y="136"/>
              <a:chExt cx="3322" cy="4117"/>
            </a:xfrm>
            <a:grpFill/>
          </p:grpSpPr>
          <p:sp>
            <p:nvSpPr>
              <p:cNvPr id="2069" name="Freeform 2589">
                <a:extLst>
                  <a:ext uri="{FF2B5EF4-FFF2-40B4-BE49-F238E27FC236}">
                    <a16:creationId xmlns:a16="http://schemas.microsoft.com/office/drawing/2014/main" id="{FE32359A-0000-4FA3-839E-18531B7DD970}"/>
                  </a:ext>
                </a:extLst>
              </p:cNvPr>
              <p:cNvSpPr>
                <a:spLocks/>
              </p:cNvSpPr>
              <p:nvPr/>
            </p:nvSpPr>
            <p:spPr bwMode="auto">
              <a:xfrm>
                <a:off x="7067" y="2334"/>
                <a:ext cx="3" cy="2"/>
              </a:xfrm>
              <a:custGeom>
                <a:avLst/>
                <a:gdLst>
                  <a:gd name="T0" fmla="*/ 0 w 1"/>
                  <a:gd name="T1" fmla="*/ 1 h 1"/>
                  <a:gd name="T2" fmla="*/ 0 w 1"/>
                  <a:gd name="T3" fmla="*/ 1 h 1"/>
                  <a:gd name="T4" fmla="*/ 1 w 1"/>
                  <a:gd name="T5" fmla="*/ 1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0" y="1"/>
                    </a:cubicBezTo>
                    <a:cubicBezTo>
                      <a:pt x="0" y="1"/>
                      <a:pt x="1" y="1"/>
                      <a:pt x="1" y="1"/>
                    </a:cubicBezTo>
                    <a:cubicBezTo>
                      <a:pt x="1" y="1"/>
                      <a:pt x="1" y="0"/>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0" name="Freeform 2590">
                <a:extLst>
                  <a:ext uri="{FF2B5EF4-FFF2-40B4-BE49-F238E27FC236}">
                    <a16:creationId xmlns:a16="http://schemas.microsoft.com/office/drawing/2014/main" id="{B348DA6E-F09A-4DC0-BA63-D8ECBB030716}"/>
                  </a:ext>
                </a:extLst>
              </p:cNvPr>
              <p:cNvSpPr>
                <a:spLocks/>
              </p:cNvSpPr>
              <p:nvPr/>
            </p:nvSpPr>
            <p:spPr bwMode="auto">
              <a:xfrm>
                <a:off x="6036" y="2499"/>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1" name="Freeform 2591">
                <a:extLst>
                  <a:ext uri="{FF2B5EF4-FFF2-40B4-BE49-F238E27FC236}">
                    <a16:creationId xmlns:a16="http://schemas.microsoft.com/office/drawing/2014/main" id="{D6E02F44-CFF9-404D-9A5F-E31F917B25E8}"/>
                  </a:ext>
                </a:extLst>
              </p:cNvPr>
              <p:cNvSpPr>
                <a:spLocks/>
              </p:cNvSpPr>
              <p:nvPr/>
            </p:nvSpPr>
            <p:spPr bwMode="auto">
              <a:xfrm>
                <a:off x="7375" y="2958"/>
                <a:ext cx="35" cy="26"/>
              </a:xfrm>
              <a:custGeom>
                <a:avLst/>
                <a:gdLst>
                  <a:gd name="T0" fmla="*/ 15 w 15"/>
                  <a:gd name="T1" fmla="*/ 10 h 11"/>
                  <a:gd name="T2" fmla="*/ 14 w 15"/>
                  <a:gd name="T3" fmla="*/ 10 h 11"/>
                  <a:gd name="T4" fmla="*/ 14 w 15"/>
                  <a:gd name="T5" fmla="*/ 9 h 11"/>
                  <a:gd name="T6" fmla="*/ 14 w 15"/>
                  <a:gd name="T7" fmla="*/ 8 h 11"/>
                  <a:gd name="T8" fmla="*/ 11 w 15"/>
                  <a:gd name="T9" fmla="*/ 6 h 11"/>
                  <a:gd name="T10" fmla="*/ 8 w 15"/>
                  <a:gd name="T11" fmla="*/ 4 h 11"/>
                  <a:gd name="T12" fmla="*/ 7 w 15"/>
                  <a:gd name="T13" fmla="*/ 4 h 11"/>
                  <a:gd name="T14" fmla="*/ 5 w 15"/>
                  <a:gd name="T15" fmla="*/ 3 h 11"/>
                  <a:gd name="T16" fmla="*/ 2 w 15"/>
                  <a:gd name="T17" fmla="*/ 1 h 11"/>
                  <a:gd name="T18" fmla="*/ 0 w 15"/>
                  <a:gd name="T19" fmla="*/ 1 h 11"/>
                  <a:gd name="T20" fmla="*/ 1 w 15"/>
                  <a:gd name="T21" fmla="*/ 1 h 11"/>
                  <a:gd name="T22" fmla="*/ 2 w 15"/>
                  <a:gd name="T23" fmla="*/ 2 h 11"/>
                  <a:gd name="T24" fmla="*/ 2 w 15"/>
                  <a:gd name="T25" fmla="*/ 3 h 11"/>
                  <a:gd name="T26" fmla="*/ 3 w 15"/>
                  <a:gd name="T27" fmla="*/ 3 h 11"/>
                  <a:gd name="T28" fmla="*/ 7 w 15"/>
                  <a:gd name="T29" fmla="*/ 6 h 11"/>
                  <a:gd name="T30" fmla="*/ 15 w 15"/>
                  <a:gd name="T31" fmla="*/ 11 h 11"/>
                  <a:gd name="T32" fmla="*/ 15 w 15"/>
                  <a:gd name="T33"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1">
                    <a:moveTo>
                      <a:pt x="15" y="10"/>
                    </a:moveTo>
                    <a:cubicBezTo>
                      <a:pt x="14" y="10"/>
                      <a:pt x="14" y="10"/>
                      <a:pt x="14" y="10"/>
                    </a:cubicBezTo>
                    <a:cubicBezTo>
                      <a:pt x="14" y="9"/>
                      <a:pt x="14" y="9"/>
                      <a:pt x="14" y="9"/>
                    </a:cubicBezTo>
                    <a:cubicBezTo>
                      <a:pt x="14" y="8"/>
                      <a:pt x="14" y="8"/>
                      <a:pt x="14" y="8"/>
                    </a:cubicBezTo>
                    <a:cubicBezTo>
                      <a:pt x="13" y="7"/>
                      <a:pt x="12" y="7"/>
                      <a:pt x="11" y="6"/>
                    </a:cubicBezTo>
                    <a:cubicBezTo>
                      <a:pt x="10" y="5"/>
                      <a:pt x="9" y="5"/>
                      <a:pt x="8" y="4"/>
                    </a:cubicBezTo>
                    <a:cubicBezTo>
                      <a:pt x="8" y="4"/>
                      <a:pt x="7" y="4"/>
                      <a:pt x="7" y="4"/>
                    </a:cubicBezTo>
                    <a:cubicBezTo>
                      <a:pt x="6" y="4"/>
                      <a:pt x="6" y="3"/>
                      <a:pt x="5" y="3"/>
                    </a:cubicBezTo>
                    <a:cubicBezTo>
                      <a:pt x="4" y="2"/>
                      <a:pt x="4" y="1"/>
                      <a:pt x="2" y="1"/>
                    </a:cubicBezTo>
                    <a:cubicBezTo>
                      <a:pt x="2" y="1"/>
                      <a:pt x="0" y="0"/>
                      <a:pt x="0" y="1"/>
                    </a:cubicBezTo>
                    <a:cubicBezTo>
                      <a:pt x="0" y="1"/>
                      <a:pt x="1" y="1"/>
                      <a:pt x="1" y="1"/>
                    </a:cubicBezTo>
                    <a:cubicBezTo>
                      <a:pt x="1" y="1"/>
                      <a:pt x="1" y="1"/>
                      <a:pt x="2" y="2"/>
                    </a:cubicBezTo>
                    <a:cubicBezTo>
                      <a:pt x="2" y="2"/>
                      <a:pt x="2" y="2"/>
                      <a:pt x="2" y="3"/>
                    </a:cubicBezTo>
                    <a:cubicBezTo>
                      <a:pt x="2" y="3"/>
                      <a:pt x="2" y="3"/>
                      <a:pt x="3" y="3"/>
                    </a:cubicBezTo>
                    <a:cubicBezTo>
                      <a:pt x="4" y="5"/>
                      <a:pt x="5" y="6"/>
                      <a:pt x="7" y="6"/>
                    </a:cubicBezTo>
                    <a:cubicBezTo>
                      <a:pt x="10" y="8"/>
                      <a:pt x="12" y="9"/>
                      <a:pt x="15" y="11"/>
                    </a:cubicBezTo>
                    <a:cubicBezTo>
                      <a:pt x="15" y="11"/>
                      <a:pt x="15" y="10"/>
                      <a:pt x="1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2" name="Freeform 2592">
                <a:extLst>
                  <a:ext uri="{FF2B5EF4-FFF2-40B4-BE49-F238E27FC236}">
                    <a16:creationId xmlns:a16="http://schemas.microsoft.com/office/drawing/2014/main" id="{F3FB30B5-777D-4EFA-A90C-42DF5D1F5C43}"/>
                  </a:ext>
                </a:extLst>
              </p:cNvPr>
              <p:cNvSpPr>
                <a:spLocks/>
              </p:cNvSpPr>
              <p:nvPr/>
            </p:nvSpPr>
            <p:spPr bwMode="auto">
              <a:xfrm>
                <a:off x="7346" y="2970"/>
                <a:ext cx="17" cy="14"/>
              </a:xfrm>
              <a:custGeom>
                <a:avLst/>
                <a:gdLst>
                  <a:gd name="T0" fmla="*/ 3 w 7"/>
                  <a:gd name="T1" fmla="*/ 0 h 6"/>
                  <a:gd name="T2" fmla="*/ 0 w 7"/>
                  <a:gd name="T3" fmla="*/ 2 h 6"/>
                  <a:gd name="T4" fmla="*/ 0 w 7"/>
                  <a:gd name="T5" fmla="*/ 3 h 6"/>
                  <a:gd name="T6" fmla="*/ 1 w 7"/>
                  <a:gd name="T7" fmla="*/ 3 h 6"/>
                  <a:gd name="T8" fmla="*/ 3 w 7"/>
                  <a:gd name="T9" fmla="*/ 3 h 6"/>
                  <a:gd name="T10" fmla="*/ 3 w 7"/>
                  <a:gd name="T11" fmla="*/ 4 h 6"/>
                  <a:gd name="T12" fmla="*/ 6 w 7"/>
                  <a:gd name="T13" fmla="*/ 6 h 6"/>
                  <a:gd name="T14" fmla="*/ 5 w 7"/>
                  <a:gd name="T15" fmla="*/ 3 h 6"/>
                  <a:gd name="T16" fmla="*/ 3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3" y="0"/>
                    </a:moveTo>
                    <a:cubicBezTo>
                      <a:pt x="2" y="0"/>
                      <a:pt x="1" y="1"/>
                      <a:pt x="0" y="2"/>
                    </a:cubicBezTo>
                    <a:cubicBezTo>
                      <a:pt x="0" y="3"/>
                      <a:pt x="0" y="3"/>
                      <a:pt x="0" y="3"/>
                    </a:cubicBezTo>
                    <a:cubicBezTo>
                      <a:pt x="1" y="4"/>
                      <a:pt x="1" y="3"/>
                      <a:pt x="1" y="3"/>
                    </a:cubicBezTo>
                    <a:cubicBezTo>
                      <a:pt x="2" y="3"/>
                      <a:pt x="2" y="3"/>
                      <a:pt x="3" y="3"/>
                    </a:cubicBezTo>
                    <a:cubicBezTo>
                      <a:pt x="4" y="3"/>
                      <a:pt x="3" y="3"/>
                      <a:pt x="3" y="4"/>
                    </a:cubicBezTo>
                    <a:cubicBezTo>
                      <a:pt x="4" y="5"/>
                      <a:pt x="4" y="5"/>
                      <a:pt x="6" y="6"/>
                    </a:cubicBezTo>
                    <a:cubicBezTo>
                      <a:pt x="7" y="5"/>
                      <a:pt x="6" y="4"/>
                      <a:pt x="5" y="3"/>
                    </a:cubicBezTo>
                    <a:cubicBezTo>
                      <a:pt x="5" y="2"/>
                      <a:pt x="4"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3" name="Freeform 2593">
                <a:extLst>
                  <a:ext uri="{FF2B5EF4-FFF2-40B4-BE49-F238E27FC236}">
                    <a16:creationId xmlns:a16="http://schemas.microsoft.com/office/drawing/2014/main" id="{451DE0CE-392A-4153-92E9-29E806E634D5}"/>
                  </a:ext>
                </a:extLst>
              </p:cNvPr>
              <p:cNvSpPr>
                <a:spLocks/>
              </p:cNvSpPr>
              <p:nvPr/>
            </p:nvSpPr>
            <p:spPr bwMode="auto">
              <a:xfrm>
                <a:off x="7443" y="3025"/>
                <a:ext cx="28" cy="16"/>
              </a:xfrm>
              <a:custGeom>
                <a:avLst/>
                <a:gdLst>
                  <a:gd name="T0" fmla="*/ 8 w 12"/>
                  <a:gd name="T1" fmla="*/ 3 h 7"/>
                  <a:gd name="T2" fmla="*/ 4 w 12"/>
                  <a:gd name="T3" fmla="*/ 1 h 7"/>
                  <a:gd name="T4" fmla="*/ 1 w 12"/>
                  <a:gd name="T5" fmla="*/ 0 h 7"/>
                  <a:gd name="T6" fmla="*/ 1 w 12"/>
                  <a:gd name="T7" fmla="*/ 1 h 7"/>
                  <a:gd name="T8" fmla="*/ 2 w 12"/>
                  <a:gd name="T9" fmla="*/ 1 h 7"/>
                  <a:gd name="T10" fmla="*/ 3 w 12"/>
                  <a:gd name="T11" fmla="*/ 4 h 7"/>
                  <a:gd name="T12" fmla="*/ 4 w 12"/>
                  <a:gd name="T13" fmla="*/ 4 h 7"/>
                  <a:gd name="T14" fmla="*/ 6 w 12"/>
                  <a:gd name="T15" fmla="*/ 6 h 7"/>
                  <a:gd name="T16" fmla="*/ 8 w 12"/>
                  <a:gd name="T17" fmla="*/ 6 h 7"/>
                  <a:gd name="T18" fmla="*/ 12 w 12"/>
                  <a:gd name="T19" fmla="*/ 7 h 7"/>
                  <a:gd name="T20" fmla="*/ 9 w 12"/>
                  <a:gd name="T21" fmla="*/ 3 h 7"/>
                  <a:gd name="T22" fmla="*/ 8 w 12"/>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7">
                    <a:moveTo>
                      <a:pt x="8" y="3"/>
                    </a:moveTo>
                    <a:cubicBezTo>
                      <a:pt x="6" y="2"/>
                      <a:pt x="5" y="2"/>
                      <a:pt x="4" y="1"/>
                    </a:cubicBezTo>
                    <a:cubicBezTo>
                      <a:pt x="3" y="1"/>
                      <a:pt x="2" y="0"/>
                      <a:pt x="1" y="0"/>
                    </a:cubicBezTo>
                    <a:cubicBezTo>
                      <a:pt x="0" y="0"/>
                      <a:pt x="0" y="1"/>
                      <a:pt x="1" y="1"/>
                    </a:cubicBezTo>
                    <a:cubicBezTo>
                      <a:pt x="1" y="2"/>
                      <a:pt x="2" y="1"/>
                      <a:pt x="2" y="1"/>
                    </a:cubicBezTo>
                    <a:cubicBezTo>
                      <a:pt x="3" y="2"/>
                      <a:pt x="3" y="3"/>
                      <a:pt x="3" y="4"/>
                    </a:cubicBezTo>
                    <a:cubicBezTo>
                      <a:pt x="3" y="4"/>
                      <a:pt x="4" y="4"/>
                      <a:pt x="4" y="4"/>
                    </a:cubicBezTo>
                    <a:cubicBezTo>
                      <a:pt x="5" y="5"/>
                      <a:pt x="5" y="5"/>
                      <a:pt x="6" y="6"/>
                    </a:cubicBezTo>
                    <a:cubicBezTo>
                      <a:pt x="7" y="6"/>
                      <a:pt x="8" y="6"/>
                      <a:pt x="8" y="6"/>
                    </a:cubicBezTo>
                    <a:cubicBezTo>
                      <a:pt x="9" y="6"/>
                      <a:pt x="11" y="7"/>
                      <a:pt x="12" y="7"/>
                    </a:cubicBezTo>
                    <a:cubicBezTo>
                      <a:pt x="11" y="5"/>
                      <a:pt x="10" y="4"/>
                      <a:pt x="9" y="3"/>
                    </a:cubicBezTo>
                    <a:cubicBezTo>
                      <a:pt x="8" y="2"/>
                      <a:pt x="8" y="3"/>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4" name="Freeform 2594">
                <a:extLst>
                  <a:ext uri="{FF2B5EF4-FFF2-40B4-BE49-F238E27FC236}">
                    <a16:creationId xmlns:a16="http://schemas.microsoft.com/office/drawing/2014/main" id="{4D9136FD-8A54-4CF7-94C9-94E4262CDCDC}"/>
                  </a:ext>
                </a:extLst>
              </p:cNvPr>
              <p:cNvSpPr>
                <a:spLocks/>
              </p:cNvSpPr>
              <p:nvPr/>
            </p:nvSpPr>
            <p:spPr bwMode="auto">
              <a:xfrm>
                <a:off x="7344" y="2975"/>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5" name="Freeform 2595">
                <a:extLst>
                  <a:ext uri="{FF2B5EF4-FFF2-40B4-BE49-F238E27FC236}">
                    <a16:creationId xmlns:a16="http://schemas.microsoft.com/office/drawing/2014/main" id="{8B61B6C8-7D46-4575-A5A8-04838C26D50E}"/>
                  </a:ext>
                </a:extLst>
              </p:cNvPr>
              <p:cNvSpPr>
                <a:spLocks/>
              </p:cNvSpPr>
              <p:nvPr/>
            </p:nvSpPr>
            <p:spPr bwMode="auto">
              <a:xfrm>
                <a:off x="7424" y="2977"/>
                <a:ext cx="21" cy="34"/>
              </a:xfrm>
              <a:custGeom>
                <a:avLst/>
                <a:gdLst>
                  <a:gd name="T0" fmla="*/ 9 w 9"/>
                  <a:gd name="T1" fmla="*/ 13 h 14"/>
                  <a:gd name="T2" fmla="*/ 8 w 9"/>
                  <a:gd name="T3" fmla="*/ 11 h 14"/>
                  <a:gd name="T4" fmla="*/ 8 w 9"/>
                  <a:gd name="T5" fmla="*/ 10 h 14"/>
                  <a:gd name="T6" fmla="*/ 7 w 9"/>
                  <a:gd name="T7" fmla="*/ 8 h 14"/>
                  <a:gd name="T8" fmla="*/ 6 w 9"/>
                  <a:gd name="T9" fmla="*/ 7 h 14"/>
                  <a:gd name="T10" fmla="*/ 4 w 9"/>
                  <a:gd name="T11" fmla="*/ 3 h 14"/>
                  <a:gd name="T12" fmla="*/ 2 w 9"/>
                  <a:gd name="T13" fmla="*/ 0 h 14"/>
                  <a:gd name="T14" fmla="*/ 3 w 9"/>
                  <a:gd name="T15" fmla="*/ 1 h 14"/>
                  <a:gd name="T16" fmla="*/ 2 w 9"/>
                  <a:gd name="T17" fmla="*/ 2 h 14"/>
                  <a:gd name="T18" fmla="*/ 2 w 9"/>
                  <a:gd name="T19" fmla="*/ 4 h 14"/>
                  <a:gd name="T20" fmla="*/ 4 w 9"/>
                  <a:gd name="T21" fmla="*/ 9 h 14"/>
                  <a:gd name="T22" fmla="*/ 9 w 9"/>
                  <a:gd name="T23" fmla="*/ 14 h 14"/>
                  <a:gd name="T24" fmla="*/ 9 w 9"/>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4">
                    <a:moveTo>
                      <a:pt x="9" y="13"/>
                    </a:moveTo>
                    <a:cubicBezTo>
                      <a:pt x="9" y="12"/>
                      <a:pt x="9" y="12"/>
                      <a:pt x="8" y="11"/>
                    </a:cubicBezTo>
                    <a:cubicBezTo>
                      <a:pt x="8" y="11"/>
                      <a:pt x="8" y="11"/>
                      <a:pt x="8" y="10"/>
                    </a:cubicBezTo>
                    <a:cubicBezTo>
                      <a:pt x="8" y="9"/>
                      <a:pt x="8" y="8"/>
                      <a:pt x="7" y="8"/>
                    </a:cubicBezTo>
                    <a:cubicBezTo>
                      <a:pt x="7" y="7"/>
                      <a:pt x="6" y="7"/>
                      <a:pt x="6" y="7"/>
                    </a:cubicBezTo>
                    <a:cubicBezTo>
                      <a:pt x="5" y="5"/>
                      <a:pt x="5" y="4"/>
                      <a:pt x="4" y="3"/>
                    </a:cubicBezTo>
                    <a:cubicBezTo>
                      <a:pt x="4" y="2"/>
                      <a:pt x="3" y="1"/>
                      <a:pt x="2" y="0"/>
                    </a:cubicBezTo>
                    <a:cubicBezTo>
                      <a:pt x="3" y="1"/>
                      <a:pt x="3" y="1"/>
                      <a:pt x="3" y="1"/>
                    </a:cubicBezTo>
                    <a:cubicBezTo>
                      <a:pt x="0" y="0"/>
                      <a:pt x="1" y="1"/>
                      <a:pt x="2" y="2"/>
                    </a:cubicBezTo>
                    <a:cubicBezTo>
                      <a:pt x="3" y="3"/>
                      <a:pt x="2" y="3"/>
                      <a:pt x="2" y="4"/>
                    </a:cubicBezTo>
                    <a:cubicBezTo>
                      <a:pt x="2" y="5"/>
                      <a:pt x="3" y="8"/>
                      <a:pt x="4" y="9"/>
                    </a:cubicBezTo>
                    <a:cubicBezTo>
                      <a:pt x="6" y="11"/>
                      <a:pt x="7" y="12"/>
                      <a:pt x="9" y="14"/>
                    </a:cubicBezTo>
                    <a:cubicBezTo>
                      <a:pt x="9" y="13"/>
                      <a:pt x="9" y="13"/>
                      <a:pt x="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6" name="Freeform 2596">
                <a:extLst>
                  <a:ext uri="{FF2B5EF4-FFF2-40B4-BE49-F238E27FC236}">
                    <a16:creationId xmlns:a16="http://schemas.microsoft.com/office/drawing/2014/main" id="{A3FD0499-4514-4B4F-AD79-25E2215A623C}"/>
                  </a:ext>
                </a:extLst>
              </p:cNvPr>
              <p:cNvSpPr>
                <a:spLocks/>
              </p:cNvSpPr>
              <p:nvPr/>
            </p:nvSpPr>
            <p:spPr bwMode="auto">
              <a:xfrm>
                <a:off x="7330" y="2970"/>
                <a:ext cx="2" cy="5"/>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0"/>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7" name="Freeform 2597">
                <a:extLst>
                  <a:ext uri="{FF2B5EF4-FFF2-40B4-BE49-F238E27FC236}">
                    <a16:creationId xmlns:a16="http://schemas.microsoft.com/office/drawing/2014/main" id="{0DAE6607-0BBE-472D-B805-0D5D82C58C96}"/>
                  </a:ext>
                </a:extLst>
              </p:cNvPr>
              <p:cNvSpPr>
                <a:spLocks/>
              </p:cNvSpPr>
              <p:nvPr/>
            </p:nvSpPr>
            <p:spPr bwMode="auto">
              <a:xfrm>
                <a:off x="7351" y="2987"/>
                <a:ext cx="5" cy="2"/>
              </a:xfrm>
              <a:custGeom>
                <a:avLst/>
                <a:gdLst>
                  <a:gd name="T0" fmla="*/ 0 w 2"/>
                  <a:gd name="T1" fmla="*/ 1 h 1"/>
                  <a:gd name="T2" fmla="*/ 2 w 2"/>
                  <a:gd name="T3" fmla="*/ 1 h 1"/>
                  <a:gd name="T4" fmla="*/ 0 w 2"/>
                  <a:gd name="T5" fmla="*/ 1 h 1"/>
                </a:gdLst>
                <a:ahLst/>
                <a:cxnLst>
                  <a:cxn ang="0">
                    <a:pos x="T0" y="T1"/>
                  </a:cxn>
                  <a:cxn ang="0">
                    <a:pos x="T2" y="T3"/>
                  </a:cxn>
                  <a:cxn ang="0">
                    <a:pos x="T4" y="T5"/>
                  </a:cxn>
                </a:cxnLst>
                <a:rect l="0" t="0" r="r" b="b"/>
                <a:pathLst>
                  <a:path w="2" h="1">
                    <a:moveTo>
                      <a:pt x="0" y="1"/>
                    </a:moveTo>
                    <a:cubicBezTo>
                      <a:pt x="1" y="1"/>
                      <a:pt x="1" y="1"/>
                      <a:pt x="2" y="1"/>
                    </a:cubicBezTo>
                    <a:cubicBezTo>
                      <a:pt x="2"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8" name="Freeform 2598">
                <a:extLst>
                  <a:ext uri="{FF2B5EF4-FFF2-40B4-BE49-F238E27FC236}">
                    <a16:creationId xmlns:a16="http://schemas.microsoft.com/office/drawing/2014/main" id="{D77A0C5F-762B-4AD2-ABC8-E36D99FB113E}"/>
                  </a:ext>
                </a:extLst>
              </p:cNvPr>
              <p:cNvSpPr>
                <a:spLocks/>
              </p:cNvSpPr>
              <p:nvPr/>
            </p:nvSpPr>
            <p:spPr bwMode="auto">
              <a:xfrm>
                <a:off x="7344" y="2980"/>
                <a:ext cx="7" cy="9"/>
              </a:xfrm>
              <a:custGeom>
                <a:avLst/>
                <a:gdLst>
                  <a:gd name="T0" fmla="*/ 3 w 3"/>
                  <a:gd name="T1" fmla="*/ 1 h 4"/>
                  <a:gd name="T2" fmla="*/ 1 w 3"/>
                  <a:gd name="T3" fmla="*/ 2 h 4"/>
                  <a:gd name="T4" fmla="*/ 2 w 3"/>
                  <a:gd name="T5" fmla="*/ 4 h 4"/>
                  <a:gd name="T6" fmla="*/ 3 w 3"/>
                  <a:gd name="T7" fmla="*/ 1 h 4"/>
                </a:gdLst>
                <a:ahLst/>
                <a:cxnLst>
                  <a:cxn ang="0">
                    <a:pos x="T0" y="T1"/>
                  </a:cxn>
                  <a:cxn ang="0">
                    <a:pos x="T2" y="T3"/>
                  </a:cxn>
                  <a:cxn ang="0">
                    <a:pos x="T4" y="T5"/>
                  </a:cxn>
                  <a:cxn ang="0">
                    <a:pos x="T6" y="T7"/>
                  </a:cxn>
                </a:cxnLst>
                <a:rect l="0" t="0" r="r" b="b"/>
                <a:pathLst>
                  <a:path w="3" h="4">
                    <a:moveTo>
                      <a:pt x="3" y="1"/>
                    </a:moveTo>
                    <a:cubicBezTo>
                      <a:pt x="2" y="0"/>
                      <a:pt x="1" y="1"/>
                      <a:pt x="1" y="2"/>
                    </a:cubicBezTo>
                    <a:cubicBezTo>
                      <a:pt x="0" y="3"/>
                      <a:pt x="2" y="3"/>
                      <a:pt x="2" y="4"/>
                    </a:cubicBezTo>
                    <a:cubicBezTo>
                      <a:pt x="1" y="2"/>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9" name="Freeform 2599">
                <a:extLst>
                  <a:ext uri="{FF2B5EF4-FFF2-40B4-BE49-F238E27FC236}">
                    <a16:creationId xmlns:a16="http://schemas.microsoft.com/office/drawing/2014/main" id="{C1D3AF9A-4B32-48F2-AA49-F49027D62364}"/>
                  </a:ext>
                </a:extLst>
              </p:cNvPr>
              <p:cNvSpPr>
                <a:spLocks/>
              </p:cNvSpPr>
              <p:nvPr/>
            </p:nvSpPr>
            <p:spPr bwMode="auto">
              <a:xfrm>
                <a:off x="7325" y="2937"/>
                <a:ext cx="31" cy="19"/>
              </a:xfrm>
              <a:custGeom>
                <a:avLst/>
                <a:gdLst>
                  <a:gd name="T0" fmla="*/ 12 w 13"/>
                  <a:gd name="T1" fmla="*/ 7 h 8"/>
                  <a:gd name="T2" fmla="*/ 10 w 13"/>
                  <a:gd name="T3" fmla="*/ 7 h 8"/>
                  <a:gd name="T4" fmla="*/ 8 w 13"/>
                  <a:gd name="T5" fmla="*/ 6 h 8"/>
                  <a:gd name="T6" fmla="*/ 7 w 13"/>
                  <a:gd name="T7" fmla="*/ 3 h 8"/>
                  <a:gd name="T8" fmla="*/ 4 w 13"/>
                  <a:gd name="T9" fmla="*/ 2 h 8"/>
                  <a:gd name="T10" fmla="*/ 2 w 13"/>
                  <a:gd name="T11" fmla="*/ 0 h 8"/>
                  <a:gd name="T12" fmla="*/ 1 w 13"/>
                  <a:gd name="T13" fmla="*/ 1 h 8"/>
                  <a:gd name="T14" fmla="*/ 3 w 13"/>
                  <a:gd name="T15" fmla="*/ 3 h 8"/>
                  <a:gd name="T16" fmla="*/ 5 w 13"/>
                  <a:gd name="T17" fmla="*/ 5 h 8"/>
                  <a:gd name="T18" fmla="*/ 9 w 13"/>
                  <a:gd name="T19" fmla="*/ 8 h 8"/>
                  <a:gd name="T20" fmla="*/ 12 w 13"/>
                  <a:gd name="T2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12" y="7"/>
                    </a:moveTo>
                    <a:cubicBezTo>
                      <a:pt x="12" y="7"/>
                      <a:pt x="10" y="7"/>
                      <a:pt x="10" y="7"/>
                    </a:cubicBezTo>
                    <a:cubicBezTo>
                      <a:pt x="9" y="7"/>
                      <a:pt x="9" y="6"/>
                      <a:pt x="8" y="6"/>
                    </a:cubicBezTo>
                    <a:cubicBezTo>
                      <a:pt x="8" y="5"/>
                      <a:pt x="8" y="4"/>
                      <a:pt x="7" y="3"/>
                    </a:cubicBezTo>
                    <a:cubicBezTo>
                      <a:pt x="6" y="2"/>
                      <a:pt x="5" y="2"/>
                      <a:pt x="4" y="2"/>
                    </a:cubicBezTo>
                    <a:cubicBezTo>
                      <a:pt x="3" y="1"/>
                      <a:pt x="3" y="1"/>
                      <a:pt x="2" y="0"/>
                    </a:cubicBezTo>
                    <a:cubicBezTo>
                      <a:pt x="1" y="0"/>
                      <a:pt x="0" y="0"/>
                      <a:pt x="1" y="1"/>
                    </a:cubicBezTo>
                    <a:cubicBezTo>
                      <a:pt x="1" y="2"/>
                      <a:pt x="2" y="2"/>
                      <a:pt x="3" y="3"/>
                    </a:cubicBezTo>
                    <a:cubicBezTo>
                      <a:pt x="4" y="3"/>
                      <a:pt x="4" y="4"/>
                      <a:pt x="5" y="5"/>
                    </a:cubicBezTo>
                    <a:cubicBezTo>
                      <a:pt x="6" y="7"/>
                      <a:pt x="7" y="7"/>
                      <a:pt x="9" y="8"/>
                    </a:cubicBezTo>
                    <a:cubicBezTo>
                      <a:pt x="10" y="8"/>
                      <a:pt x="13" y="8"/>
                      <a:pt x="1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0" name="Freeform 2600">
                <a:extLst>
                  <a:ext uri="{FF2B5EF4-FFF2-40B4-BE49-F238E27FC236}">
                    <a16:creationId xmlns:a16="http://schemas.microsoft.com/office/drawing/2014/main" id="{76980E94-AD25-48A9-9294-D7CC01FD8EEE}"/>
                  </a:ext>
                </a:extLst>
              </p:cNvPr>
              <p:cNvSpPr>
                <a:spLocks/>
              </p:cNvSpPr>
              <p:nvPr/>
            </p:nvSpPr>
            <p:spPr bwMode="auto">
              <a:xfrm>
                <a:off x="7372" y="2958"/>
                <a:ext cx="3"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1" name="Freeform 2601">
                <a:extLst>
                  <a:ext uri="{FF2B5EF4-FFF2-40B4-BE49-F238E27FC236}">
                    <a16:creationId xmlns:a16="http://schemas.microsoft.com/office/drawing/2014/main" id="{698F855E-0A55-44FB-9852-20A55FA96EA2}"/>
                  </a:ext>
                </a:extLst>
              </p:cNvPr>
              <p:cNvSpPr>
                <a:spLocks/>
              </p:cNvSpPr>
              <p:nvPr/>
            </p:nvSpPr>
            <p:spPr bwMode="auto">
              <a:xfrm>
                <a:off x="7460" y="3013"/>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2" name="Freeform 2602">
                <a:extLst>
                  <a:ext uri="{FF2B5EF4-FFF2-40B4-BE49-F238E27FC236}">
                    <a16:creationId xmlns:a16="http://schemas.microsoft.com/office/drawing/2014/main" id="{DCCFEA1F-9F61-4C8F-8BA1-A878F01EFDBC}"/>
                  </a:ext>
                </a:extLst>
              </p:cNvPr>
              <p:cNvSpPr>
                <a:spLocks/>
              </p:cNvSpPr>
              <p:nvPr/>
            </p:nvSpPr>
            <p:spPr bwMode="auto">
              <a:xfrm>
                <a:off x="7403" y="2999"/>
                <a:ext cx="28" cy="19"/>
              </a:xfrm>
              <a:custGeom>
                <a:avLst/>
                <a:gdLst>
                  <a:gd name="T0" fmla="*/ 11 w 12"/>
                  <a:gd name="T1" fmla="*/ 6 h 8"/>
                  <a:gd name="T2" fmla="*/ 10 w 12"/>
                  <a:gd name="T3" fmla="*/ 4 h 8"/>
                  <a:gd name="T4" fmla="*/ 6 w 12"/>
                  <a:gd name="T5" fmla="*/ 3 h 8"/>
                  <a:gd name="T6" fmla="*/ 5 w 12"/>
                  <a:gd name="T7" fmla="*/ 3 h 8"/>
                  <a:gd name="T8" fmla="*/ 0 w 12"/>
                  <a:gd name="T9" fmla="*/ 2 h 8"/>
                  <a:gd name="T10" fmla="*/ 1 w 12"/>
                  <a:gd name="T11" fmla="*/ 5 h 8"/>
                  <a:gd name="T12" fmla="*/ 5 w 12"/>
                  <a:gd name="T13" fmla="*/ 7 h 8"/>
                  <a:gd name="T14" fmla="*/ 8 w 12"/>
                  <a:gd name="T15" fmla="*/ 7 h 8"/>
                  <a:gd name="T16" fmla="*/ 9 w 12"/>
                  <a:gd name="T17" fmla="*/ 8 h 8"/>
                  <a:gd name="T18" fmla="*/ 11 w 12"/>
                  <a:gd name="T19" fmla="*/ 8 h 8"/>
                  <a:gd name="T20" fmla="*/ 12 w 12"/>
                  <a:gd name="T21" fmla="*/ 6 h 8"/>
                  <a:gd name="T22" fmla="*/ 11 w 12"/>
                  <a:gd name="T2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8">
                    <a:moveTo>
                      <a:pt x="11" y="6"/>
                    </a:moveTo>
                    <a:cubicBezTo>
                      <a:pt x="11" y="5"/>
                      <a:pt x="11" y="5"/>
                      <a:pt x="10" y="4"/>
                    </a:cubicBezTo>
                    <a:cubicBezTo>
                      <a:pt x="9" y="3"/>
                      <a:pt x="7" y="3"/>
                      <a:pt x="6" y="3"/>
                    </a:cubicBezTo>
                    <a:cubicBezTo>
                      <a:pt x="5" y="3"/>
                      <a:pt x="5" y="3"/>
                      <a:pt x="5" y="3"/>
                    </a:cubicBezTo>
                    <a:cubicBezTo>
                      <a:pt x="3" y="3"/>
                      <a:pt x="1" y="0"/>
                      <a:pt x="0" y="2"/>
                    </a:cubicBezTo>
                    <a:cubicBezTo>
                      <a:pt x="0" y="3"/>
                      <a:pt x="0" y="4"/>
                      <a:pt x="1" y="5"/>
                    </a:cubicBezTo>
                    <a:cubicBezTo>
                      <a:pt x="2" y="6"/>
                      <a:pt x="3" y="7"/>
                      <a:pt x="5" y="7"/>
                    </a:cubicBezTo>
                    <a:cubicBezTo>
                      <a:pt x="5" y="7"/>
                      <a:pt x="7" y="7"/>
                      <a:pt x="8" y="7"/>
                    </a:cubicBezTo>
                    <a:cubicBezTo>
                      <a:pt x="8" y="7"/>
                      <a:pt x="8" y="8"/>
                      <a:pt x="9" y="8"/>
                    </a:cubicBezTo>
                    <a:cubicBezTo>
                      <a:pt x="9" y="8"/>
                      <a:pt x="10" y="8"/>
                      <a:pt x="11" y="8"/>
                    </a:cubicBezTo>
                    <a:cubicBezTo>
                      <a:pt x="11" y="8"/>
                      <a:pt x="12" y="7"/>
                      <a:pt x="12" y="6"/>
                    </a:cubicBezTo>
                    <a:cubicBezTo>
                      <a:pt x="12" y="6"/>
                      <a:pt x="12"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3" name="Freeform 2603">
                <a:extLst>
                  <a:ext uri="{FF2B5EF4-FFF2-40B4-BE49-F238E27FC236}">
                    <a16:creationId xmlns:a16="http://schemas.microsoft.com/office/drawing/2014/main" id="{A1D87734-6D95-4CD7-BECC-904834E300E3}"/>
                  </a:ext>
                </a:extLst>
              </p:cNvPr>
              <p:cNvSpPr>
                <a:spLocks/>
              </p:cNvSpPr>
              <p:nvPr/>
            </p:nvSpPr>
            <p:spPr bwMode="auto">
              <a:xfrm>
                <a:off x="7445" y="3003"/>
                <a:ext cx="5" cy="12"/>
              </a:xfrm>
              <a:custGeom>
                <a:avLst/>
                <a:gdLst>
                  <a:gd name="T0" fmla="*/ 0 w 2"/>
                  <a:gd name="T1" fmla="*/ 0 h 5"/>
                  <a:gd name="T2" fmla="*/ 2 w 2"/>
                  <a:gd name="T3" fmla="*/ 5 h 5"/>
                  <a:gd name="T4" fmla="*/ 0 w 2"/>
                  <a:gd name="T5" fmla="*/ 0 h 5"/>
                </a:gdLst>
                <a:ahLst/>
                <a:cxnLst>
                  <a:cxn ang="0">
                    <a:pos x="T0" y="T1"/>
                  </a:cxn>
                  <a:cxn ang="0">
                    <a:pos x="T2" y="T3"/>
                  </a:cxn>
                  <a:cxn ang="0">
                    <a:pos x="T4" y="T5"/>
                  </a:cxn>
                </a:cxnLst>
                <a:rect l="0" t="0" r="r" b="b"/>
                <a:pathLst>
                  <a:path w="2" h="5">
                    <a:moveTo>
                      <a:pt x="0" y="0"/>
                    </a:moveTo>
                    <a:cubicBezTo>
                      <a:pt x="1" y="2"/>
                      <a:pt x="1" y="3"/>
                      <a:pt x="2" y="5"/>
                    </a:cubicBezTo>
                    <a:cubicBezTo>
                      <a:pt x="2" y="3"/>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4" name="Freeform 2604">
                <a:extLst>
                  <a:ext uri="{FF2B5EF4-FFF2-40B4-BE49-F238E27FC236}">
                    <a16:creationId xmlns:a16="http://schemas.microsoft.com/office/drawing/2014/main" id="{3C0652CE-3FC9-43A0-9ABE-93EEC59914E7}"/>
                  </a:ext>
                </a:extLst>
              </p:cNvPr>
              <p:cNvSpPr>
                <a:spLocks/>
              </p:cNvSpPr>
              <p:nvPr/>
            </p:nvSpPr>
            <p:spPr bwMode="auto">
              <a:xfrm>
                <a:off x="7403" y="2980"/>
                <a:ext cx="2" cy="4"/>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0"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5" name="Freeform 2605">
                <a:extLst>
                  <a:ext uri="{FF2B5EF4-FFF2-40B4-BE49-F238E27FC236}">
                    <a16:creationId xmlns:a16="http://schemas.microsoft.com/office/drawing/2014/main" id="{9BD7D1FE-116C-4C0D-B0E8-0CE4A220F628}"/>
                  </a:ext>
                </a:extLst>
              </p:cNvPr>
              <p:cNvSpPr>
                <a:spLocks/>
              </p:cNvSpPr>
              <p:nvPr/>
            </p:nvSpPr>
            <p:spPr bwMode="auto">
              <a:xfrm>
                <a:off x="7372" y="2961"/>
                <a:ext cx="5" cy="2"/>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0"/>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6" name="Freeform 2606">
                <a:extLst>
                  <a:ext uri="{FF2B5EF4-FFF2-40B4-BE49-F238E27FC236}">
                    <a16:creationId xmlns:a16="http://schemas.microsoft.com/office/drawing/2014/main" id="{85EBFD81-8E83-4E39-9E58-E5EA939D28AE}"/>
                  </a:ext>
                </a:extLst>
              </p:cNvPr>
              <p:cNvSpPr>
                <a:spLocks/>
              </p:cNvSpPr>
              <p:nvPr/>
            </p:nvSpPr>
            <p:spPr bwMode="auto">
              <a:xfrm>
                <a:off x="7337" y="2968"/>
                <a:ext cx="9" cy="7"/>
              </a:xfrm>
              <a:custGeom>
                <a:avLst/>
                <a:gdLst>
                  <a:gd name="T0" fmla="*/ 3 w 4"/>
                  <a:gd name="T1" fmla="*/ 0 h 3"/>
                  <a:gd name="T2" fmla="*/ 1 w 4"/>
                  <a:gd name="T3" fmla="*/ 1 h 3"/>
                  <a:gd name="T4" fmla="*/ 3 w 4"/>
                  <a:gd name="T5" fmla="*/ 3 h 3"/>
                  <a:gd name="T6" fmla="*/ 3 w 4"/>
                  <a:gd name="T7" fmla="*/ 0 h 3"/>
                </a:gdLst>
                <a:ahLst/>
                <a:cxnLst>
                  <a:cxn ang="0">
                    <a:pos x="T0" y="T1"/>
                  </a:cxn>
                  <a:cxn ang="0">
                    <a:pos x="T2" y="T3"/>
                  </a:cxn>
                  <a:cxn ang="0">
                    <a:pos x="T4" y="T5"/>
                  </a:cxn>
                  <a:cxn ang="0">
                    <a:pos x="T6" y="T7"/>
                  </a:cxn>
                </a:cxnLst>
                <a:rect l="0" t="0" r="r" b="b"/>
                <a:pathLst>
                  <a:path w="4" h="3">
                    <a:moveTo>
                      <a:pt x="3" y="0"/>
                    </a:moveTo>
                    <a:cubicBezTo>
                      <a:pt x="2" y="0"/>
                      <a:pt x="2" y="0"/>
                      <a:pt x="1" y="1"/>
                    </a:cubicBezTo>
                    <a:cubicBezTo>
                      <a:pt x="0" y="2"/>
                      <a:pt x="2" y="2"/>
                      <a:pt x="3" y="3"/>
                    </a:cubicBezTo>
                    <a:cubicBezTo>
                      <a:pt x="4" y="2"/>
                      <a:pt x="4"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7" name="Freeform 2607">
                <a:extLst>
                  <a:ext uri="{FF2B5EF4-FFF2-40B4-BE49-F238E27FC236}">
                    <a16:creationId xmlns:a16="http://schemas.microsoft.com/office/drawing/2014/main" id="{96A6BDF1-E568-459F-A3B7-5E34B0C53C2B}"/>
                  </a:ext>
                </a:extLst>
              </p:cNvPr>
              <p:cNvSpPr>
                <a:spLocks/>
              </p:cNvSpPr>
              <p:nvPr/>
            </p:nvSpPr>
            <p:spPr bwMode="auto">
              <a:xfrm>
                <a:off x="7370" y="2987"/>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8" name="Freeform 2608">
                <a:extLst>
                  <a:ext uri="{FF2B5EF4-FFF2-40B4-BE49-F238E27FC236}">
                    <a16:creationId xmlns:a16="http://schemas.microsoft.com/office/drawing/2014/main" id="{A17DE91C-3FB3-48F0-8795-82CF1D73103A}"/>
                  </a:ext>
                </a:extLst>
              </p:cNvPr>
              <p:cNvSpPr>
                <a:spLocks/>
              </p:cNvSpPr>
              <p:nvPr/>
            </p:nvSpPr>
            <p:spPr bwMode="auto">
              <a:xfrm>
                <a:off x="7311" y="2947"/>
                <a:ext cx="4" cy="2"/>
              </a:xfrm>
              <a:custGeom>
                <a:avLst/>
                <a:gdLst>
                  <a:gd name="T0" fmla="*/ 0 w 2"/>
                  <a:gd name="T1" fmla="*/ 0 h 1"/>
                  <a:gd name="T2" fmla="*/ 0 w 2"/>
                  <a:gd name="T3" fmla="*/ 1 h 1"/>
                  <a:gd name="T4" fmla="*/ 0 w 2"/>
                  <a:gd name="T5" fmla="*/ 0 h 1"/>
                </a:gdLst>
                <a:ahLst/>
                <a:cxnLst>
                  <a:cxn ang="0">
                    <a:pos x="T0" y="T1"/>
                  </a:cxn>
                  <a:cxn ang="0">
                    <a:pos x="T2" y="T3"/>
                  </a:cxn>
                  <a:cxn ang="0">
                    <a:pos x="T4" y="T5"/>
                  </a:cxn>
                </a:cxnLst>
                <a:rect l="0" t="0" r="r" b="b"/>
                <a:pathLst>
                  <a:path w="2" h="1">
                    <a:moveTo>
                      <a:pt x="0" y="0"/>
                    </a:moveTo>
                    <a:cubicBezTo>
                      <a:pt x="0" y="0"/>
                      <a:pt x="0" y="1"/>
                      <a:pt x="0" y="1"/>
                    </a:cubicBezTo>
                    <a:cubicBezTo>
                      <a:pt x="2"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9" name="Freeform 2609">
                <a:extLst>
                  <a:ext uri="{FF2B5EF4-FFF2-40B4-BE49-F238E27FC236}">
                    <a16:creationId xmlns:a16="http://schemas.microsoft.com/office/drawing/2014/main" id="{A335B7B7-7442-4433-AA3B-2B48562D706A}"/>
                  </a:ext>
                </a:extLst>
              </p:cNvPr>
              <p:cNvSpPr>
                <a:spLocks/>
              </p:cNvSpPr>
              <p:nvPr/>
            </p:nvSpPr>
            <p:spPr bwMode="auto">
              <a:xfrm>
                <a:off x="7419" y="2996"/>
                <a:ext cx="5" cy="5"/>
              </a:xfrm>
              <a:custGeom>
                <a:avLst/>
                <a:gdLst>
                  <a:gd name="T0" fmla="*/ 0 w 2"/>
                  <a:gd name="T1" fmla="*/ 2 h 2"/>
                  <a:gd name="T2" fmla="*/ 0 w 2"/>
                  <a:gd name="T3" fmla="*/ 2 h 2"/>
                </a:gdLst>
                <a:ahLst/>
                <a:cxnLst>
                  <a:cxn ang="0">
                    <a:pos x="T0" y="T1"/>
                  </a:cxn>
                  <a:cxn ang="0">
                    <a:pos x="T2" y="T3"/>
                  </a:cxn>
                </a:cxnLst>
                <a:rect l="0" t="0" r="r" b="b"/>
                <a:pathLst>
                  <a:path w="2" h="2">
                    <a:moveTo>
                      <a:pt x="0" y="2"/>
                    </a:moveTo>
                    <a:cubicBezTo>
                      <a:pt x="2" y="2"/>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0" name="Freeform 2610">
                <a:extLst>
                  <a:ext uri="{FF2B5EF4-FFF2-40B4-BE49-F238E27FC236}">
                    <a16:creationId xmlns:a16="http://schemas.microsoft.com/office/drawing/2014/main" id="{2EE4F8F9-3610-4449-BA53-821E4C39E805}"/>
                  </a:ext>
                </a:extLst>
              </p:cNvPr>
              <p:cNvSpPr>
                <a:spLocks/>
              </p:cNvSpPr>
              <p:nvPr/>
            </p:nvSpPr>
            <p:spPr bwMode="auto">
              <a:xfrm>
                <a:off x="7341" y="2975"/>
                <a:ext cx="3"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1" name="Freeform 2611">
                <a:extLst>
                  <a:ext uri="{FF2B5EF4-FFF2-40B4-BE49-F238E27FC236}">
                    <a16:creationId xmlns:a16="http://schemas.microsoft.com/office/drawing/2014/main" id="{C974656D-B176-4C7E-B33D-A75A0C7B5BD7}"/>
                  </a:ext>
                </a:extLst>
              </p:cNvPr>
              <p:cNvSpPr>
                <a:spLocks/>
              </p:cNvSpPr>
              <p:nvPr/>
            </p:nvSpPr>
            <p:spPr bwMode="auto">
              <a:xfrm>
                <a:off x="7415" y="2994"/>
                <a:ext cx="4" cy="5"/>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1" y="1"/>
                      <a:pt x="1" y="2"/>
                      <a:pt x="2" y="2"/>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2" name="Freeform 2612">
                <a:extLst>
                  <a:ext uri="{FF2B5EF4-FFF2-40B4-BE49-F238E27FC236}">
                    <a16:creationId xmlns:a16="http://schemas.microsoft.com/office/drawing/2014/main" id="{45028042-26A4-4D9E-9AB6-2B88E2008348}"/>
                  </a:ext>
                </a:extLst>
              </p:cNvPr>
              <p:cNvSpPr>
                <a:spLocks/>
              </p:cNvSpPr>
              <p:nvPr/>
            </p:nvSpPr>
            <p:spPr bwMode="auto">
              <a:xfrm>
                <a:off x="7363" y="2982"/>
                <a:ext cx="4" cy="7"/>
              </a:xfrm>
              <a:custGeom>
                <a:avLst/>
                <a:gdLst>
                  <a:gd name="T0" fmla="*/ 0 w 2"/>
                  <a:gd name="T1" fmla="*/ 1 h 3"/>
                  <a:gd name="T2" fmla="*/ 1 w 2"/>
                  <a:gd name="T3" fmla="*/ 3 h 3"/>
                  <a:gd name="T4" fmla="*/ 2 w 2"/>
                  <a:gd name="T5" fmla="*/ 2 h 3"/>
                  <a:gd name="T6" fmla="*/ 2 w 2"/>
                  <a:gd name="T7" fmla="*/ 1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2"/>
                      <a:pt x="0" y="3"/>
                      <a:pt x="1" y="3"/>
                    </a:cubicBezTo>
                    <a:cubicBezTo>
                      <a:pt x="2" y="2"/>
                      <a:pt x="1" y="3"/>
                      <a:pt x="2" y="2"/>
                    </a:cubicBezTo>
                    <a:cubicBezTo>
                      <a:pt x="2" y="2"/>
                      <a:pt x="2" y="1"/>
                      <a:pt x="2" y="1"/>
                    </a:cubicBezTo>
                    <a:cubicBezTo>
                      <a:pt x="2"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3" name="Freeform 2613">
                <a:extLst>
                  <a:ext uri="{FF2B5EF4-FFF2-40B4-BE49-F238E27FC236}">
                    <a16:creationId xmlns:a16="http://schemas.microsoft.com/office/drawing/2014/main" id="{1000D7BB-748D-416E-BE76-1858555E96B8}"/>
                  </a:ext>
                </a:extLst>
              </p:cNvPr>
              <p:cNvSpPr>
                <a:spLocks/>
              </p:cNvSpPr>
              <p:nvPr/>
            </p:nvSpPr>
            <p:spPr bwMode="auto">
              <a:xfrm>
                <a:off x="7330" y="2961"/>
                <a:ext cx="7" cy="9"/>
              </a:xfrm>
              <a:custGeom>
                <a:avLst/>
                <a:gdLst>
                  <a:gd name="T0" fmla="*/ 0 w 3"/>
                  <a:gd name="T1" fmla="*/ 0 h 4"/>
                  <a:gd name="T2" fmla="*/ 1 w 3"/>
                  <a:gd name="T3" fmla="*/ 4 h 4"/>
                  <a:gd name="T4" fmla="*/ 2 w 3"/>
                  <a:gd name="T5" fmla="*/ 1 h 4"/>
                  <a:gd name="T6" fmla="*/ 0 w 3"/>
                  <a:gd name="T7" fmla="*/ 0 h 4"/>
                </a:gdLst>
                <a:ahLst/>
                <a:cxnLst>
                  <a:cxn ang="0">
                    <a:pos x="T0" y="T1"/>
                  </a:cxn>
                  <a:cxn ang="0">
                    <a:pos x="T2" y="T3"/>
                  </a:cxn>
                  <a:cxn ang="0">
                    <a:pos x="T4" y="T5"/>
                  </a:cxn>
                  <a:cxn ang="0">
                    <a:pos x="T6" y="T7"/>
                  </a:cxn>
                </a:cxnLst>
                <a:rect l="0" t="0" r="r" b="b"/>
                <a:pathLst>
                  <a:path w="3" h="4">
                    <a:moveTo>
                      <a:pt x="0" y="0"/>
                    </a:moveTo>
                    <a:cubicBezTo>
                      <a:pt x="0" y="1"/>
                      <a:pt x="1" y="3"/>
                      <a:pt x="1" y="4"/>
                    </a:cubicBezTo>
                    <a:cubicBezTo>
                      <a:pt x="1" y="2"/>
                      <a:pt x="3" y="2"/>
                      <a:pt x="2" y="1"/>
                    </a:cubicBezTo>
                    <a:cubicBezTo>
                      <a:pt x="2"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4" name="Freeform 2614">
                <a:extLst>
                  <a:ext uri="{FF2B5EF4-FFF2-40B4-BE49-F238E27FC236}">
                    <a16:creationId xmlns:a16="http://schemas.microsoft.com/office/drawing/2014/main" id="{A5814B98-6A2B-4FC5-B39F-C27F48ED1AAB}"/>
                  </a:ext>
                </a:extLst>
              </p:cNvPr>
              <p:cNvSpPr>
                <a:spLocks/>
              </p:cNvSpPr>
              <p:nvPr/>
            </p:nvSpPr>
            <p:spPr bwMode="auto">
              <a:xfrm>
                <a:off x="7412" y="3055"/>
                <a:ext cx="17" cy="10"/>
              </a:xfrm>
              <a:custGeom>
                <a:avLst/>
                <a:gdLst>
                  <a:gd name="T0" fmla="*/ 3 w 7"/>
                  <a:gd name="T1" fmla="*/ 1 h 4"/>
                  <a:gd name="T2" fmla="*/ 0 w 7"/>
                  <a:gd name="T3" fmla="*/ 0 h 4"/>
                  <a:gd name="T4" fmla="*/ 5 w 7"/>
                  <a:gd name="T5" fmla="*/ 4 h 4"/>
                  <a:gd name="T6" fmla="*/ 3 w 7"/>
                  <a:gd name="T7" fmla="*/ 1 h 4"/>
                </a:gdLst>
                <a:ahLst/>
                <a:cxnLst>
                  <a:cxn ang="0">
                    <a:pos x="T0" y="T1"/>
                  </a:cxn>
                  <a:cxn ang="0">
                    <a:pos x="T2" y="T3"/>
                  </a:cxn>
                  <a:cxn ang="0">
                    <a:pos x="T4" y="T5"/>
                  </a:cxn>
                  <a:cxn ang="0">
                    <a:pos x="T6" y="T7"/>
                  </a:cxn>
                </a:cxnLst>
                <a:rect l="0" t="0" r="r" b="b"/>
                <a:pathLst>
                  <a:path w="7" h="4">
                    <a:moveTo>
                      <a:pt x="3" y="1"/>
                    </a:moveTo>
                    <a:cubicBezTo>
                      <a:pt x="2" y="1"/>
                      <a:pt x="1" y="0"/>
                      <a:pt x="0" y="0"/>
                    </a:cubicBezTo>
                    <a:cubicBezTo>
                      <a:pt x="2" y="2"/>
                      <a:pt x="3" y="3"/>
                      <a:pt x="5" y="4"/>
                    </a:cubicBezTo>
                    <a:cubicBezTo>
                      <a:pt x="7" y="3"/>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5" name="Freeform 2615">
                <a:extLst>
                  <a:ext uri="{FF2B5EF4-FFF2-40B4-BE49-F238E27FC236}">
                    <a16:creationId xmlns:a16="http://schemas.microsoft.com/office/drawing/2014/main" id="{5AE8DBE5-9678-48FD-AAE4-E2616A81C375}"/>
                  </a:ext>
                </a:extLst>
              </p:cNvPr>
              <p:cNvSpPr>
                <a:spLocks/>
              </p:cNvSpPr>
              <p:nvPr/>
            </p:nvSpPr>
            <p:spPr bwMode="auto">
              <a:xfrm>
                <a:off x="5921" y="2530"/>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6" name="Freeform 2616">
                <a:extLst>
                  <a:ext uri="{FF2B5EF4-FFF2-40B4-BE49-F238E27FC236}">
                    <a16:creationId xmlns:a16="http://schemas.microsoft.com/office/drawing/2014/main" id="{B0A68E2C-4183-40EA-8226-C94D4FAFBE50}"/>
                  </a:ext>
                </a:extLst>
              </p:cNvPr>
              <p:cNvSpPr>
                <a:spLocks/>
              </p:cNvSpPr>
              <p:nvPr/>
            </p:nvSpPr>
            <p:spPr bwMode="auto">
              <a:xfrm>
                <a:off x="5921" y="2535"/>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7" name="Freeform 2617">
                <a:extLst>
                  <a:ext uri="{FF2B5EF4-FFF2-40B4-BE49-F238E27FC236}">
                    <a16:creationId xmlns:a16="http://schemas.microsoft.com/office/drawing/2014/main" id="{C2C0774D-53A0-404B-AD70-0756ABAF4797}"/>
                  </a:ext>
                </a:extLst>
              </p:cNvPr>
              <p:cNvSpPr>
                <a:spLocks/>
              </p:cNvSpPr>
              <p:nvPr/>
            </p:nvSpPr>
            <p:spPr bwMode="auto">
              <a:xfrm>
                <a:off x="5902" y="2374"/>
                <a:ext cx="2" cy="7"/>
              </a:xfrm>
              <a:custGeom>
                <a:avLst/>
                <a:gdLst>
                  <a:gd name="T0" fmla="*/ 1 w 1"/>
                  <a:gd name="T1" fmla="*/ 3 h 3"/>
                  <a:gd name="T2" fmla="*/ 1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1" y="0"/>
                    </a:cubicBezTo>
                    <a:cubicBezTo>
                      <a:pt x="0" y="1"/>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8" name="Freeform 2618">
                <a:extLst>
                  <a:ext uri="{FF2B5EF4-FFF2-40B4-BE49-F238E27FC236}">
                    <a16:creationId xmlns:a16="http://schemas.microsoft.com/office/drawing/2014/main" id="{C29F7A00-CAF2-4CA6-B51B-315B36C2437F}"/>
                  </a:ext>
                </a:extLst>
              </p:cNvPr>
              <p:cNvSpPr>
                <a:spLocks/>
              </p:cNvSpPr>
              <p:nvPr/>
            </p:nvSpPr>
            <p:spPr bwMode="auto">
              <a:xfrm>
                <a:off x="5916" y="2490"/>
                <a:ext cx="2"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1"/>
                      <a:pt x="0" y="2"/>
                    </a:cubicBezTo>
                    <a:cubicBezTo>
                      <a:pt x="0"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9" name="Freeform 2619">
                <a:extLst>
                  <a:ext uri="{FF2B5EF4-FFF2-40B4-BE49-F238E27FC236}">
                    <a16:creationId xmlns:a16="http://schemas.microsoft.com/office/drawing/2014/main" id="{1195D65C-F47A-4B37-98F2-AC1962DB8D76}"/>
                  </a:ext>
                </a:extLst>
              </p:cNvPr>
              <p:cNvSpPr>
                <a:spLocks/>
              </p:cNvSpPr>
              <p:nvPr/>
            </p:nvSpPr>
            <p:spPr bwMode="auto">
              <a:xfrm>
                <a:off x="5923" y="2457"/>
                <a:ext cx="0" cy="5"/>
              </a:xfrm>
              <a:custGeom>
                <a:avLst/>
                <a:gdLst>
                  <a:gd name="T0" fmla="*/ 2 h 2"/>
                  <a:gd name="T1" fmla="*/ 2 h 2"/>
                  <a:gd name="T2" fmla="*/ 1 h 2"/>
                  <a:gd name="T3" fmla="*/ 0 h 2"/>
                  <a:gd name="T4" fmla="*/ 2 h 2"/>
                </a:gdLst>
                <a:ahLst/>
                <a:cxnLst>
                  <a:cxn ang="0">
                    <a:pos x="0" y="T0"/>
                  </a:cxn>
                  <a:cxn ang="0">
                    <a:pos x="0" y="T1"/>
                  </a:cxn>
                  <a:cxn ang="0">
                    <a:pos x="0" y="T2"/>
                  </a:cxn>
                  <a:cxn ang="0">
                    <a:pos x="0" y="T3"/>
                  </a:cxn>
                  <a:cxn ang="0">
                    <a:pos x="0" y="T4"/>
                  </a:cxn>
                </a:cxnLst>
                <a:rect l="0" t="0" r="r" b="b"/>
                <a:pathLst>
                  <a:path h="2">
                    <a:moveTo>
                      <a:pt x="0" y="2"/>
                    </a:moveTo>
                    <a:cubicBezTo>
                      <a:pt x="0" y="2"/>
                      <a:pt x="0" y="2"/>
                      <a:pt x="0" y="2"/>
                    </a:cubicBezTo>
                    <a:cubicBezTo>
                      <a:pt x="0" y="2"/>
                      <a:pt x="0" y="2"/>
                      <a:pt x="0" y="1"/>
                    </a:cubicBezTo>
                    <a:cubicBezTo>
                      <a:pt x="0" y="1"/>
                      <a:pt x="0" y="0"/>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0" name="Freeform 2620">
                <a:extLst>
                  <a:ext uri="{FF2B5EF4-FFF2-40B4-BE49-F238E27FC236}">
                    <a16:creationId xmlns:a16="http://schemas.microsoft.com/office/drawing/2014/main" id="{74947231-DEAB-4376-B9FB-A9CC40011D90}"/>
                  </a:ext>
                </a:extLst>
              </p:cNvPr>
              <p:cNvSpPr>
                <a:spLocks/>
              </p:cNvSpPr>
              <p:nvPr/>
            </p:nvSpPr>
            <p:spPr bwMode="auto">
              <a:xfrm>
                <a:off x="5923" y="2469"/>
                <a:ext cx="5" cy="7"/>
              </a:xfrm>
              <a:custGeom>
                <a:avLst/>
                <a:gdLst>
                  <a:gd name="T0" fmla="*/ 0 w 2"/>
                  <a:gd name="T1" fmla="*/ 0 h 3"/>
                  <a:gd name="T2" fmla="*/ 0 w 2"/>
                  <a:gd name="T3" fmla="*/ 0 h 3"/>
                  <a:gd name="T4" fmla="*/ 0 w 2"/>
                  <a:gd name="T5" fmla="*/ 0 h 3"/>
                  <a:gd name="T6" fmla="*/ 0 w 2"/>
                  <a:gd name="T7" fmla="*/ 3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0" y="0"/>
                    </a:cubicBezTo>
                    <a:cubicBezTo>
                      <a:pt x="0" y="0"/>
                      <a:pt x="0" y="0"/>
                      <a:pt x="0" y="0"/>
                    </a:cubicBezTo>
                    <a:cubicBezTo>
                      <a:pt x="0" y="1"/>
                      <a:pt x="0" y="2"/>
                      <a:pt x="0" y="3"/>
                    </a:cubicBezTo>
                    <a:cubicBezTo>
                      <a:pt x="2" y="3"/>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1" name="Freeform 2621">
                <a:extLst>
                  <a:ext uri="{FF2B5EF4-FFF2-40B4-BE49-F238E27FC236}">
                    <a16:creationId xmlns:a16="http://schemas.microsoft.com/office/drawing/2014/main" id="{434985CB-E82A-4131-B3E9-3367E1908EC7}"/>
                  </a:ext>
                </a:extLst>
              </p:cNvPr>
              <p:cNvSpPr>
                <a:spLocks/>
              </p:cNvSpPr>
              <p:nvPr/>
            </p:nvSpPr>
            <p:spPr bwMode="auto">
              <a:xfrm>
                <a:off x="5921" y="2490"/>
                <a:ext cx="2" cy="9"/>
              </a:xfrm>
              <a:custGeom>
                <a:avLst/>
                <a:gdLst>
                  <a:gd name="T0" fmla="*/ 1 w 1"/>
                  <a:gd name="T1" fmla="*/ 2 h 4"/>
                  <a:gd name="T2" fmla="*/ 1 w 1"/>
                  <a:gd name="T3" fmla="*/ 0 h 4"/>
                  <a:gd name="T4" fmla="*/ 0 w 1"/>
                  <a:gd name="T5" fmla="*/ 4 h 4"/>
                  <a:gd name="T6" fmla="*/ 1 w 1"/>
                  <a:gd name="T7" fmla="*/ 2 h 4"/>
                </a:gdLst>
                <a:ahLst/>
                <a:cxnLst>
                  <a:cxn ang="0">
                    <a:pos x="T0" y="T1"/>
                  </a:cxn>
                  <a:cxn ang="0">
                    <a:pos x="T2" y="T3"/>
                  </a:cxn>
                  <a:cxn ang="0">
                    <a:pos x="T4" y="T5"/>
                  </a:cxn>
                  <a:cxn ang="0">
                    <a:pos x="T6" y="T7"/>
                  </a:cxn>
                </a:cxnLst>
                <a:rect l="0" t="0" r="r" b="b"/>
                <a:pathLst>
                  <a:path w="1" h="4">
                    <a:moveTo>
                      <a:pt x="1" y="2"/>
                    </a:moveTo>
                    <a:cubicBezTo>
                      <a:pt x="1" y="1"/>
                      <a:pt x="1" y="1"/>
                      <a:pt x="1" y="0"/>
                    </a:cubicBezTo>
                    <a:cubicBezTo>
                      <a:pt x="0" y="1"/>
                      <a:pt x="0" y="3"/>
                      <a:pt x="0" y="4"/>
                    </a:cubicBezTo>
                    <a:cubicBezTo>
                      <a:pt x="1" y="4"/>
                      <a:pt x="1" y="3"/>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2" name="Freeform 2622">
                <a:extLst>
                  <a:ext uri="{FF2B5EF4-FFF2-40B4-BE49-F238E27FC236}">
                    <a16:creationId xmlns:a16="http://schemas.microsoft.com/office/drawing/2014/main" id="{5515B424-7784-426C-B76B-4A57262D1EDC}"/>
                  </a:ext>
                </a:extLst>
              </p:cNvPr>
              <p:cNvSpPr>
                <a:spLocks/>
              </p:cNvSpPr>
              <p:nvPr/>
            </p:nvSpPr>
            <p:spPr bwMode="auto">
              <a:xfrm>
                <a:off x="5923" y="2490"/>
                <a:ext cx="7" cy="7"/>
              </a:xfrm>
              <a:custGeom>
                <a:avLst/>
                <a:gdLst>
                  <a:gd name="T0" fmla="*/ 1 w 3"/>
                  <a:gd name="T1" fmla="*/ 2 h 3"/>
                  <a:gd name="T2" fmla="*/ 1 w 3"/>
                  <a:gd name="T3" fmla="*/ 2 h 3"/>
                  <a:gd name="T4" fmla="*/ 2 w 3"/>
                  <a:gd name="T5" fmla="*/ 3 h 3"/>
                  <a:gd name="T6" fmla="*/ 3 w 3"/>
                  <a:gd name="T7" fmla="*/ 1 h 3"/>
                  <a:gd name="T8" fmla="*/ 3 w 3"/>
                  <a:gd name="T9" fmla="*/ 1 h 3"/>
                  <a:gd name="T10" fmla="*/ 1 w 3"/>
                  <a:gd name="T11" fmla="*/ 0 h 3"/>
                  <a:gd name="T12" fmla="*/ 1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2"/>
                    </a:moveTo>
                    <a:cubicBezTo>
                      <a:pt x="1" y="2"/>
                      <a:pt x="1" y="2"/>
                      <a:pt x="1" y="2"/>
                    </a:cubicBezTo>
                    <a:cubicBezTo>
                      <a:pt x="2" y="2"/>
                      <a:pt x="2" y="3"/>
                      <a:pt x="2" y="3"/>
                    </a:cubicBezTo>
                    <a:cubicBezTo>
                      <a:pt x="2" y="3"/>
                      <a:pt x="3" y="1"/>
                      <a:pt x="3" y="1"/>
                    </a:cubicBezTo>
                    <a:cubicBezTo>
                      <a:pt x="3" y="1"/>
                      <a:pt x="3" y="1"/>
                      <a:pt x="3" y="1"/>
                    </a:cubicBezTo>
                    <a:cubicBezTo>
                      <a:pt x="2" y="0"/>
                      <a:pt x="2" y="0"/>
                      <a:pt x="1" y="0"/>
                    </a:cubicBezTo>
                    <a:cubicBezTo>
                      <a:pt x="0" y="0"/>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3" name="Freeform 2623">
                <a:extLst>
                  <a:ext uri="{FF2B5EF4-FFF2-40B4-BE49-F238E27FC236}">
                    <a16:creationId xmlns:a16="http://schemas.microsoft.com/office/drawing/2014/main" id="{17F54737-FB89-4E98-B6BF-09B60DADE3F8}"/>
                  </a:ext>
                </a:extLst>
              </p:cNvPr>
              <p:cNvSpPr>
                <a:spLocks/>
              </p:cNvSpPr>
              <p:nvPr/>
            </p:nvSpPr>
            <p:spPr bwMode="auto">
              <a:xfrm>
                <a:off x="5916" y="2476"/>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0"/>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4" name="Freeform 2624">
                <a:extLst>
                  <a:ext uri="{FF2B5EF4-FFF2-40B4-BE49-F238E27FC236}">
                    <a16:creationId xmlns:a16="http://schemas.microsoft.com/office/drawing/2014/main" id="{1AF1E7D8-60C7-4830-B7AE-EFEA8E00D3EC}"/>
                  </a:ext>
                </a:extLst>
              </p:cNvPr>
              <p:cNvSpPr>
                <a:spLocks/>
              </p:cNvSpPr>
              <p:nvPr/>
            </p:nvSpPr>
            <p:spPr bwMode="auto">
              <a:xfrm>
                <a:off x="5734" y="2216"/>
                <a:ext cx="12" cy="21"/>
              </a:xfrm>
              <a:custGeom>
                <a:avLst/>
                <a:gdLst>
                  <a:gd name="T0" fmla="*/ 2 w 5"/>
                  <a:gd name="T1" fmla="*/ 3 h 9"/>
                  <a:gd name="T2" fmla="*/ 2 w 5"/>
                  <a:gd name="T3" fmla="*/ 6 h 9"/>
                  <a:gd name="T4" fmla="*/ 2 w 5"/>
                  <a:gd name="T5" fmla="*/ 9 h 9"/>
                  <a:gd name="T6" fmla="*/ 2 w 5"/>
                  <a:gd name="T7" fmla="*/ 9 h 9"/>
                  <a:gd name="T8" fmla="*/ 3 w 5"/>
                  <a:gd name="T9" fmla="*/ 8 h 9"/>
                  <a:gd name="T10" fmla="*/ 2 w 5"/>
                  <a:gd name="T11" fmla="*/ 1 h 9"/>
                  <a:gd name="T12" fmla="*/ 2 w 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2" y="3"/>
                    </a:moveTo>
                    <a:cubicBezTo>
                      <a:pt x="2" y="4"/>
                      <a:pt x="2" y="5"/>
                      <a:pt x="2" y="6"/>
                    </a:cubicBezTo>
                    <a:cubicBezTo>
                      <a:pt x="2" y="7"/>
                      <a:pt x="2" y="8"/>
                      <a:pt x="2" y="9"/>
                    </a:cubicBezTo>
                    <a:cubicBezTo>
                      <a:pt x="2" y="9"/>
                      <a:pt x="2" y="9"/>
                      <a:pt x="2" y="9"/>
                    </a:cubicBezTo>
                    <a:cubicBezTo>
                      <a:pt x="2" y="9"/>
                      <a:pt x="3" y="8"/>
                      <a:pt x="3" y="8"/>
                    </a:cubicBezTo>
                    <a:cubicBezTo>
                      <a:pt x="5" y="6"/>
                      <a:pt x="4" y="4"/>
                      <a:pt x="2" y="1"/>
                    </a:cubicBezTo>
                    <a:cubicBezTo>
                      <a:pt x="2"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5" name="Freeform 2625">
                <a:extLst>
                  <a:ext uri="{FF2B5EF4-FFF2-40B4-BE49-F238E27FC236}">
                    <a16:creationId xmlns:a16="http://schemas.microsoft.com/office/drawing/2014/main" id="{3D72B747-59DC-4C15-91D9-49C35D76E0F5}"/>
                  </a:ext>
                </a:extLst>
              </p:cNvPr>
              <p:cNvSpPr>
                <a:spLocks/>
              </p:cNvSpPr>
              <p:nvPr/>
            </p:nvSpPr>
            <p:spPr bwMode="auto">
              <a:xfrm>
                <a:off x="5767" y="2239"/>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6" name="Freeform 2626">
                <a:extLst>
                  <a:ext uri="{FF2B5EF4-FFF2-40B4-BE49-F238E27FC236}">
                    <a16:creationId xmlns:a16="http://schemas.microsoft.com/office/drawing/2014/main" id="{934664FB-56B6-4538-A41C-9F1A0DECA4DE}"/>
                  </a:ext>
                </a:extLst>
              </p:cNvPr>
              <p:cNvSpPr>
                <a:spLocks/>
              </p:cNvSpPr>
              <p:nvPr/>
            </p:nvSpPr>
            <p:spPr bwMode="auto">
              <a:xfrm>
                <a:off x="5767" y="2244"/>
                <a:ext cx="5" cy="7"/>
              </a:xfrm>
              <a:custGeom>
                <a:avLst/>
                <a:gdLst>
                  <a:gd name="T0" fmla="*/ 1 w 2"/>
                  <a:gd name="T1" fmla="*/ 0 h 3"/>
                  <a:gd name="T2" fmla="*/ 0 w 2"/>
                  <a:gd name="T3" fmla="*/ 3 h 3"/>
                  <a:gd name="T4" fmla="*/ 1 w 2"/>
                  <a:gd name="T5" fmla="*/ 0 h 3"/>
                </a:gdLst>
                <a:ahLst/>
                <a:cxnLst>
                  <a:cxn ang="0">
                    <a:pos x="T0" y="T1"/>
                  </a:cxn>
                  <a:cxn ang="0">
                    <a:pos x="T2" y="T3"/>
                  </a:cxn>
                  <a:cxn ang="0">
                    <a:pos x="T4" y="T5"/>
                  </a:cxn>
                </a:cxnLst>
                <a:rect l="0" t="0" r="r" b="b"/>
                <a:pathLst>
                  <a:path w="2" h="3">
                    <a:moveTo>
                      <a:pt x="1" y="0"/>
                    </a:moveTo>
                    <a:cubicBezTo>
                      <a:pt x="1" y="1"/>
                      <a:pt x="1" y="2"/>
                      <a:pt x="0" y="3"/>
                    </a:cubicBezTo>
                    <a:cubicBezTo>
                      <a:pt x="2"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7" name="Freeform 2627">
                <a:extLst>
                  <a:ext uri="{FF2B5EF4-FFF2-40B4-BE49-F238E27FC236}">
                    <a16:creationId xmlns:a16="http://schemas.microsoft.com/office/drawing/2014/main" id="{12CACA0B-9643-49C8-9724-686AC80822FE}"/>
                  </a:ext>
                </a:extLst>
              </p:cNvPr>
              <p:cNvSpPr>
                <a:spLocks/>
              </p:cNvSpPr>
              <p:nvPr/>
            </p:nvSpPr>
            <p:spPr bwMode="auto">
              <a:xfrm>
                <a:off x="5757" y="2220"/>
                <a:ext cx="3" cy="7"/>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8" name="Freeform 2628">
                <a:extLst>
                  <a:ext uri="{FF2B5EF4-FFF2-40B4-BE49-F238E27FC236}">
                    <a16:creationId xmlns:a16="http://schemas.microsoft.com/office/drawing/2014/main" id="{147F5B61-3104-4D54-9D6F-C0577245FBFB}"/>
                  </a:ext>
                </a:extLst>
              </p:cNvPr>
              <p:cNvSpPr>
                <a:spLocks/>
              </p:cNvSpPr>
              <p:nvPr/>
            </p:nvSpPr>
            <p:spPr bwMode="auto">
              <a:xfrm>
                <a:off x="5748" y="2223"/>
                <a:ext cx="5" cy="11"/>
              </a:xfrm>
              <a:custGeom>
                <a:avLst/>
                <a:gdLst>
                  <a:gd name="T0" fmla="*/ 0 w 2"/>
                  <a:gd name="T1" fmla="*/ 0 h 5"/>
                  <a:gd name="T2" fmla="*/ 0 w 2"/>
                  <a:gd name="T3" fmla="*/ 5 h 5"/>
                  <a:gd name="T4" fmla="*/ 1 w 2"/>
                  <a:gd name="T5" fmla="*/ 2 h 5"/>
                  <a:gd name="T6" fmla="*/ 0 w 2"/>
                  <a:gd name="T7" fmla="*/ 0 h 5"/>
                </a:gdLst>
                <a:ahLst/>
                <a:cxnLst>
                  <a:cxn ang="0">
                    <a:pos x="T0" y="T1"/>
                  </a:cxn>
                  <a:cxn ang="0">
                    <a:pos x="T2" y="T3"/>
                  </a:cxn>
                  <a:cxn ang="0">
                    <a:pos x="T4" y="T5"/>
                  </a:cxn>
                  <a:cxn ang="0">
                    <a:pos x="T6" y="T7"/>
                  </a:cxn>
                </a:cxnLst>
                <a:rect l="0" t="0" r="r" b="b"/>
                <a:pathLst>
                  <a:path w="2" h="5">
                    <a:moveTo>
                      <a:pt x="0" y="0"/>
                    </a:moveTo>
                    <a:cubicBezTo>
                      <a:pt x="0" y="2"/>
                      <a:pt x="0" y="4"/>
                      <a:pt x="0" y="5"/>
                    </a:cubicBezTo>
                    <a:cubicBezTo>
                      <a:pt x="1" y="4"/>
                      <a:pt x="2" y="4"/>
                      <a:pt x="1" y="2"/>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9" name="Freeform 2629">
                <a:extLst>
                  <a:ext uri="{FF2B5EF4-FFF2-40B4-BE49-F238E27FC236}">
                    <a16:creationId xmlns:a16="http://schemas.microsoft.com/office/drawing/2014/main" id="{36FED748-755C-44E1-A366-93DAEE6F143B}"/>
                  </a:ext>
                </a:extLst>
              </p:cNvPr>
              <p:cNvSpPr>
                <a:spLocks/>
              </p:cNvSpPr>
              <p:nvPr/>
            </p:nvSpPr>
            <p:spPr bwMode="auto">
              <a:xfrm>
                <a:off x="4767" y="2128"/>
                <a:ext cx="4" cy="12"/>
              </a:xfrm>
              <a:custGeom>
                <a:avLst/>
                <a:gdLst>
                  <a:gd name="T0" fmla="*/ 1 w 2"/>
                  <a:gd name="T1" fmla="*/ 0 h 5"/>
                  <a:gd name="T2" fmla="*/ 1 w 2"/>
                  <a:gd name="T3" fmla="*/ 5 h 5"/>
                  <a:gd name="T4" fmla="*/ 2 w 2"/>
                  <a:gd name="T5" fmla="*/ 2 h 5"/>
                  <a:gd name="T6" fmla="*/ 2 w 2"/>
                  <a:gd name="T7" fmla="*/ 1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0" y="1"/>
                      <a:pt x="1" y="4"/>
                      <a:pt x="1" y="5"/>
                    </a:cubicBezTo>
                    <a:cubicBezTo>
                      <a:pt x="2" y="4"/>
                      <a:pt x="2" y="3"/>
                      <a:pt x="2" y="2"/>
                    </a:cubicBezTo>
                    <a:cubicBezTo>
                      <a:pt x="2" y="1"/>
                      <a:pt x="1" y="1"/>
                      <a:pt x="2" y="1"/>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0" name="Freeform 2630">
                <a:extLst>
                  <a:ext uri="{FF2B5EF4-FFF2-40B4-BE49-F238E27FC236}">
                    <a16:creationId xmlns:a16="http://schemas.microsoft.com/office/drawing/2014/main" id="{3A14AC1D-AFED-447D-873D-7D9EE680655C}"/>
                  </a:ext>
                </a:extLst>
              </p:cNvPr>
              <p:cNvSpPr>
                <a:spLocks/>
              </p:cNvSpPr>
              <p:nvPr/>
            </p:nvSpPr>
            <p:spPr bwMode="auto">
              <a:xfrm>
                <a:off x="7386" y="4243"/>
                <a:ext cx="3" cy="10"/>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0" y="1"/>
                      <a:pt x="0" y="2"/>
                      <a:pt x="0" y="4"/>
                    </a:cubicBezTo>
                    <a:cubicBezTo>
                      <a:pt x="0" y="2"/>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1" name="Freeform 2631">
                <a:extLst>
                  <a:ext uri="{FF2B5EF4-FFF2-40B4-BE49-F238E27FC236}">
                    <a16:creationId xmlns:a16="http://schemas.microsoft.com/office/drawing/2014/main" id="{F18B8B1A-F647-4D49-BADB-8C8B01E9CA14}"/>
                  </a:ext>
                </a:extLst>
              </p:cNvPr>
              <p:cNvSpPr>
                <a:spLocks/>
              </p:cNvSpPr>
              <p:nvPr/>
            </p:nvSpPr>
            <p:spPr bwMode="auto">
              <a:xfrm>
                <a:off x="6843" y="3110"/>
                <a:ext cx="14" cy="14"/>
              </a:xfrm>
              <a:custGeom>
                <a:avLst/>
                <a:gdLst>
                  <a:gd name="T0" fmla="*/ 6 w 6"/>
                  <a:gd name="T1" fmla="*/ 5 h 6"/>
                  <a:gd name="T2" fmla="*/ 4 w 6"/>
                  <a:gd name="T3" fmla="*/ 5 h 6"/>
                  <a:gd name="T4" fmla="*/ 4 w 6"/>
                  <a:gd name="T5" fmla="*/ 4 h 6"/>
                  <a:gd name="T6" fmla="*/ 4 w 6"/>
                  <a:gd name="T7" fmla="*/ 3 h 6"/>
                  <a:gd name="T8" fmla="*/ 5 w 6"/>
                  <a:gd name="T9" fmla="*/ 1 h 6"/>
                  <a:gd name="T10" fmla="*/ 4 w 6"/>
                  <a:gd name="T11" fmla="*/ 2 h 6"/>
                  <a:gd name="T12" fmla="*/ 3 w 6"/>
                  <a:gd name="T13" fmla="*/ 0 h 6"/>
                  <a:gd name="T14" fmla="*/ 2 w 6"/>
                  <a:gd name="T15" fmla="*/ 0 h 6"/>
                  <a:gd name="T16" fmla="*/ 0 w 6"/>
                  <a:gd name="T17" fmla="*/ 2 h 6"/>
                  <a:gd name="T18" fmla="*/ 0 w 6"/>
                  <a:gd name="T19" fmla="*/ 5 h 6"/>
                  <a:gd name="T20" fmla="*/ 6 w 6"/>
                  <a:gd name="T21" fmla="*/ 6 h 6"/>
                  <a:gd name="T22" fmla="*/ 6 w 6"/>
                  <a:gd name="T2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6" y="5"/>
                    </a:moveTo>
                    <a:cubicBezTo>
                      <a:pt x="5" y="5"/>
                      <a:pt x="4" y="6"/>
                      <a:pt x="4" y="5"/>
                    </a:cubicBezTo>
                    <a:cubicBezTo>
                      <a:pt x="3" y="5"/>
                      <a:pt x="3" y="4"/>
                      <a:pt x="4" y="4"/>
                    </a:cubicBezTo>
                    <a:cubicBezTo>
                      <a:pt x="4" y="4"/>
                      <a:pt x="4" y="4"/>
                      <a:pt x="4" y="3"/>
                    </a:cubicBezTo>
                    <a:cubicBezTo>
                      <a:pt x="4" y="3"/>
                      <a:pt x="5" y="1"/>
                      <a:pt x="5" y="1"/>
                    </a:cubicBezTo>
                    <a:cubicBezTo>
                      <a:pt x="5" y="0"/>
                      <a:pt x="5" y="2"/>
                      <a:pt x="4" y="2"/>
                    </a:cubicBezTo>
                    <a:cubicBezTo>
                      <a:pt x="3" y="2"/>
                      <a:pt x="3" y="1"/>
                      <a:pt x="3" y="0"/>
                    </a:cubicBezTo>
                    <a:cubicBezTo>
                      <a:pt x="3" y="0"/>
                      <a:pt x="2" y="0"/>
                      <a:pt x="2" y="0"/>
                    </a:cubicBezTo>
                    <a:cubicBezTo>
                      <a:pt x="3" y="2"/>
                      <a:pt x="1" y="1"/>
                      <a:pt x="0" y="2"/>
                    </a:cubicBezTo>
                    <a:cubicBezTo>
                      <a:pt x="0" y="3"/>
                      <a:pt x="1" y="4"/>
                      <a:pt x="0" y="5"/>
                    </a:cubicBezTo>
                    <a:cubicBezTo>
                      <a:pt x="2" y="6"/>
                      <a:pt x="4" y="6"/>
                      <a:pt x="6" y="6"/>
                    </a:cubicBezTo>
                    <a:cubicBezTo>
                      <a:pt x="6" y="6"/>
                      <a:pt x="6" y="5"/>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2" name="Freeform 2632">
                <a:extLst>
                  <a:ext uri="{FF2B5EF4-FFF2-40B4-BE49-F238E27FC236}">
                    <a16:creationId xmlns:a16="http://schemas.microsoft.com/office/drawing/2014/main" id="{6DE6314E-D93D-4978-BCC0-87D5953C562D}"/>
                  </a:ext>
                </a:extLst>
              </p:cNvPr>
              <p:cNvSpPr>
                <a:spLocks/>
              </p:cNvSpPr>
              <p:nvPr/>
            </p:nvSpPr>
            <p:spPr bwMode="auto">
              <a:xfrm>
                <a:off x="6838" y="3055"/>
                <a:ext cx="7" cy="5"/>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2"/>
                      <a:pt x="0" y="2"/>
                    </a:cubicBezTo>
                    <a:cubicBezTo>
                      <a:pt x="1" y="2"/>
                      <a:pt x="3"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3" name="Freeform 2633">
                <a:extLst>
                  <a:ext uri="{FF2B5EF4-FFF2-40B4-BE49-F238E27FC236}">
                    <a16:creationId xmlns:a16="http://schemas.microsoft.com/office/drawing/2014/main" id="{BDB4D580-29C9-43D7-8B59-57404AF3B817}"/>
                  </a:ext>
                </a:extLst>
              </p:cNvPr>
              <p:cNvSpPr>
                <a:spLocks/>
              </p:cNvSpPr>
              <p:nvPr/>
            </p:nvSpPr>
            <p:spPr bwMode="auto">
              <a:xfrm>
                <a:off x="6982" y="3020"/>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4" name="Freeform 2634">
                <a:extLst>
                  <a:ext uri="{FF2B5EF4-FFF2-40B4-BE49-F238E27FC236}">
                    <a16:creationId xmlns:a16="http://schemas.microsoft.com/office/drawing/2014/main" id="{E2AA8E6F-CCDD-4E7D-A757-680128FA68D9}"/>
                  </a:ext>
                </a:extLst>
              </p:cNvPr>
              <p:cNvSpPr>
                <a:spLocks/>
              </p:cNvSpPr>
              <p:nvPr/>
            </p:nvSpPr>
            <p:spPr bwMode="auto">
              <a:xfrm>
                <a:off x="7077" y="3221"/>
                <a:ext cx="7" cy="7"/>
              </a:xfrm>
              <a:custGeom>
                <a:avLst/>
                <a:gdLst>
                  <a:gd name="T0" fmla="*/ 0 w 3"/>
                  <a:gd name="T1" fmla="*/ 1 h 3"/>
                  <a:gd name="T2" fmla="*/ 2 w 3"/>
                  <a:gd name="T3" fmla="*/ 3 h 3"/>
                  <a:gd name="T4" fmla="*/ 2 w 3"/>
                  <a:gd name="T5" fmla="*/ 1 h 3"/>
                  <a:gd name="T6" fmla="*/ 0 w 3"/>
                  <a:gd name="T7" fmla="*/ 1 h 3"/>
                </a:gdLst>
                <a:ahLst/>
                <a:cxnLst>
                  <a:cxn ang="0">
                    <a:pos x="T0" y="T1"/>
                  </a:cxn>
                  <a:cxn ang="0">
                    <a:pos x="T2" y="T3"/>
                  </a:cxn>
                  <a:cxn ang="0">
                    <a:pos x="T4" y="T5"/>
                  </a:cxn>
                  <a:cxn ang="0">
                    <a:pos x="T6" y="T7"/>
                  </a:cxn>
                </a:cxnLst>
                <a:rect l="0" t="0" r="r" b="b"/>
                <a:pathLst>
                  <a:path w="3" h="3">
                    <a:moveTo>
                      <a:pt x="0" y="1"/>
                    </a:moveTo>
                    <a:cubicBezTo>
                      <a:pt x="1" y="2"/>
                      <a:pt x="1" y="3"/>
                      <a:pt x="2" y="3"/>
                    </a:cubicBezTo>
                    <a:cubicBezTo>
                      <a:pt x="3" y="2"/>
                      <a:pt x="1" y="2"/>
                      <a:pt x="2" y="1"/>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5" name="Freeform 2635">
                <a:extLst>
                  <a:ext uri="{FF2B5EF4-FFF2-40B4-BE49-F238E27FC236}">
                    <a16:creationId xmlns:a16="http://schemas.microsoft.com/office/drawing/2014/main" id="{E1FAA07C-7A55-4C2C-A1FC-93B6FCF30468}"/>
                  </a:ext>
                </a:extLst>
              </p:cNvPr>
              <p:cNvSpPr>
                <a:spLocks/>
              </p:cNvSpPr>
              <p:nvPr/>
            </p:nvSpPr>
            <p:spPr bwMode="auto">
              <a:xfrm>
                <a:off x="7124" y="3805"/>
                <a:ext cx="9" cy="8"/>
              </a:xfrm>
              <a:custGeom>
                <a:avLst/>
                <a:gdLst>
                  <a:gd name="T0" fmla="*/ 1 w 4"/>
                  <a:gd name="T1" fmla="*/ 1 h 3"/>
                  <a:gd name="T2" fmla="*/ 0 w 4"/>
                  <a:gd name="T3" fmla="*/ 2 h 3"/>
                  <a:gd name="T4" fmla="*/ 3 w 4"/>
                  <a:gd name="T5" fmla="*/ 3 h 3"/>
                  <a:gd name="T6" fmla="*/ 4 w 4"/>
                  <a:gd name="T7" fmla="*/ 2 h 3"/>
                  <a:gd name="T8" fmla="*/ 1 w 4"/>
                  <a:gd name="T9" fmla="*/ 1 h 3"/>
                </a:gdLst>
                <a:ahLst/>
                <a:cxnLst>
                  <a:cxn ang="0">
                    <a:pos x="T0" y="T1"/>
                  </a:cxn>
                  <a:cxn ang="0">
                    <a:pos x="T2" y="T3"/>
                  </a:cxn>
                  <a:cxn ang="0">
                    <a:pos x="T4" y="T5"/>
                  </a:cxn>
                  <a:cxn ang="0">
                    <a:pos x="T6" y="T7"/>
                  </a:cxn>
                  <a:cxn ang="0">
                    <a:pos x="T8" y="T9"/>
                  </a:cxn>
                </a:cxnLst>
                <a:rect l="0" t="0" r="r" b="b"/>
                <a:pathLst>
                  <a:path w="4" h="3">
                    <a:moveTo>
                      <a:pt x="1" y="1"/>
                    </a:moveTo>
                    <a:cubicBezTo>
                      <a:pt x="1" y="1"/>
                      <a:pt x="0" y="1"/>
                      <a:pt x="0" y="2"/>
                    </a:cubicBezTo>
                    <a:cubicBezTo>
                      <a:pt x="1" y="2"/>
                      <a:pt x="2" y="3"/>
                      <a:pt x="3" y="3"/>
                    </a:cubicBezTo>
                    <a:cubicBezTo>
                      <a:pt x="4" y="3"/>
                      <a:pt x="4" y="2"/>
                      <a:pt x="4" y="2"/>
                    </a:cubicBezTo>
                    <a:cubicBezTo>
                      <a:pt x="4" y="0"/>
                      <a:pt x="3"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6" name="Freeform 2636">
                <a:extLst>
                  <a:ext uri="{FF2B5EF4-FFF2-40B4-BE49-F238E27FC236}">
                    <a16:creationId xmlns:a16="http://schemas.microsoft.com/office/drawing/2014/main" id="{3A73B81E-8570-4189-98BB-9C1CA8BD709C}"/>
                  </a:ext>
                </a:extLst>
              </p:cNvPr>
              <p:cNvSpPr>
                <a:spLocks/>
              </p:cNvSpPr>
              <p:nvPr/>
            </p:nvSpPr>
            <p:spPr bwMode="auto">
              <a:xfrm>
                <a:off x="7145" y="3268"/>
                <a:ext cx="3" cy="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7" name="Freeform 2637">
                <a:extLst>
                  <a:ext uri="{FF2B5EF4-FFF2-40B4-BE49-F238E27FC236}">
                    <a16:creationId xmlns:a16="http://schemas.microsoft.com/office/drawing/2014/main" id="{DA9D5C17-68C1-4BE4-B4BE-41ECA5A07D65}"/>
                  </a:ext>
                </a:extLst>
              </p:cNvPr>
              <p:cNvSpPr>
                <a:spLocks/>
              </p:cNvSpPr>
              <p:nvPr/>
            </p:nvSpPr>
            <p:spPr bwMode="auto">
              <a:xfrm>
                <a:off x="6748" y="3044"/>
                <a:ext cx="5" cy="9"/>
              </a:xfrm>
              <a:custGeom>
                <a:avLst/>
                <a:gdLst>
                  <a:gd name="T0" fmla="*/ 0 w 2"/>
                  <a:gd name="T1" fmla="*/ 0 h 4"/>
                  <a:gd name="T2" fmla="*/ 1 w 2"/>
                  <a:gd name="T3" fmla="*/ 4 h 4"/>
                  <a:gd name="T4" fmla="*/ 1 w 2"/>
                  <a:gd name="T5" fmla="*/ 1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2"/>
                      <a:pt x="1" y="3"/>
                      <a:pt x="1" y="4"/>
                    </a:cubicBezTo>
                    <a:cubicBezTo>
                      <a:pt x="2" y="3"/>
                      <a:pt x="1" y="2"/>
                      <a:pt x="1" y="1"/>
                    </a:cubicBezTo>
                    <a:cubicBezTo>
                      <a:pt x="1" y="1"/>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8" name="Freeform 2638">
                <a:extLst>
                  <a:ext uri="{FF2B5EF4-FFF2-40B4-BE49-F238E27FC236}">
                    <a16:creationId xmlns:a16="http://schemas.microsoft.com/office/drawing/2014/main" id="{5BF8F427-5D7F-4EDF-AB08-F5017B8B507F}"/>
                  </a:ext>
                </a:extLst>
              </p:cNvPr>
              <p:cNvSpPr>
                <a:spLocks/>
              </p:cNvSpPr>
              <p:nvPr/>
            </p:nvSpPr>
            <p:spPr bwMode="auto">
              <a:xfrm>
                <a:off x="6845" y="3675"/>
                <a:ext cx="40" cy="12"/>
              </a:xfrm>
              <a:custGeom>
                <a:avLst/>
                <a:gdLst>
                  <a:gd name="T0" fmla="*/ 15 w 17"/>
                  <a:gd name="T1" fmla="*/ 2 h 5"/>
                  <a:gd name="T2" fmla="*/ 14 w 17"/>
                  <a:gd name="T3" fmla="*/ 2 h 5"/>
                  <a:gd name="T4" fmla="*/ 13 w 17"/>
                  <a:gd name="T5" fmla="*/ 2 h 5"/>
                  <a:gd name="T6" fmla="*/ 12 w 17"/>
                  <a:gd name="T7" fmla="*/ 1 h 5"/>
                  <a:gd name="T8" fmla="*/ 11 w 17"/>
                  <a:gd name="T9" fmla="*/ 0 h 5"/>
                  <a:gd name="T10" fmla="*/ 8 w 17"/>
                  <a:gd name="T11" fmla="*/ 0 h 5"/>
                  <a:gd name="T12" fmla="*/ 5 w 17"/>
                  <a:gd name="T13" fmla="*/ 1 h 5"/>
                  <a:gd name="T14" fmla="*/ 2 w 17"/>
                  <a:gd name="T15" fmla="*/ 2 h 5"/>
                  <a:gd name="T16" fmla="*/ 1 w 17"/>
                  <a:gd name="T17" fmla="*/ 4 h 5"/>
                  <a:gd name="T18" fmla="*/ 2 w 17"/>
                  <a:gd name="T19" fmla="*/ 5 h 5"/>
                  <a:gd name="T20" fmla="*/ 3 w 17"/>
                  <a:gd name="T21" fmla="*/ 5 h 5"/>
                  <a:gd name="T22" fmla="*/ 6 w 17"/>
                  <a:gd name="T23" fmla="*/ 5 h 5"/>
                  <a:gd name="T24" fmla="*/ 10 w 17"/>
                  <a:gd name="T25" fmla="*/ 5 h 5"/>
                  <a:gd name="T26" fmla="*/ 13 w 17"/>
                  <a:gd name="T27" fmla="*/ 3 h 5"/>
                  <a:gd name="T28" fmla="*/ 17 w 17"/>
                  <a:gd name="T29" fmla="*/ 3 h 5"/>
                  <a:gd name="T30" fmla="*/ 15 w 17"/>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5">
                    <a:moveTo>
                      <a:pt x="15" y="2"/>
                    </a:moveTo>
                    <a:cubicBezTo>
                      <a:pt x="14" y="1"/>
                      <a:pt x="15" y="2"/>
                      <a:pt x="14" y="2"/>
                    </a:cubicBezTo>
                    <a:cubicBezTo>
                      <a:pt x="13" y="2"/>
                      <a:pt x="13" y="2"/>
                      <a:pt x="13" y="2"/>
                    </a:cubicBezTo>
                    <a:cubicBezTo>
                      <a:pt x="13" y="1"/>
                      <a:pt x="12" y="2"/>
                      <a:pt x="12" y="1"/>
                    </a:cubicBezTo>
                    <a:cubicBezTo>
                      <a:pt x="11" y="0"/>
                      <a:pt x="12" y="0"/>
                      <a:pt x="11" y="0"/>
                    </a:cubicBezTo>
                    <a:cubicBezTo>
                      <a:pt x="11" y="0"/>
                      <a:pt x="9" y="0"/>
                      <a:pt x="8" y="0"/>
                    </a:cubicBezTo>
                    <a:cubicBezTo>
                      <a:pt x="8" y="0"/>
                      <a:pt x="6" y="1"/>
                      <a:pt x="5" y="1"/>
                    </a:cubicBezTo>
                    <a:cubicBezTo>
                      <a:pt x="4" y="1"/>
                      <a:pt x="3" y="1"/>
                      <a:pt x="2" y="2"/>
                    </a:cubicBezTo>
                    <a:cubicBezTo>
                      <a:pt x="1" y="2"/>
                      <a:pt x="0" y="3"/>
                      <a:pt x="1" y="4"/>
                    </a:cubicBezTo>
                    <a:cubicBezTo>
                      <a:pt x="1" y="4"/>
                      <a:pt x="2" y="5"/>
                      <a:pt x="2" y="5"/>
                    </a:cubicBezTo>
                    <a:cubicBezTo>
                      <a:pt x="3" y="5"/>
                      <a:pt x="2" y="5"/>
                      <a:pt x="3" y="5"/>
                    </a:cubicBezTo>
                    <a:cubicBezTo>
                      <a:pt x="4" y="5"/>
                      <a:pt x="5" y="5"/>
                      <a:pt x="6" y="5"/>
                    </a:cubicBezTo>
                    <a:cubicBezTo>
                      <a:pt x="7" y="5"/>
                      <a:pt x="9" y="4"/>
                      <a:pt x="10" y="5"/>
                    </a:cubicBezTo>
                    <a:cubicBezTo>
                      <a:pt x="11" y="5"/>
                      <a:pt x="12" y="4"/>
                      <a:pt x="13" y="3"/>
                    </a:cubicBezTo>
                    <a:cubicBezTo>
                      <a:pt x="14" y="3"/>
                      <a:pt x="15" y="3"/>
                      <a:pt x="17" y="3"/>
                    </a:cubicBezTo>
                    <a:cubicBezTo>
                      <a:pt x="16" y="2"/>
                      <a:pt x="16"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9" name="Freeform 2639">
                <a:extLst>
                  <a:ext uri="{FF2B5EF4-FFF2-40B4-BE49-F238E27FC236}">
                    <a16:creationId xmlns:a16="http://schemas.microsoft.com/office/drawing/2014/main" id="{924E3DE6-2A35-44ED-9E7E-690136A4A38D}"/>
                  </a:ext>
                </a:extLst>
              </p:cNvPr>
              <p:cNvSpPr>
                <a:spLocks/>
              </p:cNvSpPr>
              <p:nvPr/>
            </p:nvSpPr>
            <p:spPr bwMode="auto">
              <a:xfrm>
                <a:off x="6774" y="3583"/>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1"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0" name="Freeform 2640">
                <a:extLst>
                  <a:ext uri="{FF2B5EF4-FFF2-40B4-BE49-F238E27FC236}">
                    <a16:creationId xmlns:a16="http://schemas.microsoft.com/office/drawing/2014/main" id="{BE93B475-9A09-4114-87BF-45BAC1B96D7C}"/>
                  </a:ext>
                </a:extLst>
              </p:cNvPr>
              <p:cNvSpPr>
                <a:spLocks/>
              </p:cNvSpPr>
              <p:nvPr/>
            </p:nvSpPr>
            <p:spPr bwMode="auto">
              <a:xfrm>
                <a:off x="7058" y="3751"/>
                <a:ext cx="4" cy="2"/>
              </a:xfrm>
              <a:custGeom>
                <a:avLst/>
                <a:gdLst>
                  <a:gd name="T0" fmla="*/ 1 w 2"/>
                  <a:gd name="T1" fmla="*/ 1 h 1"/>
                  <a:gd name="T2" fmla="*/ 2 w 2"/>
                  <a:gd name="T3" fmla="*/ 1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1"/>
                    </a:cubicBezTo>
                    <a:cubicBezTo>
                      <a:pt x="1" y="0"/>
                      <a:pt x="1" y="0"/>
                      <a:pt x="0" y="0"/>
                    </a:cubicBezTo>
                    <a:cubicBezTo>
                      <a:pt x="0"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1" name="Freeform 2641">
                <a:extLst>
                  <a:ext uri="{FF2B5EF4-FFF2-40B4-BE49-F238E27FC236}">
                    <a16:creationId xmlns:a16="http://schemas.microsoft.com/office/drawing/2014/main" id="{B69C6812-6A7A-470F-BD37-E35BE0A90B71}"/>
                  </a:ext>
                </a:extLst>
              </p:cNvPr>
              <p:cNvSpPr>
                <a:spLocks/>
              </p:cNvSpPr>
              <p:nvPr/>
            </p:nvSpPr>
            <p:spPr bwMode="auto">
              <a:xfrm>
                <a:off x="6334" y="3285"/>
                <a:ext cx="3"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0"/>
                      <a:pt x="1" y="1"/>
                      <a:pt x="0" y="2"/>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2" name="Freeform 2642">
                <a:extLst>
                  <a:ext uri="{FF2B5EF4-FFF2-40B4-BE49-F238E27FC236}">
                    <a16:creationId xmlns:a16="http://schemas.microsoft.com/office/drawing/2014/main" id="{4D402259-69E8-4313-8BFE-A634566A6A32}"/>
                  </a:ext>
                </a:extLst>
              </p:cNvPr>
              <p:cNvSpPr>
                <a:spLocks/>
              </p:cNvSpPr>
              <p:nvPr/>
            </p:nvSpPr>
            <p:spPr bwMode="auto">
              <a:xfrm>
                <a:off x="7183" y="3323"/>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3" name="Freeform 2643">
                <a:extLst>
                  <a:ext uri="{FF2B5EF4-FFF2-40B4-BE49-F238E27FC236}">
                    <a16:creationId xmlns:a16="http://schemas.microsoft.com/office/drawing/2014/main" id="{B4D2FC0A-278B-44BB-8562-850B87162411}"/>
                  </a:ext>
                </a:extLst>
              </p:cNvPr>
              <p:cNvSpPr>
                <a:spLocks/>
              </p:cNvSpPr>
              <p:nvPr/>
            </p:nvSpPr>
            <p:spPr bwMode="auto">
              <a:xfrm>
                <a:off x="7117" y="3791"/>
                <a:ext cx="16" cy="14"/>
              </a:xfrm>
              <a:custGeom>
                <a:avLst/>
                <a:gdLst>
                  <a:gd name="T0" fmla="*/ 6 w 7"/>
                  <a:gd name="T1" fmla="*/ 6 h 6"/>
                  <a:gd name="T2" fmla="*/ 2 w 7"/>
                  <a:gd name="T3" fmla="*/ 0 h 6"/>
                  <a:gd name="T4" fmla="*/ 1 w 7"/>
                  <a:gd name="T5" fmla="*/ 1 h 6"/>
                  <a:gd name="T6" fmla="*/ 0 w 7"/>
                  <a:gd name="T7" fmla="*/ 1 h 6"/>
                  <a:gd name="T8" fmla="*/ 3 w 7"/>
                  <a:gd name="T9" fmla="*/ 5 h 6"/>
                  <a:gd name="T10" fmla="*/ 5 w 7"/>
                  <a:gd name="T11" fmla="*/ 6 h 6"/>
                  <a:gd name="T12" fmla="*/ 5 w 7"/>
                  <a:gd name="T13" fmla="*/ 6 h 6"/>
                  <a:gd name="T14" fmla="*/ 6 w 7"/>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6"/>
                    </a:moveTo>
                    <a:cubicBezTo>
                      <a:pt x="7" y="4"/>
                      <a:pt x="3" y="0"/>
                      <a:pt x="2" y="0"/>
                    </a:cubicBezTo>
                    <a:cubicBezTo>
                      <a:pt x="1" y="0"/>
                      <a:pt x="1" y="0"/>
                      <a:pt x="1" y="1"/>
                    </a:cubicBezTo>
                    <a:cubicBezTo>
                      <a:pt x="1" y="1"/>
                      <a:pt x="0" y="1"/>
                      <a:pt x="0" y="1"/>
                    </a:cubicBezTo>
                    <a:cubicBezTo>
                      <a:pt x="0" y="2"/>
                      <a:pt x="2" y="5"/>
                      <a:pt x="3" y="5"/>
                    </a:cubicBezTo>
                    <a:cubicBezTo>
                      <a:pt x="3" y="6"/>
                      <a:pt x="4" y="6"/>
                      <a:pt x="5" y="6"/>
                    </a:cubicBezTo>
                    <a:cubicBezTo>
                      <a:pt x="4" y="6"/>
                      <a:pt x="5" y="5"/>
                      <a:pt x="5" y="6"/>
                    </a:cubicBezTo>
                    <a:cubicBezTo>
                      <a:pt x="5" y="6"/>
                      <a:pt x="6"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4" name="Freeform 2644">
                <a:extLst>
                  <a:ext uri="{FF2B5EF4-FFF2-40B4-BE49-F238E27FC236}">
                    <a16:creationId xmlns:a16="http://schemas.microsoft.com/office/drawing/2014/main" id="{E97FB32F-BFE7-45AC-BE2C-26D1AD7F7BB7}"/>
                  </a:ext>
                </a:extLst>
              </p:cNvPr>
              <p:cNvSpPr>
                <a:spLocks/>
              </p:cNvSpPr>
              <p:nvPr/>
            </p:nvSpPr>
            <p:spPr bwMode="auto">
              <a:xfrm>
                <a:off x="7044" y="3810"/>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5" name="Freeform 2645">
                <a:extLst>
                  <a:ext uri="{FF2B5EF4-FFF2-40B4-BE49-F238E27FC236}">
                    <a16:creationId xmlns:a16="http://schemas.microsoft.com/office/drawing/2014/main" id="{B567A1A3-26A8-44B5-8829-4B5D3EAE05B5}"/>
                  </a:ext>
                </a:extLst>
              </p:cNvPr>
              <p:cNvSpPr>
                <a:spLocks/>
              </p:cNvSpPr>
              <p:nvPr/>
            </p:nvSpPr>
            <p:spPr bwMode="auto">
              <a:xfrm>
                <a:off x="7041" y="3817"/>
                <a:ext cx="90" cy="85"/>
              </a:xfrm>
              <a:custGeom>
                <a:avLst/>
                <a:gdLst>
                  <a:gd name="T0" fmla="*/ 38 w 38"/>
                  <a:gd name="T1" fmla="*/ 16 h 36"/>
                  <a:gd name="T2" fmla="*/ 37 w 38"/>
                  <a:gd name="T3" fmla="*/ 10 h 36"/>
                  <a:gd name="T4" fmla="*/ 38 w 38"/>
                  <a:gd name="T5" fmla="*/ 4 h 36"/>
                  <a:gd name="T6" fmla="*/ 37 w 38"/>
                  <a:gd name="T7" fmla="*/ 3 h 36"/>
                  <a:gd name="T8" fmla="*/ 34 w 38"/>
                  <a:gd name="T9" fmla="*/ 1 h 36"/>
                  <a:gd name="T10" fmla="*/ 32 w 38"/>
                  <a:gd name="T11" fmla="*/ 3 h 36"/>
                  <a:gd name="T12" fmla="*/ 24 w 38"/>
                  <a:gd name="T13" fmla="*/ 5 h 36"/>
                  <a:gd name="T14" fmla="*/ 24 w 38"/>
                  <a:gd name="T15" fmla="*/ 6 h 36"/>
                  <a:gd name="T16" fmla="*/ 21 w 38"/>
                  <a:gd name="T17" fmla="*/ 5 h 36"/>
                  <a:gd name="T18" fmla="*/ 18 w 38"/>
                  <a:gd name="T19" fmla="*/ 6 h 36"/>
                  <a:gd name="T20" fmla="*/ 13 w 38"/>
                  <a:gd name="T21" fmla="*/ 5 h 36"/>
                  <a:gd name="T22" fmla="*/ 9 w 38"/>
                  <a:gd name="T23" fmla="*/ 3 h 36"/>
                  <a:gd name="T24" fmla="*/ 3 w 38"/>
                  <a:gd name="T25" fmla="*/ 1 h 36"/>
                  <a:gd name="T26" fmla="*/ 1 w 38"/>
                  <a:gd name="T27" fmla="*/ 0 h 36"/>
                  <a:gd name="T28" fmla="*/ 1 w 38"/>
                  <a:gd name="T29" fmla="*/ 6 h 36"/>
                  <a:gd name="T30" fmla="*/ 2 w 38"/>
                  <a:gd name="T31" fmla="*/ 10 h 36"/>
                  <a:gd name="T32" fmla="*/ 4 w 38"/>
                  <a:gd name="T33" fmla="*/ 13 h 36"/>
                  <a:gd name="T34" fmla="*/ 6 w 38"/>
                  <a:gd name="T35" fmla="*/ 17 h 36"/>
                  <a:gd name="T36" fmla="*/ 7 w 38"/>
                  <a:gd name="T37" fmla="*/ 20 h 36"/>
                  <a:gd name="T38" fmla="*/ 9 w 38"/>
                  <a:gd name="T39" fmla="*/ 23 h 36"/>
                  <a:gd name="T40" fmla="*/ 6 w 38"/>
                  <a:gd name="T41" fmla="*/ 19 h 36"/>
                  <a:gd name="T42" fmla="*/ 6 w 38"/>
                  <a:gd name="T43" fmla="*/ 22 h 36"/>
                  <a:gd name="T44" fmla="*/ 9 w 38"/>
                  <a:gd name="T45" fmla="*/ 28 h 36"/>
                  <a:gd name="T46" fmla="*/ 10 w 38"/>
                  <a:gd name="T47" fmla="*/ 29 h 36"/>
                  <a:gd name="T48" fmla="*/ 11 w 38"/>
                  <a:gd name="T49" fmla="*/ 30 h 36"/>
                  <a:gd name="T50" fmla="*/ 13 w 38"/>
                  <a:gd name="T51" fmla="*/ 32 h 36"/>
                  <a:gd name="T52" fmla="*/ 17 w 38"/>
                  <a:gd name="T53" fmla="*/ 33 h 36"/>
                  <a:gd name="T54" fmla="*/ 16 w 38"/>
                  <a:gd name="T55" fmla="*/ 34 h 36"/>
                  <a:gd name="T56" fmla="*/ 14 w 38"/>
                  <a:gd name="T57" fmla="*/ 36 h 36"/>
                  <a:gd name="T58" fmla="*/ 19 w 38"/>
                  <a:gd name="T59" fmla="*/ 35 h 36"/>
                  <a:gd name="T60" fmla="*/ 24 w 38"/>
                  <a:gd name="T61" fmla="*/ 36 h 36"/>
                  <a:gd name="T62" fmla="*/ 25 w 38"/>
                  <a:gd name="T63" fmla="*/ 32 h 36"/>
                  <a:gd name="T64" fmla="*/ 24 w 38"/>
                  <a:gd name="T65" fmla="*/ 30 h 36"/>
                  <a:gd name="T66" fmla="*/ 26 w 38"/>
                  <a:gd name="T67" fmla="*/ 32 h 36"/>
                  <a:gd name="T68" fmla="*/ 27 w 38"/>
                  <a:gd name="T69" fmla="*/ 29 h 36"/>
                  <a:gd name="T70" fmla="*/ 27 w 38"/>
                  <a:gd name="T71" fmla="*/ 26 h 36"/>
                  <a:gd name="T72" fmla="*/ 30 w 38"/>
                  <a:gd name="T73" fmla="*/ 29 h 36"/>
                  <a:gd name="T74" fmla="*/ 30 w 38"/>
                  <a:gd name="T75" fmla="*/ 27 h 36"/>
                  <a:gd name="T76" fmla="*/ 34 w 38"/>
                  <a:gd name="T77" fmla="*/ 29 h 36"/>
                  <a:gd name="T78" fmla="*/ 32 w 38"/>
                  <a:gd name="T79" fmla="*/ 31 h 36"/>
                  <a:gd name="T80" fmla="*/ 35 w 38"/>
                  <a:gd name="T81" fmla="*/ 31 h 36"/>
                  <a:gd name="T82" fmla="*/ 34 w 38"/>
                  <a:gd name="T83" fmla="*/ 29 h 36"/>
                  <a:gd name="T84" fmla="*/ 33 w 38"/>
                  <a:gd name="T85" fmla="*/ 27 h 36"/>
                  <a:gd name="T86" fmla="*/ 34 w 38"/>
                  <a:gd name="T87" fmla="*/ 21 h 36"/>
                  <a:gd name="T88" fmla="*/ 36 w 38"/>
                  <a:gd name="T89" fmla="*/ 17 h 36"/>
                  <a:gd name="T90" fmla="*/ 38 w 38"/>
                  <a:gd name="T91" fmla="*/ 19 h 36"/>
                  <a:gd name="T92" fmla="*/ 38 w 38"/>
                  <a:gd name="T93" fmla="*/ 17 h 36"/>
                  <a:gd name="T94" fmla="*/ 38 w 38"/>
                  <a:gd name="T9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36">
                    <a:moveTo>
                      <a:pt x="38" y="16"/>
                    </a:moveTo>
                    <a:cubicBezTo>
                      <a:pt x="37" y="14"/>
                      <a:pt x="37" y="12"/>
                      <a:pt x="37" y="10"/>
                    </a:cubicBezTo>
                    <a:cubicBezTo>
                      <a:pt x="37" y="8"/>
                      <a:pt x="38" y="6"/>
                      <a:pt x="38" y="4"/>
                    </a:cubicBezTo>
                    <a:cubicBezTo>
                      <a:pt x="38" y="3"/>
                      <a:pt x="37" y="3"/>
                      <a:pt x="37" y="3"/>
                    </a:cubicBezTo>
                    <a:cubicBezTo>
                      <a:pt x="37" y="2"/>
                      <a:pt x="34" y="1"/>
                      <a:pt x="34" y="1"/>
                    </a:cubicBezTo>
                    <a:cubicBezTo>
                      <a:pt x="33" y="2"/>
                      <a:pt x="33" y="2"/>
                      <a:pt x="32" y="3"/>
                    </a:cubicBezTo>
                    <a:cubicBezTo>
                      <a:pt x="29" y="3"/>
                      <a:pt x="26" y="4"/>
                      <a:pt x="24" y="5"/>
                    </a:cubicBezTo>
                    <a:cubicBezTo>
                      <a:pt x="22" y="5"/>
                      <a:pt x="22" y="6"/>
                      <a:pt x="24" y="6"/>
                    </a:cubicBezTo>
                    <a:cubicBezTo>
                      <a:pt x="23" y="6"/>
                      <a:pt x="22" y="6"/>
                      <a:pt x="21" y="5"/>
                    </a:cubicBezTo>
                    <a:cubicBezTo>
                      <a:pt x="20" y="5"/>
                      <a:pt x="19" y="6"/>
                      <a:pt x="18" y="6"/>
                    </a:cubicBezTo>
                    <a:cubicBezTo>
                      <a:pt x="16" y="6"/>
                      <a:pt x="15" y="5"/>
                      <a:pt x="13" y="5"/>
                    </a:cubicBezTo>
                    <a:cubicBezTo>
                      <a:pt x="11" y="4"/>
                      <a:pt x="10" y="3"/>
                      <a:pt x="9" y="3"/>
                    </a:cubicBezTo>
                    <a:cubicBezTo>
                      <a:pt x="7" y="2"/>
                      <a:pt x="4" y="0"/>
                      <a:pt x="3" y="1"/>
                    </a:cubicBezTo>
                    <a:cubicBezTo>
                      <a:pt x="3" y="0"/>
                      <a:pt x="2" y="0"/>
                      <a:pt x="1" y="0"/>
                    </a:cubicBezTo>
                    <a:cubicBezTo>
                      <a:pt x="0" y="2"/>
                      <a:pt x="0" y="4"/>
                      <a:pt x="1" y="6"/>
                    </a:cubicBezTo>
                    <a:cubicBezTo>
                      <a:pt x="1" y="7"/>
                      <a:pt x="1" y="9"/>
                      <a:pt x="2" y="10"/>
                    </a:cubicBezTo>
                    <a:cubicBezTo>
                      <a:pt x="2" y="11"/>
                      <a:pt x="3" y="12"/>
                      <a:pt x="4" y="13"/>
                    </a:cubicBezTo>
                    <a:cubicBezTo>
                      <a:pt x="5" y="14"/>
                      <a:pt x="6" y="16"/>
                      <a:pt x="6" y="17"/>
                    </a:cubicBezTo>
                    <a:cubicBezTo>
                      <a:pt x="6" y="19"/>
                      <a:pt x="6" y="19"/>
                      <a:pt x="7" y="20"/>
                    </a:cubicBezTo>
                    <a:cubicBezTo>
                      <a:pt x="8" y="21"/>
                      <a:pt x="10" y="21"/>
                      <a:pt x="9" y="23"/>
                    </a:cubicBezTo>
                    <a:cubicBezTo>
                      <a:pt x="8" y="21"/>
                      <a:pt x="7" y="20"/>
                      <a:pt x="6" y="19"/>
                    </a:cubicBezTo>
                    <a:cubicBezTo>
                      <a:pt x="6" y="20"/>
                      <a:pt x="6" y="21"/>
                      <a:pt x="6" y="22"/>
                    </a:cubicBezTo>
                    <a:cubicBezTo>
                      <a:pt x="7" y="24"/>
                      <a:pt x="8" y="26"/>
                      <a:pt x="9" y="28"/>
                    </a:cubicBezTo>
                    <a:cubicBezTo>
                      <a:pt x="9" y="28"/>
                      <a:pt x="10" y="28"/>
                      <a:pt x="10" y="29"/>
                    </a:cubicBezTo>
                    <a:cubicBezTo>
                      <a:pt x="11" y="29"/>
                      <a:pt x="11" y="30"/>
                      <a:pt x="11" y="30"/>
                    </a:cubicBezTo>
                    <a:cubicBezTo>
                      <a:pt x="12" y="31"/>
                      <a:pt x="12" y="33"/>
                      <a:pt x="13" y="32"/>
                    </a:cubicBezTo>
                    <a:cubicBezTo>
                      <a:pt x="14" y="31"/>
                      <a:pt x="17" y="32"/>
                      <a:pt x="17" y="33"/>
                    </a:cubicBezTo>
                    <a:cubicBezTo>
                      <a:pt x="16" y="33"/>
                      <a:pt x="16" y="33"/>
                      <a:pt x="16" y="34"/>
                    </a:cubicBezTo>
                    <a:cubicBezTo>
                      <a:pt x="15" y="32"/>
                      <a:pt x="15" y="35"/>
                      <a:pt x="14" y="36"/>
                    </a:cubicBezTo>
                    <a:cubicBezTo>
                      <a:pt x="16" y="35"/>
                      <a:pt x="18" y="35"/>
                      <a:pt x="19" y="35"/>
                    </a:cubicBezTo>
                    <a:cubicBezTo>
                      <a:pt x="21" y="35"/>
                      <a:pt x="22" y="36"/>
                      <a:pt x="24" y="36"/>
                    </a:cubicBezTo>
                    <a:cubicBezTo>
                      <a:pt x="24" y="34"/>
                      <a:pt x="24" y="33"/>
                      <a:pt x="25" y="32"/>
                    </a:cubicBezTo>
                    <a:cubicBezTo>
                      <a:pt x="25" y="32"/>
                      <a:pt x="24" y="31"/>
                      <a:pt x="24" y="30"/>
                    </a:cubicBezTo>
                    <a:cubicBezTo>
                      <a:pt x="25" y="31"/>
                      <a:pt x="26" y="31"/>
                      <a:pt x="26" y="32"/>
                    </a:cubicBezTo>
                    <a:cubicBezTo>
                      <a:pt x="27" y="31"/>
                      <a:pt x="27" y="30"/>
                      <a:pt x="27" y="29"/>
                    </a:cubicBezTo>
                    <a:cubicBezTo>
                      <a:pt x="27" y="28"/>
                      <a:pt x="27" y="27"/>
                      <a:pt x="27" y="26"/>
                    </a:cubicBezTo>
                    <a:cubicBezTo>
                      <a:pt x="28" y="27"/>
                      <a:pt x="29" y="28"/>
                      <a:pt x="30" y="29"/>
                    </a:cubicBezTo>
                    <a:cubicBezTo>
                      <a:pt x="30" y="28"/>
                      <a:pt x="29" y="27"/>
                      <a:pt x="30" y="27"/>
                    </a:cubicBezTo>
                    <a:cubicBezTo>
                      <a:pt x="31" y="26"/>
                      <a:pt x="33" y="29"/>
                      <a:pt x="34" y="29"/>
                    </a:cubicBezTo>
                    <a:cubicBezTo>
                      <a:pt x="33" y="29"/>
                      <a:pt x="31" y="30"/>
                      <a:pt x="32" y="31"/>
                    </a:cubicBezTo>
                    <a:cubicBezTo>
                      <a:pt x="32" y="32"/>
                      <a:pt x="34" y="31"/>
                      <a:pt x="35" y="31"/>
                    </a:cubicBezTo>
                    <a:cubicBezTo>
                      <a:pt x="35" y="31"/>
                      <a:pt x="34" y="30"/>
                      <a:pt x="34" y="29"/>
                    </a:cubicBezTo>
                    <a:cubicBezTo>
                      <a:pt x="34" y="29"/>
                      <a:pt x="35" y="26"/>
                      <a:pt x="33" y="27"/>
                    </a:cubicBezTo>
                    <a:cubicBezTo>
                      <a:pt x="33" y="26"/>
                      <a:pt x="34" y="23"/>
                      <a:pt x="34" y="21"/>
                    </a:cubicBezTo>
                    <a:cubicBezTo>
                      <a:pt x="34" y="20"/>
                      <a:pt x="36" y="19"/>
                      <a:pt x="36" y="17"/>
                    </a:cubicBezTo>
                    <a:cubicBezTo>
                      <a:pt x="37" y="17"/>
                      <a:pt x="38" y="18"/>
                      <a:pt x="38" y="19"/>
                    </a:cubicBezTo>
                    <a:cubicBezTo>
                      <a:pt x="38" y="19"/>
                      <a:pt x="38" y="18"/>
                      <a:pt x="38" y="17"/>
                    </a:cubicBezTo>
                    <a:cubicBezTo>
                      <a:pt x="38" y="17"/>
                      <a:pt x="38" y="16"/>
                      <a:pt x="3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6" name="Freeform 2646">
                <a:extLst>
                  <a:ext uri="{FF2B5EF4-FFF2-40B4-BE49-F238E27FC236}">
                    <a16:creationId xmlns:a16="http://schemas.microsoft.com/office/drawing/2014/main" id="{60E44711-B102-42DB-A54D-639B7B9216E8}"/>
                  </a:ext>
                </a:extLst>
              </p:cNvPr>
              <p:cNvSpPr>
                <a:spLocks/>
              </p:cNvSpPr>
              <p:nvPr/>
            </p:nvSpPr>
            <p:spPr bwMode="auto">
              <a:xfrm>
                <a:off x="6696" y="3048"/>
                <a:ext cx="28" cy="19"/>
              </a:xfrm>
              <a:custGeom>
                <a:avLst/>
                <a:gdLst>
                  <a:gd name="T0" fmla="*/ 6 w 12"/>
                  <a:gd name="T1" fmla="*/ 8 h 8"/>
                  <a:gd name="T2" fmla="*/ 11 w 12"/>
                  <a:gd name="T3" fmla="*/ 5 h 8"/>
                  <a:gd name="T4" fmla="*/ 12 w 12"/>
                  <a:gd name="T5" fmla="*/ 3 h 8"/>
                  <a:gd name="T6" fmla="*/ 12 w 12"/>
                  <a:gd name="T7" fmla="*/ 1 h 8"/>
                  <a:gd name="T8" fmla="*/ 9 w 12"/>
                  <a:gd name="T9" fmla="*/ 2 h 8"/>
                  <a:gd name="T10" fmla="*/ 8 w 12"/>
                  <a:gd name="T11" fmla="*/ 1 h 8"/>
                  <a:gd name="T12" fmla="*/ 4 w 12"/>
                  <a:gd name="T13" fmla="*/ 2 h 8"/>
                  <a:gd name="T14" fmla="*/ 0 w 12"/>
                  <a:gd name="T15" fmla="*/ 0 h 8"/>
                  <a:gd name="T16" fmla="*/ 2 w 12"/>
                  <a:gd name="T17" fmla="*/ 5 h 8"/>
                  <a:gd name="T18" fmla="*/ 4 w 12"/>
                  <a:gd name="T19" fmla="*/ 6 h 8"/>
                  <a:gd name="T20" fmla="*/ 6 w 12"/>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8">
                    <a:moveTo>
                      <a:pt x="6" y="8"/>
                    </a:moveTo>
                    <a:cubicBezTo>
                      <a:pt x="8" y="8"/>
                      <a:pt x="10" y="5"/>
                      <a:pt x="11" y="5"/>
                    </a:cubicBezTo>
                    <a:cubicBezTo>
                      <a:pt x="11" y="4"/>
                      <a:pt x="12" y="4"/>
                      <a:pt x="12" y="3"/>
                    </a:cubicBezTo>
                    <a:cubicBezTo>
                      <a:pt x="12" y="2"/>
                      <a:pt x="12" y="2"/>
                      <a:pt x="12" y="1"/>
                    </a:cubicBezTo>
                    <a:cubicBezTo>
                      <a:pt x="11" y="0"/>
                      <a:pt x="8" y="0"/>
                      <a:pt x="9" y="2"/>
                    </a:cubicBezTo>
                    <a:cubicBezTo>
                      <a:pt x="9" y="1"/>
                      <a:pt x="9" y="1"/>
                      <a:pt x="8" y="1"/>
                    </a:cubicBezTo>
                    <a:cubicBezTo>
                      <a:pt x="6" y="1"/>
                      <a:pt x="5" y="2"/>
                      <a:pt x="4" y="2"/>
                    </a:cubicBezTo>
                    <a:cubicBezTo>
                      <a:pt x="2" y="3"/>
                      <a:pt x="2" y="1"/>
                      <a:pt x="0" y="0"/>
                    </a:cubicBezTo>
                    <a:cubicBezTo>
                      <a:pt x="1" y="2"/>
                      <a:pt x="1" y="4"/>
                      <a:pt x="2" y="5"/>
                    </a:cubicBezTo>
                    <a:cubicBezTo>
                      <a:pt x="3" y="6"/>
                      <a:pt x="3" y="6"/>
                      <a:pt x="4" y="6"/>
                    </a:cubicBezTo>
                    <a:cubicBezTo>
                      <a:pt x="4" y="7"/>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7" name="Freeform 2647">
                <a:extLst>
                  <a:ext uri="{FF2B5EF4-FFF2-40B4-BE49-F238E27FC236}">
                    <a16:creationId xmlns:a16="http://schemas.microsoft.com/office/drawing/2014/main" id="{E1C95C00-23FE-4C9A-92D0-D563CF8533AE}"/>
                  </a:ext>
                </a:extLst>
              </p:cNvPr>
              <p:cNvSpPr>
                <a:spLocks/>
              </p:cNvSpPr>
              <p:nvPr/>
            </p:nvSpPr>
            <p:spPr bwMode="auto">
              <a:xfrm>
                <a:off x="7242" y="3387"/>
                <a:ext cx="12" cy="28"/>
              </a:xfrm>
              <a:custGeom>
                <a:avLst/>
                <a:gdLst>
                  <a:gd name="T0" fmla="*/ 1 w 5"/>
                  <a:gd name="T1" fmla="*/ 6 h 12"/>
                  <a:gd name="T2" fmla="*/ 1 w 5"/>
                  <a:gd name="T3" fmla="*/ 8 h 12"/>
                  <a:gd name="T4" fmla="*/ 1 w 5"/>
                  <a:gd name="T5" fmla="*/ 12 h 12"/>
                  <a:gd name="T6" fmla="*/ 4 w 5"/>
                  <a:gd name="T7" fmla="*/ 5 h 12"/>
                  <a:gd name="T8" fmla="*/ 4 w 5"/>
                  <a:gd name="T9" fmla="*/ 2 h 12"/>
                  <a:gd name="T10" fmla="*/ 2 w 5"/>
                  <a:gd name="T11" fmla="*/ 1 h 12"/>
                  <a:gd name="T12" fmla="*/ 1 w 5"/>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1" y="6"/>
                    </a:moveTo>
                    <a:cubicBezTo>
                      <a:pt x="2" y="6"/>
                      <a:pt x="1" y="8"/>
                      <a:pt x="1" y="8"/>
                    </a:cubicBezTo>
                    <a:cubicBezTo>
                      <a:pt x="0" y="9"/>
                      <a:pt x="0" y="11"/>
                      <a:pt x="1" y="12"/>
                    </a:cubicBezTo>
                    <a:cubicBezTo>
                      <a:pt x="2" y="9"/>
                      <a:pt x="3" y="7"/>
                      <a:pt x="4" y="5"/>
                    </a:cubicBezTo>
                    <a:cubicBezTo>
                      <a:pt x="4" y="3"/>
                      <a:pt x="4" y="3"/>
                      <a:pt x="4" y="2"/>
                    </a:cubicBezTo>
                    <a:cubicBezTo>
                      <a:pt x="3" y="0"/>
                      <a:pt x="3" y="0"/>
                      <a:pt x="2" y="1"/>
                    </a:cubicBezTo>
                    <a:cubicBezTo>
                      <a:pt x="5" y="2"/>
                      <a:pt x="1"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8" name="Freeform 2648">
                <a:extLst>
                  <a:ext uri="{FF2B5EF4-FFF2-40B4-BE49-F238E27FC236}">
                    <a16:creationId xmlns:a16="http://schemas.microsoft.com/office/drawing/2014/main" id="{B1CC5D01-74B6-4E81-B766-B96AD33FBC48}"/>
                  </a:ext>
                </a:extLst>
              </p:cNvPr>
              <p:cNvSpPr>
                <a:spLocks/>
              </p:cNvSpPr>
              <p:nvPr/>
            </p:nvSpPr>
            <p:spPr bwMode="auto">
              <a:xfrm>
                <a:off x="6835" y="3103"/>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0" y="0"/>
                    </a:cubicBezTo>
                    <a:cubicBezTo>
                      <a:pt x="0"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9" name="Freeform 2649">
                <a:extLst>
                  <a:ext uri="{FF2B5EF4-FFF2-40B4-BE49-F238E27FC236}">
                    <a16:creationId xmlns:a16="http://schemas.microsoft.com/office/drawing/2014/main" id="{79D6F314-0C6D-46DA-9297-49AADD5C8E9D}"/>
                  </a:ext>
                </a:extLst>
              </p:cNvPr>
              <p:cNvSpPr>
                <a:spLocks/>
              </p:cNvSpPr>
              <p:nvPr/>
            </p:nvSpPr>
            <p:spPr bwMode="auto">
              <a:xfrm>
                <a:off x="6916" y="3190"/>
                <a:ext cx="5" cy="5"/>
              </a:xfrm>
              <a:custGeom>
                <a:avLst/>
                <a:gdLst>
                  <a:gd name="T0" fmla="*/ 0 w 2"/>
                  <a:gd name="T1" fmla="*/ 2 h 2"/>
                  <a:gd name="T2" fmla="*/ 1 w 2"/>
                  <a:gd name="T3" fmla="*/ 1 h 2"/>
                  <a:gd name="T4" fmla="*/ 0 w 2"/>
                  <a:gd name="T5" fmla="*/ 2 h 2"/>
                </a:gdLst>
                <a:ahLst/>
                <a:cxnLst>
                  <a:cxn ang="0">
                    <a:pos x="T0" y="T1"/>
                  </a:cxn>
                  <a:cxn ang="0">
                    <a:pos x="T2" y="T3"/>
                  </a:cxn>
                  <a:cxn ang="0">
                    <a:pos x="T4" y="T5"/>
                  </a:cxn>
                </a:cxnLst>
                <a:rect l="0" t="0" r="r" b="b"/>
                <a:pathLst>
                  <a:path w="2" h="2">
                    <a:moveTo>
                      <a:pt x="0" y="2"/>
                    </a:moveTo>
                    <a:cubicBezTo>
                      <a:pt x="0" y="2"/>
                      <a:pt x="2" y="2"/>
                      <a:pt x="1" y="1"/>
                    </a:cubicBezTo>
                    <a:cubicBezTo>
                      <a:pt x="1"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0" name="Freeform 2650">
                <a:extLst>
                  <a:ext uri="{FF2B5EF4-FFF2-40B4-BE49-F238E27FC236}">
                    <a16:creationId xmlns:a16="http://schemas.microsoft.com/office/drawing/2014/main" id="{4E970700-56E8-4BB3-A2B8-83D00B3F5849}"/>
                  </a:ext>
                </a:extLst>
              </p:cNvPr>
              <p:cNvSpPr>
                <a:spLocks/>
              </p:cNvSpPr>
              <p:nvPr/>
            </p:nvSpPr>
            <p:spPr bwMode="auto">
              <a:xfrm>
                <a:off x="6982" y="3034"/>
                <a:ext cx="5" cy="5"/>
              </a:xfrm>
              <a:custGeom>
                <a:avLst/>
                <a:gdLst>
                  <a:gd name="T0" fmla="*/ 0 w 2"/>
                  <a:gd name="T1" fmla="*/ 0 h 2"/>
                  <a:gd name="T2" fmla="*/ 0 w 2"/>
                  <a:gd name="T3" fmla="*/ 2 h 2"/>
                  <a:gd name="T4" fmla="*/ 0 w 2"/>
                  <a:gd name="T5" fmla="*/ 0 h 2"/>
                </a:gdLst>
                <a:ahLst/>
                <a:cxnLst>
                  <a:cxn ang="0">
                    <a:pos x="T0" y="T1"/>
                  </a:cxn>
                  <a:cxn ang="0">
                    <a:pos x="T2" y="T3"/>
                  </a:cxn>
                  <a:cxn ang="0">
                    <a:pos x="T4" y="T5"/>
                  </a:cxn>
                </a:cxnLst>
                <a:rect l="0" t="0" r="r" b="b"/>
                <a:pathLst>
                  <a:path w="2" h="2">
                    <a:moveTo>
                      <a:pt x="0" y="0"/>
                    </a:moveTo>
                    <a:cubicBezTo>
                      <a:pt x="0" y="1"/>
                      <a:pt x="0" y="1"/>
                      <a:pt x="0"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1" name="Freeform 2651">
                <a:extLst>
                  <a:ext uri="{FF2B5EF4-FFF2-40B4-BE49-F238E27FC236}">
                    <a16:creationId xmlns:a16="http://schemas.microsoft.com/office/drawing/2014/main" id="{D0870090-4EA3-44ED-B9DF-2006DEB7F71A}"/>
                  </a:ext>
                </a:extLst>
              </p:cNvPr>
              <p:cNvSpPr>
                <a:spLocks/>
              </p:cNvSpPr>
              <p:nvPr/>
            </p:nvSpPr>
            <p:spPr bwMode="auto">
              <a:xfrm>
                <a:off x="7254" y="3455"/>
                <a:ext cx="5" cy="10"/>
              </a:xfrm>
              <a:custGeom>
                <a:avLst/>
                <a:gdLst>
                  <a:gd name="T0" fmla="*/ 1 w 2"/>
                  <a:gd name="T1" fmla="*/ 1 h 4"/>
                  <a:gd name="T2" fmla="*/ 1 w 2"/>
                  <a:gd name="T3" fmla="*/ 0 h 4"/>
                  <a:gd name="T4" fmla="*/ 0 w 2"/>
                  <a:gd name="T5" fmla="*/ 4 h 4"/>
                  <a:gd name="T6" fmla="*/ 1 w 2"/>
                  <a:gd name="T7" fmla="*/ 1 h 4"/>
                </a:gdLst>
                <a:ahLst/>
                <a:cxnLst>
                  <a:cxn ang="0">
                    <a:pos x="T0" y="T1"/>
                  </a:cxn>
                  <a:cxn ang="0">
                    <a:pos x="T2" y="T3"/>
                  </a:cxn>
                  <a:cxn ang="0">
                    <a:pos x="T4" y="T5"/>
                  </a:cxn>
                  <a:cxn ang="0">
                    <a:pos x="T6" y="T7"/>
                  </a:cxn>
                </a:cxnLst>
                <a:rect l="0" t="0" r="r" b="b"/>
                <a:pathLst>
                  <a:path w="2" h="4">
                    <a:moveTo>
                      <a:pt x="1" y="1"/>
                    </a:moveTo>
                    <a:cubicBezTo>
                      <a:pt x="1" y="1"/>
                      <a:pt x="2" y="1"/>
                      <a:pt x="1" y="0"/>
                    </a:cubicBezTo>
                    <a:cubicBezTo>
                      <a:pt x="0" y="0"/>
                      <a:pt x="0" y="3"/>
                      <a:pt x="0" y="4"/>
                    </a:cubicBezTo>
                    <a:cubicBezTo>
                      <a:pt x="0" y="3"/>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2" name="Freeform 2652">
                <a:extLst>
                  <a:ext uri="{FF2B5EF4-FFF2-40B4-BE49-F238E27FC236}">
                    <a16:creationId xmlns:a16="http://schemas.microsoft.com/office/drawing/2014/main" id="{A688CAD4-F740-4CE5-AA90-4CD1AF05836A}"/>
                  </a:ext>
                </a:extLst>
              </p:cNvPr>
              <p:cNvSpPr>
                <a:spLocks/>
              </p:cNvSpPr>
              <p:nvPr/>
            </p:nvSpPr>
            <p:spPr bwMode="auto">
              <a:xfrm>
                <a:off x="7048" y="3810"/>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3" name="Freeform 2653">
                <a:extLst>
                  <a:ext uri="{FF2B5EF4-FFF2-40B4-BE49-F238E27FC236}">
                    <a16:creationId xmlns:a16="http://schemas.microsoft.com/office/drawing/2014/main" id="{5BC66F51-B62F-4A93-A88C-46005FDB7045}"/>
                  </a:ext>
                </a:extLst>
              </p:cNvPr>
              <p:cNvSpPr>
                <a:spLocks/>
              </p:cNvSpPr>
              <p:nvPr/>
            </p:nvSpPr>
            <p:spPr bwMode="auto">
              <a:xfrm>
                <a:off x="6835" y="3656"/>
                <a:ext cx="3" cy="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0" y="0"/>
                    </a:cubicBezTo>
                    <a:cubicBezTo>
                      <a:pt x="0" y="1"/>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4" name="Freeform 2654">
                <a:extLst>
                  <a:ext uri="{FF2B5EF4-FFF2-40B4-BE49-F238E27FC236}">
                    <a16:creationId xmlns:a16="http://schemas.microsoft.com/office/drawing/2014/main" id="{15336D8B-CFBE-49CC-B640-CC0205811A8D}"/>
                  </a:ext>
                </a:extLst>
              </p:cNvPr>
              <p:cNvSpPr>
                <a:spLocks/>
              </p:cNvSpPr>
              <p:nvPr/>
            </p:nvSpPr>
            <p:spPr bwMode="auto">
              <a:xfrm>
                <a:off x="7148" y="3271"/>
                <a:ext cx="2"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1"/>
                      <a:pt x="0" y="2"/>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5" name="Freeform 2655">
                <a:extLst>
                  <a:ext uri="{FF2B5EF4-FFF2-40B4-BE49-F238E27FC236}">
                    <a16:creationId xmlns:a16="http://schemas.microsoft.com/office/drawing/2014/main" id="{6779BC53-C1B8-4C6E-AE2A-9B35B649D57B}"/>
                  </a:ext>
                </a:extLst>
              </p:cNvPr>
              <p:cNvSpPr>
                <a:spLocks/>
              </p:cNvSpPr>
              <p:nvPr/>
            </p:nvSpPr>
            <p:spPr bwMode="auto">
              <a:xfrm>
                <a:off x="6845" y="3155"/>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1"/>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6" name="Freeform 2656">
                <a:extLst>
                  <a:ext uri="{FF2B5EF4-FFF2-40B4-BE49-F238E27FC236}">
                    <a16:creationId xmlns:a16="http://schemas.microsoft.com/office/drawing/2014/main" id="{AE3F3B90-7B3B-4A0E-B6A8-C7D498712295}"/>
                  </a:ext>
                </a:extLst>
              </p:cNvPr>
              <p:cNvSpPr>
                <a:spLocks/>
              </p:cNvSpPr>
              <p:nvPr/>
            </p:nvSpPr>
            <p:spPr bwMode="auto">
              <a:xfrm>
                <a:off x="6838" y="3105"/>
                <a:ext cx="5" cy="10"/>
              </a:xfrm>
              <a:custGeom>
                <a:avLst/>
                <a:gdLst>
                  <a:gd name="T0" fmla="*/ 0 w 2"/>
                  <a:gd name="T1" fmla="*/ 4 h 4"/>
                  <a:gd name="T2" fmla="*/ 0 w 2"/>
                  <a:gd name="T3" fmla="*/ 4 h 4"/>
                </a:gdLst>
                <a:ahLst/>
                <a:cxnLst>
                  <a:cxn ang="0">
                    <a:pos x="T0" y="T1"/>
                  </a:cxn>
                  <a:cxn ang="0">
                    <a:pos x="T2" y="T3"/>
                  </a:cxn>
                </a:cxnLst>
                <a:rect l="0" t="0" r="r" b="b"/>
                <a:pathLst>
                  <a:path w="2" h="4">
                    <a:moveTo>
                      <a:pt x="0" y="4"/>
                    </a:moveTo>
                    <a:cubicBezTo>
                      <a:pt x="2" y="3"/>
                      <a:pt x="0" y="0"/>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7" name="Freeform 2657">
                <a:extLst>
                  <a:ext uri="{FF2B5EF4-FFF2-40B4-BE49-F238E27FC236}">
                    <a16:creationId xmlns:a16="http://schemas.microsoft.com/office/drawing/2014/main" id="{A3C37035-9B17-44B8-A733-636FE68C9E4B}"/>
                  </a:ext>
                </a:extLst>
              </p:cNvPr>
              <p:cNvSpPr>
                <a:spLocks/>
              </p:cNvSpPr>
              <p:nvPr/>
            </p:nvSpPr>
            <p:spPr bwMode="auto">
              <a:xfrm>
                <a:off x="6857" y="3157"/>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2"/>
                      <a:pt x="1"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8" name="Freeform 2658">
                <a:extLst>
                  <a:ext uri="{FF2B5EF4-FFF2-40B4-BE49-F238E27FC236}">
                    <a16:creationId xmlns:a16="http://schemas.microsoft.com/office/drawing/2014/main" id="{FEB3C965-5DE0-4249-95EE-1C3666A33F90}"/>
                  </a:ext>
                </a:extLst>
              </p:cNvPr>
              <p:cNvSpPr>
                <a:spLocks/>
              </p:cNvSpPr>
              <p:nvPr/>
            </p:nvSpPr>
            <p:spPr bwMode="auto">
              <a:xfrm>
                <a:off x="7053" y="3753"/>
                <a:ext cx="7" cy="5"/>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2"/>
                      <a:pt x="2" y="2"/>
                      <a:pt x="3" y="2"/>
                    </a:cubicBezTo>
                    <a:cubicBezTo>
                      <a:pt x="2" y="1"/>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9" name="Freeform 2659">
                <a:extLst>
                  <a:ext uri="{FF2B5EF4-FFF2-40B4-BE49-F238E27FC236}">
                    <a16:creationId xmlns:a16="http://schemas.microsoft.com/office/drawing/2014/main" id="{46BE1786-FA41-4193-A121-C292C85E0294}"/>
                  </a:ext>
                </a:extLst>
              </p:cNvPr>
              <p:cNvSpPr>
                <a:spLocks/>
              </p:cNvSpPr>
              <p:nvPr/>
            </p:nvSpPr>
            <p:spPr bwMode="auto">
              <a:xfrm>
                <a:off x="6982" y="3022"/>
                <a:ext cx="7" cy="5"/>
              </a:xfrm>
              <a:custGeom>
                <a:avLst/>
                <a:gdLst>
                  <a:gd name="T0" fmla="*/ 1 w 3"/>
                  <a:gd name="T1" fmla="*/ 2 h 2"/>
                  <a:gd name="T2" fmla="*/ 1 w 3"/>
                  <a:gd name="T3" fmla="*/ 2 h 2"/>
                </a:gdLst>
                <a:ahLst/>
                <a:cxnLst>
                  <a:cxn ang="0">
                    <a:pos x="T0" y="T1"/>
                  </a:cxn>
                  <a:cxn ang="0">
                    <a:pos x="T2" y="T3"/>
                  </a:cxn>
                </a:cxnLst>
                <a:rect l="0" t="0" r="r" b="b"/>
                <a:pathLst>
                  <a:path w="3" h="2">
                    <a:moveTo>
                      <a:pt x="1" y="2"/>
                    </a:moveTo>
                    <a:cubicBezTo>
                      <a:pt x="3" y="0"/>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0" name="Freeform 2660">
                <a:extLst>
                  <a:ext uri="{FF2B5EF4-FFF2-40B4-BE49-F238E27FC236}">
                    <a16:creationId xmlns:a16="http://schemas.microsoft.com/office/drawing/2014/main" id="{5140A4B4-5C70-4ADA-8920-06436E7B31D6}"/>
                  </a:ext>
                </a:extLst>
              </p:cNvPr>
              <p:cNvSpPr>
                <a:spLocks/>
              </p:cNvSpPr>
              <p:nvPr/>
            </p:nvSpPr>
            <p:spPr bwMode="auto">
              <a:xfrm>
                <a:off x="7169" y="3318"/>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2"/>
                      <a:pt x="0" y="2"/>
                    </a:cubicBezTo>
                    <a:cubicBezTo>
                      <a:pt x="0"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1" name="Freeform 2661">
                <a:extLst>
                  <a:ext uri="{FF2B5EF4-FFF2-40B4-BE49-F238E27FC236}">
                    <a16:creationId xmlns:a16="http://schemas.microsoft.com/office/drawing/2014/main" id="{99B7093D-1489-4154-BBB5-512714C35F3A}"/>
                  </a:ext>
                </a:extLst>
              </p:cNvPr>
              <p:cNvSpPr>
                <a:spLocks/>
              </p:cNvSpPr>
              <p:nvPr/>
            </p:nvSpPr>
            <p:spPr bwMode="auto">
              <a:xfrm>
                <a:off x="7098" y="3888"/>
                <a:ext cx="12" cy="14"/>
              </a:xfrm>
              <a:custGeom>
                <a:avLst/>
                <a:gdLst>
                  <a:gd name="T0" fmla="*/ 3 w 5"/>
                  <a:gd name="T1" fmla="*/ 3 h 6"/>
                  <a:gd name="T2" fmla="*/ 2 w 5"/>
                  <a:gd name="T3" fmla="*/ 4 h 6"/>
                  <a:gd name="T4" fmla="*/ 2 w 5"/>
                  <a:gd name="T5" fmla="*/ 4 h 6"/>
                  <a:gd name="T6" fmla="*/ 2 w 5"/>
                  <a:gd name="T7" fmla="*/ 5 h 6"/>
                  <a:gd name="T8" fmla="*/ 4 w 5"/>
                  <a:gd name="T9" fmla="*/ 2 h 6"/>
                  <a:gd name="T10" fmla="*/ 4 w 5"/>
                  <a:gd name="T11" fmla="*/ 0 h 6"/>
                  <a:gd name="T12" fmla="*/ 3 w 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3" y="3"/>
                    </a:moveTo>
                    <a:cubicBezTo>
                      <a:pt x="3" y="3"/>
                      <a:pt x="2" y="3"/>
                      <a:pt x="2" y="4"/>
                    </a:cubicBezTo>
                    <a:cubicBezTo>
                      <a:pt x="2" y="4"/>
                      <a:pt x="2" y="4"/>
                      <a:pt x="2" y="4"/>
                    </a:cubicBezTo>
                    <a:cubicBezTo>
                      <a:pt x="2" y="4"/>
                      <a:pt x="0" y="4"/>
                      <a:pt x="2" y="5"/>
                    </a:cubicBezTo>
                    <a:cubicBezTo>
                      <a:pt x="4" y="6"/>
                      <a:pt x="4" y="3"/>
                      <a:pt x="4" y="2"/>
                    </a:cubicBezTo>
                    <a:cubicBezTo>
                      <a:pt x="5" y="1"/>
                      <a:pt x="5" y="0"/>
                      <a:pt x="4" y="0"/>
                    </a:cubicBezTo>
                    <a:cubicBezTo>
                      <a:pt x="3" y="1"/>
                      <a:pt x="3"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2" name="Freeform 2662">
                <a:extLst>
                  <a:ext uri="{FF2B5EF4-FFF2-40B4-BE49-F238E27FC236}">
                    <a16:creationId xmlns:a16="http://schemas.microsoft.com/office/drawing/2014/main" id="{EFCE41D9-CA30-4C44-9890-69EF1537A0AA}"/>
                  </a:ext>
                </a:extLst>
              </p:cNvPr>
              <p:cNvSpPr>
                <a:spLocks/>
              </p:cNvSpPr>
              <p:nvPr/>
            </p:nvSpPr>
            <p:spPr bwMode="auto">
              <a:xfrm>
                <a:off x="7126" y="3813"/>
                <a:ext cx="3" cy="2"/>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1" y="1"/>
                      <a:pt x="1" y="0"/>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3" name="Freeform 2663">
                <a:extLst>
                  <a:ext uri="{FF2B5EF4-FFF2-40B4-BE49-F238E27FC236}">
                    <a16:creationId xmlns:a16="http://schemas.microsoft.com/office/drawing/2014/main" id="{3BD9E3D4-6C9D-4E60-995C-AC5239ABD7B1}"/>
                  </a:ext>
                </a:extLst>
              </p:cNvPr>
              <p:cNvSpPr>
                <a:spLocks/>
              </p:cNvSpPr>
              <p:nvPr/>
            </p:nvSpPr>
            <p:spPr bwMode="auto">
              <a:xfrm>
                <a:off x="6838" y="3067"/>
                <a:ext cx="2"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1"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4" name="Freeform 2664">
                <a:extLst>
                  <a:ext uri="{FF2B5EF4-FFF2-40B4-BE49-F238E27FC236}">
                    <a16:creationId xmlns:a16="http://schemas.microsoft.com/office/drawing/2014/main" id="{ED45CBBA-B669-44A3-A51B-A937B2C9112E}"/>
                  </a:ext>
                </a:extLst>
              </p:cNvPr>
              <p:cNvSpPr>
                <a:spLocks/>
              </p:cNvSpPr>
              <p:nvPr/>
            </p:nvSpPr>
            <p:spPr bwMode="auto">
              <a:xfrm>
                <a:off x="7197" y="3354"/>
                <a:ext cx="5" cy="9"/>
              </a:xfrm>
              <a:custGeom>
                <a:avLst/>
                <a:gdLst>
                  <a:gd name="T0" fmla="*/ 2 w 2"/>
                  <a:gd name="T1" fmla="*/ 4 h 4"/>
                  <a:gd name="T2" fmla="*/ 2 w 2"/>
                  <a:gd name="T3" fmla="*/ 1 h 4"/>
                  <a:gd name="T4" fmla="*/ 0 w 2"/>
                  <a:gd name="T5" fmla="*/ 0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3"/>
                      <a:pt x="2" y="2"/>
                      <a:pt x="2" y="1"/>
                    </a:cubicBezTo>
                    <a:cubicBezTo>
                      <a:pt x="1" y="1"/>
                      <a:pt x="0" y="1"/>
                      <a:pt x="0" y="0"/>
                    </a:cubicBezTo>
                    <a:cubicBezTo>
                      <a:pt x="0" y="1"/>
                      <a:pt x="1" y="2"/>
                      <a:pt x="1" y="3"/>
                    </a:cubicBezTo>
                    <a:cubicBezTo>
                      <a:pt x="1" y="3"/>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5" name="Freeform 2665">
                <a:extLst>
                  <a:ext uri="{FF2B5EF4-FFF2-40B4-BE49-F238E27FC236}">
                    <a16:creationId xmlns:a16="http://schemas.microsoft.com/office/drawing/2014/main" id="{6C678269-FF0A-4953-B702-C3F4D368CE44}"/>
                  </a:ext>
                </a:extLst>
              </p:cNvPr>
              <p:cNvSpPr>
                <a:spLocks/>
              </p:cNvSpPr>
              <p:nvPr/>
            </p:nvSpPr>
            <p:spPr bwMode="auto">
              <a:xfrm>
                <a:off x="7254" y="3448"/>
                <a:ext cx="0" cy="7"/>
              </a:xfrm>
              <a:custGeom>
                <a:avLst/>
                <a:gdLst>
                  <a:gd name="T0" fmla="*/ 3 h 3"/>
                  <a:gd name="T1" fmla="*/ 0 h 3"/>
                  <a:gd name="T2" fmla="*/ 3 h 3"/>
                </a:gdLst>
                <a:ahLst/>
                <a:cxnLst>
                  <a:cxn ang="0">
                    <a:pos x="0" y="T0"/>
                  </a:cxn>
                  <a:cxn ang="0">
                    <a:pos x="0" y="T1"/>
                  </a:cxn>
                  <a:cxn ang="0">
                    <a:pos x="0" y="T2"/>
                  </a:cxn>
                </a:cxnLst>
                <a:rect l="0" t="0" r="r" b="b"/>
                <a:pathLst>
                  <a:path h="3">
                    <a:moveTo>
                      <a:pt x="0" y="3"/>
                    </a:moveTo>
                    <a:cubicBezTo>
                      <a:pt x="0" y="2"/>
                      <a:pt x="0" y="1"/>
                      <a:pt x="0" y="0"/>
                    </a:cubicBezTo>
                    <a:cubicBezTo>
                      <a:pt x="0"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6" name="Freeform 2666">
                <a:extLst>
                  <a:ext uri="{FF2B5EF4-FFF2-40B4-BE49-F238E27FC236}">
                    <a16:creationId xmlns:a16="http://schemas.microsoft.com/office/drawing/2014/main" id="{4BF44FEC-AF6E-418D-9F0E-556AB7458D25}"/>
                  </a:ext>
                </a:extLst>
              </p:cNvPr>
              <p:cNvSpPr>
                <a:spLocks/>
              </p:cNvSpPr>
              <p:nvPr/>
            </p:nvSpPr>
            <p:spPr bwMode="auto">
              <a:xfrm>
                <a:off x="6845" y="3044"/>
                <a:ext cx="7" cy="11"/>
              </a:xfrm>
              <a:custGeom>
                <a:avLst/>
                <a:gdLst>
                  <a:gd name="T0" fmla="*/ 3 w 3"/>
                  <a:gd name="T1" fmla="*/ 0 h 5"/>
                  <a:gd name="T2" fmla="*/ 0 w 3"/>
                  <a:gd name="T3" fmla="*/ 5 h 5"/>
                  <a:gd name="T4" fmla="*/ 3 w 3"/>
                  <a:gd name="T5" fmla="*/ 0 h 5"/>
                </a:gdLst>
                <a:ahLst/>
                <a:cxnLst>
                  <a:cxn ang="0">
                    <a:pos x="T0" y="T1"/>
                  </a:cxn>
                  <a:cxn ang="0">
                    <a:pos x="T2" y="T3"/>
                  </a:cxn>
                  <a:cxn ang="0">
                    <a:pos x="T4" y="T5"/>
                  </a:cxn>
                </a:cxnLst>
                <a:rect l="0" t="0" r="r" b="b"/>
                <a:pathLst>
                  <a:path w="3" h="5">
                    <a:moveTo>
                      <a:pt x="3" y="0"/>
                    </a:moveTo>
                    <a:cubicBezTo>
                      <a:pt x="2" y="2"/>
                      <a:pt x="1" y="3"/>
                      <a:pt x="0" y="5"/>
                    </a:cubicBezTo>
                    <a:cubicBezTo>
                      <a:pt x="2" y="4"/>
                      <a:pt x="2"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7" name="Freeform 2667">
                <a:extLst>
                  <a:ext uri="{FF2B5EF4-FFF2-40B4-BE49-F238E27FC236}">
                    <a16:creationId xmlns:a16="http://schemas.microsoft.com/office/drawing/2014/main" id="{C1EFF89C-8852-49DF-922F-8265CE23FC5B}"/>
                  </a:ext>
                </a:extLst>
              </p:cNvPr>
              <p:cNvSpPr>
                <a:spLocks/>
              </p:cNvSpPr>
              <p:nvPr/>
            </p:nvSpPr>
            <p:spPr bwMode="auto">
              <a:xfrm>
                <a:off x="6687" y="3051"/>
                <a:ext cx="18" cy="14"/>
              </a:xfrm>
              <a:custGeom>
                <a:avLst/>
                <a:gdLst>
                  <a:gd name="T0" fmla="*/ 2 w 8"/>
                  <a:gd name="T1" fmla="*/ 4 h 6"/>
                  <a:gd name="T2" fmla="*/ 1 w 8"/>
                  <a:gd name="T3" fmla="*/ 5 h 6"/>
                  <a:gd name="T4" fmla="*/ 2 w 8"/>
                  <a:gd name="T5" fmla="*/ 5 h 6"/>
                  <a:gd name="T6" fmla="*/ 6 w 8"/>
                  <a:gd name="T7" fmla="*/ 6 h 6"/>
                  <a:gd name="T8" fmla="*/ 5 w 8"/>
                  <a:gd name="T9" fmla="*/ 4 h 6"/>
                  <a:gd name="T10" fmla="*/ 5 w 8"/>
                  <a:gd name="T11" fmla="*/ 2 h 6"/>
                  <a:gd name="T12" fmla="*/ 4 w 8"/>
                  <a:gd name="T13" fmla="*/ 1 h 6"/>
                  <a:gd name="T14" fmla="*/ 2 w 8"/>
                  <a:gd name="T15" fmla="*/ 2 h 6"/>
                  <a:gd name="T16" fmla="*/ 3 w 8"/>
                  <a:gd name="T17" fmla="*/ 4 h 6"/>
                  <a:gd name="T18" fmla="*/ 2 w 8"/>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4"/>
                    </a:moveTo>
                    <a:cubicBezTo>
                      <a:pt x="2" y="4"/>
                      <a:pt x="1" y="5"/>
                      <a:pt x="1" y="5"/>
                    </a:cubicBezTo>
                    <a:cubicBezTo>
                      <a:pt x="1" y="5"/>
                      <a:pt x="0" y="5"/>
                      <a:pt x="2" y="5"/>
                    </a:cubicBezTo>
                    <a:cubicBezTo>
                      <a:pt x="3" y="6"/>
                      <a:pt x="4" y="6"/>
                      <a:pt x="6" y="6"/>
                    </a:cubicBezTo>
                    <a:cubicBezTo>
                      <a:pt x="8" y="6"/>
                      <a:pt x="7" y="4"/>
                      <a:pt x="5" y="4"/>
                    </a:cubicBezTo>
                    <a:cubicBezTo>
                      <a:pt x="6" y="3"/>
                      <a:pt x="5" y="3"/>
                      <a:pt x="5" y="2"/>
                    </a:cubicBezTo>
                    <a:cubicBezTo>
                      <a:pt x="5" y="2"/>
                      <a:pt x="5" y="1"/>
                      <a:pt x="4" y="1"/>
                    </a:cubicBezTo>
                    <a:cubicBezTo>
                      <a:pt x="4" y="0"/>
                      <a:pt x="3" y="1"/>
                      <a:pt x="2" y="2"/>
                    </a:cubicBezTo>
                    <a:cubicBezTo>
                      <a:pt x="2" y="2"/>
                      <a:pt x="3" y="3"/>
                      <a:pt x="3" y="4"/>
                    </a:cubicBezTo>
                    <a:cubicBezTo>
                      <a:pt x="2" y="5"/>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8" name="Freeform 2668">
                <a:extLst>
                  <a:ext uri="{FF2B5EF4-FFF2-40B4-BE49-F238E27FC236}">
                    <a16:creationId xmlns:a16="http://schemas.microsoft.com/office/drawing/2014/main" id="{7561DDA2-BC69-4BCB-BA3A-3DC35627E7F1}"/>
                  </a:ext>
                </a:extLst>
              </p:cNvPr>
              <p:cNvSpPr>
                <a:spLocks/>
              </p:cNvSpPr>
              <p:nvPr/>
            </p:nvSpPr>
            <p:spPr bwMode="auto">
              <a:xfrm>
                <a:off x="6909" y="3176"/>
                <a:ext cx="14" cy="10"/>
              </a:xfrm>
              <a:custGeom>
                <a:avLst/>
                <a:gdLst>
                  <a:gd name="T0" fmla="*/ 5 w 6"/>
                  <a:gd name="T1" fmla="*/ 2 h 4"/>
                  <a:gd name="T2" fmla="*/ 5 w 6"/>
                  <a:gd name="T3" fmla="*/ 2 h 4"/>
                  <a:gd name="T4" fmla="*/ 6 w 6"/>
                  <a:gd name="T5" fmla="*/ 1 h 4"/>
                  <a:gd name="T6" fmla="*/ 3 w 6"/>
                  <a:gd name="T7" fmla="*/ 1 h 4"/>
                  <a:gd name="T8" fmla="*/ 0 w 6"/>
                  <a:gd name="T9" fmla="*/ 3 h 4"/>
                  <a:gd name="T10" fmla="*/ 2 w 6"/>
                  <a:gd name="T11" fmla="*/ 4 h 4"/>
                  <a:gd name="T12" fmla="*/ 3 w 6"/>
                  <a:gd name="T13" fmla="*/ 3 h 4"/>
                  <a:gd name="T14" fmla="*/ 4 w 6"/>
                  <a:gd name="T15" fmla="*/ 1 h 4"/>
                  <a:gd name="T16" fmla="*/ 5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5" y="2"/>
                    </a:moveTo>
                    <a:cubicBezTo>
                      <a:pt x="5" y="2"/>
                      <a:pt x="5" y="2"/>
                      <a:pt x="5" y="2"/>
                    </a:cubicBezTo>
                    <a:cubicBezTo>
                      <a:pt x="6" y="2"/>
                      <a:pt x="6" y="1"/>
                      <a:pt x="6" y="1"/>
                    </a:cubicBezTo>
                    <a:cubicBezTo>
                      <a:pt x="6" y="0"/>
                      <a:pt x="4" y="1"/>
                      <a:pt x="3" y="1"/>
                    </a:cubicBezTo>
                    <a:cubicBezTo>
                      <a:pt x="1" y="1"/>
                      <a:pt x="1" y="2"/>
                      <a:pt x="0" y="3"/>
                    </a:cubicBezTo>
                    <a:cubicBezTo>
                      <a:pt x="1" y="4"/>
                      <a:pt x="1" y="4"/>
                      <a:pt x="2" y="4"/>
                    </a:cubicBezTo>
                    <a:cubicBezTo>
                      <a:pt x="2" y="4"/>
                      <a:pt x="3" y="3"/>
                      <a:pt x="3" y="3"/>
                    </a:cubicBezTo>
                    <a:cubicBezTo>
                      <a:pt x="3" y="3"/>
                      <a:pt x="4" y="1"/>
                      <a:pt x="4" y="1"/>
                    </a:cubicBezTo>
                    <a:cubicBezTo>
                      <a:pt x="5" y="1"/>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9" name="Freeform 2669">
                <a:extLst>
                  <a:ext uri="{FF2B5EF4-FFF2-40B4-BE49-F238E27FC236}">
                    <a16:creationId xmlns:a16="http://schemas.microsoft.com/office/drawing/2014/main" id="{050FA3F8-122A-43ED-9573-EA4AD47744E2}"/>
                  </a:ext>
                </a:extLst>
              </p:cNvPr>
              <p:cNvSpPr>
                <a:spLocks/>
              </p:cNvSpPr>
              <p:nvPr/>
            </p:nvSpPr>
            <p:spPr bwMode="auto">
              <a:xfrm>
                <a:off x="7022" y="3787"/>
                <a:ext cx="7" cy="14"/>
              </a:xfrm>
              <a:custGeom>
                <a:avLst/>
                <a:gdLst>
                  <a:gd name="T0" fmla="*/ 1 w 3"/>
                  <a:gd name="T1" fmla="*/ 0 h 6"/>
                  <a:gd name="T2" fmla="*/ 0 w 3"/>
                  <a:gd name="T3" fmla="*/ 4 h 6"/>
                  <a:gd name="T4" fmla="*/ 0 w 3"/>
                  <a:gd name="T5" fmla="*/ 6 h 6"/>
                  <a:gd name="T6" fmla="*/ 3 w 3"/>
                  <a:gd name="T7" fmla="*/ 5 h 6"/>
                  <a:gd name="T8" fmla="*/ 3 w 3"/>
                  <a:gd name="T9" fmla="*/ 2 h 6"/>
                  <a:gd name="T10" fmla="*/ 1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1" y="0"/>
                    </a:moveTo>
                    <a:cubicBezTo>
                      <a:pt x="1" y="1"/>
                      <a:pt x="0" y="2"/>
                      <a:pt x="0" y="4"/>
                    </a:cubicBezTo>
                    <a:cubicBezTo>
                      <a:pt x="0" y="4"/>
                      <a:pt x="0" y="6"/>
                      <a:pt x="0" y="6"/>
                    </a:cubicBezTo>
                    <a:cubicBezTo>
                      <a:pt x="1" y="6"/>
                      <a:pt x="2" y="6"/>
                      <a:pt x="3" y="5"/>
                    </a:cubicBezTo>
                    <a:cubicBezTo>
                      <a:pt x="3" y="5"/>
                      <a:pt x="3" y="2"/>
                      <a:pt x="3" y="2"/>
                    </a:cubicBezTo>
                    <a:cubicBezTo>
                      <a:pt x="3" y="1"/>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0" name="Freeform 2670">
                <a:extLst>
                  <a:ext uri="{FF2B5EF4-FFF2-40B4-BE49-F238E27FC236}">
                    <a16:creationId xmlns:a16="http://schemas.microsoft.com/office/drawing/2014/main" id="{118E92C0-1D4F-4739-BCAF-4C83203A23E8}"/>
                  </a:ext>
                </a:extLst>
              </p:cNvPr>
              <p:cNvSpPr>
                <a:spLocks/>
              </p:cNvSpPr>
              <p:nvPr/>
            </p:nvSpPr>
            <p:spPr bwMode="auto">
              <a:xfrm>
                <a:off x="7048" y="3815"/>
                <a:ext cx="5" cy="5"/>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1" y="2"/>
                      <a:pt x="1" y="1"/>
                      <a:pt x="2" y="2"/>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1" name="Freeform 2671">
                <a:extLst>
                  <a:ext uri="{FF2B5EF4-FFF2-40B4-BE49-F238E27FC236}">
                    <a16:creationId xmlns:a16="http://schemas.microsoft.com/office/drawing/2014/main" id="{77C77D1D-6CFA-4E2A-805C-41D125612DCC}"/>
                  </a:ext>
                </a:extLst>
              </p:cNvPr>
              <p:cNvSpPr>
                <a:spLocks/>
              </p:cNvSpPr>
              <p:nvPr/>
            </p:nvSpPr>
            <p:spPr bwMode="auto">
              <a:xfrm>
                <a:off x="7124" y="3874"/>
                <a:ext cx="5" cy="5"/>
              </a:xfrm>
              <a:custGeom>
                <a:avLst/>
                <a:gdLst>
                  <a:gd name="T0" fmla="*/ 0 w 2"/>
                  <a:gd name="T1" fmla="*/ 2 h 2"/>
                  <a:gd name="T2" fmla="*/ 1 w 2"/>
                  <a:gd name="T3" fmla="*/ 1 h 2"/>
                  <a:gd name="T4" fmla="*/ 1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1" y="1"/>
                      <a:pt x="1" y="1"/>
                      <a:pt x="1" y="1"/>
                    </a:cubicBezTo>
                    <a:cubicBezTo>
                      <a:pt x="1" y="0"/>
                      <a:pt x="2" y="1"/>
                      <a:pt x="1"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2" name="Freeform 2672">
                <a:extLst>
                  <a:ext uri="{FF2B5EF4-FFF2-40B4-BE49-F238E27FC236}">
                    <a16:creationId xmlns:a16="http://schemas.microsoft.com/office/drawing/2014/main" id="{DF2C8CD2-3110-4F58-AE6B-52D0B86FC6E4}"/>
                  </a:ext>
                </a:extLst>
              </p:cNvPr>
              <p:cNvSpPr>
                <a:spLocks/>
              </p:cNvSpPr>
              <p:nvPr/>
            </p:nvSpPr>
            <p:spPr bwMode="auto">
              <a:xfrm>
                <a:off x="4885" y="2109"/>
                <a:ext cx="24" cy="12"/>
              </a:xfrm>
              <a:custGeom>
                <a:avLst/>
                <a:gdLst>
                  <a:gd name="T0" fmla="*/ 7 w 10"/>
                  <a:gd name="T1" fmla="*/ 0 h 5"/>
                  <a:gd name="T2" fmla="*/ 5 w 10"/>
                  <a:gd name="T3" fmla="*/ 0 h 5"/>
                  <a:gd name="T4" fmla="*/ 3 w 10"/>
                  <a:gd name="T5" fmla="*/ 2 h 5"/>
                  <a:gd name="T6" fmla="*/ 2 w 10"/>
                  <a:gd name="T7" fmla="*/ 3 h 5"/>
                  <a:gd name="T8" fmla="*/ 0 w 10"/>
                  <a:gd name="T9" fmla="*/ 5 h 5"/>
                  <a:gd name="T10" fmla="*/ 1 w 10"/>
                  <a:gd name="T11" fmla="*/ 5 h 5"/>
                  <a:gd name="T12" fmla="*/ 6 w 10"/>
                  <a:gd name="T13" fmla="*/ 3 h 5"/>
                  <a:gd name="T14" fmla="*/ 6 w 10"/>
                  <a:gd name="T15" fmla="*/ 3 h 5"/>
                  <a:gd name="T16" fmla="*/ 7 w 10"/>
                  <a:gd name="T17" fmla="*/ 3 h 5"/>
                  <a:gd name="T18" fmla="*/ 8 w 10"/>
                  <a:gd name="T19" fmla="*/ 2 h 5"/>
                  <a:gd name="T20" fmla="*/ 10 w 10"/>
                  <a:gd name="T21" fmla="*/ 0 h 5"/>
                  <a:gd name="T22" fmla="*/ 9 w 10"/>
                  <a:gd name="T23" fmla="*/ 0 h 5"/>
                  <a:gd name="T24" fmla="*/ 7 w 10"/>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5">
                    <a:moveTo>
                      <a:pt x="7" y="0"/>
                    </a:moveTo>
                    <a:cubicBezTo>
                      <a:pt x="7" y="0"/>
                      <a:pt x="5" y="1"/>
                      <a:pt x="5" y="0"/>
                    </a:cubicBezTo>
                    <a:cubicBezTo>
                      <a:pt x="4" y="1"/>
                      <a:pt x="5" y="2"/>
                      <a:pt x="3" y="2"/>
                    </a:cubicBezTo>
                    <a:cubicBezTo>
                      <a:pt x="3" y="2"/>
                      <a:pt x="3" y="3"/>
                      <a:pt x="2" y="3"/>
                    </a:cubicBezTo>
                    <a:cubicBezTo>
                      <a:pt x="1" y="3"/>
                      <a:pt x="0" y="4"/>
                      <a:pt x="0" y="5"/>
                    </a:cubicBezTo>
                    <a:cubicBezTo>
                      <a:pt x="0" y="5"/>
                      <a:pt x="0" y="5"/>
                      <a:pt x="1" y="5"/>
                    </a:cubicBezTo>
                    <a:cubicBezTo>
                      <a:pt x="2" y="4"/>
                      <a:pt x="4" y="3"/>
                      <a:pt x="6" y="3"/>
                    </a:cubicBezTo>
                    <a:cubicBezTo>
                      <a:pt x="6" y="3"/>
                      <a:pt x="6" y="3"/>
                      <a:pt x="6" y="3"/>
                    </a:cubicBezTo>
                    <a:cubicBezTo>
                      <a:pt x="6" y="3"/>
                      <a:pt x="6" y="3"/>
                      <a:pt x="7" y="3"/>
                    </a:cubicBezTo>
                    <a:cubicBezTo>
                      <a:pt x="7" y="3"/>
                      <a:pt x="8" y="2"/>
                      <a:pt x="8" y="2"/>
                    </a:cubicBezTo>
                    <a:cubicBezTo>
                      <a:pt x="9" y="1"/>
                      <a:pt x="9" y="1"/>
                      <a:pt x="10" y="0"/>
                    </a:cubicBezTo>
                    <a:cubicBezTo>
                      <a:pt x="9" y="0"/>
                      <a:pt x="9" y="0"/>
                      <a:pt x="9" y="0"/>
                    </a:cubicBezTo>
                    <a:cubicBezTo>
                      <a:pt x="8" y="0"/>
                      <a:pt x="7"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3" name="Freeform 2673">
                <a:extLst>
                  <a:ext uri="{FF2B5EF4-FFF2-40B4-BE49-F238E27FC236}">
                    <a16:creationId xmlns:a16="http://schemas.microsoft.com/office/drawing/2014/main" id="{5E635546-DB22-4E73-8212-511E70F9AE0D}"/>
                  </a:ext>
                </a:extLst>
              </p:cNvPr>
              <p:cNvSpPr>
                <a:spLocks/>
              </p:cNvSpPr>
              <p:nvPr/>
            </p:nvSpPr>
            <p:spPr bwMode="auto">
              <a:xfrm>
                <a:off x="4845" y="2180"/>
                <a:ext cx="9" cy="2"/>
              </a:xfrm>
              <a:custGeom>
                <a:avLst/>
                <a:gdLst>
                  <a:gd name="T0" fmla="*/ 0 w 4"/>
                  <a:gd name="T1" fmla="*/ 1 h 1"/>
                  <a:gd name="T2" fmla="*/ 1 w 4"/>
                  <a:gd name="T3" fmla="*/ 1 h 1"/>
                  <a:gd name="T4" fmla="*/ 2 w 4"/>
                  <a:gd name="T5" fmla="*/ 0 h 1"/>
                  <a:gd name="T6" fmla="*/ 0 w 4"/>
                  <a:gd name="T7" fmla="*/ 1 h 1"/>
                </a:gdLst>
                <a:ahLst/>
                <a:cxnLst>
                  <a:cxn ang="0">
                    <a:pos x="T0" y="T1"/>
                  </a:cxn>
                  <a:cxn ang="0">
                    <a:pos x="T2" y="T3"/>
                  </a:cxn>
                  <a:cxn ang="0">
                    <a:pos x="T4" y="T5"/>
                  </a:cxn>
                  <a:cxn ang="0">
                    <a:pos x="T6" y="T7"/>
                  </a:cxn>
                </a:cxnLst>
                <a:rect l="0" t="0" r="r" b="b"/>
                <a:pathLst>
                  <a:path w="4" h="1">
                    <a:moveTo>
                      <a:pt x="0" y="1"/>
                    </a:moveTo>
                    <a:cubicBezTo>
                      <a:pt x="0" y="1"/>
                      <a:pt x="1" y="1"/>
                      <a:pt x="1" y="1"/>
                    </a:cubicBezTo>
                    <a:cubicBezTo>
                      <a:pt x="2" y="1"/>
                      <a:pt x="4" y="1"/>
                      <a:pt x="2"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4" name="Freeform 2674">
                <a:extLst>
                  <a:ext uri="{FF2B5EF4-FFF2-40B4-BE49-F238E27FC236}">
                    <a16:creationId xmlns:a16="http://schemas.microsoft.com/office/drawing/2014/main" id="{1B7EEC7A-3CC8-4CB2-9D74-2417BC30D048}"/>
                  </a:ext>
                </a:extLst>
              </p:cNvPr>
              <p:cNvSpPr>
                <a:spLocks/>
              </p:cNvSpPr>
              <p:nvPr/>
            </p:nvSpPr>
            <p:spPr bwMode="auto">
              <a:xfrm>
                <a:off x="7008" y="2982"/>
                <a:ext cx="10" cy="7"/>
              </a:xfrm>
              <a:custGeom>
                <a:avLst/>
                <a:gdLst>
                  <a:gd name="T0" fmla="*/ 4 w 4"/>
                  <a:gd name="T1" fmla="*/ 3 h 3"/>
                  <a:gd name="T2" fmla="*/ 0 w 4"/>
                  <a:gd name="T3" fmla="*/ 0 h 3"/>
                  <a:gd name="T4" fmla="*/ 4 w 4"/>
                  <a:gd name="T5" fmla="*/ 3 h 3"/>
                </a:gdLst>
                <a:ahLst/>
                <a:cxnLst>
                  <a:cxn ang="0">
                    <a:pos x="T0" y="T1"/>
                  </a:cxn>
                  <a:cxn ang="0">
                    <a:pos x="T2" y="T3"/>
                  </a:cxn>
                  <a:cxn ang="0">
                    <a:pos x="T4" y="T5"/>
                  </a:cxn>
                </a:cxnLst>
                <a:rect l="0" t="0" r="r" b="b"/>
                <a:pathLst>
                  <a:path w="4" h="3">
                    <a:moveTo>
                      <a:pt x="4" y="3"/>
                    </a:moveTo>
                    <a:cubicBezTo>
                      <a:pt x="4" y="1"/>
                      <a:pt x="1" y="0"/>
                      <a:pt x="0" y="0"/>
                    </a:cubicBezTo>
                    <a:cubicBezTo>
                      <a:pt x="1" y="1"/>
                      <a:pt x="2" y="2"/>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5" name="Freeform 2675">
                <a:extLst>
                  <a:ext uri="{FF2B5EF4-FFF2-40B4-BE49-F238E27FC236}">
                    <a16:creationId xmlns:a16="http://schemas.microsoft.com/office/drawing/2014/main" id="{EE314C07-AF91-4F8A-95D3-0A8DD329B056}"/>
                  </a:ext>
                </a:extLst>
              </p:cNvPr>
              <p:cNvSpPr>
                <a:spLocks/>
              </p:cNvSpPr>
              <p:nvPr/>
            </p:nvSpPr>
            <p:spPr bwMode="auto">
              <a:xfrm>
                <a:off x="7193" y="2982"/>
                <a:ext cx="7" cy="10"/>
              </a:xfrm>
              <a:custGeom>
                <a:avLst/>
                <a:gdLst>
                  <a:gd name="T0" fmla="*/ 3 w 3"/>
                  <a:gd name="T1" fmla="*/ 4 h 4"/>
                  <a:gd name="T2" fmla="*/ 3 w 3"/>
                  <a:gd name="T3" fmla="*/ 1 h 4"/>
                  <a:gd name="T4" fmla="*/ 2 w 3"/>
                  <a:gd name="T5" fmla="*/ 0 h 4"/>
                  <a:gd name="T6" fmla="*/ 3 w 3"/>
                  <a:gd name="T7" fmla="*/ 4 h 4"/>
                </a:gdLst>
                <a:ahLst/>
                <a:cxnLst>
                  <a:cxn ang="0">
                    <a:pos x="T0" y="T1"/>
                  </a:cxn>
                  <a:cxn ang="0">
                    <a:pos x="T2" y="T3"/>
                  </a:cxn>
                  <a:cxn ang="0">
                    <a:pos x="T4" y="T5"/>
                  </a:cxn>
                  <a:cxn ang="0">
                    <a:pos x="T6" y="T7"/>
                  </a:cxn>
                </a:cxnLst>
                <a:rect l="0" t="0" r="r" b="b"/>
                <a:pathLst>
                  <a:path w="3" h="4">
                    <a:moveTo>
                      <a:pt x="3" y="4"/>
                    </a:moveTo>
                    <a:cubicBezTo>
                      <a:pt x="2" y="3"/>
                      <a:pt x="3" y="2"/>
                      <a:pt x="3" y="1"/>
                    </a:cubicBezTo>
                    <a:cubicBezTo>
                      <a:pt x="3" y="1"/>
                      <a:pt x="2" y="0"/>
                      <a:pt x="2" y="0"/>
                    </a:cubicBezTo>
                    <a:cubicBezTo>
                      <a:pt x="0" y="0"/>
                      <a:pt x="2" y="2"/>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6" name="Freeform 2676">
                <a:extLst>
                  <a:ext uri="{FF2B5EF4-FFF2-40B4-BE49-F238E27FC236}">
                    <a16:creationId xmlns:a16="http://schemas.microsoft.com/office/drawing/2014/main" id="{69949DBC-C02D-4B6B-97B8-20DACE5D751F}"/>
                  </a:ext>
                </a:extLst>
              </p:cNvPr>
              <p:cNvSpPr>
                <a:spLocks/>
              </p:cNvSpPr>
              <p:nvPr/>
            </p:nvSpPr>
            <p:spPr bwMode="auto">
              <a:xfrm>
                <a:off x="7233" y="3034"/>
                <a:ext cx="7" cy="3"/>
              </a:xfrm>
              <a:custGeom>
                <a:avLst/>
                <a:gdLst>
                  <a:gd name="T0" fmla="*/ 2 w 3"/>
                  <a:gd name="T1" fmla="*/ 1 h 1"/>
                  <a:gd name="T2" fmla="*/ 3 w 3"/>
                  <a:gd name="T3" fmla="*/ 1 h 1"/>
                  <a:gd name="T4" fmla="*/ 0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1"/>
                      <a:pt x="3" y="1"/>
                    </a:cubicBezTo>
                    <a:cubicBezTo>
                      <a:pt x="2" y="1"/>
                      <a:pt x="1" y="0"/>
                      <a:pt x="0" y="0"/>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7" name="Freeform 2677">
                <a:extLst>
                  <a:ext uri="{FF2B5EF4-FFF2-40B4-BE49-F238E27FC236}">
                    <a16:creationId xmlns:a16="http://schemas.microsoft.com/office/drawing/2014/main" id="{962D90EA-4F58-410B-B1AD-EE055E661F7D}"/>
                  </a:ext>
                </a:extLst>
              </p:cNvPr>
              <p:cNvSpPr>
                <a:spLocks/>
              </p:cNvSpPr>
              <p:nvPr/>
            </p:nvSpPr>
            <p:spPr bwMode="auto">
              <a:xfrm>
                <a:off x="7174" y="2999"/>
                <a:ext cx="7" cy="9"/>
              </a:xfrm>
              <a:custGeom>
                <a:avLst/>
                <a:gdLst>
                  <a:gd name="T0" fmla="*/ 2 w 3"/>
                  <a:gd name="T1" fmla="*/ 1 h 4"/>
                  <a:gd name="T2" fmla="*/ 0 w 3"/>
                  <a:gd name="T3" fmla="*/ 1 h 4"/>
                  <a:gd name="T4" fmla="*/ 2 w 3"/>
                  <a:gd name="T5" fmla="*/ 4 h 4"/>
                  <a:gd name="T6" fmla="*/ 2 w 3"/>
                  <a:gd name="T7" fmla="*/ 1 h 4"/>
                </a:gdLst>
                <a:ahLst/>
                <a:cxnLst>
                  <a:cxn ang="0">
                    <a:pos x="T0" y="T1"/>
                  </a:cxn>
                  <a:cxn ang="0">
                    <a:pos x="T2" y="T3"/>
                  </a:cxn>
                  <a:cxn ang="0">
                    <a:pos x="T4" y="T5"/>
                  </a:cxn>
                  <a:cxn ang="0">
                    <a:pos x="T6" y="T7"/>
                  </a:cxn>
                </a:cxnLst>
                <a:rect l="0" t="0" r="r" b="b"/>
                <a:pathLst>
                  <a:path w="3" h="4">
                    <a:moveTo>
                      <a:pt x="2" y="1"/>
                    </a:moveTo>
                    <a:cubicBezTo>
                      <a:pt x="1" y="1"/>
                      <a:pt x="1" y="0"/>
                      <a:pt x="0" y="1"/>
                    </a:cubicBezTo>
                    <a:cubicBezTo>
                      <a:pt x="0" y="3"/>
                      <a:pt x="1" y="3"/>
                      <a:pt x="2" y="4"/>
                    </a:cubicBezTo>
                    <a:cubicBezTo>
                      <a:pt x="3" y="3"/>
                      <a:pt x="3"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8" name="Freeform 2678">
                <a:extLst>
                  <a:ext uri="{FF2B5EF4-FFF2-40B4-BE49-F238E27FC236}">
                    <a16:creationId xmlns:a16="http://schemas.microsoft.com/office/drawing/2014/main" id="{2E7FD592-1E25-4CF1-BBFD-69F79CC4E219}"/>
                  </a:ext>
                </a:extLst>
              </p:cNvPr>
              <p:cNvSpPr>
                <a:spLocks/>
              </p:cNvSpPr>
              <p:nvPr/>
            </p:nvSpPr>
            <p:spPr bwMode="auto">
              <a:xfrm>
                <a:off x="7249" y="3053"/>
                <a:ext cx="14" cy="7"/>
              </a:xfrm>
              <a:custGeom>
                <a:avLst/>
                <a:gdLst>
                  <a:gd name="T0" fmla="*/ 3 w 6"/>
                  <a:gd name="T1" fmla="*/ 3 h 3"/>
                  <a:gd name="T2" fmla="*/ 6 w 6"/>
                  <a:gd name="T3" fmla="*/ 3 h 3"/>
                  <a:gd name="T4" fmla="*/ 0 w 6"/>
                  <a:gd name="T5" fmla="*/ 0 h 3"/>
                  <a:gd name="T6" fmla="*/ 3 w 6"/>
                  <a:gd name="T7" fmla="*/ 3 h 3"/>
                </a:gdLst>
                <a:ahLst/>
                <a:cxnLst>
                  <a:cxn ang="0">
                    <a:pos x="T0" y="T1"/>
                  </a:cxn>
                  <a:cxn ang="0">
                    <a:pos x="T2" y="T3"/>
                  </a:cxn>
                  <a:cxn ang="0">
                    <a:pos x="T4" y="T5"/>
                  </a:cxn>
                  <a:cxn ang="0">
                    <a:pos x="T6" y="T7"/>
                  </a:cxn>
                </a:cxnLst>
                <a:rect l="0" t="0" r="r" b="b"/>
                <a:pathLst>
                  <a:path w="6" h="3">
                    <a:moveTo>
                      <a:pt x="3" y="3"/>
                    </a:moveTo>
                    <a:cubicBezTo>
                      <a:pt x="4" y="3"/>
                      <a:pt x="5" y="3"/>
                      <a:pt x="6" y="3"/>
                    </a:cubicBezTo>
                    <a:cubicBezTo>
                      <a:pt x="4" y="1"/>
                      <a:pt x="1" y="1"/>
                      <a:pt x="0" y="0"/>
                    </a:cubicBezTo>
                    <a:cubicBezTo>
                      <a:pt x="1" y="1"/>
                      <a:pt x="2"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9" name="Freeform 2679">
                <a:extLst>
                  <a:ext uri="{FF2B5EF4-FFF2-40B4-BE49-F238E27FC236}">
                    <a16:creationId xmlns:a16="http://schemas.microsoft.com/office/drawing/2014/main" id="{18393D67-98A4-4995-B8EC-2FFDE3B347BD}"/>
                  </a:ext>
                </a:extLst>
              </p:cNvPr>
              <p:cNvSpPr>
                <a:spLocks/>
              </p:cNvSpPr>
              <p:nvPr/>
            </p:nvSpPr>
            <p:spPr bwMode="auto">
              <a:xfrm>
                <a:off x="7190" y="2840"/>
                <a:ext cx="57" cy="55"/>
              </a:xfrm>
              <a:custGeom>
                <a:avLst/>
                <a:gdLst>
                  <a:gd name="T0" fmla="*/ 0 w 24"/>
                  <a:gd name="T1" fmla="*/ 2 h 23"/>
                  <a:gd name="T2" fmla="*/ 0 w 24"/>
                  <a:gd name="T3" fmla="*/ 2 h 23"/>
                  <a:gd name="T4" fmla="*/ 2 w 24"/>
                  <a:gd name="T5" fmla="*/ 2 h 23"/>
                  <a:gd name="T6" fmla="*/ 11 w 24"/>
                  <a:gd name="T7" fmla="*/ 8 h 23"/>
                  <a:gd name="T8" fmla="*/ 18 w 24"/>
                  <a:gd name="T9" fmla="*/ 14 h 23"/>
                  <a:gd name="T10" fmla="*/ 20 w 24"/>
                  <a:gd name="T11" fmla="*/ 17 h 23"/>
                  <a:gd name="T12" fmla="*/ 20 w 24"/>
                  <a:gd name="T13" fmla="*/ 18 h 23"/>
                  <a:gd name="T14" fmla="*/ 22 w 24"/>
                  <a:gd name="T15" fmla="*/ 23 h 23"/>
                  <a:gd name="T16" fmla="*/ 24 w 24"/>
                  <a:gd name="T17" fmla="*/ 17 h 23"/>
                  <a:gd name="T18" fmla="*/ 23 w 24"/>
                  <a:gd name="T19" fmla="*/ 16 h 23"/>
                  <a:gd name="T20" fmla="*/ 21 w 24"/>
                  <a:gd name="T21" fmla="*/ 13 h 23"/>
                  <a:gd name="T22" fmla="*/ 20 w 24"/>
                  <a:gd name="T23" fmla="*/ 13 h 23"/>
                  <a:gd name="T24" fmla="*/ 17 w 24"/>
                  <a:gd name="T25" fmla="*/ 10 h 23"/>
                  <a:gd name="T26" fmla="*/ 14 w 24"/>
                  <a:gd name="T27" fmla="*/ 8 h 23"/>
                  <a:gd name="T28" fmla="*/ 10 w 24"/>
                  <a:gd name="T29" fmla="*/ 5 h 23"/>
                  <a:gd name="T30" fmla="*/ 6 w 24"/>
                  <a:gd name="T31" fmla="*/ 3 h 23"/>
                  <a:gd name="T32" fmla="*/ 5 w 24"/>
                  <a:gd name="T33" fmla="*/ 3 h 23"/>
                  <a:gd name="T34" fmla="*/ 0 w 24"/>
                  <a:gd name="T35" fmla="*/ 0 h 23"/>
                  <a:gd name="T36" fmla="*/ 0 w 24"/>
                  <a:gd name="T3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3">
                    <a:moveTo>
                      <a:pt x="0" y="2"/>
                    </a:moveTo>
                    <a:cubicBezTo>
                      <a:pt x="0" y="2"/>
                      <a:pt x="0" y="2"/>
                      <a:pt x="0" y="2"/>
                    </a:cubicBezTo>
                    <a:cubicBezTo>
                      <a:pt x="1" y="2"/>
                      <a:pt x="1" y="2"/>
                      <a:pt x="2" y="2"/>
                    </a:cubicBezTo>
                    <a:cubicBezTo>
                      <a:pt x="5" y="4"/>
                      <a:pt x="8" y="6"/>
                      <a:pt x="11" y="8"/>
                    </a:cubicBezTo>
                    <a:cubicBezTo>
                      <a:pt x="14" y="9"/>
                      <a:pt x="17" y="11"/>
                      <a:pt x="18" y="14"/>
                    </a:cubicBezTo>
                    <a:cubicBezTo>
                      <a:pt x="19" y="15"/>
                      <a:pt x="19" y="16"/>
                      <a:pt x="20" y="17"/>
                    </a:cubicBezTo>
                    <a:cubicBezTo>
                      <a:pt x="20" y="17"/>
                      <a:pt x="19" y="18"/>
                      <a:pt x="20" y="18"/>
                    </a:cubicBezTo>
                    <a:cubicBezTo>
                      <a:pt x="20" y="20"/>
                      <a:pt x="21" y="21"/>
                      <a:pt x="22" y="23"/>
                    </a:cubicBezTo>
                    <a:cubicBezTo>
                      <a:pt x="22" y="21"/>
                      <a:pt x="24" y="19"/>
                      <a:pt x="24" y="17"/>
                    </a:cubicBezTo>
                    <a:cubicBezTo>
                      <a:pt x="24" y="17"/>
                      <a:pt x="23" y="16"/>
                      <a:pt x="23" y="16"/>
                    </a:cubicBezTo>
                    <a:cubicBezTo>
                      <a:pt x="23" y="15"/>
                      <a:pt x="22" y="13"/>
                      <a:pt x="21" y="13"/>
                    </a:cubicBezTo>
                    <a:cubicBezTo>
                      <a:pt x="21" y="13"/>
                      <a:pt x="20" y="13"/>
                      <a:pt x="20" y="13"/>
                    </a:cubicBezTo>
                    <a:cubicBezTo>
                      <a:pt x="19" y="13"/>
                      <a:pt x="18" y="11"/>
                      <a:pt x="17" y="10"/>
                    </a:cubicBezTo>
                    <a:cubicBezTo>
                      <a:pt x="16" y="9"/>
                      <a:pt x="15" y="9"/>
                      <a:pt x="14" y="8"/>
                    </a:cubicBezTo>
                    <a:cubicBezTo>
                      <a:pt x="13" y="6"/>
                      <a:pt x="11" y="6"/>
                      <a:pt x="10" y="5"/>
                    </a:cubicBezTo>
                    <a:cubicBezTo>
                      <a:pt x="9" y="5"/>
                      <a:pt x="8" y="4"/>
                      <a:pt x="6" y="3"/>
                    </a:cubicBezTo>
                    <a:cubicBezTo>
                      <a:pt x="6" y="3"/>
                      <a:pt x="5" y="3"/>
                      <a:pt x="5" y="3"/>
                    </a:cubicBezTo>
                    <a:cubicBezTo>
                      <a:pt x="3" y="2"/>
                      <a:pt x="2" y="1"/>
                      <a:pt x="0" y="0"/>
                    </a:cubicBezTo>
                    <a:cubicBezTo>
                      <a:pt x="1" y="1"/>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0" name="Freeform 2680">
                <a:extLst>
                  <a:ext uri="{FF2B5EF4-FFF2-40B4-BE49-F238E27FC236}">
                    <a16:creationId xmlns:a16="http://schemas.microsoft.com/office/drawing/2014/main" id="{288B297F-2A6A-40A1-8497-B809D290A7BE}"/>
                  </a:ext>
                </a:extLst>
              </p:cNvPr>
              <p:cNvSpPr>
                <a:spLocks/>
              </p:cNvSpPr>
              <p:nvPr/>
            </p:nvSpPr>
            <p:spPr bwMode="auto">
              <a:xfrm>
                <a:off x="7268" y="3051"/>
                <a:ext cx="7" cy="4"/>
              </a:xfrm>
              <a:custGeom>
                <a:avLst/>
                <a:gdLst>
                  <a:gd name="T0" fmla="*/ 1 w 3"/>
                  <a:gd name="T1" fmla="*/ 2 h 2"/>
                  <a:gd name="T2" fmla="*/ 3 w 3"/>
                  <a:gd name="T3" fmla="*/ 1 h 2"/>
                  <a:gd name="T4" fmla="*/ 1 w 3"/>
                  <a:gd name="T5" fmla="*/ 2 h 2"/>
                </a:gdLst>
                <a:ahLst/>
                <a:cxnLst>
                  <a:cxn ang="0">
                    <a:pos x="T0" y="T1"/>
                  </a:cxn>
                  <a:cxn ang="0">
                    <a:pos x="T2" y="T3"/>
                  </a:cxn>
                  <a:cxn ang="0">
                    <a:pos x="T4" y="T5"/>
                  </a:cxn>
                </a:cxnLst>
                <a:rect l="0" t="0" r="r" b="b"/>
                <a:pathLst>
                  <a:path w="3" h="2">
                    <a:moveTo>
                      <a:pt x="1" y="2"/>
                    </a:moveTo>
                    <a:cubicBezTo>
                      <a:pt x="1" y="1"/>
                      <a:pt x="3" y="1"/>
                      <a:pt x="3" y="1"/>
                    </a:cubicBezTo>
                    <a:cubicBezTo>
                      <a:pt x="3" y="0"/>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1" name="Freeform 2681">
                <a:extLst>
                  <a:ext uri="{FF2B5EF4-FFF2-40B4-BE49-F238E27FC236}">
                    <a16:creationId xmlns:a16="http://schemas.microsoft.com/office/drawing/2014/main" id="{052A26D8-8968-495D-9E28-E42C2FF32E6C}"/>
                  </a:ext>
                </a:extLst>
              </p:cNvPr>
              <p:cNvSpPr>
                <a:spLocks/>
              </p:cNvSpPr>
              <p:nvPr/>
            </p:nvSpPr>
            <p:spPr bwMode="auto">
              <a:xfrm>
                <a:off x="7181" y="3003"/>
                <a:ext cx="14" cy="10"/>
              </a:xfrm>
              <a:custGeom>
                <a:avLst/>
                <a:gdLst>
                  <a:gd name="T0" fmla="*/ 0 w 6"/>
                  <a:gd name="T1" fmla="*/ 3 h 4"/>
                  <a:gd name="T2" fmla="*/ 5 w 6"/>
                  <a:gd name="T3" fmla="*/ 4 h 4"/>
                  <a:gd name="T4" fmla="*/ 5 w 6"/>
                  <a:gd name="T5" fmla="*/ 2 h 4"/>
                  <a:gd name="T6" fmla="*/ 4 w 6"/>
                  <a:gd name="T7" fmla="*/ 1 h 4"/>
                  <a:gd name="T8" fmla="*/ 3 w 6"/>
                  <a:gd name="T9" fmla="*/ 1 h 4"/>
                  <a:gd name="T10" fmla="*/ 2 w 6"/>
                  <a:gd name="T11" fmla="*/ 0 h 4"/>
                  <a:gd name="T12" fmla="*/ 1 w 6"/>
                  <a:gd name="T13" fmla="*/ 2 h 4"/>
                  <a:gd name="T14" fmla="*/ 0 w 6"/>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3"/>
                    </a:moveTo>
                    <a:cubicBezTo>
                      <a:pt x="1" y="4"/>
                      <a:pt x="4" y="4"/>
                      <a:pt x="5" y="4"/>
                    </a:cubicBezTo>
                    <a:cubicBezTo>
                      <a:pt x="6" y="4"/>
                      <a:pt x="6" y="3"/>
                      <a:pt x="5" y="2"/>
                    </a:cubicBezTo>
                    <a:cubicBezTo>
                      <a:pt x="5" y="2"/>
                      <a:pt x="5" y="1"/>
                      <a:pt x="4" y="1"/>
                    </a:cubicBezTo>
                    <a:cubicBezTo>
                      <a:pt x="4" y="1"/>
                      <a:pt x="3" y="1"/>
                      <a:pt x="3" y="1"/>
                    </a:cubicBezTo>
                    <a:cubicBezTo>
                      <a:pt x="2" y="1"/>
                      <a:pt x="2" y="1"/>
                      <a:pt x="2" y="0"/>
                    </a:cubicBezTo>
                    <a:cubicBezTo>
                      <a:pt x="0" y="0"/>
                      <a:pt x="1" y="0"/>
                      <a:pt x="1" y="2"/>
                    </a:cubicBezTo>
                    <a:cubicBezTo>
                      <a:pt x="1"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2" name="Freeform 2682">
                <a:extLst>
                  <a:ext uri="{FF2B5EF4-FFF2-40B4-BE49-F238E27FC236}">
                    <a16:creationId xmlns:a16="http://schemas.microsoft.com/office/drawing/2014/main" id="{90314254-7D46-4C67-A541-AB487583CA19}"/>
                  </a:ext>
                </a:extLst>
              </p:cNvPr>
              <p:cNvSpPr>
                <a:spLocks/>
              </p:cNvSpPr>
              <p:nvPr/>
            </p:nvSpPr>
            <p:spPr bwMode="auto">
              <a:xfrm>
                <a:off x="7131" y="2876"/>
                <a:ext cx="99" cy="54"/>
              </a:xfrm>
              <a:custGeom>
                <a:avLst/>
                <a:gdLst>
                  <a:gd name="T0" fmla="*/ 8 w 42"/>
                  <a:gd name="T1" fmla="*/ 15 h 23"/>
                  <a:gd name="T2" fmla="*/ 5 w 42"/>
                  <a:gd name="T3" fmla="*/ 15 h 23"/>
                  <a:gd name="T4" fmla="*/ 4 w 42"/>
                  <a:gd name="T5" fmla="*/ 15 h 23"/>
                  <a:gd name="T6" fmla="*/ 3 w 42"/>
                  <a:gd name="T7" fmla="*/ 15 h 23"/>
                  <a:gd name="T8" fmla="*/ 2 w 42"/>
                  <a:gd name="T9" fmla="*/ 14 h 23"/>
                  <a:gd name="T10" fmla="*/ 1 w 42"/>
                  <a:gd name="T11" fmla="*/ 14 h 23"/>
                  <a:gd name="T12" fmla="*/ 1 w 42"/>
                  <a:gd name="T13" fmla="*/ 17 h 23"/>
                  <a:gd name="T14" fmla="*/ 4 w 42"/>
                  <a:gd name="T15" fmla="*/ 19 h 23"/>
                  <a:gd name="T16" fmla="*/ 7 w 42"/>
                  <a:gd name="T17" fmla="*/ 20 h 23"/>
                  <a:gd name="T18" fmla="*/ 7 w 42"/>
                  <a:gd name="T19" fmla="*/ 21 h 23"/>
                  <a:gd name="T20" fmla="*/ 12 w 42"/>
                  <a:gd name="T21" fmla="*/ 21 h 23"/>
                  <a:gd name="T22" fmla="*/ 13 w 42"/>
                  <a:gd name="T23" fmla="*/ 22 h 23"/>
                  <a:gd name="T24" fmla="*/ 19 w 42"/>
                  <a:gd name="T25" fmla="*/ 23 h 23"/>
                  <a:gd name="T26" fmla="*/ 26 w 42"/>
                  <a:gd name="T27" fmla="*/ 21 h 23"/>
                  <a:gd name="T28" fmla="*/ 28 w 42"/>
                  <a:gd name="T29" fmla="*/ 20 h 23"/>
                  <a:gd name="T30" fmla="*/ 29 w 42"/>
                  <a:gd name="T31" fmla="*/ 19 h 23"/>
                  <a:gd name="T32" fmla="*/ 31 w 42"/>
                  <a:gd name="T33" fmla="*/ 18 h 23"/>
                  <a:gd name="T34" fmla="*/ 33 w 42"/>
                  <a:gd name="T35" fmla="*/ 15 h 23"/>
                  <a:gd name="T36" fmla="*/ 36 w 42"/>
                  <a:gd name="T37" fmla="*/ 15 h 23"/>
                  <a:gd name="T38" fmla="*/ 38 w 42"/>
                  <a:gd name="T39" fmla="*/ 14 h 23"/>
                  <a:gd name="T40" fmla="*/ 37 w 42"/>
                  <a:gd name="T41" fmla="*/ 10 h 23"/>
                  <a:gd name="T42" fmla="*/ 39 w 42"/>
                  <a:gd name="T43" fmla="*/ 9 h 23"/>
                  <a:gd name="T44" fmla="*/ 41 w 42"/>
                  <a:gd name="T45" fmla="*/ 8 h 23"/>
                  <a:gd name="T46" fmla="*/ 42 w 42"/>
                  <a:gd name="T47" fmla="*/ 3 h 23"/>
                  <a:gd name="T48" fmla="*/ 39 w 42"/>
                  <a:gd name="T49" fmla="*/ 1 h 23"/>
                  <a:gd name="T50" fmla="*/ 38 w 42"/>
                  <a:gd name="T51" fmla="*/ 1 h 23"/>
                  <a:gd name="T52" fmla="*/ 38 w 42"/>
                  <a:gd name="T53" fmla="*/ 1 h 23"/>
                  <a:gd name="T54" fmla="*/ 36 w 42"/>
                  <a:gd name="T55" fmla="*/ 2 h 23"/>
                  <a:gd name="T56" fmla="*/ 33 w 42"/>
                  <a:gd name="T57" fmla="*/ 1 h 23"/>
                  <a:gd name="T58" fmla="*/ 34 w 42"/>
                  <a:gd name="T59" fmla="*/ 9 h 23"/>
                  <a:gd name="T60" fmla="*/ 26 w 42"/>
                  <a:gd name="T61" fmla="*/ 14 h 23"/>
                  <a:gd name="T62" fmla="*/ 23 w 42"/>
                  <a:gd name="T63" fmla="*/ 15 h 23"/>
                  <a:gd name="T64" fmla="*/ 22 w 42"/>
                  <a:gd name="T65" fmla="*/ 14 h 23"/>
                  <a:gd name="T66" fmla="*/ 19 w 42"/>
                  <a:gd name="T67" fmla="*/ 15 h 23"/>
                  <a:gd name="T68" fmla="*/ 18 w 42"/>
                  <a:gd name="T69" fmla="*/ 14 h 23"/>
                  <a:gd name="T70" fmla="*/ 18 w 42"/>
                  <a:gd name="T71" fmla="*/ 11 h 23"/>
                  <a:gd name="T72" fmla="*/ 17 w 42"/>
                  <a:gd name="T73" fmla="*/ 11 h 23"/>
                  <a:gd name="T74" fmla="*/ 17 w 42"/>
                  <a:gd name="T75" fmla="*/ 12 h 23"/>
                  <a:gd name="T76" fmla="*/ 16 w 42"/>
                  <a:gd name="T77" fmla="*/ 13 h 23"/>
                  <a:gd name="T78" fmla="*/ 17 w 42"/>
                  <a:gd name="T79" fmla="*/ 14 h 23"/>
                  <a:gd name="T80" fmla="*/ 15 w 42"/>
                  <a:gd name="T81" fmla="*/ 15 h 23"/>
                  <a:gd name="T82" fmla="*/ 14 w 42"/>
                  <a:gd name="T83" fmla="*/ 15 h 23"/>
                  <a:gd name="T84" fmla="*/ 13 w 42"/>
                  <a:gd name="T85" fmla="*/ 15 h 23"/>
                  <a:gd name="T86" fmla="*/ 10 w 42"/>
                  <a:gd name="T87" fmla="*/ 16 h 23"/>
                  <a:gd name="T88" fmla="*/ 8 w 42"/>
                  <a:gd name="T89"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23">
                    <a:moveTo>
                      <a:pt x="8" y="15"/>
                    </a:moveTo>
                    <a:cubicBezTo>
                      <a:pt x="6" y="14"/>
                      <a:pt x="6" y="15"/>
                      <a:pt x="5" y="15"/>
                    </a:cubicBezTo>
                    <a:cubicBezTo>
                      <a:pt x="5" y="15"/>
                      <a:pt x="4" y="15"/>
                      <a:pt x="4" y="15"/>
                    </a:cubicBezTo>
                    <a:cubicBezTo>
                      <a:pt x="4" y="14"/>
                      <a:pt x="3" y="15"/>
                      <a:pt x="3" y="15"/>
                    </a:cubicBezTo>
                    <a:cubicBezTo>
                      <a:pt x="2" y="15"/>
                      <a:pt x="2" y="15"/>
                      <a:pt x="2" y="14"/>
                    </a:cubicBezTo>
                    <a:cubicBezTo>
                      <a:pt x="1" y="14"/>
                      <a:pt x="1" y="14"/>
                      <a:pt x="1" y="14"/>
                    </a:cubicBezTo>
                    <a:cubicBezTo>
                      <a:pt x="0" y="15"/>
                      <a:pt x="0" y="17"/>
                      <a:pt x="1" y="17"/>
                    </a:cubicBezTo>
                    <a:cubicBezTo>
                      <a:pt x="1" y="18"/>
                      <a:pt x="3" y="18"/>
                      <a:pt x="4" y="19"/>
                    </a:cubicBezTo>
                    <a:cubicBezTo>
                      <a:pt x="5" y="19"/>
                      <a:pt x="6" y="20"/>
                      <a:pt x="7" y="20"/>
                    </a:cubicBezTo>
                    <a:cubicBezTo>
                      <a:pt x="7" y="20"/>
                      <a:pt x="8" y="21"/>
                      <a:pt x="7" y="21"/>
                    </a:cubicBezTo>
                    <a:cubicBezTo>
                      <a:pt x="9" y="21"/>
                      <a:pt x="10" y="20"/>
                      <a:pt x="12" y="21"/>
                    </a:cubicBezTo>
                    <a:cubicBezTo>
                      <a:pt x="12" y="22"/>
                      <a:pt x="12" y="22"/>
                      <a:pt x="13" y="22"/>
                    </a:cubicBezTo>
                    <a:cubicBezTo>
                      <a:pt x="14" y="23"/>
                      <a:pt x="17" y="23"/>
                      <a:pt x="19" y="23"/>
                    </a:cubicBezTo>
                    <a:cubicBezTo>
                      <a:pt x="21" y="22"/>
                      <a:pt x="24" y="22"/>
                      <a:pt x="26" y="21"/>
                    </a:cubicBezTo>
                    <a:cubicBezTo>
                      <a:pt x="26" y="20"/>
                      <a:pt x="27" y="20"/>
                      <a:pt x="28" y="20"/>
                    </a:cubicBezTo>
                    <a:cubicBezTo>
                      <a:pt x="28" y="20"/>
                      <a:pt x="29" y="19"/>
                      <a:pt x="29" y="19"/>
                    </a:cubicBezTo>
                    <a:cubicBezTo>
                      <a:pt x="30" y="18"/>
                      <a:pt x="30" y="18"/>
                      <a:pt x="31" y="18"/>
                    </a:cubicBezTo>
                    <a:cubicBezTo>
                      <a:pt x="32" y="17"/>
                      <a:pt x="33" y="16"/>
                      <a:pt x="33" y="15"/>
                    </a:cubicBezTo>
                    <a:cubicBezTo>
                      <a:pt x="35" y="15"/>
                      <a:pt x="35" y="16"/>
                      <a:pt x="36" y="15"/>
                    </a:cubicBezTo>
                    <a:cubicBezTo>
                      <a:pt x="36" y="15"/>
                      <a:pt x="38" y="14"/>
                      <a:pt x="38" y="14"/>
                    </a:cubicBezTo>
                    <a:cubicBezTo>
                      <a:pt x="40" y="12"/>
                      <a:pt x="36" y="11"/>
                      <a:pt x="37" y="10"/>
                    </a:cubicBezTo>
                    <a:cubicBezTo>
                      <a:pt x="38" y="9"/>
                      <a:pt x="39" y="10"/>
                      <a:pt x="39" y="9"/>
                    </a:cubicBezTo>
                    <a:cubicBezTo>
                      <a:pt x="40" y="9"/>
                      <a:pt x="41" y="9"/>
                      <a:pt x="41" y="8"/>
                    </a:cubicBezTo>
                    <a:cubicBezTo>
                      <a:pt x="42" y="6"/>
                      <a:pt x="41" y="5"/>
                      <a:pt x="42" y="3"/>
                    </a:cubicBezTo>
                    <a:cubicBezTo>
                      <a:pt x="41" y="3"/>
                      <a:pt x="38" y="3"/>
                      <a:pt x="39" y="1"/>
                    </a:cubicBezTo>
                    <a:cubicBezTo>
                      <a:pt x="40" y="0"/>
                      <a:pt x="38" y="1"/>
                      <a:pt x="38" y="1"/>
                    </a:cubicBezTo>
                    <a:cubicBezTo>
                      <a:pt x="38" y="2"/>
                      <a:pt x="38" y="1"/>
                      <a:pt x="38" y="1"/>
                    </a:cubicBezTo>
                    <a:cubicBezTo>
                      <a:pt x="37" y="1"/>
                      <a:pt x="37" y="2"/>
                      <a:pt x="36" y="2"/>
                    </a:cubicBezTo>
                    <a:cubicBezTo>
                      <a:pt x="36" y="1"/>
                      <a:pt x="34" y="1"/>
                      <a:pt x="33" y="1"/>
                    </a:cubicBezTo>
                    <a:cubicBezTo>
                      <a:pt x="33" y="4"/>
                      <a:pt x="33" y="6"/>
                      <a:pt x="34" y="9"/>
                    </a:cubicBezTo>
                    <a:cubicBezTo>
                      <a:pt x="30" y="7"/>
                      <a:pt x="28" y="12"/>
                      <a:pt x="26" y="14"/>
                    </a:cubicBezTo>
                    <a:cubicBezTo>
                      <a:pt x="25" y="13"/>
                      <a:pt x="24" y="15"/>
                      <a:pt x="23" y="15"/>
                    </a:cubicBezTo>
                    <a:cubicBezTo>
                      <a:pt x="23" y="15"/>
                      <a:pt x="23" y="14"/>
                      <a:pt x="22" y="14"/>
                    </a:cubicBezTo>
                    <a:cubicBezTo>
                      <a:pt x="21" y="14"/>
                      <a:pt x="20" y="15"/>
                      <a:pt x="19" y="15"/>
                    </a:cubicBezTo>
                    <a:cubicBezTo>
                      <a:pt x="18" y="15"/>
                      <a:pt x="18" y="15"/>
                      <a:pt x="18" y="14"/>
                    </a:cubicBezTo>
                    <a:cubicBezTo>
                      <a:pt x="18" y="13"/>
                      <a:pt x="17" y="11"/>
                      <a:pt x="18" y="11"/>
                    </a:cubicBezTo>
                    <a:cubicBezTo>
                      <a:pt x="20" y="10"/>
                      <a:pt x="17" y="8"/>
                      <a:pt x="17" y="11"/>
                    </a:cubicBezTo>
                    <a:cubicBezTo>
                      <a:pt x="17" y="12"/>
                      <a:pt x="17" y="12"/>
                      <a:pt x="17" y="12"/>
                    </a:cubicBezTo>
                    <a:cubicBezTo>
                      <a:pt x="17" y="13"/>
                      <a:pt x="16" y="13"/>
                      <a:pt x="16" y="13"/>
                    </a:cubicBezTo>
                    <a:cubicBezTo>
                      <a:pt x="16" y="13"/>
                      <a:pt x="17" y="14"/>
                      <a:pt x="17" y="14"/>
                    </a:cubicBezTo>
                    <a:cubicBezTo>
                      <a:pt x="16" y="15"/>
                      <a:pt x="15" y="15"/>
                      <a:pt x="15" y="15"/>
                    </a:cubicBezTo>
                    <a:cubicBezTo>
                      <a:pt x="15" y="15"/>
                      <a:pt x="14" y="16"/>
                      <a:pt x="14" y="15"/>
                    </a:cubicBezTo>
                    <a:cubicBezTo>
                      <a:pt x="14" y="14"/>
                      <a:pt x="13" y="15"/>
                      <a:pt x="13" y="15"/>
                    </a:cubicBezTo>
                    <a:cubicBezTo>
                      <a:pt x="12" y="15"/>
                      <a:pt x="11" y="16"/>
                      <a:pt x="10" y="16"/>
                    </a:cubicBezTo>
                    <a:cubicBezTo>
                      <a:pt x="9" y="16"/>
                      <a:pt x="9" y="15"/>
                      <a:pt x="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3" name="Freeform 2683">
                <a:extLst>
                  <a:ext uri="{FF2B5EF4-FFF2-40B4-BE49-F238E27FC236}">
                    <a16:creationId xmlns:a16="http://schemas.microsoft.com/office/drawing/2014/main" id="{C7E7ED92-270B-488B-A1C8-16EFB66CF67D}"/>
                  </a:ext>
                </a:extLst>
              </p:cNvPr>
              <p:cNvSpPr>
                <a:spLocks/>
              </p:cNvSpPr>
              <p:nvPr/>
            </p:nvSpPr>
            <p:spPr bwMode="auto">
              <a:xfrm>
                <a:off x="7280" y="2899"/>
                <a:ext cx="5" cy="10"/>
              </a:xfrm>
              <a:custGeom>
                <a:avLst/>
                <a:gdLst>
                  <a:gd name="T0" fmla="*/ 2 w 2"/>
                  <a:gd name="T1" fmla="*/ 1 h 4"/>
                  <a:gd name="T2" fmla="*/ 2 w 2"/>
                  <a:gd name="T3" fmla="*/ 0 h 4"/>
                  <a:gd name="T4" fmla="*/ 0 w 2"/>
                  <a:gd name="T5" fmla="*/ 1 h 4"/>
                  <a:gd name="T6" fmla="*/ 1 w 2"/>
                  <a:gd name="T7" fmla="*/ 4 h 4"/>
                  <a:gd name="T8" fmla="*/ 2 w 2"/>
                  <a:gd name="T9" fmla="*/ 2 h 4"/>
                  <a:gd name="T10" fmla="*/ 2 w 2"/>
                  <a:gd name="T11" fmla="*/ 1 h 4"/>
                </a:gdLst>
                <a:ahLst/>
                <a:cxnLst>
                  <a:cxn ang="0">
                    <a:pos x="T0" y="T1"/>
                  </a:cxn>
                  <a:cxn ang="0">
                    <a:pos x="T2" y="T3"/>
                  </a:cxn>
                  <a:cxn ang="0">
                    <a:pos x="T4" y="T5"/>
                  </a:cxn>
                  <a:cxn ang="0">
                    <a:pos x="T6" y="T7"/>
                  </a:cxn>
                  <a:cxn ang="0">
                    <a:pos x="T8" y="T9"/>
                  </a:cxn>
                  <a:cxn ang="0">
                    <a:pos x="T10" y="T11"/>
                  </a:cxn>
                </a:cxnLst>
                <a:rect l="0" t="0" r="r" b="b"/>
                <a:pathLst>
                  <a:path w="2" h="4">
                    <a:moveTo>
                      <a:pt x="2" y="1"/>
                    </a:moveTo>
                    <a:cubicBezTo>
                      <a:pt x="2" y="1"/>
                      <a:pt x="2" y="0"/>
                      <a:pt x="2" y="0"/>
                    </a:cubicBezTo>
                    <a:cubicBezTo>
                      <a:pt x="1" y="0"/>
                      <a:pt x="0" y="0"/>
                      <a:pt x="0" y="1"/>
                    </a:cubicBezTo>
                    <a:cubicBezTo>
                      <a:pt x="0" y="2"/>
                      <a:pt x="1" y="3"/>
                      <a:pt x="1" y="4"/>
                    </a:cubicBezTo>
                    <a:cubicBezTo>
                      <a:pt x="2" y="4"/>
                      <a:pt x="2" y="3"/>
                      <a:pt x="2" y="2"/>
                    </a:cubicBezTo>
                    <a:cubicBezTo>
                      <a:pt x="2" y="1"/>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4" name="Freeform 2684">
                <a:extLst>
                  <a:ext uri="{FF2B5EF4-FFF2-40B4-BE49-F238E27FC236}">
                    <a16:creationId xmlns:a16="http://schemas.microsoft.com/office/drawing/2014/main" id="{660BB59B-EB4F-4EAF-92A4-0040D5319C96}"/>
                  </a:ext>
                </a:extLst>
              </p:cNvPr>
              <p:cNvSpPr>
                <a:spLocks/>
              </p:cNvSpPr>
              <p:nvPr/>
            </p:nvSpPr>
            <p:spPr bwMode="auto">
              <a:xfrm>
                <a:off x="7190" y="3032"/>
                <a:ext cx="3"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5" name="Freeform 2685">
                <a:extLst>
                  <a:ext uri="{FF2B5EF4-FFF2-40B4-BE49-F238E27FC236}">
                    <a16:creationId xmlns:a16="http://schemas.microsoft.com/office/drawing/2014/main" id="{76067ED7-81B8-4762-8B8C-B1B7F9BD58CE}"/>
                  </a:ext>
                </a:extLst>
              </p:cNvPr>
              <p:cNvSpPr>
                <a:spLocks/>
              </p:cNvSpPr>
              <p:nvPr/>
            </p:nvSpPr>
            <p:spPr bwMode="auto">
              <a:xfrm>
                <a:off x="7285" y="2909"/>
                <a:ext cx="30" cy="35"/>
              </a:xfrm>
              <a:custGeom>
                <a:avLst/>
                <a:gdLst>
                  <a:gd name="T0" fmla="*/ 11 w 13"/>
                  <a:gd name="T1" fmla="*/ 9 h 15"/>
                  <a:gd name="T2" fmla="*/ 9 w 13"/>
                  <a:gd name="T3" fmla="*/ 7 h 15"/>
                  <a:gd name="T4" fmla="*/ 7 w 13"/>
                  <a:gd name="T5" fmla="*/ 6 h 15"/>
                  <a:gd name="T6" fmla="*/ 7 w 13"/>
                  <a:gd name="T7" fmla="*/ 5 h 15"/>
                  <a:gd name="T8" fmla="*/ 5 w 13"/>
                  <a:gd name="T9" fmla="*/ 4 h 15"/>
                  <a:gd name="T10" fmla="*/ 5 w 13"/>
                  <a:gd name="T11" fmla="*/ 3 h 15"/>
                  <a:gd name="T12" fmla="*/ 3 w 13"/>
                  <a:gd name="T13" fmla="*/ 1 h 15"/>
                  <a:gd name="T14" fmla="*/ 0 w 13"/>
                  <a:gd name="T15" fmla="*/ 0 h 15"/>
                  <a:gd name="T16" fmla="*/ 0 w 13"/>
                  <a:gd name="T17" fmla="*/ 4 h 15"/>
                  <a:gd name="T18" fmla="*/ 5 w 13"/>
                  <a:gd name="T19" fmla="*/ 11 h 15"/>
                  <a:gd name="T20" fmla="*/ 5 w 13"/>
                  <a:gd name="T21" fmla="*/ 12 h 15"/>
                  <a:gd name="T22" fmla="*/ 10 w 13"/>
                  <a:gd name="T23" fmla="*/ 15 h 15"/>
                  <a:gd name="T24" fmla="*/ 12 w 13"/>
                  <a:gd name="T25" fmla="*/ 14 h 15"/>
                  <a:gd name="T26" fmla="*/ 13 w 13"/>
                  <a:gd name="T27" fmla="*/ 13 h 15"/>
                  <a:gd name="T28" fmla="*/ 12 w 13"/>
                  <a:gd name="T29" fmla="*/ 11 h 15"/>
                  <a:gd name="T30" fmla="*/ 11 w 13"/>
                  <a:gd name="T3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11" y="9"/>
                    </a:moveTo>
                    <a:cubicBezTo>
                      <a:pt x="10" y="9"/>
                      <a:pt x="10" y="7"/>
                      <a:pt x="9" y="7"/>
                    </a:cubicBezTo>
                    <a:cubicBezTo>
                      <a:pt x="8" y="7"/>
                      <a:pt x="8" y="8"/>
                      <a:pt x="7" y="6"/>
                    </a:cubicBezTo>
                    <a:cubicBezTo>
                      <a:pt x="7" y="6"/>
                      <a:pt x="7" y="6"/>
                      <a:pt x="7" y="5"/>
                    </a:cubicBezTo>
                    <a:cubicBezTo>
                      <a:pt x="6" y="5"/>
                      <a:pt x="6" y="5"/>
                      <a:pt x="5" y="4"/>
                    </a:cubicBezTo>
                    <a:cubicBezTo>
                      <a:pt x="5" y="4"/>
                      <a:pt x="5" y="4"/>
                      <a:pt x="5" y="3"/>
                    </a:cubicBezTo>
                    <a:cubicBezTo>
                      <a:pt x="4" y="2"/>
                      <a:pt x="4" y="1"/>
                      <a:pt x="3" y="1"/>
                    </a:cubicBezTo>
                    <a:cubicBezTo>
                      <a:pt x="2" y="1"/>
                      <a:pt x="1" y="1"/>
                      <a:pt x="0" y="0"/>
                    </a:cubicBezTo>
                    <a:cubicBezTo>
                      <a:pt x="0" y="1"/>
                      <a:pt x="0" y="3"/>
                      <a:pt x="0" y="4"/>
                    </a:cubicBezTo>
                    <a:cubicBezTo>
                      <a:pt x="1" y="7"/>
                      <a:pt x="3" y="9"/>
                      <a:pt x="5" y="11"/>
                    </a:cubicBezTo>
                    <a:cubicBezTo>
                      <a:pt x="4" y="11"/>
                      <a:pt x="5" y="11"/>
                      <a:pt x="5" y="12"/>
                    </a:cubicBezTo>
                    <a:cubicBezTo>
                      <a:pt x="7" y="13"/>
                      <a:pt x="8" y="14"/>
                      <a:pt x="10" y="15"/>
                    </a:cubicBezTo>
                    <a:cubicBezTo>
                      <a:pt x="11" y="14"/>
                      <a:pt x="11" y="14"/>
                      <a:pt x="12" y="14"/>
                    </a:cubicBezTo>
                    <a:cubicBezTo>
                      <a:pt x="12" y="14"/>
                      <a:pt x="13" y="13"/>
                      <a:pt x="13" y="13"/>
                    </a:cubicBezTo>
                    <a:cubicBezTo>
                      <a:pt x="13" y="13"/>
                      <a:pt x="13" y="11"/>
                      <a:pt x="12" y="11"/>
                    </a:cubicBezTo>
                    <a:cubicBezTo>
                      <a:pt x="12" y="10"/>
                      <a:pt x="11" y="10"/>
                      <a:pt x="1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6" name="Freeform 2686">
                <a:extLst>
                  <a:ext uri="{FF2B5EF4-FFF2-40B4-BE49-F238E27FC236}">
                    <a16:creationId xmlns:a16="http://schemas.microsoft.com/office/drawing/2014/main" id="{033FD26E-6751-40B0-BF06-ACB7C34B0CF9}"/>
                  </a:ext>
                </a:extLst>
              </p:cNvPr>
              <p:cNvSpPr>
                <a:spLocks/>
              </p:cNvSpPr>
              <p:nvPr/>
            </p:nvSpPr>
            <p:spPr bwMode="auto">
              <a:xfrm>
                <a:off x="7219" y="2843"/>
                <a:ext cx="2"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7" name="Freeform 2687">
                <a:extLst>
                  <a:ext uri="{FF2B5EF4-FFF2-40B4-BE49-F238E27FC236}">
                    <a16:creationId xmlns:a16="http://schemas.microsoft.com/office/drawing/2014/main" id="{336C45EE-9E69-4F4A-9C71-1CD0A91715D3}"/>
                  </a:ext>
                </a:extLst>
              </p:cNvPr>
              <p:cNvSpPr>
                <a:spLocks/>
              </p:cNvSpPr>
              <p:nvPr/>
            </p:nvSpPr>
            <p:spPr bwMode="auto">
              <a:xfrm>
                <a:off x="7098" y="2902"/>
                <a:ext cx="7" cy="7"/>
              </a:xfrm>
              <a:custGeom>
                <a:avLst/>
                <a:gdLst>
                  <a:gd name="T0" fmla="*/ 2 w 3"/>
                  <a:gd name="T1" fmla="*/ 1 h 3"/>
                  <a:gd name="T2" fmla="*/ 1 w 3"/>
                  <a:gd name="T3" fmla="*/ 1 h 3"/>
                  <a:gd name="T4" fmla="*/ 2 w 3"/>
                  <a:gd name="T5" fmla="*/ 3 h 3"/>
                  <a:gd name="T6" fmla="*/ 2 w 3"/>
                  <a:gd name="T7" fmla="*/ 1 h 3"/>
                </a:gdLst>
                <a:ahLst/>
                <a:cxnLst>
                  <a:cxn ang="0">
                    <a:pos x="T0" y="T1"/>
                  </a:cxn>
                  <a:cxn ang="0">
                    <a:pos x="T2" y="T3"/>
                  </a:cxn>
                  <a:cxn ang="0">
                    <a:pos x="T4" y="T5"/>
                  </a:cxn>
                  <a:cxn ang="0">
                    <a:pos x="T6" y="T7"/>
                  </a:cxn>
                </a:cxnLst>
                <a:rect l="0" t="0" r="r" b="b"/>
                <a:pathLst>
                  <a:path w="3" h="3">
                    <a:moveTo>
                      <a:pt x="2" y="1"/>
                    </a:moveTo>
                    <a:cubicBezTo>
                      <a:pt x="2" y="0"/>
                      <a:pt x="2" y="0"/>
                      <a:pt x="1" y="1"/>
                    </a:cubicBezTo>
                    <a:cubicBezTo>
                      <a:pt x="0" y="1"/>
                      <a:pt x="1" y="3"/>
                      <a:pt x="2" y="3"/>
                    </a:cubicBezTo>
                    <a:cubicBezTo>
                      <a:pt x="3" y="3"/>
                      <a:pt x="3"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8" name="Freeform 2688">
                <a:extLst>
                  <a:ext uri="{FF2B5EF4-FFF2-40B4-BE49-F238E27FC236}">
                    <a16:creationId xmlns:a16="http://schemas.microsoft.com/office/drawing/2014/main" id="{A780733A-C7A0-4D9C-A38A-96A7142F145E}"/>
                  </a:ext>
                </a:extLst>
              </p:cNvPr>
              <p:cNvSpPr>
                <a:spLocks/>
              </p:cNvSpPr>
              <p:nvPr/>
            </p:nvSpPr>
            <p:spPr bwMode="auto">
              <a:xfrm>
                <a:off x="7117" y="2833"/>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9" name="Freeform 2689">
                <a:extLst>
                  <a:ext uri="{FF2B5EF4-FFF2-40B4-BE49-F238E27FC236}">
                    <a16:creationId xmlns:a16="http://schemas.microsoft.com/office/drawing/2014/main" id="{1893217B-DFBE-4896-9623-A43C64415424}"/>
                  </a:ext>
                </a:extLst>
              </p:cNvPr>
              <p:cNvSpPr>
                <a:spLocks/>
              </p:cNvSpPr>
              <p:nvPr/>
            </p:nvSpPr>
            <p:spPr bwMode="auto">
              <a:xfrm>
                <a:off x="7230" y="2852"/>
                <a:ext cx="5" cy="2"/>
              </a:xfrm>
              <a:custGeom>
                <a:avLst/>
                <a:gdLst>
                  <a:gd name="T0" fmla="*/ 2 w 2"/>
                  <a:gd name="T1" fmla="*/ 0 h 1"/>
                  <a:gd name="T2" fmla="*/ 2 w 2"/>
                  <a:gd name="T3" fmla="*/ 1 h 1"/>
                  <a:gd name="T4" fmla="*/ 2 w 2"/>
                  <a:gd name="T5" fmla="*/ 0 h 1"/>
                </a:gdLst>
                <a:ahLst/>
                <a:cxnLst>
                  <a:cxn ang="0">
                    <a:pos x="T0" y="T1"/>
                  </a:cxn>
                  <a:cxn ang="0">
                    <a:pos x="T2" y="T3"/>
                  </a:cxn>
                  <a:cxn ang="0">
                    <a:pos x="T4" y="T5"/>
                  </a:cxn>
                </a:cxnLst>
                <a:rect l="0" t="0" r="r" b="b"/>
                <a:pathLst>
                  <a:path w="2" h="1">
                    <a:moveTo>
                      <a:pt x="2" y="0"/>
                    </a:moveTo>
                    <a:cubicBezTo>
                      <a:pt x="0" y="0"/>
                      <a:pt x="1" y="1"/>
                      <a:pt x="2" y="1"/>
                    </a:cubicBezTo>
                    <a:cubicBezTo>
                      <a:pt x="2"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0" name="Freeform 2690">
                <a:extLst>
                  <a:ext uri="{FF2B5EF4-FFF2-40B4-BE49-F238E27FC236}">
                    <a16:creationId xmlns:a16="http://schemas.microsoft.com/office/drawing/2014/main" id="{D78B759B-925C-4750-844E-5508CEDC8CD2}"/>
                  </a:ext>
                </a:extLst>
              </p:cNvPr>
              <p:cNvSpPr>
                <a:spLocks/>
              </p:cNvSpPr>
              <p:nvPr/>
            </p:nvSpPr>
            <p:spPr bwMode="auto">
              <a:xfrm>
                <a:off x="7074" y="2887"/>
                <a:ext cx="3"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0"/>
                      <a:pt x="0" y="1"/>
                      <a:pt x="0" y="2"/>
                    </a:cubicBezTo>
                    <a:cubicBezTo>
                      <a:pt x="1"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1" name="Freeform 2691">
                <a:extLst>
                  <a:ext uri="{FF2B5EF4-FFF2-40B4-BE49-F238E27FC236}">
                    <a16:creationId xmlns:a16="http://schemas.microsoft.com/office/drawing/2014/main" id="{C704B196-02E9-483B-9E1F-9C5E44962B6C}"/>
                  </a:ext>
                </a:extLst>
              </p:cNvPr>
              <p:cNvSpPr>
                <a:spLocks/>
              </p:cNvSpPr>
              <p:nvPr/>
            </p:nvSpPr>
            <p:spPr bwMode="auto">
              <a:xfrm>
                <a:off x="7162" y="2809"/>
                <a:ext cx="4" cy="8"/>
              </a:xfrm>
              <a:custGeom>
                <a:avLst/>
                <a:gdLst>
                  <a:gd name="T0" fmla="*/ 1 w 2"/>
                  <a:gd name="T1" fmla="*/ 3 h 3"/>
                  <a:gd name="T2" fmla="*/ 0 w 2"/>
                  <a:gd name="T3" fmla="*/ 0 h 3"/>
                  <a:gd name="T4" fmla="*/ 1 w 2"/>
                  <a:gd name="T5" fmla="*/ 3 h 3"/>
                </a:gdLst>
                <a:ahLst/>
                <a:cxnLst>
                  <a:cxn ang="0">
                    <a:pos x="T0" y="T1"/>
                  </a:cxn>
                  <a:cxn ang="0">
                    <a:pos x="T2" y="T3"/>
                  </a:cxn>
                  <a:cxn ang="0">
                    <a:pos x="T4" y="T5"/>
                  </a:cxn>
                </a:cxnLst>
                <a:rect l="0" t="0" r="r" b="b"/>
                <a:pathLst>
                  <a:path w="2" h="3">
                    <a:moveTo>
                      <a:pt x="1" y="3"/>
                    </a:moveTo>
                    <a:cubicBezTo>
                      <a:pt x="2" y="1"/>
                      <a:pt x="1" y="0"/>
                      <a:pt x="0"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2" name="Freeform 2692">
                <a:extLst>
                  <a:ext uri="{FF2B5EF4-FFF2-40B4-BE49-F238E27FC236}">
                    <a16:creationId xmlns:a16="http://schemas.microsoft.com/office/drawing/2014/main" id="{160C3D29-8EBD-4CD8-A982-0204E8B0E593}"/>
                  </a:ext>
                </a:extLst>
              </p:cNvPr>
              <p:cNvSpPr>
                <a:spLocks/>
              </p:cNvSpPr>
              <p:nvPr/>
            </p:nvSpPr>
            <p:spPr bwMode="auto">
              <a:xfrm>
                <a:off x="7010" y="2980"/>
                <a:ext cx="8" cy="2"/>
              </a:xfrm>
              <a:custGeom>
                <a:avLst/>
                <a:gdLst>
                  <a:gd name="T0" fmla="*/ 0 w 3"/>
                  <a:gd name="T1" fmla="*/ 0 h 1"/>
                  <a:gd name="T2" fmla="*/ 2 w 3"/>
                  <a:gd name="T3" fmla="*/ 1 h 1"/>
                  <a:gd name="T4" fmla="*/ 0 w 3"/>
                  <a:gd name="T5" fmla="*/ 0 h 1"/>
                </a:gdLst>
                <a:ahLst/>
                <a:cxnLst>
                  <a:cxn ang="0">
                    <a:pos x="T0" y="T1"/>
                  </a:cxn>
                  <a:cxn ang="0">
                    <a:pos x="T2" y="T3"/>
                  </a:cxn>
                  <a:cxn ang="0">
                    <a:pos x="T4" y="T5"/>
                  </a:cxn>
                </a:cxnLst>
                <a:rect l="0" t="0" r="r" b="b"/>
                <a:pathLst>
                  <a:path w="3" h="1">
                    <a:moveTo>
                      <a:pt x="0" y="0"/>
                    </a:moveTo>
                    <a:cubicBezTo>
                      <a:pt x="1" y="1"/>
                      <a:pt x="1" y="1"/>
                      <a:pt x="2" y="1"/>
                    </a:cubicBezTo>
                    <a:cubicBezTo>
                      <a:pt x="3"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3" name="Freeform 2693">
                <a:extLst>
                  <a:ext uri="{FF2B5EF4-FFF2-40B4-BE49-F238E27FC236}">
                    <a16:creationId xmlns:a16="http://schemas.microsoft.com/office/drawing/2014/main" id="{D3B228CE-445E-4C58-BB48-E9A6649B637B}"/>
                  </a:ext>
                </a:extLst>
              </p:cNvPr>
              <p:cNvSpPr>
                <a:spLocks/>
              </p:cNvSpPr>
              <p:nvPr/>
            </p:nvSpPr>
            <p:spPr bwMode="auto">
              <a:xfrm>
                <a:off x="7119" y="2909"/>
                <a:ext cx="10" cy="9"/>
              </a:xfrm>
              <a:custGeom>
                <a:avLst/>
                <a:gdLst>
                  <a:gd name="T0" fmla="*/ 0 w 4"/>
                  <a:gd name="T1" fmla="*/ 1 h 4"/>
                  <a:gd name="T2" fmla="*/ 1 w 4"/>
                  <a:gd name="T3" fmla="*/ 4 h 4"/>
                  <a:gd name="T4" fmla="*/ 0 w 4"/>
                  <a:gd name="T5" fmla="*/ 1 h 4"/>
                </a:gdLst>
                <a:ahLst/>
                <a:cxnLst>
                  <a:cxn ang="0">
                    <a:pos x="T0" y="T1"/>
                  </a:cxn>
                  <a:cxn ang="0">
                    <a:pos x="T2" y="T3"/>
                  </a:cxn>
                  <a:cxn ang="0">
                    <a:pos x="T4" y="T5"/>
                  </a:cxn>
                </a:cxnLst>
                <a:rect l="0" t="0" r="r" b="b"/>
                <a:pathLst>
                  <a:path w="4" h="4">
                    <a:moveTo>
                      <a:pt x="0" y="1"/>
                    </a:moveTo>
                    <a:cubicBezTo>
                      <a:pt x="0" y="2"/>
                      <a:pt x="1" y="3"/>
                      <a:pt x="1" y="4"/>
                    </a:cubicBezTo>
                    <a:cubicBezTo>
                      <a:pt x="4" y="3"/>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4" name="Freeform 2694">
                <a:extLst>
                  <a:ext uri="{FF2B5EF4-FFF2-40B4-BE49-F238E27FC236}">
                    <a16:creationId xmlns:a16="http://schemas.microsoft.com/office/drawing/2014/main" id="{B4F2BED2-AAD5-483E-8E76-4626F84F6284}"/>
                  </a:ext>
                </a:extLst>
              </p:cNvPr>
              <p:cNvSpPr>
                <a:spLocks/>
              </p:cNvSpPr>
              <p:nvPr/>
            </p:nvSpPr>
            <p:spPr bwMode="auto">
              <a:xfrm>
                <a:off x="7159" y="2890"/>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5" name="Freeform 2695">
                <a:extLst>
                  <a:ext uri="{FF2B5EF4-FFF2-40B4-BE49-F238E27FC236}">
                    <a16:creationId xmlns:a16="http://schemas.microsoft.com/office/drawing/2014/main" id="{50EAA618-41ED-4127-B726-DBF11560732C}"/>
                  </a:ext>
                </a:extLst>
              </p:cNvPr>
              <p:cNvSpPr>
                <a:spLocks/>
              </p:cNvSpPr>
              <p:nvPr/>
            </p:nvSpPr>
            <p:spPr bwMode="auto">
              <a:xfrm>
                <a:off x="7233" y="2994"/>
                <a:ext cx="12" cy="7"/>
              </a:xfrm>
              <a:custGeom>
                <a:avLst/>
                <a:gdLst>
                  <a:gd name="T0" fmla="*/ 4 w 5"/>
                  <a:gd name="T1" fmla="*/ 3 h 3"/>
                  <a:gd name="T2" fmla="*/ 4 w 5"/>
                  <a:gd name="T3" fmla="*/ 2 h 3"/>
                  <a:gd name="T4" fmla="*/ 4 w 5"/>
                  <a:gd name="T5" fmla="*/ 1 h 3"/>
                  <a:gd name="T6" fmla="*/ 3 w 5"/>
                  <a:gd name="T7" fmla="*/ 0 h 3"/>
                  <a:gd name="T8" fmla="*/ 0 w 5"/>
                  <a:gd name="T9" fmla="*/ 1 h 3"/>
                  <a:gd name="T10" fmla="*/ 3 w 5"/>
                  <a:gd name="T11" fmla="*/ 3 h 3"/>
                  <a:gd name="T12" fmla="*/ 4 w 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4" y="3"/>
                    </a:moveTo>
                    <a:cubicBezTo>
                      <a:pt x="4" y="3"/>
                      <a:pt x="4" y="2"/>
                      <a:pt x="4" y="2"/>
                    </a:cubicBezTo>
                    <a:cubicBezTo>
                      <a:pt x="5" y="3"/>
                      <a:pt x="4" y="1"/>
                      <a:pt x="4" y="1"/>
                    </a:cubicBezTo>
                    <a:cubicBezTo>
                      <a:pt x="4" y="1"/>
                      <a:pt x="3" y="0"/>
                      <a:pt x="3" y="0"/>
                    </a:cubicBezTo>
                    <a:cubicBezTo>
                      <a:pt x="2" y="0"/>
                      <a:pt x="0" y="0"/>
                      <a:pt x="0" y="1"/>
                    </a:cubicBezTo>
                    <a:cubicBezTo>
                      <a:pt x="1" y="2"/>
                      <a:pt x="2" y="2"/>
                      <a:pt x="3" y="3"/>
                    </a:cubicBezTo>
                    <a:cubicBezTo>
                      <a:pt x="3" y="3"/>
                      <a:pt x="4" y="3"/>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6" name="Freeform 2696">
                <a:extLst>
                  <a:ext uri="{FF2B5EF4-FFF2-40B4-BE49-F238E27FC236}">
                    <a16:creationId xmlns:a16="http://schemas.microsoft.com/office/drawing/2014/main" id="{05CF63B5-B1A9-43AA-972D-90074BDEEF63}"/>
                  </a:ext>
                </a:extLst>
              </p:cNvPr>
              <p:cNvSpPr>
                <a:spLocks/>
              </p:cNvSpPr>
              <p:nvPr/>
            </p:nvSpPr>
            <p:spPr bwMode="auto">
              <a:xfrm>
                <a:off x="7086" y="2824"/>
                <a:ext cx="24" cy="7"/>
              </a:xfrm>
              <a:custGeom>
                <a:avLst/>
                <a:gdLst>
                  <a:gd name="T0" fmla="*/ 1 w 10"/>
                  <a:gd name="T1" fmla="*/ 3 h 3"/>
                  <a:gd name="T2" fmla="*/ 6 w 10"/>
                  <a:gd name="T3" fmla="*/ 2 h 3"/>
                  <a:gd name="T4" fmla="*/ 10 w 10"/>
                  <a:gd name="T5" fmla="*/ 1 h 3"/>
                  <a:gd name="T6" fmla="*/ 7 w 10"/>
                  <a:gd name="T7" fmla="*/ 1 h 3"/>
                  <a:gd name="T8" fmla="*/ 3 w 10"/>
                  <a:gd name="T9" fmla="*/ 1 h 3"/>
                  <a:gd name="T10" fmla="*/ 1 w 10"/>
                  <a:gd name="T11" fmla="*/ 1 h 3"/>
                  <a:gd name="T12" fmla="*/ 1 w 10"/>
                  <a:gd name="T13" fmla="*/ 2 h 3"/>
                  <a:gd name="T14" fmla="*/ 1 w 10"/>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3">
                    <a:moveTo>
                      <a:pt x="1" y="3"/>
                    </a:moveTo>
                    <a:cubicBezTo>
                      <a:pt x="3" y="2"/>
                      <a:pt x="4" y="2"/>
                      <a:pt x="6" y="2"/>
                    </a:cubicBezTo>
                    <a:cubicBezTo>
                      <a:pt x="8" y="3"/>
                      <a:pt x="8" y="2"/>
                      <a:pt x="10" y="1"/>
                    </a:cubicBezTo>
                    <a:cubicBezTo>
                      <a:pt x="9" y="1"/>
                      <a:pt x="7" y="1"/>
                      <a:pt x="7" y="1"/>
                    </a:cubicBezTo>
                    <a:cubicBezTo>
                      <a:pt x="6" y="0"/>
                      <a:pt x="4" y="1"/>
                      <a:pt x="3" y="1"/>
                    </a:cubicBezTo>
                    <a:cubicBezTo>
                      <a:pt x="2" y="1"/>
                      <a:pt x="1" y="0"/>
                      <a:pt x="1" y="1"/>
                    </a:cubicBezTo>
                    <a:cubicBezTo>
                      <a:pt x="1" y="1"/>
                      <a:pt x="2" y="2"/>
                      <a:pt x="1" y="2"/>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7" name="Freeform 2697">
                <a:extLst>
                  <a:ext uri="{FF2B5EF4-FFF2-40B4-BE49-F238E27FC236}">
                    <a16:creationId xmlns:a16="http://schemas.microsoft.com/office/drawing/2014/main" id="{9BDF3883-D24E-4F1C-88AF-89E2EC24A472}"/>
                  </a:ext>
                </a:extLst>
              </p:cNvPr>
              <p:cNvSpPr>
                <a:spLocks/>
              </p:cNvSpPr>
              <p:nvPr/>
            </p:nvSpPr>
            <p:spPr bwMode="auto">
              <a:xfrm>
                <a:off x="7171" y="2835"/>
                <a:ext cx="12" cy="8"/>
              </a:xfrm>
              <a:custGeom>
                <a:avLst/>
                <a:gdLst>
                  <a:gd name="T0" fmla="*/ 1 w 5"/>
                  <a:gd name="T1" fmla="*/ 0 h 3"/>
                  <a:gd name="T2" fmla="*/ 0 w 5"/>
                  <a:gd name="T3" fmla="*/ 1 h 3"/>
                  <a:gd name="T4" fmla="*/ 4 w 5"/>
                  <a:gd name="T5" fmla="*/ 3 h 3"/>
                  <a:gd name="T6" fmla="*/ 5 w 5"/>
                  <a:gd name="T7" fmla="*/ 1 h 3"/>
                  <a:gd name="T8" fmla="*/ 3 w 5"/>
                  <a:gd name="T9" fmla="*/ 0 h 3"/>
                  <a:gd name="T10" fmla="*/ 1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1" y="0"/>
                    </a:moveTo>
                    <a:cubicBezTo>
                      <a:pt x="0" y="0"/>
                      <a:pt x="0" y="1"/>
                      <a:pt x="0" y="1"/>
                    </a:cubicBezTo>
                    <a:cubicBezTo>
                      <a:pt x="1" y="1"/>
                      <a:pt x="2" y="2"/>
                      <a:pt x="4" y="3"/>
                    </a:cubicBezTo>
                    <a:cubicBezTo>
                      <a:pt x="5" y="3"/>
                      <a:pt x="5" y="2"/>
                      <a:pt x="5" y="1"/>
                    </a:cubicBezTo>
                    <a:cubicBezTo>
                      <a:pt x="4" y="0"/>
                      <a:pt x="3" y="0"/>
                      <a:pt x="3"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8" name="Rectangle 2698">
                <a:extLst>
                  <a:ext uri="{FF2B5EF4-FFF2-40B4-BE49-F238E27FC236}">
                    <a16:creationId xmlns:a16="http://schemas.microsoft.com/office/drawing/2014/main" id="{FB355E3A-D942-4050-A98A-777296E9B937}"/>
                  </a:ext>
                </a:extLst>
              </p:cNvPr>
              <p:cNvSpPr>
                <a:spLocks noChangeArrowheads="1"/>
              </p:cNvSpPr>
              <p:nvPr/>
            </p:nvSpPr>
            <p:spPr bwMode="auto">
              <a:xfrm>
                <a:off x="7195" y="285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9" name="Freeform 2699">
                <a:extLst>
                  <a:ext uri="{FF2B5EF4-FFF2-40B4-BE49-F238E27FC236}">
                    <a16:creationId xmlns:a16="http://schemas.microsoft.com/office/drawing/2014/main" id="{0B5629FD-C7EF-4780-9065-CF27AB974210}"/>
                  </a:ext>
                </a:extLst>
              </p:cNvPr>
              <p:cNvSpPr>
                <a:spLocks/>
              </p:cNvSpPr>
              <p:nvPr/>
            </p:nvSpPr>
            <p:spPr bwMode="auto">
              <a:xfrm>
                <a:off x="7190" y="2850"/>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0" name="Freeform 2700">
                <a:extLst>
                  <a:ext uri="{FF2B5EF4-FFF2-40B4-BE49-F238E27FC236}">
                    <a16:creationId xmlns:a16="http://schemas.microsoft.com/office/drawing/2014/main" id="{AEB2DC25-5655-4258-9C2A-6891F2F34227}"/>
                  </a:ext>
                </a:extLst>
              </p:cNvPr>
              <p:cNvSpPr>
                <a:spLocks/>
              </p:cNvSpPr>
              <p:nvPr/>
            </p:nvSpPr>
            <p:spPr bwMode="auto">
              <a:xfrm>
                <a:off x="7195" y="28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1" name="Freeform 2701">
                <a:extLst>
                  <a:ext uri="{FF2B5EF4-FFF2-40B4-BE49-F238E27FC236}">
                    <a16:creationId xmlns:a16="http://schemas.microsoft.com/office/drawing/2014/main" id="{8F39FDCC-DC14-4516-9281-48F11035D8BD}"/>
                  </a:ext>
                </a:extLst>
              </p:cNvPr>
              <p:cNvSpPr>
                <a:spLocks/>
              </p:cNvSpPr>
              <p:nvPr/>
            </p:nvSpPr>
            <p:spPr bwMode="auto">
              <a:xfrm>
                <a:off x="7190" y="3013"/>
                <a:ext cx="14" cy="12"/>
              </a:xfrm>
              <a:custGeom>
                <a:avLst/>
                <a:gdLst>
                  <a:gd name="T0" fmla="*/ 5 w 6"/>
                  <a:gd name="T1" fmla="*/ 2 h 5"/>
                  <a:gd name="T2" fmla="*/ 3 w 6"/>
                  <a:gd name="T3" fmla="*/ 3 h 5"/>
                  <a:gd name="T4" fmla="*/ 3 w 6"/>
                  <a:gd name="T5" fmla="*/ 3 h 5"/>
                  <a:gd name="T6" fmla="*/ 2 w 6"/>
                  <a:gd name="T7" fmla="*/ 2 h 5"/>
                  <a:gd name="T8" fmla="*/ 1 w 6"/>
                  <a:gd name="T9" fmla="*/ 1 h 5"/>
                  <a:gd name="T10" fmla="*/ 0 w 6"/>
                  <a:gd name="T11" fmla="*/ 0 h 5"/>
                  <a:gd name="T12" fmla="*/ 2 w 6"/>
                  <a:gd name="T13" fmla="*/ 4 h 5"/>
                  <a:gd name="T14" fmla="*/ 5 w 6"/>
                  <a:gd name="T15" fmla="*/ 5 h 5"/>
                  <a:gd name="T16" fmla="*/ 5 w 6"/>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5" y="2"/>
                    </a:moveTo>
                    <a:cubicBezTo>
                      <a:pt x="4" y="2"/>
                      <a:pt x="3" y="3"/>
                      <a:pt x="3" y="3"/>
                    </a:cubicBezTo>
                    <a:cubicBezTo>
                      <a:pt x="3" y="3"/>
                      <a:pt x="3" y="3"/>
                      <a:pt x="3" y="3"/>
                    </a:cubicBezTo>
                    <a:cubicBezTo>
                      <a:pt x="3" y="3"/>
                      <a:pt x="2" y="2"/>
                      <a:pt x="2" y="2"/>
                    </a:cubicBezTo>
                    <a:cubicBezTo>
                      <a:pt x="2" y="2"/>
                      <a:pt x="2" y="1"/>
                      <a:pt x="1" y="1"/>
                    </a:cubicBezTo>
                    <a:cubicBezTo>
                      <a:pt x="1" y="1"/>
                      <a:pt x="0" y="0"/>
                      <a:pt x="0" y="0"/>
                    </a:cubicBezTo>
                    <a:cubicBezTo>
                      <a:pt x="0" y="1"/>
                      <a:pt x="1" y="3"/>
                      <a:pt x="2" y="4"/>
                    </a:cubicBezTo>
                    <a:cubicBezTo>
                      <a:pt x="2" y="4"/>
                      <a:pt x="4" y="5"/>
                      <a:pt x="5" y="5"/>
                    </a:cubicBezTo>
                    <a:cubicBezTo>
                      <a:pt x="5" y="5"/>
                      <a:pt x="6"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2" name="Freeform 2702">
                <a:extLst>
                  <a:ext uri="{FF2B5EF4-FFF2-40B4-BE49-F238E27FC236}">
                    <a16:creationId xmlns:a16="http://schemas.microsoft.com/office/drawing/2014/main" id="{792606E8-71FB-4C1F-A13E-2089F417D0D5}"/>
                  </a:ext>
                </a:extLst>
              </p:cNvPr>
              <p:cNvSpPr>
                <a:spLocks/>
              </p:cNvSpPr>
              <p:nvPr/>
            </p:nvSpPr>
            <p:spPr bwMode="auto">
              <a:xfrm>
                <a:off x="7193" y="3034"/>
                <a:ext cx="4" cy="3"/>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1"/>
                      <a:pt x="2"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3" name="Freeform 2703">
                <a:extLst>
                  <a:ext uri="{FF2B5EF4-FFF2-40B4-BE49-F238E27FC236}">
                    <a16:creationId xmlns:a16="http://schemas.microsoft.com/office/drawing/2014/main" id="{EDFFA57A-A6C6-4323-9F87-9AA565133C38}"/>
                  </a:ext>
                </a:extLst>
              </p:cNvPr>
              <p:cNvSpPr>
                <a:spLocks/>
              </p:cNvSpPr>
              <p:nvPr/>
            </p:nvSpPr>
            <p:spPr bwMode="auto">
              <a:xfrm>
                <a:off x="6152" y="2253"/>
                <a:ext cx="5"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4" name="Freeform 2704">
                <a:extLst>
                  <a:ext uri="{FF2B5EF4-FFF2-40B4-BE49-F238E27FC236}">
                    <a16:creationId xmlns:a16="http://schemas.microsoft.com/office/drawing/2014/main" id="{3CAAB174-0252-474D-A094-D75DD1293E15}"/>
                  </a:ext>
                </a:extLst>
              </p:cNvPr>
              <p:cNvSpPr>
                <a:spLocks/>
              </p:cNvSpPr>
              <p:nvPr/>
            </p:nvSpPr>
            <p:spPr bwMode="auto">
              <a:xfrm>
                <a:off x="6058" y="2523"/>
                <a:ext cx="4" cy="10"/>
              </a:xfrm>
              <a:custGeom>
                <a:avLst/>
                <a:gdLst>
                  <a:gd name="T0" fmla="*/ 0 w 2"/>
                  <a:gd name="T1" fmla="*/ 1 h 4"/>
                  <a:gd name="T2" fmla="*/ 1 w 2"/>
                  <a:gd name="T3" fmla="*/ 4 h 4"/>
                  <a:gd name="T4" fmla="*/ 2 w 2"/>
                  <a:gd name="T5" fmla="*/ 1 h 4"/>
                  <a:gd name="T6" fmla="*/ 0 w 2"/>
                  <a:gd name="T7" fmla="*/ 1 h 4"/>
                </a:gdLst>
                <a:ahLst/>
                <a:cxnLst>
                  <a:cxn ang="0">
                    <a:pos x="T0" y="T1"/>
                  </a:cxn>
                  <a:cxn ang="0">
                    <a:pos x="T2" y="T3"/>
                  </a:cxn>
                  <a:cxn ang="0">
                    <a:pos x="T4" y="T5"/>
                  </a:cxn>
                  <a:cxn ang="0">
                    <a:pos x="T6" y="T7"/>
                  </a:cxn>
                </a:cxnLst>
                <a:rect l="0" t="0" r="r" b="b"/>
                <a:pathLst>
                  <a:path w="2" h="4">
                    <a:moveTo>
                      <a:pt x="0" y="1"/>
                    </a:moveTo>
                    <a:cubicBezTo>
                      <a:pt x="0" y="2"/>
                      <a:pt x="1" y="3"/>
                      <a:pt x="1" y="4"/>
                    </a:cubicBezTo>
                    <a:cubicBezTo>
                      <a:pt x="2" y="4"/>
                      <a:pt x="2" y="2"/>
                      <a:pt x="2" y="1"/>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5" name="Freeform 2705">
                <a:extLst>
                  <a:ext uri="{FF2B5EF4-FFF2-40B4-BE49-F238E27FC236}">
                    <a16:creationId xmlns:a16="http://schemas.microsoft.com/office/drawing/2014/main" id="{B5B36ECA-4BE8-4D65-BE69-7341E4BB9D76}"/>
                  </a:ext>
                </a:extLst>
              </p:cNvPr>
              <p:cNvSpPr>
                <a:spLocks/>
              </p:cNvSpPr>
              <p:nvPr/>
            </p:nvSpPr>
            <p:spPr bwMode="auto">
              <a:xfrm>
                <a:off x="6093" y="2523"/>
                <a:ext cx="36" cy="24"/>
              </a:xfrm>
              <a:custGeom>
                <a:avLst/>
                <a:gdLst>
                  <a:gd name="T0" fmla="*/ 9 w 15"/>
                  <a:gd name="T1" fmla="*/ 7 h 10"/>
                  <a:gd name="T2" fmla="*/ 12 w 15"/>
                  <a:gd name="T3" fmla="*/ 9 h 10"/>
                  <a:gd name="T4" fmla="*/ 0 w 15"/>
                  <a:gd name="T5" fmla="*/ 0 h 10"/>
                  <a:gd name="T6" fmla="*/ 1 w 15"/>
                  <a:gd name="T7" fmla="*/ 1 h 10"/>
                  <a:gd name="T8" fmla="*/ 3 w 15"/>
                  <a:gd name="T9" fmla="*/ 3 h 10"/>
                  <a:gd name="T10" fmla="*/ 5 w 15"/>
                  <a:gd name="T11" fmla="*/ 4 h 10"/>
                  <a:gd name="T12" fmla="*/ 9 w 15"/>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5" h="10">
                    <a:moveTo>
                      <a:pt x="9" y="7"/>
                    </a:moveTo>
                    <a:cubicBezTo>
                      <a:pt x="9" y="8"/>
                      <a:pt x="11" y="10"/>
                      <a:pt x="12" y="9"/>
                    </a:cubicBezTo>
                    <a:cubicBezTo>
                      <a:pt x="15" y="6"/>
                      <a:pt x="0" y="0"/>
                      <a:pt x="0" y="0"/>
                    </a:cubicBezTo>
                    <a:cubicBezTo>
                      <a:pt x="0" y="0"/>
                      <a:pt x="1" y="1"/>
                      <a:pt x="1" y="1"/>
                    </a:cubicBezTo>
                    <a:cubicBezTo>
                      <a:pt x="2" y="2"/>
                      <a:pt x="2" y="2"/>
                      <a:pt x="3" y="3"/>
                    </a:cubicBezTo>
                    <a:cubicBezTo>
                      <a:pt x="4" y="3"/>
                      <a:pt x="4" y="4"/>
                      <a:pt x="5" y="4"/>
                    </a:cubicBezTo>
                    <a:cubicBezTo>
                      <a:pt x="6" y="6"/>
                      <a:pt x="7" y="6"/>
                      <a:pt x="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6" name="Freeform 2706">
                <a:extLst>
                  <a:ext uri="{FF2B5EF4-FFF2-40B4-BE49-F238E27FC236}">
                    <a16:creationId xmlns:a16="http://schemas.microsoft.com/office/drawing/2014/main" id="{41CC2FA9-C988-4B90-956E-272A1D93A5C9}"/>
                  </a:ext>
                </a:extLst>
              </p:cNvPr>
              <p:cNvSpPr>
                <a:spLocks/>
              </p:cNvSpPr>
              <p:nvPr/>
            </p:nvSpPr>
            <p:spPr bwMode="auto">
              <a:xfrm>
                <a:off x="6121" y="2566"/>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7" name="Freeform 2707">
                <a:extLst>
                  <a:ext uri="{FF2B5EF4-FFF2-40B4-BE49-F238E27FC236}">
                    <a16:creationId xmlns:a16="http://schemas.microsoft.com/office/drawing/2014/main" id="{841B1C6F-643A-4C8A-B0F8-BEFB21A6CD54}"/>
                  </a:ext>
                </a:extLst>
              </p:cNvPr>
              <p:cNvSpPr>
                <a:spLocks/>
              </p:cNvSpPr>
              <p:nvPr/>
            </p:nvSpPr>
            <p:spPr bwMode="auto">
              <a:xfrm>
                <a:off x="6110" y="2528"/>
                <a:ext cx="16" cy="14"/>
              </a:xfrm>
              <a:custGeom>
                <a:avLst/>
                <a:gdLst>
                  <a:gd name="T0" fmla="*/ 0 w 7"/>
                  <a:gd name="T1" fmla="*/ 0 h 6"/>
                  <a:gd name="T2" fmla="*/ 5 w 7"/>
                  <a:gd name="T3" fmla="*/ 4 h 6"/>
                  <a:gd name="T4" fmla="*/ 7 w 7"/>
                  <a:gd name="T5" fmla="*/ 4 h 6"/>
                  <a:gd name="T6" fmla="*/ 6 w 7"/>
                  <a:gd name="T7" fmla="*/ 4 h 6"/>
                  <a:gd name="T8" fmla="*/ 4 w 7"/>
                  <a:gd name="T9" fmla="*/ 3 h 6"/>
                  <a:gd name="T10" fmla="*/ 3 w 7"/>
                  <a:gd name="T11" fmla="*/ 0 h 6"/>
                  <a:gd name="T12" fmla="*/ 2 w 7"/>
                  <a:gd name="T13" fmla="*/ 0 h 6"/>
                  <a:gd name="T14" fmla="*/ 2 w 7"/>
                  <a:gd name="T15" fmla="*/ 0 h 6"/>
                  <a:gd name="T16" fmla="*/ 2 w 7"/>
                  <a:gd name="T17" fmla="*/ 1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cubicBezTo>
                      <a:pt x="1" y="2"/>
                      <a:pt x="3" y="3"/>
                      <a:pt x="5" y="4"/>
                    </a:cubicBezTo>
                    <a:cubicBezTo>
                      <a:pt x="5" y="4"/>
                      <a:pt x="7" y="6"/>
                      <a:pt x="7" y="4"/>
                    </a:cubicBezTo>
                    <a:cubicBezTo>
                      <a:pt x="7" y="4"/>
                      <a:pt x="6" y="4"/>
                      <a:pt x="6" y="4"/>
                    </a:cubicBezTo>
                    <a:cubicBezTo>
                      <a:pt x="5" y="3"/>
                      <a:pt x="5" y="3"/>
                      <a:pt x="4" y="3"/>
                    </a:cubicBezTo>
                    <a:cubicBezTo>
                      <a:pt x="4" y="2"/>
                      <a:pt x="3" y="1"/>
                      <a:pt x="3" y="0"/>
                    </a:cubicBezTo>
                    <a:cubicBezTo>
                      <a:pt x="3" y="0"/>
                      <a:pt x="3" y="0"/>
                      <a:pt x="2" y="0"/>
                    </a:cubicBezTo>
                    <a:cubicBezTo>
                      <a:pt x="2" y="0"/>
                      <a:pt x="2" y="0"/>
                      <a:pt x="2" y="0"/>
                    </a:cubicBezTo>
                    <a:cubicBezTo>
                      <a:pt x="2" y="0"/>
                      <a:pt x="2" y="1"/>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8" name="Freeform 2708">
                <a:extLst>
                  <a:ext uri="{FF2B5EF4-FFF2-40B4-BE49-F238E27FC236}">
                    <a16:creationId xmlns:a16="http://schemas.microsoft.com/office/drawing/2014/main" id="{4D713B61-34DE-477E-9169-0A07AC06E95D}"/>
                  </a:ext>
                </a:extLst>
              </p:cNvPr>
              <p:cNvSpPr>
                <a:spLocks/>
              </p:cNvSpPr>
              <p:nvPr/>
            </p:nvSpPr>
            <p:spPr bwMode="auto">
              <a:xfrm>
                <a:off x="6143" y="2261"/>
                <a:ext cx="4" cy="4"/>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0" y="1"/>
                      <a:pt x="0" y="2"/>
                    </a:cubicBezTo>
                    <a:cubicBezTo>
                      <a:pt x="1" y="2"/>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9" name="Freeform 2709">
                <a:extLst>
                  <a:ext uri="{FF2B5EF4-FFF2-40B4-BE49-F238E27FC236}">
                    <a16:creationId xmlns:a16="http://schemas.microsoft.com/office/drawing/2014/main" id="{94B9C53B-B862-4891-98AE-F1610D6E7205}"/>
                  </a:ext>
                </a:extLst>
              </p:cNvPr>
              <p:cNvSpPr>
                <a:spLocks/>
              </p:cNvSpPr>
              <p:nvPr/>
            </p:nvSpPr>
            <p:spPr bwMode="auto">
              <a:xfrm>
                <a:off x="6112" y="2528"/>
                <a:ext cx="14" cy="7"/>
              </a:xfrm>
              <a:custGeom>
                <a:avLst/>
                <a:gdLst>
                  <a:gd name="T0" fmla="*/ 2 w 6"/>
                  <a:gd name="T1" fmla="*/ 1 h 3"/>
                  <a:gd name="T2" fmla="*/ 5 w 6"/>
                  <a:gd name="T3" fmla="*/ 3 h 3"/>
                  <a:gd name="T4" fmla="*/ 5 w 6"/>
                  <a:gd name="T5" fmla="*/ 1 h 3"/>
                  <a:gd name="T6" fmla="*/ 6 w 6"/>
                  <a:gd name="T7" fmla="*/ 1 h 3"/>
                  <a:gd name="T8" fmla="*/ 1 w 6"/>
                  <a:gd name="T9" fmla="*/ 0 h 3"/>
                  <a:gd name="T10" fmla="*/ 0 w 6"/>
                  <a:gd name="T11" fmla="*/ 0 h 3"/>
                  <a:gd name="T12" fmla="*/ 1 w 6"/>
                  <a:gd name="T13" fmla="*/ 0 h 3"/>
                  <a:gd name="T14" fmla="*/ 1 w 6"/>
                  <a:gd name="T15" fmla="*/ 0 h 3"/>
                  <a:gd name="T16" fmla="*/ 2 w 6"/>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
                    <a:moveTo>
                      <a:pt x="2" y="1"/>
                    </a:moveTo>
                    <a:cubicBezTo>
                      <a:pt x="3" y="2"/>
                      <a:pt x="4" y="3"/>
                      <a:pt x="5" y="3"/>
                    </a:cubicBezTo>
                    <a:cubicBezTo>
                      <a:pt x="5" y="3"/>
                      <a:pt x="5" y="2"/>
                      <a:pt x="5" y="1"/>
                    </a:cubicBezTo>
                    <a:cubicBezTo>
                      <a:pt x="6" y="1"/>
                      <a:pt x="6" y="1"/>
                      <a:pt x="6" y="1"/>
                    </a:cubicBezTo>
                    <a:cubicBezTo>
                      <a:pt x="5" y="0"/>
                      <a:pt x="3" y="0"/>
                      <a:pt x="1" y="0"/>
                    </a:cubicBezTo>
                    <a:cubicBezTo>
                      <a:pt x="1" y="0"/>
                      <a:pt x="1" y="0"/>
                      <a:pt x="0" y="0"/>
                    </a:cubicBezTo>
                    <a:cubicBezTo>
                      <a:pt x="1" y="0"/>
                      <a:pt x="1" y="0"/>
                      <a:pt x="1" y="0"/>
                    </a:cubicBezTo>
                    <a:cubicBezTo>
                      <a:pt x="1" y="0"/>
                      <a:pt x="1" y="0"/>
                      <a:pt x="1" y="0"/>
                    </a:cubicBezTo>
                    <a:cubicBezTo>
                      <a:pt x="2" y="0"/>
                      <a:pt x="2"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0" name="Freeform 2710">
                <a:extLst>
                  <a:ext uri="{FF2B5EF4-FFF2-40B4-BE49-F238E27FC236}">
                    <a16:creationId xmlns:a16="http://schemas.microsoft.com/office/drawing/2014/main" id="{CEE90D74-1371-4325-A070-30784388608B}"/>
                  </a:ext>
                </a:extLst>
              </p:cNvPr>
              <p:cNvSpPr>
                <a:spLocks/>
              </p:cNvSpPr>
              <p:nvPr/>
            </p:nvSpPr>
            <p:spPr bwMode="auto">
              <a:xfrm>
                <a:off x="6129" y="2521"/>
                <a:ext cx="2" cy="4"/>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1" name="Freeform 2711">
                <a:extLst>
                  <a:ext uri="{FF2B5EF4-FFF2-40B4-BE49-F238E27FC236}">
                    <a16:creationId xmlns:a16="http://schemas.microsoft.com/office/drawing/2014/main" id="{DA8F1C33-D5C7-4ECC-B088-9049D1D55686}"/>
                  </a:ext>
                </a:extLst>
              </p:cNvPr>
              <p:cNvSpPr>
                <a:spLocks/>
              </p:cNvSpPr>
              <p:nvPr/>
            </p:nvSpPr>
            <p:spPr bwMode="auto">
              <a:xfrm>
                <a:off x="6131" y="2265"/>
                <a:ext cx="5" cy="5"/>
              </a:xfrm>
              <a:custGeom>
                <a:avLst/>
                <a:gdLst>
                  <a:gd name="T0" fmla="*/ 1 w 2"/>
                  <a:gd name="T1" fmla="*/ 2 h 2"/>
                  <a:gd name="T2" fmla="*/ 2 w 2"/>
                  <a:gd name="T3" fmla="*/ 1 h 2"/>
                  <a:gd name="T4" fmla="*/ 0 w 2"/>
                  <a:gd name="T5" fmla="*/ 0 h 2"/>
                  <a:gd name="T6" fmla="*/ 1 w 2"/>
                  <a:gd name="T7" fmla="*/ 2 h 2"/>
                </a:gdLst>
                <a:ahLst/>
                <a:cxnLst>
                  <a:cxn ang="0">
                    <a:pos x="T0" y="T1"/>
                  </a:cxn>
                  <a:cxn ang="0">
                    <a:pos x="T2" y="T3"/>
                  </a:cxn>
                  <a:cxn ang="0">
                    <a:pos x="T4" y="T5"/>
                  </a:cxn>
                  <a:cxn ang="0">
                    <a:pos x="T6" y="T7"/>
                  </a:cxn>
                </a:cxnLst>
                <a:rect l="0" t="0" r="r" b="b"/>
                <a:pathLst>
                  <a:path w="2" h="2">
                    <a:moveTo>
                      <a:pt x="1" y="2"/>
                    </a:moveTo>
                    <a:cubicBezTo>
                      <a:pt x="2" y="1"/>
                      <a:pt x="2" y="1"/>
                      <a:pt x="2" y="1"/>
                    </a:cubicBezTo>
                    <a:cubicBezTo>
                      <a:pt x="1" y="0"/>
                      <a:pt x="1" y="0"/>
                      <a:pt x="0" y="0"/>
                    </a:cubicBezTo>
                    <a:cubicBezTo>
                      <a:pt x="1" y="1"/>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2" name="Freeform 2712">
                <a:extLst>
                  <a:ext uri="{FF2B5EF4-FFF2-40B4-BE49-F238E27FC236}">
                    <a16:creationId xmlns:a16="http://schemas.microsoft.com/office/drawing/2014/main" id="{7E27CFF2-AAC8-4FA0-8B9C-8F4D0221BD7A}"/>
                  </a:ext>
                </a:extLst>
              </p:cNvPr>
              <p:cNvSpPr>
                <a:spLocks/>
              </p:cNvSpPr>
              <p:nvPr/>
            </p:nvSpPr>
            <p:spPr bwMode="auto">
              <a:xfrm>
                <a:off x="6448" y="2156"/>
                <a:ext cx="47" cy="83"/>
              </a:xfrm>
              <a:custGeom>
                <a:avLst/>
                <a:gdLst>
                  <a:gd name="T0" fmla="*/ 10 w 20"/>
                  <a:gd name="T1" fmla="*/ 2 h 35"/>
                  <a:gd name="T2" fmla="*/ 9 w 20"/>
                  <a:gd name="T3" fmla="*/ 4 h 35"/>
                  <a:gd name="T4" fmla="*/ 7 w 20"/>
                  <a:gd name="T5" fmla="*/ 6 h 35"/>
                  <a:gd name="T6" fmla="*/ 1 w 20"/>
                  <a:gd name="T7" fmla="*/ 16 h 35"/>
                  <a:gd name="T8" fmla="*/ 1 w 20"/>
                  <a:gd name="T9" fmla="*/ 22 h 35"/>
                  <a:gd name="T10" fmla="*/ 2 w 20"/>
                  <a:gd name="T11" fmla="*/ 26 h 35"/>
                  <a:gd name="T12" fmla="*/ 5 w 20"/>
                  <a:gd name="T13" fmla="*/ 31 h 35"/>
                  <a:gd name="T14" fmla="*/ 8 w 20"/>
                  <a:gd name="T15" fmla="*/ 35 h 35"/>
                  <a:gd name="T16" fmla="*/ 10 w 20"/>
                  <a:gd name="T17" fmla="*/ 28 h 35"/>
                  <a:gd name="T18" fmla="*/ 15 w 20"/>
                  <a:gd name="T19" fmla="*/ 19 h 35"/>
                  <a:gd name="T20" fmla="*/ 18 w 20"/>
                  <a:gd name="T21" fmla="*/ 9 h 35"/>
                  <a:gd name="T22" fmla="*/ 19 w 20"/>
                  <a:gd name="T23" fmla="*/ 5 h 35"/>
                  <a:gd name="T24" fmla="*/ 20 w 20"/>
                  <a:gd name="T25" fmla="*/ 2 h 35"/>
                  <a:gd name="T26" fmla="*/ 16 w 20"/>
                  <a:gd name="T27" fmla="*/ 0 h 35"/>
                  <a:gd name="T28" fmla="*/ 17 w 20"/>
                  <a:gd name="T29" fmla="*/ 1 h 35"/>
                  <a:gd name="T30" fmla="*/ 14 w 20"/>
                  <a:gd name="T31" fmla="*/ 4 h 35"/>
                  <a:gd name="T32" fmla="*/ 12 w 20"/>
                  <a:gd name="T33" fmla="*/ 1 h 35"/>
                  <a:gd name="T34" fmla="*/ 12 w 20"/>
                  <a:gd name="T35" fmla="*/ 1 h 35"/>
                  <a:gd name="T36" fmla="*/ 10 w 20"/>
                  <a:gd name="T3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5">
                    <a:moveTo>
                      <a:pt x="10" y="2"/>
                    </a:moveTo>
                    <a:cubicBezTo>
                      <a:pt x="9" y="3"/>
                      <a:pt x="9" y="4"/>
                      <a:pt x="9" y="4"/>
                    </a:cubicBezTo>
                    <a:cubicBezTo>
                      <a:pt x="8" y="5"/>
                      <a:pt x="7" y="6"/>
                      <a:pt x="7" y="6"/>
                    </a:cubicBezTo>
                    <a:cubicBezTo>
                      <a:pt x="5" y="9"/>
                      <a:pt x="3" y="13"/>
                      <a:pt x="1" y="16"/>
                    </a:cubicBezTo>
                    <a:cubicBezTo>
                      <a:pt x="1" y="18"/>
                      <a:pt x="1" y="20"/>
                      <a:pt x="1" y="22"/>
                    </a:cubicBezTo>
                    <a:cubicBezTo>
                      <a:pt x="0" y="23"/>
                      <a:pt x="1" y="25"/>
                      <a:pt x="2" y="26"/>
                    </a:cubicBezTo>
                    <a:cubicBezTo>
                      <a:pt x="3" y="28"/>
                      <a:pt x="4" y="29"/>
                      <a:pt x="5" y="31"/>
                    </a:cubicBezTo>
                    <a:cubicBezTo>
                      <a:pt x="6" y="33"/>
                      <a:pt x="6" y="35"/>
                      <a:pt x="8" y="35"/>
                    </a:cubicBezTo>
                    <a:cubicBezTo>
                      <a:pt x="9" y="32"/>
                      <a:pt x="9" y="30"/>
                      <a:pt x="10" y="28"/>
                    </a:cubicBezTo>
                    <a:cubicBezTo>
                      <a:pt x="12" y="25"/>
                      <a:pt x="13" y="22"/>
                      <a:pt x="15" y="19"/>
                    </a:cubicBezTo>
                    <a:cubicBezTo>
                      <a:pt x="16" y="16"/>
                      <a:pt x="17" y="13"/>
                      <a:pt x="18" y="9"/>
                    </a:cubicBezTo>
                    <a:cubicBezTo>
                      <a:pt x="18" y="8"/>
                      <a:pt x="18" y="7"/>
                      <a:pt x="19" y="5"/>
                    </a:cubicBezTo>
                    <a:cubicBezTo>
                      <a:pt x="19" y="4"/>
                      <a:pt x="19" y="2"/>
                      <a:pt x="20" y="2"/>
                    </a:cubicBezTo>
                    <a:cubicBezTo>
                      <a:pt x="19" y="1"/>
                      <a:pt x="18" y="0"/>
                      <a:pt x="16" y="0"/>
                    </a:cubicBezTo>
                    <a:cubicBezTo>
                      <a:pt x="17" y="0"/>
                      <a:pt x="17" y="1"/>
                      <a:pt x="17" y="1"/>
                    </a:cubicBezTo>
                    <a:cubicBezTo>
                      <a:pt x="17" y="3"/>
                      <a:pt x="16" y="4"/>
                      <a:pt x="14" y="4"/>
                    </a:cubicBezTo>
                    <a:cubicBezTo>
                      <a:pt x="13" y="4"/>
                      <a:pt x="12" y="3"/>
                      <a:pt x="12" y="1"/>
                    </a:cubicBezTo>
                    <a:cubicBezTo>
                      <a:pt x="12" y="1"/>
                      <a:pt x="12" y="1"/>
                      <a:pt x="12" y="1"/>
                    </a:cubicBezTo>
                    <a:cubicBezTo>
                      <a:pt x="11" y="1"/>
                      <a:pt x="10"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3" name="Freeform 2713">
                <a:extLst>
                  <a:ext uri="{FF2B5EF4-FFF2-40B4-BE49-F238E27FC236}">
                    <a16:creationId xmlns:a16="http://schemas.microsoft.com/office/drawing/2014/main" id="{2AAAD7CA-B36D-4FD8-A420-C5C6A2CA3D04}"/>
                  </a:ext>
                </a:extLst>
              </p:cNvPr>
              <p:cNvSpPr>
                <a:spLocks/>
              </p:cNvSpPr>
              <p:nvPr/>
            </p:nvSpPr>
            <p:spPr bwMode="auto">
              <a:xfrm>
                <a:off x="6483" y="215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4" name="Freeform 2714">
                <a:extLst>
                  <a:ext uri="{FF2B5EF4-FFF2-40B4-BE49-F238E27FC236}">
                    <a16:creationId xmlns:a16="http://schemas.microsoft.com/office/drawing/2014/main" id="{05F47277-1B33-49A1-AAAB-F163AE80EF9E}"/>
                  </a:ext>
                </a:extLst>
              </p:cNvPr>
              <p:cNvSpPr>
                <a:spLocks/>
              </p:cNvSpPr>
              <p:nvPr/>
            </p:nvSpPr>
            <p:spPr bwMode="auto">
              <a:xfrm>
                <a:off x="6405" y="2173"/>
                <a:ext cx="7" cy="5"/>
              </a:xfrm>
              <a:custGeom>
                <a:avLst/>
                <a:gdLst>
                  <a:gd name="T0" fmla="*/ 2 w 3"/>
                  <a:gd name="T1" fmla="*/ 0 h 2"/>
                  <a:gd name="T2" fmla="*/ 0 w 3"/>
                  <a:gd name="T3" fmla="*/ 1 h 2"/>
                  <a:gd name="T4" fmla="*/ 2 w 3"/>
                  <a:gd name="T5" fmla="*/ 0 h 2"/>
                </a:gdLst>
                <a:ahLst/>
                <a:cxnLst>
                  <a:cxn ang="0">
                    <a:pos x="T0" y="T1"/>
                  </a:cxn>
                  <a:cxn ang="0">
                    <a:pos x="T2" y="T3"/>
                  </a:cxn>
                  <a:cxn ang="0">
                    <a:pos x="T4" y="T5"/>
                  </a:cxn>
                </a:cxnLst>
                <a:rect l="0" t="0" r="r" b="b"/>
                <a:pathLst>
                  <a:path w="3" h="2">
                    <a:moveTo>
                      <a:pt x="2" y="0"/>
                    </a:moveTo>
                    <a:cubicBezTo>
                      <a:pt x="1" y="1"/>
                      <a:pt x="0" y="0"/>
                      <a:pt x="0" y="1"/>
                    </a:cubicBezTo>
                    <a:cubicBezTo>
                      <a:pt x="1" y="1"/>
                      <a:pt x="3"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5" name="Freeform 2715">
                <a:extLst>
                  <a:ext uri="{FF2B5EF4-FFF2-40B4-BE49-F238E27FC236}">
                    <a16:creationId xmlns:a16="http://schemas.microsoft.com/office/drawing/2014/main" id="{6040E445-43B2-4620-9AC8-8550A5AE7AB3}"/>
                  </a:ext>
                </a:extLst>
              </p:cNvPr>
              <p:cNvSpPr>
                <a:spLocks/>
              </p:cNvSpPr>
              <p:nvPr/>
            </p:nvSpPr>
            <p:spPr bwMode="auto">
              <a:xfrm>
                <a:off x="6436" y="2197"/>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6" name="Freeform 2716">
                <a:extLst>
                  <a:ext uri="{FF2B5EF4-FFF2-40B4-BE49-F238E27FC236}">
                    <a16:creationId xmlns:a16="http://schemas.microsoft.com/office/drawing/2014/main" id="{499B2D10-B5DA-4852-8938-F1A19DBFEDD2}"/>
                  </a:ext>
                </a:extLst>
              </p:cNvPr>
              <p:cNvSpPr>
                <a:spLocks/>
              </p:cNvSpPr>
              <p:nvPr/>
            </p:nvSpPr>
            <p:spPr bwMode="auto">
              <a:xfrm>
                <a:off x="6599" y="1818"/>
                <a:ext cx="5" cy="7"/>
              </a:xfrm>
              <a:custGeom>
                <a:avLst/>
                <a:gdLst>
                  <a:gd name="T0" fmla="*/ 2 w 2"/>
                  <a:gd name="T1" fmla="*/ 2 h 3"/>
                  <a:gd name="T2" fmla="*/ 1 w 2"/>
                  <a:gd name="T3" fmla="*/ 0 h 3"/>
                  <a:gd name="T4" fmla="*/ 2 w 2"/>
                  <a:gd name="T5" fmla="*/ 2 h 3"/>
                </a:gdLst>
                <a:ahLst/>
                <a:cxnLst>
                  <a:cxn ang="0">
                    <a:pos x="T0" y="T1"/>
                  </a:cxn>
                  <a:cxn ang="0">
                    <a:pos x="T2" y="T3"/>
                  </a:cxn>
                  <a:cxn ang="0">
                    <a:pos x="T4" y="T5"/>
                  </a:cxn>
                </a:cxnLst>
                <a:rect l="0" t="0" r="r" b="b"/>
                <a:pathLst>
                  <a:path w="2" h="3">
                    <a:moveTo>
                      <a:pt x="2" y="2"/>
                    </a:moveTo>
                    <a:cubicBezTo>
                      <a:pt x="2" y="2"/>
                      <a:pt x="2" y="1"/>
                      <a:pt x="1" y="0"/>
                    </a:cubicBezTo>
                    <a:cubicBezTo>
                      <a:pt x="0" y="1"/>
                      <a:pt x="0"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7" name="Freeform 2717">
                <a:extLst>
                  <a:ext uri="{FF2B5EF4-FFF2-40B4-BE49-F238E27FC236}">
                    <a16:creationId xmlns:a16="http://schemas.microsoft.com/office/drawing/2014/main" id="{CFB578A6-0515-40A0-9B62-7120FFB80411}"/>
                  </a:ext>
                </a:extLst>
              </p:cNvPr>
              <p:cNvSpPr>
                <a:spLocks/>
              </p:cNvSpPr>
              <p:nvPr/>
            </p:nvSpPr>
            <p:spPr bwMode="auto">
              <a:xfrm>
                <a:off x="6171" y="2284"/>
                <a:ext cx="59" cy="50"/>
              </a:xfrm>
              <a:custGeom>
                <a:avLst/>
                <a:gdLst>
                  <a:gd name="T0" fmla="*/ 1 w 25"/>
                  <a:gd name="T1" fmla="*/ 17 h 21"/>
                  <a:gd name="T2" fmla="*/ 8 w 25"/>
                  <a:gd name="T3" fmla="*/ 20 h 21"/>
                  <a:gd name="T4" fmla="*/ 11 w 25"/>
                  <a:gd name="T5" fmla="*/ 20 h 21"/>
                  <a:gd name="T6" fmla="*/ 12 w 25"/>
                  <a:gd name="T7" fmla="*/ 19 h 21"/>
                  <a:gd name="T8" fmla="*/ 14 w 25"/>
                  <a:gd name="T9" fmla="*/ 18 h 21"/>
                  <a:gd name="T10" fmla="*/ 16 w 25"/>
                  <a:gd name="T11" fmla="*/ 17 h 21"/>
                  <a:gd name="T12" fmla="*/ 16 w 25"/>
                  <a:gd name="T13" fmla="*/ 16 h 21"/>
                  <a:gd name="T14" fmla="*/ 19 w 25"/>
                  <a:gd name="T15" fmla="*/ 16 h 21"/>
                  <a:gd name="T16" fmla="*/ 19 w 25"/>
                  <a:gd name="T17" fmla="*/ 14 h 21"/>
                  <a:gd name="T18" fmla="*/ 20 w 25"/>
                  <a:gd name="T19" fmla="*/ 14 h 21"/>
                  <a:gd name="T20" fmla="*/ 21 w 25"/>
                  <a:gd name="T21" fmla="*/ 10 h 21"/>
                  <a:gd name="T22" fmla="*/ 23 w 25"/>
                  <a:gd name="T23" fmla="*/ 5 h 21"/>
                  <a:gd name="T24" fmla="*/ 23 w 25"/>
                  <a:gd name="T25" fmla="*/ 6 h 21"/>
                  <a:gd name="T26" fmla="*/ 25 w 25"/>
                  <a:gd name="T27" fmla="*/ 5 h 21"/>
                  <a:gd name="T28" fmla="*/ 24 w 25"/>
                  <a:gd name="T29" fmla="*/ 2 h 21"/>
                  <a:gd name="T30" fmla="*/ 21 w 25"/>
                  <a:gd name="T31" fmla="*/ 0 h 21"/>
                  <a:gd name="T32" fmla="*/ 18 w 25"/>
                  <a:gd name="T33" fmla="*/ 1 h 21"/>
                  <a:gd name="T34" fmla="*/ 16 w 25"/>
                  <a:gd name="T35" fmla="*/ 1 h 21"/>
                  <a:gd name="T36" fmla="*/ 13 w 25"/>
                  <a:gd name="T37" fmla="*/ 2 h 21"/>
                  <a:gd name="T38" fmla="*/ 12 w 25"/>
                  <a:gd name="T39" fmla="*/ 2 h 21"/>
                  <a:gd name="T40" fmla="*/ 12 w 25"/>
                  <a:gd name="T41" fmla="*/ 1 h 21"/>
                  <a:gd name="T42" fmla="*/ 10 w 25"/>
                  <a:gd name="T43" fmla="*/ 2 h 21"/>
                  <a:gd name="T44" fmla="*/ 9 w 25"/>
                  <a:gd name="T45" fmla="*/ 3 h 21"/>
                  <a:gd name="T46" fmla="*/ 8 w 25"/>
                  <a:gd name="T47" fmla="*/ 3 h 21"/>
                  <a:gd name="T48" fmla="*/ 8 w 25"/>
                  <a:gd name="T49" fmla="*/ 3 h 21"/>
                  <a:gd name="T50" fmla="*/ 7 w 25"/>
                  <a:gd name="T51" fmla="*/ 2 h 21"/>
                  <a:gd name="T52" fmla="*/ 7 w 25"/>
                  <a:gd name="T53" fmla="*/ 4 h 21"/>
                  <a:gd name="T54" fmla="*/ 4 w 25"/>
                  <a:gd name="T55" fmla="*/ 7 h 21"/>
                  <a:gd name="T56" fmla="*/ 0 w 25"/>
                  <a:gd name="T57" fmla="*/ 10 h 21"/>
                  <a:gd name="T58" fmla="*/ 1 w 25"/>
                  <a:gd name="T59" fmla="*/ 12 h 21"/>
                  <a:gd name="T60" fmla="*/ 1 w 25"/>
                  <a:gd name="T61" fmla="*/ 16 h 21"/>
                  <a:gd name="T62" fmla="*/ 1 w 25"/>
                  <a:gd name="T6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21">
                    <a:moveTo>
                      <a:pt x="1" y="17"/>
                    </a:moveTo>
                    <a:cubicBezTo>
                      <a:pt x="2" y="18"/>
                      <a:pt x="6" y="20"/>
                      <a:pt x="8" y="20"/>
                    </a:cubicBezTo>
                    <a:cubicBezTo>
                      <a:pt x="9" y="20"/>
                      <a:pt x="10" y="21"/>
                      <a:pt x="11" y="20"/>
                    </a:cubicBezTo>
                    <a:cubicBezTo>
                      <a:pt x="12" y="20"/>
                      <a:pt x="12" y="19"/>
                      <a:pt x="12" y="19"/>
                    </a:cubicBezTo>
                    <a:cubicBezTo>
                      <a:pt x="12" y="18"/>
                      <a:pt x="14" y="18"/>
                      <a:pt x="14" y="18"/>
                    </a:cubicBezTo>
                    <a:cubicBezTo>
                      <a:pt x="15" y="18"/>
                      <a:pt x="15" y="17"/>
                      <a:pt x="16" y="17"/>
                    </a:cubicBezTo>
                    <a:cubicBezTo>
                      <a:pt x="16" y="17"/>
                      <a:pt x="16" y="17"/>
                      <a:pt x="16" y="16"/>
                    </a:cubicBezTo>
                    <a:cubicBezTo>
                      <a:pt x="17" y="16"/>
                      <a:pt x="19" y="15"/>
                      <a:pt x="19" y="16"/>
                    </a:cubicBezTo>
                    <a:cubicBezTo>
                      <a:pt x="19" y="15"/>
                      <a:pt x="19" y="15"/>
                      <a:pt x="19" y="14"/>
                    </a:cubicBezTo>
                    <a:cubicBezTo>
                      <a:pt x="19" y="14"/>
                      <a:pt x="20" y="14"/>
                      <a:pt x="20" y="14"/>
                    </a:cubicBezTo>
                    <a:cubicBezTo>
                      <a:pt x="20" y="13"/>
                      <a:pt x="20" y="11"/>
                      <a:pt x="21" y="10"/>
                    </a:cubicBezTo>
                    <a:cubicBezTo>
                      <a:pt x="21" y="8"/>
                      <a:pt x="22" y="7"/>
                      <a:pt x="23" y="5"/>
                    </a:cubicBezTo>
                    <a:cubicBezTo>
                      <a:pt x="23" y="6"/>
                      <a:pt x="23" y="6"/>
                      <a:pt x="23" y="6"/>
                    </a:cubicBezTo>
                    <a:cubicBezTo>
                      <a:pt x="24" y="6"/>
                      <a:pt x="24" y="5"/>
                      <a:pt x="25" y="5"/>
                    </a:cubicBezTo>
                    <a:cubicBezTo>
                      <a:pt x="25" y="4"/>
                      <a:pt x="25" y="3"/>
                      <a:pt x="24" y="2"/>
                    </a:cubicBezTo>
                    <a:cubicBezTo>
                      <a:pt x="24" y="1"/>
                      <a:pt x="22" y="1"/>
                      <a:pt x="21" y="0"/>
                    </a:cubicBezTo>
                    <a:cubicBezTo>
                      <a:pt x="20" y="2"/>
                      <a:pt x="22" y="3"/>
                      <a:pt x="18" y="1"/>
                    </a:cubicBezTo>
                    <a:cubicBezTo>
                      <a:pt x="17" y="1"/>
                      <a:pt x="16" y="0"/>
                      <a:pt x="16" y="1"/>
                    </a:cubicBezTo>
                    <a:cubicBezTo>
                      <a:pt x="15" y="2"/>
                      <a:pt x="14" y="2"/>
                      <a:pt x="13" y="2"/>
                    </a:cubicBezTo>
                    <a:cubicBezTo>
                      <a:pt x="13" y="2"/>
                      <a:pt x="13" y="1"/>
                      <a:pt x="12" y="2"/>
                    </a:cubicBezTo>
                    <a:cubicBezTo>
                      <a:pt x="12" y="2"/>
                      <a:pt x="12" y="1"/>
                      <a:pt x="12" y="1"/>
                    </a:cubicBezTo>
                    <a:cubicBezTo>
                      <a:pt x="11" y="1"/>
                      <a:pt x="11" y="2"/>
                      <a:pt x="10" y="2"/>
                    </a:cubicBezTo>
                    <a:cubicBezTo>
                      <a:pt x="10" y="2"/>
                      <a:pt x="10" y="3"/>
                      <a:pt x="9" y="3"/>
                    </a:cubicBezTo>
                    <a:cubicBezTo>
                      <a:pt x="9" y="3"/>
                      <a:pt x="8" y="3"/>
                      <a:pt x="8" y="3"/>
                    </a:cubicBezTo>
                    <a:cubicBezTo>
                      <a:pt x="8" y="3"/>
                      <a:pt x="8" y="3"/>
                      <a:pt x="8" y="3"/>
                    </a:cubicBezTo>
                    <a:cubicBezTo>
                      <a:pt x="8" y="3"/>
                      <a:pt x="7" y="2"/>
                      <a:pt x="7" y="2"/>
                    </a:cubicBezTo>
                    <a:cubicBezTo>
                      <a:pt x="7" y="2"/>
                      <a:pt x="7" y="4"/>
                      <a:pt x="7" y="4"/>
                    </a:cubicBezTo>
                    <a:cubicBezTo>
                      <a:pt x="6" y="5"/>
                      <a:pt x="5" y="6"/>
                      <a:pt x="4" y="7"/>
                    </a:cubicBezTo>
                    <a:cubicBezTo>
                      <a:pt x="2" y="8"/>
                      <a:pt x="1" y="8"/>
                      <a:pt x="0" y="10"/>
                    </a:cubicBezTo>
                    <a:cubicBezTo>
                      <a:pt x="0" y="11"/>
                      <a:pt x="1" y="11"/>
                      <a:pt x="1" y="12"/>
                    </a:cubicBezTo>
                    <a:cubicBezTo>
                      <a:pt x="1" y="14"/>
                      <a:pt x="1" y="14"/>
                      <a:pt x="1" y="16"/>
                    </a:cubicBezTo>
                    <a:cubicBezTo>
                      <a:pt x="1" y="16"/>
                      <a:pt x="1" y="17"/>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8" name="Freeform 2718">
                <a:extLst>
                  <a:ext uri="{FF2B5EF4-FFF2-40B4-BE49-F238E27FC236}">
                    <a16:creationId xmlns:a16="http://schemas.microsoft.com/office/drawing/2014/main" id="{AEE30986-A7B3-4292-86D5-EB7F5BE21847}"/>
                  </a:ext>
                </a:extLst>
              </p:cNvPr>
              <p:cNvSpPr>
                <a:spLocks/>
              </p:cNvSpPr>
              <p:nvPr/>
            </p:nvSpPr>
            <p:spPr bwMode="auto">
              <a:xfrm>
                <a:off x="6211" y="2261"/>
                <a:ext cx="7" cy="2"/>
              </a:xfrm>
              <a:custGeom>
                <a:avLst/>
                <a:gdLst>
                  <a:gd name="T0" fmla="*/ 1 w 3"/>
                  <a:gd name="T1" fmla="*/ 1 h 1"/>
                  <a:gd name="T2" fmla="*/ 3 w 3"/>
                  <a:gd name="T3" fmla="*/ 1 h 1"/>
                  <a:gd name="T4" fmla="*/ 2 w 3"/>
                  <a:gd name="T5" fmla="*/ 0 h 1"/>
                  <a:gd name="T6" fmla="*/ 0 w 3"/>
                  <a:gd name="T7" fmla="*/ 1 h 1"/>
                  <a:gd name="T8" fmla="*/ 1 w 3"/>
                  <a:gd name="T9" fmla="*/ 1 h 1"/>
                </a:gdLst>
                <a:ahLst/>
                <a:cxnLst>
                  <a:cxn ang="0">
                    <a:pos x="T0" y="T1"/>
                  </a:cxn>
                  <a:cxn ang="0">
                    <a:pos x="T2" y="T3"/>
                  </a:cxn>
                  <a:cxn ang="0">
                    <a:pos x="T4" y="T5"/>
                  </a:cxn>
                  <a:cxn ang="0">
                    <a:pos x="T6" y="T7"/>
                  </a:cxn>
                  <a:cxn ang="0">
                    <a:pos x="T8" y="T9"/>
                  </a:cxn>
                </a:cxnLst>
                <a:rect l="0" t="0" r="r" b="b"/>
                <a:pathLst>
                  <a:path w="3" h="1">
                    <a:moveTo>
                      <a:pt x="1" y="1"/>
                    </a:moveTo>
                    <a:cubicBezTo>
                      <a:pt x="2" y="1"/>
                      <a:pt x="2" y="1"/>
                      <a:pt x="3" y="1"/>
                    </a:cubicBezTo>
                    <a:cubicBezTo>
                      <a:pt x="3" y="1"/>
                      <a:pt x="2" y="0"/>
                      <a:pt x="2" y="0"/>
                    </a:cubicBezTo>
                    <a:cubicBezTo>
                      <a:pt x="1" y="0"/>
                      <a:pt x="1" y="1"/>
                      <a:pt x="0" y="1"/>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9" name="Freeform 2719">
                <a:extLst>
                  <a:ext uri="{FF2B5EF4-FFF2-40B4-BE49-F238E27FC236}">
                    <a16:creationId xmlns:a16="http://schemas.microsoft.com/office/drawing/2014/main" id="{4707CB84-A05D-4F26-8C85-53A8768A5DEA}"/>
                  </a:ext>
                </a:extLst>
              </p:cNvPr>
              <p:cNvSpPr>
                <a:spLocks/>
              </p:cNvSpPr>
              <p:nvPr/>
            </p:nvSpPr>
            <p:spPr bwMode="auto">
              <a:xfrm>
                <a:off x="6400" y="2173"/>
                <a:ext cx="5" cy="5"/>
              </a:xfrm>
              <a:custGeom>
                <a:avLst/>
                <a:gdLst>
                  <a:gd name="T0" fmla="*/ 0 w 2"/>
                  <a:gd name="T1" fmla="*/ 0 h 2"/>
                  <a:gd name="T2" fmla="*/ 0 w 2"/>
                  <a:gd name="T3" fmla="*/ 0 h 2"/>
                </a:gdLst>
                <a:ahLst/>
                <a:cxnLst>
                  <a:cxn ang="0">
                    <a:pos x="T0" y="T1"/>
                  </a:cxn>
                  <a:cxn ang="0">
                    <a:pos x="T2" y="T3"/>
                  </a:cxn>
                </a:cxnLst>
                <a:rect l="0" t="0" r="r" b="b"/>
                <a:pathLst>
                  <a:path w="2" h="2">
                    <a:moveTo>
                      <a:pt x="0" y="0"/>
                    </a:moveTo>
                    <a:cubicBezTo>
                      <a:pt x="0" y="2"/>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0" name="Freeform 2720">
                <a:extLst>
                  <a:ext uri="{FF2B5EF4-FFF2-40B4-BE49-F238E27FC236}">
                    <a16:creationId xmlns:a16="http://schemas.microsoft.com/office/drawing/2014/main" id="{E000AC44-5507-4E47-8205-2A8F5A0960AB}"/>
                  </a:ext>
                </a:extLst>
              </p:cNvPr>
              <p:cNvSpPr>
                <a:spLocks/>
              </p:cNvSpPr>
              <p:nvPr/>
            </p:nvSpPr>
            <p:spPr bwMode="auto">
              <a:xfrm>
                <a:off x="6441" y="2145"/>
                <a:ext cx="2" cy="4"/>
              </a:xfrm>
              <a:custGeom>
                <a:avLst/>
                <a:gdLst>
                  <a:gd name="T0" fmla="*/ 0 w 1"/>
                  <a:gd name="T1" fmla="*/ 0 h 2"/>
                  <a:gd name="T2" fmla="*/ 0 w 1"/>
                  <a:gd name="T3" fmla="*/ 2 h 2"/>
                  <a:gd name="T4" fmla="*/ 1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0" y="2"/>
                      <a:pt x="1" y="2"/>
                    </a:cubicBezTo>
                    <a:cubicBezTo>
                      <a:pt x="1" y="1"/>
                      <a:pt x="1" y="0"/>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1" name="Freeform 2721">
                <a:extLst>
                  <a:ext uri="{FF2B5EF4-FFF2-40B4-BE49-F238E27FC236}">
                    <a16:creationId xmlns:a16="http://schemas.microsoft.com/office/drawing/2014/main" id="{F12F247C-9782-4BAD-B190-24473A95EEF0}"/>
                  </a:ext>
                </a:extLst>
              </p:cNvPr>
              <p:cNvSpPr>
                <a:spLocks/>
              </p:cNvSpPr>
              <p:nvPr/>
            </p:nvSpPr>
            <p:spPr bwMode="auto">
              <a:xfrm>
                <a:off x="6216" y="2258"/>
                <a:ext cx="2" cy="3"/>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0"/>
                    </a:cubicBezTo>
                    <a:cubicBezTo>
                      <a:pt x="0" y="0"/>
                      <a:pt x="1" y="0"/>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2" name="Freeform 2722">
                <a:extLst>
                  <a:ext uri="{FF2B5EF4-FFF2-40B4-BE49-F238E27FC236}">
                    <a16:creationId xmlns:a16="http://schemas.microsoft.com/office/drawing/2014/main" id="{7E5E2FE3-9CEA-4D89-92E1-CCBE71E3115F}"/>
                  </a:ext>
                </a:extLst>
              </p:cNvPr>
              <p:cNvSpPr>
                <a:spLocks/>
              </p:cNvSpPr>
              <p:nvPr/>
            </p:nvSpPr>
            <p:spPr bwMode="auto">
              <a:xfrm>
                <a:off x="5923" y="2580"/>
                <a:ext cx="5" cy="9"/>
              </a:xfrm>
              <a:custGeom>
                <a:avLst/>
                <a:gdLst>
                  <a:gd name="T0" fmla="*/ 1 w 2"/>
                  <a:gd name="T1" fmla="*/ 3 h 4"/>
                  <a:gd name="T2" fmla="*/ 0 w 2"/>
                  <a:gd name="T3" fmla="*/ 0 h 4"/>
                  <a:gd name="T4" fmla="*/ 0 w 2"/>
                  <a:gd name="T5" fmla="*/ 3 h 4"/>
                  <a:gd name="T6" fmla="*/ 0 w 2"/>
                  <a:gd name="T7" fmla="*/ 4 h 4"/>
                  <a:gd name="T8" fmla="*/ 1 w 2"/>
                  <a:gd name="T9" fmla="*/ 3 h 4"/>
                </a:gdLst>
                <a:ahLst/>
                <a:cxnLst>
                  <a:cxn ang="0">
                    <a:pos x="T0" y="T1"/>
                  </a:cxn>
                  <a:cxn ang="0">
                    <a:pos x="T2" y="T3"/>
                  </a:cxn>
                  <a:cxn ang="0">
                    <a:pos x="T4" y="T5"/>
                  </a:cxn>
                  <a:cxn ang="0">
                    <a:pos x="T6" y="T7"/>
                  </a:cxn>
                  <a:cxn ang="0">
                    <a:pos x="T8" y="T9"/>
                  </a:cxn>
                </a:cxnLst>
                <a:rect l="0" t="0" r="r" b="b"/>
                <a:pathLst>
                  <a:path w="2" h="4">
                    <a:moveTo>
                      <a:pt x="1" y="3"/>
                    </a:moveTo>
                    <a:cubicBezTo>
                      <a:pt x="2" y="2"/>
                      <a:pt x="1" y="0"/>
                      <a:pt x="0" y="0"/>
                    </a:cubicBezTo>
                    <a:cubicBezTo>
                      <a:pt x="0" y="1"/>
                      <a:pt x="0" y="2"/>
                      <a:pt x="0" y="3"/>
                    </a:cubicBezTo>
                    <a:cubicBezTo>
                      <a:pt x="0" y="3"/>
                      <a:pt x="0" y="4"/>
                      <a:pt x="0" y="4"/>
                    </a:cubicBezTo>
                    <a:cubicBezTo>
                      <a:pt x="0" y="4"/>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3" name="Freeform 2723">
                <a:extLst>
                  <a:ext uri="{FF2B5EF4-FFF2-40B4-BE49-F238E27FC236}">
                    <a16:creationId xmlns:a16="http://schemas.microsoft.com/office/drawing/2014/main" id="{D5959582-496D-4929-AC13-4E11CD763A70}"/>
                  </a:ext>
                </a:extLst>
              </p:cNvPr>
              <p:cNvSpPr>
                <a:spLocks/>
              </p:cNvSpPr>
              <p:nvPr/>
            </p:nvSpPr>
            <p:spPr bwMode="auto">
              <a:xfrm>
                <a:off x="5930" y="2580"/>
                <a:ext cx="0" cy="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4" name="Freeform 2724">
                <a:extLst>
                  <a:ext uri="{FF2B5EF4-FFF2-40B4-BE49-F238E27FC236}">
                    <a16:creationId xmlns:a16="http://schemas.microsoft.com/office/drawing/2014/main" id="{E6ADD4EC-1E37-47F7-A2C5-3D869A87D299}"/>
                  </a:ext>
                </a:extLst>
              </p:cNvPr>
              <p:cNvSpPr>
                <a:spLocks/>
              </p:cNvSpPr>
              <p:nvPr/>
            </p:nvSpPr>
            <p:spPr bwMode="auto">
              <a:xfrm>
                <a:off x="5968" y="2644"/>
                <a:ext cx="5" cy="5"/>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1" y="0"/>
                      <a:pt x="1" y="1"/>
                      <a:pt x="0" y="2"/>
                    </a:cubicBezTo>
                    <a:cubicBezTo>
                      <a:pt x="1" y="2"/>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5" name="Freeform 2725">
                <a:extLst>
                  <a:ext uri="{FF2B5EF4-FFF2-40B4-BE49-F238E27FC236}">
                    <a16:creationId xmlns:a16="http://schemas.microsoft.com/office/drawing/2014/main" id="{069315CE-C3BD-406D-880D-5773335D3C3D}"/>
                  </a:ext>
                </a:extLst>
              </p:cNvPr>
              <p:cNvSpPr>
                <a:spLocks/>
              </p:cNvSpPr>
              <p:nvPr/>
            </p:nvSpPr>
            <p:spPr bwMode="auto">
              <a:xfrm>
                <a:off x="6017" y="2483"/>
                <a:ext cx="5" cy="5"/>
              </a:xfrm>
              <a:custGeom>
                <a:avLst/>
                <a:gdLst>
                  <a:gd name="T0" fmla="*/ 1 w 2"/>
                  <a:gd name="T1" fmla="*/ 2 h 2"/>
                  <a:gd name="T2" fmla="*/ 2 w 2"/>
                  <a:gd name="T3" fmla="*/ 1 h 2"/>
                  <a:gd name="T4" fmla="*/ 0 w 2"/>
                  <a:gd name="T5" fmla="*/ 0 h 2"/>
                  <a:gd name="T6" fmla="*/ 1 w 2"/>
                  <a:gd name="T7" fmla="*/ 2 h 2"/>
                </a:gdLst>
                <a:ahLst/>
                <a:cxnLst>
                  <a:cxn ang="0">
                    <a:pos x="T0" y="T1"/>
                  </a:cxn>
                  <a:cxn ang="0">
                    <a:pos x="T2" y="T3"/>
                  </a:cxn>
                  <a:cxn ang="0">
                    <a:pos x="T4" y="T5"/>
                  </a:cxn>
                  <a:cxn ang="0">
                    <a:pos x="T6" y="T7"/>
                  </a:cxn>
                </a:cxnLst>
                <a:rect l="0" t="0" r="r" b="b"/>
                <a:pathLst>
                  <a:path w="2" h="2">
                    <a:moveTo>
                      <a:pt x="1" y="2"/>
                    </a:moveTo>
                    <a:cubicBezTo>
                      <a:pt x="1" y="1"/>
                      <a:pt x="2" y="1"/>
                      <a:pt x="2" y="1"/>
                    </a:cubicBezTo>
                    <a:cubicBezTo>
                      <a:pt x="2" y="1"/>
                      <a:pt x="1" y="0"/>
                      <a:pt x="0" y="0"/>
                    </a:cubicBezTo>
                    <a:cubicBezTo>
                      <a:pt x="1" y="0"/>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6" name="Freeform 2726">
                <a:extLst>
                  <a:ext uri="{FF2B5EF4-FFF2-40B4-BE49-F238E27FC236}">
                    <a16:creationId xmlns:a16="http://schemas.microsoft.com/office/drawing/2014/main" id="{64FC0AAC-2D60-4612-A60F-0E74EDE6439B}"/>
                  </a:ext>
                </a:extLst>
              </p:cNvPr>
              <p:cNvSpPr>
                <a:spLocks/>
              </p:cNvSpPr>
              <p:nvPr/>
            </p:nvSpPr>
            <p:spPr bwMode="auto">
              <a:xfrm>
                <a:off x="5939" y="2592"/>
                <a:ext cx="3" cy="4"/>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1"/>
                      <a:pt x="1"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7" name="Freeform 2727">
                <a:extLst>
                  <a:ext uri="{FF2B5EF4-FFF2-40B4-BE49-F238E27FC236}">
                    <a16:creationId xmlns:a16="http://schemas.microsoft.com/office/drawing/2014/main" id="{285EC4CE-DF92-437D-96EF-8885F0DECDC3}"/>
                  </a:ext>
                </a:extLst>
              </p:cNvPr>
              <p:cNvSpPr>
                <a:spLocks/>
              </p:cNvSpPr>
              <p:nvPr/>
            </p:nvSpPr>
            <p:spPr bwMode="auto">
              <a:xfrm>
                <a:off x="5963" y="2540"/>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8" name="Freeform 2728">
                <a:extLst>
                  <a:ext uri="{FF2B5EF4-FFF2-40B4-BE49-F238E27FC236}">
                    <a16:creationId xmlns:a16="http://schemas.microsoft.com/office/drawing/2014/main" id="{9E418AEF-6BF9-4A16-9D34-16E2DA422B21}"/>
                  </a:ext>
                </a:extLst>
              </p:cNvPr>
              <p:cNvSpPr>
                <a:spLocks/>
              </p:cNvSpPr>
              <p:nvPr/>
            </p:nvSpPr>
            <p:spPr bwMode="auto">
              <a:xfrm>
                <a:off x="5954" y="2615"/>
                <a:ext cx="2" cy="5"/>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1" y="0"/>
                    </a:cubicBezTo>
                    <a:cubicBezTo>
                      <a:pt x="0" y="1"/>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9" name="Freeform 2729">
                <a:extLst>
                  <a:ext uri="{FF2B5EF4-FFF2-40B4-BE49-F238E27FC236}">
                    <a16:creationId xmlns:a16="http://schemas.microsoft.com/office/drawing/2014/main" id="{4E075C8C-9178-4379-8B43-77357659A948}"/>
                  </a:ext>
                </a:extLst>
              </p:cNvPr>
              <p:cNvSpPr>
                <a:spLocks/>
              </p:cNvSpPr>
              <p:nvPr/>
            </p:nvSpPr>
            <p:spPr bwMode="auto">
              <a:xfrm>
                <a:off x="5930" y="25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0" name="Freeform 2730">
                <a:extLst>
                  <a:ext uri="{FF2B5EF4-FFF2-40B4-BE49-F238E27FC236}">
                    <a16:creationId xmlns:a16="http://schemas.microsoft.com/office/drawing/2014/main" id="{0493E47C-CF87-416B-AA74-726BEF300E31}"/>
                  </a:ext>
                </a:extLst>
              </p:cNvPr>
              <p:cNvSpPr>
                <a:spLocks/>
              </p:cNvSpPr>
              <p:nvPr/>
            </p:nvSpPr>
            <p:spPr bwMode="auto">
              <a:xfrm>
                <a:off x="5961" y="2544"/>
                <a:ext cx="4" cy="5"/>
              </a:xfrm>
              <a:custGeom>
                <a:avLst/>
                <a:gdLst>
                  <a:gd name="T0" fmla="*/ 1 w 2"/>
                  <a:gd name="T1" fmla="*/ 0 h 2"/>
                  <a:gd name="T2" fmla="*/ 1 w 2"/>
                  <a:gd name="T3" fmla="*/ 2 h 2"/>
                  <a:gd name="T4" fmla="*/ 2 w 2"/>
                  <a:gd name="T5" fmla="*/ 0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1" y="1"/>
                      <a:pt x="1" y="2"/>
                    </a:cubicBezTo>
                    <a:cubicBezTo>
                      <a:pt x="1" y="2"/>
                      <a:pt x="2" y="1"/>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1" name="Freeform 2731">
                <a:extLst>
                  <a:ext uri="{FF2B5EF4-FFF2-40B4-BE49-F238E27FC236}">
                    <a16:creationId xmlns:a16="http://schemas.microsoft.com/office/drawing/2014/main" id="{A3F96439-2FBF-409B-98C0-169C659DCB8B}"/>
                  </a:ext>
                </a:extLst>
              </p:cNvPr>
              <p:cNvSpPr>
                <a:spLocks/>
              </p:cNvSpPr>
              <p:nvPr/>
            </p:nvSpPr>
            <p:spPr bwMode="auto">
              <a:xfrm>
                <a:off x="6025" y="2492"/>
                <a:ext cx="2" cy="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0"/>
                      <a:pt x="0" y="0"/>
                    </a:cubicBezTo>
                    <a:cubicBezTo>
                      <a:pt x="0" y="1"/>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2" name="Freeform 2732">
                <a:extLst>
                  <a:ext uri="{FF2B5EF4-FFF2-40B4-BE49-F238E27FC236}">
                    <a16:creationId xmlns:a16="http://schemas.microsoft.com/office/drawing/2014/main" id="{08414A19-5667-4762-BFC8-1B3B58161572}"/>
                  </a:ext>
                </a:extLst>
              </p:cNvPr>
              <p:cNvSpPr>
                <a:spLocks/>
              </p:cNvSpPr>
              <p:nvPr/>
            </p:nvSpPr>
            <p:spPr bwMode="auto">
              <a:xfrm>
                <a:off x="5206" y="4054"/>
                <a:ext cx="48" cy="35"/>
              </a:xfrm>
              <a:custGeom>
                <a:avLst/>
                <a:gdLst>
                  <a:gd name="T0" fmla="*/ 18 w 20"/>
                  <a:gd name="T1" fmla="*/ 6 h 15"/>
                  <a:gd name="T2" fmla="*/ 16 w 20"/>
                  <a:gd name="T3" fmla="*/ 7 h 15"/>
                  <a:gd name="T4" fmla="*/ 15 w 20"/>
                  <a:gd name="T5" fmla="*/ 7 h 15"/>
                  <a:gd name="T6" fmla="*/ 12 w 20"/>
                  <a:gd name="T7" fmla="*/ 9 h 15"/>
                  <a:gd name="T8" fmla="*/ 10 w 20"/>
                  <a:gd name="T9" fmla="*/ 9 h 15"/>
                  <a:gd name="T10" fmla="*/ 10 w 20"/>
                  <a:gd name="T11" fmla="*/ 9 h 15"/>
                  <a:gd name="T12" fmla="*/ 8 w 20"/>
                  <a:gd name="T13" fmla="*/ 9 h 15"/>
                  <a:gd name="T14" fmla="*/ 8 w 20"/>
                  <a:gd name="T15" fmla="*/ 8 h 15"/>
                  <a:gd name="T16" fmla="*/ 8 w 20"/>
                  <a:gd name="T17" fmla="*/ 7 h 15"/>
                  <a:gd name="T18" fmla="*/ 7 w 20"/>
                  <a:gd name="T19" fmla="*/ 8 h 15"/>
                  <a:gd name="T20" fmla="*/ 10 w 20"/>
                  <a:gd name="T21" fmla="*/ 7 h 15"/>
                  <a:gd name="T22" fmla="*/ 10 w 20"/>
                  <a:gd name="T23" fmla="*/ 5 h 15"/>
                  <a:gd name="T24" fmla="*/ 9 w 20"/>
                  <a:gd name="T25" fmla="*/ 5 h 15"/>
                  <a:gd name="T26" fmla="*/ 10 w 20"/>
                  <a:gd name="T27" fmla="*/ 5 h 15"/>
                  <a:gd name="T28" fmla="*/ 9 w 20"/>
                  <a:gd name="T29" fmla="*/ 6 h 15"/>
                  <a:gd name="T30" fmla="*/ 8 w 20"/>
                  <a:gd name="T31" fmla="*/ 6 h 15"/>
                  <a:gd name="T32" fmla="*/ 6 w 20"/>
                  <a:gd name="T33" fmla="*/ 7 h 15"/>
                  <a:gd name="T34" fmla="*/ 4 w 20"/>
                  <a:gd name="T35" fmla="*/ 6 h 15"/>
                  <a:gd name="T36" fmla="*/ 4 w 20"/>
                  <a:gd name="T37" fmla="*/ 4 h 15"/>
                  <a:gd name="T38" fmla="*/ 5 w 20"/>
                  <a:gd name="T39" fmla="*/ 3 h 15"/>
                  <a:gd name="T40" fmla="*/ 5 w 20"/>
                  <a:gd name="T41" fmla="*/ 2 h 15"/>
                  <a:gd name="T42" fmla="*/ 3 w 20"/>
                  <a:gd name="T43" fmla="*/ 4 h 15"/>
                  <a:gd name="T44" fmla="*/ 5 w 20"/>
                  <a:gd name="T45" fmla="*/ 2 h 15"/>
                  <a:gd name="T46" fmla="*/ 4 w 20"/>
                  <a:gd name="T47" fmla="*/ 1 h 15"/>
                  <a:gd name="T48" fmla="*/ 3 w 20"/>
                  <a:gd name="T49" fmla="*/ 2 h 15"/>
                  <a:gd name="T50" fmla="*/ 2 w 20"/>
                  <a:gd name="T51" fmla="*/ 3 h 15"/>
                  <a:gd name="T52" fmla="*/ 2 w 20"/>
                  <a:gd name="T53" fmla="*/ 6 h 15"/>
                  <a:gd name="T54" fmla="*/ 2 w 20"/>
                  <a:gd name="T55" fmla="*/ 7 h 15"/>
                  <a:gd name="T56" fmla="*/ 2 w 20"/>
                  <a:gd name="T57" fmla="*/ 8 h 15"/>
                  <a:gd name="T58" fmla="*/ 1 w 20"/>
                  <a:gd name="T59" fmla="*/ 8 h 15"/>
                  <a:gd name="T60" fmla="*/ 2 w 20"/>
                  <a:gd name="T61" fmla="*/ 10 h 15"/>
                  <a:gd name="T62" fmla="*/ 2 w 20"/>
                  <a:gd name="T63" fmla="*/ 10 h 15"/>
                  <a:gd name="T64" fmla="*/ 2 w 20"/>
                  <a:gd name="T65" fmla="*/ 11 h 15"/>
                  <a:gd name="T66" fmla="*/ 2 w 20"/>
                  <a:gd name="T67" fmla="*/ 12 h 15"/>
                  <a:gd name="T68" fmla="*/ 2 w 20"/>
                  <a:gd name="T69" fmla="*/ 13 h 15"/>
                  <a:gd name="T70" fmla="*/ 1 w 20"/>
                  <a:gd name="T71" fmla="*/ 14 h 15"/>
                  <a:gd name="T72" fmla="*/ 5 w 20"/>
                  <a:gd name="T73" fmla="*/ 12 h 15"/>
                  <a:gd name="T74" fmla="*/ 8 w 20"/>
                  <a:gd name="T75" fmla="*/ 13 h 15"/>
                  <a:gd name="T76" fmla="*/ 10 w 20"/>
                  <a:gd name="T77" fmla="*/ 14 h 15"/>
                  <a:gd name="T78" fmla="*/ 11 w 20"/>
                  <a:gd name="T79" fmla="*/ 13 h 15"/>
                  <a:gd name="T80" fmla="*/ 10 w 20"/>
                  <a:gd name="T81" fmla="*/ 12 h 15"/>
                  <a:gd name="T82" fmla="*/ 12 w 20"/>
                  <a:gd name="T83" fmla="*/ 14 h 15"/>
                  <a:gd name="T84" fmla="*/ 13 w 20"/>
                  <a:gd name="T85" fmla="*/ 14 h 15"/>
                  <a:gd name="T86" fmla="*/ 17 w 20"/>
                  <a:gd name="T87" fmla="*/ 13 h 15"/>
                  <a:gd name="T88" fmla="*/ 15 w 20"/>
                  <a:gd name="T89" fmla="*/ 13 h 15"/>
                  <a:gd name="T90" fmla="*/ 12 w 20"/>
                  <a:gd name="T91" fmla="*/ 12 h 15"/>
                  <a:gd name="T92" fmla="*/ 11 w 20"/>
                  <a:gd name="T93" fmla="*/ 11 h 15"/>
                  <a:gd name="T94" fmla="*/ 13 w 20"/>
                  <a:gd name="T95" fmla="*/ 11 h 15"/>
                  <a:gd name="T96" fmla="*/ 12 w 20"/>
                  <a:gd name="T97" fmla="*/ 10 h 15"/>
                  <a:gd name="T98" fmla="*/ 14 w 20"/>
                  <a:gd name="T99" fmla="*/ 10 h 15"/>
                  <a:gd name="T100" fmla="*/ 16 w 20"/>
                  <a:gd name="T101" fmla="*/ 10 h 15"/>
                  <a:gd name="T102" fmla="*/ 17 w 20"/>
                  <a:gd name="T103" fmla="*/ 11 h 15"/>
                  <a:gd name="T104" fmla="*/ 19 w 20"/>
                  <a:gd name="T105" fmla="*/ 11 h 15"/>
                  <a:gd name="T106" fmla="*/ 18 w 20"/>
                  <a:gd name="T107" fmla="*/ 10 h 15"/>
                  <a:gd name="T108" fmla="*/ 20 w 20"/>
                  <a:gd name="T109" fmla="*/ 9 h 15"/>
                  <a:gd name="T110" fmla="*/ 18 w 20"/>
                  <a:gd name="T111"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 h="15">
                    <a:moveTo>
                      <a:pt x="18" y="6"/>
                    </a:moveTo>
                    <a:cubicBezTo>
                      <a:pt x="17" y="6"/>
                      <a:pt x="17" y="6"/>
                      <a:pt x="16" y="7"/>
                    </a:cubicBezTo>
                    <a:cubicBezTo>
                      <a:pt x="15" y="7"/>
                      <a:pt x="15" y="7"/>
                      <a:pt x="15" y="7"/>
                    </a:cubicBezTo>
                    <a:cubicBezTo>
                      <a:pt x="13" y="7"/>
                      <a:pt x="13" y="8"/>
                      <a:pt x="12" y="9"/>
                    </a:cubicBezTo>
                    <a:cubicBezTo>
                      <a:pt x="12" y="9"/>
                      <a:pt x="10" y="9"/>
                      <a:pt x="10" y="9"/>
                    </a:cubicBezTo>
                    <a:cubicBezTo>
                      <a:pt x="10" y="9"/>
                      <a:pt x="10" y="9"/>
                      <a:pt x="10" y="9"/>
                    </a:cubicBezTo>
                    <a:cubicBezTo>
                      <a:pt x="9" y="9"/>
                      <a:pt x="9" y="9"/>
                      <a:pt x="8" y="9"/>
                    </a:cubicBezTo>
                    <a:cubicBezTo>
                      <a:pt x="9" y="8"/>
                      <a:pt x="8" y="8"/>
                      <a:pt x="8" y="8"/>
                    </a:cubicBezTo>
                    <a:cubicBezTo>
                      <a:pt x="8" y="8"/>
                      <a:pt x="8" y="7"/>
                      <a:pt x="8" y="7"/>
                    </a:cubicBezTo>
                    <a:cubicBezTo>
                      <a:pt x="8" y="7"/>
                      <a:pt x="7" y="7"/>
                      <a:pt x="7" y="8"/>
                    </a:cubicBezTo>
                    <a:cubicBezTo>
                      <a:pt x="8" y="6"/>
                      <a:pt x="9" y="8"/>
                      <a:pt x="10" y="7"/>
                    </a:cubicBezTo>
                    <a:cubicBezTo>
                      <a:pt x="11" y="6"/>
                      <a:pt x="10" y="6"/>
                      <a:pt x="10" y="5"/>
                    </a:cubicBezTo>
                    <a:cubicBezTo>
                      <a:pt x="10" y="5"/>
                      <a:pt x="10" y="5"/>
                      <a:pt x="9" y="5"/>
                    </a:cubicBezTo>
                    <a:cubicBezTo>
                      <a:pt x="9" y="5"/>
                      <a:pt x="10" y="5"/>
                      <a:pt x="10" y="5"/>
                    </a:cubicBezTo>
                    <a:cubicBezTo>
                      <a:pt x="9" y="5"/>
                      <a:pt x="9" y="6"/>
                      <a:pt x="9" y="6"/>
                    </a:cubicBezTo>
                    <a:cubicBezTo>
                      <a:pt x="8" y="6"/>
                      <a:pt x="8" y="6"/>
                      <a:pt x="8" y="6"/>
                    </a:cubicBezTo>
                    <a:cubicBezTo>
                      <a:pt x="7" y="6"/>
                      <a:pt x="7" y="7"/>
                      <a:pt x="6" y="7"/>
                    </a:cubicBezTo>
                    <a:cubicBezTo>
                      <a:pt x="5" y="7"/>
                      <a:pt x="5" y="4"/>
                      <a:pt x="4" y="6"/>
                    </a:cubicBezTo>
                    <a:cubicBezTo>
                      <a:pt x="3" y="5"/>
                      <a:pt x="6" y="5"/>
                      <a:pt x="4" y="4"/>
                    </a:cubicBezTo>
                    <a:cubicBezTo>
                      <a:pt x="5" y="4"/>
                      <a:pt x="5" y="3"/>
                      <a:pt x="5" y="3"/>
                    </a:cubicBezTo>
                    <a:cubicBezTo>
                      <a:pt x="6" y="3"/>
                      <a:pt x="5" y="3"/>
                      <a:pt x="5" y="2"/>
                    </a:cubicBezTo>
                    <a:cubicBezTo>
                      <a:pt x="4" y="2"/>
                      <a:pt x="3" y="3"/>
                      <a:pt x="3" y="4"/>
                    </a:cubicBezTo>
                    <a:cubicBezTo>
                      <a:pt x="3" y="3"/>
                      <a:pt x="4" y="2"/>
                      <a:pt x="5" y="2"/>
                    </a:cubicBezTo>
                    <a:cubicBezTo>
                      <a:pt x="2" y="3"/>
                      <a:pt x="5" y="1"/>
                      <a:pt x="4" y="1"/>
                    </a:cubicBezTo>
                    <a:cubicBezTo>
                      <a:pt x="3" y="0"/>
                      <a:pt x="3" y="2"/>
                      <a:pt x="3" y="2"/>
                    </a:cubicBezTo>
                    <a:cubicBezTo>
                      <a:pt x="2" y="3"/>
                      <a:pt x="2" y="3"/>
                      <a:pt x="2" y="3"/>
                    </a:cubicBezTo>
                    <a:cubicBezTo>
                      <a:pt x="2" y="4"/>
                      <a:pt x="2" y="5"/>
                      <a:pt x="2" y="6"/>
                    </a:cubicBezTo>
                    <a:cubicBezTo>
                      <a:pt x="0" y="5"/>
                      <a:pt x="2" y="7"/>
                      <a:pt x="2" y="7"/>
                    </a:cubicBezTo>
                    <a:cubicBezTo>
                      <a:pt x="2" y="8"/>
                      <a:pt x="2" y="7"/>
                      <a:pt x="2" y="8"/>
                    </a:cubicBezTo>
                    <a:cubicBezTo>
                      <a:pt x="2" y="8"/>
                      <a:pt x="1" y="8"/>
                      <a:pt x="1" y="8"/>
                    </a:cubicBezTo>
                    <a:cubicBezTo>
                      <a:pt x="1" y="9"/>
                      <a:pt x="2" y="9"/>
                      <a:pt x="2" y="10"/>
                    </a:cubicBezTo>
                    <a:cubicBezTo>
                      <a:pt x="2" y="9"/>
                      <a:pt x="2" y="10"/>
                      <a:pt x="2" y="10"/>
                    </a:cubicBezTo>
                    <a:cubicBezTo>
                      <a:pt x="2" y="11"/>
                      <a:pt x="2" y="11"/>
                      <a:pt x="2" y="11"/>
                    </a:cubicBezTo>
                    <a:cubicBezTo>
                      <a:pt x="2" y="11"/>
                      <a:pt x="2" y="12"/>
                      <a:pt x="2" y="12"/>
                    </a:cubicBezTo>
                    <a:cubicBezTo>
                      <a:pt x="2" y="12"/>
                      <a:pt x="2" y="13"/>
                      <a:pt x="2" y="13"/>
                    </a:cubicBezTo>
                    <a:cubicBezTo>
                      <a:pt x="2" y="13"/>
                      <a:pt x="1" y="13"/>
                      <a:pt x="1" y="14"/>
                    </a:cubicBezTo>
                    <a:cubicBezTo>
                      <a:pt x="2" y="15"/>
                      <a:pt x="4" y="13"/>
                      <a:pt x="5" y="12"/>
                    </a:cubicBezTo>
                    <a:cubicBezTo>
                      <a:pt x="6" y="12"/>
                      <a:pt x="7" y="13"/>
                      <a:pt x="8" y="13"/>
                    </a:cubicBezTo>
                    <a:cubicBezTo>
                      <a:pt x="8" y="14"/>
                      <a:pt x="9" y="14"/>
                      <a:pt x="10" y="14"/>
                    </a:cubicBezTo>
                    <a:cubicBezTo>
                      <a:pt x="10" y="14"/>
                      <a:pt x="11" y="14"/>
                      <a:pt x="11" y="13"/>
                    </a:cubicBezTo>
                    <a:cubicBezTo>
                      <a:pt x="11" y="13"/>
                      <a:pt x="11" y="12"/>
                      <a:pt x="10" y="12"/>
                    </a:cubicBezTo>
                    <a:cubicBezTo>
                      <a:pt x="11" y="12"/>
                      <a:pt x="11" y="13"/>
                      <a:pt x="12" y="14"/>
                    </a:cubicBezTo>
                    <a:cubicBezTo>
                      <a:pt x="13" y="14"/>
                      <a:pt x="13" y="14"/>
                      <a:pt x="13" y="14"/>
                    </a:cubicBezTo>
                    <a:cubicBezTo>
                      <a:pt x="15" y="15"/>
                      <a:pt x="17" y="15"/>
                      <a:pt x="17" y="13"/>
                    </a:cubicBezTo>
                    <a:cubicBezTo>
                      <a:pt x="17" y="13"/>
                      <a:pt x="15" y="13"/>
                      <a:pt x="15" y="13"/>
                    </a:cubicBezTo>
                    <a:cubicBezTo>
                      <a:pt x="14" y="13"/>
                      <a:pt x="13" y="13"/>
                      <a:pt x="12" y="12"/>
                    </a:cubicBezTo>
                    <a:cubicBezTo>
                      <a:pt x="11" y="12"/>
                      <a:pt x="11" y="11"/>
                      <a:pt x="11" y="11"/>
                    </a:cubicBezTo>
                    <a:cubicBezTo>
                      <a:pt x="12" y="11"/>
                      <a:pt x="12" y="11"/>
                      <a:pt x="13" y="11"/>
                    </a:cubicBezTo>
                    <a:cubicBezTo>
                      <a:pt x="13" y="11"/>
                      <a:pt x="12" y="10"/>
                      <a:pt x="12" y="10"/>
                    </a:cubicBezTo>
                    <a:cubicBezTo>
                      <a:pt x="13" y="10"/>
                      <a:pt x="14" y="10"/>
                      <a:pt x="14" y="10"/>
                    </a:cubicBezTo>
                    <a:cubicBezTo>
                      <a:pt x="15" y="10"/>
                      <a:pt x="15" y="10"/>
                      <a:pt x="16" y="10"/>
                    </a:cubicBezTo>
                    <a:cubicBezTo>
                      <a:pt x="17" y="10"/>
                      <a:pt x="17" y="10"/>
                      <a:pt x="17" y="11"/>
                    </a:cubicBezTo>
                    <a:cubicBezTo>
                      <a:pt x="17" y="11"/>
                      <a:pt x="18" y="11"/>
                      <a:pt x="19" y="11"/>
                    </a:cubicBezTo>
                    <a:cubicBezTo>
                      <a:pt x="18" y="11"/>
                      <a:pt x="18" y="10"/>
                      <a:pt x="18" y="10"/>
                    </a:cubicBezTo>
                    <a:cubicBezTo>
                      <a:pt x="19" y="10"/>
                      <a:pt x="19" y="9"/>
                      <a:pt x="20" y="9"/>
                    </a:cubicBezTo>
                    <a:cubicBezTo>
                      <a:pt x="20" y="7"/>
                      <a:pt x="19" y="6"/>
                      <a:pt x="1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3" name="Freeform 2733">
                <a:extLst>
                  <a:ext uri="{FF2B5EF4-FFF2-40B4-BE49-F238E27FC236}">
                    <a16:creationId xmlns:a16="http://schemas.microsoft.com/office/drawing/2014/main" id="{7622A32A-0170-4DC7-8269-9175F33AF4D3}"/>
                  </a:ext>
                </a:extLst>
              </p:cNvPr>
              <p:cNvSpPr>
                <a:spLocks/>
              </p:cNvSpPr>
              <p:nvPr/>
            </p:nvSpPr>
            <p:spPr bwMode="auto">
              <a:xfrm>
                <a:off x="5221" y="4056"/>
                <a:ext cx="7" cy="14"/>
              </a:xfrm>
              <a:custGeom>
                <a:avLst/>
                <a:gdLst>
                  <a:gd name="T0" fmla="*/ 0 w 3"/>
                  <a:gd name="T1" fmla="*/ 6 h 6"/>
                  <a:gd name="T2" fmla="*/ 0 w 3"/>
                  <a:gd name="T3" fmla="*/ 6 h 6"/>
                </a:gdLst>
                <a:ahLst/>
                <a:cxnLst>
                  <a:cxn ang="0">
                    <a:pos x="T0" y="T1"/>
                  </a:cxn>
                  <a:cxn ang="0">
                    <a:pos x="T2" y="T3"/>
                  </a:cxn>
                </a:cxnLst>
                <a:rect l="0" t="0" r="r" b="b"/>
                <a:pathLst>
                  <a:path w="3" h="6">
                    <a:moveTo>
                      <a:pt x="0" y="6"/>
                    </a:moveTo>
                    <a:cubicBezTo>
                      <a:pt x="1" y="6"/>
                      <a:pt x="3" y="0"/>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4" name="Freeform 2734">
                <a:extLst>
                  <a:ext uri="{FF2B5EF4-FFF2-40B4-BE49-F238E27FC236}">
                    <a16:creationId xmlns:a16="http://schemas.microsoft.com/office/drawing/2014/main" id="{3F10BFB7-474A-4851-BC9F-1480F502A26F}"/>
                  </a:ext>
                </a:extLst>
              </p:cNvPr>
              <p:cNvSpPr>
                <a:spLocks/>
              </p:cNvSpPr>
              <p:nvPr/>
            </p:nvSpPr>
            <p:spPr bwMode="auto">
              <a:xfrm>
                <a:off x="5474" y="2540"/>
                <a:ext cx="52" cy="94"/>
              </a:xfrm>
              <a:custGeom>
                <a:avLst/>
                <a:gdLst>
                  <a:gd name="T0" fmla="*/ 20 w 22"/>
                  <a:gd name="T1" fmla="*/ 22 h 40"/>
                  <a:gd name="T2" fmla="*/ 18 w 22"/>
                  <a:gd name="T3" fmla="*/ 16 h 40"/>
                  <a:gd name="T4" fmla="*/ 16 w 22"/>
                  <a:gd name="T5" fmla="*/ 14 h 40"/>
                  <a:gd name="T6" fmla="*/ 13 w 22"/>
                  <a:gd name="T7" fmla="*/ 9 h 40"/>
                  <a:gd name="T8" fmla="*/ 11 w 22"/>
                  <a:gd name="T9" fmla="*/ 7 h 40"/>
                  <a:gd name="T10" fmla="*/ 8 w 22"/>
                  <a:gd name="T11" fmla="*/ 3 h 40"/>
                  <a:gd name="T12" fmla="*/ 6 w 22"/>
                  <a:gd name="T13" fmla="*/ 0 h 40"/>
                  <a:gd name="T14" fmla="*/ 5 w 22"/>
                  <a:gd name="T15" fmla="*/ 0 h 40"/>
                  <a:gd name="T16" fmla="*/ 5 w 22"/>
                  <a:gd name="T17" fmla="*/ 1 h 40"/>
                  <a:gd name="T18" fmla="*/ 3 w 22"/>
                  <a:gd name="T19" fmla="*/ 0 h 40"/>
                  <a:gd name="T20" fmla="*/ 5 w 22"/>
                  <a:gd name="T21" fmla="*/ 2 h 40"/>
                  <a:gd name="T22" fmla="*/ 7 w 22"/>
                  <a:gd name="T23" fmla="*/ 3 h 40"/>
                  <a:gd name="T24" fmla="*/ 7 w 22"/>
                  <a:gd name="T25" fmla="*/ 3 h 40"/>
                  <a:gd name="T26" fmla="*/ 6 w 22"/>
                  <a:gd name="T27" fmla="*/ 3 h 40"/>
                  <a:gd name="T28" fmla="*/ 4 w 22"/>
                  <a:gd name="T29" fmla="*/ 2 h 40"/>
                  <a:gd name="T30" fmla="*/ 4 w 22"/>
                  <a:gd name="T31" fmla="*/ 2 h 40"/>
                  <a:gd name="T32" fmla="*/ 4 w 22"/>
                  <a:gd name="T33" fmla="*/ 6 h 40"/>
                  <a:gd name="T34" fmla="*/ 2 w 22"/>
                  <a:gd name="T35" fmla="*/ 9 h 40"/>
                  <a:gd name="T36" fmla="*/ 2 w 22"/>
                  <a:gd name="T37" fmla="*/ 13 h 40"/>
                  <a:gd name="T38" fmla="*/ 1 w 22"/>
                  <a:gd name="T39" fmla="*/ 16 h 40"/>
                  <a:gd name="T40" fmla="*/ 0 w 22"/>
                  <a:gd name="T41" fmla="*/ 18 h 40"/>
                  <a:gd name="T42" fmla="*/ 0 w 22"/>
                  <a:gd name="T43" fmla="*/ 18 h 40"/>
                  <a:gd name="T44" fmla="*/ 1 w 22"/>
                  <a:gd name="T45" fmla="*/ 21 h 40"/>
                  <a:gd name="T46" fmla="*/ 1 w 22"/>
                  <a:gd name="T47" fmla="*/ 26 h 40"/>
                  <a:gd name="T48" fmla="*/ 2 w 22"/>
                  <a:gd name="T49" fmla="*/ 29 h 40"/>
                  <a:gd name="T50" fmla="*/ 3 w 22"/>
                  <a:gd name="T51" fmla="*/ 35 h 40"/>
                  <a:gd name="T52" fmla="*/ 4 w 22"/>
                  <a:gd name="T53" fmla="*/ 37 h 40"/>
                  <a:gd name="T54" fmla="*/ 6 w 22"/>
                  <a:gd name="T55" fmla="*/ 39 h 40"/>
                  <a:gd name="T56" fmla="*/ 10 w 22"/>
                  <a:gd name="T57" fmla="*/ 40 h 40"/>
                  <a:gd name="T58" fmla="*/ 18 w 22"/>
                  <a:gd name="T59" fmla="*/ 35 h 40"/>
                  <a:gd name="T60" fmla="*/ 21 w 22"/>
                  <a:gd name="T61" fmla="*/ 32 h 40"/>
                  <a:gd name="T62" fmla="*/ 22 w 22"/>
                  <a:gd name="T63" fmla="*/ 27 h 40"/>
                  <a:gd name="T64" fmla="*/ 21 w 22"/>
                  <a:gd name="T6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40">
                    <a:moveTo>
                      <a:pt x="21" y="24"/>
                    </a:moveTo>
                    <a:cubicBezTo>
                      <a:pt x="21" y="24"/>
                      <a:pt x="20" y="23"/>
                      <a:pt x="20" y="22"/>
                    </a:cubicBezTo>
                    <a:cubicBezTo>
                      <a:pt x="19" y="21"/>
                      <a:pt x="19" y="20"/>
                      <a:pt x="19" y="19"/>
                    </a:cubicBezTo>
                    <a:cubicBezTo>
                      <a:pt x="18" y="18"/>
                      <a:pt x="18" y="17"/>
                      <a:pt x="18" y="16"/>
                    </a:cubicBezTo>
                    <a:cubicBezTo>
                      <a:pt x="18" y="16"/>
                      <a:pt x="18" y="16"/>
                      <a:pt x="18" y="16"/>
                    </a:cubicBezTo>
                    <a:cubicBezTo>
                      <a:pt x="17" y="15"/>
                      <a:pt x="17" y="14"/>
                      <a:pt x="16" y="14"/>
                    </a:cubicBezTo>
                    <a:cubicBezTo>
                      <a:pt x="16" y="13"/>
                      <a:pt x="15" y="12"/>
                      <a:pt x="14" y="11"/>
                    </a:cubicBezTo>
                    <a:cubicBezTo>
                      <a:pt x="14" y="11"/>
                      <a:pt x="13" y="10"/>
                      <a:pt x="13" y="9"/>
                    </a:cubicBezTo>
                    <a:cubicBezTo>
                      <a:pt x="13" y="9"/>
                      <a:pt x="13" y="9"/>
                      <a:pt x="13" y="9"/>
                    </a:cubicBezTo>
                    <a:cubicBezTo>
                      <a:pt x="12" y="8"/>
                      <a:pt x="12" y="7"/>
                      <a:pt x="11" y="7"/>
                    </a:cubicBezTo>
                    <a:cubicBezTo>
                      <a:pt x="11" y="6"/>
                      <a:pt x="10" y="5"/>
                      <a:pt x="10" y="4"/>
                    </a:cubicBezTo>
                    <a:cubicBezTo>
                      <a:pt x="9" y="4"/>
                      <a:pt x="9" y="3"/>
                      <a:pt x="8" y="3"/>
                    </a:cubicBezTo>
                    <a:cubicBezTo>
                      <a:pt x="8" y="3"/>
                      <a:pt x="8" y="2"/>
                      <a:pt x="8" y="2"/>
                    </a:cubicBezTo>
                    <a:cubicBezTo>
                      <a:pt x="7" y="1"/>
                      <a:pt x="6" y="1"/>
                      <a:pt x="6" y="0"/>
                    </a:cubicBezTo>
                    <a:cubicBezTo>
                      <a:pt x="5" y="0"/>
                      <a:pt x="5" y="0"/>
                      <a:pt x="5" y="0"/>
                    </a:cubicBezTo>
                    <a:cubicBezTo>
                      <a:pt x="5" y="0"/>
                      <a:pt x="5" y="0"/>
                      <a:pt x="5" y="0"/>
                    </a:cubicBezTo>
                    <a:cubicBezTo>
                      <a:pt x="6" y="1"/>
                      <a:pt x="7" y="2"/>
                      <a:pt x="8" y="2"/>
                    </a:cubicBezTo>
                    <a:cubicBezTo>
                      <a:pt x="7" y="2"/>
                      <a:pt x="6" y="1"/>
                      <a:pt x="5" y="1"/>
                    </a:cubicBezTo>
                    <a:cubicBezTo>
                      <a:pt x="5" y="1"/>
                      <a:pt x="5" y="0"/>
                      <a:pt x="5" y="0"/>
                    </a:cubicBezTo>
                    <a:cubicBezTo>
                      <a:pt x="5" y="0"/>
                      <a:pt x="4" y="0"/>
                      <a:pt x="3" y="0"/>
                    </a:cubicBezTo>
                    <a:cubicBezTo>
                      <a:pt x="3" y="0"/>
                      <a:pt x="4" y="1"/>
                      <a:pt x="4" y="2"/>
                    </a:cubicBezTo>
                    <a:cubicBezTo>
                      <a:pt x="5" y="2"/>
                      <a:pt x="5" y="2"/>
                      <a:pt x="5" y="2"/>
                    </a:cubicBezTo>
                    <a:cubicBezTo>
                      <a:pt x="6" y="2"/>
                      <a:pt x="6" y="3"/>
                      <a:pt x="7" y="3"/>
                    </a:cubicBezTo>
                    <a:cubicBezTo>
                      <a:pt x="7" y="3"/>
                      <a:pt x="7" y="3"/>
                      <a:pt x="7" y="3"/>
                    </a:cubicBezTo>
                    <a:cubicBezTo>
                      <a:pt x="8" y="3"/>
                      <a:pt x="8" y="3"/>
                      <a:pt x="9" y="4"/>
                    </a:cubicBezTo>
                    <a:cubicBezTo>
                      <a:pt x="8" y="3"/>
                      <a:pt x="8" y="3"/>
                      <a:pt x="7" y="3"/>
                    </a:cubicBezTo>
                    <a:cubicBezTo>
                      <a:pt x="7" y="3"/>
                      <a:pt x="7" y="3"/>
                      <a:pt x="7" y="3"/>
                    </a:cubicBezTo>
                    <a:cubicBezTo>
                      <a:pt x="6" y="3"/>
                      <a:pt x="6" y="4"/>
                      <a:pt x="6" y="3"/>
                    </a:cubicBezTo>
                    <a:cubicBezTo>
                      <a:pt x="6" y="3"/>
                      <a:pt x="6" y="3"/>
                      <a:pt x="6" y="3"/>
                    </a:cubicBezTo>
                    <a:cubicBezTo>
                      <a:pt x="5" y="3"/>
                      <a:pt x="4" y="2"/>
                      <a:pt x="4" y="2"/>
                    </a:cubicBezTo>
                    <a:cubicBezTo>
                      <a:pt x="4" y="2"/>
                      <a:pt x="4" y="2"/>
                      <a:pt x="4" y="2"/>
                    </a:cubicBezTo>
                    <a:cubicBezTo>
                      <a:pt x="4" y="2"/>
                      <a:pt x="4" y="2"/>
                      <a:pt x="4" y="2"/>
                    </a:cubicBezTo>
                    <a:cubicBezTo>
                      <a:pt x="4" y="2"/>
                      <a:pt x="5" y="3"/>
                      <a:pt x="5" y="3"/>
                    </a:cubicBezTo>
                    <a:cubicBezTo>
                      <a:pt x="3" y="4"/>
                      <a:pt x="4" y="4"/>
                      <a:pt x="4" y="6"/>
                    </a:cubicBezTo>
                    <a:cubicBezTo>
                      <a:pt x="4" y="6"/>
                      <a:pt x="4" y="6"/>
                      <a:pt x="4" y="6"/>
                    </a:cubicBezTo>
                    <a:cubicBezTo>
                      <a:pt x="4" y="7"/>
                      <a:pt x="2" y="8"/>
                      <a:pt x="2" y="9"/>
                    </a:cubicBezTo>
                    <a:cubicBezTo>
                      <a:pt x="2" y="10"/>
                      <a:pt x="2" y="11"/>
                      <a:pt x="2" y="12"/>
                    </a:cubicBezTo>
                    <a:cubicBezTo>
                      <a:pt x="2" y="12"/>
                      <a:pt x="2" y="12"/>
                      <a:pt x="2" y="13"/>
                    </a:cubicBezTo>
                    <a:cubicBezTo>
                      <a:pt x="2" y="13"/>
                      <a:pt x="2" y="14"/>
                      <a:pt x="2" y="15"/>
                    </a:cubicBezTo>
                    <a:cubicBezTo>
                      <a:pt x="2" y="15"/>
                      <a:pt x="2" y="16"/>
                      <a:pt x="1" y="16"/>
                    </a:cubicBezTo>
                    <a:cubicBezTo>
                      <a:pt x="1" y="17"/>
                      <a:pt x="1" y="18"/>
                      <a:pt x="1" y="19"/>
                    </a:cubicBezTo>
                    <a:cubicBezTo>
                      <a:pt x="0" y="18"/>
                      <a:pt x="0" y="18"/>
                      <a:pt x="0" y="18"/>
                    </a:cubicBezTo>
                    <a:cubicBezTo>
                      <a:pt x="0" y="17"/>
                      <a:pt x="0" y="16"/>
                      <a:pt x="0" y="16"/>
                    </a:cubicBezTo>
                    <a:cubicBezTo>
                      <a:pt x="0" y="16"/>
                      <a:pt x="0" y="17"/>
                      <a:pt x="0" y="18"/>
                    </a:cubicBezTo>
                    <a:cubicBezTo>
                      <a:pt x="0" y="18"/>
                      <a:pt x="0" y="18"/>
                      <a:pt x="0" y="18"/>
                    </a:cubicBezTo>
                    <a:cubicBezTo>
                      <a:pt x="0" y="19"/>
                      <a:pt x="1" y="20"/>
                      <a:pt x="1" y="21"/>
                    </a:cubicBezTo>
                    <a:cubicBezTo>
                      <a:pt x="1" y="22"/>
                      <a:pt x="1" y="23"/>
                      <a:pt x="1" y="25"/>
                    </a:cubicBezTo>
                    <a:cubicBezTo>
                      <a:pt x="1" y="25"/>
                      <a:pt x="1" y="25"/>
                      <a:pt x="1" y="26"/>
                    </a:cubicBezTo>
                    <a:cubicBezTo>
                      <a:pt x="1" y="26"/>
                      <a:pt x="2" y="27"/>
                      <a:pt x="2" y="28"/>
                    </a:cubicBezTo>
                    <a:cubicBezTo>
                      <a:pt x="2" y="28"/>
                      <a:pt x="2" y="29"/>
                      <a:pt x="2" y="29"/>
                    </a:cubicBezTo>
                    <a:cubicBezTo>
                      <a:pt x="2" y="30"/>
                      <a:pt x="2" y="31"/>
                      <a:pt x="2" y="31"/>
                    </a:cubicBezTo>
                    <a:cubicBezTo>
                      <a:pt x="2" y="33"/>
                      <a:pt x="3" y="34"/>
                      <a:pt x="3" y="35"/>
                    </a:cubicBezTo>
                    <a:cubicBezTo>
                      <a:pt x="3" y="35"/>
                      <a:pt x="3" y="36"/>
                      <a:pt x="4" y="36"/>
                    </a:cubicBezTo>
                    <a:cubicBezTo>
                      <a:pt x="4" y="37"/>
                      <a:pt x="4" y="37"/>
                      <a:pt x="4" y="37"/>
                    </a:cubicBezTo>
                    <a:cubicBezTo>
                      <a:pt x="4" y="38"/>
                      <a:pt x="5" y="39"/>
                      <a:pt x="5" y="39"/>
                    </a:cubicBezTo>
                    <a:cubicBezTo>
                      <a:pt x="6" y="39"/>
                      <a:pt x="6" y="39"/>
                      <a:pt x="6" y="39"/>
                    </a:cubicBezTo>
                    <a:cubicBezTo>
                      <a:pt x="7" y="39"/>
                      <a:pt x="8" y="40"/>
                      <a:pt x="9" y="40"/>
                    </a:cubicBezTo>
                    <a:cubicBezTo>
                      <a:pt x="9" y="40"/>
                      <a:pt x="9" y="40"/>
                      <a:pt x="10" y="40"/>
                    </a:cubicBezTo>
                    <a:cubicBezTo>
                      <a:pt x="11" y="39"/>
                      <a:pt x="13" y="38"/>
                      <a:pt x="13" y="38"/>
                    </a:cubicBezTo>
                    <a:cubicBezTo>
                      <a:pt x="15" y="37"/>
                      <a:pt x="17" y="36"/>
                      <a:pt x="18" y="35"/>
                    </a:cubicBezTo>
                    <a:cubicBezTo>
                      <a:pt x="19" y="35"/>
                      <a:pt x="20" y="34"/>
                      <a:pt x="20" y="34"/>
                    </a:cubicBezTo>
                    <a:cubicBezTo>
                      <a:pt x="21" y="34"/>
                      <a:pt x="21" y="33"/>
                      <a:pt x="21" y="32"/>
                    </a:cubicBezTo>
                    <a:cubicBezTo>
                      <a:pt x="22" y="31"/>
                      <a:pt x="22" y="30"/>
                      <a:pt x="22" y="30"/>
                    </a:cubicBezTo>
                    <a:cubicBezTo>
                      <a:pt x="22" y="29"/>
                      <a:pt x="22" y="28"/>
                      <a:pt x="22" y="27"/>
                    </a:cubicBezTo>
                    <a:cubicBezTo>
                      <a:pt x="22" y="26"/>
                      <a:pt x="22" y="24"/>
                      <a:pt x="22" y="24"/>
                    </a:cubicBezTo>
                    <a:cubicBezTo>
                      <a:pt x="22" y="24"/>
                      <a:pt x="21" y="24"/>
                      <a:pt x="2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5" name="Freeform 2735">
                <a:extLst>
                  <a:ext uri="{FF2B5EF4-FFF2-40B4-BE49-F238E27FC236}">
                    <a16:creationId xmlns:a16="http://schemas.microsoft.com/office/drawing/2014/main" id="{162C5F85-F64F-4D42-9DFE-B7447F7F674B}"/>
                  </a:ext>
                </a:extLst>
              </p:cNvPr>
              <p:cNvSpPr>
                <a:spLocks/>
              </p:cNvSpPr>
              <p:nvPr/>
            </p:nvSpPr>
            <p:spPr bwMode="auto">
              <a:xfrm>
                <a:off x="5523" y="2589"/>
                <a:ext cx="3" cy="7"/>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6" name="Freeform 2736">
                <a:extLst>
                  <a:ext uri="{FF2B5EF4-FFF2-40B4-BE49-F238E27FC236}">
                    <a16:creationId xmlns:a16="http://schemas.microsoft.com/office/drawing/2014/main" id="{4E08D492-FB7B-4F43-824C-084F720E86B9}"/>
                  </a:ext>
                </a:extLst>
              </p:cNvPr>
              <p:cNvSpPr>
                <a:spLocks/>
              </p:cNvSpPr>
              <p:nvPr/>
            </p:nvSpPr>
            <p:spPr bwMode="auto">
              <a:xfrm>
                <a:off x="5476" y="2556"/>
                <a:ext cx="2" cy="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0" y="1"/>
                      <a:pt x="0" y="0"/>
                    </a:cubicBezTo>
                    <a:cubicBezTo>
                      <a:pt x="0" y="1"/>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7" name="Freeform 2737">
                <a:extLst>
                  <a:ext uri="{FF2B5EF4-FFF2-40B4-BE49-F238E27FC236}">
                    <a16:creationId xmlns:a16="http://schemas.microsoft.com/office/drawing/2014/main" id="{353D7B9D-3ED3-4776-B875-85BF314A9759}"/>
                  </a:ext>
                </a:extLst>
              </p:cNvPr>
              <p:cNvSpPr>
                <a:spLocks/>
              </p:cNvSpPr>
              <p:nvPr/>
            </p:nvSpPr>
            <p:spPr bwMode="auto">
              <a:xfrm>
                <a:off x="6859" y="659"/>
                <a:ext cx="21" cy="4"/>
              </a:xfrm>
              <a:custGeom>
                <a:avLst/>
                <a:gdLst>
                  <a:gd name="T0" fmla="*/ 0 w 9"/>
                  <a:gd name="T1" fmla="*/ 0 h 2"/>
                  <a:gd name="T2" fmla="*/ 2 w 9"/>
                  <a:gd name="T3" fmla="*/ 1 h 2"/>
                  <a:gd name="T4" fmla="*/ 3 w 9"/>
                  <a:gd name="T5" fmla="*/ 1 h 2"/>
                  <a:gd name="T6" fmla="*/ 4 w 9"/>
                  <a:gd name="T7" fmla="*/ 1 h 2"/>
                  <a:gd name="T8" fmla="*/ 6 w 9"/>
                  <a:gd name="T9" fmla="*/ 2 h 2"/>
                  <a:gd name="T10" fmla="*/ 9 w 9"/>
                  <a:gd name="T11" fmla="*/ 0 h 2"/>
                  <a:gd name="T12" fmla="*/ 0 w 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0"/>
                    </a:moveTo>
                    <a:cubicBezTo>
                      <a:pt x="0" y="1"/>
                      <a:pt x="1" y="2"/>
                      <a:pt x="2" y="1"/>
                    </a:cubicBezTo>
                    <a:cubicBezTo>
                      <a:pt x="2" y="1"/>
                      <a:pt x="2" y="1"/>
                      <a:pt x="3" y="1"/>
                    </a:cubicBezTo>
                    <a:cubicBezTo>
                      <a:pt x="3" y="1"/>
                      <a:pt x="4" y="1"/>
                      <a:pt x="4" y="1"/>
                    </a:cubicBezTo>
                    <a:cubicBezTo>
                      <a:pt x="5" y="1"/>
                      <a:pt x="6" y="2"/>
                      <a:pt x="6" y="2"/>
                    </a:cubicBezTo>
                    <a:cubicBezTo>
                      <a:pt x="7" y="2"/>
                      <a:pt x="8" y="1"/>
                      <a:pt x="9" y="0"/>
                    </a:cubicBezTo>
                    <a:cubicBezTo>
                      <a:pt x="6" y="0"/>
                      <a:pt x="3"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8" name="Freeform 2738">
                <a:extLst>
                  <a:ext uri="{FF2B5EF4-FFF2-40B4-BE49-F238E27FC236}">
                    <a16:creationId xmlns:a16="http://schemas.microsoft.com/office/drawing/2014/main" id="{B17C61A3-B9F5-4F48-A43B-555FF2EA50C5}"/>
                  </a:ext>
                </a:extLst>
              </p:cNvPr>
              <p:cNvSpPr>
                <a:spLocks/>
              </p:cNvSpPr>
              <p:nvPr/>
            </p:nvSpPr>
            <p:spPr bwMode="auto">
              <a:xfrm>
                <a:off x="6852" y="439"/>
                <a:ext cx="208" cy="75"/>
              </a:xfrm>
              <a:custGeom>
                <a:avLst/>
                <a:gdLst>
                  <a:gd name="T0" fmla="*/ 11 w 88"/>
                  <a:gd name="T1" fmla="*/ 28 h 32"/>
                  <a:gd name="T2" fmla="*/ 20 w 88"/>
                  <a:gd name="T3" fmla="*/ 31 h 32"/>
                  <a:gd name="T4" fmla="*/ 27 w 88"/>
                  <a:gd name="T5" fmla="*/ 31 h 32"/>
                  <a:gd name="T6" fmla="*/ 29 w 88"/>
                  <a:gd name="T7" fmla="*/ 26 h 32"/>
                  <a:gd name="T8" fmla="*/ 33 w 88"/>
                  <a:gd name="T9" fmla="*/ 27 h 32"/>
                  <a:gd name="T10" fmla="*/ 40 w 88"/>
                  <a:gd name="T11" fmla="*/ 27 h 32"/>
                  <a:gd name="T12" fmla="*/ 52 w 88"/>
                  <a:gd name="T13" fmla="*/ 25 h 32"/>
                  <a:gd name="T14" fmla="*/ 57 w 88"/>
                  <a:gd name="T15" fmla="*/ 26 h 32"/>
                  <a:gd name="T16" fmla="*/ 58 w 88"/>
                  <a:gd name="T17" fmla="*/ 29 h 32"/>
                  <a:gd name="T18" fmla="*/ 62 w 88"/>
                  <a:gd name="T19" fmla="*/ 27 h 32"/>
                  <a:gd name="T20" fmla="*/ 70 w 88"/>
                  <a:gd name="T21" fmla="*/ 26 h 32"/>
                  <a:gd name="T22" fmla="*/ 56 w 88"/>
                  <a:gd name="T23" fmla="*/ 19 h 32"/>
                  <a:gd name="T24" fmla="*/ 55 w 88"/>
                  <a:gd name="T25" fmla="*/ 15 h 32"/>
                  <a:gd name="T26" fmla="*/ 54 w 88"/>
                  <a:gd name="T27" fmla="*/ 12 h 32"/>
                  <a:gd name="T28" fmla="*/ 55 w 88"/>
                  <a:gd name="T29" fmla="*/ 11 h 32"/>
                  <a:gd name="T30" fmla="*/ 63 w 88"/>
                  <a:gd name="T31" fmla="*/ 11 h 32"/>
                  <a:gd name="T32" fmla="*/ 60 w 88"/>
                  <a:gd name="T33" fmla="*/ 15 h 32"/>
                  <a:gd name="T34" fmla="*/ 60 w 88"/>
                  <a:gd name="T35" fmla="*/ 19 h 32"/>
                  <a:gd name="T36" fmla="*/ 62 w 88"/>
                  <a:gd name="T37" fmla="*/ 21 h 32"/>
                  <a:gd name="T38" fmla="*/ 66 w 88"/>
                  <a:gd name="T39" fmla="*/ 23 h 32"/>
                  <a:gd name="T40" fmla="*/ 75 w 88"/>
                  <a:gd name="T41" fmla="*/ 24 h 32"/>
                  <a:gd name="T42" fmla="*/ 80 w 88"/>
                  <a:gd name="T43" fmla="*/ 22 h 32"/>
                  <a:gd name="T44" fmla="*/ 82 w 88"/>
                  <a:gd name="T45" fmla="*/ 16 h 32"/>
                  <a:gd name="T46" fmla="*/ 88 w 88"/>
                  <a:gd name="T47" fmla="*/ 14 h 32"/>
                  <a:gd name="T48" fmla="*/ 70 w 88"/>
                  <a:gd name="T49" fmla="*/ 7 h 32"/>
                  <a:gd name="T50" fmla="*/ 51 w 88"/>
                  <a:gd name="T51" fmla="*/ 2 h 32"/>
                  <a:gd name="T52" fmla="*/ 48 w 88"/>
                  <a:gd name="T53" fmla="*/ 3 h 32"/>
                  <a:gd name="T54" fmla="*/ 43 w 88"/>
                  <a:gd name="T55" fmla="*/ 4 h 32"/>
                  <a:gd name="T56" fmla="*/ 42 w 88"/>
                  <a:gd name="T57" fmla="*/ 8 h 32"/>
                  <a:gd name="T58" fmla="*/ 42 w 88"/>
                  <a:gd name="T59" fmla="*/ 12 h 32"/>
                  <a:gd name="T60" fmla="*/ 37 w 88"/>
                  <a:gd name="T61" fmla="*/ 9 h 32"/>
                  <a:gd name="T62" fmla="*/ 30 w 88"/>
                  <a:gd name="T63" fmla="*/ 6 h 32"/>
                  <a:gd name="T64" fmla="*/ 17 w 88"/>
                  <a:gd name="T65" fmla="*/ 3 h 32"/>
                  <a:gd name="T66" fmla="*/ 14 w 88"/>
                  <a:gd name="T67" fmla="*/ 2 h 32"/>
                  <a:gd name="T68" fmla="*/ 12 w 88"/>
                  <a:gd name="T69" fmla="*/ 4 h 32"/>
                  <a:gd name="T70" fmla="*/ 7 w 88"/>
                  <a:gd name="T71" fmla="*/ 6 h 32"/>
                  <a:gd name="T72" fmla="*/ 5 w 88"/>
                  <a:gd name="T73" fmla="*/ 9 h 32"/>
                  <a:gd name="T74" fmla="*/ 4 w 88"/>
                  <a:gd name="T75" fmla="*/ 13 h 32"/>
                  <a:gd name="T76" fmla="*/ 5 w 88"/>
                  <a:gd name="T77" fmla="*/ 18 h 32"/>
                  <a:gd name="T78" fmla="*/ 3 w 88"/>
                  <a:gd name="T79"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32">
                    <a:moveTo>
                      <a:pt x="10" y="26"/>
                    </a:moveTo>
                    <a:cubicBezTo>
                      <a:pt x="11" y="27"/>
                      <a:pt x="11" y="27"/>
                      <a:pt x="11" y="28"/>
                    </a:cubicBezTo>
                    <a:cubicBezTo>
                      <a:pt x="12" y="29"/>
                      <a:pt x="13" y="29"/>
                      <a:pt x="14" y="29"/>
                    </a:cubicBezTo>
                    <a:cubicBezTo>
                      <a:pt x="16" y="30"/>
                      <a:pt x="18" y="30"/>
                      <a:pt x="20" y="31"/>
                    </a:cubicBezTo>
                    <a:cubicBezTo>
                      <a:pt x="21" y="31"/>
                      <a:pt x="22" y="32"/>
                      <a:pt x="23" y="32"/>
                    </a:cubicBezTo>
                    <a:cubicBezTo>
                      <a:pt x="25" y="32"/>
                      <a:pt x="26" y="32"/>
                      <a:pt x="27" y="31"/>
                    </a:cubicBezTo>
                    <a:cubicBezTo>
                      <a:pt x="28" y="30"/>
                      <a:pt x="28" y="28"/>
                      <a:pt x="29" y="28"/>
                    </a:cubicBezTo>
                    <a:cubicBezTo>
                      <a:pt x="27" y="28"/>
                      <a:pt x="28" y="26"/>
                      <a:pt x="29" y="26"/>
                    </a:cubicBezTo>
                    <a:cubicBezTo>
                      <a:pt x="29" y="25"/>
                      <a:pt x="31" y="26"/>
                      <a:pt x="31" y="26"/>
                    </a:cubicBezTo>
                    <a:cubicBezTo>
                      <a:pt x="31" y="26"/>
                      <a:pt x="32" y="27"/>
                      <a:pt x="33" y="27"/>
                    </a:cubicBezTo>
                    <a:cubicBezTo>
                      <a:pt x="33" y="28"/>
                      <a:pt x="33" y="28"/>
                      <a:pt x="34" y="29"/>
                    </a:cubicBezTo>
                    <a:cubicBezTo>
                      <a:pt x="36" y="29"/>
                      <a:pt x="38" y="28"/>
                      <a:pt x="40" y="27"/>
                    </a:cubicBezTo>
                    <a:cubicBezTo>
                      <a:pt x="42" y="27"/>
                      <a:pt x="44" y="27"/>
                      <a:pt x="46" y="27"/>
                    </a:cubicBezTo>
                    <a:cubicBezTo>
                      <a:pt x="48" y="26"/>
                      <a:pt x="50" y="26"/>
                      <a:pt x="52" y="25"/>
                    </a:cubicBezTo>
                    <a:cubicBezTo>
                      <a:pt x="53" y="25"/>
                      <a:pt x="54" y="25"/>
                      <a:pt x="55" y="25"/>
                    </a:cubicBezTo>
                    <a:cubicBezTo>
                      <a:pt x="56" y="25"/>
                      <a:pt x="56" y="26"/>
                      <a:pt x="57" y="26"/>
                    </a:cubicBezTo>
                    <a:cubicBezTo>
                      <a:pt x="56" y="26"/>
                      <a:pt x="53" y="25"/>
                      <a:pt x="53" y="27"/>
                    </a:cubicBezTo>
                    <a:cubicBezTo>
                      <a:pt x="54" y="28"/>
                      <a:pt x="57" y="29"/>
                      <a:pt x="58" y="29"/>
                    </a:cubicBezTo>
                    <a:cubicBezTo>
                      <a:pt x="59" y="29"/>
                      <a:pt x="59" y="29"/>
                      <a:pt x="60" y="28"/>
                    </a:cubicBezTo>
                    <a:cubicBezTo>
                      <a:pt x="61" y="28"/>
                      <a:pt x="60" y="27"/>
                      <a:pt x="62" y="27"/>
                    </a:cubicBezTo>
                    <a:cubicBezTo>
                      <a:pt x="63" y="28"/>
                      <a:pt x="65" y="27"/>
                      <a:pt x="66" y="27"/>
                    </a:cubicBezTo>
                    <a:cubicBezTo>
                      <a:pt x="68" y="27"/>
                      <a:pt x="69" y="27"/>
                      <a:pt x="70" y="26"/>
                    </a:cubicBezTo>
                    <a:cubicBezTo>
                      <a:pt x="68" y="25"/>
                      <a:pt x="64" y="24"/>
                      <a:pt x="61" y="24"/>
                    </a:cubicBezTo>
                    <a:cubicBezTo>
                      <a:pt x="59" y="23"/>
                      <a:pt x="58" y="20"/>
                      <a:pt x="56" y="19"/>
                    </a:cubicBezTo>
                    <a:cubicBezTo>
                      <a:pt x="56" y="18"/>
                      <a:pt x="55" y="18"/>
                      <a:pt x="55" y="17"/>
                    </a:cubicBezTo>
                    <a:cubicBezTo>
                      <a:pt x="55" y="17"/>
                      <a:pt x="55" y="16"/>
                      <a:pt x="55" y="15"/>
                    </a:cubicBezTo>
                    <a:cubicBezTo>
                      <a:pt x="55" y="15"/>
                      <a:pt x="54" y="15"/>
                      <a:pt x="54" y="14"/>
                    </a:cubicBezTo>
                    <a:cubicBezTo>
                      <a:pt x="54" y="13"/>
                      <a:pt x="55" y="13"/>
                      <a:pt x="54" y="12"/>
                    </a:cubicBezTo>
                    <a:cubicBezTo>
                      <a:pt x="55" y="12"/>
                      <a:pt x="55" y="12"/>
                      <a:pt x="55" y="12"/>
                    </a:cubicBezTo>
                    <a:cubicBezTo>
                      <a:pt x="55" y="12"/>
                      <a:pt x="55" y="12"/>
                      <a:pt x="55" y="11"/>
                    </a:cubicBezTo>
                    <a:cubicBezTo>
                      <a:pt x="55" y="12"/>
                      <a:pt x="59" y="12"/>
                      <a:pt x="57" y="10"/>
                    </a:cubicBezTo>
                    <a:cubicBezTo>
                      <a:pt x="59" y="10"/>
                      <a:pt x="62" y="9"/>
                      <a:pt x="63" y="11"/>
                    </a:cubicBezTo>
                    <a:cubicBezTo>
                      <a:pt x="64" y="13"/>
                      <a:pt x="63" y="13"/>
                      <a:pt x="62" y="13"/>
                    </a:cubicBezTo>
                    <a:cubicBezTo>
                      <a:pt x="61" y="14"/>
                      <a:pt x="60" y="14"/>
                      <a:pt x="60" y="15"/>
                    </a:cubicBezTo>
                    <a:cubicBezTo>
                      <a:pt x="59" y="16"/>
                      <a:pt x="58" y="16"/>
                      <a:pt x="58" y="17"/>
                    </a:cubicBezTo>
                    <a:cubicBezTo>
                      <a:pt x="59" y="18"/>
                      <a:pt x="60" y="18"/>
                      <a:pt x="60" y="19"/>
                    </a:cubicBezTo>
                    <a:cubicBezTo>
                      <a:pt x="60" y="19"/>
                      <a:pt x="60" y="20"/>
                      <a:pt x="61" y="20"/>
                    </a:cubicBezTo>
                    <a:cubicBezTo>
                      <a:pt x="61" y="21"/>
                      <a:pt x="62" y="21"/>
                      <a:pt x="62" y="21"/>
                    </a:cubicBezTo>
                    <a:cubicBezTo>
                      <a:pt x="63" y="22"/>
                      <a:pt x="62" y="22"/>
                      <a:pt x="63" y="22"/>
                    </a:cubicBezTo>
                    <a:cubicBezTo>
                      <a:pt x="64" y="23"/>
                      <a:pt x="65" y="23"/>
                      <a:pt x="66" y="23"/>
                    </a:cubicBezTo>
                    <a:cubicBezTo>
                      <a:pt x="68" y="24"/>
                      <a:pt x="71" y="23"/>
                      <a:pt x="72" y="24"/>
                    </a:cubicBezTo>
                    <a:cubicBezTo>
                      <a:pt x="73" y="25"/>
                      <a:pt x="74" y="24"/>
                      <a:pt x="75" y="24"/>
                    </a:cubicBezTo>
                    <a:cubicBezTo>
                      <a:pt x="76" y="24"/>
                      <a:pt x="77" y="24"/>
                      <a:pt x="78" y="24"/>
                    </a:cubicBezTo>
                    <a:cubicBezTo>
                      <a:pt x="79" y="23"/>
                      <a:pt x="80" y="22"/>
                      <a:pt x="80" y="22"/>
                    </a:cubicBezTo>
                    <a:cubicBezTo>
                      <a:pt x="81" y="21"/>
                      <a:pt x="81" y="20"/>
                      <a:pt x="82" y="20"/>
                    </a:cubicBezTo>
                    <a:cubicBezTo>
                      <a:pt x="84" y="19"/>
                      <a:pt x="80" y="17"/>
                      <a:pt x="82" y="16"/>
                    </a:cubicBezTo>
                    <a:cubicBezTo>
                      <a:pt x="82" y="16"/>
                      <a:pt x="84" y="15"/>
                      <a:pt x="85" y="15"/>
                    </a:cubicBezTo>
                    <a:cubicBezTo>
                      <a:pt x="86" y="14"/>
                      <a:pt x="87" y="14"/>
                      <a:pt x="88" y="14"/>
                    </a:cubicBezTo>
                    <a:cubicBezTo>
                      <a:pt x="84" y="12"/>
                      <a:pt x="80" y="11"/>
                      <a:pt x="76" y="9"/>
                    </a:cubicBezTo>
                    <a:cubicBezTo>
                      <a:pt x="74" y="8"/>
                      <a:pt x="72" y="8"/>
                      <a:pt x="70" y="7"/>
                    </a:cubicBezTo>
                    <a:cubicBezTo>
                      <a:pt x="64" y="6"/>
                      <a:pt x="59" y="5"/>
                      <a:pt x="53" y="3"/>
                    </a:cubicBezTo>
                    <a:cubicBezTo>
                      <a:pt x="52" y="3"/>
                      <a:pt x="52" y="3"/>
                      <a:pt x="51" y="2"/>
                    </a:cubicBezTo>
                    <a:cubicBezTo>
                      <a:pt x="50" y="2"/>
                      <a:pt x="48" y="2"/>
                      <a:pt x="47" y="1"/>
                    </a:cubicBezTo>
                    <a:cubicBezTo>
                      <a:pt x="47" y="1"/>
                      <a:pt x="48" y="2"/>
                      <a:pt x="48" y="3"/>
                    </a:cubicBezTo>
                    <a:cubicBezTo>
                      <a:pt x="49" y="4"/>
                      <a:pt x="50" y="4"/>
                      <a:pt x="47" y="4"/>
                    </a:cubicBezTo>
                    <a:cubicBezTo>
                      <a:pt x="46" y="4"/>
                      <a:pt x="44" y="4"/>
                      <a:pt x="43" y="4"/>
                    </a:cubicBezTo>
                    <a:cubicBezTo>
                      <a:pt x="42" y="5"/>
                      <a:pt x="42" y="4"/>
                      <a:pt x="42" y="5"/>
                    </a:cubicBezTo>
                    <a:cubicBezTo>
                      <a:pt x="42" y="6"/>
                      <a:pt x="42" y="7"/>
                      <a:pt x="42" y="8"/>
                    </a:cubicBezTo>
                    <a:cubicBezTo>
                      <a:pt x="42" y="10"/>
                      <a:pt x="42" y="10"/>
                      <a:pt x="43" y="11"/>
                    </a:cubicBezTo>
                    <a:cubicBezTo>
                      <a:pt x="44" y="11"/>
                      <a:pt x="43" y="12"/>
                      <a:pt x="42" y="12"/>
                    </a:cubicBezTo>
                    <a:cubicBezTo>
                      <a:pt x="41" y="12"/>
                      <a:pt x="40" y="12"/>
                      <a:pt x="39" y="11"/>
                    </a:cubicBezTo>
                    <a:cubicBezTo>
                      <a:pt x="38" y="9"/>
                      <a:pt x="38" y="9"/>
                      <a:pt x="37" y="9"/>
                    </a:cubicBezTo>
                    <a:cubicBezTo>
                      <a:pt x="35" y="8"/>
                      <a:pt x="34" y="8"/>
                      <a:pt x="33" y="8"/>
                    </a:cubicBezTo>
                    <a:cubicBezTo>
                      <a:pt x="32" y="8"/>
                      <a:pt x="31" y="7"/>
                      <a:pt x="30" y="6"/>
                    </a:cubicBezTo>
                    <a:cubicBezTo>
                      <a:pt x="28" y="4"/>
                      <a:pt x="25" y="2"/>
                      <a:pt x="22" y="0"/>
                    </a:cubicBezTo>
                    <a:cubicBezTo>
                      <a:pt x="20" y="1"/>
                      <a:pt x="19" y="2"/>
                      <a:pt x="17" y="3"/>
                    </a:cubicBezTo>
                    <a:cubicBezTo>
                      <a:pt x="16" y="2"/>
                      <a:pt x="16" y="1"/>
                      <a:pt x="15" y="1"/>
                    </a:cubicBezTo>
                    <a:cubicBezTo>
                      <a:pt x="15" y="2"/>
                      <a:pt x="14" y="2"/>
                      <a:pt x="14" y="2"/>
                    </a:cubicBezTo>
                    <a:cubicBezTo>
                      <a:pt x="13" y="2"/>
                      <a:pt x="13" y="3"/>
                      <a:pt x="12" y="3"/>
                    </a:cubicBezTo>
                    <a:cubicBezTo>
                      <a:pt x="14" y="2"/>
                      <a:pt x="13" y="4"/>
                      <a:pt x="12" y="4"/>
                    </a:cubicBezTo>
                    <a:cubicBezTo>
                      <a:pt x="11" y="4"/>
                      <a:pt x="11" y="4"/>
                      <a:pt x="10" y="4"/>
                    </a:cubicBezTo>
                    <a:cubicBezTo>
                      <a:pt x="9" y="4"/>
                      <a:pt x="7" y="5"/>
                      <a:pt x="7" y="6"/>
                    </a:cubicBezTo>
                    <a:cubicBezTo>
                      <a:pt x="6" y="6"/>
                      <a:pt x="7" y="9"/>
                      <a:pt x="7" y="9"/>
                    </a:cubicBezTo>
                    <a:cubicBezTo>
                      <a:pt x="6" y="9"/>
                      <a:pt x="5" y="9"/>
                      <a:pt x="5" y="9"/>
                    </a:cubicBezTo>
                    <a:cubicBezTo>
                      <a:pt x="3" y="9"/>
                      <a:pt x="3" y="12"/>
                      <a:pt x="2" y="12"/>
                    </a:cubicBezTo>
                    <a:cubicBezTo>
                      <a:pt x="4" y="12"/>
                      <a:pt x="4" y="11"/>
                      <a:pt x="4" y="13"/>
                    </a:cubicBezTo>
                    <a:cubicBezTo>
                      <a:pt x="4" y="15"/>
                      <a:pt x="5" y="15"/>
                      <a:pt x="4" y="15"/>
                    </a:cubicBezTo>
                    <a:cubicBezTo>
                      <a:pt x="2" y="16"/>
                      <a:pt x="7" y="17"/>
                      <a:pt x="5" y="18"/>
                    </a:cubicBezTo>
                    <a:cubicBezTo>
                      <a:pt x="4" y="19"/>
                      <a:pt x="3" y="17"/>
                      <a:pt x="2" y="17"/>
                    </a:cubicBezTo>
                    <a:cubicBezTo>
                      <a:pt x="0" y="18"/>
                      <a:pt x="3" y="21"/>
                      <a:pt x="3" y="22"/>
                    </a:cubicBezTo>
                    <a:cubicBezTo>
                      <a:pt x="5" y="24"/>
                      <a:pt x="8" y="25"/>
                      <a:pt x="1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9" name="Freeform 2739">
                <a:extLst>
                  <a:ext uri="{FF2B5EF4-FFF2-40B4-BE49-F238E27FC236}">
                    <a16:creationId xmlns:a16="http://schemas.microsoft.com/office/drawing/2014/main" id="{7906821C-5D9B-4EB1-B37E-7A592E971CD1}"/>
                  </a:ext>
                </a:extLst>
              </p:cNvPr>
              <p:cNvSpPr>
                <a:spLocks/>
              </p:cNvSpPr>
              <p:nvPr/>
            </p:nvSpPr>
            <p:spPr bwMode="auto">
              <a:xfrm>
                <a:off x="4845" y="396"/>
                <a:ext cx="371" cy="187"/>
              </a:xfrm>
              <a:custGeom>
                <a:avLst/>
                <a:gdLst>
                  <a:gd name="T0" fmla="*/ 22 w 157"/>
                  <a:gd name="T1" fmla="*/ 76 h 79"/>
                  <a:gd name="T2" fmla="*/ 26 w 157"/>
                  <a:gd name="T3" fmla="*/ 77 h 79"/>
                  <a:gd name="T4" fmla="*/ 33 w 157"/>
                  <a:gd name="T5" fmla="*/ 75 h 79"/>
                  <a:gd name="T6" fmla="*/ 32 w 157"/>
                  <a:gd name="T7" fmla="*/ 71 h 79"/>
                  <a:gd name="T8" fmla="*/ 39 w 157"/>
                  <a:gd name="T9" fmla="*/ 69 h 79"/>
                  <a:gd name="T10" fmla="*/ 37 w 157"/>
                  <a:gd name="T11" fmla="*/ 66 h 79"/>
                  <a:gd name="T12" fmla="*/ 43 w 157"/>
                  <a:gd name="T13" fmla="*/ 65 h 79"/>
                  <a:gd name="T14" fmla="*/ 41 w 157"/>
                  <a:gd name="T15" fmla="*/ 63 h 79"/>
                  <a:gd name="T16" fmla="*/ 38 w 157"/>
                  <a:gd name="T17" fmla="*/ 60 h 79"/>
                  <a:gd name="T18" fmla="*/ 46 w 157"/>
                  <a:gd name="T19" fmla="*/ 61 h 79"/>
                  <a:gd name="T20" fmla="*/ 50 w 157"/>
                  <a:gd name="T21" fmla="*/ 59 h 79"/>
                  <a:gd name="T22" fmla="*/ 50 w 157"/>
                  <a:gd name="T23" fmla="*/ 54 h 79"/>
                  <a:gd name="T24" fmla="*/ 55 w 157"/>
                  <a:gd name="T25" fmla="*/ 54 h 79"/>
                  <a:gd name="T26" fmla="*/ 56 w 157"/>
                  <a:gd name="T27" fmla="*/ 50 h 79"/>
                  <a:gd name="T28" fmla="*/ 62 w 157"/>
                  <a:gd name="T29" fmla="*/ 49 h 79"/>
                  <a:gd name="T30" fmla="*/ 66 w 157"/>
                  <a:gd name="T31" fmla="*/ 48 h 79"/>
                  <a:gd name="T32" fmla="*/ 64 w 157"/>
                  <a:gd name="T33" fmla="*/ 43 h 79"/>
                  <a:gd name="T34" fmla="*/ 78 w 157"/>
                  <a:gd name="T35" fmla="*/ 37 h 79"/>
                  <a:gd name="T36" fmla="*/ 87 w 157"/>
                  <a:gd name="T37" fmla="*/ 33 h 79"/>
                  <a:gd name="T38" fmla="*/ 125 w 157"/>
                  <a:gd name="T39" fmla="*/ 24 h 79"/>
                  <a:gd name="T40" fmla="*/ 147 w 157"/>
                  <a:gd name="T41" fmla="*/ 17 h 79"/>
                  <a:gd name="T42" fmla="*/ 155 w 157"/>
                  <a:gd name="T43" fmla="*/ 10 h 79"/>
                  <a:gd name="T44" fmla="*/ 154 w 157"/>
                  <a:gd name="T45" fmla="*/ 4 h 79"/>
                  <a:gd name="T46" fmla="*/ 151 w 157"/>
                  <a:gd name="T47" fmla="*/ 2 h 79"/>
                  <a:gd name="T48" fmla="*/ 136 w 157"/>
                  <a:gd name="T49" fmla="*/ 2 h 79"/>
                  <a:gd name="T50" fmla="*/ 126 w 157"/>
                  <a:gd name="T51" fmla="*/ 11 h 79"/>
                  <a:gd name="T52" fmla="*/ 110 w 157"/>
                  <a:gd name="T53" fmla="*/ 14 h 79"/>
                  <a:gd name="T54" fmla="*/ 98 w 157"/>
                  <a:gd name="T55" fmla="*/ 17 h 79"/>
                  <a:gd name="T56" fmla="*/ 89 w 157"/>
                  <a:gd name="T57" fmla="*/ 18 h 79"/>
                  <a:gd name="T58" fmla="*/ 85 w 157"/>
                  <a:gd name="T59" fmla="*/ 17 h 79"/>
                  <a:gd name="T60" fmla="*/ 81 w 157"/>
                  <a:gd name="T61" fmla="*/ 16 h 79"/>
                  <a:gd name="T62" fmla="*/ 76 w 157"/>
                  <a:gd name="T63" fmla="*/ 20 h 79"/>
                  <a:gd name="T64" fmla="*/ 70 w 157"/>
                  <a:gd name="T65" fmla="*/ 22 h 79"/>
                  <a:gd name="T66" fmla="*/ 68 w 157"/>
                  <a:gd name="T67" fmla="*/ 22 h 79"/>
                  <a:gd name="T68" fmla="*/ 59 w 157"/>
                  <a:gd name="T69" fmla="*/ 24 h 79"/>
                  <a:gd name="T70" fmla="*/ 46 w 157"/>
                  <a:gd name="T71" fmla="*/ 29 h 79"/>
                  <a:gd name="T72" fmla="*/ 43 w 157"/>
                  <a:gd name="T73" fmla="*/ 32 h 79"/>
                  <a:gd name="T74" fmla="*/ 41 w 157"/>
                  <a:gd name="T75" fmla="*/ 36 h 79"/>
                  <a:gd name="T76" fmla="*/ 33 w 157"/>
                  <a:gd name="T77" fmla="*/ 35 h 79"/>
                  <a:gd name="T78" fmla="*/ 29 w 157"/>
                  <a:gd name="T79" fmla="*/ 41 h 79"/>
                  <a:gd name="T80" fmla="*/ 25 w 157"/>
                  <a:gd name="T81" fmla="*/ 39 h 79"/>
                  <a:gd name="T82" fmla="*/ 24 w 157"/>
                  <a:gd name="T83" fmla="*/ 43 h 79"/>
                  <a:gd name="T84" fmla="*/ 28 w 157"/>
                  <a:gd name="T85" fmla="*/ 44 h 79"/>
                  <a:gd name="T86" fmla="*/ 24 w 157"/>
                  <a:gd name="T87" fmla="*/ 46 h 79"/>
                  <a:gd name="T88" fmla="*/ 31 w 157"/>
                  <a:gd name="T89" fmla="*/ 49 h 79"/>
                  <a:gd name="T90" fmla="*/ 24 w 157"/>
                  <a:gd name="T91" fmla="*/ 49 h 79"/>
                  <a:gd name="T92" fmla="*/ 20 w 157"/>
                  <a:gd name="T93" fmla="*/ 50 h 79"/>
                  <a:gd name="T94" fmla="*/ 25 w 157"/>
                  <a:gd name="T95" fmla="*/ 53 h 79"/>
                  <a:gd name="T96" fmla="*/ 17 w 157"/>
                  <a:gd name="T97" fmla="*/ 56 h 79"/>
                  <a:gd name="T98" fmla="*/ 15 w 157"/>
                  <a:gd name="T99" fmla="*/ 58 h 79"/>
                  <a:gd name="T100" fmla="*/ 22 w 157"/>
                  <a:gd name="T101" fmla="*/ 61 h 79"/>
                  <a:gd name="T102" fmla="*/ 15 w 157"/>
                  <a:gd name="T103" fmla="*/ 60 h 79"/>
                  <a:gd name="T104" fmla="*/ 11 w 157"/>
                  <a:gd name="T105" fmla="*/ 63 h 79"/>
                  <a:gd name="T106" fmla="*/ 3 w 157"/>
                  <a:gd name="T107" fmla="*/ 67 h 79"/>
                  <a:gd name="T108" fmla="*/ 17 w 157"/>
                  <a:gd name="T109" fmla="*/ 69 h 79"/>
                  <a:gd name="T110" fmla="*/ 10 w 157"/>
                  <a:gd name="T111" fmla="*/ 71 h 79"/>
                  <a:gd name="T112" fmla="*/ 4 w 157"/>
                  <a:gd name="T113" fmla="*/ 7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79">
                    <a:moveTo>
                      <a:pt x="13" y="75"/>
                    </a:moveTo>
                    <a:cubicBezTo>
                      <a:pt x="14" y="75"/>
                      <a:pt x="16" y="76"/>
                      <a:pt x="17" y="76"/>
                    </a:cubicBezTo>
                    <a:cubicBezTo>
                      <a:pt x="18" y="77"/>
                      <a:pt x="20" y="76"/>
                      <a:pt x="22" y="76"/>
                    </a:cubicBezTo>
                    <a:cubicBezTo>
                      <a:pt x="23" y="76"/>
                      <a:pt x="23" y="77"/>
                      <a:pt x="23" y="76"/>
                    </a:cubicBezTo>
                    <a:cubicBezTo>
                      <a:pt x="23" y="76"/>
                      <a:pt x="23" y="75"/>
                      <a:pt x="23" y="75"/>
                    </a:cubicBezTo>
                    <a:cubicBezTo>
                      <a:pt x="24" y="75"/>
                      <a:pt x="24" y="77"/>
                      <a:pt x="26" y="77"/>
                    </a:cubicBezTo>
                    <a:cubicBezTo>
                      <a:pt x="27" y="77"/>
                      <a:pt x="28" y="77"/>
                      <a:pt x="29" y="78"/>
                    </a:cubicBezTo>
                    <a:cubicBezTo>
                      <a:pt x="29" y="78"/>
                      <a:pt x="31" y="79"/>
                      <a:pt x="31" y="78"/>
                    </a:cubicBezTo>
                    <a:cubicBezTo>
                      <a:pt x="32" y="77"/>
                      <a:pt x="32" y="76"/>
                      <a:pt x="33" y="75"/>
                    </a:cubicBezTo>
                    <a:cubicBezTo>
                      <a:pt x="34" y="74"/>
                      <a:pt x="35" y="74"/>
                      <a:pt x="36" y="73"/>
                    </a:cubicBezTo>
                    <a:cubicBezTo>
                      <a:pt x="35" y="72"/>
                      <a:pt x="34" y="72"/>
                      <a:pt x="34" y="71"/>
                    </a:cubicBezTo>
                    <a:cubicBezTo>
                      <a:pt x="33" y="71"/>
                      <a:pt x="32" y="71"/>
                      <a:pt x="32" y="71"/>
                    </a:cubicBezTo>
                    <a:cubicBezTo>
                      <a:pt x="32" y="71"/>
                      <a:pt x="32" y="70"/>
                      <a:pt x="31" y="70"/>
                    </a:cubicBezTo>
                    <a:cubicBezTo>
                      <a:pt x="33" y="70"/>
                      <a:pt x="35" y="72"/>
                      <a:pt x="37" y="72"/>
                    </a:cubicBezTo>
                    <a:cubicBezTo>
                      <a:pt x="38" y="72"/>
                      <a:pt x="40" y="70"/>
                      <a:pt x="39" y="69"/>
                    </a:cubicBezTo>
                    <a:cubicBezTo>
                      <a:pt x="39" y="68"/>
                      <a:pt x="38" y="67"/>
                      <a:pt x="38" y="67"/>
                    </a:cubicBezTo>
                    <a:cubicBezTo>
                      <a:pt x="36" y="66"/>
                      <a:pt x="32" y="67"/>
                      <a:pt x="30" y="66"/>
                    </a:cubicBezTo>
                    <a:cubicBezTo>
                      <a:pt x="32" y="65"/>
                      <a:pt x="35" y="66"/>
                      <a:pt x="37" y="66"/>
                    </a:cubicBezTo>
                    <a:cubicBezTo>
                      <a:pt x="38" y="66"/>
                      <a:pt x="39" y="67"/>
                      <a:pt x="39" y="67"/>
                    </a:cubicBezTo>
                    <a:cubicBezTo>
                      <a:pt x="40" y="67"/>
                      <a:pt x="41" y="69"/>
                      <a:pt x="41" y="69"/>
                    </a:cubicBezTo>
                    <a:cubicBezTo>
                      <a:pt x="43" y="69"/>
                      <a:pt x="43" y="66"/>
                      <a:pt x="43" y="65"/>
                    </a:cubicBezTo>
                    <a:cubicBezTo>
                      <a:pt x="43" y="65"/>
                      <a:pt x="43" y="65"/>
                      <a:pt x="43" y="64"/>
                    </a:cubicBezTo>
                    <a:cubicBezTo>
                      <a:pt x="43" y="64"/>
                      <a:pt x="42" y="64"/>
                      <a:pt x="42" y="64"/>
                    </a:cubicBezTo>
                    <a:cubicBezTo>
                      <a:pt x="42" y="64"/>
                      <a:pt x="42" y="64"/>
                      <a:pt x="41" y="63"/>
                    </a:cubicBezTo>
                    <a:cubicBezTo>
                      <a:pt x="41" y="63"/>
                      <a:pt x="40" y="62"/>
                      <a:pt x="39" y="62"/>
                    </a:cubicBezTo>
                    <a:cubicBezTo>
                      <a:pt x="39" y="62"/>
                      <a:pt x="38" y="62"/>
                      <a:pt x="37" y="62"/>
                    </a:cubicBezTo>
                    <a:cubicBezTo>
                      <a:pt x="37" y="61"/>
                      <a:pt x="39" y="61"/>
                      <a:pt x="38" y="60"/>
                    </a:cubicBezTo>
                    <a:cubicBezTo>
                      <a:pt x="41" y="60"/>
                      <a:pt x="42" y="63"/>
                      <a:pt x="44" y="63"/>
                    </a:cubicBezTo>
                    <a:cubicBezTo>
                      <a:pt x="44" y="63"/>
                      <a:pt x="45" y="63"/>
                      <a:pt x="45" y="63"/>
                    </a:cubicBezTo>
                    <a:cubicBezTo>
                      <a:pt x="46" y="63"/>
                      <a:pt x="46" y="62"/>
                      <a:pt x="46" y="61"/>
                    </a:cubicBezTo>
                    <a:cubicBezTo>
                      <a:pt x="46" y="60"/>
                      <a:pt x="46" y="61"/>
                      <a:pt x="47" y="60"/>
                    </a:cubicBezTo>
                    <a:cubicBezTo>
                      <a:pt x="47" y="59"/>
                      <a:pt x="47" y="59"/>
                      <a:pt x="48" y="59"/>
                    </a:cubicBezTo>
                    <a:cubicBezTo>
                      <a:pt x="49" y="60"/>
                      <a:pt x="50" y="60"/>
                      <a:pt x="50" y="59"/>
                    </a:cubicBezTo>
                    <a:cubicBezTo>
                      <a:pt x="51" y="58"/>
                      <a:pt x="51" y="57"/>
                      <a:pt x="51" y="56"/>
                    </a:cubicBezTo>
                    <a:cubicBezTo>
                      <a:pt x="51" y="56"/>
                      <a:pt x="50" y="56"/>
                      <a:pt x="50" y="55"/>
                    </a:cubicBezTo>
                    <a:cubicBezTo>
                      <a:pt x="50" y="55"/>
                      <a:pt x="51" y="55"/>
                      <a:pt x="50" y="54"/>
                    </a:cubicBezTo>
                    <a:cubicBezTo>
                      <a:pt x="50" y="54"/>
                      <a:pt x="49" y="53"/>
                      <a:pt x="48" y="53"/>
                    </a:cubicBezTo>
                    <a:cubicBezTo>
                      <a:pt x="47" y="53"/>
                      <a:pt x="47" y="52"/>
                      <a:pt x="46" y="52"/>
                    </a:cubicBezTo>
                    <a:cubicBezTo>
                      <a:pt x="50" y="52"/>
                      <a:pt x="52" y="54"/>
                      <a:pt x="55" y="54"/>
                    </a:cubicBezTo>
                    <a:cubicBezTo>
                      <a:pt x="56" y="54"/>
                      <a:pt x="56" y="53"/>
                      <a:pt x="56" y="52"/>
                    </a:cubicBezTo>
                    <a:cubicBezTo>
                      <a:pt x="56" y="52"/>
                      <a:pt x="57" y="51"/>
                      <a:pt x="57" y="51"/>
                    </a:cubicBezTo>
                    <a:cubicBezTo>
                      <a:pt x="56" y="50"/>
                      <a:pt x="55" y="51"/>
                      <a:pt x="56" y="50"/>
                    </a:cubicBezTo>
                    <a:cubicBezTo>
                      <a:pt x="57" y="49"/>
                      <a:pt x="56" y="49"/>
                      <a:pt x="56" y="48"/>
                    </a:cubicBezTo>
                    <a:cubicBezTo>
                      <a:pt x="58" y="49"/>
                      <a:pt x="59" y="51"/>
                      <a:pt x="61" y="51"/>
                    </a:cubicBezTo>
                    <a:cubicBezTo>
                      <a:pt x="62" y="52"/>
                      <a:pt x="63" y="49"/>
                      <a:pt x="62" y="49"/>
                    </a:cubicBezTo>
                    <a:cubicBezTo>
                      <a:pt x="62" y="48"/>
                      <a:pt x="61" y="49"/>
                      <a:pt x="61" y="48"/>
                    </a:cubicBezTo>
                    <a:cubicBezTo>
                      <a:pt x="61" y="48"/>
                      <a:pt x="60" y="48"/>
                      <a:pt x="60" y="47"/>
                    </a:cubicBezTo>
                    <a:cubicBezTo>
                      <a:pt x="62" y="48"/>
                      <a:pt x="64" y="49"/>
                      <a:pt x="66" y="48"/>
                    </a:cubicBezTo>
                    <a:cubicBezTo>
                      <a:pt x="67" y="48"/>
                      <a:pt x="67" y="48"/>
                      <a:pt x="67" y="47"/>
                    </a:cubicBezTo>
                    <a:cubicBezTo>
                      <a:pt x="67" y="45"/>
                      <a:pt x="70" y="45"/>
                      <a:pt x="71" y="44"/>
                    </a:cubicBezTo>
                    <a:cubicBezTo>
                      <a:pt x="68" y="44"/>
                      <a:pt x="66" y="44"/>
                      <a:pt x="64" y="43"/>
                    </a:cubicBezTo>
                    <a:cubicBezTo>
                      <a:pt x="66" y="43"/>
                      <a:pt x="68" y="43"/>
                      <a:pt x="70" y="43"/>
                    </a:cubicBezTo>
                    <a:cubicBezTo>
                      <a:pt x="72" y="42"/>
                      <a:pt x="72" y="42"/>
                      <a:pt x="73" y="40"/>
                    </a:cubicBezTo>
                    <a:cubicBezTo>
                      <a:pt x="74" y="40"/>
                      <a:pt x="79" y="38"/>
                      <a:pt x="78" y="37"/>
                    </a:cubicBezTo>
                    <a:cubicBezTo>
                      <a:pt x="78" y="37"/>
                      <a:pt x="79" y="38"/>
                      <a:pt x="79" y="38"/>
                    </a:cubicBezTo>
                    <a:cubicBezTo>
                      <a:pt x="80" y="39"/>
                      <a:pt x="81" y="37"/>
                      <a:pt x="82" y="36"/>
                    </a:cubicBezTo>
                    <a:cubicBezTo>
                      <a:pt x="83" y="34"/>
                      <a:pt x="85" y="34"/>
                      <a:pt x="87" y="33"/>
                    </a:cubicBezTo>
                    <a:cubicBezTo>
                      <a:pt x="93" y="32"/>
                      <a:pt x="99" y="31"/>
                      <a:pt x="104" y="30"/>
                    </a:cubicBezTo>
                    <a:cubicBezTo>
                      <a:pt x="108" y="29"/>
                      <a:pt x="111" y="27"/>
                      <a:pt x="115" y="27"/>
                    </a:cubicBezTo>
                    <a:cubicBezTo>
                      <a:pt x="118" y="26"/>
                      <a:pt x="121" y="25"/>
                      <a:pt x="125" y="24"/>
                    </a:cubicBezTo>
                    <a:cubicBezTo>
                      <a:pt x="126" y="23"/>
                      <a:pt x="127" y="23"/>
                      <a:pt x="129" y="23"/>
                    </a:cubicBezTo>
                    <a:cubicBezTo>
                      <a:pt x="131" y="22"/>
                      <a:pt x="133" y="21"/>
                      <a:pt x="135" y="21"/>
                    </a:cubicBezTo>
                    <a:cubicBezTo>
                      <a:pt x="139" y="20"/>
                      <a:pt x="143" y="18"/>
                      <a:pt x="147" y="17"/>
                    </a:cubicBezTo>
                    <a:cubicBezTo>
                      <a:pt x="147" y="17"/>
                      <a:pt x="148" y="16"/>
                      <a:pt x="148" y="16"/>
                    </a:cubicBezTo>
                    <a:cubicBezTo>
                      <a:pt x="150" y="16"/>
                      <a:pt x="149" y="16"/>
                      <a:pt x="149" y="15"/>
                    </a:cubicBezTo>
                    <a:cubicBezTo>
                      <a:pt x="150" y="14"/>
                      <a:pt x="155" y="12"/>
                      <a:pt x="155" y="10"/>
                    </a:cubicBezTo>
                    <a:cubicBezTo>
                      <a:pt x="155" y="9"/>
                      <a:pt x="157" y="8"/>
                      <a:pt x="156" y="7"/>
                    </a:cubicBezTo>
                    <a:cubicBezTo>
                      <a:pt x="156" y="6"/>
                      <a:pt x="155" y="6"/>
                      <a:pt x="154" y="5"/>
                    </a:cubicBezTo>
                    <a:cubicBezTo>
                      <a:pt x="154" y="5"/>
                      <a:pt x="155" y="4"/>
                      <a:pt x="154" y="4"/>
                    </a:cubicBezTo>
                    <a:cubicBezTo>
                      <a:pt x="154" y="4"/>
                      <a:pt x="153" y="3"/>
                      <a:pt x="153" y="3"/>
                    </a:cubicBezTo>
                    <a:cubicBezTo>
                      <a:pt x="152" y="3"/>
                      <a:pt x="152" y="3"/>
                      <a:pt x="151" y="3"/>
                    </a:cubicBezTo>
                    <a:cubicBezTo>
                      <a:pt x="151" y="3"/>
                      <a:pt x="152" y="2"/>
                      <a:pt x="151" y="2"/>
                    </a:cubicBezTo>
                    <a:cubicBezTo>
                      <a:pt x="149" y="2"/>
                      <a:pt x="148" y="2"/>
                      <a:pt x="147" y="1"/>
                    </a:cubicBezTo>
                    <a:cubicBezTo>
                      <a:pt x="145" y="1"/>
                      <a:pt x="143" y="0"/>
                      <a:pt x="141" y="1"/>
                    </a:cubicBezTo>
                    <a:cubicBezTo>
                      <a:pt x="139" y="2"/>
                      <a:pt x="138" y="2"/>
                      <a:pt x="136" y="2"/>
                    </a:cubicBezTo>
                    <a:cubicBezTo>
                      <a:pt x="135" y="2"/>
                      <a:pt x="133" y="3"/>
                      <a:pt x="131" y="4"/>
                    </a:cubicBezTo>
                    <a:cubicBezTo>
                      <a:pt x="130" y="5"/>
                      <a:pt x="127" y="5"/>
                      <a:pt x="126" y="7"/>
                    </a:cubicBezTo>
                    <a:cubicBezTo>
                      <a:pt x="125" y="8"/>
                      <a:pt x="125" y="10"/>
                      <a:pt x="126" y="11"/>
                    </a:cubicBezTo>
                    <a:cubicBezTo>
                      <a:pt x="125" y="11"/>
                      <a:pt x="123" y="10"/>
                      <a:pt x="122" y="10"/>
                    </a:cubicBezTo>
                    <a:cubicBezTo>
                      <a:pt x="120" y="10"/>
                      <a:pt x="118" y="12"/>
                      <a:pt x="117" y="12"/>
                    </a:cubicBezTo>
                    <a:cubicBezTo>
                      <a:pt x="116" y="11"/>
                      <a:pt x="111" y="14"/>
                      <a:pt x="110" y="14"/>
                    </a:cubicBezTo>
                    <a:cubicBezTo>
                      <a:pt x="110" y="14"/>
                      <a:pt x="107" y="16"/>
                      <a:pt x="106" y="16"/>
                    </a:cubicBezTo>
                    <a:cubicBezTo>
                      <a:pt x="105" y="15"/>
                      <a:pt x="105" y="15"/>
                      <a:pt x="104" y="15"/>
                    </a:cubicBezTo>
                    <a:cubicBezTo>
                      <a:pt x="102" y="15"/>
                      <a:pt x="100" y="16"/>
                      <a:pt x="98" y="17"/>
                    </a:cubicBezTo>
                    <a:cubicBezTo>
                      <a:pt x="97" y="17"/>
                      <a:pt x="96" y="18"/>
                      <a:pt x="95" y="18"/>
                    </a:cubicBezTo>
                    <a:cubicBezTo>
                      <a:pt x="94" y="18"/>
                      <a:pt x="94" y="17"/>
                      <a:pt x="94" y="17"/>
                    </a:cubicBezTo>
                    <a:cubicBezTo>
                      <a:pt x="92" y="17"/>
                      <a:pt x="90" y="19"/>
                      <a:pt x="89" y="18"/>
                    </a:cubicBezTo>
                    <a:cubicBezTo>
                      <a:pt x="89" y="18"/>
                      <a:pt x="90" y="17"/>
                      <a:pt x="89" y="17"/>
                    </a:cubicBezTo>
                    <a:cubicBezTo>
                      <a:pt x="88" y="17"/>
                      <a:pt x="88" y="17"/>
                      <a:pt x="87" y="17"/>
                    </a:cubicBezTo>
                    <a:cubicBezTo>
                      <a:pt x="87" y="17"/>
                      <a:pt x="86" y="17"/>
                      <a:pt x="85" y="17"/>
                    </a:cubicBezTo>
                    <a:cubicBezTo>
                      <a:pt x="85" y="17"/>
                      <a:pt x="85" y="16"/>
                      <a:pt x="84" y="16"/>
                    </a:cubicBezTo>
                    <a:cubicBezTo>
                      <a:pt x="84" y="16"/>
                      <a:pt x="83" y="16"/>
                      <a:pt x="83" y="16"/>
                    </a:cubicBezTo>
                    <a:cubicBezTo>
                      <a:pt x="82" y="16"/>
                      <a:pt x="82" y="16"/>
                      <a:pt x="81" y="16"/>
                    </a:cubicBezTo>
                    <a:cubicBezTo>
                      <a:pt x="80" y="16"/>
                      <a:pt x="79" y="16"/>
                      <a:pt x="78" y="16"/>
                    </a:cubicBezTo>
                    <a:cubicBezTo>
                      <a:pt x="76" y="17"/>
                      <a:pt x="75" y="17"/>
                      <a:pt x="75" y="19"/>
                    </a:cubicBezTo>
                    <a:cubicBezTo>
                      <a:pt x="76" y="20"/>
                      <a:pt x="76" y="19"/>
                      <a:pt x="76" y="20"/>
                    </a:cubicBezTo>
                    <a:cubicBezTo>
                      <a:pt x="76" y="21"/>
                      <a:pt x="74" y="21"/>
                      <a:pt x="74" y="21"/>
                    </a:cubicBezTo>
                    <a:cubicBezTo>
                      <a:pt x="73" y="22"/>
                      <a:pt x="72" y="22"/>
                      <a:pt x="71" y="22"/>
                    </a:cubicBezTo>
                    <a:cubicBezTo>
                      <a:pt x="70" y="22"/>
                      <a:pt x="70" y="22"/>
                      <a:pt x="70" y="22"/>
                    </a:cubicBezTo>
                    <a:cubicBezTo>
                      <a:pt x="70" y="21"/>
                      <a:pt x="72" y="19"/>
                      <a:pt x="70" y="20"/>
                    </a:cubicBezTo>
                    <a:cubicBezTo>
                      <a:pt x="68" y="20"/>
                      <a:pt x="67" y="20"/>
                      <a:pt x="67" y="21"/>
                    </a:cubicBezTo>
                    <a:cubicBezTo>
                      <a:pt x="67" y="21"/>
                      <a:pt x="67" y="22"/>
                      <a:pt x="68" y="22"/>
                    </a:cubicBezTo>
                    <a:cubicBezTo>
                      <a:pt x="67" y="23"/>
                      <a:pt x="66" y="22"/>
                      <a:pt x="65" y="23"/>
                    </a:cubicBezTo>
                    <a:cubicBezTo>
                      <a:pt x="64" y="23"/>
                      <a:pt x="64" y="23"/>
                      <a:pt x="63" y="23"/>
                    </a:cubicBezTo>
                    <a:cubicBezTo>
                      <a:pt x="62" y="24"/>
                      <a:pt x="60" y="23"/>
                      <a:pt x="59" y="24"/>
                    </a:cubicBezTo>
                    <a:cubicBezTo>
                      <a:pt x="58" y="24"/>
                      <a:pt x="56" y="25"/>
                      <a:pt x="55" y="25"/>
                    </a:cubicBezTo>
                    <a:cubicBezTo>
                      <a:pt x="54" y="25"/>
                      <a:pt x="53" y="25"/>
                      <a:pt x="52" y="26"/>
                    </a:cubicBezTo>
                    <a:cubicBezTo>
                      <a:pt x="50" y="27"/>
                      <a:pt x="49" y="28"/>
                      <a:pt x="46" y="29"/>
                    </a:cubicBezTo>
                    <a:cubicBezTo>
                      <a:pt x="46" y="29"/>
                      <a:pt x="45" y="29"/>
                      <a:pt x="45" y="29"/>
                    </a:cubicBezTo>
                    <a:cubicBezTo>
                      <a:pt x="44" y="30"/>
                      <a:pt x="46" y="30"/>
                      <a:pt x="46" y="30"/>
                    </a:cubicBezTo>
                    <a:cubicBezTo>
                      <a:pt x="46" y="31"/>
                      <a:pt x="44" y="31"/>
                      <a:pt x="43" y="32"/>
                    </a:cubicBezTo>
                    <a:cubicBezTo>
                      <a:pt x="42" y="32"/>
                      <a:pt x="41" y="32"/>
                      <a:pt x="40" y="32"/>
                    </a:cubicBezTo>
                    <a:cubicBezTo>
                      <a:pt x="39" y="33"/>
                      <a:pt x="40" y="34"/>
                      <a:pt x="41" y="35"/>
                    </a:cubicBezTo>
                    <a:cubicBezTo>
                      <a:pt x="41" y="36"/>
                      <a:pt x="42" y="36"/>
                      <a:pt x="41" y="36"/>
                    </a:cubicBezTo>
                    <a:cubicBezTo>
                      <a:pt x="41" y="37"/>
                      <a:pt x="40" y="36"/>
                      <a:pt x="39" y="36"/>
                    </a:cubicBezTo>
                    <a:cubicBezTo>
                      <a:pt x="38" y="35"/>
                      <a:pt x="38" y="35"/>
                      <a:pt x="36" y="35"/>
                    </a:cubicBezTo>
                    <a:cubicBezTo>
                      <a:pt x="35" y="35"/>
                      <a:pt x="35" y="35"/>
                      <a:pt x="33" y="35"/>
                    </a:cubicBezTo>
                    <a:cubicBezTo>
                      <a:pt x="32" y="36"/>
                      <a:pt x="31" y="37"/>
                      <a:pt x="33" y="37"/>
                    </a:cubicBezTo>
                    <a:cubicBezTo>
                      <a:pt x="34" y="38"/>
                      <a:pt x="31" y="40"/>
                      <a:pt x="30" y="41"/>
                    </a:cubicBezTo>
                    <a:cubicBezTo>
                      <a:pt x="30" y="41"/>
                      <a:pt x="30" y="41"/>
                      <a:pt x="29" y="41"/>
                    </a:cubicBezTo>
                    <a:cubicBezTo>
                      <a:pt x="28" y="42"/>
                      <a:pt x="29" y="41"/>
                      <a:pt x="29" y="41"/>
                    </a:cubicBezTo>
                    <a:cubicBezTo>
                      <a:pt x="28" y="40"/>
                      <a:pt x="28" y="39"/>
                      <a:pt x="27" y="40"/>
                    </a:cubicBezTo>
                    <a:cubicBezTo>
                      <a:pt x="25" y="41"/>
                      <a:pt x="26" y="39"/>
                      <a:pt x="25" y="39"/>
                    </a:cubicBezTo>
                    <a:cubicBezTo>
                      <a:pt x="24" y="38"/>
                      <a:pt x="21" y="40"/>
                      <a:pt x="21" y="41"/>
                    </a:cubicBezTo>
                    <a:cubicBezTo>
                      <a:pt x="22" y="42"/>
                      <a:pt x="23" y="41"/>
                      <a:pt x="23" y="42"/>
                    </a:cubicBezTo>
                    <a:cubicBezTo>
                      <a:pt x="24" y="42"/>
                      <a:pt x="23" y="43"/>
                      <a:pt x="24" y="43"/>
                    </a:cubicBezTo>
                    <a:cubicBezTo>
                      <a:pt x="25" y="43"/>
                      <a:pt x="26" y="43"/>
                      <a:pt x="27" y="43"/>
                    </a:cubicBezTo>
                    <a:cubicBezTo>
                      <a:pt x="29" y="42"/>
                      <a:pt x="29" y="42"/>
                      <a:pt x="27" y="44"/>
                    </a:cubicBezTo>
                    <a:cubicBezTo>
                      <a:pt x="28" y="44"/>
                      <a:pt x="28" y="44"/>
                      <a:pt x="28" y="44"/>
                    </a:cubicBezTo>
                    <a:cubicBezTo>
                      <a:pt x="29" y="44"/>
                      <a:pt x="31" y="43"/>
                      <a:pt x="30" y="44"/>
                    </a:cubicBezTo>
                    <a:cubicBezTo>
                      <a:pt x="30" y="45"/>
                      <a:pt x="28" y="45"/>
                      <a:pt x="27" y="45"/>
                    </a:cubicBezTo>
                    <a:cubicBezTo>
                      <a:pt x="26" y="45"/>
                      <a:pt x="25" y="46"/>
                      <a:pt x="24" y="46"/>
                    </a:cubicBezTo>
                    <a:cubicBezTo>
                      <a:pt x="24" y="46"/>
                      <a:pt x="21" y="46"/>
                      <a:pt x="23" y="47"/>
                    </a:cubicBezTo>
                    <a:cubicBezTo>
                      <a:pt x="24" y="48"/>
                      <a:pt x="28" y="46"/>
                      <a:pt x="29" y="47"/>
                    </a:cubicBezTo>
                    <a:cubicBezTo>
                      <a:pt x="29" y="48"/>
                      <a:pt x="30" y="49"/>
                      <a:pt x="31" y="49"/>
                    </a:cubicBezTo>
                    <a:cubicBezTo>
                      <a:pt x="32" y="49"/>
                      <a:pt x="33" y="49"/>
                      <a:pt x="34" y="49"/>
                    </a:cubicBezTo>
                    <a:cubicBezTo>
                      <a:pt x="32" y="51"/>
                      <a:pt x="29" y="49"/>
                      <a:pt x="27" y="49"/>
                    </a:cubicBezTo>
                    <a:cubicBezTo>
                      <a:pt x="26" y="49"/>
                      <a:pt x="25" y="49"/>
                      <a:pt x="24" y="49"/>
                    </a:cubicBezTo>
                    <a:cubicBezTo>
                      <a:pt x="24" y="50"/>
                      <a:pt x="24" y="50"/>
                      <a:pt x="23" y="50"/>
                    </a:cubicBezTo>
                    <a:cubicBezTo>
                      <a:pt x="23" y="50"/>
                      <a:pt x="23" y="49"/>
                      <a:pt x="22" y="49"/>
                    </a:cubicBezTo>
                    <a:cubicBezTo>
                      <a:pt x="22" y="49"/>
                      <a:pt x="20" y="49"/>
                      <a:pt x="20" y="50"/>
                    </a:cubicBezTo>
                    <a:cubicBezTo>
                      <a:pt x="19" y="51"/>
                      <a:pt x="21" y="52"/>
                      <a:pt x="22" y="52"/>
                    </a:cubicBezTo>
                    <a:cubicBezTo>
                      <a:pt x="23" y="53"/>
                      <a:pt x="23" y="52"/>
                      <a:pt x="24" y="53"/>
                    </a:cubicBezTo>
                    <a:cubicBezTo>
                      <a:pt x="25" y="53"/>
                      <a:pt x="25" y="53"/>
                      <a:pt x="25" y="53"/>
                    </a:cubicBezTo>
                    <a:cubicBezTo>
                      <a:pt x="26" y="53"/>
                      <a:pt x="26" y="53"/>
                      <a:pt x="27" y="53"/>
                    </a:cubicBezTo>
                    <a:cubicBezTo>
                      <a:pt x="24" y="55"/>
                      <a:pt x="21" y="54"/>
                      <a:pt x="19" y="54"/>
                    </a:cubicBezTo>
                    <a:cubicBezTo>
                      <a:pt x="18" y="55"/>
                      <a:pt x="15" y="55"/>
                      <a:pt x="17" y="56"/>
                    </a:cubicBezTo>
                    <a:cubicBezTo>
                      <a:pt x="18" y="57"/>
                      <a:pt x="20" y="56"/>
                      <a:pt x="21" y="57"/>
                    </a:cubicBezTo>
                    <a:cubicBezTo>
                      <a:pt x="20" y="57"/>
                      <a:pt x="19" y="58"/>
                      <a:pt x="17" y="58"/>
                    </a:cubicBezTo>
                    <a:cubicBezTo>
                      <a:pt x="16" y="57"/>
                      <a:pt x="16" y="57"/>
                      <a:pt x="15" y="58"/>
                    </a:cubicBezTo>
                    <a:cubicBezTo>
                      <a:pt x="15" y="58"/>
                      <a:pt x="17" y="59"/>
                      <a:pt x="18" y="59"/>
                    </a:cubicBezTo>
                    <a:cubicBezTo>
                      <a:pt x="19" y="59"/>
                      <a:pt x="20" y="60"/>
                      <a:pt x="21" y="60"/>
                    </a:cubicBezTo>
                    <a:cubicBezTo>
                      <a:pt x="21" y="60"/>
                      <a:pt x="22" y="60"/>
                      <a:pt x="22" y="61"/>
                    </a:cubicBezTo>
                    <a:cubicBezTo>
                      <a:pt x="22" y="61"/>
                      <a:pt x="21" y="61"/>
                      <a:pt x="20" y="61"/>
                    </a:cubicBezTo>
                    <a:cubicBezTo>
                      <a:pt x="19" y="61"/>
                      <a:pt x="18" y="60"/>
                      <a:pt x="18" y="60"/>
                    </a:cubicBezTo>
                    <a:cubicBezTo>
                      <a:pt x="16" y="60"/>
                      <a:pt x="16" y="60"/>
                      <a:pt x="15" y="60"/>
                    </a:cubicBezTo>
                    <a:cubicBezTo>
                      <a:pt x="14" y="60"/>
                      <a:pt x="13" y="60"/>
                      <a:pt x="12" y="61"/>
                    </a:cubicBezTo>
                    <a:cubicBezTo>
                      <a:pt x="12" y="61"/>
                      <a:pt x="11" y="61"/>
                      <a:pt x="10" y="62"/>
                    </a:cubicBezTo>
                    <a:cubicBezTo>
                      <a:pt x="9" y="63"/>
                      <a:pt x="10" y="63"/>
                      <a:pt x="11" y="63"/>
                    </a:cubicBezTo>
                    <a:cubicBezTo>
                      <a:pt x="12" y="64"/>
                      <a:pt x="10" y="64"/>
                      <a:pt x="10" y="64"/>
                    </a:cubicBezTo>
                    <a:cubicBezTo>
                      <a:pt x="8" y="65"/>
                      <a:pt x="7" y="65"/>
                      <a:pt x="5" y="66"/>
                    </a:cubicBezTo>
                    <a:cubicBezTo>
                      <a:pt x="4" y="66"/>
                      <a:pt x="3" y="67"/>
                      <a:pt x="3" y="67"/>
                    </a:cubicBezTo>
                    <a:cubicBezTo>
                      <a:pt x="2" y="68"/>
                      <a:pt x="0" y="67"/>
                      <a:pt x="0" y="67"/>
                    </a:cubicBezTo>
                    <a:cubicBezTo>
                      <a:pt x="3" y="69"/>
                      <a:pt x="7" y="69"/>
                      <a:pt x="11" y="69"/>
                    </a:cubicBezTo>
                    <a:cubicBezTo>
                      <a:pt x="13" y="69"/>
                      <a:pt x="15" y="69"/>
                      <a:pt x="17" y="69"/>
                    </a:cubicBezTo>
                    <a:cubicBezTo>
                      <a:pt x="16" y="69"/>
                      <a:pt x="14" y="70"/>
                      <a:pt x="13" y="70"/>
                    </a:cubicBezTo>
                    <a:cubicBezTo>
                      <a:pt x="12" y="70"/>
                      <a:pt x="12" y="70"/>
                      <a:pt x="11" y="70"/>
                    </a:cubicBezTo>
                    <a:cubicBezTo>
                      <a:pt x="11" y="70"/>
                      <a:pt x="10" y="71"/>
                      <a:pt x="10" y="71"/>
                    </a:cubicBezTo>
                    <a:cubicBezTo>
                      <a:pt x="8" y="71"/>
                      <a:pt x="7" y="72"/>
                      <a:pt x="7" y="72"/>
                    </a:cubicBezTo>
                    <a:cubicBezTo>
                      <a:pt x="6" y="73"/>
                      <a:pt x="5" y="73"/>
                      <a:pt x="5" y="74"/>
                    </a:cubicBezTo>
                    <a:cubicBezTo>
                      <a:pt x="5" y="75"/>
                      <a:pt x="5" y="75"/>
                      <a:pt x="4" y="75"/>
                    </a:cubicBezTo>
                    <a:cubicBezTo>
                      <a:pt x="5" y="76"/>
                      <a:pt x="7" y="76"/>
                      <a:pt x="8" y="76"/>
                    </a:cubicBezTo>
                    <a:cubicBezTo>
                      <a:pt x="10" y="75"/>
                      <a:pt x="12" y="74"/>
                      <a:pt x="1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0" name="Freeform 2740">
                <a:extLst>
                  <a:ext uri="{FF2B5EF4-FFF2-40B4-BE49-F238E27FC236}">
                    <a16:creationId xmlns:a16="http://schemas.microsoft.com/office/drawing/2014/main" id="{AB40BDFD-4721-4C22-B37C-10348FAC3C48}"/>
                  </a:ext>
                </a:extLst>
              </p:cNvPr>
              <p:cNvSpPr>
                <a:spLocks/>
              </p:cNvSpPr>
              <p:nvPr/>
            </p:nvSpPr>
            <p:spPr bwMode="auto">
              <a:xfrm>
                <a:off x="6918" y="550"/>
                <a:ext cx="97" cy="33"/>
              </a:xfrm>
              <a:custGeom>
                <a:avLst/>
                <a:gdLst>
                  <a:gd name="T0" fmla="*/ 2 w 41"/>
                  <a:gd name="T1" fmla="*/ 11 h 14"/>
                  <a:gd name="T2" fmla="*/ 5 w 41"/>
                  <a:gd name="T3" fmla="*/ 11 h 14"/>
                  <a:gd name="T4" fmla="*/ 10 w 41"/>
                  <a:gd name="T5" fmla="*/ 9 h 14"/>
                  <a:gd name="T6" fmla="*/ 15 w 41"/>
                  <a:gd name="T7" fmla="*/ 10 h 14"/>
                  <a:gd name="T8" fmla="*/ 26 w 41"/>
                  <a:gd name="T9" fmla="*/ 12 h 14"/>
                  <a:gd name="T10" fmla="*/ 29 w 41"/>
                  <a:gd name="T11" fmla="*/ 13 h 14"/>
                  <a:gd name="T12" fmla="*/ 32 w 41"/>
                  <a:gd name="T13" fmla="*/ 13 h 14"/>
                  <a:gd name="T14" fmla="*/ 38 w 41"/>
                  <a:gd name="T15" fmla="*/ 14 h 14"/>
                  <a:gd name="T16" fmla="*/ 41 w 41"/>
                  <a:gd name="T17" fmla="*/ 13 h 14"/>
                  <a:gd name="T18" fmla="*/ 41 w 41"/>
                  <a:gd name="T19" fmla="*/ 12 h 14"/>
                  <a:gd name="T20" fmla="*/ 40 w 41"/>
                  <a:gd name="T21" fmla="*/ 11 h 14"/>
                  <a:gd name="T22" fmla="*/ 41 w 41"/>
                  <a:gd name="T23" fmla="*/ 9 h 14"/>
                  <a:gd name="T24" fmla="*/ 37 w 41"/>
                  <a:gd name="T25" fmla="*/ 5 h 14"/>
                  <a:gd name="T26" fmla="*/ 32 w 41"/>
                  <a:gd name="T27" fmla="*/ 2 h 14"/>
                  <a:gd name="T28" fmla="*/ 25 w 41"/>
                  <a:gd name="T29" fmla="*/ 0 h 14"/>
                  <a:gd name="T30" fmla="*/ 17 w 41"/>
                  <a:gd name="T31" fmla="*/ 1 h 14"/>
                  <a:gd name="T32" fmla="*/ 12 w 41"/>
                  <a:gd name="T33" fmla="*/ 5 h 14"/>
                  <a:gd name="T34" fmla="*/ 6 w 41"/>
                  <a:gd name="T35" fmla="*/ 9 h 14"/>
                  <a:gd name="T36" fmla="*/ 2 w 41"/>
                  <a:gd name="T3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14">
                    <a:moveTo>
                      <a:pt x="2" y="11"/>
                    </a:moveTo>
                    <a:cubicBezTo>
                      <a:pt x="3" y="11"/>
                      <a:pt x="4" y="11"/>
                      <a:pt x="5" y="11"/>
                    </a:cubicBezTo>
                    <a:cubicBezTo>
                      <a:pt x="7" y="11"/>
                      <a:pt x="8" y="10"/>
                      <a:pt x="10" y="9"/>
                    </a:cubicBezTo>
                    <a:cubicBezTo>
                      <a:pt x="12" y="9"/>
                      <a:pt x="13" y="9"/>
                      <a:pt x="15" y="10"/>
                    </a:cubicBezTo>
                    <a:cubicBezTo>
                      <a:pt x="19" y="11"/>
                      <a:pt x="22" y="12"/>
                      <a:pt x="26" y="12"/>
                    </a:cubicBezTo>
                    <a:cubicBezTo>
                      <a:pt x="27" y="12"/>
                      <a:pt x="28" y="13"/>
                      <a:pt x="29" y="13"/>
                    </a:cubicBezTo>
                    <a:cubicBezTo>
                      <a:pt x="30" y="13"/>
                      <a:pt x="31" y="13"/>
                      <a:pt x="32" y="13"/>
                    </a:cubicBezTo>
                    <a:cubicBezTo>
                      <a:pt x="33" y="13"/>
                      <a:pt x="36" y="14"/>
                      <a:pt x="38" y="14"/>
                    </a:cubicBezTo>
                    <a:cubicBezTo>
                      <a:pt x="38" y="14"/>
                      <a:pt x="40" y="14"/>
                      <a:pt x="41" y="13"/>
                    </a:cubicBezTo>
                    <a:cubicBezTo>
                      <a:pt x="41" y="13"/>
                      <a:pt x="41" y="13"/>
                      <a:pt x="41" y="12"/>
                    </a:cubicBezTo>
                    <a:cubicBezTo>
                      <a:pt x="41" y="12"/>
                      <a:pt x="40" y="12"/>
                      <a:pt x="40" y="11"/>
                    </a:cubicBezTo>
                    <a:cubicBezTo>
                      <a:pt x="41" y="10"/>
                      <a:pt x="41" y="10"/>
                      <a:pt x="41" y="9"/>
                    </a:cubicBezTo>
                    <a:cubicBezTo>
                      <a:pt x="40" y="8"/>
                      <a:pt x="38" y="6"/>
                      <a:pt x="37" y="5"/>
                    </a:cubicBezTo>
                    <a:cubicBezTo>
                      <a:pt x="35" y="4"/>
                      <a:pt x="34" y="4"/>
                      <a:pt x="32" y="2"/>
                    </a:cubicBezTo>
                    <a:cubicBezTo>
                      <a:pt x="30" y="1"/>
                      <a:pt x="27" y="0"/>
                      <a:pt x="25" y="0"/>
                    </a:cubicBezTo>
                    <a:cubicBezTo>
                      <a:pt x="22" y="0"/>
                      <a:pt x="20" y="1"/>
                      <a:pt x="17" y="1"/>
                    </a:cubicBezTo>
                    <a:cubicBezTo>
                      <a:pt x="15" y="0"/>
                      <a:pt x="14" y="3"/>
                      <a:pt x="12" y="5"/>
                    </a:cubicBezTo>
                    <a:cubicBezTo>
                      <a:pt x="11" y="8"/>
                      <a:pt x="9" y="8"/>
                      <a:pt x="6" y="9"/>
                    </a:cubicBezTo>
                    <a:cubicBezTo>
                      <a:pt x="5" y="9"/>
                      <a:pt x="0" y="9"/>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1" name="Freeform 2741">
                <a:extLst>
                  <a:ext uri="{FF2B5EF4-FFF2-40B4-BE49-F238E27FC236}">
                    <a16:creationId xmlns:a16="http://schemas.microsoft.com/office/drawing/2014/main" id="{42C56BA2-D6C2-4971-B4AE-518A942BB9DC}"/>
                  </a:ext>
                </a:extLst>
              </p:cNvPr>
              <p:cNvSpPr>
                <a:spLocks/>
              </p:cNvSpPr>
              <p:nvPr/>
            </p:nvSpPr>
            <p:spPr bwMode="auto">
              <a:xfrm>
                <a:off x="4890" y="200"/>
                <a:ext cx="35" cy="4"/>
              </a:xfrm>
              <a:custGeom>
                <a:avLst/>
                <a:gdLst>
                  <a:gd name="T0" fmla="*/ 8 w 15"/>
                  <a:gd name="T1" fmla="*/ 2 h 2"/>
                  <a:gd name="T2" fmla="*/ 10 w 15"/>
                  <a:gd name="T3" fmla="*/ 2 h 2"/>
                  <a:gd name="T4" fmla="*/ 12 w 15"/>
                  <a:gd name="T5" fmla="*/ 2 h 2"/>
                  <a:gd name="T6" fmla="*/ 15 w 15"/>
                  <a:gd name="T7" fmla="*/ 1 h 2"/>
                  <a:gd name="T8" fmla="*/ 0 w 15"/>
                  <a:gd name="T9" fmla="*/ 0 h 2"/>
                  <a:gd name="T10" fmla="*/ 1 w 15"/>
                  <a:gd name="T11" fmla="*/ 0 h 2"/>
                  <a:gd name="T12" fmla="*/ 2 w 15"/>
                  <a:gd name="T13" fmla="*/ 2 h 2"/>
                  <a:gd name="T14" fmla="*/ 4 w 15"/>
                  <a:gd name="T15" fmla="*/ 2 h 2"/>
                  <a:gd name="T16" fmla="*/ 8 w 1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
                    <a:moveTo>
                      <a:pt x="8" y="2"/>
                    </a:moveTo>
                    <a:cubicBezTo>
                      <a:pt x="9" y="2"/>
                      <a:pt x="9" y="2"/>
                      <a:pt x="10" y="2"/>
                    </a:cubicBezTo>
                    <a:cubicBezTo>
                      <a:pt x="10" y="2"/>
                      <a:pt x="11" y="2"/>
                      <a:pt x="12" y="2"/>
                    </a:cubicBezTo>
                    <a:cubicBezTo>
                      <a:pt x="13" y="2"/>
                      <a:pt x="15" y="2"/>
                      <a:pt x="15" y="1"/>
                    </a:cubicBezTo>
                    <a:cubicBezTo>
                      <a:pt x="10" y="0"/>
                      <a:pt x="5" y="0"/>
                      <a:pt x="0" y="0"/>
                    </a:cubicBezTo>
                    <a:cubicBezTo>
                      <a:pt x="0" y="0"/>
                      <a:pt x="1" y="0"/>
                      <a:pt x="1" y="0"/>
                    </a:cubicBezTo>
                    <a:cubicBezTo>
                      <a:pt x="2" y="1"/>
                      <a:pt x="2" y="1"/>
                      <a:pt x="2" y="2"/>
                    </a:cubicBezTo>
                    <a:cubicBezTo>
                      <a:pt x="3" y="2"/>
                      <a:pt x="3" y="2"/>
                      <a:pt x="4" y="2"/>
                    </a:cubicBezTo>
                    <a:cubicBezTo>
                      <a:pt x="5" y="2"/>
                      <a:pt x="7"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2" name="Freeform 2742">
                <a:extLst>
                  <a:ext uri="{FF2B5EF4-FFF2-40B4-BE49-F238E27FC236}">
                    <a16:creationId xmlns:a16="http://schemas.microsoft.com/office/drawing/2014/main" id="{E145AE64-94CA-4F56-AC2F-17CAA15E70E7}"/>
                  </a:ext>
                </a:extLst>
              </p:cNvPr>
              <p:cNvSpPr>
                <a:spLocks/>
              </p:cNvSpPr>
              <p:nvPr/>
            </p:nvSpPr>
            <p:spPr bwMode="auto">
              <a:xfrm>
                <a:off x="4675" y="188"/>
                <a:ext cx="122" cy="47"/>
              </a:xfrm>
              <a:custGeom>
                <a:avLst/>
                <a:gdLst>
                  <a:gd name="T0" fmla="*/ 17 w 52"/>
                  <a:gd name="T1" fmla="*/ 9 h 20"/>
                  <a:gd name="T2" fmla="*/ 15 w 52"/>
                  <a:gd name="T3" fmla="*/ 9 h 20"/>
                  <a:gd name="T4" fmla="*/ 8 w 52"/>
                  <a:gd name="T5" fmla="*/ 11 h 20"/>
                  <a:gd name="T6" fmla="*/ 16 w 52"/>
                  <a:gd name="T7" fmla="*/ 12 h 20"/>
                  <a:gd name="T8" fmla="*/ 10 w 52"/>
                  <a:gd name="T9" fmla="*/ 13 h 20"/>
                  <a:gd name="T10" fmla="*/ 16 w 52"/>
                  <a:gd name="T11" fmla="*/ 14 h 20"/>
                  <a:gd name="T12" fmla="*/ 14 w 52"/>
                  <a:gd name="T13" fmla="*/ 15 h 20"/>
                  <a:gd name="T14" fmla="*/ 7 w 52"/>
                  <a:gd name="T15" fmla="*/ 14 h 20"/>
                  <a:gd name="T16" fmla="*/ 2 w 52"/>
                  <a:gd name="T17" fmla="*/ 14 h 20"/>
                  <a:gd name="T18" fmla="*/ 1 w 52"/>
                  <a:gd name="T19" fmla="*/ 16 h 20"/>
                  <a:gd name="T20" fmla="*/ 4 w 52"/>
                  <a:gd name="T21" fmla="*/ 18 h 20"/>
                  <a:gd name="T22" fmla="*/ 7 w 52"/>
                  <a:gd name="T23" fmla="*/ 17 h 20"/>
                  <a:gd name="T24" fmla="*/ 15 w 52"/>
                  <a:gd name="T25" fmla="*/ 18 h 20"/>
                  <a:gd name="T26" fmla="*/ 13 w 52"/>
                  <a:gd name="T27" fmla="*/ 18 h 20"/>
                  <a:gd name="T28" fmla="*/ 10 w 52"/>
                  <a:gd name="T29" fmla="*/ 20 h 20"/>
                  <a:gd name="T30" fmla="*/ 19 w 52"/>
                  <a:gd name="T31" fmla="*/ 19 h 20"/>
                  <a:gd name="T32" fmla="*/ 25 w 52"/>
                  <a:gd name="T33" fmla="*/ 18 h 20"/>
                  <a:gd name="T34" fmla="*/ 25 w 52"/>
                  <a:gd name="T35" fmla="*/ 17 h 20"/>
                  <a:gd name="T36" fmla="*/ 25 w 52"/>
                  <a:gd name="T37" fmla="*/ 16 h 20"/>
                  <a:gd name="T38" fmla="*/ 23 w 52"/>
                  <a:gd name="T39" fmla="*/ 13 h 20"/>
                  <a:gd name="T40" fmla="*/ 27 w 52"/>
                  <a:gd name="T41" fmla="*/ 12 h 20"/>
                  <a:gd name="T42" fmla="*/ 38 w 52"/>
                  <a:gd name="T43" fmla="*/ 9 h 20"/>
                  <a:gd name="T44" fmla="*/ 52 w 52"/>
                  <a:gd name="T45" fmla="*/ 5 h 20"/>
                  <a:gd name="T46" fmla="*/ 49 w 52"/>
                  <a:gd name="T47" fmla="*/ 4 h 20"/>
                  <a:gd name="T48" fmla="*/ 47 w 52"/>
                  <a:gd name="T49" fmla="*/ 4 h 20"/>
                  <a:gd name="T50" fmla="*/ 46 w 52"/>
                  <a:gd name="T51" fmla="*/ 4 h 20"/>
                  <a:gd name="T52" fmla="*/ 44 w 52"/>
                  <a:gd name="T53" fmla="*/ 1 h 20"/>
                  <a:gd name="T54" fmla="*/ 40 w 52"/>
                  <a:gd name="T55" fmla="*/ 1 h 20"/>
                  <a:gd name="T56" fmla="*/ 36 w 52"/>
                  <a:gd name="T57" fmla="*/ 0 h 20"/>
                  <a:gd name="T58" fmla="*/ 33 w 52"/>
                  <a:gd name="T59" fmla="*/ 1 h 20"/>
                  <a:gd name="T60" fmla="*/ 30 w 52"/>
                  <a:gd name="T61" fmla="*/ 2 h 20"/>
                  <a:gd name="T62" fmla="*/ 24 w 52"/>
                  <a:gd name="T63" fmla="*/ 5 h 20"/>
                  <a:gd name="T64" fmla="*/ 27 w 52"/>
                  <a:gd name="T65" fmla="*/ 5 h 20"/>
                  <a:gd name="T66" fmla="*/ 27 w 52"/>
                  <a:gd name="T67" fmla="*/ 6 h 20"/>
                  <a:gd name="T68" fmla="*/ 30 w 52"/>
                  <a:gd name="T69" fmla="*/ 5 h 20"/>
                  <a:gd name="T70" fmla="*/ 31 w 52"/>
                  <a:gd name="T71" fmla="*/ 7 h 20"/>
                  <a:gd name="T72" fmla="*/ 29 w 52"/>
                  <a:gd name="T73" fmla="*/ 7 h 20"/>
                  <a:gd name="T74" fmla="*/ 28 w 52"/>
                  <a:gd name="T75" fmla="*/ 8 h 20"/>
                  <a:gd name="T76" fmla="*/ 27 w 52"/>
                  <a:gd name="T77" fmla="*/ 9 h 20"/>
                  <a:gd name="T78" fmla="*/ 25 w 52"/>
                  <a:gd name="T79" fmla="*/ 10 h 20"/>
                  <a:gd name="T80" fmla="*/ 23 w 52"/>
                  <a:gd name="T81" fmla="*/ 10 h 20"/>
                  <a:gd name="T82" fmla="*/ 22 w 52"/>
                  <a:gd name="T83" fmla="*/ 10 h 20"/>
                  <a:gd name="T84" fmla="*/ 18 w 52"/>
                  <a:gd name="T85" fmla="*/ 9 h 20"/>
                  <a:gd name="T86" fmla="*/ 17 w 52"/>
                  <a:gd name="T87"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20">
                    <a:moveTo>
                      <a:pt x="17" y="9"/>
                    </a:moveTo>
                    <a:cubicBezTo>
                      <a:pt x="16" y="9"/>
                      <a:pt x="16" y="10"/>
                      <a:pt x="15" y="9"/>
                    </a:cubicBezTo>
                    <a:cubicBezTo>
                      <a:pt x="13" y="9"/>
                      <a:pt x="9" y="10"/>
                      <a:pt x="8" y="11"/>
                    </a:cubicBezTo>
                    <a:cubicBezTo>
                      <a:pt x="11" y="12"/>
                      <a:pt x="14" y="10"/>
                      <a:pt x="16" y="12"/>
                    </a:cubicBezTo>
                    <a:cubicBezTo>
                      <a:pt x="16" y="12"/>
                      <a:pt x="11" y="12"/>
                      <a:pt x="10" y="13"/>
                    </a:cubicBezTo>
                    <a:cubicBezTo>
                      <a:pt x="10" y="13"/>
                      <a:pt x="15" y="14"/>
                      <a:pt x="16" y="14"/>
                    </a:cubicBezTo>
                    <a:cubicBezTo>
                      <a:pt x="15" y="14"/>
                      <a:pt x="15" y="14"/>
                      <a:pt x="14" y="15"/>
                    </a:cubicBezTo>
                    <a:cubicBezTo>
                      <a:pt x="14" y="15"/>
                      <a:pt x="7" y="14"/>
                      <a:pt x="7" y="14"/>
                    </a:cubicBezTo>
                    <a:cubicBezTo>
                      <a:pt x="5" y="13"/>
                      <a:pt x="4" y="13"/>
                      <a:pt x="2" y="14"/>
                    </a:cubicBezTo>
                    <a:cubicBezTo>
                      <a:pt x="1" y="15"/>
                      <a:pt x="0" y="15"/>
                      <a:pt x="1" y="16"/>
                    </a:cubicBezTo>
                    <a:cubicBezTo>
                      <a:pt x="2" y="16"/>
                      <a:pt x="3" y="18"/>
                      <a:pt x="4" y="18"/>
                    </a:cubicBezTo>
                    <a:cubicBezTo>
                      <a:pt x="5" y="18"/>
                      <a:pt x="5" y="18"/>
                      <a:pt x="7" y="17"/>
                    </a:cubicBezTo>
                    <a:cubicBezTo>
                      <a:pt x="9" y="16"/>
                      <a:pt x="13" y="16"/>
                      <a:pt x="15" y="18"/>
                    </a:cubicBezTo>
                    <a:cubicBezTo>
                      <a:pt x="14" y="18"/>
                      <a:pt x="13" y="18"/>
                      <a:pt x="13" y="18"/>
                    </a:cubicBezTo>
                    <a:cubicBezTo>
                      <a:pt x="11" y="18"/>
                      <a:pt x="11" y="19"/>
                      <a:pt x="10" y="20"/>
                    </a:cubicBezTo>
                    <a:cubicBezTo>
                      <a:pt x="13" y="19"/>
                      <a:pt x="16" y="19"/>
                      <a:pt x="19" y="19"/>
                    </a:cubicBezTo>
                    <a:cubicBezTo>
                      <a:pt x="21" y="19"/>
                      <a:pt x="24" y="19"/>
                      <a:pt x="25" y="18"/>
                    </a:cubicBezTo>
                    <a:cubicBezTo>
                      <a:pt x="26" y="17"/>
                      <a:pt x="25" y="18"/>
                      <a:pt x="25" y="17"/>
                    </a:cubicBezTo>
                    <a:cubicBezTo>
                      <a:pt x="25" y="17"/>
                      <a:pt x="25" y="16"/>
                      <a:pt x="25" y="16"/>
                    </a:cubicBezTo>
                    <a:cubicBezTo>
                      <a:pt x="24" y="16"/>
                      <a:pt x="22" y="15"/>
                      <a:pt x="23" y="13"/>
                    </a:cubicBezTo>
                    <a:cubicBezTo>
                      <a:pt x="23" y="13"/>
                      <a:pt x="27" y="12"/>
                      <a:pt x="27" y="12"/>
                    </a:cubicBezTo>
                    <a:cubicBezTo>
                      <a:pt x="31" y="11"/>
                      <a:pt x="34" y="10"/>
                      <a:pt x="38" y="9"/>
                    </a:cubicBezTo>
                    <a:cubicBezTo>
                      <a:pt x="43" y="8"/>
                      <a:pt x="47" y="7"/>
                      <a:pt x="52" y="5"/>
                    </a:cubicBezTo>
                    <a:cubicBezTo>
                      <a:pt x="51" y="5"/>
                      <a:pt x="50" y="5"/>
                      <a:pt x="49" y="4"/>
                    </a:cubicBezTo>
                    <a:cubicBezTo>
                      <a:pt x="48" y="4"/>
                      <a:pt x="48" y="3"/>
                      <a:pt x="47" y="4"/>
                    </a:cubicBezTo>
                    <a:cubicBezTo>
                      <a:pt x="46" y="4"/>
                      <a:pt x="46" y="5"/>
                      <a:pt x="46" y="4"/>
                    </a:cubicBezTo>
                    <a:cubicBezTo>
                      <a:pt x="45" y="3"/>
                      <a:pt x="45" y="1"/>
                      <a:pt x="44" y="1"/>
                    </a:cubicBezTo>
                    <a:cubicBezTo>
                      <a:pt x="43" y="0"/>
                      <a:pt x="42" y="1"/>
                      <a:pt x="40" y="1"/>
                    </a:cubicBezTo>
                    <a:cubicBezTo>
                      <a:pt x="39" y="1"/>
                      <a:pt x="38" y="0"/>
                      <a:pt x="36" y="0"/>
                    </a:cubicBezTo>
                    <a:cubicBezTo>
                      <a:pt x="35" y="0"/>
                      <a:pt x="34" y="1"/>
                      <a:pt x="33" y="1"/>
                    </a:cubicBezTo>
                    <a:cubicBezTo>
                      <a:pt x="32" y="1"/>
                      <a:pt x="31" y="2"/>
                      <a:pt x="30" y="2"/>
                    </a:cubicBezTo>
                    <a:cubicBezTo>
                      <a:pt x="29" y="3"/>
                      <a:pt x="24" y="3"/>
                      <a:pt x="24" y="5"/>
                    </a:cubicBezTo>
                    <a:cubicBezTo>
                      <a:pt x="24" y="6"/>
                      <a:pt x="26" y="5"/>
                      <a:pt x="27" y="5"/>
                    </a:cubicBezTo>
                    <a:cubicBezTo>
                      <a:pt x="27" y="5"/>
                      <a:pt x="27" y="5"/>
                      <a:pt x="27" y="6"/>
                    </a:cubicBezTo>
                    <a:cubicBezTo>
                      <a:pt x="28" y="6"/>
                      <a:pt x="29" y="5"/>
                      <a:pt x="30" y="5"/>
                    </a:cubicBezTo>
                    <a:cubicBezTo>
                      <a:pt x="31" y="6"/>
                      <a:pt x="32" y="6"/>
                      <a:pt x="31" y="7"/>
                    </a:cubicBezTo>
                    <a:cubicBezTo>
                      <a:pt x="30" y="7"/>
                      <a:pt x="29" y="6"/>
                      <a:pt x="29" y="7"/>
                    </a:cubicBezTo>
                    <a:cubicBezTo>
                      <a:pt x="28" y="7"/>
                      <a:pt x="28" y="8"/>
                      <a:pt x="28" y="8"/>
                    </a:cubicBezTo>
                    <a:cubicBezTo>
                      <a:pt x="27" y="9"/>
                      <a:pt x="27" y="8"/>
                      <a:pt x="27" y="9"/>
                    </a:cubicBezTo>
                    <a:cubicBezTo>
                      <a:pt x="27" y="10"/>
                      <a:pt x="26" y="10"/>
                      <a:pt x="25" y="10"/>
                    </a:cubicBezTo>
                    <a:cubicBezTo>
                      <a:pt x="24" y="10"/>
                      <a:pt x="24" y="10"/>
                      <a:pt x="23" y="10"/>
                    </a:cubicBezTo>
                    <a:cubicBezTo>
                      <a:pt x="23" y="10"/>
                      <a:pt x="23" y="10"/>
                      <a:pt x="22" y="10"/>
                    </a:cubicBezTo>
                    <a:cubicBezTo>
                      <a:pt x="20" y="10"/>
                      <a:pt x="19" y="9"/>
                      <a:pt x="18" y="9"/>
                    </a:cubicBezTo>
                    <a:cubicBezTo>
                      <a:pt x="17" y="9"/>
                      <a:pt x="17" y="9"/>
                      <a:pt x="1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3" name="Freeform 2743">
                <a:extLst>
                  <a:ext uri="{FF2B5EF4-FFF2-40B4-BE49-F238E27FC236}">
                    <a16:creationId xmlns:a16="http://schemas.microsoft.com/office/drawing/2014/main" id="{1304D62B-CAF5-43D8-BB3B-476DD7B61580}"/>
                  </a:ext>
                </a:extLst>
              </p:cNvPr>
              <p:cNvSpPr>
                <a:spLocks/>
              </p:cNvSpPr>
              <p:nvPr/>
            </p:nvSpPr>
            <p:spPr bwMode="auto">
              <a:xfrm>
                <a:off x="5755" y="167"/>
                <a:ext cx="161" cy="73"/>
              </a:xfrm>
              <a:custGeom>
                <a:avLst/>
                <a:gdLst>
                  <a:gd name="T0" fmla="*/ 1 w 68"/>
                  <a:gd name="T1" fmla="*/ 23 h 31"/>
                  <a:gd name="T2" fmla="*/ 1 w 68"/>
                  <a:gd name="T3" fmla="*/ 24 h 31"/>
                  <a:gd name="T4" fmla="*/ 13 w 68"/>
                  <a:gd name="T5" fmla="*/ 24 h 31"/>
                  <a:gd name="T6" fmla="*/ 20 w 68"/>
                  <a:gd name="T7" fmla="*/ 25 h 31"/>
                  <a:gd name="T8" fmla="*/ 9 w 68"/>
                  <a:gd name="T9" fmla="*/ 24 h 31"/>
                  <a:gd name="T10" fmla="*/ 13 w 68"/>
                  <a:gd name="T11" fmla="*/ 26 h 31"/>
                  <a:gd name="T12" fmla="*/ 16 w 68"/>
                  <a:gd name="T13" fmla="*/ 27 h 31"/>
                  <a:gd name="T14" fmla="*/ 10 w 68"/>
                  <a:gd name="T15" fmla="*/ 27 h 31"/>
                  <a:gd name="T16" fmla="*/ 16 w 68"/>
                  <a:gd name="T17" fmla="*/ 28 h 31"/>
                  <a:gd name="T18" fmla="*/ 20 w 68"/>
                  <a:gd name="T19" fmla="*/ 30 h 31"/>
                  <a:gd name="T20" fmla="*/ 24 w 68"/>
                  <a:gd name="T21" fmla="*/ 31 h 31"/>
                  <a:gd name="T22" fmla="*/ 37 w 68"/>
                  <a:gd name="T23" fmla="*/ 28 h 31"/>
                  <a:gd name="T24" fmla="*/ 48 w 68"/>
                  <a:gd name="T25" fmla="*/ 26 h 31"/>
                  <a:gd name="T26" fmla="*/ 58 w 68"/>
                  <a:gd name="T27" fmla="*/ 26 h 31"/>
                  <a:gd name="T28" fmla="*/ 60 w 68"/>
                  <a:gd name="T29" fmla="*/ 22 h 31"/>
                  <a:gd name="T30" fmla="*/ 59 w 68"/>
                  <a:gd name="T31" fmla="*/ 19 h 31"/>
                  <a:gd name="T32" fmla="*/ 59 w 68"/>
                  <a:gd name="T33" fmla="*/ 16 h 31"/>
                  <a:gd name="T34" fmla="*/ 68 w 68"/>
                  <a:gd name="T35" fmla="*/ 14 h 31"/>
                  <a:gd name="T36" fmla="*/ 55 w 68"/>
                  <a:gd name="T37" fmla="*/ 6 h 31"/>
                  <a:gd name="T38" fmla="*/ 47 w 68"/>
                  <a:gd name="T39" fmla="*/ 2 h 31"/>
                  <a:gd name="T40" fmla="*/ 43 w 68"/>
                  <a:gd name="T41" fmla="*/ 0 h 31"/>
                  <a:gd name="T42" fmla="*/ 38 w 68"/>
                  <a:gd name="T43" fmla="*/ 2 h 31"/>
                  <a:gd name="T44" fmla="*/ 38 w 68"/>
                  <a:gd name="T45" fmla="*/ 3 h 31"/>
                  <a:gd name="T46" fmla="*/ 37 w 68"/>
                  <a:gd name="T47" fmla="*/ 4 h 31"/>
                  <a:gd name="T48" fmla="*/ 31 w 68"/>
                  <a:gd name="T49" fmla="*/ 5 h 31"/>
                  <a:gd name="T50" fmla="*/ 28 w 68"/>
                  <a:gd name="T51" fmla="*/ 6 h 31"/>
                  <a:gd name="T52" fmla="*/ 24 w 68"/>
                  <a:gd name="T53" fmla="*/ 6 h 31"/>
                  <a:gd name="T54" fmla="*/ 23 w 68"/>
                  <a:gd name="T55" fmla="*/ 7 h 31"/>
                  <a:gd name="T56" fmla="*/ 21 w 68"/>
                  <a:gd name="T57" fmla="*/ 7 h 31"/>
                  <a:gd name="T58" fmla="*/ 18 w 68"/>
                  <a:gd name="T59" fmla="*/ 7 h 31"/>
                  <a:gd name="T60" fmla="*/ 18 w 68"/>
                  <a:gd name="T61" fmla="*/ 9 h 31"/>
                  <a:gd name="T62" fmla="*/ 14 w 68"/>
                  <a:gd name="T63" fmla="*/ 10 h 31"/>
                  <a:gd name="T64" fmla="*/ 14 w 68"/>
                  <a:gd name="T65" fmla="*/ 11 h 31"/>
                  <a:gd name="T66" fmla="*/ 13 w 68"/>
                  <a:gd name="T67" fmla="*/ 12 h 31"/>
                  <a:gd name="T68" fmla="*/ 12 w 68"/>
                  <a:gd name="T69" fmla="*/ 13 h 31"/>
                  <a:gd name="T70" fmla="*/ 14 w 68"/>
                  <a:gd name="T71" fmla="*/ 15 h 31"/>
                  <a:gd name="T72" fmla="*/ 15 w 68"/>
                  <a:gd name="T73" fmla="*/ 17 h 31"/>
                  <a:gd name="T74" fmla="*/ 15 w 68"/>
                  <a:gd name="T75" fmla="*/ 18 h 31"/>
                  <a:gd name="T76" fmla="*/ 11 w 68"/>
                  <a:gd name="T77" fmla="*/ 19 h 31"/>
                  <a:gd name="T78" fmla="*/ 7 w 68"/>
                  <a:gd name="T79" fmla="*/ 20 h 31"/>
                  <a:gd name="T80" fmla="*/ 6 w 68"/>
                  <a:gd name="T81" fmla="*/ 20 h 31"/>
                  <a:gd name="T82" fmla="*/ 7 w 68"/>
                  <a:gd name="T83" fmla="*/ 22 h 31"/>
                  <a:gd name="T84" fmla="*/ 3 w 68"/>
                  <a:gd name="T85" fmla="*/ 22 h 31"/>
                  <a:gd name="T86" fmla="*/ 1 w 68"/>
                  <a:gd name="T87"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31">
                    <a:moveTo>
                      <a:pt x="1" y="23"/>
                    </a:moveTo>
                    <a:cubicBezTo>
                      <a:pt x="1" y="23"/>
                      <a:pt x="0" y="24"/>
                      <a:pt x="1" y="24"/>
                    </a:cubicBezTo>
                    <a:cubicBezTo>
                      <a:pt x="5" y="24"/>
                      <a:pt x="9" y="24"/>
                      <a:pt x="13" y="24"/>
                    </a:cubicBezTo>
                    <a:cubicBezTo>
                      <a:pt x="14" y="24"/>
                      <a:pt x="19" y="23"/>
                      <a:pt x="20" y="25"/>
                    </a:cubicBezTo>
                    <a:cubicBezTo>
                      <a:pt x="19" y="25"/>
                      <a:pt x="9" y="24"/>
                      <a:pt x="9" y="24"/>
                    </a:cubicBezTo>
                    <a:cubicBezTo>
                      <a:pt x="9" y="25"/>
                      <a:pt x="12" y="26"/>
                      <a:pt x="13" y="26"/>
                    </a:cubicBezTo>
                    <a:cubicBezTo>
                      <a:pt x="14" y="27"/>
                      <a:pt x="15" y="26"/>
                      <a:pt x="16" y="27"/>
                    </a:cubicBezTo>
                    <a:cubicBezTo>
                      <a:pt x="14" y="27"/>
                      <a:pt x="12" y="27"/>
                      <a:pt x="10" y="27"/>
                    </a:cubicBezTo>
                    <a:cubicBezTo>
                      <a:pt x="11" y="28"/>
                      <a:pt x="14" y="28"/>
                      <a:pt x="16" y="28"/>
                    </a:cubicBezTo>
                    <a:cubicBezTo>
                      <a:pt x="18" y="29"/>
                      <a:pt x="19" y="30"/>
                      <a:pt x="20" y="30"/>
                    </a:cubicBezTo>
                    <a:cubicBezTo>
                      <a:pt x="21" y="31"/>
                      <a:pt x="23" y="31"/>
                      <a:pt x="24" y="31"/>
                    </a:cubicBezTo>
                    <a:cubicBezTo>
                      <a:pt x="28" y="31"/>
                      <a:pt x="33" y="29"/>
                      <a:pt x="37" y="28"/>
                    </a:cubicBezTo>
                    <a:cubicBezTo>
                      <a:pt x="40" y="27"/>
                      <a:pt x="44" y="26"/>
                      <a:pt x="48" y="26"/>
                    </a:cubicBezTo>
                    <a:cubicBezTo>
                      <a:pt x="51" y="26"/>
                      <a:pt x="54" y="26"/>
                      <a:pt x="58" y="26"/>
                    </a:cubicBezTo>
                    <a:cubicBezTo>
                      <a:pt x="60" y="25"/>
                      <a:pt x="60" y="24"/>
                      <a:pt x="60" y="22"/>
                    </a:cubicBezTo>
                    <a:cubicBezTo>
                      <a:pt x="60" y="21"/>
                      <a:pt x="60" y="20"/>
                      <a:pt x="59" y="19"/>
                    </a:cubicBezTo>
                    <a:cubicBezTo>
                      <a:pt x="58" y="19"/>
                      <a:pt x="58" y="17"/>
                      <a:pt x="59" y="16"/>
                    </a:cubicBezTo>
                    <a:cubicBezTo>
                      <a:pt x="62" y="15"/>
                      <a:pt x="65" y="15"/>
                      <a:pt x="68" y="14"/>
                    </a:cubicBezTo>
                    <a:cubicBezTo>
                      <a:pt x="63" y="12"/>
                      <a:pt x="59" y="9"/>
                      <a:pt x="55" y="6"/>
                    </a:cubicBezTo>
                    <a:cubicBezTo>
                      <a:pt x="52" y="5"/>
                      <a:pt x="50" y="3"/>
                      <a:pt x="47" y="2"/>
                    </a:cubicBezTo>
                    <a:cubicBezTo>
                      <a:pt x="45" y="1"/>
                      <a:pt x="45" y="1"/>
                      <a:pt x="43" y="0"/>
                    </a:cubicBezTo>
                    <a:cubicBezTo>
                      <a:pt x="41" y="1"/>
                      <a:pt x="38" y="0"/>
                      <a:pt x="38" y="2"/>
                    </a:cubicBezTo>
                    <a:cubicBezTo>
                      <a:pt x="38" y="2"/>
                      <a:pt x="39" y="2"/>
                      <a:pt x="38" y="3"/>
                    </a:cubicBezTo>
                    <a:cubicBezTo>
                      <a:pt x="38" y="3"/>
                      <a:pt x="37" y="3"/>
                      <a:pt x="37" y="4"/>
                    </a:cubicBezTo>
                    <a:cubicBezTo>
                      <a:pt x="35" y="5"/>
                      <a:pt x="33" y="5"/>
                      <a:pt x="31" y="5"/>
                    </a:cubicBezTo>
                    <a:cubicBezTo>
                      <a:pt x="30" y="5"/>
                      <a:pt x="29" y="6"/>
                      <a:pt x="28" y="6"/>
                    </a:cubicBezTo>
                    <a:cubicBezTo>
                      <a:pt x="27" y="6"/>
                      <a:pt x="25" y="6"/>
                      <a:pt x="24" y="6"/>
                    </a:cubicBezTo>
                    <a:cubicBezTo>
                      <a:pt x="23" y="6"/>
                      <a:pt x="23" y="7"/>
                      <a:pt x="23" y="7"/>
                    </a:cubicBezTo>
                    <a:cubicBezTo>
                      <a:pt x="22" y="6"/>
                      <a:pt x="21" y="6"/>
                      <a:pt x="21" y="7"/>
                    </a:cubicBezTo>
                    <a:cubicBezTo>
                      <a:pt x="20" y="7"/>
                      <a:pt x="19" y="7"/>
                      <a:pt x="18" y="7"/>
                    </a:cubicBezTo>
                    <a:cubicBezTo>
                      <a:pt x="16" y="8"/>
                      <a:pt x="19" y="8"/>
                      <a:pt x="18" y="9"/>
                    </a:cubicBezTo>
                    <a:cubicBezTo>
                      <a:pt x="18" y="10"/>
                      <a:pt x="15" y="10"/>
                      <a:pt x="14" y="10"/>
                    </a:cubicBezTo>
                    <a:cubicBezTo>
                      <a:pt x="13" y="11"/>
                      <a:pt x="14" y="10"/>
                      <a:pt x="14" y="11"/>
                    </a:cubicBezTo>
                    <a:cubicBezTo>
                      <a:pt x="14" y="11"/>
                      <a:pt x="13" y="12"/>
                      <a:pt x="13" y="12"/>
                    </a:cubicBezTo>
                    <a:cubicBezTo>
                      <a:pt x="13" y="12"/>
                      <a:pt x="12" y="12"/>
                      <a:pt x="12" y="13"/>
                    </a:cubicBezTo>
                    <a:cubicBezTo>
                      <a:pt x="12" y="13"/>
                      <a:pt x="13" y="14"/>
                      <a:pt x="14" y="15"/>
                    </a:cubicBezTo>
                    <a:cubicBezTo>
                      <a:pt x="15" y="15"/>
                      <a:pt x="15" y="16"/>
                      <a:pt x="15" y="17"/>
                    </a:cubicBezTo>
                    <a:cubicBezTo>
                      <a:pt x="15" y="17"/>
                      <a:pt x="15" y="18"/>
                      <a:pt x="15" y="18"/>
                    </a:cubicBezTo>
                    <a:cubicBezTo>
                      <a:pt x="14" y="20"/>
                      <a:pt x="12" y="19"/>
                      <a:pt x="11" y="19"/>
                    </a:cubicBezTo>
                    <a:cubicBezTo>
                      <a:pt x="10" y="19"/>
                      <a:pt x="9" y="19"/>
                      <a:pt x="7" y="20"/>
                    </a:cubicBezTo>
                    <a:cubicBezTo>
                      <a:pt x="7" y="20"/>
                      <a:pt x="6" y="20"/>
                      <a:pt x="6" y="20"/>
                    </a:cubicBezTo>
                    <a:cubicBezTo>
                      <a:pt x="5" y="20"/>
                      <a:pt x="7" y="22"/>
                      <a:pt x="7" y="22"/>
                    </a:cubicBezTo>
                    <a:cubicBezTo>
                      <a:pt x="6" y="22"/>
                      <a:pt x="4" y="22"/>
                      <a:pt x="3" y="22"/>
                    </a:cubicBezTo>
                    <a:cubicBezTo>
                      <a:pt x="3" y="22"/>
                      <a:pt x="2" y="23"/>
                      <a:pt x="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4" name="Freeform 2744">
                <a:extLst>
                  <a:ext uri="{FF2B5EF4-FFF2-40B4-BE49-F238E27FC236}">
                    <a16:creationId xmlns:a16="http://schemas.microsoft.com/office/drawing/2014/main" id="{709638D1-4AF1-42A2-BAEE-E4EB2D47EFC3}"/>
                  </a:ext>
                </a:extLst>
              </p:cNvPr>
              <p:cNvSpPr>
                <a:spLocks/>
              </p:cNvSpPr>
              <p:nvPr/>
            </p:nvSpPr>
            <p:spPr bwMode="auto">
              <a:xfrm>
                <a:off x="5793" y="231"/>
                <a:ext cx="172" cy="75"/>
              </a:xfrm>
              <a:custGeom>
                <a:avLst/>
                <a:gdLst>
                  <a:gd name="T0" fmla="*/ 40 w 73"/>
                  <a:gd name="T1" fmla="*/ 1 h 32"/>
                  <a:gd name="T2" fmla="*/ 35 w 73"/>
                  <a:gd name="T3" fmla="*/ 2 h 32"/>
                  <a:gd name="T4" fmla="*/ 33 w 73"/>
                  <a:gd name="T5" fmla="*/ 2 h 32"/>
                  <a:gd name="T6" fmla="*/ 28 w 73"/>
                  <a:gd name="T7" fmla="*/ 2 h 32"/>
                  <a:gd name="T8" fmla="*/ 23 w 73"/>
                  <a:gd name="T9" fmla="*/ 3 h 32"/>
                  <a:gd name="T10" fmla="*/ 19 w 73"/>
                  <a:gd name="T11" fmla="*/ 3 h 32"/>
                  <a:gd name="T12" fmla="*/ 15 w 73"/>
                  <a:gd name="T13" fmla="*/ 5 h 32"/>
                  <a:gd name="T14" fmla="*/ 16 w 73"/>
                  <a:gd name="T15" fmla="*/ 9 h 32"/>
                  <a:gd name="T16" fmla="*/ 8 w 73"/>
                  <a:gd name="T17" fmla="*/ 12 h 32"/>
                  <a:gd name="T18" fmla="*/ 0 w 73"/>
                  <a:gd name="T19" fmla="*/ 14 h 32"/>
                  <a:gd name="T20" fmla="*/ 5 w 73"/>
                  <a:gd name="T21" fmla="*/ 15 h 32"/>
                  <a:gd name="T22" fmla="*/ 11 w 73"/>
                  <a:gd name="T23" fmla="*/ 16 h 32"/>
                  <a:gd name="T24" fmla="*/ 11 w 73"/>
                  <a:gd name="T25" fmla="*/ 17 h 32"/>
                  <a:gd name="T26" fmla="*/ 14 w 73"/>
                  <a:gd name="T27" fmla="*/ 19 h 32"/>
                  <a:gd name="T28" fmla="*/ 16 w 73"/>
                  <a:gd name="T29" fmla="*/ 22 h 32"/>
                  <a:gd name="T30" fmla="*/ 17 w 73"/>
                  <a:gd name="T31" fmla="*/ 24 h 32"/>
                  <a:gd name="T32" fmla="*/ 22 w 73"/>
                  <a:gd name="T33" fmla="*/ 26 h 32"/>
                  <a:gd name="T34" fmla="*/ 35 w 73"/>
                  <a:gd name="T35" fmla="*/ 27 h 32"/>
                  <a:gd name="T36" fmla="*/ 39 w 73"/>
                  <a:gd name="T37" fmla="*/ 27 h 32"/>
                  <a:gd name="T38" fmla="*/ 42 w 73"/>
                  <a:gd name="T39" fmla="*/ 29 h 32"/>
                  <a:gd name="T40" fmla="*/ 48 w 73"/>
                  <a:gd name="T41" fmla="*/ 31 h 32"/>
                  <a:gd name="T42" fmla="*/ 52 w 73"/>
                  <a:gd name="T43" fmla="*/ 31 h 32"/>
                  <a:gd name="T44" fmla="*/ 65 w 73"/>
                  <a:gd name="T45" fmla="*/ 31 h 32"/>
                  <a:gd name="T46" fmla="*/ 71 w 73"/>
                  <a:gd name="T47" fmla="*/ 28 h 32"/>
                  <a:gd name="T48" fmla="*/ 64 w 73"/>
                  <a:gd name="T49" fmla="*/ 21 h 32"/>
                  <a:gd name="T50" fmla="*/ 66 w 73"/>
                  <a:gd name="T51" fmla="*/ 21 h 32"/>
                  <a:gd name="T52" fmla="*/ 70 w 73"/>
                  <a:gd name="T53" fmla="*/ 18 h 32"/>
                  <a:gd name="T54" fmla="*/ 70 w 73"/>
                  <a:gd name="T55" fmla="*/ 15 h 32"/>
                  <a:gd name="T56" fmla="*/ 71 w 73"/>
                  <a:gd name="T57" fmla="*/ 12 h 32"/>
                  <a:gd name="T58" fmla="*/ 72 w 73"/>
                  <a:gd name="T59" fmla="*/ 10 h 32"/>
                  <a:gd name="T60" fmla="*/ 69 w 73"/>
                  <a:gd name="T61" fmla="*/ 6 h 32"/>
                  <a:gd name="T62" fmla="*/ 67 w 73"/>
                  <a:gd name="T63" fmla="*/ 5 h 32"/>
                  <a:gd name="T64" fmla="*/ 66 w 73"/>
                  <a:gd name="T65" fmla="*/ 4 h 32"/>
                  <a:gd name="T66" fmla="*/ 52 w 73"/>
                  <a:gd name="T67" fmla="*/ 6 h 32"/>
                  <a:gd name="T68" fmla="*/ 48 w 73"/>
                  <a:gd name="T69" fmla="*/ 10 h 32"/>
                  <a:gd name="T70" fmla="*/ 50 w 73"/>
                  <a:gd name="T71" fmla="*/ 5 h 32"/>
                  <a:gd name="T72" fmla="*/ 47 w 73"/>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32">
                    <a:moveTo>
                      <a:pt x="43" y="0"/>
                    </a:moveTo>
                    <a:cubicBezTo>
                      <a:pt x="42" y="1"/>
                      <a:pt x="41" y="1"/>
                      <a:pt x="40" y="1"/>
                    </a:cubicBezTo>
                    <a:cubicBezTo>
                      <a:pt x="39" y="1"/>
                      <a:pt x="38" y="1"/>
                      <a:pt x="37" y="1"/>
                    </a:cubicBezTo>
                    <a:cubicBezTo>
                      <a:pt x="36" y="1"/>
                      <a:pt x="36" y="2"/>
                      <a:pt x="35" y="2"/>
                    </a:cubicBezTo>
                    <a:cubicBezTo>
                      <a:pt x="35" y="2"/>
                      <a:pt x="35" y="1"/>
                      <a:pt x="34" y="1"/>
                    </a:cubicBezTo>
                    <a:cubicBezTo>
                      <a:pt x="34" y="1"/>
                      <a:pt x="33" y="2"/>
                      <a:pt x="33" y="2"/>
                    </a:cubicBezTo>
                    <a:cubicBezTo>
                      <a:pt x="32" y="2"/>
                      <a:pt x="32" y="1"/>
                      <a:pt x="32" y="1"/>
                    </a:cubicBezTo>
                    <a:cubicBezTo>
                      <a:pt x="30" y="2"/>
                      <a:pt x="29" y="2"/>
                      <a:pt x="28" y="2"/>
                    </a:cubicBezTo>
                    <a:cubicBezTo>
                      <a:pt x="27" y="2"/>
                      <a:pt x="26" y="1"/>
                      <a:pt x="25" y="2"/>
                    </a:cubicBezTo>
                    <a:cubicBezTo>
                      <a:pt x="24" y="3"/>
                      <a:pt x="25" y="4"/>
                      <a:pt x="23" y="3"/>
                    </a:cubicBezTo>
                    <a:cubicBezTo>
                      <a:pt x="22" y="3"/>
                      <a:pt x="22" y="1"/>
                      <a:pt x="20" y="2"/>
                    </a:cubicBezTo>
                    <a:cubicBezTo>
                      <a:pt x="20" y="2"/>
                      <a:pt x="19" y="3"/>
                      <a:pt x="19" y="3"/>
                    </a:cubicBezTo>
                    <a:cubicBezTo>
                      <a:pt x="19" y="4"/>
                      <a:pt x="19" y="4"/>
                      <a:pt x="18" y="4"/>
                    </a:cubicBezTo>
                    <a:cubicBezTo>
                      <a:pt x="17" y="5"/>
                      <a:pt x="16" y="4"/>
                      <a:pt x="15" y="5"/>
                    </a:cubicBezTo>
                    <a:cubicBezTo>
                      <a:pt x="14" y="5"/>
                      <a:pt x="14" y="6"/>
                      <a:pt x="14" y="6"/>
                    </a:cubicBezTo>
                    <a:cubicBezTo>
                      <a:pt x="14" y="7"/>
                      <a:pt x="16" y="8"/>
                      <a:pt x="16" y="9"/>
                    </a:cubicBezTo>
                    <a:cubicBezTo>
                      <a:pt x="14" y="9"/>
                      <a:pt x="13" y="9"/>
                      <a:pt x="11" y="10"/>
                    </a:cubicBezTo>
                    <a:cubicBezTo>
                      <a:pt x="10" y="11"/>
                      <a:pt x="9" y="11"/>
                      <a:pt x="8" y="12"/>
                    </a:cubicBezTo>
                    <a:cubicBezTo>
                      <a:pt x="7" y="13"/>
                      <a:pt x="6" y="14"/>
                      <a:pt x="4" y="14"/>
                    </a:cubicBezTo>
                    <a:cubicBezTo>
                      <a:pt x="3" y="15"/>
                      <a:pt x="1" y="14"/>
                      <a:pt x="0" y="14"/>
                    </a:cubicBezTo>
                    <a:cubicBezTo>
                      <a:pt x="0" y="15"/>
                      <a:pt x="2" y="16"/>
                      <a:pt x="2" y="17"/>
                    </a:cubicBezTo>
                    <a:cubicBezTo>
                      <a:pt x="3" y="17"/>
                      <a:pt x="4" y="16"/>
                      <a:pt x="5" y="15"/>
                    </a:cubicBezTo>
                    <a:cubicBezTo>
                      <a:pt x="6" y="15"/>
                      <a:pt x="8" y="13"/>
                      <a:pt x="9" y="14"/>
                    </a:cubicBezTo>
                    <a:cubicBezTo>
                      <a:pt x="10" y="14"/>
                      <a:pt x="10" y="15"/>
                      <a:pt x="11" y="16"/>
                    </a:cubicBezTo>
                    <a:cubicBezTo>
                      <a:pt x="10" y="16"/>
                      <a:pt x="9" y="16"/>
                      <a:pt x="8" y="17"/>
                    </a:cubicBezTo>
                    <a:cubicBezTo>
                      <a:pt x="9" y="17"/>
                      <a:pt x="10" y="17"/>
                      <a:pt x="11" y="17"/>
                    </a:cubicBezTo>
                    <a:cubicBezTo>
                      <a:pt x="12" y="17"/>
                      <a:pt x="15" y="16"/>
                      <a:pt x="14" y="18"/>
                    </a:cubicBezTo>
                    <a:cubicBezTo>
                      <a:pt x="14" y="18"/>
                      <a:pt x="14" y="19"/>
                      <a:pt x="14" y="19"/>
                    </a:cubicBezTo>
                    <a:cubicBezTo>
                      <a:pt x="14" y="20"/>
                      <a:pt x="14" y="21"/>
                      <a:pt x="14" y="21"/>
                    </a:cubicBezTo>
                    <a:cubicBezTo>
                      <a:pt x="15" y="22"/>
                      <a:pt x="15" y="22"/>
                      <a:pt x="16" y="22"/>
                    </a:cubicBezTo>
                    <a:cubicBezTo>
                      <a:pt x="17" y="22"/>
                      <a:pt x="17" y="22"/>
                      <a:pt x="17" y="23"/>
                    </a:cubicBezTo>
                    <a:cubicBezTo>
                      <a:pt x="18" y="23"/>
                      <a:pt x="17" y="24"/>
                      <a:pt x="17" y="24"/>
                    </a:cubicBezTo>
                    <a:cubicBezTo>
                      <a:pt x="18" y="24"/>
                      <a:pt x="19" y="25"/>
                      <a:pt x="19" y="25"/>
                    </a:cubicBezTo>
                    <a:cubicBezTo>
                      <a:pt x="20" y="26"/>
                      <a:pt x="21" y="26"/>
                      <a:pt x="22" y="26"/>
                    </a:cubicBezTo>
                    <a:cubicBezTo>
                      <a:pt x="24" y="26"/>
                      <a:pt x="26" y="25"/>
                      <a:pt x="28" y="25"/>
                    </a:cubicBezTo>
                    <a:cubicBezTo>
                      <a:pt x="27" y="29"/>
                      <a:pt x="33" y="27"/>
                      <a:pt x="35" y="27"/>
                    </a:cubicBezTo>
                    <a:cubicBezTo>
                      <a:pt x="35" y="27"/>
                      <a:pt x="35" y="27"/>
                      <a:pt x="35" y="27"/>
                    </a:cubicBezTo>
                    <a:cubicBezTo>
                      <a:pt x="36" y="27"/>
                      <a:pt x="38" y="27"/>
                      <a:pt x="39" y="27"/>
                    </a:cubicBezTo>
                    <a:cubicBezTo>
                      <a:pt x="40" y="28"/>
                      <a:pt x="40" y="28"/>
                      <a:pt x="40" y="28"/>
                    </a:cubicBezTo>
                    <a:cubicBezTo>
                      <a:pt x="41" y="29"/>
                      <a:pt x="41" y="29"/>
                      <a:pt x="42" y="29"/>
                    </a:cubicBezTo>
                    <a:cubicBezTo>
                      <a:pt x="42" y="29"/>
                      <a:pt x="43" y="30"/>
                      <a:pt x="44" y="30"/>
                    </a:cubicBezTo>
                    <a:cubicBezTo>
                      <a:pt x="45" y="31"/>
                      <a:pt x="47" y="30"/>
                      <a:pt x="48" y="31"/>
                    </a:cubicBezTo>
                    <a:cubicBezTo>
                      <a:pt x="47" y="31"/>
                      <a:pt x="46" y="31"/>
                      <a:pt x="46" y="31"/>
                    </a:cubicBezTo>
                    <a:cubicBezTo>
                      <a:pt x="48" y="31"/>
                      <a:pt x="50" y="31"/>
                      <a:pt x="52" y="31"/>
                    </a:cubicBezTo>
                    <a:cubicBezTo>
                      <a:pt x="53" y="31"/>
                      <a:pt x="54" y="32"/>
                      <a:pt x="56" y="32"/>
                    </a:cubicBezTo>
                    <a:cubicBezTo>
                      <a:pt x="59" y="32"/>
                      <a:pt x="62" y="31"/>
                      <a:pt x="65" y="31"/>
                    </a:cubicBezTo>
                    <a:cubicBezTo>
                      <a:pt x="66" y="31"/>
                      <a:pt x="67" y="31"/>
                      <a:pt x="69" y="30"/>
                    </a:cubicBezTo>
                    <a:cubicBezTo>
                      <a:pt x="70" y="29"/>
                      <a:pt x="71" y="29"/>
                      <a:pt x="71" y="28"/>
                    </a:cubicBezTo>
                    <a:cubicBezTo>
                      <a:pt x="73" y="27"/>
                      <a:pt x="70" y="25"/>
                      <a:pt x="69" y="25"/>
                    </a:cubicBezTo>
                    <a:cubicBezTo>
                      <a:pt x="67" y="24"/>
                      <a:pt x="65" y="23"/>
                      <a:pt x="64" y="21"/>
                    </a:cubicBezTo>
                    <a:cubicBezTo>
                      <a:pt x="63" y="20"/>
                      <a:pt x="63" y="20"/>
                      <a:pt x="64" y="20"/>
                    </a:cubicBezTo>
                    <a:cubicBezTo>
                      <a:pt x="65" y="20"/>
                      <a:pt x="65" y="20"/>
                      <a:pt x="66" y="21"/>
                    </a:cubicBezTo>
                    <a:cubicBezTo>
                      <a:pt x="67" y="21"/>
                      <a:pt x="67" y="21"/>
                      <a:pt x="68" y="20"/>
                    </a:cubicBezTo>
                    <a:cubicBezTo>
                      <a:pt x="69" y="20"/>
                      <a:pt x="70" y="19"/>
                      <a:pt x="70" y="18"/>
                    </a:cubicBezTo>
                    <a:cubicBezTo>
                      <a:pt x="69" y="17"/>
                      <a:pt x="69" y="17"/>
                      <a:pt x="69" y="16"/>
                    </a:cubicBezTo>
                    <a:cubicBezTo>
                      <a:pt x="69" y="16"/>
                      <a:pt x="70" y="16"/>
                      <a:pt x="70" y="15"/>
                    </a:cubicBezTo>
                    <a:cubicBezTo>
                      <a:pt x="70" y="14"/>
                      <a:pt x="70" y="14"/>
                      <a:pt x="70" y="13"/>
                    </a:cubicBezTo>
                    <a:cubicBezTo>
                      <a:pt x="70" y="12"/>
                      <a:pt x="70" y="12"/>
                      <a:pt x="71" y="12"/>
                    </a:cubicBezTo>
                    <a:cubicBezTo>
                      <a:pt x="71" y="11"/>
                      <a:pt x="71" y="11"/>
                      <a:pt x="71" y="10"/>
                    </a:cubicBezTo>
                    <a:cubicBezTo>
                      <a:pt x="71" y="10"/>
                      <a:pt x="72" y="10"/>
                      <a:pt x="72" y="10"/>
                    </a:cubicBezTo>
                    <a:cubicBezTo>
                      <a:pt x="73" y="9"/>
                      <a:pt x="73" y="9"/>
                      <a:pt x="72" y="8"/>
                    </a:cubicBezTo>
                    <a:cubicBezTo>
                      <a:pt x="71" y="7"/>
                      <a:pt x="70" y="7"/>
                      <a:pt x="69" y="6"/>
                    </a:cubicBezTo>
                    <a:cubicBezTo>
                      <a:pt x="68" y="6"/>
                      <a:pt x="68" y="5"/>
                      <a:pt x="68" y="5"/>
                    </a:cubicBezTo>
                    <a:cubicBezTo>
                      <a:pt x="67" y="5"/>
                      <a:pt x="67" y="5"/>
                      <a:pt x="67" y="5"/>
                    </a:cubicBezTo>
                    <a:cubicBezTo>
                      <a:pt x="67" y="5"/>
                      <a:pt x="66" y="4"/>
                      <a:pt x="66" y="4"/>
                    </a:cubicBezTo>
                    <a:cubicBezTo>
                      <a:pt x="66" y="4"/>
                      <a:pt x="66" y="4"/>
                      <a:pt x="66" y="4"/>
                    </a:cubicBezTo>
                    <a:cubicBezTo>
                      <a:pt x="64" y="3"/>
                      <a:pt x="64" y="3"/>
                      <a:pt x="62" y="4"/>
                    </a:cubicBezTo>
                    <a:cubicBezTo>
                      <a:pt x="58" y="4"/>
                      <a:pt x="55" y="5"/>
                      <a:pt x="52" y="6"/>
                    </a:cubicBezTo>
                    <a:cubicBezTo>
                      <a:pt x="51" y="7"/>
                      <a:pt x="50" y="8"/>
                      <a:pt x="49" y="8"/>
                    </a:cubicBezTo>
                    <a:cubicBezTo>
                      <a:pt x="49" y="9"/>
                      <a:pt x="49" y="9"/>
                      <a:pt x="48" y="10"/>
                    </a:cubicBezTo>
                    <a:cubicBezTo>
                      <a:pt x="47" y="10"/>
                      <a:pt x="45" y="11"/>
                      <a:pt x="44" y="11"/>
                    </a:cubicBezTo>
                    <a:cubicBezTo>
                      <a:pt x="45" y="9"/>
                      <a:pt x="48" y="7"/>
                      <a:pt x="50" y="5"/>
                    </a:cubicBezTo>
                    <a:cubicBezTo>
                      <a:pt x="50" y="5"/>
                      <a:pt x="54" y="3"/>
                      <a:pt x="52" y="2"/>
                    </a:cubicBezTo>
                    <a:cubicBezTo>
                      <a:pt x="50" y="2"/>
                      <a:pt x="49" y="0"/>
                      <a:pt x="47" y="0"/>
                    </a:cubicBezTo>
                    <a:cubicBezTo>
                      <a:pt x="46" y="0"/>
                      <a:pt x="44" y="0"/>
                      <a:pt x="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5" name="Freeform 2745">
                <a:extLst>
                  <a:ext uri="{FF2B5EF4-FFF2-40B4-BE49-F238E27FC236}">
                    <a16:creationId xmlns:a16="http://schemas.microsoft.com/office/drawing/2014/main" id="{D17065C0-9789-4D72-AB9E-A577EFF305B6}"/>
                  </a:ext>
                </a:extLst>
              </p:cNvPr>
              <p:cNvSpPr>
                <a:spLocks/>
              </p:cNvSpPr>
              <p:nvPr/>
            </p:nvSpPr>
            <p:spPr bwMode="auto">
              <a:xfrm>
                <a:off x="4918" y="152"/>
                <a:ext cx="45" cy="12"/>
              </a:xfrm>
              <a:custGeom>
                <a:avLst/>
                <a:gdLst>
                  <a:gd name="T0" fmla="*/ 19 w 19"/>
                  <a:gd name="T1" fmla="*/ 4 h 5"/>
                  <a:gd name="T2" fmla="*/ 15 w 19"/>
                  <a:gd name="T3" fmla="*/ 2 h 5"/>
                  <a:gd name="T4" fmla="*/ 12 w 19"/>
                  <a:gd name="T5" fmla="*/ 2 h 5"/>
                  <a:gd name="T6" fmla="*/ 11 w 19"/>
                  <a:gd name="T7" fmla="*/ 0 h 5"/>
                  <a:gd name="T8" fmla="*/ 9 w 19"/>
                  <a:gd name="T9" fmla="*/ 0 h 5"/>
                  <a:gd name="T10" fmla="*/ 4 w 19"/>
                  <a:gd name="T11" fmla="*/ 1 h 5"/>
                  <a:gd name="T12" fmla="*/ 0 w 19"/>
                  <a:gd name="T13" fmla="*/ 3 h 5"/>
                  <a:gd name="T14" fmla="*/ 14 w 19"/>
                  <a:gd name="T15" fmla="*/ 5 h 5"/>
                  <a:gd name="T16" fmla="*/ 19 w 19"/>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
                    <a:moveTo>
                      <a:pt x="19" y="4"/>
                    </a:moveTo>
                    <a:cubicBezTo>
                      <a:pt x="18" y="3"/>
                      <a:pt x="16" y="2"/>
                      <a:pt x="15" y="2"/>
                    </a:cubicBezTo>
                    <a:cubicBezTo>
                      <a:pt x="14" y="2"/>
                      <a:pt x="13" y="2"/>
                      <a:pt x="12" y="2"/>
                    </a:cubicBezTo>
                    <a:cubicBezTo>
                      <a:pt x="12" y="1"/>
                      <a:pt x="12" y="0"/>
                      <a:pt x="11" y="0"/>
                    </a:cubicBezTo>
                    <a:cubicBezTo>
                      <a:pt x="11" y="0"/>
                      <a:pt x="10" y="0"/>
                      <a:pt x="9" y="0"/>
                    </a:cubicBezTo>
                    <a:cubicBezTo>
                      <a:pt x="7" y="0"/>
                      <a:pt x="6" y="1"/>
                      <a:pt x="4" y="1"/>
                    </a:cubicBezTo>
                    <a:cubicBezTo>
                      <a:pt x="3" y="1"/>
                      <a:pt x="1" y="2"/>
                      <a:pt x="0" y="3"/>
                    </a:cubicBezTo>
                    <a:cubicBezTo>
                      <a:pt x="5" y="3"/>
                      <a:pt x="10" y="4"/>
                      <a:pt x="14" y="5"/>
                    </a:cubicBezTo>
                    <a:cubicBezTo>
                      <a:pt x="16" y="4"/>
                      <a:pt x="17" y="4"/>
                      <a:pt x="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6" name="Freeform 2746">
                <a:extLst>
                  <a:ext uri="{FF2B5EF4-FFF2-40B4-BE49-F238E27FC236}">
                    <a16:creationId xmlns:a16="http://schemas.microsoft.com/office/drawing/2014/main" id="{D85D6C43-C0D8-4595-8EBE-8543FA204687}"/>
                  </a:ext>
                </a:extLst>
              </p:cNvPr>
              <p:cNvSpPr>
                <a:spLocks/>
              </p:cNvSpPr>
              <p:nvPr/>
            </p:nvSpPr>
            <p:spPr bwMode="auto">
              <a:xfrm>
                <a:off x="7862" y="659"/>
                <a:ext cx="94" cy="33"/>
              </a:xfrm>
              <a:custGeom>
                <a:avLst/>
                <a:gdLst>
                  <a:gd name="T0" fmla="*/ 2 w 40"/>
                  <a:gd name="T1" fmla="*/ 14 h 14"/>
                  <a:gd name="T2" fmla="*/ 6 w 40"/>
                  <a:gd name="T3" fmla="*/ 13 h 14"/>
                  <a:gd name="T4" fmla="*/ 14 w 40"/>
                  <a:gd name="T5" fmla="*/ 10 h 14"/>
                  <a:gd name="T6" fmla="*/ 14 w 40"/>
                  <a:gd name="T7" fmla="*/ 10 h 14"/>
                  <a:gd name="T8" fmla="*/ 15 w 40"/>
                  <a:gd name="T9" fmla="*/ 10 h 14"/>
                  <a:gd name="T10" fmla="*/ 19 w 40"/>
                  <a:gd name="T11" fmla="*/ 12 h 14"/>
                  <a:gd name="T12" fmla="*/ 22 w 40"/>
                  <a:gd name="T13" fmla="*/ 12 h 14"/>
                  <a:gd name="T14" fmla="*/ 26 w 40"/>
                  <a:gd name="T15" fmla="*/ 11 h 14"/>
                  <a:gd name="T16" fmla="*/ 33 w 40"/>
                  <a:gd name="T17" fmla="*/ 10 h 14"/>
                  <a:gd name="T18" fmla="*/ 40 w 40"/>
                  <a:gd name="T19" fmla="*/ 5 h 14"/>
                  <a:gd name="T20" fmla="*/ 34 w 40"/>
                  <a:gd name="T21" fmla="*/ 2 h 14"/>
                  <a:gd name="T22" fmla="*/ 34 w 40"/>
                  <a:gd name="T23" fmla="*/ 1 h 14"/>
                  <a:gd name="T24" fmla="*/ 31 w 40"/>
                  <a:gd name="T25" fmla="*/ 0 h 14"/>
                  <a:gd name="T26" fmla="*/ 29 w 40"/>
                  <a:gd name="T27" fmla="*/ 0 h 14"/>
                  <a:gd name="T28" fmla="*/ 23 w 40"/>
                  <a:gd name="T29" fmla="*/ 0 h 14"/>
                  <a:gd name="T30" fmla="*/ 14 w 40"/>
                  <a:gd name="T31" fmla="*/ 0 h 14"/>
                  <a:gd name="T32" fmla="*/ 3 w 40"/>
                  <a:gd name="T33" fmla="*/ 6 h 14"/>
                  <a:gd name="T34" fmla="*/ 1 w 40"/>
                  <a:gd name="T35" fmla="*/ 10 h 14"/>
                  <a:gd name="T36" fmla="*/ 1 w 40"/>
                  <a:gd name="T37" fmla="*/ 12 h 14"/>
                  <a:gd name="T38" fmla="*/ 2 w 40"/>
                  <a:gd name="T3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14">
                    <a:moveTo>
                      <a:pt x="2" y="14"/>
                    </a:moveTo>
                    <a:cubicBezTo>
                      <a:pt x="4" y="13"/>
                      <a:pt x="5" y="13"/>
                      <a:pt x="6" y="13"/>
                    </a:cubicBezTo>
                    <a:cubicBezTo>
                      <a:pt x="8" y="12"/>
                      <a:pt x="11" y="11"/>
                      <a:pt x="14" y="10"/>
                    </a:cubicBezTo>
                    <a:cubicBezTo>
                      <a:pt x="14" y="10"/>
                      <a:pt x="14" y="10"/>
                      <a:pt x="14" y="10"/>
                    </a:cubicBezTo>
                    <a:cubicBezTo>
                      <a:pt x="14" y="10"/>
                      <a:pt x="14" y="10"/>
                      <a:pt x="15" y="10"/>
                    </a:cubicBezTo>
                    <a:cubicBezTo>
                      <a:pt x="16" y="11"/>
                      <a:pt x="18" y="11"/>
                      <a:pt x="19" y="12"/>
                    </a:cubicBezTo>
                    <a:cubicBezTo>
                      <a:pt x="20" y="12"/>
                      <a:pt x="21" y="12"/>
                      <a:pt x="22" y="12"/>
                    </a:cubicBezTo>
                    <a:cubicBezTo>
                      <a:pt x="24" y="12"/>
                      <a:pt x="25" y="11"/>
                      <a:pt x="26" y="11"/>
                    </a:cubicBezTo>
                    <a:cubicBezTo>
                      <a:pt x="29" y="11"/>
                      <a:pt x="31" y="10"/>
                      <a:pt x="33" y="10"/>
                    </a:cubicBezTo>
                    <a:cubicBezTo>
                      <a:pt x="36" y="9"/>
                      <a:pt x="38" y="8"/>
                      <a:pt x="40" y="5"/>
                    </a:cubicBezTo>
                    <a:cubicBezTo>
                      <a:pt x="38" y="4"/>
                      <a:pt x="36" y="3"/>
                      <a:pt x="34" y="2"/>
                    </a:cubicBezTo>
                    <a:cubicBezTo>
                      <a:pt x="34" y="2"/>
                      <a:pt x="34" y="1"/>
                      <a:pt x="34" y="1"/>
                    </a:cubicBezTo>
                    <a:cubicBezTo>
                      <a:pt x="33" y="1"/>
                      <a:pt x="32" y="0"/>
                      <a:pt x="31" y="0"/>
                    </a:cubicBezTo>
                    <a:cubicBezTo>
                      <a:pt x="31" y="0"/>
                      <a:pt x="30" y="0"/>
                      <a:pt x="29" y="0"/>
                    </a:cubicBezTo>
                    <a:cubicBezTo>
                      <a:pt x="27" y="0"/>
                      <a:pt x="25" y="0"/>
                      <a:pt x="23" y="0"/>
                    </a:cubicBezTo>
                    <a:cubicBezTo>
                      <a:pt x="20" y="0"/>
                      <a:pt x="17" y="0"/>
                      <a:pt x="14" y="0"/>
                    </a:cubicBezTo>
                    <a:cubicBezTo>
                      <a:pt x="11" y="2"/>
                      <a:pt x="7" y="4"/>
                      <a:pt x="3" y="6"/>
                    </a:cubicBezTo>
                    <a:cubicBezTo>
                      <a:pt x="2" y="7"/>
                      <a:pt x="0" y="9"/>
                      <a:pt x="1" y="10"/>
                    </a:cubicBezTo>
                    <a:cubicBezTo>
                      <a:pt x="1" y="11"/>
                      <a:pt x="1" y="11"/>
                      <a:pt x="1" y="12"/>
                    </a:cubicBezTo>
                    <a:cubicBezTo>
                      <a:pt x="2" y="13"/>
                      <a:pt x="2"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7" name="Freeform 2747">
                <a:extLst>
                  <a:ext uri="{FF2B5EF4-FFF2-40B4-BE49-F238E27FC236}">
                    <a16:creationId xmlns:a16="http://schemas.microsoft.com/office/drawing/2014/main" id="{E5E4CA42-84C3-4216-97DD-3C00C8DEE0CB}"/>
                  </a:ext>
                </a:extLst>
              </p:cNvPr>
              <p:cNvSpPr>
                <a:spLocks/>
              </p:cNvSpPr>
              <p:nvPr/>
            </p:nvSpPr>
            <p:spPr bwMode="auto">
              <a:xfrm>
                <a:off x="6819" y="455"/>
                <a:ext cx="19" cy="24"/>
              </a:xfrm>
              <a:custGeom>
                <a:avLst/>
                <a:gdLst>
                  <a:gd name="T0" fmla="*/ 0 w 8"/>
                  <a:gd name="T1" fmla="*/ 10 h 10"/>
                  <a:gd name="T2" fmla="*/ 6 w 8"/>
                  <a:gd name="T3" fmla="*/ 9 h 10"/>
                  <a:gd name="T4" fmla="*/ 6 w 8"/>
                  <a:gd name="T5" fmla="*/ 5 h 10"/>
                  <a:gd name="T6" fmla="*/ 4 w 8"/>
                  <a:gd name="T7" fmla="*/ 3 h 10"/>
                  <a:gd name="T8" fmla="*/ 3 w 8"/>
                  <a:gd name="T9" fmla="*/ 0 h 10"/>
                  <a:gd name="T10" fmla="*/ 1 w 8"/>
                  <a:gd name="T11" fmla="*/ 5 h 10"/>
                  <a:gd name="T12" fmla="*/ 2 w 8"/>
                  <a:gd name="T13" fmla="*/ 7 h 10"/>
                  <a:gd name="T14" fmla="*/ 0 w 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0" y="10"/>
                    </a:moveTo>
                    <a:cubicBezTo>
                      <a:pt x="2" y="10"/>
                      <a:pt x="5" y="10"/>
                      <a:pt x="6" y="9"/>
                    </a:cubicBezTo>
                    <a:cubicBezTo>
                      <a:pt x="7" y="7"/>
                      <a:pt x="8" y="5"/>
                      <a:pt x="6" y="5"/>
                    </a:cubicBezTo>
                    <a:cubicBezTo>
                      <a:pt x="5" y="4"/>
                      <a:pt x="5" y="4"/>
                      <a:pt x="4" y="3"/>
                    </a:cubicBezTo>
                    <a:cubicBezTo>
                      <a:pt x="4" y="2"/>
                      <a:pt x="4" y="1"/>
                      <a:pt x="3" y="0"/>
                    </a:cubicBezTo>
                    <a:cubicBezTo>
                      <a:pt x="3" y="2"/>
                      <a:pt x="1" y="3"/>
                      <a:pt x="1" y="5"/>
                    </a:cubicBezTo>
                    <a:cubicBezTo>
                      <a:pt x="1" y="6"/>
                      <a:pt x="2" y="6"/>
                      <a:pt x="2" y="7"/>
                    </a:cubicBezTo>
                    <a:cubicBezTo>
                      <a:pt x="1" y="8"/>
                      <a:pt x="1" y="9"/>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8" name="Freeform 2748">
                <a:extLst>
                  <a:ext uri="{FF2B5EF4-FFF2-40B4-BE49-F238E27FC236}">
                    <a16:creationId xmlns:a16="http://schemas.microsoft.com/office/drawing/2014/main" id="{130761AD-8E82-4E5A-82A5-B6867B94B5BE}"/>
                  </a:ext>
                </a:extLst>
              </p:cNvPr>
              <p:cNvSpPr>
                <a:spLocks/>
              </p:cNvSpPr>
              <p:nvPr/>
            </p:nvSpPr>
            <p:spPr bwMode="auto">
              <a:xfrm>
                <a:off x="7077" y="469"/>
                <a:ext cx="116" cy="41"/>
              </a:xfrm>
              <a:custGeom>
                <a:avLst/>
                <a:gdLst>
                  <a:gd name="T0" fmla="*/ 31 w 49"/>
                  <a:gd name="T1" fmla="*/ 17 h 17"/>
                  <a:gd name="T2" fmla="*/ 37 w 49"/>
                  <a:gd name="T3" fmla="*/ 17 h 17"/>
                  <a:gd name="T4" fmla="*/ 39 w 49"/>
                  <a:gd name="T5" fmla="*/ 16 h 17"/>
                  <a:gd name="T6" fmla="*/ 41 w 49"/>
                  <a:gd name="T7" fmla="*/ 15 h 17"/>
                  <a:gd name="T8" fmla="*/ 46 w 49"/>
                  <a:gd name="T9" fmla="*/ 14 h 17"/>
                  <a:gd name="T10" fmla="*/ 48 w 49"/>
                  <a:gd name="T11" fmla="*/ 11 h 17"/>
                  <a:gd name="T12" fmla="*/ 49 w 49"/>
                  <a:gd name="T13" fmla="*/ 9 h 17"/>
                  <a:gd name="T14" fmla="*/ 44 w 49"/>
                  <a:gd name="T15" fmla="*/ 9 h 17"/>
                  <a:gd name="T16" fmla="*/ 42 w 49"/>
                  <a:gd name="T17" fmla="*/ 9 h 17"/>
                  <a:gd name="T18" fmla="*/ 38 w 49"/>
                  <a:gd name="T19" fmla="*/ 7 h 17"/>
                  <a:gd name="T20" fmla="*/ 32 w 49"/>
                  <a:gd name="T21" fmla="*/ 6 h 17"/>
                  <a:gd name="T22" fmla="*/ 25 w 49"/>
                  <a:gd name="T23" fmla="*/ 7 h 17"/>
                  <a:gd name="T24" fmla="*/ 25 w 49"/>
                  <a:gd name="T25" fmla="*/ 5 h 17"/>
                  <a:gd name="T26" fmla="*/ 23 w 49"/>
                  <a:gd name="T27" fmla="*/ 3 h 17"/>
                  <a:gd name="T28" fmla="*/ 17 w 49"/>
                  <a:gd name="T29" fmla="*/ 3 h 17"/>
                  <a:gd name="T30" fmla="*/ 11 w 49"/>
                  <a:gd name="T31" fmla="*/ 4 h 17"/>
                  <a:gd name="T32" fmla="*/ 9 w 49"/>
                  <a:gd name="T33" fmla="*/ 5 h 17"/>
                  <a:gd name="T34" fmla="*/ 6 w 49"/>
                  <a:gd name="T35" fmla="*/ 4 h 17"/>
                  <a:gd name="T36" fmla="*/ 6 w 49"/>
                  <a:gd name="T37" fmla="*/ 0 h 17"/>
                  <a:gd name="T38" fmla="*/ 3 w 49"/>
                  <a:gd name="T39" fmla="*/ 0 h 17"/>
                  <a:gd name="T40" fmla="*/ 2 w 49"/>
                  <a:gd name="T41" fmla="*/ 2 h 17"/>
                  <a:gd name="T42" fmla="*/ 1 w 49"/>
                  <a:gd name="T43" fmla="*/ 4 h 17"/>
                  <a:gd name="T44" fmla="*/ 1 w 49"/>
                  <a:gd name="T45" fmla="*/ 4 h 17"/>
                  <a:gd name="T46" fmla="*/ 1 w 49"/>
                  <a:gd name="T47" fmla="*/ 6 h 17"/>
                  <a:gd name="T48" fmla="*/ 0 w 49"/>
                  <a:gd name="T49" fmla="*/ 7 h 17"/>
                  <a:gd name="T50" fmla="*/ 18 w 49"/>
                  <a:gd name="T51" fmla="*/ 15 h 17"/>
                  <a:gd name="T52" fmla="*/ 31 w 49"/>
                  <a:gd name="T5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1" y="17"/>
                    </a:moveTo>
                    <a:cubicBezTo>
                      <a:pt x="33" y="17"/>
                      <a:pt x="35" y="17"/>
                      <a:pt x="37" y="17"/>
                    </a:cubicBezTo>
                    <a:cubicBezTo>
                      <a:pt x="38" y="17"/>
                      <a:pt x="38" y="16"/>
                      <a:pt x="39" y="16"/>
                    </a:cubicBezTo>
                    <a:cubicBezTo>
                      <a:pt x="40" y="16"/>
                      <a:pt x="41" y="15"/>
                      <a:pt x="41" y="15"/>
                    </a:cubicBezTo>
                    <a:cubicBezTo>
                      <a:pt x="43" y="15"/>
                      <a:pt x="45" y="15"/>
                      <a:pt x="46" y="14"/>
                    </a:cubicBezTo>
                    <a:cubicBezTo>
                      <a:pt x="47" y="14"/>
                      <a:pt x="47" y="12"/>
                      <a:pt x="48" y="11"/>
                    </a:cubicBezTo>
                    <a:cubicBezTo>
                      <a:pt x="48" y="11"/>
                      <a:pt x="48" y="10"/>
                      <a:pt x="49" y="9"/>
                    </a:cubicBezTo>
                    <a:cubicBezTo>
                      <a:pt x="47" y="9"/>
                      <a:pt x="46" y="9"/>
                      <a:pt x="44" y="9"/>
                    </a:cubicBezTo>
                    <a:cubicBezTo>
                      <a:pt x="43" y="9"/>
                      <a:pt x="43" y="9"/>
                      <a:pt x="42" y="9"/>
                    </a:cubicBezTo>
                    <a:cubicBezTo>
                      <a:pt x="44" y="8"/>
                      <a:pt x="39" y="7"/>
                      <a:pt x="38" y="7"/>
                    </a:cubicBezTo>
                    <a:cubicBezTo>
                      <a:pt x="36" y="7"/>
                      <a:pt x="34" y="6"/>
                      <a:pt x="32" y="6"/>
                    </a:cubicBezTo>
                    <a:cubicBezTo>
                      <a:pt x="30" y="7"/>
                      <a:pt x="27" y="8"/>
                      <a:pt x="25" y="7"/>
                    </a:cubicBezTo>
                    <a:cubicBezTo>
                      <a:pt x="24" y="6"/>
                      <a:pt x="25" y="6"/>
                      <a:pt x="25" y="5"/>
                    </a:cubicBezTo>
                    <a:cubicBezTo>
                      <a:pt x="26" y="4"/>
                      <a:pt x="24" y="4"/>
                      <a:pt x="23" y="3"/>
                    </a:cubicBezTo>
                    <a:cubicBezTo>
                      <a:pt x="21" y="3"/>
                      <a:pt x="19" y="4"/>
                      <a:pt x="17" y="3"/>
                    </a:cubicBezTo>
                    <a:cubicBezTo>
                      <a:pt x="15" y="3"/>
                      <a:pt x="13" y="3"/>
                      <a:pt x="11" y="4"/>
                    </a:cubicBezTo>
                    <a:cubicBezTo>
                      <a:pt x="10" y="5"/>
                      <a:pt x="10" y="5"/>
                      <a:pt x="9" y="5"/>
                    </a:cubicBezTo>
                    <a:cubicBezTo>
                      <a:pt x="8" y="5"/>
                      <a:pt x="7" y="4"/>
                      <a:pt x="6" y="4"/>
                    </a:cubicBezTo>
                    <a:cubicBezTo>
                      <a:pt x="6" y="3"/>
                      <a:pt x="7" y="2"/>
                      <a:pt x="6" y="0"/>
                    </a:cubicBezTo>
                    <a:cubicBezTo>
                      <a:pt x="5" y="0"/>
                      <a:pt x="3" y="0"/>
                      <a:pt x="3" y="0"/>
                    </a:cubicBezTo>
                    <a:cubicBezTo>
                      <a:pt x="3" y="1"/>
                      <a:pt x="3" y="2"/>
                      <a:pt x="2" y="2"/>
                    </a:cubicBezTo>
                    <a:cubicBezTo>
                      <a:pt x="2" y="3"/>
                      <a:pt x="2" y="3"/>
                      <a:pt x="1" y="4"/>
                    </a:cubicBezTo>
                    <a:cubicBezTo>
                      <a:pt x="1" y="4"/>
                      <a:pt x="1" y="4"/>
                      <a:pt x="1" y="4"/>
                    </a:cubicBezTo>
                    <a:cubicBezTo>
                      <a:pt x="1" y="5"/>
                      <a:pt x="1" y="5"/>
                      <a:pt x="1" y="6"/>
                    </a:cubicBezTo>
                    <a:cubicBezTo>
                      <a:pt x="1" y="7"/>
                      <a:pt x="0" y="7"/>
                      <a:pt x="0" y="7"/>
                    </a:cubicBezTo>
                    <a:cubicBezTo>
                      <a:pt x="6" y="10"/>
                      <a:pt x="12" y="12"/>
                      <a:pt x="18" y="15"/>
                    </a:cubicBezTo>
                    <a:cubicBezTo>
                      <a:pt x="22" y="16"/>
                      <a:pt x="27" y="17"/>
                      <a:pt x="3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9" name="Freeform 2749">
                <a:extLst>
                  <a:ext uri="{FF2B5EF4-FFF2-40B4-BE49-F238E27FC236}">
                    <a16:creationId xmlns:a16="http://schemas.microsoft.com/office/drawing/2014/main" id="{D52C1AD8-CBCD-4D7C-A1CB-1F3735BE8FFA}"/>
                  </a:ext>
                </a:extLst>
              </p:cNvPr>
              <p:cNvSpPr>
                <a:spLocks/>
              </p:cNvSpPr>
              <p:nvPr/>
            </p:nvSpPr>
            <p:spPr bwMode="auto">
              <a:xfrm>
                <a:off x="5949" y="271"/>
                <a:ext cx="149" cy="80"/>
              </a:xfrm>
              <a:custGeom>
                <a:avLst/>
                <a:gdLst>
                  <a:gd name="T0" fmla="*/ 3 w 63"/>
                  <a:gd name="T1" fmla="*/ 27 h 34"/>
                  <a:gd name="T2" fmla="*/ 1 w 63"/>
                  <a:gd name="T3" fmla="*/ 31 h 34"/>
                  <a:gd name="T4" fmla="*/ 8 w 63"/>
                  <a:gd name="T5" fmla="*/ 33 h 34"/>
                  <a:gd name="T6" fmla="*/ 13 w 63"/>
                  <a:gd name="T7" fmla="*/ 31 h 34"/>
                  <a:gd name="T8" fmla="*/ 18 w 63"/>
                  <a:gd name="T9" fmla="*/ 29 h 34"/>
                  <a:gd name="T10" fmla="*/ 25 w 63"/>
                  <a:gd name="T11" fmla="*/ 28 h 34"/>
                  <a:gd name="T12" fmla="*/ 27 w 63"/>
                  <a:gd name="T13" fmla="*/ 28 h 34"/>
                  <a:gd name="T14" fmla="*/ 31 w 63"/>
                  <a:gd name="T15" fmla="*/ 28 h 34"/>
                  <a:gd name="T16" fmla="*/ 34 w 63"/>
                  <a:gd name="T17" fmla="*/ 28 h 34"/>
                  <a:gd name="T18" fmla="*/ 37 w 63"/>
                  <a:gd name="T19" fmla="*/ 27 h 34"/>
                  <a:gd name="T20" fmla="*/ 40 w 63"/>
                  <a:gd name="T21" fmla="*/ 27 h 34"/>
                  <a:gd name="T22" fmla="*/ 43 w 63"/>
                  <a:gd name="T23" fmla="*/ 27 h 34"/>
                  <a:gd name="T24" fmla="*/ 47 w 63"/>
                  <a:gd name="T25" fmla="*/ 26 h 34"/>
                  <a:gd name="T26" fmla="*/ 50 w 63"/>
                  <a:gd name="T27" fmla="*/ 25 h 34"/>
                  <a:gd name="T28" fmla="*/ 53 w 63"/>
                  <a:gd name="T29" fmla="*/ 25 h 34"/>
                  <a:gd name="T30" fmla="*/ 57 w 63"/>
                  <a:gd name="T31" fmla="*/ 25 h 34"/>
                  <a:gd name="T32" fmla="*/ 61 w 63"/>
                  <a:gd name="T33" fmla="*/ 22 h 34"/>
                  <a:gd name="T34" fmla="*/ 63 w 63"/>
                  <a:gd name="T35" fmla="*/ 19 h 34"/>
                  <a:gd name="T36" fmla="*/ 62 w 63"/>
                  <a:gd name="T37" fmla="*/ 17 h 34"/>
                  <a:gd name="T38" fmla="*/ 61 w 63"/>
                  <a:gd name="T39" fmla="*/ 15 h 34"/>
                  <a:gd name="T40" fmla="*/ 52 w 63"/>
                  <a:gd name="T41" fmla="*/ 13 h 34"/>
                  <a:gd name="T42" fmla="*/ 53 w 63"/>
                  <a:gd name="T43" fmla="*/ 12 h 34"/>
                  <a:gd name="T44" fmla="*/ 52 w 63"/>
                  <a:gd name="T45" fmla="*/ 10 h 34"/>
                  <a:gd name="T46" fmla="*/ 49 w 63"/>
                  <a:gd name="T47" fmla="*/ 10 h 34"/>
                  <a:gd name="T48" fmla="*/ 48 w 63"/>
                  <a:gd name="T49" fmla="*/ 9 h 34"/>
                  <a:gd name="T50" fmla="*/ 48 w 63"/>
                  <a:gd name="T51" fmla="*/ 7 h 34"/>
                  <a:gd name="T52" fmla="*/ 45 w 63"/>
                  <a:gd name="T53" fmla="*/ 6 h 34"/>
                  <a:gd name="T54" fmla="*/ 34 w 63"/>
                  <a:gd name="T55" fmla="*/ 8 h 34"/>
                  <a:gd name="T56" fmla="*/ 35 w 63"/>
                  <a:gd name="T57" fmla="*/ 7 h 34"/>
                  <a:gd name="T58" fmla="*/ 35 w 63"/>
                  <a:gd name="T59" fmla="*/ 6 h 34"/>
                  <a:gd name="T60" fmla="*/ 36 w 63"/>
                  <a:gd name="T61" fmla="*/ 5 h 34"/>
                  <a:gd name="T62" fmla="*/ 36 w 63"/>
                  <a:gd name="T63" fmla="*/ 4 h 34"/>
                  <a:gd name="T64" fmla="*/ 38 w 63"/>
                  <a:gd name="T65" fmla="*/ 2 h 34"/>
                  <a:gd name="T66" fmla="*/ 35 w 63"/>
                  <a:gd name="T67" fmla="*/ 1 h 34"/>
                  <a:gd name="T68" fmla="*/ 31 w 63"/>
                  <a:gd name="T69" fmla="*/ 0 h 34"/>
                  <a:gd name="T70" fmla="*/ 26 w 63"/>
                  <a:gd name="T71" fmla="*/ 4 h 34"/>
                  <a:gd name="T72" fmla="*/ 25 w 63"/>
                  <a:gd name="T73" fmla="*/ 2 h 34"/>
                  <a:gd name="T74" fmla="*/ 20 w 63"/>
                  <a:gd name="T75" fmla="*/ 4 h 34"/>
                  <a:gd name="T76" fmla="*/ 20 w 63"/>
                  <a:gd name="T77" fmla="*/ 9 h 34"/>
                  <a:gd name="T78" fmla="*/ 21 w 63"/>
                  <a:gd name="T79" fmla="*/ 10 h 34"/>
                  <a:gd name="T80" fmla="*/ 22 w 63"/>
                  <a:gd name="T81" fmla="*/ 10 h 34"/>
                  <a:gd name="T82" fmla="*/ 21 w 63"/>
                  <a:gd name="T83" fmla="*/ 10 h 34"/>
                  <a:gd name="T84" fmla="*/ 16 w 63"/>
                  <a:gd name="T85" fmla="*/ 10 h 34"/>
                  <a:gd name="T86" fmla="*/ 15 w 63"/>
                  <a:gd name="T87" fmla="*/ 13 h 34"/>
                  <a:gd name="T88" fmla="*/ 16 w 63"/>
                  <a:gd name="T89" fmla="*/ 15 h 34"/>
                  <a:gd name="T90" fmla="*/ 18 w 63"/>
                  <a:gd name="T91" fmla="*/ 15 h 34"/>
                  <a:gd name="T92" fmla="*/ 12 w 63"/>
                  <a:gd name="T93" fmla="*/ 15 h 34"/>
                  <a:gd name="T94" fmla="*/ 6 w 63"/>
                  <a:gd name="T95" fmla="*/ 23 h 34"/>
                  <a:gd name="T96" fmla="*/ 3 w 63"/>
                  <a:gd name="T97"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 h="34">
                    <a:moveTo>
                      <a:pt x="3" y="27"/>
                    </a:moveTo>
                    <a:cubicBezTo>
                      <a:pt x="2" y="28"/>
                      <a:pt x="0" y="30"/>
                      <a:pt x="1" y="31"/>
                    </a:cubicBezTo>
                    <a:cubicBezTo>
                      <a:pt x="1" y="34"/>
                      <a:pt x="6" y="34"/>
                      <a:pt x="8" y="33"/>
                    </a:cubicBezTo>
                    <a:cubicBezTo>
                      <a:pt x="9" y="32"/>
                      <a:pt x="11" y="31"/>
                      <a:pt x="13" y="31"/>
                    </a:cubicBezTo>
                    <a:cubicBezTo>
                      <a:pt x="14" y="30"/>
                      <a:pt x="16" y="30"/>
                      <a:pt x="18" y="29"/>
                    </a:cubicBezTo>
                    <a:cubicBezTo>
                      <a:pt x="20" y="28"/>
                      <a:pt x="23" y="28"/>
                      <a:pt x="25" y="28"/>
                    </a:cubicBezTo>
                    <a:cubicBezTo>
                      <a:pt x="26" y="28"/>
                      <a:pt x="27" y="28"/>
                      <a:pt x="27" y="28"/>
                    </a:cubicBezTo>
                    <a:cubicBezTo>
                      <a:pt x="28" y="28"/>
                      <a:pt x="30" y="28"/>
                      <a:pt x="31" y="28"/>
                    </a:cubicBezTo>
                    <a:cubicBezTo>
                      <a:pt x="32" y="28"/>
                      <a:pt x="34" y="27"/>
                      <a:pt x="34" y="28"/>
                    </a:cubicBezTo>
                    <a:cubicBezTo>
                      <a:pt x="34" y="29"/>
                      <a:pt x="36" y="27"/>
                      <a:pt x="37" y="27"/>
                    </a:cubicBezTo>
                    <a:cubicBezTo>
                      <a:pt x="37" y="26"/>
                      <a:pt x="39" y="27"/>
                      <a:pt x="40" y="27"/>
                    </a:cubicBezTo>
                    <a:cubicBezTo>
                      <a:pt x="41" y="27"/>
                      <a:pt x="42" y="27"/>
                      <a:pt x="43" y="27"/>
                    </a:cubicBezTo>
                    <a:cubicBezTo>
                      <a:pt x="45" y="26"/>
                      <a:pt x="46" y="27"/>
                      <a:pt x="47" y="26"/>
                    </a:cubicBezTo>
                    <a:cubicBezTo>
                      <a:pt x="48" y="26"/>
                      <a:pt x="49" y="25"/>
                      <a:pt x="50" y="25"/>
                    </a:cubicBezTo>
                    <a:cubicBezTo>
                      <a:pt x="51" y="25"/>
                      <a:pt x="52" y="25"/>
                      <a:pt x="53" y="25"/>
                    </a:cubicBezTo>
                    <a:cubicBezTo>
                      <a:pt x="55" y="24"/>
                      <a:pt x="56" y="25"/>
                      <a:pt x="57" y="25"/>
                    </a:cubicBezTo>
                    <a:cubicBezTo>
                      <a:pt x="58" y="24"/>
                      <a:pt x="60" y="22"/>
                      <a:pt x="61" y="22"/>
                    </a:cubicBezTo>
                    <a:cubicBezTo>
                      <a:pt x="62" y="21"/>
                      <a:pt x="63" y="21"/>
                      <a:pt x="63" y="19"/>
                    </a:cubicBezTo>
                    <a:cubicBezTo>
                      <a:pt x="63" y="18"/>
                      <a:pt x="62" y="18"/>
                      <a:pt x="62" y="17"/>
                    </a:cubicBezTo>
                    <a:cubicBezTo>
                      <a:pt x="61" y="16"/>
                      <a:pt x="61" y="16"/>
                      <a:pt x="61" y="15"/>
                    </a:cubicBezTo>
                    <a:cubicBezTo>
                      <a:pt x="59" y="12"/>
                      <a:pt x="55" y="14"/>
                      <a:pt x="52" y="13"/>
                    </a:cubicBezTo>
                    <a:cubicBezTo>
                      <a:pt x="53" y="13"/>
                      <a:pt x="54" y="13"/>
                      <a:pt x="53" y="12"/>
                    </a:cubicBezTo>
                    <a:cubicBezTo>
                      <a:pt x="53" y="11"/>
                      <a:pt x="52" y="10"/>
                      <a:pt x="52" y="10"/>
                    </a:cubicBezTo>
                    <a:cubicBezTo>
                      <a:pt x="51" y="10"/>
                      <a:pt x="50" y="10"/>
                      <a:pt x="49" y="10"/>
                    </a:cubicBezTo>
                    <a:cubicBezTo>
                      <a:pt x="49" y="10"/>
                      <a:pt x="48" y="8"/>
                      <a:pt x="48" y="9"/>
                    </a:cubicBezTo>
                    <a:cubicBezTo>
                      <a:pt x="48" y="8"/>
                      <a:pt x="49" y="7"/>
                      <a:pt x="48" y="7"/>
                    </a:cubicBezTo>
                    <a:cubicBezTo>
                      <a:pt x="47" y="7"/>
                      <a:pt x="46" y="6"/>
                      <a:pt x="45" y="6"/>
                    </a:cubicBezTo>
                    <a:cubicBezTo>
                      <a:pt x="41" y="6"/>
                      <a:pt x="37" y="8"/>
                      <a:pt x="34" y="8"/>
                    </a:cubicBezTo>
                    <a:cubicBezTo>
                      <a:pt x="34" y="8"/>
                      <a:pt x="34" y="8"/>
                      <a:pt x="35" y="7"/>
                    </a:cubicBezTo>
                    <a:cubicBezTo>
                      <a:pt x="35" y="7"/>
                      <a:pt x="35" y="7"/>
                      <a:pt x="35" y="6"/>
                    </a:cubicBezTo>
                    <a:cubicBezTo>
                      <a:pt x="35" y="6"/>
                      <a:pt x="35" y="6"/>
                      <a:pt x="36" y="5"/>
                    </a:cubicBezTo>
                    <a:cubicBezTo>
                      <a:pt x="36" y="5"/>
                      <a:pt x="36" y="5"/>
                      <a:pt x="36" y="4"/>
                    </a:cubicBezTo>
                    <a:cubicBezTo>
                      <a:pt x="36" y="4"/>
                      <a:pt x="41" y="3"/>
                      <a:pt x="38" y="2"/>
                    </a:cubicBezTo>
                    <a:cubicBezTo>
                      <a:pt x="37" y="2"/>
                      <a:pt x="37" y="1"/>
                      <a:pt x="35" y="1"/>
                    </a:cubicBezTo>
                    <a:cubicBezTo>
                      <a:pt x="34" y="1"/>
                      <a:pt x="32" y="0"/>
                      <a:pt x="31" y="0"/>
                    </a:cubicBezTo>
                    <a:cubicBezTo>
                      <a:pt x="29" y="1"/>
                      <a:pt x="30" y="6"/>
                      <a:pt x="26" y="4"/>
                    </a:cubicBezTo>
                    <a:cubicBezTo>
                      <a:pt x="26" y="4"/>
                      <a:pt x="26" y="2"/>
                      <a:pt x="25" y="2"/>
                    </a:cubicBezTo>
                    <a:cubicBezTo>
                      <a:pt x="23" y="2"/>
                      <a:pt x="21" y="3"/>
                      <a:pt x="20" y="4"/>
                    </a:cubicBezTo>
                    <a:cubicBezTo>
                      <a:pt x="18" y="6"/>
                      <a:pt x="17" y="8"/>
                      <a:pt x="20" y="9"/>
                    </a:cubicBezTo>
                    <a:cubicBezTo>
                      <a:pt x="20" y="10"/>
                      <a:pt x="20" y="10"/>
                      <a:pt x="21" y="10"/>
                    </a:cubicBezTo>
                    <a:cubicBezTo>
                      <a:pt x="21" y="10"/>
                      <a:pt x="21" y="10"/>
                      <a:pt x="22" y="10"/>
                    </a:cubicBezTo>
                    <a:cubicBezTo>
                      <a:pt x="21" y="10"/>
                      <a:pt x="21" y="10"/>
                      <a:pt x="21" y="10"/>
                    </a:cubicBezTo>
                    <a:cubicBezTo>
                      <a:pt x="19" y="9"/>
                      <a:pt x="17" y="9"/>
                      <a:pt x="16" y="10"/>
                    </a:cubicBezTo>
                    <a:cubicBezTo>
                      <a:pt x="16" y="11"/>
                      <a:pt x="15" y="12"/>
                      <a:pt x="15" y="13"/>
                    </a:cubicBezTo>
                    <a:cubicBezTo>
                      <a:pt x="15" y="14"/>
                      <a:pt x="15" y="14"/>
                      <a:pt x="16" y="15"/>
                    </a:cubicBezTo>
                    <a:cubicBezTo>
                      <a:pt x="17" y="15"/>
                      <a:pt x="17" y="15"/>
                      <a:pt x="18" y="15"/>
                    </a:cubicBezTo>
                    <a:cubicBezTo>
                      <a:pt x="16" y="16"/>
                      <a:pt x="13" y="14"/>
                      <a:pt x="12" y="15"/>
                    </a:cubicBezTo>
                    <a:cubicBezTo>
                      <a:pt x="9" y="16"/>
                      <a:pt x="8" y="20"/>
                      <a:pt x="6" y="23"/>
                    </a:cubicBezTo>
                    <a:cubicBezTo>
                      <a:pt x="6" y="25"/>
                      <a:pt x="5" y="26"/>
                      <a:pt x="3"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0" name="Freeform 2750">
                <a:extLst>
                  <a:ext uri="{FF2B5EF4-FFF2-40B4-BE49-F238E27FC236}">
                    <a16:creationId xmlns:a16="http://schemas.microsoft.com/office/drawing/2014/main" id="{02092EF5-2CAB-4061-AE01-D3CFCA3778AD}"/>
                  </a:ext>
                </a:extLst>
              </p:cNvPr>
              <p:cNvSpPr>
                <a:spLocks/>
              </p:cNvSpPr>
              <p:nvPr/>
            </p:nvSpPr>
            <p:spPr bwMode="auto">
              <a:xfrm>
                <a:off x="4712" y="744"/>
                <a:ext cx="57" cy="38"/>
              </a:xfrm>
              <a:custGeom>
                <a:avLst/>
                <a:gdLst>
                  <a:gd name="T0" fmla="*/ 17 w 24"/>
                  <a:gd name="T1" fmla="*/ 5 h 16"/>
                  <a:gd name="T2" fmla="*/ 6 w 24"/>
                  <a:gd name="T3" fmla="*/ 2 h 16"/>
                  <a:gd name="T4" fmla="*/ 1 w 24"/>
                  <a:gd name="T5" fmla="*/ 8 h 16"/>
                  <a:gd name="T6" fmla="*/ 0 w 24"/>
                  <a:gd name="T7" fmla="*/ 11 h 16"/>
                  <a:gd name="T8" fmla="*/ 6 w 24"/>
                  <a:gd name="T9" fmla="*/ 16 h 16"/>
                  <a:gd name="T10" fmla="*/ 14 w 24"/>
                  <a:gd name="T11" fmla="*/ 13 h 16"/>
                  <a:gd name="T12" fmla="*/ 18 w 24"/>
                  <a:gd name="T13" fmla="*/ 11 h 16"/>
                  <a:gd name="T14" fmla="*/ 19 w 24"/>
                  <a:gd name="T15" fmla="*/ 9 h 16"/>
                  <a:gd name="T16" fmla="*/ 21 w 24"/>
                  <a:gd name="T17" fmla="*/ 8 h 16"/>
                  <a:gd name="T18" fmla="*/ 20 w 24"/>
                  <a:gd name="T19" fmla="*/ 11 h 16"/>
                  <a:gd name="T20" fmla="*/ 17 w 24"/>
                  <a:gd name="T2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
                    <a:moveTo>
                      <a:pt x="17" y="5"/>
                    </a:moveTo>
                    <a:cubicBezTo>
                      <a:pt x="14" y="3"/>
                      <a:pt x="10" y="0"/>
                      <a:pt x="6" y="2"/>
                    </a:cubicBezTo>
                    <a:cubicBezTo>
                      <a:pt x="3" y="3"/>
                      <a:pt x="1" y="5"/>
                      <a:pt x="1" y="8"/>
                    </a:cubicBezTo>
                    <a:cubicBezTo>
                      <a:pt x="1" y="9"/>
                      <a:pt x="0" y="10"/>
                      <a:pt x="0" y="11"/>
                    </a:cubicBezTo>
                    <a:cubicBezTo>
                      <a:pt x="1" y="13"/>
                      <a:pt x="4" y="14"/>
                      <a:pt x="6" y="16"/>
                    </a:cubicBezTo>
                    <a:cubicBezTo>
                      <a:pt x="9" y="15"/>
                      <a:pt x="12" y="14"/>
                      <a:pt x="14" y="13"/>
                    </a:cubicBezTo>
                    <a:cubicBezTo>
                      <a:pt x="15" y="13"/>
                      <a:pt x="17" y="12"/>
                      <a:pt x="18" y="11"/>
                    </a:cubicBezTo>
                    <a:cubicBezTo>
                      <a:pt x="18" y="10"/>
                      <a:pt x="18" y="10"/>
                      <a:pt x="19" y="9"/>
                    </a:cubicBezTo>
                    <a:cubicBezTo>
                      <a:pt x="19" y="9"/>
                      <a:pt x="20" y="8"/>
                      <a:pt x="21" y="8"/>
                    </a:cubicBezTo>
                    <a:cubicBezTo>
                      <a:pt x="21" y="9"/>
                      <a:pt x="20" y="10"/>
                      <a:pt x="20" y="11"/>
                    </a:cubicBezTo>
                    <a:cubicBezTo>
                      <a:pt x="24" y="9"/>
                      <a:pt x="20" y="6"/>
                      <a:pt x="1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1" name="Freeform 2751">
                <a:extLst>
                  <a:ext uri="{FF2B5EF4-FFF2-40B4-BE49-F238E27FC236}">
                    <a16:creationId xmlns:a16="http://schemas.microsoft.com/office/drawing/2014/main" id="{A1F99EA3-5D90-4B9F-A18A-CE3A2CCD41D5}"/>
                  </a:ext>
                </a:extLst>
              </p:cNvPr>
              <p:cNvSpPr>
                <a:spLocks/>
              </p:cNvSpPr>
              <p:nvPr/>
            </p:nvSpPr>
            <p:spPr bwMode="auto">
              <a:xfrm>
                <a:off x="6968" y="1312"/>
                <a:ext cx="76" cy="272"/>
              </a:xfrm>
              <a:custGeom>
                <a:avLst/>
                <a:gdLst>
                  <a:gd name="T0" fmla="*/ 1 w 32"/>
                  <a:gd name="T1" fmla="*/ 37 h 115"/>
                  <a:gd name="T2" fmla="*/ 7 w 32"/>
                  <a:gd name="T3" fmla="*/ 48 h 115"/>
                  <a:gd name="T4" fmla="*/ 6 w 32"/>
                  <a:gd name="T5" fmla="*/ 60 h 115"/>
                  <a:gd name="T6" fmla="*/ 3 w 32"/>
                  <a:gd name="T7" fmla="*/ 78 h 115"/>
                  <a:gd name="T8" fmla="*/ 5 w 32"/>
                  <a:gd name="T9" fmla="*/ 82 h 115"/>
                  <a:gd name="T10" fmla="*/ 4 w 32"/>
                  <a:gd name="T11" fmla="*/ 93 h 115"/>
                  <a:gd name="T12" fmla="*/ 3 w 32"/>
                  <a:gd name="T13" fmla="*/ 107 h 115"/>
                  <a:gd name="T14" fmla="*/ 5 w 32"/>
                  <a:gd name="T15" fmla="*/ 115 h 115"/>
                  <a:gd name="T16" fmla="*/ 12 w 32"/>
                  <a:gd name="T17" fmla="*/ 104 h 115"/>
                  <a:gd name="T18" fmla="*/ 18 w 32"/>
                  <a:gd name="T19" fmla="*/ 106 h 115"/>
                  <a:gd name="T20" fmla="*/ 19 w 32"/>
                  <a:gd name="T21" fmla="*/ 110 h 115"/>
                  <a:gd name="T22" fmla="*/ 20 w 32"/>
                  <a:gd name="T23" fmla="*/ 111 h 115"/>
                  <a:gd name="T24" fmla="*/ 20 w 32"/>
                  <a:gd name="T25" fmla="*/ 108 h 115"/>
                  <a:gd name="T26" fmla="*/ 16 w 32"/>
                  <a:gd name="T27" fmla="*/ 103 h 115"/>
                  <a:gd name="T28" fmla="*/ 16 w 32"/>
                  <a:gd name="T29" fmla="*/ 104 h 115"/>
                  <a:gd name="T30" fmla="*/ 16 w 32"/>
                  <a:gd name="T31" fmla="*/ 102 h 115"/>
                  <a:gd name="T32" fmla="*/ 10 w 32"/>
                  <a:gd name="T33" fmla="*/ 88 h 115"/>
                  <a:gd name="T34" fmla="*/ 16 w 32"/>
                  <a:gd name="T35" fmla="*/ 72 h 115"/>
                  <a:gd name="T36" fmla="*/ 19 w 32"/>
                  <a:gd name="T37" fmla="*/ 69 h 115"/>
                  <a:gd name="T38" fmla="*/ 22 w 32"/>
                  <a:gd name="T39" fmla="*/ 70 h 115"/>
                  <a:gd name="T40" fmla="*/ 28 w 32"/>
                  <a:gd name="T41" fmla="*/ 74 h 115"/>
                  <a:gd name="T42" fmla="*/ 32 w 32"/>
                  <a:gd name="T43" fmla="*/ 78 h 115"/>
                  <a:gd name="T44" fmla="*/ 30 w 32"/>
                  <a:gd name="T45" fmla="*/ 75 h 115"/>
                  <a:gd name="T46" fmla="*/ 27 w 32"/>
                  <a:gd name="T47" fmla="*/ 69 h 115"/>
                  <a:gd name="T48" fmla="*/ 26 w 32"/>
                  <a:gd name="T49" fmla="*/ 66 h 115"/>
                  <a:gd name="T50" fmla="*/ 19 w 32"/>
                  <a:gd name="T51" fmla="*/ 43 h 115"/>
                  <a:gd name="T52" fmla="*/ 18 w 32"/>
                  <a:gd name="T53" fmla="*/ 39 h 115"/>
                  <a:gd name="T54" fmla="*/ 17 w 32"/>
                  <a:gd name="T55" fmla="*/ 41 h 115"/>
                  <a:gd name="T56" fmla="*/ 16 w 32"/>
                  <a:gd name="T57" fmla="*/ 32 h 115"/>
                  <a:gd name="T58" fmla="*/ 16 w 32"/>
                  <a:gd name="T59" fmla="*/ 29 h 115"/>
                  <a:gd name="T60" fmla="*/ 15 w 32"/>
                  <a:gd name="T61" fmla="*/ 17 h 115"/>
                  <a:gd name="T62" fmla="*/ 16 w 32"/>
                  <a:gd name="T63" fmla="*/ 17 h 115"/>
                  <a:gd name="T64" fmla="*/ 18 w 32"/>
                  <a:gd name="T65" fmla="*/ 22 h 115"/>
                  <a:gd name="T66" fmla="*/ 13 w 32"/>
                  <a:gd name="T67" fmla="*/ 9 h 115"/>
                  <a:gd name="T68" fmla="*/ 14 w 32"/>
                  <a:gd name="T69" fmla="*/ 4 h 115"/>
                  <a:gd name="T70" fmla="*/ 11 w 32"/>
                  <a:gd name="T71" fmla="*/ 1 h 115"/>
                  <a:gd name="T72" fmla="*/ 10 w 32"/>
                  <a:gd name="T73" fmla="*/ 3 h 115"/>
                  <a:gd name="T74" fmla="*/ 12 w 32"/>
                  <a:gd name="T75" fmla="*/ 8 h 115"/>
                  <a:gd name="T76" fmla="*/ 11 w 32"/>
                  <a:gd name="T77" fmla="*/ 12 h 115"/>
                  <a:gd name="T78" fmla="*/ 10 w 32"/>
                  <a:gd name="T79" fmla="*/ 13 h 115"/>
                  <a:gd name="T80" fmla="*/ 11 w 32"/>
                  <a:gd name="T81" fmla="*/ 13 h 115"/>
                  <a:gd name="T82" fmla="*/ 7 w 32"/>
                  <a:gd name="T83" fmla="*/ 14 h 115"/>
                  <a:gd name="T84" fmla="*/ 2 w 32"/>
                  <a:gd name="T85" fmla="*/ 16 h 115"/>
                  <a:gd name="T86" fmla="*/ 3 w 32"/>
                  <a:gd name="T87"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 h="115">
                    <a:moveTo>
                      <a:pt x="2" y="29"/>
                    </a:moveTo>
                    <a:cubicBezTo>
                      <a:pt x="2" y="31"/>
                      <a:pt x="0" y="35"/>
                      <a:pt x="1" y="37"/>
                    </a:cubicBezTo>
                    <a:cubicBezTo>
                      <a:pt x="3" y="40"/>
                      <a:pt x="5" y="42"/>
                      <a:pt x="6" y="45"/>
                    </a:cubicBezTo>
                    <a:cubicBezTo>
                      <a:pt x="7" y="46"/>
                      <a:pt x="7" y="47"/>
                      <a:pt x="7" y="48"/>
                    </a:cubicBezTo>
                    <a:cubicBezTo>
                      <a:pt x="6" y="49"/>
                      <a:pt x="5" y="50"/>
                      <a:pt x="5" y="52"/>
                    </a:cubicBezTo>
                    <a:cubicBezTo>
                      <a:pt x="6" y="55"/>
                      <a:pt x="6" y="58"/>
                      <a:pt x="6" y="60"/>
                    </a:cubicBezTo>
                    <a:cubicBezTo>
                      <a:pt x="6" y="63"/>
                      <a:pt x="5" y="66"/>
                      <a:pt x="5" y="69"/>
                    </a:cubicBezTo>
                    <a:cubicBezTo>
                      <a:pt x="4" y="72"/>
                      <a:pt x="3" y="75"/>
                      <a:pt x="3" y="78"/>
                    </a:cubicBezTo>
                    <a:cubicBezTo>
                      <a:pt x="3" y="78"/>
                      <a:pt x="3" y="79"/>
                      <a:pt x="3" y="79"/>
                    </a:cubicBezTo>
                    <a:cubicBezTo>
                      <a:pt x="4" y="80"/>
                      <a:pt x="5" y="81"/>
                      <a:pt x="5" y="82"/>
                    </a:cubicBezTo>
                    <a:cubicBezTo>
                      <a:pt x="6" y="84"/>
                      <a:pt x="6" y="87"/>
                      <a:pt x="6" y="89"/>
                    </a:cubicBezTo>
                    <a:cubicBezTo>
                      <a:pt x="5" y="90"/>
                      <a:pt x="4" y="91"/>
                      <a:pt x="4" y="93"/>
                    </a:cubicBezTo>
                    <a:cubicBezTo>
                      <a:pt x="4" y="95"/>
                      <a:pt x="5" y="98"/>
                      <a:pt x="5" y="100"/>
                    </a:cubicBezTo>
                    <a:cubicBezTo>
                      <a:pt x="4" y="103"/>
                      <a:pt x="3" y="105"/>
                      <a:pt x="3" y="107"/>
                    </a:cubicBezTo>
                    <a:cubicBezTo>
                      <a:pt x="3" y="108"/>
                      <a:pt x="3" y="109"/>
                      <a:pt x="3" y="110"/>
                    </a:cubicBezTo>
                    <a:cubicBezTo>
                      <a:pt x="4" y="112"/>
                      <a:pt x="4" y="113"/>
                      <a:pt x="5" y="115"/>
                    </a:cubicBezTo>
                    <a:cubicBezTo>
                      <a:pt x="6" y="112"/>
                      <a:pt x="7" y="109"/>
                      <a:pt x="9" y="106"/>
                    </a:cubicBezTo>
                    <a:cubicBezTo>
                      <a:pt x="9" y="105"/>
                      <a:pt x="10" y="104"/>
                      <a:pt x="12" y="104"/>
                    </a:cubicBezTo>
                    <a:cubicBezTo>
                      <a:pt x="12" y="105"/>
                      <a:pt x="12" y="105"/>
                      <a:pt x="13" y="106"/>
                    </a:cubicBezTo>
                    <a:cubicBezTo>
                      <a:pt x="14" y="106"/>
                      <a:pt x="17" y="106"/>
                      <a:pt x="18" y="106"/>
                    </a:cubicBezTo>
                    <a:cubicBezTo>
                      <a:pt x="19" y="107"/>
                      <a:pt x="18" y="107"/>
                      <a:pt x="18" y="108"/>
                    </a:cubicBezTo>
                    <a:cubicBezTo>
                      <a:pt x="18" y="109"/>
                      <a:pt x="18" y="109"/>
                      <a:pt x="19" y="110"/>
                    </a:cubicBezTo>
                    <a:cubicBezTo>
                      <a:pt x="19" y="111"/>
                      <a:pt x="19" y="112"/>
                      <a:pt x="19" y="113"/>
                    </a:cubicBezTo>
                    <a:cubicBezTo>
                      <a:pt x="19" y="112"/>
                      <a:pt x="19" y="112"/>
                      <a:pt x="20" y="111"/>
                    </a:cubicBezTo>
                    <a:cubicBezTo>
                      <a:pt x="20" y="110"/>
                      <a:pt x="20" y="110"/>
                      <a:pt x="21" y="109"/>
                    </a:cubicBezTo>
                    <a:cubicBezTo>
                      <a:pt x="21" y="108"/>
                      <a:pt x="20" y="109"/>
                      <a:pt x="20" y="108"/>
                    </a:cubicBezTo>
                    <a:cubicBezTo>
                      <a:pt x="20" y="108"/>
                      <a:pt x="20" y="107"/>
                      <a:pt x="20" y="106"/>
                    </a:cubicBezTo>
                    <a:cubicBezTo>
                      <a:pt x="19" y="104"/>
                      <a:pt x="20" y="102"/>
                      <a:pt x="16" y="103"/>
                    </a:cubicBezTo>
                    <a:cubicBezTo>
                      <a:pt x="17" y="103"/>
                      <a:pt x="18" y="104"/>
                      <a:pt x="18" y="105"/>
                    </a:cubicBezTo>
                    <a:cubicBezTo>
                      <a:pt x="18" y="105"/>
                      <a:pt x="16" y="105"/>
                      <a:pt x="16" y="104"/>
                    </a:cubicBezTo>
                    <a:cubicBezTo>
                      <a:pt x="16" y="104"/>
                      <a:pt x="16" y="104"/>
                      <a:pt x="16" y="103"/>
                    </a:cubicBezTo>
                    <a:cubicBezTo>
                      <a:pt x="16" y="102"/>
                      <a:pt x="16" y="103"/>
                      <a:pt x="16" y="102"/>
                    </a:cubicBezTo>
                    <a:cubicBezTo>
                      <a:pt x="15" y="101"/>
                      <a:pt x="15" y="99"/>
                      <a:pt x="14" y="97"/>
                    </a:cubicBezTo>
                    <a:cubicBezTo>
                      <a:pt x="12" y="95"/>
                      <a:pt x="9" y="92"/>
                      <a:pt x="10" y="88"/>
                    </a:cubicBezTo>
                    <a:cubicBezTo>
                      <a:pt x="11" y="85"/>
                      <a:pt x="12" y="82"/>
                      <a:pt x="13" y="78"/>
                    </a:cubicBezTo>
                    <a:cubicBezTo>
                      <a:pt x="14" y="76"/>
                      <a:pt x="15" y="73"/>
                      <a:pt x="16" y="72"/>
                    </a:cubicBezTo>
                    <a:cubicBezTo>
                      <a:pt x="17" y="70"/>
                      <a:pt x="20" y="71"/>
                      <a:pt x="21" y="70"/>
                    </a:cubicBezTo>
                    <a:cubicBezTo>
                      <a:pt x="20" y="70"/>
                      <a:pt x="19" y="71"/>
                      <a:pt x="19" y="69"/>
                    </a:cubicBezTo>
                    <a:cubicBezTo>
                      <a:pt x="20" y="70"/>
                      <a:pt x="21" y="70"/>
                      <a:pt x="22" y="70"/>
                    </a:cubicBezTo>
                    <a:cubicBezTo>
                      <a:pt x="22" y="70"/>
                      <a:pt x="22" y="70"/>
                      <a:pt x="22" y="70"/>
                    </a:cubicBezTo>
                    <a:cubicBezTo>
                      <a:pt x="23" y="71"/>
                      <a:pt x="25" y="71"/>
                      <a:pt x="26" y="72"/>
                    </a:cubicBezTo>
                    <a:cubicBezTo>
                      <a:pt x="27" y="73"/>
                      <a:pt x="27" y="73"/>
                      <a:pt x="28" y="74"/>
                    </a:cubicBezTo>
                    <a:cubicBezTo>
                      <a:pt x="29" y="75"/>
                      <a:pt x="30" y="75"/>
                      <a:pt x="30" y="76"/>
                    </a:cubicBezTo>
                    <a:cubicBezTo>
                      <a:pt x="31" y="76"/>
                      <a:pt x="31" y="77"/>
                      <a:pt x="32" y="78"/>
                    </a:cubicBezTo>
                    <a:cubicBezTo>
                      <a:pt x="32" y="78"/>
                      <a:pt x="32" y="78"/>
                      <a:pt x="32" y="77"/>
                    </a:cubicBezTo>
                    <a:cubicBezTo>
                      <a:pt x="32" y="76"/>
                      <a:pt x="31" y="76"/>
                      <a:pt x="30" y="75"/>
                    </a:cubicBezTo>
                    <a:cubicBezTo>
                      <a:pt x="29" y="74"/>
                      <a:pt x="29" y="73"/>
                      <a:pt x="28" y="72"/>
                    </a:cubicBezTo>
                    <a:cubicBezTo>
                      <a:pt x="28" y="71"/>
                      <a:pt x="27" y="70"/>
                      <a:pt x="27" y="69"/>
                    </a:cubicBezTo>
                    <a:cubicBezTo>
                      <a:pt x="27" y="69"/>
                      <a:pt x="27" y="68"/>
                      <a:pt x="27" y="68"/>
                    </a:cubicBezTo>
                    <a:cubicBezTo>
                      <a:pt x="27" y="67"/>
                      <a:pt x="26" y="67"/>
                      <a:pt x="26" y="66"/>
                    </a:cubicBezTo>
                    <a:cubicBezTo>
                      <a:pt x="24" y="59"/>
                      <a:pt x="22" y="52"/>
                      <a:pt x="20" y="45"/>
                    </a:cubicBezTo>
                    <a:cubicBezTo>
                      <a:pt x="20" y="44"/>
                      <a:pt x="19" y="44"/>
                      <a:pt x="19" y="43"/>
                    </a:cubicBezTo>
                    <a:cubicBezTo>
                      <a:pt x="18" y="43"/>
                      <a:pt x="19" y="42"/>
                      <a:pt x="19" y="41"/>
                    </a:cubicBezTo>
                    <a:cubicBezTo>
                      <a:pt x="19" y="41"/>
                      <a:pt x="18" y="39"/>
                      <a:pt x="18" y="39"/>
                    </a:cubicBezTo>
                    <a:cubicBezTo>
                      <a:pt x="18" y="39"/>
                      <a:pt x="18" y="40"/>
                      <a:pt x="18" y="40"/>
                    </a:cubicBezTo>
                    <a:cubicBezTo>
                      <a:pt x="18" y="40"/>
                      <a:pt x="19" y="41"/>
                      <a:pt x="17" y="41"/>
                    </a:cubicBezTo>
                    <a:cubicBezTo>
                      <a:pt x="16" y="41"/>
                      <a:pt x="17" y="39"/>
                      <a:pt x="17" y="39"/>
                    </a:cubicBezTo>
                    <a:cubicBezTo>
                      <a:pt x="16" y="37"/>
                      <a:pt x="15" y="34"/>
                      <a:pt x="16" y="32"/>
                    </a:cubicBezTo>
                    <a:cubicBezTo>
                      <a:pt x="16" y="32"/>
                      <a:pt x="16" y="33"/>
                      <a:pt x="16" y="33"/>
                    </a:cubicBezTo>
                    <a:cubicBezTo>
                      <a:pt x="16" y="31"/>
                      <a:pt x="16" y="30"/>
                      <a:pt x="16" y="29"/>
                    </a:cubicBezTo>
                    <a:cubicBezTo>
                      <a:pt x="17" y="27"/>
                      <a:pt x="17" y="25"/>
                      <a:pt x="17" y="23"/>
                    </a:cubicBezTo>
                    <a:cubicBezTo>
                      <a:pt x="17" y="21"/>
                      <a:pt x="16" y="20"/>
                      <a:pt x="15" y="17"/>
                    </a:cubicBezTo>
                    <a:cubicBezTo>
                      <a:pt x="15" y="17"/>
                      <a:pt x="15" y="15"/>
                      <a:pt x="16" y="16"/>
                    </a:cubicBezTo>
                    <a:cubicBezTo>
                      <a:pt x="17" y="16"/>
                      <a:pt x="16" y="17"/>
                      <a:pt x="16" y="17"/>
                    </a:cubicBezTo>
                    <a:cubicBezTo>
                      <a:pt x="16" y="18"/>
                      <a:pt x="17" y="18"/>
                      <a:pt x="17" y="19"/>
                    </a:cubicBezTo>
                    <a:cubicBezTo>
                      <a:pt x="18" y="20"/>
                      <a:pt x="18" y="21"/>
                      <a:pt x="18" y="22"/>
                    </a:cubicBezTo>
                    <a:cubicBezTo>
                      <a:pt x="18" y="19"/>
                      <a:pt x="17" y="16"/>
                      <a:pt x="16" y="14"/>
                    </a:cubicBezTo>
                    <a:cubicBezTo>
                      <a:pt x="15" y="12"/>
                      <a:pt x="14" y="11"/>
                      <a:pt x="13" y="9"/>
                    </a:cubicBezTo>
                    <a:cubicBezTo>
                      <a:pt x="13" y="8"/>
                      <a:pt x="13" y="8"/>
                      <a:pt x="14" y="7"/>
                    </a:cubicBezTo>
                    <a:cubicBezTo>
                      <a:pt x="14" y="6"/>
                      <a:pt x="15" y="5"/>
                      <a:pt x="14" y="4"/>
                    </a:cubicBezTo>
                    <a:cubicBezTo>
                      <a:pt x="14" y="4"/>
                      <a:pt x="13" y="3"/>
                      <a:pt x="13" y="3"/>
                    </a:cubicBezTo>
                    <a:cubicBezTo>
                      <a:pt x="12" y="2"/>
                      <a:pt x="12" y="0"/>
                      <a:pt x="11" y="1"/>
                    </a:cubicBezTo>
                    <a:cubicBezTo>
                      <a:pt x="11" y="1"/>
                      <a:pt x="11" y="3"/>
                      <a:pt x="11" y="3"/>
                    </a:cubicBezTo>
                    <a:cubicBezTo>
                      <a:pt x="10" y="2"/>
                      <a:pt x="10" y="3"/>
                      <a:pt x="10" y="3"/>
                    </a:cubicBezTo>
                    <a:cubicBezTo>
                      <a:pt x="9" y="3"/>
                      <a:pt x="8" y="3"/>
                      <a:pt x="7" y="2"/>
                    </a:cubicBezTo>
                    <a:cubicBezTo>
                      <a:pt x="8" y="4"/>
                      <a:pt x="11" y="6"/>
                      <a:pt x="12" y="8"/>
                    </a:cubicBezTo>
                    <a:cubicBezTo>
                      <a:pt x="12" y="9"/>
                      <a:pt x="10" y="10"/>
                      <a:pt x="11" y="11"/>
                    </a:cubicBezTo>
                    <a:cubicBezTo>
                      <a:pt x="11" y="11"/>
                      <a:pt x="13" y="11"/>
                      <a:pt x="11" y="12"/>
                    </a:cubicBezTo>
                    <a:cubicBezTo>
                      <a:pt x="11" y="12"/>
                      <a:pt x="11" y="11"/>
                      <a:pt x="10" y="11"/>
                    </a:cubicBezTo>
                    <a:cubicBezTo>
                      <a:pt x="10" y="11"/>
                      <a:pt x="10" y="13"/>
                      <a:pt x="10" y="13"/>
                    </a:cubicBezTo>
                    <a:cubicBezTo>
                      <a:pt x="10" y="13"/>
                      <a:pt x="11" y="13"/>
                      <a:pt x="11" y="13"/>
                    </a:cubicBezTo>
                    <a:cubicBezTo>
                      <a:pt x="11" y="13"/>
                      <a:pt x="11" y="13"/>
                      <a:pt x="11" y="13"/>
                    </a:cubicBezTo>
                    <a:cubicBezTo>
                      <a:pt x="11" y="13"/>
                      <a:pt x="9" y="15"/>
                      <a:pt x="9" y="15"/>
                    </a:cubicBezTo>
                    <a:cubicBezTo>
                      <a:pt x="8" y="16"/>
                      <a:pt x="7" y="15"/>
                      <a:pt x="7" y="14"/>
                    </a:cubicBezTo>
                    <a:cubicBezTo>
                      <a:pt x="6" y="13"/>
                      <a:pt x="7" y="13"/>
                      <a:pt x="5" y="14"/>
                    </a:cubicBezTo>
                    <a:cubicBezTo>
                      <a:pt x="4" y="14"/>
                      <a:pt x="2" y="15"/>
                      <a:pt x="2" y="16"/>
                    </a:cubicBezTo>
                    <a:cubicBezTo>
                      <a:pt x="3" y="18"/>
                      <a:pt x="3" y="19"/>
                      <a:pt x="3" y="21"/>
                    </a:cubicBezTo>
                    <a:cubicBezTo>
                      <a:pt x="3" y="22"/>
                      <a:pt x="3" y="24"/>
                      <a:pt x="3" y="25"/>
                    </a:cubicBezTo>
                    <a:cubicBezTo>
                      <a:pt x="3" y="26"/>
                      <a:pt x="2" y="28"/>
                      <a:pt x="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2" name="Freeform 2752">
                <a:extLst>
                  <a:ext uri="{FF2B5EF4-FFF2-40B4-BE49-F238E27FC236}">
                    <a16:creationId xmlns:a16="http://schemas.microsoft.com/office/drawing/2014/main" id="{5AC94272-E82F-4EB9-B50B-1961CA8015D8}"/>
                  </a:ext>
                </a:extLst>
              </p:cNvPr>
              <p:cNvSpPr>
                <a:spLocks/>
              </p:cNvSpPr>
              <p:nvPr/>
            </p:nvSpPr>
            <p:spPr bwMode="auto">
              <a:xfrm>
                <a:off x="4864" y="181"/>
                <a:ext cx="78" cy="21"/>
              </a:xfrm>
              <a:custGeom>
                <a:avLst/>
                <a:gdLst>
                  <a:gd name="T0" fmla="*/ 3 w 33"/>
                  <a:gd name="T1" fmla="*/ 1 h 9"/>
                  <a:gd name="T2" fmla="*/ 5 w 33"/>
                  <a:gd name="T3" fmla="*/ 2 h 9"/>
                  <a:gd name="T4" fmla="*/ 9 w 33"/>
                  <a:gd name="T5" fmla="*/ 2 h 9"/>
                  <a:gd name="T6" fmla="*/ 12 w 33"/>
                  <a:gd name="T7" fmla="*/ 4 h 9"/>
                  <a:gd name="T8" fmla="*/ 15 w 33"/>
                  <a:gd name="T9" fmla="*/ 5 h 9"/>
                  <a:gd name="T10" fmla="*/ 20 w 33"/>
                  <a:gd name="T11" fmla="*/ 6 h 9"/>
                  <a:gd name="T12" fmla="*/ 24 w 33"/>
                  <a:gd name="T13" fmla="*/ 7 h 9"/>
                  <a:gd name="T14" fmla="*/ 27 w 33"/>
                  <a:gd name="T15" fmla="*/ 9 h 9"/>
                  <a:gd name="T16" fmla="*/ 33 w 33"/>
                  <a:gd name="T17" fmla="*/ 6 h 9"/>
                  <a:gd name="T18" fmla="*/ 18 w 33"/>
                  <a:gd name="T19" fmla="*/ 1 h 9"/>
                  <a:gd name="T20" fmla="*/ 10 w 33"/>
                  <a:gd name="T21" fmla="*/ 1 h 9"/>
                  <a:gd name="T22" fmla="*/ 0 w 33"/>
                  <a:gd name="T23" fmla="*/ 1 h 9"/>
                  <a:gd name="T24" fmla="*/ 3 w 33"/>
                  <a:gd name="T2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9">
                    <a:moveTo>
                      <a:pt x="3" y="1"/>
                    </a:moveTo>
                    <a:cubicBezTo>
                      <a:pt x="4" y="2"/>
                      <a:pt x="4" y="2"/>
                      <a:pt x="5" y="2"/>
                    </a:cubicBezTo>
                    <a:cubicBezTo>
                      <a:pt x="6" y="3"/>
                      <a:pt x="8" y="2"/>
                      <a:pt x="9" y="2"/>
                    </a:cubicBezTo>
                    <a:cubicBezTo>
                      <a:pt x="10" y="3"/>
                      <a:pt x="10" y="4"/>
                      <a:pt x="12" y="4"/>
                    </a:cubicBezTo>
                    <a:cubicBezTo>
                      <a:pt x="13" y="4"/>
                      <a:pt x="14" y="5"/>
                      <a:pt x="15" y="5"/>
                    </a:cubicBezTo>
                    <a:cubicBezTo>
                      <a:pt x="17" y="5"/>
                      <a:pt x="18" y="6"/>
                      <a:pt x="20" y="6"/>
                    </a:cubicBezTo>
                    <a:cubicBezTo>
                      <a:pt x="22" y="6"/>
                      <a:pt x="23" y="6"/>
                      <a:pt x="24" y="7"/>
                    </a:cubicBezTo>
                    <a:cubicBezTo>
                      <a:pt x="25" y="7"/>
                      <a:pt x="26" y="9"/>
                      <a:pt x="27" y="9"/>
                    </a:cubicBezTo>
                    <a:cubicBezTo>
                      <a:pt x="28" y="9"/>
                      <a:pt x="32" y="8"/>
                      <a:pt x="33" y="6"/>
                    </a:cubicBezTo>
                    <a:cubicBezTo>
                      <a:pt x="28" y="4"/>
                      <a:pt x="23" y="2"/>
                      <a:pt x="18" y="1"/>
                    </a:cubicBezTo>
                    <a:cubicBezTo>
                      <a:pt x="15" y="0"/>
                      <a:pt x="13" y="1"/>
                      <a:pt x="10" y="1"/>
                    </a:cubicBezTo>
                    <a:cubicBezTo>
                      <a:pt x="7" y="1"/>
                      <a:pt x="3" y="1"/>
                      <a:pt x="0" y="1"/>
                    </a:cubicBezTo>
                    <a:cubicBezTo>
                      <a:pt x="1" y="2"/>
                      <a:pt x="2"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3" name="Freeform 2753">
                <a:extLst>
                  <a:ext uri="{FF2B5EF4-FFF2-40B4-BE49-F238E27FC236}">
                    <a16:creationId xmlns:a16="http://schemas.microsoft.com/office/drawing/2014/main" id="{3200817F-A9F7-4417-83E2-AE6055480168}"/>
                  </a:ext>
                </a:extLst>
              </p:cNvPr>
              <p:cNvSpPr>
                <a:spLocks/>
              </p:cNvSpPr>
              <p:nvPr/>
            </p:nvSpPr>
            <p:spPr bwMode="auto">
              <a:xfrm>
                <a:off x="4897" y="219"/>
                <a:ext cx="33" cy="19"/>
              </a:xfrm>
              <a:custGeom>
                <a:avLst/>
                <a:gdLst>
                  <a:gd name="T0" fmla="*/ 7 w 14"/>
                  <a:gd name="T1" fmla="*/ 7 h 8"/>
                  <a:gd name="T2" fmla="*/ 13 w 14"/>
                  <a:gd name="T3" fmla="*/ 7 h 8"/>
                  <a:gd name="T4" fmla="*/ 13 w 14"/>
                  <a:gd name="T5" fmla="*/ 2 h 8"/>
                  <a:gd name="T6" fmla="*/ 11 w 14"/>
                  <a:gd name="T7" fmla="*/ 0 h 8"/>
                  <a:gd name="T8" fmla="*/ 4 w 14"/>
                  <a:gd name="T9" fmla="*/ 1 h 8"/>
                  <a:gd name="T10" fmla="*/ 0 w 14"/>
                  <a:gd name="T11" fmla="*/ 6 h 8"/>
                  <a:gd name="T12" fmla="*/ 7 w 14"/>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4" h="8">
                    <a:moveTo>
                      <a:pt x="7" y="7"/>
                    </a:moveTo>
                    <a:cubicBezTo>
                      <a:pt x="9" y="7"/>
                      <a:pt x="12" y="8"/>
                      <a:pt x="13" y="7"/>
                    </a:cubicBezTo>
                    <a:cubicBezTo>
                      <a:pt x="14" y="6"/>
                      <a:pt x="14" y="3"/>
                      <a:pt x="13" y="2"/>
                    </a:cubicBezTo>
                    <a:cubicBezTo>
                      <a:pt x="13" y="1"/>
                      <a:pt x="12" y="0"/>
                      <a:pt x="11" y="0"/>
                    </a:cubicBezTo>
                    <a:cubicBezTo>
                      <a:pt x="9" y="0"/>
                      <a:pt x="6" y="0"/>
                      <a:pt x="4" y="1"/>
                    </a:cubicBezTo>
                    <a:cubicBezTo>
                      <a:pt x="2" y="2"/>
                      <a:pt x="1" y="4"/>
                      <a:pt x="0" y="6"/>
                    </a:cubicBezTo>
                    <a:cubicBezTo>
                      <a:pt x="2" y="8"/>
                      <a:pt x="5" y="7"/>
                      <a:pt x="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4" name="Freeform 2754">
                <a:extLst>
                  <a:ext uri="{FF2B5EF4-FFF2-40B4-BE49-F238E27FC236}">
                    <a16:creationId xmlns:a16="http://schemas.microsoft.com/office/drawing/2014/main" id="{A650D800-F418-4E95-B66E-C282F4E9B698}"/>
                  </a:ext>
                </a:extLst>
              </p:cNvPr>
              <p:cNvSpPr>
                <a:spLocks/>
              </p:cNvSpPr>
              <p:nvPr/>
            </p:nvSpPr>
            <p:spPr bwMode="auto">
              <a:xfrm>
                <a:off x="4790" y="576"/>
                <a:ext cx="149" cy="125"/>
              </a:xfrm>
              <a:custGeom>
                <a:avLst/>
                <a:gdLst>
                  <a:gd name="T0" fmla="*/ 1 w 63"/>
                  <a:gd name="T1" fmla="*/ 34 h 53"/>
                  <a:gd name="T2" fmla="*/ 11 w 63"/>
                  <a:gd name="T3" fmla="*/ 33 h 53"/>
                  <a:gd name="T4" fmla="*/ 15 w 63"/>
                  <a:gd name="T5" fmla="*/ 37 h 53"/>
                  <a:gd name="T6" fmla="*/ 20 w 63"/>
                  <a:gd name="T7" fmla="*/ 35 h 53"/>
                  <a:gd name="T8" fmla="*/ 20 w 63"/>
                  <a:gd name="T9" fmla="*/ 39 h 53"/>
                  <a:gd name="T10" fmla="*/ 24 w 63"/>
                  <a:gd name="T11" fmla="*/ 37 h 53"/>
                  <a:gd name="T12" fmla="*/ 21 w 63"/>
                  <a:gd name="T13" fmla="*/ 40 h 53"/>
                  <a:gd name="T14" fmla="*/ 25 w 63"/>
                  <a:gd name="T15" fmla="*/ 43 h 53"/>
                  <a:gd name="T16" fmla="*/ 23 w 63"/>
                  <a:gd name="T17" fmla="*/ 44 h 53"/>
                  <a:gd name="T18" fmla="*/ 24 w 63"/>
                  <a:gd name="T19" fmla="*/ 46 h 53"/>
                  <a:gd name="T20" fmla="*/ 19 w 63"/>
                  <a:gd name="T21" fmla="*/ 48 h 53"/>
                  <a:gd name="T22" fmla="*/ 25 w 63"/>
                  <a:gd name="T23" fmla="*/ 49 h 53"/>
                  <a:gd name="T24" fmla="*/ 32 w 63"/>
                  <a:gd name="T25" fmla="*/ 49 h 53"/>
                  <a:gd name="T26" fmla="*/ 35 w 63"/>
                  <a:gd name="T27" fmla="*/ 51 h 53"/>
                  <a:gd name="T28" fmla="*/ 39 w 63"/>
                  <a:gd name="T29" fmla="*/ 52 h 53"/>
                  <a:gd name="T30" fmla="*/ 42 w 63"/>
                  <a:gd name="T31" fmla="*/ 50 h 53"/>
                  <a:gd name="T32" fmla="*/ 44 w 63"/>
                  <a:gd name="T33" fmla="*/ 52 h 53"/>
                  <a:gd name="T34" fmla="*/ 45 w 63"/>
                  <a:gd name="T35" fmla="*/ 51 h 53"/>
                  <a:gd name="T36" fmla="*/ 52 w 63"/>
                  <a:gd name="T37" fmla="*/ 53 h 53"/>
                  <a:gd name="T38" fmla="*/ 49 w 63"/>
                  <a:gd name="T39" fmla="*/ 50 h 53"/>
                  <a:gd name="T40" fmla="*/ 57 w 63"/>
                  <a:gd name="T41" fmla="*/ 52 h 53"/>
                  <a:gd name="T42" fmla="*/ 60 w 63"/>
                  <a:gd name="T43" fmla="*/ 52 h 53"/>
                  <a:gd name="T44" fmla="*/ 63 w 63"/>
                  <a:gd name="T45" fmla="*/ 50 h 53"/>
                  <a:gd name="T46" fmla="*/ 50 w 63"/>
                  <a:gd name="T47" fmla="*/ 42 h 53"/>
                  <a:gd name="T48" fmla="*/ 42 w 63"/>
                  <a:gd name="T49" fmla="*/ 31 h 53"/>
                  <a:gd name="T50" fmla="*/ 41 w 63"/>
                  <a:gd name="T51" fmla="*/ 26 h 53"/>
                  <a:gd name="T52" fmla="*/ 42 w 63"/>
                  <a:gd name="T53" fmla="*/ 21 h 53"/>
                  <a:gd name="T54" fmla="*/ 41 w 63"/>
                  <a:gd name="T55" fmla="*/ 18 h 53"/>
                  <a:gd name="T56" fmla="*/ 42 w 63"/>
                  <a:gd name="T57" fmla="*/ 17 h 53"/>
                  <a:gd name="T58" fmla="*/ 40 w 63"/>
                  <a:gd name="T59" fmla="*/ 15 h 53"/>
                  <a:gd name="T60" fmla="*/ 46 w 63"/>
                  <a:gd name="T61" fmla="*/ 13 h 53"/>
                  <a:gd name="T62" fmla="*/ 44 w 63"/>
                  <a:gd name="T63" fmla="*/ 11 h 53"/>
                  <a:gd name="T64" fmla="*/ 49 w 63"/>
                  <a:gd name="T65" fmla="*/ 11 h 53"/>
                  <a:gd name="T66" fmla="*/ 47 w 63"/>
                  <a:gd name="T67" fmla="*/ 8 h 53"/>
                  <a:gd name="T68" fmla="*/ 48 w 63"/>
                  <a:gd name="T69" fmla="*/ 7 h 53"/>
                  <a:gd name="T70" fmla="*/ 45 w 63"/>
                  <a:gd name="T71" fmla="*/ 6 h 53"/>
                  <a:gd name="T72" fmla="*/ 41 w 63"/>
                  <a:gd name="T73" fmla="*/ 1 h 53"/>
                  <a:gd name="T74" fmla="*/ 24 w 63"/>
                  <a:gd name="T75" fmla="*/ 2 h 53"/>
                  <a:gd name="T76" fmla="*/ 18 w 63"/>
                  <a:gd name="T77" fmla="*/ 6 h 53"/>
                  <a:gd name="T78" fmla="*/ 18 w 63"/>
                  <a:gd name="T79" fmla="*/ 9 h 53"/>
                  <a:gd name="T80" fmla="*/ 13 w 63"/>
                  <a:gd name="T81" fmla="*/ 10 h 53"/>
                  <a:gd name="T82" fmla="*/ 10 w 63"/>
                  <a:gd name="T83" fmla="*/ 12 h 53"/>
                  <a:gd name="T84" fmla="*/ 18 w 63"/>
                  <a:gd name="T85" fmla="*/ 14 h 53"/>
                  <a:gd name="T86" fmla="*/ 14 w 63"/>
                  <a:gd name="T87" fmla="*/ 15 h 53"/>
                  <a:gd name="T88" fmla="*/ 15 w 63"/>
                  <a:gd name="T89" fmla="*/ 16 h 53"/>
                  <a:gd name="T90" fmla="*/ 13 w 63"/>
                  <a:gd name="T91" fmla="*/ 19 h 53"/>
                  <a:gd name="T92" fmla="*/ 10 w 63"/>
                  <a:gd name="T93" fmla="*/ 21 h 53"/>
                  <a:gd name="T94" fmla="*/ 11 w 63"/>
                  <a:gd name="T95" fmla="*/ 23 h 53"/>
                  <a:gd name="T96" fmla="*/ 8 w 63"/>
                  <a:gd name="T97" fmla="*/ 24 h 53"/>
                  <a:gd name="T98" fmla="*/ 2 w 63"/>
                  <a:gd name="T99"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 h="53">
                    <a:moveTo>
                      <a:pt x="0" y="30"/>
                    </a:moveTo>
                    <a:cubicBezTo>
                      <a:pt x="0" y="31"/>
                      <a:pt x="2" y="33"/>
                      <a:pt x="1" y="34"/>
                    </a:cubicBezTo>
                    <a:cubicBezTo>
                      <a:pt x="3" y="35"/>
                      <a:pt x="6" y="34"/>
                      <a:pt x="8" y="34"/>
                    </a:cubicBezTo>
                    <a:cubicBezTo>
                      <a:pt x="9" y="34"/>
                      <a:pt x="12" y="35"/>
                      <a:pt x="11" y="33"/>
                    </a:cubicBezTo>
                    <a:cubicBezTo>
                      <a:pt x="12" y="34"/>
                      <a:pt x="12" y="36"/>
                      <a:pt x="12" y="36"/>
                    </a:cubicBezTo>
                    <a:cubicBezTo>
                      <a:pt x="13" y="37"/>
                      <a:pt x="15" y="38"/>
                      <a:pt x="15" y="37"/>
                    </a:cubicBezTo>
                    <a:cubicBezTo>
                      <a:pt x="16" y="37"/>
                      <a:pt x="16" y="36"/>
                      <a:pt x="17" y="36"/>
                    </a:cubicBezTo>
                    <a:cubicBezTo>
                      <a:pt x="18" y="36"/>
                      <a:pt x="19" y="35"/>
                      <a:pt x="20" y="35"/>
                    </a:cubicBezTo>
                    <a:cubicBezTo>
                      <a:pt x="20" y="36"/>
                      <a:pt x="19" y="36"/>
                      <a:pt x="19" y="37"/>
                    </a:cubicBezTo>
                    <a:cubicBezTo>
                      <a:pt x="19" y="37"/>
                      <a:pt x="20" y="39"/>
                      <a:pt x="20" y="39"/>
                    </a:cubicBezTo>
                    <a:cubicBezTo>
                      <a:pt x="21" y="40"/>
                      <a:pt x="21" y="39"/>
                      <a:pt x="22" y="38"/>
                    </a:cubicBezTo>
                    <a:cubicBezTo>
                      <a:pt x="23" y="37"/>
                      <a:pt x="23" y="37"/>
                      <a:pt x="24" y="37"/>
                    </a:cubicBezTo>
                    <a:cubicBezTo>
                      <a:pt x="23" y="38"/>
                      <a:pt x="23" y="38"/>
                      <a:pt x="23" y="39"/>
                    </a:cubicBezTo>
                    <a:cubicBezTo>
                      <a:pt x="22" y="39"/>
                      <a:pt x="21" y="40"/>
                      <a:pt x="21" y="40"/>
                    </a:cubicBezTo>
                    <a:cubicBezTo>
                      <a:pt x="21" y="41"/>
                      <a:pt x="26" y="43"/>
                      <a:pt x="27" y="43"/>
                    </a:cubicBezTo>
                    <a:cubicBezTo>
                      <a:pt x="26" y="43"/>
                      <a:pt x="25" y="43"/>
                      <a:pt x="25" y="43"/>
                    </a:cubicBezTo>
                    <a:cubicBezTo>
                      <a:pt x="25" y="43"/>
                      <a:pt x="25" y="44"/>
                      <a:pt x="26" y="44"/>
                    </a:cubicBezTo>
                    <a:cubicBezTo>
                      <a:pt x="25" y="44"/>
                      <a:pt x="24" y="44"/>
                      <a:pt x="23" y="44"/>
                    </a:cubicBezTo>
                    <a:cubicBezTo>
                      <a:pt x="22" y="44"/>
                      <a:pt x="21" y="43"/>
                      <a:pt x="22" y="44"/>
                    </a:cubicBezTo>
                    <a:cubicBezTo>
                      <a:pt x="23" y="45"/>
                      <a:pt x="24" y="45"/>
                      <a:pt x="24" y="46"/>
                    </a:cubicBezTo>
                    <a:cubicBezTo>
                      <a:pt x="24" y="47"/>
                      <a:pt x="23" y="47"/>
                      <a:pt x="23" y="48"/>
                    </a:cubicBezTo>
                    <a:cubicBezTo>
                      <a:pt x="22" y="48"/>
                      <a:pt x="21" y="47"/>
                      <a:pt x="19" y="48"/>
                    </a:cubicBezTo>
                    <a:cubicBezTo>
                      <a:pt x="20" y="48"/>
                      <a:pt x="20" y="48"/>
                      <a:pt x="21" y="48"/>
                    </a:cubicBezTo>
                    <a:cubicBezTo>
                      <a:pt x="22" y="49"/>
                      <a:pt x="24" y="49"/>
                      <a:pt x="25" y="49"/>
                    </a:cubicBezTo>
                    <a:cubicBezTo>
                      <a:pt x="28" y="50"/>
                      <a:pt x="31" y="50"/>
                      <a:pt x="33" y="51"/>
                    </a:cubicBezTo>
                    <a:cubicBezTo>
                      <a:pt x="33" y="51"/>
                      <a:pt x="32" y="50"/>
                      <a:pt x="32" y="49"/>
                    </a:cubicBezTo>
                    <a:cubicBezTo>
                      <a:pt x="31" y="49"/>
                      <a:pt x="32" y="49"/>
                      <a:pt x="32" y="49"/>
                    </a:cubicBezTo>
                    <a:cubicBezTo>
                      <a:pt x="33" y="50"/>
                      <a:pt x="34" y="51"/>
                      <a:pt x="35" y="51"/>
                    </a:cubicBezTo>
                    <a:cubicBezTo>
                      <a:pt x="36" y="52"/>
                      <a:pt x="37" y="52"/>
                      <a:pt x="37" y="53"/>
                    </a:cubicBezTo>
                    <a:cubicBezTo>
                      <a:pt x="39" y="53"/>
                      <a:pt x="38" y="53"/>
                      <a:pt x="39" y="52"/>
                    </a:cubicBezTo>
                    <a:cubicBezTo>
                      <a:pt x="39" y="51"/>
                      <a:pt x="40" y="51"/>
                      <a:pt x="40" y="50"/>
                    </a:cubicBezTo>
                    <a:cubicBezTo>
                      <a:pt x="41" y="50"/>
                      <a:pt x="41" y="50"/>
                      <a:pt x="42" y="50"/>
                    </a:cubicBezTo>
                    <a:cubicBezTo>
                      <a:pt x="43" y="50"/>
                      <a:pt x="44" y="51"/>
                      <a:pt x="45" y="52"/>
                    </a:cubicBezTo>
                    <a:cubicBezTo>
                      <a:pt x="44" y="52"/>
                      <a:pt x="44" y="52"/>
                      <a:pt x="44" y="52"/>
                    </a:cubicBezTo>
                    <a:cubicBezTo>
                      <a:pt x="45" y="53"/>
                      <a:pt x="46" y="53"/>
                      <a:pt x="47" y="53"/>
                    </a:cubicBezTo>
                    <a:cubicBezTo>
                      <a:pt x="46" y="52"/>
                      <a:pt x="46" y="52"/>
                      <a:pt x="45" y="51"/>
                    </a:cubicBezTo>
                    <a:cubicBezTo>
                      <a:pt x="46" y="51"/>
                      <a:pt x="47" y="52"/>
                      <a:pt x="48" y="52"/>
                    </a:cubicBezTo>
                    <a:cubicBezTo>
                      <a:pt x="49" y="53"/>
                      <a:pt x="51" y="53"/>
                      <a:pt x="52" y="53"/>
                    </a:cubicBezTo>
                    <a:cubicBezTo>
                      <a:pt x="52" y="51"/>
                      <a:pt x="51" y="51"/>
                      <a:pt x="50" y="51"/>
                    </a:cubicBezTo>
                    <a:cubicBezTo>
                      <a:pt x="49" y="51"/>
                      <a:pt x="49" y="50"/>
                      <a:pt x="49" y="50"/>
                    </a:cubicBezTo>
                    <a:cubicBezTo>
                      <a:pt x="53" y="51"/>
                      <a:pt x="56" y="53"/>
                      <a:pt x="60" y="53"/>
                    </a:cubicBezTo>
                    <a:cubicBezTo>
                      <a:pt x="59" y="52"/>
                      <a:pt x="59" y="52"/>
                      <a:pt x="57" y="52"/>
                    </a:cubicBezTo>
                    <a:cubicBezTo>
                      <a:pt x="56" y="52"/>
                      <a:pt x="55" y="51"/>
                      <a:pt x="55" y="51"/>
                    </a:cubicBezTo>
                    <a:cubicBezTo>
                      <a:pt x="56" y="51"/>
                      <a:pt x="58" y="52"/>
                      <a:pt x="60" y="52"/>
                    </a:cubicBezTo>
                    <a:cubicBezTo>
                      <a:pt x="61" y="52"/>
                      <a:pt x="61" y="52"/>
                      <a:pt x="62" y="51"/>
                    </a:cubicBezTo>
                    <a:cubicBezTo>
                      <a:pt x="62" y="50"/>
                      <a:pt x="63" y="50"/>
                      <a:pt x="63" y="50"/>
                    </a:cubicBezTo>
                    <a:cubicBezTo>
                      <a:pt x="62" y="49"/>
                      <a:pt x="62" y="49"/>
                      <a:pt x="60" y="48"/>
                    </a:cubicBezTo>
                    <a:cubicBezTo>
                      <a:pt x="56" y="47"/>
                      <a:pt x="53" y="44"/>
                      <a:pt x="50" y="42"/>
                    </a:cubicBezTo>
                    <a:cubicBezTo>
                      <a:pt x="47" y="40"/>
                      <a:pt x="47" y="37"/>
                      <a:pt x="45" y="35"/>
                    </a:cubicBezTo>
                    <a:cubicBezTo>
                      <a:pt x="44" y="34"/>
                      <a:pt x="43" y="33"/>
                      <a:pt x="42" y="31"/>
                    </a:cubicBezTo>
                    <a:cubicBezTo>
                      <a:pt x="42" y="30"/>
                      <a:pt x="41" y="28"/>
                      <a:pt x="39" y="28"/>
                    </a:cubicBezTo>
                    <a:cubicBezTo>
                      <a:pt x="40" y="27"/>
                      <a:pt x="41" y="27"/>
                      <a:pt x="41" y="26"/>
                    </a:cubicBezTo>
                    <a:cubicBezTo>
                      <a:pt x="41" y="26"/>
                      <a:pt x="41" y="25"/>
                      <a:pt x="41" y="25"/>
                    </a:cubicBezTo>
                    <a:cubicBezTo>
                      <a:pt x="41" y="23"/>
                      <a:pt x="43" y="23"/>
                      <a:pt x="42" y="21"/>
                    </a:cubicBezTo>
                    <a:cubicBezTo>
                      <a:pt x="41" y="21"/>
                      <a:pt x="40" y="21"/>
                      <a:pt x="41" y="20"/>
                    </a:cubicBezTo>
                    <a:cubicBezTo>
                      <a:pt x="42" y="19"/>
                      <a:pt x="41" y="19"/>
                      <a:pt x="41" y="18"/>
                    </a:cubicBezTo>
                    <a:cubicBezTo>
                      <a:pt x="40" y="18"/>
                      <a:pt x="39" y="18"/>
                      <a:pt x="38" y="18"/>
                    </a:cubicBezTo>
                    <a:cubicBezTo>
                      <a:pt x="39" y="17"/>
                      <a:pt x="40" y="17"/>
                      <a:pt x="42" y="17"/>
                    </a:cubicBezTo>
                    <a:cubicBezTo>
                      <a:pt x="43" y="17"/>
                      <a:pt x="42" y="16"/>
                      <a:pt x="41" y="15"/>
                    </a:cubicBezTo>
                    <a:cubicBezTo>
                      <a:pt x="41" y="15"/>
                      <a:pt x="40" y="15"/>
                      <a:pt x="40" y="15"/>
                    </a:cubicBezTo>
                    <a:cubicBezTo>
                      <a:pt x="41" y="15"/>
                      <a:pt x="42" y="16"/>
                      <a:pt x="43" y="15"/>
                    </a:cubicBezTo>
                    <a:cubicBezTo>
                      <a:pt x="45" y="14"/>
                      <a:pt x="44" y="13"/>
                      <a:pt x="46" y="13"/>
                    </a:cubicBezTo>
                    <a:cubicBezTo>
                      <a:pt x="45" y="12"/>
                      <a:pt x="43" y="11"/>
                      <a:pt x="41" y="11"/>
                    </a:cubicBezTo>
                    <a:cubicBezTo>
                      <a:pt x="42" y="11"/>
                      <a:pt x="43" y="11"/>
                      <a:pt x="44" y="11"/>
                    </a:cubicBezTo>
                    <a:cubicBezTo>
                      <a:pt x="44" y="11"/>
                      <a:pt x="45" y="11"/>
                      <a:pt x="45" y="11"/>
                    </a:cubicBezTo>
                    <a:cubicBezTo>
                      <a:pt x="46" y="11"/>
                      <a:pt x="47" y="12"/>
                      <a:pt x="49" y="11"/>
                    </a:cubicBezTo>
                    <a:cubicBezTo>
                      <a:pt x="49" y="11"/>
                      <a:pt x="50" y="9"/>
                      <a:pt x="49" y="8"/>
                    </a:cubicBezTo>
                    <a:cubicBezTo>
                      <a:pt x="49" y="7"/>
                      <a:pt x="47" y="8"/>
                      <a:pt x="47" y="8"/>
                    </a:cubicBezTo>
                    <a:cubicBezTo>
                      <a:pt x="46" y="8"/>
                      <a:pt x="44" y="8"/>
                      <a:pt x="43" y="8"/>
                    </a:cubicBezTo>
                    <a:cubicBezTo>
                      <a:pt x="44" y="7"/>
                      <a:pt x="47" y="7"/>
                      <a:pt x="48" y="7"/>
                    </a:cubicBezTo>
                    <a:cubicBezTo>
                      <a:pt x="49" y="7"/>
                      <a:pt x="50" y="7"/>
                      <a:pt x="51" y="6"/>
                    </a:cubicBezTo>
                    <a:cubicBezTo>
                      <a:pt x="50" y="5"/>
                      <a:pt x="47" y="6"/>
                      <a:pt x="45" y="6"/>
                    </a:cubicBezTo>
                    <a:cubicBezTo>
                      <a:pt x="47" y="5"/>
                      <a:pt x="52" y="5"/>
                      <a:pt x="53" y="4"/>
                    </a:cubicBezTo>
                    <a:cubicBezTo>
                      <a:pt x="49" y="3"/>
                      <a:pt x="45" y="2"/>
                      <a:pt x="41" y="1"/>
                    </a:cubicBezTo>
                    <a:cubicBezTo>
                      <a:pt x="38" y="0"/>
                      <a:pt x="35" y="0"/>
                      <a:pt x="31" y="0"/>
                    </a:cubicBezTo>
                    <a:cubicBezTo>
                      <a:pt x="29" y="0"/>
                      <a:pt x="26" y="1"/>
                      <a:pt x="24" y="2"/>
                    </a:cubicBezTo>
                    <a:cubicBezTo>
                      <a:pt x="22" y="2"/>
                      <a:pt x="19" y="2"/>
                      <a:pt x="18" y="4"/>
                    </a:cubicBezTo>
                    <a:cubicBezTo>
                      <a:pt x="18" y="4"/>
                      <a:pt x="18" y="5"/>
                      <a:pt x="18" y="6"/>
                    </a:cubicBezTo>
                    <a:cubicBezTo>
                      <a:pt x="19" y="7"/>
                      <a:pt x="18" y="6"/>
                      <a:pt x="18" y="7"/>
                    </a:cubicBezTo>
                    <a:cubicBezTo>
                      <a:pt x="18" y="8"/>
                      <a:pt x="19" y="9"/>
                      <a:pt x="18" y="9"/>
                    </a:cubicBezTo>
                    <a:cubicBezTo>
                      <a:pt x="17" y="8"/>
                      <a:pt x="16" y="8"/>
                      <a:pt x="15" y="9"/>
                    </a:cubicBezTo>
                    <a:cubicBezTo>
                      <a:pt x="14" y="9"/>
                      <a:pt x="13" y="9"/>
                      <a:pt x="13" y="10"/>
                    </a:cubicBezTo>
                    <a:cubicBezTo>
                      <a:pt x="12" y="10"/>
                      <a:pt x="11" y="10"/>
                      <a:pt x="11" y="11"/>
                    </a:cubicBezTo>
                    <a:cubicBezTo>
                      <a:pt x="11" y="11"/>
                      <a:pt x="10" y="12"/>
                      <a:pt x="10" y="12"/>
                    </a:cubicBezTo>
                    <a:cubicBezTo>
                      <a:pt x="10" y="13"/>
                      <a:pt x="14" y="13"/>
                      <a:pt x="15" y="13"/>
                    </a:cubicBezTo>
                    <a:cubicBezTo>
                      <a:pt x="16" y="13"/>
                      <a:pt x="17" y="13"/>
                      <a:pt x="18" y="14"/>
                    </a:cubicBezTo>
                    <a:cubicBezTo>
                      <a:pt x="17" y="14"/>
                      <a:pt x="15" y="13"/>
                      <a:pt x="14" y="14"/>
                    </a:cubicBezTo>
                    <a:cubicBezTo>
                      <a:pt x="14" y="14"/>
                      <a:pt x="14" y="14"/>
                      <a:pt x="14" y="15"/>
                    </a:cubicBezTo>
                    <a:cubicBezTo>
                      <a:pt x="15" y="15"/>
                      <a:pt x="16" y="15"/>
                      <a:pt x="17" y="15"/>
                    </a:cubicBezTo>
                    <a:cubicBezTo>
                      <a:pt x="17" y="15"/>
                      <a:pt x="15" y="16"/>
                      <a:pt x="15" y="16"/>
                    </a:cubicBezTo>
                    <a:cubicBezTo>
                      <a:pt x="15" y="16"/>
                      <a:pt x="14" y="16"/>
                      <a:pt x="14" y="16"/>
                    </a:cubicBezTo>
                    <a:cubicBezTo>
                      <a:pt x="12" y="17"/>
                      <a:pt x="13" y="18"/>
                      <a:pt x="13" y="19"/>
                    </a:cubicBezTo>
                    <a:cubicBezTo>
                      <a:pt x="13" y="19"/>
                      <a:pt x="12" y="19"/>
                      <a:pt x="12" y="19"/>
                    </a:cubicBezTo>
                    <a:cubicBezTo>
                      <a:pt x="14" y="21"/>
                      <a:pt x="11" y="21"/>
                      <a:pt x="10" y="21"/>
                    </a:cubicBezTo>
                    <a:cubicBezTo>
                      <a:pt x="10" y="21"/>
                      <a:pt x="11" y="22"/>
                      <a:pt x="11" y="22"/>
                    </a:cubicBezTo>
                    <a:cubicBezTo>
                      <a:pt x="10" y="21"/>
                      <a:pt x="11" y="23"/>
                      <a:pt x="11" y="23"/>
                    </a:cubicBezTo>
                    <a:cubicBezTo>
                      <a:pt x="9" y="22"/>
                      <a:pt x="10" y="24"/>
                      <a:pt x="10" y="25"/>
                    </a:cubicBezTo>
                    <a:cubicBezTo>
                      <a:pt x="9" y="25"/>
                      <a:pt x="8" y="24"/>
                      <a:pt x="8" y="24"/>
                    </a:cubicBezTo>
                    <a:cubicBezTo>
                      <a:pt x="7" y="24"/>
                      <a:pt x="6" y="25"/>
                      <a:pt x="5" y="24"/>
                    </a:cubicBezTo>
                    <a:cubicBezTo>
                      <a:pt x="4" y="23"/>
                      <a:pt x="3" y="24"/>
                      <a:pt x="2" y="24"/>
                    </a:cubicBezTo>
                    <a:cubicBezTo>
                      <a:pt x="1" y="25"/>
                      <a:pt x="0" y="28"/>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5" name="Freeform 2755">
                <a:extLst>
                  <a:ext uri="{FF2B5EF4-FFF2-40B4-BE49-F238E27FC236}">
                    <a16:creationId xmlns:a16="http://schemas.microsoft.com/office/drawing/2014/main" id="{08E54A74-E7FC-4EEF-9FE2-5984CDF23420}"/>
                  </a:ext>
                </a:extLst>
              </p:cNvPr>
              <p:cNvSpPr>
                <a:spLocks/>
              </p:cNvSpPr>
              <p:nvPr/>
            </p:nvSpPr>
            <p:spPr bwMode="auto">
              <a:xfrm>
                <a:off x="5604" y="507"/>
                <a:ext cx="14" cy="5"/>
              </a:xfrm>
              <a:custGeom>
                <a:avLst/>
                <a:gdLst>
                  <a:gd name="T0" fmla="*/ 6 w 6"/>
                  <a:gd name="T1" fmla="*/ 1 h 2"/>
                  <a:gd name="T2" fmla="*/ 4 w 6"/>
                  <a:gd name="T3" fmla="*/ 0 h 2"/>
                  <a:gd name="T4" fmla="*/ 0 w 6"/>
                  <a:gd name="T5" fmla="*/ 1 h 2"/>
                  <a:gd name="T6" fmla="*/ 6 w 6"/>
                  <a:gd name="T7" fmla="*/ 1 h 2"/>
                </a:gdLst>
                <a:ahLst/>
                <a:cxnLst>
                  <a:cxn ang="0">
                    <a:pos x="T0" y="T1"/>
                  </a:cxn>
                  <a:cxn ang="0">
                    <a:pos x="T2" y="T3"/>
                  </a:cxn>
                  <a:cxn ang="0">
                    <a:pos x="T4" y="T5"/>
                  </a:cxn>
                  <a:cxn ang="0">
                    <a:pos x="T6" y="T7"/>
                  </a:cxn>
                </a:cxnLst>
                <a:rect l="0" t="0" r="r" b="b"/>
                <a:pathLst>
                  <a:path w="6" h="2">
                    <a:moveTo>
                      <a:pt x="6" y="1"/>
                    </a:moveTo>
                    <a:cubicBezTo>
                      <a:pt x="5" y="0"/>
                      <a:pt x="5" y="0"/>
                      <a:pt x="4" y="0"/>
                    </a:cubicBezTo>
                    <a:cubicBezTo>
                      <a:pt x="3" y="0"/>
                      <a:pt x="1" y="0"/>
                      <a:pt x="0" y="1"/>
                    </a:cubicBezTo>
                    <a:cubicBezTo>
                      <a:pt x="2" y="1"/>
                      <a:pt x="5"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6" name="Freeform 2756">
                <a:extLst>
                  <a:ext uri="{FF2B5EF4-FFF2-40B4-BE49-F238E27FC236}">
                    <a16:creationId xmlns:a16="http://schemas.microsoft.com/office/drawing/2014/main" id="{A671356F-A0CE-4F48-89DA-AB3FF311C092}"/>
                  </a:ext>
                </a:extLst>
              </p:cNvPr>
              <p:cNvSpPr>
                <a:spLocks/>
              </p:cNvSpPr>
              <p:nvPr/>
            </p:nvSpPr>
            <p:spPr bwMode="auto">
              <a:xfrm>
                <a:off x="7268" y="1489"/>
                <a:ext cx="5" cy="7"/>
              </a:xfrm>
              <a:custGeom>
                <a:avLst/>
                <a:gdLst>
                  <a:gd name="T0" fmla="*/ 2 w 2"/>
                  <a:gd name="T1" fmla="*/ 1 h 3"/>
                  <a:gd name="T2" fmla="*/ 0 w 2"/>
                  <a:gd name="T3" fmla="*/ 3 h 3"/>
                  <a:gd name="T4" fmla="*/ 2 w 2"/>
                  <a:gd name="T5" fmla="*/ 1 h 3"/>
                </a:gdLst>
                <a:ahLst/>
                <a:cxnLst>
                  <a:cxn ang="0">
                    <a:pos x="T0" y="T1"/>
                  </a:cxn>
                  <a:cxn ang="0">
                    <a:pos x="T2" y="T3"/>
                  </a:cxn>
                  <a:cxn ang="0">
                    <a:pos x="T4" y="T5"/>
                  </a:cxn>
                </a:cxnLst>
                <a:rect l="0" t="0" r="r" b="b"/>
                <a:pathLst>
                  <a:path w="2" h="3">
                    <a:moveTo>
                      <a:pt x="2" y="1"/>
                    </a:moveTo>
                    <a:cubicBezTo>
                      <a:pt x="1" y="0"/>
                      <a:pt x="0" y="2"/>
                      <a:pt x="0" y="3"/>
                    </a:cubicBezTo>
                    <a:cubicBezTo>
                      <a:pt x="0" y="2"/>
                      <a:pt x="1"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7" name="Freeform 2757">
                <a:extLst>
                  <a:ext uri="{FF2B5EF4-FFF2-40B4-BE49-F238E27FC236}">
                    <a16:creationId xmlns:a16="http://schemas.microsoft.com/office/drawing/2014/main" id="{EC2EF09A-4675-4199-BA12-E26FF0494C39}"/>
                  </a:ext>
                </a:extLst>
              </p:cNvPr>
              <p:cNvSpPr>
                <a:spLocks/>
              </p:cNvSpPr>
              <p:nvPr/>
            </p:nvSpPr>
            <p:spPr bwMode="auto">
              <a:xfrm>
                <a:off x="4961" y="706"/>
                <a:ext cx="49" cy="36"/>
              </a:xfrm>
              <a:custGeom>
                <a:avLst/>
                <a:gdLst>
                  <a:gd name="T0" fmla="*/ 12 w 21"/>
                  <a:gd name="T1" fmla="*/ 14 h 15"/>
                  <a:gd name="T2" fmla="*/ 14 w 21"/>
                  <a:gd name="T3" fmla="*/ 14 h 15"/>
                  <a:gd name="T4" fmla="*/ 15 w 21"/>
                  <a:gd name="T5" fmla="*/ 14 h 15"/>
                  <a:gd name="T6" fmla="*/ 15 w 21"/>
                  <a:gd name="T7" fmla="*/ 14 h 15"/>
                  <a:gd name="T8" fmla="*/ 17 w 21"/>
                  <a:gd name="T9" fmla="*/ 14 h 15"/>
                  <a:gd name="T10" fmla="*/ 19 w 21"/>
                  <a:gd name="T11" fmla="*/ 14 h 15"/>
                  <a:gd name="T12" fmla="*/ 20 w 21"/>
                  <a:gd name="T13" fmla="*/ 11 h 15"/>
                  <a:gd name="T14" fmla="*/ 19 w 21"/>
                  <a:gd name="T15" fmla="*/ 9 h 15"/>
                  <a:gd name="T16" fmla="*/ 7 w 21"/>
                  <a:gd name="T17" fmla="*/ 0 h 15"/>
                  <a:gd name="T18" fmla="*/ 4 w 21"/>
                  <a:gd name="T19" fmla="*/ 1 h 15"/>
                  <a:gd name="T20" fmla="*/ 3 w 21"/>
                  <a:gd name="T21" fmla="*/ 1 h 15"/>
                  <a:gd name="T22" fmla="*/ 3 w 21"/>
                  <a:gd name="T23" fmla="*/ 1 h 15"/>
                  <a:gd name="T24" fmla="*/ 0 w 21"/>
                  <a:gd name="T25" fmla="*/ 2 h 15"/>
                  <a:gd name="T26" fmla="*/ 3 w 21"/>
                  <a:gd name="T27" fmla="*/ 5 h 15"/>
                  <a:gd name="T28" fmla="*/ 2 w 21"/>
                  <a:gd name="T29" fmla="*/ 4 h 15"/>
                  <a:gd name="T30" fmla="*/ 1 w 21"/>
                  <a:gd name="T31" fmla="*/ 7 h 15"/>
                  <a:gd name="T32" fmla="*/ 6 w 21"/>
                  <a:gd name="T33" fmla="*/ 11 h 15"/>
                  <a:gd name="T34" fmla="*/ 5 w 21"/>
                  <a:gd name="T35" fmla="*/ 10 h 15"/>
                  <a:gd name="T36" fmla="*/ 9 w 21"/>
                  <a:gd name="T37" fmla="*/ 11 h 15"/>
                  <a:gd name="T38" fmla="*/ 12 w 21"/>
                  <a:gd name="T39" fmla="*/ 13 h 15"/>
                  <a:gd name="T40" fmla="*/ 12 w 21"/>
                  <a:gd name="T41"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5">
                    <a:moveTo>
                      <a:pt x="12" y="14"/>
                    </a:moveTo>
                    <a:cubicBezTo>
                      <a:pt x="13" y="14"/>
                      <a:pt x="13" y="14"/>
                      <a:pt x="14" y="14"/>
                    </a:cubicBezTo>
                    <a:cubicBezTo>
                      <a:pt x="14" y="14"/>
                      <a:pt x="15" y="15"/>
                      <a:pt x="15" y="14"/>
                    </a:cubicBezTo>
                    <a:cubicBezTo>
                      <a:pt x="15" y="14"/>
                      <a:pt x="15" y="14"/>
                      <a:pt x="15" y="14"/>
                    </a:cubicBezTo>
                    <a:cubicBezTo>
                      <a:pt x="16" y="14"/>
                      <a:pt x="16" y="14"/>
                      <a:pt x="17" y="14"/>
                    </a:cubicBezTo>
                    <a:cubicBezTo>
                      <a:pt x="17" y="14"/>
                      <a:pt x="18" y="14"/>
                      <a:pt x="19" y="14"/>
                    </a:cubicBezTo>
                    <a:cubicBezTo>
                      <a:pt x="21" y="14"/>
                      <a:pt x="20" y="13"/>
                      <a:pt x="20" y="11"/>
                    </a:cubicBezTo>
                    <a:cubicBezTo>
                      <a:pt x="20" y="10"/>
                      <a:pt x="20" y="10"/>
                      <a:pt x="19" y="9"/>
                    </a:cubicBezTo>
                    <a:cubicBezTo>
                      <a:pt x="15" y="6"/>
                      <a:pt x="11" y="3"/>
                      <a:pt x="7" y="0"/>
                    </a:cubicBezTo>
                    <a:cubicBezTo>
                      <a:pt x="6" y="0"/>
                      <a:pt x="5" y="0"/>
                      <a:pt x="4" y="1"/>
                    </a:cubicBezTo>
                    <a:cubicBezTo>
                      <a:pt x="4" y="1"/>
                      <a:pt x="3" y="1"/>
                      <a:pt x="3" y="1"/>
                    </a:cubicBezTo>
                    <a:cubicBezTo>
                      <a:pt x="3" y="1"/>
                      <a:pt x="3" y="1"/>
                      <a:pt x="3" y="1"/>
                    </a:cubicBezTo>
                    <a:cubicBezTo>
                      <a:pt x="2" y="2"/>
                      <a:pt x="1" y="2"/>
                      <a:pt x="0" y="2"/>
                    </a:cubicBezTo>
                    <a:cubicBezTo>
                      <a:pt x="1" y="3"/>
                      <a:pt x="3" y="4"/>
                      <a:pt x="3" y="5"/>
                    </a:cubicBezTo>
                    <a:cubicBezTo>
                      <a:pt x="3" y="4"/>
                      <a:pt x="2" y="4"/>
                      <a:pt x="2" y="4"/>
                    </a:cubicBezTo>
                    <a:cubicBezTo>
                      <a:pt x="0" y="4"/>
                      <a:pt x="1" y="5"/>
                      <a:pt x="1" y="7"/>
                    </a:cubicBezTo>
                    <a:cubicBezTo>
                      <a:pt x="2" y="8"/>
                      <a:pt x="4" y="10"/>
                      <a:pt x="6" y="11"/>
                    </a:cubicBezTo>
                    <a:cubicBezTo>
                      <a:pt x="6" y="11"/>
                      <a:pt x="5" y="10"/>
                      <a:pt x="5" y="10"/>
                    </a:cubicBezTo>
                    <a:cubicBezTo>
                      <a:pt x="6" y="10"/>
                      <a:pt x="8" y="10"/>
                      <a:pt x="9" y="11"/>
                    </a:cubicBezTo>
                    <a:cubicBezTo>
                      <a:pt x="10" y="11"/>
                      <a:pt x="12" y="12"/>
                      <a:pt x="12" y="13"/>
                    </a:cubicBezTo>
                    <a:cubicBezTo>
                      <a:pt x="11" y="14"/>
                      <a:pt x="12"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8" name="Freeform 2758">
                <a:extLst>
                  <a:ext uri="{FF2B5EF4-FFF2-40B4-BE49-F238E27FC236}">
                    <a16:creationId xmlns:a16="http://schemas.microsoft.com/office/drawing/2014/main" id="{C79AD4D3-6DDE-40DE-B6E3-0465A0C76E87}"/>
                  </a:ext>
                </a:extLst>
              </p:cNvPr>
              <p:cNvSpPr>
                <a:spLocks/>
              </p:cNvSpPr>
              <p:nvPr/>
            </p:nvSpPr>
            <p:spPr bwMode="auto">
              <a:xfrm>
                <a:off x="5041" y="150"/>
                <a:ext cx="9" cy="5"/>
              </a:xfrm>
              <a:custGeom>
                <a:avLst/>
                <a:gdLst>
                  <a:gd name="T0" fmla="*/ 4 w 4"/>
                  <a:gd name="T1" fmla="*/ 1 h 2"/>
                  <a:gd name="T2" fmla="*/ 0 w 4"/>
                  <a:gd name="T3" fmla="*/ 0 h 2"/>
                  <a:gd name="T4" fmla="*/ 0 w 4"/>
                  <a:gd name="T5" fmla="*/ 0 h 2"/>
                  <a:gd name="T6" fmla="*/ 4 w 4"/>
                  <a:gd name="T7" fmla="*/ 1 h 2"/>
                </a:gdLst>
                <a:ahLst/>
                <a:cxnLst>
                  <a:cxn ang="0">
                    <a:pos x="T0" y="T1"/>
                  </a:cxn>
                  <a:cxn ang="0">
                    <a:pos x="T2" y="T3"/>
                  </a:cxn>
                  <a:cxn ang="0">
                    <a:pos x="T4" y="T5"/>
                  </a:cxn>
                  <a:cxn ang="0">
                    <a:pos x="T6" y="T7"/>
                  </a:cxn>
                </a:cxnLst>
                <a:rect l="0" t="0" r="r" b="b"/>
                <a:pathLst>
                  <a:path w="4" h="2">
                    <a:moveTo>
                      <a:pt x="4" y="1"/>
                    </a:moveTo>
                    <a:cubicBezTo>
                      <a:pt x="3" y="0"/>
                      <a:pt x="1" y="0"/>
                      <a:pt x="0" y="0"/>
                    </a:cubicBezTo>
                    <a:cubicBezTo>
                      <a:pt x="0" y="0"/>
                      <a:pt x="0" y="0"/>
                      <a:pt x="0" y="0"/>
                    </a:cubicBezTo>
                    <a:cubicBezTo>
                      <a:pt x="1" y="1"/>
                      <a:pt x="2"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9" name="Freeform 2759">
                <a:extLst>
                  <a:ext uri="{FF2B5EF4-FFF2-40B4-BE49-F238E27FC236}">
                    <a16:creationId xmlns:a16="http://schemas.microsoft.com/office/drawing/2014/main" id="{1E6CAF31-76B1-41DA-B59E-40941A864572}"/>
                  </a:ext>
                </a:extLst>
              </p:cNvPr>
              <p:cNvSpPr>
                <a:spLocks/>
              </p:cNvSpPr>
              <p:nvPr/>
            </p:nvSpPr>
            <p:spPr bwMode="auto">
              <a:xfrm>
                <a:off x="5720" y="171"/>
                <a:ext cx="40" cy="7"/>
              </a:xfrm>
              <a:custGeom>
                <a:avLst/>
                <a:gdLst>
                  <a:gd name="T0" fmla="*/ 17 w 17"/>
                  <a:gd name="T1" fmla="*/ 2 h 3"/>
                  <a:gd name="T2" fmla="*/ 15 w 17"/>
                  <a:gd name="T3" fmla="*/ 0 h 3"/>
                  <a:gd name="T4" fmla="*/ 9 w 17"/>
                  <a:gd name="T5" fmla="*/ 0 h 3"/>
                  <a:gd name="T6" fmla="*/ 4 w 17"/>
                  <a:gd name="T7" fmla="*/ 0 h 3"/>
                  <a:gd name="T8" fmla="*/ 1 w 17"/>
                  <a:gd name="T9" fmla="*/ 3 h 3"/>
                  <a:gd name="T10" fmla="*/ 17 w 17"/>
                  <a:gd name="T11" fmla="*/ 2 h 3"/>
                </a:gdLst>
                <a:ahLst/>
                <a:cxnLst>
                  <a:cxn ang="0">
                    <a:pos x="T0" y="T1"/>
                  </a:cxn>
                  <a:cxn ang="0">
                    <a:pos x="T2" y="T3"/>
                  </a:cxn>
                  <a:cxn ang="0">
                    <a:pos x="T4" y="T5"/>
                  </a:cxn>
                  <a:cxn ang="0">
                    <a:pos x="T6" y="T7"/>
                  </a:cxn>
                  <a:cxn ang="0">
                    <a:pos x="T8" y="T9"/>
                  </a:cxn>
                  <a:cxn ang="0">
                    <a:pos x="T10" y="T11"/>
                  </a:cxn>
                </a:cxnLst>
                <a:rect l="0" t="0" r="r" b="b"/>
                <a:pathLst>
                  <a:path w="17" h="3">
                    <a:moveTo>
                      <a:pt x="17" y="2"/>
                    </a:moveTo>
                    <a:cubicBezTo>
                      <a:pt x="16" y="1"/>
                      <a:pt x="16" y="1"/>
                      <a:pt x="15" y="0"/>
                    </a:cubicBezTo>
                    <a:cubicBezTo>
                      <a:pt x="13" y="0"/>
                      <a:pt x="11" y="0"/>
                      <a:pt x="9" y="0"/>
                    </a:cubicBezTo>
                    <a:cubicBezTo>
                      <a:pt x="8" y="0"/>
                      <a:pt x="6" y="0"/>
                      <a:pt x="4" y="0"/>
                    </a:cubicBezTo>
                    <a:cubicBezTo>
                      <a:pt x="2" y="0"/>
                      <a:pt x="0" y="1"/>
                      <a:pt x="1" y="3"/>
                    </a:cubicBezTo>
                    <a:cubicBezTo>
                      <a:pt x="7" y="3"/>
                      <a:pt x="12" y="2"/>
                      <a:pt x="1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0" name="Freeform 2760">
                <a:extLst>
                  <a:ext uri="{FF2B5EF4-FFF2-40B4-BE49-F238E27FC236}">
                    <a16:creationId xmlns:a16="http://schemas.microsoft.com/office/drawing/2014/main" id="{BFA7E7CB-ED76-4528-901D-B75F3EDE94B3}"/>
                  </a:ext>
                </a:extLst>
              </p:cNvPr>
              <p:cNvSpPr>
                <a:spLocks/>
              </p:cNvSpPr>
              <p:nvPr/>
            </p:nvSpPr>
            <p:spPr bwMode="auto">
              <a:xfrm>
                <a:off x="7060" y="1624"/>
                <a:ext cx="28" cy="26"/>
              </a:xfrm>
              <a:custGeom>
                <a:avLst/>
                <a:gdLst>
                  <a:gd name="T0" fmla="*/ 8 w 12"/>
                  <a:gd name="T1" fmla="*/ 0 h 11"/>
                  <a:gd name="T2" fmla="*/ 2 w 12"/>
                  <a:gd name="T3" fmla="*/ 7 h 11"/>
                  <a:gd name="T4" fmla="*/ 2 w 12"/>
                  <a:gd name="T5" fmla="*/ 11 h 11"/>
                  <a:gd name="T6" fmla="*/ 2 w 12"/>
                  <a:gd name="T7" fmla="*/ 10 h 11"/>
                  <a:gd name="T8" fmla="*/ 2 w 12"/>
                  <a:gd name="T9" fmla="*/ 8 h 11"/>
                  <a:gd name="T10" fmla="*/ 4 w 12"/>
                  <a:gd name="T11" fmla="*/ 8 h 11"/>
                  <a:gd name="T12" fmla="*/ 5 w 12"/>
                  <a:gd name="T13" fmla="*/ 6 h 11"/>
                  <a:gd name="T14" fmla="*/ 12 w 12"/>
                  <a:gd name="T15" fmla="*/ 1 h 11"/>
                  <a:gd name="T16" fmla="*/ 8 w 12"/>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8" y="0"/>
                    </a:moveTo>
                    <a:cubicBezTo>
                      <a:pt x="6" y="3"/>
                      <a:pt x="4" y="5"/>
                      <a:pt x="2" y="7"/>
                    </a:cubicBezTo>
                    <a:cubicBezTo>
                      <a:pt x="0" y="9"/>
                      <a:pt x="0" y="10"/>
                      <a:pt x="2" y="11"/>
                    </a:cubicBezTo>
                    <a:cubicBezTo>
                      <a:pt x="2" y="11"/>
                      <a:pt x="2" y="10"/>
                      <a:pt x="2" y="10"/>
                    </a:cubicBezTo>
                    <a:cubicBezTo>
                      <a:pt x="2" y="10"/>
                      <a:pt x="2" y="9"/>
                      <a:pt x="2" y="8"/>
                    </a:cubicBezTo>
                    <a:cubicBezTo>
                      <a:pt x="2" y="8"/>
                      <a:pt x="3" y="8"/>
                      <a:pt x="4" y="8"/>
                    </a:cubicBezTo>
                    <a:cubicBezTo>
                      <a:pt x="4" y="7"/>
                      <a:pt x="5" y="6"/>
                      <a:pt x="5" y="6"/>
                    </a:cubicBezTo>
                    <a:cubicBezTo>
                      <a:pt x="7" y="3"/>
                      <a:pt x="10" y="3"/>
                      <a:pt x="12" y="1"/>
                    </a:cubicBezTo>
                    <a:cubicBezTo>
                      <a:pt x="10" y="2"/>
                      <a:pt x="9"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1" name="Freeform 2761">
                <a:extLst>
                  <a:ext uri="{FF2B5EF4-FFF2-40B4-BE49-F238E27FC236}">
                    <a16:creationId xmlns:a16="http://schemas.microsoft.com/office/drawing/2014/main" id="{8D9E248A-BA8C-4335-9654-0CF8A2154660}"/>
                  </a:ext>
                </a:extLst>
              </p:cNvPr>
              <p:cNvSpPr>
                <a:spLocks/>
              </p:cNvSpPr>
              <p:nvPr/>
            </p:nvSpPr>
            <p:spPr bwMode="auto">
              <a:xfrm>
                <a:off x="6864" y="1288"/>
                <a:ext cx="21" cy="19"/>
              </a:xfrm>
              <a:custGeom>
                <a:avLst/>
                <a:gdLst>
                  <a:gd name="T0" fmla="*/ 8 w 9"/>
                  <a:gd name="T1" fmla="*/ 2 h 8"/>
                  <a:gd name="T2" fmla="*/ 7 w 9"/>
                  <a:gd name="T3" fmla="*/ 2 h 8"/>
                  <a:gd name="T4" fmla="*/ 7 w 9"/>
                  <a:gd name="T5" fmla="*/ 1 h 8"/>
                  <a:gd name="T6" fmla="*/ 4 w 9"/>
                  <a:gd name="T7" fmla="*/ 0 h 8"/>
                  <a:gd name="T8" fmla="*/ 2 w 9"/>
                  <a:gd name="T9" fmla="*/ 1 h 8"/>
                  <a:gd name="T10" fmla="*/ 2 w 9"/>
                  <a:gd name="T11" fmla="*/ 2 h 8"/>
                  <a:gd name="T12" fmla="*/ 1 w 9"/>
                  <a:gd name="T13" fmla="*/ 2 h 8"/>
                  <a:gd name="T14" fmla="*/ 0 w 9"/>
                  <a:gd name="T15" fmla="*/ 5 h 8"/>
                  <a:gd name="T16" fmla="*/ 1 w 9"/>
                  <a:gd name="T17" fmla="*/ 5 h 8"/>
                  <a:gd name="T18" fmla="*/ 4 w 9"/>
                  <a:gd name="T19" fmla="*/ 8 h 8"/>
                  <a:gd name="T20" fmla="*/ 9 w 9"/>
                  <a:gd name="T21" fmla="*/ 2 h 8"/>
                  <a:gd name="T22" fmla="*/ 8 w 9"/>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8">
                    <a:moveTo>
                      <a:pt x="8" y="2"/>
                    </a:moveTo>
                    <a:cubicBezTo>
                      <a:pt x="8" y="2"/>
                      <a:pt x="8" y="2"/>
                      <a:pt x="7" y="2"/>
                    </a:cubicBezTo>
                    <a:cubicBezTo>
                      <a:pt x="7" y="1"/>
                      <a:pt x="7" y="1"/>
                      <a:pt x="7" y="1"/>
                    </a:cubicBezTo>
                    <a:cubicBezTo>
                      <a:pt x="6" y="0"/>
                      <a:pt x="5" y="1"/>
                      <a:pt x="4" y="0"/>
                    </a:cubicBezTo>
                    <a:cubicBezTo>
                      <a:pt x="3" y="0"/>
                      <a:pt x="3" y="0"/>
                      <a:pt x="2" y="1"/>
                    </a:cubicBezTo>
                    <a:cubicBezTo>
                      <a:pt x="2" y="1"/>
                      <a:pt x="2" y="2"/>
                      <a:pt x="2" y="2"/>
                    </a:cubicBezTo>
                    <a:cubicBezTo>
                      <a:pt x="2" y="2"/>
                      <a:pt x="2" y="2"/>
                      <a:pt x="1" y="2"/>
                    </a:cubicBezTo>
                    <a:cubicBezTo>
                      <a:pt x="1" y="3"/>
                      <a:pt x="0" y="4"/>
                      <a:pt x="0" y="5"/>
                    </a:cubicBezTo>
                    <a:cubicBezTo>
                      <a:pt x="0" y="7"/>
                      <a:pt x="1" y="5"/>
                      <a:pt x="1" y="5"/>
                    </a:cubicBezTo>
                    <a:cubicBezTo>
                      <a:pt x="3" y="4"/>
                      <a:pt x="4" y="7"/>
                      <a:pt x="4" y="8"/>
                    </a:cubicBezTo>
                    <a:cubicBezTo>
                      <a:pt x="6" y="6"/>
                      <a:pt x="8" y="4"/>
                      <a:pt x="9" y="2"/>
                    </a:cubicBezTo>
                    <a:cubicBezTo>
                      <a:pt x="9" y="2"/>
                      <a:pt x="8"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2" name="Freeform 2762">
                <a:extLst>
                  <a:ext uri="{FF2B5EF4-FFF2-40B4-BE49-F238E27FC236}">
                    <a16:creationId xmlns:a16="http://schemas.microsoft.com/office/drawing/2014/main" id="{EACDC183-8015-4BFE-9B91-67A27FB3D9E8}"/>
                  </a:ext>
                </a:extLst>
              </p:cNvPr>
              <p:cNvSpPr>
                <a:spLocks/>
              </p:cNvSpPr>
              <p:nvPr/>
            </p:nvSpPr>
            <p:spPr bwMode="auto">
              <a:xfrm>
                <a:off x="7091" y="1596"/>
                <a:ext cx="54" cy="33"/>
              </a:xfrm>
              <a:custGeom>
                <a:avLst/>
                <a:gdLst>
                  <a:gd name="T0" fmla="*/ 2 w 23"/>
                  <a:gd name="T1" fmla="*/ 14 h 14"/>
                  <a:gd name="T2" fmla="*/ 4 w 23"/>
                  <a:gd name="T3" fmla="*/ 12 h 14"/>
                  <a:gd name="T4" fmla="*/ 6 w 23"/>
                  <a:gd name="T5" fmla="*/ 11 h 14"/>
                  <a:gd name="T6" fmla="*/ 7 w 23"/>
                  <a:gd name="T7" fmla="*/ 10 h 14"/>
                  <a:gd name="T8" fmla="*/ 9 w 23"/>
                  <a:gd name="T9" fmla="*/ 8 h 14"/>
                  <a:gd name="T10" fmla="*/ 10 w 23"/>
                  <a:gd name="T11" fmla="*/ 6 h 14"/>
                  <a:gd name="T12" fmla="*/ 11 w 23"/>
                  <a:gd name="T13" fmla="*/ 7 h 14"/>
                  <a:gd name="T14" fmla="*/ 13 w 23"/>
                  <a:gd name="T15" fmla="*/ 6 h 14"/>
                  <a:gd name="T16" fmla="*/ 14 w 23"/>
                  <a:gd name="T17" fmla="*/ 5 h 14"/>
                  <a:gd name="T18" fmla="*/ 19 w 23"/>
                  <a:gd name="T19" fmla="*/ 3 h 14"/>
                  <a:gd name="T20" fmla="*/ 21 w 23"/>
                  <a:gd name="T21" fmla="*/ 2 h 14"/>
                  <a:gd name="T22" fmla="*/ 22 w 23"/>
                  <a:gd name="T23" fmla="*/ 0 h 14"/>
                  <a:gd name="T24" fmla="*/ 14 w 23"/>
                  <a:gd name="T25" fmla="*/ 3 h 14"/>
                  <a:gd name="T26" fmla="*/ 12 w 23"/>
                  <a:gd name="T27" fmla="*/ 1 h 14"/>
                  <a:gd name="T28" fmla="*/ 12 w 23"/>
                  <a:gd name="T29" fmla="*/ 2 h 14"/>
                  <a:gd name="T30" fmla="*/ 11 w 23"/>
                  <a:gd name="T31" fmla="*/ 3 h 14"/>
                  <a:gd name="T32" fmla="*/ 9 w 23"/>
                  <a:gd name="T33" fmla="*/ 5 h 14"/>
                  <a:gd name="T34" fmla="*/ 5 w 23"/>
                  <a:gd name="T35" fmla="*/ 10 h 14"/>
                  <a:gd name="T36" fmla="*/ 2 w 23"/>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2" y="14"/>
                    </a:moveTo>
                    <a:cubicBezTo>
                      <a:pt x="3" y="14"/>
                      <a:pt x="3" y="13"/>
                      <a:pt x="4" y="12"/>
                    </a:cubicBezTo>
                    <a:cubicBezTo>
                      <a:pt x="4" y="12"/>
                      <a:pt x="5" y="12"/>
                      <a:pt x="6" y="11"/>
                    </a:cubicBezTo>
                    <a:cubicBezTo>
                      <a:pt x="6" y="11"/>
                      <a:pt x="7" y="10"/>
                      <a:pt x="7" y="10"/>
                    </a:cubicBezTo>
                    <a:cubicBezTo>
                      <a:pt x="8" y="9"/>
                      <a:pt x="9" y="9"/>
                      <a:pt x="9" y="8"/>
                    </a:cubicBezTo>
                    <a:cubicBezTo>
                      <a:pt x="10" y="7"/>
                      <a:pt x="9" y="7"/>
                      <a:pt x="10" y="6"/>
                    </a:cubicBezTo>
                    <a:cubicBezTo>
                      <a:pt x="11" y="6"/>
                      <a:pt x="11" y="7"/>
                      <a:pt x="11" y="7"/>
                    </a:cubicBezTo>
                    <a:cubicBezTo>
                      <a:pt x="12" y="7"/>
                      <a:pt x="12" y="7"/>
                      <a:pt x="13" y="6"/>
                    </a:cubicBezTo>
                    <a:cubicBezTo>
                      <a:pt x="13" y="6"/>
                      <a:pt x="13" y="5"/>
                      <a:pt x="14" y="5"/>
                    </a:cubicBezTo>
                    <a:cubicBezTo>
                      <a:pt x="15" y="4"/>
                      <a:pt x="17" y="3"/>
                      <a:pt x="19" y="3"/>
                    </a:cubicBezTo>
                    <a:cubicBezTo>
                      <a:pt x="20" y="2"/>
                      <a:pt x="20" y="2"/>
                      <a:pt x="21" y="2"/>
                    </a:cubicBezTo>
                    <a:cubicBezTo>
                      <a:pt x="23" y="2"/>
                      <a:pt x="22" y="1"/>
                      <a:pt x="22" y="0"/>
                    </a:cubicBezTo>
                    <a:cubicBezTo>
                      <a:pt x="20" y="1"/>
                      <a:pt x="17" y="4"/>
                      <a:pt x="14" y="3"/>
                    </a:cubicBezTo>
                    <a:cubicBezTo>
                      <a:pt x="13" y="3"/>
                      <a:pt x="13" y="1"/>
                      <a:pt x="12" y="1"/>
                    </a:cubicBezTo>
                    <a:cubicBezTo>
                      <a:pt x="12" y="1"/>
                      <a:pt x="12" y="2"/>
                      <a:pt x="12" y="2"/>
                    </a:cubicBezTo>
                    <a:cubicBezTo>
                      <a:pt x="12" y="2"/>
                      <a:pt x="12" y="3"/>
                      <a:pt x="11" y="3"/>
                    </a:cubicBezTo>
                    <a:cubicBezTo>
                      <a:pt x="10" y="4"/>
                      <a:pt x="9" y="5"/>
                      <a:pt x="9" y="5"/>
                    </a:cubicBezTo>
                    <a:cubicBezTo>
                      <a:pt x="8" y="6"/>
                      <a:pt x="3" y="9"/>
                      <a:pt x="5" y="10"/>
                    </a:cubicBezTo>
                    <a:cubicBezTo>
                      <a:pt x="4" y="10"/>
                      <a:pt x="0" y="13"/>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3" name="Freeform 2763">
                <a:extLst>
                  <a:ext uri="{FF2B5EF4-FFF2-40B4-BE49-F238E27FC236}">
                    <a16:creationId xmlns:a16="http://schemas.microsoft.com/office/drawing/2014/main" id="{D5EE2B61-09C5-46B4-A0C5-E52AE69319EC}"/>
                  </a:ext>
                </a:extLst>
              </p:cNvPr>
              <p:cNvSpPr>
                <a:spLocks/>
              </p:cNvSpPr>
              <p:nvPr/>
            </p:nvSpPr>
            <p:spPr bwMode="auto">
              <a:xfrm>
                <a:off x="5050" y="145"/>
                <a:ext cx="41" cy="7"/>
              </a:xfrm>
              <a:custGeom>
                <a:avLst/>
                <a:gdLst>
                  <a:gd name="T0" fmla="*/ 9 w 17"/>
                  <a:gd name="T1" fmla="*/ 2 h 3"/>
                  <a:gd name="T2" fmla="*/ 17 w 17"/>
                  <a:gd name="T3" fmla="*/ 1 h 3"/>
                  <a:gd name="T4" fmla="*/ 0 w 17"/>
                  <a:gd name="T5" fmla="*/ 0 h 3"/>
                  <a:gd name="T6" fmla="*/ 4 w 17"/>
                  <a:gd name="T7" fmla="*/ 1 h 3"/>
                  <a:gd name="T8" fmla="*/ 9 w 17"/>
                  <a:gd name="T9" fmla="*/ 2 h 3"/>
                </a:gdLst>
                <a:ahLst/>
                <a:cxnLst>
                  <a:cxn ang="0">
                    <a:pos x="T0" y="T1"/>
                  </a:cxn>
                  <a:cxn ang="0">
                    <a:pos x="T2" y="T3"/>
                  </a:cxn>
                  <a:cxn ang="0">
                    <a:pos x="T4" y="T5"/>
                  </a:cxn>
                  <a:cxn ang="0">
                    <a:pos x="T6" y="T7"/>
                  </a:cxn>
                  <a:cxn ang="0">
                    <a:pos x="T8" y="T9"/>
                  </a:cxn>
                </a:cxnLst>
                <a:rect l="0" t="0" r="r" b="b"/>
                <a:pathLst>
                  <a:path w="17" h="3">
                    <a:moveTo>
                      <a:pt x="9" y="2"/>
                    </a:moveTo>
                    <a:cubicBezTo>
                      <a:pt x="11" y="2"/>
                      <a:pt x="16" y="3"/>
                      <a:pt x="17" y="1"/>
                    </a:cubicBezTo>
                    <a:cubicBezTo>
                      <a:pt x="11" y="0"/>
                      <a:pt x="5" y="0"/>
                      <a:pt x="0" y="0"/>
                    </a:cubicBezTo>
                    <a:cubicBezTo>
                      <a:pt x="1" y="0"/>
                      <a:pt x="3" y="1"/>
                      <a:pt x="4" y="1"/>
                    </a:cubicBezTo>
                    <a:cubicBezTo>
                      <a:pt x="6" y="2"/>
                      <a:pt x="7" y="2"/>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4" name="Freeform 2764">
                <a:extLst>
                  <a:ext uri="{FF2B5EF4-FFF2-40B4-BE49-F238E27FC236}">
                    <a16:creationId xmlns:a16="http://schemas.microsoft.com/office/drawing/2014/main" id="{449CA94C-77B0-4942-B001-54E520C43DBE}"/>
                  </a:ext>
                </a:extLst>
              </p:cNvPr>
              <p:cNvSpPr>
                <a:spLocks/>
              </p:cNvSpPr>
              <p:nvPr/>
            </p:nvSpPr>
            <p:spPr bwMode="auto">
              <a:xfrm>
                <a:off x="7133" y="410"/>
                <a:ext cx="24" cy="7"/>
              </a:xfrm>
              <a:custGeom>
                <a:avLst/>
                <a:gdLst>
                  <a:gd name="T0" fmla="*/ 7 w 10"/>
                  <a:gd name="T1" fmla="*/ 0 h 3"/>
                  <a:gd name="T2" fmla="*/ 5 w 10"/>
                  <a:gd name="T3" fmla="*/ 1 h 3"/>
                  <a:gd name="T4" fmla="*/ 0 w 10"/>
                  <a:gd name="T5" fmla="*/ 3 h 3"/>
                  <a:gd name="T6" fmla="*/ 10 w 10"/>
                  <a:gd name="T7" fmla="*/ 0 h 3"/>
                  <a:gd name="T8" fmla="*/ 7 w 10"/>
                  <a:gd name="T9" fmla="*/ 0 h 3"/>
                </a:gdLst>
                <a:ahLst/>
                <a:cxnLst>
                  <a:cxn ang="0">
                    <a:pos x="T0" y="T1"/>
                  </a:cxn>
                  <a:cxn ang="0">
                    <a:pos x="T2" y="T3"/>
                  </a:cxn>
                  <a:cxn ang="0">
                    <a:pos x="T4" y="T5"/>
                  </a:cxn>
                  <a:cxn ang="0">
                    <a:pos x="T6" y="T7"/>
                  </a:cxn>
                  <a:cxn ang="0">
                    <a:pos x="T8" y="T9"/>
                  </a:cxn>
                </a:cxnLst>
                <a:rect l="0" t="0" r="r" b="b"/>
                <a:pathLst>
                  <a:path w="10" h="3">
                    <a:moveTo>
                      <a:pt x="7" y="0"/>
                    </a:moveTo>
                    <a:cubicBezTo>
                      <a:pt x="6" y="0"/>
                      <a:pt x="6" y="0"/>
                      <a:pt x="5" y="1"/>
                    </a:cubicBezTo>
                    <a:cubicBezTo>
                      <a:pt x="3" y="1"/>
                      <a:pt x="1" y="1"/>
                      <a:pt x="0" y="3"/>
                    </a:cubicBezTo>
                    <a:cubicBezTo>
                      <a:pt x="3" y="2"/>
                      <a:pt x="7" y="1"/>
                      <a:pt x="10" y="0"/>
                    </a:cubicBezTo>
                    <a:cubicBezTo>
                      <a:pt x="9" y="0"/>
                      <a:pt x="8"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5" name="Freeform 2765">
                <a:extLst>
                  <a:ext uri="{FF2B5EF4-FFF2-40B4-BE49-F238E27FC236}">
                    <a16:creationId xmlns:a16="http://schemas.microsoft.com/office/drawing/2014/main" id="{5C95DBC8-C6F5-42AB-A5ED-EDAB894BCC0E}"/>
                  </a:ext>
                </a:extLst>
              </p:cNvPr>
              <p:cNvSpPr>
                <a:spLocks/>
              </p:cNvSpPr>
              <p:nvPr/>
            </p:nvSpPr>
            <p:spPr bwMode="auto">
              <a:xfrm>
                <a:off x="6819" y="533"/>
                <a:ext cx="24" cy="19"/>
              </a:xfrm>
              <a:custGeom>
                <a:avLst/>
                <a:gdLst>
                  <a:gd name="T0" fmla="*/ 8 w 10"/>
                  <a:gd name="T1" fmla="*/ 7 h 8"/>
                  <a:gd name="T2" fmla="*/ 7 w 10"/>
                  <a:gd name="T3" fmla="*/ 4 h 8"/>
                  <a:gd name="T4" fmla="*/ 0 w 10"/>
                  <a:gd name="T5" fmla="*/ 0 h 8"/>
                  <a:gd name="T6" fmla="*/ 8 w 10"/>
                  <a:gd name="T7" fmla="*/ 7 h 8"/>
                </a:gdLst>
                <a:ahLst/>
                <a:cxnLst>
                  <a:cxn ang="0">
                    <a:pos x="T0" y="T1"/>
                  </a:cxn>
                  <a:cxn ang="0">
                    <a:pos x="T2" y="T3"/>
                  </a:cxn>
                  <a:cxn ang="0">
                    <a:pos x="T4" y="T5"/>
                  </a:cxn>
                  <a:cxn ang="0">
                    <a:pos x="T6" y="T7"/>
                  </a:cxn>
                </a:cxnLst>
                <a:rect l="0" t="0" r="r" b="b"/>
                <a:pathLst>
                  <a:path w="10" h="8">
                    <a:moveTo>
                      <a:pt x="8" y="7"/>
                    </a:moveTo>
                    <a:cubicBezTo>
                      <a:pt x="10" y="6"/>
                      <a:pt x="8" y="5"/>
                      <a:pt x="7" y="4"/>
                    </a:cubicBezTo>
                    <a:cubicBezTo>
                      <a:pt x="5" y="2"/>
                      <a:pt x="2" y="1"/>
                      <a:pt x="0" y="0"/>
                    </a:cubicBezTo>
                    <a:cubicBezTo>
                      <a:pt x="1" y="1"/>
                      <a:pt x="6" y="8"/>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6" name="Freeform 2766">
                <a:extLst>
                  <a:ext uri="{FF2B5EF4-FFF2-40B4-BE49-F238E27FC236}">
                    <a16:creationId xmlns:a16="http://schemas.microsoft.com/office/drawing/2014/main" id="{302762AA-EB9D-40A1-9BE7-AD480F207966}"/>
                  </a:ext>
                </a:extLst>
              </p:cNvPr>
              <p:cNvSpPr>
                <a:spLocks/>
              </p:cNvSpPr>
              <p:nvPr/>
            </p:nvSpPr>
            <p:spPr bwMode="auto">
              <a:xfrm>
                <a:off x="4890" y="162"/>
                <a:ext cx="56" cy="14"/>
              </a:xfrm>
              <a:custGeom>
                <a:avLst/>
                <a:gdLst>
                  <a:gd name="T0" fmla="*/ 7 w 24"/>
                  <a:gd name="T1" fmla="*/ 4 h 6"/>
                  <a:gd name="T2" fmla="*/ 8 w 24"/>
                  <a:gd name="T3" fmla="*/ 4 h 6"/>
                  <a:gd name="T4" fmla="*/ 9 w 24"/>
                  <a:gd name="T5" fmla="*/ 5 h 6"/>
                  <a:gd name="T6" fmla="*/ 12 w 24"/>
                  <a:gd name="T7" fmla="*/ 5 h 6"/>
                  <a:gd name="T8" fmla="*/ 17 w 24"/>
                  <a:gd name="T9" fmla="*/ 3 h 6"/>
                  <a:gd name="T10" fmla="*/ 24 w 24"/>
                  <a:gd name="T11" fmla="*/ 3 h 6"/>
                  <a:gd name="T12" fmla="*/ 13 w 24"/>
                  <a:gd name="T13" fmla="*/ 0 h 6"/>
                  <a:gd name="T14" fmla="*/ 9 w 24"/>
                  <a:gd name="T15" fmla="*/ 0 h 6"/>
                  <a:gd name="T16" fmla="*/ 11 w 24"/>
                  <a:gd name="T17" fmla="*/ 3 h 6"/>
                  <a:gd name="T18" fmla="*/ 4 w 24"/>
                  <a:gd name="T19" fmla="*/ 2 h 6"/>
                  <a:gd name="T20" fmla="*/ 2 w 24"/>
                  <a:gd name="T21" fmla="*/ 2 h 6"/>
                  <a:gd name="T22" fmla="*/ 0 w 24"/>
                  <a:gd name="T23" fmla="*/ 4 h 6"/>
                  <a:gd name="T24" fmla="*/ 7 w 24"/>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6">
                    <a:moveTo>
                      <a:pt x="7" y="4"/>
                    </a:moveTo>
                    <a:cubicBezTo>
                      <a:pt x="7" y="4"/>
                      <a:pt x="8" y="4"/>
                      <a:pt x="8" y="4"/>
                    </a:cubicBezTo>
                    <a:cubicBezTo>
                      <a:pt x="9" y="4"/>
                      <a:pt x="9" y="5"/>
                      <a:pt x="9" y="5"/>
                    </a:cubicBezTo>
                    <a:cubicBezTo>
                      <a:pt x="10" y="6"/>
                      <a:pt x="11" y="5"/>
                      <a:pt x="12" y="5"/>
                    </a:cubicBezTo>
                    <a:cubicBezTo>
                      <a:pt x="14" y="4"/>
                      <a:pt x="15" y="3"/>
                      <a:pt x="17" y="3"/>
                    </a:cubicBezTo>
                    <a:cubicBezTo>
                      <a:pt x="19" y="3"/>
                      <a:pt x="22" y="3"/>
                      <a:pt x="24" y="3"/>
                    </a:cubicBezTo>
                    <a:cubicBezTo>
                      <a:pt x="20" y="1"/>
                      <a:pt x="16" y="1"/>
                      <a:pt x="13" y="0"/>
                    </a:cubicBezTo>
                    <a:cubicBezTo>
                      <a:pt x="12" y="0"/>
                      <a:pt x="10" y="0"/>
                      <a:pt x="9" y="0"/>
                    </a:cubicBezTo>
                    <a:cubicBezTo>
                      <a:pt x="8" y="1"/>
                      <a:pt x="10" y="3"/>
                      <a:pt x="11" y="3"/>
                    </a:cubicBezTo>
                    <a:cubicBezTo>
                      <a:pt x="9" y="3"/>
                      <a:pt x="6" y="3"/>
                      <a:pt x="4" y="2"/>
                    </a:cubicBezTo>
                    <a:cubicBezTo>
                      <a:pt x="3" y="2"/>
                      <a:pt x="3" y="2"/>
                      <a:pt x="2" y="2"/>
                    </a:cubicBezTo>
                    <a:cubicBezTo>
                      <a:pt x="1" y="2"/>
                      <a:pt x="1" y="3"/>
                      <a:pt x="0" y="4"/>
                    </a:cubicBezTo>
                    <a:cubicBezTo>
                      <a:pt x="3" y="6"/>
                      <a:pt x="5" y="4"/>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7" name="Freeform 2767">
                <a:extLst>
                  <a:ext uri="{FF2B5EF4-FFF2-40B4-BE49-F238E27FC236}">
                    <a16:creationId xmlns:a16="http://schemas.microsoft.com/office/drawing/2014/main" id="{112A5AE2-F9CA-44AC-BAC8-34D6E3E56877}"/>
                  </a:ext>
                </a:extLst>
              </p:cNvPr>
              <p:cNvSpPr>
                <a:spLocks/>
              </p:cNvSpPr>
              <p:nvPr/>
            </p:nvSpPr>
            <p:spPr bwMode="auto">
              <a:xfrm>
                <a:off x="5001" y="178"/>
                <a:ext cx="38" cy="12"/>
              </a:xfrm>
              <a:custGeom>
                <a:avLst/>
                <a:gdLst>
                  <a:gd name="T0" fmla="*/ 9 w 16"/>
                  <a:gd name="T1" fmla="*/ 4 h 5"/>
                  <a:gd name="T2" fmla="*/ 13 w 16"/>
                  <a:gd name="T3" fmla="*/ 3 h 5"/>
                  <a:gd name="T4" fmla="*/ 15 w 16"/>
                  <a:gd name="T5" fmla="*/ 2 h 5"/>
                  <a:gd name="T6" fmla="*/ 16 w 16"/>
                  <a:gd name="T7" fmla="*/ 0 h 5"/>
                  <a:gd name="T8" fmla="*/ 0 w 16"/>
                  <a:gd name="T9" fmla="*/ 2 h 5"/>
                  <a:gd name="T10" fmla="*/ 9 w 16"/>
                  <a:gd name="T11" fmla="*/ 4 h 5"/>
                </a:gdLst>
                <a:ahLst/>
                <a:cxnLst>
                  <a:cxn ang="0">
                    <a:pos x="T0" y="T1"/>
                  </a:cxn>
                  <a:cxn ang="0">
                    <a:pos x="T2" y="T3"/>
                  </a:cxn>
                  <a:cxn ang="0">
                    <a:pos x="T4" y="T5"/>
                  </a:cxn>
                  <a:cxn ang="0">
                    <a:pos x="T6" y="T7"/>
                  </a:cxn>
                  <a:cxn ang="0">
                    <a:pos x="T8" y="T9"/>
                  </a:cxn>
                  <a:cxn ang="0">
                    <a:pos x="T10" y="T11"/>
                  </a:cxn>
                </a:cxnLst>
                <a:rect l="0" t="0" r="r" b="b"/>
                <a:pathLst>
                  <a:path w="16" h="5">
                    <a:moveTo>
                      <a:pt x="9" y="4"/>
                    </a:moveTo>
                    <a:cubicBezTo>
                      <a:pt x="11" y="4"/>
                      <a:pt x="12" y="3"/>
                      <a:pt x="13" y="3"/>
                    </a:cubicBezTo>
                    <a:cubicBezTo>
                      <a:pt x="14" y="2"/>
                      <a:pt x="14" y="2"/>
                      <a:pt x="15" y="2"/>
                    </a:cubicBezTo>
                    <a:cubicBezTo>
                      <a:pt x="16" y="1"/>
                      <a:pt x="15" y="0"/>
                      <a:pt x="16" y="0"/>
                    </a:cubicBezTo>
                    <a:cubicBezTo>
                      <a:pt x="11" y="1"/>
                      <a:pt x="5" y="1"/>
                      <a:pt x="0" y="2"/>
                    </a:cubicBezTo>
                    <a:cubicBezTo>
                      <a:pt x="2" y="4"/>
                      <a:pt x="6" y="5"/>
                      <a:pt x="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8" name="Freeform 2768">
                <a:extLst>
                  <a:ext uri="{FF2B5EF4-FFF2-40B4-BE49-F238E27FC236}">
                    <a16:creationId xmlns:a16="http://schemas.microsoft.com/office/drawing/2014/main" id="{00DB70B1-0236-4822-A52C-9758DB1EEA20}"/>
                  </a:ext>
                </a:extLst>
              </p:cNvPr>
              <p:cNvSpPr>
                <a:spLocks/>
              </p:cNvSpPr>
              <p:nvPr/>
            </p:nvSpPr>
            <p:spPr bwMode="auto">
              <a:xfrm>
                <a:off x="6852" y="1288"/>
                <a:ext cx="10" cy="10"/>
              </a:xfrm>
              <a:custGeom>
                <a:avLst/>
                <a:gdLst>
                  <a:gd name="T0" fmla="*/ 3 w 4"/>
                  <a:gd name="T1" fmla="*/ 1 h 4"/>
                  <a:gd name="T2" fmla="*/ 0 w 4"/>
                  <a:gd name="T3" fmla="*/ 4 h 4"/>
                  <a:gd name="T4" fmla="*/ 4 w 4"/>
                  <a:gd name="T5" fmla="*/ 1 h 4"/>
                  <a:gd name="T6" fmla="*/ 3 w 4"/>
                  <a:gd name="T7" fmla="*/ 1 h 4"/>
                  <a:gd name="T8" fmla="*/ 3 w 4"/>
                  <a:gd name="T9" fmla="*/ 1 h 4"/>
                </a:gdLst>
                <a:ahLst/>
                <a:cxnLst>
                  <a:cxn ang="0">
                    <a:pos x="T0" y="T1"/>
                  </a:cxn>
                  <a:cxn ang="0">
                    <a:pos x="T2" y="T3"/>
                  </a:cxn>
                  <a:cxn ang="0">
                    <a:pos x="T4" y="T5"/>
                  </a:cxn>
                  <a:cxn ang="0">
                    <a:pos x="T6" y="T7"/>
                  </a:cxn>
                  <a:cxn ang="0">
                    <a:pos x="T8" y="T9"/>
                  </a:cxn>
                </a:cxnLst>
                <a:rect l="0" t="0" r="r" b="b"/>
                <a:pathLst>
                  <a:path w="4" h="4">
                    <a:moveTo>
                      <a:pt x="3" y="1"/>
                    </a:moveTo>
                    <a:cubicBezTo>
                      <a:pt x="1" y="2"/>
                      <a:pt x="0" y="2"/>
                      <a:pt x="0" y="4"/>
                    </a:cubicBezTo>
                    <a:cubicBezTo>
                      <a:pt x="2" y="4"/>
                      <a:pt x="3" y="4"/>
                      <a:pt x="4" y="1"/>
                    </a:cubicBezTo>
                    <a:cubicBezTo>
                      <a:pt x="4" y="0"/>
                      <a:pt x="4" y="1"/>
                      <a:pt x="3" y="1"/>
                    </a:cubicBezTo>
                    <a:cubicBezTo>
                      <a:pt x="3"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9" name="Freeform 2769">
                <a:extLst>
                  <a:ext uri="{FF2B5EF4-FFF2-40B4-BE49-F238E27FC236}">
                    <a16:creationId xmlns:a16="http://schemas.microsoft.com/office/drawing/2014/main" id="{93108086-8B0D-4362-8AB9-1742B10AC4BF}"/>
                  </a:ext>
                </a:extLst>
              </p:cNvPr>
              <p:cNvSpPr>
                <a:spLocks/>
              </p:cNvSpPr>
              <p:nvPr/>
            </p:nvSpPr>
            <p:spPr bwMode="auto">
              <a:xfrm>
                <a:off x="4968" y="233"/>
                <a:ext cx="28" cy="12"/>
              </a:xfrm>
              <a:custGeom>
                <a:avLst/>
                <a:gdLst>
                  <a:gd name="T0" fmla="*/ 11 w 12"/>
                  <a:gd name="T1" fmla="*/ 4 h 5"/>
                  <a:gd name="T2" fmla="*/ 9 w 12"/>
                  <a:gd name="T3" fmla="*/ 1 h 5"/>
                  <a:gd name="T4" fmla="*/ 0 w 12"/>
                  <a:gd name="T5" fmla="*/ 2 h 5"/>
                  <a:gd name="T6" fmla="*/ 6 w 12"/>
                  <a:gd name="T7" fmla="*/ 5 h 5"/>
                  <a:gd name="T8" fmla="*/ 11 w 12"/>
                  <a:gd name="T9" fmla="*/ 4 h 5"/>
                </a:gdLst>
                <a:ahLst/>
                <a:cxnLst>
                  <a:cxn ang="0">
                    <a:pos x="T0" y="T1"/>
                  </a:cxn>
                  <a:cxn ang="0">
                    <a:pos x="T2" y="T3"/>
                  </a:cxn>
                  <a:cxn ang="0">
                    <a:pos x="T4" y="T5"/>
                  </a:cxn>
                  <a:cxn ang="0">
                    <a:pos x="T6" y="T7"/>
                  </a:cxn>
                  <a:cxn ang="0">
                    <a:pos x="T8" y="T9"/>
                  </a:cxn>
                </a:cxnLst>
                <a:rect l="0" t="0" r="r" b="b"/>
                <a:pathLst>
                  <a:path w="12" h="5">
                    <a:moveTo>
                      <a:pt x="11" y="4"/>
                    </a:moveTo>
                    <a:cubicBezTo>
                      <a:pt x="12" y="3"/>
                      <a:pt x="11" y="1"/>
                      <a:pt x="9" y="1"/>
                    </a:cubicBezTo>
                    <a:cubicBezTo>
                      <a:pt x="7" y="0"/>
                      <a:pt x="2" y="1"/>
                      <a:pt x="0" y="2"/>
                    </a:cubicBezTo>
                    <a:cubicBezTo>
                      <a:pt x="2" y="3"/>
                      <a:pt x="4" y="4"/>
                      <a:pt x="6" y="5"/>
                    </a:cubicBezTo>
                    <a:cubicBezTo>
                      <a:pt x="8" y="4"/>
                      <a:pt x="9" y="4"/>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0" name="Freeform 2770">
                <a:extLst>
                  <a:ext uri="{FF2B5EF4-FFF2-40B4-BE49-F238E27FC236}">
                    <a16:creationId xmlns:a16="http://schemas.microsoft.com/office/drawing/2014/main" id="{AC14960E-11B0-4284-89B3-ED96E35405F7}"/>
                  </a:ext>
                </a:extLst>
              </p:cNvPr>
              <p:cNvSpPr>
                <a:spLocks/>
              </p:cNvSpPr>
              <p:nvPr/>
            </p:nvSpPr>
            <p:spPr bwMode="auto">
              <a:xfrm>
                <a:off x="6930" y="531"/>
                <a:ext cx="28" cy="19"/>
              </a:xfrm>
              <a:custGeom>
                <a:avLst/>
                <a:gdLst>
                  <a:gd name="T0" fmla="*/ 8 w 12"/>
                  <a:gd name="T1" fmla="*/ 7 h 8"/>
                  <a:gd name="T2" fmla="*/ 10 w 12"/>
                  <a:gd name="T3" fmla="*/ 6 h 8"/>
                  <a:gd name="T4" fmla="*/ 9 w 12"/>
                  <a:gd name="T5" fmla="*/ 1 h 8"/>
                  <a:gd name="T6" fmla="*/ 4 w 12"/>
                  <a:gd name="T7" fmla="*/ 1 h 8"/>
                  <a:gd name="T8" fmla="*/ 1 w 12"/>
                  <a:gd name="T9" fmla="*/ 4 h 8"/>
                  <a:gd name="T10" fmla="*/ 4 w 12"/>
                  <a:gd name="T11" fmla="*/ 8 h 8"/>
                  <a:gd name="T12" fmla="*/ 8 w 12"/>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8" y="7"/>
                    </a:moveTo>
                    <a:cubicBezTo>
                      <a:pt x="8" y="7"/>
                      <a:pt x="10" y="7"/>
                      <a:pt x="10" y="6"/>
                    </a:cubicBezTo>
                    <a:cubicBezTo>
                      <a:pt x="12" y="5"/>
                      <a:pt x="11" y="1"/>
                      <a:pt x="9" y="1"/>
                    </a:cubicBezTo>
                    <a:cubicBezTo>
                      <a:pt x="7" y="0"/>
                      <a:pt x="5" y="0"/>
                      <a:pt x="4" y="1"/>
                    </a:cubicBezTo>
                    <a:cubicBezTo>
                      <a:pt x="2" y="1"/>
                      <a:pt x="1" y="2"/>
                      <a:pt x="1" y="4"/>
                    </a:cubicBezTo>
                    <a:cubicBezTo>
                      <a:pt x="0" y="6"/>
                      <a:pt x="3" y="7"/>
                      <a:pt x="4" y="8"/>
                    </a:cubicBezTo>
                    <a:cubicBezTo>
                      <a:pt x="6" y="8"/>
                      <a:pt x="7" y="7"/>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1" name="Freeform 2771">
                <a:extLst>
                  <a:ext uri="{FF2B5EF4-FFF2-40B4-BE49-F238E27FC236}">
                    <a16:creationId xmlns:a16="http://schemas.microsoft.com/office/drawing/2014/main" id="{714A015F-5C2B-486D-A2DF-B0D2A0353D5F}"/>
                  </a:ext>
                </a:extLst>
              </p:cNvPr>
              <p:cNvSpPr>
                <a:spLocks/>
              </p:cNvSpPr>
              <p:nvPr/>
            </p:nvSpPr>
            <p:spPr bwMode="auto">
              <a:xfrm>
                <a:off x="4854" y="195"/>
                <a:ext cx="48" cy="5"/>
              </a:xfrm>
              <a:custGeom>
                <a:avLst/>
                <a:gdLst>
                  <a:gd name="T0" fmla="*/ 5 w 20"/>
                  <a:gd name="T1" fmla="*/ 1 h 2"/>
                  <a:gd name="T2" fmla="*/ 7 w 20"/>
                  <a:gd name="T3" fmla="*/ 2 h 2"/>
                  <a:gd name="T4" fmla="*/ 10 w 20"/>
                  <a:gd name="T5" fmla="*/ 2 h 2"/>
                  <a:gd name="T6" fmla="*/ 20 w 20"/>
                  <a:gd name="T7" fmla="*/ 0 h 2"/>
                  <a:gd name="T8" fmla="*/ 0 w 20"/>
                  <a:gd name="T9" fmla="*/ 0 h 2"/>
                  <a:gd name="T10" fmla="*/ 5 w 20"/>
                  <a:gd name="T11" fmla="*/ 1 h 2"/>
                </a:gdLst>
                <a:ahLst/>
                <a:cxnLst>
                  <a:cxn ang="0">
                    <a:pos x="T0" y="T1"/>
                  </a:cxn>
                  <a:cxn ang="0">
                    <a:pos x="T2" y="T3"/>
                  </a:cxn>
                  <a:cxn ang="0">
                    <a:pos x="T4" y="T5"/>
                  </a:cxn>
                  <a:cxn ang="0">
                    <a:pos x="T6" y="T7"/>
                  </a:cxn>
                  <a:cxn ang="0">
                    <a:pos x="T8" y="T9"/>
                  </a:cxn>
                  <a:cxn ang="0">
                    <a:pos x="T10" y="T11"/>
                  </a:cxn>
                </a:cxnLst>
                <a:rect l="0" t="0" r="r" b="b"/>
                <a:pathLst>
                  <a:path w="20" h="2">
                    <a:moveTo>
                      <a:pt x="5" y="1"/>
                    </a:moveTo>
                    <a:cubicBezTo>
                      <a:pt x="7" y="1"/>
                      <a:pt x="6" y="2"/>
                      <a:pt x="7" y="2"/>
                    </a:cubicBezTo>
                    <a:cubicBezTo>
                      <a:pt x="8" y="2"/>
                      <a:pt x="9" y="2"/>
                      <a:pt x="10" y="2"/>
                    </a:cubicBezTo>
                    <a:cubicBezTo>
                      <a:pt x="13" y="1"/>
                      <a:pt x="17" y="1"/>
                      <a:pt x="20" y="0"/>
                    </a:cubicBezTo>
                    <a:cubicBezTo>
                      <a:pt x="13" y="0"/>
                      <a:pt x="6" y="0"/>
                      <a:pt x="0" y="0"/>
                    </a:cubicBezTo>
                    <a:cubicBezTo>
                      <a:pt x="1" y="1"/>
                      <a:pt x="3"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2" name="Freeform 2772">
                <a:extLst>
                  <a:ext uri="{FF2B5EF4-FFF2-40B4-BE49-F238E27FC236}">
                    <a16:creationId xmlns:a16="http://schemas.microsoft.com/office/drawing/2014/main" id="{2C73FB01-318B-4BC0-9436-0D8DD01FFAC1}"/>
                  </a:ext>
                </a:extLst>
              </p:cNvPr>
              <p:cNvSpPr>
                <a:spLocks/>
              </p:cNvSpPr>
              <p:nvPr/>
            </p:nvSpPr>
            <p:spPr bwMode="auto">
              <a:xfrm>
                <a:off x="7214" y="1546"/>
                <a:ext cx="12" cy="14"/>
              </a:xfrm>
              <a:custGeom>
                <a:avLst/>
                <a:gdLst>
                  <a:gd name="T0" fmla="*/ 0 w 5"/>
                  <a:gd name="T1" fmla="*/ 4 h 6"/>
                  <a:gd name="T2" fmla="*/ 5 w 5"/>
                  <a:gd name="T3" fmla="*/ 0 h 6"/>
                  <a:gd name="T4" fmla="*/ 0 w 5"/>
                  <a:gd name="T5" fmla="*/ 4 h 6"/>
                </a:gdLst>
                <a:ahLst/>
                <a:cxnLst>
                  <a:cxn ang="0">
                    <a:pos x="T0" y="T1"/>
                  </a:cxn>
                  <a:cxn ang="0">
                    <a:pos x="T2" y="T3"/>
                  </a:cxn>
                  <a:cxn ang="0">
                    <a:pos x="T4" y="T5"/>
                  </a:cxn>
                </a:cxnLst>
                <a:rect l="0" t="0" r="r" b="b"/>
                <a:pathLst>
                  <a:path w="5" h="6">
                    <a:moveTo>
                      <a:pt x="0" y="4"/>
                    </a:moveTo>
                    <a:cubicBezTo>
                      <a:pt x="1" y="6"/>
                      <a:pt x="4" y="1"/>
                      <a:pt x="5" y="0"/>
                    </a:cubicBezTo>
                    <a:cubicBezTo>
                      <a:pt x="3" y="1"/>
                      <a:pt x="1"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3" name="Freeform 2773">
                <a:extLst>
                  <a:ext uri="{FF2B5EF4-FFF2-40B4-BE49-F238E27FC236}">
                    <a16:creationId xmlns:a16="http://schemas.microsoft.com/office/drawing/2014/main" id="{F7719FF1-1F1D-47B6-AD7B-9EA47D9D47EE}"/>
                  </a:ext>
                </a:extLst>
              </p:cNvPr>
              <p:cNvSpPr>
                <a:spLocks/>
              </p:cNvSpPr>
              <p:nvPr/>
            </p:nvSpPr>
            <p:spPr bwMode="auto">
              <a:xfrm>
                <a:off x="7242" y="1522"/>
                <a:ext cx="5" cy="5"/>
              </a:xfrm>
              <a:custGeom>
                <a:avLst/>
                <a:gdLst>
                  <a:gd name="T0" fmla="*/ 0 w 2"/>
                  <a:gd name="T1" fmla="*/ 2 h 2"/>
                  <a:gd name="T2" fmla="*/ 0 w 2"/>
                  <a:gd name="T3" fmla="*/ 2 h 2"/>
                </a:gdLst>
                <a:ahLst/>
                <a:cxnLst>
                  <a:cxn ang="0">
                    <a:pos x="T0" y="T1"/>
                  </a:cxn>
                  <a:cxn ang="0">
                    <a:pos x="T2" y="T3"/>
                  </a:cxn>
                </a:cxnLst>
                <a:rect l="0" t="0" r="r" b="b"/>
                <a:pathLst>
                  <a:path w="2" h="2">
                    <a:moveTo>
                      <a:pt x="0" y="2"/>
                    </a:moveTo>
                    <a:cubicBezTo>
                      <a:pt x="2" y="2"/>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4" name="Freeform 2774">
                <a:extLst>
                  <a:ext uri="{FF2B5EF4-FFF2-40B4-BE49-F238E27FC236}">
                    <a16:creationId xmlns:a16="http://schemas.microsoft.com/office/drawing/2014/main" id="{8A8036A4-D7B4-48F6-A2B6-72582E0D72B0}"/>
                  </a:ext>
                </a:extLst>
              </p:cNvPr>
              <p:cNvSpPr>
                <a:spLocks/>
              </p:cNvSpPr>
              <p:nvPr/>
            </p:nvSpPr>
            <p:spPr bwMode="auto">
              <a:xfrm>
                <a:off x="7230" y="1537"/>
                <a:ext cx="5" cy="4"/>
              </a:xfrm>
              <a:custGeom>
                <a:avLst/>
                <a:gdLst>
                  <a:gd name="T0" fmla="*/ 0 w 2"/>
                  <a:gd name="T1" fmla="*/ 2 h 2"/>
                  <a:gd name="T2" fmla="*/ 0 w 2"/>
                  <a:gd name="T3" fmla="*/ 2 h 2"/>
                </a:gdLst>
                <a:ahLst/>
                <a:cxnLst>
                  <a:cxn ang="0">
                    <a:pos x="T0" y="T1"/>
                  </a:cxn>
                  <a:cxn ang="0">
                    <a:pos x="T2" y="T3"/>
                  </a:cxn>
                </a:cxnLst>
                <a:rect l="0" t="0" r="r" b="b"/>
                <a:pathLst>
                  <a:path w="2" h="2">
                    <a:moveTo>
                      <a:pt x="0" y="2"/>
                    </a:moveTo>
                    <a:cubicBezTo>
                      <a:pt x="2" y="2"/>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5" name="Freeform 2775">
                <a:extLst>
                  <a:ext uri="{FF2B5EF4-FFF2-40B4-BE49-F238E27FC236}">
                    <a16:creationId xmlns:a16="http://schemas.microsoft.com/office/drawing/2014/main" id="{17121401-45D0-4052-B70E-B103C90AFAE2}"/>
                  </a:ext>
                </a:extLst>
              </p:cNvPr>
              <p:cNvSpPr>
                <a:spLocks/>
              </p:cNvSpPr>
              <p:nvPr/>
            </p:nvSpPr>
            <p:spPr bwMode="auto">
              <a:xfrm>
                <a:off x="7282" y="1466"/>
                <a:ext cx="7" cy="14"/>
              </a:xfrm>
              <a:custGeom>
                <a:avLst/>
                <a:gdLst>
                  <a:gd name="T0" fmla="*/ 3 w 3"/>
                  <a:gd name="T1" fmla="*/ 4 h 6"/>
                  <a:gd name="T2" fmla="*/ 2 w 3"/>
                  <a:gd name="T3" fmla="*/ 2 h 6"/>
                  <a:gd name="T4" fmla="*/ 0 w 3"/>
                  <a:gd name="T5" fmla="*/ 6 h 6"/>
                  <a:gd name="T6" fmla="*/ 3 w 3"/>
                  <a:gd name="T7" fmla="*/ 4 h 6"/>
                </a:gdLst>
                <a:ahLst/>
                <a:cxnLst>
                  <a:cxn ang="0">
                    <a:pos x="T0" y="T1"/>
                  </a:cxn>
                  <a:cxn ang="0">
                    <a:pos x="T2" y="T3"/>
                  </a:cxn>
                  <a:cxn ang="0">
                    <a:pos x="T4" y="T5"/>
                  </a:cxn>
                  <a:cxn ang="0">
                    <a:pos x="T6" y="T7"/>
                  </a:cxn>
                </a:cxnLst>
                <a:rect l="0" t="0" r="r" b="b"/>
                <a:pathLst>
                  <a:path w="3" h="6">
                    <a:moveTo>
                      <a:pt x="3" y="4"/>
                    </a:moveTo>
                    <a:cubicBezTo>
                      <a:pt x="3" y="3"/>
                      <a:pt x="3" y="0"/>
                      <a:pt x="2" y="2"/>
                    </a:cubicBezTo>
                    <a:cubicBezTo>
                      <a:pt x="1" y="2"/>
                      <a:pt x="0" y="5"/>
                      <a:pt x="0" y="6"/>
                    </a:cubicBezTo>
                    <a:cubicBezTo>
                      <a:pt x="2" y="6"/>
                      <a:pt x="2" y="6"/>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6" name="Freeform 2776">
                <a:extLst>
                  <a:ext uri="{FF2B5EF4-FFF2-40B4-BE49-F238E27FC236}">
                    <a16:creationId xmlns:a16="http://schemas.microsoft.com/office/drawing/2014/main" id="{08B4A8CE-5913-43CC-A0BB-0EF96DF61BF8}"/>
                  </a:ext>
                </a:extLst>
              </p:cNvPr>
              <p:cNvSpPr>
                <a:spLocks/>
              </p:cNvSpPr>
              <p:nvPr/>
            </p:nvSpPr>
            <p:spPr bwMode="auto">
              <a:xfrm>
                <a:off x="5452" y="186"/>
                <a:ext cx="38" cy="9"/>
              </a:xfrm>
              <a:custGeom>
                <a:avLst/>
                <a:gdLst>
                  <a:gd name="T0" fmla="*/ 3 w 16"/>
                  <a:gd name="T1" fmla="*/ 4 h 4"/>
                  <a:gd name="T2" fmla="*/ 7 w 16"/>
                  <a:gd name="T3" fmla="*/ 4 h 4"/>
                  <a:gd name="T4" fmla="*/ 16 w 16"/>
                  <a:gd name="T5" fmla="*/ 1 h 4"/>
                  <a:gd name="T6" fmla="*/ 10 w 16"/>
                  <a:gd name="T7" fmla="*/ 0 h 4"/>
                  <a:gd name="T8" fmla="*/ 4 w 16"/>
                  <a:gd name="T9" fmla="*/ 0 h 4"/>
                  <a:gd name="T10" fmla="*/ 3 w 16"/>
                  <a:gd name="T11" fmla="*/ 4 h 4"/>
                </a:gdLst>
                <a:ahLst/>
                <a:cxnLst>
                  <a:cxn ang="0">
                    <a:pos x="T0" y="T1"/>
                  </a:cxn>
                  <a:cxn ang="0">
                    <a:pos x="T2" y="T3"/>
                  </a:cxn>
                  <a:cxn ang="0">
                    <a:pos x="T4" y="T5"/>
                  </a:cxn>
                  <a:cxn ang="0">
                    <a:pos x="T6" y="T7"/>
                  </a:cxn>
                  <a:cxn ang="0">
                    <a:pos x="T8" y="T9"/>
                  </a:cxn>
                  <a:cxn ang="0">
                    <a:pos x="T10" y="T11"/>
                  </a:cxn>
                </a:cxnLst>
                <a:rect l="0" t="0" r="r" b="b"/>
                <a:pathLst>
                  <a:path w="16" h="4">
                    <a:moveTo>
                      <a:pt x="3" y="4"/>
                    </a:moveTo>
                    <a:cubicBezTo>
                      <a:pt x="4" y="4"/>
                      <a:pt x="6" y="4"/>
                      <a:pt x="7" y="4"/>
                    </a:cubicBezTo>
                    <a:cubicBezTo>
                      <a:pt x="10" y="4"/>
                      <a:pt x="15" y="4"/>
                      <a:pt x="16" y="1"/>
                    </a:cubicBezTo>
                    <a:cubicBezTo>
                      <a:pt x="14" y="1"/>
                      <a:pt x="12" y="1"/>
                      <a:pt x="10" y="0"/>
                    </a:cubicBezTo>
                    <a:cubicBezTo>
                      <a:pt x="8" y="0"/>
                      <a:pt x="6" y="1"/>
                      <a:pt x="4" y="0"/>
                    </a:cubicBezTo>
                    <a:cubicBezTo>
                      <a:pt x="3" y="1"/>
                      <a:pt x="0" y="3"/>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7" name="Freeform 2777">
                <a:extLst>
                  <a:ext uri="{FF2B5EF4-FFF2-40B4-BE49-F238E27FC236}">
                    <a16:creationId xmlns:a16="http://schemas.microsoft.com/office/drawing/2014/main" id="{F1CA7E3B-AC2B-4603-9065-71873FF12E79}"/>
                  </a:ext>
                </a:extLst>
              </p:cNvPr>
              <p:cNvSpPr>
                <a:spLocks/>
              </p:cNvSpPr>
              <p:nvPr/>
            </p:nvSpPr>
            <p:spPr bwMode="auto">
              <a:xfrm>
                <a:off x="5058" y="174"/>
                <a:ext cx="73" cy="28"/>
              </a:xfrm>
              <a:custGeom>
                <a:avLst/>
                <a:gdLst>
                  <a:gd name="T0" fmla="*/ 5 w 31"/>
                  <a:gd name="T1" fmla="*/ 6 h 12"/>
                  <a:gd name="T2" fmla="*/ 3 w 31"/>
                  <a:gd name="T3" fmla="*/ 7 h 12"/>
                  <a:gd name="T4" fmla="*/ 1 w 31"/>
                  <a:gd name="T5" fmla="*/ 9 h 12"/>
                  <a:gd name="T6" fmla="*/ 6 w 31"/>
                  <a:gd name="T7" fmla="*/ 12 h 12"/>
                  <a:gd name="T8" fmla="*/ 11 w 31"/>
                  <a:gd name="T9" fmla="*/ 11 h 12"/>
                  <a:gd name="T10" fmla="*/ 31 w 31"/>
                  <a:gd name="T11" fmla="*/ 6 h 12"/>
                  <a:gd name="T12" fmla="*/ 29 w 31"/>
                  <a:gd name="T13" fmla="*/ 5 h 12"/>
                  <a:gd name="T14" fmla="*/ 29 w 31"/>
                  <a:gd name="T15" fmla="*/ 2 h 12"/>
                  <a:gd name="T16" fmla="*/ 27 w 31"/>
                  <a:gd name="T17" fmla="*/ 1 h 12"/>
                  <a:gd name="T18" fmla="*/ 21 w 31"/>
                  <a:gd name="T19" fmla="*/ 0 h 12"/>
                  <a:gd name="T20" fmla="*/ 19 w 31"/>
                  <a:gd name="T21" fmla="*/ 0 h 12"/>
                  <a:gd name="T22" fmla="*/ 17 w 31"/>
                  <a:gd name="T23" fmla="*/ 2 h 12"/>
                  <a:gd name="T24" fmla="*/ 16 w 31"/>
                  <a:gd name="T25" fmla="*/ 5 h 12"/>
                  <a:gd name="T26" fmla="*/ 13 w 31"/>
                  <a:gd name="T27" fmla="*/ 5 h 12"/>
                  <a:gd name="T28" fmla="*/ 5 w 31"/>
                  <a:gd name="T2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5" y="6"/>
                    </a:moveTo>
                    <a:cubicBezTo>
                      <a:pt x="5" y="7"/>
                      <a:pt x="4" y="7"/>
                      <a:pt x="3" y="7"/>
                    </a:cubicBezTo>
                    <a:cubicBezTo>
                      <a:pt x="2" y="8"/>
                      <a:pt x="0" y="8"/>
                      <a:pt x="1" y="9"/>
                    </a:cubicBezTo>
                    <a:cubicBezTo>
                      <a:pt x="3" y="10"/>
                      <a:pt x="5" y="11"/>
                      <a:pt x="6" y="12"/>
                    </a:cubicBezTo>
                    <a:cubicBezTo>
                      <a:pt x="8" y="12"/>
                      <a:pt x="9" y="12"/>
                      <a:pt x="11" y="11"/>
                    </a:cubicBezTo>
                    <a:cubicBezTo>
                      <a:pt x="17" y="10"/>
                      <a:pt x="24" y="8"/>
                      <a:pt x="31" y="6"/>
                    </a:cubicBezTo>
                    <a:cubicBezTo>
                      <a:pt x="31" y="5"/>
                      <a:pt x="30" y="5"/>
                      <a:pt x="29" y="5"/>
                    </a:cubicBezTo>
                    <a:cubicBezTo>
                      <a:pt x="29" y="4"/>
                      <a:pt x="29" y="3"/>
                      <a:pt x="29" y="2"/>
                    </a:cubicBezTo>
                    <a:cubicBezTo>
                      <a:pt x="29" y="1"/>
                      <a:pt x="28" y="1"/>
                      <a:pt x="27" y="1"/>
                    </a:cubicBezTo>
                    <a:cubicBezTo>
                      <a:pt x="26" y="0"/>
                      <a:pt x="23" y="0"/>
                      <a:pt x="21" y="0"/>
                    </a:cubicBezTo>
                    <a:cubicBezTo>
                      <a:pt x="21" y="0"/>
                      <a:pt x="19" y="0"/>
                      <a:pt x="19" y="0"/>
                    </a:cubicBezTo>
                    <a:cubicBezTo>
                      <a:pt x="18" y="1"/>
                      <a:pt x="18" y="1"/>
                      <a:pt x="17" y="2"/>
                    </a:cubicBezTo>
                    <a:cubicBezTo>
                      <a:pt x="17" y="2"/>
                      <a:pt x="17" y="4"/>
                      <a:pt x="16" y="5"/>
                    </a:cubicBezTo>
                    <a:cubicBezTo>
                      <a:pt x="15" y="5"/>
                      <a:pt x="14" y="5"/>
                      <a:pt x="13" y="5"/>
                    </a:cubicBezTo>
                    <a:cubicBezTo>
                      <a:pt x="10" y="5"/>
                      <a:pt x="8" y="5"/>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8" name="Freeform 2778">
                <a:extLst>
                  <a:ext uri="{FF2B5EF4-FFF2-40B4-BE49-F238E27FC236}">
                    <a16:creationId xmlns:a16="http://schemas.microsoft.com/office/drawing/2014/main" id="{EF773E44-1B2C-46B0-9A80-3DCC33E57C15}"/>
                  </a:ext>
                </a:extLst>
              </p:cNvPr>
              <p:cNvSpPr>
                <a:spLocks/>
              </p:cNvSpPr>
              <p:nvPr/>
            </p:nvSpPr>
            <p:spPr bwMode="auto">
              <a:xfrm>
                <a:off x="6240" y="517"/>
                <a:ext cx="49" cy="23"/>
              </a:xfrm>
              <a:custGeom>
                <a:avLst/>
                <a:gdLst>
                  <a:gd name="T0" fmla="*/ 0 w 21"/>
                  <a:gd name="T1" fmla="*/ 6 h 10"/>
                  <a:gd name="T2" fmla="*/ 4 w 21"/>
                  <a:gd name="T3" fmla="*/ 8 h 10"/>
                  <a:gd name="T4" fmla="*/ 7 w 21"/>
                  <a:gd name="T5" fmla="*/ 9 h 10"/>
                  <a:gd name="T6" fmla="*/ 10 w 21"/>
                  <a:gd name="T7" fmla="*/ 10 h 10"/>
                  <a:gd name="T8" fmla="*/ 14 w 21"/>
                  <a:gd name="T9" fmla="*/ 10 h 10"/>
                  <a:gd name="T10" fmla="*/ 20 w 21"/>
                  <a:gd name="T11" fmla="*/ 5 h 10"/>
                  <a:gd name="T12" fmla="*/ 17 w 21"/>
                  <a:gd name="T13" fmla="*/ 2 h 10"/>
                  <a:gd name="T14" fmla="*/ 12 w 21"/>
                  <a:gd name="T15" fmla="*/ 2 h 10"/>
                  <a:gd name="T16" fmla="*/ 6 w 21"/>
                  <a:gd name="T17" fmla="*/ 2 h 10"/>
                  <a:gd name="T18" fmla="*/ 5 w 21"/>
                  <a:gd name="T19" fmla="*/ 4 h 10"/>
                  <a:gd name="T20" fmla="*/ 0 w 21"/>
                  <a:gd name="T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0" y="6"/>
                    </a:moveTo>
                    <a:cubicBezTo>
                      <a:pt x="1" y="7"/>
                      <a:pt x="2" y="7"/>
                      <a:pt x="4" y="8"/>
                    </a:cubicBezTo>
                    <a:cubicBezTo>
                      <a:pt x="5" y="8"/>
                      <a:pt x="6" y="8"/>
                      <a:pt x="7" y="9"/>
                    </a:cubicBezTo>
                    <a:cubicBezTo>
                      <a:pt x="8" y="10"/>
                      <a:pt x="9" y="9"/>
                      <a:pt x="10" y="10"/>
                    </a:cubicBezTo>
                    <a:cubicBezTo>
                      <a:pt x="12" y="10"/>
                      <a:pt x="13" y="10"/>
                      <a:pt x="14" y="10"/>
                    </a:cubicBezTo>
                    <a:cubicBezTo>
                      <a:pt x="16" y="8"/>
                      <a:pt x="18" y="7"/>
                      <a:pt x="20" y="5"/>
                    </a:cubicBezTo>
                    <a:cubicBezTo>
                      <a:pt x="21" y="3"/>
                      <a:pt x="19" y="2"/>
                      <a:pt x="17" y="2"/>
                    </a:cubicBezTo>
                    <a:cubicBezTo>
                      <a:pt x="16" y="2"/>
                      <a:pt x="14" y="2"/>
                      <a:pt x="12" y="2"/>
                    </a:cubicBezTo>
                    <a:cubicBezTo>
                      <a:pt x="10" y="2"/>
                      <a:pt x="7" y="0"/>
                      <a:pt x="6" y="2"/>
                    </a:cubicBezTo>
                    <a:cubicBezTo>
                      <a:pt x="5" y="3"/>
                      <a:pt x="6" y="4"/>
                      <a:pt x="5" y="4"/>
                    </a:cubicBezTo>
                    <a:cubicBezTo>
                      <a:pt x="4" y="6"/>
                      <a:pt x="2"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9" name="Freeform 2779">
                <a:extLst>
                  <a:ext uri="{FF2B5EF4-FFF2-40B4-BE49-F238E27FC236}">
                    <a16:creationId xmlns:a16="http://schemas.microsoft.com/office/drawing/2014/main" id="{EBD1920B-BDF4-4D97-B9BE-590A198B8106}"/>
                  </a:ext>
                </a:extLst>
              </p:cNvPr>
              <p:cNvSpPr>
                <a:spLocks/>
              </p:cNvSpPr>
              <p:nvPr/>
            </p:nvSpPr>
            <p:spPr bwMode="auto">
              <a:xfrm>
                <a:off x="4946" y="136"/>
                <a:ext cx="38" cy="9"/>
              </a:xfrm>
              <a:custGeom>
                <a:avLst/>
                <a:gdLst>
                  <a:gd name="T0" fmla="*/ 2 w 16"/>
                  <a:gd name="T1" fmla="*/ 4 h 4"/>
                  <a:gd name="T2" fmla="*/ 9 w 16"/>
                  <a:gd name="T3" fmla="*/ 3 h 4"/>
                  <a:gd name="T4" fmla="*/ 16 w 16"/>
                  <a:gd name="T5" fmla="*/ 1 h 4"/>
                  <a:gd name="T6" fmla="*/ 6 w 16"/>
                  <a:gd name="T7" fmla="*/ 0 h 4"/>
                  <a:gd name="T8" fmla="*/ 2 w 16"/>
                  <a:gd name="T9" fmla="*/ 1 h 4"/>
                  <a:gd name="T10" fmla="*/ 2 w 16"/>
                  <a:gd name="T11" fmla="*/ 4 h 4"/>
                </a:gdLst>
                <a:ahLst/>
                <a:cxnLst>
                  <a:cxn ang="0">
                    <a:pos x="T0" y="T1"/>
                  </a:cxn>
                  <a:cxn ang="0">
                    <a:pos x="T2" y="T3"/>
                  </a:cxn>
                  <a:cxn ang="0">
                    <a:pos x="T4" y="T5"/>
                  </a:cxn>
                  <a:cxn ang="0">
                    <a:pos x="T6" y="T7"/>
                  </a:cxn>
                  <a:cxn ang="0">
                    <a:pos x="T8" y="T9"/>
                  </a:cxn>
                  <a:cxn ang="0">
                    <a:pos x="T10" y="T11"/>
                  </a:cxn>
                </a:cxnLst>
                <a:rect l="0" t="0" r="r" b="b"/>
                <a:pathLst>
                  <a:path w="16" h="4">
                    <a:moveTo>
                      <a:pt x="2" y="4"/>
                    </a:moveTo>
                    <a:cubicBezTo>
                      <a:pt x="5" y="3"/>
                      <a:pt x="7" y="3"/>
                      <a:pt x="9" y="3"/>
                    </a:cubicBezTo>
                    <a:cubicBezTo>
                      <a:pt x="12" y="3"/>
                      <a:pt x="15" y="3"/>
                      <a:pt x="16" y="1"/>
                    </a:cubicBezTo>
                    <a:cubicBezTo>
                      <a:pt x="13" y="0"/>
                      <a:pt x="9" y="0"/>
                      <a:pt x="6" y="0"/>
                    </a:cubicBezTo>
                    <a:cubicBezTo>
                      <a:pt x="5" y="0"/>
                      <a:pt x="1" y="0"/>
                      <a:pt x="2" y="1"/>
                    </a:cubicBezTo>
                    <a:cubicBezTo>
                      <a:pt x="0" y="2"/>
                      <a:pt x="0"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0" name="Freeform 2780">
                <a:extLst>
                  <a:ext uri="{FF2B5EF4-FFF2-40B4-BE49-F238E27FC236}">
                    <a16:creationId xmlns:a16="http://schemas.microsoft.com/office/drawing/2014/main" id="{B0833BDE-98F8-4A7F-BCE3-C3843B46A03C}"/>
                  </a:ext>
                </a:extLst>
              </p:cNvPr>
              <p:cNvSpPr>
                <a:spLocks/>
              </p:cNvSpPr>
              <p:nvPr/>
            </p:nvSpPr>
            <p:spPr bwMode="auto">
              <a:xfrm>
                <a:off x="4809" y="663"/>
                <a:ext cx="26" cy="22"/>
              </a:xfrm>
              <a:custGeom>
                <a:avLst/>
                <a:gdLst>
                  <a:gd name="T0" fmla="*/ 10 w 11"/>
                  <a:gd name="T1" fmla="*/ 6 h 9"/>
                  <a:gd name="T2" fmla="*/ 10 w 11"/>
                  <a:gd name="T3" fmla="*/ 4 h 9"/>
                  <a:gd name="T4" fmla="*/ 7 w 11"/>
                  <a:gd name="T5" fmla="*/ 3 h 9"/>
                  <a:gd name="T6" fmla="*/ 6 w 11"/>
                  <a:gd name="T7" fmla="*/ 1 h 9"/>
                  <a:gd name="T8" fmla="*/ 8 w 11"/>
                  <a:gd name="T9" fmla="*/ 3 h 9"/>
                  <a:gd name="T10" fmla="*/ 0 w 11"/>
                  <a:gd name="T11" fmla="*/ 2 h 9"/>
                  <a:gd name="T12" fmla="*/ 8 w 11"/>
                  <a:gd name="T13" fmla="*/ 8 h 9"/>
                  <a:gd name="T14" fmla="*/ 9 w 11"/>
                  <a:gd name="T15" fmla="*/ 7 h 9"/>
                  <a:gd name="T16" fmla="*/ 10 w 11"/>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
                    <a:moveTo>
                      <a:pt x="10" y="6"/>
                    </a:moveTo>
                    <a:cubicBezTo>
                      <a:pt x="10" y="6"/>
                      <a:pt x="11" y="5"/>
                      <a:pt x="10" y="4"/>
                    </a:cubicBezTo>
                    <a:cubicBezTo>
                      <a:pt x="10" y="3"/>
                      <a:pt x="8" y="3"/>
                      <a:pt x="7" y="3"/>
                    </a:cubicBezTo>
                    <a:cubicBezTo>
                      <a:pt x="6" y="2"/>
                      <a:pt x="6" y="2"/>
                      <a:pt x="6" y="1"/>
                    </a:cubicBezTo>
                    <a:cubicBezTo>
                      <a:pt x="7" y="2"/>
                      <a:pt x="7" y="3"/>
                      <a:pt x="8" y="3"/>
                    </a:cubicBezTo>
                    <a:cubicBezTo>
                      <a:pt x="7" y="0"/>
                      <a:pt x="3" y="0"/>
                      <a:pt x="0" y="2"/>
                    </a:cubicBezTo>
                    <a:cubicBezTo>
                      <a:pt x="3" y="4"/>
                      <a:pt x="6" y="6"/>
                      <a:pt x="8" y="8"/>
                    </a:cubicBezTo>
                    <a:cubicBezTo>
                      <a:pt x="10" y="9"/>
                      <a:pt x="10" y="8"/>
                      <a:pt x="9" y="7"/>
                    </a:cubicBezTo>
                    <a:cubicBezTo>
                      <a:pt x="9" y="6"/>
                      <a:pt x="9" y="7"/>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1" name="Freeform 2781">
                <a:extLst>
                  <a:ext uri="{FF2B5EF4-FFF2-40B4-BE49-F238E27FC236}">
                    <a16:creationId xmlns:a16="http://schemas.microsoft.com/office/drawing/2014/main" id="{E22BBA1D-430F-402E-8C2C-7CAE11A377B9}"/>
                  </a:ext>
                </a:extLst>
              </p:cNvPr>
              <p:cNvSpPr>
                <a:spLocks/>
              </p:cNvSpPr>
              <p:nvPr/>
            </p:nvSpPr>
            <p:spPr bwMode="auto">
              <a:xfrm>
                <a:off x="7157" y="1574"/>
                <a:ext cx="28" cy="19"/>
              </a:xfrm>
              <a:custGeom>
                <a:avLst/>
                <a:gdLst>
                  <a:gd name="T0" fmla="*/ 9 w 12"/>
                  <a:gd name="T1" fmla="*/ 0 h 8"/>
                  <a:gd name="T2" fmla="*/ 8 w 12"/>
                  <a:gd name="T3" fmla="*/ 1 h 8"/>
                  <a:gd name="T4" fmla="*/ 6 w 12"/>
                  <a:gd name="T5" fmla="*/ 2 h 8"/>
                  <a:gd name="T6" fmla="*/ 0 w 12"/>
                  <a:gd name="T7" fmla="*/ 8 h 8"/>
                  <a:gd name="T8" fmla="*/ 2 w 12"/>
                  <a:gd name="T9" fmla="*/ 7 h 8"/>
                  <a:gd name="T10" fmla="*/ 12 w 12"/>
                  <a:gd name="T11" fmla="*/ 0 h 8"/>
                  <a:gd name="T12" fmla="*/ 9 w 1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9" y="0"/>
                    </a:moveTo>
                    <a:cubicBezTo>
                      <a:pt x="8" y="0"/>
                      <a:pt x="8" y="1"/>
                      <a:pt x="8" y="1"/>
                    </a:cubicBezTo>
                    <a:cubicBezTo>
                      <a:pt x="7" y="1"/>
                      <a:pt x="7" y="1"/>
                      <a:pt x="6" y="2"/>
                    </a:cubicBezTo>
                    <a:cubicBezTo>
                      <a:pt x="4" y="4"/>
                      <a:pt x="2" y="6"/>
                      <a:pt x="0" y="8"/>
                    </a:cubicBezTo>
                    <a:cubicBezTo>
                      <a:pt x="1" y="8"/>
                      <a:pt x="2" y="8"/>
                      <a:pt x="2" y="7"/>
                    </a:cubicBezTo>
                    <a:cubicBezTo>
                      <a:pt x="3" y="8"/>
                      <a:pt x="11" y="0"/>
                      <a:pt x="12" y="0"/>
                    </a:cubicBezTo>
                    <a:cubicBezTo>
                      <a:pt x="11" y="0"/>
                      <a:pt x="10"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2" name="Freeform 2782">
                <a:extLst>
                  <a:ext uri="{FF2B5EF4-FFF2-40B4-BE49-F238E27FC236}">
                    <a16:creationId xmlns:a16="http://schemas.microsoft.com/office/drawing/2014/main" id="{8B16CF22-C837-43DD-A4D6-A4A5BC762ACF}"/>
                  </a:ext>
                </a:extLst>
              </p:cNvPr>
              <p:cNvSpPr>
                <a:spLocks/>
              </p:cNvSpPr>
              <p:nvPr/>
            </p:nvSpPr>
            <p:spPr bwMode="auto">
              <a:xfrm>
                <a:off x="4925" y="212"/>
                <a:ext cx="55" cy="23"/>
              </a:xfrm>
              <a:custGeom>
                <a:avLst/>
                <a:gdLst>
                  <a:gd name="T0" fmla="*/ 15 w 23"/>
                  <a:gd name="T1" fmla="*/ 5 h 10"/>
                  <a:gd name="T2" fmla="*/ 17 w 23"/>
                  <a:gd name="T3" fmla="*/ 4 h 10"/>
                  <a:gd name="T4" fmla="*/ 23 w 23"/>
                  <a:gd name="T5" fmla="*/ 4 h 10"/>
                  <a:gd name="T6" fmla="*/ 15 w 23"/>
                  <a:gd name="T7" fmla="*/ 1 h 10"/>
                  <a:gd name="T8" fmla="*/ 8 w 23"/>
                  <a:gd name="T9" fmla="*/ 0 h 10"/>
                  <a:gd name="T10" fmla="*/ 5 w 23"/>
                  <a:gd name="T11" fmla="*/ 1 h 10"/>
                  <a:gd name="T12" fmla="*/ 1 w 23"/>
                  <a:gd name="T13" fmla="*/ 1 h 10"/>
                  <a:gd name="T14" fmla="*/ 1 w 23"/>
                  <a:gd name="T15" fmla="*/ 3 h 10"/>
                  <a:gd name="T16" fmla="*/ 2 w 23"/>
                  <a:gd name="T17" fmla="*/ 6 h 10"/>
                  <a:gd name="T18" fmla="*/ 7 w 23"/>
                  <a:gd name="T19" fmla="*/ 9 h 10"/>
                  <a:gd name="T20" fmla="*/ 10 w 23"/>
                  <a:gd name="T21" fmla="*/ 10 h 10"/>
                  <a:gd name="T22" fmla="*/ 12 w 23"/>
                  <a:gd name="T23" fmla="*/ 8 h 10"/>
                  <a:gd name="T24" fmla="*/ 14 w 23"/>
                  <a:gd name="T25" fmla="*/ 6 h 10"/>
                  <a:gd name="T26" fmla="*/ 13 w 23"/>
                  <a:gd name="T27" fmla="*/ 5 h 10"/>
                  <a:gd name="T28" fmla="*/ 15 w 23"/>
                  <a:gd name="T2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0">
                    <a:moveTo>
                      <a:pt x="15" y="5"/>
                    </a:moveTo>
                    <a:cubicBezTo>
                      <a:pt x="16" y="5"/>
                      <a:pt x="17" y="4"/>
                      <a:pt x="17" y="4"/>
                    </a:cubicBezTo>
                    <a:cubicBezTo>
                      <a:pt x="19" y="4"/>
                      <a:pt x="21" y="5"/>
                      <a:pt x="23" y="4"/>
                    </a:cubicBezTo>
                    <a:cubicBezTo>
                      <a:pt x="22" y="2"/>
                      <a:pt x="18" y="2"/>
                      <a:pt x="15" y="1"/>
                    </a:cubicBezTo>
                    <a:cubicBezTo>
                      <a:pt x="13" y="1"/>
                      <a:pt x="10" y="0"/>
                      <a:pt x="8" y="0"/>
                    </a:cubicBezTo>
                    <a:cubicBezTo>
                      <a:pt x="7" y="0"/>
                      <a:pt x="6" y="1"/>
                      <a:pt x="5" y="1"/>
                    </a:cubicBezTo>
                    <a:cubicBezTo>
                      <a:pt x="4" y="1"/>
                      <a:pt x="2" y="0"/>
                      <a:pt x="1" y="1"/>
                    </a:cubicBezTo>
                    <a:cubicBezTo>
                      <a:pt x="0" y="1"/>
                      <a:pt x="0" y="1"/>
                      <a:pt x="1" y="3"/>
                    </a:cubicBezTo>
                    <a:cubicBezTo>
                      <a:pt x="1" y="4"/>
                      <a:pt x="2" y="5"/>
                      <a:pt x="2" y="6"/>
                    </a:cubicBezTo>
                    <a:cubicBezTo>
                      <a:pt x="3" y="8"/>
                      <a:pt x="4" y="9"/>
                      <a:pt x="7" y="9"/>
                    </a:cubicBezTo>
                    <a:cubicBezTo>
                      <a:pt x="7" y="10"/>
                      <a:pt x="9" y="10"/>
                      <a:pt x="10" y="10"/>
                    </a:cubicBezTo>
                    <a:cubicBezTo>
                      <a:pt x="11" y="9"/>
                      <a:pt x="10" y="8"/>
                      <a:pt x="12" y="8"/>
                    </a:cubicBezTo>
                    <a:cubicBezTo>
                      <a:pt x="13" y="8"/>
                      <a:pt x="16" y="9"/>
                      <a:pt x="14" y="6"/>
                    </a:cubicBezTo>
                    <a:cubicBezTo>
                      <a:pt x="14" y="6"/>
                      <a:pt x="13" y="6"/>
                      <a:pt x="13" y="5"/>
                    </a:cubicBezTo>
                    <a:cubicBezTo>
                      <a:pt x="13" y="5"/>
                      <a:pt x="14" y="5"/>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3" name="Freeform 2783">
                <a:extLst>
                  <a:ext uri="{FF2B5EF4-FFF2-40B4-BE49-F238E27FC236}">
                    <a16:creationId xmlns:a16="http://schemas.microsoft.com/office/drawing/2014/main" id="{90647725-F350-4A98-A396-55286174D331}"/>
                  </a:ext>
                </a:extLst>
              </p:cNvPr>
              <p:cNvSpPr>
                <a:spLocks/>
              </p:cNvSpPr>
              <p:nvPr/>
            </p:nvSpPr>
            <p:spPr bwMode="auto">
              <a:xfrm>
                <a:off x="7088" y="1643"/>
                <a:ext cx="8" cy="5"/>
              </a:xfrm>
              <a:custGeom>
                <a:avLst/>
                <a:gdLst>
                  <a:gd name="T0" fmla="*/ 0 w 3"/>
                  <a:gd name="T1" fmla="*/ 2 h 2"/>
                  <a:gd name="T2" fmla="*/ 3 w 3"/>
                  <a:gd name="T3" fmla="*/ 0 h 2"/>
                  <a:gd name="T4" fmla="*/ 0 w 3"/>
                  <a:gd name="T5" fmla="*/ 2 h 2"/>
                </a:gdLst>
                <a:ahLst/>
                <a:cxnLst>
                  <a:cxn ang="0">
                    <a:pos x="T0" y="T1"/>
                  </a:cxn>
                  <a:cxn ang="0">
                    <a:pos x="T2" y="T3"/>
                  </a:cxn>
                  <a:cxn ang="0">
                    <a:pos x="T4" y="T5"/>
                  </a:cxn>
                </a:cxnLst>
                <a:rect l="0" t="0" r="r" b="b"/>
                <a:pathLst>
                  <a:path w="3" h="2">
                    <a:moveTo>
                      <a:pt x="0" y="2"/>
                    </a:moveTo>
                    <a:cubicBezTo>
                      <a:pt x="1" y="2"/>
                      <a:pt x="2" y="1"/>
                      <a:pt x="3" y="0"/>
                    </a:cubicBezTo>
                    <a:cubicBezTo>
                      <a:pt x="2"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4" name="Freeform 2784">
                <a:extLst>
                  <a:ext uri="{FF2B5EF4-FFF2-40B4-BE49-F238E27FC236}">
                    <a16:creationId xmlns:a16="http://schemas.microsoft.com/office/drawing/2014/main" id="{759665A7-64B3-491A-8639-310739DE923E}"/>
                  </a:ext>
                </a:extLst>
              </p:cNvPr>
              <p:cNvSpPr>
                <a:spLocks/>
              </p:cNvSpPr>
              <p:nvPr/>
            </p:nvSpPr>
            <p:spPr bwMode="auto">
              <a:xfrm>
                <a:off x="4904" y="178"/>
                <a:ext cx="52" cy="19"/>
              </a:xfrm>
              <a:custGeom>
                <a:avLst/>
                <a:gdLst>
                  <a:gd name="T0" fmla="*/ 7 w 22"/>
                  <a:gd name="T1" fmla="*/ 2 h 8"/>
                  <a:gd name="T2" fmla="*/ 9 w 22"/>
                  <a:gd name="T3" fmla="*/ 3 h 8"/>
                  <a:gd name="T4" fmla="*/ 11 w 22"/>
                  <a:gd name="T5" fmla="*/ 4 h 8"/>
                  <a:gd name="T6" fmla="*/ 22 w 22"/>
                  <a:gd name="T7" fmla="*/ 4 h 8"/>
                  <a:gd name="T8" fmla="*/ 0 w 22"/>
                  <a:gd name="T9" fmla="*/ 0 h 8"/>
                  <a:gd name="T10" fmla="*/ 7 w 22"/>
                  <a:gd name="T11" fmla="*/ 2 h 8"/>
                </a:gdLst>
                <a:ahLst/>
                <a:cxnLst>
                  <a:cxn ang="0">
                    <a:pos x="T0" y="T1"/>
                  </a:cxn>
                  <a:cxn ang="0">
                    <a:pos x="T2" y="T3"/>
                  </a:cxn>
                  <a:cxn ang="0">
                    <a:pos x="T4" y="T5"/>
                  </a:cxn>
                  <a:cxn ang="0">
                    <a:pos x="T6" y="T7"/>
                  </a:cxn>
                  <a:cxn ang="0">
                    <a:pos x="T8" y="T9"/>
                  </a:cxn>
                  <a:cxn ang="0">
                    <a:pos x="T10" y="T11"/>
                  </a:cxn>
                </a:cxnLst>
                <a:rect l="0" t="0" r="r" b="b"/>
                <a:pathLst>
                  <a:path w="22" h="8">
                    <a:moveTo>
                      <a:pt x="7" y="2"/>
                    </a:moveTo>
                    <a:cubicBezTo>
                      <a:pt x="8" y="2"/>
                      <a:pt x="8" y="3"/>
                      <a:pt x="9" y="3"/>
                    </a:cubicBezTo>
                    <a:cubicBezTo>
                      <a:pt x="9" y="3"/>
                      <a:pt x="11" y="3"/>
                      <a:pt x="11" y="4"/>
                    </a:cubicBezTo>
                    <a:cubicBezTo>
                      <a:pt x="14" y="8"/>
                      <a:pt x="19" y="5"/>
                      <a:pt x="22" y="4"/>
                    </a:cubicBezTo>
                    <a:cubicBezTo>
                      <a:pt x="15" y="3"/>
                      <a:pt x="7" y="1"/>
                      <a:pt x="0" y="0"/>
                    </a:cubicBezTo>
                    <a:cubicBezTo>
                      <a:pt x="2" y="1"/>
                      <a:pt x="5" y="1"/>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5" name="Freeform 2785">
                <a:extLst>
                  <a:ext uri="{FF2B5EF4-FFF2-40B4-BE49-F238E27FC236}">
                    <a16:creationId xmlns:a16="http://schemas.microsoft.com/office/drawing/2014/main" id="{59099414-4BCE-4A15-B91D-73CDE47BCBD7}"/>
                  </a:ext>
                </a:extLst>
              </p:cNvPr>
              <p:cNvSpPr>
                <a:spLocks/>
              </p:cNvSpPr>
              <p:nvPr/>
            </p:nvSpPr>
            <p:spPr bwMode="auto">
              <a:xfrm>
                <a:off x="4634" y="193"/>
                <a:ext cx="95" cy="23"/>
              </a:xfrm>
              <a:custGeom>
                <a:avLst/>
                <a:gdLst>
                  <a:gd name="T0" fmla="*/ 7 w 40"/>
                  <a:gd name="T1" fmla="*/ 8 h 10"/>
                  <a:gd name="T2" fmla="*/ 10 w 40"/>
                  <a:gd name="T3" fmla="*/ 7 h 10"/>
                  <a:gd name="T4" fmla="*/ 12 w 40"/>
                  <a:gd name="T5" fmla="*/ 10 h 10"/>
                  <a:gd name="T6" fmla="*/ 15 w 40"/>
                  <a:gd name="T7" fmla="*/ 9 h 10"/>
                  <a:gd name="T8" fmla="*/ 19 w 40"/>
                  <a:gd name="T9" fmla="*/ 7 h 10"/>
                  <a:gd name="T10" fmla="*/ 21 w 40"/>
                  <a:gd name="T11" fmla="*/ 7 h 10"/>
                  <a:gd name="T12" fmla="*/ 22 w 40"/>
                  <a:gd name="T13" fmla="*/ 6 h 10"/>
                  <a:gd name="T14" fmla="*/ 25 w 40"/>
                  <a:gd name="T15" fmla="*/ 6 h 10"/>
                  <a:gd name="T16" fmla="*/ 26 w 40"/>
                  <a:gd name="T17" fmla="*/ 5 h 10"/>
                  <a:gd name="T18" fmla="*/ 27 w 40"/>
                  <a:gd name="T19" fmla="*/ 4 h 10"/>
                  <a:gd name="T20" fmla="*/ 28 w 40"/>
                  <a:gd name="T21" fmla="*/ 2 h 10"/>
                  <a:gd name="T22" fmla="*/ 31 w 40"/>
                  <a:gd name="T23" fmla="*/ 3 h 10"/>
                  <a:gd name="T24" fmla="*/ 32 w 40"/>
                  <a:gd name="T25" fmla="*/ 5 h 10"/>
                  <a:gd name="T26" fmla="*/ 35 w 40"/>
                  <a:gd name="T27" fmla="*/ 5 h 10"/>
                  <a:gd name="T28" fmla="*/ 38 w 40"/>
                  <a:gd name="T29" fmla="*/ 6 h 10"/>
                  <a:gd name="T30" fmla="*/ 37 w 40"/>
                  <a:gd name="T31" fmla="*/ 3 h 10"/>
                  <a:gd name="T32" fmla="*/ 37 w 40"/>
                  <a:gd name="T33" fmla="*/ 2 h 10"/>
                  <a:gd name="T34" fmla="*/ 33 w 40"/>
                  <a:gd name="T35" fmla="*/ 1 h 10"/>
                  <a:gd name="T36" fmla="*/ 27 w 40"/>
                  <a:gd name="T37" fmla="*/ 0 h 10"/>
                  <a:gd name="T38" fmla="*/ 20 w 40"/>
                  <a:gd name="T39" fmla="*/ 1 h 10"/>
                  <a:gd name="T40" fmla="*/ 0 w 40"/>
                  <a:gd name="T41" fmla="*/ 5 h 10"/>
                  <a:gd name="T42" fmla="*/ 5 w 40"/>
                  <a:gd name="T43" fmla="*/ 7 h 10"/>
                  <a:gd name="T44" fmla="*/ 7 w 40"/>
                  <a:gd name="T4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10">
                    <a:moveTo>
                      <a:pt x="7" y="8"/>
                    </a:moveTo>
                    <a:cubicBezTo>
                      <a:pt x="8" y="7"/>
                      <a:pt x="9" y="7"/>
                      <a:pt x="10" y="7"/>
                    </a:cubicBezTo>
                    <a:cubicBezTo>
                      <a:pt x="13" y="6"/>
                      <a:pt x="10" y="9"/>
                      <a:pt x="12" y="10"/>
                    </a:cubicBezTo>
                    <a:cubicBezTo>
                      <a:pt x="12" y="10"/>
                      <a:pt x="15" y="9"/>
                      <a:pt x="15" y="9"/>
                    </a:cubicBezTo>
                    <a:cubicBezTo>
                      <a:pt x="17" y="9"/>
                      <a:pt x="18" y="7"/>
                      <a:pt x="19" y="7"/>
                    </a:cubicBezTo>
                    <a:cubicBezTo>
                      <a:pt x="20" y="7"/>
                      <a:pt x="21" y="7"/>
                      <a:pt x="21" y="7"/>
                    </a:cubicBezTo>
                    <a:cubicBezTo>
                      <a:pt x="22" y="7"/>
                      <a:pt x="22" y="6"/>
                      <a:pt x="22" y="6"/>
                    </a:cubicBezTo>
                    <a:cubicBezTo>
                      <a:pt x="23" y="5"/>
                      <a:pt x="24" y="7"/>
                      <a:pt x="25" y="6"/>
                    </a:cubicBezTo>
                    <a:cubicBezTo>
                      <a:pt x="26" y="6"/>
                      <a:pt x="26" y="5"/>
                      <a:pt x="26" y="5"/>
                    </a:cubicBezTo>
                    <a:cubicBezTo>
                      <a:pt x="26" y="4"/>
                      <a:pt x="26" y="4"/>
                      <a:pt x="27" y="4"/>
                    </a:cubicBezTo>
                    <a:cubicBezTo>
                      <a:pt x="27" y="3"/>
                      <a:pt x="27" y="2"/>
                      <a:pt x="28" y="2"/>
                    </a:cubicBezTo>
                    <a:cubicBezTo>
                      <a:pt x="29" y="2"/>
                      <a:pt x="30" y="3"/>
                      <a:pt x="31" y="3"/>
                    </a:cubicBezTo>
                    <a:cubicBezTo>
                      <a:pt x="31" y="3"/>
                      <a:pt x="32" y="4"/>
                      <a:pt x="32" y="5"/>
                    </a:cubicBezTo>
                    <a:cubicBezTo>
                      <a:pt x="33" y="5"/>
                      <a:pt x="34" y="5"/>
                      <a:pt x="35" y="5"/>
                    </a:cubicBezTo>
                    <a:cubicBezTo>
                      <a:pt x="36" y="5"/>
                      <a:pt x="37" y="5"/>
                      <a:pt x="38" y="6"/>
                    </a:cubicBezTo>
                    <a:cubicBezTo>
                      <a:pt x="40" y="6"/>
                      <a:pt x="37" y="3"/>
                      <a:pt x="37" y="3"/>
                    </a:cubicBezTo>
                    <a:cubicBezTo>
                      <a:pt x="37" y="2"/>
                      <a:pt x="38" y="2"/>
                      <a:pt x="37" y="2"/>
                    </a:cubicBezTo>
                    <a:cubicBezTo>
                      <a:pt x="36" y="1"/>
                      <a:pt x="34" y="1"/>
                      <a:pt x="33" y="1"/>
                    </a:cubicBezTo>
                    <a:cubicBezTo>
                      <a:pt x="31" y="0"/>
                      <a:pt x="29" y="0"/>
                      <a:pt x="27" y="0"/>
                    </a:cubicBezTo>
                    <a:cubicBezTo>
                      <a:pt x="24" y="0"/>
                      <a:pt x="22" y="1"/>
                      <a:pt x="20" y="1"/>
                    </a:cubicBezTo>
                    <a:cubicBezTo>
                      <a:pt x="13" y="2"/>
                      <a:pt x="7" y="4"/>
                      <a:pt x="0" y="5"/>
                    </a:cubicBezTo>
                    <a:cubicBezTo>
                      <a:pt x="1" y="6"/>
                      <a:pt x="3" y="6"/>
                      <a:pt x="5" y="7"/>
                    </a:cubicBezTo>
                    <a:cubicBezTo>
                      <a:pt x="6" y="8"/>
                      <a:pt x="6" y="8"/>
                      <a:pt x="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6" name="Freeform 2786">
                <a:extLst>
                  <a:ext uri="{FF2B5EF4-FFF2-40B4-BE49-F238E27FC236}">
                    <a16:creationId xmlns:a16="http://schemas.microsoft.com/office/drawing/2014/main" id="{427A2E24-00D5-4B07-A4E3-D8A0E79BEE66}"/>
                  </a:ext>
                </a:extLst>
              </p:cNvPr>
              <p:cNvSpPr>
                <a:spLocks/>
              </p:cNvSpPr>
              <p:nvPr/>
            </p:nvSpPr>
            <p:spPr bwMode="auto">
              <a:xfrm>
                <a:off x="4982" y="188"/>
                <a:ext cx="71" cy="31"/>
              </a:xfrm>
              <a:custGeom>
                <a:avLst/>
                <a:gdLst>
                  <a:gd name="T0" fmla="*/ 0 w 30"/>
                  <a:gd name="T1" fmla="*/ 9 h 13"/>
                  <a:gd name="T2" fmla="*/ 4 w 30"/>
                  <a:gd name="T3" fmla="*/ 12 h 13"/>
                  <a:gd name="T4" fmla="*/ 9 w 30"/>
                  <a:gd name="T5" fmla="*/ 11 h 13"/>
                  <a:gd name="T6" fmla="*/ 13 w 30"/>
                  <a:gd name="T7" fmla="*/ 12 h 13"/>
                  <a:gd name="T8" fmla="*/ 18 w 30"/>
                  <a:gd name="T9" fmla="*/ 12 h 13"/>
                  <a:gd name="T10" fmla="*/ 21 w 30"/>
                  <a:gd name="T11" fmla="*/ 11 h 13"/>
                  <a:gd name="T12" fmla="*/ 22 w 30"/>
                  <a:gd name="T13" fmla="*/ 10 h 13"/>
                  <a:gd name="T14" fmla="*/ 24 w 30"/>
                  <a:gd name="T15" fmla="*/ 8 h 13"/>
                  <a:gd name="T16" fmla="*/ 28 w 30"/>
                  <a:gd name="T17" fmla="*/ 8 h 13"/>
                  <a:gd name="T18" fmla="*/ 30 w 30"/>
                  <a:gd name="T19" fmla="*/ 4 h 13"/>
                  <a:gd name="T20" fmla="*/ 20 w 30"/>
                  <a:gd name="T21" fmla="*/ 2 h 13"/>
                  <a:gd name="T22" fmla="*/ 7 w 30"/>
                  <a:gd name="T23" fmla="*/ 3 h 13"/>
                  <a:gd name="T24" fmla="*/ 9 w 30"/>
                  <a:gd name="T25" fmla="*/ 2 h 13"/>
                  <a:gd name="T26" fmla="*/ 3 w 30"/>
                  <a:gd name="T27" fmla="*/ 3 h 13"/>
                  <a:gd name="T28" fmla="*/ 0 w 30"/>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3">
                    <a:moveTo>
                      <a:pt x="0" y="9"/>
                    </a:moveTo>
                    <a:cubicBezTo>
                      <a:pt x="1" y="10"/>
                      <a:pt x="3" y="12"/>
                      <a:pt x="4" y="12"/>
                    </a:cubicBezTo>
                    <a:cubicBezTo>
                      <a:pt x="5" y="12"/>
                      <a:pt x="8" y="12"/>
                      <a:pt x="9" y="11"/>
                    </a:cubicBezTo>
                    <a:cubicBezTo>
                      <a:pt x="10" y="10"/>
                      <a:pt x="12" y="11"/>
                      <a:pt x="13" y="12"/>
                    </a:cubicBezTo>
                    <a:cubicBezTo>
                      <a:pt x="14" y="12"/>
                      <a:pt x="17" y="13"/>
                      <a:pt x="18" y="12"/>
                    </a:cubicBezTo>
                    <a:cubicBezTo>
                      <a:pt x="19" y="12"/>
                      <a:pt x="20" y="11"/>
                      <a:pt x="21" y="11"/>
                    </a:cubicBezTo>
                    <a:cubicBezTo>
                      <a:pt x="21" y="10"/>
                      <a:pt x="22" y="10"/>
                      <a:pt x="22" y="10"/>
                    </a:cubicBezTo>
                    <a:cubicBezTo>
                      <a:pt x="23" y="10"/>
                      <a:pt x="23" y="9"/>
                      <a:pt x="24" y="8"/>
                    </a:cubicBezTo>
                    <a:cubicBezTo>
                      <a:pt x="25" y="8"/>
                      <a:pt x="27" y="8"/>
                      <a:pt x="28" y="8"/>
                    </a:cubicBezTo>
                    <a:cubicBezTo>
                      <a:pt x="28" y="7"/>
                      <a:pt x="30" y="5"/>
                      <a:pt x="30" y="4"/>
                    </a:cubicBezTo>
                    <a:cubicBezTo>
                      <a:pt x="29" y="0"/>
                      <a:pt x="23" y="1"/>
                      <a:pt x="20" y="2"/>
                    </a:cubicBezTo>
                    <a:cubicBezTo>
                      <a:pt x="15" y="2"/>
                      <a:pt x="11" y="3"/>
                      <a:pt x="7" y="3"/>
                    </a:cubicBezTo>
                    <a:cubicBezTo>
                      <a:pt x="7" y="3"/>
                      <a:pt x="8" y="3"/>
                      <a:pt x="9" y="2"/>
                    </a:cubicBezTo>
                    <a:cubicBezTo>
                      <a:pt x="7" y="1"/>
                      <a:pt x="4" y="2"/>
                      <a:pt x="3" y="3"/>
                    </a:cubicBezTo>
                    <a:cubicBezTo>
                      <a:pt x="0" y="4"/>
                      <a:pt x="0" y="6"/>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7" name="Freeform 2787">
                <a:extLst>
                  <a:ext uri="{FF2B5EF4-FFF2-40B4-BE49-F238E27FC236}">
                    <a16:creationId xmlns:a16="http://schemas.microsoft.com/office/drawing/2014/main" id="{BD2D1F9C-59B3-4B44-94DE-32D657E0B9E6}"/>
                  </a:ext>
                </a:extLst>
              </p:cNvPr>
              <p:cNvSpPr>
                <a:spLocks/>
              </p:cNvSpPr>
              <p:nvPr/>
            </p:nvSpPr>
            <p:spPr bwMode="auto">
              <a:xfrm>
                <a:off x="5743" y="238"/>
                <a:ext cx="71" cy="21"/>
              </a:xfrm>
              <a:custGeom>
                <a:avLst/>
                <a:gdLst>
                  <a:gd name="T0" fmla="*/ 11 w 30"/>
                  <a:gd name="T1" fmla="*/ 9 h 9"/>
                  <a:gd name="T2" fmla="*/ 13 w 30"/>
                  <a:gd name="T3" fmla="*/ 9 h 9"/>
                  <a:gd name="T4" fmla="*/ 17 w 30"/>
                  <a:gd name="T5" fmla="*/ 9 h 9"/>
                  <a:gd name="T6" fmla="*/ 23 w 30"/>
                  <a:gd name="T7" fmla="*/ 7 h 9"/>
                  <a:gd name="T8" fmla="*/ 30 w 30"/>
                  <a:gd name="T9" fmla="*/ 3 h 9"/>
                  <a:gd name="T10" fmla="*/ 27 w 30"/>
                  <a:gd name="T11" fmla="*/ 2 h 9"/>
                  <a:gd name="T12" fmla="*/ 23 w 30"/>
                  <a:gd name="T13" fmla="*/ 1 h 9"/>
                  <a:gd name="T14" fmla="*/ 0 w 30"/>
                  <a:gd name="T15" fmla="*/ 0 h 9"/>
                  <a:gd name="T16" fmla="*/ 2 w 30"/>
                  <a:gd name="T17" fmla="*/ 4 h 9"/>
                  <a:gd name="T18" fmla="*/ 4 w 30"/>
                  <a:gd name="T19" fmla="*/ 5 h 9"/>
                  <a:gd name="T20" fmla="*/ 12 w 30"/>
                  <a:gd name="T21" fmla="*/ 6 h 9"/>
                  <a:gd name="T22" fmla="*/ 11 w 30"/>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9">
                    <a:moveTo>
                      <a:pt x="11" y="9"/>
                    </a:moveTo>
                    <a:cubicBezTo>
                      <a:pt x="12" y="9"/>
                      <a:pt x="13" y="9"/>
                      <a:pt x="13" y="9"/>
                    </a:cubicBezTo>
                    <a:cubicBezTo>
                      <a:pt x="14" y="9"/>
                      <a:pt x="16" y="9"/>
                      <a:pt x="17" y="9"/>
                    </a:cubicBezTo>
                    <a:cubicBezTo>
                      <a:pt x="19" y="9"/>
                      <a:pt x="22" y="8"/>
                      <a:pt x="23" y="7"/>
                    </a:cubicBezTo>
                    <a:cubicBezTo>
                      <a:pt x="24" y="7"/>
                      <a:pt x="30" y="4"/>
                      <a:pt x="30" y="3"/>
                    </a:cubicBezTo>
                    <a:cubicBezTo>
                      <a:pt x="30" y="3"/>
                      <a:pt x="28" y="2"/>
                      <a:pt x="27" y="2"/>
                    </a:cubicBezTo>
                    <a:cubicBezTo>
                      <a:pt x="26" y="2"/>
                      <a:pt x="24" y="1"/>
                      <a:pt x="23" y="1"/>
                    </a:cubicBezTo>
                    <a:cubicBezTo>
                      <a:pt x="15" y="1"/>
                      <a:pt x="8" y="0"/>
                      <a:pt x="0" y="0"/>
                    </a:cubicBezTo>
                    <a:cubicBezTo>
                      <a:pt x="2" y="0"/>
                      <a:pt x="2" y="2"/>
                      <a:pt x="2" y="4"/>
                    </a:cubicBezTo>
                    <a:cubicBezTo>
                      <a:pt x="2" y="5"/>
                      <a:pt x="3" y="5"/>
                      <a:pt x="4" y="5"/>
                    </a:cubicBezTo>
                    <a:cubicBezTo>
                      <a:pt x="6" y="6"/>
                      <a:pt x="9" y="6"/>
                      <a:pt x="12" y="6"/>
                    </a:cubicBezTo>
                    <a:cubicBezTo>
                      <a:pt x="12" y="6"/>
                      <a:pt x="11" y="8"/>
                      <a:pt x="1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8" name="Freeform 2788">
                <a:extLst>
                  <a:ext uri="{FF2B5EF4-FFF2-40B4-BE49-F238E27FC236}">
                    <a16:creationId xmlns:a16="http://schemas.microsoft.com/office/drawing/2014/main" id="{03BFCB7B-7234-4BC4-AB09-87100A5D0467}"/>
                  </a:ext>
                </a:extLst>
              </p:cNvPr>
              <p:cNvSpPr>
                <a:spLocks/>
              </p:cNvSpPr>
              <p:nvPr/>
            </p:nvSpPr>
            <p:spPr bwMode="auto">
              <a:xfrm>
                <a:off x="7599" y="723"/>
                <a:ext cx="40" cy="21"/>
              </a:xfrm>
              <a:custGeom>
                <a:avLst/>
                <a:gdLst>
                  <a:gd name="T0" fmla="*/ 3 w 17"/>
                  <a:gd name="T1" fmla="*/ 6 h 9"/>
                  <a:gd name="T2" fmla="*/ 4 w 17"/>
                  <a:gd name="T3" fmla="*/ 7 h 9"/>
                  <a:gd name="T4" fmla="*/ 12 w 17"/>
                  <a:gd name="T5" fmla="*/ 9 h 9"/>
                  <a:gd name="T6" fmla="*/ 16 w 17"/>
                  <a:gd name="T7" fmla="*/ 7 h 9"/>
                  <a:gd name="T8" fmla="*/ 16 w 17"/>
                  <a:gd name="T9" fmla="*/ 4 h 9"/>
                  <a:gd name="T10" fmla="*/ 15 w 17"/>
                  <a:gd name="T11" fmla="*/ 3 h 9"/>
                  <a:gd name="T12" fmla="*/ 3 w 17"/>
                  <a:gd name="T13" fmla="*/ 2 h 9"/>
                  <a:gd name="T14" fmla="*/ 1 w 17"/>
                  <a:gd name="T15" fmla="*/ 5 h 9"/>
                  <a:gd name="T16" fmla="*/ 3 w 17"/>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9">
                    <a:moveTo>
                      <a:pt x="3" y="6"/>
                    </a:moveTo>
                    <a:cubicBezTo>
                      <a:pt x="3" y="6"/>
                      <a:pt x="3" y="6"/>
                      <a:pt x="4" y="7"/>
                    </a:cubicBezTo>
                    <a:cubicBezTo>
                      <a:pt x="6" y="8"/>
                      <a:pt x="10" y="9"/>
                      <a:pt x="12" y="9"/>
                    </a:cubicBezTo>
                    <a:cubicBezTo>
                      <a:pt x="15" y="9"/>
                      <a:pt x="16" y="9"/>
                      <a:pt x="16" y="7"/>
                    </a:cubicBezTo>
                    <a:cubicBezTo>
                      <a:pt x="17" y="6"/>
                      <a:pt x="17" y="4"/>
                      <a:pt x="16" y="4"/>
                    </a:cubicBezTo>
                    <a:cubicBezTo>
                      <a:pt x="16" y="3"/>
                      <a:pt x="15" y="3"/>
                      <a:pt x="15" y="3"/>
                    </a:cubicBezTo>
                    <a:cubicBezTo>
                      <a:pt x="11" y="3"/>
                      <a:pt x="7" y="0"/>
                      <a:pt x="3" y="2"/>
                    </a:cubicBezTo>
                    <a:cubicBezTo>
                      <a:pt x="2" y="3"/>
                      <a:pt x="0" y="4"/>
                      <a:pt x="1" y="5"/>
                    </a:cubicBezTo>
                    <a:cubicBezTo>
                      <a:pt x="1" y="5"/>
                      <a:pt x="2"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645" name="Group 2990">
              <a:extLst>
                <a:ext uri="{FF2B5EF4-FFF2-40B4-BE49-F238E27FC236}">
                  <a16:creationId xmlns:a16="http://schemas.microsoft.com/office/drawing/2014/main" id="{D448D078-0D9C-4F95-BC78-EF4415493FBB}"/>
                </a:ext>
              </a:extLst>
            </p:cNvPr>
            <p:cNvGrpSpPr>
              <a:grpSpLocks/>
            </p:cNvGrpSpPr>
            <p:nvPr/>
          </p:nvGrpSpPr>
          <p:grpSpPr bwMode="auto">
            <a:xfrm>
              <a:off x="1480" y="216"/>
              <a:ext cx="6129" cy="4046"/>
              <a:chOff x="1480" y="216"/>
              <a:chExt cx="6129" cy="4046"/>
            </a:xfrm>
            <a:grpFill/>
          </p:grpSpPr>
          <p:sp>
            <p:nvSpPr>
              <p:cNvPr id="1869" name="Freeform 2790">
                <a:extLst>
                  <a:ext uri="{FF2B5EF4-FFF2-40B4-BE49-F238E27FC236}">
                    <a16:creationId xmlns:a16="http://schemas.microsoft.com/office/drawing/2014/main" id="{13F50827-5296-4902-8104-DFAE80E5DCE4}"/>
                  </a:ext>
                </a:extLst>
              </p:cNvPr>
              <p:cNvSpPr>
                <a:spLocks/>
              </p:cNvSpPr>
              <p:nvPr/>
            </p:nvSpPr>
            <p:spPr bwMode="auto">
              <a:xfrm>
                <a:off x="5235" y="569"/>
                <a:ext cx="45" cy="24"/>
              </a:xfrm>
              <a:custGeom>
                <a:avLst/>
                <a:gdLst>
                  <a:gd name="T0" fmla="*/ 2 w 19"/>
                  <a:gd name="T1" fmla="*/ 9 h 10"/>
                  <a:gd name="T2" fmla="*/ 3 w 19"/>
                  <a:gd name="T3" fmla="*/ 8 h 10"/>
                  <a:gd name="T4" fmla="*/ 8 w 19"/>
                  <a:gd name="T5" fmla="*/ 8 h 10"/>
                  <a:gd name="T6" fmla="*/ 14 w 19"/>
                  <a:gd name="T7" fmla="*/ 7 h 10"/>
                  <a:gd name="T8" fmla="*/ 16 w 19"/>
                  <a:gd name="T9" fmla="*/ 6 h 10"/>
                  <a:gd name="T10" fmla="*/ 19 w 19"/>
                  <a:gd name="T11" fmla="*/ 6 h 10"/>
                  <a:gd name="T12" fmla="*/ 17 w 19"/>
                  <a:gd name="T13" fmla="*/ 4 h 10"/>
                  <a:gd name="T14" fmla="*/ 14 w 19"/>
                  <a:gd name="T15" fmla="*/ 3 h 10"/>
                  <a:gd name="T16" fmla="*/ 13 w 19"/>
                  <a:gd name="T17" fmla="*/ 1 h 10"/>
                  <a:gd name="T18" fmla="*/ 15 w 19"/>
                  <a:gd name="T19" fmla="*/ 1 h 10"/>
                  <a:gd name="T20" fmla="*/ 11 w 19"/>
                  <a:gd name="T21" fmla="*/ 0 h 10"/>
                  <a:gd name="T22" fmla="*/ 2 w 19"/>
                  <a:gd name="T23" fmla="*/ 2 h 10"/>
                  <a:gd name="T24" fmla="*/ 2 w 19"/>
                  <a:gd name="T25" fmla="*/ 6 h 10"/>
                  <a:gd name="T26" fmla="*/ 1 w 19"/>
                  <a:gd name="T27" fmla="*/ 8 h 10"/>
                  <a:gd name="T28" fmla="*/ 2 w 19"/>
                  <a:gd name="T2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0">
                    <a:moveTo>
                      <a:pt x="2" y="9"/>
                    </a:moveTo>
                    <a:cubicBezTo>
                      <a:pt x="3" y="9"/>
                      <a:pt x="3" y="9"/>
                      <a:pt x="3" y="8"/>
                    </a:cubicBezTo>
                    <a:cubicBezTo>
                      <a:pt x="4" y="10"/>
                      <a:pt x="7" y="9"/>
                      <a:pt x="8" y="8"/>
                    </a:cubicBezTo>
                    <a:cubicBezTo>
                      <a:pt x="10" y="8"/>
                      <a:pt x="12" y="8"/>
                      <a:pt x="14" y="7"/>
                    </a:cubicBezTo>
                    <a:cubicBezTo>
                      <a:pt x="15" y="7"/>
                      <a:pt x="15" y="7"/>
                      <a:pt x="16" y="6"/>
                    </a:cubicBezTo>
                    <a:cubicBezTo>
                      <a:pt x="17" y="6"/>
                      <a:pt x="18" y="7"/>
                      <a:pt x="19" y="6"/>
                    </a:cubicBezTo>
                    <a:cubicBezTo>
                      <a:pt x="19" y="6"/>
                      <a:pt x="18" y="4"/>
                      <a:pt x="17" y="4"/>
                    </a:cubicBezTo>
                    <a:cubicBezTo>
                      <a:pt x="16" y="3"/>
                      <a:pt x="15" y="5"/>
                      <a:pt x="14" y="3"/>
                    </a:cubicBezTo>
                    <a:cubicBezTo>
                      <a:pt x="14" y="3"/>
                      <a:pt x="13" y="2"/>
                      <a:pt x="13" y="1"/>
                    </a:cubicBezTo>
                    <a:cubicBezTo>
                      <a:pt x="13" y="1"/>
                      <a:pt x="14" y="1"/>
                      <a:pt x="15" y="1"/>
                    </a:cubicBezTo>
                    <a:cubicBezTo>
                      <a:pt x="14" y="0"/>
                      <a:pt x="12" y="0"/>
                      <a:pt x="11" y="0"/>
                    </a:cubicBezTo>
                    <a:cubicBezTo>
                      <a:pt x="8" y="0"/>
                      <a:pt x="5" y="1"/>
                      <a:pt x="2" y="2"/>
                    </a:cubicBezTo>
                    <a:cubicBezTo>
                      <a:pt x="2" y="3"/>
                      <a:pt x="2" y="5"/>
                      <a:pt x="2" y="6"/>
                    </a:cubicBezTo>
                    <a:cubicBezTo>
                      <a:pt x="2" y="7"/>
                      <a:pt x="1" y="7"/>
                      <a:pt x="1" y="8"/>
                    </a:cubicBezTo>
                    <a:cubicBezTo>
                      <a:pt x="0" y="9"/>
                      <a:pt x="1"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0" name="Freeform 2791">
                <a:extLst>
                  <a:ext uri="{FF2B5EF4-FFF2-40B4-BE49-F238E27FC236}">
                    <a16:creationId xmlns:a16="http://schemas.microsoft.com/office/drawing/2014/main" id="{1D69EA63-8F0D-472F-A895-3CFD52F7561E}"/>
                  </a:ext>
                </a:extLst>
              </p:cNvPr>
              <p:cNvSpPr>
                <a:spLocks/>
              </p:cNvSpPr>
              <p:nvPr/>
            </p:nvSpPr>
            <p:spPr bwMode="auto">
              <a:xfrm>
                <a:off x="7297" y="1432"/>
                <a:ext cx="23" cy="24"/>
              </a:xfrm>
              <a:custGeom>
                <a:avLst/>
                <a:gdLst>
                  <a:gd name="T0" fmla="*/ 8 w 10"/>
                  <a:gd name="T1" fmla="*/ 0 h 10"/>
                  <a:gd name="T2" fmla="*/ 6 w 10"/>
                  <a:gd name="T3" fmla="*/ 4 h 10"/>
                  <a:gd name="T4" fmla="*/ 4 w 10"/>
                  <a:gd name="T5" fmla="*/ 5 h 10"/>
                  <a:gd name="T6" fmla="*/ 1 w 10"/>
                  <a:gd name="T7" fmla="*/ 6 h 10"/>
                  <a:gd name="T8" fmla="*/ 0 w 10"/>
                  <a:gd name="T9" fmla="*/ 7 h 10"/>
                  <a:gd name="T10" fmla="*/ 1 w 10"/>
                  <a:gd name="T11" fmla="*/ 8 h 10"/>
                  <a:gd name="T12" fmla="*/ 0 w 10"/>
                  <a:gd name="T13" fmla="*/ 9 h 10"/>
                  <a:gd name="T14" fmla="*/ 2 w 10"/>
                  <a:gd name="T15" fmla="*/ 10 h 10"/>
                  <a:gd name="T16" fmla="*/ 4 w 10"/>
                  <a:gd name="T17" fmla="*/ 8 h 10"/>
                  <a:gd name="T18" fmla="*/ 10 w 10"/>
                  <a:gd name="T19" fmla="*/ 3 h 10"/>
                  <a:gd name="T20" fmla="*/ 8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8" y="0"/>
                    </a:moveTo>
                    <a:cubicBezTo>
                      <a:pt x="7" y="1"/>
                      <a:pt x="7" y="3"/>
                      <a:pt x="6" y="4"/>
                    </a:cubicBezTo>
                    <a:cubicBezTo>
                      <a:pt x="5" y="5"/>
                      <a:pt x="4" y="5"/>
                      <a:pt x="4" y="5"/>
                    </a:cubicBezTo>
                    <a:cubicBezTo>
                      <a:pt x="2" y="5"/>
                      <a:pt x="2" y="6"/>
                      <a:pt x="1" y="6"/>
                    </a:cubicBezTo>
                    <a:cubicBezTo>
                      <a:pt x="0" y="7"/>
                      <a:pt x="0" y="6"/>
                      <a:pt x="0" y="7"/>
                    </a:cubicBezTo>
                    <a:cubicBezTo>
                      <a:pt x="0" y="7"/>
                      <a:pt x="1" y="8"/>
                      <a:pt x="1" y="8"/>
                    </a:cubicBezTo>
                    <a:cubicBezTo>
                      <a:pt x="1" y="9"/>
                      <a:pt x="0" y="9"/>
                      <a:pt x="0" y="9"/>
                    </a:cubicBezTo>
                    <a:cubicBezTo>
                      <a:pt x="0" y="9"/>
                      <a:pt x="2" y="10"/>
                      <a:pt x="2" y="10"/>
                    </a:cubicBezTo>
                    <a:cubicBezTo>
                      <a:pt x="3" y="10"/>
                      <a:pt x="4" y="9"/>
                      <a:pt x="4" y="8"/>
                    </a:cubicBezTo>
                    <a:cubicBezTo>
                      <a:pt x="6" y="7"/>
                      <a:pt x="9" y="5"/>
                      <a:pt x="10" y="3"/>
                    </a:cubicBezTo>
                    <a:cubicBezTo>
                      <a:pt x="10" y="1"/>
                      <a:pt x="10"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1" name="Freeform 2792">
                <a:extLst>
                  <a:ext uri="{FF2B5EF4-FFF2-40B4-BE49-F238E27FC236}">
                    <a16:creationId xmlns:a16="http://schemas.microsoft.com/office/drawing/2014/main" id="{15B6EFD6-6059-40BC-8BBA-0C0D00775832}"/>
                  </a:ext>
                </a:extLst>
              </p:cNvPr>
              <p:cNvSpPr>
                <a:spLocks/>
              </p:cNvSpPr>
              <p:nvPr/>
            </p:nvSpPr>
            <p:spPr bwMode="auto">
              <a:xfrm>
                <a:off x="4812" y="216"/>
                <a:ext cx="37" cy="15"/>
              </a:xfrm>
              <a:custGeom>
                <a:avLst/>
                <a:gdLst>
                  <a:gd name="T0" fmla="*/ 10 w 16"/>
                  <a:gd name="T1" fmla="*/ 6 h 6"/>
                  <a:gd name="T2" fmla="*/ 12 w 16"/>
                  <a:gd name="T3" fmla="*/ 6 h 6"/>
                  <a:gd name="T4" fmla="*/ 13 w 16"/>
                  <a:gd name="T5" fmla="*/ 5 h 6"/>
                  <a:gd name="T6" fmla="*/ 16 w 16"/>
                  <a:gd name="T7" fmla="*/ 4 h 6"/>
                  <a:gd name="T8" fmla="*/ 11 w 16"/>
                  <a:gd name="T9" fmla="*/ 2 h 6"/>
                  <a:gd name="T10" fmla="*/ 10 w 16"/>
                  <a:gd name="T11" fmla="*/ 0 h 6"/>
                  <a:gd name="T12" fmla="*/ 0 w 16"/>
                  <a:gd name="T13" fmla="*/ 5 h 6"/>
                  <a:gd name="T14" fmla="*/ 5 w 16"/>
                  <a:gd name="T15" fmla="*/ 6 h 6"/>
                  <a:gd name="T16" fmla="*/ 10 w 1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6">
                    <a:moveTo>
                      <a:pt x="10" y="6"/>
                    </a:moveTo>
                    <a:cubicBezTo>
                      <a:pt x="10" y="6"/>
                      <a:pt x="11" y="6"/>
                      <a:pt x="12" y="6"/>
                    </a:cubicBezTo>
                    <a:cubicBezTo>
                      <a:pt x="13" y="6"/>
                      <a:pt x="12" y="5"/>
                      <a:pt x="13" y="5"/>
                    </a:cubicBezTo>
                    <a:cubicBezTo>
                      <a:pt x="14" y="4"/>
                      <a:pt x="15" y="5"/>
                      <a:pt x="16" y="4"/>
                    </a:cubicBezTo>
                    <a:cubicBezTo>
                      <a:pt x="15" y="3"/>
                      <a:pt x="13" y="3"/>
                      <a:pt x="11" y="2"/>
                    </a:cubicBezTo>
                    <a:cubicBezTo>
                      <a:pt x="10" y="1"/>
                      <a:pt x="11" y="1"/>
                      <a:pt x="10" y="0"/>
                    </a:cubicBezTo>
                    <a:cubicBezTo>
                      <a:pt x="6" y="0"/>
                      <a:pt x="3" y="3"/>
                      <a:pt x="0" y="5"/>
                    </a:cubicBezTo>
                    <a:cubicBezTo>
                      <a:pt x="2" y="5"/>
                      <a:pt x="4" y="6"/>
                      <a:pt x="5" y="6"/>
                    </a:cubicBezTo>
                    <a:cubicBezTo>
                      <a:pt x="6" y="6"/>
                      <a:pt x="8" y="6"/>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2" name="Freeform 2793">
                <a:extLst>
                  <a:ext uri="{FF2B5EF4-FFF2-40B4-BE49-F238E27FC236}">
                    <a16:creationId xmlns:a16="http://schemas.microsoft.com/office/drawing/2014/main" id="{4FC90431-1FEF-4534-BF02-67598A276234}"/>
                  </a:ext>
                </a:extLst>
              </p:cNvPr>
              <p:cNvSpPr>
                <a:spLocks/>
              </p:cNvSpPr>
              <p:nvPr/>
            </p:nvSpPr>
            <p:spPr bwMode="auto">
              <a:xfrm>
                <a:off x="7495" y="1146"/>
                <a:ext cx="33" cy="29"/>
              </a:xfrm>
              <a:custGeom>
                <a:avLst/>
                <a:gdLst>
                  <a:gd name="T0" fmla="*/ 12 w 14"/>
                  <a:gd name="T1" fmla="*/ 1 h 12"/>
                  <a:gd name="T2" fmla="*/ 8 w 14"/>
                  <a:gd name="T3" fmla="*/ 3 h 12"/>
                  <a:gd name="T4" fmla="*/ 3 w 14"/>
                  <a:gd name="T5" fmla="*/ 4 h 12"/>
                  <a:gd name="T6" fmla="*/ 5 w 14"/>
                  <a:gd name="T7" fmla="*/ 4 h 12"/>
                  <a:gd name="T8" fmla="*/ 0 w 14"/>
                  <a:gd name="T9" fmla="*/ 11 h 12"/>
                  <a:gd name="T10" fmla="*/ 0 w 14"/>
                  <a:gd name="T11" fmla="*/ 12 h 12"/>
                  <a:gd name="T12" fmla="*/ 12 w 14"/>
                  <a:gd name="T13" fmla="*/ 6 h 12"/>
                  <a:gd name="T14" fmla="*/ 12 w 14"/>
                  <a:gd name="T15" fmla="*/ 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2">
                    <a:moveTo>
                      <a:pt x="12" y="1"/>
                    </a:moveTo>
                    <a:cubicBezTo>
                      <a:pt x="11" y="0"/>
                      <a:pt x="9" y="2"/>
                      <a:pt x="8" y="3"/>
                    </a:cubicBezTo>
                    <a:cubicBezTo>
                      <a:pt x="7" y="3"/>
                      <a:pt x="5" y="3"/>
                      <a:pt x="3" y="4"/>
                    </a:cubicBezTo>
                    <a:cubicBezTo>
                      <a:pt x="4" y="4"/>
                      <a:pt x="4" y="4"/>
                      <a:pt x="5" y="4"/>
                    </a:cubicBezTo>
                    <a:cubicBezTo>
                      <a:pt x="2" y="6"/>
                      <a:pt x="3" y="10"/>
                      <a:pt x="0" y="11"/>
                    </a:cubicBezTo>
                    <a:cubicBezTo>
                      <a:pt x="0" y="11"/>
                      <a:pt x="0" y="12"/>
                      <a:pt x="0" y="12"/>
                    </a:cubicBezTo>
                    <a:cubicBezTo>
                      <a:pt x="4" y="10"/>
                      <a:pt x="8" y="8"/>
                      <a:pt x="12" y="6"/>
                    </a:cubicBezTo>
                    <a:cubicBezTo>
                      <a:pt x="14" y="5"/>
                      <a:pt x="13" y="3"/>
                      <a:pt x="1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3" name="Freeform 2794">
                <a:extLst>
                  <a:ext uri="{FF2B5EF4-FFF2-40B4-BE49-F238E27FC236}">
                    <a16:creationId xmlns:a16="http://schemas.microsoft.com/office/drawing/2014/main" id="{7A49E51A-D3E1-498A-A2A5-8F78E2E19324}"/>
                  </a:ext>
                </a:extLst>
              </p:cNvPr>
              <p:cNvSpPr>
                <a:spLocks/>
              </p:cNvSpPr>
              <p:nvPr/>
            </p:nvSpPr>
            <p:spPr bwMode="auto">
              <a:xfrm>
                <a:off x="7552" y="1283"/>
                <a:ext cx="24" cy="22"/>
              </a:xfrm>
              <a:custGeom>
                <a:avLst/>
                <a:gdLst>
                  <a:gd name="T0" fmla="*/ 0 w 10"/>
                  <a:gd name="T1" fmla="*/ 1 h 9"/>
                  <a:gd name="T2" fmla="*/ 4 w 10"/>
                  <a:gd name="T3" fmla="*/ 5 h 9"/>
                  <a:gd name="T4" fmla="*/ 9 w 10"/>
                  <a:gd name="T5" fmla="*/ 9 h 9"/>
                  <a:gd name="T6" fmla="*/ 7 w 10"/>
                  <a:gd name="T7" fmla="*/ 5 h 9"/>
                  <a:gd name="T8" fmla="*/ 5 w 10"/>
                  <a:gd name="T9" fmla="*/ 0 h 9"/>
                  <a:gd name="T10" fmla="*/ 0 w 10"/>
                  <a:gd name="T11" fmla="*/ 1 h 9"/>
                </a:gdLst>
                <a:ahLst/>
                <a:cxnLst>
                  <a:cxn ang="0">
                    <a:pos x="T0" y="T1"/>
                  </a:cxn>
                  <a:cxn ang="0">
                    <a:pos x="T2" y="T3"/>
                  </a:cxn>
                  <a:cxn ang="0">
                    <a:pos x="T4" y="T5"/>
                  </a:cxn>
                  <a:cxn ang="0">
                    <a:pos x="T6" y="T7"/>
                  </a:cxn>
                  <a:cxn ang="0">
                    <a:pos x="T8" y="T9"/>
                  </a:cxn>
                  <a:cxn ang="0">
                    <a:pos x="T10" y="T11"/>
                  </a:cxn>
                </a:cxnLst>
                <a:rect l="0" t="0" r="r" b="b"/>
                <a:pathLst>
                  <a:path w="10" h="9">
                    <a:moveTo>
                      <a:pt x="0" y="1"/>
                    </a:moveTo>
                    <a:cubicBezTo>
                      <a:pt x="2" y="1"/>
                      <a:pt x="3" y="3"/>
                      <a:pt x="4" y="5"/>
                    </a:cubicBezTo>
                    <a:cubicBezTo>
                      <a:pt x="6" y="6"/>
                      <a:pt x="7" y="8"/>
                      <a:pt x="9" y="9"/>
                    </a:cubicBezTo>
                    <a:cubicBezTo>
                      <a:pt x="10" y="7"/>
                      <a:pt x="8" y="6"/>
                      <a:pt x="7" y="5"/>
                    </a:cubicBezTo>
                    <a:cubicBezTo>
                      <a:pt x="5" y="3"/>
                      <a:pt x="5" y="2"/>
                      <a:pt x="5" y="0"/>
                    </a:cubicBezTo>
                    <a:cubicBezTo>
                      <a:pt x="3"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4" name="Freeform 2795">
                <a:extLst>
                  <a:ext uri="{FF2B5EF4-FFF2-40B4-BE49-F238E27FC236}">
                    <a16:creationId xmlns:a16="http://schemas.microsoft.com/office/drawing/2014/main" id="{F57EC1A9-524F-41A8-908E-D2B7EB525CC6}"/>
                  </a:ext>
                </a:extLst>
              </p:cNvPr>
              <p:cNvSpPr>
                <a:spLocks/>
              </p:cNvSpPr>
              <p:nvPr/>
            </p:nvSpPr>
            <p:spPr bwMode="auto">
              <a:xfrm>
                <a:off x="6580" y="2975"/>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5" name="Freeform 2796">
                <a:extLst>
                  <a:ext uri="{FF2B5EF4-FFF2-40B4-BE49-F238E27FC236}">
                    <a16:creationId xmlns:a16="http://schemas.microsoft.com/office/drawing/2014/main" id="{412A63A1-70AA-4188-AF76-B5EE8DC48DE3}"/>
                  </a:ext>
                </a:extLst>
              </p:cNvPr>
              <p:cNvSpPr>
                <a:spLocks/>
              </p:cNvSpPr>
              <p:nvPr/>
            </p:nvSpPr>
            <p:spPr bwMode="auto">
              <a:xfrm>
                <a:off x="7571" y="3278"/>
                <a:ext cx="5" cy="7"/>
              </a:xfrm>
              <a:custGeom>
                <a:avLst/>
                <a:gdLst>
                  <a:gd name="T0" fmla="*/ 1 w 2"/>
                  <a:gd name="T1" fmla="*/ 0 h 3"/>
                  <a:gd name="T2" fmla="*/ 0 w 2"/>
                  <a:gd name="T3" fmla="*/ 3 h 3"/>
                  <a:gd name="T4" fmla="*/ 1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1"/>
                      <a:pt x="0" y="2"/>
                      <a:pt x="0" y="3"/>
                    </a:cubicBezTo>
                    <a:cubicBezTo>
                      <a:pt x="1" y="2"/>
                      <a:pt x="0" y="2"/>
                      <a:pt x="1" y="1"/>
                    </a:cubicBezTo>
                    <a:cubicBezTo>
                      <a:pt x="1" y="0"/>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6" name="Freeform 2797">
                <a:extLst>
                  <a:ext uri="{FF2B5EF4-FFF2-40B4-BE49-F238E27FC236}">
                    <a16:creationId xmlns:a16="http://schemas.microsoft.com/office/drawing/2014/main" id="{93406D72-710D-44FF-9021-03CF486F2D4B}"/>
                  </a:ext>
                </a:extLst>
              </p:cNvPr>
              <p:cNvSpPr>
                <a:spLocks/>
              </p:cNvSpPr>
              <p:nvPr/>
            </p:nvSpPr>
            <p:spPr bwMode="auto">
              <a:xfrm>
                <a:off x="7500" y="32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7" name="Freeform 2798">
                <a:extLst>
                  <a:ext uri="{FF2B5EF4-FFF2-40B4-BE49-F238E27FC236}">
                    <a16:creationId xmlns:a16="http://schemas.microsoft.com/office/drawing/2014/main" id="{E6A375F2-9F82-4CA5-800D-C5C67AF224ED}"/>
                  </a:ext>
                </a:extLst>
              </p:cNvPr>
              <p:cNvSpPr>
                <a:spLocks/>
              </p:cNvSpPr>
              <p:nvPr/>
            </p:nvSpPr>
            <p:spPr bwMode="auto">
              <a:xfrm>
                <a:off x="7592" y="3332"/>
                <a:ext cx="2"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8" name="Freeform 2799">
                <a:extLst>
                  <a:ext uri="{FF2B5EF4-FFF2-40B4-BE49-F238E27FC236}">
                    <a16:creationId xmlns:a16="http://schemas.microsoft.com/office/drawing/2014/main" id="{6EC22A6A-E0DA-4D24-9CA4-5CEAF57CB26B}"/>
                  </a:ext>
                </a:extLst>
              </p:cNvPr>
              <p:cNvSpPr>
                <a:spLocks/>
              </p:cNvSpPr>
              <p:nvPr/>
            </p:nvSpPr>
            <p:spPr bwMode="auto">
              <a:xfrm>
                <a:off x="7410" y="3245"/>
                <a:ext cx="2" cy="4"/>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1" y="0"/>
                    </a:cubicBezTo>
                    <a:cubicBezTo>
                      <a:pt x="0" y="1"/>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9" name="Freeform 2800">
                <a:extLst>
                  <a:ext uri="{FF2B5EF4-FFF2-40B4-BE49-F238E27FC236}">
                    <a16:creationId xmlns:a16="http://schemas.microsoft.com/office/drawing/2014/main" id="{D5EAF38D-0AA8-4AFD-B3A0-744BBFBAA065}"/>
                  </a:ext>
                </a:extLst>
              </p:cNvPr>
              <p:cNvSpPr>
                <a:spLocks/>
              </p:cNvSpPr>
              <p:nvPr/>
            </p:nvSpPr>
            <p:spPr bwMode="auto">
              <a:xfrm>
                <a:off x="7602" y="3302"/>
                <a:ext cx="7" cy="7"/>
              </a:xfrm>
              <a:custGeom>
                <a:avLst/>
                <a:gdLst>
                  <a:gd name="T0" fmla="*/ 2 w 3"/>
                  <a:gd name="T1" fmla="*/ 3 h 3"/>
                  <a:gd name="T2" fmla="*/ 3 w 3"/>
                  <a:gd name="T3" fmla="*/ 1 h 3"/>
                  <a:gd name="T4" fmla="*/ 2 w 3"/>
                  <a:gd name="T5" fmla="*/ 0 h 3"/>
                  <a:gd name="T6" fmla="*/ 0 w 3"/>
                  <a:gd name="T7" fmla="*/ 0 h 3"/>
                  <a:gd name="T8" fmla="*/ 0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2" y="2"/>
                      <a:pt x="3" y="2"/>
                      <a:pt x="3" y="1"/>
                    </a:cubicBezTo>
                    <a:cubicBezTo>
                      <a:pt x="2" y="1"/>
                      <a:pt x="2" y="0"/>
                      <a:pt x="2" y="0"/>
                    </a:cubicBezTo>
                    <a:cubicBezTo>
                      <a:pt x="2" y="0"/>
                      <a:pt x="0" y="0"/>
                      <a:pt x="0" y="0"/>
                    </a:cubicBezTo>
                    <a:cubicBezTo>
                      <a:pt x="0" y="1"/>
                      <a:pt x="1" y="2"/>
                      <a:pt x="0" y="2"/>
                    </a:cubicBezTo>
                    <a:cubicBezTo>
                      <a:pt x="1"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0" name="Freeform 2801">
                <a:extLst>
                  <a:ext uri="{FF2B5EF4-FFF2-40B4-BE49-F238E27FC236}">
                    <a16:creationId xmlns:a16="http://schemas.microsoft.com/office/drawing/2014/main" id="{16FF700D-4B77-480A-B65F-EF54B49E2D67}"/>
                  </a:ext>
                </a:extLst>
              </p:cNvPr>
              <p:cNvSpPr>
                <a:spLocks/>
              </p:cNvSpPr>
              <p:nvPr/>
            </p:nvSpPr>
            <p:spPr bwMode="auto">
              <a:xfrm>
                <a:off x="7583" y="3285"/>
                <a:ext cx="11" cy="12"/>
              </a:xfrm>
              <a:custGeom>
                <a:avLst/>
                <a:gdLst>
                  <a:gd name="T0" fmla="*/ 0 w 5"/>
                  <a:gd name="T1" fmla="*/ 2 h 5"/>
                  <a:gd name="T2" fmla="*/ 1 w 5"/>
                  <a:gd name="T3" fmla="*/ 4 h 5"/>
                  <a:gd name="T4" fmla="*/ 2 w 5"/>
                  <a:gd name="T5" fmla="*/ 4 h 5"/>
                  <a:gd name="T6" fmla="*/ 3 w 5"/>
                  <a:gd name="T7" fmla="*/ 5 h 5"/>
                  <a:gd name="T8" fmla="*/ 3 w 5"/>
                  <a:gd name="T9" fmla="*/ 1 h 5"/>
                  <a:gd name="T10" fmla="*/ 2 w 5"/>
                  <a:gd name="T11" fmla="*/ 0 h 5"/>
                  <a:gd name="T12" fmla="*/ 0 w 5"/>
                  <a:gd name="T13" fmla="*/ 0 h 5"/>
                  <a:gd name="T14" fmla="*/ 1 w 5"/>
                  <a:gd name="T15" fmla="*/ 1 h 5"/>
                  <a:gd name="T16" fmla="*/ 0 w 5"/>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0" y="2"/>
                    </a:moveTo>
                    <a:cubicBezTo>
                      <a:pt x="0" y="3"/>
                      <a:pt x="0" y="3"/>
                      <a:pt x="1" y="4"/>
                    </a:cubicBezTo>
                    <a:cubicBezTo>
                      <a:pt x="1" y="4"/>
                      <a:pt x="2" y="4"/>
                      <a:pt x="2" y="4"/>
                    </a:cubicBezTo>
                    <a:cubicBezTo>
                      <a:pt x="2" y="4"/>
                      <a:pt x="3" y="5"/>
                      <a:pt x="3" y="5"/>
                    </a:cubicBezTo>
                    <a:cubicBezTo>
                      <a:pt x="5" y="3"/>
                      <a:pt x="4" y="3"/>
                      <a:pt x="3" y="1"/>
                    </a:cubicBezTo>
                    <a:cubicBezTo>
                      <a:pt x="3" y="0"/>
                      <a:pt x="3" y="0"/>
                      <a:pt x="2" y="0"/>
                    </a:cubicBezTo>
                    <a:cubicBezTo>
                      <a:pt x="2" y="0"/>
                      <a:pt x="0" y="0"/>
                      <a:pt x="0" y="0"/>
                    </a:cubicBezTo>
                    <a:cubicBezTo>
                      <a:pt x="0" y="1"/>
                      <a:pt x="1" y="0"/>
                      <a:pt x="1" y="1"/>
                    </a:cubicBezTo>
                    <a:cubicBezTo>
                      <a:pt x="2"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1" name="Freeform 2802">
                <a:extLst>
                  <a:ext uri="{FF2B5EF4-FFF2-40B4-BE49-F238E27FC236}">
                    <a16:creationId xmlns:a16="http://schemas.microsoft.com/office/drawing/2014/main" id="{680D3A9B-4C04-4736-9B0A-4CF9BE0655BE}"/>
                  </a:ext>
                </a:extLst>
              </p:cNvPr>
              <p:cNvSpPr>
                <a:spLocks/>
              </p:cNvSpPr>
              <p:nvPr/>
            </p:nvSpPr>
            <p:spPr bwMode="auto">
              <a:xfrm>
                <a:off x="7509" y="3268"/>
                <a:ext cx="74" cy="64"/>
              </a:xfrm>
              <a:custGeom>
                <a:avLst/>
                <a:gdLst>
                  <a:gd name="T0" fmla="*/ 31 w 31"/>
                  <a:gd name="T1" fmla="*/ 23 h 27"/>
                  <a:gd name="T2" fmla="*/ 27 w 31"/>
                  <a:gd name="T3" fmla="*/ 20 h 27"/>
                  <a:gd name="T4" fmla="*/ 21 w 31"/>
                  <a:gd name="T5" fmla="*/ 15 h 27"/>
                  <a:gd name="T6" fmla="*/ 14 w 31"/>
                  <a:gd name="T7" fmla="*/ 10 h 27"/>
                  <a:gd name="T8" fmla="*/ 7 w 31"/>
                  <a:gd name="T9" fmla="*/ 5 h 27"/>
                  <a:gd name="T10" fmla="*/ 5 w 31"/>
                  <a:gd name="T11" fmla="*/ 3 h 27"/>
                  <a:gd name="T12" fmla="*/ 3 w 31"/>
                  <a:gd name="T13" fmla="*/ 3 h 27"/>
                  <a:gd name="T14" fmla="*/ 2 w 31"/>
                  <a:gd name="T15" fmla="*/ 2 h 27"/>
                  <a:gd name="T16" fmla="*/ 1 w 31"/>
                  <a:gd name="T17" fmla="*/ 1 h 27"/>
                  <a:gd name="T18" fmla="*/ 0 w 31"/>
                  <a:gd name="T19" fmla="*/ 0 h 27"/>
                  <a:gd name="T20" fmla="*/ 3 w 31"/>
                  <a:gd name="T21" fmla="*/ 6 h 27"/>
                  <a:gd name="T22" fmla="*/ 16 w 31"/>
                  <a:gd name="T23" fmla="*/ 18 h 27"/>
                  <a:gd name="T24" fmla="*/ 18 w 31"/>
                  <a:gd name="T25" fmla="*/ 18 h 27"/>
                  <a:gd name="T26" fmla="*/ 19 w 31"/>
                  <a:gd name="T27" fmla="*/ 19 h 27"/>
                  <a:gd name="T28" fmla="*/ 24 w 31"/>
                  <a:gd name="T29" fmla="*/ 22 h 27"/>
                  <a:gd name="T30" fmla="*/ 31 w 31"/>
                  <a:gd name="T31"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7">
                    <a:moveTo>
                      <a:pt x="31" y="23"/>
                    </a:moveTo>
                    <a:cubicBezTo>
                      <a:pt x="31" y="22"/>
                      <a:pt x="28" y="21"/>
                      <a:pt x="27" y="20"/>
                    </a:cubicBezTo>
                    <a:cubicBezTo>
                      <a:pt x="25" y="18"/>
                      <a:pt x="23" y="17"/>
                      <a:pt x="21" y="15"/>
                    </a:cubicBezTo>
                    <a:cubicBezTo>
                      <a:pt x="18" y="14"/>
                      <a:pt x="16" y="12"/>
                      <a:pt x="14" y="10"/>
                    </a:cubicBezTo>
                    <a:cubicBezTo>
                      <a:pt x="12" y="8"/>
                      <a:pt x="10" y="6"/>
                      <a:pt x="7" y="5"/>
                    </a:cubicBezTo>
                    <a:cubicBezTo>
                      <a:pt x="6" y="4"/>
                      <a:pt x="6" y="3"/>
                      <a:pt x="5" y="3"/>
                    </a:cubicBezTo>
                    <a:cubicBezTo>
                      <a:pt x="4" y="2"/>
                      <a:pt x="4" y="3"/>
                      <a:pt x="3" y="3"/>
                    </a:cubicBezTo>
                    <a:cubicBezTo>
                      <a:pt x="3" y="3"/>
                      <a:pt x="2" y="2"/>
                      <a:pt x="2" y="2"/>
                    </a:cubicBezTo>
                    <a:cubicBezTo>
                      <a:pt x="2" y="2"/>
                      <a:pt x="1" y="1"/>
                      <a:pt x="1" y="1"/>
                    </a:cubicBezTo>
                    <a:cubicBezTo>
                      <a:pt x="1" y="1"/>
                      <a:pt x="0" y="0"/>
                      <a:pt x="0" y="0"/>
                    </a:cubicBezTo>
                    <a:cubicBezTo>
                      <a:pt x="0" y="0"/>
                      <a:pt x="3" y="6"/>
                      <a:pt x="3" y="6"/>
                    </a:cubicBezTo>
                    <a:cubicBezTo>
                      <a:pt x="7" y="10"/>
                      <a:pt x="11" y="15"/>
                      <a:pt x="16" y="18"/>
                    </a:cubicBezTo>
                    <a:cubicBezTo>
                      <a:pt x="17" y="18"/>
                      <a:pt x="18" y="18"/>
                      <a:pt x="18" y="18"/>
                    </a:cubicBezTo>
                    <a:cubicBezTo>
                      <a:pt x="18" y="19"/>
                      <a:pt x="19" y="19"/>
                      <a:pt x="19" y="19"/>
                    </a:cubicBezTo>
                    <a:cubicBezTo>
                      <a:pt x="21" y="20"/>
                      <a:pt x="22" y="21"/>
                      <a:pt x="24" y="22"/>
                    </a:cubicBezTo>
                    <a:cubicBezTo>
                      <a:pt x="25" y="23"/>
                      <a:pt x="30" y="27"/>
                      <a:pt x="3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2" name="Freeform 2803">
                <a:extLst>
                  <a:ext uri="{FF2B5EF4-FFF2-40B4-BE49-F238E27FC236}">
                    <a16:creationId xmlns:a16="http://schemas.microsoft.com/office/drawing/2014/main" id="{F07793C6-DDC8-4CD8-BF76-1708BDC41124}"/>
                  </a:ext>
                </a:extLst>
              </p:cNvPr>
              <p:cNvSpPr>
                <a:spLocks/>
              </p:cNvSpPr>
              <p:nvPr/>
            </p:nvSpPr>
            <p:spPr bwMode="auto">
              <a:xfrm>
                <a:off x="5185" y="2185"/>
                <a:ext cx="5" cy="7"/>
              </a:xfrm>
              <a:custGeom>
                <a:avLst/>
                <a:gdLst>
                  <a:gd name="T0" fmla="*/ 0 w 2"/>
                  <a:gd name="T1" fmla="*/ 1 h 3"/>
                  <a:gd name="T2" fmla="*/ 2 w 2"/>
                  <a:gd name="T3" fmla="*/ 1 h 3"/>
                  <a:gd name="T4" fmla="*/ 0 w 2"/>
                  <a:gd name="T5" fmla="*/ 0 h 3"/>
                  <a:gd name="T6" fmla="*/ 0 w 2"/>
                  <a:gd name="T7" fmla="*/ 1 h 3"/>
                  <a:gd name="T8" fmla="*/ 0 w 2"/>
                  <a:gd name="T9" fmla="*/ 0 h 3"/>
                  <a:gd name="T10" fmla="*/ 0 w 2"/>
                  <a:gd name="T11" fmla="*/ 3 h 3"/>
                  <a:gd name="T12" fmla="*/ 1 w 2"/>
                  <a:gd name="T13" fmla="*/ 1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cubicBezTo>
                      <a:pt x="1" y="1"/>
                      <a:pt x="1" y="1"/>
                      <a:pt x="2" y="1"/>
                    </a:cubicBezTo>
                    <a:cubicBezTo>
                      <a:pt x="1" y="0"/>
                      <a:pt x="1" y="0"/>
                      <a:pt x="0" y="0"/>
                    </a:cubicBezTo>
                    <a:cubicBezTo>
                      <a:pt x="0" y="0"/>
                      <a:pt x="0" y="0"/>
                      <a:pt x="0" y="1"/>
                    </a:cubicBezTo>
                    <a:cubicBezTo>
                      <a:pt x="0" y="1"/>
                      <a:pt x="0" y="0"/>
                      <a:pt x="0" y="0"/>
                    </a:cubicBezTo>
                    <a:cubicBezTo>
                      <a:pt x="0" y="1"/>
                      <a:pt x="0" y="2"/>
                      <a:pt x="0" y="3"/>
                    </a:cubicBezTo>
                    <a:cubicBezTo>
                      <a:pt x="2" y="3"/>
                      <a:pt x="0" y="2"/>
                      <a:pt x="1" y="1"/>
                    </a:cubicBezTo>
                    <a:cubicBezTo>
                      <a:pt x="1" y="1"/>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3" name="Freeform 2804">
                <a:extLst>
                  <a:ext uri="{FF2B5EF4-FFF2-40B4-BE49-F238E27FC236}">
                    <a16:creationId xmlns:a16="http://schemas.microsoft.com/office/drawing/2014/main" id="{F6890600-B1BB-4137-8452-8C43B8B755C9}"/>
                  </a:ext>
                </a:extLst>
              </p:cNvPr>
              <p:cNvSpPr>
                <a:spLocks/>
              </p:cNvSpPr>
              <p:nvPr/>
            </p:nvSpPr>
            <p:spPr bwMode="auto">
              <a:xfrm>
                <a:off x="5178" y="2185"/>
                <a:ext cx="5" cy="5"/>
              </a:xfrm>
              <a:custGeom>
                <a:avLst/>
                <a:gdLst>
                  <a:gd name="T0" fmla="*/ 0 w 2"/>
                  <a:gd name="T1" fmla="*/ 1 h 2"/>
                  <a:gd name="T2" fmla="*/ 2 w 2"/>
                  <a:gd name="T3" fmla="*/ 1 h 2"/>
                  <a:gd name="T4" fmla="*/ 2 w 2"/>
                  <a:gd name="T5" fmla="*/ 0 h 2"/>
                  <a:gd name="T6" fmla="*/ 0 w 2"/>
                  <a:gd name="T7" fmla="*/ 1 h 2"/>
                </a:gdLst>
                <a:ahLst/>
                <a:cxnLst>
                  <a:cxn ang="0">
                    <a:pos x="T0" y="T1"/>
                  </a:cxn>
                  <a:cxn ang="0">
                    <a:pos x="T2" y="T3"/>
                  </a:cxn>
                  <a:cxn ang="0">
                    <a:pos x="T4" y="T5"/>
                  </a:cxn>
                  <a:cxn ang="0">
                    <a:pos x="T6" y="T7"/>
                  </a:cxn>
                </a:cxnLst>
                <a:rect l="0" t="0" r="r" b="b"/>
                <a:pathLst>
                  <a:path w="2" h="2">
                    <a:moveTo>
                      <a:pt x="0" y="1"/>
                    </a:moveTo>
                    <a:cubicBezTo>
                      <a:pt x="0" y="2"/>
                      <a:pt x="1" y="2"/>
                      <a:pt x="2" y="1"/>
                    </a:cubicBezTo>
                    <a:cubicBezTo>
                      <a:pt x="2" y="1"/>
                      <a:pt x="2" y="0"/>
                      <a:pt x="2"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4" name="Freeform 2805">
                <a:extLst>
                  <a:ext uri="{FF2B5EF4-FFF2-40B4-BE49-F238E27FC236}">
                    <a16:creationId xmlns:a16="http://schemas.microsoft.com/office/drawing/2014/main" id="{1712393D-9E21-48FC-A7B1-33CB78A38B2B}"/>
                  </a:ext>
                </a:extLst>
              </p:cNvPr>
              <p:cNvSpPr>
                <a:spLocks/>
              </p:cNvSpPr>
              <p:nvPr/>
            </p:nvSpPr>
            <p:spPr bwMode="auto">
              <a:xfrm>
                <a:off x="5185" y="2185"/>
                <a:ext cx="7" cy="7"/>
              </a:xfrm>
              <a:custGeom>
                <a:avLst/>
                <a:gdLst>
                  <a:gd name="T0" fmla="*/ 3 w 3"/>
                  <a:gd name="T1" fmla="*/ 3 h 3"/>
                  <a:gd name="T2" fmla="*/ 2 w 3"/>
                  <a:gd name="T3" fmla="*/ 0 h 3"/>
                  <a:gd name="T4" fmla="*/ 3 w 3"/>
                  <a:gd name="T5" fmla="*/ 3 h 3"/>
                </a:gdLst>
                <a:ahLst/>
                <a:cxnLst>
                  <a:cxn ang="0">
                    <a:pos x="T0" y="T1"/>
                  </a:cxn>
                  <a:cxn ang="0">
                    <a:pos x="T2" y="T3"/>
                  </a:cxn>
                  <a:cxn ang="0">
                    <a:pos x="T4" y="T5"/>
                  </a:cxn>
                </a:cxnLst>
                <a:rect l="0" t="0" r="r" b="b"/>
                <a:pathLst>
                  <a:path w="3" h="3">
                    <a:moveTo>
                      <a:pt x="3" y="3"/>
                    </a:moveTo>
                    <a:cubicBezTo>
                      <a:pt x="3" y="2"/>
                      <a:pt x="3" y="1"/>
                      <a:pt x="2" y="0"/>
                    </a:cubicBezTo>
                    <a:cubicBezTo>
                      <a:pt x="0" y="1"/>
                      <a:pt x="1"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5" name="Freeform 2806">
                <a:extLst>
                  <a:ext uri="{FF2B5EF4-FFF2-40B4-BE49-F238E27FC236}">
                    <a16:creationId xmlns:a16="http://schemas.microsoft.com/office/drawing/2014/main" id="{B492BEB9-0C54-4FDB-8227-938E6B82FC17}"/>
                  </a:ext>
                </a:extLst>
              </p:cNvPr>
              <p:cNvSpPr>
                <a:spLocks/>
              </p:cNvSpPr>
              <p:nvPr/>
            </p:nvSpPr>
            <p:spPr bwMode="auto">
              <a:xfrm>
                <a:off x="4327" y="1877"/>
                <a:ext cx="57" cy="29"/>
              </a:xfrm>
              <a:custGeom>
                <a:avLst/>
                <a:gdLst>
                  <a:gd name="T0" fmla="*/ 19 w 24"/>
                  <a:gd name="T1" fmla="*/ 4 h 12"/>
                  <a:gd name="T2" fmla="*/ 19 w 24"/>
                  <a:gd name="T3" fmla="*/ 3 h 12"/>
                  <a:gd name="T4" fmla="*/ 21 w 24"/>
                  <a:gd name="T5" fmla="*/ 2 h 12"/>
                  <a:gd name="T6" fmla="*/ 24 w 24"/>
                  <a:gd name="T7" fmla="*/ 0 h 12"/>
                  <a:gd name="T8" fmla="*/ 15 w 24"/>
                  <a:gd name="T9" fmla="*/ 4 h 12"/>
                  <a:gd name="T10" fmla="*/ 7 w 24"/>
                  <a:gd name="T11" fmla="*/ 3 h 12"/>
                  <a:gd name="T12" fmla="*/ 6 w 24"/>
                  <a:gd name="T13" fmla="*/ 5 h 12"/>
                  <a:gd name="T14" fmla="*/ 3 w 24"/>
                  <a:gd name="T15" fmla="*/ 7 h 12"/>
                  <a:gd name="T16" fmla="*/ 2 w 24"/>
                  <a:gd name="T17" fmla="*/ 7 h 12"/>
                  <a:gd name="T18" fmla="*/ 1 w 24"/>
                  <a:gd name="T19" fmla="*/ 7 h 12"/>
                  <a:gd name="T20" fmla="*/ 2 w 24"/>
                  <a:gd name="T21" fmla="*/ 11 h 12"/>
                  <a:gd name="T22" fmla="*/ 7 w 24"/>
                  <a:gd name="T23" fmla="*/ 12 h 12"/>
                  <a:gd name="T24" fmla="*/ 14 w 24"/>
                  <a:gd name="T25" fmla="*/ 10 h 12"/>
                  <a:gd name="T26" fmla="*/ 15 w 24"/>
                  <a:gd name="T27" fmla="*/ 8 h 12"/>
                  <a:gd name="T28" fmla="*/ 17 w 24"/>
                  <a:gd name="T29" fmla="*/ 8 h 12"/>
                  <a:gd name="T30" fmla="*/ 17 w 24"/>
                  <a:gd name="T31" fmla="*/ 7 h 12"/>
                  <a:gd name="T32" fmla="*/ 19 w 24"/>
                  <a:gd name="T33" fmla="*/ 8 h 12"/>
                  <a:gd name="T34" fmla="*/ 19 w 24"/>
                  <a:gd name="T35" fmla="*/ 8 h 12"/>
                  <a:gd name="T36" fmla="*/ 18 w 24"/>
                  <a:gd name="T37" fmla="*/ 4 h 12"/>
                  <a:gd name="T38" fmla="*/ 19 w 24"/>
                  <a:gd name="T3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2">
                    <a:moveTo>
                      <a:pt x="19" y="4"/>
                    </a:moveTo>
                    <a:cubicBezTo>
                      <a:pt x="19" y="4"/>
                      <a:pt x="19" y="3"/>
                      <a:pt x="19" y="3"/>
                    </a:cubicBezTo>
                    <a:cubicBezTo>
                      <a:pt x="20" y="3"/>
                      <a:pt x="21" y="2"/>
                      <a:pt x="21" y="2"/>
                    </a:cubicBezTo>
                    <a:cubicBezTo>
                      <a:pt x="22" y="2"/>
                      <a:pt x="24" y="1"/>
                      <a:pt x="24" y="0"/>
                    </a:cubicBezTo>
                    <a:cubicBezTo>
                      <a:pt x="21" y="1"/>
                      <a:pt x="18" y="2"/>
                      <a:pt x="15" y="4"/>
                    </a:cubicBezTo>
                    <a:cubicBezTo>
                      <a:pt x="13" y="4"/>
                      <a:pt x="9" y="4"/>
                      <a:pt x="7" y="3"/>
                    </a:cubicBezTo>
                    <a:cubicBezTo>
                      <a:pt x="7" y="5"/>
                      <a:pt x="8" y="5"/>
                      <a:pt x="6" y="5"/>
                    </a:cubicBezTo>
                    <a:cubicBezTo>
                      <a:pt x="5" y="5"/>
                      <a:pt x="4" y="5"/>
                      <a:pt x="3" y="7"/>
                    </a:cubicBezTo>
                    <a:cubicBezTo>
                      <a:pt x="3" y="7"/>
                      <a:pt x="2" y="7"/>
                      <a:pt x="2" y="7"/>
                    </a:cubicBezTo>
                    <a:cubicBezTo>
                      <a:pt x="2" y="7"/>
                      <a:pt x="1" y="7"/>
                      <a:pt x="1" y="7"/>
                    </a:cubicBezTo>
                    <a:cubicBezTo>
                      <a:pt x="0" y="7"/>
                      <a:pt x="2" y="10"/>
                      <a:pt x="2" y="11"/>
                    </a:cubicBezTo>
                    <a:cubicBezTo>
                      <a:pt x="3" y="12"/>
                      <a:pt x="6" y="12"/>
                      <a:pt x="7" y="12"/>
                    </a:cubicBezTo>
                    <a:cubicBezTo>
                      <a:pt x="10" y="12"/>
                      <a:pt x="12" y="11"/>
                      <a:pt x="14" y="10"/>
                    </a:cubicBezTo>
                    <a:cubicBezTo>
                      <a:pt x="15" y="9"/>
                      <a:pt x="15" y="9"/>
                      <a:pt x="15" y="8"/>
                    </a:cubicBezTo>
                    <a:cubicBezTo>
                      <a:pt x="16" y="8"/>
                      <a:pt x="16" y="8"/>
                      <a:pt x="17" y="8"/>
                    </a:cubicBezTo>
                    <a:cubicBezTo>
                      <a:pt x="18" y="8"/>
                      <a:pt x="17" y="7"/>
                      <a:pt x="17" y="7"/>
                    </a:cubicBezTo>
                    <a:cubicBezTo>
                      <a:pt x="17" y="8"/>
                      <a:pt x="17" y="8"/>
                      <a:pt x="19" y="8"/>
                    </a:cubicBezTo>
                    <a:cubicBezTo>
                      <a:pt x="19" y="8"/>
                      <a:pt x="19" y="8"/>
                      <a:pt x="19" y="8"/>
                    </a:cubicBezTo>
                    <a:cubicBezTo>
                      <a:pt x="18" y="7"/>
                      <a:pt x="17" y="5"/>
                      <a:pt x="18" y="4"/>
                    </a:cubicBezTo>
                    <a:cubicBezTo>
                      <a:pt x="18" y="4"/>
                      <a:pt x="19" y="4"/>
                      <a:pt x="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6" name="Freeform 2807">
                <a:extLst>
                  <a:ext uri="{FF2B5EF4-FFF2-40B4-BE49-F238E27FC236}">
                    <a16:creationId xmlns:a16="http://schemas.microsoft.com/office/drawing/2014/main" id="{6DC0F5BC-88BD-4934-BA67-A74035B07B1C}"/>
                  </a:ext>
                </a:extLst>
              </p:cNvPr>
              <p:cNvSpPr>
                <a:spLocks/>
              </p:cNvSpPr>
              <p:nvPr/>
            </p:nvSpPr>
            <p:spPr bwMode="auto">
              <a:xfrm>
                <a:off x="5743" y="2216"/>
                <a:ext cx="7" cy="7"/>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1"/>
                      <a:pt x="1" y="2"/>
                      <a:pt x="1" y="3"/>
                    </a:cubicBezTo>
                    <a:cubicBezTo>
                      <a:pt x="3" y="3"/>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7" name="Freeform 2808">
                <a:extLst>
                  <a:ext uri="{FF2B5EF4-FFF2-40B4-BE49-F238E27FC236}">
                    <a16:creationId xmlns:a16="http://schemas.microsoft.com/office/drawing/2014/main" id="{5DDB9610-7364-4D02-9342-17C5EA7EF402}"/>
                  </a:ext>
                </a:extLst>
              </p:cNvPr>
              <p:cNvSpPr>
                <a:spLocks/>
              </p:cNvSpPr>
              <p:nvPr/>
            </p:nvSpPr>
            <p:spPr bwMode="auto">
              <a:xfrm>
                <a:off x="3904" y="1286"/>
                <a:ext cx="9" cy="9"/>
              </a:xfrm>
              <a:custGeom>
                <a:avLst/>
                <a:gdLst>
                  <a:gd name="T0" fmla="*/ 3 w 4"/>
                  <a:gd name="T1" fmla="*/ 4 h 4"/>
                  <a:gd name="T2" fmla="*/ 4 w 4"/>
                  <a:gd name="T3" fmla="*/ 1 h 4"/>
                  <a:gd name="T4" fmla="*/ 1 w 4"/>
                  <a:gd name="T5" fmla="*/ 0 h 4"/>
                  <a:gd name="T6" fmla="*/ 0 w 4"/>
                  <a:gd name="T7" fmla="*/ 2 h 4"/>
                  <a:gd name="T8" fmla="*/ 3 w 4"/>
                  <a:gd name="T9" fmla="*/ 4 h 4"/>
                </a:gdLst>
                <a:ahLst/>
                <a:cxnLst>
                  <a:cxn ang="0">
                    <a:pos x="T0" y="T1"/>
                  </a:cxn>
                  <a:cxn ang="0">
                    <a:pos x="T2" y="T3"/>
                  </a:cxn>
                  <a:cxn ang="0">
                    <a:pos x="T4" y="T5"/>
                  </a:cxn>
                  <a:cxn ang="0">
                    <a:pos x="T6" y="T7"/>
                  </a:cxn>
                  <a:cxn ang="0">
                    <a:pos x="T8" y="T9"/>
                  </a:cxn>
                </a:cxnLst>
                <a:rect l="0" t="0" r="r" b="b"/>
                <a:pathLst>
                  <a:path w="4" h="4">
                    <a:moveTo>
                      <a:pt x="3" y="4"/>
                    </a:moveTo>
                    <a:cubicBezTo>
                      <a:pt x="3" y="3"/>
                      <a:pt x="4" y="1"/>
                      <a:pt x="4" y="1"/>
                    </a:cubicBezTo>
                    <a:cubicBezTo>
                      <a:pt x="3" y="1"/>
                      <a:pt x="2" y="0"/>
                      <a:pt x="1" y="0"/>
                    </a:cubicBezTo>
                    <a:cubicBezTo>
                      <a:pt x="0" y="0"/>
                      <a:pt x="0" y="2"/>
                      <a:pt x="0" y="2"/>
                    </a:cubicBezTo>
                    <a:cubicBezTo>
                      <a:pt x="1" y="3"/>
                      <a:pt x="2" y="3"/>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8" name="Freeform 2809">
                <a:extLst>
                  <a:ext uri="{FF2B5EF4-FFF2-40B4-BE49-F238E27FC236}">
                    <a16:creationId xmlns:a16="http://schemas.microsoft.com/office/drawing/2014/main" id="{09262A8F-C020-4066-BE1B-957471802E4A}"/>
                  </a:ext>
                </a:extLst>
              </p:cNvPr>
              <p:cNvSpPr>
                <a:spLocks/>
              </p:cNvSpPr>
              <p:nvPr/>
            </p:nvSpPr>
            <p:spPr bwMode="auto">
              <a:xfrm>
                <a:off x="5807" y="2315"/>
                <a:ext cx="5" cy="5"/>
              </a:xfrm>
              <a:custGeom>
                <a:avLst/>
                <a:gdLst>
                  <a:gd name="T0" fmla="*/ 1 w 2"/>
                  <a:gd name="T1" fmla="*/ 2 h 2"/>
                  <a:gd name="T2" fmla="*/ 2 w 2"/>
                  <a:gd name="T3" fmla="*/ 1 h 2"/>
                  <a:gd name="T4" fmla="*/ 1 w 2"/>
                  <a:gd name="T5" fmla="*/ 0 h 2"/>
                  <a:gd name="T6" fmla="*/ 0 w 2"/>
                  <a:gd name="T7" fmla="*/ 0 h 2"/>
                  <a:gd name="T8" fmla="*/ 1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2" y="2"/>
                      <a:pt x="2" y="2"/>
                      <a:pt x="2" y="1"/>
                    </a:cubicBezTo>
                    <a:cubicBezTo>
                      <a:pt x="2" y="1"/>
                      <a:pt x="2" y="0"/>
                      <a:pt x="1" y="0"/>
                    </a:cubicBezTo>
                    <a:cubicBezTo>
                      <a:pt x="1" y="0"/>
                      <a:pt x="0" y="0"/>
                      <a:pt x="0" y="0"/>
                    </a:cubicBezTo>
                    <a:cubicBezTo>
                      <a:pt x="0" y="1"/>
                      <a:pt x="1"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9" name="Freeform 2810">
                <a:extLst>
                  <a:ext uri="{FF2B5EF4-FFF2-40B4-BE49-F238E27FC236}">
                    <a16:creationId xmlns:a16="http://schemas.microsoft.com/office/drawing/2014/main" id="{326C2049-1976-43B5-80F5-7B62DF687C6C}"/>
                  </a:ext>
                </a:extLst>
              </p:cNvPr>
              <p:cNvSpPr>
                <a:spLocks/>
              </p:cNvSpPr>
              <p:nvPr/>
            </p:nvSpPr>
            <p:spPr bwMode="auto">
              <a:xfrm>
                <a:off x="6299" y="2225"/>
                <a:ext cx="2" cy="2"/>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1"/>
                      <a:pt x="0" y="1"/>
                    </a:cubicBezTo>
                    <a:cubicBezTo>
                      <a:pt x="1" y="1"/>
                      <a:pt x="1" y="1"/>
                      <a:pt x="1"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0" name="Freeform 2811">
                <a:extLst>
                  <a:ext uri="{FF2B5EF4-FFF2-40B4-BE49-F238E27FC236}">
                    <a16:creationId xmlns:a16="http://schemas.microsoft.com/office/drawing/2014/main" id="{C5879A42-D0E3-4E8D-8260-6925F74C18D4}"/>
                  </a:ext>
                </a:extLst>
              </p:cNvPr>
              <p:cNvSpPr>
                <a:spLocks/>
              </p:cNvSpPr>
              <p:nvPr/>
            </p:nvSpPr>
            <p:spPr bwMode="auto">
              <a:xfrm>
                <a:off x="6289" y="2211"/>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1" name="Freeform 2812">
                <a:extLst>
                  <a:ext uri="{FF2B5EF4-FFF2-40B4-BE49-F238E27FC236}">
                    <a16:creationId xmlns:a16="http://schemas.microsoft.com/office/drawing/2014/main" id="{E7711F45-6466-464A-B753-4DDF71E32455}"/>
                  </a:ext>
                </a:extLst>
              </p:cNvPr>
              <p:cNvSpPr>
                <a:spLocks/>
              </p:cNvSpPr>
              <p:nvPr/>
            </p:nvSpPr>
            <p:spPr bwMode="auto">
              <a:xfrm>
                <a:off x="7202" y="3621"/>
                <a:ext cx="2" cy="2"/>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1"/>
                    </a:cubicBezTo>
                    <a:cubicBezTo>
                      <a:pt x="0" y="1"/>
                      <a:pt x="1" y="1"/>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2" name="Freeform 2813">
                <a:extLst>
                  <a:ext uri="{FF2B5EF4-FFF2-40B4-BE49-F238E27FC236}">
                    <a16:creationId xmlns:a16="http://schemas.microsoft.com/office/drawing/2014/main" id="{D766B2B4-6C8D-43DB-B56A-0853C88553DA}"/>
                  </a:ext>
                </a:extLst>
              </p:cNvPr>
              <p:cNvSpPr>
                <a:spLocks/>
              </p:cNvSpPr>
              <p:nvPr/>
            </p:nvSpPr>
            <p:spPr bwMode="auto">
              <a:xfrm>
                <a:off x="6280" y="3396"/>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0"/>
                      <a:pt x="0" y="1"/>
                      <a:pt x="0" y="2"/>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3" name="Freeform 2814">
                <a:extLst>
                  <a:ext uri="{FF2B5EF4-FFF2-40B4-BE49-F238E27FC236}">
                    <a16:creationId xmlns:a16="http://schemas.microsoft.com/office/drawing/2014/main" id="{A0B2E1F0-CC14-415F-9DE1-5482A0325D5B}"/>
                  </a:ext>
                </a:extLst>
              </p:cNvPr>
              <p:cNvSpPr>
                <a:spLocks/>
              </p:cNvSpPr>
              <p:nvPr/>
            </p:nvSpPr>
            <p:spPr bwMode="auto">
              <a:xfrm>
                <a:off x="6275" y="3406"/>
                <a:ext cx="7" cy="19"/>
              </a:xfrm>
              <a:custGeom>
                <a:avLst/>
                <a:gdLst>
                  <a:gd name="T0" fmla="*/ 2 w 3"/>
                  <a:gd name="T1" fmla="*/ 5 h 8"/>
                  <a:gd name="T2" fmla="*/ 2 w 3"/>
                  <a:gd name="T3" fmla="*/ 5 h 8"/>
                  <a:gd name="T4" fmla="*/ 2 w 3"/>
                  <a:gd name="T5" fmla="*/ 4 h 8"/>
                  <a:gd name="T6" fmla="*/ 1 w 3"/>
                  <a:gd name="T7" fmla="*/ 0 h 8"/>
                  <a:gd name="T8" fmla="*/ 1 w 3"/>
                  <a:gd name="T9" fmla="*/ 0 h 8"/>
                  <a:gd name="T10" fmla="*/ 3 w 3"/>
                  <a:gd name="T11" fmla="*/ 8 h 8"/>
                  <a:gd name="T12" fmla="*/ 2 w 3"/>
                  <a:gd name="T13" fmla="*/ 5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2" y="5"/>
                    </a:moveTo>
                    <a:cubicBezTo>
                      <a:pt x="2" y="5"/>
                      <a:pt x="2" y="5"/>
                      <a:pt x="2" y="5"/>
                    </a:cubicBezTo>
                    <a:cubicBezTo>
                      <a:pt x="2" y="4"/>
                      <a:pt x="2" y="4"/>
                      <a:pt x="2" y="4"/>
                    </a:cubicBezTo>
                    <a:cubicBezTo>
                      <a:pt x="2" y="3"/>
                      <a:pt x="1" y="1"/>
                      <a:pt x="1" y="0"/>
                    </a:cubicBezTo>
                    <a:cubicBezTo>
                      <a:pt x="1" y="0"/>
                      <a:pt x="1" y="0"/>
                      <a:pt x="1" y="0"/>
                    </a:cubicBezTo>
                    <a:cubicBezTo>
                      <a:pt x="0" y="3"/>
                      <a:pt x="2" y="5"/>
                      <a:pt x="3" y="8"/>
                    </a:cubicBezTo>
                    <a:cubicBezTo>
                      <a:pt x="3" y="6"/>
                      <a:pt x="3" y="6"/>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4" name="Freeform 2815">
                <a:extLst>
                  <a:ext uri="{FF2B5EF4-FFF2-40B4-BE49-F238E27FC236}">
                    <a16:creationId xmlns:a16="http://schemas.microsoft.com/office/drawing/2014/main" id="{AF77C66D-D64B-4CA8-A5D5-EC0BC2D010D9}"/>
                  </a:ext>
                </a:extLst>
              </p:cNvPr>
              <p:cNvSpPr>
                <a:spLocks/>
              </p:cNvSpPr>
              <p:nvPr/>
            </p:nvSpPr>
            <p:spPr bwMode="auto">
              <a:xfrm>
                <a:off x="6280" y="3037"/>
                <a:ext cx="979" cy="738"/>
              </a:xfrm>
              <a:custGeom>
                <a:avLst/>
                <a:gdLst>
                  <a:gd name="T0" fmla="*/ 407 w 414"/>
                  <a:gd name="T1" fmla="*/ 158 h 312"/>
                  <a:gd name="T2" fmla="*/ 386 w 414"/>
                  <a:gd name="T3" fmla="*/ 135 h 312"/>
                  <a:gd name="T4" fmla="*/ 378 w 414"/>
                  <a:gd name="T5" fmla="*/ 120 h 312"/>
                  <a:gd name="T6" fmla="*/ 361 w 414"/>
                  <a:gd name="T7" fmla="*/ 99 h 312"/>
                  <a:gd name="T8" fmla="*/ 341 w 414"/>
                  <a:gd name="T9" fmla="*/ 88 h 312"/>
                  <a:gd name="T10" fmla="*/ 330 w 414"/>
                  <a:gd name="T11" fmla="*/ 60 h 312"/>
                  <a:gd name="T12" fmla="*/ 319 w 414"/>
                  <a:gd name="T13" fmla="*/ 37 h 312"/>
                  <a:gd name="T14" fmla="*/ 307 w 414"/>
                  <a:gd name="T15" fmla="*/ 17 h 312"/>
                  <a:gd name="T16" fmla="*/ 293 w 414"/>
                  <a:gd name="T17" fmla="*/ 19 h 312"/>
                  <a:gd name="T18" fmla="*/ 291 w 414"/>
                  <a:gd name="T19" fmla="*/ 34 h 312"/>
                  <a:gd name="T20" fmla="*/ 278 w 414"/>
                  <a:gd name="T21" fmla="*/ 73 h 312"/>
                  <a:gd name="T22" fmla="*/ 243 w 414"/>
                  <a:gd name="T23" fmla="*/ 55 h 312"/>
                  <a:gd name="T24" fmla="*/ 238 w 414"/>
                  <a:gd name="T25" fmla="*/ 25 h 312"/>
                  <a:gd name="T26" fmla="*/ 240 w 414"/>
                  <a:gd name="T27" fmla="*/ 12 h 312"/>
                  <a:gd name="T28" fmla="*/ 233 w 414"/>
                  <a:gd name="T29" fmla="*/ 12 h 312"/>
                  <a:gd name="T30" fmla="*/ 216 w 414"/>
                  <a:gd name="T31" fmla="*/ 14 h 312"/>
                  <a:gd name="T32" fmla="*/ 197 w 414"/>
                  <a:gd name="T33" fmla="*/ 5 h 312"/>
                  <a:gd name="T34" fmla="*/ 198 w 414"/>
                  <a:gd name="T35" fmla="*/ 8 h 312"/>
                  <a:gd name="T36" fmla="*/ 186 w 414"/>
                  <a:gd name="T37" fmla="*/ 14 h 312"/>
                  <a:gd name="T38" fmla="*/ 179 w 414"/>
                  <a:gd name="T39" fmla="*/ 20 h 312"/>
                  <a:gd name="T40" fmla="*/ 167 w 414"/>
                  <a:gd name="T41" fmla="*/ 37 h 312"/>
                  <a:gd name="T42" fmla="*/ 164 w 414"/>
                  <a:gd name="T43" fmla="*/ 47 h 312"/>
                  <a:gd name="T44" fmla="*/ 153 w 414"/>
                  <a:gd name="T45" fmla="*/ 50 h 312"/>
                  <a:gd name="T46" fmla="*/ 138 w 414"/>
                  <a:gd name="T47" fmla="*/ 36 h 312"/>
                  <a:gd name="T48" fmla="*/ 133 w 414"/>
                  <a:gd name="T49" fmla="*/ 35 h 312"/>
                  <a:gd name="T50" fmla="*/ 129 w 414"/>
                  <a:gd name="T51" fmla="*/ 37 h 312"/>
                  <a:gd name="T52" fmla="*/ 125 w 414"/>
                  <a:gd name="T53" fmla="*/ 45 h 312"/>
                  <a:gd name="T54" fmla="*/ 121 w 414"/>
                  <a:gd name="T55" fmla="*/ 49 h 312"/>
                  <a:gd name="T56" fmla="*/ 116 w 414"/>
                  <a:gd name="T57" fmla="*/ 56 h 312"/>
                  <a:gd name="T58" fmla="*/ 111 w 414"/>
                  <a:gd name="T59" fmla="*/ 59 h 312"/>
                  <a:gd name="T60" fmla="*/ 107 w 414"/>
                  <a:gd name="T61" fmla="*/ 61 h 312"/>
                  <a:gd name="T62" fmla="*/ 104 w 414"/>
                  <a:gd name="T63" fmla="*/ 66 h 312"/>
                  <a:gd name="T64" fmla="*/ 93 w 414"/>
                  <a:gd name="T65" fmla="*/ 76 h 312"/>
                  <a:gd name="T66" fmla="*/ 55 w 414"/>
                  <a:gd name="T67" fmla="*/ 101 h 312"/>
                  <a:gd name="T68" fmla="*/ 16 w 414"/>
                  <a:gd name="T69" fmla="*/ 117 h 312"/>
                  <a:gd name="T70" fmla="*/ 4 w 414"/>
                  <a:gd name="T71" fmla="*/ 140 h 312"/>
                  <a:gd name="T72" fmla="*/ 4 w 414"/>
                  <a:gd name="T73" fmla="*/ 157 h 312"/>
                  <a:gd name="T74" fmla="*/ 4 w 414"/>
                  <a:gd name="T75" fmla="*/ 166 h 312"/>
                  <a:gd name="T76" fmla="*/ 10 w 414"/>
                  <a:gd name="T77" fmla="*/ 179 h 312"/>
                  <a:gd name="T78" fmla="*/ 27 w 414"/>
                  <a:gd name="T79" fmla="*/ 238 h 312"/>
                  <a:gd name="T80" fmla="*/ 36 w 414"/>
                  <a:gd name="T81" fmla="*/ 263 h 312"/>
                  <a:gd name="T82" fmla="*/ 79 w 414"/>
                  <a:gd name="T83" fmla="*/ 250 h 312"/>
                  <a:gd name="T84" fmla="*/ 112 w 414"/>
                  <a:gd name="T85" fmla="*/ 244 h 312"/>
                  <a:gd name="T86" fmla="*/ 173 w 414"/>
                  <a:gd name="T87" fmla="*/ 224 h 312"/>
                  <a:gd name="T88" fmla="*/ 213 w 414"/>
                  <a:gd name="T89" fmla="*/ 233 h 312"/>
                  <a:gd name="T90" fmla="*/ 226 w 414"/>
                  <a:gd name="T91" fmla="*/ 252 h 312"/>
                  <a:gd name="T92" fmla="*/ 229 w 414"/>
                  <a:gd name="T93" fmla="*/ 261 h 312"/>
                  <a:gd name="T94" fmla="*/ 250 w 414"/>
                  <a:gd name="T95" fmla="*/ 240 h 312"/>
                  <a:gd name="T96" fmla="*/ 252 w 414"/>
                  <a:gd name="T97" fmla="*/ 249 h 312"/>
                  <a:gd name="T98" fmla="*/ 255 w 414"/>
                  <a:gd name="T99" fmla="*/ 254 h 312"/>
                  <a:gd name="T100" fmla="*/ 265 w 414"/>
                  <a:gd name="T101" fmla="*/ 268 h 312"/>
                  <a:gd name="T102" fmla="*/ 273 w 414"/>
                  <a:gd name="T103" fmla="*/ 282 h 312"/>
                  <a:gd name="T104" fmla="*/ 300 w 414"/>
                  <a:gd name="T105" fmla="*/ 303 h 312"/>
                  <a:gd name="T106" fmla="*/ 326 w 414"/>
                  <a:gd name="T107" fmla="*/ 302 h 312"/>
                  <a:gd name="T108" fmla="*/ 336 w 414"/>
                  <a:gd name="T109" fmla="*/ 309 h 312"/>
                  <a:gd name="T110" fmla="*/ 372 w 414"/>
                  <a:gd name="T111" fmla="*/ 295 h 312"/>
                  <a:gd name="T112" fmla="*/ 385 w 414"/>
                  <a:gd name="T113" fmla="*/ 263 h 312"/>
                  <a:gd name="T114" fmla="*/ 391 w 414"/>
                  <a:gd name="T115" fmla="*/ 245 h 312"/>
                  <a:gd name="T116" fmla="*/ 411 w 414"/>
                  <a:gd name="T117" fmla="*/ 20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4" h="312">
                    <a:moveTo>
                      <a:pt x="411" y="180"/>
                    </a:moveTo>
                    <a:cubicBezTo>
                      <a:pt x="410" y="179"/>
                      <a:pt x="408" y="177"/>
                      <a:pt x="408" y="176"/>
                    </a:cubicBezTo>
                    <a:cubicBezTo>
                      <a:pt x="408" y="175"/>
                      <a:pt x="408" y="175"/>
                      <a:pt x="408" y="175"/>
                    </a:cubicBezTo>
                    <a:cubicBezTo>
                      <a:pt x="409" y="174"/>
                      <a:pt x="409" y="175"/>
                      <a:pt x="409" y="174"/>
                    </a:cubicBezTo>
                    <a:cubicBezTo>
                      <a:pt x="409" y="174"/>
                      <a:pt x="409" y="174"/>
                      <a:pt x="410" y="174"/>
                    </a:cubicBezTo>
                    <a:cubicBezTo>
                      <a:pt x="410" y="173"/>
                      <a:pt x="409" y="170"/>
                      <a:pt x="409" y="169"/>
                    </a:cubicBezTo>
                    <a:cubicBezTo>
                      <a:pt x="409" y="168"/>
                      <a:pt x="408" y="166"/>
                      <a:pt x="409" y="164"/>
                    </a:cubicBezTo>
                    <a:cubicBezTo>
                      <a:pt x="409" y="163"/>
                      <a:pt x="409" y="162"/>
                      <a:pt x="410" y="161"/>
                    </a:cubicBezTo>
                    <a:cubicBezTo>
                      <a:pt x="409" y="161"/>
                      <a:pt x="408" y="161"/>
                      <a:pt x="408" y="161"/>
                    </a:cubicBezTo>
                    <a:cubicBezTo>
                      <a:pt x="407" y="160"/>
                      <a:pt x="407" y="159"/>
                      <a:pt x="407" y="158"/>
                    </a:cubicBezTo>
                    <a:cubicBezTo>
                      <a:pt x="407" y="157"/>
                      <a:pt x="406" y="157"/>
                      <a:pt x="407" y="156"/>
                    </a:cubicBezTo>
                    <a:cubicBezTo>
                      <a:pt x="407" y="155"/>
                      <a:pt x="407" y="155"/>
                      <a:pt x="407" y="155"/>
                    </a:cubicBezTo>
                    <a:cubicBezTo>
                      <a:pt x="407" y="154"/>
                      <a:pt x="405" y="154"/>
                      <a:pt x="404" y="153"/>
                    </a:cubicBezTo>
                    <a:cubicBezTo>
                      <a:pt x="403" y="153"/>
                      <a:pt x="402" y="149"/>
                      <a:pt x="402" y="148"/>
                    </a:cubicBezTo>
                    <a:cubicBezTo>
                      <a:pt x="401" y="148"/>
                      <a:pt x="400" y="147"/>
                      <a:pt x="399" y="147"/>
                    </a:cubicBezTo>
                    <a:cubicBezTo>
                      <a:pt x="398" y="146"/>
                      <a:pt x="398" y="145"/>
                      <a:pt x="397" y="144"/>
                    </a:cubicBezTo>
                    <a:cubicBezTo>
                      <a:pt x="397" y="144"/>
                      <a:pt x="397" y="143"/>
                      <a:pt x="397" y="142"/>
                    </a:cubicBezTo>
                    <a:cubicBezTo>
                      <a:pt x="396" y="141"/>
                      <a:pt x="395" y="141"/>
                      <a:pt x="394" y="141"/>
                    </a:cubicBezTo>
                    <a:cubicBezTo>
                      <a:pt x="392" y="141"/>
                      <a:pt x="391" y="138"/>
                      <a:pt x="390" y="138"/>
                    </a:cubicBezTo>
                    <a:cubicBezTo>
                      <a:pt x="389" y="136"/>
                      <a:pt x="387" y="136"/>
                      <a:pt x="386" y="135"/>
                    </a:cubicBezTo>
                    <a:cubicBezTo>
                      <a:pt x="385" y="134"/>
                      <a:pt x="385" y="132"/>
                      <a:pt x="385" y="131"/>
                    </a:cubicBezTo>
                    <a:cubicBezTo>
                      <a:pt x="385" y="130"/>
                      <a:pt x="385" y="130"/>
                      <a:pt x="385" y="129"/>
                    </a:cubicBezTo>
                    <a:cubicBezTo>
                      <a:pt x="386" y="129"/>
                      <a:pt x="385" y="125"/>
                      <a:pt x="385" y="125"/>
                    </a:cubicBezTo>
                    <a:cubicBezTo>
                      <a:pt x="385" y="125"/>
                      <a:pt x="384" y="125"/>
                      <a:pt x="384" y="124"/>
                    </a:cubicBezTo>
                    <a:cubicBezTo>
                      <a:pt x="384" y="124"/>
                      <a:pt x="385" y="124"/>
                      <a:pt x="385" y="124"/>
                    </a:cubicBezTo>
                    <a:cubicBezTo>
                      <a:pt x="384" y="124"/>
                      <a:pt x="384" y="123"/>
                      <a:pt x="384" y="123"/>
                    </a:cubicBezTo>
                    <a:cubicBezTo>
                      <a:pt x="383" y="124"/>
                      <a:pt x="383" y="124"/>
                      <a:pt x="383" y="125"/>
                    </a:cubicBezTo>
                    <a:cubicBezTo>
                      <a:pt x="382" y="125"/>
                      <a:pt x="381" y="124"/>
                      <a:pt x="380" y="123"/>
                    </a:cubicBezTo>
                    <a:cubicBezTo>
                      <a:pt x="379" y="123"/>
                      <a:pt x="379" y="123"/>
                      <a:pt x="379" y="122"/>
                    </a:cubicBezTo>
                    <a:cubicBezTo>
                      <a:pt x="378" y="122"/>
                      <a:pt x="378" y="121"/>
                      <a:pt x="378" y="120"/>
                    </a:cubicBezTo>
                    <a:cubicBezTo>
                      <a:pt x="377" y="122"/>
                      <a:pt x="377" y="124"/>
                      <a:pt x="377" y="126"/>
                    </a:cubicBezTo>
                    <a:cubicBezTo>
                      <a:pt x="376" y="124"/>
                      <a:pt x="375" y="123"/>
                      <a:pt x="374" y="124"/>
                    </a:cubicBezTo>
                    <a:cubicBezTo>
                      <a:pt x="373" y="121"/>
                      <a:pt x="372" y="118"/>
                      <a:pt x="371" y="115"/>
                    </a:cubicBezTo>
                    <a:cubicBezTo>
                      <a:pt x="371" y="113"/>
                      <a:pt x="369" y="112"/>
                      <a:pt x="369" y="110"/>
                    </a:cubicBezTo>
                    <a:cubicBezTo>
                      <a:pt x="369" y="109"/>
                      <a:pt x="369" y="109"/>
                      <a:pt x="368" y="108"/>
                    </a:cubicBezTo>
                    <a:cubicBezTo>
                      <a:pt x="366" y="107"/>
                      <a:pt x="365" y="107"/>
                      <a:pt x="364" y="105"/>
                    </a:cubicBezTo>
                    <a:cubicBezTo>
                      <a:pt x="364" y="105"/>
                      <a:pt x="364" y="102"/>
                      <a:pt x="365" y="102"/>
                    </a:cubicBezTo>
                    <a:cubicBezTo>
                      <a:pt x="365" y="102"/>
                      <a:pt x="365" y="103"/>
                      <a:pt x="366" y="103"/>
                    </a:cubicBezTo>
                    <a:cubicBezTo>
                      <a:pt x="365" y="101"/>
                      <a:pt x="363" y="100"/>
                      <a:pt x="362" y="98"/>
                    </a:cubicBezTo>
                    <a:cubicBezTo>
                      <a:pt x="362" y="98"/>
                      <a:pt x="361" y="99"/>
                      <a:pt x="361" y="99"/>
                    </a:cubicBezTo>
                    <a:cubicBezTo>
                      <a:pt x="360" y="100"/>
                      <a:pt x="360" y="98"/>
                      <a:pt x="359" y="97"/>
                    </a:cubicBezTo>
                    <a:cubicBezTo>
                      <a:pt x="358" y="96"/>
                      <a:pt x="357" y="96"/>
                      <a:pt x="355" y="95"/>
                    </a:cubicBezTo>
                    <a:cubicBezTo>
                      <a:pt x="354" y="94"/>
                      <a:pt x="355" y="94"/>
                      <a:pt x="353" y="96"/>
                    </a:cubicBezTo>
                    <a:cubicBezTo>
                      <a:pt x="353" y="94"/>
                      <a:pt x="352" y="93"/>
                      <a:pt x="351" y="92"/>
                    </a:cubicBezTo>
                    <a:cubicBezTo>
                      <a:pt x="351" y="91"/>
                      <a:pt x="351" y="90"/>
                      <a:pt x="351" y="90"/>
                    </a:cubicBezTo>
                    <a:cubicBezTo>
                      <a:pt x="350" y="90"/>
                      <a:pt x="349" y="91"/>
                      <a:pt x="349" y="91"/>
                    </a:cubicBezTo>
                    <a:cubicBezTo>
                      <a:pt x="348" y="91"/>
                      <a:pt x="347" y="91"/>
                      <a:pt x="347" y="90"/>
                    </a:cubicBezTo>
                    <a:cubicBezTo>
                      <a:pt x="347" y="90"/>
                      <a:pt x="347" y="89"/>
                      <a:pt x="347" y="89"/>
                    </a:cubicBezTo>
                    <a:cubicBezTo>
                      <a:pt x="346" y="89"/>
                      <a:pt x="345" y="90"/>
                      <a:pt x="345" y="90"/>
                    </a:cubicBezTo>
                    <a:cubicBezTo>
                      <a:pt x="344" y="89"/>
                      <a:pt x="342" y="89"/>
                      <a:pt x="341" y="88"/>
                    </a:cubicBezTo>
                    <a:cubicBezTo>
                      <a:pt x="339" y="86"/>
                      <a:pt x="339" y="86"/>
                      <a:pt x="339" y="84"/>
                    </a:cubicBezTo>
                    <a:cubicBezTo>
                      <a:pt x="339" y="83"/>
                      <a:pt x="340" y="83"/>
                      <a:pt x="340" y="83"/>
                    </a:cubicBezTo>
                    <a:cubicBezTo>
                      <a:pt x="339" y="81"/>
                      <a:pt x="337" y="81"/>
                      <a:pt x="337" y="79"/>
                    </a:cubicBezTo>
                    <a:cubicBezTo>
                      <a:pt x="337" y="76"/>
                      <a:pt x="337" y="73"/>
                      <a:pt x="337" y="70"/>
                    </a:cubicBezTo>
                    <a:cubicBezTo>
                      <a:pt x="337" y="69"/>
                      <a:pt x="336" y="68"/>
                      <a:pt x="335" y="66"/>
                    </a:cubicBezTo>
                    <a:cubicBezTo>
                      <a:pt x="335" y="66"/>
                      <a:pt x="336" y="65"/>
                      <a:pt x="335" y="65"/>
                    </a:cubicBezTo>
                    <a:cubicBezTo>
                      <a:pt x="335" y="65"/>
                      <a:pt x="336" y="65"/>
                      <a:pt x="336" y="65"/>
                    </a:cubicBezTo>
                    <a:cubicBezTo>
                      <a:pt x="335" y="65"/>
                      <a:pt x="334" y="65"/>
                      <a:pt x="334" y="65"/>
                    </a:cubicBezTo>
                    <a:cubicBezTo>
                      <a:pt x="334" y="64"/>
                      <a:pt x="331" y="62"/>
                      <a:pt x="331" y="60"/>
                    </a:cubicBezTo>
                    <a:cubicBezTo>
                      <a:pt x="330" y="60"/>
                      <a:pt x="330" y="60"/>
                      <a:pt x="330" y="60"/>
                    </a:cubicBezTo>
                    <a:cubicBezTo>
                      <a:pt x="330" y="58"/>
                      <a:pt x="330" y="56"/>
                      <a:pt x="330" y="55"/>
                    </a:cubicBezTo>
                    <a:cubicBezTo>
                      <a:pt x="330" y="52"/>
                      <a:pt x="328" y="50"/>
                      <a:pt x="329" y="48"/>
                    </a:cubicBezTo>
                    <a:cubicBezTo>
                      <a:pt x="329" y="47"/>
                      <a:pt x="330" y="48"/>
                      <a:pt x="329" y="46"/>
                    </a:cubicBezTo>
                    <a:cubicBezTo>
                      <a:pt x="328" y="45"/>
                      <a:pt x="329" y="46"/>
                      <a:pt x="329" y="45"/>
                    </a:cubicBezTo>
                    <a:cubicBezTo>
                      <a:pt x="329" y="44"/>
                      <a:pt x="328" y="44"/>
                      <a:pt x="327" y="43"/>
                    </a:cubicBezTo>
                    <a:cubicBezTo>
                      <a:pt x="327" y="43"/>
                      <a:pt x="326" y="43"/>
                      <a:pt x="326" y="42"/>
                    </a:cubicBezTo>
                    <a:cubicBezTo>
                      <a:pt x="325" y="42"/>
                      <a:pt x="324" y="41"/>
                      <a:pt x="323" y="40"/>
                    </a:cubicBezTo>
                    <a:cubicBezTo>
                      <a:pt x="323" y="40"/>
                      <a:pt x="323" y="40"/>
                      <a:pt x="322" y="40"/>
                    </a:cubicBezTo>
                    <a:cubicBezTo>
                      <a:pt x="321" y="39"/>
                      <a:pt x="321" y="38"/>
                      <a:pt x="320" y="37"/>
                    </a:cubicBezTo>
                    <a:cubicBezTo>
                      <a:pt x="320" y="37"/>
                      <a:pt x="319" y="37"/>
                      <a:pt x="319" y="37"/>
                    </a:cubicBezTo>
                    <a:cubicBezTo>
                      <a:pt x="319" y="38"/>
                      <a:pt x="318" y="37"/>
                      <a:pt x="318" y="37"/>
                    </a:cubicBezTo>
                    <a:cubicBezTo>
                      <a:pt x="318" y="37"/>
                      <a:pt x="317" y="38"/>
                      <a:pt x="317" y="39"/>
                    </a:cubicBezTo>
                    <a:cubicBezTo>
                      <a:pt x="316" y="39"/>
                      <a:pt x="315" y="40"/>
                      <a:pt x="314" y="39"/>
                    </a:cubicBezTo>
                    <a:cubicBezTo>
                      <a:pt x="313" y="38"/>
                      <a:pt x="313" y="36"/>
                      <a:pt x="313" y="35"/>
                    </a:cubicBezTo>
                    <a:cubicBezTo>
                      <a:pt x="312" y="32"/>
                      <a:pt x="312" y="29"/>
                      <a:pt x="311" y="27"/>
                    </a:cubicBezTo>
                    <a:cubicBezTo>
                      <a:pt x="311" y="26"/>
                      <a:pt x="310" y="23"/>
                      <a:pt x="311" y="22"/>
                    </a:cubicBezTo>
                    <a:cubicBezTo>
                      <a:pt x="310" y="22"/>
                      <a:pt x="310" y="22"/>
                      <a:pt x="309" y="23"/>
                    </a:cubicBezTo>
                    <a:cubicBezTo>
                      <a:pt x="310" y="21"/>
                      <a:pt x="310" y="20"/>
                      <a:pt x="309" y="19"/>
                    </a:cubicBezTo>
                    <a:cubicBezTo>
                      <a:pt x="308" y="18"/>
                      <a:pt x="308" y="18"/>
                      <a:pt x="307" y="17"/>
                    </a:cubicBezTo>
                    <a:cubicBezTo>
                      <a:pt x="307" y="17"/>
                      <a:pt x="307" y="17"/>
                      <a:pt x="307" y="17"/>
                    </a:cubicBezTo>
                    <a:cubicBezTo>
                      <a:pt x="306" y="16"/>
                      <a:pt x="307" y="14"/>
                      <a:pt x="308" y="13"/>
                    </a:cubicBezTo>
                    <a:cubicBezTo>
                      <a:pt x="307" y="12"/>
                      <a:pt x="305" y="13"/>
                      <a:pt x="304" y="12"/>
                    </a:cubicBezTo>
                    <a:cubicBezTo>
                      <a:pt x="303" y="11"/>
                      <a:pt x="303" y="8"/>
                      <a:pt x="303" y="6"/>
                    </a:cubicBezTo>
                    <a:cubicBezTo>
                      <a:pt x="303" y="5"/>
                      <a:pt x="303" y="1"/>
                      <a:pt x="301" y="3"/>
                    </a:cubicBezTo>
                    <a:cubicBezTo>
                      <a:pt x="301" y="1"/>
                      <a:pt x="302" y="1"/>
                      <a:pt x="301" y="0"/>
                    </a:cubicBezTo>
                    <a:cubicBezTo>
                      <a:pt x="300" y="0"/>
                      <a:pt x="297" y="2"/>
                      <a:pt x="297" y="3"/>
                    </a:cubicBezTo>
                    <a:cubicBezTo>
                      <a:pt x="296" y="6"/>
                      <a:pt x="295" y="10"/>
                      <a:pt x="294" y="14"/>
                    </a:cubicBezTo>
                    <a:cubicBezTo>
                      <a:pt x="294" y="13"/>
                      <a:pt x="294" y="13"/>
                      <a:pt x="294" y="13"/>
                    </a:cubicBezTo>
                    <a:cubicBezTo>
                      <a:pt x="292" y="14"/>
                      <a:pt x="292" y="17"/>
                      <a:pt x="291" y="19"/>
                    </a:cubicBezTo>
                    <a:cubicBezTo>
                      <a:pt x="292" y="18"/>
                      <a:pt x="292" y="18"/>
                      <a:pt x="293" y="19"/>
                    </a:cubicBezTo>
                    <a:cubicBezTo>
                      <a:pt x="294" y="19"/>
                      <a:pt x="295" y="19"/>
                      <a:pt x="294" y="21"/>
                    </a:cubicBezTo>
                    <a:cubicBezTo>
                      <a:pt x="294" y="21"/>
                      <a:pt x="295" y="22"/>
                      <a:pt x="295" y="23"/>
                    </a:cubicBezTo>
                    <a:cubicBezTo>
                      <a:pt x="294" y="22"/>
                      <a:pt x="294" y="20"/>
                      <a:pt x="293" y="21"/>
                    </a:cubicBezTo>
                    <a:cubicBezTo>
                      <a:pt x="293" y="21"/>
                      <a:pt x="294" y="21"/>
                      <a:pt x="293" y="20"/>
                    </a:cubicBezTo>
                    <a:cubicBezTo>
                      <a:pt x="293" y="21"/>
                      <a:pt x="292" y="22"/>
                      <a:pt x="292" y="23"/>
                    </a:cubicBezTo>
                    <a:cubicBezTo>
                      <a:pt x="292" y="24"/>
                      <a:pt x="292" y="25"/>
                      <a:pt x="292" y="26"/>
                    </a:cubicBezTo>
                    <a:cubicBezTo>
                      <a:pt x="292" y="27"/>
                      <a:pt x="291" y="28"/>
                      <a:pt x="291" y="29"/>
                    </a:cubicBezTo>
                    <a:cubicBezTo>
                      <a:pt x="291" y="30"/>
                      <a:pt x="290" y="30"/>
                      <a:pt x="290" y="31"/>
                    </a:cubicBezTo>
                    <a:cubicBezTo>
                      <a:pt x="290" y="31"/>
                      <a:pt x="290" y="32"/>
                      <a:pt x="290" y="32"/>
                    </a:cubicBezTo>
                    <a:cubicBezTo>
                      <a:pt x="290" y="33"/>
                      <a:pt x="290" y="34"/>
                      <a:pt x="291" y="34"/>
                    </a:cubicBezTo>
                    <a:cubicBezTo>
                      <a:pt x="291" y="36"/>
                      <a:pt x="291" y="37"/>
                      <a:pt x="291" y="39"/>
                    </a:cubicBezTo>
                    <a:cubicBezTo>
                      <a:pt x="291" y="40"/>
                      <a:pt x="291" y="41"/>
                      <a:pt x="291" y="43"/>
                    </a:cubicBezTo>
                    <a:cubicBezTo>
                      <a:pt x="291" y="43"/>
                      <a:pt x="292" y="44"/>
                      <a:pt x="292" y="44"/>
                    </a:cubicBezTo>
                    <a:cubicBezTo>
                      <a:pt x="292" y="45"/>
                      <a:pt x="292" y="46"/>
                      <a:pt x="291" y="47"/>
                    </a:cubicBezTo>
                    <a:cubicBezTo>
                      <a:pt x="291" y="50"/>
                      <a:pt x="290" y="52"/>
                      <a:pt x="289" y="54"/>
                    </a:cubicBezTo>
                    <a:cubicBezTo>
                      <a:pt x="289" y="55"/>
                      <a:pt x="289" y="55"/>
                      <a:pt x="289" y="56"/>
                    </a:cubicBezTo>
                    <a:cubicBezTo>
                      <a:pt x="289" y="57"/>
                      <a:pt x="289" y="58"/>
                      <a:pt x="288" y="59"/>
                    </a:cubicBezTo>
                    <a:cubicBezTo>
                      <a:pt x="288" y="61"/>
                      <a:pt x="287" y="63"/>
                      <a:pt x="286" y="65"/>
                    </a:cubicBezTo>
                    <a:cubicBezTo>
                      <a:pt x="285" y="66"/>
                      <a:pt x="285" y="69"/>
                      <a:pt x="283" y="70"/>
                    </a:cubicBezTo>
                    <a:cubicBezTo>
                      <a:pt x="282" y="71"/>
                      <a:pt x="280" y="72"/>
                      <a:pt x="278" y="73"/>
                    </a:cubicBezTo>
                    <a:cubicBezTo>
                      <a:pt x="278" y="73"/>
                      <a:pt x="276" y="73"/>
                      <a:pt x="275" y="73"/>
                    </a:cubicBezTo>
                    <a:cubicBezTo>
                      <a:pt x="274" y="73"/>
                      <a:pt x="272" y="71"/>
                      <a:pt x="271" y="70"/>
                    </a:cubicBezTo>
                    <a:cubicBezTo>
                      <a:pt x="269" y="69"/>
                      <a:pt x="268" y="68"/>
                      <a:pt x="267" y="67"/>
                    </a:cubicBezTo>
                    <a:cubicBezTo>
                      <a:pt x="266" y="67"/>
                      <a:pt x="266" y="66"/>
                      <a:pt x="266" y="66"/>
                    </a:cubicBezTo>
                    <a:cubicBezTo>
                      <a:pt x="265" y="65"/>
                      <a:pt x="265" y="64"/>
                      <a:pt x="263" y="64"/>
                    </a:cubicBezTo>
                    <a:cubicBezTo>
                      <a:pt x="260" y="63"/>
                      <a:pt x="257" y="62"/>
                      <a:pt x="254" y="61"/>
                    </a:cubicBezTo>
                    <a:cubicBezTo>
                      <a:pt x="254" y="61"/>
                      <a:pt x="254" y="61"/>
                      <a:pt x="254" y="61"/>
                    </a:cubicBezTo>
                    <a:cubicBezTo>
                      <a:pt x="254" y="60"/>
                      <a:pt x="250" y="58"/>
                      <a:pt x="249" y="58"/>
                    </a:cubicBezTo>
                    <a:cubicBezTo>
                      <a:pt x="247" y="57"/>
                      <a:pt x="245" y="55"/>
                      <a:pt x="243" y="54"/>
                    </a:cubicBezTo>
                    <a:cubicBezTo>
                      <a:pt x="243" y="54"/>
                      <a:pt x="243" y="55"/>
                      <a:pt x="243" y="55"/>
                    </a:cubicBezTo>
                    <a:cubicBezTo>
                      <a:pt x="242" y="54"/>
                      <a:pt x="242" y="55"/>
                      <a:pt x="241" y="54"/>
                    </a:cubicBezTo>
                    <a:cubicBezTo>
                      <a:pt x="237" y="51"/>
                      <a:pt x="234" y="48"/>
                      <a:pt x="230" y="45"/>
                    </a:cubicBezTo>
                    <a:cubicBezTo>
                      <a:pt x="229" y="45"/>
                      <a:pt x="229" y="45"/>
                      <a:pt x="229" y="44"/>
                    </a:cubicBezTo>
                    <a:cubicBezTo>
                      <a:pt x="228" y="41"/>
                      <a:pt x="230" y="40"/>
                      <a:pt x="231" y="38"/>
                    </a:cubicBezTo>
                    <a:cubicBezTo>
                      <a:pt x="232" y="36"/>
                      <a:pt x="233" y="35"/>
                      <a:pt x="234" y="33"/>
                    </a:cubicBezTo>
                    <a:cubicBezTo>
                      <a:pt x="234" y="32"/>
                      <a:pt x="234" y="31"/>
                      <a:pt x="235" y="31"/>
                    </a:cubicBezTo>
                    <a:cubicBezTo>
                      <a:pt x="234" y="31"/>
                      <a:pt x="234" y="32"/>
                      <a:pt x="233" y="31"/>
                    </a:cubicBezTo>
                    <a:cubicBezTo>
                      <a:pt x="233" y="31"/>
                      <a:pt x="233" y="30"/>
                      <a:pt x="233" y="29"/>
                    </a:cubicBezTo>
                    <a:cubicBezTo>
                      <a:pt x="233" y="28"/>
                      <a:pt x="233" y="27"/>
                      <a:pt x="234" y="27"/>
                    </a:cubicBezTo>
                    <a:cubicBezTo>
                      <a:pt x="235" y="27"/>
                      <a:pt x="237" y="26"/>
                      <a:pt x="238" y="25"/>
                    </a:cubicBezTo>
                    <a:cubicBezTo>
                      <a:pt x="238" y="26"/>
                      <a:pt x="238" y="26"/>
                      <a:pt x="238" y="27"/>
                    </a:cubicBezTo>
                    <a:cubicBezTo>
                      <a:pt x="238" y="27"/>
                      <a:pt x="238" y="26"/>
                      <a:pt x="239" y="26"/>
                    </a:cubicBezTo>
                    <a:cubicBezTo>
                      <a:pt x="239" y="25"/>
                      <a:pt x="239" y="22"/>
                      <a:pt x="241" y="24"/>
                    </a:cubicBezTo>
                    <a:cubicBezTo>
                      <a:pt x="240" y="24"/>
                      <a:pt x="240" y="23"/>
                      <a:pt x="240" y="23"/>
                    </a:cubicBezTo>
                    <a:cubicBezTo>
                      <a:pt x="239" y="23"/>
                      <a:pt x="239" y="22"/>
                      <a:pt x="239" y="22"/>
                    </a:cubicBezTo>
                    <a:cubicBezTo>
                      <a:pt x="240" y="22"/>
                      <a:pt x="240" y="23"/>
                      <a:pt x="241" y="21"/>
                    </a:cubicBezTo>
                    <a:cubicBezTo>
                      <a:pt x="242" y="19"/>
                      <a:pt x="242" y="18"/>
                      <a:pt x="244" y="17"/>
                    </a:cubicBezTo>
                    <a:cubicBezTo>
                      <a:pt x="243" y="16"/>
                      <a:pt x="243" y="16"/>
                      <a:pt x="242" y="15"/>
                    </a:cubicBezTo>
                    <a:cubicBezTo>
                      <a:pt x="241" y="18"/>
                      <a:pt x="240" y="14"/>
                      <a:pt x="239" y="13"/>
                    </a:cubicBezTo>
                    <a:cubicBezTo>
                      <a:pt x="239" y="13"/>
                      <a:pt x="240" y="13"/>
                      <a:pt x="240" y="12"/>
                    </a:cubicBezTo>
                    <a:cubicBezTo>
                      <a:pt x="239" y="13"/>
                      <a:pt x="237" y="14"/>
                      <a:pt x="237" y="15"/>
                    </a:cubicBezTo>
                    <a:cubicBezTo>
                      <a:pt x="235" y="16"/>
                      <a:pt x="237" y="15"/>
                      <a:pt x="238" y="16"/>
                    </a:cubicBezTo>
                    <a:cubicBezTo>
                      <a:pt x="238" y="16"/>
                      <a:pt x="237" y="18"/>
                      <a:pt x="237" y="18"/>
                    </a:cubicBezTo>
                    <a:cubicBezTo>
                      <a:pt x="236" y="19"/>
                      <a:pt x="235" y="17"/>
                      <a:pt x="234" y="17"/>
                    </a:cubicBezTo>
                    <a:cubicBezTo>
                      <a:pt x="234" y="16"/>
                      <a:pt x="235" y="16"/>
                      <a:pt x="235" y="16"/>
                    </a:cubicBezTo>
                    <a:cubicBezTo>
                      <a:pt x="234" y="16"/>
                      <a:pt x="234" y="16"/>
                      <a:pt x="233" y="16"/>
                    </a:cubicBezTo>
                    <a:cubicBezTo>
                      <a:pt x="234" y="15"/>
                      <a:pt x="234" y="15"/>
                      <a:pt x="235" y="14"/>
                    </a:cubicBezTo>
                    <a:cubicBezTo>
                      <a:pt x="233" y="15"/>
                      <a:pt x="232" y="16"/>
                      <a:pt x="231" y="17"/>
                    </a:cubicBezTo>
                    <a:cubicBezTo>
                      <a:pt x="230" y="15"/>
                      <a:pt x="232" y="14"/>
                      <a:pt x="233" y="13"/>
                    </a:cubicBezTo>
                    <a:cubicBezTo>
                      <a:pt x="231" y="13"/>
                      <a:pt x="233" y="13"/>
                      <a:pt x="233" y="12"/>
                    </a:cubicBezTo>
                    <a:cubicBezTo>
                      <a:pt x="233" y="12"/>
                      <a:pt x="234" y="11"/>
                      <a:pt x="233" y="11"/>
                    </a:cubicBezTo>
                    <a:cubicBezTo>
                      <a:pt x="232" y="12"/>
                      <a:pt x="232" y="12"/>
                      <a:pt x="232" y="13"/>
                    </a:cubicBezTo>
                    <a:cubicBezTo>
                      <a:pt x="231" y="13"/>
                      <a:pt x="231" y="13"/>
                      <a:pt x="231" y="13"/>
                    </a:cubicBezTo>
                    <a:cubicBezTo>
                      <a:pt x="230" y="13"/>
                      <a:pt x="229" y="15"/>
                      <a:pt x="230" y="14"/>
                    </a:cubicBezTo>
                    <a:cubicBezTo>
                      <a:pt x="229" y="15"/>
                      <a:pt x="228" y="15"/>
                      <a:pt x="226" y="15"/>
                    </a:cubicBezTo>
                    <a:cubicBezTo>
                      <a:pt x="227" y="16"/>
                      <a:pt x="227" y="16"/>
                      <a:pt x="227" y="16"/>
                    </a:cubicBezTo>
                    <a:cubicBezTo>
                      <a:pt x="226" y="17"/>
                      <a:pt x="225" y="16"/>
                      <a:pt x="223" y="15"/>
                    </a:cubicBezTo>
                    <a:cubicBezTo>
                      <a:pt x="223" y="14"/>
                      <a:pt x="221" y="14"/>
                      <a:pt x="221" y="13"/>
                    </a:cubicBezTo>
                    <a:cubicBezTo>
                      <a:pt x="220" y="14"/>
                      <a:pt x="220" y="14"/>
                      <a:pt x="218" y="14"/>
                    </a:cubicBezTo>
                    <a:cubicBezTo>
                      <a:pt x="217" y="14"/>
                      <a:pt x="216" y="14"/>
                      <a:pt x="216" y="14"/>
                    </a:cubicBezTo>
                    <a:cubicBezTo>
                      <a:pt x="215" y="14"/>
                      <a:pt x="216" y="13"/>
                      <a:pt x="215" y="13"/>
                    </a:cubicBezTo>
                    <a:cubicBezTo>
                      <a:pt x="215" y="12"/>
                      <a:pt x="214" y="12"/>
                      <a:pt x="213" y="11"/>
                    </a:cubicBezTo>
                    <a:cubicBezTo>
                      <a:pt x="214" y="10"/>
                      <a:pt x="211" y="11"/>
                      <a:pt x="210" y="11"/>
                    </a:cubicBezTo>
                    <a:cubicBezTo>
                      <a:pt x="210" y="11"/>
                      <a:pt x="209" y="12"/>
                      <a:pt x="209" y="12"/>
                    </a:cubicBezTo>
                    <a:cubicBezTo>
                      <a:pt x="209" y="10"/>
                      <a:pt x="206" y="10"/>
                      <a:pt x="205" y="9"/>
                    </a:cubicBezTo>
                    <a:cubicBezTo>
                      <a:pt x="204" y="9"/>
                      <a:pt x="204" y="9"/>
                      <a:pt x="204" y="8"/>
                    </a:cubicBezTo>
                    <a:cubicBezTo>
                      <a:pt x="203" y="7"/>
                      <a:pt x="203" y="6"/>
                      <a:pt x="202" y="7"/>
                    </a:cubicBezTo>
                    <a:cubicBezTo>
                      <a:pt x="202" y="8"/>
                      <a:pt x="201" y="8"/>
                      <a:pt x="201" y="8"/>
                    </a:cubicBezTo>
                    <a:cubicBezTo>
                      <a:pt x="200" y="9"/>
                      <a:pt x="199" y="8"/>
                      <a:pt x="199" y="7"/>
                    </a:cubicBezTo>
                    <a:cubicBezTo>
                      <a:pt x="198" y="6"/>
                      <a:pt x="197" y="5"/>
                      <a:pt x="197" y="5"/>
                    </a:cubicBezTo>
                    <a:cubicBezTo>
                      <a:pt x="196" y="5"/>
                      <a:pt x="196" y="5"/>
                      <a:pt x="196" y="6"/>
                    </a:cubicBezTo>
                    <a:cubicBezTo>
                      <a:pt x="196" y="6"/>
                      <a:pt x="195" y="5"/>
                      <a:pt x="195" y="5"/>
                    </a:cubicBezTo>
                    <a:cubicBezTo>
                      <a:pt x="195" y="6"/>
                      <a:pt x="196" y="7"/>
                      <a:pt x="195" y="7"/>
                    </a:cubicBezTo>
                    <a:cubicBezTo>
                      <a:pt x="194" y="5"/>
                      <a:pt x="194" y="4"/>
                      <a:pt x="191" y="5"/>
                    </a:cubicBezTo>
                    <a:cubicBezTo>
                      <a:pt x="192" y="6"/>
                      <a:pt x="192" y="6"/>
                      <a:pt x="193" y="7"/>
                    </a:cubicBezTo>
                    <a:cubicBezTo>
                      <a:pt x="193" y="7"/>
                      <a:pt x="193" y="7"/>
                      <a:pt x="193" y="8"/>
                    </a:cubicBezTo>
                    <a:cubicBezTo>
                      <a:pt x="193" y="8"/>
                      <a:pt x="193" y="7"/>
                      <a:pt x="194" y="8"/>
                    </a:cubicBezTo>
                    <a:cubicBezTo>
                      <a:pt x="194" y="8"/>
                      <a:pt x="193" y="9"/>
                      <a:pt x="194" y="9"/>
                    </a:cubicBezTo>
                    <a:cubicBezTo>
                      <a:pt x="195" y="9"/>
                      <a:pt x="195" y="8"/>
                      <a:pt x="195" y="8"/>
                    </a:cubicBezTo>
                    <a:cubicBezTo>
                      <a:pt x="196" y="8"/>
                      <a:pt x="198" y="8"/>
                      <a:pt x="198" y="8"/>
                    </a:cubicBezTo>
                    <a:cubicBezTo>
                      <a:pt x="199" y="8"/>
                      <a:pt x="199" y="9"/>
                      <a:pt x="199" y="9"/>
                    </a:cubicBezTo>
                    <a:cubicBezTo>
                      <a:pt x="199" y="10"/>
                      <a:pt x="200" y="10"/>
                      <a:pt x="200" y="10"/>
                    </a:cubicBezTo>
                    <a:cubicBezTo>
                      <a:pt x="200" y="10"/>
                      <a:pt x="200" y="12"/>
                      <a:pt x="200" y="13"/>
                    </a:cubicBezTo>
                    <a:cubicBezTo>
                      <a:pt x="200" y="14"/>
                      <a:pt x="200" y="15"/>
                      <a:pt x="201" y="15"/>
                    </a:cubicBezTo>
                    <a:cubicBezTo>
                      <a:pt x="200" y="15"/>
                      <a:pt x="198" y="16"/>
                      <a:pt x="198" y="17"/>
                    </a:cubicBezTo>
                    <a:cubicBezTo>
                      <a:pt x="198" y="17"/>
                      <a:pt x="197" y="17"/>
                      <a:pt x="197" y="17"/>
                    </a:cubicBezTo>
                    <a:cubicBezTo>
                      <a:pt x="197" y="17"/>
                      <a:pt x="197" y="16"/>
                      <a:pt x="197" y="16"/>
                    </a:cubicBezTo>
                    <a:cubicBezTo>
                      <a:pt x="195" y="15"/>
                      <a:pt x="195" y="16"/>
                      <a:pt x="194" y="17"/>
                    </a:cubicBezTo>
                    <a:cubicBezTo>
                      <a:pt x="193" y="17"/>
                      <a:pt x="187" y="17"/>
                      <a:pt x="187" y="16"/>
                    </a:cubicBezTo>
                    <a:cubicBezTo>
                      <a:pt x="186" y="15"/>
                      <a:pt x="186" y="15"/>
                      <a:pt x="186" y="14"/>
                    </a:cubicBezTo>
                    <a:cubicBezTo>
                      <a:pt x="186" y="15"/>
                      <a:pt x="185" y="15"/>
                      <a:pt x="185" y="16"/>
                    </a:cubicBezTo>
                    <a:cubicBezTo>
                      <a:pt x="185" y="16"/>
                      <a:pt x="184" y="15"/>
                      <a:pt x="183" y="15"/>
                    </a:cubicBezTo>
                    <a:cubicBezTo>
                      <a:pt x="183" y="15"/>
                      <a:pt x="183" y="17"/>
                      <a:pt x="183" y="17"/>
                    </a:cubicBezTo>
                    <a:cubicBezTo>
                      <a:pt x="183" y="17"/>
                      <a:pt x="182" y="17"/>
                      <a:pt x="182" y="18"/>
                    </a:cubicBezTo>
                    <a:cubicBezTo>
                      <a:pt x="182" y="18"/>
                      <a:pt x="182" y="18"/>
                      <a:pt x="182" y="19"/>
                    </a:cubicBezTo>
                    <a:cubicBezTo>
                      <a:pt x="182" y="19"/>
                      <a:pt x="182" y="19"/>
                      <a:pt x="183" y="20"/>
                    </a:cubicBezTo>
                    <a:cubicBezTo>
                      <a:pt x="182" y="20"/>
                      <a:pt x="181" y="19"/>
                      <a:pt x="181" y="19"/>
                    </a:cubicBezTo>
                    <a:cubicBezTo>
                      <a:pt x="181" y="19"/>
                      <a:pt x="181" y="19"/>
                      <a:pt x="181" y="18"/>
                    </a:cubicBezTo>
                    <a:cubicBezTo>
                      <a:pt x="180" y="18"/>
                      <a:pt x="180" y="18"/>
                      <a:pt x="180" y="18"/>
                    </a:cubicBezTo>
                    <a:cubicBezTo>
                      <a:pt x="178" y="18"/>
                      <a:pt x="179" y="19"/>
                      <a:pt x="179" y="20"/>
                    </a:cubicBezTo>
                    <a:cubicBezTo>
                      <a:pt x="179" y="20"/>
                      <a:pt x="179" y="20"/>
                      <a:pt x="179" y="21"/>
                    </a:cubicBezTo>
                    <a:cubicBezTo>
                      <a:pt x="178" y="20"/>
                      <a:pt x="178" y="20"/>
                      <a:pt x="177" y="20"/>
                    </a:cubicBezTo>
                    <a:cubicBezTo>
                      <a:pt x="177" y="20"/>
                      <a:pt x="174" y="23"/>
                      <a:pt x="174" y="24"/>
                    </a:cubicBezTo>
                    <a:cubicBezTo>
                      <a:pt x="174" y="25"/>
                      <a:pt x="175" y="27"/>
                      <a:pt x="176" y="27"/>
                    </a:cubicBezTo>
                    <a:cubicBezTo>
                      <a:pt x="175" y="28"/>
                      <a:pt x="174" y="28"/>
                      <a:pt x="173" y="29"/>
                    </a:cubicBezTo>
                    <a:cubicBezTo>
                      <a:pt x="173" y="29"/>
                      <a:pt x="172" y="30"/>
                      <a:pt x="172" y="28"/>
                    </a:cubicBezTo>
                    <a:cubicBezTo>
                      <a:pt x="171" y="30"/>
                      <a:pt x="171" y="31"/>
                      <a:pt x="170" y="32"/>
                    </a:cubicBezTo>
                    <a:cubicBezTo>
                      <a:pt x="170" y="33"/>
                      <a:pt x="169" y="36"/>
                      <a:pt x="169" y="34"/>
                    </a:cubicBezTo>
                    <a:cubicBezTo>
                      <a:pt x="169" y="35"/>
                      <a:pt x="168" y="35"/>
                      <a:pt x="167" y="35"/>
                    </a:cubicBezTo>
                    <a:cubicBezTo>
                      <a:pt x="167" y="35"/>
                      <a:pt x="167" y="36"/>
                      <a:pt x="167" y="37"/>
                    </a:cubicBezTo>
                    <a:cubicBezTo>
                      <a:pt x="166" y="38"/>
                      <a:pt x="167" y="38"/>
                      <a:pt x="168" y="40"/>
                    </a:cubicBezTo>
                    <a:cubicBezTo>
                      <a:pt x="168" y="41"/>
                      <a:pt x="169" y="41"/>
                      <a:pt x="169" y="42"/>
                    </a:cubicBezTo>
                    <a:cubicBezTo>
                      <a:pt x="170" y="43"/>
                      <a:pt x="171" y="43"/>
                      <a:pt x="173" y="43"/>
                    </a:cubicBezTo>
                    <a:cubicBezTo>
                      <a:pt x="171" y="43"/>
                      <a:pt x="169" y="43"/>
                      <a:pt x="169" y="45"/>
                    </a:cubicBezTo>
                    <a:cubicBezTo>
                      <a:pt x="169" y="45"/>
                      <a:pt x="169" y="46"/>
                      <a:pt x="169" y="46"/>
                    </a:cubicBezTo>
                    <a:cubicBezTo>
                      <a:pt x="169" y="46"/>
                      <a:pt x="171" y="47"/>
                      <a:pt x="170" y="47"/>
                    </a:cubicBezTo>
                    <a:cubicBezTo>
                      <a:pt x="169" y="47"/>
                      <a:pt x="168" y="45"/>
                      <a:pt x="168" y="44"/>
                    </a:cubicBezTo>
                    <a:cubicBezTo>
                      <a:pt x="167" y="44"/>
                      <a:pt x="165" y="44"/>
                      <a:pt x="165" y="45"/>
                    </a:cubicBezTo>
                    <a:cubicBezTo>
                      <a:pt x="165" y="45"/>
                      <a:pt x="165" y="46"/>
                      <a:pt x="165" y="46"/>
                    </a:cubicBezTo>
                    <a:cubicBezTo>
                      <a:pt x="165" y="46"/>
                      <a:pt x="165" y="48"/>
                      <a:pt x="164" y="47"/>
                    </a:cubicBezTo>
                    <a:cubicBezTo>
                      <a:pt x="164" y="46"/>
                      <a:pt x="165" y="45"/>
                      <a:pt x="164" y="45"/>
                    </a:cubicBezTo>
                    <a:cubicBezTo>
                      <a:pt x="164" y="44"/>
                      <a:pt x="163" y="44"/>
                      <a:pt x="163" y="43"/>
                    </a:cubicBezTo>
                    <a:cubicBezTo>
                      <a:pt x="163" y="44"/>
                      <a:pt x="163" y="44"/>
                      <a:pt x="163" y="44"/>
                    </a:cubicBezTo>
                    <a:cubicBezTo>
                      <a:pt x="163" y="43"/>
                      <a:pt x="161" y="43"/>
                      <a:pt x="159" y="43"/>
                    </a:cubicBezTo>
                    <a:cubicBezTo>
                      <a:pt x="159" y="43"/>
                      <a:pt x="155" y="42"/>
                      <a:pt x="157" y="43"/>
                    </a:cubicBezTo>
                    <a:cubicBezTo>
                      <a:pt x="156" y="43"/>
                      <a:pt x="158" y="46"/>
                      <a:pt x="156" y="45"/>
                    </a:cubicBezTo>
                    <a:cubicBezTo>
                      <a:pt x="156" y="45"/>
                      <a:pt x="156" y="45"/>
                      <a:pt x="156" y="45"/>
                    </a:cubicBezTo>
                    <a:cubicBezTo>
                      <a:pt x="153" y="44"/>
                      <a:pt x="156" y="48"/>
                      <a:pt x="155" y="49"/>
                    </a:cubicBezTo>
                    <a:cubicBezTo>
                      <a:pt x="155" y="49"/>
                      <a:pt x="154" y="48"/>
                      <a:pt x="153" y="48"/>
                    </a:cubicBezTo>
                    <a:cubicBezTo>
                      <a:pt x="153" y="49"/>
                      <a:pt x="153" y="50"/>
                      <a:pt x="153" y="50"/>
                    </a:cubicBezTo>
                    <a:cubicBezTo>
                      <a:pt x="153" y="48"/>
                      <a:pt x="153" y="47"/>
                      <a:pt x="153" y="45"/>
                    </a:cubicBezTo>
                    <a:cubicBezTo>
                      <a:pt x="153" y="44"/>
                      <a:pt x="153" y="44"/>
                      <a:pt x="154" y="43"/>
                    </a:cubicBezTo>
                    <a:cubicBezTo>
                      <a:pt x="154" y="43"/>
                      <a:pt x="154" y="43"/>
                      <a:pt x="154" y="43"/>
                    </a:cubicBezTo>
                    <a:cubicBezTo>
                      <a:pt x="154" y="42"/>
                      <a:pt x="154" y="42"/>
                      <a:pt x="155" y="42"/>
                    </a:cubicBezTo>
                    <a:cubicBezTo>
                      <a:pt x="155" y="41"/>
                      <a:pt x="153" y="40"/>
                      <a:pt x="153" y="40"/>
                    </a:cubicBezTo>
                    <a:cubicBezTo>
                      <a:pt x="151" y="38"/>
                      <a:pt x="149" y="36"/>
                      <a:pt x="147" y="34"/>
                    </a:cubicBezTo>
                    <a:cubicBezTo>
                      <a:pt x="146" y="33"/>
                      <a:pt x="145" y="34"/>
                      <a:pt x="144" y="34"/>
                    </a:cubicBezTo>
                    <a:cubicBezTo>
                      <a:pt x="143" y="34"/>
                      <a:pt x="144" y="34"/>
                      <a:pt x="143" y="34"/>
                    </a:cubicBezTo>
                    <a:cubicBezTo>
                      <a:pt x="143" y="33"/>
                      <a:pt x="142" y="32"/>
                      <a:pt x="142" y="31"/>
                    </a:cubicBezTo>
                    <a:cubicBezTo>
                      <a:pt x="141" y="32"/>
                      <a:pt x="140" y="36"/>
                      <a:pt x="138" y="36"/>
                    </a:cubicBezTo>
                    <a:cubicBezTo>
                      <a:pt x="138" y="37"/>
                      <a:pt x="137" y="35"/>
                      <a:pt x="137" y="35"/>
                    </a:cubicBezTo>
                    <a:cubicBezTo>
                      <a:pt x="135" y="36"/>
                      <a:pt x="138" y="34"/>
                      <a:pt x="137" y="34"/>
                    </a:cubicBezTo>
                    <a:cubicBezTo>
                      <a:pt x="137" y="33"/>
                      <a:pt x="134" y="36"/>
                      <a:pt x="134" y="36"/>
                    </a:cubicBezTo>
                    <a:cubicBezTo>
                      <a:pt x="134" y="35"/>
                      <a:pt x="133" y="35"/>
                      <a:pt x="134" y="34"/>
                    </a:cubicBezTo>
                    <a:cubicBezTo>
                      <a:pt x="134" y="34"/>
                      <a:pt x="134" y="34"/>
                      <a:pt x="134" y="34"/>
                    </a:cubicBezTo>
                    <a:cubicBezTo>
                      <a:pt x="134" y="34"/>
                      <a:pt x="133" y="34"/>
                      <a:pt x="133" y="34"/>
                    </a:cubicBezTo>
                    <a:cubicBezTo>
                      <a:pt x="133" y="34"/>
                      <a:pt x="133" y="34"/>
                      <a:pt x="133" y="34"/>
                    </a:cubicBezTo>
                    <a:cubicBezTo>
                      <a:pt x="133" y="33"/>
                      <a:pt x="133" y="34"/>
                      <a:pt x="133" y="33"/>
                    </a:cubicBezTo>
                    <a:cubicBezTo>
                      <a:pt x="133" y="33"/>
                      <a:pt x="132" y="33"/>
                      <a:pt x="132" y="33"/>
                    </a:cubicBezTo>
                    <a:cubicBezTo>
                      <a:pt x="132" y="34"/>
                      <a:pt x="133" y="34"/>
                      <a:pt x="133" y="35"/>
                    </a:cubicBezTo>
                    <a:cubicBezTo>
                      <a:pt x="133" y="34"/>
                      <a:pt x="132" y="34"/>
                      <a:pt x="132" y="34"/>
                    </a:cubicBezTo>
                    <a:cubicBezTo>
                      <a:pt x="132" y="36"/>
                      <a:pt x="134" y="35"/>
                      <a:pt x="133" y="37"/>
                    </a:cubicBezTo>
                    <a:cubicBezTo>
                      <a:pt x="133" y="37"/>
                      <a:pt x="132" y="39"/>
                      <a:pt x="132" y="39"/>
                    </a:cubicBezTo>
                    <a:cubicBezTo>
                      <a:pt x="132" y="39"/>
                      <a:pt x="132" y="39"/>
                      <a:pt x="132" y="40"/>
                    </a:cubicBezTo>
                    <a:cubicBezTo>
                      <a:pt x="132" y="40"/>
                      <a:pt x="131" y="40"/>
                      <a:pt x="130" y="40"/>
                    </a:cubicBezTo>
                    <a:cubicBezTo>
                      <a:pt x="130" y="40"/>
                      <a:pt x="130" y="39"/>
                      <a:pt x="130" y="39"/>
                    </a:cubicBezTo>
                    <a:cubicBezTo>
                      <a:pt x="130" y="39"/>
                      <a:pt x="130" y="39"/>
                      <a:pt x="130" y="39"/>
                    </a:cubicBezTo>
                    <a:cubicBezTo>
                      <a:pt x="130" y="39"/>
                      <a:pt x="129" y="39"/>
                      <a:pt x="129" y="39"/>
                    </a:cubicBezTo>
                    <a:cubicBezTo>
                      <a:pt x="129" y="39"/>
                      <a:pt x="129" y="38"/>
                      <a:pt x="128" y="39"/>
                    </a:cubicBezTo>
                    <a:cubicBezTo>
                      <a:pt x="128" y="38"/>
                      <a:pt x="128" y="38"/>
                      <a:pt x="129" y="37"/>
                    </a:cubicBezTo>
                    <a:cubicBezTo>
                      <a:pt x="128" y="37"/>
                      <a:pt x="128" y="37"/>
                      <a:pt x="128" y="38"/>
                    </a:cubicBezTo>
                    <a:cubicBezTo>
                      <a:pt x="128" y="40"/>
                      <a:pt x="127" y="39"/>
                      <a:pt x="126" y="40"/>
                    </a:cubicBezTo>
                    <a:cubicBezTo>
                      <a:pt x="126" y="40"/>
                      <a:pt x="126" y="40"/>
                      <a:pt x="126" y="40"/>
                    </a:cubicBezTo>
                    <a:cubicBezTo>
                      <a:pt x="126" y="40"/>
                      <a:pt x="125" y="40"/>
                      <a:pt x="125" y="40"/>
                    </a:cubicBezTo>
                    <a:cubicBezTo>
                      <a:pt x="125" y="40"/>
                      <a:pt x="125" y="40"/>
                      <a:pt x="125" y="40"/>
                    </a:cubicBezTo>
                    <a:cubicBezTo>
                      <a:pt x="125" y="40"/>
                      <a:pt x="124" y="41"/>
                      <a:pt x="123" y="42"/>
                    </a:cubicBezTo>
                    <a:cubicBezTo>
                      <a:pt x="123" y="42"/>
                      <a:pt x="123" y="43"/>
                      <a:pt x="124" y="43"/>
                    </a:cubicBezTo>
                    <a:cubicBezTo>
                      <a:pt x="124" y="43"/>
                      <a:pt x="124" y="43"/>
                      <a:pt x="124" y="43"/>
                    </a:cubicBezTo>
                    <a:cubicBezTo>
                      <a:pt x="124" y="43"/>
                      <a:pt x="125" y="43"/>
                      <a:pt x="125" y="44"/>
                    </a:cubicBezTo>
                    <a:cubicBezTo>
                      <a:pt x="125" y="44"/>
                      <a:pt x="124" y="44"/>
                      <a:pt x="125" y="45"/>
                    </a:cubicBezTo>
                    <a:cubicBezTo>
                      <a:pt x="125" y="45"/>
                      <a:pt x="125" y="45"/>
                      <a:pt x="125" y="45"/>
                    </a:cubicBezTo>
                    <a:cubicBezTo>
                      <a:pt x="126" y="45"/>
                      <a:pt x="126" y="45"/>
                      <a:pt x="126" y="45"/>
                    </a:cubicBezTo>
                    <a:cubicBezTo>
                      <a:pt x="126" y="45"/>
                      <a:pt x="126" y="46"/>
                      <a:pt x="126" y="46"/>
                    </a:cubicBezTo>
                    <a:cubicBezTo>
                      <a:pt x="126" y="46"/>
                      <a:pt x="126" y="46"/>
                      <a:pt x="126" y="46"/>
                    </a:cubicBezTo>
                    <a:cubicBezTo>
                      <a:pt x="125" y="46"/>
                      <a:pt x="124" y="46"/>
                      <a:pt x="123" y="45"/>
                    </a:cubicBezTo>
                    <a:cubicBezTo>
                      <a:pt x="122" y="46"/>
                      <a:pt x="123" y="44"/>
                      <a:pt x="122" y="44"/>
                    </a:cubicBezTo>
                    <a:cubicBezTo>
                      <a:pt x="122" y="46"/>
                      <a:pt x="122" y="46"/>
                      <a:pt x="122" y="48"/>
                    </a:cubicBezTo>
                    <a:cubicBezTo>
                      <a:pt x="124" y="47"/>
                      <a:pt x="122" y="49"/>
                      <a:pt x="123" y="50"/>
                    </a:cubicBezTo>
                    <a:cubicBezTo>
                      <a:pt x="123" y="50"/>
                      <a:pt x="122" y="50"/>
                      <a:pt x="122" y="50"/>
                    </a:cubicBezTo>
                    <a:cubicBezTo>
                      <a:pt x="121" y="49"/>
                      <a:pt x="122" y="50"/>
                      <a:pt x="121" y="49"/>
                    </a:cubicBezTo>
                    <a:cubicBezTo>
                      <a:pt x="121" y="49"/>
                      <a:pt x="121" y="48"/>
                      <a:pt x="120" y="48"/>
                    </a:cubicBezTo>
                    <a:cubicBezTo>
                      <a:pt x="120" y="48"/>
                      <a:pt x="120" y="48"/>
                      <a:pt x="119" y="48"/>
                    </a:cubicBezTo>
                    <a:cubicBezTo>
                      <a:pt x="118" y="47"/>
                      <a:pt x="118" y="47"/>
                      <a:pt x="118" y="48"/>
                    </a:cubicBezTo>
                    <a:cubicBezTo>
                      <a:pt x="118" y="49"/>
                      <a:pt x="118" y="49"/>
                      <a:pt x="117" y="49"/>
                    </a:cubicBezTo>
                    <a:cubicBezTo>
                      <a:pt x="117" y="49"/>
                      <a:pt x="117" y="50"/>
                      <a:pt x="117" y="50"/>
                    </a:cubicBezTo>
                    <a:cubicBezTo>
                      <a:pt x="117" y="50"/>
                      <a:pt x="115" y="50"/>
                      <a:pt x="115" y="50"/>
                    </a:cubicBezTo>
                    <a:cubicBezTo>
                      <a:pt x="115" y="52"/>
                      <a:pt x="115" y="54"/>
                      <a:pt x="116" y="55"/>
                    </a:cubicBezTo>
                    <a:cubicBezTo>
                      <a:pt x="117" y="54"/>
                      <a:pt x="117" y="53"/>
                      <a:pt x="118" y="53"/>
                    </a:cubicBezTo>
                    <a:cubicBezTo>
                      <a:pt x="118" y="54"/>
                      <a:pt x="117" y="55"/>
                      <a:pt x="117" y="56"/>
                    </a:cubicBezTo>
                    <a:cubicBezTo>
                      <a:pt x="117" y="56"/>
                      <a:pt x="116" y="55"/>
                      <a:pt x="116" y="56"/>
                    </a:cubicBezTo>
                    <a:cubicBezTo>
                      <a:pt x="116" y="56"/>
                      <a:pt x="115" y="58"/>
                      <a:pt x="115" y="58"/>
                    </a:cubicBezTo>
                    <a:cubicBezTo>
                      <a:pt x="116" y="59"/>
                      <a:pt x="116" y="59"/>
                      <a:pt x="117" y="59"/>
                    </a:cubicBezTo>
                    <a:cubicBezTo>
                      <a:pt x="118" y="59"/>
                      <a:pt x="119" y="60"/>
                      <a:pt x="121" y="59"/>
                    </a:cubicBezTo>
                    <a:cubicBezTo>
                      <a:pt x="119" y="59"/>
                      <a:pt x="118" y="59"/>
                      <a:pt x="117" y="59"/>
                    </a:cubicBezTo>
                    <a:cubicBezTo>
                      <a:pt x="117" y="59"/>
                      <a:pt x="116" y="59"/>
                      <a:pt x="116" y="59"/>
                    </a:cubicBezTo>
                    <a:cubicBezTo>
                      <a:pt x="116" y="59"/>
                      <a:pt x="116" y="59"/>
                      <a:pt x="115" y="59"/>
                    </a:cubicBezTo>
                    <a:cubicBezTo>
                      <a:pt x="115" y="59"/>
                      <a:pt x="114" y="60"/>
                      <a:pt x="114" y="59"/>
                    </a:cubicBezTo>
                    <a:cubicBezTo>
                      <a:pt x="113" y="59"/>
                      <a:pt x="113" y="58"/>
                      <a:pt x="113" y="58"/>
                    </a:cubicBezTo>
                    <a:cubicBezTo>
                      <a:pt x="112" y="58"/>
                      <a:pt x="111" y="58"/>
                      <a:pt x="111" y="57"/>
                    </a:cubicBezTo>
                    <a:cubicBezTo>
                      <a:pt x="111" y="58"/>
                      <a:pt x="111" y="59"/>
                      <a:pt x="111" y="59"/>
                    </a:cubicBezTo>
                    <a:cubicBezTo>
                      <a:pt x="111" y="59"/>
                      <a:pt x="110" y="59"/>
                      <a:pt x="110" y="59"/>
                    </a:cubicBezTo>
                    <a:cubicBezTo>
                      <a:pt x="110" y="58"/>
                      <a:pt x="110" y="59"/>
                      <a:pt x="109" y="58"/>
                    </a:cubicBezTo>
                    <a:cubicBezTo>
                      <a:pt x="109" y="58"/>
                      <a:pt x="109" y="58"/>
                      <a:pt x="109" y="58"/>
                    </a:cubicBezTo>
                    <a:cubicBezTo>
                      <a:pt x="109" y="58"/>
                      <a:pt x="109" y="58"/>
                      <a:pt x="109" y="58"/>
                    </a:cubicBezTo>
                    <a:cubicBezTo>
                      <a:pt x="109" y="57"/>
                      <a:pt x="109" y="57"/>
                      <a:pt x="107" y="57"/>
                    </a:cubicBezTo>
                    <a:cubicBezTo>
                      <a:pt x="108" y="58"/>
                      <a:pt x="109" y="59"/>
                      <a:pt x="109" y="59"/>
                    </a:cubicBezTo>
                    <a:cubicBezTo>
                      <a:pt x="108" y="60"/>
                      <a:pt x="107" y="59"/>
                      <a:pt x="106" y="59"/>
                    </a:cubicBezTo>
                    <a:cubicBezTo>
                      <a:pt x="107" y="60"/>
                      <a:pt x="107" y="60"/>
                      <a:pt x="108" y="60"/>
                    </a:cubicBezTo>
                    <a:cubicBezTo>
                      <a:pt x="107" y="61"/>
                      <a:pt x="106" y="60"/>
                      <a:pt x="106" y="60"/>
                    </a:cubicBezTo>
                    <a:cubicBezTo>
                      <a:pt x="106" y="61"/>
                      <a:pt x="107" y="61"/>
                      <a:pt x="107" y="61"/>
                    </a:cubicBezTo>
                    <a:cubicBezTo>
                      <a:pt x="108" y="61"/>
                      <a:pt x="107" y="61"/>
                      <a:pt x="107" y="62"/>
                    </a:cubicBezTo>
                    <a:cubicBezTo>
                      <a:pt x="108" y="63"/>
                      <a:pt x="108" y="63"/>
                      <a:pt x="109" y="63"/>
                    </a:cubicBezTo>
                    <a:cubicBezTo>
                      <a:pt x="109" y="64"/>
                      <a:pt x="109" y="64"/>
                      <a:pt x="109" y="65"/>
                    </a:cubicBezTo>
                    <a:cubicBezTo>
                      <a:pt x="110" y="65"/>
                      <a:pt x="111" y="64"/>
                      <a:pt x="111" y="64"/>
                    </a:cubicBezTo>
                    <a:cubicBezTo>
                      <a:pt x="111" y="65"/>
                      <a:pt x="108" y="67"/>
                      <a:pt x="111" y="68"/>
                    </a:cubicBezTo>
                    <a:cubicBezTo>
                      <a:pt x="110" y="67"/>
                      <a:pt x="108" y="66"/>
                      <a:pt x="108" y="66"/>
                    </a:cubicBezTo>
                    <a:cubicBezTo>
                      <a:pt x="107" y="67"/>
                      <a:pt x="108" y="67"/>
                      <a:pt x="108" y="68"/>
                    </a:cubicBezTo>
                    <a:cubicBezTo>
                      <a:pt x="108" y="68"/>
                      <a:pt x="107" y="69"/>
                      <a:pt x="107" y="69"/>
                    </a:cubicBezTo>
                    <a:cubicBezTo>
                      <a:pt x="107" y="70"/>
                      <a:pt x="107" y="71"/>
                      <a:pt x="107" y="72"/>
                    </a:cubicBezTo>
                    <a:cubicBezTo>
                      <a:pt x="106" y="70"/>
                      <a:pt x="105" y="68"/>
                      <a:pt x="104" y="66"/>
                    </a:cubicBezTo>
                    <a:cubicBezTo>
                      <a:pt x="104" y="65"/>
                      <a:pt x="103" y="65"/>
                      <a:pt x="103" y="65"/>
                    </a:cubicBezTo>
                    <a:cubicBezTo>
                      <a:pt x="103" y="64"/>
                      <a:pt x="102" y="63"/>
                      <a:pt x="102" y="62"/>
                    </a:cubicBezTo>
                    <a:cubicBezTo>
                      <a:pt x="102" y="63"/>
                      <a:pt x="102" y="62"/>
                      <a:pt x="101" y="62"/>
                    </a:cubicBezTo>
                    <a:cubicBezTo>
                      <a:pt x="101" y="61"/>
                      <a:pt x="101" y="62"/>
                      <a:pt x="101" y="61"/>
                    </a:cubicBezTo>
                    <a:cubicBezTo>
                      <a:pt x="101" y="60"/>
                      <a:pt x="101" y="59"/>
                      <a:pt x="101" y="59"/>
                    </a:cubicBezTo>
                    <a:cubicBezTo>
                      <a:pt x="100" y="59"/>
                      <a:pt x="99" y="63"/>
                      <a:pt x="99" y="63"/>
                    </a:cubicBezTo>
                    <a:cubicBezTo>
                      <a:pt x="98" y="64"/>
                      <a:pt x="96" y="63"/>
                      <a:pt x="97" y="65"/>
                    </a:cubicBezTo>
                    <a:cubicBezTo>
                      <a:pt x="94" y="63"/>
                      <a:pt x="92" y="70"/>
                      <a:pt x="92" y="72"/>
                    </a:cubicBezTo>
                    <a:cubicBezTo>
                      <a:pt x="93" y="72"/>
                      <a:pt x="93" y="73"/>
                      <a:pt x="93" y="74"/>
                    </a:cubicBezTo>
                    <a:cubicBezTo>
                      <a:pt x="93" y="75"/>
                      <a:pt x="93" y="75"/>
                      <a:pt x="93" y="76"/>
                    </a:cubicBezTo>
                    <a:cubicBezTo>
                      <a:pt x="94" y="75"/>
                      <a:pt x="95" y="76"/>
                      <a:pt x="95" y="77"/>
                    </a:cubicBezTo>
                    <a:cubicBezTo>
                      <a:pt x="94" y="79"/>
                      <a:pt x="91" y="80"/>
                      <a:pt x="90" y="81"/>
                    </a:cubicBezTo>
                    <a:cubicBezTo>
                      <a:pt x="89" y="81"/>
                      <a:pt x="89" y="81"/>
                      <a:pt x="89" y="83"/>
                    </a:cubicBezTo>
                    <a:cubicBezTo>
                      <a:pt x="89" y="84"/>
                      <a:pt x="88" y="84"/>
                      <a:pt x="87" y="85"/>
                    </a:cubicBezTo>
                    <a:cubicBezTo>
                      <a:pt x="86" y="86"/>
                      <a:pt x="86" y="88"/>
                      <a:pt x="85" y="90"/>
                    </a:cubicBezTo>
                    <a:cubicBezTo>
                      <a:pt x="81" y="95"/>
                      <a:pt x="73" y="96"/>
                      <a:pt x="68" y="97"/>
                    </a:cubicBezTo>
                    <a:cubicBezTo>
                      <a:pt x="67" y="98"/>
                      <a:pt x="67" y="98"/>
                      <a:pt x="66" y="98"/>
                    </a:cubicBezTo>
                    <a:cubicBezTo>
                      <a:pt x="66" y="98"/>
                      <a:pt x="64" y="98"/>
                      <a:pt x="63" y="97"/>
                    </a:cubicBezTo>
                    <a:cubicBezTo>
                      <a:pt x="62" y="97"/>
                      <a:pt x="61" y="98"/>
                      <a:pt x="60" y="99"/>
                    </a:cubicBezTo>
                    <a:cubicBezTo>
                      <a:pt x="58" y="100"/>
                      <a:pt x="57" y="100"/>
                      <a:pt x="55" y="101"/>
                    </a:cubicBezTo>
                    <a:cubicBezTo>
                      <a:pt x="54" y="101"/>
                      <a:pt x="53" y="101"/>
                      <a:pt x="52" y="101"/>
                    </a:cubicBezTo>
                    <a:cubicBezTo>
                      <a:pt x="51" y="102"/>
                      <a:pt x="49" y="103"/>
                      <a:pt x="48" y="104"/>
                    </a:cubicBezTo>
                    <a:cubicBezTo>
                      <a:pt x="47" y="105"/>
                      <a:pt x="45" y="105"/>
                      <a:pt x="43" y="105"/>
                    </a:cubicBezTo>
                    <a:cubicBezTo>
                      <a:pt x="43" y="105"/>
                      <a:pt x="42" y="105"/>
                      <a:pt x="42" y="105"/>
                    </a:cubicBezTo>
                    <a:cubicBezTo>
                      <a:pt x="42" y="104"/>
                      <a:pt x="42" y="104"/>
                      <a:pt x="42" y="104"/>
                    </a:cubicBezTo>
                    <a:cubicBezTo>
                      <a:pt x="41" y="104"/>
                      <a:pt x="36" y="106"/>
                      <a:pt x="38" y="103"/>
                    </a:cubicBezTo>
                    <a:cubicBezTo>
                      <a:pt x="37" y="103"/>
                      <a:pt x="36" y="104"/>
                      <a:pt x="35" y="105"/>
                    </a:cubicBezTo>
                    <a:cubicBezTo>
                      <a:pt x="32" y="107"/>
                      <a:pt x="29" y="109"/>
                      <a:pt x="26" y="111"/>
                    </a:cubicBezTo>
                    <a:cubicBezTo>
                      <a:pt x="24" y="113"/>
                      <a:pt x="21" y="114"/>
                      <a:pt x="18" y="116"/>
                    </a:cubicBezTo>
                    <a:cubicBezTo>
                      <a:pt x="18" y="116"/>
                      <a:pt x="17" y="117"/>
                      <a:pt x="16" y="117"/>
                    </a:cubicBezTo>
                    <a:cubicBezTo>
                      <a:pt x="15" y="118"/>
                      <a:pt x="14" y="121"/>
                      <a:pt x="13" y="123"/>
                    </a:cubicBezTo>
                    <a:cubicBezTo>
                      <a:pt x="13" y="123"/>
                      <a:pt x="13" y="124"/>
                      <a:pt x="13" y="124"/>
                    </a:cubicBezTo>
                    <a:cubicBezTo>
                      <a:pt x="13" y="124"/>
                      <a:pt x="11" y="124"/>
                      <a:pt x="11" y="124"/>
                    </a:cubicBezTo>
                    <a:cubicBezTo>
                      <a:pt x="10" y="122"/>
                      <a:pt x="10" y="119"/>
                      <a:pt x="10" y="117"/>
                    </a:cubicBezTo>
                    <a:cubicBezTo>
                      <a:pt x="8" y="119"/>
                      <a:pt x="8" y="120"/>
                      <a:pt x="7" y="122"/>
                    </a:cubicBezTo>
                    <a:cubicBezTo>
                      <a:pt x="7" y="123"/>
                      <a:pt x="6" y="124"/>
                      <a:pt x="6" y="125"/>
                    </a:cubicBezTo>
                    <a:cubicBezTo>
                      <a:pt x="6" y="126"/>
                      <a:pt x="7" y="128"/>
                      <a:pt x="7" y="129"/>
                    </a:cubicBezTo>
                    <a:cubicBezTo>
                      <a:pt x="7" y="131"/>
                      <a:pt x="7" y="134"/>
                      <a:pt x="7" y="135"/>
                    </a:cubicBezTo>
                    <a:cubicBezTo>
                      <a:pt x="6" y="136"/>
                      <a:pt x="5" y="136"/>
                      <a:pt x="5" y="137"/>
                    </a:cubicBezTo>
                    <a:cubicBezTo>
                      <a:pt x="4" y="138"/>
                      <a:pt x="4" y="139"/>
                      <a:pt x="4" y="140"/>
                    </a:cubicBezTo>
                    <a:cubicBezTo>
                      <a:pt x="3" y="141"/>
                      <a:pt x="3" y="142"/>
                      <a:pt x="3" y="143"/>
                    </a:cubicBezTo>
                    <a:cubicBezTo>
                      <a:pt x="3" y="145"/>
                      <a:pt x="5" y="147"/>
                      <a:pt x="6" y="149"/>
                    </a:cubicBezTo>
                    <a:cubicBezTo>
                      <a:pt x="7" y="152"/>
                      <a:pt x="9" y="155"/>
                      <a:pt x="10" y="158"/>
                    </a:cubicBezTo>
                    <a:cubicBezTo>
                      <a:pt x="10" y="159"/>
                      <a:pt x="11" y="159"/>
                      <a:pt x="11" y="160"/>
                    </a:cubicBezTo>
                    <a:cubicBezTo>
                      <a:pt x="12" y="161"/>
                      <a:pt x="12" y="161"/>
                      <a:pt x="11" y="162"/>
                    </a:cubicBezTo>
                    <a:cubicBezTo>
                      <a:pt x="11" y="164"/>
                      <a:pt x="11" y="165"/>
                      <a:pt x="10" y="166"/>
                    </a:cubicBezTo>
                    <a:cubicBezTo>
                      <a:pt x="8" y="165"/>
                      <a:pt x="8" y="163"/>
                      <a:pt x="8" y="161"/>
                    </a:cubicBezTo>
                    <a:cubicBezTo>
                      <a:pt x="8" y="162"/>
                      <a:pt x="7" y="165"/>
                      <a:pt x="6" y="164"/>
                    </a:cubicBezTo>
                    <a:cubicBezTo>
                      <a:pt x="5" y="163"/>
                      <a:pt x="7" y="161"/>
                      <a:pt x="6" y="160"/>
                    </a:cubicBezTo>
                    <a:cubicBezTo>
                      <a:pt x="6" y="158"/>
                      <a:pt x="4" y="158"/>
                      <a:pt x="4" y="157"/>
                    </a:cubicBezTo>
                    <a:cubicBezTo>
                      <a:pt x="4" y="158"/>
                      <a:pt x="3" y="158"/>
                      <a:pt x="4" y="159"/>
                    </a:cubicBezTo>
                    <a:cubicBezTo>
                      <a:pt x="4" y="161"/>
                      <a:pt x="5" y="163"/>
                      <a:pt x="7" y="164"/>
                    </a:cubicBezTo>
                    <a:cubicBezTo>
                      <a:pt x="7" y="165"/>
                      <a:pt x="7" y="165"/>
                      <a:pt x="7" y="165"/>
                    </a:cubicBezTo>
                    <a:cubicBezTo>
                      <a:pt x="8" y="165"/>
                      <a:pt x="8" y="166"/>
                      <a:pt x="8" y="166"/>
                    </a:cubicBezTo>
                    <a:cubicBezTo>
                      <a:pt x="8" y="167"/>
                      <a:pt x="8" y="168"/>
                      <a:pt x="7" y="169"/>
                    </a:cubicBezTo>
                    <a:cubicBezTo>
                      <a:pt x="7" y="169"/>
                      <a:pt x="7" y="168"/>
                      <a:pt x="7" y="168"/>
                    </a:cubicBezTo>
                    <a:cubicBezTo>
                      <a:pt x="6" y="169"/>
                      <a:pt x="5" y="169"/>
                      <a:pt x="5" y="167"/>
                    </a:cubicBezTo>
                    <a:cubicBezTo>
                      <a:pt x="5" y="168"/>
                      <a:pt x="5" y="168"/>
                      <a:pt x="5" y="169"/>
                    </a:cubicBezTo>
                    <a:cubicBezTo>
                      <a:pt x="4" y="168"/>
                      <a:pt x="5" y="166"/>
                      <a:pt x="4" y="165"/>
                    </a:cubicBezTo>
                    <a:cubicBezTo>
                      <a:pt x="4" y="165"/>
                      <a:pt x="4" y="166"/>
                      <a:pt x="4" y="166"/>
                    </a:cubicBezTo>
                    <a:cubicBezTo>
                      <a:pt x="4" y="165"/>
                      <a:pt x="4" y="164"/>
                      <a:pt x="3" y="163"/>
                    </a:cubicBezTo>
                    <a:cubicBezTo>
                      <a:pt x="3" y="164"/>
                      <a:pt x="3" y="164"/>
                      <a:pt x="3" y="164"/>
                    </a:cubicBezTo>
                    <a:cubicBezTo>
                      <a:pt x="3" y="163"/>
                      <a:pt x="3" y="163"/>
                      <a:pt x="3" y="162"/>
                    </a:cubicBezTo>
                    <a:cubicBezTo>
                      <a:pt x="3" y="163"/>
                      <a:pt x="2" y="165"/>
                      <a:pt x="3" y="166"/>
                    </a:cubicBezTo>
                    <a:cubicBezTo>
                      <a:pt x="2" y="165"/>
                      <a:pt x="2" y="163"/>
                      <a:pt x="2" y="162"/>
                    </a:cubicBezTo>
                    <a:cubicBezTo>
                      <a:pt x="2" y="163"/>
                      <a:pt x="2" y="164"/>
                      <a:pt x="2" y="164"/>
                    </a:cubicBezTo>
                    <a:cubicBezTo>
                      <a:pt x="1" y="164"/>
                      <a:pt x="1" y="164"/>
                      <a:pt x="0" y="164"/>
                    </a:cubicBezTo>
                    <a:cubicBezTo>
                      <a:pt x="2" y="166"/>
                      <a:pt x="4" y="169"/>
                      <a:pt x="6" y="172"/>
                    </a:cubicBezTo>
                    <a:cubicBezTo>
                      <a:pt x="7" y="173"/>
                      <a:pt x="8" y="174"/>
                      <a:pt x="9" y="176"/>
                    </a:cubicBezTo>
                    <a:cubicBezTo>
                      <a:pt x="10" y="177"/>
                      <a:pt x="10" y="178"/>
                      <a:pt x="10" y="179"/>
                    </a:cubicBezTo>
                    <a:cubicBezTo>
                      <a:pt x="10" y="181"/>
                      <a:pt x="10" y="183"/>
                      <a:pt x="11" y="184"/>
                    </a:cubicBezTo>
                    <a:cubicBezTo>
                      <a:pt x="12" y="189"/>
                      <a:pt x="17" y="192"/>
                      <a:pt x="18" y="197"/>
                    </a:cubicBezTo>
                    <a:cubicBezTo>
                      <a:pt x="19" y="200"/>
                      <a:pt x="19" y="204"/>
                      <a:pt x="19" y="207"/>
                    </a:cubicBezTo>
                    <a:cubicBezTo>
                      <a:pt x="20" y="210"/>
                      <a:pt x="21" y="213"/>
                      <a:pt x="22" y="216"/>
                    </a:cubicBezTo>
                    <a:cubicBezTo>
                      <a:pt x="23" y="219"/>
                      <a:pt x="25" y="222"/>
                      <a:pt x="26" y="226"/>
                    </a:cubicBezTo>
                    <a:cubicBezTo>
                      <a:pt x="27" y="225"/>
                      <a:pt x="27" y="225"/>
                      <a:pt x="28" y="225"/>
                    </a:cubicBezTo>
                    <a:cubicBezTo>
                      <a:pt x="30" y="225"/>
                      <a:pt x="31" y="226"/>
                      <a:pt x="31" y="228"/>
                    </a:cubicBezTo>
                    <a:cubicBezTo>
                      <a:pt x="31" y="229"/>
                      <a:pt x="30" y="231"/>
                      <a:pt x="28" y="231"/>
                    </a:cubicBezTo>
                    <a:cubicBezTo>
                      <a:pt x="28" y="231"/>
                      <a:pt x="28" y="231"/>
                      <a:pt x="27" y="231"/>
                    </a:cubicBezTo>
                    <a:cubicBezTo>
                      <a:pt x="27" y="233"/>
                      <a:pt x="27" y="236"/>
                      <a:pt x="27" y="238"/>
                    </a:cubicBezTo>
                    <a:cubicBezTo>
                      <a:pt x="26" y="237"/>
                      <a:pt x="26" y="236"/>
                      <a:pt x="26" y="235"/>
                    </a:cubicBezTo>
                    <a:cubicBezTo>
                      <a:pt x="25" y="236"/>
                      <a:pt x="26" y="237"/>
                      <a:pt x="26" y="238"/>
                    </a:cubicBezTo>
                    <a:cubicBezTo>
                      <a:pt x="26" y="240"/>
                      <a:pt x="27" y="243"/>
                      <a:pt x="25" y="245"/>
                    </a:cubicBezTo>
                    <a:cubicBezTo>
                      <a:pt x="24" y="246"/>
                      <a:pt x="21" y="247"/>
                      <a:pt x="20" y="247"/>
                    </a:cubicBezTo>
                    <a:cubicBezTo>
                      <a:pt x="20" y="247"/>
                      <a:pt x="20" y="246"/>
                      <a:pt x="20" y="246"/>
                    </a:cubicBezTo>
                    <a:cubicBezTo>
                      <a:pt x="19" y="248"/>
                      <a:pt x="19" y="251"/>
                      <a:pt x="19" y="253"/>
                    </a:cubicBezTo>
                    <a:cubicBezTo>
                      <a:pt x="19" y="253"/>
                      <a:pt x="20" y="254"/>
                      <a:pt x="20" y="254"/>
                    </a:cubicBezTo>
                    <a:cubicBezTo>
                      <a:pt x="20" y="255"/>
                      <a:pt x="22" y="256"/>
                      <a:pt x="23" y="256"/>
                    </a:cubicBezTo>
                    <a:cubicBezTo>
                      <a:pt x="26" y="258"/>
                      <a:pt x="28" y="258"/>
                      <a:pt x="30" y="260"/>
                    </a:cubicBezTo>
                    <a:cubicBezTo>
                      <a:pt x="31" y="262"/>
                      <a:pt x="34" y="263"/>
                      <a:pt x="36" y="263"/>
                    </a:cubicBezTo>
                    <a:cubicBezTo>
                      <a:pt x="38" y="264"/>
                      <a:pt x="40" y="263"/>
                      <a:pt x="42" y="263"/>
                    </a:cubicBezTo>
                    <a:cubicBezTo>
                      <a:pt x="45" y="264"/>
                      <a:pt x="47" y="264"/>
                      <a:pt x="50" y="264"/>
                    </a:cubicBezTo>
                    <a:cubicBezTo>
                      <a:pt x="50" y="264"/>
                      <a:pt x="49" y="264"/>
                      <a:pt x="48" y="263"/>
                    </a:cubicBezTo>
                    <a:cubicBezTo>
                      <a:pt x="50" y="263"/>
                      <a:pt x="52" y="263"/>
                      <a:pt x="53" y="263"/>
                    </a:cubicBezTo>
                    <a:cubicBezTo>
                      <a:pt x="56" y="261"/>
                      <a:pt x="58" y="259"/>
                      <a:pt x="60" y="257"/>
                    </a:cubicBezTo>
                    <a:cubicBezTo>
                      <a:pt x="61" y="256"/>
                      <a:pt x="63" y="258"/>
                      <a:pt x="63" y="258"/>
                    </a:cubicBezTo>
                    <a:cubicBezTo>
                      <a:pt x="63" y="257"/>
                      <a:pt x="64" y="257"/>
                      <a:pt x="64" y="257"/>
                    </a:cubicBezTo>
                    <a:cubicBezTo>
                      <a:pt x="66" y="256"/>
                      <a:pt x="65" y="256"/>
                      <a:pt x="65" y="255"/>
                    </a:cubicBezTo>
                    <a:cubicBezTo>
                      <a:pt x="66" y="253"/>
                      <a:pt x="68" y="252"/>
                      <a:pt x="70" y="252"/>
                    </a:cubicBezTo>
                    <a:cubicBezTo>
                      <a:pt x="73" y="251"/>
                      <a:pt x="76" y="250"/>
                      <a:pt x="79" y="250"/>
                    </a:cubicBezTo>
                    <a:cubicBezTo>
                      <a:pt x="82" y="250"/>
                      <a:pt x="85" y="249"/>
                      <a:pt x="88" y="250"/>
                    </a:cubicBezTo>
                    <a:cubicBezTo>
                      <a:pt x="90" y="250"/>
                      <a:pt x="91" y="249"/>
                      <a:pt x="92" y="251"/>
                    </a:cubicBezTo>
                    <a:cubicBezTo>
                      <a:pt x="92" y="252"/>
                      <a:pt x="91" y="251"/>
                      <a:pt x="92" y="252"/>
                    </a:cubicBezTo>
                    <a:cubicBezTo>
                      <a:pt x="94" y="252"/>
                      <a:pt x="97" y="251"/>
                      <a:pt x="98" y="251"/>
                    </a:cubicBezTo>
                    <a:cubicBezTo>
                      <a:pt x="99" y="250"/>
                      <a:pt x="101" y="250"/>
                      <a:pt x="102" y="250"/>
                    </a:cubicBezTo>
                    <a:cubicBezTo>
                      <a:pt x="103" y="250"/>
                      <a:pt x="102" y="251"/>
                      <a:pt x="103" y="251"/>
                    </a:cubicBezTo>
                    <a:cubicBezTo>
                      <a:pt x="103" y="252"/>
                      <a:pt x="105" y="251"/>
                      <a:pt x="106" y="250"/>
                    </a:cubicBezTo>
                    <a:cubicBezTo>
                      <a:pt x="106" y="250"/>
                      <a:pt x="106" y="251"/>
                      <a:pt x="107" y="250"/>
                    </a:cubicBezTo>
                    <a:cubicBezTo>
                      <a:pt x="108" y="250"/>
                      <a:pt x="109" y="248"/>
                      <a:pt x="110" y="247"/>
                    </a:cubicBezTo>
                    <a:cubicBezTo>
                      <a:pt x="111" y="246"/>
                      <a:pt x="112" y="245"/>
                      <a:pt x="112" y="244"/>
                    </a:cubicBezTo>
                    <a:cubicBezTo>
                      <a:pt x="112" y="243"/>
                      <a:pt x="113" y="241"/>
                      <a:pt x="114" y="240"/>
                    </a:cubicBezTo>
                    <a:cubicBezTo>
                      <a:pt x="117" y="239"/>
                      <a:pt x="120" y="237"/>
                      <a:pt x="124" y="236"/>
                    </a:cubicBezTo>
                    <a:cubicBezTo>
                      <a:pt x="125" y="235"/>
                      <a:pt x="127" y="235"/>
                      <a:pt x="128" y="234"/>
                    </a:cubicBezTo>
                    <a:cubicBezTo>
                      <a:pt x="129" y="233"/>
                      <a:pt x="130" y="233"/>
                      <a:pt x="131" y="232"/>
                    </a:cubicBezTo>
                    <a:cubicBezTo>
                      <a:pt x="133" y="231"/>
                      <a:pt x="135" y="232"/>
                      <a:pt x="138" y="232"/>
                    </a:cubicBezTo>
                    <a:cubicBezTo>
                      <a:pt x="140" y="232"/>
                      <a:pt x="143" y="232"/>
                      <a:pt x="145" y="232"/>
                    </a:cubicBezTo>
                    <a:cubicBezTo>
                      <a:pt x="151" y="230"/>
                      <a:pt x="157" y="227"/>
                      <a:pt x="162" y="225"/>
                    </a:cubicBezTo>
                    <a:cubicBezTo>
                      <a:pt x="163" y="225"/>
                      <a:pt x="163" y="225"/>
                      <a:pt x="163" y="225"/>
                    </a:cubicBezTo>
                    <a:cubicBezTo>
                      <a:pt x="163" y="225"/>
                      <a:pt x="163" y="225"/>
                      <a:pt x="163" y="225"/>
                    </a:cubicBezTo>
                    <a:cubicBezTo>
                      <a:pt x="166" y="225"/>
                      <a:pt x="169" y="224"/>
                      <a:pt x="173" y="224"/>
                    </a:cubicBezTo>
                    <a:cubicBezTo>
                      <a:pt x="176" y="224"/>
                      <a:pt x="179" y="225"/>
                      <a:pt x="182" y="224"/>
                    </a:cubicBezTo>
                    <a:cubicBezTo>
                      <a:pt x="184" y="223"/>
                      <a:pt x="184" y="223"/>
                      <a:pt x="186" y="224"/>
                    </a:cubicBezTo>
                    <a:cubicBezTo>
                      <a:pt x="189" y="225"/>
                      <a:pt x="192" y="226"/>
                      <a:pt x="194" y="228"/>
                    </a:cubicBezTo>
                    <a:cubicBezTo>
                      <a:pt x="194" y="228"/>
                      <a:pt x="195" y="229"/>
                      <a:pt x="195" y="229"/>
                    </a:cubicBezTo>
                    <a:cubicBezTo>
                      <a:pt x="196" y="229"/>
                      <a:pt x="197" y="228"/>
                      <a:pt x="199" y="228"/>
                    </a:cubicBezTo>
                    <a:cubicBezTo>
                      <a:pt x="200" y="228"/>
                      <a:pt x="201" y="228"/>
                      <a:pt x="202" y="229"/>
                    </a:cubicBezTo>
                    <a:cubicBezTo>
                      <a:pt x="204" y="229"/>
                      <a:pt x="205" y="230"/>
                      <a:pt x="207" y="231"/>
                    </a:cubicBezTo>
                    <a:cubicBezTo>
                      <a:pt x="208" y="231"/>
                      <a:pt x="208" y="230"/>
                      <a:pt x="209" y="230"/>
                    </a:cubicBezTo>
                    <a:cubicBezTo>
                      <a:pt x="209" y="230"/>
                      <a:pt x="209" y="230"/>
                      <a:pt x="210" y="230"/>
                    </a:cubicBezTo>
                    <a:cubicBezTo>
                      <a:pt x="211" y="230"/>
                      <a:pt x="212" y="233"/>
                      <a:pt x="213" y="233"/>
                    </a:cubicBezTo>
                    <a:cubicBezTo>
                      <a:pt x="212" y="233"/>
                      <a:pt x="212" y="234"/>
                      <a:pt x="212" y="235"/>
                    </a:cubicBezTo>
                    <a:cubicBezTo>
                      <a:pt x="213" y="235"/>
                      <a:pt x="214" y="234"/>
                      <a:pt x="216" y="234"/>
                    </a:cubicBezTo>
                    <a:cubicBezTo>
                      <a:pt x="216" y="235"/>
                      <a:pt x="216" y="237"/>
                      <a:pt x="216" y="238"/>
                    </a:cubicBezTo>
                    <a:cubicBezTo>
                      <a:pt x="216" y="238"/>
                      <a:pt x="214" y="236"/>
                      <a:pt x="214" y="237"/>
                    </a:cubicBezTo>
                    <a:cubicBezTo>
                      <a:pt x="215" y="239"/>
                      <a:pt x="214" y="238"/>
                      <a:pt x="214" y="239"/>
                    </a:cubicBezTo>
                    <a:cubicBezTo>
                      <a:pt x="214" y="240"/>
                      <a:pt x="216" y="241"/>
                      <a:pt x="216" y="242"/>
                    </a:cubicBezTo>
                    <a:cubicBezTo>
                      <a:pt x="217" y="243"/>
                      <a:pt x="219" y="243"/>
                      <a:pt x="220" y="243"/>
                    </a:cubicBezTo>
                    <a:cubicBezTo>
                      <a:pt x="220" y="242"/>
                      <a:pt x="220" y="242"/>
                      <a:pt x="220" y="242"/>
                    </a:cubicBezTo>
                    <a:cubicBezTo>
                      <a:pt x="221" y="244"/>
                      <a:pt x="221" y="246"/>
                      <a:pt x="222" y="247"/>
                    </a:cubicBezTo>
                    <a:cubicBezTo>
                      <a:pt x="224" y="249"/>
                      <a:pt x="226" y="250"/>
                      <a:pt x="226" y="252"/>
                    </a:cubicBezTo>
                    <a:cubicBezTo>
                      <a:pt x="226" y="252"/>
                      <a:pt x="226" y="253"/>
                      <a:pt x="226" y="253"/>
                    </a:cubicBezTo>
                    <a:cubicBezTo>
                      <a:pt x="227" y="253"/>
                      <a:pt x="226" y="253"/>
                      <a:pt x="226" y="253"/>
                    </a:cubicBezTo>
                    <a:cubicBezTo>
                      <a:pt x="226" y="254"/>
                      <a:pt x="227" y="254"/>
                      <a:pt x="227" y="254"/>
                    </a:cubicBezTo>
                    <a:cubicBezTo>
                      <a:pt x="228" y="255"/>
                      <a:pt x="227" y="258"/>
                      <a:pt x="228" y="259"/>
                    </a:cubicBezTo>
                    <a:cubicBezTo>
                      <a:pt x="228" y="259"/>
                      <a:pt x="227" y="258"/>
                      <a:pt x="227" y="258"/>
                    </a:cubicBezTo>
                    <a:cubicBezTo>
                      <a:pt x="226" y="258"/>
                      <a:pt x="226" y="257"/>
                      <a:pt x="226" y="257"/>
                    </a:cubicBezTo>
                    <a:cubicBezTo>
                      <a:pt x="226" y="257"/>
                      <a:pt x="225" y="258"/>
                      <a:pt x="225" y="258"/>
                    </a:cubicBezTo>
                    <a:cubicBezTo>
                      <a:pt x="225" y="259"/>
                      <a:pt x="226" y="259"/>
                      <a:pt x="227" y="259"/>
                    </a:cubicBezTo>
                    <a:cubicBezTo>
                      <a:pt x="227" y="260"/>
                      <a:pt x="228" y="259"/>
                      <a:pt x="228" y="260"/>
                    </a:cubicBezTo>
                    <a:cubicBezTo>
                      <a:pt x="228" y="260"/>
                      <a:pt x="229" y="260"/>
                      <a:pt x="229" y="261"/>
                    </a:cubicBezTo>
                    <a:cubicBezTo>
                      <a:pt x="229" y="261"/>
                      <a:pt x="230" y="262"/>
                      <a:pt x="230" y="262"/>
                    </a:cubicBezTo>
                    <a:cubicBezTo>
                      <a:pt x="231" y="262"/>
                      <a:pt x="232" y="262"/>
                      <a:pt x="233" y="262"/>
                    </a:cubicBezTo>
                    <a:cubicBezTo>
                      <a:pt x="233" y="262"/>
                      <a:pt x="233" y="262"/>
                      <a:pt x="233" y="263"/>
                    </a:cubicBezTo>
                    <a:cubicBezTo>
                      <a:pt x="234" y="263"/>
                      <a:pt x="233" y="263"/>
                      <a:pt x="234" y="263"/>
                    </a:cubicBezTo>
                    <a:cubicBezTo>
                      <a:pt x="234" y="263"/>
                      <a:pt x="234" y="261"/>
                      <a:pt x="233" y="260"/>
                    </a:cubicBezTo>
                    <a:cubicBezTo>
                      <a:pt x="233" y="261"/>
                      <a:pt x="233" y="261"/>
                      <a:pt x="232" y="261"/>
                    </a:cubicBezTo>
                    <a:cubicBezTo>
                      <a:pt x="234" y="257"/>
                      <a:pt x="237" y="254"/>
                      <a:pt x="240" y="251"/>
                    </a:cubicBezTo>
                    <a:cubicBezTo>
                      <a:pt x="241" y="249"/>
                      <a:pt x="244" y="249"/>
                      <a:pt x="245" y="248"/>
                    </a:cubicBezTo>
                    <a:cubicBezTo>
                      <a:pt x="246" y="248"/>
                      <a:pt x="247" y="247"/>
                      <a:pt x="247" y="246"/>
                    </a:cubicBezTo>
                    <a:cubicBezTo>
                      <a:pt x="248" y="244"/>
                      <a:pt x="249" y="242"/>
                      <a:pt x="250" y="240"/>
                    </a:cubicBezTo>
                    <a:cubicBezTo>
                      <a:pt x="251" y="239"/>
                      <a:pt x="251" y="240"/>
                      <a:pt x="252" y="239"/>
                    </a:cubicBezTo>
                    <a:cubicBezTo>
                      <a:pt x="252" y="238"/>
                      <a:pt x="252" y="238"/>
                      <a:pt x="252" y="237"/>
                    </a:cubicBezTo>
                    <a:cubicBezTo>
                      <a:pt x="252" y="237"/>
                      <a:pt x="252" y="236"/>
                      <a:pt x="252" y="236"/>
                    </a:cubicBezTo>
                    <a:cubicBezTo>
                      <a:pt x="252" y="236"/>
                      <a:pt x="252" y="235"/>
                      <a:pt x="252" y="235"/>
                    </a:cubicBezTo>
                    <a:cubicBezTo>
                      <a:pt x="253" y="236"/>
                      <a:pt x="253" y="237"/>
                      <a:pt x="254" y="238"/>
                    </a:cubicBezTo>
                    <a:cubicBezTo>
                      <a:pt x="254" y="239"/>
                      <a:pt x="254" y="240"/>
                      <a:pt x="255" y="241"/>
                    </a:cubicBezTo>
                    <a:cubicBezTo>
                      <a:pt x="255" y="241"/>
                      <a:pt x="254" y="242"/>
                      <a:pt x="253" y="242"/>
                    </a:cubicBezTo>
                    <a:cubicBezTo>
                      <a:pt x="253" y="242"/>
                      <a:pt x="253" y="242"/>
                      <a:pt x="253" y="243"/>
                    </a:cubicBezTo>
                    <a:cubicBezTo>
                      <a:pt x="252" y="243"/>
                      <a:pt x="254" y="244"/>
                      <a:pt x="253" y="245"/>
                    </a:cubicBezTo>
                    <a:cubicBezTo>
                      <a:pt x="253" y="247"/>
                      <a:pt x="253" y="248"/>
                      <a:pt x="252" y="249"/>
                    </a:cubicBezTo>
                    <a:cubicBezTo>
                      <a:pt x="251" y="250"/>
                      <a:pt x="250" y="251"/>
                      <a:pt x="250" y="252"/>
                    </a:cubicBezTo>
                    <a:cubicBezTo>
                      <a:pt x="249" y="255"/>
                      <a:pt x="250" y="259"/>
                      <a:pt x="249" y="261"/>
                    </a:cubicBezTo>
                    <a:cubicBezTo>
                      <a:pt x="248" y="263"/>
                      <a:pt x="247" y="262"/>
                      <a:pt x="245" y="262"/>
                    </a:cubicBezTo>
                    <a:cubicBezTo>
                      <a:pt x="244" y="262"/>
                      <a:pt x="245" y="262"/>
                      <a:pt x="244" y="262"/>
                    </a:cubicBezTo>
                    <a:cubicBezTo>
                      <a:pt x="244" y="263"/>
                      <a:pt x="244" y="264"/>
                      <a:pt x="244" y="264"/>
                    </a:cubicBezTo>
                    <a:cubicBezTo>
                      <a:pt x="244" y="265"/>
                      <a:pt x="243" y="265"/>
                      <a:pt x="243" y="266"/>
                    </a:cubicBezTo>
                    <a:cubicBezTo>
                      <a:pt x="245" y="266"/>
                      <a:pt x="247" y="265"/>
                      <a:pt x="249" y="264"/>
                    </a:cubicBezTo>
                    <a:cubicBezTo>
                      <a:pt x="250" y="264"/>
                      <a:pt x="251" y="266"/>
                      <a:pt x="252" y="265"/>
                    </a:cubicBezTo>
                    <a:cubicBezTo>
                      <a:pt x="253" y="264"/>
                      <a:pt x="253" y="261"/>
                      <a:pt x="253" y="260"/>
                    </a:cubicBezTo>
                    <a:cubicBezTo>
                      <a:pt x="253" y="258"/>
                      <a:pt x="254" y="256"/>
                      <a:pt x="255" y="254"/>
                    </a:cubicBezTo>
                    <a:cubicBezTo>
                      <a:pt x="255" y="254"/>
                      <a:pt x="255" y="253"/>
                      <a:pt x="256" y="253"/>
                    </a:cubicBezTo>
                    <a:cubicBezTo>
                      <a:pt x="256" y="255"/>
                      <a:pt x="257" y="256"/>
                      <a:pt x="258" y="257"/>
                    </a:cubicBezTo>
                    <a:cubicBezTo>
                      <a:pt x="258" y="258"/>
                      <a:pt x="259" y="259"/>
                      <a:pt x="259" y="259"/>
                    </a:cubicBezTo>
                    <a:cubicBezTo>
                      <a:pt x="259" y="260"/>
                      <a:pt x="260" y="260"/>
                      <a:pt x="260" y="260"/>
                    </a:cubicBezTo>
                    <a:cubicBezTo>
                      <a:pt x="260" y="261"/>
                      <a:pt x="260" y="263"/>
                      <a:pt x="259" y="264"/>
                    </a:cubicBezTo>
                    <a:cubicBezTo>
                      <a:pt x="259" y="266"/>
                      <a:pt x="259" y="267"/>
                      <a:pt x="258" y="268"/>
                    </a:cubicBezTo>
                    <a:cubicBezTo>
                      <a:pt x="257" y="269"/>
                      <a:pt x="256" y="269"/>
                      <a:pt x="255" y="270"/>
                    </a:cubicBezTo>
                    <a:cubicBezTo>
                      <a:pt x="256" y="270"/>
                      <a:pt x="257" y="270"/>
                      <a:pt x="258" y="271"/>
                    </a:cubicBezTo>
                    <a:cubicBezTo>
                      <a:pt x="259" y="271"/>
                      <a:pt x="260" y="270"/>
                      <a:pt x="261" y="270"/>
                    </a:cubicBezTo>
                    <a:cubicBezTo>
                      <a:pt x="262" y="269"/>
                      <a:pt x="264" y="269"/>
                      <a:pt x="265" y="268"/>
                    </a:cubicBezTo>
                    <a:cubicBezTo>
                      <a:pt x="266" y="268"/>
                      <a:pt x="266" y="267"/>
                      <a:pt x="268" y="267"/>
                    </a:cubicBezTo>
                    <a:cubicBezTo>
                      <a:pt x="267" y="268"/>
                      <a:pt x="267" y="269"/>
                      <a:pt x="267" y="270"/>
                    </a:cubicBezTo>
                    <a:cubicBezTo>
                      <a:pt x="267" y="270"/>
                      <a:pt x="267" y="271"/>
                      <a:pt x="267" y="271"/>
                    </a:cubicBezTo>
                    <a:cubicBezTo>
                      <a:pt x="267" y="271"/>
                      <a:pt x="267" y="270"/>
                      <a:pt x="267" y="270"/>
                    </a:cubicBezTo>
                    <a:cubicBezTo>
                      <a:pt x="267" y="268"/>
                      <a:pt x="265" y="270"/>
                      <a:pt x="265" y="270"/>
                    </a:cubicBezTo>
                    <a:cubicBezTo>
                      <a:pt x="266" y="270"/>
                      <a:pt x="266" y="271"/>
                      <a:pt x="267" y="271"/>
                    </a:cubicBezTo>
                    <a:cubicBezTo>
                      <a:pt x="265" y="270"/>
                      <a:pt x="264" y="270"/>
                      <a:pt x="264" y="270"/>
                    </a:cubicBezTo>
                    <a:cubicBezTo>
                      <a:pt x="265" y="271"/>
                      <a:pt x="267" y="273"/>
                      <a:pt x="268" y="274"/>
                    </a:cubicBezTo>
                    <a:cubicBezTo>
                      <a:pt x="270" y="276"/>
                      <a:pt x="271" y="277"/>
                      <a:pt x="272" y="279"/>
                    </a:cubicBezTo>
                    <a:cubicBezTo>
                      <a:pt x="272" y="280"/>
                      <a:pt x="273" y="281"/>
                      <a:pt x="273" y="282"/>
                    </a:cubicBezTo>
                    <a:cubicBezTo>
                      <a:pt x="274" y="284"/>
                      <a:pt x="272" y="286"/>
                      <a:pt x="272" y="287"/>
                    </a:cubicBezTo>
                    <a:cubicBezTo>
                      <a:pt x="272" y="290"/>
                      <a:pt x="274" y="291"/>
                      <a:pt x="276" y="292"/>
                    </a:cubicBezTo>
                    <a:cubicBezTo>
                      <a:pt x="277" y="293"/>
                      <a:pt x="278" y="296"/>
                      <a:pt x="279" y="297"/>
                    </a:cubicBezTo>
                    <a:cubicBezTo>
                      <a:pt x="280" y="299"/>
                      <a:pt x="283" y="299"/>
                      <a:pt x="285" y="299"/>
                    </a:cubicBezTo>
                    <a:cubicBezTo>
                      <a:pt x="285" y="299"/>
                      <a:pt x="285" y="299"/>
                      <a:pt x="285" y="299"/>
                    </a:cubicBezTo>
                    <a:cubicBezTo>
                      <a:pt x="285" y="300"/>
                      <a:pt x="288" y="301"/>
                      <a:pt x="289" y="302"/>
                    </a:cubicBezTo>
                    <a:cubicBezTo>
                      <a:pt x="289" y="302"/>
                      <a:pt x="289" y="303"/>
                      <a:pt x="289" y="303"/>
                    </a:cubicBezTo>
                    <a:cubicBezTo>
                      <a:pt x="290" y="303"/>
                      <a:pt x="291" y="303"/>
                      <a:pt x="292" y="302"/>
                    </a:cubicBezTo>
                    <a:cubicBezTo>
                      <a:pt x="294" y="301"/>
                      <a:pt x="294" y="302"/>
                      <a:pt x="297" y="302"/>
                    </a:cubicBezTo>
                    <a:cubicBezTo>
                      <a:pt x="298" y="303"/>
                      <a:pt x="299" y="302"/>
                      <a:pt x="300" y="303"/>
                    </a:cubicBezTo>
                    <a:cubicBezTo>
                      <a:pt x="301" y="303"/>
                      <a:pt x="303" y="305"/>
                      <a:pt x="304" y="305"/>
                    </a:cubicBezTo>
                    <a:cubicBezTo>
                      <a:pt x="305" y="306"/>
                      <a:pt x="311" y="308"/>
                      <a:pt x="311" y="308"/>
                    </a:cubicBezTo>
                    <a:cubicBezTo>
                      <a:pt x="314" y="306"/>
                      <a:pt x="316" y="304"/>
                      <a:pt x="319" y="302"/>
                    </a:cubicBezTo>
                    <a:cubicBezTo>
                      <a:pt x="320" y="302"/>
                      <a:pt x="321" y="302"/>
                      <a:pt x="322" y="301"/>
                    </a:cubicBezTo>
                    <a:cubicBezTo>
                      <a:pt x="323" y="301"/>
                      <a:pt x="323" y="300"/>
                      <a:pt x="322" y="300"/>
                    </a:cubicBezTo>
                    <a:cubicBezTo>
                      <a:pt x="322" y="300"/>
                      <a:pt x="319" y="301"/>
                      <a:pt x="320" y="299"/>
                    </a:cubicBezTo>
                    <a:cubicBezTo>
                      <a:pt x="320" y="299"/>
                      <a:pt x="323" y="298"/>
                      <a:pt x="324" y="298"/>
                    </a:cubicBezTo>
                    <a:cubicBezTo>
                      <a:pt x="324" y="297"/>
                      <a:pt x="325" y="297"/>
                      <a:pt x="325" y="297"/>
                    </a:cubicBezTo>
                    <a:cubicBezTo>
                      <a:pt x="326" y="298"/>
                      <a:pt x="327" y="299"/>
                      <a:pt x="327" y="300"/>
                    </a:cubicBezTo>
                    <a:cubicBezTo>
                      <a:pt x="327" y="301"/>
                      <a:pt x="326" y="301"/>
                      <a:pt x="326" y="302"/>
                    </a:cubicBezTo>
                    <a:cubicBezTo>
                      <a:pt x="325" y="302"/>
                      <a:pt x="325" y="303"/>
                      <a:pt x="323" y="303"/>
                    </a:cubicBezTo>
                    <a:cubicBezTo>
                      <a:pt x="324" y="303"/>
                      <a:pt x="324" y="303"/>
                      <a:pt x="324" y="304"/>
                    </a:cubicBezTo>
                    <a:cubicBezTo>
                      <a:pt x="325" y="304"/>
                      <a:pt x="325" y="304"/>
                      <a:pt x="325" y="304"/>
                    </a:cubicBezTo>
                    <a:cubicBezTo>
                      <a:pt x="326" y="304"/>
                      <a:pt x="329" y="302"/>
                      <a:pt x="329" y="302"/>
                    </a:cubicBezTo>
                    <a:cubicBezTo>
                      <a:pt x="330" y="302"/>
                      <a:pt x="330" y="301"/>
                      <a:pt x="331" y="301"/>
                    </a:cubicBezTo>
                    <a:cubicBezTo>
                      <a:pt x="331" y="301"/>
                      <a:pt x="331" y="302"/>
                      <a:pt x="331" y="303"/>
                    </a:cubicBezTo>
                    <a:cubicBezTo>
                      <a:pt x="331" y="303"/>
                      <a:pt x="330" y="304"/>
                      <a:pt x="330" y="304"/>
                    </a:cubicBezTo>
                    <a:cubicBezTo>
                      <a:pt x="330" y="305"/>
                      <a:pt x="331" y="305"/>
                      <a:pt x="331" y="305"/>
                    </a:cubicBezTo>
                    <a:cubicBezTo>
                      <a:pt x="332" y="306"/>
                      <a:pt x="332" y="306"/>
                      <a:pt x="333" y="307"/>
                    </a:cubicBezTo>
                    <a:cubicBezTo>
                      <a:pt x="333" y="307"/>
                      <a:pt x="335" y="309"/>
                      <a:pt x="336" y="309"/>
                    </a:cubicBezTo>
                    <a:cubicBezTo>
                      <a:pt x="337" y="308"/>
                      <a:pt x="338" y="308"/>
                      <a:pt x="339" y="309"/>
                    </a:cubicBezTo>
                    <a:cubicBezTo>
                      <a:pt x="339" y="310"/>
                      <a:pt x="339" y="311"/>
                      <a:pt x="340" y="312"/>
                    </a:cubicBezTo>
                    <a:cubicBezTo>
                      <a:pt x="340" y="311"/>
                      <a:pt x="340" y="309"/>
                      <a:pt x="340" y="308"/>
                    </a:cubicBezTo>
                    <a:cubicBezTo>
                      <a:pt x="339" y="310"/>
                      <a:pt x="339" y="308"/>
                      <a:pt x="338" y="307"/>
                    </a:cubicBezTo>
                    <a:cubicBezTo>
                      <a:pt x="339" y="307"/>
                      <a:pt x="344" y="306"/>
                      <a:pt x="345" y="306"/>
                    </a:cubicBezTo>
                    <a:cubicBezTo>
                      <a:pt x="347" y="305"/>
                      <a:pt x="348" y="303"/>
                      <a:pt x="350" y="301"/>
                    </a:cubicBezTo>
                    <a:cubicBezTo>
                      <a:pt x="353" y="300"/>
                      <a:pt x="355" y="297"/>
                      <a:pt x="358" y="296"/>
                    </a:cubicBezTo>
                    <a:cubicBezTo>
                      <a:pt x="361" y="296"/>
                      <a:pt x="364" y="296"/>
                      <a:pt x="367" y="296"/>
                    </a:cubicBezTo>
                    <a:cubicBezTo>
                      <a:pt x="368" y="296"/>
                      <a:pt x="369" y="296"/>
                      <a:pt x="369" y="296"/>
                    </a:cubicBezTo>
                    <a:cubicBezTo>
                      <a:pt x="370" y="296"/>
                      <a:pt x="372" y="295"/>
                      <a:pt x="372" y="295"/>
                    </a:cubicBezTo>
                    <a:cubicBezTo>
                      <a:pt x="373" y="294"/>
                      <a:pt x="374" y="293"/>
                      <a:pt x="374" y="292"/>
                    </a:cubicBezTo>
                    <a:cubicBezTo>
                      <a:pt x="376" y="292"/>
                      <a:pt x="377" y="293"/>
                      <a:pt x="377" y="291"/>
                    </a:cubicBezTo>
                    <a:cubicBezTo>
                      <a:pt x="377" y="291"/>
                      <a:pt x="378" y="290"/>
                      <a:pt x="377" y="289"/>
                    </a:cubicBezTo>
                    <a:cubicBezTo>
                      <a:pt x="377" y="288"/>
                      <a:pt x="377" y="288"/>
                      <a:pt x="376" y="288"/>
                    </a:cubicBezTo>
                    <a:cubicBezTo>
                      <a:pt x="376" y="287"/>
                      <a:pt x="376" y="286"/>
                      <a:pt x="376" y="286"/>
                    </a:cubicBezTo>
                    <a:cubicBezTo>
                      <a:pt x="376" y="284"/>
                      <a:pt x="377" y="282"/>
                      <a:pt x="377" y="281"/>
                    </a:cubicBezTo>
                    <a:cubicBezTo>
                      <a:pt x="378" y="278"/>
                      <a:pt x="379" y="274"/>
                      <a:pt x="380" y="271"/>
                    </a:cubicBezTo>
                    <a:cubicBezTo>
                      <a:pt x="381" y="269"/>
                      <a:pt x="382" y="267"/>
                      <a:pt x="383" y="266"/>
                    </a:cubicBezTo>
                    <a:cubicBezTo>
                      <a:pt x="383" y="265"/>
                      <a:pt x="386" y="265"/>
                      <a:pt x="384" y="264"/>
                    </a:cubicBezTo>
                    <a:cubicBezTo>
                      <a:pt x="386" y="264"/>
                      <a:pt x="385" y="264"/>
                      <a:pt x="385" y="263"/>
                    </a:cubicBezTo>
                    <a:cubicBezTo>
                      <a:pt x="385" y="262"/>
                      <a:pt x="385" y="262"/>
                      <a:pt x="385" y="261"/>
                    </a:cubicBezTo>
                    <a:cubicBezTo>
                      <a:pt x="385" y="260"/>
                      <a:pt x="386" y="259"/>
                      <a:pt x="386" y="258"/>
                    </a:cubicBezTo>
                    <a:cubicBezTo>
                      <a:pt x="386" y="258"/>
                      <a:pt x="386" y="258"/>
                      <a:pt x="385" y="258"/>
                    </a:cubicBezTo>
                    <a:cubicBezTo>
                      <a:pt x="386" y="257"/>
                      <a:pt x="387" y="255"/>
                      <a:pt x="388" y="254"/>
                    </a:cubicBezTo>
                    <a:cubicBezTo>
                      <a:pt x="388" y="254"/>
                      <a:pt x="388" y="253"/>
                      <a:pt x="388" y="253"/>
                    </a:cubicBezTo>
                    <a:cubicBezTo>
                      <a:pt x="387" y="252"/>
                      <a:pt x="387" y="251"/>
                      <a:pt x="387" y="250"/>
                    </a:cubicBezTo>
                    <a:cubicBezTo>
                      <a:pt x="387" y="249"/>
                      <a:pt x="388" y="247"/>
                      <a:pt x="389" y="247"/>
                    </a:cubicBezTo>
                    <a:cubicBezTo>
                      <a:pt x="390" y="247"/>
                      <a:pt x="390" y="247"/>
                      <a:pt x="390" y="248"/>
                    </a:cubicBezTo>
                    <a:cubicBezTo>
                      <a:pt x="390" y="247"/>
                      <a:pt x="390" y="247"/>
                      <a:pt x="390" y="246"/>
                    </a:cubicBezTo>
                    <a:cubicBezTo>
                      <a:pt x="390" y="247"/>
                      <a:pt x="391" y="246"/>
                      <a:pt x="391" y="245"/>
                    </a:cubicBezTo>
                    <a:cubicBezTo>
                      <a:pt x="392" y="244"/>
                      <a:pt x="393" y="243"/>
                      <a:pt x="394" y="241"/>
                    </a:cubicBezTo>
                    <a:cubicBezTo>
                      <a:pt x="395" y="240"/>
                      <a:pt x="395" y="239"/>
                      <a:pt x="397" y="238"/>
                    </a:cubicBezTo>
                    <a:cubicBezTo>
                      <a:pt x="398" y="238"/>
                      <a:pt x="401" y="237"/>
                      <a:pt x="398" y="237"/>
                    </a:cubicBezTo>
                    <a:cubicBezTo>
                      <a:pt x="400" y="236"/>
                      <a:pt x="402" y="235"/>
                      <a:pt x="403" y="233"/>
                    </a:cubicBezTo>
                    <a:cubicBezTo>
                      <a:pt x="403" y="233"/>
                      <a:pt x="403" y="232"/>
                      <a:pt x="403" y="232"/>
                    </a:cubicBezTo>
                    <a:cubicBezTo>
                      <a:pt x="403" y="231"/>
                      <a:pt x="403" y="230"/>
                      <a:pt x="403" y="230"/>
                    </a:cubicBezTo>
                    <a:cubicBezTo>
                      <a:pt x="404" y="228"/>
                      <a:pt x="405" y="227"/>
                      <a:pt x="405" y="226"/>
                    </a:cubicBezTo>
                    <a:cubicBezTo>
                      <a:pt x="407" y="224"/>
                      <a:pt x="407" y="222"/>
                      <a:pt x="407" y="220"/>
                    </a:cubicBezTo>
                    <a:cubicBezTo>
                      <a:pt x="408" y="217"/>
                      <a:pt x="407" y="214"/>
                      <a:pt x="408" y="211"/>
                    </a:cubicBezTo>
                    <a:cubicBezTo>
                      <a:pt x="409" y="209"/>
                      <a:pt x="410" y="207"/>
                      <a:pt x="411" y="204"/>
                    </a:cubicBezTo>
                    <a:cubicBezTo>
                      <a:pt x="411" y="201"/>
                      <a:pt x="411" y="199"/>
                      <a:pt x="412" y="196"/>
                    </a:cubicBezTo>
                    <a:cubicBezTo>
                      <a:pt x="412" y="195"/>
                      <a:pt x="413" y="194"/>
                      <a:pt x="413" y="193"/>
                    </a:cubicBezTo>
                    <a:cubicBezTo>
                      <a:pt x="414" y="192"/>
                      <a:pt x="414" y="191"/>
                      <a:pt x="413" y="189"/>
                    </a:cubicBezTo>
                    <a:cubicBezTo>
                      <a:pt x="413" y="186"/>
                      <a:pt x="413" y="183"/>
                      <a:pt x="411"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5" name="Freeform 2816">
                <a:extLst>
                  <a:ext uri="{FF2B5EF4-FFF2-40B4-BE49-F238E27FC236}">
                    <a16:creationId xmlns:a16="http://schemas.microsoft.com/office/drawing/2014/main" id="{72CD1C38-137A-431A-8000-075D02F9998A}"/>
                  </a:ext>
                </a:extLst>
              </p:cNvPr>
              <p:cNvSpPr>
                <a:spLocks/>
              </p:cNvSpPr>
              <p:nvPr/>
            </p:nvSpPr>
            <p:spPr bwMode="auto">
              <a:xfrm>
                <a:off x="5805" y="2578"/>
                <a:ext cx="2" cy="7"/>
              </a:xfrm>
              <a:custGeom>
                <a:avLst/>
                <a:gdLst>
                  <a:gd name="T0" fmla="*/ 1 w 1"/>
                  <a:gd name="T1" fmla="*/ 3 h 3"/>
                  <a:gd name="T2" fmla="*/ 1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1"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6" name="Freeform 2817">
                <a:extLst>
                  <a:ext uri="{FF2B5EF4-FFF2-40B4-BE49-F238E27FC236}">
                    <a16:creationId xmlns:a16="http://schemas.microsoft.com/office/drawing/2014/main" id="{2D4B1B45-97CC-42AE-8CE9-4E081630EDE9}"/>
                  </a:ext>
                </a:extLst>
              </p:cNvPr>
              <p:cNvSpPr>
                <a:spLocks/>
              </p:cNvSpPr>
              <p:nvPr/>
            </p:nvSpPr>
            <p:spPr bwMode="auto">
              <a:xfrm>
                <a:off x="5809" y="2599"/>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7" name="Freeform 2818">
                <a:extLst>
                  <a:ext uri="{FF2B5EF4-FFF2-40B4-BE49-F238E27FC236}">
                    <a16:creationId xmlns:a16="http://schemas.microsoft.com/office/drawing/2014/main" id="{090C49D6-4E3D-4B6F-8363-BD36315E6CC1}"/>
                  </a:ext>
                </a:extLst>
              </p:cNvPr>
              <p:cNvSpPr>
                <a:spLocks/>
              </p:cNvSpPr>
              <p:nvPr/>
            </p:nvSpPr>
            <p:spPr bwMode="auto">
              <a:xfrm>
                <a:off x="5786" y="2462"/>
                <a:ext cx="2" cy="4"/>
              </a:xfrm>
              <a:custGeom>
                <a:avLst/>
                <a:gdLst>
                  <a:gd name="T0" fmla="*/ 1 w 1"/>
                  <a:gd name="T1" fmla="*/ 0 h 2"/>
                  <a:gd name="T2" fmla="*/ 0 w 1"/>
                  <a:gd name="T3" fmla="*/ 1 h 2"/>
                  <a:gd name="T4" fmla="*/ 1 w 1"/>
                  <a:gd name="T5" fmla="*/ 2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1"/>
                      <a:pt x="0" y="1"/>
                      <a:pt x="0" y="1"/>
                    </a:cubicBezTo>
                    <a:cubicBezTo>
                      <a:pt x="0" y="2"/>
                      <a:pt x="1" y="2"/>
                      <a:pt x="1" y="2"/>
                    </a:cubicBezTo>
                    <a:cubicBezTo>
                      <a:pt x="1" y="2"/>
                      <a:pt x="1" y="1"/>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8" name="Freeform 2819">
                <a:extLst>
                  <a:ext uri="{FF2B5EF4-FFF2-40B4-BE49-F238E27FC236}">
                    <a16:creationId xmlns:a16="http://schemas.microsoft.com/office/drawing/2014/main" id="{0CCEE48C-26C2-4758-AB5A-B038A93E399C}"/>
                  </a:ext>
                </a:extLst>
              </p:cNvPr>
              <p:cNvSpPr>
                <a:spLocks/>
              </p:cNvSpPr>
              <p:nvPr/>
            </p:nvSpPr>
            <p:spPr bwMode="auto">
              <a:xfrm>
                <a:off x="5798" y="2575"/>
                <a:ext cx="2" cy="3"/>
              </a:xfrm>
              <a:custGeom>
                <a:avLst/>
                <a:gdLst>
                  <a:gd name="T0" fmla="*/ 0 w 1"/>
                  <a:gd name="T1" fmla="*/ 0 h 1"/>
                  <a:gd name="T2" fmla="*/ 0 w 1"/>
                  <a:gd name="T3" fmla="*/ 1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9" name="Freeform 2820">
                <a:extLst>
                  <a:ext uri="{FF2B5EF4-FFF2-40B4-BE49-F238E27FC236}">
                    <a16:creationId xmlns:a16="http://schemas.microsoft.com/office/drawing/2014/main" id="{2E25E2B6-A2C4-4C1D-A6A0-EF67B5ADDC81}"/>
                  </a:ext>
                </a:extLst>
              </p:cNvPr>
              <p:cNvSpPr>
                <a:spLocks/>
              </p:cNvSpPr>
              <p:nvPr/>
            </p:nvSpPr>
            <p:spPr bwMode="auto">
              <a:xfrm>
                <a:off x="5779" y="2511"/>
                <a:ext cx="4" cy="14"/>
              </a:xfrm>
              <a:custGeom>
                <a:avLst/>
                <a:gdLst>
                  <a:gd name="T0" fmla="*/ 0 w 2"/>
                  <a:gd name="T1" fmla="*/ 2 h 6"/>
                  <a:gd name="T2" fmla="*/ 0 w 2"/>
                  <a:gd name="T3" fmla="*/ 4 h 6"/>
                  <a:gd name="T4" fmla="*/ 0 w 2"/>
                  <a:gd name="T5" fmla="*/ 4 h 6"/>
                  <a:gd name="T6" fmla="*/ 2 w 2"/>
                  <a:gd name="T7" fmla="*/ 2 h 6"/>
                  <a:gd name="T8" fmla="*/ 2 w 2"/>
                  <a:gd name="T9" fmla="*/ 2 h 6"/>
                  <a:gd name="T10" fmla="*/ 0 w 2"/>
                  <a:gd name="T11" fmla="*/ 2 h 6"/>
                </a:gdLst>
                <a:ahLst/>
                <a:cxnLst>
                  <a:cxn ang="0">
                    <a:pos x="T0" y="T1"/>
                  </a:cxn>
                  <a:cxn ang="0">
                    <a:pos x="T2" y="T3"/>
                  </a:cxn>
                  <a:cxn ang="0">
                    <a:pos x="T4" y="T5"/>
                  </a:cxn>
                  <a:cxn ang="0">
                    <a:pos x="T6" y="T7"/>
                  </a:cxn>
                  <a:cxn ang="0">
                    <a:pos x="T8" y="T9"/>
                  </a:cxn>
                  <a:cxn ang="0">
                    <a:pos x="T10" y="T11"/>
                  </a:cxn>
                </a:cxnLst>
                <a:rect l="0" t="0" r="r" b="b"/>
                <a:pathLst>
                  <a:path w="2" h="6">
                    <a:moveTo>
                      <a:pt x="0" y="2"/>
                    </a:moveTo>
                    <a:cubicBezTo>
                      <a:pt x="0" y="2"/>
                      <a:pt x="0" y="3"/>
                      <a:pt x="0" y="4"/>
                    </a:cubicBezTo>
                    <a:cubicBezTo>
                      <a:pt x="0" y="4"/>
                      <a:pt x="0" y="4"/>
                      <a:pt x="0" y="4"/>
                    </a:cubicBezTo>
                    <a:cubicBezTo>
                      <a:pt x="2" y="6"/>
                      <a:pt x="2" y="3"/>
                      <a:pt x="2" y="2"/>
                    </a:cubicBezTo>
                    <a:cubicBezTo>
                      <a:pt x="2" y="2"/>
                      <a:pt x="2" y="2"/>
                      <a:pt x="2" y="2"/>
                    </a:cubicBezTo>
                    <a:cubicBezTo>
                      <a:pt x="2"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0" name="Freeform 2821">
                <a:extLst>
                  <a:ext uri="{FF2B5EF4-FFF2-40B4-BE49-F238E27FC236}">
                    <a16:creationId xmlns:a16="http://schemas.microsoft.com/office/drawing/2014/main" id="{BC6990BB-B395-4BEB-8705-033BBF8ABBBE}"/>
                  </a:ext>
                </a:extLst>
              </p:cNvPr>
              <p:cNvSpPr>
                <a:spLocks/>
              </p:cNvSpPr>
              <p:nvPr/>
            </p:nvSpPr>
            <p:spPr bwMode="auto">
              <a:xfrm>
                <a:off x="5800" y="2582"/>
                <a:ext cx="5" cy="5"/>
              </a:xfrm>
              <a:custGeom>
                <a:avLst/>
                <a:gdLst>
                  <a:gd name="T0" fmla="*/ 2 w 2"/>
                  <a:gd name="T1" fmla="*/ 2 h 2"/>
                  <a:gd name="T2" fmla="*/ 2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1"/>
                      <a:pt x="2"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1" name="Freeform 2822">
                <a:extLst>
                  <a:ext uri="{FF2B5EF4-FFF2-40B4-BE49-F238E27FC236}">
                    <a16:creationId xmlns:a16="http://schemas.microsoft.com/office/drawing/2014/main" id="{C67179E7-1299-4E38-9927-529B2A0AE36C}"/>
                  </a:ext>
                </a:extLst>
              </p:cNvPr>
              <p:cNvSpPr>
                <a:spLocks/>
              </p:cNvSpPr>
              <p:nvPr/>
            </p:nvSpPr>
            <p:spPr bwMode="auto">
              <a:xfrm>
                <a:off x="5790" y="2447"/>
                <a:ext cx="8" cy="31"/>
              </a:xfrm>
              <a:custGeom>
                <a:avLst/>
                <a:gdLst>
                  <a:gd name="T0" fmla="*/ 2 w 3"/>
                  <a:gd name="T1" fmla="*/ 3 h 13"/>
                  <a:gd name="T2" fmla="*/ 2 w 3"/>
                  <a:gd name="T3" fmla="*/ 2 h 13"/>
                  <a:gd name="T4" fmla="*/ 2 w 3"/>
                  <a:gd name="T5" fmla="*/ 2 h 13"/>
                  <a:gd name="T6" fmla="*/ 2 w 3"/>
                  <a:gd name="T7" fmla="*/ 0 h 13"/>
                  <a:gd name="T8" fmla="*/ 0 w 3"/>
                  <a:gd name="T9" fmla="*/ 6 h 13"/>
                  <a:gd name="T10" fmla="*/ 0 w 3"/>
                  <a:gd name="T11" fmla="*/ 7 h 13"/>
                  <a:gd name="T12" fmla="*/ 0 w 3"/>
                  <a:gd name="T13" fmla="*/ 7 h 13"/>
                  <a:gd name="T14" fmla="*/ 0 w 3"/>
                  <a:gd name="T15" fmla="*/ 10 h 13"/>
                  <a:gd name="T16" fmla="*/ 0 w 3"/>
                  <a:gd name="T17" fmla="*/ 13 h 13"/>
                  <a:gd name="T18" fmla="*/ 0 w 3"/>
                  <a:gd name="T19" fmla="*/ 13 h 13"/>
                  <a:gd name="T20" fmla="*/ 0 w 3"/>
                  <a:gd name="T21" fmla="*/ 13 h 13"/>
                  <a:gd name="T22" fmla="*/ 2 w 3"/>
                  <a:gd name="T23" fmla="*/ 11 h 13"/>
                  <a:gd name="T24" fmla="*/ 1 w 3"/>
                  <a:gd name="T25" fmla="*/ 9 h 13"/>
                  <a:gd name="T26" fmla="*/ 1 w 3"/>
                  <a:gd name="T27" fmla="*/ 7 h 13"/>
                  <a:gd name="T28" fmla="*/ 1 w 3"/>
                  <a:gd name="T29" fmla="*/ 7 h 13"/>
                  <a:gd name="T30" fmla="*/ 1 w 3"/>
                  <a:gd name="T31" fmla="*/ 5 h 13"/>
                  <a:gd name="T32" fmla="*/ 2 w 3"/>
                  <a:gd name="T33" fmla="*/ 5 h 13"/>
                  <a:gd name="T34" fmla="*/ 2 w 3"/>
                  <a:gd name="T35" fmla="*/ 4 h 13"/>
                  <a:gd name="T36" fmla="*/ 2 w 3"/>
                  <a:gd name="T3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3">
                    <a:moveTo>
                      <a:pt x="2" y="3"/>
                    </a:moveTo>
                    <a:cubicBezTo>
                      <a:pt x="2" y="2"/>
                      <a:pt x="2" y="3"/>
                      <a:pt x="2" y="2"/>
                    </a:cubicBezTo>
                    <a:cubicBezTo>
                      <a:pt x="2" y="3"/>
                      <a:pt x="3" y="1"/>
                      <a:pt x="2" y="2"/>
                    </a:cubicBezTo>
                    <a:cubicBezTo>
                      <a:pt x="3" y="1"/>
                      <a:pt x="2" y="0"/>
                      <a:pt x="2" y="0"/>
                    </a:cubicBezTo>
                    <a:cubicBezTo>
                      <a:pt x="2" y="2"/>
                      <a:pt x="1" y="4"/>
                      <a:pt x="0" y="6"/>
                    </a:cubicBezTo>
                    <a:cubicBezTo>
                      <a:pt x="0" y="6"/>
                      <a:pt x="0" y="7"/>
                      <a:pt x="0" y="7"/>
                    </a:cubicBezTo>
                    <a:cubicBezTo>
                      <a:pt x="0" y="7"/>
                      <a:pt x="0" y="7"/>
                      <a:pt x="0" y="7"/>
                    </a:cubicBezTo>
                    <a:cubicBezTo>
                      <a:pt x="0" y="7"/>
                      <a:pt x="0" y="9"/>
                      <a:pt x="0" y="10"/>
                    </a:cubicBezTo>
                    <a:cubicBezTo>
                      <a:pt x="0" y="12"/>
                      <a:pt x="0" y="13"/>
                      <a:pt x="0" y="13"/>
                    </a:cubicBezTo>
                    <a:cubicBezTo>
                      <a:pt x="0" y="13"/>
                      <a:pt x="0" y="13"/>
                      <a:pt x="0" y="13"/>
                    </a:cubicBezTo>
                    <a:cubicBezTo>
                      <a:pt x="0" y="13"/>
                      <a:pt x="0" y="13"/>
                      <a:pt x="0" y="13"/>
                    </a:cubicBezTo>
                    <a:cubicBezTo>
                      <a:pt x="1" y="13"/>
                      <a:pt x="2" y="12"/>
                      <a:pt x="2" y="11"/>
                    </a:cubicBezTo>
                    <a:cubicBezTo>
                      <a:pt x="2" y="10"/>
                      <a:pt x="2" y="9"/>
                      <a:pt x="1" y="9"/>
                    </a:cubicBezTo>
                    <a:cubicBezTo>
                      <a:pt x="1" y="8"/>
                      <a:pt x="1" y="7"/>
                      <a:pt x="1" y="7"/>
                    </a:cubicBezTo>
                    <a:cubicBezTo>
                      <a:pt x="1" y="7"/>
                      <a:pt x="1" y="7"/>
                      <a:pt x="1" y="7"/>
                    </a:cubicBezTo>
                    <a:cubicBezTo>
                      <a:pt x="1" y="7"/>
                      <a:pt x="1" y="6"/>
                      <a:pt x="1" y="5"/>
                    </a:cubicBezTo>
                    <a:cubicBezTo>
                      <a:pt x="1" y="5"/>
                      <a:pt x="2" y="5"/>
                      <a:pt x="2" y="5"/>
                    </a:cubicBezTo>
                    <a:cubicBezTo>
                      <a:pt x="3" y="4"/>
                      <a:pt x="3" y="4"/>
                      <a:pt x="2" y="4"/>
                    </a:cubicBezTo>
                    <a:cubicBezTo>
                      <a:pt x="2" y="3"/>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2" name="Freeform 2823">
                <a:extLst>
                  <a:ext uri="{FF2B5EF4-FFF2-40B4-BE49-F238E27FC236}">
                    <a16:creationId xmlns:a16="http://schemas.microsoft.com/office/drawing/2014/main" id="{27F711A7-18D4-47F4-9B0B-F08303F4F767}"/>
                  </a:ext>
                </a:extLst>
              </p:cNvPr>
              <p:cNvSpPr>
                <a:spLocks/>
              </p:cNvSpPr>
              <p:nvPr/>
            </p:nvSpPr>
            <p:spPr bwMode="auto">
              <a:xfrm>
                <a:off x="5783" y="2478"/>
                <a:ext cx="10" cy="19"/>
              </a:xfrm>
              <a:custGeom>
                <a:avLst/>
                <a:gdLst>
                  <a:gd name="T0" fmla="*/ 2 w 4"/>
                  <a:gd name="T1" fmla="*/ 2 h 8"/>
                  <a:gd name="T2" fmla="*/ 2 w 4"/>
                  <a:gd name="T3" fmla="*/ 2 h 8"/>
                  <a:gd name="T4" fmla="*/ 1 w 4"/>
                  <a:gd name="T5" fmla="*/ 2 h 8"/>
                  <a:gd name="T6" fmla="*/ 1 w 4"/>
                  <a:gd name="T7" fmla="*/ 3 h 8"/>
                  <a:gd name="T8" fmla="*/ 1 w 4"/>
                  <a:gd name="T9" fmla="*/ 4 h 8"/>
                  <a:gd name="T10" fmla="*/ 0 w 4"/>
                  <a:gd name="T11" fmla="*/ 5 h 8"/>
                  <a:gd name="T12" fmla="*/ 1 w 4"/>
                  <a:gd name="T13" fmla="*/ 6 h 8"/>
                  <a:gd name="T14" fmla="*/ 1 w 4"/>
                  <a:gd name="T15" fmla="*/ 7 h 8"/>
                  <a:gd name="T16" fmla="*/ 2 w 4"/>
                  <a:gd name="T17" fmla="*/ 8 h 8"/>
                  <a:gd name="T18" fmla="*/ 2 w 4"/>
                  <a:gd name="T19" fmla="*/ 6 h 8"/>
                  <a:gd name="T20" fmla="*/ 2 w 4"/>
                  <a:gd name="T21" fmla="*/ 3 h 8"/>
                  <a:gd name="T22" fmla="*/ 3 w 4"/>
                  <a:gd name="T23" fmla="*/ 1 h 8"/>
                  <a:gd name="T24" fmla="*/ 4 w 4"/>
                  <a:gd name="T25" fmla="*/ 0 h 8"/>
                  <a:gd name="T26" fmla="*/ 3 w 4"/>
                  <a:gd name="T27" fmla="*/ 0 h 8"/>
                  <a:gd name="T28" fmla="*/ 3 w 4"/>
                  <a:gd name="T29" fmla="*/ 0 h 8"/>
                  <a:gd name="T30" fmla="*/ 2 w 4"/>
                  <a:gd name="T3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8">
                    <a:moveTo>
                      <a:pt x="2" y="2"/>
                    </a:moveTo>
                    <a:cubicBezTo>
                      <a:pt x="2" y="2"/>
                      <a:pt x="2" y="2"/>
                      <a:pt x="2" y="2"/>
                    </a:cubicBezTo>
                    <a:cubicBezTo>
                      <a:pt x="2" y="1"/>
                      <a:pt x="1" y="1"/>
                      <a:pt x="1" y="2"/>
                    </a:cubicBezTo>
                    <a:cubicBezTo>
                      <a:pt x="1" y="2"/>
                      <a:pt x="1" y="3"/>
                      <a:pt x="1" y="3"/>
                    </a:cubicBezTo>
                    <a:cubicBezTo>
                      <a:pt x="1" y="3"/>
                      <a:pt x="1" y="4"/>
                      <a:pt x="1" y="4"/>
                    </a:cubicBezTo>
                    <a:cubicBezTo>
                      <a:pt x="0" y="4"/>
                      <a:pt x="0" y="4"/>
                      <a:pt x="0" y="5"/>
                    </a:cubicBezTo>
                    <a:cubicBezTo>
                      <a:pt x="0" y="6"/>
                      <a:pt x="1" y="6"/>
                      <a:pt x="1" y="6"/>
                    </a:cubicBezTo>
                    <a:cubicBezTo>
                      <a:pt x="1" y="7"/>
                      <a:pt x="1" y="7"/>
                      <a:pt x="1" y="7"/>
                    </a:cubicBezTo>
                    <a:cubicBezTo>
                      <a:pt x="1" y="8"/>
                      <a:pt x="1" y="8"/>
                      <a:pt x="2" y="8"/>
                    </a:cubicBezTo>
                    <a:cubicBezTo>
                      <a:pt x="2" y="8"/>
                      <a:pt x="2" y="7"/>
                      <a:pt x="2" y="6"/>
                    </a:cubicBezTo>
                    <a:cubicBezTo>
                      <a:pt x="2" y="5"/>
                      <a:pt x="2" y="4"/>
                      <a:pt x="2" y="3"/>
                    </a:cubicBezTo>
                    <a:cubicBezTo>
                      <a:pt x="3" y="2"/>
                      <a:pt x="3" y="1"/>
                      <a:pt x="3" y="1"/>
                    </a:cubicBezTo>
                    <a:cubicBezTo>
                      <a:pt x="3" y="0"/>
                      <a:pt x="3" y="0"/>
                      <a:pt x="4" y="0"/>
                    </a:cubicBezTo>
                    <a:cubicBezTo>
                      <a:pt x="3" y="0"/>
                      <a:pt x="3" y="0"/>
                      <a:pt x="3" y="0"/>
                    </a:cubicBezTo>
                    <a:cubicBezTo>
                      <a:pt x="3" y="0"/>
                      <a:pt x="3" y="0"/>
                      <a:pt x="3" y="0"/>
                    </a:cubicBezTo>
                    <a:cubicBezTo>
                      <a:pt x="2"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3" name="Freeform 2824">
                <a:extLst>
                  <a:ext uri="{FF2B5EF4-FFF2-40B4-BE49-F238E27FC236}">
                    <a16:creationId xmlns:a16="http://schemas.microsoft.com/office/drawing/2014/main" id="{46F7E241-20EF-47C6-B34E-438F885C99A0}"/>
                  </a:ext>
                </a:extLst>
              </p:cNvPr>
              <p:cNvSpPr>
                <a:spLocks/>
              </p:cNvSpPr>
              <p:nvPr/>
            </p:nvSpPr>
            <p:spPr bwMode="auto">
              <a:xfrm>
                <a:off x="5786" y="2497"/>
                <a:ext cx="2" cy="5"/>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4" name="Freeform 2825">
                <a:extLst>
                  <a:ext uri="{FF2B5EF4-FFF2-40B4-BE49-F238E27FC236}">
                    <a16:creationId xmlns:a16="http://schemas.microsoft.com/office/drawing/2014/main" id="{B5681ACF-C5CE-44AE-9104-CB249277DD26}"/>
                  </a:ext>
                </a:extLst>
              </p:cNvPr>
              <p:cNvSpPr>
                <a:spLocks/>
              </p:cNvSpPr>
              <p:nvPr/>
            </p:nvSpPr>
            <p:spPr bwMode="auto">
              <a:xfrm>
                <a:off x="5788" y="2554"/>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5" name="Freeform 2826">
                <a:extLst>
                  <a:ext uri="{FF2B5EF4-FFF2-40B4-BE49-F238E27FC236}">
                    <a16:creationId xmlns:a16="http://schemas.microsoft.com/office/drawing/2014/main" id="{595EE8AF-881E-47A2-8639-5BBEF13B65C2}"/>
                  </a:ext>
                </a:extLst>
              </p:cNvPr>
              <p:cNvSpPr>
                <a:spLocks/>
              </p:cNvSpPr>
              <p:nvPr/>
            </p:nvSpPr>
            <p:spPr bwMode="auto">
              <a:xfrm>
                <a:off x="5809" y="2601"/>
                <a:ext cx="7" cy="12"/>
              </a:xfrm>
              <a:custGeom>
                <a:avLst/>
                <a:gdLst>
                  <a:gd name="T0" fmla="*/ 0 w 3"/>
                  <a:gd name="T1" fmla="*/ 2 h 5"/>
                  <a:gd name="T2" fmla="*/ 1 w 3"/>
                  <a:gd name="T3" fmla="*/ 3 h 5"/>
                  <a:gd name="T4" fmla="*/ 2 w 3"/>
                  <a:gd name="T5" fmla="*/ 4 h 5"/>
                  <a:gd name="T6" fmla="*/ 2 w 3"/>
                  <a:gd name="T7" fmla="*/ 5 h 5"/>
                  <a:gd name="T8" fmla="*/ 3 w 3"/>
                  <a:gd name="T9" fmla="*/ 2 h 5"/>
                  <a:gd name="T10" fmla="*/ 3 w 3"/>
                  <a:gd name="T11" fmla="*/ 1 h 5"/>
                  <a:gd name="T12" fmla="*/ 0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2"/>
                    </a:moveTo>
                    <a:cubicBezTo>
                      <a:pt x="1" y="3"/>
                      <a:pt x="1" y="3"/>
                      <a:pt x="1" y="3"/>
                    </a:cubicBezTo>
                    <a:cubicBezTo>
                      <a:pt x="1" y="4"/>
                      <a:pt x="2" y="4"/>
                      <a:pt x="2" y="4"/>
                    </a:cubicBezTo>
                    <a:cubicBezTo>
                      <a:pt x="2" y="5"/>
                      <a:pt x="2" y="5"/>
                      <a:pt x="2" y="5"/>
                    </a:cubicBezTo>
                    <a:cubicBezTo>
                      <a:pt x="2" y="4"/>
                      <a:pt x="2" y="3"/>
                      <a:pt x="3" y="2"/>
                    </a:cubicBezTo>
                    <a:cubicBezTo>
                      <a:pt x="3" y="1"/>
                      <a:pt x="3" y="1"/>
                      <a:pt x="3" y="1"/>
                    </a:cubicBezTo>
                    <a:cubicBezTo>
                      <a:pt x="2"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6" name="Freeform 2827">
                <a:extLst>
                  <a:ext uri="{FF2B5EF4-FFF2-40B4-BE49-F238E27FC236}">
                    <a16:creationId xmlns:a16="http://schemas.microsoft.com/office/drawing/2014/main" id="{18DE3F52-A28C-45D4-A5B9-8CDB41B07C58}"/>
                  </a:ext>
                </a:extLst>
              </p:cNvPr>
              <p:cNvSpPr>
                <a:spLocks/>
              </p:cNvSpPr>
              <p:nvPr/>
            </p:nvSpPr>
            <p:spPr bwMode="auto">
              <a:xfrm>
                <a:off x="5299" y="2951"/>
                <a:ext cx="2" cy="5"/>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0" y="2"/>
                      <a:pt x="1"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7" name="Freeform 2828">
                <a:extLst>
                  <a:ext uri="{FF2B5EF4-FFF2-40B4-BE49-F238E27FC236}">
                    <a16:creationId xmlns:a16="http://schemas.microsoft.com/office/drawing/2014/main" id="{B18D88CE-3D08-4482-B64C-185EA90CA713}"/>
                  </a:ext>
                </a:extLst>
              </p:cNvPr>
              <p:cNvSpPr>
                <a:spLocks/>
              </p:cNvSpPr>
              <p:nvPr/>
            </p:nvSpPr>
            <p:spPr bwMode="auto">
              <a:xfrm>
                <a:off x="6750" y="3060"/>
                <a:ext cx="3" cy="3"/>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0" y="1"/>
                      <a:pt x="0" y="1"/>
                    </a:cubicBezTo>
                    <a:cubicBezTo>
                      <a:pt x="0" y="0"/>
                      <a:pt x="0"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8" name="Freeform 2829">
                <a:extLst>
                  <a:ext uri="{FF2B5EF4-FFF2-40B4-BE49-F238E27FC236}">
                    <a16:creationId xmlns:a16="http://schemas.microsoft.com/office/drawing/2014/main" id="{BD4C2F99-F0A2-44F7-9D9B-5393C6DB9B50}"/>
                  </a:ext>
                </a:extLst>
              </p:cNvPr>
              <p:cNvSpPr>
                <a:spLocks/>
              </p:cNvSpPr>
              <p:nvPr/>
            </p:nvSpPr>
            <p:spPr bwMode="auto">
              <a:xfrm>
                <a:off x="6571" y="3129"/>
                <a:ext cx="2" cy="5"/>
              </a:xfrm>
              <a:custGeom>
                <a:avLst/>
                <a:gdLst>
                  <a:gd name="T0" fmla="*/ 0 w 1"/>
                  <a:gd name="T1" fmla="*/ 2 h 2"/>
                  <a:gd name="T2" fmla="*/ 0 w 1"/>
                  <a:gd name="T3" fmla="*/ 1 h 2"/>
                  <a:gd name="T4" fmla="*/ 1 w 1"/>
                  <a:gd name="T5" fmla="*/ 1 h 2"/>
                  <a:gd name="T6" fmla="*/ 1 w 1"/>
                  <a:gd name="T7" fmla="*/ 0 h 2"/>
                  <a:gd name="T8" fmla="*/ 1 w 1"/>
                  <a:gd name="T9" fmla="*/ 0 h 2"/>
                  <a:gd name="T10" fmla="*/ 0 w 1"/>
                  <a:gd name="T11" fmla="*/ 0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2"/>
                      <a:pt x="0" y="1"/>
                      <a:pt x="0" y="1"/>
                    </a:cubicBezTo>
                    <a:cubicBezTo>
                      <a:pt x="1" y="1"/>
                      <a:pt x="1" y="1"/>
                      <a:pt x="1" y="1"/>
                    </a:cubicBezTo>
                    <a:cubicBezTo>
                      <a:pt x="1" y="1"/>
                      <a:pt x="1" y="1"/>
                      <a:pt x="1" y="0"/>
                    </a:cubicBezTo>
                    <a:cubicBezTo>
                      <a:pt x="1" y="0"/>
                      <a:pt x="1" y="0"/>
                      <a:pt x="1" y="0"/>
                    </a:cubicBezTo>
                    <a:cubicBezTo>
                      <a:pt x="1" y="0"/>
                      <a:pt x="1" y="0"/>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9" name="Freeform 2830">
                <a:extLst>
                  <a:ext uri="{FF2B5EF4-FFF2-40B4-BE49-F238E27FC236}">
                    <a16:creationId xmlns:a16="http://schemas.microsoft.com/office/drawing/2014/main" id="{C2741B5F-3888-4980-826A-EB7DA665144E}"/>
                  </a:ext>
                </a:extLst>
              </p:cNvPr>
              <p:cNvSpPr>
                <a:spLocks/>
              </p:cNvSpPr>
              <p:nvPr/>
            </p:nvSpPr>
            <p:spPr bwMode="auto">
              <a:xfrm>
                <a:off x="6557" y="3150"/>
                <a:ext cx="2" cy="2"/>
              </a:xfrm>
              <a:custGeom>
                <a:avLst/>
                <a:gdLst>
                  <a:gd name="T0" fmla="*/ 0 w 1"/>
                  <a:gd name="T1" fmla="*/ 0 h 1"/>
                  <a:gd name="T2" fmla="*/ 0 w 1"/>
                  <a:gd name="T3" fmla="*/ 1 h 1"/>
                  <a:gd name="T4" fmla="*/ 0 w 1"/>
                  <a:gd name="T5" fmla="*/ 1 h 1"/>
                  <a:gd name="T6" fmla="*/ 0 w 1"/>
                  <a:gd name="T7" fmla="*/ 1 h 1"/>
                  <a:gd name="T8" fmla="*/ 1 w 1"/>
                  <a:gd name="T9" fmla="*/ 1 h 1"/>
                  <a:gd name="T10" fmla="*/ 1 w 1"/>
                  <a:gd name="T11" fmla="*/ 1 h 1"/>
                  <a:gd name="T12" fmla="*/ 1 w 1"/>
                  <a:gd name="T13" fmla="*/ 0 h 1"/>
                  <a:gd name="T14" fmla="*/ 1 w 1"/>
                  <a:gd name="T15" fmla="*/ 0 h 1"/>
                  <a:gd name="T16" fmla="*/ 0 w 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0" y="0"/>
                    </a:moveTo>
                    <a:cubicBezTo>
                      <a:pt x="0" y="0"/>
                      <a:pt x="0" y="1"/>
                      <a:pt x="0" y="1"/>
                    </a:cubicBezTo>
                    <a:cubicBezTo>
                      <a:pt x="0" y="1"/>
                      <a:pt x="0" y="1"/>
                      <a:pt x="0" y="1"/>
                    </a:cubicBezTo>
                    <a:cubicBezTo>
                      <a:pt x="0" y="1"/>
                      <a:pt x="0" y="1"/>
                      <a:pt x="0" y="1"/>
                    </a:cubicBezTo>
                    <a:cubicBezTo>
                      <a:pt x="0" y="1"/>
                      <a:pt x="1" y="1"/>
                      <a:pt x="1" y="1"/>
                    </a:cubicBezTo>
                    <a:cubicBezTo>
                      <a:pt x="1" y="1"/>
                      <a:pt x="1" y="1"/>
                      <a:pt x="1" y="1"/>
                    </a:cubicBezTo>
                    <a:cubicBezTo>
                      <a:pt x="1" y="1"/>
                      <a:pt x="1" y="0"/>
                      <a:pt x="1" y="0"/>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0" name="Freeform 2831">
                <a:extLst>
                  <a:ext uri="{FF2B5EF4-FFF2-40B4-BE49-F238E27FC236}">
                    <a16:creationId xmlns:a16="http://schemas.microsoft.com/office/drawing/2014/main" id="{76F39B2E-897C-47C1-A4C8-F4A2FBD10E99}"/>
                  </a:ext>
                </a:extLst>
              </p:cNvPr>
              <p:cNvSpPr>
                <a:spLocks/>
              </p:cNvSpPr>
              <p:nvPr/>
            </p:nvSpPr>
            <p:spPr bwMode="auto">
              <a:xfrm>
                <a:off x="4998" y="1579"/>
                <a:ext cx="12" cy="7"/>
              </a:xfrm>
              <a:custGeom>
                <a:avLst/>
                <a:gdLst>
                  <a:gd name="T0" fmla="*/ 0 w 5"/>
                  <a:gd name="T1" fmla="*/ 1 h 3"/>
                  <a:gd name="T2" fmla="*/ 2 w 5"/>
                  <a:gd name="T3" fmla="*/ 2 h 3"/>
                  <a:gd name="T4" fmla="*/ 5 w 5"/>
                  <a:gd name="T5" fmla="*/ 1 h 3"/>
                  <a:gd name="T6" fmla="*/ 0 w 5"/>
                  <a:gd name="T7" fmla="*/ 1 h 3"/>
                </a:gdLst>
                <a:ahLst/>
                <a:cxnLst>
                  <a:cxn ang="0">
                    <a:pos x="T0" y="T1"/>
                  </a:cxn>
                  <a:cxn ang="0">
                    <a:pos x="T2" y="T3"/>
                  </a:cxn>
                  <a:cxn ang="0">
                    <a:pos x="T4" y="T5"/>
                  </a:cxn>
                  <a:cxn ang="0">
                    <a:pos x="T6" y="T7"/>
                  </a:cxn>
                </a:cxnLst>
                <a:rect l="0" t="0" r="r" b="b"/>
                <a:pathLst>
                  <a:path w="5" h="3">
                    <a:moveTo>
                      <a:pt x="0" y="1"/>
                    </a:moveTo>
                    <a:cubicBezTo>
                      <a:pt x="0" y="2"/>
                      <a:pt x="2" y="2"/>
                      <a:pt x="2" y="2"/>
                    </a:cubicBezTo>
                    <a:cubicBezTo>
                      <a:pt x="4" y="3"/>
                      <a:pt x="4" y="2"/>
                      <a:pt x="5" y="1"/>
                    </a:cubicBezTo>
                    <a:cubicBezTo>
                      <a:pt x="5"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1" name="Freeform 2832">
                <a:extLst>
                  <a:ext uri="{FF2B5EF4-FFF2-40B4-BE49-F238E27FC236}">
                    <a16:creationId xmlns:a16="http://schemas.microsoft.com/office/drawing/2014/main" id="{8E7EA137-AAB6-4719-ABEB-8C8818694D11}"/>
                  </a:ext>
                </a:extLst>
              </p:cNvPr>
              <p:cNvSpPr>
                <a:spLocks/>
              </p:cNvSpPr>
              <p:nvPr/>
            </p:nvSpPr>
            <p:spPr bwMode="auto">
              <a:xfrm>
                <a:off x="7467" y="697"/>
                <a:ext cx="4" cy="2"/>
              </a:xfrm>
              <a:custGeom>
                <a:avLst/>
                <a:gdLst>
                  <a:gd name="T0" fmla="*/ 2 w 2"/>
                  <a:gd name="T1" fmla="*/ 0 h 1"/>
                  <a:gd name="T2" fmla="*/ 0 w 2"/>
                  <a:gd name="T3" fmla="*/ 0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0"/>
                      <a:pt x="0" y="0"/>
                    </a:cubicBezTo>
                    <a:cubicBezTo>
                      <a:pt x="1" y="1"/>
                      <a:pt x="1" y="1"/>
                      <a:pt x="2" y="1"/>
                    </a:cubicBezTo>
                    <a:cubicBezTo>
                      <a:pt x="2" y="1"/>
                      <a:pt x="2"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2" name="Freeform 2833">
                <a:extLst>
                  <a:ext uri="{FF2B5EF4-FFF2-40B4-BE49-F238E27FC236}">
                    <a16:creationId xmlns:a16="http://schemas.microsoft.com/office/drawing/2014/main" id="{888D447A-DAC9-45E0-A186-D685655565D2}"/>
                  </a:ext>
                </a:extLst>
              </p:cNvPr>
              <p:cNvSpPr>
                <a:spLocks/>
              </p:cNvSpPr>
              <p:nvPr/>
            </p:nvSpPr>
            <p:spPr bwMode="auto">
              <a:xfrm>
                <a:off x="7422" y="687"/>
                <a:ext cx="7" cy="5"/>
              </a:xfrm>
              <a:custGeom>
                <a:avLst/>
                <a:gdLst>
                  <a:gd name="T0" fmla="*/ 1 w 3"/>
                  <a:gd name="T1" fmla="*/ 1 h 2"/>
                  <a:gd name="T2" fmla="*/ 3 w 3"/>
                  <a:gd name="T3" fmla="*/ 1 h 2"/>
                  <a:gd name="T4" fmla="*/ 1 w 3"/>
                  <a:gd name="T5" fmla="*/ 0 h 2"/>
                  <a:gd name="T6" fmla="*/ 1 w 3"/>
                  <a:gd name="T7" fmla="*/ 0 h 2"/>
                  <a:gd name="T8" fmla="*/ 1 w 3"/>
                  <a:gd name="T9" fmla="*/ 0 h 2"/>
                  <a:gd name="T10" fmla="*/ 0 w 3"/>
                  <a:gd name="T11" fmla="*/ 0 h 2"/>
                  <a:gd name="T12" fmla="*/ 1 w 3"/>
                  <a:gd name="T13" fmla="*/ 0 h 2"/>
                  <a:gd name="T14" fmla="*/ 1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1"/>
                    </a:moveTo>
                    <a:cubicBezTo>
                      <a:pt x="2" y="2"/>
                      <a:pt x="2" y="1"/>
                      <a:pt x="3" y="1"/>
                    </a:cubicBezTo>
                    <a:cubicBezTo>
                      <a:pt x="3" y="1"/>
                      <a:pt x="2" y="0"/>
                      <a:pt x="1" y="0"/>
                    </a:cubicBezTo>
                    <a:cubicBezTo>
                      <a:pt x="1" y="0"/>
                      <a:pt x="1" y="0"/>
                      <a:pt x="1" y="0"/>
                    </a:cubicBezTo>
                    <a:cubicBezTo>
                      <a:pt x="1" y="0"/>
                      <a:pt x="1" y="0"/>
                      <a:pt x="1" y="0"/>
                    </a:cubicBezTo>
                    <a:cubicBezTo>
                      <a:pt x="1" y="0"/>
                      <a:pt x="1" y="0"/>
                      <a:pt x="0" y="0"/>
                    </a:cubicBezTo>
                    <a:cubicBezTo>
                      <a:pt x="0" y="0"/>
                      <a:pt x="0" y="0"/>
                      <a:pt x="1"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3" name="Freeform 2834">
                <a:extLst>
                  <a:ext uri="{FF2B5EF4-FFF2-40B4-BE49-F238E27FC236}">
                    <a16:creationId xmlns:a16="http://schemas.microsoft.com/office/drawing/2014/main" id="{8B923326-ED3C-4651-861F-3F6C1427AC51}"/>
                  </a:ext>
                </a:extLst>
              </p:cNvPr>
              <p:cNvSpPr>
                <a:spLocks/>
              </p:cNvSpPr>
              <p:nvPr/>
            </p:nvSpPr>
            <p:spPr bwMode="auto">
              <a:xfrm>
                <a:off x="6549" y="548"/>
                <a:ext cx="10" cy="4"/>
              </a:xfrm>
              <a:custGeom>
                <a:avLst/>
                <a:gdLst>
                  <a:gd name="T0" fmla="*/ 1 w 4"/>
                  <a:gd name="T1" fmla="*/ 2 h 2"/>
                  <a:gd name="T2" fmla="*/ 1 w 4"/>
                  <a:gd name="T3" fmla="*/ 2 h 2"/>
                  <a:gd name="T4" fmla="*/ 3 w 4"/>
                  <a:gd name="T5" fmla="*/ 2 h 2"/>
                  <a:gd name="T6" fmla="*/ 3 w 4"/>
                  <a:gd name="T7" fmla="*/ 2 h 2"/>
                  <a:gd name="T8" fmla="*/ 3 w 4"/>
                  <a:gd name="T9" fmla="*/ 1 h 2"/>
                  <a:gd name="T10" fmla="*/ 3 w 4"/>
                  <a:gd name="T11" fmla="*/ 1 h 2"/>
                  <a:gd name="T12" fmla="*/ 3 w 4"/>
                  <a:gd name="T13" fmla="*/ 1 h 2"/>
                  <a:gd name="T14" fmla="*/ 3 w 4"/>
                  <a:gd name="T15" fmla="*/ 1 h 2"/>
                  <a:gd name="T16" fmla="*/ 1 w 4"/>
                  <a:gd name="T17" fmla="*/ 1 h 2"/>
                  <a:gd name="T18" fmla="*/ 0 w 4"/>
                  <a:gd name="T19" fmla="*/ 2 h 2"/>
                  <a:gd name="T20" fmla="*/ 1 w 4"/>
                  <a:gd name="T21" fmla="*/ 2 h 2"/>
                  <a:gd name="T22" fmla="*/ 1 w 4"/>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1" y="2"/>
                    </a:moveTo>
                    <a:cubicBezTo>
                      <a:pt x="1" y="2"/>
                      <a:pt x="1" y="2"/>
                      <a:pt x="1" y="2"/>
                    </a:cubicBezTo>
                    <a:cubicBezTo>
                      <a:pt x="2" y="2"/>
                      <a:pt x="2" y="2"/>
                      <a:pt x="3" y="2"/>
                    </a:cubicBezTo>
                    <a:cubicBezTo>
                      <a:pt x="3" y="2"/>
                      <a:pt x="3" y="2"/>
                      <a:pt x="3" y="2"/>
                    </a:cubicBezTo>
                    <a:cubicBezTo>
                      <a:pt x="3" y="2"/>
                      <a:pt x="4" y="2"/>
                      <a:pt x="3" y="1"/>
                    </a:cubicBezTo>
                    <a:cubicBezTo>
                      <a:pt x="3" y="1"/>
                      <a:pt x="3" y="1"/>
                      <a:pt x="3" y="1"/>
                    </a:cubicBezTo>
                    <a:cubicBezTo>
                      <a:pt x="3" y="1"/>
                      <a:pt x="3" y="1"/>
                      <a:pt x="3" y="1"/>
                    </a:cubicBezTo>
                    <a:cubicBezTo>
                      <a:pt x="3" y="1"/>
                      <a:pt x="3" y="1"/>
                      <a:pt x="3" y="1"/>
                    </a:cubicBezTo>
                    <a:cubicBezTo>
                      <a:pt x="2" y="0"/>
                      <a:pt x="1" y="1"/>
                      <a:pt x="1" y="1"/>
                    </a:cubicBezTo>
                    <a:cubicBezTo>
                      <a:pt x="1" y="1"/>
                      <a:pt x="1" y="2"/>
                      <a:pt x="0" y="2"/>
                    </a:cubicBezTo>
                    <a:cubicBezTo>
                      <a:pt x="0" y="2"/>
                      <a:pt x="1" y="2"/>
                      <a:pt x="1"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4" name="Freeform 2835">
                <a:extLst>
                  <a:ext uri="{FF2B5EF4-FFF2-40B4-BE49-F238E27FC236}">
                    <a16:creationId xmlns:a16="http://schemas.microsoft.com/office/drawing/2014/main" id="{67581ECD-A803-4362-8B35-3C4E5E0DB0B8}"/>
                  </a:ext>
                </a:extLst>
              </p:cNvPr>
              <p:cNvSpPr>
                <a:spLocks/>
              </p:cNvSpPr>
              <p:nvPr/>
            </p:nvSpPr>
            <p:spPr bwMode="auto">
              <a:xfrm>
                <a:off x="6495" y="2026"/>
                <a:ext cx="9" cy="5"/>
              </a:xfrm>
              <a:custGeom>
                <a:avLst/>
                <a:gdLst>
                  <a:gd name="T0" fmla="*/ 0 w 4"/>
                  <a:gd name="T1" fmla="*/ 0 h 2"/>
                  <a:gd name="T2" fmla="*/ 3 w 4"/>
                  <a:gd name="T3" fmla="*/ 2 h 2"/>
                  <a:gd name="T4" fmla="*/ 0 w 4"/>
                  <a:gd name="T5" fmla="*/ 0 h 2"/>
                </a:gdLst>
                <a:ahLst/>
                <a:cxnLst>
                  <a:cxn ang="0">
                    <a:pos x="T0" y="T1"/>
                  </a:cxn>
                  <a:cxn ang="0">
                    <a:pos x="T2" y="T3"/>
                  </a:cxn>
                  <a:cxn ang="0">
                    <a:pos x="T4" y="T5"/>
                  </a:cxn>
                </a:cxnLst>
                <a:rect l="0" t="0" r="r" b="b"/>
                <a:pathLst>
                  <a:path w="4" h="2">
                    <a:moveTo>
                      <a:pt x="0" y="0"/>
                    </a:moveTo>
                    <a:cubicBezTo>
                      <a:pt x="1" y="1"/>
                      <a:pt x="2" y="2"/>
                      <a:pt x="3" y="2"/>
                    </a:cubicBezTo>
                    <a:cubicBezTo>
                      <a:pt x="4"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5" name="Freeform 2836">
                <a:extLst>
                  <a:ext uri="{FF2B5EF4-FFF2-40B4-BE49-F238E27FC236}">
                    <a16:creationId xmlns:a16="http://schemas.microsoft.com/office/drawing/2014/main" id="{167FEED9-6076-42DD-B426-514FDBE3F7AA}"/>
                  </a:ext>
                </a:extLst>
              </p:cNvPr>
              <p:cNvSpPr>
                <a:spLocks/>
              </p:cNvSpPr>
              <p:nvPr/>
            </p:nvSpPr>
            <p:spPr bwMode="auto">
              <a:xfrm>
                <a:off x="6497" y="2036"/>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6" name="Freeform 2837">
                <a:extLst>
                  <a:ext uri="{FF2B5EF4-FFF2-40B4-BE49-F238E27FC236}">
                    <a16:creationId xmlns:a16="http://schemas.microsoft.com/office/drawing/2014/main" id="{2693919C-4849-428B-BC5F-FD038E66E45B}"/>
                  </a:ext>
                </a:extLst>
              </p:cNvPr>
              <p:cNvSpPr>
                <a:spLocks/>
              </p:cNvSpPr>
              <p:nvPr/>
            </p:nvSpPr>
            <p:spPr bwMode="auto">
              <a:xfrm>
                <a:off x="6391" y="2677"/>
                <a:ext cx="5" cy="2"/>
              </a:xfrm>
              <a:custGeom>
                <a:avLst/>
                <a:gdLst>
                  <a:gd name="T0" fmla="*/ 0 w 2"/>
                  <a:gd name="T1" fmla="*/ 0 h 1"/>
                  <a:gd name="T2" fmla="*/ 1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1" y="0"/>
                      <a:pt x="1" y="1"/>
                      <a:pt x="1" y="1"/>
                    </a:cubicBezTo>
                    <a:cubicBezTo>
                      <a:pt x="2" y="1"/>
                      <a:pt x="2" y="1"/>
                      <a:pt x="2"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7" name="Freeform 2838">
                <a:extLst>
                  <a:ext uri="{FF2B5EF4-FFF2-40B4-BE49-F238E27FC236}">
                    <a16:creationId xmlns:a16="http://schemas.microsoft.com/office/drawing/2014/main" id="{5053589C-7929-46B0-BEF0-613C84B464C6}"/>
                  </a:ext>
                </a:extLst>
              </p:cNvPr>
              <p:cNvSpPr>
                <a:spLocks/>
              </p:cNvSpPr>
              <p:nvPr/>
            </p:nvSpPr>
            <p:spPr bwMode="auto">
              <a:xfrm>
                <a:off x="6393" y="2691"/>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0"/>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8" name="Freeform 2839">
                <a:extLst>
                  <a:ext uri="{FF2B5EF4-FFF2-40B4-BE49-F238E27FC236}">
                    <a16:creationId xmlns:a16="http://schemas.microsoft.com/office/drawing/2014/main" id="{F805CA0E-37AC-4146-ABE5-B0ABBF0EB16C}"/>
                  </a:ext>
                </a:extLst>
              </p:cNvPr>
              <p:cNvSpPr>
                <a:spLocks/>
              </p:cNvSpPr>
              <p:nvPr/>
            </p:nvSpPr>
            <p:spPr bwMode="auto">
              <a:xfrm>
                <a:off x="6386" y="2693"/>
                <a:ext cx="5" cy="5"/>
              </a:xfrm>
              <a:custGeom>
                <a:avLst/>
                <a:gdLst>
                  <a:gd name="T0" fmla="*/ 2 w 2"/>
                  <a:gd name="T1" fmla="*/ 2 h 2"/>
                  <a:gd name="T2" fmla="*/ 1 w 2"/>
                  <a:gd name="T3" fmla="*/ 0 h 2"/>
                  <a:gd name="T4" fmla="*/ 2 w 2"/>
                  <a:gd name="T5" fmla="*/ 2 h 2"/>
                </a:gdLst>
                <a:ahLst/>
                <a:cxnLst>
                  <a:cxn ang="0">
                    <a:pos x="T0" y="T1"/>
                  </a:cxn>
                  <a:cxn ang="0">
                    <a:pos x="T2" y="T3"/>
                  </a:cxn>
                  <a:cxn ang="0">
                    <a:pos x="T4" y="T5"/>
                  </a:cxn>
                </a:cxnLst>
                <a:rect l="0" t="0" r="r" b="b"/>
                <a:pathLst>
                  <a:path w="2" h="2">
                    <a:moveTo>
                      <a:pt x="2" y="2"/>
                    </a:moveTo>
                    <a:cubicBezTo>
                      <a:pt x="1" y="2"/>
                      <a:pt x="1" y="1"/>
                      <a:pt x="1"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9" name="Freeform 2840">
                <a:extLst>
                  <a:ext uri="{FF2B5EF4-FFF2-40B4-BE49-F238E27FC236}">
                    <a16:creationId xmlns:a16="http://schemas.microsoft.com/office/drawing/2014/main" id="{1B828957-5061-4C75-9E4B-1B6BBD734E37}"/>
                  </a:ext>
                </a:extLst>
              </p:cNvPr>
              <p:cNvSpPr>
                <a:spLocks/>
              </p:cNvSpPr>
              <p:nvPr/>
            </p:nvSpPr>
            <p:spPr bwMode="auto">
              <a:xfrm>
                <a:off x="6379" y="2691"/>
                <a:ext cx="7" cy="2"/>
              </a:xfrm>
              <a:custGeom>
                <a:avLst/>
                <a:gdLst>
                  <a:gd name="T0" fmla="*/ 1 w 3"/>
                  <a:gd name="T1" fmla="*/ 1 h 1"/>
                  <a:gd name="T2" fmla="*/ 2 w 3"/>
                  <a:gd name="T3" fmla="*/ 1 h 1"/>
                  <a:gd name="T4" fmla="*/ 3 w 3"/>
                  <a:gd name="T5" fmla="*/ 1 h 1"/>
                  <a:gd name="T6" fmla="*/ 3 w 3"/>
                  <a:gd name="T7" fmla="*/ 1 h 1"/>
                  <a:gd name="T8" fmla="*/ 0 w 3"/>
                  <a:gd name="T9" fmla="*/ 0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1" y="1"/>
                      <a:pt x="1" y="1"/>
                      <a:pt x="2" y="1"/>
                    </a:cubicBezTo>
                    <a:cubicBezTo>
                      <a:pt x="2" y="1"/>
                      <a:pt x="2" y="1"/>
                      <a:pt x="3" y="1"/>
                    </a:cubicBezTo>
                    <a:cubicBezTo>
                      <a:pt x="3" y="1"/>
                      <a:pt x="3" y="1"/>
                      <a:pt x="3" y="1"/>
                    </a:cubicBezTo>
                    <a:cubicBezTo>
                      <a:pt x="2" y="0"/>
                      <a:pt x="1" y="0"/>
                      <a:pt x="0" y="0"/>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0" name="Freeform 2841">
                <a:extLst>
                  <a:ext uri="{FF2B5EF4-FFF2-40B4-BE49-F238E27FC236}">
                    <a16:creationId xmlns:a16="http://schemas.microsoft.com/office/drawing/2014/main" id="{6E6C071E-81D3-4817-9219-895E9EB22CC5}"/>
                  </a:ext>
                </a:extLst>
              </p:cNvPr>
              <p:cNvSpPr>
                <a:spLocks/>
              </p:cNvSpPr>
              <p:nvPr/>
            </p:nvSpPr>
            <p:spPr bwMode="auto">
              <a:xfrm>
                <a:off x="5180" y="7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1" name="Freeform 2842">
                <a:extLst>
                  <a:ext uri="{FF2B5EF4-FFF2-40B4-BE49-F238E27FC236}">
                    <a16:creationId xmlns:a16="http://schemas.microsoft.com/office/drawing/2014/main" id="{90D5EB5C-20E2-473E-896E-41E8B7E06C1E}"/>
                  </a:ext>
                </a:extLst>
              </p:cNvPr>
              <p:cNvSpPr>
                <a:spLocks/>
              </p:cNvSpPr>
              <p:nvPr/>
            </p:nvSpPr>
            <p:spPr bwMode="auto">
              <a:xfrm>
                <a:off x="6292" y="559"/>
                <a:ext cx="2" cy="3"/>
              </a:xfrm>
              <a:custGeom>
                <a:avLst/>
                <a:gdLst>
                  <a:gd name="T0" fmla="*/ 1 w 1"/>
                  <a:gd name="T1" fmla="*/ 0 h 1"/>
                  <a:gd name="T2" fmla="*/ 1 w 1"/>
                  <a:gd name="T3" fmla="*/ 0 h 1"/>
                  <a:gd name="T4" fmla="*/ 0 w 1"/>
                  <a:gd name="T5" fmla="*/ 0 h 1"/>
                  <a:gd name="T6" fmla="*/ 0 w 1"/>
                  <a:gd name="T7" fmla="*/ 0 h 1"/>
                  <a:gd name="T8" fmla="*/ 1 w 1"/>
                  <a:gd name="T9" fmla="*/ 1 h 1"/>
                  <a:gd name="T10" fmla="*/ 1 w 1"/>
                  <a:gd name="T11" fmla="*/ 1 h 1"/>
                  <a:gd name="T12" fmla="*/ 1 w 1"/>
                  <a:gd name="T13" fmla="*/ 1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0" y="0"/>
                      <a:pt x="0" y="0"/>
                      <a:pt x="0" y="0"/>
                    </a:cubicBezTo>
                    <a:cubicBezTo>
                      <a:pt x="0" y="0"/>
                      <a:pt x="0" y="0"/>
                      <a:pt x="0" y="0"/>
                    </a:cubicBezTo>
                    <a:cubicBezTo>
                      <a:pt x="1" y="0"/>
                      <a:pt x="1" y="0"/>
                      <a:pt x="1" y="1"/>
                    </a:cubicBezTo>
                    <a:cubicBezTo>
                      <a:pt x="1" y="1"/>
                      <a:pt x="1" y="1"/>
                      <a:pt x="1" y="1"/>
                    </a:cubicBezTo>
                    <a:cubicBezTo>
                      <a:pt x="1" y="1"/>
                      <a:pt x="1" y="1"/>
                      <a:pt x="1"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2" name="Rectangle 2843">
                <a:extLst>
                  <a:ext uri="{FF2B5EF4-FFF2-40B4-BE49-F238E27FC236}">
                    <a16:creationId xmlns:a16="http://schemas.microsoft.com/office/drawing/2014/main" id="{1F4E68AC-E5BB-4B9F-9BF7-DFDBA5244E66}"/>
                  </a:ext>
                </a:extLst>
              </p:cNvPr>
              <p:cNvSpPr>
                <a:spLocks noChangeArrowheads="1"/>
              </p:cNvSpPr>
              <p:nvPr/>
            </p:nvSpPr>
            <p:spPr bwMode="auto">
              <a:xfrm>
                <a:off x="4131" y="90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3" name="Freeform 2844">
                <a:extLst>
                  <a:ext uri="{FF2B5EF4-FFF2-40B4-BE49-F238E27FC236}">
                    <a16:creationId xmlns:a16="http://schemas.microsoft.com/office/drawing/2014/main" id="{AEF37DBE-E066-4BCD-8E76-0E9EE2D31259}"/>
                  </a:ext>
                </a:extLst>
              </p:cNvPr>
              <p:cNvSpPr>
                <a:spLocks/>
              </p:cNvSpPr>
              <p:nvPr/>
            </p:nvSpPr>
            <p:spPr bwMode="auto">
              <a:xfrm>
                <a:off x="3686" y="1451"/>
                <a:ext cx="22" cy="22"/>
              </a:xfrm>
              <a:custGeom>
                <a:avLst/>
                <a:gdLst>
                  <a:gd name="T0" fmla="*/ 8 w 9"/>
                  <a:gd name="T1" fmla="*/ 5 h 9"/>
                  <a:gd name="T2" fmla="*/ 8 w 9"/>
                  <a:gd name="T3" fmla="*/ 5 h 9"/>
                  <a:gd name="T4" fmla="*/ 8 w 9"/>
                  <a:gd name="T5" fmla="*/ 5 h 9"/>
                  <a:gd name="T6" fmla="*/ 7 w 9"/>
                  <a:gd name="T7" fmla="*/ 5 h 9"/>
                  <a:gd name="T8" fmla="*/ 6 w 9"/>
                  <a:gd name="T9" fmla="*/ 4 h 9"/>
                  <a:gd name="T10" fmla="*/ 5 w 9"/>
                  <a:gd name="T11" fmla="*/ 2 h 9"/>
                  <a:gd name="T12" fmla="*/ 5 w 9"/>
                  <a:gd name="T13" fmla="*/ 2 h 9"/>
                  <a:gd name="T14" fmla="*/ 5 w 9"/>
                  <a:gd name="T15" fmla="*/ 2 h 9"/>
                  <a:gd name="T16" fmla="*/ 4 w 9"/>
                  <a:gd name="T17" fmla="*/ 0 h 9"/>
                  <a:gd name="T18" fmla="*/ 4 w 9"/>
                  <a:gd name="T19" fmla="*/ 0 h 9"/>
                  <a:gd name="T20" fmla="*/ 3 w 9"/>
                  <a:gd name="T21" fmla="*/ 0 h 9"/>
                  <a:gd name="T22" fmla="*/ 3 w 9"/>
                  <a:gd name="T23" fmla="*/ 0 h 9"/>
                  <a:gd name="T24" fmla="*/ 2 w 9"/>
                  <a:gd name="T25" fmla="*/ 1 h 9"/>
                  <a:gd name="T26" fmla="*/ 2 w 9"/>
                  <a:gd name="T27" fmla="*/ 2 h 9"/>
                  <a:gd name="T28" fmla="*/ 2 w 9"/>
                  <a:gd name="T29" fmla="*/ 2 h 9"/>
                  <a:gd name="T30" fmla="*/ 1 w 9"/>
                  <a:gd name="T31" fmla="*/ 4 h 9"/>
                  <a:gd name="T32" fmla="*/ 1 w 9"/>
                  <a:gd name="T33" fmla="*/ 4 h 9"/>
                  <a:gd name="T34" fmla="*/ 2 w 9"/>
                  <a:gd name="T35" fmla="*/ 7 h 9"/>
                  <a:gd name="T36" fmla="*/ 2 w 9"/>
                  <a:gd name="T37" fmla="*/ 8 h 9"/>
                  <a:gd name="T38" fmla="*/ 1 w 9"/>
                  <a:gd name="T39" fmla="*/ 8 h 9"/>
                  <a:gd name="T40" fmla="*/ 2 w 9"/>
                  <a:gd name="T41" fmla="*/ 9 h 9"/>
                  <a:gd name="T42" fmla="*/ 5 w 9"/>
                  <a:gd name="T43" fmla="*/ 9 h 9"/>
                  <a:gd name="T44" fmla="*/ 6 w 9"/>
                  <a:gd name="T45" fmla="*/ 9 h 9"/>
                  <a:gd name="T46" fmla="*/ 7 w 9"/>
                  <a:gd name="T47" fmla="*/ 9 h 9"/>
                  <a:gd name="T48" fmla="*/ 7 w 9"/>
                  <a:gd name="T49" fmla="*/ 9 h 9"/>
                  <a:gd name="T50" fmla="*/ 7 w 9"/>
                  <a:gd name="T51" fmla="*/ 9 h 9"/>
                  <a:gd name="T52" fmla="*/ 7 w 9"/>
                  <a:gd name="T53" fmla="*/ 9 h 9"/>
                  <a:gd name="T54" fmla="*/ 7 w 9"/>
                  <a:gd name="T55" fmla="*/ 9 h 9"/>
                  <a:gd name="T56" fmla="*/ 7 w 9"/>
                  <a:gd name="T57" fmla="*/ 9 h 9"/>
                  <a:gd name="T58" fmla="*/ 8 w 9"/>
                  <a:gd name="T5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 h="9">
                    <a:moveTo>
                      <a:pt x="8" y="5"/>
                    </a:moveTo>
                    <a:cubicBezTo>
                      <a:pt x="8" y="5"/>
                      <a:pt x="8" y="5"/>
                      <a:pt x="8" y="5"/>
                    </a:cubicBezTo>
                    <a:cubicBezTo>
                      <a:pt x="8" y="5"/>
                      <a:pt x="8" y="5"/>
                      <a:pt x="8" y="5"/>
                    </a:cubicBezTo>
                    <a:cubicBezTo>
                      <a:pt x="7" y="5"/>
                      <a:pt x="7" y="5"/>
                      <a:pt x="7" y="5"/>
                    </a:cubicBezTo>
                    <a:cubicBezTo>
                      <a:pt x="7" y="4"/>
                      <a:pt x="7" y="4"/>
                      <a:pt x="6" y="4"/>
                    </a:cubicBezTo>
                    <a:cubicBezTo>
                      <a:pt x="6" y="4"/>
                      <a:pt x="5" y="3"/>
                      <a:pt x="5" y="2"/>
                    </a:cubicBezTo>
                    <a:cubicBezTo>
                      <a:pt x="5" y="2"/>
                      <a:pt x="5" y="2"/>
                      <a:pt x="5" y="2"/>
                    </a:cubicBezTo>
                    <a:cubicBezTo>
                      <a:pt x="5" y="2"/>
                      <a:pt x="5" y="2"/>
                      <a:pt x="5" y="2"/>
                    </a:cubicBezTo>
                    <a:cubicBezTo>
                      <a:pt x="5" y="1"/>
                      <a:pt x="4" y="1"/>
                      <a:pt x="4" y="0"/>
                    </a:cubicBezTo>
                    <a:cubicBezTo>
                      <a:pt x="4" y="0"/>
                      <a:pt x="4" y="0"/>
                      <a:pt x="4" y="0"/>
                    </a:cubicBezTo>
                    <a:cubicBezTo>
                      <a:pt x="4" y="0"/>
                      <a:pt x="4" y="0"/>
                      <a:pt x="3" y="0"/>
                    </a:cubicBezTo>
                    <a:cubicBezTo>
                      <a:pt x="3" y="0"/>
                      <a:pt x="3" y="0"/>
                      <a:pt x="3" y="0"/>
                    </a:cubicBezTo>
                    <a:cubicBezTo>
                      <a:pt x="3" y="0"/>
                      <a:pt x="2" y="1"/>
                      <a:pt x="2" y="1"/>
                    </a:cubicBezTo>
                    <a:cubicBezTo>
                      <a:pt x="2" y="1"/>
                      <a:pt x="2" y="2"/>
                      <a:pt x="2" y="2"/>
                    </a:cubicBezTo>
                    <a:cubicBezTo>
                      <a:pt x="2" y="2"/>
                      <a:pt x="2" y="2"/>
                      <a:pt x="2" y="2"/>
                    </a:cubicBezTo>
                    <a:cubicBezTo>
                      <a:pt x="1" y="3"/>
                      <a:pt x="1" y="3"/>
                      <a:pt x="1" y="4"/>
                    </a:cubicBezTo>
                    <a:cubicBezTo>
                      <a:pt x="1" y="4"/>
                      <a:pt x="1" y="4"/>
                      <a:pt x="1" y="4"/>
                    </a:cubicBezTo>
                    <a:cubicBezTo>
                      <a:pt x="0" y="4"/>
                      <a:pt x="2" y="5"/>
                      <a:pt x="2" y="7"/>
                    </a:cubicBezTo>
                    <a:cubicBezTo>
                      <a:pt x="2" y="7"/>
                      <a:pt x="2" y="8"/>
                      <a:pt x="2" y="8"/>
                    </a:cubicBezTo>
                    <a:cubicBezTo>
                      <a:pt x="1" y="8"/>
                      <a:pt x="1" y="8"/>
                      <a:pt x="1" y="8"/>
                    </a:cubicBezTo>
                    <a:cubicBezTo>
                      <a:pt x="2" y="8"/>
                      <a:pt x="2" y="9"/>
                      <a:pt x="2" y="9"/>
                    </a:cubicBezTo>
                    <a:cubicBezTo>
                      <a:pt x="3" y="9"/>
                      <a:pt x="4" y="9"/>
                      <a:pt x="5" y="9"/>
                    </a:cubicBezTo>
                    <a:cubicBezTo>
                      <a:pt x="5" y="9"/>
                      <a:pt x="6" y="9"/>
                      <a:pt x="6" y="9"/>
                    </a:cubicBezTo>
                    <a:cubicBezTo>
                      <a:pt x="6"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6" y="8"/>
                      <a:pt x="9" y="6"/>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4" name="Rectangle 2845">
                <a:extLst>
                  <a:ext uri="{FF2B5EF4-FFF2-40B4-BE49-F238E27FC236}">
                    <a16:creationId xmlns:a16="http://schemas.microsoft.com/office/drawing/2014/main" id="{5FEDAD39-1D2A-4603-BBA6-178B36DD398C}"/>
                  </a:ext>
                </a:extLst>
              </p:cNvPr>
              <p:cNvSpPr>
                <a:spLocks noChangeArrowheads="1"/>
              </p:cNvSpPr>
              <p:nvPr/>
            </p:nvSpPr>
            <p:spPr bwMode="auto">
              <a:xfrm>
                <a:off x="4731" y="155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5" name="Freeform 2846">
                <a:extLst>
                  <a:ext uri="{FF2B5EF4-FFF2-40B4-BE49-F238E27FC236}">
                    <a16:creationId xmlns:a16="http://schemas.microsoft.com/office/drawing/2014/main" id="{420BFB8C-5BB4-4291-9F69-16BF30B7A173}"/>
                  </a:ext>
                </a:extLst>
              </p:cNvPr>
              <p:cNvSpPr>
                <a:spLocks/>
              </p:cNvSpPr>
              <p:nvPr/>
            </p:nvSpPr>
            <p:spPr bwMode="auto">
              <a:xfrm>
                <a:off x="6304" y="2225"/>
                <a:ext cx="7" cy="5"/>
              </a:xfrm>
              <a:custGeom>
                <a:avLst/>
                <a:gdLst>
                  <a:gd name="T0" fmla="*/ 0 w 3"/>
                  <a:gd name="T1" fmla="*/ 1 h 2"/>
                  <a:gd name="T2" fmla="*/ 2 w 3"/>
                  <a:gd name="T3" fmla="*/ 2 h 2"/>
                  <a:gd name="T4" fmla="*/ 3 w 3"/>
                  <a:gd name="T5" fmla="*/ 1 h 2"/>
                  <a:gd name="T6" fmla="*/ 3 w 3"/>
                  <a:gd name="T7" fmla="*/ 1 h 2"/>
                  <a:gd name="T8" fmla="*/ 2 w 3"/>
                  <a:gd name="T9" fmla="*/ 0 h 2"/>
                  <a:gd name="T10" fmla="*/ 1 w 3"/>
                  <a:gd name="T11" fmla="*/ 0 h 2"/>
                  <a:gd name="T12" fmla="*/ 0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1"/>
                    </a:moveTo>
                    <a:cubicBezTo>
                      <a:pt x="1" y="2"/>
                      <a:pt x="2" y="2"/>
                      <a:pt x="2" y="2"/>
                    </a:cubicBezTo>
                    <a:cubicBezTo>
                      <a:pt x="2" y="2"/>
                      <a:pt x="3" y="1"/>
                      <a:pt x="3" y="1"/>
                    </a:cubicBezTo>
                    <a:cubicBezTo>
                      <a:pt x="3" y="1"/>
                      <a:pt x="3" y="1"/>
                      <a:pt x="3" y="1"/>
                    </a:cubicBezTo>
                    <a:cubicBezTo>
                      <a:pt x="3" y="0"/>
                      <a:pt x="3" y="0"/>
                      <a:pt x="2" y="0"/>
                    </a:cubicBezTo>
                    <a:cubicBezTo>
                      <a:pt x="2" y="0"/>
                      <a:pt x="0" y="1"/>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6" name="Freeform 2847">
                <a:extLst>
                  <a:ext uri="{FF2B5EF4-FFF2-40B4-BE49-F238E27FC236}">
                    <a16:creationId xmlns:a16="http://schemas.microsoft.com/office/drawing/2014/main" id="{9E17EF47-D79B-46A9-8D4C-055B86B828F4}"/>
                  </a:ext>
                </a:extLst>
              </p:cNvPr>
              <p:cNvSpPr>
                <a:spLocks/>
              </p:cNvSpPr>
              <p:nvPr/>
            </p:nvSpPr>
            <p:spPr bwMode="auto">
              <a:xfrm>
                <a:off x="4109" y="1153"/>
                <a:ext cx="5" cy="5"/>
              </a:xfrm>
              <a:custGeom>
                <a:avLst/>
                <a:gdLst>
                  <a:gd name="T0" fmla="*/ 2 w 2"/>
                  <a:gd name="T1" fmla="*/ 1 h 2"/>
                  <a:gd name="T2" fmla="*/ 0 w 2"/>
                  <a:gd name="T3" fmla="*/ 0 h 2"/>
                  <a:gd name="T4" fmla="*/ 2 w 2"/>
                  <a:gd name="T5" fmla="*/ 1 h 2"/>
                </a:gdLst>
                <a:ahLst/>
                <a:cxnLst>
                  <a:cxn ang="0">
                    <a:pos x="T0" y="T1"/>
                  </a:cxn>
                  <a:cxn ang="0">
                    <a:pos x="T2" y="T3"/>
                  </a:cxn>
                  <a:cxn ang="0">
                    <a:pos x="T4" y="T5"/>
                  </a:cxn>
                </a:cxnLst>
                <a:rect l="0" t="0" r="r" b="b"/>
                <a:pathLst>
                  <a:path w="2" h="2">
                    <a:moveTo>
                      <a:pt x="2" y="1"/>
                    </a:moveTo>
                    <a:cubicBezTo>
                      <a:pt x="1" y="1"/>
                      <a:pt x="0" y="1"/>
                      <a:pt x="0" y="0"/>
                    </a:cubicBezTo>
                    <a:cubicBezTo>
                      <a:pt x="0" y="1"/>
                      <a:pt x="1"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7" name="Freeform 2848">
                <a:extLst>
                  <a:ext uri="{FF2B5EF4-FFF2-40B4-BE49-F238E27FC236}">
                    <a16:creationId xmlns:a16="http://schemas.microsoft.com/office/drawing/2014/main" id="{4BA05CB2-11AA-4E86-896E-A2E4D2EFA65C}"/>
                  </a:ext>
                </a:extLst>
              </p:cNvPr>
              <p:cNvSpPr>
                <a:spLocks/>
              </p:cNvSpPr>
              <p:nvPr/>
            </p:nvSpPr>
            <p:spPr bwMode="auto">
              <a:xfrm>
                <a:off x="4105" y="1165"/>
                <a:ext cx="12" cy="10"/>
              </a:xfrm>
              <a:custGeom>
                <a:avLst/>
                <a:gdLst>
                  <a:gd name="T0" fmla="*/ 1 w 5"/>
                  <a:gd name="T1" fmla="*/ 3 h 4"/>
                  <a:gd name="T2" fmla="*/ 3 w 5"/>
                  <a:gd name="T3" fmla="*/ 2 h 4"/>
                  <a:gd name="T4" fmla="*/ 1 w 5"/>
                  <a:gd name="T5" fmla="*/ 3 h 4"/>
                </a:gdLst>
                <a:ahLst/>
                <a:cxnLst>
                  <a:cxn ang="0">
                    <a:pos x="T0" y="T1"/>
                  </a:cxn>
                  <a:cxn ang="0">
                    <a:pos x="T2" y="T3"/>
                  </a:cxn>
                  <a:cxn ang="0">
                    <a:pos x="T4" y="T5"/>
                  </a:cxn>
                </a:cxnLst>
                <a:rect l="0" t="0" r="r" b="b"/>
                <a:pathLst>
                  <a:path w="5" h="4">
                    <a:moveTo>
                      <a:pt x="1" y="3"/>
                    </a:moveTo>
                    <a:cubicBezTo>
                      <a:pt x="3" y="3"/>
                      <a:pt x="5" y="4"/>
                      <a:pt x="3" y="2"/>
                    </a:cubicBezTo>
                    <a:cubicBezTo>
                      <a:pt x="2" y="0"/>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8" name="Freeform 2849">
                <a:extLst>
                  <a:ext uri="{FF2B5EF4-FFF2-40B4-BE49-F238E27FC236}">
                    <a16:creationId xmlns:a16="http://schemas.microsoft.com/office/drawing/2014/main" id="{0EB578BE-1399-4CA8-AFA3-F61F512E8325}"/>
                  </a:ext>
                </a:extLst>
              </p:cNvPr>
              <p:cNvSpPr>
                <a:spLocks/>
              </p:cNvSpPr>
              <p:nvPr/>
            </p:nvSpPr>
            <p:spPr bwMode="auto">
              <a:xfrm>
                <a:off x="3176" y="954"/>
                <a:ext cx="2"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9" name="Freeform 2850">
                <a:extLst>
                  <a:ext uri="{FF2B5EF4-FFF2-40B4-BE49-F238E27FC236}">
                    <a16:creationId xmlns:a16="http://schemas.microsoft.com/office/drawing/2014/main" id="{F09628E1-67C1-44A8-8E50-F9871E7EFEB0}"/>
                  </a:ext>
                </a:extLst>
              </p:cNvPr>
              <p:cNvSpPr>
                <a:spLocks/>
              </p:cNvSpPr>
              <p:nvPr/>
            </p:nvSpPr>
            <p:spPr bwMode="auto">
              <a:xfrm>
                <a:off x="3199" y="94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0" name="Freeform 2851">
                <a:extLst>
                  <a:ext uri="{FF2B5EF4-FFF2-40B4-BE49-F238E27FC236}">
                    <a16:creationId xmlns:a16="http://schemas.microsoft.com/office/drawing/2014/main" id="{D3634C7A-AB7F-436C-991C-5B593C332A37}"/>
                  </a:ext>
                </a:extLst>
              </p:cNvPr>
              <p:cNvSpPr>
                <a:spLocks/>
              </p:cNvSpPr>
              <p:nvPr/>
            </p:nvSpPr>
            <p:spPr bwMode="auto">
              <a:xfrm>
                <a:off x="3991" y="1144"/>
                <a:ext cx="3" cy="2"/>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0"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1" name="Rectangle 2852">
                <a:extLst>
                  <a:ext uri="{FF2B5EF4-FFF2-40B4-BE49-F238E27FC236}">
                    <a16:creationId xmlns:a16="http://schemas.microsoft.com/office/drawing/2014/main" id="{7D2C3D07-2E7F-4576-BA5A-34EC48DA31ED}"/>
                  </a:ext>
                </a:extLst>
              </p:cNvPr>
              <p:cNvSpPr>
                <a:spLocks noChangeArrowheads="1"/>
              </p:cNvSpPr>
              <p:nvPr/>
            </p:nvSpPr>
            <p:spPr bwMode="auto">
              <a:xfrm>
                <a:off x="4072" y="1096"/>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2" name="Freeform 2853">
                <a:extLst>
                  <a:ext uri="{FF2B5EF4-FFF2-40B4-BE49-F238E27FC236}">
                    <a16:creationId xmlns:a16="http://schemas.microsoft.com/office/drawing/2014/main" id="{2ABB2E45-5F97-468B-85D3-F3A9BE5B40BE}"/>
                  </a:ext>
                </a:extLst>
              </p:cNvPr>
              <p:cNvSpPr>
                <a:spLocks/>
              </p:cNvSpPr>
              <p:nvPr/>
            </p:nvSpPr>
            <p:spPr bwMode="auto">
              <a:xfrm>
                <a:off x="4351" y="206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3" name="Freeform 2854">
                <a:extLst>
                  <a:ext uri="{FF2B5EF4-FFF2-40B4-BE49-F238E27FC236}">
                    <a16:creationId xmlns:a16="http://schemas.microsoft.com/office/drawing/2014/main" id="{BFA9415B-667C-4B0A-8A8A-06BD4449F993}"/>
                  </a:ext>
                </a:extLst>
              </p:cNvPr>
              <p:cNvSpPr>
                <a:spLocks/>
              </p:cNvSpPr>
              <p:nvPr/>
            </p:nvSpPr>
            <p:spPr bwMode="auto">
              <a:xfrm>
                <a:off x="4781" y="3013"/>
                <a:ext cx="5" cy="0"/>
              </a:xfrm>
              <a:custGeom>
                <a:avLst/>
                <a:gdLst>
                  <a:gd name="T0" fmla="*/ 0 w 2"/>
                  <a:gd name="T1" fmla="*/ 0 w 2"/>
                  <a:gd name="T2" fmla="*/ 2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0" y="0"/>
                      <a:pt x="0" y="0"/>
                      <a:pt x="0" y="0"/>
                    </a:cubicBezTo>
                    <a:cubicBezTo>
                      <a:pt x="1" y="0"/>
                      <a:pt x="1" y="0"/>
                      <a:pt x="2" y="0"/>
                    </a:cubicBezTo>
                    <a:cubicBezTo>
                      <a:pt x="2" y="0"/>
                      <a:pt x="2" y="0"/>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4" name="Freeform 2855">
                <a:extLst>
                  <a:ext uri="{FF2B5EF4-FFF2-40B4-BE49-F238E27FC236}">
                    <a16:creationId xmlns:a16="http://schemas.microsoft.com/office/drawing/2014/main" id="{B72099D7-D44A-4388-A993-AFC1F32A47C0}"/>
                  </a:ext>
                </a:extLst>
              </p:cNvPr>
              <p:cNvSpPr>
                <a:spLocks/>
              </p:cNvSpPr>
              <p:nvPr/>
            </p:nvSpPr>
            <p:spPr bwMode="auto">
              <a:xfrm>
                <a:off x="4507" y="2963"/>
                <a:ext cx="7" cy="7"/>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1" y="2"/>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5" name="Freeform 2856">
                <a:extLst>
                  <a:ext uri="{FF2B5EF4-FFF2-40B4-BE49-F238E27FC236}">
                    <a16:creationId xmlns:a16="http://schemas.microsoft.com/office/drawing/2014/main" id="{98024222-3A3F-46F3-80E1-6CFA93D935BE}"/>
                  </a:ext>
                </a:extLst>
              </p:cNvPr>
              <p:cNvSpPr>
                <a:spLocks/>
              </p:cNvSpPr>
              <p:nvPr/>
            </p:nvSpPr>
            <p:spPr bwMode="auto">
              <a:xfrm>
                <a:off x="4495" y="2916"/>
                <a:ext cx="9" cy="16"/>
              </a:xfrm>
              <a:custGeom>
                <a:avLst/>
                <a:gdLst>
                  <a:gd name="T0" fmla="*/ 1 w 4"/>
                  <a:gd name="T1" fmla="*/ 0 h 7"/>
                  <a:gd name="T2" fmla="*/ 0 w 4"/>
                  <a:gd name="T3" fmla="*/ 3 h 7"/>
                  <a:gd name="T4" fmla="*/ 4 w 4"/>
                  <a:gd name="T5" fmla="*/ 7 h 7"/>
                  <a:gd name="T6" fmla="*/ 4 w 4"/>
                  <a:gd name="T7" fmla="*/ 5 h 7"/>
                  <a:gd name="T8" fmla="*/ 1 w 4"/>
                  <a:gd name="T9" fmla="*/ 0 h 7"/>
                </a:gdLst>
                <a:ahLst/>
                <a:cxnLst>
                  <a:cxn ang="0">
                    <a:pos x="T0" y="T1"/>
                  </a:cxn>
                  <a:cxn ang="0">
                    <a:pos x="T2" y="T3"/>
                  </a:cxn>
                  <a:cxn ang="0">
                    <a:pos x="T4" y="T5"/>
                  </a:cxn>
                  <a:cxn ang="0">
                    <a:pos x="T6" y="T7"/>
                  </a:cxn>
                  <a:cxn ang="0">
                    <a:pos x="T8" y="T9"/>
                  </a:cxn>
                </a:cxnLst>
                <a:rect l="0" t="0" r="r" b="b"/>
                <a:pathLst>
                  <a:path w="4" h="7">
                    <a:moveTo>
                      <a:pt x="1" y="0"/>
                    </a:moveTo>
                    <a:cubicBezTo>
                      <a:pt x="1" y="1"/>
                      <a:pt x="0" y="2"/>
                      <a:pt x="0" y="3"/>
                    </a:cubicBezTo>
                    <a:cubicBezTo>
                      <a:pt x="1" y="5"/>
                      <a:pt x="2" y="6"/>
                      <a:pt x="4" y="7"/>
                    </a:cubicBezTo>
                    <a:cubicBezTo>
                      <a:pt x="4" y="6"/>
                      <a:pt x="4" y="5"/>
                      <a:pt x="4" y="5"/>
                    </a:cubicBezTo>
                    <a:cubicBezTo>
                      <a:pt x="2" y="6"/>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6" name="Freeform 2857">
                <a:extLst>
                  <a:ext uri="{FF2B5EF4-FFF2-40B4-BE49-F238E27FC236}">
                    <a16:creationId xmlns:a16="http://schemas.microsoft.com/office/drawing/2014/main" id="{10039126-1A85-4A79-AEFC-E71505FD2462}"/>
                  </a:ext>
                </a:extLst>
              </p:cNvPr>
              <p:cNvSpPr>
                <a:spLocks/>
              </p:cNvSpPr>
              <p:nvPr/>
            </p:nvSpPr>
            <p:spPr bwMode="auto">
              <a:xfrm>
                <a:off x="4504" y="2895"/>
                <a:ext cx="7" cy="14"/>
              </a:xfrm>
              <a:custGeom>
                <a:avLst/>
                <a:gdLst>
                  <a:gd name="T0" fmla="*/ 2 w 3"/>
                  <a:gd name="T1" fmla="*/ 6 h 6"/>
                  <a:gd name="T2" fmla="*/ 3 w 3"/>
                  <a:gd name="T3" fmla="*/ 4 h 6"/>
                  <a:gd name="T4" fmla="*/ 3 w 3"/>
                  <a:gd name="T5" fmla="*/ 2 h 6"/>
                  <a:gd name="T6" fmla="*/ 3 w 3"/>
                  <a:gd name="T7" fmla="*/ 1 h 6"/>
                  <a:gd name="T8" fmla="*/ 1 w 3"/>
                  <a:gd name="T9" fmla="*/ 0 h 6"/>
                  <a:gd name="T10" fmla="*/ 2 w 3"/>
                  <a:gd name="T11" fmla="*/ 4 h 6"/>
                  <a:gd name="T12" fmla="*/ 2 w 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2" y="6"/>
                    </a:moveTo>
                    <a:cubicBezTo>
                      <a:pt x="2" y="5"/>
                      <a:pt x="3" y="5"/>
                      <a:pt x="3" y="4"/>
                    </a:cubicBezTo>
                    <a:cubicBezTo>
                      <a:pt x="3" y="3"/>
                      <a:pt x="3" y="3"/>
                      <a:pt x="3" y="2"/>
                    </a:cubicBezTo>
                    <a:cubicBezTo>
                      <a:pt x="3" y="2"/>
                      <a:pt x="3" y="2"/>
                      <a:pt x="3" y="1"/>
                    </a:cubicBezTo>
                    <a:cubicBezTo>
                      <a:pt x="3" y="0"/>
                      <a:pt x="2" y="1"/>
                      <a:pt x="1" y="0"/>
                    </a:cubicBezTo>
                    <a:cubicBezTo>
                      <a:pt x="1" y="1"/>
                      <a:pt x="2" y="2"/>
                      <a:pt x="2" y="4"/>
                    </a:cubicBezTo>
                    <a:cubicBezTo>
                      <a:pt x="1" y="4"/>
                      <a:pt x="0"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7" name="Freeform 2858">
                <a:extLst>
                  <a:ext uri="{FF2B5EF4-FFF2-40B4-BE49-F238E27FC236}">
                    <a16:creationId xmlns:a16="http://schemas.microsoft.com/office/drawing/2014/main" id="{F0CF457E-F73A-47DD-9F2A-6CBF5C71C04B}"/>
                  </a:ext>
                </a:extLst>
              </p:cNvPr>
              <p:cNvSpPr>
                <a:spLocks/>
              </p:cNvSpPr>
              <p:nvPr/>
            </p:nvSpPr>
            <p:spPr bwMode="auto">
              <a:xfrm>
                <a:off x="4511" y="2391"/>
                <a:ext cx="15" cy="7"/>
              </a:xfrm>
              <a:custGeom>
                <a:avLst/>
                <a:gdLst>
                  <a:gd name="T0" fmla="*/ 1 w 6"/>
                  <a:gd name="T1" fmla="*/ 2 h 3"/>
                  <a:gd name="T2" fmla="*/ 5 w 6"/>
                  <a:gd name="T3" fmla="*/ 3 h 3"/>
                  <a:gd name="T4" fmla="*/ 4 w 6"/>
                  <a:gd name="T5" fmla="*/ 2 h 3"/>
                  <a:gd name="T6" fmla="*/ 3 w 6"/>
                  <a:gd name="T7" fmla="*/ 2 h 3"/>
                  <a:gd name="T8" fmla="*/ 2 w 6"/>
                  <a:gd name="T9" fmla="*/ 1 h 3"/>
                  <a:gd name="T10" fmla="*/ 1 w 6"/>
                  <a:gd name="T11" fmla="*/ 0 h 3"/>
                  <a:gd name="T12" fmla="*/ 2 w 6"/>
                  <a:gd name="T13" fmla="*/ 2 h 3"/>
                  <a:gd name="T14" fmla="*/ 1 w 6"/>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1" y="2"/>
                    </a:moveTo>
                    <a:cubicBezTo>
                      <a:pt x="1" y="3"/>
                      <a:pt x="4" y="3"/>
                      <a:pt x="5" y="3"/>
                    </a:cubicBezTo>
                    <a:cubicBezTo>
                      <a:pt x="6" y="3"/>
                      <a:pt x="6" y="2"/>
                      <a:pt x="4" y="2"/>
                    </a:cubicBezTo>
                    <a:cubicBezTo>
                      <a:pt x="4" y="2"/>
                      <a:pt x="3" y="2"/>
                      <a:pt x="3" y="2"/>
                    </a:cubicBezTo>
                    <a:cubicBezTo>
                      <a:pt x="2" y="2"/>
                      <a:pt x="3" y="0"/>
                      <a:pt x="2" y="1"/>
                    </a:cubicBezTo>
                    <a:cubicBezTo>
                      <a:pt x="3" y="0"/>
                      <a:pt x="2" y="0"/>
                      <a:pt x="1" y="0"/>
                    </a:cubicBezTo>
                    <a:cubicBezTo>
                      <a:pt x="0" y="0"/>
                      <a:pt x="1" y="2"/>
                      <a:pt x="2"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8" name="Freeform 2859">
                <a:extLst>
                  <a:ext uri="{FF2B5EF4-FFF2-40B4-BE49-F238E27FC236}">
                    <a16:creationId xmlns:a16="http://schemas.microsoft.com/office/drawing/2014/main" id="{6A1992FE-850D-42AF-BC32-EA3896EF9787}"/>
                  </a:ext>
                </a:extLst>
              </p:cNvPr>
              <p:cNvSpPr>
                <a:spLocks/>
              </p:cNvSpPr>
              <p:nvPr/>
            </p:nvSpPr>
            <p:spPr bwMode="auto">
              <a:xfrm>
                <a:off x="3726" y="2736"/>
                <a:ext cx="3" cy="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1"/>
                      <a:pt x="1" y="0"/>
                    </a:cubicBezTo>
                    <a:cubicBezTo>
                      <a:pt x="0" y="0"/>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9" name="Freeform 2860">
                <a:extLst>
                  <a:ext uri="{FF2B5EF4-FFF2-40B4-BE49-F238E27FC236}">
                    <a16:creationId xmlns:a16="http://schemas.microsoft.com/office/drawing/2014/main" id="{BCAFA2A0-8CC3-49E1-B633-308DF0CD6EF5}"/>
                  </a:ext>
                </a:extLst>
              </p:cNvPr>
              <p:cNvSpPr>
                <a:spLocks/>
              </p:cNvSpPr>
              <p:nvPr/>
            </p:nvSpPr>
            <p:spPr bwMode="auto">
              <a:xfrm>
                <a:off x="3421" y="2651"/>
                <a:ext cx="5" cy="2"/>
              </a:xfrm>
              <a:custGeom>
                <a:avLst/>
                <a:gdLst>
                  <a:gd name="T0" fmla="*/ 0 w 2"/>
                  <a:gd name="T1" fmla="*/ 0 h 1"/>
                  <a:gd name="T2" fmla="*/ 2 w 2"/>
                  <a:gd name="T3" fmla="*/ 0 h 1"/>
                  <a:gd name="T4" fmla="*/ 0 w 2"/>
                  <a:gd name="T5" fmla="*/ 0 h 1"/>
                </a:gdLst>
                <a:ahLst/>
                <a:cxnLst>
                  <a:cxn ang="0">
                    <a:pos x="T0" y="T1"/>
                  </a:cxn>
                  <a:cxn ang="0">
                    <a:pos x="T2" y="T3"/>
                  </a:cxn>
                  <a:cxn ang="0">
                    <a:pos x="T4" y="T5"/>
                  </a:cxn>
                </a:cxnLst>
                <a:rect l="0" t="0" r="r" b="b"/>
                <a:pathLst>
                  <a:path w="2" h="1">
                    <a:moveTo>
                      <a:pt x="0" y="0"/>
                    </a:moveTo>
                    <a:cubicBezTo>
                      <a:pt x="1" y="0"/>
                      <a:pt x="1" y="1"/>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0" name="Freeform 2861">
                <a:extLst>
                  <a:ext uri="{FF2B5EF4-FFF2-40B4-BE49-F238E27FC236}">
                    <a16:creationId xmlns:a16="http://schemas.microsoft.com/office/drawing/2014/main" id="{7BF5C143-DF58-4700-BD14-901EDBB74A71}"/>
                  </a:ext>
                </a:extLst>
              </p:cNvPr>
              <p:cNvSpPr>
                <a:spLocks/>
              </p:cNvSpPr>
              <p:nvPr/>
            </p:nvSpPr>
            <p:spPr bwMode="auto">
              <a:xfrm>
                <a:off x="3426" y="2651"/>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1" name="Freeform 2862">
                <a:extLst>
                  <a:ext uri="{FF2B5EF4-FFF2-40B4-BE49-F238E27FC236}">
                    <a16:creationId xmlns:a16="http://schemas.microsoft.com/office/drawing/2014/main" id="{515056F1-E583-4A19-97C0-4E9FD084C88C}"/>
                  </a:ext>
                </a:extLst>
              </p:cNvPr>
              <p:cNvSpPr>
                <a:spLocks/>
              </p:cNvSpPr>
              <p:nvPr/>
            </p:nvSpPr>
            <p:spPr bwMode="auto">
              <a:xfrm>
                <a:off x="3192" y="2509"/>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0"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2" name="Rectangle 2863">
                <a:extLst>
                  <a:ext uri="{FF2B5EF4-FFF2-40B4-BE49-F238E27FC236}">
                    <a16:creationId xmlns:a16="http://schemas.microsoft.com/office/drawing/2014/main" id="{2E4F24AE-B0B5-4D0B-8653-523A05A84EFA}"/>
                  </a:ext>
                </a:extLst>
              </p:cNvPr>
              <p:cNvSpPr>
                <a:spLocks noChangeArrowheads="1"/>
              </p:cNvSpPr>
              <p:nvPr/>
            </p:nvSpPr>
            <p:spPr bwMode="auto">
              <a:xfrm>
                <a:off x="3230" y="255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3" name="Freeform 2864">
                <a:extLst>
                  <a:ext uri="{FF2B5EF4-FFF2-40B4-BE49-F238E27FC236}">
                    <a16:creationId xmlns:a16="http://schemas.microsoft.com/office/drawing/2014/main" id="{911C58AC-7B56-4DD5-894E-6DDEBAA9F3F0}"/>
                  </a:ext>
                </a:extLst>
              </p:cNvPr>
              <p:cNvSpPr>
                <a:spLocks/>
              </p:cNvSpPr>
              <p:nvPr/>
            </p:nvSpPr>
            <p:spPr bwMode="auto">
              <a:xfrm>
                <a:off x="3178" y="2499"/>
                <a:ext cx="2"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4" name="Freeform 2865">
                <a:extLst>
                  <a:ext uri="{FF2B5EF4-FFF2-40B4-BE49-F238E27FC236}">
                    <a16:creationId xmlns:a16="http://schemas.microsoft.com/office/drawing/2014/main" id="{54757D45-8537-4221-8EBE-2CF6A29F87A8}"/>
                  </a:ext>
                </a:extLst>
              </p:cNvPr>
              <p:cNvSpPr>
                <a:spLocks/>
              </p:cNvSpPr>
              <p:nvPr/>
            </p:nvSpPr>
            <p:spPr bwMode="auto">
              <a:xfrm>
                <a:off x="3719" y="26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5" name="Freeform 2866">
                <a:extLst>
                  <a:ext uri="{FF2B5EF4-FFF2-40B4-BE49-F238E27FC236}">
                    <a16:creationId xmlns:a16="http://schemas.microsoft.com/office/drawing/2014/main" id="{C313F1A4-58F7-4BB0-9361-29A87977CFC5}"/>
                  </a:ext>
                </a:extLst>
              </p:cNvPr>
              <p:cNvSpPr>
                <a:spLocks/>
              </p:cNvSpPr>
              <p:nvPr/>
            </p:nvSpPr>
            <p:spPr bwMode="auto">
              <a:xfrm>
                <a:off x="3150" y="2471"/>
                <a:ext cx="7" cy="2"/>
              </a:xfrm>
              <a:custGeom>
                <a:avLst/>
                <a:gdLst>
                  <a:gd name="T0" fmla="*/ 3 w 3"/>
                  <a:gd name="T1" fmla="*/ 0 h 1"/>
                  <a:gd name="T2" fmla="*/ 0 w 3"/>
                  <a:gd name="T3" fmla="*/ 0 h 1"/>
                  <a:gd name="T4" fmla="*/ 3 w 3"/>
                  <a:gd name="T5" fmla="*/ 0 h 1"/>
                </a:gdLst>
                <a:ahLst/>
                <a:cxnLst>
                  <a:cxn ang="0">
                    <a:pos x="T0" y="T1"/>
                  </a:cxn>
                  <a:cxn ang="0">
                    <a:pos x="T2" y="T3"/>
                  </a:cxn>
                  <a:cxn ang="0">
                    <a:pos x="T4" y="T5"/>
                  </a:cxn>
                </a:cxnLst>
                <a:rect l="0" t="0" r="r" b="b"/>
                <a:pathLst>
                  <a:path w="3" h="1">
                    <a:moveTo>
                      <a:pt x="3" y="0"/>
                    </a:moveTo>
                    <a:cubicBezTo>
                      <a:pt x="2" y="0"/>
                      <a:pt x="1" y="0"/>
                      <a:pt x="0" y="0"/>
                    </a:cubicBezTo>
                    <a:cubicBezTo>
                      <a:pt x="2" y="1"/>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6" name="Freeform 2867">
                <a:extLst>
                  <a:ext uri="{FF2B5EF4-FFF2-40B4-BE49-F238E27FC236}">
                    <a16:creationId xmlns:a16="http://schemas.microsoft.com/office/drawing/2014/main" id="{B4C94C72-BD8C-44FB-9368-34C6C26A5655}"/>
                  </a:ext>
                </a:extLst>
              </p:cNvPr>
              <p:cNvSpPr>
                <a:spLocks/>
              </p:cNvSpPr>
              <p:nvPr/>
            </p:nvSpPr>
            <p:spPr bwMode="auto">
              <a:xfrm>
                <a:off x="3147" y="2433"/>
                <a:ext cx="7" cy="3"/>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cubicBezTo>
                      <a:pt x="1" y="1"/>
                      <a:pt x="2" y="0"/>
                      <a:pt x="3" y="0"/>
                    </a:cubicBezTo>
                    <a:cubicBezTo>
                      <a:pt x="2"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7" name="Freeform 2868">
                <a:extLst>
                  <a:ext uri="{FF2B5EF4-FFF2-40B4-BE49-F238E27FC236}">
                    <a16:creationId xmlns:a16="http://schemas.microsoft.com/office/drawing/2014/main" id="{4ECC18CB-8C90-485D-AEC3-D65C54C7D71A}"/>
                  </a:ext>
                </a:extLst>
              </p:cNvPr>
              <p:cNvSpPr>
                <a:spLocks/>
              </p:cNvSpPr>
              <p:nvPr/>
            </p:nvSpPr>
            <p:spPr bwMode="auto">
              <a:xfrm>
                <a:off x="3157" y="2471"/>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8" name="Freeform 2869">
                <a:extLst>
                  <a:ext uri="{FF2B5EF4-FFF2-40B4-BE49-F238E27FC236}">
                    <a16:creationId xmlns:a16="http://schemas.microsoft.com/office/drawing/2014/main" id="{84799797-EA65-4DDF-A01D-5975152BE84D}"/>
                  </a:ext>
                </a:extLst>
              </p:cNvPr>
              <p:cNvSpPr>
                <a:spLocks/>
              </p:cNvSpPr>
              <p:nvPr/>
            </p:nvSpPr>
            <p:spPr bwMode="auto">
              <a:xfrm>
                <a:off x="3230" y="2554"/>
                <a:ext cx="0" cy="2"/>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0"/>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9" name="Freeform 2870">
                <a:extLst>
                  <a:ext uri="{FF2B5EF4-FFF2-40B4-BE49-F238E27FC236}">
                    <a16:creationId xmlns:a16="http://schemas.microsoft.com/office/drawing/2014/main" id="{F6B2FA70-4B95-4404-B402-B067B54B06D8}"/>
                  </a:ext>
                </a:extLst>
              </p:cNvPr>
              <p:cNvSpPr>
                <a:spLocks/>
              </p:cNvSpPr>
              <p:nvPr/>
            </p:nvSpPr>
            <p:spPr bwMode="auto">
              <a:xfrm>
                <a:off x="3147" y="243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0" name="Rectangle 2871">
                <a:extLst>
                  <a:ext uri="{FF2B5EF4-FFF2-40B4-BE49-F238E27FC236}">
                    <a16:creationId xmlns:a16="http://schemas.microsoft.com/office/drawing/2014/main" id="{2F325E4A-D6E5-4FF6-870B-EBEA35DA5BF6}"/>
                  </a:ext>
                </a:extLst>
              </p:cNvPr>
              <p:cNvSpPr>
                <a:spLocks noChangeArrowheads="1"/>
              </p:cNvSpPr>
              <p:nvPr/>
            </p:nvSpPr>
            <p:spPr bwMode="auto">
              <a:xfrm>
                <a:off x="4783" y="252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1" name="Freeform 2872">
                <a:extLst>
                  <a:ext uri="{FF2B5EF4-FFF2-40B4-BE49-F238E27FC236}">
                    <a16:creationId xmlns:a16="http://schemas.microsoft.com/office/drawing/2014/main" id="{34A8A94B-663E-46AA-A7BF-4B9DB00B4EDE}"/>
                  </a:ext>
                </a:extLst>
              </p:cNvPr>
              <p:cNvSpPr>
                <a:spLocks/>
              </p:cNvSpPr>
              <p:nvPr/>
            </p:nvSpPr>
            <p:spPr bwMode="auto">
              <a:xfrm>
                <a:off x="4781" y="2523"/>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2" name="Freeform 2873">
                <a:extLst>
                  <a:ext uri="{FF2B5EF4-FFF2-40B4-BE49-F238E27FC236}">
                    <a16:creationId xmlns:a16="http://schemas.microsoft.com/office/drawing/2014/main" id="{7624FB07-3E4F-4E33-8A90-77E0C1C0E1F3}"/>
                  </a:ext>
                </a:extLst>
              </p:cNvPr>
              <p:cNvSpPr>
                <a:spLocks/>
              </p:cNvSpPr>
              <p:nvPr/>
            </p:nvSpPr>
            <p:spPr bwMode="auto">
              <a:xfrm>
                <a:off x="3457" y="2646"/>
                <a:ext cx="2" cy="3"/>
              </a:xfrm>
              <a:custGeom>
                <a:avLst/>
                <a:gdLst>
                  <a:gd name="T0" fmla="*/ 0 w 1"/>
                  <a:gd name="T1" fmla="*/ 1 h 1"/>
                  <a:gd name="T2" fmla="*/ 1 w 1"/>
                  <a:gd name="T3" fmla="*/ 1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1"/>
                    </a:cubicBez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3" name="Freeform 2874">
                <a:extLst>
                  <a:ext uri="{FF2B5EF4-FFF2-40B4-BE49-F238E27FC236}">
                    <a16:creationId xmlns:a16="http://schemas.microsoft.com/office/drawing/2014/main" id="{1524468E-FFBA-4BBD-BD03-4AE5E371EB70}"/>
                  </a:ext>
                </a:extLst>
              </p:cNvPr>
              <p:cNvSpPr>
                <a:spLocks/>
              </p:cNvSpPr>
              <p:nvPr/>
            </p:nvSpPr>
            <p:spPr bwMode="auto">
              <a:xfrm>
                <a:off x="3618" y="228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4" name="Rectangle 2875">
                <a:extLst>
                  <a:ext uri="{FF2B5EF4-FFF2-40B4-BE49-F238E27FC236}">
                    <a16:creationId xmlns:a16="http://schemas.microsoft.com/office/drawing/2014/main" id="{7BA80C59-D2E1-4559-A13F-FC0B4200CBBE}"/>
                  </a:ext>
                </a:extLst>
              </p:cNvPr>
              <p:cNvSpPr>
                <a:spLocks noChangeArrowheads="1"/>
              </p:cNvSpPr>
              <p:nvPr/>
            </p:nvSpPr>
            <p:spPr bwMode="auto">
              <a:xfrm>
                <a:off x="3618" y="228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5" name="Freeform 2876">
                <a:extLst>
                  <a:ext uri="{FF2B5EF4-FFF2-40B4-BE49-F238E27FC236}">
                    <a16:creationId xmlns:a16="http://schemas.microsoft.com/office/drawing/2014/main" id="{B68D5CD2-D047-4F44-BC42-D4D6249C2949}"/>
                  </a:ext>
                </a:extLst>
              </p:cNvPr>
              <p:cNvSpPr>
                <a:spLocks/>
              </p:cNvSpPr>
              <p:nvPr/>
            </p:nvSpPr>
            <p:spPr bwMode="auto">
              <a:xfrm>
                <a:off x="3684" y="264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6" name="Freeform 2877">
                <a:extLst>
                  <a:ext uri="{FF2B5EF4-FFF2-40B4-BE49-F238E27FC236}">
                    <a16:creationId xmlns:a16="http://schemas.microsoft.com/office/drawing/2014/main" id="{9E25400B-0F56-47EE-8668-F1D465FAC06B}"/>
                  </a:ext>
                </a:extLst>
              </p:cNvPr>
              <p:cNvSpPr>
                <a:spLocks/>
              </p:cNvSpPr>
              <p:nvPr/>
            </p:nvSpPr>
            <p:spPr bwMode="auto">
              <a:xfrm>
                <a:off x="3783" y="2835"/>
                <a:ext cx="3"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0" y="0"/>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7" name="Freeform 2878">
                <a:extLst>
                  <a:ext uri="{FF2B5EF4-FFF2-40B4-BE49-F238E27FC236}">
                    <a16:creationId xmlns:a16="http://schemas.microsoft.com/office/drawing/2014/main" id="{F69B0A7E-FF31-4F65-944B-F1299A0BBEE6}"/>
                  </a:ext>
                </a:extLst>
              </p:cNvPr>
              <p:cNvSpPr>
                <a:spLocks/>
              </p:cNvSpPr>
              <p:nvPr/>
            </p:nvSpPr>
            <p:spPr bwMode="auto">
              <a:xfrm>
                <a:off x="3786" y="2833"/>
                <a:ext cx="9" cy="7"/>
              </a:xfrm>
              <a:custGeom>
                <a:avLst/>
                <a:gdLst>
                  <a:gd name="T0" fmla="*/ 2 w 4"/>
                  <a:gd name="T1" fmla="*/ 3 h 3"/>
                  <a:gd name="T2" fmla="*/ 0 w 4"/>
                  <a:gd name="T3" fmla="*/ 2 h 3"/>
                  <a:gd name="T4" fmla="*/ 2 w 4"/>
                  <a:gd name="T5" fmla="*/ 3 h 3"/>
                  <a:gd name="T6" fmla="*/ 3 w 4"/>
                  <a:gd name="T7" fmla="*/ 3 h 3"/>
                  <a:gd name="T8" fmla="*/ 3 w 4"/>
                  <a:gd name="T9" fmla="*/ 2 h 3"/>
                  <a:gd name="T10" fmla="*/ 2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2" y="3"/>
                    </a:moveTo>
                    <a:cubicBezTo>
                      <a:pt x="1" y="2"/>
                      <a:pt x="0" y="0"/>
                      <a:pt x="0" y="2"/>
                    </a:cubicBezTo>
                    <a:cubicBezTo>
                      <a:pt x="1" y="2"/>
                      <a:pt x="1" y="3"/>
                      <a:pt x="2" y="3"/>
                    </a:cubicBezTo>
                    <a:cubicBezTo>
                      <a:pt x="2" y="3"/>
                      <a:pt x="3" y="3"/>
                      <a:pt x="3" y="3"/>
                    </a:cubicBezTo>
                    <a:cubicBezTo>
                      <a:pt x="3" y="3"/>
                      <a:pt x="4" y="3"/>
                      <a:pt x="3" y="2"/>
                    </a:cubicBezTo>
                    <a:cubicBezTo>
                      <a:pt x="3" y="2"/>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8" name="Freeform 2879">
                <a:extLst>
                  <a:ext uri="{FF2B5EF4-FFF2-40B4-BE49-F238E27FC236}">
                    <a16:creationId xmlns:a16="http://schemas.microsoft.com/office/drawing/2014/main" id="{F576FC7A-B1CB-4579-AD5D-500DA18AE244}"/>
                  </a:ext>
                </a:extLst>
              </p:cNvPr>
              <p:cNvSpPr>
                <a:spLocks/>
              </p:cNvSpPr>
              <p:nvPr/>
            </p:nvSpPr>
            <p:spPr bwMode="auto">
              <a:xfrm>
                <a:off x="4559" y="2469"/>
                <a:ext cx="38" cy="47"/>
              </a:xfrm>
              <a:custGeom>
                <a:avLst/>
                <a:gdLst>
                  <a:gd name="T0" fmla="*/ 6 w 16"/>
                  <a:gd name="T1" fmla="*/ 2 h 20"/>
                  <a:gd name="T2" fmla="*/ 6 w 16"/>
                  <a:gd name="T3" fmla="*/ 2 h 20"/>
                  <a:gd name="T4" fmla="*/ 6 w 16"/>
                  <a:gd name="T5" fmla="*/ 3 h 20"/>
                  <a:gd name="T6" fmla="*/ 1 w 16"/>
                  <a:gd name="T7" fmla="*/ 9 h 20"/>
                  <a:gd name="T8" fmla="*/ 1 w 16"/>
                  <a:gd name="T9" fmla="*/ 9 h 20"/>
                  <a:gd name="T10" fmla="*/ 0 w 16"/>
                  <a:gd name="T11" fmla="*/ 10 h 20"/>
                  <a:gd name="T12" fmla="*/ 0 w 16"/>
                  <a:gd name="T13" fmla="*/ 10 h 20"/>
                  <a:gd name="T14" fmla="*/ 0 w 16"/>
                  <a:gd name="T15" fmla="*/ 12 h 20"/>
                  <a:gd name="T16" fmla="*/ 0 w 16"/>
                  <a:gd name="T17" fmla="*/ 13 h 20"/>
                  <a:gd name="T18" fmla="*/ 0 w 16"/>
                  <a:gd name="T19" fmla="*/ 13 h 20"/>
                  <a:gd name="T20" fmla="*/ 0 w 16"/>
                  <a:gd name="T21" fmla="*/ 14 h 20"/>
                  <a:gd name="T22" fmla="*/ 0 w 16"/>
                  <a:gd name="T23" fmla="*/ 15 h 20"/>
                  <a:gd name="T24" fmla="*/ 0 w 16"/>
                  <a:gd name="T25" fmla="*/ 18 h 20"/>
                  <a:gd name="T26" fmla="*/ 9 w 16"/>
                  <a:gd name="T27" fmla="*/ 17 h 20"/>
                  <a:gd name="T28" fmla="*/ 11 w 16"/>
                  <a:gd name="T29" fmla="*/ 17 h 20"/>
                  <a:gd name="T30" fmla="*/ 11 w 16"/>
                  <a:gd name="T31" fmla="*/ 17 h 20"/>
                  <a:gd name="T32" fmla="*/ 15 w 16"/>
                  <a:gd name="T33" fmla="*/ 12 h 20"/>
                  <a:gd name="T34" fmla="*/ 14 w 16"/>
                  <a:gd name="T35" fmla="*/ 12 h 20"/>
                  <a:gd name="T36" fmla="*/ 7 w 16"/>
                  <a:gd name="T37" fmla="*/ 12 h 20"/>
                  <a:gd name="T38" fmla="*/ 13 w 16"/>
                  <a:gd name="T39" fmla="*/ 9 h 20"/>
                  <a:gd name="T40" fmla="*/ 16 w 16"/>
                  <a:gd name="T41" fmla="*/ 7 h 20"/>
                  <a:gd name="T42" fmla="*/ 16 w 16"/>
                  <a:gd name="T43" fmla="*/ 6 h 20"/>
                  <a:gd name="T44" fmla="*/ 15 w 16"/>
                  <a:gd name="T45" fmla="*/ 2 h 20"/>
                  <a:gd name="T46" fmla="*/ 14 w 16"/>
                  <a:gd name="T47" fmla="*/ 0 h 20"/>
                  <a:gd name="T48" fmla="*/ 14 w 16"/>
                  <a:gd name="T49" fmla="*/ 0 h 20"/>
                  <a:gd name="T50" fmla="*/ 13 w 16"/>
                  <a:gd name="T51" fmla="*/ 0 h 20"/>
                  <a:gd name="T52" fmla="*/ 9 w 16"/>
                  <a:gd name="T53" fmla="*/ 3 h 20"/>
                  <a:gd name="T54" fmla="*/ 6 w 16"/>
                  <a:gd name="T55"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0">
                    <a:moveTo>
                      <a:pt x="6" y="2"/>
                    </a:moveTo>
                    <a:cubicBezTo>
                      <a:pt x="6" y="2"/>
                      <a:pt x="6" y="2"/>
                      <a:pt x="6" y="2"/>
                    </a:cubicBezTo>
                    <a:cubicBezTo>
                      <a:pt x="6" y="3"/>
                      <a:pt x="6" y="3"/>
                      <a:pt x="6" y="3"/>
                    </a:cubicBezTo>
                    <a:cubicBezTo>
                      <a:pt x="5" y="3"/>
                      <a:pt x="2" y="8"/>
                      <a:pt x="1" y="9"/>
                    </a:cubicBezTo>
                    <a:cubicBezTo>
                      <a:pt x="1" y="9"/>
                      <a:pt x="1" y="9"/>
                      <a:pt x="1" y="9"/>
                    </a:cubicBezTo>
                    <a:cubicBezTo>
                      <a:pt x="1" y="10"/>
                      <a:pt x="1" y="10"/>
                      <a:pt x="0" y="10"/>
                    </a:cubicBezTo>
                    <a:cubicBezTo>
                      <a:pt x="0" y="10"/>
                      <a:pt x="0" y="10"/>
                      <a:pt x="0" y="10"/>
                    </a:cubicBezTo>
                    <a:cubicBezTo>
                      <a:pt x="0" y="10"/>
                      <a:pt x="0" y="11"/>
                      <a:pt x="0" y="12"/>
                    </a:cubicBezTo>
                    <a:cubicBezTo>
                      <a:pt x="0" y="12"/>
                      <a:pt x="0" y="12"/>
                      <a:pt x="0" y="13"/>
                    </a:cubicBezTo>
                    <a:cubicBezTo>
                      <a:pt x="0" y="13"/>
                      <a:pt x="0" y="13"/>
                      <a:pt x="0" y="13"/>
                    </a:cubicBezTo>
                    <a:cubicBezTo>
                      <a:pt x="0" y="13"/>
                      <a:pt x="0" y="13"/>
                      <a:pt x="0" y="14"/>
                    </a:cubicBezTo>
                    <a:cubicBezTo>
                      <a:pt x="0" y="14"/>
                      <a:pt x="0" y="15"/>
                      <a:pt x="0" y="15"/>
                    </a:cubicBezTo>
                    <a:cubicBezTo>
                      <a:pt x="0" y="16"/>
                      <a:pt x="0" y="17"/>
                      <a:pt x="0" y="18"/>
                    </a:cubicBezTo>
                    <a:cubicBezTo>
                      <a:pt x="1" y="20"/>
                      <a:pt x="7" y="16"/>
                      <a:pt x="9" y="17"/>
                    </a:cubicBezTo>
                    <a:cubicBezTo>
                      <a:pt x="10" y="17"/>
                      <a:pt x="11" y="17"/>
                      <a:pt x="11" y="17"/>
                    </a:cubicBezTo>
                    <a:cubicBezTo>
                      <a:pt x="11" y="17"/>
                      <a:pt x="11" y="17"/>
                      <a:pt x="11" y="17"/>
                    </a:cubicBezTo>
                    <a:cubicBezTo>
                      <a:pt x="13" y="16"/>
                      <a:pt x="14" y="13"/>
                      <a:pt x="15" y="12"/>
                    </a:cubicBezTo>
                    <a:cubicBezTo>
                      <a:pt x="14" y="12"/>
                      <a:pt x="14" y="12"/>
                      <a:pt x="14" y="12"/>
                    </a:cubicBezTo>
                    <a:cubicBezTo>
                      <a:pt x="13" y="11"/>
                      <a:pt x="8" y="12"/>
                      <a:pt x="7" y="12"/>
                    </a:cubicBezTo>
                    <a:cubicBezTo>
                      <a:pt x="9" y="11"/>
                      <a:pt x="11" y="10"/>
                      <a:pt x="13" y="9"/>
                    </a:cubicBezTo>
                    <a:cubicBezTo>
                      <a:pt x="14" y="8"/>
                      <a:pt x="15" y="8"/>
                      <a:pt x="16" y="7"/>
                    </a:cubicBezTo>
                    <a:cubicBezTo>
                      <a:pt x="16" y="7"/>
                      <a:pt x="16" y="6"/>
                      <a:pt x="16" y="6"/>
                    </a:cubicBezTo>
                    <a:cubicBezTo>
                      <a:pt x="16" y="5"/>
                      <a:pt x="16" y="3"/>
                      <a:pt x="15" y="2"/>
                    </a:cubicBezTo>
                    <a:cubicBezTo>
                      <a:pt x="15" y="2"/>
                      <a:pt x="14" y="1"/>
                      <a:pt x="14" y="0"/>
                    </a:cubicBezTo>
                    <a:cubicBezTo>
                      <a:pt x="14" y="0"/>
                      <a:pt x="14" y="0"/>
                      <a:pt x="14" y="0"/>
                    </a:cubicBezTo>
                    <a:cubicBezTo>
                      <a:pt x="13" y="0"/>
                      <a:pt x="13" y="0"/>
                      <a:pt x="13" y="0"/>
                    </a:cubicBezTo>
                    <a:cubicBezTo>
                      <a:pt x="13" y="0"/>
                      <a:pt x="10" y="3"/>
                      <a:pt x="9" y="3"/>
                    </a:cubicBezTo>
                    <a:cubicBezTo>
                      <a:pt x="9" y="3"/>
                      <a:pt x="8"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9" name="Freeform 2880">
                <a:extLst>
                  <a:ext uri="{FF2B5EF4-FFF2-40B4-BE49-F238E27FC236}">
                    <a16:creationId xmlns:a16="http://schemas.microsoft.com/office/drawing/2014/main" id="{55DB9EA6-88A3-4BA4-B98B-17F40A04010A}"/>
                  </a:ext>
                </a:extLst>
              </p:cNvPr>
              <p:cNvSpPr>
                <a:spLocks/>
              </p:cNvSpPr>
              <p:nvPr/>
            </p:nvSpPr>
            <p:spPr bwMode="auto">
              <a:xfrm>
                <a:off x="3866" y="289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0" name="Freeform 2881">
                <a:extLst>
                  <a:ext uri="{FF2B5EF4-FFF2-40B4-BE49-F238E27FC236}">
                    <a16:creationId xmlns:a16="http://schemas.microsoft.com/office/drawing/2014/main" id="{648E79D0-5EBB-42BB-92C4-10A2C3285B47}"/>
                  </a:ext>
                </a:extLst>
              </p:cNvPr>
              <p:cNvSpPr>
                <a:spLocks/>
              </p:cNvSpPr>
              <p:nvPr/>
            </p:nvSpPr>
            <p:spPr bwMode="auto">
              <a:xfrm>
                <a:off x="4351" y="31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1" name="Freeform 2882">
                <a:extLst>
                  <a:ext uri="{FF2B5EF4-FFF2-40B4-BE49-F238E27FC236}">
                    <a16:creationId xmlns:a16="http://schemas.microsoft.com/office/drawing/2014/main" id="{873523B7-2D1C-493C-8533-F297E68C16D6}"/>
                  </a:ext>
                </a:extLst>
              </p:cNvPr>
              <p:cNvSpPr>
                <a:spLocks/>
              </p:cNvSpPr>
              <p:nvPr/>
            </p:nvSpPr>
            <p:spPr bwMode="auto">
              <a:xfrm>
                <a:off x="4407" y="2660"/>
                <a:ext cx="3" cy="3"/>
              </a:xfrm>
              <a:custGeom>
                <a:avLst/>
                <a:gdLst>
                  <a:gd name="T0" fmla="*/ 0 w 1"/>
                  <a:gd name="T1" fmla="*/ 1 h 1"/>
                  <a:gd name="T2" fmla="*/ 1 w 1"/>
                  <a:gd name="T3" fmla="*/ 1 h 1"/>
                  <a:gd name="T4" fmla="*/ 0 w 1"/>
                  <a:gd name="T5" fmla="*/ 1 h 1"/>
                  <a:gd name="T6" fmla="*/ 0 w 1"/>
                  <a:gd name="T7" fmla="*/ 0 h 1"/>
                  <a:gd name="T8" fmla="*/ 0 w 1"/>
                  <a:gd name="T9" fmla="*/ 0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1" y="1"/>
                      <a:pt x="1" y="1"/>
                      <a:pt x="1" y="1"/>
                    </a:cubicBezTo>
                    <a:cubicBezTo>
                      <a:pt x="1" y="1"/>
                      <a:pt x="0" y="1"/>
                      <a:pt x="0" y="1"/>
                    </a:cubicBezTo>
                    <a:cubicBezTo>
                      <a:pt x="0" y="1"/>
                      <a:pt x="0" y="0"/>
                      <a:pt x="0" y="0"/>
                    </a:cubicBezTo>
                    <a:cubicBezTo>
                      <a:pt x="0" y="0"/>
                      <a:pt x="0" y="0"/>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2" name="Rectangle 2883">
                <a:extLst>
                  <a:ext uri="{FF2B5EF4-FFF2-40B4-BE49-F238E27FC236}">
                    <a16:creationId xmlns:a16="http://schemas.microsoft.com/office/drawing/2014/main" id="{8D3803D6-7E22-4BD9-BC31-68A5644A3DB0}"/>
                  </a:ext>
                </a:extLst>
              </p:cNvPr>
              <p:cNvSpPr>
                <a:spLocks noChangeArrowheads="1"/>
              </p:cNvSpPr>
              <p:nvPr/>
            </p:nvSpPr>
            <p:spPr bwMode="auto">
              <a:xfrm>
                <a:off x="3618" y="228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3" name="Rectangle 2884">
                <a:extLst>
                  <a:ext uri="{FF2B5EF4-FFF2-40B4-BE49-F238E27FC236}">
                    <a16:creationId xmlns:a16="http://schemas.microsoft.com/office/drawing/2014/main" id="{7B7ED2E1-0B3D-408B-AAD0-2C1F2D804FFB}"/>
                  </a:ext>
                </a:extLst>
              </p:cNvPr>
              <p:cNvSpPr>
                <a:spLocks noChangeArrowheads="1"/>
              </p:cNvSpPr>
              <p:nvPr/>
            </p:nvSpPr>
            <p:spPr bwMode="auto">
              <a:xfrm>
                <a:off x="3618" y="228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4" name="Freeform 2885">
                <a:extLst>
                  <a:ext uri="{FF2B5EF4-FFF2-40B4-BE49-F238E27FC236}">
                    <a16:creationId xmlns:a16="http://schemas.microsoft.com/office/drawing/2014/main" id="{F3F9E171-DAB0-4B85-9527-721F26C64E14}"/>
                  </a:ext>
                </a:extLst>
              </p:cNvPr>
              <p:cNvSpPr>
                <a:spLocks/>
              </p:cNvSpPr>
              <p:nvPr/>
            </p:nvSpPr>
            <p:spPr bwMode="auto">
              <a:xfrm>
                <a:off x="3237" y="2592"/>
                <a:ext cx="9" cy="7"/>
              </a:xfrm>
              <a:custGeom>
                <a:avLst/>
                <a:gdLst>
                  <a:gd name="T0" fmla="*/ 0 w 4"/>
                  <a:gd name="T1" fmla="*/ 0 h 3"/>
                  <a:gd name="T2" fmla="*/ 4 w 4"/>
                  <a:gd name="T3" fmla="*/ 2 h 3"/>
                  <a:gd name="T4" fmla="*/ 4 w 4"/>
                  <a:gd name="T5" fmla="*/ 3 h 3"/>
                  <a:gd name="T6" fmla="*/ 4 w 4"/>
                  <a:gd name="T7" fmla="*/ 1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1" y="1"/>
                      <a:pt x="3" y="2"/>
                      <a:pt x="4" y="2"/>
                    </a:cubicBezTo>
                    <a:cubicBezTo>
                      <a:pt x="4" y="2"/>
                      <a:pt x="3" y="3"/>
                      <a:pt x="4" y="3"/>
                    </a:cubicBezTo>
                    <a:cubicBezTo>
                      <a:pt x="4" y="3"/>
                      <a:pt x="4" y="2"/>
                      <a:pt x="4" y="1"/>
                    </a:cubicBezTo>
                    <a:cubicBezTo>
                      <a:pt x="4" y="0"/>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5" name="Freeform 2886">
                <a:extLst>
                  <a:ext uri="{FF2B5EF4-FFF2-40B4-BE49-F238E27FC236}">
                    <a16:creationId xmlns:a16="http://schemas.microsoft.com/office/drawing/2014/main" id="{5113578B-E43D-4FDE-A16B-CD5CED79482C}"/>
                  </a:ext>
                </a:extLst>
              </p:cNvPr>
              <p:cNvSpPr>
                <a:spLocks/>
              </p:cNvSpPr>
              <p:nvPr/>
            </p:nvSpPr>
            <p:spPr bwMode="auto">
              <a:xfrm>
                <a:off x="4667" y="3003"/>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6" name="Freeform 2887">
                <a:extLst>
                  <a:ext uri="{FF2B5EF4-FFF2-40B4-BE49-F238E27FC236}">
                    <a16:creationId xmlns:a16="http://schemas.microsoft.com/office/drawing/2014/main" id="{01E844DA-EDA1-4364-B274-047ADA3A986B}"/>
                  </a:ext>
                </a:extLst>
              </p:cNvPr>
              <p:cNvSpPr>
                <a:spLocks/>
              </p:cNvSpPr>
              <p:nvPr/>
            </p:nvSpPr>
            <p:spPr bwMode="auto">
              <a:xfrm>
                <a:off x="4665" y="3006"/>
                <a:ext cx="7"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7" name="Freeform 2888">
                <a:extLst>
                  <a:ext uri="{FF2B5EF4-FFF2-40B4-BE49-F238E27FC236}">
                    <a16:creationId xmlns:a16="http://schemas.microsoft.com/office/drawing/2014/main" id="{1A845BDA-6B7B-4BA2-B2B6-DF66B62D8C79}"/>
                  </a:ext>
                </a:extLst>
              </p:cNvPr>
              <p:cNvSpPr>
                <a:spLocks/>
              </p:cNvSpPr>
              <p:nvPr/>
            </p:nvSpPr>
            <p:spPr bwMode="auto">
              <a:xfrm>
                <a:off x="3157" y="2504"/>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8" name="Freeform 2889">
                <a:extLst>
                  <a:ext uri="{FF2B5EF4-FFF2-40B4-BE49-F238E27FC236}">
                    <a16:creationId xmlns:a16="http://schemas.microsoft.com/office/drawing/2014/main" id="{CA9F890A-2589-45F9-9C9F-28367339552B}"/>
                  </a:ext>
                </a:extLst>
              </p:cNvPr>
              <p:cNvSpPr>
                <a:spLocks/>
              </p:cNvSpPr>
              <p:nvPr/>
            </p:nvSpPr>
            <p:spPr bwMode="auto">
              <a:xfrm>
                <a:off x="3171" y="2495"/>
                <a:ext cx="5" cy="2"/>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9" name="Freeform 2890">
                <a:extLst>
                  <a:ext uri="{FF2B5EF4-FFF2-40B4-BE49-F238E27FC236}">
                    <a16:creationId xmlns:a16="http://schemas.microsoft.com/office/drawing/2014/main" id="{EEE5CB37-CD7E-4788-A37D-8E84CC9984FD}"/>
                  </a:ext>
                </a:extLst>
              </p:cNvPr>
              <p:cNvSpPr>
                <a:spLocks/>
              </p:cNvSpPr>
              <p:nvPr/>
            </p:nvSpPr>
            <p:spPr bwMode="auto">
              <a:xfrm>
                <a:off x="3168" y="2502"/>
                <a:ext cx="3" cy="5"/>
              </a:xfrm>
              <a:custGeom>
                <a:avLst/>
                <a:gdLst>
                  <a:gd name="T0" fmla="*/ 0 w 1"/>
                  <a:gd name="T1" fmla="*/ 2 h 2"/>
                  <a:gd name="T2" fmla="*/ 1 w 1"/>
                  <a:gd name="T3" fmla="*/ 1 h 2"/>
                  <a:gd name="T4" fmla="*/ 1 w 1"/>
                  <a:gd name="T5" fmla="*/ 0 h 2"/>
                  <a:gd name="T6" fmla="*/ 0 w 1"/>
                  <a:gd name="T7" fmla="*/ 2 h 2"/>
                </a:gdLst>
                <a:ahLst/>
                <a:cxnLst>
                  <a:cxn ang="0">
                    <a:pos x="T0" y="T1"/>
                  </a:cxn>
                  <a:cxn ang="0">
                    <a:pos x="T2" y="T3"/>
                  </a:cxn>
                  <a:cxn ang="0">
                    <a:pos x="T4" y="T5"/>
                  </a:cxn>
                  <a:cxn ang="0">
                    <a:pos x="T6" y="T7"/>
                  </a:cxn>
                </a:cxnLst>
                <a:rect l="0" t="0" r="r" b="b"/>
                <a:pathLst>
                  <a:path w="1" h="2">
                    <a:moveTo>
                      <a:pt x="0" y="2"/>
                    </a:moveTo>
                    <a:cubicBezTo>
                      <a:pt x="0" y="1"/>
                      <a:pt x="1" y="1"/>
                      <a:pt x="1" y="1"/>
                    </a:cubicBezTo>
                    <a:cubicBezTo>
                      <a:pt x="1" y="1"/>
                      <a:pt x="1" y="1"/>
                      <a:pt x="1" y="0"/>
                    </a:cubicBezTo>
                    <a:cubicBezTo>
                      <a:pt x="1"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0" name="Freeform 2891">
                <a:extLst>
                  <a:ext uri="{FF2B5EF4-FFF2-40B4-BE49-F238E27FC236}">
                    <a16:creationId xmlns:a16="http://schemas.microsoft.com/office/drawing/2014/main" id="{5F34FCFC-C885-400F-B2A2-92F09737E6F5}"/>
                  </a:ext>
                </a:extLst>
              </p:cNvPr>
              <p:cNvSpPr>
                <a:spLocks/>
              </p:cNvSpPr>
              <p:nvPr/>
            </p:nvSpPr>
            <p:spPr bwMode="auto">
              <a:xfrm>
                <a:off x="3152" y="2497"/>
                <a:ext cx="5" cy="2"/>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0"/>
                      <a:pt x="2" y="0"/>
                      <a:pt x="2" y="0"/>
                    </a:cubicBezTo>
                    <a:cubicBezTo>
                      <a:pt x="1" y="0"/>
                      <a:pt x="1" y="0"/>
                      <a:pt x="0" y="0"/>
                    </a:cubicBezTo>
                    <a:cubicBezTo>
                      <a:pt x="1"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1" name="Freeform 2892">
                <a:extLst>
                  <a:ext uri="{FF2B5EF4-FFF2-40B4-BE49-F238E27FC236}">
                    <a16:creationId xmlns:a16="http://schemas.microsoft.com/office/drawing/2014/main" id="{DDF7CE2D-6E1B-4679-8926-E779FFDAD7F2}"/>
                  </a:ext>
                </a:extLst>
              </p:cNvPr>
              <p:cNvSpPr>
                <a:spLocks/>
              </p:cNvSpPr>
              <p:nvPr/>
            </p:nvSpPr>
            <p:spPr bwMode="auto">
              <a:xfrm>
                <a:off x="3164" y="2507"/>
                <a:ext cx="2"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2" name="Freeform 2893">
                <a:extLst>
                  <a:ext uri="{FF2B5EF4-FFF2-40B4-BE49-F238E27FC236}">
                    <a16:creationId xmlns:a16="http://schemas.microsoft.com/office/drawing/2014/main" id="{BD03D62D-3BB5-4600-97B3-0ECB25648F32}"/>
                  </a:ext>
                </a:extLst>
              </p:cNvPr>
              <p:cNvSpPr>
                <a:spLocks/>
              </p:cNvSpPr>
              <p:nvPr/>
            </p:nvSpPr>
            <p:spPr bwMode="auto">
              <a:xfrm>
                <a:off x="3154" y="2504"/>
                <a:ext cx="7" cy="5"/>
              </a:xfrm>
              <a:custGeom>
                <a:avLst/>
                <a:gdLst>
                  <a:gd name="T0" fmla="*/ 2 w 3"/>
                  <a:gd name="T1" fmla="*/ 2 h 2"/>
                  <a:gd name="T2" fmla="*/ 3 w 3"/>
                  <a:gd name="T3" fmla="*/ 1 h 2"/>
                  <a:gd name="T4" fmla="*/ 2 w 3"/>
                  <a:gd name="T5" fmla="*/ 2 h 2"/>
                </a:gdLst>
                <a:ahLst/>
                <a:cxnLst>
                  <a:cxn ang="0">
                    <a:pos x="T0" y="T1"/>
                  </a:cxn>
                  <a:cxn ang="0">
                    <a:pos x="T2" y="T3"/>
                  </a:cxn>
                  <a:cxn ang="0">
                    <a:pos x="T4" y="T5"/>
                  </a:cxn>
                </a:cxnLst>
                <a:rect l="0" t="0" r="r" b="b"/>
                <a:pathLst>
                  <a:path w="3" h="2">
                    <a:moveTo>
                      <a:pt x="2" y="2"/>
                    </a:moveTo>
                    <a:cubicBezTo>
                      <a:pt x="3" y="2"/>
                      <a:pt x="3" y="1"/>
                      <a:pt x="3" y="1"/>
                    </a:cubicBezTo>
                    <a:cubicBezTo>
                      <a:pt x="3"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3" name="Freeform 2894">
                <a:extLst>
                  <a:ext uri="{FF2B5EF4-FFF2-40B4-BE49-F238E27FC236}">
                    <a16:creationId xmlns:a16="http://schemas.microsoft.com/office/drawing/2014/main" id="{67593FDA-03A6-48E3-A63B-8D1F32D0FE82}"/>
                  </a:ext>
                </a:extLst>
              </p:cNvPr>
              <p:cNvSpPr>
                <a:spLocks/>
              </p:cNvSpPr>
              <p:nvPr/>
            </p:nvSpPr>
            <p:spPr bwMode="auto">
              <a:xfrm>
                <a:off x="3159" y="2488"/>
                <a:ext cx="2" cy="4"/>
              </a:xfrm>
              <a:custGeom>
                <a:avLst/>
                <a:gdLst>
                  <a:gd name="T0" fmla="*/ 0 w 1"/>
                  <a:gd name="T1" fmla="*/ 1 h 2"/>
                  <a:gd name="T2" fmla="*/ 1 w 1"/>
                  <a:gd name="T3" fmla="*/ 0 h 2"/>
                  <a:gd name="T4" fmla="*/ 0 w 1"/>
                  <a:gd name="T5" fmla="*/ 1 h 2"/>
                </a:gdLst>
                <a:ahLst/>
                <a:cxnLst>
                  <a:cxn ang="0">
                    <a:pos x="T0" y="T1"/>
                  </a:cxn>
                  <a:cxn ang="0">
                    <a:pos x="T2" y="T3"/>
                  </a:cxn>
                  <a:cxn ang="0">
                    <a:pos x="T4" y="T5"/>
                  </a:cxn>
                </a:cxnLst>
                <a:rect l="0" t="0" r="r" b="b"/>
                <a:pathLst>
                  <a:path w="1" h="2">
                    <a:moveTo>
                      <a:pt x="0" y="1"/>
                    </a:moveTo>
                    <a:cubicBezTo>
                      <a:pt x="0" y="2"/>
                      <a:pt x="1" y="2"/>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4" name="Freeform 2895">
                <a:extLst>
                  <a:ext uri="{FF2B5EF4-FFF2-40B4-BE49-F238E27FC236}">
                    <a16:creationId xmlns:a16="http://schemas.microsoft.com/office/drawing/2014/main" id="{83FC10E5-3FAC-4E53-8698-E46D1FF44546}"/>
                  </a:ext>
                </a:extLst>
              </p:cNvPr>
              <p:cNvSpPr>
                <a:spLocks/>
              </p:cNvSpPr>
              <p:nvPr/>
            </p:nvSpPr>
            <p:spPr bwMode="auto">
              <a:xfrm>
                <a:off x="3161" y="2497"/>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5" name="Freeform 2896">
                <a:extLst>
                  <a:ext uri="{FF2B5EF4-FFF2-40B4-BE49-F238E27FC236}">
                    <a16:creationId xmlns:a16="http://schemas.microsoft.com/office/drawing/2014/main" id="{B3938FDE-90A0-4FD4-A03C-C9E5D68D566B}"/>
                  </a:ext>
                </a:extLst>
              </p:cNvPr>
              <p:cNvSpPr>
                <a:spLocks/>
              </p:cNvSpPr>
              <p:nvPr/>
            </p:nvSpPr>
            <p:spPr bwMode="auto">
              <a:xfrm>
                <a:off x="4637" y="3084"/>
                <a:ext cx="4" cy="9"/>
              </a:xfrm>
              <a:custGeom>
                <a:avLst/>
                <a:gdLst>
                  <a:gd name="T0" fmla="*/ 1 w 2"/>
                  <a:gd name="T1" fmla="*/ 1 h 4"/>
                  <a:gd name="T2" fmla="*/ 1 w 2"/>
                  <a:gd name="T3" fmla="*/ 2 h 4"/>
                  <a:gd name="T4" fmla="*/ 1 w 2"/>
                  <a:gd name="T5" fmla="*/ 4 h 4"/>
                  <a:gd name="T6" fmla="*/ 1 w 2"/>
                  <a:gd name="T7" fmla="*/ 1 h 4"/>
                </a:gdLst>
                <a:ahLst/>
                <a:cxnLst>
                  <a:cxn ang="0">
                    <a:pos x="T0" y="T1"/>
                  </a:cxn>
                  <a:cxn ang="0">
                    <a:pos x="T2" y="T3"/>
                  </a:cxn>
                  <a:cxn ang="0">
                    <a:pos x="T4" y="T5"/>
                  </a:cxn>
                  <a:cxn ang="0">
                    <a:pos x="T6" y="T7"/>
                  </a:cxn>
                </a:cxnLst>
                <a:rect l="0" t="0" r="r" b="b"/>
                <a:pathLst>
                  <a:path w="2" h="4">
                    <a:moveTo>
                      <a:pt x="1" y="1"/>
                    </a:moveTo>
                    <a:cubicBezTo>
                      <a:pt x="0" y="0"/>
                      <a:pt x="0" y="1"/>
                      <a:pt x="1" y="2"/>
                    </a:cubicBezTo>
                    <a:cubicBezTo>
                      <a:pt x="1" y="3"/>
                      <a:pt x="1" y="3"/>
                      <a:pt x="1" y="4"/>
                    </a:cubicBezTo>
                    <a:cubicBezTo>
                      <a:pt x="1" y="2"/>
                      <a:pt x="2"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6" name="Freeform 2897">
                <a:extLst>
                  <a:ext uri="{FF2B5EF4-FFF2-40B4-BE49-F238E27FC236}">
                    <a16:creationId xmlns:a16="http://schemas.microsoft.com/office/drawing/2014/main" id="{7EFB3C23-19D6-4FDC-8208-61B7D1D9AF6D}"/>
                  </a:ext>
                </a:extLst>
              </p:cNvPr>
              <p:cNvSpPr>
                <a:spLocks/>
              </p:cNvSpPr>
              <p:nvPr/>
            </p:nvSpPr>
            <p:spPr bwMode="auto">
              <a:xfrm>
                <a:off x="4592" y="3067"/>
                <a:ext cx="177" cy="343"/>
              </a:xfrm>
              <a:custGeom>
                <a:avLst/>
                <a:gdLst>
                  <a:gd name="T0" fmla="*/ 69 w 75"/>
                  <a:gd name="T1" fmla="*/ 12 h 145"/>
                  <a:gd name="T2" fmla="*/ 64 w 75"/>
                  <a:gd name="T3" fmla="*/ 5 h 145"/>
                  <a:gd name="T4" fmla="*/ 63 w 75"/>
                  <a:gd name="T5" fmla="*/ 3 h 145"/>
                  <a:gd name="T6" fmla="*/ 58 w 75"/>
                  <a:gd name="T7" fmla="*/ 4 h 145"/>
                  <a:gd name="T8" fmla="*/ 58 w 75"/>
                  <a:gd name="T9" fmla="*/ 8 h 145"/>
                  <a:gd name="T10" fmla="*/ 57 w 75"/>
                  <a:gd name="T11" fmla="*/ 15 h 145"/>
                  <a:gd name="T12" fmla="*/ 54 w 75"/>
                  <a:gd name="T13" fmla="*/ 16 h 145"/>
                  <a:gd name="T14" fmla="*/ 51 w 75"/>
                  <a:gd name="T15" fmla="*/ 18 h 145"/>
                  <a:gd name="T16" fmla="*/ 50 w 75"/>
                  <a:gd name="T17" fmla="*/ 17 h 145"/>
                  <a:gd name="T18" fmla="*/ 49 w 75"/>
                  <a:gd name="T19" fmla="*/ 24 h 145"/>
                  <a:gd name="T20" fmla="*/ 48 w 75"/>
                  <a:gd name="T21" fmla="*/ 24 h 145"/>
                  <a:gd name="T22" fmla="*/ 47 w 75"/>
                  <a:gd name="T23" fmla="*/ 28 h 145"/>
                  <a:gd name="T24" fmla="*/ 49 w 75"/>
                  <a:gd name="T25" fmla="*/ 29 h 145"/>
                  <a:gd name="T26" fmla="*/ 48 w 75"/>
                  <a:gd name="T27" fmla="*/ 28 h 145"/>
                  <a:gd name="T28" fmla="*/ 43 w 75"/>
                  <a:gd name="T29" fmla="*/ 32 h 145"/>
                  <a:gd name="T30" fmla="*/ 43 w 75"/>
                  <a:gd name="T31" fmla="*/ 29 h 145"/>
                  <a:gd name="T32" fmla="*/ 41 w 75"/>
                  <a:gd name="T33" fmla="*/ 36 h 145"/>
                  <a:gd name="T34" fmla="*/ 39 w 75"/>
                  <a:gd name="T35" fmla="*/ 34 h 145"/>
                  <a:gd name="T36" fmla="*/ 33 w 75"/>
                  <a:gd name="T37" fmla="*/ 38 h 145"/>
                  <a:gd name="T38" fmla="*/ 34 w 75"/>
                  <a:gd name="T39" fmla="*/ 42 h 145"/>
                  <a:gd name="T40" fmla="*/ 31 w 75"/>
                  <a:gd name="T41" fmla="*/ 40 h 145"/>
                  <a:gd name="T42" fmla="*/ 27 w 75"/>
                  <a:gd name="T43" fmla="*/ 40 h 145"/>
                  <a:gd name="T44" fmla="*/ 23 w 75"/>
                  <a:gd name="T45" fmla="*/ 42 h 145"/>
                  <a:gd name="T46" fmla="*/ 20 w 75"/>
                  <a:gd name="T47" fmla="*/ 42 h 145"/>
                  <a:gd name="T48" fmla="*/ 13 w 75"/>
                  <a:gd name="T49" fmla="*/ 44 h 145"/>
                  <a:gd name="T50" fmla="*/ 8 w 75"/>
                  <a:gd name="T51" fmla="*/ 56 h 145"/>
                  <a:gd name="T52" fmla="*/ 10 w 75"/>
                  <a:gd name="T53" fmla="*/ 69 h 145"/>
                  <a:gd name="T54" fmla="*/ 13 w 75"/>
                  <a:gd name="T55" fmla="*/ 81 h 145"/>
                  <a:gd name="T56" fmla="*/ 11 w 75"/>
                  <a:gd name="T57" fmla="*/ 88 h 145"/>
                  <a:gd name="T58" fmla="*/ 8 w 75"/>
                  <a:gd name="T59" fmla="*/ 92 h 145"/>
                  <a:gd name="T60" fmla="*/ 3 w 75"/>
                  <a:gd name="T61" fmla="*/ 100 h 145"/>
                  <a:gd name="T62" fmla="*/ 2 w 75"/>
                  <a:gd name="T63" fmla="*/ 102 h 145"/>
                  <a:gd name="T64" fmla="*/ 1 w 75"/>
                  <a:gd name="T65" fmla="*/ 104 h 145"/>
                  <a:gd name="T66" fmla="*/ 4 w 75"/>
                  <a:gd name="T67" fmla="*/ 120 h 145"/>
                  <a:gd name="T68" fmla="*/ 5 w 75"/>
                  <a:gd name="T69" fmla="*/ 123 h 145"/>
                  <a:gd name="T70" fmla="*/ 5 w 75"/>
                  <a:gd name="T71" fmla="*/ 132 h 145"/>
                  <a:gd name="T72" fmla="*/ 11 w 75"/>
                  <a:gd name="T73" fmla="*/ 139 h 145"/>
                  <a:gd name="T74" fmla="*/ 31 w 75"/>
                  <a:gd name="T75" fmla="*/ 140 h 145"/>
                  <a:gd name="T76" fmla="*/ 39 w 75"/>
                  <a:gd name="T77" fmla="*/ 138 h 145"/>
                  <a:gd name="T78" fmla="*/ 44 w 75"/>
                  <a:gd name="T79" fmla="*/ 128 h 145"/>
                  <a:gd name="T80" fmla="*/ 60 w 75"/>
                  <a:gd name="T81" fmla="*/ 72 h 145"/>
                  <a:gd name="T82" fmla="*/ 64 w 75"/>
                  <a:gd name="T83" fmla="*/ 57 h 145"/>
                  <a:gd name="T84" fmla="*/ 66 w 75"/>
                  <a:gd name="T85" fmla="*/ 53 h 145"/>
                  <a:gd name="T86" fmla="*/ 67 w 75"/>
                  <a:gd name="T87" fmla="*/ 49 h 145"/>
                  <a:gd name="T88" fmla="*/ 66 w 75"/>
                  <a:gd name="T89" fmla="*/ 42 h 145"/>
                  <a:gd name="T90" fmla="*/ 67 w 75"/>
                  <a:gd name="T91" fmla="*/ 36 h 145"/>
                  <a:gd name="T92" fmla="*/ 73 w 75"/>
                  <a:gd name="T93" fmla="*/ 40 h 145"/>
                  <a:gd name="T94" fmla="*/ 73 w 75"/>
                  <a:gd name="T95" fmla="*/ 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 h="145">
                    <a:moveTo>
                      <a:pt x="71" y="21"/>
                    </a:moveTo>
                    <a:cubicBezTo>
                      <a:pt x="71" y="18"/>
                      <a:pt x="70" y="15"/>
                      <a:pt x="69" y="12"/>
                    </a:cubicBezTo>
                    <a:cubicBezTo>
                      <a:pt x="69" y="11"/>
                      <a:pt x="67" y="10"/>
                      <a:pt x="67" y="9"/>
                    </a:cubicBezTo>
                    <a:cubicBezTo>
                      <a:pt x="65" y="8"/>
                      <a:pt x="65" y="7"/>
                      <a:pt x="64" y="5"/>
                    </a:cubicBezTo>
                    <a:cubicBezTo>
                      <a:pt x="63" y="5"/>
                      <a:pt x="63" y="3"/>
                      <a:pt x="62" y="4"/>
                    </a:cubicBezTo>
                    <a:cubicBezTo>
                      <a:pt x="62" y="3"/>
                      <a:pt x="62" y="2"/>
                      <a:pt x="63" y="3"/>
                    </a:cubicBezTo>
                    <a:cubicBezTo>
                      <a:pt x="63" y="2"/>
                      <a:pt x="62" y="1"/>
                      <a:pt x="62" y="0"/>
                    </a:cubicBezTo>
                    <a:cubicBezTo>
                      <a:pt x="61" y="1"/>
                      <a:pt x="60" y="3"/>
                      <a:pt x="58" y="4"/>
                    </a:cubicBezTo>
                    <a:cubicBezTo>
                      <a:pt x="58" y="5"/>
                      <a:pt x="56" y="5"/>
                      <a:pt x="57" y="5"/>
                    </a:cubicBezTo>
                    <a:cubicBezTo>
                      <a:pt x="58" y="6"/>
                      <a:pt x="58" y="7"/>
                      <a:pt x="58" y="8"/>
                    </a:cubicBezTo>
                    <a:cubicBezTo>
                      <a:pt x="59" y="10"/>
                      <a:pt x="58" y="11"/>
                      <a:pt x="57" y="13"/>
                    </a:cubicBezTo>
                    <a:cubicBezTo>
                      <a:pt x="57" y="14"/>
                      <a:pt x="58" y="14"/>
                      <a:pt x="57" y="15"/>
                    </a:cubicBezTo>
                    <a:cubicBezTo>
                      <a:pt x="56" y="15"/>
                      <a:pt x="55" y="16"/>
                      <a:pt x="54" y="15"/>
                    </a:cubicBezTo>
                    <a:cubicBezTo>
                      <a:pt x="54" y="15"/>
                      <a:pt x="55" y="16"/>
                      <a:pt x="54" y="16"/>
                    </a:cubicBezTo>
                    <a:cubicBezTo>
                      <a:pt x="54" y="16"/>
                      <a:pt x="53" y="16"/>
                      <a:pt x="53" y="17"/>
                    </a:cubicBezTo>
                    <a:cubicBezTo>
                      <a:pt x="52" y="18"/>
                      <a:pt x="52" y="20"/>
                      <a:pt x="51" y="18"/>
                    </a:cubicBezTo>
                    <a:cubicBezTo>
                      <a:pt x="51" y="18"/>
                      <a:pt x="51" y="18"/>
                      <a:pt x="51" y="17"/>
                    </a:cubicBezTo>
                    <a:cubicBezTo>
                      <a:pt x="51" y="17"/>
                      <a:pt x="50" y="17"/>
                      <a:pt x="50" y="17"/>
                    </a:cubicBezTo>
                    <a:cubicBezTo>
                      <a:pt x="50" y="16"/>
                      <a:pt x="50" y="16"/>
                      <a:pt x="49" y="16"/>
                    </a:cubicBezTo>
                    <a:cubicBezTo>
                      <a:pt x="47" y="18"/>
                      <a:pt x="50" y="22"/>
                      <a:pt x="49" y="24"/>
                    </a:cubicBezTo>
                    <a:cubicBezTo>
                      <a:pt x="49" y="23"/>
                      <a:pt x="49" y="22"/>
                      <a:pt x="48" y="22"/>
                    </a:cubicBezTo>
                    <a:cubicBezTo>
                      <a:pt x="48" y="23"/>
                      <a:pt x="49" y="24"/>
                      <a:pt x="48" y="24"/>
                    </a:cubicBezTo>
                    <a:cubicBezTo>
                      <a:pt x="48" y="24"/>
                      <a:pt x="47" y="23"/>
                      <a:pt x="47" y="24"/>
                    </a:cubicBezTo>
                    <a:cubicBezTo>
                      <a:pt x="47" y="25"/>
                      <a:pt x="46" y="27"/>
                      <a:pt x="47" y="28"/>
                    </a:cubicBezTo>
                    <a:cubicBezTo>
                      <a:pt x="47" y="28"/>
                      <a:pt x="48" y="27"/>
                      <a:pt x="49" y="27"/>
                    </a:cubicBezTo>
                    <a:cubicBezTo>
                      <a:pt x="49" y="28"/>
                      <a:pt x="50" y="28"/>
                      <a:pt x="49" y="29"/>
                    </a:cubicBezTo>
                    <a:cubicBezTo>
                      <a:pt x="49" y="29"/>
                      <a:pt x="49" y="28"/>
                      <a:pt x="49" y="28"/>
                    </a:cubicBezTo>
                    <a:cubicBezTo>
                      <a:pt x="49" y="28"/>
                      <a:pt x="48" y="28"/>
                      <a:pt x="48" y="28"/>
                    </a:cubicBezTo>
                    <a:cubicBezTo>
                      <a:pt x="49" y="28"/>
                      <a:pt x="47" y="28"/>
                      <a:pt x="47" y="28"/>
                    </a:cubicBezTo>
                    <a:cubicBezTo>
                      <a:pt x="46" y="28"/>
                      <a:pt x="44" y="31"/>
                      <a:pt x="43" y="32"/>
                    </a:cubicBezTo>
                    <a:cubicBezTo>
                      <a:pt x="43" y="31"/>
                      <a:pt x="44" y="30"/>
                      <a:pt x="44" y="29"/>
                    </a:cubicBezTo>
                    <a:cubicBezTo>
                      <a:pt x="44" y="28"/>
                      <a:pt x="44" y="28"/>
                      <a:pt x="43" y="29"/>
                    </a:cubicBezTo>
                    <a:cubicBezTo>
                      <a:pt x="42" y="30"/>
                      <a:pt x="40" y="34"/>
                      <a:pt x="40" y="35"/>
                    </a:cubicBezTo>
                    <a:cubicBezTo>
                      <a:pt x="40" y="35"/>
                      <a:pt x="41" y="36"/>
                      <a:pt x="41" y="36"/>
                    </a:cubicBezTo>
                    <a:cubicBezTo>
                      <a:pt x="40" y="37"/>
                      <a:pt x="39" y="37"/>
                      <a:pt x="39" y="37"/>
                    </a:cubicBezTo>
                    <a:cubicBezTo>
                      <a:pt x="39" y="36"/>
                      <a:pt x="40" y="35"/>
                      <a:pt x="39" y="34"/>
                    </a:cubicBezTo>
                    <a:cubicBezTo>
                      <a:pt x="38" y="34"/>
                      <a:pt x="37" y="35"/>
                      <a:pt x="36" y="35"/>
                    </a:cubicBezTo>
                    <a:cubicBezTo>
                      <a:pt x="35" y="36"/>
                      <a:pt x="34" y="37"/>
                      <a:pt x="33" y="38"/>
                    </a:cubicBezTo>
                    <a:cubicBezTo>
                      <a:pt x="32" y="38"/>
                      <a:pt x="32" y="40"/>
                      <a:pt x="32" y="40"/>
                    </a:cubicBezTo>
                    <a:cubicBezTo>
                      <a:pt x="33" y="41"/>
                      <a:pt x="33" y="41"/>
                      <a:pt x="34" y="42"/>
                    </a:cubicBezTo>
                    <a:cubicBezTo>
                      <a:pt x="33" y="41"/>
                      <a:pt x="32" y="42"/>
                      <a:pt x="32" y="41"/>
                    </a:cubicBezTo>
                    <a:cubicBezTo>
                      <a:pt x="31" y="41"/>
                      <a:pt x="31" y="40"/>
                      <a:pt x="31" y="40"/>
                    </a:cubicBezTo>
                    <a:cubicBezTo>
                      <a:pt x="30" y="38"/>
                      <a:pt x="29" y="40"/>
                      <a:pt x="28" y="40"/>
                    </a:cubicBezTo>
                    <a:cubicBezTo>
                      <a:pt x="28" y="39"/>
                      <a:pt x="28" y="40"/>
                      <a:pt x="27" y="40"/>
                    </a:cubicBezTo>
                    <a:cubicBezTo>
                      <a:pt x="27" y="40"/>
                      <a:pt x="26" y="40"/>
                      <a:pt x="25" y="40"/>
                    </a:cubicBezTo>
                    <a:cubicBezTo>
                      <a:pt x="25" y="41"/>
                      <a:pt x="24" y="41"/>
                      <a:pt x="23" y="42"/>
                    </a:cubicBezTo>
                    <a:cubicBezTo>
                      <a:pt x="23" y="42"/>
                      <a:pt x="22" y="42"/>
                      <a:pt x="22" y="43"/>
                    </a:cubicBezTo>
                    <a:cubicBezTo>
                      <a:pt x="21" y="42"/>
                      <a:pt x="21" y="41"/>
                      <a:pt x="20" y="42"/>
                    </a:cubicBezTo>
                    <a:cubicBezTo>
                      <a:pt x="19" y="43"/>
                      <a:pt x="18" y="44"/>
                      <a:pt x="17" y="44"/>
                    </a:cubicBezTo>
                    <a:cubicBezTo>
                      <a:pt x="16" y="45"/>
                      <a:pt x="14" y="44"/>
                      <a:pt x="13" y="44"/>
                    </a:cubicBezTo>
                    <a:cubicBezTo>
                      <a:pt x="12" y="45"/>
                      <a:pt x="12" y="50"/>
                      <a:pt x="11" y="52"/>
                    </a:cubicBezTo>
                    <a:cubicBezTo>
                      <a:pt x="10" y="54"/>
                      <a:pt x="9" y="55"/>
                      <a:pt x="8" y="56"/>
                    </a:cubicBezTo>
                    <a:cubicBezTo>
                      <a:pt x="8" y="57"/>
                      <a:pt x="7" y="58"/>
                      <a:pt x="8" y="59"/>
                    </a:cubicBezTo>
                    <a:cubicBezTo>
                      <a:pt x="8" y="62"/>
                      <a:pt x="9" y="66"/>
                      <a:pt x="10" y="69"/>
                    </a:cubicBezTo>
                    <a:cubicBezTo>
                      <a:pt x="10" y="72"/>
                      <a:pt x="11" y="75"/>
                      <a:pt x="12" y="77"/>
                    </a:cubicBezTo>
                    <a:cubicBezTo>
                      <a:pt x="13" y="78"/>
                      <a:pt x="13" y="79"/>
                      <a:pt x="13" y="81"/>
                    </a:cubicBezTo>
                    <a:cubicBezTo>
                      <a:pt x="12" y="83"/>
                      <a:pt x="13" y="84"/>
                      <a:pt x="12" y="86"/>
                    </a:cubicBezTo>
                    <a:cubicBezTo>
                      <a:pt x="11" y="87"/>
                      <a:pt x="11" y="88"/>
                      <a:pt x="11" y="88"/>
                    </a:cubicBezTo>
                    <a:cubicBezTo>
                      <a:pt x="10" y="89"/>
                      <a:pt x="10" y="89"/>
                      <a:pt x="9" y="90"/>
                    </a:cubicBezTo>
                    <a:cubicBezTo>
                      <a:pt x="9" y="91"/>
                      <a:pt x="9" y="92"/>
                      <a:pt x="8" y="92"/>
                    </a:cubicBezTo>
                    <a:cubicBezTo>
                      <a:pt x="7" y="94"/>
                      <a:pt x="7" y="96"/>
                      <a:pt x="6" y="97"/>
                    </a:cubicBezTo>
                    <a:cubicBezTo>
                      <a:pt x="5" y="99"/>
                      <a:pt x="3" y="97"/>
                      <a:pt x="3" y="100"/>
                    </a:cubicBezTo>
                    <a:cubicBezTo>
                      <a:pt x="3" y="100"/>
                      <a:pt x="3" y="101"/>
                      <a:pt x="3" y="101"/>
                    </a:cubicBezTo>
                    <a:cubicBezTo>
                      <a:pt x="3" y="102"/>
                      <a:pt x="3" y="102"/>
                      <a:pt x="2" y="102"/>
                    </a:cubicBezTo>
                    <a:cubicBezTo>
                      <a:pt x="2" y="103"/>
                      <a:pt x="2" y="104"/>
                      <a:pt x="1" y="105"/>
                    </a:cubicBezTo>
                    <a:cubicBezTo>
                      <a:pt x="1" y="105"/>
                      <a:pt x="1" y="105"/>
                      <a:pt x="1" y="104"/>
                    </a:cubicBezTo>
                    <a:cubicBezTo>
                      <a:pt x="0" y="106"/>
                      <a:pt x="0" y="108"/>
                      <a:pt x="1" y="110"/>
                    </a:cubicBezTo>
                    <a:cubicBezTo>
                      <a:pt x="1" y="114"/>
                      <a:pt x="3" y="116"/>
                      <a:pt x="4" y="120"/>
                    </a:cubicBezTo>
                    <a:cubicBezTo>
                      <a:pt x="5" y="121"/>
                      <a:pt x="6" y="122"/>
                      <a:pt x="6" y="123"/>
                    </a:cubicBezTo>
                    <a:cubicBezTo>
                      <a:pt x="6" y="123"/>
                      <a:pt x="5" y="123"/>
                      <a:pt x="5" y="123"/>
                    </a:cubicBezTo>
                    <a:cubicBezTo>
                      <a:pt x="4" y="124"/>
                      <a:pt x="5" y="125"/>
                      <a:pt x="5" y="126"/>
                    </a:cubicBezTo>
                    <a:cubicBezTo>
                      <a:pt x="5" y="128"/>
                      <a:pt x="5" y="130"/>
                      <a:pt x="5" y="132"/>
                    </a:cubicBezTo>
                    <a:cubicBezTo>
                      <a:pt x="6" y="133"/>
                      <a:pt x="7" y="135"/>
                      <a:pt x="8" y="136"/>
                    </a:cubicBezTo>
                    <a:cubicBezTo>
                      <a:pt x="9" y="138"/>
                      <a:pt x="9" y="138"/>
                      <a:pt x="11" y="139"/>
                    </a:cubicBezTo>
                    <a:cubicBezTo>
                      <a:pt x="15" y="141"/>
                      <a:pt x="19" y="145"/>
                      <a:pt x="24" y="144"/>
                    </a:cubicBezTo>
                    <a:cubicBezTo>
                      <a:pt x="26" y="144"/>
                      <a:pt x="29" y="141"/>
                      <a:pt x="31" y="140"/>
                    </a:cubicBezTo>
                    <a:cubicBezTo>
                      <a:pt x="33" y="140"/>
                      <a:pt x="35" y="140"/>
                      <a:pt x="37" y="139"/>
                    </a:cubicBezTo>
                    <a:cubicBezTo>
                      <a:pt x="38" y="139"/>
                      <a:pt x="39" y="139"/>
                      <a:pt x="39" y="138"/>
                    </a:cubicBezTo>
                    <a:cubicBezTo>
                      <a:pt x="40" y="136"/>
                      <a:pt x="40" y="135"/>
                      <a:pt x="41" y="133"/>
                    </a:cubicBezTo>
                    <a:cubicBezTo>
                      <a:pt x="42" y="131"/>
                      <a:pt x="43" y="129"/>
                      <a:pt x="44" y="128"/>
                    </a:cubicBezTo>
                    <a:cubicBezTo>
                      <a:pt x="48" y="115"/>
                      <a:pt x="51" y="102"/>
                      <a:pt x="55" y="89"/>
                    </a:cubicBezTo>
                    <a:cubicBezTo>
                      <a:pt x="57" y="83"/>
                      <a:pt x="59" y="77"/>
                      <a:pt x="60" y="72"/>
                    </a:cubicBezTo>
                    <a:cubicBezTo>
                      <a:pt x="61" y="68"/>
                      <a:pt x="62" y="64"/>
                      <a:pt x="64" y="61"/>
                    </a:cubicBezTo>
                    <a:cubicBezTo>
                      <a:pt x="64" y="59"/>
                      <a:pt x="64" y="59"/>
                      <a:pt x="64" y="57"/>
                    </a:cubicBezTo>
                    <a:cubicBezTo>
                      <a:pt x="64" y="57"/>
                      <a:pt x="63" y="56"/>
                      <a:pt x="64" y="56"/>
                    </a:cubicBezTo>
                    <a:cubicBezTo>
                      <a:pt x="65" y="55"/>
                      <a:pt x="65" y="54"/>
                      <a:pt x="66" y="53"/>
                    </a:cubicBezTo>
                    <a:cubicBezTo>
                      <a:pt x="67" y="52"/>
                      <a:pt x="68" y="51"/>
                      <a:pt x="67" y="51"/>
                    </a:cubicBezTo>
                    <a:cubicBezTo>
                      <a:pt x="66" y="50"/>
                      <a:pt x="67" y="49"/>
                      <a:pt x="67" y="49"/>
                    </a:cubicBezTo>
                    <a:cubicBezTo>
                      <a:pt x="67" y="47"/>
                      <a:pt x="68" y="45"/>
                      <a:pt x="68" y="44"/>
                    </a:cubicBezTo>
                    <a:cubicBezTo>
                      <a:pt x="67" y="43"/>
                      <a:pt x="66" y="44"/>
                      <a:pt x="66" y="42"/>
                    </a:cubicBezTo>
                    <a:cubicBezTo>
                      <a:pt x="67" y="41"/>
                      <a:pt x="66" y="40"/>
                      <a:pt x="66" y="39"/>
                    </a:cubicBezTo>
                    <a:cubicBezTo>
                      <a:pt x="66" y="38"/>
                      <a:pt x="66" y="37"/>
                      <a:pt x="67" y="36"/>
                    </a:cubicBezTo>
                    <a:cubicBezTo>
                      <a:pt x="69" y="35"/>
                      <a:pt x="69" y="38"/>
                      <a:pt x="70" y="39"/>
                    </a:cubicBezTo>
                    <a:cubicBezTo>
                      <a:pt x="71" y="41"/>
                      <a:pt x="72" y="43"/>
                      <a:pt x="73" y="40"/>
                    </a:cubicBezTo>
                    <a:cubicBezTo>
                      <a:pt x="74" y="39"/>
                      <a:pt x="75" y="37"/>
                      <a:pt x="75" y="35"/>
                    </a:cubicBezTo>
                    <a:cubicBezTo>
                      <a:pt x="75" y="33"/>
                      <a:pt x="73" y="30"/>
                      <a:pt x="73" y="28"/>
                    </a:cubicBezTo>
                    <a:cubicBezTo>
                      <a:pt x="72" y="26"/>
                      <a:pt x="72" y="23"/>
                      <a:pt x="7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7" name="Freeform 2898">
                <a:extLst>
                  <a:ext uri="{FF2B5EF4-FFF2-40B4-BE49-F238E27FC236}">
                    <a16:creationId xmlns:a16="http://schemas.microsoft.com/office/drawing/2014/main" id="{2CC1C8C8-04B5-4E09-BC35-F0F7E5785708}"/>
                  </a:ext>
                </a:extLst>
              </p:cNvPr>
              <p:cNvSpPr>
                <a:spLocks/>
              </p:cNvSpPr>
              <p:nvPr/>
            </p:nvSpPr>
            <p:spPr bwMode="auto">
              <a:xfrm>
                <a:off x="4753" y="3186"/>
                <a:ext cx="4" cy="9"/>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2"/>
                      <a:pt x="0" y="4"/>
                    </a:cubicBezTo>
                    <a:cubicBezTo>
                      <a:pt x="1" y="2"/>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8" name="Freeform 2899">
                <a:extLst>
                  <a:ext uri="{FF2B5EF4-FFF2-40B4-BE49-F238E27FC236}">
                    <a16:creationId xmlns:a16="http://schemas.microsoft.com/office/drawing/2014/main" id="{997915CB-3886-4976-8783-C1BD3A6EB1D8}"/>
                  </a:ext>
                </a:extLst>
              </p:cNvPr>
              <p:cNvSpPr>
                <a:spLocks/>
              </p:cNvSpPr>
              <p:nvPr/>
            </p:nvSpPr>
            <p:spPr bwMode="auto">
              <a:xfrm>
                <a:off x="4712" y="3098"/>
                <a:ext cx="5" cy="5"/>
              </a:xfrm>
              <a:custGeom>
                <a:avLst/>
                <a:gdLst>
                  <a:gd name="T0" fmla="*/ 1 w 2"/>
                  <a:gd name="T1" fmla="*/ 0 h 2"/>
                  <a:gd name="T2" fmla="*/ 0 w 2"/>
                  <a:gd name="T3" fmla="*/ 1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0" y="1"/>
                    </a:cubicBezTo>
                    <a:cubicBezTo>
                      <a:pt x="0" y="2"/>
                      <a:pt x="1" y="2"/>
                      <a:pt x="2" y="2"/>
                    </a:cubicBezTo>
                    <a:cubicBezTo>
                      <a:pt x="2"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9" name="Freeform 2900">
                <a:extLst>
                  <a:ext uri="{FF2B5EF4-FFF2-40B4-BE49-F238E27FC236}">
                    <a16:creationId xmlns:a16="http://schemas.microsoft.com/office/drawing/2014/main" id="{EC642AF3-3B7A-4E85-BE19-899727DCD840}"/>
                  </a:ext>
                </a:extLst>
              </p:cNvPr>
              <p:cNvSpPr>
                <a:spLocks/>
              </p:cNvSpPr>
              <p:nvPr/>
            </p:nvSpPr>
            <p:spPr bwMode="auto">
              <a:xfrm>
                <a:off x="3752" y="2684"/>
                <a:ext cx="15" cy="17"/>
              </a:xfrm>
              <a:custGeom>
                <a:avLst/>
                <a:gdLst>
                  <a:gd name="T0" fmla="*/ 2 w 6"/>
                  <a:gd name="T1" fmla="*/ 2 h 7"/>
                  <a:gd name="T2" fmla="*/ 1 w 6"/>
                  <a:gd name="T3" fmla="*/ 4 h 7"/>
                  <a:gd name="T4" fmla="*/ 0 w 6"/>
                  <a:gd name="T5" fmla="*/ 4 h 7"/>
                  <a:gd name="T6" fmla="*/ 0 w 6"/>
                  <a:gd name="T7" fmla="*/ 6 h 7"/>
                  <a:gd name="T8" fmla="*/ 2 w 6"/>
                  <a:gd name="T9" fmla="*/ 7 h 7"/>
                  <a:gd name="T10" fmla="*/ 5 w 6"/>
                  <a:gd name="T11" fmla="*/ 3 h 7"/>
                  <a:gd name="T12" fmla="*/ 2 w 6"/>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2" y="2"/>
                    </a:moveTo>
                    <a:cubicBezTo>
                      <a:pt x="2" y="2"/>
                      <a:pt x="2" y="4"/>
                      <a:pt x="1" y="4"/>
                    </a:cubicBezTo>
                    <a:cubicBezTo>
                      <a:pt x="1" y="4"/>
                      <a:pt x="1" y="4"/>
                      <a:pt x="0" y="4"/>
                    </a:cubicBezTo>
                    <a:cubicBezTo>
                      <a:pt x="0" y="4"/>
                      <a:pt x="0" y="6"/>
                      <a:pt x="0" y="6"/>
                    </a:cubicBezTo>
                    <a:cubicBezTo>
                      <a:pt x="1" y="6"/>
                      <a:pt x="2" y="7"/>
                      <a:pt x="2" y="7"/>
                    </a:cubicBezTo>
                    <a:cubicBezTo>
                      <a:pt x="3" y="6"/>
                      <a:pt x="5" y="3"/>
                      <a:pt x="5" y="3"/>
                    </a:cubicBezTo>
                    <a:cubicBezTo>
                      <a:pt x="6" y="0"/>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0" name="Freeform 2901">
                <a:extLst>
                  <a:ext uri="{FF2B5EF4-FFF2-40B4-BE49-F238E27FC236}">
                    <a16:creationId xmlns:a16="http://schemas.microsoft.com/office/drawing/2014/main" id="{ED33A060-DEA1-47D6-9220-3608E65D31FF}"/>
                  </a:ext>
                </a:extLst>
              </p:cNvPr>
              <p:cNvSpPr>
                <a:spLocks/>
              </p:cNvSpPr>
              <p:nvPr/>
            </p:nvSpPr>
            <p:spPr bwMode="auto">
              <a:xfrm>
                <a:off x="4618" y="3070"/>
                <a:ext cx="7" cy="7"/>
              </a:xfrm>
              <a:custGeom>
                <a:avLst/>
                <a:gdLst>
                  <a:gd name="T0" fmla="*/ 2 w 3"/>
                  <a:gd name="T1" fmla="*/ 0 h 3"/>
                  <a:gd name="T2" fmla="*/ 0 w 3"/>
                  <a:gd name="T3" fmla="*/ 1 h 3"/>
                  <a:gd name="T4" fmla="*/ 3 w 3"/>
                  <a:gd name="T5" fmla="*/ 3 h 3"/>
                  <a:gd name="T6" fmla="*/ 2 w 3"/>
                  <a:gd name="T7" fmla="*/ 0 h 3"/>
                </a:gdLst>
                <a:ahLst/>
                <a:cxnLst>
                  <a:cxn ang="0">
                    <a:pos x="T0" y="T1"/>
                  </a:cxn>
                  <a:cxn ang="0">
                    <a:pos x="T2" y="T3"/>
                  </a:cxn>
                  <a:cxn ang="0">
                    <a:pos x="T4" y="T5"/>
                  </a:cxn>
                  <a:cxn ang="0">
                    <a:pos x="T6" y="T7"/>
                  </a:cxn>
                </a:cxnLst>
                <a:rect l="0" t="0" r="r" b="b"/>
                <a:pathLst>
                  <a:path w="3" h="3">
                    <a:moveTo>
                      <a:pt x="2" y="0"/>
                    </a:moveTo>
                    <a:cubicBezTo>
                      <a:pt x="2" y="0"/>
                      <a:pt x="1" y="2"/>
                      <a:pt x="0" y="1"/>
                    </a:cubicBezTo>
                    <a:cubicBezTo>
                      <a:pt x="0" y="2"/>
                      <a:pt x="2" y="3"/>
                      <a:pt x="3" y="3"/>
                    </a:cubicBezTo>
                    <a:cubicBezTo>
                      <a:pt x="3" y="3"/>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1" name="Freeform 2902">
                <a:extLst>
                  <a:ext uri="{FF2B5EF4-FFF2-40B4-BE49-F238E27FC236}">
                    <a16:creationId xmlns:a16="http://schemas.microsoft.com/office/drawing/2014/main" id="{6CB205AB-244E-4ECE-B70E-6965622AF071}"/>
                  </a:ext>
                </a:extLst>
              </p:cNvPr>
              <p:cNvSpPr>
                <a:spLocks/>
              </p:cNvSpPr>
              <p:nvPr/>
            </p:nvSpPr>
            <p:spPr bwMode="auto">
              <a:xfrm>
                <a:off x="4604" y="3074"/>
                <a:ext cx="4" cy="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0" y="1"/>
                      <a:pt x="1" y="1"/>
                      <a:pt x="2" y="1"/>
                    </a:cubicBezTo>
                    <a:cubicBezTo>
                      <a:pt x="1"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2" name="Freeform 2903">
                <a:extLst>
                  <a:ext uri="{FF2B5EF4-FFF2-40B4-BE49-F238E27FC236}">
                    <a16:creationId xmlns:a16="http://schemas.microsoft.com/office/drawing/2014/main" id="{9F521E1B-A9AB-4EDD-BACD-6C50AD707AC1}"/>
                  </a:ext>
                </a:extLst>
              </p:cNvPr>
              <p:cNvSpPr>
                <a:spLocks/>
              </p:cNvSpPr>
              <p:nvPr/>
            </p:nvSpPr>
            <p:spPr bwMode="auto">
              <a:xfrm>
                <a:off x="4592" y="3051"/>
                <a:ext cx="7" cy="16"/>
              </a:xfrm>
              <a:custGeom>
                <a:avLst/>
                <a:gdLst>
                  <a:gd name="T0" fmla="*/ 2 w 3"/>
                  <a:gd name="T1" fmla="*/ 4 h 7"/>
                  <a:gd name="T2" fmla="*/ 2 w 3"/>
                  <a:gd name="T3" fmla="*/ 2 h 7"/>
                  <a:gd name="T4" fmla="*/ 1 w 3"/>
                  <a:gd name="T5" fmla="*/ 4 h 7"/>
                  <a:gd name="T6" fmla="*/ 3 w 3"/>
                  <a:gd name="T7" fmla="*/ 7 h 7"/>
                  <a:gd name="T8" fmla="*/ 2 w 3"/>
                  <a:gd name="T9" fmla="*/ 4 h 7"/>
                </a:gdLst>
                <a:ahLst/>
                <a:cxnLst>
                  <a:cxn ang="0">
                    <a:pos x="T0" y="T1"/>
                  </a:cxn>
                  <a:cxn ang="0">
                    <a:pos x="T2" y="T3"/>
                  </a:cxn>
                  <a:cxn ang="0">
                    <a:pos x="T4" y="T5"/>
                  </a:cxn>
                  <a:cxn ang="0">
                    <a:pos x="T6" y="T7"/>
                  </a:cxn>
                  <a:cxn ang="0">
                    <a:pos x="T8" y="T9"/>
                  </a:cxn>
                </a:cxnLst>
                <a:rect l="0" t="0" r="r" b="b"/>
                <a:pathLst>
                  <a:path w="3" h="7">
                    <a:moveTo>
                      <a:pt x="2" y="4"/>
                    </a:moveTo>
                    <a:cubicBezTo>
                      <a:pt x="2" y="3"/>
                      <a:pt x="2" y="3"/>
                      <a:pt x="2" y="2"/>
                    </a:cubicBezTo>
                    <a:cubicBezTo>
                      <a:pt x="2" y="0"/>
                      <a:pt x="1" y="2"/>
                      <a:pt x="1" y="4"/>
                    </a:cubicBezTo>
                    <a:cubicBezTo>
                      <a:pt x="0" y="5"/>
                      <a:pt x="1" y="6"/>
                      <a:pt x="3" y="7"/>
                    </a:cubicBezTo>
                    <a:cubicBezTo>
                      <a:pt x="3" y="6"/>
                      <a:pt x="2"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3" name="Freeform 2904">
                <a:extLst>
                  <a:ext uri="{FF2B5EF4-FFF2-40B4-BE49-F238E27FC236}">
                    <a16:creationId xmlns:a16="http://schemas.microsoft.com/office/drawing/2014/main" id="{2AA9B57B-0935-4F04-822D-37FE44D2F635}"/>
                  </a:ext>
                </a:extLst>
              </p:cNvPr>
              <p:cNvSpPr>
                <a:spLocks/>
              </p:cNvSpPr>
              <p:nvPr/>
            </p:nvSpPr>
            <p:spPr bwMode="auto">
              <a:xfrm>
                <a:off x="4835" y="2466"/>
                <a:ext cx="31" cy="12"/>
              </a:xfrm>
              <a:custGeom>
                <a:avLst/>
                <a:gdLst>
                  <a:gd name="T0" fmla="*/ 5 w 13"/>
                  <a:gd name="T1" fmla="*/ 1 h 5"/>
                  <a:gd name="T2" fmla="*/ 2 w 13"/>
                  <a:gd name="T3" fmla="*/ 1 h 5"/>
                  <a:gd name="T4" fmla="*/ 0 w 13"/>
                  <a:gd name="T5" fmla="*/ 3 h 5"/>
                  <a:gd name="T6" fmla="*/ 5 w 13"/>
                  <a:gd name="T7" fmla="*/ 5 h 5"/>
                  <a:gd name="T8" fmla="*/ 10 w 13"/>
                  <a:gd name="T9" fmla="*/ 4 h 5"/>
                  <a:gd name="T10" fmla="*/ 13 w 13"/>
                  <a:gd name="T11" fmla="*/ 3 h 5"/>
                  <a:gd name="T12" fmla="*/ 9 w 13"/>
                  <a:gd name="T13" fmla="*/ 1 h 5"/>
                  <a:gd name="T14" fmla="*/ 5 w 13"/>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
                    <a:moveTo>
                      <a:pt x="5" y="1"/>
                    </a:moveTo>
                    <a:cubicBezTo>
                      <a:pt x="4" y="1"/>
                      <a:pt x="3" y="0"/>
                      <a:pt x="2" y="1"/>
                    </a:cubicBezTo>
                    <a:cubicBezTo>
                      <a:pt x="1" y="1"/>
                      <a:pt x="2" y="3"/>
                      <a:pt x="0" y="3"/>
                    </a:cubicBezTo>
                    <a:cubicBezTo>
                      <a:pt x="2" y="4"/>
                      <a:pt x="3" y="4"/>
                      <a:pt x="5" y="5"/>
                    </a:cubicBezTo>
                    <a:cubicBezTo>
                      <a:pt x="7" y="5"/>
                      <a:pt x="8" y="5"/>
                      <a:pt x="10" y="4"/>
                    </a:cubicBezTo>
                    <a:cubicBezTo>
                      <a:pt x="10" y="4"/>
                      <a:pt x="12" y="2"/>
                      <a:pt x="13" y="3"/>
                    </a:cubicBezTo>
                    <a:cubicBezTo>
                      <a:pt x="12" y="2"/>
                      <a:pt x="10" y="1"/>
                      <a:pt x="9" y="1"/>
                    </a:cubicBezTo>
                    <a:cubicBezTo>
                      <a:pt x="8" y="1"/>
                      <a:pt x="6" y="2"/>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4" name="Freeform 2905">
                <a:extLst>
                  <a:ext uri="{FF2B5EF4-FFF2-40B4-BE49-F238E27FC236}">
                    <a16:creationId xmlns:a16="http://schemas.microsoft.com/office/drawing/2014/main" id="{53C99B01-BA5F-4BCA-A84E-0B6142A5A389}"/>
                  </a:ext>
                </a:extLst>
              </p:cNvPr>
              <p:cNvSpPr>
                <a:spLocks/>
              </p:cNvSpPr>
              <p:nvPr/>
            </p:nvSpPr>
            <p:spPr bwMode="auto">
              <a:xfrm>
                <a:off x="4807" y="2481"/>
                <a:ext cx="7" cy="2"/>
              </a:xfrm>
              <a:custGeom>
                <a:avLst/>
                <a:gdLst>
                  <a:gd name="T0" fmla="*/ 0 w 3"/>
                  <a:gd name="T1" fmla="*/ 0 h 1"/>
                  <a:gd name="T2" fmla="*/ 3 w 3"/>
                  <a:gd name="T3" fmla="*/ 1 h 1"/>
                  <a:gd name="T4" fmla="*/ 0 w 3"/>
                  <a:gd name="T5" fmla="*/ 0 h 1"/>
                </a:gdLst>
                <a:ahLst/>
                <a:cxnLst>
                  <a:cxn ang="0">
                    <a:pos x="T0" y="T1"/>
                  </a:cxn>
                  <a:cxn ang="0">
                    <a:pos x="T2" y="T3"/>
                  </a:cxn>
                  <a:cxn ang="0">
                    <a:pos x="T4" y="T5"/>
                  </a:cxn>
                </a:cxnLst>
                <a:rect l="0" t="0" r="r" b="b"/>
                <a:pathLst>
                  <a:path w="3" h="1">
                    <a:moveTo>
                      <a:pt x="0" y="0"/>
                    </a:moveTo>
                    <a:cubicBezTo>
                      <a:pt x="1" y="0"/>
                      <a:pt x="2" y="0"/>
                      <a:pt x="3"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5" name="Freeform 2906">
                <a:extLst>
                  <a:ext uri="{FF2B5EF4-FFF2-40B4-BE49-F238E27FC236}">
                    <a16:creationId xmlns:a16="http://schemas.microsoft.com/office/drawing/2014/main" id="{8AF3164D-F5F0-44F8-BEE4-9D4E32737336}"/>
                  </a:ext>
                </a:extLst>
              </p:cNvPr>
              <p:cNvSpPr>
                <a:spLocks/>
              </p:cNvSpPr>
              <p:nvPr/>
            </p:nvSpPr>
            <p:spPr bwMode="auto">
              <a:xfrm>
                <a:off x="4344" y="1998"/>
                <a:ext cx="9" cy="2"/>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1" y="0"/>
                      <a:pt x="2" y="0"/>
                      <a:pt x="4" y="0"/>
                    </a:cubicBezTo>
                    <a:cubicBezTo>
                      <a:pt x="2"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6" name="Freeform 2907">
                <a:extLst>
                  <a:ext uri="{FF2B5EF4-FFF2-40B4-BE49-F238E27FC236}">
                    <a16:creationId xmlns:a16="http://schemas.microsoft.com/office/drawing/2014/main" id="{1A7BD4BF-C39F-483A-8A5A-2625D8355C84}"/>
                  </a:ext>
                </a:extLst>
              </p:cNvPr>
              <p:cNvSpPr>
                <a:spLocks/>
              </p:cNvSpPr>
              <p:nvPr/>
            </p:nvSpPr>
            <p:spPr bwMode="auto">
              <a:xfrm>
                <a:off x="3133" y="1953"/>
                <a:ext cx="12" cy="7"/>
              </a:xfrm>
              <a:custGeom>
                <a:avLst/>
                <a:gdLst>
                  <a:gd name="T0" fmla="*/ 3 w 5"/>
                  <a:gd name="T1" fmla="*/ 3 h 3"/>
                  <a:gd name="T2" fmla="*/ 5 w 5"/>
                  <a:gd name="T3" fmla="*/ 1 h 3"/>
                  <a:gd name="T4" fmla="*/ 3 w 5"/>
                  <a:gd name="T5" fmla="*/ 1 h 3"/>
                  <a:gd name="T6" fmla="*/ 0 w 5"/>
                  <a:gd name="T7" fmla="*/ 1 h 3"/>
                  <a:gd name="T8" fmla="*/ 3 w 5"/>
                  <a:gd name="T9" fmla="*/ 3 h 3"/>
                </a:gdLst>
                <a:ahLst/>
                <a:cxnLst>
                  <a:cxn ang="0">
                    <a:pos x="T0" y="T1"/>
                  </a:cxn>
                  <a:cxn ang="0">
                    <a:pos x="T2" y="T3"/>
                  </a:cxn>
                  <a:cxn ang="0">
                    <a:pos x="T4" y="T5"/>
                  </a:cxn>
                  <a:cxn ang="0">
                    <a:pos x="T6" y="T7"/>
                  </a:cxn>
                  <a:cxn ang="0">
                    <a:pos x="T8" y="T9"/>
                  </a:cxn>
                </a:cxnLst>
                <a:rect l="0" t="0" r="r" b="b"/>
                <a:pathLst>
                  <a:path w="5" h="3">
                    <a:moveTo>
                      <a:pt x="3" y="3"/>
                    </a:moveTo>
                    <a:cubicBezTo>
                      <a:pt x="4" y="2"/>
                      <a:pt x="5" y="2"/>
                      <a:pt x="5" y="1"/>
                    </a:cubicBezTo>
                    <a:cubicBezTo>
                      <a:pt x="4" y="1"/>
                      <a:pt x="4" y="1"/>
                      <a:pt x="3" y="1"/>
                    </a:cubicBezTo>
                    <a:cubicBezTo>
                      <a:pt x="2" y="0"/>
                      <a:pt x="1" y="1"/>
                      <a:pt x="0" y="1"/>
                    </a:cubicBezTo>
                    <a:cubicBezTo>
                      <a:pt x="0" y="2"/>
                      <a:pt x="2"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7" name="Freeform 2908">
                <a:extLst>
                  <a:ext uri="{FF2B5EF4-FFF2-40B4-BE49-F238E27FC236}">
                    <a16:creationId xmlns:a16="http://schemas.microsoft.com/office/drawing/2014/main" id="{9E21F4BE-B3F9-4E2E-AEA0-8CFE4273F4F3}"/>
                  </a:ext>
                </a:extLst>
              </p:cNvPr>
              <p:cNvSpPr>
                <a:spLocks/>
              </p:cNvSpPr>
              <p:nvPr/>
            </p:nvSpPr>
            <p:spPr bwMode="auto">
              <a:xfrm>
                <a:off x="3114" y="2059"/>
                <a:ext cx="7" cy="10"/>
              </a:xfrm>
              <a:custGeom>
                <a:avLst/>
                <a:gdLst>
                  <a:gd name="T0" fmla="*/ 2 w 3"/>
                  <a:gd name="T1" fmla="*/ 1 h 4"/>
                  <a:gd name="T2" fmla="*/ 0 w 3"/>
                  <a:gd name="T3" fmla="*/ 1 h 4"/>
                  <a:gd name="T4" fmla="*/ 2 w 3"/>
                  <a:gd name="T5" fmla="*/ 4 h 4"/>
                  <a:gd name="T6" fmla="*/ 2 w 3"/>
                  <a:gd name="T7" fmla="*/ 1 h 4"/>
                </a:gdLst>
                <a:ahLst/>
                <a:cxnLst>
                  <a:cxn ang="0">
                    <a:pos x="T0" y="T1"/>
                  </a:cxn>
                  <a:cxn ang="0">
                    <a:pos x="T2" y="T3"/>
                  </a:cxn>
                  <a:cxn ang="0">
                    <a:pos x="T4" y="T5"/>
                  </a:cxn>
                  <a:cxn ang="0">
                    <a:pos x="T6" y="T7"/>
                  </a:cxn>
                </a:cxnLst>
                <a:rect l="0" t="0" r="r" b="b"/>
                <a:pathLst>
                  <a:path w="3" h="4">
                    <a:moveTo>
                      <a:pt x="2" y="1"/>
                    </a:moveTo>
                    <a:cubicBezTo>
                      <a:pt x="2" y="0"/>
                      <a:pt x="0" y="1"/>
                      <a:pt x="0" y="1"/>
                    </a:cubicBezTo>
                    <a:cubicBezTo>
                      <a:pt x="0" y="2"/>
                      <a:pt x="2" y="4"/>
                      <a:pt x="2" y="4"/>
                    </a:cubicBezTo>
                    <a:cubicBezTo>
                      <a:pt x="2" y="3"/>
                      <a:pt x="3"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8" name="Freeform 2909">
                <a:extLst>
                  <a:ext uri="{FF2B5EF4-FFF2-40B4-BE49-F238E27FC236}">
                    <a16:creationId xmlns:a16="http://schemas.microsoft.com/office/drawing/2014/main" id="{D4ECEEFF-8FEB-464B-91F9-C44165DC06A9}"/>
                  </a:ext>
                </a:extLst>
              </p:cNvPr>
              <p:cNvSpPr>
                <a:spLocks/>
              </p:cNvSpPr>
              <p:nvPr/>
            </p:nvSpPr>
            <p:spPr bwMode="auto">
              <a:xfrm>
                <a:off x="3107" y="2085"/>
                <a:ext cx="9" cy="8"/>
              </a:xfrm>
              <a:custGeom>
                <a:avLst/>
                <a:gdLst>
                  <a:gd name="T0" fmla="*/ 3 w 4"/>
                  <a:gd name="T1" fmla="*/ 3 h 3"/>
                  <a:gd name="T2" fmla="*/ 4 w 4"/>
                  <a:gd name="T3" fmla="*/ 0 h 3"/>
                  <a:gd name="T4" fmla="*/ 2 w 4"/>
                  <a:gd name="T5" fmla="*/ 1 h 3"/>
                  <a:gd name="T6" fmla="*/ 3 w 4"/>
                  <a:gd name="T7" fmla="*/ 3 h 3"/>
                </a:gdLst>
                <a:ahLst/>
                <a:cxnLst>
                  <a:cxn ang="0">
                    <a:pos x="T0" y="T1"/>
                  </a:cxn>
                  <a:cxn ang="0">
                    <a:pos x="T2" y="T3"/>
                  </a:cxn>
                  <a:cxn ang="0">
                    <a:pos x="T4" y="T5"/>
                  </a:cxn>
                  <a:cxn ang="0">
                    <a:pos x="T6" y="T7"/>
                  </a:cxn>
                </a:cxnLst>
                <a:rect l="0" t="0" r="r" b="b"/>
                <a:pathLst>
                  <a:path w="4" h="3">
                    <a:moveTo>
                      <a:pt x="3" y="3"/>
                    </a:moveTo>
                    <a:cubicBezTo>
                      <a:pt x="3" y="2"/>
                      <a:pt x="4" y="1"/>
                      <a:pt x="4" y="0"/>
                    </a:cubicBezTo>
                    <a:cubicBezTo>
                      <a:pt x="3" y="1"/>
                      <a:pt x="3" y="1"/>
                      <a:pt x="2" y="1"/>
                    </a:cubicBezTo>
                    <a:cubicBezTo>
                      <a:pt x="0" y="2"/>
                      <a:pt x="2"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9" name="Freeform 2910">
                <a:extLst>
                  <a:ext uri="{FF2B5EF4-FFF2-40B4-BE49-F238E27FC236}">
                    <a16:creationId xmlns:a16="http://schemas.microsoft.com/office/drawing/2014/main" id="{0A357C64-1B64-4CDB-AA76-FCB8A1208470}"/>
                  </a:ext>
                </a:extLst>
              </p:cNvPr>
              <p:cNvSpPr>
                <a:spLocks/>
              </p:cNvSpPr>
              <p:nvPr/>
            </p:nvSpPr>
            <p:spPr bwMode="auto">
              <a:xfrm>
                <a:off x="3124" y="2076"/>
                <a:ext cx="18" cy="7"/>
              </a:xfrm>
              <a:custGeom>
                <a:avLst/>
                <a:gdLst>
                  <a:gd name="T0" fmla="*/ 4 w 8"/>
                  <a:gd name="T1" fmla="*/ 3 h 3"/>
                  <a:gd name="T2" fmla="*/ 4 w 8"/>
                  <a:gd name="T3" fmla="*/ 3 h 3"/>
                </a:gdLst>
                <a:ahLst/>
                <a:cxnLst>
                  <a:cxn ang="0">
                    <a:pos x="T0" y="T1"/>
                  </a:cxn>
                  <a:cxn ang="0">
                    <a:pos x="T2" y="T3"/>
                  </a:cxn>
                </a:cxnLst>
                <a:rect l="0" t="0" r="r" b="b"/>
                <a:pathLst>
                  <a:path w="8" h="3">
                    <a:moveTo>
                      <a:pt x="4" y="3"/>
                    </a:moveTo>
                    <a:cubicBezTo>
                      <a:pt x="8" y="0"/>
                      <a:pt x="0" y="1"/>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0" name="Freeform 2911">
                <a:extLst>
                  <a:ext uri="{FF2B5EF4-FFF2-40B4-BE49-F238E27FC236}">
                    <a16:creationId xmlns:a16="http://schemas.microsoft.com/office/drawing/2014/main" id="{7EF3363B-99CA-46A2-89A9-F570C19ED075}"/>
                  </a:ext>
                </a:extLst>
              </p:cNvPr>
              <p:cNvSpPr>
                <a:spLocks/>
              </p:cNvSpPr>
              <p:nvPr/>
            </p:nvSpPr>
            <p:spPr bwMode="auto">
              <a:xfrm>
                <a:off x="3140" y="2067"/>
                <a:ext cx="19" cy="16"/>
              </a:xfrm>
              <a:custGeom>
                <a:avLst/>
                <a:gdLst>
                  <a:gd name="T0" fmla="*/ 0 w 8"/>
                  <a:gd name="T1" fmla="*/ 3 h 7"/>
                  <a:gd name="T2" fmla="*/ 1 w 8"/>
                  <a:gd name="T3" fmla="*/ 4 h 7"/>
                  <a:gd name="T4" fmla="*/ 3 w 8"/>
                  <a:gd name="T5" fmla="*/ 7 h 7"/>
                  <a:gd name="T6" fmla="*/ 8 w 8"/>
                  <a:gd name="T7" fmla="*/ 0 h 7"/>
                  <a:gd name="T8" fmla="*/ 6 w 8"/>
                  <a:gd name="T9" fmla="*/ 1 h 7"/>
                  <a:gd name="T10" fmla="*/ 5 w 8"/>
                  <a:gd name="T11" fmla="*/ 2 h 7"/>
                  <a:gd name="T12" fmla="*/ 0 w 8"/>
                  <a:gd name="T13" fmla="*/ 3 h 7"/>
                  <a:gd name="T14" fmla="*/ 0 w 8"/>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0" y="3"/>
                    </a:moveTo>
                    <a:cubicBezTo>
                      <a:pt x="0" y="3"/>
                      <a:pt x="0" y="3"/>
                      <a:pt x="1" y="4"/>
                    </a:cubicBezTo>
                    <a:cubicBezTo>
                      <a:pt x="1" y="5"/>
                      <a:pt x="2" y="6"/>
                      <a:pt x="3" y="7"/>
                    </a:cubicBezTo>
                    <a:cubicBezTo>
                      <a:pt x="4" y="5"/>
                      <a:pt x="6" y="3"/>
                      <a:pt x="8" y="0"/>
                    </a:cubicBezTo>
                    <a:cubicBezTo>
                      <a:pt x="7" y="1"/>
                      <a:pt x="7" y="0"/>
                      <a:pt x="6" y="1"/>
                    </a:cubicBezTo>
                    <a:cubicBezTo>
                      <a:pt x="5" y="1"/>
                      <a:pt x="5" y="1"/>
                      <a:pt x="5" y="2"/>
                    </a:cubicBezTo>
                    <a:cubicBezTo>
                      <a:pt x="4" y="3"/>
                      <a:pt x="2"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1" name="Freeform 2912">
                <a:extLst>
                  <a:ext uri="{FF2B5EF4-FFF2-40B4-BE49-F238E27FC236}">
                    <a16:creationId xmlns:a16="http://schemas.microsoft.com/office/drawing/2014/main" id="{26FFA7E9-8DE6-4FD6-9CDC-4C7FFC124AD8}"/>
                  </a:ext>
                </a:extLst>
              </p:cNvPr>
              <p:cNvSpPr>
                <a:spLocks/>
              </p:cNvSpPr>
              <p:nvPr/>
            </p:nvSpPr>
            <p:spPr bwMode="auto">
              <a:xfrm>
                <a:off x="3166" y="2078"/>
                <a:ext cx="14" cy="12"/>
              </a:xfrm>
              <a:custGeom>
                <a:avLst/>
                <a:gdLst>
                  <a:gd name="T0" fmla="*/ 3 w 6"/>
                  <a:gd name="T1" fmla="*/ 5 h 5"/>
                  <a:gd name="T2" fmla="*/ 4 w 6"/>
                  <a:gd name="T3" fmla="*/ 0 h 5"/>
                  <a:gd name="T4" fmla="*/ 2 w 6"/>
                  <a:gd name="T5" fmla="*/ 0 h 5"/>
                  <a:gd name="T6" fmla="*/ 0 w 6"/>
                  <a:gd name="T7" fmla="*/ 3 h 5"/>
                  <a:gd name="T8" fmla="*/ 3 w 6"/>
                  <a:gd name="T9" fmla="*/ 5 h 5"/>
                </a:gdLst>
                <a:ahLst/>
                <a:cxnLst>
                  <a:cxn ang="0">
                    <a:pos x="T0" y="T1"/>
                  </a:cxn>
                  <a:cxn ang="0">
                    <a:pos x="T2" y="T3"/>
                  </a:cxn>
                  <a:cxn ang="0">
                    <a:pos x="T4" y="T5"/>
                  </a:cxn>
                  <a:cxn ang="0">
                    <a:pos x="T6" y="T7"/>
                  </a:cxn>
                  <a:cxn ang="0">
                    <a:pos x="T8" y="T9"/>
                  </a:cxn>
                </a:cxnLst>
                <a:rect l="0" t="0" r="r" b="b"/>
                <a:pathLst>
                  <a:path w="6" h="5">
                    <a:moveTo>
                      <a:pt x="3" y="5"/>
                    </a:moveTo>
                    <a:cubicBezTo>
                      <a:pt x="5" y="3"/>
                      <a:pt x="6" y="2"/>
                      <a:pt x="4" y="0"/>
                    </a:cubicBezTo>
                    <a:cubicBezTo>
                      <a:pt x="4" y="1"/>
                      <a:pt x="2" y="0"/>
                      <a:pt x="2" y="0"/>
                    </a:cubicBezTo>
                    <a:cubicBezTo>
                      <a:pt x="2" y="1"/>
                      <a:pt x="0" y="1"/>
                      <a:pt x="0" y="3"/>
                    </a:cubicBezTo>
                    <a:cubicBezTo>
                      <a:pt x="1" y="4"/>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2" name="Freeform 2913">
                <a:extLst>
                  <a:ext uri="{FF2B5EF4-FFF2-40B4-BE49-F238E27FC236}">
                    <a16:creationId xmlns:a16="http://schemas.microsoft.com/office/drawing/2014/main" id="{44C4E0D8-18C8-4942-9807-43A03873FD63}"/>
                  </a:ext>
                </a:extLst>
              </p:cNvPr>
              <p:cNvSpPr>
                <a:spLocks/>
              </p:cNvSpPr>
              <p:nvPr/>
            </p:nvSpPr>
            <p:spPr bwMode="auto">
              <a:xfrm>
                <a:off x="3199" y="2059"/>
                <a:ext cx="17" cy="22"/>
              </a:xfrm>
              <a:custGeom>
                <a:avLst/>
                <a:gdLst>
                  <a:gd name="T0" fmla="*/ 1 w 7"/>
                  <a:gd name="T1" fmla="*/ 9 h 9"/>
                  <a:gd name="T2" fmla="*/ 6 w 7"/>
                  <a:gd name="T3" fmla="*/ 5 h 9"/>
                  <a:gd name="T4" fmla="*/ 7 w 7"/>
                  <a:gd name="T5" fmla="*/ 2 h 9"/>
                  <a:gd name="T6" fmla="*/ 7 w 7"/>
                  <a:gd name="T7" fmla="*/ 3 h 9"/>
                  <a:gd name="T8" fmla="*/ 5 w 7"/>
                  <a:gd name="T9" fmla="*/ 0 h 9"/>
                  <a:gd name="T10" fmla="*/ 5 w 7"/>
                  <a:gd name="T11" fmla="*/ 2 h 9"/>
                  <a:gd name="T12" fmla="*/ 4 w 7"/>
                  <a:gd name="T13" fmla="*/ 4 h 9"/>
                  <a:gd name="T14" fmla="*/ 3 w 7"/>
                  <a:gd name="T15" fmla="*/ 6 h 9"/>
                  <a:gd name="T16" fmla="*/ 0 w 7"/>
                  <a:gd name="T17" fmla="*/ 9 h 9"/>
                  <a:gd name="T18" fmla="*/ 0 w 7"/>
                  <a:gd name="T19" fmla="*/ 9 h 9"/>
                  <a:gd name="T20" fmla="*/ 0 w 7"/>
                  <a:gd name="T21" fmla="*/ 9 h 9"/>
                  <a:gd name="T22" fmla="*/ 1 w 7"/>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1" y="9"/>
                    </a:moveTo>
                    <a:cubicBezTo>
                      <a:pt x="4" y="8"/>
                      <a:pt x="6" y="7"/>
                      <a:pt x="6" y="5"/>
                    </a:cubicBezTo>
                    <a:cubicBezTo>
                      <a:pt x="7" y="4"/>
                      <a:pt x="7" y="3"/>
                      <a:pt x="7" y="2"/>
                    </a:cubicBezTo>
                    <a:cubicBezTo>
                      <a:pt x="7" y="3"/>
                      <a:pt x="7" y="3"/>
                      <a:pt x="7" y="3"/>
                    </a:cubicBezTo>
                    <a:cubicBezTo>
                      <a:pt x="7" y="2"/>
                      <a:pt x="6" y="1"/>
                      <a:pt x="5" y="0"/>
                    </a:cubicBezTo>
                    <a:cubicBezTo>
                      <a:pt x="5" y="1"/>
                      <a:pt x="5" y="1"/>
                      <a:pt x="5" y="2"/>
                    </a:cubicBezTo>
                    <a:cubicBezTo>
                      <a:pt x="5" y="2"/>
                      <a:pt x="5" y="3"/>
                      <a:pt x="4" y="4"/>
                    </a:cubicBezTo>
                    <a:cubicBezTo>
                      <a:pt x="4" y="5"/>
                      <a:pt x="3" y="5"/>
                      <a:pt x="3" y="6"/>
                    </a:cubicBezTo>
                    <a:cubicBezTo>
                      <a:pt x="2" y="8"/>
                      <a:pt x="2" y="8"/>
                      <a:pt x="0" y="9"/>
                    </a:cubicBezTo>
                    <a:cubicBezTo>
                      <a:pt x="0" y="9"/>
                      <a:pt x="0" y="9"/>
                      <a:pt x="0" y="9"/>
                    </a:cubicBezTo>
                    <a:cubicBezTo>
                      <a:pt x="0" y="9"/>
                      <a:pt x="0" y="9"/>
                      <a:pt x="0" y="9"/>
                    </a:cubicBezTo>
                    <a:cubicBezTo>
                      <a:pt x="1" y="9"/>
                      <a:pt x="1"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3" name="Freeform 2914">
                <a:extLst>
                  <a:ext uri="{FF2B5EF4-FFF2-40B4-BE49-F238E27FC236}">
                    <a16:creationId xmlns:a16="http://schemas.microsoft.com/office/drawing/2014/main" id="{E952398B-2390-403D-9FB3-0C69B50D206F}"/>
                  </a:ext>
                </a:extLst>
              </p:cNvPr>
              <p:cNvSpPr>
                <a:spLocks/>
              </p:cNvSpPr>
              <p:nvPr/>
            </p:nvSpPr>
            <p:spPr bwMode="auto">
              <a:xfrm>
                <a:off x="3216" y="2050"/>
                <a:ext cx="9" cy="12"/>
              </a:xfrm>
              <a:custGeom>
                <a:avLst/>
                <a:gdLst>
                  <a:gd name="T0" fmla="*/ 3 w 4"/>
                  <a:gd name="T1" fmla="*/ 2 h 5"/>
                  <a:gd name="T2" fmla="*/ 3 w 4"/>
                  <a:gd name="T3" fmla="*/ 0 h 5"/>
                  <a:gd name="T4" fmla="*/ 0 w 4"/>
                  <a:gd name="T5" fmla="*/ 5 h 5"/>
                  <a:gd name="T6" fmla="*/ 3 w 4"/>
                  <a:gd name="T7" fmla="*/ 2 h 5"/>
                </a:gdLst>
                <a:ahLst/>
                <a:cxnLst>
                  <a:cxn ang="0">
                    <a:pos x="T0" y="T1"/>
                  </a:cxn>
                  <a:cxn ang="0">
                    <a:pos x="T2" y="T3"/>
                  </a:cxn>
                  <a:cxn ang="0">
                    <a:pos x="T4" y="T5"/>
                  </a:cxn>
                  <a:cxn ang="0">
                    <a:pos x="T6" y="T7"/>
                  </a:cxn>
                </a:cxnLst>
                <a:rect l="0" t="0" r="r" b="b"/>
                <a:pathLst>
                  <a:path w="4" h="5">
                    <a:moveTo>
                      <a:pt x="3" y="2"/>
                    </a:moveTo>
                    <a:cubicBezTo>
                      <a:pt x="4" y="1"/>
                      <a:pt x="4" y="0"/>
                      <a:pt x="3" y="0"/>
                    </a:cubicBezTo>
                    <a:cubicBezTo>
                      <a:pt x="1" y="2"/>
                      <a:pt x="0" y="2"/>
                      <a:pt x="0" y="5"/>
                    </a:cubicBezTo>
                    <a:cubicBezTo>
                      <a:pt x="1" y="3"/>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4" name="Freeform 2915">
                <a:extLst>
                  <a:ext uri="{FF2B5EF4-FFF2-40B4-BE49-F238E27FC236}">
                    <a16:creationId xmlns:a16="http://schemas.microsoft.com/office/drawing/2014/main" id="{3041D93D-0262-48FF-82D1-2F70C0FE855F}"/>
                  </a:ext>
                </a:extLst>
              </p:cNvPr>
              <p:cNvSpPr>
                <a:spLocks/>
              </p:cNvSpPr>
              <p:nvPr/>
            </p:nvSpPr>
            <p:spPr bwMode="auto">
              <a:xfrm>
                <a:off x="3705" y="2767"/>
                <a:ext cx="7" cy="9"/>
              </a:xfrm>
              <a:custGeom>
                <a:avLst/>
                <a:gdLst>
                  <a:gd name="T0" fmla="*/ 1 w 3"/>
                  <a:gd name="T1" fmla="*/ 1 h 4"/>
                  <a:gd name="T2" fmla="*/ 1 w 3"/>
                  <a:gd name="T3" fmla="*/ 4 h 4"/>
                  <a:gd name="T4" fmla="*/ 3 w 3"/>
                  <a:gd name="T5" fmla="*/ 2 h 4"/>
                  <a:gd name="T6" fmla="*/ 1 w 3"/>
                  <a:gd name="T7" fmla="*/ 1 h 4"/>
                </a:gdLst>
                <a:ahLst/>
                <a:cxnLst>
                  <a:cxn ang="0">
                    <a:pos x="T0" y="T1"/>
                  </a:cxn>
                  <a:cxn ang="0">
                    <a:pos x="T2" y="T3"/>
                  </a:cxn>
                  <a:cxn ang="0">
                    <a:pos x="T4" y="T5"/>
                  </a:cxn>
                  <a:cxn ang="0">
                    <a:pos x="T6" y="T7"/>
                  </a:cxn>
                </a:cxnLst>
                <a:rect l="0" t="0" r="r" b="b"/>
                <a:pathLst>
                  <a:path w="3" h="4">
                    <a:moveTo>
                      <a:pt x="1" y="1"/>
                    </a:moveTo>
                    <a:cubicBezTo>
                      <a:pt x="0" y="2"/>
                      <a:pt x="0" y="3"/>
                      <a:pt x="1" y="4"/>
                    </a:cubicBezTo>
                    <a:cubicBezTo>
                      <a:pt x="1" y="4"/>
                      <a:pt x="3" y="3"/>
                      <a:pt x="3" y="2"/>
                    </a:cubicBezTo>
                    <a:cubicBezTo>
                      <a:pt x="3" y="0"/>
                      <a:pt x="2"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5" name="Freeform 2916">
                <a:extLst>
                  <a:ext uri="{FF2B5EF4-FFF2-40B4-BE49-F238E27FC236}">
                    <a16:creationId xmlns:a16="http://schemas.microsoft.com/office/drawing/2014/main" id="{59AAFF37-3352-4E5D-B8F6-2283004F914E}"/>
                  </a:ext>
                </a:extLst>
              </p:cNvPr>
              <p:cNvSpPr>
                <a:spLocks/>
              </p:cNvSpPr>
              <p:nvPr/>
            </p:nvSpPr>
            <p:spPr bwMode="auto">
              <a:xfrm>
                <a:off x="4935" y="3266"/>
                <a:ext cx="9" cy="14"/>
              </a:xfrm>
              <a:custGeom>
                <a:avLst/>
                <a:gdLst>
                  <a:gd name="T0" fmla="*/ 2 w 4"/>
                  <a:gd name="T1" fmla="*/ 0 h 6"/>
                  <a:gd name="T2" fmla="*/ 0 w 4"/>
                  <a:gd name="T3" fmla="*/ 6 h 6"/>
                  <a:gd name="T4" fmla="*/ 4 w 4"/>
                  <a:gd name="T5" fmla="*/ 4 h 6"/>
                  <a:gd name="T6" fmla="*/ 2 w 4"/>
                  <a:gd name="T7" fmla="*/ 0 h 6"/>
                </a:gdLst>
                <a:ahLst/>
                <a:cxnLst>
                  <a:cxn ang="0">
                    <a:pos x="T0" y="T1"/>
                  </a:cxn>
                  <a:cxn ang="0">
                    <a:pos x="T2" y="T3"/>
                  </a:cxn>
                  <a:cxn ang="0">
                    <a:pos x="T4" y="T5"/>
                  </a:cxn>
                  <a:cxn ang="0">
                    <a:pos x="T6" y="T7"/>
                  </a:cxn>
                </a:cxnLst>
                <a:rect l="0" t="0" r="r" b="b"/>
                <a:pathLst>
                  <a:path w="4" h="6">
                    <a:moveTo>
                      <a:pt x="2" y="0"/>
                    </a:moveTo>
                    <a:cubicBezTo>
                      <a:pt x="1" y="1"/>
                      <a:pt x="0" y="4"/>
                      <a:pt x="0" y="6"/>
                    </a:cubicBezTo>
                    <a:cubicBezTo>
                      <a:pt x="1" y="6"/>
                      <a:pt x="3" y="6"/>
                      <a:pt x="4" y="4"/>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6" name="Freeform 2917">
                <a:extLst>
                  <a:ext uri="{FF2B5EF4-FFF2-40B4-BE49-F238E27FC236}">
                    <a16:creationId xmlns:a16="http://schemas.microsoft.com/office/drawing/2014/main" id="{65A8EC30-BF1F-4164-8562-04A037B873C7}"/>
                  </a:ext>
                </a:extLst>
              </p:cNvPr>
              <p:cNvSpPr>
                <a:spLocks/>
              </p:cNvSpPr>
              <p:nvPr/>
            </p:nvSpPr>
            <p:spPr bwMode="auto">
              <a:xfrm>
                <a:off x="4880" y="3290"/>
                <a:ext cx="22" cy="12"/>
              </a:xfrm>
              <a:custGeom>
                <a:avLst/>
                <a:gdLst>
                  <a:gd name="T0" fmla="*/ 4 w 9"/>
                  <a:gd name="T1" fmla="*/ 0 h 5"/>
                  <a:gd name="T2" fmla="*/ 5 w 9"/>
                  <a:gd name="T3" fmla="*/ 5 h 5"/>
                  <a:gd name="T4" fmla="*/ 4 w 9"/>
                  <a:gd name="T5" fmla="*/ 0 h 5"/>
                </a:gdLst>
                <a:ahLst/>
                <a:cxnLst>
                  <a:cxn ang="0">
                    <a:pos x="T0" y="T1"/>
                  </a:cxn>
                  <a:cxn ang="0">
                    <a:pos x="T2" y="T3"/>
                  </a:cxn>
                  <a:cxn ang="0">
                    <a:pos x="T4" y="T5"/>
                  </a:cxn>
                </a:cxnLst>
                <a:rect l="0" t="0" r="r" b="b"/>
                <a:pathLst>
                  <a:path w="9" h="5">
                    <a:moveTo>
                      <a:pt x="4" y="0"/>
                    </a:moveTo>
                    <a:cubicBezTo>
                      <a:pt x="0" y="0"/>
                      <a:pt x="1" y="5"/>
                      <a:pt x="5" y="5"/>
                    </a:cubicBezTo>
                    <a:cubicBezTo>
                      <a:pt x="9" y="5"/>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7" name="Oval 2918">
                <a:extLst>
                  <a:ext uri="{FF2B5EF4-FFF2-40B4-BE49-F238E27FC236}">
                    <a16:creationId xmlns:a16="http://schemas.microsoft.com/office/drawing/2014/main" id="{F64449D7-300F-4400-839E-B4CE342E6CB9}"/>
                  </a:ext>
                </a:extLst>
              </p:cNvPr>
              <p:cNvSpPr>
                <a:spLocks noChangeArrowheads="1"/>
              </p:cNvSpPr>
              <p:nvPr/>
            </p:nvSpPr>
            <p:spPr bwMode="auto">
              <a:xfrm>
                <a:off x="4159" y="3212"/>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8" name="Freeform 2919">
                <a:extLst>
                  <a:ext uri="{FF2B5EF4-FFF2-40B4-BE49-F238E27FC236}">
                    <a16:creationId xmlns:a16="http://schemas.microsoft.com/office/drawing/2014/main" id="{8D87152B-7D14-45E7-8068-22DB34865A4F}"/>
                  </a:ext>
                </a:extLst>
              </p:cNvPr>
              <p:cNvSpPr>
                <a:spLocks/>
              </p:cNvSpPr>
              <p:nvPr/>
            </p:nvSpPr>
            <p:spPr bwMode="auto">
              <a:xfrm>
                <a:off x="1556" y="1669"/>
                <a:ext cx="2" cy="7"/>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3"/>
                      <a:pt x="0" y="3"/>
                      <a:pt x="0" y="3"/>
                    </a:cubicBezTo>
                    <a:cubicBezTo>
                      <a:pt x="0"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9" name="Freeform 2920">
                <a:extLst>
                  <a:ext uri="{FF2B5EF4-FFF2-40B4-BE49-F238E27FC236}">
                    <a16:creationId xmlns:a16="http://schemas.microsoft.com/office/drawing/2014/main" id="{B7218759-8020-40AE-BD5C-7DE53138BDA6}"/>
                  </a:ext>
                </a:extLst>
              </p:cNvPr>
              <p:cNvSpPr>
                <a:spLocks/>
              </p:cNvSpPr>
              <p:nvPr/>
            </p:nvSpPr>
            <p:spPr bwMode="auto">
              <a:xfrm>
                <a:off x="1511" y="15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0" name="Freeform 2921">
                <a:extLst>
                  <a:ext uri="{FF2B5EF4-FFF2-40B4-BE49-F238E27FC236}">
                    <a16:creationId xmlns:a16="http://schemas.microsoft.com/office/drawing/2014/main" id="{9A30E474-549E-4E43-BC7B-A8415BC991EA}"/>
                  </a:ext>
                </a:extLst>
              </p:cNvPr>
              <p:cNvSpPr>
                <a:spLocks/>
              </p:cNvSpPr>
              <p:nvPr/>
            </p:nvSpPr>
            <p:spPr bwMode="auto">
              <a:xfrm>
                <a:off x="1554" y="1676"/>
                <a:ext cx="2" cy="7"/>
              </a:xfrm>
              <a:custGeom>
                <a:avLst/>
                <a:gdLst>
                  <a:gd name="T0" fmla="*/ 0 w 1"/>
                  <a:gd name="T1" fmla="*/ 2 h 3"/>
                  <a:gd name="T2" fmla="*/ 0 w 1"/>
                  <a:gd name="T3" fmla="*/ 3 h 3"/>
                  <a:gd name="T4" fmla="*/ 1 w 1"/>
                  <a:gd name="T5" fmla="*/ 0 h 3"/>
                  <a:gd name="T6" fmla="*/ 0 w 1"/>
                  <a:gd name="T7" fmla="*/ 2 h 3"/>
                  <a:gd name="T8" fmla="*/ 0 w 1"/>
                  <a:gd name="T9" fmla="*/ 2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cubicBezTo>
                      <a:pt x="0" y="2"/>
                      <a:pt x="0" y="2"/>
                      <a:pt x="0" y="3"/>
                    </a:cubicBezTo>
                    <a:cubicBezTo>
                      <a:pt x="0" y="2"/>
                      <a:pt x="1" y="1"/>
                      <a:pt x="1" y="0"/>
                    </a:cubicBezTo>
                    <a:cubicBezTo>
                      <a:pt x="1" y="0"/>
                      <a:pt x="0" y="1"/>
                      <a:pt x="0" y="2"/>
                    </a:cubicBezTo>
                    <a:cubicBezTo>
                      <a:pt x="0" y="2"/>
                      <a:pt x="0" y="2"/>
                      <a:pt x="0"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1" name="Freeform 2922">
                <a:extLst>
                  <a:ext uri="{FF2B5EF4-FFF2-40B4-BE49-F238E27FC236}">
                    <a16:creationId xmlns:a16="http://schemas.microsoft.com/office/drawing/2014/main" id="{A4C0F106-73A3-4363-BF2F-D67619634D90}"/>
                  </a:ext>
                </a:extLst>
              </p:cNvPr>
              <p:cNvSpPr>
                <a:spLocks/>
              </p:cNvSpPr>
              <p:nvPr/>
            </p:nvSpPr>
            <p:spPr bwMode="auto">
              <a:xfrm>
                <a:off x="1639" y="166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2" name="Freeform 2923">
                <a:extLst>
                  <a:ext uri="{FF2B5EF4-FFF2-40B4-BE49-F238E27FC236}">
                    <a16:creationId xmlns:a16="http://schemas.microsoft.com/office/drawing/2014/main" id="{10BA90C4-FD24-4BD6-A31A-EF0FFDA19509}"/>
                  </a:ext>
                </a:extLst>
              </p:cNvPr>
              <p:cNvSpPr>
                <a:spLocks/>
              </p:cNvSpPr>
              <p:nvPr/>
            </p:nvSpPr>
            <p:spPr bwMode="auto">
              <a:xfrm>
                <a:off x="5221" y="1281"/>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3" name="Freeform 2924">
                <a:extLst>
                  <a:ext uri="{FF2B5EF4-FFF2-40B4-BE49-F238E27FC236}">
                    <a16:creationId xmlns:a16="http://schemas.microsoft.com/office/drawing/2014/main" id="{4BCF2415-E44B-41A1-8E7D-32F31AF99AF8}"/>
                  </a:ext>
                </a:extLst>
              </p:cNvPr>
              <p:cNvSpPr>
                <a:spLocks/>
              </p:cNvSpPr>
              <p:nvPr/>
            </p:nvSpPr>
            <p:spPr bwMode="auto">
              <a:xfrm>
                <a:off x="5429" y="188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4" name="Freeform 2925">
                <a:extLst>
                  <a:ext uri="{FF2B5EF4-FFF2-40B4-BE49-F238E27FC236}">
                    <a16:creationId xmlns:a16="http://schemas.microsoft.com/office/drawing/2014/main" id="{78982C56-FF61-4274-BF01-D951685C40F9}"/>
                  </a:ext>
                </a:extLst>
              </p:cNvPr>
              <p:cNvSpPr>
                <a:spLocks/>
              </p:cNvSpPr>
              <p:nvPr/>
            </p:nvSpPr>
            <p:spPr bwMode="auto">
              <a:xfrm>
                <a:off x="6606" y="1818"/>
                <a:ext cx="3" cy="2"/>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1" y="0"/>
                      <a:pt x="1" y="0"/>
                      <a:pt x="1"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5" name="Freeform 2926">
                <a:extLst>
                  <a:ext uri="{FF2B5EF4-FFF2-40B4-BE49-F238E27FC236}">
                    <a16:creationId xmlns:a16="http://schemas.microsoft.com/office/drawing/2014/main" id="{5135C5C7-09B8-498F-92EF-E233397CC211}"/>
                  </a:ext>
                </a:extLst>
              </p:cNvPr>
              <p:cNvSpPr>
                <a:spLocks/>
              </p:cNvSpPr>
              <p:nvPr/>
            </p:nvSpPr>
            <p:spPr bwMode="auto">
              <a:xfrm>
                <a:off x="4774" y="2130"/>
                <a:ext cx="21" cy="41"/>
              </a:xfrm>
              <a:custGeom>
                <a:avLst/>
                <a:gdLst>
                  <a:gd name="T0" fmla="*/ 2 w 9"/>
                  <a:gd name="T1" fmla="*/ 17 h 17"/>
                  <a:gd name="T2" fmla="*/ 3 w 9"/>
                  <a:gd name="T3" fmla="*/ 17 h 17"/>
                  <a:gd name="T4" fmla="*/ 3 w 9"/>
                  <a:gd name="T5" fmla="*/ 17 h 17"/>
                  <a:gd name="T6" fmla="*/ 3 w 9"/>
                  <a:gd name="T7" fmla="*/ 17 h 17"/>
                  <a:gd name="T8" fmla="*/ 3 w 9"/>
                  <a:gd name="T9" fmla="*/ 17 h 17"/>
                  <a:gd name="T10" fmla="*/ 3 w 9"/>
                  <a:gd name="T11" fmla="*/ 17 h 17"/>
                  <a:gd name="T12" fmla="*/ 4 w 9"/>
                  <a:gd name="T13" fmla="*/ 17 h 17"/>
                  <a:gd name="T14" fmla="*/ 6 w 9"/>
                  <a:gd name="T15" fmla="*/ 17 h 17"/>
                  <a:gd name="T16" fmla="*/ 6 w 9"/>
                  <a:gd name="T17" fmla="*/ 17 h 17"/>
                  <a:gd name="T18" fmla="*/ 7 w 9"/>
                  <a:gd name="T19" fmla="*/ 17 h 17"/>
                  <a:gd name="T20" fmla="*/ 8 w 9"/>
                  <a:gd name="T21" fmla="*/ 16 h 17"/>
                  <a:gd name="T22" fmla="*/ 7 w 9"/>
                  <a:gd name="T23" fmla="*/ 16 h 17"/>
                  <a:gd name="T24" fmla="*/ 8 w 9"/>
                  <a:gd name="T25" fmla="*/ 14 h 17"/>
                  <a:gd name="T26" fmla="*/ 9 w 9"/>
                  <a:gd name="T27" fmla="*/ 10 h 17"/>
                  <a:gd name="T28" fmla="*/ 8 w 9"/>
                  <a:gd name="T29" fmla="*/ 6 h 17"/>
                  <a:gd name="T30" fmla="*/ 8 w 9"/>
                  <a:gd name="T31" fmla="*/ 2 h 17"/>
                  <a:gd name="T32" fmla="*/ 7 w 9"/>
                  <a:gd name="T33" fmla="*/ 2 h 17"/>
                  <a:gd name="T34" fmla="*/ 6 w 9"/>
                  <a:gd name="T35" fmla="*/ 0 h 17"/>
                  <a:gd name="T36" fmla="*/ 4 w 9"/>
                  <a:gd name="T37" fmla="*/ 0 h 17"/>
                  <a:gd name="T38" fmla="*/ 3 w 9"/>
                  <a:gd name="T39" fmla="*/ 4 h 17"/>
                  <a:gd name="T40" fmla="*/ 1 w 9"/>
                  <a:gd name="T41" fmla="*/ 7 h 17"/>
                  <a:gd name="T42" fmla="*/ 0 w 9"/>
                  <a:gd name="T43" fmla="*/ 11 h 17"/>
                  <a:gd name="T44" fmla="*/ 1 w 9"/>
                  <a:gd name="T45" fmla="*/ 15 h 17"/>
                  <a:gd name="T46" fmla="*/ 1 w 9"/>
                  <a:gd name="T47" fmla="*/ 15 h 17"/>
                  <a:gd name="T48" fmla="*/ 1 w 9"/>
                  <a:gd name="T49" fmla="*/ 15 h 17"/>
                  <a:gd name="T50" fmla="*/ 2 w 9"/>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17">
                    <a:moveTo>
                      <a:pt x="2" y="17"/>
                    </a:moveTo>
                    <a:cubicBezTo>
                      <a:pt x="2" y="17"/>
                      <a:pt x="3" y="17"/>
                      <a:pt x="3" y="17"/>
                    </a:cubicBezTo>
                    <a:cubicBezTo>
                      <a:pt x="3" y="17"/>
                      <a:pt x="3" y="17"/>
                      <a:pt x="3" y="17"/>
                    </a:cubicBezTo>
                    <a:cubicBezTo>
                      <a:pt x="3" y="17"/>
                      <a:pt x="3" y="17"/>
                      <a:pt x="3" y="17"/>
                    </a:cubicBezTo>
                    <a:cubicBezTo>
                      <a:pt x="3" y="17"/>
                      <a:pt x="3" y="17"/>
                      <a:pt x="3" y="17"/>
                    </a:cubicBezTo>
                    <a:cubicBezTo>
                      <a:pt x="3" y="17"/>
                      <a:pt x="3" y="17"/>
                      <a:pt x="3" y="17"/>
                    </a:cubicBezTo>
                    <a:cubicBezTo>
                      <a:pt x="4" y="17"/>
                      <a:pt x="4" y="17"/>
                      <a:pt x="4" y="17"/>
                    </a:cubicBezTo>
                    <a:cubicBezTo>
                      <a:pt x="5" y="17"/>
                      <a:pt x="5" y="17"/>
                      <a:pt x="6" y="17"/>
                    </a:cubicBezTo>
                    <a:cubicBezTo>
                      <a:pt x="6" y="17"/>
                      <a:pt x="6" y="17"/>
                      <a:pt x="6" y="17"/>
                    </a:cubicBezTo>
                    <a:cubicBezTo>
                      <a:pt x="6" y="17"/>
                      <a:pt x="7" y="17"/>
                      <a:pt x="7" y="17"/>
                    </a:cubicBezTo>
                    <a:cubicBezTo>
                      <a:pt x="8" y="16"/>
                      <a:pt x="8" y="16"/>
                      <a:pt x="8" y="16"/>
                    </a:cubicBezTo>
                    <a:cubicBezTo>
                      <a:pt x="8" y="16"/>
                      <a:pt x="7" y="16"/>
                      <a:pt x="7" y="16"/>
                    </a:cubicBezTo>
                    <a:cubicBezTo>
                      <a:pt x="8" y="15"/>
                      <a:pt x="8" y="15"/>
                      <a:pt x="8" y="14"/>
                    </a:cubicBezTo>
                    <a:cubicBezTo>
                      <a:pt x="8" y="13"/>
                      <a:pt x="9" y="11"/>
                      <a:pt x="9" y="10"/>
                    </a:cubicBezTo>
                    <a:cubicBezTo>
                      <a:pt x="8" y="9"/>
                      <a:pt x="8" y="8"/>
                      <a:pt x="8" y="6"/>
                    </a:cubicBezTo>
                    <a:cubicBezTo>
                      <a:pt x="8" y="5"/>
                      <a:pt x="9" y="3"/>
                      <a:pt x="8" y="2"/>
                    </a:cubicBezTo>
                    <a:cubicBezTo>
                      <a:pt x="8" y="2"/>
                      <a:pt x="7" y="2"/>
                      <a:pt x="7" y="2"/>
                    </a:cubicBezTo>
                    <a:cubicBezTo>
                      <a:pt x="7" y="2"/>
                      <a:pt x="6" y="1"/>
                      <a:pt x="6" y="0"/>
                    </a:cubicBezTo>
                    <a:cubicBezTo>
                      <a:pt x="5" y="0"/>
                      <a:pt x="5" y="0"/>
                      <a:pt x="4" y="0"/>
                    </a:cubicBezTo>
                    <a:cubicBezTo>
                      <a:pt x="3" y="1"/>
                      <a:pt x="3" y="2"/>
                      <a:pt x="3" y="4"/>
                    </a:cubicBezTo>
                    <a:cubicBezTo>
                      <a:pt x="2" y="5"/>
                      <a:pt x="2" y="6"/>
                      <a:pt x="1" y="7"/>
                    </a:cubicBezTo>
                    <a:cubicBezTo>
                      <a:pt x="1" y="8"/>
                      <a:pt x="0" y="10"/>
                      <a:pt x="0" y="11"/>
                    </a:cubicBezTo>
                    <a:cubicBezTo>
                      <a:pt x="1" y="12"/>
                      <a:pt x="1" y="13"/>
                      <a:pt x="1" y="15"/>
                    </a:cubicBezTo>
                    <a:cubicBezTo>
                      <a:pt x="1" y="15"/>
                      <a:pt x="1" y="15"/>
                      <a:pt x="1" y="15"/>
                    </a:cubicBezTo>
                    <a:cubicBezTo>
                      <a:pt x="1" y="15"/>
                      <a:pt x="1" y="15"/>
                      <a:pt x="1" y="15"/>
                    </a:cubicBezTo>
                    <a:cubicBezTo>
                      <a:pt x="1" y="16"/>
                      <a:pt x="2"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6" name="Freeform 2927">
                <a:extLst>
                  <a:ext uri="{FF2B5EF4-FFF2-40B4-BE49-F238E27FC236}">
                    <a16:creationId xmlns:a16="http://schemas.microsoft.com/office/drawing/2014/main" id="{38063450-185B-47D7-8644-300106FE5132}"/>
                  </a:ext>
                </a:extLst>
              </p:cNvPr>
              <p:cNvSpPr>
                <a:spLocks/>
              </p:cNvSpPr>
              <p:nvPr/>
            </p:nvSpPr>
            <p:spPr bwMode="auto">
              <a:xfrm>
                <a:off x="6228" y="559"/>
                <a:ext cx="2" cy="3"/>
              </a:xfrm>
              <a:custGeom>
                <a:avLst/>
                <a:gdLst>
                  <a:gd name="T0" fmla="*/ 0 w 1"/>
                  <a:gd name="T1" fmla="*/ 1 h 1"/>
                  <a:gd name="T2" fmla="*/ 0 w 1"/>
                  <a:gd name="T3" fmla="*/ 0 h 1"/>
                  <a:gd name="T4" fmla="*/ 0 w 1"/>
                  <a:gd name="T5" fmla="*/ 0 h 1"/>
                  <a:gd name="T6" fmla="*/ 0 w 1"/>
                  <a:gd name="T7" fmla="*/ 0 h 1"/>
                  <a:gd name="T8" fmla="*/ 0 w 1"/>
                  <a:gd name="T9" fmla="*/ 0 h 1"/>
                  <a:gd name="T10" fmla="*/ 1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0" y="0"/>
                      <a:pt x="0" y="0"/>
                      <a:pt x="0" y="0"/>
                    </a:cubicBezTo>
                    <a:cubicBezTo>
                      <a:pt x="0" y="0"/>
                      <a:pt x="0" y="0"/>
                      <a:pt x="0" y="0"/>
                    </a:cubicBezTo>
                    <a:cubicBezTo>
                      <a:pt x="0" y="0"/>
                      <a:pt x="0" y="0"/>
                      <a:pt x="0" y="0"/>
                    </a:cubicBezTo>
                    <a:cubicBezTo>
                      <a:pt x="0" y="0"/>
                      <a:pt x="0" y="0"/>
                      <a:pt x="1"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7" name="Freeform 2928">
                <a:extLst>
                  <a:ext uri="{FF2B5EF4-FFF2-40B4-BE49-F238E27FC236}">
                    <a16:creationId xmlns:a16="http://schemas.microsoft.com/office/drawing/2014/main" id="{A38B3D90-3C3D-4D6A-9D6A-88723278E1B2}"/>
                  </a:ext>
                </a:extLst>
              </p:cNvPr>
              <p:cNvSpPr>
                <a:spLocks/>
              </p:cNvSpPr>
              <p:nvPr/>
            </p:nvSpPr>
            <p:spPr bwMode="auto">
              <a:xfrm>
                <a:off x="5429" y="1870"/>
                <a:ext cx="61" cy="59"/>
              </a:xfrm>
              <a:custGeom>
                <a:avLst/>
                <a:gdLst>
                  <a:gd name="T0" fmla="*/ 2 w 26"/>
                  <a:gd name="T1" fmla="*/ 5 h 25"/>
                  <a:gd name="T2" fmla="*/ 2 w 26"/>
                  <a:gd name="T3" fmla="*/ 7 h 25"/>
                  <a:gd name="T4" fmla="*/ 3 w 26"/>
                  <a:gd name="T5" fmla="*/ 11 h 25"/>
                  <a:gd name="T6" fmla="*/ 4 w 26"/>
                  <a:gd name="T7" fmla="*/ 14 h 25"/>
                  <a:gd name="T8" fmla="*/ 7 w 26"/>
                  <a:gd name="T9" fmla="*/ 16 h 25"/>
                  <a:gd name="T10" fmla="*/ 12 w 26"/>
                  <a:gd name="T11" fmla="*/ 18 h 25"/>
                  <a:gd name="T12" fmla="*/ 10 w 26"/>
                  <a:gd name="T13" fmla="*/ 21 h 25"/>
                  <a:gd name="T14" fmla="*/ 9 w 26"/>
                  <a:gd name="T15" fmla="*/ 22 h 25"/>
                  <a:gd name="T16" fmla="*/ 10 w 26"/>
                  <a:gd name="T17" fmla="*/ 24 h 25"/>
                  <a:gd name="T18" fmla="*/ 11 w 26"/>
                  <a:gd name="T19" fmla="*/ 24 h 25"/>
                  <a:gd name="T20" fmla="*/ 11 w 26"/>
                  <a:gd name="T21" fmla="*/ 23 h 25"/>
                  <a:gd name="T22" fmla="*/ 11 w 26"/>
                  <a:gd name="T23" fmla="*/ 22 h 25"/>
                  <a:gd name="T24" fmla="*/ 11 w 26"/>
                  <a:gd name="T25" fmla="*/ 22 h 25"/>
                  <a:gd name="T26" fmla="*/ 13 w 26"/>
                  <a:gd name="T27" fmla="*/ 22 h 25"/>
                  <a:gd name="T28" fmla="*/ 18 w 26"/>
                  <a:gd name="T29" fmla="*/ 20 h 25"/>
                  <a:gd name="T30" fmla="*/ 18 w 26"/>
                  <a:gd name="T31" fmla="*/ 17 h 25"/>
                  <a:gd name="T32" fmla="*/ 21 w 26"/>
                  <a:gd name="T33" fmla="*/ 15 h 25"/>
                  <a:gd name="T34" fmla="*/ 24 w 26"/>
                  <a:gd name="T35" fmla="*/ 10 h 25"/>
                  <a:gd name="T36" fmla="*/ 25 w 26"/>
                  <a:gd name="T37" fmla="*/ 9 h 25"/>
                  <a:gd name="T38" fmla="*/ 26 w 26"/>
                  <a:gd name="T39" fmla="*/ 5 h 25"/>
                  <a:gd name="T40" fmla="*/ 23 w 26"/>
                  <a:gd name="T41" fmla="*/ 6 h 25"/>
                  <a:gd name="T42" fmla="*/ 23 w 26"/>
                  <a:gd name="T43" fmla="*/ 6 h 25"/>
                  <a:gd name="T44" fmla="*/ 21 w 26"/>
                  <a:gd name="T45" fmla="*/ 4 h 25"/>
                  <a:gd name="T46" fmla="*/ 20 w 26"/>
                  <a:gd name="T47" fmla="*/ 3 h 25"/>
                  <a:gd name="T48" fmla="*/ 17 w 26"/>
                  <a:gd name="T49" fmla="*/ 1 h 25"/>
                  <a:gd name="T50" fmla="*/ 15 w 26"/>
                  <a:gd name="T51" fmla="*/ 0 h 25"/>
                  <a:gd name="T52" fmla="*/ 15 w 26"/>
                  <a:gd name="T53" fmla="*/ 0 h 25"/>
                  <a:gd name="T54" fmla="*/ 11 w 26"/>
                  <a:gd name="T55" fmla="*/ 0 h 25"/>
                  <a:gd name="T56" fmla="*/ 9 w 26"/>
                  <a:gd name="T57" fmla="*/ 1 h 25"/>
                  <a:gd name="T58" fmla="*/ 3 w 26"/>
                  <a:gd name="T59" fmla="*/ 3 h 25"/>
                  <a:gd name="T60" fmla="*/ 1 w 26"/>
                  <a:gd name="T61" fmla="*/ 5 h 25"/>
                  <a:gd name="T62" fmla="*/ 2 w 26"/>
                  <a:gd name="T63" fmla="*/ 5 h 25"/>
                  <a:gd name="T64" fmla="*/ 0 w 26"/>
                  <a:gd name="T65"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25">
                    <a:moveTo>
                      <a:pt x="2" y="5"/>
                    </a:moveTo>
                    <a:cubicBezTo>
                      <a:pt x="2" y="5"/>
                      <a:pt x="2" y="5"/>
                      <a:pt x="2" y="5"/>
                    </a:cubicBezTo>
                    <a:cubicBezTo>
                      <a:pt x="2" y="5"/>
                      <a:pt x="2" y="5"/>
                      <a:pt x="2" y="6"/>
                    </a:cubicBezTo>
                    <a:cubicBezTo>
                      <a:pt x="2" y="6"/>
                      <a:pt x="2" y="7"/>
                      <a:pt x="2" y="7"/>
                    </a:cubicBezTo>
                    <a:cubicBezTo>
                      <a:pt x="2" y="8"/>
                      <a:pt x="2" y="8"/>
                      <a:pt x="2" y="9"/>
                    </a:cubicBezTo>
                    <a:cubicBezTo>
                      <a:pt x="3" y="9"/>
                      <a:pt x="3" y="10"/>
                      <a:pt x="3" y="11"/>
                    </a:cubicBezTo>
                    <a:cubicBezTo>
                      <a:pt x="3" y="11"/>
                      <a:pt x="3" y="11"/>
                      <a:pt x="4" y="11"/>
                    </a:cubicBezTo>
                    <a:cubicBezTo>
                      <a:pt x="4" y="12"/>
                      <a:pt x="4" y="13"/>
                      <a:pt x="4" y="14"/>
                    </a:cubicBezTo>
                    <a:cubicBezTo>
                      <a:pt x="4" y="14"/>
                      <a:pt x="5" y="14"/>
                      <a:pt x="5" y="14"/>
                    </a:cubicBezTo>
                    <a:cubicBezTo>
                      <a:pt x="5" y="15"/>
                      <a:pt x="6" y="16"/>
                      <a:pt x="7" y="16"/>
                    </a:cubicBezTo>
                    <a:cubicBezTo>
                      <a:pt x="7" y="17"/>
                      <a:pt x="8" y="17"/>
                      <a:pt x="9" y="17"/>
                    </a:cubicBezTo>
                    <a:cubicBezTo>
                      <a:pt x="10" y="18"/>
                      <a:pt x="11" y="18"/>
                      <a:pt x="12" y="18"/>
                    </a:cubicBezTo>
                    <a:cubicBezTo>
                      <a:pt x="11" y="19"/>
                      <a:pt x="11" y="19"/>
                      <a:pt x="11" y="19"/>
                    </a:cubicBezTo>
                    <a:cubicBezTo>
                      <a:pt x="10" y="21"/>
                      <a:pt x="10" y="21"/>
                      <a:pt x="10" y="21"/>
                    </a:cubicBezTo>
                    <a:cubicBezTo>
                      <a:pt x="9" y="21"/>
                      <a:pt x="9" y="21"/>
                      <a:pt x="9" y="21"/>
                    </a:cubicBezTo>
                    <a:cubicBezTo>
                      <a:pt x="9" y="21"/>
                      <a:pt x="9" y="22"/>
                      <a:pt x="9" y="22"/>
                    </a:cubicBezTo>
                    <a:cubicBezTo>
                      <a:pt x="9" y="23"/>
                      <a:pt x="9" y="23"/>
                      <a:pt x="10" y="23"/>
                    </a:cubicBezTo>
                    <a:cubicBezTo>
                      <a:pt x="10" y="23"/>
                      <a:pt x="10" y="24"/>
                      <a:pt x="10" y="24"/>
                    </a:cubicBezTo>
                    <a:cubicBezTo>
                      <a:pt x="10" y="24"/>
                      <a:pt x="10" y="24"/>
                      <a:pt x="10" y="25"/>
                    </a:cubicBezTo>
                    <a:cubicBezTo>
                      <a:pt x="11" y="24"/>
                      <a:pt x="11" y="24"/>
                      <a:pt x="11" y="24"/>
                    </a:cubicBezTo>
                    <a:cubicBezTo>
                      <a:pt x="11" y="23"/>
                      <a:pt x="11" y="23"/>
                      <a:pt x="11" y="23"/>
                    </a:cubicBezTo>
                    <a:cubicBezTo>
                      <a:pt x="11" y="23"/>
                      <a:pt x="11" y="23"/>
                      <a:pt x="11" y="23"/>
                    </a:cubicBezTo>
                    <a:cubicBezTo>
                      <a:pt x="11" y="22"/>
                      <a:pt x="11" y="22"/>
                      <a:pt x="11" y="22"/>
                    </a:cubicBezTo>
                    <a:cubicBezTo>
                      <a:pt x="11" y="22"/>
                      <a:pt x="11" y="22"/>
                      <a:pt x="11" y="22"/>
                    </a:cubicBezTo>
                    <a:cubicBezTo>
                      <a:pt x="11" y="22"/>
                      <a:pt x="11" y="22"/>
                      <a:pt x="11" y="22"/>
                    </a:cubicBezTo>
                    <a:cubicBezTo>
                      <a:pt x="11" y="22"/>
                      <a:pt x="11" y="22"/>
                      <a:pt x="11" y="22"/>
                    </a:cubicBezTo>
                    <a:cubicBezTo>
                      <a:pt x="12" y="22"/>
                      <a:pt x="12" y="22"/>
                      <a:pt x="13" y="22"/>
                    </a:cubicBezTo>
                    <a:cubicBezTo>
                      <a:pt x="13" y="22"/>
                      <a:pt x="13" y="22"/>
                      <a:pt x="13" y="22"/>
                    </a:cubicBezTo>
                    <a:cubicBezTo>
                      <a:pt x="14" y="22"/>
                      <a:pt x="14" y="22"/>
                      <a:pt x="14" y="22"/>
                    </a:cubicBezTo>
                    <a:cubicBezTo>
                      <a:pt x="15" y="22"/>
                      <a:pt x="17" y="21"/>
                      <a:pt x="18" y="20"/>
                    </a:cubicBezTo>
                    <a:cubicBezTo>
                      <a:pt x="18" y="19"/>
                      <a:pt x="17" y="18"/>
                      <a:pt x="17" y="18"/>
                    </a:cubicBezTo>
                    <a:cubicBezTo>
                      <a:pt x="17" y="17"/>
                      <a:pt x="18" y="17"/>
                      <a:pt x="18" y="17"/>
                    </a:cubicBezTo>
                    <a:cubicBezTo>
                      <a:pt x="19" y="17"/>
                      <a:pt x="19" y="18"/>
                      <a:pt x="19" y="17"/>
                    </a:cubicBezTo>
                    <a:cubicBezTo>
                      <a:pt x="20" y="16"/>
                      <a:pt x="20" y="16"/>
                      <a:pt x="21" y="15"/>
                    </a:cubicBezTo>
                    <a:cubicBezTo>
                      <a:pt x="22" y="14"/>
                      <a:pt x="23" y="13"/>
                      <a:pt x="23" y="12"/>
                    </a:cubicBezTo>
                    <a:cubicBezTo>
                      <a:pt x="24" y="11"/>
                      <a:pt x="24" y="11"/>
                      <a:pt x="24" y="10"/>
                    </a:cubicBezTo>
                    <a:cubicBezTo>
                      <a:pt x="24" y="10"/>
                      <a:pt x="24" y="10"/>
                      <a:pt x="25" y="9"/>
                    </a:cubicBezTo>
                    <a:cubicBezTo>
                      <a:pt x="25" y="9"/>
                      <a:pt x="25" y="9"/>
                      <a:pt x="25" y="9"/>
                    </a:cubicBezTo>
                    <a:cubicBezTo>
                      <a:pt x="25" y="8"/>
                      <a:pt x="25" y="7"/>
                      <a:pt x="26" y="6"/>
                    </a:cubicBezTo>
                    <a:cubicBezTo>
                      <a:pt x="26" y="6"/>
                      <a:pt x="26" y="5"/>
                      <a:pt x="26" y="5"/>
                    </a:cubicBezTo>
                    <a:cubicBezTo>
                      <a:pt x="25" y="5"/>
                      <a:pt x="25" y="5"/>
                      <a:pt x="24" y="5"/>
                    </a:cubicBezTo>
                    <a:cubicBezTo>
                      <a:pt x="24" y="5"/>
                      <a:pt x="23" y="6"/>
                      <a:pt x="23" y="6"/>
                    </a:cubicBezTo>
                    <a:cubicBezTo>
                      <a:pt x="23" y="6"/>
                      <a:pt x="23" y="6"/>
                      <a:pt x="23" y="6"/>
                    </a:cubicBezTo>
                    <a:cubicBezTo>
                      <a:pt x="23" y="6"/>
                      <a:pt x="23" y="6"/>
                      <a:pt x="23" y="6"/>
                    </a:cubicBezTo>
                    <a:cubicBezTo>
                      <a:pt x="22" y="6"/>
                      <a:pt x="22" y="5"/>
                      <a:pt x="22" y="5"/>
                    </a:cubicBezTo>
                    <a:cubicBezTo>
                      <a:pt x="21" y="4"/>
                      <a:pt x="21" y="4"/>
                      <a:pt x="21" y="4"/>
                    </a:cubicBezTo>
                    <a:cubicBezTo>
                      <a:pt x="21" y="4"/>
                      <a:pt x="21" y="4"/>
                      <a:pt x="21" y="4"/>
                    </a:cubicBezTo>
                    <a:cubicBezTo>
                      <a:pt x="20" y="4"/>
                      <a:pt x="20" y="3"/>
                      <a:pt x="20" y="3"/>
                    </a:cubicBezTo>
                    <a:cubicBezTo>
                      <a:pt x="19" y="2"/>
                      <a:pt x="18" y="2"/>
                      <a:pt x="18" y="1"/>
                    </a:cubicBezTo>
                    <a:cubicBezTo>
                      <a:pt x="17" y="1"/>
                      <a:pt x="17" y="1"/>
                      <a:pt x="17" y="1"/>
                    </a:cubicBezTo>
                    <a:cubicBezTo>
                      <a:pt x="17" y="1"/>
                      <a:pt x="16" y="0"/>
                      <a:pt x="16" y="0"/>
                    </a:cubicBezTo>
                    <a:cubicBezTo>
                      <a:pt x="16" y="0"/>
                      <a:pt x="15" y="0"/>
                      <a:pt x="15" y="0"/>
                    </a:cubicBezTo>
                    <a:cubicBezTo>
                      <a:pt x="15" y="0"/>
                      <a:pt x="15" y="0"/>
                      <a:pt x="15" y="0"/>
                    </a:cubicBezTo>
                    <a:cubicBezTo>
                      <a:pt x="15" y="0"/>
                      <a:pt x="15" y="0"/>
                      <a:pt x="15" y="0"/>
                    </a:cubicBezTo>
                    <a:cubicBezTo>
                      <a:pt x="14" y="0"/>
                      <a:pt x="14" y="0"/>
                      <a:pt x="14" y="0"/>
                    </a:cubicBezTo>
                    <a:cubicBezTo>
                      <a:pt x="13" y="0"/>
                      <a:pt x="12" y="0"/>
                      <a:pt x="11" y="0"/>
                    </a:cubicBezTo>
                    <a:cubicBezTo>
                      <a:pt x="11" y="0"/>
                      <a:pt x="11" y="0"/>
                      <a:pt x="11" y="0"/>
                    </a:cubicBezTo>
                    <a:cubicBezTo>
                      <a:pt x="10" y="0"/>
                      <a:pt x="9" y="0"/>
                      <a:pt x="9" y="1"/>
                    </a:cubicBezTo>
                    <a:cubicBezTo>
                      <a:pt x="7" y="2"/>
                      <a:pt x="5" y="3"/>
                      <a:pt x="4" y="3"/>
                    </a:cubicBezTo>
                    <a:cubicBezTo>
                      <a:pt x="4" y="3"/>
                      <a:pt x="4" y="3"/>
                      <a:pt x="3" y="3"/>
                    </a:cubicBezTo>
                    <a:cubicBezTo>
                      <a:pt x="3" y="4"/>
                      <a:pt x="3" y="4"/>
                      <a:pt x="3" y="4"/>
                    </a:cubicBezTo>
                    <a:cubicBezTo>
                      <a:pt x="2" y="4"/>
                      <a:pt x="1" y="4"/>
                      <a:pt x="1" y="5"/>
                    </a:cubicBezTo>
                    <a:cubicBezTo>
                      <a:pt x="0" y="5"/>
                      <a:pt x="0" y="5"/>
                      <a:pt x="0" y="5"/>
                    </a:cubicBezTo>
                    <a:cubicBezTo>
                      <a:pt x="1" y="5"/>
                      <a:pt x="1" y="5"/>
                      <a:pt x="2" y="5"/>
                    </a:cubicBezTo>
                    <a:cubicBezTo>
                      <a:pt x="1" y="5"/>
                      <a:pt x="1" y="5"/>
                      <a:pt x="0" y="5"/>
                    </a:cubicBezTo>
                    <a:cubicBezTo>
                      <a:pt x="0" y="5"/>
                      <a:pt x="0" y="5"/>
                      <a:pt x="0" y="5"/>
                    </a:cubicBezTo>
                    <a:cubicBezTo>
                      <a:pt x="0" y="5"/>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8" name="Freeform 2929">
                <a:extLst>
                  <a:ext uri="{FF2B5EF4-FFF2-40B4-BE49-F238E27FC236}">
                    <a16:creationId xmlns:a16="http://schemas.microsoft.com/office/drawing/2014/main" id="{8C2363F3-19DB-49AF-A278-C0D18629677A}"/>
                  </a:ext>
                </a:extLst>
              </p:cNvPr>
              <p:cNvSpPr>
                <a:spLocks/>
              </p:cNvSpPr>
              <p:nvPr/>
            </p:nvSpPr>
            <p:spPr bwMode="auto">
              <a:xfrm>
                <a:off x="5159" y="1302"/>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9" name="Freeform 2930">
                <a:extLst>
                  <a:ext uri="{FF2B5EF4-FFF2-40B4-BE49-F238E27FC236}">
                    <a16:creationId xmlns:a16="http://schemas.microsoft.com/office/drawing/2014/main" id="{D5C6B415-785C-4D30-8B87-1784EA5B6341}"/>
                  </a:ext>
                </a:extLst>
              </p:cNvPr>
              <p:cNvSpPr>
                <a:spLocks/>
              </p:cNvSpPr>
              <p:nvPr/>
            </p:nvSpPr>
            <p:spPr bwMode="auto">
              <a:xfrm>
                <a:off x="1818" y="2305"/>
                <a:ext cx="0" cy="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0" name="Freeform 2931">
                <a:extLst>
                  <a:ext uri="{FF2B5EF4-FFF2-40B4-BE49-F238E27FC236}">
                    <a16:creationId xmlns:a16="http://schemas.microsoft.com/office/drawing/2014/main" id="{4BE577AB-9DE0-4E9D-A820-626855BC1096}"/>
                  </a:ext>
                </a:extLst>
              </p:cNvPr>
              <p:cNvSpPr>
                <a:spLocks/>
              </p:cNvSpPr>
              <p:nvPr/>
            </p:nvSpPr>
            <p:spPr bwMode="auto">
              <a:xfrm>
                <a:off x="3393" y="1326"/>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1" name="Freeform 2932">
                <a:extLst>
                  <a:ext uri="{FF2B5EF4-FFF2-40B4-BE49-F238E27FC236}">
                    <a16:creationId xmlns:a16="http://schemas.microsoft.com/office/drawing/2014/main" id="{604620A4-6D31-4A02-834E-30AC596CCB7B}"/>
                  </a:ext>
                </a:extLst>
              </p:cNvPr>
              <p:cNvSpPr>
                <a:spLocks/>
              </p:cNvSpPr>
              <p:nvPr/>
            </p:nvSpPr>
            <p:spPr bwMode="auto">
              <a:xfrm>
                <a:off x="1480" y="2495"/>
                <a:ext cx="12" cy="9"/>
              </a:xfrm>
              <a:custGeom>
                <a:avLst/>
                <a:gdLst>
                  <a:gd name="T0" fmla="*/ 0 w 5"/>
                  <a:gd name="T1" fmla="*/ 0 h 4"/>
                  <a:gd name="T2" fmla="*/ 0 w 5"/>
                  <a:gd name="T3" fmla="*/ 0 h 4"/>
                </a:gdLst>
                <a:ahLst/>
                <a:cxnLst>
                  <a:cxn ang="0">
                    <a:pos x="T0" y="T1"/>
                  </a:cxn>
                  <a:cxn ang="0">
                    <a:pos x="T2" y="T3"/>
                  </a:cxn>
                </a:cxnLst>
                <a:rect l="0" t="0" r="r" b="b"/>
                <a:pathLst>
                  <a:path w="5" h="4">
                    <a:moveTo>
                      <a:pt x="0" y="0"/>
                    </a:moveTo>
                    <a:cubicBezTo>
                      <a:pt x="0" y="2"/>
                      <a:pt x="5"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2" name="Freeform 2933">
                <a:extLst>
                  <a:ext uri="{FF2B5EF4-FFF2-40B4-BE49-F238E27FC236}">
                    <a16:creationId xmlns:a16="http://schemas.microsoft.com/office/drawing/2014/main" id="{8CBD4F79-CF69-4C13-8A56-BED0DEE9A84B}"/>
                  </a:ext>
                </a:extLst>
              </p:cNvPr>
              <p:cNvSpPr>
                <a:spLocks/>
              </p:cNvSpPr>
              <p:nvPr/>
            </p:nvSpPr>
            <p:spPr bwMode="auto">
              <a:xfrm>
                <a:off x="4526" y="303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3" name="Freeform 2934">
                <a:extLst>
                  <a:ext uri="{FF2B5EF4-FFF2-40B4-BE49-F238E27FC236}">
                    <a16:creationId xmlns:a16="http://schemas.microsoft.com/office/drawing/2014/main" id="{CB638C5D-8483-4635-85FA-AAA56B820A1E}"/>
                  </a:ext>
                </a:extLst>
              </p:cNvPr>
              <p:cNvSpPr>
                <a:spLocks/>
              </p:cNvSpPr>
              <p:nvPr/>
            </p:nvSpPr>
            <p:spPr bwMode="auto">
              <a:xfrm>
                <a:off x="4341" y="34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4" name="Freeform 2935">
                <a:extLst>
                  <a:ext uri="{FF2B5EF4-FFF2-40B4-BE49-F238E27FC236}">
                    <a16:creationId xmlns:a16="http://schemas.microsoft.com/office/drawing/2014/main" id="{25F5A41D-DD1A-45B7-9EF3-2934E73758CC}"/>
                  </a:ext>
                </a:extLst>
              </p:cNvPr>
              <p:cNvSpPr>
                <a:spLocks/>
              </p:cNvSpPr>
              <p:nvPr/>
            </p:nvSpPr>
            <p:spPr bwMode="auto">
              <a:xfrm>
                <a:off x="4365" y="3013"/>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5" name="Rectangle 2936">
                <a:extLst>
                  <a:ext uri="{FF2B5EF4-FFF2-40B4-BE49-F238E27FC236}">
                    <a16:creationId xmlns:a16="http://schemas.microsoft.com/office/drawing/2014/main" id="{F34BBB6E-9F7F-4831-B883-7E615834D12E}"/>
                  </a:ext>
                </a:extLst>
              </p:cNvPr>
              <p:cNvSpPr>
                <a:spLocks noChangeArrowheads="1"/>
              </p:cNvSpPr>
              <p:nvPr/>
            </p:nvSpPr>
            <p:spPr bwMode="auto">
              <a:xfrm>
                <a:off x="4254" y="286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6" name="Freeform 2937">
                <a:extLst>
                  <a:ext uri="{FF2B5EF4-FFF2-40B4-BE49-F238E27FC236}">
                    <a16:creationId xmlns:a16="http://schemas.microsoft.com/office/drawing/2014/main" id="{89D25D72-EABB-4888-9904-5278A289E5B7}"/>
                  </a:ext>
                </a:extLst>
              </p:cNvPr>
              <p:cNvSpPr>
                <a:spLocks/>
              </p:cNvSpPr>
              <p:nvPr/>
            </p:nvSpPr>
            <p:spPr bwMode="auto">
              <a:xfrm>
                <a:off x="4419" y="2828"/>
                <a:ext cx="29" cy="17"/>
              </a:xfrm>
              <a:custGeom>
                <a:avLst/>
                <a:gdLst>
                  <a:gd name="T0" fmla="*/ 0 w 12"/>
                  <a:gd name="T1" fmla="*/ 0 h 7"/>
                  <a:gd name="T2" fmla="*/ 12 w 12"/>
                  <a:gd name="T3" fmla="*/ 7 h 7"/>
                  <a:gd name="T4" fmla="*/ 0 w 12"/>
                  <a:gd name="T5" fmla="*/ 0 h 7"/>
                </a:gdLst>
                <a:ahLst/>
                <a:cxnLst>
                  <a:cxn ang="0">
                    <a:pos x="T0" y="T1"/>
                  </a:cxn>
                  <a:cxn ang="0">
                    <a:pos x="T2" y="T3"/>
                  </a:cxn>
                  <a:cxn ang="0">
                    <a:pos x="T4" y="T5"/>
                  </a:cxn>
                </a:cxnLst>
                <a:rect l="0" t="0" r="r" b="b"/>
                <a:pathLst>
                  <a:path w="12" h="7">
                    <a:moveTo>
                      <a:pt x="0" y="0"/>
                    </a:moveTo>
                    <a:cubicBezTo>
                      <a:pt x="4" y="2"/>
                      <a:pt x="8" y="5"/>
                      <a:pt x="12" y="7"/>
                    </a:cubicBezTo>
                    <a:cubicBezTo>
                      <a:pt x="8" y="5"/>
                      <a:pt x="4"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7" name="Freeform 2938">
                <a:extLst>
                  <a:ext uri="{FF2B5EF4-FFF2-40B4-BE49-F238E27FC236}">
                    <a16:creationId xmlns:a16="http://schemas.microsoft.com/office/drawing/2014/main" id="{527129ED-CB9E-4FD2-A9A9-30B3BA660085}"/>
                  </a:ext>
                </a:extLst>
              </p:cNvPr>
              <p:cNvSpPr>
                <a:spLocks/>
              </p:cNvSpPr>
              <p:nvPr/>
            </p:nvSpPr>
            <p:spPr bwMode="auto">
              <a:xfrm>
                <a:off x="4282" y="3157"/>
                <a:ext cx="2"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8" name="Freeform 2939">
                <a:extLst>
                  <a:ext uri="{FF2B5EF4-FFF2-40B4-BE49-F238E27FC236}">
                    <a16:creationId xmlns:a16="http://schemas.microsoft.com/office/drawing/2014/main" id="{FF9C52D8-10EC-42ED-9ECC-0DF3E7B1A266}"/>
                  </a:ext>
                </a:extLst>
              </p:cNvPr>
              <p:cNvSpPr>
                <a:spLocks/>
              </p:cNvSpPr>
              <p:nvPr/>
            </p:nvSpPr>
            <p:spPr bwMode="auto">
              <a:xfrm>
                <a:off x="4396" y="3058"/>
                <a:ext cx="14" cy="2"/>
              </a:xfrm>
              <a:custGeom>
                <a:avLst/>
                <a:gdLst>
                  <a:gd name="T0" fmla="*/ 0 w 6"/>
                  <a:gd name="T1" fmla="*/ 0 h 1"/>
                  <a:gd name="T2" fmla="*/ 6 w 6"/>
                  <a:gd name="T3" fmla="*/ 0 h 1"/>
                  <a:gd name="T4" fmla="*/ 0 w 6"/>
                  <a:gd name="T5" fmla="*/ 0 h 1"/>
                </a:gdLst>
                <a:ahLst/>
                <a:cxnLst>
                  <a:cxn ang="0">
                    <a:pos x="T0" y="T1"/>
                  </a:cxn>
                  <a:cxn ang="0">
                    <a:pos x="T2" y="T3"/>
                  </a:cxn>
                  <a:cxn ang="0">
                    <a:pos x="T4" y="T5"/>
                  </a:cxn>
                </a:cxnLst>
                <a:rect l="0" t="0" r="r" b="b"/>
                <a:pathLst>
                  <a:path w="6" h="1">
                    <a:moveTo>
                      <a:pt x="0" y="0"/>
                    </a:moveTo>
                    <a:cubicBezTo>
                      <a:pt x="2" y="0"/>
                      <a:pt x="5" y="1"/>
                      <a:pt x="6" y="0"/>
                    </a:cubicBezTo>
                    <a:cubicBezTo>
                      <a:pt x="5" y="1"/>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9" name="Freeform 2940">
                <a:extLst>
                  <a:ext uri="{FF2B5EF4-FFF2-40B4-BE49-F238E27FC236}">
                    <a16:creationId xmlns:a16="http://schemas.microsoft.com/office/drawing/2014/main" id="{ED226D57-0DC4-47CC-80F7-1E4184894176}"/>
                  </a:ext>
                </a:extLst>
              </p:cNvPr>
              <p:cNvSpPr>
                <a:spLocks/>
              </p:cNvSpPr>
              <p:nvPr/>
            </p:nvSpPr>
            <p:spPr bwMode="auto">
              <a:xfrm>
                <a:off x="4393" y="3058"/>
                <a:ext cx="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0" name="Freeform 2941">
                <a:extLst>
                  <a:ext uri="{FF2B5EF4-FFF2-40B4-BE49-F238E27FC236}">
                    <a16:creationId xmlns:a16="http://schemas.microsoft.com/office/drawing/2014/main" id="{0E57BA36-3C4A-4925-A479-E0F020DE1582}"/>
                  </a:ext>
                </a:extLst>
              </p:cNvPr>
              <p:cNvSpPr>
                <a:spLocks/>
              </p:cNvSpPr>
              <p:nvPr/>
            </p:nvSpPr>
            <p:spPr bwMode="auto">
              <a:xfrm>
                <a:off x="4031" y="3387"/>
                <a:ext cx="0" cy="12"/>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4"/>
                      <a:pt x="0" y="5"/>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1" name="Freeform 2942">
                <a:extLst>
                  <a:ext uri="{FF2B5EF4-FFF2-40B4-BE49-F238E27FC236}">
                    <a16:creationId xmlns:a16="http://schemas.microsoft.com/office/drawing/2014/main" id="{F127AAF4-85FF-4FA3-8FF4-4F9F4817E669}"/>
                  </a:ext>
                </a:extLst>
              </p:cNvPr>
              <p:cNvSpPr>
                <a:spLocks/>
              </p:cNvSpPr>
              <p:nvPr/>
            </p:nvSpPr>
            <p:spPr bwMode="auto">
              <a:xfrm>
                <a:off x="4341" y="3441"/>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2" name="Freeform 2943">
                <a:extLst>
                  <a:ext uri="{FF2B5EF4-FFF2-40B4-BE49-F238E27FC236}">
                    <a16:creationId xmlns:a16="http://schemas.microsoft.com/office/drawing/2014/main" id="{4B4D57BB-4E98-4141-ABB8-E71173D1E295}"/>
                  </a:ext>
                </a:extLst>
              </p:cNvPr>
              <p:cNvSpPr>
                <a:spLocks/>
              </p:cNvSpPr>
              <p:nvPr/>
            </p:nvSpPr>
            <p:spPr bwMode="auto">
              <a:xfrm>
                <a:off x="3946" y="3486"/>
                <a:ext cx="3"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3" name="Freeform 2944">
                <a:extLst>
                  <a:ext uri="{FF2B5EF4-FFF2-40B4-BE49-F238E27FC236}">
                    <a16:creationId xmlns:a16="http://schemas.microsoft.com/office/drawing/2014/main" id="{4AE1600C-CB57-491F-BDAF-C03211C22BCF}"/>
                  </a:ext>
                </a:extLst>
              </p:cNvPr>
              <p:cNvSpPr>
                <a:spLocks/>
              </p:cNvSpPr>
              <p:nvPr/>
            </p:nvSpPr>
            <p:spPr bwMode="auto">
              <a:xfrm>
                <a:off x="4031" y="3387"/>
                <a:ext cx="3" cy="2"/>
              </a:xfrm>
              <a:custGeom>
                <a:avLst/>
                <a:gdLst>
                  <a:gd name="T0" fmla="*/ 1 w 1"/>
                  <a:gd name="T1" fmla="*/ 1 h 1"/>
                  <a:gd name="T2" fmla="*/ 0 w 1"/>
                  <a:gd name="T3" fmla="*/ 0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0" y="0"/>
                      <a:pt x="0" y="0"/>
                      <a:pt x="0" y="0"/>
                    </a:cubicBezTo>
                    <a:cubicBezTo>
                      <a:pt x="0" y="0"/>
                      <a:pt x="0" y="0"/>
                      <a:pt x="0" y="0"/>
                    </a:cubicBezTo>
                    <a:cubicBezTo>
                      <a:pt x="0" y="0"/>
                      <a:pt x="0" y="1"/>
                      <a:pt x="0" y="1"/>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4" name="Freeform 2945">
                <a:extLst>
                  <a:ext uri="{FF2B5EF4-FFF2-40B4-BE49-F238E27FC236}">
                    <a16:creationId xmlns:a16="http://schemas.microsoft.com/office/drawing/2014/main" id="{DBE4BE8B-0376-435B-AFA7-196D9D0D1F70}"/>
                  </a:ext>
                </a:extLst>
              </p:cNvPr>
              <p:cNvSpPr>
                <a:spLocks/>
              </p:cNvSpPr>
              <p:nvPr/>
            </p:nvSpPr>
            <p:spPr bwMode="auto">
              <a:xfrm>
                <a:off x="4284" y="280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5" name="Freeform 2946">
                <a:extLst>
                  <a:ext uri="{FF2B5EF4-FFF2-40B4-BE49-F238E27FC236}">
                    <a16:creationId xmlns:a16="http://schemas.microsoft.com/office/drawing/2014/main" id="{9A29B7BC-E61E-4309-81ED-4D9920DC9AE8}"/>
                  </a:ext>
                </a:extLst>
              </p:cNvPr>
              <p:cNvSpPr>
                <a:spLocks/>
              </p:cNvSpPr>
              <p:nvPr/>
            </p:nvSpPr>
            <p:spPr bwMode="auto">
              <a:xfrm>
                <a:off x="6540" y="2999"/>
                <a:ext cx="14" cy="9"/>
              </a:xfrm>
              <a:custGeom>
                <a:avLst/>
                <a:gdLst>
                  <a:gd name="T0" fmla="*/ 0 w 6"/>
                  <a:gd name="T1" fmla="*/ 3 h 4"/>
                  <a:gd name="T2" fmla="*/ 5 w 6"/>
                  <a:gd name="T3" fmla="*/ 4 h 4"/>
                  <a:gd name="T4" fmla="*/ 6 w 6"/>
                  <a:gd name="T5" fmla="*/ 2 h 4"/>
                  <a:gd name="T6" fmla="*/ 6 w 6"/>
                  <a:gd name="T7" fmla="*/ 0 h 4"/>
                  <a:gd name="T8" fmla="*/ 0 w 6"/>
                  <a:gd name="T9" fmla="*/ 3 h 4"/>
                </a:gdLst>
                <a:ahLst/>
                <a:cxnLst>
                  <a:cxn ang="0">
                    <a:pos x="T0" y="T1"/>
                  </a:cxn>
                  <a:cxn ang="0">
                    <a:pos x="T2" y="T3"/>
                  </a:cxn>
                  <a:cxn ang="0">
                    <a:pos x="T4" y="T5"/>
                  </a:cxn>
                  <a:cxn ang="0">
                    <a:pos x="T6" y="T7"/>
                  </a:cxn>
                  <a:cxn ang="0">
                    <a:pos x="T8" y="T9"/>
                  </a:cxn>
                </a:cxnLst>
                <a:rect l="0" t="0" r="r" b="b"/>
                <a:pathLst>
                  <a:path w="6" h="4">
                    <a:moveTo>
                      <a:pt x="0" y="3"/>
                    </a:moveTo>
                    <a:cubicBezTo>
                      <a:pt x="5" y="4"/>
                      <a:pt x="5" y="4"/>
                      <a:pt x="5" y="4"/>
                    </a:cubicBezTo>
                    <a:cubicBezTo>
                      <a:pt x="5" y="4"/>
                      <a:pt x="6" y="2"/>
                      <a:pt x="6" y="2"/>
                    </a:cubicBezTo>
                    <a:cubicBezTo>
                      <a:pt x="6" y="1"/>
                      <a:pt x="6" y="0"/>
                      <a:pt x="6" y="0"/>
                    </a:cubicBezTo>
                    <a:cubicBezTo>
                      <a:pt x="6"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6" name="Freeform 2947">
                <a:extLst>
                  <a:ext uri="{FF2B5EF4-FFF2-40B4-BE49-F238E27FC236}">
                    <a16:creationId xmlns:a16="http://schemas.microsoft.com/office/drawing/2014/main" id="{9EC2DEA9-BFDB-4A60-A9F9-F08641C9C0CC}"/>
                  </a:ext>
                </a:extLst>
              </p:cNvPr>
              <p:cNvSpPr>
                <a:spLocks/>
              </p:cNvSpPr>
              <p:nvPr/>
            </p:nvSpPr>
            <p:spPr bwMode="auto">
              <a:xfrm>
                <a:off x="3989" y="1141"/>
                <a:ext cx="7" cy="15"/>
              </a:xfrm>
              <a:custGeom>
                <a:avLst/>
                <a:gdLst>
                  <a:gd name="T0" fmla="*/ 2 w 3"/>
                  <a:gd name="T1" fmla="*/ 2 h 6"/>
                  <a:gd name="T2" fmla="*/ 2 w 3"/>
                  <a:gd name="T3" fmla="*/ 2 h 6"/>
                  <a:gd name="T4" fmla="*/ 2 w 3"/>
                  <a:gd name="T5" fmla="*/ 2 h 6"/>
                  <a:gd name="T6" fmla="*/ 3 w 3"/>
                  <a:gd name="T7" fmla="*/ 2 h 6"/>
                  <a:gd name="T8" fmla="*/ 3 w 3"/>
                  <a:gd name="T9" fmla="*/ 2 h 6"/>
                  <a:gd name="T10" fmla="*/ 3 w 3"/>
                  <a:gd name="T11" fmla="*/ 2 h 6"/>
                  <a:gd name="T12" fmla="*/ 3 w 3"/>
                  <a:gd name="T13" fmla="*/ 1 h 6"/>
                  <a:gd name="T14" fmla="*/ 2 w 3"/>
                  <a:gd name="T15" fmla="*/ 0 h 6"/>
                  <a:gd name="T16" fmla="*/ 0 w 3"/>
                  <a:gd name="T17" fmla="*/ 0 h 6"/>
                  <a:gd name="T18" fmla="*/ 0 w 3"/>
                  <a:gd name="T19" fmla="*/ 1 h 6"/>
                  <a:gd name="T20" fmla="*/ 0 w 3"/>
                  <a:gd name="T21" fmla="*/ 2 h 6"/>
                  <a:gd name="T22" fmla="*/ 0 w 3"/>
                  <a:gd name="T23" fmla="*/ 2 h 6"/>
                  <a:gd name="T24" fmla="*/ 1 w 3"/>
                  <a:gd name="T25" fmla="*/ 2 h 6"/>
                  <a:gd name="T26" fmla="*/ 0 w 3"/>
                  <a:gd name="T27" fmla="*/ 6 h 6"/>
                  <a:gd name="T28" fmla="*/ 2 w 3"/>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6">
                    <a:moveTo>
                      <a:pt x="2" y="2"/>
                    </a:move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1"/>
                      <a:pt x="3" y="1"/>
                      <a:pt x="3" y="1"/>
                    </a:cubicBezTo>
                    <a:cubicBezTo>
                      <a:pt x="2" y="0"/>
                      <a:pt x="2" y="0"/>
                      <a:pt x="2" y="0"/>
                    </a:cubicBezTo>
                    <a:cubicBezTo>
                      <a:pt x="0" y="0"/>
                      <a:pt x="0" y="0"/>
                      <a:pt x="0" y="0"/>
                    </a:cubicBezTo>
                    <a:cubicBezTo>
                      <a:pt x="0" y="1"/>
                      <a:pt x="0" y="1"/>
                      <a:pt x="0" y="1"/>
                    </a:cubicBezTo>
                    <a:cubicBezTo>
                      <a:pt x="0" y="2"/>
                      <a:pt x="0" y="2"/>
                      <a:pt x="0" y="2"/>
                    </a:cubicBezTo>
                    <a:cubicBezTo>
                      <a:pt x="0" y="2"/>
                      <a:pt x="0" y="2"/>
                      <a:pt x="0" y="2"/>
                    </a:cubicBezTo>
                    <a:cubicBezTo>
                      <a:pt x="1" y="2"/>
                      <a:pt x="1" y="2"/>
                      <a:pt x="1" y="2"/>
                    </a:cubicBezTo>
                    <a:cubicBezTo>
                      <a:pt x="0" y="6"/>
                      <a:pt x="0" y="6"/>
                      <a:pt x="0" y="6"/>
                    </a:cubicBez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7" name="Freeform 2948">
                <a:extLst>
                  <a:ext uri="{FF2B5EF4-FFF2-40B4-BE49-F238E27FC236}">
                    <a16:creationId xmlns:a16="http://schemas.microsoft.com/office/drawing/2014/main" id="{3F6F34BB-27C4-4238-805B-32A1CB81229B}"/>
                  </a:ext>
                </a:extLst>
              </p:cNvPr>
              <p:cNvSpPr>
                <a:spLocks/>
              </p:cNvSpPr>
              <p:nvPr/>
            </p:nvSpPr>
            <p:spPr bwMode="auto">
              <a:xfrm>
                <a:off x="3320" y="1700"/>
                <a:ext cx="75" cy="139"/>
              </a:xfrm>
              <a:custGeom>
                <a:avLst/>
                <a:gdLst>
                  <a:gd name="T0" fmla="*/ 20 w 32"/>
                  <a:gd name="T1" fmla="*/ 56 h 59"/>
                  <a:gd name="T2" fmla="*/ 19 w 32"/>
                  <a:gd name="T3" fmla="*/ 55 h 59"/>
                  <a:gd name="T4" fmla="*/ 20 w 32"/>
                  <a:gd name="T5" fmla="*/ 50 h 59"/>
                  <a:gd name="T6" fmla="*/ 23 w 32"/>
                  <a:gd name="T7" fmla="*/ 46 h 59"/>
                  <a:gd name="T8" fmla="*/ 23 w 32"/>
                  <a:gd name="T9" fmla="*/ 46 h 59"/>
                  <a:gd name="T10" fmla="*/ 22 w 32"/>
                  <a:gd name="T11" fmla="*/ 45 h 59"/>
                  <a:gd name="T12" fmla="*/ 21 w 32"/>
                  <a:gd name="T13" fmla="*/ 40 h 59"/>
                  <a:gd name="T14" fmla="*/ 21 w 32"/>
                  <a:gd name="T15" fmla="*/ 36 h 59"/>
                  <a:gd name="T16" fmla="*/ 23 w 32"/>
                  <a:gd name="T17" fmla="*/ 37 h 59"/>
                  <a:gd name="T18" fmla="*/ 24 w 32"/>
                  <a:gd name="T19" fmla="*/ 36 h 59"/>
                  <a:gd name="T20" fmla="*/ 24 w 32"/>
                  <a:gd name="T21" fmla="*/ 36 h 59"/>
                  <a:gd name="T22" fmla="*/ 22 w 32"/>
                  <a:gd name="T23" fmla="*/ 34 h 59"/>
                  <a:gd name="T24" fmla="*/ 22 w 32"/>
                  <a:gd name="T25" fmla="*/ 33 h 59"/>
                  <a:gd name="T26" fmla="*/ 21 w 32"/>
                  <a:gd name="T27" fmla="*/ 32 h 59"/>
                  <a:gd name="T28" fmla="*/ 21 w 32"/>
                  <a:gd name="T29" fmla="*/ 27 h 59"/>
                  <a:gd name="T30" fmla="*/ 25 w 32"/>
                  <a:gd name="T31" fmla="*/ 22 h 59"/>
                  <a:gd name="T32" fmla="*/ 26 w 32"/>
                  <a:gd name="T33" fmla="*/ 19 h 59"/>
                  <a:gd name="T34" fmla="*/ 26 w 32"/>
                  <a:gd name="T35" fmla="*/ 17 h 59"/>
                  <a:gd name="T36" fmla="*/ 26 w 32"/>
                  <a:gd name="T37" fmla="*/ 14 h 59"/>
                  <a:gd name="T38" fmla="*/ 27 w 32"/>
                  <a:gd name="T39" fmla="*/ 9 h 59"/>
                  <a:gd name="T40" fmla="*/ 30 w 32"/>
                  <a:gd name="T41" fmla="*/ 7 h 59"/>
                  <a:gd name="T42" fmla="*/ 32 w 32"/>
                  <a:gd name="T43" fmla="*/ 5 h 59"/>
                  <a:gd name="T44" fmla="*/ 31 w 32"/>
                  <a:gd name="T45" fmla="*/ 5 h 59"/>
                  <a:gd name="T46" fmla="*/ 29 w 32"/>
                  <a:gd name="T47" fmla="*/ 2 h 59"/>
                  <a:gd name="T48" fmla="*/ 29 w 32"/>
                  <a:gd name="T49" fmla="*/ 1 h 59"/>
                  <a:gd name="T50" fmla="*/ 28 w 32"/>
                  <a:gd name="T51" fmla="*/ 1 h 59"/>
                  <a:gd name="T52" fmla="*/ 26 w 32"/>
                  <a:gd name="T53" fmla="*/ 1 h 59"/>
                  <a:gd name="T54" fmla="*/ 25 w 32"/>
                  <a:gd name="T55" fmla="*/ 1 h 59"/>
                  <a:gd name="T56" fmla="*/ 23 w 32"/>
                  <a:gd name="T57" fmla="*/ 2 h 59"/>
                  <a:gd name="T58" fmla="*/ 22 w 32"/>
                  <a:gd name="T59" fmla="*/ 2 h 59"/>
                  <a:gd name="T60" fmla="*/ 18 w 32"/>
                  <a:gd name="T61" fmla="*/ 2 h 59"/>
                  <a:gd name="T62" fmla="*/ 17 w 32"/>
                  <a:gd name="T63" fmla="*/ 2 h 59"/>
                  <a:gd name="T64" fmla="*/ 14 w 32"/>
                  <a:gd name="T65" fmla="*/ 3 h 59"/>
                  <a:gd name="T66" fmla="*/ 14 w 32"/>
                  <a:gd name="T67" fmla="*/ 3 h 59"/>
                  <a:gd name="T68" fmla="*/ 12 w 32"/>
                  <a:gd name="T69" fmla="*/ 1 h 59"/>
                  <a:gd name="T70" fmla="*/ 12 w 32"/>
                  <a:gd name="T71" fmla="*/ 0 h 59"/>
                  <a:gd name="T72" fmla="*/ 7 w 32"/>
                  <a:gd name="T73" fmla="*/ 2 h 59"/>
                  <a:gd name="T74" fmla="*/ 7 w 32"/>
                  <a:gd name="T75" fmla="*/ 5 h 59"/>
                  <a:gd name="T76" fmla="*/ 9 w 32"/>
                  <a:gd name="T77" fmla="*/ 10 h 59"/>
                  <a:gd name="T78" fmla="*/ 9 w 32"/>
                  <a:gd name="T79" fmla="*/ 14 h 59"/>
                  <a:gd name="T80" fmla="*/ 6 w 32"/>
                  <a:gd name="T81" fmla="*/ 21 h 59"/>
                  <a:gd name="T82" fmla="*/ 3 w 32"/>
                  <a:gd name="T83" fmla="*/ 31 h 59"/>
                  <a:gd name="T84" fmla="*/ 1 w 32"/>
                  <a:gd name="T85" fmla="*/ 35 h 59"/>
                  <a:gd name="T86" fmla="*/ 1 w 32"/>
                  <a:gd name="T87" fmla="*/ 39 h 59"/>
                  <a:gd name="T88" fmla="*/ 4 w 32"/>
                  <a:gd name="T89" fmla="*/ 38 h 59"/>
                  <a:gd name="T90" fmla="*/ 5 w 32"/>
                  <a:gd name="T91" fmla="*/ 39 h 59"/>
                  <a:gd name="T92" fmla="*/ 4 w 32"/>
                  <a:gd name="T93" fmla="*/ 40 h 59"/>
                  <a:gd name="T94" fmla="*/ 3 w 32"/>
                  <a:gd name="T95" fmla="*/ 43 h 59"/>
                  <a:gd name="T96" fmla="*/ 9 w 32"/>
                  <a:gd name="T97" fmla="*/ 43 h 59"/>
                  <a:gd name="T98" fmla="*/ 7 w 32"/>
                  <a:gd name="T99" fmla="*/ 46 h 59"/>
                  <a:gd name="T100" fmla="*/ 5 w 32"/>
                  <a:gd name="T101" fmla="*/ 59 h 59"/>
                  <a:gd name="T102" fmla="*/ 12 w 32"/>
                  <a:gd name="T103" fmla="*/ 58 h 59"/>
                  <a:gd name="T104" fmla="*/ 16 w 32"/>
                  <a:gd name="T105" fmla="*/ 59 h 59"/>
                  <a:gd name="T106" fmla="*/ 20 w 32"/>
                  <a:gd name="T107" fmla="*/ 5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 h="59">
                    <a:moveTo>
                      <a:pt x="20" y="57"/>
                    </a:moveTo>
                    <a:cubicBezTo>
                      <a:pt x="20" y="56"/>
                      <a:pt x="20" y="56"/>
                      <a:pt x="20" y="56"/>
                    </a:cubicBezTo>
                    <a:cubicBezTo>
                      <a:pt x="20" y="56"/>
                      <a:pt x="20" y="56"/>
                      <a:pt x="20" y="56"/>
                    </a:cubicBezTo>
                    <a:cubicBezTo>
                      <a:pt x="20" y="55"/>
                      <a:pt x="19" y="55"/>
                      <a:pt x="19" y="55"/>
                    </a:cubicBezTo>
                    <a:cubicBezTo>
                      <a:pt x="19" y="53"/>
                      <a:pt x="19" y="51"/>
                      <a:pt x="20" y="50"/>
                    </a:cubicBezTo>
                    <a:cubicBezTo>
                      <a:pt x="20" y="50"/>
                      <a:pt x="20" y="50"/>
                      <a:pt x="20" y="50"/>
                    </a:cubicBezTo>
                    <a:cubicBezTo>
                      <a:pt x="20" y="49"/>
                      <a:pt x="21" y="47"/>
                      <a:pt x="22" y="47"/>
                    </a:cubicBezTo>
                    <a:cubicBezTo>
                      <a:pt x="23" y="46"/>
                      <a:pt x="23" y="46"/>
                      <a:pt x="23" y="46"/>
                    </a:cubicBezTo>
                    <a:cubicBezTo>
                      <a:pt x="23" y="46"/>
                      <a:pt x="23" y="46"/>
                      <a:pt x="23" y="46"/>
                    </a:cubicBezTo>
                    <a:cubicBezTo>
                      <a:pt x="23" y="46"/>
                      <a:pt x="23" y="46"/>
                      <a:pt x="23" y="46"/>
                    </a:cubicBezTo>
                    <a:cubicBezTo>
                      <a:pt x="23" y="46"/>
                      <a:pt x="23" y="45"/>
                      <a:pt x="23" y="45"/>
                    </a:cubicBezTo>
                    <a:cubicBezTo>
                      <a:pt x="23" y="45"/>
                      <a:pt x="23" y="45"/>
                      <a:pt x="22" y="45"/>
                    </a:cubicBezTo>
                    <a:cubicBezTo>
                      <a:pt x="22" y="44"/>
                      <a:pt x="21" y="42"/>
                      <a:pt x="21" y="41"/>
                    </a:cubicBezTo>
                    <a:cubicBezTo>
                      <a:pt x="21" y="40"/>
                      <a:pt x="21" y="40"/>
                      <a:pt x="21" y="40"/>
                    </a:cubicBezTo>
                    <a:cubicBezTo>
                      <a:pt x="22" y="39"/>
                      <a:pt x="22" y="38"/>
                      <a:pt x="23" y="38"/>
                    </a:cubicBezTo>
                    <a:cubicBezTo>
                      <a:pt x="21" y="36"/>
                      <a:pt x="21" y="36"/>
                      <a:pt x="21" y="36"/>
                    </a:cubicBezTo>
                    <a:cubicBezTo>
                      <a:pt x="23" y="37"/>
                      <a:pt x="23" y="37"/>
                      <a:pt x="23" y="37"/>
                    </a:cubicBezTo>
                    <a:cubicBezTo>
                      <a:pt x="23" y="37"/>
                      <a:pt x="23" y="37"/>
                      <a:pt x="23" y="37"/>
                    </a:cubicBezTo>
                    <a:cubicBezTo>
                      <a:pt x="23" y="37"/>
                      <a:pt x="23" y="37"/>
                      <a:pt x="23" y="37"/>
                    </a:cubicBezTo>
                    <a:cubicBezTo>
                      <a:pt x="24" y="36"/>
                      <a:pt x="24" y="36"/>
                      <a:pt x="24" y="36"/>
                    </a:cubicBezTo>
                    <a:cubicBezTo>
                      <a:pt x="24" y="36"/>
                      <a:pt x="24" y="36"/>
                      <a:pt x="24" y="36"/>
                    </a:cubicBezTo>
                    <a:cubicBezTo>
                      <a:pt x="24" y="36"/>
                      <a:pt x="24" y="36"/>
                      <a:pt x="24" y="36"/>
                    </a:cubicBezTo>
                    <a:cubicBezTo>
                      <a:pt x="24" y="35"/>
                      <a:pt x="24" y="35"/>
                      <a:pt x="24" y="35"/>
                    </a:cubicBezTo>
                    <a:cubicBezTo>
                      <a:pt x="23" y="35"/>
                      <a:pt x="23" y="35"/>
                      <a:pt x="22" y="34"/>
                    </a:cubicBezTo>
                    <a:cubicBezTo>
                      <a:pt x="22" y="34"/>
                      <a:pt x="22" y="34"/>
                      <a:pt x="22" y="34"/>
                    </a:cubicBezTo>
                    <a:cubicBezTo>
                      <a:pt x="22" y="34"/>
                      <a:pt x="22" y="33"/>
                      <a:pt x="22" y="33"/>
                    </a:cubicBezTo>
                    <a:cubicBezTo>
                      <a:pt x="22" y="33"/>
                      <a:pt x="22" y="33"/>
                      <a:pt x="22" y="33"/>
                    </a:cubicBezTo>
                    <a:cubicBezTo>
                      <a:pt x="21" y="32"/>
                      <a:pt x="21" y="32"/>
                      <a:pt x="21" y="32"/>
                    </a:cubicBezTo>
                    <a:cubicBezTo>
                      <a:pt x="18" y="26"/>
                      <a:pt x="18" y="26"/>
                      <a:pt x="18" y="26"/>
                    </a:cubicBezTo>
                    <a:cubicBezTo>
                      <a:pt x="21" y="27"/>
                      <a:pt x="21" y="27"/>
                      <a:pt x="21" y="27"/>
                    </a:cubicBezTo>
                    <a:cubicBezTo>
                      <a:pt x="24" y="27"/>
                      <a:pt x="24" y="27"/>
                      <a:pt x="24" y="27"/>
                    </a:cubicBezTo>
                    <a:cubicBezTo>
                      <a:pt x="25" y="26"/>
                      <a:pt x="25" y="24"/>
                      <a:pt x="25" y="22"/>
                    </a:cubicBezTo>
                    <a:cubicBezTo>
                      <a:pt x="25" y="21"/>
                      <a:pt x="25" y="20"/>
                      <a:pt x="25" y="20"/>
                    </a:cubicBezTo>
                    <a:cubicBezTo>
                      <a:pt x="26" y="19"/>
                      <a:pt x="26" y="19"/>
                      <a:pt x="26" y="19"/>
                    </a:cubicBezTo>
                    <a:cubicBezTo>
                      <a:pt x="26" y="19"/>
                      <a:pt x="26" y="18"/>
                      <a:pt x="26" y="18"/>
                    </a:cubicBezTo>
                    <a:cubicBezTo>
                      <a:pt x="26" y="17"/>
                      <a:pt x="26" y="17"/>
                      <a:pt x="26" y="17"/>
                    </a:cubicBezTo>
                    <a:cubicBezTo>
                      <a:pt x="26" y="16"/>
                      <a:pt x="26" y="15"/>
                      <a:pt x="26" y="15"/>
                    </a:cubicBezTo>
                    <a:cubicBezTo>
                      <a:pt x="26" y="14"/>
                      <a:pt x="26" y="14"/>
                      <a:pt x="26" y="14"/>
                    </a:cubicBezTo>
                    <a:cubicBezTo>
                      <a:pt x="25" y="12"/>
                      <a:pt x="25" y="11"/>
                      <a:pt x="26" y="9"/>
                    </a:cubicBezTo>
                    <a:cubicBezTo>
                      <a:pt x="27" y="9"/>
                      <a:pt x="27" y="9"/>
                      <a:pt x="27" y="9"/>
                    </a:cubicBezTo>
                    <a:cubicBezTo>
                      <a:pt x="27" y="9"/>
                      <a:pt x="28" y="8"/>
                      <a:pt x="29" y="8"/>
                    </a:cubicBezTo>
                    <a:cubicBezTo>
                      <a:pt x="29" y="8"/>
                      <a:pt x="30" y="7"/>
                      <a:pt x="30" y="7"/>
                    </a:cubicBezTo>
                    <a:cubicBezTo>
                      <a:pt x="30" y="7"/>
                      <a:pt x="30" y="7"/>
                      <a:pt x="30" y="7"/>
                    </a:cubicBezTo>
                    <a:cubicBezTo>
                      <a:pt x="31" y="6"/>
                      <a:pt x="32" y="6"/>
                      <a:pt x="32" y="5"/>
                    </a:cubicBezTo>
                    <a:cubicBezTo>
                      <a:pt x="32" y="5"/>
                      <a:pt x="31" y="5"/>
                      <a:pt x="31" y="5"/>
                    </a:cubicBezTo>
                    <a:cubicBezTo>
                      <a:pt x="31" y="5"/>
                      <a:pt x="31" y="5"/>
                      <a:pt x="31" y="5"/>
                    </a:cubicBezTo>
                    <a:cubicBezTo>
                      <a:pt x="30" y="4"/>
                      <a:pt x="29" y="4"/>
                      <a:pt x="29" y="2"/>
                    </a:cubicBezTo>
                    <a:cubicBezTo>
                      <a:pt x="29" y="2"/>
                      <a:pt x="29" y="2"/>
                      <a:pt x="29" y="2"/>
                    </a:cubicBezTo>
                    <a:cubicBezTo>
                      <a:pt x="29" y="2"/>
                      <a:pt x="29" y="2"/>
                      <a:pt x="29" y="1"/>
                    </a:cubicBezTo>
                    <a:cubicBezTo>
                      <a:pt x="29" y="1"/>
                      <a:pt x="29" y="1"/>
                      <a:pt x="29" y="1"/>
                    </a:cubicBezTo>
                    <a:cubicBezTo>
                      <a:pt x="29" y="1"/>
                      <a:pt x="29" y="1"/>
                      <a:pt x="29" y="1"/>
                    </a:cubicBezTo>
                    <a:cubicBezTo>
                      <a:pt x="29" y="1"/>
                      <a:pt x="29" y="1"/>
                      <a:pt x="28" y="1"/>
                    </a:cubicBezTo>
                    <a:cubicBezTo>
                      <a:pt x="28" y="1"/>
                      <a:pt x="28" y="1"/>
                      <a:pt x="28" y="1"/>
                    </a:cubicBezTo>
                    <a:cubicBezTo>
                      <a:pt x="28" y="1"/>
                      <a:pt x="27" y="1"/>
                      <a:pt x="26" y="1"/>
                    </a:cubicBezTo>
                    <a:cubicBezTo>
                      <a:pt x="26" y="1"/>
                      <a:pt x="26" y="1"/>
                      <a:pt x="25" y="1"/>
                    </a:cubicBezTo>
                    <a:cubicBezTo>
                      <a:pt x="25" y="1"/>
                      <a:pt x="25" y="1"/>
                      <a:pt x="25" y="1"/>
                    </a:cubicBezTo>
                    <a:cubicBezTo>
                      <a:pt x="25" y="2"/>
                      <a:pt x="24" y="2"/>
                      <a:pt x="24" y="2"/>
                    </a:cubicBezTo>
                    <a:cubicBezTo>
                      <a:pt x="23" y="2"/>
                      <a:pt x="23" y="2"/>
                      <a:pt x="23" y="2"/>
                    </a:cubicBezTo>
                    <a:cubicBezTo>
                      <a:pt x="23" y="2"/>
                      <a:pt x="22" y="2"/>
                      <a:pt x="22" y="2"/>
                    </a:cubicBezTo>
                    <a:cubicBezTo>
                      <a:pt x="22" y="2"/>
                      <a:pt x="22" y="2"/>
                      <a:pt x="22" y="2"/>
                    </a:cubicBezTo>
                    <a:cubicBezTo>
                      <a:pt x="21" y="3"/>
                      <a:pt x="20" y="3"/>
                      <a:pt x="19" y="3"/>
                    </a:cubicBezTo>
                    <a:cubicBezTo>
                      <a:pt x="18" y="3"/>
                      <a:pt x="18" y="2"/>
                      <a:pt x="18" y="2"/>
                    </a:cubicBezTo>
                    <a:cubicBezTo>
                      <a:pt x="17" y="2"/>
                      <a:pt x="17" y="2"/>
                      <a:pt x="17" y="2"/>
                    </a:cubicBezTo>
                    <a:cubicBezTo>
                      <a:pt x="17" y="2"/>
                      <a:pt x="17" y="2"/>
                      <a:pt x="17" y="2"/>
                    </a:cubicBezTo>
                    <a:cubicBezTo>
                      <a:pt x="17" y="2"/>
                      <a:pt x="17" y="2"/>
                      <a:pt x="17" y="2"/>
                    </a:cubicBezTo>
                    <a:cubicBezTo>
                      <a:pt x="16" y="2"/>
                      <a:pt x="15" y="3"/>
                      <a:pt x="14" y="3"/>
                    </a:cubicBezTo>
                    <a:cubicBezTo>
                      <a:pt x="14" y="3"/>
                      <a:pt x="14" y="3"/>
                      <a:pt x="14" y="3"/>
                    </a:cubicBezTo>
                    <a:cubicBezTo>
                      <a:pt x="14" y="3"/>
                      <a:pt x="14" y="3"/>
                      <a:pt x="14" y="3"/>
                    </a:cubicBezTo>
                    <a:cubicBezTo>
                      <a:pt x="13" y="3"/>
                      <a:pt x="12" y="3"/>
                      <a:pt x="12" y="2"/>
                    </a:cubicBezTo>
                    <a:cubicBezTo>
                      <a:pt x="12" y="2"/>
                      <a:pt x="12" y="1"/>
                      <a:pt x="12" y="1"/>
                    </a:cubicBezTo>
                    <a:cubicBezTo>
                      <a:pt x="12" y="0"/>
                      <a:pt x="12" y="0"/>
                      <a:pt x="12" y="0"/>
                    </a:cubicBezTo>
                    <a:cubicBezTo>
                      <a:pt x="12" y="0"/>
                      <a:pt x="12" y="0"/>
                      <a:pt x="12" y="0"/>
                    </a:cubicBezTo>
                    <a:cubicBezTo>
                      <a:pt x="12" y="0"/>
                      <a:pt x="11" y="0"/>
                      <a:pt x="11" y="0"/>
                    </a:cubicBezTo>
                    <a:cubicBezTo>
                      <a:pt x="10" y="0"/>
                      <a:pt x="8" y="1"/>
                      <a:pt x="7" y="2"/>
                    </a:cubicBezTo>
                    <a:cubicBezTo>
                      <a:pt x="7" y="2"/>
                      <a:pt x="7" y="2"/>
                      <a:pt x="7" y="2"/>
                    </a:cubicBezTo>
                    <a:cubicBezTo>
                      <a:pt x="7" y="3"/>
                      <a:pt x="7" y="4"/>
                      <a:pt x="7" y="5"/>
                    </a:cubicBezTo>
                    <a:cubicBezTo>
                      <a:pt x="7" y="6"/>
                      <a:pt x="7" y="7"/>
                      <a:pt x="8" y="8"/>
                    </a:cubicBezTo>
                    <a:cubicBezTo>
                      <a:pt x="8" y="9"/>
                      <a:pt x="8" y="9"/>
                      <a:pt x="9" y="10"/>
                    </a:cubicBezTo>
                    <a:cubicBezTo>
                      <a:pt x="9" y="11"/>
                      <a:pt x="7" y="14"/>
                      <a:pt x="8" y="15"/>
                    </a:cubicBezTo>
                    <a:cubicBezTo>
                      <a:pt x="8" y="15"/>
                      <a:pt x="8" y="15"/>
                      <a:pt x="9" y="14"/>
                    </a:cubicBezTo>
                    <a:cubicBezTo>
                      <a:pt x="9" y="15"/>
                      <a:pt x="8" y="16"/>
                      <a:pt x="7" y="17"/>
                    </a:cubicBezTo>
                    <a:cubicBezTo>
                      <a:pt x="7" y="18"/>
                      <a:pt x="7" y="19"/>
                      <a:pt x="6" y="21"/>
                    </a:cubicBezTo>
                    <a:cubicBezTo>
                      <a:pt x="6" y="24"/>
                      <a:pt x="5" y="26"/>
                      <a:pt x="4" y="29"/>
                    </a:cubicBezTo>
                    <a:cubicBezTo>
                      <a:pt x="4" y="30"/>
                      <a:pt x="3" y="31"/>
                      <a:pt x="3" y="31"/>
                    </a:cubicBezTo>
                    <a:cubicBezTo>
                      <a:pt x="2" y="31"/>
                      <a:pt x="2" y="31"/>
                      <a:pt x="1" y="32"/>
                    </a:cubicBezTo>
                    <a:cubicBezTo>
                      <a:pt x="1" y="33"/>
                      <a:pt x="1" y="34"/>
                      <a:pt x="1" y="35"/>
                    </a:cubicBezTo>
                    <a:cubicBezTo>
                      <a:pt x="1" y="35"/>
                      <a:pt x="1" y="36"/>
                      <a:pt x="1" y="37"/>
                    </a:cubicBezTo>
                    <a:cubicBezTo>
                      <a:pt x="0" y="38"/>
                      <a:pt x="0" y="38"/>
                      <a:pt x="1" y="39"/>
                    </a:cubicBezTo>
                    <a:cubicBezTo>
                      <a:pt x="1" y="39"/>
                      <a:pt x="2" y="40"/>
                      <a:pt x="3" y="39"/>
                    </a:cubicBezTo>
                    <a:cubicBezTo>
                      <a:pt x="4" y="39"/>
                      <a:pt x="4" y="38"/>
                      <a:pt x="4" y="38"/>
                    </a:cubicBezTo>
                    <a:cubicBezTo>
                      <a:pt x="5" y="37"/>
                      <a:pt x="5" y="37"/>
                      <a:pt x="5" y="37"/>
                    </a:cubicBezTo>
                    <a:cubicBezTo>
                      <a:pt x="5" y="38"/>
                      <a:pt x="6" y="39"/>
                      <a:pt x="5" y="39"/>
                    </a:cubicBezTo>
                    <a:cubicBezTo>
                      <a:pt x="5" y="39"/>
                      <a:pt x="5" y="39"/>
                      <a:pt x="5" y="40"/>
                    </a:cubicBezTo>
                    <a:cubicBezTo>
                      <a:pt x="5" y="40"/>
                      <a:pt x="4" y="40"/>
                      <a:pt x="4" y="40"/>
                    </a:cubicBezTo>
                    <a:cubicBezTo>
                      <a:pt x="4" y="40"/>
                      <a:pt x="3" y="40"/>
                      <a:pt x="2" y="40"/>
                    </a:cubicBezTo>
                    <a:cubicBezTo>
                      <a:pt x="3" y="41"/>
                      <a:pt x="3" y="42"/>
                      <a:pt x="3" y="43"/>
                    </a:cubicBezTo>
                    <a:cubicBezTo>
                      <a:pt x="4" y="42"/>
                      <a:pt x="5" y="42"/>
                      <a:pt x="5" y="42"/>
                    </a:cubicBezTo>
                    <a:cubicBezTo>
                      <a:pt x="7" y="41"/>
                      <a:pt x="8" y="41"/>
                      <a:pt x="9" y="43"/>
                    </a:cubicBezTo>
                    <a:cubicBezTo>
                      <a:pt x="7" y="43"/>
                      <a:pt x="7" y="43"/>
                      <a:pt x="6" y="42"/>
                    </a:cubicBezTo>
                    <a:cubicBezTo>
                      <a:pt x="6" y="43"/>
                      <a:pt x="7" y="45"/>
                      <a:pt x="7" y="46"/>
                    </a:cubicBezTo>
                    <a:cubicBezTo>
                      <a:pt x="6" y="48"/>
                      <a:pt x="7" y="50"/>
                      <a:pt x="7" y="52"/>
                    </a:cubicBezTo>
                    <a:cubicBezTo>
                      <a:pt x="7" y="55"/>
                      <a:pt x="6" y="57"/>
                      <a:pt x="5" y="59"/>
                    </a:cubicBezTo>
                    <a:cubicBezTo>
                      <a:pt x="6" y="59"/>
                      <a:pt x="8" y="58"/>
                      <a:pt x="9" y="58"/>
                    </a:cubicBezTo>
                    <a:cubicBezTo>
                      <a:pt x="10" y="57"/>
                      <a:pt x="11" y="58"/>
                      <a:pt x="12" y="58"/>
                    </a:cubicBezTo>
                    <a:cubicBezTo>
                      <a:pt x="13" y="58"/>
                      <a:pt x="13" y="58"/>
                      <a:pt x="14" y="59"/>
                    </a:cubicBezTo>
                    <a:cubicBezTo>
                      <a:pt x="15" y="59"/>
                      <a:pt x="15" y="59"/>
                      <a:pt x="16" y="59"/>
                    </a:cubicBezTo>
                    <a:cubicBezTo>
                      <a:pt x="17" y="59"/>
                      <a:pt x="18" y="59"/>
                      <a:pt x="20" y="58"/>
                    </a:cubicBezTo>
                    <a:cubicBezTo>
                      <a:pt x="20" y="58"/>
                      <a:pt x="20" y="57"/>
                      <a:pt x="20"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8" name="Freeform 2949">
                <a:extLst>
                  <a:ext uri="{FF2B5EF4-FFF2-40B4-BE49-F238E27FC236}">
                    <a16:creationId xmlns:a16="http://schemas.microsoft.com/office/drawing/2014/main" id="{EA0EA6ED-990E-4C8A-8BDD-EC377AF21D3B}"/>
                  </a:ext>
                </a:extLst>
              </p:cNvPr>
              <p:cNvSpPr>
                <a:spLocks/>
              </p:cNvSpPr>
              <p:nvPr/>
            </p:nvSpPr>
            <p:spPr bwMode="auto">
              <a:xfrm>
                <a:off x="3343" y="1837"/>
                <a:ext cx="492" cy="471"/>
              </a:xfrm>
              <a:custGeom>
                <a:avLst/>
                <a:gdLst>
                  <a:gd name="T0" fmla="*/ 68 w 208"/>
                  <a:gd name="T1" fmla="*/ 26 h 199"/>
                  <a:gd name="T2" fmla="*/ 70 w 208"/>
                  <a:gd name="T3" fmla="*/ 29 h 199"/>
                  <a:gd name="T4" fmla="*/ 71 w 208"/>
                  <a:gd name="T5" fmla="*/ 38 h 199"/>
                  <a:gd name="T6" fmla="*/ 75 w 208"/>
                  <a:gd name="T7" fmla="*/ 51 h 199"/>
                  <a:gd name="T8" fmla="*/ 76 w 208"/>
                  <a:gd name="T9" fmla="*/ 58 h 199"/>
                  <a:gd name="T10" fmla="*/ 70 w 208"/>
                  <a:gd name="T11" fmla="*/ 59 h 199"/>
                  <a:gd name="T12" fmla="*/ 61 w 208"/>
                  <a:gd name="T13" fmla="*/ 59 h 199"/>
                  <a:gd name="T14" fmla="*/ 56 w 208"/>
                  <a:gd name="T15" fmla="*/ 63 h 199"/>
                  <a:gd name="T16" fmla="*/ 49 w 208"/>
                  <a:gd name="T17" fmla="*/ 64 h 199"/>
                  <a:gd name="T18" fmla="*/ 49 w 208"/>
                  <a:gd name="T19" fmla="*/ 64 h 199"/>
                  <a:gd name="T20" fmla="*/ 50 w 208"/>
                  <a:gd name="T21" fmla="*/ 68 h 199"/>
                  <a:gd name="T22" fmla="*/ 36 w 208"/>
                  <a:gd name="T23" fmla="*/ 79 h 199"/>
                  <a:gd name="T24" fmla="*/ 22 w 208"/>
                  <a:gd name="T25" fmla="*/ 85 h 199"/>
                  <a:gd name="T26" fmla="*/ 15 w 208"/>
                  <a:gd name="T27" fmla="*/ 88 h 199"/>
                  <a:gd name="T28" fmla="*/ 5 w 208"/>
                  <a:gd name="T29" fmla="*/ 93 h 199"/>
                  <a:gd name="T30" fmla="*/ 0 w 208"/>
                  <a:gd name="T31" fmla="*/ 97 h 199"/>
                  <a:gd name="T32" fmla="*/ 45 w 208"/>
                  <a:gd name="T33" fmla="*/ 138 h 199"/>
                  <a:gd name="T34" fmla="*/ 69 w 208"/>
                  <a:gd name="T35" fmla="*/ 157 h 199"/>
                  <a:gd name="T36" fmla="*/ 100 w 208"/>
                  <a:gd name="T37" fmla="*/ 182 h 199"/>
                  <a:gd name="T38" fmla="*/ 105 w 208"/>
                  <a:gd name="T39" fmla="*/ 185 h 199"/>
                  <a:gd name="T40" fmla="*/ 111 w 208"/>
                  <a:gd name="T41" fmla="*/ 187 h 199"/>
                  <a:gd name="T42" fmla="*/ 116 w 208"/>
                  <a:gd name="T43" fmla="*/ 190 h 199"/>
                  <a:gd name="T44" fmla="*/ 121 w 208"/>
                  <a:gd name="T45" fmla="*/ 193 h 199"/>
                  <a:gd name="T46" fmla="*/ 121 w 208"/>
                  <a:gd name="T47" fmla="*/ 196 h 199"/>
                  <a:gd name="T48" fmla="*/ 122 w 208"/>
                  <a:gd name="T49" fmla="*/ 199 h 199"/>
                  <a:gd name="T50" fmla="*/ 125 w 208"/>
                  <a:gd name="T51" fmla="*/ 199 h 199"/>
                  <a:gd name="T52" fmla="*/ 129 w 208"/>
                  <a:gd name="T53" fmla="*/ 198 h 199"/>
                  <a:gd name="T54" fmla="*/ 146 w 208"/>
                  <a:gd name="T55" fmla="*/ 195 h 199"/>
                  <a:gd name="T56" fmla="*/ 159 w 208"/>
                  <a:gd name="T57" fmla="*/ 183 h 199"/>
                  <a:gd name="T58" fmla="*/ 206 w 208"/>
                  <a:gd name="T59" fmla="*/ 150 h 199"/>
                  <a:gd name="T60" fmla="*/ 198 w 208"/>
                  <a:gd name="T61" fmla="*/ 143 h 199"/>
                  <a:gd name="T62" fmla="*/ 195 w 208"/>
                  <a:gd name="T63" fmla="*/ 143 h 199"/>
                  <a:gd name="T64" fmla="*/ 193 w 208"/>
                  <a:gd name="T65" fmla="*/ 143 h 199"/>
                  <a:gd name="T66" fmla="*/ 189 w 208"/>
                  <a:gd name="T67" fmla="*/ 140 h 199"/>
                  <a:gd name="T68" fmla="*/ 188 w 208"/>
                  <a:gd name="T69" fmla="*/ 135 h 199"/>
                  <a:gd name="T70" fmla="*/ 185 w 208"/>
                  <a:gd name="T71" fmla="*/ 129 h 199"/>
                  <a:gd name="T72" fmla="*/ 186 w 208"/>
                  <a:gd name="T73" fmla="*/ 120 h 199"/>
                  <a:gd name="T74" fmla="*/ 186 w 208"/>
                  <a:gd name="T75" fmla="*/ 115 h 199"/>
                  <a:gd name="T76" fmla="*/ 186 w 208"/>
                  <a:gd name="T77" fmla="*/ 109 h 199"/>
                  <a:gd name="T78" fmla="*/ 186 w 208"/>
                  <a:gd name="T79" fmla="*/ 101 h 199"/>
                  <a:gd name="T80" fmla="*/ 184 w 208"/>
                  <a:gd name="T81" fmla="*/ 86 h 199"/>
                  <a:gd name="T82" fmla="*/ 182 w 208"/>
                  <a:gd name="T83" fmla="*/ 79 h 199"/>
                  <a:gd name="T84" fmla="*/ 183 w 208"/>
                  <a:gd name="T85" fmla="*/ 78 h 199"/>
                  <a:gd name="T86" fmla="*/ 173 w 208"/>
                  <a:gd name="T87" fmla="*/ 55 h 199"/>
                  <a:gd name="T88" fmla="*/ 170 w 208"/>
                  <a:gd name="T89" fmla="*/ 50 h 199"/>
                  <a:gd name="T90" fmla="*/ 165 w 208"/>
                  <a:gd name="T91" fmla="*/ 43 h 199"/>
                  <a:gd name="T92" fmla="*/ 170 w 208"/>
                  <a:gd name="T93" fmla="*/ 27 h 199"/>
                  <a:gd name="T94" fmla="*/ 171 w 208"/>
                  <a:gd name="T95" fmla="*/ 18 h 199"/>
                  <a:gd name="T96" fmla="*/ 170 w 208"/>
                  <a:gd name="T97" fmla="*/ 9 h 199"/>
                  <a:gd name="T98" fmla="*/ 165 w 208"/>
                  <a:gd name="T99" fmla="*/ 2 h 199"/>
                  <a:gd name="T100" fmla="*/ 151 w 208"/>
                  <a:gd name="T101" fmla="*/ 2 h 199"/>
                  <a:gd name="T102" fmla="*/ 121 w 208"/>
                  <a:gd name="T103" fmla="*/ 4 h 199"/>
                  <a:gd name="T104" fmla="*/ 107 w 208"/>
                  <a:gd name="T105" fmla="*/ 7 h 199"/>
                  <a:gd name="T106" fmla="*/ 82 w 208"/>
                  <a:gd name="T107" fmla="*/ 15 h 199"/>
                  <a:gd name="T108" fmla="*/ 66 w 208"/>
                  <a:gd name="T109" fmla="*/ 2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199">
                    <a:moveTo>
                      <a:pt x="66" y="23"/>
                    </a:moveTo>
                    <a:cubicBezTo>
                      <a:pt x="66" y="24"/>
                      <a:pt x="66" y="24"/>
                      <a:pt x="66" y="24"/>
                    </a:cubicBezTo>
                    <a:cubicBezTo>
                      <a:pt x="67" y="24"/>
                      <a:pt x="67" y="24"/>
                      <a:pt x="67" y="25"/>
                    </a:cubicBezTo>
                    <a:cubicBezTo>
                      <a:pt x="68" y="25"/>
                      <a:pt x="68" y="25"/>
                      <a:pt x="68" y="25"/>
                    </a:cubicBezTo>
                    <a:cubicBezTo>
                      <a:pt x="68" y="25"/>
                      <a:pt x="68" y="25"/>
                      <a:pt x="68" y="26"/>
                    </a:cubicBezTo>
                    <a:cubicBezTo>
                      <a:pt x="69" y="26"/>
                      <a:pt x="69" y="26"/>
                      <a:pt x="69" y="26"/>
                    </a:cubicBezTo>
                    <a:cubicBezTo>
                      <a:pt x="69" y="26"/>
                      <a:pt x="70" y="27"/>
                      <a:pt x="70" y="27"/>
                    </a:cubicBezTo>
                    <a:cubicBezTo>
                      <a:pt x="70" y="28"/>
                      <a:pt x="70" y="28"/>
                      <a:pt x="70" y="28"/>
                    </a:cubicBezTo>
                    <a:cubicBezTo>
                      <a:pt x="70" y="28"/>
                      <a:pt x="70" y="28"/>
                      <a:pt x="70" y="28"/>
                    </a:cubicBezTo>
                    <a:cubicBezTo>
                      <a:pt x="70" y="28"/>
                      <a:pt x="70" y="29"/>
                      <a:pt x="70" y="29"/>
                    </a:cubicBezTo>
                    <a:cubicBezTo>
                      <a:pt x="70" y="29"/>
                      <a:pt x="70" y="29"/>
                      <a:pt x="70" y="30"/>
                    </a:cubicBezTo>
                    <a:cubicBezTo>
                      <a:pt x="71" y="30"/>
                      <a:pt x="71" y="32"/>
                      <a:pt x="70" y="32"/>
                    </a:cubicBezTo>
                    <a:cubicBezTo>
                      <a:pt x="70" y="32"/>
                      <a:pt x="70" y="32"/>
                      <a:pt x="70" y="32"/>
                    </a:cubicBezTo>
                    <a:cubicBezTo>
                      <a:pt x="71" y="34"/>
                      <a:pt x="71" y="34"/>
                      <a:pt x="71" y="34"/>
                    </a:cubicBezTo>
                    <a:cubicBezTo>
                      <a:pt x="71" y="36"/>
                      <a:pt x="71" y="37"/>
                      <a:pt x="71" y="38"/>
                    </a:cubicBezTo>
                    <a:cubicBezTo>
                      <a:pt x="71" y="39"/>
                      <a:pt x="71" y="39"/>
                      <a:pt x="71" y="39"/>
                    </a:cubicBezTo>
                    <a:cubicBezTo>
                      <a:pt x="71" y="39"/>
                      <a:pt x="71" y="39"/>
                      <a:pt x="71" y="39"/>
                    </a:cubicBezTo>
                    <a:cubicBezTo>
                      <a:pt x="71" y="40"/>
                      <a:pt x="71" y="40"/>
                      <a:pt x="71" y="40"/>
                    </a:cubicBezTo>
                    <a:cubicBezTo>
                      <a:pt x="74" y="50"/>
                      <a:pt x="74" y="50"/>
                      <a:pt x="74" y="50"/>
                    </a:cubicBezTo>
                    <a:cubicBezTo>
                      <a:pt x="75" y="50"/>
                      <a:pt x="75" y="51"/>
                      <a:pt x="75" y="51"/>
                    </a:cubicBezTo>
                    <a:cubicBezTo>
                      <a:pt x="76" y="51"/>
                      <a:pt x="76" y="51"/>
                      <a:pt x="76" y="51"/>
                    </a:cubicBezTo>
                    <a:cubicBezTo>
                      <a:pt x="77" y="52"/>
                      <a:pt x="77" y="52"/>
                      <a:pt x="77" y="53"/>
                    </a:cubicBezTo>
                    <a:cubicBezTo>
                      <a:pt x="77" y="55"/>
                      <a:pt x="77" y="55"/>
                      <a:pt x="76" y="56"/>
                    </a:cubicBezTo>
                    <a:cubicBezTo>
                      <a:pt x="76" y="56"/>
                      <a:pt x="76" y="56"/>
                      <a:pt x="76" y="56"/>
                    </a:cubicBezTo>
                    <a:cubicBezTo>
                      <a:pt x="76" y="57"/>
                      <a:pt x="76" y="57"/>
                      <a:pt x="76" y="58"/>
                    </a:cubicBezTo>
                    <a:cubicBezTo>
                      <a:pt x="76" y="58"/>
                      <a:pt x="76" y="59"/>
                      <a:pt x="76" y="59"/>
                    </a:cubicBezTo>
                    <a:cubicBezTo>
                      <a:pt x="75" y="59"/>
                      <a:pt x="74" y="59"/>
                      <a:pt x="73" y="59"/>
                    </a:cubicBezTo>
                    <a:cubicBezTo>
                      <a:pt x="73" y="59"/>
                      <a:pt x="71" y="59"/>
                      <a:pt x="70" y="59"/>
                    </a:cubicBezTo>
                    <a:cubicBezTo>
                      <a:pt x="70" y="59"/>
                      <a:pt x="70" y="59"/>
                      <a:pt x="70" y="59"/>
                    </a:cubicBezTo>
                    <a:cubicBezTo>
                      <a:pt x="70" y="59"/>
                      <a:pt x="70" y="59"/>
                      <a:pt x="70" y="59"/>
                    </a:cubicBezTo>
                    <a:cubicBezTo>
                      <a:pt x="70" y="59"/>
                      <a:pt x="70" y="59"/>
                      <a:pt x="70" y="59"/>
                    </a:cubicBezTo>
                    <a:cubicBezTo>
                      <a:pt x="70" y="59"/>
                      <a:pt x="69" y="59"/>
                      <a:pt x="68" y="59"/>
                    </a:cubicBezTo>
                    <a:cubicBezTo>
                      <a:pt x="67" y="59"/>
                      <a:pt x="66" y="59"/>
                      <a:pt x="65" y="59"/>
                    </a:cubicBezTo>
                    <a:cubicBezTo>
                      <a:pt x="65" y="59"/>
                      <a:pt x="65" y="59"/>
                      <a:pt x="65" y="59"/>
                    </a:cubicBezTo>
                    <a:cubicBezTo>
                      <a:pt x="63" y="59"/>
                      <a:pt x="62" y="59"/>
                      <a:pt x="61" y="59"/>
                    </a:cubicBezTo>
                    <a:cubicBezTo>
                      <a:pt x="61" y="59"/>
                      <a:pt x="61" y="59"/>
                      <a:pt x="60" y="59"/>
                    </a:cubicBezTo>
                    <a:cubicBezTo>
                      <a:pt x="60" y="59"/>
                      <a:pt x="60" y="59"/>
                      <a:pt x="60" y="59"/>
                    </a:cubicBezTo>
                    <a:cubicBezTo>
                      <a:pt x="60" y="59"/>
                      <a:pt x="59" y="59"/>
                      <a:pt x="59" y="59"/>
                    </a:cubicBezTo>
                    <a:cubicBezTo>
                      <a:pt x="59" y="59"/>
                      <a:pt x="58" y="60"/>
                      <a:pt x="58" y="60"/>
                    </a:cubicBezTo>
                    <a:cubicBezTo>
                      <a:pt x="57" y="61"/>
                      <a:pt x="57" y="62"/>
                      <a:pt x="56" y="63"/>
                    </a:cubicBezTo>
                    <a:cubicBezTo>
                      <a:pt x="55" y="63"/>
                      <a:pt x="55" y="63"/>
                      <a:pt x="55" y="63"/>
                    </a:cubicBezTo>
                    <a:cubicBezTo>
                      <a:pt x="54" y="63"/>
                      <a:pt x="54" y="63"/>
                      <a:pt x="54" y="63"/>
                    </a:cubicBezTo>
                    <a:cubicBezTo>
                      <a:pt x="53" y="63"/>
                      <a:pt x="52" y="64"/>
                      <a:pt x="51" y="64"/>
                    </a:cubicBezTo>
                    <a:cubicBezTo>
                      <a:pt x="51" y="64"/>
                      <a:pt x="51" y="64"/>
                      <a:pt x="51" y="64"/>
                    </a:cubicBezTo>
                    <a:cubicBezTo>
                      <a:pt x="50" y="64"/>
                      <a:pt x="50" y="64"/>
                      <a:pt x="49" y="64"/>
                    </a:cubicBezTo>
                    <a:cubicBezTo>
                      <a:pt x="49" y="64"/>
                      <a:pt x="49" y="64"/>
                      <a:pt x="49" y="64"/>
                    </a:cubicBezTo>
                    <a:cubicBezTo>
                      <a:pt x="49" y="64"/>
                      <a:pt x="49" y="64"/>
                      <a:pt x="49" y="64"/>
                    </a:cubicBezTo>
                    <a:cubicBezTo>
                      <a:pt x="49" y="64"/>
                      <a:pt x="49" y="64"/>
                      <a:pt x="49" y="64"/>
                    </a:cubicBezTo>
                    <a:cubicBezTo>
                      <a:pt x="49" y="64"/>
                      <a:pt x="49" y="64"/>
                      <a:pt x="49" y="64"/>
                    </a:cubicBezTo>
                    <a:cubicBezTo>
                      <a:pt x="49" y="64"/>
                      <a:pt x="49" y="64"/>
                      <a:pt x="49" y="64"/>
                    </a:cubicBezTo>
                    <a:cubicBezTo>
                      <a:pt x="49" y="64"/>
                      <a:pt x="49" y="64"/>
                      <a:pt x="49" y="64"/>
                    </a:cubicBezTo>
                    <a:cubicBezTo>
                      <a:pt x="50" y="65"/>
                      <a:pt x="50" y="65"/>
                      <a:pt x="50" y="65"/>
                    </a:cubicBezTo>
                    <a:cubicBezTo>
                      <a:pt x="50" y="66"/>
                      <a:pt x="50" y="66"/>
                      <a:pt x="50" y="67"/>
                    </a:cubicBezTo>
                    <a:cubicBezTo>
                      <a:pt x="50" y="67"/>
                      <a:pt x="50" y="67"/>
                      <a:pt x="49" y="67"/>
                    </a:cubicBezTo>
                    <a:cubicBezTo>
                      <a:pt x="50" y="67"/>
                      <a:pt x="50" y="68"/>
                      <a:pt x="50" y="68"/>
                    </a:cubicBezTo>
                    <a:cubicBezTo>
                      <a:pt x="50" y="68"/>
                      <a:pt x="51" y="69"/>
                      <a:pt x="51" y="69"/>
                    </a:cubicBezTo>
                    <a:cubicBezTo>
                      <a:pt x="52" y="71"/>
                      <a:pt x="50" y="72"/>
                      <a:pt x="49" y="73"/>
                    </a:cubicBezTo>
                    <a:cubicBezTo>
                      <a:pt x="49" y="73"/>
                      <a:pt x="48" y="73"/>
                      <a:pt x="48" y="73"/>
                    </a:cubicBezTo>
                    <a:cubicBezTo>
                      <a:pt x="38" y="78"/>
                      <a:pt x="38" y="78"/>
                      <a:pt x="38" y="78"/>
                    </a:cubicBezTo>
                    <a:cubicBezTo>
                      <a:pt x="37" y="78"/>
                      <a:pt x="36" y="79"/>
                      <a:pt x="36" y="79"/>
                    </a:cubicBezTo>
                    <a:cubicBezTo>
                      <a:pt x="36" y="80"/>
                      <a:pt x="35" y="80"/>
                      <a:pt x="35" y="81"/>
                    </a:cubicBezTo>
                    <a:cubicBezTo>
                      <a:pt x="34" y="81"/>
                      <a:pt x="34" y="81"/>
                      <a:pt x="34" y="81"/>
                    </a:cubicBezTo>
                    <a:cubicBezTo>
                      <a:pt x="34" y="82"/>
                      <a:pt x="34" y="82"/>
                      <a:pt x="33" y="82"/>
                    </a:cubicBezTo>
                    <a:cubicBezTo>
                      <a:pt x="33" y="83"/>
                      <a:pt x="32" y="83"/>
                      <a:pt x="31" y="84"/>
                    </a:cubicBezTo>
                    <a:cubicBezTo>
                      <a:pt x="29" y="84"/>
                      <a:pt x="25" y="85"/>
                      <a:pt x="22" y="85"/>
                    </a:cubicBezTo>
                    <a:cubicBezTo>
                      <a:pt x="21" y="86"/>
                      <a:pt x="21" y="87"/>
                      <a:pt x="19" y="88"/>
                    </a:cubicBezTo>
                    <a:cubicBezTo>
                      <a:pt x="19" y="88"/>
                      <a:pt x="19" y="88"/>
                      <a:pt x="18" y="88"/>
                    </a:cubicBezTo>
                    <a:cubicBezTo>
                      <a:pt x="18" y="88"/>
                      <a:pt x="18" y="88"/>
                      <a:pt x="18" y="87"/>
                    </a:cubicBezTo>
                    <a:cubicBezTo>
                      <a:pt x="17" y="87"/>
                      <a:pt x="17" y="87"/>
                      <a:pt x="17" y="87"/>
                    </a:cubicBezTo>
                    <a:cubicBezTo>
                      <a:pt x="17" y="88"/>
                      <a:pt x="16" y="88"/>
                      <a:pt x="15" y="88"/>
                    </a:cubicBezTo>
                    <a:cubicBezTo>
                      <a:pt x="14" y="88"/>
                      <a:pt x="14" y="88"/>
                      <a:pt x="14" y="88"/>
                    </a:cubicBezTo>
                    <a:cubicBezTo>
                      <a:pt x="13" y="88"/>
                      <a:pt x="13" y="89"/>
                      <a:pt x="12" y="89"/>
                    </a:cubicBezTo>
                    <a:cubicBezTo>
                      <a:pt x="11" y="89"/>
                      <a:pt x="10" y="89"/>
                      <a:pt x="10" y="90"/>
                    </a:cubicBezTo>
                    <a:cubicBezTo>
                      <a:pt x="9" y="90"/>
                      <a:pt x="9" y="90"/>
                      <a:pt x="8" y="90"/>
                    </a:cubicBezTo>
                    <a:cubicBezTo>
                      <a:pt x="7" y="91"/>
                      <a:pt x="6" y="92"/>
                      <a:pt x="5" y="93"/>
                    </a:cubicBezTo>
                    <a:cubicBezTo>
                      <a:pt x="3" y="94"/>
                      <a:pt x="3" y="94"/>
                      <a:pt x="3" y="94"/>
                    </a:cubicBezTo>
                    <a:cubicBezTo>
                      <a:pt x="3" y="94"/>
                      <a:pt x="3" y="94"/>
                      <a:pt x="3" y="95"/>
                    </a:cubicBezTo>
                    <a:cubicBezTo>
                      <a:pt x="2" y="95"/>
                      <a:pt x="2" y="95"/>
                      <a:pt x="2" y="95"/>
                    </a:cubicBezTo>
                    <a:cubicBezTo>
                      <a:pt x="1" y="96"/>
                      <a:pt x="0" y="96"/>
                      <a:pt x="0" y="96"/>
                    </a:cubicBezTo>
                    <a:cubicBezTo>
                      <a:pt x="0" y="96"/>
                      <a:pt x="0" y="97"/>
                      <a:pt x="0" y="97"/>
                    </a:cubicBezTo>
                    <a:cubicBezTo>
                      <a:pt x="0" y="106"/>
                      <a:pt x="0" y="106"/>
                      <a:pt x="0" y="106"/>
                    </a:cubicBezTo>
                    <a:cubicBezTo>
                      <a:pt x="0" y="111"/>
                      <a:pt x="0" y="111"/>
                      <a:pt x="0" y="111"/>
                    </a:cubicBezTo>
                    <a:cubicBezTo>
                      <a:pt x="14" y="120"/>
                      <a:pt x="26" y="128"/>
                      <a:pt x="38" y="135"/>
                    </a:cubicBezTo>
                    <a:cubicBezTo>
                      <a:pt x="38" y="136"/>
                      <a:pt x="38" y="136"/>
                      <a:pt x="38" y="136"/>
                    </a:cubicBezTo>
                    <a:cubicBezTo>
                      <a:pt x="45" y="138"/>
                      <a:pt x="45" y="138"/>
                      <a:pt x="45" y="138"/>
                    </a:cubicBezTo>
                    <a:cubicBezTo>
                      <a:pt x="41" y="138"/>
                      <a:pt x="41" y="138"/>
                      <a:pt x="41" y="138"/>
                    </a:cubicBezTo>
                    <a:cubicBezTo>
                      <a:pt x="46" y="141"/>
                      <a:pt x="46" y="141"/>
                      <a:pt x="46" y="141"/>
                    </a:cubicBezTo>
                    <a:cubicBezTo>
                      <a:pt x="46" y="141"/>
                      <a:pt x="46" y="141"/>
                      <a:pt x="46" y="141"/>
                    </a:cubicBezTo>
                    <a:cubicBezTo>
                      <a:pt x="48" y="143"/>
                      <a:pt x="52" y="145"/>
                      <a:pt x="54" y="147"/>
                    </a:cubicBezTo>
                    <a:cubicBezTo>
                      <a:pt x="59" y="150"/>
                      <a:pt x="64" y="154"/>
                      <a:pt x="69" y="157"/>
                    </a:cubicBezTo>
                    <a:cubicBezTo>
                      <a:pt x="75" y="161"/>
                      <a:pt x="82" y="166"/>
                      <a:pt x="89" y="171"/>
                    </a:cubicBezTo>
                    <a:cubicBezTo>
                      <a:pt x="99" y="177"/>
                      <a:pt x="99" y="177"/>
                      <a:pt x="99" y="177"/>
                    </a:cubicBezTo>
                    <a:cubicBezTo>
                      <a:pt x="99" y="178"/>
                      <a:pt x="100" y="178"/>
                      <a:pt x="100" y="179"/>
                    </a:cubicBezTo>
                    <a:cubicBezTo>
                      <a:pt x="100" y="180"/>
                      <a:pt x="100" y="181"/>
                      <a:pt x="100" y="181"/>
                    </a:cubicBezTo>
                    <a:cubicBezTo>
                      <a:pt x="100" y="181"/>
                      <a:pt x="100" y="182"/>
                      <a:pt x="100" y="182"/>
                    </a:cubicBezTo>
                    <a:cubicBezTo>
                      <a:pt x="100" y="182"/>
                      <a:pt x="101" y="182"/>
                      <a:pt x="101" y="182"/>
                    </a:cubicBezTo>
                    <a:cubicBezTo>
                      <a:pt x="101" y="182"/>
                      <a:pt x="101" y="182"/>
                      <a:pt x="101" y="182"/>
                    </a:cubicBezTo>
                    <a:cubicBezTo>
                      <a:pt x="102" y="182"/>
                      <a:pt x="102" y="182"/>
                      <a:pt x="102" y="182"/>
                    </a:cubicBezTo>
                    <a:cubicBezTo>
                      <a:pt x="104" y="183"/>
                      <a:pt x="104" y="183"/>
                      <a:pt x="105" y="184"/>
                    </a:cubicBezTo>
                    <a:cubicBezTo>
                      <a:pt x="105" y="185"/>
                      <a:pt x="105" y="185"/>
                      <a:pt x="105" y="185"/>
                    </a:cubicBezTo>
                    <a:cubicBezTo>
                      <a:pt x="105" y="186"/>
                      <a:pt x="106" y="186"/>
                      <a:pt x="108" y="187"/>
                    </a:cubicBezTo>
                    <a:cubicBezTo>
                      <a:pt x="109" y="187"/>
                      <a:pt x="109" y="187"/>
                      <a:pt x="109" y="187"/>
                    </a:cubicBezTo>
                    <a:cubicBezTo>
                      <a:pt x="109" y="187"/>
                      <a:pt x="109" y="186"/>
                      <a:pt x="109" y="186"/>
                    </a:cubicBezTo>
                    <a:cubicBezTo>
                      <a:pt x="109" y="186"/>
                      <a:pt x="109" y="186"/>
                      <a:pt x="110" y="186"/>
                    </a:cubicBezTo>
                    <a:cubicBezTo>
                      <a:pt x="110" y="186"/>
                      <a:pt x="110" y="186"/>
                      <a:pt x="111" y="187"/>
                    </a:cubicBezTo>
                    <a:cubicBezTo>
                      <a:pt x="111" y="187"/>
                      <a:pt x="111" y="187"/>
                      <a:pt x="111" y="187"/>
                    </a:cubicBezTo>
                    <a:cubicBezTo>
                      <a:pt x="112" y="187"/>
                      <a:pt x="112" y="187"/>
                      <a:pt x="112" y="187"/>
                    </a:cubicBezTo>
                    <a:cubicBezTo>
                      <a:pt x="113" y="188"/>
                      <a:pt x="114" y="189"/>
                      <a:pt x="116" y="189"/>
                    </a:cubicBezTo>
                    <a:cubicBezTo>
                      <a:pt x="116" y="189"/>
                      <a:pt x="116" y="189"/>
                      <a:pt x="116" y="189"/>
                    </a:cubicBezTo>
                    <a:cubicBezTo>
                      <a:pt x="116" y="190"/>
                      <a:pt x="116" y="190"/>
                      <a:pt x="116" y="190"/>
                    </a:cubicBezTo>
                    <a:cubicBezTo>
                      <a:pt x="117" y="190"/>
                      <a:pt x="118" y="190"/>
                      <a:pt x="118" y="190"/>
                    </a:cubicBezTo>
                    <a:cubicBezTo>
                      <a:pt x="118" y="190"/>
                      <a:pt x="118" y="190"/>
                      <a:pt x="119" y="190"/>
                    </a:cubicBezTo>
                    <a:cubicBezTo>
                      <a:pt x="119" y="190"/>
                      <a:pt x="119" y="190"/>
                      <a:pt x="119" y="191"/>
                    </a:cubicBezTo>
                    <a:cubicBezTo>
                      <a:pt x="120" y="191"/>
                      <a:pt x="120" y="191"/>
                      <a:pt x="120" y="191"/>
                    </a:cubicBezTo>
                    <a:cubicBezTo>
                      <a:pt x="121" y="192"/>
                      <a:pt x="121" y="192"/>
                      <a:pt x="121" y="193"/>
                    </a:cubicBezTo>
                    <a:cubicBezTo>
                      <a:pt x="121" y="193"/>
                      <a:pt x="121" y="193"/>
                      <a:pt x="121" y="194"/>
                    </a:cubicBezTo>
                    <a:cubicBezTo>
                      <a:pt x="121" y="194"/>
                      <a:pt x="121" y="194"/>
                      <a:pt x="121" y="194"/>
                    </a:cubicBezTo>
                    <a:cubicBezTo>
                      <a:pt x="121" y="195"/>
                      <a:pt x="121" y="195"/>
                      <a:pt x="121" y="195"/>
                    </a:cubicBezTo>
                    <a:cubicBezTo>
                      <a:pt x="121" y="195"/>
                      <a:pt x="121" y="195"/>
                      <a:pt x="121" y="195"/>
                    </a:cubicBezTo>
                    <a:cubicBezTo>
                      <a:pt x="121" y="196"/>
                      <a:pt x="121" y="196"/>
                      <a:pt x="121" y="196"/>
                    </a:cubicBezTo>
                    <a:cubicBezTo>
                      <a:pt x="121" y="197"/>
                      <a:pt x="121" y="197"/>
                      <a:pt x="121" y="198"/>
                    </a:cubicBezTo>
                    <a:cubicBezTo>
                      <a:pt x="121" y="198"/>
                      <a:pt x="121" y="198"/>
                      <a:pt x="121" y="198"/>
                    </a:cubicBezTo>
                    <a:cubicBezTo>
                      <a:pt x="121" y="198"/>
                      <a:pt x="121" y="198"/>
                      <a:pt x="121" y="198"/>
                    </a:cubicBezTo>
                    <a:cubicBezTo>
                      <a:pt x="120" y="199"/>
                      <a:pt x="120" y="199"/>
                      <a:pt x="120" y="199"/>
                    </a:cubicBezTo>
                    <a:cubicBezTo>
                      <a:pt x="121" y="199"/>
                      <a:pt x="121" y="199"/>
                      <a:pt x="122" y="199"/>
                    </a:cubicBezTo>
                    <a:cubicBezTo>
                      <a:pt x="122" y="199"/>
                      <a:pt x="122" y="199"/>
                      <a:pt x="123" y="199"/>
                    </a:cubicBezTo>
                    <a:cubicBezTo>
                      <a:pt x="123" y="199"/>
                      <a:pt x="123" y="199"/>
                      <a:pt x="123" y="199"/>
                    </a:cubicBezTo>
                    <a:cubicBezTo>
                      <a:pt x="123" y="199"/>
                      <a:pt x="124" y="199"/>
                      <a:pt x="124" y="199"/>
                    </a:cubicBezTo>
                    <a:cubicBezTo>
                      <a:pt x="124" y="199"/>
                      <a:pt x="124" y="199"/>
                      <a:pt x="124" y="199"/>
                    </a:cubicBezTo>
                    <a:cubicBezTo>
                      <a:pt x="124" y="199"/>
                      <a:pt x="125" y="199"/>
                      <a:pt x="125" y="199"/>
                    </a:cubicBezTo>
                    <a:cubicBezTo>
                      <a:pt x="125" y="199"/>
                      <a:pt x="126" y="199"/>
                      <a:pt x="126" y="199"/>
                    </a:cubicBezTo>
                    <a:cubicBezTo>
                      <a:pt x="129" y="198"/>
                      <a:pt x="129" y="198"/>
                      <a:pt x="129" y="198"/>
                    </a:cubicBezTo>
                    <a:cubicBezTo>
                      <a:pt x="129" y="198"/>
                      <a:pt x="129" y="198"/>
                      <a:pt x="129" y="198"/>
                    </a:cubicBezTo>
                    <a:cubicBezTo>
                      <a:pt x="129" y="198"/>
                      <a:pt x="129" y="198"/>
                      <a:pt x="129" y="198"/>
                    </a:cubicBezTo>
                    <a:cubicBezTo>
                      <a:pt x="129" y="198"/>
                      <a:pt x="129" y="198"/>
                      <a:pt x="129" y="198"/>
                    </a:cubicBezTo>
                    <a:cubicBezTo>
                      <a:pt x="130" y="198"/>
                      <a:pt x="130" y="198"/>
                      <a:pt x="130" y="198"/>
                    </a:cubicBezTo>
                    <a:cubicBezTo>
                      <a:pt x="139" y="196"/>
                      <a:pt x="139" y="196"/>
                      <a:pt x="139" y="196"/>
                    </a:cubicBezTo>
                    <a:cubicBezTo>
                      <a:pt x="140" y="196"/>
                      <a:pt x="140" y="196"/>
                      <a:pt x="141" y="196"/>
                    </a:cubicBezTo>
                    <a:cubicBezTo>
                      <a:pt x="141" y="196"/>
                      <a:pt x="141" y="196"/>
                      <a:pt x="141" y="196"/>
                    </a:cubicBezTo>
                    <a:cubicBezTo>
                      <a:pt x="143" y="196"/>
                      <a:pt x="145" y="196"/>
                      <a:pt x="146" y="195"/>
                    </a:cubicBezTo>
                    <a:cubicBezTo>
                      <a:pt x="146" y="195"/>
                      <a:pt x="146" y="194"/>
                      <a:pt x="147" y="194"/>
                    </a:cubicBezTo>
                    <a:cubicBezTo>
                      <a:pt x="147" y="194"/>
                      <a:pt x="147" y="194"/>
                      <a:pt x="147" y="194"/>
                    </a:cubicBezTo>
                    <a:cubicBezTo>
                      <a:pt x="148" y="193"/>
                      <a:pt x="149" y="192"/>
                      <a:pt x="150" y="192"/>
                    </a:cubicBezTo>
                    <a:cubicBezTo>
                      <a:pt x="155" y="186"/>
                      <a:pt x="155" y="186"/>
                      <a:pt x="155" y="186"/>
                    </a:cubicBezTo>
                    <a:cubicBezTo>
                      <a:pt x="157" y="185"/>
                      <a:pt x="158" y="184"/>
                      <a:pt x="159" y="183"/>
                    </a:cubicBezTo>
                    <a:cubicBezTo>
                      <a:pt x="162" y="181"/>
                      <a:pt x="164" y="179"/>
                      <a:pt x="166" y="178"/>
                    </a:cubicBezTo>
                    <a:cubicBezTo>
                      <a:pt x="208" y="152"/>
                      <a:pt x="208" y="152"/>
                      <a:pt x="208" y="152"/>
                    </a:cubicBezTo>
                    <a:cubicBezTo>
                      <a:pt x="207" y="152"/>
                      <a:pt x="207" y="152"/>
                      <a:pt x="207" y="151"/>
                    </a:cubicBezTo>
                    <a:cubicBezTo>
                      <a:pt x="207" y="151"/>
                      <a:pt x="207" y="151"/>
                      <a:pt x="207" y="151"/>
                    </a:cubicBezTo>
                    <a:cubicBezTo>
                      <a:pt x="207" y="151"/>
                      <a:pt x="206" y="150"/>
                      <a:pt x="206" y="150"/>
                    </a:cubicBezTo>
                    <a:cubicBezTo>
                      <a:pt x="206" y="149"/>
                      <a:pt x="205" y="148"/>
                      <a:pt x="205" y="147"/>
                    </a:cubicBezTo>
                    <a:cubicBezTo>
                      <a:pt x="205" y="147"/>
                      <a:pt x="205" y="147"/>
                      <a:pt x="204" y="147"/>
                    </a:cubicBezTo>
                    <a:cubicBezTo>
                      <a:pt x="204" y="146"/>
                      <a:pt x="203" y="145"/>
                      <a:pt x="203" y="145"/>
                    </a:cubicBezTo>
                    <a:cubicBezTo>
                      <a:pt x="201" y="144"/>
                      <a:pt x="201" y="144"/>
                      <a:pt x="201" y="144"/>
                    </a:cubicBezTo>
                    <a:cubicBezTo>
                      <a:pt x="200" y="144"/>
                      <a:pt x="199" y="144"/>
                      <a:pt x="198" y="143"/>
                    </a:cubicBezTo>
                    <a:cubicBezTo>
                      <a:pt x="197" y="143"/>
                      <a:pt x="197" y="143"/>
                      <a:pt x="196" y="143"/>
                    </a:cubicBezTo>
                    <a:cubicBezTo>
                      <a:pt x="196" y="143"/>
                      <a:pt x="196" y="143"/>
                      <a:pt x="196" y="143"/>
                    </a:cubicBezTo>
                    <a:cubicBezTo>
                      <a:pt x="196" y="143"/>
                      <a:pt x="196" y="143"/>
                      <a:pt x="196" y="143"/>
                    </a:cubicBezTo>
                    <a:cubicBezTo>
                      <a:pt x="196" y="143"/>
                      <a:pt x="196" y="143"/>
                      <a:pt x="195" y="143"/>
                    </a:cubicBezTo>
                    <a:cubicBezTo>
                      <a:pt x="195" y="143"/>
                      <a:pt x="195" y="143"/>
                      <a:pt x="195" y="143"/>
                    </a:cubicBezTo>
                    <a:cubicBezTo>
                      <a:pt x="195" y="143"/>
                      <a:pt x="195" y="143"/>
                      <a:pt x="194" y="143"/>
                    </a:cubicBezTo>
                    <a:cubicBezTo>
                      <a:pt x="195" y="146"/>
                      <a:pt x="195" y="146"/>
                      <a:pt x="195" y="146"/>
                    </a:cubicBezTo>
                    <a:cubicBezTo>
                      <a:pt x="194" y="143"/>
                      <a:pt x="194" y="143"/>
                      <a:pt x="194" y="143"/>
                    </a:cubicBezTo>
                    <a:cubicBezTo>
                      <a:pt x="194" y="143"/>
                      <a:pt x="194" y="143"/>
                      <a:pt x="193" y="143"/>
                    </a:cubicBezTo>
                    <a:cubicBezTo>
                      <a:pt x="193" y="143"/>
                      <a:pt x="193" y="143"/>
                      <a:pt x="193" y="143"/>
                    </a:cubicBezTo>
                    <a:cubicBezTo>
                      <a:pt x="193" y="143"/>
                      <a:pt x="193" y="143"/>
                      <a:pt x="193" y="143"/>
                    </a:cubicBezTo>
                    <a:cubicBezTo>
                      <a:pt x="192" y="143"/>
                      <a:pt x="192" y="143"/>
                      <a:pt x="191" y="142"/>
                    </a:cubicBezTo>
                    <a:cubicBezTo>
                      <a:pt x="191" y="142"/>
                      <a:pt x="191" y="142"/>
                      <a:pt x="191" y="142"/>
                    </a:cubicBezTo>
                    <a:cubicBezTo>
                      <a:pt x="191" y="142"/>
                      <a:pt x="191" y="142"/>
                      <a:pt x="191" y="142"/>
                    </a:cubicBezTo>
                    <a:cubicBezTo>
                      <a:pt x="190" y="141"/>
                      <a:pt x="190" y="140"/>
                      <a:pt x="189" y="140"/>
                    </a:cubicBezTo>
                    <a:cubicBezTo>
                      <a:pt x="189" y="139"/>
                      <a:pt x="189" y="139"/>
                      <a:pt x="189" y="139"/>
                    </a:cubicBezTo>
                    <a:cubicBezTo>
                      <a:pt x="189" y="139"/>
                      <a:pt x="189" y="139"/>
                      <a:pt x="189" y="138"/>
                    </a:cubicBezTo>
                    <a:cubicBezTo>
                      <a:pt x="188" y="138"/>
                      <a:pt x="188" y="138"/>
                      <a:pt x="188" y="138"/>
                    </a:cubicBezTo>
                    <a:cubicBezTo>
                      <a:pt x="188" y="138"/>
                      <a:pt x="188" y="138"/>
                      <a:pt x="188" y="138"/>
                    </a:cubicBezTo>
                    <a:cubicBezTo>
                      <a:pt x="188" y="137"/>
                      <a:pt x="188" y="136"/>
                      <a:pt x="188" y="135"/>
                    </a:cubicBezTo>
                    <a:cubicBezTo>
                      <a:pt x="188" y="134"/>
                      <a:pt x="187" y="133"/>
                      <a:pt x="187" y="132"/>
                    </a:cubicBezTo>
                    <a:cubicBezTo>
                      <a:pt x="187" y="131"/>
                      <a:pt x="186" y="131"/>
                      <a:pt x="186" y="130"/>
                    </a:cubicBezTo>
                    <a:cubicBezTo>
                      <a:pt x="186" y="130"/>
                      <a:pt x="186" y="130"/>
                      <a:pt x="186" y="130"/>
                    </a:cubicBezTo>
                    <a:cubicBezTo>
                      <a:pt x="186" y="130"/>
                      <a:pt x="186" y="130"/>
                      <a:pt x="185" y="130"/>
                    </a:cubicBezTo>
                    <a:cubicBezTo>
                      <a:pt x="185" y="129"/>
                      <a:pt x="185" y="129"/>
                      <a:pt x="185" y="129"/>
                    </a:cubicBezTo>
                    <a:cubicBezTo>
                      <a:pt x="185" y="129"/>
                      <a:pt x="185" y="129"/>
                      <a:pt x="185" y="129"/>
                    </a:cubicBezTo>
                    <a:cubicBezTo>
                      <a:pt x="183" y="127"/>
                      <a:pt x="182" y="126"/>
                      <a:pt x="182" y="124"/>
                    </a:cubicBezTo>
                    <a:cubicBezTo>
                      <a:pt x="182" y="123"/>
                      <a:pt x="182" y="122"/>
                      <a:pt x="183" y="121"/>
                    </a:cubicBezTo>
                    <a:cubicBezTo>
                      <a:pt x="184" y="121"/>
                      <a:pt x="184" y="121"/>
                      <a:pt x="184" y="120"/>
                    </a:cubicBezTo>
                    <a:cubicBezTo>
                      <a:pt x="185" y="120"/>
                      <a:pt x="185" y="120"/>
                      <a:pt x="186" y="120"/>
                    </a:cubicBezTo>
                    <a:cubicBezTo>
                      <a:pt x="186" y="120"/>
                      <a:pt x="186" y="120"/>
                      <a:pt x="186" y="120"/>
                    </a:cubicBezTo>
                    <a:cubicBezTo>
                      <a:pt x="186" y="120"/>
                      <a:pt x="186" y="119"/>
                      <a:pt x="186" y="119"/>
                    </a:cubicBezTo>
                    <a:cubicBezTo>
                      <a:pt x="186" y="119"/>
                      <a:pt x="186" y="119"/>
                      <a:pt x="186" y="119"/>
                    </a:cubicBezTo>
                    <a:cubicBezTo>
                      <a:pt x="186" y="119"/>
                      <a:pt x="186" y="119"/>
                      <a:pt x="186" y="119"/>
                    </a:cubicBezTo>
                    <a:cubicBezTo>
                      <a:pt x="186" y="117"/>
                      <a:pt x="186" y="116"/>
                      <a:pt x="186" y="115"/>
                    </a:cubicBezTo>
                    <a:cubicBezTo>
                      <a:pt x="186" y="115"/>
                      <a:pt x="186" y="115"/>
                      <a:pt x="186" y="115"/>
                    </a:cubicBezTo>
                    <a:cubicBezTo>
                      <a:pt x="186" y="114"/>
                      <a:pt x="186" y="114"/>
                      <a:pt x="186" y="114"/>
                    </a:cubicBezTo>
                    <a:cubicBezTo>
                      <a:pt x="186" y="114"/>
                      <a:pt x="186" y="113"/>
                      <a:pt x="186" y="113"/>
                    </a:cubicBezTo>
                    <a:cubicBezTo>
                      <a:pt x="185" y="113"/>
                      <a:pt x="185" y="112"/>
                      <a:pt x="185" y="112"/>
                    </a:cubicBezTo>
                    <a:cubicBezTo>
                      <a:pt x="185" y="111"/>
                      <a:pt x="186" y="110"/>
                      <a:pt x="186" y="109"/>
                    </a:cubicBezTo>
                    <a:cubicBezTo>
                      <a:pt x="186" y="109"/>
                      <a:pt x="186" y="108"/>
                      <a:pt x="186" y="108"/>
                    </a:cubicBezTo>
                    <a:cubicBezTo>
                      <a:pt x="186" y="108"/>
                      <a:pt x="186" y="108"/>
                      <a:pt x="187" y="107"/>
                    </a:cubicBezTo>
                    <a:cubicBezTo>
                      <a:pt x="187" y="106"/>
                      <a:pt x="187" y="106"/>
                      <a:pt x="187" y="105"/>
                    </a:cubicBezTo>
                    <a:cubicBezTo>
                      <a:pt x="187" y="104"/>
                      <a:pt x="187" y="104"/>
                      <a:pt x="187" y="104"/>
                    </a:cubicBezTo>
                    <a:cubicBezTo>
                      <a:pt x="186" y="103"/>
                      <a:pt x="186" y="102"/>
                      <a:pt x="186" y="101"/>
                    </a:cubicBezTo>
                    <a:cubicBezTo>
                      <a:pt x="186" y="100"/>
                      <a:pt x="186" y="98"/>
                      <a:pt x="186" y="96"/>
                    </a:cubicBezTo>
                    <a:cubicBezTo>
                      <a:pt x="186" y="96"/>
                      <a:pt x="186" y="96"/>
                      <a:pt x="186" y="96"/>
                    </a:cubicBezTo>
                    <a:cubicBezTo>
                      <a:pt x="186" y="96"/>
                      <a:pt x="186" y="95"/>
                      <a:pt x="186" y="95"/>
                    </a:cubicBezTo>
                    <a:cubicBezTo>
                      <a:pt x="186" y="92"/>
                      <a:pt x="186" y="89"/>
                      <a:pt x="185" y="87"/>
                    </a:cubicBezTo>
                    <a:cubicBezTo>
                      <a:pt x="185" y="87"/>
                      <a:pt x="184" y="87"/>
                      <a:pt x="184" y="86"/>
                    </a:cubicBezTo>
                    <a:cubicBezTo>
                      <a:pt x="183" y="84"/>
                      <a:pt x="181" y="82"/>
                      <a:pt x="181" y="81"/>
                    </a:cubicBezTo>
                    <a:cubicBezTo>
                      <a:pt x="181" y="81"/>
                      <a:pt x="181" y="80"/>
                      <a:pt x="181" y="80"/>
                    </a:cubicBezTo>
                    <a:cubicBezTo>
                      <a:pt x="181" y="80"/>
                      <a:pt x="181" y="80"/>
                      <a:pt x="181" y="80"/>
                    </a:cubicBezTo>
                    <a:cubicBezTo>
                      <a:pt x="182" y="79"/>
                      <a:pt x="182" y="79"/>
                      <a:pt x="182" y="79"/>
                    </a:cubicBezTo>
                    <a:cubicBezTo>
                      <a:pt x="182" y="79"/>
                      <a:pt x="182" y="79"/>
                      <a:pt x="182" y="79"/>
                    </a:cubicBezTo>
                    <a:cubicBezTo>
                      <a:pt x="183" y="79"/>
                      <a:pt x="183" y="79"/>
                      <a:pt x="183" y="79"/>
                    </a:cubicBezTo>
                    <a:cubicBezTo>
                      <a:pt x="182" y="79"/>
                      <a:pt x="182" y="79"/>
                      <a:pt x="182" y="79"/>
                    </a:cubicBezTo>
                    <a:cubicBezTo>
                      <a:pt x="183" y="79"/>
                      <a:pt x="183" y="79"/>
                      <a:pt x="183" y="78"/>
                    </a:cubicBezTo>
                    <a:cubicBezTo>
                      <a:pt x="183" y="78"/>
                      <a:pt x="183" y="78"/>
                      <a:pt x="183" y="78"/>
                    </a:cubicBezTo>
                    <a:cubicBezTo>
                      <a:pt x="183" y="78"/>
                      <a:pt x="183" y="78"/>
                      <a:pt x="183" y="78"/>
                    </a:cubicBezTo>
                    <a:cubicBezTo>
                      <a:pt x="179" y="60"/>
                      <a:pt x="179" y="60"/>
                      <a:pt x="179" y="60"/>
                    </a:cubicBezTo>
                    <a:cubicBezTo>
                      <a:pt x="179" y="60"/>
                      <a:pt x="178" y="60"/>
                      <a:pt x="178" y="59"/>
                    </a:cubicBezTo>
                    <a:cubicBezTo>
                      <a:pt x="178" y="59"/>
                      <a:pt x="177" y="59"/>
                      <a:pt x="177" y="58"/>
                    </a:cubicBezTo>
                    <a:cubicBezTo>
                      <a:pt x="176" y="58"/>
                      <a:pt x="176" y="58"/>
                      <a:pt x="176" y="58"/>
                    </a:cubicBezTo>
                    <a:cubicBezTo>
                      <a:pt x="173" y="55"/>
                      <a:pt x="173" y="55"/>
                      <a:pt x="173" y="55"/>
                    </a:cubicBezTo>
                    <a:cubicBezTo>
                      <a:pt x="172" y="55"/>
                      <a:pt x="172" y="55"/>
                      <a:pt x="172" y="55"/>
                    </a:cubicBezTo>
                    <a:cubicBezTo>
                      <a:pt x="172" y="54"/>
                      <a:pt x="172" y="54"/>
                      <a:pt x="172" y="54"/>
                    </a:cubicBezTo>
                    <a:cubicBezTo>
                      <a:pt x="171" y="53"/>
                      <a:pt x="171" y="52"/>
                      <a:pt x="171" y="51"/>
                    </a:cubicBezTo>
                    <a:cubicBezTo>
                      <a:pt x="171" y="51"/>
                      <a:pt x="171" y="51"/>
                      <a:pt x="171" y="51"/>
                    </a:cubicBezTo>
                    <a:cubicBezTo>
                      <a:pt x="171" y="50"/>
                      <a:pt x="170" y="50"/>
                      <a:pt x="170" y="50"/>
                    </a:cubicBezTo>
                    <a:cubicBezTo>
                      <a:pt x="170" y="50"/>
                      <a:pt x="170" y="50"/>
                      <a:pt x="170" y="50"/>
                    </a:cubicBezTo>
                    <a:cubicBezTo>
                      <a:pt x="170" y="49"/>
                      <a:pt x="170" y="49"/>
                      <a:pt x="170" y="49"/>
                    </a:cubicBezTo>
                    <a:cubicBezTo>
                      <a:pt x="170" y="49"/>
                      <a:pt x="170" y="49"/>
                      <a:pt x="170" y="49"/>
                    </a:cubicBezTo>
                    <a:cubicBezTo>
                      <a:pt x="169" y="48"/>
                      <a:pt x="168" y="47"/>
                      <a:pt x="168" y="47"/>
                    </a:cubicBezTo>
                    <a:cubicBezTo>
                      <a:pt x="166" y="46"/>
                      <a:pt x="165" y="45"/>
                      <a:pt x="165" y="43"/>
                    </a:cubicBezTo>
                    <a:cubicBezTo>
                      <a:pt x="164" y="42"/>
                      <a:pt x="163" y="40"/>
                      <a:pt x="162" y="38"/>
                    </a:cubicBezTo>
                    <a:cubicBezTo>
                      <a:pt x="162" y="36"/>
                      <a:pt x="163" y="34"/>
                      <a:pt x="163" y="34"/>
                    </a:cubicBezTo>
                    <a:cubicBezTo>
                      <a:pt x="164" y="33"/>
                      <a:pt x="164" y="33"/>
                      <a:pt x="164" y="33"/>
                    </a:cubicBezTo>
                    <a:cubicBezTo>
                      <a:pt x="165" y="33"/>
                      <a:pt x="165" y="32"/>
                      <a:pt x="167" y="31"/>
                    </a:cubicBezTo>
                    <a:cubicBezTo>
                      <a:pt x="168" y="30"/>
                      <a:pt x="169" y="29"/>
                      <a:pt x="170" y="27"/>
                    </a:cubicBezTo>
                    <a:cubicBezTo>
                      <a:pt x="171" y="26"/>
                      <a:pt x="171" y="24"/>
                      <a:pt x="172" y="22"/>
                    </a:cubicBezTo>
                    <a:cubicBezTo>
                      <a:pt x="172" y="22"/>
                      <a:pt x="172" y="22"/>
                      <a:pt x="172" y="21"/>
                    </a:cubicBezTo>
                    <a:cubicBezTo>
                      <a:pt x="172" y="21"/>
                      <a:pt x="172" y="21"/>
                      <a:pt x="172" y="21"/>
                    </a:cubicBezTo>
                    <a:cubicBezTo>
                      <a:pt x="171" y="21"/>
                      <a:pt x="171" y="20"/>
                      <a:pt x="171" y="20"/>
                    </a:cubicBezTo>
                    <a:cubicBezTo>
                      <a:pt x="171" y="18"/>
                      <a:pt x="171" y="18"/>
                      <a:pt x="171" y="18"/>
                    </a:cubicBezTo>
                    <a:cubicBezTo>
                      <a:pt x="171" y="18"/>
                      <a:pt x="171" y="18"/>
                      <a:pt x="171" y="18"/>
                    </a:cubicBezTo>
                    <a:cubicBezTo>
                      <a:pt x="171" y="17"/>
                      <a:pt x="171" y="17"/>
                      <a:pt x="171" y="17"/>
                    </a:cubicBezTo>
                    <a:cubicBezTo>
                      <a:pt x="170" y="16"/>
                      <a:pt x="170" y="14"/>
                      <a:pt x="170" y="13"/>
                    </a:cubicBezTo>
                    <a:cubicBezTo>
                      <a:pt x="171" y="10"/>
                      <a:pt x="171" y="10"/>
                      <a:pt x="171" y="10"/>
                    </a:cubicBezTo>
                    <a:cubicBezTo>
                      <a:pt x="171" y="9"/>
                      <a:pt x="171" y="9"/>
                      <a:pt x="170" y="9"/>
                    </a:cubicBezTo>
                    <a:cubicBezTo>
                      <a:pt x="169" y="7"/>
                      <a:pt x="169" y="7"/>
                      <a:pt x="169" y="7"/>
                    </a:cubicBezTo>
                    <a:cubicBezTo>
                      <a:pt x="173" y="2"/>
                      <a:pt x="173" y="2"/>
                      <a:pt x="173" y="2"/>
                    </a:cubicBezTo>
                    <a:cubicBezTo>
                      <a:pt x="172" y="2"/>
                      <a:pt x="170" y="2"/>
                      <a:pt x="169" y="3"/>
                    </a:cubicBezTo>
                    <a:cubicBezTo>
                      <a:pt x="168" y="3"/>
                      <a:pt x="167" y="3"/>
                      <a:pt x="166" y="3"/>
                    </a:cubicBezTo>
                    <a:cubicBezTo>
                      <a:pt x="166" y="2"/>
                      <a:pt x="166" y="2"/>
                      <a:pt x="165" y="2"/>
                    </a:cubicBezTo>
                    <a:cubicBezTo>
                      <a:pt x="163" y="1"/>
                      <a:pt x="162" y="0"/>
                      <a:pt x="160" y="1"/>
                    </a:cubicBezTo>
                    <a:cubicBezTo>
                      <a:pt x="159" y="2"/>
                      <a:pt x="158" y="3"/>
                      <a:pt x="157" y="3"/>
                    </a:cubicBezTo>
                    <a:cubicBezTo>
                      <a:pt x="157" y="3"/>
                      <a:pt x="157" y="2"/>
                      <a:pt x="156" y="2"/>
                    </a:cubicBezTo>
                    <a:cubicBezTo>
                      <a:pt x="156" y="2"/>
                      <a:pt x="155" y="2"/>
                      <a:pt x="155" y="2"/>
                    </a:cubicBezTo>
                    <a:cubicBezTo>
                      <a:pt x="152" y="1"/>
                      <a:pt x="152" y="0"/>
                      <a:pt x="151" y="2"/>
                    </a:cubicBezTo>
                    <a:cubicBezTo>
                      <a:pt x="148" y="3"/>
                      <a:pt x="145" y="4"/>
                      <a:pt x="142" y="5"/>
                    </a:cubicBezTo>
                    <a:cubicBezTo>
                      <a:pt x="142" y="6"/>
                      <a:pt x="140" y="5"/>
                      <a:pt x="139" y="4"/>
                    </a:cubicBezTo>
                    <a:cubicBezTo>
                      <a:pt x="137" y="4"/>
                      <a:pt x="136" y="3"/>
                      <a:pt x="134" y="3"/>
                    </a:cubicBezTo>
                    <a:cubicBezTo>
                      <a:pt x="132" y="2"/>
                      <a:pt x="129" y="3"/>
                      <a:pt x="127" y="3"/>
                    </a:cubicBezTo>
                    <a:cubicBezTo>
                      <a:pt x="125" y="3"/>
                      <a:pt x="123" y="4"/>
                      <a:pt x="121" y="4"/>
                    </a:cubicBezTo>
                    <a:cubicBezTo>
                      <a:pt x="119" y="4"/>
                      <a:pt x="119" y="4"/>
                      <a:pt x="119" y="4"/>
                    </a:cubicBezTo>
                    <a:cubicBezTo>
                      <a:pt x="117" y="4"/>
                      <a:pt x="117" y="4"/>
                      <a:pt x="117" y="4"/>
                    </a:cubicBezTo>
                    <a:cubicBezTo>
                      <a:pt x="115" y="5"/>
                      <a:pt x="115" y="5"/>
                      <a:pt x="115" y="5"/>
                    </a:cubicBezTo>
                    <a:cubicBezTo>
                      <a:pt x="114" y="5"/>
                      <a:pt x="113" y="6"/>
                      <a:pt x="113" y="6"/>
                    </a:cubicBezTo>
                    <a:cubicBezTo>
                      <a:pt x="111" y="7"/>
                      <a:pt x="109" y="6"/>
                      <a:pt x="107" y="7"/>
                    </a:cubicBezTo>
                    <a:cubicBezTo>
                      <a:pt x="104" y="7"/>
                      <a:pt x="101" y="8"/>
                      <a:pt x="98" y="8"/>
                    </a:cubicBezTo>
                    <a:cubicBezTo>
                      <a:pt x="95" y="9"/>
                      <a:pt x="92" y="10"/>
                      <a:pt x="90" y="11"/>
                    </a:cubicBezTo>
                    <a:cubicBezTo>
                      <a:pt x="89" y="12"/>
                      <a:pt x="88" y="14"/>
                      <a:pt x="86" y="15"/>
                    </a:cubicBezTo>
                    <a:cubicBezTo>
                      <a:pt x="85" y="16"/>
                      <a:pt x="85" y="15"/>
                      <a:pt x="83" y="14"/>
                    </a:cubicBezTo>
                    <a:cubicBezTo>
                      <a:pt x="82" y="14"/>
                      <a:pt x="82" y="15"/>
                      <a:pt x="82" y="15"/>
                    </a:cubicBezTo>
                    <a:cubicBezTo>
                      <a:pt x="81" y="15"/>
                      <a:pt x="80" y="16"/>
                      <a:pt x="79" y="16"/>
                    </a:cubicBezTo>
                    <a:cubicBezTo>
                      <a:pt x="78" y="16"/>
                      <a:pt x="76" y="17"/>
                      <a:pt x="76" y="18"/>
                    </a:cubicBezTo>
                    <a:cubicBezTo>
                      <a:pt x="75" y="18"/>
                      <a:pt x="74" y="20"/>
                      <a:pt x="73" y="21"/>
                    </a:cubicBezTo>
                    <a:cubicBezTo>
                      <a:pt x="72" y="22"/>
                      <a:pt x="70" y="22"/>
                      <a:pt x="68" y="22"/>
                    </a:cubicBezTo>
                    <a:cubicBezTo>
                      <a:pt x="68" y="23"/>
                      <a:pt x="67" y="23"/>
                      <a:pt x="66" y="23"/>
                    </a:cubicBezTo>
                    <a:cubicBezTo>
                      <a:pt x="66" y="23"/>
                      <a:pt x="66" y="23"/>
                      <a:pt x="6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9" name="Freeform 2950">
                <a:extLst>
                  <a:ext uri="{FF2B5EF4-FFF2-40B4-BE49-F238E27FC236}">
                    <a16:creationId xmlns:a16="http://schemas.microsoft.com/office/drawing/2014/main" id="{9D57E2D9-350D-42DD-A009-51997B09F6AB}"/>
                  </a:ext>
                </a:extLst>
              </p:cNvPr>
              <p:cNvSpPr>
                <a:spLocks/>
              </p:cNvSpPr>
              <p:nvPr/>
            </p:nvSpPr>
            <p:spPr bwMode="auto">
              <a:xfrm>
                <a:off x="2128" y="27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0" name="Freeform 2951">
                <a:extLst>
                  <a:ext uri="{FF2B5EF4-FFF2-40B4-BE49-F238E27FC236}">
                    <a16:creationId xmlns:a16="http://schemas.microsoft.com/office/drawing/2014/main" id="{408BF4F7-2F53-45EE-A366-5504C4C98A8E}"/>
                  </a:ext>
                </a:extLst>
              </p:cNvPr>
              <p:cNvSpPr>
                <a:spLocks/>
              </p:cNvSpPr>
              <p:nvPr/>
            </p:nvSpPr>
            <p:spPr bwMode="auto">
              <a:xfrm>
                <a:off x="2197" y="27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1" name="Freeform 2952">
                <a:extLst>
                  <a:ext uri="{FF2B5EF4-FFF2-40B4-BE49-F238E27FC236}">
                    <a16:creationId xmlns:a16="http://schemas.microsoft.com/office/drawing/2014/main" id="{2E5FEE66-A17B-45C6-9FBC-C4286E5D2E98}"/>
                  </a:ext>
                </a:extLst>
              </p:cNvPr>
              <p:cNvSpPr>
                <a:spLocks/>
              </p:cNvSpPr>
              <p:nvPr/>
            </p:nvSpPr>
            <p:spPr bwMode="auto">
              <a:xfrm>
                <a:off x="2135" y="34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2" name="Freeform 2953">
                <a:extLst>
                  <a:ext uri="{FF2B5EF4-FFF2-40B4-BE49-F238E27FC236}">
                    <a16:creationId xmlns:a16="http://schemas.microsoft.com/office/drawing/2014/main" id="{B29E6250-99AD-4C51-BB0F-D58BBBD55968}"/>
                  </a:ext>
                </a:extLst>
              </p:cNvPr>
              <p:cNvSpPr>
                <a:spLocks/>
              </p:cNvSpPr>
              <p:nvPr/>
            </p:nvSpPr>
            <p:spPr bwMode="auto">
              <a:xfrm>
                <a:off x="1766" y="2653"/>
                <a:ext cx="944" cy="970"/>
              </a:xfrm>
              <a:custGeom>
                <a:avLst/>
                <a:gdLst>
                  <a:gd name="T0" fmla="*/ 310 w 399"/>
                  <a:gd name="T1" fmla="*/ 77 h 410"/>
                  <a:gd name="T2" fmla="*/ 298 w 399"/>
                  <a:gd name="T3" fmla="*/ 75 h 410"/>
                  <a:gd name="T4" fmla="*/ 288 w 399"/>
                  <a:gd name="T5" fmla="*/ 65 h 410"/>
                  <a:gd name="T6" fmla="*/ 274 w 399"/>
                  <a:gd name="T7" fmla="*/ 61 h 410"/>
                  <a:gd name="T8" fmla="*/ 247 w 399"/>
                  <a:gd name="T9" fmla="*/ 71 h 410"/>
                  <a:gd name="T10" fmla="*/ 248 w 399"/>
                  <a:gd name="T11" fmla="*/ 68 h 410"/>
                  <a:gd name="T12" fmla="*/ 257 w 399"/>
                  <a:gd name="T13" fmla="*/ 64 h 410"/>
                  <a:gd name="T14" fmla="*/ 260 w 399"/>
                  <a:gd name="T15" fmla="*/ 55 h 410"/>
                  <a:gd name="T16" fmla="*/ 236 w 399"/>
                  <a:gd name="T17" fmla="*/ 58 h 410"/>
                  <a:gd name="T18" fmla="*/ 236 w 399"/>
                  <a:gd name="T19" fmla="*/ 63 h 410"/>
                  <a:gd name="T20" fmla="*/ 236 w 399"/>
                  <a:gd name="T21" fmla="*/ 70 h 410"/>
                  <a:gd name="T22" fmla="*/ 244 w 399"/>
                  <a:gd name="T23" fmla="*/ 40 h 410"/>
                  <a:gd name="T24" fmla="*/ 232 w 399"/>
                  <a:gd name="T25" fmla="*/ 12 h 410"/>
                  <a:gd name="T26" fmla="*/ 219 w 399"/>
                  <a:gd name="T27" fmla="*/ 26 h 410"/>
                  <a:gd name="T28" fmla="*/ 201 w 399"/>
                  <a:gd name="T29" fmla="*/ 31 h 410"/>
                  <a:gd name="T30" fmla="*/ 183 w 399"/>
                  <a:gd name="T31" fmla="*/ 29 h 410"/>
                  <a:gd name="T32" fmla="*/ 175 w 399"/>
                  <a:gd name="T33" fmla="*/ 34 h 410"/>
                  <a:gd name="T34" fmla="*/ 152 w 399"/>
                  <a:gd name="T35" fmla="*/ 41 h 410"/>
                  <a:gd name="T36" fmla="*/ 140 w 399"/>
                  <a:gd name="T37" fmla="*/ 1 h 410"/>
                  <a:gd name="T38" fmla="*/ 134 w 399"/>
                  <a:gd name="T39" fmla="*/ 7 h 410"/>
                  <a:gd name="T40" fmla="*/ 114 w 399"/>
                  <a:gd name="T41" fmla="*/ 14 h 410"/>
                  <a:gd name="T42" fmla="*/ 99 w 399"/>
                  <a:gd name="T43" fmla="*/ 16 h 410"/>
                  <a:gd name="T44" fmla="*/ 104 w 399"/>
                  <a:gd name="T45" fmla="*/ 32 h 410"/>
                  <a:gd name="T46" fmla="*/ 88 w 399"/>
                  <a:gd name="T47" fmla="*/ 44 h 410"/>
                  <a:gd name="T48" fmla="*/ 69 w 399"/>
                  <a:gd name="T49" fmla="*/ 41 h 410"/>
                  <a:gd name="T50" fmla="*/ 46 w 399"/>
                  <a:gd name="T51" fmla="*/ 40 h 410"/>
                  <a:gd name="T52" fmla="*/ 44 w 399"/>
                  <a:gd name="T53" fmla="*/ 75 h 410"/>
                  <a:gd name="T54" fmla="*/ 34 w 399"/>
                  <a:gd name="T55" fmla="*/ 96 h 410"/>
                  <a:gd name="T56" fmla="*/ 11 w 399"/>
                  <a:gd name="T57" fmla="*/ 106 h 410"/>
                  <a:gd name="T58" fmla="*/ 2 w 399"/>
                  <a:gd name="T59" fmla="*/ 124 h 410"/>
                  <a:gd name="T60" fmla="*/ 18 w 399"/>
                  <a:gd name="T61" fmla="*/ 152 h 410"/>
                  <a:gd name="T62" fmla="*/ 35 w 399"/>
                  <a:gd name="T63" fmla="*/ 151 h 410"/>
                  <a:gd name="T64" fmla="*/ 48 w 399"/>
                  <a:gd name="T65" fmla="*/ 165 h 410"/>
                  <a:gd name="T66" fmla="*/ 62 w 399"/>
                  <a:gd name="T67" fmla="*/ 160 h 410"/>
                  <a:gd name="T68" fmla="*/ 84 w 399"/>
                  <a:gd name="T69" fmla="*/ 152 h 410"/>
                  <a:gd name="T70" fmla="*/ 87 w 399"/>
                  <a:gd name="T71" fmla="*/ 159 h 410"/>
                  <a:gd name="T72" fmla="*/ 99 w 399"/>
                  <a:gd name="T73" fmla="*/ 180 h 410"/>
                  <a:gd name="T74" fmla="*/ 111 w 399"/>
                  <a:gd name="T75" fmla="*/ 183 h 410"/>
                  <a:gd name="T76" fmla="*/ 125 w 399"/>
                  <a:gd name="T77" fmla="*/ 190 h 410"/>
                  <a:gd name="T78" fmla="*/ 140 w 399"/>
                  <a:gd name="T79" fmla="*/ 206 h 410"/>
                  <a:gd name="T80" fmla="*/ 142 w 399"/>
                  <a:gd name="T81" fmla="*/ 219 h 410"/>
                  <a:gd name="T82" fmla="*/ 166 w 399"/>
                  <a:gd name="T83" fmla="*/ 236 h 410"/>
                  <a:gd name="T84" fmla="*/ 162 w 399"/>
                  <a:gd name="T85" fmla="*/ 256 h 410"/>
                  <a:gd name="T86" fmla="*/ 159 w 399"/>
                  <a:gd name="T87" fmla="*/ 258 h 410"/>
                  <a:gd name="T88" fmla="*/ 120 w 399"/>
                  <a:gd name="T89" fmla="*/ 266 h 410"/>
                  <a:gd name="T90" fmla="*/ 121 w 399"/>
                  <a:gd name="T91" fmla="*/ 287 h 410"/>
                  <a:gd name="T92" fmla="*/ 137 w 399"/>
                  <a:gd name="T93" fmla="*/ 300 h 410"/>
                  <a:gd name="T94" fmla="*/ 164 w 399"/>
                  <a:gd name="T95" fmla="*/ 337 h 410"/>
                  <a:gd name="T96" fmla="*/ 184 w 399"/>
                  <a:gd name="T97" fmla="*/ 338 h 410"/>
                  <a:gd name="T98" fmla="*/ 201 w 399"/>
                  <a:gd name="T99" fmla="*/ 318 h 410"/>
                  <a:gd name="T100" fmla="*/ 203 w 399"/>
                  <a:gd name="T101" fmla="*/ 339 h 410"/>
                  <a:gd name="T102" fmla="*/ 186 w 399"/>
                  <a:gd name="T103" fmla="*/ 352 h 410"/>
                  <a:gd name="T104" fmla="*/ 184 w 399"/>
                  <a:gd name="T105" fmla="*/ 378 h 410"/>
                  <a:gd name="T106" fmla="*/ 204 w 399"/>
                  <a:gd name="T107" fmla="*/ 390 h 410"/>
                  <a:gd name="T108" fmla="*/ 216 w 399"/>
                  <a:gd name="T109" fmla="*/ 403 h 410"/>
                  <a:gd name="T110" fmla="*/ 238 w 399"/>
                  <a:gd name="T111" fmla="*/ 371 h 410"/>
                  <a:gd name="T112" fmla="*/ 247 w 399"/>
                  <a:gd name="T113" fmla="*/ 360 h 410"/>
                  <a:gd name="T114" fmla="*/ 256 w 399"/>
                  <a:gd name="T115" fmla="*/ 326 h 410"/>
                  <a:gd name="T116" fmla="*/ 264 w 399"/>
                  <a:gd name="T117" fmla="*/ 313 h 410"/>
                  <a:gd name="T118" fmla="*/ 298 w 399"/>
                  <a:gd name="T119" fmla="*/ 292 h 410"/>
                  <a:gd name="T120" fmla="*/ 331 w 399"/>
                  <a:gd name="T121" fmla="*/ 283 h 410"/>
                  <a:gd name="T122" fmla="*/ 356 w 399"/>
                  <a:gd name="T123" fmla="*/ 197 h 410"/>
                  <a:gd name="T124" fmla="*/ 372 w 399"/>
                  <a:gd name="T125"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9" h="410">
                    <a:moveTo>
                      <a:pt x="398" y="129"/>
                    </a:moveTo>
                    <a:cubicBezTo>
                      <a:pt x="398" y="128"/>
                      <a:pt x="399" y="126"/>
                      <a:pt x="399" y="125"/>
                    </a:cubicBezTo>
                    <a:cubicBezTo>
                      <a:pt x="398" y="119"/>
                      <a:pt x="395" y="113"/>
                      <a:pt x="393" y="107"/>
                    </a:cubicBezTo>
                    <a:cubicBezTo>
                      <a:pt x="392" y="102"/>
                      <a:pt x="384" y="104"/>
                      <a:pt x="381" y="104"/>
                    </a:cubicBezTo>
                    <a:cubicBezTo>
                      <a:pt x="378" y="104"/>
                      <a:pt x="375" y="102"/>
                      <a:pt x="373" y="101"/>
                    </a:cubicBezTo>
                    <a:cubicBezTo>
                      <a:pt x="371" y="99"/>
                      <a:pt x="368" y="97"/>
                      <a:pt x="366" y="95"/>
                    </a:cubicBezTo>
                    <a:cubicBezTo>
                      <a:pt x="362" y="91"/>
                      <a:pt x="357" y="88"/>
                      <a:pt x="351" y="85"/>
                    </a:cubicBezTo>
                    <a:cubicBezTo>
                      <a:pt x="348" y="83"/>
                      <a:pt x="345" y="82"/>
                      <a:pt x="342" y="81"/>
                    </a:cubicBezTo>
                    <a:cubicBezTo>
                      <a:pt x="340" y="80"/>
                      <a:pt x="340" y="81"/>
                      <a:pt x="339" y="81"/>
                    </a:cubicBezTo>
                    <a:cubicBezTo>
                      <a:pt x="338" y="81"/>
                      <a:pt x="337" y="81"/>
                      <a:pt x="336" y="81"/>
                    </a:cubicBezTo>
                    <a:cubicBezTo>
                      <a:pt x="335" y="81"/>
                      <a:pt x="333" y="81"/>
                      <a:pt x="332" y="82"/>
                    </a:cubicBezTo>
                    <a:cubicBezTo>
                      <a:pt x="332" y="82"/>
                      <a:pt x="333" y="82"/>
                      <a:pt x="333" y="83"/>
                    </a:cubicBezTo>
                    <a:cubicBezTo>
                      <a:pt x="331" y="82"/>
                      <a:pt x="328" y="80"/>
                      <a:pt x="326" y="80"/>
                    </a:cubicBezTo>
                    <a:cubicBezTo>
                      <a:pt x="325" y="81"/>
                      <a:pt x="324" y="81"/>
                      <a:pt x="323" y="81"/>
                    </a:cubicBezTo>
                    <a:cubicBezTo>
                      <a:pt x="322" y="81"/>
                      <a:pt x="321" y="80"/>
                      <a:pt x="320" y="80"/>
                    </a:cubicBezTo>
                    <a:cubicBezTo>
                      <a:pt x="317" y="79"/>
                      <a:pt x="315" y="78"/>
                      <a:pt x="312" y="77"/>
                    </a:cubicBezTo>
                    <a:cubicBezTo>
                      <a:pt x="312" y="77"/>
                      <a:pt x="309" y="76"/>
                      <a:pt x="310" y="77"/>
                    </a:cubicBezTo>
                    <a:cubicBezTo>
                      <a:pt x="309" y="77"/>
                      <a:pt x="307" y="77"/>
                      <a:pt x="305" y="78"/>
                    </a:cubicBezTo>
                    <a:cubicBezTo>
                      <a:pt x="305" y="78"/>
                      <a:pt x="305" y="79"/>
                      <a:pt x="304" y="79"/>
                    </a:cubicBezTo>
                    <a:cubicBezTo>
                      <a:pt x="303" y="80"/>
                      <a:pt x="303" y="81"/>
                      <a:pt x="301" y="80"/>
                    </a:cubicBezTo>
                    <a:cubicBezTo>
                      <a:pt x="303" y="80"/>
                      <a:pt x="304" y="78"/>
                      <a:pt x="304" y="77"/>
                    </a:cubicBezTo>
                    <a:cubicBezTo>
                      <a:pt x="304" y="76"/>
                      <a:pt x="301" y="77"/>
                      <a:pt x="301" y="78"/>
                    </a:cubicBezTo>
                    <a:cubicBezTo>
                      <a:pt x="301" y="78"/>
                      <a:pt x="301" y="80"/>
                      <a:pt x="301" y="80"/>
                    </a:cubicBezTo>
                    <a:cubicBezTo>
                      <a:pt x="300" y="82"/>
                      <a:pt x="299" y="84"/>
                      <a:pt x="297" y="85"/>
                    </a:cubicBezTo>
                    <a:cubicBezTo>
                      <a:pt x="297" y="86"/>
                      <a:pt x="297" y="85"/>
                      <a:pt x="297" y="85"/>
                    </a:cubicBezTo>
                    <a:cubicBezTo>
                      <a:pt x="297" y="85"/>
                      <a:pt x="297" y="84"/>
                      <a:pt x="297" y="84"/>
                    </a:cubicBezTo>
                    <a:cubicBezTo>
                      <a:pt x="298" y="82"/>
                      <a:pt x="298" y="80"/>
                      <a:pt x="299" y="78"/>
                    </a:cubicBezTo>
                    <a:cubicBezTo>
                      <a:pt x="299" y="78"/>
                      <a:pt x="299" y="78"/>
                      <a:pt x="299" y="78"/>
                    </a:cubicBezTo>
                    <a:cubicBezTo>
                      <a:pt x="299" y="78"/>
                      <a:pt x="298" y="78"/>
                      <a:pt x="298" y="78"/>
                    </a:cubicBezTo>
                    <a:cubicBezTo>
                      <a:pt x="298" y="78"/>
                      <a:pt x="301" y="74"/>
                      <a:pt x="301" y="74"/>
                    </a:cubicBezTo>
                    <a:cubicBezTo>
                      <a:pt x="300" y="73"/>
                      <a:pt x="300" y="74"/>
                      <a:pt x="299" y="74"/>
                    </a:cubicBezTo>
                    <a:cubicBezTo>
                      <a:pt x="299" y="74"/>
                      <a:pt x="298" y="75"/>
                      <a:pt x="298" y="75"/>
                    </a:cubicBezTo>
                    <a:cubicBezTo>
                      <a:pt x="298" y="75"/>
                      <a:pt x="297" y="75"/>
                      <a:pt x="296" y="75"/>
                    </a:cubicBezTo>
                    <a:cubicBezTo>
                      <a:pt x="297" y="75"/>
                      <a:pt x="298" y="75"/>
                      <a:pt x="298" y="75"/>
                    </a:cubicBezTo>
                    <a:cubicBezTo>
                      <a:pt x="298" y="74"/>
                      <a:pt x="299" y="71"/>
                      <a:pt x="299" y="71"/>
                    </a:cubicBezTo>
                    <a:cubicBezTo>
                      <a:pt x="299" y="70"/>
                      <a:pt x="298" y="70"/>
                      <a:pt x="298" y="70"/>
                    </a:cubicBezTo>
                    <a:cubicBezTo>
                      <a:pt x="298" y="71"/>
                      <a:pt x="297" y="71"/>
                      <a:pt x="296" y="70"/>
                    </a:cubicBezTo>
                    <a:cubicBezTo>
                      <a:pt x="297" y="70"/>
                      <a:pt x="297" y="70"/>
                      <a:pt x="297" y="70"/>
                    </a:cubicBezTo>
                    <a:cubicBezTo>
                      <a:pt x="297" y="70"/>
                      <a:pt x="297" y="69"/>
                      <a:pt x="296" y="68"/>
                    </a:cubicBezTo>
                    <a:cubicBezTo>
                      <a:pt x="296" y="68"/>
                      <a:pt x="296" y="69"/>
                      <a:pt x="296" y="68"/>
                    </a:cubicBezTo>
                    <a:cubicBezTo>
                      <a:pt x="296" y="68"/>
                      <a:pt x="296" y="69"/>
                      <a:pt x="295" y="68"/>
                    </a:cubicBezTo>
                    <a:cubicBezTo>
                      <a:pt x="295" y="68"/>
                      <a:pt x="296" y="67"/>
                      <a:pt x="296" y="67"/>
                    </a:cubicBezTo>
                    <a:cubicBezTo>
                      <a:pt x="295" y="67"/>
                      <a:pt x="295" y="67"/>
                      <a:pt x="295" y="68"/>
                    </a:cubicBezTo>
                    <a:cubicBezTo>
                      <a:pt x="294" y="67"/>
                      <a:pt x="294" y="67"/>
                      <a:pt x="294" y="67"/>
                    </a:cubicBezTo>
                    <a:cubicBezTo>
                      <a:pt x="294" y="67"/>
                      <a:pt x="294" y="67"/>
                      <a:pt x="294" y="67"/>
                    </a:cubicBezTo>
                    <a:cubicBezTo>
                      <a:pt x="293" y="67"/>
                      <a:pt x="293" y="67"/>
                      <a:pt x="293" y="67"/>
                    </a:cubicBezTo>
                    <a:cubicBezTo>
                      <a:pt x="292" y="67"/>
                      <a:pt x="292" y="69"/>
                      <a:pt x="291" y="70"/>
                    </a:cubicBezTo>
                    <a:cubicBezTo>
                      <a:pt x="291" y="68"/>
                      <a:pt x="291" y="67"/>
                      <a:pt x="291" y="65"/>
                    </a:cubicBezTo>
                    <a:cubicBezTo>
                      <a:pt x="290" y="66"/>
                      <a:pt x="290" y="67"/>
                      <a:pt x="289" y="67"/>
                    </a:cubicBezTo>
                    <a:cubicBezTo>
                      <a:pt x="290" y="67"/>
                      <a:pt x="290" y="66"/>
                      <a:pt x="290" y="65"/>
                    </a:cubicBezTo>
                    <a:cubicBezTo>
                      <a:pt x="289" y="66"/>
                      <a:pt x="289" y="65"/>
                      <a:pt x="288" y="65"/>
                    </a:cubicBezTo>
                    <a:cubicBezTo>
                      <a:pt x="288" y="65"/>
                      <a:pt x="288" y="66"/>
                      <a:pt x="287" y="66"/>
                    </a:cubicBezTo>
                    <a:cubicBezTo>
                      <a:pt x="287" y="66"/>
                      <a:pt x="287" y="64"/>
                      <a:pt x="287" y="64"/>
                    </a:cubicBezTo>
                    <a:cubicBezTo>
                      <a:pt x="287" y="64"/>
                      <a:pt x="287" y="64"/>
                      <a:pt x="286" y="64"/>
                    </a:cubicBezTo>
                    <a:cubicBezTo>
                      <a:pt x="286" y="64"/>
                      <a:pt x="286" y="64"/>
                      <a:pt x="285" y="64"/>
                    </a:cubicBezTo>
                    <a:cubicBezTo>
                      <a:pt x="285" y="64"/>
                      <a:pt x="285" y="64"/>
                      <a:pt x="285" y="64"/>
                    </a:cubicBezTo>
                    <a:cubicBezTo>
                      <a:pt x="285" y="64"/>
                      <a:pt x="284" y="65"/>
                      <a:pt x="284" y="64"/>
                    </a:cubicBezTo>
                    <a:cubicBezTo>
                      <a:pt x="284" y="64"/>
                      <a:pt x="284" y="63"/>
                      <a:pt x="284" y="63"/>
                    </a:cubicBezTo>
                    <a:cubicBezTo>
                      <a:pt x="284" y="63"/>
                      <a:pt x="284" y="64"/>
                      <a:pt x="283" y="64"/>
                    </a:cubicBezTo>
                    <a:cubicBezTo>
                      <a:pt x="283" y="62"/>
                      <a:pt x="283" y="64"/>
                      <a:pt x="282" y="64"/>
                    </a:cubicBezTo>
                    <a:cubicBezTo>
                      <a:pt x="282" y="63"/>
                      <a:pt x="282" y="62"/>
                      <a:pt x="282" y="62"/>
                    </a:cubicBezTo>
                    <a:cubicBezTo>
                      <a:pt x="282" y="61"/>
                      <a:pt x="282" y="62"/>
                      <a:pt x="282" y="62"/>
                    </a:cubicBezTo>
                    <a:cubicBezTo>
                      <a:pt x="281" y="62"/>
                      <a:pt x="281" y="63"/>
                      <a:pt x="280" y="63"/>
                    </a:cubicBezTo>
                    <a:cubicBezTo>
                      <a:pt x="279" y="63"/>
                      <a:pt x="278" y="63"/>
                      <a:pt x="276" y="62"/>
                    </a:cubicBezTo>
                    <a:cubicBezTo>
                      <a:pt x="277" y="62"/>
                      <a:pt x="278" y="61"/>
                      <a:pt x="277" y="61"/>
                    </a:cubicBezTo>
                    <a:cubicBezTo>
                      <a:pt x="277" y="60"/>
                      <a:pt x="277" y="62"/>
                      <a:pt x="276" y="61"/>
                    </a:cubicBezTo>
                    <a:cubicBezTo>
                      <a:pt x="276" y="61"/>
                      <a:pt x="276" y="60"/>
                      <a:pt x="276" y="59"/>
                    </a:cubicBezTo>
                    <a:cubicBezTo>
                      <a:pt x="275" y="60"/>
                      <a:pt x="275" y="60"/>
                      <a:pt x="274" y="61"/>
                    </a:cubicBezTo>
                    <a:cubicBezTo>
                      <a:pt x="274" y="61"/>
                      <a:pt x="274" y="60"/>
                      <a:pt x="274" y="60"/>
                    </a:cubicBezTo>
                    <a:cubicBezTo>
                      <a:pt x="273" y="62"/>
                      <a:pt x="271" y="59"/>
                      <a:pt x="270" y="59"/>
                    </a:cubicBezTo>
                    <a:cubicBezTo>
                      <a:pt x="269" y="58"/>
                      <a:pt x="268" y="58"/>
                      <a:pt x="267" y="59"/>
                    </a:cubicBezTo>
                    <a:cubicBezTo>
                      <a:pt x="264" y="59"/>
                      <a:pt x="263" y="59"/>
                      <a:pt x="261" y="61"/>
                    </a:cubicBezTo>
                    <a:cubicBezTo>
                      <a:pt x="261" y="61"/>
                      <a:pt x="260" y="62"/>
                      <a:pt x="260" y="62"/>
                    </a:cubicBezTo>
                    <a:cubicBezTo>
                      <a:pt x="260" y="63"/>
                      <a:pt x="261" y="63"/>
                      <a:pt x="261" y="63"/>
                    </a:cubicBezTo>
                    <a:cubicBezTo>
                      <a:pt x="261" y="63"/>
                      <a:pt x="261" y="64"/>
                      <a:pt x="261" y="64"/>
                    </a:cubicBezTo>
                    <a:cubicBezTo>
                      <a:pt x="260" y="64"/>
                      <a:pt x="260" y="65"/>
                      <a:pt x="259" y="65"/>
                    </a:cubicBezTo>
                    <a:cubicBezTo>
                      <a:pt x="259" y="65"/>
                      <a:pt x="258" y="67"/>
                      <a:pt x="259" y="67"/>
                    </a:cubicBezTo>
                    <a:cubicBezTo>
                      <a:pt x="259" y="67"/>
                      <a:pt x="261" y="67"/>
                      <a:pt x="262" y="67"/>
                    </a:cubicBezTo>
                    <a:cubicBezTo>
                      <a:pt x="260" y="67"/>
                      <a:pt x="258" y="67"/>
                      <a:pt x="259" y="69"/>
                    </a:cubicBezTo>
                    <a:cubicBezTo>
                      <a:pt x="258" y="68"/>
                      <a:pt x="258" y="67"/>
                      <a:pt x="256" y="68"/>
                    </a:cubicBezTo>
                    <a:cubicBezTo>
                      <a:pt x="255" y="69"/>
                      <a:pt x="252" y="70"/>
                      <a:pt x="251" y="72"/>
                    </a:cubicBezTo>
                    <a:cubicBezTo>
                      <a:pt x="250" y="74"/>
                      <a:pt x="249" y="76"/>
                      <a:pt x="248" y="78"/>
                    </a:cubicBezTo>
                    <a:cubicBezTo>
                      <a:pt x="248" y="77"/>
                      <a:pt x="249" y="75"/>
                      <a:pt x="249" y="74"/>
                    </a:cubicBezTo>
                    <a:cubicBezTo>
                      <a:pt x="250" y="72"/>
                      <a:pt x="250" y="71"/>
                      <a:pt x="250" y="69"/>
                    </a:cubicBezTo>
                    <a:cubicBezTo>
                      <a:pt x="249" y="70"/>
                      <a:pt x="248" y="70"/>
                      <a:pt x="247" y="71"/>
                    </a:cubicBezTo>
                    <a:cubicBezTo>
                      <a:pt x="247" y="71"/>
                      <a:pt x="246" y="71"/>
                      <a:pt x="246" y="71"/>
                    </a:cubicBezTo>
                    <a:cubicBezTo>
                      <a:pt x="245" y="72"/>
                      <a:pt x="245" y="72"/>
                      <a:pt x="245" y="72"/>
                    </a:cubicBezTo>
                    <a:cubicBezTo>
                      <a:pt x="245" y="71"/>
                      <a:pt x="242" y="70"/>
                      <a:pt x="241" y="72"/>
                    </a:cubicBezTo>
                    <a:cubicBezTo>
                      <a:pt x="241" y="71"/>
                      <a:pt x="240" y="71"/>
                      <a:pt x="239" y="71"/>
                    </a:cubicBezTo>
                    <a:cubicBezTo>
                      <a:pt x="241" y="70"/>
                      <a:pt x="242" y="70"/>
                      <a:pt x="245" y="71"/>
                    </a:cubicBezTo>
                    <a:cubicBezTo>
                      <a:pt x="245" y="71"/>
                      <a:pt x="246" y="70"/>
                      <a:pt x="246" y="70"/>
                    </a:cubicBezTo>
                    <a:cubicBezTo>
                      <a:pt x="246" y="70"/>
                      <a:pt x="247" y="70"/>
                      <a:pt x="247" y="70"/>
                    </a:cubicBezTo>
                    <a:cubicBezTo>
                      <a:pt x="247" y="70"/>
                      <a:pt x="247" y="70"/>
                      <a:pt x="247" y="70"/>
                    </a:cubicBezTo>
                    <a:cubicBezTo>
                      <a:pt x="247" y="70"/>
                      <a:pt x="247" y="70"/>
                      <a:pt x="247" y="70"/>
                    </a:cubicBezTo>
                    <a:cubicBezTo>
                      <a:pt x="247" y="70"/>
                      <a:pt x="247" y="70"/>
                      <a:pt x="247" y="70"/>
                    </a:cubicBezTo>
                    <a:cubicBezTo>
                      <a:pt x="248" y="70"/>
                      <a:pt x="248" y="70"/>
                      <a:pt x="248" y="70"/>
                    </a:cubicBezTo>
                    <a:cubicBezTo>
                      <a:pt x="248" y="70"/>
                      <a:pt x="248" y="70"/>
                      <a:pt x="248" y="70"/>
                    </a:cubicBezTo>
                    <a:cubicBezTo>
                      <a:pt x="248" y="69"/>
                      <a:pt x="248" y="69"/>
                      <a:pt x="248" y="69"/>
                    </a:cubicBezTo>
                    <a:cubicBezTo>
                      <a:pt x="248" y="69"/>
                      <a:pt x="248" y="69"/>
                      <a:pt x="248" y="69"/>
                    </a:cubicBezTo>
                    <a:cubicBezTo>
                      <a:pt x="248" y="69"/>
                      <a:pt x="248" y="69"/>
                      <a:pt x="248" y="69"/>
                    </a:cubicBezTo>
                    <a:cubicBezTo>
                      <a:pt x="248" y="68"/>
                      <a:pt x="248" y="68"/>
                      <a:pt x="248" y="68"/>
                    </a:cubicBezTo>
                    <a:cubicBezTo>
                      <a:pt x="248" y="68"/>
                      <a:pt x="248" y="68"/>
                      <a:pt x="248" y="68"/>
                    </a:cubicBezTo>
                    <a:cubicBezTo>
                      <a:pt x="248" y="68"/>
                      <a:pt x="248" y="68"/>
                      <a:pt x="248" y="68"/>
                    </a:cubicBezTo>
                    <a:cubicBezTo>
                      <a:pt x="249" y="68"/>
                      <a:pt x="249" y="69"/>
                      <a:pt x="249" y="69"/>
                    </a:cubicBezTo>
                    <a:cubicBezTo>
                      <a:pt x="249" y="69"/>
                      <a:pt x="249" y="69"/>
                      <a:pt x="249" y="69"/>
                    </a:cubicBezTo>
                    <a:cubicBezTo>
                      <a:pt x="249" y="69"/>
                      <a:pt x="249" y="69"/>
                      <a:pt x="249" y="69"/>
                    </a:cubicBezTo>
                    <a:cubicBezTo>
                      <a:pt x="249" y="69"/>
                      <a:pt x="249" y="69"/>
                      <a:pt x="249" y="69"/>
                    </a:cubicBezTo>
                    <a:cubicBezTo>
                      <a:pt x="249" y="69"/>
                      <a:pt x="249" y="69"/>
                      <a:pt x="249" y="69"/>
                    </a:cubicBezTo>
                    <a:cubicBezTo>
                      <a:pt x="249" y="69"/>
                      <a:pt x="249" y="69"/>
                      <a:pt x="249" y="69"/>
                    </a:cubicBezTo>
                    <a:cubicBezTo>
                      <a:pt x="249" y="69"/>
                      <a:pt x="250" y="69"/>
                      <a:pt x="250" y="69"/>
                    </a:cubicBezTo>
                    <a:cubicBezTo>
                      <a:pt x="250" y="69"/>
                      <a:pt x="250" y="69"/>
                      <a:pt x="250" y="69"/>
                    </a:cubicBezTo>
                    <a:cubicBezTo>
                      <a:pt x="250" y="69"/>
                      <a:pt x="250" y="69"/>
                      <a:pt x="250" y="69"/>
                    </a:cubicBezTo>
                    <a:cubicBezTo>
                      <a:pt x="250" y="69"/>
                      <a:pt x="250" y="69"/>
                      <a:pt x="250" y="69"/>
                    </a:cubicBezTo>
                    <a:cubicBezTo>
                      <a:pt x="250" y="69"/>
                      <a:pt x="250" y="69"/>
                      <a:pt x="250" y="69"/>
                    </a:cubicBezTo>
                    <a:cubicBezTo>
                      <a:pt x="251" y="69"/>
                      <a:pt x="251" y="69"/>
                      <a:pt x="252" y="69"/>
                    </a:cubicBezTo>
                    <a:cubicBezTo>
                      <a:pt x="252" y="69"/>
                      <a:pt x="254" y="68"/>
                      <a:pt x="255" y="67"/>
                    </a:cubicBezTo>
                    <a:cubicBezTo>
                      <a:pt x="256" y="67"/>
                      <a:pt x="256" y="65"/>
                      <a:pt x="256" y="64"/>
                    </a:cubicBezTo>
                    <a:cubicBezTo>
                      <a:pt x="256" y="64"/>
                      <a:pt x="257" y="64"/>
                      <a:pt x="257" y="64"/>
                    </a:cubicBezTo>
                    <a:cubicBezTo>
                      <a:pt x="257" y="64"/>
                      <a:pt x="257" y="64"/>
                      <a:pt x="257" y="64"/>
                    </a:cubicBezTo>
                    <a:cubicBezTo>
                      <a:pt x="257" y="64"/>
                      <a:pt x="257" y="63"/>
                      <a:pt x="257" y="63"/>
                    </a:cubicBezTo>
                    <a:cubicBezTo>
                      <a:pt x="257" y="63"/>
                      <a:pt x="257" y="63"/>
                      <a:pt x="257" y="62"/>
                    </a:cubicBezTo>
                    <a:cubicBezTo>
                      <a:pt x="257" y="62"/>
                      <a:pt x="257" y="62"/>
                      <a:pt x="257" y="62"/>
                    </a:cubicBezTo>
                    <a:cubicBezTo>
                      <a:pt x="258" y="62"/>
                      <a:pt x="258" y="62"/>
                      <a:pt x="258" y="62"/>
                    </a:cubicBezTo>
                    <a:cubicBezTo>
                      <a:pt x="258" y="62"/>
                      <a:pt x="258" y="61"/>
                      <a:pt x="258" y="61"/>
                    </a:cubicBezTo>
                    <a:cubicBezTo>
                      <a:pt x="258" y="61"/>
                      <a:pt x="258" y="61"/>
                      <a:pt x="258" y="61"/>
                    </a:cubicBezTo>
                    <a:cubicBezTo>
                      <a:pt x="258" y="61"/>
                      <a:pt x="258" y="61"/>
                      <a:pt x="258" y="61"/>
                    </a:cubicBezTo>
                    <a:cubicBezTo>
                      <a:pt x="258" y="61"/>
                      <a:pt x="258" y="61"/>
                      <a:pt x="258" y="61"/>
                    </a:cubicBezTo>
                    <a:cubicBezTo>
                      <a:pt x="258" y="61"/>
                      <a:pt x="258" y="61"/>
                      <a:pt x="258" y="60"/>
                    </a:cubicBezTo>
                    <a:cubicBezTo>
                      <a:pt x="258" y="60"/>
                      <a:pt x="258" y="60"/>
                      <a:pt x="258" y="60"/>
                    </a:cubicBezTo>
                    <a:cubicBezTo>
                      <a:pt x="258" y="60"/>
                      <a:pt x="258" y="60"/>
                      <a:pt x="259" y="60"/>
                    </a:cubicBezTo>
                    <a:cubicBezTo>
                      <a:pt x="259" y="60"/>
                      <a:pt x="259" y="60"/>
                      <a:pt x="259" y="60"/>
                    </a:cubicBezTo>
                    <a:cubicBezTo>
                      <a:pt x="259" y="59"/>
                      <a:pt x="259" y="59"/>
                      <a:pt x="259" y="58"/>
                    </a:cubicBezTo>
                    <a:cubicBezTo>
                      <a:pt x="259" y="58"/>
                      <a:pt x="259" y="57"/>
                      <a:pt x="259" y="57"/>
                    </a:cubicBezTo>
                    <a:cubicBezTo>
                      <a:pt x="260" y="57"/>
                      <a:pt x="260" y="57"/>
                      <a:pt x="260" y="56"/>
                    </a:cubicBezTo>
                    <a:cubicBezTo>
                      <a:pt x="260" y="56"/>
                      <a:pt x="260" y="56"/>
                      <a:pt x="260" y="56"/>
                    </a:cubicBezTo>
                    <a:cubicBezTo>
                      <a:pt x="260" y="56"/>
                      <a:pt x="260" y="56"/>
                      <a:pt x="260" y="55"/>
                    </a:cubicBezTo>
                    <a:cubicBezTo>
                      <a:pt x="259" y="55"/>
                      <a:pt x="259" y="55"/>
                      <a:pt x="258" y="55"/>
                    </a:cubicBezTo>
                    <a:cubicBezTo>
                      <a:pt x="257" y="55"/>
                      <a:pt x="256" y="55"/>
                      <a:pt x="254" y="54"/>
                    </a:cubicBezTo>
                    <a:cubicBezTo>
                      <a:pt x="254" y="54"/>
                      <a:pt x="253" y="54"/>
                      <a:pt x="252" y="54"/>
                    </a:cubicBezTo>
                    <a:cubicBezTo>
                      <a:pt x="252" y="54"/>
                      <a:pt x="252" y="54"/>
                      <a:pt x="252" y="54"/>
                    </a:cubicBezTo>
                    <a:cubicBezTo>
                      <a:pt x="252" y="54"/>
                      <a:pt x="251" y="54"/>
                      <a:pt x="251" y="54"/>
                    </a:cubicBezTo>
                    <a:cubicBezTo>
                      <a:pt x="251" y="54"/>
                      <a:pt x="250" y="54"/>
                      <a:pt x="250" y="55"/>
                    </a:cubicBezTo>
                    <a:cubicBezTo>
                      <a:pt x="250" y="55"/>
                      <a:pt x="249" y="55"/>
                      <a:pt x="249" y="55"/>
                    </a:cubicBezTo>
                    <a:cubicBezTo>
                      <a:pt x="249" y="55"/>
                      <a:pt x="249" y="55"/>
                      <a:pt x="249" y="55"/>
                    </a:cubicBezTo>
                    <a:cubicBezTo>
                      <a:pt x="246" y="55"/>
                      <a:pt x="244" y="54"/>
                      <a:pt x="241" y="54"/>
                    </a:cubicBezTo>
                    <a:cubicBezTo>
                      <a:pt x="241" y="54"/>
                      <a:pt x="241" y="54"/>
                      <a:pt x="241" y="54"/>
                    </a:cubicBezTo>
                    <a:cubicBezTo>
                      <a:pt x="241" y="54"/>
                      <a:pt x="241" y="54"/>
                      <a:pt x="241" y="54"/>
                    </a:cubicBezTo>
                    <a:cubicBezTo>
                      <a:pt x="241" y="54"/>
                      <a:pt x="241" y="54"/>
                      <a:pt x="240" y="54"/>
                    </a:cubicBezTo>
                    <a:cubicBezTo>
                      <a:pt x="240" y="54"/>
                      <a:pt x="239" y="54"/>
                      <a:pt x="239" y="53"/>
                    </a:cubicBezTo>
                    <a:cubicBezTo>
                      <a:pt x="239" y="54"/>
                      <a:pt x="239" y="54"/>
                      <a:pt x="238" y="54"/>
                    </a:cubicBezTo>
                    <a:cubicBezTo>
                      <a:pt x="238" y="54"/>
                      <a:pt x="238" y="54"/>
                      <a:pt x="237" y="54"/>
                    </a:cubicBezTo>
                    <a:cubicBezTo>
                      <a:pt x="236" y="55"/>
                      <a:pt x="236" y="56"/>
                      <a:pt x="236" y="57"/>
                    </a:cubicBezTo>
                    <a:cubicBezTo>
                      <a:pt x="236" y="58"/>
                      <a:pt x="236" y="58"/>
                      <a:pt x="236" y="58"/>
                    </a:cubicBezTo>
                    <a:cubicBezTo>
                      <a:pt x="236" y="58"/>
                      <a:pt x="236" y="58"/>
                      <a:pt x="237" y="58"/>
                    </a:cubicBezTo>
                    <a:cubicBezTo>
                      <a:pt x="237" y="58"/>
                      <a:pt x="237" y="58"/>
                      <a:pt x="237" y="59"/>
                    </a:cubicBezTo>
                    <a:cubicBezTo>
                      <a:pt x="237" y="59"/>
                      <a:pt x="237" y="59"/>
                      <a:pt x="238" y="59"/>
                    </a:cubicBezTo>
                    <a:cubicBezTo>
                      <a:pt x="237" y="59"/>
                      <a:pt x="236" y="59"/>
                      <a:pt x="236" y="58"/>
                    </a:cubicBezTo>
                    <a:cubicBezTo>
                      <a:pt x="236" y="58"/>
                      <a:pt x="235" y="59"/>
                      <a:pt x="235" y="59"/>
                    </a:cubicBezTo>
                    <a:cubicBezTo>
                      <a:pt x="235" y="59"/>
                      <a:pt x="235" y="59"/>
                      <a:pt x="235" y="59"/>
                    </a:cubicBezTo>
                    <a:cubicBezTo>
                      <a:pt x="235" y="59"/>
                      <a:pt x="235" y="60"/>
                      <a:pt x="235" y="60"/>
                    </a:cubicBezTo>
                    <a:cubicBezTo>
                      <a:pt x="235" y="60"/>
                      <a:pt x="235" y="60"/>
                      <a:pt x="235" y="60"/>
                    </a:cubicBezTo>
                    <a:cubicBezTo>
                      <a:pt x="235" y="60"/>
                      <a:pt x="235" y="61"/>
                      <a:pt x="235" y="61"/>
                    </a:cubicBezTo>
                    <a:cubicBezTo>
                      <a:pt x="235" y="61"/>
                      <a:pt x="235" y="61"/>
                      <a:pt x="235" y="61"/>
                    </a:cubicBezTo>
                    <a:cubicBezTo>
                      <a:pt x="235" y="61"/>
                      <a:pt x="235" y="62"/>
                      <a:pt x="235" y="62"/>
                    </a:cubicBezTo>
                    <a:cubicBezTo>
                      <a:pt x="235" y="62"/>
                      <a:pt x="235" y="62"/>
                      <a:pt x="235" y="62"/>
                    </a:cubicBezTo>
                    <a:cubicBezTo>
                      <a:pt x="235" y="62"/>
                      <a:pt x="235" y="62"/>
                      <a:pt x="235" y="62"/>
                    </a:cubicBezTo>
                    <a:cubicBezTo>
                      <a:pt x="235" y="62"/>
                      <a:pt x="235" y="62"/>
                      <a:pt x="235" y="62"/>
                    </a:cubicBezTo>
                    <a:cubicBezTo>
                      <a:pt x="235" y="62"/>
                      <a:pt x="235" y="62"/>
                      <a:pt x="236" y="62"/>
                    </a:cubicBezTo>
                    <a:cubicBezTo>
                      <a:pt x="236" y="62"/>
                      <a:pt x="236" y="63"/>
                      <a:pt x="236" y="63"/>
                    </a:cubicBezTo>
                    <a:cubicBezTo>
                      <a:pt x="236" y="63"/>
                      <a:pt x="236" y="63"/>
                      <a:pt x="236" y="63"/>
                    </a:cubicBezTo>
                    <a:cubicBezTo>
                      <a:pt x="236" y="63"/>
                      <a:pt x="237" y="63"/>
                      <a:pt x="238" y="63"/>
                    </a:cubicBezTo>
                    <a:cubicBezTo>
                      <a:pt x="238" y="63"/>
                      <a:pt x="238" y="63"/>
                      <a:pt x="238" y="63"/>
                    </a:cubicBezTo>
                    <a:cubicBezTo>
                      <a:pt x="238" y="63"/>
                      <a:pt x="238" y="63"/>
                      <a:pt x="238" y="63"/>
                    </a:cubicBezTo>
                    <a:cubicBezTo>
                      <a:pt x="238" y="63"/>
                      <a:pt x="238" y="63"/>
                      <a:pt x="238" y="63"/>
                    </a:cubicBezTo>
                    <a:cubicBezTo>
                      <a:pt x="237" y="64"/>
                      <a:pt x="237" y="64"/>
                      <a:pt x="236" y="64"/>
                    </a:cubicBezTo>
                    <a:cubicBezTo>
                      <a:pt x="236" y="64"/>
                      <a:pt x="236" y="64"/>
                      <a:pt x="235" y="64"/>
                    </a:cubicBezTo>
                    <a:cubicBezTo>
                      <a:pt x="235" y="64"/>
                      <a:pt x="235" y="64"/>
                      <a:pt x="235" y="64"/>
                    </a:cubicBezTo>
                    <a:cubicBezTo>
                      <a:pt x="235" y="64"/>
                      <a:pt x="235" y="64"/>
                      <a:pt x="235" y="64"/>
                    </a:cubicBezTo>
                    <a:cubicBezTo>
                      <a:pt x="235" y="64"/>
                      <a:pt x="235" y="64"/>
                      <a:pt x="235" y="64"/>
                    </a:cubicBezTo>
                    <a:cubicBezTo>
                      <a:pt x="235" y="64"/>
                      <a:pt x="235" y="64"/>
                      <a:pt x="235" y="64"/>
                    </a:cubicBezTo>
                    <a:cubicBezTo>
                      <a:pt x="235" y="64"/>
                      <a:pt x="235" y="65"/>
                      <a:pt x="236" y="66"/>
                    </a:cubicBezTo>
                    <a:cubicBezTo>
                      <a:pt x="236" y="66"/>
                      <a:pt x="236" y="67"/>
                      <a:pt x="236" y="67"/>
                    </a:cubicBezTo>
                    <a:cubicBezTo>
                      <a:pt x="236" y="68"/>
                      <a:pt x="237" y="69"/>
                      <a:pt x="238" y="70"/>
                    </a:cubicBezTo>
                    <a:cubicBezTo>
                      <a:pt x="238" y="70"/>
                      <a:pt x="238" y="70"/>
                      <a:pt x="238" y="71"/>
                    </a:cubicBezTo>
                    <a:cubicBezTo>
                      <a:pt x="237" y="70"/>
                      <a:pt x="237" y="70"/>
                      <a:pt x="236" y="70"/>
                    </a:cubicBezTo>
                    <a:cubicBezTo>
                      <a:pt x="236" y="70"/>
                      <a:pt x="236" y="70"/>
                      <a:pt x="236" y="70"/>
                    </a:cubicBezTo>
                    <a:cubicBezTo>
                      <a:pt x="236" y="70"/>
                      <a:pt x="236" y="70"/>
                      <a:pt x="236" y="70"/>
                    </a:cubicBezTo>
                    <a:cubicBezTo>
                      <a:pt x="236" y="70"/>
                      <a:pt x="236" y="70"/>
                      <a:pt x="236" y="70"/>
                    </a:cubicBezTo>
                    <a:cubicBezTo>
                      <a:pt x="236" y="68"/>
                      <a:pt x="235" y="67"/>
                      <a:pt x="235" y="65"/>
                    </a:cubicBezTo>
                    <a:cubicBezTo>
                      <a:pt x="235" y="64"/>
                      <a:pt x="234" y="61"/>
                      <a:pt x="233" y="62"/>
                    </a:cubicBezTo>
                    <a:cubicBezTo>
                      <a:pt x="233" y="62"/>
                      <a:pt x="232" y="63"/>
                      <a:pt x="232" y="63"/>
                    </a:cubicBezTo>
                    <a:cubicBezTo>
                      <a:pt x="231" y="64"/>
                      <a:pt x="231" y="64"/>
                      <a:pt x="230" y="65"/>
                    </a:cubicBezTo>
                    <a:cubicBezTo>
                      <a:pt x="229" y="65"/>
                      <a:pt x="227" y="66"/>
                      <a:pt x="226" y="67"/>
                    </a:cubicBezTo>
                    <a:cubicBezTo>
                      <a:pt x="225" y="67"/>
                      <a:pt x="221" y="70"/>
                      <a:pt x="220" y="69"/>
                    </a:cubicBezTo>
                    <a:cubicBezTo>
                      <a:pt x="220" y="69"/>
                      <a:pt x="220" y="68"/>
                      <a:pt x="219" y="68"/>
                    </a:cubicBezTo>
                    <a:cubicBezTo>
                      <a:pt x="219" y="67"/>
                      <a:pt x="216" y="68"/>
                      <a:pt x="216" y="68"/>
                    </a:cubicBezTo>
                    <a:cubicBezTo>
                      <a:pt x="216" y="67"/>
                      <a:pt x="219" y="66"/>
                      <a:pt x="220" y="66"/>
                    </a:cubicBezTo>
                    <a:cubicBezTo>
                      <a:pt x="221" y="66"/>
                      <a:pt x="221" y="66"/>
                      <a:pt x="222" y="66"/>
                    </a:cubicBezTo>
                    <a:cubicBezTo>
                      <a:pt x="222" y="66"/>
                      <a:pt x="222" y="66"/>
                      <a:pt x="222" y="66"/>
                    </a:cubicBezTo>
                    <a:cubicBezTo>
                      <a:pt x="224" y="67"/>
                      <a:pt x="224" y="64"/>
                      <a:pt x="224" y="63"/>
                    </a:cubicBezTo>
                    <a:cubicBezTo>
                      <a:pt x="226" y="60"/>
                      <a:pt x="228" y="58"/>
                      <a:pt x="229" y="56"/>
                    </a:cubicBezTo>
                    <a:cubicBezTo>
                      <a:pt x="230" y="54"/>
                      <a:pt x="231" y="53"/>
                      <a:pt x="232" y="52"/>
                    </a:cubicBezTo>
                    <a:cubicBezTo>
                      <a:pt x="236" y="49"/>
                      <a:pt x="239" y="45"/>
                      <a:pt x="242" y="42"/>
                    </a:cubicBezTo>
                    <a:cubicBezTo>
                      <a:pt x="243" y="42"/>
                      <a:pt x="244" y="41"/>
                      <a:pt x="244" y="40"/>
                    </a:cubicBezTo>
                    <a:cubicBezTo>
                      <a:pt x="244" y="39"/>
                      <a:pt x="243" y="39"/>
                      <a:pt x="242" y="40"/>
                    </a:cubicBezTo>
                    <a:cubicBezTo>
                      <a:pt x="244" y="39"/>
                      <a:pt x="245" y="38"/>
                      <a:pt x="244" y="36"/>
                    </a:cubicBezTo>
                    <a:cubicBezTo>
                      <a:pt x="244" y="35"/>
                      <a:pt x="244" y="34"/>
                      <a:pt x="242" y="34"/>
                    </a:cubicBezTo>
                    <a:cubicBezTo>
                      <a:pt x="241" y="33"/>
                      <a:pt x="240" y="34"/>
                      <a:pt x="239" y="33"/>
                    </a:cubicBezTo>
                    <a:cubicBezTo>
                      <a:pt x="239" y="33"/>
                      <a:pt x="239" y="33"/>
                      <a:pt x="239" y="33"/>
                    </a:cubicBezTo>
                    <a:cubicBezTo>
                      <a:pt x="239" y="33"/>
                      <a:pt x="239" y="33"/>
                      <a:pt x="239" y="33"/>
                    </a:cubicBezTo>
                    <a:cubicBezTo>
                      <a:pt x="240" y="33"/>
                      <a:pt x="240" y="32"/>
                      <a:pt x="240" y="32"/>
                    </a:cubicBezTo>
                    <a:cubicBezTo>
                      <a:pt x="240" y="32"/>
                      <a:pt x="240" y="31"/>
                      <a:pt x="240" y="31"/>
                    </a:cubicBezTo>
                    <a:cubicBezTo>
                      <a:pt x="239" y="31"/>
                      <a:pt x="239" y="31"/>
                      <a:pt x="238" y="31"/>
                    </a:cubicBezTo>
                    <a:cubicBezTo>
                      <a:pt x="238" y="31"/>
                      <a:pt x="238" y="31"/>
                      <a:pt x="238" y="31"/>
                    </a:cubicBezTo>
                    <a:cubicBezTo>
                      <a:pt x="238" y="31"/>
                      <a:pt x="238" y="31"/>
                      <a:pt x="238" y="31"/>
                    </a:cubicBezTo>
                    <a:cubicBezTo>
                      <a:pt x="238" y="31"/>
                      <a:pt x="238" y="31"/>
                      <a:pt x="238" y="32"/>
                    </a:cubicBezTo>
                    <a:cubicBezTo>
                      <a:pt x="238" y="31"/>
                      <a:pt x="237" y="30"/>
                      <a:pt x="237" y="30"/>
                    </a:cubicBezTo>
                    <a:cubicBezTo>
                      <a:pt x="236" y="30"/>
                      <a:pt x="235" y="31"/>
                      <a:pt x="235" y="30"/>
                    </a:cubicBezTo>
                    <a:cubicBezTo>
                      <a:pt x="235" y="30"/>
                      <a:pt x="236" y="30"/>
                      <a:pt x="236" y="30"/>
                    </a:cubicBezTo>
                    <a:cubicBezTo>
                      <a:pt x="235" y="27"/>
                      <a:pt x="234" y="23"/>
                      <a:pt x="233" y="19"/>
                    </a:cubicBezTo>
                    <a:cubicBezTo>
                      <a:pt x="232" y="17"/>
                      <a:pt x="233" y="14"/>
                      <a:pt x="232" y="12"/>
                    </a:cubicBezTo>
                    <a:cubicBezTo>
                      <a:pt x="231" y="13"/>
                      <a:pt x="231" y="14"/>
                      <a:pt x="231" y="14"/>
                    </a:cubicBezTo>
                    <a:cubicBezTo>
                      <a:pt x="231" y="12"/>
                      <a:pt x="231" y="10"/>
                      <a:pt x="229" y="8"/>
                    </a:cubicBezTo>
                    <a:cubicBezTo>
                      <a:pt x="229" y="8"/>
                      <a:pt x="228" y="7"/>
                      <a:pt x="227" y="7"/>
                    </a:cubicBezTo>
                    <a:cubicBezTo>
                      <a:pt x="227" y="7"/>
                      <a:pt x="228" y="9"/>
                      <a:pt x="228" y="9"/>
                    </a:cubicBezTo>
                    <a:cubicBezTo>
                      <a:pt x="228" y="9"/>
                      <a:pt x="227" y="9"/>
                      <a:pt x="227" y="9"/>
                    </a:cubicBezTo>
                    <a:cubicBezTo>
                      <a:pt x="227" y="9"/>
                      <a:pt x="227" y="9"/>
                      <a:pt x="227" y="9"/>
                    </a:cubicBezTo>
                    <a:cubicBezTo>
                      <a:pt x="228" y="10"/>
                      <a:pt x="228" y="10"/>
                      <a:pt x="228" y="10"/>
                    </a:cubicBezTo>
                    <a:cubicBezTo>
                      <a:pt x="227" y="12"/>
                      <a:pt x="227" y="12"/>
                      <a:pt x="227" y="12"/>
                    </a:cubicBezTo>
                    <a:cubicBezTo>
                      <a:pt x="225" y="15"/>
                      <a:pt x="225" y="15"/>
                      <a:pt x="225" y="15"/>
                    </a:cubicBezTo>
                    <a:cubicBezTo>
                      <a:pt x="225" y="15"/>
                      <a:pt x="224" y="16"/>
                      <a:pt x="224" y="16"/>
                    </a:cubicBezTo>
                    <a:cubicBezTo>
                      <a:pt x="223" y="18"/>
                      <a:pt x="222" y="19"/>
                      <a:pt x="221" y="20"/>
                    </a:cubicBezTo>
                    <a:cubicBezTo>
                      <a:pt x="221" y="21"/>
                      <a:pt x="221" y="21"/>
                      <a:pt x="221" y="21"/>
                    </a:cubicBezTo>
                    <a:cubicBezTo>
                      <a:pt x="221" y="21"/>
                      <a:pt x="220" y="22"/>
                      <a:pt x="220" y="22"/>
                    </a:cubicBezTo>
                    <a:cubicBezTo>
                      <a:pt x="220" y="22"/>
                      <a:pt x="220" y="22"/>
                      <a:pt x="220" y="22"/>
                    </a:cubicBezTo>
                    <a:cubicBezTo>
                      <a:pt x="220" y="23"/>
                      <a:pt x="219" y="24"/>
                      <a:pt x="219" y="24"/>
                    </a:cubicBezTo>
                    <a:cubicBezTo>
                      <a:pt x="219" y="25"/>
                      <a:pt x="219" y="25"/>
                      <a:pt x="219" y="25"/>
                    </a:cubicBezTo>
                    <a:cubicBezTo>
                      <a:pt x="219" y="25"/>
                      <a:pt x="219" y="25"/>
                      <a:pt x="219" y="26"/>
                    </a:cubicBezTo>
                    <a:cubicBezTo>
                      <a:pt x="218" y="26"/>
                      <a:pt x="218" y="27"/>
                      <a:pt x="218" y="28"/>
                    </a:cubicBezTo>
                    <a:cubicBezTo>
                      <a:pt x="218" y="28"/>
                      <a:pt x="218" y="28"/>
                      <a:pt x="218" y="28"/>
                    </a:cubicBezTo>
                    <a:cubicBezTo>
                      <a:pt x="217" y="28"/>
                      <a:pt x="217" y="28"/>
                      <a:pt x="217" y="28"/>
                    </a:cubicBezTo>
                    <a:cubicBezTo>
                      <a:pt x="217" y="29"/>
                      <a:pt x="216" y="30"/>
                      <a:pt x="215" y="30"/>
                    </a:cubicBezTo>
                    <a:cubicBezTo>
                      <a:pt x="215" y="30"/>
                      <a:pt x="215" y="30"/>
                      <a:pt x="215" y="30"/>
                    </a:cubicBezTo>
                    <a:cubicBezTo>
                      <a:pt x="215" y="31"/>
                      <a:pt x="215" y="31"/>
                      <a:pt x="214" y="31"/>
                    </a:cubicBezTo>
                    <a:cubicBezTo>
                      <a:pt x="214" y="31"/>
                      <a:pt x="214" y="31"/>
                      <a:pt x="213" y="31"/>
                    </a:cubicBezTo>
                    <a:cubicBezTo>
                      <a:pt x="213" y="31"/>
                      <a:pt x="213" y="31"/>
                      <a:pt x="212" y="31"/>
                    </a:cubicBezTo>
                    <a:cubicBezTo>
                      <a:pt x="210" y="31"/>
                      <a:pt x="210" y="31"/>
                      <a:pt x="210" y="31"/>
                    </a:cubicBezTo>
                    <a:cubicBezTo>
                      <a:pt x="209" y="31"/>
                      <a:pt x="209" y="31"/>
                      <a:pt x="209" y="30"/>
                    </a:cubicBezTo>
                    <a:cubicBezTo>
                      <a:pt x="208" y="30"/>
                      <a:pt x="208" y="30"/>
                      <a:pt x="208" y="30"/>
                    </a:cubicBezTo>
                    <a:cubicBezTo>
                      <a:pt x="208" y="30"/>
                      <a:pt x="207" y="30"/>
                      <a:pt x="207" y="30"/>
                    </a:cubicBezTo>
                    <a:cubicBezTo>
                      <a:pt x="205" y="30"/>
                      <a:pt x="204" y="31"/>
                      <a:pt x="203" y="31"/>
                    </a:cubicBezTo>
                    <a:cubicBezTo>
                      <a:pt x="203" y="31"/>
                      <a:pt x="203" y="31"/>
                      <a:pt x="203" y="31"/>
                    </a:cubicBezTo>
                    <a:cubicBezTo>
                      <a:pt x="202" y="32"/>
                      <a:pt x="202" y="32"/>
                      <a:pt x="202" y="32"/>
                    </a:cubicBezTo>
                    <a:cubicBezTo>
                      <a:pt x="201" y="32"/>
                      <a:pt x="201" y="32"/>
                      <a:pt x="201" y="32"/>
                    </a:cubicBezTo>
                    <a:cubicBezTo>
                      <a:pt x="201" y="31"/>
                      <a:pt x="201" y="31"/>
                      <a:pt x="201" y="31"/>
                    </a:cubicBezTo>
                    <a:cubicBezTo>
                      <a:pt x="201" y="32"/>
                      <a:pt x="201" y="32"/>
                      <a:pt x="201" y="32"/>
                    </a:cubicBezTo>
                    <a:cubicBezTo>
                      <a:pt x="201" y="32"/>
                      <a:pt x="200" y="32"/>
                      <a:pt x="200" y="32"/>
                    </a:cubicBezTo>
                    <a:cubicBezTo>
                      <a:pt x="200" y="32"/>
                      <a:pt x="200" y="32"/>
                      <a:pt x="200" y="32"/>
                    </a:cubicBezTo>
                    <a:cubicBezTo>
                      <a:pt x="199" y="31"/>
                      <a:pt x="199" y="31"/>
                      <a:pt x="199" y="31"/>
                    </a:cubicBezTo>
                    <a:cubicBezTo>
                      <a:pt x="198" y="31"/>
                      <a:pt x="198" y="31"/>
                      <a:pt x="197" y="30"/>
                    </a:cubicBezTo>
                    <a:cubicBezTo>
                      <a:pt x="195" y="29"/>
                      <a:pt x="195" y="29"/>
                      <a:pt x="195" y="29"/>
                    </a:cubicBezTo>
                    <a:cubicBezTo>
                      <a:pt x="194" y="29"/>
                      <a:pt x="194" y="29"/>
                      <a:pt x="194" y="29"/>
                    </a:cubicBezTo>
                    <a:cubicBezTo>
                      <a:pt x="194" y="29"/>
                      <a:pt x="194" y="29"/>
                      <a:pt x="194" y="29"/>
                    </a:cubicBezTo>
                    <a:cubicBezTo>
                      <a:pt x="194" y="28"/>
                      <a:pt x="194" y="28"/>
                      <a:pt x="194" y="28"/>
                    </a:cubicBezTo>
                    <a:cubicBezTo>
                      <a:pt x="192" y="27"/>
                      <a:pt x="192" y="27"/>
                      <a:pt x="192" y="27"/>
                    </a:cubicBezTo>
                    <a:cubicBezTo>
                      <a:pt x="191" y="27"/>
                      <a:pt x="191" y="28"/>
                      <a:pt x="191" y="28"/>
                    </a:cubicBezTo>
                    <a:cubicBezTo>
                      <a:pt x="190" y="28"/>
                      <a:pt x="189" y="29"/>
                      <a:pt x="187" y="29"/>
                    </a:cubicBezTo>
                    <a:cubicBezTo>
                      <a:pt x="187" y="29"/>
                      <a:pt x="187" y="29"/>
                      <a:pt x="187" y="29"/>
                    </a:cubicBezTo>
                    <a:cubicBezTo>
                      <a:pt x="187" y="29"/>
                      <a:pt x="186" y="29"/>
                      <a:pt x="186" y="29"/>
                    </a:cubicBezTo>
                    <a:cubicBezTo>
                      <a:pt x="185" y="29"/>
                      <a:pt x="184" y="29"/>
                      <a:pt x="183" y="28"/>
                    </a:cubicBezTo>
                    <a:cubicBezTo>
                      <a:pt x="183" y="29"/>
                      <a:pt x="183" y="29"/>
                      <a:pt x="183" y="29"/>
                    </a:cubicBezTo>
                    <a:cubicBezTo>
                      <a:pt x="183" y="29"/>
                      <a:pt x="183" y="29"/>
                      <a:pt x="183" y="29"/>
                    </a:cubicBezTo>
                    <a:cubicBezTo>
                      <a:pt x="183" y="30"/>
                      <a:pt x="183" y="30"/>
                      <a:pt x="184" y="31"/>
                    </a:cubicBezTo>
                    <a:cubicBezTo>
                      <a:pt x="184" y="31"/>
                      <a:pt x="184" y="32"/>
                      <a:pt x="184" y="32"/>
                    </a:cubicBezTo>
                    <a:cubicBezTo>
                      <a:pt x="184" y="33"/>
                      <a:pt x="184" y="34"/>
                      <a:pt x="183" y="34"/>
                    </a:cubicBezTo>
                    <a:cubicBezTo>
                      <a:pt x="183" y="34"/>
                      <a:pt x="183" y="34"/>
                      <a:pt x="183" y="34"/>
                    </a:cubicBezTo>
                    <a:cubicBezTo>
                      <a:pt x="183" y="34"/>
                      <a:pt x="183" y="34"/>
                      <a:pt x="182" y="34"/>
                    </a:cubicBezTo>
                    <a:cubicBezTo>
                      <a:pt x="182" y="34"/>
                      <a:pt x="182" y="34"/>
                      <a:pt x="182" y="34"/>
                    </a:cubicBezTo>
                    <a:cubicBezTo>
                      <a:pt x="182" y="35"/>
                      <a:pt x="182" y="35"/>
                      <a:pt x="182" y="35"/>
                    </a:cubicBezTo>
                    <a:cubicBezTo>
                      <a:pt x="182" y="34"/>
                      <a:pt x="182" y="34"/>
                      <a:pt x="182" y="34"/>
                    </a:cubicBezTo>
                    <a:cubicBezTo>
                      <a:pt x="182" y="34"/>
                      <a:pt x="182" y="34"/>
                      <a:pt x="182" y="34"/>
                    </a:cubicBezTo>
                    <a:cubicBezTo>
                      <a:pt x="182" y="34"/>
                      <a:pt x="181" y="34"/>
                      <a:pt x="181" y="34"/>
                    </a:cubicBezTo>
                    <a:cubicBezTo>
                      <a:pt x="180" y="34"/>
                      <a:pt x="180" y="34"/>
                      <a:pt x="180" y="34"/>
                    </a:cubicBezTo>
                    <a:cubicBezTo>
                      <a:pt x="179" y="34"/>
                      <a:pt x="177" y="34"/>
                      <a:pt x="176" y="34"/>
                    </a:cubicBezTo>
                    <a:cubicBezTo>
                      <a:pt x="176" y="34"/>
                      <a:pt x="176" y="34"/>
                      <a:pt x="176" y="34"/>
                    </a:cubicBezTo>
                    <a:cubicBezTo>
                      <a:pt x="176" y="34"/>
                      <a:pt x="176" y="34"/>
                      <a:pt x="176" y="34"/>
                    </a:cubicBezTo>
                    <a:cubicBezTo>
                      <a:pt x="176" y="34"/>
                      <a:pt x="176" y="34"/>
                      <a:pt x="176" y="34"/>
                    </a:cubicBezTo>
                    <a:cubicBezTo>
                      <a:pt x="176" y="34"/>
                      <a:pt x="176" y="34"/>
                      <a:pt x="176" y="34"/>
                    </a:cubicBezTo>
                    <a:cubicBezTo>
                      <a:pt x="175" y="34"/>
                      <a:pt x="175" y="34"/>
                      <a:pt x="175" y="34"/>
                    </a:cubicBezTo>
                    <a:cubicBezTo>
                      <a:pt x="175" y="34"/>
                      <a:pt x="175" y="34"/>
                      <a:pt x="174" y="34"/>
                    </a:cubicBezTo>
                    <a:cubicBezTo>
                      <a:pt x="174" y="34"/>
                      <a:pt x="174" y="34"/>
                      <a:pt x="174" y="34"/>
                    </a:cubicBezTo>
                    <a:cubicBezTo>
                      <a:pt x="174" y="34"/>
                      <a:pt x="174" y="34"/>
                      <a:pt x="174" y="34"/>
                    </a:cubicBezTo>
                    <a:cubicBezTo>
                      <a:pt x="173" y="34"/>
                      <a:pt x="173" y="34"/>
                      <a:pt x="173" y="34"/>
                    </a:cubicBezTo>
                    <a:cubicBezTo>
                      <a:pt x="173" y="34"/>
                      <a:pt x="173" y="34"/>
                      <a:pt x="173" y="34"/>
                    </a:cubicBezTo>
                    <a:cubicBezTo>
                      <a:pt x="172" y="34"/>
                      <a:pt x="172" y="34"/>
                      <a:pt x="172" y="34"/>
                    </a:cubicBezTo>
                    <a:cubicBezTo>
                      <a:pt x="172" y="34"/>
                      <a:pt x="171" y="34"/>
                      <a:pt x="171" y="34"/>
                    </a:cubicBezTo>
                    <a:cubicBezTo>
                      <a:pt x="170" y="33"/>
                      <a:pt x="170" y="33"/>
                      <a:pt x="170" y="33"/>
                    </a:cubicBezTo>
                    <a:cubicBezTo>
                      <a:pt x="169" y="33"/>
                      <a:pt x="169" y="34"/>
                      <a:pt x="169" y="34"/>
                    </a:cubicBezTo>
                    <a:cubicBezTo>
                      <a:pt x="167" y="36"/>
                      <a:pt x="165" y="36"/>
                      <a:pt x="165" y="37"/>
                    </a:cubicBezTo>
                    <a:cubicBezTo>
                      <a:pt x="165" y="37"/>
                      <a:pt x="165" y="37"/>
                      <a:pt x="165" y="37"/>
                    </a:cubicBezTo>
                    <a:cubicBezTo>
                      <a:pt x="164" y="37"/>
                      <a:pt x="162" y="37"/>
                      <a:pt x="158" y="38"/>
                    </a:cubicBezTo>
                    <a:cubicBezTo>
                      <a:pt x="158" y="39"/>
                      <a:pt x="158" y="39"/>
                      <a:pt x="158" y="39"/>
                    </a:cubicBezTo>
                    <a:cubicBezTo>
                      <a:pt x="157" y="40"/>
                      <a:pt x="157" y="41"/>
                      <a:pt x="155" y="41"/>
                    </a:cubicBezTo>
                    <a:cubicBezTo>
                      <a:pt x="154" y="41"/>
                      <a:pt x="153" y="41"/>
                      <a:pt x="153" y="41"/>
                    </a:cubicBezTo>
                    <a:cubicBezTo>
                      <a:pt x="153" y="41"/>
                      <a:pt x="152" y="41"/>
                      <a:pt x="152" y="41"/>
                    </a:cubicBezTo>
                    <a:cubicBezTo>
                      <a:pt x="152" y="41"/>
                      <a:pt x="152" y="41"/>
                      <a:pt x="152" y="41"/>
                    </a:cubicBezTo>
                    <a:cubicBezTo>
                      <a:pt x="152" y="41"/>
                      <a:pt x="152" y="41"/>
                      <a:pt x="152" y="41"/>
                    </a:cubicBezTo>
                    <a:cubicBezTo>
                      <a:pt x="152" y="41"/>
                      <a:pt x="151" y="40"/>
                      <a:pt x="151" y="40"/>
                    </a:cubicBezTo>
                    <a:cubicBezTo>
                      <a:pt x="151" y="40"/>
                      <a:pt x="151" y="40"/>
                      <a:pt x="150" y="40"/>
                    </a:cubicBezTo>
                    <a:cubicBezTo>
                      <a:pt x="148" y="40"/>
                      <a:pt x="147" y="38"/>
                      <a:pt x="146" y="38"/>
                    </a:cubicBezTo>
                    <a:cubicBezTo>
                      <a:pt x="146" y="37"/>
                      <a:pt x="146" y="37"/>
                      <a:pt x="146" y="37"/>
                    </a:cubicBezTo>
                    <a:cubicBezTo>
                      <a:pt x="145" y="37"/>
                      <a:pt x="143" y="35"/>
                      <a:pt x="143" y="33"/>
                    </a:cubicBezTo>
                    <a:cubicBezTo>
                      <a:pt x="143" y="30"/>
                      <a:pt x="142" y="29"/>
                      <a:pt x="142" y="29"/>
                    </a:cubicBezTo>
                    <a:cubicBezTo>
                      <a:pt x="141" y="29"/>
                      <a:pt x="141" y="29"/>
                      <a:pt x="141" y="29"/>
                    </a:cubicBezTo>
                    <a:cubicBezTo>
                      <a:pt x="141" y="29"/>
                      <a:pt x="141" y="28"/>
                      <a:pt x="141" y="27"/>
                    </a:cubicBezTo>
                    <a:cubicBezTo>
                      <a:pt x="140" y="25"/>
                      <a:pt x="140" y="23"/>
                      <a:pt x="141" y="19"/>
                    </a:cubicBezTo>
                    <a:cubicBezTo>
                      <a:pt x="141" y="19"/>
                      <a:pt x="143" y="14"/>
                      <a:pt x="144" y="13"/>
                    </a:cubicBezTo>
                    <a:cubicBezTo>
                      <a:pt x="144" y="13"/>
                      <a:pt x="144" y="13"/>
                      <a:pt x="144" y="13"/>
                    </a:cubicBezTo>
                    <a:cubicBezTo>
                      <a:pt x="143" y="11"/>
                      <a:pt x="142" y="9"/>
                      <a:pt x="143" y="8"/>
                    </a:cubicBezTo>
                    <a:cubicBezTo>
                      <a:pt x="142" y="8"/>
                      <a:pt x="141" y="8"/>
                      <a:pt x="140" y="8"/>
                    </a:cubicBezTo>
                    <a:cubicBezTo>
                      <a:pt x="138" y="7"/>
                      <a:pt x="138" y="7"/>
                      <a:pt x="138" y="7"/>
                    </a:cubicBezTo>
                    <a:cubicBezTo>
                      <a:pt x="139" y="6"/>
                      <a:pt x="139" y="6"/>
                      <a:pt x="139" y="6"/>
                    </a:cubicBezTo>
                    <a:cubicBezTo>
                      <a:pt x="140" y="3"/>
                      <a:pt x="140" y="1"/>
                      <a:pt x="140" y="1"/>
                    </a:cubicBezTo>
                    <a:cubicBezTo>
                      <a:pt x="139" y="0"/>
                      <a:pt x="139" y="0"/>
                      <a:pt x="139" y="0"/>
                    </a:cubicBezTo>
                    <a:cubicBezTo>
                      <a:pt x="139" y="0"/>
                      <a:pt x="139" y="0"/>
                      <a:pt x="139" y="0"/>
                    </a:cubicBezTo>
                    <a:cubicBezTo>
                      <a:pt x="139" y="0"/>
                      <a:pt x="138" y="0"/>
                      <a:pt x="138" y="0"/>
                    </a:cubicBezTo>
                    <a:cubicBezTo>
                      <a:pt x="138" y="0"/>
                      <a:pt x="138" y="0"/>
                      <a:pt x="138" y="0"/>
                    </a:cubicBezTo>
                    <a:cubicBezTo>
                      <a:pt x="137" y="0"/>
                      <a:pt x="137" y="0"/>
                      <a:pt x="137" y="0"/>
                    </a:cubicBezTo>
                    <a:cubicBezTo>
                      <a:pt x="136" y="0"/>
                      <a:pt x="136" y="0"/>
                      <a:pt x="136" y="0"/>
                    </a:cubicBezTo>
                    <a:cubicBezTo>
                      <a:pt x="136" y="0"/>
                      <a:pt x="136" y="1"/>
                      <a:pt x="136" y="1"/>
                    </a:cubicBezTo>
                    <a:cubicBezTo>
                      <a:pt x="136" y="1"/>
                      <a:pt x="136" y="1"/>
                      <a:pt x="136" y="2"/>
                    </a:cubicBezTo>
                    <a:cubicBezTo>
                      <a:pt x="136" y="2"/>
                      <a:pt x="136" y="2"/>
                      <a:pt x="136" y="2"/>
                    </a:cubicBezTo>
                    <a:cubicBezTo>
                      <a:pt x="136" y="2"/>
                      <a:pt x="136" y="2"/>
                      <a:pt x="136" y="3"/>
                    </a:cubicBezTo>
                    <a:cubicBezTo>
                      <a:pt x="138" y="4"/>
                      <a:pt x="138" y="4"/>
                      <a:pt x="138" y="4"/>
                    </a:cubicBezTo>
                    <a:cubicBezTo>
                      <a:pt x="135" y="3"/>
                      <a:pt x="135" y="3"/>
                      <a:pt x="135" y="3"/>
                    </a:cubicBezTo>
                    <a:cubicBezTo>
                      <a:pt x="135" y="4"/>
                      <a:pt x="135" y="4"/>
                      <a:pt x="135" y="4"/>
                    </a:cubicBezTo>
                    <a:cubicBezTo>
                      <a:pt x="135" y="4"/>
                      <a:pt x="135" y="4"/>
                      <a:pt x="135" y="4"/>
                    </a:cubicBezTo>
                    <a:cubicBezTo>
                      <a:pt x="135" y="4"/>
                      <a:pt x="135" y="4"/>
                      <a:pt x="135" y="4"/>
                    </a:cubicBezTo>
                    <a:cubicBezTo>
                      <a:pt x="134" y="4"/>
                      <a:pt x="133" y="5"/>
                      <a:pt x="133" y="6"/>
                    </a:cubicBezTo>
                    <a:cubicBezTo>
                      <a:pt x="134" y="7"/>
                      <a:pt x="134" y="7"/>
                      <a:pt x="134" y="7"/>
                    </a:cubicBezTo>
                    <a:cubicBezTo>
                      <a:pt x="132" y="6"/>
                      <a:pt x="132" y="6"/>
                      <a:pt x="132" y="6"/>
                    </a:cubicBezTo>
                    <a:cubicBezTo>
                      <a:pt x="132" y="6"/>
                      <a:pt x="132" y="6"/>
                      <a:pt x="132" y="6"/>
                    </a:cubicBezTo>
                    <a:cubicBezTo>
                      <a:pt x="132" y="6"/>
                      <a:pt x="131" y="7"/>
                      <a:pt x="131" y="7"/>
                    </a:cubicBezTo>
                    <a:cubicBezTo>
                      <a:pt x="130" y="7"/>
                      <a:pt x="130" y="7"/>
                      <a:pt x="130" y="7"/>
                    </a:cubicBezTo>
                    <a:cubicBezTo>
                      <a:pt x="130" y="7"/>
                      <a:pt x="129" y="7"/>
                      <a:pt x="129" y="7"/>
                    </a:cubicBezTo>
                    <a:cubicBezTo>
                      <a:pt x="129" y="7"/>
                      <a:pt x="129" y="7"/>
                      <a:pt x="129" y="7"/>
                    </a:cubicBezTo>
                    <a:cubicBezTo>
                      <a:pt x="129" y="7"/>
                      <a:pt x="128" y="8"/>
                      <a:pt x="128" y="8"/>
                    </a:cubicBezTo>
                    <a:cubicBezTo>
                      <a:pt x="128" y="8"/>
                      <a:pt x="127" y="8"/>
                      <a:pt x="127" y="8"/>
                    </a:cubicBezTo>
                    <a:cubicBezTo>
                      <a:pt x="126" y="9"/>
                      <a:pt x="126" y="10"/>
                      <a:pt x="124" y="10"/>
                    </a:cubicBezTo>
                    <a:cubicBezTo>
                      <a:pt x="123" y="10"/>
                      <a:pt x="123" y="10"/>
                      <a:pt x="123" y="10"/>
                    </a:cubicBezTo>
                    <a:cubicBezTo>
                      <a:pt x="120" y="10"/>
                      <a:pt x="118" y="11"/>
                      <a:pt x="115" y="11"/>
                    </a:cubicBezTo>
                    <a:cubicBezTo>
                      <a:pt x="115" y="12"/>
                      <a:pt x="115" y="12"/>
                      <a:pt x="115" y="12"/>
                    </a:cubicBezTo>
                    <a:cubicBezTo>
                      <a:pt x="114" y="12"/>
                      <a:pt x="114" y="12"/>
                      <a:pt x="114" y="12"/>
                    </a:cubicBezTo>
                    <a:cubicBezTo>
                      <a:pt x="114" y="12"/>
                      <a:pt x="114" y="12"/>
                      <a:pt x="114" y="12"/>
                    </a:cubicBezTo>
                    <a:cubicBezTo>
                      <a:pt x="114" y="12"/>
                      <a:pt x="114" y="12"/>
                      <a:pt x="114" y="12"/>
                    </a:cubicBezTo>
                    <a:cubicBezTo>
                      <a:pt x="114" y="12"/>
                      <a:pt x="114" y="12"/>
                      <a:pt x="114" y="12"/>
                    </a:cubicBezTo>
                    <a:cubicBezTo>
                      <a:pt x="114" y="13"/>
                      <a:pt x="114" y="13"/>
                      <a:pt x="114" y="14"/>
                    </a:cubicBezTo>
                    <a:cubicBezTo>
                      <a:pt x="114" y="14"/>
                      <a:pt x="114" y="14"/>
                      <a:pt x="114" y="14"/>
                    </a:cubicBezTo>
                    <a:cubicBezTo>
                      <a:pt x="113" y="16"/>
                      <a:pt x="112" y="17"/>
                      <a:pt x="111" y="17"/>
                    </a:cubicBezTo>
                    <a:cubicBezTo>
                      <a:pt x="110" y="17"/>
                      <a:pt x="109" y="16"/>
                      <a:pt x="108" y="14"/>
                    </a:cubicBezTo>
                    <a:cubicBezTo>
                      <a:pt x="108" y="14"/>
                      <a:pt x="107" y="14"/>
                      <a:pt x="107" y="13"/>
                    </a:cubicBezTo>
                    <a:cubicBezTo>
                      <a:pt x="107" y="13"/>
                      <a:pt x="107" y="13"/>
                      <a:pt x="107" y="13"/>
                    </a:cubicBezTo>
                    <a:cubicBezTo>
                      <a:pt x="106" y="15"/>
                      <a:pt x="106" y="15"/>
                      <a:pt x="106" y="15"/>
                    </a:cubicBezTo>
                    <a:cubicBezTo>
                      <a:pt x="105" y="14"/>
                      <a:pt x="105" y="14"/>
                      <a:pt x="105" y="14"/>
                    </a:cubicBezTo>
                    <a:cubicBezTo>
                      <a:pt x="104" y="13"/>
                      <a:pt x="103" y="13"/>
                      <a:pt x="102" y="13"/>
                    </a:cubicBezTo>
                    <a:cubicBezTo>
                      <a:pt x="102" y="13"/>
                      <a:pt x="101" y="13"/>
                      <a:pt x="101" y="13"/>
                    </a:cubicBezTo>
                    <a:cubicBezTo>
                      <a:pt x="100" y="13"/>
                      <a:pt x="100" y="13"/>
                      <a:pt x="99" y="13"/>
                    </a:cubicBezTo>
                    <a:cubicBezTo>
                      <a:pt x="99" y="13"/>
                      <a:pt x="99" y="13"/>
                      <a:pt x="99" y="13"/>
                    </a:cubicBezTo>
                    <a:cubicBezTo>
                      <a:pt x="98" y="13"/>
                      <a:pt x="98" y="12"/>
                      <a:pt x="97" y="12"/>
                    </a:cubicBezTo>
                    <a:cubicBezTo>
                      <a:pt x="96" y="11"/>
                      <a:pt x="96" y="11"/>
                      <a:pt x="95" y="11"/>
                    </a:cubicBezTo>
                    <a:cubicBezTo>
                      <a:pt x="95" y="11"/>
                      <a:pt x="96" y="12"/>
                      <a:pt x="96" y="12"/>
                    </a:cubicBezTo>
                    <a:cubicBezTo>
                      <a:pt x="96" y="12"/>
                      <a:pt x="97" y="12"/>
                      <a:pt x="97" y="13"/>
                    </a:cubicBezTo>
                    <a:cubicBezTo>
                      <a:pt x="98" y="13"/>
                      <a:pt x="98" y="14"/>
                      <a:pt x="99" y="14"/>
                    </a:cubicBezTo>
                    <a:cubicBezTo>
                      <a:pt x="99" y="15"/>
                      <a:pt x="99" y="15"/>
                      <a:pt x="99" y="16"/>
                    </a:cubicBezTo>
                    <a:cubicBezTo>
                      <a:pt x="100" y="16"/>
                      <a:pt x="99" y="16"/>
                      <a:pt x="99" y="17"/>
                    </a:cubicBezTo>
                    <a:cubicBezTo>
                      <a:pt x="99" y="17"/>
                      <a:pt x="99" y="17"/>
                      <a:pt x="99" y="17"/>
                    </a:cubicBezTo>
                    <a:cubicBezTo>
                      <a:pt x="99" y="18"/>
                      <a:pt x="100" y="19"/>
                      <a:pt x="100" y="20"/>
                    </a:cubicBezTo>
                    <a:cubicBezTo>
                      <a:pt x="101" y="21"/>
                      <a:pt x="101" y="22"/>
                      <a:pt x="101" y="23"/>
                    </a:cubicBezTo>
                    <a:cubicBezTo>
                      <a:pt x="101" y="24"/>
                      <a:pt x="101" y="25"/>
                      <a:pt x="101" y="25"/>
                    </a:cubicBezTo>
                    <a:cubicBezTo>
                      <a:pt x="101" y="26"/>
                      <a:pt x="101" y="26"/>
                      <a:pt x="101" y="26"/>
                    </a:cubicBezTo>
                    <a:cubicBezTo>
                      <a:pt x="101" y="26"/>
                      <a:pt x="101" y="26"/>
                      <a:pt x="101" y="26"/>
                    </a:cubicBezTo>
                    <a:cubicBezTo>
                      <a:pt x="102" y="26"/>
                      <a:pt x="103" y="26"/>
                      <a:pt x="106" y="26"/>
                    </a:cubicBezTo>
                    <a:cubicBezTo>
                      <a:pt x="106" y="26"/>
                      <a:pt x="106" y="26"/>
                      <a:pt x="106" y="26"/>
                    </a:cubicBezTo>
                    <a:cubicBezTo>
                      <a:pt x="107" y="26"/>
                      <a:pt x="107" y="26"/>
                      <a:pt x="107" y="26"/>
                    </a:cubicBezTo>
                    <a:cubicBezTo>
                      <a:pt x="108" y="27"/>
                      <a:pt x="108" y="27"/>
                      <a:pt x="108" y="27"/>
                    </a:cubicBezTo>
                    <a:cubicBezTo>
                      <a:pt x="108" y="28"/>
                      <a:pt x="108" y="28"/>
                      <a:pt x="108" y="28"/>
                    </a:cubicBezTo>
                    <a:cubicBezTo>
                      <a:pt x="108" y="28"/>
                      <a:pt x="108" y="28"/>
                      <a:pt x="108" y="28"/>
                    </a:cubicBezTo>
                    <a:cubicBezTo>
                      <a:pt x="107" y="30"/>
                      <a:pt x="107" y="30"/>
                      <a:pt x="106" y="31"/>
                    </a:cubicBezTo>
                    <a:cubicBezTo>
                      <a:pt x="107" y="33"/>
                      <a:pt x="107" y="33"/>
                      <a:pt x="107" y="33"/>
                    </a:cubicBezTo>
                    <a:cubicBezTo>
                      <a:pt x="105" y="31"/>
                      <a:pt x="105" y="31"/>
                      <a:pt x="105" y="31"/>
                    </a:cubicBezTo>
                    <a:cubicBezTo>
                      <a:pt x="104" y="32"/>
                      <a:pt x="104" y="32"/>
                      <a:pt x="104" y="32"/>
                    </a:cubicBezTo>
                    <a:cubicBezTo>
                      <a:pt x="103" y="32"/>
                      <a:pt x="102" y="33"/>
                      <a:pt x="101" y="33"/>
                    </a:cubicBezTo>
                    <a:cubicBezTo>
                      <a:pt x="101" y="33"/>
                      <a:pt x="101" y="34"/>
                      <a:pt x="101" y="34"/>
                    </a:cubicBezTo>
                    <a:cubicBezTo>
                      <a:pt x="101" y="34"/>
                      <a:pt x="101" y="34"/>
                      <a:pt x="101" y="34"/>
                    </a:cubicBezTo>
                    <a:cubicBezTo>
                      <a:pt x="100" y="35"/>
                      <a:pt x="99" y="38"/>
                      <a:pt x="98" y="39"/>
                    </a:cubicBezTo>
                    <a:cubicBezTo>
                      <a:pt x="98" y="39"/>
                      <a:pt x="98" y="39"/>
                      <a:pt x="98" y="39"/>
                    </a:cubicBezTo>
                    <a:cubicBezTo>
                      <a:pt x="98" y="39"/>
                      <a:pt x="97" y="39"/>
                      <a:pt x="97" y="39"/>
                    </a:cubicBezTo>
                    <a:cubicBezTo>
                      <a:pt x="97" y="39"/>
                      <a:pt x="97" y="39"/>
                      <a:pt x="97" y="39"/>
                    </a:cubicBezTo>
                    <a:cubicBezTo>
                      <a:pt x="97" y="39"/>
                      <a:pt x="97" y="39"/>
                      <a:pt x="97" y="39"/>
                    </a:cubicBezTo>
                    <a:cubicBezTo>
                      <a:pt x="96" y="39"/>
                      <a:pt x="96" y="39"/>
                      <a:pt x="96" y="39"/>
                    </a:cubicBezTo>
                    <a:cubicBezTo>
                      <a:pt x="96" y="39"/>
                      <a:pt x="96" y="39"/>
                      <a:pt x="95" y="39"/>
                    </a:cubicBezTo>
                    <a:cubicBezTo>
                      <a:pt x="95" y="39"/>
                      <a:pt x="95" y="39"/>
                      <a:pt x="95" y="39"/>
                    </a:cubicBezTo>
                    <a:cubicBezTo>
                      <a:pt x="94" y="40"/>
                      <a:pt x="93" y="40"/>
                      <a:pt x="92" y="41"/>
                    </a:cubicBezTo>
                    <a:cubicBezTo>
                      <a:pt x="92" y="41"/>
                      <a:pt x="92" y="41"/>
                      <a:pt x="92" y="41"/>
                    </a:cubicBezTo>
                    <a:cubicBezTo>
                      <a:pt x="90" y="41"/>
                      <a:pt x="90" y="41"/>
                      <a:pt x="89" y="42"/>
                    </a:cubicBezTo>
                    <a:cubicBezTo>
                      <a:pt x="89" y="43"/>
                      <a:pt x="88" y="43"/>
                      <a:pt x="88" y="44"/>
                    </a:cubicBezTo>
                    <a:cubicBezTo>
                      <a:pt x="88" y="44"/>
                      <a:pt x="88" y="44"/>
                      <a:pt x="88" y="44"/>
                    </a:cubicBezTo>
                    <a:cubicBezTo>
                      <a:pt x="88" y="44"/>
                      <a:pt x="88" y="44"/>
                      <a:pt x="88" y="44"/>
                    </a:cubicBezTo>
                    <a:cubicBezTo>
                      <a:pt x="87" y="44"/>
                      <a:pt x="87" y="44"/>
                      <a:pt x="87" y="45"/>
                    </a:cubicBezTo>
                    <a:cubicBezTo>
                      <a:pt x="87" y="45"/>
                      <a:pt x="87" y="45"/>
                      <a:pt x="87" y="45"/>
                    </a:cubicBezTo>
                    <a:cubicBezTo>
                      <a:pt x="85" y="46"/>
                      <a:pt x="85" y="46"/>
                      <a:pt x="84" y="46"/>
                    </a:cubicBezTo>
                    <a:cubicBezTo>
                      <a:pt x="84" y="46"/>
                      <a:pt x="83" y="46"/>
                      <a:pt x="83" y="46"/>
                    </a:cubicBezTo>
                    <a:cubicBezTo>
                      <a:pt x="83" y="45"/>
                      <a:pt x="83" y="45"/>
                      <a:pt x="83" y="44"/>
                    </a:cubicBezTo>
                    <a:cubicBezTo>
                      <a:pt x="82" y="44"/>
                      <a:pt x="82" y="45"/>
                      <a:pt x="81" y="45"/>
                    </a:cubicBezTo>
                    <a:cubicBezTo>
                      <a:pt x="81" y="45"/>
                      <a:pt x="81" y="45"/>
                      <a:pt x="81" y="45"/>
                    </a:cubicBezTo>
                    <a:cubicBezTo>
                      <a:pt x="80" y="45"/>
                      <a:pt x="79" y="46"/>
                      <a:pt x="78" y="46"/>
                    </a:cubicBezTo>
                    <a:cubicBezTo>
                      <a:pt x="76" y="46"/>
                      <a:pt x="75" y="45"/>
                      <a:pt x="74" y="44"/>
                    </a:cubicBezTo>
                    <a:cubicBezTo>
                      <a:pt x="73" y="43"/>
                      <a:pt x="73" y="43"/>
                      <a:pt x="72" y="42"/>
                    </a:cubicBezTo>
                    <a:cubicBezTo>
                      <a:pt x="72" y="42"/>
                      <a:pt x="72" y="42"/>
                      <a:pt x="72" y="42"/>
                    </a:cubicBezTo>
                    <a:cubicBezTo>
                      <a:pt x="72" y="42"/>
                      <a:pt x="71" y="42"/>
                      <a:pt x="71" y="42"/>
                    </a:cubicBezTo>
                    <a:cubicBezTo>
                      <a:pt x="71" y="42"/>
                      <a:pt x="71" y="42"/>
                      <a:pt x="71" y="42"/>
                    </a:cubicBezTo>
                    <a:cubicBezTo>
                      <a:pt x="71" y="41"/>
                      <a:pt x="71" y="41"/>
                      <a:pt x="70" y="41"/>
                    </a:cubicBezTo>
                    <a:cubicBezTo>
                      <a:pt x="70" y="41"/>
                      <a:pt x="70" y="41"/>
                      <a:pt x="70" y="41"/>
                    </a:cubicBezTo>
                    <a:cubicBezTo>
                      <a:pt x="70" y="41"/>
                      <a:pt x="70" y="41"/>
                      <a:pt x="70" y="41"/>
                    </a:cubicBezTo>
                    <a:cubicBezTo>
                      <a:pt x="70" y="41"/>
                      <a:pt x="70" y="41"/>
                      <a:pt x="69" y="41"/>
                    </a:cubicBezTo>
                    <a:cubicBezTo>
                      <a:pt x="69" y="41"/>
                      <a:pt x="69" y="41"/>
                      <a:pt x="69" y="41"/>
                    </a:cubicBezTo>
                    <a:cubicBezTo>
                      <a:pt x="69" y="41"/>
                      <a:pt x="69" y="41"/>
                      <a:pt x="69" y="41"/>
                    </a:cubicBezTo>
                    <a:cubicBezTo>
                      <a:pt x="69" y="41"/>
                      <a:pt x="68" y="41"/>
                      <a:pt x="68" y="41"/>
                    </a:cubicBezTo>
                    <a:cubicBezTo>
                      <a:pt x="67" y="40"/>
                      <a:pt x="67" y="38"/>
                      <a:pt x="67" y="36"/>
                    </a:cubicBezTo>
                    <a:cubicBezTo>
                      <a:pt x="68" y="35"/>
                      <a:pt x="66" y="33"/>
                      <a:pt x="65" y="32"/>
                    </a:cubicBezTo>
                    <a:cubicBezTo>
                      <a:pt x="65" y="32"/>
                      <a:pt x="64" y="32"/>
                      <a:pt x="63" y="33"/>
                    </a:cubicBezTo>
                    <a:cubicBezTo>
                      <a:pt x="63" y="34"/>
                      <a:pt x="62" y="34"/>
                      <a:pt x="62" y="34"/>
                    </a:cubicBezTo>
                    <a:cubicBezTo>
                      <a:pt x="62" y="35"/>
                      <a:pt x="61" y="35"/>
                      <a:pt x="61" y="35"/>
                    </a:cubicBezTo>
                    <a:cubicBezTo>
                      <a:pt x="61" y="36"/>
                      <a:pt x="61" y="36"/>
                      <a:pt x="61" y="36"/>
                    </a:cubicBezTo>
                    <a:cubicBezTo>
                      <a:pt x="57" y="36"/>
                      <a:pt x="57" y="36"/>
                      <a:pt x="57" y="36"/>
                    </a:cubicBezTo>
                    <a:cubicBezTo>
                      <a:pt x="55" y="36"/>
                      <a:pt x="49" y="36"/>
                      <a:pt x="45" y="36"/>
                    </a:cubicBezTo>
                    <a:cubicBezTo>
                      <a:pt x="45" y="36"/>
                      <a:pt x="44" y="36"/>
                      <a:pt x="44" y="36"/>
                    </a:cubicBezTo>
                    <a:cubicBezTo>
                      <a:pt x="43" y="36"/>
                      <a:pt x="42" y="36"/>
                      <a:pt x="42" y="36"/>
                    </a:cubicBezTo>
                    <a:cubicBezTo>
                      <a:pt x="42" y="36"/>
                      <a:pt x="42" y="36"/>
                      <a:pt x="42" y="36"/>
                    </a:cubicBezTo>
                    <a:cubicBezTo>
                      <a:pt x="42" y="37"/>
                      <a:pt x="42" y="38"/>
                      <a:pt x="42" y="39"/>
                    </a:cubicBezTo>
                    <a:cubicBezTo>
                      <a:pt x="43" y="39"/>
                      <a:pt x="44" y="40"/>
                      <a:pt x="45" y="40"/>
                    </a:cubicBezTo>
                    <a:cubicBezTo>
                      <a:pt x="45" y="40"/>
                      <a:pt x="45" y="40"/>
                      <a:pt x="46" y="40"/>
                    </a:cubicBezTo>
                    <a:cubicBezTo>
                      <a:pt x="47" y="40"/>
                      <a:pt x="48" y="41"/>
                      <a:pt x="48" y="42"/>
                    </a:cubicBezTo>
                    <a:cubicBezTo>
                      <a:pt x="48" y="43"/>
                      <a:pt x="49" y="44"/>
                      <a:pt x="49" y="45"/>
                    </a:cubicBezTo>
                    <a:cubicBezTo>
                      <a:pt x="49" y="47"/>
                      <a:pt x="49" y="47"/>
                      <a:pt x="49" y="47"/>
                    </a:cubicBezTo>
                    <a:cubicBezTo>
                      <a:pt x="48" y="47"/>
                      <a:pt x="48" y="47"/>
                      <a:pt x="48" y="47"/>
                    </a:cubicBezTo>
                    <a:cubicBezTo>
                      <a:pt x="48" y="47"/>
                      <a:pt x="48" y="47"/>
                      <a:pt x="47" y="47"/>
                    </a:cubicBezTo>
                    <a:cubicBezTo>
                      <a:pt x="47" y="47"/>
                      <a:pt x="46" y="46"/>
                      <a:pt x="45" y="46"/>
                    </a:cubicBezTo>
                    <a:cubicBezTo>
                      <a:pt x="44" y="46"/>
                      <a:pt x="44" y="46"/>
                      <a:pt x="43" y="46"/>
                    </a:cubicBezTo>
                    <a:cubicBezTo>
                      <a:pt x="42" y="46"/>
                      <a:pt x="42" y="46"/>
                      <a:pt x="42" y="46"/>
                    </a:cubicBezTo>
                    <a:cubicBezTo>
                      <a:pt x="41" y="46"/>
                      <a:pt x="41" y="46"/>
                      <a:pt x="41" y="46"/>
                    </a:cubicBezTo>
                    <a:cubicBezTo>
                      <a:pt x="40" y="47"/>
                      <a:pt x="39" y="47"/>
                      <a:pt x="39" y="47"/>
                    </a:cubicBezTo>
                    <a:cubicBezTo>
                      <a:pt x="40" y="48"/>
                      <a:pt x="39" y="49"/>
                      <a:pt x="39" y="50"/>
                    </a:cubicBezTo>
                    <a:cubicBezTo>
                      <a:pt x="39" y="51"/>
                      <a:pt x="39" y="51"/>
                      <a:pt x="39" y="52"/>
                    </a:cubicBezTo>
                    <a:cubicBezTo>
                      <a:pt x="39" y="53"/>
                      <a:pt x="41" y="55"/>
                      <a:pt x="43" y="56"/>
                    </a:cubicBezTo>
                    <a:cubicBezTo>
                      <a:pt x="44" y="57"/>
                      <a:pt x="45" y="59"/>
                      <a:pt x="45" y="60"/>
                    </a:cubicBezTo>
                    <a:cubicBezTo>
                      <a:pt x="45" y="61"/>
                      <a:pt x="45" y="61"/>
                      <a:pt x="45" y="62"/>
                    </a:cubicBezTo>
                    <a:cubicBezTo>
                      <a:pt x="46" y="64"/>
                      <a:pt x="46" y="67"/>
                      <a:pt x="45" y="73"/>
                    </a:cubicBezTo>
                    <a:cubicBezTo>
                      <a:pt x="44" y="75"/>
                      <a:pt x="44" y="75"/>
                      <a:pt x="44" y="75"/>
                    </a:cubicBezTo>
                    <a:cubicBezTo>
                      <a:pt x="44" y="75"/>
                      <a:pt x="44" y="76"/>
                      <a:pt x="44" y="76"/>
                    </a:cubicBezTo>
                    <a:cubicBezTo>
                      <a:pt x="44" y="77"/>
                      <a:pt x="44" y="77"/>
                      <a:pt x="44" y="77"/>
                    </a:cubicBezTo>
                    <a:cubicBezTo>
                      <a:pt x="44" y="77"/>
                      <a:pt x="44" y="77"/>
                      <a:pt x="44" y="77"/>
                    </a:cubicBezTo>
                    <a:cubicBezTo>
                      <a:pt x="44" y="79"/>
                      <a:pt x="44" y="79"/>
                      <a:pt x="44" y="79"/>
                    </a:cubicBezTo>
                    <a:cubicBezTo>
                      <a:pt x="44" y="79"/>
                      <a:pt x="44" y="79"/>
                      <a:pt x="43" y="80"/>
                    </a:cubicBezTo>
                    <a:cubicBezTo>
                      <a:pt x="43" y="80"/>
                      <a:pt x="43" y="80"/>
                      <a:pt x="43" y="80"/>
                    </a:cubicBezTo>
                    <a:cubicBezTo>
                      <a:pt x="43" y="81"/>
                      <a:pt x="43" y="81"/>
                      <a:pt x="43" y="81"/>
                    </a:cubicBezTo>
                    <a:cubicBezTo>
                      <a:pt x="43" y="82"/>
                      <a:pt x="43" y="82"/>
                      <a:pt x="43" y="82"/>
                    </a:cubicBezTo>
                    <a:cubicBezTo>
                      <a:pt x="43" y="82"/>
                      <a:pt x="43" y="83"/>
                      <a:pt x="43" y="83"/>
                    </a:cubicBezTo>
                    <a:cubicBezTo>
                      <a:pt x="43" y="83"/>
                      <a:pt x="43" y="84"/>
                      <a:pt x="43" y="84"/>
                    </a:cubicBezTo>
                    <a:cubicBezTo>
                      <a:pt x="42" y="88"/>
                      <a:pt x="41" y="93"/>
                      <a:pt x="40" y="95"/>
                    </a:cubicBezTo>
                    <a:cubicBezTo>
                      <a:pt x="41" y="96"/>
                      <a:pt x="41" y="97"/>
                      <a:pt x="40" y="98"/>
                    </a:cubicBezTo>
                    <a:cubicBezTo>
                      <a:pt x="39" y="98"/>
                      <a:pt x="39" y="98"/>
                      <a:pt x="39" y="98"/>
                    </a:cubicBezTo>
                    <a:cubicBezTo>
                      <a:pt x="38" y="98"/>
                      <a:pt x="38" y="98"/>
                      <a:pt x="38" y="98"/>
                    </a:cubicBezTo>
                    <a:cubicBezTo>
                      <a:pt x="38" y="97"/>
                      <a:pt x="37" y="97"/>
                      <a:pt x="37" y="97"/>
                    </a:cubicBezTo>
                    <a:cubicBezTo>
                      <a:pt x="36" y="97"/>
                      <a:pt x="35" y="97"/>
                      <a:pt x="35" y="96"/>
                    </a:cubicBezTo>
                    <a:cubicBezTo>
                      <a:pt x="34" y="96"/>
                      <a:pt x="34" y="96"/>
                      <a:pt x="34" y="96"/>
                    </a:cubicBezTo>
                    <a:cubicBezTo>
                      <a:pt x="34" y="96"/>
                      <a:pt x="34" y="95"/>
                      <a:pt x="33" y="96"/>
                    </a:cubicBezTo>
                    <a:cubicBezTo>
                      <a:pt x="33" y="96"/>
                      <a:pt x="33" y="96"/>
                      <a:pt x="32" y="96"/>
                    </a:cubicBezTo>
                    <a:cubicBezTo>
                      <a:pt x="32" y="96"/>
                      <a:pt x="32" y="96"/>
                      <a:pt x="32" y="97"/>
                    </a:cubicBezTo>
                    <a:cubicBezTo>
                      <a:pt x="31" y="97"/>
                      <a:pt x="31" y="97"/>
                      <a:pt x="31" y="97"/>
                    </a:cubicBezTo>
                    <a:cubicBezTo>
                      <a:pt x="31" y="97"/>
                      <a:pt x="30" y="98"/>
                      <a:pt x="30" y="98"/>
                    </a:cubicBezTo>
                    <a:cubicBezTo>
                      <a:pt x="29" y="99"/>
                      <a:pt x="28" y="98"/>
                      <a:pt x="27" y="98"/>
                    </a:cubicBezTo>
                    <a:cubicBezTo>
                      <a:pt x="27" y="98"/>
                      <a:pt x="27" y="98"/>
                      <a:pt x="27" y="98"/>
                    </a:cubicBezTo>
                    <a:cubicBezTo>
                      <a:pt x="26" y="98"/>
                      <a:pt x="25" y="99"/>
                      <a:pt x="24" y="99"/>
                    </a:cubicBezTo>
                    <a:cubicBezTo>
                      <a:pt x="23" y="99"/>
                      <a:pt x="23" y="99"/>
                      <a:pt x="23" y="99"/>
                    </a:cubicBezTo>
                    <a:cubicBezTo>
                      <a:pt x="23" y="99"/>
                      <a:pt x="23" y="99"/>
                      <a:pt x="22" y="99"/>
                    </a:cubicBezTo>
                    <a:cubicBezTo>
                      <a:pt x="22" y="99"/>
                      <a:pt x="22" y="99"/>
                      <a:pt x="22" y="99"/>
                    </a:cubicBezTo>
                    <a:cubicBezTo>
                      <a:pt x="20" y="100"/>
                      <a:pt x="19" y="100"/>
                      <a:pt x="17" y="101"/>
                    </a:cubicBezTo>
                    <a:cubicBezTo>
                      <a:pt x="16" y="102"/>
                      <a:pt x="16" y="102"/>
                      <a:pt x="15" y="103"/>
                    </a:cubicBezTo>
                    <a:cubicBezTo>
                      <a:pt x="15" y="103"/>
                      <a:pt x="15" y="103"/>
                      <a:pt x="15" y="103"/>
                    </a:cubicBezTo>
                    <a:cubicBezTo>
                      <a:pt x="14" y="104"/>
                      <a:pt x="13" y="104"/>
                      <a:pt x="12" y="105"/>
                    </a:cubicBezTo>
                    <a:cubicBezTo>
                      <a:pt x="11" y="105"/>
                      <a:pt x="11" y="105"/>
                      <a:pt x="11" y="105"/>
                    </a:cubicBezTo>
                    <a:cubicBezTo>
                      <a:pt x="11" y="106"/>
                      <a:pt x="11" y="106"/>
                      <a:pt x="11" y="106"/>
                    </a:cubicBezTo>
                    <a:cubicBezTo>
                      <a:pt x="11" y="106"/>
                      <a:pt x="11" y="106"/>
                      <a:pt x="11" y="106"/>
                    </a:cubicBezTo>
                    <a:cubicBezTo>
                      <a:pt x="10" y="107"/>
                      <a:pt x="10" y="109"/>
                      <a:pt x="10" y="110"/>
                    </a:cubicBezTo>
                    <a:cubicBezTo>
                      <a:pt x="10" y="110"/>
                      <a:pt x="10" y="110"/>
                      <a:pt x="10" y="110"/>
                    </a:cubicBezTo>
                    <a:cubicBezTo>
                      <a:pt x="10" y="111"/>
                      <a:pt x="10" y="111"/>
                      <a:pt x="10" y="111"/>
                    </a:cubicBezTo>
                    <a:cubicBezTo>
                      <a:pt x="9" y="112"/>
                      <a:pt x="9" y="113"/>
                      <a:pt x="9" y="113"/>
                    </a:cubicBezTo>
                    <a:cubicBezTo>
                      <a:pt x="8" y="114"/>
                      <a:pt x="8" y="114"/>
                      <a:pt x="8" y="115"/>
                    </a:cubicBezTo>
                    <a:cubicBezTo>
                      <a:pt x="8" y="115"/>
                      <a:pt x="8" y="115"/>
                      <a:pt x="8" y="115"/>
                    </a:cubicBezTo>
                    <a:cubicBezTo>
                      <a:pt x="8" y="115"/>
                      <a:pt x="8" y="115"/>
                      <a:pt x="8" y="115"/>
                    </a:cubicBezTo>
                    <a:cubicBezTo>
                      <a:pt x="8" y="115"/>
                      <a:pt x="8" y="115"/>
                      <a:pt x="8" y="115"/>
                    </a:cubicBezTo>
                    <a:cubicBezTo>
                      <a:pt x="8" y="116"/>
                      <a:pt x="8" y="116"/>
                      <a:pt x="8" y="116"/>
                    </a:cubicBezTo>
                    <a:cubicBezTo>
                      <a:pt x="8" y="116"/>
                      <a:pt x="8" y="116"/>
                      <a:pt x="8" y="116"/>
                    </a:cubicBezTo>
                    <a:cubicBezTo>
                      <a:pt x="8" y="116"/>
                      <a:pt x="8" y="117"/>
                      <a:pt x="8" y="117"/>
                    </a:cubicBezTo>
                    <a:cubicBezTo>
                      <a:pt x="8" y="117"/>
                      <a:pt x="8" y="117"/>
                      <a:pt x="8" y="117"/>
                    </a:cubicBezTo>
                    <a:cubicBezTo>
                      <a:pt x="8" y="118"/>
                      <a:pt x="8" y="119"/>
                      <a:pt x="7" y="119"/>
                    </a:cubicBezTo>
                    <a:cubicBezTo>
                      <a:pt x="7" y="120"/>
                      <a:pt x="6" y="120"/>
                      <a:pt x="5" y="121"/>
                    </a:cubicBezTo>
                    <a:cubicBezTo>
                      <a:pt x="5" y="121"/>
                      <a:pt x="5" y="121"/>
                      <a:pt x="5" y="121"/>
                    </a:cubicBezTo>
                    <a:cubicBezTo>
                      <a:pt x="3" y="122"/>
                      <a:pt x="2" y="123"/>
                      <a:pt x="2" y="124"/>
                    </a:cubicBezTo>
                    <a:cubicBezTo>
                      <a:pt x="1" y="125"/>
                      <a:pt x="1" y="125"/>
                      <a:pt x="2" y="126"/>
                    </a:cubicBezTo>
                    <a:cubicBezTo>
                      <a:pt x="2" y="126"/>
                      <a:pt x="2" y="127"/>
                      <a:pt x="2" y="128"/>
                    </a:cubicBezTo>
                    <a:cubicBezTo>
                      <a:pt x="2" y="128"/>
                      <a:pt x="2" y="128"/>
                      <a:pt x="2" y="128"/>
                    </a:cubicBezTo>
                    <a:cubicBezTo>
                      <a:pt x="2" y="128"/>
                      <a:pt x="2" y="128"/>
                      <a:pt x="2" y="128"/>
                    </a:cubicBezTo>
                    <a:cubicBezTo>
                      <a:pt x="1" y="129"/>
                      <a:pt x="1" y="129"/>
                      <a:pt x="0" y="129"/>
                    </a:cubicBezTo>
                    <a:cubicBezTo>
                      <a:pt x="1" y="130"/>
                      <a:pt x="2" y="131"/>
                      <a:pt x="2" y="132"/>
                    </a:cubicBezTo>
                    <a:cubicBezTo>
                      <a:pt x="3" y="133"/>
                      <a:pt x="3" y="134"/>
                      <a:pt x="3" y="134"/>
                    </a:cubicBezTo>
                    <a:cubicBezTo>
                      <a:pt x="3" y="135"/>
                      <a:pt x="3" y="136"/>
                      <a:pt x="4" y="137"/>
                    </a:cubicBezTo>
                    <a:cubicBezTo>
                      <a:pt x="5" y="138"/>
                      <a:pt x="6" y="140"/>
                      <a:pt x="7" y="141"/>
                    </a:cubicBezTo>
                    <a:cubicBezTo>
                      <a:pt x="8" y="142"/>
                      <a:pt x="8" y="142"/>
                      <a:pt x="8" y="142"/>
                    </a:cubicBezTo>
                    <a:cubicBezTo>
                      <a:pt x="8" y="142"/>
                      <a:pt x="8" y="142"/>
                      <a:pt x="8" y="142"/>
                    </a:cubicBezTo>
                    <a:cubicBezTo>
                      <a:pt x="9" y="143"/>
                      <a:pt x="10" y="144"/>
                      <a:pt x="10" y="145"/>
                    </a:cubicBezTo>
                    <a:cubicBezTo>
                      <a:pt x="10" y="146"/>
                      <a:pt x="10" y="147"/>
                      <a:pt x="9" y="148"/>
                    </a:cubicBezTo>
                    <a:cubicBezTo>
                      <a:pt x="12" y="148"/>
                      <a:pt x="16" y="148"/>
                      <a:pt x="17" y="151"/>
                    </a:cubicBezTo>
                    <a:cubicBezTo>
                      <a:pt x="17" y="151"/>
                      <a:pt x="17" y="151"/>
                      <a:pt x="17" y="151"/>
                    </a:cubicBezTo>
                    <a:cubicBezTo>
                      <a:pt x="17" y="151"/>
                      <a:pt x="17" y="151"/>
                      <a:pt x="17" y="151"/>
                    </a:cubicBezTo>
                    <a:cubicBezTo>
                      <a:pt x="17" y="152"/>
                      <a:pt x="18" y="152"/>
                      <a:pt x="18" y="152"/>
                    </a:cubicBezTo>
                    <a:cubicBezTo>
                      <a:pt x="18" y="153"/>
                      <a:pt x="18" y="153"/>
                      <a:pt x="18" y="154"/>
                    </a:cubicBezTo>
                    <a:cubicBezTo>
                      <a:pt x="18" y="154"/>
                      <a:pt x="19" y="154"/>
                      <a:pt x="19" y="154"/>
                    </a:cubicBezTo>
                    <a:cubicBezTo>
                      <a:pt x="20" y="154"/>
                      <a:pt x="20" y="154"/>
                      <a:pt x="20" y="154"/>
                    </a:cubicBezTo>
                    <a:cubicBezTo>
                      <a:pt x="21" y="154"/>
                      <a:pt x="22" y="154"/>
                      <a:pt x="23" y="154"/>
                    </a:cubicBezTo>
                    <a:cubicBezTo>
                      <a:pt x="24" y="154"/>
                      <a:pt x="25" y="154"/>
                      <a:pt x="25" y="153"/>
                    </a:cubicBezTo>
                    <a:cubicBezTo>
                      <a:pt x="26" y="153"/>
                      <a:pt x="26" y="153"/>
                      <a:pt x="26" y="153"/>
                    </a:cubicBezTo>
                    <a:cubicBezTo>
                      <a:pt x="26" y="153"/>
                      <a:pt x="26" y="153"/>
                      <a:pt x="26" y="153"/>
                    </a:cubicBezTo>
                    <a:cubicBezTo>
                      <a:pt x="27" y="153"/>
                      <a:pt x="27" y="153"/>
                      <a:pt x="27" y="152"/>
                    </a:cubicBezTo>
                    <a:cubicBezTo>
                      <a:pt x="27" y="152"/>
                      <a:pt x="27" y="152"/>
                      <a:pt x="27" y="152"/>
                    </a:cubicBezTo>
                    <a:cubicBezTo>
                      <a:pt x="28" y="152"/>
                      <a:pt x="28" y="152"/>
                      <a:pt x="28" y="152"/>
                    </a:cubicBezTo>
                    <a:cubicBezTo>
                      <a:pt x="28" y="152"/>
                      <a:pt x="28" y="152"/>
                      <a:pt x="28" y="151"/>
                    </a:cubicBezTo>
                    <a:cubicBezTo>
                      <a:pt x="29" y="151"/>
                      <a:pt x="29" y="151"/>
                      <a:pt x="29" y="151"/>
                    </a:cubicBezTo>
                    <a:cubicBezTo>
                      <a:pt x="30" y="150"/>
                      <a:pt x="32" y="149"/>
                      <a:pt x="33" y="148"/>
                    </a:cubicBezTo>
                    <a:cubicBezTo>
                      <a:pt x="36" y="146"/>
                      <a:pt x="36" y="146"/>
                      <a:pt x="36" y="146"/>
                    </a:cubicBezTo>
                    <a:cubicBezTo>
                      <a:pt x="35" y="150"/>
                      <a:pt x="35" y="150"/>
                      <a:pt x="35" y="150"/>
                    </a:cubicBezTo>
                    <a:cubicBezTo>
                      <a:pt x="35" y="150"/>
                      <a:pt x="34" y="150"/>
                      <a:pt x="34" y="151"/>
                    </a:cubicBezTo>
                    <a:cubicBezTo>
                      <a:pt x="34" y="151"/>
                      <a:pt x="35" y="151"/>
                      <a:pt x="35" y="151"/>
                    </a:cubicBezTo>
                    <a:cubicBezTo>
                      <a:pt x="35" y="152"/>
                      <a:pt x="35" y="152"/>
                      <a:pt x="34" y="153"/>
                    </a:cubicBezTo>
                    <a:cubicBezTo>
                      <a:pt x="33" y="155"/>
                      <a:pt x="33" y="159"/>
                      <a:pt x="34" y="162"/>
                    </a:cubicBezTo>
                    <a:cubicBezTo>
                      <a:pt x="34" y="162"/>
                      <a:pt x="34" y="163"/>
                      <a:pt x="34" y="164"/>
                    </a:cubicBezTo>
                    <a:cubicBezTo>
                      <a:pt x="34" y="164"/>
                      <a:pt x="35" y="164"/>
                      <a:pt x="35" y="164"/>
                    </a:cubicBezTo>
                    <a:cubicBezTo>
                      <a:pt x="35" y="164"/>
                      <a:pt x="36" y="165"/>
                      <a:pt x="36" y="165"/>
                    </a:cubicBezTo>
                    <a:cubicBezTo>
                      <a:pt x="36" y="164"/>
                      <a:pt x="37" y="164"/>
                      <a:pt x="38" y="164"/>
                    </a:cubicBezTo>
                    <a:cubicBezTo>
                      <a:pt x="38" y="164"/>
                      <a:pt x="38" y="164"/>
                      <a:pt x="38" y="164"/>
                    </a:cubicBezTo>
                    <a:cubicBezTo>
                      <a:pt x="39" y="163"/>
                      <a:pt x="39" y="163"/>
                      <a:pt x="40" y="163"/>
                    </a:cubicBezTo>
                    <a:cubicBezTo>
                      <a:pt x="40" y="163"/>
                      <a:pt x="41" y="163"/>
                      <a:pt x="41" y="163"/>
                    </a:cubicBezTo>
                    <a:cubicBezTo>
                      <a:pt x="41" y="163"/>
                      <a:pt x="41" y="163"/>
                      <a:pt x="41" y="163"/>
                    </a:cubicBezTo>
                    <a:cubicBezTo>
                      <a:pt x="41" y="163"/>
                      <a:pt x="41" y="163"/>
                      <a:pt x="41" y="163"/>
                    </a:cubicBezTo>
                    <a:cubicBezTo>
                      <a:pt x="40" y="162"/>
                      <a:pt x="40" y="162"/>
                      <a:pt x="40" y="162"/>
                    </a:cubicBezTo>
                    <a:cubicBezTo>
                      <a:pt x="44" y="164"/>
                      <a:pt x="44" y="164"/>
                      <a:pt x="44" y="164"/>
                    </a:cubicBezTo>
                    <a:cubicBezTo>
                      <a:pt x="47" y="164"/>
                      <a:pt x="47" y="164"/>
                      <a:pt x="47" y="164"/>
                    </a:cubicBezTo>
                    <a:cubicBezTo>
                      <a:pt x="47" y="164"/>
                      <a:pt x="47" y="164"/>
                      <a:pt x="48" y="164"/>
                    </a:cubicBezTo>
                    <a:cubicBezTo>
                      <a:pt x="48" y="165"/>
                      <a:pt x="48" y="165"/>
                      <a:pt x="48" y="165"/>
                    </a:cubicBezTo>
                    <a:cubicBezTo>
                      <a:pt x="48" y="165"/>
                      <a:pt x="48" y="165"/>
                      <a:pt x="48" y="165"/>
                    </a:cubicBezTo>
                    <a:cubicBezTo>
                      <a:pt x="48" y="164"/>
                      <a:pt x="48" y="164"/>
                      <a:pt x="48" y="164"/>
                    </a:cubicBezTo>
                    <a:cubicBezTo>
                      <a:pt x="48" y="164"/>
                      <a:pt x="49" y="165"/>
                      <a:pt x="49" y="165"/>
                    </a:cubicBezTo>
                    <a:cubicBezTo>
                      <a:pt x="49" y="165"/>
                      <a:pt x="49" y="165"/>
                      <a:pt x="49" y="165"/>
                    </a:cubicBezTo>
                    <a:cubicBezTo>
                      <a:pt x="50" y="165"/>
                      <a:pt x="50" y="165"/>
                      <a:pt x="50" y="165"/>
                    </a:cubicBezTo>
                    <a:cubicBezTo>
                      <a:pt x="51" y="165"/>
                      <a:pt x="51" y="165"/>
                      <a:pt x="51" y="165"/>
                    </a:cubicBezTo>
                    <a:cubicBezTo>
                      <a:pt x="51" y="165"/>
                      <a:pt x="51" y="165"/>
                      <a:pt x="52" y="165"/>
                    </a:cubicBezTo>
                    <a:cubicBezTo>
                      <a:pt x="52" y="165"/>
                      <a:pt x="52" y="165"/>
                      <a:pt x="52" y="165"/>
                    </a:cubicBezTo>
                    <a:cubicBezTo>
                      <a:pt x="53" y="165"/>
                      <a:pt x="53" y="165"/>
                      <a:pt x="54" y="165"/>
                    </a:cubicBezTo>
                    <a:cubicBezTo>
                      <a:pt x="54" y="165"/>
                      <a:pt x="54" y="165"/>
                      <a:pt x="54" y="165"/>
                    </a:cubicBezTo>
                    <a:cubicBezTo>
                      <a:pt x="55" y="165"/>
                      <a:pt x="55" y="164"/>
                      <a:pt x="55" y="164"/>
                    </a:cubicBezTo>
                    <a:cubicBezTo>
                      <a:pt x="56" y="164"/>
                      <a:pt x="56" y="164"/>
                      <a:pt x="56" y="163"/>
                    </a:cubicBezTo>
                    <a:cubicBezTo>
                      <a:pt x="56" y="163"/>
                      <a:pt x="57" y="162"/>
                      <a:pt x="58" y="162"/>
                    </a:cubicBezTo>
                    <a:cubicBezTo>
                      <a:pt x="59" y="162"/>
                      <a:pt x="59" y="162"/>
                      <a:pt x="59" y="162"/>
                    </a:cubicBezTo>
                    <a:cubicBezTo>
                      <a:pt x="60" y="162"/>
                      <a:pt x="60" y="162"/>
                      <a:pt x="60" y="162"/>
                    </a:cubicBezTo>
                    <a:cubicBezTo>
                      <a:pt x="60" y="161"/>
                      <a:pt x="61" y="161"/>
                      <a:pt x="61" y="161"/>
                    </a:cubicBezTo>
                    <a:cubicBezTo>
                      <a:pt x="61" y="161"/>
                      <a:pt x="62" y="161"/>
                      <a:pt x="62" y="161"/>
                    </a:cubicBezTo>
                    <a:cubicBezTo>
                      <a:pt x="62" y="160"/>
                      <a:pt x="62" y="160"/>
                      <a:pt x="62" y="160"/>
                    </a:cubicBezTo>
                    <a:cubicBezTo>
                      <a:pt x="62" y="160"/>
                      <a:pt x="63" y="159"/>
                      <a:pt x="63" y="159"/>
                    </a:cubicBezTo>
                    <a:cubicBezTo>
                      <a:pt x="64" y="159"/>
                      <a:pt x="65" y="158"/>
                      <a:pt x="65" y="158"/>
                    </a:cubicBezTo>
                    <a:cubicBezTo>
                      <a:pt x="66" y="158"/>
                      <a:pt x="67" y="157"/>
                      <a:pt x="67" y="157"/>
                    </a:cubicBezTo>
                    <a:cubicBezTo>
                      <a:pt x="68" y="157"/>
                      <a:pt x="69" y="156"/>
                      <a:pt x="70" y="155"/>
                    </a:cubicBezTo>
                    <a:cubicBezTo>
                      <a:pt x="70" y="155"/>
                      <a:pt x="70" y="155"/>
                      <a:pt x="70" y="155"/>
                    </a:cubicBezTo>
                    <a:cubicBezTo>
                      <a:pt x="70" y="155"/>
                      <a:pt x="71" y="154"/>
                      <a:pt x="71" y="154"/>
                    </a:cubicBezTo>
                    <a:cubicBezTo>
                      <a:pt x="72" y="153"/>
                      <a:pt x="73" y="153"/>
                      <a:pt x="74" y="152"/>
                    </a:cubicBezTo>
                    <a:cubicBezTo>
                      <a:pt x="75" y="152"/>
                      <a:pt x="75" y="152"/>
                      <a:pt x="75" y="152"/>
                    </a:cubicBezTo>
                    <a:cubicBezTo>
                      <a:pt x="80" y="151"/>
                      <a:pt x="80" y="151"/>
                      <a:pt x="80" y="151"/>
                    </a:cubicBezTo>
                    <a:cubicBezTo>
                      <a:pt x="80" y="151"/>
                      <a:pt x="80" y="151"/>
                      <a:pt x="81" y="151"/>
                    </a:cubicBezTo>
                    <a:cubicBezTo>
                      <a:pt x="81" y="151"/>
                      <a:pt x="81" y="151"/>
                      <a:pt x="81" y="151"/>
                    </a:cubicBezTo>
                    <a:cubicBezTo>
                      <a:pt x="81" y="151"/>
                      <a:pt x="81" y="151"/>
                      <a:pt x="82" y="151"/>
                    </a:cubicBezTo>
                    <a:cubicBezTo>
                      <a:pt x="82" y="151"/>
                      <a:pt x="82" y="151"/>
                      <a:pt x="82" y="151"/>
                    </a:cubicBezTo>
                    <a:cubicBezTo>
                      <a:pt x="82" y="151"/>
                      <a:pt x="83" y="151"/>
                      <a:pt x="83" y="151"/>
                    </a:cubicBezTo>
                    <a:cubicBezTo>
                      <a:pt x="83" y="152"/>
                      <a:pt x="83" y="152"/>
                      <a:pt x="84" y="152"/>
                    </a:cubicBezTo>
                    <a:cubicBezTo>
                      <a:pt x="84" y="152"/>
                      <a:pt x="84" y="152"/>
                      <a:pt x="84" y="152"/>
                    </a:cubicBezTo>
                    <a:cubicBezTo>
                      <a:pt x="84" y="152"/>
                      <a:pt x="84" y="152"/>
                      <a:pt x="84" y="152"/>
                    </a:cubicBezTo>
                    <a:cubicBezTo>
                      <a:pt x="84" y="151"/>
                      <a:pt x="84" y="151"/>
                      <a:pt x="84" y="151"/>
                    </a:cubicBezTo>
                    <a:cubicBezTo>
                      <a:pt x="84" y="151"/>
                      <a:pt x="84" y="151"/>
                      <a:pt x="84" y="151"/>
                    </a:cubicBezTo>
                    <a:cubicBezTo>
                      <a:pt x="85" y="150"/>
                      <a:pt x="85" y="150"/>
                      <a:pt x="85" y="150"/>
                    </a:cubicBezTo>
                    <a:cubicBezTo>
                      <a:pt x="86" y="150"/>
                      <a:pt x="86" y="150"/>
                      <a:pt x="86" y="150"/>
                    </a:cubicBezTo>
                    <a:cubicBezTo>
                      <a:pt x="86" y="150"/>
                      <a:pt x="86" y="150"/>
                      <a:pt x="86" y="150"/>
                    </a:cubicBezTo>
                    <a:cubicBezTo>
                      <a:pt x="86" y="150"/>
                      <a:pt x="86" y="150"/>
                      <a:pt x="86" y="151"/>
                    </a:cubicBezTo>
                    <a:cubicBezTo>
                      <a:pt x="86" y="151"/>
                      <a:pt x="86" y="151"/>
                      <a:pt x="86" y="151"/>
                    </a:cubicBezTo>
                    <a:cubicBezTo>
                      <a:pt x="87" y="151"/>
                      <a:pt x="87" y="151"/>
                      <a:pt x="87" y="151"/>
                    </a:cubicBezTo>
                    <a:cubicBezTo>
                      <a:pt x="87" y="151"/>
                      <a:pt x="87" y="151"/>
                      <a:pt x="87" y="151"/>
                    </a:cubicBezTo>
                    <a:cubicBezTo>
                      <a:pt x="87" y="151"/>
                      <a:pt x="87" y="151"/>
                      <a:pt x="87" y="151"/>
                    </a:cubicBezTo>
                    <a:cubicBezTo>
                      <a:pt x="87" y="151"/>
                      <a:pt x="87" y="151"/>
                      <a:pt x="87" y="151"/>
                    </a:cubicBezTo>
                    <a:cubicBezTo>
                      <a:pt x="87" y="152"/>
                      <a:pt x="88" y="152"/>
                      <a:pt x="88" y="152"/>
                    </a:cubicBezTo>
                    <a:cubicBezTo>
                      <a:pt x="88" y="153"/>
                      <a:pt x="88" y="154"/>
                      <a:pt x="88" y="155"/>
                    </a:cubicBezTo>
                    <a:cubicBezTo>
                      <a:pt x="88" y="156"/>
                      <a:pt x="88" y="156"/>
                      <a:pt x="88" y="156"/>
                    </a:cubicBezTo>
                    <a:cubicBezTo>
                      <a:pt x="88" y="157"/>
                      <a:pt x="87" y="158"/>
                      <a:pt x="87" y="158"/>
                    </a:cubicBezTo>
                    <a:cubicBezTo>
                      <a:pt x="87" y="159"/>
                      <a:pt x="87" y="159"/>
                      <a:pt x="87" y="159"/>
                    </a:cubicBezTo>
                    <a:cubicBezTo>
                      <a:pt x="87" y="159"/>
                      <a:pt x="87" y="159"/>
                      <a:pt x="87" y="159"/>
                    </a:cubicBezTo>
                    <a:cubicBezTo>
                      <a:pt x="87" y="160"/>
                      <a:pt x="87" y="161"/>
                      <a:pt x="87" y="162"/>
                    </a:cubicBezTo>
                    <a:cubicBezTo>
                      <a:pt x="87" y="163"/>
                      <a:pt x="87" y="163"/>
                      <a:pt x="87" y="163"/>
                    </a:cubicBezTo>
                    <a:cubicBezTo>
                      <a:pt x="87" y="163"/>
                      <a:pt x="87" y="163"/>
                      <a:pt x="87" y="163"/>
                    </a:cubicBezTo>
                    <a:cubicBezTo>
                      <a:pt x="87" y="163"/>
                      <a:pt x="87" y="163"/>
                      <a:pt x="87" y="163"/>
                    </a:cubicBezTo>
                    <a:cubicBezTo>
                      <a:pt x="87" y="164"/>
                      <a:pt x="87" y="164"/>
                      <a:pt x="87" y="164"/>
                    </a:cubicBezTo>
                    <a:cubicBezTo>
                      <a:pt x="88" y="165"/>
                      <a:pt x="88" y="166"/>
                      <a:pt x="88" y="166"/>
                    </a:cubicBezTo>
                    <a:cubicBezTo>
                      <a:pt x="88" y="167"/>
                      <a:pt x="87" y="167"/>
                      <a:pt x="87" y="167"/>
                    </a:cubicBezTo>
                    <a:cubicBezTo>
                      <a:pt x="87" y="167"/>
                      <a:pt x="87" y="167"/>
                      <a:pt x="87" y="167"/>
                    </a:cubicBezTo>
                    <a:cubicBezTo>
                      <a:pt x="87" y="168"/>
                      <a:pt x="87" y="168"/>
                      <a:pt x="87" y="168"/>
                    </a:cubicBezTo>
                    <a:cubicBezTo>
                      <a:pt x="87" y="168"/>
                      <a:pt x="87" y="168"/>
                      <a:pt x="87" y="168"/>
                    </a:cubicBezTo>
                    <a:cubicBezTo>
                      <a:pt x="88" y="169"/>
                      <a:pt x="88" y="170"/>
                      <a:pt x="89" y="170"/>
                    </a:cubicBezTo>
                    <a:cubicBezTo>
                      <a:pt x="89" y="171"/>
                      <a:pt x="89" y="171"/>
                      <a:pt x="89" y="171"/>
                    </a:cubicBezTo>
                    <a:cubicBezTo>
                      <a:pt x="90" y="172"/>
                      <a:pt x="90" y="173"/>
                      <a:pt x="91" y="174"/>
                    </a:cubicBezTo>
                    <a:cubicBezTo>
                      <a:pt x="95" y="177"/>
                      <a:pt x="95" y="177"/>
                      <a:pt x="95" y="177"/>
                    </a:cubicBezTo>
                    <a:cubicBezTo>
                      <a:pt x="95" y="177"/>
                      <a:pt x="95" y="178"/>
                      <a:pt x="96" y="178"/>
                    </a:cubicBezTo>
                    <a:cubicBezTo>
                      <a:pt x="96" y="178"/>
                      <a:pt x="97" y="179"/>
                      <a:pt x="98" y="180"/>
                    </a:cubicBezTo>
                    <a:cubicBezTo>
                      <a:pt x="98" y="180"/>
                      <a:pt x="98" y="180"/>
                      <a:pt x="99" y="180"/>
                    </a:cubicBezTo>
                    <a:cubicBezTo>
                      <a:pt x="99" y="180"/>
                      <a:pt x="99" y="180"/>
                      <a:pt x="99" y="180"/>
                    </a:cubicBezTo>
                    <a:cubicBezTo>
                      <a:pt x="100" y="180"/>
                      <a:pt x="100" y="180"/>
                      <a:pt x="101" y="180"/>
                    </a:cubicBezTo>
                    <a:cubicBezTo>
                      <a:pt x="102" y="179"/>
                      <a:pt x="102" y="179"/>
                      <a:pt x="102" y="179"/>
                    </a:cubicBezTo>
                    <a:cubicBezTo>
                      <a:pt x="102" y="179"/>
                      <a:pt x="102" y="179"/>
                      <a:pt x="103" y="179"/>
                    </a:cubicBezTo>
                    <a:cubicBezTo>
                      <a:pt x="103" y="180"/>
                      <a:pt x="103" y="180"/>
                      <a:pt x="103" y="180"/>
                    </a:cubicBezTo>
                    <a:cubicBezTo>
                      <a:pt x="103" y="179"/>
                      <a:pt x="103" y="179"/>
                      <a:pt x="103" y="179"/>
                    </a:cubicBezTo>
                    <a:cubicBezTo>
                      <a:pt x="103" y="179"/>
                      <a:pt x="103" y="179"/>
                      <a:pt x="103" y="179"/>
                    </a:cubicBezTo>
                    <a:cubicBezTo>
                      <a:pt x="103" y="179"/>
                      <a:pt x="103" y="179"/>
                      <a:pt x="104" y="179"/>
                    </a:cubicBezTo>
                    <a:cubicBezTo>
                      <a:pt x="104" y="179"/>
                      <a:pt x="104" y="179"/>
                      <a:pt x="104" y="179"/>
                    </a:cubicBezTo>
                    <a:cubicBezTo>
                      <a:pt x="104" y="179"/>
                      <a:pt x="104" y="179"/>
                      <a:pt x="104" y="179"/>
                    </a:cubicBezTo>
                    <a:cubicBezTo>
                      <a:pt x="104" y="179"/>
                      <a:pt x="104" y="179"/>
                      <a:pt x="104" y="179"/>
                    </a:cubicBezTo>
                    <a:cubicBezTo>
                      <a:pt x="105" y="180"/>
                      <a:pt x="105" y="180"/>
                      <a:pt x="105" y="180"/>
                    </a:cubicBezTo>
                    <a:cubicBezTo>
                      <a:pt x="106" y="180"/>
                      <a:pt x="107" y="180"/>
                      <a:pt x="108" y="181"/>
                    </a:cubicBezTo>
                    <a:cubicBezTo>
                      <a:pt x="108" y="181"/>
                      <a:pt x="108" y="181"/>
                      <a:pt x="108" y="181"/>
                    </a:cubicBezTo>
                    <a:cubicBezTo>
                      <a:pt x="108" y="181"/>
                      <a:pt x="108" y="181"/>
                      <a:pt x="108" y="181"/>
                    </a:cubicBezTo>
                    <a:cubicBezTo>
                      <a:pt x="109" y="181"/>
                      <a:pt x="109" y="181"/>
                      <a:pt x="110" y="181"/>
                    </a:cubicBezTo>
                    <a:cubicBezTo>
                      <a:pt x="111" y="182"/>
                      <a:pt x="111" y="182"/>
                      <a:pt x="111" y="183"/>
                    </a:cubicBezTo>
                    <a:cubicBezTo>
                      <a:pt x="111" y="183"/>
                      <a:pt x="111" y="183"/>
                      <a:pt x="111" y="183"/>
                    </a:cubicBezTo>
                    <a:cubicBezTo>
                      <a:pt x="111" y="183"/>
                      <a:pt x="111" y="183"/>
                      <a:pt x="111" y="183"/>
                    </a:cubicBezTo>
                    <a:cubicBezTo>
                      <a:pt x="112" y="183"/>
                      <a:pt x="112" y="184"/>
                      <a:pt x="112" y="184"/>
                    </a:cubicBezTo>
                    <a:cubicBezTo>
                      <a:pt x="112" y="184"/>
                      <a:pt x="112" y="184"/>
                      <a:pt x="112" y="184"/>
                    </a:cubicBezTo>
                    <a:cubicBezTo>
                      <a:pt x="113" y="184"/>
                      <a:pt x="113" y="185"/>
                      <a:pt x="113" y="185"/>
                    </a:cubicBezTo>
                    <a:cubicBezTo>
                      <a:pt x="114" y="185"/>
                      <a:pt x="115" y="185"/>
                      <a:pt x="116" y="185"/>
                    </a:cubicBezTo>
                    <a:cubicBezTo>
                      <a:pt x="116" y="185"/>
                      <a:pt x="116" y="185"/>
                      <a:pt x="116" y="185"/>
                    </a:cubicBezTo>
                    <a:cubicBezTo>
                      <a:pt x="117" y="186"/>
                      <a:pt x="118" y="186"/>
                      <a:pt x="119" y="186"/>
                    </a:cubicBezTo>
                    <a:cubicBezTo>
                      <a:pt x="120" y="186"/>
                      <a:pt x="120" y="187"/>
                      <a:pt x="121" y="188"/>
                    </a:cubicBezTo>
                    <a:cubicBezTo>
                      <a:pt x="121" y="188"/>
                      <a:pt x="121" y="189"/>
                      <a:pt x="122" y="189"/>
                    </a:cubicBezTo>
                    <a:cubicBezTo>
                      <a:pt x="122" y="189"/>
                      <a:pt x="122" y="189"/>
                      <a:pt x="123" y="190"/>
                    </a:cubicBezTo>
                    <a:cubicBezTo>
                      <a:pt x="123" y="190"/>
                      <a:pt x="123" y="190"/>
                      <a:pt x="123" y="190"/>
                    </a:cubicBezTo>
                    <a:cubicBezTo>
                      <a:pt x="123" y="190"/>
                      <a:pt x="123" y="190"/>
                      <a:pt x="123" y="190"/>
                    </a:cubicBezTo>
                    <a:cubicBezTo>
                      <a:pt x="123" y="190"/>
                      <a:pt x="123" y="190"/>
                      <a:pt x="123" y="190"/>
                    </a:cubicBezTo>
                    <a:cubicBezTo>
                      <a:pt x="123" y="190"/>
                      <a:pt x="123" y="190"/>
                      <a:pt x="123" y="190"/>
                    </a:cubicBezTo>
                    <a:cubicBezTo>
                      <a:pt x="124" y="190"/>
                      <a:pt x="124" y="190"/>
                      <a:pt x="124" y="190"/>
                    </a:cubicBezTo>
                    <a:cubicBezTo>
                      <a:pt x="125" y="190"/>
                      <a:pt x="125" y="190"/>
                      <a:pt x="125" y="190"/>
                    </a:cubicBezTo>
                    <a:cubicBezTo>
                      <a:pt x="125" y="190"/>
                      <a:pt x="126" y="190"/>
                      <a:pt x="126" y="190"/>
                    </a:cubicBezTo>
                    <a:cubicBezTo>
                      <a:pt x="126" y="190"/>
                      <a:pt x="126" y="190"/>
                      <a:pt x="126" y="190"/>
                    </a:cubicBezTo>
                    <a:cubicBezTo>
                      <a:pt x="128" y="190"/>
                      <a:pt x="130" y="189"/>
                      <a:pt x="131" y="190"/>
                    </a:cubicBezTo>
                    <a:cubicBezTo>
                      <a:pt x="131" y="190"/>
                      <a:pt x="131" y="190"/>
                      <a:pt x="132" y="190"/>
                    </a:cubicBezTo>
                    <a:cubicBezTo>
                      <a:pt x="132" y="190"/>
                      <a:pt x="132" y="190"/>
                      <a:pt x="132" y="190"/>
                    </a:cubicBezTo>
                    <a:cubicBezTo>
                      <a:pt x="132" y="191"/>
                      <a:pt x="132" y="191"/>
                      <a:pt x="132" y="191"/>
                    </a:cubicBezTo>
                    <a:cubicBezTo>
                      <a:pt x="133" y="191"/>
                      <a:pt x="133" y="191"/>
                      <a:pt x="133" y="191"/>
                    </a:cubicBezTo>
                    <a:cubicBezTo>
                      <a:pt x="134" y="192"/>
                      <a:pt x="134" y="192"/>
                      <a:pt x="135" y="193"/>
                    </a:cubicBezTo>
                    <a:cubicBezTo>
                      <a:pt x="137" y="194"/>
                      <a:pt x="137" y="194"/>
                      <a:pt x="137" y="194"/>
                    </a:cubicBezTo>
                    <a:cubicBezTo>
                      <a:pt x="137" y="194"/>
                      <a:pt x="137" y="195"/>
                      <a:pt x="138" y="195"/>
                    </a:cubicBezTo>
                    <a:cubicBezTo>
                      <a:pt x="138" y="196"/>
                      <a:pt x="138" y="196"/>
                      <a:pt x="138" y="197"/>
                    </a:cubicBezTo>
                    <a:cubicBezTo>
                      <a:pt x="138" y="197"/>
                      <a:pt x="138" y="197"/>
                      <a:pt x="138" y="197"/>
                    </a:cubicBezTo>
                    <a:cubicBezTo>
                      <a:pt x="138" y="197"/>
                      <a:pt x="138" y="197"/>
                      <a:pt x="138" y="197"/>
                    </a:cubicBezTo>
                    <a:cubicBezTo>
                      <a:pt x="138" y="197"/>
                      <a:pt x="138" y="197"/>
                      <a:pt x="138" y="197"/>
                    </a:cubicBezTo>
                    <a:cubicBezTo>
                      <a:pt x="138" y="199"/>
                      <a:pt x="138" y="200"/>
                      <a:pt x="139" y="201"/>
                    </a:cubicBezTo>
                    <a:cubicBezTo>
                      <a:pt x="139" y="203"/>
                      <a:pt x="140" y="204"/>
                      <a:pt x="140" y="205"/>
                    </a:cubicBezTo>
                    <a:cubicBezTo>
                      <a:pt x="140" y="206"/>
                      <a:pt x="140" y="206"/>
                      <a:pt x="140" y="206"/>
                    </a:cubicBezTo>
                    <a:cubicBezTo>
                      <a:pt x="140" y="206"/>
                      <a:pt x="140" y="206"/>
                      <a:pt x="140" y="206"/>
                    </a:cubicBezTo>
                    <a:cubicBezTo>
                      <a:pt x="140" y="207"/>
                      <a:pt x="140" y="207"/>
                      <a:pt x="140" y="207"/>
                    </a:cubicBezTo>
                    <a:cubicBezTo>
                      <a:pt x="140" y="207"/>
                      <a:pt x="140" y="207"/>
                      <a:pt x="140" y="207"/>
                    </a:cubicBezTo>
                    <a:cubicBezTo>
                      <a:pt x="140" y="207"/>
                      <a:pt x="140" y="207"/>
                      <a:pt x="140" y="207"/>
                    </a:cubicBezTo>
                    <a:cubicBezTo>
                      <a:pt x="140" y="207"/>
                      <a:pt x="140" y="207"/>
                      <a:pt x="140" y="207"/>
                    </a:cubicBezTo>
                    <a:cubicBezTo>
                      <a:pt x="139" y="208"/>
                      <a:pt x="139" y="208"/>
                      <a:pt x="139" y="208"/>
                    </a:cubicBezTo>
                    <a:cubicBezTo>
                      <a:pt x="139" y="208"/>
                      <a:pt x="139" y="208"/>
                      <a:pt x="139" y="208"/>
                    </a:cubicBezTo>
                    <a:cubicBezTo>
                      <a:pt x="139" y="208"/>
                      <a:pt x="139" y="208"/>
                      <a:pt x="139" y="208"/>
                    </a:cubicBezTo>
                    <a:cubicBezTo>
                      <a:pt x="139" y="209"/>
                      <a:pt x="138" y="209"/>
                      <a:pt x="138" y="209"/>
                    </a:cubicBezTo>
                    <a:cubicBezTo>
                      <a:pt x="138" y="209"/>
                      <a:pt x="138" y="209"/>
                      <a:pt x="138" y="209"/>
                    </a:cubicBezTo>
                    <a:cubicBezTo>
                      <a:pt x="139" y="210"/>
                      <a:pt x="139" y="210"/>
                      <a:pt x="139" y="210"/>
                    </a:cubicBezTo>
                    <a:cubicBezTo>
                      <a:pt x="140" y="212"/>
                      <a:pt x="140" y="214"/>
                      <a:pt x="140" y="216"/>
                    </a:cubicBezTo>
                    <a:cubicBezTo>
                      <a:pt x="140" y="216"/>
                      <a:pt x="140" y="217"/>
                      <a:pt x="140" y="217"/>
                    </a:cubicBezTo>
                    <a:cubicBezTo>
                      <a:pt x="141" y="218"/>
                      <a:pt x="141" y="218"/>
                      <a:pt x="141" y="218"/>
                    </a:cubicBezTo>
                    <a:cubicBezTo>
                      <a:pt x="141" y="218"/>
                      <a:pt x="141" y="219"/>
                      <a:pt x="141" y="219"/>
                    </a:cubicBezTo>
                    <a:cubicBezTo>
                      <a:pt x="141" y="219"/>
                      <a:pt x="141" y="219"/>
                      <a:pt x="141" y="219"/>
                    </a:cubicBezTo>
                    <a:cubicBezTo>
                      <a:pt x="141" y="219"/>
                      <a:pt x="141" y="219"/>
                      <a:pt x="142" y="219"/>
                    </a:cubicBezTo>
                    <a:cubicBezTo>
                      <a:pt x="145" y="219"/>
                      <a:pt x="145" y="219"/>
                      <a:pt x="145" y="219"/>
                    </a:cubicBezTo>
                    <a:cubicBezTo>
                      <a:pt x="147" y="219"/>
                      <a:pt x="149" y="219"/>
                      <a:pt x="151" y="219"/>
                    </a:cubicBezTo>
                    <a:cubicBezTo>
                      <a:pt x="158" y="219"/>
                      <a:pt x="158" y="219"/>
                      <a:pt x="158" y="219"/>
                    </a:cubicBezTo>
                    <a:cubicBezTo>
                      <a:pt x="158" y="219"/>
                      <a:pt x="158" y="219"/>
                      <a:pt x="158" y="219"/>
                    </a:cubicBezTo>
                    <a:cubicBezTo>
                      <a:pt x="159" y="219"/>
                      <a:pt x="159" y="219"/>
                      <a:pt x="159" y="219"/>
                    </a:cubicBezTo>
                    <a:cubicBezTo>
                      <a:pt x="159" y="219"/>
                      <a:pt x="159" y="219"/>
                      <a:pt x="159" y="219"/>
                    </a:cubicBezTo>
                    <a:cubicBezTo>
                      <a:pt x="159" y="220"/>
                      <a:pt x="159" y="220"/>
                      <a:pt x="159" y="220"/>
                    </a:cubicBezTo>
                    <a:cubicBezTo>
                      <a:pt x="159" y="221"/>
                      <a:pt x="159" y="221"/>
                      <a:pt x="159" y="221"/>
                    </a:cubicBezTo>
                    <a:cubicBezTo>
                      <a:pt x="159" y="221"/>
                      <a:pt x="159" y="221"/>
                      <a:pt x="159" y="222"/>
                    </a:cubicBezTo>
                    <a:cubicBezTo>
                      <a:pt x="159" y="222"/>
                      <a:pt x="159" y="223"/>
                      <a:pt x="159" y="223"/>
                    </a:cubicBezTo>
                    <a:cubicBezTo>
                      <a:pt x="159" y="223"/>
                      <a:pt x="159" y="223"/>
                      <a:pt x="159" y="223"/>
                    </a:cubicBezTo>
                    <a:cubicBezTo>
                      <a:pt x="158" y="224"/>
                      <a:pt x="158" y="224"/>
                      <a:pt x="158" y="224"/>
                    </a:cubicBezTo>
                    <a:cubicBezTo>
                      <a:pt x="158" y="225"/>
                      <a:pt x="158" y="225"/>
                      <a:pt x="158" y="227"/>
                    </a:cubicBezTo>
                    <a:cubicBezTo>
                      <a:pt x="158" y="229"/>
                      <a:pt x="159" y="230"/>
                      <a:pt x="160" y="231"/>
                    </a:cubicBezTo>
                    <a:cubicBezTo>
                      <a:pt x="161" y="231"/>
                      <a:pt x="162" y="231"/>
                      <a:pt x="163" y="232"/>
                    </a:cubicBezTo>
                    <a:cubicBezTo>
                      <a:pt x="165" y="232"/>
                      <a:pt x="165" y="234"/>
                      <a:pt x="166" y="235"/>
                    </a:cubicBezTo>
                    <a:cubicBezTo>
                      <a:pt x="166" y="235"/>
                      <a:pt x="166" y="236"/>
                      <a:pt x="166" y="236"/>
                    </a:cubicBezTo>
                    <a:cubicBezTo>
                      <a:pt x="166" y="237"/>
                      <a:pt x="166" y="237"/>
                      <a:pt x="166" y="237"/>
                    </a:cubicBezTo>
                    <a:cubicBezTo>
                      <a:pt x="166" y="238"/>
                      <a:pt x="167" y="238"/>
                      <a:pt x="167" y="238"/>
                    </a:cubicBezTo>
                    <a:cubicBezTo>
                      <a:pt x="167" y="238"/>
                      <a:pt x="167" y="238"/>
                      <a:pt x="167" y="238"/>
                    </a:cubicBezTo>
                    <a:cubicBezTo>
                      <a:pt x="167" y="239"/>
                      <a:pt x="168" y="239"/>
                      <a:pt x="168" y="240"/>
                    </a:cubicBezTo>
                    <a:cubicBezTo>
                      <a:pt x="169" y="242"/>
                      <a:pt x="169" y="242"/>
                      <a:pt x="169" y="242"/>
                    </a:cubicBezTo>
                    <a:cubicBezTo>
                      <a:pt x="167" y="242"/>
                      <a:pt x="167" y="242"/>
                      <a:pt x="167" y="242"/>
                    </a:cubicBezTo>
                    <a:cubicBezTo>
                      <a:pt x="167" y="243"/>
                      <a:pt x="166" y="244"/>
                      <a:pt x="166" y="245"/>
                    </a:cubicBezTo>
                    <a:cubicBezTo>
                      <a:pt x="166" y="245"/>
                      <a:pt x="166" y="245"/>
                      <a:pt x="166" y="245"/>
                    </a:cubicBezTo>
                    <a:cubicBezTo>
                      <a:pt x="166" y="246"/>
                      <a:pt x="166" y="246"/>
                      <a:pt x="166" y="246"/>
                    </a:cubicBezTo>
                    <a:cubicBezTo>
                      <a:pt x="166" y="247"/>
                      <a:pt x="166" y="247"/>
                      <a:pt x="166" y="247"/>
                    </a:cubicBezTo>
                    <a:cubicBezTo>
                      <a:pt x="166" y="247"/>
                      <a:pt x="166" y="247"/>
                      <a:pt x="166" y="247"/>
                    </a:cubicBezTo>
                    <a:cubicBezTo>
                      <a:pt x="166" y="248"/>
                      <a:pt x="165" y="248"/>
                      <a:pt x="165" y="249"/>
                    </a:cubicBezTo>
                    <a:cubicBezTo>
                      <a:pt x="165" y="249"/>
                      <a:pt x="165" y="250"/>
                      <a:pt x="164" y="251"/>
                    </a:cubicBezTo>
                    <a:cubicBezTo>
                      <a:pt x="164" y="252"/>
                      <a:pt x="164" y="252"/>
                      <a:pt x="164" y="252"/>
                    </a:cubicBezTo>
                    <a:cubicBezTo>
                      <a:pt x="164" y="253"/>
                      <a:pt x="163" y="253"/>
                      <a:pt x="163" y="253"/>
                    </a:cubicBezTo>
                    <a:cubicBezTo>
                      <a:pt x="163" y="254"/>
                      <a:pt x="163" y="254"/>
                      <a:pt x="163" y="254"/>
                    </a:cubicBezTo>
                    <a:cubicBezTo>
                      <a:pt x="163" y="255"/>
                      <a:pt x="162" y="255"/>
                      <a:pt x="162" y="256"/>
                    </a:cubicBezTo>
                    <a:cubicBezTo>
                      <a:pt x="164" y="257"/>
                      <a:pt x="164" y="257"/>
                      <a:pt x="164" y="257"/>
                    </a:cubicBezTo>
                    <a:cubicBezTo>
                      <a:pt x="162" y="257"/>
                      <a:pt x="162" y="257"/>
                      <a:pt x="162" y="257"/>
                    </a:cubicBezTo>
                    <a:cubicBezTo>
                      <a:pt x="162" y="257"/>
                      <a:pt x="162" y="257"/>
                      <a:pt x="162" y="257"/>
                    </a:cubicBezTo>
                    <a:cubicBezTo>
                      <a:pt x="162" y="257"/>
                      <a:pt x="163" y="257"/>
                      <a:pt x="163" y="257"/>
                    </a:cubicBezTo>
                    <a:cubicBezTo>
                      <a:pt x="163" y="258"/>
                      <a:pt x="164" y="259"/>
                      <a:pt x="164" y="259"/>
                    </a:cubicBezTo>
                    <a:cubicBezTo>
                      <a:pt x="164" y="260"/>
                      <a:pt x="163" y="261"/>
                      <a:pt x="162" y="261"/>
                    </a:cubicBezTo>
                    <a:cubicBezTo>
                      <a:pt x="162" y="261"/>
                      <a:pt x="162" y="261"/>
                      <a:pt x="162" y="261"/>
                    </a:cubicBezTo>
                    <a:cubicBezTo>
                      <a:pt x="162" y="261"/>
                      <a:pt x="162" y="261"/>
                      <a:pt x="162" y="261"/>
                    </a:cubicBezTo>
                    <a:cubicBezTo>
                      <a:pt x="162" y="261"/>
                      <a:pt x="161" y="261"/>
                      <a:pt x="161" y="262"/>
                    </a:cubicBezTo>
                    <a:cubicBezTo>
                      <a:pt x="161" y="262"/>
                      <a:pt x="161" y="262"/>
                      <a:pt x="161" y="262"/>
                    </a:cubicBezTo>
                    <a:cubicBezTo>
                      <a:pt x="155" y="269"/>
                      <a:pt x="155" y="269"/>
                      <a:pt x="155" y="269"/>
                    </a:cubicBezTo>
                    <a:cubicBezTo>
                      <a:pt x="159" y="261"/>
                      <a:pt x="159" y="261"/>
                      <a:pt x="159" y="261"/>
                    </a:cubicBezTo>
                    <a:cubicBezTo>
                      <a:pt x="159" y="260"/>
                      <a:pt x="159" y="260"/>
                      <a:pt x="159" y="260"/>
                    </a:cubicBezTo>
                    <a:cubicBezTo>
                      <a:pt x="159" y="260"/>
                      <a:pt x="159" y="259"/>
                      <a:pt x="159" y="259"/>
                    </a:cubicBezTo>
                    <a:cubicBezTo>
                      <a:pt x="159" y="259"/>
                      <a:pt x="159" y="259"/>
                      <a:pt x="159" y="259"/>
                    </a:cubicBezTo>
                    <a:cubicBezTo>
                      <a:pt x="159" y="258"/>
                      <a:pt x="159" y="258"/>
                      <a:pt x="159" y="258"/>
                    </a:cubicBezTo>
                    <a:cubicBezTo>
                      <a:pt x="159" y="258"/>
                      <a:pt x="159" y="258"/>
                      <a:pt x="159" y="258"/>
                    </a:cubicBezTo>
                    <a:cubicBezTo>
                      <a:pt x="150" y="253"/>
                      <a:pt x="150" y="253"/>
                      <a:pt x="150" y="253"/>
                    </a:cubicBezTo>
                    <a:cubicBezTo>
                      <a:pt x="150" y="253"/>
                      <a:pt x="149" y="253"/>
                      <a:pt x="149" y="253"/>
                    </a:cubicBezTo>
                    <a:cubicBezTo>
                      <a:pt x="147" y="253"/>
                      <a:pt x="147" y="253"/>
                      <a:pt x="147" y="253"/>
                    </a:cubicBezTo>
                    <a:cubicBezTo>
                      <a:pt x="147" y="253"/>
                      <a:pt x="147" y="253"/>
                      <a:pt x="147" y="253"/>
                    </a:cubicBezTo>
                    <a:cubicBezTo>
                      <a:pt x="146" y="253"/>
                      <a:pt x="145" y="253"/>
                      <a:pt x="144" y="253"/>
                    </a:cubicBezTo>
                    <a:cubicBezTo>
                      <a:pt x="144" y="253"/>
                      <a:pt x="144" y="253"/>
                      <a:pt x="144" y="253"/>
                    </a:cubicBezTo>
                    <a:cubicBezTo>
                      <a:pt x="142" y="253"/>
                      <a:pt x="141" y="253"/>
                      <a:pt x="139" y="254"/>
                    </a:cubicBezTo>
                    <a:cubicBezTo>
                      <a:pt x="138" y="254"/>
                      <a:pt x="138" y="254"/>
                      <a:pt x="138" y="254"/>
                    </a:cubicBezTo>
                    <a:cubicBezTo>
                      <a:pt x="137" y="254"/>
                      <a:pt x="136" y="255"/>
                      <a:pt x="134" y="255"/>
                    </a:cubicBezTo>
                    <a:cubicBezTo>
                      <a:pt x="132" y="255"/>
                      <a:pt x="130" y="256"/>
                      <a:pt x="128" y="256"/>
                    </a:cubicBezTo>
                    <a:cubicBezTo>
                      <a:pt x="125" y="257"/>
                      <a:pt x="125" y="257"/>
                      <a:pt x="125" y="257"/>
                    </a:cubicBezTo>
                    <a:cubicBezTo>
                      <a:pt x="124" y="257"/>
                      <a:pt x="124" y="257"/>
                      <a:pt x="124" y="257"/>
                    </a:cubicBezTo>
                    <a:cubicBezTo>
                      <a:pt x="124" y="258"/>
                      <a:pt x="124" y="258"/>
                      <a:pt x="124" y="258"/>
                    </a:cubicBezTo>
                    <a:cubicBezTo>
                      <a:pt x="123" y="259"/>
                      <a:pt x="123" y="260"/>
                      <a:pt x="122" y="261"/>
                    </a:cubicBezTo>
                    <a:cubicBezTo>
                      <a:pt x="122" y="262"/>
                      <a:pt x="122" y="262"/>
                      <a:pt x="121" y="262"/>
                    </a:cubicBezTo>
                    <a:cubicBezTo>
                      <a:pt x="121" y="263"/>
                      <a:pt x="121" y="264"/>
                      <a:pt x="120" y="264"/>
                    </a:cubicBezTo>
                    <a:cubicBezTo>
                      <a:pt x="120" y="265"/>
                      <a:pt x="120" y="265"/>
                      <a:pt x="120" y="266"/>
                    </a:cubicBezTo>
                    <a:cubicBezTo>
                      <a:pt x="120" y="266"/>
                      <a:pt x="120" y="266"/>
                      <a:pt x="119" y="267"/>
                    </a:cubicBezTo>
                    <a:cubicBezTo>
                      <a:pt x="119" y="268"/>
                      <a:pt x="119" y="268"/>
                      <a:pt x="119" y="268"/>
                    </a:cubicBezTo>
                    <a:cubicBezTo>
                      <a:pt x="119" y="269"/>
                      <a:pt x="119" y="270"/>
                      <a:pt x="119" y="270"/>
                    </a:cubicBezTo>
                    <a:cubicBezTo>
                      <a:pt x="119" y="272"/>
                      <a:pt x="119" y="273"/>
                      <a:pt x="118" y="275"/>
                    </a:cubicBezTo>
                    <a:cubicBezTo>
                      <a:pt x="118" y="275"/>
                      <a:pt x="118" y="275"/>
                      <a:pt x="118" y="275"/>
                    </a:cubicBezTo>
                    <a:cubicBezTo>
                      <a:pt x="118" y="276"/>
                      <a:pt x="117" y="276"/>
                      <a:pt x="117" y="276"/>
                    </a:cubicBezTo>
                    <a:cubicBezTo>
                      <a:pt x="117" y="278"/>
                      <a:pt x="117" y="278"/>
                      <a:pt x="117" y="278"/>
                    </a:cubicBezTo>
                    <a:cubicBezTo>
                      <a:pt x="117" y="279"/>
                      <a:pt x="116" y="280"/>
                      <a:pt x="116" y="281"/>
                    </a:cubicBezTo>
                    <a:cubicBezTo>
                      <a:pt x="116" y="282"/>
                      <a:pt x="116" y="282"/>
                      <a:pt x="115" y="283"/>
                    </a:cubicBezTo>
                    <a:cubicBezTo>
                      <a:pt x="115" y="283"/>
                      <a:pt x="115" y="283"/>
                      <a:pt x="115" y="283"/>
                    </a:cubicBezTo>
                    <a:cubicBezTo>
                      <a:pt x="116" y="283"/>
                      <a:pt x="116" y="283"/>
                      <a:pt x="117" y="284"/>
                    </a:cubicBezTo>
                    <a:cubicBezTo>
                      <a:pt x="117" y="284"/>
                      <a:pt x="118" y="285"/>
                      <a:pt x="118" y="285"/>
                    </a:cubicBezTo>
                    <a:cubicBezTo>
                      <a:pt x="118" y="285"/>
                      <a:pt x="118" y="285"/>
                      <a:pt x="119" y="286"/>
                    </a:cubicBezTo>
                    <a:cubicBezTo>
                      <a:pt x="119" y="286"/>
                      <a:pt x="119" y="287"/>
                      <a:pt x="120" y="287"/>
                    </a:cubicBezTo>
                    <a:cubicBezTo>
                      <a:pt x="120" y="287"/>
                      <a:pt x="120" y="287"/>
                      <a:pt x="120" y="287"/>
                    </a:cubicBezTo>
                    <a:cubicBezTo>
                      <a:pt x="120" y="288"/>
                      <a:pt x="120" y="288"/>
                      <a:pt x="120" y="288"/>
                    </a:cubicBezTo>
                    <a:cubicBezTo>
                      <a:pt x="121" y="287"/>
                      <a:pt x="121" y="287"/>
                      <a:pt x="121" y="287"/>
                    </a:cubicBezTo>
                    <a:cubicBezTo>
                      <a:pt x="121" y="288"/>
                      <a:pt x="121" y="288"/>
                      <a:pt x="121" y="288"/>
                    </a:cubicBezTo>
                    <a:cubicBezTo>
                      <a:pt x="121" y="288"/>
                      <a:pt x="121" y="288"/>
                      <a:pt x="121" y="288"/>
                    </a:cubicBezTo>
                    <a:cubicBezTo>
                      <a:pt x="121" y="289"/>
                      <a:pt x="121" y="289"/>
                      <a:pt x="121" y="289"/>
                    </a:cubicBezTo>
                    <a:cubicBezTo>
                      <a:pt x="122" y="290"/>
                      <a:pt x="122" y="290"/>
                      <a:pt x="122" y="290"/>
                    </a:cubicBezTo>
                    <a:cubicBezTo>
                      <a:pt x="122" y="290"/>
                      <a:pt x="122" y="291"/>
                      <a:pt x="123" y="291"/>
                    </a:cubicBezTo>
                    <a:cubicBezTo>
                      <a:pt x="124" y="292"/>
                      <a:pt x="124" y="292"/>
                      <a:pt x="124" y="292"/>
                    </a:cubicBezTo>
                    <a:cubicBezTo>
                      <a:pt x="124" y="292"/>
                      <a:pt x="124" y="293"/>
                      <a:pt x="125" y="293"/>
                    </a:cubicBezTo>
                    <a:cubicBezTo>
                      <a:pt x="125" y="294"/>
                      <a:pt x="125" y="294"/>
                      <a:pt x="125" y="294"/>
                    </a:cubicBezTo>
                    <a:cubicBezTo>
                      <a:pt x="126" y="294"/>
                      <a:pt x="126" y="294"/>
                      <a:pt x="126" y="294"/>
                    </a:cubicBezTo>
                    <a:cubicBezTo>
                      <a:pt x="126" y="295"/>
                      <a:pt x="127" y="295"/>
                      <a:pt x="128" y="296"/>
                    </a:cubicBezTo>
                    <a:cubicBezTo>
                      <a:pt x="128" y="296"/>
                      <a:pt x="128" y="296"/>
                      <a:pt x="128" y="296"/>
                    </a:cubicBezTo>
                    <a:cubicBezTo>
                      <a:pt x="128" y="296"/>
                      <a:pt x="129" y="297"/>
                      <a:pt x="130" y="298"/>
                    </a:cubicBezTo>
                    <a:cubicBezTo>
                      <a:pt x="131" y="299"/>
                      <a:pt x="132" y="299"/>
                      <a:pt x="133" y="300"/>
                    </a:cubicBezTo>
                    <a:cubicBezTo>
                      <a:pt x="133" y="300"/>
                      <a:pt x="133" y="300"/>
                      <a:pt x="133" y="300"/>
                    </a:cubicBezTo>
                    <a:cubicBezTo>
                      <a:pt x="133" y="300"/>
                      <a:pt x="133" y="300"/>
                      <a:pt x="134" y="300"/>
                    </a:cubicBezTo>
                    <a:cubicBezTo>
                      <a:pt x="134" y="300"/>
                      <a:pt x="134" y="300"/>
                      <a:pt x="134" y="300"/>
                    </a:cubicBezTo>
                    <a:cubicBezTo>
                      <a:pt x="135" y="300"/>
                      <a:pt x="136" y="300"/>
                      <a:pt x="137" y="300"/>
                    </a:cubicBezTo>
                    <a:cubicBezTo>
                      <a:pt x="137" y="300"/>
                      <a:pt x="138" y="300"/>
                      <a:pt x="138" y="300"/>
                    </a:cubicBezTo>
                    <a:cubicBezTo>
                      <a:pt x="139" y="301"/>
                      <a:pt x="140" y="301"/>
                      <a:pt x="142" y="301"/>
                    </a:cubicBezTo>
                    <a:cubicBezTo>
                      <a:pt x="143" y="302"/>
                      <a:pt x="144" y="303"/>
                      <a:pt x="145" y="304"/>
                    </a:cubicBezTo>
                    <a:cubicBezTo>
                      <a:pt x="146" y="304"/>
                      <a:pt x="146" y="304"/>
                      <a:pt x="146" y="304"/>
                    </a:cubicBezTo>
                    <a:cubicBezTo>
                      <a:pt x="147" y="305"/>
                      <a:pt x="147" y="305"/>
                      <a:pt x="148" y="306"/>
                    </a:cubicBezTo>
                    <a:cubicBezTo>
                      <a:pt x="152" y="308"/>
                      <a:pt x="156" y="310"/>
                      <a:pt x="159" y="312"/>
                    </a:cubicBezTo>
                    <a:cubicBezTo>
                      <a:pt x="161" y="313"/>
                      <a:pt x="163" y="314"/>
                      <a:pt x="165" y="315"/>
                    </a:cubicBezTo>
                    <a:cubicBezTo>
                      <a:pt x="166" y="315"/>
                      <a:pt x="166" y="316"/>
                      <a:pt x="167" y="317"/>
                    </a:cubicBezTo>
                    <a:cubicBezTo>
                      <a:pt x="167" y="318"/>
                      <a:pt x="167" y="320"/>
                      <a:pt x="166" y="320"/>
                    </a:cubicBezTo>
                    <a:cubicBezTo>
                      <a:pt x="166" y="322"/>
                      <a:pt x="165" y="323"/>
                      <a:pt x="164" y="324"/>
                    </a:cubicBezTo>
                    <a:cubicBezTo>
                      <a:pt x="163" y="325"/>
                      <a:pt x="163" y="325"/>
                      <a:pt x="162" y="326"/>
                    </a:cubicBezTo>
                    <a:cubicBezTo>
                      <a:pt x="161" y="328"/>
                      <a:pt x="160" y="330"/>
                      <a:pt x="159" y="333"/>
                    </a:cubicBezTo>
                    <a:cubicBezTo>
                      <a:pt x="159" y="334"/>
                      <a:pt x="159" y="334"/>
                      <a:pt x="159" y="334"/>
                    </a:cubicBezTo>
                    <a:cubicBezTo>
                      <a:pt x="159" y="335"/>
                      <a:pt x="158" y="336"/>
                      <a:pt x="157" y="336"/>
                    </a:cubicBezTo>
                    <a:cubicBezTo>
                      <a:pt x="157" y="337"/>
                      <a:pt x="156" y="337"/>
                      <a:pt x="156" y="337"/>
                    </a:cubicBezTo>
                    <a:cubicBezTo>
                      <a:pt x="156" y="337"/>
                      <a:pt x="156" y="337"/>
                      <a:pt x="156" y="337"/>
                    </a:cubicBezTo>
                    <a:cubicBezTo>
                      <a:pt x="159" y="337"/>
                      <a:pt x="162" y="337"/>
                      <a:pt x="164" y="337"/>
                    </a:cubicBezTo>
                    <a:cubicBezTo>
                      <a:pt x="164" y="337"/>
                      <a:pt x="164" y="337"/>
                      <a:pt x="164" y="337"/>
                    </a:cubicBezTo>
                    <a:cubicBezTo>
                      <a:pt x="165" y="337"/>
                      <a:pt x="166" y="337"/>
                      <a:pt x="167" y="338"/>
                    </a:cubicBezTo>
                    <a:cubicBezTo>
                      <a:pt x="168" y="338"/>
                      <a:pt x="169" y="339"/>
                      <a:pt x="171" y="338"/>
                    </a:cubicBezTo>
                    <a:cubicBezTo>
                      <a:pt x="172" y="338"/>
                      <a:pt x="172" y="338"/>
                      <a:pt x="172" y="338"/>
                    </a:cubicBezTo>
                    <a:cubicBezTo>
                      <a:pt x="173" y="338"/>
                      <a:pt x="174" y="338"/>
                      <a:pt x="176" y="339"/>
                    </a:cubicBezTo>
                    <a:cubicBezTo>
                      <a:pt x="176" y="339"/>
                      <a:pt x="177" y="339"/>
                      <a:pt x="177" y="339"/>
                    </a:cubicBezTo>
                    <a:cubicBezTo>
                      <a:pt x="178" y="340"/>
                      <a:pt x="178" y="340"/>
                      <a:pt x="178" y="340"/>
                    </a:cubicBezTo>
                    <a:cubicBezTo>
                      <a:pt x="178" y="340"/>
                      <a:pt x="178" y="340"/>
                      <a:pt x="178" y="340"/>
                    </a:cubicBezTo>
                    <a:cubicBezTo>
                      <a:pt x="178" y="340"/>
                      <a:pt x="178" y="339"/>
                      <a:pt x="178" y="339"/>
                    </a:cubicBezTo>
                    <a:cubicBezTo>
                      <a:pt x="179" y="339"/>
                      <a:pt x="179" y="339"/>
                      <a:pt x="179" y="339"/>
                    </a:cubicBezTo>
                    <a:cubicBezTo>
                      <a:pt x="180" y="338"/>
                      <a:pt x="180" y="338"/>
                      <a:pt x="181" y="338"/>
                    </a:cubicBezTo>
                    <a:cubicBezTo>
                      <a:pt x="182" y="338"/>
                      <a:pt x="182" y="338"/>
                      <a:pt x="182" y="338"/>
                    </a:cubicBezTo>
                    <a:cubicBezTo>
                      <a:pt x="182" y="337"/>
                      <a:pt x="182" y="337"/>
                      <a:pt x="182" y="337"/>
                    </a:cubicBezTo>
                    <a:cubicBezTo>
                      <a:pt x="183" y="337"/>
                      <a:pt x="183" y="338"/>
                      <a:pt x="183" y="338"/>
                    </a:cubicBezTo>
                    <a:cubicBezTo>
                      <a:pt x="184" y="338"/>
                      <a:pt x="184" y="338"/>
                      <a:pt x="184" y="338"/>
                    </a:cubicBezTo>
                    <a:cubicBezTo>
                      <a:pt x="184" y="338"/>
                      <a:pt x="184" y="338"/>
                      <a:pt x="184" y="338"/>
                    </a:cubicBezTo>
                    <a:cubicBezTo>
                      <a:pt x="184" y="338"/>
                      <a:pt x="184" y="338"/>
                      <a:pt x="184" y="338"/>
                    </a:cubicBezTo>
                    <a:cubicBezTo>
                      <a:pt x="184" y="338"/>
                      <a:pt x="184" y="338"/>
                      <a:pt x="184" y="338"/>
                    </a:cubicBezTo>
                    <a:cubicBezTo>
                      <a:pt x="184" y="338"/>
                      <a:pt x="185" y="338"/>
                      <a:pt x="185" y="337"/>
                    </a:cubicBezTo>
                    <a:cubicBezTo>
                      <a:pt x="185" y="337"/>
                      <a:pt x="185" y="337"/>
                      <a:pt x="185" y="337"/>
                    </a:cubicBezTo>
                    <a:cubicBezTo>
                      <a:pt x="185" y="336"/>
                      <a:pt x="186" y="335"/>
                      <a:pt x="186" y="335"/>
                    </a:cubicBezTo>
                    <a:cubicBezTo>
                      <a:pt x="187" y="335"/>
                      <a:pt x="187" y="334"/>
                      <a:pt x="188" y="334"/>
                    </a:cubicBezTo>
                    <a:cubicBezTo>
                      <a:pt x="188" y="334"/>
                      <a:pt x="189" y="333"/>
                      <a:pt x="190" y="332"/>
                    </a:cubicBezTo>
                    <a:cubicBezTo>
                      <a:pt x="191" y="332"/>
                      <a:pt x="191" y="331"/>
                      <a:pt x="192" y="330"/>
                    </a:cubicBezTo>
                    <a:cubicBezTo>
                      <a:pt x="193" y="330"/>
                      <a:pt x="193" y="329"/>
                      <a:pt x="194" y="329"/>
                    </a:cubicBezTo>
                    <a:cubicBezTo>
                      <a:pt x="194" y="326"/>
                      <a:pt x="195" y="323"/>
                      <a:pt x="195" y="320"/>
                    </a:cubicBezTo>
                    <a:cubicBezTo>
                      <a:pt x="195" y="317"/>
                      <a:pt x="195" y="317"/>
                      <a:pt x="195" y="317"/>
                    </a:cubicBezTo>
                    <a:cubicBezTo>
                      <a:pt x="197" y="319"/>
                      <a:pt x="197" y="319"/>
                      <a:pt x="197" y="319"/>
                    </a:cubicBezTo>
                    <a:cubicBezTo>
                      <a:pt x="197" y="319"/>
                      <a:pt x="198" y="319"/>
                      <a:pt x="198" y="319"/>
                    </a:cubicBezTo>
                    <a:cubicBezTo>
                      <a:pt x="199" y="317"/>
                      <a:pt x="199" y="317"/>
                      <a:pt x="199" y="317"/>
                    </a:cubicBezTo>
                    <a:cubicBezTo>
                      <a:pt x="198" y="319"/>
                      <a:pt x="198" y="319"/>
                      <a:pt x="198" y="319"/>
                    </a:cubicBezTo>
                    <a:cubicBezTo>
                      <a:pt x="198" y="319"/>
                      <a:pt x="199" y="319"/>
                      <a:pt x="199" y="319"/>
                    </a:cubicBezTo>
                    <a:cubicBezTo>
                      <a:pt x="199" y="319"/>
                      <a:pt x="199" y="318"/>
                      <a:pt x="200" y="318"/>
                    </a:cubicBezTo>
                    <a:cubicBezTo>
                      <a:pt x="200" y="318"/>
                      <a:pt x="201" y="318"/>
                      <a:pt x="201" y="318"/>
                    </a:cubicBezTo>
                    <a:cubicBezTo>
                      <a:pt x="202" y="318"/>
                      <a:pt x="202" y="318"/>
                      <a:pt x="202" y="318"/>
                    </a:cubicBezTo>
                    <a:cubicBezTo>
                      <a:pt x="202" y="318"/>
                      <a:pt x="203" y="319"/>
                      <a:pt x="204" y="319"/>
                    </a:cubicBezTo>
                    <a:cubicBezTo>
                      <a:pt x="204" y="319"/>
                      <a:pt x="204" y="319"/>
                      <a:pt x="204" y="319"/>
                    </a:cubicBezTo>
                    <a:cubicBezTo>
                      <a:pt x="204" y="319"/>
                      <a:pt x="204" y="320"/>
                      <a:pt x="204" y="320"/>
                    </a:cubicBezTo>
                    <a:cubicBezTo>
                      <a:pt x="207" y="325"/>
                      <a:pt x="207" y="325"/>
                      <a:pt x="207" y="325"/>
                    </a:cubicBezTo>
                    <a:cubicBezTo>
                      <a:pt x="207" y="327"/>
                      <a:pt x="207" y="329"/>
                      <a:pt x="207" y="331"/>
                    </a:cubicBezTo>
                    <a:cubicBezTo>
                      <a:pt x="207" y="331"/>
                      <a:pt x="207" y="331"/>
                      <a:pt x="207" y="331"/>
                    </a:cubicBezTo>
                    <a:cubicBezTo>
                      <a:pt x="207" y="332"/>
                      <a:pt x="207" y="332"/>
                      <a:pt x="207" y="333"/>
                    </a:cubicBezTo>
                    <a:cubicBezTo>
                      <a:pt x="206" y="333"/>
                      <a:pt x="206" y="333"/>
                      <a:pt x="206" y="333"/>
                    </a:cubicBezTo>
                    <a:cubicBezTo>
                      <a:pt x="206" y="334"/>
                      <a:pt x="206" y="334"/>
                      <a:pt x="206" y="334"/>
                    </a:cubicBezTo>
                    <a:cubicBezTo>
                      <a:pt x="206" y="334"/>
                      <a:pt x="206" y="335"/>
                      <a:pt x="206" y="335"/>
                    </a:cubicBezTo>
                    <a:cubicBezTo>
                      <a:pt x="206" y="336"/>
                      <a:pt x="206" y="336"/>
                      <a:pt x="206" y="336"/>
                    </a:cubicBezTo>
                    <a:cubicBezTo>
                      <a:pt x="206" y="336"/>
                      <a:pt x="206" y="336"/>
                      <a:pt x="206" y="336"/>
                    </a:cubicBezTo>
                    <a:cubicBezTo>
                      <a:pt x="205" y="337"/>
                      <a:pt x="205" y="337"/>
                      <a:pt x="205" y="337"/>
                    </a:cubicBezTo>
                    <a:cubicBezTo>
                      <a:pt x="205" y="338"/>
                      <a:pt x="204" y="338"/>
                      <a:pt x="204" y="338"/>
                    </a:cubicBezTo>
                    <a:cubicBezTo>
                      <a:pt x="203" y="339"/>
                      <a:pt x="203" y="339"/>
                      <a:pt x="203" y="339"/>
                    </a:cubicBezTo>
                    <a:cubicBezTo>
                      <a:pt x="203" y="339"/>
                      <a:pt x="203" y="339"/>
                      <a:pt x="203" y="339"/>
                    </a:cubicBezTo>
                    <a:cubicBezTo>
                      <a:pt x="200" y="340"/>
                      <a:pt x="198" y="341"/>
                      <a:pt x="195" y="342"/>
                    </a:cubicBezTo>
                    <a:cubicBezTo>
                      <a:pt x="195" y="342"/>
                      <a:pt x="194" y="343"/>
                      <a:pt x="193" y="343"/>
                    </a:cubicBezTo>
                    <a:cubicBezTo>
                      <a:pt x="193" y="344"/>
                      <a:pt x="192" y="344"/>
                      <a:pt x="192" y="344"/>
                    </a:cubicBezTo>
                    <a:cubicBezTo>
                      <a:pt x="192" y="345"/>
                      <a:pt x="191" y="345"/>
                      <a:pt x="191" y="345"/>
                    </a:cubicBezTo>
                    <a:cubicBezTo>
                      <a:pt x="191" y="346"/>
                      <a:pt x="191" y="346"/>
                      <a:pt x="191" y="346"/>
                    </a:cubicBezTo>
                    <a:cubicBezTo>
                      <a:pt x="190" y="346"/>
                      <a:pt x="190" y="346"/>
                      <a:pt x="190" y="346"/>
                    </a:cubicBezTo>
                    <a:cubicBezTo>
                      <a:pt x="189" y="347"/>
                      <a:pt x="189" y="347"/>
                      <a:pt x="189" y="347"/>
                    </a:cubicBezTo>
                    <a:cubicBezTo>
                      <a:pt x="189" y="347"/>
                      <a:pt x="189" y="347"/>
                      <a:pt x="189" y="348"/>
                    </a:cubicBezTo>
                    <a:cubicBezTo>
                      <a:pt x="188" y="348"/>
                      <a:pt x="188" y="348"/>
                      <a:pt x="188" y="348"/>
                    </a:cubicBezTo>
                    <a:cubicBezTo>
                      <a:pt x="188" y="348"/>
                      <a:pt x="188" y="348"/>
                      <a:pt x="188" y="348"/>
                    </a:cubicBezTo>
                    <a:cubicBezTo>
                      <a:pt x="188" y="348"/>
                      <a:pt x="188" y="348"/>
                      <a:pt x="188" y="348"/>
                    </a:cubicBezTo>
                    <a:cubicBezTo>
                      <a:pt x="187" y="348"/>
                      <a:pt x="187" y="348"/>
                      <a:pt x="187" y="348"/>
                    </a:cubicBezTo>
                    <a:cubicBezTo>
                      <a:pt x="186" y="349"/>
                      <a:pt x="186" y="349"/>
                      <a:pt x="186" y="349"/>
                    </a:cubicBezTo>
                    <a:cubicBezTo>
                      <a:pt x="186" y="349"/>
                      <a:pt x="186" y="349"/>
                      <a:pt x="186" y="349"/>
                    </a:cubicBezTo>
                    <a:cubicBezTo>
                      <a:pt x="186" y="349"/>
                      <a:pt x="186" y="349"/>
                      <a:pt x="186" y="349"/>
                    </a:cubicBezTo>
                    <a:cubicBezTo>
                      <a:pt x="186" y="350"/>
                      <a:pt x="186" y="350"/>
                      <a:pt x="186" y="350"/>
                    </a:cubicBezTo>
                    <a:cubicBezTo>
                      <a:pt x="186" y="352"/>
                      <a:pt x="186" y="352"/>
                      <a:pt x="186" y="352"/>
                    </a:cubicBezTo>
                    <a:cubicBezTo>
                      <a:pt x="185" y="352"/>
                      <a:pt x="185" y="352"/>
                      <a:pt x="185" y="352"/>
                    </a:cubicBezTo>
                    <a:cubicBezTo>
                      <a:pt x="185" y="352"/>
                      <a:pt x="185" y="352"/>
                      <a:pt x="185" y="352"/>
                    </a:cubicBezTo>
                    <a:cubicBezTo>
                      <a:pt x="184" y="352"/>
                      <a:pt x="182" y="354"/>
                      <a:pt x="181" y="355"/>
                    </a:cubicBezTo>
                    <a:cubicBezTo>
                      <a:pt x="180" y="356"/>
                      <a:pt x="179" y="358"/>
                      <a:pt x="178" y="359"/>
                    </a:cubicBezTo>
                    <a:cubicBezTo>
                      <a:pt x="177" y="359"/>
                      <a:pt x="177" y="360"/>
                      <a:pt x="176" y="361"/>
                    </a:cubicBezTo>
                    <a:cubicBezTo>
                      <a:pt x="174" y="364"/>
                      <a:pt x="171" y="367"/>
                      <a:pt x="168" y="370"/>
                    </a:cubicBezTo>
                    <a:cubicBezTo>
                      <a:pt x="168" y="370"/>
                      <a:pt x="168" y="370"/>
                      <a:pt x="168" y="370"/>
                    </a:cubicBezTo>
                    <a:cubicBezTo>
                      <a:pt x="168" y="370"/>
                      <a:pt x="169" y="370"/>
                      <a:pt x="169" y="370"/>
                    </a:cubicBezTo>
                    <a:cubicBezTo>
                      <a:pt x="169" y="370"/>
                      <a:pt x="169" y="370"/>
                      <a:pt x="169" y="370"/>
                    </a:cubicBezTo>
                    <a:cubicBezTo>
                      <a:pt x="169" y="370"/>
                      <a:pt x="169" y="369"/>
                      <a:pt x="170" y="369"/>
                    </a:cubicBezTo>
                    <a:cubicBezTo>
                      <a:pt x="171" y="367"/>
                      <a:pt x="174" y="368"/>
                      <a:pt x="175" y="369"/>
                    </a:cubicBezTo>
                    <a:cubicBezTo>
                      <a:pt x="176" y="370"/>
                      <a:pt x="177" y="371"/>
                      <a:pt x="178" y="371"/>
                    </a:cubicBezTo>
                    <a:cubicBezTo>
                      <a:pt x="179" y="372"/>
                      <a:pt x="179" y="373"/>
                      <a:pt x="180" y="373"/>
                    </a:cubicBezTo>
                    <a:cubicBezTo>
                      <a:pt x="182" y="375"/>
                      <a:pt x="182" y="375"/>
                      <a:pt x="182" y="375"/>
                    </a:cubicBezTo>
                    <a:cubicBezTo>
                      <a:pt x="183" y="376"/>
                      <a:pt x="183" y="377"/>
                      <a:pt x="183" y="379"/>
                    </a:cubicBezTo>
                    <a:cubicBezTo>
                      <a:pt x="183" y="379"/>
                      <a:pt x="184" y="378"/>
                      <a:pt x="184" y="378"/>
                    </a:cubicBezTo>
                    <a:cubicBezTo>
                      <a:pt x="184" y="378"/>
                      <a:pt x="184" y="378"/>
                      <a:pt x="184" y="378"/>
                    </a:cubicBezTo>
                    <a:cubicBezTo>
                      <a:pt x="184" y="378"/>
                      <a:pt x="184" y="378"/>
                      <a:pt x="184" y="378"/>
                    </a:cubicBezTo>
                    <a:cubicBezTo>
                      <a:pt x="184" y="378"/>
                      <a:pt x="184" y="378"/>
                      <a:pt x="184" y="378"/>
                    </a:cubicBezTo>
                    <a:cubicBezTo>
                      <a:pt x="184" y="377"/>
                      <a:pt x="184" y="377"/>
                      <a:pt x="184" y="377"/>
                    </a:cubicBezTo>
                    <a:cubicBezTo>
                      <a:pt x="184" y="378"/>
                      <a:pt x="184" y="378"/>
                      <a:pt x="184" y="378"/>
                    </a:cubicBezTo>
                    <a:cubicBezTo>
                      <a:pt x="185" y="377"/>
                      <a:pt x="185" y="377"/>
                      <a:pt x="186" y="376"/>
                    </a:cubicBezTo>
                    <a:cubicBezTo>
                      <a:pt x="187" y="376"/>
                      <a:pt x="188" y="378"/>
                      <a:pt x="189" y="380"/>
                    </a:cubicBezTo>
                    <a:cubicBezTo>
                      <a:pt x="190" y="380"/>
                      <a:pt x="190" y="380"/>
                      <a:pt x="190" y="380"/>
                    </a:cubicBezTo>
                    <a:cubicBezTo>
                      <a:pt x="190" y="380"/>
                      <a:pt x="190" y="381"/>
                      <a:pt x="190" y="381"/>
                    </a:cubicBezTo>
                    <a:cubicBezTo>
                      <a:pt x="191" y="382"/>
                      <a:pt x="192" y="382"/>
                      <a:pt x="193" y="382"/>
                    </a:cubicBezTo>
                    <a:cubicBezTo>
                      <a:pt x="194" y="382"/>
                      <a:pt x="196" y="383"/>
                      <a:pt x="197" y="384"/>
                    </a:cubicBezTo>
                    <a:cubicBezTo>
                      <a:pt x="197" y="384"/>
                      <a:pt x="198" y="385"/>
                      <a:pt x="198" y="385"/>
                    </a:cubicBezTo>
                    <a:cubicBezTo>
                      <a:pt x="198" y="386"/>
                      <a:pt x="198" y="386"/>
                      <a:pt x="198" y="386"/>
                    </a:cubicBezTo>
                    <a:cubicBezTo>
                      <a:pt x="199" y="386"/>
                      <a:pt x="199" y="387"/>
                      <a:pt x="200" y="387"/>
                    </a:cubicBezTo>
                    <a:cubicBezTo>
                      <a:pt x="200" y="387"/>
                      <a:pt x="200" y="387"/>
                      <a:pt x="200" y="387"/>
                    </a:cubicBezTo>
                    <a:cubicBezTo>
                      <a:pt x="201" y="387"/>
                      <a:pt x="201" y="387"/>
                      <a:pt x="201" y="387"/>
                    </a:cubicBezTo>
                    <a:cubicBezTo>
                      <a:pt x="201" y="388"/>
                      <a:pt x="202" y="388"/>
                      <a:pt x="202" y="388"/>
                    </a:cubicBezTo>
                    <a:cubicBezTo>
                      <a:pt x="203" y="388"/>
                      <a:pt x="204" y="389"/>
                      <a:pt x="204" y="390"/>
                    </a:cubicBezTo>
                    <a:cubicBezTo>
                      <a:pt x="205" y="390"/>
                      <a:pt x="205" y="390"/>
                      <a:pt x="205" y="390"/>
                    </a:cubicBezTo>
                    <a:cubicBezTo>
                      <a:pt x="205" y="391"/>
                      <a:pt x="206" y="392"/>
                      <a:pt x="206" y="393"/>
                    </a:cubicBezTo>
                    <a:cubicBezTo>
                      <a:pt x="207" y="393"/>
                      <a:pt x="207" y="393"/>
                      <a:pt x="207" y="393"/>
                    </a:cubicBezTo>
                    <a:cubicBezTo>
                      <a:pt x="208" y="395"/>
                      <a:pt x="209" y="396"/>
                      <a:pt x="211" y="396"/>
                    </a:cubicBezTo>
                    <a:cubicBezTo>
                      <a:pt x="213" y="398"/>
                      <a:pt x="213" y="398"/>
                      <a:pt x="213" y="398"/>
                    </a:cubicBezTo>
                    <a:cubicBezTo>
                      <a:pt x="212" y="399"/>
                      <a:pt x="212" y="399"/>
                      <a:pt x="212" y="399"/>
                    </a:cubicBezTo>
                    <a:cubicBezTo>
                      <a:pt x="212" y="399"/>
                      <a:pt x="211" y="400"/>
                      <a:pt x="210" y="401"/>
                    </a:cubicBezTo>
                    <a:cubicBezTo>
                      <a:pt x="210" y="402"/>
                      <a:pt x="209" y="403"/>
                      <a:pt x="209" y="404"/>
                    </a:cubicBezTo>
                    <a:cubicBezTo>
                      <a:pt x="208" y="404"/>
                      <a:pt x="208" y="408"/>
                      <a:pt x="208" y="408"/>
                    </a:cubicBezTo>
                    <a:cubicBezTo>
                      <a:pt x="208" y="408"/>
                      <a:pt x="209" y="408"/>
                      <a:pt x="209" y="409"/>
                    </a:cubicBezTo>
                    <a:cubicBezTo>
                      <a:pt x="209" y="409"/>
                      <a:pt x="209" y="409"/>
                      <a:pt x="209" y="409"/>
                    </a:cubicBezTo>
                    <a:cubicBezTo>
                      <a:pt x="209" y="409"/>
                      <a:pt x="209" y="409"/>
                      <a:pt x="209" y="409"/>
                    </a:cubicBezTo>
                    <a:cubicBezTo>
                      <a:pt x="209" y="409"/>
                      <a:pt x="209" y="409"/>
                      <a:pt x="209" y="409"/>
                    </a:cubicBezTo>
                    <a:cubicBezTo>
                      <a:pt x="210" y="408"/>
                      <a:pt x="210" y="408"/>
                      <a:pt x="210" y="408"/>
                    </a:cubicBezTo>
                    <a:cubicBezTo>
                      <a:pt x="210" y="410"/>
                      <a:pt x="210" y="410"/>
                      <a:pt x="210" y="410"/>
                    </a:cubicBezTo>
                    <a:cubicBezTo>
                      <a:pt x="211" y="409"/>
                      <a:pt x="212" y="408"/>
                      <a:pt x="213" y="407"/>
                    </a:cubicBezTo>
                    <a:cubicBezTo>
                      <a:pt x="214" y="406"/>
                      <a:pt x="215" y="404"/>
                      <a:pt x="216" y="403"/>
                    </a:cubicBezTo>
                    <a:cubicBezTo>
                      <a:pt x="217" y="401"/>
                      <a:pt x="218" y="399"/>
                      <a:pt x="219" y="397"/>
                    </a:cubicBezTo>
                    <a:cubicBezTo>
                      <a:pt x="220" y="396"/>
                      <a:pt x="222" y="394"/>
                      <a:pt x="222" y="392"/>
                    </a:cubicBezTo>
                    <a:cubicBezTo>
                      <a:pt x="222" y="391"/>
                      <a:pt x="222" y="391"/>
                      <a:pt x="221" y="391"/>
                    </a:cubicBezTo>
                    <a:cubicBezTo>
                      <a:pt x="221" y="391"/>
                      <a:pt x="221" y="390"/>
                      <a:pt x="221" y="390"/>
                    </a:cubicBezTo>
                    <a:cubicBezTo>
                      <a:pt x="221" y="389"/>
                      <a:pt x="220" y="389"/>
                      <a:pt x="221" y="388"/>
                    </a:cubicBezTo>
                    <a:cubicBezTo>
                      <a:pt x="221" y="387"/>
                      <a:pt x="222" y="385"/>
                      <a:pt x="223" y="387"/>
                    </a:cubicBezTo>
                    <a:cubicBezTo>
                      <a:pt x="223" y="385"/>
                      <a:pt x="223" y="384"/>
                      <a:pt x="224" y="383"/>
                    </a:cubicBezTo>
                    <a:cubicBezTo>
                      <a:pt x="225" y="382"/>
                      <a:pt x="227" y="381"/>
                      <a:pt x="228" y="380"/>
                    </a:cubicBezTo>
                    <a:cubicBezTo>
                      <a:pt x="228" y="380"/>
                      <a:pt x="229" y="378"/>
                      <a:pt x="229" y="377"/>
                    </a:cubicBezTo>
                    <a:cubicBezTo>
                      <a:pt x="229" y="374"/>
                      <a:pt x="230" y="376"/>
                      <a:pt x="230" y="377"/>
                    </a:cubicBezTo>
                    <a:cubicBezTo>
                      <a:pt x="230" y="376"/>
                      <a:pt x="230" y="376"/>
                      <a:pt x="230" y="376"/>
                    </a:cubicBezTo>
                    <a:cubicBezTo>
                      <a:pt x="230" y="375"/>
                      <a:pt x="230" y="374"/>
                      <a:pt x="230" y="373"/>
                    </a:cubicBezTo>
                    <a:cubicBezTo>
                      <a:pt x="231" y="373"/>
                      <a:pt x="232" y="373"/>
                      <a:pt x="232" y="372"/>
                    </a:cubicBezTo>
                    <a:cubicBezTo>
                      <a:pt x="232" y="372"/>
                      <a:pt x="232" y="372"/>
                      <a:pt x="232" y="372"/>
                    </a:cubicBezTo>
                    <a:cubicBezTo>
                      <a:pt x="231" y="371"/>
                      <a:pt x="230" y="370"/>
                      <a:pt x="230" y="368"/>
                    </a:cubicBezTo>
                    <a:cubicBezTo>
                      <a:pt x="231" y="369"/>
                      <a:pt x="230" y="370"/>
                      <a:pt x="231" y="371"/>
                    </a:cubicBezTo>
                    <a:cubicBezTo>
                      <a:pt x="233" y="372"/>
                      <a:pt x="235" y="371"/>
                      <a:pt x="238" y="371"/>
                    </a:cubicBezTo>
                    <a:cubicBezTo>
                      <a:pt x="238" y="371"/>
                      <a:pt x="237" y="372"/>
                      <a:pt x="237" y="373"/>
                    </a:cubicBezTo>
                    <a:cubicBezTo>
                      <a:pt x="237" y="372"/>
                      <a:pt x="236" y="372"/>
                      <a:pt x="236" y="372"/>
                    </a:cubicBezTo>
                    <a:cubicBezTo>
                      <a:pt x="237" y="374"/>
                      <a:pt x="236" y="377"/>
                      <a:pt x="235" y="378"/>
                    </a:cubicBezTo>
                    <a:cubicBezTo>
                      <a:pt x="232" y="379"/>
                      <a:pt x="234" y="379"/>
                      <a:pt x="233" y="381"/>
                    </a:cubicBezTo>
                    <a:cubicBezTo>
                      <a:pt x="233" y="381"/>
                      <a:pt x="233" y="381"/>
                      <a:pt x="233" y="380"/>
                    </a:cubicBezTo>
                    <a:cubicBezTo>
                      <a:pt x="230" y="380"/>
                      <a:pt x="231" y="384"/>
                      <a:pt x="230" y="385"/>
                    </a:cubicBezTo>
                    <a:cubicBezTo>
                      <a:pt x="229" y="386"/>
                      <a:pt x="228" y="386"/>
                      <a:pt x="228" y="387"/>
                    </a:cubicBezTo>
                    <a:cubicBezTo>
                      <a:pt x="227" y="387"/>
                      <a:pt x="226" y="388"/>
                      <a:pt x="226" y="388"/>
                    </a:cubicBezTo>
                    <a:cubicBezTo>
                      <a:pt x="224" y="390"/>
                      <a:pt x="224" y="389"/>
                      <a:pt x="222" y="389"/>
                    </a:cubicBezTo>
                    <a:cubicBezTo>
                      <a:pt x="221" y="389"/>
                      <a:pt x="222" y="389"/>
                      <a:pt x="222" y="390"/>
                    </a:cubicBezTo>
                    <a:cubicBezTo>
                      <a:pt x="222" y="390"/>
                      <a:pt x="222" y="392"/>
                      <a:pt x="222" y="393"/>
                    </a:cubicBezTo>
                    <a:cubicBezTo>
                      <a:pt x="223" y="391"/>
                      <a:pt x="224" y="390"/>
                      <a:pt x="226" y="389"/>
                    </a:cubicBezTo>
                    <a:cubicBezTo>
                      <a:pt x="228" y="388"/>
                      <a:pt x="229" y="387"/>
                      <a:pt x="231" y="385"/>
                    </a:cubicBezTo>
                    <a:cubicBezTo>
                      <a:pt x="233" y="383"/>
                      <a:pt x="236" y="380"/>
                      <a:pt x="238" y="377"/>
                    </a:cubicBezTo>
                    <a:cubicBezTo>
                      <a:pt x="239" y="375"/>
                      <a:pt x="240" y="374"/>
                      <a:pt x="241" y="372"/>
                    </a:cubicBezTo>
                    <a:cubicBezTo>
                      <a:pt x="242" y="370"/>
                      <a:pt x="243" y="367"/>
                      <a:pt x="244" y="364"/>
                    </a:cubicBezTo>
                    <a:cubicBezTo>
                      <a:pt x="245" y="363"/>
                      <a:pt x="246" y="361"/>
                      <a:pt x="247" y="360"/>
                    </a:cubicBezTo>
                    <a:cubicBezTo>
                      <a:pt x="249" y="358"/>
                      <a:pt x="252" y="356"/>
                      <a:pt x="254" y="354"/>
                    </a:cubicBezTo>
                    <a:cubicBezTo>
                      <a:pt x="255" y="353"/>
                      <a:pt x="256" y="353"/>
                      <a:pt x="256" y="352"/>
                    </a:cubicBezTo>
                    <a:cubicBezTo>
                      <a:pt x="255" y="352"/>
                      <a:pt x="255" y="350"/>
                      <a:pt x="255" y="349"/>
                    </a:cubicBezTo>
                    <a:cubicBezTo>
                      <a:pt x="256" y="350"/>
                      <a:pt x="256" y="350"/>
                      <a:pt x="256" y="351"/>
                    </a:cubicBezTo>
                    <a:cubicBezTo>
                      <a:pt x="256" y="349"/>
                      <a:pt x="257" y="348"/>
                      <a:pt x="257" y="346"/>
                    </a:cubicBezTo>
                    <a:cubicBezTo>
                      <a:pt x="257" y="344"/>
                      <a:pt x="257" y="341"/>
                      <a:pt x="257" y="339"/>
                    </a:cubicBezTo>
                    <a:cubicBezTo>
                      <a:pt x="257" y="337"/>
                      <a:pt x="257" y="338"/>
                      <a:pt x="259" y="337"/>
                    </a:cubicBezTo>
                    <a:cubicBezTo>
                      <a:pt x="257" y="337"/>
                      <a:pt x="257" y="333"/>
                      <a:pt x="257" y="332"/>
                    </a:cubicBezTo>
                    <a:cubicBezTo>
                      <a:pt x="257" y="331"/>
                      <a:pt x="258" y="329"/>
                      <a:pt x="257" y="328"/>
                    </a:cubicBezTo>
                    <a:cubicBezTo>
                      <a:pt x="257" y="328"/>
                      <a:pt x="257" y="328"/>
                      <a:pt x="257" y="328"/>
                    </a:cubicBezTo>
                    <a:cubicBezTo>
                      <a:pt x="257" y="328"/>
                      <a:pt x="257" y="328"/>
                      <a:pt x="258" y="329"/>
                    </a:cubicBezTo>
                    <a:cubicBezTo>
                      <a:pt x="258" y="328"/>
                      <a:pt x="259" y="327"/>
                      <a:pt x="259" y="326"/>
                    </a:cubicBezTo>
                    <a:cubicBezTo>
                      <a:pt x="258" y="326"/>
                      <a:pt x="258" y="326"/>
                      <a:pt x="258" y="326"/>
                    </a:cubicBezTo>
                    <a:cubicBezTo>
                      <a:pt x="258" y="326"/>
                      <a:pt x="257" y="326"/>
                      <a:pt x="257" y="327"/>
                    </a:cubicBezTo>
                    <a:cubicBezTo>
                      <a:pt x="257" y="327"/>
                      <a:pt x="257" y="327"/>
                      <a:pt x="257" y="327"/>
                    </a:cubicBezTo>
                    <a:cubicBezTo>
                      <a:pt x="256" y="326"/>
                      <a:pt x="256" y="326"/>
                      <a:pt x="256" y="325"/>
                    </a:cubicBezTo>
                    <a:cubicBezTo>
                      <a:pt x="256" y="325"/>
                      <a:pt x="256" y="326"/>
                      <a:pt x="256" y="326"/>
                    </a:cubicBezTo>
                    <a:cubicBezTo>
                      <a:pt x="257" y="325"/>
                      <a:pt x="258" y="324"/>
                      <a:pt x="258" y="323"/>
                    </a:cubicBezTo>
                    <a:cubicBezTo>
                      <a:pt x="258" y="322"/>
                      <a:pt x="257" y="322"/>
                      <a:pt x="256" y="322"/>
                    </a:cubicBezTo>
                    <a:cubicBezTo>
                      <a:pt x="257" y="322"/>
                      <a:pt x="257" y="322"/>
                      <a:pt x="258" y="322"/>
                    </a:cubicBezTo>
                    <a:cubicBezTo>
                      <a:pt x="258" y="321"/>
                      <a:pt x="260" y="320"/>
                      <a:pt x="260" y="319"/>
                    </a:cubicBezTo>
                    <a:cubicBezTo>
                      <a:pt x="260" y="319"/>
                      <a:pt x="260" y="319"/>
                      <a:pt x="259" y="319"/>
                    </a:cubicBezTo>
                    <a:cubicBezTo>
                      <a:pt x="259" y="319"/>
                      <a:pt x="258" y="319"/>
                      <a:pt x="258" y="319"/>
                    </a:cubicBezTo>
                    <a:cubicBezTo>
                      <a:pt x="258" y="318"/>
                      <a:pt x="257" y="318"/>
                      <a:pt x="257" y="318"/>
                    </a:cubicBezTo>
                    <a:cubicBezTo>
                      <a:pt x="257" y="317"/>
                      <a:pt x="256" y="317"/>
                      <a:pt x="256" y="317"/>
                    </a:cubicBezTo>
                    <a:cubicBezTo>
                      <a:pt x="256" y="317"/>
                      <a:pt x="257" y="317"/>
                      <a:pt x="257" y="318"/>
                    </a:cubicBezTo>
                    <a:cubicBezTo>
                      <a:pt x="257" y="318"/>
                      <a:pt x="257" y="318"/>
                      <a:pt x="258" y="317"/>
                    </a:cubicBezTo>
                    <a:cubicBezTo>
                      <a:pt x="259" y="317"/>
                      <a:pt x="259" y="316"/>
                      <a:pt x="259" y="316"/>
                    </a:cubicBezTo>
                    <a:cubicBezTo>
                      <a:pt x="259" y="316"/>
                      <a:pt x="260" y="316"/>
                      <a:pt x="260" y="316"/>
                    </a:cubicBezTo>
                    <a:cubicBezTo>
                      <a:pt x="260" y="316"/>
                      <a:pt x="260" y="316"/>
                      <a:pt x="260" y="317"/>
                    </a:cubicBezTo>
                    <a:cubicBezTo>
                      <a:pt x="261" y="316"/>
                      <a:pt x="262" y="316"/>
                      <a:pt x="263" y="316"/>
                    </a:cubicBezTo>
                    <a:cubicBezTo>
                      <a:pt x="263" y="316"/>
                      <a:pt x="265" y="314"/>
                      <a:pt x="265" y="314"/>
                    </a:cubicBezTo>
                    <a:cubicBezTo>
                      <a:pt x="265" y="314"/>
                      <a:pt x="264" y="313"/>
                      <a:pt x="264" y="313"/>
                    </a:cubicBezTo>
                    <a:cubicBezTo>
                      <a:pt x="264" y="313"/>
                      <a:pt x="264" y="313"/>
                      <a:pt x="264" y="313"/>
                    </a:cubicBezTo>
                    <a:cubicBezTo>
                      <a:pt x="264" y="313"/>
                      <a:pt x="264" y="313"/>
                      <a:pt x="264" y="313"/>
                    </a:cubicBezTo>
                    <a:cubicBezTo>
                      <a:pt x="264" y="313"/>
                      <a:pt x="264" y="313"/>
                      <a:pt x="264" y="313"/>
                    </a:cubicBezTo>
                    <a:cubicBezTo>
                      <a:pt x="264" y="313"/>
                      <a:pt x="264" y="313"/>
                      <a:pt x="264" y="313"/>
                    </a:cubicBezTo>
                    <a:cubicBezTo>
                      <a:pt x="264" y="313"/>
                      <a:pt x="264" y="313"/>
                      <a:pt x="264" y="313"/>
                    </a:cubicBezTo>
                    <a:cubicBezTo>
                      <a:pt x="265" y="312"/>
                      <a:pt x="267" y="311"/>
                      <a:pt x="268" y="310"/>
                    </a:cubicBezTo>
                    <a:cubicBezTo>
                      <a:pt x="271" y="308"/>
                      <a:pt x="274" y="307"/>
                      <a:pt x="276" y="305"/>
                    </a:cubicBezTo>
                    <a:cubicBezTo>
                      <a:pt x="277" y="304"/>
                      <a:pt x="279" y="303"/>
                      <a:pt x="280" y="302"/>
                    </a:cubicBezTo>
                    <a:cubicBezTo>
                      <a:pt x="281" y="302"/>
                      <a:pt x="280" y="301"/>
                      <a:pt x="280" y="301"/>
                    </a:cubicBezTo>
                    <a:cubicBezTo>
                      <a:pt x="281" y="302"/>
                      <a:pt x="282" y="301"/>
                      <a:pt x="283" y="301"/>
                    </a:cubicBezTo>
                    <a:cubicBezTo>
                      <a:pt x="284" y="300"/>
                      <a:pt x="286" y="300"/>
                      <a:pt x="287" y="300"/>
                    </a:cubicBezTo>
                    <a:cubicBezTo>
                      <a:pt x="288" y="300"/>
                      <a:pt x="290" y="301"/>
                      <a:pt x="290" y="300"/>
                    </a:cubicBezTo>
                    <a:cubicBezTo>
                      <a:pt x="291" y="300"/>
                      <a:pt x="290" y="300"/>
                      <a:pt x="290" y="299"/>
                    </a:cubicBezTo>
                    <a:cubicBezTo>
                      <a:pt x="291" y="299"/>
                      <a:pt x="291" y="298"/>
                      <a:pt x="292" y="298"/>
                    </a:cubicBezTo>
                    <a:cubicBezTo>
                      <a:pt x="295" y="297"/>
                      <a:pt x="297" y="296"/>
                      <a:pt x="299" y="294"/>
                    </a:cubicBezTo>
                    <a:cubicBezTo>
                      <a:pt x="299" y="294"/>
                      <a:pt x="299" y="294"/>
                      <a:pt x="299" y="294"/>
                    </a:cubicBezTo>
                    <a:cubicBezTo>
                      <a:pt x="298" y="293"/>
                      <a:pt x="298" y="293"/>
                      <a:pt x="298" y="292"/>
                    </a:cubicBezTo>
                    <a:cubicBezTo>
                      <a:pt x="298" y="292"/>
                      <a:pt x="298" y="292"/>
                      <a:pt x="298" y="292"/>
                    </a:cubicBezTo>
                    <a:cubicBezTo>
                      <a:pt x="299" y="291"/>
                      <a:pt x="301" y="290"/>
                      <a:pt x="301" y="290"/>
                    </a:cubicBezTo>
                    <a:cubicBezTo>
                      <a:pt x="302" y="291"/>
                      <a:pt x="301" y="291"/>
                      <a:pt x="301" y="291"/>
                    </a:cubicBezTo>
                    <a:cubicBezTo>
                      <a:pt x="301" y="291"/>
                      <a:pt x="303" y="292"/>
                      <a:pt x="303" y="292"/>
                    </a:cubicBezTo>
                    <a:cubicBezTo>
                      <a:pt x="304" y="292"/>
                      <a:pt x="305" y="291"/>
                      <a:pt x="306" y="290"/>
                    </a:cubicBezTo>
                    <a:cubicBezTo>
                      <a:pt x="307" y="290"/>
                      <a:pt x="309" y="291"/>
                      <a:pt x="311" y="291"/>
                    </a:cubicBezTo>
                    <a:cubicBezTo>
                      <a:pt x="312" y="291"/>
                      <a:pt x="313" y="291"/>
                      <a:pt x="313" y="290"/>
                    </a:cubicBezTo>
                    <a:cubicBezTo>
                      <a:pt x="313" y="290"/>
                      <a:pt x="313" y="290"/>
                      <a:pt x="313" y="290"/>
                    </a:cubicBezTo>
                    <a:cubicBezTo>
                      <a:pt x="313" y="290"/>
                      <a:pt x="313" y="290"/>
                      <a:pt x="312" y="290"/>
                    </a:cubicBezTo>
                    <a:cubicBezTo>
                      <a:pt x="313" y="289"/>
                      <a:pt x="314" y="287"/>
                      <a:pt x="315" y="288"/>
                    </a:cubicBezTo>
                    <a:cubicBezTo>
                      <a:pt x="315" y="288"/>
                      <a:pt x="314" y="289"/>
                      <a:pt x="314" y="289"/>
                    </a:cubicBezTo>
                    <a:cubicBezTo>
                      <a:pt x="314" y="289"/>
                      <a:pt x="314" y="289"/>
                      <a:pt x="314" y="290"/>
                    </a:cubicBezTo>
                    <a:cubicBezTo>
                      <a:pt x="315" y="290"/>
                      <a:pt x="317" y="291"/>
                      <a:pt x="319" y="291"/>
                    </a:cubicBezTo>
                    <a:cubicBezTo>
                      <a:pt x="320" y="291"/>
                      <a:pt x="324" y="292"/>
                      <a:pt x="325" y="291"/>
                    </a:cubicBezTo>
                    <a:cubicBezTo>
                      <a:pt x="325" y="291"/>
                      <a:pt x="325" y="290"/>
                      <a:pt x="325" y="290"/>
                    </a:cubicBezTo>
                    <a:cubicBezTo>
                      <a:pt x="325" y="289"/>
                      <a:pt x="326" y="289"/>
                      <a:pt x="326" y="289"/>
                    </a:cubicBezTo>
                    <a:cubicBezTo>
                      <a:pt x="326" y="289"/>
                      <a:pt x="325" y="288"/>
                      <a:pt x="325" y="288"/>
                    </a:cubicBezTo>
                    <a:cubicBezTo>
                      <a:pt x="325" y="285"/>
                      <a:pt x="329" y="284"/>
                      <a:pt x="331" y="283"/>
                    </a:cubicBezTo>
                    <a:cubicBezTo>
                      <a:pt x="332" y="282"/>
                      <a:pt x="335" y="281"/>
                      <a:pt x="336" y="280"/>
                    </a:cubicBezTo>
                    <a:cubicBezTo>
                      <a:pt x="336" y="280"/>
                      <a:pt x="335" y="279"/>
                      <a:pt x="335" y="279"/>
                    </a:cubicBezTo>
                    <a:cubicBezTo>
                      <a:pt x="335" y="278"/>
                      <a:pt x="335" y="276"/>
                      <a:pt x="335" y="275"/>
                    </a:cubicBezTo>
                    <a:cubicBezTo>
                      <a:pt x="335" y="273"/>
                      <a:pt x="337" y="270"/>
                      <a:pt x="338" y="268"/>
                    </a:cubicBezTo>
                    <a:cubicBezTo>
                      <a:pt x="339" y="267"/>
                      <a:pt x="340" y="266"/>
                      <a:pt x="341" y="265"/>
                    </a:cubicBezTo>
                    <a:cubicBezTo>
                      <a:pt x="342" y="264"/>
                      <a:pt x="342" y="263"/>
                      <a:pt x="342" y="262"/>
                    </a:cubicBezTo>
                    <a:cubicBezTo>
                      <a:pt x="344" y="263"/>
                      <a:pt x="343" y="260"/>
                      <a:pt x="344" y="259"/>
                    </a:cubicBezTo>
                    <a:cubicBezTo>
                      <a:pt x="345" y="257"/>
                      <a:pt x="348" y="255"/>
                      <a:pt x="349" y="253"/>
                    </a:cubicBezTo>
                    <a:cubicBezTo>
                      <a:pt x="349" y="252"/>
                      <a:pt x="348" y="250"/>
                      <a:pt x="348" y="249"/>
                    </a:cubicBezTo>
                    <a:cubicBezTo>
                      <a:pt x="348" y="249"/>
                      <a:pt x="348" y="248"/>
                      <a:pt x="348" y="248"/>
                    </a:cubicBezTo>
                    <a:cubicBezTo>
                      <a:pt x="348" y="246"/>
                      <a:pt x="348" y="242"/>
                      <a:pt x="349" y="241"/>
                    </a:cubicBezTo>
                    <a:cubicBezTo>
                      <a:pt x="350" y="239"/>
                      <a:pt x="354" y="236"/>
                      <a:pt x="354" y="234"/>
                    </a:cubicBezTo>
                    <a:cubicBezTo>
                      <a:pt x="354" y="234"/>
                      <a:pt x="354" y="233"/>
                      <a:pt x="354" y="233"/>
                    </a:cubicBezTo>
                    <a:cubicBezTo>
                      <a:pt x="353" y="228"/>
                      <a:pt x="355" y="223"/>
                      <a:pt x="356" y="218"/>
                    </a:cubicBezTo>
                    <a:cubicBezTo>
                      <a:pt x="357" y="217"/>
                      <a:pt x="356" y="214"/>
                      <a:pt x="356" y="213"/>
                    </a:cubicBezTo>
                    <a:cubicBezTo>
                      <a:pt x="356" y="209"/>
                      <a:pt x="356" y="206"/>
                      <a:pt x="356" y="202"/>
                    </a:cubicBezTo>
                    <a:cubicBezTo>
                      <a:pt x="356" y="200"/>
                      <a:pt x="356" y="198"/>
                      <a:pt x="356" y="197"/>
                    </a:cubicBezTo>
                    <a:cubicBezTo>
                      <a:pt x="356" y="196"/>
                      <a:pt x="356" y="194"/>
                      <a:pt x="356" y="196"/>
                    </a:cubicBezTo>
                    <a:cubicBezTo>
                      <a:pt x="356" y="195"/>
                      <a:pt x="354" y="194"/>
                      <a:pt x="354" y="193"/>
                    </a:cubicBezTo>
                    <a:cubicBezTo>
                      <a:pt x="354" y="193"/>
                      <a:pt x="355" y="193"/>
                      <a:pt x="355" y="193"/>
                    </a:cubicBezTo>
                    <a:cubicBezTo>
                      <a:pt x="356" y="192"/>
                      <a:pt x="356" y="189"/>
                      <a:pt x="355" y="192"/>
                    </a:cubicBezTo>
                    <a:cubicBezTo>
                      <a:pt x="355" y="191"/>
                      <a:pt x="355" y="190"/>
                      <a:pt x="355" y="189"/>
                    </a:cubicBezTo>
                    <a:cubicBezTo>
                      <a:pt x="355" y="189"/>
                      <a:pt x="355" y="189"/>
                      <a:pt x="355" y="189"/>
                    </a:cubicBezTo>
                    <a:cubicBezTo>
                      <a:pt x="357" y="188"/>
                      <a:pt x="358" y="186"/>
                      <a:pt x="358" y="184"/>
                    </a:cubicBezTo>
                    <a:cubicBezTo>
                      <a:pt x="358" y="184"/>
                      <a:pt x="356" y="183"/>
                      <a:pt x="357" y="182"/>
                    </a:cubicBezTo>
                    <a:cubicBezTo>
                      <a:pt x="357" y="183"/>
                      <a:pt x="357" y="183"/>
                      <a:pt x="357" y="183"/>
                    </a:cubicBezTo>
                    <a:cubicBezTo>
                      <a:pt x="358" y="182"/>
                      <a:pt x="358" y="181"/>
                      <a:pt x="360" y="182"/>
                    </a:cubicBezTo>
                    <a:cubicBezTo>
                      <a:pt x="361" y="183"/>
                      <a:pt x="361" y="184"/>
                      <a:pt x="361" y="186"/>
                    </a:cubicBezTo>
                    <a:cubicBezTo>
                      <a:pt x="363" y="185"/>
                      <a:pt x="364" y="184"/>
                      <a:pt x="365" y="183"/>
                    </a:cubicBezTo>
                    <a:cubicBezTo>
                      <a:pt x="365" y="182"/>
                      <a:pt x="366" y="182"/>
                      <a:pt x="366" y="181"/>
                    </a:cubicBezTo>
                    <a:cubicBezTo>
                      <a:pt x="367" y="180"/>
                      <a:pt x="368" y="178"/>
                      <a:pt x="369" y="177"/>
                    </a:cubicBezTo>
                    <a:cubicBezTo>
                      <a:pt x="370" y="175"/>
                      <a:pt x="372" y="172"/>
                      <a:pt x="372" y="170"/>
                    </a:cubicBezTo>
                    <a:cubicBezTo>
                      <a:pt x="372" y="170"/>
                      <a:pt x="371" y="170"/>
                      <a:pt x="371" y="170"/>
                    </a:cubicBezTo>
                    <a:cubicBezTo>
                      <a:pt x="372" y="169"/>
                      <a:pt x="372" y="168"/>
                      <a:pt x="372" y="167"/>
                    </a:cubicBezTo>
                    <a:cubicBezTo>
                      <a:pt x="373" y="167"/>
                      <a:pt x="373" y="167"/>
                      <a:pt x="374" y="167"/>
                    </a:cubicBezTo>
                    <a:cubicBezTo>
                      <a:pt x="375" y="166"/>
                      <a:pt x="374" y="166"/>
                      <a:pt x="373" y="165"/>
                    </a:cubicBezTo>
                    <a:cubicBezTo>
                      <a:pt x="374" y="165"/>
                      <a:pt x="377" y="164"/>
                      <a:pt x="375" y="163"/>
                    </a:cubicBezTo>
                    <a:cubicBezTo>
                      <a:pt x="375" y="163"/>
                      <a:pt x="375" y="163"/>
                      <a:pt x="375" y="162"/>
                    </a:cubicBezTo>
                    <a:cubicBezTo>
                      <a:pt x="376" y="163"/>
                      <a:pt x="376" y="163"/>
                      <a:pt x="376" y="164"/>
                    </a:cubicBezTo>
                    <a:cubicBezTo>
                      <a:pt x="377" y="163"/>
                      <a:pt x="378" y="162"/>
                      <a:pt x="379" y="162"/>
                    </a:cubicBezTo>
                    <a:cubicBezTo>
                      <a:pt x="379" y="161"/>
                      <a:pt x="380" y="161"/>
                      <a:pt x="381" y="160"/>
                    </a:cubicBezTo>
                    <a:cubicBezTo>
                      <a:pt x="382" y="160"/>
                      <a:pt x="383" y="159"/>
                      <a:pt x="383" y="158"/>
                    </a:cubicBezTo>
                    <a:cubicBezTo>
                      <a:pt x="384" y="156"/>
                      <a:pt x="386" y="155"/>
                      <a:pt x="387" y="153"/>
                    </a:cubicBezTo>
                    <a:cubicBezTo>
                      <a:pt x="389" y="152"/>
                      <a:pt x="388" y="151"/>
                      <a:pt x="387" y="151"/>
                    </a:cubicBezTo>
                    <a:cubicBezTo>
                      <a:pt x="387" y="151"/>
                      <a:pt x="391" y="150"/>
                      <a:pt x="391" y="149"/>
                    </a:cubicBezTo>
                    <a:cubicBezTo>
                      <a:pt x="393" y="147"/>
                      <a:pt x="395" y="145"/>
                      <a:pt x="396" y="142"/>
                    </a:cubicBezTo>
                    <a:cubicBezTo>
                      <a:pt x="397" y="139"/>
                      <a:pt x="398" y="136"/>
                      <a:pt x="398" y="133"/>
                    </a:cubicBezTo>
                    <a:cubicBezTo>
                      <a:pt x="398" y="131"/>
                      <a:pt x="397" y="130"/>
                      <a:pt x="398"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3" name="Freeform 2954">
                <a:extLst>
                  <a:ext uri="{FF2B5EF4-FFF2-40B4-BE49-F238E27FC236}">
                    <a16:creationId xmlns:a16="http://schemas.microsoft.com/office/drawing/2014/main" id="{FED27995-5659-4308-945F-8B2018E11BFE}"/>
                  </a:ext>
                </a:extLst>
              </p:cNvPr>
              <p:cNvSpPr>
                <a:spLocks/>
              </p:cNvSpPr>
              <p:nvPr/>
            </p:nvSpPr>
            <p:spPr bwMode="auto">
              <a:xfrm>
                <a:off x="1870" y="3015"/>
                <a:ext cx="287" cy="320"/>
              </a:xfrm>
              <a:custGeom>
                <a:avLst/>
                <a:gdLst>
                  <a:gd name="T0" fmla="*/ 73 w 121"/>
                  <a:gd name="T1" fmla="*/ 114 h 135"/>
                  <a:gd name="T2" fmla="*/ 76 w 121"/>
                  <a:gd name="T3" fmla="*/ 107 h 135"/>
                  <a:gd name="T4" fmla="*/ 93 w 121"/>
                  <a:gd name="T5" fmla="*/ 99 h 135"/>
                  <a:gd name="T6" fmla="*/ 103 w 121"/>
                  <a:gd name="T7" fmla="*/ 98 h 135"/>
                  <a:gd name="T8" fmla="*/ 117 w 121"/>
                  <a:gd name="T9" fmla="*/ 100 h 135"/>
                  <a:gd name="T10" fmla="*/ 120 w 121"/>
                  <a:gd name="T11" fmla="*/ 93 h 135"/>
                  <a:gd name="T12" fmla="*/ 120 w 121"/>
                  <a:gd name="T13" fmla="*/ 86 h 135"/>
                  <a:gd name="T14" fmla="*/ 115 w 121"/>
                  <a:gd name="T15" fmla="*/ 80 h 135"/>
                  <a:gd name="T16" fmla="*/ 101 w 121"/>
                  <a:gd name="T17" fmla="*/ 68 h 135"/>
                  <a:gd name="T18" fmla="*/ 93 w 121"/>
                  <a:gd name="T19" fmla="*/ 59 h 135"/>
                  <a:gd name="T20" fmla="*/ 91 w 121"/>
                  <a:gd name="T21" fmla="*/ 53 h 135"/>
                  <a:gd name="T22" fmla="*/ 92 w 121"/>
                  <a:gd name="T23" fmla="*/ 44 h 135"/>
                  <a:gd name="T24" fmla="*/ 88 w 121"/>
                  <a:gd name="T25" fmla="*/ 40 h 135"/>
                  <a:gd name="T26" fmla="*/ 81 w 121"/>
                  <a:gd name="T27" fmla="*/ 39 h 135"/>
                  <a:gd name="T28" fmla="*/ 76 w 121"/>
                  <a:gd name="T29" fmla="*/ 38 h 135"/>
                  <a:gd name="T30" fmla="*/ 67 w 121"/>
                  <a:gd name="T31" fmla="*/ 33 h 135"/>
                  <a:gd name="T32" fmla="*/ 65 w 121"/>
                  <a:gd name="T33" fmla="*/ 31 h 135"/>
                  <a:gd name="T34" fmla="*/ 61 w 121"/>
                  <a:gd name="T35" fmla="*/ 29 h 135"/>
                  <a:gd name="T36" fmla="*/ 55 w 121"/>
                  <a:gd name="T37" fmla="*/ 29 h 135"/>
                  <a:gd name="T38" fmla="*/ 43 w 121"/>
                  <a:gd name="T39" fmla="*/ 19 h 135"/>
                  <a:gd name="T40" fmla="*/ 41 w 121"/>
                  <a:gd name="T41" fmla="*/ 13 h 135"/>
                  <a:gd name="T42" fmla="*/ 41 w 121"/>
                  <a:gd name="T43" fmla="*/ 10 h 135"/>
                  <a:gd name="T44" fmla="*/ 41 w 121"/>
                  <a:gd name="T45" fmla="*/ 0 h 135"/>
                  <a:gd name="T46" fmla="*/ 31 w 121"/>
                  <a:gd name="T47" fmla="*/ 2 h 135"/>
                  <a:gd name="T48" fmla="*/ 20 w 121"/>
                  <a:gd name="T49" fmla="*/ 9 h 135"/>
                  <a:gd name="T50" fmla="*/ 14 w 121"/>
                  <a:gd name="T51" fmla="*/ 12 h 135"/>
                  <a:gd name="T52" fmla="*/ 8 w 121"/>
                  <a:gd name="T53" fmla="*/ 14 h 135"/>
                  <a:gd name="T54" fmla="*/ 4 w 121"/>
                  <a:gd name="T55" fmla="*/ 14 h 135"/>
                  <a:gd name="T56" fmla="*/ 10 w 121"/>
                  <a:gd name="T57" fmla="*/ 27 h 135"/>
                  <a:gd name="T58" fmla="*/ 6 w 121"/>
                  <a:gd name="T59" fmla="*/ 37 h 135"/>
                  <a:gd name="T60" fmla="*/ 6 w 121"/>
                  <a:gd name="T61" fmla="*/ 41 h 135"/>
                  <a:gd name="T62" fmla="*/ 8 w 121"/>
                  <a:gd name="T63" fmla="*/ 46 h 135"/>
                  <a:gd name="T64" fmla="*/ 5 w 121"/>
                  <a:gd name="T65" fmla="*/ 50 h 135"/>
                  <a:gd name="T66" fmla="*/ 2 w 121"/>
                  <a:gd name="T67" fmla="*/ 61 h 135"/>
                  <a:gd name="T68" fmla="*/ 8 w 121"/>
                  <a:gd name="T69" fmla="*/ 68 h 135"/>
                  <a:gd name="T70" fmla="*/ 2 w 121"/>
                  <a:gd name="T71" fmla="*/ 76 h 135"/>
                  <a:gd name="T72" fmla="*/ 1 w 121"/>
                  <a:gd name="T73" fmla="*/ 79 h 135"/>
                  <a:gd name="T74" fmla="*/ 2 w 121"/>
                  <a:gd name="T75" fmla="*/ 81 h 135"/>
                  <a:gd name="T76" fmla="*/ 4 w 121"/>
                  <a:gd name="T77" fmla="*/ 84 h 135"/>
                  <a:gd name="T78" fmla="*/ 6 w 121"/>
                  <a:gd name="T79" fmla="*/ 91 h 135"/>
                  <a:gd name="T80" fmla="*/ 11 w 121"/>
                  <a:gd name="T81" fmla="*/ 102 h 135"/>
                  <a:gd name="T82" fmla="*/ 9 w 121"/>
                  <a:gd name="T83" fmla="*/ 108 h 135"/>
                  <a:gd name="T84" fmla="*/ 12 w 121"/>
                  <a:gd name="T85" fmla="*/ 116 h 135"/>
                  <a:gd name="T86" fmla="*/ 15 w 121"/>
                  <a:gd name="T87" fmla="*/ 120 h 135"/>
                  <a:gd name="T88" fmla="*/ 15 w 121"/>
                  <a:gd name="T89" fmla="*/ 124 h 135"/>
                  <a:gd name="T90" fmla="*/ 17 w 121"/>
                  <a:gd name="T91" fmla="*/ 130 h 135"/>
                  <a:gd name="T92" fmla="*/ 18 w 121"/>
                  <a:gd name="T93" fmla="*/ 135 h 135"/>
                  <a:gd name="T94" fmla="*/ 28 w 121"/>
                  <a:gd name="T95" fmla="*/ 130 h 135"/>
                  <a:gd name="T96" fmla="*/ 32 w 121"/>
                  <a:gd name="T97" fmla="*/ 125 h 135"/>
                  <a:gd name="T98" fmla="*/ 41 w 121"/>
                  <a:gd name="T99" fmla="*/ 128 h 135"/>
                  <a:gd name="T100" fmla="*/ 53 w 121"/>
                  <a:gd name="T101" fmla="*/ 133 h 135"/>
                  <a:gd name="T102" fmla="*/ 60 w 121"/>
                  <a:gd name="T103" fmla="*/ 126 h 135"/>
                  <a:gd name="T104" fmla="*/ 68 w 121"/>
                  <a:gd name="T105" fmla="*/ 126 h 135"/>
                  <a:gd name="T106" fmla="*/ 70 w 121"/>
                  <a:gd name="T10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 h="135">
                    <a:moveTo>
                      <a:pt x="71" y="123"/>
                    </a:moveTo>
                    <a:cubicBezTo>
                      <a:pt x="71" y="122"/>
                      <a:pt x="71" y="122"/>
                      <a:pt x="71" y="121"/>
                    </a:cubicBezTo>
                    <a:cubicBezTo>
                      <a:pt x="72" y="121"/>
                      <a:pt x="72" y="121"/>
                      <a:pt x="72" y="121"/>
                    </a:cubicBezTo>
                    <a:cubicBezTo>
                      <a:pt x="72" y="119"/>
                      <a:pt x="73" y="118"/>
                      <a:pt x="73" y="117"/>
                    </a:cubicBezTo>
                    <a:cubicBezTo>
                      <a:pt x="73" y="116"/>
                      <a:pt x="73" y="116"/>
                      <a:pt x="73" y="115"/>
                    </a:cubicBezTo>
                    <a:cubicBezTo>
                      <a:pt x="73" y="115"/>
                      <a:pt x="73" y="114"/>
                      <a:pt x="73" y="114"/>
                    </a:cubicBezTo>
                    <a:cubicBezTo>
                      <a:pt x="73" y="113"/>
                      <a:pt x="73" y="113"/>
                      <a:pt x="73" y="113"/>
                    </a:cubicBezTo>
                    <a:cubicBezTo>
                      <a:pt x="73" y="113"/>
                      <a:pt x="73" y="113"/>
                      <a:pt x="73" y="112"/>
                    </a:cubicBezTo>
                    <a:cubicBezTo>
                      <a:pt x="73" y="111"/>
                      <a:pt x="74" y="110"/>
                      <a:pt x="74" y="110"/>
                    </a:cubicBezTo>
                    <a:cubicBezTo>
                      <a:pt x="75" y="109"/>
                      <a:pt x="75" y="108"/>
                      <a:pt x="75" y="108"/>
                    </a:cubicBezTo>
                    <a:cubicBezTo>
                      <a:pt x="76" y="108"/>
                      <a:pt x="76" y="108"/>
                      <a:pt x="76" y="108"/>
                    </a:cubicBezTo>
                    <a:cubicBezTo>
                      <a:pt x="76" y="107"/>
                      <a:pt x="76" y="107"/>
                      <a:pt x="76" y="107"/>
                    </a:cubicBezTo>
                    <a:cubicBezTo>
                      <a:pt x="77" y="106"/>
                      <a:pt x="77" y="105"/>
                      <a:pt x="77" y="104"/>
                    </a:cubicBezTo>
                    <a:cubicBezTo>
                      <a:pt x="78" y="103"/>
                      <a:pt x="78" y="103"/>
                      <a:pt x="78" y="103"/>
                    </a:cubicBezTo>
                    <a:cubicBezTo>
                      <a:pt x="78" y="102"/>
                      <a:pt x="79" y="102"/>
                      <a:pt x="80" y="101"/>
                    </a:cubicBezTo>
                    <a:cubicBezTo>
                      <a:pt x="84" y="100"/>
                      <a:pt x="84" y="100"/>
                      <a:pt x="84" y="100"/>
                    </a:cubicBezTo>
                    <a:cubicBezTo>
                      <a:pt x="86" y="100"/>
                      <a:pt x="88" y="100"/>
                      <a:pt x="90" y="100"/>
                    </a:cubicBezTo>
                    <a:cubicBezTo>
                      <a:pt x="91" y="99"/>
                      <a:pt x="92" y="99"/>
                      <a:pt x="93" y="99"/>
                    </a:cubicBezTo>
                    <a:cubicBezTo>
                      <a:pt x="94" y="98"/>
                      <a:pt x="94" y="98"/>
                      <a:pt x="94" y="98"/>
                    </a:cubicBezTo>
                    <a:cubicBezTo>
                      <a:pt x="96" y="98"/>
                      <a:pt x="98" y="98"/>
                      <a:pt x="100" y="98"/>
                    </a:cubicBezTo>
                    <a:cubicBezTo>
                      <a:pt x="100" y="98"/>
                      <a:pt x="100" y="98"/>
                      <a:pt x="100" y="98"/>
                    </a:cubicBezTo>
                    <a:cubicBezTo>
                      <a:pt x="101" y="98"/>
                      <a:pt x="102" y="98"/>
                      <a:pt x="103" y="98"/>
                    </a:cubicBezTo>
                    <a:cubicBezTo>
                      <a:pt x="103" y="98"/>
                      <a:pt x="103" y="98"/>
                      <a:pt x="103" y="98"/>
                    </a:cubicBezTo>
                    <a:cubicBezTo>
                      <a:pt x="103" y="98"/>
                      <a:pt x="103" y="98"/>
                      <a:pt x="103" y="98"/>
                    </a:cubicBezTo>
                    <a:cubicBezTo>
                      <a:pt x="104" y="98"/>
                      <a:pt x="105" y="98"/>
                      <a:pt x="106" y="98"/>
                    </a:cubicBezTo>
                    <a:cubicBezTo>
                      <a:pt x="107" y="98"/>
                      <a:pt x="107" y="98"/>
                      <a:pt x="107" y="98"/>
                    </a:cubicBezTo>
                    <a:cubicBezTo>
                      <a:pt x="107" y="98"/>
                      <a:pt x="107" y="98"/>
                      <a:pt x="107" y="98"/>
                    </a:cubicBezTo>
                    <a:cubicBezTo>
                      <a:pt x="115" y="103"/>
                      <a:pt x="115" y="103"/>
                      <a:pt x="115" y="103"/>
                    </a:cubicBezTo>
                    <a:cubicBezTo>
                      <a:pt x="116" y="103"/>
                      <a:pt x="116" y="103"/>
                      <a:pt x="116" y="103"/>
                    </a:cubicBezTo>
                    <a:cubicBezTo>
                      <a:pt x="116" y="102"/>
                      <a:pt x="116" y="101"/>
                      <a:pt x="117" y="100"/>
                    </a:cubicBezTo>
                    <a:cubicBezTo>
                      <a:pt x="117" y="99"/>
                      <a:pt x="117" y="99"/>
                      <a:pt x="117" y="99"/>
                    </a:cubicBezTo>
                    <a:cubicBezTo>
                      <a:pt x="117" y="99"/>
                      <a:pt x="117" y="99"/>
                      <a:pt x="117" y="98"/>
                    </a:cubicBezTo>
                    <a:cubicBezTo>
                      <a:pt x="118" y="97"/>
                      <a:pt x="118" y="97"/>
                      <a:pt x="118" y="97"/>
                    </a:cubicBezTo>
                    <a:cubicBezTo>
                      <a:pt x="118" y="96"/>
                      <a:pt x="119" y="95"/>
                      <a:pt x="119" y="95"/>
                    </a:cubicBezTo>
                    <a:cubicBezTo>
                      <a:pt x="119" y="94"/>
                      <a:pt x="119" y="94"/>
                      <a:pt x="119" y="94"/>
                    </a:cubicBezTo>
                    <a:cubicBezTo>
                      <a:pt x="119" y="93"/>
                      <a:pt x="120" y="93"/>
                      <a:pt x="120" y="93"/>
                    </a:cubicBezTo>
                    <a:cubicBezTo>
                      <a:pt x="120" y="93"/>
                      <a:pt x="120" y="92"/>
                      <a:pt x="120" y="92"/>
                    </a:cubicBezTo>
                    <a:cubicBezTo>
                      <a:pt x="120" y="91"/>
                      <a:pt x="120" y="91"/>
                      <a:pt x="120" y="91"/>
                    </a:cubicBezTo>
                    <a:cubicBezTo>
                      <a:pt x="120" y="90"/>
                      <a:pt x="120" y="89"/>
                      <a:pt x="121" y="88"/>
                    </a:cubicBezTo>
                    <a:cubicBezTo>
                      <a:pt x="121" y="88"/>
                      <a:pt x="121" y="87"/>
                      <a:pt x="121" y="87"/>
                    </a:cubicBezTo>
                    <a:cubicBezTo>
                      <a:pt x="121" y="87"/>
                      <a:pt x="121" y="87"/>
                      <a:pt x="121" y="87"/>
                    </a:cubicBezTo>
                    <a:cubicBezTo>
                      <a:pt x="120" y="86"/>
                      <a:pt x="120" y="86"/>
                      <a:pt x="120" y="86"/>
                    </a:cubicBezTo>
                    <a:cubicBezTo>
                      <a:pt x="120" y="86"/>
                      <a:pt x="120" y="86"/>
                      <a:pt x="120" y="86"/>
                    </a:cubicBezTo>
                    <a:cubicBezTo>
                      <a:pt x="120" y="85"/>
                      <a:pt x="120" y="84"/>
                      <a:pt x="119" y="84"/>
                    </a:cubicBezTo>
                    <a:cubicBezTo>
                      <a:pt x="119" y="84"/>
                      <a:pt x="119" y="84"/>
                      <a:pt x="119" y="84"/>
                    </a:cubicBezTo>
                    <a:cubicBezTo>
                      <a:pt x="119" y="83"/>
                      <a:pt x="119" y="83"/>
                      <a:pt x="119" y="83"/>
                    </a:cubicBezTo>
                    <a:cubicBezTo>
                      <a:pt x="119" y="82"/>
                      <a:pt x="119" y="81"/>
                      <a:pt x="118" y="81"/>
                    </a:cubicBezTo>
                    <a:cubicBezTo>
                      <a:pt x="117" y="81"/>
                      <a:pt x="116" y="81"/>
                      <a:pt x="115" y="80"/>
                    </a:cubicBezTo>
                    <a:cubicBezTo>
                      <a:pt x="113" y="79"/>
                      <a:pt x="112" y="77"/>
                      <a:pt x="112" y="74"/>
                    </a:cubicBezTo>
                    <a:cubicBezTo>
                      <a:pt x="111" y="73"/>
                      <a:pt x="111" y="71"/>
                      <a:pt x="112" y="70"/>
                    </a:cubicBezTo>
                    <a:cubicBezTo>
                      <a:pt x="112" y="69"/>
                      <a:pt x="112" y="69"/>
                      <a:pt x="112" y="69"/>
                    </a:cubicBezTo>
                    <a:cubicBezTo>
                      <a:pt x="113" y="69"/>
                      <a:pt x="113" y="69"/>
                      <a:pt x="113" y="68"/>
                    </a:cubicBezTo>
                    <a:cubicBezTo>
                      <a:pt x="107" y="68"/>
                      <a:pt x="107" y="68"/>
                      <a:pt x="107" y="68"/>
                    </a:cubicBezTo>
                    <a:cubicBezTo>
                      <a:pt x="105" y="68"/>
                      <a:pt x="103" y="68"/>
                      <a:pt x="101" y="68"/>
                    </a:cubicBezTo>
                    <a:cubicBezTo>
                      <a:pt x="98" y="68"/>
                      <a:pt x="98" y="68"/>
                      <a:pt x="98" y="68"/>
                    </a:cubicBezTo>
                    <a:cubicBezTo>
                      <a:pt x="97" y="68"/>
                      <a:pt x="97" y="68"/>
                      <a:pt x="97" y="68"/>
                    </a:cubicBezTo>
                    <a:cubicBezTo>
                      <a:pt x="94" y="68"/>
                      <a:pt x="94" y="67"/>
                      <a:pt x="94" y="65"/>
                    </a:cubicBezTo>
                    <a:cubicBezTo>
                      <a:pt x="94" y="65"/>
                      <a:pt x="94" y="65"/>
                      <a:pt x="94" y="65"/>
                    </a:cubicBezTo>
                    <a:cubicBezTo>
                      <a:pt x="94" y="64"/>
                      <a:pt x="94" y="64"/>
                      <a:pt x="94" y="63"/>
                    </a:cubicBezTo>
                    <a:cubicBezTo>
                      <a:pt x="94" y="61"/>
                      <a:pt x="94" y="60"/>
                      <a:pt x="93" y="59"/>
                    </a:cubicBezTo>
                    <a:cubicBezTo>
                      <a:pt x="92" y="58"/>
                      <a:pt x="91" y="57"/>
                      <a:pt x="90" y="56"/>
                    </a:cubicBezTo>
                    <a:cubicBezTo>
                      <a:pt x="89" y="54"/>
                      <a:pt x="89" y="54"/>
                      <a:pt x="89" y="54"/>
                    </a:cubicBezTo>
                    <a:cubicBezTo>
                      <a:pt x="91" y="54"/>
                      <a:pt x="91" y="54"/>
                      <a:pt x="91" y="54"/>
                    </a:cubicBezTo>
                    <a:cubicBezTo>
                      <a:pt x="91" y="53"/>
                      <a:pt x="92" y="53"/>
                      <a:pt x="92" y="53"/>
                    </a:cubicBezTo>
                    <a:cubicBezTo>
                      <a:pt x="93" y="53"/>
                      <a:pt x="93" y="53"/>
                      <a:pt x="93" y="53"/>
                    </a:cubicBezTo>
                    <a:cubicBezTo>
                      <a:pt x="91" y="53"/>
                      <a:pt x="91" y="53"/>
                      <a:pt x="91" y="53"/>
                    </a:cubicBezTo>
                    <a:cubicBezTo>
                      <a:pt x="93" y="53"/>
                      <a:pt x="93" y="53"/>
                      <a:pt x="93" y="53"/>
                    </a:cubicBezTo>
                    <a:cubicBezTo>
                      <a:pt x="93" y="53"/>
                      <a:pt x="93" y="53"/>
                      <a:pt x="93" y="53"/>
                    </a:cubicBezTo>
                    <a:cubicBezTo>
                      <a:pt x="93" y="51"/>
                      <a:pt x="93" y="50"/>
                      <a:pt x="92" y="49"/>
                    </a:cubicBezTo>
                    <a:cubicBezTo>
                      <a:pt x="92" y="49"/>
                      <a:pt x="92" y="49"/>
                      <a:pt x="92" y="49"/>
                    </a:cubicBezTo>
                    <a:cubicBezTo>
                      <a:pt x="92" y="48"/>
                      <a:pt x="92" y="46"/>
                      <a:pt x="92" y="45"/>
                    </a:cubicBezTo>
                    <a:cubicBezTo>
                      <a:pt x="92" y="44"/>
                      <a:pt x="92" y="44"/>
                      <a:pt x="92" y="44"/>
                    </a:cubicBezTo>
                    <a:cubicBezTo>
                      <a:pt x="92" y="44"/>
                      <a:pt x="91" y="44"/>
                      <a:pt x="91" y="44"/>
                    </a:cubicBezTo>
                    <a:cubicBezTo>
                      <a:pt x="91" y="44"/>
                      <a:pt x="91" y="44"/>
                      <a:pt x="92" y="43"/>
                    </a:cubicBezTo>
                    <a:cubicBezTo>
                      <a:pt x="91" y="43"/>
                      <a:pt x="91" y="43"/>
                      <a:pt x="91" y="43"/>
                    </a:cubicBezTo>
                    <a:cubicBezTo>
                      <a:pt x="91" y="43"/>
                      <a:pt x="91" y="43"/>
                      <a:pt x="91" y="43"/>
                    </a:cubicBezTo>
                    <a:cubicBezTo>
                      <a:pt x="90" y="42"/>
                      <a:pt x="90" y="42"/>
                      <a:pt x="89" y="42"/>
                    </a:cubicBezTo>
                    <a:cubicBezTo>
                      <a:pt x="89" y="41"/>
                      <a:pt x="88" y="41"/>
                      <a:pt x="88" y="40"/>
                    </a:cubicBezTo>
                    <a:cubicBezTo>
                      <a:pt x="87" y="40"/>
                      <a:pt x="87" y="40"/>
                      <a:pt x="86" y="40"/>
                    </a:cubicBezTo>
                    <a:cubicBezTo>
                      <a:pt x="86" y="39"/>
                      <a:pt x="86" y="39"/>
                      <a:pt x="86" y="39"/>
                    </a:cubicBezTo>
                    <a:cubicBezTo>
                      <a:pt x="86" y="39"/>
                      <a:pt x="86" y="39"/>
                      <a:pt x="86" y="39"/>
                    </a:cubicBezTo>
                    <a:cubicBezTo>
                      <a:pt x="85" y="39"/>
                      <a:pt x="84" y="39"/>
                      <a:pt x="82" y="39"/>
                    </a:cubicBezTo>
                    <a:cubicBezTo>
                      <a:pt x="82" y="39"/>
                      <a:pt x="82" y="39"/>
                      <a:pt x="82" y="39"/>
                    </a:cubicBezTo>
                    <a:cubicBezTo>
                      <a:pt x="82" y="39"/>
                      <a:pt x="82" y="39"/>
                      <a:pt x="81" y="39"/>
                    </a:cubicBezTo>
                    <a:cubicBezTo>
                      <a:pt x="81" y="39"/>
                      <a:pt x="81" y="39"/>
                      <a:pt x="81" y="39"/>
                    </a:cubicBezTo>
                    <a:cubicBezTo>
                      <a:pt x="81" y="40"/>
                      <a:pt x="81" y="40"/>
                      <a:pt x="81" y="40"/>
                    </a:cubicBezTo>
                    <a:cubicBezTo>
                      <a:pt x="80" y="40"/>
                      <a:pt x="78" y="40"/>
                      <a:pt x="78" y="39"/>
                    </a:cubicBezTo>
                    <a:cubicBezTo>
                      <a:pt x="77" y="39"/>
                      <a:pt x="77" y="39"/>
                      <a:pt x="77" y="39"/>
                    </a:cubicBezTo>
                    <a:cubicBezTo>
                      <a:pt x="77" y="38"/>
                      <a:pt x="77" y="38"/>
                      <a:pt x="77" y="38"/>
                    </a:cubicBezTo>
                    <a:cubicBezTo>
                      <a:pt x="76" y="38"/>
                      <a:pt x="76" y="38"/>
                      <a:pt x="76" y="38"/>
                    </a:cubicBezTo>
                    <a:cubicBezTo>
                      <a:pt x="75" y="37"/>
                      <a:pt x="75" y="37"/>
                      <a:pt x="75" y="36"/>
                    </a:cubicBezTo>
                    <a:cubicBezTo>
                      <a:pt x="74" y="36"/>
                      <a:pt x="74" y="35"/>
                      <a:pt x="74" y="35"/>
                    </a:cubicBezTo>
                    <a:cubicBezTo>
                      <a:pt x="73" y="35"/>
                      <a:pt x="72" y="35"/>
                      <a:pt x="72" y="35"/>
                    </a:cubicBezTo>
                    <a:cubicBezTo>
                      <a:pt x="71" y="35"/>
                      <a:pt x="70" y="35"/>
                      <a:pt x="69" y="34"/>
                    </a:cubicBezTo>
                    <a:cubicBezTo>
                      <a:pt x="68" y="34"/>
                      <a:pt x="68" y="34"/>
                      <a:pt x="68" y="34"/>
                    </a:cubicBezTo>
                    <a:cubicBezTo>
                      <a:pt x="67" y="34"/>
                      <a:pt x="67" y="33"/>
                      <a:pt x="67" y="33"/>
                    </a:cubicBezTo>
                    <a:cubicBezTo>
                      <a:pt x="67" y="33"/>
                      <a:pt x="67" y="33"/>
                      <a:pt x="67" y="33"/>
                    </a:cubicBezTo>
                    <a:cubicBezTo>
                      <a:pt x="66" y="33"/>
                      <a:pt x="66" y="32"/>
                      <a:pt x="66" y="32"/>
                    </a:cubicBezTo>
                    <a:cubicBezTo>
                      <a:pt x="66" y="32"/>
                      <a:pt x="66" y="32"/>
                      <a:pt x="66" y="32"/>
                    </a:cubicBezTo>
                    <a:cubicBezTo>
                      <a:pt x="66" y="32"/>
                      <a:pt x="66" y="32"/>
                      <a:pt x="65" y="32"/>
                    </a:cubicBezTo>
                    <a:cubicBezTo>
                      <a:pt x="65" y="32"/>
                      <a:pt x="65" y="32"/>
                      <a:pt x="65" y="32"/>
                    </a:cubicBezTo>
                    <a:cubicBezTo>
                      <a:pt x="65" y="32"/>
                      <a:pt x="65" y="31"/>
                      <a:pt x="65" y="31"/>
                    </a:cubicBezTo>
                    <a:cubicBezTo>
                      <a:pt x="65" y="31"/>
                      <a:pt x="65" y="30"/>
                      <a:pt x="64" y="30"/>
                    </a:cubicBezTo>
                    <a:cubicBezTo>
                      <a:pt x="64" y="30"/>
                      <a:pt x="64" y="30"/>
                      <a:pt x="64" y="30"/>
                    </a:cubicBezTo>
                    <a:cubicBezTo>
                      <a:pt x="64" y="30"/>
                      <a:pt x="64" y="30"/>
                      <a:pt x="64" y="30"/>
                    </a:cubicBezTo>
                    <a:cubicBezTo>
                      <a:pt x="63" y="30"/>
                      <a:pt x="63" y="30"/>
                      <a:pt x="63" y="30"/>
                    </a:cubicBezTo>
                    <a:cubicBezTo>
                      <a:pt x="62" y="30"/>
                      <a:pt x="62" y="30"/>
                      <a:pt x="61" y="29"/>
                    </a:cubicBezTo>
                    <a:cubicBezTo>
                      <a:pt x="61" y="29"/>
                      <a:pt x="61" y="29"/>
                      <a:pt x="61" y="29"/>
                    </a:cubicBezTo>
                    <a:cubicBezTo>
                      <a:pt x="60" y="29"/>
                      <a:pt x="59" y="29"/>
                      <a:pt x="58" y="29"/>
                    </a:cubicBezTo>
                    <a:cubicBezTo>
                      <a:pt x="58" y="29"/>
                      <a:pt x="58" y="29"/>
                      <a:pt x="58" y="29"/>
                    </a:cubicBezTo>
                    <a:cubicBezTo>
                      <a:pt x="57" y="29"/>
                      <a:pt x="57" y="29"/>
                      <a:pt x="56" y="29"/>
                    </a:cubicBezTo>
                    <a:cubicBezTo>
                      <a:pt x="56" y="29"/>
                      <a:pt x="56" y="29"/>
                      <a:pt x="55" y="29"/>
                    </a:cubicBezTo>
                    <a:cubicBezTo>
                      <a:pt x="55" y="29"/>
                      <a:pt x="55" y="29"/>
                      <a:pt x="55" y="29"/>
                    </a:cubicBezTo>
                    <a:cubicBezTo>
                      <a:pt x="55" y="29"/>
                      <a:pt x="55" y="29"/>
                      <a:pt x="55" y="29"/>
                    </a:cubicBezTo>
                    <a:cubicBezTo>
                      <a:pt x="55" y="29"/>
                      <a:pt x="54" y="29"/>
                      <a:pt x="54" y="29"/>
                    </a:cubicBezTo>
                    <a:cubicBezTo>
                      <a:pt x="54" y="29"/>
                      <a:pt x="53" y="29"/>
                      <a:pt x="53" y="29"/>
                    </a:cubicBezTo>
                    <a:cubicBezTo>
                      <a:pt x="52" y="28"/>
                      <a:pt x="51" y="27"/>
                      <a:pt x="50" y="27"/>
                    </a:cubicBezTo>
                    <a:cubicBezTo>
                      <a:pt x="50" y="26"/>
                      <a:pt x="49" y="26"/>
                      <a:pt x="49" y="26"/>
                    </a:cubicBezTo>
                    <a:cubicBezTo>
                      <a:pt x="45" y="22"/>
                      <a:pt x="45" y="22"/>
                      <a:pt x="45" y="22"/>
                    </a:cubicBezTo>
                    <a:cubicBezTo>
                      <a:pt x="44" y="22"/>
                      <a:pt x="44" y="20"/>
                      <a:pt x="43" y="19"/>
                    </a:cubicBezTo>
                    <a:cubicBezTo>
                      <a:pt x="43" y="19"/>
                      <a:pt x="43" y="19"/>
                      <a:pt x="43" y="19"/>
                    </a:cubicBezTo>
                    <a:cubicBezTo>
                      <a:pt x="42" y="18"/>
                      <a:pt x="42" y="17"/>
                      <a:pt x="41" y="16"/>
                    </a:cubicBezTo>
                    <a:cubicBezTo>
                      <a:pt x="41" y="16"/>
                      <a:pt x="41" y="16"/>
                      <a:pt x="41" y="15"/>
                    </a:cubicBezTo>
                    <a:cubicBezTo>
                      <a:pt x="41" y="15"/>
                      <a:pt x="41" y="15"/>
                      <a:pt x="41" y="15"/>
                    </a:cubicBezTo>
                    <a:cubicBezTo>
                      <a:pt x="41" y="14"/>
                      <a:pt x="41" y="14"/>
                      <a:pt x="41" y="14"/>
                    </a:cubicBezTo>
                    <a:cubicBezTo>
                      <a:pt x="41" y="13"/>
                      <a:pt x="41" y="13"/>
                      <a:pt x="41" y="13"/>
                    </a:cubicBezTo>
                    <a:cubicBezTo>
                      <a:pt x="41" y="12"/>
                      <a:pt x="41" y="12"/>
                      <a:pt x="41" y="12"/>
                    </a:cubicBezTo>
                    <a:cubicBezTo>
                      <a:pt x="41" y="11"/>
                      <a:pt x="41" y="11"/>
                      <a:pt x="41" y="11"/>
                    </a:cubicBezTo>
                    <a:cubicBezTo>
                      <a:pt x="41" y="11"/>
                      <a:pt x="41" y="11"/>
                      <a:pt x="41" y="11"/>
                    </a:cubicBezTo>
                    <a:cubicBezTo>
                      <a:pt x="41" y="11"/>
                      <a:pt x="41" y="10"/>
                      <a:pt x="41" y="10"/>
                    </a:cubicBezTo>
                    <a:cubicBezTo>
                      <a:pt x="41" y="10"/>
                      <a:pt x="41" y="10"/>
                      <a:pt x="41" y="10"/>
                    </a:cubicBezTo>
                    <a:cubicBezTo>
                      <a:pt x="41" y="10"/>
                      <a:pt x="41" y="10"/>
                      <a:pt x="41" y="10"/>
                    </a:cubicBezTo>
                    <a:cubicBezTo>
                      <a:pt x="41" y="9"/>
                      <a:pt x="41" y="9"/>
                      <a:pt x="41" y="9"/>
                    </a:cubicBezTo>
                    <a:cubicBezTo>
                      <a:pt x="40" y="8"/>
                      <a:pt x="41" y="7"/>
                      <a:pt x="41" y="6"/>
                    </a:cubicBezTo>
                    <a:cubicBezTo>
                      <a:pt x="41" y="6"/>
                      <a:pt x="41" y="5"/>
                      <a:pt x="41" y="5"/>
                    </a:cubicBezTo>
                    <a:cubicBezTo>
                      <a:pt x="41" y="4"/>
                      <a:pt x="41" y="3"/>
                      <a:pt x="41" y="3"/>
                    </a:cubicBezTo>
                    <a:cubicBezTo>
                      <a:pt x="41" y="2"/>
                      <a:pt x="41" y="2"/>
                      <a:pt x="41" y="2"/>
                    </a:cubicBezTo>
                    <a:cubicBezTo>
                      <a:pt x="41" y="1"/>
                      <a:pt x="41" y="1"/>
                      <a:pt x="41" y="0"/>
                    </a:cubicBezTo>
                    <a:cubicBezTo>
                      <a:pt x="41" y="1"/>
                      <a:pt x="40" y="1"/>
                      <a:pt x="40" y="1"/>
                    </a:cubicBezTo>
                    <a:cubicBezTo>
                      <a:pt x="39" y="1"/>
                      <a:pt x="38" y="1"/>
                      <a:pt x="38" y="1"/>
                    </a:cubicBezTo>
                    <a:cubicBezTo>
                      <a:pt x="38" y="1"/>
                      <a:pt x="37" y="1"/>
                      <a:pt x="37" y="1"/>
                    </a:cubicBezTo>
                    <a:cubicBezTo>
                      <a:pt x="37" y="1"/>
                      <a:pt x="37" y="1"/>
                      <a:pt x="37" y="1"/>
                    </a:cubicBezTo>
                    <a:cubicBezTo>
                      <a:pt x="37" y="1"/>
                      <a:pt x="37" y="1"/>
                      <a:pt x="36" y="1"/>
                    </a:cubicBezTo>
                    <a:cubicBezTo>
                      <a:pt x="31" y="2"/>
                      <a:pt x="31" y="2"/>
                      <a:pt x="31" y="2"/>
                    </a:cubicBezTo>
                    <a:cubicBezTo>
                      <a:pt x="30" y="2"/>
                      <a:pt x="29" y="2"/>
                      <a:pt x="29" y="3"/>
                    </a:cubicBezTo>
                    <a:cubicBezTo>
                      <a:pt x="28" y="3"/>
                      <a:pt x="28" y="4"/>
                      <a:pt x="27" y="4"/>
                    </a:cubicBezTo>
                    <a:cubicBezTo>
                      <a:pt x="26" y="5"/>
                      <a:pt x="25" y="6"/>
                      <a:pt x="24" y="6"/>
                    </a:cubicBezTo>
                    <a:cubicBezTo>
                      <a:pt x="24" y="7"/>
                      <a:pt x="23" y="7"/>
                      <a:pt x="22" y="7"/>
                    </a:cubicBezTo>
                    <a:cubicBezTo>
                      <a:pt x="22" y="8"/>
                      <a:pt x="21" y="8"/>
                      <a:pt x="21" y="8"/>
                    </a:cubicBezTo>
                    <a:cubicBezTo>
                      <a:pt x="20" y="8"/>
                      <a:pt x="20" y="9"/>
                      <a:pt x="20" y="9"/>
                    </a:cubicBezTo>
                    <a:cubicBezTo>
                      <a:pt x="20" y="9"/>
                      <a:pt x="20" y="9"/>
                      <a:pt x="20" y="9"/>
                    </a:cubicBezTo>
                    <a:cubicBezTo>
                      <a:pt x="20" y="9"/>
                      <a:pt x="19" y="10"/>
                      <a:pt x="19" y="10"/>
                    </a:cubicBezTo>
                    <a:cubicBezTo>
                      <a:pt x="18" y="11"/>
                      <a:pt x="17" y="11"/>
                      <a:pt x="16" y="11"/>
                    </a:cubicBezTo>
                    <a:cubicBezTo>
                      <a:pt x="16" y="11"/>
                      <a:pt x="16" y="11"/>
                      <a:pt x="16" y="11"/>
                    </a:cubicBezTo>
                    <a:cubicBezTo>
                      <a:pt x="16" y="11"/>
                      <a:pt x="15" y="11"/>
                      <a:pt x="15" y="11"/>
                    </a:cubicBezTo>
                    <a:cubicBezTo>
                      <a:pt x="14" y="12"/>
                      <a:pt x="14" y="12"/>
                      <a:pt x="14" y="12"/>
                    </a:cubicBezTo>
                    <a:cubicBezTo>
                      <a:pt x="14" y="12"/>
                      <a:pt x="13" y="13"/>
                      <a:pt x="13" y="13"/>
                    </a:cubicBezTo>
                    <a:cubicBezTo>
                      <a:pt x="12" y="14"/>
                      <a:pt x="11" y="14"/>
                      <a:pt x="11" y="14"/>
                    </a:cubicBezTo>
                    <a:cubicBezTo>
                      <a:pt x="11" y="14"/>
                      <a:pt x="11" y="14"/>
                      <a:pt x="11" y="14"/>
                    </a:cubicBezTo>
                    <a:cubicBezTo>
                      <a:pt x="11" y="14"/>
                      <a:pt x="10" y="14"/>
                      <a:pt x="10" y="14"/>
                    </a:cubicBezTo>
                    <a:cubicBezTo>
                      <a:pt x="10" y="14"/>
                      <a:pt x="9" y="14"/>
                      <a:pt x="8" y="14"/>
                    </a:cubicBezTo>
                    <a:cubicBezTo>
                      <a:pt x="8" y="14"/>
                      <a:pt x="8" y="14"/>
                      <a:pt x="8" y="14"/>
                    </a:cubicBezTo>
                    <a:cubicBezTo>
                      <a:pt x="7" y="14"/>
                      <a:pt x="7" y="14"/>
                      <a:pt x="7" y="14"/>
                    </a:cubicBezTo>
                    <a:cubicBezTo>
                      <a:pt x="7" y="14"/>
                      <a:pt x="6" y="14"/>
                      <a:pt x="6" y="14"/>
                    </a:cubicBezTo>
                    <a:cubicBezTo>
                      <a:pt x="6" y="14"/>
                      <a:pt x="6" y="14"/>
                      <a:pt x="5" y="14"/>
                    </a:cubicBezTo>
                    <a:cubicBezTo>
                      <a:pt x="5" y="14"/>
                      <a:pt x="5" y="14"/>
                      <a:pt x="5" y="14"/>
                    </a:cubicBezTo>
                    <a:cubicBezTo>
                      <a:pt x="5" y="14"/>
                      <a:pt x="5" y="14"/>
                      <a:pt x="5" y="14"/>
                    </a:cubicBezTo>
                    <a:cubicBezTo>
                      <a:pt x="4" y="14"/>
                      <a:pt x="4" y="14"/>
                      <a:pt x="4" y="14"/>
                    </a:cubicBezTo>
                    <a:cubicBezTo>
                      <a:pt x="3" y="14"/>
                      <a:pt x="3" y="14"/>
                      <a:pt x="3" y="14"/>
                    </a:cubicBezTo>
                    <a:cubicBezTo>
                      <a:pt x="3" y="14"/>
                      <a:pt x="2" y="14"/>
                      <a:pt x="2" y="14"/>
                    </a:cubicBezTo>
                    <a:cubicBezTo>
                      <a:pt x="2" y="14"/>
                      <a:pt x="2" y="14"/>
                      <a:pt x="2" y="14"/>
                    </a:cubicBezTo>
                    <a:cubicBezTo>
                      <a:pt x="3" y="16"/>
                      <a:pt x="4" y="17"/>
                      <a:pt x="5" y="19"/>
                    </a:cubicBezTo>
                    <a:cubicBezTo>
                      <a:pt x="7" y="21"/>
                      <a:pt x="8" y="23"/>
                      <a:pt x="9" y="25"/>
                    </a:cubicBezTo>
                    <a:cubicBezTo>
                      <a:pt x="10" y="27"/>
                      <a:pt x="10" y="27"/>
                      <a:pt x="10" y="27"/>
                    </a:cubicBezTo>
                    <a:cubicBezTo>
                      <a:pt x="10" y="27"/>
                      <a:pt x="10" y="28"/>
                      <a:pt x="10" y="28"/>
                    </a:cubicBezTo>
                    <a:cubicBezTo>
                      <a:pt x="9" y="29"/>
                      <a:pt x="9" y="30"/>
                      <a:pt x="8" y="32"/>
                    </a:cubicBezTo>
                    <a:cubicBezTo>
                      <a:pt x="7" y="32"/>
                      <a:pt x="7" y="32"/>
                      <a:pt x="7" y="32"/>
                    </a:cubicBezTo>
                    <a:cubicBezTo>
                      <a:pt x="7" y="33"/>
                      <a:pt x="7" y="33"/>
                      <a:pt x="7" y="34"/>
                    </a:cubicBezTo>
                    <a:cubicBezTo>
                      <a:pt x="7" y="34"/>
                      <a:pt x="6" y="35"/>
                      <a:pt x="6" y="36"/>
                    </a:cubicBezTo>
                    <a:cubicBezTo>
                      <a:pt x="6" y="36"/>
                      <a:pt x="6" y="36"/>
                      <a:pt x="6" y="37"/>
                    </a:cubicBezTo>
                    <a:cubicBezTo>
                      <a:pt x="6" y="37"/>
                      <a:pt x="6" y="38"/>
                      <a:pt x="6" y="38"/>
                    </a:cubicBezTo>
                    <a:cubicBezTo>
                      <a:pt x="6" y="38"/>
                      <a:pt x="6" y="38"/>
                      <a:pt x="6" y="38"/>
                    </a:cubicBezTo>
                    <a:cubicBezTo>
                      <a:pt x="6" y="39"/>
                      <a:pt x="6" y="39"/>
                      <a:pt x="6" y="39"/>
                    </a:cubicBezTo>
                    <a:cubicBezTo>
                      <a:pt x="6" y="39"/>
                      <a:pt x="6" y="39"/>
                      <a:pt x="6" y="40"/>
                    </a:cubicBezTo>
                    <a:cubicBezTo>
                      <a:pt x="6" y="40"/>
                      <a:pt x="6" y="40"/>
                      <a:pt x="6" y="40"/>
                    </a:cubicBezTo>
                    <a:cubicBezTo>
                      <a:pt x="6" y="40"/>
                      <a:pt x="6" y="41"/>
                      <a:pt x="6" y="41"/>
                    </a:cubicBezTo>
                    <a:cubicBezTo>
                      <a:pt x="6" y="42"/>
                      <a:pt x="6" y="42"/>
                      <a:pt x="6" y="42"/>
                    </a:cubicBezTo>
                    <a:cubicBezTo>
                      <a:pt x="7" y="43"/>
                      <a:pt x="7" y="43"/>
                      <a:pt x="7" y="43"/>
                    </a:cubicBezTo>
                    <a:cubicBezTo>
                      <a:pt x="7" y="43"/>
                      <a:pt x="7" y="44"/>
                      <a:pt x="7" y="44"/>
                    </a:cubicBezTo>
                    <a:cubicBezTo>
                      <a:pt x="8" y="44"/>
                      <a:pt x="8" y="45"/>
                      <a:pt x="8" y="45"/>
                    </a:cubicBezTo>
                    <a:cubicBezTo>
                      <a:pt x="8" y="45"/>
                      <a:pt x="8" y="45"/>
                      <a:pt x="8" y="45"/>
                    </a:cubicBezTo>
                    <a:cubicBezTo>
                      <a:pt x="8" y="46"/>
                      <a:pt x="8" y="46"/>
                      <a:pt x="8" y="46"/>
                    </a:cubicBezTo>
                    <a:cubicBezTo>
                      <a:pt x="8" y="46"/>
                      <a:pt x="7" y="47"/>
                      <a:pt x="7" y="47"/>
                    </a:cubicBezTo>
                    <a:cubicBezTo>
                      <a:pt x="7" y="47"/>
                      <a:pt x="7" y="47"/>
                      <a:pt x="7" y="47"/>
                    </a:cubicBezTo>
                    <a:cubicBezTo>
                      <a:pt x="7" y="47"/>
                      <a:pt x="7" y="47"/>
                      <a:pt x="7" y="47"/>
                    </a:cubicBezTo>
                    <a:cubicBezTo>
                      <a:pt x="7" y="47"/>
                      <a:pt x="6" y="48"/>
                      <a:pt x="6" y="48"/>
                    </a:cubicBezTo>
                    <a:cubicBezTo>
                      <a:pt x="6" y="49"/>
                      <a:pt x="5" y="49"/>
                      <a:pt x="5" y="49"/>
                    </a:cubicBezTo>
                    <a:cubicBezTo>
                      <a:pt x="5" y="50"/>
                      <a:pt x="5" y="50"/>
                      <a:pt x="5" y="50"/>
                    </a:cubicBezTo>
                    <a:cubicBezTo>
                      <a:pt x="4" y="50"/>
                      <a:pt x="4" y="50"/>
                      <a:pt x="4" y="50"/>
                    </a:cubicBezTo>
                    <a:cubicBezTo>
                      <a:pt x="3" y="52"/>
                      <a:pt x="3" y="52"/>
                      <a:pt x="3" y="53"/>
                    </a:cubicBezTo>
                    <a:cubicBezTo>
                      <a:pt x="3" y="54"/>
                      <a:pt x="3" y="54"/>
                      <a:pt x="4" y="55"/>
                    </a:cubicBezTo>
                    <a:cubicBezTo>
                      <a:pt x="5" y="56"/>
                      <a:pt x="5" y="56"/>
                      <a:pt x="5" y="57"/>
                    </a:cubicBezTo>
                    <a:cubicBezTo>
                      <a:pt x="2" y="60"/>
                      <a:pt x="2" y="60"/>
                      <a:pt x="2" y="60"/>
                    </a:cubicBezTo>
                    <a:cubicBezTo>
                      <a:pt x="2" y="60"/>
                      <a:pt x="2" y="61"/>
                      <a:pt x="2" y="61"/>
                    </a:cubicBezTo>
                    <a:cubicBezTo>
                      <a:pt x="3" y="61"/>
                      <a:pt x="3" y="62"/>
                      <a:pt x="3" y="63"/>
                    </a:cubicBezTo>
                    <a:cubicBezTo>
                      <a:pt x="3" y="65"/>
                      <a:pt x="4" y="65"/>
                      <a:pt x="6" y="65"/>
                    </a:cubicBezTo>
                    <a:cubicBezTo>
                      <a:pt x="6" y="65"/>
                      <a:pt x="6" y="65"/>
                      <a:pt x="6" y="65"/>
                    </a:cubicBezTo>
                    <a:cubicBezTo>
                      <a:pt x="7" y="65"/>
                      <a:pt x="7" y="66"/>
                      <a:pt x="8" y="66"/>
                    </a:cubicBezTo>
                    <a:cubicBezTo>
                      <a:pt x="8" y="67"/>
                      <a:pt x="8" y="68"/>
                      <a:pt x="8" y="68"/>
                    </a:cubicBezTo>
                    <a:cubicBezTo>
                      <a:pt x="8" y="68"/>
                      <a:pt x="8" y="68"/>
                      <a:pt x="8" y="68"/>
                    </a:cubicBezTo>
                    <a:cubicBezTo>
                      <a:pt x="6" y="71"/>
                      <a:pt x="6" y="71"/>
                      <a:pt x="6" y="71"/>
                    </a:cubicBezTo>
                    <a:cubicBezTo>
                      <a:pt x="6" y="71"/>
                      <a:pt x="6" y="71"/>
                      <a:pt x="5" y="71"/>
                    </a:cubicBezTo>
                    <a:cubicBezTo>
                      <a:pt x="5" y="72"/>
                      <a:pt x="5" y="72"/>
                      <a:pt x="5" y="72"/>
                    </a:cubicBezTo>
                    <a:cubicBezTo>
                      <a:pt x="5" y="73"/>
                      <a:pt x="5" y="73"/>
                      <a:pt x="5" y="73"/>
                    </a:cubicBezTo>
                    <a:cubicBezTo>
                      <a:pt x="4" y="73"/>
                      <a:pt x="3" y="74"/>
                      <a:pt x="3" y="75"/>
                    </a:cubicBezTo>
                    <a:cubicBezTo>
                      <a:pt x="2" y="75"/>
                      <a:pt x="2" y="76"/>
                      <a:pt x="2" y="76"/>
                    </a:cubicBezTo>
                    <a:cubicBezTo>
                      <a:pt x="1" y="76"/>
                      <a:pt x="1" y="76"/>
                      <a:pt x="1" y="76"/>
                    </a:cubicBezTo>
                    <a:cubicBezTo>
                      <a:pt x="1" y="77"/>
                      <a:pt x="0" y="77"/>
                      <a:pt x="0" y="78"/>
                    </a:cubicBezTo>
                    <a:cubicBezTo>
                      <a:pt x="0" y="78"/>
                      <a:pt x="0" y="78"/>
                      <a:pt x="0" y="78"/>
                    </a:cubicBezTo>
                    <a:cubicBezTo>
                      <a:pt x="0" y="78"/>
                      <a:pt x="0" y="78"/>
                      <a:pt x="1" y="78"/>
                    </a:cubicBezTo>
                    <a:cubicBezTo>
                      <a:pt x="1" y="78"/>
                      <a:pt x="1" y="78"/>
                      <a:pt x="1" y="78"/>
                    </a:cubicBezTo>
                    <a:cubicBezTo>
                      <a:pt x="1" y="79"/>
                      <a:pt x="1" y="79"/>
                      <a:pt x="1" y="79"/>
                    </a:cubicBezTo>
                    <a:cubicBezTo>
                      <a:pt x="1" y="79"/>
                      <a:pt x="1" y="79"/>
                      <a:pt x="1" y="79"/>
                    </a:cubicBezTo>
                    <a:cubicBezTo>
                      <a:pt x="1" y="79"/>
                      <a:pt x="1" y="79"/>
                      <a:pt x="1" y="79"/>
                    </a:cubicBezTo>
                    <a:cubicBezTo>
                      <a:pt x="1" y="80"/>
                      <a:pt x="1" y="80"/>
                      <a:pt x="1" y="80"/>
                    </a:cubicBezTo>
                    <a:cubicBezTo>
                      <a:pt x="2" y="81"/>
                      <a:pt x="2" y="81"/>
                      <a:pt x="2" y="81"/>
                    </a:cubicBezTo>
                    <a:cubicBezTo>
                      <a:pt x="2" y="81"/>
                      <a:pt x="2" y="81"/>
                      <a:pt x="2" y="81"/>
                    </a:cubicBezTo>
                    <a:cubicBezTo>
                      <a:pt x="2" y="81"/>
                      <a:pt x="2" y="81"/>
                      <a:pt x="2" y="81"/>
                    </a:cubicBezTo>
                    <a:cubicBezTo>
                      <a:pt x="2" y="82"/>
                      <a:pt x="2" y="82"/>
                      <a:pt x="2" y="82"/>
                    </a:cubicBezTo>
                    <a:cubicBezTo>
                      <a:pt x="2" y="81"/>
                      <a:pt x="2" y="81"/>
                      <a:pt x="2" y="81"/>
                    </a:cubicBezTo>
                    <a:cubicBezTo>
                      <a:pt x="2" y="82"/>
                      <a:pt x="2" y="82"/>
                      <a:pt x="2" y="82"/>
                    </a:cubicBezTo>
                    <a:cubicBezTo>
                      <a:pt x="2" y="82"/>
                      <a:pt x="2" y="82"/>
                      <a:pt x="3" y="83"/>
                    </a:cubicBezTo>
                    <a:cubicBezTo>
                      <a:pt x="3" y="84"/>
                      <a:pt x="3" y="84"/>
                      <a:pt x="3" y="84"/>
                    </a:cubicBezTo>
                    <a:cubicBezTo>
                      <a:pt x="4" y="84"/>
                      <a:pt x="4" y="84"/>
                      <a:pt x="4" y="84"/>
                    </a:cubicBezTo>
                    <a:cubicBezTo>
                      <a:pt x="4" y="84"/>
                      <a:pt x="4" y="84"/>
                      <a:pt x="4" y="84"/>
                    </a:cubicBezTo>
                    <a:cubicBezTo>
                      <a:pt x="4" y="84"/>
                      <a:pt x="4" y="84"/>
                      <a:pt x="4" y="84"/>
                    </a:cubicBezTo>
                    <a:cubicBezTo>
                      <a:pt x="4" y="84"/>
                      <a:pt x="5" y="84"/>
                      <a:pt x="5" y="84"/>
                    </a:cubicBezTo>
                    <a:cubicBezTo>
                      <a:pt x="6" y="85"/>
                      <a:pt x="6" y="86"/>
                      <a:pt x="6" y="87"/>
                    </a:cubicBezTo>
                    <a:cubicBezTo>
                      <a:pt x="6" y="88"/>
                      <a:pt x="6" y="89"/>
                      <a:pt x="6" y="90"/>
                    </a:cubicBezTo>
                    <a:cubicBezTo>
                      <a:pt x="6" y="90"/>
                      <a:pt x="6" y="91"/>
                      <a:pt x="6" y="91"/>
                    </a:cubicBezTo>
                    <a:cubicBezTo>
                      <a:pt x="6" y="93"/>
                      <a:pt x="6" y="94"/>
                      <a:pt x="8" y="96"/>
                    </a:cubicBezTo>
                    <a:cubicBezTo>
                      <a:pt x="8" y="96"/>
                      <a:pt x="8" y="96"/>
                      <a:pt x="9" y="97"/>
                    </a:cubicBezTo>
                    <a:cubicBezTo>
                      <a:pt x="9" y="97"/>
                      <a:pt x="9" y="97"/>
                      <a:pt x="9" y="97"/>
                    </a:cubicBezTo>
                    <a:cubicBezTo>
                      <a:pt x="10" y="98"/>
                      <a:pt x="11" y="99"/>
                      <a:pt x="12" y="100"/>
                    </a:cubicBezTo>
                    <a:cubicBezTo>
                      <a:pt x="13" y="101"/>
                      <a:pt x="13" y="101"/>
                      <a:pt x="13" y="101"/>
                    </a:cubicBezTo>
                    <a:cubicBezTo>
                      <a:pt x="11" y="102"/>
                      <a:pt x="11" y="102"/>
                      <a:pt x="11" y="102"/>
                    </a:cubicBezTo>
                    <a:cubicBezTo>
                      <a:pt x="11" y="102"/>
                      <a:pt x="11" y="102"/>
                      <a:pt x="11" y="102"/>
                    </a:cubicBezTo>
                    <a:cubicBezTo>
                      <a:pt x="11" y="102"/>
                      <a:pt x="10" y="103"/>
                      <a:pt x="10" y="103"/>
                    </a:cubicBezTo>
                    <a:cubicBezTo>
                      <a:pt x="10" y="103"/>
                      <a:pt x="10" y="104"/>
                      <a:pt x="11" y="104"/>
                    </a:cubicBezTo>
                    <a:cubicBezTo>
                      <a:pt x="11" y="105"/>
                      <a:pt x="11" y="107"/>
                      <a:pt x="10" y="107"/>
                    </a:cubicBezTo>
                    <a:cubicBezTo>
                      <a:pt x="9" y="108"/>
                      <a:pt x="9" y="108"/>
                      <a:pt x="9" y="108"/>
                    </a:cubicBezTo>
                    <a:cubicBezTo>
                      <a:pt x="9" y="108"/>
                      <a:pt x="9" y="108"/>
                      <a:pt x="9" y="108"/>
                    </a:cubicBezTo>
                    <a:cubicBezTo>
                      <a:pt x="9" y="110"/>
                      <a:pt x="9" y="110"/>
                      <a:pt x="10" y="111"/>
                    </a:cubicBezTo>
                    <a:cubicBezTo>
                      <a:pt x="10" y="111"/>
                      <a:pt x="11" y="112"/>
                      <a:pt x="11" y="112"/>
                    </a:cubicBezTo>
                    <a:cubicBezTo>
                      <a:pt x="12" y="113"/>
                      <a:pt x="12" y="114"/>
                      <a:pt x="12" y="115"/>
                    </a:cubicBezTo>
                    <a:cubicBezTo>
                      <a:pt x="12" y="115"/>
                      <a:pt x="12" y="115"/>
                      <a:pt x="12" y="115"/>
                    </a:cubicBezTo>
                    <a:cubicBezTo>
                      <a:pt x="11" y="115"/>
                      <a:pt x="11" y="115"/>
                      <a:pt x="11" y="115"/>
                    </a:cubicBezTo>
                    <a:cubicBezTo>
                      <a:pt x="12" y="116"/>
                      <a:pt x="12" y="116"/>
                      <a:pt x="12" y="116"/>
                    </a:cubicBezTo>
                    <a:cubicBezTo>
                      <a:pt x="12" y="116"/>
                      <a:pt x="12" y="116"/>
                      <a:pt x="12" y="116"/>
                    </a:cubicBezTo>
                    <a:cubicBezTo>
                      <a:pt x="12" y="116"/>
                      <a:pt x="13" y="116"/>
                      <a:pt x="13" y="116"/>
                    </a:cubicBezTo>
                    <a:cubicBezTo>
                      <a:pt x="13" y="117"/>
                      <a:pt x="13" y="117"/>
                      <a:pt x="13" y="117"/>
                    </a:cubicBezTo>
                    <a:cubicBezTo>
                      <a:pt x="14" y="118"/>
                      <a:pt x="14" y="118"/>
                      <a:pt x="14" y="119"/>
                    </a:cubicBezTo>
                    <a:cubicBezTo>
                      <a:pt x="14" y="119"/>
                      <a:pt x="14" y="119"/>
                      <a:pt x="14" y="119"/>
                    </a:cubicBezTo>
                    <a:cubicBezTo>
                      <a:pt x="14" y="119"/>
                      <a:pt x="15" y="120"/>
                      <a:pt x="15" y="120"/>
                    </a:cubicBezTo>
                    <a:cubicBezTo>
                      <a:pt x="15" y="120"/>
                      <a:pt x="15" y="121"/>
                      <a:pt x="15" y="121"/>
                    </a:cubicBezTo>
                    <a:cubicBezTo>
                      <a:pt x="15" y="121"/>
                      <a:pt x="15" y="121"/>
                      <a:pt x="15" y="121"/>
                    </a:cubicBezTo>
                    <a:cubicBezTo>
                      <a:pt x="15" y="121"/>
                      <a:pt x="15" y="121"/>
                      <a:pt x="15" y="121"/>
                    </a:cubicBezTo>
                    <a:cubicBezTo>
                      <a:pt x="15" y="122"/>
                      <a:pt x="15" y="122"/>
                      <a:pt x="15" y="122"/>
                    </a:cubicBezTo>
                    <a:cubicBezTo>
                      <a:pt x="15" y="122"/>
                      <a:pt x="15" y="122"/>
                      <a:pt x="15" y="123"/>
                    </a:cubicBezTo>
                    <a:cubicBezTo>
                      <a:pt x="15" y="123"/>
                      <a:pt x="15" y="123"/>
                      <a:pt x="15" y="124"/>
                    </a:cubicBezTo>
                    <a:cubicBezTo>
                      <a:pt x="15" y="124"/>
                      <a:pt x="15" y="124"/>
                      <a:pt x="15" y="124"/>
                    </a:cubicBezTo>
                    <a:cubicBezTo>
                      <a:pt x="15" y="125"/>
                      <a:pt x="16" y="125"/>
                      <a:pt x="16" y="125"/>
                    </a:cubicBezTo>
                    <a:cubicBezTo>
                      <a:pt x="16" y="126"/>
                      <a:pt x="16" y="127"/>
                      <a:pt x="16" y="127"/>
                    </a:cubicBezTo>
                    <a:cubicBezTo>
                      <a:pt x="16" y="127"/>
                      <a:pt x="16" y="127"/>
                      <a:pt x="16" y="128"/>
                    </a:cubicBezTo>
                    <a:cubicBezTo>
                      <a:pt x="16" y="128"/>
                      <a:pt x="16" y="128"/>
                      <a:pt x="16" y="128"/>
                    </a:cubicBezTo>
                    <a:cubicBezTo>
                      <a:pt x="17" y="128"/>
                      <a:pt x="17" y="129"/>
                      <a:pt x="17" y="130"/>
                    </a:cubicBezTo>
                    <a:cubicBezTo>
                      <a:pt x="17" y="130"/>
                      <a:pt x="17" y="131"/>
                      <a:pt x="17" y="131"/>
                    </a:cubicBezTo>
                    <a:cubicBezTo>
                      <a:pt x="17" y="131"/>
                      <a:pt x="17" y="131"/>
                      <a:pt x="17" y="132"/>
                    </a:cubicBezTo>
                    <a:cubicBezTo>
                      <a:pt x="18" y="132"/>
                      <a:pt x="18" y="132"/>
                      <a:pt x="18" y="132"/>
                    </a:cubicBezTo>
                    <a:cubicBezTo>
                      <a:pt x="18" y="132"/>
                      <a:pt x="18" y="133"/>
                      <a:pt x="18" y="134"/>
                    </a:cubicBezTo>
                    <a:cubicBezTo>
                      <a:pt x="18" y="134"/>
                      <a:pt x="18" y="135"/>
                      <a:pt x="18" y="135"/>
                    </a:cubicBezTo>
                    <a:cubicBezTo>
                      <a:pt x="18" y="135"/>
                      <a:pt x="18" y="135"/>
                      <a:pt x="18" y="135"/>
                    </a:cubicBezTo>
                    <a:cubicBezTo>
                      <a:pt x="23" y="135"/>
                      <a:pt x="23" y="135"/>
                      <a:pt x="23" y="135"/>
                    </a:cubicBezTo>
                    <a:cubicBezTo>
                      <a:pt x="23" y="135"/>
                      <a:pt x="23" y="135"/>
                      <a:pt x="23" y="135"/>
                    </a:cubicBezTo>
                    <a:cubicBezTo>
                      <a:pt x="23" y="135"/>
                      <a:pt x="23" y="135"/>
                      <a:pt x="23" y="135"/>
                    </a:cubicBezTo>
                    <a:cubicBezTo>
                      <a:pt x="24" y="135"/>
                      <a:pt x="24" y="134"/>
                      <a:pt x="25" y="134"/>
                    </a:cubicBezTo>
                    <a:cubicBezTo>
                      <a:pt x="25" y="133"/>
                      <a:pt x="25" y="133"/>
                      <a:pt x="25" y="133"/>
                    </a:cubicBezTo>
                    <a:cubicBezTo>
                      <a:pt x="26" y="132"/>
                      <a:pt x="27" y="131"/>
                      <a:pt x="28" y="130"/>
                    </a:cubicBezTo>
                    <a:cubicBezTo>
                      <a:pt x="29" y="129"/>
                      <a:pt x="29" y="129"/>
                      <a:pt x="31" y="128"/>
                    </a:cubicBezTo>
                    <a:cubicBezTo>
                      <a:pt x="31" y="128"/>
                      <a:pt x="31" y="128"/>
                      <a:pt x="32" y="128"/>
                    </a:cubicBezTo>
                    <a:cubicBezTo>
                      <a:pt x="32" y="128"/>
                      <a:pt x="32" y="128"/>
                      <a:pt x="32" y="128"/>
                    </a:cubicBezTo>
                    <a:cubicBezTo>
                      <a:pt x="32" y="128"/>
                      <a:pt x="32" y="128"/>
                      <a:pt x="32" y="128"/>
                    </a:cubicBezTo>
                    <a:cubicBezTo>
                      <a:pt x="32" y="127"/>
                      <a:pt x="32" y="126"/>
                      <a:pt x="32" y="126"/>
                    </a:cubicBezTo>
                    <a:cubicBezTo>
                      <a:pt x="32" y="125"/>
                      <a:pt x="32" y="125"/>
                      <a:pt x="32" y="125"/>
                    </a:cubicBezTo>
                    <a:cubicBezTo>
                      <a:pt x="32" y="125"/>
                      <a:pt x="32" y="125"/>
                      <a:pt x="32" y="125"/>
                    </a:cubicBezTo>
                    <a:cubicBezTo>
                      <a:pt x="33" y="124"/>
                      <a:pt x="33" y="124"/>
                      <a:pt x="33" y="124"/>
                    </a:cubicBezTo>
                    <a:cubicBezTo>
                      <a:pt x="34" y="124"/>
                      <a:pt x="34" y="124"/>
                      <a:pt x="34" y="124"/>
                    </a:cubicBezTo>
                    <a:cubicBezTo>
                      <a:pt x="35" y="124"/>
                      <a:pt x="36" y="125"/>
                      <a:pt x="37" y="126"/>
                    </a:cubicBezTo>
                    <a:cubicBezTo>
                      <a:pt x="38" y="127"/>
                      <a:pt x="39" y="128"/>
                      <a:pt x="40" y="128"/>
                    </a:cubicBezTo>
                    <a:cubicBezTo>
                      <a:pt x="41" y="128"/>
                      <a:pt x="41" y="128"/>
                      <a:pt x="41" y="128"/>
                    </a:cubicBezTo>
                    <a:cubicBezTo>
                      <a:pt x="43" y="128"/>
                      <a:pt x="44" y="128"/>
                      <a:pt x="45" y="128"/>
                    </a:cubicBezTo>
                    <a:cubicBezTo>
                      <a:pt x="45" y="128"/>
                      <a:pt x="46" y="128"/>
                      <a:pt x="46" y="128"/>
                    </a:cubicBezTo>
                    <a:cubicBezTo>
                      <a:pt x="47" y="128"/>
                      <a:pt x="47" y="128"/>
                      <a:pt x="47" y="128"/>
                    </a:cubicBezTo>
                    <a:cubicBezTo>
                      <a:pt x="48" y="128"/>
                      <a:pt x="48" y="128"/>
                      <a:pt x="49" y="128"/>
                    </a:cubicBezTo>
                    <a:cubicBezTo>
                      <a:pt x="50" y="129"/>
                      <a:pt x="51" y="129"/>
                      <a:pt x="52" y="130"/>
                    </a:cubicBezTo>
                    <a:cubicBezTo>
                      <a:pt x="52" y="131"/>
                      <a:pt x="53" y="132"/>
                      <a:pt x="53" y="133"/>
                    </a:cubicBezTo>
                    <a:cubicBezTo>
                      <a:pt x="54" y="131"/>
                      <a:pt x="55" y="129"/>
                      <a:pt x="55" y="128"/>
                    </a:cubicBezTo>
                    <a:cubicBezTo>
                      <a:pt x="56" y="127"/>
                      <a:pt x="56" y="127"/>
                      <a:pt x="56" y="127"/>
                    </a:cubicBezTo>
                    <a:cubicBezTo>
                      <a:pt x="56" y="127"/>
                      <a:pt x="56" y="127"/>
                      <a:pt x="56" y="127"/>
                    </a:cubicBezTo>
                    <a:cubicBezTo>
                      <a:pt x="57" y="127"/>
                      <a:pt x="57" y="126"/>
                      <a:pt x="59" y="126"/>
                    </a:cubicBezTo>
                    <a:cubicBezTo>
                      <a:pt x="59" y="126"/>
                      <a:pt x="59" y="126"/>
                      <a:pt x="59" y="126"/>
                    </a:cubicBezTo>
                    <a:cubicBezTo>
                      <a:pt x="59" y="126"/>
                      <a:pt x="59" y="126"/>
                      <a:pt x="60" y="126"/>
                    </a:cubicBezTo>
                    <a:cubicBezTo>
                      <a:pt x="60" y="126"/>
                      <a:pt x="60" y="126"/>
                      <a:pt x="60" y="126"/>
                    </a:cubicBezTo>
                    <a:cubicBezTo>
                      <a:pt x="66" y="126"/>
                      <a:pt x="66" y="126"/>
                      <a:pt x="66" y="126"/>
                    </a:cubicBezTo>
                    <a:cubicBezTo>
                      <a:pt x="66" y="126"/>
                      <a:pt x="66" y="126"/>
                      <a:pt x="66" y="126"/>
                    </a:cubicBezTo>
                    <a:cubicBezTo>
                      <a:pt x="66" y="126"/>
                      <a:pt x="66" y="126"/>
                      <a:pt x="66" y="126"/>
                    </a:cubicBezTo>
                    <a:cubicBezTo>
                      <a:pt x="67" y="126"/>
                      <a:pt x="67" y="126"/>
                      <a:pt x="67" y="126"/>
                    </a:cubicBezTo>
                    <a:cubicBezTo>
                      <a:pt x="68" y="126"/>
                      <a:pt x="68" y="126"/>
                      <a:pt x="68" y="126"/>
                    </a:cubicBezTo>
                    <a:cubicBezTo>
                      <a:pt x="68" y="126"/>
                      <a:pt x="68" y="126"/>
                      <a:pt x="68" y="126"/>
                    </a:cubicBezTo>
                    <a:cubicBezTo>
                      <a:pt x="68" y="126"/>
                      <a:pt x="68" y="126"/>
                      <a:pt x="68" y="126"/>
                    </a:cubicBezTo>
                    <a:cubicBezTo>
                      <a:pt x="68" y="126"/>
                      <a:pt x="68" y="126"/>
                      <a:pt x="68" y="126"/>
                    </a:cubicBezTo>
                    <a:cubicBezTo>
                      <a:pt x="68" y="126"/>
                      <a:pt x="68" y="126"/>
                      <a:pt x="68" y="126"/>
                    </a:cubicBezTo>
                    <a:cubicBezTo>
                      <a:pt x="69" y="126"/>
                      <a:pt x="69" y="127"/>
                      <a:pt x="69" y="127"/>
                    </a:cubicBezTo>
                    <a:cubicBezTo>
                      <a:pt x="69" y="127"/>
                      <a:pt x="69" y="127"/>
                      <a:pt x="70" y="127"/>
                    </a:cubicBezTo>
                    <a:cubicBezTo>
                      <a:pt x="70" y="127"/>
                      <a:pt x="70" y="127"/>
                      <a:pt x="70" y="127"/>
                    </a:cubicBezTo>
                    <a:cubicBezTo>
                      <a:pt x="70" y="126"/>
                      <a:pt x="70" y="125"/>
                      <a:pt x="70" y="125"/>
                    </a:cubicBezTo>
                    <a:lnTo>
                      <a:pt x="71"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4" name="Freeform 2955">
                <a:extLst>
                  <a:ext uri="{FF2B5EF4-FFF2-40B4-BE49-F238E27FC236}">
                    <a16:creationId xmlns:a16="http://schemas.microsoft.com/office/drawing/2014/main" id="{A43A5569-7601-4E76-94AC-7C2C579E6967}"/>
                  </a:ext>
                </a:extLst>
              </p:cNvPr>
              <p:cNvSpPr>
                <a:spLocks/>
              </p:cNvSpPr>
              <p:nvPr/>
            </p:nvSpPr>
            <p:spPr bwMode="auto">
              <a:xfrm>
                <a:off x="1844" y="2873"/>
                <a:ext cx="10" cy="5"/>
              </a:xfrm>
              <a:custGeom>
                <a:avLst/>
                <a:gdLst>
                  <a:gd name="T0" fmla="*/ 3 w 4"/>
                  <a:gd name="T1" fmla="*/ 1 h 2"/>
                  <a:gd name="T2" fmla="*/ 4 w 4"/>
                  <a:gd name="T3" fmla="*/ 2 h 2"/>
                  <a:gd name="T4" fmla="*/ 4 w 4"/>
                  <a:gd name="T5" fmla="*/ 2 h 2"/>
                  <a:gd name="T6" fmla="*/ 3 w 4"/>
                  <a:gd name="T7" fmla="*/ 0 h 2"/>
                  <a:gd name="T8" fmla="*/ 2 w 4"/>
                  <a:gd name="T9" fmla="*/ 0 h 2"/>
                  <a:gd name="T10" fmla="*/ 2 w 4"/>
                  <a:gd name="T11" fmla="*/ 0 h 2"/>
                  <a:gd name="T12" fmla="*/ 2 w 4"/>
                  <a:gd name="T13" fmla="*/ 0 h 2"/>
                  <a:gd name="T14" fmla="*/ 2 w 4"/>
                  <a:gd name="T15" fmla="*/ 0 h 2"/>
                  <a:gd name="T16" fmla="*/ 2 w 4"/>
                  <a:gd name="T17" fmla="*/ 0 h 2"/>
                  <a:gd name="T18" fmla="*/ 1 w 4"/>
                  <a:gd name="T19" fmla="*/ 0 h 2"/>
                  <a:gd name="T20" fmla="*/ 0 w 4"/>
                  <a:gd name="T21" fmla="*/ 0 h 2"/>
                  <a:gd name="T22" fmla="*/ 0 w 4"/>
                  <a:gd name="T23" fmla="*/ 0 h 2"/>
                  <a:gd name="T24" fmla="*/ 3 w 4"/>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3" y="1"/>
                    </a:moveTo>
                    <a:cubicBezTo>
                      <a:pt x="3" y="1"/>
                      <a:pt x="3" y="1"/>
                      <a:pt x="4" y="2"/>
                    </a:cubicBezTo>
                    <a:cubicBezTo>
                      <a:pt x="4" y="2"/>
                      <a:pt x="4" y="2"/>
                      <a:pt x="4" y="2"/>
                    </a:cubicBezTo>
                    <a:cubicBezTo>
                      <a:pt x="3" y="0"/>
                      <a:pt x="3" y="0"/>
                      <a:pt x="3" y="0"/>
                    </a:cubicBezTo>
                    <a:cubicBezTo>
                      <a:pt x="3"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0" y="0"/>
                      <a:pt x="0" y="0"/>
                    </a:cubicBezTo>
                    <a:cubicBezTo>
                      <a:pt x="0" y="0"/>
                      <a:pt x="0" y="0"/>
                      <a:pt x="0" y="0"/>
                    </a:cubicBezTo>
                    <a:cubicBezTo>
                      <a:pt x="1" y="0"/>
                      <a:pt x="2"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5" name="Freeform 2956">
                <a:extLst>
                  <a:ext uri="{FF2B5EF4-FFF2-40B4-BE49-F238E27FC236}">
                    <a16:creationId xmlns:a16="http://schemas.microsoft.com/office/drawing/2014/main" id="{45BB0B30-2197-4022-BB96-C361F37BEFE6}"/>
                  </a:ext>
                </a:extLst>
              </p:cNvPr>
              <p:cNvSpPr>
                <a:spLocks/>
              </p:cNvSpPr>
              <p:nvPr/>
            </p:nvSpPr>
            <p:spPr bwMode="auto">
              <a:xfrm>
                <a:off x="1584" y="2783"/>
                <a:ext cx="303" cy="440"/>
              </a:xfrm>
              <a:custGeom>
                <a:avLst/>
                <a:gdLst>
                  <a:gd name="T0" fmla="*/ 116 w 128"/>
                  <a:gd name="T1" fmla="*/ 184 h 186"/>
                  <a:gd name="T2" fmla="*/ 119 w 128"/>
                  <a:gd name="T3" fmla="*/ 177 h 186"/>
                  <a:gd name="T4" fmla="*/ 121 w 128"/>
                  <a:gd name="T5" fmla="*/ 172 h 186"/>
                  <a:gd name="T6" fmla="*/ 125 w 128"/>
                  <a:gd name="T7" fmla="*/ 167 h 186"/>
                  <a:gd name="T8" fmla="*/ 121 w 128"/>
                  <a:gd name="T9" fmla="*/ 156 h 186"/>
                  <a:gd name="T10" fmla="*/ 124 w 128"/>
                  <a:gd name="T11" fmla="*/ 145 h 186"/>
                  <a:gd name="T12" fmla="*/ 125 w 128"/>
                  <a:gd name="T13" fmla="*/ 140 h 186"/>
                  <a:gd name="T14" fmla="*/ 124 w 128"/>
                  <a:gd name="T15" fmla="*/ 136 h 186"/>
                  <a:gd name="T16" fmla="*/ 127 w 128"/>
                  <a:gd name="T17" fmla="*/ 129 h 186"/>
                  <a:gd name="T18" fmla="*/ 120 w 128"/>
                  <a:gd name="T19" fmla="*/ 111 h 186"/>
                  <a:gd name="T20" fmla="*/ 117 w 128"/>
                  <a:gd name="T21" fmla="*/ 111 h 186"/>
                  <a:gd name="T22" fmla="*/ 110 w 128"/>
                  <a:gd name="T23" fmla="*/ 111 h 186"/>
                  <a:gd name="T24" fmla="*/ 109 w 128"/>
                  <a:gd name="T25" fmla="*/ 97 h 186"/>
                  <a:gd name="T26" fmla="*/ 105 w 128"/>
                  <a:gd name="T27" fmla="*/ 100 h 186"/>
                  <a:gd name="T28" fmla="*/ 94 w 128"/>
                  <a:gd name="T29" fmla="*/ 101 h 186"/>
                  <a:gd name="T30" fmla="*/ 92 w 128"/>
                  <a:gd name="T31" fmla="*/ 97 h 186"/>
                  <a:gd name="T32" fmla="*/ 84 w 128"/>
                  <a:gd name="T33" fmla="*/ 89 h 186"/>
                  <a:gd name="T34" fmla="*/ 75 w 128"/>
                  <a:gd name="T35" fmla="*/ 76 h 186"/>
                  <a:gd name="T36" fmla="*/ 77 w 128"/>
                  <a:gd name="T37" fmla="*/ 72 h 186"/>
                  <a:gd name="T38" fmla="*/ 83 w 128"/>
                  <a:gd name="T39" fmla="*/ 62 h 186"/>
                  <a:gd name="T40" fmla="*/ 83 w 128"/>
                  <a:gd name="T41" fmla="*/ 59 h 186"/>
                  <a:gd name="T42" fmla="*/ 84 w 128"/>
                  <a:gd name="T43" fmla="*/ 54 h 186"/>
                  <a:gd name="T44" fmla="*/ 90 w 128"/>
                  <a:gd name="T45" fmla="*/ 46 h 186"/>
                  <a:gd name="T46" fmla="*/ 104 w 128"/>
                  <a:gd name="T47" fmla="*/ 41 h 186"/>
                  <a:gd name="T48" fmla="*/ 109 w 128"/>
                  <a:gd name="T49" fmla="*/ 39 h 186"/>
                  <a:gd name="T50" fmla="*/ 109 w 128"/>
                  <a:gd name="T51" fmla="*/ 34 h 186"/>
                  <a:gd name="T52" fmla="*/ 114 w 128"/>
                  <a:gd name="T53" fmla="*/ 25 h 186"/>
                  <a:gd name="T54" fmla="*/ 108 w 128"/>
                  <a:gd name="T55" fmla="*/ 23 h 186"/>
                  <a:gd name="T56" fmla="*/ 105 w 128"/>
                  <a:gd name="T57" fmla="*/ 22 h 186"/>
                  <a:gd name="T58" fmla="*/ 99 w 128"/>
                  <a:gd name="T59" fmla="*/ 22 h 186"/>
                  <a:gd name="T60" fmla="*/ 95 w 128"/>
                  <a:gd name="T61" fmla="*/ 24 h 186"/>
                  <a:gd name="T62" fmla="*/ 92 w 128"/>
                  <a:gd name="T63" fmla="*/ 24 h 186"/>
                  <a:gd name="T64" fmla="*/ 88 w 128"/>
                  <a:gd name="T65" fmla="*/ 24 h 186"/>
                  <a:gd name="T66" fmla="*/ 83 w 128"/>
                  <a:gd name="T67" fmla="*/ 18 h 186"/>
                  <a:gd name="T68" fmla="*/ 82 w 128"/>
                  <a:gd name="T69" fmla="*/ 17 h 186"/>
                  <a:gd name="T70" fmla="*/ 80 w 128"/>
                  <a:gd name="T71" fmla="*/ 17 h 186"/>
                  <a:gd name="T72" fmla="*/ 79 w 128"/>
                  <a:gd name="T73" fmla="*/ 13 h 186"/>
                  <a:gd name="T74" fmla="*/ 74 w 128"/>
                  <a:gd name="T75" fmla="*/ 10 h 186"/>
                  <a:gd name="T76" fmla="*/ 68 w 128"/>
                  <a:gd name="T77" fmla="*/ 2 h 186"/>
                  <a:gd name="T78" fmla="*/ 65 w 128"/>
                  <a:gd name="T79" fmla="*/ 0 h 186"/>
                  <a:gd name="T80" fmla="*/ 62 w 128"/>
                  <a:gd name="T81" fmla="*/ 1 h 186"/>
                  <a:gd name="T82" fmla="*/ 64 w 128"/>
                  <a:gd name="T83" fmla="*/ 7 h 186"/>
                  <a:gd name="T84" fmla="*/ 60 w 128"/>
                  <a:gd name="T85" fmla="*/ 14 h 186"/>
                  <a:gd name="T86" fmla="*/ 43 w 128"/>
                  <a:gd name="T87" fmla="*/ 27 h 186"/>
                  <a:gd name="T88" fmla="*/ 34 w 128"/>
                  <a:gd name="T89" fmla="*/ 32 h 186"/>
                  <a:gd name="T90" fmla="*/ 28 w 128"/>
                  <a:gd name="T91" fmla="*/ 45 h 186"/>
                  <a:gd name="T92" fmla="*/ 24 w 128"/>
                  <a:gd name="T93" fmla="*/ 49 h 186"/>
                  <a:gd name="T94" fmla="*/ 18 w 128"/>
                  <a:gd name="T95" fmla="*/ 45 h 186"/>
                  <a:gd name="T96" fmla="*/ 14 w 128"/>
                  <a:gd name="T97" fmla="*/ 43 h 186"/>
                  <a:gd name="T98" fmla="*/ 9 w 128"/>
                  <a:gd name="T99" fmla="*/ 44 h 186"/>
                  <a:gd name="T100" fmla="*/ 8 w 128"/>
                  <a:gd name="T101" fmla="*/ 41 h 186"/>
                  <a:gd name="T102" fmla="*/ 11 w 128"/>
                  <a:gd name="T103" fmla="*/ 36 h 186"/>
                  <a:gd name="T104" fmla="*/ 5 w 128"/>
                  <a:gd name="T105" fmla="*/ 56 h 186"/>
                  <a:gd name="T106" fmla="*/ 25 w 128"/>
                  <a:gd name="T107" fmla="*/ 83 h 186"/>
                  <a:gd name="T108" fmla="*/ 41 w 128"/>
                  <a:gd name="T109" fmla="*/ 115 h 186"/>
                  <a:gd name="T110" fmla="*/ 52 w 128"/>
                  <a:gd name="T111" fmla="*/ 134 h 186"/>
                  <a:gd name="T112" fmla="*/ 55 w 128"/>
                  <a:gd name="T113" fmla="*/ 14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 h="186">
                    <a:moveTo>
                      <a:pt x="95" y="172"/>
                    </a:moveTo>
                    <a:cubicBezTo>
                      <a:pt x="97" y="174"/>
                      <a:pt x="99" y="175"/>
                      <a:pt x="100" y="176"/>
                    </a:cubicBezTo>
                    <a:cubicBezTo>
                      <a:pt x="101" y="176"/>
                      <a:pt x="101" y="178"/>
                      <a:pt x="102" y="179"/>
                    </a:cubicBezTo>
                    <a:cubicBezTo>
                      <a:pt x="102" y="181"/>
                      <a:pt x="105" y="181"/>
                      <a:pt x="107" y="183"/>
                    </a:cubicBezTo>
                    <a:cubicBezTo>
                      <a:pt x="108" y="184"/>
                      <a:pt x="109" y="185"/>
                      <a:pt x="111" y="186"/>
                    </a:cubicBezTo>
                    <a:cubicBezTo>
                      <a:pt x="116" y="184"/>
                      <a:pt x="116" y="184"/>
                      <a:pt x="116" y="184"/>
                    </a:cubicBezTo>
                    <a:cubicBezTo>
                      <a:pt x="116" y="184"/>
                      <a:pt x="116" y="184"/>
                      <a:pt x="116" y="184"/>
                    </a:cubicBezTo>
                    <a:cubicBezTo>
                      <a:pt x="116" y="184"/>
                      <a:pt x="116" y="184"/>
                      <a:pt x="116" y="184"/>
                    </a:cubicBezTo>
                    <a:cubicBezTo>
                      <a:pt x="117" y="183"/>
                      <a:pt x="117" y="182"/>
                      <a:pt x="116" y="181"/>
                    </a:cubicBezTo>
                    <a:cubicBezTo>
                      <a:pt x="115" y="180"/>
                      <a:pt x="117" y="179"/>
                      <a:pt x="118" y="178"/>
                    </a:cubicBezTo>
                    <a:cubicBezTo>
                      <a:pt x="118" y="178"/>
                      <a:pt x="118" y="178"/>
                      <a:pt x="119" y="178"/>
                    </a:cubicBezTo>
                    <a:cubicBezTo>
                      <a:pt x="119" y="177"/>
                      <a:pt x="119" y="177"/>
                      <a:pt x="119" y="177"/>
                    </a:cubicBezTo>
                    <a:cubicBezTo>
                      <a:pt x="119" y="177"/>
                      <a:pt x="119" y="177"/>
                      <a:pt x="119" y="177"/>
                    </a:cubicBezTo>
                    <a:cubicBezTo>
                      <a:pt x="119" y="177"/>
                      <a:pt x="119" y="177"/>
                      <a:pt x="119" y="177"/>
                    </a:cubicBezTo>
                    <a:cubicBezTo>
                      <a:pt x="119" y="177"/>
                      <a:pt x="119" y="177"/>
                      <a:pt x="119" y="177"/>
                    </a:cubicBezTo>
                    <a:cubicBezTo>
                      <a:pt x="118" y="176"/>
                      <a:pt x="118" y="176"/>
                      <a:pt x="118" y="176"/>
                    </a:cubicBezTo>
                    <a:cubicBezTo>
                      <a:pt x="118" y="176"/>
                      <a:pt x="118" y="176"/>
                      <a:pt x="118" y="176"/>
                    </a:cubicBezTo>
                    <a:cubicBezTo>
                      <a:pt x="118" y="175"/>
                      <a:pt x="119" y="174"/>
                      <a:pt x="121" y="172"/>
                    </a:cubicBezTo>
                    <a:cubicBezTo>
                      <a:pt x="121" y="172"/>
                      <a:pt x="121" y="172"/>
                      <a:pt x="121" y="172"/>
                    </a:cubicBezTo>
                    <a:cubicBezTo>
                      <a:pt x="122" y="172"/>
                      <a:pt x="122" y="171"/>
                      <a:pt x="122" y="171"/>
                    </a:cubicBezTo>
                    <a:cubicBezTo>
                      <a:pt x="122" y="171"/>
                      <a:pt x="123" y="170"/>
                      <a:pt x="124" y="169"/>
                    </a:cubicBezTo>
                    <a:cubicBezTo>
                      <a:pt x="124" y="169"/>
                      <a:pt x="124" y="169"/>
                      <a:pt x="124" y="169"/>
                    </a:cubicBezTo>
                    <a:cubicBezTo>
                      <a:pt x="124" y="168"/>
                      <a:pt x="124" y="168"/>
                      <a:pt x="124" y="168"/>
                    </a:cubicBezTo>
                    <a:cubicBezTo>
                      <a:pt x="124" y="168"/>
                      <a:pt x="125" y="167"/>
                      <a:pt x="125" y="167"/>
                    </a:cubicBezTo>
                    <a:cubicBezTo>
                      <a:pt x="125" y="167"/>
                      <a:pt x="125" y="167"/>
                      <a:pt x="125" y="167"/>
                    </a:cubicBezTo>
                    <a:cubicBezTo>
                      <a:pt x="126" y="166"/>
                      <a:pt x="126" y="166"/>
                      <a:pt x="126" y="166"/>
                    </a:cubicBezTo>
                    <a:cubicBezTo>
                      <a:pt x="123" y="165"/>
                      <a:pt x="122" y="163"/>
                      <a:pt x="122" y="161"/>
                    </a:cubicBezTo>
                    <a:cubicBezTo>
                      <a:pt x="121" y="161"/>
                      <a:pt x="121" y="160"/>
                      <a:pt x="121" y="160"/>
                    </a:cubicBezTo>
                    <a:cubicBezTo>
                      <a:pt x="121" y="160"/>
                      <a:pt x="121" y="160"/>
                      <a:pt x="121" y="160"/>
                    </a:cubicBezTo>
                    <a:cubicBezTo>
                      <a:pt x="121" y="159"/>
                      <a:pt x="120" y="158"/>
                      <a:pt x="121" y="156"/>
                    </a:cubicBezTo>
                    <a:cubicBezTo>
                      <a:pt x="123" y="154"/>
                      <a:pt x="123" y="154"/>
                      <a:pt x="123" y="154"/>
                    </a:cubicBezTo>
                    <a:cubicBezTo>
                      <a:pt x="123" y="154"/>
                      <a:pt x="123" y="154"/>
                      <a:pt x="123" y="154"/>
                    </a:cubicBezTo>
                    <a:cubicBezTo>
                      <a:pt x="122" y="153"/>
                      <a:pt x="122" y="153"/>
                      <a:pt x="122" y="152"/>
                    </a:cubicBezTo>
                    <a:cubicBezTo>
                      <a:pt x="121" y="149"/>
                      <a:pt x="122" y="149"/>
                      <a:pt x="123" y="147"/>
                    </a:cubicBezTo>
                    <a:cubicBezTo>
                      <a:pt x="123" y="146"/>
                      <a:pt x="124" y="146"/>
                      <a:pt x="124" y="146"/>
                    </a:cubicBezTo>
                    <a:cubicBezTo>
                      <a:pt x="124" y="145"/>
                      <a:pt x="124" y="145"/>
                      <a:pt x="124" y="145"/>
                    </a:cubicBezTo>
                    <a:cubicBezTo>
                      <a:pt x="125" y="145"/>
                      <a:pt x="125" y="145"/>
                      <a:pt x="125" y="145"/>
                    </a:cubicBezTo>
                    <a:cubicBezTo>
                      <a:pt x="125" y="144"/>
                      <a:pt x="125" y="144"/>
                      <a:pt x="125" y="144"/>
                    </a:cubicBezTo>
                    <a:cubicBezTo>
                      <a:pt x="125" y="144"/>
                      <a:pt x="126" y="143"/>
                      <a:pt x="126" y="143"/>
                    </a:cubicBezTo>
                    <a:cubicBezTo>
                      <a:pt x="126" y="143"/>
                      <a:pt x="126" y="143"/>
                      <a:pt x="126" y="143"/>
                    </a:cubicBezTo>
                    <a:cubicBezTo>
                      <a:pt x="126" y="142"/>
                      <a:pt x="126" y="142"/>
                      <a:pt x="125" y="142"/>
                    </a:cubicBezTo>
                    <a:cubicBezTo>
                      <a:pt x="125" y="140"/>
                      <a:pt x="125" y="140"/>
                      <a:pt x="125" y="140"/>
                    </a:cubicBezTo>
                    <a:cubicBezTo>
                      <a:pt x="125" y="139"/>
                      <a:pt x="125" y="139"/>
                      <a:pt x="125" y="139"/>
                    </a:cubicBezTo>
                    <a:cubicBezTo>
                      <a:pt x="125" y="139"/>
                      <a:pt x="125" y="139"/>
                      <a:pt x="125" y="139"/>
                    </a:cubicBezTo>
                    <a:cubicBezTo>
                      <a:pt x="124" y="138"/>
                      <a:pt x="124" y="138"/>
                      <a:pt x="124" y="138"/>
                    </a:cubicBezTo>
                    <a:cubicBezTo>
                      <a:pt x="124" y="138"/>
                      <a:pt x="124" y="138"/>
                      <a:pt x="124" y="137"/>
                    </a:cubicBezTo>
                    <a:cubicBezTo>
                      <a:pt x="124" y="137"/>
                      <a:pt x="124" y="137"/>
                      <a:pt x="124" y="136"/>
                    </a:cubicBezTo>
                    <a:cubicBezTo>
                      <a:pt x="124" y="136"/>
                      <a:pt x="124" y="136"/>
                      <a:pt x="124" y="136"/>
                    </a:cubicBezTo>
                    <a:cubicBezTo>
                      <a:pt x="124" y="135"/>
                      <a:pt x="124" y="135"/>
                      <a:pt x="124" y="135"/>
                    </a:cubicBezTo>
                    <a:cubicBezTo>
                      <a:pt x="125" y="134"/>
                      <a:pt x="125" y="134"/>
                      <a:pt x="125" y="134"/>
                    </a:cubicBezTo>
                    <a:cubicBezTo>
                      <a:pt x="125" y="134"/>
                      <a:pt x="125" y="133"/>
                      <a:pt x="125" y="133"/>
                    </a:cubicBezTo>
                    <a:cubicBezTo>
                      <a:pt x="125" y="132"/>
                      <a:pt x="125" y="132"/>
                      <a:pt x="125" y="131"/>
                    </a:cubicBezTo>
                    <a:cubicBezTo>
                      <a:pt x="126" y="130"/>
                      <a:pt x="126" y="130"/>
                      <a:pt x="126" y="129"/>
                    </a:cubicBezTo>
                    <a:cubicBezTo>
                      <a:pt x="127" y="129"/>
                      <a:pt x="127" y="129"/>
                      <a:pt x="127" y="129"/>
                    </a:cubicBezTo>
                    <a:cubicBezTo>
                      <a:pt x="127" y="128"/>
                      <a:pt x="128" y="127"/>
                      <a:pt x="128" y="126"/>
                    </a:cubicBezTo>
                    <a:cubicBezTo>
                      <a:pt x="127" y="125"/>
                      <a:pt x="127" y="125"/>
                      <a:pt x="127" y="125"/>
                    </a:cubicBezTo>
                    <a:cubicBezTo>
                      <a:pt x="126" y="123"/>
                      <a:pt x="125" y="120"/>
                      <a:pt x="124" y="118"/>
                    </a:cubicBezTo>
                    <a:cubicBezTo>
                      <a:pt x="123" y="117"/>
                      <a:pt x="123" y="117"/>
                      <a:pt x="123" y="117"/>
                    </a:cubicBezTo>
                    <a:cubicBezTo>
                      <a:pt x="122" y="115"/>
                      <a:pt x="121" y="113"/>
                      <a:pt x="120" y="111"/>
                    </a:cubicBezTo>
                    <a:cubicBezTo>
                      <a:pt x="120" y="111"/>
                      <a:pt x="120" y="111"/>
                      <a:pt x="120" y="111"/>
                    </a:cubicBezTo>
                    <a:cubicBezTo>
                      <a:pt x="120" y="111"/>
                      <a:pt x="120" y="111"/>
                      <a:pt x="120" y="111"/>
                    </a:cubicBezTo>
                    <a:cubicBezTo>
                      <a:pt x="119" y="111"/>
                      <a:pt x="119" y="111"/>
                      <a:pt x="119" y="111"/>
                    </a:cubicBezTo>
                    <a:cubicBezTo>
                      <a:pt x="119" y="111"/>
                      <a:pt x="119" y="111"/>
                      <a:pt x="118" y="111"/>
                    </a:cubicBezTo>
                    <a:cubicBezTo>
                      <a:pt x="118" y="111"/>
                      <a:pt x="118" y="111"/>
                      <a:pt x="118" y="111"/>
                    </a:cubicBezTo>
                    <a:cubicBezTo>
                      <a:pt x="117" y="111"/>
                      <a:pt x="117" y="111"/>
                      <a:pt x="117" y="111"/>
                    </a:cubicBezTo>
                    <a:cubicBezTo>
                      <a:pt x="117" y="111"/>
                      <a:pt x="117" y="111"/>
                      <a:pt x="117" y="111"/>
                    </a:cubicBezTo>
                    <a:cubicBezTo>
                      <a:pt x="117" y="111"/>
                      <a:pt x="117" y="111"/>
                      <a:pt x="116" y="111"/>
                    </a:cubicBezTo>
                    <a:cubicBezTo>
                      <a:pt x="116" y="111"/>
                      <a:pt x="116" y="111"/>
                      <a:pt x="116" y="111"/>
                    </a:cubicBezTo>
                    <a:cubicBezTo>
                      <a:pt x="115" y="112"/>
                      <a:pt x="114" y="112"/>
                      <a:pt x="113" y="112"/>
                    </a:cubicBezTo>
                    <a:cubicBezTo>
                      <a:pt x="113" y="112"/>
                      <a:pt x="113" y="112"/>
                      <a:pt x="113" y="112"/>
                    </a:cubicBezTo>
                    <a:cubicBezTo>
                      <a:pt x="112" y="112"/>
                      <a:pt x="111" y="112"/>
                      <a:pt x="111" y="111"/>
                    </a:cubicBezTo>
                    <a:cubicBezTo>
                      <a:pt x="111" y="111"/>
                      <a:pt x="110" y="111"/>
                      <a:pt x="110" y="111"/>
                    </a:cubicBezTo>
                    <a:cubicBezTo>
                      <a:pt x="108" y="114"/>
                      <a:pt x="108" y="114"/>
                      <a:pt x="108" y="114"/>
                    </a:cubicBezTo>
                    <a:cubicBezTo>
                      <a:pt x="108" y="110"/>
                      <a:pt x="108" y="110"/>
                      <a:pt x="108" y="110"/>
                    </a:cubicBezTo>
                    <a:cubicBezTo>
                      <a:pt x="108" y="109"/>
                      <a:pt x="108" y="108"/>
                      <a:pt x="108" y="107"/>
                    </a:cubicBezTo>
                    <a:cubicBezTo>
                      <a:pt x="108" y="104"/>
                      <a:pt x="108" y="100"/>
                      <a:pt x="109" y="97"/>
                    </a:cubicBezTo>
                    <a:cubicBezTo>
                      <a:pt x="109" y="97"/>
                      <a:pt x="109" y="97"/>
                      <a:pt x="109" y="97"/>
                    </a:cubicBezTo>
                    <a:cubicBezTo>
                      <a:pt x="109" y="97"/>
                      <a:pt x="109" y="97"/>
                      <a:pt x="109" y="97"/>
                    </a:cubicBezTo>
                    <a:cubicBezTo>
                      <a:pt x="108" y="97"/>
                      <a:pt x="108" y="97"/>
                      <a:pt x="108" y="98"/>
                    </a:cubicBezTo>
                    <a:cubicBezTo>
                      <a:pt x="107" y="98"/>
                      <a:pt x="107" y="98"/>
                      <a:pt x="107" y="98"/>
                    </a:cubicBezTo>
                    <a:cubicBezTo>
                      <a:pt x="107" y="98"/>
                      <a:pt x="107" y="99"/>
                      <a:pt x="106" y="99"/>
                    </a:cubicBezTo>
                    <a:cubicBezTo>
                      <a:pt x="106" y="99"/>
                      <a:pt x="106" y="99"/>
                      <a:pt x="105" y="100"/>
                    </a:cubicBezTo>
                    <a:cubicBezTo>
                      <a:pt x="105" y="100"/>
                      <a:pt x="105" y="100"/>
                      <a:pt x="105" y="100"/>
                    </a:cubicBezTo>
                    <a:cubicBezTo>
                      <a:pt x="105" y="100"/>
                      <a:pt x="105" y="100"/>
                      <a:pt x="105" y="100"/>
                    </a:cubicBezTo>
                    <a:cubicBezTo>
                      <a:pt x="105" y="100"/>
                      <a:pt x="105" y="100"/>
                      <a:pt x="104" y="100"/>
                    </a:cubicBezTo>
                    <a:cubicBezTo>
                      <a:pt x="104" y="100"/>
                      <a:pt x="104" y="101"/>
                      <a:pt x="103" y="101"/>
                    </a:cubicBezTo>
                    <a:cubicBezTo>
                      <a:pt x="102" y="101"/>
                      <a:pt x="101" y="101"/>
                      <a:pt x="100" y="101"/>
                    </a:cubicBezTo>
                    <a:cubicBezTo>
                      <a:pt x="98" y="101"/>
                      <a:pt x="97" y="101"/>
                      <a:pt x="96" y="101"/>
                    </a:cubicBezTo>
                    <a:cubicBezTo>
                      <a:pt x="96" y="101"/>
                      <a:pt x="96" y="101"/>
                      <a:pt x="96" y="101"/>
                    </a:cubicBezTo>
                    <a:cubicBezTo>
                      <a:pt x="95" y="101"/>
                      <a:pt x="94" y="101"/>
                      <a:pt x="94" y="101"/>
                    </a:cubicBezTo>
                    <a:cubicBezTo>
                      <a:pt x="92" y="101"/>
                      <a:pt x="92" y="101"/>
                      <a:pt x="92" y="101"/>
                    </a:cubicBezTo>
                    <a:cubicBezTo>
                      <a:pt x="92" y="99"/>
                      <a:pt x="92" y="99"/>
                      <a:pt x="92" y="99"/>
                    </a:cubicBezTo>
                    <a:cubicBezTo>
                      <a:pt x="93" y="99"/>
                      <a:pt x="93" y="99"/>
                      <a:pt x="92" y="98"/>
                    </a:cubicBezTo>
                    <a:cubicBezTo>
                      <a:pt x="92" y="98"/>
                      <a:pt x="92" y="98"/>
                      <a:pt x="92" y="98"/>
                    </a:cubicBezTo>
                    <a:cubicBezTo>
                      <a:pt x="92" y="98"/>
                      <a:pt x="92" y="98"/>
                      <a:pt x="92" y="97"/>
                    </a:cubicBezTo>
                    <a:cubicBezTo>
                      <a:pt x="92" y="97"/>
                      <a:pt x="92" y="97"/>
                      <a:pt x="92" y="97"/>
                    </a:cubicBezTo>
                    <a:cubicBezTo>
                      <a:pt x="91" y="95"/>
                      <a:pt x="87" y="95"/>
                      <a:pt x="85" y="95"/>
                    </a:cubicBezTo>
                    <a:cubicBezTo>
                      <a:pt x="84" y="95"/>
                      <a:pt x="84" y="95"/>
                      <a:pt x="83" y="95"/>
                    </a:cubicBezTo>
                    <a:cubicBezTo>
                      <a:pt x="80" y="95"/>
                      <a:pt x="80" y="95"/>
                      <a:pt x="80" y="95"/>
                    </a:cubicBezTo>
                    <a:cubicBezTo>
                      <a:pt x="82" y="93"/>
                      <a:pt x="82" y="93"/>
                      <a:pt x="82" y="93"/>
                    </a:cubicBezTo>
                    <a:cubicBezTo>
                      <a:pt x="84" y="91"/>
                      <a:pt x="85" y="90"/>
                      <a:pt x="85" y="90"/>
                    </a:cubicBezTo>
                    <a:cubicBezTo>
                      <a:pt x="84" y="90"/>
                      <a:pt x="84" y="89"/>
                      <a:pt x="84" y="89"/>
                    </a:cubicBezTo>
                    <a:cubicBezTo>
                      <a:pt x="83" y="89"/>
                      <a:pt x="83" y="88"/>
                      <a:pt x="83" y="88"/>
                    </a:cubicBezTo>
                    <a:cubicBezTo>
                      <a:pt x="83" y="88"/>
                      <a:pt x="83" y="88"/>
                      <a:pt x="83" y="88"/>
                    </a:cubicBezTo>
                    <a:cubicBezTo>
                      <a:pt x="81" y="86"/>
                      <a:pt x="80" y="85"/>
                      <a:pt x="79" y="83"/>
                    </a:cubicBezTo>
                    <a:cubicBezTo>
                      <a:pt x="78" y="82"/>
                      <a:pt x="78" y="81"/>
                      <a:pt x="78" y="80"/>
                    </a:cubicBezTo>
                    <a:cubicBezTo>
                      <a:pt x="77" y="79"/>
                      <a:pt x="77" y="78"/>
                      <a:pt x="77" y="78"/>
                    </a:cubicBezTo>
                    <a:cubicBezTo>
                      <a:pt x="77" y="77"/>
                      <a:pt x="76" y="77"/>
                      <a:pt x="75" y="76"/>
                    </a:cubicBezTo>
                    <a:cubicBezTo>
                      <a:pt x="75" y="76"/>
                      <a:pt x="75" y="76"/>
                      <a:pt x="74" y="75"/>
                    </a:cubicBezTo>
                    <a:cubicBezTo>
                      <a:pt x="73" y="74"/>
                      <a:pt x="73" y="74"/>
                      <a:pt x="73" y="74"/>
                    </a:cubicBezTo>
                    <a:cubicBezTo>
                      <a:pt x="74" y="74"/>
                      <a:pt x="74" y="74"/>
                      <a:pt x="74" y="74"/>
                    </a:cubicBezTo>
                    <a:cubicBezTo>
                      <a:pt x="74" y="73"/>
                      <a:pt x="75" y="73"/>
                      <a:pt x="76" y="73"/>
                    </a:cubicBezTo>
                    <a:cubicBezTo>
                      <a:pt x="76" y="72"/>
                      <a:pt x="76" y="72"/>
                      <a:pt x="77" y="72"/>
                    </a:cubicBezTo>
                    <a:cubicBezTo>
                      <a:pt x="77" y="72"/>
                      <a:pt x="77" y="72"/>
                      <a:pt x="77" y="72"/>
                    </a:cubicBezTo>
                    <a:cubicBezTo>
                      <a:pt x="76" y="70"/>
                      <a:pt x="76" y="70"/>
                      <a:pt x="76" y="68"/>
                    </a:cubicBezTo>
                    <a:cubicBezTo>
                      <a:pt x="77" y="66"/>
                      <a:pt x="79" y="65"/>
                      <a:pt x="80" y="64"/>
                    </a:cubicBezTo>
                    <a:cubicBezTo>
                      <a:pt x="80" y="64"/>
                      <a:pt x="81" y="64"/>
                      <a:pt x="81" y="64"/>
                    </a:cubicBezTo>
                    <a:cubicBezTo>
                      <a:pt x="81" y="64"/>
                      <a:pt x="81" y="64"/>
                      <a:pt x="81" y="64"/>
                    </a:cubicBezTo>
                    <a:cubicBezTo>
                      <a:pt x="82" y="63"/>
                      <a:pt x="82" y="63"/>
                      <a:pt x="82" y="63"/>
                    </a:cubicBezTo>
                    <a:cubicBezTo>
                      <a:pt x="83" y="63"/>
                      <a:pt x="83" y="63"/>
                      <a:pt x="83" y="62"/>
                    </a:cubicBezTo>
                    <a:cubicBezTo>
                      <a:pt x="83" y="62"/>
                      <a:pt x="83" y="62"/>
                      <a:pt x="83" y="62"/>
                    </a:cubicBezTo>
                    <a:cubicBezTo>
                      <a:pt x="83" y="62"/>
                      <a:pt x="82" y="62"/>
                      <a:pt x="82" y="62"/>
                    </a:cubicBezTo>
                    <a:cubicBezTo>
                      <a:pt x="82" y="61"/>
                      <a:pt x="82" y="61"/>
                      <a:pt x="82" y="60"/>
                    </a:cubicBezTo>
                    <a:cubicBezTo>
                      <a:pt x="82" y="60"/>
                      <a:pt x="82" y="60"/>
                      <a:pt x="82" y="60"/>
                    </a:cubicBezTo>
                    <a:cubicBezTo>
                      <a:pt x="82" y="60"/>
                      <a:pt x="82" y="59"/>
                      <a:pt x="83" y="59"/>
                    </a:cubicBezTo>
                    <a:cubicBezTo>
                      <a:pt x="83" y="59"/>
                      <a:pt x="83" y="59"/>
                      <a:pt x="83" y="59"/>
                    </a:cubicBezTo>
                    <a:cubicBezTo>
                      <a:pt x="83" y="58"/>
                      <a:pt x="83" y="58"/>
                      <a:pt x="83" y="57"/>
                    </a:cubicBezTo>
                    <a:cubicBezTo>
                      <a:pt x="83" y="57"/>
                      <a:pt x="83" y="57"/>
                      <a:pt x="83" y="57"/>
                    </a:cubicBezTo>
                    <a:cubicBezTo>
                      <a:pt x="84" y="56"/>
                      <a:pt x="84" y="56"/>
                      <a:pt x="84" y="55"/>
                    </a:cubicBezTo>
                    <a:cubicBezTo>
                      <a:pt x="84" y="55"/>
                      <a:pt x="84" y="55"/>
                      <a:pt x="84" y="55"/>
                    </a:cubicBezTo>
                    <a:cubicBezTo>
                      <a:pt x="84" y="54"/>
                      <a:pt x="84" y="54"/>
                      <a:pt x="84" y="54"/>
                    </a:cubicBezTo>
                    <a:cubicBezTo>
                      <a:pt x="84" y="54"/>
                      <a:pt x="84" y="54"/>
                      <a:pt x="84" y="54"/>
                    </a:cubicBezTo>
                    <a:cubicBezTo>
                      <a:pt x="85" y="53"/>
                      <a:pt x="85" y="52"/>
                      <a:pt x="85" y="51"/>
                    </a:cubicBezTo>
                    <a:cubicBezTo>
                      <a:pt x="85" y="50"/>
                      <a:pt x="85" y="50"/>
                      <a:pt x="85" y="50"/>
                    </a:cubicBezTo>
                    <a:cubicBezTo>
                      <a:pt x="86" y="49"/>
                      <a:pt x="86" y="49"/>
                      <a:pt x="86" y="48"/>
                    </a:cubicBezTo>
                    <a:cubicBezTo>
                      <a:pt x="87" y="48"/>
                      <a:pt x="87" y="48"/>
                      <a:pt x="87" y="48"/>
                    </a:cubicBezTo>
                    <a:cubicBezTo>
                      <a:pt x="88" y="48"/>
                      <a:pt x="88" y="48"/>
                      <a:pt x="88" y="47"/>
                    </a:cubicBezTo>
                    <a:cubicBezTo>
                      <a:pt x="89" y="47"/>
                      <a:pt x="89" y="47"/>
                      <a:pt x="90" y="46"/>
                    </a:cubicBezTo>
                    <a:cubicBezTo>
                      <a:pt x="91" y="45"/>
                      <a:pt x="92" y="45"/>
                      <a:pt x="92" y="44"/>
                    </a:cubicBezTo>
                    <a:cubicBezTo>
                      <a:pt x="95" y="43"/>
                      <a:pt x="97" y="42"/>
                      <a:pt x="99" y="42"/>
                    </a:cubicBezTo>
                    <a:cubicBezTo>
                      <a:pt x="99" y="42"/>
                      <a:pt x="99" y="42"/>
                      <a:pt x="99" y="42"/>
                    </a:cubicBezTo>
                    <a:cubicBezTo>
                      <a:pt x="99" y="42"/>
                      <a:pt x="100" y="42"/>
                      <a:pt x="100" y="42"/>
                    </a:cubicBezTo>
                    <a:cubicBezTo>
                      <a:pt x="100" y="42"/>
                      <a:pt x="100" y="42"/>
                      <a:pt x="100" y="42"/>
                    </a:cubicBezTo>
                    <a:cubicBezTo>
                      <a:pt x="101" y="41"/>
                      <a:pt x="103" y="41"/>
                      <a:pt x="104" y="41"/>
                    </a:cubicBezTo>
                    <a:cubicBezTo>
                      <a:pt x="105" y="41"/>
                      <a:pt x="105" y="41"/>
                      <a:pt x="105" y="41"/>
                    </a:cubicBezTo>
                    <a:cubicBezTo>
                      <a:pt x="105" y="41"/>
                      <a:pt x="106" y="41"/>
                      <a:pt x="106" y="41"/>
                    </a:cubicBezTo>
                    <a:cubicBezTo>
                      <a:pt x="106" y="41"/>
                      <a:pt x="106" y="40"/>
                      <a:pt x="106" y="40"/>
                    </a:cubicBezTo>
                    <a:cubicBezTo>
                      <a:pt x="107" y="40"/>
                      <a:pt x="107" y="40"/>
                      <a:pt x="107" y="40"/>
                    </a:cubicBezTo>
                    <a:cubicBezTo>
                      <a:pt x="107" y="39"/>
                      <a:pt x="108" y="39"/>
                      <a:pt x="108" y="39"/>
                    </a:cubicBezTo>
                    <a:cubicBezTo>
                      <a:pt x="109" y="39"/>
                      <a:pt x="109" y="39"/>
                      <a:pt x="109" y="39"/>
                    </a:cubicBezTo>
                    <a:cubicBezTo>
                      <a:pt x="109" y="39"/>
                      <a:pt x="109" y="39"/>
                      <a:pt x="109" y="39"/>
                    </a:cubicBezTo>
                    <a:cubicBezTo>
                      <a:pt x="109" y="38"/>
                      <a:pt x="109" y="38"/>
                      <a:pt x="110" y="38"/>
                    </a:cubicBezTo>
                    <a:cubicBezTo>
                      <a:pt x="110" y="38"/>
                      <a:pt x="110" y="38"/>
                      <a:pt x="110" y="38"/>
                    </a:cubicBezTo>
                    <a:cubicBezTo>
                      <a:pt x="110" y="38"/>
                      <a:pt x="109" y="38"/>
                      <a:pt x="109" y="38"/>
                    </a:cubicBezTo>
                    <a:cubicBezTo>
                      <a:pt x="109" y="37"/>
                      <a:pt x="108" y="37"/>
                      <a:pt x="108" y="36"/>
                    </a:cubicBezTo>
                    <a:cubicBezTo>
                      <a:pt x="108" y="36"/>
                      <a:pt x="108" y="35"/>
                      <a:pt x="109" y="34"/>
                    </a:cubicBezTo>
                    <a:cubicBezTo>
                      <a:pt x="109" y="33"/>
                      <a:pt x="109" y="33"/>
                      <a:pt x="109" y="33"/>
                    </a:cubicBezTo>
                    <a:cubicBezTo>
                      <a:pt x="110" y="32"/>
                      <a:pt x="110" y="31"/>
                      <a:pt x="111" y="30"/>
                    </a:cubicBezTo>
                    <a:cubicBezTo>
                      <a:pt x="111" y="30"/>
                      <a:pt x="111" y="30"/>
                      <a:pt x="111" y="30"/>
                    </a:cubicBezTo>
                    <a:cubicBezTo>
                      <a:pt x="112" y="29"/>
                      <a:pt x="113" y="27"/>
                      <a:pt x="114" y="26"/>
                    </a:cubicBezTo>
                    <a:cubicBezTo>
                      <a:pt x="114" y="25"/>
                      <a:pt x="114" y="25"/>
                      <a:pt x="114" y="25"/>
                    </a:cubicBezTo>
                    <a:cubicBezTo>
                      <a:pt x="114" y="25"/>
                      <a:pt x="114" y="25"/>
                      <a:pt x="114" y="25"/>
                    </a:cubicBezTo>
                    <a:cubicBezTo>
                      <a:pt x="114" y="25"/>
                      <a:pt x="113" y="25"/>
                      <a:pt x="113" y="25"/>
                    </a:cubicBezTo>
                    <a:cubicBezTo>
                      <a:pt x="113" y="24"/>
                      <a:pt x="112" y="24"/>
                      <a:pt x="112" y="24"/>
                    </a:cubicBezTo>
                    <a:cubicBezTo>
                      <a:pt x="112" y="24"/>
                      <a:pt x="112" y="24"/>
                      <a:pt x="112" y="24"/>
                    </a:cubicBezTo>
                    <a:cubicBezTo>
                      <a:pt x="112" y="24"/>
                      <a:pt x="111" y="24"/>
                      <a:pt x="111" y="24"/>
                    </a:cubicBezTo>
                    <a:cubicBezTo>
                      <a:pt x="111" y="24"/>
                      <a:pt x="111" y="24"/>
                      <a:pt x="111" y="24"/>
                    </a:cubicBezTo>
                    <a:cubicBezTo>
                      <a:pt x="110" y="23"/>
                      <a:pt x="109" y="23"/>
                      <a:pt x="108" y="23"/>
                    </a:cubicBezTo>
                    <a:cubicBezTo>
                      <a:pt x="108" y="23"/>
                      <a:pt x="108" y="22"/>
                      <a:pt x="108" y="22"/>
                    </a:cubicBezTo>
                    <a:cubicBezTo>
                      <a:pt x="107" y="22"/>
                      <a:pt x="107" y="22"/>
                      <a:pt x="107" y="22"/>
                    </a:cubicBezTo>
                    <a:cubicBezTo>
                      <a:pt x="107" y="22"/>
                      <a:pt x="107" y="22"/>
                      <a:pt x="107" y="22"/>
                    </a:cubicBezTo>
                    <a:cubicBezTo>
                      <a:pt x="106" y="22"/>
                      <a:pt x="106" y="22"/>
                      <a:pt x="106" y="22"/>
                    </a:cubicBezTo>
                    <a:cubicBezTo>
                      <a:pt x="106" y="22"/>
                      <a:pt x="106" y="22"/>
                      <a:pt x="106" y="22"/>
                    </a:cubicBezTo>
                    <a:cubicBezTo>
                      <a:pt x="105" y="22"/>
                      <a:pt x="105" y="22"/>
                      <a:pt x="105" y="22"/>
                    </a:cubicBezTo>
                    <a:cubicBezTo>
                      <a:pt x="105" y="22"/>
                      <a:pt x="105" y="22"/>
                      <a:pt x="105" y="22"/>
                    </a:cubicBezTo>
                    <a:cubicBezTo>
                      <a:pt x="105" y="22"/>
                      <a:pt x="105" y="22"/>
                      <a:pt x="105" y="22"/>
                    </a:cubicBezTo>
                    <a:cubicBezTo>
                      <a:pt x="105" y="22"/>
                      <a:pt x="104" y="23"/>
                      <a:pt x="104" y="23"/>
                    </a:cubicBezTo>
                    <a:cubicBezTo>
                      <a:pt x="104" y="23"/>
                      <a:pt x="103" y="23"/>
                      <a:pt x="103" y="23"/>
                    </a:cubicBezTo>
                    <a:cubicBezTo>
                      <a:pt x="102" y="23"/>
                      <a:pt x="102" y="23"/>
                      <a:pt x="102" y="23"/>
                    </a:cubicBezTo>
                    <a:cubicBezTo>
                      <a:pt x="101" y="23"/>
                      <a:pt x="100" y="22"/>
                      <a:pt x="99" y="22"/>
                    </a:cubicBezTo>
                    <a:cubicBezTo>
                      <a:pt x="99" y="22"/>
                      <a:pt x="99" y="22"/>
                      <a:pt x="99" y="22"/>
                    </a:cubicBezTo>
                    <a:cubicBezTo>
                      <a:pt x="99" y="22"/>
                      <a:pt x="98" y="22"/>
                      <a:pt x="98" y="22"/>
                    </a:cubicBezTo>
                    <a:cubicBezTo>
                      <a:pt x="98" y="22"/>
                      <a:pt x="98" y="22"/>
                      <a:pt x="98" y="22"/>
                    </a:cubicBezTo>
                    <a:cubicBezTo>
                      <a:pt x="97" y="23"/>
                      <a:pt x="97" y="23"/>
                      <a:pt x="96" y="23"/>
                    </a:cubicBezTo>
                    <a:cubicBezTo>
                      <a:pt x="96" y="23"/>
                      <a:pt x="96" y="23"/>
                      <a:pt x="96" y="23"/>
                    </a:cubicBezTo>
                    <a:cubicBezTo>
                      <a:pt x="96" y="23"/>
                      <a:pt x="95" y="23"/>
                      <a:pt x="95" y="24"/>
                    </a:cubicBezTo>
                    <a:cubicBezTo>
                      <a:pt x="95" y="24"/>
                      <a:pt x="94" y="24"/>
                      <a:pt x="94" y="24"/>
                    </a:cubicBezTo>
                    <a:cubicBezTo>
                      <a:pt x="94" y="24"/>
                      <a:pt x="94" y="24"/>
                      <a:pt x="94" y="24"/>
                    </a:cubicBezTo>
                    <a:cubicBezTo>
                      <a:pt x="94" y="24"/>
                      <a:pt x="93" y="24"/>
                      <a:pt x="93" y="24"/>
                    </a:cubicBezTo>
                    <a:cubicBezTo>
                      <a:pt x="93" y="24"/>
                      <a:pt x="93" y="24"/>
                      <a:pt x="93" y="24"/>
                    </a:cubicBezTo>
                    <a:cubicBezTo>
                      <a:pt x="92" y="24"/>
                      <a:pt x="92" y="24"/>
                      <a:pt x="92" y="24"/>
                    </a:cubicBezTo>
                    <a:cubicBezTo>
                      <a:pt x="92" y="24"/>
                      <a:pt x="92" y="24"/>
                      <a:pt x="92" y="24"/>
                    </a:cubicBezTo>
                    <a:cubicBezTo>
                      <a:pt x="91" y="24"/>
                      <a:pt x="91" y="24"/>
                      <a:pt x="91" y="24"/>
                    </a:cubicBezTo>
                    <a:cubicBezTo>
                      <a:pt x="91" y="24"/>
                      <a:pt x="91" y="24"/>
                      <a:pt x="91" y="24"/>
                    </a:cubicBezTo>
                    <a:cubicBezTo>
                      <a:pt x="91" y="23"/>
                      <a:pt x="90" y="23"/>
                      <a:pt x="90" y="23"/>
                    </a:cubicBezTo>
                    <a:cubicBezTo>
                      <a:pt x="90" y="23"/>
                      <a:pt x="90" y="23"/>
                      <a:pt x="90" y="23"/>
                    </a:cubicBezTo>
                    <a:cubicBezTo>
                      <a:pt x="90" y="24"/>
                      <a:pt x="90" y="24"/>
                      <a:pt x="89" y="24"/>
                    </a:cubicBezTo>
                    <a:cubicBezTo>
                      <a:pt x="89" y="24"/>
                      <a:pt x="88" y="24"/>
                      <a:pt x="88" y="24"/>
                    </a:cubicBezTo>
                    <a:cubicBezTo>
                      <a:pt x="87" y="24"/>
                      <a:pt x="87" y="24"/>
                      <a:pt x="87" y="24"/>
                    </a:cubicBezTo>
                    <a:cubicBezTo>
                      <a:pt x="84" y="24"/>
                      <a:pt x="84" y="21"/>
                      <a:pt x="83" y="20"/>
                    </a:cubicBezTo>
                    <a:cubicBezTo>
                      <a:pt x="83" y="19"/>
                      <a:pt x="83" y="19"/>
                      <a:pt x="83" y="19"/>
                    </a:cubicBezTo>
                    <a:cubicBezTo>
                      <a:pt x="83" y="19"/>
                      <a:pt x="83" y="19"/>
                      <a:pt x="83" y="19"/>
                    </a:cubicBezTo>
                    <a:cubicBezTo>
                      <a:pt x="83" y="19"/>
                      <a:pt x="83" y="19"/>
                      <a:pt x="83" y="19"/>
                    </a:cubicBezTo>
                    <a:cubicBezTo>
                      <a:pt x="83" y="18"/>
                      <a:pt x="83" y="18"/>
                      <a:pt x="83" y="18"/>
                    </a:cubicBezTo>
                    <a:cubicBezTo>
                      <a:pt x="83" y="18"/>
                      <a:pt x="83" y="18"/>
                      <a:pt x="83" y="18"/>
                    </a:cubicBezTo>
                    <a:cubicBezTo>
                      <a:pt x="83" y="18"/>
                      <a:pt x="83" y="18"/>
                      <a:pt x="83" y="18"/>
                    </a:cubicBezTo>
                    <a:cubicBezTo>
                      <a:pt x="83" y="18"/>
                      <a:pt x="83" y="17"/>
                      <a:pt x="83" y="17"/>
                    </a:cubicBezTo>
                    <a:cubicBezTo>
                      <a:pt x="83" y="17"/>
                      <a:pt x="83" y="17"/>
                      <a:pt x="83" y="17"/>
                    </a:cubicBezTo>
                    <a:cubicBezTo>
                      <a:pt x="82" y="17"/>
                      <a:pt x="82" y="17"/>
                      <a:pt x="82" y="17"/>
                    </a:cubicBezTo>
                    <a:cubicBezTo>
                      <a:pt x="82" y="17"/>
                      <a:pt x="82" y="18"/>
                      <a:pt x="82" y="17"/>
                    </a:cubicBezTo>
                    <a:cubicBezTo>
                      <a:pt x="81" y="17"/>
                      <a:pt x="81" y="17"/>
                      <a:pt x="81" y="17"/>
                    </a:cubicBezTo>
                    <a:cubicBezTo>
                      <a:pt x="81" y="20"/>
                      <a:pt x="81" y="20"/>
                      <a:pt x="81" y="20"/>
                    </a:cubicBezTo>
                    <a:cubicBezTo>
                      <a:pt x="81" y="17"/>
                      <a:pt x="81" y="17"/>
                      <a:pt x="81" y="17"/>
                    </a:cubicBezTo>
                    <a:cubicBezTo>
                      <a:pt x="81" y="17"/>
                      <a:pt x="81" y="17"/>
                      <a:pt x="81" y="17"/>
                    </a:cubicBezTo>
                    <a:cubicBezTo>
                      <a:pt x="80" y="17"/>
                      <a:pt x="80" y="17"/>
                      <a:pt x="80" y="17"/>
                    </a:cubicBezTo>
                    <a:cubicBezTo>
                      <a:pt x="80" y="17"/>
                      <a:pt x="80" y="17"/>
                      <a:pt x="80" y="17"/>
                    </a:cubicBezTo>
                    <a:cubicBezTo>
                      <a:pt x="80" y="17"/>
                      <a:pt x="80" y="16"/>
                      <a:pt x="80" y="16"/>
                    </a:cubicBezTo>
                    <a:cubicBezTo>
                      <a:pt x="79" y="16"/>
                      <a:pt x="79" y="16"/>
                      <a:pt x="79" y="16"/>
                    </a:cubicBezTo>
                    <a:cubicBezTo>
                      <a:pt x="79" y="15"/>
                      <a:pt x="79" y="15"/>
                      <a:pt x="79" y="14"/>
                    </a:cubicBezTo>
                    <a:cubicBezTo>
                      <a:pt x="79" y="14"/>
                      <a:pt x="79" y="14"/>
                      <a:pt x="79" y="14"/>
                    </a:cubicBezTo>
                    <a:cubicBezTo>
                      <a:pt x="79" y="14"/>
                      <a:pt x="79" y="14"/>
                      <a:pt x="79" y="14"/>
                    </a:cubicBezTo>
                    <a:cubicBezTo>
                      <a:pt x="79" y="14"/>
                      <a:pt x="79" y="13"/>
                      <a:pt x="79" y="13"/>
                    </a:cubicBezTo>
                    <a:cubicBezTo>
                      <a:pt x="79" y="13"/>
                      <a:pt x="79" y="13"/>
                      <a:pt x="79" y="12"/>
                    </a:cubicBezTo>
                    <a:cubicBezTo>
                      <a:pt x="79" y="12"/>
                      <a:pt x="79" y="12"/>
                      <a:pt x="79" y="12"/>
                    </a:cubicBezTo>
                    <a:cubicBezTo>
                      <a:pt x="78" y="12"/>
                      <a:pt x="78" y="12"/>
                      <a:pt x="77" y="12"/>
                    </a:cubicBezTo>
                    <a:cubicBezTo>
                      <a:pt x="77" y="12"/>
                      <a:pt x="76" y="11"/>
                      <a:pt x="76" y="11"/>
                    </a:cubicBezTo>
                    <a:cubicBezTo>
                      <a:pt x="75" y="11"/>
                      <a:pt x="75" y="10"/>
                      <a:pt x="75" y="10"/>
                    </a:cubicBezTo>
                    <a:cubicBezTo>
                      <a:pt x="74" y="10"/>
                      <a:pt x="74" y="10"/>
                      <a:pt x="74" y="10"/>
                    </a:cubicBezTo>
                    <a:cubicBezTo>
                      <a:pt x="74" y="9"/>
                      <a:pt x="74" y="9"/>
                      <a:pt x="73" y="9"/>
                    </a:cubicBezTo>
                    <a:cubicBezTo>
                      <a:pt x="73" y="9"/>
                      <a:pt x="72" y="9"/>
                      <a:pt x="72" y="9"/>
                    </a:cubicBezTo>
                    <a:cubicBezTo>
                      <a:pt x="71" y="8"/>
                      <a:pt x="71" y="7"/>
                      <a:pt x="70" y="5"/>
                    </a:cubicBezTo>
                    <a:cubicBezTo>
                      <a:pt x="70" y="5"/>
                      <a:pt x="70" y="5"/>
                      <a:pt x="70" y="4"/>
                    </a:cubicBezTo>
                    <a:cubicBezTo>
                      <a:pt x="70" y="4"/>
                      <a:pt x="70" y="4"/>
                      <a:pt x="70" y="4"/>
                    </a:cubicBezTo>
                    <a:cubicBezTo>
                      <a:pt x="70" y="4"/>
                      <a:pt x="69" y="3"/>
                      <a:pt x="68" y="2"/>
                    </a:cubicBezTo>
                    <a:cubicBezTo>
                      <a:pt x="67" y="1"/>
                      <a:pt x="67" y="1"/>
                      <a:pt x="67" y="1"/>
                    </a:cubicBezTo>
                    <a:cubicBezTo>
                      <a:pt x="67" y="1"/>
                      <a:pt x="66" y="1"/>
                      <a:pt x="66" y="1"/>
                    </a:cubicBezTo>
                    <a:cubicBezTo>
                      <a:pt x="66" y="0"/>
                      <a:pt x="66" y="0"/>
                      <a:pt x="66" y="0"/>
                    </a:cubicBezTo>
                    <a:cubicBezTo>
                      <a:pt x="66" y="0"/>
                      <a:pt x="66" y="0"/>
                      <a:pt x="66" y="0"/>
                    </a:cubicBezTo>
                    <a:cubicBezTo>
                      <a:pt x="66" y="0"/>
                      <a:pt x="66" y="0"/>
                      <a:pt x="66" y="0"/>
                    </a:cubicBezTo>
                    <a:cubicBezTo>
                      <a:pt x="65" y="0"/>
                      <a:pt x="65" y="0"/>
                      <a:pt x="65" y="0"/>
                    </a:cubicBezTo>
                    <a:cubicBezTo>
                      <a:pt x="65" y="0"/>
                      <a:pt x="65" y="0"/>
                      <a:pt x="65" y="0"/>
                    </a:cubicBezTo>
                    <a:cubicBezTo>
                      <a:pt x="62" y="0"/>
                      <a:pt x="62" y="0"/>
                      <a:pt x="62" y="0"/>
                    </a:cubicBezTo>
                    <a:cubicBezTo>
                      <a:pt x="62" y="0"/>
                      <a:pt x="62" y="0"/>
                      <a:pt x="62" y="0"/>
                    </a:cubicBezTo>
                    <a:cubicBezTo>
                      <a:pt x="62" y="0"/>
                      <a:pt x="62" y="0"/>
                      <a:pt x="61" y="0"/>
                    </a:cubicBezTo>
                    <a:cubicBezTo>
                      <a:pt x="61" y="0"/>
                      <a:pt x="61" y="0"/>
                      <a:pt x="61" y="0"/>
                    </a:cubicBezTo>
                    <a:cubicBezTo>
                      <a:pt x="62" y="1"/>
                      <a:pt x="62" y="1"/>
                      <a:pt x="62" y="1"/>
                    </a:cubicBezTo>
                    <a:cubicBezTo>
                      <a:pt x="62" y="1"/>
                      <a:pt x="62" y="1"/>
                      <a:pt x="62" y="1"/>
                    </a:cubicBezTo>
                    <a:cubicBezTo>
                      <a:pt x="62" y="1"/>
                      <a:pt x="62" y="1"/>
                      <a:pt x="62" y="1"/>
                    </a:cubicBezTo>
                    <a:cubicBezTo>
                      <a:pt x="62" y="1"/>
                      <a:pt x="62" y="2"/>
                      <a:pt x="62" y="2"/>
                    </a:cubicBezTo>
                    <a:cubicBezTo>
                      <a:pt x="63" y="2"/>
                      <a:pt x="63" y="3"/>
                      <a:pt x="63" y="3"/>
                    </a:cubicBezTo>
                    <a:cubicBezTo>
                      <a:pt x="63" y="4"/>
                      <a:pt x="64" y="4"/>
                      <a:pt x="64" y="5"/>
                    </a:cubicBezTo>
                    <a:cubicBezTo>
                      <a:pt x="64" y="6"/>
                      <a:pt x="64" y="7"/>
                      <a:pt x="64" y="7"/>
                    </a:cubicBezTo>
                    <a:cubicBezTo>
                      <a:pt x="64" y="8"/>
                      <a:pt x="63" y="9"/>
                      <a:pt x="63" y="9"/>
                    </a:cubicBezTo>
                    <a:cubicBezTo>
                      <a:pt x="62" y="10"/>
                      <a:pt x="62" y="10"/>
                      <a:pt x="62" y="10"/>
                    </a:cubicBezTo>
                    <a:cubicBezTo>
                      <a:pt x="62" y="11"/>
                      <a:pt x="62" y="11"/>
                      <a:pt x="62" y="11"/>
                    </a:cubicBezTo>
                    <a:cubicBezTo>
                      <a:pt x="62" y="11"/>
                      <a:pt x="62" y="11"/>
                      <a:pt x="62" y="11"/>
                    </a:cubicBezTo>
                    <a:cubicBezTo>
                      <a:pt x="61" y="11"/>
                      <a:pt x="61" y="11"/>
                      <a:pt x="61" y="11"/>
                    </a:cubicBezTo>
                    <a:cubicBezTo>
                      <a:pt x="61" y="12"/>
                      <a:pt x="60" y="13"/>
                      <a:pt x="60" y="14"/>
                    </a:cubicBezTo>
                    <a:cubicBezTo>
                      <a:pt x="60" y="14"/>
                      <a:pt x="60" y="14"/>
                      <a:pt x="59" y="14"/>
                    </a:cubicBezTo>
                    <a:cubicBezTo>
                      <a:pt x="59" y="15"/>
                      <a:pt x="59" y="15"/>
                      <a:pt x="59" y="15"/>
                    </a:cubicBezTo>
                    <a:cubicBezTo>
                      <a:pt x="58" y="16"/>
                      <a:pt x="58" y="17"/>
                      <a:pt x="57" y="18"/>
                    </a:cubicBezTo>
                    <a:cubicBezTo>
                      <a:pt x="56" y="18"/>
                      <a:pt x="55" y="19"/>
                      <a:pt x="55" y="20"/>
                    </a:cubicBezTo>
                    <a:cubicBezTo>
                      <a:pt x="53" y="21"/>
                      <a:pt x="51" y="23"/>
                      <a:pt x="49" y="24"/>
                    </a:cubicBezTo>
                    <a:cubicBezTo>
                      <a:pt x="48" y="26"/>
                      <a:pt x="45" y="26"/>
                      <a:pt x="43" y="27"/>
                    </a:cubicBezTo>
                    <a:cubicBezTo>
                      <a:pt x="42" y="27"/>
                      <a:pt x="42" y="27"/>
                      <a:pt x="42" y="27"/>
                    </a:cubicBezTo>
                    <a:cubicBezTo>
                      <a:pt x="41" y="27"/>
                      <a:pt x="41" y="27"/>
                      <a:pt x="40" y="28"/>
                    </a:cubicBezTo>
                    <a:cubicBezTo>
                      <a:pt x="38" y="28"/>
                      <a:pt x="37" y="29"/>
                      <a:pt x="35" y="30"/>
                    </a:cubicBezTo>
                    <a:cubicBezTo>
                      <a:pt x="35" y="30"/>
                      <a:pt x="35" y="30"/>
                      <a:pt x="35" y="30"/>
                    </a:cubicBezTo>
                    <a:cubicBezTo>
                      <a:pt x="35" y="31"/>
                      <a:pt x="35" y="31"/>
                      <a:pt x="35" y="31"/>
                    </a:cubicBezTo>
                    <a:cubicBezTo>
                      <a:pt x="35" y="31"/>
                      <a:pt x="34" y="32"/>
                      <a:pt x="34" y="32"/>
                    </a:cubicBezTo>
                    <a:cubicBezTo>
                      <a:pt x="34" y="32"/>
                      <a:pt x="34" y="32"/>
                      <a:pt x="34" y="32"/>
                    </a:cubicBezTo>
                    <a:cubicBezTo>
                      <a:pt x="34" y="33"/>
                      <a:pt x="34" y="34"/>
                      <a:pt x="33" y="34"/>
                    </a:cubicBezTo>
                    <a:cubicBezTo>
                      <a:pt x="32" y="34"/>
                      <a:pt x="32" y="34"/>
                      <a:pt x="32" y="35"/>
                    </a:cubicBezTo>
                    <a:cubicBezTo>
                      <a:pt x="32" y="35"/>
                      <a:pt x="31" y="35"/>
                      <a:pt x="31" y="36"/>
                    </a:cubicBezTo>
                    <a:cubicBezTo>
                      <a:pt x="31" y="36"/>
                      <a:pt x="31" y="36"/>
                      <a:pt x="31" y="36"/>
                    </a:cubicBezTo>
                    <a:cubicBezTo>
                      <a:pt x="31" y="39"/>
                      <a:pt x="30" y="42"/>
                      <a:pt x="28" y="45"/>
                    </a:cubicBezTo>
                    <a:cubicBezTo>
                      <a:pt x="28" y="46"/>
                      <a:pt x="27" y="46"/>
                      <a:pt x="26" y="47"/>
                    </a:cubicBezTo>
                    <a:cubicBezTo>
                      <a:pt x="26" y="47"/>
                      <a:pt x="26" y="47"/>
                      <a:pt x="26" y="47"/>
                    </a:cubicBezTo>
                    <a:cubicBezTo>
                      <a:pt x="26" y="48"/>
                      <a:pt x="25" y="48"/>
                      <a:pt x="25" y="48"/>
                    </a:cubicBezTo>
                    <a:cubicBezTo>
                      <a:pt x="25" y="49"/>
                      <a:pt x="25" y="49"/>
                      <a:pt x="25" y="49"/>
                    </a:cubicBezTo>
                    <a:cubicBezTo>
                      <a:pt x="25" y="49"/>
                      <a:pt x="24" y="49"/>
                      <a:pt x="24" y="49"/>
                    </a:cubicBezTo>
                    <a:cubicBezTo>
                      <a:pt x="24" y="49"/>
                      <a:pt x="24" y="49"/>
                      <a:pt x="24" y="49"/>
                    </a:cubicBezTo>
                    <a:cubicBezTo>
                      <a:pt x="24" y="50"/>
                      <a:pt x="23" y="50"/>
                      <a:pt x="23" y="50"/>
                    </a:cubicBezTo>
                    <a:cubicBezTo>
                      <a:pt x="23" y="50"/>
                      <a:pt x="22" y="50"/>
                      <a:pt x="22" y="49"/>
                    </a:cubicBezTo>
                    <a:cubicBezTo>
                      <a:pt x="22" y="49"/>
                      <a:pt x="22" y="49"/>
                      <a:pt x="22" y="49"/>
                    </a:cubicBezTo>
                    <a:cubicBezTo>
                      <a:pt x="20" y="49"/>
                      <a:pt x="19" y="48"/>
                      <a:pt x="19" y="47"/>
                    </a:cubicBezTo>
                    <a:cubicBezTo>
                      <a:pt x="19" y="47"/>
                      <a:pt x="18" y="47"/>
                      <a:pt x="18" y="47"/>
                    </a:cubicBezTo>
                    <a:cubicBezTo>
                      <a:pt x="18" y="46"/>
                      <a:pt x="18" y="46"/>
                      <a:pt x="18" y="45"/>
                    </a:cubicBezTo>
                    <a:cubicBezTo>
                      <a:pt x="17" y="45"/>
                      <a:pt x="17" y="44"/>
                      <a:pt x="17" y="44"/>
                    </a:cubicBezTo>
                    <a:cubicBezTo>
                      <a:pt x="17" y="44"/>
                      <a:pt x="17" y="44"/>
                      <a:pt x="17" y="44"/>
                    </a:cubicBezTo>
                    <a:cubicBezTo>
                      <a:pt x="16" y="44"/>
                      <a:pt x="16" y="44"/>
                      <a:pt x="16" y="44"/>
                    </a:cubicBezTo>
                    <a:cubicBezTo>
                      <a:pt x="16" y="44"/>
                      <a:pt x="16" y="44"/>
                      <a:pt x="16" y="44"/>
                    </a:cubicBezTo>
                    <a:cubicBezTo>
                      <a:pt x="15" y="44"/>
                      <a:pt x="15" y="44"/>
                      <a:pt x="14" y="43"/>
                    </a:cubicBezTo>
                    <a:cubicBezTo>
                      <a:pt x="14" y="43"/>
                      <a:pt x="14" y="43"/>
                      <a:pt x="14" y="43"/>
                    </a:cubicBezTo>
                    <a:cubicBezTo>
                      <a:pt x="13" y="43"/>
                      <a:pt x="13" y="43"/>
                      <a:pt x="13" y="43"/>
                    </a:cubicBezTo>
                    <a:cubicBezTo>
                      <a:pt x="13" y="43"/>
                      <a:pt x="12" y="43"/>
                      <a:pt x="12" y="43"/>
                    </a:cubicBezTo>
                    <a:cubicBezTo>
                      <a:pt x="12" y="43"/>
                      <a:pt x="12" y="43"/>
                      <a:pt x="12" y="43"/>
                    </a:cubicBezTo>
                    <a:cubicBezTo>
                      <a:pt x="11" y="43"/>
                      <a:pt x="11" y="44"/>
                      <a:pt x="10" y="44"/>
                    </a:cubicBezTo>
                    <a:cubicBezTo>
                      <a:pt x="10" y="44"/>
                      <a:pt x="10" y="44"/>
                      <a:pt x="10" y="44"/>
                    </a:cubicBezTo>
                    <a:cubicBezTo>
                      <a:pt x="10" y="44"/>
                      <a:pt x="9" y="44"/>
                      <a:pt x="9" y="44"/>
                    </a:cubicBezTo>
                    <a:cubicBezTo>
                      <a:pt x="9" y="44"/>
                      <a:pt x="9" y="44"/>
                      <a:pt x="9" y="44"/>
                    </a:cubicBezTo>
                    <a:cubicBezTo>
                      <a:pt x="9" y="44"/>
                      <a:pt x="8" y="44"/>
                      <a:pt x="8" y="43"/>
                    </a:cubicBezTo>
                    <a:cubicBezTo>
                      <a:pt x="8" y="43"/>
                      <a:pt x="8" y="42"/>
                      <a:pt x="8" y="42"/>
                    </a:cubicBezTo>
                    <a:cubicBezTo>
                      <a:pt x="8" y="42"/>
                      <a:pt x="8" y="42"/>
                      <a:pt x="8" y="42"/>
                    </a:cubicBezTo>
                    <a:cubicBezTo>
                      <a:pt x="8" y="41"/>
                      <a:pt x="8" y="41"/>
                      <a:pt x="8" y="41"/>
                    </a:cubicBezTo>
                    <a:cubicBezTo>
                      <a:pt x="8" y="41"/>
                      <a:pt x="8" y="41"/>
                      <a:pt x="8" y="41"/>
                    </a:cubicBezTo>
                    <a:cubicBezTo>
                      <a:pt x="8" y="41"/>
                      <a:pt x="8" y="41"/>
                      <a:pt x="8" y="41"/>
                    </a:cubicBezTo>
                    <a:cubicBezTo>
                      <a:pt x="8" y="40"/>
                      <a:pt x="7" y="38"/>
                      <a:pt x="8" y="37"/>
                    </a:cubicBezTo>
                    <a:cubicBezTo>
                      <a:pt x="9" y="37"/>
                      <a:pt x="9" y="37"/>
                      <a:pt x="9" y="37"/>
                    </a:cubicBezTo>
                    <a:cubicBezTo>
                      <a:pt x="9" y="37"/>
                      <a:pt x="9" y="37"/>
                      <a:pt x="9" y="37"/>
                    </a:cubicBezTo>
                    <a:cubicBezTo>
                      <a:pt x="9" y="37"/>
                      <a:pt x="10" y="37"/>
                      <a:pt x="11" y="36"/>
                    </a:cubicBezTo>
                    <a:cubicBezTo>
                      <a:pt x="11" y="36"/>
                      <a:pt x="11" y="36"/>
                      <a:pt x="11" y="36"/>
                    </a:cubicBezTo>
                    <a:cubicBezTo>
                      <a:pt x="11" y="36"/>
                      <a:pt x="11" y="36"/>
                      <a:pt x="10" y="36"/>
                    </a:cubicBezTo>
                    <a:cubicBezTo>
                      <a:pt x="10" y="35"/>
                      <a:pt x="10" y="34"/>
                      <a:pt x="9" y="33"/>
                    </a:cubicBezTo>
                    <a:cubicBezTo>
                      <a:pt x="9" y="34"/>
                      <a:pt x="7" y="35"/>
                      <a:pt x="7" y="35"/>
                    </a:cubicBezTo>
                    <a:cubicBezTo>
                      <a:pt x="5" y="37"/>
                      <a:pt x="4" y="38"/>
                      <a:pt x="3" y="39"/>
                    </a:cubicBezTo>
                    <a:cubicBezTo>
                      <a:pt x="0" y="42"/>
                      <a:pt x="0" y="43"/>
                      <a:pt x="0" y="46"/>
                    </a:cubicBezTo>
                    <a:cubicBezTo>
                      <a:pt x="1" y="49"/>
                      <a:pt x="5" y="52"/>
                      <a:pt x="5" y="56"/>
                    </a:cubicBezTo>
                    <a:cubicBezTo>
                      <a:pt x="5" y="57"/>
                      <a:pt x="4" y="57"/>
                      <a:pt x="4" y="57"/>
                    </a:cubicBezTo>
                    <a:cubicBezTo>
                      <a:pt x="3" y="58"/>
                      <a:pt x="2" y="59"/>
                      <a:pt x="2" y="60"/>
                    </a:cubicBezTo>
                    <a:cubicBezTo>
                      <a:pt x="3" y="60"/>
                      <a:pt x="5" y="61"/>
                      <a:pt x="6" y="62"/>
                    </a:cubicBezTo>
                    <a:cubicBezTo>
                      <a:pt x="10" y="63"/>
                      <a:pt x="13" y="66"/>
                      <a:pt x="15" y="69"/>
                    </a:cubicBezTo>
                    <a:cubicBezTo>
                      <a:pt x="18" y="72"/>
                      <a:pt x="19" y="76"/>
                      <a:pt x="22" y="79"/>
                    </a:cubicBezTo>
                    <a:cubicBezTo>
                      <a:pt x="22" y="81"/>
                      <a:pt x="24" y="82"/>
                      <a:pt x="25" y="83"/>
                    </a:cubicBezTo>
                    <a:cubicBezTo>
                      <a:pt x="26" y="85"/>
                      <a:pt x="27" y="87"/>
                      <a:pt x="27" y="89"/>
                    </a:cubicBezTo>
                    <a:cubicBezTo>
                      <a:pt x="29" y="92"/>
                      <a:pt x="30" y="94"/>
                      <a:pt x="31" y="97"/>
                    </a:cubicBezTo>
                    <a:cubicBezTo>
                      <a:pt x="33" y="100"/>
                      <a:pt x="34" y="103"/>
                      <a:pt x="35" y="106"/>
                    </a:cubicBezTo>
                    <a:cubicBezTo>
                      <a:pt x="36" y="107"/>
                      <a:pt x="37" y="108"/>
                      <a:pt x="37" y="109"/>
                    </a:cubicBezTo>
                    <a:cubicBezTo>
                      <a:pt x="38" y="110"/>
                      <a:pt x="37" y="112"/>
                      <a:pt x="38" y="113"/>
                    </a:cubicBezTo>
                    <a:cubicBezTo>
                      <a:pt x="38" y="114"/>
                      <a:pt x="40" y="115"/>
                      <a:pt x="41" y="115"/>
                    </a:cubicBezTo>
                    <a:cubicBezTo>
                      <a:pt x="42" y="117"/>
                      <a:pt x="42" y="117"/>
                      <a:pt x="43" y="119"/>
                    </a:cubicBezTo>
                    <a:cubicBezTo>
                      <a:pt x="43" y="118"/>
                      <a:pt x="43" y="118"/>
                      <a:pt x="44" y="118"/>
                    </a:cubicBezTo>
                    <a:cubicBezTo>
                      <a:pt x="45" y="118"/>
                      <a:pt x="47" y="120"/>
                      <a:pt x="47" y="121"/>
                    </a:cubicBezTo>
                    <a:cubicBezTo>
                      <a:pt x="47" y="122"/>
                      <a:pt x="46" y="123"/>
                      <a:pt x="45" y="124"/>
                    </a:cubicBezTo>
                    <a:cubicBezTo>
                      <a:pt x="45" y="124"/>
                      <a:pt x="46" y="125"/>
                      <a:pt x="46" y="126"/>
                    </a:cubicBezTo>
                    <a:cubicBezTo>
                      <a:pt x="48" y="128"/>
                      <a:pt x="50" y="131"/>
                      <a:pt x="52" y="134"/>
                    </a:cubicBezTo>
                    <a:cubicBezTo>
                      <a:pt x="52" y="135"/>
                      <a:pt x="53" y="137"/>
                      <a:pt x="52" y="137"/>
                    </a:cubicBezTo>
                    <a:cubicBezTo>
                      <a:pt x="52" y="138"/>
                      <a:pt x="51" y="139"/>
                      <a:pt x="51" y="140"/>
                    </a:cubicBezTo>
                    <a:cubicBezTo>
                      <a:pt x="51" y="140"/>
                      <a:pt x="51" y="141"/>
                      <a:pt x="51" y="142"/>
                    </a:cubicBezTo>
                    <a:cubicBezTo>
                      <a:pt x="51" y="142"/>
                      <a:pt x="52" y="143"/>
                      <a:pt x="52" y="143"/>
                    </a:cubicBezTo>
                    <a:cubicBezTo>
                      <a:pt x="52" y="142"/>
                      <a:pt x="53" y="145"/>
                      <a:pt x="54" y="145"/>
                    </a:cubicBezTo>
                    <a:cubicBezTo>
                      <a:pt x="54" y="146"/>
                      <a:pt x="55" y="147"/>
                      <a:pt x="55" y="148"/>
                    </a:cubicBezTo>
                    <a:cubicBezTo>
                      <a:pt x="56" y="149"/>
                      <a:pt x="58" y="150"/>
                      <a:pt x="59" y="150"/>
                    </a:cubicBezTo>
                    <a:cubicBezTo>
                      <a:pt x="61" y="152"/>
                      <a:pt x="62" y="154"/>
                      <a:pt x="64" y="156"/>
                    </a:cubicBezTo>
                    <a:cubicBezTo>
                      <a:pt x="65" y="157"/>
                      <a:pt x="67" y="158"/>
                      <a:pt x="68" y="158"/>
                    </a:cubicBezTo>
                    <a:cubicBezTo>
                      <a:pt x="73" y="161"/>
                      <a:pt x="77" y="164"/>
                      <a:pt x="82" y="166"/>
                    </a:cubicBezTo>
                    <a:cubicBezTo>
                      <a:pt x="87" y="168"/>
                      <a:pt x="91" y="170"/>
                      <a:pt x="95"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6" name="Freeform 2957">
                <a:extLst>
                  <a:ext uri="{FF2B5EF4-FFF2-40B4-BE49-F238E27FC236}">
                    <a16:creationId xmlns:a16="http://schemas.microsoft.com/office/drawing/2014/main" id="{FA1E4A80-0297-4D05-BF4E-CF77BEE6B484}"/>
                  </a:ext>
                </a:extLst>
              </p:cNvPr>
              <p:cNvSpPr>
                <a:spLocks noEditPoints="1"/>
              </p:cNvSpPr>
              <p:nvPr/>
            </p:nvSpPr>
            <p:spPr bwMode="auto">
              <a:xfrm>
                <a:off x="1719" y="3209"/>
                <a:ext cx="208" cy="1015"/>
              </a:xfrm>
              <a:custGeom>
                <a:avLst/>
                <a:gdLst>
                  <a:gd name="T0" fmla="*/ 37 w 88"/>
                  <a:gd name="T1" fmla="*/ 400 h 429"/>
                  <a:gd name="T2" fmla="*/ 33 w 88"/>
                  <a:gd name="T3" fmla="*/ 390 h 429"/>
                  <a:gd name="T4" fmla="*/ 28 w 88"/>
                  <a:gd name="T5" fmla="*/ 387 h 429"/>
                  <a:gd name="T6" fmla="*/ 25 w 88"/>
                  <a:gd name="T7" fmla="*/ 383 h 429"/>
                  <a:gd name="T8" fmla="*/ 22 w 88"/>
                  <a:gd name="T9" fmla="*/ 376 h 429"/>
                  <a:gd name="T10" fmla="*/ 26 w 88"/>
                  <a:gd name="T11" fmla="*/ 364 h 429"/>
                  <a:gd name="T12" fmla="*/ 34 w 88"/>
                  <a:gd name="T13" fmla="*/ 353 h 429"/>
                  <a:gd name="T14" fmla="*/ 37 w 88"/>
                  <a:gd name="T15" fmla="*/ 339 h 429"/>
                  <a:gd name="T16" fmla="*/ 39 w 88"/>
                  <a:gd name="T17" fmla="*/ 325 h 429"/>
                  <a:gd name="T18" fmla="*/ 43 w 88"/>
                  <a:gd name="T19" fmla="*/ 316 h 429"/>
                  <a:gd name="T20" fmla="*/ 40 w 88"/>
                  <a:gd name="T21" fmla="*/ 311 h 429"/>
                  <a:gd name="T22" fmla="*/ 45 w 88"/>
                  <a:gd name="T23" fmla="*/ 307 h 429"/>
                  <a:gd name="T24" fmla="*/ 41 w 88"/>
                  <a:gd name="T25" fmla="*/ 297 h 429"/>
                  <a:gd name="T26" fmla="*/ 36 w 88"/>
                  <a:gd name="T27" fmla="*/ 285 h 429"/>
                  <a:gd name="T28" fmla="*/ 38 w 88"/>
                  <a:gd name="T29" fmla="*/ 265 h 429"/>
                  <a:gd name="T30" fmla="*/ 41 w 88"/>
                  <a:gd name="T31" fmla="*/ 246 h 429"/>
                  <a:gd name="T32" fmla="*/ 47 w 88"/>
                  <a:gd name="T33" fmla="*/ 233 h 429"/>
                  <a:gd name="T34" fmla="*/ 47 w 88"/>
                  <a:gd name="T35" fmla="*/ 208 h 429"/>
                  <a:gd name="T36" fmla="*/ 52 w 88"/>
                  <a:gd name="T37" fmla="*/ 192 h 429"/>
                  <a:gd name="T38" fmla="*/ 59 w 88"/>
                  <a:gd name="T39" fmla="*/ 177 h 429"/>
                  <a:gd name="T40" fmla="*/ 55 w 88"/>
                  <a:gd name="T41" fmla="*/ 160 h 429"/>
                  <a:gd name="T42" fmla="*/ 55 w 88"/>
                  <a:gd name="T43" fmla="*/ 144 h 429"/>
                  <a:gd name="T44" fmla="*/ 58 w 88"/>
                  <a:gd name="T45" fmla="*/ 130 h 429"/>
                  <a:gd name="T46" fmla="*/ 70 w 88"/>
                  <a:gd name="T47" fmla="*/ 101 h 429"/>
                  <a:gd name="T48" fmla="*/ 72 w 88"/>
                  <a:gd name="T49" fmla="*/ 93 h 429"/>
                  <a:gd name="T50" fmla="*/ 86 w 88"/>
                  <a:gd name="T51" fmla="*/ 63 h 429"/>
                  <a:gd name="T52" fmla="*/ 79 w 88"/>
                  <a:gd name="T53" fmla="*/ 54 h 429"/>
                  <a:gd name="T54" fmla="*/ 77 w 88"/>
                  <a:gd name="T55" fmla="*/ 43 h 429"/>
                  <a:gd name="T56" fmla="*/ 72 w 88"/>
                  <a:gd name="T57" fmla="*/ 31 h 429"/>
                  <a:gd name="T58" fmla="*/ 71 w 88"/>
                  <a:gd name="T59" fmla="*/ 17 h 429"/>
                  <a:gd name="T60" fmla="*/ 63 w 88"/>
                  <a:gd name="T61" fmla="*/ 0 h 429"/>
                  <a:gd name="T62" fmla="*/ 53 w 88"/>
                  <a:gd name="T63" fmla="*/ 62 h 429"/>
                  <a:gd name="T64" fmla="*/ 44 w 88"/>
                  <a:gd name="T65" fmla="*/ 122 h 429"/>
                  <a:gd name="T66" fmla="*/ 41 w 88"/>
                  <a:gd name="T67" fmla="*/ 168 h 429"/>
                  <a:gd name="T68" fmla="*/ 22 w 88"/>
                  <a:gd name="T69" fmla="*/ 215 h 429"/>
                  <a:gd name="T70" fmla="*/ 24 w 88"/>
                  <a:gd name="T71" fmla="*/ 271 h 429"/>
                  <a:gd name="T72" fmla="*/ 30 w 88"/>
                  <a:gd name="T73" fmla="*/ 280 h 429"/>
                  <a:gd name="T74" fmla="*/ 32 w 88"/>
                  <a:gd name="T75" fmla="*/ 304 h 429"/>
                  <a:gd name="T76" fmla="*/ 25 w 88"/>
                  <a:gd name="T77" fmla="*/ 315 h 429"/>
                  <a:gd name="T78" fmla="*/ 18 w 88"/>
                  <a:gd name="T79" fmla="*/ 326 h 429"/>
                  <a:gd name="T80" fmla="*/ 11 w 88"/>
                  <a:gd name="T81" fmla="*/ 322 h 429"/>
                  <a:gd name="T82" fmla="*/ 4 w 88"/>
                  <a:gd name="T83" fmla="*/ 329 h 429"/>
                  <a:gd name="T84" fmla="*/ 11 w 88"/>
                  <a:gd name="T85" fmla="*/ 334 h 429"/>
                  <a:gd name="T86" fmla="*/ 13 w 88"/>
                  <a:gd name="T87" fmla="*/ 342 h 429"/>
                  <a:gd name="T88" fmla="*/ 11 w 88"/>
                  <a:gd name="T89" fmla="*/ 346 h 429"/>
                  <a:gd name="T90" fmla="*/ 23 w 88"/>
                  <a:gd name="T91" fmla="*/ 352 h 429"/>
                  <a:gd name="T92" fmla="*/ 19 w 88"/>
                  <a:gd name="T93" fmla="*/ 355 h 429"/>
                  <a:gd name="T94" fmla="*/ 16 w 88"/>
                  <a:gd name="T95" fmla="*/ 369 h 429"/>
                  <a:gd name="T96" fmla="*/ 15 w 88"/>
                  <a:gd name="T97" fmla="*/ 371 h 429"/>
                  <a:gd name="T98" fmla="*/ 19 w 88"/>
                  <a:gd name="T99" fmla="*/ 379 h 429"/>
                  <a:gd name="T100" fmla="*/ 19 w 88"/>
                  <a:gd name="T101" fmla="*/ 386 h 429"/>
                  <a:gd name="T102" fmla="*/ 21 w 88"/>
                  <a:gd name="T103" fmla="*/ 392 h 429"/>
                  <a:gd name="T104" fmla="*/ 22 w 88"/>
                  <a:gd name="T105" fmla="*/ 400 h 429"/>
                  <a:gd name="T106" fmla="*/ 24 w 88"/>
                  <a:gd name="T107" fmla="*/ 410 h 429"/>
                  <a:gd name="T108" fmla="*/ 31 w 88"/>
                  <a:gd name="T109" fmla="*/ 411 h 429"/>
                  <a:gd name="T110" fmla="*/ 31 w 88"/>
                  <a:gd name="T111" fmla="*/ 420 h 429"/>
                  <a:gd name="T112" fmla="*/ 35 w 88"/>
                  <a:gd name="T113" fmla="*/ 418 h 429"/>
                  <a:gd name="T114" fmla="*/ 40 w 88"/>
                  <a:gd name="T115" fmla="*/ 423 h 429"/>
                  <a:gd name="T116" fmla="*/ 49 w 88"/>
                  <a:gd name="T117" fmla="*/ 422 h 429"/>
                  <a:gd name="T118" fmla="*/ 33 w 88"/>
                  <a:gd name="T119" fmla="*/ 405 h 429"/>
                  <a:gd name="T120" fmla="*/ 28 w 88"/>
                  <a:gd name="T121" fmla="*/ 401 h 429"/>
                  <a:gd name="T122" fmla="*/ 29 w 88"/>
                  <a:gd name="T123" fmla="*/ 39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429">
                    <a:moveTo>
                      <a:pt x="66" y="406"/>
                    </a:moveTo>
                    <a:cubicBezTo>
                      <a:pt x="66" y="405"/>
                      <a:pt x="65" y="405"/>
                      <a:pt x="64" y="405"/>
                    </a:cubicBezTo>
                    <a:cubicBezTo>
                      <a:pt x="63" y="405"/>
                      <a:pt x="62" y="405"/>
                      <a:pt x="61" y="404"/>
                    </a:cubicBezTo>
                    <a:cubicBezTo>
                      <a:pt x="61" y="404"/>
                      <a:pt x="60" y="404"/>
                      <a:pt x="59" y="404"/>
                    </a:cubicBezTo>
                    <a:cubicBezTo>
                      <a:pt x="59" y="404"/>
                      <a:pt x="59" y="404"/>
                      <a:pt x="59" y="404"/>
                    </a:cubicBezTo>
                    <a:cubicBezTo>
                      <a:pt x="59" y="404"/>
                      <a:pt x="59" y="404"/>
                      <a:pt x="59" y="404"/>
                    </a:cubicBezTo>
                    <a:cubicBezTo>
                      <a:pt x="57" y="403"/>
                      <a:pt x="55" y="403"/>
                      <a:pt x="53" y="404"/>
                    </a:cubicBezTo>
                    <a:cubicBezTo>
                      <a:pt x="53" y="404"/>
                      <a:pt x="53" y="404"/>
                      <a:pt x="53" y="404"/>
                    </a:cubicBezTo>
                    <a:cubicBezTo>
                      <a:pt x="52" y="404"/>
                      <a:pt x="51" y="404"/>
                      <a:pt x="50" y="404"/>
                    </a:cubicBezTo>
                    <a:cubicBezTo>
                      <a:pt x="41" y="404"/>
                      <a:pt x="41" y="404"/>
                      <a:pt x="41" y="404"/>
                    </a:cubicBezTo>
                    <a:cubicBezTo>
                      <a:pt x="39" y="404"/>
                      <a:pt x="38" y="403"/>
                      <a:pt x="38" y="402"/>
                    </a:cubicBezTo>
                    <a:cubicBezTo>
                      <a:pt x="38" y="402"/>
                      <a:pt x="37" y="402"/>
                      <a:pt x="37" y="401"/>
                    </a:cubicBezTo>
                    <a:cubicBezTo>
                      <a:pt x="37" y="401"/>
                      <a:pt x="37" y="401"/>
                      <a:pt x="37" y="400"/>
                    </a:cubicBezTo>
                    <a:cubicBezTo>
                      <a:pt x="37" y="400"/>
                      <a:pt x="37" y="400"/>
                      <a:pt x="36" y="400"/>
                    </a:cubicBezTo>
                    <a:cubicBezTo>
                      <a:pt x="36" y="399"/>
                      <a:pt x="36" y="399"/>
                      <a:pt x="36" y="399"/>
                    </a:cubicBezTo>
                    <a:cubicBezTo>
                      <a:pt x="35" y="399"/>
                      <a:pt x="34" y="399"/>
                      <a:pt x="34" y="398"/>
                    </a:cubicBezTo>
                    <a:cubicBezTo>
                      <a:pt x="33" y="398"/>
                      <a:pt x="33" y="398"/>
                      <a:pt x="33" y="398"/>
                    </a:cubicBezTo>
                    <a:cubicBezTo>
                      <a:pt x="33" y="397"/>
                      <a:pt x="33" y="397"/>
                      <a:pt x="33" y="397"/>
                    </a:cubicBezTo>
                    <a:cubicBezTo>
                      <a:pt x="33" y="396"/>
                      <a:pt x="33" y="396"/>
                      <a:pt x="33" y="395"/>
                    </a:cubicBezTo>
                    <a:cubicBezTo>
                      <a:pt x="34" y="395"/>
                      <a:pt x="34" y="394"/>
                      <a:pt x="34" y="394"/>
                    </a:cubicBezTo>
                    <a:cubicBezTo>
                      <a:pt x="34" y="394"/>
                      <a:pt x="34" y="393"/>
                      <a:pt x="35" y="393"/>
                    </a:cubicBezTo>
                    <a:cubicBezTo>
                      <a:pt x="34" y="393"/>
                      <a:pt x="34" y="393"/>
                      <a:pt x="34" y="393"/>
                    </a:cubicBezTo>
                    <a:cubicBezTo>
                      <a:pt x="34" y="392"/>
                      <a:pt x="34" y="392"/>
                      <a:pt x="34" y="392"/>
                    </a:cubicBezTo>
                    <a:cubicBezTo>
                      <a:pt x="34" y="392"/>
                      <a:pt x="34" y="392"/>
                      <a:pt x="34" y="392"/>
                    </a:cubicBezTo>
                    <a:cubicBezTo>
                      <a:pt x="34" y="392"/>
                      <a:pt x="34" y="392"/>
                      <a:pt x="34" y="392"/>
                    </a:cubicBezTo>
                    <a:cubicBezTo>
                      <a:pt x="33" y="391"/>
                      <a:pt x="33" y="391"/>
                      <a:pt x="33" y="390"/>
                    </a:cubicBezTo>
                    <a:cubicBezTo>
                      <a:pt x="33" y="390"/>
                      <a:pt x="34" y="389"/>
                      <a:pt x="34" y="389"/>
                    </a:cubicBezTo>
                    <a:cubicBezTo>
                      <a:pt x="34" y="388"/>
                      <a:pt x="34" y="388"/>
                      <a:pt x="34" y="388"/>
                    </a:cubicBezTo>
                    <a:cubicBezTo>
                      <a:pt x="35" y="388"/>
                      <a:pt x="34" y="387"/>
                      <a:pt x="34" y="387"/>
                    </a:cubicBezTo>
                    <a:cubicBezTo>
                      <a:pt x="34" y="386"/>
                      <a:pt x="34" y="386"/>
                      <a:pt x="34" y="385"/>
                    </a:cubicBezTo>
                    <a:cubicBezTo>
                      <a:pt x="34" y="385"/>
                      <a:pt x="34" y="385"/>
                      <a:pt x="34" y="385"/>
                    </a:cubicBezTo>
                    <a:cubicBezTo>
                      <a:pt x="34" y="385"/>
                      <a:pt x="34" y="385"/>
                      <a:pt x="33" y="385"/>
                    </a:cubicBezTo>
                    <a:cubicBezTo>
                      <a:pt x="33" y="385"/>
                      <a:pt x="33" y="385"/>
                      <a:pt x="33" y="385"/>
                    </a:cubicBezTo>
                    <a:cubicBezTo>
                      <a:pt x="33" y="385"/>
                      <a:pt x="33" y="385"/>
                      <a:pt x="33" y="385"/>
                    </a:cubicBezTo>
                    <a:cubicBezTo>
                      <a:pt x="32" y="386"/>
                      <a:pt x="31" y="385"/>
                      <a:pt x="31" y="385"/>
                    </a:cubicBezTo>
                    <a:cubicBezTo>
                      <a:pt x="31" y="385"/>
                      <a:pt x="30" y="385"/>
                      <a:pt x="30" y="386"/>
                    </a:cubicBezTo>
                    <a:cubicBezTo>
                      <a:pt x="30" y="386"/>
                      <a:pt x="30" y="386"/>
                      <a:pt x="29" y="386"/>
                    </a:cubicBezTo>
                    <a:cubicBezTo>
                      <a:pt x="29" y="386"/>
                      <a:pt x="29" y="386"/>
                      <a:pt x="29" y="387"/>
                    </a:cubicBezTo>
                    <a:cubicBezTo>
                      <a:pt x="29" y="387"/>
                      <a:pt x="28" y="387"/>
                      <a:pt x="28" y="387"/>
                    </a:cubicBezTo>
                    <a:cubicBezTo>
                      <a:pt x="28" y="387"/>
                      <a:pt x="28" y="387"/>
                      <a:pt x="28" y="387"/>
                    </a:cubicBezTo>
                    <a:cubicBezTo>
                      <a:pt x="28" y="387"/>
                      <a:pt x="27" y="387"/>
                      <a:pt x="27" y="387"/>
                    </a:cubicBezTo>
                    <a:cubicBezTo>
                      <a:pt x="27" y="387"/>
                      <a:pt x="27" y="387"/>
                      <a:pt x="27" y="387"/>
                    </a:cubicBezTo>
                    <a:cubicBezTo>
                      <a:pt x="27" y="387"/>
                      <a:pt x="27" y="387"/>
                      <a:pt x="26" y="387"/>
                    </a:cubicBezTo>
                    <a:cubicBezTo>
                      <a:pt x="26" y="387"/>
                      <a:pt x="26" y="387"/>
                      <a:pt x="26" y="387"/>
                    </a:cubicBezTo>
                    <a:cubicBezTo>
                      <a:pt x="26" y="386"/>
                      <a:pt x="26" y="386"/>
                      <a:pt x="26" y="386"/>
                    </a:cubicBezTo>
                    <a:cubicBezTo>
                      <a:pt x="26" y="386"/>
                      <a:pt x="26" y="386"/>
                      <a:pt x="26" y="386"/>
                    </a:cubicBezTo>
                    <a:cubicBezTo>
                      <a:pt x="26" y="386"/>
                      <a:pt x="25" y="386"/>
                      <a:pt x="25" y="386"/>
                    </a:cubicBezTo>
                    <a:cubicBezTo>
                      <a:pt x="25" y="385"/>
                      <a:pt x="25" y="385"/>
                      <a:pt x="25" y="385"/>
                    </a:cubicBezTo>
                    <a:cubicBezTo>
                      <a:pt x="25" y="385"/>
                      <a:pt x="25" y="385"/>
                      <a:pt x="25" y="385"/>
                    </a:cubicBezTo>
                    <a:cubicBezTo>
                      <a:pt x="25" y="384"/>
                      <a:pt x="25" y="384"/>
                      <a:pt x="25" y="384"/>
                    </a:cubicBezTo>
                    <a:cubicBezTo>
                      <a:pt x="25" y="384"/>
                      <a:pt x="25" y="384"/>
                      <a:pt x="25" y="384"/>
                    </a:cubicBezTo>
                    <a:cubicBezTo>
                      <a:pt x="25" y="383"/>
                      <a:pt x="25" y="383"/>
                      <a:pt x="25" y="383"/>
                    </a:cubicBezTo>
                    <a:cubicBezTo>
                      <a:pt x="24" y="382"/>
                      <a:pt x="24" y="382"/>
                      <a:pt x="24" y="382"/>
                    </a:cubicBezTo>
                    <a:cubicBezTo>
                      <a:pt x="24" y="382"/>
                      <a:pt x="24" y="381"/>
                      <a:pt x="24" y="381"/>
                    </a:cubicBezTo>
                    <a:cubicBezTo>
                      <a:pt x="24" y="380"/>
                      <a:pt x="24" y="380"/>
                      <a:pt x="24" y="380"/>
                    </a:cubicBezTo>
                    <a:cubicBezTo>
                      <a:pt x="24" y="380"/>
                      <a:pt x="24" y="380"/>
                      <a:pt x="24" y="380"/>
                    </a:cubicBezTo>
                    <a:cubicBezTo>
                      <a:pt x="24" y="380"/>
                      <a:pt x="24" y="379"/>
                      <a:pt x="23" y="379"/>
                    </a:cubicBezTo>
                    <a:cubicBezTo>
                      <a:pt x="23" y="379"/>
                      <a:pt x="23" y="379"/>
                      <a:pt x="23" y="379"/>
                    </a:cubicBezTo>
                    <a:cubicBezTo>
                      <a:pt x="23" y="379"/>
                      <a:pt x="23" y="379"/>
                      <a:pt x="23" y="379"/>
                    </a:cubicBezTo>
                    <a:cubicBezTo>
                      <a:pt x="22" y="378"/>
                      <a:pt x="22" y="378"/>
                      <a:pt x="22" y="378"/>
                    </a:cubicBezTo>
                    <a:cubicBezTo>
                      <a:pt x="20" y="379"/>
                      <a:pt x="20" y="379"/>
                      <a:pt x="20" y="379"/>
                    </a:cubicBezTo>
                    <a:cubicBezTo>
                      <a:pt x="22" y="378"/>
                      <a:pt x="22" y="378"/>
                      <a:pt x="22" y="378"/>
                    </a:cubicBezTo>
                    <a:cubicBezTo>
                      <a:pt x="22" y="377"/>
                      <a:pt x="22" y="377"/>
                      <a:pt x="22" y="377"/>
                    </a:cubicBezTo>
                    <a:cubicBezTo>
                      <a:pt x="22" y="377"/>
                      <a:pt x="22" y="377"/>
                      <a:pt x="22" y="377"/>
                    </a:cubicBezTo>
                    <a:cubicBezTo>
                      <a:pt x="22" y="377"/>
                      <a:pt x="22" y="377"/>
                      <a:pt x="22" y="376"/>
                    </a:cubicBezTo>
                    <a:cubicBezTo>
                      <a:pt x="22" y="376"/>
                      <a:pt x="22" y="376"/>
                      <a:pt x="22" y="376"/>
                    </a:cubicBezTo>
                    <a:cubicBezTo>
                      <a:pt x="22" y="376"/>
                      <a:pt x="22" y="376"/>
                      <a:pt x="21" y="375"/>
                    </a:cubicBezTo>
                    <a:cubicBezTo>
                      <a:pt x="21" y="374"/>
                      <a:pt x="22" y="374"/>
                      <a:pt x="22" y="373"/>
                    </a:cubicBezTo>
                    <a:cubicBezTo>
                      <a:pt x="22" y="372"/>
                      <a:pt x="22" y="371"/>
                      <a:pt x="22" y="371"/>
                    </a:cubicBezTo>
                    <a:cubicBezTo>
                      <a:pt x="22" y="371"/>
                      <a:pt x="22" y="370"/>
                      <a:pt x="21" y="370"/>
                    </a:cubicBezTo>
                    <a:cubicBezTo>
                      <a:pt x="21" y="370"/>
                      <a:pt x="21" y="370"/>
                      <a:pt x="21" y="370"/>
                    </a:cubicBezTo>
                    <a:cubicBezTo>
                      <a:pt x="21" y="370"/>
                      <a:pt x="21" y="370"/>
                      <a:pt x="21" y="370"/>
                    </a:cubicBezTo>
                    <a:cubicBezTo>
                      <a:pt x="21" y="369"/>
                      <a:pt x="21" y="369"/>
                      <a:pt x="21" y="369"/>
                    </a:cubicBezTo>
                    <a:cubicBezTo>
                      <a:pt x="21" y="368"/>
                      <a:pt x="22" y="367"/>
                      <a:pt x="22" y="366"/>
                    </a:cubicBezTo>
                    <a:cubicBezTo>
                      <a:pt x="22" y="366"/>
                      <a:pt x="22" y="366"/>
                      <a:pt x="22" y="366"/>
                    </a:cubicBezTo>
                    <a:cubicBezTo>
                      <a:pt x="23" y="365"/>
                      <a:pt x="24" y="365"/>
                      <a:pt x="25" y="365"/>
                    </a:cubicBezTo>
                    <a:cubicBezTo>
                      <a:pt x="25" y="365"/>
                      <a:pt x="26" y="365"/>
                      <a:pt x="26" y="364"/>
                    </a:cubicBezTo>
                    <a:cubicBezTo>
                      <a:pt x="26" y="364"/>
                      <a:pt x="26" y="364"/>
                      <a:pt x="26" y="364"/>
                    </a:cubicBezTo>
                    <a:cubicBezTo>
                      <a:pt x="26" y="364"/>
                      <a:pt x="27" y="364"/>
                      <a:pt x="28" y="363"/>
                    </a:cubicBezTo>
                    <a:cubicBezTo>
                      <a:pt x="28" y="362"/>
                      <a:pt x="28" y="362"/>
                      <a:pt x="28" y="362"/>
                    </a:cubicBezTo>
                    <a:cubicBezTo>
                      <a:pt x="28" y="362"/>
                      <a:pt x="28" y="362"/>
                      <a:pt x="28" y="362"/>
                    </a:cubicBezTo>
                    <a:cubicBezTo>
                      <a:pt x="29" y="361"/>
                      <a:pt x="29" y="361"/>
                      <a:pt x="30" y="361"/>
                    </a:cubicBezTo>
                    <a:cubicBezTo>
                      <a:pt x="30" y="360"/>
                      <a:pt x="30" y="360"/>
                      <a:pt x="30" y="360"/>
                    </a:cubicBezTo>
                    <a:cubicBezTo>
                      <a:pt x="30" y="360"/>
                      <a:pt x="30" y="360"/>
                      <a:pt x="31" y="360"/>
                    </a:cubicBezTo>
                    <a:cubicBezTo>
                      <a:pt x="31" y="359"/>
                      <a:pt x="31" y="359"/>
                      <a:pt x="31" y="359"/>
                    </a:cubicBezTo>
                    <a:cubicBezTo>
                      <a:pt x="31" y="357"/>
                      <a:pt x="31" y="357"/>
                      <a:pt x="31" y="357"/>
                    </a:cubicBezTo>
                    <a:cubicBezTo>
                      <a:pt x="31" y="356"/>
                      <a:pt x="31" y="356"/>
                      <a:pt x="31" y="355"/>
                    </a:cubicBezTo>
                    <a:cubicBezTo>
                      <a:pt x="32" y="355"/>
                      <a:pt x="32" y="354"/>
                      <a:pt x="32" y="354"/>
                    </a:cubicBezTo>
                    <a:cubicBezTo>
                      <a:pt x="33" y="354"/>
                      <a:pt x="33" y="354"/>
                      <a:pt x="34" y="353"/>
                    </a:cubicBezTo>
                    <a:cubicBezTo>
                      <a:pt x="34" y="353"/>
                      <a:pt x="34" y="353"/>
                      <a:pt x="34" y="353"/>
                    </a:cubicBezTo>
                    <a:cubicBezTo>
                      <a:pt x="34" y="353"/>
                      <a:pt x="34" y="353"/>
                      <a:pt x="34" y="353"/>
                    </a:cubicBezTo>
                    <a:cubicBezTo>
                      <a:pt x="34" y="352"/>
                      <a:pt x="34" y="352"/>
                      <a:pt x="34" y="351"/>
                    </a:cubicBezTo>
                    <a:cubicBezTo>
                      <a:pt x="34" y="351"/>
                      <a:pt x="34" y="351"/>
                      <a:pt x="34" y="351"/>
                    </a:cubicBezTo>
                    <a:cubicBezTo>
                      <a:pt x="34" y="351"/>
                      <a:pt x="34" y="351"/>
                      <a:pt x="34" y="351"/>
                    </a:cubicBezTo>
                    <a:cubicBezTo>
                      <a:pt x="34" y="351"/>
                      <a:pt x="34" y="351"/>
                      <a:pt x="34" y="351"/>
                    </a:cubicBezTo>
                    <a:cubicBezTo>
                      <a:pt x="33" y="350"/>
                      <a:pt x="33" y="350"/>
                      <a:pt x="33" y="350"/>
                    </a:cubicBezTo>
                    <a:cubicBezTo>
                      <a:pt x="33" y="350"/>
                      <a:pt x="33" y="350"/>
                      <a:pt x="33" y="350"/>
                    </a:cubicBezTo>
                    <a:cubicBezTo>
                      <a:pt x="32" y="348"/>
                      <a:pt x="32" y="347"/>
                      <a:pt x="32" y="346"/>
                    </a:cubicBezTo>
                    <a:cubicBezTo>
                      <a:pt x="34" y="343"/>
                      <a:pt x="34" y="343"/>
                      <a:pt x="34" y="343"/>
                    </a:cubicBezTo>
                    <a:cubicBezTo>
                      <a:pt x="34" y="342"/>
                      <a:pt x="34" y="342"/>
                      <a:pt x="34" y="342"/>
                    </a:cubicBezTo>
                    <a:cubicBezTo>
                      <a:pt x="34" y="342"/>
                      <a:pt x="34" y="342"/>
                      <a:pt x="34" y="342"/>
                    </a:cubicBezTo>
                    <a:cubicBezTo>
                      <a:pt x="34" y="341"/>
                      <a:pt x="35" y="340"/>
                      <a:pt x="36" y="340"/>
                    </a:cubicBezTo>
                    <a:cubicBezTo>
                      <a:pt x="36" y="340"/>
                      <a:pt x="36" y="340"/>
                      <a:pt x="36" y="340"/>
                    </a:cubicBezTo>
                    <a:cubicBezTo>
                      <a:pt x="37" y="339"/>
                      <a:pt x="37" y="339"/>
                      <a:pt x="37" y="339"/>
                    </a:cubicBezTo>
                    <a:cubicBezTo>
                      <a:pt x="37" y="339"/>
                      <a:pt x="37" y="339"/>
                      <a:pt x="37" y="339"/>
                    </a:cubicBezTo>
                    <a:cubicBezTo>
                      <a:pt x="38" y="339"/>
                      <a:pt x="38" y="339"/>
                      <a:pt x="38" y="339"/>
                    </a:cubicBezTo>
                    <a:cubicBezTo>
                      <a:pt x="38" y="339"/>
                      <a:pt x="38" y="339"/>
                      <a:pt x="38" y="339"/>
                    </a:cubicBezTo>
                    <a:cubicBezTo>
                      <a:pt x="38" y="338"/>
                      <a:pt x="38" y="338"/>
                      <a:pt x="38" y="338"/>
                    </a:cubicBezTo>
                    <a:cubicBezTo>
                      <a:pt x="38" y="336"/>
                      <a:pt x="37" y="335"/>
                      <a:pt x="39" y="333"/>
                    </a:cubicBezTo>
                    <a:cubicBezTo>
                      <a:pt x="39" y="333"/>
                      <a:pt x="39" y="333"/>
                      <a:pt x="39" y="333"/>
                    </a:cubicBezTo>
                    <a:cubicBezTo>
                      <a:pt x="40" y="332"/>
                      <a:pt x="40" y="332"/>
                      <a:pt x="40" y="332"/>
                    </a:cubicBezTo>
                    <a:cubicBezTo>
                      <a:pt x="40" y="332"/>
                      <a:pt x="40" y="332"/>
                      <a:pt x="40" y="332"/>
                    </a:cubicBezTo>
                    <a:cubicBezTo>
                      <a:pt x="40" y="331"/>
                      <a:pt x="40" y="331"/>
                      <a:pt x="40" y="331"/>
                    </a:cubicBezTo>
                    <a:cubicBezTo>
                      <a:pt x="40" y="330"/>
                      <a:pt x="40" y="330"/>
                      <a:pt x="40" y="330"/>
                    </a:cubicBezTo>
                    <a:cubicBezTo>
                      <a:pt x="39" y="326"/>
                      <a:pt x="39" y="326"/>
                      <a:pt x="39" y="326"/>
                    </a:cubicBezTo>
                    <a:cubicBezTo>
                      <a:pt x="39" y="326"/>
                      <a:pt x="39" y="326"/>
                      <a:pt x="39" y="326"/>
                    </a:cubicBezTo>
                    <a:cubicBezTo>
                      <a:pt x="39" y="325"/>
                      <a:pt x="39" y="325"/>
                      <a:pt x="39" y="325"/>
                    </a:cubicBezTo>
                    <a:cubicBezTo>
                      <a:pt x="40" y="323"/>
                      <a:pt x="40" y="323"/>
                      <a:pt x="40" y="323"/>
                    </a:cubicBezTo>
                    <a:cubicBezTo>
                      <a:pt x="41" y="323"/>
                      <a:pt x="41" y="323"/>
                      <a:pt x="41" y="323"/>
                    </a:cubicBezTo>
                    <a:cubicBezTo>
                      <a:pt x="41" y="323"/>
                      <a:pt x="41" y="323"/>
                      <a:pt x="41" y="323"/>
                    </a:cubicBezTo>
                    <a:cubicBezTo>
                      <a:pt x="41" y="323"/>
                      <a:pt x="41" y="323"/>
                      <a:pt x="41" y="323"/>
                    </a:cubicBezTo>
                    <a:cubicBezTo>
                      <a:pt x="40" y="323"/>
                      <a:pt x="40" y="322"/>
                      <a:pt x="40" y="322"/>
                    </a:cubicBezTo>
                    <a:cubicBezTo>
                      <a:pt x="40" y="322"/>
                      <a:pt x="40" y="322"/>
                      <a:pt x="40" y="322"/>
                    </a:cubicBezTo>
                    <a:cubicBezTo>
                      <a:pt x="40" y="321"/>
                      <a:pt x="39" y="321"/>
                      <a:pt x="39" y="320"/>
                    </a:cubicBezTo>
                    <a:cubicBezTo>
                      <a:pt x="39" y="318"/>
                      <a:pt x="40" y="317"/>
                      <a:pt x="41" y="317"/>
                    </a:cubicBezTo>
                    <a:cubicBezTo>
                      <a:pt x="41" y="317"/>
                      <a:pt x="42" y="317"/>
                      <a:pt x="42" y="316"/>
                    </a:cubicBezTo>
                    <a:cubicBezTo>
                      <a:pt x="42" y="317"/>
                      <a:pt x="42" y="317"/>
                      <a:pt x="42" y="317"/>
                    </a:cubicBezTo>
                    <a:cubicBezTo>
                      <a:pt x="42" y="317"/>
                      <a:pt x="42" y="317"/>
                      <a:pt x="42" y="317"/>
                    </a:cubicBezTo>
                    <a:cubicBezTo>
                      <a:pt x="42" y="316"/>
                      <a:pt x="42" y="316"/>
                      <a:pt x="42" y="316"/>
                    </a:cubicBezTo>
                    <a:cubicBezTo>
                      <a:pt x="42" y="316"/>
                      <a:pt x="42" y="316"/>
                      <a:pt x="43" y="316"/>
                    </a:cubicBezTo>
                    <a:cubicBezTo>
                      <a:pt x="43" y="316"/>
                      <a:pt x="43" y="316"/>
                      <a:pt x="43" y="315"/>
                    </a:cubicBezTo>
                    <a:cubicBezTo>
                      <a:pt x="43" y="315"/>
                      <a:pt x="43" y="315"/>
                      <a:pt x="43" y="315"/>
                    </a:cubicBezTo>
                    <a:cubicBezTo>
                      <a:pt x="43" y="315"/>
                      <a:pt x="43" y="315"/>
                      <a:pt x="44" y="315"/>
                    </a:cubicBezTo>
                    <a:cubicBezTo>
                      <a:pt x="44" y="315"/>
                      <a:pt x="44" y="314"/>
                      <a:pt x="44" y="314"/>
                    </a:cubicBezTo>
                    <a:cubicBezTo>
                      <a:pt x="44" y="314"/>
                      <a:pt x="44" y="314"/>
                      <a:pt x="44" y="314"/>
                    </a:cubicBezTo>
                    <a:cubicBezTo>
                      <a:pt x="44" y="314"/>
                      <a:pt x="44" y="314"/>
                      <a:pt x="44" y="314"/>
                    </a:cubicBezTo>
                    <a:cubicBezTo>
                      <a:pt x="44" y="314"/>
                      <a:pt x="44" y="314"/>
                      <a:pt x="43" y="313"/>
                    </a:cubicBezTo>
                    <a:cubicBezTo>
                      <a:pt x="43" y="313"/>
                      <a:pt x="43" y="313"/>
                      <a:pt x="43" y="313"/>
                    </a:cubicBezTo>
                    <a:cubicBezTo>
                      <a:pt x="43" y="313"/>
                      <a:pt x="43" y="313"/>
                      <a:pt x="43" y="312"/>
                    </a:cubicBezTo>
                    <a:cubicBezTo>
                      <a:pt x="42" y="312"/>
                      <a:pt x="42" y="312"/>
                      <a:pt x="42" y="312"/>
                    </a:cubicBezTo>
                    <a:cubicBezTo>
                      <a:pt x="42" y="311"/>
                      <a:pt x="42" y="311"/>
                      <a:pt x="42" y="311"/>
                    </a:cubicBezTo>
                    <a:cubicBezTo>
                      <a:pt x="42" y="311"/>
                      <a:pt x="41" y="311"/>
                      <a:pt x="41" y="311"/>
                    </a:cubicBezTo>
                    <a:cubicBezTo>
                      <a:pt x="40" y="311"/>
                      <a:pt x="40" y="311"/>
                      <a:pt x="40" y="311"/>
                    </a:cubicBezTo>
                    <a:cubicBezTo>
                      <a:pt x="40" y="311"/>
                      <a:pt x="40" y="311"/>
                      <a:pt x="40" y="311"/>
                    </a:cubicBezTo>
                    <a:cubicBezTo>
                      <a:pt x="40" y="311"/>
                      <a:pt x="39" y="311"/>
                      <a:pt x="39" y="311"/>
                    </a:cubicBezTo>
                    <a:cubicBezTo>
                      <a:pt x="39" y="311"/>
                      <a:pt x="38" y="311"/>
                      <a:pt x="37" y="310"/>
                    </a:cubicBezTo>
                    <a:cubicBezTo>
                      <a:pt x="37" y="310"/>
                      <a:pt x="37" y="309"/>
                      <a:pt x="37" y="309"/>
                    </a:cubicBezTo>
                    <a:cubicBezTo>
                      <a:pt x="37" y="309"/>
                      <a:pt x="37" y="309"/>
                      <a:pt x="37" y="309"/>
                    </a:cubicBezTo>
                    <a:cubicBezTo>
                      <a:pt x="37" y="309"/>
                      <a:pt x="37" y="309"/>
                      <a:pt x="36" y="308"/>
                    </a:cubicBezTo>
                    <a:cubicBezTo>
                      <a:pt x="36" y="307"/>
                      <a:pt x="36" y="307"/>
                      <a:pt x="36" y="307"/>
                    </a:cubicBezTo>
                    <a:cubicBezTo>
                      <a:pt x="37" y="307"/>
                      <a:pt x="37" y="307"/>
                      <a:pt x="37" y="307"/>
                    </a:cubicBezTo>
                    <a:cubicBezTo>
                      <a:pt x="38" y="307"/>
                      <a:pt x="39" y="307"/>
                      <a:pt x="39" y="307"/>
                    </a:cubicBezTo>
                    <a:cubicBezTo>
                      <a:pt x="39" y="307"/>
                      <a:pt x="39" y="307"/>
                      <a:pt x="39" y="307"/>
                    </a:cubicBezTo>
                    <a:cubicBezTo>
                      <a:pt x="41" y="307"/>
                      <a:pt x="42" y="307"/>
                      <a:pt x="43" y="307"/>
                    </a:cubicBezTo>
                    <a:cubicBezTo>
                      <a:pt x="44" y="307"/>
                      <a:pt x="44" y="307"/>
                      <a:pt x="44" y="307"/>
                    </a:cubicBezTo>
                    <a:cubicBezTo>
                      <a:pt x="44" y="307"/>
                      <a:pt x="45" y="307"/>
                      <a:pt x="45" y="307"/>
                    </a:cubicBezTo>
                    <a:cubicBezTo>
                      <a:pt x="45" y="307"/>
                      <a:pt x="45" y="307"/>
                      <a:pt x="45" y="307"/>
                    </a:cubicBezTo>
                    <a:cubicBezTo>
                      <a:pt x="45" y="306"/>
                      <a:pt x="46" y="305"/>
                      <a:pt x="46" y="305"/>
                    </a:cubicBezTo>
                    <a:cubicBezTo>
                      <a:pt x="46" y="305"/>
                      <a:pt x="46" y="305"/>
                      <a:pt x="46" y="305"/>
                    </a:cubicBezTo>
                    <a:cubicBezTo>
                      <a:pt x="46" y="304"/>
                      <a:pt x="44" y="304"/>
                      <a:pt x="43" y="304"/>
                    </a:cubicBezTo>
                    <a:cubicBezTo>
                      <a:pt x="42" y="304"/>
                      <a:pt x="42" y="304"/>
                      <a:pt x="41" y="304"/>
                    </a:cubicBezTo>
                    <a:cubicBezTo>
                      <a:pt x="41" y="304"/>
                      <a:pt x="41" y="304"/>
                      <a:pt x="41" y="304"/>
                    </a:cubicBezTo>
                    <a:cubicBezTo>
                      <a:pt x="40" y="304"/>
                      <a:pt x="40" y="304"/>
                      <a:pt x="40" y="304"/>
                    </a:cubicBezTo>
                    <a:cubicBezTo>
                      <a:pt x="40" y="304"/>
                      <a:pt x="40" y="304"/>
                      <a:pt x="40" y="304"/>
                    </a:cubicBezTo>
                    <a:cubicBezTo>
                      <a:pt x="39" y="303"/>
                      <a:pt x="39" y="302"/>
                      <a:pt x="39" y="302"/>
                    </a:cubicBezTo>
                    <a:cubicBezTo>
                      <a:pt x="40" y="299"/>
                      <a:pt x="40" y="299"/>
                      <a:pt x="40" y="299"/>
                    </a:cubicBezTo>
                    <a:cubicBezTo>
                      <a:pt x="40" y="299"/>
                      <a:pt x="40" y="298"/>
                      <a:pt x="40" y="298"/>
                    </a:cubicBezTo>
                    <a:cubicBezTo>
                      <a:pt x="41" y="297"/>
                      <a:pt x="41" y="297"/>
                      <a:pt x="41" y="297"/>
                    </a:cubicBezTo>
                    <a:cubicBezTo>
                      <a:pt x="41" y="297"/>
                      <a:pt x="41" y="297"/>
                      <a:pt x="41" y="297"/>
                    </a:cubicBezTo>
                    <a:cubicBezTo>
                      <a:pt x="41" y="297"/>
                      <a:pt x="41" y="296"/>
                      <a:pt x="40" y="295"/>
                    </a:cubicBezTo>
                    <a:cubicBezTo>
                      <a:pt x="40" y="294"/>
                      <a:pt x="40" y="294"/>
                      <a:pt x="40" y="294"/>
                    </a:cubicBezTo>
                    <a:cubicBezTo>
                      <a:pt x="40" y="293"/>
                      <a:pt x="40" y="293"/>
                      <a:pt x="40" y="293"/>
                    </a:cubicBezTo>
                    <a:cubicBezTo>
                      <a:pt x="40" y="293"/>
                      <a:pt x="40" y="293"/>
                      <a:pt x="40" y="293"/>
                    </a:cubicBezTo>
                    <a:cubicBezTo>
                      <a:pt x="39" y="293"/>
                      <a:pt x="39" y="293"/>
                      <a:pt x="39" y="293"/>
                    </a:cubicBezTo>
                    <a:cubicBezTo>
                      <a:pt x="39" y="292"/>
                      <a:pt x="38" y="292"/>
                      <a:pt x="38" y="291"/>
                    </a:cubicBezTo>
                    <a:cubicBezTo>
                      <a:pt x="38" y="290"/>
                      <a:pt x="38" y="290"/>
                      <a:pt x="39" y="289"/>
                    </a:cubicBezTo>
                    <a:cubicBezTo>
                      <a:pt x="39" y="289"/>
                      <a:pt x="39" y="289"/>
                      <a:pt x="39" y="289"/>
                    </a:cubicBezTo>
                    <a:cubicBezTo>
                      <a:pt x="39" y="289"/>
                      <a:pt x="39" y="289"/>
                      <a:pt x="39" y="289"/>
                    </a:cubicBezTo>
                    <a:cubicBezTo>
                      <a:pt x="39" y="289"/>
                      <a:pt x="40" y="289"/>
                      <a:pt x="40" y="289"/>
                    </a:cubicBezTo>
                    <a:cubicBezTo>
                      <a:pt x="40" y="289"/>
                      <a:pt x="39" y="289"/>
                      <a:pt x="39" y="288"/>
                    </a:cubicBezTo>
                    <a:cubicBezTo>
                      <a:pt x="38" y="288"/>
                      <a:pt x="37" y="288"/>
                      <a:pt x="36" y="287"/>
                    </a:cubicBezTo>
                    <a:cubicBezTo>
                      <a:pt x="36" y="286"/>
                      <a:pt x="36" y="285"/>
                      <a:pt x="36" y="285"/>
                    </a:cubicBezTo>
                    <a:cubicBezTo>
                      <a:pt x="36" y="284"/>
                      <a:pt x="36" y="284"/>
                      <a:pt x="36" y="284"/>
                    </a:cubicBezTo>
                    <a:cubicBezTo>
                      <a:pt x="36" y="283"/>
                      <a:pt x="36" y="283"/>
                      <a:pt x="36" y="283"/>
                    </a:cubicBezTo>
                    <a:cubicBezTo>
                      <a:pt x="36" y="282"/>
                      <a:pt x="36" y="282"/>
                      <a:pt x="36" y="281"/>
                    </a:cubicBezTo>
                    <a:cubicBezTo>
                      <a:pt x="36" y="281"/>
                      <a:pt x="36" y="281"/>
                      <a:pt x="36" y="281"/>
                    </a:cubicBezTo>
                    <a:cubicBezTo>
                      <a:pt x="36" y="280"/>
                      <a:pt x="36" y="279"/>
                      <a:pt x="36" y="279"/>
                    </a:cubicBezTo>
                    <a:cubicBezTo>
                      <a:pt x="36" y="278"/>
                      <a:pt x="36" y="278"/>
                      <a:pt x="36" y="278"/>
                    </a:cubicBezTo>
                    <a:cubicBezTo>
                      <a:pt x="37" y="276"/>
                      <a:pt x="37" y="275"/>
                      <a:pt x="39" y="274"/>
                    </a:cubicBezTo>
                    <a:cubicBezTo>
                      <a:pt x="40" y="274"/>
                      <a:pt x="40" y="274"/>
                      <a:pt x="40" y="274"/>
                    </a:cubicBezTo>
                    <a:cubicBezTo>
                      <a:pt x="40" y="274"/>
                      <a:pt x="40" y="273"/>
                      <a:pt x="40" y="273"/>
                    </a:cubicBezTo>
                    <a:cubicBezTo>
                      <a:pt x="39" y="273"/>
                      <a:pt x="39" y="273"/>
                      <a:pt x="39" y="273"/>
                    </a:cubicBezTo>
                    <a:cubicBezTo>
                      <a:pt x="39" y="270"/>
                      <a:pt x="38" y="269"/>
                      <a:pt x="38" y="266"/>
                    </a:cubicBezTo>
                    <a:cubicBezTo>
                      <a:pt x="38" y="266"/>
                      <a:pt x="38" y="265"/>
                      <a:pt x="38" y="265"/>
                    </a:cubicBezTo>
                    <a:cubicBezTo>
                      <a:pt x="38" y="265"/>
                      <a:pt x="38" y="265"/>
                      <a:pt x="38" y="265"/>
                    </a:cubicBezTo>
                    <a:cubicBezTo>
                      <a:pt x="39" y="263"/>
                      <a:pt x="39" y="262"/>
                      <a:pt x="39" y="261"/>
                    </a:cubicBezTo>
                    <a:cubicBezTo>
                      <a:pt x="39" y="261"/>
                      <a:pt x="39" y="261"/>
                      <a:pt x="39" y="261"/>
                    </a:cubicBezTo>
                    <a:cubicBezTo>
                      <a:pt x="39" y="261"/>
                      <a:pt x="39" y="260"/>
                      <a:pt x="39" y="260"/>
                    </a:cubicBezTo>
                    <a:cubicBezTo>
                      <a:pt x="38" y="260"/>
                      <a:pt x="38" y="260"/>
                      <a:pt x="38" y="260"/>
                    </a:cubicBezTo>
                    <a:cubicBezTo>
                      <a:pt x="38" y="259"/>
                      <a:pt x="38" y="258"/>
                      <a:pt x="38" y="257"/>
                    </a:cubicBezTo>
                    <a:cubicBezTo>
                      <a:pt x="38" y="256"/>
                      <a:pt x="38" y="256"/>
                      <a:pt x="38" y="256"/>
                    </a:cubicBezTo>
                    <a:cubicBezTo>
                      <a:pt x="39" y="256"/>
                      <a:pt x="40" y="254"/>
                      <a:pt x="40" y="253"/>
                    </a:cubicBezTo>
                    <a:cubicBezTo>
                      <a:pt x="40" y="253"/>
                      <a:pt x="40" y="253"/>
                      <a:pt x="40" y="253"/>
                    </a:cubicBezTo>
                    <a:cubicBezTo>
                      <a:pt x="40" y="253"/>
                      <a:pt x="40" y="253"/>
                      <a:pt x="40" y="253"/>
                    </a:cubicBezTo>
                    <a:cubicBezTo>
                      <a:pt x="40" y="253"/>
                      <a:pt x="39" y="252"/>
                      <a:pt x="39" y="251"/>
                    </a:cubicBezTo>
                    <a:cubicBezTo>
                      <a:pt x="39" y="250"/>
                      <a:pt x="39" y="250"/>
                      <a:pt x="40" y="249"/>
                    </a:cubicBezTo>
                    <a:cubicBezTo>
                      <a:pt x="40" y="249"/>
                      <a:pt x="41" y="249"/>
                      <a:pt x="41" y="249"/>
                    </a:cubicBezTo>
                    <a:cubicBezTo>
                      <a:pt x="41" y="248"/>
                      <a:pt x="41" y="248"/>
                      <a:pt x="41" y="246"/>
                    </a:cubicBezTo>
                    <a:cubicBezTo>
                      <a:pt x="41" y="245"/>
                      <a:pt x="41" y="245"/>
                      <a:pt x="41" y="245"/>
                    </a:cubicBezTo>
                    <a:cubicBezTo>
                      <a:pt x="41" y="245"/>
                      <a:pt x="41" y="244"/>
                      <a:pt x="41" y="244"/>
                    </a:cubicBezTo>
                    <a:cubicBezTo>
                      <a:pt x="41" y="242"/>
                      <a:pt x="41" y="242"/>
                      <a:pt x="41" y="242"/>
                    </a:cubicBezTo>
                    <a:cubicBezTo>
                      <a:pt x="42" y="243"/>
                      <a:pt x="42" y="243"/>
                      <a:pt x="42" y="243"/>
                    </a:cubicBezTo>
                    <a:cubicBezTo>
                      <a:pt x="43" y="243"/>
                      <a:pt x="43" y="243"/>
                      <a:pt x="43" y="243"/>
                    </a:cubicBezTo>
                    <a:cubicBezTo>
                      <a:pt x="43" y="243"/>
                      <a:pt x="43" y="242"/>
                      <a:pt x="43" y="242"/>
                    </a:cubicBezTo>
                    <a:cubicBezTo>
                      <a:pt x="43" y="242"/>
                      <a:pt x="43" y="242"/>
                      <a:pt x="43" y="242"/>
                    </a:cubicBezTo>
                    <a:cubicBezTo>
                      <a:pt x="44" y="236"/>
                      <a:pt x="44" y="236"/>
                      <a:pt x="44" y="236"/>
                    </a:cubicBezTo>
                    <a:cubicBezTo>
                      <a:pt x="44" y="236"/>
                      <a:pt x="44" y="236"/>
                      <a:pt x="44" y="235"/>
                    </a:cubicBezTo>
                    <a:cubicBezTo>
                      <a:pt x="44" y="235"/>
                      <a:pt x="44" y="235"/>
                      <a:pt x="44" y="235"/>
                    </a:cubicBezTo>
                    <a:cubicBezTo>
                      <a:pt x="45" y="235"/>
                      <a:pt x="45" y="234"/>
                      <a:pt x="46" y="234"/>
                    </a:cubicBezTo>
                    <a:cubicBezTo>
                      <a:pt x="46" y="234"/>
                      <a:pt x="46" y="234"/>
                      <a:pt x="46" y="234"/>
                    </a:cubicBezTo>
                    <a:cubicBezTo>
                      <a:pt x="46" y="234"/>
                      <a:pt x="47" y="234"/>
                      <a:pt x="47" y="233"/>
                    </a:cubicBezTo>
                    <a:cubicBezTo>
                      <a:pt x="48" y="233"/>
                      <a:pt x="49" y="233"/>
                      <a:pt x="49" y="233"/>
                    </a:cubicBezTo>
                    <a:cubicBezTo>
                      <a:pt x="49" y="232"/>
                      <a:pt x="49" y="232"/>
                      <a:pt x="48" y="231"/>
                    </a:cubicBezTo>
                    <a:cubicBezTo>
                      <a:pt x="48" y="230"/>
                      <a:pt x="48" y="230"/>
                      <a:pt x="48" y="230"/>
                    </a:cubicBezTo>
                    <a:cubicBezTo>
                      <a:pt x="48" y="229"/>
                      <a:pt x="48" y="228"/>
                      <a:pt x="47" y="228"/>
                    </a:cubicBezTo>
                    <a:cubicBezTo>
                      <a:pt x="47" y="226"/>
                      <a:pt x="47" y="225"/>
                      <a:pt x="47" y="224"/>
                    </a:cubicBezTo>
                    <a:cubicBezTo>
                      <a:pt x="47" y="223"/>
                      <a:pt x="47" y="223"/>
                      <a:pt x="47" y="223"/>
                    </a:cubicBezTo>
                    <a:cubicBezTo>
                      <a:pt x="46" y="223"/>
                      <a:pt x="46" y="222"/>
                      <a:pt x="46" y="222"/>
                    </a:cubicBezTo>
                    <a:cubicBezTo>
                      <a:pt x="46" y="221"/>
                      <a:pt x="46" y="221"/>
                      <a:pt x="46" y="221"/>
                    </a:cubicBezTo>
                    <a:cubicBezTo>
                      <a:pt x="46" y="220"/>
                      <a:pt x="46" y="218"/>
                      <a:pt x="46" y="217"/>
                    </a:cubicBezTo>
                    <a:cubicBezTo>
                      <a:pt x="46" y="216"/>
                      <a:pt x="46" y="216"/>
                      <a:pt x="46" y="216"/>
                    </a:cubicBezTo>
                    <a:cubicBezTo>
                      <a:pt x="46" y="216"/>
                      <a:pt x="46" y="216"/>
                      <a:pt x="46" y="216"/>
                    </a:cubicBezTo>
                    <a:cubicBezTo>
                      <a:pt x="46" y="214"/>
                      <a:pt x="46" y="212"/>
                      <a:pt x="47" y="210"/>
                    </a:cubicBezTo>
                    <a:cubicBezTo>
                      <a:pt x="47" y="208"/>
                      <a:pt x="47" y="208"/>
                      <a:pt x="47" y="208"/>
                    </a:cubicBezTo>
                    <a:cubicBezTo>
                      <a:pt x="47" y="206"/>
                      <a:pt x="49" y="206"/>
                      <a:pt x="50" y="206"/>
                    </a:cubicBezTo>
                    <a:cubicBezTo>
                      <a:pt x="50" y="206"/>
                      <a:pt x="51" y="205"/>
                      <a:pt x="51" y="205"/>
                    </a:cubicBezTo>
                    <a:cubicBezTo>
                      <a:pt x="51" y="205"/>
                      <a:pt x="51" y="205"/>
                      <a:pt x="51" y="204"/>
                    </a:cubicBezTo>
                    <a:cubicBezTo>
                      <a:pt x="51" y="204"/>
                      <a:pt x="52" y="204"/>
                      <a:pt x="52" y="203"/>
                    </a:cubicBezTo>
                    <a:cubicBezTo>
                      <a:pt x="52" y="203"/>
                      <a:pt x="52" y="203"/>
                      <a:pt x="52" y="203"/>
                    </a:cubicBezTo>
                    <a:cubicBezTo>
                      <a:pt x="51" y="203"/>
                      <a:pt x="51" y="203"/>
                      <a:pt x="51" y="203"/>
                    </a:cubicBezTo>
                    <a:cubicBezTo>
                      <a:pt x="53" y="202"/>
                      <a:pt x="53" y="202"/>
                      <a:pt x="53" y="202"/>
                    </a:cubicBezTo>
                    <a:cubicBezTo>
                      <a:pt x="53" y="202"/>
                      <a:pt x="53" y="202"/>
                      <a:pt x="53" y="202"/>
                    </a:cubicBezTo>
                    <a:cubicBezTo>
                      <a:pt x="53" y="202"/>
                      <a:pt x="53" y="202"/>
                      <a:pt x="53" y="201"/>
                    </a:cubicBezTo>
                    <a:cubicBezTo>
                      <a:pt x="54" y="199"/>
                      <a:pt x="54" y="197"/>
                      <a:pt x="53" y="196"/>
                    </a:cubicBezTo>
                    <a:cubicBezTo>
                      <a:pt x="53" y="196"/>
                      <a:pt x="53" y="195"/>
                      <a:pt x="53" y="195"/>
                    </a:cubicBezTo>
                    <a:cubicBezTo>
                      <a:pt x="53" y="195"/>
                      <a:pt x="53" y="195"/>
                      <a:pt x="53" y="195"/>
                    </a:cubicBezTo>
                    <a:cubicBezTo>
                      <a:pt x="52" y="194"/>
                      <a:pt x="52" y="193"/>
                      <a:pt x="52" y="192"/>
                    </a:cubicBezTo>
                    <a:cubicBezTo>
                      <a:pt x="52" y="192"/>
                      <a:pt x="52" y="192"/>
                      <a:pt x="53" y="191"/>
                    </a:cubicBezTo>
                    <a:cubicBezTo>
                      <a:pt x="51" y="190"/>
                      <a:pt x="51" y="190"/>
                      <a:pt x="51" y="190"/>
                    </a:cubicBezTo>
                    <a:cubicBezTo>
                      <a:pt x="53" y="191"/>
                      <a:pt x="53" y="191"/>
                      <a:pt x="53" y="191"/>
                    </a:cubicBezTo>
                    <a:cubicBezTo>
                      <a:pt x="53" y="191"/>
                      <a:pt x="53" y="191"/>
                      <a:pt x="53" y="191"/>
                    </a:cubicBezTo>
                    <a:cubicBezTo>
                      <a:pt x="54" y="191"/>
                      <a:pt x="54" y="190"/>
                      <a:pt x="54" y="190"/>
                    </a:cubicBezTo>
                    <a:cubicBezTo>
                      <a:pt x="54" y="190"/>
                      <a:pt x="54" y="190"/>
                      <a:pt x="54" y="190"/>
                    </a:cubicBezTo>
                    <a:cubicBezTo>
                      <a:pt x="54" y="189"/>
                      <a:pt x="54" y="189"/>
                      <a:pt x="55" y="188"/>
                    </a:cubicBezTo>
                    <a:cubicBezTo>
                      <a:pt x="55" y="187"/>
                      <a:pt x="55" y="187"/>
                      <a:pt x="55" y="187"/>
                    </a:cubicBezTo>
                    <a:cubicBezTo>
                      <a:pt x="55" y="187"/>
                      <a:pt x="55" y="187"/>
                      <a:pt x="55" y="186"/>
                    </a:cubicBezTo>
                    <a:cubicBezTo>
                      <a:pt x="57" y="182"/>
                      <a:pt x="57" y="182"/>
                      <a:pt x="57" y="182"/>
                    </a:cubicBezTo>
                    <a:cubicBezTo>
                      <a:pt x="57" y="181"/>
                      <a:pt x="58" y="180"/>
                      <a:pt x="59" y="180"/>
                    </a:cubicBezTo>
                    <a:cubicBezTo>
                      <a:pt x="59" y="180"/>
                      <a:pt x="59" y="179"/>
                      <a:pt x="59" y="179"/>
                    </a:cubicBezTo>
                    <a:cubicBezTo>
                      <a:pt x="59" y="178"/>
                      <a:pt x="59" y="178"/>
                      <a:pt x="59" y="177"/>
                    </a:cubicBezTo>
                    <a:cubicBezTo>
                      <a:pt x="60" y="172"/>
                      <a:pt x="60" y="172"/>
                      <a:pt x="60" y="172"/>
                    </a:cubicBezTo>
                    <a:cubicBezTo>
                      <a:pt x="60" y="172"/>
                      <a:pt x="60" y="172"/>
                      <a:pt x="59" y="172"/>
                    </a:cubicBezTo>
                    <a:cubicBezTo>
                      <a:pt x="59" y="172"/>
                      <a:pt x="59" y="172"/>
                      <a:pt x="59" y="172"/>
                    </a:cubicBezTo>
                    <a:cubicBezTo>
                      <a:pt x="58" y="171"/>
                      <a:pt x="57" y="170"/>
                      <a:pt x="57" y="169"/>
                    </a:cubicBezTo>
                    <a:cubicBezTo>
                      <a:pt x="57" y="169"/>
                      <a:pt x="57" y="169"/>
                      <a:pt x="57" y="168"/>
                    </a:cubicBezTo>
                    <a:cubicBezTo>
                      <a:pt x="57" y="168"/>
                      <a:pt x="57" y="167"/>
                      <a:pt x="57" y="166"/>
                    </a:cubicBezTo>
                    <a:cubicBezTo>
                      <a:pt x="57" y="165"/>
                      <a:pt x="57" y="165"/>
                      <a:pt x="57" y="165"/>
                    </a:cubicBezTo>
                    <a:cubicBezTo>
                      <a:pt x="57" y="164"/>
                      <a:pt x="57" y="164"/>
                      <a:pt x="57" y="164"/>
                    </a:cubicBezTo>
                    <a:cubicBezTo>
                      <a:pt x="56" y="163"/>
                      <a:pt x="56" y="162"/>
                      <a:pt x="56" y="161"/>
                    </a:cubicBezTo>
                    <a:cubicBezTo>
                      <a:pt x="54" y="162"/>
                      <a:pt x="54" y="162"/>
                      <a:pt x="54" y="162"/>
                    </a:cubicBezTo>
                    <a:cubicBezTo>
                      <a:pt x="56" y="160"/>
                      <a:pt x="56" y="160"/>
                      <a:pt x="56" y="160"/>
                    </a:cubicBezTo>
                    <a:cubicBezTo>
                      <a:pt x="55" y="160"/>
                      <a:pt x="55" y="160"/>
                      <a:pt x="55" y="160"/>
                    </a:cubicBezTo>
                    <a:cubicBezTo>
                      <a:pt x="55" y="160"/>
                      <a:pt x="55" y="160"/>
                      <a:pt x="55" y="160"/>
                    </a:cubicBezTo>
                    <a:cubicBezTo>
                      <a:pt x="55" y="160"/>
                      <a:pt x="55" y="160"/>
                      <a:pt x="55" y="160"/>
                    </a:cubicBezTo>
                    <a:cubicBezTo>
                      <a:pt x="55" y="159"/>
                      <a:pt x="54" y="158"/>
                      <a:pt x="54" y="157"/>
                    </a:cubicBezTo>
                    <a:cubicBezTo>
                      <a:pt x="54" y="156"/>
                      <a:pt x="54" y="156"/>
                      <a:pt x="54" y="156"/>
                    </a:cubicBezTo>
                    <a:cubicBezTo>
                      <a:pt x="54" y="155"/>
                      <a:pt x="55" y="155"/>
                      <a:pt x="55" y="155"/>
                    </a:cubicBezTo>
                    <a:cubicBezTo>
                      <a:pt x="55" y="155"/>
                      <a:pt x="55" y="155"/>
                      <a:pt x="55" y="155"/>
                    </a:cubicBezTo>
                    <a:cubicBezTo>
                      <a:pt x="55" y="154"/>
                      <a:pt x="55" y="154"/>
                      <a:pt x="55" y="154"/>
                    </a:cubicBezTo>
                    <a:cubicBezTo>
                      <a:pt x="54" y="153"/>
                      <a:pt x="54" y="152"/>
                      <a:pt x="53" y="151"/>
                    </a:cubicBezTo>
                    <a:cubicBezTo>
                      <a:pt x="53" y="151"/>
                      <a:pt x="53" y="151"/>
                      <a:pt x="53" y="151"/>
                    </a:cubicBezTo>
                    <a:cubicBezTo>
                      <a:pt x="52" y="149"/>
                      <a:pt x="52" y="147"/>
                      <a:pt x="53" y="145"/>
                    </a:cubicBezTo>
                    <a:cubicBezTo>
                      <a:pt x="53" y="145"/>
                      <a:pt x="53" y="145"/>
                      <a:pt x="54" y="144"/>
                    </a:cubicBezTo>
                    <a:cubicBezTo>
                      <a:pt x="54" y="144"/>
                      <a:pt x="54" y="144"/>
                      <a:pt x="54" y="144"/>
                    </a:cubicBezTo>
                    <a:cubicBezTo>
                      <a:pt x="55" y="144"/>
                      <a:pt x="55" y="144"/>
                      <a:pt x="55" y="144"/>
                    </a:cubicBezTo>
                    <a:cubicBezTo>
                      <a:pt x="55" y="144"/>
                      <a:pt x="55" y="144"/>
                      <a:pt x="55" y="144"/>
                    </a:cubicBezTo>
                    <a:cubicBezTo>
                      <a:pt x="55" y="143"/>
                      <a:pt x="55" y="143"/>
                      <a:pt x="55" y="143"/>
                    </a:cubicBezTo>
                    <a:cubicBezTo>
                      <a:pt x="55" y="142"/>
                      <a:pt x="55" y="141"/>
                      <a:pt x="56" y="139"/>
                    </a:cubicBezTo>
                    <a:cubicBezTo>
                      <a:pt x="56" y="139"/>
                      <a:pt x="56" y="139"/>
                      <a:pt x="56" y="139"/>
                    </a:cubicBezTo>
                    <a:cubicBezTo>
                      <a:pt x="56" y="138"/>
                      <a:pt x="56" y="138"/>
                      <a:pt x="56" y="138"/>
                    </a:cubicBezTo>
                    <a:cubicBezTo>
                      <a:pt x="56" y="137"/>
                      <a:pt x="57" y="136"/>
                      <a:pt x="58" y="135"/>
                    </a:cubicBezTo>
                    <a:cubicBezTo>
                      <a:pt x="58" y="135"/>
                      <a:pt x="58" y="135"/>
                      <a:pt x="58" y="135"/>
                    </a:cubicBezTo>
                    <a:cubicBezTo>
                      <a:pt x="58" y="134"/>
                      <a:pt x="58" y="134"/>
                      <a:pt x="58" y="134"/>
                    </a:cubicBezTo>
                    <a:cubicBezTo>
                      <a:pt x="58" y="134"/>
                      <a:pt x="58" y="134"/>
                      <a:pt x="58" y="133"/>
                    </a:cubicBezTo>
                    <a:cubicBezTo>
                      <a:pt x="58" y="133"/>
                      <a:pt x="58" y="132"/>
                      <a:pt x="58" y="132"/>
                    </a:cubicBezTo>
                    <a:cubicBezTo>
                      <a:pt x="58" y="131"/>
                      <a:pt x="58" y="131"/>
                      <a:pt x="58" y="131"/>
                    </a:cubicBezTo>
                    <a:cubicBezTo>
                      <a:pt x="58" y="131"/>
                      <a:pt x="58" y="131"/>
                      <a:pt x="58" y="131"/>
                    </a:cubicBezTo>
                    <a:cubicBezTo>
                      <a:pt x="56" y="131"/>
                      <a:pt x="56" y="131"/>
                      <a:pt x="56" y="131"/>
                    </a:cubicBezTo>
                    <a:cubicBezTo>
                      <a:pt x="58" y="130"/>
                      <a:pt x="58" y="130"/>
                      <a:pt x="58" y="130"/>
                    </a:cubicBezTo>
                    <a:cubicBezTo>
                      <a:pt x="58" y="130"/>
                      <a:pt x="58" y="130"/>
                      <a:pt x="58" y="130"/>
                    </a:cubicBezTo>
                    <a:cubicBezTo>
                      <a:pt x="59" y="130"/>
                      <a:pt x="58" y="129"/>
                      <a:pt x="58" y="128"/>
                    </a:cubicBezTo>
                    <a:cubicBezTo>
                      <a:pt x="58" y="128"/>
                      <a:pt x="58" y="127"/>
                      <a:pt x="58" y="126"/>
                    </a:cubicBezTo>
                    <a:cubicBezTo>
                      <a:pt x="58" y="125"/>
                      <a:pt x="58" y="125"/>
                      <a:pt x="58" y="124"/>
                    </a:cubicBezTo>
                    <a:cubicBezTo>
                      <a:pt x="58" y="124"/>
                      <a:pt x="58" y="124"/>
                      <a:pt x="58" y="123"/>
                    </a:cubicBezTo>
                    <a:cubicBezTo>
                      <a:pt x="59" y="122"/>
                      <a:pt x="60" y="120"/>
                      <a:pt x="61" y="117"/>
                    </a:cubicBezTo>
                    <a:cubicBezTo>
                      <a:pt x="61" y="117"/>
                      <a:pt x="61" y="116"/>
                      <a:pt x="61" y="116"/>
                    </a:cubicBezTo>
                    <a:cubicBezTo>
                      <a:pt x="61" y="116"/>
                      <a:pt x="61" y="115"/>
                      <a:pt x="61" y="115"/>
                    </a:cubicBezTo>
                    <a:cubicBezTo>
                      <a:pt x="62" y="113"/>
                      <a:pt x="63" y="112"/>
                      <a:pt x="64" y="111"/>
                    </a:cubicBezTo>
                    <a:cubicBezTo>
                      <a:pt x="65" y="110"/>
                      <a:pt x="66" y="109"/>
                      <a:pt x="66" y="109"/>
                    </a:cubicBezTo>
                    <a:cubicBezTo>
                      <a:pt x="66" y="108"/>
                      <a:pt x="66" y="108"/>
                      <a:pt x="66" y="108"/>
                    </a:cubicBezTo>
                    <a:cubicBezTo>
                      <a:pt x="67" y="107"/>
                      <a:pt x="68" y="105"/>
                      <a:pt x="69" y="104"/>
                    </a:cubicBezTo>
                    <a:cubicBezTo>
                      <a:pt x="69" y="103"/>
                      <a:pt x="69" y="102"/>
                      <a:pt x="70" y="101"/>
                    </a:cubicBezTo>
                    <a:cubicBezTo>
                      <a:pt x="71" y="100"/>
                      <a:pt x="72" y="100"/>
                      <a:pt x="72" y="100"/>
                    </a:cubicBezTo>
                    <a:cubicBezTo>
                      <a:pt x="73" y="100"/>
                      <a:pt x="73" y="100"/>
                      <a:pt x="73" y="100"/>
                    </a:cubicBezTo>
                    <a:cubicBezTo>
                      <a:pt x="73" y="100"/>
                      <a:pt x="73" y="100"/>
                      <a:pt x="73" y="100"/>
                    </a:cubicBezTo>
                    <a:cubicBezTo>
                      <a:pt x="73" y="100"/>
                      <a:pt x="73" y="100"/>
                      <a:pt x="73" y="100"/>
                    </a:cubicBezTo>
                    <a:cubicBezTo>
                      <a:pt x="73" y="100"/>
                      <a:pt x="74" y="100"/>
                      <a:pt x="74" y="100"/>
                    </a:cubicBezTo>
                    <a:cubicBezTo>
                      <a:pt x="74" y="99"/>
                      <a:pt x="74" y="99"/>
                      <a:pt x="74" y="99"/>
                    </a:cubicBezTo>
                    <a:cubicBezTo>
                      <a:pt x="75" y="99"/>
                      <a:pt x="75" y="99"/>
                      <a:pt x="75" y="99"/>
                    </a:cubicBezTo>
                    <a:cubicBezTo>
                      <a:pt x="75" y="99"/>
                      <a:pt x="75" y="99"/>
                      <a:pt x="75" y="99"/>
                    </a:cubicBezTo>
                    <a:cubicBezTo>
                      <a:pt x="75" y="99"/>
                      <a:pt x="75" y="99"/>
                      <a:pt x="75" y="99"/>
                    </a:cubicBezTo>
                    <a:cubicBezTo>
                      <a:pt x="75" y="99"/>
                      <a:pt x="75" y="99"/>
                      <a:pt x="75" y="99"/>
                    </a:cubicBezTo>
                    <a:cubicBezTo>
                      <a:pt x="75" y="98"/>
                      <a:pt x="74" y="98"/>
                      <a:pt x="74" y="97"/>
                    </a:cubicBezTo>
                    <a:cubicBezTo>
                      <a:pt x="73" y="97"/>
                      <a:pt x="72" y="96"/>
                      <a:pt x="72" y="95"/>
                    </a:cubicBezTo>
                    <a:cubicBezTo>
                      <a:pt x="72" y="94"/>
                      <a:pt x="72" y="93"/>
                      <a:pt x="72" y="93"/>
                    </a:cubicBezTo>
                    <a:cubicBezTo>
                      <a:pt x="72" y="93"/>
                      <a:pt x="72" y="93"/>
                      <a:pt x="72" y="93"/>
                    </a:cubicBezTo>
                    <a:cubicBezTo>
                      <a:pt x="72" y="91"/>
                      <a:pt x="72" y="89"/>
                      <a:pt x="72" y="87"/>
                    </a:cubicBezTo>
                    <a:cubicBezTo>
                      <a:pt x="72" y="81"/>
                      <a:pt x="72" y="81"/>
                      <a:pt x="72" y="81"/>
                    </a:cubicBezTo>
                    <a:cubicBezTo>
                      <a:pt x="73" y="80"/>
                      <a:pt x="73" y="79"/>
                      <a:pt x="74" y="79"/>
                    </a:cubicBezTo>
                    <a:cubicBezTo>
                      <a:pt x="73" y="78"/>
                      <a:pt x="72" y="76"/>
                      <a:pt x="72" y="75"/>
                    </a:cubicBezTo>
                    <a:cubicBezTo>
                      <a:pt x="72" y="75"/>
                      <a:pt x="73" y="73"/>
                      <a:pt x="74" y="73"/>
                    </a:cubicBezTo>
                    <a:cubicBezTo>
                      <a:pt x="74" y="72"/>
                      <a:pt x="74" y="72"/>
                      <a:pt x="75" y="72"/>
                    </a:cubicBezTo>
                    <a:cubicBezTo>
                      <a:pt x="76" y="71"/>
                      <a:pt x="77" y="70"/>
                      <a:pt x="78" y="69"/>
                    </a:cubicBezTo>
                    <a:cubicBezTo>
                      <a:pt x="83" y="67"/>
                      <a:pt x="83" y="67"/>
                      <a:pt x="83" y="67"/>
                    </a:cubicBezTo>
                    <a:cubicBezTo>
                      <a:pt x="84" y="67"/>
                      <a:pt x="84" y="67"/>
                      <a:pt x="85" y="67"/>
                    </a:cubicBezTo>
                    <a:cubicBezTo>
                      <a:pt x="85" y="67"/>
                      <a:pt x="85" y="66"/>
                      <a:pt x="85" y="66"/>
                    </a:cubicBezTo>
                    <a:cubicBezTo>
                      <a:pt x="86" y="66"/>
                      <a:pt x="86" y="64"/>
                      <a:pt x="86" y="63"/>
                    </a:cubicBezTo>
                    <a:cubicBezTo>
                      <a:pt x="86" y="63"/>
                      <a:pt x="86" y="63"/>
                      <a:pt x="86" y="63"/>
                    </a:cubicBezTo>
                    <a:cubicBezTo>
                      <a:pt x="86" y="62"/>
                      <a:pt x="86" y="62"/>
                      <a:pt x="87" y="61"/>
                    </a:cubicBezTo>
                    <a:cubicBezTo>
                      <a:pt x="87" y="61"/>
                      <a:pt x="87" y="61"/>
                      <a:pt x="87" y="60"/>
                    </a:cubicBezTo>
                    <a:cubicBezTo>
                      <a:pt x="87" y="59"/>
                      <a:pt x="88" y="58"/>
                      <a:pt x="88" y="57"/>
                    </a:cubicBezTo>
                    <a:cubicBezTo>
                      <a:pt x="88" y="57"/>
                      <a:pt x="88" y="57"/>
                      <a:pt x="88" y="57"/>
                    </a:cubicBezTo>
                    <a:cubicBezTo>
                      <a:pt x="88" y="56"/>
                      <a:pt x="88" y="56"/>
                      <a:pt x="88" y="56"/>
                    </a:cubicBezTo>
                    <a:cubicBezTo>
                      <a:pt x="88" y="56"/>
                      <a:pt x="88" y="56"/>
                      <a:pt x="87" y="56"/>
                    </a:cubicBezTo>
                    <a:cubicBezTo>
                      <a:pt x="87" y="56"/>
                      <a:pt x="87" y="56"/>
                      <a:pt x="87" y="56"/>
                    </a:cubicBezTo>
                    <a:cubicBezTo>
                      <a:pt x="87" y="56"/>
                      <a:pt x="87" y="56"/>
                      <a:pt x="87" y="56"/>
                    </a:cubicBezTo>
                    <a:cubicBezTo>
                      <a:pt x="82" y="56"/>
                      <a:pt x="82" y="56"/>
                      <a:pt x="82" y="56"/>
                    </a:cubicBezTo>
                    <a:cubicBezTo>
                      <a:pt x="82" y="56"/>
                      <a:pt x="82" y="56"/>
                      <a:pt x="82" y="56"/>
                    </a:cubicBezTo>
                    <a:cubicBezTo>
                      <a:pt x="81" y="56"/>
                      <a:pt x="80" y="56"/>
                      <a:pt x="80" y="55"/>
                    </a:cubicBezTo>
                    <a:cubicBezTo>
                      <a:pt x="80" y="55"/>
                      <a:pt x="80" y="55"/>
                      <a:pt x="80" y="55"/>
                    </a:cubicBezTo>
                    <a:cubicBezTo>
                      <a:pt x="80" y="55"/>
                      <a:pt x="79" y="54"/>
                      <a:pt x="79" y="54"/>
                    </a:cubicBezTo>
                    <a:cubicBezTo>
                      <a:pt x="79" y="54"/>
                      <a:pt x="79" y="53"/>
                      <a:pt x="79" y="53"/>
                    </a:cubicBezTo>
                    <a:cubicBezTo>
                      <a:pt x="79" y="53"/>
                      <a:pt x="80" y="52"/>
                      <a:pt x="80" y="52"/>
                    </a:cubicBezTo>
                    <a:cubicBezTo>
                      <a:pt x="80" y="52"/>
                      <a:pt x="79" y="51"/>
                      <a:pt x="79" y="51"/>
                    </a:cubicBezTo>
                    <a:cubicBezTo>
                      <a:pt x="79" y="50"/>
                      <a:pt x="79" y="50"/>
                      <a:pt x="79" y="50"/>
                    </a:cubicBezTo>
                    <a:cubicBezTo>
                      <a:pt x="79" y="50"/>
                      <a:pt x="79" y="50"/>
                      <a:pt x="79" y="49"/>
                    </a:cubicBezTo>
                    <a:cubicBezTo>
                      <a:pt x="79" y="49"/>
                      <a:pt x="79" y="49"/>
                      <a:pt x="79" y="49"/>
                    </a:cubicBezTo>
                    <a:cubicBezTo>
                      <a:pt x="79" y="49"/>
                      <a:pt x="79" y="49"/>
                      <a:pt x="79" y="49"/>
                    </a:cubicBezTo>
                    <a:cubicBezTo>
                      <a:pt x="79" y="49"/>
                      <a:pt x="79" y="48"/>
                      <a:pt x="79" y="48"/>
                    </a:cubicBezTo>
                    <a:cubicBezTo>
                      <a:pt x="79" y="48"/>
                      <a:pt x="79" y="48"/>
                      <a:pt x="78" y="47"/>
                    </a:cubicBezTo>
                    <a:cubicBezTo>
                      <a:pt x="78" y="47"/>
                      <a:pt x="78" y="47"/>
                      <a:pt x="78" y="47"/>
                    </a:cubicBezTo>
                    <a:cubicBezTo>
                      <a:pt x="78" y="47"/>
                      <a:pt x="78" y="47"/>
                      <a:pt x="78" y="46"/>
                    </a:cubicBezTo>
                    <a:cubicBezTo>
                      <a:pt x="77" y="45"/>
                      <a:pt x="77" y="45"/>
                      <a:pt x="77" y="44"/>
                    </a:cubicBezTo>
                    <a:cubicBezTo>
                      <a:pt x="77" y="43"/>
                      <a:pt x="77" y="43"/>
                      <a:pt x="77" y="43"/>
                    </a:cubicBezTo>
                    <a:cubicBezTo>
                      <a:pt x="77" y="42"/>
                      <a:pt x="77" y="42"/>
                      <a:pt x="77" y="42"/>
                    </a:cubicBezTo>
                    <a:cubicBezTo>
                      <a:pt x="77" y="40"/>
                      <a:pt x="77" y="39"/>
                      <a:pt x="76" y="38"/>
                    </a:cubicBezTo>
                    <a:cubicBezTo>
                      <a:pt x="76" y="38"/>
                      <a:pt x="76" y="38"/>
                      <a:pt x="76" y="38"/>
                    </a:cubicBezTo>
                    <a:cubicBezTo>
                      <a:pt x="76" y="37"/>
                      <a:pt x="75" y="37"/>
                      <a:pt x="75" y="37"/>
                    </a:cubicBezTo>
                    <a:cubicBezTo>
                      <a:pt x="75" y="36"/>
                      <a:pt x="75" y="36"/>
                      <a:pt x="75" y="36"/>
                    </a:cubicBezTo>
                    <a:cubicBezTo>
                      <a:pt x="75" y="36"/>
                      <a:pt x="75" y="36"/>
                      <a:pt x="75" y="36"/>
                    </a:cubicBezTo>
                    <a:cubicBezTo>
                      <a:pt x="74" y="36"/>
                      <a:pt x="74" y="36"/>
                      <a:pt x="74" y="36"/>
                    </a:cubicBezTo>
                    <a:cubicBezTo>
                      <a:pt x="74" y="35"/>
                      <a:pt x="74" y="35"/>
                      <a:pt x="74" y="35"/>
                    </a:cubicBezTo>
                    <a:cubicBezTo>
                      <a:pt x="73" y="35"/>
                      <a:pt x="73" y="34"/>
                      <a:pt x="73" y="32"/>
                    </a:cubicBezTo>
                    <a:cubicBezTo>
                      <a:pt x="73" y="32"/>
                      <a:pt x="73" y="32"/>
                      <a:pt x="73" y="32"/>
                    </a:cubicBezTo>
                    <a:cubicBezTo>
                      <a:pt x="73" y="32"/>
                      <a:pt x="73" y="32"/>
                      <a:pt x="73" y="32"/>
                    </a:cubicBezTo>
                    <a:cubicBezTo>
                      <a:pt x="73" y="32"/>
                      <a:pt x="73" y="32"/>
                      <a:pt x="73" y="32"/>
                    </a:cubicBezTo>
                    <a:cubicBezTo>
                      <a:pt x="73" y="31"/>
                      <a:pt x="73" y="31"/>
                      <a:pt x="72" y="31"/>
                    </a:cubicBezTo>
                    <a:cubicBezTo>
                      <a:pt x="70" y="29"/>
                      <a:pt x="70" y="28"/>
                      <a:pt x="70" y="26"/>
                    </a:cubicBezTo>
                    <a:cubicBezTo>
                      <a:pt x="70" y="25"/>
                      <a:pt x="70" y="25"/>
                      <a:pt x="70" y="25"/>
                    </a:cubicBezTo>
                    <a:cubicBezTo>
                      <a:pt x="70" y="25"/>
                      <a:pt x="70" y="25"/>
                      <a:pt x="71" y="24"/>
                    </a:cubicBezTo>
                    <a:cubicBezTo>
                      <a:pt x="71" y="24"/>
                      <a:pt x="71" y="24"/>
                      <a:pt x="72" y="24"/>
                    </a:cubicBezTo>
                    <a:cubicBezTo>
                      <a:pt x="72" y="24"/>
                      <a:pt x="72" y="24"/>
                      <a:pt x="72" y="24"/>
                    </a:cubicBezTo>
                    <a:cubicBezTo>
                      <a:pt x="72" y="23"/>
                      <a:pt x="72" y="23"/>
                      <a:pt x="72" y="23"/>
                    </a:cubicBezTo>
                    <a:cubicBezTo>
                      <a:pt x="72" y="23"/>
                      <a:pt x="72" y="23"/>
                      <a:pt x="72" y="23"/>
                    </a:cubicBezTo>
                    <a:cubicBezTo>
                      <a:pt x="72" y="23"/>
                      <a:pt x="72" y="23"/>
                      <a:pt x="72" y="23"/>
                    </a:cubicBezTo>
                    <a:cubicBezTo>
                      <a:pt x="72" y="23"/>
                      <a:pt x="72" y="23"/>
                      <a:pt x="72" y="23"/>
                    </a:cubicBezTo>
                    <a:cubicBezTo>
                      <a:pt x="71" y="22"/>
                      <a:pt x="71" y="21"/>
                      <a:pt x="72" y="20"/>
                    </a:cubicBezTo>
                    <a:cubicBezTo>
                      <a:pt x="72" y="20"/>
                      <a:pt x="72" y="19"/>
                      <a:pt x="73" y="18"/>
                    </a:cubicBezTo>
                    <a:cubicBezTo>
                      <a:pt x="72" y="18"/>
                      <a:pt x="72" y="17"/>
                      <a:pt x="71" y="17"/>
                    </a:cubicBezTo>
                    <a:cubicBezTo>
                      <a:pt x="71" y="17"/>
                      <a:pt x="71" y="17"/>
                      <a:pt x="71" y="17"/>
                    </a:cubicBezTo>
                    <a:cubicBezTo>
                      <a:pt x="71" y="16"/>
                      <a:pt x="70" y="16"/>
                      <a:pt x="70" y="15"/>
                    </a:cubicBezTo>
                    <a:cubicBezTo>
                      <a:pt x="68" y="13"/>
                      <a:pt x="68" y="12"/>
                      <a:pt x="68" y="9"/>
                    </a:cubicBezTo>
                    <a:cubicBezTo>
                      <a:pt x="68" y="9"/>
                      <a:pt x="68" y="9"/>
                      <a:pt x="68" y="8"/>
                    </a:cubicBezTo>
                    <a:cubicBezTo>
                      <a:pt x="68" y="8"/>
                      <a:pt x="68" y="8"/>
                      <a:pt x="68" y="8"/>
                    </a:cubicBezTo>
                    <a:cubicBezTo>
                      <a:pt x="68" y="7"/>
                      <a:pt x="68" y="6"/>
                      <a:pt x="67" y="5"/>
                    </a:cubicBezTo>
                    <a:cubicBezTo>
                      <a:pt x="67" y="5"/>
                      <a:pt x="67" y="5"/>
                      <a:pt x="67" y="5"/>
                    </a:cubicBezTo>
                    <a:cubicBezTo>
                      <a:pt x="67" y="5"/>
                      <a:pt x="67" y="5"/>
                      <a:pt x="67" y="5"/>
                    </a:cubicBezTo>
                    <a:cubicBezTo>
                      <a:pt x="66" y="4"/>
                      <a:pt x="66" y="4"/>
                      <a:pt x="66" y="4"/>
                    </a:cubicBezTo>
                    <a:cubicBezTo>
                      <a:pt x="65" y="4"/>
                      <a:pt x="65" y="3"/>
                      <a:pt x="64" y="2"/>
                    </a:cubicBezTo>
                    <a:cubicBezTo>
                      <a:pt x="64" y="1"/>
                      <a:pt x="64" y="1"/>
                      <a:pt x="64" y="1"/>
                    </a:cubicBezTo>
                    <a:cubicBezTo>
                      <a:pt x="64" y="0"/>
                      <a:pt x="64" y="0"/>
                      <a:pt x="64" y="0"/>
                    </a:cubicBezTo>
                    <a:cubicBezTo>
                      <a:pt x="64" y="0"/>
                      <a:pt x="63" y="0"/>
                      <a:pt x="63" y="0"/>
                    </a:cubicBezTo>
                    <a:cubicBezTo>
                      <a:pt x="63" y="0"/>
                      <a:pt x="63" y="0"/>
                      <a:pt x="63" y="0"/>
                    </a:cubicBezTo>
                    <a:cubicBezTo>
                      <a:pt x="63" y="0"/>
                      <a:pt x="63" y="0"/>
                      <a:pt x="63" y="0"/>
                    </a:cubicBezTo>
                    <a:cubicBezTo>
                      <a:pt x="63" y="0"/>
                      <a:pt x="62" y="0"/>
                      <a:pt x="62" y="0"/>
                    </a:cubicBezTo>
                    <a:cubicBezTo>
                      <a:pt x="62" y="0"/>
                      <a:pt x="62" y="0"/>
                      <a:pt x="62" y="0"/>
                    </a:cubicBezTo>
                    <a:cubicBezTo>
                      <a:pt x="62" y="1"/>
                      <a:pt x="62" y="3"/>
                      <a:pt x="62" y="4"/>
                    </a:cubicBezTo>
                    <a:cubicBezTo>
                      <a:pt x="61" y="6"/>
                      <a:pt x="61" y="6"/>
                      <a:pt x="60" y="6"/>
                    </a:cubicBezTo>
                    <a:cubicBezTo>
                      <a:pt x="55" y="8"/>
                      <a:pt x="55" y="8"/>
                      <a:pt x="55" y="8"/>
                    </a:cubicBezTo>
                    <a:cubicBezTo>
                      <a:pt x="55" y="8"/>
                      <a:pt x="55" y="8"/>
                      <a:pt x="55" y="9"/>
                    </a:cubicBezTo>
                    <a:cubicBezTo>
                      <a:pt x="55" y="11"/>
                      <a:pt x="56" y="12"/>
                      <a:pt x="56" y="14"/>
                    </a:cubicBezTo>
                    <a:cubicBezTo>
                      <a:pt x="57" y="21"/>
                      <a:pt x="57" y="27"/>
                      <a:pt x="58" y="34"/>
                    </a:cubicBezTo>
                    <a:cubicBezTo>
                      <a:pt x="58" y="36"/>
                      <a:pt x="59" y="38"/>
                      <a:pt x="58" y="40"/>
                    </a:cubicBezTo>
                    <a:cubicBezTo>
                      <a:pt x="58" y="44"/>
                      <a:pt x="57" y="47"/>
                      <a:pt x="56" y="51"/>
                    </a:cubicBezTo>
                    <a:cubicBezTo>
                      <a:pt x="56" y="54"/>
                      <a:pt x="57" y="57"/>
                      <a:pt x="53" y="57"/>
                    </a:cubicBezTo>
                    <a:cubicBezTo>
                      <a:pt x="53" y="59"/>
                      <a:pt x="53" y="60"/>
                      <a:pt x="53" y="62"/>
                    </a:cubicBezTo>
                    <a:cubicBezTo>
                      <a:pt x="53" y="62"/>
                      <a:pt x="54" y="62"/>
                      <a:pt x="54" y="61"/>
                    </a:cubicBezTo>
                    <a:cubicBezTo>
                      <a:pt x="54" y="65"/>
                      <a:pt x="53" y="69"/>
                      <a:pt x="53" y="73"/>
                    </a:cubicBezTo>
                    <a:cubicBezTo>
                      <a:pt x="53" y="74"/>
                      <a:pt x="53" y="75"/>
                      <a:pt x="53" y="76"/>
                    </a:cubicBezTo>
                    <a:cubicBezTo>
                      <a:pt x="54" y="78"/>
                      <a:pt x="55" y="80"/>
                      <a:pt x="54" y="81"/>
                    </a:cubicBezTo>
                    <a:cubicBezTo>
                      <a:pt x="54" y="82"/>
                      <a:pt x="54" y="83"/>
                      <a:pt x="53" y="84"/>
                    </a:cubicBezTo>
                    <a:cubicBezTo>
                      <a:pt x="53" y="85"/>
                      <a:pt x="52" y="86"/>
                      <a:pt x="52" y="87"/>
                    </a:cubicBezTo>
                    <a:cubicBezTo>
                      <a:pt x="52" y="88"/>
                      <a:pt x="53" y="89"/>
                      <a:pt x="52" y="90"/>
                    </a:cubicBezTo>
                    <a:cubicBezTo>
                      <a:pt x="52" y="93"/>
                      <a:pt x="52" y="96"/>
                      <a:pt x="50" y="99"/>
                    </a:cubicBezTo>
                    <a:cubicBezTo>
                      <a:pt x="49" y="102"/>
                      <a:pt x="49" y="102"/>
                      <a:pt x="49" y="105"/>
                    </a:cubicBezTo>
                    <a:cubicBezTo>
                      <a:pt x="50" y="106"/>
                      <a:pt x="50" y="107"/>
                      <a:pt x="49" y="108"/>
                    </a:cubicBezTo>
                    <a:cubicBezTo>
                      <a:pt x="48" y="109"/>
                      <a:pt x="47" y="110"/>
                      <a:pt x="47" y="111"/>
                    </a:cubicBezTo>
                    <a:cubicBezTo>
                      <a:pt x="47" y="114"/>
                      <a:pt x="47" y="116"/>
                      <a:pt x="46" y="118"/>
                    </a:cubicBezTo>
                    <a:cubicBezTo>
                      <a:pt x="45" y="120"/>
                      <a:pt x="43" y="120"/>
                      <a:pt x="44" y="122"/>
                    </a:cubicBezTo>
                    <a:cubicBezTo>
                      <a:pt x="44" y="124"/>
                      <a:pt x="44" y="125"/>
                      <a:pt x="45" y="126"/>
                    </a:cubicBezTo>
                    <a:cubicBezTo>
                      <a:pt x="46" y="127"/>
                      <a:pt x="46" y="128"/>
                      <a:pt x="46" y="128"/>
                    </a:cubicBezTo>
                    <a:cubicBezTo>
                      <a:pt x="46" y="130"/>
                      <a:pt x="46" y="131"/>
                      <a:pt x="46" y="132"/>
                    </a:cubicBezTo>
                    <a:cubicBezTo>
                      <a:pt x="46" y="133"/>
                      <a:pt x="45" y="133"/>
                      <a:pt x="45" y="133"/>
                    </a:cubicBezTo>
                    <a:cubicBezTo>
                      <a:pt x="45" y="134"/>
                      <a:pt x="45" y="136"/>
                      <a:pt x="44" y="135"/>
                    </a:cubicBezTo>
                    <a:cubicBezTo>
                      <a:pt x="44" y="136"/>
                      <a:pt x="44" y="136"/>
                      <a:pt x="43" y="136"/>
                    </a:cubicBezTo>
                    <a:cubicBezTo>
                      <a:pt x="42" y="137"/>
                      <a:pt x="42" y="137"/>
                      <a:pt x="42" y="139"/>
                    </a:cubicBezTo>
                    <a:cubicBezTo>
                      <a:pt x="42" y="141"/>
                      <a:pt x="42" y="143"/>
                      <a:pt x="42" y="145"/>
                    </a:cubicBezTo>
                    <a:cubicBezTo>
                      <a:pt x="42" y="148"/>
                      <a:pt x="43" y="151"/>
                      <a:pt x="43" y="153"/>
                    </a:cubicBezTo>
                    <a:cubicBezTo>
                      <a:pt x="43" y="155"/>
                      <a:pt x="43" y="157"/>
                      <a:pt x="43" y="158"/>
                    </a:cubicBezTo>
                    <a:cubicBezTo>
                      <a:pt x="43" y="159"/>
                      <a:pt x="45" y="160"/>
                      <a:pt x="44" y="160"/>
                    </a:cubicBezTo>
                    <a:cubicBezTo>
                      <a:pt x="44" y="162"/>
                      <a:pt x="44" y="163"/>
                      <a:pt x="44" y="164"/>
                    </a:cubicBezTo>
                    <a:cubicBezTo>
                      <a:pt x="43" y="165"/>
                      <a:pt x="41" y="167"/>
                      <a:pt x="41" y="168"/>
                    </a:cubicBezTo>
                    <a:cubicBezTo>
                      <a:pt x="41" y="169"/>
                      <a:pt x="42" y="170"/>
                      <a:pt x="42" y="172"/>
                    </a:cubicBezTo>
                    <a:cubicBezTo>
                      <a:pt x="42" y="174"/>
                      <a:pt x="42" y="175"/>
                      <a:pt x="41" y="177"/>
                    </a:cubicBezTo>
                    <a:cubicBezTo>
                      <a:pt x="39" y="179"/>
                      <a:pt x="39" y="183"/>
                      <a:pt x="38" y="186"/>
                    </a:cubicBezTo>
                    <a:cubicBezTo>
                      <a:pt x="37" y="188"/>
                      <a:pt x="36" y="190"/>
                      <a:pt x="35" y="192"/>
                    </a:cubicBezTo>
                    <a:cubicBezTo>
                      <a:pt x="34" y="194"/>
                      <a:pt x="33" y="196"/>
                      <a:pt x="32" y="197"/>
                    </a:cubicBezTo>
                    <a:cubicBezTo>
                      <a:pt x="32" y="198"/>
                      <a:pt x="33" y="199"/>
                      <a:pt x="32" y="200"/>
                    </a:cubicBezTo>
                    <a:cubicBezTo>
                      <a:pt x="32" y="200"/>
                      <a:pt x="31" y="201"/>
                      <a:pt x="30" y="202"/>
                    </a:cubicBezTo>
                    <a:cubicBezTo>
                      <a:pt x="30" y="204"/>
                      <a:pt x="30" y="206"/>
                      <a:pt x="29" y="207"/>
                    </a:cubicBezTo>
                    <a:cubicBezTo>
                      <a:pt x="28" y="210"/>
                      <a:pt x="29" y="209"/>
                      <a:pt x="26" y="211"/>
                    </a:cubicBezTo>
                    <a:cubicBezTo>
                      <a:pt x="27" y="211"/>
                      <a:pt x="26" y="213"/>
                      <a:pt x="26" y="214"/>
                    </a:cubicBezTo>
                    <a:cubicBezTo>
                      <a:pt x="26" y="215"/>
                      <a:pt x="27" y="215"/>
                      <a:pt x="25" y="215"/>
                    </a:cubicBezTo>
                    <a:cubicBezTo>
                      <a:pt x="25" y="215"/>
                      <a:pt x="24" y="216"/>
                      <a:pt x="23" y="216"/>
                    </a:cubicBezTo>
                    <a:cubicBezTo>
                      <a:pt x="23" y="215"/>
                      <a:pt x="22" y="215"/>
                      <a:pt x="22" y="215"/>
                    </a:cubicBezTo>
                    <a:cubicBezTo>
                      <a:pt x="21" y="216"/>
                      <a:pt x="22" y="217"/>
                      <a:pt x="22" y="218"/>
                    </a:cubicBezTo>
                    <a:cubicBezTo>
                      <a:pt x="22" y="220"/>
                      <a:pt x="21" y="221"/>
                      <a:pt x="22" y="223"/>
                    </a:cubicBezTo>
                    <a:cubicBezTo>
                      <a:pt x="24" y="225"/>
                      <a:pt x="23" y="228"/>
                      <a:pt x="23" y="231"/>
                    </a:cubicBezTo>
                    <a:cubicBezTo>
                      <a:pt x="23" y="234"/>
                      <a:pt x="25" y="237"/>
                      <a:pt x="25" y="241"/>
                    </a:cubicBezTo>
                    <a:cubicBezTo>
                      <a:pt x="26" y="243"/>
                      <a:pt x="25" y="246"/>
                      <a:pt x="24" y="248"/>
                    </a:cubicBezTo>
                    <a:cubicBezTo>
                      <a:pt x="24" y="246"/>
                      <a:pt x="22" y="248"/>
                      <a:pt x="22" y="248"/>
                    </a:cubicBezTo>
                    <a:cubicBezTo>
                      <a:pt x="21" y="250"/>
                      <a:pt x="21" y="251"/>
                      <a:pt x="20" y="253"/>
                    </a:cubicBezTo>
                    <a:cubicBezTo>
                      <a:pt x="20" y="255"/>
                      <a:pt x="19" y="258"/>
                      <a:pt x="18" y="260"/>
                    </a:cubicBezTo>
                    <a:cubicBezTo>
                      <a:pt x="18" y="262"/>
                      <a:pt x="19" y="264"/>
                      <a:pt x="19" y="266"/>
                    </a:cubicBezTo>
                    <a:cubicBezTo>
                      <a:pt x="20" y="267"/>
                      <a:pt x="20" y="268"/>
                      <a:pt x="21" y="268"/>
                    </a:cubicBezTo>
                    <a:cubicBezTo>
                      <a:pt x="21" y="269"/>
                      <a:pt x="23" y="269"/>
                      <a:pt x="23" y="268"/>
                    </a:cubicBezTo>
                    <a:cubicBezTo>
                      <a:pt x="22" y="269"/>
                      <a:pt x="21" y="268"/>
                      <a:pt x="21" y="270"/>
                    </a:cubicBezTo>
                    <a:cubicBezTo>
                      <a:pt x="22" y="270"/>
                      <a:pt x="23" y="271"/>
                      <a:pt x="24" y="271"/>
                    </a:cubicBezTo>
                    <a:cubicBezTo>
                      <a:pt x="24" y="270"/>
                      <a:pt x="26" y="271"/>
                      <a:pt x="27" y="270"/>
                    </a:cubicBezTo>
                    <a:cubicBezTo>
                      <a:pt x="28" y="269"/>
                      <a:pt x="27" y="268"/>
                      <a:pt x="28" y="268"/>
                    </a:cubicBezTo>
                    <a:cubicBezTo>
                      <a:pt x="29" y="269"/>
                      <a:pt x="32" y="270"/>
                      <a:pt x="33" y="270"/>
                    </a:cubicBezTo>
                    <a:cubicBezTo>
                      <a:pt x="32" y="270"/>
                      <a:pt x="30" y="271"/>
                      <a:pt x="30" y="272"/>
                    </a:cubicBezTo>
                    <a:cubicBezTo>
                      <a:pt x="29" y="273"/>
                      <a:pt x="31" y="273"/>
                      <a:pt x="31" y="274"/>
                    </a:cubicBezTo>
                    <a:cubicBezTo>
                      <a:pt x="32" y="274"/>
                      <a:pt x="33" y="273"/>
                      <a:pt x="34" y="273"/>
                    </a:cubicBezTo>
                    <a:cubicBezTo>
                      <a:pt x="34" y="274"/>
                      <a:pt x="35" y="279"/>
                      <a:pt x="34" y="279"/>
                    </a:cubicBezTo>
                    <a:cubicBezTo>
                      <a:pt x="34" y="279"/>
                      <a:pt x="33" y="278"/>
                      <a:pt x="33" y="277"/>
                    </a:cubicBezTo>
                    <a:cubicBezTo>
                      <a:pt x="33" y="277"/>
                      <a:pt x="33" y="276"/>
                      <a:pt x="33" y="276"/>
                    </a:cubicBezTo>
                    <a:cubicBezTo>
                      <a:pt x="32" y="275"/>
                      <a:pt x="30" y="277"/>
                      <a:pt x="30" y="277"/>
                    </a:cubicBezTo>
                    <a:cubicBezTo>
                      <a:pt x="31" y="277"/>
                      <a:pt x="31" y="278"/>
                      <a:pt x="31" y="279"/>
                    </a:cubicBezTo>
                    <a:cubicBezTo>
                      <a:pt x="32" y="279"/>
                      <a:pt x="32" y="280"/>
                      <a:pt x="33" y="280"/>
                    </a:cubicBezTo>
                    <a:cubicBezTo>
                      <a:pt x="32" y="280"/>
                      <a:pt x="31" y="279"/>
                      <a:pt x="30" y="280"/>
                    </a:cubicBezTo>
                    <a:cubicBezTo>
                      <a:pt x="29" y="282"/>
                      <a:pt x="31" y="285"/>
                      <a:pt x="31" y="287"/>
                    </a:cubicBezTo>
                    <a:cubicBezTo>
                      <a:pt x="30" y="286"/>
                      <a:pt x="30" y="286"/>
                      <a:pt x="30" y="286"/>
                    </a:cubicBezTo>
                    <a:cubicBezTo>
                      <a:pt x="29" y="286"/>
                      <a:pt x="29" y="288"/>
                      <a:pt x="29" y="289"/>
                    </a:cubicBezTo>
                    <a:cubicBezTo>
                      <a:pt x="29" y="289"/>
                      <a:pt x="28" y="290"/>
                      <a:pt x="28" y="290"/>
                    </a:cubicBezTo>
                    <a:cubicBezTo>
                      <a:pt x="27" y="291"/>
                      <a:pt x="28" y="293"/>
                      <a:pt x="29" y="293"/>
                    </a:cubicBezTo>
                    <a:cubicBezTo>
                      <a:pt x="29" y="294"/>
                      <a:pt x="28" y="294"/>
                      <a:pt x="28" y="295"/>
                    </a:cubicBezTo>
                    <a:cubicBezTo>
                      <a:pt x="29" y="294"/>
                      <a:pt x="30" y="294"/>
                      <a:pt x="30" y="296"/>
                    </a:cubicBezTo>
                    <a:cubicBezTo>
                      <a:pt x="30" y="295"/>
                      <a:pt x="29" y="295"/>
                      <a:pt x="29" y="296"/>
                    </a:cubicBezTo>
                    <a:cubicBezTo>
                      <a:pt x="28" y="296"/>
                      <a:pt x="28" y="298"/>
                      <a:pt x="27" y="299"/>
                    </a:cubicBezTo>
                    <a:cubicBezTo>
                      <a:pt x="27" y="299"/>
                      <a:pt x="26" y="300"/>
                      <a:pt x="25" y="300"/>
                    </a:cubicBezTo>
                    <a:cubicBezTo>
                      <a:pt x="26" y="301"/>
                      <a:pt x="27" y="301"/>
                      <a:pt x="27" y="301"/>
                    </a:cubicBezTo>
                    <a:cubicBezTo>
                      <a:pt x="28" y="302"/>
                      <a:pt x="28" y="302"/>
                      <a:pt x="29" y="302"/>
                    </a:cubicBezTo>
                    <a:cubicBezTo>
                      <a:pt x="30" y="303"/>
                      <a:pt x="31" y="305"/>
                      <a:pt x="32" y="304"/>
                    </a:cubicBezTo>
                    <a:cubicBezTo>
                      <a:pt x="31" y="305"/>
                      <a:pt x="32" y="306"/>
                      <a:pt x="31" y="307"/>
                    </a:cubicBezTo>
                    <a:cubicBezTo>
                      <a:pt x="31" y="308"/>
                      <a:pt x="31" y="307"/>
                      <a:pt x="30" y="308"/>
                    </a:cubicBezTo>
                    <a:cubicBezTo>
                      <a:pt x="30" y="308"/>
                      <a:pt x="29" y="309"/>
                      <a:pt x="28" y="309"/>
                    </a:cubicBezTo>
                    <a:cubicBezTo>
                      <a:pt x="28" y="309"/>
                      <a:pt x="27" y="310"/>
                      <a:pt x="27" y="310"/>
                    </a:cubicBezTo>
                    <a:cubicBezTo>
                      <a:pt x="26" y="310"/>
                      <a:pt x="26" y="310"/>
                      <a:pt x="25" y="310"/>
                    </a:cubicBezTo>
                    <a:cubicBezTo>
                      <a:pt x="23" y="311"/>
                      <a:pt x="25" y="311"/>
                      <a:pt x="25" y="312"/>
                    </a:cubicBezTo>
                    <a:cubicBezTo>
                      <a:pt x="25" y="313"/>
                      <a:pt x="23" y="314"/>
                      <a:pt x="24" y="314"/>
                    </a:cubicBezTo>
                    <a:cubicBezTo>
                      <a:pt x="25" y="314"/>
                      <a:pt x="25" y="314"/>
                      <a:pt x="26" y="314"/>
                    </a:cubicBezTo>
                    <a:cubicBezTo>
                      <a:pt x="27" y="314"/>
                      <a:pt x="28" y="315"/>
                      <a:pt x="28" y="316"/>
                    </a:cubicBezTo>
                    <a:cubicBezTo>
                      <a:pt x="29" y="316"/>
                      <a:pt x="31" y="316"/>
                      <a:pt x="29" y="317"/>
                    </a:cubicBezTo>
                    <a:cubicBezTo>
                      <a:pt x="28" y="317"/>
                      <a:pt x="28" y="316"/>
                      <a:pt x="28" y="316"/>
                    </a:cubicBezTo>
                    <a:cubicBezTo>
                      <a:pt x="27" y="315"/>
                      <a:pt x="25" y="313"/>
                      <a:pt x="25" y="316"/>
                    </a:cubicBezTo>
                    <a:cubicBezTo>
                      <a:pt x="25" y="316"/>
                      <a:pt x="25" y="315"/>
                      <a:pt x="25" y="315"/>
                    </a:cubicBezTo>
                    <a:cubicBezTo>
                      <a:pt x="24" y="317"/>
                      <a:pt x="23" y="319"/>
                      <a:pt x="22" y="321"/>
                    </a:cubicBezTo>
                    <a:cubicBezTo>
                      <a:pt x="23" y="320"/>
                      <a:pt x="23" y="319"/>
                      <a:pt x="24" y="319"/>
                    </a:cubicBezTo>
                    <a:cubicBezTo>
                      <a:pt x="25" y="318"/>
                      <a:pt x="25" y="319"/>
                      <a:pt x="26" y="319"/>
                    </a:cubicBezTo>
                    <a:cubicBezTo>
                      <a:pt x="25" y="320"/>
                      <a:pt x="25" y="319"/>
                      <a:pt x="24" y="320"/>
                    </a:cubicBezTo>
                    <a:cubicBezTo>
                      <a:pt x="23" y="320"/>
                      <a:pt x="23" y="321"/>
                      <a:pt x="23" y="321"/>
                    </a:cubicBezTo>
                    <a:cubicBezTo>
                      <a:pt x="23" y="322"/>
                      <a:pt x="22" y="323"/>
                      <a:pt x="22" y="323"/>
                    </a:cubicBezTo>
                    <a:cubicBezTo>
                      <a:pt x="21" y="324"/>
                      <a:pt x="21" y="327"/>
                      <a:pt x="21" y="327"/>
                    </a:cubicBezTo>
                    <a:cubicBezTo>
                      <a:pt x="22" y="328"/>
                      <a:pt x="22" y="326"/>
                      <a:pt x="22" y="326"/>
                    </a:cubicBezTo>
                    <a:cubicBezTo>
                      <a:pt x="23" y="326"/>
                      <a:pt x="23" y="327"/>
                      <a:pt x="23" y="327"/>
                    </a:cubicBezTo>
                    <a:cubicBezTo>
                      <a:pt x="23" y="328"/>
                      <a:pt x="21" y="329"/>
                      <a:pt x="21" y="330"/>
                    </a:cubicBezTo>
                    <a:cubicBezTo>
                      <a:pt x="20" y="330"/>
                      <a:pt x="20" y="332"/>
                      <a:pt x="19" y="331"/>
                    </a:cubicBezTo>
                    <a:cubicBezTo>
                      <a:pt x="18" y="330"/>
                      <a:pt x="20" y="329"/>
                      <a:pt x="20" y="328"/>
                    </a:cubicBezTo>
                    <a:cubicBezTo>
                      <a:pt x="21" y="326"/>
                      <a:pt x="19" y="325"/>
                      <a:pt x="18" y="326"/>
                    </a:cubicBezTo>
                    <a:cubicBezTo>
                      <a:pt x="18" y="326"/>
                      <a:pt x="19" y="327"/>
                      <a:pt x="19" y="328"/>
                    </a:cubicBezTo>
                    <a:cubicBezTo>
                      <a:pt x="19" y="327"/>
                      <a:pt x="18" y="327"/>
                      <a:pt x="17" y="327"/>
                    </a:cubicBezTo>
                    <a:cubicBezTo>
                      <a:pt x="18" y="327"/>
                      <a:pt x="18" y="326"/>
                      <a:pt x="18" y="326"/>
                    </a:cubicBezTo>
                    <a:cubicBezTo>
                      <a:pt x="16" y="326"/>
                      <a:pt x="14" y="328"/>
                      <a:pt x="13" y="325"/>
                    </a:cubicBezTo>
                    <a:cubicBezTo>
                      <a:pt x="14" y="327"/>
                      <a:pt x="15" y="327"/>
                      <a:pt x="16" y="326"/>
                    </a:cubicBezTo>
                    <a:cubicBezTo>
                      <a:pt x="17" y="326"/>
                      <a:pt x="19" y="325"/>
                      <a:pt x="18" y="324"/>
                    </a:cubicBezTo>
                    <a:cubicBezTo>
                      <a:pt x="18" y="323"/>
                      <a:pt x="17" y="325"/>
                      <a:pt x="17" y="325"/>
                    </a:cubicBezTo>
                    <a:cubicBezTo>
                      <a:pt x="17" y="325"/>
                      <a:pt x="18" y="323"/>
                      <a:pt x="17" y="323"/>
                    </a:cubicBezTo>
                    <a:cubicBezTo>
                      <a:pt x="17" y="322"/>
                      <a:pt x="17" y="322"/>
                      <a:pt x="17" y="322"/>
                    </a:cubicBezTo>
                    <a:cubicBezTo>
                      <a:pt x="17" y="322"/>
                      <a:pt x="17" y="321"/>
                      <a:pt x="17" y="321"/>
                    </a:cubicBezTo>
                    <a:cubicBezTo>
                      <a:pt x="16" y="320"/>
                      <a:pt x="16" y="321"/>
                      <a:pt x="15" y="321"/>
                    </a:cubicBezTo>
                    <a:cubicBezTo>
                      <a:pt x="14" y="321"/>
                      <a:pt x="13" y="320"/>
                      <a:pt x="13" y="322"/>
                    </a:cubicBezTo>
                    <a:cubicBezTo>
                      <a:pt x="12" y="322"/>
                      <a:pt x="13" y="320"/>
                      <a:pt x="11" y="322"/>
                    </a:cubicBezTo>
                    <a:cubicBezTo>
                      <a:pt x="11" y="320"/>
                      <a:pt x="9" y="322"/>
                      <a:pt x="8" y="322"/>
                    </a:cubicBezTo>
                    <a:cubicBezTo>
                      <a:pt x="9" y="322"/>
                      <a:pt x="9" y="322"/>
                      <a:pt x="9" y="322"/>
                    </a:cubicBezTo>
                    <a:cubicBezTo>
                      <a:pt x="8" y="322"/>
                      <a:pt x="8" y="322"/>
                      <a:pt x="7" y="322"/>
                    </a:cubicBezTo>
                    <a:cubicBezTo>
                      <a:pt x="7" y="324"/>
                      <a:pt x="8" y="323"/>
                      <a:pt x="9" y="323"/>
                    </a:cubicBezTo>
                    <a:cubicBezTo>
                      <a:pt x="8" y="324"/>
                      <a:pt x="6" y="324"/>
                      <a:pt x="8" y="325"/>
                    </a:cubicBezTo>
                    <a:cubicBezTo>
                      <a:pt x="9" y="325"/>
                      <a:pt x="10" y="323"/>
                      <a:pt x="11" y="322"/>
                    </a:cubicBezTo>
                    <a:cubicBezTo>
                      <a:pt x="11" y="323"/>
                      <a:pt x="10" y="325"/>
                      <a:pt x="10" y="326"/>
                    </a:cubicBezTo>
                    <a:cubicBezTo>
                      <a:pt x="9" y="325"/>
                      <a:pt x="9" y="327"/>
                      <a:pt x="8" y="327"/>
                    </a:cubicBezTo>
                    <a:cubicBezTo>
                      <a:pt x="8" y="327"/>
                      <a:pt x="7" y="326"/>
                      <a:pt x="7" y="327"/>
                    </a:cubicBezTo>
                    <a:cubicBezTo>
                      <a:pt x="6" y="327"/>
                      <a:pt x="7" y="328"/>
                      <a:pt x="7" y="328"/>
                    </a:cubicBezTo>
                    <a:cubicBezTo>
                      <a:pt x="6" y="328"/>
                      <a:pt x="7" y="328"/>
                      <a:pt x="6" y="328"/>
                    </a:cubicBezTo>
                    <a:cubicBezTo>
                      <a:pt x="5" y="328"/>
                      <a:pt x="5" y="328"/>
                      <a:pt x="5" y="328"/>
                    </a:cubicBezTo>
                    <a:cubicBezTo>
                      <a:pt x="5" y="328"/>
                      <a:pt x="4" y="329"/>
                      <a:pt x="4" y="329"/>
                    </a:cubicBezTo>
                    <a:cubicBezTo>
                      <a:pt x="3" y="331"/>
                      <a:pt x="0" y="331"/>
                      <a:pt x="1" y="333"/>
                    </a:cubicBezTo>
                    <a:cubicBezTo>
                      <a:pt x="1" y="334"/>
                      <a:pt x="1" y="335"/>
                      <a:pt x="2" y="335"/>
                    </a:cubicBezTo>
                    <a:cubicBezTo>
                      <a:pt x="3" y="336"/>
                      <a:pt x="5" y="334"/>
                      <a:pt x="4" y="334"/>
                    </a:cubicBezTo>
                    <a:cubicBezTo>
                      <a:pt x="4" y="333"/>
                      <a:pt x="3" y="334"/>
                      <a:pt x="3" y="333"/>
                    </a:cubicBezTo>
                    <a:cubicBezTo>
                      <a:pt x="3" y="333"/>
                      <a:pt x="4" y="333"/>
                      <a:pt x="3" y="332"/>
                    </a:cubicBezTo>
                    <a:cubicBezTo>
                      <a:pt x="3" y="332"/>
                      <a:pt x="2" y="333"/>
                      <a:pt x="1" y="333"/>
                    </a:cubicBezTo>
                    <a:cubicBezTo>
                      <a:pt x="2" y="332"/>
                      <a:pt x="3" y="332"/>
                      <a:pt x="3" y="332"/>
                    </a:cubicBezTo>
                    <a:cubicBezTo>
                      <a:pt x="4" y="331"/>
                      <a:pt x="5" y="332"/>
                      <a:pt x="6" y="331"/>
                    </a:cubicBezTo>
                    <a:cubicBezTo>
                      <a:pt x="6" y="332"/>
                      <a:pt x="7" y="331"/>
                      <a:pt x="7" y="330"/>
                    </a:cubicBezTo>
                    <a:cubicBezTo>
                      <a:pt x="7" y="332"/>
                      <a:pt x="7" y="333"/>
                      <a:pt x="9" y="334"/>
                    </a:cubicBezTo>
                    <a:cubicBezTo>
                      <a:pt x="9" y="334"/>
                      <a:pt x="9" y="333"/>
                      <a:pt x="10" y="333"/>
                    </a:cubicBezTo>
                    <a:cubicBezTo>
                      <a:pt x="10" y="333"/>
                      <a:pt x="10" y="334"/>
                      <a:pt x="10" y="334"/>
                    </a:cubicBezTo>
                    <a:cubicBezTo>
                      <a:pt x="10" y="334"/>
                      <a:pt x="11" y="334"/>
                      <a:pt x="11" y="334"/>
                    </a:cubicBezTo>
                    <a:cubicBezTo>
                      <a:pt x="11" y="335"/>
                      <a:pt x="13" y="335"/>
                      <a:pt x="14" y="334"/>
                    </a:cubicBezTo>
                    <a:cubicBezTo>
                      <a:pt x="13" y="334"/>
                      <a:pt x="12" y="334"/>
                      <a:pt x="11" y="333"/>
                    </a:cubicBezTo>
                    <a:cubicBezTo>
                      <a:pt x="12" y="333"/>
                      <a:pt x="13" y="333"/>
                      <a:pt x="13" y="333"/>
                    </a:cubicBezTo>
                    <a:cubicBezTo>
                      <a:pt x="13" y="333"/>
                      <a:pt x="12" y="333"/>
                      <a:pt x="12" y="333"/>
                    </a:cubicBezTo>
                    <a:cubicBezTo>
                      <a:pt x="13" y="333"/>
                      <a:pt x="15" y="333"/>
                      <a:pt x="15" y="334"/>
                    </a:cubicBezTo>
                    <a:cubicBezTo>
                      <a:pt x="15" y="334"/>
                      <a:pt x="15" y="334"/>
                      <a:pt x="16" y="334"/>
                    </a:cubicBezTo>
                    <a:cubicBezTo>
                      <a:pt x="16" y="336"/>
                      <a:pt x="17" y="336"/>
                      <a:pt x="18" y="336"/>
                    </a:cubicBezTo>
                    <a:cubicBezTo>
                      <a:pt x="19" y="337"/>
                      <a:pt x="19" y="339"/>
                      <a:pt x="18" y="339"/>
                    </a:cubicBezTo>
                    <a:cubicBezTo>
                      <a:pt x="18" y="339"/>
                      <a:pt x="18" y="339"/>
                      <a:pt x="18" y="339"/>
                    </a:cubicBezTo>
                    <a:cubicBezTo>
                      <a:pt x="17" y="339"/>
                      <a:pt x="17" y="340"/>
                      <a:pt x="17" y="341"/>
                    </a:cubicBezTo>
                    <a:cubicBezTo>
                      <a:pt x="16" y="340"/>
                      <a:pt x="17" y="339"/>
                      <a:pt x="16" y="339"/>
                    </a:cubicBezTo>
                    <a:cubicBezTo>
                      <a:pt x="15" y="339"/>
                      <a:pt x="13" y="341"/>
                      <a:pt x="13" y="342"/>
                    </a:cubicBezTo>
                    <a:cubicBezTo>
                      <a:pt x="13" y="342"/>
                      <a:pt x="13" y="342"/>
                      <a:pt x="13" y="342"/>
                    </a:cubicBezTo>
                    <a:cubicBezTo>
                      <a:pt x="13" y="342"/>
                      <a:pt x="14" y="343"/>
                      <a:pt x="14" y="343"/>
                    </a:cubicBezTo>
                    <a:cubicBezTo>
                      <a:pt x="14" y="343"/>
                      <a:pt x="15" y="344"/>
                      <a:pt x="15" y="344"/>
                    </a:cubicBezTo>
                    <a:cubicBezTo>
                      <a:pt x="15" y="344"/>
                      <a:pt x="17" y="343"/>
                      <a:pt x="18" y="344"/>
                    </a:cubicBezTo>
                    <a:cubicBezTo>
                      <a:pt x="17" y="344"/>
                      <a:pt x="16" y="344"/>
                      <a:pt x="15" y="345"/>
                    </a:cubicBezTo>
                    <a:cubicBezTo>
                      <a:pt x="16" y="345"/>
                      <a:pt x="16" y="345"/>
                      <a:pt x="17" y="345"/>
                    </a:cubicBezTo>
                    <a:cubicBezTo>
                      <a:pt x="15" y="345"/>
                      <a:pt x="14" y="346"/>
                      <a:pt x="16" y="346"/>
                    </a:cubicBezTo>
                    <a:cubicBezTo>
                      <a:pt x="16" y="346"/>
                      <a:pt x="15" y="346"/>
                      <a:pt x="15" y="345"/>
                    </a:cubicBezTo>
                    <a:cubicBezTo>
                      <a:pt x="15" y="345"/>
                      <a:pt x="15" y="345"/>
                      <a:pt x="14" y="345"/>
                    </a:cubicBezTo>
                    <a:cubicBezTo>
                      <a:pt x="14" y="345"/>
                      <a:pt x="14" y="345"/>
                      <a:pt x="13" y="345"/>
                    </a:cubicBezTo>
                    <a:cubicBezTo>
                      <a:pt x="14" y="345"/>
                      <a:pt x="15" y="345"/>
                      <a:pt x="14" y="344"/>
                    </a:cubicBezTo>
                    <a:cubicBezTo>
                      <a:pt x="13" y="344"/>
                      <a:pt x="14" y="343"/>
                      <a:pt x="14" y="343"/>
                    </a:cubicBezTo>
                    <a:cubicBezTo>
                      <a:pt x="13" y="343"/>
                      <a:pt x="13" y="344"/>
                      <a:pt x="12" y="345"/>
                    </a:cubicBezTo>
                    <a:cubicBezTo>
                      <a:pt x="12" y="345"/>
                      <a:pt x="10" y="345"/>
                      <a:pt x="11" y="346"/>
                    </a:cubicBezTo>
                    <a:cubicBezTo>
                      <a:pt x="12" y="347"/>
                      <a:pt x="13" y="346"/>
                      <a:pt x="13" y="346"/>
                    </a:cubicBezTo>
                    <a:cubicBezTo>
                      <a:pt x="14" y="346"/>
                      <a:pt x="15" y="346"/>
                      <a:pt x="15" y="346"/>
                    </a:cubicBezTo>
                    <a:cubicBezTo>
                      <a:pt x="17" y="346"/>
                      <a:pt x="18" y="347"/>
                      <a:pt x="19" y="347"/>
                    </a:cubicBezTo>
                    <a:cubicBezTo>
                      <a:pt x="21" y="347"/>
                      <a:pt x="20" y="345"/>
                      <a:pt x="21" y="344"/>
                    </a:cubicBezTo>
                    <a:cubicBezTo>
                      <a:pt x="22" y="345"/>
                      <a:pt x="21" y="345"/>
                      <a:pt x="21" y="346"/>
                    </a:cubicBezTo>
                    <a:cubicBezTo>
                      <a:pt x="21" y="347"/>
                      <a:pt x="22" y="347"/>
                      <a:pt x="22" y="348"/>
                    </a:cubicBezTo>
                    <a:cubicBezTo>
                      <a:pt x="24" y="349"/>
                      <a:pt x="24" y="348"/>
                      <a:pt x="26" y="349"/>
                    </a:cubicBezTo>
                    <a:cubicBezTo>
                      <a:pt x="25" y="349"/>
                      <a:pt x="25" y="349"/>
                      <a:pt x="24" y="349"/>
                    </a:cubicBezTo>
                    <a:cubicBezTo>
                      <a:pt x="24" y="349"/>
                      <a:pt x="22" y="348"/>
                      <a:pt x="22" y="349"/>
                    </a:cubicBezTo>
                    <a:cubicBezTo>
                      <a:pt x="22" y="349"/>
                      <a:pt x="23" y="351"/>
                      <a:pt x="23" y="351"/>
                    </a:cubicBezTo>
                    <a:cubicBezTo>
                      <a:pt x="24" y="351"/>
                      <a:pt x="25" y="351"/>
                      <a:pt x="25" y="351"/>
                    </a:cubicBezTo>
                    <a:cubicBezTo>
                      <a:pt x="25" y="351"/>
                      <a:pt x="25" y="351"/>
                      <a:pt x="25" y="352"/>
                    </a:cubicBezTo>
                    <a:cubicBezTo>
                      <a:pt x="24" y="351"/>
                      <a:pt x="23" y="351"/>
                      <a:pt x="23" y="352"/>
                    </a:cubicBezTo>
                    <a:cubicBezTo>
                      <a:pt x="22" y="352"/>
                      <a:pt x="22" y="351"/>
                      <a:pt x="22" y="351"/>
                    </a:cubicBezTo>
                    <a:cubicBezTo>
                      <a:pt x="22" y="350"/>
                      <a:pt x="21" y="350"/>
                      <a:pt x="20" y="350"/>
                    </a:cubicBezTo>
                    <a:cubicBezTo>
                      <a:pt x="21" y="349"/>
                      <a:pt x="20" y="350"/>
                      <a:pt x="19" y="350"/>
                    </a:cubicBezTo>
                    <a:cubicBezTo>
                      <a:pt x="20" y="349"/>
                      <a:pt x="16" y="349"/>
                      <a:pt x="15" y="349"/>
                    </a:cubicBezTo>
                    <a:cubicBezTo>
                      <a:pt x="15" y="350"/>
                      <a:pt x="17" y="353"/>
                      <a:pt x="16" y="352"/>
                    </a:cubicBezTo>
                    <a:cubicBezTo>
                      <a:pt x="15" y="352"/>
                      <a:pt x="15" y="351"/>
                      <a:pt x="15" y="350"/>
                    </a:cubicBezTo>
                    <a:cubicBezTo>
                      <a:pt x="14" y="349"/>
                      <a:pt x="14" y="349"/>
                      <a:pt x="13" y="349"/>
                    </a:cubicBezTo>
                    <a:cubicBezTo>
                      <a:pt x="11" y="349"/>
                      <a:pt x="11" y="351"/>
                      <a:pt x="13" y="350"/>
                    </a:cubicBezTo>
                    <a:cubicBezTo>
                      <a:pt x="13" y="351"/>
                      <a:pt x="14" y="351"/>
                      <a:pt x="14" y="352"/>
                    </a:cubicBezTo>
                    <a:cubicBezTo>
                      <a:pt x="15" y="352"/>
                      <a:pt x="15" y="353"/>
                      <a:pt x="15" y="353"/>
                    </a:cubicBezTo>
                    <a:cubicBezTo>
                      <a:pt x="16" y="354"/>
                      <a:pt x="17" y="353"/>
                      <a:pt x="17" y="353"/>
                    </a:cubicBezTo>
                    <a:cubicBezTo>
                      <a:pt x="17" y="353"/>
                      <a:pt x="16" y="353"/>
                      <a:pt x="16" y="354"/>
                    </a:cubicBezTo>
                    <a:cubicBezTo>
                      <a:pt x="17" y="354"/>
                      <a:pt x="18" y="355"/>
                      <a:pt x="19" y="355"/>
                    </a:cubicBezTo>
                    <a:cubicBezTo>
                      <a:pt x="18" y="355"/>
                      <a:pt x="19" y="357"/>
                      <a:pt x="18" y="357"/>
                    </a:cubicBezTo>
                    <a:cubicBezTo>
                      <a:pt x="18" y="357"/>
                      <a:pt x="18" y="356"/>
                      <a:pt x="18" y="356"/>
                    </a:cubicBezTo>
                    <a:cubicBezTo>
                      <a:pt x="17" y="356"/>
                      <a:pt x="16" y="355"/>
                      <a:pt x="16" y="355"/>
                    </a:cubicBezTo>
                    <a:cubicBezTo>
                      <a:pt x="15" y="356"/>
                      <a:pt x="14" y="357"/>
                      <a:pt x="14" y="358"/>
                    </a:cubicBezTo>
                    <a:cubicBezTo>
                      <a:pt x="15" y="359"/>
                      <a:pt x="16" y="358"/>
                      <a:pt x="17" y="359"/>
                    </a:cubicBezTo>
                    <a:cubicBezTo>
                      <a:pt x="17" y="359"/>
                      <a:pt x="14" y="359"/>
                      <a:pt x="14" y="360"/>
                    </a:cubicBezTo>
                    <a:cubicBezTo>
                      <a:pt x="13" y="360"/>
                      <a:pt x="14" y="360"/>
                      <a:pt x="14" y="360"/>
                    </a:cubicBezTo>
                    <a:cubicBezTo>
                      <a:pt x="13" y="361"/>
                      <a:pt x="14" y="361"/>
                      <a:pt x="14" y="361"/>
                    </a:cubicBezTo>
                    <a:cubicBezTo>
                      <a:pt x="14" y="362"/>
                      <a:pt x="13" y="362"/>
                      <a:pt x="13" y="363"/>
                    </a:cubicBezTo>
                    <a:cubicBezTo>
                      <a:pt x="13" y="363"/>
                      <a:pt x="14" y="363"/>
                      <a:pt x="14" y="363"/>
                    </a:cubicBezTo>
                    <a:cubicBezTo>
                      <a:pt x="14" y="363"/>
                      <a:pt x="14" y="364"/>
                      <a:pt x="14" y="364"/>
                    </a:cubicBezTo>
                    <a:cubicBezTo>
                      <a:pt x="14" y="365"/>
                      <a:pt x="13" y="367"/>
                      <a:pt x="14" y="368"/>
                    </a:cubicBezTo>
                    <a:cubicBezTo>
                      <a:pt x="15" y="368"/>
                      <a:pt x="16" y="370"/>
                      <a:pt x="16" y="369"/>
                    </a:cubicBezTo>
                    <a:cubicBezTo>
                      <a:pt x="17" y="368"/>
                      <a:pt x="16" y="366"/>
                      <a:pt x="16" y="365"/>
                    </a:cubicBezTo>
                    <a:cubicBezTo>
                      <a:pt x="17" y="366"/>
                      <a:pt x="17" y="365"/>
                      <a:pt x="18" y="364"/>
                    </a:cubicBezTo>
                    <a:cubicBezTo>
                      <a:pt x="18" y="363"/>
                      <a:pt x="17" y="362"/>
                      <a:pt x="19" y="363"/>
                    </a:cubicBezTo>
                    <a:cubicBezTo>
                      <a:pt x="19" y="363"/>
                      <a:pt x="18" y="365"/>
                      <a:pt x="18" y="366"/>
                    </a:cubicBezTo>
                    <a:cubicBezTo>
                      <a:pt x="18" y="366"/>
                      <a:pt x="19" y="366"/>
                      <a:pt x="19" y="367"/>
                    </a:cubicBezTo>
                    <a:cubicBezTo>
                      <a:pt x="19" y="367"/>
                      <a:pt x="18" y="367"/>
                      <a:pt x="18" y="366"/>
                    </a:cubicBezTo>
                    <a:cubicBezTo>
                      <a:pt x="18" y="367"/>
                      <a:pt x="17" y="368"/>
                      <a:pt x="17" y="369"/>
                    </a:cubicBezTo>
                    <a:cubicBezTo>
                      <a:pt x="17" y="369"/>
                      <a:pt x="18" y="369"/>
                      <a:pt x="18" y="369"/>
                    </a:cubicBezTo>
                    <a:cubicBezTo>
                      <a:pt x="19" y="369"/>
                      <a:pt x="19" y="371"/>
                      <a:pt x="20" y="371"/>
                    </a:cubicBezTo>
                    <a:cubicBezTo>
                      <a:pt x="20" y="371"/>
                      <a:pt x="22" y="372"/>
                      <a:pt x="21" y="373"/>
                    </a:cubicBezTo>
                    <a:cubicBezTo>
                      <a:pt x="21" y="372"/>
                      <a:pt x="20" y="372"/>
                      <a:pt x="19" y="371"/>
                    </a:cubicBezTo>
                    <a:cubicBezTo>
                      <a:pt x="19" y="371"/>
                      <a:pt x="18" y="368"/>
                      <a:pt x="18" y="370"/>
                    </a:cubicBezTo>
                    <a:cubicBezTo>
                      <a:pt x="18" y="368"/>
                      <a:pt x="15" y="370"/>
                      <a:pt x="15" y="371"/>
                    </a:cubicBezTo>
                    <a:cubicBezTo>
                      <a:pt x="14" y="373"/>
                      <a:pt x="17" y="371"/>
                      <a:pt x="17" y="372"/>
                    </a:cubicBezTo>
                    <a:cubicBezTo>
                      <a:pt x="16" y="372"/>
                      <a:pt x="13" y="373"/>
                      <a:pt x="16" y="374"/>
                    </a:cubicBezTo>
                    <a:cubicBezTo>
                      <a:pt x="16" y="374"/>
                      <a:pt x="16" y="374"/>
                      <a:pt x="17" y="374"/>
                    </a:cubicBezTo>
                    <a:cubicBezTo>
                      <a:pt x="17" y="374"/>
                      <a:pt x="17" y="375"/>
                      <a:pt x="17" y="375"/>
                    </a:cubicBezTo>
                    <a:cubicBezTo>
                      <a:pt x="18" y="375"/>
                      <a:pt x="18" y="374"/>
                      <a:pt x="19" y="374"/>
                    </a:cubicBezTo>
                    <a:cubicBezTo>
                      <a:pt x="19" y="375"/>
                      <a:pt x="18" y="375"/>
                      <a:pt x="19" y="376"/>
                    </a:cubicBezTo>
                    <a:cubicBezTo>
                      <a:pt x="18" y="376"/>
                      <a:pt x="17" y="376"/>
                      <a:pt x="16" y="375"/>
                    </a:cubicBezTo>
                    <a:cubicBezTo>
                      <a:pt x="16" y="375"/>
                      <a:pt x="16" y="375"/>
                      <a:pt x="15" y="375"/>
                    </a:cubicBezTo>
                    <a:cubicBezTo>
                      <a:pt x="14" y="375"/>
                      <a:pt x="15" y="375"/>
                      <a:pt x="15" y="376"/>
                    </a:cubicBezTo>
                    <a:cubicBezTo>
                      <a:pt x="15" y="376"/>
                      <a:pt x="15" y="377"/>
                      <a:pt x="16" y="377"/>
                    </a:cubicBezTo>
                    <a:cubicBezTo>
                      <a:pt x="16" y="378"/>
                      <a:pt x="16" y="378"/>
                      <a:pt x="17" y="378"/>
                    </a:cubicBezTo>
                    <a:cubicBezTo>
                      <a:pt x="17" y="378"/>
                      <a:pt x="18" y="378"/>
                      <a:pt x="18" y="378"/>
                    </a:cubicBezTo>
                    <a:cubicBezTo>
                      <a:pt x="18" y="379"/>
                      <a:pt x="19" y="379"/>
                      <a:pt x="19" y="379"/>
                    </a:cubicBezTo>
                    <a:cubicBezTo>
                      <a:pt x="18" y="379"/>
                      <a:pt x="18" y="379"/>
                      <a:pt x="17" y="379"/>
                    </a:cubicBezTo>
                    <a:cubicBezTo>
                      <a:pt x="16" y="378"/>
                      <a:pt x="17" y="379"/>
                      <a:pt x="16" y="378"/>
                    </a:cubicBezTo>
                    <a:cubicBezTo>
                      <a:pt x="15" y="378"/>
                      <a:pt x="15" y="377"/>
                      <a:pt x="14" y="377"/>
                    </a:cubicBezTo>
                    <a:cubicBezTo>
                      <a:pt x="13" y="376"/>
                      <a:pt x="13" y="378"/>
                      <a:pt x="13" y="377"/>
                    </a:cubicBezTo>
                    <a:cubicBezTo>
                      <a:pt x="12" y="377"/>
                      <a:pt x="11" y="378"/>
                      <a:pt x="11" y="378"/>
                    </a:cubicBezTo>
                    <a:cubicBezTo>
                      <a:pt x="12" y="379"/>
                      <a:pt x="12" y="379"/>
                      <a:pt x="13" y="380"/>
                    </a:cubicBezTo>
                    <a:cubicBezTo>
                      <a:pt x="13" y="380"/>
                      <a:pt x="14" y="381"/>
                      <a:pt x="15" y="380"/>
                    </a:cubicBezTo>
                    <a:cubicBezTo>
                      <a:pt x="15" y="382"/>
                      <a:pt x="16" y="381"/>
                      <a:pt x="17" y="381"/>
                    </a:cubicBezTo>
                    <a:cubicBezTo>
                      <a:pt x="16" y="382"/>
                      <a:pt x="18" y="382"/>
                      <a:pt x="18" y="382"/>
                    </a:cubicBezTo>
                    <a:cubicBezTo>
                      <a:pt x="18" y="382"/>
                      <a:pt x="18" y="382"/>
                      <a:pt x="19" y="383"/>
                    </a:cubicBezTo>
                    <a:cubicBezTo>
                      <a:pt x="19" y="383"/>
                      <a:pt x="18" y="383"/>
                      <a:pt x="17" y="382"/>
                    </a:cubicBezTo>
                    <a:cubicBezTo>
                      <a:pt x="17" y="384"/>
                      <a:pt x="16" y="382"/>
                      <a:pt x="15" y="382"/>
                    </a:cubicBezTo>
                    <a:cubicBezTo>
                      <a:pt x="16" y="384"/>
                      <a:pt x="17" y="388"/>
                      <a:pt x="19" y="386"/>
                    </a:cubicBezTo>
                    <a:cubicBezTo>
                      <a:pt x="20" y="385"/>
                      <a:pt x="20" y="385"/>
                      <a:pt x="20" y="383"/>
                    </a:cubicBezTo>
                    <a:cubicBezTo>
                      <a:pt x="21" y="382"/>
                      <a:pt x="21" y="382"/>
                      <a:pt x="22" y="381"/>
                    </a:cubicBezTo>
                    <a:cubicBezTo>
                      <a:pt x="22" y="382"/>
                      <a:pt x="21" y="383"/>
                      <a:pt x="21" y="383"/>
                    </a:cubicBezTo>
                    <a:cubicBezTo>
                      <a:pt x="21" y="384"/>
                      <a:pt x="23" y="384"/>
                      <a:pt x="23" y="385"/>
                    </a:cubicBezTo>
                    <a:cubicBezTo>
                      <a:pt x="22" y="386"/>
                      <a:pt x="22" y="383"/>
                      <a:pt x="21" y="385"/>
                    </a:cubicBezTo>
                    <a:cubicBezTo>
                      <a:pt x="21" y="385"/>
                      <a:pt x="21" y="388"/>
                      <a:pt x="20" y="388"/>
                    </a:cubicBezTo>
                    <a:cubicBezTo>
                      <a:pt x="20" y="388"/>
                      <a:pt x="19" y="387"/>
                      <a:pt x="19" y="387"/>
                    </a:cubicBezTo>
                    <a:cubicBezTo>
                      <a:pt x="19" y="387"/>
                      <a:pt x="18" y="387"/>
                      <a:pt x="18" y="387"/>
                    </a:cubicBezTo>
                    <a:cubicBezTo>
                      <a:pt x="17" y="387"/>
                      <a:pt x="16" y="388"/>
                      <a:pt x="16" y="389"/>
                    </a:cubicBezTo>
                    <a:cubicBezTo>
                      <a:pt x="16" y="390"/>
                      <a:pt x="17" y="392"/>
                      <a:pt x="17" y="392"/>
                    </a:cubicBezTo>
                    <a:cubicBezTo>
                      <a:pt x="18" y="392"/>
                      <a:pt x="18" y="391"/>
                      <a:pt x="18" y="390"/>
                    </a:cubicBezTo>
                    <a:cubicBezTo>
                      <a:pt x="18" y="391"/>
                      <a:pt x="19" y="392"/>
                      <a:pt x="19" y="392"/>
                    </a:cubicBezTo>
                    <a:cubicBezTo>
                      <a:pt x="20" y="392"/>
                      <a:pt x="20" y="391"/>
                      <a:pt x="21" y="392"/>
                    </a:cubicBezTo>
                    <a:cubicBezTo>
                      <a:pt x="21" y="392"/>
                      <a:pt x="21" y="392"/>
                      <a:pt x="20" y="392"/>
                    </a:cubicBezTo>
                    <a:cubicBezTo>
                      <a:pt x="21" y="393"/>
                      <a:pt x="21" y="394"/>
                      <a:pt x="21" y="394"/>
                    </a:cubicBezTo>
                    <a:cubicBezTo>
                      <a:pt x="22" y="395"/>
                      <a:pt x="22" y="395"/>
                      <a:pt x="22" y="395"/>
                    </a:cubicBezTo>
                    <a:cubicBezTo>
                      <a:pt x="22" y="396"/>
                      <a:pt x="22" y="397"/>
                      <a:pt x="22" y="397"/>
                    </a:cubicBezTo>
                    <a:cubicBezTo>
                      <a:pt x="22" y="397"/>
                      <a:pt x="22" y="396"/>
                      <a:pt x="21" y="396"/>
                    </a:cubicBezTo>
                    <a:cubicBezTo>
                      <a:pt x="21" y="395"/>
                      <a:pt x="20" y="395"/>
                      <a:pt x="20" y="394"/>
                    </a:cubicBezTo>
                    <a:cubicBezTo>
                      <a:pt x="20" y="395"/>
                      <a:pt x="19" y="396"/>
                      <a:pt x="19" y="397"/>
                    </a:cubicBezTo>
                    <a:cubicBezTo>
                      <a:pt x="20" y="397"/>
                      <a:pt x="20" y="398"/>
                      <a:pt x="21" y="399"/>
                    </a:cubicBezTo>
                    <a:cubicBezTo>
                      <a:pt x="21" y="400"/>
                      <a:pt x="21" y="399"/>
                      <a:pt x="21" y="399"/>
                    </a:cubicBezTo>
                    <a:cubicBezTo>
                      <a:pt x="21" y="399"/>
                      <a:pt x="21" y="399"/>
                      <a:pt x="21" y="398"/>
                    </a:cubicBezTo>
                    <a:cubicBezTo>
                      <a:pt x="22" y="398"/>
                      <a:pt x="22" y="398"/>
                      <a:pt x="22" y="398"/>
                    </a:cubicBezTo>
                    <a:cubicBezTo>
                      <a:pt x="22" y="398"/>
                      <a:pt x="23" y="398"/>
                      <a:pt x="23" y="398"/>
                    </a:cubicBezTo>
                    <a:cubicBezTo>
                      <a:pt x="23" y="399"/>
                      <a:pt x="22" y="399"/>
                      <a:pt x="22" y="400"/>
                    </a:cubicBezTo>
                    <a:cubicBezTo>
                      <a:pt x="22" y="400"/>
                      <a:pt x="24" y="402"/>
                      <a:pt x="24" y="403"/>
                    </a:cubicBezTo>
                    <a:cubicBezTo>
                      <a:pt x="24" y="402"/>
                      <a:pt x="23" y="401"/>
                      <a:pt x="23" y="401"/>
                    </a:cubicBezTo>
                    <a:cubicBezTo>
                      <a:pt x="20" y="401"/>
                      <a:pt x="24" y="404"/>
                      <a:pt x="24" y="404"/>
                    </a:cubicBezTo>
                    <a:cubicBezTo>
                      <a:pt x="23" y="404"/>
                      <a:pt x="20" y="402"/>
                      <a:pt x="21" y="404"/>
                    </a:cubicBezTo>
                    <a:cubicBezTo>
                      <a:pt x="21" y="405"/>
                      <a:pt x="22" y="405"/>
                      <a:pt x="22" y="405"/>
                    </a:cubicBezTo>
                    <a:cubicBezTo>
                      <a:pt x="22" y="406"/>
                      <a:pt x="22" y="406"/>
                      <a:pt x="22" y="406"/>
                    </a:cubicBezTo>
                    <a:cubicBezTo>
                      <a:pt x="22" y="407"/>
                      <a:pt x="23" y="407"/>
                      <a:pt x="22" y="407"/>
                    </a:cubicBezTo>
                    <a:cubicBezTo>
                      <a:pt x="22" y="408"/>
                      <a:pt x="21" y="408"/>
                      <a:pt x="21" y="408"/>
                    </a:cubicBezTo>
                    <a:cubicBezTo>
                      <a:pt x="22" y="409"/>
                      <a:pt x="23" y="408"/>
                      <a:pt x="23" y="408"/>
                    </a:cubicBezTo>
                    <a:cubicBezTo>
                      <a:pt x="23" y="409"/>
                      <a:pt x="20" y="412"/>
                      <a:pt x="22" y="411"/>
                    </a:cubicBezTo>
                    <a:cubicBezTo>
                      <a:pt x="22" y="412"/>
                      <a:pt x="22" y="412"/>
                      <a:pt x="22" y="413"/>
                    </a:cubicBezTo>
                    <a:cubicBezTo>
                      <a:pt x="22" y="412"/>
                      <a:pt x="23" y="412"/>
                      <a:pt x="23" y="412"/>
                    </a:cubicBezTo>
                    <a:cubicBezTo>
                      <a:pt x="24" y="411"/>
                      <a:pt x="24" y="411"/>
                      <a:pt x="24" y="410"/>
                    </a:cubicBezTo>
                    <a:cubicBezTo>
                      <a:pt x="25" y="411"/>
                      <a:pt x="25" y="412"/>
                      <a:pt x="26" y="411"/>
                    </a:cubicBezTo>
                    <a:cubicBezTo>
                      <a:pt x="26" y="411"/>
                      <a:pt x="26" y="411"/>
                      <a:pt x="26" y="411"/>
                    </a:cubicBezTo>
                    <a:cubicBezTo>
                      <a:pt x="27" y="410"/>
                      <a:pt x="28" y="409"/>
                      <a:pt x="29" y="410"/>
                    </a:cubicBezTo>
                    <a:cubicBezTo>
                      <a:pt x="28" y="410"/>
                      <a:pt x="25" y="412"/>
                      <a:pt x="26" y="413"/>
                    </a:cubicBezTo>
                    <a:cubicBezTo>
                      <a:pt x="25" y="413"/>
                      <a:pt x="24" y="413"/>
                      <a:pt x="23" y="413"/>
                    </a:cubicBezTo>
                    <a:cubicBezTo>
                      <a:pt x="23" y="414"/>
                      <a:pt x="25" y="415"/>
                      <a:pt x="25" y="414"/>
                    </a:cubicBezTo>
                    <a:cubicBezTo>
                      <a:pt x="25" y="415"/>
                      <a:pt x="27" y="415"/>
                      <a:pt x="26" y="416"/>
                    </a:cubicBezTo>
                    <a:cubicBezTo>
                      <a:pt x="26" y="416"/>
                      <a:pt x="24" y="416"/>
                      <a:pt x="24" y="416"/>
                    </a:cubicBezTo>
                    <a:cubicBezTo>
                      <a:pt x="25" y="417"/>
                      <a:pt x="26" y="418"/>
                      <a:pt x="28" y="417"/>
                    </a:cubicBezTo>
                    <a:cubicBezTo>
                      <a:pt x="29" y="417"/>
                      <a:pt x="29" y="417"/>
                      <a:pt x="29" y="416"/>
                    </a:cubicBezTo>
                    <a:cubicBezTo>
                      <a:pt x="29" y="415"/>
                      <a:pt x="28" y="414"/>
                      <a:pt x="28" y="414"/>
                    </a:cubicBezTo>
                    <a:cubicBezTo>
                      <a:pt x="28" y="413"/>
                      <a:pt x="30" y="413"/>
                      <a:pt x="31" y="412"/>
                    </a:cubicBezTo>
                    <a:cubicBezTo>
                      <a:pt x="32" y="411"/>
                      <a:pt x="31" y="412"/>
                      <a:pt x="31" y="411"/>
                    </a:cubicBezTo>
                    <a:cubicBezTo>
                      <a:pt x="31" y="411"/>
                      <a:pt x="30" y="411"/>
                      <a:pt x="30" y="411"/>
                    </a:cubicBezTo>
                    <a:cubicBezTo>
                      <a:pt x="29" y="411"/>
                      <a:pt x="29" y="412"/>
                      <a:pt x="28" y="412"/>
                    </a:cubicBezTo>
                    <a:cubicBezTo>
                      <a:pt x="29" y="412"/>
                      <a:pt x="29" y="411"/>
                      <a:pt x="29" y="411"/>
                    </a:cubicBezTo>
                    <a:cubicBezTo>
                      <a:pt x="30" y="410"/>
                      <a:pt x="33" y="410"/>
                      <a:pt x="35" y="409"/>
                    </a:cubicBezTo>
                    <a:cubicBezTo>
                      <a:pt x="34" y="410"/>
                      <a:pt x="34" y="410"/>
                      <a:pt x="34" y="410"/>
                    </a:cubicBezTo>
                    <a:cubicBezTo>
                      <a:pt x="34" y="412"/>
                      <a:pt x="35" y="411"/>
                      <a:pt x="37" y="411"/>
                    </a:cubicBezTo>
                    <a:cubicBezTo>
                      <a:pt x="37" y="412"/>
                      <a:pt x="35" y="413"/>
                      <a:pt x="34" y="414"/>
                    </a:cubicBezTo>
                    <a:cubicBezTo>
                      <a:pt x="34" y="414"/>
                      <a:pt x="34" y="414"/>
                      <a:pt x="33" y="414"/>
                    </a:cubicBezTo>
                    <a:cubicBezTo>
                      <a:pt x="32" y="413"/>
                      <a:pt x="32" y="414"/>
                      <a:pt x="31" y="414"/>
                    </a:cubicBezTo>
                    <a:cubicBezTo>
                      <a:pt x="31" y="414"/>
                      <a:pt x="32" y="413"/>
                      <a:pt x="32" y="413"/>
                    </a:cubicBezTo>
                    <a:cubicBezTo>
                      <a:pt x="32" y="412"/>
                      <a:pt x="31" y="413"/>
                      <a:pt x="30" y="413"/>
                    </a:cubicBezTo>
                    <a:cubicBezTo>
                      <a:pt x="29" y="414"/>
                      <a:pt x="29" y="417"/>
                      <a:pt x="29" y="418"/>
                    </a:cubicBezTo>
                    <a:cubicBezTo>
                      <a:pt x="30" y="419"/>
                      <a:pt x="31" y="419"/>
                      <a:pt x="31" y="420"/>
                    </a:cubicBezTo>
                    <a:cubicBezTo>
                      <a:pt x="31" y="420"/>
                      <a:pt x="30" y="419"/>
                      <a:pt x="29" y="419"/>
                    </a:cubicBezTo>
                    <a:cubicBezTo>
                      <a:pt x="28" y="418"/>
                      <a:pt x="28" y="419"/>
                      <a:pt x="27" y="419"/>
                    </a:cubicBezTo>
                    <a:cubicBezTo>
                      <a:pt x="27" y="419"/>
                      <a:pt x="26" y="419"/>
                      <a:pt x="25" y="419"/>
                    </a:cubicBezTo>
                    <a:cubicBezTo>
                      <a:pt x="26" y="419"/>
                      <a:pt x="27" y="420"/>
                      <a:pt x="28" y="421"/>
                    </a:cubicBezTo>
                    <a:cubicBezTo>
                      <a:pt x="28" y="421"/>
                      <a:pt x="29" y="421"/>
                      <a:pt x="29" y="421"/>
                    </a:cubicBezTo>
                    <a:cubicBezTo>
                      <a:pt x="30" y="422"/>
                      <a:pt x="30" y="423"/>
                      <a:pt x="31" y="422"/>
                    </a:cubicBezTo>
                    <a:cubicBezTo>
                      <a:pt x="31" y="423"/>
                      <a:pt x="33" y="424"/>
                      <a:pt x="35" y="424"/>
                    </a:cubicBezTo>
                    <a:cubicBezTo>
                      <a:pt x="34" y="422"/>
                      <a:pt x="33" y="422"/>
                      <a:pt x="32" y="421"/>
                    </a:cubicBezTo>
                    <a:cubicBezTo>
                      <a:pt x="33" y="422"/>
                      <a:pt x="34" y="421"/>
                      <a:pt x="33" y="420"/>
                    </a:cubicBezTo>
                    <a:cubicBezTo>
                      <a:pt x="35" y="420"/>
                      <a:pt x="34" y="420"/>
                      <a:pt x="33" y="419"/>
                    </a:cubicBezTo>
                    <a:cubicBezTo>
                      <a:pt x="34" y="419"/>
                      <a:pt x="36" y="420"/>
                      <a:pt x="35" y="419"/>
                    </a:cubicBezTo>
                    <a:cubicBezTo>
                      <a:pt x="35" y="419"/>
                      <a:pt x="36" y="419"/>
                      <a:pt x="37" y="419"/>
                    </a:cubicBezTo>
                    <a:cubicBezTo>
                      <a:pt x="37" y="418"/>
                      <a:pt x="36" y="418"/>
                      <a:pt x="35" y="418"/>
                    </a:cubicBezTo>
                    <a:cubicBezTo>
                      <a:pt x="35" y="418"/>
                      <a:pt x="35" y="417"/>
                      <a:pt x="34" y="417"/>
                    </a:cubicBezTo>
                    <a:cubicBezTo>
                      <a:pt x="34" y="417"/>
                      <a:pt x="33" y="417"/>
                      <a:pt x="33" y="417"/>
                    </a:cubicBezTo>
                    <a:cubicBezTo>
                      <a:pt x="34" y="416"/>
                      <a:pt x="36" y="418"/>
                      <a:pt x="37" y="418"/>
                    </a:cubicBezTo>
                    <a:cubicBezTo>
                      <a:pt x="38" y="418"/>
                      <a:pt x="39" y="417"/>
                      <a:pt x="39" y="417"/>
                    </a:cubicBezTo>
                    <a:cubicBezTo>
                      <a:pt x="40" y="416"/>
                      <a:pt x="41" y="415"/>
                      <a:pt x="42" y="415"/>
                    </a:cubicBezTo>
                    <a:cubicBezTo>
                      <a:pt x="43" y="414"/>
                      <a:pt x="45" y="414"/>
                      <a:pt x="46" y="414"/>
                    </a:cubicBezTo>
                    <a:cubicBezTo>
                      <a:pt x="48" y="414"/>
                      <a:pt x="47" y="414"/>
                      <a:pt x="47" y="415"/>
                    </a:cubicBezTo>
                    <a:cubicBezTo>
                      <a:pt x="47" y="416"/>
                      <a:pt x="46" y="417"/>
                      <a:pt x="45" y="418"/>
                    </a:cubicBezTo>
                    <a:cubicBezTo>
                      <a:pt x="44" y="418"/>
                      <a:pt x="43" y="418"/>
                      <a:pt x="43" y="419"/>
                    </a:cubicBezTo>
                    <a:cubicBezTo>
                      <a:pt x="42" y="419"/>
                      <a:pt x="41" y="419"/>
                      <a:pt x="41" y="419"/>
                    </a:cubicBezTo>
                    <a:cubicBezTo>
                      <a:pt x="40" y="420"/>
                      <a:pt x="42" y="422"/>
                      <a:pt x="41" y="423"/>
                    </a:cubicBezTo>
                    <a:cubicBezTo>
                      <a:pt x="40" y="424"/>
                      <a:pt x="38" y="424"/>
                      <a:pt x="38" y="424"/>
                    </a:cubicBezTo>
                    <a:cubicBezTo>
                      <a:pt x="39" y="423"/>
                      <a:pt x="40" y="423"/>
                      <a:pt x="40" y="423"/>
                    </a:cubicBezTo>
                    <a:cubicBezTo>
                      <a:pt x="41" y="422"/>
                      <a:pt x="41" y="421"/>
                      <a:pt x="40" y="420"/>
                    </a:cubicBezTo>
                    <a:cubicBezTo>
                      <a:pt x="40" y="420"/>
                      <a:pt x="39" y="419"/>
                      <a:pt x="38" y="419"/>
                    </a:cubicBezTo>
                    <a:cubicBezTo>
                      <a:pt x="38" y="420"/>
                      <a:pt x="39" y="421"/>
                      <a:pt x="38" y="421"/>
                    </a:cubicBezTo>
                    <a:cubicBezTo>
                      <a:pt x="38" y="422"/>
                      <a:pt x="37" y="422"/>
                      <a:pt x="36" y="422"/>
                    </a:cubicBezTo>
                    <a:cubicBezTo>
                      <a:pt x="38" y="422"/>
                      <a:pt x="38" y="419"/>
                      <a:pt x="36" y="420"/>
                    </a:cubicBezTo>
                    <a:cubicBezTo>
                      <a:pt x="34" y="420"/>
                      <a:pt x="36" y="425"/>
                      <a:pt x="37" y="426"/>
                    </a:cubicBezTo>
                    <a:cubicBezTo>
                      <a:pt x="38" y="426"/>
                      <a:pt x="38" y="426"/>
                      <a:pt x="38" y="426"/>
                    </a:cubicBezTo>
                    <a:cubicBezTo>
                      <a:pt x="38" y="426"/>
                      <a:pt x="39" y="426"/>
                      <a:pt x="39" y="426"/>
                    </a:cubicBezTo>
                    <a:cubicBezTo>
                      <a:pt x="40" y="426"/>
                      <a:pt x="40" y="427"/>
                      <a:pt x="41" y="427"/>
                    </a:cubicBezTo>
                    <a:cubicBezTo>
                      <a:pt x="42" y="428"/>
                      <a:pt x="45" y="429"/>
                      <a:pt x="46" y="428"/>
                    </a:cubicBezTo>
                    <a:cubicBezTo>
                      <a:pt x="48" y="428"/>
                      <a:pt x="49" y="427"/>
                      <a:pt x="49" y="426"/>
                    </a:cubicBezTo>
                    <a:cubicBezTo>
                      <a:pt x="49" y="425"/>
                      <a:pt x="49" y="425"/>
                      <a:pt x="49" y="424"/>
                    </a:cubicBezTo>
                    <a:cubicBezTo>
                      <a:pt x="49" y="423"/>
                      <a:pt x="49" y="423"/>
                      <a:pt x="49" y="422"/>
                    </a:cubicBezTo>
                    <a:cubicBezTo>
                      <a:pt x="49" y="420"/>
                      <a:pt x="49" y="419"/>
                      <a:pt x="50" y="418"/>
                    </a:cubicBezTo>
                    <a:cubicBezTo>
                      <a:pt x="50" y="417"/>
                      <a:pt x="51" y="415"/>
                      <a:pt x="50" y="415"/>
                    </a:cubicBezTo>
                    <a:cubicBezTo>
                      <a:pt x="51" y="414"/>
                      <a:pt x="50" y="414"/>
                      <a:pt x="51" y="413"/>
                    </a:cubicBezTo>
                    <a:cubicBezTo>
                      <a:pt x="51" y="413"/>
                      <a:pt x="51" y="413"/>
                      <a:pt x="50" y="413"/>
                    </a:cubicBezTo>
                    <a:cubicBezTo>
                      <a:pt x="52" y="412"/>
                      <a:pt x="53" y="412"/>
                      <a:pt x="55" y="412"/>
                    </a:cubicBezTo>
                    <a:cubicBezTo>
                      <a:pt x="58" y="411"/>
                      <a:pt x="61" y="411"/>
                      <a:pt x="64" y="408"/>
                    </a:cubicBezTo>
                    <a:cubicBezTo>
                      <a:pt x="65" y="407"/>
                      <a:pt x="66" y="406"/>
                      <a:pt x="66" y="406"/>
                    </a:cubicBezTo>
                    <a:cubicBezTo>
                      <a:pt x="66" y="406"/>
                      <a:pt x="66" y="406"/>
                      <a:pt x="66" y="406"/>
                    </a:cubicBezTo>
                    <a:close/>
                    <a:moveTo>
                      <a:pt x="34" y="402"/>
                    </a:moveTo>
                    <a:cubicBezTo>
                      <a:pt x="33" y="402"/>
                      <a:pt x="33" y="401"/>
                      <a:pt x="32" y="403"/>
                    </a:cubicBezTo>
                    <a:cubicBezTo>
                      <a:pt x="32" y="404"/>
                      <a:pt x="34" y="405"/>
                      <a:pt x="34" y="406"/>
                    </a:cubicBezTo>
                    <a:cubicBezTo>
                      <a:pt x="33" y="408"/>
                      <a:pt x="31" y="408"/>
                      <a:pt x="29" y="409"/>
                    </a:cubicBezTo>
                    <a:cubicBezTo>
                      <a:pt x="30" y="408"/>
                      <a:pt x="34" y="407"/>
                      <a:pt x="33" y="405"/>
                    </a:cubicBezTo>
                    <a:cubicBezTo>
                      <a:pt x="33" y="404"/>
                      <a:pt x="32" y="404"/>
                      <a:pt x="32" y="403"/>
                    </a:cubicBezTo>
                    <a:cubicBezTo>
                      <a:pt x="30" y="400"/>
                      <a:pt x="29" y="403"/>
                      <a:pt x="29" y="405"/>
                    </a:cubicBezTo>
                    <a:cubicBezTo>
                      <a:pt x="30" y="404"/>
                      <a:pt x="30" y="404"/>
                      <a:pt x="31" y="403"/>
                    </a:cubicBezTo>
                    <a:cubicBezTo>
                      <a:pt x="31" y="404"/>
                      <a:pt x="30" y="405"/>
                      <a:pt x="30" y="405"/>
                    </a:cubicBezTo>
                    <a:cubicBezTo>
                      <a:pt x="29" y="406"/>
                      <a:pt x="29" y="405"/>
                      <a:pt x="27" y="405"/>
                    </a:cubicBezTo>
                    <a:cubicBezTo>
                      <a:pt x="28" y="405"/>
                      <a:pt x="28" y="404"/>
                      <a:pt x="28" y="403"/>
                    </a:cubicBezTo>
                    <a:cubicBezTo>
                      <a:pt x="28" y="403"/>
                      <a:pt x="26" y="404"/>
                      <a:pt x="26" y="405"/>
                    </a:cubicBezTo>
                    <a:cubicBezTo>
                      <a:pt x="26" y="405"/>
                      <a:pt x="26" y="405"/>
                      <a:pt x="26" y="405"/>
                    </a:cubicBezTo>
                    <a:cubicBezTo>
                      <a:pt x="25" y="404"/>
                      <a:pt x="25" y="403"/>
                      <a:pt x="25" y="402"/>
                    </a:cubicBezTo>
                    <a:cubicBezTo>
                      <a:pt x="26" y="403"/>
                      <a:pt x="26" y="404"/>
                      <a:pt x="27" y="403"/>
                    </a:cubicBezTo>
                    <a:cubicBezTo>
                      <a:pt x="27" y="402"/>
                      <a:pt x="27" y="402"/>
                      <a:pt x="27" y="401"/>
                    </a:cubicBezTo>
                    <a:cubicBezTo>
                      <a:pt x="27" y="401"/>
                      <a:pt x="30" y="400"/>
                      <a:pt x="28" y="400"/>
                    </a:cubicBezTo>
                    <a:cubicBezTo>
                      <a:pt x="28" y="400"/>
                      <a:pt x="28" y="400"/>
                      <a:pt x="28" y="401"/>
                    </a:cubicBezTo>
                    <a:cubicBezTo>
                      <a:pt x="27" y="401"/>
                      <a:pt x="27" y="401"/>
                      <a:pt x="26" y="401"/>
                    </a:cubicBezTo>
                    <a:cubicBezTo>
                      <a:pt x="27" y="401"/>
                      <a:pt x="27" y="400"/>
                      <a:pt x="27" y="400"/>
                    </a:cubicBezTo>
                    <a:cubicBezTo>
                      <a:pt x="27" y="399"/>
                      <a:pt x="27" y="399"/>
                      <a:pt x="28" y="399"/>
                    </a:cubicBezTo>
                    <a:cubicBezTo>
                      <a:pt x="28" y="399"/>
                      <a:pt x="27" y="399"/>
                      <a:pt x="27" y="398"/>
                    </a:cubicBezTo>
                    <a:cubicBezTo>
                      <a:pt x="27" y="398"/>
                      <a:pt x="27" y="398"/>
                      <a:pt x="27" y="398"/>
                    </a:cubicBezTo>
                    <a:cubicBezTo>
                      <a:pt x="28" y="399"/>
                      <a:pt x="28" y="398"/>
                      <a:pt x="28" y="399"/>
                    </a:cubicBezTo>
                    <a:cubicBezTo>
                      <a:pt x="29" y="400"/>
                      <a:pt x="29" y="399"/>
                      <a:pt x="29" y="399"/>
                    </a:cubicBezTo>
                    <a:cubicBezTo>
                      <a:pt x="30" y="399"/>
                      <a:pt x="30" y="399"/>
                      <a:pt x="30" y="399"/>
                    </a:cubicBezTo>
                    <a:cubicBezTo>
                      <a:pt x="30" y="400"/>
                      <a:pt x="31" y="400"/>
                      <a:pt x="31" y="400"/>
                    </a:cubicBezTo>
                    <a:cubicBezTo>
                      <a:pt x="32" y="400"/>
                      <a:pt x="33" y="399"/>
                      <a:pt x="32" y="399"/>
                    </a:cubicBezTo>
                    <a:cubicBezTo>
                      <a:pt x="32" y="398"/>
                      <a:pt x="32" y="399"/>
                      <a:pt x="31" y="398"/>
                    </a:cubicBezTo>
                    <a:cubicBezTo>
                      <a:pt x="31" y="398"/>
                      <a:pt x="31" y="398"/>
                      <a:pt x="31" y="398"/>
                    </a:cubicBezTo>
                    <a:cubicBezTo>
                      <a:pt x="30" y="397"/>
                      <a:pt x="30" y="397"/>
                      <a:pt x="29" y="397"/>
                    </a:cubicBezTo>
                    <a:cubicBezTo>
                      <a:pt x="28" y="396"/>
                      <a:pt x="27" y="396"/>
                      <a:pt x="26" y="395"/>
                    </a:cubicBezTo>
                    <a:cubicBezTo>
                      <a:pt x="27" y="395"/>
                      <a:pt x="28" y="395"/>
                      <a:pt x="29" y="396"/>
                    </a:cubicBezTo>
                    <a:cubicBezTo>
                      <a:pt x="30" y="397"/>
                      <a:pt x="31" y="397"/>
                      <a:pt x="33" y="399"/>
                    </a:cubicBezTo>
                    <a:cubicBezTo>
                      <a:pt x="33" y="399"/>
                      <a:pt x="34" y="401"/>
                      <a:pt x="34" y="4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7" name="Freeform 2958">
                <a:extLst>
                  <a:ext uri="{FF2B5EF4-FFF2-40B4-BE49-F238E27FC236}">
                    <a16:creationId xmlns:a16="http://schemas.microsoft.com/office/drawing/2014/main" id="{0066A665-3527-4AB4-9B06-9A9EBFC24FF4}"/>
                  </a:ext>
                </a:extLst>
              </p:cNvPr>
              <p:cNvSpPr>
                <a:spLocks/>
              </p:cNvSpPr>
              <p:nvPr/>
            </p:nvSpPr>
            <p:spPr bwMode="auto">
              <a:xfrm>
                <a:off x="1776" y="3316"/>
                <a:ext cx="475" cy="854"/>
              </a:xfrm>
              <a:custGeom>
                <a:avLst/>
                <a:gdLst>
                  <a:gd name="T0" fmla="*/ 152 w 201"/>
                  <a:gd name="T1" fmla="*/ 132 h 361"/>
                  <a:gd name="T2" fmla="*/ 154 w 201"/>
                  <a:gd name="T3" fmla="*/ 111 h 361"/>
                  <a:gd name="T4" fmla="*/ 157 w 201"/>
                  <a:gd name="T5" fmla="*/ 102 h 361"/>
                  <a:gd name="T6" fmla="*/ 162 w 201"/>
                  <a:gd name="T7" fmla="*/ 88 h 361"/>
                  <a:gd name="T8" fmla="*/ 183 w 201"/>
                  <a:gd name="T9" fmla="*/ 65 h 361"/>
                  <a:gd name="T10" fmla="*/ 199 w 201"/>
                  <a:gd name="T11" fmla="*/ 54 h 361"/>
                  <a:gd name="T12" fmla="*/ 197 w 201"/>
                  <a:gd name="T13" fmla="*/ 41 h 361"/>
                  <a:gd name="T14" fmla="*/ 193 w 201"/>
                  <a:gd name="T15" fmla="*/ 41 h 361"/>
                  <a:gd name="T16" fmla="*/ 182 w 201"/>
                  <a:gd name="T17" fmla="*/ 60 h 361"/>
                  <a:gd name="T18" fmla="*/ 174 w 201"/>
                  <a:gd name="T19" fmla="*/ 62 h 361"/>
                  <a:gd name="T20" fmla="*/ 150 w 201"/>
                  <a:gd name="T21" fmla="*/ 60 h 361"/>
                  <a:gd name="T22" fmla="*/ 160 w 201"/>
                  <a:gd name="T23" fmla="*/ 39 h 361"/>
                  <a:gd name="T24" fmla="*/ 128 w 201"/>
                  <a:gd name="T25" fmla="*/ 22 h 361"/>
                  <a:gd name="T26" fmla="*/ 116 w 201"/>
                  <a:gd name="T27" fmla="*/ 11 h 361"/>
                  <a:gd name="T28" fmla="*/ 109 w 201"/>
                  <a:gd name="T29" fmla="*/ 4 h 361"/>
                  <a:gd name="T30" fmla="*/ 99 w 201"/>
                  <a:gd name="T31" fmla="*/ 2 h 361"/>
                  <a:gd name="T32" fmla="*/ 85 w 201"/>
                  <a:gd name="T33" fmla="*/ 3 h 361"/>
                  <a:gd name="T34" fmla="*/ 67 w 201"/>
                  <a:gd name="T35" fmla="*/ 7 h 361"/>
                  <a:gd name="T36" fmla="*/ 65 w 201"/>
                  <a:gd name="T37" fmla="*/ 16 h 361"/>
                  <a:gd name="T38" fmla="*/ 51 w 201"/>
                  <a:gd name="T39" fmla="*/ 31 h 361"/>
                  <a:gd name="T40" fmla="*/ 53 w 201"/>
                  <a:gd name="T41" fmla="*/ 52 h 361"/>
                  <a:gd name="T42" fmla="*/ 49 w 201"/>
                  <a:gd name="T43" fmla="*/ 58 h 361"/>
                  <a:gd name="T44" fmla="*/ 39 w 201"/>
                  <a:gd name="T45" fmla="*/ 72 h 361"/>
                  <a:gd name="T46" fmla="*/ 37 w 201"/>
                  <a:gd name="T47" fmla="*/ 85 h 361"/>
                  <a:gd name="T48" fmla="*/ 33 w 201"/>
                  <a:gd name="T49" fmla="*/ 98 h 361"/>
                  <a:gd name="T50" fmla="*/ 31 w 201"/>
                  <a:gd name="T51" fmla="*/ 105 h 361"/>
                  <a:gd name="T52" fmla="*/ 35 w 201"/>
                  <a:gd name="T53" fmla="*/ 119 h 361"/>
                  <a:gd name="T54" fmla="*/ 37 w 201"/>
                  <a:gd name="T55" fmla="*/ 132 h 361"/>
                  <a:gd name="T56" fmla="*/ 33 w 201"/>
                  <a:gd name="T57" fmla="*/ 144 h 361"/>
                  <a:gd name="T58" fmla="*/ 32 w 201"/>
                  <a:gd name="T59" fmla="*/ 157 h 361"/>
                  <a:gd name="T60" fmla="*/ 26 w 201"/>
                  <a:gd name="T61" fmla="*/ 163 h 361"/>
                  <a:gd name="T62" fmla="*/ 27 w 201"/>
                  <a:gd name="T63" fmla="*/ 184 h 361"/>
                  <a:gd name="T64" fmla="*/ 21 w 201"/>
                  <a:gd name="T65" fmla="*/ 199 h 361"/>
                  <a:gd name="T66" fmla="*/ 18 w 201"/>
                  <a:gd name="T67" fmla="*/ 209 h 361"/>
                  <a:gd name="T68" fmla="*/ 17 w 201"/>
                  <a:gd name="T69" fmla="*/ 231 h 361"/>
                  <a:gd name="T70" fmla="*/ 19 w 201"/>
                  <a:gd name="T71" fmla="*/ 243 h 361"/>
                  <a:gd name="T72" fmla="*/ 18 w 201"/>
                  <a:gd name="T73" fmla="*/ 255 h 361"/>
                  <a:gd name="T74" fmla="*/ 19 w 201"/>
                  <a:gd name="T75" fmla="*/ 264 h 361"/>
                  <a:gd name="T76" fmla="*/ 22 w 201"/>
                  <a:gd name="T77" fmla="*/ 271 h 361"/>
                  <a:gd name="T78" fmla="*/ 18 w 201"/>
                  <a:gd name="T79" fmla="*/ 280 h 361"/>
                  <a:gd name="T80" fmla="*/ 15 w 201"/>
                  <a:gd name="T81" fmla="*/ 296 h 361"/>
                  <a:gd name="T82" fmla="*/ 10 w 201"/>
                  <a:gd name="T83" fmla="*/ 303 h 361"/>
                  <a:gd name="T84" fmla="*/ 10 w 201"/>
                  <a:gd name="T85" fmla="*/ 311 h 361"/>
                  <a:gd name="T86" fmla="*/ 3 w 201"/>
                  <a:gd name="T87" fmla="*/ 322 h 361"/>
                  <a:gd name="T88" fmla="*/ 0 w 201"/>
                  <a:gd name="T89" fmla="*/ 332 h 361"/>
                  <a:gd name="T90" fmla="*/ 4 w 201"/>
                  <a:gd name="T91" fmla="*/ 339 h 361"/>
                  <a:gd name="T92" fmla="*/ 13 w 201"/>
                  <a:gd name="T93" fmla="*/ 339 h 361"/>
                  <a:gd name="T94" fmla="*/ 13 w 201"/>
                  <a:gd name="T95" fmla="*/ 352 h 361"/>
                  <a:gd name="T96" fmla="*/ 36 w 201"/>
                  <a:gd name="T97" fmla="*/ 356 h 361"/>
                  <a:gd name="T98" fmla="*/ 42 w 201"/>
                  <a:gd name="T99" fmla="*/ 352 h 361"/>
                  <a:gd name="T100" fmla="*/ 51 w 201"/>
                  <a:gd name="T101" fmla="*/ 332 h 361"/>
                  <a:gd name="T102" fmla="*/ 65 w 201"/>
                  <a:gd name="T103" fmla="*/ 313 h 361"/>
                  <a:gd name="T104" fmla="*/ 67 w 201"/>
                  <a:gd name="T105" fmla="*/ 290 h 361"/>
                  <a:gd name="T106" fmla="*/ 84 w 201"/>
                  <a:gd name="T107" fmla="*/ 257 h 361"/>
                  <a:gd name="T108" fmla="*/ 97 w 201"/>
                  <a:gd name="T109" fmla="*/ 230 h 361"/>
                  <a:gd name="T110" fmla="*/ 89 w 201"/>
                  <a:gd name="T111" fmla="*/ 214 h 361"/>
                  <a:gd name="T112" fmla="*/ 114 w 201"/>
                  <a:gd name="T113" fmla="*/ 202 h 361"/>
                  <a:gd name="T114" fmla="*/ 161 w 201"/>
                  <a:gd name="T115" fmla="*/ 18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361">
                    <a:moveTo>
                      <a:pt x="167" y="160"/>
                    </a:moveTo>
                    <a:cubicBezTo>
                      <a:pt x="165" y="159"/>
                      <a:pt x="165" y="158"/>
                      <a:pt x="164" y="155"/>
                    </a:cubicBezTo>
                    <a:cubicBezTo>
                      <a:pt x="164" y="153"/>
                      <a:pt x="165" y="153"/>
                      <a:pt x="166" y="151"/>
                    </a:cubicBezTo>
                    <a:cubicBezTo>
                      <a:pt x="167" y="150"/>
                      <a:pt x="166" y="148"/>
                      <a:pt x="165" y="147"/>
                    </a:cubicBezTo>
                    <a:cubicBezTo>
                      <a:pt x="164" y="147"/>
                      <a:pt x="163" y="146"/>
                      <a:pt x="162" y="145"/>
                    </a:cubicBezTo>
                    <a:cubicBezTo>
                      <a:pt x="160" y="144"/>
                      <a:pt x="158" y="143"/>
                      <a:pt x="155" y="142"/>
                    </a:cubicBezTo>
                    <a:cubicBezTo>
                      <a:pt x="155" y="143"/>
                      <a:pt x="154" y="143"/>
                      <a:pt x="153" y="143"/>
                    </a:cubicBezTo>
                    <a:cubicBezTo>
                      <a:pt x="151" y="143"/>
                      <a:pt x="150" y="142"/>
                      <a:pt x="150" y="140"/>
                    </a:cubicBezTo>
                    <a:cubicBezTo>
                      <a:pt x="150" y="139"/>
                      <a:pt x="151" y="138"/>
                      <a:pt x="152" y="138"/>
                    </a:cubicBezTo>
                    <a:cubicBezTo>
                      <a:pt x="152" y="138"/>
                      <a:pt x="151" y="134"/>
                      <a:pt x="152" y="132"/>
                    </a:cubicBezTo>
                    <a:cubicBezTo>
                      <a:pt x="152" y="132"/>
                      <a:pt x="152" y="132"/>
                      <a:pt x="152" y="132"/>
                    </a:cubicBezTo>
                    <a:cubicBezTo>
                      <a:pt x="152" y="131"/>
                      <a:pt x="152" y="131"/>
                      <a:pt x="152" y="131"/>
                    </a:cubicBezTo>
                    <a:cubicBezTo>
                      <a:pt x="152" y="130"/>
                      <a:pt x="152" y="128"/>
                      <a:pt x="152" y="127"/>
                    </a:cubicBezTo>
                    <a:cubicBezTo>
                      <a:pt x="152" y="126"/>
                      <a:pt x="153" y="125"/>
                      <a:pt x="154" y="123"/>
                    </a:cubicBezTo>
                    <a:cubicBezTo>
                      <a:pt x="154" y="123"/>
                      <a:pt x="155" y="122"/>
                      <a:pt x="155" y="122"/>
                    </a:cubicBezTo>
                    <a:cubicBezTo>
                      <a:pt x="155" y="122"/>
                      <a:pt x="155" y="122"/>
                      <a:pt x="155" y="122"/>
                    </a:cubicBezTo>
                    <a:cubicBezTo>
                      <a:pt x="156" y="121"/>
                      <a:pt x="155" y="120"/>
                      <a:pt x="155" y="120"/>
                    </a:cubicBezTo>
                    <a:cubicBezTo>
                      <a:pt x="155" y="119"/>
                      <a:pt x="155" y="119"/>
                      <a:pt x="155" y="119"/>
                    </a:cubicBezTo>
                    <a:cubicBezTo>
                      <a:pt x="154" y="117"/>
                      <a:pt x="154" y="116"/>
                      <a:pt x="154" y="114"/>
                    </a:cubicBezTo>
                    <a:cubicBezTo>
                      <a:pt x="154" y="114"/>
                      <a:pt x="154" y="114"/>
                      <a:pt x="154" y="113"/>
                    </a:cubicBezTo>
                    <a:cubicBezTo>
                      <a:pt x="154" y="113"/>
                      <a:pt x="154" y="113"/>
                      <a:pt x="154" y="113"/>
                    </a:cubicBezTo>
                    <a:cubicBezTo>
                      <a:pt x="154" y="112"/>
                      <a:pt x="154" y="112"/>
                      <a:pt x="154" y="111"/>
                    </a:cubicBezTo>
                    <a:cubicBezTo>
                      <a:pt x="154" y="111"/>
                      <a:pt x="154" y="111"/>
                      <a:pt x="154" y="111"/>
                    </a:cubicBezTo>
                    <a:cubicBezTo>
                      <a:pt x="154" y="110"/>
                      <a:pt x="154" y="110"/>
                      <a:pt x="154" y="110"/>
                    </a:cubicBezTo>
                    <a:cubicBezTo>
                      <a:pt x="154" y="110"/>
                      <a:pt x="154" y="110"/>
                      <a:pt x="154" y="110"/>
                    </a:cubicBezTo>
                    <a:cubicBezTo>
                      <a:pt x="154" y="110"/>
                      <a:pt x="154" y="110"/>
                      <a:pt x="154" y="109"/>
                    </a:cubicBezTo>
                    <a:cubicBezTo>
                      <a:pt x="155" y="109"/>
                      <a:pt x="155" y="108"/>
                      <a:pt x="156" y="108"/>
                    </a:cubicBezTo>
                    <a:cubicBezTo>
                      <a:pt x="156" y="108"/>
                      <a:pt x="156" y="108"/>
                      <a:pt x="156" y="108"/>
                    </a:cubicBezTo>
                    <a:cubicBezTo>
                      <a:pt x="156" y="107"/>
                      <a:pt x="156" y="107"/>
                      <a:pt x="156" y="107"/>
                    </a:cubicBezTo>
                    <a:cubicBezTo>
                      <a:pt x="156" y="106"/>
                      <a:pt x="156" y="106"/>
                      <a:pt x="156" y="106"/>
                    </a:cubicBezTo>
                    <a:cubicBezTo>
                      <a:pt x="156" y="105"/>
                      <a:pt x="156" y="105"/>
                      <a:pt x="156" y="104"/>
                    </a:cubicBezTo>
                    <a:cubicBezTo>
                      <a:pt x="157" y="103"/>
                      <a:pt x="157" y="103"/>
                      <a:pt x="157" y="103"/>
                    </a:cubicBezTo>
                    <a:cubicBezTo>
                      <a:pt x="157" y="103"/>
                      <a:pt x="157" y="103"/>
                      <a:pt x="157" y="102"/>
                    </a:cubicBezTo>
                    <a:cubicBezTo>
                      <a:pt x="157" y="101"/>
                      <a:pt x="158" y="100"/>
                      <a:pt x="158" y="99"/>
                    </a:cubicBezTo>
                    <a:cubicBezTo>
                      <a:pt x="158" y="99"/>
                      <a:pt x="158" y="98"/>
                      <a:pt x="158" y="98"/>
                    </a:cubicBezTo>
                    <a:cubicBezTo>
                      <a:pt x="158" y="97"/>
                      <a:pt x="158" y="97"/>
                      <a:pt x="158" y="97"/>
                    </a:cubicBezTo>
                    <a:cubicBezTo>
                      <a:pt x="158" y="97"/>
                      <a:pt x="158" y="97"/>
                      <a:pt x="158" y="96"/>
                    </a:cubicBezTo>
                    <a:cubicBezTo>
                      <a:pt x="158" y="96"/>
                      <a:pt x="158" y="96"/>
                      <a:pt x="158" y="96"/>
                    </a:cubicBezTo>
                    <a:cubicBezTo>
                      <a:pt x="158" y="96"/>
                      <a:pt x="157" y="95"/>
                      <a:pt x="157" y="95"/>
                    </a:cubicBezTo>
                    <a:cubicBezTo>
                      <a:pt x="157" y="94"/>
                      <a:pt x="158" y="92"/>
                      <a:pt x="159" y="91"/>
                    </a:cubicBezTo>
                    <a:cubicBezTo>
                      <a:pt x="159" y="91"/>
                      <a:pt x="160" y="90"/>
                      <a:pt x="160" y="89"/>
                    </a:cubicBezTo>
                    <a:cubicBezTo>
                      <a:pt x="161" y="89"/>
                      <a:pt x="161" y="89"/>
                      <a:pt x="161" y="89"/>
                    </a:cubicBezTo>
                    <a:cubicBezTo>
                      <a:pt x="161" y="89"/>
                      <a:pt x="161" y="89"/>
                      <a:pt x="161" y="89"/>
                    </a:cubicBezTo>
                    <a:cubicBezTo>
                      <a:pt x="162" y="88"/>
                      <a:pt x="162" y="88"/>
                      <a:pt x="162" y="88"/>
                    </a:cubicBezTo>
                    <a:cubicBezTo>
                      <a:pt x="165" y="85"/>
                      <a:pt x="168" y="82"/>
                      <a:pt x="170" y="79"/>
                    </a:cubicBezTo>
                    <a:cubicBezTo>
                      <a:pt x="171" y="78"/>
                      <a:pt x="171" y="78"/>
                      <a:pt x="172" y="77"/>
                    </a:cubicBezTo>
                    <a:cubicBezTo>
                      <a:pt x="173" y="76"/>
                      <a:pt x="174" y="75"/>
                      <a:pt x="175" y="74"/>
                    </a:cubicBezTo>
                    <a:cubicBezTo>
                      <a:pt x="176" y="72"/>
                      <a:pt x="178" y="71"/>
                      <a:pt x="179" y="70"/>
                    </a:cubicBezTo>
                    <a:cubicBezTo>
                      <a:pt x="179" y="69"/>
                      <a:pt x="179" y="69"/>
                      <a:pt x="179" y="68"/>
                    </a:cubicBezTo>
                    <a:cubicBezTo>
                      <a:pt x="179" y="68"/>
                      <a:pt x="179" y="68"/>
                      <a:pt x="179" y="68"/>
                    </a:cubicBezTo>
                    <a:cubicBezTo>
                      <a:pt x="180" y="67"/>
                      <a:pt x="180" y="67"/>
                      <a:pt x="181" y="66"/>
                    </a:cubicBezTo>
                    <a:cubicBezTo>
                      <a:pt x="182" y="66"/>
                      <a:pt x="182" y="66"/>
                      <a:pt x="182" y="66"/>
                    </a:cubicBezTo>
                    <a:cubicBezTo>
                      <a:pt x="182" y="66"/>
                      <a:pt x="182" y="66"/>
                      <a:pt x="182" y="66"/>
                    </a:cubicBezTo>
                    <a:cubicBezTo>
                      <a:pt x="183" y="66"/>
                      <a:pt x="183" y="66"/>
                      <a:pt x="183" y="66"/>
                    </a:cubicBezTo>
                    <a:cubicBezTo>
                      <a:pt x="183" y="66"/>
                      <a:pt x="183" y="66"/>
                      <a:pt x="183" y="65"/>
                    </a:cubicBezTo>
                    <a:cubicBezTo>
                      <a:pt x="183" y="65"/>
                      <a:pt x="184" y="65"/>
                      <a:pt x="184" y="65"/>
                    </a:cubicBezTo>
                    <a:cubicBezTo>
                      <a:pt x="184" y="64"/>
                      <a:pt x="185" y="64"/>
                      <a:pt x="185" y="64"/>
                    </a:cubicBezTo>
                    <a:cubicBezTo>
                      <a:pt x="186" y="63"/>
                      <a:pt x="186" y="63"/>
                      <a:pt x="186" y="63"/>
                    </a:cubicBezTo>
                    <a:cubicBezTo>
                      <a:pt x="187" y="62"/>
                      <a:pt x="187" y="62"/>
                      <a:pt x="187" y="62"/>
                    </a:cubicBezTo>
                    <a:cubicBezTo>
                      <a:pt x="188" y="61"/>
                      <a:pt x="189" y="60"/>
                      <a:pt x="191" y="59"/>
                    </a:cubicBezTo>
                    <a:cubicBezTo>
                      <a:pt x="193" y="59"/>
                      <a:pt x="195" y="58"/>
                      <a:pt x="197" y="57"/>
                    </a:cubicBezTo>
                    <a:cubicBezTo>
                      <a:pt x="198" y="57"/>
                      <a:pt x="198" y="57"/>
                      <a:pt x="198" y="57"/>
                    </a:cubicBezTo>
                    <a:cubicBezTo>
                      <a:pt x="199" y="56"/>
                      <a:pt x="199" y="56"/>
                      <a:pt x="199" y="56"/>
                    </a:cubicBezTo>
                    <a:cubicBezTo>
                      <a:pt x="199" y="56"/>
                      <a:pt x="199" y="56"/>
                      <a:pt x="199" y="56"/>
                    </a:cubicBezTo>
                    <a:cubicBezTo>
                      <a:pt x="199" y="56"/>
                      <a:pt x="199" y="56"/>
                      <a:pt x="199" y="55"/>
                    </a:cubicBezTo>
                    <a:cubicBezTo>
                      <a:pt x="199" y="55"/>
                      <a:pt x="199" y="55"/>
                      <a:pt x="199" y="54"/>
                    </a:cubicBezTo>
                    <a:cubicBezTo>
                      <a:pt x="199" y="54"/>
                      <a:pt x="199" y="54"/>
                      <a:pt x="199" y="54"/>
                    </a:cubicBezTo>
                    <a:cubicBezTo>
                      <a:pt x="200" y="54"/>
                      <a:pt x="200" y="54"/>
                      <a:pt x="200" y="53"/>
                    </a:cubicBezTo>
                    <a:cubicBezTo>
                      <a:pt x="200" y="52"/>
                      <a:pt x="200" y="52"/>
                      <a:pt x="200" y="52"/>
                    </a:cubicBezTo>
                    <a:cubicBezTo>
                      <a:pt x="200" y="52"/>
                      <a:pt x="200" y="51"/>
                      <a:pt x="200" y="51"/>
                    </a:cubicBezTo>
                    <a:cubicBezTo>
                      <a:pt x="200" y="51"/>
                      <a:pt x="200" y="51"/>
                      <a:pt x="200" y="51"/>
                    </a:cubicBezTo>
                    <a:cubicBezTo>
                      <a:pt x="201" y="49"/>
                      <a:pt x="201" y="48"/>
                      <a:pt x="200" y="46"/>
                    </a:cubicBezTo>
                    <a:cubicBezTo>
                      <a:pt x="198" y="41"/>
                      <a:pt x="198" y="41"/>
                      <a:pt x="198" y="41"/>
                    </a:cubicBezTo>
                    <a:cubicBezTo>
                      <a:pt x="198" y="41"/>
                      <a:pt x="198" y="41"/>
                      <a:pt x="198" y="41"/>
                    </a:cubicBezTo>
                    <a:cubicBezTo>
                      <a:pt x="198" y="41"/>
                      <a:pt x="198" y="41"/>
                      <a:pt x="198" y="41"/>
                    </a:cubicBezTo>
                    <a:cubicBezTo>
                      <a:pt x="198" y="41"/>
                      <a:pt x="197" y="41"/>
                      <a:pt x="197" y="41"/>
                    </a:cubicBezTo>
                    <a:cubicBezTo>
                      <a:pt x="197" y="41"/>
                      <a:pt x="197" y="41"/>
                      <a:pt x="197" y="41"/>
                    </a:cubicBezTo>
                    <a:cubicBezTo>
                      <a:pt x="197" y="41"/>
                      <a:pt x="197" y="41"/>
                      <a:pt x="197" y="41"/>
                    </a:cubicBezTo>
                    <a:cubicBezTo>
                      <a:pt x="197" y="41"/>
                      <a:pt x="196" y="41"/>
                      <a:pt x="196" y="41"/>
                    </a:cubicBezTo>
                    <a:cubicBezTo>
                      <a:pt x="196" y="41"/>
                      <a:pt x="196" y="41"/>
                      <a:pt x="196" y="41"/>
                    </a:cubicBezTo>
                    <a:cubicBezTo>
                      <a:pt x="196" y="41"/>
                      <a:pt x="195" y="42"/>
                      <a:pt x="194" y="42"/>
                    </a:cubicBezTo>
                    <a:cubicBezTo>
                      <a:pt x="194" y="42"/>
                      <a:pt x="194" y="42"/>
                      <a:pt x="194" y="42"/>
                    </a:cubicBezTo>
                    <a:cubicBezTo>
                      <a:pt x="194" y="44"/>
                      <a:pt x="194" y="44"/>
                      <a:pt x="194" y="44"/>
                    </a:cubicBezTo>
                    <a:cubicBezTo>
                      <a:pt x="194" y="42"/>
                      <a:pt x="194" y="42"/>
                      <a:pt x="194" y="42"/>
                    </a:cubicBezTo>
                    <a:cubicBezTo>
                      <a:pt x="193" y="42"/>
                      <a:pt x="193" y="41"/>
                      <a:pt x="193" y="41"/>
                    </a:cubicBezTo>
                    <a:cubicBezTo>
                      <a:pt x="193" y="41"/>
                      <a:pt x="193" y="41"/>
                      <a:pt x="193" y="41"/>
                    </a:cubicBezTo>
                    <a:cubicBezTo>
                      <a:pt x="193" y="41"/>
                      <a:pt x="193" y="41"/>
                      <a:pt x="193" y="41"/>
                    </a:cubicBezTo>
                    <a:cubicBezTo>
                      <a:pt x="193" y="41"/>
                      <a:pt x="193" y="41"/>
                      <a:pt x="193" y="41"/>
                    </a:cubicBezTo>
                    <a:cubicBezTo>
                      <a:pt x="193" y="44"/>
                      <a:pt x="193" y="47"/>
                      <a:pt x="192" y="49"/>
                    </a:cubicBezTo>
                    <a:cubicBezTo>
                      <a:pt x="191" y="51"/>
                      <a:pt x="191" y="51"/>
                      <a:pt x="190" y="52"/>
                    </a:cubicBezTo>
                    <a:cubicBezTo>
                      <a:pt x="189" y="53"/>
                      <a:pt x="188" y="54"/>
                      <a:pt x="188" y="54"/>
                    </a:cubicBezTo>
                    <a:cubicBezTo>
                      <a:pt x="187" y="55"/>
                      <a:pt x="186" y="56"/>
                      <a:pt x="185" y="56"/>
                    </a:cubicBezTo>
                    <a:cubicBezTo>
                      <a:pt x="184" y="57"/>
                      <a:pt x="184" y="57"/>
                      <a:pt x="184" y="57"/>
                    </a:cubicBezTo>
                    <a:cubicBezTo>
                      <a:pt x="184" y="57"/>
                      <a:pt x="183" y="57"/>
                      <a:pt x="183" y="57"/>
                    </a:cubicBezTo>
                    <a:cubicBezTo>
                      <a:pt x="183" y="58"/>
                      <a:pt x="183" y="58"/>
                      <a:pt x="183" y="58"/>
                    </a:cubicBezTo>
                    <a:cubicBezTo>
                      <a:pt x="183" y="58"/>
                      <a:pt x="183" y="58"/>
                      <a:pt x="183" y="58"/>
                    </a:cubicBezTo>
                    <a:cubicBezTo>
                      <a:pt x="183" y="58"/>
                      <a:pt x="183" y="59"/>
                      <a:pt x="182" y="59"/>
                    </a:cubicBezTo>
                    <a:cubicBezTo>
                      <a:pt x="182" y="59"/>
                      <a:pt x="182" y="60"/>
                      <a:pt x="182" y="60"/>
                    </a:cubicBezTo>
                    <a:cubicBezTo>
                      <a:pt x="182" y="60"/>
                      <a:pt x="182" y="60"/>
                      <a:pt x="182" y="60"/>
                    </a:cubicBezTo>
                    <a:cubicBezTo>
                      <a:pt x="182" y="60"/>
                      <a:pt x="182" y="60"/>
                      <a:pt x="182" y="60"/>
                    </a:cubicBezTo>
                    <a:cubicBezTo>
                      <a:pt x="182" y="60"/>
                      <a:pt x="182" y="60"/>
                      <a:pt x="182" y="60"/>
                    </a:cubicBezTo>
                    <a:cubicBezTo>
                      <a:pt x="181" y="60"/>
                      <a:pt x="180" y="61"/>
                      <a:pt x="179" y="60"/>
                    </a:cubicBezTo>
                    <a:cubicBezTo>
                      <a:pt x="178" y="60"/>
                      <a:pt x="178" y="60"/>
                      <a:pt x="178" y="60"/>
                    </a:cubicBezTo>
                    <a:cubicBezTo>
                      <a:pt x="178" y="60"/>
                      <a:pt x="178" y="60"/>
                      <a:pt x="178" y="60"/>
                    </a:cubicBezTo>
                    <a:cubicBezTo>
                      <a:pt x="178" y="60"/>
                      <a:pt x="178" y="60"/>
                      <a:pt x="178" y="60"/>
                    </a:cubicBezTo>
                    <a:cubicBezTo>
                      <a:pt x="177" y="60"/>
                      <a:pt x="177" y="61"/>
                      <a:pt x="176" y="61"/>
                    </a:cubicBezTo>
                    <a:cubicBezTo>
                      <a:pt x="176" y="62"/>
                      <a:pt x="176" y="62"/>
                      <a:pt x="176" y="62"/>
                    </a:cubicBezTo>
                    <a:cubicBezTo>
                      <a:pt x="176" y="62"/>
                      <a:pt x="175" y="62"/>
                      <a:pt x="175" y="62"/>
                    </a:cubicBezTo>
                    <a:cubicBezTo>
                      <a:pt x="175" y="62"/>
                      <a:pt x="174" y="63"/>
                      <a:pt x="174" y="63"/>
                    </a:cubicBezTo>
                    <a:cubicBezTo>
                      <a:pt x="174" y="62"/>
                      <a:pt x="174" y="62"/>
                      <a:pt x="174" y="62"/>
                    </a:cubicBezTo>
                    <a:cubicBezTo>
                      <a:pt x="173" y="62"/>
                      <a:pt x="173" y="62"/>
                      <a:pt x="172" y="62"/>
                    </a:cubicBezTo>
                    <a:cubicBezTo>
                      <a:pt x="172" y="62"/>
                      <a:pt x="172" y="62"/>
                      <a:pt x="172" y="62"/>
                    </a:cubicBezTo>
                    <a:cubicBezTo>
                      <a:pt x="172" y="61"/>
                      <a:pt x="172" y="61"/>
                      <a:pt x="172" y="61"/>
                    </a:cubicBezTo>
                    <a:cubicBezTo>
                      <a:pt x="171" y="61"/>
                      <a:pt x="171" y="61"/>
                      <a:pt x="171" y="61"/>
                    </a:cubicBezTo>
                    <a:cubicBezTo>
                      <a:pt x="170" y="61"/>
                      <a:pt x="169" y="61"/>
                      <a:pt x="168" y="61"/>
                    </a:cubicBezTo>
                    <a:cubicBezTo>
                      <a:pt x="167" y="61"/>
                      <a:pt x="167" y="61"/>
                      <a:pt x="167" y="61"/>
                    </a:cubicBezTo>
                    <a:cubicBezTo>
                      <a:pt x="165" y="61"/>
                      <a:pt x="164" y="61"/>
                      <a:pt x="162" y="60"/>
                    </a:cubicBezTo>
                    <a:cubicBezTo>
                      <a:pt x="161" y="60"/>
                      <a:pt x="160" y="60"/>
                      <a:pt x="160" y="60"/>
                    </a:cubicBezTo>
                    <a:cubicBezTo>
                      <a:pt x="160" y="60"/>
                      <a:pt x="160" y="60"/>
                      <a:pt x="160" y="60"/>
                    </a:cubicBezTo>
                    <a:cubicBezTo>
                      <a:pt x="157" y="59"/>
                      <a:pt x="155" y="59"/>
                      <a:pt x="151" y="60"/>
                    </a:cubicBezTo>
                    <a:cubicBezTo>
                      <a:pt x="150" y="60"/>
                      <a:pt x="150" y="60"/>
                      <a:pt x="150" y="60"/>
                    </a:cubicBezTo>
                    <a:cubicBezTo>
                      <a:pt x="150" y="59"/>
                      <a:pt x="150" y="59"/>
                      <a:pt x="150" y="59"/>
                    </a:cubicBezTo>
                    <a:cubicBezTo>
                      <a:pt x="150" y="58"/>
                      <a:pt x="150" y="58"/>
                      <a:pt x="150" y="58"/>
                    </a:cubicBezTo>
                    <a:cubicBezTo>
                      <a:pt x="150" y="58"/>
                      <a:pt x="150" y="57"/>
                      <a:pt x="150" y="56"/>
                    </a:cubicBezTo>
                    <a:cubicBezTo>
                      <a:pt x="150" y="56"/>
                      <a:pt x="150" y="56"/>
                      <a:pt x="150" y="55"/>
                    </a:cubicBezTo>
                    <a:cubicBezTo>
                      <a:pt x="151" y="55"/>
                      <a:pt x="151" y="55"/>
                      <a:pt x="151" y="54"/>
                    </a:cubicBezTo>
                    <a:cubicBezTo>
                      <a:pt x="152" y="54"/>
                      <a:pt x="153" y="53"/>
                      <a:pt x="153" y="53"/>
                    </a:cubicBezTo>
                    <a:cubicBezTo>
                      <a:pt x="153" y="52"/>
                      <a:pt x="153" y="52"/>
                      <a:pt x="153" y="52"/>
                    </a:cubicBezTo>
                    <a:cubicBezTo>
                      <a:pt x="154" y="49"/>
                      <a:pt x="155" y="47"/>
                      <a:pt x="156" y="44"/>
                    </a:cubicBezTo>
                    <a:cubicBezTo>
                      <a:pt x="157" y="44"/>
                      <a:pt x="157" y="43"/>
                      <a:pt x="158" y="42"/>
                    </a:cubicBezTo>
                    <a:cubicBezTo>
                      <a:pt x="158" y="42"/>
                      <a:pt x="158" y="42"/>
                      <a:pt x="158" y="42"/>
                    </a:cubicBezTo>
                    <a:cubicBezTo>
                      <a:pt x="159" y="41"/>
                      <a:pt x="160" y="40"/>
                      <a:pt x="160" y="39"/>
                    </a:cubicBezTo>
                    <a:cubicBezTo>
                      <a:pt x="160" y="39"/>
                      <a:pt x="160" y="38"/>
                      <a:pt x="160" y="38"/>
                    </a:cubicBezTo>
                    <a:cubicBezTo>
                      <a:pt x="160" y="38"/>
                      <a:pt x="160" y="37"/>
                      <a:pt x="160" y="37"/>
                    </a:cubicBezTo>
                    <a:cubicBezTo>
                      <a:pt x="158" y="36"/>
                      <a:pt x="156" y="35"/>
                      <a:pt x="154" y="34"/>
                    </a:cubicBezTo>
                    <a:cubicBezTo>
                      <a:pt x="150" y="32"/>
                      <a:pt x="146" y="30"/>
                      <a:pt x="143" y="28"/>
                    </a:cubicBezTo>
                    <a:cubicBezTo>
                      <a:pt x="142" y="27"/>
                      <a:pt x="141" y="27"/>
                      <a:pt x="141" y="27"/>
                    </a:cubicBezTo>
                    <a:cubicBezTo>
                      <a:pt x="140" y="26"/>
                      <a:pt x="140" y="26"/>
                      <a:pt x="140" y="26"/>
                    </a:cubicBezTo>
                    <a:cubicBezTo>
                      <a:pt x="139" y="25"/>
                      <a:pt x="138" y="24"/>
                      <a:pt x="137" y="24"/>
                    </a:cubicBezTo>
                    <a:cubicBezTo>
                      <a:pt x="136" y="23"/>
                      <a:pt x="135" y="23"/>
                      <a:pt x="134" y="23"/>
                    </a:cubicBezTo>
                    <a:cubicBezTo>
                      <a:pt x="133" y="23"/>
                      <a:pt x="133" y="23"/>
                      <a:pt x="132" y="23"/>
                    </a:cubicBezTo>
                    <a:cubicBezTo>
                      <a:pt x="131" y="23"/>
                      <a:pt x="130" y="22"/>
                      <a:pt x="129" y="22"/>
                    </a:cubicBezTo>
                    <a:cubicBezTo>
                      <a:pt x="128" y="22"/>
                      <a:pt x="128" y="22"/>
                      <a:pt x="128" y="22"/>
                    </a:cubicBezTo>
                    <a:cubicBezTo>
                      <a:pt x="128" y="22"/>
                      <a:pt x="128" y="22"/>
                      <a:pt x="127" y="22"/>
                    </a:cubicBezTo>
                    <a:cubicBezTo>
                      <a:pt x="126" y="21"/>
                      <a:pt x="125" y="20"/>
                      <a:pt x="124" y="19"/>
                    </a:cubicBezTo>
                    <a:cubicBezTo>
                      <a:pt x="123" y="19"/>
                      <a:pt x="122" y="18"/>
                      <a:pt x="122" y="18"/>
                    </a:cubicBezTo>
                    <a:cubicBezTo>
                      <a:pt x="121" y="17"/>
                      <a:pt x="121" y="17"/>
                      <a:pt x="120" y="16"/>
                    </a:cubicBezTo>
                    <a:cubicBezTo>
                      <a:pt x="120" y="16"/>
                      <a:pt x="120" y="16"/>
                      <a:pt x="120" y="16"/>
                    </a:cubicBezTo>
                    <a:cubicBezTo>
                      <a:pt x="119" y="15"/>
                      <a:pt x="119" y="15"/>
                      <a:pt x="119" y="15"/>
                    </a:cubicBezTo>
                    <a:cubicBezTo>
                      <a:pt x="119" y="14"/>
                      <a:pt x="118" y="14"/>
                      <a:pt x="118" y="14"/>
                    </a:cubicBezTo>
                    <a:cubicBezTo>
                      <a:pt x="118" y="14"/>
                      <a:pt x="118" y="14"/>
                      <a:pt x="118" y="14"/>
                    </a:cubicBezTo>
                    <a:cubicBezTo>
                      <a:pt x="118" y="14"/>
                      <a:pt x="117" y="13"/>
                      <a:pt x="117" y="13"/>
                    </a:cubicBezTo>
                    <a:cubicBezTo>
                      <a:pt x="117" y="13"/>
                      <a:pt x="117" y="13"/>
                      <a:pt x="117" y="13"/>
                    </a:cubicBezTo>
                    <a:cubicBezTo>
                      <a:pt x="116" y="12"/>
                      <a:pt x="116" y="12"/>
                      <a:pt x="116" y="11"/>
                    </a:cubicBezTo>
                    <a:cubicBezTo>
                      <a:pt x="115" y="11"/>
                      <a:pt x="115" y="11"/>
                      <a:pt x="115" y="11"/>
                    </a:cubicBezTo>
                    <a:cubicBezTo>
                      <a:pt x="115" y="11"/>
                      <a:pt x="115" y="10"/>
                      <a:pt x="115" y="10"/>
                    </a:cubicBezTo>
                    <a:cubicBezTo>
                      <a:pt x="114" y="10"/>
                      <a:pt x="114" y="10"/>
                      <a:pt x="114" y="10"/>
                    </a:cubicBezTo>
                    <a:cubicBezTo>
                      <a:pt x="114" y="9"/>
                      <a:pt x="114" y="9"/>
                      <a:pt x="114" y="9"/>
                    </a:cubicBezTo>
                    <a:cubicBezTo>
                      <a:pt x="113" y="8"/>
                      <a:pt x="113" y="8"/>
                      <a:pt x="113" y="7"/>
                    </a:cubicBezTo>
                    <a:cubicBezTo>
                      <a:pt x="113" y="7"/>
                      <a:pt x="112" y="7"/>
                      <a:pt x="112" y="7"/>
                    </a:cubicBezTo>
                    <a:cubicBezTo>
                      <a:pt x="112" y="7"/>
                      <a:pt x="112" y="6"/>
                      <a:pt x="112" y="6"/>
                    </a:cubicBezTo>
                    <a:cubicBezTo>
                      <a:pt x="111" y="6"/>
                      <a:pt x="111" y="6"/>
                      <a:pt x="111" y="5"/>
                    </a:cubicBezTo>
                    <a:cubicBezTo>
                      <a:pt x="111" y="6"/>
                      <a:pt x="111" y="6"/>
                      <a:pt x="111" y="6"/>
                    </a:cubicBezTo>
                    <a:cubicBezTo>
                      <a:pt x="110" y="5"/>
                      <a:pt x="110" y="5"/>
                      <a:pt x="110" y="5"/>
                    </a:cubicBezTo>
                    <a:cubicBezTo>
                      <a:pt x="109" y="4"/>
                      <a:pt x="109" y="4"/>
                      <a:pt x="109" y="4"/>
                    </a:cubicBezTo>
                    <a:cubicBezTo>
                      <a:pt x="109" y="4"/>
                      <a:pt x="109" y="4"/>
                      <a:pt x="108" y="3"/>
                    </a:cubicBezTo>
                    <a:cubicBezTo>
                      <a:pt x="108" y="3"/>
                      <a:pt x="108" y="3"/>
                      <a:pt x="108" y="3"/>
                    </a:cubicBezTo>
                    <a:cubicBezTo>
                      <a:pt x="108" y="3"/>
                      <a:pt x="108" y="3"/>
                      <a:pt x="108" y="2"/>
                    </a:cubicBezTo>
                    <a:cubicBezTo>
                      <a:pt x="107" y="2"/>
                      <a:pt x="107" y="2"/>
                      <a:pt x="107" y="2"/>
                    </a:cubicBezTo>
                    <a:cubicBezTo>
                      <a:pt x="107" y="2"/>
                      <a:pt x="107" y="2"/>
                      <a:pt x="107" y="2"/>
                    </a:cubicBezTo>
                    <a:cubicBezTo>
                      <a:pt x="107" y="2"/>
                      <a:pt x="107" y="2"/>
                      <a:pt x="107" y="2"/>
                    </a:cubicBezTo>
                    <a:cubicBezTo>
                      <a:pt x="106" y="2"/>
                      <a:pt x="106" y="2"/>
                      <a:pt x="106" y="2"/>
                    </a:cubicBezTo>
                    <a:cubicBezTo>
                      <a:pt x="100" y="2"/>
                      <a:pt x="100" y="2"/>
                      <a:pt x="100" y="2"/>
                    </a:cubicBezTo>
                    <a:cubicBezTo>
                      <a:pt x="100" y="2"/>
                      <a:pt x="100" y="2"/>
                      <a:pt x="100" y="2"/>
                    </a:cubicBezTo>
                    <a:cubicBezTo>
                      <a:pt x="99" y="2"/>
                      <a:pt x="99" y="2"/>
                      <a:pt x="99" y="2"/>
                    </a:cubicBezTo>
                    <a:cubicBezTo>
                      <a:pt x="99" y="2"/>
                      <a:pt x="99" y="2"/>
                      <a:pt x="99" y="2"/>
                    </a:cubicBezTo>
                    <a:cubicBezTo>
                      <a:pt x="98" y="2"/>
                      <a:pt x="98" y="2"/>
                      <a:pt x="98" y="2"/>
                    </a:cubicBezTo>
                    <a:cubicBezTo>
                      <a:pt x="96" y="5"/>
                      <a:pt x="95" y="7"/>
                      <a:pt x="94" y="10"/>
                    </a:cubicBezTo>
                    <a:cubicBezTo>
                      <a:pt x="93" y="13"/>
                      <a:pt x="93" y="13"/>
                      <a:pt x="93" y="13"/>
                    </a:cubicBezTo>
                    <a:cubicBezTo>
                      <a:pt x="92" y="10"/>
                      <a:pt x="92" y="10"/>
                      <a:pt x="92" y="10"/>
                    </a:cubicBezTo>
                    <a:cubicBezTo>
                      <a:pt x="92" y="10"/>
                      <a:pt x="91" y="9"/>
                      <a:pt x="91" y="8"/>
                    </a:cubicBezTo>
                    <a:cubicBezTo>
                      <a:pt x="91" y="8"/>
                      <a:pt x="91" y="8"/>
                      <a:pt x="91" y="8"/>
                    </a:cubicBezTo>
                    <a:cubicBezTo>
                      <a:pt x="90" y="6"/>
                      <a:pt x="90" y="5"/>
                      <a:pt x="90" y="4"/>
                    </a:cubicBezTo>
                    <a:cubicBezTo>
                      <a:pt x="89" y="4"/>
                      <a:pt x="89" y="4"/>
                      <a:pt x="88" y="4"/>
                    </a:cubicBezTo>
                    <a:cubicBezTo>
                      <a:pt x="88" y="4"/>
                      <a:pt x="87" y="4"/>
                      <a:pt x="87" y="3"/>
                    </a:cubicBezTo>
                    <a:cubicBezTo>
                      <a:pt x="86" y="3"/>
                      <a:pt x="86" y="3"/>
                      <a:pt x="86" y="3"/>
                    </a:cubicBezTo>
                    <a:cubicBezTo>
                      <a:pt x="86" y="3"/>
                      <a:pt x="85" y="3"/>
                      <a:pt x="85" y="3"/>
                    </a:cubicBezTo>
                    <a:cubicBezTo>
                      <a:pt x="84" y="3"/>
                      <a:pt x="84" y="3"/>
                      <a:pt x="84" y="3"/>
                    </a:cubicBezTo>
                    <a:cubicBezTo>
                      <a:pt x="84" y="3"/>
                      <a:pt x="83" y="3"/>
                      <a:pt x="82" y="3"/>
                    </a:cubicBezTo>
                    <a:cubicBezTo>
                      <a:pt x="81" y="3"/>
                      <a:pt x="81" y="3"/>
                      <a:pt x="80" y="3"/>
                    </a:cubicBezTo>
                    <a:cubicBezTo>
                      <a:pt x="78" y="3"/>
                      <a:pt x="77" y="2"/>
                      <a:pt x="76" y="1"/>
                    </a:cubicBezTo>
                    <a:cubicBezTo>
                      <a:pt x="76" y="1"/>
                      <a:pt x="76" y="1"/>
                      <a:pt x="76" y="1"/>
                    </a:cubicBezTo>
                    <a:cubicBezTo>
                      <a:pt x="75" y="1"/>
                      <a:pt x="75" y="0"/>
                      <a:pt x="74" y="0"/>
                    </a:cubicBezTo>
                    <a:cubicBezTo>
                      <a:pt x="74" y="1"/>
                      <a:pt x="74" y="1"/>
                      <a:pt x="74" y="1"/>
                    </a:cubicBezTo>
                    <a:cubicBezTo>
                      <a:pt x="74" y="2"/>
                      <a:pt x="74" y="2"/>
                      <a:pt x="73" y="3"/>
                    </a:cubicBezTo>
                    <a:cubicBezTo>
                      <a:pt x="73" y="3"/>
                      <a:pt x="72" y="3"/>
                      <a:pt x="72" y="3"/>
                    </a:cubicBezTo>
                    <a:cubicBezTo>
                      <a:pt x="71" y="4"/>
                      <a:pt x="70" y="4"/>
                      <a:pt x="70" y="5"/>
                    </a:cubicBezTo>
                    <a:cubicBezTo>
                      <a:pt x="69" y="5"/>
                      <a:pt x="68" y="6"/>
                      <a:pt x="67" y="7"/>
                    </a:cubicBezTo>
                    <a:cubicBezTo>
                      <a:pt x="67" y="8"/>
                      <a:pt x="67" y="8"/>
                      <a:pt x="67" y="8"/>
                    </a:cubicBezTo>
                    <a:cubicBezTo>
                      <a:pt x="67" y="8"/>
                      <a:pt x="67" y="8"/>
                      <a:pt x="67" y="8"/>
                    </a:cubicBezTo>
                    <a:cubicBezTo>
                      <a:pt x="66" y="8"/>
                      <a:pt x="66" y="9"/>
                      <a:pt x="66" y="9"/>
                    </a:cubicBezTo>
                    <a:cubicBezTo>
                      <a:pt x="66" y="9"/>
                      <a:pt x="66" y="9"/>
                      <a:pt x="66" y="9"/>
                    </a:cubicBezTo>
                    <a:cubicBezTo>
                      <a:pt x="66" y="9"/>
                      <a:pt x="66" y="9"/>
                      <a:pt x="66" y="9"/>
                    </a:cubicBezTo>
                    <a:cubicBezTo>
                      <a:pt x="66" y="9"/>
                      <a:pt x="66" y="10"/>
                      <a:pt x="66" y="10"/>
                    </a:cubicBezTo>
                    <a:cubicBezTo>
                      <a:pt x="66" y="10"/>
                      <a:pt x="66" y="10"/>
                      <a:pt x="66" y="11"/>
                    </a:cubicBezTo>
                    <a:cubicBezTo>
                      <a:pt x="67" y="11"/>
                      <a:pt x="67" y="12"/>
                      <a:pt x="66" y="12"/>
                    </a:cubicBezTo>
                    <a:cubicBezTo>
                      <a:pt x="66" y="13"/>
                      <a:pt x="66" y="13"/>
                      <a:pt x="66" y="13"/>
                    </a:cubicBezTo>
                    <a:cubicBezTo>
                      <a:pt x="66" y="14"/>
                      <a:pt x="66" y="15"/>
                      <a:pt x="65" y="16"/>
                    </a:cubicBezTo>
                    <a:cubicBezTo>
                      <a:pt x="65" y="16"/>
                      <a:pt x="65" y="16"/>
                      <a:pt x="65" y="16"/>
                    </a:cubicBezTo>
                    <a:cubicBezTo>
                      <a:pt x="65" y="17"/>
                      <a:pt x="65" y="17"/>
                      <a:pt x="65" y="17"/>
                    </a:cubicBezTo>
                    <a:cubicBezTo>
                      <a:pt x="65" y="17"/>
                      <a:pt x="65" y="18"/>
                      <a:pt x="65" y="18"/>
                    </a:cubicBezTo>
                    <a:cubicBezTo>
                      <a:pt x="65" y="19"/>
                      <a:pt x="65" y="19"/>
                      <a:pt x="65" y="19"/>
                    </a:cubicBezTo>
                    <a:cubicBezTo>
                      <a:pt x="64" y="20"/>
                      <a:pt x="64" y="22"/>
                      <a:pt x="63" y="23"/>
                    </a:cubicBezTo>
                    <a:cubicBezTo>
                      <a:pt x="63" y="23"/>
                      <a:pt x="62" y="24"/>
                      <a:pt x="62" y="24"/>
                    </a:cubicBezTo>
                    <a:cubicBezTo>
                      <a:pt x="61" y="24"/>
                      <a:pt x="61" y="24"/>
                      <a:pt x="60" y="25"/>
                    </a:cubicBezTo>
                    <a:cubicBezTo>
                      <a:pt x="60" y="25"/>
                      <a:pt x="60" y="25"/>
                      <a:pt x="59" y="25"/>
                    </a:cubicBezTo>
                    <a:cubicBezTo>
                      <a:pt x="55" y="27"/>
                      <a:pt x="55" y="27"/>
                      <a:pt x="55" y="27"/>
                    </a:cubicBezTo>
                    <a:cubicBezTo>
                      <a:pt x="54" y="27"/>
                      <a:pt x="53" y="28"/>
                      <a:pt x="52" y="29"/>
                    </a:cubicBezTo>
                    <a:cubicBezTo>
                      <a:pt x="52" y="29"/>
                      <a:pt x="52" y="29"/>
                      <a:pt x="52" y="30"/>
                    </a:cubicBezTo>
                    <a:cubicBezTo>
                      <a:pt x="51" y="31"/>
                      <a:pt x="51" y="31"/>
                      <a:pt x="51" y="31"/>
                    </a:cubicBezTo>
                    <a:cubicBezTo>
                      <a:pt x="51" y="32"/>
                      <a:pt x="52" y="33"/>
                      <a:pt x="52" y="33"/>
                    </a:cubicBezTo>
                    <a:cubicBezTo>
                      <a:pt x="54" y="34"/>
                      <a:pt x="54" y="34"/>
                      <a:pt x="54" y="34"/>
                    </a:cubicBezTo>
                    <a:cubicBezTo>
                      <a:pt x="52" y="35"/>
                      <a:pt x="52" y="35"/>
                      <a:pt x="52" y="35"/>
                    </a:cubicBezTo>
                    <a:cubicBezTo>
                      <a:pt x="52" y="35"/>
                      <a:pt x="52" y="36"/>
                      <a:pt x="52" y="36"/>
                    </a:cubicBezTo>
                    <a:cubicBezTo>
                      <a:pt x="51" y="36"/>
                      <a:pt x="51" y="36"/>
                      <a:pt x="51" y="36"/>
                    </a:cubicBezTo>
                    <a:cubicBezTo>
                      <a:pt x="51" y="42"/>
                      <a:pt x="51" y="42"/>
                      <a:pt x="51" y="42"/>
                    </a:cubicBezTo>
                    <a:cubicBezTo>
                      <a:pt x="51" y="44"/>
                      <a:pt x="51" y="46"/>
                      <a:pt x="51" y="48"/>
                    </a:cubicBezTo>
                    <a:cubicBezTo>
                      <a:pt x="51" y="48"/>
                      <a:pt x="51" y="48"/>
                      <a:pt x="51" y="48"/>
                    </a:cubicBezTo>
                    <a:cubicBezTo>
                      <a:pt x="51" y="49"/>
                      <a:pt x="51" y="49"/>
                      <a:pt x="51" y="49"/>
                    </a:cubicBezTo>
                    <a:cubicBezTo>
                      <a:pt x="51" y="50"/>
                      <a:pt x="51" y="50"/>
                      <a:pt x="52" y="51"/>
                    </a:cubicBezTo>
                    <a:cubicBezTo>
                      <a:pt x="52" y="51"/>
                      <a:pt x="53" y="52"/>
                      <a:pt x="53" y="52"/>
                    </a:cubicBezTo>
                    <a:cubicBezTo>
                      <a:pt x="53" y="53"/>
                      <a:pt x="53" y="53"/>
                      <a:pt x="53" y="53"/>
                    </a:cubicBezTo>
                    <a:cubicBezTo>
                      <a:pt x="53" y="53"/>
                      <a:pt x="53" y="53"/>
                      <a:pt x="53" y="54"/>
                    </a:cubicBezTo>
                    <a:cubicBezTo>
                      <a:pt x="53" y="54"/>
                      <a:pt x="53" y="54"/>
                      <a:pt x="53" y="54"/>
                    </a:cubicBezTo>
                    <a:cubicBezTo>
                      <a:pt x="53" y="54"/>
                      <a:pt x="53" y="54"/>
                      <a:pt x="53" y="55"/>
                    </a:cubicBezTo>
                    <a:cubicBezTo>
                      <a:pt x="53" y="55"/>
                      <a:pt x="53" y="55"/>
                      <a:pt x="53" y="55"/>
                    </a:cubicBezTo>
                    <a:cubicBezTo>
                      <a:pt x="53" y="55"/>
                      <a:pt x="53" y="55"/>
                      <a:pt x="53" y="55"/>
                    </a:cubicBezTo>
                    <a:cubicBezTo>
                      <a:pt x="53" y="57"/>
                      <a:pt x="52" y="57"/>
                      <a:pt x="51" y="57"/>
                    </a:cubicBezTo>
                    <a:cubicBezTo>
                      <a:pt x="51" y="57"/>
                      <a:pt x="51" y="57"/>
                      <a:pt x="51" y="57"/>
                    </a:cubicBezTo>
                    <a:cubicBezTo>
                      <a:pt x="51" y="57"/>
                      <a:pt x="51" y="57"/>
                      <a:pt x="51" y="57"/>
                    </a:cubicBezTo>
                    <a:cubicBezTo>
                      <a:pt x="51" y="57"/>
                      <a:pt x="50" y="57"/>
                      <a:pt x="50" y="57"/>
                    </a:cubicBezTo>
                    <a:cubicBezTo>
                      <a:pt x="50" y="58"/>
                      <a:pt x="50" y="58"/>
                      <a:pt x="49" y="58"/>
                    </a:cubicBezTo>
                    <a:cubicBezTo>
                      <a:pt x="49" y="58"/>
                      <a:pt x="49" y="58"/>
                      <a:pt x="49" y="58"/>
                    </a:cubicBezTo>
                    <a:cubicBezTo>
                      <a:pt x="49" y="58"/>
                      <a:pt x="48" y="58"/>
                      <a:pt x="48" y="58"/>
                    </a:cubicBezTo>
                    <a:cubicBezTo>
                      <a:pt x="48" y="58"/>
                      <a:pt x="48" y="58"/>
                      <a:pt x="48" y="57"/>
                    </a:cubicBezTo>
                    <a:cubicBezTo>
                      <a:pt x="48" y="57"/>
                      <a:pt x="48" y="57"/>
                      <a:pt x="48" y="57"/>
                    </a:cubicBezTo>
                    <a:cubicBezTo>
                      <a:pt x="48" y="58"/>
                      <a:pt x="47" y="59"/>
                      <a:pt x="47" y="59"/>
                    </a:cubicBezTo>
                    <a:cubicBezTo>
                      <a:pt x="47" y="59"/>
                      <a:pt x="47" y="59"/>
                      <a:pt x="47" y="59"/>
                    </a:cubicBezTo>
                    <a:cubicBezTo>
                      <a:pt x="46" y="61"/>
                      <a:pt x="46" y="63"/>
                      <a:pt x="44" y="65"/>
                    </a:cubicBezTo>
                    <a:cubicBezTo>
                      <a:pt x="44" y="65"/>
                      <a:pt x="44" y="65"/>
                      <a:pt x="44" y="65"/>
                    </a:cubicBezTo>
                    <a:cubicBezTo>
                      <a:pt x="44" y="66"/>
                      <a:pt x="43" y="67"/>
                      <a:pt x="42" y="67"/>
                    </a:cubicBezTo>
                    <a:cubicBezTo>
                      <a:pt x="41" y="69"/>
                      <a:pt x="40" y="70"/>
                      <a:pt x="40" y="71"/>
                    </a:cubicBezTo>
                    <a:cubicBezTo>
                      <a:pt x="40" y="71"/>
                      <a:pt x="39" y="71"/>
                      <a:pt x="39" y="72"/>
                    </a:cubicBezTo>
                    <a:cubicBezTo>
                      <a:pt x="39" y="72"/>
                      <a:pt x="39" y="73"/>
                      <a:pt x="39" y="73"/>
                    </a:cubicBezTo>
                    <a:cubicBezTo>
                      <a:pt x="39" y="73"/>
                      <a:pt x="39" y="73"/>
                      <a:pt x="39" y="73"/>
                    </a:cubicBezTo>
                    <a:cubicBezTo>
                      <a:pt x="38" y="75"/>
                      <a:pt x="38" y="78"/>
                      <a:pt x="37" y="80"/>
                    </a:cubicBezTo>
                    <a:cubicBezTo>
                      <a:pt x="36" y="80"/>
                      <a:pt x="36" y="80"/>
                      <a:pt x="36" y="80"/>
                    </a:cubicBezTo>
                    <a:cubicBezTo>
                      <a:pt x="36" y="80"/>
                      <a:pt x="36" y="80"/>
                      <a:pt x="36" y="80"/>
                    </a:cubicBezTo>
                    <a:cubicBezTo>
                      <a:pt x="36" y="81"/>
                      <a:pt x="36" y="81"/>
                      <a:pt x="36" y="81"/>
                    </a:cubicBezTo>
                    <a:cubicBezTo>
                      <a:pt x="36" y="81"/>
                      <a:pt x="36" y="82"/>
                      <a:pt x="36" y="83"/>
                    </a:cubicBezTo>
                    <a:cubicBezTo>
                      <a:pt x="37" y="83"/>
                      <a:pt x="37" y="84"/>
                      <a:pt x="37" y="85"/>
                    </a:cubicBezTo>
                    <a:cubicBezTo>
                      <a:pt x="37" y="85"/>
                      <a:pt x="37" y="85"/>
                      <a:pt x="37" y="85"/>
                    </a:cubicBezTo>
                    <a:cubicBezTo>
                      <a:pt x="37" y="85"/>
                      <a:pt x="37" y="85"/>
                      <a:pt x="37" y="85"/>
                    </a:cubicBezTo>
                    <a:cubicBezTo>
                      <a:pt x="37" y="85"/>
                      <a:pt x="37" y="85"/>
                      <a:pt x="37" y="85"/>
                    </a:cubicBezTo>
                    <a:cubicBezTo>
                      <a:pt x="37" y="85"/>
                      <a:pt x="37" y="85"/>
                      <a:pt x="37" y="85"/>
                    </a:cubicBezTo>
                    <a:cubicBezTo>
                      <a:pt x="37" y="86"/>
                      <a:pt x="37" y="86"/>
                      <a:pt x="37" y="86"/>
                    </a:cubicBezTo>
                    <a:cubicBezTo>
                      <a:pt x="37" y="87"/>
                      <a:pt x="37" y="87"/>
                      <a:pt x="37" y="87"/>
                    </a:cubicBezTo>
                    <a:cubicBezTo>
                      <a:pt x="37" y="88"/>
                      <a:pt x="37" y="88"/>
                      <a:pt x="37" y="88"/>
                    </a:cubicBezTo>
                    <a:cubicBezTo>
                      <a:pt x="37" y="88"/>
                      <a:pt x="37" y="88"/>
                      <a:pt x="37" y="88"/>
                    </a:cubicBezTo>
                    <a:cubicBezTo>
                      <a:pt x="38" y="89"/>
                      <a:pt x="38" y="89"/>
                      <a:pt x="38" y="89"/>
                    </a:cubicBezTo>
                    <a:cubicBezTo>
                      <a:pt x="38" y="89"/>
                      <a:pt x="38" y="90"/>
                      <a:pt x="38" y="90"/>
                    </a:cubicBezTo>
                    <a:cubicBezTo>
                      <a:pt x="38" y="91"/>
                      <a:pt x="36" y="92"/>
                      <a:pt x="36" y="92"/>
                    </a:cubicBezTo>
                    <a:cubicBezTo>
                      <a:pt x="35" y="93"/>
                      <a:pt x="34" y="93"/>
                      <a:pt x="34" y="94"/>
                    </a:cubicBezTo>
                    <a:cubicBezTo>
                      <a:pt x="34" y="94"/>
                      <a:pt x="34" y="95"/>
                      <a:pt x="34" y="95"/>
                    </a:cubicBezTo>
                    <a:cubicBezTo>
                      <a:pt x="34" y="96"/>
                      <a:pt x="33" y="97"/>
                      <a:pt x="33" y="98"/>
                    </a:cubicBezTo>
                    <a:cubicBezTo>
                      <a:pt x="33" y="98"/>
                      <a:pt x="33" y="98"/>
                      <a:pt x="33" y="98"/>
                    </a:cubicBezTo>
                    <a:cubicBezTo>
                      <a:pt x="33" y="99"/>
                      <a:pt x="33" y="99"/>
                      <a:pt x="33" y="100"/>
                    </a:cubicBezTo>
                    <a:cubicBezTo>
                      <a:pt x="33" y="100"/>
                      <a:pt x="33" y="100"/>
                      <a:pt x="33" y="101"/>
                    </a:cubicBezTo>
                    <a:cubicBezTo>
                      <a:pt x="33" y="101"/>
                      <a:pt x="33" y="101"/>
                      <a:pt x="33" y="101"/>
                    </a:cubicBezTo>
                    <a:cubicBezTo>
                      <a:pt x="32" y="101"/>
                      <a:pt x="32" y="101"/>
                      <a:pt x="32" y="101"/>
                    </a:cubicBezTo>
                    <a:cubicBezTo>
                      <a:pt x="32" y="101"/>
                      <a:pt x="32" y="101"/>
                      <a:pt x="32" y="101"/>
                    </a:cubicBezTo>
                    <a:cubicBezTo>
                      <a:pt x="32" y="101"/>
                      <a:pt x="32" y="101"/>
                      <a:pt x="32" y="101"/>
                    </a:cubicBezTo>
                    <a:cubicBezTo>
                      <a:pt x="31" y="101"/>
                      <a:pt x="31" y="101"/>
                      <a:pt x="31" y="101"/>
                    </a:cubicBezTo>
                    <a:cubicBezTo>
                      <a:pt x="31" y="102"/>
                      <a:pt x="31" y="102"/>
                      <a:pt x="31" y="102"/>
                    </a:cubicBezTo>
                    <a:cubicBezTo>
                      <a:pt x="31" y="103"/>
                      <a:pt x="30" y="103"/>
                      <a:pt x="31" y="105"/>
                    </a:cubicBezTo>
                    <a:cubicBezTo>
                      <a:pt x="31" y="105"/>
                      <a:pt x="31" y="105"/>
                      <a:pt x="31" y="105"/>
                    </a:cubicBezTo>
                    <a:cubicBezTo>
                      <a:pt x="32" y="106"/>
                      <a:pt x="32" y="107"/>
                      <a:pt x="33" y="108"/>
                    </a:cubicBezTo>
                    <a:cubicBezTo>
                      <a:pt x="33" y="108"/>
                      <a:pt x="33" y="109"/>
                      <a:pt x="33" y="109"/>
                    </a:cubicBezTo>
                    <a:cubicBezTo>
                      <a:pt x="33" y="109"/>
                      <a:pt x="34" y="110"/>
                      <a:pt x="34" y="110"/>
                    </a:cubicBezTo>
                    <a:cubicBezTo>
                      <a:pt x="34" y="111"/>
                      <a:pt x="33" y="111"/>
                      <a:pt x="33" y="112"/>
                    </a:cubicBezTo>
                    <a:cubicBezTo>
                      <a:pt x="33" y="112"/>
                      <a:pt x="33" y="112"/>
                      <a:pt x="32" y="112"/>
                    </a:cubicBezTo>
                    <a:cubicBezTo>
                      <a:pt x="33" y="112"/>
                      <a:pt x="33" y="113"/>
                      <a:pt x="33" y="113"/>
                    </a:cubicBezTo>
                    <a:cubicBezTo>
                      <a:pt x="33" y="113"/>
                      <a:pt x="33" y="113"/>
                      <a:pt x="33" y="113"/>
                    </a:cubicBezTo>
                    <a:cubicBezTo>
                      <a:pt x="33" y="113"/>
                      <a:pt x="34" y="114"/>
                      <a:pt x="34" y="114"/>
                    </a:cubicBezTo>
                    <a:cubicBezTo>
                      <a:pt x="34" y="114"/>
                      <a:pt x="34" y="114"/>
                      <a:pt x="34" y="114"/>
                    </a:cubicBezTo>
                    <a:cubicBezTo>
                      <a:pt x="35" y="116"/>
                      <a:pt x="35" y="117"/>
                      <a:pt x="35" y="119"/>
                    </a:cubicBezTo>
                    <a:cubicBezTo>
                      <a:pt x="35" y="119"/>
                      <a:pt x="35" y="119"/>
                      <a:pt x="35" y="119"/>
                    </a:cubicBezTo>
                    <a:cubicBezTo>
                      <a:pt x="35" y="120"/>
                      <a:pt x="35" y="121"/>
                      <a:pt x="35" y="121"/>
                    </a:cubicBezTo>
                    <a:cubicBezTo>
                      <a:pt x="35" y="122"/>
                      <a:pt x="35" y="122"/>
                      <a:pt x="35" y="123"/>
                    </a:cubicBezTo>
                    <a:cubicBezTo>
                      <a:pt x="35" y="123"/>
                      <a:pt x="35" y="123"/>
                      <a:pt x="35" y="123"/>
                    </a:cubicBezTo>
                    <a:cubicBezTo>
                      <a:pt x="35" y="123"/>
                      <a:pt x="35" y="123"/>
                      <a:pt x="35" y="123"/>
                    </a:cubicBezTo>
                    <a:cubicBezTo>
                      <a:pt x="35" y="124"/>
                      <a:pt x="36" y="124"/>
                      <a:pt x="36" y="124"/>
                    </a:cubicBezTo>
                    <a:cubicBezTo>
                      <a:pt x="36" y="124"/>
                      <a:pt x="36" y="124"/>
                      <a:pt x="36" y="125"/>
                    </a:cubicBezTo>
                    <a:cubicBezTo>
                      <a:pt x="37" y="125"/>
                      <a:pt x="38" y="125"/>
                      <a:pt x="38" y="126"/>
                    </a:cubicBezTo>
                    <a:cubicBezTo>
                      <a:pt x="38" y="126"/>
                      <a:pt x="38" y="127"/>
                      <a:pt x="38" y="127"/>
                    </a:cubicBezTo>
                    <a:cubicBezTo>
                      <a:pt x="38" y="127"/>
                      <a:pt x="38" y="127"/>
                      <a:pt x="38" y="127"/>
                    </a:cubicBezTo>
                    <a:cubicBezTo>
                      <a:pt x="38" y="127"/>
                      <a:pt x="38" y="127"/>
                      <a:pt x="38" y="127"/>
                    </a:cubicBezTo>
                    <a:cubicBezTo>
                      <a:pt x="37" y="132"/>
                      <a:pt x="37" y="132"/>
                      <a:pt x="37" y="132"/>
                    </a:cubicBezTo>
                    <a:cubicBezTo>
                      <a:pt x="37" y="133"/>
                      <a:pt x="37" y="133"/>
                      <a:pt x="37" y="133"/>
                    </a:cubicBezTo>
                    <a:cubicBezTo>
                      <a:pt x="37" y="134"/>
                      <a:pt x="38" y="135"/>
                      <a:pt x="38" y="135"/>
                    </a:cubicBezTo>
                    <a:cubicBezTo>
                      <a:pt x="39" y="137"/>
                      <a:pt x="39" y="137"/>
                      <a:pt x="39" y="137"/>
                    </a:cubicBezTo>
                    <a:cubicBezTo>
                      <a:pt x="37" y="137"/>
                      <a:pt x="37" y="137"/>
                      <a:pt x="37" y="137"/>
                    </a:cubicBezTo>
                    <a:cubicBezTo>
                      <a:pt x="37" y="137"/>
                      <a:pt x="36" y="138"/>
                      <a:pt x="36" y="138"/>
                    </a:cubicBezTo>
                    <a:cubicBezTo>
                      <a:pt x="36" y="138"/>
                      <a:pt x="35" y="138"/>
                      <a:pt x="35" y="138"/>
                    </a:cubicBezTo>
                    <a:cubicBezTo>
                      <a:pt x="33" y="142"/>
                      <a:pt x="33" y="142"/>
                      <a:pt x="33" y="142"/>
                    </a:cubicBezTo>
                    <a:cubicBezTo>
                      <a:pt x="33" y="142"/>
                      <a:pt x="33" y="143"/>
                      <a:pt x="33" y="143"/>
                    </a:cubicBezTo>
                    <a:cubicBezTo>
                      <a:pt x="33" y="143"/>
                      <a:pt x="33" y="143"/>
                      <a:pt x="33" y="143"/>
                    </a:cubicBezTo>
                    <a:cubicBezTo>
                      <a:pt x="33" y="143"/>
                      <a:pt x="33" y="143"/>
                      <a:pt x="33" y="144"/>
                    </a:cubicBezTo>
                    <a:cubicBezTo>
                      <a:pt x="33" y="144"/>
                      <a:pt x="33" y="144"/>
                      <a:pt x="33" y="144"/>
                    </a:cubicBezTo>
                    <a:cubicBezTo>
                      <a:pt x="33" y="145"/>
                      <a:pt x="33" y="145"/>
                      <a:pt x="32" y="146"/>
                    </a:cubicBezTo>
                    <a:cubicBezTo>
                      <a:pt x="32" y="146"/>
                      <a:pt x="32" y="146"/>
                      <a:pt x="32" y="146"/>
                    </a:cubicBezTo>
                    <a:cubicBezTo>
                      <a:pt x="32" y="147"/>
                      <a:pt x="32" y="147"/>
                      <a:pt x="31" y="148"/>
                    </a:cubicBezTo>
                    <a:cubicBezTo>
                      <a:pt x="31" y="148"/>
                      <a:pt x="31" y="148"/>
                      <a:pt x="31" y="148"/>
                    </a:cubicBezTo>
                    <a:cubicBezTo>
                      <a:pt x="31" y="148"/>
                      <a:pt x="31" y="148"/>
                      <a:pt x="31" y="148"/>
                    </a:cubicBezTo>
                    <a:cubicBezTo>
                      <a:pt x="31" y="148"/>
                      <a:pt x="31" y="148"/>
                      <a:pt x="31" y="148"/>
                    </a:cubicBezTo>
                    <a:cubicBezTo>
                      <a:pt x="31" y="149"/>
                      <a:pt x="31" y="149"/>
                      <a:pt x="31" y="149"/>
                    </a:cubicBezTo>
                    <a:cubicBezTo>
                      <a:pt x="31" y="149"/>
                      <a:pt x="31" y="149"/>
                      <a:pt x="31" y="149"/>
                    </a:cubicBezTo>
                    <a:cubicBezTo>
                      <a:pt x="31" y="149"/>
                      <a:pt x="31" y="149"/>
                      <a:pt x="31" y="150"/>
                    </a:cubicBezTo>
                    <a:cubicBezTo>
                      <a:pt x="32" y="152"/>
                      <a:pt x="32" y="154"/>
                      <a:pt x="32" y="156"/>
                    </a:cubicBezTo>
                    <a:cubicBezTo>
                      <a:pt x="32" y="157"/>
                      <a:pt x="32" y="157"/>
                      <a:pt x="32" y="157"/>
                    </a:cubicBezTo>
                    <a:cubicBezTo>
                      <a:pt x="33" y="157"/>
                      <a:pt x="33" y="157"/>
                      <a:pt x="33" y="157"/>
                    </a:cubicBezTo>
                    <a:cubicBezTo>
                      <a:pt x="32" y="157"/>
                      <a:pt x="32" y="157"/>
                      <a:pt x="32" y="157"/>
                    </a:cubicBezTo>
                    <a:cubicBezTo>
                      <a:pt x="32" y="158"/>
                      <a:pt x="32" y="158"/>
                      <a:pt x="32" y="158"/>
                    </a:cubicBezTo>
                    <a:cubicBezTo>
                      <a:pt x="32" y="159"/>
                      <a:pt x="32" y="159"/>
                      <a:pt x="32" y="159"/>
                    </a:cubicBezTo>
                    <a:cubicBezTo>
                      <a:pt x="31" y="159"/>
                      <a:pt x="31" y="159"/>
                      <a:pt x="31" y="159"/>
                    </a:cubicBezTo>
                    <a:cubicBezTo>
                      <a:pt x="30" y="159"/>
                      <a:pt x="30" y="159"/>
                      <a:pt x="30" y="160"/>
                    </a:cubicBezTo>
                    <a:cubicBezTo>
                      <a:pt x="30" y="160"/>
                      <a:pt x="30" y="160"/>
                      <a:pt x="30" y="160"/>
                    </a:cubicBezTo>
                    <a:cubicBezTo>
                      <a:pt x="30" y="160"/>
                      <a:pt x="30" y="160"/>
                      <a:pt x="30" y="160"/>
                    </a:cubicBezTo>
                    <a:cubicBezTo>
                      <a:pt x="30" y="161"/>
                      <a:pt x="29" y="161"/>
                      <a:pt x="29" y="162"/>
                    </a:cubicBezTo>
                    <a:cubicBezTo>
                      <a:pt x="28" y="163"/>
                      <a:pt x="27" y="163"/>
                      <a:pt x="26" y="163"/>
                    </a:cubicBezTo>
                    <a:cubicBezTo>
                      <a:pt x="26" y="163"/>
                      <a:pt x="26" y="163"/>
                      <a:pt x="26" y="163"/>
                    </a:cubicBezTo>
                    <a:cubicBezTo>
                      <a:pt x="26" y="163"/>
                      <a:pt x="26" y="163"/>
                      <a:pt x="26" y="163"/>
                    </a:cubicBezTo>
                    <a:cubicBezTo>
                      <a:pt x="25" y="166"/>
                      <a:pt x="25" y="166"/>
                      <a:pt x="25" y="166"/>
                    </a:cubicBezTo>
                    <a:cubicBezTo>
                      <a:pt x="25" y="167"/>
                      <a:pt x="25" y="169"/>
                      <a:pt x="24" y="171"/>
                    </a:cubicBezTo>
                    <a:cubicBezTo>
                      <a:pt x="24" y="171"/>
                      <a:pt x="24" y="171"/>
                      <a:pt x="24" y="171"/>
                    </a:cubicBezTo>
                    <a:cubicBezTo>
                      <a:pt x="24" y="172"/>
                      <a:pt x="24" y="172"/>
                      <a:pt x="24" y="172"/>
                    </a:cubicBezTo>
                    <a:cubicBezTo>
                      <a:pt x="24" y="173"/>
                      <a:pt x="25" y="175"/>
                      <a:pt x="25" y="176"/>
                    </a:cubicBezTo>
                    <a:cubicBezTo>
                      <a:pt x="25" y="177"/>
                      <a:pt x="25" y="177"/>
                      <a:pt x="25" y="177"/>
                    </a:cubicBezTo>
                    <a:cubicBezTo>
                      <a:pt x="25" y="177"/>
                      <a:pt x="25" y="178"/>
                      <a:pt x="25" y="178"/>
                    </a:cubicBezTo>
                    <a:cubicBezTo>
                      <a:pt x="25" y="179"/>
                      <a:pt x="25" y="179"/>
                      <a:pt x="25" y="179"/>
                    </a:cubicBezTo>
                    <a:cubicBezTo>
                      <a:pt x="25" y="180"/>
                      <a:pt x="26" y="181"/>
                      <a:pt x="26" y="182"/>
                    </a:cubicBezTo>
                    <a:cubicBezTo>
                      <a:pt x="26" y="183"/>
                      <a:pt x="26" y="184"/>
                      <a:pt x="27" y="184"/>
                    </a:cubicBezTo>
                    <a:cubicBezTo>
                      <a:pt x="27" y="184"/>
                      <a:pt x="27" y="185"/>
                      <a:pt x="27" y="185"/>
                    </a:cubicBezTo>
                    <a:cubicBezTo>
                      <a:pt x="27" y="187"/>
                      <a:pt x="28" y="188"/>
                      <a:pt x="27" y="189"/>
                    </a:cubicBezTo>
                    <a:cubicBezTo>
                      <a:pt x="27" y="190"/>
                      <a:pt x="26" y="190"/>
                      <a:pt x="24" y="191"/>
                    </a:cubicBezTo>
                    <a:cubicBezTo>
                      <a:pt x="24" y="191"/>
                      <a:pt x="23" y="191"/>
                      <a:pt x="23" y="191"/>
                    </a:cubicBezTo>
                    <a:cubicBezTo>
                      <a:pt x="23" y="191"/>
                      <a:pt x="23" y="191"/>
                      <a:pt x="23" y="191"/>
                    </a:cubicBezTo>
                    <a:cubicBezTo>
                      <a:pt x="22" y="191"/>
                      <a:pt x="22" y="192"/>
                      <a:pt x="22" y="192"/>
                    </a:cubicBezTo>
                    <a:cubicBezTo>
                      <a:pt x="22" y="192"/>
                      <a:pt x="22" y="192"/>
                      <a:pt x="22" y="192"/>
                    </a:cubicBezTo>
                    <a:cubicBezTo>
                      <a:pt x="21" y="197"/>
                      <a:pt x="21" y="197"/>
                      <a:pt x="21" y="197"/>
                    </a:cubicBezTo>
                    <a:cubicBezTo>
                      <a:pt x="21" y="198"/>
                      <a:pt x="21" y="198"/>
                      <a:pt x="21" y="199"/>
                    </a:cubicBezTo>
                    <a:cubicBezTo>
                      <a:pt x="21" y="199"/>
                      <a:pt x="21" y="199"/>
                      <a:pt x="21" y="199"/>
                    </a:cubicBezTo>
                    <a:cubicBezTo>
                      <a:pt x="21" y="199"/>
                      <a:pt x="21" y="199"/>
                      <a:pt x="21" y="199"/>
                    </a:cubicBezTo>
                    <a:cubicBezTo>
                      <a:pt x="21" y="200"/>
                      <a:pt x="20" y="200"/>
                      <a:pt x="19" y="200"/>
                    </a:cubicBezTo>
                    <a:cubicBezTo>
                      <a:pt x="20" y="203"/>
                      <a:pt x="20" y="205"/>
                      <a:pt x="19" y="206"/>
                    </a:cubicBezTo>
                    <a:cubicBezTo>
                      <a:pt x="19" y="206"/>
                      <a:pt x="18" y="206"/>
                      <a:pt x="18" y="206"/>
                    </a:cubicBezTo>
                    <a:cubicBezTo>
                      <a:pt x="18" y="206"/>
                      <a:pt x="18" y="207"/>
                      <a:pt x="18" y="207"/>
                    </a:cubicBezTo>
                    <a:cubicBezTo>
                      <a:pt x="18" y="207"/>
                      <a:pt x="18" y="207"/>
                      <a:pt x="18" y="207"/>
                    </a:cubicBezTo>
                    <a:cubicBezTo>
                      <a:pt x="19" y="208"/>
                      <a:pt x="19" y="208"/>
                      <a:pt x="19" y="208"/>
                    </a:cubicBezTo>
                    <a:cubicBezTo>
                      <a:pt x="19" y="208"/>
                      <a:pt x="19" y="208"/>
                      <a:pt x="19" y="208"/>
                    </a:cubicBezTo>
                    <a:cubicBezTo>
                      <a:pt x="18" y="209"/>
                      <a:pt x="18" y="209"/>
                      <a:pt x="18" y="209"/>
                    </a:cubicBezTo>
                    <a:cubicBezTo>
                      <a:pt x="19" y="209"/>
                      <a:pt x="19" y="209"/>
                      <a:pt x="19" y="209"/>
                    </a:cubicBezTo>
                    <a:cubicBezTo>
                      <a:pt x="18" y="209"/>
                      <a:pt x="18" y="209"/>
                      <a:pt x="18" y="209"/>
                    </a:cubicBezTo>
                    <a:cubicBezTo>
                      <a:pt x="18" y="209"/>
                      <a:pt x="18" y="209"/>
                      <a:pt x="18" y="209"/>
                    </a:cubicBezTo>
                    <a:cubicBezTo>
                      <a:pt x="18" y="210"/>
                      <a:pt x="17" y="211"/>
                      <a:pt x="17" y="212"/>
                    </a:cubicBezTo>
                    <a:cubicBezTo>
                      <a:pt x="17" y="213"/>
                      <a:pt x="17" y="214"/>
                      <a:pt x="17" y="214"/>
                    </a:cubicBezTo>
                    <a:cubicBezTo>
                      <a:pt x="17" y="214"/>
                      <a:pt x="17" y="214"/>
                      <a:pt x="17" y="214"/>
                    </a:cubicBezTo>
                    <a:cubicBezTo>
                      <a:pt x="17" y="215"/>
                      <a:pt x="17" y="215"/>
                      <a:pt x="17" y="216"/>
                    </a:cubicBezTo>
                    <a:cubicBezTo>
                      <a:pt x="17" y="216"/>
                      <a:pt x="17" y="216"/>
                      <a:pt x="17" y="216"/>
                    </a:cubicBezTo>
                    <a:cubicBezTo>
                      <a:pt x="17" y="217"/>
                      <a:pt x="17" y="219"/>
                      <a:pt x="17" y="220"/>
                    </a:cubicBezTo>
                    <a:cubicBezTo>
                      <a:pt x="17" y="220"/>
                      <a:pt x="17" y="221"/>
                      <a:pt x="17" y="222"/>
                    </a:cubicBezTo>
                    <a:cubicBezTo>
                      <a:pt x="17" y="224"/>
                      <a:pt x="17" y="225"/>
                      <a:pt x="18" y="227"/>
                    </a:cubicBezTo>
                    <a:cubicBezTo>
                      <a:pt x="18" y="227"/>
                      <a:pt x="18" y="227"/>
                      <a:pt x="18" y="227"/>
                    </a:cubicBezTo>
                    <a:cubicBezTo>
                      <a:pt x="18" y="228"/>
                      <a:pt x="18" y="228"/>
                      <a:pt x="18" y="228"/>
                    </a:cubicBezTo>
                    <a:cubicBezTo>
                      <a:pt x="19" y="230"/>
                      <a:pt x="18" y="230"/>
                      <a:pt x="17" y="231"/>
                    </a:cubicBezTo>
                    <a:cubicBezTo>
                      <a:pt x="16" y="231"/>
                      <a:pt x="16" y="231"/>
                      <a:pt x="16" y="231"/>
                    </a:cubicBezTo>
                    <a:cubicBezTo>
                      <a:pt x="15" y="232"/>
                      <a:pt x="15" y="232"/>
                      <a:pt x="15" y="233"/>
                    </a:cubicBezTo>
                    <a:cubicBezTo>
                      <a:pt x="15" y="233"/>
                      <a:pt x="15" y="234"/>
                      <a:pt x="15" y="234"/>
                    </a:cubicBezTo>
                    <a:cubicBezTo>
                      <a:pt x="15" y="235"/>
                      <a:pt x="15" y="235"/>
                      <a:pt x="15" y="236"/>
                    </a:cubicBezTo>
                    <a:cubicBezTo>
                      <a:pt x="15" y="236"/>
                      <a:pt x="15" y="236"/>
                      <a:pt x="15" y="236"/>
                    </a:cubicBezTo>
                    <a:cubicBezTo>
                      <a:pt x="14" y="239"/>
                      <a:pt x="14" y="239"/>
                      <a:pt x="14" y="239"/>
                    </a:cubicBezTo>
                    <a:cubicBezTo>
                      <a:pt x="14" y="239"/>
                      <a:pt x="14" y="240"/>
                      <a:pt x="14" y="240"/>
                    </a:cubicBezTo>
                    <a:cubicBezTo>
                      <a:pt x="14" y="240"/>
                      <a:pt x="14" y="240"/>
                      <a:pt x="15" y="241"/>
                    </a:cubicBezTo>
                    <a:cubicBezTo>
                      <a:pt x="15" y="241"/>
                      <a:pt x="15" y="241"/>
                      <a:pt x="16" y="241"/>
                    </a:cubicBezTo>
                    <a:cubicBezTo>
                      <a:pt x="16" y="241"/>
                      <a:pt x="17" y="241"/>
                      <a:pt x="18" y="242"/>
                    </a:cubicBezTo>
                    <a:cubicBezTo>
                      <a:pt x="18" y="242"/>
                      <a:pt x="19" y="243"/>
                      <a:pt x="19" y="243"/>
                    </a:cubicBezTo>
                    <a:cubicBezTo>
                      <a:pt x="19" y="244"/>
                      <a:pt x="19" y="244"/>
                      <a:pt x="18" y="245"/>
                    </a:cubicBezTo>
                    <a:cubicBezTo>
                      <a:pt x="18" y="245"/>
                      <a:pt x="18" y="245"/>
                      <a:pt x="18" y="245"/>
                    </a:cubicBezTo>
                    <a:cubicBezTo>
                      <a:pt x="18" y="246"/>
                      <a:pt x="17" y="246"/>
                      <a:pt x="17" y="246"/>
                    </a:cubicBezTo>
                    <a:cubicBezTo>
                      <a:pt x="17" y="246"/>
                      <a:pt x="17" y="246"/>
                      <a:pt x="17" y="246"/>
                    </a:cubicBezTo>
                    <a:cubicBezTo>
                      <a:pt x="17" y="247"/>
                      <a:pt x="17" y="247"/>
                      <a:pt x="17" y="247"/>
                    </a:cubicBezTo>
                    <a:cubicBezTo>
                      <a:pt x="18" y="247"/>
                      <a:pt x="18" y="247"/>
                      <a:pt x="18" y="248"/>
                    </a:cubicBezTo>
                    <a:cubicBezTo>
                      <a:pt x="18" y="248"/>
                      <a:pt x="19" y="249"/>
                      <a:pt x="19" y="249"/>
                    </a:cubicBezTo>
                    <a:cubicBezTo>
                      <a:pt x="19" y="250"/>
                      <a:pt x="19" y="252"/>
                      <a:pt x="19" y="253"/>
                    </a:cubicBezTo>
                    <a:cubicBezTo>
                      <a:pt x="19" y="253"/>
                      <a:pt x="19" y="254"/>
                      <a:pt x="19" y="254"/>
                    </a:cubicBezTo>
                    <a:cubicBezTo>
                      <a:pt x="19" y="254"/>
                      <a:pt x="19" y="254"/>
                      <a:pt x="19" y="254"/>
                    </a:cubicBezTo>
                    <a:cubicBezTo>
                      <a:pt x="18" y="254"/>
                      <a:pt x="18" y="255"/>
                      <a:pt x="18" y="255"/>
                    </a:cubicBezTo>
                    <a:cubicBezTo>
                      <a:pt x="18" y="257"/>
                      <a:pt x="18" y="257"/>
                      <a:pt x="18" y="257"/>
                    </a:cubicBezTo>
                    <a:cubicBezTo>
                      <a:pt x="18" y="257"/>
                      <a:pt x="19" y="257"/>
                      <a:pt x="19" y="257"/>
                    </a:cubicBezTo>
                    <a:cubicBezTo>
                      <a:pt x="21" y="257"/>
                      <a:pt x="23" y="257"/>
                      <a:pt x="24" y="258"/>
                    </a:cubicBezTo>
                    <a:cubicBezTo>
                      <a:pt x="24" y="258"/>
                      <a:pt x="24" y="258"/>
                      <a:pt x="24" y="258"/>
                    </a:cubicBezTo>
                    <a:cubicBezTo>
                      <a:pt x="25" y="259"/>
                      <a:pt x="25" y="260"/>
                      <a:pt x="25" y="261"/>
                    </a:cubicBezTo>
                    <a:cubicBezTo>
                      <a:pt x="25" y="261"/>
                      <a:pt x="24" y="261"/>
                      <a:pt x="24" y="262"/>
                    </a:cubicBezTo>
                    <a:cubicBezTo>
                      <a:pt x="24" y="262"/>
                      <a:pt x="24" y="262"/>
                      <a:pt x="24" y="262"/>
                    </a:cubicBezTo>
                    <a:cubicBezTo>
                      <a:pt x="23" y="263"/>
                      <a:pt x="23" y="264"/>
                      <a:pt x="22" y="264"/>
                    </a:cubicBezTo>
                    <a:cubicBezTo>
                      <a:pt x="22" y="264"/>
                      <a:pt x="21" y="264"/>
                      <a:pt x="21" y="264"/>
                    </a:cubicBezTo>
                    <a:cubicBezTo>
                      <a:pt x="20" y="264"/>
                      <a:pt x="20" y="264"/>
                      <a:pt x="19" y="264"/>
                    </a:cubicBezTo>
                    <a:cubicBezTo>
                      <a:pt x="19" y="264"/>
                      <a:pt x="19" y="264"/>
                      <a:pt x="19" y="264"/>
                    </a:cubicBezTo>
                    <a:cubicBezTo>
                      <a:pt x="19" y="264"/>
                      <a:pt x="19" y="264"/>
                      <a:pt x="20" y="264"/>
                    </a:cubicBezTo>
                    <a:cubicBezTo>
                      <a:pt x="20" y="265"/>
                      <a:pt x="20" y="265"/>
                      <a:pt x="20" y="265"/>
                    </a:cubicBezTo>
                    <a:cubicBezTo>
                      <a:pt x="20" y="265"/>
                      <a:pt x="20" y="265"/>
                      <a:pt x="20" y="266"/>
                    </a:cubicBezTo>
                    <a:cubicBezTo>
                      <a:pt x="21" y="266"/>
                      <a:pt x="21" y="266"/>
                      <a:pt x="21" y="266"/>
                    </a:cubicBezTo>
                    <a:cubicBezTo>
                      <a:pt x="21" y="266"/>
                      <a:pt x="21" y="266"/>
                      <a:pt x="21" y="266"/>
                    </a:cubicBezTo>
                    <a:cubicBezTo>
                      <a:pt x="21" y="266"/>
                      <a:pt x="21" y="266"/>
                      <a:pt x="21" y="267"/>
                    </a:cubicBezTo>
                    <a:cubicBezTo>
                      <a:pt x="21" y="267"/>
                      <a:pt x="22" y="267"/>
                      <a:pt x="22" y="267"/>
                    </a:cubicBezTo>
                    <a:cubicBezTo>
                      <a:pt x="22" y="268"/>
                      <a:pt x="23" y="269"/>
                      <a:pt x="23" y="269"/>
                    </a:cubicBezTo>
                    <a:cubicBezTo>
                      <a:pt x="23" y="270"/>
                      <a:pt x="22" y="271"/>
                      <a:pt x="22" y="271"/>
                    </a:cubicBezTo>
                    <a:cubicBezTo>
                      <a:pt x="22" y="271"/>
                      <a:pt x="22" y="271"/>
                      <a:pt x="22" y="271"/>
                    </a:cubicBezTo>
                    <a:cubicBezTo>
                      <a:pt x="22" y="271"/>
                      <a:pt x="22" y="271"/>
                      <a:pt x="22" y="271"/>
                    </a:cubicBezTo>
                    <a:cubicBezTo>
                      <a:pt x="21" y="272"/>
                      <a:pt x="21" y="272"/>
                      <a:pt x="21" y="272"/>
                    </a:cubicBezTo>
                    <a:cubicBezTo>
                      <a:pt x="21" y="272"/>
                      <a:pt x="21" y="273"/>
                      <a:pt x="20" y="273"/>
                    </a:cubicBezTo>
                    <a:cubicBezTo>
                      <a:pt x="19" y="274"/>
                      <a:pt x="19" y="274"/>
                      <a:pt x="19" y="274"/>
                    </a:cubicBezTo>
                    <a:cubicBezTo>
                      <a:pt x="18" y="274"/>
                      <a:pt x="18" y="274"/>
                      <a:pt x="18" y="274"/>
                    </a:cubicBezTo>
                    <a:cubicBezTo>
                      <a:pt x="18" y="274"/>
                      <a:pt x="18" y="274"/>
                      <a:pt x="18" y="275"/>
                    </a:cubicBezTo>
                    <a:cubicBezTo>
                      <a:pt x="18" y="275"/>
                      <a:pt x="18" y="275"/>
                      <a:pt x="18" y="276"/>
                    </a:cubicBezTo>
                    <a:cubicBezTo>
                      <a:pt x="18" y="276"/>
                      <a:pt x="19" y="276"/>
                      <a:pt x="19" y="276"/>
                    </a:cubicBezTo>
                    <a:cubicBezTo>
                      <a:pt x="19" y="276"/>
                      <a:pt x="19" y="276"/>
                      <a:pt x="19" y="277"/>
                    </a:cubicBezTo>
                    <a:cubicBezTo>
                      <a:pt x="19" y="277"/>
                      <a:pt x="20" y="278"/>
                      <a:pt x="19" y="279"/>
                    </a:cubicBezTo>
                    <a:cubicBezTo>
                      <a:pt x="19" y="279"/>
                      <a:pt x="19" y="279"/>
                      <a:pt x="19" y="279"/>
                    </a:cubicBezTo>
                    <a:cubicBezTo>
                      <a:pt x="19" y="280"/>
                      <a:pt x="18" y="280"/>
                      <a:pt x="18" y="280"/>
                    </a:cubicBezTo>
                    <a:cubicBezTo>
                      <a:pt x="17" y="281"/>
                      <a:pt x="17" y="281"/>
                      <a:pt x="17" y="281"/>
                    </a:cubicBezTo>
                    <a:cubicBezTo>
                      <a:pt x="18" y="284"/>
                      <a:pt x="18" y="284"/>
                      <a:pt x="18" y="284"/>
                    </a:cubicBezTo>
                    <a:cubicBezTo>
                      <a:pt x="18" y="284"/>
                      <a:pt x="18" y="285"/>
                      <a:pt x="19" y="285"/>
                    </a:cubicBezTo>
                    <a:cubicBezTo>
                      <a:pt x="19" y="286"/>
                      <a:pt x="19" y="287"/>
                      <a:pt x="19" y="288"/>
                    </a:cubicBezTo>
                    <a:cubicBezTo>
                      <a:pt x="19" y="288"/>
                      <a:pt x="18" y="289"/>
                      <a:pt x="18" y="289"/>
                    </a:cubicBezTo>
                    <a:cubicBezTo>
                      <a:pt x="17" y="289"/>
                      <a:pt x="17" y="289"/>
                      <a:pt x="17" y="289"/>
                    </a:cubicBezTo>
                    <a:cubicBezTo>
                      <a:pt x="17" y="289"/>
                      <a:pt x="17" y="289"/>
                      <a:pt x="17" y="290"/>
                    </a:cubicBezTo>
                    <a:cubicBezTo>
                      <a:pt x="16" y="291"/>
                      <a:pt x="16" y="291"/>
                      <a:pt x="17" y="292"/>
                    </a:cubicBezTo>
                    <a:cubicBezTo>
                      <a:pt x="17" y="294"/>
                      <a:pt x="17" y="294"/>
                      <a:pt x="17" y="294"/>
                    </a:cubicBezTo>
                    <a:cubicBezTo>
                      <a:pt x="17" y="295"/>
                      <a:pt x="16" y="295"/>
                      <a:pt x="16" y="296"/>
                    </a:cubicBezTo>
                    <a:cubicBezTo>
                      <a:pt x="16" y="296"/>
                      <a:pt x="15" y="296"/>
                      <a:pt x="15" y="296"/>
                    </a:cubicBezTo>
                    <a:cubicBezTo>
                      <a:pt x="14" y="296"/>
                      <a:pt x="14" y="296"/>
                      <a:pt x="14" y="296"/>
                    </a:cubicBezTo>
                    <a:cubicBezTo>
                      <a:pt x="14" y="296"/>
                      <a:pt x="14" y="296"/>
                      <a:pt x="14" y="296"/>
                    </a:cubicBezTo>
                    <a:cubicBezTo>
                      <a:pt x="14" y="296"/>
                      <a:pt x="14" y="296"/>
                      <a:pt x="14" y="296"/>
                    </a:cubicBezTo>
                    <a:cubicBezTo>
                      <a:pt x="14" y="297"/>
                      <a:pt x="14" y="297"/>
                      <a:pt x="14" y="297"/>
                    </a:cubicBezTo>
                    <a:cubicBezTo>
                      <a:pt x="13" y="297"/>
                      <a:pt x="13" y="297"/>
                      <a:pt x="13" y="297"/>
                    </a:cubicBezTo>
                    <a:cubicBezTo>
                      <a:pt x="13" y="297"/>
                      <a:pt x="13" y="297"/>
                      <a:pt x="13" y="298"/>
                    </a:cubicBezTo>
                    <a:cubicBezTo>
                      <a:pt x="13" y="298"/>
                      <a:pt x="13" y="298"/>
                      <a:pt x="12" y="298"/>
                    </a:cubicBezTo>
                    <a:cubicBezTo>
                      <a:pt x="12" y="298"/>
                      <a:pt x="12" y="298"/>
                      <a:pt x="12" y="298"/>
                    </a:cubicBezTo>
                    <a:cubicBezTo>
                      <a:pt x="11" y="302"/>
                      <a:pt x="11" y="302"/>
                      <a:pt x="11" y="302"/>
                    </a:cubicBezTo>
                    <a:cubicBezTo>
                      <a:pt x="11" y="303"/>
                      <a:pt x="10" y="303"/>
                      <a:pt x="10" y="303"/>
                    </a:cubicBezTo>
                    <a:cubicBezTo>
                      <a:pt x="10" y="303"/>
                      <a:pt x="10" y="303"/>
                      <a:pt x="10" y="303"/>
                    </a:cubicBezTo>
                    <a:cubicBezTo>
                      <a:pt x="11" y="303"/>
                      <a:pt x="11" y="303"/>
                      <a:pt x="11" y="303"/>
                    </a:cubicBezTo>
                    <a:cubicBezTo>
                      <a:pt x="11" y="303"/>
                      <a:pt x="11" y="303"/>
                      <a:pt x="11" y="303"/>
                    </a:cubicBezTo>
                    <a:cubicBezTo>
                      <a:pt x="12" y="304"/>
                      <a:pt x="12" y="304"/>
                      <a:pt x="12" y="305"/>
                    </a:cubicBezTo>
                    <a:cubicBezTo>
                      <a:pt x="13" y="305"/>
                      <a:pt x="13" y="306"/>
                      <a:pt x="13" y="306"/>
                    </a:cubicBezTo>
                    <a:cubicBezTo>
                      <a:pt x="13" y="306"/>
                      <a:pt x="13" y="307"/>
                      <a:pt x="13" y="308"/>
                    </a:cubicBezTo>
                    <a:cubicBezTo>
                      <a:pt x="13" y="308"/>
                      <a:pt x="13" y="308"/>
                      <a:pt x="13" y="309"/>
                    </a:cubicBezTo>
                    <a:cubicBezTo>
                      <a:pt x="13" y="309"/>
                      <a:pt x="12" y="310"/>
                      <a:pt x="12" y="310"/>
                    </a:cubicBezTo>
                    <a:cubicBezTo>
                      <a:pt x="11" y="310"/>
                      <a:pt x="11" y="310"/>
                      <a:pt x="11" y="311"/>
                    </a:cubicBezTo>
                    <a:cubicBezTo>
                      <a:pt x="11" y="311"/>
                      <a:pt x="11" y="311"/>
                      <a:pt x="11" y="311"/>
                    </a:cubicBezTo>
                    <a:cubicBezTo>
                      <a:pt x="10" y="311"/>
                      <a:pt x="10" y="311"/>
                      <a:pt x="10" y="311"/>
                    </a:cubicBezTo>
                    <a:cubicBezTo>
                      <a:pt x="10" y="311"/>
                      <a:pt x="10" y="311"/>
                      <a:pt x="10" y="311"/>
                    </a:cubicBezTo>
                    <a:cubicBezTo>
                      <a:pt x="10" y="311"/>
                      <a:pt x="10" y="311"/>
                      <a:pt x="10" y="311"/>
                    </a:cubicBezTo>
                    <a:cubicBezTo>
                      <a:pt x="10" y="311"/>
                      <a:pt x="10" y="311"/>
                      <a:pt x="10" y="311"/>
                    </a:cubicBezTo>
                    <a:cubicBezTo>
                      <a:pt x="10" y="312"/>
                      <a:pt x="10" y="312"/>
                      <a:pt x="10" y="312"/>
                    </a:cubicBezTo>
                    <a:cubicBezTo>
                      <a:pt x="10" y="313"/>
                      <a:pt x="10" y="313"/>
                      <a:pt x="10" y="314"/>
                    </a:cubicBezTo>
                    <a:cubicBezTo>
                      <a:pt x="10" y="314"/>
                      <a:pt x="10" y="314"/>
                      <a:pt x="10" y="314"/>
                    </a:cubicBezTo>
                    <a:cubicBezTo>
                      <a:pt x="10" y="315"/>
                      <a:pt x="9" y="316"/>
                      <a:pt x="8" y="317"/>
                    </a:cubicBezTo>
                    <a:cubicBezTo>
                      <a:pt x="8" y="317"/>
                      <a:pt x="8" y="317"/>
                      <a:pt x="8" y="317"/>
                    </a:cubicBezTo>
                    <a:cubicBezTo>
                      <a:pt x="7" y="317"/>
                      <a:pt x="7" y="317"/>
                      <a:pt x="7" y="317"/>
                    </a:cubicBezTo>
                    <a:cubicBezTo>
                      <a:pt x="7" y="318"/>
                      <a:pt x="7" y="318"/>
                      <a:pt x="6" y="318"/>
                    </a:cubicBezTo>
                    <a:cubicBezTo>
                      <a:pt x="6" y="318"/>
                      <a:pt x="6" y="319"/>
                      <a:pt x="6" y="319"/>
                    </a:cubicBezTo>
                    <a:cubicBezTo>
                      <a:pt x="5" y="320"/>
                      <a:pt x="4" y="322"/>
                      <a:pt x="3" y="322"/>
                    </a:cubicBezTo>
                    <a:cubicBezTo>
                      <a:pt x="2" y="322"/>
                      <a:pt x="2" y="322"/>
                      <a:pt x="1" y="322"/>
                    </a:cubicBezTo>
                    <a:cubicBezTo>
                      <a:pt x="1" y="322"/>
                      <a:pt x="1" y="322"/>
                      <a:pt x="0" y="323"/>
                    </a:cubicBezTo>
                    <a:cubicBezTo>
                      <a:pt x="0" y="323"/>
                      <a:pt x="0" y="324"/>
                      <a:pt x="0" y="324"/>
                    </a:cubicBezTo>
                    <a:cubicBezTo>
                      <a:pt x="0" y="324"/>
                      <a:pt x="0" y="324"/>
                      <a:pt x="0" y="324"/>
                    </a:cubicBezTo>
                    <a:cubicBezTo>
                      <a:pt x="0" y="325"/>
                      <a:pt x="0" y="325"/>
                      <a:pt x="0" y="325"/>
                    </a:cubicBezTo>
                    <a:cubicBezTo>
                      <a:pt x="0" y="326"/>
                      <a:pt x="0" y="327"/>
                      <a:pt x="0" y="328"/>
                    </a:cubicBezTo>
                    <a:cubicBezTo>
                      <a:pt x="0" y="329"/>
                      <a:pt x="0" y="329"/>
                      <a:pt x="0" y="330"/>
                    </a:cubicBezTo>
                    <a:cubicBezTo>
                      <a:pt x="0" y="331"/>
                      <a:pt x="0" y="331"/>
                      <a:pt x="0" y="331"/>
                    </a:cubicBezTo>
                    <a:cubicBezTo>
                      <a:pt x="0" y="331"/>
                      <a:pt x="0" y="331"/>
                      <a:pt x="0" y="332"/>
                    </a:cubicBezTo>
                    <a:cubicBezTo>
                      <a:pt x="0" y="332"/>
                      <a:pt x="0" y="332"/>
                      <a:pt x="0" y="332"/>
                    </a:cubicBezTo>
                    <a:cubicBezTo>
                      <a:pt x="0" y="332"/>
                      <a:pt x="0" y="332"/>
                      <a:pt x="0" y="332"/>
                    </a:cubicBezTo>
                    <a:cubicBezTo>
                      <a:pt x="0" y="332"/>
                      <a:pt x="0" y="332"/>
                      <a:pt x="1" y="332"/>
                    </a:cubicBezTo>
                    <a:cubicBezTo>
                      <a:pt x="1" y="332"/>
                      <a:pt x="1" y="332"/>
                      <a:pt x="1" y="332"/>
                    </a:cubicBezTo>
                    <a:cubicBezTo>
                      <a:pt x="1" y="332"/>
                      <a:pt x="2" y="333"/>
                      <a:pt x="2" y="333"/>
                    </a:cubicBezTo>
                    <a:cubicBezTo>
                      <a:pt x="2" y="334"/>
                      <a:pt x="2" y="334"/>
                      <a:pt x="3" y="335"/>
                    </a:cubicBezTo>
                    <a:cubicBezTo>
                      <a:pt x="3" y="335"/>
                      <a:pt x="3" y="335"/>
                      <a:pt x="3" y="335"/>
                    </a:cubicBezTo>
                    <a:cubicBezTo>
                      <a:pt x="3" y="336"/>
                      <a:pt x="3" y="336"/>
                      <a:pt x="3" y="337"/>
                    </a:cubicBezTo>
                    <a:cubicBezTo>
                      <a:pt x="3" y="337"/>
                      <a:pt x="3" y="338"/>
                      <a:pt x="3" y="338"/>
                    </a:cubicBezTo>
                    <a:cubicBezTo>
                      <a:pt x="3" y="339"/>
                      <a:pt x="3" y="339"/>
                      <a:pt x="3" y="339"/>
                    </a:cubicBezTo>
                    <a:cubicBezTo>
                      <a:pt x="3" y="339"/>
                      <a:pt x="3" y="339"/>
                      <a:pt x="3" y="339"/>
                    </a:cubicBezTo>
                    <a:cubicBezTo>
                      <a:pt x="4" y="339"/>
                      <a:pt x="4" y="339"/>
                      <a:pt x="4" y="339"/>
                    </a:cubicBezTo>
                    <a:cubicBezTo>
                      <a:pt x="4" y="339"/>
                      <a:pt x="4" y="339"/>
                      <a:pt x="4" y="339"/>
                    </a:cubicBezTo>
                    <a:cubicBezTo>
                      <a:pt x="4" y="339"/>
                      <a:pt x="4" y="339"/>
                      <a:pt x="4" y="339"/>
                    </a:cubicBezTo>
                    <a:cubicBezTo>
                      <a:pt x="4" y="339"/>
                      <a:pt x="4" y="339"/>
                      <a:pt x="4" y="339"/>
                    </a:cubicBezTo>
                    <a:cubicBezTo>
                      <a:pt x="5" y="338"/>
                      <a:pt x="5" y="338"/>
                      <a:pt x="5" y="338"/>
                    </a:cubicBezTo>
                    <a:cubicBezTo>
                      <a:pt x="6" y="338"/>
                      <a:pt x="6" y="337"/>
                      <a:pt x="7" y="338"/>
                    </a:cubicBezTo>
                    <a:cubicBezTo>
                      <a:pt x="8" y="338"/>
                      <a:pt x="8" y="338"/>
                      <a:pt x="8" y="338"/>
                    </a:cubicBezTo>
                    <a:cubicBezTo>
                      <a:pt x="8" y="338"/>
                      <a:pt x="8" y="338"/>
                      <a:pt x="8" y="338"/>
                    </a:cubicBezTo>
                    <a:cubicBezTo>
                      <a:pt x="9" y="338"/>
                      <a:pt x="10" y="337"/>
                      <a:pt x="11" y="337"/>
                    </a:cubicBezTo>
                    <a:cubicBezTo>
                      <a:pt x="11" y="337"/>
                      <a:pt x="11" y="337"/>
                      <a:pt x="11" y="337"/>
                    </a:cubicBezTo>
                    <a:cubicBezTo>
                      <a:pt x="11" y="337"/>
                      <a:pt x="11" y="337"/>
                      <a:pt x="11" y="337"/>
                    </a:cubicBezTo>
                    <a:cubicBezTo>
                      <a:pt x="11" y="337"/>
                      <a:pt x="12" y="338"/>
                      <a:pt x="12" y="338"/>
                    </a:cubicBezTo>
                    <a:cubicBezTo>
                      <a:pt x="12" y="338"/>
                      <a:pt x="13" y="339"/>
                      <a:pt x="13" y="339"/>
                    </a:cubicBezTo>
                    <a:cubicBezTo>
                      <a:pt x="13" y="339"/>
                      <a:pt x="13" y="339"/>
                      <a:pt x="13" y="339"/>
                    </a:cubicBezTo>
                    <a:cubicBezTo>
                      <a:pt x="13" y="340"/>
                      <a:pt x="13" y="341"/>
                      <a:pt x="13" y="342"/>
                    </a:cubicBezTo>
                    <a:cubicBezTo>
                      <a:pt x="13" y="342"/>
                      <a:pt x="13" y="343"/>
                      <a:pt x="13" y="344"/>
                    </a:cubicBezTo>
                    <a:cubicBezTo>
                      <a:pt x="13" y="344"/>
                      <a:pt x="12" y="345"/>
                      <a:pt x="12" y="345"/>
                    </a:cubicBezTo>
                    <a:cubicBezTo>
                      <a:pt x="12" y="345"/>
                      <a:pt x="12" y="345"/>
                      <a:pt x="12" y="346"/>
                    </a:cubicBezTo>
                    <a:cubicBezTo>
                      <a:pt x="12" y="346"/>
                      <a:pt x="12" y="346"/>
                      <a:pt x="12" y="346"/>
                    </a:cubicBezTo>
                    <a:cubicBezTo>
                      <a:pt x="13" y="346"/>
                      <a:pt x="13" y="347"/>
                      <a:pt x="13" y="347"/>
                    </a:cubicBezTo>
                    <a:cubicBezTo>
                      <a:pt x="13" y="348"/>
                      <a:pt x="13" y="349"/>
                      <a:pt x="12" y="350"/>
                    </a:cubicBezTo>
                    <a:cubicBezTo>
                      <a:pt x="12" y="350"/>
                      <a:pt x="12" y="351"/>
                      <a:pt x="12" y="351"/>
                    </a:cubicBezTo>
                    <a:cubicBezTo>
                      <a:pt x="12" y="351"/>
                      <a:pt x="12" y="351"/>
                      <a:pt x="12" y="351"/>
                    </a:cubicBezTo>
                    <a:cubicBezTo>
                      <a:pt x="12" y="352"/>
                      <a:pt x="12" y="352"/>
                      <a:pt x="13" y="352"/>
                    </a:cubicBezTo>
                    <a:cubicBezTo>
                      <a:pt x="13" y="353"/>
                      <a:pt x="13" y="353"/>
                      <a:pt x="13" y="353"/>
                    </a:cubicBezTo>
                    <a:cubicBezTo>
                      <a:pt x="13" y="353"/>
                      <a:pt x="13" y="353"/>
                      <a:pt x="14" y="353"/>
                    </a:cubicBezTo>
                    <a:cubicBezTo>
                      <a:pt x="14" y="353"/>
                      <a:pt x="14" y="353"/>
                      <a:pt x="15" y="354"/>
                    </a:cubicBezTo>
                    <a:cubicBezTo>
                      <a:pt x="15" y="354"/>
                      <a:pt x="16" y="355"/>
                      <a:pt x="16" y="355"/>
                    </a:cubicBezTo>
                    <a:cubicBezTo>
                      <a:pt x="16" y="356"/>
                      <a:pt x="16" y="356"/>
                      <a:pt x="16" y="356"/>
                    </a:cubicBezTo>
                    <a:cubicBezTo>
                      <a:pt x="16" y="356"/>
                      <a:pt x="16" y="356"/>
                      <a:pt x="17" y="356"/>
                    </a:cubicBezTo>
                    <a:cubicBezTo>
                      <a:pt x="26" y="356"/>
                      <a:pt x="26" y="356"/>
                      <a:pt x="26" y="356"/>
                    </a:cubicBezTo>
                    <a:cubicBezTo>
                      <a:pt x="27" y="356"/>
                      <a:pt x="28" y="356"/>
                      <a:pt x="29" y="356"/>
                    </a:cubicBezTo>
                    <a:cubicBezTo>
                      <a:pt x="31" y="356"/>
                      <a:pt x="33" y="356"/>
                      <a:pt x="35" y="356"/>
                    </a:cubicBezTo>
                    <a:cubicBezTo>
                      <a:pt x="35" y="356"/>
                      <a:pt x="35" y="356"/>
                      <a:pt x="35" y="356"/>
                    </a:cubicBezTo>
                    <a:cubicBezTo>
                      <a:pt x="36" y="356"/>
                      <a:pt x="36" y="356"/>
                      <a:pt x="36" y="356"/>
                    </a:cubicBezTo>
                    <a:cubicBezTo>
                      <a:pt x="37" y="357"/>
                      <a:pt x="38" y="357"/>
                      <a:pt x="38" y="357"/>
                    </a:cubicBezTo>
                    <a:cubicBezTo>
                      <a:pt x="38" y="357"/>
                      <a:pt x="38" y="357"/>
                      <a:pt x="38" y="357"/>
                    </a:cubicBezTo>
                    <a:cubicBezTo>
                      <a:pt x="39" y="357"/>
                      <a:pt x="40" y="358"/>
                      <a:pt x="41" y="358"/>
                    </a:cubicBezTo>
                    <a:cubicBezTo>
                      <a:pt x="41" y="358"/>
                      <a:pt x="42" y="358"/>
                      <a:pt x="43" y="358"/>
                    </a:cubicBezTo>
                    <a:cubicBezTo>
                      <a:pt x="45" y="359"/>
                      <a:pt x="48" y="360"/>
                      <a:pt x="50" y="361"/>
                    </a:cubicBezTo>
                    <a:cubicBezTo>
                      <a:pt x="49" y="359"/>
                      <a:pt x="47" y="356"/>
                      <a:pt x="46" y="354"/>
                    </a:cubicBezTo>
                    <a:cubicBezTo>
                      <a:pt x="46" y="354"/>
                      <a:pt x="46" y="352"/>
                      <a:pt x="45" y="352"/>
                    </a:cubicBezTo>
                    <a:cubicBezTo>
                      <a:pt x="45" y="352"/>
                      <a:pt x="44" y="353"/>
                      <a:pt x="44" y="353"/>
                    </a:cubicBezTo>
                    <a:cubicBezTo>
                      <a:pt x="43" y="353"/>
                      <a:pt x="43" y="352"/>
                      <a:pt x="42" y="352"/>
                    </a:cubicBezTo>
                    <a:cubicBezTo>
                      <a:pt x="41" y="352"/>
                      <a:pt x="40" y="352"/>
                      <a:pt x="39" y="352"/>
                    </a:cubicBezTo>
                    <a:cubicBezTo>
                      <a:pt x="40" y="352"/>
                      <a:pt x="41" y="351"/>
                      <a:pt x="42" y="352"/>
                    </a:cubicBezTo>
                    <a:cubicBezTo>
                      <a:pt x="43" y="352"/>
                      <a:pt x="43" y="352"/>
                      <a:pt x="44" y="352"/>
                    </a:cubicBezTo>
                    <a:cubicBezTo>
                      <a:pt x="44" y="352"/>
                      <a:pt x="44" y="351"/>
                      <a:pt x="45" y="352"/>
                    </a:cubicBezTo>
                    <a:cubicBezTo>
                      <a:pt x="45" y="349"/>
                      <a:pt x="44" y="346"/>
                      <a:pt x="43" y="343"/>
                    </a:cubicBezTo>
                    <a:cubicBezTo>
                      <a:pt x="42" y="344"/>
                      <a:pt x="42" y="344"/>
                      <a:pt x="41" y="345"/>
                    </a:cubicBezTo>
                    <a:cubicBezTo>
                      <a:pt x="41" y="345"/>
                      <a:pt x="41" y="345"/>
                      <a:pt x="41" y="345"/>
                    </a:cubicBezTo>
                    <a:cubicBezTo>
                      <a:pt x="41" y="344"/>
                      <a:pt x="43" y="343"/>
                      <a:pt x="44" y="342"/>
                    </a:cubicBezTo>
                    <a:cubicBezTo>
                      <a:pt x="44" y="342"/>
                      <a:pt x="43" y="340"/>
                      <a:pt x="44" y="339"/>
                    </a:cubicBezTo>
                    <a:cubicBezTo>
                      <a:pt x="45" y="338"/>
                      <a:pt x="45" y="337"/>
                      <a:pt x="46" y="335"/>
                    </a:cubicBezTo>
                    <a:cubicBezTo>
                      <a:pt x="47" y="334"/>
                      <a:pt x="48" y="334"/>
                      <a:pt x="49" y="334"/>
                    </a:cubicBezTo>
                    <a:cubicBezTo>
                      <a:pt x="49" y="334"/>
                      <a:pt x="52" y="333"/>
                      <a:pt x="51" y="332"/>
                    </a:cubicBezTo>
                    <a:cubicBezTo>
                      <a:pt x="51" y="332"/>
                      <a:pt x="51" y="332"/>
                      <a:pt x="51" y="332"/>
                    </a:cubicBezTo>
                    <a:cubicBezTo>
                      <a:pt x="50" y="332"/>
                      <a:pt x="50" y="331"/>
                      <a:pt x="50" y="330"/>
                    </a:cubicBezTo>
                    <a:cubicBezTo>
                      <a:pt x="49" y="330"/>
                      <a:pt x="46" y="331"/>
                      <a:pt x="45" y="330"/>
                    </a:cubicBezTo>
                    <a:cubicBezTo>
                      <a:pt x="46" y="330"/>
                      <a:pt x="47" y="330"/>
                      <a:pt x="48" y="330"/>
                    </a:cubicBezTo>
                    <a:cubicBezTo>
                      <a:pt x="50" y="329"/>
                      <a:pt x="49" y="328"/>
                      <a:pt x="48" y="327"/>
                    </a:cubicBezTo>
                    <a:cubicBezTo>
                      <a:pt x="50" y="327"/>
                      <a:pt x="50" y="331"/>
                      <a:pt x="52" y="332"/>
                    </a:cubicBezTo>
                    <a:cubicBezTo>
                      <a:pt x="52" y="332"/>
                      <a:pt x="57" y="330"/>
                      <a:pt x="57" y="329"/>
                    </a:cubicBezTo>
                    <a:cubicBezTo>
                      <a:pt x="58" y="329"/>
                      <a:pt x="58" y="328"/>
                      <a:pt x="58" y="328"/>
                    </a:cubicBezTo>
                    <a:cubicBezTo>
                      <a:pt x="58" y="325"/>
                      <a:pt x="59" y="322"/>
                      <a:pt x="59" y="321"/>
                    </a:cubicBezTo>
                    <a:cubicBezTo>
                      <a:pt x="59" y="321"/>
                      <a:pt x="58" y="322"/>
                      <a:pt x="57" y="322"/>
                    </a:cubicBezTo>
                    <a:cubicBezTo>
                      <a:pt x="58" y="321"/>
                      <a:pt x="58" y="321"/>
                      <a:pt x="59" y="320"/>
                    </a:cubicBezTo>
                    <a:cubicBezTo>
                      <a:pt x="60" y="317"/>
                      <a:pt x="62" y="315"/>
                      <a:pt x="65" y="313"/>
                    </a:cubicBezTo>
                    <a:cubicBezTo>
                      <a:pt x="67" y="311"/>
                      <a:pt x="69" y="310"/>
                      <a:pt x="71" y="309"/>
                    </a:cubicBezTo>
                    <a:cubicBezTo>
                      <a:pt x="73" y="308"/>
                      <a:pt x="76" y="307"/>
                      <a:pt x="78" y="304"/>
                    </a:cubicBezTo>
                    <a:cubicBezTo>
                      <a:pt x="78" y="303"/>
                      <a:pt x="78" y="303"/>
                      <a:pt x="77" y="303"/>
                    </a:cubicBezTo>
                    <a:cubicBezTo>
                      <a:pt x="77" y="302"/>
                      <a:pt x="77" y="301"/>
                      <a:pt x="76" y="301"/>
                    </a:cubicBezTo>
                    <a:cubicBezTo>
                      <a:pt x="76" y="301"/>
                      <a:pt x="76" y="301"/>
                      <a:pt x="76" y="301"/>
                    </a:cubicBezTo>
                    <a:cubicBezTo>
                      <a:pt x="76" y="301"/>
                      <a:pt x="77" y="301"/>
                      <a:pt x="77" y="301"/>
                    </a:cubicBezTo>
                    <a:cubicBezTo>
                      <a:pt x="78" y="300"/>
                      <a:pt x="78" y="298"/>
                      <a:pt x="78" y="298"/>
                    </a:cubicBezTo>
                    <a:cubicBezTo>
                      <a:pt x="78" y="297"/>
                      <a:pt x="79" y="296"/>
                      <a:pt x="78" y="296"/>
                    </a:cubicBezTo>
                    <a:cubicBezTo>
                      <a:pt x="78" y="295"/>
                      <a:pt x="78" y="294"/>
                      <a:pt x="78" y="294"/>
                    </a:cubicBezTo>
                    <a:cubicBezTo>
                      <a:pt x="76" y="293"/>
                      <a:pt x="74" y="293"/>
                      <a:pt x="72" y="292"/>
                    </a:cubicBezTo>
                    <a:cubicBezTo>
                      <a:pt x="70" y="292"/>
                      <a:pt x="68" y="292"/>
                      <a:pt x="67" y="290"/>
                    </a:cubicBezTo>
                    <a:cubicBezTo>
                      <a:pt x="66" y="290"/>
                      <a:pt x="65" y="289"/>
                      <a:pt x="64" y="288"/>
                    </a:cubicBezTo>
                    <a:cubicBezTo>
                      <a:pt x="61" y="286"/>
                      <a:pt x="59" y="284"/>
                      <a:pt x="59" y="280"/>
                    </a:cubicBezTo>
                    <a:cubicBezTo>
                      <a:pt x="59" y="279"/>
                      <a:pt x="60" y="277"/>
                      <a:pt x="61" y="276"/>
                    </a:cubicBezTo>
                    <a:cubicBezTo>
                      <a:pt x="63" y="274"/>
                      <a:pt x="64" y="271"/>
                      <a:pt x="66" y="269"/>
                    </a:cubicBezTo>
                    <a:cubicBezTo>
                      <a:pt x="67" y="268"/>
                      <a:pt x="67" y="268"/>
                      <a:pt x="68" y="268"/>
                    </a:cubicBezTo>
                    <a:cubicBezTo>
                      <a:pt x="69" y="267"/>
                      <a:pt x="71" y="267"/>
                      <a:pt x="72" y="266"/>
                    </a:cubicBezTo>
                    <a:cubicBezTo>
                      <a:pt x="74" y="265"/>
                      <a:pt x="74" y="265"/>
                      <a:pt x="76" y="265"/>
                    </a:cubicBezTo>
                    <a:cubicBezTo>
                      <a:pt x="78" y="266"/>
                      <a:pt x="79" y="267"/>
                      <a:pt x="80" y="265"/>
                    </a:cubicBezTo>
                    <a:cubicBezTo>
                      <a:pt x="81" y="264"/>
                      <a:pt x="79" y="263"/>
                      <a:pt x="79" y="262"/>
                    </a:cubicBezTo>
                    <a:cubicBezTo>
                      <a:pt x="79" y="261"/>
                      <a:pt x="80" y="261"/>
                      <a:pt x="80" y="261"/>
                    </a:cubicBezTo>
                    <a:cubicBezTo>
                      <a:pt x="82" y="260"/>
                      <a:pt x="83" y="258"/>
                      <a:pt x="84" y="257"/>
                    </a:cubicBezTo>
                    <a:cubicBezTo>
                      <a:pt x="84" y="256"/>
                      <a:pt x="84" y="254"/>
                      <a:pt x="84" y="253"/>
                    </a:cubicBezTo>
                    <a:cubicBezTo>
                      <a:pt x="83" y="253"/>
                      <a:pt x="82" y="250"/>
                      <a:pt x="83" y="250"/>
                    </a:cubicBezTo>
                    <a:cubicBezTo>
                      <a:pt x="84" y="248"/>
                      <a:pt x="85" y="246"/>
                      <a:pt x="86" y="244"/>
                    </a:cubicBezTo>
                    <a:cubicBezTo>
                      <a:pt x="87" y="243"/>
                      <a:pt x="88" y="243"/>
                      <a:pt x="90" y="242"/>
                    </a:cubicBezTo>
                    <a:cubicBezTo>
                      <a:pt x="90" y="242"/>
                      <a:pt x="94" y="241"/>
                      <a:pt x="93" y="240"/>
                    </a:cubicBezTo>
                    <a:cubicBezTo>
                      <a:pt x="93" y="240"/>
                      <a:pt x="92" y="240"/>
                      <a:pt x="92" y="240"/>
                    </a:cubicBezTo>
                    <a:cubicBezTo>
                      <a:pt x="90" y="240"/>
                      <a:pt x="87" y="238"/>
                      <a:pt x="86" y="237"/>
                    </a:cubicBezTo>
                    <a:cubicBezTo>
                      <a:pt x="87" y="236"/>
                      <a:pt x="90" y="235"/>
                      <a:pt x="91" y="235"/>
                    </a:cubicBezTo>
                    <a:cubicBezTo>
                      <a:pt x="92" y="235"/>
                      <a:pt x="95" y="236"/>
                      <a:pt x="94" y="237"/>
                    </a:cubicBezTo>
                    <a:cubicBezTo>
                      <a:pt x="96" y="237"/>
                      <a:pt x="98" y="237"/>
                      <a:pt x="100" y="238"/>
                    </a:cubicBezTo>
                    <a:cubicBezTo>
                      <a:pt x="100" y="235"/>
                      <a:pt x="101" y="228"/>
                      <a:pt x="97" y="230"/>
                    </a:cubicBezTo>
                    <a:cubicBezTo>
                      <a:pt x="96" y="230"/>
                      <a:pt x="94" y="231"/>
                      <a:pt x="93" y="231"/>
                    </a:cubicBezTo>
                    <a:cubicBezTo>
                      <a:pt x="94" y="232"/>
                      <a:pt x="97" y="231"/>
                      <a:pt x="96" y="233"/>
                    </a:cubicBezTo>
                    <a:cubicBezTo>
                      <a:pt x="95" y="234"/>
                      <a:pt x="95" y="234"/>
                      <a:pt x="94" y="234"/>
                    </a:cubicBezTo>
                    <a:cubicBezTo>
                      <a:pt x="93" y="234"/>
                      <a:pt x="91" y="234"/>
                      <a:pt x="90" y="234"/>
                    </a:cubicBezTo>
                    <a:cubicBezTo>
                      <a:pt x="90" y="233"/>
                      <a:pt x="89" y="232"/>
                      <a:pt x="89" y="232"/>
                    </a:cubicBezTo>
                    <a:cubicBezTo>
                      <a:pt x="88" y="231"/>
                      <a:pt x="87" y="230"/>
                      <a:pt x="86" y="229"/>
                    </a:cubicBezTo>
                    <a:cubicBezTo>
                      <a:pt x="85" y="228"/>
                      <a:pt x="85" y="228"/>
                      <a:pt x="86" y="227"/>
                    </a:cubicBezTo>
                    <a:cubicBezTo>
                      <a:pt x="86" y="225"/>
                      <a:pt x="86" y="224"/>
                      <a:pt x="86" y="222"/>
                    </a:cubicBezTo>
                    <a:cubicBezTo>
                      <a:pt x="86" y="220"/>
                      <a:pt x="85" y="219"/>
                      <a:pt x="85" y="217"/>
                    </a:cubicBezTo>
                    <a:cubicBezTo>
                      <a:pt x="84" y="215"/>
                      <a:pt x="84" y="214"/>
                      <a:pt x="86" y="213"/>
                    </a:cubicBezTo>
                    <a:cubicBezTo>
                      <a:pt x="87" y="213"/>
                      <a:pt x="88" y="212"/>
                      <a:pt x="89" y="214"/>
                    </a:cubicBezTo>
                    <a:cubicBezTo>
                      <a:pt x="88" y="214"/>
                      <a:pt x="87" y="214"/>
                      <a:pt x="87" y="214"/>
                    </a:cubicBezTo>
                    <a:cubicBezTo>
                      <a:pt x="87" y="214"/>
                      <a:pt x="88" y="214"/>
                      <a:pt x="89" y="214"/>
                    </a:cubicBezTo>
                    <a:cubicBezTo>
                      <a:pt x="91" y="214"/>
                      <a:pt x="94" y="216"/>
                      <a:pt x="96" y="217"/>
                    </a:cubicBezTo>
                    <a:cubicBezTo>
                      <a:pt x="98" y="218"/>
                      <a:pt x="99" y="218"/>
                      <a:pt x="101" y="218"/>
                    </a:cubicBezTo>
                    <a:cubicBezTo>
                      <a:pt x="103" y="218"/>
                      <a:pt x="105" y="218"/>
                      <a:pt x="106" y="218"/>
                    </a:cubicBezTo>
                    <a:cubicBezTo>
                      <a:pt x="107" y="218"/>
                      <a:pt x="109" y="217"/>
                      <a:pt x="110" y="216"/>
                    </a:cubicBezTo>
                    <a:cubicBezTo>
                      <a:pt x="112" y="215"/>
                      <a:pt x="114" y="215"/>
                      <a:pt x="115" y="212"/>
                    </a:cubicBezTo>
                    <a:cubicBezTo>
                      <a:pt x="114" y="212"/>
                      <a:pt x="113" y="210"/>
                      <a:pt x="113" y="209"/>
                    </a:cubicBezTo>
                    <a:cubicBezTo>
                      <a:pt x="111" y="207"/>
                      <a:pt x="112" y="208"/>
                      <a:pt x="113" y="206"/>
                    </a:cubicBezTo>
                    <a:cubicBezTo>
                      <a:pt x="113" y="205"/>
                      <a:pt x="113" y="204"/>
                      <a:pt x="113" y="202"/>
                    </a:cubicBezTo>
                    <a:cubicBezTo>
                      <a:pt x="114" y="201"/>
                      <a:pt x="114" y="202"/>
                      <a:pt x="114" y="202"/>
                    </a:cubicBezTo>
                    <a:cubicBezTo>
                      <a:pt x="115" y="201"/>
                      <a:pt x="116" y="200"/>
                      <a:pt x="116" y="198"/>
                    </a:cubicBezTo>
                    <a:cubicBezTo>
                      <a:pt x="116" y="197"/>
                      <a:pt x="115" y="197"/>
                      <a:pt x="114" y="196"/>
                    </a:cubicBezTo>
                    <a:cubicBezTo>
                      <a:pt x="115" y="195"/>
                      <a:pt x="115" y="197"/>
                      <a:pt x="116" y="196"/>
                    </a:cubicBezTo>
                    <a:cubicBezTo>
                      <a:pt x="116" y="196"/>
                      <a:pt x="115" y="196"/>
                      <a:pt x="115" y="195"/>
                    </a:cubicBezTo>
                    <a:cubicBezTo>
                      <a:pt x="114" y="195"/>
                      <a:pt x="113" y="195"/>
                      <a:pt x="113" y="194"/>
                    </a:cubicBezTo>
                    <a:cubicBezTo>
                      <a:pt x="113" y="193"/>
                      <a:pt x="113" y="191"/>
                      <a:pt x="113" y="190"/>
                    </a:cubicBezTo>
                    <a:cubicBezTo>
                      <a:pt x="115" y="190"/>
                      <a:pt x="117" y="190"/>
                      <a:pt x="119" y="191"/>
                    </a:cubicBezTo>
                    <a:cubicBezTo>
                      <a:pt x="122" y="191"/>
                      <a:pt x="124" y="192"/>
                      <a:pt x="127" y="192"/>
                    </a:cubicBezTo>
                    <a:cubicBezTo>
                      <a:pt x="131" y="191"/>
                      <a:pt x="134" y="191"/>
                      <a:pt x="137" y="190"/>
                    </a:cubicBezTo>
                    <a:cubicBezTo>
                      <a:pt x="143" y="189"/>
                      <a:pt x="149" y="188"/>
                      <a:pt x="154" y="186"/>
                    </a:cubicBezTo>
                    <a:cubicBezTo>
                      <a:pt x="157" y="185"/>
                      <a:pt x="159" y="183"/>
                      <a:pt x="161" y="181"/>
                    </a:cubicBezTo>
                    <a:cubicBezTo>
                      <a:pt x="163" y="179"/>
                      <a:pt x="164" y="177"/>
                      <a:pt x="166" y="175"/>
                    </a:cubicBezTo>
                    <a:cubicBezTo>
                      <a:pt x="167" y="173"/>
                      <a:pt x="168" y="171"/>
                      <a:pt x="169" y="170"/>
                    </a:cubicBezTo>
                    <a:cubicBezTo>
                      <a:pt x="170" y="169"/>
                      <a:pt x="171" y="168"/>
                      <a:pt x="171" y="167"/>
                    </a:cubicBezTo>
                    <a:cubicBezTo>
                      <a:pt x="171" y="166"/>
                      <a:pt x="171" y="161"/>
                      <a:pt x="170" y="160"/>
                    </a:cubicBezTo>
                    <a:cubicBezTo>
                      <a:pt x="170" y="161"/>
                      <a:pt x="168" y="161"/>
                      <a:pt x="167"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8" name="Freeform 2959">
                <a:extLst>
                  <a:ext uri="{FF2B5EF4-FFF2-40B4-BE49-F238E27FC236}">
                    <a16:creationId xmlns:a16="http://schemas.microsoft.com/office/drawing/2014/main" id="{1FE5C1C8-25A7-457E-8936-606868127A66}"/>
                  </a:ext>
                </a:extLst>
              </p:cNvPr>
              <p:cNvSpPr>
                <a:spLocks/>
              </p:cNvSpPr>
              <p:nvPr/>
            </p:nvSpPr>
            <p:spPr bwMode="auto">
              <a:xfrm>
                <a:off x="1826" y="378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9" name="Freeform 2960">
                <a:extLst>
                  <a:ext uri="{FF2B5EF4-FFF2-40B4-BE49-F238E27FC236}">
                    <a16:creationId xmlns:a16="http://schemas.microsoft.com/office/drawing/2014/main" id="{CC085B32-46F8-4707-BE65-57D373FCB85E}"/>
                  </a:ext>
                </a:extLst>
              </p:cNvPr>
              <p:cNvSpPr>
                <a:spLocks/>
              </p:cNvSpPr>
              <p:nvPr/>
            </p:nvSpPr>
            <p:spPr bwMode="auto">
              <a:xfrm>
                <a:off x="1866" y="1641"/>
                <a:ext cx="2" cy="0"/>
              </a:xfrm>
              <a:custGeom>
                <a:avLst/>
                <a:gdLst>
                  <a:gd name="T0" fmla="*/ 1 w 1"/>
                  <a:gd name="T1" fmla="*/ 1 w 1"/>
                </a:gdLst>
                <a:ahLst/>
                <a:cxnLst>
                  <a:cxn ang="0">
                    <a:pos x="T0" y="0"/>
                  </a:cxn>
                  <a:cxn ang="0">
                    <a:pos x="T1" y="0"/>
                  </a:cxn>
                </a:cxnLst>
                <a:rect l="0" t="0" r="r" b="b"/>
                <a:pathLst>
                  <a:path w="1">
                    <a:moveTo>
                      <a:pt x="1" y="0"/>
                    </a:moveTo>
                    <a:cubicBezTo>
                      <a:pt x="1"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0" name="Freeform 2961">
                <a:extLst>
                  <a:ext uri="{FF2B5EF4-FFF2-40B4-BE49-F238E27FC236}">
                    <a16:creationId xmlns:a16="http://schemas.microsoft.com/office/drawing/2014/main" id="{4A998C09-0DBB-4148-BC0D-8ED07CEF816A}"/>
                  </a:ext>
                </a:extLst>
              </p:cNvPr>
              <p:cNvSpPr>
                <a:spLocks/>
              </p:cNvSpPr>
              <p:nvPr/>
            </p:nvSpPr>
            <p:spPr bwMode="auto">
              <a:xfrm>
                <a:off x="1764" y="172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1" name="Oval 2962">
                <a:extLst>
                  <a:ext uri="{FF2B5EF4-FFF2-40B4-BE49-F238E27FC236}">
                    <a16:creationId xmlns:a16="http://schemas.microsoft.com/office/drawing/2014/main" id="{778B8109-A966-441C-A02C-16B6EC079C48}"/>
                  </a:ext>
                </a:extLst>
              </p:cNvPr>
              <p:cNvSpPr>
                <a:spLocks noChangeArrowheads="1"/>
              </p:cNvSpPr>
              <p:nvPr/>
            </p:nvSpPr>
            <p:spPr bwMode="auto">
              <a:xfrm>
                <a:off x="1764" y="1719"/>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2" name="Freeform 2963">
                <a:extLst>
                  <a:ext uri="{FF2B5EF4-FFF2-40B4-BE49-F238E27FC236}">
                    <a16:creationId xmlns:a16="http://schemas.microsoft.com/office/drawing/2014/main" id="{CAB2D7D8-F8DE-4350-B2E6-7D937289CE15}"/>
                  </a:ext>
                </a:extLst>
              </p:cNvPr>
              <p:cNvSpPr>
                <a:spLocks/>
              </p:cNvSpPr>
              <p:nvPr/>
            </p:nvSpPr>
            <p:spPr bwMode="auto">
              <a:xfrm>
                <a:off x="1681" y="1636"/>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3" name="Freeform 2964">
                <a:extLst>
                  <a:ext uri="{FF2B5EF4-FFF2-40B4-BE49-F238E27FC236}">
                    <a16:creationId xmlns:a16="http://schemas.microsoft.com/office/drawing/2014/main" id="{7951B737-92FE-40FE-9B7D-A8C0497CD93A}"/>
                  </a:ext>
                </a:extLst>
              </p:cNvPr>
              <p:cNvSpPr>
                <a:spLocks/>
              </p:cNvSpPr>
              <p:nvPr/>
            </p:nvSpPr>
            <p:spPr bwMode="auto">
              <a:xfrm>
                <a:off x="1764" y="1719"/>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4" name="Freeform 2965">
                <a:extLst>
                  <a:ext uri="{FF2B5EF4-FFF2-40B4-BE49-F238E27FC236}">
                    <a16:creationId xmlns:a16="http://schemas.microsoft.com/office/drawing/2014/main" id="{9112B0F8-29A4-407F-9E4A-2E4620AD1F16}"/>
                  </a:ext>
                </a:extLst>
              </p:cNvPr>
              <p:cNvSpPr>
                <a:spLocks/>
              </p:cNvSpPr>
              <p:nvPr/>
            </p:nvSpPr>
            <p:spPr bwMode="auto">
              <a:xfrm>
                <a:off x="1764" y="17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5" name="Freeform 2966">
                <a:extLst>
                  <a:ext uri="{FF2B5EF4-FFF2-40B4-BE49-F238E27FC236}">
                    <a16:creationId xmlns:a16="http://schemas.microsoft.com/office/drawing/2014/main" id="{C8F01580-FEB1-4C73-BDF6-8EE7C9C3BF77}"/>
                  </a:ext>
                </a:extLst>
              </p:cNvPr>
              <p:cNvSpPr>
                <a:spLocks/>
              </p:cNvSpPr>
              <p:nvPr/>
            </p:nvSpPr>
            <p:spPr bwMode="auto">
              <a:xfrm>
                <a:off x="1764" y="1726"/>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6" name="Freeform 2967">
                <a:extLst>
                  <a:ext uri="{FF2B5EF4-FFF2-40B4-BE49-F238E27FC236}">
                    <a16:creationId xmlns:a16="http://schemas.microsoft.com/office/drawing/2014/main" id="{E1F15848-608E-48F1-A23B-F24FE9FCD073}"/>
                  </a:ext>
                </a:extLst>
              </p:cNvPr>
              <p:cNvSpPr>
                <a:spLocks/>
              </p:cNvSpPr>
              <p:nvPr/>
            </p:nvSpPr>
            <p:spPr bwMode="auto">
              <a:xfrm>
                <a:off x="1870" y="1638"/>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7" name="Freeform 2968">
                <a:extLst>
                  <a:ext uri="{FF2B5EF4-FFF2-40B4-BE49-F238E27FC236}">
                    <a16:creationId xmlns:a16="http://schemas.microsoft.com/office/drawing/2014/main" id="{0786579F-3C38-49F4-BF88-FC620EA422C1}"/>
                  </a:ext>
                </a:extLst>
              </p:cNvPr>
              <p:cNvSpPr>
                <a:spLocks/>
              </p:cNvSpPr>
              <p:nvPr/>
            </p:nvSpPr>
            <p:spPr bwMode="auto">
              <a:xfrm>
                <a:off x="1854" y="1716"/>
                <a:ext cx="5" cy="5"/>
              </a:xfrm>
              <a:custGeom>
                <a:avLst/>
                <a:gdLst>
                  <a:gd name="T0" fmla="*/ 2 w 2"/>
                  <a:gd name="T1" fmla="*/ 0 h 2"/>
                  <a:gd name="T2" fmla="*/ 0 w 2"/>
                  <a:gd name="T3" fmla="*/ 1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1" y="1"/>
                      <a:pt x="0" y="1"/>
                    </a:cubicBezTo>
                    <a:cubicBezTo>
                      <a:pt x="0" y="1"/>
                      <a:pt x="1" y="2"/>
                      <a:pt x="2" y="2"/>
                    </a:cubicBezTo>
                    <a:cubicBezTo>
                      <a:pt x="2"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8" name="Freeform 2969">
                <a:extLst>
                  <a:ext uri="{FF2B5EF4-FFF2-40B4-BE49-F238E27FC236}">
                    <a16:creationId xmlns:a16="http://schemas.microsoft.com/office/drawing/2014/main" id="{28E8EA7B-5881-474E-A08F-0AB272D5F85E}"/>
                  </a:ext>
                </a:extLst>
              </p:cNvPr>
              <p:cNvSpPr>
                <a:spLocks/>
              </p:cNvSpPr>
              <p:nvPr/>
            </p:nvSpPr>
            <p:spPr bwMode="auto">
              <a:xfrm>
                <a:off x="1840" y="1714"/>
                <a:ext cx="7" cy="5"/>
              </a:xfrm>
              <a:custGeom>
                <a:avLst/>
                <a:gdLst>
                  <a:gd name="T0" fmla="*/ 2 w 3"/>
                  <a:gd name="T1" fmla="*/ 0 h 2"/>
                  <a:gd name="T2" fmla="*/ 0 w 3"/>
                  <a:gd name="T3" fmla="*/ 1 h 2"/>
                  <a:gd name="T4" fmla="*/ 2 w 3"/>
                  <a:gd name="T5" fmla="*/ 0 h 2"/>
                </a:gdLst>
                <a:ahLst/>
                <a:cxnLst>
                  <a:cxn ang="0">
                    <a:pos x="T0" y="T1"/>
                  </a:cxn>
                  <a:cxn ang="0">
                    <a:pos x="T2" y="T3"/>
                  </a:cxn>
                  <a:cxn ang="0">
                    <a:pos x="T4" y="T5"/>
                  </a:cxn>
                </a:cxnLst>
                <a:rect l="0" t="0" r="r" b="b"/>
                <a:pathLst>
                  <a:path w="3" h="2">
                    <a:moveTo>
                      <a:pt x="2" y="0"/>
                    </a:moveTo>
                    <a:cubicBezTo>
                      <a:pt x="1" y="0"/>
                      <a:pt x="1" y="1"/>
                      <a:pt x="0" y="1"/>
                    </a:cubicBezTo>
                    <a:cubicBezTo>
                      <a:pt x="1" y="1"/>
                      <a:pt x="3"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9" name="Freeform 2970">
                <a:extLst>
                  <a:ext uri="{FF2B5EF4-FFF2-40B4-BE49-F238E27FC236}">
                    <a16:creationId xmlns:a16="http://schemas.microsoft.com/office/drawing/2014/main" id="{BD19A26B-5934-4AF7-AFD0-4BDC433F3012}"/>
                  </a:ext>
                </a:extLst>
              </p:cNvPr>
              <p:cNvSpPr>
                <a:spLocks/>
              </p:cNvSpPr>
              <p:nvPr/>
            </p:nvSpPr>
            <p:spPr bwMode="auto">
              <a:xfrm>
                <a:off x="1766" y="1723"/>
                <a:ext cx="48" cy="15"/>
              </a:xfrm>
              <a:custGeom>
                <a:avLst/>
                <a:gdLst>
                  <a:gd name="T0" fmla="*/ 16 w 20"/>
                  <a:gd name="T1" fmla="*/ 0 h 6"/>
                  <a:gd name="T2" fmla="*/ 9 w 20"/>
                  <a:gd name="T3" fmla="*/ 2 h 6"/>
                  <a:gd name="T4" fmla="*/ 6 w 20"/>
                  <a:gd name="T5" fmla="*/ 2 h 6"/>
                  <a:gd name="T6" fmla="*/ 2 w 20"/>
                  <a:gd name="T7" fmla="*/ 4 h 6"/>
                  <a:gd name="T8" fmla="*/ 1 w 20"/>
                  <a:gd name="T9" fmla="*/ 3 h 6"/>
                  <a:gd name="T10" fmla="*/ 1 w 20"/>
                  <a:gd name="T11" fmla="*/ 4 h 6"/>
                  <a:gd name="T12" fmla="*/ 1 w 20"/>
                  <a:gd name="T13" fmla="*/ 4 h 6"/>
                  <a:gd name="T14" fmla="*/ 0 w 20"/>
                  <a:gd name="T15" fmla="*/ 4 h 6"/>
                  <a:gd name="T16" fmla="*/ 0 w 20"/>
                  <a:gd name="T17" fmla="*/ 4 h 6"/>
                  <a:gd name="T18" fmla="*/ 1 w 20"/>
                  <a:gd name="T19" fmla="*/ 5 h 6"/>
                  <a:gd name="T20" fmla="*/ 1 w 20"/>
                  <a:gd name="T21" fmla="*/ 6 h 6"/>
                  <a:gd name="T22" fmla="*/ 1 w 20"/>
                  <a:gd name="T23" fmla="*/ 6 h 6"/>
                  <a:gd name="T24" fmla="*/ 4 w 20"/>
                  <a:gd name="T25" fmla="*/ 6 h 6"/>
                  <a:gd name="T26" fmla="*/ 5 w 20"/>
                  <a:gd name="T27" fmla="*/ 5 h 6"/>
                  <a:gd name="T28" fmla="*/ 7 w 20"/>
                  <a:gd name="T29" fmla="*/ 5 h 6"/>
                  <a:gd name="T30" fmla="*/ 10 w 20"/>
                  <a:gd name="T31" fmla="*/ 5 h 6"/>
                  <a:gd name="T32" fmla="*/ 11 w 20"/>
                  <a:gd name="T33" fmla="*/ 4 h 6"/>
                  <a:gd name="T34" fmla="*/ 11 w 20"/>
                  <a:gd name="T35" fmla="*/ 4 h 6"/>
                  <a:gd name="T36" fmla="*/ 13 w 20"/>
                  <a:gd name="T37" fmla="*/ 4 h 6"/>
                  <a:gd name="T38" fmla="*/ 13 w 20"/>
                  <a:gd name="T39" fmla="*/ 3 h 6"/>
                  <a:gd name="T40" fmla="*/ 14 w 20"/>
                  <a:gd name="T41" fmla="*/ 3 h 6"/>
                  <a:gd name="T42" fmla="*/ 14 w 20"/>
                  <a:gd name="T43" fmla="*/ 3 h 6"/>
                  <a:gd name="T44" fmla="*/ 16 w 20"/>
                  <a:gd name="T45" fmla="*/ 3 h 6"/>
                  <a:gd name="T46" fmla="*/ 20 w 20"/>
                  <a:gd name="T47" fmla="*/ 1 h 6"/>
                  <a:gd name="T48" fmla="*/ 14 w 20"/>
                  <a:gd name="T49" fmla="*/ 1 h 6"/>
                  <a:gd name="T50" fmla="*/ 16 w 20"/>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6">
                    <a:moveTo>
                      <a:pt x="16" y="0"/>
                    </a:moveTo>
                    <a:cubicBezTo>
                      <a:pt x="14" y="0"/>
                      <a:pt x="11" y="1"/>
                      <a:pt x="9" y="2"/>
                    </a:cubicBezTo>
                    <a:cubicBezTo>
                      <a:pt x="8" y="2"/>
                      <a:pt x="7" y="2"/>
                      <a:pt x="6" y="2"/>
                    </a:cubicBezTo>
                    <a:cubicBezTo>
                      <a:pt x="5" y="3"/>
                      <a:pt x="1" y="2"/>
                      <a:pt x="2" y="4"/>
                    </a:cubicBezTo>
                    <a:cubicBezTo>
                      <a:pt x="1" y="3"/>
                      <a:pt x="1" y="3"/>
                      <a:pt x="1" y="3"/>
                    </a:cubicBezTo>
                    <a:cubicBezTo>
                      <a:pt x="1" y="3"/>
                      <a:pt x="1" y="3"/>
                      <a:pt x="1" y="4"/>
                    </a:cubicBezTo>
                    <a:cubicBezTo>
                      <a:pt x="1" y="4"/>
                      <a:pt x="1" y="4"/>
                      <a:pt x="1" y="4"/>
                    </a:cubicBezTo>
                    <a:cubicBezTo>
                      <a:pt x="1" y="4"/>
                      <a:pt x="1" y="4"/>
                      <a:pt x="0" y="4"/>
                    </a:cubicBezTo>
                    <a:cubicBezTo>
                      <a:pt x="0" y="4"/>
                      <a:pt x="0" y="4"/>
                      <a:pt x="0" y="4"/>
                    </a:cubicBezTo>
                    <a:cubicBezTo>
                      <a:pt x="1" y="4"/>
                      <a:pt x="1" y="5"/>
                      <a:pt x="1" y="5"/>
                    </a:cubicBezTo>
                    <a:cubicBezTo>
                      <a:pt x="1" y="5"/>
                      <a:pt x="1" y="6"/>
                      <a:pt x="1" y="6"/>
                    </a:cubicBezTo>
                    <a:cubicBezTo>
                      <a:pt x="1" y="6"/>
                      <a:pt x="1" y="6"/>
                      <a:pt x="1" y="6"/>
                    </a:cubicBezTo>
                    <a:cubicBezTo>
                      <a:pt x="2" y="6"/>
                      <a:pt x="3" y="6"/>
                      <a:pt x="4" y="6"/>
                    </a:cubicBezTo>
                    <a:cubicBezTo>
                      <a:pt x="5" y="6"/>
                      <a:pt x="5" y="5"/>
                      <a:pt x="5" y="5"/>
                    </a:cubicBezTo>
                    <a:cubicBezTo>
                      <a:pt x="6" y="5"/>
                      <a:pt x="6" y="5"/>
                      <a:pt x="7" y="5"/>
                    </a:cubicBezTo>
                    <a:cubicBezTo>
                      <a:pt x="8" y="5"/>
                      <a:pt x="9" y="5"/>
                      <a:pt x="10" y="5"/>
                    </a:cubicBezTo>
                    <a:cubicBezTo>
                      <a:pt x="10" y="4"/>
                      <a:pt x="11" y="4"/>
                      <a:pt x="11" y="4"/>
                    </a:cubicBezTo>
                    <a:cubicBezTo>
                      <a:pt x="11" y="4"/>
                      <a:pt x="11" y="4"/>
                      <a:pt x="11" y="4"/>
                    </a:cubicBezTo>
                    <a:cubicBezTo>
                      <a:pt x="12" y="4"/>
                      <a:pt x="12" y="4"/>
                      <a:pt x="13" y="4"/>
                    </a:cubicBezTo>
                    <a:cubicBezTo>
                      <a:pt x="13" y="4"/>
                      <a:pt x="13" y="4"/>
                      <a:pt x="13" y="3"/>
                    </a:cubicBezTo>
                    <a:cubicBezTo>
                      <a:pt x="14" y="3"/>
                      <a:pt x="14" y="3"/>
                      <a:pt x="14" y="3"/>
                    </a:cubicBezTo>
                    <a:cubicBezTo>
                      <a:pt x="14" y="3"/>
                      <a:pt x="14" y="3"/>
                      <a:pt x="14" y="3"/>
                    </a:cubicBezTo>
                    <a:cubicBezTo>
                      <a:pt x="15" y="3"/>
                      <a:pt x="15" y="3"/>
                      <a:pt x="16" y="3"/>
                    </a:cubicBezTo>
                    <a:cubicBezTo>
                      <a:pt x="17" y="2"/>
                      <a:pt x="18" y="1"/>
                      <a:pt x="20" y="1"/>
                    </a:cubicBezTo>
                    <a:cubicBezTo>
                      <a:pt x="18" y="1"/>
                      <a:pt x="16" y="1"/>
                      <a:pt x="14" y="1"/>
                    </a:cubicBezTo>
                    <a:cubicBezTo>
                      <a:pt x="15" y="1"/>
                      <a:pt x="15"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0" name="Freeform 2971">
                <a:extLst>
                  <a:ext uri="{FF2B5EF4-FFF2-40B4-BE49-F238E27FC236}">
                    <a16:creationId xmlns:a16="http://schemas.microsoft.com/office/drawing/2014/main" id="{CF7FEF50-3CC8-4331-835A-D12BDB6E0E54}"/>
                  </a:ext>
                </a:extLst>
              </p:cNvPr>
              <p:cNvSpPr>
                <a:spLocks/>
              </p:cNvSpPr>
              <p:nvPr/>
            </p:nvSpPr>
            <p:spPr bwMode="auto">
              <a:xfrm>
                <a:off x="1991" y="1534"/>
                <a:ext cx="62" cy="36"/>
              </a:xfrm>
              <a:custGeom>
                <a:avLst/>
                <a:gdLst>
                  <a:gd name="T0" fmla="*/ 26 w 26"/>
                  <a:gd name="T1" fmla="*/ 8 h 15"/>
                  <a:gd name="T2" fmla="*/ 22 w 26"/>
                  <a:gd name="T3" fmla="*/ 8 h 15"/>
                  <a:gd name="T4" fmla="*/ 6 w 26"/>
                  <a:gd name="T5" fmla="*/ 8 h 15"/>
                  <a:gd name="T6" fmla="*/ 6 w 26"/>
                  <a:gd name="T7" fmla="*/ 6 h 15"/>
                  <a:gd name="T8" fmla="*/ 4 w 26"/>
                  <a:gd name="T9" fmla="*/ 4 h 15"/>
                  <a:gd name="T10" fmla="*/ 5 w 26"/>
                  <a:gd name="T11" fmla="*/ 3 h 15"/>
                  <a:gd name="T12" fmla="*/ 5 w 26"/>
                  <a:gd name="T13" fmla="*/ 0 h 15"/>
                  <a:gd name="T14" fmla="*/ 3 w 26"/>
                  <a:gd name="T15" fmla="*/ 2 h 15"/>
                  <a:gd name="T16" fmla="*/ 2 w 26"/>
                  <a:gd name="T17" fmla="*/ 4 h 15"/>
                  <a:gd name="T18" fmla="*/ 2 w 26"/>
                  <a:gd name="T19" fmla="*/ 6 h 15"/>
                  <a:gd name="T20" fmla="*/ 4 w 26"/>
                  <a:gd name="T21" fmla="*/ 6 h 15"/>
                  <a:gd name="T22" fmla="*/ 5 w 26"/>
                  <a:gd name="T23" fmla="*/ 9 h 15"/>
                  <a:gd name="T24" fmla="*/ 6 w 26"/>
                  <a:gd name="T25" fmla="*/ 9 h 15"/>
                  <a:gd name="T26" fmla="*/ 8 w 26"/>
                  <a:gd name="T27" fmla="*/ 10 h 15"/>
                  <a:gd name="T28" fmla="*/ 11 w 26"/>
                  <a:gd name="T29" fmla="*/ 11 h 15"/>
                  <a:gd name="T30" fmla="*/ 13 w 26"/>
                  <a:gd name="T31" fmla="*/ 12 h 15"/>
                  <a:gd name="T32" fmla="*/ 13 w 26"/>
                  <a:gd name="T33" fmla="*/ 11 h 15"/>
                  <a:gd name="T34" fmla="*/ 15 w 26"/>
                  <a:gd name="T35" fmla="*/ 13 h 15"/>
                  <a:gd name="T36" fmla="*/ 17 w 26"/>
                  <a:gd name="T37" fmla="*/ 14 h 15"/>
                  <a:gd name="T38" fmla="*/ 21 w 26"/>
                  <a:gd name="T39" fmla="*/ 14 h 15"/>
                  <a:gd name="T40" fmla="*/ 20 w 26"/>
                  <a:gd name="T41" fmla="*/ 13 h 15"/>
                  <a:gd name="T42" fmla="*/ 21 w 26"/>
                  <a:gd name="T43" fmla="*/ 13 h 15"/>
                  <a:gd name="T44" fmla="*/ 19 w 26"/>
                  <a:gd name="T45" fmla="*/ 12 h 15"/>
                  <a:gd name="T46" fmla="*/ 21 w 26"/>
                  <a:gd name="T47" fmla="*/ 12 h 15"/>
                  <a:gd name="T48" fmla="*/ 20 w 26"/>
                  <a:gd name="T49" fmla="*/ 11 h 15"/>
                  <a:gd name="T50" fmla="*/ 21 w 26"/>
                  <a:gd name="T51" fmla="*/ 10 h 15"/>
                  <a:gd name="T52" fmla="*/ 22 w 26"/>
                  <a:gd name="T53" fmla="*/ 10 h 15"/>
                  <a:gd name="T54" fmla="*/ 22 w 26"/>
                  <a:gd name="T55" fmla="*/ 10 h 15"/>
                  <a:gd name="T56" fmla="*/ 26 w 26"/>
                  <a:gd name="T5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15">
                    <a:moveTo>
                      <a:pt x="26" y="8"/>
                    </a:moveTo>
                    <a:cubicBezTo>
                      <a:pt x="24" y="8"/>
                      <a:pt x="23" y="8"/>
                      <a:pt x="22" y="8"/>
                    </a:cubicBezTo>
                    <a:cubicBezTo>
                      <a:pt x="17" y="8"/>
                      <a:pt x="12" y="8"/>
                      <a:pt x="6" y="8"/>
                    </a:cubicBezTo>
                    <a:cubicBezTo>
                      <a:pt x="5" y="8"/>
                      <a:pt x="8" y="7"/>
                      <a:pt x="6" y="6"/>
                    </a:cubicBezTo>
                    <a:cubicBezTo>
                      <a:pt x="7" y="6"/>
                      <a:pt x="4" y="4"/>
                      <a:pt x="4" y="4"/>
                    </a:cubicBezTo>
                    <a:cubicBezTo>
                      <a:pt x="4" y="4"/>
                      <a:pt x="5" y="3"/>
                      <a:pt x="5" y="3"/>
                    </a:cubicBezTo>
                    <a:cubicBezTo>
                      <a:pt x="6" y="2"/>
                      <a:pt x="5" y="1"/>
                      <a:pt x="5" y="0"/>
                    </a:cubicBezTo>
                    <a:cubicBezTo>
                      <a:pt x="5" y="1"/>
                      <a:pt x="4" y="1"/>
                      <a:pt x="3" y="2"/>
                    </a:cubicBezTo>
                    <a:cubicBezTo>
                      <a:pt x="3" y="2"/>
                      <a:pt x="3" y="3"/>
                      <a:pt x="2" y="4"/>
                    </a:cubicBezTo>
                    <a:cubicBezTo>
                      <a:pt x="1" y="5"/>
                      <a:pt x="0" y="5"/>
                      <a:pt x="2" y="6"/>
                    </a:cubicBezTo>
                    <a:cubicBezTo>
                      <a:pt x="2" y="6"/>
                      <a:pt x="4" y="6"/>
                      <a:pt x="4" y="6"/>
                    </a:cubicBezTo>
                    <a:cubicBezTo>
                      <a:pt x="5" y="7"/>
                      <a:pt x="3" y="9"/>
                      <a:pt x="5" y="9"/>
                    </a:cubicBezTo>
                    <a:cubicBezTo>
                      <a:pt x="6" y="9"/>
                      <a:pt x="6" y="9"/>
                      <a:pt x="6" y="9"/>
                    </a:cubicBezTo>
                    <a:cubicBezTo>
                      <a:pt x="7" y="9"/>
                      <a:pt x="7" y="9"/>
                      <a:pt x="8" y="10"/>
                    </a:cubicBezTo>
                    <a:cubicBezTo>
                      <a:pt x="9" y="11"/>
                      <a:pt x="10" y="11"/>
                      <a:pt x="11" y="11"/>
                    </a:cubicBezTo>
                    <a:cubicBezTo>
                      <a:pt x="11" y="12"/>
                      <a:pt x="12" y="12"/>
                      <a:pt x="13" y="12"/>
                    </a:cubicBezTo>
                    <a:cubicBezTo>
                      <a:pt x="13" y="12"/>
                      <a:pt x="14" y="11"/>
                      <a:pt x="13" y="11"/>
                    </a:cubicBezTo>
                    <a:cubicBezTo>
                      <a:pt x="14" y="11"/>
                      <a:pt x="15" y="11"/>
                      <a:pt x="15" y="13"/>
                    </a:cubicBezTo>
                    <a:cubicBezTo>
                      <a:pt x="15" y="13"/>
                      <a:pt x="16" y="14"/>
                      <a:pt x="17" y="14"/>
                    </a:cubicBezTo>
                    <a:cubicBezTo>
                      <a:pt x="18" y="15"/>
                      <a:pt x="20" y="15"/>
                      <a:pt x="21" y="14"/>
                    </a:cubicBezTo>
                    <a:cubicBezTo>
                      <a:pt x="21" y="14"/>
                      <a:pt x="20" y="13"/>
                      <a:pt x="20" y="13"/>
                    </a:cubicBezTo>
                    <a:cubicBezTo>
                      <a:pt x="20" y="13"/>
                      <a:pt x="21" y="13"/>
                      <a:pt x="21" y="13"/>
                    </a:cubicBezTo>
                    <a:cubicBezTo>
                      <a:pt x="21" y="13"/>
                      <a:pt x="20" y="12"/>
                      <a:pt x="19" y="12"/>
                    </a:cubicBezTo>
                    <a:cubicBezTo>
                      <a:pt x="20" y="12"/>
                      <a:pt x="20" y="12"/>
                      <a:pt x="21" y="12"/>
                    </a:cubicBezTo>
                    <a:cubicBezTo>
                      <a:pt x="20" y="11"/>
                      <a:pt x="20" y="11"/>
                      <a:pt x="20" y="11"/>
                    </a:cubicBezTo>
                    <a:cubicBezTo>
                      <a:pt x="21" y="11"/>
                      <a:pt x="22" y="11"/>
                      <a:pt x="21" y="10"/>
                    </a:cubicBezTo>
                    <a:cubicBezTo>
                      <a:pt x="21" y="11"/>
                      <a:pt x="22" y="11"/>
                      <a:pt x="22" y="10"/>
                    </a:cubicBezTo>
                    <a:cubicBezTo>
                      <a:pt x="22" y="10"/>
                      <a:pt x="22" y="10"/>
                      <a:pt x="22" y="10"/>
                    </a:cubicBezTo>
                    <a:cubicBezTo>
                      <a:pt x="22" y="10"/>
                      <a:pt x="25" y="9"/>
                      <a:pt x="2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1" name="Freeform 2972">
                <a:extLst>
                  <a:ext uri="{FF2B5EF4-FFF2-40B4-BE49-F238E27FC236}">
                    <a16:creationId xmlns:a16="http://schemas.microsoft.com/office/drawing/2014/main" id="{B1BB1BAE-6254-441A-A1D1-8322CE1C657E}"/>
                  </a:ext>
                </a:extLst>
              </p:cNvPr>
              <p:cNvSpPr>
                <a:spLocks/>
              </p:cNvSpPr>
              <p:nvPr/>
            </p:nvSpPr>
            <p:spPr bwMode="auto">
              <a:xfrm>
                <a:off x="1724" y="1861"/>
                <a:ext cx="2" cy="11"/>
              </a:xfrm>
              <a:custGeom>
                <a:avLst/>
                <a:gdLst>
                  <a:gd name="T0" fmla="*/ 1 w 1"/>
                  <a:gd name="T1" fmla="*/ 5 h 5"/>
                  <a:gd name="T2" fmla="*/ 1 w 1"/>
                  <a:gd name="T3" fmla="*/ 3 h 5"/>
                  <a:gd name="T4" fmla="*/ 1 w 1"/>
                  <a:gd name="T5" fmla="*/ 2 h 5"/>
                  <a:gd name="T6" fmla="*/ 1 w 1"/>
                  <a:gd name="T7" fmla="*/ 2 h 5"/>
                  <a:gd name="T8" fmla="*/ 1 w 1"/>
                  <a:gd name="T9" fmla="*/ 0 h 5"/>
                  <a:gd name="T10" fmla="*/ 0 w 1"/>
                  <a:gd name="T11" fmla="*/ 5 h 5"/>
                  <a:gd name="T12" fmla="*/ 1 w 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5"/>
                    </a:moveTo>
                    <a:cubicBezTo>
                      <a:pt x="1" y="4"/>
                      <a:pt x="1" y="3"/>
                      <a:pt x="1" y="3"/>
                    </a:cubicBezTo>
                    <a:cubicBezTo>
                      <a:pt x="1" y="3"/>
                      <a:pt x="1" y="2"/>
                      <a:pt x="1" y="2"/>
                    </a:cubicBezTo>
                    <a:cubicBezTo>
                      <a:pt x="1" y="2"/>
                      <a:pt x="1" y="2"/>
                      <a:pt x="1" y="2"/>
                    </a:cubicBezTo>
                    <a:cubicBezTo>
                      <a:pt x="1" y="1"/>
                      <a:pt x="1" y="1"/>
                      <a:pt x="1" y="0"/>
                    </a:cubicBezTo>
                    <a:cubicBezTo>
                      <a:pt x="1" y="2"/>
                      <a:pt x="1" y="4"/>
                      <a:pt x="0" y="5"/>
                    </a:cubicBezTo>
                    <a:cubicBezTo>
                      <a:pt x="1"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2" name="Freeform 2973">
                <a:extLst>
                  <a:ext uri="{FF2B5EF4-FFF2-40B4-BE49-F238E27FC236}">
                    <a16:creationId xmlns:a16="http://schemas.microsoft.com/office/drawing/2014/main" id="{1547B0E1-1EAE-48AA-9B9F-D61802312C53}"/>
                  </a:ext>
                </a:extLst>
              </p:cNvPr>
              <p:cNvSpPr>
                <a:spLocks/>
              </p:cNvSpPr>
              <p:nvPr/>
            </p:nvSpPr>
            <p:spPr bwMode="auto">
              <a:xfrm>
                <a:off x="1764" y="172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3" name="Freeform 2974">
                <a:extLst>
                  <a:ext uri="{FF2B5EF4-FFF2-40B4-BE49-F238E27FC236}">
                    <a16:creationId xmlns:a16="http://schemas.microsoft.com/office/drawing/2014/main" id="{6EAC969C-6F87-45A3-9B0F-95BF346C0378}"/>
                  </a:ext>
                </a:extLst>
              </p:cNvPr>
              <p:cNvSpPr>
                <a:spLocks/>
              </p:cNvSpPr>
              <p:nvPr/>
            </p:nvSpPr>
            <p:spPr bwMode="auto">
              <a:xfrm>
                <a:off x="1674" y="1636"/>
                <a:ext cx="19" cy="7"/>
              </a:xfrm>
              <a:custGeom>
                <a:avLst/>
                <a:gdLst>
                  <a:gd name="T0" fmla="*/ 1 w 8"/>
                  <a:gd name="T1" fmla="*/ 1 h 3"/>
                  <a:gd name="T2" fmla="*/ 1 w 8"/>
                  <a:gd name="T3" fmla="*/ 2 h 3"/>
                  <a:gd name="T4" fmla="*/ 1 w 8"/>
                  <a:gd name="T5" fmla="*/ 2 h 3"/>
                  <a:gd name="T6" fmla="*/ 1 w 8"/>
                  <a:gd name="T7" fmla="*/ 2 h 3"/>
                  <a:gd name="T8" fmla="*/ 1 w 8"/>
                  <a:gd name="T9" fmla="*/ 2 h 3"/>
                  <a:gd name="T10" fmla="*/ 1 w 8"/>
                  <a:gd name="T11" fmla="*/ 2 h 3"/>
                  <a:gd name="T12" fmla="*/ 2 w 8"/>
                  <a:gd name="T13" fmla="*/ 2 h 3"/>
                  <a:gd name="T14" fmla="*/ 3 w 8"/>
                  <a:gd name="T15" fmla="*/ 2 h 3"/>
                  <a:gd name="T16" fmla="*/ 3 w 8"/>
                  <a:gd name="T17" fmla="*/ 2 h 3"/>
                  <a:gd name="T18" fmla="*/ 4 w 8"/>
                  <a:gd name="T19" fmla="*/ 2 h 3"/>
                  <a:gd name="T20" fmla="*/ 4 w 8"/>
                  <a:gd name="T21" fmla="*/ 2 h 3"/>
                  <a:gd name="T22" fmla="*/ 4 w 8"/>
                  <a:gd name="T23" fmla="*/ 2 h 3"/>
                  <a:gd name="T24" fmla="*/ 4 w 8"/>
                  <a:gd name="T25" fmla="*/ 2 h 3"/>
                  <a:gd name="T26" fmla="*/ 3 w 8"/>
                  <a:gd name="T27" fmla="*/ 2 h 3"/>
                  <a:gd name="T28" fmla="*/ 3 w 8"/>
                  <a:gd name="T29" fmla="*/ 3 h 3"/>
                  <a:gd name="T30" fmla="*/ 3 w 8"/>
                  <a:gd name="T31" fmla="*/ 3 h 3"/>
                  <a:gd name="T32" fmla="*/ 3 w 8"/>
                  <a:gd name="T33" fmla="*/ 3 h 3"/>
                  <a:gd name="T34" fmla="*/ 4 w 8"/>
                  <a:gd name="T35" fmla="*/ 3 h 3"/>
                  <a:gd name="T36" fmla="*/ 4 w 8"/>
                  <a:gd name="T37" fmla="*/ 3 h 3"/>
                  <a:gd name="T38" fmla="*/ 4 w 8"/>
                  <a:gd name="T39" fmla="*/ 3 h 3"/>
                  <a:gd name="T40" fmla="*/ 4 w 8"/>
                  <a:gd name="T41" fmla="*/ 3 h 3"/>
                  <a:gd name="T42" fmla="*/ 4 w 8"/>
                  <a:gd name="T43" fmla="*/ 3 h 3"/>
                  <a:gd name="T44" fmla="*/ 4 w 8"/>
                  <a:gd name="T45" fmla="*/ 3 h 3"/>
                  <a:gd name="T46" fmla="*/ 4 w 8"/>
                  <a:gd name="T47" fmla="*/ 3 h 3"/>
                  <a:gd name="T48" fmla="*/ 4 w 8"/>
                  <a:gd name="T49" fmla="*/ 3 h 3"/>
                  <a:gd name="T50" fmla="*/ 4 w 8"/>
                  <a:gd name="T51" fmla="*/ 3 h 3"/>
                  <a:gd name="T52" fmla="*/ 5 w 8"/>
                  <a:gd name="T53" fmla="*/ 3 h 3"/>
                  <a:gd name="T54" fmla="*/ 5 w 8"/>
                  <a:gd name="T55" fmla="*/ 3 h 3"/>
                  <a:gd name="T56" fmla="*/ 6 w 8"/>
                  <a:gd name="T57" fmla="*/ 3 h 3"/>
                  <a:gd name="T58" fmla="*/ 8 w 8"/>
                  <a:gd name="T59" fmla="*/ 1 h 3"/>
                  <a:gd name="T60" fmla="*/ 8 w 8"/>
                  <a:gd name="T61" fmla="*/ 0 h 3"/>
                  <a:gd name="T62" fmla="*/ 5 w 8"/>
                  <a:gd name="T63" fmla="*/ 1 h 3"/>
                  <a:gd name="T64" fmla="*/ 5 w 8"/>
                  <a:gd name="T65" fmla="*/ 1 h 3"/>
                  <a:gd name="T66" fmla="*/ 6 w 8"/>
                  <a:gd name="T67" fmla="*/ 0 h 3"/>
                  <a:gd name="T68" fmla="*/ 5 w 8"/>
                  <a:gd name="T69" fmla="*/ 0 h 3"/>
                  <a:gd name="T70" fmla="*/ 3 w 8"/>
                  <a:gd name="T71" fmla="*/ 0 h 3"/>
                  <a:gd name="T72" fmla="*/ 3 w 8"/>
                  <a:gd name="T73" fmla="*/ 0 h 3"/>
                  <a:gd name="T74" fmla="*/ 3 w 8"/>
                  <a:gd name="T75" fmla="*/ 0 h 3"/>
                  <a:gd name="T76" fmla="*/ 2 w 8"/>
                  <a:gd name="T77" fmla="*/ 0 h 3"/>
                  <a:gd name="T78" fmla="*/ 1 w 8"/>
                  <a:gd name="T79" fmla="*/ 0 h 3"/>
                  <a:gd name="T80" fmla="*/ 1 w 8"/>
                  <a:gd name="T81" fmla="*/ 1 h 3"/>
                  <a:gd name="T82" fmla="*/ 0 w 8"/>
                  <a:gd name="T83" fmla="*/ 2 h 3"/>
                  <a:gd name="T84" fmla="*/ 1 w 8"/>
                  <a:gd name="T8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3">
                    <a:moveTo>
                      <a:pt x="1" y="1"/>
                    </a:move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2" y="2"/>
                    </a:cubicBezTo>
                    <a:cubicBezTo>
                      <a:pt x="2" y="2"/>
                      <a:pt x="2" y="2"/>
                      <a:pt x="2" y="2"/>
                    </a:cubicBezTo>
                    <a:cubicBezTo>
                      <a:pt x="2" y="2"/>
                      <a:pt x="2" y="2"/>
                      <a:pt x="2" y="2"/>
                    </a:cubicBezTo>
                    <a:cubicBezTo>
                      <a:pt x="2" y="2"/>
                      <a:pt x="3" y="2"/>
                      <a:pt x="3" y="2"/>
                    </a:cubicBezTo>
                    <a:cubicBezTo>
                      <a:pt x="3" y="2"/>
                      <a:pt x="3" y="2"/>
                      <a:pt x="3" y="2"/>
                    </a:cubicBezTo>
                    <a:cubicBezTo>
                      <a:pt x="3" y="2"/>
                      <a:pt x="3" y="2"/>
                      <a:pt x="3"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3" y="2"/>
                      <a:pt x="3" y="2"/>
                      <a:pt x="3" y="2"/>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5" y="3"/>
                    </a:cubicBezTo>
                    <a:cubicBezTo>
                      <a:pt x="5" y="3"/>
                      <a:pt x="5" y="3"/>
                      <a:pt x="5" y="3"/>
                    </a:cubicBezTo>
                    <a:cubicBezTo>
                      <a:pt x="5" y="3"/>
                      <a:pt x="5" y="3"/>
                      <a:pt x="5" y="3"/>
                    </a:cubicBezTo>
                    <a:cubicBezTo>
                      <a:pt x="5" y="3"/>
                      <a:pt x="5" y="3"/>
                      <a:pt x="5" y="3"/>
                    </a:cubicBezTo>
                    <a:cubicBezTo>
                      <a:pt x="5" y="3"/>
                      <a:pt x="5" y="3"/>
                      <a:pt x="5" y="3"/>
                    </a:cubicBezTo>
                    <a:cubicBezTo>
                      <a:pt x="6" y="3"/>
                      <a:pt x="6" y="3"/>
                      <a:pt x="6" y="3"/>
                    </a:cubicBezTo>
                    <a:cubicBezTo>
                      <a:pt x="7" y="1"/>
                      <a:pt x="7" y="1"/>
                      <a:pt x="7" y="1"/>
                    </a:cubicBezTo>
                    <a:cubicBezTo>
                      <a:pt x="8" y="1"/>
                      <a:pt x="8" y="1"/>
                      <a:pt x="8" y="1"/>
                    </a:cubicBezTo>
                    <a:cubicBezTo>
                      <a:pt x="8" y="0"/>
                      <a:pt x="8" y="0"/>
                      <a:pt x="8" y="0"/>
                    </a:cubicBezTo>
                    <a:cubicBezTo>
                      <a:pt x="8" y="0"/>
                      <a:pt x="8" y="0"/>
                      <a:pt x="8" y="0"/>
                    </a:cubicBezTo>
                    <a:cubicBezTo>
                      <a:pt x="5" y="2"/>
                      <a:pt x="7" y="1"/>
                      <a:pt x="5" y="1"/>
                    </a:cubicBezTo>
                    <a:cubicBezTo>
                      <a:pt x="5" y="1"/>
                      <a:pt x="5" y="1"/>
                      <a:pt x="5" y="1"/>
                    </a:cubicBezTo>
                    <a:cubicBezTo>
                      <a:pt x="5" y="1"/>
                      <a:pt x="5" y="1"/>
                      <a:pt x="5" y="1"/>
                    </a:cubicBezTo>
                    <a:cubicBezTo>
                      <a:pt x="5" y="1"/>
                      <a:pt x="5" y="1"/>
                      <a:pt x="5" y="1"/>
                    </a:cubicBezTo>
                    <a:cubicBezTo>
                      <a:pt x="5" y="1"/>
                      <a:pt x="6" y="0"/>
                      <a:pt x="6" y="0"/>
                    </a:cubicBezTo>
                    <a:cubicBezTo>
                      <a:pt x="6" y="0"/>
                      <a:pt x="6" y="0"/>
                      <a:pt x="6" y="0"/>
                    </a:cubicBezTo>
                    <a:cubicBezTo>
                      <a:pt x="6" y="0"/>
                      <a:pt x="6" y="0"/>
                      <a:pt x="6" y="0"/>
                    </a:cubicBezTo>
                    <a:cubicBezTo>
                      <a:pt x="5" y="0"/>
                      <a:pt x="5" y="0"/>
                      <a:pt x="5" y="0"/>
                    </a:cubicBezTo>
                    <a:cubicBezTo>
                      <a:pt x="4" y="0"/>
                      <a:pt x="4"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2" y="0"/>
                      <a:pt x="2" y="0"/>
                      <a:pt x="2"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0" y="2"/>
                      <a:pt x="0" y="2"/>
                      <a:pt x="0" y="2"/>
                    </a:cubicBezTo>
                    <a:cubicBezTo>
                      <a:pt x="0" y="1"/>
                      <a:pt x="0" y="1"/>
                      <a:pt x="0" y="1"/>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4" name="Freeform 2975">
                <a:extLst>
                  <a:ext uri="{FF2B5EF4-FFF2-40B4-BE49-F238E27FC236}">
                    <a16:creationId xmlns:a16="http://schemas.microsoft.com/office/drawing/2014/main" id="{775004A0-7FED-4879-A935-B1E3BB4B0BDE}"/>
                  </a:ext>
                </a:extLst>
              </p:cNvPr>
              <p:cNvSpPr>
                <a:spLocks/>
              </p:cNvSpPr>
              <p:nvPr/>
            </p:nvSpPr>
            <p:spPr bwMode="auto">
              <a:xfrm>
                <a:off x="1764" y="1719"/>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5" name="Freeform 2976">
                <a:extLst>
                  <a:ext uri="{FF2B5EF4-FFF2-40B4-BE49-F238E27FC236}">
                    <a16:creationId xmlns:a16="http://schemas.microsoft.com/office/drawing/2014/main" id="{939651B6-AB92-4B3E-A5DF-3B8DF885E065}"/>
                  </a:ext>
                </a:extLst>
              </p:cNvPr>
              <p:cNvSpPr>
                <a:spLocks/>
              </p:cNvSpPr>
              <p:nvPr/>
            </p:nvSpPr>
            <p:spPr bwMode="auto">
              <a:xfrm>
                <a:off x="1894" y="4186"/>
                <a:ext cx="83" cy="76"/>
              </a:xfrm>
              <a:custGeom>
                <a:avLst/>
                <a:gdLst>
                  <a:gd name="T0" fmla="*/ 30 w 35"/>
                  <a:gd name="T1" fmla="*/ 26 h 32"/>
                  <a:gd name="T2" fmla="*/ 20 w 35"/>
                  <a:gd name="T3" fmla="*/ 22 h 32"/>
                  <a:gd name="T4" fmla="*/ 11 w 35"/>
                  <a:gd name="T5" fmla="*/ 17 h 32"/>
                  <a:gd name="T6" fmla="*/ 6 w 35"/>
                  <a:gd name="T7" fmla="*/ 12 h 32"/>
                  <a:gd name="T8" fmla="*/ 3 w 35"/>
                  <a:gd name="T9" fmla="*/ 8 h 32"/>
                  <a:gd name="T10" fmla="*/ 1 w 35"/>
                  <a:gd name="T11" fmla="*/ 7 h 32"/>
                  <a:gd name="T12" fmla="*/ 0 w 35"/>
                  <a:gd name="T13" fmla="*/ 6 h 32"/>
                  <a:gd name="T14" fmla="*/ 0 w 35"/>
                  <a:gd name="T15" fmla="*/ 6 h 32"/>
                  <a:gd name="T16" fmla="*/ 0 w 35"/>
                  <a:gd name="T17" fmla="*/ 5 h 32"/>
                  <a:gd name="T18" fmla="*/ 2 w 35"/>
                  <a:gd name="T19" fmla="*/ 3 h 32"/>
                  <a:gd name="T20" fmla="*/ 0 w 35"/>
                  <a:gd name="T21" fmla="*/ 0 h 32"/>
                  <a:gd name="T22" fmla="*/ 0 w 35"/>
                  <a:gd name="T23" fmla="*/ 30 h 32"/>
                  <a:gd name="T24" fmla="*/ 12 w 35"/>
                  <a:gd name="T25" fmla="*/ 30 h 32"/>
                  <a:gd name="T26" fmla="*/ 11 w 35"/>
                  <a:gd name="T27" fmla="*/ 30 h 32"/>
                  <a:gd name="T28" fmla="*/ 11 w 35"/>
                  <a:gd name="T29" fmla="*/ 30 h 32"/>
                  <a:gd name="T30" fmla="*/ 19 w 35"/>
                  <a:gd name="T31" fmla="*/ 32 h 32"/>
                  <a:gd name="T32" fmla="*/ 22 w 35"/>
                  <a:gd name="T33" fmla="*/ 32 h 32"/>
                  <a:gd name="T34" fmla="*/ 32 w 35"/>
                  <a:gd name="T35" fmla="*/ 30 h 32"/>
                  <a:gd name="T36" fmla="*/ 35 w 35"/>
                  <a:gd name="T37" fmla="*/ 26 h 32"/>
                  <a:gd name="T38" fmla="*/ 30 w 35"/>
                  <a:gd name="T3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32">
                    <a:moveTo>
                      <a:pt x="30" y="26"/>
                    </a:moveTo>
                    <a:cubicBezTo>
                      <a:pt x="26" y="27"/>
                      <a:pt x="23" y="24"/>
                      <a:pt x="20" y="22"/>
                    </a:cubicBezTo>
                    <a:cubicBezTo>
                      <a:pt x="17" y="20"/>
                      <a:pt x="14" y="19"/>
                      <a:pt x="11" y="17"/>
                    </a:cubicBezTo>
                    <a:cubicBezTo>
                      <a:pt x="9" y="16"/>
                      <a:pt x="8" y="14"/>
                      <a:pt x="6" y="12"/>
                    </a:cubicBezTo>
                    <a:cubicBezTo>
                      <a:pt x="5" y="11"/>
                      <a:pt x="4" y="10"/>
                      <a:pt x="3" y="8"/>
                    </a:cubicBezTo>
                    <a:cubicBezTo>
                      <a:pt x="2" y="7"/>
                      <a:pt x="2" y="8"/>
                      <a:pt x="1" y="7"/>
                    </a:cubicBezTo>
                    <a:cubicBezTo>
                      <a:pt x="0" y="7"/>
                      <a:pt x="0" y="7"/>
                      <a:pt x="0" y="6"/>
                    </a:cubicBezTo>
                    <a:cubicBezTo>
                      <a:pt x="0" y="6"/>
                      <a:pt x="0" y="6"/>
                      <a:pt x="0" y="6"/>
                    </a:cubicBezTo>
                    <a:cubicBezTo>
                      <a:pt x="0" y="5"/>
                      <a:pt x="0" y="5"/>
                      <a:pt x="0" y="5"/>
                    </a:cubicBezTo>
                    <a:cubicBezTo>
                      <a:pt x="0" y="4"/>
                      <a:pt x="1" y="3"/>
                      <a:pt x="2" y="3"/>
                    </a:cubicBezTo>
                    <a:cubicBezTo>
                      <a:pt x="1" y="2"/>
                      <a:pt x="1" y="1"/>
                      <a:pt x="0" y="0"/>
                    </a:cubicBezTo>
                    <a:cubicBezTo>
                      <a:pt x="0" y="12"/>
                      <a:pt x="0" y="27"/>
                      <a:pt x="0" y="30"/>
                    </a:cubicBezTo>
                    <a:cubicBezTo>
                      <a:pt x="4" y="30"/>
                      <a:pt x="8" y="30"/>
                      <a:pt x="12" y="30"/>
                    </a:cubicBezTo>
                    <a:cubicBezTo>
                      <a:pt x="12" y="30"/>
                      <a:pt x="11" y="30"/>
                      <a:pt x="11" y="30"/>
                    </a:cubicBezTo>
                    <a:cubicBezTo>
                      <a:pt x="11" y="30"/>
                      <a:pt x="11" y="30"/>
                      <a:pt x="11" y="30"/>
                    </a:cubicBezTo>
                    <a:cubicBezTo>
                      <a:pt x="14" y="30"/>
                      <a:pt x="17" y="31"/>
                      <a:pt x="19" y="32"/>
                    </a:cubicBezTo>
                    <a:cubicBezTo>
                      <a:pt x="20" y="32"/>
                      <a:pt x="21" y="32"/>
                      <a:pt x="22" y="32"/>
                    </a:cubicBezTo>
                    <a:cubicBezTo>
                      <a:pt x="26" y="31"/>
                      <a:pt x="29" y="31"/>
                      <a:pt x="32" y="30"/>
                    </a:cubicBezTo>
                    <a:cubicBezTo>
                      <a:pt x="34" y="30"/>
                      <a:pt x="34" y="27"/>
                      <a:pt x="35" y="26"/>
                    </a:cubicBezTo>
                    <a:cubicBezTo>
                      <a:pt x="33" y="26"/>
                      <a:pt x="31" y="26"/>
                      <a:pt x="3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6" name="Freeform 2977">
                <a:extLst>
                  <a:ext uri="{FF2B5EF4-FFF2-40B4-BE49-F238E27FC236}">
                    <a16:creationId xmlns:a16="http://schemas.microsoft.com/office/drawing/2014/main" id="{BDBEAEAE-B7F7-41F3-B7B8-6E0667DB42FD}"/>
                  </a:ext>
                </a:extLst>
              </p:cNvPr>
              <p:cNvSpPr>
                <a:spLocks/>
              </p:cNvSpPr>
              <p:nvPr/>
            </p:nvSpPr>
            <p:spPr bwMode="auto">
              <a:xfrm>
                <a:off x="3667" y="678"/>
                <a:ext cx="634" cy="513"/>
              </a:xfrm>
              <a:custGeom>
                <a:avLst/>
                <a:gdLst>
                  <a:gd name="T0" fmla="*/ 70 w 268"/>
                  <a:gd name="T1" fmla="*/ 191 h 217"/>
                  <a:gd name="T2" fmla="*/ 74 w 268"/>
                  <a:gd name="T3" fmla="*/ 186 h 217"/>
                  <a:gd name="T4" fmla="*/ 76 w 268"/>
                  <a:gd name="T5" fmla="*/ 170 h 217"/>
                  <a:gd name="T6" fmla="*/ 74 w 268"/>
                  <a:gd name="T7" fmla="*/ 162 h 217"/>
                  <a:gd name="T8" fmla="*/ 72 w 268"/>
                  <a:gd name="T9" fmla="*/ 137 h 217"/>
                  <a:gd name="T10" fmla="*/ 86 w 268"/>
                  <a:gd name="T11" fmla="*/ 121 h 217"/>
                  <a:gd name="T12" fmla="*/ 92 w 268"/>
                  <a:gd name="T13" fmla="*/ 109 h 217"/>
                  <a:gd name="T14" fmla="*/ 98 w 268"/>
                  <a:gd name="T15" fmla="*/ 91 h 217"/>
                  <a:gd name="T16" fmla="*/ 116 w 268"/>
                  <a:gd name="T17" fmla="*/ 71 h 217"/>
                  <a:gd name="T18" fmla="*/ 129 w 268"/>
                  <a:gd name="T19" fmla="*/ 54 h 217"/>
                  <a:gd name="T20" fmla="*/ 154 w 268"/>
                  <a:gd name="T21" fmla="*/ 49 h 217"/>
                  <a:gd name="T22" fmla="*/ 164 w 268"/>
                  <a:gd name="T23" fmla="*/ 36 h 217"/>
                  <a:gd name="T24" fmla="*/ 192 w 268"/>
                  <a:gd name="T25" fmla="*/ 41 h 217"/>
                  <a:gd name="T26" fmla="*/ 213 w 268"/>
                  <a:gd name="T27" fmla="*/ 29 h 217"/>
                  <a:gd name="T28" fmla="*/ 230 w 268"/>
                  <a:gd name="T29" fmla="*/ 19 h 217"/>
                  <a:gd name="T30" fmla="*/ 250 w 268"/>
                  <a:gd name="T31" fmla="*/ 31 h 217"/>
                  <a:gd name="T32" fmla="*/ 263 w 268"/>
                  <a:gd name="T33" fmla="*/ 27 h 217"/>
                  <a:gd name="T34" fmla="*/ 253 w 268"/>
                  <a:gd name="T35" fmla="*/ 25 h 217"/>
                  <a:gd name="T36" fmla="*/ 258 w 268"/>
                  <a:gd name="T37" fmla="*/ 8 h 217"/>
                  <a:gd name="T38" fmla="*/ 235 w 268"/>
                  <a:gd name="T39" fmla="*/ 8 h 217"/>
                  <a:gd name="T40" fmla="*/ 230 w 268"/>
                  <a:gd name="T41" fmla="*/ 4 h 217"/>
                  <a:gd name="T42" fmla="*/ 220 w 268"/>
                  <a:gd name="T43" fmla="*/ 9 h 217"/>
                  <a:gd name="T44" fmla="*/ 206 w 268"/>
                  <a:gd name="T45" fmla="*/ 18 h 217"/>
                  <a:gd name="T46" fmla="*/ 202 w 268"/>
                  <a:gd name="T47" fmla="*/ 2 h 217"/>
                  <a:gd name="T48" fmla="*/ 187 w 268"/>
                  <a:gd name="T49" fmla="*/ 17 h 217"/>
                  <a:gd name="T50" fmla="*/ 180 w 268"/>
                  <a:gd name="T51" fmla="*/ 16 h 217"/>
                  <a:gd name="T52" fmla="*/ 175 w 268"/>
                  <a:gd name="T53" fmla="*/ 22 h 217"/>
                  <a:gd name="T54" fmla="*/ 156 w 268"/>
                  <a:gd name="T55" fmla="*/ 31 h 217"/>
                  <a:gd name="T56" fmla="*/ 150 w 268"/>
                  <a:gd name="T57" fmla="*/ 31 h 217"/>
                  <a:gd name="T58" fmla="*/ 142 w 268"/>
                  <a:gd name="T59" fmla="*/ 32 h 217"/>
                  <a:gd name="T60" fmla="*/ 129 w 268"/>
                  <a:gd name="T61" fmla="*/ 42 h 217"/>
                  <a:gd name="T62" fmla="*/ 121 w 268"/>
                  <a:gd name="T63" fmla="*/ 52 h 217"/>
                  <a:gd name="T64" fmla="*/ 119 w 268"/>
                  <a:gd name="T65" fmla="*/ 59 h 217"/>
                  <a:gd name="T66" fmla="*/ 106 w 268"/>
                  <a:gd name="T67" fmla="*/ 59 h 217"/>
                  <a:gd name="T68" fmla="*/ 111 w 268"/>
                  <a:gd name="T69" fmla="*/ 67 h 217"/>
                  <a:gd name="T70" fmla="*/ 108 w 268"/>
                  <a:gd name="T71" fmla="*/ 72 h 217"/>
                  <a:gd name="T72" fmla="*/ 86 w 268"/>
                  <a:gd name="T73" fmla="*/ 79 h 217"/>
                  <a:gd name="T74" fmla="*/ 88 w 268"/>
                  <a:gd name="T75" fmla="*/ 87 h 217"/>
                  <a:gd name="T76" fmla="*/ 80 w 268"/>
                  <a:gd name="T77" fmla="*/ 100 h 217"/>
                  <a:gd name="T78" fmla="*/ 75 w 268"/>
                  <a:gd name="T79" fmla="*/ 104 h 217"/>
                  <a:gd name="T80" fmla="*/ 69 w 268"/>
                  <a:gd name="T81" fmla="*/ 116 h 217"/>
                  <a:gd name="T82" fmla="*/ 51 w 268"/>
                  <a:gd name="T83" fmla="*/ 130 h 217"/>
                  <a:gd name="T84" fmla="*/ 61 w 268"/>
                  <a:gd name="T85" fmla="*/ 130 h 217"/>
                  <a:gd name="T86" fmla="*/ 34 w 268"/>
                  <a:gd name="T87" fmla="*/ 138 h 217"/>
                  <a:gd name="T88" fmla="*/ 24 w 268"/>
                  <a:gd name="T89" fmla="*/ 140 h 217"/>
                  <a:gd name="T90" fmla="*/ 14 w 268"/>
                  <a:gd name="T91" fmla="*/ 147 h 217"/>
                  <a:gd name="T92" fmla="*/ 19 w 268"/>
                  <a:gd name="T93" fmla="*/ 149 h 217"/>
                  <a:gd name="T94" fmla="*/ 4 w 268"/>
                  <a:gd name="T95" fmla="*/ 152 h 217"/>
                  <a:gd name="T96" fmla="*/ 4 w 268"/>
                  <a:gd name="T97" fmla="*/ 158 h 217"/>
                  <a:gd name="T98" fmla="*/ 2 w 268"/>
                  <a:gd name="T99" fmla="*/ 168 h 217"/>
                  <a:gd name="T100" fmla="*/ 25 w 268"/>
                  <a:gd name="T101" fmla="*/ 169 h 217"/>
                  <a:gd name="T102" fmla="*/ 1 w 268"/>
                  <a:gd name="T103" fmla="*/ 172 h 217"/>
                  <a:gd name="T104" fmla="*/ 7 w 268"/>
                  <a:gd name="T105" fmla="*/ 184 h 217"/>
                  <a:gd name="T106" fmla="*/ 14 w 268"/>
                  <a:gd name="T107" fmla="*/ 185 h 217"/>
                  <a:gd name="T108" fmla="*/ 5 w 268"/>
                  <a:gd name="T109" fmla="*/ 194 h 217"/>
                  <a:gd name="T110" fmla="*/ 11 w 268"/>
                  <a:gd name="T111" fmla="*/ 196 h 217"/>
                  <a:gd name="T112" fmla="*/ 7 w 268"/>
                  <a:gd name="T113" fmla="*/ 202 h 217"/>
                  <a:gd name="T114" fmla="*/ 23 w 268"/>
                  <a:gd name="T115" fmla="*/ 216 h 217"/>
                  <a:gd name="T116" fmla="*/ 52 w 268"/>
                  <a:gd name="T117" fmla="*/ 202 h 217"/>
                  <a:gd name="T118" fmla="*/ 60 w 268"/>
                  <a:gd name="T119" fmla="*/ 19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8" h="217">
                    <a:moveTo>
                      <a:pt x="64" y="200"/>
                    </a:moveTo>
                    <a:cubicBezTo>
                      <a:pt x="64" y="200"/>
                      <a:pt x="64" y="200"/>
                      <a:pt x="64" y="200"/>
                    </a:cubicBezTo>
                    <a:cubicBezTo>
                      <a:pt x="65" y="200"/>
                      <a:pt x="65" y="200"/>
                      <a:pt x="65" y="200"/>
                    </a:cubicBezTo>
                    <a:cubicBezTo>
                      <a:pt x="65" y="200"/>
                      <a:pt x="65" y="200"/>
                      <a:pt x="65" y="200"/>
                    </a:cubicBezTo>
                    <a:cubicBezTo>
                      <a:pt x="65" y="200"/>
                      <a:pt x="65" y="200"/>
                      <a:pt x="65" y="200"/>
                    </a:cubicBezTo>
                    <a:cubicBezTo>
                      <a:pt x="66" y="200"/>
                      <a:pt x="67" y="201"/>
                      <a:pt x="68" y="201"/>
                    </a:cubicBezTo>
                    <a:cubicBezTo>
                      <a:pt x="68" y="202"/>
                      <a:pt x="68" y="202"/>
                      <a:pt x="68" y="202"/>
                    </a:cubicBezTo>
                    <a:cubicBezTo>
                      <a:pt x="69" y="198"/>
                      <a:pt x="69" y="198"/>
                      <a:pt x="69" y="198"/>
                    </a:cubicBezTo>
                    <a:cubicBezTo>
                      <a:pt x="70" y="198"/>
                      <a:pt x="69" y="196"/>
                      <a:pt x="69" y="195"/>
                    </a:cubicBezTo>
                    <a:cubicBezTo>
                      <a:pt x="69" y="195"/>
                      <a:pt x="69" y="195"/>
                      <a:pt x="69" y="194"/>
                    </a:cubicBezTo>
                    <a:cubicBezTo>
                      <a:pt x="69" y="193"/>
                      <a:pt x="69" y="192"/>
                      <a:pt x="69" y="191"/>
                    </a:cubicBezTo>
                    <a:cubicBezTo>
                      <a:pt x="70" y="191"/>
                      <a:pt x="70" y="191"/>
                      <a:pt x="70" y="191"/>
                    </a:cubicBezTo>
                    <a:cubicBezTo>
                      <a:pt x="70" y="190"/>
                      <a:pt x="70" y="190"/>
                      <a:pt x="70" y="190"/>
                    </a:cubicBezTo>
                    <a:cubicBezTo>
                      <a:pt x="70" y="190"/>
                      <a:pt x="70" y="190"/>
                      <a:pt x="70" y="190"/>
                    </a:cubicBezTo>
                    <a:cubicBezTo>
                      <a:pt x="70" y="190"/>
                      <a:pt x="70" y="190"/>
                      <a:pt x="70" y="190"/>
                    </a:cubicBezTo>
                    <a:cubicBezTo>
                      <a:pt x="70" y="190"/>
                      <a:pt x="70" y="190"/>
                      <a:pt x="70" y="190"/>
                    </a:cubicBezTo>
                    <a:cubicBezTo>
                      <a:pt x="70" y="189"/>
                      <a:pt x="70" y="189"/>
                      <a:pt x="70" y="189"/>
                    </a:cubicBezTo>
                    <a:cubicBezTo>
                      <a:pt x="70" y="189"/>
                      <a:pt x="70" y="189"/>
                      <a:pt x="70" y="189"/>
                    </a:cubicBezTo>
                    <a:cubicBezTo>
                      <a:pt x="70" y="189"/>
                      <a:pt x="70" y="189"/>
                      <a:pt x="70" y="189"/>
                    </a:cubicBezTo>
                    <a:cubicBezTo>
                      <a:pt x="70" y="189"/>
                      <a:pt x="70" y="189"/>
                      <a:pt x="70" y="189"/>
                    </a:cubicBezTo>
                    <a:cubicBezTo>
                      <a:pt x="70" y="188"/>
                      <a:pt x="70" y="188"/>
                      <a:pt x="70" y="188"/>
                    </a:cubicBezTo>
                    <a:cubicBezTo>
                      <a:pt x="70" y="188"/>
                      <a:pt x="71" y="187"/>
                      <a:pt x="71" y="187"/>
                    </a:cubicBezTo>
                    <a:cubicBezTo>
                      <a:pt x="73" y="187"/>
                      <a:pt x="73" y="187"/>
                      <a:pt x="73" y="187"/>
                    </a:cubicBezTo>
                    <a:cubicBezTo>
                      <a:pt x="74" y="186"/>
                      <a:pt x="74" y="186"/>
                      <a:pt x="74" y="186"/>
                    </a:cubicBezTo>
                    <a:cubicBezTo>
                      <a:pt x="75" y="186"/>
                      <a:pt x="75" y="186"/>
                      <a:pt x="75" y="186"/>
                    </a:cubicBezTo>
                    <a:cubicBezTo>
                      <a:pt x="75" y="186"/>
                      <a:pt x="75" y="185"/>
                      <a:pt x="75" y="185"/>
                    </a:cubicBezTo>
                    <a:cubicBezTo>
                      <a:pt x="76" y="185"/>
                      <a:pt x="76" y="185"/>
                      <a:pt x="76" y="185"/>
                    </a:cubicBezTo>
                    <a:cubicBezTo>
                      <a:pt x="76" y="184"/>
                      <a:pt x="76" y="184"/>
                      <a:pt x="76" y="184"/>
                    </a:cubicBezTo>
                    <a:cubicBezTo>
                      <a:pt x="76" y="183"/>
                      <a:pt x="77" y="181"/>
                      <a:pt x="77" y="180"/>
                    </a:cubicBezTo>
                    <a:cubicBezTo>
                      <a:pt x="77" y="180"/>
                      <a:pt x="77" y="180"/>
                      <a:pt x="77" y="180"/>
                    </a:cubicBezTo>
                    <a:cubicBezTo>
                      <a:pt x="77" y="178"/>
                      <a:pt x="76" y="177"/>
                      <a:pt x="76" y="175"/>
                    </a:cubicBezTo>
                    <a:cubicBezTo>
                      <a:pt x="75" y="175"/>
                      <a:pt x="75" y="175"/>
                      <a:pt x="75" y="175"/>
                    </a:cubicBezTo>
                    <a:cubicBezTo>
                      <a:pt x="75" y="174"/>
                      <a:pt x="74" y="173"/>
                      <a:pt x="74" y="172"/>
                    </a:cubicBezTo>
                    <a:cubicBezTo>
                      <a:pt x="74" y="170"/>
                      <a:pt x="74" y="170"/>
                      <a:pt x="74" y="170"/>
                    </a:cubicBezTo>
                    <a:cubicBezTo>
                      <a:pt x="75" y="170"/>
                      <a:pt x="75" y="170"/>
                      <a:pt x="75" y="170"/>
                    </a:cubicBezTo>
                    <a:cubicBezTo>
                      <a:pt x="75" y="170"/>
                      <a:pt x="76" y="170"/>
                      <a:pt x="76" y="170"/>
                    </a:cubicBezTo>
                    <a:cubicBezTo>
                      <a:pt x="76" y="170"/>
                      <a:pt x="76" y="170"/>
                      <a:pt x="76" y="170"/>
                    </a:cubicBezTo>
                    <a:cubicBezTo>
                      <a:pt x="77" y="170"/>
                      <a:pt x="78" y="170"/>
                      <a:pt x="79" y="170"/>
                    </a:cubicBezTo>
                    <a:cubicBezTo>
                      <a:pt x="79" y="170"/>
                      <a:pt x="79" y="170"/>
                      <a:pt x="79" y="170"/>
                    </a:cubicBezTo>
                    <a:cubicBezTo>
                      <a:pt x="79" y="169"/>
                      <a:pt x="80" y="168"/>
                      <a:pt x="80" y="167"/>
                    </a:cubicBezTo>
                    <a:cubicBezTo>
                      <a:pt x="80" y="167"/>
                      <a:pt x="80" y="167"/>
                      <a:pt x="80" y="166"/>
                    </a:cubicBezTo>
                    <a:cubicBezTo>
                      <a:pt x="79" y="166"/>
                      <a:pt x="79" y="166"/>
                      <a:pt x="79" y="166"/>
                    </a:cubicBezTo>
                    <a:cubicBezTo>
                      <a:pt x="79" y="166"/>
                      <a:pt x="79" y="165"/>
                      <a:pt x="77" y="164"/>
                    </a:cubicBezTo>
                    <a:cubicBezTo>
                      <a:pt x="77" y="164"/>
                      <a:pt x="77" y="164"/>
                      <a:pt x="76" y="163"/>
                    </a:cubicBezTo>
                    <a:cubicBezTo>
                      <a:pt x="76" y="163"/>
                      <a:pt x="76" y="163"/>
                      <a:pt x="76" y="163"/>
                    </a:cubicBezTo>
                    <a:cubicBezTo>
                      <a:pt x="76" y="163"/>
                      <a:pt x="75" y="163"/>
                      <a:pt x="75" y="162"/>
                    </a:cubicBezTo>
                    <a:cubicBezTo>
                      <a:pt x="75" y="162"/>
                      <a:pt x="75" y="162"/>
                      <a:pt x="75" y="162"/>
                    </a:cubicBezTo>
                    <a:cubicBezTo>
                      <a:pt x="74" y="162"/>
                      <a:pt x="74" y="162"/>
                      <a:pt x="74" y="162"/>
                    </a:cubicBezTo>
                    <a:cubicBezTo>
                      <a:pt x="73" y="161"/>
                      <a:pt x="73" y="160"/>
                      <a:pt x="73" y="159"/>
                    </a:cubicBezTo>
                    <a:cubicBezTo>
                      <a:pt x="75" y="152"/>
                      <a:pt x="75" y="152"/>
                      <a:pt x="75" y="152"/>
                    </a:cubicBezTo>
                    <a:cubicBezTo>
                      <a:pt x="75" y="151"/>
                      <a:pt x="75" y="151"/>
                      <a:pt x="73" y="149"/>
                    </a:cubicBezTo>
                    <a:cubicBezTo>
                      <a:pt x="73" y="148"/>
                      <a:pt x="73" y="148"/>
                      <a:pt x="73" y="148"/>
                    </a:cubicBezTo>
                    <a:cubicBezTo>
                      <a:pt x="72" y="147"/>
                      <a:pt x="72" y="146"/>
                      <a:pt x="72" y="146"/>
                    </a:cubicBezTo>
                    <a:cubicBezTo>
                      <a:pt x="73" y="145"/>
                      <a:pt x="73" y="145"/>
                      <a:pt x="73" y="145"/>
                    </a:cubicBezTo>
                    <a:cubicBezTo>
                      <a:pt x="73" y="144"/>
                      <a:pt x="73" y="143"/>
                      <a:pt x="73" y="142"/>
                    </a:cubicBezTo>
                    <a:cubicBezTo>
                      <a:pt x="74" y="141"/>
                      <a:pt x="74" y="141"/>
                      <a:pt x="74" y="141"/>
                    </a:cubicBezTo>
                    <a:cubicBezTo>
                      <a:pt x="74" y="140"/>
                      <a:pt x="73" y="140"/>
                      <a:pt x="73" y="139"/>
                    </a:cubicBezTo>
                    <a:cubicBezTo>
                      <a:pt x="73" y="139"/>
                      <a:pt x="73" y="139"/>
                      <a:pt x="73" y="138"/>
                    </a:cubicBezTo>
                    <a:cubicBezTo>
                      <a:pt x="73" y="138"/>
                      <a:pt x="73" y="138"/>
                      <a:pt x="73" y="138"/>
                    </a:cubicBezTo>
                    <a:cubicBezTo>
                      <a:pt x="73" y="138"/>
                      <a:pt x="72" y="138"/>
                      <a:pt x="72" y="137"/>
                    </a:cubicBezTo>
                    <a:cubicBezTo>
                      <a:pt x="72" y="137"/>
                      <a:pt x="72" y="137"/>
                      <a:pt x="72" y="137"/>
                    </a:cubicBezTo>
                    <a:cubicBezTo>
                      <a:pt x="72" y="137"/>
                      <a:pt x="72" y="136"/>
                      <a:pt x="72" y="136"/>
                    </a:cubicBezTo>
                    <a:cubicBezTo>
                      <a:pt x="71" y="135"/>
                      <a:pt x="72" y="134"/>
                      <a:pt x="72" y="134"/>
                    </a:cubicBezTo>
                    <a:cubicBezTo>
                      <a:pt x="73" y="132"/>
                      <a:pt x="73" y="132"/>
                      <a:pt x="73" y="132"/>
                    </a:cubicBezTo>
                    <a:cubicBezTo>
                      <a:pt x="73" y="131"/>
                      <a:pt x="74" y="130"/>
                      <a:pt x="74" y="129"/>
                    </a:cubicBezTo>
                    <a:cubicBezTo>
                      <a:pt x="77" y="126"/>
                      <a:pt x="77" y="126"/>
                      <a:pt x="77" y="126"/>
                    </a:cubicBezTo>
                    <a:cubicBezTo>
                      <a:pt x="78" y="124"/>
                      <a:pt x="79" y="123"/>
                      <a:pt x="81" y="123"/>
                    </a:cubicBezTo>
                    <a:cubicBezTo>
                      <a:pt x="81" y="123"/>
                      <a:pt x="81" y="123"/>
                      <a:pt x="81" y="123"/>
                    </a:cubicBezTo>
                    <a:cubicBezTo>
                      <a:pt x="81" y="123"/>
                      <a:pt x="81" y="122"/>
                      <a:pt x="82" y="122"/>
                    </a:cubicBezTo>
                    <a:cubicBezTo>
                      <a:pt x="82" y="122"/>
                      <a:pt x="82" y="122"/>
                      <a:pt x="82" y="122"/>
                    </a:cubicBezTo>
                    <a:cubicBezTo>
                      <a:pt x="82" y="122"/>
                      <a:pt x="82" y="122"/>
                      <a:pt x="82" y="122"/>
                    </a:cubicBezTo>
                    <a:cubicBezTo>
                      <a:pt x="83" y="122"/>
                      <a:pt x="84" y="121"/>
                      <a:pt x="86" y="121"/>
                    </a:cubicBezTo>
                    <a:cubicBezTo>
                      <a:pt x="91" y="122"/>
                      <a:pt x="91" y="122"/>
                      <a:pt x="91" y="122"/>
                    </a:cubicBezTo>
                    <a:cubicBezTo>
                      <a:pt x="92" y="122"/>
                      <a:pt x="92" y="122"/>
                      <a:pt x="93" y="121"/>
                    </a:cubicBezTo>
                    <a:cubicBezTo>
                      <a:pt x="93" y="120"/>
                      <a:pt x="93" y="119"/>
                      <a:pt x="93" y="118"/>
                    </a:cubicBezTo>
                    <a:cubicBezTo>
                      <a:pt x="93" y="118"/>
                      <a:pt x="93" y="118"/>
                      <a:pt x="93" y="118"/>
                    </a:cubicBezTo>
                    <a:cubicBezTo>
                      <a:pt x="93" y="118"/>
                      <a:pt x="93" y="118"/>
                      <a:pt x="93" y="118"/>
                    </a:cubicBezTo>
                    <a:cubicBezTo>
                      <a:pt x="93" y="117"/>
                      <a:pt x="93" y="117"/>
                      <a:pt x="92" y="117"/>
                    </a:cubicBezTo>
                    <a:cubicBezTo>
                      <a:pt x="92" y="117"/>
                      <a:pt x="92" y="116"/>
                      <a:pt x="91" y="116"/>
                    </a:cubicBezTo>
                    <a:cubicBezTo>
                      <a:pt x="91" y="116"/>
                      <a:pt x="91" y="116"/>
                      <a:pt x="91" y="116"/>
                    </a:cubicBezTo>
                    <a:cubicBezTo>
                      <a:pt x="91" y="114"/>
                      <a:pt x="91" y="113"/>
                      <a:pt x="90" y="112"/>
                    </a:cubicBezTo>
                    <a:cubicBezTo>
                      <a:pt x="90" y="111"/>
                      <a:pt x="90" y="111"/>
                      <a:pt x="90" y="111"/>
                    </a:cubicBezTo>
                    <a:cubicBezTo>
                      <a:pt x="91" y="111"/>
                      <a:pt x="91" y="111"/>
                      <a:pt x="91" y="111"/>
                    </a:cubicBezTo>
                    <a:cubicBezTo>
                      <a:pt x="91" y="110"/>
                      <a:pt x="92" y="109"/>
                      <a:pt x="92" y="109"/>
                    </a:cubicBezTo>
                    <a:cubicBezTo>
                      <a:pt x="92" y="109"/>
                      <a:pt x="92" y="109"/>
                      <a:pt x="92" y="109"/>
                    </a:cubicBezTo>
                    <a:cubicBezTo>
                      <a:pt x="93" y="108"/>
                      <a:pt x="94" y="107"/>
                      <a:pt x="94" y="106"/>
                    </a:cubicBezTo>
                    <a:cubicBezTo>
                      <a:pt x="95" y="106"/>
                      <a:pt x="95" y="105"/>
                      <a:pt x="96" y="104"/>
                    </a:cubicBezTo>
                    <a:cubicBezTo>
                      <a:pt x="96" y="104"/>
                      <a:pt x="96" y="104"/>
                      <a:pt x="96" y="104"/>
                    </a:cubicBezTo>
                    <a:cubicBezTo>
                      <a:pt x="97" y="103"/>
                      <a:pt x="97" y="102"/>
                      <a:pt x="97" y="101"/>
                    </a:cubicBezTo>
                    <a:cubicBezTo>
                      <a:pt x="97" y="100"/>
                      <a:pt x="97" y="100"/>
                      <a:pt x="97" y="100"/>
                    </a:cubicBezTo>
                    <a:cubicBezTo>
                      <a:pt x="98" y="99"/>
                      <a:pt x="98" y="98"/>
                      <a:pt x="98" y="97"/>
                    </a:cubicBezTo>
                    <a:cubicBezTo>
                      <a:pt x="98" y="96"/>
                      <a:pt x="98" y="95"/>
                      <a:pt x="98" y="95"/>
                    </a:cubicBezTo>
                    <a:cubicBezTo>
                      <a:pt x="98" y="94"/>
                      <a:pt x="98" y="93"/>
                      <a:pt x="98" y="92"/>
                    </a:cubicBezTo>
                    <a:cubicBezTo>
                      <a:pt x="98" y="92"/>
                      <a:pt x="98" y="92"/>
                      <a:pt x="98" y="92"/>
                    </a:cubicBezTo>
                    <a:cubicBezTo>
                      <a:pt x="98" y="92"/>
                      <a:pt x="98" y="92"/>
                      <a:pt x="98" y="92"/>
                    </a:cubicBezTo>
                    <a:cubicBezTo>
                      <a:pt x="98" y="91"/>
                      <a:pt x="98" y="91"/>
                      <a:pt x="98" y="91"/>
                    </a:cubicBezTo>
                    <a:cubicBezTo>
                      <a:pt x="97" y="90"/>
                      <a:pt x="97" y="88"/>
                      <a:pt x="99" y="87"/>
                    </a:cubicBezTo>
                    <a:cubicBezTo>
                      <a:pt x="99" y="87"/>
                      <a:pt x="100" y="87"/>
                      <a:pt x="100" y="87"/>
                    </a:cubicBezTo>
                    <a:cubicBezTo>
                      <a:pt x="101" y="87"/>
                      <a:pt x="101" y="87"/>
                      <a:pt x="101" y="87"/>
                    </a:cubicBezTo>
                    <a:cubicBezTo>
                      <a:pt x="102" y="86"/>
                      <a:pt x="104" y="85"/>
                      <a:pt x="106" y="85"/>
                    </a:cubicBezTo>
                    <a:cubicBezTo>
                      <a:pt x="107" y="84"/>
                      <a:pt x="107" y="84"/>
                      <a:pt x="107" y="84"/>
                    </a:cubicBezTo>
                    <a:cubicBezTo>
                      <a:pt x="107" y="84"/>
                      <a:pt x="107" y="84"/>
                      <a:pt x="107" y="84"/>
                    </a:cubicBezTo>
                    <a:cubicBezTo>
                      <a:pt x="107" y="83"/>
                      <a:pt x="106" y="83"/>
                      <a:pt x="107" y="81"/>
                    </a:cubicBezTo>
                    <a:cubicBezTo>
                      <a:pt x="107" y="81"/>
                      <a:pt x="108" y="81"/>
                      <a:pt x="108" y="80"/>
                    </a:cubicBezTo>
                    <a:cubicBezTo>
                      <a:pt x="109" y="80"/>
                      <a:pt x="109" y="79"/>
                      <a:pt x="110" y="79"/>
                    </a:cubicBezTo>
                    <a:cubicBezTo>
                      <a:pt x="110" y="78"/>
                      <a:pt x="110" y="78"/>
                      <a:pt x="110" y="78"/>
                    </a:cubicBezTo>
                    <a:cubicBezTo>
                      <a:pt x="111" y="78"/>
                      <a:pt x="111" y="77"/>
                      <a:pt x="112" y="77"/>
                    </a:cubicBezTo>
                    <a:cubicBezTo>
                      <a:pt x="114" y="75"/>
                      <a:pt x="115" y="73"/>
                      <a:pt x="116" y="71"/>
                    </a:cubicBezTo>
                    <a:cubicBezTo>
                      <a:pt x="117" y="70"/>
                      <a:pt x="117" y="70"/>
                      <a:pt x="117" y="70"/>
                    </a:cubicBezTo>
                    <a:cubicBezTo>
                      <a:pt x="117" y="70"/>
                      <a:pt x="116" y="69"/>
                      <a:pt x="116" y="69"/>
                    </a:cubicBezTo>
                    <a:cubicBezTo>
                      <a:pt x="115" y="68"/>
                      <a:pt x="114" y="66"/>
                      <a:pt x="114" y="65"/>
                    </a:cubicBezTo>
                    <a:cubicBezTo>
                      <a:pt x="115" y="64"/>
                      <a:pt x="116" y="63"/>
                      <a:pt x="117" y="63"/>
                    </a:cubicBezTo>
                    <a:cubicBezTo>
                      <a:pt x="118" y="63"/>
                      <a:pt x="118" y="62"/>
                      <a:pt x="119" y="61"/>
                    </a:cubicBezTo>
                    <a:cubicBezTo>
                      <a:pt x="119" y="61"/>
                      <a:pt x="119" y="60"/>
                      <a:pt x="120" y="59"/>
                    </a:cubicBezTo>
                    <a:cubicBezTo>
                      <a:pt x="120" y="57"/>
                      <a:pt x="121" y="57"/>
                      <a:pt x="123" y="55"/>
                    </a:cubicBezTo>
                    <a:cubicBezTo>
                      <a:pt x="124" y="55"/>
                      <a:pt x="124" y="55"/>
                      <a:pt x="124" y="55"/>
                    </a:cubicBezTo>
                    <a:cubicBezTo>
                      <a:pt x="124" y="55"/>
                      <a:pt x="124" y="55"/>
                      <a:pt x="124" y="55"/>
                    </a:cubicBezTo>
                    <a:cubicBezTo>
                      <a:pt x="124" y="55"/>
                      <a:pt x="125" y="54"/>
                      <a:pt x="126" y="54"/>
                    </a:cubicBezTo>
                    <a:cubicBezTo>
                      <a:pt x="127" y="53"/>
                      <a:pt x="127" y="53"/>
                      <a:pt x="128" y="53"/>
                    </a:cubicBezTo>
                    <a:cubicBezTo>
                      <a:pt x="129" y="54"/>
                      <a:pt x="129" y="54"/>
                      <a:pt x="129" y="54"/>
                    </a:cubicBezTo>
                    <a:cubicBezTo>
                      <a:pt x="130" y="54"/>
                      <a:pt x="130" y="54"/>
                      <a:pt x="131" y="54"/>
                    </a:cubicBezTo>
                    <a:cubicBezTo>
                      <a:pt x="132" y="55"/>
                      <a:pt x="132" y="55"/>
                      <a:pt x="132" y="55"/>
                    </a:cubicBezTo>
                    <a:cubicBezTo>
                      <a:pt x="133" y="55"/>
                      <a:pt x="133" y="55"/>
                      <a:pt x="133" y="55"/>
                    </a:cubicBezTo>
                    <a:cubicBezTo>
                      <a:pt x="133" y="55"/>
                      <a:pt x="133" y="55"/>
                      <a:pt x="133" y="55"/>
                    </a:cubicBezTo>
                    <a:cubicBezTo>
                      <a:pt x="133" y="55"/>
                      <a:pt x="133" y="55"/>
                      <a:pt x="133" y="55"/>
                    </a:cubicBezTo>
                    <a:cubicBezTo>
                      <a:pt x="133" y="54"/>
                      <a:pt x="134" y="53"/>
                      <a:pt x="134" y="52"/>
                    </a:cubicBezTo>
                    <a:cubicBezTo>
                      <a:pt x="134" y="51"/>
                      <a:pt x="134" y="51"/>
                      <a:pt x="134" y="51"/>
                    </a:cubicBezTo>
                    <a:cubicBezTo>
                      <a:pt x="134" y="50"/>
                      <a:pt x="134" y="49"/>
                      <a:pt x="134" y="49"/>
                    </a:cubicBezTo>
                    <a:cubicBezTo>
                      <a:pt x="134" y="48"/>
                      <a:pt x="134" y="47"/>
                      <a:pt x="134" y="47"/>
                    </a:cubicBezTo>
                    <a:cubicBezTo>
                      <a:pt x="134" y="45"/>
                      <a:pt x="134" y="45"/>
                      <a:pt x="134" y="45"/>
                    </a:cubicBezTo>
                    <a:cubicBezTo>
                      <a:pt x="153" y="49"/>
                      <a:pt x="153" y="49"/>
                      <a:pt x="153" y="49"/>
                    </a:cubicBezTo>
                    <a:cubicBezTo>
                      <a:pt x="154" y="49"/>
                      <a:pt x="154" y="49"/>
                      <a:pt x="154" y="49"/>
                    </a:cubicBezTo>
                    <a:cubicBezTo>
                      <a:pt x="154" y="48"/>
                      <a:pt x="154" y="48"/>
                      <a:pt x="154" y="48"/>
                    </a:cubicBezTo>
                    <a:cubicBezTo>
                      <a:pt x="154" y="47"/>
                      <a:pt x="154" y="47"/>
                      <a:pt x="154" y="47"/>
                    </a:cubicBezTo>
                    <a:cubicBezTo>
                      <a:pt x="154" y="47"/>
                      <a:pt x="154" y="46"/>
                      <a:pt x="154" y="45"/>
                    </a:cubicBezTo>
                    <a:cubicBezTo>
                      <a:pt x="154" y="45"/>
                      <a:pt x="154" y="45"/>
                      <a:pt x="154" y="45"/>
                    </a:cubicBezTo>
                    <a:cubicBezTo>
                      <a:pt x="154" y="44"/>
                      <a:pt x="155" y="44"/>
                      <a:pt x="155" y="44"/>
                    </a:cubicBezTo>
                    <a:cubicBezTo>
                      <a:pt x="155" y="43"/>
                      <a:pt x="156" y="42"/>
                      <a:pt x="156" y="42"/>
                    </a:cubicBezTo>
                    <a:cubicBezTo>
                      <a:pt x="156" y="42"/>
                      <a:pt x="156" y="42"/>
                      <a:pt x="156" y="42"/>
                    </a:cubicBezTo>
                    <a:cubicBezTo>
                      <a:pt x="156" y="41"/>
                      <a:pt x="156" y="41"/>
                      <a:pt x="156" y="41"/>
                    </a:cubicBezTo>
                    <a:cubicBezTo>
                      <a:pt x="156" y="41"/>
                      <a:pt x="156" y="40"/>
                      <a:pt x="155" y="39"/>
                    </a:cubicBezTo>
                    <a:cubicBezTo>
                      <a:pt x="154" y="37"/>
                      <a:pt x="154" y="37"/>
                      <a:pt x="154" y="37"/>
                    </a:cubicBezTo>
                    <a:cubicBezTo>
                      <a:pt x="161" y="36"/>
                      <a:pt x="161" y="36"/>
                      <a:pt x="161" y="36"/>
                    </a:cubicBezTo>
                    <a:cubicBezTo>
                      <a:pt x="164" y="36"/>
                      <a:pt x="164" y="36"/>
                      <a:pt x="164" y="36"/>
                    </a:cubicBezTo>
                    <a:cubicBezTo>
                      <a:pt x="164" y="36"/>
                      <a:pt x="164" y="36"/>
                      <a:pt x="164" y="36"/>
                    </a:cubicBezTo>
                    <a:cubicBezTo>
                      <a:pt x="164" y="35"/>
                      <a:pt x="164" y="34"/>
                      <a:pt x="165" y="33"/>
                    </a:cubicBezTo>
                    <a:cubicBezTo>
                      <a:pt x="165" y="33"/>
                      <a:pt x="166" y="33"/>
                      <a:pt x="166" y="32"/>
                    </a:cubicBezTo>
                    <a:cubicBezTo>
                      <a:pt x="167" y="32"/>
                      <a:pt x="168" y="32"/>
                      <a:pt x="169" y="32"/>
                    </a:cubicBezTo>
                    <a:cubicBezTo>
                      <a:pt x="169" y="33"/>
                      <a:pt x="170" y="33"/>
                      <a:pt x="170" y="33"/>
                    </a:cubicBezTo>
                    <a:cubicBezTo>
                      <a:pt x="175" y="36"/>
                      <a:pt x="175" y="36"/>
                      <a:pt x="175" y="36"/>
                    </a:cubicBezTo>
                    <a:cubicBezTo>
                      <a:pt x="176" y="37"/>
                      <a:pt x="179" y="40"/>
                      <a:pt x="180" y="42"/>
                    </a:cubicBezTo>
                    <a:cubicBezTo>
                      <a:pt x="180" y="42"/>
                      <a:pt x="180" y="42"/>
                      <a:pt x="180" y="42"/>
                    </a:cubicBezTo>
                    <a:cubicBezTo>
                      <a:pt x="180" y="42"/>
                      <a:pt x="180" y="42"/>
                      <a:pt x="180" y="42"/>
                    </a:cubicBezTo>
                    <a:cubicBezTo>
                      <a:pt x="181" y="42"/>
                      <a:pt x="181" y="42"/>
                      <a:pt x="181" y="42"/>
                    </a:cubicBezTo>
                    <a:cubicBezTo>
                      <a:pt x="192" y="42"/>
                      <a:pt x="192" y="42"/>
                      <a:pt x="192" y="42"/>
                    </a:cubicBezTo>
                    <a:cubicBezTo>
                      <a:pt x="192" y="42"/>
                      <a:pt x="192" y="41"/>
                      <a:pt x="192" y="41"/>
                    </a:cubicBezTo>
                    <a:cubicBezTo>
                      <a:pt x="194" y="40"/>
                      <a:pt x="197" y="41"/>
                      <a:pt x="198" y="42"/>
                    </a:cubicBezTo>
                    <a:cubicBezTo>
                      <a:pt x="199" y="42"/>
                      <a:pt x="199" y="42"/>
                      <a:pt x="199" y="42"/>
                    </a:cubicBezTo>
                    <a:cubicBezTo>
                      <a:pt x="205" y="45"/>
                      <a:pt x="205" y="45"/>
                      <a:pt x="205" y="45"/>
                    </a:cubicBezTo>
                    <a:cubicBezTo>
                      <a:pt x="205" y="44"/>
                      <a:pt x="205" y="44"/>
                      <a:pt x="205" y="44"/>
                    </a:cubicBezTo>
                    <a:cubicBezTo>
                      <a:pt x="205" y="44"/>
                      <a:pt x="206" y="43"/>
                      <a:pt x="206" y="43"/>
                    </a:cubicBezTo>
                    <a:cubicBezTo>
                      <a:pt x="209" y="40"/>
                      <a:pt x="209" y="40"/>
                      <a:pt x="209" y="40"/>
                    </a:cubicBezTo>
                    <a:cubicBezTo>
                      <a:pt x="210" y="39"/>
                      <a:pt x="211" y="39"/>
                      <a:pt x="211" y="39"/>
                    </a:cubicBezTo>
                    <a:cubicBezTo>
                      <a:pt x="211" y="39"/>
                      <a:pt x="212" y="38"/>
                      <a:pt x="212" y="38"/>
                    </a:cubicBezTo>
                    <a:cubicBezTo>
                      <a:pt x="212" y="37"/>
                      <a:pt x="212" y="35"/>
                      <a:pt x="212" y="34"/>
                    </a:cubicBezTo>
                    <a:cubicBezTo>
                      <a:pt x="212" y="34"/>
                      <a:pt x="212" y="34"/>
                      <a:pt x="212" y="34"/>
                    </a:cubicBezTo>
                    <a:cubicBezTo>
                      <a:pt x="213" y="33"/>
                      <a:pt x="213" y="32"/>
                      <a:pt x="213" y="30"/>
                    </a:cubicBezTo>
                    <a:cubicBezTo>
                      <a:pt x="213" y="29"/>
                      <a:pt x="213" y="29"/>
                      <a:pt x="213" y="29"/>
                    </a:cubicBezTo>
                    <a:cubicBezTo>
                      <a:pt x="213" y="29"/>
                      <a:pt x="213" y="29"/>
                      <a:pt x="213" y="29"/>
                    </a:cubicBezTo>
                    <a:cubicBezTo>
                      <a:pt x="214" y="27"/>
                      <a:pt x="214" y="26"/>
                      <a:pt x="215" y="26"/>
                    </a:cubicBezTo>
                    <a:cubicBezTo>
                      <a:pt x="215" y="25"/>
                      <a:pt x="215" y="25"/>
                      <a:pt x="215" y="25"/>
                    </a:cubicBezTo>
                    <a:cubicBezTo>
                      <a:pt x="216" y="25"/>
                      <a:pt x="216" y="24"/>
                      <a:pt x="217" y="24"/>
                    </a:cubicBezTo>
                    <a:cubicBezTo>
                      <a:pt x="218" y="23"/>
                      <a:pt x="218" y="23"/>
                      <a:pt x="218" y="23"/>
                    </a:cubicBezTo>
                    <a:cubicBezTo>
                      <a:pt x="218" y="23"/>
                      <a:pt x="218" y="23"/>
                      <a:pt x="218" y="23"/>
                    </a:cubicBezTo>
                    <a:cubicBezTo>
                      <a:pt x="220" y="21"/>
                      <a:pt x="222" y="20"/>
                      <a:pt x="224" y="20"/>
                    </a:cubicBezTo>
                    <a:cubicBezTo>
                      <a:pt x="226" y="20"/>
                      <a:pt x="226" y="20"/>
                      <a:pt x="226" y="20"/>
                    </a:cubicBezTo>
                    <a:cubicBezTo>
                      <a:pt x="226" y="20"/>
                      <a:pt x="227" y="20"/>
                      <a:pt x="227" y="20"/>
                    </a:cubicBezTo>
                    <a:cubicBezTo>
                      <a:pt x="228" y="20"/>
                      <a:pt x="228" y="20"/>
                      <a:pt x="229" y="20"/>
                    </a:cubicBezTo>
                    <a:cubicBezTo>
                      <a:pt x="229" y="20"/>
                      <a:pt x="229" y="20"/>
                      <a:pt x="229" y="19"/>
                    </a:cubicBezTo>
                    <a:cubicBezTo>
                      <a:pt x="230" y="19"/>
                      <a:pt x="230" y="19"/>
                      <a:pt x="230" y="19"/>
                    </a:cubicBezTo>
                    <a:cubicBezTo>
                      <a:pt x="230" y="19"/>
                      <a:pt x="230" y="19"/>
                      <a:pt x="230" y="19"/>
                    </a:cubicBezTo>
                    <a:cubicBezTo>
                      <a:pt x="231" y="19"/>
                      <a:pt x="231" y="19"/>
                      <a:pt x="231" y="19"/>
                    </a:cubicBezTo>
                    <a:cubicBezTo>
                      <a:pt x="231" y="19"/>
                      <a:pt x="231" y="18"/>
                      <a:pt x="231" y="18"/>
                    </a:cubicBezTo>
                    <a:cubicBezTo>
                      <a:pt x="234" y="17"/>
                      <a:pt x="236" y="19"/>
                      <a:pt x="238" y="20"/>
                    </a:cubicBezTo>
                    <a:cubicBezTo>
                      <a:pt x="239" y="21"/>
                      <a:pt x="239" y="21"/>
                      <a:pt x="239" y="21"/>
                    </a:cubicBezTo>
                    <a:cubicBezTo>
                      <a:pt x="239" y="21"/>
                      <a:pt x="239" y="21"/>
                      <a:pt x="239" y="21"/>
                    </a:cubicBezTo>
                    <a:cubicBezTo>
                      <a:pt x="240" y="22"/>
                      <a:pt x="241" y="22"/>
                      <a:pt x="242" y="22"/>
                    </a:cubicBezTo>
                    <a:cubicBezTo>
                      <a:pt x="242" y="23"/>
                      <a:pt x="243" y="23"/>
                      <a:pt x="243" y="23"/>
                    </a:cubicBezTo>
                    <a:cubicBezTo>
                      <a:pt x="244" y="23"/>
                      <a:pt x="244" y="23"/>
                      <a:pt x="244" y="23"/>
                    </a:cubicBezTo>
                    <a:cubicBezTo>
                      <a:pt x="244" y="24"/>
                      <a:pt x="245" y="24"/>
                      <a:pt x="245" y="24"/>
                    </a:cubicBezTo>
                    <a:cubicBezTo>
                      <a:pt x="246" y="25"/>
                      <a:pt x="250" y="26"/>
                      <a:pt x="250" y="29"/>
                    </a:cubicBezTo>
                    <a:cubicBezTo>
                      <a:pt x="251" y="29"/>
                      <a:pt x="251" y="30"/>
                      <a:pt x="250" y="31"/>
                    </a:cubicBezTo>
                    <a:cubicBezTo>
                      <a:pt x="251" y="31"/>
                      <a:pt x="251" y="31"/>
                      <a:pt x="251" y="31"/>
                    </a:cubicBezTo>
                    <a:cubicBezTo>
                      <a:pt x="251" y="31"/>
                      <a:pt x="252" y="30"/>
                      <a:pt x="253" y="30"/>
                    </a:cubicBezTo>
                    <a:cubicBezTo>
                      <a:pt x="253" y="30"/>
                      <a:pt x="253" y="30"/>
                      <a:pt x="253" y="30"/>
                    </a:cubicBezTo>
                    <a:cubicBezTo>
                      <a:pt x="255" y="30"/>
                      <a:pt x="255" y="29"/>
                      <a:pt x="256" y="28"/>
                    </a:cubicBezTo>
                    <a:cubicBezTo>
                      <a:pt x="256" y="28"/>
                      <a:pt x="256" y="27"/>
                      <a:pt x="256" y="27"/>
                    </a:cubicBezTo>
                    <a:cubicBezTo>
                      <a:pt x="256" y="26"/>
                      <a:pt x="256" y="26"/>
                      <a:pt x="256" y="26"/>
                    </a:cubicBezTo>
                    <a:cubicBezTo>
                      <a:pt x="257" y="25"/>
                      <a:pt x="257" y="25"/>
                      <a:pt x="257" y="25"/>
                    </a:cubicBezTo>
                    <a:cubicBezTo>
                      <a:pt x="258" y="25"/>
                      <a:pt x="259" y="25"/>
                      <a:pt x="259" y="25"/>
                    </a:cubicBezTo>
                    <a:cubicBezTo>
                      <a:pt x="260" y="26"/>
                      <a:pt x="260" y="26"/>
                      <a:pt x="260" y="26"/>
                    </a:cubicBezTo>
                    <a:cubicBezTo>
                      <a:pt x="261" y="26"/>
                      <a:pt x="261" y="26"/>
                      <a:pt x="261" y="26"/>
                    </a:cubicBezTo>
                    <a:cubicBezTo>
                      <a:pt x="261" y="26"/>
                      <a:pt x="262" y="27"/>
                      <a:pt x="263" y="27"/>
                    </a:cubicBezTo>
                    <a:cubicBezTo>
                      <a:pt x="263" y="27"/>
                      <a:pt x="263" y="27"/>
                      <a:pt x="263" y="27"/>
                    </a:cubicBezTo>
                    <a:cubicBezTo>
                      <a:pt x="264" y="27"/>
                      <a:pt x="264" y="27"/>
                      <a:pt x="264" y="27"/>
                    </a:cubicBezTo>
                    <a:cubicBezTo>
                      <a:pt x="264" y="27"/>
                      <a:pt x="264" y="27"/>
                      <a:pt x="264" y="27"/>
                    </a:cubicBezTo>
                    <a:cubicBezTo>
                      <a:pt x="264" y="26"/>
                      <a:pt x="264" y="26"/>
                      <a:pt x="264" y="25"/>
                    </a:cubicBezTo>
                    <a:cubicBezTo>
                      <a:pt x="264" y="25"/>
                      <a:pt x="264" y="25"/>
                      <a:pt x="264" y="25"/>
                    </a:cubicBezTo>
                    <a:cubicBezTo>
                      <a:pt x="265" y="25"/>
                      <a:pt x="265" y="25"/>
                      <a:pt x="265" y="25"/>
                    </a:cubicBezTo>
                    <a:cubicBezTo>
                      <a:pt x="264" y="23"/>
                      <a:pt x="261" y="24"/>
                      <a:pt x="261" y="25"/>
                    </a:cubicBezTo>
                    <a:cubicBezTo>
                      <a:pt x="260" y="24"/>
                      <a:pt x="259" y="23"/>
                      <a:pt x="259" y="23"/>
                    </a:cubicBezTo>
                    <a:cubicBezTo>
                      <a:pt x="258" y="23"/>
                      <a:pt x="258" y="24"/>
                      <a:pt x="257" y="24"/>
                    </a:cubicBezTo>
                    <a:cubicBezTo>
                      <a:pt x="256" y="25"/>
                      <a:pt x="254" y="26"/>
                      <a:pt x="252" y="26"/>
                    </a:cubicBezTo>
                    <a:cubicBezTo>
                      <a:pt x="252" y="26"/>
                      <a:pt x="251" y="26"/>
                      <a:pt x="251" y="26"/>
                    </a:cubicBezTo>
                    <a:cubicBezTo>
                      <a:pt x="252" y="26"/>
                      <a:pt x="253" y="25"/>
                      <a:pt x="253" y="25"/>
                    </a:cubicBezTo>
                    <a:cubicBezTo>
                      <a:pt x="253" y="25"/>
                      <a:pt x="253" y="25"/>
                      <a:pt x="253" y="25"/>
                    </a:cubicBezTo>
                    <a:cubicBezTo>
                      <a:pt x="253" y="25"/>
                      <a:pt x="253" y="25"/>
                      <a:pt x="254" y="24"/>
                    </a:cubicBezTo>
                    <a:cubicBezTo>
                      <a:pt x="253" y="23"/>
                      <a:pt x="251" y="24"/>
                      <a:pt x="250" y="23"/>
                    </a:cubicBezTo>
                    <a:cubicBezTo>
                      <a:pt x="252" y="23"/>
                      <a:pt x="251" y="20"/>
                      <a:pt x="250" y="20"/>
                    </a:cubicBezTo>
                    <a:cubicBezTo>
                      <a:pt x="247" y="19"/>
                      <a:pt x="245" y="19"/>
                      <a:pt x="243" y="18"/>
                    </a:cubicBezTo>
                    <a:cubicBezTo>
                      <a:pt x="242" y="16"/>
                      <a:pt x="245" y="18"/>
                      <a:pt x="246" y="18"/>
                    </a:cubicBezTo>
                    <a:cubicBezTo>
                      <a:pt x="250" y="19"/>
                      <a:pt x="255" y="19"/>
                      <a:pt x="259" y="19"/>
                    </a:cubicBezTo>
                    <a:cubicBezTo>
                      <a:pt x="259" y="17"/>
                      <a:pt x="263" y="16"/>
                      <a:pt x="265" y="16"/>
                    </a:cubicBezTo>
                    <a:cubicBezTo>
                      <a:pt x="267" y="15"/>
                      <a:pt x="268" y="15"/>
                      <a:pt x="267" y="14"/>
                    </a:cubicBezTo>
                    <a:cubicBezTo>
                      <a:pt x="267" y="12"/>
                      <a:pt x="266" y="13"/>
                      <a:pt x="265" y="12"/>
                    </a:cubicBezTo>
                    <a:cubicBezTo>
                      <a:pt x="263" y="11"/>
                      <a:pt x="260" y="11"/>
                      <a:pt x="258" y="11"/>
                    </a:cubicBezTo>
                    <a:cubicBezTo>
                      <a:pt x="258" y="11"/>
                      <a:pt x="259" y="10"/>
                      <a:pt x="259" y="10"/>
                    </a:cubicBezTo>
                    <a:cubicBezTo>
                      <a:pt x="259" y="10"/>
                      <a:pt x="258" y="8"/>
                      <a:pt x="258" y="8"/>
                    </a:cubicBezTo>
                    <a:cubicBezTo>
                      <a:pt x="257" y="7"/>
                      <a:pt x="255" y="8"/>
                      <a:pt x="254" y="9"/>
                    </a:cubicBezTo>
                    <a:cubicBezTo>
                      <a:pt x="254" y="8"/>
                      <a:pt x="254" y="7"/>
                      <a:pt x="254" y="7"/>
                    </a:cubicBezTo>
                    <a:cubicBezTo>
                      <a:pt x="253" y="7"/>
                      <a:pt x="251" y="8"/>
                      <a:pt x="250" y="8"/>
                    </a:cubicBezTo>
                    <a:cubicBezTo>
                      <a:pt x="250" y="8"/>
                      <a:pt x="250" y="8"/>
                      <a:pt x="250" y="8"/>
                    </a:cubicBezTo>
                    <a:cubicBezTo>
                      <a:pt x="248" y="6"/>
                      <a:pt x="245" y="2"/>
                      <a:pt x="243" y="6"/>
                    </a:cubicBezTo>
                    <a:cubicBezTo>
                      <a:pt x="243" y="7"/>
                      <a:pt x="240" y="10"/>
                      <a:pt x="241" y="11"/>
                    </a:cubicBezTo>
                    <a:cubicBezTo>
                      <a:pt x="242" y="12"/>
                      <a:pt x="240" y="14"/>
                      <a:pt x="238" y="15"/>
                    </a:cubicBezTo>
                    <a:cubicBezTo>
                      <a:pt x="238" y="13"/>
                      <a:pt x="239" y="13"/>
                      <a:pt x="240" y="12"/>
                    </a:cubicBezTo>
                    <a:cubicBezTo>
                      <a:pt x="238" y="12"/>
                      <a:pt x="236" y="13"/>
                      <a:pt x="235" y="12"/>
                    </a:cubicBezTo>
                    <a:cubicBezTo>
                      <a:pt x="234" y="12"/>
                      <a:pt x="235" y="11"/>
                      <a:pt x="235" y="11"/>
                    </a:cubicBezTo>
                    <a:cubicBezTo>
                      <a:pt x="237" y="10"/>
                      <a:pt x="239" y="10"/>
                      <a:pt x="239" y="7"/>
                    </a:cubicBezTo>
                    <a:cubicBezTo>
                      <a:pt x="238" y="8"/>
                      <a:pt x="236" y="8"/>
                      <a:pt x="235" y="8"/>
                    </a:cubicBezTo>
                    <a:cubicBezTo>
                      <a:pt x="235" y="8"/>
                      <a:pt x="235" y="8"/>
                      <a:pt x="235" y="8"/>
                    </a:cubicBezTo>
                    <a:cubicBezTo>
                      <a:pt x="235" y="8"/>
                      <a:pt x="236" y="8"/>
                      <a:pt x="236" y="8"/>
                    </a:cubicBezTo>
                    <a:cubicBezTo>
                      <a:pt x="236" y="8"/>
                      <a:pt x="235" y="7"/>
                      <a:pt x="235" y="7"/>
                    </a:cubicBezTo>
                    <a:cubicBezTo>
                      <a:pt x="236" y="6"/>
                      <a:pt x="236" y="6"/>
                      <a:pt x="238" y="6"/>
                    </a:cubicBezTo>
                    <a:cubicBezTo>
                      <a:pt x="238" y="6"/>
                      <a:pt x="239" y="6"/>
                      <a:pt x="239" y="6"/>
                    </a:cubicBezTo>
                    <a:cubicBezTo>
                      <a:pt x="240" y="5"/>
                      <a:pt x="241" y="5"/>
                      <a:pt x="241" y="4"/>
                    </a:cubicBezTo>
                    <a:cubicBezTo>
                      <a:pt x="242" y="3"/>
                      <a:pt x="242" y="2"/>
                      <a:pt x="240" y="2"/>
                    </a:cubicBezTo>
                    <a:cubicBezTo>
                      <a:pt x="238" y="1"/>
                      <a:pt x="235" y="0"/>
                      <a:pt x="233" y="0"/>
                    </a:cubicBezTo>
                    <a:cubicBezTo>
                      <a:pt x="233" y="0"/>
                      <a:pt x="232" y="2"/>
                      <a:pt x="232" y="2"/>
                    </a:cubicBezTo>
                    <a:cubicBezTo>
                      <a:pt x="231" y="3"/>
                      <a:pt x="229" y="3"/>
                      <a:pt x="228" y="4"/>
                    </a:cubicBezTo>
                    <a:cubicBezTo>
                      <a:pt x="229" y="4"/>
                      <a:pt x="230" y="4"/>
                      <a:pt x="230" y="4"/>
                    </a:cubicBezTo>
                    <a:cubicBezTo>
                      <a:pt x="230" y="4"/>
                      <a:pt x="230" y="4"/>
                      <a:pt x="230" y="4"/>
                    </a:cubicBezTo>
                    <a:cubicBezTo>
                      <a:pt x="231" y="4"/>
                      <a:pt x="231" y="4"/>
                      <a:pt x="231" y="5"/>
                    </a:cubicBezTo>
                    <a:cubicBezTo>
                      <a:pt x="231" y="5"/>
                      <a:pt x="232" y="5"/>
                      <a:pt x="233" y="6"/>
                    </a:cubicBezTo>
                    <a:cubicBezTo>
                      <a:pt x="231" y="7"/>
                      <a:pt x="229" y="7"/>
                      <a:pt x="227" y="8"/>
                    </a:cubicBezTo>
                    <a:cubicBezTo>
                      <a:pt x="228" y="8"/>
                      <a:pt x="227" y="8"/>
                      <a:pt x="227" y="9"/>
                    </a:cubicBezTo>
                    <a:cubicBezTo>
                      <a:pt x="227" y="9"/>
                      <a:pt x="229" y="9"/>
                      <a:pt x="229" y="10"/>
                    </a:cubicBezTo>
                    <a:cubicBezTo>
                      <a:pt x="228" y="10"/>
                      <a:pt x="226" y="9"/>
                      <a:pt x="226" y="10"/>
                    </a:cubicBezTo>
                    <a:cubicBezTo>
                      <a:pt x="226" y="11"/>
                      <a:pt x="226" y="11"/>
                      <a:pt x="227" y="12"/>
                    </a:cubicBezTo>
                    <a:cubicBezTo>
                      <a:pt x="226" y="12"/>
                      <a:pt x="226" y="11"/>
                      <a:pt x="225" y="11"/>
                    </a:cubicBezTo>
                    <a:cubicBezTo>
                      <a:pt x="224" y="11"/>
                      <a:pt x="224" y="12"/>
                      <a:pt x="223" y="13"/>
                    </a:cubicBezTo>
                    <a:cubicBezTo>
                      <a:pt x="223" y="12"/>
                      <a:pt x="222" y="13"/>
                      <a:pt x="222" y="13"/>
                    </a:cubicBezTo>
                    <a:cubicBezTo>
                      <a:pt x="222" y="13"/>
                      <a:pt x="222" y="14"/>
                      <a:pt x="221" y="13"/>
                    </a:cubicBezTo>
                    <a:cubicBezTo>
                      <a:pt x="221" y="12"/>
                      <a:pt x="221" y="8"/>
                      <a:pt x="220" y="9"/>
                    </a:cubicBezTo>
                    <a:cubicBezTo>
                      <a:pt x="220" y="8"/>
                      <a:pt x="222" y="8"/>
                      <a:pt x="222" y="7"/>
                    </a:cubicBezTo>
                    <a:cubicBezTo>
                      <a:pt x="223" y="6"/>
                      <a:pt x="223" y="4"/>
                      <a:pt x="223" y="3"/>
                    </a:cubicBezTo>
                    <a:cubicBezTo>
                      <a:pt x="221" y="4"/>
                      <a:pt x="218" y="6"/>
                      <a:pt x="216" y="8"/>
                    </a:cubicBezTo>
                    <a:cubicBezTo>
                      <a:pt x="215" y="9"/>
                      <a:pt x="215" y="9"/>
                      <a:pt x="214" y="10"/>
                    </a:cubicBezTo>
                    <a:cubicBezTo>
                      <a:pt x="214" y="10"/>
                      <a:pt x="214" y="11"/>
                      <a:pt x="213" y="11"/>
                    </a:cubicBezTo>
                    <a:cubicBezTo>
                      <a:pt x="212" y="11"/>
                      <a:pt x="212" y="12"/>
                      <a:pt x="211" y="13"/>
                    </a:cubicBezTo>
                    <a:cubicBezTo>
                      <a:pt x="211" y="13"/>
                      <a:pt x="210" y="14"/>
                      <a:pt x="210" y="14"/>
                    </a:cubicBezTo>
                    <a:cubicBezTo>
                      <a:pt x="210" y="15"/>
                      <a:pt x="210" y="14"/>
                      <a:pt x="210" y="15"/>
                    </a:cubicBezTo>
                    <a:cubicBezTo>
                      <a:pt x="210" y="15"/>
                      <a:pt x="211" y="15"/>
                      <a:pt x="210" y="15"/>
                    </a:cubicBezTo>
                    <a:cubicBezTo>
                      <a:pt x="210" y="16"/>
                      <a:pt x="209" y="17"/>
                      <a:pt x="208" y="18"/>
                    </a:cubicBezTo>
                    <a:cubicBezTo>
                      <a:pt x="208" y="18"/>
                      <a:pt x="208" y="19"/>
                      <a:pt x="207" y="19"/>
                    </a:cubicBezTo>
                    <a:cubicBezTo>
                      <a:pt x="207" y="19"/>
                      <a:pt x="206" y="17"/>
                      <a:pt x="206" y="18"/>
                    </a:cubicBezTo>
                    <a:cubicBezTo>
                      <a:pt x="206" y="18"/>
                      <a:pt x="206" y="19"/>
                      <a:pt x="206" y="19"/>
                    </a:cubicBezTo>
                    <a:cubicBezTo>
                      <a:pt x="203" y="18"/>
                      <a:pt x="207" y="14"/>
                      <a:pt x="207" y="12"/>
                    </a:cubicBezTo>
                    <a:cubicBezTo>
                      <a:pt x="206" y="11"/>
                      <a:pt x="207" y="10"/>
                      <a:pt x="208" y="10"/>
                    </a:cubicBezTo>
                    <a:cubicBezTo>
                      <a:pt x="209" y="9"/>
                      <a:pt x="210" y="9"/>
                      <a:pt x="211" y="8"/>
                    </a:cubicBezTo>
                    <a:cubicBezTo>
                      <a:pt x="211" y="8"/>
                      <a:pt x="212" y="7"/>
                      <a:pt x="212" y="7"/>
                    </a:cubicBezTo>
                    <a:cubicBezTo>
                      <a:pt x="213" y="6"/>
                      <a:pt x="214" y="5"/>
                      <a:pt x="215" y="5"/>
                    </a:cubicBezTo>
                    <a:cubicBezTo>
                      <a:pt x="213" y="3"/>
                      <a:pt x="210" y="3"/>
                      <a:pt x="208" y="3"/>
                    </a:cubicBezTo>
                    <a:cubicBezTo>
                      <a:pt x="208" y="3"/>
                      <a:pt x="207" y="3"/>
                      <a:pt x="206" y="4"/>
                    </a:cubicBezTo>
                    <a:cubicBezTo>
                      <a:pt x="206" y="4"/>
                      <a:pt x="205" y="4"/>
                      <a:pt x="205" y="4"/>
                    </a:cubicBezTo>
                    <a:cubicBezTo>
                      <a:pt x="205" y="4"/>
                      <a:pt x="206" y="3"/>
                      <a:pt x="206" y="3"/>
                    </a:cubicBezTo>
                    <a:cubicBezTo>
                      <a:pt x="206" y="2"/>
                      <a:pt x="205" y="3"/>
                      <a:pt x="204" y="3"/>
                    </a:cubicBezTo>
                    <a:cubicBezTo>
                      <a:pt x="203" y="4"/>
                      <a:pt x="204" y="2"/>
                      <a:pt x="202" y="2"/>
                    </a:cubicBezTo>
                    <a:cubicBezTo>
                      <a:pt x="203" y="2"/>
                      <a:pt x="202" y="1"/>
                      <a:pt x="201" y="2"/>
                    </a:cubicBezTo>
                    <a:cubicBezTo>
                      <a:pt x="201" y="2"/>
                      <a:pt x="201" y="4"/>
                      <a:pt x="201" y="5"/>
                    </a:cubicBezTo>
                    <a:cubicBezTo>
                      <a:pt x="200" y="6"/>
                      <a:pt x="200" y="5"/>
                      <a:pt x="200" y="5"/>
                    </a:cubicBezTo>
                    <a:cubicBezTo>
                      <a:pt x="199" y="5"/>
                      <a:pt x="198" y="4"/>
                      <a:pt x="198" y="5"/>
                    </a:cubicBezTo>
                    <a:cubicBezTo>
                      <a:pt x="198" y="6"/>
                      <a:pt x="201" y="8"/>
                      <a:pt x="202" y="8"/>
                    </a:cubicBezTo>
                    <a:cubicBezTo>
                      <a:pt x="200" y="8"/>
                      <a:pt x="199" y="7"/>
                      <a:pt x="198" y="10"/>
                    </a:cubicBezTo>
                    <a:cubicBezTo>
                      <a:pt x="198" y="11"/>
                      <a:pt x="198" y="11"/>
                      <a:pt x="199" y="12"/>
                    </a:cubicBezTo>
                    <a:cubicBezTo>
                      <a:pt x="198" y="12"/>
                      <a:pt x="197" y="11"/>
                      <a:pt x="196" y="11"/>
                    </a:cubicBezTo>
                    <a:cubicBezTo>
                      <a:pt x="195" y="11"/>
                      <a:pt x="193" y="12"/>
                      <a:pt x="193" y="12"/>
                    </a:cubicBezTo>
                    <a:cubicBezTo>
                      <a:pt x="191" y="13"/>
                      <a:pt x="189" y="14"/>
                      <a:pt x="188" y="16"/>
                    </a:cubicBezTo>
                    <a:cubicBezTo>
                      <a:pt x="189" y="16"/>
                      <a:pt x="190" y="16"/>
                      <a:pt x="190" y="16"/>
                    </a:cubicBezTo>
                    <a:cubicBezTo>
                      <a:pt x="189" y="16"/>
                      <a:pt x="188" y="16"/>
                      <a:pt x="187" y="17"/>
                    </a:cubicBezTo>
                    <a:cubicBezTo>
                      <a:pt x="188" y="17"/>
                      <a:pt x="189" y="18"/>
                      <a:pt x="188" y="18"/>
                    </a:cubicBezTo>
                    <a:cubicBezTo>
                      <a:pt x="188" y="19"/>
                      <a:pt x="187" y="19"/>
                      <a:pt x="187" y="19"/>
                    </a:cubicBezTo>
                    <a:cubicBezTo>
                      <a:pt x="188" y="20"/>
                      <a:pt x="190" y="20"/>
                      <a:pt x="190" y="20"/>
                    </a:cubicBezTo>
                    <a:cubicBezTo>
                      <a:pt x="190" y="21"/>
                      <a:pt x="189" y="21"/>
                      <a:pt x="189" y="21"/>
                    </a:cubicBezTo>
                    <a:cubicBezTo>
                      <a:pt x="188" y="21"/>
                      <a:pt x="187" y="22"/>
                      <a:pt x="186" y="22"/>
                    </a:cubicBezTo>
                    <a:cubicBezTo>
                      <a:pt x="188" y="21"/>
                      <a:pt x="185" y="20"/>
                      <a:pt x="185" y="20"/>
                    </a:cubicBezTo>
                    <a:cubicBezTo>
                      <a:pt x="185" y="19"/>
                      <a:pt x="186" y="19"/>
                      <a:pt x="185" y="19"/>
                    </a:cubicBezTo>
                    <a:cubicBezTo>
                      <a:pt x="184" y="19"/>
                      <a:pt x="184" y="19"/>
                      <a:pt x="183" y="19"/>
                    </a:cubicBezTo>
                    <a:cubicBezTo>
                      <a:pt x="181" y="19"/>
                      <a:pt x="180" y="20"/>
                      <a:pt x="178" y="20"/>
                    </a:cubicBezTo>
                    <a:cubicBezTo>
                      <a:pt x="179" y="19"/>
                      <a:pt x="182" y="19"/>
                      <a:pt x="183" y="18"/>
                    </a:cubicBezTo>
                    <a:cubicBezTo>
                      <a:pt x="183" y="18"/>
                      <a:pt x="185" y="17"/>
                      <a:pt x="185" y="17"/>
                    </a:cubicBezTo>
                    <a:cubicBezTo>
                      <a:pt x="185" y="16"/>
                      <a:pt x="180" y="16"/>
                      <a:pt x="180" y="16"/>
                    </a:cubicBezTo>
                    <a:cubicBezTo>
                      <a:pt x="179" y="16"/>
                      <a:pt x="178" y="17"/>
                      <a:pt x="178" y="17"/>
                    </a:cubicBezTo>
                    <a:cubicBezTo>
                      <a:pt x="178" y="18"/>
                      <a:pt x="180" y="18"/>
                      <a:pt x="180" y="18"/>
                    </a:cubicBezTo>
                    <a:cubicBezTo>
                      <a:pt x="179" y="18"/>
                      <a:pt x="178" y="18"/>
                      <a:pt x="177" y="18"/>
                    </a:cubicBezTo>
                    <a:cubicBezTo>
                      <a:pt x="177" y="18"/>
                      <a:pt x="177" y="18"/>
                      <a:pt x="177" y="18"/>
                    </a:cubicBezTo>
                    <a:cubicBezTo>
                      <a:pt x="174" y="17"/>
                      <a:pt x="170" y="17"/>
                      <a:pt x="167" y="16"/>
                    </a:cubicBezTo>
                    <a:cubicBezTo>
                      <a:pt x="168" y="17"/>
                      <a:pt x="169" y="17"/>
                      <a:pt x="170" y="18"/>
                    </a:cubicBezTo>
                    <a:cubicBezTo>
                      <a:pt x="170" y="18"/>
                      <a:pt x="170" y="18"/>
                      <a:pt x="170" y="19"/>
                    </a:cubicBezTo>
                    <a:cubicBezTo>
                      <a:pt x="170" y="19"/>
                      <a:pt x="170" y="18"/>
                      <a:pt x="171" y="19"/>
                    </a:cubicBezTo>
                    <a:cubicBezTo>
                      <a:pt x="171" y="19"/>
                      <a:pt x="171" y="19"/>
                      <a:pt x="171" y="19"/>
                    </a:cubicBezTo>
                    <a:cubicBezTo>
                      <a:pt x="173" y="19"/>
                      <a:pt x="174" y="19"/>
                      <a:pt x="176" y="18"/>
                    </a:cubicBezTo>
                    <a:cubicBezTo>
                      <a:pt x="176" y="19"/>
                      <a:pt x="175" y="20"/>
                      <a:pt x="175" y="20"/>
                    </a:cubicBezTo>
                    <a:cubicBezTo>
                      <a:pt x="175" y="21"/>
                      <a:pt x="176" y="21"/>
                      <a:pt x="175" y="22"/>
                    </a:cubicBezTo>
                    <a:cubicBezTo>
                      <a:pt x="173" y="23"/>
                      <a:pt x="175" y="22"/>
                      <a:pt x="175" y="23"/>
                    </a:cubicBezTo>
                    <a:cubicBezTo>
                      <a:pt x="175" y="23"/>
                      <a:pt x="176" y="23"/>
                      <a:pt x="174" y="24"/>
                    </a:cubicBezTo>
                    <a:cubicBezTo>
                      <a:pt x="175" y="24"/>
                      <a:pt x="176" y="24"/>
                      <a:pt x="176" y="25"/>
                    </a:cubicBezTo>
                    <a:cubicBezTo>
                      <a:pt x="173" y="24"/>
                      <a:pt x="170" y="22"/>
                      <a:pt x="167" y="21"/>
                    </a:cubicBezTo>
                    <a:cubicBezTo>
                      <a:pt x="167" y="22"/>
                      <a:pt x="168" y="23"/>
                      <a:pt x="167" y="24"/>
                    </a:cubicBezTo>
                    <a:cubicBezTo>
                      <a:pt x="165" y="25"/>
                      <a:pt x="165" y="23"/>
                      <a:pt x="164" y="22"/>
                    </a:cubicBezTo>
                    <a:cubicBezTo>
                      <a:pt x="163" y="22"/>
                      <a:pt x="159" y="24"/>
                      <a:pt x="160" y="25"/>
                    </a:cubicBezTo>
                    <a:cubicBezTo>
                      <a:pt x="160" y="26"/>
                      <a:pt x="160" y="28"/>
                      <a:pt x="161" y="29"/>
                    </a:cubicBezTo>
                    <a:cubicBezTo>
                      <a:pt x="161" y="29"/>
                      <a:pt x="160" y="28"/>
                      <a:pt x="159" y="28"/>
                    </a:cubicBezTo>
                    <a:cubicBezTo>
                      <a:pt x="159" y="29"/>
                      <a:pt x="158" y="30"/>
                      <a:pt x="158" y="31"/>
                    </a:cubicBezTo>
                    <a:cubicBezTo>
                      <a:pt x="157" y="32"/>
                      <a:pt x="155" y="33"/>
                      <a:pt x="154" y="33"/>
                    </a:cubicBezTo>
                    <a:cubicBezTo>
                      <a:pt x="155" y="32"/>
                      <a:pt x="156" y="32"/>
                      <a:pt x="156" y="31"/>
                    </a:cubicBezTo>
                    <a:cubicBezTo>
                      <a:pt x="157" y="30"/>
                      <a:pt x="157" y="30"/>
                      <a:pt x="157" y="29"/>
                    </a:cubicBezTo>
                    <a:cubicBezTo>
                      <a:pt x="157" y="29"/>
                      <a:pt x="158" y="28"/>
                      <a:pt x="158" y="28"/>
                    </a:cubicBezTo>
                    <a:cubicBezTo>
                      <a:pt x="158" y="27"/>
                      <a:pt x="158" y="27"/>
                      <a:pt x="158" y="26"/>
                    </a:cubicBezTo>
                    <a:cubicBezTo>
                      <a:pt x="158" y="25"/>
                      <a:pt x="159" y="24"/>
                      <a:pt x="159" y="23"/>
                    </a:cubicBezTo>
                    <a:cubicBezTo>
                      <a:pt x="159" y="22"/>
                      <a:pt x="158" y="21"/>
                      <a:pt x="158" y="21"/>
                    </a:cubicBezTo>
                    <a:cubicBezTo>
                      <a:pt x="157" y="21"/>
                      <a:pt x="157" y="22"/>
                      <a:pt x="156" y="22"/>
                    </a:cubicBezTo>
                    <a:cubicBezTo>
                      <a:pt x="156" y="22"/>
                      <a:pt x="156" y="22"/>
                      <a:pt x="156" y="21"/>
                    </a:cubicBezTo>
                    <a:cubicBezTo>
                      <a:pt x="155" y="22"/>
                      <a:pt x="155" y="24"/>
                      <a:pt x="154" y="24"/>
                    </a:cubicBezTo>
                    <a:cubicBezTo>
                      <a:pt x="154" y="24"/>
                      <a:pt x="155" y="24"/>
                      <a:pt x="155" y="23"/>
                    </a:cubicBezTo>
                    <a:cubicBezTo>
                      <a:pt x="154" y="23"/>
                      <a:pt x="153" y="24"/>
                      <a:pt x="153" y="25"/>
                    </a:cubicBezTo>
                    <a:cubicBezTo>
                      <a:pt x="152" y="27"/>
                      <a:pt x="154" y="27"/>
                      <a:pt x="155" y="28"/>
                    </a:cubicBezTo>
                    <a:cubicBezTo>
                      <a:pt x="154" y="29"/>
                      <a:pt x="151" y="31"/>
                      <a:pt x="150" y="31"/>
                    </a:cubicBezTo>
                    <a:cubicBezTo>
                      <a:pt x="151" y="30"/>
                      <a:pt x="151" y="30"/>
                      <a:pt x="151" y="29"/>
                    </a:cubicBezTo>
                    <a:cubicBezTo>
                      <a:pt x="151" y="28"/>
                      <a:pt x="152" y="28"/>
                      <a:pt x="152" y="28"/>
                    </a:cubicBezTo>
                    <a:cubicBezTo>
                      <a:pt x="152" y="27"/>
                      <a:pt x="151" y="27"/>
                      <a:pt x="151" y="26"/>
                    </a:cubicBezTo>
                    <a:cubicBezTo>
                      <a:pt x="151" y="26"/>
                      <a:pt x="152" y="25"/>
                      <a:pt x="152" y="24"/>
                    </a:cubicBezTo>
                    <a:cubicBezTo>
                      <a:pt x="152" y="23"/>
                      <a:pt x="149" y="24"/>
                      <a:pt x="148" y="24"/>
                    </a:cubicBezTo>
                    <a:cubicBezTo>
                      <a:pt x="147" y="24"/>
                      <a:pt x="147" y="24"/>
                      <a:pt x="146" y="25"/>
                    </a:cubicBezTo>
                    <a:cubicBezTo>
                      <a:pt x="145" y="25"/>
                      <a:pt x="143" y="27"/>
                      <a:pt x="144" y="28"/>
                    </a:cubicBezTo>
                    <a:cubicBezTo>
                      <a:pt x="145" y="28"/>
                      <a:pt x="146" y="28"/>
                      <a:pt x="147" y="29"/>
                    </a:cubicBezTo>
                    <a:cubicBezTo>
                      <a:pt x="146" y="29"/>
                      <a:pt x="145" y="29"/>
                      <a:pt x="144" y="29"/>
                    </a:cubicBezTo>
                    <a:cubicBezTo>
                      <a:pt x="145" y="30"/>
                      <a:pt x="145" y="31"/>
                      <a:pt x="145" y="31"/>
                    </a:cubicBezTo>
                    <a:cubicBezTo>
                      <a:pt x="143" y="30"/>
                      <a:pt x="142" y="30"/>
                      <a:pt x="139" y="29"/>
                    </a:cubicBezTo>
                    <a:cubicBezTo>
                      <a:pt x="140" y="30"/>
                      <a:pt x="141" y="32"/>
                      <a:pt x="142" y="32"/>
                    </a:cubicBezTo>
                    <a:cubicBezTo>
                      <a:pt x="143" y="33"/>
                      <a:pt x="144" y="33"/>
                      <a:pt x="144" y="33"/>
                    </a:cubicBezTo>
                    <a:cubicBezTo>
                      <a:pt x="143" y="34"/>
                      <a:pt x="141" y="34"/>
                      <a:pt x="140" y="33"/>
                    </a:cubicBezTo>
                    <a:cubicBezTo>
                      <a:pt x="139" y="33"/>
                      <a:pt x="139" y="33"/>
                      <a:pt x="138" y="32"/>
                    </a:cubicBezTo>
                    <a:cubicBezTo>
                      <a:pt x="138" y="32"/>
                      <a:pt x="138" y="32"/>
                      <a:pt x="138" y="32"/>
                    </a:cubicBezTo>
                    <a:cubicBezTo>
                      <a:pt x="137" y="31"/>
                      <a:pt x="138" y="31"/>
                      <a:pt x="137" y="30"/>
                    </a:cubicBezTo>
                    <a:cubicBezTo>
                      <a:pt x="136" y="30"/>
                      <a:pt x="136" y="31"/>
                      <a:pt x="135" y="32"/>
                    </a:cubicBezTo>
                    <a:cubicBezTo>
                      <a:pt x="135" y="32"/>
                      <a:pt x="134" y="33"/>
                      <a:pt x="134" y="34"/>
                    </a:cubicBezTo>
                    <a:cubicBezTo>
                      <a:pt x="134" y="35"/>
                      <a:pt x="135" y="34"/>
                      <a:pt x="134" y="35"/>
                    </a:cubicBezTo>
                    <a:cubicBezTo>
                      <a:pt x="133" y="36"/>
                      <a:pt x="133" y="36"/>
                      <a:pt x="132" y="36"/>
                    </a:cubicBezTo>
                    <a:cubicBezTo>
                      <a:pt x="132" y="36"/>
                      <a:pt x="131" y="36"/>
                      <a:pt x="131" y="37"/>
                    </a:cubicBezTo>
                    <a:cubicBezTo>
                      <a:pt x="129" y="38"/>
                      <a:pt x="131" y="40"/>
                      <a:pt x="132" y="41"/>
                    </a:cubicBezTo>
                    <a:cubicBezTo>
                      <a:pt x="131" y="41"/>
                      <a:pt x="130" y="41"/>
                      <a:pt x="129" y="42"/>
                    </a:cubicBezTo>
                    <a:cubicBezTo>
                      <a:pt x="130" y="42"/>
                      <a:pt x="132" y="42"/>
                      <a:pt x="132" y="43"/>
                    </a:cubicBezTo>
                    <a:cubicBezTo>
                      <a:pt x="131" y="43"/>
                      <a:pt x="130" y="42"/>
                      <a:pt x="128" y="42"/>
                    </a:cubicBezTo>
                    <a:cubicBezTo>
                      <a:pt x="129" y="44"/>
                      <a:pt x="129" y="44"/>
                      <a:pt x="130" y="44"/>
                    </a:cubicBezTo>
                    <a:cubicBezTo>
                      <a:pt x="128" y="44"/>
                      <a:pt x="127" y="43"/>
                      <a:pt x="124" y="44"/>
                    </a:cubicBezTo>
                    <a:cubicBezTo>
                      <a:pt x="123" y="45"/>
                      <a:pt x="122" y="45"/>
                      <a:pt x="120" y="46"/>
                    </a:cubicBezTo>
                    <a:cubicBezTo>
                      <a:pt x="119" y="47"/>
                      <a:pt x="119" y="47"/>
                      <a:pt x="119" y="48"/>
                    </a:cubicBezTo>
                    <a:cubicBezTo>
                      <a:pt x="122" y="48"/>
                      <a:pt x="124" y="48"/>
                      <a:pt x="126" y="48"/>
                    </a:cubicBezTo>
                    <a:cubicBezTo>
                      <a:pt x="127" y="48"/>
                      <a:pt x="128" y="47"/>
                      <a:pt x="128" y="47"/>
                    </a:cubicBezTo>
                    <a:cubicBezTo>
                      <a:pt x="130" y="47"/>
                      <a:pt x="131" y="49"/>
                      <a:pt x="133" y="49"/>
                    </a:cubicBezTo>
                    <a:cubicBezTo>
                      <a:pt x="132" y="50"/>
                      <a:pt x="127" y="51"/>
                      <a:pt x="128" y="53"/>
                    </a:cubicBezTo>
                    <a:cubicBezTo>
                      <a:pt x="126" y="52"/>
                      <a:pt x="125" y="51"/>
                      <a:pt x="125" y="50"/>
                    </a:cubicBezTo>
                    <a:cubicBezTo>
                      <a:pt x="124" y="49"/>
                      <a:pt x="121" y="51"/>
                      <a:pt x="121" y="52"/>
                    </a:cubicBezTo>
                    <a:cubicBezTo>
                      <a:pt x="119" y="53"/>
                      <a:pt x="121" y="53"/>
                      <a:pt x="122" y="54"/>
                    </a:cubicBezTo>
                    <a:cubicBezTo>
                      <a:pt x="121" y="53"/>
                      <a:pt x="120" y="53"/>
                      <a:pt x="118" y="52"/>
                    </a:cubicBezTo>
                    <a:cubicBezTo>
                      <a:pt x="119" y="53"/>
                      <a:pt x="119" y="53"/>
                      <a:pt x="120" y="53"/>
                    </a:cubicBezTo>
                    <a:cubicBezTo>
                      <a:pt x="119" y="54"/>
                      <a:pt x="118" y="54"/>
                      <a:pt x="117" y="55"/>
                    </a:cubicBezTo>
                    <a:cubicBezTo>
                      <a:pt x="118" y="54"/>
                      <a:pt x="119" y="54"/>
                      <a:pt x="119" y="54"/>
                    </a:cubicBezTo>
                    <a:cubicBezTo>
                      <a:pt x="120" y="55"/>
                      <a:pt x="120" y="55"/>
                      <a:pt x="121" y="55"/>
                    </a:cubicBezTo>
                    <a:cubicBezTo>
                      <a:pt x="120" y="55"/>
                      <a:pt x="119" y="55"/>
                      <a:pt x="118" y="55"/>
                    </a:cubicBezTo>
                    <a:cubicBezTo>
                      <a:pt x="118" y="56"/>
                      <a:pt x="118" y="56"/>
                      <a:pt x="119" y="56"/>
                    </a:cubicBezTo>
                    <a:cubicBezTo>
                      <a:pt x="118" y="56"/>
                      <a:pt x="119" y="56"/>
                      <a:pt x="119" y="57"/>
                    </a:cubicBezTo>
                    <a:cubicBezTo>
                      <a:pt x="118" y="58"/>
                      <a:pt x="119" y="58"/>
                      <a:pt x="118" y="58"/>
                    </a:cubicBezTo>
                    <a:cubicBezTo>
                      <a:pt x="117" y="58"/>
                      <a:pt x="117" y="58"/>
                      <a:pt x="116" y="58"/>
                    </a:cubicBezTo>
                    <a:cubicBezTo>
                      <a:pt x="117" y="58"/>
                      <a:pt x="118" y="58"/>
                      <a:pt x="119" y="59"/>
                    </a:cubicBezTo>
                    <a:cubicBezTo>
                      <a:pt x="117" y="59"/>
                      <a:pt x="116" y="58"/>
                      <a:pt x="116" y="57"/>
                    </a:cubicBezTo>
                    <a:cubicBezTo>
                      <a:pt x="115" y="56"/>
                      <a:pt x="115" y="54"/>
                      <a:pt x="115" y="53"/>
                    </a:cubicBezTo>
                    <a:cubicBezTo>
                      <a:pt x="113" y="51"/>
                      <a:pt x="112" y="53"/>
                      <a:pt x="111" y="54"/>
                    </a:cubicBezTo>
                    <a:cubicBezTo>
                      <a:pt x="111" y="54"/>
                      <a:pt x="109" y="55"/>
                      <a:pt x="110" y="55"/>
                    </a:cubicBezTo>
                    <a:cubicBezTo>
                      <a:pt x="110" y="54"/>
                      <a:pt x="111" y="53"/>
                      <a:pt x="110" y="53"/>
                    </a:cubicBezTo>
                    <a:cubicBezTo>
                      <a:pt x="109" y="53"/>
                      <a:pt x="109" y="54"/>
                      <a:pt x="109" y="54"/>
                    </a:cubicBezTo>
                    <a:cubicBezTo>
                      <a:pt x="109" y="54"/>
                      <a:pt x="108" y="53"/>
                      <a:pt x="108" y="54"/>
                    </a:cubicBezTo>
                    <a:cubicBezTo>
                      <a:pt x="107" y="54"/>
                      <a:pt x="107" y="55"/>
                      <a:pt x="106" y="55"/>
                    </a:cubicBezTo>
                    <a:cubicBezTo>
                      <a:pt x="108" y="55"/>
                      <a:pt x="111" y="55"/>
                      <a:pt x="113" y="56"/>
                    </a:cubicBezTo>
                    <a:cubicBezTo>
                      <a:pt x="111" y="57"/>
                      <a:pt x="109" y="58"/>
                      <a:pt x="108" y="58"/>
                    </a:cubicBezTo>
                    <a:cubicBezTo>
                      <a:pt x="107" y="58"/>
                      <a:pt x="107" y="58"/>
                      <a:pt x="106" y="58"/>
                    </a:cubicBezTo>
                    <a:cubicBezTo>
                      <a:pt x="106" y="58"/>
                      <a:pt x="106" y="59"/>
                      <a:pt x="106" y="59"/>
                    </a:cubicBezTo>
                    <a:cubicBezTo>
                      <a:pt x="105" y="59"/>
                      <a:pt x="105" y="58"/>
                      <a:pt x="105" y="58"/>
                    </a:cubicBezTo>
                    <a:cubicBezTo>
                      <a:pt x="105" y="58"/>
                      <a:pt x="102" y="58"/>
                      <a:pt x="102" y="59"/>
                    </a:cubicBezTo>
                    <a:cubicBezTo>
                      <a:pt x="102" y="59"/>
                      <a:pt x="101" y="59"/>
                      <a:pt x="101" y="60"/>
                    </a:cubicBezTo>
                    <a:cubicBezTo>
                      <a:pt x="101" y="60"/>
                      <a:pt x="102" y="62"/>
                      <a:pt x="101" y="62"/>
                    </a:cubicBezTo>
                    <a:cubicBezTo>
                      <a:pt x="102" y="61"/>
                      <a:pt x="107" y="60"/>
                      <a:pt x="107" y="59"/>
                    </a:cubicBezTo>
                    <a:cubicBezTo>
                      <a:pt x="109" y="59"/>
                      <a:pt x="110" y="60"/>
                      <a:pt x="111" y="61"/>
                    </a:cubicBezTo>
                    <a:cubicBezTo>
                      <a:pt x="109" y="60"/>
                      <a:pt x="107" y="62"/>
                      <a:pt x="105" y="62"/>
                    </a:cubicBezTo>
                    <a:cubicBezTo>
                      <a:pt x="106" y="62"/>
                      <a:pt x="107" y="63"/>
                      <a:pt x="108" y="63"/>
                    </a:cubicBezTo>
                    <a:cubicBezTo>
                      <a:pt x="108" y="64"/>
                      <a:pt x="108" y="64"/>
                      <a:pt x="109" y="65"/>
                    </a:cubicBezTo>
                    <a:cubicBezTo>
                      <a:pt x="109" y="65"/>
                      <a:pt x="111" y="63"/>
                      <a:pt x="112" y="63"/>
                    </a:cubicBezTo>
                    <a:cubicBezTo>
                      <a:pt x="112" y="64"/>
                      <a:pt x="109" y="66"/>
                      <a:pt x="110" y="66"/>
                    </a:cubicBezTo>
                    <a:cubicBezTo>
                      <a:pt x="110" y="67"/>
                      <a:pt x="111" y="67"/>
                      <a:pt x="111" y="67"/>
                    </a:cubicBezTo>
                    <a:cubicBezTo>
                      <a:pt x="109" y="67"/>
                      <a:pt x="107" y="66"/>
                      <a:pt x="105" y="65"/>
                    </a:cubicBezTo>
                    <a:cubicBezTo>
                      <a:pt x="105" y="65"/>
                      <a:pt x="103" y="65"/>
                      <a:pt x="103" y="65"/>
                    </a:cubicBezTo>
                    <a:cubicBezTo>
                      <a:pt x="103" y="65"/>
                      <a:pt x="105" y="63"/>
                      <a:pt x="104" y="63"/>
                    </a:cubicBezTo>
                    <a:cubicBezTo>
                      <a:pt x="102" y="64"/>
                      <a:pt x="101" y="65"/>
                      <a:pt x="100" y="65"/>
                    </a:cubicBezTo>
                    <a:cubicBezTo>
                      <a:pt x="101" y="66"/>
                      <a:pt x="103" y="66"/>
                      <a:pt x="104" y="66"/>
                    </a:cubicBezTo>
                    <a:cubicBezTo>
                      <a:pt x="104" y="66"/>
                      <a:pt x="102" y="67"/>
                      <a:pt x="102" y="67"/>
                    </a:cubicBezTo>
                    <a:cubicBezTo>
                      <a:pt x="101" y="66"/>
                      <a:pt x="100" y="66"/>
                      <a:pt x="100" y="66"/>
                    </a:cubicBezTo>
                    <a:cubicBezTo>
                      <a:pt x="99" y="67"/>
                      <a:pt x="99" y="67"/>
                      <a:pt x="98" y="68"/>
                    </a:cubicBezTo>
                    <a:cubicBezTo>
                      <a:pt x="98" y="68"/>
                      <a:pt x="97" y="69"/>
                      <a:pt x="97" y="69"/>
                    </a:cubicBezTo>
                    <a:cubicBezTo>
                      <a:pt x="99" y="69"/>
                      <a:pt x="101" y="68"/>
                      <a:pt x="104" y="68"/>
                    </a:cubicBezTo>
                    <a:cubicBezTo>
                      <a:pt x="105" y="68"/>
                      <a:pt x="106" y="69"/>
                      <a:pt x="107" y="69"/>
                    </a:cubicBezTo>
                    <a:cubicBezTo>
                      <a:pt x="108" y="70"/>
                      <a:pt x="108" y="70"/>
                      <a:pt x="108" y="72"/>
                    </a:cubicBezTo>
                    <a:cubicBezTo>
                      <a:pt x="108" y="72"/>
                      <a:pt x="108" y="72"/>
                      <a:pt x="108" y="72"/>
                    </a:cubicBezTo>
                    <a:cubicBezTo>
                      <a:pt x="107" y="70"/>
                      <a:pt x="106" y="70"/>
                      <a:pt x="105" y="70"/>
                    </a:cubicBezTo>
                    <a:cubicBezTo>
                      <a:pt x="103" y="70"/>
                      <a:pt x="102" y="70"/>
                      <a:pt x="101" y="70"/>
                    </a:cubicBezTo>
                    <a:cubicBezTo>
                      <a:pt x="99" y="70"/>
                      <a:pt x="98" y="70"/>
                      <a:pt x="97" y="71"/>
                    </a:cubicBezTo>
                    <a:cubicBezTo>
                      <a:pt x="96" y="71"/>
                      <a:pt x="97" y="71"/>
                      <a:pt x="97" y="72"/>
                    </a:cubicBezTo>
                    <a:cubicBezTo>
                      <a:pt x="97" y="72"/>
                      <a:pt x="99" y="72"/>
                      <a:pt x="99" y="72"/>
                    </a:cubicBezTo>
                    <a:cubicBezTo>
                      <a:pt x="98" y="73"/>
                      <a:pt x="96" y="72"/>
                      <a:pt x="95" y="73"/>
                    </a:cubicBezTo>
                    <a:cubicBezTo>
                      <a:pt x="93" y="73"/>
                      <a:pt x="91" y="74"/>
                      <a:pt x="89" y="74"/>
                    </a:cubicBezTo>
                    <a:cubicBezTo>
                      <a:pt x="90" y="76"/>
                      <a:pt x="91" y="77"/>
                      <a:pt x="93" y="77"/>
                    </a:cubicBezTo>
                    <a:cubicBezTo>
                      <a:pt x="91" y="78"/>
                      <a:pt x="89" y="78"/>
                      <a:pt x="87" y="78"/>
                    </a:cubicBezTo>
                    <a:cubicBezTo>
                      <a:pt x="87" y="79"/>
                      <a:pt x="88" y="79"/>
                      <a:pt x="89" y="79"/>
                    </a:cubicBezTo>
                    <a:cubicBezTo>
                      <a:pt x="88" y="80"/>
                      <a:pt x="87" y="79"/>
                      <a:pt x="86" y="79"/>
                    </a:cubicBezTo>
                    <a:cubicBezTo>
                      <a:pt x="88" y="80"/>
                      <a:pt x="86" y="81"/>
                      <a:pt x="87" y="81"/>
                    </a:cubicBezTo>
                    <a:cubicBezTo>
                      <a:pt x="87" y="82"/>
                      <a:pt x="88" y="81"/>
                      <a:pt x="88" y="81"/>
                    </a:cubicBezTo>
                    <a:cubicBezTo>
                      <a:pt x="89" y="80"/>
                      <a:pt x="89" y="80"/>
                      <a:pt x="90" y="80"/>
                    </a:cubicBezTo>
                    <a:cubicBezTo>
                      <a:pt x="91" y="80"/>
                      <a:pt x="90" y="81"/>
                      <a:pt x="90" y="82"/>
                    </a:cubicBezTo>
                    <a:cubicBezTo>
                      <a:pt x="89" y="82"/>
                      <a:pt x="83" y="81"/>
                      <a:pt x="83" y="82"/>
                    </a:cubicBezTo>
                    <a:cubicBezTo>
                      <a:pt x="83" y="83"/>
                      <a:pt x="83" y="85"/>
                      <a:pt x="83" y="85"/>
                    </a:cubicBezTo>
                    <a:cubicBezTo>
                      <a:pt x="84" y="85"/>
                      <a:pt x="85" y="86"/>
                      <a:pt x="86" y="86"/>
                    </a:cubicBezTo>
                    <a:cubicBezTo>
                      <a:pt x="85" y="86"/>
                      <a:pt x="84" y="87"/>
                      <a:pt x="83" y="87"/>
                    </a:cubicBezTo>
                    <a:cubicBezTo>
                      <a:pt x="85" y="87"/>
                      <a:pt x="87" y="86"/>
                      <a:pt x="88" y="86"/>
                    </a:cubicBezTo>
                    <a:cubicBezTo>
                      <a:pt x="90" y="86"/>
                      <a:pt x="93" y="86"/>
                      <a:pt x="94" y="85"/>
                    </a:cubicBezTo>
                    <a:cubicBezTo>
                      <a:pt x="93" y="86"/>
                      <a:pt x="91" y="88"/>
                      <a:pt x="89" y="88"/>
                    </a:cubicBezTo>
                    <a:cubicBezTo>
                      <a:pt x="89" y="88"/>
                      <a:pt x="88" y="87"/>
                      <a:pt x="88" y="87"/>
                    </a:cubicBezTo>
                    <a:cubicBezTo>
                      <a:pt x="87" y="87"/>
                      <a:pt x="86" y="87"/>
                      <a:pt x="86" y="87"/>
                    </a:cubicBezTo>
                    <a:cubicBezTo>
                      <a:pt x="85" y="88"/>
                      <a:pt x="84" y="88"/>
                      <a:pt x="83" y="88"/>
                    </a:cubicBezTo>
                    <a:cubicBezTo>
                      <a:pt x="83" y="88"/>
                      <a:pt x="82" y="88"/>
                      <a:pt x="81" y="89"/>
                    </a:cubicBezTo>
                    <a:cubicBezTo>
                      <a:pt x="80" y="90"/>
                      <a:pt x="82" y="90"/>
                      <a:pt x="83" y="89"/>
                    </a:cubicBezTo>
                    <a:cubicBezTo>
                      <a:pt x="83" y="90"/>
                      <a:pt x="83" y="91"/>
                      <a:pt x="82" y="91"/>
                    </a:cubicBezTo>
                    <a:cubicBezTo>
                      <a:pt x="83" y="92"/>
                      <a:pt x="85" y="92"/>
                      <a:pt x="85" y="93"/>
                    </a:cubicBezTo>
                    <a:cubicBezTo>
                      <a:pt x="83" y="93"/>
                      <a:pt x="83" y="90"/>
                      <a:pt x="81" y="92"/>
                    </a:cubicBezTo>
                    <a:cubicBezTo>
                      <a:pt x="81" y="92"/>
                      <a:pt x="79" y="94"/>
                      <a:pt x="79" y="95"/>
                    </a:cubicBezTo>
                    <a:cubicBezTo>
                      <a:pt x="79" y="95"/>
                      <a:pt x="80" y="96"/>
                      <a:pt x="80" y="96"/>
                    </a:cubicBezTo>
                    <a:cubicBezTo>
                      <a:pt x="78" y="95"/>
                      <a:pt x="78" y="95"/>
                      <a:pt x="77" y="97"/>
                    </a:cubicBezTo>
                    <a:cubicBezTo>
                      <a:pt x="77" y="99"/>
                      <a:pt x="79" y="99"/>
                      <a:pt x="79" y="99"/>
                    </a:cubicBezTo>
                    <a:cubicBezTo>
                      <a:pt x="79" y="99"/>
                      <a:pt x="79" y="99"/>
                      <a:pt x="80" y="100"/>
                    </a:cubicBezTo>
                    <a:cubicBezTo>
                      <a:pt x="80" y="100"/>
                      <a:pt x="80" y="100"/>
                      <a:pt x="80" y="100"/>
                    </a:cubicBezTo>
                    <a:cubicBezTo>
                      <a:pt x="80" y="100"/>
                      <a:pt x="80" y="101"/>
                      <a:pt x="80" y="101"/>
                    </a:cubicBezTo>
                    <a:cubicBezTo>
                      <a:pt x="79" y="100"/>
                      <a:pt x="76" y="99"/>
                      <a:pt x="76" y="98"/>
                    </a:cubicBezTo>
                    <a:cubicBezTo>
                      <a:pt x="75" y="100"/>
                      <a:pt x="74" y="102"/>
                      <a:pt x="74" y="104"/>
                    </a:cubicBezTo>
                    <a:cubicBezTo>
                      <a:pt x="74" y="103"/>
                      <a:pt x="76" y="101"/>
                      <a:pt x="77" y="103"/>
                    </a:cubicBezTo>
                    <a:cubicBezTo>
                      <a:pt x="78" y="105"/>
                      <a:pt x="77" y="103"/>
                      <a:pt x="77" y="104"/>
                    </a:cubicBezTo>
                    <a:cubicBezTo>
                      <a:pt x="76" y="106"/>
                      <a:pt x="79" y="104"/>
                      <a:pt x="80" y="104"/>
                    </a:cubicBezTo>
                    <a:cubicBezTo>
                      <a:pt x="81" y="103"/>
                      <a:pt x="81" y="103"/>
                      <a:pt x="82" y="102"/>
                    </a:cubicBezTo>
                    <a:cubicBezTo>
                      <a:pt x="81" y="104"/>
                      <a:pt x="79" y="104"/>
                      <a:pt x="77" y="106"/>
                    </a:cubicBezTo>
                    <a:cubicBezTo>
                      <a:pt x="78" y="106"/>
                      <a:pt x="78" y="106"/>
                      <a:pt x="78" y="106"/>
                    </a:cubicBezTo>
                    <a:cubicBezTo>
                      <a:pt x="77" y="106"/>
                      <a:pt x="76" y="106"/>
                      <a:pt x="75" y="106"/>
                    </a:cubicBezTo>
                    <a:cubicBezTo>
                      <a:pt x="76" y="106"/>
                      <a:pt x="77" y="105"/>
                      <a:pt x="75" y="104"/>
                    </a:cubicBezTo>
                    <a:cubicBezTo>
                      <a:pt x="74" y="103"/>
                      <a:pt x="71" y="106"/>
                      <a:pt x="71" y="107"/>
                    </a:cubicBezTo>
                    <a:cubicBezTo>
                      <a:pt x="71" y="107"/>
                      <a:pt x="72" y="106"/>
                      <a:pt x="72" y="106"/>
                    </a:cubicBezTo>
                    <a:cubicBezTo>
                      <a:pt x="70" y="108"/>
                      <a:pt x="67" y="110"/>
                      <a:pt x="65" y="112"/>
                    </a:cubicBezTo>
                    <a:cubicBezTo>
                      <a:pt x="67" y="111"/>
                      <a:pt x="68" y="111"/>
                      <a:pt x="69" y="110"/>
                    </a:cubicBezTo>
                    <a:cubicBezTo>
                      <a:pt x="69" y="110"/>
                      <a:pt x="69" y="110"/>
                      <a:pt x="70" y="109"/>
                    </a:cubicBezTo>
                    <a:cubicBezTo>
                      <a:pt x="70" y="109"/>
                      <a:pt x="71" y="109"/>
                      <a:pt x="71" y="109"/>
                    </a:cubicBezTo>
                    <a:cubicBezTo>
                      <a:pt x="72" y="109"/>
                      <a:pt x="72" y="108"/>
                      <a:pt x="73" y="108"/>
                    </a:cubicBezTo>
                    <a:cubicBezTo>
                      <a:pt x="72" y="108"/>
                      <a:pt x="70" y="109"/>
                      <a:pt x="69" y="110"/>
                    </a:cubicBezTo>
                    <a:cubicBezTo>
                      <a:pt x="70" y="111"/>
                      <a:pt x="70" y="111"/>
                      <a:pt x="71" y="111"/>
                    </a:cubicBezTo>
                    <a:cubicBezTo>
                      <a:pt x="70" y="111"/>
                      <a:pt x="68" y="112"/>
                      <a:pt x="67" y="112"/>
                    </a:cubicBezTo>
                    <a:cubicBezTo>
                      <a:pt x="68" y="113"/>
                      <a:pt x="69" y="114"/>
                      <a:pt x="70" y="114"/>
                    </a:cubicBezTo>
                    <a:cubicBezTo>
                      <a:pt x="68" y="115"/>
                      <a:pt x="65" y="117"/>
                      <a:pt x="69" y="116"/>
                    </a:cubicBezTo>
                    <a:cubicBezTo>
                      <a:pt x="67" y="117"/>
                      <a:pt x="66" y="118"/>
                      <a:pt x="65" y="119"/>
                    </a:cubicBezTo>
                    <a:cubicBezTo>
                      <a:pt x="65" y="117"/>
                      <a:pt x="66" y="117"/>
                      <a:pt x="65" y="116"/>
                    </a:cubicBezTo>
                    <a:cubicBezTo>
                      <a:pt x="64" y="116"/>
                      <a:pt x="63" y="115"/>
                      <a:pt x="61" y="116"/>
                    </a:cubicBezTo>
                    <a:cubicBezTo>
                      <a:pt x="60" y="117"/>
                      <a:pt x="59" y="117"/>
                      <a:pt x="57" y="118"/>
                    </a:cubicBezTo>
                    <a:cubicBezTo>
                      <a:pt x="57" y="119"/>
                      <a:pt x="54" y="120"/>
                      <a:pt x="56" y="121"/>
                    </a:cubicBezTo>
                    <a:cubicBezTo>
                      <a:pt x="55" y="122"/>
                      <a:pt x="53" y="123"/>
                      <a:pt x="52" y="125"/>
                    </a:cubicBezTo>
                    <a:cubicBezTo>
                      <a:pt x="53" y="124"/>
                      <a:pt x="53" y="124"/>
                      <a:pt x="54" y="124"/>
                    </a:cubicBezTo>
                    <a:cubicBezTo>
                      <a:pt x="53" y="125"/>
                      <a:pt x="53" y="125"/>
                      <a:pt x="52" y="125"/>
                    </a:cubicBezTo>
                    <a:cubicBezTo>
                      <a:pt x="52" y="125"/>
                      <a:pt x="53" y="125"/>
                      <a:pt x="53" y="125"/>
                    </a:cubicBezTo>
                    <a:cubicBezTo>
                      <a:pt x="51" y="126"/>
                      <a:pt x="50" y="127"/>
                      <a:pt x="48" y="128"/>
                    </a:cubicBezTo>
                    <a:cubicBezTo>
                      <a:pt x="50" y="129"/>
                      <a:pt x="51" y="128"/>
                      <a:pt x="53" y="128"/>
                    </a:cubicBezTo>
                    <a:cubicBezTo>
                      <a:pt x="52" y="129"/>
                      <a:pt x="51" y="129"/>
                      <a:pt x="51" y="130"/>
                    </a:cubicBezTo>
                    <a:cubicBezTo>
                      <a:pt x="51" y="131"/>
                      <a:pt x="51" y="131"/>
                      <a:pt x="51" y="131"/>
                    </a:cubicBezTo>
                    <a:cubicBezTo>
                      <a:pt x="52" y="132"/>
                      <a:pt x="52" y="132"/>
                      <a:pt x="53" y="132"/>
                    </a:cubicBezTo>
                    <a:cubicBezTo>
                      <a:pt x="55" y="131"/>
                      <a:pt x="58" y="130"/>
                      <a:pt x="60" y="129"/>
                    </a:cubicBezTo>
                    <a:cubicBezTo>
                      <a:pt x="60" y="129"/>
                      <a:pt x="61" y="128"/>
                      <a:pt x="62" y="128"/>
                    </a:cubicBezTo>
                    <a:cubicBezTo>
                      <a:pt x="63" y="127"/>
                      <a:pt x="63" y="127"/>
                      <a:pt x="62" y="125"/>
                    </a:cubicBezTo>
                    <a:cubicBezTo>
                      <a:pt x="61" y="126"/>
                      <a:pt x="60" y="127"/>
                      <a:pt x="59" y="127"/>
                    </a:cubicBezTo>
                    <a:cubicBezTo>
                      <a:pt x="61" y="126"/>
                      <a:pt x="63" y="124"/>
                      <a:pt x="65" y="123"/>
                    </a:cubicBezTo>
                    <a:cubicBezTo>
                      <a:pt x="67" y="122"/>
                      <a:pt x="66" y="123"/>
                      <a:pt x="67" y="124"/>
                    </a:cubicBezTo>
                    <a:cubicBezTo>
                      <a:pt x="66" y="124"/>
                      <a:pt x="65" y="125"/>
                      <a:pt x="64" y="126"/>
                    </a:cubicBezTo>
                    <a:cubicBezTo>
                      <a:pt x="64" y="126"/>
                      <a:pt x="66" y="126"/>
                      <a:pt x="67" y="127"/>
                    </a:cubicBezTo>
                    <a:cubicBezTo>
                      <a:pt x="65" y="129"/>
                      <a:pt x="61" y="129"/>
                      <a:pt x="59" y="131"/>
                    </a:cubicBezTo>
                    <a:cubicBezTo>
                      <a:pt x="60" y="131"/>
                      <a:pt x="60" y="131"/>
                      <a:pt x="61" y="130"/>
                    </a:cubicBezTo>
                    <a:cubicBezTo>
                      <a:pt x="60" y="132"/>
                      <a:pt x="60" y="132"/>
                      <a:pt x="61" y="133"/>
                    </a:cubicBezTo>
                    <a:cubicBezTo>
                      <a:pt x="57" y="133"/>
                      <a:pt x="54" y="134"/>
                      <a:pt x="51" y="135"/>
                    </a:cubicBezTo>
                    <a:cubicBezTo>
                      <a:pt x="51" y="134"/>
                      <a:pt x="52" y="133"/>
                      <a:pt x="51" y="132"/>
                    </a:cubicBezTo>
                    <a:cubicBezTo>
                      <a:pt x="51" y="132"/>
                      <a:pt x="50" y="130"/>
                      <a:pt x="49" y="130"/>
                    </a:cubicBezTo>
                    <a:cubicBezTo>
                      <a:pt x="48" y="130"/>
                      <a:pt x="45" y="131"/>
                      <a:pt x="44" y="132"/>
                    </a:cubicBezTo>
                    <a:cubicBezTo>
                      <a:pt x="45" y="133"/>
                      <a:pt x="46" y="133"/>
                      <a:pt x="47" y="132"/>
                    </a:cubicBezTo>
                    <a:cubicBezTo>
                      <a:pt x="46" y="133"/>
                      <a:pt x="44" y="134"/>
                      <a:pt x="43" y="136"/>
                    </a:cubicBezTo>
                    <a:cubicBezTo>
                      <a:pt x="43" y="134"/>
                      <a:pt x="44" y="135"/>
                      <a:pt x="43" y="133"/>
                    </a:cubicBezTo>
                    <a:cubicBezTo>
                      <a:pt x="42" y="132"/>
                      <a:pt x="41" y="133"/>
                      <a:pt x="40" y="133"/>
                    </a:cubicBezTo>
                    <a:cubicBezTo>
                      <a:pt x="39" y="133"/>
                      <a:pt x="38" y="135"/>
                      <a:pt x="37" y="135"/>
                    </a:cubicBezTo>
                    <a:cubicBezTo>
                      <a:pt x="38" y="136"/>
                      <a:pt x="39" y="136"/>
                      <a:pt x="40" y="137"/>
                    </a:cubicBezTo>
                    <a:cubicBezTo>
                      <a:pt x="39" y="137"/>
                      <a:pt x="34" y="137"/>
                      <a:pt x="34" y="138"/>
                    </a:cubicBezTo>
                    <a:cubicBezTo>
                      <a:pt x="34" y="140"/>
                      <a:pt x="36" y="140"/>
                      <a:pt x="37" y="140"/>
                    </a:cubicBezTo>
                    <a:cubicBezTo>
                      <a:pt x="38" y="140"/>
                      <a:pt x="39" y="141"/>
                      <a:pt x="39" y="142"/>
                    </a:cubicBezTo>
                    <a:cubicBezTo>
                      <a:pt x="39" y="143"/>
                      <a:pt x="39" y="143"/>
                      <a:pt x="38" y="142"/>
                    </a:cubicBezTo>
                    <a:cubicBezTo>
                      <a:pt x="38" y="142"/>
                      <a:pt x="37" y="142"/>
                      <a:pt x="36" y="142"/>
                    </a:cubicBezTo>
                    <a:cubicBezTo>
                      <a:pt x="35" y="141"/>
                      <a:pt x="33" y="136"/>
                      <a:pt x="31" y="140"/>
                    </a:cubicBezTo>
                    <a:cubicBezTo>
                      <a:pt x="31" y="140"/>
                      <a:pt x="31" y="140"/>
                      <a:pt x="32" y="139"/>
                    </a:cubicBezTo>
                    <a:cubicBezTo>
                      <a:pt x="33" y="141"/>
                      <a:pt x="35" y="143"/>
                      <a:pt x="37" y="144"/>
                    </a:cubicBezTo>
                    <a:cubicBezTo>
                      <a:pt x="37" y="144"/>
                      <a:pt x="37" y="145"/>
                      <a:pt x="37" y="145"/>
                    </a:cubicBezTo>
                    <a:cubicBezTo>
                      <a:pt x="36" y="144"/>
                      <a:pt x="34" y="143"/>
                      <a:pt x="33" y="142"/>
                    </a:cubicBezTo>
                    <a:cubicBezTo>
                      <a:pt x="31" y="141"/>
                      <a:pt x="30" y="141"/>
                      <a:pt x="28" y="141"/>
                    </a:cubicBezTo>
                    <a:cubicBezTo>
                      <a:pt x="27" y="141"/>
                      <a:pt x="27" y="142"/>
                      <a:pt x="26" y="141"/>
                    </a:cubicBezTo>
                    <a:cubicBezTo>
                      <a:pt x="26" y="141"/>
                      <a:pt x="25" y="140"/>
                      <a:pt x="24" y="140"/>
                    </a:cubicBezTo>
                    <a:cubicBezTo>
                      <a:pt x="23" y="140"/>
                      <a:pt x="22" y="141"/>
                      <a:pt x="21" y="142"/>
                    </a:cubicBezTo>
                    <a:cubicBezTo>
                      <a:pt x="21" y="142"/>
                      <a:pt x="22" y="142"/>
                      <a:pt x="22" y="142"/>
                    </a:cubicBezTo>
                    <a:cubicBezTo>
                      <a:pt x="23" y="143"/>
                      <a:pt x="23" y="142"/>
                      <a:pt x="24" y="143"/>
                    </a:cubicBezTo>
                    <a:cubicBezTo>
                      <a:pt x="23" y="143"/>
                      <a:pt x="22" y="144"/>
                      <a:pt x="22" y="144"/>
                    </a:cubicBezTo>
                    <a:cubicBezTo>
                      <a:pt x="24" y="144"/>
                      <a:pt x="26" y="145"/>
                      <a:pt x="28" y="145"/>
                    </a:cubicBezTo>
                    <a:cubicBezTo>
                      <a:pt x="30" y="145"/>
                      <a:pt x="31" y="144"/>
                      <a:pt x="33" y="144"/>
                    </a:cubicBezTo>
                    <a:cubicBezTo>
                      <a:pt x="33" y="145"/>
                      <a:pt x="27" y="145"/>
                      <a:pt x="26" y="146"/>
                    </a:cubicBezTo>
                    <a:cubicBezTo>
                      <a:pt x="25" y="147"/>
                      <a:pt x="30" y="147"/>
                      <a:pt x="30" y="147"/>
                    </a:cubicBezTo>
                    <a:cubicBezTo>
                      <a:pt x="28" y="147"/>
                      <a:pt x="28" y="148"/>
                      <a:pt x="26" y="147"/>
                    </a:cubicBezTo>
                    <a:cubicBezTo>
                      <a:pt x="25" y="147"/>
                      <a:pt x="25" y="146"/>
                      <a:pt x="24" y="146"/>
                    </a:cubicBezTo>
                    <a:cubicBezTo>
                      <a:pt x="22" y="146"/>
                      <a:pt x="21" y="146"/>
                      <a:pt x="20" y="146"/>
                    </a:cubicBezTo>
                    <a:cubicBezTo>
                      <a:pt x="19" y="146"/>
                      <a:pt x="14" y="147"/>
                      <a:pt x="14" y="147"/>
                    </a:cubicBezTo>
                    <a:cubicBezTo>
                      <a:pt x="15" y="148"/>
                      <a:pt x="18" y="148"/>
                      <a:pt x="18" y="148"/>
                    </a:cubicBezTo>
                    <a:cubicBezTo>
                      <a:pt x="17" y="148"/>
                      <a:pt x="16" y="148"/>
                      <a:pt x="16" y="148"/>
                    </a:cubicBezTo>
                    <a:cubicBezTo>
                      <a:pt x="16" y="149"/>
                      <a:pt x="17" y="149"/>
                      <a:pt x="18" y="148"/>
                    </a:cubicBezTo>
                    <a:cubicBezTo>
                      <a:pt x="19" y="148"/>
                      <a:pt x="20" y="149"/>
                      <a:pt x="21" y="149"/>
                    </a:cubicBezTo>
                    <a:cubicBezTo>
                      <a:pt x="22" y="150"/>
                      <a:pt x="21" y="151"/>
                      <a:pt x="22" y="151"/>
                    </a:cubicBezTo>
                    <a:cubicBezTo>
                      <a:pt x="23" y="151"/>
                      <a:pt x="24" y="151"/>
                      <a:pt x="25" y="152"/>
                    </a:cubicBezTo>
                    <a:cubicBezTo>
                      <a:pt x="24" y="152"/>
                      <a:pt x="22" y="151"/>
                      <a:pt x="22" y="152"/>
                    </a:cubicBezTo>
                    <a:cubicBezTo>
                      <a:pt x="22" y="154"/>
                      <a:pt x="22" y="153"/>
                      <a:pt x="24" y="154"/>
                    </a:cubicBezTo>
                    <a:cubicBezTo>
                      <a:pt x="23" y="154"/>
                      <a:pt x="22" y="154"/>
                      <a:pt x="21" y="154"/>
                    </a:cubicBezTo>
                    <a:cubicBezTo>
                      <a:pt x="22" y="153"/>
                      <a:pt x="22" y="152"/>
                      <a:pt x="21" y="151"/>
                    </a:cubicBezTo>
                    <a:cubicBezTo>
                      <a:pt x="21" y="151"/>
                      <a:pt x="21" y="150"/>
                      <a:pt x="21" y="149"/>
                    </a:cubicBezTo>
                    <a:cubicBezTo>
                      <a:pt x="20" y="149"/>
                      <a:pt x="19" y="149"/>
                      <a:pt x="19" y="149"/>
                    </a:cubicBezTo>
                    <a:cubicBezTo>
                      <a:pt x="18" y="149"/>
                      <a:pt x="16" y="149"/>
                      <a:pt x="16" y="150"/>
                    </a:cubicBezTo>
                    <a:cubicBezTo>
                      <a:pt x="16" y="151"/>
                      <a:pt x="18" y="152"/>
                      <a:pt x="18" y="153"/>
                    </a:cubicBezTo>
                    <a:cubicBezTo>
                      <a:pt x="17" y="154"/>
                      <a:pt x="16" y="151"/>
                      <a:pt x="16" y="151"/>
                    </a:cubicBezTo>
                    <a:cubicBezTo>
                      <a:pt x="15" y="150"/>
                      <a:pt x="15" y="150"/>
                      <a:pt x="14" y="151"/>
                    </a:cubicBezTo>
                    <a:cubicBezTo>
                      <a:pt x="13" y="151"/>
                      <a:pt x="12" y="151"/>
                      <a:pt x="12" y="152"/>
                    </a:cubicBezTo>
                    <a:cubicBezTo>
                      <a:pt x="11" y="153"/>
                      <a:pt x="12" y="153"/>
                      <a:pt x="13" y="154"/>
                    </a:cubicBezTo>
                    <a:cubicBezTo>
                      <a:pt x="11" y="153"/>
                      <a:pt x="11" y="155"/>
                      <a:pt x="10" y="156"/>
                    </a:cubicBezTo>
                    <a:cubicBezTo>
                      <a:pt x="11" y="155"/>
                      <a:pt x="10" y="154"/>
                      <a:pt x="10" y="153"/>
                    </a:cubicBezTo>
                    <a:cubicBezTo>
                      <a:pt x="8" y="154"/>
                      <a:pt x="8" y="154"/>
                      <a:pt x="7" y="153"/>
                    </a:cubicBezTo>
                    <a:cubicBezTo>
                      <a:pt x="7" y="153"/>
                      <a:pt x="6" y="153"/>
                      <a:pt x="6" y="153"/>
                    </a:cubicBezTo>
                    <a:cubicBezTo>
                      <a:pt x="5" y="154"/>
                      <a:pt x="6" y="155"/>
                      <a:pt x="6" y="156"/>
                    </a:cubicBezTo>
                    <a:cubicBezTo>
                      <a:pt x="6" y="155"/>
                      <a:pt x="5" y="153"/>
                      <a:pt x="4" y="152"/>
                    </a:cubicBezTo>
                    <a:cubicBezTo>
                      <a:pt x="2" y="152"/>
                      <a:pt x="5" y="155"/>
                      <a:pt x="6" y="155"/>
                    </a:cubicBezTo>
                    <a:cubicBezTo>
                      <a:pt x="5" y="156"/>
                      <a:pt x="4" y="156"/>
                      <a:pt x="3" y="157"/>
                    </a:cubicBezTo>
                    <a:cubicBezTo>
                      <a:pt x="6" y="157"/>
                      <a:pt x="8" y="157"/>
                      <a:pt x="11" y="158"/>
                    </a:cubicBezTo>
                    <a:cubicBezTo>
                      <a:pt x="13" y="158"/>
                      <a:pt x="15" y="158"/>
                      <a:pt x="18" y="158"/>
                    </a:cubicBezTo>
                    <a:cubicBezTo>
                      <a:pt x="15" y="158"/>
                      <a:pt x="13" y="159"/>
                      <a:pt x="11" y="160"/>
                    </a:cubicBezTo>
                    <a:cubicBezTo>
                      <a:pt x="10" y="159"/>
                      <a:pt x="11" y="159"/>
                      <a:pt x="11" y="158"/>
                    </a:cubicBezTo>
                    <a:cubicBezTo>
                      <a:pt x="10" y="158"/>
                      <a:pt x="9" y="158"/>
                      <a:pt x="9" y="158"/>
                    </a:cubicBezTo>
                    <a:cubicBezTo>
                      <a:pt x="8" y="158"/>
                      <a:pt x="6" y="157"/>
                      <a:pt x="6" y="157"/>
                    </a:cubicBezTo>
                    <a:cubicBezTo>
                      <a:pt x="5" y="157"/>
                      <a:pt x="5" y="158"/>
                      <a:pt x="4" y="158"/>
                    </a:cubicBezTo>
                    <a:cubicBezTo>
                      <a:pt x="3" y="158"/>
                      <a:pt x="1" y="158"/>
                      <a:pt x="0" y="158"/>
                    </a:cubicBezTo>
                    <a:cubicBezTo>
                      <a:pt x="0" y="158"/>
                      <a:pt x="1" y="159"/>
                      <a:pt x="1" y="159"/>
                    </a:cubicBezTo>
                    <a:cubicBezTo>
                      <a:pt x="1" y="159"/>
                      <a:pt x="3" y="159"/>
                      <a:pt x="4" y="158"/>
                    </a:cubicBezTo>
                    <a:cubicBezTo>
                      <a:pt x="3" y="159"/>
                      <a:pt x="2" y="160"/>
                      <a:pt x="1" y="161"/>
                    </a:cubicBezTo>
                    <a:cubicBezTo>
                      <a:pt x="2" y="161"/>
                      <a:pt x="4" y="161"/>
                      <a:pt x="5" y="162"/>
                    </a:cubicBezTo>
                    <a:cubicBezTo>
                      <a:pt x="4" y="162"/>
                      <a:pt x="3" y="162"/>
                      <a:pt x="2" y="162"/>
                    </a:cubicBezTo>
                    <a:cubicBezTo>
                      <a:pt x="3" y="162"/>
                      <a:pt x="5" y="162"/>
                      <a:pt x="6" y="162"/>
                    </a:cubicBezTo>
                    <a:cubicBezTo>
                      <a:pt x="5" y="162"/>
                      <a:pt x="4" y="162"/>
                      <a:pt x="4" y="162"/>
                    </a:cubicBezTo>
                    <a:cubicBezTo>
                      <a:pt x="4" y="162"/>
                      <a:pt x="5" y="163"/>
                      <a:pt x="5" y="163"/>
                    </a:cubicBezTo>
                    <a:cubicBezTo>
                      <a:pt x="5" y="163"/>
                      <a:pt x="5" y="164"/>
                      <a:pt x="4" y="164"/>
                    </a:cubicBezTo>
                    <a:cubicBezTo>
                      <a:pt x="6" y="164"/>
                      <a:pt x="8" y="164"/>
                      <a:pt x="9" y="164"/>
                    </a:cubicBezTo>
                    <a:cubicBezTo>
                      <a:pt x="8" y="164"/>
                      <a:pt x="4" y="164"/>
                      <a:pt x="2" y="165"/>
                    </a:cubicBezTo>
                    <a:cubicBezTo>
                      <a:pt x="3" y="165"/>
                      <a:pt x="3" y="166"/>
                      <a:pt x="2" y="166"/>
                    </a:cubicBezTo>
                    <a:cubicBezTo>
                      <a:pt x="4" y="166"/>
                      <a:pt x="6" y="165"/>
                      <a:pt x="8" y="166"/>
                    </a:cubicBezTo>
                    <a:cubicBezTo>
                      <a:pt x="6" y="166"/>
                      <a:pt x="2" y="166"/>
                      <a:pt x="2" y="168"/>
                    </a:cubicBezTo>
                    <a:cubicBezTo>
                      <a:pt x="3" y="168"/>
                      <a:pt x="4" y="170"/>
                      <a:pt x="6" y="170"/>
                    </a:cubicBezTo>
                    <a:cubicBezTo>
                      <a:pt x="8" y="170"/>
                      <a:pt x="10" y="169"/>
                      <a:pt x="12" y="169"/>
                    </a:cubicBezTo>
                    <a:cubicBezTo>
                      <a:pt x="13" y="169"/>
                      <a:pt x="15" y="170"/>
                      <a:pt x="16" y="170"/>
                    </a:cubicBezTo>
                    <a:cubicBezTo>
                      <a:pt x="17" y="169"/>
                      <a:pt x="17" y="168"/>
                      <a:pt x="18" y="168"/>
                    </a:cubicBezTo>
                    <a:cubicBezTo>
                      <a:pt x="18" y="168"/>
                      <a:pt x="19" y="168"/>
                      <a:pt x="20" y="169"/>
                    </a:cubicBezTo>
                    <a:cubicBezTo>
                      <a:pt x="22" y="169"/>
                      <a:pt x="24" y="169"/>
                      <a:pt x="26" y="169"/>
                    </a:cubicBezTo>
                    <a:cubicBezTo>
                      <a:pt x="25" y="168"/>
                      <a:pt x="24" y="167"/>
                      <a:pt x="24" y="167"/>
                    </a:cubicBezTo>
                    <a:cubicBezTo>
                      <a:pt x="25" y="166"/>
                      <a:pt x="25" y="166"/>
                      <a:pt x="25" y="165"/>
                    </a:cubicBezTo>
                    <a:cubicBezTo>
                      <a:pt x="26" y="166"/>
                      <a:pt x="27" y="165"/>
                      <a:pt x="28" y="164"/>
                    </a:cubicBezTo>
                    <a:cubicBezTo>
                      <a:pt x="27" y="165"/>
                      <a:pt x="24" y="167"/>
                      <a:pt x="26" y="168"/>
                    </a:cubicBezTo>
                    <a:cubicBezTo>
                      <a:pt x="26" y="169"/>
                      <a:pt x="28" y="168"/>
                      <a:pt x="29" y="168"/>
                    </a:cubicBezTo>
                    <a:cubicBezTo>
                      <a:pt x="27" y="168"/>
                      <a:pt x="26" y="169"/>
                      <a:pt x="25" y="169"/>
                    </a:cubicBezTo>
                    <a:cubicBezTo>
                      <a:pt x="23" y="170"/>
                      <a:pt x="22" y="170"/>
                      <a:pt x="23" y="172"/>
                    </a:cubicBezTo>
                    <a:cubicBezTo>
                      <a:pt x="23" y="172"/>
                      <a:pt x="24" y="172"/>
                      <a:pt x="23" y="173"/>
                    </a:cubicBezTo>
                    <a:cubicBezTo>
                      <a:pt x="22" y="173"/>
                      <a:pt x="21" y="172"/>
                      <a:pt x="21" y="173"/>
                    </a:cubicBezTo>
                    <a:cubicBezTo>
                      <a:pt x="21" y="172"/>
                      <a:pt x="21" y="172"/>
                      <a:pt x="22" y="171"/>
                    </a:cubicBezTo>
                    <a:cubicBezTo>
                      <a:pt x="21" y="171"/>
                      <a:pt x="19" y="169"/>
                      <a:pt x="18" y="169"/>
                    </a:cubicBezTo>
                    <a:cubicBezTo>
                      <a:pt x="17" y="170"/>
                      <a:pt x="16" y="170"/>
                      <a:pt x="16" y="171"/>
                    </a:cubicBezTo>
                    <a:cubicBezTo>
                      <a:pt x="14" y="171"/>
                      <a:pt x="14" y="170"/>
                      <a:pt x="12" y="170"/>
                    </a:cubicBezTo>
                    <a:cubicBezTo>
                      <a:pt x="10" y="170"/>
                      <a:pt x="8" y="170"/>
                      <a:pt x="6" y="170"/>
                    </a:cubicBezTo>
                    <a:cubicBezTo>
                      <a:pt x="5" y="170"/>
                      <a:pt x="4" y="170"/>
                      <a:pt x="3" y="170"/>
                    </a:cubicBezTo>
                    <a:cubicBezTo>
                      <a:pt x="2" y="171"/>
                      <a:pt x="3" y="172"/>
                      <a:pt x="4" y="172"/>
                    </a:cubicBezTo>
                    <a:cubicBezTo>
                      <a:pt x="3" y="172"/>
                      <a:pt x="3" y="173"/>
                      <a:pt x="2" y="173"/>
                    </a:cubicBezTo>
                    <a:cubicBezTo>
                      <a:pt x="2" y="173"/>
                      <a:pt x="2" y="173"/>
                      <a:pt x="1" y="172"/>
                    </a:cubicBezTo>
                    <a:cubicBezTo>
                      <a:pt x="2" y="174"/>
                      <a:pt x="2" y="174"/>
                      <a:pt x="4" y="174"/>
                    </a:cubicBezTo>
                    <a:cubicBezTo>
                      <a:pt x="5" y="174"/>
                      <a:pt x="5" y="173"/>
                      <a:pt x="6" y="173"/>
                    </a:cubicBezTo>
                    <a:cubicBezTo>
                      <a:pt x="4" y="174"/>
                      <a:pt x="4" y="175"/>
                      <a:pt x="6" y="176"/>
                    </a:cubicBezTo>
                    <a:cubicBezTo>
                      <a:pt x="5" y="176"/>
                      <a:pt x="2" y="178"/>
                      <a:pt x="4" y="178"/>
                    </a:cubicBezTo>
                    <a:cubicBezTo>
                      <a:pt x="6" y="178"/>
                      <a:pt x="7" y="175"/>
                      <a:pt x="9" y="176"/>
                    </a:cubicBezTo>
                    <a:cubicBezTo>
                      <a:pt x="9" y="177"/>
                      <a:pt x="8" y="178"/>
                      <a:pt x="8" y="179"/>
                    </a:cubicBezTo>
                    <a:cubicBezTo>
                      <a:pt x="8" y="180"/>
                      <a:pt x="7" y="180"/>
                      <a:pt x="6" y="180"/>
                    </a:cubicBezTo>
                    <a:cubicBezTo>
                      <a:pt x="6" y="180"/>
                      <a:pt x="5" y="178"/>
                      <a:pt x="4" y="179"/>
                    </a:cubicBezTo>
                    <a:cubicBezTo>
                      <a:pt x="3" y="181"/>
                      <a:pt x="3" y="181"/>
                      <a:pt x="4" y="183"/>
                    </a:cubicBezTo>
                    <a:cubicBezTo>
                      <a:pt x="5" y="184"/>
                      <a:pt x="5" y="185"/>
                      <a:pt x="6" y="184"/>
                    </a:cubicBezTo>
                    <a:cubicBezTo>
                      <a:pt x="7" y="184"/>
                      <a:pt x="7" y="182"/>
                      <a:pt x="8" y="182"/>
                    </a:cubicBezTo>
                    <a:cubicBezTo>
                      <a:pt x="8" y="182"/>
                      <a:pt x="7" y="184"/>
                      <a:pt x="7" y="184"/>
                    </a:cubicBezTo>
                    <a:cubicBezTo>
                      <a:pt x="8" y="184"/>
                      <a:pt x="9" y="184"/>
                      <a:pt x="10" y="184"/>
                    </a:cubicBezTo>
                    <a:cubicBezTo>
                      <a:pt x="10" y="184"/>
                      <a:pt x="8" y="188"/>
                      <a:pt x="10" y="187"/>
                    </a:cubicBezTo>
                    <a:cubicBezTo>
                      <a:pt x="10" y="187"/>
                      <a:pt x="10" y="185"/>
                      <a:pt x="10" y="185"/>
                    </a:cubicBezTo>
                    <a:cubicBezTo>
                      <a:pt x="11" y="184"/>
                      <a:pt x="12" y="184"/>
                      <a:pt x="12" y="184"/>
                    </a:cubicBezTo>
                    <a:cubicBezTo>
                      <a:pt x="14" y="182"/>
                      <a:pt x="15" y="180"/>
                      <a:pt x="18" y="180"/>
                    </a:cubicBezTo>
                    <a:cubicBezTo>
                      <a:pt x="19" y="179"/>
                      <a:pt x="21" y="179"/>
                      <a:pt x="23" y="179"/>
                    </a:cubicBezTo>
                    <a:cubicBezTo>
                      <a:pt x="21" y="180"/>
                      <a:pt x="20" y="179"/>
                      <a:pt x="19" y="181"/>
                    </a:cubicBezTo>
                    <a:cubicBezTo>
                      <a:pt x="18" y="182"/>
                      <a:pt x="18" y="184"/>
                      <a:pt x="17" y="185"/>
                    </a:cubicBezTo>
                    <a:cubicBezTo>
                      <a:pt x="17" y="184"/>
                      <a:pt x="18" y="182"/>
                      <a:pt x="18" y="181"/>
                    </a:cubicBezTo>
                    <a:cubicBezTo>
                      <a:pt x="16" y="181"/>
                      <a:pt x="15" y="182"/>
                      <a:pt x="13" y="183"/>
                    </a:cubicBezTo>
                    <a:cubicBezTo>
                      <a:pt x="13" y="183"/>
                      <a:pt x="12" y="184"/>
                      <a:pt x="13" y="185"/>
                    </a:cubicBezTo>
                    <a:cubicBezTo>
                      <a:pt x="14" y="185"/>
                      <a:pt x="14" y="185"/>
                      <a:pt x="14" y="185"/>
                    </a:cubicBezTo>
                    <a:cubicBezTo>
                      <a:pt x="15" y="184"/>
                      <a:pt x="15" y="185"/>
                      <a:pt x="14" y="185"/>
                    </a:cubicBezTo>
                    <a:cubicBezTo>
                      <a:pt x="13" y="186"/>
                      <a:pt x="12" y="186"/>
                      <a:pt x="11" y="187"/>
                    </a:cubicBezTo>
                    <a:cubicBezTo>
                      <a:pt x="11" y="187"/>
                      <a:pt x="11" y="187"/>
                      <a:pt x="11" y="188"/>
                    </a:cubicBezTo>
                    <a:cubicBezTo>
                      <a:pt x="11" y="188"/>
                      <a:pt x="10" y="188"/>
                      <a:pt x="10" y="188"/>
                    </a:cubicBezTo>
                    <a:cubicBezTo>
                      <a:pt x="9" y="189"/>
                      <a:pt x="9" y="189"/>
                      <a:pt x="8" y="189"/>
                    </a:cubicBezTo>
                    <a:cubicBezTo>
                      <a:pt x="9" y="190"/>
                      <a:pt x="9" y="190"/>
                      <a:pt x="9" y="190"/>
                    </a:cubicBezTo>
                    <a:cubicBezTo>
                      <a:pt x="10" y="190"/>
                      <a:pt x="11" y="190"/>
                      <a:pt x="12" y="190"/>
                    </a:cubicBezTo>
                    <a:cubicBezTo>
                      <a:pt x="11" y="191"/>
                      <a:pt x="10" y="191"/>
                      <a:pt x="10" y="192"/>
                    </a:cubicBezTo>
                    <a:cubicBezTo>
                      <a:pt x="10" y="193"/>
                      <a:pt x="9" y="193"/>
                      <a:pt x="9" y="193"/>
                    </a:cubicBezTo>
                    <a:cubicBezTo>
                      <a:pt x="9" y="193"/>
                      <a:pt x="8" y="192"/>
                      <a:pt x="7" y="192"/>
                    </a:cubicBezTo>
                    <a:cubicBezTo>
                      <a:pt x="7" y="192"/>
                      <a:pt x="7" y="194"/>
                      <a:pt x="6" y="194"/>
                    </a:cubicBezTo>
                    <a:cubicBezTo>
                      <a:pt x="6" y="195"/>
                      <a:pt x="5" y="194"/>
                      <a:pt x="5" y="194"/>
                    </a:cubicBezTo>
                    <a:cubicBezTo>
                      <a:pt x="7" y="194"/>
                      <a:pt x="7" y="193"/>
                      <a:pt x="7" y="191"/>
                    </a:cubicBezTo>
                    <a:cubicBezTo>
                      <a:pt x="6" y="191"/>
                      <a:pt x="6" y="192"/>
                      <a:pt x="5" y="192"/>
                    </a:cubicBezTo>
                    <a:cubicBezTo>
                      <a:pt x="5" y="192"/>
                      <a:pt x="5" y="193"/>
                      <a:pt x="5" y="193"/>
                    </a:cubicBezTo>
                    <a:cubicBezTo>
                      <a:pt x="4" y="193"/>
                      <a:pt x="4" y="195"/>
                      <a:pt x="4" y="195"/>
                    </a:cubicBezTo>
                    <a:cubicBezTo>
                      <a:pt x="5" y="196"/>
                      <a:pt x="5" y="196"/>
                      <a:pt x="6" y="197"/>
                    </a:cubicBezTo>
                    <a:cubicBezTo>
                      <a:pt x="7" y="198"/>
                      <a:pt x="7" y="198"/>
                      <a:pt x="7" y="197"/>
                    </a:cubicBezTo>
                    <a:cubicBezTo>
                      <a:pt x="8" y="197"/>
                      <a:pt x="7" y="195"/>
                      <a:pt x="7" y="195"/>
                    </a:cubicBezTo>
                    <a:cubicBezTo>
                      <a:pt x="8" y="196"/>
                      <a:pt x="8" y="197"/>
                      <a:pt x="8" y="198"/>
                    </a:cubicBezTo>
                    <a:cubicBezTo>
                      <a:pt x="8" y="198"/>
                      <a:pt x="9" y="197"/>
                      <a:pt x="9" y="197"/>
                    </a:cubicBezTo>
                    <a:cubicBezTo>
                      <a:pt x="9" y="195"/>
                      <a:pt x="8" y="195"/>
                      <a:pt x="10" y="195"/>
                    </a:cubicBezTo>
                    <a:cubicBezTo>
                      <a:pt x="11" y="195"/>
                      <a:pt x="12" y="195"/>
                      <a:pt x="13" y="195"/>
                    </a:cubicBezTo>
                    <a:cubicBezTo>
                      <a:pt x="12" y="195"/>
                      <a:pt x="12" y="195"/>
                      <a:pt x="11" y="196"/>
                    </a:cubicBezTo>
                    <a:cubicBezTo>
                      <a:pt x="12" y="196"/>
                      <a:pt x="13" y="196"/>
                      <a:pt x="13" y="195"/>
                    </a:cubicBezTo>
                    <a:cubicBezTo>
                      <a:pt x="14" y="194"/>
                      <a:pt x="14" y="193"/>
                      <a:pt x="15" y="193"/>
                    </a:cubicBezTo>
                    <a:cubicBezTo>
                      <a:pt x="15" y="193"/>
                      <a:pt x="17" y="194"/>
                      <a:pt x="17" y="194"/>
                    </a:cubicBezTo>
                    <a:cubicBezTo>
                      <a:pt x="15" y="194"/>
                      <a:pt x="13" y="196"/>
                      <a:pt x="12" y="197"/>
                    </a:cubicBezTo>
                    <a:cubicBezTo>
                      <a:pt x="13" y="197"/>
                      <a:pt x="15" y="197"/>
                      <a:pt x="17" y="197"/>
                    </a:cubicBezTo>
                    <a:cubicBezTo>
                      <a:pt x="15" y="197"/>
                      <a:pt x="11" y="199"/>
                      <a:pt x="11" y="201"/>
                    </a:cubicBezTo>
                    <a:cubicBezTo>
                      <a:pt x="10" y="203"/>
                      <a:pt x="17" y="201"/>
                      <a:pt x="18" y="201"/>
                    </a:cubicBezTo>
                    <a:cubicBezTo>
                      <a:pt x="17" y="202"/>
                      <a:pt x="16" y="202"/>
                      <a:pt x="16" y="202"/>
                    </a:cubicBezTo>
                    <a:cubicBezTo>
                      <a:pt x="14" y="202"/>
                      <a:pt x="14" y="202"/>
                      <a:pt x="13" y="205"/>
                    </a:cubicBezTo>
                    <a:cubicBezTo>
                      <a:pt x="12" y="204"/>
                      <a:pt x="11" y="204"/>
                      <a:pt x="10" y="203"/>
                    </a:cubicBezTo>
                    <a:cubicBezTo>
                      <a:pt x="9" y="203"/>
                      <a:pt x="9" y="203"/>
                      <a:pt x="8" y="203"/>
                    </a:cubicBezTo>
                    <a:cubicBezTo>
                      <a:pt x="8" y="202"/>
                      <a:pt x="8" y="202"/>
                      <a:pt x="7" y="202"/>
                    </a:cubicBezTo>
                    <a:cubicBezTo>
                      <a:pt x="8" y="203"/>
                      <a:pt x="8" y="203"/>
                      <a:pt x="8" y="203"/>
                    </a:cubicBezTo>
                    <a:cubicBezTo>
                      <a:pt x="8" y="204"/>
                      <a:pt x="7" y="204"/>
                      <a:pt x="7" y="204"/>
                    </a:cubicBezTo>
                    <a:cubicBezTo>
                      <a:pt x="7" y="205"/>
                      <a:pt x="7" y="205"/>
                      <a:pt x="7" y="206"/>
                    </a:cubicBezTo>
                    <a:cubicBezTo>
                      <a:pt x="6" y="207"/>
                      <a:pt x="9" y="210"/>
                      <a:pt x="10" y="210"/>
                    </a:cubicBezTo>
                    <a:cubicBezTo>
                      <a:pt x="12" y="211"/>
                      <a:pt x="14" y="213"/>
                      <a:pt x="15" y="213"/>
                    </a:cubicBezTo>
                    <a:cubicBezTo>
                      <a:pt x="16" y="213"/>
                      <a:pt x="18" y="214"/>
                      <a:pt x="19" y="213"/>
                    </a:cubicBezTo>
                    <a:cubicBezTo>
                      <a:pt x="19" y="213"/>
                      <a:pt x="20" y="213"/>
                      <a:pt x="21" y="213"/>
                    </a:cubicBezTo>
                    <a:cubicBezTo>
                      <a:pt x="20" y="214"/>
                      <a:pt x="18" y="214"/>
                      <a:pt x="17" y="215"/>
                    </a:cubicBezTo>
                    <a:cubicBezTo>
                      <a:pt x="18" y="216"/>
                      <a:pt x="20" y="216"/>
                      <a:pt x="21" y="216"/>
                    </a:cubicBezTo>
                    <a:cubicBezTo>
                      <a:pt x="22" y="216"/>
                      <a:pt x="22" y="216"/>
                      <a:pt x="24" y="215"/>
                    </a:cubicBezTo>
                    <a:cubicBezTo>
                      <a:pt x="23" y="216"/>
                      <a:pt x="23" y="216"/>
                      <a:pt x="22" y="217"/>
                    </a:cubicBezTo>
                    <a:cubicBezTo>
                      <a:pt x="22" y="217"/>
                      <a:pt x="23" y="217"/>
                      <a:pt x="23" y="216"/>
                    </a:cubicBezTo>
                    <a:cubicBezTo>
                      <a:pt x="24" y="216"/>
                      <a:pt x="25" y="216"/>
                      <a:pt x="26" y="217"/>
                    </a:cubicBezTo>
                    <a:cubicBezTo>
                      <a:pt x="27" y="217"/>
                      <a:pt x="29" y="216"/>
                      <a:pt x="29" y="216"/>
                    </a:cubicBezTo>
                    <a:cubicBezTo>
                      <a:pt x="32" y="215"/>
                      <a:pt x="35" y="214"/>
                      <a:pt x="37" y="213"/>
                    </a:cubicBezTo>
                    <a:cubicBezTo>
                      <a:pt x="38" y="212"/>
                      <a:pt x="39" y="211"/>
                      <a:pt x="40" y="210"/>
                    </a:cubicBezTo>
                    <a:cubicBezTo>
                      <a:pt x="40" y="210"/>
                      <a:pt x="42" y="209"/>
                      <a:pt x="41" y="208"/>
                    </a:cubicBezTo>
                    <a:cubicBezTo>
                      <a:pt x="42" y="208"/>
                      <a:pt x="44" y="207"/>
                      <a:pt x="45" y="206"/>
                    </a:cubicBezTo>
                    <a:cubicBezTo>
                      <a:pt x="44" y="206"/>
                      <a:pt x="44" y="206"/>
                      <a:pt x="43" y="206"/>
                    </a:cubicBezTo>
                    <a:cubicBezTo>
                      <a:pt x="44" y="206"/>
                      <a:pt x="45" y="206"/>
                      <a:pt x="46" y="206"/>
                    </a:cubicBezTo>
                    <a:cubicBezTo>
                      <a:pt x="46" y="205"/>
                      <a:pt x="46" y="204"/>
                      <a:pt x="45" y="204"/>
                    </a:cubicBezTo>
                    <a:cubicBezTo>
                      <a:pt x="46" y="204"/>
                      <a:pt x="49" y="203"/>
                      <a:pt x="49" y="202"/>
                    </a:cubicBezTo>
                    <a:cubicBezTo>
                      <a:pt x="49" y="202"/>
                      <a:pt x="48" y="201"/>
                      <a:pt x="48" y="200"/>
                    </a:cubicBezTo>
                    <a:cubicBezTo>
                      <a:pt x="49" y="200"/>
                      <a:pt x="50" y="202"/>
                      <a:pt x="52" y="202"/>
                    </a:cubicBezTo>
                    <a:cubicBezTo>
                      <a:pt x="53" y="202"/>
                      <a:pt x="53" y="202"/>
                      <a:pt x="55" y="200"/>
                    </a:cubicBezTo>
                    <a:cubicBezTo>
                      <a:pt x="55" y="200"/>
                      <a:pt x="56" y="199"/>
                      <a:pt x="56" y="198"/>
                    </a:cubicBezTo>
                    <a:cubicBezTo>
                      <a:pt x="57" y="201"/>
                      <a:pt x="58" y="198"/>
                      <a:pt x="57" y="197"/>
                    </a:cubicBezTo>
                    <a:cubicBezTo>
                      <a:pt x="57" y="196"/>
                      <a:pt x="55" y="195"/>
                      <a:pt x="55" y="193"/>
                    </a:cubicBezTo>
                    <a:cubicBezTo>
                      <a:pt x="56" y="194"/>
                      <a:pt x="57" y="194"/>
                      <a:pt x="57" y="193"/>
                    </a:cubicBezTo>
                    <a:cubicBezTo>
                      <a:pt x="59" y="194"/>
                      <a:pt x="58" y="193"/>
                      <a:pt x="58" y="191"/>
                    </a:cubicBezTo>
                    <a:cubicBezTo>
                      <a:pt x="57" y="190"/>
                      <a:pt x="57" y="189"/>
                      <a:pt x="59" y="188"/>
                    </a:cubicBezTo>
                    <a:cubicBezTo>
                      <a:pt x="60" y="188"/>
                      <a:pt x="60" y="190"/>
                      <a:pt x="60" y="191"/>
                    </a:cubicBezTo>
                    <a:cubicBezTo>
                      <a:pt x="60" y="191"/>
                      <a:pt x="60" y="190"/>
                      <a:pt x="60" y="190"/>
                    </a:cubicBezTo>
                    <a:cubicBezTo>
                      <a:pt x="58" y="191"/>
                      <a:pt x="58" y="191"/>
                      <a:pt x="59" y="192"/>
                    </a:cubicBezTo>
                    <a:cubicBezTo>
                      <a:pt x="59" y="193"/>
                      <a:pt x="60" y="194"/>
                      <a:pt x="59" y="195"/>
                    </a:cubicBezTo>
                    <a:cubicBezTo>
                      <a:pt x="59" y="196"/>
                      <a:pt x="59" y="197"/>
                      <a:pt x="60" y="197"/>
                    </a:cubicBezTo>
                    <a:cubicBezTo>
                      <a:pt x="61" y="197"/>
                      <a:pt x="60" y="199"/>
                      <a:pt x="61" y="199"/>
                    </a:cubicBezTo>
                    <a:cubicBezTo>
                      <a:pt x="61" y="200"/>
                      <a:pt x="63" y="199"/>
                      <a:pt x="64"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7" name="Freeform 2978">
                <a:extLst>
                  <a:ext uri="{FF2B5EF4-FFF2-40B4-BE49-F238E27FC236}">
                    <a16:creationId xmlns:a16="http://schemas.microsoft.com/office/drawing/2014/main" id="{C61A7BD3-C17B-4FFB-A2AD-06630B76DCA3}"/>
                  </a:ext>
                </a:extLst>
              </p:cNvPr>
              <p:cNvSpPr>
                <a:spLocks noEditPoints="1"/>
              </p:cNvSpPr>
              <p:nvPr/>
            </p:nvSpPr>
            <p:spPr bwMode="auto">
              <a:xfrm>
                <a:off x="3819" y="770"/>
                <a:ext cx="309" cy="511"/>
              </a:xfrm>
              <a:custGeom>
                <a:avLst/>
                <a:gdLst>
                  <a:gd name="T0" fmla="*/ 127 w 131"/>
                  <a:gd name="T1" fmla="*/ 47 h 216"/>
                  <a:gd name="T2" fmla="*/ 130 w 131"/>
                  <a:gd name="T3" fmla="*/ 38 h 216"/>
                  <a:gd name="T4" fmla="*/ 127 w 131"/>
                  <a:gd name="T5" fmla="*/ 29 h 216"/>
                  <a:gd name="T6" fmla="*/ 125 w 131"/>
                  <a:gd name="T7" fmla="*/ 28 h 216"/>
                  <a:gd name="T8" fmla="*/ 125 w 131"/>
                  <a:gd name="T9" fmla="*/ 23 h 216"/>
                  <a:gd name="T10" fmla="*/ 125 w 131"/>
                  <a:gd name="T11" fmla="*/ 17 h 216"/>
                  <a:gd name="T12" fmla="*/ 94 w 131"/>
                  <a:gd name="T13" fmla="*/ 3 h 216"/>
                  <a:gd name="T14" fmla="*/ 92 w 131"/>
                  <a:gd name="T15" fmla="*/ 9 h 216"/>
                  <a:gd name="T16" fmla="*/ 73 w 131"/>
                  <a:gd name="T17" fmla="*/ 12 h 216"/>
                  <a:gd name="T18" fmla="*/ 65 w 131"/>
                  <a:gd name="T19" fmla="*/ 17 h 216"/>
                  <a:gd name="T20" fmla="*/ 58 w 131"/>
                  <a:gd name="T21" fmla="*/ 21 h 216"/>
                  <a:gd name="T22" fmla="*/ 55 w 131"/>
                  <a:gd name="T23" fmla="*/ 33 h 216"/>
                  <a:gd name="T24" fmla="*/ 46 w 131"/>
                  <a:gd name="T25" fmla="*/ 43 h 216"/>
                  <a:gd name="T26" fmla="*/ 36 w 131"/>
                  <a:gd name="T27" fmla="*/ 51 h 216"/>
                  <a:gd name="T28" fmla="*/ 38 w 131"/>
                  <a:gd name="T29" fmla="*/ 52 h 216"/>
                  <a:gd name="T30" fmla="*/ 36 w 131"/>
                  <a:gd name="T31" fmla="*/ 62 h 216"/>
                  <a:gd name="T32" fmla="*/ 29 w 131"/>
                  <a:gd name="T33" fmla="*/ 73 h 216"/>
                  <a:gd name="T34" fmla="*/ 31 w 131"/>
                  <a:gd name="T35" fmla="*/ 82 h 216"/>
                  <a:gd name="T36" fmla="*/ 18 w 131"/>
                  <a:gd name="T37" fmla="*/ 86 h 216"/>
                  <a:gd name="T38" fmla="*/ 10 w 131"/>
                  <a:gd name="T39" fmla="*/ 96 h 216"/>
                  <a:gd name="T40" fmla="*/ 11 w 131"/>
                  <a:gd name="T41" fmla="*/ 107 h 216"/>
                  <a:gd name="T42" fmla="*/ 12 w 131"/>
                  <a:gd name="T43" fmla="*/ 120 h 216"/>
                  <a:gd name="T44" fmla="*/ 15 w 131"/>
                  <a:gd name="T45" fmla="*/ 123 h 216"/>
                  <a:gd name="T46" fmla="*/ 14 w 131"/>
                  <a:gd name="T47" fmla="*/ 135 h 216"/>
                  <a:gd name="T48" fmla="*/ 14 w 131"/>
                  <a:gd name="T49" fmla="*/ 147 h 216"/>
                  <a:gd name="T50" fmla="*/ 8 w 131"/>
                  <a:gd name="T51" fmla="*/ 153 h 216"/>
                  <a:gd name="T52" fmla="*/ 4 w 131"/>
                  <a:gd name="T53" fmla="*/ 165 h 216"/>
                  <a:gd name="T54" fmla="*/ 4 w 131"/>
                  <a:gd name="T55" fmla="*/ 173 h 216"/>
                  <a:gd name="T56" fmla="*/ 8 w 131"/>
                  <a:gd name="T57" fmla="*/ 174 h 216"/>
                  <a:gd name="T58" fmla="*/ 6 w 131"/>
                  <a:gd name="T59" fmla="*/ 182 h 216"/>
                  <a:gd name="T60" fmla="*/ 16 w 131"/>
                  <a:gd name="T61" fmla="*/ 198 h 216"/>
                  <a:gd name="T62" fmla="*/ 14 w 131"/>
                  <a:gd name="T63" fmla="*/ 203 h 216"/>
                  <a:gd name="T64" fmla="*/ 19 w 131"/>
                  <a:gd name="T65" fmla="*/ 215 h 216"/>
                  <a:gd name="T66" fmla="*/ 32 w 131"/>
                  <a:gd name="T67" fmla="*/ 209 h 216"/>
                  <a:gd name="T68" fmla="*/ 54 w 131"/>
                  <a:gd name="T69" fmla="*/ 196 h 216"/>
                  <a:gd name="T70" fmla="*/ 56 w 131"/>
                  <a:gd name="T71" fmla="*/ 184 h 216"/>
                  <a:gd name="T72" fmla="*/ 56 w 131"/>
                  <a:gd name="T73" fmla="*/ 178 h 216"/>
                  <a:gd name="T74" fmla="*/ 55 w 131"/>
                  <a:gd name="T75" fmla="*/ 169 h 216"/>
                  <a:gd name="T76" fmla="*/ 56 w 131"/>
                  <a:gd name="T77" fmla="*/ 169 h 216"/>
                  <a:gd name="T78" fmla="*/ 69 w 131"/>
                  <a:gd name="T79" fmla="*/ 166 h 216"/>
                  <a:gd name="T80" fmla="*/ 74 w 131"/>
                  <a:gd name="T81" fmla="*/ 159 h 216"/>
                  <a:gd name="T82" fmla="*/ 74 w 131"/>
                  <a:gd name="T83" fmla="*/ 158 h 216"/>
                  <a:gd name="T84" fmla="*/ 73 w 131"/>
                  <a:gd name="T85" fmla="*/ 157 h 216"/>
                  <a:gd name="T86" fmla="*/ 76 w 131"/>
                  <a:gd name="T87" fmla="*/ 144 h 216"/>
                  <a:gd name="T88" fmla="*/ 63 w 131"/>
                  <a:gd name="T89" fmla="*/ 136 h 216"/>
                  <a:gd name="T90" fmla="*/ 61 w 131"/>
                  <a:gd name="T91" fmla="*/ 125 h 216"/>
                  <a:gd name="T92" fmla="*/ 61 w 131"/>
                  <a:gd name="T93" fmla="*/ 121 h 216"/>
                  <a:gd name="T94" fmla="*/ 64 w 131"/>
                  <a:gd name="T95" fmla="*/ 112 h 216"/>
                  <a:gd name="T96" fmla="*/ 68 w 131"/>
                  <a:gd name="T97" fmla="*/ 102 h 216"/>
                  <a:gd name="T98" fmla="*/ 72 w 131"/>
                  <a:gd name="T99" fmla="*/ 104 h 216"/>
                  <a:gd name="T100" fmla="*/ 85 w 131"/>
                  <a:gd name="T101" fmla="*/ 92 h 216"/>
                  <a:gd name="T102" fmla="*/ 104 w 131"/>
                  <a:gd name="T103" fmla="*/ 80 h 216"/>
                  <a:gd name="T104" fmla="*/ 104 w 131"/>
                  <a:gd name="T105" fmla="*/ 74 h 216"/>
                  <a:gd name="T106" fmla="*/ 106 w 131"/>
                  <a:gd name="T107" fmla="*/ 63 h 216"/>
                  <a:gd name="T108" fmla="*/ 114 w 131"/>
                  <a:gd name="T109" fmla="*/ 55 h 216"/>
                  <a:gd name="T110" fmla="*/ 131 w 131"/>
                  <a:gd name="T111" fmla="*/ 5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 h="216">
                    <a:moveTo>
                      <a:pt x="131" y="55"/>
                    </a:moveTo>
                    <a:cubicBezTo>
                      <a:pt x="129" y="50"/>
                      <a:pt x="129" y="50"/>
                      <a:pt x="129" y="50"/>
                    </a:cubicBezTo>
                    <a:cubicBezTo>
                      <a:pt x="129" y="50"/>
                      <a:pt x="129" y="50"/>
                      <a:pt x="129" y="50"/>
                    </a:cubicBezTo>
                    <a:cubicBezTo>
                      <a:pt x="128" y="49"/>
                      <a:pt x="128" y="49"/>
                      <a:pt x="127" y="48"/>
                    </a:cubicBezTo>
                    <a:cubicBezTo>
                      <a:pt x="127" y="48"/>
                      <a:pt x="127" y="48"/>
                      <a:pt x="127" y="48"/>
                    </a:cubicBezTo>
                    <a:cubicBezTo>
                      <a:pt x="127" y="48"/>
                      <a:pt x="127" y="47"/>
                      <a:pt x="127" y="47"/>
                    </a:cubicBezTo>
                    <a:cubicBezTo>
                      <a:pt x="127" y="47"/>
                      <a:pt x="127" y="46"/>
                      <a:pt x="127" y="46"/>
                    </a:cubicBezTo>
                    <a:cubicBezTo>
                      <a:pt x="127" y="46"/>
                      <a:pt x="127" y="45"/>
                      <a:pt x="127" y="45"/>
                    </a:cubicBezTo>
                    <a:cubicBezTo>
                      <a:pt x="127" y="44"/>
                      <a:pt x="128" y="43"/>
                      <a:pt x="128" y="42"/>
                    </a:cubicBezTo>
                    <a:cubicBezTo>
                      <a:pt x="128" y="41"/>
                      <a:pt x="129" y="41"/>
                      <a:pt x="129" y="40"/>
                    </a:cubicBezTo>
                    <a:cubicBezTo>
                      <a:pt x="129" y="40"/>
                      <a:pt x="129" y="39"/>
                      <a:pt x="129" y="39"/>
                    </a:cubicBezTo>
                    <a:cubicBezTo>
                      <a:pt x="129" y="38"/>
                      <a:pt x="129" y="38"/>
                      <a:pt x="130" y="38"/>
                    </a:cubicBezTo>
                    <a:cubicBezTo>
                      <a:pt x="130" y="38"/>
                      <a:pt x="130" y="38"/>
                      <a:pt x="130" y="38"/>
                    </a:cubicBezTo>
                    <a:cubicBezTo>
                      <a:pt x="129" y="38"/>
                      <a:pt x="129" y="37"/>
                      <a:pt x="129" y="37"/>
                    </a:cubicBezTo>
                    <a:cubicBezTo>
                      <a:pt x="129" y="37"/>
                      <a:pt x="129" y="37"/>
                      <a:pt x="129" y="37"/>
                    </a:cubicBezTo>
                    <a:cubicBezTo>
                      <a:pt x="129" y="37"/>
                      <a:pt x="129" y="36"/>
                      <a:pt x="128" y="36"/>
                    </a:cubicBezTo>
                    <a:cubicBezTo>
                      <a:pt x="127" y="35"/>
                      <a:pt x="126" y="33"/>
                      <a:pt x="126" y="31"/>
                    </a:cubicBezTo>
                    <a:cubicBezTo>
                      <a:pt x="126" y="31"/>
                      <a:pt x="126" y="30"/>
                      <a:pt x="127" y="29"/>
                    </a:cubicBezTo>
                    <a:cubicBezTo>
                      <a:pt x="127" y="29"/>
                      <a:pt x="127" y="29"/>
                      <a:pt x="128" y="29"/>
                    </a:cubicBezTo>
                    <a:cubicBezTo>
                      <a:pt x="127" y="28"/>
                      <a:pt x="127" y="28"/>
                      <a:pt x="127" y="28"/>
                    </a:cubicBezTo>
                    <a:cubicBezTo>
                      <a:pt x="127" y="28"/>
                      <a:pt x="127" y="28"/>
                      <a:pt x="126" y="28"/>
                    </a:cubicBezTo>
                    <a:cubicBezTo>
                      <a:pt x="126" y="28"/>
                      <a:pt x="126" y="28"/>
                      <a:pt x="126" y="28"/>
                    </a:cubicBezTo>
                    <a:cubicBezTo>
                      <a:pt x="126" y="28"/>
                      <a:pt x="126" y="28"/>
                      <a:pt x="125" y="28"/>
                    </a:cubicBezTo>
                    <a:cubicBezTo>
                      <a:pt x="125" y="28"/>
                      <a:pt x="125" y="28"/>
                      <a:pt x="125" y="28"/>
                    </a:cubicBezTo>
                    <a:cubicBezTo>
                      <a:pt x="125" y="27"/>
                      <a:pt x="125" y="27"/>
                      <a:pt x="124" y="27"/>
                    </a:cubicBezTo>
                    <a:cubicBezTo>
                      <a:pt x="124" y="27"/>
                      <a:pt x="124" y="27"/>
                      <a:pt x="124" y="27"/>
                    </a:cubicBezTo>
                    <a:cubicBezTo>
                      <a:pt x="124" y="27"/>
                      <a:pt x="124" y="27"/>
                      <a:pt x="124" y="27"/>
                    </a:cubicBezTo>
                    <a:cubicBezTo>
                      <a:pt x="124" y="26"/>
                      <a:pt x="125" y="25"/>
                      <a:pt x="125" y="25"/>
                    </a:cubicBezTo>
                    <a:cubicBezTo>
                      <a:pt x="125" y="25"/>
                      <a:pt x="125" y="24"/>
                      <a:pt x="125" y="24"/>
                    </a:cubicBezTo>
                    <a:cubicBezTo>
                      <a:pt x="125" y="24"/>
                      <a:pt x="125" y="24"/>
                      <a:pt x="125" y="23"/>
                    </a:cubicBezTo>
                    <a:cubicBezTo>
                      <a:pt x="125" y="22"/>
                      <a:pt x="125" y="22"/>
                      <a:pt x="125" y="22"/>
                    </a:cubicBezTo>
                    <a:cubicBezTo>
                      <a:pt x="125" y="21"/>
                      <a:pt x="125" y="20"/>
                      <a:pt x="126" y="18"/>
                    </a:cubicBezTo>
                    <a:cubicBezTo>
                      <a:pt x="126" y="18"/>
                      <a:pt x="126" y="18"/>
                      <a:pt x="126" y="18"/>
                    </a:cubicBezTo>
                    <a:cubicBezTo>
                      <a:pt x="126" y="18"/>
                      <a:pt x="126" y="18"/>
                      <a:pt x="126" y="18"/>
                    </a:cubicBezTo>
                    <a:cubicBezTo>
                      <a:pt x="125" y="18"/>
                      <a:pt x="125" y="18"/>
                      <a:pt x="125" y="18"/>
                    </a:cubicBezTo>
                    <a:cubicBezTo>
                      <a:pt x="125" y="17"/>
                      <a:pt x="125" y="17"/>
                      <a:pt x="125" y="17"/>
                    </a:cubicBezTo>
                    <a:cubicBezTo>
                      <a:pt x="124" y="16"/>
                      <a:pt x="123" y="16"/>
                      <a:pt x="122" y="15"/>
                    </a:cubicBezTo>
                    <a:cubicBezTo>
                      <a:pt x="96" y="0"/>
                      <a:pt x="96" y="0"/>
                      <a:pt x="96" y="0"/>
                    </a:cubicBezTo>
                    <a:cubicBezTo>
                      <a:pt x="94" y="0"/>
                      <a:pt x="94" y="0"/>
                      <a:pt x="94" y="0"/>
                    </a:cubicBezTo>
                    <a:cubicBezTo>
                      <a:pt x="94" y="1"/>
                      <a:pt x="94" y="2"/>
                      <a:pt x="94" y="2"/>
                    </a:cubicBezTo>
                    <a:cubicBezTo>
                      <a:pt x="94" y="3"/>
                      <a:pt x="94" y="3"/>
                      <a:pt x="94" y="3"/>
                    </a:cubicBezTo>
                    <a:cubicBezTo>
                      <a:pt x="94" y="3"/>
                      <a:pt x="94" y="3"/>
                      <a:pt x="94" y="3"/>
                    </a:cubicBezTo>
                    <a:cubicBezTo>
                      <a:pt x="94" y="4"/>
                      <a:pt x="94" y="5"/>
                      <a:pt x="93" y="6"/>
                    </a:cubicBezTo>
                    <a:cubicBezTo>
                      <a:pt x="93" y="6"/>
                      <a:pt x="92" y="7"/>
                      <a:pt x="92" y="7"/>
                    </a:cubicBezTo>
                    <a:cubicBezTo>
                      <a:pt x="92" y="7"/>
                      <a:pt x="92" y="7"/>
                      <a:pt x="92" y="7"/>
                    </a:cubicBezTo>
                    <a:cubicBezTo>
                      <a:pt x="92" y="7"/>
                      <a:pt x="92" y="8"/>
                      <a:pt x="92" y="9"/>
                    </a:cubicBezTo>
                    <a:cubicBezTo>
                      <a:pt x="92" y="9"/>
                      <a:pt x="92" y="9"/>
                      <a:pt x="92" y="9"/>
                    </a:cubicBezTo>
                    <a:cubicBezTo>
                      <a:pt x="92" y="9"/>
                      <a:pt x="92" y="9"/>
                      <a:pt x="92" y="9"/>
                    </a:cubicBezTo>
                    <a:cubicBezTo>
                      <a:pt x="92" y="10"/>
                      <a:pt x="92" y="11"/>
                      <a:pt x="91" y="11"/>
                    </a:cubicBezTo>
                    <a:cubicBezTo>
                      <a:pt x="91" y="12"/>
                      <a:pt x="91" y="12"/>
                      <a:pt x="90" y="12"/>
                    </a:cubicBezTo>
                    <a:cubicBezTo>
                      <a:pt x="90" y="12"/>
                      <a:pt x="90" y="12"/>
                      <a:pt x="89" y="12"/>
                    </a:cubicBezTo>
                    <a:cubicBezTo>
                      <a:pt x="73" y="9"/>
                      <a:pt x="73" y="9"/>
                      <a:pt x="73" y="9"/>
                    </a:cubicBezTo>
                    <a:cubicBezTo>
                      <a:pt x="73" y="10"/>
                      <a:pt x="73" y="10"/>
                      <a:pt x="73" y="10"/>
                    </a:cubicBezTo>
                    <a:cubicBezTo>
                      <a:pt x="73" y="10"/>
                      <a:pt x="73" y="11"/>
                      <a:pt x="73" y="12"/>
                    </a:cubicBezTo>
                    <a:cubicBezTo>
                      <a:pt x="73" y="13"/>
                      <a:pt x="73" y="13"/>
                      <a:pt x="73" y="13"/>
                    </a:cubicBezTo>
                    <a:cubicBezTo>
                      <a:pt x="73" y="14"/>
                      <a:pt x="72" y="18"/>
                      <a:pt x="69" y="18"/>
                    </a:cubicBezTo>
                    <a:cubicBezTo>
                      <a:pt x="69" y="18"/>
                      <a:pt x="69" y="18"/>
                      <a:pt x="69" y="18"/>
                    </a:cubicBezTo>
                    <a:cubicBezTo>
                      <a:pt x="69" y="19"/>
                      <a:pt x="68" y="19"/>
                      <a:pt x="67" y="18"/>
                    </a:cubicBezTo>
                    <a:cubicBezTo>
                      <a:pt x="66" y="18"/>
                      <a:pt x="66" y="18"/>
                      <a:pt x="66" y="18"/>
                    </a:cubicBezTo>
                    <a:cubicBezTo>
                      <a:pt x="66" y="18"/>
                      <a:pt x="65" y="18"/>
                      <a:pt x="65" y="17"/>
                    </a:cubicBezTo>
                    <a:cubicBezTo>
                      <a:pt x="63" y="17"/>
                      <a:pt x="63" y="17"/>
                      <a:pt x="63" y="17"/>
                    </a:cubicBezTo>
                    <a:cubicBezTo>
                      <a:pt x="63" y="17"/>
                      <a:pt x="63" y="17"/>
                      <a:pt x="63" y="17"/>
                    </a:cubicBezTo>
                    <a:cubicBezTo>
                      <a:pt x="63" y="17"/>
                      <a:pt x="62" y="18"/>
                      <a:pt x="61" y="18"/>
                    </a:cubicBezTo>
                    <a:cubicBezTo>
                      <a:pt x="61" y="18"/>
                      <a:pt x="61" y="18"/>
                      <a:pt x="61" y="18"/>
                    </a:cubicBezTo>
                    <a:cubicBezTo>
                      <a:pt x="59" y="20"/>
                      <a:pt x="58" y="20"/>
                      <a:pt x="58" y="21"/>
                    </a:cubicBezTo>
                    <a:cubicBezTo>
                      <a:pt x="58" y="21"/>
                      <a:pt x="58" y="21"/>
                      <a:pt x="58" y="21"/>
                    </a:cubicBezTo>
                    <a:cubicBezTo>
                      <a:pt x="58" y="22"/>
                      <a:pt x="57" y="23"/>
                      <a:pt x="57" y="23"/>
                    </a:cubicBezTo>
                    <a:cubicBezTo>
                      <a:pt x="56" y="25"/>
                      <a:pt x="55" y="26"/>
                      <a:pt x="54" y="27"/>
                    </a:cubicBezTo>
                    <a:cubicBezTo>
                      <a:pt x="53" y="27"/>
                      <a:pt x="53" y="27"/>
                      <a:pt x="53" y="27"/>
                    </a:cubicBezTo>
                    <a:cubicBezTo>
                      <a:pt x="53" y="27"/>
                      <a:pt x="53" y="28"/>
                      <a:pt x="53" y="28"/>
                    </a:cubicBezTo>
                    <a:cubicBezTo>
                      <a:pt x="54" y="29"/>
                      <a:pt x="56" y="31"/>
                      <a:pt x="55" y="32"/>
                    </a:cubicBezTo>
                    <a:cubicBezTo>
                      <a:pt x="55" y="33"/>
                      <a:pt x="55" y="33"/>
                      <a:pt x="55" y="33"/>
                    </a:cubicBezTo>
                    <a:cubicBezTo>
                      <a:pt x="55" y="33"/>
                      <a:pt x="55" y="33"/>
                      <a:pt x="55" y="33"/>
                    </a:cubicBezTo>
                    <a:cubicBezTo>
                      <a:pt x="54" y="36"/>
                      <a:pt x="52" y="38"/>
                      <a:pt x="50" y="39"/>
                    </a:cubicBezTo>
                    <a:cubicBezTo>
                      <a:pt x="49" y="40"/>
                      <a:pt x="49" y="40"/>
                      <a:pt x="49" y="40"/>
                    </a:cubicBezTo>
                    <a:cubicBezTo>
                      <a:pt x="49" y="40"/>
                      <a:pt x="49" y="40"/>
                      <a:pt x="48" y="41"/>
                    </a:cubicBezTo>
                    <a:cubicBezTo>
                      <a:pt x="48" y="41"/>
                      <a:pt x="48" y="41"/>
                      <a:pt x="48" y="41"/>
                    </a:cubicBezTo>
                    <a:cubicBezTo>
                      <a:pt x="47" y="42"/>
                      <a:pt x="46" y="43"/>
                      <a:pt x="46" y="43"/>
                    </a:cubicBezTo>
                    <a:cubicBezTo>
                      <a:pt x="45" y="44"/>
                      <a:pt x="45" y="44"/>
                      <a:pt x="45" y="44"/>
                    </a:cubicBezTo>
                    <a:cubicBezTo>
                      <a:pt x="45" y="44"/>
                      <a:pt x="45" y="44"/>
                      <a:pt x="45" y="44"/>
                    </a:cubicBezTo>
                    <a:cubicBezTo>
                      <a:pt x="45" y="44"/>
                      <a:pt x="46" y="45"/>
                      <a:pt x="45" y="46"/>
                    </a:cubicBezTo>
                    <a:cubicBezTo>
                      <a:pt x="45" y="47"/>
                      <a:pt x="44" y="47"/>
                      <a:pt x="43" y="48"/>
                    </a:cubicBezTo>
                    <a:cubicBezTo>
                      <a:pt x="42" y="49"/>
                      <a:pt x="39" y="49"/>
                      <a:pt x="38" y="50"/>
                    </a:cubicBezTo>
                    <a:cubicBezTo>
                      <a:pt x="37" y="50"/>
                      <a:pt x="37" y="50"/>
                      <a:pt x="36" y="51"/>
                    </a:cubicBezTo>
                    <a:cubicBezTo>
                      <a:pt x="36" y="51"/>
                      <a:pt x="36" y="51"/>
                      <a:pt x="36" y="51"/>
                    </a:cubicBezTo>
                    <a:cubicBezTo>
                      <a:pt x="36" y="51"/>
                      <a:pt x="36" y="51"/>
                      <a:pt x="36" y="51"/>
                    </a:cubicBezTo>
                    <a:cubicBezTo>
                      <a:pt x="36" y="51"/>
                      <a:pt x="36" y="51"/>
                      <a:pt x="36" y="51"/>
                    </a:cubicBezTo>
                    <a:cubicBezTo>
                      <a:pt x="36" y="52"/>
                      <a:pt x="36" y="52"/>
                      <a:pt x="36" y="52"/>
                    </a:cubicBezTo>
                    <a:cubicBezTo>
                      <a:pt x="36" y="52"/>
                      <a:pt x="36" y="52"/>
                      <a:pt x="36" y="52"/>
                    </a:cubicBezTo>
                    <a:cubicBezTo>
                      <a:pt x="38" y="52"/>
                      <a:pt x="38" y="52"/>
                      <a:pt x="38" y="52"/>
                    </a:cubicBezTo>
                    <a:cubicBezTo>
                      <a:pt x="37" y="53"/>
                      <a:pt x="37" y="53"/>
                      <a:pt x="37" y="53"/>
                    </a:cubicBezTo>
                    <a:cubicBezTo>
                      <a:pt x="37" y="54"/>
                      <a:pt x="37" y="55"/>
                      <a:pt x="37" y="56"/>
                    </a:cubicBezTo>
                    <a:cubicBezTo>
                      <a:pt x="36" y="56"/>
                      <a:pt x="36" y="57"/>
                      <a:pt x="36" y="57"/>
                    </a:cubicBezTo>
                    <a:cubicBezTo>
                      <a:pt x="36" y="58"/>
                      <a:pt x="36" y="58"/>
                      <a:pt x="36" y="58"/>
                    </a:cubicBezTo>
                    <a:cubicBezTo>
                      <a:pt x="36" y="59"/>
                      <a:pt x="36" y="61"/>
                      <a:pt x="36" y="62"/>
                    </a:cubicBezTo>
                    <a:cubicBezTo>
                      <a:pt x="36" y="62"/>
                      <a:pt x="36" y="62"/>
                      <a:pt x="36" y="62"/>
                    </a:cubicBezTo>
                    <a:cubicBezTo>
                      <a:pt x="36" y="64"/>
                      <a:pt x="35" y="65"/>
                      <a:pt x="34" y="66"/>
                    </a:cubicBezTo>
                    <a:cubicBezTo>
                      <a:pt x="34" y="66"/>
                      <a:pt x="34" y="66"/>
                      <a:pt x="34" y="66"/>
                    </a:cubicBezTo>
                    <a:cubicBezTo>
                      <a:pt x="34" y="67"/>
                      <a:pt x="34" y="67"/>
                      <a:pt x="34" y="67"/>
                    </a:cubicBezTo>
                    <a:cubicBezTo>
                      <a:pt x="33" y="67"/>
                      <a:pt x="33" y="68"/>
                      <a:pt x="32" y="69"/>
                    </a:cubicBezTo>
                    <a:cubicBezTo>
                      <a:pt x="32" y="70"/>
                      <a:pt x="31" y="71"/>
                      <a:pt x="30" y="72"/>
                    </a:cubicBezTo>
                    <a:cubicBezTo>
                      <a:pt x="30" y="72"/>
                      <a:pt x="29" y="72"/>
                      <a:pt x="29" y="73"/>
                    </a:cubicBezTo>
                    <a:cubicBezTo>
                      <a:pt x="29" y="74"/>
                      <a:pt x="29" y="75"/>
                      <a:pt x="29" y="76"/>
                    </a:cubicBezTo>
                    <a:cubicBezTo>
                      <a:pt x="30" y="76"/>
                      <a:pt x="30" y="76"/>
                      <a:pt x="30" y="76"/>
                    </a:cubicBezTo>
                    <a:cubicBezTo>
                      <a:pt x="30" y="76"/>
                      <a:pt x="31" y="77"/>
                      <a:pt x="31" y="78"/>
                    </a:cubicBezTo>
                    <a:cubicBezTo>
                      <a:pt x="31" y="78"/>
                      <a:pt x="31" y="78"/>
                      <a:pt x="31" y="78"/>
                    </a:cubicBezTo>
                    <a:cubicBezTo>
                      <a:pt x="31" y="79"/>
                      <a:pt x="31" y="79"/>
                      <a:pt x="31" y="79"/>
                    </a:cubicBezTo>
                    <a:cubicBezTo>
                      <a:pt x="32" y="80"/>
                      <a:pt x="32" y="81"/>
                      <a:pt x="31" y="82"/>
                    </a:cubicBezTo>
                    <a:cubicBezTo>
                      <a:pt x="31" y="85"/>
                      <a:pt x="29" y="86"/>
                      <a:pt x="27" y="85"/>
                    </a:cubicBezTo>
                    <a:cubicBezTo>
                      <a:pt x="21" y="85"/>
                      <a:pt x="21" y="85"/>
                      <a:pt x="21" y="85"/>
                    </a:cubicBezTo>
                    <a:cubicBezTo>
                      <a:pt x="21" y="85"/>
                      <a:pt x="20" y="85"/>
                      <a:pt x="19" y="85"/>
                    </a:cubicBezTo>
                    <a:cubicBezTo>
                      <a:pt x="19" y="86"/>
                      <a:pt x="19" y="86"/>
                      <a:pt x="19" y="86"/>
                    </a:cubicBezTo>
                    <a:cubicBezTo>
                      <a:pt x="19" y="86"/>
                      <a:pt x="19" y="86"/>
                      <a:pt x="18" y="86"/>
                    </a:cubicBezTo>
                    <a:cubicBezTo>
                      <a:pt x="18" y="86"/>
                      <a:pt x="18" y="86"/>
                      <a:pt x="18" y="86"/>
                    </a:cubicBezTo>
                    <a:cubicBezTo>
                      <a:pt x="18" y="86"/>
                      <a:pt x="18" y="86"/>
                      <a:pt x="18" y="86"/>
                    </a:cubicBezTo>
                    <a:cubicBezTo>
                      <a:pt x="17" y="87"/>
                      <a:pt x="16" y="87"/>
                      <a:pt x="15" y="88"/>
                    </a:cubicBezTo>
                    <a:cubicBezTo>
                      <a:pt x="12" y="92"/>
                      <a:pt x="12" y="92"/>
                      <a:pt x="12" y="92"/>
                    </a:cubicBezTo>
                    <a:cubicBezTo>
                      <a:pt x="12" y="93"/>
                      <a:pt x="11" y="94"/>
                      <a:pt x="11" y="95"/>
                    </a:cubicBezTo>
                    <a:cubicBezTo>
                      <a:pt x="10" y="96"/>
                      <a:pt x="10" y="96"/>
                      <a:pt x="10" y="96"/>
                    </a:cubicBezTo>
                    <a:cubicBezTo>
                      <a:pt x="10" y="96"/>
                      <a:pt x="10" y="96"/>
                      <a:pt x="10" y="96"/>
                    </a:cubicBezTo>
                    <a:cubicBezTo>
                      <a:pt x="10" y="96"/>
                      <a:pt x="10" y="96"/>
                      <a:pt x="10" y="97"/>
                    </a:cubicBezTo>
                    <a:cubicBezTo>
                      <a:pt x="11" y="97"/>
                      <a:pt x="11" y="97"/>
                      <a:pt x="11" y="97"/>
                    </a:cubicBezTo>
                    <a:cubicBezTo>
                      <a:pt x="11" y="98"/>
                      <a:pt x="11" y="98"/>
                      <a:pt x="11" y="98"/>
                    </a:cubicBezTo>
                    <a:cubicBezTo>
                      <a:pt x="12" y="99"/>
                      <a:pt x="12" y="100"/>
                      <a:pt x="12" y="102"/>
                    </a:cubicBezTo>
                    <a:cubicBezTo>
                      <a:pt x="12" y="103"/>
                      <a:pt x="12" y="103"/>
                      <a:pt x="12" y="103"/>
                    </a:cubicBezTo>
                    <a:cubicBezTo>
                      <a:pt x="12" y="104"/>
                      <a:pt x="12" y="106"/>
                      <a:pt x="11" y="107"/>
                    </a:cubicBezTo>
                    <a:cubicBezTo>
                      <a:pt x="11" y="107"/>
                      <a:pt x="11" y="107"/>
                      <a:pt x="11" y="107"/>
                    </a:cubicBezTo>
                    <a:cubicBezTo>
                      <a:pt x="11" y="107"/>
                      <a:pt x="11" y="108"/>
                      <a:pt x="11" y="108"/>
                    </a:cubicBezTo>
                    <a:cubicBezTo>
                      <a:pt x="11" y="108"/>
                      <a:pt x="11" y="108"/>
                      <a:pt x="11" y="108"/>
                    </a:cubicBezTo>
                    <a:cubicBezTo>
                      <a:pt x="12" y="109"/>
                      <a:pt x="12" y="109"/>
                      <a:pt x="12" y="109"/>
                    </a:cubicBezTo>
                    <a:cubicBezTo>
                      <a:pt x="12" y="110"/>
                      <a:pt x="13" y="112"/>
                      <a:pt x="13" y="113"/>
                    </a:cubicBezTo>
                    <a:cubicBezTo>
                      <a:pt x="12" y="120"/>
                      <a:pt x="12" y="120"/>
                      <a:pt x="12" y="120"/>
                    </a:cubicBezTo>
                    <a:cubicBezTo>
                      <a:pt x="12" y="121"/>
                      <a:pt x="12" y="121"/>
                      <a:pt x="12" y="121"/>
                    </a:cubicBezTo>
                    <a:cubicBezTo>
                      <a:pt x="12" y="121"/>
                      <a:pt x="12" y="121"/>
                      <a:pt x="12" y="121"/>
                    </a:cubicBezTo>
                    <a:cubicBezTo>
                      <a:pt x="12" y="121"/>
                      <a:pt x="13" y="121"/>
                      <a:pt x="13" y="122"/>
                    </a:cubicBezTo>
                    <a:cubicBezTo>
                      <a:pt x="13" y="122"/>
                      <a:pt x="13" y="122"/>
                      <a:pt x="14" y="122"/>
                    </a:cubicBezTo>
                    <a:cubicBezTo>
                      <a:pt x="14" y="122"/>
                      <a:pt x="14" y="123"/>
                      <a:pt x="14" y="123"/>
                    </a:cubicBezTo>
                    <a:cubicBezTo>
                      <a:pt x="15" y="123"/>
                      <a:pt x="15" y="123"/>
                      <a:pt x="15" y="123"/>
                    </a:cubicBezTo>
                    <a:cubicBezTo>
                      <a:pt x="17" y="124"/>
                      <a:pt x="17" y="125"/>
                      <a:pt x="18" y="126"/>
                    </a:cubicBezTo>
                    <a:cubicBezTo>
                      <a:pt x="18" y="127"/>
                      <a:pt x="19" y="128"/>
                      <a:pt x="19" y="129"/>
                    </a:cubicBezTo>
                    <a:cubicBezTo>
                      <a:pt x="19" y="129"/>
                      <a:pt x="17" y="133"/>
                      <a:pt x="16" y="133"/>
                    </a:cubicBezTo>
                    <a:cubicBezTo>
                      <a:pt x="15" y="133"/>
                      <a:pt x="15" y="133"/>
                      <a:pt x="15" y="133"/>
                    </a:cubicBezTo>
                    <a:cubicBezTo>
                      <a:pt x="15" y="133"/>
                      <a:pt x="14" y="133"/>
                      <a:pt x="13" y="133"/>
                    </a:cubicBezTo>
                    <a:cubicBezTo>
                      <a:pt x="13" y="134"/>
                      <a:pt x="13" y="134"/>
                      <a:pt x="14" y="135"/>
                    </a:cubicBezTo>
                    <a:cubicBezTo>
                      <a:pt x="15" y="137"/>
                      <a:pt x="16" y="139"/>
                      <a:pt x="15" y="141"/>
                    </a:cubicBezTo>
                    <a:cubicBezTo>
                      <a:pt x="15" y="142"/>
                      <a:pt x="15" y="142"/>
                      <a:pt x="15" y="142"/>
                    </a:cubicBezTo>
                    <a:cubicBezTo>
                      <a:pt x="15" y="143"/>
                      <a:pt x="15" y="145"/>
                      <a:pt x="14" y="146"/>
                    </a:cubicBezTo>
                    <a:cubicBezTo>
                      <a:pt x="14" y="146"/>
                      <a:pt x="14" y="146"/>
                      <a:pt x="14" y="146"/>
                    </a:cubicBezTo>
                    <a:cubicBezTo>
                      <a:pt x="15" y="147"/>
                      <a:pt x="15" y="147"/>
                      <a:pt x="15" y="147"/>
                    </a:cubicBezTo>
                    <a:cubicBezTo>
                      <a:pt x="14" y="147"/>
                      <a:pt x="14" y="147"/>
                      <a:pt x="14" y="147"/>
                    </a:cubicBezTo>
                    <a:cubicBezTo>
                      <a:pt x="14" y="148"/>
                      <a:pt x="14" y="148"/>
                      <a:pt x="14" y="148"/>
                    </a:cubicBezTo>
                    <a:cubicBezTo>
                      <a:pt x="13" y="149"/>
                      <a:pt x="12" y="149"/>
                      <a:pt x="11" y="150"/>
                    </a:cubicBezTo>
                    <a:cubicBezTo>
                      <a:pt x="11" y="150"/>
                      <a:pt x="10" y="150"/>
                      <a:pt x="10" y="150"/>
                    </a:cubicBezTo>
                    <a:cubicBezTo>
                      <a:pt x="9" y="150"/>
                      <a:pt x="9" y="150"/>
                      <a:pt x="9" y="150"/>
                    </a:cubicBezTo>
                    <a:cubicBezTo>
                      <a:pt x="9" y="151"/>
                      <a:pt x="9" y="151"/>
                      <a:pt x="9" y="151"/>
                    </a:cubicBezTo>
                    <a:cubicBezTo>
                      <a:pt x="9" y="152"/>
                      <a:pt x="8" y="153"/>
                      <a:pt x="8" y="153"/>
                    </a:cubicBezTo>
                    <a:cubicBezTo>
                      <a:pt x="7" y="154"/>
                      <a:pt x="7" y="154"/>
                      <a:pt x="7" y="155"/>
                    </a:cubicBezTo>
                    <a:cubicBezTo>
                      <a:pt x="7" y="155"/>
                      <a:pt x="7" y="156"/>
                      <a:pt x="8" y="156"/>
                    </a:cubicBezTo>
                    <a:cubicBezTo>
                      <a:pt x="8" y="157"/>
                      <a:pt x="8" y="159"/>
                      <a:pt x="8" y="160"/>
                    </a:cubicBezTo>
                    <a:cubicBezTo>
                      <a:pt x="6" y="166"/>
                      <a:pt x="6" y="166"/>
                      <a:pt x="6" y="166"/>
                    </a:cubicBezTo>
                    <a:cubicBezTo>
                      <a:pt x="5" y="165"/>
                      <a:pt x="5" y="165"/>
                      <a:pt x="5" y="165"/>
                    </a:cubicBezTo>
                    <a:cubicBezTo>
                      <a:pt x="4" y="165"/>
                      <a:pt x="4" y="165"/>
                      <a:pt x="4" y="165"/>
                    </a:cubicBezTo>
                    <a:cubicBezTo>
                      <a:pt x="3" y="165"/>
                      <a:pt x="3" y="165"/>
                      <a:pt x="3" y="165"/>
                    </a:cubicBezTo>
                    <a:cubicBezTo>
                      <a:pt x="2" y="164"/>
                      <a:pt x="1" y="164"/>
                      <a:pt x="0" y="163"/>
                    </a:cubicBezTo>
                    <a:cubicBezTo>
                      <a:pt x="0" y="166"/>
                      <a:pt x="0" y="168"/>
                      <a:pt x="1" y="170"/>
                    </a:cubicBezTo>
                    <a:cubicBezTo>
                      <a:pt x="1" y="171"/>
                      <a:pt x="1" y="172"/>
                      <a:pt x="1" y="173"/>
                    </a:cubicBezTo>
                    <a:cubicBezTo>
                      <a:pt x="1" y="173"/>
                      <a:pt x="2" y="172"/>
                      <a:pt x="2" y="172"/>
                    </a:cubicBezTo>
                    <a:cubicBezTo>
                      <a:pt x="3" y="173"/>
                      <a:pt x="3" y="175"/>
                      <a:pt x="4" y="173"/>
                    </a:cubicBezTo>
                    <a:cubicBezTo>
                      <a:pt x="5" y="173"/>
                      <a:pt x="4" y="171"/>
                      <a:pt x="6" y="172"/>
                    </a:cubicBezTo>
                    <a:cubicBezTo>
                      <a:pt x="5" y="172"/>
                      <a:pt x="4" y="173"/>
                      <a:pt x="4" y="174"/>
                    </a:cubicBezTo>
                    <a:cubicBezTo>
                      <a:pt x="5" y="174"/>
                      <a:pt x="6" y="174"/>
                      <a:pt x="7" y="173"/>
                    </a:cubicBezTo>
                    <a:cubicBezTo>
                      <a:pt x="7" y="173"/>
                      <a:pt x="7" y="173"/>
                      <a:pt x="7" y="173"/>
                    </a:cubicBezTo>
                    <a:cubicBezTo>
                      <a:pt x="7" y="174"/>
                      <a:pt x="7" y="174"/>
                      <a:pt x="7" y="174"/>
                    </a:cubicBezTo>
                    <a:cubicBezTo>
                      <a:pt x="8" y="174"/>
                      <a:pt x="8" y="174"/>
                      <a:pt x="8" y="174"/>
                    </a:cubicBezTo>
                    <a:cubicBezTo>
                      <a:pt x="8" y="174"/>
                      <a:pt x="8" y="175"/>
                      <a:pt x="8" y="175"/>
                    </a:cubicBezTo>
                    <a:cubicBezTo>
                      <a:pt x="8" y="175"/>
                      <a:pt x="7" y="175"/>
                      <a:pt x="7" y="175"/>
                    </a:cubicBezTo>
                    <a:cubicBezTo>
                      <a:pt x="7" y="176"/>
                      <a:pt x="7" y="176"/>
                      <a:pt x="7" y="177"/>
                    </a:cubicBezTo>
                    <a:cubicBezTo>
                      <a:pt x="7" y="177"/>
                      <a:pt x="7" y="178"/>
                      <a:pt x="6" y="179"/>
                    </a:cubicBezTo>
                    <a:cubicBezTo>
                      <a:pt x="6" y="180"/>
                      <a:pt x="5" y="182"/>
                      <a:pt x="7" y="181"/>
                    </a:cubicBezTo>
                    <a:cubicBezTo>
                      <a:pt x="7" y="181"/>
                      <a:pt x="6" y="182"/>
                      <a:pt x="6" y="182"/>
                    </a:cubicBezTo>
                    <a:cubicBezTo>
                      <a:pt x="6" y="183"/>
                      <a:pt x="7" y="183"/>
                      <a:pt x="7" y="184"/>
                    </a:cubicBezTo>
                    <a:cubicBezTo>
                      <a:pt x="8" y="184"/>
                      <a:pt x="8" y="185"/>
                      <a:pt x="8" y="186"/>
                    </a:cubicBezTo>
                    <a:cubicBezTo>
                      <a:pt x="8" y="187"/>
                      <a:pt x="9" y="188"/>
                      <a:pt x="9" y="189"/>
                    </a:cubicBezTo>
                    <a:cubicBezTo>
                      <a:pt x="10" y="191"/>
                      <a:pt x="11" y="193"/>
                      <a:pt x="13" y="194"/>
                    </a:cubicBezTo>
                    <a:cubicBezTo>
                      <a:pt x="13" y="195"/>
                      <a:pt x="14" y="195"/>
                      <a:pt x="15" y="196"/>
                    </a:cubicBezTo>
                    <a:cubicBezTo>
                      <a:pt x="15" y="196"/>
                      <a:pt x="16" y="198"/>
                      <a:pt x="16" y="198"/>
                    </a:cubicBezTo>
                    <a:cubicBezTo>
                      <a:pt x="18" y="199"/>
                      <a:pt x="18" y="198"/>
                      <a:pt x="18" y="200"/>
                    </a:cubicBezTo>
                    <a:cubicBezTo>
                      <a:pt x="18" y="201"/>
                      <a:pt x="16" y="200"/>
                      <a:pt x="15" y="201"/>
                    </a:cubicBezTo>
                    <a:cubicBezTo>
                      <a:pt x="15" y="202"/>
                      <a:pt x="15" y="201"/>
                      <a:pt x="15" y="202"/>
                    </a:cubicBezTo>
                    <a:cubicBezTo>
                      <a:pt x="16" y="202"/>
                      <a:pt x="16" y="202"/>
                      <a:pt x="16" y="202"/>
                    </a:cubicBezTo>
                    <a:cubicBezTo>
                      <a:pt x="17" y="202"/>
                      <a:pt x="17" y="203"/>
                      <a:pt x="17" y="204"/>
                    </a:cubicBezTo>
                    <a:cubicBezTo>
                      <a:pt x="16" y="204"/>
                      <a:pt x="15" y="203"/>
                      <a:pt x="14" y="203"/>
                    </a:cubicBezTo>
                    <a:cubicBezTo>
                      <a:pt x="14" y="204"/>
                      <a:pt x="15" y="205"/>
                      <a:pt x="15" y="206"/>
                    </a:cubicBezTo>
                    <a:cubicBezTo>
                      <a:pt x="16" y="207"/>
                      <a:pt x="17" y="208"/>
                      <a:pt x="17" y="209"/>
                    </a:cubicBezTo>
                    <a:cubicBezTo>
                      <a:pt x="17" y="210"/>
                      <a:pt x="18" y="211"/>
                      <a:pt x="18" y="211"/>
                    </a:cubicBezTo>
                    <a:cubicBezTo>
                      <a:pt x="19" y="211"/>
                      <a:pt x="20" y="212"/>
                      <a:pt x="19" y="213"/>
                    </a:cubicBezTo>
                    <a:cubicBezTo>
                      <a:pt x="19" y="213"/>
                      <a:pt x="19" y="213"/>
                      <a:pt x="19" y="213"/>
                    </a:cubicBezTo>
                    <a:cubicBezTo>
                      <a:pt x="18" y="213"/>
                      <a:pt x="19" y="214"/>
                      <a:pt x="19" y="215"/>
                    </a:cubicBezTo>
                    <a:cubicBezTo>
                      <a:pt x="19" y="215"/>
                      <a:pt x="19" y="215"/>
                      <a:pt x="18" y="215"/>
                    </a:cubicBezTo>
                    <a:cubicBezTo>
                      <a:pt x="18" y="216"/>
                      <a:pt x="18" y="216"/>
                      <a:pt x="17" y="216"/>
                    </a:cubicBezTo>
                    <a:cubicBezTo>
                      <a:pt x="22" y="216"/>
                      <a:pt x="27" y="216"/>
                      <a:pt x="31" y="216"/>
                    </a:cubicBezTo>
                    <a:cubicBezTo>
                      <a:pt x="32" y="216"/>
                      <a:pt x="33" y="214"/>
                      <a:pt x="33" y="214"/>
                    </a:cubicBezTo>
                    <a:cubicBezTo>
                      <a:pt x="33" y="214"/>
                      <a:pt x="32" y="213"/>
                      <a:pt x="32" y="212"/>
                    </a:cubicBezTo>
                    <a:cubicBezTo>
                      <a:pt x="32" y="211"/>
                      <a:pt x="31" y="210"/>
                      <a:pt x="32" y="209"/>
                    </a:cubicBezTo>
                    <a:cubicBezTo>
                      <a:pt x="34" y="206"/>
                      <a:pt x="38" y="206"/>
                      <a:pt x="41" y="205"/>
                    </a:cubicBezTo>
                    <a:cubicBezTo>
                      <a:pt x="43" y="205"/>
                      <a:pt x="44" y="204"/>
                      <a:pt x="46" y="204"/>
                    </a:cubicBezTo>
                    <a:cubicBezTo>
                      <a:pt x="47" y="205"/>
                      <a:pt x="47" y="205"/>
                      <a:pt x="48" y="206"/>
                    </a:cubicBezTo>
                    <a:cubicBezTo>
                      <a:pt x="50" y="204"/>
                      <a:pt x="51" y="201"/>
                      <a:pt x="53" y="198"/>
                    </a:cubicBezTo>
                    <a:cubicBezTo>
                      <a:pt x="53" y="198"/>
                      <a:pt x="54" y="197"/>
                      <a:pt x="54" y="196"/>
                    </a:cubicBezTo>
                    <a:cubicBezTo>
                      <a:pt x="54" y="196"/>
                      <a:pt x="54" y="196"/>
                      <a:pt x="54" y="196"/>
                    </a:cubicBezTo>
                    <a:cubicBezTo>
                      <a:pt x="54" y="195"/>
                      <a:pt x="54" y="194"/>
                      <a:pt x="54" y="193"/>
                    </a:cubicBezTo>
                    <a:cubicBezTo>
                      <a:pt x="54" y="192"/>
                      <a:pt x="54" y="192"/>
                      <a:pt x="55" y="192"/>
                    </a:cubicBezTo>
                    <a:cubicBezTo>
                      <a:pt x="56" y="192"/>
                      <a:pt x="54" y="189"/>
                      <a:pt x="55" y="188"/>
                    </a:cubicBezTo>
                    <a:cubicBezTo>
                      <a:pt x="55" y="187"/>
                      <a:pt x="57" y="187"/>
                      <a:pt x="56" y="185"/>
                    </a:cubicBezTo>
                    <a:cubicBezTo>
                      <a:pt x="56" y="185"/>
                      <a:pt x="56" y="185"/>
                      <a:pt x="55" y="184"/>
                    </a:cubicBezTo>
                    <a:cubicBezTo>
                      <a:pt x="55" y="184"/>
                      <a:pt x="56" y="184"/>
                      <a:pt x="56" y="184"/>
                    </a:cubicBezTo>
                    <a:cubicBezTo>
                      <a:pt x="56" y="183"/>
                      <a:pt x="56" y="183"/>
                      <a:pt x="56" y="182"/>
                    </a:cubicBezTo>
                    <a:cubicBezTo>
                      <a:pt x="57" y="183"/>
                      <a:pt x="57" y="182"/>
                      <a:pt x="56" y="181"/>
                    </a:cubicBezTo>
                    <a:cubicBezTo>
                      <a:pt x="56" y="181"/>
                      <a:pt x="55" y="180"/>
                      <a:pt x="54" y="179"/>
                    </a:cubicBezTo>
                    <a:cubicBezTo>
                      <a:pt x="55" y="180"/>
                      <a:pt x="55" y="179"/>
                      <a:pt x="56" y="179"/>
                    </a:cubicBezTo>
                    <a:cubicBezTo>
                      <a:pt x="56" y="179"/>
                      <a:pt x="57" y="180"/>
                      <a:pt x="58" y="179"/>
                    </a:cubicBezTo>
                    <a:cubicBezTo>
                      <a:pt x="57" y="179"/>
                      <a:pt x="57" y="178"/>
                      <a:pt x="56" y="178"/>
                    </a:cubicBezTo>
                    <a:cubicBezTo>
                      <a:pt x="57" y="177"/>
                      <a:pt x="58" y="176"/>
                      <a:pt x="58" y="175"/>
                    </a:cubicBezTo>
                    <a:cubicBezTo>
                      <a:pt x="58" y="173"/>
                      <a:pt x="58" y="174"/>
                      <a:pt x="56" y="173"/>
                    </a:cubicBezTo>
                    <a:cubicBezTo>
                      <a:pt x="57" y="173"/>
                      <a:pt x="57" y="173"/>
                      <a:pt x="57" y="173"/>
                    </a:cubicBezTo>
                    <a:cubicBezTo>
                      <a:pt x="56" y="172"/>
                      <a:pt x="55" y="172"/>
                      <a:pt x="54" y="171"/>
                    </a:cubicBezTo>
                    <a:cubicBezTo>
                      <a:pt x="56" y="171"/>
                      <a:pt x="57" y="173"/>
                      <a:pt x="59" y="171"/>
                    </a:cubicBezTo>
                    <a:cubicBezTo>
                      <a:pt x="58" y="170"/>
                      <a:pt x="57" y="169"/>
                      <a:pt x="55" y="169"/>
                    </a:cubicBezTo>
                    <a:cubicBezTo>
                      <a:pt x="55" y="169"/>
                      <a:pt x="55" y="169"/>
                      <a:pt x="55" y="169"/>
                    </a:cubicBezTo>
                    <a:cubicBezTo>
                      <a:pt x="54" y="169"/>
                      <a:pt x="54" y="169"/>
                      <a:pt x="54" y="169"/>
                    </a:cubicBezTo>
                    <a:cubicBezTo>
                      <a:pt x="54" y="169"/>
                      <a:pt x="53" y="169"/>
                      <a:pt x="52" y="169"/>
                    </a:cubicBezTo>
                    <a:cubicBezTo>
                      <a:pt x="51" y="169"/>
                      <a:pt x="53" y="168"/>
                      <a:pt x="53" y="168"/>
                    </a:cubicBezTo>
                    <a:cubicBezTo>
                      <a:pt x="53" y="168"/>
                      <a:pt x="54" y="168"/>
                      <a:pt x="54" y="168"/>
                    </a:cubicBezTo>
                    <a:cubicBezTo>
                      <a:pt x="55" y="168"/>
                      <a:pt x="56" y="169"/>
                      <a:pt x="56" y="169"/>
                    </a:cubicBezTo>
                    <a:cubicBezTo>
                      <a:pt x="59" y="169"/>
                      <a:pt x="62" y="168"/>
                      <a:pt x="64" y="167"/>
                    </a:cubicBezTo>
                    <a:cubicBezTo>
                      <a:pt x="65" y="167"/>
                      <a:pt x="66" y="165"/>
                      <a:pt x="66" y="164"/>
                    </a:cubicBezTo>
                    <a:cubicBezTo>
                      <a:pt x="66" y="164"/>
                      <a:pt x="67" y="164"/>
                      <a:pt x="67" y="165"/>
                    </a:cubicBezTo>
                    <a:cubicBezTo>
                      <a:pt x="67" y="164"/>
                      <a:pt x="67" y="162"/>
                      <a:pt x="67" y="161"/>
                    </a:cubicBezTo>
                    <a:cubicBezTo>
                      <a:pt x="68" y="160"/>
                      <a:pt x="68" y="162"/>
                      <a:pt x="67" y="162"/>
                    </a:cubicBezTo>
                    <a:cubicBezTo>
                      <a:pt x="68" y="163"/>
                      <a:pt x="67" y="165"/>
                      <a:pt x="69" y="166"/>
                    </a:cubicBezTo>
                    <a:cubicBezTo>
                      <a:pt x="69" y="166"/>
                      <a:pt x="69" y="166"/>
                      <a:pt x="69" y="166"/>
                    </a:cubicBezTo>
                    <a:cubicBezTo>
                      <a:pt x="69" y="165"/>
                      <a:pt x="69" y="165"/>
                      <a:pt x="70" y="164"/>
                    </a:cubicBezTo>
                    <a:cubicBezTo>
                      <a:pt x="71" y="163"/>
                      <a:pt x="73" y="162"/>
                      <a:pt x="75" y="161"/>
                    </a:cubicBezTo>
                    <a:cubicBezTo>
                      <a:pt x="74" y="161"/>
                      <a:pt x="74" y="160"/>
                      <a:pt x="73" y="159"/>
                    </a:cubicBezTo>
                    <a:cubicBezTo>
                      <a:pt x="74" y="159"/>
                      <a:pt x="75" y="160"/>
                      <a:pt x="76" y="159"/>
                    </a:cubicBezTo>
                    <a:cubicBezTo>
                      <a:pt x="76" y="159"/>
                      <a:pt x="75" y="159"/>
                      <a:pt x="74" y="159"/>
                    </a:cubicBezTo>
                    <a:cubicBezTo>
                      <a:pt x="75" y="159"/>
                      <a:pt x="77" y="160"/>
                      <a:pt x="77" y="159"/>
                    </a:cubicBezTo>
                    <a:cubicBezTo>
                      <a:pt x="76" y="159"/>
                      <a:pt x="77" y="158"/>
                      <a:pt x="76" y="158"/>
                    </a:cubicBezTo>
                    <a:cubicBezTo>
                      <a:pt x="76" y="157"/>
                      <a:pt x="75" y="157"/>
                      <a:pt x="74" y="157"/>
                    </a:cubicBezTo>
                    <a:cubicBezTo>
                      <a:pt x="74" y="157"/>
                      <a:pt x="75" y="158"/>
                      <a:pt x="75" y="158"/>
                    </a:cubicBezTo>
                    <a:cubicBezTo>
                      <a:pt x="74" y="158"/>
                      <a:pt x="74" y="158"/>
                      <a:pt x="74" y="158"/>
                    </a:cubicBezTo>
                    <a:cubicBezTo>
                      <a:pt x="74" y="158"/>
                      <a:pt x="74" y="158"/>
                      <a:pt x="74" y="158"/>
                    </a:cubicBezTo>
                    <a:cubicBezTo>
                      <a:pt x="72" y="157"/>
                      <a:pt x="72" y="157"/>
                      <a:pt x="72" y="157"/>
                    </a:cubicBezTo>
                    <a:cubicBezTo>
                      <a:pt x="72" y="158"/>
                      <a:pt x="72" y="158"/>
                      <a:pt x="72" y="158"/>
                    </a:cubicBezTo>
                    <a:cubicBezTo>
                      <a:pt x="72" y="158"/>
                      <a:pt x="72" y="158"/>
                      <a:pt x="72" y="158"/>
                    </a:cubicBezTo>
                    <a:cubicBezTo>
                      <a:pt x="71" y="158"/>
                      <a:pt x="71" y="156"/>
                      <a:pt x="72" y="157"/>
                    </a:cubicBezTo>
                    <a:cubicBezTo>
                      <a:pt x="72" y="157"/>
                      <a:pt x="72" y="157"/>
                      <a:pt x="72" y="157"/>
                    </a:cubicBezTo>
                    <a:cubicBezTo>
                      <a:pt x="72" y="157"/>
                      <a:pt x="73" y="157"/>
                      <a:pt x="73" y="157"/>
                    </a:cubicBezTo>
                    <a:cubicBezTo>
                      <a:pt x="73" y="157"/>
                      <a:pt x="73" y="157"/>
                      <a:pt x="72" y="156"/>
                    </a:cubicBezTo>
                    <a:cubicBezTo>
                      <a:pt x="74" y="156"/>
                      <a:pt x="75" y="155"/>
                      <a:pt x="76" y="154"/>
                    </a:cubicBezTo>
                    <a:cubicBezTo>
                      <a:pt x="78" y="153"/>
                      <a:pt x="79" y="152"/>
                      <a:pt x="81" y="152"/>
                    </a:cubicBezTo>
                    <a:cubicBezTo>
                      <a:pt x="80" y="150"/>
                      <a:pt x="79" y="148"/>
                      <a:pt x="78" y="146"/>
                    </a:cubicBezTo>
                    <a:cubicBezTo>
                      <a:pt x="78" y="146"/>
                      <a:pt x="76" y="146"/>
                      <a:pt x="76" y="146"/>
                    </a:cubicBezTo>
                    <a:cubicBezTo>
                      <a:pt x="76" y="145"/>
                      <a:pt x="76" y="145"/>
                      <a:pt x="76" y="144"/>
                    </a:cubicBezTo>
                    <a:cubicBezTo>
                      <a:pt x="75" y="143"/>
                      <a:pt x="74" y="143"/>
                      <a:pt x="74" y="142"/>
                    </a:cubicBezTo>
                    <a:cubicBezTo>
                      <a:pt x="73" y="141"/>
                      <a:pt x="72" y="141"/>
                      <a:pt x="71" y="140"/>
                    </a:cubicBezTo>
                    <a:cubicBezTo>
                      <a:pt x="71" y="140"/>
                      <a:pt x="70" y="139"/>
                      <a:pt x="70" y="139"/>
                    </a:cubicBezTo>
                    <a:cubicBezTo>
                      <a:pt x="69" y="138"/>
                      <a:pt x="68" y="141"/>
                      <a:pt x="66" y="140"/>
                    </a:cubicBezTo>
                    <a:cubicBezTo>
                      <a:pt x="65" y="139"/>
                      <a:pt x="63" y="137"/>
                      <a:pt x="62" y="137"/>
                    </a:cubicBezTo>
                    <a:cubicBezTo>
                      <a:pt x="62" y="137"/>
                      <a:pt x="62" y="137"/>
                      <a:pt x="63" y="136"/>
                    </a:cubicBezTo>
                    <a:cubicBezTo>
                      <a:pt x="63" y="136"/>
                      <a:pt x="63" y="136"/>
                      <a:pt x="63" y="136"/>
                    </a:cubicBezTo>
                    <a:cubicBezTo>
                      <a:pt x="62" y="135"/>
                      <a:pt x="62" y="134"/>
                      <a:pt x="62" y="134"/>
                    </a:cubicBezTo>
                    <a:cubicBezTo>
                      <a:pt x="61" y="133"/>
                      <a:pt x="61" y="133"/>
                      <a:pt x="61" y="132"/>
                    </a:cubicBezTo>
                    <a:cubicBezTo>
                      <a:pt x="61" y="131"/>
                      <a:pt x="61" y="129"/>
                      <a:pt x="61" y="128"/>
                    </a:cubicBezTo>
                    <a:cubicBezTo>
                      <a:pt x="63" y="129"/>
                      <a:pt x="61" y="127"/>
                      <a:pt x="61" y="127"/>
                    </a:cubicBezTo>
                    <a:cubicBezTo>
                      <a:pt x="61" y="126"/>
                      <a:pt x="61" y="126"/>
                      <a:pt x="61" y="125"/>
                    </a:cubicBezTo>
                    <a:cubicBezTo>
                      <a:pt x="61" y="125"/>
                      <a:pt x="61" y="124"/>
                      <a:pt x="61" y="124"/>
                    </a:cubicBezTo>
                    <a:cubicBezTo>
                      <a:pt x="61" y="124"/>
                      <a:pt x="61" y="124"/>
                      <a:pt x="62" y="124"/>
                    </a:cubicBezTo>
                    <a:cubicBezTo>
                      <a:pt x="61" y="124"/>
                      <a:pt x="61" y="124"/>
                      <a:pt x="61" y="124"/>
                    </a:cubicBezTo>
                    <a:cubicBezTo>
                      <a:pt x="61" y="123"/>
                      <a:pt x="62" y="123"/>
                      <a:pt x="62" y="123"/>
                    </a:cubicBezTo>
                    <a:cubicBezTo>
                      <a:pt x="62" y="123"/>
                      <a:pt x="61" y="123"/>
                      <a:pt x="61" y="123"/>
                    </a:cubicBezTo>
                    <a:cubicBezTo>
                      <a:pt x="62" y="122"/>
                      <a:pt x="62" y="122"/>
                      <a:pt x="61" y="121"/>
                    </a:cubicBezTo>
                    <a:cubicBezTo>
                      <a:pt x="62" y="121"/>
                      <a:pt x="63" y="121"/>
                      <a:pt x="63" y="122"/>
                    </a:cubicBezTo>
                    <a:cubicBezTo>
                      <a:pt x="64" y="122"/>
                      <a:pt x="64" y="123"/>
                      <a:pt x="65" y="123"/>
                    </a:cubicBezTo>
                    <a:cubicBezTo>
                      <a:pt x="64" y="122"/>
                      <a:pt x="63" y="121"/>
                      <a:pt x="63" y="119"/>
                    </a:cubicBezTo>
                    <a:cubicBezTo>
                      <a:pt x="63" y="117"/>
                      <a:pt x="65" y="116"/>
                      <a:pt x="65" y="114"/>
                    </a:cubicBezTo>
                    <a:cubicBezTo>
                      <a:pt x="65" y="113"/>
                      <a:pt x="65" y="112"/>
                      <a:pt x="64" y="112"/>
                    </a:cubicBezTo>
                    <a:cubicBezTo>
                      <a:pt x="64" y="112"/>
                      <a:pt x="64" y="112"/>
                      <a:pt x="64" y="112"/>
                    </a:cubicBezTo>
                    <a:cubicBezTo>
                      <a:pt x="63" y="111"/>
                      <a:pt x="64" y="110"/>
                      <a:pt x="63" y="109"/>
                    </a:cubicBezTo>
                    <a:cubicBezTo>
                      <a:pt x="64" y="109"/>
                      <a:pt x="65" y="110"/>
                      <a:pt x="66" y="110"/>
                    </a:cubicBezTo>
                    <a:cubicBezTo>
                      <a:pt x="68" y="110"/>
                      <a:pt x="68" y="109"/>
                      <a:pt x="69" y="107"/>
                    </a:cubicBezTo>
                    <a:cubicBezTo>
                      <a:pt x="69" y="106"/>
                      <a:pt x="69" y="106"/>
                      <a:pt x="70" y="105"/>
                    </a:cubicBezTo>
                    <a:cubicBezTo>
                      <a:pt x="70" y="105"/>
                      <a:pt x="69" y="104"/>
                      <a:pt x="69" y="104"/>
                    </a:cubicBezTo>
                    <a:cubicBezTo>
                      <a:pt x="69" y="103"/>
                      <a:pt x="69" y="103"/>
                      <a:pt x="68" y="102"/>
                    </a:cubicBezTo>
                    <a:cubicBezTo>
                      <a:pt x="68" y="102"/>
                      <a:pt x="66" y="101"/>
                      <a:pt x="67" y="101"/>
                    </a:cubicBezTo>
                    <a:cubicBezTo>
                      <a:pt x="68" y="99"/>
                      <a:pt x="68" y="102"/>
                      <a:pt x="69" y="102"/>
                    </a:cubicBezTo>
                    <a:cubicBezTo>
                      <a:pt x="69" y="102"/>
                      <a:pt x="69" y="102"/>
                      <a:pt x="69" y="103"/>
                    </a:cubicBezTo>
                    <a:cubicBezTo>
                      <a:pt x="69" y="103"/>
                      <a:pt x="69" y="103"/>
                      <a:pt x="69" y="104"/>
                    </a:cubicBezTo>
                    <a:cubicBezTo>
                      <a:pt x="70" y="104"/>
                      <a:pt x="71" y="104"/>
                      <a:pt x="71" y="104"/>
                    </a:cubicBezTo>
                    <a:cubicBezTo>
                      <a:pt x="71" y="105"/>
                      <a:pt x="71" y="105"/>
                      <a:pt x="72" y="104"/>
                    </a:cubicBezTo>
                    <a:cubicBezTo>
                      <a:pt x="72" y="103"/>
                      <a:pt x="73" y="102"/>
                      <a:pt x="73" y="101"/>
                    </a:cubicBezTo>
                    <a:cubicBezTo>
                      <a:pt x="73" y="101"/>
                      <a:pt x="73" y="101"/>
                      <a:pt x="72" y="101"/>
                    </a:cubicBezTo>
                    <a:cubicBezTo>
                      <a:pt x="74" y="100"/>
                      <a:pt x="80" y="97"/>
                      <a:pt x="80" y="98"/>
                    </a:cubicBezTo>
                    <a:cubicBezTo>
                      <a:pt x="81" y="97"/>
                      <a:pt x="82" y="95"/>
                      <a:pt x="83" y="94"/>
                    </a:cubicBezTo>
                    <a:cubicBezTo>
                      <a:pt x="83" y="93"/>
                      <a:pt x="84" y="94"/>
                      <a:pt x="85" y="94"/>
                    </a:cubicBezTo>
                    <a:cubicBezTo>
                      <a:pt x="85" y="93"/>
                      <a:pt x="85" y="93"/>
                      <a:pt x="85" y="92"/>
                    </a:cubicBezTo>
                    <a:cubicBezTo>
                      <a:pt x="87" y="92"/>
                      <a:pt x="86" y="95"/>
                      <a:pt x="89" y="93"/>
                    </a:cubicBezTo>
                    <a:cubicBezTo>
                      <a:pt x="90" y="91"/>
                      <a:pt x="92" y="90"/>
                      <a:pt x="94" y="89"/>
                    </a:cubicBezTo>
                    <a:cubicBezTo>
                      <a:pt x="94" y="91"/>
                      <a:pt x="95" y="89"/>
                      <a:pt x="96" y="89"/>
                    </a:cubicBezTo>
                    <a:cubicBezTo>
                      <a:pt x="97" y="88"/>
                      <a:pt x="97" y="88"/>
                      <a:pt x="98" y="87"/>
                    </a:cubicBezTo>
                    <a:cubicBezTo>
                      <a:pt x="99" y="85"/>
                      <a:pt x="101" y="83"/>
                      <a:pt x="102" y="81"/>
                    </a:cubicBezTo>
                    <a:cubicBezTo>
                      <a:pt x="103" y="80"/>
                      <a:pt x="104" y="80"/>
                      <a:pt x="104" y="80"/>
                    </a:cubicBezTo>
                    <a:cubicBezTo>
                      <a:pt x="105" y="79"/>
                      <a:pt x="106" y="78"/>
                      <a:pt x="107" y="78"/>
                    </a:cubicBezTo>
                    <a:cubicBezTo>
                      <a:pt x="106" y="78"/>
                      <a:pt x="106" y="77"/>
                      <a:pt x="105" y="77"/>
                    </a:cubicBezTo>
                    <a:cubicBezTo>
                      <a:pt x="105" y="76"/>
                      <a:pt x="106" y="76"/>
                      <a:pt x="106" y="76"/>
                    </a:cubicBezTo>
                    <a:cubicBezTo>
                      <a:pt x="106" y="76"/>
                      <a:pt x="105" y="75"/>
                      <a:pt x="104" y="75"/>
                    </a:cubicBezTo>
                    <a:cubicBezTo>
                      <a:pt x="104" y="75"/>
                      <a:pt x="103" y="74"/>
                      <a:pt x="102" y="74"/>
                    </a:cubicBezTo>
                    <a:cubicBezTo>
                      <a:pt x="102" y="74"/>
                      <a:pt x="103" y="74"/>
                      <a:pt x="104" y="74"/>
                    </a:cubicBezTo>
                    <a:cubicBezTo>
                      <a:pt x="103" y="74"/>
                      <a:pt x="103" y="72"/>
                      <a:pt x="103" y="72"/>
                    </a:cubicBezTo>
                    <a:cubicBezTo>
                      <a:pt x="102" y="72"/>
                      <a:pt x="102" y="72"/>
                      <a:pt x="101" y="72"/>
                    </a:cubicBezTo>
                    <a:cubicBezTo>
                      <a:pt x="100" y="71"/>
                      <a:pt x="105" y="68"/>
                      <a:pt x="106" y="68"/>
                    </a:cubicBezTo>
                    <a:cubicBezTo>
                      <a:pt x="107" y="67"/>
                      <a:pt x="106" y="65"/>
                      <a:pt x="107" y="64"/>
                    </a:cubicBezTo>
                    <a:cubicBezTo>
                      <a:pt x="107" y="64"/>
                      <a:pt x="108" y="64"/>
                      <a:pt x="108" y="63"/>
                    </a:cubicBezTo>
                    <a:cubicBezTo>
                      <a:pt x="108" y="63"/>
                      <a:pt x="107" y="63"/>
                      <a:pt x="106" y="63"/>
                    </a:cubicBezTo>
                    <a:cubicBezTo>
                      <a:pt x="104" y="63"/>
                      <a:pt x="108" y="60"/>
                      <a:pt x="109" y="60"/>
                    </a:cubicBezTo>
                    <a:cubicBezTo>
                      <a:pt x="110" y="59"/>
                      <a:pt x="111" y="58"/>
                      <a:pt x="112" y="59"/>
                    </a:cubicBezTo>
                    <a:cubicBezTo>
                      <a:pt x="113" y="59"/>
                      <a:pt x="115" y="60"/>
                      <a:pt x="115" y="58"/>
                    </a:cubicBezTo>
                    <a:cubicBezTo>
                      <a:pt x="115" y="57"/>
                      <a:pt x="113" y="58"/>
                      <a:pt x="114" y="57"/>
                    </a:cubicBezTo>
                    <a:cubicBezTo>
                      <a:pt x="114" y="56"/>
                      <a:pt x="114" y="56"/>
                      <a:pt x="114" y="56"/>
                    </a:cubicBezTo>
                    <a:cubicBezTo>
                      <a:pt x="115" y="56"/>
                      <a:pt x="114" y="56"/>
                      <a:pt x="114" y="55"/>
                    </a:cubicBezTo>
                    <a:cubicBezTo>
                      <a:pt x="114" y="55"/>
                      <a:pt x="115" y="55"/>
                      <a:pt x="115" y="54"/>
                    </a:cubicBezTo>
                    <a:cubicBezTo>
                      <a:pt x="116" y="54"/>
                      <a:pt x="116" y="55"/>
                      <a:pt x="117" y="55"/>
                    </a:cubicBezTo>
                    <a:cubicBezTo>
                      <a:pt x="118" y="56"/>
                      <a:pt x="118" y="55"/>
                      <a:pt x="118" y="54"/>
                    </a:cubicBezTo>
                    <a:cubicBezTo>
                      <a:pt x="119" y="54"/>
                      <a:pt x="122" y="56"/>
                      <a:pt x="122" y="57"/>
                    </a:cubicBezTo>
                    <a:cubicBezTo>
                      <a:pt x="122" y="56"/>
                      <a:pt x="123" y="55"/>
                      <a:pt x="123" y="55"/>
                    </a:cubicBezTo>
                    <a:cubicBezTo>
                      <a:pt x="125" y="54"/>
                      <a:pt x="128" y="55"/>
                      <a:pt x="131" y="55"/>
                    </a:cubicBezTo>
                    <a:close/>
                    <a:moveTo>
                      <a:pt x="73" y="159"/>
                    </a:moveTo>
                    <a:cubicBezTo>
                      <a:pt x="73" y="159"/>
                      <a:pt x="73" y="158"/>
                      <a:pt x="73" y="158"/>
                    </a:cubicBezTo>
                    <a:cubicBezTo>
                      <a:pt x="74" y="158"/>
                      <a:pt x="73" y="159"/>
                      <a:pt x="7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8" name="Freeform 2979">
                <a:extLst>
                  <a:ext uri="{FF2B5EF4-FFF2-40B4-BE49-F238E27FC236}">
                    <a16:creationId xmlns:a16="http://schemas.microsoft.com/office/drawing/2014/main" id="{A2B2328F-32B7-44AB-92F0-A4E2E19DEF4C}"/>
                  </a:ext>
                </a:extLst>
              </p:cNvPr>
              <p:cNvSpPr>
                <a:spLocks/>
              </p:cNvSpPr>
              <p:nvPr/>
            </p:nvSpPr>
            <p:spPr bwMode="auto">
              <a:xfrm>
                <a:off x="4393" y="1943"/>
                <a:ext cx="99" cy="105"/>
              </a:xfrm>
              <a:custGeom>
                <a:avLst/>
                <a:gdLst>
                  <a:gd name="T0" fmla="*/ 41 w 42"/>
                  <a:gd name="T1" fmla="*/ 11 h 44"/>
                  <a:gd name="T2" fmla="*/ 38 w 42"/>
                  <a:gd name="T3" fmla="*/ 0 h 44"/>
                  <a:gd name="T4" fmla="*/ 33 w 42"/>
                  <a:gd name="T5" fmla="*/ 3 h 44"/>
                  <a:gd name="T6" fmla="*/ 31 w 42"/>
                  <a:gd name="T7" fmla="*/ 5 h 44"/>
                  <a:gd name="T8" fmla="*/ 28 w 42"/>
                  <a:gd name="T9" fmla="*/ 6 h 44"/>
                  <a:gd name="T10" fmla="*/ 24 w 42"/>
                  <a:gd name="T11" fmla="*/ 9 h 44"/>
                  <a:gd name="T12" fmla="*/ 24 w 42"/>
                  <a:gd name="T13" fmla="*/ 9 h 44"/>
                  <a:gd name="T14" fmla="*/ 22 w 42"/>
                  <a:gd name="T15" fmla="*/ 10 h 44"/>
                  <a:gd name="T16" fmla="*/ 21 w 42"/>
                  <a:gd name="T17" fmla="*/ 11 h 44"/>
                  <a:gd name="T18" fmla="*/ 20 w 42"/>
                  <a:gd name="T19" fmla="*/ 11 h 44"/>
                  <a:gd name="T20" fmla="*/ 19 w 42"/>
                  <a:gd name="T21" fmla="*/ 12 h 44"/>
                  <a:gd name="T22" fmla="*/ 19 w 42"/>
                  <a:gd name="T23" fmla="*/ 12 h 44"/>
                  <a:gd name="T24" fmla="*/ 18 w 42"/>
                  <a:gd name="T25" fmla="*/ 12 h 44"/>
                  <a:gd name="T26" fmla="*/ 17 w 42"/>
                  <a:gd name="T27" fmla="*/ 11 h 44"/>
                  <a:gd name="T28" fmla="*/ 15 w 42"/>
                  <a:gd name="T29" fmla="*/ 11 h 44"/>
                  <a:gd name="T30" fmla="*/ 13 w 42"/>
                  <a:gd name="T31" fmla="*/ 10 h 44"/>
                  <a:gd name="T32" fmla="*/ 11 w 42"/>
                  <a:gd name="T33" fmla="*/ 9 h 44"/>
                  <a:gd name="T34" fmla="*/ 9 w 42"/>
                  <a:gd name="T35" fmla="*/ 8 h 44"/>
                  <a:gd name="T36" fmla="*/ 9 w 42"/>
                  <a:gd name="T37" fmla="*/ 8 h 44"/>
                  <a:gd name="T38" fmla="*/ 8 w 42"/>
                  <a:gd name="T39" fmla="*/ 7 h 44"/>
                  <a:gd name="T40" fmla="*/ 8 w 42"/>
                  <a:gd name="T41" fmla="*/ 7 h 44"/>
                  <a:gd name="T42" fmla="*/ 8 w 42"/>
                  <a:gd name="T43" fmla="*/ 8 h 44"/>
                  <a:gd name="T44" fmla="*/ 7 w 42"/>
                  <a:gd name="T45" fmla="*/ 11 h 44"/>
                  <a:gd name="T46" fmla="*/ 6 w 42"/>
                  <a:gd name="T47" fmla="*/ 16 h 44"/>
                  <a:gd name="T48" fmla="*/ 5 w 42"/>
                  <a:gd name="T49" fmla="*/ 19 h 44"/>
                  <a:gd name="T50" fmla="*/ 6 w 42"/>
                  <a:gd name="T51" fmla="*/ 21 h 44"/>
                  <a:gd name="T52" fmla="*/ 5 w 42"/>
                  <a:gd name="T53" fmla="*/ 27 h 44"/>
                  <a:gd name="T54" fmla="*/ 4 w 42"/>
                  <a:gd name="T55" fmla="*/ 30 h 44"/>
                  <a:gd name="T56" fmla="*/ 1 w 42"/>
                  <a:gd name="T57" fmla="*/ 42 h 44"/>
                  <a:gd name="T58" fmla="*/ 0 w 42"/>
                  <a:gd name="T59" fmla="*/ 42 h 44"/>
                  <a:gd name="T60" fmla="*/ 1 w 42"/>
                  <a:gd name="T61" fmla="*/ 43 h 44"/>
                  <a:gd name="T62" fmla="*/ 1 w 42"/>
                  <a:gd name="T63" fmla="*/ 43 h 44"/>
                  <a:gd name="T64" fmla="*/ 8 w 42"/>
                  <a:gd name="T65" fmla="*/ 44 h 44"/>
                  <a:gd name="T66" fmla="*/ 9 w 42"/>
                  <a:gd name="T67" fmla="*/ 44 h 44"/>
                  <a:gd name="T68" fmla="*/ 12 w 42"/>
                  <a:gd name="T69" fmla="*/ 43 h 44"/>
                  <a:gd name="T70" fmla="*/ 13 w 42"/>
                  <a:gd name="T71" fmla="*/ 42 h 44"/>
                  <a:gd name="T72" fmla="*/ 15 w 42"/>
                  <a:gd name="T73" fmla="*/ 40 h 44"/>
                  <a:gd name="T74" fmla="*/ 20 w 42"/>
                  <a:gd name="T75" fmla="*/ 36 h 44"/>
                  <a:gd name="T76" fmla="*/ 22 w 42"/>
                  <a:gd name="T77" fmla="*/ 36 h 44"/>
                  <a:gd name="T78" fmla="*/ 23 w 42"/>
                  <a:gd name="T79" fmla="*/ 36 h 44"/>
                  <a:gd name="T80" fmla="*/ 25 w 42"/>
                  <a:gd name="T81" fmla="*/ 35 h 44"/>
                  <a:gd name="T82" fmla="*/ 30 w 42"/>
                  <a:gd name="T83" fmla="*/ 31 h 44"/>
                  <a:gd name="T84" fmla="*/ 29 w 42"/>
                  <a:gd name="T85" fmla="*/ 30 h 44"/>
                  <a:gd name="T86" fmla="*/ 28 w 42"/>
                  <a:gd name="T87" fmla="*/ 29 h 44"/>
                  <a:gd name="T88" fmla="*/ 18 w 42"/>
                  <a:gd name="T89" fmla="*/ 19 h 44"/>
                  <a:gd name="T90" fmla="*/ 24 w 42"/>
                  <a:gd name="T91" fmla="*/ 18 h 44"/>
                  <a:gd name="T92" fmla="*/ 34 w 42"/>
                  <a:gd name="T93" fmla="*/ 14 h 44"/>
                  <a:gd name="T94" fmla="*/ 36 w 42"/>
                  <a:gd name="T95" fmla="*/ 14 h 44"/>
                  <a:gd name="T96" fmla="*/ 37 w 42"/>
                  <a:gd name="T97" fmla="*/ 13 h 44"/>
                  <a:gd name="T98" fmla="*/ 41 w 42"/>
                  <a:gd name="T99"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44">
                    <a:moveTo>
                      <a:pt x="41" y="11"/>
                    </a:moveTo>
                    <a:cubicBezTo>
                      <a:pt x="41" y="11"/>
                      <a:pt x="41" y="11"/>
                      <a:pt x="41" y="11"/>
                    </a:cubicBezTo>
                    <a:cubicBezTo>
                      <a:pt x="41" y="11"/>
                      <a:pt x="41" y="11"/>
                      <a:pt x="41" y="11"/>
                    </a:cubicBezTo>
                    <a:cubicBezTo>
                      <a:pt x="38" y="0"/>
                      <a:pt x="38" y="0"/>
                      <a:pt x="38" y="0"/>
                    </a:cubicBezTo>
                    <a:cubicBezTo>
                      <a:pt x="37" y="1"/>
                      <a:pt x="35" y="2"/>
                      <a:pt x="33" y="3"/>
                    </a:cubicBezTo>
                    <a:cubicBezTo>
                      <a:pt x="33" y="3"/>
                      <a:pt x="33" y="3"/>
                      <a:pt x="33" y="3"/>
                    </a:cubicBezTo>
                    <a:cubicBezTo>
                      <a:pt x="33" y="4"/>
                      <a:pt x="32" y="4"/>
                      <a:pt x="32" y="4"/>
                    </a:cubicBezTo>
                    <a:cubicBezTo>
                      <a:pt x="32" y="4"/>
                      <a:pt x="31" y="4"/>
                      <a:pt x="31" y="5"/>
                    </a:cubicBezTo>
                    <a:cubicBezTo>
                      <a:pt x="31" y="5"/>
                      <a:pt x="31" y="5"/>
                      <a:pt x="31" y="5"/>
                    </a:cubicBezTo>
                    <a:cubicBezTo>
                      <a:pt x="30" y="5"/>
                      <a:pt x="29" y="6"/>
                      <a:pt x="28" y="6"/>
                    </a:cubicBezTo>
                    <a:cubicBezTo>
                      <a:pt x="26" y="8"/>
                      <a:pt x="26" y="8"/>
                      <a:pt x="26" y="8"/>
                    </a:cubicBezTo>
                    <a:cubicBezTo>
                      <a:pt x="25" y="8"/>
                      <a:pt x="25" y="8"/>
                      <a:pt x="24" y="9"/>
                    </a:cubicBezTo>
                    <a:cubicBezTo>
                      <a:pt x="24" y="9"/>
                      <a:pt x="24" y="9"/>
                      <a:pt x="24" y="9"/>
                    </a:cubicBezTo>
                    <a:cubicBezTo>
                      <a:pt x="24" y="9"/>
                      <a:pt x="24" y="9"/>
                      <a:pt x="24" y="9"/>
                    </a:cubicBezTo>
                    <a:cubicBezTo>
                      <a:pt x="23" y="9"/>
                      <a:pt x="23" y="9"/>
                      <a:pt x="23" y="10"/>
                    </a:cubicBezTo>
                    <a:cubicBezTo>
                      <a:pt x="22" y="10"/>
                      <a:pt x="22" y="10"/>
                      <a:pt x="22" y="10"/>
                    </a:cubicBezTo>
                    <a:cubicBezTo>
                      <a:pt x="21" y="11"/>
                      <a:pt x="21" y="11"/>
                      <a:pt x="21" y="11"/>
                    </a:cubicBezTo>
                    <a:cubicBezTo>
                      <a:pt x="21" y="11"/>
                      <a:pt x="21" y="11"/>
                      <a:pt x="21" y="11"/>
                    </a:cubicBezTo>
                    <a:cubicBezTo>
                      <a:pt x="21" y="11"/>
                      <a:pt x="21" y="11"/>
                      <a:pt x="21" y="11"/>
                    </a:cubicBezTo>
                    <a:cubicBezTo>
                      <a:pt x="20" y="11"/>
                      <a:pt x="20" y="11"/>
                      <a:pt x="20" y="11"/>
                    </a:cubicBezTo>
                    <a:cubicBezTo>
                      <a:pt x="20" y="11"/>
                      <a:pt x="20" y="11"/>
                      <a:pt x="20" y="11"/>
                    </a:cubicBezTo>
                    <a:cubicBezTo>
                      <a:pt x="20" y="12"/>
                      <a:pt x="19" y="12"/>
                      <a:pt x="19" y="12"/>
                    </a:cubicBezTo>
                    <a:cubicBezTo>
                      <a:pt x="19" y="12"/>
                      <a:pt x="19" y="12"/>
                      <a:pt x="19" y="12"/>
                    </a:cubicBezTo>
                    <a:cubicBezTo>
                      <a:pt x="19" y="12"/>
                      <a:pt x="19" y="12"/>
                      <a:pt x="19" y="12"/>
                    </a:cubicBezTo>
                    <a:cubicBezTo>
                      <a:pt x="19" y="12"/>
                      <a:pt x="18" y="12"/>
                      <a:pt x="18" y="12"/>
                    </a:cubicBezTo>
                    <a:cubicBezTo>
                      <a:pt x="18" y="12"/>
                      <a:pt x="18" y="12"/>
                      <a:pt x="18" y="12"/>
                    </a:cubicBezTo>
                    <a:cubicBezTo>
                      <a:pt x="18" y="12"/>
                      <a:pt x="17" y="12"/>
                      <a:pt x="17" y="12"/>
                    </a:cubicBezTo>
                    <a:cubicBezTo>
                      <a:pt x="17" y="11"/>
                      <a:pt x="17" y="11"/>
                      <a:pt x="17" y="11"/>
                    </a:cubicBezTo>
                    <a:cubicBezTo>
                      <a:pt x="16" y="11"/>
                      <a:pt x="16" y="11"/>
                      <a:pt x="15" y="11"/>
                    </a:cubicBezTo>
                    <a:cubicBezTo>
                      <a:pt x="15" y="11"/>
                      <a:pt x="15" y="11"/>
                      <a:pt x="15" y="11"/>
                    </a:cubicBezTo>
                    <a:cubicBezTo>
                      <a:pt x="15" y="11"/>
                      <a:pt x="14" y="11"/>
                      <a:pt x="14" y="10"/>
                    </a:cubicBezTo>
                    <a:cubicBezTo>
                      <a:pt x="13" y="10"/>
                      <a:pt x="13" y="10"/>
                      <a:pt x="13" y="10"/>
                    </a:cubicBezTo>
                    <a:cubicBezTo>
                      <a:pt x="13" y="10"/>
                      <a:pt x="12" y="10"/>
                      <a:pt x="11" y="9"/>
                    </a:cubicBezTo>
                    <a:cubicBezTo>
                      <a:pt x="11" y="9"/>
                      <a:pt x="11" y="9"/>
                      <a:pt x="11" y="9"/>
                    </a:cubicBezTo>
                    <a:cubicBezTo>
                      <a:pt x="10" y="9"/>
                      <a:pt x="10" y="9"/>
                      <a:pt x="10" y="8"/>
                    </a:cubicBezTo>
                    <a:cubicBezTo>
                      <a:pt x="10" y="8"/>
                      <a:pt x="9" y="8"/>
                      <a:pt x="9" y="8"/>
                    </a:cubicBezTo>
                    <a:cubicBezTo>
                      <a:pt x="9" y="8"/>
                      <a:pt x="9" y="8"/>
                      <a:pt x="9" y="8"/>
                    </a:cubicBezTo>
                    <a:cubicBezTo>
                      <a:pt x="9" y="8"/>
                      <a:pt x="9" y="8"/>
                      <a:pt x="9" y="8"/>
                    </a:cubicBezTo>
                    <a:cubicBezTo>
                      <a:pt x="9" y="8"/>
                      <a:pt x="9" y="8"/>
                      <a:pt x="8" y="8"/>
                    </a:cubicBezTo>
                    <a:cubicBezTo>
                      <a:pt x="8" y="7"/>
                      <a:pt x="8" y="7"/>
                      <a:pt x="8" y="7"/>
                    </a:cubicBezTo>
                    <a:cubicBezTo>
                      <a:pt x="8" y="7"/>
                      <a:pt x="8" y="7"/>
                      <a:pt x="8" y="7"/>
                    </a:cubicBezTo>
                    <a:cubicBezTo>
                      <a:pt x="8" y="7"/>
                      <a:pt x="8" y="7"/>
                      <a:pt x="8" y="7"/>
                    </a:cubicBezTo>
                    <a:cubicBezTo>
                      <a:pt x="8" y="7"/>
                      <a:pt x="8" y="8"/>
                      <a:pt x="8" y="8"/>
                    </a:cubicBezTo>
                    <a:cubicBezTo>
                      <a:pt x="8" y="8"/>
                      <a:pt x="8" y="8"/>
                      <a:pt x="8" y="8"/>
                    </a:cubicBezTo>
                    <a:cubicBezTo>
                      <a:pt x="8" y="9"/>
                      <a:pt x="8" y="9"/>
                      <a:pt x="8" y="10"/>
                    </a:cubicBezTo>
                    <a:cubicBezTo>
                      <a:pt x="7" y="11"/>
                      <a:pt x="7" y="11"/>
                      <a:pt x="7" y="11"/>
                    </a:cubicBezTo>
                    <a:cubicBezTo>
                      <a:pt x="6" y="10"/>
                      <a:pt x="6" y="10"/>
                      <a:pt x="6" y="10"/>
                    </a:cubicBezTo>
                    <a:cubicBezTo>
                      <a:pt x="6" y="12"/>
                      <a:pt x="6" y="14"/>
                      <a:pt x="6" y="16"/>
                    </a:cubicBezTo>
                    <a:cubicBezTo>
                      <a:pt x="6" y="16"/>
                      <a:pt x="6" y="16"/>
                      <a:pt x="6" y="16"/>
                    </a:cubicBezTo>
                    <a:cubicBezTo>
                      <a:pt x="6" y="17"/>
                      <a:pt x="6" y="18"/>
                      <a:pt x="5" y="19"/>
                    </a:cubicBezTo>
                    <a:cubicBezTo>
                      <a:pt x="7" y="19"/>
                      <a:pt x="7" y="19"/>
                      <a:pt x="7" y="19"/>
                    </a:cubicBezTo>
                    <a:cubicBezTo>
                      <a:pt x="6" y="21"/>
                      <a:pt x="6" y="21"/>
                      <a:pt x="6" y="21"/>
                    </a:cubicBezTo>
                    <a:cubicBezTo>
                      <a:pt x="6" y="22"/>
                      <a:pt x="6" y="24"/>
                      <a:pt x="6" y="25"/>
                    </a:cubicBezTo>
                    <a:cubicBezTo>
                      <a:pt x="5" y="25"/>
                      <a:pt x="5" y="26"/>
                      <a:pt x="5" y="27"/>
                    </a:cubicBezTo>
                    <a:cubicBezTo>
                      <a:pt x="5" y="27"/>
                      <a:pt x="5" y="27"/>
                      <a:pt x="5" y="27"/>
                    </a:cubicBezTo>
                    <a:cubicBezTo>
                      <a:pt x="5" y="28"/>
                      <a:pt x="4" y="29"/>
                      <a:pt x="4" y="30"/>
                    </a:cubicBezTo>
                    <a:cubicBezTo>
                      <a:pt x="4" y="33"/>
                      <a:pt x="4" y="33"/>
                      <a:pt x="4" y="33"/>
                    </a:cubicBezTo>
                    <a:cubicBezTo>
                      <a:pt x="3" y="36"/>
                      <a:pt x="2" y="39"/>
                      <a:pt x="1" y="42"/>
                    </a:cubicBezTo>
                    <a:cubicBezTo>
                      <a:pt x="1" y="42"/>
                      <a:pt x="1" y="42"/>
                      <a:pt x="1" y="42"/>
                    </a:cubicBezTo>
                    <a:cubicBezTo>
                      <a:pt x="0" y="42"/>
                      <a:pt x="0" y="42"/>
                      <a:pt x="0" y="42"/>
                    </a:cubicBezTo>
                    <a:cubicBezTo>
                      <a:pt x="0" y="43"/>
                      <a:pt x="0" y="43"/>
                      <a:pt x="0" y="43"/>
                    </a:cubicBezTo>
                    <a:cubicBezTo>
                      <a:pt x="1" y="43"/>
                      <a:pt x="1" y="43"/>
                      <a:pt x="1" y="43"/>
                    </a:cubicBezTo>
                    <a:cubicBezTo>
                      <a:pt x="1" y="43"/>
                      <a:pt x="1" y="43"/>
                      <a:pt x="1" y="43"/>
                    </a:cubicBezTo>
                    <a:cubicBezTo>
                      <a:pt x="1" y="43"/>
                      <a:pt x="1" y="43"/>
                      <a:pt x="1" y="43"/>
                    </a:cubicBezTo>
                    <a:cubicBezTo>
                      <a:pt x="1" y="43"/>
                      <a:pt x="1" y="43"/>
                      <a:pt x="1" y="43"/>
                    </a:cubicBezTo>
                    <a:cubicBezTo>
                      <a:pt x="8" y="44"/>
                      <a:pt x="8" y="44"/>
                      <a:pt x="8" y="44"/>
                    </a:cubicBezTo>
                    <a:cubicBezTo>
                      <a:pt x="8" y="44"/>
                      <a:pt x="8" y="44"/>
                      <a:pt x="9" y="44"/>
                    </a:cubicBezTo>
                    <a:cubicBezTo>
                      <a:pt x="9" y="44"/>
                      <a:pt x="9" y="44"/>
                      <a:pt x="9" y="44"/>
                    </a:cubicBezTo>
                    <a:cubicBezTo>
                      <a:pt x="10" y="44"/>
                      <a:pt x="11" y="44"/>
                      <a:pt x="11" y="44"/>
                    </a:cubicBezTo>
                    <a:cubicBezTo>
                      <a:pt x="11" y="44"/>
                      <a:pt x="11" y="44"/>
                      <a:pt x="12" y="43"/>
                    </a:cubicBezTo>
                    <a:cubicBezTo>
                      <a:pt x="13" y="42"/>
                      <a:pt x="13" y="42"/>
                      <a:pt x="13" y="42"/>
                    </a:cubicBezTo>
                    <a:cubicBezTo>
                      <a:pt x="13" y="42"/>
                      <a:pt x="13" y="42"/>
                      <a:pt x="13" y="42"/>
                    </a:cubicBezTo>
                    <a:cubicBezTo>
                      <a:pt x="14" y="41"/>
                      <a:pt x="14" y="41"/>
                      <a:pt x="14" y="41"/>
                    </a:cubicBezTo>
                    <a:cubicBezTo>
                      <a:pt x="14" y="41"/>
                      <a:pt x="15" y="40"/>
                      <a:pt x="15" y="40"/>
                    </a:cubicBezTo>
                    <a:cubicBezTo>
                      <a:pt x="16" y="39"/>
                      <a:pt x="17" y="37"/>
                      <a:pt x="19" y="37"/>
                    </a:cubicBezTo>
                    <a:cubicBezTo>
                      <a:pt x="19" y="37"/>
                      <a:pt x="20" y="36"/>
                      <a:pt x="20" y="36"/>
                    </a:cubicBezTo>
                    <a:cubicBezTo>
                      <a:pt x="21" y="36"/>
                      <a:pt x="21" y="36"/>
                      <a:pt x="21" y="36"/>
                    </a:cubicBezTo>
                    <a:cubicBezTo>
                      <a:pt x="21" y="36"/>
                      <a:pt x="21" y="36"/>
                      <a:pt x="22" y="36"/>
                    </a:cubicBezTo>
                    <a:cubicBezTo>
                      <a:pt x="22" y="36"/>
                      <a:pt x="22" y="36"/>
                      <a:pt x="23" y="36"/>
                    </a:cubicBezTo>
                    <a:cubicBezTo>
                      <a:pt x="23" y="36"/>
                      <a:pt x="23" y="36"/>
                      <a:pt x="23" y="36"/>
                    </a:cubicBezTo>
                    <a:cubicBezTo>
                      <a:pt x="24" y="36"/>
                      <a:pt x="25" y="36"/>
                      <a:pt x="25" y="36"/>
                    </a:cubicBezTo>
                    <a:cubicBezTo>
                      <a:pt x="25" y="35"/>
                      <a:pt x="25" y="35"/>
                      <a:pt x="25" y="35"/>
                    </a:cubicBezTo>
                    <a:cubicBezTo>
                      <a:pt x="26" y="35"/>
                      <a:pt x="26" y="35"/>
                      <a:pt x="26" y="35"/>
                    </a:cubicBezTo>
                    <a:cubicBezTo>
                      <a:pt x="28" y="33"/>
                      <a:pt x="29" y="31"/>
                      <a:pt x="30" y="31"/>
                    </a:cubicBezTo>
                    <a:cubicBezTo>
                      <a:pt x="29" y="31"/>
                      <a:pt x="29" y="31"/>
                      <a:pt x="29" y="31"/>
                    </a:cubicBezTo>
                    <a:cubicBezTo>
                      <a:pt x="29" y="30"/>
                      <a:pt x="29" y="30"/>
                      <a:pt x="29" y="30"/>
                    </a:cubicBezTo>
                    <a:cubicBezTo>
                      <a:pt x="28" y="30"/>
                      <a:pt x="28" y="30"/>
                      <a:pt x="28" y="30"/>
                    </a:cubicBezTo>
                    <a:cubicBezTo>
                      <a:pt x="28" y="29"/>
                      <a:pt x="28" y="29"/>
                      <a:pt x="28" y="29"/>
                    </a:cubicBezTo>
                    <a:cubicBezTo>
                      <a:pt x="25" y="26"/>
                      <a:pt x="22" y="23"/>
                      <a:pt x="20" y="21"/>
                    </a:cubicBezTo>
                    <a:cubicBezTo>
                      <a:pt x="18" y="19"/>
                      <a:pt x="18" y="19"/>
                      <a:pt x="18" y="19"/>
                    </a:cubicBezTo>
                    <a:cubicBezTo>
                      <a:pt x="20" y="18"/>
                      <a:pt x="20" y="18"/>
                      <a:pt x="20" y="18"/>
                    </a:cubicBezTo>
                    <a:cubicBezTo>
                      <a:pt x="21" y="18"/>
                      <a:pt x="22" y="18"/>
                      <a:pt x="24" y="18"/>
                    </a:cubicBezTo>
                    <a:cubicBezTo>
                      <a:pt x="24" y="18"/>
                      <a:pt x="24" y="18"/>
                      <a:pt x="24" y="18"/>
                    </a:cubicBezTo>
                    <a:cubicBezTo>
                      <a:pt x="27" y="17"/>
                      <a:pt x="30" y="16"/>
                      <a:pt x="34" y="14"/>
                    </a:cubicBezTo>
                    <a:cubicBezTo>
                      <a:pt x="34" y="14"/>
                      <a:pt x="35" y="14"/>
                      <a:pt x="36" y="14"/>
                    </a:cubicBezTo>
                    <a:cubicBezTo>
                      <a:pt x="36" y="14"/>
                      <a:pt x="36" y="14"/>
                      <a:pt x="36" y="14"/>
                    </a:cubicBezTo>
                    <a:cubicBezTo>
                      <a:pt x="37" y="13"/>
                      <a:pt x="38" y="13"/>
                      <a:pt x="38" y="13"/>
                    </a:cubicBezTo>
                    <a:cubicBezTo>
                      <a:pt x="37" y="13"/>
                      <a:pt x="37" y="13"/>
                      <a:pt x="37" y="13"/>
                    </a:cubicBezTo>
                    <a:cubicBezTo>
                      <a:pt x="42" y="12"/>
                      <a:pt x="42" y="12"/>
                      <a:pt x="42" y="12"/>
                    </a:cubicBezTo>
                    <a:cubicBezTo>
                      <a:pt x="41" y="12"/>
                      <a:pt x="41" y="12"/>
                      <a:pt x="4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9" name="Freeform 2980">
                <a:extLst>
                  <a:ext uri="{FF2B5EF4-FFF2-40B4-BE49-F238E27FC236}">
                    <a16:creationId xmlns:a16="http://schemas.microsoft.com/office/drawing/2014/main" id="{B247D0C3-E473-4D98-B41A-8A0E0ECA342C}"/>
                  </a:ext>
                </a:extLst>
              </p:cNvPr>
              <p:cNvSpPr>
                <a:spLocks/>
              </p:cNvSpPr>
              <p:nvPr/>
            </p:nvSpPr>
            <p:spPr bwMode="auto">
              <a:xfrm>
                <a:off x="4490" y="1832"/>
                <a:ext cx="232" cy="220"/>
              </a:xfrm>
              <a:custGeom>
                <a:avLst/>
                <a:gdLst>
                  <a:gd name="T0" fmla="*/ 95 w 98"/>
                  <a:gd name="T1" fmla="*/ 82 h 93"/>
                  <a:gd name="T2" fmla="*/ 91 w 98"/>
                  <a:gd name="T3" fmla="*/ 78 h 93"/>
                  <a:gd name="T4" fmla="*/ 91 w 98"/>
                  <a:gd name="T5" fmla="*/ 73 h 93"/>
                  <a:gd name="T6" fmla="*/ 88 w 98"/>
                  <a:gd name="T7" fmla="*/ 74 h 93"/>
                  <a:gd name="T8" fmla="*/ 88 w 98"/>
                  <a:gd name="T9" fmla="*/ 66 h 93"/>
                  <a:gd name="T10" fmla="*/ 89 w 98"/>
                  <a:gd name="T11" fmla="*/ 64 h 93"/>
                  <a:gd name="T12" fmla="*/ 88 w 98"/>
                  <a:gd name="T13" fmla="*/ 62 h 93"/>
                  <a:gd name="T14" fmla="*/ 87 w 98"/>
                  <a:gd name="T15" fmla="*/ 59 h 93"/>
                  <a:gd name="T16" fmla="*/ 83 w 98"/>
                  <a:gd name="T17" fmla="*/ 57 h 93"/>
                  <a:gd name="T18" fmla="*/ 74 w 98"/>
                  <a:gd name="T19" fmla="*/ 51 h 93"/>
                  <a:gd name="T20" fmla="*/ 71 w 98"/>
                  <a:gd name="T21" fmla="*/ 49 h 93"/>
                  <a:gd name="T22" fmla="*/ 70 w 98"/>
                  <a:gd name="T23" fmla="*/ 45 h 93"/>
                  <a:gd name="T24" fmla="*/ 70 w 98"/>
                  <a:gd name="T25" fmla="*/ 44 h 93"/>
                  <a:gd name="T26" fmla="*/ 65 w 98"/>
                  <a:gd name="T27" fmla="*/ 40 h 93"/>
                  <a:gd name="T28" fmla="*/ 66 w 98"/>
                  <a:gd name="T29" fmla="*/ 35 h 93"/>
                  <a:gd name="T30" fmla="*/ 65 w 98"/>
                  <a:gd name="T31" fmla="*/ 33 h 93"/>
                  <a:gd name="T32" fmla="*/ 68 w 98"/>
                  <a:gd name="T33" fmla="*/ 30 h 93"/>
                  <a:gd name="T34" fmla="*/ 72 w 98"/>
                  <a:gd name="T35" fmla="*/ 24 h 93"/>
                  <a:gd name="T36" fmla="*/ 71 w 98"/>
                  <a:gd name="T37" fmla="*/ 22 h 93"/>
                  <a:gd name="T38" fmla="*/ 71 w 98"/>
                  <a:gd name="T39" fmla="*/ 20 h 93"/>
                  <a:gd name="T40" fmla="*/ 68 w 98"/>
                  <a:gd name="T41" fmla="*/ 18 h 93"/>
                  <a:gd name="T42" fmla="*/ 66 w 98"/>
                  <a:gd name="T43" fmla="*/ 16 h 93"/>
                  <a:gd name="T44" fmla="*/ 64 w 98"/>
                  <a:gd name="T45" fmla="*/ 14 h 93"/>
                  <a:gd name="T46" fmla="*/ 63 w 98"/>
                  <a:gd name="T47" fmla="*/ 11 h 93"/>
                  <a:gd name="T48" fmla="*/ 61 w 98"/>
                  <a:gd name="T49" fmla="*/ 8 h 93"/>
                  <a:gd name="T50" fmla="*/ 59 w 98"/>
                  <a:gd name="T51" fmla="*/ 5 h 93"/>
                  <a:gd name="T52" fmla="*/ 59 w 98"/>
                  <a:gd name="T53" fmla="*/ 3 h 93"/>
                  <a:gd name="T54" fmla="*/ 55 w 98"/>
                  <a:gd name="T55" fmla="*/ 5 h 93"/>
                  <a:gd name="T56" fmla="*/ 53 w 98"/>
                  <a:gd name="T57" fmla="*/ 2 h 93"/>
                  <a:gd name="T58" fmla="*/ 45 w 98"/>
                  <a:gd name="T59" fmla="*/ 1 h 93"/>
                  <a:gd name="T60" fmla="*/ 41 w 98"/>
                  <a:gd name="T61" fmla="*/ 0 h 93"/>
                  <a:gd name="T62" fmla="*/ 35 w 98"/>
                  <a:gd name="T63" fmla="*/ 4 h 93"/>
                  <a:gd name="T64" fmla="*/ 29 w 98"/>
                  <a:gd name="T65" fmla="*/ 9 h 93"/>
                  <a:gd name="T66" fmla="*/ 26 w 98"/>
                  <a:gd name="T67" fmla="*/ 10 h 93"/>
                  <a:gd name="T68" fmla="*/ 25 w 98"/>
                  <a:gd name="T69" fmla="*/ 17 h 93"/>
                  <a:gd name="T70" fmla="*/ 24 w 98"/>
                  <a:gd name="T71" fmla="*/ 26 h 93"/>
                  <a:gd name="T72" fmla="*/ 24 w 98"/>
                  <a:gd name="T73" fmla="*/ 30 h 93"/>
                  <a:gd name="T74" fmla="*/ 17 w 98"/>
                  <a:gd name="T75" fmla="*/ 36 h 93"/>
                  <a:gd name="T76" fmla="*/ 12 w 98"/>
                  <a:gd name="T77" fmla="*/ 39 h 93"/>
                  <a:gd name="T78" fmla="*/ 0 w 98"/>
                  <a:gd name="T79" fmla="*/ 46 h 93"/>
                  <a:gd name="T80" fmla="*/ 4 w 98"/>
                  <a:gd name="T81" fmla="*/ 57 h 93"/>
                  <a:gd name="T82" fmla="*/ 18 w 98"/>
                  <a:gd name="T83" fmla="*/ 62 h 93"/>
                  <a:gd name="T84" fmla="*/ 32 w 98"/>
                  <a:gd name="T85" fmla="*/ 70 h 93"/>
                  <a:gd name="T86" fmla="*/ 51 w 98"/>
                  <a:gd name="T87" fmla="*/ 85 h 93"/>
                  <a:gd name="T88" fmla="*/ 61 w 98"/>
                  <a:gd name="T89" fmla="*/ 91 h 93"/>
                  <a:gd name="T90" fmla="*/ 76 w 98"/>
                  <a:gd name="T91" fmla="*/ 93 h 93"/>
                  <a:gd name="T92" fmla="*/ 80 w 98"/>
                  <a:gd name="T93" fmla="*/ 87 h 93"/>
                  <a:gd name="T94" fmla="*/ 86 w 98"/>
                  <a:gd name="T95" fmla="*/ 81 h 93"/>
                  <a:gd name="T96" fmla="*/ 95 w 98"/>
                  <a:gd name="T97" fmla="*/ 83 h 93"/>
                  <a:gd name="T98" fmla="*/ 96 w 98"/>
                  <a:gd name="T99" fmla="*/ 83 h 93"/>
                  <a:gd name="T100" fmla="*/ 98 w 98"/>
                  <a:gd name="T101"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 h="93">
                    <a:moveTo>
                      <a:pt x="98" y="85"/>
                    </a:moveTo>
                    <a:cubicBezTo>
                      <a:pt x="97" y="84"/>
                      <a:pt x="96" y="83"/>
                      <a:pt x="95" y="82"/>
                    </a:cubicBezTo>
                    <a:cubicBezTo>
                      <a:pt x="95" y="82"/>
                      <a:pt x="95" y="82"/>
                      <a:pt x="95" y="82"/>
                    </a:cubicBezTo>
                    <a:cubicBezTo>
                      <a:pt x="95" y="82"/>
                      <a:pt x="95" y="82"/>
                      <a:pt x="95" y="82"/>
                    </a:cubicBezTo>
                    <a:cubicBezTo>
                      <a:pt x="95" y="81"/>
                      <a:pt x="94" y="81"/>
                      <a:pt x="94" y="80"/>
                    </a:cubicBezTo>
                    <a:cubicBezTo>
                      <a:pt x="93" y="80"/>
                      <a:pt x="93" y="80"/>
                      <a:pt x="93" y="80"/>
                    </a:cubicBezTo>
                    <a:cubicBezTo>
                      <a:pt x="92" y="79"/>
                      <a:pt x="92" y="79"/>
                      <a:pt x="91" y="78"/>
                    </a:cubicBezTo>
                    <a:cubicBezTo>
                      <a:pt x="91" y="78"/>
                      <a:pt x="91" y="78"/>
                      <a:pt x="91" y="78"/>
                    </a:cubicBezTo>
                    <a:cubicBezTo>
                      <a:pt x="91" y="77"/>
                      <a:pt x="91" y="77"/>
                      <a:pt x="91" y="76"/>
                    </a:cubicBezTo>
                    <a:cubicBezTo>
                      <a:pt x="91" y="76"/>
                      <a:pt x="91" y="76"/>
                      <a:pt x="91" y="76"/>
                    </a:cubicBezTo>
                    <a:cubicBezTo>
                      <a:pt x="91" y="75"/>
                      <a:pt x="92" y="74"/>
                      <a:pt x="91" y="74"/>
                    </a:cubicBezTo>
                    <a:cubicBezTo>
                      <a:pt x="91" y="74"/>
                      <a:pt x="91" y="74"/>
                      <a:pt x="91" y="73"/>
                    </a:cubicBezTo>
                    <a:cubicBezTo>
                      <a:pt x="91" y="73"/>
                      <a:pt x="91" y="73"/>
                      <a:pt x="90" y="74"/>
                    </a:cubicBezTo>
                    <a:cubicBezTo>
                      <a:pt x="90" y="74"/>
                      <a:pt x="90" y="74"/>
                      <a:pt x="90" y="74"/>
                    </a:cubicBezTo>
                    <a:cubicBezTo>
                      <a:pt x="89" y="74"/>
                      <a:pt x="89" y="74"/>
                      <a:pt x="89" y="74"/>
                    </a:cubicBezTo>
                    <a:cubicBezTo>
                      <a:pt x="88" y="74"/>
                      <a:pt x="88" y="74"/>
                      <a:pt x="88" y="74"/>
                    </a:cubicBezTo>
                    <a:cubicBezTo>
                      <a:pt x="88" y="72"/>
                      <a:pt x="88" y="72"/>
                      <a:pt x="88" y="72"/>
                    </a:cubicBezTo>
                    <a:cubicBezTo>
                      <a:pt x="88" y="71"/>
                      <a:pt x="88" y="70"/>
                      <a:pt x="88" y="69"/>
                    </a:cubicBezTo>
                    <a:cubicBezTo>
                      <a:pt x="88" y="68"/>
                      <a:pt x="88" y="68"/>
                      <a:pt x="88" y="67"/>
                    </a:cubicBezTo>
                    <a:cubicBezTo>
                      <a:pt x="88" y="67"/>
                      <a:pt x="88" y="67"/>
                      <a:pt x="88" y="66"/>
                    </a:cubicBezTo>
                    <a:cubicBezTo>
                      <a:pt x="89" y="65"/>
                      <a:pt x="89" y="65"/>
                      <a:pt x="89" y="65"/>
                    </a:cubicBezTo>
                    <a:cubicBezTo>
                      <a:pt x="89" y="65"/>
                      <a:pt x="89" y="65"/>
                      <a:pt x="89" y="65"/>
                    </a:cubicBezTo>
                    <a:cubicBezTo>
                      <a:pt x="87" y="64"/>
                      <a:pt x="87" y="64"/>
                      <a:pt x="87" y="64"/>
                    </a:cubicBezTo>
                    <a:cubicBezTo>
                      <a:pt x="89" y="64"/>
                      <a:pt x="89" y="64"/>
                      <a:pt x="89" y="64"/>
                    </a:cubicBezTo>
                    <a:cubicBezTo>
                      <a:pt x="89" y="64"/>
                      <a:pt x="89" y="64"/>
                      <a:pt x="89" y="64"/>
                    </a:cubicBezTo>
                    <a:cubicBezTo>
                      <a:pt x="89" y="64"/>
                      <a:pt x="89" y="64"/>
                      <a:pt x="89" y="64"/>
                    </a:cubicBezTo>
                    <a:cubicBezTo>
                      <a:pt x="89" y="64"/>
                      <a:pt x="89" y="64"/>
                      <a:pt x="89" y="64"/>
                    </a:cubicBezTo>
                    <a:cubicBezTo>
                      <a:pt x="89" y="64"/>
                      <a:pt x="89" y="63"/>
                      <a:pt x="88" y="62"/>
                    </a:cubicBezTo>
                    <a:cubicBezTo>
                      <a:pt x="88" y="61"/>
                      <a:pt x="88" y="61"/>
                      <a:pt x="87" y="60"/>
                    </a:cubicBezTo>
                    <a:cubicBezTo>
                      <a:pt x="87" y="60"/>
                      <a:pt x="87" y="60"/>
                      <a:pt x="87" y="60"/>
                    </a:cubicBezTo>
                    <a:cubicBezTo>
                      <a:pt x="85" y="61"/>
                      <a:pt x="85" y="61"/>
                      <a:pt x="85" y="61"/>
                    </a:cubicBezTo>
                    <a:cubicBezTo>
                      <a:pt x="87" y="59"/>
                      <a:pt x="87" y="59"/>
                      <a:pt x="87" y="59"/>
                    </a:cubicBezTo>
                    <a:cubicBezTo>
                      <a:pt x="86" y="59"/>
                      <a:pt x="86" y="58"/>
                      <a:pt x="85" y="57"/>
                    </a:cubicBezTo>
                    <a:cubicBezTo>
                      <a:pt x="85" y="57"/>
                      <a:pt x="85" y="57"/>
                      <a:pt x="85" y="57"/>
                    </a:cubicBezTo>
                    <a:cubicBezTo>
                      <a:pt x="84" y="57"/>
                      <a:pt x="84" y="57"/>
                      <a:pt x="84" y="57"/>
                    </a:cubicBezTo>
                    <a:cubicBezTo>
                      <a:pt x="84" y="57"/>
                      <a:pt x="83" y="57"/>
                      <a:pt x="83" y="57"/>
                    </a:cubicBezTo>
                    <a:cubicBezTo>
                      <a:pt x="82" y="56"/>
                      <a:pt x="82" y="56"/>
                      <a:pt x="82" y="56"/>
                    </a:cubicBezTo>
                    <a:cubicBezTo>
                      <a:pt x="77" y="53"/>
                      <a:pt x="77" y="53"/>
                      <a:pt x="77" y="53"/>
                    </a:cubicBezTo>
                    <a:cubicBezTo>
                      <a:pt x="77" y="52"/>
                      <a:pt x="76" y="52"/>
                      <a:pt x="76" y="52"/>
                    </a:cubicBezTo>
                    <a:cubicBezTo>
                      <a:pt x="75" y="52"/>
                      <a:pt x="75" y="51"/>
                      <a:pt x="74" y="51"/>
                    </a:cubicBezTo>
                    <a:cubicBezTo>
                      <a:pt x="74" y="51"/>
                      <a:pt x="74" y="51"/>
                      <a:pt x="74" y="51"/>
                    </a:cubicBezTo>
                    <a:cubicBezTo>
                      <a:pt x="73" y="51"/>
                      <a:pt x="73" y="51"/>
                      <a:pt x="72" y="51"/>
                    </a:cubicBezTo>
                    <a:cubicBezTo>
                      <a:pt x="72" y="51"/>
                      <a:pt x="72" y="51"/>
                      <a:pt x="72" y="51"/>
                    </a:cubicBezTo>
                    <a:cubicBezTo>
                      <a:pt x="72" y="50"/>
                      <a:pt x="71" y="50"/>
                      <a:pt x="71" y="49"/>
                    </a:cubicBezTo>
                    <a:cubicBezTo>
                      <a:pt x="71" y="49"/>
                      <a:pt x="71" y="48"/>
                      <a:pt x="71" y="47"/>
                    </a:cubicBezTo>
                    <a:cubicBezTo>
                      <a:pt x="70" y="47"/>
                      <a:pt x="70" y="47"/>
                      <a:pt x="70" y="47"/>
                    </a:cubicBezTo>
                    <a:cubicBezTo>
                      <a:pt x="70" y="46"/>
                      <a:pt x="70" y="46"/>
                      <a:pt x="70" y="46"/>
                    </a:cubicBezTo>
                    <a:cubicBezTo>
                      <a:pt x="70" y="46"/>
                      <a:pt x="70" y="45"/>
                      <a:pt x="70" y="45"/>
                    </a:cubicBezTo>
                    <a:cubicBezTo>
                      <a:pt x="70" y="44"/>
                      <a:pt x="70" y="44"/>
                      <a:pt x="70" y="44"/>
                    </a:cubicBezTo>
                    <a:cubicBezTo>
                      <a:pt x="70" y="44"/>
                      <a:pt x="70" y="44"/>
                      <a:pt x="70" y="44"/>
                    </a:cubicBezTo>
                    <a:cubicBezTo>
                      <a:pt x="70" y="44"/>
                      <a:pt x="70" y="44"/>
                      <a:pt x="70" y="44"/>
                    </a:cubicBezTo>
                    <a:cubicBezTo>
                      <a:pt x="70" y="44"/>
                      <a:pt x="70" y="44"/>
                      <a:pt x="70" y="44"/>
                    </a:cubicBezTo>
                    <a:cubicBezTo>
                      <a:pt x="69" y="44"/>
                      <a:pt x="69" y="44"/>
                      <a:pt x="68" y="43"/>
                    </a:cubicBezTo>
                    <a:cubicBezTo>
                      <a:pt x="68" y="43"/>
                      <a:pt x="68" y="43"/>
                      <a:pt x="68" y="43"/>
                    </a:cubicBezTo>
                    <a:cubicBezTo>
                      <a:pt x="66" y="40"/>
                      <a:pt x="66" y="40"/>
                      <a:pt x="66" y="40"/>
                    </a:cubicBezTo>
                    <a:cubicBezTo>
                      <a:pt x="65" y="40"/>
                      <a:pt x="65" y="40"/>
                      <a:pt x="65" y="40"/>
                    </a:cubicBezTo>
                    <a:cubicBezTo>
                      <a:pt x="65" y="39"/>
                      <a:pt x="64" y="39"/>
                      <a:pt x="65" y="38"/>
                    </a:cubicBezTo>
                    <a:cubicBezTo>
                      <a:pt x="65" y="38"/>
                      <a:pt x="65" y="38"/>
                      <a:pt x="65" y="38"/>
                    </a:cubicBezTo>
                    <a:cubicBezTo>
                      <a:pt x="65" y="37"/>
                      <a:pt x="65" y="36"/>
                      <a:pt x="66" y="35"/>
                    </a:cubicBezTo>
                    <a:cubicBezTo>
                      <a:pt x="66" y="35"/>
                      <a:pt x="66" y="35"/>
                      <a:pt x="66" y="35"/>
                    </a:cubicBezTo>
                    <a:cubicBezTo>
                      <a:pt x="66" y="35"/>
                      <a:pt x="66" y="35"/>
                      <a:pt x="66" y="35"/>
                    </a:cubicBezTo>
                    <a:cubicBezTo>
                      <a:pt x="66" y="35"/>
                      <a:pt x="66" y="35"/>
                      <a:pt x="66" y="34"/>
                    </a:cubicBezTo>
                    <a:cubicBezTo>
                      <a:pt x="66" y="34"/>
                      <a:pt x="66" y="34"/>
                      <a:pt x="66" y="34"/>
                    </a:cubicBezTo>
                    <a:cubicBezTo>
                      <a:pt x="65" y="34"/>
                      <a:pt x="65" y="33"/>
                      <a:pt x="65" y="33"/>
                    </a:cubicBezTo>
                    <a:cubicBezTo>
                      <a:pt x="65" y="32"/>
                      <a:pt x="65" y="32"/>
                      <a:pt x="65" y="32"/>
                    </a:cubicBezTo>
                    <a:cubicBezTo>
                      <a:pt x="67" y="30"/>
                      <a:pt x="67" y="30"/>
                      <a:pt x="67" y="30"/>
                    </a:cubicBezTo>
                    <a:cubicBezTo>
                      <a:pt x="68" y="30"/>
                      <a:pt x="68" y="30"/>
                      <a:pt x="68" y="30"/>
                    </a:cubicBezTo>
                    <a:cubicBezTo>
                      <a:pt x="68" y="30"/>
                      <a:pt x="68" y="30"/>
                      <a:pt x="68" y="30"/>
                    </a:cubicBezTo>
                    <a:cubicBezTo>
                      <a:pt x="68" y="28"/>
                      <a:pt x="69" y="27"/>
                      <a:pt x="70" y="26"/>
                    </a:cubicBezTo>
                    <a:cubicBezTo>
                      <a:pt x="70" y="25"/>
                      <a:pt x="70" y="25"/>
                      <a:pt x="70" y="25"/>
                    </a:cubicBezTo>
                    <a:cubicBezTo>
                      <a:pt x="71" y="25"/>
                      <a:pt x="71" y="25"/>
                      <a:pt x="72" y="24"/>
                    </a:cubicBezTo>
                    <a:cubicBezTo>
                      <a:pt x="72" y="24"/>
                      <a:pt x="72" y="24"/>
                      <a:pt x="72" y="24"/>
                    </a:cubicBezTo>
                    <a:cubicBezTo>
                      <a:pt x="72" y="24"/>
                      <a:pt x="72" y="24"/>
                      <a:pt x="72" y="24"/>
                    </a:cubicBezTo>
                    <a:cubicBezTo>
                      <a:pt x="72" y="24"/>
                      <a:pt x="72" y="24"/>
                      <a:pt x="72" y="23"/>
                    </a:cubicBezTo>
                    <a:cubicBezTo>
                      <a:pt x="72" y="23"/>
                      <a:pt x="72" y="23"/>
                      <a:pt x="72" y="23"/>
                    </a:cubicBezTo>
                    <a:cubicBezTo>
                      <a:pt x="71" y="23"/>
                      <a:pt x="71" y="23"/>
                      <a:pt x="71" y="22"/>
                    </a:cubicBezTo>
                    <a:cubicBezTo>
                      <a:pt x="71" y="22"/>
                      <a:pt x="71" y="22"/>
                      <a:pt x="71" y="22"/>
                    </a:cubicBezTo>
                    <a:cubicBezTo>
                      <a:pt x="71" y="22"/>
                      <a:pt x="71" y="21"/>
                      <a:pt x="71" y="21"/>
                    </a:cubicBezTo>
                    <a:cubicBezTo>
                      <a:pt x="71" y="20"/>
                      <a:pt x="71" y="20"/>
                      <a:pt x="71" y="20"/>
                    </a:cubicBezTo>
                    <a:cubicBezTo>
                      <a:pt x="71" y="20"/>
                      <a:pt x="71" y="20"/>
                      <a:pt x="71" y="20"/>
                    </a:cubicBezTo>
                    <a:cubicBezTo>
                      <a:pt x="71" y="19"/>
                      <a:pt x="71" y="19"/>
                      <a:pt x="71" y="19"/>
                    </a:cubicBezTo>
                    <a:cubicBezTo>
                      <a:pt x="71" y="19"/>
                      <a:pt x="71" y="19"/>
                      <a:pt x="71" y="18"/>
                    </a:cubicBezTo>
                    <a:cubicBezTo>
                      <a:pt x="71" y="18"/>
                      <a:pt x="70" y="18"/>
                      <a:pt x="70" y="18"/>
                    </a:cubicBezTo>
                    <a:cubicBezTo>
                      <a:pt x="69" y="18"/>
                      <a:pt x="69" y="18"/>
                      <a:pt x="68" y="18"/>
                    </a:cubicBezTo>
                    <a:cubicBezTo>
                      <a:pt x="68" y="17"/>
                      <a:pt x="68" y="17"/>
                      <a:pt x="68" y="17"/>
                    </a:cubicBezTo>
                    <a:cubicBezTo>
                      <a:pt x="67" y="17"/>
                      <a:pt x="67" y="17"/>
                      <a:pt x="67" y="16"/>
                    </a:cubicBezTo>
                    <a:cubicBezTo>
                      <a:pt x="67" y="16"/>
                      <a:pt x="66" y="16"/>
                      <a:pt x="66" y="16"/>
                    </a:cubicBezTo>
                    <a:cubicBezTo>
                      <a:pt x="66" y="16"/>
                      <a:pt x="66" y="16"/>
                      <a:pt x="66" y="16"/>
                    </a:cubicBezTo>
                    <a:cubicBezTo>
                      <a:pt x="66" y="16"/>
                      <a:pt x="66" y="16"/>
                      <a:pt x="66" y="16"/>
                    </a:cubicBezTo>
                    <a:cubicBezTo>
                      <a:pt x="65" y="16"/>
                      <a:pt x="65" y="16"/>
                      <a:pt x="65" y="16"/>
                    </a:cubicBezTo>
                    <a:cubicBezTo>
                      <a:pt x="65" y="16"/>
                      <a:pt x="64" y="16"/>
                      <a:pt x="64" y="15"/>
                    </a:cubicBezTo>
                    <a:cubicBezTo>
                      <a:pt x="64" y="15"/>
                      <a:pt x="64" y="14"/>
                      <a:pt x="64" y="14"/>
                    </a:cubicBezTo>
                    <a:cubicBezTo>
                      <a:pt x="64" y="14"/>
                      <a:pt x="64" y="14"/>
                      <a:pt x="64" y="14"/>
                    </a:cubicBezTo>
                    <a:cubicBezTo>
                      <a:pt x="63" y="13"/>
                      <a:pt x="63" y="12"/>
                      <a:pt x="63" y="11"/>
                    </a:cubicBezTo>
                    <a:cubicBezTo>
                      <a:pt x="63" y="11"/>
                      <a:pt x="63" y="11"/>
                      <a:pt x="63" y="11"/>
                    </a:cubicBezTo>
                    <a:cubicBezTo>
                      <a:pt x="63" y="11"/>
                      <a:pt x="63" y="11"/>
                      <a:pt x="63" y="11"/>
                    </a:cubicBezTo>
                    <a:cubicBezTo>
                      <a:pt x="63" y="11"/>
                      <a:pt x="63" y="11"/>
                      <a:pt x="62" y="11"/>
                    </a:cubicBezTo>
                    <a:cubicBezTo>
                      <a:pt x="62" y="10"/>
                      <a:pt x="61" y="10"/>
                      <a:pt x="61" y="10"/>
                    </a:cubicBezTo>
                    <a:cubicBezTo>
                      <a:pt x="61" y="9"/>
                      <a:pt x="61" y="8"/>
                      <a:pt x="61" y="8"/>
                    </a:cubicBezTo>
                    <a:cubicBezTo>
                      <a:pt x="61" y="8"/>
                      <a:pt x="61" y="8"/>
                      <a:pt x="61" y="8"/>
                    </a:cubicBezTo>
                    <a:cubicBezTo>
                      <a:pt x="61" y="8"/>
                      <a:pt x="61" y="7"/>
                      <a:pt x="61" y="7"/>
                    </a:cubicBezTo>
                    <a:cubicBezTo>
                      <a:pt x="61" y="7"/>
                      <a:pt x="61" y="7"/>
                      <a:pt x="61" y="7"/>
                    </a:cubicBezTo>
                    <a:cubicBezTo>
                      <a:pt x="60" y="7"/>
                      <a:pt x="60" y="7"/>
                      <a:pt x="59" y="7"/>
                    </a:cubicBezTo>
                    <a:cubicBezTo>
                      <a:pt x="59" y="6"/>
                      <a:pt x="59" y="5"/>
                      <a:pt x="59" y="5"/>
                    </a:cubicBezTo>
                    <a:cubicBezTo>
                      <a:pt x="59" y="4"/>
                      <a:pt x="59" y="4"/>
                      <a:pt x="59" y="4"/>
                    </a:cubicBezTo>
                    <a:cubicBezTo>
                      <a:pt x="59" y="4"/>
                      <a:pt x="59" y="4"/>
                      <a:pt x="59" y="4"/>
                    </a:cubicBezTo>
                    <a:cubicBezTo>
                      <a:pt x="59" y="4"/>
                      <a:pt x="59" y="4"/>
                      <a:pt x="59" y="4"/>
                    </a:cubicBezTo>
                    <a:cubicBezTo>
                      <a:pt x="59" y="4"/>
                      <a:pt x="59" y="3"/>
                      <a:pt x="59" y="3"/>
                    </a:cubicBezTo>
                    <a:cubicBezTo>
                      <a:pt x="58" y="4"/>
                      <a:pt x="58" y="4"/>
                      <a:pt x="58" y="4"/>
                    </a:cubicBezTo>
                    <a:cubicBezTo>
                      <a:pt x="58" y="4"/>
                      <a:pt x="58" y="4"/>
                      <a:pt x="57" y="4"/>
                    </a:cubicBezTo>
                    <a:cubicBezTo>
                      <a:pt x="57" y="4"/>
                      <a:pt x="57" y="4"/>
                      <a:pt x="57" y="4"/>
                    </a:cubicBezTo>
                    <a:cubicBezTo>
                      <a:pt x="57" y="4"/>
                      <a:pt x="56" y="5"/>
                      <a:pt x="55" y="5"/>
                    </a:cubicBezTo>
                    <a:cubicBezTo>
                      <a:pt x="55" y="5"/>
                      <a:pt x="55" y="5"/>
                      <a:pt x="55" y="5"/>
                    </a:cubicBezTo>
                    <a:cubicBezTo>
                      <a:pt x="54" y="5"/>
                      <a:pt x="53" y="3"/>
                      <a:pt x="53" y="3"/>
                    </a:cubicBezTo>
                    <a:cubicBezTo>
                      <a:pt x="53" y="3"/>
                      <a:pt x="53" y="3"/>
                      <a:pt x="53" y="3"/>
                    </a:cubicBezTo>
                    <a:cubicBezTo>
                      <a:pt x="53" y="2"/>
                      <a:pt x="53" y="2"/>
                      <a:pt x="53" y="2"/>
                    </a:cubicBezTo>
                    <a:cubicBezTo>
                      <a:pt x="53" y="2"/>
                      <a:pt x="53" y="2"/>
                      <a:pt x="53" y="2"/>
                    </a:cubicBezTo>
                    <a:cubicBezTo>
                      <a:pt x="53" y="2"/>
                      <a:pt x="53" y="2"/>
                      <a:pt x="53" y="2"/>
                    </a:cubicBezTo>
                    <a:cubicBezTo>
                      <a:pt x="52" y="1"/>
                      <a:pt x="52" y="1"/>
                      <a:pt x="52" y="1"/>
                    </a:cubicBezTo>
                    <a:cubicBezTo>
                      <a:pt x="49" y="2"/>
                      <a:pt x="47" y="1"/>
                      <a:pt x="45" y="1"/>
                    </a:cubicBezTo>
                    <a:cubicBezTo>
                      <a:pt x="44" y="1"/>
                      <a:pt x="44" y="1"/>
                      <a:pt x="44" y="1"/>
                    </a:cubicBezTo>
                    <a:cubicBezTo>
                      <a:pt x="43" y="0"/>
                      <a:pt x="43" y="0"/>
                      <a:pt x="42" y="0"/>
                    </a:cubicBezTo>
                    <a:cubicBezTo>
                      <a:pt x="42" y="0"/>
                      <a:pt x="42" y="0"/>
                      <a:pt x="41" y="0"/>
                    </a:cubicBezTo>
                    <a:cubicBezTo>
                      <a:pt x="41" y="0"/>
                      <a:pt x="41" y="0"/>
                      <a:pt x="41" y="0"/>
                    </a:cubicBezTo>
                    <a:cubicBezTo>
                      <a:pt x="39" y="0"/>
                      <a:pt x="38" y="1"/>
                      <a:pt x="37" y="2"/>
                    </a:cubicBezTo>
                    <a:cubicBezTo>
                      <a:pt x="36" y="3"/>
                      <a:pt x="36" y="3"/>
                      <a:pt x="36" y="3"/>
                    </a:cubicBezTo>
                    <a:cubicBezTo>
                      <a:pt x="36" y="3"/>
                      <a:pt x="36" y="3"/>
                      <a:pt x="36" y="3"/>
                    </a:cubicBezTo>
                    <a:cubicBezTo>
                      <a:pt x="36" y="3"/>
                      <a:pt x="36" y="4"/>
                      <a:pt x="35" y="4"/>
                    </a:cubicBezTo>
                    <a:cubicBezTo>
                      <a:pt x="35" y="4"/>
                      <a:pt x="35" y="4"/>
                      <a:pt x="35" y="4"/>
                    </a:cubicBezTo>
                    <a:cubicBezTo>
                      <a:pt x="34" y="5"/>
                      <a:pt x="34" y="5"/>
                      <a:pt x="34" y="5"/>
                    </a:cubicBezTo>
                    <a:cubicBezTo>
                      <a:pt x="33" y="6"/>
                      <a:pt x="32" y="7"/>
                      <a:pt x="30" y="8"/>
                    </a:cubicBezTo>
                    <a:cubicBezTo>
                      <a:pt x="30" y="9"/>
                      <a:pt x="29" y="9"/>
                      <a:pt x="29" y="9"/>
                    </a:cubicBezTo>
                    <a:cubicBezTo>
                      <a:pt x="29" y="12"/>
                      <a:pt x="29" y="12"/>
                      <a:pt x="29" y="12"/>
                    </a:cubicBezTo>
                    <a:cubicBezTo>
                      <a:pt x="28" y="10"/>
                      <a:pt x="28" y="10"/>
                      <a:pt x="28" y="10"/>
                    </a:cubicBezTo>
                    <a:cubicBezTo>
                      <a:pt x="27" y="10"/>
                      <a:pt x="27" y="10"/>
                      <a:pt x="27" y="10"/>
                    </a:cubicBezTo>
                    <a:cubicBezTo>
                      <a:pt x="27" y="10"/>
                      <a:pt x="26" y="10"/>
                      <a:pt x="26" y="10"/>
                    </a:cubicBezTo>
                    <a:cubicBezTo>
                      <a:pt x="26" y="10"/>
                      <a:pt x="26" y="10"/>
                      <a:pt x="26" y="10"/>
                    </a:cubicBezTo>
                    <a:cubicBezTo>
                      <a:pt x="26" y="10"/>
                      <a:pt x="25" y="11"/>
                      <a:pt x="25" y="11"/>
                    </a:cubicBezTo>
                    <a:cubicBezTo>
                      <a:pt x="25" y="13"/>
                      <a:pt x="25" y="15"/>
                      <a:pt x="25" y="17"/>
                    </a:cubicBezTo>
                    <a:cubicBezTo>
                      <a:pt x="25" y="17"/>
                      <a:pt x="25" y="17"/>
                      <a:pt x="25" y="17"/>
                    </a:cubicBezTo>
                    <a:cubicBezTo>
                      <a:pt x="25" y="18"/>
                      <a:pt x="25" y="19"/>
                      <a:pt x="25" y="20"/>
                    </a:cubicBezTo>
                    <a:cubicBezTo>
                      <a:pt x="25" y="21"/>
                      <a:pt x="25" y="22"/>
                      <a:pt x="25" y="23"/>
                    </a:cubicBezTo>
                    <a:cubicBezTo>
                      <a:pt x="25" y="23"/>
                      <a:pt x="25" y="23"/>
                      <a:pt x="25" y="23"/>
                    </a:cubicBezTo>
                    <a:cubicBezTo>
                      <a:pt x="24" y="24"/>
                      <a:pt x="24" y="25"/>
                      <a:pt x="24" y="26"/>
                    </a:cubicBezTo>
                    <a:cubicBezTo>
                      <a:pt x="24" y="26"/>
                      <a:pt x="24" y="27"/>
                      <a:pt x="24" y="27"/>
                    </a:cubicBezTo>
                    <a:cubicBezTo>
                      <a:pt x="24" y="28"/>
                      <a:pt x="24" y="28"/>
                      <a:pt x="24" y="28"/>
                    </a:cubicBezTo>
                    <a:cubicBezTo>
                      <a:pt x="24" y="28"/>
                      <a:pt x="24" y="28"/>
                      <a:pt x="24" y="28"/>
                    </a:cubicBezTo>
                    <a:cubicBezTo>
                      <a:pt x="24" y="29"/>
                      <a:pt x="24" y="30"/>
                      <a:pt x="24" y="30"/>
                    </a:cubicBezTo>
                    <a:cubicBezTo>
                      <a:pt x="23" y="32"/>
                      <a:pt x="23" y="33"/>
                      <a:pt x="22" y="34"/>
                    </a:cubicBezTo>
                    <a:cubicBezTo>
                      <a:pt x="21" y="35"/>
                      <a:pt x="20" y="35"/>
                      <a:pt x="19" y="35"/>
                    </a:cubicBezTo>
                    <a:cubicBezTo>
                      <a:pt x="19" y="35"/>
                      <a:pt x="19" y="36"/>
                      <a:pt x="18" y="36"/>
                    </a:cubicBezTo>
                    <a:cubicBezTo>
                      <a:pt x="18" y="36"/>
                      <a:pt x="17" y="36"/>
                      <a:pt x="17" y="36"/>
                    </a:cubicBezTo>
                    <a:cubicBezTo>
                      <a:pt x="15" y="37"/>
                      <a:pt x="15" y="37"/>
                      <a:pt x="15" y="37"/>
                    </a:cubicBezTo>
                    <a:cubicBezTo>
                      <a:pt x="15" y="39"/>
                      <a:pt x="15" y="39"/>
                      <a:pt x="15" y="39"/>
                    </a:cubicBezTo>
                    <a:cubicBezTo>
                      <a:pt x="14" y="38"/>
                      <a:pt x="14" y="38"/>
                      <a:pt x="14" y="38"/>
                    </a:cubicBezTo>
                    <a:cubicBezTo>
                      <a:pt x="12" y="39"/>
                      <a:pt x="12" y="39"/>
                      <a:pt x="12" y="39"/>
                    </a:cubicBezTo>
                    <a:cubicBezTo>
                      <a:pt x="11" y="40"/>
                      <a:pt x="9" y="41"/>
                      <a:pt x="8" y="41"/>
                    </a:cubicBezTo>
                    <a:cubicBezTo>
                      <a:pt x="6" y="43"/>
                      <a:pt x="3" y="44"/>
                      <a:pt x="1" y="45"/>
                    </a:cubicBezTo>
                    <a:cubicBezTo>
                      <a:pt x="0" y="46"/>
                      <a:pt x="0" y="46"/>
                      <a:pt x="0" y="46"/>
                    </a:cubicBezTo>
                    <a:cubicBezTo>
                      <a:pt x="0" y="46"/>
                      <a:pt x="0" y="46"/>
                      <a:pt x="0" y="46"/>
                    </a:cubicBezTo>
                    <a:cubicBezTo>
                      <a:pt x="2" y="56"/>
                      <a:pt x="2" y="56"/>
                      <a:pt x="2" y="56"/>
                    </a:cubicBezTo>
                    <a:cubicBezTo>
                      <a:pt x="2" y="57"/>
                      <a:pt x="3" y="57"/>
                      <a:pt x="3" y="57"/>
                    </a:cubicBezTo>
                    <a:cubicBezTo>
                      <a:pt x="3" y="57"/>
                      <a:pt x="4" y="57"/>
                      <a:pt x="4" y="57"/>
                    </a:cubicBezTo>
                    <a:cubicBezTo>
                      <a:pt x="4" y="57"/>
                      <a:pt x="4" y="57"/>
                      <a:pt x="4" y="57"/>
                    </a:cubicBezTo>
                    <a:cubicBezTo>
                      <a:pt x="5" y="58"/>
                      <a:pt x="5" y="58"/>
                      <a:pt x="5" y="58"/>
                    </a:cubicBezTo>
                    <a:cubicBezTo>
                      <a:pt x="5" y="59"/>
                      <a:pt x="5" y="59"/>
                      <a:pt x="5" y="59"/>
                    </a:cubicBezTo>
                    <a:cubicBezTo>
                      <a:pt x="15" y="60"/>
                      <a:pt x="15" y="60"/>
                      <a:pt x="15" y="60"/>
                    </a:cubicBezTo>
                    <a:cubicBezTo>
                      <a:pt x="16" y="61"/>
                      <a:pt x="17" y="61"/>
                      <a:pt x="18" y="62"/>
                    </a:cubicBezTo>
                    <a:cubicBezTo>
                      <a:pt x="18" y="62"/>
                      <a:pt x="19" y="63"/>
                      <a:pt x="19" y="63"/>
                    </a:cubicBezTo>
                    <a:cubicBezTo>
                      <a:pt x="21" y="64"/>
                      <a:pt x="24" y="66"/>
                      <a:pt x="27" y="67"/>
                    </a:cubicBezTo>
                    <a:cubicBezTo>
                      <a:pt x="28" y="68"/>
                      <a:pt x="29" y="68"/>
                      <a:pt x="30" y="69"/>
                    </a:cubicBezTo>
                    <a:cubicBezTo>
                      <a:pt x="32" y="70"/>
                      <a:pt x="32" y="70"/>
                      <a:pt x="32" y="70"/>
                    </a:cubicBezTo>
                    <a:cubicBezTo>
                      <a:pt x="35" y="72"/>
                      <a:pt x="37" y="74"/>
                      <a:pt x="40" y="76"/>
                    </a:cubicBezTo>
                    <a:cubicBezTo>
                      <a:pt x="41" y="77"/>
                      <a:pt x="42" y="78"/>
                      <a:pt x="44" y="79"/>
                    </a:cubicBezTo>
                    <a:cubicBezTo>
                      <a:pt x="45" y="80"/>
                      <a:pt x="46" y="81"/>
                      <a:pt x="47" y="82"/>
                    </a:cubicBezTo>
                    <a:cubicBezTo>
                      <a:pt x="51" y="85"/>
                      <a:pt x="51" y="85"/>
                      <a:pt x="51" y="85"/>
                    </a:cubicBezTo>
                    <a:cubicBezTo>
                      <a:pt x="52" y="86"/>
                      <a:pt x="53" y="87"/>
                      <a:pt x="54" y="87"/>
                    </a:cubicBezTo>
                    <a:cubicBezTo>
                      <a:pt x="56" y="89"/>
                      <a:pt x="57" y="90"/>
                      <a:pt x="59" y="91"/>
                    </a:cubicBezTo>
                    <a:cubicBezTo>
                      <a:pt x="59" y="91"/>
                      <a:pt x="60" y="91"/>
                      <a:pt x="60" y="91"/>
                    </a:cubicBezTo>
                    <a:cubicBezTo>
                      <a:pt x="61" y="91"/>
                      <a:pt x="61" y="91"/>
                      <a:pt x="61" y="91"/>
                    </a:cubicBezTo>
                    <a:cubicBezTo>
                      <a:pt x="74" y="93"/>
                      <a:pt x="74" y="93"/>
                      <a:pt x="74" y="93"/>
                    </a:cubicBezTo>
                    <a:cubicBezTo>
                      <a:pt x="74" y="93"/>
                      <a:pt x="75" y="93"/>
                      <a:pt x="75" y="93"/>
                    </a:cubicBezTo>
                    <a:cubicBezTo>
                      <a:pt x="75" y="93"/>
                      <a:pt x="75" y="93"/>
                      <a:pt x="75" y="93"/>
                    </a:cubicBezTo>
                    <a:cubicBezTo>
                      <a:pt x="76" y="93"/>
                      <a:pt x="76" y="93"/>
                      <a:pt x="76" y="93"/>
                    </a:cubicBezTo>
                    <a:cubicBezTo>
                      <a:pt x="76" y="93"/>
                      <a:pt x="76" y="93"/>
                      <a:pt x="76" y="93"/>
                    </a:cubicBezTo>
                    <a:cubicBezTo>
                      <a:pt x="76" y="93"/>
                      <a:pt x="76" y="93"/>
                      <a:pt x="77" y="92"/>
                    </a:cubicBezTo>
                    <a:cubicBezTo>
                      <a:pt x="77" y="92"/>
                      <a:pt x="77" y="92"/>
                      <a:pt x="77" y="92"/>
                    </a:cubicBezTo>
                    <a:cubicBezTo>
                      <a:pt x="78" y="90"/>
                      <a:pt x="79" y="89"/>
                      <a:pt x="80" y="87"/>
                    </a:cubicBezTo>
                    <a:cubicBezTo>
                      <a:pt x="80" y="87"/>
                      <a:pt x="80" y="87"/>
                      <a:pt x="80" y="86"/>
                    </a:cubicBezTo>
                    <a:cubicBezTo>
                      <a:pt x="81" y="86"/>
                      <a:pt x="81" y="86"/>
                      <a:pt x="81" y="86"/>
                    </a:cubicBezTo>
                    <a:cubicBezTo>
                      <a:pt x="81" y="85"/>
                      <a:pt x="82" y="83"/>
                      <a:pt x="83" y="82"/>
                    </a:cubicBezTo>
                    <a:cubicBezTo>
                      <a:pt x="84" y="82"/>
                      <a:pt x="85" y="81"/>
                      <a:pt x="86" y="81"/>
                    </a:cubicBezTo>
                    <a:cubicBezTo>
                      <a:pt x="87" y="81"/>
                      <a:pt x="89" y="81"/>
                      <a:pt x="90" y="82"/>
                    </a:cubicBezTo>
                    <a:cubicBezTo>
                      <a:pt x="90" y="80"/>
                      <a:pt x="90" y="80"/>
                      <a:pt x="90" y="80"/>
                    </a:cubicBezTo>
                    <a:cubicBezTo>
                      <a:pt x="92" y="82"/>
                      <a:pt x="92" y="82"/>
                      <a:pt x="92" y="82"/>
                    </a:cubicBezTo>
                    <a:cubicBezTo>
                      <a:pt x="93" y="82"/>
                      <a:pt x="94" y="83"/>
                      <a:pt x="95" y="83"/>
                    </a:cubicBezTo>
                    <a:cubicBezTo>
                      <a:pt x="95" y="83"/>
                      <a:pt x="95" y="83"/>
                      <a:pt x="95" y="83"/>
                    </a:cubicBezTo>
                    <a:cubicBezTo>
                      <a:pt x="95" y="83"/>
                      <a:pt x="95" y="83"/>
                      <a:pt x="95" y="83"/>
                    </a:cubicBezTo>
                    <a:cubicBezTo>
                      <a:pt x="95" y="83"/>
                      <a:pt x="95" y="83"/>
                      <a:pt x="95" y="83"/>
                    </a:cubicBezTo>
                    <a:cubicBezTo>
                      <a:pt x="96" y="83"/>
                      <a:pt x="96" y="83"/>
                      <a:pt x="96" y="83"/>
                    </a:cubicBezTo>
                    <a:cubicBezTo>
                      <a:pt x="96" y="84"/>
                      <a:pt x="96" y="84"/>
                      <a:pt x="96" y="84"/>
                    </a:cubicBezTo>
                    <a:cubicBezTo>
                      <a:pt x="96" y="85"/>
                      <a:pt x="96" y="85"/>
                      <a:pt x="96" y="85"/>
                    </a:cubicBezTo>
                    <a:cubicBezTo>
                      <a:pt x="97" y="85"/>
                      <a:pt x="97" y="85"/>
                      <a:pt x="98" y="85"/>
                    </a:cubicBezTo>
                    <a:cubicBezTo>
                      <a:pt x="98" y="85"/>
                      <a:pt x="98" y="85"/>
                      <a:pt x="9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0" name="Freeform 2981">
                <a:extLst>
                  <a:ext uri="{FF2B5EF4-FFF2-40B4-BE49-F238E27FC236}">
                    <a16:creationId xmlns:a16="http://schemas.microsoft.com/office/drawing/2014/main" id="{9A75185A-D869-4BA6-B5DB-445143B317E8}"/>
                  </a:ext>
                </a:extLst>
              </p:cNvPr>
              <p:cNvSpPr>
                <a:spLocks/>
              </p:cNvSpPr>
              <p:nvPr/>
            </p:nvSpPr>
            <p:spPr bwMode="auto">
              <a:xfrm>
                <a:off x="4677" y="2029"/>
                <a:ext cx="40" cy="38"/>
              </a:xfrm>
              <a:custGeom>
                <a:avLst/>
                <a:gdLst>
                  <a:gd name="T0" fmla="*/ 13 w 17"/>
                  <a:gd name="T1" fmla="*/ 5 h 16"/>
                  <a:gd name="T2" fmla="*/ 15 w 17"/>
                  <a:gd name="T3" fmla="*/ 5 h 16"/>
                  <a:gd name="T4" fmla="*/ 14 w 17"/>
                  <a:gd name="T5" fmla="*/ 4 h 16"/>
                  <a:gd name="T6" fmla="*/ 13 w 17"/>
                  <a:gd name="T7" fmla="*/ 2 h 16"/>
                  <a:gd name="T8" fmla="*/ 11 w 17"/>
                  <a:gd name="T9" fmla="*/ 1 h 16"/>
                  <a:gd name="T10" fmla="*/ 7 w 17"/>
                  <a:gd name="T11" fmla="*/ 1 h 16"/>
                  <a:gd name="T12" fmla="*/ 6 w 17"/>
                  <a:gd name="T13" fmla="*/ 1 h 16"/>
                  <a:gd name="T14" fmla="*/ 4 w 17"/>
                  <a:gd name="T15" fmla="*/ 4 h 16"/>
                  <a:gd name="T16" fmla="*/ 4 w 17"/>
                  <a:gd name="T17" fmla="*/ 4 h 16"/>
                  <a:gd name="T18" fmla="*/ 3 w 17"/>
                  <a:gd name="T19" fmla="*/ 5 h 16"/>
                  <a:gd name="T20" fmla="*/ 0 w 17"/>
                  <a:gd name="T21" fmla="*/ 10 h 16"/>
                  <a:gd name="T22" fmla="*/ 8 w 17"/>
                  <a:gd name="T23" fmla="*/ 12 h 16"/>
                  <a:gd name="T24" fmla="*/ 10 w 17"/>
                  <a:gd name="T25" fmla="*/ 14 h 16"/>
                  <a:gd name="T26" fmla="*/ 10 w 17"/>
                  <a:gd name="T27" fmla="*/ 14 h 16"/>
                  <a:gd name="T28" fmla="*/ 10 w 17"/>
                  <a:gd name="T29" fmla="*/ 15 h 16"/>
                  <a:gd name="T30" fmla="*/ 10 w 17"/>
                  <a:gd name="T31" fmla="*/ 15 h 16"/>
                  <a:gd name="T32" fmla="*/ 11 w 17"/>
                  <a:gd name="T33" fmla="*/ 15 h 16"/>
                  <a:gd name="T34" fmla="*/ 15 w 17"/>
                  <a:gd name="T35" fmla="*/ 16 h 16"/>
                  <a:gd name="T36" fmla="*/ 17 w 17"/>
                  <a:gd name="T37" fmla="*/ 16 h 16"/>
                  <a:gd name="T38" fmla="*/ 15 w 17"/>
                  <a:gd name="T39" fmla="*/ 10 h 16"/>
                  <a:gd name="T40" fmla="*/ 14 w 17"/>
                  <a:gd name="T41" fmla="*/ 8 h 16"/>
                  <a:gd name="T42" fmla="*/ 11 w 17"/>
                  <a:gd name="T43" fmla="*/ 7 h 16"/>
                  <a:gd name="T44" fmla="*/ 13 w 17"/>
                  <a:gd name="T4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6">
                    <a:moveTo>
                      <a:pt x="13" y="5"/>
                    </a:moveTo>
                    <a:cubicBezTo>
                      <a:pt x="13" y="5"/>
                      <a:pt x="14" y="5"/>
                      <a:pt x="15" y="5"/>
                    </a:cubicBezTo>
                    <a:cubicBezTo>
                      <a:pt x="15" y="5"/>
                      <a:pt x="14" y="4"/>
                      <a:pt x="14" y="4"/>
                    </a:cubicBezTo>
                    <a:cubicBezTo>
                      <a:pt x="14" y="3"/>
                      <a:pt x="14" y="3"/>
                      <a:pt x="13" y="2"/>
                    </a:cubicBezTo>
                    <a:cubicBezTo>
                      <a:pt x="11" y="1"/>
                      <a:pt x="11" y="1"/>
                      <a:pt x="11" y="1"/>
                    </a:cubicBezTo>
                    <a:cubicBezTo>
                      <a:pt x="10" y="1"/>
                      <a:pt x="8" y="0"/>
                      <a:pt x="7" y="1"/>
                    </a:cubicBezTo>
                    <a:cubicBezTo>
                      <a:pt x="7" y="1"/>
                      <a:pt x="6" y="1"/>
                      <a:pt x="6" y="1"/>
                    </a:cubicBezTo>
                    <a:cubicBezTo>
                      <a:pt x="5" y="2"/>
                      <a:pt x="4" y="3"/>
                      <a:pt x="4" y="4"/>
                    </a:cubicBezTo>
                    <a:cubicBezTo>
                      <a:pt x="4" y="4"/>
                      <a:pt x="4" y="4"/>
                      <a:pt x="4" y="4"/>
                    </a:cubicBezTo>
                    <a:cubicBezTo>
                      <a:pt x="4" y="5"/>
                      <a:pt x="3" y="5"/>
                      <a:pt x="3" y="5"/>
                    </a:cubicBezTo>
                    <a:cubicBezTo>
                      <a:pt x="2" y="7"/>
                      <a:pt x="1" y="8"/>
                      <a:pt x="0" y="10"/>
                    </a:cubicBezTo>
                    <a:cubicBezTo>
                      <a:pt x="8" y="12"/>
                      <a:pt x="8" y="12"/>
                      <a:pt x="8" y="12"/>
                    </a:cubicBezTo>
                    <a:cubicBezTo>
                      <a:pt x="10" y="12"/>
                      <a:pt x="10" y="13"/>
                      <a:pt x="10" y="14"/>
                    </a:cubicBezTo>
                    <a:cubicBezTo>
                      <a:pt x="10" y="14"/>
                      <a:pt x="10" y="14"/>
                      <a:pt x="10" y="14"/>
                    </a:cubicBezTo>
                    <a:cubicBezTo>
                      <a:pt x="10" y="15"/>
                      <a:pt x="10" y="15"/>
                      <a:pt x="10" y="15"/>
                    </a:cubicBezTo>
                    <a:cubicBezTo>
                      <a:pt x="10" y="15"/>
                      <a:pt x="10" y="15"/>
                      <a:pt x="10" y="15"/>
                    </a:cubicBezTo>
                    <a:cubicBezTo>
                      <a:pt x="10" y="15"/>
                      <a:pt x="10" y="15"/>
                      <a:pt x="11" y="15"/>
                    </a:cubicBezTo>
                    <a:cubicBezTo>
                      <a:pt x="12" y="16"/>
                      <a:pt x="14" y="16"/>
                      <a:pt x="15" y="16"/>
                    </a:cubicBezTo>
                    <a:cubicBezTo>
                      <a:pt x="16" y="16"/>
                      <a:pt x="16" y="16"/>
                      <a:pt x="17" y="16"/>
                    </a:cubicBezTo>
                    <a:cubicBezTo>
                      <a:pt x="16" y="14"/>
                      <a:pt x="15" y="12"/>
                      <a:pt x="15" y="10"/>
                    </a:cubicBezTo>
                    <a:cubicBezTo>
                      <a:pt x="14" y="10"/>
                      <a:pt x="14" y="9"/>
                      <a:pt x="14" y="8"/>
                    </a:cubicBezTo>
                    <a:cubicBezTo>
                      <a:pt x="13" y="7"/>
                      <a:pt x="12" y="8"/>
                      <a:pt x="11" y="7"/>
                    </a:cubicBezTo>
                    <a:cubicBezTo>
                      <a:pt x="11" y="7"/>
                      <a:pt x="12" y="5"/>
                      <a:pt x="1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1" name="Freeform 2982">
                <a:extLst>
                  <a:ext uri="{FF2B5EF4-FFF2-40B4-BE49-F238E27FC236}">
                    <a16:creationId xmlns:a16="http://schemas.microsoft.com/office/drawing/2014/main" id="{D0919791-3F27-4766-8E39-1A4DF9F1DBD6}"/>
                  </a:ext>
                </a:extLst>
              </p:cNvPr>
              <p:cNvSpPr>
                <a:spLocks/>
              </p:cNvSpPr>
              <p:nvPr/>
            </p:nvSpPr>
            <p:spPr bwMode="auto">
              <a:xfrm>
                <a:off x="4710" y="2033"/>
                <a:ext cx="7" cy="7"/>
              </a:xfrm>
              <a:custGeom>
                <a:avLst/>
                <a:gdLst>
                  <a:gd name="T0" fmla="*/ 1 w 3"/>
                  <a:gd name="T1" fmla="*/ 0 h 3"/>
                  <a:gd name="T2" fmla="*/ 0 w 3"/>
                  <a:gd name="T3" fmla="*/ 1 h 3"/>
                  <a:gd name="T4" fmla="*/ 1 w 3"/>
                  <a:gd name="T5" fmla="*/ 0 h 3"/>
                  <a:gd name="T6" fmla="*/ 0 w 3"/>
                  <a:gd name="T7" fmla="*/ 0 h 3"/>
                  <a:gd name="T8" fmla="*/ 0 w 3"/>
                  <a:gd name="T9" fmla="*/ 1 h 3"/>
                  <a:gd name="T10" fmla="*/ 1 w 3"/>
                  <a:gd name="T11" fmla="*/ 3 h 3"/>
                  <a:gd name="T12" fmla="*/ 3 w 3"/>
                  <a:gd name="T13" fmla="*/ 1 h 3"/>
                  <a:gd name="T14" fmla="*/ 1 w 3"/>
                  <a:gd name="T15" fmla="*/ 1 h 3"/>
                  <a:gd name="T16" fmla="*/ 1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1" y="0"/>
                    </a:moveTo>
                    <a:cubicBezTo>
                      <a:pt x="0" y="1"/>
                      <a:pt x="0" y="1"/>
                      <a:pt x="0" y="1"/>
                    </a:cubicBezTo>
                    <a:cubicBezTo>
                      <a:pt x="1" y="0"/>
                      <a:pt x="1" y="0"/>
                      <a:pt x="1" y="0"/>
                    </a:cubicBezTo>
                    <a:cubicBezTo>
                      <a:pt x="0" y="0"/>
                      <a:pt x="0" y="0"/>
                      <a:pt x="0" y="0"/>
                    </a:cubicBezTo>
                    <a:cubicBezTo>
                      <a:pt x="0" y="0"/>
                      <a:pt x="0" y="1"/>
                      <a:pt x="0" y="1"/>
                    </a:cubicBezTo>
                    <a:cubicBezTo>
                      <a:pt x="0" y="1"/>
                      <a:pt x="1" y="2"/>
                      <a:pt x="1" y="3"/>
                    </a:cubicBezTo>
                    <a:cubicBezTo>
                      <a:pt x="3" y="2"/>
                      <a:pt x="3" y="2"/>
                      <a:pt x="3" y="1"/>
                    </a:cubicBezTo>
                    <a:cubicBezTo>
                      <a:pt x="1" y="1"/>
                      <a:pt x="1" y="1"/>
                      <a:pt x="1"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2" name="Freeform 2983">
                <a:extLst>
                  <a:ext uri="{FF2B5EF4-FFF2-40B4-BE49-F238E27FC236}">
                    <a16:creationId xmlns:a16="http://schemas.microsoft.com/office/drawing/2014/main" id="{0393EBAF-1922-44EE-8328-132719977099}"/>
                  </a:ext>
                </a:extLst>
              </p:cNvPr>
              <p:cNvSpPr>
                <a:spLocks/>
              </p:cNvSpPr>
              <p:nvPr/>
            </p:nvSpPr>
            <p:spPr bwMode="auto">
              <a:xfrm>
                <a:off x="4412" y="1837"/>
                <a:ext cx="156" cy="130"/>
              </a:xfrm>
              <a:custGeom>
                <a:avLst/>
                <a:gdLst>
                  <a:gd name="T0" fmla="*/ 2 w 66"/>
                  <a:gd name="T1" fmla="*/ 25 h 55"/>
                  <a:gd name="T2" fmla="*/ 2 w 66"/>
                  <a:gd name="T3" fmla="*/ 28 h 55"/>
                  <a:gd name="T4" fmla="*/ 6 w 66"/>
                  <a:gd name="T5" fmla="*/ 28 h 55"/>
                  <a:gd name="T6" fmla="*/ 7 w 66"/>
                  <a:gd name="T7" fmla="*/ 28 h 55"/>
                  <a:gd name="T8" fmla="*/ 8 w 66"/>
                  <a:gd name="T9" fmla="*/ 30 h 55"/>
                  <a:gd name="T10" fmla="*/ 9 w 66"/>
                  <a:gd name="T11" fmla="*/ 32 h 55"/>
                  <a:gd name="T12" fmla="*/ 9 w 66"/>
                  <a:gd name="T13" fmla="*/ 36 h 55"/>
                  <a:gd name="T14" fmla="*/ 16 w 66"/>
                  <a:gd name="T15" fmla="*/ 45 h 55"/>
                  <a:gd name="T16" fmla="*/ 4 w 66"/>
                  <a:gd name="T17" fmla="*/ 39 h 55"/>
                  <a:gd name="T18" fmla="*/ 4 w 66"/>
                  <a:gd name="T19" fmla="*/ 40 h 55"/>
                  <a:gd name="T20" fmla="*/ 4 w 66"/>
                  <a:gd name="T21" fmla="*/ 42 h 55"/>
                  <a:gd name="T22" fmla="*/ 4 w 66"/>
                  <a:gd name="T23" fmla="*/ 42 h 55"/>
                  <a:gd name="T24" fmla="*/ 1 w 66"/>
                  <a:gd name="T25" fmla="*/ 45 h 55"/>
                  <a:gd name="T26" fmla="*/ 0 w 66"/>
                  <a:gd name="T27" fmla="*/ 45 h 55"/>
                  <a:gd name="T28" fmla="*/ 0 w 66"/>
                  <a:gd name="T29" fmla="*/ 48 h 55"/>
                  <a:gd name="T30" fmla="*/ 0 w 66"/>
                  <a:gd name="T31" fmla="*/ 50 h 55"/>
                  <a:gd name="T32" fmla="*/ 1 w 66"/>
                  <a:gd name="T33" fmla="*/ 50 h 55"/>
                  <a:gd name="T34" fmla="*/ 3 w 66"/>
                  <a:gd name="T35" fmla="*/ 51 h 55"/>
                  <a:gd name="T36" fmla="*/ 12 w 66"/>
                  <a:gd name="T37" fmla="*/ 53 h 55"/>
                  <a:gd name="T38" fmla="*/ 31 w 66"/>
                  <a:gd name="T39" fmla="*/ 42 h 55"/>
                  <a:gd name="T40" fmla="*/ 31 w 66"/>
                  <a:gd name="T41" fmla="*/ 42 h 55"/>
                  <a:gd name="T42" fmla="*/ 39 w 66"/>
                  <a:gd name="T43" fmla="*/ 37 h 55"/>
                  <a:gd name="T44" fmla="*/ 46 w 66"/>
                  <a:gd name="T45" fmla="*/ 34 h 55"/>
                  <a:gd name="T46" fmla="*/ 50 w 66"/>
                  <a:gd name="T47" fmla="*/ 31 h 55"/>
                  <a:gd name="T48" fmla="*/ 52 w 66"/>
                  <a:gd name="T49" fmla="*/ 31 h 55"/>
                  <a:gd name="T50" fmla="*/ 54 w 66"/>
                  <a:gd name="T51" fmla="*/ 27 h 55"/>
                  <a:gd name="T52" fmla="*/ 55 w 66"/>
                  <a:gd name="T53" fmla="*/ 25 h 55"/>
                  <a:gd name="T54" fmla="*/ 55 w 66"/>
                  <a:gd name="T55" fmla="*/ 20 h 55"/>
                  <a:gd name="T56" fmla="*/ 56 w 66"/>
                  <a:gd name="T57" fmla="*/ 18 h 55"/>
                  <a:gd name="T58" fmla="*/ 55 w 66"/>
                  <a:gd name="T59" fmla="*/ 15 h 55"/>
                  <a:gd name="T60" fmla="*/ 57 w 66"/>
                  <a:gd name="T61" fmla="*/ 7 h 55"/>
                  <a:gd name="T62" fmla="*/ 60 w 66"/>
                  <a:gd name="T63" fmla="*/ 5 h 55"/>
                  <a:gd name="T64" fmla="*/ 60 w 66"/>
                  <a:gd name="T65" fmla="*/ 5 h 55"/>
                  <a:gd name="T66" fmla="*/ 62 w 66"/>
                  <a:gd name="T67" fmla="*/ 5 h 55"/>
                  <a:gd name="T68" fmla="*/ 66 w 66"/>
                  <a:gd name="T69" fmla="*/ 0 h 55"/>
                  <a:gd name="T70" fmla="*/ 66 w 66"/>
                  <a:gd name="T71" fmla="*/ 0 h 55"/>
                  <a:gd name="T72" fmla="*/ 52 w 66"/>
                  <a:gd name="T73" fmla="*/ 1 h 55"/>
                  <a:gd name="T74" fmla="*/ 49 w 66"/>
                  <a:gd name="T75" fmla="*/ 3 h 55"/>
                  <a:gd name="T76" fmla="*/ 46 w 66"/>
                  <a:gd name="T77" fmla="*/ 4 h 55"/>
                  <a:gd name="T78" fmla="*/ 38 w 66"/>
                  <a:gd name="T79" fmla="*/ 6 h 55"/>
                  <a:gd name="T80" fmla="*/ 37 w 66"/>
                  <a:gd name="T81" fmla="*/ 6 h 55"/>
                  <a:gd name="T82" fmla="*/ 30 w 66"/>
                  <a:gd name="T83" fmla="*/ 5 h 55"/>
                  <a:gd name="T84" fmla="*/ 29 w 66"/>
                  <a:gd name="T85" fmla="*/ 5 h 55"/>
                  <a:gd name="T86" fmla="*/ 26 w 66"/>
                  <a:gd name="T87" fmla="*/ 4 h 55"/>
                  <a:gd name="T88" fmla="*/ 24 w 66"/>
                  <a:gd name="T89" fmla="*/ 5 h 55"/>
                  <a:gd name="T90" fmla="*/ 16 w 66"/>
                  <a:gd name="T91" fmla="*/ 7 h 55"/>
                  <a:gd name="T92" fmla="*/ 10 w 66"/>
                  <a:gd name="T93" fmla="*/ 5 h 55"/>
                  <a:gd name="T94" fmla="*/ 10 w 66"/>
                  <a:gd name="T95" fmla="*/ 8 h 55"/>
                  <a:gd name="T96" fmla="*/ 10 w 66"/>
                  <a:gd name="T97" fmla="*/ 11 h 55"/>
                  <a:gd name="T98" fmla="*/ 9 w 66"/>
                  <a:gd name="T99" fmla="*/ 11 h 55"/>
                  <a:gd name="T100" fmla="*/ 8 w 66"/>
                  <a:gd name="T101" fmla="*/ 12 h 55"/>
                  <a:gd name="T102" fmla="*/ 8 w 66"/>
                  <a:gd name="T103" fmla="*/ 12 h 55"/>
                  <a:gd name="T104" fmla="*/ 6 w 66"/>
                  <a:gd name="T105" fmla="*/ 15 h 55"/>
                  <a:gd name="T106" fmla="*/ 6 w 66"/>
                  <a:gd name="T107" fmla="*/ 15 h 55"/>
                  <a:gd name="T108" fmla="*/ 5 w 66"/>
                  <a:gd name="T109" fmla="*/ 17 h 55"/>
                  <a:gd name="T110" fmla="*/ 1 w 66"/>
                  <a:gd name="T111" fmla="*/ 15 h 55"/>
                  <a:gd name="T112" fmla="*/ 0 w 66"/>
                  <a:gd name="T113"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 h="55">
                    <a:moveTo>
                      <a:pt x="2" y="21"/>
                    </a:moveTo>
                    <a:cubicBezTo>
                      <a:pt x="2" y="22"/>
                      <a:pt x="1" y="23"/>
                      <a:pt x="2" y="25"/>
                    </a:cubicBezTo>
                    <a:cubicBezTo>
                      <a:pt x="2" y="26"/>
                      <a:pt x="2" y="27"/>
                      <a:pt x="2" y="28"/>
                    </a:cubicBezTo>
                    <a:cubicBezTo>
                      <a:pt x="2" y="28"/>
                      <a:pt x="2" y="28"/>
                      <a:pt x="2" y="28"/>
                    </a:cubicBezTo>
                    <a:cubicBezTo>
                      <a:pt x="3" y="28"/>
                      <a:pt x="3" y="28"/>
                      <a:pt x="4" y="28"/>
                    </a:cubicBezTo>
                    <a:cubicBezTo>
                      <a:pt x="4" y="28"/>
                      <a:pt x="5" y="28"/>
                      <a:pt x="6" y="28"/>
                    </a:cubicBezTo>
                    <a:cubicBezTo>
                      <a:pt x="6" y="28"/>
                      <a:pt x="6" y="28"/>
                      <a:pt x="6" y="28"/>
                    </a:cubicBezTo>
                    <a:cubicBezTo>
                      <a:pt x="6" y="28"/>
                      <a:pt x="7" y="28"/>
                      <a:pt x="7" y="28"/>
                    </a:cubicBezTo>
                    <a:cubicBezTo>
                      <a:pt x="10" y="28"/>
                      <a:pt x="10" y="28"/>
                      <a:pt x="10" y="28"/>
                    </a:cubicBezTo>
                    <a:cubicBezTo>
                      <a:pt x="8" y="30"/>
                      <a:pt x="8" y="30"/>
                      <a:pt x="8" y="30"/>
                    </a:cubicBezTo>
                    <a:cubicBezTo>
                      <a:pt x="9" y="30"/>
                      <a:pt x="9" y="31"/>
                      <a:pt x="9" y="32"/>
                    </a:cubicBezTo>
                    <a:cubicBezTo>
                      <a:pt x="9" y="32"/>
                      <a:pt x="9" y="32"/>
                      <a:pt x="9" y="32"/>
                    </a:cubicBezTo>
                    <a:cubicBezTo>
                      <a:pt x="10" y="32"/>
                      <a:pt x="11" y="34"/>
                      <a:pt x="10" y="35"/>
                    </a:cubicBezTo>
                    <a:cubicBezTo>
                      <a:pt x="9" y="35"/>
                      <a:pt x="9" y="35"/>
                      <a:pt x="9" y="36"/>
                    </a:cubicBezTo>
                    <a:cubicBezTo>
                      <a:pt x="8" y="36"/>
                      <a:pt x="7" y="37"/>
                      <a:pt x="7" y="37"/>
                    </a:cubicBezTo>
                    <a:cubicBezTo>
                      <a:pt x="16" y="45"/>
                      <a:pt x="16" y="45"/>
                      <a:pt x="16" y="45"/>
                    </a:cubicBezTo>
                    <a:cubicBezTo>
                      <a:pt x="6" y="39"/>
                      <a:pt x="6" y="39"/>
                      <a:pt x="6" y="39"/>
                    </a:cubicBezTo>
                    <a:cubicBezTo>
                      <a:pt x="5" y="39"/>
                      <a:pt x="5" y="39"/>
                      <a:pt x="4" y="39"/>
                    </a:cubicBezTo>
                    <a:cubicBezTo>
                      <a:pt x="4" y="40"/>
                      <a:pt x="4" y="40"/>
                      <a:pt x="4" y="40"/>
                    </a:cubicBezTo>
                    <a:cubicBezTo>
                      <a:pt x="4" y="40"/>
                      <a:pt x="4" y="40"/>
                      <a:pt x="4" y="40"/>
                    </a:cubicBezTo>
                    <a:cubicBezTo>
                      <a:pt x="4" y="40"/>
                      <a:pt x="4" y="41"/>
                      <a:pt x="4" y="41"/>
                    </a:cubicBezTo>
                    <a:cubicBezTo>
                      <a:pt x="4" y="42"/>
                      <a:pt x="4" y="42"/>
                      <a:pt x="4" y="42"/>
                    </a:cubicBezTo>
                    <a:cubicBezTo>
                      <a:pt x="4" y="42"/>
                      <a:pt x="4" y="42"/>
                      <a:pt x="4" y="42"/>
                    </a:cubicBezTo>
                    <a:cubicBezTo>
                      <a:pt x="4" y="42"/>
                      <a:pt x="4" y="42"/>
                      <a:pt x="4" y="42"/>
                    </a:cubicBezTo>
                    <a:cubicBezTo>
                      <a:pt x="3" y="43"/>
                      <a:pt x="2" y="44"/>
                      <a:pt x="2" y="44"/>
                    </a:cubicBezTo>
                    <a:cubicBezTo>
                      <a:pt x="1" y="44"/>
                      <a:pt x="1" y="45"/>
                      <a:pt x="1" y="45"/>
                    </a:cubicBezTo>
                    <a:cubicBezTo>
                      <a:pt x="1" y="45"/>
                      <a:pt x="1" y="45"/>
                      <a:pt x="1" y="45"/>
                    </a:cubicBezTo>
                    <a:cubicBezTo>
                      <a:pt x="0" y="45"/>
                      <a:pt x="0" y="45"/>
                      <a:pt x="0" y="45"/>
                    </a:cubicBezTo>
                    <a:cubicBezTo>
                      <a:pt x="0" y="46"/>
                      <a:pt x="0" y="46"/>
                      <a:pt x="0" y="47"/>
                    </a:cubicBezTo>
                    <a:cubicBezTo>
                      <a:pt x="0" y="47"/>
                      <a:pt x="0" y="48"/>
                      <a:pt x="0" y="48"/>
                    </a:cubicBezTo>
                    <a:cubicBezTo>
                      <a:pt x="0" y="49"/>
                      <a:pt x="0" y="49"/>
                      <a:pt x="0" y="50"/>
                    </a:cubicBezTo>
                    <a:cubicBezTo>
                      <a:pt x="0" y="50"/>
                      <a:pt x="0" y="50"/>
                      <a:pt x="0" y="50"/>
                    </a:cubicBezTo>
                    <a:cubicBezTo>
                      <a:pt x="1" y="50"/>
                      <a:pt x="1" y="50"/>
                      <a:pt x="1" y="50"/>
                    </a:cubicBezTo>
                    <a:cubicBezTo>
                      <a:pt x="1" y="50"/>
                      <a:pt x="1" y="50"/>
                      <a:pt x="1" y="50"/>
                    </a:cubicBezTo>
                    <a:cubicBezTo>
                      <a:pt x="2" y="50"/>
                      <a:pt x="2" y="51"/>
                      <a:pt x="2" y="51"/>
                    </a:cubicBezTo>
                    <a:cubicBezTo>
                      <a:pt x="3" y="51"/>
                      <a:pt x="3" y="51"/>
                      <a:pt x="3" y="51"/>
                    </a:cubicBezTo>
                    <a:cubicBezTo>
                      <a:pt x="3" y="51"/>
                      <a:pt x="4" y="52"/>
                      <a:pt x="4" y="52"/>
                    </a:cubicBezTo>
                    <a:cubicBezTo>
                      <a:pt x="10" y="55"/>
                      <a:pt x="11" y="55"/>
                      <a:pt x="12" y="53"/>
                    </a:cubicBezTo>
                    <a:cubicBezTo>
                      <a:pt x="12" y="53"/>
                      <a:pt x="13" y="53"/>
                      <a:pt x="13" y="53"/>
                    </a:cubicBezTo>
                    <a:cubicBezTo>
                      <a:pt x="17" y="50"/>
                      <a:pt x="26" y="45"/>
                      <a:pt x="31" y="42"/>
                    </a:cubicBezTo>
                    <a:cubicBezTo>
                      <a:pt x="31" y="42"/>
                      <a:pt x="31" y="42"/>
                      <a:pt x="31" y="42"/>
                    </a:cubicBezTo>
                    <a:cubicBezTo>
                      <a:pt x="31" y="42"/>
                      <a:pt x="31" y="42"/>
                      <a:pt x="31" y="42"/>
                    </a:cubicBezTo>
                    <a:cubicBezTo>
                      <a:pt x="33" y="41"/>
                      <a:pt x="33" y="41"/>
                      <a:pt x="33" y="41"/>
                    </a:cubicBezTo>
                    <a:cubicBezTo>
                      <a:pt x="35" y="40"/>
                      <a:pt x="37" y="38"/>
                      <a:pt x="39" y="37"/>
                    </a:cubicBezTo>
                    <a:cubicBezTo>
                      <a:pt x="46" y="34"/>
                      <a:pt x="46" y="34"/>
                      <a:pt x="46" y="34"/>
                    </a:cubicBezTo>
                    <a:cubicBezTo>
                      <a:pt x="46" y="34"/>
                      <a:pt x="46" y="34"/>
                      <a:pt x="46" y="34"/>
                    </a:cubicBezTo>
                    <a:cubicBezTo>
                      <a:pt x="48" y="32"/>
                      <a:pt x="48" y="32"/>
                      <a:pt x="48" y="32"/>
                    </a:cubicBezTo>
                    <a:cubicBezTo>
                      <a:pt x="49" y="32"/>
                      <a:pt x="50" y="32"/>
                      <a:pt x="50" y="31"/>
                    </a:cubicBezTo>
                    <a:cubicBezTo>
                      <a:pt x="51" y="31"/>
                      <a:pt x="51" y="31"/>
                      <a:pt x="51" y="31"/>
                    </a:cubicBezTo>
                    <a:cubicBezTo>
                      <a:pt x="52" y="31"/>
                      <a:pt x="52" y="31"/>
                      <a:pt x="52" y="31"/>
                    </a:cubicBezTo>
                    <a:cubicBezTo>
                      <a:pt x="52" y="31"/>
                      <a:pt x="53" y="31"/>
                      <a:pt x="53" y="30"/>
                    </a:cubicBezTo>
                    <a:cubicBezTo>
                      <a:pt x="53" y="30"/>
                      <a:pt x="54" y="29"/>
                      <a:pt x="54" y="27"/>
                    </a:cubicBezTo>
                    <a:cubicBezTo>
                      <a:pt x="55" y="27"/>
                      <a:pt x="55" y="26"/>
                      <a:pt x="55" y="26"/>
                    </a:cubicBezTo>
                    <a:cubicBezTo>
                      <a:pt x="55" y="25"/>
                      <a:pt x="55" y="25"/>
                      <a:pt x="55" y="25"/>
                    </a:cubicBezTo>
                    <a:cubicBezTo>
                      <a:pt x="55" y="25"/>
                      <a:pt x="55" y="24"/>
                      <a:pt x="55" y="24"/>
                    </a:cubicBezTo>
                    <a:cubicBezTo>
                      <a:pt x="55" y="23"/>
                      <a:pt x="55" y="21"/>
                      <a:pt x="55" y="20"/>
                    </a:cubicBezTo>
                    <a:cubicBezTo>
                      <a:pt x="55" y="20"/>
                      <a:pt x="55" y="20"/>
                      <a:pt x="55" y="20"/>
                    </a:cubicBezTo>
                    <a:cubicBezTo>
                      <a:pt x="55" y="19"/>
                      <a:pt x="56" y="19"/>
                      <a:pt x="56" y="18"/>
                    </a:cubicBezTo>
                    <a:cubicBezTo>
                      <a:pt x="56" y="17"/>
                      <a:pt x="56" y="17"/>
                      <a:pt x="56" y="16"/>
                    </a:cubicBezTo>
                    <a:cubicBezTo>
                      <a:pt x="55" y="15"/>
                      <a:pt x="55" y="15"/>
                      <a:pt x="55" y="15"/>
                    </a:cubicBezTo>
                    <a:cubicBezTo>
                      <a:pt x="55" y="13"/>
                      <a:pt x="55" y="11"/>
                      <a:pt x="56" y="8"/>
                    </a:cubicBezTo>
                    <a:cubicBezTo>
                      <a:pt x="56" y="8"/>
                      <a:pt x="56" y="7"/>
                      <a:pt x="57" y="7"/>
                    </a:cubicBezTo>
                    <a:cubicBezTo>
                      <a:pt x="57" y="6"/>
                      <a:pt x="58" y="6"/>
                      <a:pt x="59" y="5"/>
                    </a:cubicBezTo>
                    <a:cubicBezTo>
                      <a:pt x="60" y="5"/>
                      <a:pt x="60" y="5"/>
                      <a:pt x="60" y="5"/>
                    </a:cubicBezTo>
                    <a:cubicBezTo>
                      <a:pt x="60" y="4"/>
                      <a:pt x="60" y="4"/>
                      <a:pt x="60" y="4"/>
                    </a:cubicBezTo>
                    <a:cubicBezTo>
                      <a:pt x="60" y="5"/>
                      <a:pt x="60" y="5"/>
                      <a:pt x="60" y="5"/>
                    </a:cubicBezTo>
                    <a:cubicBezTo>
                      <a:pt x="61" y="5"/>
                      <a:pt x="61" y="5"/>
                      <a:pt x="61" y="5"/>
                    </a:cubicBezTo>
                    <a:cubicBezTo>
                      <a:pt x="61" y="5"/>
                      <a:pt x="61" y="5"/>
                      <a:pt x="62" y="5"/>
                    </a:cubicBezTo>
                    <a:cubicBezTo>
                      <a:pt x="63" y="3"/>
                      <a:pt x="64" y="2"/>
                      <a:pt x="65" y="1"/>
                    </a:cubicBezTo>
                    <a:cubicBezTo>
                      <a:pt x="66" y="0"/>
                      <a:pt x="66" y="0"/>
                      <a:pt x="66" y="0"/>
                    </a:cubicBezTo>
                    <a:cubicBezTo>
                      <a:pt x="66" y="0"/>
                      <a:pt x="66" y="0"/>
                      <a:pt x="66" y="0"/>
                    </a:cubicBezTo>
                    <a:cubicBezTo>
                      <a:pt x="66" y="0"/>
                      <a:pt x="66" y="0"/>
                      <a:pt x="66" y="0"/>
                    </a:cubicBezTo>
                    <a:cubicBezTo>
                      <a:pt x="65" y="0"/>
                      <a:pt x="65" y="0"/>
                      <a:pt x="64" y="1"/>
                    </a:cubicBezTo>
                    <a:cubicBezTo>
                      <a:pt x="60" y="1"/>
                      <a:pt x="57" y="2"/>
                      <a:pt x="52" y="1"/>
                    </a:cubicBezTo>
                    <a:cubicBezTo>
                      <a:pt x="52" y="1"/>
                      <a:pt x="52" y="1"/>
                      <a:pt x="52" y="1"/>
                    </a:cubicBezTo>
                    <a:cubicBezTo>
                      <a:pt x="51" y="1"/>
                      <a:pt x="50" y="2"/>
                      <a:pt x="49" y="3"/>
                    </a:cubicBezTo>
                    <a:cubicBezTo>
                      <a:pt x="48" y="3"/>
                      <a:pt x="48" y="3"/>
                      <a:pt x="47" y="3"/>
                    </a:cubicBezTo>
                    <a:cubicBezTo>
                      <a:pt x="47" y="3"/>
                      <a:pt x="46" y="4"/>
                      <a:pt x="46" y="4"/>
                    </a:cubicBezTo>
                    <a:cubicBezTo>
                      <a:pt x="44" y="4"/>
                      <a:pt x="44" y="4"/>
                      <a:pt x="44" y="4"/>
                    </a:cubicBezTo>
                    <a:cubicBezTo>
                      <a:pt x="42" y="5"/>
                      <a:pt x="40" y="6"/>
                      <a:pt x="38" y="6"/>
                    </a:cubicBezTo>
                    <a:cubicBezTo>
                      <a:pt x="38" y="6"/>
                      <a:pt x="38" y="6"/>
                      <a:pt x="38" y="6"/>
                    </a:cubicBezTo>
                    <a:cubicBezTo>
                      <a:pt x="37" y="6"/>
                      <a:pt x="37" y="6"/>
                      <a:pt x="37" y="6"/>
                    </a:cubicBezTo>
                    <a:cubicBezTo>
                      <a:pt x="35" y="6"/>
                      <a:pt x="33" y="6"/>
                      <a:pt x="30" y="6"/>
                    </a:cubicBezTo>
                    <a:cubicBezTo>
                      <a:pt x="30" y="5"/>
                      <a:pt x="30" y="5"/>
                      <a:pt x="30" y="5"/>
                    </a:cubicBezTo>
                    <a:cubicBezTo>
                      <a:pt x="30" y="5"/>
                      <a:pt x="29" y="5"/>
                      <a:pt x="29" y="5"/>
                    </a:cubicBezTo>
                    <a:cubicBezTo>
                      <a:pt x="29" y="5"/>
                      <a:pt x="29" y="5"/>
                      <a:pt x="29" y="5"/>
                    </a:cubicBezTo>
                    <a:cubicBezTo>
                      <a:pt x="29" y="5"/>
                      <a:pt x="28" y="5"/>
                      <a:pt x="28" y="5"/>
                    </a:cubicBezTo>
                    <a:cubicBezTo>
                      <a:pt x="26" y="4"/>
                      <a:pt x="26" y="4"/>
                      <a:pt x="26" y="4"/>
                    </a:cubicBezTo>
                    <a:cubicBezTo>
                      <a:pt x="25" y="4"/>
                      <a:pt x="25" y="4"/>
                      <a:pt x="24" y="4"/>
                    </a:cubicBezTo>
                    <a:cubicBezTo>
                      <a:pt x="24" y="5"/>
                      <a:pt x="24" y="5"/>
                      <a:pt x="24" y="5"/>
                    </a:cubicBezTo>
                    <a:cubicBezTo>
                      <a:pt x="21" y="6"/>
                      <a:pt x="18" y="7"/>
                      <a:pt x="17" y="7"/>
                    </a:cubicBezTo>
                    <a:cubicBezTo>
                      <a:pt x="16" y="7"/>
                      <a:pt x="16" y="7"/>
                      <a:pt x="16" y="7"/>
                    </a:cubicBezTo>
                    <a:cubicBezTo>
                      <a:pt x="15" y="7"/>
                      <a:pt x="13" y="7"/>
                      <a:pt x="12" y="6"/>
                    </a:cubicBezTo>
                    <a:cubicBezTo>
                      <a:pt x="10" y="5"/>
                      <a:pt x="10" y="5"/>
                      <a:pt x="10" y="5"/>
                    </a:cubicBezTo>
                    <a:cubicBezTo>
                      <a:pt x="10" y="6"/>
                      <a:pt x="10" y="7"/>
                      <a:pt x="10" y="8"/>
                    </a:cubicBezTo>
                    <a:cubicBezTo>
                      <a:pt x="10" y="8"/>
                      <a:pt x="10" y="8"/>
                      <a:pt x="10" y="8"/>
                    </a:cubicBezTo>
                    <a:cubicBezTo>
                      <a:pt x="13" y="9"/>
                      <a:pt x="13" y="9"/>
                      <a:pt x="13" y="9"/>
                    </a:cubicBezTo>
                    <a:cubicBezTo>
                      <a:pt x="10" y="11"/>
                      <a:pt x="10" y="11"/>
                      <a:pt x="10" y="11"/>
                    </a:cubicBezTo>
                    <a:cubicBezTo>
                      <a:pt x="10" y="11"/>
                      <a:pt x="9" y="11"/>
                      <a:pt x="9" y="11"/>
                    </a:cubicBezTo>
                    <a:cubicBezTo>
                      <a:pt x="9" y="11"/>
                      <a:pt x="9" y="11"/>
                      <a:pt x="9" y="11"/>
                    </a:cubicBezTo>
                    <a:cubicBezTo>
                      <a:pt x="9" y="11"/>
                      <a:pt x="8" y="11"/>
                      <a:pt x="8" y="12"/>
                    </a:cubicBezTo>
                    <a:cubicBezTo>
                      <a:pt x="8" y="12"/>
                      <a:pt x="8" y="12"/>
                      <a:pt x="8" y="12"/>
                    </a:cubicBezTo>
                    <a:cubicBezTo>
                      <a:pt x="8" y="12"/>
                      <a:pt x="8" y="12"/>
                      <a:pt x="8" y="12"/>
                    </a:cubicBezTo>
                    <a:cubicBezTo>
                      <a:pt x="8" y="12"/>
                      <a:pt x="8" y="12"/>
                      <a:pt x="8" y="12"/>
                    </a:cubicBezTo>
                    <a:cubicBezTo>
                      <a:pt x="8" y="13"/>
                      <a:pt x="7" y="14"/>
                      <a:pt x="6" y="14"/>
                    </a:cubicBezTo>
                    <a:cubicBezTo>
                      <a:pt x="6" y="14"/>
                      <a:pt x="6" y="14"/>
                      <a:pt x="6" y="15"/>
                    </a:cubicBezTo>
                    <a:cubicBezTo>
                      <a:pt x="6" y="15"/>
                      <a:pt x="6" y="15"/>
                      <a:pt x="6" y="15"/>
                    </a:cubicBezTo>
                    <a:cubicBezTo>
                      <a:pt x="6" y="15"/>
                      <a:pt x="6" y="15"/>
                      <a:pt x="6" y="15"/>
                    </a:cubicBezTo>
                    <a:cubicBezTo>
                      <a:pt x="5" y="15"/>
                      <a:pt x="5" y="16"/>
                      <a:pt x="5" y="16"/>
                    </a:cubicBezTo>
                    <a:cubicBezTo>
                      <a:pt x="5" y="17"/>
                      <a:pt x="5" y="17"/>
                      <a:pt x="5" y="17"/>
                    </a:cubicBezTo>
                    <a:cubicBezTo>
                      <a:pt x="4" y="16"/>
                      <a:pt x="4" y="16"/>
                      <a:pt x="4" y="16"/>
                    </a:cubicBezTo>
                    <a:cubicBezTo>
                      <a:pt x="3" y="16"/>
                      <a:pt x="2" y="15"/>
                      <a:pt x="1" y="15"/>
                    </a:cubicBezTo>
                    <a:cubicBezTo>
                      <a:pt x="1" y="15"/>
                      <a:pt x="1" y="16"/>
                      <a:pt x="0" y="16"/>
                    </a:cubicBezTo>
                    <a:cubicBezTo>
                      <a:pt x="0" y="17"/>
                      <a:pt x="0" y="18"/>
                      <a:pt x="0" y="18"/>
                    </a:cubicBezTo>
                    <a:cubicBezTo>
                      <a:pt x="1" y="19"/>
                      <a:pt x="2" y="19"/>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3" name="Freeform 2984">
                <a:extLst>
                  <a:ext uri="{FF2B5EF4-FFF2-40B4-BE49-F238E27FC236}">
                    <a16:creationId xmlns:a16="http://schemas.microsoft.com/office/drawing/2014/main" id="{CC425A31-5801-4F89-9F37-A69D3908D266}"/>
                  </a:ext>
                </a:extLst>
              </p:cNvPr>
              <p:cNvSpPr>
                <a:spLocks/>
              </p:cNvSpPr>
              <p:nvPr/>
            </p:nvSpPr>
            <p:spPr bwMode="auto">
              <a:xfrm>
                <a:off x="4403" y="1962"/>
                <a:ext cx="2" cy="3"/>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0"/>
                      <a:pt x="1" y="0"/>
                    </a:cubicBezTo>
                    <a:cubicBezTo>
                      <a:pt x="0" y="0"/>
                      <a:pt x="0" y="0"/>
                      <a:pt x="0"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4" name="Freeform 2985">
                <a:extLst>
                  <a:ext uri="{FF2B5EF4-FFF2-40B4-BE49-F238E27FC236}">
                    <a16:creationId xmlns:a16="http://schemas.microsoft.com/office/drawing/2014/main" id="{1420CF34-FF43-48BB-91C5-87E6AEECA4D7}"/>
                  </a:ext>
                </a:extLst>
              </p:cNvPr>
              <p:cNvSpPr>
                <a:spLocks/>
              </p:cNvSpPr>
              <p:nvPr/>
            </p:nvSpPr>
            <p:spPr bwMode="auto">
              <a:xfrm>
                <a:off x="4377" y="1948"/>
                <a:ext cx="30" cy="88"/>
              </a:xfrm>
              <a:custGeom>
                <a:avLst/>
                <a:gdLst>
                  <a:gd name="T0" fmla="*/ 1 w 13"/>
                  <a:gd name="T1" fmla="*/ 19 h 37"/>
                  <a:gd name="T2" fmla="*/ 0 w 13"/>
                  <a:gd name="T3" fmla="*/ 20 h 37"/>
                  <a:gd name="T4" fmla="*/ 1 w 13"/>
                  <a:gd name="T5" fmla="*/ 19 h 37"/>
                  <a:gd name="T6" fmla="*/ 1 w 13"/>
                  <a:gd name="T7" fmla="*/ 20 h 37"/>
                  <a:gd name="T8" fmla="*/ 1 w 13"/>
                  <a:gd name="T9" fmla="*/ 20 h 37"/>
                  <a:gd name="T10" fmla="*/ 1 w 13"/>
                  <a:gd name="T11" fmla="*/ 20 h 37"/>
                  <a:gd name="T12" fmla="*/ 6 w 13"/>
                  <a:gd name="T13" fmla="*/ 37 h 37"/>
                  <a:gd name="T14" fmla="*/ 8 w 13"/>
                  <a:gd name="T15" fmla="*/ 30 h 37"/>
                  <a:gd name="T16" fmla="*/ 9 w 13"/>
                  <a:gd name="T17" fmla="*/ 28 h 37"/>
                  <a:gd name="T18" fmla="*/ 10 w 13"/>
                  <a:gd name="T19" fmla="*/ 25 h 37"/>
                  <a:gd name="T20" fmla="*/ 10 w 13"/>
                  <a:gd name="T21" fmla="*/ 24 h 37"/>
                  <a:gd name="T22" fmla="*/ 10 w 13"/>
                  <a:gd name="T23" fmla="*/ 22 h 37"/>
                  <a:gd name="T24" fmla="*/ 11 w 13"/>
                  <a:gd name="T25" fmla="*/ 19 h 37"/>
                  <a:gd name="T26" fmla="*/ 11 w 13"/>
                  <a:gd name="T27" fmla="*/ 18 h 37"/>
                  <a:gd name="T28" fmla="*/ 9 w 13"/>
                  <a:gd name="T29" fmla="*/ 19 h 37"/>
                  <a:gd name="T30" fmla="*/ 9 w 13"/>
                  <a:gd name="T31" fmla="*/ 19 h 37"/>
                  <a:gd name="T32" fmla="*/ 9 w 13"/>
                  <a:gd name="T33" fmla="*/ 19 h 37"/>
                  <a:gd name="T34" fmla="*/ 9 w 13"/>
                  <a:gd name="T35" fmla="*/ 19 h 37"/>
                  <a:gd name="T36" fmla="*/ 7 w 13"/>
                  <a:gd name="T37" fmla="*/ 19 h 37"/>
                  <a:gd name="T38" fmla="*/ 10 w 13"/>
                  <a:gd name="T39" fmla="*/ 15 h 37"/>
                  <a:gd name="T40" fmla="*/ 7 w 13"/>
                  <a:gd name="T41" fmla="*/ 14 h 37"/>
                  <a:gd name="T42" fmla="*/ 8 w 13"/>
                  <a:gd name="T43" fmla="*/ 8 h 37"/>
                  <a:gd name="T44" fmla="*/ 9 w 13"/>
                  <a:gd name="T45" fmla="*/ 6 h 37"/>
                  <a:gd name="T46" fmla="*/ 10 w 13"/>
                  <a:gd name="T47" fmla="*/ 6 h 37"/>
                  <a:gd name="T48" fmla="*/ 10 w 13"/>
                  <a:gd name="T49" fmla="*/ 6 h 37"/>
                  <a:gd name="T50" fmla="*/ 13 w 13"/>
                  <a:gd name="T51" fmla="*/ 3 h 37"/>
                  <a:gd name="T52" fmla="*/ 13 w 13"/>
                  <a:gd name="T53" fmla="*/ 3 h 37"/>
                  <a:gd name="T54" fmla="*/ 13 w 13"/>
                  <a:gd name="T55" fmla="*/ 3 h 37"/>
                  <a:gd name="T56" fmla="*/ 13 w 13"/>
                  <a:gd name="T57" fmla="*/ 1 h 37"/>
                  <a:gd name="T58" fmla="*/ 13 w 13"/>
                  <a:gd name="T59" fmla="*/ 0 h 37"/>
                  <a:gd name="T60" fmla="*/ 11 w 13"/>
                  <a:gd name="T61" fmla="*/ 1 h 37"/>
                  <a:gd name="T62" fmla="*/ 11 w 13"/>
                  <a:gd name="T63" fmla="*/ 1 h 37"/>
                  <a:gd name="T64" fmla="*/ 8 w 13"/>
                  <a:gd name="T65" fmla="*/ 1 h 37"/>
                  <a:gd name="T66" fmla="*/ 8 w 13"/>
                  <a:gd name="T67" fmla="*/ 2 h 37"/>
                  <a:gd name="T68" fmla="*/ 7 w 13"/>
                  <a:gd name="T69" fmla="*/ 4 h 37"/>
                  <a:gd name="T70" fmla="*/ 2 w 13"/>
                  <a:gd name="T71" fmla="*/ 17 h 37"/>
                  <a:gd name="T72" fmla="*/ 2 w 13"/>
                  <a:gd name="T73" fmla="*/ 17 h 37"/>
                  <a:gd name="T74" fmla="*/ 0 w 13"/>
                  <a:gd name="T75" fmla="*/ 19 h 37"/>
                  <a:gd name="T76" fmla="*/ 1 w 13"/>
                  <a:gd name="T77"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 h="37">
                    <a:moveTo>
                      <a:pt x="1" y="19"/>
                    </a:moveTo>
                    <a:cubicBezTo>
                      <a:pt x="0" y="20"/>
                      <a:pt x="0" y="20"/>
                      <a:pt x="0" y="20"/>
                    </a:cubicBezTo>
                    <a:cubicBezTo>
                      <a:pt x="1" y="19"/>
                      <a:pt x="1" y="19"/>
                      <a:pt x="1" y="19"/>
                    </a:cubicBezTo>
                    <a:cubicBezTo>
                      <a:pt x="1" y="19"/>
                      <a:pt x="1" y="20"/>
                      <a:pt x="1" y="20"/>
                    </a:cubicBezTo>
                    <a:cubicBezTo>
                      <a:pt x="1" y="20"/>
                      <a:pt x="1" y="20"/>
                      <a:pt x="1" y="20"/>
                    </a:cubicBezTo>
                    <a:cubicBezTo>
                      <a:pt x="1" y="20"/>
                      <a:pt x="1" y="20"/>
                      <a:pt x="1" y="20"/>
                    </a:cubicBezTo>
                    <a:cubicBezTo>
                      <a:pt x="6" y="37"/>
                      <a:pt x="6" y="37"/>
                      <a:pt x="6" y="37"/>
                    </a:cubicBezTo>
                    <a:cubicBezTo>
                      <a:pt x="7" y="35"/>
                      <a:pt x="8" y="32"/>
                      <a:pt x="8" y="30"/>
                    </a:cubicBezTo>
                    <a:cubicBezTo>
                      <a:pt x="9" y="28"/>
                      <a:pt x="9" y="28"/>
                      <a:pt x="9" y="28"/>
                    </a:cubicBezTo>
                    <a:cubicBezTo>
                      <a:pt x="9" y="27"/>
                      <a:pt x="9" y="25"/>
                      <a:pt x="10" y="25"/>
                    </a:cubicBezTo>
                    <a:cubicBezTo>
                      <a:pt x="10" y="24"/>
                      <a:pt x="10" y="24"/>
                      <a:pt x="10" y="24"/>
                    </a:cubicBezTo>
                    <a:cubicBezTo>
                      <a:pt x="10" y="23"/>
                      <a:pt x="10" y="23"/>
                      <a:pt x="10" y="22"/>
                    </a:cubicBezTo>
                    <a:cubicBezTo>
                      <a:pt x="10" y="21"/>
                      <a:pt x="11" y="20"/>
                      <a:pt x="11" y="19"/>
                    </a:cubicBezTo>
                    <a:cubicBezTo>
                      <a:pt x="11" y="18"/>
                      <a:pt x="11" y="18"/>
                      <a:pt x="11" y="18"/>
                    </a:cubicBezTo>
                    <a:cubicBezTo>
                      <a:pt x="10" y="19"/>
                      <a:pt x="10" y="19"/>
                      <a:pt x="9" y="19"/>
                    </a:cubicBezTo>
                    <a:cubicBezTo>
                      <a:pt x="9" y="19"/>
                      <a:pt x="9" y="19"/>
                      <a:pt x="9" y="19"/>
                    </a:cubicBezTo>
                    <a:cubicBezTo>
                      <a:pt x="9" y="19"/>
                      <a:pt x="9" y="19"/>
                      <a:pt x="9" y="19"/>
                    </a:cubicBezTo>
                    <a:cubicBezTo>
                      <a:pt x="9" y="19"/>
                      <a:pt x="9" y="19"/>
                      <a:pt x="9" y="19"/>
                    </a:cubicBezTo>
                    <a:cubicBezTo>
                      <a:pt x="8" y="19"/>
                      <a:pt x="7" y="19"/>
                      <a:pt x="7" y="19"/>
                    </a:cubicBezTo>
                    <a:cubicBezTo>
                      <a:pt x="7" y="18"/>
                      <a:pt x="7" y="14"/>
                      <a:pt x="10" y="15"/>
                    </a:cubicBezTo>
                    <a:cubicBezTo>
                      <a:pt x="9" y="14"/>
                      <a:pt x="8" y="14"/>
                      <a:pt x="7" y="14"/>
                    </a:cubicBezTo>
                    <a:cubicBezTo>
                      <a:pt x="7" y="12"/>
                      <a:pt x="7" y="9"/>
                      <a:pt x="8" y="8"/>
                    </a:cubicBezTo>
                    <a:cubicBezTo>
                      <a:pt x="8" y="7"/>
                      <a:pt x="9" y="6"/>
                      <a:pt x="9" y="6"/>
                    </a:cubicBezTo>
                    <a:cubicBezTo>
                      <a:pt x="9" y="6"/>
                      <a:pt x="9" y="6"/>
                      <a:pt x="10" y="6"/>
                    </a:cubicBezTo>
                    <a:cubicBezTo>
                      <a:pt x="10" y="6"/>
                      <a:pt x="10" y="6"/>
                      <a:pt x="10" y="6"/>
                    </a:cubicBezTo>
                    <a:cubicBezTo>
                      <a:pt x="13" y="3"/>
                      <a:pt x="13" y="3"/>
                      <a:pt x="13" y="3"/>
                    </a:cubicBezTo>
                    <a:cubicBezTo>
                      <a:pt x="13" y="3"/>
                      <a:pt x="13" y="3"/>
                      <a:pt x="13" y="3"/>
                    </a:cubicBezTo>
                    <a:cubicBezTo>
                      <a:pt x="13" y="3"/>
                      <a:pt x="13" y="3"/>
                      <a:pt x="13" y="3"/>
                    </a:cubicBezTo>
                    <a:cubicBezTo>
                      <a:pt x="13" y="3"/>
                      <a:pt x="13" y="2"/>
                      <a:pt x="13" y="1"/>
                    </a:cubicBezTo>
                    <a:cubicBezTo>
                      <a:pt x="13" y="1"/>
                      <a:pt x="13" y="1"/>
                      <a:pt x="13" y="0"/>
                    </a:cubicBezTo>
                    <a:cubicBezTo>
                      <a:pt x="12" y="1"/>
                      <a:pt x="12" y="1"/>
                      <a:pt x="11" y="1"/>
                    </a:cubicBezTo>
                    <a:cubicBezTo>
                      <a:pt x="11" y="1"/>
                      <a:pt x="11" y="1"/>
                      <a:pt x="11" y="1"/>
                    </a:cubicBezTo>
                    <a:cubicBezTo>
                      <a:pt x="8" y="1"/>
                      <a:pt x="8" y="1"/>
                      <a:pt x="8" y="1"/>
                    </a:cubicBezTo>
                    <a:cubicBezTo>
                      <a:pt x="8" y="1"/>
                      <a:pt x="8" y="1"/>
                      <a:pt x="8" y="2"/>
                    </a:cubicBezTo>
                    <a:cubicBezTo>
                      <a:pt x="8" y="3"/>
                      <a:pt x="8" y="4"/>
                      <a:pt x="7" y="4"/>
                    </a:cubicBezTo>
                    <a:cubicBezTo>
                      <a:pt x="6" y="9"/>
                      <a:pt x="4" y="13"/>
                      <a:pt x="2" y="17"/>
                    </a:cubicBezTo>
                    <a:cubicBezTo>
                      <a:pt x="2" y="17"/>
                      <a:pt x="2" y="17"/>
                      <a:pt x="2" y="17"/>
                    </a:cubicBezTo>
                    <a:cubicBezTo>
                      <a:pt x="2" y="17"/>
                      <a:pt x="1" y="18"/>
                      <a:pt x="0" y="19"/>
                    </a:cubicBezTo>
                    <a:lnTo>
                      <a:pt x="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5" name="Rectangle 2986">
                <a:extLst>
                  <a:ext uri="{FF2B5EF4-FFF2-40B4-BE49-F238E27FC236}">
                    <a16:creationId xmlns:a16="http://schemas.microsoft.com/office/drawing/2014/main" id="{149570A9-7371-4852-8F98-B7811B86EC47}"/>
                  </a:ext>
                </a:extLst>
              </p:cNvPr>
              <p:cNvSpPr>
                <a:spLocks noChangeArrowheads="1"/>
              </p:cNvSpPr>
              <p:nvPr/>
            </p:nvSpPr>
            <p:spPr bwMode="auto">
              <a:xfrm>
                <a:off x="4630" y="183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6" name="Freeform 2987">
                <a:extLst>
                  <a:ext uri="{FF2B5EF4-FFF2-40B4-BE49-F238E27FC236}">
                    <a16:creationId xmlns:a16="http://schemas.microsoft.com/office/drawing/2014/main" id="{96A949AA-337C-4FF5-8742-70822FAA7E02}"/>
                  </a:ext>
                </a:extLst>
              </p:cNvPr>
              <p:cNvSpPr>
                <a:spLocks/>
              </p:cNvSpPr>
              <p:nvPr/>
            </p:nvSpPr>
            <p:spPr bwMode="auto">
              <a:xfrm>
                <a:off x="4178" y="1697"/>
                <a:ext cx="449" cy="173"/>
              </a:xfrm>
              <a:custGeom>
                <a:avLst/>
                <a:gdLst>
                  <a:gd name="T0" fmla="*/ 94 w 190"/>
                  <a:gd name="T1" fmla="*/ 65 h 73"/>
                  <a:gd name="T2" fmla="*/ 101 w 190"/>
                  <a:gd name="T3" fmla="*/ 72 h 73"/>
                  <a:gd name="T4" fmla="*/ 103 w 190"/>
                  <a:gd name="T5" fmla="*/ 72 h 73"/>
                  <a:gd name="T6" fmla="*/ 105 w 190"/>
                  <a:gd name="T7" fmla="*/ 70 h 73"/>
                  <a:gd name="T8" fmla="*/ 106 w 190"/>
                  <a:gd name="T9" fmla="*/ 67 h 73"/>
                  <a:gd name="T10" fmla="*/ 114 w 190"/>
                  <a:gd name="T11" fmla="*/ 63 h 73"/>
                  <a:gd name="T12" fmla="*/ 126 w 190"/>
                  <a:gd name="T13" fmla="*/ 61 h 73"/>
                  <a:gd name="T14" fmla="*/ 129 w 190"/>
                  <a:gd name="T15" fmla="*/ 62 h 73"/>
                  <a:gd name="T16" fmla="*/ 137 w 190"/>
                  <a:gd name="T17" fmla="*/ 63 h 73"/>
                  <a:gd name="T18" fmla="*/ 145 w 190"/>
                  <a:gd name="T19" fmla="*/ 60 h 73"/>
                  <a:gd name="T20" fmla="*/ 162 w 190"/>
                  <a:gd name="T21" fmla="*/ 57 h 73"/>
                  <a:gd name="T22" fmla="*/ 173 w 190"/>
                  <a:gd name="T23" fmla="*/ 55 h 73"/>
                  <a:gd name="T24" fmla="*/ 175 w 190"/>
                  <a:gd name="T25" fmla="*/ 55 h 73"/>
                  <a:gd name="T26" fmla="*/ 183 w 190"/>
                  <a:gd name="T27" fmla="*/ 56 h 73"/>
                  <a:gd name="T28" fmla="*/ 187 w 190"/>
                  <a:gd name="T29" fmla="*/ 59 h 73"/>
                  <a:gd name="T30" fmla="*/ 190 w 190"/>
                  <a:gd name="T31" fmla="*/ 58 h 73"/>
                  <a:gd name="T32" fmla="*/ 190 w 190"/>
                  <a:gd name="T33" fmla="*/ 57 h 73"/>
                  <a:gd name="T34" fmla="*/ 188 w 190"/>
                  <a:gd name="T35" fmla="*/ 53 h 73"/>
                  <a:gd name="T36" fmla="*/ 188 w 190"/>
                  <a:gd name="T37" fmla="*/ 52 h 73"/>
                  <a:gd name="T38" fmla="*/ 186 w 190"/>
                  <a:gd name="T39" fmla="*/ 51 h 73"/>
                  <a:gd name="T40" fmla="*/ 185 w 190"/>
                  <a:gd name="T41" fmla="*/ 48 h 73"/>
                  <a:gd name="T42" fmla="*/ 186 w 190"/>
                  <a:gd name="T43" fmla="*/ 44 h 73"/>
                  <a:gd name="T44" fmla="*/ 184 w 190"/>
                  <a:gd name="T45" fmla="*/ 36 h 73"/>
                  <a:gd name="T46" fmla="*/ 184 w 190"/>
                  <a:gd name="T47" fmla="*/ 31 h 73"/>
                  <a:gd name="T48" fmla="*/ 185 w 190"/>
                  <a:gd name="T49" fmla="*/ 26 h 73"/>
                  <a:gd name="T50" fmla="*/ 180 w 190"/>
                  <a:gd name="T51" fmla="*/ 25 h 73"/>
                  <a:gd name="T52" fmla="*/ 178 w 190"/>
                  <a:gd name="T53" fmla="*/ 21 h 73"/>
                  <a:gd name="T54" fmla="*/ 179 w 190"/>
                  <a:gd name="T55" fmla="*/ 17 h 73"/>
                  <a:gd name="T56" fmla="*/ 179 w 190"/>
                  <a:gd name="T57" fmla="*/ 15 h 73"/>
                  <a:gd name="T58" fmla="*/ 178 w 190"/>
                  <a:gd name="T59" fmla="*/ 14 h 73"/>
                  <a:gd name="T60" fmla="*/ 173 w 190"/>
                  <a:gd name="T61" fmla="*/ 9 h 73"/>
                  <a:gd name="T62" fmla="*/ 172 w 190"/>
                  <a:gd name="T63" fmla="*/ 8 h 73"/>
                  <a:gd name="T64" fmla="*/ 169 w 190"/>
                  <a:gd name="T65" fmla="*/ 7 h 73"/>
                  <a:gd name="T66" fmla="*/ 163 w 190"/>
                  <a:gd name="T67" fmla="*/ 8 h 73"/>
                  <a:gd name="T68" fmla="*/ 159 w 190"/>
                  <a:gd name="T69" fmla="*/ 10 h 73"/>
                  <a:gd name="T70" fmla="*/ 150 w 190"/>
                  <a:gd name="T71" fmla="*/ 11 h 73"/>
                  <a:gd name="T72" fmla="*/ 137 w 190"/>
                  <a:gd name="T73" fmla="*/ 12 h 73"/>
                  <a:gd name="T74" fmla="*/ 118 w 190"/>
                  <a:gd name="T75" fmla="*/ 12 h 73"/>
                  <a:gd name="T76" fmla="*/ 100 w 190"/>
                  <a:gd name="T77" fmla="*/ 4 h 73"/>
                  <a:gd name="T78" fmla="*/ 90 w 190"/>
                  <a:gd name="T79" fmla="*/ 0 h 73"/>
                  <a:gd name="T80" fmla="*/ 60 w 190"/>
                  <a:gd name="T81" fmla="*/ 6 h 73"/>
                  <a:gd name="T82" fmla="*/ 39 w 190"/>
                  <a:gd name="T83" fmla="*/ 11 h 73"/>
                  <a:gd name="T84" fmla="*/ 33 w 190"/>
                  <a:gd name="T85" fmla="*/ 12 h 73"/>
                  <a:gd name="T86" fmla="*/ 32 w 190"/>
                  <a:gd name="T87" fmla="*/ 17 h 73"/>
                  <a:gd name="T88" fmla="*/ 19 w 190"/>
                  <a:gd name="T89" fmla="*/ 20 h 73"/>
                  <a:gd name="T90" fmla="*/ 13 w 190"/>
                  <a:gd name="T91" fmla="*/ 20 h 73"/>
                  <a:gd name="T92" fmla="*/ 1 w 190"/>
                  <a:gd name="T93" fmla="*/ 29 h 73"/>
                  <a:gd name="T94" fmla="*/ 9 w 190"/>
                  <a:gd name="T95" fmla="*/ 30 h 73"/>
                  <a:gd name="T96" fmla="*/ 10 w 190"/>
                  <a:gd name="T97" fmla="*/ 38 h 73"/>
                  <a:gd name="T98" fmla="*/ 6 w 190"/>
                  <a:gd name="T99" fmla="*/ 44 h 73"/>
                  <a:gd name="T100" fmla="*/ 4 w 190"/>
                  <a:gd name="T101" fmla="*/ 45 h 73"/>
                  <a:gd name="T102" fmla="*/ 6 w 190"/>
                  <a:gd name="T103" fmla="*/ 46 h 73"/>
                  <a:gd name="T104" fmla="*/ 12 w 190"/>
                  <a:gd name="T105" fmla="*/ 56 h 73"/>
                  <a:gd name="T106" fmla="*/ 12 w 190"/>
                  <a:gd name="T107" fmla="*/ 61 h 73"/>
                  <a:gd name="T108" fmla="*/ 16 w 190"/>
                  <a:gd name="T109" fmla="*/ 63 h 73"/>
                  <a:gd name="T110" fmla="*/ 20 w 190"/>
                  <a:gd name="T111" fmla="*/ 65 h 73"/>
                  <a:gd name="T112" fmla="*/ 26 w 190"/>
                  <a:gd name="T113" fmla="*/ 63 h 73"/>
                  <a:gd name="T114" fmla="*/ 38 w 190"/>
                  <a:gd name="T115" fmla="*/ 70 h 73"/>
                  <a:gd name="T116" fmla="*/ 45 w 190"/>
                  <a:gd name="T117" fmla="*/ 68 h 73"/>
                  <a:gd name="T118" fmla="*/ 62 w 190"/>
                  <a:gd name="T119" fmla="*/ 6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73">
                    <a:moveTo>
                      <a:pt x="82" y="68"/>
                    </a:moveTo>
                    <a:cubicBezTo>
                      <a:pt x="84" y="65"/>
                      <a:pt x="86" y="64"/>
                      <a:pt x="89" y="63"/>
                    </a:cubicBezTo>
                    <a:cubicBezTo>
                      <a:pt x="89" y="63"/>
                      <a:pt x="93" y="65"/>
                      <a:pt x="93" y="65"/>
                    </a:cubicBezTo>
                    <a:cubicBezTo>
                      <a:pt x="93" y="65"/>
                      <a:pt x="94" y="65"/>
                      <a:pt x="94" y="65"/>
                    </a:cubicBezTo>
                    <a:cubicBezTo>
                      <a:pt x="94" y="65"/>
                      <a:pt x="95" y="66"/>
                      <a:pt x="95" y="66"/>
                    </a:cubicBezTo>
                    <a:cubicBezTo>
                      <a:pt x="97" y="66"/>
                      <a:pt x="99" y="62"/>
                      <a:pt x="101" y="62"/>
                    </a:cubicBezTo>
                    <a:cubicBezTo>
                      <a:pt x="106" y="62"/>
                      <a:pt x="102" y="67"/>
                      <a:pt x="100" y="68"/>
                    </a:cubicBezTo>
                    <a:cubicBezTo>
                      <a:pt x="99" y="70"/>
                      <a:pt x="101" y="71"/>
                      <a:pt x="101" y="72"/>
                    </a:cubicBezTo>
                    <a:cubicBezTo>
                      <a:pt x="101" y="72"/>
                      <a:pt x="101" y="72"/>
                      <a:pt x="101" y="72"/>
                    </a:cubicBezTo>
                    <a:cubicBezTo>
                      <a:pt x="102" y="72"/>
                      <a:pt x="102" y="72"/>
                      <a:pt x="102" y="73"/>
                    </a:cubicBezTo>
                    <a:cubicBezTo>
                      <a:pt x="103" y="72"/>
                      <a:pt x="103" y="72"/>
                      <a:pt x="103" y="72"/>
                    </a:cubicBezTo>
                    <a:cubicBezTo>
                      <a:pt x="103" y="72"/>
                      <a:pt x="103" y="72"/>
                      <a:pt x="103" y="72"/>
                    </a:cubicBezTo>
                    <a:cubicBezTo>
                      <a:pt x="104" y="71"/>
                      <a:pt x="104" y="71"/>
                      <a:pt x="104" y="71"/>
                    </a:cubicBezTo>
                    <a:cubicBezTo>
                      <a:pt x="104" y="71"/>
                      <a:pt x="104" y="71"/>
                      <a:pt x="104" y="71"/>
                    </a:cubicBezTo>
                    <a:cubicBezTo>
                      <a:pt x="104" y="71"/>
                      <a:pt x="104" y="71"/>
                      <a:pt x="104" y="71"/>
                    </a:cubicBezTo>
                    <a:cubicBezTo>
                      <a:pt x="104" y="70"/>
                      <a:pt x="104" y="70"/>
                      <a:pt x="105" y="70"/>
                    </a:cubicBezTo>
                    <a:cubicBezTo>
                      <a:pt x="105" y="69"/>
                      <a:pt x="105" y="69"/>
                      <a:pt x="105" y="69"/>
                    </a:cubicBezTo>
                    <a:cubicBezTo>
                      <a:pt x="105" y="69"/>
                      <a:pt x="105" y="69"/>
                      <a:pt x="105" y="69"/>
                    </a:cubicBezTo>
                    <a:cubicBezTo>
                      <a:pt x="106" y="68"/>
                      <a:pt x="106" y="68"/>
                      <a:pt x="106" y="68"/>
                    </a:cubicBezTo>
                    <a:cubicBezTo>
                      <a:pt x="106" y="68"/>
                      <a:pt x="106" y="67"/>
                      <a:pt x="106" y="67"/>
                    </a:cubicBezTo>
                    <a:cubicBezTo>
                      <a:pt x="106" y="65"/>
                      <a:pt x="107" y="64"/>
                      <a:pt x="107" y="63"/>
                    </a:cubicBezTo>
                    <a:cubicBezTo>
                      <a:pt x="108" y="60"/>
                      <a:pt x="108" y="60"/>
                      <a:pt x="108" y="60"/>
                    </a:cubicBezTo>
                    <a:cubicBezTo>
                      <a:pt x="112" y="63"/>
                      <a:pt x="112" y="63"/>
                      <a:pt x="112" y="63"/>
                    </a:cubicBezTo>
                    <a:cubicBezTo>
                      <a:pt x="113" y="64"/>
                      <a:pt x="114" y="63"/>
                      <a:pt x="114" y="63"/>
                    </a:cubicBezTo>
                    <a:cubicBezTo>
                      <a:pt x="115" y="63"/>
                      <a:pt x="115" y="63"/>
                      <a:pt x="115" y="63"/>
                    </a:cubicBezTo>
                    <a:cubicBezTo>
                      <a:pt x="117" y="63"/>
                      <a:pt x="119" y="62"/>
                      <a:pt x="122" y="61"/>
                    </a:cubicBezTo>
                    <a:cubicBezTo>
                      <a:pt x="122" y="61"/>
                      <a:pt x="122" y="61"/>
                      <a:pt x="122" y="61"/>
                    </a:cubicBezTo>
                    <a:cubicBezTo>
                      <a:pt x="124" y="60"/>
                      <a:pt x="124" y="60"/>
                      <a:pt x="126" y="61"/>
                    </a:cubicBezTo>
                    <a:cubicBezTo>
                      <a:pt x="128" y="61"/>
                      <a:pt x="128" y="61"/>
                      <a:pt x="128" y="61"/>
                    </a:cubicBezTo>
                    <a:cubicBezTo>
                      <a:pt x="129" y="61"/>
                      <a:pt x="129" y="62"/>
                      <a:pt x="129" y="62"/>
                    </a:cubicBezTo>
                    <a:cubicBezTo>
                      <a:pt x="129" y="62"/>
                      <a:pt x="129" y="62"/>
                      <a:pt x="129" y="62"/>
                    </a:cubicBezTo>
                    <a:cubicBezTo>
                      <a:pt x="129" y="62"/>
                      <a:pt x="129" y="62"/>
                      <a:pt x="129" y="62"/>
                    </a:cubicBezTo>
                    <a:cubicBezTo>
                      <a:pt x="130" y="62"/>
                      <a:pt x="130" y="62"/>
                      <a:pt x="130" y="62"/>
                    </a:cubicBezTo>
                    <a:cubicBezTo>
                      <a:pt x="132" y="63"/>
                      <a:pt x="134" y="63"/>
                      <a:pt x="136" y="63"/>
                    </a:cubicBezTo>
                    <a:cubicBezTo>
                      <a:pt x="136" y="63"/>
                      <a:pt x="136" y="63"/>
                      <a:pt x="137" y="63"/>
                    </a:cubicBezTo>
                    <a:cubicBezTo>
                      <a:pt x="137" y="63"/>
                      <a:pt x="137" y="63"/>
                      <a:pt x="137" y="63"/>
                    </a:cubicBezTo>
                    <a:cubicBezTo>
                      <a:pt x="137" y="63"/>
                      <a:pt x="137" y="63"/>
                      <a:pt x="137" y="63"/>
                    </a:cubicBezTo>
                    <a:cubicBezTo>
                      <a:pt x="139" y="62"/>
                      <a:pt x="141" y="62"/>
                      <a:pt x="142" y="61"/>
                    </a:cubicBezTo>
                    <a:cubicBezTo>
                      <a:pt x="144" y="60"/>
                      <a:pt x="144" y="60"/>
                      <a:pt x="144" y="60"/>
                    </a:cubicBezTo>
                    <a:cubicBezTo>
                      <a:pt x="145" y="60"/>
                      <a:pt x="145" y="60"/>
                      <a:pt x="145" y="60"/>
                    </a:cubicBezTo>
                    <a:cubicBezTo>
                      <a:pt x="146" y="60"/>
                      <a:pt x="146" y="60"/>
                      <a:pt x="146" y="59"/>
                    </a:cubicBezTo>
                    <a:cubicBezTo>
                      <a:pt x="147" y="59"/>
                      <a:pt x="147" y="59"/>
                      <a:pt x="147" y="59"/>
                    </a:cubicBezTo>
                    <a:cubicBezTo>
                      <a:pt x="148" y="59"/>
                      <a:pt x="150" y="58"/>
                      <a:pt x="151" y="58"/>
                    </a:cubicBezTo>
                    <a:cubicBezTo>
                      <a:pt x="156" y="58"/>
                      <a:pt x="159" y="58"/>
                      <a:pt x="162" y="57"/>
                    </a:cubicBezTo>
                    <a:cubicBezTo>
                      <a:pt x="163" y="57"/>
                      <a:pt x="165" y="57"/>
                      <a:pt x="166" y="56"/>
                    </a:cubicBezTo>
                    <a:cubicBezTo>
                      <a:pt x="167" y="56"/>
                      <a:pt x="167" y="56"/>
                      <a:pt x="167" y="56"/>
                    </a:cubicBezTo>
                    <a:cubicBezTo>
                      <a:pt x="167" y="57"/>
                      <a:pt x="167" y="57"/>
                      <a:pt x="167" y="57"/>
                    </a:cubicBezTo>
                    <a:cubicBezTo>
                      <a:pt x="169" y="56"/>
                      <a:pt x="170" y="55"/>
                      <a:pt x="173" y="55"/>
                    </a:cubicBezTo>
                    <a:cubicBezTo>
                      <a:pt x="174" y="55"/>
                      <a:pt x="174" y="55"/>
                      <a:pt x="174" y="55"/>
                    </a:cubicBezTo>
                    <a:cubicBezTo>
                      <a:pt x="174" y="55"/>
                      <a:pt x="174" y="55"/>
                      <a:pt x="174" y="55"/>
                    </a:cubicBezTo>
                    <a:cubicBezTo>
                      <a:pt x="174" y="55"/>
                      <a:pt x="174" y="55"/>
                      <a:pt x="174" y="55"/>
                    </a:cubicBezTo>
                    <a:cubicBezTo>
                      <a:pt x="175" y="55"/>
                      <a:pt x="175" y="55"/>
                      <a:pt x="175" y="55"/>
                    </a:cubicBezTo>
                    <a:cubicBezTo>
                      <a:pt x="175" y="55"/>
                      <a:pt x="175" y="55"/>
                      <a:pt x="175" y="55"/>
                    </a:cubicBezTo>
                    <a:cubicBezTo>
                      <a:pt x="175" y="55"/>
                      <a:pt x="175" y="55"/>
                      <a:pt x="176" y="55"/>
                    </a:cubicBezTo>
                    <a:cubicBezTo>
                      <a:pt x="177" y="55"/>
                      <a:pt x="177" y="55"/>
                      <a:pt x="177" y="55"/>
                    </a:cubicBezTo>
                    <a:cubicBezTo>
                      <a:pt x="179" y="56"/>
                      <a:pt x="181" y="56"/>
                      <a:pt x="183" y="56"/>
                    </a:cubicBezTo>
                    <a:cubicBezTo>
                      <a:pt x="186" y="55"/>
                      <a:pt x="187" y="57"/>
                      <a:pt x="187" y="58"/>
                    </a:cubicBezTo>
                    <a:cubicBezTo>
                      <a:pt x="187" y="58"/>
                      <a:pt x="187" y="58"/>
                      <a:pt x="187" y="58"/>
                    </a:cubicBezTo>
                    <a:cubicBezTo>
                      <a:pt x="187" y="58"/>
                      <a:pt x="187" y="58"/>
                      <a:pt x="187" y="58"/>
                    </a:cubicBezTo>
                    <a:cubicBezTo>
                      <a:pt x="187" y="59"/>
                      <a:pt x="187" y="59"/>
                      <a:pt x="187" y="59"/>
                    </a:cubicBezTo>
                    <a:cubicBezTo>
                      <a:pt x="188" y="59"/>
                      <a:pt x="188" y="59"/>
                      <a:pt x="188" y="59"/>
                    </a:cubicBezTo>
                    <a:cubicBezTo>
                      <a:pt x="188" y="59"/>
                      <a:pt x="189" y="58"/>
                      <a:pt x="189" y="58"/>
                    </a:cubicBezTo>
                    <a:cubicBezTo>
                      <a:pt x="190" y="58"/>
                      <a:pt x="190" y="58"/>
                      <a:pt x="190" y="58"/>
                    </a:cubicBezTo>
                    <a:cubicBezTo>
                      <a:pt x="190" y="58"/>
                      <a:pt x="190" y="58"/>
                      <a:pt x="190" y="58"/>
                    </a:cubicBezTo>
                    <a:cubicBezTo>
                      <a:pt x="190" y="58"/>
                      <a:pt x="190" y="57"/>
                      <a:pt x="190" y="57"/>
                    </a:cubicBezTo>
                    <a:cubicBezTo>
                      <a:pt x="190" y="57"/>
                      <a:pt x="190" y="57"/>
                      <a:pt x="190" y="57"/>
                    </a:cubicBezTo>
                    <a:cubicBezTo>
                      <a:pt x="190" y="57"/>
                      <a:pt x="190" y="57"/>
                      <a:pt x="190" y="57"/>
                    </a:cubicBezTo>
                    <a:cubicBezTo>
                      <a:pt x="190" y="57"/>
                      <a:pt x="190" y="57"/>
                      <a:pt x="190" y="57"/>
                    </a:cubicBezTo>
                    <a:cubicBezTo>
                      <a:pt x="189" y="56"/>
                      <a:pt x="189" y="56"/>
                      <a:pt x="189" y="56"/>
                    </a:cubicBezTo>
                    <a:cubicBezTo>
                      <a:pt x="189" y="56"/>
                      <a:pt x="189" y="56"/>
                      <a:pt x="189" y="56"/>
                    </a:cubicBezTo>
                    <a:cubicBezTo>
                      <a:pt x="188" y="55"/>
                      <a:pt x="188" y="55"/>
                      <a:pt x="188" y="55"/>
                    </a:cubicBezTo>
                    <a:cubicBezTo>
                      <a:pt x="188" y="54"/>
                      <a:pt x="188" y="54"/>
                      <a:pt x="188" y="53"/>
                    </a:cubicBezTo>
                    <a:cubicBezTo>
                      <a:pt x="188" y="53"/>
                      <a:pt x="188" y="53"/>
                      <a:pt x="188" y="53"/>
                    </a:cubicBezTo>
                    <a:cubicBezTo>
                      <a:pt x="188" y="53"/>
                      <a:pt x="188" y="53"/>
                      <a:pt x="188" y="52"/>
                    </a:cubicBezTo>
                    <a:cubicBezTo>
                      <a:pt x="188" y="52"/>
                      <a:pt x="188" y="52"/>
                      <a:pt x="188" y="52"/>
                    </a:cubicBezTo>
                    <a:cubicBezTo>
                      <a:pt x="188" y="52"/>
                      <a:pt x="188" y="52"/>
                      <a:pt x="188" y="52"/>
                    </a:cubicBezTo>
                    <a:cubicBezTo>
                      <a:pt x="188" y="52"/>
                      <a:pt x="188" y="52"/>
                      <a:pt x="187" y="52"/>
                    </a:cubicBezTo>
                    <a:cubicBezTo>
                      <a:pt x="187" y="52"/>
                      <a:pt x="187" y="52"/>
                      <a:pt x="187" y="52"/>
                    </a:cubicBezTo>
                    <a:cubicBezTo>
                      <a:pt x="187" y="52"/>
                      <a:pt x="187" y="51"/>
                      <a:pt x="187" y="51"/>
                    </a:cubicBezTo>
                    <a:cubicBezTo>
                      <a:pt x="186" y="51"/>
                      <a:pt x="186" y="51"/>
                      <a:pt x="186" y="51"/>
                    </a:cubicBezTo>
                    <a:cubicBezTo>
                      <a:pt x="186" y="51"/>
                      <a:pt x="186" y="51"/>
                      <a:pt x="185" y="51"/>
                    </a:cubicBezTo>
                    <a:cubicBezTo>
                      <a:pt x="185" y="51"/>
                      <a:pt x="185" y="51"/>
                      <a:pt x="185" y="51"/>
                    </a:cubicBezTo>
                    <a:cubicBezTo>
                      <a:pt x="185" y="50"/>
                      <a:pt x="185" y="50"/>
                      <a:pt x="185" y="49"/>
                    </a:cubicBezTo>
                    <a:cubicBezTo>
                      <a:pt x="185" y="49"/>
                      <a:pt x="185" y="49"/>
                      <a:pt x="185" y="48"/>
                    </a:cubicBezTo>
                    <a:cubicBezTo>
                      <a:pt x="185" y="48"/>
                      <a:pt x="185" y="48"/>
                      <a:pt x="185" y="47"/>
                    </a:cubicBezTo>
                    <a:cubicBezTo>
                      <a:pt x="185" y="47"/>
                      <a:pt x="186" y="46"/>
                      <a:pt x="187" y="45"/>
                    </a:cubicBezTo>
                    <a:cubicBezTo>
                      <a:pt x="185" y="46"/>
                      <a:pt x="185" y="46"/>
                      <a:pt x="185" y="46"/>
                    </a:cubicBezTo>
                    <a:cubicBezTo>
                      <a:pt x="186" y="44"/>
                      <a:pt x="186" y="44"/>
                      <a:pt x="186" y="44"/>
                    </a:cubicBezTo>
                    <a:cubicBezTo>
                      <a:pt x="186" y="42"/>
                      <a:pt x="186" y="40"/>
                      <a:pt x="185" y="39"/>
                    </a:cubicBezTo>
                    <a:cubicBezTo>
                      <a:pt x="185" y="39"/>
                      <a:pt x="185" y="39"/>
                      <a:pt x="185" y="39"/>
                    </a:cubicBezTo>
                    <a:cubicBezTo>
                      <a:pt x="185" y="39"/>
                      <a:pt x="185" y="39"/>
                      <a:pt x="185" y="39"/>
                    </a:cubicBezTo>
                    <a:cubicBezTo>
                      <a:pt x="184" y="38"/>
                      <a:pt x="184" y="37"/>
                      <a:pt x="184" y="36"/>
                    </a:cubicBezTo>
                    <a:cubicBezTo>
                      <a:pt x="183" y="36"/>
                      <a:pt x="183" y="35"/>
                      <a:pt x="183" y="35"/>
                    </a:cubicBezTo>
                    <a:cubicBezTo>
                      <a:pt x="182" y="33"/>
                      <a:pt x="182" y="33"/>
                      <a:pt x="182" y="33"/>
                    </a:cubicBezTo>
                    <a:cubicBezTo>
                      <a:pt x="184" y="31"/>
                      <a:pt x="184" y="31"/>
                      <a:pt x="184" y="31"/>
                    </a:cubicBezTo>
                    <a:cubicBezTo>
                      <a:pt x="184" y="31"/>
                      <a:pt x="184" y="31"/>
                      <a:pt x="184" y="31"/>
                    </a:cubicBezTo>
                    <a:cubicBezTo>
                      <a:pt x="185" y="31"/>
                      <a:pt x="186" y="31"/>
                      <a:pt x="187" y="31"/>
                    </a:cubicBezTo>
                    <a:cubicBezTo>
                      <a:pt x="187" y="31"/>
                      <a:pt x="187" y="30"/>
                      <a:pt x="187" y="29"/>
                    </a:cubicBezTo>
                    <a:cubicBezTo>
                      <a:pt x="187" y="29"/>
                      <a:pt x="187" y="27"/>
                      <a:pt x="188" y="27"/>
                    </a:cubicBezTo>
                    <a:cubicBezTo>
                      <a:pt x="187" y="26"/>
                      <a:pt x="187" y="26"/>
                      <a:pt x="185" y="26"/>
                    </a:cubicBezTo>
                    <a:cubicBezTo>
                      <a:pt x="184" y="26"/>
                      <a:pt x="184" y="26"/>
                      <a:pt x="183" y="26"/>
                    </a:cubicBezTo>
                    <a:cubicBezTo>
                      <a:pt x="183" y="26"/>
                      <a:pt x="183" y="26"/>
                      <a:pt x="183" y="26"/>
                    </a:cubicBezTo>
                    <a:cubicBezTo>
                      <a:pt x="182" y="25"/>
                      <a:pt x="181" y="25"/>
                      <a:pt x="180" y="25"/>
                    </a:cubicBezTo>
                    <a:cubicBezTo>
                      <a:pt x="180" y="25"/>
                      <a:pt x="180" y="25"/>
                      <a:pt x="180" y="25"/>
                    </a:cubicBezTo>
                    <a:cubicBezTo>
                      <a:pt x="179" y="24"/>
                      <a:pt x="179" y="24"/>
                      <a:pt x="179" y="24"/>
                    </a:cubicBezTo>
                    <a:cubicBezTo>
                      <a:pt x="178" y="23"/>
                      <a:pt x="179" y="22"/>
                      <a:pt x="179" y="22"/>
                    </a:cubicBezTo>
                    <a:cubicBezTo>
                      <a:pt x="179" y="22"/>
                      <a:pt x="179" y="22"/>
                      <a:pt x="179" y="22"/>
                    </a:cubicBezTo>
                    <a:cubicBezTo>
                      <a:pt x="179" y="22"/>
                      <a:pt x="179" y="22"/>
                      <a:pt x="178" y="21"/>
                    </a:cubicBezTo>
                    <a:cubicBezTo>
                      <a:pt x="178" y="20"/>
                      <a:pt x="178" y="19"/>
                      <a:pt x="178" y="19"/>
                    </a:cubicBezTo>
                    <a:cubicBezTo>
                      <a:pt x="178" y="18"/>
                      <a:pt x="178" y="18"/>
                      <a:pt x="178" y="17"/>
                    </a:cubicBezTo>
                    <a:cubicBezTo>
                      <a:pt x="178" y="17"/>
                      <a:pt x="179" y="17"/>
                      <a:pt x="179" y="17"/>
                    </a:cubicBezTo>
                    <a:cubicBezTo>
                      <a:pt x="179" y="17"/>
                      <a:pt x="179" y="17"/>
                      <a:pt x="179" y="17"/>
                    </a:cubicBezTo>
                    <a:cubicBezTo>
                      <a:pt x="179" y="17"/>
                      <a:pt x="179" y="17"/>
                      <a:pt x="179" y="17"/>
                    </a:cubicBezTo>
                    <a:cubicBezTo>
                      <a:pt x="179" y="16"/>
                      <a:pt x="179" y="16"/>
                      <a:pt x="179" y="16"/>
                    </a:cubicBezTo>
                    <a:cubicBezTo>
                      <a:pt x="179" y="16"/>
                      <a:pt x="179" y="16"/>
                      <a:pt x="179" y="15"/>
                    </a:cubicBezTo>
                    <a:cubicBezTo>
                      <a:pt x="179" y="15"/>
                      <a:pt x="179" y="15"/>
                      <a:pt x="179" y="15"/>
                    </a:cubicBezTo>
                    <a:cubicBezTo>
                      <a:pt x="179" y="15"/>
                      <a:pt x="179" y="15"/>
                      <a:pt x="179" y="15"/>
                    </a:cubicBezTo>
                    <a:cubicBezTo>
                      <a:pt x="179" y="14"/>
                      <a:pt x="179" y="14"/>
                      <a:pt x="179" y="14"/>
                    </a:cubicBezTo>
                    <a:cubicBezTo>
                      <a:pt x="179" y="14"/>
                      <a:pt x="179" y="14"/>
                      <a:pt x="179" y="14"/>
                    </a:cubicBezTo>
                    <a:cubicBezTo>
                      <a:pt x="179" y="14"/>
                      <a:pt x="179" y="14"/>
                      <a:pt x="178" y="14"/>
                    </a:cubicBezTo>
                    <a:cubicBezTo>
                      <a:pt x="178" y="14"/>
                      <a:pt x="178" y="13"/>
                      <a:pt x="178" y="13"/>
                    </a:cubicBezTo>
                    <a:cubicBezTo>
                      <a:pt x="175" y="11"/>
                      <a:pt x="175" y="11"/>
                      <a:pt x="175" y="11"/>
                    </a:cubicBezTo>
                    <a:cubicBezTo>
                      <a:pt x="175" y="10"/>
                      <a:pt x="175" y="10"/>
                      <a:pt x="175" y="10"/>
                    </a:cubicBezTo>
                    <a:cubicBezTo>
                      <a:pt x="174" y="10"/>
                      <a:pt x="174" y="10"/>
                      <a:pt x="173" y="9"/>
                    </a:cubicBezTo>
                    <a:cubicBezTo>
                      <a:pt x="173" y="9"/>
                      <a:pt x="173" y="9"/>
                      <a:pt x="173" y="9"/>
                    </a:cubicBezTo>
                    <a:cubicBezTo>
                      <a:pt x="173" y="9"/>
                      <a:pt x="173" y="9"/>
                      <a:pt x="173" y="9"/>
                    </a:cubicBezTo>
                    <a:cubicBezTo>
                      <a:pt x="173" y="9"/>
                      <a:pt x="173" y="9"/>
                      <a:pt x="172" y="9"/>
                    </a:cubicBezTo>
                    <a:cubicBezTo>
                      <a:pt x="172" y="8"/>
                      <a:pt x="172" y="8"/>
                      <a:pt x="172" y="8"/>
                    </a:cubicBezTo>
                    <a:cubicBezTo>
                      <a:pt x="172" y="8"/>
                      <a:pt x="172" y="8"/>
                      <a:pt x="172" y="8"/>
                    </a:cubicBezTo>
                    <a:cubicBezTo>
                      <a:pt x="172" y="8"/>
                      <a:pt x="172" y="8"/>
                      <a:pt x="171" y="8"/>
                    </a:cubicBezTo>
                    <a:cubicBezTo>
                      <a:pt x="171" y="7"/>
                      <a:pt x="170" y="7"/>
                      <a:pt x="170" y="7"/>
                    </a:cubicBezTo>
                    <a:cubicBezTo>
                      <a:pt x="170" y="7"/>
                      <a:pt x="169" y="7"/>
                      <a:pt x="169" y="7"/>
                    </a:cubicBezTo>
                    <a:cubicBezTo>
                      <a:pt x="169" y="9"/>
                      <a:pt x="169" y="9"/>
                      <a:pt x="169" y="9"/>
                    </a:cubicBezTo>
                    <a:cubicBezTo>
                      <a:pt x="168" y="8"/>
                      <a:pt x="168" y="8"/>
                      <a:pt x="168" y="8"/>
                    </a:cubicBezTo>
                    <a:cubicBezTo>
                      <a:pt x="167" y="8"/>
                      <a:pt x="165" y="8"/>
                      <a:pt x="164" y="8"/>
                    </a:cubicBezTo>
                    <a:cubicBezTo>
                      <a:pt x="163" y="8"/>
                      <a:pt x="163" y="8"/>
                      <a:pt x="163" y="8"/>
                    </a:cubicBezTo>
                    <a:cubicBezTo>
                      <a:pt x="163" y="8"/>
                      <a:pt x="162" y="8"/>
                      <a:pt x="162" y="8"/>
                    </a:cubicBezTo>
                    <a:cubicBezTo>
                      <a:pt x="161" y="8"/>
                      <a:pt x="161" y="8"/>
                      <a:pt x="161" y="8"/>
                    </a:cubicBezTo>
                    <a:cubicBezTo>
                      <a:pt x="160" y="8"/>
                      <a:pt x="160" y="8"/>
                      <a:pt x="159" y="8"/>
                    </a:cubicBezTo>
                    <a:cubicBezTo>
                      <a:pt x="159" y="10"/>
                      <a:pt x="159" y="10"/>
                      <a:pt x="159" y="10"/>
                    </a:cubicBezTo>
                    <a:cubicBezTo>
                      <a:pt x="158" y="8"/>
                      <a:pt x="158" y="8"/>
                      <a:pt x="158" y="8"/>
                    </a:cubicBezTo>
                    <a:cubicBezTo>
                      <a:pt x="154" y="9"/>
                      <a:pt x="154" y="9"/>
                      <a:pt x="154" y="9"/>
                    </a:cubicBezTo>
                    <a:cubicBezTo>
                      <a:pt x="153" y="10"/>
                      <a:pt x="153" y="10"/>
                      <a:pt x="152" y="10"/>
                    </a:cubicBezTo>
                    <a:cubicBezTo>
                      <a:pt x="152" y="11"/>
                      <a:pt x="150" y="10"/>
                      <a:pt x="150" y="11"/>
                    </a:cubicBezTo>
                    <a:cubicBezTo>
                      <a:pt x="149" y="12"/>
                      <a:pt x="147" y="12"/>
                      <a:pt x="146" y="13"/>
                    </a:cubicBezTo>
                    <a:cubicBezTo>
                      <a:pt x="145" y="13"/>
                      <a:pt x="144" y="13"/>
                      <a:pt x="144" y="13"/>
                    </a:cubicBezTo>
                    <a:cubicBezTo>
                      <a:pt x="143" y="14"/>
                      <a:pt x="143" y="13"/>
                      <a:pt x="142" y="13"/>
                    </a:cubicBezTo>
                    <a:cubicBezTo>
                      <a:pt x="141" y="13"/>
                      <a:pt x="139" y="12"/>
                      <a:pt x="137" y="12"/>
                    </a:cubicBezTo>
                    <a:cubicBezTo>
                      <a:pt x="136" y="11"/>
                      <a:pt x="136" y="12"/>
                      <a:pt x="135" y="12"/>
                    </a:cubicBezTo>
                    <a:cubicBezTo>
                      <a:pt x="135" y="12"/>
                      <a:pt x="134" y="12"/>
                      <a:pt x="133" y="12"/>
                    </a:cubicBezTo>
                    <a:cubicBezTo>
                      <a:pt x="131" y="13"/>
                      <a:pt x="128" y="14"/>
                      <a:pt x="126" y="14"/>
                    </a:cubicBezTo>
                    <a:cubicBezTo>
                      <a:pt x="123" y="14"/>
                      <a:pt x="121" y="12"/>
                      <a:pt x="118" y="12"/>
                    </a:cubicBezTo>
                    <a:cubicBezTo>
                      <a:pt x="115" y="11"/>
                      <a:pt x="113" y="10"/>
                      <a:pt x="110" y="8"/>
                    </a:cubicBezTo>
                    <a:cubicBezTo>
                      <a:pt x="110" y="8"/>
                      <a:pt x="107" y="10"/>
                      <a:pt x="106" y="10"/>
                    </a:cubicBezTo>
                    <a:cubicBezTo>
                      <a:pt x="105" y="10"/>
                      <a:pt x="103" y="8"/>
                      <a:pt x="103" y="7"/>
                    </a:cubicBezTo>
                    <a:cubicBezTo>
                      <a:pt x="102" y="5"/>
                      <a:pt x="103" y="3"/>
                      <a:pt x="100" y="4"/>
                    </a:cubicBezTo>
                    <a:cubicBezTo>
                      <a:pt x="99" y="4"/>
                      <a:pt x="98" y="5"/>
                      <a:pt x="96" y="5"/>
                    </a:cubicBezTo>
                    <a:cubicBezTo>
                      <a:pt x="95" y="4"/>
                      <a:pt x="94" y="3"/>
                      <a:pt x="93" y="2"/>
                    </a:cubicBezTo>
                    <a:cubicBezTo>
                      <a:pt x="92" y="1"/>
                      <a:pt x="92" y="0"/>
                      <a:pt x="94" y="0"/>
                    </a:cubicBezTo>
                    <a:cubicBezTo>
                      <a:pt x="93" y="0"/>
                      <a:pt x="91" y="0"/>
                      <a:pt x="90" y="0"/>
                    </a:cubicBezTo>
                    <a:cubicBezTo>
                      <a:pt x="89" y="1"/>
                      <a:pt x="86" y="1"/>
                      <a:pt x="84" y="1"/>
                    </a:cubicBezTo>
                    <a:cubicBezTo>
                      <a:pt x="81" y="1"/>
                      <a:pt x="79" y="1"/>
                      <a:pt x="76" y="0"/>
                    </a:cubicBezTo>
                    <a:cubicBezTo>
                      <a:pt x="73" y="0"/>
                      <a:pt x="70" y="2"/>
                      <a:pt x="67" y="2"/>
                    </a:cubicBezTo>
                    <a:cubicBezTo>
                      <a:pt x="65" y="3"/>
                      <a:pt x="63" y="5"/>
                      <a:pt x="60" y="6"/>
                    </a:cubicBezTo>
                    <a:cubicBezTo>
                      <a:pt x="59" y="7"/>
                      <a:pt x="58" y="8"/>
                      <a:pt x="56" y="9"/>
                    </a:cubicBezTo>
                    <a:cubicBezTo>
                      <a:pt x="56" y="9"/>
                      <a:pt x="54" y="11"/>
                      <a:pt x="53" y="11"/>
                    </a:cubicBezTo>
                    <a:cubicBezTo>
                      <a:pt x="50" y="12"/>
                      <a:pt x="47" y="12"/>
                      <a:pt x="44" y="10"/>
                    </a:cubicBezTo>
                    <a:cubicBezTo>
                      <a:pt x="43" y="10"/>
                      <a:pt x="41" y="11"/>
                      <a:pt x="39" y="11"/>
                    </a:cubicBezTo>
                    <a:cubicBezTo>
                      <a:pt x="38" y="11"/>
                      <a:pt x="36" y="10"/>
                      <a:pt x="35" y="10"/>
                    </a:cubicBezTo>
                    <a:cubicBezTo>
                      <a:pt x="34" y="10"/>
                      <a:pt x="32" y="9"/>
                      <a:pt x="31" y="10"/>
                    </a:cubicBezTo>
                    <a:cubicBezTo>
                      <a:pt x="31" y="10"/>
                      <a:pt x="31" y="10"/>
                      <a:pt x="31" y="10"/>
                    </a:cubicBezTo>
                    <a:cubicBezTo>
                      <a:pt x="32" y="11"/>
                      <a:pt x="33" y="12"/>
                      <a:pt x="33" y="12"/>
                    </a:cubicBezTo>
                    <a:cubicBezTo>
                      <a:pt x="33" y="13"/>
                      <a:pt x="32" y="13"/>
                      <a:pt x="32" y="14"/>
                    </a:cubicBezTo>
                    <a:cubicBezTo>
                      <a:pt x="33" y="15"/>
                      <a:pt x="34" y="15"/>
                      <a:pt x="35" y="15"/>
                    </a:cubicBezTo>
                    <a:cubicBezTo>
                      <a:pt x="37" y="16"/>
                      <a:pt x="38" y="16"/>
                      <a:pt x="39" y="16"/>
                    </a:cubicBezTo>
                    <a:cubicBezTo>
                      <a:pt x="37" y="16"/>
                      <a:pt x="34" y="16"/>
                      <a:pt x="32" y="17"/>
                    </a:cubicBezTo>
                    <a:cubicBezTo>
                      <a:pt x="31" y="17"/>
                      <a:pt x="29" y="17"/>
                      <a:pt x="28" y="18"/>
                    </a:cubicBezTo>
                    <a:cubicBezTo>
                      <a:pt x="29" y="19"/>
                      <a:pt x="31" y="19"/>
                      <a:pt x="32" y="19"/>
                    </a:cubicBezTo>
                    <a:cubicBezTo>
                      <a:pt x="30" y="21"/>
                      <a:pt x="28" y="20"/>
                      <a:pt x="26" y="20"/>
                    </a:cubicBezTo>
                    <a:cubicBezTo>
                      <a:pt x="23" y="20"/>
                      <a:pt x="21" y="20"/>
                      <a:pt x="19" y="20"/>
                    </a:cubicBezTo>
                    <a:cubicBezTo>
                      <a:pt x="19" y="18"/>
                      <a:pt x="19" y="19"/>
                      <a:pt x="17" y="18"/>
                    </a:cubicBezTo>
                    <a:cubicBezTo>
                      <a:pt x="18" y="19"/>
                      <a:pt x="18" y="20"/>
                      <a:pt x="19" y="20"/>
                    </a:cubicBezTo>
                    <a:cubicBezTo>
                      <a:pt x="18" y="20"/>
                      <a:pt x="17" y="21"/>
                      <a:pt x="16" y="21"/>
                    </a:cubicBezTo>
                    <a:cubicBezTo>
                      <a:pt x="15" y="21"/>
                      <a:pt x="14" y="21"/>
                      <a:pt x="13" y="20"/>
                    </a:cubicBezTo>
                    <a:cubicBezTo>
                      <a:pt x="13" y="19"/>
                      <a:pt x="13" y="19"/>
                      <a:pt x="12" y="19"/>
                    </a:cubicBezTo>
                    <a:cubicBezTo>
                      <a:pt x="10" y="20"/>
                      <a:pt x="8" y="21"/>
                      <a:pt x="5" y="22"/>
                    </a:cubicBezTo>
                    <a:cubicBezTo>
                      <a:pt x="4" y="22"/>
                      <a:pt x="1" y="24"/>
                      <a:pt x="1" y="26"/>
                    </a:cubicBezTo>
                    <a:cubicBezTo>
                      <a:pt x="1" y="27"/>
                      <a:pt x="1" y="28"/>
                      <a:pt x="1" y="29"/>
                    </a:cubicBezTo>
                    <a:cubicBezTo>
                      <a:pt x="1" y="30"/>
                      <a:pt x="0" y="30"/>
                      <a:pt x="0" y="30"/>
                    </a:cubicBezTo>
                    <a:cubicBezTo>
                      <a:pt x="0" y="31"/>
                      <a:pt x="0" y="31"/>
                      <a:pt x="0" y="31"/>
                    </a:cubicBezTo>
                    <a:cubicBezTo>
                      <a:pt x="1" y="32"/>
                      <a:pt x="3" y="31"/>
                      <a:pt x="3" y="31"/>
                    </a:cubicBezTo>
                    <a:cubicBezTo>
                      <a:pt x="5" y="30"/>
                      <a:pt x="7" y="30"/>
                      <a:pt x="9" y="30"/>
                    </a:cubicBezTo>
                    <a:cubicBezTo>
                      <a:pt x="8" y="31"/>
                      <a:pt x="7" y="32"/>
                      <a:pt x="6" y="33"/>
                    </a:cubicBezTo>
                    <a:cubicBezTo>
                      <a:pt x="6" y="34"/>
                      <a:pt x="7" y="34"/>
                      <a:pt x="7" y="35"/>
                    </a:cubicBezTo>
                    <a:cubicBezTo>
                      <a:pt x="7" y="35"/>
                      <a:pt x="7" y="36"/>
                      <a:pt x="8" y="37"/>
                    </a:cubicBezTo>
                    <a:cubicBezTo>
                      <a:pt x="8" y="38"/>
                      <a:pt x="9" y="37"/>
                      <a:pt x="10" y="38"/>
                    </a:cubicBezTo>
                    <a:cubicBezTo>
                      <a:pt x="9" y="39"/>
                      <a:pt x="9" y="40"/>
                      <a:pt x="8" y="40"/>
                    </a:cubicBezTo>
                    <a:cubicBezTo>
                      <a:pt x="8" y="40"/>
                      <a:pt x="7" y="40"/>
                      <a:pt x="7" y="40"/>
                    </a:cubicBezTo>
                    <a:cubicBezTo>
                      <a:pt x="7" y="42"/>
                      <a:pt x="9" y="43"/>
                      <a:pt x="11" y="44"/>
                    </a:cubicBezTo>
                    <a:cubicBezTo>
                      <a:pt x="9" y="44"/>
                      <a:pt x="8" y="44"/>
                      <a:pt x="6" y="44"/>
                    </a:cubicBezTo>
                    <a:cubicBezTo>
                      <a:pt x="5" y="43"/>
                      <a:pt x="6" y="43"/>
                      <a:pt x="5" y="42"/>
                    </a:cubicBezTo>
                    <a:cubicBezTo>
                      <a:pt x="5" y="42"/>
                      <a:pt x="5" y="41"/>
                      <a:pt x="5" y="41"/>
                    </a:cubicBezTo>
                    <a:cubicBezTo>
                      <a:pt x="4" y="40"/>
                      <a:pt x="4" y="41"/>
                      <a:pt x="4" y="42"/>
                    </a:cubicBezTo>
                    <a:cubicBezTo>
                      <a:pt x="4" y="43"/>
                      <a:pt x="4" y="44"/>
                      <a:pt x="4" y="45"/>
                    </a:cubicBezTo>
                    <a:cubicBezTo>
                      <a:pt x="4" y="45"/>
                      <a:pt x="3" y="45"/>
                      <a:pt x="3" y="45"/>
                    </a:cubicBezTo>
                    <a:cubicBezTo>
                      <a:pt x="3" y="45"/>
                      <a:pt x="2" y="44"/>
                      <a:pt x="2" y="44"/>
                    </a:cubicBezTo>
                    <a:cubicBezTo>
                      <a:pt x="2" y="45"/>
                      <a:pt x="2" y="45"/>
                      <a:pt x="2" y="45"/>
                    </a:cubicBezTo>
                    <a:cubicBezTo>
                      <a:pt x="3" y="46"/>
                      <a:pt x="4" y="46"/>
                      <a:pt x="6" y="46"/>
                    </a:cubicBezTo>
                    <a:cubicBezTo>
                      <a:pt x="8" y="46"/>
                      <a:pt x="9" y="48"/>
                      <a:pt x="10" y="48"/>
                    </a:cubicBezTo>
                    <a:cubicBezTo>
                      <a:pt x="12" y="49"/>
                      <a:pt x="13" y="50"/>
                      <a:pt x="12" y="52"/>
                    </a:cubicBezTo>
                    <a:cubicBezTo>
                      <a:pt x="12" y="52"/>
                      <a:pt x="10" y="52"/>
                      <a:pt x="10" y="53"/>
                    </a:cubicBezTo>
                    <a:cubicBezTo>
                      <a:pt x="11" y="54"/>
                      <a:pt x="13" y="54"/>
                      <a:pt x="12" y="56"/>
                    </a:cubicBezTo>
                    <a:cubicBezTo>
                      <a:pt x="13" y="56"/>
                      <a:pt x="15" y="56"/>
                      <a:pt x="16" y="57"/>
                    </a:cubicBezTo>
                    <a:cubicBezTo>
                      <a:pt x="16" y="58"/>
                      <a:pt x="15" y="59"/>
                      <a:pt x="14" y="59"/>
                    </a:cubicBezTo>
                    <a:cubicBezTo>
                      <a:pt x="14" y="60"/>
                      <a:pt x="13" y="59"/>
                      <a:pt x="13" y="59"/>
                    </a:cubicBezTo>
                    <a:cubicBezTo>
                      <a:pt x="12" y="59"/>
                      <a:pt x="12" y="60"/>
                      <a:pt x="12" y="61"/>
                    </a:cubicBezTo>
                    <a:cubicBezTo>
                      <a:pt x="16" y="61"/>
                      <a:pt x="19" y="60"/>
                      <a:pt x="23" y="60"/>
                    </a:cubicBezTo>
                    <a:cubicBezTo>
                      <a:pt x="22" y="61"/>
                      <a:pt x="21" y="62"/>
                      <a:pt x="19" y="63"/>
                    </a:cubicBezTo>
                    <a:cubicBezTo>
                      <a:pt x="18" y="63"/>
                      <a:pt x="18" y="63"/>
                      <a:pt x="17" y="63"/>
                    </a:cubicBezTo>
                    <a:cubicBezTo>
                      <a:pt x="17" y="63"/>
                      <a:pt x="16" y="63"/>
                      <a:pt x="16" y="63"/>
                    </a:cubicBezTo>
                    <a:cubicBezTo>
                      <a:pt x="15" y="63"/>
                      <a:pt x="14" y="64"/>
                      <a:pt x="13" y="64"/>
                    </a:cubicBezTo>
                    <a:cubicBezTo>
                      <a:pt x="14" y="65"/>
                      <a:pt x="20" y="63"/>
                      <a:pt x="21" y="63"/>
                    </a:cubicBezTo>
                    <a:cubicBezTo>
                      <a:pt x="20" y="63"/>
                      <a:pt x="20" y="64"/>
                      <a:pt x="20" y="64"/>
                    </a:cubicBezTo>
                    <a:cubicBezTo>
                      <a:pt x="20" y="64"/>
                      <a:pt x="20" y="64"/>
                      <a:pt x="20" y="65"/>
                    </a:cubicBezTo>
                    <a:cubicBezTo>
                      <a:pt x="21" y="65"/>
                      <a:pt x="21" y="65"/>
                      <a:pt x="21" y="65"/>
                    </a:cubicBezTo>
                    <a:cubicBezTo>
                      <a:pt x="20" y="65"/>
                      <a:pt x="20" y="65"/>
                      <a:pt x="20" y="65"/>
                    </a:cubicBezTo>
                    <a:cubicBezTo>
                      <a:pt x="20" y="66"/>
                      <a:pt x="22" y="63"/>
                      <a:pt x="23" y="63"/>
                    </a:cubicBezTo>
                    <a:cubicBezTo>
                      <a:pt x="24" y="62"/>
                      <a:pt x="24" y="62"/>
                      <a:pt x="26" y="63"/>
                    </a:cubicBezTo>
                    <a:cubicBezTo>
                      <a:pt x="27" y="63"/>
                      <a:pt x="26" y="64"/>
                      <a:pt x="27" y="64"/>
                    </a:cubicBezTo>
                    <a:cubicBezTo>
                      <a:pt x="29" y="64"/>
                      <a:pt x="28" y="66"/>
                      <a:pt x="29" y="63"/>
                    </a:cubicBezTo>
                    <a:cubicBezTo>
                      <a:pt x="30" y="65"/>
                      <a:pt x="32" y="68"/>
                      <a:pt x="33" y="69"/>
                    </a:cubicBezTo>
                    <a:cubicBezTo>
                      <a:pt x="35" y="69"/>
                      <a:pt x="36" y="70"/>
                      <a:pt x="38" y="70"/>
                    </a:cubicBezTo>
                    <a:cubicBezTo>
                      <a:pt x="39" y="71"/>
                      <a:pt x="40" y="70"/>
                      <a:pt x="41" y="69"/>
                    </a:cubicBezTo>
                    <a:cubicBezTo>
                      <a:pt x="42" y="69"/>
                      <a:pt x="42" y="69"/>
                      <a:pt x="43" y="69"/>
                    </a:cubicBezTo>
                    <a:cubicBezTo>
                      <a:pt x="43" y="69"/>
                      <a:pt x="44" y="69"/>
                      <a:pt x="44" y="69"/>
                    </a:cubicBezTo>
                    <a:cubicBezTo>
                      <a:pt x="45" y="70"/>
                      <a:pt x="45" y="69"/>
                      <a:pt x="45" y="68"/>
                    </a:cubicBezTo>
                    <a:cubicBezTo>
                      <a:pt x="46" y="67"/>
                      <a:pt x="46" y="63"/>
                      <a:pt x="47" y="62"/>
                    </a:cubicBezTo>
                    <a:cubicBezTo>
                      <a:pt x="47" y="62"/>
                      <a:pt x="48" y="62"/>
                      <a:pt x="49" y="62"/>
                    </a:cubicBezTo>
                    <a:cubicBezTo>
                      <a:pt x="51" y="62"/>
                      <a:pt x="53" y="63"/>
                      <a:pt x="56" y="64"/>
                    </a:cubicBezTo>
                    <a:cubicBezTo>
                      <a:pt x="58" y="65"/>
                      <a:pt x="60" y="66"/>
                      <a:pt x="62" y="68"/>
                    </a:cubicBezTo>
                    <a:cubicBezTo>
                      <a:pt x="64" y="69"/>
                      <a:pt x="66" y="71"/>
                      <a:pt x="68" y="71"/>
                    </a:cubicBezTo>
                    <a:cubicBezTo>
                      <a:pt x="70" y="71"/>
                      <a:pt x="73" y="70"/>
                      <a:pt x="76" y="70"/>
                    </a:cubicBezTo>
                    <a:cubicBezTo>
                      <a:pt x="79" y="70"/>
                      <a:pt x="80" y="70"/>
                      <a:pt x="8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7" name="Freeform 2988">
                <a:extLst>
                  <a:ext uri="{FF2B5EF4-FFF2-40B4-BE49-F238E27FC236}">
                    <a16:creationId xmlns:a16="http://schemas.microsoft.com/office/drawing/2014/main" id="{BD58996C-7B50-42E9-B461-5D2CE7DF897F}"/>
                  </a:ext>
                </a:extLst>
              </p:cNvPr>
              <p:cNvSpPr>
                <a:spLocks/>
              </p:cNvSpPr>
              <p:nvPr/>
            </p:nvSpPr>
            <p:spPr bwMode="auto">
              <a:xfrm>
                <a:off x="4398" y="1908"/>
                <a:ext cx="31" cy="35"/>
              </a:xfrm>
              <a:custGeom>
                <a:avLst/>
                <a:gdLst>
                  <a:gd name="T0" fmla="*/ 1 w 13"/>
                  <a:gd name="T1" fmla="*/ 15 h 15"/>
                  <a:gd name="T2" fmla="*/ 2 w 13"/>
                  <a:gd name="T3" fmla="*/ 15 h 15"/>
                  <a:gd name="T4" fmla="*/ 3 w 13"/>
                  <a:gd name="T5" fmla="*/ 14 h 15"/>
                  <a:gd name="T6" fmla="*/ 4 w 13"/>
                  <a:gd name="T7" fmla="*/ 14 h 15"/>
                  <a:gd name="T8" fmla="*/ 5 w 13"/>
                  <a:gd name="T9" fmla="*/ 13 h 15"/>
                  <a:gd name="T10" fmla="*/ 5 w 13"/>
                  <a:gd name="T11" fmla="*/ 13 h 15"/>
                  <a:gd name="T12" fmla="*/ 6 w 13"/>
                  <a:gd name="T13" fmla="*/ 12 h 15"/>
                  <a:gd name="T14" fmla="*/ 6 w 13"/>
                  <a:gd name="T15" fmla="*/ 12 h 15"/>
                  <a:gd name="T16" fmla="*/ 8 w 13"/>
                  <a:gd name="T17" fmla="*/ 11 h 15"/>
                  <a:gd name="T18" fmla="*/ 8 w 13"/>
                  <a:gd name="T19" fmla="*/ 11 h 15"/>
                  <a:gd name="T20" fmla="*/ 7 w 13"/>
                  <a:gd name="T21" fmla="*/ 10 h 15"/>
                  <a:gd name="T22" fmla="*/ 9 w 13"/>
                  <a:gd name="T23" fmla="*/ 7 h 15"/>
                  <a:gd name="T24" fmla="*/ 11 w 13"/>
                  <a:gd name="T25" fmla="*/ 7 h 15"/>
                  <a:gd name="T26" fmla="*/ 13 w 13"/>
                  <a:gd name="T27" fmla="*/ 4 h 15"/>
                  <a:gd name="T28" fmla="*/ 13 w 13"/>
                  <a:gd name="T29" fmla="*/ 4 h 15"/>
                  <a:gd name="T30" fmla="*/ 13 w 13"/>
                  <a:gd name="T31" fmla="*/ 3 h 15"/>
                  <a:gd name="T32" fmla="*/ 13 w 13"/>
                  <a:gd name="T33" fmla="*/ 3 h 15"/>
                  <a:gd name="T34" fmla="*/ 12 w 13"/>
                  <a:gd name="T35" fmla="*/ 2 h 15"/>
                  <a:gd name="T36" fmla="*/ 10 w 13"/>
                  <a:gd name="T37" fmla="*/ 1 h 15"/>
                  <a:gd name="T38" fmla="*/ 11 w 13"/>
                  <a:gd name="T39" fmla="*/ 0 h 15"/>
                  <a:gd name="T40" fmla="*/ 10 w 13"/>
                  <a:gd name="T41" fmla="*/ 0 h 15"/>
                  <a:gd name="T42" fmla="*/ 8 w 13"/>
                  <a:gd name="T43" fmla="*/ 0 h 15"/>
                  <a:gd name="T44" fmla="*/ 7 w 13"/>
                  <a:gd name="T45" fmla="*/ 1 h 15"/>
                  <a:gd name="T46" fmla="*/ 6 w 13"/>
                  <a:gd name="T47" fmla="*/ 2 h 15"/>
                  <a:gd name="T48" fmla="*/ 4 w 13"/>
                  <a:gd name="T49" fmla="*/ 7 h 15"/>
                  <a:gd name="T50" fmla="*/ 3 w 13"/>
                  <a:gd name="T51" fmla="*/ 9 h 15"/>
                  <a:gd name="T52" fmla="*/ 2 w 13"/>
                  <a:gd name="T53" fmla="*/ 11 h 15"/>
                  <a:gd name="T54" fmla="*/ 0 w 13"/>
                  <a:gd name="T55" fmla="*/ 15 h 15"/>
                  <a:gd name="T56" fmla="*/ 1 w 13"/>
                  <a:gd name="T5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5">
                    <a:moveTo>
                      <a:pt x="1" y="15"/>
                    </a:moveTo>
                    <a:cubicBezTo>
                      <a:pt x="2" y="15"/>
                      <a:pt x="2" y="15"/>
                      <a:pt x="2" y="15"/>
                    </a:cubicBezTo>
                    <a:cubicBezTo>
                      <a:pt x="3" y="15"/>
                      <a:pt x="3" y="15"/>
                      <a:pt x="3" y="14"/>
                    </a:cubicBezTo>
                    <a:cubicBezTo>
                      <a:pt x="4" y="14"/>
                      <a:pt x="4" y="14"/>
                      <a:pt x="4" y="14"/>
                    </a:cubicBezTo>
                    <a:cubicBezTo>
                      <a:pt x="4" y="13"/>
                      <a:pt x="5" y="13"/>
                      <a:pt x="5" y="13"/>
                    </a:cubicBezTo>
                    <a:cubicBezTo>
                      <a:pt x="5" y="13"/>
                      <a:pt x="5" y="13"/>
                      <a:pt x="5" y="13"/>
                    </a:cubicBezTo>
                    <a:cubicBezTo>
                      <a:pt x="6" y="13"/>
                      <a:pt x="6" y="12"/>
                      <a:pt x="6" y="12"/>
                    </a:cubicBezTo>
                    <a:cubicBezTo>
                      <a:pt x="6" y="12"/>
                      <a:pt x="6" y="12"/>
                      <a:pt x="6" y="12"/>
                    </a:cubicBezTo>
                    <a:cubicBezTo>
                      <a:pt x="7" y="12"/>
                      <a:pt x="7" y="11"/>
                      <a:pt x="8" y="11"/>
                    </a:cubicBezTo>
                    <a:cubicBezTo>
                      <a:pt x="8" y="11"/>
                      <a:pt x="8" y="11"/>
                      <a:pt x="8" y="11"/>
                    </a:cubicBezTo>
                    <a:cubicBezTo>
                      <a:pt x="7" y="11"/>
                      <a:pt x="7" y="10"/>
                      <a:pt x="7" y="10"/>
                    </a:cubicBezTo>
                    <a:cubicBezTo>
                      <a:pt x="7" y="9"/>
                      <a:pt x="8" y="8"/>
                      <a:pt x="9" y="7"/>
                    </a:cubicBezTo>
                    <a:cubicBezTo>
                      <a:pt x="10" y="7"/>
                      <a:pt x="10" y="7"/>
                      <a:pt x="11" y="7"/>
                    </a:cubicBezTo>
                    <a:cubicBezTo>
                      <a:pt x="11" y="5"/>
                      <a:pt x="12" y="4"/>
                      <a:pt x="13" y="4"/>
                    </a:cubicBezTo>
                    <a:cubicBezTo>
                      <a:pt x="13" y="4"/>
                      <a:pt x="13" y="4"/>
                      <a:pt x="13" y="4"/>
                    </a:cubicBezTo>
                    <a:cubicBezTo>
                      <a:pt x="13" y="3"/>
                      <a:pt x="13" y="3"/>
                      <a:pt x="13" y="3"/>
                    </a:cubicBezTo>
                    <a:cubicBezTo>
                      <a:pt x="13" y="3"/>
                      <a:pt x="13" y="3"/>
                      <a:pt x="13" y="3"/>
                    </a:cubicBezTo>
                    <a:cubicBezTo>
                      <a:pt x="13" y="2"/>
                      <a:pt x="13" y="2"/>
                      <a:pt x="12" y="2"/>
                    </a:cubicBezTo>
                    <a:cubicBezTo>
                      <a:pt x="10" y="1"/>
                      <a:pt x="10" y="1"/>
                      <a:pt x="10" y="1"/>
                    </a:cubicBezTo>
                    <a:cubicBezTo>
                      <a:pt x="11" y="0"/>
                      <a:pt x="11" y="0"/>
                      <a:pt x="11" y="0"/>
                    </a:cubicBezTo>
                    <a:cubicBezTo>
                      <a:pt x="10" y="0"/>
                      <a:pt x="10" y="0"/>
                      <a:pt x="10" y="0"/>
                    </a:cubicBezTo>
                    <a:cubicBezTo>
                      <a:pt x="9" y="0"/>
                      <a:pt x="9" y="0"/>
                      <a:pt x="8" y="0"/>
                    </a:cubicBezTo>
                    <a:cubicBezTo>
                      <a:pt x="8" y="0"/>
                      <a:pt x="8" y="1"/>
                      <a:pt x="7" y="1"/>
                    </a:cubicBezTo>
                    <a:cubicBezTo>
                      <a:pt x="7" y="1"/>
                      <a:pt x="6" y="2"/>
                      <a:pt x="6" y="2"/>
                    </a:cubicBezTo>
                    <a:cubicBezTo>
                      <a:pt x="5" y="4"/>
                      <a:pt x="5" y="6"/>
                      <a:pt x="4" y="7"/>
                    </a:cubicBezTo>
                    <a:cubicBezTo>
                      <a:pt x="4" y="8"/>
                      <a:pt x="3" y="8"/>
                      <a:pt x="3" y="9"/>
                    </a:cubicBezTo>
                    <a:cubicBezTo>
                      <a:pt x="3" y="10"/>
                      <a:pt x="2" y="11"/>
                      <a:pt x="2" y="11"/>
                    </a:cubicBezTo>
                    <a:cubicBezTo>
                      <a:pt x="1" y="13"/>
                      <a:pt x="1" y="14"/>
                      <a:pt x="0" y="15"/>
                    </a:cubicBezTo>
                    <a:lnTo>
                      <a:pt x="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8" name="Freeform 2989">
                <a:extLst>
                  <a:ext uri="{FF2B5EF4-FFF2-40B4-BE49-F238E27FC236}">
                    <a16:creationId xmlns:a16="http://schemas.microsoft.com/office/drawing/2014/main" id="{92398944-017D-4679-8123-6500100E86D9}"/>
                  </a:ext>
                </a:extLst>
              </p:cNvPr>
              <p:cNvSpPr>
                <a:spLocks/>
              </p:cNvSpPr>
              <p:nvPr/>
            </p:nvSpPr>
            <p:spPr bwMode="auto">
              <a:xfrm>
                <a:off x="4604" y="1723"/>
                <a:ext cx="66" cy="62"/>
              </a:xfrm>
              <a:custGeom>
                <a:avLst/>
                <a:gdLst>
                  <a:gd name="T0" fmla="*/ 0 w 28"/>
                  <a:gd name="T1" fmla="*/ 8 h 26"/>
                  <a:gd name="T2" fmla="*/ 1 w 28"/>
                  <a:gd name="T3" fmla="*/ 10 h 26"/>
                  <a:gd name="T4" fmla="*/ 3 w 28"/>
                  <a:gd name="T5" fmla="*/ 12 h 26"/>
                  <a:gd name="T6" fmla="*/ 5 w 28"/>
                  <a:gd name="T7" fmla="*/ 12 h 26"/>
                  <a:gd name="T8" fmla="*/ 12 w 28"/>
                  <a:gd name="T9" fmla="*/ 16 h 26"/>
                  <a:gd name="T10" fmla="*/ 14 w 28"/>
                  <a:gd name="T11" fmla="*/ 15 h 26"/>
                  <a:gd name="T12" fmla="*/ 15 w 28"/>
                  <a:gd name="T13" fmla="*/ 16 h 26"/>
                  <a:gd name="T14" fmla="*/ 17 w 28"/>
                  <a:gd name="T15" fmla="*/ 17 h 26"/>
                  <a:gd name="T16" fmla="*/ 18 w 28"/>
                  <a:gd name="T17" fmla="*/ 18 h 26"/>
                  <a:gd name="T18" fmla="*/ 19 w 28"/>
                  <a:gd name="T19" fmla="*/ 18 h 26"/>
                  <a:gd name="T20" fmla="*/ 20 w 28"/>
                  <a:gd name="T21" fmla="*/ 18 h 26"/>
                  <a:gd name="T22" fmla="*/ 22 w 28"/>
                  <a:gd name="T23" fmla="*/ 19 h 26"/>
                  <a:gd name="T24" fmla="*/ 23 w 28"/>
                  <a:gd name="T25" fmla="*/ 20 h 26"/>
                  <a:gd name="T26" fmla="*/ 23 w 28"/>
                  <a:gd name="T27" fmla="*/ 21 h 26"/>
                  <a:gd name="T28" fmla="*/ 26 w 28"/>
                  <a:gd name="T29" fmla="*/ 26 h 26"/>
                  <a:gd name="T30" fmla="*/ 27 w 28"/>
                  <a:gd name="T31" fmla="*/ 26 h 26"/>
                  <a:gd name="T32" fmla="*/ 28 w 28"/>
                  <a:gd name="T33" fmla="*/ 26 h 26"/>
                  <a:gd name="T34" fmla="*/ 28 w 28"/>
                  <a:gd name="T35" fmla="*/ 25 h 26"/>
                  <a:gd name="T36" fmla="*/ 27 w 28"/>
                  <a:gd name="T37" fmla="*/ 25 h 26"/>
                  <a:gd name="T38" fmla="*/ 27 w 28"/>
                  <a:gd name="T39" fmla="*/ 22 h 26"/>
                  <a:gd name="T40" fmla="*/ 27 w 28"/>
                  <a:gd name="T41" fmla="*/ 20 h 26"/>
                  <a:gd name="T42" fmla="*/ 16 w 28"/>
                  <a:gd name="T43" fmla="*/ 13 h 26"/>
                  <a:gd name="T44" fmla="*/ 20 w 28"/>
                  <a:gd name="T45" fmla="*/ 13 h 26"/>
                  <a:gd name="T46" fmla="*/ 22 w 28"/>
                  <a:gd name="T47" fmla="*/ 12 h 26"/>
                  <a:gd name="T48" fmla="*/ 22 w 28"/>
                  <a:gd name="T49" fmla="*/ 11 h 26"/>
                  <a:gd name="T50" fmla="*/ 20 w 28"/>
                  <a:gd name="T51" fmla="*/ 10 h 26"/>
                  <a:gd name="T52" fmla="*/ 17 w 28"/>
                  <a:gd name="T53" fmla="*/ 5 h 26"/>
                  <a:gd name="T54" fmla="*/ 18 w 28"/>
                  <a:gd name="T55" fmla="*/ 4 h 26"/>
                  <a:gd name="T56" fmla="*/ 18 w 28"/>
                  <a:gd name="T57" fmla="*/ 3 h 26"/>
                  <a:gd name="T58" fmla="*/ 15 w 28"/>
                  <a:gd name="T59" fmla="*/ 2 h 26"/>
                  <a:gd name="T60" fmla="*/ 15 w 28"/>
                  <a:gd name="T61" fmla="*/ 2 h 26"/>
                  <a:gd name="T62" fmla="*/ 14 w 28"/>
                  <a:gd name="T63" fmla="*/ 0 h 26"/>
                  <a:gd name="T64" fmla="*/ 14 w 28"/>
                  <a:gd name="T65" fmla="*/ 0 h 26"/>
                  <a:gd name="T66" fmla="*/ 13 w 28"/>
                  <a:gd name="T67" fmla="*/ 0 h 26"/>
                  <a:gd name="T68" fmla="*/ 12 w 28"/>
                  <a:gd name="T69" fmla="*/ 0 h 26"/>
                  <a:gd name="T70" fmla="*/ 10 w 28"/>
                  <a:gd name="T71" fmla="*/ 0 h 26"/>
                  <a:gd name="T72" fmla="*/ 8 w 28"/>
                  <a:gd name="T73" fmla="*/ 0 h 26"/>
                  <a:gd name="T74" fmla="*/ 0 w 28"/>
                  <a:gd name="T75" fmla="*/ 1 h 26"/>
                  <a:gd name="T76" fmla="*/ 1 w 28"/>
                  <a:gd name="T77" fmla="*/ 2 h 26"/>
                  <a:gd name="T78" fmla="*/ 3 w 28"/>
                  <a:gd name="T79" fmla="*/ 2 h 26"/>
                  <a:gd name="T80" fmla="*/ 1 w 28"/>
                  <a:gd name="T81" fmla="*/ 3 h 26"/>
                  <a:gd name="T82" fmla="*/ 1 w 28"/>
                  <a:gd name="T83" fmla="*/ 4 h 26"/>
                  <a:gd name="T84" fmla="*/ 1 w 28"/>
                  <a:gd name="T85" fmla="*/ 6 h 26"/>
                  <a:gd name="T86" fmla="*/ 0 w 28"/>
                  <a:gd name="T8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0" y="8"/>
                    </a:moveTo>
                    <a:cubicBezTo>
                      <a:pt x="0" y="8"/>
                      <a:pt x="0" y="8"/>
                      <a:pt x="0" y="8"/>
                    </a:cubicBezTo>
                    <a:cubicBezTo>
                      <a:pt x="0" y="9"/>
                      <a:pt x="1" y="9"/>
                      <a:pt x="1" y="9"/>
                    </a:cubicBezTo>
                    <a:cubicBezTo>
                      <a:pt x="1" y="10"/>
                      <a:pt x="1" y="10"/>
                      <a:pt x="1" y="10"/>
                    </a:cubicBezTo>
                    <a:cubicBezTo>
                      <a:pt x="1" y="11"/>
                      <a:pt x="1" y="11"/>
                      <a:pt x="1" y="12"/>
                    </a:cubicBezTo>
                    <a:cubicBezTo>
                      <a:pt x="2" y="12"/>
                      <a:pt x="2" y="12"/>
                      <a:pt x="3" y="12"/>
                    </a:cubicBezTo>
                    <a:cubicBezTo>
                      <a:pt x="3" y="12"/>
                      <a:pt x="3" y="12"/>
                      <a:pt x="3" y="12"/>
                    </a:cubicBezTo>
                    <a:cubicBezTo>
                      <a:pt x="4" y="12"/>
                      <a:pt x="4" y="12"/>
                      <a:pt x="5" y="12"/>
                    </a:cubicBezTo>
                    <a:cubicBezTo>
                      <a:pt x="8" y="12"/>
                      <a:pt x="8" y="13"/>
                      <a:pt x="10" y="14"/>
                    </a:cubicBezTo>
                    <a:cubicBezTo>
                      <a:pt x="12" y="16"/>
                      <a:pt x="12" y="16"/>
                      <a:pt x="12" y="16"/>
                    </a:cubicBezTo>
                    <a:cubicBezTo>
                      <a:pt x="12" y="16"/>
                      <a:pt x="12" y="16"/>
                      <a:pt x="12" y="16"/>
                    </a:cubicBezTo>
                    <a:cubicBezTo>
                      <a:pt x="13" y="16"/>
                      <a:pt x="14" y="15"/>
                      <a:pt x="14" y="15"/>
                    </a:cubicBezTo>
                    <a:cubicBezTo>
                      <a:pt x="15" y="15"/>
                      <a:pt x="15" y="15"/>
                      <a:pt x="15" y="15"/>
                    </a:cubicBezTo>
                    <a:cubicBezTo>
                      <a:pt x="15" y="16"/>
                      <a:pt x="15" y="16"/>
                      <a:pt x="15" y="16"/>
                    </a:cubicBezTo>
                    <a:cubicBezTo>
                      <a:pt x="16" y="16"/>
                      <a:pt x="16" y="17"/>
                      <a:pt x="17" y="17"/>
                    </a:cubicBezTo>
                    <a:cubicBezTo>
                      <a:pt x="17" y="17"/>
                      <a:pt x="17" y="17"/>
                      <a:pt x="17" y="17"/>
                    </a:cubicBezTo>
                    <a:cubicBezTo>
                      <a:pt x="17" y="17"/>
                      <a:pt x="17" y="17"/>
                      <a:pt x="17" y="17"/>
                    </a:cubicBezTo>
                    <a:cubicBezTo>
                      <a:pt x="17" y="18"/>
                      <a:pt x="17" y="18"/>
                      <a:pt x="18" y="18"/>
                    </a:cubicBezTo>
                    <a:cubicBezTo>
                      <a:pt x="18" y="18"/>
                      <a:pt x="18" y="18"/>
                      <a:pt x="18" y="18"/>
                    </a:cubicBezTo>
                    <a:cubicBezTo>
                      <a:pt x="18" y="18"/>
                      <a:pt x="19" y="18"/>
                      <a:pt x="19" y="18"/>
                    </a:cubicBezTo>
                    <a:cubicBezTo>
                      <a:pt x="19" y="18"/>
                      <a:pt x="19" y="18"/>
                      <a:pt x="19" y="18"/>
                    </a:cubicBezTo>
                    <a:cubicBezTo>
                      <a:pt x="19" y="18"/>
                      <a:pt x="19" y="18"/>
                      <a:pt x="20" y="18"/>
                    </a:cubicBezTo>
                    <a:cubicBezTo>
                      <a:pt x="22" y="17"/>
                      <a:pt x="22" y="17"/>
                      <a:pt x="22" y="17"/>
                    </a:cubicBezTo>
                    <a:cubicBezTo>
                      <a:pt x="22" y="19"/>
                      <a:pt x="22" y="19"/>
                      <a:pt x="22" y="19"/>
                    </a:cubicBezTo>
                    <a:cubicBezTo>
                      <a:pt x="22" y="19"/>
                      <a:pt x="22" y="20"/>
                      <a:pt x="22" y="20"/>
                    </a:cubicBezTo>
                    <a:cubicBezTo>
                      <a:pt x="23" y="20"/>
                      <a:pt x="23" y="20"/>
                      <a:pt x="23" y="20"/>
                    </a:cubicBezTo>
                    <a:cubicBezTo>
                      <a:pt x="23" y="21"/>
                      <a:pt x="23" y="21"/>
                      <a:pt x="23" y="21"/>
                    </a:cubicBezTo>
                    <a:cubicBezTo>
                      <a:pt x="23" y="21"/>
                      <a:pt x="23" y="21"/>
                      <a:pt x="23" y="21"/>
                    </a:cubicBezTo>
                    <a:cubicBezTo>
                      <a:pt x="24" y="21"/>
                      <a:pt x="24" y="21"/>
                      <a:pt x="25" y="22"/>
                    </a:cubicBezTo>
                    <a:cubicBezTo>
                      <a:pt x="25" y="23"/>
                      <a:pt x="26" y="24"/>
                      <a:pt x="26" y="26"/>
                    </a:cubicBezTo>
                    <a:cubicBezTo>
                      <a:pt x="26" y="26"/>
                      <a:pt x="26" y="26"/>
                      <a:pt x="26" y="26"/>
                    </a:cubicBezTo>
                    <a:cubicBezTo>
                      <a:pt x="26" y="26"/>
                      <a:pt x="26" y="26"/>
                      <a:pt x="27" y="26"/>
                    </a:cubicBezTo>
                    <a:cubicBezTo>
                      <a:pt x="27" y="26"/>
                      <a:pt x="27" y="26"/>
                      <a:pt x="27" y="26"/>
                    </a:cubicBezTo>
                    <a:cubicBezTo>
                      <a:pt x="28" y="26"/>
                      <a:pt x="28" y="26"/>
                      <a:pt x="28" y="26"/>
                    </a:cubicBezTo>
                    <a:cubicBezTo>
                      <a:pt x="28" y="26"/>
                      <a:pt x="28" y="26"/>
                      <a:pt x="28" y="26"/>
                    </a:cubicBezTo>
                    <a:cubicBezTo>
                      <a:pt x="28" y="26"/>
                      <a:pt x="28" y="25"/>
                      <a:pt x="28" y="25"/>
                    </a:cubicBezTo>
                    <a:cubicBezTo>
                      <a:pt x="28" y="25"/>
                      <a:pt x="28" y="25"/>
                      <a:pt x="27" y="25"/>
                    </a:cubicBezTo>
                    <a:cubicBezTo>
                      <a:pt x="27" y="25"/>
                      <a:pt x="27" y="25"/>
                      <a:pt x="27" y="25"/>
                    </a:cubicBezTo>
                    <a:cubicBezTo>
                      <a:pt x="27" y="24"/>
                      <a:pt x="27" y="24"/>
                      <a:pt x="27" y="24"/>
                    </a:cubicBezTo>
                    <a:cubicBezTo>
                      <a:pt x="27" y="23"/>
                      <a:pt x="27" y="23"/>
                      <a:pt x="27" y="22"/>
                    </a:cubicBezTo>
                    <a:cubicBezTo>
                      <a:pt x="27" y="22"/>
                      <a:pt x="27" y="22"/>
                      <a:pt x="27" y="21"/>
                    </a:cubicBezTo>
                    <a:cubicBezTo>
                      <a:pt x="27" y="21"/>
                      <a:pt x="27" y="20"/>
                      <a:pt x="27" y="20"/>
                    </a:cubicBezTo>
                    <a:cubicBezTo>
                      <a:pt x="24" y="19"/>
                      <a:pt x="22" y="17"/>
                      <a:pt x="20" y="16"/>
                    </a:cubicBezTo>
                    <a:cubicBezTo>
                      <a:pt x="16" y="13"/>
                      <a:pt x="16" y="13"/>
                      <a:pt x="16" y="13"/>
                    </a:cubicBezTo>
                    <a:cubicBezTo>
                      <a:pt x="19" y="13"/>
                      <a:pt x="19" y="13"/>
                      <a:pt x="19" y="13"/>
                    </a:cubicBezTo>
                    <a:cubicBezTo>
                      <a:pt x="20" y="13"/>
                      <a:pt x="20" y="13"/>
                      <a:pt x="20" y="13"/>
                    </a:cubicBezTo>
                    <a:cubicBezTo>
                      <a:pt x="21" y="13"/>
                      <a:pt x="21" y="12"/>
                      <a:pt x="22" y="12"/>
                    </a:cubicBezTo>
                    <a:cubicBezTo>
                      <a:pt x="22" y="12"/>
                      <a:pt x="22" y="12"/>
                      <a:pt x="22" y="12"/>
                    </a:cubicBezTo>
                    <a:cubicBezTo>
                      <a:pt x="22" y="12"/>
                      <a:pt x="22" y="12"/>
                      <a:pt x="22" y="12"/>
                    </a:cubicBezTo>
                    <a:cubicBezTo>
                      <a:pt x="22" y="12"/>
                      <a:pt x="22" y="11"/>
                      <a:pt x="22" y="11"/>
                    </a:cubicBezTo>
                    <a:cubicBezTo>
                      <a:pt x="21" y="11"/>
                      <a:pt x="21" y="11"/>
                      <a:pt x="21" y="10"/>
                    </a:cubicBezTo>
                    <a:cubicBezTo>
                      <a:pt x="20" y="10"/>
                      <a:pt x="20" y="10"/>
                      <a:pt x="20" y="10"/>
                    </a:cubicBezTo>
                    <a:cubicBezTo>
                      <a:pt x="19" y="9"/>
                      <a:pt x="19" y="9"/>
                      <a:pt x="19" y="9"/>
                    </a:cubicBezTo>
                    <a:cubicBezTo>
                      <a:pt x="18" y="8"/>
                      <a:pt x="16" y="7"/>
                      <a:pt x="17" y="5"/>
                    </a:cubicBezTo>
                    <a:cubicBezTo>
                      <a:pt x="17" y="4"/>
                      <a:pt x="18" y="4"/>
                      <a:pt x="18" y="4"/>
                    </a:cubicBezTo>
                    <a:cubicBezTo>
                      <a:pt x="18" y="4"/>
                      <a:pt x="18" y="4"/>
                      <a:pt x="18" y="4"/>
                    </a:cubicBezTo>
                    <a:cubicBezTo>
                      <a:pt x="18" y="4"/>
                      <a:pt x="18" y="4"/>
                      <a:pt x="18" y="4"/>
                    </a:cubicBezTo>
                    <a:cubicBezTo>
                      <a:pt x="18" y="3"/>
                      <a:pt x="18" y="3"/>
                      <a:pt x="18" y="3"/>
                    </a:cubicBezTo>
                    <a:cubicBezTo>
                      <a:pt x="18" y="3"/>
                      <a:pt x="17" y="3"/>
                      <a:pt x="17" y="3"/>
                    </a:cubicBezTo>
                    <a:cubicBezTo>
                      <a:pt x="16" y="2"/>
                      <a:pt x="16" y="2"/>
                      <a:pt x="15" y="2"/>
                    </a:cubicBezTo>
                    <a:cubicBezTo>
                      <a:pt x="15" y="2"/>
                      <a:pt x="15" y="2"/>
                      <a:pt x="15" y="2"/>
                    </a:cubicBezTo>
                    <a:cubicBezTo>
                      <a:pt x="15" y="2"/>
                      <a:pt x="15" y="2"/>
                      <a:pt x="15" y="2"/>
                    </a:cubicBezTo>
                    <a:cubicBezTo>
                      <a:pt x="11" y="3"/>
                      <a:pt x="11" y="3"/>
                      <a:pt x="11" y="3"/>
                    </a:cubicBezTo>
                    <a:cubicBezTo>
                      <a:pt x="14" y="0"/>
                      <a:pt x="14" y="0"/>
                      <a:pt x="14" y="0"/>
                    </a:cubicBezTo>
                    <a:cubicBezTo>
                      <a:pt x="14" y="0"/>
                      <a:pt x="14" y="0"/>
                      <a:pt x="14" y="0"/>
                    </a:cubicBezTo>
                    <a:cubicBezTo>
                      <a:pt x="14" y="0"/>
                      <a:pt x="14" y="0"/>
                      <a:pt x="14" y="0"/>
                    </a:cubicBezTo>
                    <a:cubicBezTo>
                      <a:pt x="14" y="0"/>
                      <a:pt x="13" y="0"/>
                      <a:pt x="13" y="0"/>
                    </a:cubicBezTo>
                    <a:cubicBezTo>
                      <a:pt x="13" y="0"/>
                      <a:pt x="13" y="0"/>
                      <a:pt x="13" y="0"/>
                    </a:cubicBezTo>
                    <a:cubicBezTo>
                      <a:pt x="13" y="0"/>
                      <a:pt x="12" y="0"/>
                      <a:pt x="12" y="0"/>
                    </a:cubicBezTo>
                    <a:cubicBezTo>
                      <a:pt x="12" y="0"/>
                      <a:pt x="12" y="0"/>
                      <a:pt x="12" y="0"/>
                    </a:cubicBezTo>
                    <a:cubicBezTo>
                      <a:pt x="11" y="0"/>
                      <a:pt x="11" y="0"/>
                      <a:pt x="11" y="0"/>
                    </a:cubicBezTo>
                    <a:cubicBezTo>
                      <a:pt x="11" y="0"/>
                      <a:pt x="11" y="0"/>
                      <a:pt x="10" y="0"/>
                    </a:cubicBezTo>
                    <a:cubicBezTo>
                      <a:pt x="10" y="0"/>
                      <a:pt x="10" y="0"/>
                      <a:pt x="9" y="0"/>
                    </a:cubicBezTo>
                    <a:cubicBezTo>
                      <a:pt x="9" y="0"/>
                      <a:pt x="8" y="0"/>
                      <a:pt x="8" y="0"/>
                    </a:cubicBezTo>
                    <a:cubicBezTo>
                      <a:pt x="8" y="0"/>
                      <a:pt x="7" y="0"/>
                      <a:pt x="6" y="0"/>
                    </a:cubicBezTo>
                    <a:cubicBezTo>
                      <a:pt x="4" y="1"/>
                      <a:pt x="2" y="1"/>
                      <a:pt x="0" y="1"/>
                    </a:cubicBezTo>
                    <a:cubicBezTo>
                      <a:pt x="0" y="1"/>
                      <a:pt x="1" y="2"/>
                      <a:pt x="1" y="2"/>
                    </a:cubicBezTo>
                    <a:cubicBezTo>
                      <a:pt x="1" y="2"/>
                      <a:pt x="1" y="2"/>
                      <a:pt x="1" y="2"/>
                    </a:cubicBezTo>
                    <a:cubicBezTo>
                      <a:pt x="1" y="2"/>
                      <a:pt x="1" y="2"/>
                      <a:pt x="1" y="2"/>
                    </a:cubicBezTo>
                    <a:cubicBezTo>
                      <a:pt x="3" y="2"/>
                      <a:pt x="3" y="2"/>
                      <a:pt x="3" y="2"/>
                    </a:cubicBezTo>
                    <a:cubicBezTo>
                      <a:pt x="1" y="3"/>
                      <a:pt x="1" y="3"/>
                      <a:pt x="1" y="3"/>
                    </a:cubicBezTo>
                    <a:cubicBezTo>
                      <a:pt x="1" y="3"/>
                      <a:pt x="1" y="3"/>
                      <a:pt x="1" y="3"/>
                    </a:cubicBezTo>
                    <a:cubicBezTo>
                      <a:pt x="1" y="3"/>
                      <a:pt x="1" y="4"/>
                      <a:pt x="1" y="4"/>
                    </a:cubicBezTo>
                    <a:cubicBezTo>
                      <a:pt x="1" y="4"/>
                      <a:pt x="1" y="4"/>
                      <a:pt x="1" y="4"/>
                    </a:cubicBezTo>
                    <a:cubicBezTo>
                      <a:pt x="1" y="4"/>
                      <a:pt x="1" y="5"/>
                      <a:pt x="1" y="5"/>
                    </a:cubicBezTo>
                    <a:cubicBezTo>
                      <a:pt x="1" y="6"/>
                      <a:pt x="1" y="6"/>
                      <a:pt x="1" y="6"/>
                    </a:cubicBezTo>
                    <a:cubicBezTo>
                      <a:pt x="2" y="7"/>
                      <a:pt x="1" y="7"/>
                      <a:pt x="1" y="8"/>
                    </a:cubicBezTo>
                    <a:cubicBezTo>
                      <a:pt x="1" y="8"/>
                      <a:pt x="1"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646" name="Group 3191">
              <a:extLst>
                <a:ext uri="{FF2B5EF4-FFF2-40B4-BE49-F238E27FC236}">
                  <a16:creationId xmlns:a16="http://schemas.microsoft.com/office/drawing/2014/main" id="{B572A1EB-FA68-4FB0-8C63-0C54A57D4431}"/>
                </a:ext>
              </a:extLst>
            </p:cNvPr>
            <p:cNvGrpSpPr>
              <a:grpSpLocks/>
            </p:cNvGrpSpPr>
            <p:nvPr/>
          </p:nvGrpSpPr>
          <p:grpSpPr bwMode="auto">
            <a:xfrm>
              <a:off x="-508" y="637"/>
              <a:ext cx="7701" cy="3620"/>
              <a:chOff x="-508" y="637"/>
              <a:chExt cx="7701" cy="3620"/>
            </a:xfrm>
            <a:grpFill/>
          </p:grpSpPr>
          <p:sp>
            <p:nvSpPr>
              <p:cNvPr id="1669" name="Freeform 2991">
                <a:extLst>
                  <a:ext uri="{FF2B5EF4-FFF2-40B4-BE49-F238E27FC236}">
                    <a16:creationId xmlns:a16="http://schemas.microsoft.com/office/drawing/2014/main" id="{024490EB-F8C3-452D-A6A1-552BDCC20593}"/>
                  </a:ext>
                </a:extLst>
              </p:cNvPr>
              <p:cNvSpPr>
                <a:spLocks/>
              </p:cNvSpPr>
              <p:nvPr/>
            </p:nvSpPr>
            <p:spPr bwMode="auto">
              <a:xfrm>
                <a:off x="4670" y="17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0" name="Freeform 2992">
                <a:extLst>
                  <a:ext uri="{FF2B5EF4-FFF2-40B4-BE49-F238E27FC236}">
                    <a16:creationId xmlns:a16="http://schemas.microsoft.com/office/drawing/2014/main" id="{D474ED9D-B6B7-4EDA-B6C4-3D3B3E2489A3}"/>
                  </a:ext>
                </a:extLst>
              </p:cNvPr>
              <p:cNvSpPr>
                <a:spLocks/>
              </p:cNvSpPr>
              <p:nvPr/>
            </p:nvSpPr>
            <p:spPr bwMode="auto">
              <a:xfrm>
                <a:off x="4675" y="1780"/>
                <a:ext cx="2" cy="3"/>
              </a:xfrm>
              <a:custGeom>
                <a:avLst/>
                <a:gdLst>
                  <a:gd name="T0" fmla="*/ 1 w 1"/>
                  <a:gd name="T1" fmla="*/ 0 h 1"/>
                  <a:gd name="T2" fmla="*/ 0 w 1"/>
                  <a:gd name="T3" fmla="*/ 0 h 1"/>
                  <a:gd name="T4" fmla="*/ 0 w 1"/>
                  <a:gd name="T5" fmla="*/ 0 h 1"/>
                  <a:gd name="T6" fmla="*/ 0 w 1"/>
                  <a:gd name="T7" fmla="*/ 1 h 1"/>
                  <a:gd name="T8" fmla="*/ 0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0" y="0"/>
                      <a:pt x="0" y="0"/>
                      <a:pt x="0" y="0"/>
                    </a:cubicBezTo>
                    <a:cubicBezTo>
                      <a:pt x="0" y="1"/>
                      <a:pt x="0" y="1"/>
                      <a:pt x="0" y="1"/>
                    </a:cubicBezTo>
                    <a:cubicBezTo>
                      <a:pt x="0" y="1"/>
                      <a:pt x="0" y="1"/>
                      <a:pt x="0"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1" name="Freeform 2993">
                <a:extLst>
                  <a:ext uri="{FF2B5EF4-FFF2-40B4-BE49-F238E27FC236}">
                    <a16:creationId xmlns:a16="http://schemas.microsoft.com/office/drawing/2014/main" id="{03BDFF3F-8A14-4D3F-A5FD-D39C7D124163}"/>
                  </a:ext>
                </a:extLst>
              </p:cNvPr>
              <p:cNvSpPr>
                <a:spLocks/>
              </p:cNvSpPr>
              <p:nvPr/>
            </p:nvSpPr>
            <p:spPr bwMode="auto">
              <a:xfrm>
                <a:off x="4641" y="1705"/>
                <a:ext cx="126" cy="92"/>
              </a:xfrm>
              <a:custGeom>
                <a:avLst/>
                <a:gdLst>
                  <a:gd name="T0" fmla="*/ 49 w 53"/>
                  <a:gd name="T1" fmla="*/ 15 h 39"/>
                  <a:gd name="T2" fmla="*/ 47 w 53"/>
                  <a:gd name="T3" fmla="*/ 15 h 39"/>
                  <a:gd name="T4" fmla="*/ 39 w 53"/>
                  <a:gd name="T5" fmla="*/ 6 h 39"/>
                  <a:gd name="T6" fmla="*/ 32 w 53"/>
                  <a:gd name="T7" fmla="*/ 3 h 39"/>
                  <a:gd name="T8" fmla="*/ 31 w 53"/>
                  <a:gd name="T9" fmla="*/ 4 h 39"/>
                  <a:gd name="T10" fmla="*/ 29 w 53"/>
                  <a:gd name="T11" fmla="*/ 6 h 39"/>
                  <a:gd name="T12" fmla="*/ 24 w 53"/>
                  <a:gd name="T13" fmla="*/ 8 h 39"/>
                  <a:gd name="T14" fmla="*/ 19 w 53"/>
                  <a:gd name="T15" fmla="*/ 4 h 39"/>
                  <a:gd name="T16" fmla="*/ 14 w 53"/>
                  <a:gd name="T17" fmla="*/ 0 h 39"/>
                  <a:gd name="T18" fmla="*/ 13 w 53"/>
                  <a:gd name="T19" fmla="*/ 0 h 39"/>
                  <a:gd name="T20" fmla="*/ 13 w 53"/>
                  <a:gd name="T21" fmla="*/ 3 h 39"/>
                  <a:gd name="T22" fmla="*/ 15 w 53"/>
                  <a:gd name="T23" fmla="*/ 8 h 39"/>
                  <a:gd name="T24" fmla="*/ 15 w 53"/>
                  <a:gd name="T25" fmla="*/ 9 h 39"/>
                  <a:gd name="T26" fmla="*/ 14 w 53"/>
                  <a:gd name="T27" fmla="*/ 10 h 39"/>
                  <a:gd name="T28" fmla="*/ 6 w 53"/>
                  <a:gd name="T29" fmla="*/ 8 h 39"/>
                  <a:gd name="T30" fmla="*/ 3 w 53"/>
                  <a:gd name="T31" fmla="*/ 7 h 39"/>
                  <a:gd name="T32" fmla="*/ 1 w 53"/>
                  <a:gd name="T33" fmla="*/ 6 h 39"/>
                  <a:gd name="T34" fmla="*/ 0 w 53"/>
                  <a:gd name="T35" fmla="*/ 6 h 39"/>
                  <a:gd name="T36" fmla="*/ 0 w 53"/>
                  <a:gd name="T37" fmla="*/ 6 h 39"/>
                  <a:gd name="T38" fmla="*/ 1 w 53"/>
                  <a:gd name="T39" fmla="*/ 7 h 39"/>
                  <a:gd name="T40" fmla="*/ 1 w 53"/>
                  <a:gd name="T41" fmla="*/ 8 h 39"/>
                  <a:gd name="T42" fmla="*/ 5 w 53"/>
                  <a:gd name="T43" fmla="*/ 11 h 39"/>
                  <a:gd name="T44" fmla="*/ 4 w 53"/>
                  <a:gd name="T45" fmla="*/ 14 h 39"/>
                  <a:gd name="T46" fmla="*/ 3 w 53"/>
                  <a:gd name="T47" fmla="*/ 14 h 39"/>
                  <a:gd name="T48" fmla="*/ 4 w 53"/>
                  <a:gd name="T49" fmla="*/ 15 h 39"/>
                  <a:gd name="T50" fmla="*/ 6 w 53"/>
                  <a:gd name="T51" fmla="*/ 16 h 39"/>
                  <a:gd name="T52" fmla="*/ 8 w 53"/>
                  <a:gd name="T53" fmla="*/ 20 h 39"/>
                  <a:gd name="T54" fmla="*/ 7 w 53"/>
                  <a:gd name="T55" fmla="*/ 23 h 39"/>
                  <a:gd name="T56" fmla="*/ 15 w 53"/>
                  <a:gd name="T57" fmla="*/ 28 h 39"/>
                  <a:gd name="T58" fmla="*/ 14 w 53"/>
                  <a:gd name="T59" fmla="*/ 29 h 39"/>
                  <a:gd name="T60" fmla="*/ 16 w 53"/>
                  <a:gd name="T61" fmla="*/ 31 h 39"/>
                  <a:gd name="T62" fmla="*/ 20 w 53"/>
                  <a:gd name="T63" fmla="*/ 28 h 39"/>
                  <a:gd name="T64" fmla="*/ 24 w 53"/>
                  <a:gd name="T65" fmla="*/ 25 h 39"/>
                  <a:gd name="T66" fmla="*/ 31 w 53"/>
                  <a:gd name="T67" fmla="*/ 27 h 39"/>
                  <a:gd name="T68" fmla="*/ 32 w 53"/>
                  <a:gd name="T69" fmla="*/ 29 h 39"/>
                  <a:gd name="T70" fmla="*/ 31 w 53"/>
                  <a:gd name="T71" fmla="*/ 31 h 39"/>
                  <a:gd name="T72" fmla="*/ 32 w 53"/>
                  <a:gd name="T73" fmla="*/ 32 h 39"/>
                  <a:gd name="T74" fmla="*/ 30 w 53"/>
                  <a:gd name="T75" fmla="*/ 35 h 39"/>
                  <a:gd name="T76" fmla="*/ 32 w 53"/>
                  <a:gd name="T77" fmla="*/ 37 h 39"/>
                  <a:gd name="T78" fmla="*/ 33 w 53"/>
                  <a:gd name="T79" fmla="*/ 37 h 39"/>
                  <a:gd name="T80" fmla="*/ 35 w 53"/>
                  <a:gd name="T81" fmla="*/ 39 h 39"/>
                  <a:gd name="T82" fmla="*/ 35 w 53"/>
                  <a:gd name="T83" fmla="*/ 39 h 39"/>
                  <a:gd name="T84" fmla="*/ 37 w 53"/>
                  <a:gd name="T85" fmla="*/ 39 h 39"/>
                  <a:gd name="T86" fmla="*/ 39 w 53"/>
                  <a:gd name="T87" fmla="*/ 32 h 39"/>
                  <a:gd name="T88" fmla="*/ 41 w 53"/>
                  <a:gd name="T89" fmla="*/ 30 h 39"/>
                  <a:gd name="T90" fmla="*/ 42 w 53"/>
                  <a:gd name="T91" fmla="*/ 29 h 39"/>
                  <a:gd name="T92" fmla="*/ 43 w 53"/>
                  <a:gd name="T93" fmla="*/ 23 h 39"/>
                  <a:gd name="T94" fmla="*/ 49 w 53"/>
                  <a:gd name="T95" fmla="*/ 18 h 39"/>
                  <a:gd name="T96" fmla="*/ 51 w 53"/>
                  <a:gd name="T97"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39">
                    <a:moveTo>
                      <a:pt x="51" y="16"/>
                    </a:moveTo>
                    <a:cubicBezTo>
                      <a:pt x="51" y="16"/>
                      <a:pt x="50" y="15"/>
                      <a:pt x="49" y="15"/>
                    </a:cubicBezTo>
                    <a:cubicBezTo>
                      <a:pt x="49" y="15"/>
                      <a:pt x="49" y="15"/>
                      <a:pt x="48" y="15"/>
                    </a:cubicBezTo>
                    <a:cubicBezTo>
                      <a:pt x="48" y="15"/>
                      <a:pt x="47" y="15"/>
                      <a:pt x="47" y="15"/>
                    </a:cubicBezTo>
                    <a:cubicBezTo>
                      <a:pt x="46" y="15"/>
                      <a:pt x="45" y="14"/>
                      <a:pt x="44" y="13"/>
                    </a:cubicBezTo>
                    <a:cubicBezTo>
                      <a:pt x="42" y="11"/>
                      <a:pt x="40" y="9"/>
                      <a:pt x="39" y="6"/>
                    </a:cubicBezTo>
                    <a:cubicBezTo>
                      <a:pt x="39" y="4"/>
                      <a:pt x="37" y="2"/>
                      <a:pt x="35" y="0"/>
                    </a:cubicBezTo>
                    <a:cubicBezTo>
                      <a:pt x="34" y="1"/>
                      <a:pt x="33" y="3"/>
                      <a:pt x="32" y="3"/>
                    </a:cubicBezTo>
                    <a:cubicBezTo>
                      <a:pt x="32" y="4"/>
                      <a:pt x="32" y="4"/>
                      <a:pt x="32" y="4"/>
                    </a:cubicBezTo>
                    <a:cubicBezTo>
                      <a:pt x="32" y="4"/>
                      <a:pt x="31" y="4"/>
                      <a:pt x="31" y="4"/>
                    </a:cubicBezTo>
                    <a:cubicBezTo>
                      <a:pt x="31" y="4"/>
                      <a:pt x="30" y="5"/>
                      <a:pt x="30" y="5"/>
                    </a:cubicBezTo>
                    <a:cubicBezTo>
                      <a:pt x="30" y="5"/>
                      <a:pt x="30" y="5"/>
                      <a:pt x="29" y="6"/>
                    </a:cubicBezTo>
                    <a:cubicBezTo>
                      <a:pt x="28" y="8"/>
                      <a:pt x="27" y="8"/>
                      <a:pt x="26" y="8"/>
                    </a:cubicBezTo>
                    <a:cubicBezTo>
                      <a:pt x="25" y="8"/>
                      <a:pt x="24" y="8"/>
                      <a:pt x="24" y="8"/>
                    </a:cubicBezTo>
                    <a:cubicBezTo>
                      <a:pt x="21" y="8"/>
                      <a:pt x="20" y="6"/>
                      <a:pt x="19" y="5"/>
                    </a:cubicBezTo>
                    <a:cubicBezTo>
                      <a:pt x="19" y="5"/>
                      <a:pt x="19" y="4"/>
                      <a:pt x="19" y="4"/>
                    </a:cubicBezTo>
                    <a:cubicBezTo>
                      <a:pt x="18" y="4"/>
                      <a:pt x="17" y="3"/>
                      <a:pt x="16" y="2"/>
                    </a:cubicBezTo>
                    <a:cubicBezTo>
                      <a:pt x="16" y="1"/>
                      <a:pt x="15" y="0"/>
                      <a:pt x="14" y="0"/>
                    </a:cubicBezTo>
                    <a:cubicBezTo>
                      <a:pt x="14" y="0"/>
                      <a:pt x="13" y="0"/>
                      <a:pt x="13" y="0"/>
                    </a:cubicBezTo>
                    <a:cubicBezTo>
                      <a:pt x="13" y="0"/>
                      <a:pt x="13" y="0"/>
                      <a:pt x="13" y="0"/>
                    </a:cubicBezTo>
                    <a:cubicBezTo>
                      <a:pt x="12" y="2"/>
                      <a:pt x="12" y="2"/>
                      <a:pt x="12" y="2"/>
                    </a:cubicBezTo>
                    <a:cubicBezTo>
                      <a:pt x="12" y="2"/>
                      <a:pt x="12" y="2"/>
                      <a:pt x="13" y="3"/>
                    </a:cubicBezTo>
                    <a:cubicBezTo>
                      <a:pt x="13" y="3"/>
                      <a:pt x="14" y="3"/>
                      <a:pt x="14" y="4"/>
                    </a:cubicBezTo>
                    <a:cubicBezTo>
                      <a:pt x="16" y="5"/>
                      <a:pt x="16" y="7"/>
                      <a:pt x="15" y="8"/>
                    </a:cubicBezTo>
                    <a:cubicBezTo>
                      <a:pt x="15" y="8"/>
                      <a:pt x="15" y="8"/>
                      <a:pt x="15" y="8"/>
                    </a:cubicBezTo>
                    <a:cubicBezTo>
                      <a:pt x="15" y="8"/>
                      <a:pt x="15" y="8"/>
                      <a:pt x="15" y="9"/>
                    </a:cubicBezTo>
                    <a:cubicBezTo>
                      <a:pt x="15" y="10"/>
                      <a:pt x="15" y="10"/>
                      <a:pt x="15" y="10"/>
                    </a:cubicBezTo>
                    <a:cubicBezTo>
                      <a:pt x="14" y="10"/>
                      <a:pt x="14" y="10"/>
                      <a:pt x="14" y="10"/>
                    </a:cubicBezTo>
                    <a:cubicBezTo>
                      <a:pt x="13" y="10"/>
                      <a:pt x="12" y="9"/>
                      <a:pt x="12" y="9"/>
                    </a:cubicBezTo>
                    <a:cubicBezTo>
                      <a:pt x="10" y="9"/>
                      <a:pt x="8" y="9"/>
                      <a:pt x="6" y="8"/>
                    </a:cubicBezTo>
                    <a:cubicBezTo>
                      <a:pt x="5" y="8"/>
                      <a:pt x="5" y="8"/>
                      <a:pt x="5" y="8"/>
                    </a:cubicBezTo>
                    <a:cubicBezTo>
                      <a:pt x="4" y="7"/>
                      <a:pt x="3" y="7"/>
                      <a:pt x="3" y="7"/>
                    </a:cubicBezTo>
                    <a:cubicBezTo>
                      <a:pt x="2" y="6"/>
                      <a:pt x="2" y="6"/>
                      <a:pt x="1" y="5"/>
                    </a:cubicBezTo>
                    <a:cubicBezTo>
                      <a:pt x="1" y="5"/>
                      <a:pt x="1" y="5"/>
                      <a:pt x="1" y="6"/>
                    </a:cubicBezTo>
                    <a:cubicBezTo>
                      <a:pt x="0" y="6"/>
                      <a:pt x="0" y="6"/>
                      <a:pt x="0" y="6"/>
                    </a:cubicBezTo>
                    <a:cubicBezTo>
                      <a:pt x="0" y="6"/>
                      <a:pt x="0" y="6"/>
                      <a:pt x="0" y="6"/>
                    </a:cubicBezTo>
                    <a:cubicBezTo>
                      <a:pt x="0" y="6"/>
                      <a:pt x="0" y="6"/>
                      <a:pt x="0" y="6"/>
                    </a:cubicBezTo>
                    <a:cubicBezTo>
                      <a:pt x="0" y="6"/>
                      <a:pt x="0" y="6"/>
                      <a:pt x="0" y="6"/>
                    </a:cubicBezTo>
                    <a:cubicBezTo>
                      <a:pt x="0" y="7"/>
                      <a:pt x="0" y="7"/>
                      <a:pt x="0" y="7"/>
                    </a:cubicBezTo>
                    <a:cubicBezTo>
                      <a:pt x="1" y="7"/>
                      <a:pt x="1" y="7"/>
                      <a:pt x="1" y="7"/>
                    </a:cubicBezTo>
                    <a:cubicBezTo>
                      <a:pt x="1" y="7"/>
                      <a:pt x="1" y="7"/>
                      <a:pt x="1" y="7"/>
                    </a:cubicBezTo>
                    <a:cubicBezTo>
                      <a:pt x="1" y="8"/>
                      <a:pt x="1" y="8"/>
                      <a:pt x="1" y="8"/>
                    </a:cubicBezTo>
                    <a:cubicBezTo>
                      <a:pt x="2" y="8"/>
                      <a:pt x="2" y="8"/>
                      <a:pt x="2" y="9"/>
                    </a:cubicBezTo>
                    <a:cubicBezTo>
                      <a:pt x="4" y="9"/>
                      <a:pt x="4" y="10"/>
                      <a:pt x="5" y="11"/>
                    </a:cubicBezTo>
                    <a:cubicBezTo>
                      <a:pt x="5" y="12"/>
                      <a:pt x="5" y="13"/>
                      <a:pt x="5" y="13"/>
                    </a:cubicBezTo>
                    <a:cubicBezTo>
                      <a:pt x="4" y="13"/>
                      <a:pt x="4" y="14"/>
                      <a:pt x="4" y="14"/>
                    </a:cubicBezTo>
                    <a:cubicBezTo>
                      <a:pt x="4" y="14"/>
                      <a:pt x="3" y="14"/>
                      <a:pt x="3" y="14"/>
                    </a:cubicBezTo>
                    <a:cubicBezTo>
                      <a:pt x="3" y="14"/>
                      <a:pt x="3" y="14"/>
                      <a:pt x="3" y="14"/>
                    </a:cubicBezTo>
                    <a:cubicBezTo>
                      <a:pt x="3" y="14"/>
                      <a:pt x="3" y="14"/>
                      <a:pt x="3" y="14"/>
                    </a:cubicBezTo>
                    <a:cubicBezTo>
                      <a:pt x="3" y="14"/>
                      <a:pt x="4" y="15"/>
                      <a:pt x="4" y="15"/>
                    </a:cubicBezTo>
                    <a:cubicBezTo>
                      <a:pt x="5" y="15"/>
                      <a:pt x="5" y="15"/>
                      <a:pt x="5" y="16"/>
                    </a:cubicBezTo>
                    <a:cubicBezTo>
                      <a:pt x="6" y="16"/>
                      <a:pt x="6" y="16"/>
                      <a:pt x="6" y="16"/>
                    </a:cubicBezTo>
                    <a:cubicBezTo>
                      <a:pt x="7" y="17"/>
                      <a:pt x="7" y="17"/>
                      <a:pt x="7" y="17"/>
                    </a:cubicBezTo>
                    <a:cubicBezTo>
                      <a:pt x="8" y="18"/>
                      <a:pt x="8" y="19"/>
                      <a:pt x="8" y="20"/>
                    </a:cubicBezTo>
                    <a:cubicBezTo>
                      <a:pt x="8" y="20"/>
                      <a:pt x="8" y="20"/>
                      <a:pt x="8" y="20"/>
                    </a:cubicBezTo>
                    <a:cubicBezTo>
                      <a:pt x="8" y="21"/>
                      <a:pt x="8" y="22"/>
                      <a:pt x="7" y="23"/>
                    </a:cubicBezTo>
                    <a:cubicBezTo>
                      <a:pt x="9" y="24"/>
                      <a:pt x="11" y="25"/>
                      <a:pt x="14" y="27"/>
                    </a:cubicBezTo>
                    <a:cubicBezTo>
                      <a:pt x="15" y="28"/>
                      <a:pt x="15" y="28"/>
                      <a:pt x="15" y="28"/>
                    </a:cubicBezTo>
                    <a:cubicBezTo>
                      <a:pt x="14" y="29"/>
                      <a:pt x="14" y="29"/>
                      <a:pt x="14" y="29"/>
                    </a:cubicBezTo>
                    <a:cubicBezTo>
                      <a:pt x="14" y="29"/>
                      <a:pt x="14" y="29"/>
                      <a:pt x="14" y="29"/>
                    </a:cubicBezTo>
                    <a:cubicBezTo>
                      <a:pt x="14" y="29"/>
                      <a:pt x="14" y="30"/>
                      <a:pt x="15" y="30"/>
                    </a:cubicBezTo>
                    <a:cubicBezTo>
                      <a:pt x="16" y="31"/>
                      <a:pt x="16" y="31"/>
                      <a:pt x="16" y="31"/>
                    </a:cubicBezTo>
                    <a:cubicBezTo>
                      <a:pt x="17" y="30"/>
                      <a:pt x="17" y="30"/>
                      <a:pt x="18" y="30"/>
                    </a:cubicBezTo>
                    <a:cubicBezTo>
                      <a:pt x="19" y="29"/>
                      <a:pt x="19" y="29"/>
                      <a:pt x="20" y="28"/>
                    </a:cubicBezTo>
                    <a:cubicBezTo>
                      <a:pt x="21" y="27"/>
                      <a:pt x="23" y="26"/>
                      <a:pt x="24" y="26"/>
                    </a:cubicBezTo>
                    <a:cubicBezTo>
                      <a:pt x="24" y="25"/>
                      <a:pt x="24" y="25"/>
                      <a:pt x="24" y="25"/>
                    </a:cubicBezTo>
                    <a:cubicBezTo>
                      <a:pt x="26" y="24"/>
                      <a:pt x="27" y="24"/>
                      <a:pt x="28" y="24"/>
                    </a:cubicBezTo>
                    <a:cubicBezTo>
                      <a:pt x="29" y="24"/>
                      <a:pt x="30" y="25"/>
                      <a:pt x="31" y="27"/>
                    </a:cubicBezTo>
                    <a:cubicBezTo>
                      <a:pt x="32" y="27"/>
                      <a:pt x="32" y="27"/>
                      <a:pt x="32" y="27"/>
                    </a:cubicBezTo>
                    <a:cubicBezTo>
                      <a:pt x="32" y="28"/>
                      <a:pt x="32" y="28"/>
                      <a:pt x="32" y="29"/>
                    </a:cubicBezTo>
                    <a:cubicBezTo>
                      <a:pt x="33" y="30"/>
                      <a:pt x="32" y="31"/>
                      <a:pt x="32" y="31"/>
                    </a:cubicBezTo>
                    <a:cubicBezTo>
                      <a:pt x="32" y="31"/>
                      <a:pt x="31" y="31"/>
                      <a:pt x="31" y="31"/>
                    </a:cubicBezTo>
                    <a:cubicBezTo>
                      <a:pt x="31" y="31"/>
                      <a:pt x="32" y="31"/>
                      <a:pt x="32" y="31"/>
                    </a:cubicBezTo>
                    <a:cubicBezTo>
                      <a:pt x="32" y="32"/>
                      <a:pt x="32" y="32"/>
                      <a:pt x="32" y="32"/>
                    </a:cubicBezTo>
                    <a:cubicBezTo>
                      <a:pt x="33" y="33"/>
                      <a:pt x="33" y="33"/>
                      <a:pt x="33" y="33"/>
                    </a:cubicBezTo>
                    <a:cubicBezTo>
                      <a:pt x="30" y="35"/>
                      <a:pt x="30" y="35"/>
                      <a:pt x="30" y="35"/>
                    </a:cubicBezTo>
                    <a:cubicBezTo>
                      <a:pt x="31" y="36"/>
                      <a:pt x="31" y="36"/>
                      <a:pt x="31" y="36"/>
                    </a:cubicBezTo>
                    <a:cubicBezTo>
                      <a:pt x="31" y="36"/>
                      <a:pt x="32" y="36"/>
                      <a:pt x="32" y="37"/>
                    </a:cubicBezTo>
                    <a:cubicBezTo>
                      <a:pt x="32" y="37"/>
                      <a:pt x="32" y="37"/>
                      <a:pt x="32" y="37"/>
                    </a:cubicBezTo>
                    <a:cubicBezTo>
                      <a:pt x="32" y="37"/>
                      <a:pt x="33" y="37"/>
                      <a:pt x="33" y="37"/>
                    </a:cubicBezTo>
                    <a:cubicBezTo>
                      <a:pt x="33" y="38"/>
                      <a:pt x="34" y="38"/>
                      <a:pt x="34" y="38"/>
                    </a:cubicBezTo>
                    <a:cubicBezTo>
                      <a:pt x="34" y="38"/>
                      <a:pt x="35" y="39"/>
                      <a:pt x="35" y="39"/>
                    </a:cubicBezTo>
                    <a:cubicBezTo>
                      <a:pt x="35" y="39"/>
                      <a:pt x="35" y="39"/>
                      <a:pt x="35" y="39"/>
                    </a:cubicBezTo>
                    <a:cubicBezTo>
                      <a:pt x="35" y="39"/>
                      <a:pt x="35" y="39"/>
                      <a:pt x="35" y="39"/>
                    </a:cubicBezTo>
                    <a:cubicBezTo>
                      <a:pt x="35" y="39"/>
                      <a:pt x="36" y="39"/>
                      <a:pt x="37" y="39"/>
                    </a:cubicBezTo>
                    <a:cubicBezTo>
                      <a:pt x="37" y="39"/>
                      <a:pt x="37" y="39"/>
                      <a:pt x="37" y="39"/>
                    </a:cubicBezTo>
                    <a:cubicBezTo>
                      <a:pt x="37" y="38"/>
                      <a:pt x="37" y="37"/>
                      <a:pt x="38" y="35"/>
                    </a:cubicBezTo>
                    <a:cubicBezTo>
                      <a:pt x="38" y="34"/>
                      <a:pt x="37" y="31"/>
                      <a:pt x="39" y="32"/>
                    </a:cubicBezTo>
                    <a:cubicBezTo>
                      <a:pt x="39" y="32"/>
                      <a:pt x="40" y="34"/>
                      <a:pt x="40" y="34"/>
                    </a:cubicBezTo>
                    <a:cubicBezTo>
                      <a:pt x="40" y="33"/>
                      <a:pt x="40" y="30"/>
                      <a:pt x="41" y="30"/>
                    </a:cubicBezTo>
                    <a:cubicBezTo>
                      <a:pt x="42" y="29"/>
                      <a:pt x="42" y="31"/>
                      <a:pt x="43" y="30"/>
                    </a:cubicBezTo>
                    <a:cubicBezTo>
                      <a:pt x="43" y="29"/>
                      <a:pt x="42" y="29"/>
                      <a:pt x="42" y="29"/>
                    </a:cubicBezTo>
                    <a:cubicBezTo>
                      <a:pt x="42" y="28"/>
                      <a:pt x="41" y="28"/>
                      <a:pt x="42" y="27"/>
                    </a:cubicBezTo>
                    <a:cubicBezTo>
                      <a:pt x="42" y="26"/>
                      <a:pt x="42" y="25"/>
                      <a:pt x="43" y="23"/>
                    </a:cubicBezTo>
                    <a:cubicBezTo>
                      <a:pt x="43" y="22"/>
                      <a:pt x="44" y="20"/>
                      <a:pt x="45" y="19"/>
                    </a:cubicBezTo>
                    <a:cubicBezTo>
                      <a:pt x="46" y="18"/>
                      <a:pt x="48" y="18"/>
                      <a:pt x="49" y="18"/>
                    </a:cubicBezTo>
                    <a:cubicBezTo>
                      <a:pt x="51" y="18"/>
                      <a:pt x="51" y="18"/>
                      <a:pt x="53" y="19"/>
                    </a:cubicBezTo>
                    <a:cubicBezTo>
                      <a:pt x="52" y="18"/>
                      <a:pt x="52" y="17"/>
                      <a:pt x="5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2" name="Freeform 2994">
                <a:extLst>
                  <a:ext uri="{FF2B5EF4-FFF2-40B4-BE49-F238E27FC236}">
                    <a16:creationId xmlns:a16="http://schemas.microsoft.com/office/drawing/2014/main" id="{458BE19A-4657-4181-AFE5-4CB9A2B53B2C}"/>
                  </a:ext>
                </a:extLst>
              </p:cNvPr>
              <p:cNvSpPr>
                <a:spLocks/>
              </p:cNvSpPr>
              <p:nvPr/>
            </p:nvSpPr>
            <p:spPr bwMode="auto">
              <a:xfrm>
                <a:off x="4634" y="1766"/>
                <a:ext cx="26" cy="19"/>
              </a:xfrm>
              <a:custGeom>
                <a:avLst/>
                <a:gdLst>
                  <a:gd name="T0" fmla="*/ 2 w 11"/>
                  <a:gd name="T1" fmla="*/ 1 h 8"/>
                  <a:gd name="T2" fmla="*/ 2 w 11"/>
                  <a:gd name="T3" fmla="*/ 1 h 8"/>
                  <a:gd name="T4" fmla="*/ 1 w 11"/>
                  <a:gd name="T5" fmla="*/ 0 h 8"/>
                  <a:gd name="T6" fmla="*/ 1 w 11"/>
                  <a:gd name="T7" fmla="*/ 0 h 8"/>
                  <a:gd name="T8" fmla="*/ 0 w 11"/>
                  <a:gd name="T9" fmla="*/ 0 h 8"/>
                  <a:gd name="T10" fmla="*/ 0 w 11"/>
                  <a:gd name="T11" fmla="*/ 0 h 8"/>
                  <a:gd name="T12" fmla="*/ 0 w 11"/>
                  <a:gd name="T13" fmla="*/ 1 h 8"/>
                  <a:gd name="T14" fmla="*/ 3 w 11"/>
                  <a:gd name="T15" fmla="*/ 4 h 8"/>
                  <a:gd name="T16" fmla="*/ 4 w 11"/>
                  <a:gd name="T17" fmla="*/ 4 h 8"/>
                  <a:gd name="T18" fmla="*/ 4 w 11"/>
                  <a:gd name="T19" fmla="*/ 5 h 8"/>
                  <a:gd name="T20" fmla="*/ 6 w 11"/>
                  <a:gd name="T21" fmla="*/ 7 h 8"/>
                  <a:gd name="T22" fmla="*/ 9 w 11"/>
                  <a:gd name="T23" fmla="*/ 8 h 8"/>
                  <a:gd name="T24" fmla="*/ 10 w 11"/>
                  <a:gd name="T25" fmla="*/ 8 h 8"/>
                  <a:gd name="T26" fmla="*/ 11 w 11"/>
                  <a:gd name="T27" fmla="*/ 8 h 8"/>
                  <a:gd name="T28" fmla="*/ 11 w 11"/>
                  <a:gd name="T29" fmla="*/ 8 h 8"/>
                  <a:gd name="T30" fmla="*/ 10 w 11"/>
                  <a:gd name="T31" fmla="*/ 5 h 8"/>
                  <a:gd name="T32" fmla="*/ 9 w 11"/>
                  <a:gd name="T33" fmla="*/ 5 h 8"/>
                  <a:gd name="T34" fmla="*/ 9 w 11"/>
                  <a:gd name="T35" fmla="*/ 5 h 8"/>
                  <a:gd name="T36" fmla="*/ 7 w 11"/>
                  <a:gd name="T37" fmla="*/ 3 h 8"/>
                  <a:gd name="T38" fmla="*/ 7 w 11"/>
                  <a:gd name="T39" fmla="*/ 3 h 8"/>
                  <a:gd name="T40" fmla="*/ 6 w 11"/>
                  <a:gd name="T41" fmla="*/ 3 h 8"/>
                  <a:gd name="T42" fmla="*/ 6 w 11"/>
                  <a:gd name="T43" fmla="*/ 3 h 8"/>
                  <a:gd name="T44" fmla="*/ 5 w 11"/>
                  <a:gd name="T45" fmla="*/ 3 h 8"/>
                  <a:gd name="T46" fmla="*/ 4 w 11"/>
                  <a:gd name="T47" fmla="*/ 3 h 8"/>
                  <a:gd name="T48" fmla="*/ 3 w 11"/>
                  <a:gd name="T49" fmla="*/ 2 h 8"/>
                  <a:gd name="T50" fmla="*/ 2 w 11"/>
                  <a:gd name="T5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8">
                    <a:moveTo>
                      <a:pt x="2" y="1"/>
                    </a:moveTo>
                    <a:cubicBezTo>
                      <a:pt x="2" y="1"/>
                      <a:pt x="2" y="1"/>
                      <a:pt x="2" y="1"/>
                    </a:cubicBezTo>
                    <a:cubicBezTo>
                      <a:pt x="1" y="0"/>
                      <a:pt x="1" y="0"/>
                      <a:pt x="1" y="0"/>
                    </a:cubicBezTo>
                    <a:cubicBezTo>
                      <a:pt x="1" y="0"/>
                      <a:pt x="1" y="0"/>
                      <a:pt x="1" y="0"/>
                    </a:cubicBezTo>
                    <a:cubicBezTo>
                      <a:pt x="0" y="0"/>
                      <a:pt x="0" y="0"/>
                      <a:pt x="0" y="0"/>
                    </a:cubicBezTo>
                    <a:cubicBezTo>
                      <a:pt x="0" y="0"/>
                      <a:pt x="0" y="0"/>
                      <a:pt x="0" y="0"/>
                    </a:cubicBezTo>
                    <a:cubicBezTo>
                      <a:pt x="0" y="0"/>
                      <a:pt x="0" y="1"/>
                      <a:pt x="0" y="1"/>
                    </a:cubicBezTo>
                    <a:cubicBezTo>
                      <a:pt x="0" y="1"/>
                      <a:pt x="1" y="2"/>
                      <a:pt x="3" y="4"/>
                    </a:cubicBezTo>
                    <a:cubicBezTo>
                      <a:pt x="3" y="4"/>
                      <a:pt x="3" y="4"/>
                      <a:pt x="4" y="4"/>
                    </a:cubicBezTo>
                    <a:cubicBezTo>
                      <a:pt x="4" y="5"/>
                      <a:pt x="4" y="5"/>
                      <a:pt x="4" y="5"/>
                    </a:cubicBezTo>
                    <a:cubicBezTo>
                      <a:pt x="5" y="6"/>
                      <a:pt x="5" y="6"/>
                      <a:pt x="6" y="7"/>
                    </a:cubicBezTo>
                    <a:cubicBezTo>
                      <a:pt x="6" y="7"/>
                      <a:pt x="8" y="7"/>
                      <a:pt x="9" y="8"/>
                    </a:cubicBezTo>
                    <a:cubicBezTo>
                      <a:pt x="10" y="8"/>
                      <a:pt x="10" y="8"/>
                      <a:pt x="10" y="8"/>
                    </a:cubicBezTo>
                    <a:cubicBezTo>
                      <a:pt x="10" y="8"/>
                      <a:pt x="11" y="8"/>
                      <a:pt x="11" y="8"/>
                    </a:cubicBezTo>
                    <a:cubicBezTo>
                      <a:pt x="11" y="8"/>
                      <a:pt x="11" y="8"/>
                      <a:pt x="11" y="8"/>
                    </a:cubicBezTo>
                    <a:cubicBezTo>
                      <a:pt x="11" y="7"/>
                      <a:pt x="10" y="6"/>
                      <a:pt x="10" y="5"/>
                    </a:cubicBezTo>
                    <a:cubicBezTo>
                      <a:pt x="10" y="5"/>
                      <a:pt x="9" y="5"/>
                      <a:pt x="9" y="5"/>
                    </a:cubicBezTo>
                    <a:cubicBezTo>
                      <a:pt x="9" y="5"/>
                      <a:pt x="9" y="5"/>
                      <a:pt x="9" y="5"/>
                    </a:cubicBezTo>
                    <a:cubicBezTo>
                      <a:pt x="8" y="5"/>
                      <a:pt x="8" y="4"/>
                      <a:pt x="7" y="3"/>
                    </a:cubicBezTo>
                    <a:cubicBezTo>
                      <a:pt x="7" y="3"/>
                      <a:pt x="7" y="3"/>
                      <a:pt x="7" y="3"/>
                    </a:cubicBezTo>
                    <a:cubicBezTo>
                      <a:pt x="7" y="3"/>
                      <a:pt x="6" y="3"/>
                      <a:pt x="6" y="3"/>
                    </a:cubicBezTo>
                    <a:cubicBezTo>
                      <a:pt x="6" y="3"/>
                      <a:pt x="6" y="3"/>
                      <a:pt x="6" y="3"/>
                    </a:cubicBezTo>
                    <a:cubicBezTo>
                      <a:pt x="5" y="3"/>
                      <a:pt x="5" y="3"/>
                      <a:pt x="5" y="3"/>
                    </a:cubicBezTo>
                    <a:cubicBezTo>
                      <a:pt x="4" y="3"/>
                      <a:pt x="4" y="3"/>
                      <a:pt x="4" y="3"/>
                    </a:cubicBezTo>
                    <a:cubicBezTo>
                      <a:pt x="4" y="2"/>
                      <a:pt x="4" y="2"/>
                      <a:pt x="3" y="2"/>
                    </a:cubicBezTo>
                    <a:cubicBezTo>
                      <a:pt x="3" y="2"/>
                      <a:pt x="3"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3" name="Freeform 2995">
                <a:extLst>
                  <a:ext uri="{FF2B5EF4-FFF2-40B4-BE49-F238E27FC236}">
                    <a16:creationId xmlns:a16="http://schemas.microsoft.com/office/drawing/2014/main" id="{86A2709D-AEAF-475E-8CD3-F02D1E682F18}"/>
                  </a:ext>
                </a:extLst>
              </p:cNvPr>
              <p:cNvSpPr>
                <a:spLocks/>
              </p:cNvSpPr>
              <p:nvPr/>
            </p:nvSpPr>
            <p:spPr bwMode="auto">
              <a:xfrm>
                <a:off x="6155" y="2386"/>
                <a:ext cx="9" cy="5"/>
              </a:xfrm>
              <a:custGeom>
                <a:avLst/>
                <a:gdLst>
                  <a:gd name="T0" fmla="*/ 9 w 9"/>
                  <a:gd name="T1" fmla="*/ 0 h 5"/>
                  <a:gd name="T2" fmla="*/ 0 w 9"/>
                  <a:gd name="T3" fmla="*/ 0 h 5"/>
                  <a:gd name="T4" fmla="*/ 4 w 9"/>
                  <a:gd name="T5" fmla="*/ 2 h 5"/>
                  <a:gd name="T6" fmla="*/ 4 w 9"/>
                  <a:gd name="T7" fmla="*/ 2 h 5"/>
                  <a:gd name="T8" fmla="*/ 7 w 9"/>
                  <a:gd name="T9" fmla="*/ 2 h 5"/>
                  <a:gd name="T10" fmla="*/ 9 w 9"/>
                  <a:gd name="T11" fmla="*/ 5 h 5"/>
                  <a:gd name="T12" fmla="*/ 9 w 9"/>
                  <a:gd name="T13" fmla="*/ 2 h 5"/>
                  <a:gd name="T14" fmla="*/ 9 w 9"/>
                  <a:gd name="T15" fmla="*/ 0 h 5"/>
                  <a:gd name="T16" fmla="*/ 9 w 9"/>
                  <a:gd name="T17" fmla="*/ 0 h 5"/>
                  <a:gd name="T18" fmla="*/ 9 w 9"/>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5">
                    <a:moveTo>
                      <a:pt x="9" y="0"/>
                    </a:moveTo>
                    <a:lnTo>
                      <a:pt x="0" y="0"/>
                    </a:lnTo>
                    <a:lnTo>
                      <a:pt x="4" y="2"/>
                    </a:lnTo>
                    <a:lnTo>
                      <a:pt x="4" y="2"/>
                    </a:lnTo>
                    <a:lnTo>
                      <a:pt x="7" y="2"/>
                    </a:lnTo>
                    <a:lnTo>
                      <a:pt x="9" y="5"/>
                    </a:lnTo>
                    <a:lnTo>
                      <a:pt x="9" y="2"/>
                    </a:lnTo>
                    <a:lnTo>
                      <a:pt x="9" y="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4" name="Freeform 2996">
                <a:extLst>
                  <a:ext uri="{FF2B5EF4-FFF2-40B4-BE49-F238E27FC236}">
                    <a16:creationId xmlns:a16="http://schemas.microsoft.com/office/drawing/2014/main" id="{930ABF7D-8D4B-470D-8727-A747D93E8A53}"/>
                  </a:ext>
                </a:extLst>
              </p:cNvPr>
              <p:cNvSpPr>
                <a:spLocks/>
              </p:cNvSpPr>
              <p:nvPr/>
            </p:nvSpPr>
            <p:spPr bwMode="auto">
              <a:xfrm>
                <a:off x="6954" y="2840"/>
                <a:ext cx="239" cy="197"/>
              </a:xfrm>
              <a:custGeom>
                <a:avLst/>
                <a:gdLst>
                  <a:gd name="T0" fmla="*/ 98 w 101"/>
                  <a:gd name="T1" fmla="*/ 79 h 83"/>
                  <a:gd name="T2" fmla="*/ 98 w 101"/>
                  <a:gd name="T3" fmla="*/ 78 h 83"/>
                  <a:gd name="T4" fmla="*/ 91 w 101"/>
                  <a:gd name="T5" fmla="*/ 75 h 83"/>
                  <a:gd name="T6" fmla="*/ 92 w 101"/>
                  <a:gd name="T7" fmla="*/ 72 h 83"/>
                  <a:gd name="T8" fmla="*/ 86 w 101"/>
                  <a:gd name="T9" fmla="*/ 71 h 83"/>
                  <a:gd name="T10" fmla="*/ 84 w 101"/>
                  <a:gd name="T11" fmla="*/ 69 h 83"/>
                  <a:gd name="T12" fmla="*/ 80 w 101"/>
                  <a:gd name="T13" fmla="*/ 66 h 83"/>
                  <a:gd name="T14" fmla="*/ 74 w 101"/>
                  <a:gd name="T15" fmla="*/ 60 h 83"/>
                  <a:gd name="T16" fmla="*/ 72 w 101"/>
                  <a:gd name="T17" fmla="*/ 57 h 83"/>
                  <a:gd name="T18" fmla="*/ 61 w 101"/>
                  <a:gd name="T19" fmla="*/ 42 h 83"/>
                  <a:gd name="T20" fmla="*/ 70 w 101"/>
                  <a:gd name="T21" fmla="*/ 42 h 83"/>
                  <a:gd name="T22" fmla="*/ 69 w 101"/>
                  <a:gd name="T23" fmla="*/ 37 h 83"/>
                  <a:gd name="T24" fmla="*/ 63 w 101"/>
                  <a:gd name="T25" fmla="*/ 34 h 83"/>
                  <a:gd name="T26" fmla="*/ 52 w 101"/>
                  <a:gd name="T27" fmla="*/ 30 h 83"/>
                  <a:gd name="T28" fmla="*/ 49 w 101"/>
                  <a:gd name="T29" fmla="*/ 27 h 83"/>
                  <a:gd name="T30" fmla="*/ 45 w 101"/>
                  <a:gd name="T31" fmla="*/ 19 h 83"/>
                  <a:gd name="T32" fmla="*/ 36 w 101"/>
                  <a:gd name="T33" fmla="*/ 13 h 83"/>
                  <a:gd name="T34" fmla="*/ 1 w 101"/>
                  <a:gd name="T35" fmla="*/ 0 h 83"/>
                  <a:gd name="T36" fmla="*/ 1 w 101"/>
                  <a:gd name="T37" fmla="*/ 23 h 83"/>
                  <a:gd name="T38" fmla="*/ 1 w 101"/>
                  <a:gd name="T39" fmla="*/ 26 h 83"/>
                  <a:gd name="T40" fmla="*/ 1 w 101"/>
                  <a:gd name="T41" fmla="*/ 33 h 83"/>
                  <a:gd name="T42" fmla="*/ 1 w 101"/>
                  <a:gd name="T43" fmla="*/ 43 h 83"/>
                  <a:gd name="T44" fmla="*/ 1 w 101"/>
                  <a:gd name="T45" fmla="*/ 68 h 83"/>
                  <a:gd name="T46" fmla="*/ 17 w 101"/>
                  <a:gd name="T47" fmla="*/ 69 h 83"/>
                  <a:gd name="T48" fmla="*/ 24 w 101"/>
                  <a:gd name="T49" fmla="*/ 66 h 83"/>
                  <a:gd name="T50" fmla="*/ 19 w 101"/>
                  <a:gd name="T51" fmla="*/ 60 h 83"/>
                  <a:gd name="T52" fmla="*/ 15 w 101"/>
                  <a:gd name="T53" fmla="*/ 59 h 83"/>
                  <a:gd name="T54" fmla="*/ 22 w 101"/>
                  <a:gd name="T55" fmla="*/ 58 h 83"/>
                  <a:gd name="T56" fmla="*/ 26 w 101"/>
                  <a:gd name="T57" fmla="*/ 56 h 83"/>
                  <a:gd name="T58" fmla="*/ 25 w 101"/>
                  <a:gd name="T59" fmla="*/ 55 h 83"/>
                  <a:gd name="T60" fmla="*/ 28 w 101"/>
                  <a:gd name="T61" fmla="*/ 55 h 83"/>
                  <a:gd name="T62" fmla="*/ 30 w 101"/>
                  <a:gd name="T63" fmla="*/ 55 h 83"/>
                  <a:gd name="T64" fmla="*/ 29 w 101"/>
                  <a:gd name="T65" fmla="*/ 51 h 83"/>
                  <a:gd name="T66" fmla="*/ 34 w 101"/>
                  <a:gd name="T67" fmla="*/ 51 h 83"/>
                  <a:gd name="T68" fmla="*/ 34 w 101"/>
                  <a:gd name="T69" fmla="*/ 53 h 83"/>
                  <a:gd name="T70" fmla="*/ 35 w 101"/>
                  <a:gd name="T71" fmla="*/ 50 h 83"/>
                  <a:gd name="T72" fmla="*/ 36 w 101"/>
                  <a:gd name="T73" fmla="*/ 50 h 83"/>
                  <a:gd name="T74" fmla="*/ 39 w 101"/>
                  <a:gd name="T75" fmla="*/ 53 h 83"/>
                  <a:gd name="T76" fmla="*/ 49 w 101"/>
                  <a:gd name="T77" fmla="*/ 55 h 83"/>
                  <a:gd name="T78" fmla="*/ 53 w 101"/>
                  <a:gd name="T79" fmla="*/ 58 h 83"/>
                  <a:gd name="T80" fmla="*/ 57 w 101"/>
                  <a:gd name="T81" fmla="*/ 64 h 83"/>
                  <a:gd name="T82" fmla="*/ 61 w 101"/>
                  <a:gd name="T83" fmla="*/ 66 h 83"/>
                  <a:gd name="T84" fmla="*/ 63 w 101"/>
                  <a:gd name="T85" fmla="*/ 71 h 83"/>
                  <a:gd name="T86" fmla="*/ 70 w 101"/>
                  <a:gd name="T87" fmla="*/ 77 h 83"/>
                  <a:gd name="T88" fmla="*/ 76 w 101"/>
                  <a:gd name="T89" fmla="*/ 78 h 83"/>
                  <a:gd name="T90" fmla="*/ 80 w 101"/>
                  <a:gd name="T91" fmla="*/ 78 h 83"/>
                  <a:gd name="T92" fmla="*/ 93 w 101"/>
                  <a:gd name="T93" fmla="*/ 82 h 83"/>
                  <a:gd name="T94" fmla="*/ 98 w 101"/>
                  <a:gd name="T95"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1" h="83">
                    <a:moveTo>
                      <a:pt x="96" y="79"/>
                    </a:moveTo>
                    <a:cubicBezTo>
                      <a:pt x="96" y="79"/>
                      <a:pt x="97" y="79"/>
                      <a:pt x="98" y="79"/>
                    </a:cubicBezTo>
                    <a:cubicBezTo>
                      <a:pt x="99" y="79"/>
                      <a:pt x="100" y="79"/>
                      <a:pt x="101" y="78"/>
                    </a:cubicBezTo>
                    <a:cubicBezTo>
                      <a:pt x="100" y="79"/>
                      <a:pt x="99" y="78"/>
                      <a:pt x="98" y="78"/>
                    </a:cubicBezTo>
                    <a:cubicBezTo>
                      <a:pt x="97" y="78"/>
                      <a:pt x="96" y="78"/>
                      <a:pt x="95" y="78"/>
                    </a:cubicBezTo>
                    <a:cubicBezTo>
                      <a:pt x="94" y="77"/>
                      <a:pt x="92" y="76"/>
                      <a:pt x="91" y="75"/>
                    </a:cubicBezTo>
                    <a:cubicBezTo>
                      <a:pt x="89" y="74"/>
                      <a:pt x="89" y="74"/>
                      <a:pt x="90" y="74"/>
                    </a:cubicBezTo>
                    <a:cubicBezTo>
                      <a:pt x="91" y="73"/>
                      <a:pt x="92" y="74"/>
                      <a:pt x="92" y="72"/>
                    </a:cubicBezTo>
                    <a:cubicBezTo>
                      <a:pt x="92" y="72"/>
                      <a:pt x="91" y="72"/>
                      <a:pt x="91" y="72"/>
                    </a:cubicBezTo>
                    <a:cubicBezTo>
                      <a:pt x="89" y="72"/>
                      <a:pt x="87" y="72"/>
                      <a:pt x="86" y="71"/>
                    </a:cubicBezTo>
                    <a:cubicBezTo>
                      <a:pt x="85" y="71"/>
                      <a:pt x="84" y="70"/>
                      <a:pt x="84" y="69"/>
                    </a:cubicBezTo>
                    <a:cubicBezTo>
                      <a:pt x="84" y="69"/>
                      <a:pt x="84" y="69"/>
                      <a:pt x="84" y="69"/>
                    </a:cubicBezTo>
                    <a:cubicBezTo>
                      <a:pt x="84" y="68"/>
                      <a:pt x="85" y="66"/>
                      <a:pt x="85" y="66"/>
                    </a:cubicBezTo>
                    <a:cubicBezTo>
                      <a:pt x="84" y="65"/>
                      <a:pt x="81" y="66"/>
                      <a:pt x="80" y="66"/>
                    </a:cubicBezTo>
                    <a:cubicBezTo>
                      <a:pt x="78" y="67"/>
                      <a:pt x="78" y="66"/>
                      <a:pt x="77" y="64"/>
                    </a:cubicBezTo>
                    <a:cubicBezTo>
                      <a:pt x="76" y="63"/>
                      <a:pt x="74" y="62"/>
                      <a:pt x="74" y="60"/>
                    </a:cubicBezTo>
                    <a:cubicBezTo>
                      <a:pt x="74" y="60"/>
                      <a:pt x="74" y="60"/>
                      <a:pt x="74" y="60"/>
                    </a:cubicBezTo>
                    <a:cubicBezTo>
                      <a:pt x="74" y="59"/>
                      <a:pt x="73" y="58"/>
                      <a:pt x="72" y="57"/>
                    </a:cubicBezTo>
                    <a:cubicBezTo>
                      <a:pt x="70" y="53"/>
                      <a:pt x="64" y="52"/>
                      <a:pt x="63" y="48"/>
                    </a:cubicBezTo>
                    <a:cubicBezTo>
                      <a:pt x="62" y="47"/>
                      <a:pt x="60" y="44"/>
                      <a:pt x="61" y="42"/>
                    </a:cubicBezTo>
                    <a:cubicBezTo>
                      <a:pt x="63" y="42"/>
                      <a:pt x="65" y="43"/>
                      <a:pt x="67" y="42"/>
                    </a:cubicBezTo>
                    <a:cubicBezTo>
                      <a:pt x="68" y="42"/>
                      <a:pt x="69" y="42"/>
                      <a:pt x="70" y="42"/>
                    </a:cubicBezTo>
                    <a:cubicBezTo>
                      <a:pt x="70" y="41"/>
                      <a:pt x="70" y="39"/>
                      <a:pt x="70" y="38"/>
                    </a:cubicBezTo>
                    <a:cubicBezTo>
                      <a:pt x="70" y="38"/>
                      <a:pt x="69" y="37"/>
                      <a:pt x="69" y="37"/>
                    </a:cubicBezTo>
                    <a:cubicBezTo>
                      <a:pt x="68" y="36"/>
                      <a:pt x="67" y="35"/>
                      <a:pt x="65" y="34"/>
                    </a:cubicBezTo>
                    <a:cubicBezTo>
                      <a:pt x="64" y="34"/>
                      <a:pt x="64" y="34"/>
                      <a:pt x="63" y="34"/>
                    </a:cubicBezTo>
                    <a:cubicBezTo>
                      <a:pt x="60" y="34"/>
                      <a:pt x="59" y="32"/>
                      <a:pt x="56" y="31"/>
                    </a:cubicBezTo>
                    <a:cubicBezTo>
                      <a:pt x="55" y="31"/>
                      <a:pt x="53" y="30"/>
                      <a:pt x="52" y="30"/>
                    </a:cubicBezTo>
                    <a:cubicBezTo>
                      <a:pt x="51" y="30"/>
                      <a:pt x="49" y="30"/>
                      <a:pt x="49" y="29"/>
                    </a:cubicBezTo>
                    <a:cubicBezTo>
                      <a:pt x="48" y="28"/>
                      <a:pt x="49" y="28"/>
                      <a:pt x="49" y="27"/>
                    </a:cubicBezTo>
                    <a:cubicBezTo>
                      <a:pt x="49" y="26"/>
                      <a:pt x="49" y="25"/>
                      <a:pt x="49" y="25"/>
                    </a:cubicBezTo>
                    <a:cubicBezTo>
                      <a:pt x="48" y="23"/>
                      <a:pt x="46" y="21"/>
                      <a:pt x="45" y="19"/>
                    </a:cubicBezTo>
                    <a:cubicBezTo>
                      <a:pt x="44" y="18"/>
                      <a:pt x="44" y="19"/>
                      <a:pt x="43" y="18"/>
                    </a:cubicBezTo>
                    <a:cubicBezTo>
                      <a:pt x="40" y="17"/>
                      <a:pt x="37" y="15"/>
                      <a:pt x="36" y="13"/>
                    </a:cubicBezTo>
                    <a:cubicBezTo>
                      <a:pt x="36" y="12"/>
                      <a:pt x="35" y="12"/>
                      <a:pt x="35" y="12"/>
                    </a:cubicBezTo>
                    <a:cubicBezTo>
                      <a:pt x="23" y="8"/>
                      <a:pt x="12" y="4"/>
                      <a:pt x="1" y="0"/>
                    </a:cubicBezTo>
                    <a:cubicBezTo>
                      <a:pt x="1" y="3"/>
                      <a:pt x="1" y="6"/>
                      <a:pt x="1" y="9"/>
                    </a:cubicBezTo>
                    <a:cubicBezTo>
                      <a:pt x="1" y="13"/>
                      <a:pt x="1" y="18"/>
                      <a:pt x="1" y="23"/>
                    </a:cubicBezTo>
                    <a:cubicBezTo>
                      <a:pt x="1" y="25"/>
                      <a:pt x="1" y="25"/>
                      <a:pt x="1" y="25"/>
                    </a:cubicBezTo>
                    <a:cubicBezTo>
                      <a:pt x="1" y="25"/>
                      <a:pt x="1" y="26"/>
                      <a:pt x="1" y="26"/>
                    </a:cubicBezTo>
                    <a:cubicBezTo>
                      <a:pt x="1" y="27"/>
                      <a:pt x="1" y="27"/>
                      <a:pt x="1" y="27"/>
                    </a:cubicBezTo>
                    <a:cubicBezTo>
                      <a:pt x="1" y="29"/>
                      <a:pt x="1" y="31"/>
                      <a:pt x="1" y="33"/>
                    </a:cubicBezTo>
                    <a:cubicBezTo>
                      <a:pt x="0" y="42"/>
                      <a:pt x="0" y="42"/>
                      <a:pt x="0" y="42"/>
                    </a:cubicBezTo>
                    <a:cubicBezTo>
                      <a:pt x="1" y="43"/>
                      <a:pt x="1" y="43"/>
                      <a:pt x="1" y="43"/>
                    </a:cubicBezTo>
                    <a:cubicBezTo>
                      <a:pt x="1" y="43"/>
                      <a:pt x="1" y="44"/>
                      <a:pt x="1" y="44"/>
                    </a:cubicBezTo>
                    <a:cubicBezTo>
                      <a:pt x="1" y="68"/>
                      <a:pt x="1" y="68"/>
                      <a:pt x="1" y="68"/>
                    </a:cubicBezTo>
                    <a:cubicBezTo>
                      <a:pt x="4" y="68"/>
                      <a:pt x="12" y="67"/>
                      <a:pt x="13" y="67"/>
                    </a:cubicBezTo>
                    <a:cubicBezTo>
                      <a:pt x="14" y="68"/>
                      <a:pt x="16" y="68"/>
                      <a:pt x="17" y="69"/>
                    </a:cubicBezTo>
                    <a:cubicBezTo>
                      <a:pt x="18" y="69"/>
                      <a:pt x="20" y="67"/>
                      <a:pt x="21" y="67"/>
                    </a:cubicBezTo>
                    <a:cubicBezTo>
                      <a:pt x="22" y="67"/>
                      <a:pt x="24" y="66"/>
                      <a:pt x="24" y="66"/>
                    </a:cubicBezTo>
                    <a:cubicBezTo>
                      <a:pt x="25" y="65"/>
                      <a:pt x="24" y="63"/>
                      <a:pt x="24" y="62"/>
                    </a:cubicBezTo>
                    <a:cubicBezTo>
                      <a:pt x="23" y="60"/>
                      <a:pt x="21" y="60"/>
                      <a:pt x="19" y="60"/>
                    </a:cubicBezTo>
                    <a:cubicBezTo>
                      <a:pt x="19" y="59"/>
                      <a:pt x="18" y="59"/>
                      <a:pt x="17" y="59"/>
                    </a:cubicBezTo>
                    <a:cubicBezTo>
                      <a:pt x="16" y="58"/>
                      <a:pt x="15" y="60"/>
                      <a:pt x="15" y="59"/>
                    </a:cubicBezTo>
                    <a:cubicBezTo>
                      <a:pt x="16" y="59"/>
                      <a:pt x="18" y="58"/>
                      <a:pt x="19" y="58"/>
                    </a:cubicBezTo>
                    <a:cubicBezTo>
                      <a:pt x="20" y="59"/>
                      <a:pt x="20" y="59"/>
                      <a:pt x="22" y="58"/>
                    </a:cubicBezTo>
                    <a:cubicBezTo>
                      <a:pt x="22" y="58"/>
                      <a:pt x="23" y="58"/>
                      <a:pt x="24" y="58"/>
                    </a:cubicBezTo>
                    <a:cubicBezTo>
                      <a:pt x="26" y="58"/>
                      <a:pt x="28" y="58"/>
                      <a:pt x="26" y="56"/>
                    </a:cubicBezTo>
                    <a:cubicBezTo>
                      <a:pt x="26" y="56"/>
                      <a:pt x="25" y="55"/>
                      <a:pt x="24" y="54"/>
                    </a:cubicBezTo>
                    <a:cubicBezTo>
                      <a:pt x="25" y="54"/>
                      <a:pt x="25" y="55"/>
                      <a:pt x="25" y="55"/>
                    </a:cubicBezTo>
                    <a:cubicBezTo>
                      <a:pt x="26" y="55"/>
                      <a:pt x="26" y="55"/>
                      <a:pt x="27" y="55"/>
                    </a:cubicBezTo>
                    <a:cubicBezTo>
                      <a:pt x="27" y="55"/>
                      <a:pt x="28" y="55"/>
                      <a:pt x="28" y="55"/>
                    </a:cubicBezTo>
                    <a:cubicBezTo>
                      <a:pt x="29" y="56"/>
                      <a:pt x="30" y="55"/>
                      <a:pt x="29" y="55"/>
                    </a:cubicBezTo>
                    <a:cubicBezTo>
                      <a:pt x="30" y="55"/>
                      <a:pt x="30" y="55"/>
                      <a:pt x="30" y="55"/>
                    </a:cubicBezTo>
                    <a:cubicBezTo>
                      <a:pt x="29" y="53"/>
                      <a:pt x="28" y="51"/>
                      <a:pt x="27" y="50"/>
                    </a:cubicBezTo>
                    <a:cubicBezTo>
                      <a:pt x="28" y="50"/>
                      <a:pt x="28" y="50"/>
                      <a:pt x="29" y="51"/>
                    </a:cubicBezTo>
                    <a:cubicBezTo>
                      <a:pt x="29" y="51"/>
                      <a:pt x="29" y="52"/>
                      <a:pt x="30" y="52"/>
                    </a:cubicBezTo>
                    <a:cubicBezTo>
                      <a:pt x="31" y="53"/>
                      <a:pt x="32" y="51"/>
                      <a:pt x="34" y="51"/>
                    </a:cubicBezTo>
                    <a:cubicBezTo>
                      <a:pt x="34" y="52"/>
                      <a:pt x="34" y="52"/>
                      <a:pt x="34" y="52"/>
                    </a:cubicBezTo>
                    <a:cubicBezTo>
                      <a:pt x="34" y="52"/>
                      <a:pt x="34" y="52"/>
                      <a:pt x="34" y="53"/>
                    </a:cubicBezTo>
                    <a:cubicBezTo>
                      <a:pt x="35" y="53"/>
                      <a:pt x="35" y="53"/>
                      <a:pt x="36" y="53"/>
                    </a:cubicBezTo>
                    <a:cubicBezTo>
                      <a:pt x="35" y="52"/>
                      <a:pt x="35" y="51"/>
                      <a:pt x="35" y="50"/>
                    </a:cubicBezTo>
                    <a:cubicBezTo>
                      <a:pt x="35" y="51"/>
                      <a:pt x="36" y="51"/>
                      <a:pt x="36" y="52"/>
                    </a:cubicBezTo>
                    <a:cubicBezTo>
                      <a:pt x="36" y="51"/>
                      <a:pt x="36" y="51"/>
                      <a:pt x="36" y="50"/>
                    </a:cubicBezTo>
                    <a:cubicBezTo>
                      <a:pt x="36" y="52"/>
                      <a:pt x="38" y="51"/>
                      <a:pt x="39" y="51"/>
                    </a:cubicBezTo>
                    <a:cubicBezTo>
                      <a:pt x="40" y="51"/>
                      <a:pt x="39" y="52"/>
                      <a:pt x="39" y="53"/>
                    </a:cubicBezTo>
                    <a:cubicBezTo>
                      <a:pt x="40" y="53"/>
                      <a:pt x="41" y="53"/>
                      <a:pt x="42" y="53"/>
                    </a:cubicBezTo>
                    <a:cubicBezTo>
                      <a:pt x="44" y="54"/>
                      <a:pt x="47" y="54"/>
                      <a:pt x="49" y="55"/>
                    </a:cubicBezTo>
                    <a:cubicBezTo>
                      <a:pt x="48" y="56"/>
                      <a:pt x="51" y="56"/>
                      <a:pt x="52" y="56"/>
                    </a:cubicBezTo>
                    <a:cubicBezTo>
                      <a:pt x="52" y="57"/>
                      <a:pt x="52" y="57"/>
                      <a:pt x="53" y="58"/>
                    </a:cubicBezTo>
                    <a:cubicBezTo>
                      <a:pt x="54" y="58"/>
                      <a:pt x="54" y="59"/>
                      <a:pt x="54" y="60"/>
                    </a:cubicBezTo>
                    <a:cubicBezTo>
                      <a:pt x="55" y="61"/>
                      <a:pt x="56" y="62"/>
                      <a:pt x="57" y="64"/>
                    </a:cubicBezTo>
                    <a:cubicBezTo>
                      <a:pt x="58" y="65"/>
                      <a:pt x="57" y="65"/>
                      <a:pt x="58" y="66"/>
                    </a:cubicBezTo>
                    <a:cubicBezTo>
                      <a:pt x="59" y="67"/>
                      <a:pt x="60" y="67"/>
                      <a:pt x="61" y="66"/>
                    </a:cubicBezTo>
                    <a:cubicBezTo>
                      <a:pt x="61" y="66"/>
                      <a:pt x="61" y="67"/>
                      <a:pt x="61" y="67"/>
                    </a:cubicBezTo>
                    <a:cubicBezTo>
                      <a:pt x="61" y="68"/>
                      <a:pt x="62" y="70"/>
                      <a:pt x="63" y="71"/>
                    </a:cubicBezTo>
                    <a:cubicBezTo>
                      <a:pt x="64" y="71"/>
                      <a:pt x="64" y="71"/>
                      <a:pt x="65" y="72"/>
                    </a:cubicBezTo>
                    <a:cubicBezTo>
                      <a:pt x="67" y="74"/>
                      <a:pt x="68" y="76"/>
                      <a:pt x="70" y="77"/>
                    </a:cubicBezTo>
                    <a:cubicBezTo>
                      <a:pt x="71" y="77"/>
                      <a:pt x="71" y="77"/>
                      <a:pt x="72" y="77"/>
                    </a:cubicBezTo>
                    <a:cubicBezTo>
                      <a:pt x="73" y="77"/>
                      <a:pt x="74" y="78"/>
                      <a:pt x="76" y="78"/>
                    </a:cubicBezTo>
                    <a:cubicBezTo>
                      <a:pt x="76" y="78"/>
                      <a:pt x="77" y="78"/>
                      <a:pt x="77" y="78"/>
                    </a:cubicBezTo>
                    <a:cubicBezTo>
                      <a:pt x="78" y="78"/>
                      <a:pt x="79" y="78"/>
                      <a:pt x="80" y="78"/>
                    </a:cubicBezTo>
                    <a:cubicBezTo>
                      <a:pt x="81" y="79"/>
                      <a:pt x="81" y="78"/>
                      <a:pt x="82" y="78"/>
                    </a:cubicBezTo>
                    <a:cubicBezTo>
                      <a:pt x="85" y="78"/>
                      <a:pt x="91" y="79"/>
                      <a:pt x="93" y="82"/>
                    </a:cubicBezTo>
                    <a:cubicBezTo>
                      <a:pt x="94" y="83"/>
                      <a:pt x="94" y="83"/>
                      <a:pt x="95" y="83"/>
                    </a:cubicBezTo>
                    <a:cubicBezTo>
                      <a:pt x="96" y="83"/>
                      <a:pt x="98" y="82"/>
                      <a:pt x="98" y="82"/>
                    </a:cubicBezTo>
                    <a:cubicBezTo>
                      <a:pt x="98" y="81"/>
                      <a:pt x="97" y="80"/>
                      <a:pt x="96"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5" name="Freeform 2997">
                <a:extLst>
                  <a:ext uri="{FF2B5EF4-FFF2-40B4-BE49-F238E27FC236}">
                    <a16:creationId xmlns:a16="http://schemas.microsoft.com/office/drawing/2014/main" id="{EBC58885-D4A0-472E-8F89-F4BC76E25DA5}"/>
                  </a:ext>
                </a:extLst>
              </p:cNvPr>
              <p:cNvSpPr>
                <a:spLocks/>
              </p:cNvSpPr>
              <p:nvPr/>
            </p:nvSpPr>
            <p:spPr bwMode="auto">
              <a:xfrm>
                <a:off x="6710" y="2786"/>
                <a:ext cx="241" cy="210"/>
              </a:xfrm>
              <a:custGeom>
                <a:avLst/>
                <a:gdLst>
                  <a:gd name="T0" fmla="*/ 101 w 102"/>
                  <a:gd name="T1" fmla="*/ 67 h 89"/>
                  <a:gd name="T2" fmla="*/ 102 w 102"/>
                  <a:gd name="T3" fmla="*/ 50 h 89"/>
                  <a:gd name="T4" fmla="*/ 102 w 102"/>
                  <a:gd name="T5" fmla="*/ 46 h 89"/>
                  <a:gd name="T6" fmla="*/ 100 w 102"/>
                  <a:gd name="T7" fmla="*/ 23 h 89"/>
                  <a:gd name="T8" fmla="*/ 91 w 102"/>
                  <a:gd name="T9" fmla="*/ 21 h 89"/>
                  <a:gd name="T10" fmla="*/ 72 w 102"/>
                  <a:gd name="T11" fmla="*/ 12 h 89"/>
                  <a:gd name="T12" fmla="*/ 64 w 102"/>
                  <a:gd name="T13" fmla="*/ 15 h 89"/>
                  <a:gd name="T14" fmla="*/ 62 w 102"/>
                  <a:gd name="T15" fmla="*/ 18 h 89"/>
                  <a:gd name="T16" fmla="*/ 55 w 102"/>
                  <a:gd name="T17" fmla="*/ 21 h 89"/>
                  <a:gd name="T18" fmla="*/ 50 w 102"/>
                  <a:gd name="T19" fmla="*/ 28 h 89"/>
                  <a:gd name="T20" fmla="*/ 47 w 102"/>
                  <a:gd name="T21" fmla="*/ 30 h 89"/>
                  <a:gd name="T22" fmla="*/ 38 w 102"/>
                  <a:gd name="T23" fmla="*/ 25 h 89"/>
                  <a:gd name="T24" fmla="*/ 37 w 102"/>
                  <a:gd name="T25" fmla="*/ 25 h 89"/>
                  <a:gd name="T26" fmla="*/ 33 w 102"/>
                  <a:gd name="T27" fmla="*/ 14 h 89"/>
                  <a:gd name="T28" fmla="*/ 34 w 102"/>
                  <a:gd name="T29" fmla="*/ 10 h 89"/>
                  <a:gd name="T30" fmla="*/ 25 w 102"/>
                  <a:gd name="T31" fmla="*/ 3 h 89"/>
                  <a:gd name="T32" fmla="*/ 10 w 102"/>
                  <a:gd name="T33" fmla="*/ 3 h 89"/>
                  <a:gd name="T34" fmla="*/ 4 w 102"/>
                  <a:gd name="T35" fmla="*/ 6 h 89"/>
                  <a:gd name="T36" fmla="*/ 11 w 102"/>
                  <a:gd name="T37" fmla="*/ 12 h 89"/>
                  <a:gd name="T38" fmla="*/ 14 w 102"/>
                  <a:gd name="T39" fmla="*/ 19 h 89"/>
                  <a:gd name="T40" fmla="*/ 19 w 102"/>
                  <a:gd name="T41" fmla="*/ 19 h 89"/>
                  <a:gd name="T42" fmla="*/ 27 w 102"/>
                  <a:gd name="T43" fmla="*/ 19 h 89"/>
                  <a:gd name="T44" fmla="*/ 30 w 102"/>
                  <a:gd name="T45" fmla="*/ 20 h 89"/>
                  <a:gd name="T46" fmla="*/ 31 w 102"/>
                  <a:gd name="T47" fmla="*/ 21 h 89"/>
                  <a:gd name="T48" fmla="*/ 29 w 102"/>
                  <a:gd name="T49" fmla="*/ 22 h 89"/>
                  <a:gd name="T50" fmla="*/ 26 w 102"/>
                  <a:gd name="T51" fmla="*/ 22 h 89"/>
                  <a:gd name="T52" fmla="*/ 24 w 102"/>
                  <a:gd name="T53" fmla="*/ 21 h 89"/>
                  <a:gd name="T54" fmla="*/ 17 w 102"/>
                  <a:gd name="T55" fmla="*/ 24 h 89"/>
                  <a:gd name="T56" fmla="*/ 13 w 102"/>
                  <a:gd name="T57" fmla="*/ 24 h 89"/>
                  <a:gd name="T58" fmla="*/ 19 w 102"/>
                  <a:gd name="T59" fmla="*/ 30 h 89"/>
                  <a:gd name="T60" fmla="*/ 19 w 102"/>
                  <a:gd name="T61" fmla="*/ 33 h 89"/>
                  <a:gd name="T62" fmla="*/ 22 w 102"/>
                  <a:gd name="T63" fmla="*/ 38 h 89"/>
                  <a:gd name="T64" fmla="*/ 30 w 102"/>
                  <a:gd name="T65" fmla="*/ 27 h 89"/>
                  <a:gd name="T66" fmla="*/ 28 w 102"/>
                  <a:gd name="T67" fmla="*/ 31 h 89"/>
                  <a:gd name="T68" fmla="*/ 32 w 102"/>
                  <a:gd name="T69" fmla="*/ 36 h 89"/>
                  <a:gd name="T70" fmla="*/ 35 w 102"/>
                  <a:gd name="T71" fmla="*/ 36 h 89"/>
                  <a:gd name="T72" fmla="*/ 41 w 102"/>
                  <a:gd name="T73" fmla="*/ 37 h 89"/>
                  <a:gd name="T74" fmla="*/ 66 w 102"/>
                  <a:gd name="T75" fmla="*/ 48 h 89"/>
                  <a:gd name="T76" fmla="*/ 73 w 102"/>
                  <a:gd name="T77" fmla="*/ 52 h 89"/>
                  <a:gd name="T78" fmla="*/ 74 w 102"/>
                  <a:gd name="T79" fmla="*/ 55 h 89"/>
                  <a:gd name="T80" fmla="*/ 81 w 102"/>
                  <a:gd name="T81" fmla="*/ 65 h 89"/>
                  <a:gd name="T82" fmla="*/ 80 w 102"/>
                  <a:gd name="T83" fmla="*/ 67 h 89"/>
                  <a:gd name="T84" fmla="*/ 85 w 102"/>
                  <a:gd name="T85" fmla="*/ 70 h 89"/>
                  <a:gd name="T86" fmla="*/ 81 w 102"/>
                  <a:gd name="T87" fmla="*/ 72 h 89"/>
                  <a:gd name="T88" fmla="*/ 83 w 102"/>
                  <a:gd name="T89" fmla="*/ 77 h 89"/>
                  <a:gd name="T90" fmla="*/ 81 w 102"/>
                  <a:gd name="T91" fmla="*/ 80 h 89"/>
                  <a:gd name="T92" fmla="*/ 85 w 102"/>
                  <a:gd name="T93" fmla="*/ 79 h 89"/>
                  <a:gd name="T94" fmla="*/ 90 w 102"/>
                  <a:gd name="T95" fmla="*/ 80 h 89"/>
                  <a:gd name="T96" fmla="*/ 94 w 102"/>
                  <a:gd name="T97" fmla="*/ 79 h 89"/>
                  <a:gd name="T98" fmla="*/ 102 w 102"/>
                  <a:gd name="T9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89">
                    <a:moveTo>
                      <a:pt x="102" y="68"/>
                    </a:moveTo>
                    <a:cubicBezTo>
                      <a:pt x="102" y="67"/>
                      <a:pt x="102" y="67"/>
                      <a:pt x="102" y="67"/>
                    </a:cubicBezTo>
                    <a:cubicBezTo>
                      <a:pt x="101" y="67"/>
                      <a:pt x="101" y="67"/>
                      <a:pt x="101" y="67"/>
                    </a:cubicBezTo>
                    <a:cubicBezTo>
                      <a:pt x="101" y="67"/>
                      <a:pt x="101" y="66"/>
                      <a:pt x="101" y="66"/>
                    </a:cubicBezTo>
                    <a:cubicBezTo>
                      <a:pt x="102" y="56"/>
                      <a:pt x="102" y="56"/>
                      <a:pt x="102" y="56"/>
                    </a:cubicBezTo>
                    <a:cubicBezTo>
                      <a:pt x="102" y="54"/>
                      <a:pt x="102" y="52"/>
                      <a:pt x="102" y="50"/>
                    </a:cubicBezTo>
                    <a:cubicBezTo>
                      <a:pt x="102" y="49"/>
                      <a:pt x="102" y="49"/>
                      <a:pt x="102" y="49"/>
                    </a:cubicBezTo>
                    <a:cubicBezTo>
                      <a:pt x="102" y="48"/>
                      <a:pt x="102" y="48"/>
                      <a:pt x="102" y="48"/>
                    </a:cubicBezTo>
                    <a:cubicBezTo>
                      <a:pt x="102" y="46"/>
                      <a:pt x="102" y="46"/>
                      <a:pt x="102" y="46"/>
                    </a:cubicBezTo>
                    <a:cubicBezTo>
                      <a:pt x="102" y="41"/>
                      <a:pt x="102" y="36"/>
                      <a:pt x="102" y="32"/>
                    </a:cubicBezTo>
                    <a:cubicBezTo>
                      <a:pt x="102" y="29"/>
                      <a:pt x="102" y="26"/>
                      <a:pt x="102" y="23"/>
                    </a:cubicBezTo>
                    <a:cubicBezTo>
                      <a:pt x="101" y="23"/>
                      <a:pt x="101" y="23"/>
                      <a:pt x="100" y="23"/>
                    </a:cubicBezTo>
                    <a:cubicBezTo>
                      <a:pt x="100" y="23"/>
                      <a:pt x="100" y="22"/>
                      <a:pt x="99" y="22"/>
                    </a:cubicBezTo>
                    <a:cubicBezTo>
                      <a:pt x="98" y="21"/>
                      <a:pt x="96" y="21"/>
                      <a:pt x="95" y="21"/>
                    </a:cubicBezTo>
                    <a:cubicBezTo>
                      <a:pt x="94" y="20"/>
                      <a:pt x="92" y="21"/>
                      <a:pt x="91" y="21"/>
                    </a:cubicBezTo>
                    <a:cubicBezTo>
                      <a:pt x="90" y="20"/>
                      <a:pt x="89" y="20"/>
                      <a:pt x="88" y="19"/>
                    </a:cubicBezTo>
                    <a:cubicBezTo>
                      <a:pt x="85" y="18"/>
                      <a:pt x="83" y="17"/>
                      <a:pt x="80" y="15"/>
                    </a:cubicBezTo>
                    <a:cubicBezTo>
                      <a:pt x="77" y="14"/>
                      <a:pt x="75" y="13"/>
                      <a:pt x="72" y="12"/>
                    </a:cubicBezTo>
                    <a:cubicBezTo>
                      <a:pt x="71" y="11"/>
                      <a:pt x="70" y="12"/>
                      <a:pt x="69" y="12"/>
                    </a:cubicBezTo>
                    <a:cubicBezTo>
                      <a:pt x="67" y="13"/>
                      <a:pt x="67" y="13"/>
                      <a:pt x="65" y="14"/>
                    </a:cubicBezTo>
                    <a:cubicBezTo>
                      <a:pt x="65" y="14"/>
                      <a:pt x="64" y="14"/>
                      <a:pt x="64" y="15"/>
                    </a:cubicBezTo>
                    <a:cubicBezTo>
                      <a:pt x="64" y="16"/>
                      <a:pt x="64" y="16"/>
                      <a:pt x="64" y="17"/>
                    </a:cubicBezTo>
                    <a:cubicBezTo>
                      <a:pt x="64" y="17"/>
                      <a:pt x="65" y="17"/>
                      <a:pt x="65" y="17"/>
                    </a:cubicBezTo>
                    <a:cubicBezTo>
                      <a:pt x="64" y="18"/>
                      <a:pt x="63" y="18"/>
                      <a:pt x="62" y="18"/>
                    </a:cubicBezTo>
                    <a:cubicBezTo>
                      <a:pt x="61" y="19"/>
                      <a:pt x="60" y="20"/>
                      <a:pt x="58" y="19"/>
                    </a:cubicBezTo>
                    <a:cubicBezTo>
                      <a:pt x="58" y="19"/>
                      <a:pt x="58" y="19"/>
                      <a:pt x="57" y="19"/>
                    </a:cubicBezTo>
                    <a:cubicBezTo>
                      <a:pt x="56" y="19"/>
                      <a:pt x="55" y="20"/>
                      <a:pt x="55" y="21"/>
                    </a:cubicBezTo>
                    <a:cubicBezTo>
                      <a:pt x="54" y="23"/>
                      <a:pt x="52" y="24"/>
                      <a:pt x="51" y="26"/>
                    </a:cubicBezTo>
                    <a:cubicBezTo>
                      <a:pt x="51" y="26"/>
                      <a:pt x="51" y="27"/>
                      <a:pt x="51" y="27"/>
                    </a:cubicBezTo>
                    <a:cubicBezTo>
                      <a:pt x="51" y="27"/>
                      <a:pt x="50" y="27"/>
                      <a:pt x="50" y="28"/>
                    </a:cubicBezTo>
                    <a:cubicBezTo>
                      <a:pt x="49" y="28"/>
                      <a:pt x="50" y="28"/>
                      <a:pt x="49" y="28"/>
                    </a:cubicBezTo>
                    <a:cubicBezTo>
                      <a:pt x="49" y="29"/>
                      <a:pt x="48" y="29"/>
                      <a:pt x="48" y="29"/>
                    </a:cubicBezTo>
                    <a:cubicBezTo>
                      <a:pt x="48" y="29"/>
                      <a:pt x="48" y="30"/>
                      <a:pt x="47" y="30"/>
                    </a:cubicBezTo>
                    <a:cubicBezTo>
                      <a:pt x="46" y="31"/>
                      <a:pt x="44" y="31"/>
                      <a:pt x="43" y="31"/>
                    </a:cubicBezTo>
                    <a:cubicBezTo>
                      <a:pt x="41" y="30"/>
                      <a:pt x="40" y="29"/>
                      <a:pt x="40" y="26"/>
                    </a:cubicBezTo>
                    <a:cubicBezTo>
                      <a:pt x="39" y="27"/>
                      <a:pt x="39" y="27"/>
                      <a:pt x="38" y="25"/>
                    </a:cubicBezTo>
                    <a:cubicBezTo>
                      <a:pt x="38" y="25"/>
                      <a:pt x="39" y="23"/>
                      <a:pt x="38" y="22"/>
                    </a:cubicBezTo>
                    <a:cubicBezTo>
                      <a:pt x="37" y="21"/>
                      <a:pt x="36" y="22"/>
                      <a:pt x="36" y="23"/>
                    </a:cubicBezTo>
                    <a:cubicBezTo>
                      <a:pt x="37" y="24"/>
                      <a:pt x="37" y="25"/>
                      <a:pt x="37" y="25"/>
                    </a:cubicBezTo>
                    <a:cubicBezTo>
                      <a:pt x="37" y="26"/>
                      <a:pt x="36" y="25"/>
                      <a:pt x="36" y="25"/>
                    </a:cubicBezTo>
                    <a:cubicBezTo>
                      <a:pt x="35" y="23"/>
                      <a:pt x="35" y="21"/>
                      <a:pt x="34" y="19"/>
                    </a:cubicBezTo>
                    <a:cubicBezTo>
                      <a:pt x="33" y="18"/>
                      <a:pt x="33" y="16"/>
                      <a:pt x="33" y="14"/>
                    </a:cubicBezTo>
                    <a:cubicBezTo>
                      <a:pt x="33" y="13"/>
                      <a:pt x="33" y="14"/>
                      <a:pt x="33" y="13"/>
                    </a:cubicBezTo>
                    <a:cubicBezTo>
                      <a:pt x="34" y="12"/>
                      <a:pt x="34" y="12"/>
                      <a:pt x="34" y="11"/>
                    </a:cubicBezTo>
                    <a:cubicBezTo>
                      <a:pt x="34" y="10"/>
                      <a:pt x="34" y="11"/>
                      <a:pt x="34" y="10"/>
                    </a:cubicBezTo>
                    <a:cubicBezTo>
                      <a:pt x="34" y="9"/>
                      <a:pt x="33" y="8"/>
                      <a:pt x="32" y="7"/>
                    </a:cubicBezTo>
                    <a:cubicBezTo>
                      <a:pt x="32" y="6"/>
                      <a:pt x="32" y="5"/>
                      <a:pt x="33" y="5"/>
                    </a:cubicBezTo>
                    <a:cubicBezTo>
                      <a:pt x="31" y="5"/>
                      <a:pt x="27" y="5"/>
                      <a:pt x="25" y="3"/>
                    </a:cubicBezTo>
                    <a:cubicBezTo>
                      <a:pt x="22" y="2"/>
                      <a:pt x="20" y="0"/>
                      <a:pt x="17" y="0"/>
                    </a:cubicBezTo>
                    <a:cubicBezTo>
                      <a:pt x="16" y="0"/>
                      <a:pt x="15" y="0"/>
                      <a:pt x="14" y="1"/>
                    </a:cubicBezTo>
                    <a:cubicBezTo>
                      <a:pt x="12" y="1"/>
                      <a:pt x="11" y="3"/>
                      <a:pt x="10" y="3"/>
                    </a:cubicBezTo>
                    <a:cubicBezTo>
                      <a:pt x="9" y="4"/>
                      <a:pt x="7" y="4"/>
                      <a:pt x="6" y="4"/>
                    </a:cubicBezTo>
                    <a:cubicBezTo>
                      <a:pt x="5" y="4"/>
                      <a:pt x="4" y="4"/>
                      <a:pt x="4" y="5"/>
                    </a:cubicBezTo>
                    <a:cubicBezTo>
                      <a:pt x="3" y="5"/>
                      <a:pt x="4" y="6"/>
                      <a:pt x="4" y="6"/>
                    </a:cubicBezTo>
                    <a:cubicBezTo>
                      <a:pt x="3" y="8"/>
                      <a:pt x="1" y="10"/>
                      <a:pt x="0" y="11"/>
                    </a:cubicBezTo>
                    <a:cubicBezTo>
                      <a:pt x="3" y="11"/>
                      <a:pt x="5" y="11"/>
                      <a:pt x="8" y="12"/>
                    </a:cubicBezTo>
                    <a:cubicBezTo>
                      <a:pt x="9" y="12"/>
                      <a:pt x="10" y="12"/>
                      <a:pt x="11" y="12"/>
                    </a:cubicBezTo>
                    <a:cubicBezTo>
                      <a:pt x="10" y="13"/>
                      <a:pt x="10" y="13"/>
                      <a:pt x="10" y="14"/>
                    </a:cubicBezTo>
                    <a:cubicBezTo>
                      <a:pt x="11" y="15"/>
                      <a:pt x="10" y="15"/>
                      <a:pt x="11" y="15"/>
                    </a:cubicBezTo>
                    <a:cubicBezTo>
                      <a:pt x="11" y="17"/>
                      <a:pt x="12" y="18"/>
                      <a:pt x="14" y="19"/>
                    </a:cubicBezTo>
                    <a:cubicBezTo>
                      <a:pt x="14" y="20"/>
                      <a:pt x="14" y="19"/>
                      <a:pt x="15" y="19"/>
                    </a:cubicBezTo>
                    <a:cubicBezTo>
                      <a:pt x="15" y="19"/>
                      <a:pt x="16" y="19"/>
                      <a:pt x="17" y="19"/>
                    </a:cubicBezTo>
                    <a:cubicBezTo>
                      <a:pt x="17" y="19"/>
                      <a:pt x="18" y="19"/>
                      <a:pt x="19" y="19"/>
                    </a:cubicBezTo>
                    <a:cubicBezTo>
                      <a:pt x="20" y="19"/>
                      <a:pt x="20" y="20"/>
                      <a:pt x="21" y="20"/>
                    </a:cubicBezTo>
                    <a:cubicBezTo>
                      <a:pt x="22" y="20"/>
                      <a:pt x="23" y="19"/>
                      <a:pt x="24" y="19"/>
                    </a:cubicBezTo>
                    <a:cubicBezTo>
                      <a:pt x="24" y="19"/>
                      <a:pt x="26" y="20"/>
                      <a:pt x="27" y="19"/>
                    </a:cubicBezTo>
                    <a:cubicBezTo>
                      <a:pt x="28" y="20"/>
                      <a:pt x="29" y="18"/>
                      <a:pt x="31" y="18"/>
                    </a:cubicBezTo>
                    <a:cubicBezTo>
                      <a:pt x="31" y="18"/>
                      <a:pt x="29" y="19"/>
                      <a:pt x="30" y="20"/>
                    </a:cubicBezTo>
                    <a:cubicBezTo>
                      <a:pt x="30" y="20"/>
                      <a:pt x="30" y="20"/>
                      <a:pt x="30" y="20"/>
                    </a:cubicBezTo>
                    <a:cubicBezTo>
                      <a:pt x="30" y="20"/>
                      <a:pt x="32" y="20"/>
                      <a:pt x="30" y="20"/>
                    </a:cubicBezTo>
                    <a:cubicBezTo>
                      <a:pt x="31" y="20"/>
                      <a:pt x="31" y="20"/>
                      <a:pt x="31" y="20"/>
                    </a:cubicBezTo>
                    <a:cubicBezTo>
                      <a:pt x="31" y="20"/>
                      <a:pt x="31" y="21"/>
                      <a:pt x="31" y="21"/>
                    </a:cubicBezTo>
                    <a:cubicBezTo>
                      <a:pt x="31" y="21"/>
                      <a:pt x="31" y="21"/>
                      <a:pt x="32" y="21"/>
                    </a:cubicBezTo>
                    <a:cubicBezTo>
                      <a:pt x="30" y="21"/>
                      <a:pt x="30" y="22"/>
                      <a:pt x="30" y="23"/>
                    </a:cubicBezTo>
                    <a:cubicBezTo>
                      <a:pt x="29" y="23"/>
                      <a:pt x="29" y="23"/>
                      <a:pt x="29" y="22"/>
                    </a:cubicBezTo>
                    <a:cubicBezTo>
                      <a:pt x="29" y="23"/>
                      <a:pt x="28" y="23"/>
                      <a:pt x="28" y="24"/>
                    </a:cubicBezTo>
                    <a:cubicBezTo>
                      <a:pt x="28" y="22"/>
                      <a:pt x="28" y="22"/>
                      <a:pt x="26" y="23"/>
                    </a:cubicBezTo>
                    <a:cubicBezTo>
                      <a:pt x="26" y="23"/>
                      <a:pt x="26" y="22"/>
                      <a:pt x="26" y="22"/>
                    </a:cubicBezTo>
                    <a:cubicBezTo>
                      <a:pt x="26" y="22"/>
                      <a:pt x="25" y="23"/>
                      <a:pt x="26" y="24"/>
                    </a:cubicBezTo>
                    <a:cubicBezTo>
                      <a:pt x="25" y="24"/>
                      <a:pt x="25" y="24"/>
                      <a:pt x="25" y="24"/>
                    </a:cubicBezTo>
                    <a:cubicBezTo>
                      <a:pt x="25" y="23"/>
                      <a:pt x="26" y="22"/>
                      <a:pt x="24" y="21"/>
                    </a:cubicBezTo>
                    <a:cubicBezTo>
                      <a:pt x="22" y="21"/>
                      <a:pt x="21" y="23"/>
                      <a:pt x="20" y="24"/>
                    </a:cubicBezTo>
                    <a:cubicBezTo>
                      <a:pt x="19" y="25"/>
                      <a:pt x="19" y="25"/>
                      <a:pt x="18" y="25"/>
                    </a:cubicBezTo>
                    <a:cubicBezTo>
                      <a:pt x="17" y="25"/>
                      <a:pt x="17" y="24"/>
                      <a:pt x="17" y="24"/>
                    </a:cubicBezTo>
                    <a:cubicBezTo>
                      <a:pt x="16" y="24"/>
                      <a:pt x="16" y="24"/>
                      <a:pt x="16" y="24"/>
                    </a:cubicBezTo>
                    <a:cubicBezTo>
                      <a:pt x="16" y="24"/>
                      <a:pt x="15" y="24"/>
                      <a:pt x="14" y="24"/>
                    </a:cubicBezTo>
                    <a:cubicBezTo>
                      <a:pt x="14" y="24"/>
                      <a:pt x="13" y="24"/>
                      <a:pt x="13" y="24"/>
                    </a:cubicBezTo>
                    <a:cubicBezTo>
                      <a:pt x="12" y="24"/>
                      <a:pt x="12" y="24"/>
                      <a:pt x="11" y="25"/>
                    </a:cubicBezTo>
                    <a:cubicBezTo>
                      <a:pt x="12" y="26"/>
                      <a:pt x="14" y="26"/>
                      <a:pt x="15" y="27"/>
                    </a:cubicBezTo>
                    <a:cubicBezTo>
                      <a:pt x="17" y="28"/>
                      <a:pt x="17" y="29"/>
                      <a:pt x="19" y="30"/>
                    </a:cubicBezTo>
                    <a:cubicBezTo>
                      <a:pt x="19" y="30"/>
                      <a:pt x="19" y="30"/>
                      <a:pt x="20" y="30"/>
                    </a:cubicBezTo>
                    <a:cubicBezTo>
                      <a:pt x="20" y="31"/>
                      <a:pt x="21" y="32"/>
                      <a:pt x="20" y="33"/>
                    </a:cubicBezTo>
                    <a:cubicBezTo>
                      <a:pt x="20" y="33"/>
                      <a:pt x="19" y="33"/>
                      <a:pt x="19" y="33"/>
                    </a:cubicBezTo>
                    <a:cubicBezTo>
                      <a:pt x="19" y="34"/>
                      <a:pt x="19" y="36"/>
                      <a:pt x="20" y="37"/>
                    </a:cubicBezTo>
                    <a:cubicBezTo>
                      <a:pt x="20" y="37"/>
                      <a:pt x="20" y="38"/>
                      <a:pt x="20" y="38"/>
                    </a:cubicBezTo>
                    <a:cubicBezTo>
                      <a:pt x="21" y="39"/>
                      <a:pt x="21" y="38"/>
                      <a:pt x="22" y="38"/>
                    </a:cubicBezTo>
                    <a:cubicBezTo>
                      <a:pt x="23" y="38"/>
                      <a:pt x="23" y="38"/>
                      <a:pt x="23" y="38"/>
                    </a:cubicBezTo>
                    <a:cubicBezTo>
                      <a:pt x="25" y="38"/>
                      <a:pt x="26" y="35"/>
                      <a:pt x="26" y="34"/>
                    </a:cubicBezTo>
                    <a:cubicBezTo>
                      <a:pt x="27" y="31"/>
                      <a:pt x="28" y="28"/>
                      <a:pt x="30" y="27"/>
                    </a:cubicBezTo>
                    <a:cubicBezTo>
                      <a:pt x="30" y="28"/>
                      <a:pt x="30" y="28"/>
                      <a:pt x="29" y="29"/>
                    </a:cubicBezTo>
                    <a:cubicBezTo>
                      <a:pt x="29" y="29"/>
                      <a:pt x="29" y="29"/>
                      <a:pt x="29" y="29"/>
                    </a:cubicBezTo>
                    <a:cubicBezTo>
                      <a:pt x="28" y="30"/>
                      <a:pt x="29" y="30"/>
                      <a:pt x="28" y="31"/>
                    </a:cubicBezTo>
                    <a:cubicBezTo>
                      <a:pt x="28" y="32"/>
                      <a:pt x="28" y="32"/>
                      <a:pt x="28" y="32"/>
                    </a:cubicBezTo>
                    <a:cubicBezTo>
                      <a:pt x="28" y="34"/>
                      <a:pt x="29" y="33"/>
                      <a:pt x="30" y="33"/>
                    </a:cubicBezTo>
                    <a:cubicBezTo>
                      <a:pt x="31" y="33"/>
                      <a:pt x="30" y="36"/>
                      <a:pt x="32" y="36"/>
                    </a:cubicBezTo>
                    <a:cubicBezTo>
                      <a:pt x="33" y="35"/>
                      <a:pt x="33" y="35"/>
                      <a:pt x="33" y="35"/>
                    </a:cubicBezTo>
                    <a:cubicBezTo>
                      <a:pt x="34" y="36"/>
                      <a:pt x="34" y="37"/>
                      <a:pt x="35" y="37"/>
                    </a:cubicBezTo>
                    <a:cubicBezTo>
                      <a:pt x="35" y="37"/>
                      <a:pt x="35" y="36"/>
                      <a:pt x="35" y="36"/>
                    </a:cubicBezTo>
                    <a:cubicBezTo>
                      <a:pt x="36" y="36"/>
                      <a:pt x="37" y="37"/>
                      <a:pt x="38" y="37"/>
                    </a:cubicBezTo>
                    <a:cubicBezTo>
                      <a:pt x="38" y="37"/>
                      <a:pt x="38" y="36"/>
                      <a:pt x="39" y="36"/>
                    </a:cubicBezTo>
                    <a:cubicBezTo>
                      <a:pt x="39" y="36"/>
                      <a:pt x="40" y="37"/>
                      <a:pt x="41" y="37"/>
                    </a:cubicBezTo>
                    <a:cubicBezTo>
                      <a:pt x="39" y="37"/>
                      <a:pt x="39" y="36"/>
                      <a:pt x="38" y="38"/>
                    </a:cubicBezTo>
                    <a:cubicBezTo>
                      <a:pt x="38" y="40"/>
                      <a:pt x="47" y="42"/>
                      <a:pt x="47" y="42"/>
                    </a:cubicBezTo>
                    <a:cubicBezTo>
                      <a:pt x="54" y="44"/>
                      <a:pt x="60" y="46"/>
                      <a:pt x="66" y="48"/>
                    </a:cubicBezTo>
                    <a:cubicBezTo>
                      <a:pt x="69" y="49"/>
                      <a:pt x="71" y="50"/>
                      <a:pt x="73" y="52"/>
                    </a:cubicBezTo>
                    <a:cubicBezTo>
                      <a:pt x="73" y="52"/>
                      <a:pt x="73" y="52"/>
                      <a:pt x="73" y="52"/>
                    </a:cubicBezTo>
                    <a:cubicBezTo>
                      <a:pt x="73" y="52"/>
                      <a:pt x="73" y="52"/>
                      <a:pt x="73" y="52"/>
                    </a:cubicBezTo>
                    <a:cubicBezTo>
                      <a:pt x="73" y="52"/>
                      <a:pt x="72" y="55"/>
                      <a:pt x="74" y="55"/>
                    </a:cubicBezTo>
                    <a:cubicBezTo>
                      <a:pt x="75" y="55"/>
                      <a:pt x="75" y="54"/>
                      <a:pt x="76" y="54"/>
                    </a:cubicBezTo>
                    <a:cubicBezTo>
                      <a:pt x="75" y="55"/>
                      <a:pt x="75" y="55"/>
                      <a:pt x="74" y="55"/>
                    </a:cubicBezTo>
                    <a:cubicBezTo>
                      <a:pt x="75" y="56"/>
                      <a:pt x="76" y="56"/>
                      <a:pt x="77" y="56"/>
                    </a:cubicBezTo>
                    <a:cubicBezTo>
                      <a:pt x="74" y="57"/>
                      <a:pt x="75" y="58"/>
                      <a:pt x="76" y="60"/>
                    </a:cubicBezTo>
                    <a:cubicBezTo>
                      <a:pt x="77" y="62"/>
                      <a:pt x="79" y="63"/>
                      <a:pt x="81" y="65"/>
                    </a:cubicBezTo>
                    <a:cubicBezTo>
                      <a:pt x="80" y="65"/>
                      <a:pt x="80" y="65"/>
                      <a:pt x="79" y="65"/>
                    </a:cubicBezTo>
                    <a:cubicBezTo>
                      <a:pt x="79" y="65"/>
                      <a:pt x="81" y="66"/>
                      <a:pt x="82" y="67"/>
                    </a:cubicBezTo>
                    <a:cubicBezTo>
                      <a:pt x="81" y="66"/>
                      <a:pt x="81" y="67"/>
                      <a:pt x="80" y="67"/>
                    </a:cubicBezTo>
                    <a:cubicBezTo>
                      <a:pt x="80" y="67"/>
                      <a:pt x="79" y="67"/>
                      <a:pt x="78" y="67"/>
                    </a:cubicBezTo>
                    <a:cubicBezTo>
                      <a:pt x="78" y="67"/>
                      <a:pt x="79" y="68"/>
                      <a:pt x="79" y="68"/>
                    </a:cubicBezTo>
                    <a:cubicBezTo>
                      <a:pt x="81" y="69"/>
                      <a:pt x="83" y="69"/>
                      <a:pt x="85" y="70"/>
                    </a:cubicBezTo>
                    <a:cubicBezTo>
                      <a:pt x="83" y="71"/>
                      <a:pt x="82" y="70"/>
                      <a:pt x="80" y="70"/>
                    </a:cubicBezTo>
                    <a:cubicBezTo>
                      <a:pt x="80" y="70"/>
                      <a:pt x="79" y="70"/>
                      <a:pt x="79" y="70"/>
                    </a:cubicBezTo>
                    <a:cubicBezTo>
                      <a:pt x="79" y="70"/>
                      <a:pt x="81" y="72"/>
                      <a:pt x="81" y="72"/>
                    </a:cubicBezTo>
                    <a:cubicBezTo>
                      <a:pt x="81" y="73"/>
                      <a:pt x="82" y="73"/>
                      <a:pt x="83" y="74"/>
                    </a:cubicBezTo>
                    <a:cubicBezTo>
                      <a:pt x="83" y="74"/>
                      <a:pt x="83" y="74"/>
                      <a:pt x="83" y="74"/>
                    </a:cubicBezTo>
                    <a:cubicBezTo>
                      <a:pt x="83" y="74"/>
                      <a:pt x="83" y="77"/>
                      <a:pt x="83" y="77"/>
                    </a:cubicBezTo>
                    <a:cubicBezTo>
                      <a:pt x="82" y="77"/>
                      <a:pt x="82" y="77"/>
                      <a:pt x="82" y="78"/>
                    </a:cubicBezTo>
                    <a:cubicBezTo>
                      <a:pt x="82" y="78"/>
                      <a:pt x="82" y="79"/>
                      <a:pt x="82" y="79"/>
                    </a:cubicBezTo>
                    <a:cubicBezTo>
                      <a:pt x="82" y="80"/>
                      <a:pt x="81" y="79"/>
                      <a:pt x="81" y="80"/>
                    </a:cubicBezTo>
                    <a:cubicBezTo>
                      <a:pt x="81" y="80"/>
                      <a:pt x="82" y="81"/>
                      <a:pt x="82" y="81"/>
                    </a:cubicBezTo>
                    <a:cubicBezTo>
                      <a:pt x="82" y="81"/>
                      <a:pt x="83" y="80"/>
                      <a:pt x="83" y="80"/>
                    </a:cubicBezTo>
                    <a:cubicBezTo>
                      <a:pt x="84" y="80"/>
                      <a:pt x="85" y="79"/>
                      <a:pt x="85" y="79"/>
                    </a:cubicBezTo>
                    <a:cubicBezTo>
                      <a:pt x="85" y="79"/>
                      <a:pt x="85" y="78"/>
                      <a:pt x="85" y="78"/>
                    </a:cubicBezTo>
                    <a:cubicBezTo>
                      <a:pt x="85" y="77"/>
                      <a:pt x="85" y="79"/>
                      <a:pt x="85" y="80"/>
                    </a:cubicBezTo>
                    <a:cubicBezTo>
                      <a:pt x="86" y="81"/>
                      <a:pt x="88" y="80"/>
                      <a:pt x="90" y="80"/>
                    </a:cubicBezTo>
                    <a:cubicBezTo>
                      <a:pt x="91" y="79"/>
                      <a:pt x="92" y="80"/>
                      <a:pt x="93" y="79"/>
                    </a:cubicBezTo>
                    <a:cubicBezTo>
                      <a:pt x="93" y="79"/>
                      <a:pt x="93" y="77"/>
                      <a:pt x="94" y="77"/>
                    </a:cubicBezTo>
                    <a:cubicBezTo>
                      <a:pt x="93" y="78"/>
                      <a:pt x="94" y="78"/>
                      <a:pt x="94" y="79"/>
                    </a:cubicBezTo>
                    <a:cubicBezTo>
                      <a:pt x="93" y="79"/>
                      <a:pt x="93" y="79"/>
                      <a:pt x="93" y="80"/>
                    </a:cubicBezTo>
                    <a:cubicBezTo>
                      <a:pt x="92" y="81"/>
                      <a:pt x="95" y="82"/>
                      <a:pt x="95" y="83"/>
                    </a:cubicBezTo>
                    <a:cubicBezTo>
                      <a:pt x="98" y="85"/>
                      <a:pt x="100" y="87"/>
                      <a:pt x="102" y="89"/>
                    </a:cubicBezTo>
                    <a:lnTo>
                      <a:pt x="102"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6" name="Freeform 2998">
                <a:extLst>
                  <a:ext uri="{FF2B5EF4-FFF2-40B4-BE49-F238E27FC236}">
                    <a16:creationId xmlns:a16="http://schemas.microsoft.com/office/drawing/2014/main" id="{EBDC44EC-B738-4284-85C4-69B9070FFEE7}"/>
                  </a:ext>
                </a:extLst>
              </p:cNvPr>
              <p:cNvSpPr>
                <a:spLocks/>
              </p:cNvSpPr>
              <p:nvPr/>
            </p:nvSpPr>
            <p:spPr bwMode="auto">
              <a:xfrm>
                <a:off x="6178" y="2672"/>
                <a:ext cx="244" cy="206"/>
              </a:xfrm>
              <a:custGeom>
                <a:avLst/>
                <a:gdLst>
                  <a:gd name="T0" fmla="*/ 91 w 103"/>
                  <a:gd name="T1" fmla="*/ 23 h 87"/>
                  <a:gd name="T2" fmla="*/ 89 w 103"/>
                  <a:gd name="T3" fmla="*/ 15 h 87"/>
                  <a:gd name="T4" fmla="*/ 89 w 103"/>
                  <a:gd name="T5" fmla="*/ 13 h 87"/>
                  <a:gd name="T6" fmla="*/ 86 w 103"/>
                  <a:gd name="T7" fmla="*/ 11 h 87"/>
                  <a:gd name="T8" fmla="*/ 86 w 103"/>
                  <a:gd name="T9" fmla="*/ 9 h 87"/>
                  <a:gd name="T10" fmla="*/ 86 w 103"/>
                  <a:gd name="T11" fmla="*/ 9 h 87"/>
                  <a:gd name="T12" fmla="*/ 88 w 103"/>
                  <a:gd name="T13" fmla="*/ 7 h 87"/>
                  <a:gd name="T14" fmla="*/ 90 w 103"/>
                  <a:gd name="T15" fmla="*/ 5 h 87"/>
                  <a:gd name="T16" fmla="*/ 86 w 103"/>
                  <a:gd name="T17" fmla="*/ 2 h 87"/>
                  <a:gd name="T18" fmla="*/ 72 w 103"/>
                  <a:gd name="T19" fmla="*/ 1 h 87"/>
                  <a:gd name="T20" fmla="*/ 69 w 103"/>
                  <a:gd name="T21" fmla="*/ 12 h 87"/>
                  <a:gd name="T22" fmla="*/ 65 w 103"/>
                  <a:gd name="T23" fmla="*/ 17 h 87"/>
                  <a:gd name="T24" fmla="*/ 66 w 103"/>
                  <a:gd name="T25" fmla="*/ 18 h 87"/>
                  <a:gd name="T26" fmla="*/ 66 w 103"/>
                  <a:gd name="T27" fmla="*/ 19 h 87"/>
                  <a:gd name="T28" fmla="*/ 63 w 103"/>
                  <a:gd name="T29" fmla="*/ 22 h 87"/>
                  <a:gd name="T30" fmla="*/ 62 w 103"/>
                  <a:gd name="T31" fmla="*/ 22 h 87"/>
                  <a:gd name="T32" fmla="*/ 61 w 103"/>
                  <a:gd name="T33" fmla="*/ 26 h 87"/>
                  <a:gd name="T34" fmla="*/ 60 w 103"/>
                  <a:gd name="T35" fmla="*/ 27 h 87"/>
                  <a:gd name="T36" fmla="*/ 56 w 103"/>
                  <a:gd name="T37" fmla="*/ 31 h 87"/>
                  <a:gd name="T38" fmla="*/ 55 w 103"/>
                  <a:gd name="T39" fmla="*/ 31 h 87"/>
                  <a:gd name="T40" fmla="*/ 51 w 103"/>
                  <a:gd name="T41" fmla="*/ 32 h 87"/>
                  <a:gd name="T42" fmla="*/ 44 w 103"/>
                  <a:gd name="T43" fmla="*/ 32 h 87"/>
                  <a:gd name="T44" fmla="*/ 40 w 103"/>
                  <a:gd name="T45" fmla="*/ 30 h 87"/>
                  <a:gd name="T46" fmla="*/ 35 w 103"/>
                  <a:gd name="T47" fmla="*/ 31 h 87"/>
                  <a:gd name="T48" fmla="*/ 35 w 103"/>
                  <a:gd name="T49" fmla="*/ 31 h 87"/>
                  <a:gd name="T50" fmla="*/ 27 w 103"/>
                  <a:gd name="T51" fmla="*/ 35 h 87"/>
                  <a:gd name="T52" fmla="*/ 22 w 103"/>
                  <a:gd name="T53" fmla="*/ 36 h 87"/>
                  <a:gd name="T54" fmla="*/ 15 w 103"/>
                  <a:gd name="T55" fmla="*/ 35 h 87"/>
                  <a:gd name="T56" fmla="*/ 14 w 103"/>
                  <a:gd name="T57" fmla="*/ 35 h 87"/>
                  <a:gd name="T58" fmla="*/ 6 w 103"/>
                  <a:gd name="T59" fmla="*/ 26 h 87"/>
                  <a:gd name="T60" fmla="*/ 2 w 103"/>
                  <a:gd name="T61" fmla="*/ 31 h 87"/>
                  <a:gd name="T62" fmla="*/ 0 w 103"/>
                  <a:gd name="T63" fmla="*/ 38 h 87"/>
                  <a:gd name="T64" fmla="*/ 4 w 103"/>
                  <a:gd name="T65" fmla="*/ 44 h 87"/>
                  <a:gd name="T66" fmla="*/ 2 w 103"/>
                  <a:gd name="T67" fmla="*/ 49 h 87"/>
                  <a:gd name="T68" fmla="*/ 9 w 103"/>
                  <a:gd name="T69" fmla="*/ 53 h 87"/>
                  <a:gd name="T70" fmla="*/ 11 w 103"/>
                  <a:gd name="T71" fmla="*/ 62 h 87"/>
                  <a:gd name="T72" fmla="*/ 13 w 103"/>
                  <a:gd name="T73" fmla="*/ 65 h 87"/>
                  <a:gd name="T74" fmla="*/ 14 w 103"/>
                  <a:gd name="T75" fmla="*/ 74 h 87"/>
                  <a:gd name="T76" fmla="*/ 19 w 103"/>
                  <a:gd name="T77" fmla="*/ 75 h 87"/>
                  <a:gd name="T78" fmla="*/ 23 w 103"/>
                  <a:gd name="T79" fmla="*/ 75 h 87"/>
                  <a:gd name="T80" fmla="*/ 28 w 103"/>
                  <a:gd name="T81" fmla="*/ 75 h 87"/>
                  <a:gd name="T82" fmla="*/ 30 w 103"/>
                  <a:gd name="T83" fmla="*/ 81 h 87"/>
                  <a:gd name="T84" fmla="*/ 44 w 103"/>
                  <a:gd name="T85" fmla="*/ 76 h 87"/>
                  <a:gd name="T86" fmla="*/ 50 w 103"/>
                  <a:gd name="T87" fmla="*/ 80 h 87"/>
                  <a:gd name="T88" fmla="*/ 55 w 103"/>
                  <a:gd name="T89" fmla="*/ 79 h 87"/>
                  <a:gd name="T90" fmla="*/ 57 w 103"/>
                  <a:gd name="T91" fmla="*/ 80 h 87"/>
                  <a:gd name="T92" fmla="*/ 59 w 103"/>
                  <a:gd name="T93" fmla="*/ 87 h 87"/>
                  <a:gd name="T94" fmla="*/ 65 w 103"/>
                  <a:gd name="T95" fmla="*/ 84 h 87"/>
                  <a:gd name="T96" fmla="*/ 74 w 103"/>
                  <a:gd name="T97" fmla="*/ 77 h 87"/>
                  <a:gd name="T98" fmla="*/ 76 w 103"/>
                  <a:gd name="T99" fmla="*/ 73 h 87"/>
                  <a:gd name="T100" fmla="*/ 76 w 103"/>
                  <a:gd name="T101" fmla="*/ 66 h 87"/>
                  <a:gd name="T102" fmla="*/ 77 w 103"/>
                  <a:gd name="T103" fmla="*/ 62 h 87"/>
                  <a:gd name="T104" fmla="*/ 82 w 103"/>
                  <a:gd name="T105" fmla="*/ 57 h 87"/>
                  <a:gd name="T106" fmla="*/ 89 w 103"/>
                  <a:gd name="T107" fmla="*/ 49 h 87"/>
                  <a:gd name="T108" fmla="*/ 89 w 103"/>
                  <a:gd name="T109" fmla="*/ 39 h 87"/>
                  <a:gd name="T110" fmla="*/ 93 w 103"/>
                  <a:gd name="T111" fmla="*/ 35 h 87"/>
                  <a:gd name="T112" fmla="*/ 98 w 103"/>
                  <a:gd name="T113"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 h="87">
                    <a:moveTo>
                      <a:pt x="101" y="33"/>
                    </a:moveTo>
                    <a:cubicBezTo>
                      <a:pt x="98" y="30"/>
                      <a:pt x="94" y="27"/>
                      <a:pt x="91" y="23"/>
                    </a:cubicBezTo>
                    <a:cubicBezTo>
                      <a:pt x="91" y="24"/>
                      <a:pt x="92" y="24"/>
                      <a:pt x="91" y="23"/>
                    </a:cubicBezTo>
                    <a:cubicBezTo>
                      <a:pt x="92" y="23"/>
                      <a:pt x="93" y="23"/>
                      <a:pt x="93" y="22"/>
                    </a:cubicBezTo>
                    <a:cubicBezTo>
                      <a:pt x="94" y="20"/>
                      <a:pt x="93" y="19"/>
                      <a:pt x="91" y="18"/>
                    </a:cubicBezTo>
                    <a:cubicBezTo>
                      <a:pt x="91" y="17"/>
                      <a:pt x="89" y="16"/>
                      <a:pt x="89" y="15"/>
                    </a:cubicBezTo>
                    <a:cubicBezTo>
                      <a:pt x="89" y="15"/>
                      <a:pt x="90" y="15"/>
                      <a:pt x="90" y="15"/>
                    </a:cubicBezTo>
                    <a:cubicBezTo>
                      <a:pt x="90" y="15"/>
                      <a:pt x="89" y="15"/>
                      <a:pt x="89" y="14"/>
                    </a:cubicBezTo>
                    <a:cubicBezTo>
                      <a:pt x="89" y="14"/>
                      <a:pt x="89" y="13"/>
                      <a:pt x="89" y="13"/>
                    </a:cubicBezTo>
                    <a:cubicBezTo>
                      <a:pt x="89" y="13"/>
                      <a:pt x="88" y="13"/>
                      <a:pt x="88" y="12"/>
                    </a:cubicBezTo>
                    <a:cubicBezTo>
                      <a:pt x="87" y="12"/>
                      <a:pt x="86" y="12"/>
                      <a:pt x="86" y="11"/>
                    </a:cubicBezTo>
                    <a:cubicBezTo>
                      <a:pt x="86" y="11"/>
                      <a:pt x="86" y="11"/>
                      <a:pt x="86" y="11"/>
                    </a:cubicBezTo>
                    <a:cubicBezTo>
                      <a:pt x="86" y="12"/>
                      <a:pt x="87" y="11"/>
                      <a:pt x="87" y="11"/>
                    </a:cubicBezTo>
                    <a:cubicBezTo>
                      <a:pt x="87" y="11"/>
                      <a:pt x="87" y="10"/>
                      <a:pt x="87" y="9"/>
                    </a:cubicBezTo>
                    <a:cubicBezTo>
                      <a:pt x="87" y="9"/>
                      <a:pt x="87" y="9"/>
                      <a:pt x="86" y="9"/>
                    </a:cubicBezTo>
                    <a:cubicBezTo>
                      <a:pt x="86" y="9"/>
                      <a:pt x="86" y="9"/>
                      <a:pt x="86" y="9"/>
                    </a:cubicBezTo>
                    <a:cubicBezTo>
                      <a:pt x="86" y="8"/>
                      <a:pt x="86" y="8"/>
                      <a:pt x="86" y="8"/>
                    </a:cubicBezTo>
                    <a:cubicBezTo>
                      <a:pt x="86" y="8"/>
                      <a:pt x="86" y="8"/>
                      <a:pt x="86" y="9"/>
                    </a:cubicBezTo>
                    <a:cubicBezTo>
                      <a:pt x="85" y="8"/>
                      <a:pt x="85" y="8"/>
                      <a:pt x="84" y="8"/>
                    </a:cubicBezTo>
                    <a:cubicBezTo>
                      <a:pt x="85" y="8"/>
                      <a:pt x="85" y="8"/>
                      <a:pt x="85" y="7"/>
                    </a:cubicBezTo>
                    <a:cubicBezTo>
                      <a:pt x="86" y="7"/>
                      <a:pt x="87" y="8"/>
                      <a:pt x="88" y="7"/>
                    </a:cubicBezTo>
                    <a:cubicBezTo>
                      <a:pt x="89" y="7"/>
                      <a:pt x="88" y="6"/>
                      <a:pt x="88" y="6"/>
                    </a:cubicBezTo>
                    <a:cubicBezTo>
                      <a:pt x="89" y="6"/>
                      <a:pt x="90" y="6"/>
                      <a:pt x="91" y="6"/>
                    </a:cubicBezTo>
                    <a:cubicBezTo>
                      <a:pt x="91" y="6"/>
                      <a:pt x="91" y="5"/>
                      <a:pt x="90" y="5"/>
                    </a:cubicBezTo>
                    <a:cubicBezTo>
                      <a:pt x="90" y="4"/>
                      <a:pt x="88" y="3"/>
                      <a:pt x="88" y="3"/>
                    </a:cubicBezTo>
                    <a:cubicBezTo>
                      <a:pt x="88" y="3"/>
                      <a:pt x="88" y="3"/>
                      <a:pt x="88" y="3"/>
                    </a:cubicBezTo>
                    <a:cubicBezTo>
                      <a:pt x="87" y="3"/>
                      <a:pt x="87" y="2"/>
                      <a:pt x="86" y="2"/>
                    </a:cubicBezTo>
                    <a:cubicBezTo>
                      <a:pt x="84" y="1"/>
                      <a:pt x="80" y="0"/>
                      <a:pt x="78" y="1"/>
                    </a:cubicBezTo>
                    <a:cubicBezTo>
                      <a:pt x="76" y="1"/>
                      <a:pt x="74" y="1"/>
                      <a:pt x="73" y="1"/>
                    </a:cubicBezTo>
                    <a:cubicBezTo>
                      <a:pt x="73" y="1"/>
                      <a:pt x="73" y="1"/>
                      <a:pt x="72" y="1"/>
                    </a:cubicBezTo>
                    <a:cubicBezTo>
                      <a:pt x="72" y="1"/>
                      <a:pt x="72" y="1"/>
                      <a:pt x="72" y="1"/>
                    </a:cubicBezTo>
                    <a:cubicBezTo>
                      <a:pt x="70" y="2"/>
                      <a:pt x="70" y="4"/>
                      <a:pt x="70" y="5"/>
                    </a:cubicBezTo>
                    <a:cubicBezTo>
                      <a:pt x="70" y="8"/>
                      <a:pt x="70" y="10"/>
                      <a:pt x="69" y="12"/>
                    </a:cubicBezTo>
                    <a:cubicBezTo>
                      <a:pt x="69" y="13"/>
                      <a:pt x="69" y="15"/>
                      <a:pt x="67" y="15"/>
                    </a:cubicBezTo>
                    <a:cubicBezTo>
                      <a:pt x="66" y="15"/>
                      <a:pt x="66" y="15"/>
                      <a:pt x="65" y="15"/>
                    </a:cubicBezTo>
                    <a:cubicBezTo>
                      <a:pt x="65" y="16"/>
                      <a:pt x="65" y="16"/>
                      <a:pt x="65" y="17"/>
                    </a:cubicBezTo>
                    <a:cubicBezTo>
                      <a:pt x="65" y="17"/>
                      <a:pt x="65" y="17"/>
                      <a:pt x="66" y="17"/>
                    </a:cubicBezTo>
                    <a:cubicBezTo>
                      <a:pt x="67" y="17"/>
                      <a:pt x="67" y="17"/>
                      <a:pt x="67" y="17"/>
                    </a:cubicBezTo>
                    <a:cubicBezTo>
                      <a:pt x="66" y="18"/>
                      <a:pt x="66" y="18"/>
                      <a:pt x="66" y="18"/>
                    </a:cubicBezTo>
                    <a:cubicBezTo>
                      <a:pt x="66" y="18"/>
                      <a:pt x="66" y="18"/>
                      <a:pt x="66" y="18"/>
                    </a:cubicBezTo>
                    <a:cubicBezTo>
                      <a:pt x="66" y="19"/>
                      <a:pt x="66" y="19"/>
                      <a:pt x="66" y="19"/>
                    </a:cubicBezTo>
                    <a:cubicBezTo>
                      <a:pt x="66" y="19"/>
                      <a:pt x="66" y="19"/>
                      <a:pt x="66" y="19"/>
                    </a:cubicBezTo>
                    <a:cubicBezTo>
                      <a:pt x="65" y="20"/>
                      <a:pt x="64" y="20"/>
                      <a:pt x="64" y="21"/>
                    </a:cubicBezTo>
                    <a:cubicBezTo>
                      <a:pt x="63" y="21"/>
                      <a:pt x="63" y="21"/>
                      <a:pt x="63" y="21"/>
                    </a:cubicBezTo>
                    <a:cubicBezTo>
                      <a:pt x="63" y="21"/>
                      <a:pt x="63" y="21"/>
                      <a:pt x="63" y="22"/>
                    </a:cubicBezTo>
                    <a:cubicBezTo>
                      <a:pt x="62" y="22"/>
                      <a:pt x="62" y="22"/>
                      <a:pt x="62" y="22"/>
                    </a:cubicBezTo>
                    <a:cubicBezTo>
                      <a:pt x="62" y="22"/>
                      <a:pt x="62" y="22"/>
                      <a:pt x="62" y="22"/>
                    </a:cubicBezTo>
                    <a:cubicBezTo>
                      <a:pt x="62" y="22"/>
                      <a:pt x="62" y="22"/>
                      <a:pt x="62" y="22"/>
                    </a:cubicBezTo>
                    <a:cubicBezTo>
                      <a:pt x="62" y="23"/>
                      <a:pt x="62" y="23"/>
                      <a:pt x="62" y="23"/>
                    </a:cubicBezTo>
                    <a:cubicBezTo>
                      <a:pt x="62" y="24"/>
                      <a:pt x="63" y="24"/>
                      <a:pt x="62" y="25"/>
                    </a:cubicBezTo>
                    <a:cubicBezTo>
                      <a:pt x="62" y="26"/>
                      <a:pt x="61" y="26"/>
                      <a:pt x="61" y="26"/>
                    </a:cubicBezTo>
                    <a:cubicBezTo>
                      <a:pt x="61" y="27"/>
                      <a:pt x="61" y="27"/>
                      <a:pt x="61" y="27"/>
                    </a:cubicBezTo>
                    <a:cubicBezTo>
                      <a:pt x="61" y="27"/>
                      <a:pt x="61" y="27"/>
                      <a:pt x="61" y="27"/>
                    </a:cubicBezTo>
                    <a:cubicBezTo>
                      <a:pt x="60" y="27"/>
                      <a:pt x="60" y="27"/>
                      <a:pt x="60" y="27"/>
                    </a:cubicBezTo>
                    <a:cubicBezTo>
                      <a:pt x="60" y="29"/>
                      <a:pt x="60" y="29"/>
                      <a:pt x="60" y="29"/>
                    </a:cubicBezTo>
                    <a:cubicBezTo>
                      <a:pt x="59" y="30"/>
                      <a:pt x="58" y="31"/>
                      <a:pt x="57" y="31"/>
                    </a:cubicBezTo>
                    <a:cubicBezTo>
                      <a:pt x="57" y="31"/>
                      <a:pt x="57" y="31"/>
                      <a:pt x="56" y="31"/>
                    </a:cubicBezTo>
                    <a:cubicBezTo>
                      <a:pt x="56" y="30"/>
                      <a:pt x="56" y="30"/>
                      <a:pt x="56" y="30"/>
                    </a:cubicBezTo>
                    <a:cubicBezTo>
                      <a:pt x="56" y="31"/>
                      <a:pt x="56" y="31"/>
                      <a:pt x="56" y="31"/>
                    </a:cubicBezTo>
                    <a:cubicBezTo>
                      <a:pt x="56" y="31"/>
                      <a:pt x="55" y="31"/>
                      <a:pt x="55" y="31"/>
                    </a:cubicBezTo>
                    <a:cubicBezTo>
                      <a:pt x="55" y="31"/>
                      <a:pt x="55" y="31"/>
                      <a:pt x="55" y="31"/>
                    </a:cubicBezTo>
                    <a:cubicBezTo>
                      <a:pt x="54" y="31"/>
                      <a:pt x="54" y="31"/>
                      <a:pt x="54" y="31"/>
                    </a:cubicBezTo>
                    <a:cubicBezTo>
                      <a:pt x="53" y="31"/>
                      <a:pt x="52" y="32"/>
                      <a:pt x="51" y="32"/>
                    </a:cubicBezTo>
                    <a:cubicBezTo>
                      <a:pt x="51" y="32"/>
                      <a:pt x="51" y="32"/>
                      <a:pt x="51" y="32"/>
                    </a:cubicBezTo>
                    <a:cubicBezTo>
                      <a:pt x="50" y="32"/>
                      <a:pt x="50" y="33"/>
                      <a:pt x="50" y="33"/>
                    </a:cubicBezTo>
                    <a:cubicBezTo>
                      <a:pt x="48" y="33"/>
                      <a:pt x="46" y="32"/>
                      <a:pt x="44" y="32"/>
                    </a:cubicBezTo>
                    <a:cubicBezTo>
                      <a:pt x="44" y="31"/>
                      <a:pt x="44" y="31"/>
                      <a:pt x="44" y="31"/>
                    </a:cubicBezTo>
                    <a:cubicBezTo>
                      <a:pt x="43" y="31"/>
                      <a:pt x="43" y="31"/>
                      <a:pt x="42" y="31"/>
                    </a:cubicBezTo>
                    <a:cubicBezTo>
                      <a:pt x="40" y="30"/>
                      <a:pt x="40" y="30"/>
                      <a:pt x="40" y="30"/>
                    </a:cubicBezTo>
                    <a:cubicBezTo>
                      <a:pt x="40" y="30"/>
                      <a:pt x="40" y="30"/>
                      <a:pt x="40" y="30"/>
                    </a:cubicBezTo>
                    <a:cubicBezTo>
                      <a:pt x="39" y="30"/>
                      <a:pt x="38" y="30"/>
                      <a:pt x="36" y="31"/>
                    </a:cubicBezTo>
                    <a:cubicBezTo>
                      <a:pt x="35" y="31"/>
                      <a:pt x="35" y="31"/>
                      <a:pt x="35" y="31"/>
                    </a:cubicBezTo>
                    <a:cubicBezTo>
                      <a:pt x="35" y="31"/>
                      <a:pt x="35" y="31"/>
                      <a:pt x="35" y="31"/>
                    </a:cubicBezTo>
                    <a:cubicBezTo>
                      <a:pt x="35" y="31"/>
                      <a:pt x="35" y="31"/>
                      <a:pt x="35" y="31"/>
                    </a:cubicBezTo>
                    <a:cubicBezTo>
                      <a:pt x="35" y="31"/>
                      <a:pt x="35" y="31"/>
                      <a:pt x="35" y="31"/>
                    </a:cubicBezTo>
                    <a:cubicBezTo>
                      <a:pt x="35" y="32"/>
                      <a:pt x="35" y="32"/>
                      <a:pt x="35" y="33"/>
                    </a:cubicBezTo>
                    <a:cubicBezTo>
                      <a:pt x="34" y="34"/>
                      <a:pt x="30" y="35"/>
                      <a:pt x="29" y="35"/>
                    </a:cubicBezTo>
                    <a:cubicBezTo>
                      <a:pt x="28" y="35"/>
                      <a:pt x="28" y="35"/>
                      <a:pt x="27" y="35"/>
                    </a:cubicBezTo>
                    <a:cubicBezTo>
                      <a:pt x="25" y="35"/>
                      <a:pt x="24" y="35"/>
                      <a:pt x="23" y="35"/>
                    </a:cubicBezTo>
                    <a:cubicBezTo>
                      <a:pt x="22" y="35"/>
                      <a:pt x="22" y="35"/>
                      <a:pt x="22" y="36"/>
                    </a:cubicBezTo>
                    <a:cubicBezTo>
                      <a:pt x="22" y="36"/>
                      <a:pt x="22" y="36"/>
                      <a:pt x="22" y="36"/>
                    </a:cubicBezTo>
                    <a:cubicBezTo>
                      <a:pt x="20" y="36"/>
                      <a:pt x="19" y="37"/>
                      <a:pt x="18" y="37"/>
                    </a:cubicBezTo>
                    <a:cubicBezTo>
                      <a:pt x="17" y="37"/>
                      <a:pt x="17" y="37"/>
                      <a:pt x="17" y="37"/>
                    </a:cubicBezTo>
                    <a:cubicBezTo>
                      <a:pt x="16" y="37"/>
                      <a:pt x="15" y="36"/>
                      <a:pt x="15" y="35"/>
                    </a:cubicBezTo>
                    <a:cubicBezTo>
                      <a:pt x="14" y="35"/>
                      <a:pt x="14" y="35"/>
                      <a:pt x="14" y="35"/>
                    </a:cubicBezTo>
                    <a:cubicBezTo>
                      <a:pt x="14" y="35"/>
                      <a:pt x="14" y="35"/>
                      <a:pt x="14" y="35"/>
                    </a:cubicBezTo>
                    <a:cubicBezTo>
                      <a:pt x="14" y="35"/>
                      <a:pt x="14" y="35"/>
                      <a:pt x="14" y="35"/>
                    </a:cubicBezTo>
                    <a:cubicBezTo>
                      <a:pt x="13" y="34"/>
                      <a:pt x="12" y="33"/>
                      <a:pt x="11" y="32"/>
                    </a:cubicBezTo>
                    <a:cubicBezTo>
                      <a:pt x="10" y="31"/>
                      <a:pt x="10" y="31"/>
                      <a:pt x="10" y="31"/>
                    </a:cubicBezTo>
                    <a:cubicBezTo>
                      <a:pt x="8" y="30"/>
                      <a:pt x="6" y="28"/>
                      <a:pt x="6" y="26"/>
                    </a:cubicBezTo>
                    <a:cubicBezTo>
                      <a:pt x="6" y="25"/>
                      <a:pt x="6" y="25"/>
                      <a:pt x="6" y="24"/>
                    </a:cubicBezTo>
                    <a:cubicBezTo>
                      <a:pt x="5" y="24"/>
                      <a:pt x="5" y="25"/>
                      <a:pt x="4" y="25"/>
                    </a:cubicBezTo>
                    <a:cubicBezTo>
                      <a:pt x="3" y="28"/>
                      <a:pt x="2" y="28"/>
                      <a:pt x="2" y="31"/>
                    </a:cubicBezTo>
                    <a:cubicBezTo>
                      <a:pt x="2" y="32"/>
                      <a:pt x="1" y="32"/>
                      <a:pt x="1" y="32"/>
                    </a:cubicBezTo>
                    <a:cubicBezTo>
                      <a:pt x="1" y="33"/>
                      <a:pt x="1" y="34"/>
                      <a:pt x="1" y="34"/>
                    </a:cubicBezTo>
                    <a:cubicBezTo>
                      <a:pt x="0" y="36"/>
                      <a:pt x="0" y="36"/>
                      <a:pt x="0" y="38"/>
                    </a:cubicBezTo>
                    <a:cubicBezTo>
                      <a:pt x="0" y="38"/>
                      <a:pt x="0" y="41"/>
                      <a:pt x="0" y="41"/>
                    </a:cubicBezTo>
                    <a:cubicBezTo>
                      <a:pt x="2" y="42"/>
                      <a:pt x="2" y="42"/>
                      <a:pt x="3" y="43"/>
                    </a:cubicBezTo>
                    <a:cubicBezTo>
                      <a:pt x="3" y="43"/>
                      <a:pt x="4" y="44"/>
                      <a:pt x="4" y="44"/>
                    </a:cubicBezTo>
                    <a:cubicBezTo>
                      <a:pt x="3" y="44"/>
                      <a:pt x="3" y="44"/>
                      <a:pt x="3" y="45"/>
                    </a:cubicBezTo>
                    <a:cubicBezTo>
                      <a:pt x="3" y="46"/>
                      <a:pt x="3" y="46"/>
                      <a:pt x="3" y="47"/>
                    </a:cubicBezTo>
                    <a:cubicBezTo>
                      <a:pt x="1" y="46"/>
                      <a:pt x="2" y="48"/>
                      <a:pt x="2" y="49"/>
                    </a:cubicBezTo>
                    <a:cubicBezTo>
                      <a:pt x="3" y="50"/>
                      <a:pt x="3" y="52"/>
                      <a:pt x="4" y="52"/>
                    </a:cubicBezTo>
                    <a:cubicBezTo>
                      <a:pt x="4" y="53"/>
                      <a:pt x="4" y="53"/>
                      <a:pt x="5" y="53"/>
                    </a:cubicBezTo>
                    <a:cubicBezTo>
                      <a:pt x="6" y="54"/>
                      <a:pt x="8" y="55"/>
                      <a:pt x="9" y="53"/>
                    </a:cubicBezTo>
                    <a:cubicBezTo>
                      <a:pt x="10" y="55"/>
                      <a:pt x="12" y="57"/>
                      <a:pt x="12" y="59"/>
                    </a:cubicBezTo>
                    <a:cubicBezTo>
                      <a:pt x="12" y="60"/>
                      <a:pt x="12" y="61"/>
                      <a:pt x="11" y="62"/>
                    </a:cubicBezTo>
                    <a:cubicBezTo>
                      <a:pt x="11" y="62"/>
                      <a:pt x="11" y="62"/>
                      <a:pt x="11" y="62"/>
                    </a:cubicBezTo>
                    <a:cubicBezTo>
                      <a:pt x="11" y="63"/>
                      <a:pt x="10" y="62"/>
                      <a:pt x="11" y="63"/>
                    </a:cubicBezTo>
                    <a:cubicBezTo>
                      <a:pt x="11" y="63"/>
                      <a:pt x="12" y="64"/>
                      <a:pt x="12" y="64"/>
                    </a:cubicBezTo>
                    <a:cubicBezTo>
                      <a:pt x="12" y="64"/>
                      <a:pt x="13" y="65"/>
                      <a:pt x="13" y="65"/>
                    </a:cubicBezTo>
                    <a:cubicBezTo>
                      <a:pt x="13" y="67"/>
                      <a:pt x="14" y="68"/>
                      <a:pt x="14" y="69"/>
                    </a:cubicBezTo>
                    <a:cubicBezTo>
                      <a:pt x="14" y="70"/>
                      <a:pt x="13" y="70"/>
                      <a:pt x="13" y="71"/>
                    </a:cubicBezTo>
                    <a:cubicBezTo>
                      <a:pt x="13" y="72"/>
                      <a:pt x="14" y="73"/>
                      <a:pt x="14" y="74"/>
                    </a:cubicBezTo>
                    <a:cubicBezTo>
                      <a:pt x="14" y="76"/>
                      <a:pt x="15" y="75"/>
                      <a:pt x="17" y="75"/>
                    </a:cubicBezTo>
                    <a:cubicBezTo>
                      <a:pt x="17" y="75"/>
                      <a:pt x="18" y="76"/>
                      <a:pt x="18" y="76"/>
                    </a:cubicBezTo>
                    <a:cubicBezTo>
                      <a:pt x="18" y="76"/>
                      <a:pt x="19" y="76"/>
                      <a:pt x="19" y="75"/>
                    </a:cubicBezTo>
                    <a:cubicBezTo>
                      <a:pt x="19" y="75"/>
                      <a:pt x="19" y="75"/>
                      <a:pt x="19" y="75"/>
                    </a:cubicBezTo>
                    <a:cubicBezTo>
                      <a:pt x="20" y="75"/>
                      <a:pt x="21" y="76"/>
                      <a:pt x="22" y="76"/>
                    </a:cubicBezTo>
                    <a:cubicBezTo>
                      <a:pt x="22" y="76"/>
                      <a:pt x="23" y="75"/>
                      <a:pt x="23" y="75"/>
                    </a:cubicBezTo>
                    <a:cubicBezTo>
                      <a:pt x="24" y="75"/>
                      <a:pt x="25" y="74"/>
                      <a:pt x="25" y="74"/>
                    </a:cubicBezTo>
                    <a:cubicBezTo>
                      <a:pt x="26" y="74"/>
                      <a:pt x="27" y="75"/>
                      <a:pt x="27" y="75"/>
                    </a:cubicBezTo>
                    <a:cubicBezTo>
                      <a:pt x="28" y="75"/>
                      <a:pt x="28" y="75"/>
                      <a:pt x="28" y="75"/>
                    </a:cubicBezTo>
                    <a:cubicBezTo>
                      <a:pt x="29" y="74"/>
                      <a:pt x="29" y="73"/>
                      <a:pt x="29" y="73"/>
                    </a:cubicBezTo>
                    <a:cubicBezTo>
                      <a:pt x="29" y="74"/>
                      <a:pt x="30" y="74"/>
                      <a:pt x="30" y="76"/>
                    </a:cubicBezTo>
                    <a:cubicBezTo>
                      <a:pt x="30" y="77"/>
                      <a:pt x="30" y="79"/>
                      <a:pt x="30" y="81"/>
                    </a:cubicBezTo>
                    <a:cubicBezTo>
                      <a:pt x="32" y="80"/>
                      <a:pt x="34" y="78"/>
                      <a:pt x="36" y="78"/>
                    </a:cubicBezTo>
                    <a:cubicBezTo>
                      <a:pt x="39" y="78"/>
                      <a:pt x="42" y="78"/>
                      <a:pt x="42" y="74"/>
                    </a:cubicBezTo>
                    <a:cubicBezTo>
                      <a:pt x="43" y="75"/>
                      <a:pt x="43" y="75"/>
                      <a:pt x="44" y="76"/>
                    </a:cubicBezTo>
                    <a:cubicBezTo>
                      <a:pt x="44" y="76"/>
                      <a:pt x="45" y="78"/>
                      <a:pt x="46" y="78"/>
                    </a:cubicBezTo>
                    <a:cubicBezTo>
                      <a:pt x="47" y="78"/>
                      <a:pt x="48" y="77"/>
                      <a:pt x="48" y="77"/>
                    </a:cubicBezTo>
                    <a:cubicBezTo>
                      <a:pt x="49" y="78"/>
                      <a:pt x="48" y="80"/>
                      <a:pt x="50" y="80"/>
                    </a:cubicBezTo>
                    <a:cubicBezTo>
                      <a:pt x="50" y="80"/>
                      <a:pt x="51" y="80"/>
                      <a:pt x="51" y="79"/>
                    </a:cubicBezTo>
                    <a:cubicBezTo>
                      <a:pt x="52" y="79"/>
                      <a:pt x="53" y="78"/>
                      <a:pt x="54" y="77"/>
                    </a:cubicBezTo>
                    <a:cubicBezTo>
                      <a:pt x="54" y="78"/>
                      <a:pt x="54" y="78"/>
                      <a:pt x="55" y="79"/>
                    </a:cubicBezTo>
                    <a:cubicBezTo>
                      <a:pt x="55" y="78"/>
                      <a:pt x="55" y="78"/>
                      <a:pt x="56" y="77"/>
                    </a:cubicBezTo>
                    <a:cubicBezTo>
                      <a:pt x="55" y="78"/>
                      <a:pt x="55" y="79"/>
                      <a:pt x="55" y="79"/>
                    </a:cubicBezTo>
                    <a:cubicBezTo>
                      <a:pt x="56" y="80"/>
                      <a:pt x="57" y="80"/>
                      <a:pt x="57" y="80"/>
                    </a:cubicBezTo>
                    <a:cubicBezTo>
                      <a:pt x="57" y="80"/>
                      <a:pt x="57" y="79"/>
                      <a:pt x="57" y="79"/>
                    </a:cubicBezTo>
                    <a:cubicBezTo>
                      <a:pt x="58" y="80"/>
                      <a:pt x="58" y="82"/>
                      <a:pt x="58" y="83"/>
                    </a:cubicBezTo>
                    <a:cubicBezTo>
                      <a:pt x="58" y="83"/>
                      <a:pt x="58" y="87"/>
                      <a:pt x="59" y="87"/>
                    </a:cubicBezTo>
                    <a:cubicBezTo>
                      <a:pt x="59" y="87"/>
                      <a:pt x="60" y="87"/>
                      <a:pt x="60" y="87"/>
                    </a:cubicBezTo>
                    <a:cubicBezTo>
                      <a:pt x="61" y="86"/>
                      <a:pt x="62" y="86"/>
                      <a:pt x="62" y="85"/>
                    </a:cubicBezTo>
                    <a:cubicBezTo>
                      <a:pt x="63" y="85"/>
                      <a:pt x="64" y="85"/>
                      <a:pt x="65" y="84"/>
                    </a:cubicBezTo>
                    <a:cubicBezTo>
                      <a:pt x="66" y="84"/>
                      <a:pt x="67" y="84"/>
                      <a:pt x="67" y="83"/>
                    </a:cubicBezTo>
                    <a:cubicBezTo>
                      <a:pt x="69" y="83"/>
                      <a:pt x="71" y="82"/>
                      <a:pt x="72" y="81"/>
                    </a:cubicBezTo>
                    <a:cubicBezTo>
                      <a:pt x="73" y="80"/>
                      <a:pt x="73" y="78"/>
                      <a:pt x="74" y="77"/>
                    </a:cubicBezTo>
                    <a:cubicBezTo>
                      <a:pt x="75" y="77"/>
                      <a:pt x="75" y="77"/>
                      <a:pt x="75" y="76"/>
                    </a:cubicBezTo>
                    <a:cubicBezTo>
                      <a:pt x="75" y="76"/>
                      <a:pt x="75" y="74"/>
                      <a:pt x="74" y="74"/>
                    </a:cubicBezTo>
                    <a:cubicBezTo>
                      <a:pt x="75" y="74"/>
                      <a:pt x="76" y="75"/>
                      <a:pt x="76" y="73"/>
                    </a:cubicBezTo>
                    <a:cubicBezTo>
                      <a:pt x="77" y="73"/>
                      <a:pt x="76" y="71"/>
                      <a:pt x="76" y="70"/>
                    </a:cubicBezTo>
                    <a:cubicBezTo>
                      <a:pt x="77" y="70"/>
                      <a:pt x="77" y="70"/>
                      <a:pt x="78" y="69"/>
                    </a:cubicBezTo>
                    <a:cubicBezTo>
                      <a:pt x="80" y="67"/>
                      <a:pt x="77" y="67"/>
                      <a:pt x="76" y="66"/>
                    </a:cubicBezTo>
                    <a:cubicBezTo>
                      <a:pt x="76" y="66"/>
                      <a:pt x="77" y="66"/>
                      <a:pt x="77" y="65"/>
                    </a:cubicBezTo>
                    <a:cubicBezTo>
                      <a:pt x="77" y="62"/>
                      <a:pt x="77" y="63"/>
                      <a:pt x="75" y="63"/>
                    </a:cubicBezTo>
                    <a:cubicBezTo>
                      <a:pt x="76" y="62"/>
                      <a:pt x="76" y="62"/>
                      <a:pt x="77" y="62"/>
                    </a:cubicBezTo>
                    <a:cubicBezTo>
                      <a:pt x="77" y="61"/>
                      <a:pt x="78" y="61"/>
                      <a:pt x="78" y="60"/>
                    </a:cubicBezTo>
                    <a:cubicBezTo>
                      <a:pt x="80" y="59"/>
                      <a:pt x="81" y="58"/>
                      <a:pt x="80" y="56"/>
                    </a:cubicBezTo>
                    <a:cubicBezTo>
                      <a:pt x="81" y="57"/>
                      <a:pt x="81" y="58"/>
                      <a:pt x="82" y="57"/>
                    </a:cubicBezTo>
                    <a:cubicBezTo>
                      <a:pt x="84" y="56"/>
                      <a:pt x="85" y="54"/>
                      <a:pt x="86" y="53"/>
                    </a:cubicBezTo>
                    <a:cubicBezTo>
                      <a:pt x="87" y="53"/>
                      <a:pt x="89" y="52"/>
                      <a:pt x="89" y="52"/>
                    </a:cubicBezTo>
                    <a:cubicBezTo>
                      <a:pt x="88" y="51"/>
                      <a:pt x="90" y="49"/>
                      <a:pt x="89" y="49"/>
                    </a:cubicBezTo>
                    <a:cubicBezTo>
                      <a:pt x="89" y="48"/>
                      <a:pt x="88" y="49"/>
                      <a:pt x="88" y="50"/>
                    </a:cubicBezTo>
                    <a:cubicBezTo>
                      <a:pt x="88" y="48"/>
                      <a:pt x="88" y="47"/>
                      <a:pt x="88" y="44"/>
                    </a:cubicBezTo>
                    <a:cubicBezTo>
                      <a:pt x="88" y="43"/>
                      <a:pt x="89" y="41"/>
                      <a:pt x="89" y="39"/>
                    </a:cubicBezTo>
                    <a:cubicBezTo>
                      <a:pt x="90" y="38"/>
                      <a:pt x="91" y="36"/>
                      <a:pt x="92" y="36"/>
                    </a:cubicBezTo>
                    <a:cubicBezTo>
                      <a:pt x="92" y="36"/>
                      <a:pt x="93" y="36"/>
                      <a:pt x="93" y="36"/>
                    </a:cubicBezTo>
                    <a:cubicBezTo>
                      <a:pt x="94" y="36"/>
                      <a:pt x="93" y="36"/>
                      <a:pt x="93" y="35"/>
                    </a:cubicBezTo>
                    <a:cubicBezTo>
                      <a:pt x="93" y="34"/>
                      <a:pt x="92" y="34"/>
                      <a:pt x="92" y="33"/>
                    </a:cubicBezTo>
                    <a:cubicBezTo>
                      <a:pt x="94" y="33"/>
                      <a:pt x="93" y="35"/>
                      <a:pt x="95" y="35"/>
                    </a:cubicBezTo>
                    <a:cubicBezTo>
                      <a:pt x="96" y="36"/>
                      <a:pt x="97" y="36"/>
                      <a:pt x="98" y="36"/>
                    </a:cubicBezTo>
                    <a:cubicBezTo>
                      <a:pt x="101" y="36"/>
                      <a:pt x="102" y="37"/>
                      <a:pt x="103" y="34"/>
                    </a:cubicBezTo>
                    <a:cubicBezTo>
                      <a:pt x="103" y="33"/>
                      <a:pt x="102" y="33"/>
                      <a:pt x="10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7" name="Freeform 2999">
                <a:extLst>
                  <a:ext uri="{FF2B5EF4-FFF2-40B4-BE49-F238E27FC236}">
                    <a16:creationId xmlns:a16="http://schemas.microsoft.com/office/drawing/2014/main" id="{3FA7FCFF-7CFC-4EDC-96E4-7427265EB7F8}"/>
                  </a:ext>
                </a:extLst>
              </p:cNvPr>
              <p:cNvSpPr>
                <a:spLocks/>
              </p:cNvSpPr>
              <p:nvPr/>
            </p:nvSpPr>
            <p:spPr bwMode="auto">
              <a:xfrm>
                <a:off x="6332" y="2606"/>
                <a:ext cx="97" cy="69"/>
              </a:xfrm>
              <a:custGeom>
                <a:avLst/>
                <a:gdLst>
                  <a:gd name="T0" fmla="*/ 40 w 41"/>
                  <a:gd name="T1" fmla="*/ 17 h 29"/>
                  <a:gd name="T2" fmla="*/ 38 w 41"/>
                  <a:gd name="T3" fmla="*/ 17 h 29"/>
                  <a:gd name="T4" fmla="*/ 34 w 41"/>
                  <a:gd name="T5" fmla="*/ 16 h 29"/>
                  <a:gd name="T6" fmla="*/ 30 w 41"/>
                  <a:gd name="T7" fmla="*/ 13 h 29"/>
                  <a:gd name="T8" fmla="*/ 29 w 41"/>
                  <a:gd name="T9" fmla="*/ 14 h 29"/>
                  <a:gd name="T10" fmla="*/ 27 w 41"/>
                  <a:gd name="T11" fmla="*/ 13 h 29"/>
                  <a:gd name="T12" fmla="*/ 29 w 41"/>
                  <a:gd name="T13" fmla="*/ 12 h 29"/>
                  <a:gd name="T14" fmla="*/ 28 w 41"/>
                  <a:gd name="T15" fmla="*/ 11 h 29"/>
                  <a:gd name="T16" fmla="*/ 27 w 41"/>
                  <a:gd name="T17" fmla="*/ 11 h 29"/>
                  <a:gd name="T18" fmla="*/ 23 w 41"/>
                  <a:gd name="T19" fmla="*/ 12 h 29"/>
                  <a:gd name="T20" fmla="*/ 24 w 41"/>
                  <a:gd name="T21" fmla="*/ 12 h 29"/>
                  <a:gd name="T22" fmla="*/ 24 w 41"/>
                  <a:gd name="T23" fmla="*/ 11 h 29"/>
                  <a:gd name="T24" fmla="*/ 24 w 41"/>
                  <a:gd name="T25" fmla="*/ 10 h 29"/>
                  <a:gd name="T26" fmla="*/ 25 w 41"/>
                  <a:gd name="T27" fmla="*/ 8 h 29"/>
                  <a:gd name="T28" fmla="*/ 25 w 41"/>
                  <a:gd name="T29" fmla="*/ 8 h 29"/>
                  <a:gd name="T30" fmla="*/ 24 w 41"/>
                  <a:gd name="T31" fmla="*/ 5 h 29"/>
                  <a:gd name="T32" fmla="*/ 22 w 41"/>
                  <a:gd name="T33" fmla="*/ 5 h 29"/>
                  <a:gd name="T34" fmla="*/ 19 w 41"/>
                  <a:gd name="T35" fmla="*/ 1 h 29"/>
                  <a:gd name="T36" fmla="*/ 18 w 41"/>
                  <a:gd name="T37" fmla="*/ 2 h 29"/>
                  <a:gd name="T38" fmla="*/ 16 w 41"/>
                  <a:gd name="T39" fmla="*/ 5 h 29"/>
                  <a:gd name="T40" fmla="*/ 16 w 41"/>
                  <a:gd name="T41" fmla="*/ 4 h 29"/>
                  <a:gd name="T42" fmla="*/ 16 w 41"/>
                  <a:gd name="T43" fmla="*/ 1 h 29"/>
                  <a:gd name="T44" fmla="*/ 14 w 41"/>
                  <a:gd name="T45" fmla="*/ 4 h 29"/>
                  <a:gd name="T46" fmla="*/ 10 w 41"/>
                  <a:gd name="T47" fmla="*/ 9 h 29"/>
                  <a:gd name="T48" fmla="*/ 6 w 41"/>
                  <a:gd name="T49" fmla="*/ 16 h 29"/>
                  <a:gd name="T50" fmla="*/ 3 w 41"/>
                  <a:gd name="T51" fmla="*/ 16 h 29"/>
                  <a:gd name="T52" fmla="*/ 1 w 41"/>
                  <a:gd name="T53" fmla="*/ 18 h 29"/>
                  <a:gd name="T54" fmla="*/ 2 w 41"/>
                  <a:gd name="T55" fmla="*/ 18 h 29"/>
                  <a:gd name="T56" fmla="*/ 2 w 41"/>
                  <a:gd name="T57" fmla="*/ 19 h 29"/>
                  <a:gd name="T58" fmla="*/ 2 w 41"/>
                  <a:gd name="T59" fmla="*/ 21 h 29"/>
                  <a:gd name="T60" fmla="*/ 0 w 41"/>
                  <a:gd name="T61" fmla="*/ 22 h 29"/>
                  <a:gd name="T62" fmla="*/ 1 w 41"/>
                  <a:gd name="T63" fmla="*/ 24 h 29"/>
                  <a:gd name="T64" fmla="*/ 1 w 41"/>
                  <a:gd name="T65" fmla="*/ 25 h 29"/>
                  <a:gd name="T66" fmla="*/ 2 w 41"/>
                  <a:gd name="T67" fmla="*/ 27 h 29"/>
                  <a:gd name="T68" fmla="*/ 3 w 41"/>
                  <a:gd name="T69" fmla="*/ 29 h 29"/>
                  <a:gd name="T70" fmla="*/ 6 w 41"/>
                  <a:gd name="T71" fmla="*/ 27 h 29"/>
                  <a:gd name="T72" fmla="*/ 7 w 41"/>
                  <a:gd name="T73" fmla="*/ 26 h 29"/>
                  <a:gd name="T74" fmla="*/ 8 w 41"/>
                  <a:gd name="T75" fmla="*/ 27 h 29"/>
                  <a:gd name="T76" fmla="*/ 8 w 41"/>
                  <a:gd name="T77" fmla="*/ 27 h 29"/>
                  <a:gd name="T78" fmla="*/ 8 w 41"/>
                  <a:gd name="T79" fmla="*/ 27 h 29"/>
                  <a:gd name="T80" fmla="*/ 12 w 41"/>
                  <a:gd name="T81" fmla="*/ 26 h 29"/>
                  <a:gd name="T82" fmla="*/ 12 w 41"/>
                  <a:gd name="T83" fmla="*/ 26 h 29"/>
                  <a:gd name="T84" fmla="*/ 22 w 41"/>
                  <a:gd name="T85" fmla="*/ 28 h 29"/>
                  <a:gd name="T86" fmla="*/ 24 w 41"/>
                  <a:gd name="T87" fmla="*/ 29 h 29"/>
                  <a:gd name="T88" fmla="*/ 25 w 41"/>
                  <a:gd name="T89" fmla="*/ 27 h 29"/>
                  <a:gd name="T90" fmla="*/ 27 w 41"/>
                  <a:gd name="T91" fmla="*/ 28 h 29"/>
                  <a:gd name="T92" fmla="*/ 35 w 41"/>
                  <a:gd name="T93" fmla="*/ 27 h 29"/>
                  <a:gd name="T94" fmla="*/ 33 w 41"/>
                  <a:gd name="T95" fmla="*/ 26 h 29"/>
                  <a:gd name="T96" fmla="*/ 33 w 41"/>
                  <a:gd name="T97" fmla="*/ 26 h 29"/>
                  <a:gd name="T98" fmla="*/ 32 w 41"/>
                  <a:gd name="T99" fmla="*/ 25 h 29"/>
                  <a:gd name="T100" fmla="*/ 30 w 41"/>
                  <a:gd name="T101" fmla="*/ 24 h 29"/>
                  <a:gd name="T102" fmla="*/ 33 w 41"/>
                  <a:gd name="T103" fmla="*/ 21 h 29"/>
                  <a:gd name="T104" fmla="*/ 34 w 41"/>
                  <a:gd name="T105" fmla="*/ 22 h 29"/>
                  <a:gd name="T106" fmla="*/ 39 w 41"/>
                  <a:gd name="T107" fmla="*/ 19 h 29"/>
                  <a:gd name="T108" fmla="*/ 41 w 41"/>
                  <a:gd name="T109" fmla="*/ 19 h 29"/>
                  <a:gd name="T110" fmla="*/ 40 w 41"/>
                  <a:gd name="T111"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 h="29">
                    <a:moveTo>
                      <a:pt x="40" y="17"/>
                    </a:moveTo>
                    <a:cubicBezTo>
                      <a:pt x="40" y="17"/>
                      <a:pt x="38" y="17"/>
                      <a:pt x="38" y="17"/>
                    </a:cubicBezTo>
                    <a:cubicBezTo>
                      <a:pt x="36" y="17"/>
                      <a:pt x="35" y="13"/>
                      <a:pt x="34" y="16"/>
                    </a:cubicBezTo>
                    <a:cubicBezTo>
                      <a:pt x="34" y="14"/>
                      <a:pt x="32" y="13"/>
                      <a:pt x="30" y="13"/>
                    </a:cubicBezTo>
                    <a:cubicBezTo>
                      <a:pt x="30" y="13"/>
                      <a:pt x="30" y="14"/>
                      <a:pt x="29" y="14"/>
                    </a:cubicBezTo>
                    <a:cubicBezTo>
                      <a:pt x="29" y="14"/>
                      <a:pt x="27" y="14"/>
                      <a:pt x="27" y="13"/>
                    </a:cubicBezTo>
                    <a:cubicBezTo>
                      <a:pt x="28" y="13"/>
                      <a:pt x="29" y="14"/>
                      <a:pt x="29" y="12"/>
                    </a:cubicBezTo>
                    <a:cubicBezTo>
                      <a:pt x="30" y="12"/>
                      <a:pt x="28" y="11"/>
                      <a:pt x="28" y="11"/>
                    </a:cubicBezTo>
                    <a:cubicBezTo>
                      <a:pt x="28" y="11"/>
                      <a:pt x="27" y="11"/>
                      <a:pt x="27" y="11"/>
                    </a:cubicBezTo>
                    <a:cubicBezTo>
                      <a:pt x="26" y="12"/>
                      <a:pt x="25" y="12"/>
                      <a:pt x="23" y="12"/>
                    </a:cubicBezTo>
                    <a:cubicBezTo>
                      <a:pt x="23" y="12"/>
                      <a:pt x="24" y="12"/>
                      <a:pt x="24" y="12"/>
                    </a:cubicBezTo>
                    <a:cubicBezTo>
                      <a:pt x="25" y="11"/>
                      <a:pt x="24" y="12"/>
                      <a:pt x="24" y="11"/>
                    </a:cubicBezTo>
                    <a:cubicBezTo>
                      <a:pt x="25" y="10"/>
                      <a:pt x="24" y="10"/>
                      <a:pt x="24" y="10"/>
                    </a:cubicBezTo>
                    <a:cubicBezTo>
                      <a:pt x="24" y="9"/>
                      <a:pt x="24" y="9"/>
                      <a:pt x="25" y="8"/>
                    </a:cubicBezTo>
                    <a:cubicBezTo>
                      <a:pt x="25" y="8"/>
                      <a:pt x="25" y="9"/>
                      <a:pt x="25" y="8"/>
                    </a:cubicBezTo>
                    <a:cubicBezTo>
                      <a:pt x="25" y="7"/>
                      <a:pt x="24" y="6"/>
                      <a:pt x="24" y="5"/>
                    </a:cubicBezTo>
                    <a:cubicBezTo>
                      <a:pt x="23" y="5"/>
                      <a:pt x="23" y="5"/>
                      <a:pt x="22" y="5"/>
                    </a:cubicBezTo>
                    <a:cubicBezTo>
                      <a:pt x="20" y="4"/>
                      <a:pt x="20" y="0"/>
                      <a:pt x="19" y="1"/>
                    </a:cubicBezTo>
                    <a:cubicBezTo>
                      <a:pt x="18" y="1"/>
                      <a:pt x="19" y="2"/>
                      <a:pt x="18" y="2"/>
                    </a:cubicBezTo>
                    <a:cubicBezTo>
                      <a:pt x="18" y="3"/>
                      <a:pt x="17" y="4"/>
                      <a:pt x="16" y="5"/>
                    </a:cubicBezTo>
                    <a:cubicBezTo>
                      <a:pt x="16" y="4"/>
                      <a:pt x="16" y="4"/>
                      <a:pt x="16" y="4"/>
                    </a:cubicBezTo>
                    <a:cubicBezTo>
                      <a:pt x="16" y="2"/>
                      <a:pt x="16" y="2"/>
                      <a:pt x="16" y="1"/>
                    </a:cubicBezTo>
                    <a:cubicBezTo>
                      <a:pt x="15" y="2"/>
                      <a:pt x="15" y="3"/>
                      <a:pt x="14" y="4"/>
                    </a:cubicBezTo>
                    <a:cubicBezTo>
                      <a:pt x="13" y="6"/>
                      <a:pt x="11" y="7"/>
                      <a:pt x="10" y="9"/>
                    </a:cubicBezTo>
                    <a:cubicBezTo>
                      <a:pt x="8" y="11"/>
                      <a:pt x="7" y="13"/>
                      <a:pt x="6" y="16"/>
                    </a:cubicBezTo>
                    <a:cubicBezTo>
                      <a:pt x="4" y="15"/>
                      <a:pt x="4" y="15"/>
                      <a:pt x="3" y="16"/>
                    </a:cubicBezTo>
                    <a:cubicBezTo>
                      <a:pt x="2" y="17"/>
                      <a:pt x="1" y="17"/>
                      <a:pt x="1" y="18"/>
                    </a:cubicBezTo>
                    <a:cubicBezTo>
                      <a:pt x="1" y="18"/>
                      <a:pt x="1" y="18"/>
                      <a:pt x="2" y="18"/>
                    </a:cubicBezTo>
                    <a:cubicBezTo>
                      <a:pt x="2" y="18"/>
                      <a:pt x="2" y="18"/>
                      <a:pt x="2" y="19"/>
                    </a:cubicBezTo>
                    <a:cubicBezTo>
                      <a:pt x="2" y="19"/>
                      <a:pt x="2" y="20"/>
                      <a:pt x="2" y="21"/>
                    </a:cubicBezTo>
                    <a:cubicBezTo>
                      <a:pt x="2" y="22"/>
                      <a:pt x="1" y="22"/>
                      <a:pt x="0" y="22"/>
                    </a:cubicBezTo>
                    <a:cubicBezTo>
                      <a:pt x="1" y="23"/>
                      <a:pt x="1" y="24"/>
                      <a:pt x="1" y="24"/>
                    </a:cubicBezTo>
                    <a:cubicBezTo>
                      <a:pt x="1" y="25"/>
                      <a:pt x="1" y="25"/>
                      <a:pt x="1" y="25"/>
                    </a:cubicBezTo>
                    <a:cubicBezTo>
                      <a:pt x="1" y="26"/>
                      <a:pt x="2" y="27"/>
                      <a:pt x="2" y="27"/>
                    </a:cubicBezTo>
                    <a:cubicBezTo>
                      <a:pt x="3" y="29"/>
                      <a:pt x="3" y="29"/>
                      <a:pt x="3" y="29"/>
                    </a:cubicBezTo>
                    <a:cubicBezTo>
                      <a:pt x="4" y="28"/>
                      <a:pt x="5" y="27"/>
                      <a:pt x="6" y="27"/>
                    </a:cubicBezTo>
                    <a:cubicBezTo>
                      <a:pt x="7" y="26"/>
                      <a:pt x="7" y="26"/>
                      <a:pt x="7" y="26"/>
                    </a:cubicBezTo>
                    <a:cubicBezTo>
                      <a:pt x="8" y="27"/>
                      <a:pt x="8" y="27"/>
                      <a:pt x="8" y="27"/>
                    </a:cubicBezTo>
                    <a:cubicBezTo>
                      <a:pt x="8" y="27"/>
                      <a:pt x="8" y="27"/>
                      <a:pt x="8" y="27"/>
                    </a:cubicBezTo>
                    <a:cubicBezTo>
                      <a:pt x="8" y="27"/>
                      <a:pt x="8" y="27"/>
                      <a:pt x="8" y="27"/>
                    </a:cubicBezTo>
                    <a:cubicBezTo>
                      <a:pt x="9" y="27"/>
                      <a:pt x="10" y="27"/>
                      <a:pt x="12" y="26"/>
                    </a:cubicBezTo>
                    <a:cubicBezTo>
                      <a:pt x="12" y="26"/>
                      <a:pt x="12" y="26"/>
                      <a:pt x="12" y="26"/>
                    </a:cubicBezTo>
                    <a:cubicBezTo>
                      <a:pt x="16" y="26"/>
                      <a:pt x="19" y="27"/>
                      <a:pt x="22" y="28"/>
                    </a:cubicBezTo>
                    <a:cubicBezTo>
                      <a:pt x="23" y="28"/>
                      <a:pt x="24" y="28"/>
                      <a:pt x="24" y="29"/>
                    </a:cubicBezTo>
                    <a:cubicBezTo>
                      <a:pt x="24" y="28"/>
                      <a:pt x="25" y="28"/>
                      <a:pt x="25" y="27"/>
                    </a:cubicBezTo>
                    <a:cubicBezTo>
                      <a:pt x="25" y="28"/>
                      <a:pt x="26" y="28"/>
                      <a:pt x="27" y="28"/>
                    </a:cubicBezTo>
                    <a:cubicBezTo>
                      <a:pt x="28" y="28"/>
                      <a:pt x="35" y="29"/>
                      <a:pt x="35" y="27"/>
                    </a:cubicBezTo>
                    <a:cubicBezTo>
                      <a:pt x="35" y="26"/>
                      <a:pt x="33" y="26"/>
                      <a:pt x="33" y="26"/>
                    </a:cubicBezTo>
                    <a:cubicBezTo>
                      <a:pt x="33" y="26"/>
                      <a:pt x="33" y="26"/>
                      <a:pt x="33" y="26"/>
                    </a:cubicBezTo>
                    <a:cubicBezTo>
                      <a:pt x="33" y="25"/>
                      <a:pt x="32" y="25"/>
                      <a:pt x="32" y="25"/>
                    </a:cubicBezTo>
                    <a:cubicBezTo>
                      <a:pt x="32" y="25"/>
                      <a:pt x="31" y="24"/>
                      <a:pt x="30" y="24"/>
                    </a:cubicBezTo>
                    <a:cubicBezTo>
                      <a:pt x="29" y="22"/>
                      <a:pt x="31" y="21"/>
                      <a:pt x="33" y="21"/>
                    </a:cubicBezTo>
                    <a:cubicBezTo>
                      <a:pt x="33" y="21"/>
                      <a:pt x="33" y="22"/>
                      <a:pt x="34" y="22"/>
                    </a:cubicBezTo>
                    <a:cubicBezTo>
                      <a:pt x="35" y="22"/>
                      <a:pt x="38" y="20"/>
                      <a:pt x="39" y="19"/>
                    </a:cubicBezTo>
                    <a:cubicBezTo>
                      <a:pt x="39" y="19"/>
                      <a:pt x="41" y="19"/>
                      <a:pt x="41" y="19"/>
                    </a:cubicBezTo>
                    <a:cubicBezTo>
                      <a:pt x="41" y="18"/>
                      <a:pt x="41"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8" name="Freeform 3000">
                <a:extLst>
                  <a:ext uri="{FF2B5EF4-FFF2-40B4-BE49-F238E27FC236}">
                    <a16:creationId xmlns:a16="http://schemas.microsoft.com/office/drawing/2014/main" id="{DF2B1895-29EC-4EDD-BA3E-FDD2292F92B5}"/>
                  </a:ext>
                </a:extLst>
              </p:cNvPr>
              <p:cNvSpPr>
                <a:spLocks/>
              </p:cNvSpPr>
              <p:nvPr/>
            </p:nvSpPr>
            <p:spPr bwMode="auto">
              <a:xfrm>
                <a:off x="6197" y="2663"/>
                <a:ext cx="142" cy="92"/>
              </a:xfrm>
              <a:custGeom>
                <a:avLst/>
                <a:gdLst>
                  <a:gd name="T0" fmla="*/ 0 w 60"/>
                  <a:gd name="T1" fmla="*/ 30 h 39"/>
                  <a:gd name="T2" fmla="*/ 4 w 60"/>
                  <a:gd name="T3" fmla="*/ 34 h 39"/>
                  <a:gd name="T4" fmla="*/ 8 w 60"/>
                  <a:gd name="T5" fmla="*/ 37 h 39"/>
                  <a:gd name="T6" fmla="*/ 9 w 60"/>
                  <a:gd name="T7" fmla="*/ 38 h 39"/>
                  <a:gd name="T8" fmla="*/ 13 w 60"/>
                  <a:gd name="T9" fmla="*/ 37 h 39"/>
                  <a:gd name="T10" fmla="*/ 19 w 60"/>
                  <a:gd name="T11" fmla="*/ 37 h 39"/>
                  <a:gd name="T12" fmla="*/ 21 w 60"/>
                  <a:gd name="T13" fmla="*/ 37 h 39"/>
                  <a:gd name="T14" fmla="*/ 24 w 60"/>
                  <a:gd name="T15" fmla="*/ 35 h 39"/>
                  <a:gd name="T16" fmla="*/ 27 w 60"/>
                  <a:gd name="T17" fmla="*/ 32 h 39"/>
                  <a:gd name="T18" fmla="*/ 36 w 60"/>
                  <a:gd name="T19" fmla="*/ 32 h 39"/>
                  <a:gd name="T20" fmla="*/ 37 w 60"/>
                  <a:gd name="T21" fmla="*/ 33 h 39"/>
                  <a:gd name="T22" fmla="*/ 41 w 60"/>
                  <a:gd name="T23" fmla="*/ 34 h 39"/>
                  <a:gd name="T24" fmla="*/ 42 w 60"/>
                  <a:gd name="T25" fmla="*/ 34 h 39"/>
                  <a:gd name="T26" fmla="*/ 46 w 60"/>
                  <a:gd name="T27" fmla="*/ 33 h 39"/>
                  <a:gd name="T28" fmla="*/ 48 w 60"/>
                  <a:gd name="T29" fmla="*/ 32 h 39"/>
                  <a:gd name="T30" fmla="*/ 48 w 60"/>
                  <a:gd name="T31" fmla="*/ 32 h 39"/>
                  <a:gd name="T32" fmla="*/ 49 w 60"/>
                  <a:gd name="T33" fmla="*/ 32 h 39"/>
                  <a:gd name="T34" fmla="*/ 50 w 60"/>
                  <a:gd name="T35" fmla="*/ 30 h 39"/>
                  <a:gd name="T36" fmla="*/ 51 w 60"/>
                  <a:gd name="T37" fmla="*/ 29 h 39"/>
                  <a:gd name="T38" fmla="*/ 52 w 60"/>
                  <a:gd name="T39" fmla="*/ 28 h 39"/>
                  <a:gd name="T40" fmla="*/ 52 w 60"/>
                  <a:gd name="T41" fmla="*/ 27 h 39"/>
                  <a:gd name="T42" fmla="*/ 53 w 60"/>
                  <a:gd name="T43" fmla="*/ 23 h 39"/>
                  <a:gd name="T44" fmla="*/ 54 w 60"/>
                  <a:gd name="T45" fmla="*/ 23 h 39"/>
                  <a:gd name="T46" fmla="*/ 55 w 60"/>
                  <a:gd name="T47" fmla="*/ 22 h 39"/>
                  <a:gd name="T48" fmla="*/ 59 w 60"/>
                  <a:gd name="T49" fmla="*/ 16 h 39"/>
                  <a:gd name="T50" fmla="*/ 59 w 60"/>
                  <a:gd name="T51" fmla="*/ 9 h 39"/>
                  <a:gd name="T52" fmla="*/ 58 w 60"/>
                  <a:gd name="T53" fmla="*/ 5 h 39"/>
                  <a:gd name="T54" fmla="*/ 57 w 60"/>
                  <a:gd name="T55" fmla="*/ 5 h 39"/>
                  <a:gd name="T56" fmla="*/ 54 w 60"/>
                  <a:gd name="T57" fmla="*/ 3 h 39"/>
                  <a:gd name="T58" fmla="*/ 54 w 60"/>
                  <a:gd name="T59" fmla="*/ 0 h 39"/>
                  <a:gd name="T60" fmla="*/ 54 w 60"/>
                  <a:gd name="T61" fmla="*/ 3 h 39"/>
                  <a:gd name="T62" fmla="*/ 54 w 60"/>
                  <a:gd name="T63" fmla="*/ 4 h 39"/>
                  <a:gd name="T64" fmla="*/ 53 w 60"/>
                  <a:gd name="T65" fmla="*/ 7 h 39"/>
                  <a:gd name="T66" fmla="*/ 51 w 60"/>
                  <a:gd name="T67" fmla="*/ 8 h 39"/>
                  <a:gd name="T68" fmla="*/ 47 w 60"/>
                  <a:gd name="T69" fmla="*/ 5 h 39"/>
                  <a:gd name="T70" fmla="*/ 46 w 60"/>
                  <a:gd name="T71" fmla="*/ 4 h 39"/>
                  <a:gd name="T72" fmla="*/ 44 w 60"/>
                  <a:gd name="T73" fmla="*/ 3 h 39"/>
                  <a:gd name="T74" fmla="*/ 35 w 60"/>
                  <a:gd name="T75" fmla="*/ 15 h 39"/>
                  <a:gd name="T76" fmla="*/ 21 w 60"/>
                  <a:gd name="T77" fmla="*/ 19 h 39"/>
                  <a:gd name="T78" fmla="*/ 18 w 60"/>
                  <a:gd name="T79" fmla="*/ 24 h 39"/>
                  <a:gd name="T80" fmla="*/ 16 w 60"/>
                  <a:gd name="T81" fmla="*/ 24 h 39"/>
                  <a:gd name="T82" fmla="*/ 16 w 60"/>
                  <a:gd name="T83" fmla="*/ 32 h 39"/>
                  <a:gd name="T84" fmla="*/ 17 w 60"/>
                  <a:gd name="T85" fmla="*/ 35 h 39"/>
                  <a:gd name="T86" fmla="*/ 10 w 60"/>
                  <a:gd name="T87" fmla="*/ 32 h 39"/>
                  <a:gd name="T88" fmla="*/ 5 w 60"/>
                  <a:gd name="T89" fmla="*/ 31 h 39"/>
                  <a:gd name="T90" fmla="*/ 1 w 60"/>
                  <a:gd name="T91"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39">
                    <a:moveTo>
                      <a:pt x="1" y="29"/>
                    </a:moveTo>
                    <a:cubicBezTo>
                      <a:pt x="0" y="29"/>
                      <a:pt x="0" y="29"/>
                      <a:pt x="0" y="30"/>
                    </a:cubicBezTo>
                    <a:cubicBezTo>
                      <a:pt x="1" y="31"/>
                      <a:pt x="2" y="32"/>
                      <a:pt x="4" y="34"/>
                    </a:cubicBezTo>
                    <a:cubicBezTo>
                      <a:pt x="4" y="34"/>
                      <a:pt x="4" y="34"/>
                      <a:pt x="4" y="34"/>
                    </a:cubicBezTo>
                    <a:cubicBezTo>
                      <a:pt x="5" y="35"/>
                      <a:pt x="6" y="36"/>
                      <a:pt x="7" y="36"/>
                    </a:cubicBezTo>
                    <a:cubicBezTo>
                      <a:pt x="8" y="37"/>
                      <a:pt x="8" y="37"/>
                      <a:pt x="8" y="37"/>
                    </a:cubicBezTo>
                    <a:cubicBezTo>
                      <a:pt x="8" y="37"/>
                      <a:pt x="8" y="37"/>
                      <a:pt x="8" y="38"/>
                    </a:cubicBezTo>
                    <a:cubicBezTo>
                      <a:pt x="9" y="38"/>
                      <a:pt x="9" y="38"/>
                      <a:pt x="9" y="38"/>
                    </a:cubicBezTo>
                    <a:cubicBezTo>
                      <a:pt x="10" y="39"/>
                      <a:pt x="12" y="38"/>
                      <a:pt x="13" y="37"/>
                    </a:cubicBezTo>
                    <a:cubicBezTo>
                      <a:pt x="13" y="37"/>
                      <a:pt x="13" y="37"/>
                      <a:pt x="13" y="37"/>
                    </a:cubicBezTo>
                    <a:cubicBezTo>
                      <a:pt x="13" y="37"/>
                      <a:pt x="14" y="37"/>
                      <a:pt x="14" y="37"/>
                    </a:cubicBezTo>
                    <a:cubicBezTo>
                      <a:pt x="16" y="36"/>
                      <a:pt x="18" y="36"/>
                      <a:pt x="19" y="37"/>
                    </a:cubicBezTo>
                    <a:cubicBezTo>
                      <a:pt x="20" y="37"/>
                      <a:pt x="20" y="37"/>
                      <a:pt x="20" y="37"/>
                    </a:cubicBezTo>
                    <a:cubicBezTo>
                      <a:pt x="20" y="37"/>
                      <a:pt x="20" y="37"/>
                      <a:pt x="21" y="37"/>
                    </a:cubicBezTo>
                    <a:cubicBezTo>
                      <a:pt x="22" y="37"/>
                      <a:pt x="24" y="36"/>
                      <a:pt x="24" y="35"/>
                    </a:cubicBezTo>
                    <a:cubicBezTo>
                      <a:pt x="24" y="35"/>
                      <a:pt x="24" y="35"/>
                      <a:pt x="24" y="35"/>
                    </a:cubicBezTo>
                    <a:cubicBezTo>
                      <a:pt x="24" y="35"/>
                      <a:pt x="24" y="35"/>
                      <a:pt x="24" y="35"/>
                    </a:cubicBezTo>
                    <a:cubicBezTo>
                      <a:pt x="25" y="33"/>
                      <a:pt x="25" y="32"/>
                      <a:pt x="27" y="32"/>
                    </a:cubicBezTo>
                    <a:cubicBezTo>
                      <a:pt x="28" y="32"/>
                      <a:pt x="28" y="32"/>
                      <a:pt x="28" y="32"/>
                    </a:cubicBezTo>
                    <a:cubicBezTo>
                      <a:pt x="34" y="31"/>
                      <a:pt x="35" y="31"/>
                      <a:pt x="36" y="32"/>
                    </a:cubicBezTo>
                    <a:cubicBezTo>
                      <a:pt x="36" y="32"/>
                      <a:pt x="36" y="32"/>
                      <a:pt x="36" y="33"/>
                    </a:cubicBezTo>
                    <a:cubicBezTo>
                      <a:pt x="36" y="33"/>
                      <a:pt x="37" y="33"/>
                      <a:pt x="37" y="33"/>
                    </a:cubicBezTo>
                    <a:cubicBezTo>
                      <a:pt x="37" y="33"/>
                      <a:pt x="37" y="33"/>
                      <a:pt x="37" y="33"/>
                    </a:cubicBezTo>
                    <a:cubicBezTo>
                      <a:pt x="39" y="34"/>
                      <a:pt x="40" y="35"/>
                      <a:pt x="41" y="34"/>
                    </a:cubicBezTo>
                    <a:cubicBezTo>
                      <a:pt x="41" y="34"/>
                      <a:pt x="41" y="34"/>
                      <a:pt x="41" y="34"/>
                    </a:cubicBezTo>
                    <a:cubicBezTo>
                      <a:pt x="41" y="34"/>
                      <a:pt x="42" y="34"/>
                      <a:pt x="42" y="34"/>
                    </a:cubicBezTo>
                    <a:cubicBezTo>
                      <a:pt x="43" y="33"/>
                      <a:pt x="44" y="33"/>
                      <a:pt x="45" y="33"/>
                    </a:cubicBezTo>
                    <a:cubicBezTo>
                      <a:pt x="46" y="33"/>
                      <a:pt x="46" y="33"/>
                      <a:pt x="46" y="33"/>
                    </a:cubicBezTo>
                    <a:cubicBezTo>
                      <a:pt x="48" y="32"/>
                      <a:pt x="48" y="32"/>
                      <a:pt x="48" y="32"/>
                    </a:cubicBezTo>
                    <a:cubicBezTo>
                      <a:pt x="48" y="32"/>
                      <a:pt x="48" y="32"/>
                      <a:pt x="48" y="32"/>
                    </a:cubicBezTo>
                    <a:cubicBezTo>
                      <a:pt x="48" y="32"/>
                      <a:pt x="48" y="32"/>
                      <a:pt x="48" y="32"/>
                    </a:cubicBezTo>
                    <a:cubicBezTo>
                      <a:pt x="48" y="32"/>
                      <a:pt x="48" y="32"/>
                      <a:pt x="48" y="32"/>
                    </a:cubicBezTo>
                    <a:cubicBezTo>
                      <a:pt x="49" y="32"/>
                      <a:pt x="49" y="32"/>
                      <a:pt x="49" y="32"/>
                    </a:cubicBezTo>
                    <a:cubicBezTo>
                      <a:pt x="49" y="32"/>
                      <a:pt x="49" y="32"/>
                      <a:pt x="49" y="32"/>
                    </a:cubicBezTo>
                    <a:cubicBezTo>
                      <a:pt x="50" y="31"/>
                      <a:pt x="50" y="31"/>
                      <a:pt x="50" y="31"/>
                    </a:cubicBezTo>
                    <a:cubicBezTo>
                      <a:pt x="50" y="31"/>
                      <a:pt x="50" y="30"/>
                      <a:pt x="50" y="30"/>
                    </a:cubicBezTo>
                    <a:cubicBezTo>
                      <a:pt x="50" y="30"/>
                      <a:pt x="50" y="29"/>
                      <a:pt x="50" y="29"/>
                    </a:cubicBezTo>
                    <a:cubicBezTo>
                      <a:pt x="51" y="29"/>
                      <a:pt x="51" y="29"/>
                      <a:pt x="51" y="29"/>
                    </a:cubicBezTo>
                    <a:cubicBezTo>
                      <a:pt x="51" y="28"/>
                      <a:pt x="51" y="28"/>
                      <a:pt x="51" y="28"/>
                    </a:cubicBezTo>
                    <a:cubicBezTo>
                      <a:pt x="52" y="28"/>
                      <a:pt x="52" y="28"/>
                      <a:pt x="52" y="28"/>
                    </a:cubicBezTo>
                    <a:cubicBezTo>
                      <a:pt x="52" y="28"/>
                      <a:pt x="52" y="28"/>
                      <a:pt x="52" y="28"/>
                    </a:cubicBezTo>
                    <a:cubicBezTo>
                      <a:pt x="52" y="28"/>
                      <a:pt x="52" y="28"/>
                      <a:pt x="52" y="27"/>
                    </a:cubicBezTo>
                    <a:cubicBezTo>
                      <a:pt x="51" y="27"/>
                      <a:pt x="51" y="26"/>
                      <a:pt x="51" y="25"/>
                    </a:cubicBezTo>
                    <a:cubicBezTo>
                      <a:pt x="52" y="24"/>
                      <a:pt x="52" y="24"/>
                      <a:pt x="53" y="23"/>
                    </a:cubicBezTo>
                    <a:cubicBezTo>
                      <a:pt x="54" y="23"/>
                      <a:pt x="54" y="23"/>
                      <a:pt x="54" y="23"/>
                    </a:cubicBezTo>
                    <a:cubicBezTo>
                      <a:pt x="54" y="23"/>
                      <a:pt x="54" y="23"/>
                      <a:pt x="54" y="23"/>
                    </a:cubicBezTo>
                    <a:cubicBezTo>
                      <a:pt x="55" y="23"/>
                      <a:pt x="55" y="23"/>
                      <a:pt x="55" y="23"/>
                    </a:cubicBezTo>
                    <a:cubicBezTo>
                      <a:pt x="55" y="22"/>
                      <a:pt x="55" y="22"/>
                      <a:pt x="55" y="22"/>
                    </a:cubicBezTo>
                    <a:cubicBezTo>
                      <a:pt x="54" y="21"/>
                      <a:pt x="54" y="19"/>
                      <a:pt x="55" y="18"/>
                    </a:cubicBezTo>
                    <a:cubicBezTo>
                      <a:pt x="56" y="17"/>
                      <a:pt x="57" y="16"/>
                      <a:pt x="59" y="16"/>
                    </a:cubicBezTo>
                    <a:cubicBezTo>
                      <a:pt x="59" y="16"/>
                      <a:pt x="59" y="16"/>
                      <a:pt x="59" y="16"/>
                    </a:cubicBezTo>
                    <a:cubicBezTo>
                      <a:pt x="60" y="14"/>
                      <a:pt x="59" y="12"/>
                      <a:pt x="59" y="9"/>
                    </a:cubicBezTo>
                    <a:cubicBezTo>
                      <a:pt x="59" y="8"/>
                      <a:pt x="60" y="7"/>
                      <a:pt x="60" y="5"/>
                    </a:cubicBezTo>
                    <a:cubicBezTo>
                      <a:pt x="58" y="5"/>
                      <a:pt x="58" y="5"/>
                      <a:pt x="58" y="5"/>
                    </a:cubicBezTo>
                    <a:cubicBezTo>
                      <a:pt x="58" y="5"/>
                      <a:pt x="57" y="5"/>
                      <a:pt x="57" y="5"/>
                    </a:cubicBezTo>
                    <a:cubicBezTo>
                      <a:pt x="57" y="5"/>
                      <a:pt x="57" y="5"/>
                      <a:pt x="57" y="5"/>
                    </a:cubicBezTo>
                    <a:cubicBezTo>
                      <a:pt x="56" y="5"/>
                      <a:pt x="55" y="5"/>
                      <a:pt x="54" y="4"/>
                    </a:cubicBezTo>
                    <a:cubicBezTo>
                      <a:pt x="54" y="3"/>
                      <a:pt x="54" y="3"/>
                      <a:pt x="54" y="3"/>
                    </a:cubicBezTo>
                    <a:cubicBezTo>
                      <a:pt x="54" y="2"/>
                      <a:pt x="54" y="1"/>
                      <a:pt x="54" y="0"/>
                    </a:cubicBezTo>
                    <a:cubicBezTo>
                      <a:pt x="54" y="0"/>
                      <a:pt x="54" y="0"/>
                      <a:pt x="54" y="0"/>
                    </a:cubicBezTo>
                    <a:cubicBezTo>
                      <a:pt x="54" y="1"/>
                      <a:pt x="54" y="1"/>
                      <a:pt x="54" y="1"/>
                    </a:cubicBezTo>
                    <a:cubicBezTo>
                      <a:pt x="54" y="2"/>
                      <a:pt x="54" y="2"/>
                      <a:pt x="54" y="3"/>
                    </a:cubicBezTo>
                    <a:cubicBezTo>
                      <a:pt x="54" y="3"/>
                      <a:pt x="54" y="3"/>
                      <a:pt x="54" y="3"/>
                    </a:cubicBezTo>
                    <a:cubicBezTo>
                      <a:pt x="54" y="4"/>
                      <a:pt x="54" y="4"/>
                      <a:pt x="54" y="4"/>
                    </a:cubicBezTo>
                    <a:cubicBezTo>
                      <a:pt x="54" y="5"/>
                      <a:pt x="54" y="5"/>
                      <a:pt x="54" y="5"/>
                    </a:cubicBezTo>
                    <a:cubicBezTo>
                      <a:pt x="54" y="6"/>
                      <a:pt x="54" y="7"/>
                      <a:pt x="53" y="7"/>
                    </a:cubicBezTo>
                    <a:cubicBezTo>
                      <a:pt x="52" y="8"/>
                      <a:pt x="52" y="8"/>
                      <a:pt x="51" y="8"/>
                    </a:cubicBezTo>
                    <a:cubicBezTo>
                      <a:pt x="51" y="8"/>
                      <a:pt x="51" y="8"/>
                      <a:pt x="51" y="8"/>
                    </a:cubicBezTo>
                    <a:cubicBezTo>
                      <a:pt x="49" y="8"/>
                      <a:pt x="49" y="7"/>
                      <a:pt x="47" y="5"/>
                    </a:cubicBezTo>
                    <a:cubicBezTo>
                      <a:pt x="47" y="5"/>
                      <a:pt x="47" y="5"/>
                      <a:pt x="47" y="5"/>
                    </a:cubicBezTo>
                    <a:cubicBezTo>
                      <a:pt x="47" y="5"/>
                      <a:pt x="47" y="5"/>
                      <a:pt x="47" y="4"/>
                    </a:cubicBezTo>
                    <a:cubicBezTo>
                      <a:pt x="46" y="4"/>
                      <a:pt x="46" y="4"/>
                      <a:pt x="46" y="4"/>
                    </a:cubicBezTo>
                    <a:cubicBezTo>
                      <a:pt x="46" y="4"/>
                      <a:pt x="46" y="4"/>
                      <a:pt x="46" y="4"/>
                    </a:cubicBezTo>
                    <a:cubicBezTo>
                      <a:pt x="46" y="4"/>
                      <a:pt x="45" y="3"/>
                      <a:pt x="44" y="3"/>
                    </a:cubicBezTo>
                    <a:cubicBezTo>
                      <a:pt x="43" y="5"/>
                      <a:pt x="41" y="7"/>
                      <a:pt x="39" y="10"/>
                    </a:cubicBezTo>
                    <a:cubicBezTo>
                      <a:pt x="38" y="12"/>
                      <a:pt x="36" y="14"/>
                      <a:pt x="35" y="15"/>
                    </a:cubicBezTo>
                    <a:cubicBezTo>
                      <a:pt x="34" y="16"/>
                      <a:pt x="33" y="17"/>
                      <a:pt x="31" y="17"/>
                    </a:cubicBezTo>
                    <a:cubicBezTo>
                      <a:pt x="28" y="18"/>
                      <a:pt x="25" y="19"/>
                      <a:pt x="21" y="19"/>
                    </a:cubicBezTo>
                    <a:cubicBezTo>
                      <a:pt x="20" y="20"/>
                      <a:pt x="20" y="20"/>
                      <a:pt x="19" y="22"/>
                    </a:cubicBezTo>
                    <a:cubicBezTo>
                      <a:pt x="19" y="23"/>
                      <a:pt x="19" y="24"/>
                      <a:pt x="18" y="24"/>
                    </a:cubicBezTo>
                    <a:cubicBezTo>
                      <a:pt x="17" y="24"/>
                      <a:pt x="17" y="24"/>
                      <a:pt x="16" y="24"/>
                    </a:cubicBezTo>
                    <a:cubicBezTo>
                      <a:pt x="16" y="24"/>
                      <a:pt x="16" y="23"/>
                      <a:pt x="16" y="24"/>
                    </a:cubicBezTo>
                    <a:cubicBezTo>
                      <a:pt x="16" y="25"/>
                      <a:pt x="17" y="26"/>
                      <a:pt x="17" y="27"/>
                    </a:cubicBezTo>
                    <a:cubicBezTo>
                      <a:pt x="15" y="28"/>
                      <a:pt x="13" y="31"/>
                      <a:pt x="16" y="32"/>
                    </a:cubicBezTo>
                    <a:cubicBezTo>
                      <a:pt x="15" y="32"/>
                      <a:pt x="13" y="32"/>
                      <a:pt x="14" y="33"/>
                    </a:cubicBezTo>
                    <a:cubicBezTo>
                      <a:pt x="15" y="34"/>
                      <a:pt x="17" y="34"/>
                      <a:pt x="17" y="35"/>
                    </a:cubicBezTo>
                    <a:cubicBezTo>
                      <a:pt x="15" y="35"/>
                      <a:pt x="13" y="33"/>
                      <a:pt x="10" y="34"/>
                    </a:cubicBezTo>
                    <a:cubicBezTo>
                      <a:pt x="11" y="33"/>
                      <a:pt x="11" y="33"/>
                      <a:pt x="10" y="32"/>
                    </a:cubicBezTo>
                    <a:cubicBezTo>
                      <a:pt x="10" y="32"/>
                      <a:pt x="9" y="31"/>
                      <a:pt x="9" y="31"/>
                    </a:cubicBezTo>
                    <a:cubicBezTo>
                      <a:pt x="8" y="30"/>
                      <a:pt x="6" y="31"/>
                      <a:pt x="5" y="31"/>
                    </a:cubicBezTo>
                    <a:cubicBezTo>
                      <a:pt x="5" y="31"/>
                      <a:pt x="4" y="31"/>
                      <a:pt x="3" y="31"/>
                    </a:cubicBezTo>
                    <a:cubicBezTo>
                      <a:pt x="2" y="31"/>
                      <a:pt x="1" y="30"/>
                      <a:pt x="1" y="28"/>
                    </a:cubicBezTo>
                    <a:lnTo>
                      <a:pt x="1"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9" name="Rectangle 3001">
                <a:extLst>
                  <a:ext uri="{FF2B5EF4-FFF2-40B4-BE49-F238E27FC236}">
                    <a16:creationId xmlns:a16="http://schemas.microsoft.com/office/drawing/2014/main" id="{6D6BC1C8-768B-4FD0-8BB7-E27CCF9D71AF}"/>
                  </a:ext>
                </a:extLst>
              </p:cNvPr>
              <p:cNvSpPr>
                <a:spLocks noChangeArrowheads="1"/>
              </p:cNvSpPr>
              <p:nvPr/>
            </p:nvSpPr>
            <p:spPr bwMode="auto">
              <a:xfrm>
                <a:off x="6301" y="266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0" name="Freeform 3002">
                <a:extLst>
                  <a:ext uri="{FF2B5EF4-FFF2-40B4-BE49-F238E27FC236}">
                    <a16:creationId xmlns:a16="http://schemas.microsoft.com/office/drawing/2014/main" id="{B038F95C-299F-486B-A299-970EF59877AB}"/>
                  </a:ext>
                </a:extLst>
              </p:cNvPr>
              <p:cNvSpPr>
                <a:spLocks/>
              </p:cNvSpPr>
              <p:nvPr/>
            </p:nvSpPr>
            <p:spPr bwMode="auto">
              <a:xfrm>
                <a:off x="6308" y="2656"/>
                <a:ext cx="17" cy="21"/>
              </a:xfrm>
              <a:custGeom>
                <a:avLst/>
                <a:gdLst>
                  <a:gd name="T0" fmla="*/ 1 w 7"/>
                  <a:gd name="T1" fmla="*/ 5 h 9"/>
                  <a:gd name="T2" fmla="*/ 2 w 7"/>
                  <a:gd name="T3" fmla="*/ 6 h 9"/>
                  <a:gd name="T4" fmla="*/ 2 w 7"/>
                  <a:gd name="T5" fmla="*/ 6 h 9"/>
                  <a:gd name="T6" fmla="*/ 2 w 7"/>
                  <a:gd name="T7" fmla="*/ 7 h 9"/>
                  <a:gd name="T8" fmla="*/ 4 w 7"/>
                  <a:gd name="T9" fmla="*/ 9 h 9"/>
                  <a:gd name="T10" fmla="*/ 4 w 7"/>
                  <a:gd name="T11" fmla="*/ 9 h 9"/>
                  <a:gd name="T12" fmla="*/ 4 w 7"/>
                  <a:gd name="T13" fmla="*/ 8 h 9"/>
                  <a:gd name="T14" fmla="*/ 4 w 7"/>
                  <a:gd name="T15" fmla="*/ 8 h 9"/>
                  <a:gd name="T16" fmla="*/ 5 w 7"/>
                  <a:gd name="T17" fmla="*/ 7 h 9"/>
                  <a:gd name="T18" fmla="*/ 4 w 7"/>
                  <a:gd name="T19" fmla="*/ 6 h 9"/>
                  <a:gd name="T20" fmla="*/ 4 w 7"/>
                  <a:gd name="T21" fmla="*/ 5 h 9"/>
                  <a:gd name="T22" fmla="*/ 4 w 7"/>
                  <a:gd name="T23" fmla="*/ 4 h 9"/>
                  <a:gd name="T24" fmla="*/ 4 w 7"/>
                  <a:gd name="T25" fmla="*/ 3 h 9"/>
                  <a:gd name="T26" fmla="*/ 4 w 7"/>
                  <a:gd name="T27" fmla="*/ 2 h 9"/>
                  <a:gd name="T28" fmla="*/ 5 w 7"/>
                  <a:gd name="T29" fmla="*/ 2 h 9"/>
                  <a:gd name="T30" fmla="*/ 5 w 7"/>
                  <a:gd name="T31" fmla="*/ 2 h 9"/>
                  <a:gd name="T32" fmla="*/ 6 w 7"/>
                  <a:gd name="T33" fmla="*/ 1 h 9"/>
                  <a:gd name="T34" fmla="*/ 6 w 7"/>
                  <a:gd name="T35" fmla="*/ 1 h 9"/>
                  <a:gd name="T36" fmla="*/ 7 w 7"/>
                  <a:gd name="T37" fmla="*/ 1 h 9"/>
                  <a:gd name="T38" fmla="*/ 7 w 7"/>
                  <a:gd name="T39" fmla="*/ 0 h 9"/>
                  <a:gd name="T40" fmla="*/ 3 w 7"/>
                  <a:gd name="T41" fmla="*/ 3 h 9"/>
                  <a:gd name="T42" fmla="*/ 0 w 7"/>
                  <a:gd name="T43" fmla="*/ 4 h 9"/>
                  <a:gd name="T44" fmla="*/ 1 w 7"/>
                  <a:gd name="T4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9">
                    <a:moveTo>
                      <a:pt x="1" y="5"/>
                    </a:moveTo>
                    <a:cubicBezTo>
                      <a:pt x="1" y="6"/>
                      <a:pt x="1" y="6"/>
                      <a:pt x="2" y="6"/>
                    </a:cubicBezTo>
                    <a:cubicBezTo>
                      <a:pt x="2" y="6"/>
                      <a:pt x="2" y="6"/>
                      <a:pt x="2" y="6"/>
                    </a:cubicBezTo>
                    <a:cubicBezTo>
                      <a:pt x="2" y="6"/>
                      <a:pt x="2" y="7"/>
                      <a:pt x="2" y="7"/>
                    </a:cubicBezTo>
                    <a:cubicBezTo>
                      <a:pt x="3" y="8"/>
                      <a:pt x="4" y="9"/>
                      <a:pt x="4" y="9"/>
                    </a:cubicBezTo>
                    <a:cubicBezTo>
                      <a:pt x="4" y="9"/>
                      <a:pt x="4" y="9"/>
                      <a:pt x="4" y="9"/>
                    </a:cubicBezTo>
                    <a:cubicBezTo>
                      <a:pt x="4" y="8"/>
                      <a:pt x="4" y="8"/>
                      <a:pt x="4" y="8"/>
                    </a:cubicBezTo>
                    <a:cubicBezTo>
                      <a:pt x="4" y="8"/>
                      <a:pt x="4" y="8"/>
                      <a:pt x="4" y="8"/>
                    </a:cubicBezTo>
                    <a:cubicBezTo>
                      <a:pt x="5" y="8"/>
                      <a:pt x="5" y="7"/>
                      <a:pt x="5" y="7"/>
                    </a:cubicBezTo>
                    <a:cubicBezTo>
                      <a:pt x="4" y="7"/>
                      <a:pt x="4" y="7"/>
                      <a:pt x="4" y="6"/>
                    </a:cubicBezTo>
                    <a:cubicBezTo>
                      <a:pt x="4" y="6"/>
                      <a:pt x="4" y="5"/>
                      <a:pt x="4" y="5"/>
                    </a:cubicBezTo>
                    <a:cubicBezTo>
                      <a:pt x="4" y="4"/>
                      <a:pt x="4" y="4"/>
                      <a:pt x="4" y="4"/>
                    </a:cubicBezTo>
                    <a:cubicBezTo>
                      <a:pt x="4" y="4"/>
                      <a:pt x="4" y="3"/>
                      <a:pt x="4" y="3"/>
                    </a:cubicBezTo>
                    <a:cubicBezTo>
                      <a:pt x="4" y="2"/>
                      <a:pt x="4" y="2"/>
                      <a:pt x="4" y="2"/>
                    </a:cubicBezTo>
                    <a:cubicBezTo>
                      <a:pt x="4" y="2"/>
                      <a:pt x="5" y="2"/>
                      <a:pt x="5" y="2"/>
                    </a:cubicBezTo>
                    <a:cubicBezTo>
                      <a:pt x="5" y="2"/>
                      <a:pt x="5" y="2"/>
                      <a:pt x="5" y="2"/>
                    </a:cubicBezTo>
                    <a:cubicBezTo>
                      <a:pt x="5" y="1"/>
                      <a:pt x="5" y="1"/>
                      <a:pt x="6" y="1"/>
                    </a:cubicBezTo>
                    <a:cubicBezTo>
                      <a:pt x="6" y="1"/>
                      <a:pt x="6" y="1"/>
                      <a:pt x="6" y="1"/>
                    </a:cubicBezTo>
                    <a:cubicBezTo>
                      <a:pt x="6" y="1"/>
                      <a:pt x="7" y="1"/>
                      <a:pt x="7" y="1"/>
                    </a:cubicBezTo>
                    <a:cubicBezTo>
                      <a:pt x="7" y="0"/>
                      <a:pt x="7" y="0"/>
                      <a:pt x="7" y="0"/>
                    </a:cubicBezTo>
                    <a:cubicBezTo>
                      <a:pt x="6" y="1"/>
                      <a:pt x="4" y="2"/>
                      <a:pt x="3" y="3"/>
                    </a:cubicBezTo>
                    <a:cubicBezTo>
                      <a:pt x="3" y="4"/>
                      <a:pt x="1" y="4"/>
                      <a:pt x="0" y="4"/>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1" name="Freeform 3003">
                <a:extLst>
                  <a:ext uri="{FF2B5EF4-FFF2-40B4-BE49-F238E27FC236}">
                    <a16:creationId xmlns:a16="http://schemas.microsoft.com/office/drawing/2014/main" id="{3DEF791B-8EBB-4421-8717-B9D4D2CBFDB6}"/>
                  </a:ext>
                </a:extLst>
              </p:cNvPr>
              <p:cNvSpPr>
                <a:spLocks noEditPoints="1"/>
              </p:cNvSpPr>
              <p:nvPr/>
            </p:nvSpPr>
            <p:spPr bwMode="auto">
              <a:xfrm>
                <a:off x="-508" y="663"/>
                <a:ext cx="771" cy="637"/>
              </a:xfrm>
              <a:custGeom>
                <a:avLst/>
                <a:gdLst>
                  <a:gd name="T0" fmla="*/ 314 w 326"/>
                  <a:gd name="T1" fmla="*/ 210 h 269"/>
                  <a:gd name="T2" fmla="*/ 299 w 326"/>
                  <a:gd name="T3" fmla="*/ 197 h 269"/>
                  <a:gd name="T4" fmla="*/ 274 w 326"/>
                  <a:gd name="T5" fmla="*/ 187 h 269"/>
                  <a:gd name="T6" fmla="*/ 253 w 326"/>
                  <a:gd name="T7" fmla="*/ 26 h 269"/>
                  <a:gd name="T8" fmla="*/ 168 w 326"/>
                  <a:gd name="T9" fmla="*/ 19 h 269"/>
                  <a:gd name="T10" fmla="*/ 142 w 326"/>
                  <a:gd name="T11" fmla="*/ 12 h 269"/>
                  <a:gd name="T12" fmla="*/ 123 w 326"/>
                  <a:gd name="T13" fmla="*/ 12 h 269"/>
                  <a:gd name="T14" fmla="*/ 98 w 326"/>
                  <a:gd name="T15" fmla="*/ 11 h 269"/>
                  <a:gd name="T16" fmla="*/ 84 w 326"/>
                  <a:gd name="T17" fmla="*/ 17 h 269"/>
                  <a:gd name="T18" fmla="*/ 67 w 326"/>
                  <a:gd name="T19" fmla="*/ 22 h 269"/>
                  <a:gd name="T20" fmla="*/ 35 w 326"/>
                  <a:gd name="T21" fmla="*/ 46 h 269"/>
                  <a:gd name="T22" fmla="*/ 21 w 326"/>
                  <a:gd name="T23" fmla="*/ 60 h 269"/>
                  <a:gd name="T24" fmla="*/ 56 w 326"/>
                  <a:gd name="T25" fmla="*/ 79 h 269"/>
                  <a:gd name="T26" fmla="*/ 61 w 326"/>
                  <a:gd name="T27" fmla="*/ 84 h 269"/>
                  <a:gd name="T28" fmla="*/ 69 w 326"/>
                  <a:gd name="T29" fmla="*/ 93 h 269"/>
                  <a:gd name="T30" fmla="*/ 34 w 326"/>
                  <a:gd name="T31" fmla="*/ 87 h 269"/>
                  <a:gd name="T32" fmla="*/ 10 w 326"/>
                  <a:gd name="T33" fmla="*/ 99 h 269"/>
                  <a:gd name="T34" fmla="*/ 16 w 326"/>
                  <a:gd name="T35" fmla="*/ 109 h 269"/>
                  <a:gd name="T36" fmla="*/ 37 w 326"/>
                  <a:gd name="T37" fmla="*/ 121 h 269"/>
                  <a:gd name="T38" fmla="*/ 55 w 326"/>
                  <a:gd name="T39" fmla="*/ 122 h 269"/>
                  <a:gd name="T40" fmla="*/ 68 w 326"/>
                  <a:gd name="T41" fmla="*/ 123 h 269"/>
                  <a:gd name="T42" fmla="*/ 55 w 326"/>
                  <a:gd name="T43" fmla="*/ 142 h 269"/>
                  <a:gd name="T44" fmla="*/ 29 w 326"/>
                  <a:gd name="T45" fmla="*/ 154 h 269"/>
                  <a:gd name="T46" fmla="*/ 27 w 326"/>
                  <a:gd name="T47" fmla="*/ 174 h 269"/>
                  <a:gd name="T48" fmla="*/ 36 w 326"/>
                  <a:gd name="T49" fmla="*/ 180 h 269"/>
                  <a:gd name="T50" fmla="*/ 38 w 326"/>
                  <a:gd name="T51" fmla="*/ 183 h 269"/>
                  <a:gd name="T52" fmla="*/ 26 w 326"/>
                  <a:gd name="T53" fmla="*/ 184 h 269"/>
                  <a:gd name="T54" fmla="*/ 54 w 326"/>
                  <a:gd name="T55" fmla="*/ 189 h 269"/>
                  <a:gd name="T56" fmla="*/ 57 w 326"/>
                  <a:gd name="T57" fmla="*/ 188 h 269"/>
                  <a:gd name="T58" fmla="*/ 63 w 326"/>
                  <a:gd name="T59" fmla="*/ 207 h 269"/>
                  <a:gd name="T60" fmla="*/ 73 w 326"/>
                  <a:gd name="T61" fmla="*/ 210 h 269"/>
                  <a:gd name="T62" fmla="*/ 92 w 326"/>
                  <a:gd name="T63" fmla="*/ 217 h 269"/>
                  <a:gd name="T64" fmla="*/ 99 w 326"/>
                  <a:gd name="T65" fmla="*/ 208 h 269"/>
                  <a:gd name="T66" fmla="*/ 107 w 326"/>
                  <a:gd name="T67" fmla="*/ 219 h 269"/>
                  <a:gd name="T68" fmla="*/ 93 w 326"/>
                  <a:gd name="T69" fmla="*/ 239 h 269"/>
                  <a:gd name="T70" fmla="*/ 71 w 326"/>
                  <a:gd name="T71" fmla="*/ 254 h 269"/>
                  <a:gd name="T72" fmla="*/ 49 w 326"/>
                  <a:gd name="T73" fmla="*/ 265 h 269"/>
                  <a:gd name="T74" fmla="*/ 61 w 326"/>
                  <a:gd name="T75" fmla="*/ 265 h 269"/>
                  <a:gd name="T76" fmla="*/ 75 w 326"/>
                  <a:gd name="T77" fmla="*/ 258 h 269"/>
                  <a:gd name="T78" fmla="*/ 95 w 326"/>
                  <a:gd name="T79" fmla="*/ 251 h 269"/>
                  <a:gd name="T80" fmla="*/ 107 w 326"/>
                  <a:gd name="T81" fmla="*/ 243 h 269"/>
                  <a:gd name="T82" fmla="*/ 129 w 326"/>
                  <a:gd name="T83" fmla="*/ 227 h 269"/>
                  <a:gd name="T84" fmla="*/ 143 w 326"/>
                  <a:gd name="T85" fmla="*/ 215 h 269"/>
                  <a:gd name="T86" fmla="*/ 142 w 326"/>
                  <a:gd name="T87" fmla="*/ 203 h 269"/>
                  <a:gd name="T88" fmla="*/ 161 w 326"/>
                  <a:gd name="T89" fmla="*/ 187 h 269"/>
                  <a:gd name="T90" fmla="*/ 185 w 326"/>
                  <a:gd name="T91" fmla="*/ 171 h 269"/>
                  <a:gd name="T92" fmla="*/ 172 w 326"/>
                  <a:gd name="T93" fmla="*/ 181 h 269"/>
                  <a:gd name="T94" fmla="*/ 172 w 326"/>
                  <a:gd name="T95" fmla="*/ 198 h 269"/>
                  <a:gd name="T96" fmla="*/ 177 w 326"/>
                  <a:gd name="T97" fmla="*/ 200 h 269"/>
                  <a:gd name="T98" fmla="*/ 187 w 326"/>
                  <a:gd name="T99" fmla="*/ 195 h 269"/>
                  <a:gd name="T100" fmla="*/ 201 w 326"/>
                  <a:gd name="T101" fmla="*/ 191 h 269"/>
                  <a:gd name="T102" fmla="*/ 202 w 326"/>
                  <a:gd name="T103" fmla="*/ 184 h 269"/>
                  <a:gd name="T104" fmla="*/ 204 w 326"/>
                  <a:gd name="T105" fmla="*/ 178 h 269"/>
                  <a:gd name="T106" fmla="*/ 218 w 326"/>
                  <a:gd name="T107" fmla="*/ 176 h 269"/>
                  <a:gd name="T108" fmla="*/ 222 w 326"/>
                  <a:gd name="T109" fmla="*/ 183 h 269"/>
                  <a:gd name="T110" fmla="*/ 242 w 326"/>
                  <a:gd name="T111" fmla="*/ 191 h 269"/>
                  <a:gd name="T112" fmla="*/ 288 w 326"/>
                  <a:gd name="T113" fmla="*/ 195 h 269"/>
                  <a:gd name="T114" fmla="*/ 291 w 326"/>
                  <a:gd name="T115" fmla="*/ 198 h 269"/>
                  <a:gd name="T116" fmla="*/ 322 w 326"/>
                  <a:gd name="T117" fmla="*/ 21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269">
                    <a:moveTo>
                      <a:pt x="325" y="214"/>
                    </a:moveTo>
                    <a:cubicBezTo>
                      <a:pt x="325" y="213"/>
                      <a:pt x="323" y="214"/>
                      <a:pt x="322" y="214"/>
                    </a:cubicBezTo>
                    <a:cubicBezTo>
                      <a:pt x="322" y="214"/>
                      <a:pt x="323" y="213"/>
                      <a:pt x="323" y="213"/>
                    </a:cubicBezTo>
                    <a:cubicBezTo>
                      <a:pt x="323" y="212"/>
                      <a:pt x="321" y="211"/>
                      <a:pt x="320" y="211"/>
                    </a:cubicBezTo>
                    <a:cubicBezTo>
                      <a:pt x="321" y="211"/>
                      <a:pt x="321" y="211"/>
                      <a:pt x="322" y="211"/>
                    </a:cubicBezTo>
                    <a:cubicBezTo>
                      <a:pt x="321" y="210"/>
                      <a:pt x="319" y="210"/>
                      <a:pt x="317" y="210"/>
                    </a:cubicBezTo>
                    <a:cubicBezTo>
                      <a:pt x="316" y="210"/>
                      <a:pt x="316" y="210"/>
                      <a:pt x="315" y="211"/>
                    </a:cubicBezTo>
                    <a:cubicBezTo>
                      <a:pt x="316" y="209"/>
                      <a:pt x="318" y="210"/>
                      <a:pt x="317" y="208"/>
                    </a:cubicBezTo>
                    <a:cubicBezTo>
                      <a:pt x="317" y="208"/>
                      <a:pt x="317" y="208"/>
                      <a:pt x="317" y="208"/>
                    </a:cubicBezTo>
                    <a:cubicBezTo>
                      <a:pt x="316" y="208"/>
                      <a:pt x="315" y="209"/>
                      <a:pt x="315" y="209"/>
                    </a:cubicBezTo>
                    <a:cubicBezTo>
                      <a:pt x="314" y="209"/>
                      <a:pt x="314" y="209"/>
                      <a:pt x="314" y="210"/>
                    </a:cubicBezTo>
                    <a:cubicBezTo>
                      <a:pt x="314" y="210"/>
                      <a:pt x="314" y="210"/>
                      <a:pt x="314" y="210"/>
                    </a:cubicBezTo>
                    <a:cubicBezTo>
                      <a:pt x="313" y="210"/>
                      <a:pt x="313" y="210"/>
                      <a:pt x="312" y="210"/>
                    </a:cubicBezTo>
                    <a:cubicBezTo>
                      <a:pt x="312" y="210"/>
                      <a:pt x="312" y="210"/>
                      <a:pt x="312" y="210"/>
                    </a:cubicBezTo>
                    <a:cubicBezTo>
                      <a:pt x="311" y="210"/>
                      <a:pt x="310" y="210"/>
                      <a:pt x="310" y="210"/>
                    </a:cubicBezTo>
                    <a:cubicBezTo>
                      <a:pt x="310" y="209"/>
                      <a:pt x="310" y="209"/>
                      <a:pt x="310" y="209"/>
                    </a:cubicBezTo>
                    <a:cubicBezTo>
                      <a:pt x="310" y="208"/>
                      <a:pt x="310" y="208"/>
                      <a:pt x="310" y="208"/>
                    </a:cubicBezTo>
                    <a:cubicBezTo>
                      <a:pt x="310" y="207"/>
                      <a:pt x="310" y="207"/>
                      <a:pt x="310" y="207"/>
                    </a:cubicBezTo>
                    <a:cubicBezTo>
                      <a:pt x="310" y="206"/>
                      <a:pt x="310" y="205"/>
                      <a:pt x="309" y="205"/>
                    </a:cubicBezTo>
                    <a:cubicBezTo>
                      <a:pt x="309" y="205"/>
                      <a:pt x="309" y="205"/>
                      <a:pt x="309" y="205"/>
                    </a:cubicBezTo>
                    <a:cubicBezTo>
                      <a:pt x="309" y="204"/>
                      <a:pt x="307" y="204"/>
                      <a:pt x="307" y="203"/>
                    </a:cubicBezTo>
                    <a:cubicBezTo>
                      <a:pt x="306" y="203"/>
                      <a:pt x="306" y="203"/>
                      <a:pt x="306" y="203"/>
                    </a:cubicBezTo>
                    <a:cubicBezTo>
                      <a:pt x="306" y="203"/>
                      <a:pt x="306" y="202"/>
                      <a:pt x="305" y="202"/>
                    </a:cubicBezTo>
                    <a:cubicBezTo>
                      <a:pt x="299" y="197"/>
                      <a:pt x="299" y="197"/>
                      <a:pt x="299" y="197"/>
                    </a:cubicBezTo>
                    <a:cubicBezTo>
                      <a:pt x="298" y="196"/>
                      <a:pt x="296" y="195"/>
                      <a:pt x="295" y="194"/>
                    </a:cubicBezTo>
                    <a:cubicBezTo>
                      <a:pt x="295" y="194"/>
                      <a:pt x="295" y="194"/>
                      <a:pt x="295" y="194"/>
                    </a:cubicBezTo>
                    <a:cubicBezTo>
                      <a:pt x="294" y="193"/>
                      <a:pt x="293" y="191"/>
                      <a:pt x="293" y="190"/>
                    </a:cubicBezTo>
                    <a:cubicBezTo>
                      <a:pt x="294" y="189"/>
                      <a:pt x="294" y="189"/>
                      <a:pt x="294" y="189"/>
                    </a:cubicBezTo>
                    <a:cubicBezTo>
                      <a:pt x="294" y="189"/>
                      <a:pt x="293" y="189"/>
                      <a:pt x="292" y="189"/>
                    </a:cubicBezTo>
                    <a:cubicBezTo>
                      <a:pt x="292" y="189"/>
                      <a:pt x="292" y="189"/>
                      <a:pt x="292" y="189"/>
                    </a:cubicBezTo>
                    <a:cubicBezTo>
                      <a:pt x="291" y="189"/>
                      <a:pt x="290" y="189"/>
                      <a:pt x="290" y="189"/>
                    </a:cubicBezTo>
                    <a:cubicBezTo>
                      <a:pt x="289" y="189"/>
                      <a:pt x="289" y="189"/>
                      <a:pt x="289" y="190"/>
                    </a:cubicBezTo>
                    <a:cubicBezTo>
                      <a:pt x="288" y="190"/>
                      <a:pt x="287" y="191"/>
                      <a:pt x="285" y="191"/>
                    </a:cubicBezTo>
                    <a:cubicBezTo>
                      <a:pt x="276" y="190"/>
                      <a:pt x="276" y="190"/>
                      <a:pt x="276" y="190"/>
                    </a:cubicBezTo>
                    <a:cubicBezTo>
                      <a:pt x="275" y="189"/>
                      <a:pt x="274" y="189"/>
                      <a:pt x="274" y="187"/>
                    </a:cubicBezTo>
                    <a:cubicBezTo>
                      <a:pt x="274" y="187"/>
                      <a:pt x="274" y="187"/>
                      <a:pt x="274" y="187"/>
                    </a:cubicBezTo>
                    <a:cubicBezTo>
                      <a:pt x="274" y="186"/>
                      <a:pt x="274" y="185"/>
                      <a:pt x="274" y="184"/>
                    </a:cubicBezTo>
                    <a:cubicBezTo>
                      <a:pt x="274" y="178"/>
                      <a:pt x="274" y="178"/>
                      <a:pt x="274" y="178"/>
                    </a:cubicBezTo>
                    <a:cubicBezTo>
                      <a:pt x="274" y="175"/>
                      <a:pt x="274" y="172"/>
                      <a:pt x="274" y="168"/>
                    </a:cubicBezTo>
                    <a:cubicBezTo>
                      <a:pt x="274" y="163"/>
                      <a:pt x="274" y="157"/>
                      <a:pt x="274" y="151"/>
                    </a:cubicBezTo>
                    <a:cubicBezTo>
                      <a:pt x="274" y="126"/>
                      <a:pt x="274" y="126"/>
                      <a:pt x="274" y="126"/>
                    </a:cubicBezTo>
                    <a:cubicBezTo>
                      <a:pt x="274" y="116"/>
                      <a:pt x="274" y="105"/>
                      <a:pt x="274" y="94"/>
                    </a:cubicBezTo>
                    <a:cubicBezTo>
                      <a:pt x="274" y="94"/>
                      <a:pt x="274" y="94"/>
                      <a:pt x="274" y="94"/>
                    </a:cubicBezTo>
                    <a:cubicBezTo>
                      <a:pt x="274" y="81"/>
                      <a:pt x="274" y="64"/>
                      <a:pt x="274" y="49"/>
                    </a:cubicBezTo>
                    <a:cubicBezTo>
                      <a:pt x="274" y="32"/>
                      <a:pt x="274" y="32"/>
                      <a:pt x="274" y="32"/>
                    </a:cubicBezTo>
                    <a:cubicBezTo>
                      <a:pt x="273" y="32"/>
                      <a:pt x="272" y="32"/>
                      <a:pt x="271" y="31"/>
                    </a:cubicBezTo>
                    <a:cubicBezTo>
                      <a:pt x="268" y="30"/>
                      <a:pt x="264" y="28"/>
                      <a:pt x="261" y="27"/>
                    </a:cubicBezTo>
                    <a:cubicBezTo>
                      <a:pt x="258" y="26"/>
                      <a:pt x="256" y="26"/>
                      <a:pt x="253" y="26"/>
                    </a:cubicBezTo>
                    <a:cubicBezTo>
                      <a:pt x="251" y="26"/>
                      <a:pt x="247" y="25"/>
                      <a:pt x="245" y="26"/>
                    </a:cubicBezTo>
                    <a:cubicBezTo>
                      <a:pt x="244" y="26"/>
                      <a:pt x="245" y="27"/>
                      <a:pt x="243" y="27"/>
                    </a:cubicBezTo>
                    <a:cubicBezTo>
                      <a:pt x="242" y="26"/>
                      <a:pt x="241" y="26"/>
                      <a:pt x="240" y="26"/>
                    </a:cubicBezTo>
                    <a:cubicBezTo>
                      <a:pt x="239" y="26"/>
                      <a:pt x="239" y="27"/>
                      <a:pt x="237" y="27"/>
                    </a:cubicBezTo>
                    <a:cubicBezTo>
                      <a:pt x="235" y="27"/>
                      <a:pt x="233" y="27"/>
                      <a:pt x="231" y="26"/>
                    </a:cubicBezTo>
                    <a:cubicBezTo>
                      <a:pt x="229" y="25"/>
                      <a:pt x="227" y="23"/>
                      <a:pt x="224" y="23"/>
                    </a:cubicBezTo>
                    <a:cubicBezTo>
                      <a:pt x="221" y="23"/>
                      <a:pt x="218" y="23"/>
                      <a:pt x="215" y="23"/>
                    </a:cubicBezTo>
                    <a:cubicBezTo>
                      <a:pt x="214" y="24"/>
                      <a:pt x="212" y="23"/>
                      <a:pt x="211" y="23"/>
                    </a:cubicBezTo>
                    <a:cubicBezTo>
                      <a:pt x="205" y="22"/>
                      <a:pt x="199" y="21"/>
                      <a:pt x="193" y="20"/>
                    </a:cubicBezTo>
                    <a:cubicBezTo>
                      <a:pt x="189" y="19"/>
                      <a:pt x="185" y="18"/>
                      <a:pt x="180" y="19"/>
                    </a:cubicBezTo>
                    <a:cubicBezTo>
                      <a:pt x="180" y="19"/>
                      <a:pt x="170" y="17"/>
                      <a:pt x="172" y="20"/>
                    </a:cubicBezTo>
                    <a:cubicBezTo>
                      <a:pt x="171" y="20"/>
                      <a:pt x="169" y="19"/>
                      <a:pt x="168" y="19"/>
                    </a:cubicBezTo>
                    <a:cubicBezTo>
                      <a:pt x="167" y="18"/>
                      <a:pt x="166" y="18"/>
                      <a:pt x="165" y="17"/>
                    </a:cubicBezTo>
                    <a:cubicBezTo>
                      <a:pt x="166" y="17"/>
                      <a:pt x="166" y="17"/>
                      <a:pt x="166" y="16"/>
                    </a:cubicBezTo>
                    <a:cubicBezTo>
                      <a:pt x="163" y="16"/>
                      <a:pt x="160" y="16"/>
                      <a:pt x="158" y="16"/>
                    </a:cubicBezTo>
                    <a:cubicBezTo>
                      <a:pt x="158" y="16"/>
                      <a:pt x="160" y="16"/>
                      <a:pt x="161" y="16"/>
                    </a:cubicBezTo>
                    <a:cubicBezTo>
                      <a:pt x="162" y="16"/>
                      <a:pt x="162" y="16"/>
                      <a:pt x="163" y="16"/>
                    </a:cubicBezTo>
                    <a:cubicBezTo>
                      <a:pt x="161" y="15"/>
                      <a:pt x="160" y="15"/>
                      <a:pt x="158" y="14"/>
                    </a:cubicBezTo>
                    <a:cubicBezTo>
                      <a:pt x="159" y="14"/>
                      <a:pt x="161" y="12"/>
                      <a:pt x="161" y="12"/>
                    </a:cubicBezTo>
                    <a:cubicBezTo>
                      <a:pt x="161" y="11"/>
                      <a:pt x="161" y="11"/>
                      <a:pt x="160" y="11"/>
                    </a:cubicBezTo>
                    <a:cubicBezTo>
                      <a:pt x="159" y="11"/>
                      <a:pt x="158" y="11"/>
                      <a:pt x="156" y="11"/>
                    </a:cubicBezTo>
                    <a:cubicBezTo>
                      <a:pt x="153" y="10"/>
                      <a:pt x="150" y="10"/>
                      <a:pt x="148" y="10"/>
                    </a:cubicBezTo>
                    <a:cubicBezTo>
                      <a:pt x="147" y="10"/>
                      <a:pt x="146" y="10"/>
                      <a:pt x="145" y="10"/>
                    </a:cubicBezTo>
                    <a:cubicBezTo>
                      <a:pt x="143" y="10"/>
                      <a:pt x="143" y="11"/>
                      <a:pt x="142" y="12"/>
                    </a:cubicBezTo>
                    <a:cubicBezTo>
                      <a:pt x="141" y="13"/>
                      <a:pt x="139" y="12"/>
                      <a:pt x="137" y="11"/>
                    </a:cubicBezTo>
                    <a:cubicBezTo>
                      <a:pt x="136" y="10"/>
                      <a:pt x="137" y="9"/>
                      <a:pt x="137" y="8"/>
                    </a:cubicBezTo>
                    <a:cubicBezTo>
                      <a:pt x="135" y="5"/>
                      <a:pt x="133" y="8"/>
                      <a:pt x="132" y="8"/>
                    </a:cubicBezTo>
                    <a:cubicBezTo>
                      <a:pt x="132" y="7"/>
                      <a:pt x="133" y="6"/>
                      <a:pt x="132" y="5"/>
                    </a:cubicBezTo>
                    <a:cubicBezTo>
                      <a:pt x="132" y="5"/>
                      <a:pt x="130" y="6"/>
                      <a:pt x="130" y="7"/>
                    </a:cubicBezTo>
                    <a:cubicBezTo>
                      <a:pt x="130" y="7"/>
                      <a:pt x="131" y="7"/>
                      <a:pt x="131" y="7"/>
                    </a:cubicBezTo>
                    <a:cubicBezTo>
                      <a:pt x="131" y="9"/>
                      <a:pt x="130" y="8"/>
                      <a:pt x="129" y="8"/>
                    </a:cubicBezTo>
                    <a:cubicBezTo>
                      <a:pt x="129" y="8"/>
                      <a:pt x="128" y="9"/>
                      <a:pt x="128" y="9"/>
                    </a:cubicBezTo>
                    <a:cubicBezTo>
                      <a:pt x="127" y="9"/>
                      <a:pt x="127" y="10"/>
                      <a:pt x="127" y="10"/>
                    </a:cubicBezTo>
                    <a:cubicBezTo>
                      <a:pt x="127" y="11"/>
                      <a:pt x="126" y="11"/>
                      <a:pt x="125" y="11"/>
                    </a:cubicBezTo>
                    <a:cubicBezTo>
                      <a:pt x="124" y="11"/>
                      <a:pt x="124" y="11"/>
                      <a:pt x="123" y="11"/>
                    </a:cubicBezTo>
                    <a:cubicBezTo>
                      <a:pt x="123" y="12"/>
                      <a:pt x="124" y="13"/>
                      <a:pt x="123" y="12"/>
                    </a:cubicBezTo>
                    <a:cubicBezTo>
                      <a:pt x="123" y="12"/>
                      <a:pt x="123" y="9"/>
                      <a:pt x="123" y="9"/>
                    </a:cubicBezTo>
                    <a:cubicBezTo>
                      <a:pt x="123" y="8"/>
                      <a:pt x="124" y="8"/>
                      <a:pt x="124" y="8"/>
                    </a:cubicBezTo>
                    <a:cubicBezTo>
                      <a:pt x="125" y="8"/>
                      <a:pt x="126" y="7"/>
                      <a:pt x="127" y="7"/>
                    </a:cubicBezTo>
                    <a:cubicBezTo>
                      <a:pt x="127" y="6"/>
                      <a:pt x="127" y="6"/>
                      <a:pt x="126" y="6"/>
                    </a:cubicBezTo>
                    <a:cubicBezTo>
                      <a:pt x="124" y="5"/>
                      <a:pt x="123" y="5"/>
                      <a:pt x="121" y="5"/>
                    </a:cubicBezTo>
                    <a:cubicBezTo>
                      <a:pt x="120" y="4"/>
                      <a:pt x="117" y="3"/>
                      <a:pt x="117" y="2"/>
                    </a:cubicBezTo>
                    <a:cubicBezTo>
                      <a:pt x="117" y="1"/>
                      <a:pt x="118" y="1"/>
                      <a:pt x="119" y="1"/>
                    </a:cubicBezTo>
                    <a:cubicBezTo>
                      <a:pt x="117" y="0"/>
                      <a:pt x="117" y="1"/>
                      <a:pt x="116" y="2"/>
                    </a:cubicBezTo>
                    <a:cubicBezTo>
                      <a:pt x="114" y="3"/>
                      <a:pt x="112" y="5"/>
                      <a:pt x="111" y="6"/>
                    </a:cubicBezTo>
                    <a:cubicBezTo>
                      <a:pt x="108" y="8"/>
                      <a:pt x="106" y="9"/>
                      <a:pt x="104" y="10"/>
                    </a:cubicBezTo>
                    <a:cubicBezTo>
                      <a:pt x="102" y="11"/>
                      <a:pt x="99" y="11"/>
                      <a:pt x="97" y="11"/>
                    </a:cubicBezTo>
                    <a:cubicBezTo>
                      <a:pt x="97" y="11"/>
                      <a:pt x="98" y="11"/>
                      <a:pt x="98" y="11"/>
                    </a:cubicBezTo>
                    <a:cubicBezTo>
                      <a:pt x="96" y="12"/>
                      <a:pt x="95" y="12"/>
                      <a:pt x="93" y="12"/>
                    </a:cubicBezTo>
                    <a:cubicBezTo>
                      <a:pt x="91" y="12"/>
                      <a:pt x="90" y="12"/>
                      <a:pt x="89" y="13"/>
                    </a:cubicBezTo>
                    <a:cubicBezTo>
                      <a:pt x="88" y="12"/>
                      <a:pt x="88" y="13"/>
                      <a:pt x="87" y="12"/>
                    </a:cubicBezTo>
                    <a:cubicBezTo>
                      <a:pt x="88" y="12"/>
                      <a:pt x="89" y="12"/>
                      <a:pt x="90" y="11"/>
                    </a:cubicBezTo>
                    <a:cubicBezTo>
                      <a:pt x="90" y="11"/>
                      <a:pt x="89" y="11"/>
                      <a:pt x="88" y="11"/>
                    </a:cubicBezTo>
                    <a:cubicBezTo>
                      <a:pt x="89" y="11"/>
                      <a:pt x="89" y="11"/>
                      <a:pt x="89" y="11"/>
                    </a:cubicBezTo>
                    <a:cubicBezTo>
                      <a:pt x="88" y="11"/>
                      <a:pt x="86" y="11"/>
                      <a:pt x="84" y="13"/>
                    </a:cubicBezTo>
                    <a:cubicBezTo>
                      <a:pt x="83" y="14"/>
                      <a:pt x="82" y="14"/>
                      <a:pt x="81" y="15"/>
                    </a:cubicBezTo>
                    <a:cubicBezTo>
                      <a:pt x="82" y="15"/>
                      <a:pt x="82" y="15"/>
                      <a:pt x="83" y="15"/>
                    </a:cubicBezTo>
                    <a:cubicBezTo>
                      <a:pt x="83" y="16"/>
                      <a:pt x="83" y="16"/>
                      <a:pt x="84" y="17"/>
                    </a:cubicBezTo>
                    <a:cubicBezTo>
                      <a:pt x="85" y="18"/>
                      <a:pt x="86" y="17"/>
                      <a:pt x="88" y="17"/>
                    </a:cubicBezTo>
                    <a:cubicBezTo>
                      <a:pt x="86" y="17"/>
                      <a:pt x="85" y="19"/>
                      <a:pt x="84" y="17"/>
                    </a:cubicBezTo>
                    <a:cubicBezTo>
                      <a:pt x="83" y="18"/>
                      <a:pt x="83" y="20"/>
                      <a:pt x="83" y="21"/>
                    </a:cubicBezTo>
                    <a:cubicBezTo>
                      <a:pt x="83" y="22"/>
                      <a:pt x="84" y="22"/>
                      <a:pt x="84" y="23"/>
                    </a:cubicBezTo>
                    <a:cubicBezTo>
                      <a:pt x="84" y="22"/>
                      <a:pt x="83" y="22"/>
                      <a:pt x="83" y="21"/>
                    </a:cubicBezTo>
                    <a:cubicBezTo>
                      <a:pt x="83" y="21"/>
                      <a:pt x="83" y="20"/>
                      <a:pt x="82" y="20"/>
                    </a:cubicBezTo>
                    <a:cubicBezTo>
                      <a:pt x="82" y="19"/>
                      <a:pt x="81" y="20"/>
                      <a:pt x="80" y="21"/>
                    </a:cubicBezTo>
                    <a:cubicBezTo>
                      <a:pt x="81" y="20"/>
                      <a:pt x="82" y="19"/>
                      <a:pt x="82" y="18"/>
                    </a:cubicBezTo>
                    <a:cubicBezTo>
                      <a:pt x="81" y="18"/>
                      <a:pt x="81" y="18"/>
                      <a:pt x="80" y="18"/>
                    </a:cubicBezTo>
                    <a:cubicBezTo>
                      <a:pt x="80" y="17"/>
                      <a:pt x="83" y="17"/>
                      <a:pt x="82" y="16"/>
                    </a:cubicBezTo>
                    <a:cubicBezTo>
                      <a:pt x="81" y="16"/>
                      <a:pt x="80" y="16"/>
                      <a:pt x="80" y="15"/>
                    </a:cubicBezTo>
                    <a:cubicBezTo>
                      <a:pt x="78" y="17"/>
                      <a:pt x="76" y="18"/>
                      <a:pt x="74" y="19"/>
                    </a:cubicBezTo>
                    <a:cubicBezTo>
                      <a:pt x="74" y="19"/>
                      <a:pt x="74" y="19"/>
                      <a:pt x="75" y="19"/>
                    </a:cubicBezTo>
                    <a:cubicBezTo>
                      <a:pt x="73" y="21"/>
                      <a:pt x="69" y="22"/>
                      <a:pt x="67" y="22"/>
                    </a:cubicBezTo>
                    <a:cubicBezTo>
                      <a:pt x="66" y="22"/>
                      <a:pt x="65" y="22"/>
                      <a:pt x="65" y="22"/>
                    </a:cubicBezTo>
                    <a:cubicBezTo>
                      <a:pt x="64" y="22"/>
                      <a:pt x="64" y="23"/>
                      <a:pt x="64" y="23"/>
                    </a:cubicBezTo>
                    <a:cubicBezTo>
                      <a:pt x="62" y="23"/>
                      <a:pt x="61" y="23"/>
                      <a:pt x="60" y="24"/>
                    </a:cubicBezTo>
                    <a:cubicBezTo>
                      <a:pt x="61" y="23"/>
                      <a:pt x="63" y="24"/>
                      <a:pt x="63" y="22"/>
                    </a:cubicBezTo>
                    <a:cubicBezTo>
                      <a:pt x="63" y="22"/>
                      <a:pt x="63" y="22"/>
                      <a:pt x="62" y="22"/>
                    </a:cubicBezTo>
                    <a:cubicBezTo>
                      <a:pt x="63" y="22"/>
                      <a:pt x="63" y="22"/>
                      <a:pt x="64" y="22"/>
                    </a:cubicBezTo>
                    <a:cubicBezTo>
                      <a:pt x="63" y="21"/>
                      <a:pt x="63" y="21"/>
                      <a:pt x="62" y="21"/>
                    </a:cubicBezTo>
                    <a:cubicBezTo>
                      <a:pt x="61" y="21"/>
                      <a:pt x="60" y="23"/>
                      <a:pt x="59" y="24"/>
                    </a:cubicBezTo>
                    <a:cubicBezTo>
                      <a:pt x="56" y="26"/>
                      <a:pt x="55" y="28"/>
                      <a:pt x="52" y="30"/>
                    </a:cubicBezTo>
                    <a:cubicBezTo>
                      <a:pt x="50" y="31"/>
                      <a:pt x="49" y="35"/>
                      <a:pt x="48" y="37"/>
                    </a:cubicBezTo>
                    <a:cubicBezTo>
                      <a:pt x="48" y="39"/>
                      <a:pt x="47" y="40"/>
                      <a:pt x="46" y="41"/>
                    </a:cubicBezTo>
                    <a:cubicBezTo>
                      <a:pt x="43" y="44"/>
                      <a:pt x="39" y="45"/>
                      <a:pt x="35" y="46"/>
                    </a:cubicBezTo>
                    <a:cubicBezTo>
                      <a:pt x="32" y="46"/>
                      <a:pt x="30" y="47"/>
                      <a:pt x="27" y="47"/>
                    </a:cubicBezTo>
                    <a:cubicBezTo>
                      <a:pt x="24" y="47"/>
                      <a:pt x="22" y="47"/>
                      <a:pt x="20" y="47"/>
                    </a:cubicBezTo>
                    <a:cubicBezTo>
                      <a:pt x="18" y="47"/>
                      <a:pt x="18" y="47"/>
                      <a:pt x="18" y="48"/>
                    </a:cubicBezTo>
                    <a:cubicBezTo>
                      <a:pt x="18" y="49"/>
                      <a:pt x="18" y="50"/>
                      <a:pt x="18" y="51"/>
                    </a:cubicBezTo>
                    <a:cubicBezTo>
                      <a:pt x="18" y="52"/>
                      <a:pt x="18" y="53"/>
                      <a:pt x="17" y="53"/>
                    </a:cubicBezTo>
                    <a:cubicBezTo>
                      <a:pt x="17" y="54"/>
                      <a:pt x="17" y="54"/>
                      <a:pt x="17" y="55"/>
                    </a:cubicBezTo>
                    <a:cubicBezTo>
                      <a:pt x="16" y="55"/>
                      <a:pt x="16" y="55"/>
                      <a:pt x="16" y="55"/>
                    </a:cubicBezTo>
                    <a:cubicBezTo>
                      <a:pt x="15" y="56"/>
                      <a:pt x="14" y="56"/>
                      <a:pt x="13" y="56"/>
                    </a:cubicBezTo>
                    <a:cubicBezTo>
                      <a:pt x="13" y="56"/>
                      <a:pt x="14" y="55"/>
                      <a:pt x="15" y="55"/>
                    </a:cubicBezTo>
                    <a:cubicBezTo>
                      <a:pt x="14" y="56"/>
                      <a:pt x="13" y="56"/>
                      <a:pt x="12" y="56"/>
                    </a:cubicBezTo>
                    <a:cubicBezTo>
                      <a:pt x="14" y="57"/>
                      <a:pt x="16" y="57"/>
                      <a:pt x="19" y="58"/>
                    </a:cubicBezTo>
                    <a:cubicBezTo>
                      <a:pt x="19" y="58"/>
                      <a:pt x="20" y="59"/>
                      <a:pt x="21" y="60"/>
                    </a:cubicBezTo>
                    <a:cubicBezTo>
                      <a:pt x="22" y="60"/>
                      <a:pt x="23" y="60"/>
                      <a:pt x="24" y="61"/>
                    </a:cubicBezTo>
                    <a:cubicBezTo>
                      <a:pt x="28" y="61"/>
                      <a:pt x="30" y="65"/>
                      <a:pt x="33" y="66"/>
                    </a:cubicBezTo>
                    <a:cubicBezTo>
                      <a:pt x="33" y="65"/>
                      <a:pt x="35" y="66"/>
                      <a:pt x="35" y="66"/>
                    </a:cubicBezTo>
                    <a:cubicBezTo>
                      <a:pt x="36" y="67"/>
                      <a:pt x="36" y="68"/>
                      <a:pt x="37" y="68"/>
                    </a:cubicBezTo>
                    <a:cubicBezTo>
                      <a:pt x="39" y="69"/>
                      <a:pt x="40" y="70"/>
                      <a:pt x="41" y="71"/>
                    </a:cubicBezTo>
                    <a:cubicBezTo>
                      <a:pt x="42" y="72"/>
                      <a:pt x="42" y="73"/>
                      <a:pt x="43" y="74"/>
                    </a:cubicBezTo>
                    <a:cubicBezTo>
                      <a:pt x="43" y="75"/>
                      <a:pt x="43" y="76"/>
                      <a:pt x="43" y="77"/>
                    </a:cubicBezTo>
                    <a:cubicBezTo>
                      <a:pt x="44" y="79"/>
                      <a:pt x="48" y="78"/>
                      <a:pt x="49" y="79"/>
                    </a:cubicBezTo>
                    <a:cubicBezTo>
                      <a:pt x="50" y="79"/>
                      <a:pt x="51" y="80"/>
                      <a:pt x="52" y="80"/>
                    </a:cubicBezTo>
                    <a:cubicBezTo>
                      <a:pt x="53" y="79"/>
                      <a:pt x="53" y="79"/>
                      <a:pt x="54" y="79"/>
                    </a:cubicBezTo>
                    <a:cubicBezTo>
                      <a:pt x="55" y="79"/>
                      <a:pt x="55" y="80"/>
                      <a:pt x="55" y="79"/>
                    </a:cubicBezTo>
                    <a:cubicBezTo>
                      <a:pt x="56" y="79"/>
                      <a:pt x="56" y="79"/>
                      <a:pt x="56" y="79"/>
                    </a:cubicBezTo>
                    <a:cubicBezTo>
                      <a:pt x="57" y="78"/>
                      <a:pt x="57" y="77"/>
                      <a:pt x="58" y="77"/>
                    </a:cubicBezTo>
                    <a:cubicBezTo>
                      <a:pt x="58" y="78"/>
                      <a:pt x="55" y="80"/>
                      <a:pt x="57" y="80"/>
                    </a:cubicBezTo>
                    <a:cubicBezTo>
                      <a:pt x="58" y="80"/>
                      <a:pt x="58" y="79"/>
                      <a:pt x="58" y="79"/>
                    </a:cubicBezTo>
                    <a:cubicBezTo>
                      <a:pt x="58" y="79"/>
                      <a:pt x="58" y="79"/>
                      <a:pt x="59" y="79"/>
                    </a:cubicBezTo>
                    <a:cubicBezTo>
                      <a:pt x="59" y="79"/>
                      <a:pt x="59" y="79"/>
                      <a:pt x="59" y="79"/>
                    </a:cubicBezTo>
                    <a:cubicBezTo>
                      <a:pt x="59" y="79"/>
                      <a:pt x="60" y="79"/>
                      <a:pt x="61" y="79"/>
                    </a:cubicBezTo>
                    <a:cubicBezTo>
                      <a:pt x="63" y="79"/>
                      <a:pt x="64" y="79"/>
                      <a:pt x="66" y="80"/>
                    </a:cubicBezTo>
                    <a:cubicBezTo>
                      <a:pt x="65" y="82"/>
                      <a:pt x="61" y="83"/>
                      <a:pt x="63" y="85"/>
                    </a:cubicBezTo>
                    <a:cubicBezTo>
                      <a:pt x="64" y="86"/>
                      <a:pt x="66" y="86"/>
                      <a:pt x="66" y="87"/>
                    </a:cubicBezTo>
                    <a:cubicBezTo>
                      <a:pt x="66" y="87"/>
                      <a:pt x="65" y="87"/>
                      <a:pt x="65" y="87"/>
                    </a:cubicBezTo>
                    <a:cubicBezTo>
                      <a:pt x="64" y="87"/>
                      <a:pt x="61" y="87"/>
                      <a:pt x="61" y="86"/>
                    </a:cubicBezTo>
                    <a:cubicBezTo>
                      <a:pt x="60" y="85"/>
                      <a:pt x="61" y="84"/>
                      <a:pt x="61" y="84"/>
                    </a:cubicBezTo>
                    <a:cubicBezTo>
                      <a:pt x="61" y="83"/>
                      <a:pt x="59" y="82"/>
                      <a:pt x="59" y="82"/>
                    </a:cubicBezTo>
                    <a:cubicBezTo>
                      <a:pt x="58" y="81"/>
                      <a:pt x="58" y="79"/>
                      <a:pt x="56" y="81"/>
                    </a:cubicBezTo>
                    <a:cubicBezTo>
                      <a:pt x="56" y="82"/>
                      <a:pt x="55" y="83"/>
                      <a:pt x="56" y="84"/>
                    </a:cubicBezTo>
                    <a:cubicBezTo>
                      <a:pt x="57" y="85"/>
                      <a:pt x="59" y="84"/>
                      <a:pt x="59" y="85"/>
                    </a:cubicBezTo>
                    <a:cubicBezTo>
                      <a:pt x="60" y="86"/>
                      <a:pt x="61" y="86"/>
                      <a:pt x="61" y="87"/>
                    </a:cubicBezTo>
                    <a:cubicBezTo>
                      <a:pt x="62" y="87"/>
                      <a:pt x="63" y="88"/>
                      <a:pt x="63" y="89"/>
                    </a:cubicBezTo>
                    <a:cubicBezTo>
                      <a:pt x="63" y="90"/>
                      <a:pt x="62" y="90"/>
                      <a:pt x="62" y="91"/>
                    </a:cubicBezTo>
                    <a:cubicBezTo>
                      <a:pt x="62" y="93"/>
                      <a:pt x="63" y="91"/>
                      <a:pt x="63" y="90"/>
                    </a:cubicBezTo>
                    <a:cubicBezTo>
                      <a:pt x="65" y="89"/>
                      <a:pt x="69" y="90"/>
                      <a:pt x="70" y="91"/>
                    </a:cubicBezTo>
                    <a:cubicBezTo>
                      <a:pt x="71" y="92"/>
                      <a:pt x="71" y="92"/>
                      <a:pt x="71" y="93"/>
                    </a:cubicBezTo>
                    <a:cubicBezTo>
                      <a:pt x="71" y="94"/>
                      <a:pt x="70" y="96"/>
                      <a:pt x="70" y="94"/>
                    </a:cubicBezTo>
                    <a:cubicBezTo>
                      <a:pt x="71" y="93"/>
                      <a:pt x="71" y="93"/>
                      <a:pt x="69" y="93"/>
                    </a:cubicBezTo>
                    <a:cubicBezTo>
                      <a:pt x="68" y="93"/>
                      <a:pt x="66" y="93"/>
                      <a:pt x="65" y="94"/>
                    </a:cubicBezTo>
                    <a:cubicBezTo>
                      <a:pt x="65" y="94"/>
                      <a:pt x="64" y="95"/>
                      <a:pt x="64" y="95"/>
                    </a:cubicBezTo>
                    <a:cubicBezTo>
                      <a:pt x="64" y="95"/>
                      <a:pt x="64" y="95"/>
                      <a:pt x="64" y="96"/>
                    </a:cubicBezTo>
                    <a:cubicBezTo>
                      <a:pt x="63" y="96"/>
                      <a:pt x="62" y="97"/>
                      <a:pt x="63" y="97"/>
                    </a:cubicBezTo>
                    <a:cubicBezTo>
                      <a:pt x="62" y="97"/>
                      <a:pt x="54" y="96"/>
                      <a:pt x="54" y="97"/>
                    </a:cubicBezTo>
                    <a:cubicBezTo>
                      <a:pt x="52" y="96"/>
                      <a:pt x="49" y="95"/>
                      <a:pt x="47" y="95"/>
                    </a:cubicBezTo>
                    <a:cubicBezTo>
                      <a:pt x="46" y="95"/>
                      <a:pt x="45" y="96"/>
                      <a:pt x="44" y="95"/>
                    </a:cubicBezTo>
                    <a:cubicBezTo>
                      <a:pt x="43" y="95"/>
                      <a:pt x="40" y="94"/>
                      <a:pt x="40" y="93"/>
                    </a:cubicBezTo>
                    <a:cubicBezTo>
                      <a:pt x="43" y="93"/>
                      <a:pt x="42" y="90"/>
                      <a:pt x="43" y="89"/>
                    </a:cubicBezTo>
                    <a:cubicBezTo>
                      <a:pt x="43" y="89"/>
                      <a:pt x="44" y="88"/>
                      <a:pt x="43" y="87"/>
                    </a:cubicBezTo>
                    <a:cubicBezTo>
                      <a:pt x="42" y="87"/>
                      <a:pt x="39" y="87"/>
                      <a:pt x="38" y="87"/>
                    </a:cubicBezTo>
                    <a:cubicBezTo>
                      <a:pt x="37" y="87"/>
                      <a:pt x="35" y="87"/>
                      <a:pt x="34" y="87"/>
                    </a:cubicBezTo>
                    <a:cubicBezTo>
                      <a:pt x="33" y="87"/>
                      <a:pt x="31" y="89"/>
                      <a:pt x="31" y="89"/>
                    </a:cubicBezTo>
                    <a:cubicBezTo>
                      <a:pt x="30" y="90"/>
                      <a:pt x="30" y="89"/>
                      <a:pt x="29" y="89"/>
                    </a:cubicBezTo>
                    <a:cubicBezTo>
                      <a:pt x="27" y="89"/>
                      <a:pt x="24" y="90"/>
                      <a:pt x="23" y="91"/>
                    </a:cubicBezTo>
                    <a:cubicBezTo>
                      <a:pt x="22" y="92"/>
                      <a:pt x="21" y="93"/>
                      <a:pt x="23" y="93"/>
                    </a:cubicBezTo>
                    <a:cubicBezTo>
                      <a:pt x="24" y="93"/>
                      <a:pt x="24" y="94"/>
                      <a:pt x="25" y="94"/>
                    </a:cubicBezTo>
                    <a:cubicBezTo>
                      <a:pt x="24" y="95"/>
                      <a:pt x="21" y="95"/>
                      <a:pt x="19" y="94"/>
                    </a:cubicBezTo>
                    <a:cubicBezTo>
                      <a:pt x="19" y="94"/>
                      <a:pt x="19" y="94"/>
                      <a:pt x="18" y="94"/>
                    </a:cubicBezTo>
                    <a:cubicBezTo>
                      <a:pt x="17" y="94"/>
                      <a:pt x="17" y="94"/>
                      <a:pt x="17" y="94"/>
                    </a:cubicBezTo>
                    <a:cubicBezTo>
                      <a:pt x="16" y="95"/>
                      <a:pt x="15" y="95"/>
                      <a:pt x="14" y="95"/>
                    </a:cubicBezTo>
                    <a:cubicBezTo>
                      <a:pt x="13" y="96"/>
                      <a:pt x="12" y="97"/>
                      <a:pt x="12" y="97"/>
                    </a:cubicBezTo>
                    <a:cubicBezTo>
                      <a:pt x="12" y="97"/>
                      <a:pt x="11" y="97"/>
                      <a:pt x="11" y="97"/>
                    </a:cubicBezTo>
                    <a:cubicBezTo>
                      <a:pt x="10" y="97"/>
                      <a:pt x="10" y="98"/>
                      <a:pt x="10" y="99"/>
                    </a:cubicBezTo>
                    <a:cubicBezTo>
                      <a:pt x="9" y="100"/>
                      <a:pt x="8" y="99"/>
                      <a:pt x="7" y="98"/>
                    </a:cubicBezTo>
                    <a:cubicBezTo>
                      <a:pt x="7" y="98"/>
                      <a:pt x="5" y="99"/>
                      <a:pt x="5" y="100"/>
                    </a:cubicBezTo>
                    <a:cubicBezTo>
                      <a:pt x="4" y="100"/>
                      <a:pt x="4" y="101"/>
                      <a:pt x="4" y="101"/>
                    </a:cubicBezTo>
                    <a:cubicBezTo>
                      <a:pt x="4" y="102"/>
                      <a:pt x="3" y="101"/>
                      <a:pt x="2" y="102"/>
                    </a:cubicBezTo>
                    <a:cubicBezTo>
                      <a:pt x="2" y="102"/>
                      <a:pt x="1" y="102"/>
                      <a:pt x="0" y="103"/>
                    </a:cubicBezTo>
                    <a:cubicBezTo>
                      <a:pt x="0" y="104"/>
                      <a:pt x="5" y="107"/>
                      <a:pt x="7" y="107"/>
                    </a:cubicBezTo>
                    <a:cubicBezTo>
                      <a:pt x="9" y="107"/>
                      <a:pt x="11" y="108"/>
                      <a:pt x="13" y="108"/>
                    </a:cubicBezTo>
                    <a:cubicBezTo>
                      <a:pt x="12" y="108"/>
                      <a:pt x="12" y="107"/>
                      <a:pt x="11" y="107"/>
                    </a:cubicBezTo>
                    <a:cubicBezTo>
                      <a:pt x="13" y="107"/>
                      <a:pt x="14" y="108"/>
                      <a:pt x="16" y="108"/>
                    </a:cubicBezTo>
                    <a:cubicBezTo>
                      <a:pt x="17" y="108"/>
                      <a:pt x="18" y="108"/>
                      <a:pt x="20" y="109"/>
                    </a:cubicBezTo>
                    <a:cubicBezTo>
                      <a:pt x="19" y="110"/>
                      <a:pt x="18" y="109"/>
                      <a:pt x="17" y="109"/>
                    </a:cubicBezTo>
                    <a:cubicBezTo>
                      <a:pt x="17" y="109"/>
                      <a:pt x="16" y="109"/>
                      <a:pt x="16" y="109"/>
                    </a:cubicBezTo>
                    <a:cubicBezTo>
                      <a:pt x="15" y="110"/>
                      <a:pt x="16" y="110"/>
                      <a:pt x="16" y="110"/>
                    </a:cubicBezTo>
                    <a:cubicBezTo>
                      <a:pt x="14" y="112"/>
                      <a:pt x="13" y="112"/>
                      <a:pt x="11" y="111"/>
                    </a:cubicBezTo>
                    <a:cubicBezTo>
                      <a:pt x="12" y="112"/>
                      <a:pt x="14" y="114"/>
                      <a:pt x="15" y="115"/>
                    </a:cubicBezTo>
                    <a:cubicBezTo>
                      <a:pt x="15" y="115"/>
                      <a:pt x="15" y="115"/>
                      <a:pt x="15" y="114"/>
                    </a:cubicBezTo>
                    <a:cubicBezTo>
                      <a:pt x="17" y="115"/>
                      <a:pt x="16" y="116"/>
                      <a:pt x="15" y="117"/>
                    </a:cubicBezTo>
                    <a:cubicBezTo>
                      <a:pt x="15" y="118"/>
                      <a:pt x="17" y="119"/>
                      <a:pt x="18" y="120"/>
                    </a:cubicBezTo>
                    <a:cubicBezTo>
                      <a:pt x="19" y="121"/>
                      <a:pt x="21" y="121"/>
                      <a:pt x="23" y="121"/>
                    </a:cubicBezTo>
                    <a:cubicBezTo>
                      <a:pt x="26" y="121"/>
                      <a:pt x="30" y="124"/>
                      <a:pt x="33" y="122"/>
                    </a:cubicBezTo>
                    <a:cubicBezTo>
                      <a:pt x="32" y="122"/>
                      <a:pt x="31" y="122"/>
                      <a:pt x="32" y="122"/>
                    </a:cubicBezTo>
                    <a:cubicBezTo>
                      <a:pt x="32" y="121"/>
                      <a:pt x="33" y="121"/>
                      <a:pt x="34" y="121"/>
                    </a:cubicBezTo>
                    <a:cubicBezTo>
                      <a:pt x="35" y="121"/>
                      <a:pt x="37" y="120"/>
                      <a:pt x="38" y="120"/>
                    </a:cubicBezTo>
                    <a:cubicBezTo>
                      <a:pt x="38" y="120"/>
                      <a:pt x="38" y="120"/>
                      <a:pt x="37" y="121"/>
                    </a:cubicBezTo>
                    <a:cubicBezTo>
                      <a:pt x="38" y="120"/>
                      <a:pt x="39" y="121"/>
                      <a:pt x="40" y="121"/>
                    </a:cubicBezTo>
                    <a:cubicBezTo>
                      <a:pt x="41" y="121"/>
                      <a:pt x="42" y="120"/>
                      <a:pt x="42" y="120"/>
                    </a:cubicBezTo>
                    <a:cubicBezTo>
                      <a:pt x="44" y="120"/>
                      <a:pt x="45" y="121"/>
                      <a:pt x="47" y="121"/>
                    </a:cubicBezTo>
                    <a:cubicBezTo>
                      <a:pt x="47" y="121"/>
                      <a:pt x="48" y="122"/>
                      <a:pt x="49" y="123"/>
                    </a:cubicBezTo>
                    <a:cubicBezTo>
                      <a:pt x="49" y="124"/>
                      <a:pt x="50" y="123"/>
                      <a:pt x="50" y="122"/>
                    </a:cubicBezTo>
                    <a:cubicBezTo>
                      <a:pt x="50" y="122"/>
                      <a:pt x="51" y="122"/>
                      <a:pt x="51" y="122"/>
                    </a:cubicBezTo>
                    <a:cubicBezTo>
                      <a:pt x="50" y="121"/>
                      <a:pt x="49" y="121"/>
                      <a:pt x="49" y="121"/>
                    </a:cubicBezTo>
                    <a:cubicBezTo>
                      <a:pt x="48" y="121"/>
                      <a:pt x="48" y="121"/>
                      <a:pt x="47" y="120"/>
                    </a:cubicBezTo>
                    <a:cubicBezTo>
                      <a:pt x="49" y="119"/>
                      <a:pt x="49" y="119"/>
                      <a:pt x="51" y="120"/>
                    </a:cubicBezTo>
                    <a:cubicBezTo>
                      <a:pt x="51" y="121"/>
                      <a:pt x="52" y="121"/>
                      <a:pt x="53" y="122"/>
                    </a:cubicBezTo>
                    <a:cubicBezTo>
                      <a:pt x="53" y="124"/>
                      <a:pt x="52" y="125"/>
                      <a:pt x="54" y="124"/>
                    </a:cubicBezTo>
                    <a:cubicBezTo>
                      <a:pt x="55" y="123"/>
                      <a:pt x="54" y="123"/>
                      <a:pt x="55" y="122"/>
                    </a:cubicBezTo>
                    <a:cubicBezTo>
                      <a:pt x="56" y="121"/>
                      <a:pt x="57" y="121"/>
                      <a:pt x="59" y="120"/>
                    </a:cubicBezTo>
                    <a:cubicBezTo>
                      <a:pt x="59" y="119"/>
                      <a:pt x="59" y="119"/>
                      <a:pt x="60" y="118"/>
                    </a:cubicBezTo>
                    <a:cubicBezTo>
                      <a:pt x="61" y="118"/>
                      <a:pt x="62" y="118"/>
                      <a:pt x="63" y="118"/>
                    </a:cubicBezTo>
                    <a:cubicBezTo>
                      <a:pt x="63" y="118"/>
                      <a:pt x="64" y="116"/>
                      <a:pt x="64" y="117"/>
                    </a:cubicBezTo>
                    <a:cubicBezTo>
                      <a:pt x="65" y="117"/>
                      <a:pt x="66" y="118"/>
                      <a:pt x="67" y="117"/>
                    </a:cubicBezTo>
                    <a:cubicBezTo>
                      <a:pt x="69" y="116"/>
                      <a:pt x="69" y="114"/>
                      <a:pt x="71" y="115"/>
                    </a:cubicBezTo>
                    <a:cubicBezTo>
                      <a:pt x="71" y="115"/>
                      <a:pt x="71" y="114"/>
                      <a:pt x="72" y="115"/>
                    </a:cubicBezTo>
                    <a:cubicBezTo>
                      <a:pt x="72" y="116"/>
                      <a:pt x="72" y="116"/>
                      <a:pt x="72" y="116"/>
                    </a:cubicBezTo>
                    <a:cubicBezTo>
                      <a:pt x="73" y="118"/>
                      <a:pt x="74" y="118"/>
                      <a:pt x="73" y="119"/>
                    </a:cubicBezTo>
                    <a:cubicBezTo>
                      <a:pt x="71" y="120"/>
                      <a:pt x="71" y="121"/>
                      <a:pt x="69" y="121"/>
                    </a:cubicBezTo>
                    <a:cubicBezTo>
                      <a:pt x="68" y="122"/>
                      <a:pt x="68" y="121"/>
                      <a:pt x="67" y="121"/>
                    </a:cubicBezTo>
                    <a:cubicBezTo>
                      <a:pt x="67" y="122"/>
                      <a:pt x="67" y="123"/>
                      <a:pt x="68" y="123"/>
                    </a:cubicBezTo>
                    <a:cubicBezTo>
                      <a:pt x="68" y="123"/>
                      <a:pt x="69" y="123"/>
                      <a:pt x="69" y="123"/>
                    </a:cubicBezTo>
                    <a:cubicBezTo>
                      <a:pt x="69" y="123"/>
                      <a:pt x="70" y="124"/>
                      <a:pt x="70" y="125"/>
                    </a:cubicBezTo>
                    <a:cubicBezTo>
                      <a:pt x="71" y="125"/>
                      <a:pt x="72" y="126"/>
                      <a:pt x="72" y="126"/>
                    </a:cubicBezTo>
                    <a:cubicBezTo>
                      <a:pt x="72" y="127"/>
                      <a:pt x="72" y="128"/>
                      <a:pt x="72" y="129"/>
                    </a:cubicBezTo>
                    <a:cubicBezTo>
                      <a:pt x="72" y="130"/>
                      <a:pt x="73" y="130"/>
                      <a:pt x="73" y="131"/>
                    </a:cubicBezTo>
                    <a:cubicBezTo>
                      <a:pt x="74" y="133"/>
                      <a:pt x="74" y="134"/>
                      <a:pt x="72" y="135"/>
                    </a:cubicBezTo>
                    <a:cubicBezTo>
                      <a:pt x="72" y="136"/>
                      <a:pt x="71" y="137"/>
                      <a:pt x="70" y="137"/>
                    </a:cubicBezTo>
                    <a:cubicBezTo>
                      <a:pt x="69" y="138"/>
                      <a:pt x="65" y="138"/>
                      <a:pt x="63" y="138"/>
                    </a:cubicBezTo>
                    <a:cubicBezTo>
                      <a:pt x="62" y="138"/>
                      <a:pt x="61" y="138"/>
                      <a:pt x="60" y="138"/>
                    </a:cubicBezTo>
                    <a:cubicBezTo>
                      <a:pt x="59" y="138"/>
                      <a:pt x="59" y="137"/>
                      <a:pt x="58" y="137"/>
                    </a:cubicBezTo>
                    <a:cubicBezTo>
                      <a:pt x="57" y="138"/>
                      <a:pt x="57" y="140"/>
                      <a:pt x="56" y="140"/>
                    </a:cubicBezTo>
                    <a:cubicBezTo>
                      <a:pt x="56" y="141"/>
                      <a:pt x="55" y="142"/>
                      <a:pt x="55" y="142"/>
                    </a:cubicBezTo>
                    <a:cubicBezTo>
                      <a:pt x="54" y="142"/>
                      <a:pt x="54" y="143"/>
                      <a:pt x="53" y="143"/>
                    </a:cubicBezTo>
                    <a:cubicBezTo>
                      <a:pt x="53" y="143"/>
                      <a:pt x="53" y="143"/>
                      <a:pt x="52" y="144"/>
                    </a:cubicBezTo>
                    <a:cubicBezTo>
                      <a:pt x="50" y="146"/>
                      <a:pt x="47" y="146"/>
                      <a:pt x="44" y="144"/>
                    </a:cubicBezTo>
                    <a:cubicBezTo>
                      <a:pt x="43" y="143"/>
                      <a:pt x="43" y="142"/>
                      <a:pt x="42" y="142"/>
                    </a:cubicBezTo>
                    <a:cubicBezTo>
                      <a:pt x="39" y="142"/>
                      <a:pt x="37" y="143"/>
                      <a:pt x="35" y="144"/>
                    </a:cubicBezTo>
                    <a:cubicBezTo>
                      <a:pt x="35" y="144"/>
                      <a:pt x="37" y="145"/>
                      <a:pt x="38" y="146"/>
                    </a:cubicBezTo>
                    <a:cubicBezTo>
                      <a:pt x="36" y="146"/>
                      <a:pt x="34" y="145"/>
                      <a:pt x="33" y="147"/>
                    </a:cubicBezTo>
                    <a:cubicBezTo>
                      <a:pt x="32" y="148"/>
                      <a:pt x="32" y="149"/>
                      <a:pt x="32" y="150"/>
                    </a:cubicBezTo>
                    <a:cubicBezTo>
                      <a:pt x="32" y="154"/>
                      <a:pt x="34" y="150"/>
                      <a:pt x="36" y="150"/>
                    </a:cubicBezTo>
                    <a:cubicBezTo>
                      <a:pt x="35" y="151"/>
                      <a:pt x="34" y="152"/>
                      <a:pt x="33" y="154"/>
                    </a:cubicBezTo>
                    <a:cubicBezTo>
                      <a:pt x="32" y="155"/>
                      <a:pt x="33" y="154"/>
                      <a:pt x="32" y="154"/>
                    </a:cubicBezTo>
                    <a:cubicBezTo>
                      <a:pt x="31" y="153"/>
                      <a:pt x="30" y="153"/>
                      <a:pt x="29" y="154"/>
                    </a:cubicBezTo>
                    <a:cubicBezTo>
                      <a:pt x="27" y="156"/>
                      <a:pt x="25" y="158"/>
                      <a:pt x="24" y="160"/>
                    </a:cubicBezTo>
                    <a:cubicBezTo>
                      <a:pt x="23" y="161"/>
                      <a:pt x="23" y="162"/>
                      <a:pt x="24" y="164"/>
                    </a:cubicBezTo>
                    <a:cubicBezTo>
                      <a:pt x="24" y="165"/>
                      <a:pt x="20" y="165"/>
                      <a:pt x="19" y="165"/>
                    </a:cubicBezTo>
                    <a:cubicBezTo>
                      <a:pt x="20" y="166"/>
                      <a:pt x="22" y="166"/>
                      <a:pt x="22" y="167"/>
                    </a:cubicBezTo>
                    <a:cubicBezTo>
                      <a:pt x="21" y="167"/>
                      <a:pt x="19" y="168"/>
                      <a:pt x="19" y="167"/>
                    </a:cubicBezTo>
                    <a:cubicBezTo>
                      <a:pt x="18" y="169"/>
                      <a:pt x="19" y="169"/>
                      <a:pt x="21" y="169"/>
                    </a:cubicBezTo>
                    <a:cubicBezTo>
                      <a:pt x="21" y="169"/>
                      <a:pt x="22" y="169"/>
                      <a:pt x="22" y="169"/>
                    </a:cubicBezTo>
                    <a:cubicBezTo>
                      <a:pt x="23" y="170"/>
                      <a:pt x="22" y="170"/>
                      <a:pt x="21" y="171"/>
                    </a:cubicBezTo>
                    <a:cubicBezTo>
                      <a:pt x="21" y="173"/>
                      <a:pt x="24" y="172"/>
                      <a:pt x="24" y="173"/>
                    </a:cubicBezTo>
                    <a:cubicBezTo>
                      <a:pt x="24" y="174"/>
                      <a:pt x="24" y="175"/>
                      <a:pt x="24" y="175"/>
                    </a:cubicBezTo>
                    <a:cubicBezTo>
                      <a:pt x="25" y="176"/>
                      <a:pt x="26" y="176"/>
                      <a:pt x="27" y="176"/>
                    </a:cubicBezTo>
                    <a:cubicBezTo>
                      <a:pt x="27" y="176"/>
                      <a:pt x="27" y="174"/>
                      <a:pt x="27" y="174"/>
                    </a:cubicBezTo>
                    <a:cubicBezTo>
                      <a:pt x="27" y="173"/>
                      <a:pt x="28" y="174"/>
                      <a:pt x="28" y="173"/>
                    </a:cubicBezTo>
                    <a:cubicBezTo>
                      <a:pt x="29" y="174"/>
                      <a:pt x="27" y="174"/>
                      <a:pt x="27" y="174"/>
                    </a:cubicBezTo>
                    <a:cubicBezTo>
                      <a:pt x="28" y="175"/>
                      <a:pt x="28" y="175"/>
                      <a:pt x="29" y="175"/>
                    </a:cubicBezTo>
                    <a:cubicBezTo>
                      <a:pt x="29" y="175"/>
                      <a:pt x="29" y="174"/>
                      <a:pt x="30" y="174"/>
                    </a:cubicBezTo>
                    <a:cubicBezTo>
                      <a:pt x="30" y="175"/>
                      <a:pt x="29" y="175"/>
                      <a:pt x="29" y="176"/>
                    </a:cubicBezTo>
                    <a:cubicBezTo>
                      <a:pt x="30" y="176"/>
                      <a:pt x="32" y="176"/>
                      <a:pt x="33" y="176"/>
                    </a:cubicBezTo>
                    <a:cubicBezTo>
                      <a:pt x="32" y="176"/>
                      <a:pt x="31" y="176"/>
                      <a:pt x="31" y="177"/>
                    </a:cubicBezTo>
                    <a:cubicBezTo>
                      <a:pt x="30" y="177"/>
                      <a:pt x="29" y="177"/>
                      <a:pt x="29" y="178"/>
                    </a:cubicBezTo>
                    <a:cubicBezTo>
                      <a:pt x="30" y="179"/>
                      <a:pt x="31" y="178"/>
                      <a:pt x="32" y="178"/>
                    </a:cubicBezTo>
                    <a:cubicBezTo>
                      <a:pt x="32" y="178"/>
                      <a:pt x="33" y="179"/>
                      <a:pt x="33" y="179"/>
                    </a:cubicBezTo>
                    <a:cubicBezTo>
                      <a:pt x="33" y="179"/>
                      <a:pt x="34" y="179"/>
                      <a:pt x="34" y="179"/>
                    </a:cubicBezTo>
                    <a:cubicBezTo>
                      <a:pt x="35" y="179"/>
                      <a:pt x="35" y="180"/>
                      <a:pt x="36" y="180"/>
                    </a:cubicBezTo>
                    <a:cubicBezTo>
                      <a:pt x="37" y="180"/>
                      <a:pt x="38" y="180"/>
                      <a:pt x="39" y="180"/>
                    </a:cubicBezTo>
                    <a:cubicBezTo>
                      <a:pt x="39" y="180"/>
                      <a:pt x="40" y="180"/>
                      <a:pt x="41" y="180"/>
                    </a:cubicBezTo>
                    <a:cubicBezTo>
                      <a:pt x="42" y="180"/>
                      <a:pt x="41" y="179"/>
                      <a:pt x="42" y="179"/>
                    </a:cubicBezTo>
                    <a:cubicBezTo>
                      <a:pt x="42" y="179"/>
                      <a:pt x="43" y="178"/>
                      <a:pt x="43" y="178"/>
                    </a:cubicBezTo>
                    <a:cubicBezTo>
                      <a:pt x="44" y="178"/>
                      <a:pt x="44" y="178"/>
                      <a:pt x="44" y="178"/>
                    </a:cubicBezTo>
                    <a:cubicBezTo>
                      <a:pt x="44" y="179"/>
                      <a:pt x="45" y="179"/>
                      <a:pt x="45" y="179"/>
                    </a:cubicBezTo>
                    <a:cubicBezTo>
                      <a:pt x="44" y="180"/>
                      <a:pt x="43" y="179"/>
                      <a:pt x="42" y="180"/>
                    </a:cubicBezTo>
                    <a:cubicBezTo>
                      <a:pt x="43" y="180"/>
                      <a:pt x="46" y="180"/>
                      <a:pt x="46" y="181"/>
                    </a:cubicBezTo>
                    <a:cubicBezTo>
                      <a:pt x="47" y="182"/>
                      <a:pt x="44" y="185"/>
                      <a:pt x="43" y="184"/>
                    </a:cubicBezTo>
                    <a:cubicBezTo>
                      <a:pt x="42" y="183"/>
                      <a:pt x="43" y="181"/>
                      <a:pt x="41" y="181"/>
                    </a:cubicBezTo>
                    <a:cubicBezTo>
                      <a:pt x="40" y="181"/>
                      <a:pt x="40" y="182"/>
                      <a:pt x="40" y="182"/>
                    </a:cubicBezTo>
                    <a:cubicBezTo>
                      <a:pt x="39" y="183"/>
                      <a:pt x="38" y="183"/>
                      <a:pt x="38" y="183"/>
                    </a:cubicBezTo>
                    <a:cubicBezTo>
                      <a:pt x="37" y="184"/>
                      <a:pt x="37" y="184"/>
                      <a:pt x="36" y="184"/>
                    </a:cubicBezTo>
                    <a:cubicBezTo>
                      <a:pt x="37" y="184"/>
                      <a:pt x="37" y="183"/>
                      <a:pt x="37" y="183"/>
                    </a:cubicBezTo>
                    <a:cubicBezTo>
                      <a:pt x="37" y="183"/>
                      <a:pt x="38" y="183"/>
                      <a:pt x="38" y="183"/>
                    </a:cubicBezTo>
                    <a:cubicBezTo>
                      <a:pt x="39" y="181"/>
                      <a:pt x="38" y="181"/>
                      <a:pt x="37" y="181"/>
                    </a:cubicBezTo>
                    <a:cubicBezTo>
                      <a:pt x="36" y="180"/>
                      <a:pt x="35" y="181"/>
                      <a:pt x="34" y="180"/>
                    </a:cubicBezTo>
                    <a:cubicBezTo>
                      <a:pt x="33" y="180"/>
                      <a:pt x="33" y="179"/>
                      <a:pt x="33" y="179"/>
                    </a:cubicBezTo>
                    <a:cubicBezTo>
                      <a:pt x="33" y="179"/>
                      <a:pt x="32" y="180"/>
                      <a:pt x="32" y="180"/>
                    </a:cubicBezTo>
                    <a:cubicBezTo>
                      <a:pt x="32" y="179"/>
                      <a:pt x="32" y="178"/>
                      <a:pt x="31" y="179"/>
                    </a:cubicBezTo>
                    <a:cubicBezTo>
                      <a:pt x="31" y="179"/>
                      <a:pt x="31" y="180"/>
                      <a:pt x="31" y="181"/>
                    </a:cubicBezTo>
                    <a:cubicBezTo>
                      <a:pt x="31" y="181"/>
                      <a:pt x="30" y="181"/>
                      <a:pt x="30" y="181"/>
                    </a:cubicBezTo>
                    <a:cubicBezTo>
                      <a:pt x="30" y="182"/>
                      <a:pt x="31" y="182"/>
                      <a:pt x="30" y="182"/>
                    </a:cubicBezTo>
                    <a:cubicBezTo>
                      <a:pt x="30" y="183"/>
                      <a:pt x="27" y="184"/>
                      <a:pt x="26" y="184"/>
                    </a:cubicBezTo>
                    <a:cubicBezTo>
                      <a:pt x="27" y="185"/>
                      <a:pt x="28" y="185"/>
                      <a:pt x="29" y="185"/>
                    </a:cubicBezTo>
                    <a:cubicBezTo>
                      <a:pt x="30" y="185"/>
                      <a:pt x="30" y="184"/>
                      <a:pt x="31" y="185"/>
                    </a:cubicBezTo>
                    <a:cubicBezTo>
                      <a:pt x="31" y="185"/>
                      <a:pt x="30" y="186"/>
                      <a:pt x="30" y="186"/>
                    </a:cubicBezTo>
                    <a:cubicBezTo>
                      <a:pt x="29" y="186"/>
                      <a:pt x="29" y="186"/>
                      <a:pt x="30" y="187"/>
                    </a:cubicBezTo>
                    <a:cubicBezTo>
                      <a:pt x="30" y="188"/>
                      <a:pt x="32" y="188"/>
                      <a:pt x="33" y="188"/>
                    </a:cubicBezTo>
                    <a:cubicBezTo>
                      <a:pt x="34" y="188"/>
                      <a:pt x="34" y="188"/>
                      <a:pt x="34" y="188"/>
                    </a:cubicBezTo>
                    <a:cubicBezTo>
                      <a:pt x="36" y="190"/>
                      <a:pt x="37" y="193"/>
                      <a:pt x="39" y="195"/>
                    </a:cubicBezTo>
                    <a:cubicBezTo>
                      <a:pt x="40" y="196"/>
                      <a:pt x="42" y="196"/>
                      <a:pt x="44" y="196"/>
                    </a:cubicBezTo>
                    <a:cubicBezTo>
                      <a:pt x="45" y="196"/>
                      <a:pt x="54" y="195"/>
                      <a:pt x="54" y="193"/>
                    </a:cubicBezTo>
                    <a:cubicBezTo>
                      <a:pt x="55" y="194"/>
                      <a:pt x="56" y="193"/>
                      <a:pt x="56" y="192"/>
                    </a:cubicBezTo>
                    <a:cubicBezTo>
                      <a:pt x="56" y="192"/>
                      <a:pt x="57" y="190"/>
                      <a:pt x="57" y="190"/>
                    </a:cubicBezTo>
                    <a:cubicBezTo>
                      <a:pt x="56" y="189"/>
                      <a:pt x="55" y="189"/>
                      <a:pt x="54" y="189"/>
                    </a:cubicBezTo>
                    <a:cubicBezTo>
                      <a:pt x="55" y="189"/>
                      <a:pt x="55" y="189"/>
                      <a:pt x="56" y="188"/>
                    </a:cubicBezTo>
                    <a:cubicBezTo>
                      <a:pt x="56" y="188"/>
                      <a:pt x="55" y="188"/>
                      <a:pt x="55" y="188"/>
                    </a:cubicBezTo>
                    <a:cubicBezTo>
                      <a:pt x="55" y="188"/>
                      <a:pt x="56" y="188"/>
                      <a:pt x="56" y="188"/>
                    </a:cubicBezTo>
                    <a:cubicBezTo>
                      <a:pt x="56" y="187"/>
                      <a:pt x="57" y="187"/>
                      <a:pt x="57" y="187"/>
                    </a:cubicBezTo>
                    <a:cubicBezTo>
                      <a:pt x="57" y="187"/>
                      <a:pt x="57" y="187"/>
                      <a:pt x="57" y="186"/>
                    </a:cubicBezTo>
                    <a:cubicBezTo>
                      <a:pt x="57" y="186"/>
                      <a:pt x="57" y="187"/>
                      <a:pt x="57" y="186"/>
                    </a:cubicBezTo>
                    <a:cubicBezTo>
                      <a:pt x="58" y="186"/>
                      <a:pt x="58" y="185"/>
                      <a:pt x="58" y="184"/>
                    </a:cubicBezTo>
                    <a:cubicBezTo>
                      <a:pt x="59" y="183"/>
                      <a:pt x="60" y="183"/>
                      <a:pt x="60" y="182"/>
                    </a:cubicBezTo>
                    <a:cubicBezTo>
                      <a:pt x="61" y="183"/>
                      <a:pt x="61" y="182"/>
                      <a:pt x="62" y="182"/>
                    </a:cubicBezTo>
                    <a:cubicBezTo>
                      <a:pt x="62" y="183"/>
                      <a:pt x="60" y="183"/>
                      <a:pt x="59" y="184"/>
                    </a:cubicBezTo>
                    <a:cubicBezTo>
                      <a:pt x="59" y="185"/>
                      <a:pt x="58" y="186"/>
                      <a:pt x="58" y="187"/>
                    </a:cubicBezTo>
                    <a:cubicBezTo>
                      <a:pt x="58" y="187"/>
                      <a:pt x="57" y="188"/>
                      <a:pt x="57" y="188"/>
                    </a:cubicBezTo>
                    <a:cubicBezTo>
                      <a:pt x="57" y="189"/>
                      <a:pt x="58" y="190"/>
                      <a:pt x="58" y="190"/>
                    </a:cubicBezTo>
                    <a:cubicBezTo>
                      <a:pt x="58" y="191"/>
                      <a:pt x="59" y="190"/>
                      <a:pt x="58" y="189"/>
                    </a:cubicBezTo>
                    <a:cubicBezTo>
                      <a:pt x="59" y="190"/>
                      <a:pt x="59" y="190"/>
                      <a:pt x="60" y="189"/>
                    </a:cubicBezTo>
                    <a:cubicBezTo>
                      <a:pt x="59" y="191"/>
                      <a:pt x="59" y="191"/>
                      <a:pt x="60" y="193"/>
                    </a:cubicBezTo>
                    <a:cubicBezTo>
                      <a:pt x="60" y="193"/>
                      <a:pt x="60" y="194"/>
                      <a:pt x="60" y="194"/>
                    </a:cubicBezTo>
                    <a:cubicBezTo>
                      <a:pt x="60" y="195"/>
                      <a:pt x="61" y="196"/>
                      <a:pt x="62" y="196"/>
                    </a:cubicBezTo>
                    <a:cubicBezTo>
                      <a:pt x="62" y="197"/>
                      <a:pt x="62" y="198"/>
                      <a:pt x="63" y="198"/>
                    </a:cubicBezTo>
                    <a:cubicBezTo>
                      <a:pt x="63" y="199"/>
                      <a:pt x="64" y="200"/>
                      <a:pt x="64" y="200"/>
                    </a:cubicBezTo>
                    <a:cubicBezTo>
                      <a:pt x="64" y="201"/>
                      <a:pt x="63" y="201"/>
                      <a:pt x="62" y="202"/>
                    </a:cubicBezTo>
                    <a:cubicBezTo>
                      <a:pt x="61" y="204"/>
                      <a:pt x="61" y="204"/>
                      <a:pt x="62" y="206"/>
                    </a:cubicBezTo>
                    <a:cubicBezTo>
                      <a:pt x="63" y="208"/>
                      <a:pt x="64" y="205"/>
                      <a:pt x="65" y="206"/>
                    </a:cubicBezTo>
                    <a:cubicBezTo>
                      <a:pt x="65" y="207"/>
                      <a:pt x="63" y="207"/>
                      <a:pt x="63" y="207"/>
                    </a:cubicBezTo>
                    <a:cubicBezTo>
                      <a:pt x="63" y="208"/>
                      <a:pt x="63" y="209"/>
                      <a:pt x="63" y="209"/>
                    </a:cubicBezTo>
                    <a:cubicBezTo>
                      <a:pt x="63" y="210"/>
                      <a:pt x="64" y="211"/>
                      <a:pt x="64" y="211"/>
                    </a:cubicBezTo>
                    <a:cubicBezTo>
                      <a:pt x="64" y="211"/>
                      <a:pt x="65" y="211"/>
                      <a:pt x="64" y="212"/>
                    </a:cubicBezTo>
                    <a:cubicBezTo>
                      <a:pt x="63" y="212"/>
                      <a:pt x="61" y="213"/>
                      <a:pt x="60" y="213"/>
                    </a:cubicBezTo>
                    <a:cubicBezTo>
                      <a:pt x="61" y="214"/>
                      <a:pt x="63" y="213"/>
                      <a:pt x="64" y="214"/>
                    </a:cubicBezTo>
                    <a:cubicBezTo>
                      <a:pt x="64" y="214"/>
                      <a:pt x="64" y="214"/>
                      <a:pt x="64" y="213"/>
                    </a:cubicBezTo>
                    <a:cubicBezTo>
                      <a:pt x="64" y="214"/>
                      <a:pt x="64" y="214"/>
                      <a:pt x="64" y="215"/>
                    </a:cubicBezTo>
                    <a:cubicBezTo>
                      <a:pt x="65" y="214"/>
                      <a:pt x="66" y="214"/>
                      <a:pt x="67" y="213"/>
                    </a:cubicBezTo>
                    <a:cubicBezTo>
                      <a:pt x="68" y="213"/>
                      <a:pt x="68" y="213"/>
                      <a:pt x="68" y="213"/>
                    </a:cubicBezTo>
                    <a:cubicBezTo>
                      <a:pt x="69" y="212"/>
                      <a:pt x="68" y="211"/>
                      <a:pt x="69" y="211"/>
                    </a:cubicBezTo>
                    <a:cubicBezTo>
                      <a:pt x="69" y="211"/>
                      <a:pt x="69" y="211"/>
                      <a:pt x="69" y="211"/>
                    </a:cubicBezTo>
                    <a:cubicBezTo>
                      <a:pt x="70" y="211"/>
                      <a:pt x="73" y="209"/>
                      <a:pt x="73" y="210"/>
                    </a:cubicBezTo>
                    <a:cubicBezTo>
                      <a:pt x="73" y="210"/>
                      <a:pt x="74" y="210"/>
                      <a:pt x="74" y="209"/>
                    </a:cubicBezTo>
                    <a:cubicBezTo>
                      <a:pt x="75" y="209"/>
                      <a:pt x="77" y="207"/>
                      <a:pt x="78" y="207"/>
                    </a:cubicBezTo>
                    <a:cubicBezTo>
                      <a:pt x="79" y="207"/>
                      <a:pt x="79" y="208"/>
                      <a:pt x="79" y="209"/>
                    </a:cubicBezTo>
                    <a:cubicBezTo>
                      <a:pt x="79" y="210"/>
                      <a:pt x="79" y="209"/>
                      <a:pt x="80" y="209"/>
                    </a:cubicBezTo>
                    <a:cubicBezTo>
                      <a:pt x="80" y="210"/>
                      <a:pt x="80" y="210"/>
                      <a:pt x="81" y="210"/>
                    </a:cubicBezTo>
                    <a:cubicBezTo>
                      <a:pt x="81" y="210"/>
                      <a:pt x="81" y="210"/>
                      <a:pt x="82" y="210"/>
                    </a:cubicBezTo>
                    <a:cubicBezTo>
                      <a:pt x="82" y="210"/>
                      <a:pt x="82" y="211"/>
                      <a:pt x="82" y="211"/>
                    </a:cubicBezTo>
                    <a:cubicBezTo>
                      <a:pt x="83" y="212"/>
                      <a:pt x="83" y="211"/>
                      <a:pt x="84" y="210"/>
                    </a:cubicBezTo>
                    <a:cubicBezTo>
                      <a:pt x="84" y="210"/>
                      <a:pt x="85" y="208"/>
                      <a:pt x="85" y="209"/>
                    </a:cubicBezTo>
                    <a:cubicBezTo>
                      <a:pt x="86" y="209"/>
                      <a:pt x="86" y="210"/>
                      <a:pt x="86" y="210"/>
                    </a:cubicBezTo>
                    <a:cubicBezTo>
                      <a:pt x="86" y="211"/>
                      <a:pt x="87" y="211"/>
                      <a:pt x="87" y="211"/>
                    </a:cubicBezTo>
                    <a:cubicBezTo>
                      <a:pt x="89" y="213"/>
                      <a:pt x="90" y="216"/>
                      <a:pt x="92" y="217"/>
                    </a:cubicBezTo>
                    <a:cubicBezTo>
                      <a:pt x="93" y="217"/>
                      <a:pt x="94" y="217"/>
                      <a:pt x="94" y="216"/>
                    </a:cubicBezTo>
                    <a:cubicBezTo>
                      <a:pt x="95" y="215"/>
                      <a:pt x="94" y="215"/>
                      <a:pt x="94" y="214"/>
                    </a:cubicBezTo>
                    <a:cubicBezTo>
                      <a:pt x="93" y="213"/>
                      <a:pt x="93" y="212"/>
                      <a:pt x="93" y="212"/>
                    </a:cubicBezTo>
                    <a:cubicBezTo>
                      <a:pt x="93" y="211"/>
                      <a:pt x="95" y="210"/>
                      <a:pt x="94" y="209"/>
                    </a:cubicBezTo>
                    <a:cubicBezTo>
                      <a:pt x="95" y="209"/>
                      <a:pt x="94" y="210"/>
                      <a:pt x="95" y="210"/>
                    </a:cubicBezTo>
                    <a:cubicBezTo>
                      <a:pt x="96" y="209"/>
                      <a:pt x="96" y="209"/>
                      <a:pt x="96" y="209"/>
                    </a:cubicBezTo>
                    <a:cubicBezTo>
                      <a:pt x="96" y="208"/>
                      <a:pt x="97" y="208"/>
                      <a:pt x="97" y="207"/>
                    </a:cubicBezTo>
                    <a:cubicBezTo>
                      <a:pt x="97" y="207"/>
                      <a:pt x="98" y="207"/>
                      <a:pt x="97" y="206"/>
                    </a:cubicBezTo>
                    <a:cubicBezTo>
                      <a:pt x="97" y="206"/>
                      <a:pt x="97" y="206"/>
                      <a:pt x="97" y="206"/>
                    </a:cubicBezTo>
                    <a:cubicBezTo>
                      <a:pt x="98" y="207"/>
                      <a:pt x="98" y="207"/>
                      <a:pt x="100" y="207"/>
                    </a:cubicBezTo>
                    <a:cubicBezTo>
                      <a:pt x="101" y="208"/>
                      <a:pt x="102" y="208"/>
                      <a:pt x="102" y="209"/>
                    </a:cubicBezTo>
                    <a:cubicBezTo>
                      <a:pt x="101" y="208"/>
                      <a:pt x="100" y="208"/>
                      <a:pt x="99" y="208"/>
                    </a:cubicBezTo>
                    <a:cubicBezTo>
                      <a:pt x="98" y="208"/>
                      <a:pt x="97" y="208"/>
                      <a:pt x="97" y="208"/>
                    </a:cubicBezTo>
                    <a:cubicBezTo>
                      <a:pt x="97" y="209"/>
                      <a:pt x="97" y="210"/>
                      <a:pt x="97" y="211"/>
                    </a:cubicBezTo>
                    <a:cubicBezTo>
                      <a:pt x="97" y="211"/>
                      <a:pt x="97" y="211"/>
                      <a:pt x="97" y="211"/>
                    </a:cubicBezTo>
                    <a:cubicBezTo>
                      <a:pt x="98" y="212"/>
                      <a:pt x="98" y="212"/>
                      <a:pt x="98" y="212"/>
                    </a:cubicBezTo>
                    <a:cubicBezTo>
                      <a:pt x="99" y="212"/>
                      <a:pt x="98" y="213"/>
                      <a:pt x="99" y="213"/>
                    </a:cubicBezTo>
                    <a:cubicBezTo>
                      <a:pt x="99" y="214"/>
                      <a:pt x="99" y="214"/>
                      <a:pt x="100" y="214"/>
                    </a:cubicBezTo>
                    <a:cubicBezTo>
                      <a:pt x="102" y="214"/>
                      <a:pt x="104" y="213"/>
                      <a:pt x="105" y="212"/>
                    </a:cubicBezTo>
                    <a:cubicBezTo>
                      <a:pt x="106" y="212"/>
                      <a:pt x="108" y="211"/>
                      <a:pt x="110" y="210"/>
                    </a:cubicBezTo>
                    <a:cubicBezTo>
                      <a:pt x="112" y="210"/>
                      <a:pt x="112" y="209"/>
                      <a:pt x="113" y="208"/>
                    </a:cubicBezTo>
                    <a:cubicBezTo>
                      <a:pt x="113" y="209"/>
                      <a:pt x="110" y="213"/>
                      <a:pt x="113" y="212"/>
                    </a:cubicBezTo>
                    <a:cubicBezTo>
                      <a:pt x="111" y="214"/>
                      <a:pt x="109" y="216"/>
                      <a:pt x="107" y="217"/>
                    </a:cubicBezTo>
                    <a:cubicBezTo>
                      <a:pt x="107" y="218"/>
                      <a:pt x="106" y="219"/>
                      <a:pt x="107" y="219"/>
                    </a:cubicBezTo>
                    <a:cubicBezTo>
                      <a:pt x="108" y="220"/>
                      <a:pt x="110" y="219"/>
                      <a:pt x="111" y="221"/>
                    </a:cubicBezTo>
                    <a:cubicBezTo>
                      <a:pt x="108" y="220"/>
                      <a:pt x="107" y="220"/>
                      <a:pt x="106" y="223"/>
                    </a:cubicBezTo>
                    <a:cubicBezTo>
                      <a:pt x="106" y="224"/>
                      <a:pt x="106" y="225"/>
                      <a:pt x="105" y="226"/>
                    </a:cubicBezTo>
                    <a:cubicBezTo>
                      <a:pt x="105" y="226"/>
                      <a:pt x="105" y="227"/>
                      <a:pt x="105" y="227"/>
                    </a:cubicBezTo>
                    <a:cubicBezTo>
                      <a:pt x="105" y="228"/>
                      <a:pt x="105" y="228"/>
                      <a:pt x="106" y="229"/>
                    </a:cubicBezTo>
                    <a:cubicBezTo>
                      <a:pt x="106" y="229"/>
                      <a:pt x="107" y="229"/>
                      <a:pt x="106" y="230"/>
                    </a:cubicBezTo>
                    <a:cubicBezTo>
                      <a:pt x="106" y="231"/>
                      <a:pt x="105" y="230"/>
                      <a:pt x="105" y="229"/>
                    </a:cubicBezTo>
                    <a:cubicBezTo>
                      <a:pt x="103" y="229"/>
                      <a:pt x="101" y="232"/>
                      <a:pt x="99" y="234"/>
                    </a:cubicBezTo>
                    <a:cubicBezTo>
                      <a:pt x="98" y="235"/>
                      <a:pt x="96" y="236"/>
                      <a:pt x="95" y="237"/>
                    </a:cubicBezTo>
                    <a:cubicBezTo>
                      <a:pt x="94" y="239"/>
                      <a:pt x="96" y="240"/>
                      <a:pt x="96" y="241"/>
                    </a:cubicBezTo>
                    <a:cubicBezTo>
                      <a:pt x="94" y="241"/>
                      <a:pt x="93" y="240"/>
                      <a:pt x="92" y="240"/>
                    </a:cubicBezTo>
                    <a:cubicBezTo>
                      <a:pt x="92" y="240"/>
                      <a:pt x="93" y="240"/>
                      <a:pt x="93" y="239"/>
                    </a:cubicBezTo>
                    <a:cubicBezTo>
                      <a:pt x="90" y="241"/>
                      <a:pt x="86" y="244"/>
                      <a:pt x="82" y="246"/>
                    </a:cubicBezTo>
                    <a:cubicBezTo>
                      <a:pt x="81" y="247"/>
                      <a:pt x="78" y="248"/>
                      <a:pt x="77" y="249"/>
                    </a:cubicBezTo>
                    <a:cubicBezTo>
                      <a:pt x="77" y="250"/>
                      <a:pt x="77" y="251"/>
                      <a:pt x="76" y="252"/>
                    </a:cubicBezTo>
                    <a:cubicBezTo>
                      <a:pt x="76" y="252"/>
                      <a:pt x="76" y="252"/>
                      <a:pt x="76" y="252"/>
                    </a:cubicBezTo>
                    <a:cubicBezTo>
                      <a:pt x="76" y="252"/>
                      <a:pt x="76" y="253"/>
                      <a:pt x="76" y="253"/>
                    </a:cubicBezTo>
                    <a:cubicBezTo>
                      <a:pt x="77" y="253"/>
                      <a:pt x="78" y="254"/>
                      <a:pt x="79" y="254"/>
                    </a:cubicBezTo>
                    <a:cubicBezTo>
                      <a:pt x="79" y="255"/>
                      <a:pt x="78" y="255"/>
                      <a:pt x="79" y="255"/>
                    </a:cubicBezTo>
                    <a:cubicBezTo>
                      <a:pt x="77" y="255"/>
                      <a:pt x="76" y="255"/>
                      <a:pt x="74" y="254"/>
                    </a:cubicBezTo>
                    <a:cubicBezTo>
                      <a:pt x="73" y="255"/>
                      <a:pt x="75" y="256"/>
                      <a:pt x="75" y="256"/>
                    </a:cubicBezTo>
                    <a:cubicBezTo>
                      <a:pt x="74" y="256"/>
                      <a:pt x="73" y="255"/>
                      <a:pt x="72" y="255"/>
                    </a:cubicBezTo>
                    <a:cubicBezTo>
                      <a:pt x="72" y="255"/>
                      <a:pt x="72" y="254"/>
                      <a:pt x="72" y="254"/>
                    </a:cubicBezTo>
                    <a:cubicBezTo>
                      <a:pt x="72" y="254"/>
                      <a:pt x="71" y="254"/>
                      <a:pt x="71" y="254"/>
                    </a:cubicBezTo>
                    <a:cubicBezTo>
                      <a:pt x="71" y="253"/>
                      <a:pt x="73" y="253"/>
                      <a:pt x="73" y="253"/>
                    </a:cubicBezTo>
                    <a:cubicBezTo>
                      <a:pt x="73" y="252"/>
                      <a:pt x="70" y="252"/>
                      <a:pt x="69" y="252"/>
                    </a:cubicBezTo>
                    <a:cubicBezTo>
                      <a:pt x="69" y="252"/>
                      <a:pt x="69" y="252"/>
                      <a:pt x="69" y="252"/>
                    </a:cubicBezTo>
                    <a:cubicBezTo>
                      <a:pt x="65" y="254"/>
                      <a:pt x="61" y="255"/>
                      <a:pt x="58" y="258"/>
                    </a:cubicBezTo>
                    <a:cubicBezTo>
                      <a:pt x="56" y="260"/>
                      <a:pt x="53" y="261"/>
                      <a:pt x="51" y="263"/>
                    </a:cubicBezTo>
                    <a:cubicBezTo>
                      <a:pt x="50" y="264"/>
                      <a:pt x="50" y="264"/>
                      <a:pt x="51" y="263"/>
                    </a:cubicBezTo>
                    <a:cubicBezTo>
                      <a:pt x="50" y="264"/>
                      <a:pt x="49" y="264"/>
                      <a:pt x="49" y="264"/>
                    </a:cubicBezTo>
                    <a:cubicBezTo>
                      <a:pt x="48" y="265"/>
                      <a:pt x="48" y="264"/>
                      <a:pt x="48" y="265"/>
                    </a:cubicBezTo>
                    <a:cubicBezTo>
                      <a:pt x="48" y="266"/>
                      <a:pt x="48" y="267"/>
                      <a:pt x="48" y="267"/>
                    </a:cubicBezTo>
                    <a:cubicBezTo>
                      <a:pt x="48" y="268"/>
                      <a:pt x="48" y="269"/>
                      <a:pt x="47" y="269"/>
                    </a:cubicBezTo>
                    <a:cubicBezTo>
                      <a:pt x="48" y="268"/>
                      <a:pt x="49" y="268"/>
                      <a:pt x="50" y="267"/>
                    </a:cubicBezTo>
                    <a:cubicBezTo>
                      <a:pt x="49" y="267"/>
                      <a:pt x="48" y="265"/>
                      <a:pt x="49" y="265"/>
                    </a:cubicBezTo>
                    <a:cubicBezTo>
                      <a:pt x="50" y="264"/>
                      <a:pt x="51" y="266"/>
                      <a:pt x="52" y="266"/>
                    </a:cubicBezTo>
                    <a:cubicBezTo>
                      <a:pt x="50" y="268"/>
                      <a:pt x="56" y="267"/>
                      <a:pt x="55" y="267"/>
                    </a:cubicBezTo>
                    <a:cubicBezTo>
                      <a:pt x="55" y="267"/>
                      <a:pt x="55" y="266"/>
                      <a:pt x="55" y="265"/>
                    </a:cubicBezTo>
                    <a:cubicBezTo>
                      <a:pt x="55" y="266"/>
                      <a:pt x="55" y="265"/>
                      <a:pt x="55" y="265"/>
                    </a:cubicBezTo>
                    <a:cubicBezTo>
                      <a:pt x="55" y="265"/>
                      <a:pt x="55" y="264"/>
                      <a:pt x="55" y="264"/>
                    </a:cubicBezTo>
                    <a:cubicBezTo>
                      <a:pt x="55" y="264"/>
                      <a:pt x="54" y="264"/>
                      <a:pt x="54" y="264"/>
                    </a:cubicBezTo>
                    <a:cubicBezTo>
                      <a:pt x="54" y="264"/>
                      <a:pt x="54" y="264"/>
                      <a:pt x="54" y="263"/>
                    </a:cubicBezTo>
                    <a:cubicBezTo>
                      <a:pt x="54" y="261"/>
                      <a:pt x="57" y="265"/>
                      <a:pt x="57" y="265"/>
                    </a:cubicBezTo>
                    <a:cubicBezTo>
                      <a:pt x="57" y="265"/>
                      <a:pt x="57" y="266"/>
                      <a:pt x="56" y="266"/>
                    </a:cubicBezTo>
                    <a:cubicBezTo>
                      <a:pt x="57" y="266"/>
                      <a:pt x="58" y="266"/>
                      <a:pt x="58" y="266"/>
                    </a:cubicBezTo>
                    <a:cubicBezTo>
                      <a:pt x="59" y="266"/>
                      <a:pt x="59" y="265"/>
                      <a:pt x="59" y="265"/>
                    </a:cubicBezTo>
                    <a:cubicBezTo>
                      <a:pt x="60" y="265"/>
                      <a:pt x="60" y="266"/>
                      <a:pt x="61" y="265"/>
                    </a:cubicBezTo>
                    <a:cubicBezTo>
                      <a:pt x="61" y="265"/>
                      <a:pt x="61" y="264"/>
                      <a:pt x="61" y="264"/>
                    </a:cubicBezTo>
                    <a:cubicBezTo>
                      <a:pt x="61" y="263"/>
                      <a:pt x="62" y="263"/>
                      <a:pt x="62" y="262"/>
                    </a:cubicBezTo>
                    <a:cubicBezTo>
                      <a:pt x="63" y="262"/>
                      <a:pt x="64" y="262"/>
                      <a:pt x="64" y="261"/>
                    </a:cubicBezTo>
                    <a:cubicBezTo>
                      <a:pt x="65" y="260"/>
                      <a:pt x="64" y="259"/>
                      <a:pt x="65" y="259"/>
                    </a:cubicBezTo>
                    <a:cubicBezTo>
                      <a:pt x="66" y="258"/>
                      <a:pt x="67" y="258"/>
                      <a:pt x="68" y="258"/>
                    </a:cubicBezTo>
                    <a:cubicBezTo>
                      <a:pt x="69" y="258"/>
                      <a:pt x="70" y="259"/>
                      <a:pt x="70" y="259"/>
                    </a:cubicBezTo>
                    <a:cubicBezTo>
                      <a:pt x="68" y="259"/>
                      <a:pt x="68" y="258"/>
                      <a:pt x="67" y="260"/>
                    </a:cubicBezTo>
                    <a:cubicBezTo>
                      <a:pt x="67" y="260"/>
                      <a:pt x="66" y="261"/>
                      <a:pt x="66" y="261"/>
                    </a:cubicBezTo>
                    <a:cubicBezTo>
                      <a:pt x="66" y="262"/>
                      <a:pt x="68" y="261"/>
                      <a:pt x="68" y="261"/>
                    </a:cubicBezTo>
                    <a:cubicBezTo>
                      <a:pt x="69" y="261"/>
                      <a:pt x="69" y="261"/>
                      <a:pt x="70" y="261"/>
                    </a:cubicBezTo>
                    <a:cubicBezTo>
                      <a:pt x="71" y="261"/>
                      <a:pt x="74" y="261"/>
                      <a:pt x="74" y="260"/>
                    </a:cubicBezTo>
                    <a:cubicBezTo>
                      <a:pt x="75" y="259"/>
                      <a:pt x="73" y="259"/>
                      <a:pt x="75" y="258"/>
                    </a:cubicBezTo>
                    <a:cubicBezTo>
                      <a:pt x="76" y="258"/>
                      <a:pt x="76" y="260"/>
                      <a:pt x="76" y="260"/>
                    </a:cubicBezTo>
                    <a:cubicBezTo>
                      <a:pt x="77" y="260"/>
                      <a:pt x="77" y="258"/>
                      <a:pt x="77" y="257"/>
                    </a:cubicBezTo>
                    <a:cubicBezTo>
                      <a:pt x="80" y="256"/>
                      <a:pt x="83" y="256"/>
                      <a:pt x="85" y="255"/>
                    </a:cubicBezTo>
                    <a:cubicBezTo>
                      <a:pt x="84" y="256"/>
                      <a:pt x="86" y="257"/>
                      <a:pt x="85" y="257"/>
                    </a:cubicBezTo>
                    <a:cubicBezTo>
                      <a:pt x="86" y="257"/>
                      <a:pt x="85" y="258"/>
                      <a:pt x="84" y="258"/>
                    </a:cubicBezTo>
                    <a:cubicBezTo>
                      <a:pt x="86" y="259"/>
                      <a:pt x="87" y="255"/>
                      <a:pt x="86" y="254"/>
                    </a:cubicBezTo>
                    <a:cubicBezTo>
                      <a:pt x="87" y="254"/>
                      <a:pt x="87" y="255"/>
                      <a:pt x="87" y="255"/>
                    </a:cubicBezTo>
                    <a:cubicBezTo>
                      <a:pt x="88" y="255"/>
                      <a:pt x="90" y="254"/>
                      <a:pt x="90" y="254"/>
                    </a:cubicBezTo>
                    <a:cubicBezTo>
                      <a:pt x="92" y="254"/>
                      <a:pt x="93" y="253"/>
                      <a:pt x="95" y="253"/>
                    </a:cubicBezTo>
                    <a:cubicBezTo>
                      <a:pt x="95" y="253"/>
                      <a:pt x="94" y="253"/>
                      <a:pt x="94" y="253"/>
                    </a:cubicBezTo>
                    <a:cubicBezTo>
                      <a:pt x="95" y="253"/>
                      <a:pt x="95" y="253"/>
                      <a:pt x="95" y="253"/>
                    </a:cubicBezTo>
                    <a:cubicBezTo>
                      <a:pt x="95" y="252"/>
                      <a:pt x="95" y="251"/>
                      <a:pt x="95" y="251"/>
                    </a:cubicBezTo>
                    <a:cubicBezTo>
                      <a:pt x="95" y="251"/>
                      <a:pt x="95" y="249"/>
                      <a:pt x="96" y="250"/>
                    </a:cubicBezTo>
                    <a:cubicBezTo>
                      <a:pt x="96" y="251"/>
                      <a:pt x="96" y="252"/>
                      <a:pt x="97" y="251"/>
                    </a:cubicBezTo>
                    <a:cubicBezTo>
                      <a:pt x="96" y="252"/>
                      <a:pt x="97" y="252"/>
                      <a:pt x="97" y="252"/>
                    </a:cubicBezTo>
                    <a:cubicBezTo>
                      <a:pt x="97" y="252"/>
                      <a:pt x="97" y="251"/>
                      <a:pt x="97" y="251"/>
                    </a:cubicBezTo>
                    <a:cubicBezTo>
                      <a:pt x="97" y="250"/>
                      <a:pt x="98" y="250"/>
                      <a:pt x="98" y="249"/>
                    </a:cubicBezTo>
                    <a:cubicBezTo>
                      <a:pt x="98" y="249"/>
                      <a:pt x="98" y="249"/>
                      <a:pt x="98" y="249"/>
                    </a:cubicBezTo>
                    <a:cubicBezTo>
                      <a:pt x="98" y="249"/>
                      <a:pt x="99" y="247"/>
                      <a:pt x="98" y="248"/>
                    </a:cubicBezTo>
                    <a:cubicBezTo>
                      <a:pt x="98" y="247"/>
                      <a:pt x="97" y="247"/>
                      <a:pt x="97" y="248"/>
                    </a:cubicBezTo>
                    <a:cubicBezTo>
                      <a:pt x="96" y="248"/>
                      <a:pt x="96" y="249"/>
                      <a:pt x="95" y="248"/>
                    </a:cubicBezTo>
                    <a:cubicBezTo>
                      <a:pt x="95" y="248"/>
                      <a:pt x="97" y="247"/>
                      <a:pt x="97" y="247"/>
                    </a:cubicBezTo>
                    <a:cubicBezTo>
                      <a:pt x="99" y="245"/>
                      <a:pt x="101" y="244"/>
                      <a:pt x="103" y="243"/>
                    </a:cubicBezTo>
                    <a:cubicBezTo>
                      <a:pt x="104" y="242"/>
                      <a:pt x="105" y="243"/>
                      <a:pt x="107" y="243"/>
                    </a:cubicBezTo>
                    <a:cubicBezTo>
                      <a:pt x="107" y="243"/>
                      <a:pt x="107" y="242"/>
                      <a:pt x="106" y="242"/>
                    </a:cubicBezTo>
                    <a:cubicBezTo>
                      <a:pt x="107" y="241"/>
                      <a:pt x="109" y="241"/>
                      <a:pt x="110" y="241"/>
                    </a:cubicBezTo>
                    <a:cubicBezTo>
                      <a:pt x="111" y="241"/>
                      <a:pt x="113" y="239"/>
                      <a:pt x="114" y="239"/>
                    </a:cubicBezTo>
                    <a:cubicBezTo>
                      <a:pt x="114" y="239"/>
                      <a:pt x="114" y="239"/>
                      <a:pt x="114" y="239"/>
                    </a:cubicBezTo>
                    <a:cubicBezTo>
                      <a:pt x="115" y="237"/>
                      <a:pt x="115" y="238"/>
                      <a:pt x="117" y="238"/>
                    </a:cubicBezTo>
                    <a:cubicBezTo>
                      <a:pt x="116" y="237"/>
                      <a:pt x="116" y="237"/>
                      <a:pt x="116" y="236"/>
                    </a:cubicBezTo>
                    <a:cubicBezTo>
                      <a:pt x="117" y="235"/>
                      <a:pt x="118" y="234"/>
                      <a:pt x="118" y="233"/>
                    </a:cubicBezTo>
                    <a:cubicBezTo>
                      <a:pt x="118" y="233"/>
                      <a:pt x="117" y="234"/>
                      <a:pt x="117" y="234"/>
                    </a:cubicBezTo>
                    <a:cubicBezTo>
                      <a:pt x="117" y="232"/>
                      <a:pt x="121" y="231"/>
                      <a:pt x="122" y="230"/>
                    </a:cubicBezTo>
                    <a:cubicBezTo>
                      <a:pt x="124" y="230"/>
                      <a:pt x="125" y="228"/>
                      <a:pt x="126" y="227"/>
                    </a:cubicBezTo>
                    <a:cubicBezTo>
                      <a:pt x="126" y="227"/>
                      <a:pt x="126" y="226"/>
                      <a:pt x="126" y="226"/>
                    </a:cubicBezTo>
                    <a:cubicBezTo>
                      <a:pt x="127" y="226"/>
                      <a:pt x="128" y="227"/>
                      <a:pt x="129" y="227"/>
                    </a:cubicBezTo>
                    <a:cubicBezTo>
                      <a:pt x="129" y="227"/>
                      <a:pt x="130" y="225"/>
                      <a:pt x="130" y="225"/>
                    </a:cubicBezTo>
                    <a:cubicBezTo>
                      <a:pt x="131" y="225"/>
                      <a:pt x="131" y="225"/>
                      <a:pt x="132" y="224"/>
                    </a:cubicBezTo>
                    <a:cubicBezTo>
                      <a:pt x="132" y="224"/>
                      <a:pt x="132" y="223"/>
                      <a:pt x="133" y="223"/>
                    </a:cubicBezTo>
                    <a:cubicBezTo>
                      <a:pt x="134" y="222"/>
                      <a:pt x="138" y="221"/>
                      <a:pt x="138" y="220"/>
                    </a:cubicBezTo>
                    <a:cubicBezTo>
                      <a:pt x="138" y="221"/>
                      <a:pt x="139" y="221"/>
                      <a:pt x="139" y="222"/>
                    </a:cubicBezTo>
                    <a:cubicBezTo>
                      <a:pt x="140" y="221"/>
                      <a:pt x="140" y="220"/>
                      <a:pt x="141" y="220"/>
                    </a:cubicBezTo>
                    <a:cubicBezTo>
                      <a:pt x="141" y="220"/>
                      <a:pt x="141" y="219"/>
                      <a:pt x="141" y="219"/>
                    </a:cubicBezTo>
                    <a:cubicBezTo>
                      <a:pt x="141" y="219"/>
                      <a:pt x="141" y="219"/>
                      <a:pt x="142" y="219"/>
                    </a:cubicBezTo>
                    <a:cubicBezTo>
                      <a:pt x="141" y="218"/>
                      <a:pt x="140" y="219"/>
                      <a:pt x="140" y="219"/>
                    </a:cubicBezTo>
                    <a:cubicBezTo>
                      <a:pt x="141" y="218"/>
                      <a:pt x="142" y="218"/>
                      <a:pt x="143" y="217"/>
                    </a:cubicBezTo>
                    <a:cubicBezTo>
                      <a:pt x="142" y="217"/>
                      <a:pt x="142" y="217"/>
                      <a:pt x="142" y="216"/>
                    </a:cubicBezTo>
                    <a:cubicBezTo>
                      <a:pt x="142" y="215"/>
                      <a:pt x="142" y="216"/>
                      <a:pt x="143" y="215"/>
                    </a:cubicBezTo>
                    <a:cubicBezTo>
                      <a:pt x="144" y="215"/>
                      <a:pt x="144" y="214"/>
                      <a:pt x="145" y="214"/>
                    </a:cubicBezTo>
                    <a:cubicBezTo>
                      <a:pt x="146" y="213"/>
                      <a:pt x="148" y="213"/>
                      <a:pt x="149" y="212"/>
                    </a:cubicBezTo>
                    <a:cubicBezTo>
                      <a:pt x="149" y="211"/>
                      <a:pt x="149" y="210"/>
                      <a:pt x="150" y="210"/>
                    </a:cubicBezTo>
                    <a:cubicBezTo>
                      <a:pt x="150" y="210"/>
                      <a:pt x="150" y="210"/>
                      <a:pt x="150" y="210"/>
                    </a:cubicBezTo>
                    <a:cubicBezTo>
                      <a:pt x="151" y="209"/>
                      <a:pt x="147" y="208"/>
                      <a:pt x="147" y="208"/>
                    </a:cubicBezTo>
                    <a:cubicBezTo>
                      <a:pt x="146" y="208"/>
                      <a:pt x="146" y="207"/>
                      <a:pt x="146" y="207"/>
                    </a:cubicBezTo>
                    <a:cubicBezTo>
                      <a:pt x="146" y="207"/>
                      <a:pt x="145" y="207"/>
                      <a:pt x="144" y="207"/>
                    </a:cubicBezTo>
                    <a:cubicBezTo>
                      <a:pt x="143" y="207"/>
                      <a:pt x="142" y="207"/>
                      <a:pt x="141" y="207"/>
                    </a:cubicBezTo>
                    <a:cubicBezTo>
                      <a:pt x="142" y="206"/>
                      <a:pt x="141" y="206"/>
                      <a:pt x="140" y="206"/>
                    </a:cubicBezTo>
                    <a:cubicBezTo>
                      <a:pt x="140" y="206"/>
                      <a:pt x="141" y="205"/>
                      <a:pt x="142" y="205"/>
                    </a:cubicBezTo>
                    <a:cubicBezTo>
                      <a:pt x="141" y="204"/>
                      <a:pt x="143" y="203"/>
                      <a:pt x="143" y="203"/>
                    </a:cubicBezTo>
                    <a:cubicBezTo>
                      <a:pt x="143" y="203"/>
                      <a:pt x="142" y="203"/>
                      <a:pt x="142" y="203"/>
                    </a:cubicBezTo>
                    <a:cubicBezTo>
                      <a:pt x="142" y="202"/>
                      <a:pt x="146" y="201"/>
                      <a:pt x="146" y="201"/>
                    </a:cubicBezTo>
                    <a:cubicBezTo>
                      <a:pt x="146" y="200"/>
                      <a:pt x="145" y="200"/>
                      <a:pt x="144" y="200"/>
                    </a:cubicBezTo>
                    <a:cubicBezTo>
                      <a:pt x="145" y="199"/>
                      <a:pt x="146" y="199"/>
                      <a:pt x="147" y="199"/>
                    </a:cubicBezTo>
                    <a:cubicBezTo>
                      <a:pt x="147" y="199"/>
                      <a:pt x="146" y="199"/>
                      <a:pt x="146" y="199"/>
                    </a:cubicBezTo>
                    <a:cubicBezTo>
                      <a:pt x="147" y="198"/>
                      <a:pt x="149" y="197"/>
                      <a:pt x="149" y="196"/>
                    </a:cubicBezTo>
                    <a:cubicBezTo>
                      <a:pt x="149" y="197"/>
                      <a:pt x="150" y="198"/>
                      <a:pt x="149" y="198"/>
                    </a:cubicBezTo>
                    <a:cubicBezTo>
                      <a:pt x="150" y="199"/>
                      <a:pt x="153" y="197"/>
                      <a:pt x="153" y="196"/>
                    </a:cubicBezTo>
                    <a:cubicBezTo>
                      <a:pt x="153" y="195"/>
                      <a:pt x="151" y="196"/>
                      <a:pt x="150" y="196"/>
                    </a:cubicBezTo>
                    <a:cubicBezTo>
                      <a:pt x="151" y="194"/>
                      <a:pt x="155" y="194"/>
                      <a:pt x="157" y="193"/>
                    </a:cubicBezTo>
                    <a:cubicBezTo>
                      <a:pt x="158" y="192"/>
                      <a:pt x="157" y="192"/>
                      <a:pt x="157" y="191"/>
                    </a:cubicBezTo>
                    <a:cubicBezTo>
                      <a:pt x="155" y="190"/>
                      <a:pt x="154" y="188"/>
                      <a:pt x="152" y="189"/>
                    </a:cubicBezTo>
                    <a:cubicBezTo>
                      <a:pt x="155" y="188"/>
                      <a:pt x="158" y="188"/>
                      <a:pt x="161" y="187"/>
                    </a:cubicBezTo>
                    <a:cubicBezTo>
                      <a:pt x="158" y="186"/>
                      <a:pt x="161" y="184"/>
                      <a:pt x="162" y="184"/>
                    </a:cubicBezTo>
                    <a:cubicBezTo>
                      <a:pt x="163" y="183"/>
                      <a:pt x="163" y="183"/>
                      <a:pt x="164" y="182"/>
                    </a:cubicBezTo>
                    <a:cubicBezTo>
                      <a:pt x="164" y="182"/>
                      <a:pt x="165" y="181"/>
                      <a:pt x="165" y="181"/>
                    </a:cubicBezTo>
                    <a:cubicBezTo>
                      <a:pt x="166" y="181"/>
                      <a:pt x="165" y="181"/>
                      <a:pt x="165" y="180"/>
                    </a:cubicBezTo>
                    <a:cubicBezTo>
                      <a:pt x="166" y="178"/>
                      <a:pt x="168" y="178"/>
                      <a:pt x="170" y="177"/>
                    </a:cubicBezTo>
                    <a:cubicBezTo>
                      <a:pt x="171" y="177"/>
                      <a:pt x="172" y="177"/>
                      <a:pt x="172" y="176"/>
                    </a:cubicBezTo>
                    <a:cubicBezTo>
                      <a:pt x="173" y="176"/>
                      <a:pt x="173" y="175"/>
                      <a:pt x="173" y="175"/>
                    </a:cubicBezTo>
                    <a:cubicBezTo>
                      <a:pt x="174" y="174"/>
                      <a:pt x="176" y="174"/>
                      <a:pt x="177" y="173"/>
                    </a:cubicBezTo>
                    <a:cubicBezTo>
                      <a:pt x="177" y="173"/>
                      <a:pt x="178" y="172"/>
                      <a:pt x="178" y="172"/>
                    </a:cubicBezTo>
                    <a:cubicBezTo>
                      <a:pt x="179" y="172"/>
                      <a:pt x="181" y="172"/>
                      <a:pt x="182" y="172"/>
                    </a:cubicBezTo>
                    <a:cubicBezTo>
                      <a:pt x="182" y="172"/>
                      <a:pt x="183" y="172"/>
                      <a:pt x="183" y="172"/>
                    </a:cubicBezTo>
                    <a:cubicBezTo>
                      <a:pt x="184" y="172"/>
                      <a:pt x="184" y="171"/>
                      <a:pt x="185" y="171"/>
                    </a:cubicBezTo>
                    <a:cubicBezTo>
                      <a:pt x="185" y="171"/>
                      <a:pt x="185" y="171"/>
                      <a:pt x="185" y="172"/>
                    </a:cubicBezTo>
                    <a:cubicBezTo>
                      <a:pt x="186" y="172"/>
                      <a:pt x="186" y="172"/>
                      <a:pt x="187" y="172"/>
                    </a:cubicBezTo>
                    <a:cubicBezTo>
                      <a:pt x="187" y="172"/>
                      <a:pt x="187" y="172"/>
                      <a:pt x="187" y="172"/>
                    </a:cubicBezTo>
                    <a:cubicBezTo>
                      <a:pt x="187" y="172"/>
                      <a:pt x="187" y="172"/>
                      <a:pt x="187" y="172"/>
                    </a:cubicBezTo>
                    <a:cubicBezTo>
                      <a:pt x="187" y="173"/>
                      <a:pt x="188" y="173"/>
                      <a:pt x="188" y="174"/>
                    </a:cubicBezTo>
                    <a:cubicBezTo>
                      <a:pt x="188" y="175"/>
                      <a:pt x="187" y="176"/>
                      <a:pt x="186" y="177"/>
                    </a:cubicBezTo>
                    <a:cubicBezTo>
                      <a:pt x="188" y="178"/>
                      <a:pt x="190" y="179"/>
                      <a:pt x="192" y="180"/>
                    </a:cubicBezTo>
                    <a:cubicBezTo>
                      <a:pt x="190" y="179"/>
                      <a:pt x="188" y="179"/>
                      <a:pt x="186" y="178"/>
                    </a:cubicBezTo>
                    <a:cubicBezTo>
                      <a:pt x="185" y="178"/>
                      <a:pt x="184" y="179"/>
                      <a:pt x="183" y="179"/>
                    </a:cubicBezTo>
                    <a:cubicBezTo>
                      <a:pt x="182" y="179"/>
                      <a:pt x="180" y="178"/>
                      <a:pt x="178" y="178"/>
                    </a:cubicBezTo>
                    <a:cubicBezTo>
                      <a:pt x="178" y="177"/>
                      <a:pt x="177" y="178"/>
                      <a:pt x="176" y="179"/>
                    </a:cubicBezTo>
                    <a:cubicBezTo>
                      <a:pt x="175" y="179"/>
                      <a:pt x="174" y="181"/>
                      <a:pt x="172" y="181"/>
                    </a:cubicBezTo>
                    <a:cubicBezTo>
                      <a:pt x="172" y="181"/>
                      <a:pt x="170" y="181"/>
                      <a:pt x="170" y="182"/>
                    </a:cubicBezTo>
                    <a:cubicBezTo>
                      <a:pt x="169" y="182"/>
                      <a:pt x="170" y="183"/>
                      <a:pt x="170" y="183"/>
                    </a:cubicBezTo>
                    <a:cubicBezTo>
                      <a:pt x="170" y="184"/>
                      <a:pt x="171" y="185"/>
                      <a:pt x="171" y="185"/>
                    </a:cubicBezTo>
                    <a:cubicBezTo>
                      <a:pt x="171" y="186"/>
                      <a:pt x="171" y="186"/>
                      <a:pt x="171" y="187"/>
                    </a:cubicBezTo>
                    <a:cubicBezTo>
                      <a:pt x="170" y="187"/>
                      <a:pt x="170" y="187"/>
                      <a:pt x="170" y="187"/>
                    </a:cubicBezTo>
                    <a:cubicBezTo>
                      <a:pt x="169" y="189"/>
                      <a:pt x="169" y="190"/>
                      <a:pt x="168" y="191"/>
                    </a:cubicBezTo>
                    <a:cubicBezTo>
                      <a:pt x="167" y="192"/>
                      <a:pt x="166" y="193"/>
                      <a:pt x="166" y="194"/>
                    </a:cubicBezTo>
                    <a:cubicBezTo>
                      <a:pt x="165" y="196"/>
                      <a:pt x="164" y="197"/>
                      <a:pt x="166" y="198"/>
                    </a:cubicBezTo>
                    <a:cubicBezTo>
                      <a:pt x="167" y="198"/>
                      <a:pt x="168" y="198"/>
                      <a:pt x="168" y="199"/>
                    </a:cubicBezTo>
                    <a:cubicBezTo>
                      <a:pt x="170" y="199"/>
                      <a:pt x="170" y="198"/>
                      <a:pt x="171" y="197"/>
                    </a:cubicBezTo>
                    <a:cubicBezTo>
                      <a:pt x="172" y="197"/>
                      <a:pt x="172" y="196"/>
                      <a:pt x="173" y="196"/>
                    </a:cubicBezTo>
                    <a:cubicBezTo>
                      <a:pt x="173" y="197"/>
                      <a:pt x="172" y="198"/>
                      <a:pt x="172" y="198"/>
                    </a:cubicBezTo>
                    <a:cubicBezTo>
                      <a:pt x="172" y="199"/>
                      <a:pt x="172" y="199"/>
                      <a:pt x="171" y="199"/>
                    </a:cubicBezTo>
                    <a:cubicBezTo>
                      <a:pt x="171" y="200"/>
                      <a:pt x="170" y="199"/>
                      <a:pt x="170" y="200"/>
                    </a:cubicBezTo>
                    <a:cubicBezTo>
                      <a:pt x="169" y="201"/>
                      <a:pt x="170" y="200"/>
                      <a:pt x="169" y="201"/>
                    </a:cubicBezTo>
                    <a:cubicBezTo>
                      <a:pt x="169" y="201"/>
                      <a:pt x="170" y="202"/>
                      <a:pt x="168" y="201"/>
                    </a:cubicBezTo>
                    <a:cubicBezTo>
                      <a:pt x="167" y="201"/>
                      <a:pt x="167" y="201"/>
                      <a:pt x="166" y="201"/>
                    </a:cubicBezTo>
                    <a:cubicBezTo>
                      <a:pt x="165" y="202"/>
                      <a:pt x="163" y="202"/>
                      <a:pt x="165" y="203"/>
                    </a:cubicBezTo>
                    <a:cubicBezTo>
                      <a:pt x="164" y="203"/>
                      <a:pt x="163" y="203"/>
                      <a:pt x="164" y="204"/>
                    </a:cubicBezTo>
                    <a:cubicBezTo>
                      <a:pt x="164" y="204"/>
                      <a:pt x="165" y="205"/>
                      <a:pt x="166" y="205"/>
                    </a:cubicBezTo>
                    <a:cubicBezTo>
                      <a:pt x="168" y="206"/>
                      <a:pt x="171" y="204"/>
                      <a:pt x="173" y="203"/>
                    </a:cubicBezTo>
                    <a:cubicBezTo>
                      <a:pt x="175" y="203"/>
                      <a:pt x="176" y="202"/>
                      <a:pt x="178" y="201"/>
                    </a:cubicBezTo>
                    <a:cubicBezTo>
                      <a:pt x="178" y="201"/>
                      <a:pt x="177" y="201"/>
                      <a:pt x="177" y="201"/>
                    </a:cubicBezTo>
                    <a:cubicBezTo>
                      <a:pt x="178" y="201"/>
                      <a:pt x="178" y="200"/>
                      <a:pt x="177" y="200"/>
                    </a:cubicBezTo>
                    <a:cubicBezTo>
                      <a:pt x="178" y="200"/>
                      <a:pt x="178" y="199"/>
                      <a:pt x="178" y="199"/>
                    </a:cubicBezTo>
                    <a:cubicBezTo>
                      <a:pt x="179" y="200"/>
                      <a:pt x="179" y="200"/>
                      <a:pt x="179" y="201"/>
                    </a:cubicBezTo>
                    <a:cubicBezTo>
                      <a:pt x="180" y="200"/>
                      <a:pt x="180" y="198"/>
                      <a:pt x="181" y="197"/>
                    </a:cubicBezTo>
                    <a:cubicBezTo>
                      <a:pt x="181" y="198"/>
                      <a:pt x="181" y="199"/>
                      <a:pt x="180" y="200"/>
                    </a:cubicBezTo>
                    <a:cubicBezTo>
                      <a:pt x="180" y="200"/>
                      <a:pt x="180" y="201"/>
                      <a:pt x="180" y="201"/>
                    </a:cubicBezTo>
                    <a:cubicBezTo>
                      <a:pt x="181" y="201"/>
                      <a:pt x="184" y="199"/>
                      <a:pt x="182" y="198"/>
                    </a:cubicBezTo>
                    <a:cubicBezTo>
                      <a:pt x="183" y="197"/>
                      <a:pt x="184" y="197"/>
                      <a:pt x="184" y="197"/>
                    </a:cubicBezTo>
                    <a:cubicBezTo>
                      <a:pt x="184" y="197"/>
                      <a:pt x="184" y="197"/>
                      <a:pt x="183" y="196"/>
                    </a:cubicBezTo>
                    <a:cubicBezTo>
                      <a:pt x="185" y="196"/>
                      <a:pt x="185" y="197"/>
                      <a:pt x="186" y="198"/>
                    </a:cubicBezTo>
                    <a:cubicBezTo>
                      <a:pt x="186" y="198"/>
                      <a:pt x="186" y="197"/>
                      <a:pt x="186" y="196"/>
                    </a:cubicBezTo>
                    <a:cubicBezTo>
                      <a:pt x="186" y="196"/>
                      <a:pt x="185" y="196"/>
                      <a:pt x="185" y="195"/>
                    </a:cubicBezTo>
                    <a:cubicBezTo>
                      <a:pt x="185" y="195"/>
                      <a:pt x="186" y="195"/>
                      <a:pt x="187" y="195"/>
                    </a:cubicBezTo>
                    <a:cubicBezTo>
                      <a:pt x="187" y="195"/>
                      <a:pt x="186" y="194"/>
                      <a:pt x="186" y="194"/>
                    </a:cubicBezTo>
                    <a:cubicBezTo>
                      <a:pt x="187" y="194"/>
                      <a:pt x="188" y="197"/>
                      <a:pt x="188" y="197"/>
                    </a:cubicBezTo>
                    <a:cubicBezTo>
                      <a:pt x="188" y="197"/>
                      <a:pt x="188" y="197"/>
                      <a:pt x="188" y="197"/>
                    </a:cubicBezTo>
                    <a:cubicBezTo>
                      <a:pt x="188" y="196"/>
                      <a:pt x="188" y="196"/>
                      <a:pt x="188" y="195"/>
                    </a:cubicBezTo>
                    <a:cubicBezTo>
                      <a:pt x="188" y="194"/>
                      <a:pt x="189" y="194"/>
                      <a:pt x="189" y="194"/>
                    </a:cubicBezTo>
                    <a:cubicBezTo>
                      <a:pt x="190" y="193"/>
                      <a:pt x="189" y="193"/>
                      <a:pt x="190" y="191"/>
                    </a:cubicBezTo>
                    <a:cubicBezTo>
                      <a:pt x="191" y="192"/>
                      <a:pt x="191" y="193"/>
                      <a:pt x="191" y="195"/>
                    </a:cubicBezTo>
                    <a:cubicBezTo>
                      <a:pt x="192" y="194"/>
                      <a:pt x="192" y="192"/>
                      <a:pt x="193" y="192"/>
                    </a:cubicBezTo>
                    <a:cubicBezTo>
                      <a:pt x="194" y="192"/>
                      <a:pt x="195" y="194"/>
                      <a:pt x="195" y="194"/>
                    </a:cubicBezTo>
                    <a:cubicBezTo>
                      <a:pt x="197" y="194"/>
                      <a:pt x="198" y="194"/>
                      <a:pt x="198" y="193"/>
                    </a:cubicBezTo>
                    <a:cubicBezTo>
                      <a:pt x="199" y="192"/>
                      <a:pt x="200" y="193"/>
                      <a:pt x="200" y="192"/>
                    </a:cubicBezTo>
                    <a:cubicBezTo>
                      <a:pt x="201" y="192"/>
                      <a:pt x="200" y="191"/>
                      <a:pt x="201" y="191"/>
                    </a:cubicBezTo>
                    <a:cubicBezTo>
                      <a:pt x="201" y="190"/>
                      <a:pt x="205" y="190"/>
                      <a:pt x="202" y="189"/>
                    </a:cubicBezTo>
                    <a:cubicBezTo>
                      <a:pt x="202" y="189"/>
                      <a:pt x="202" y="189"/>
                      <a:pt x="202" y="189"/>
                    </a:cubicBezTo>
                    <a:cubicBezTo>
                      <a:pt x="202" y="189"/>
                      <a:pt x="200" y="189"/>
                      <a:pt x="200" y="189"/>
                    </a:cubicBezTo>
                    <a:cubicBezTo>
                      <a:pt x="200" y="189"/>
                      <a:pt x="202" y="188"/>
                      <a:pt x="202" y="188"/>
                    </a:cubicBezTo>
                    <a:cubicBezTo>
                      <a:pt x="202" y="188"/>
                      <a:pt x="201" y="188"/>
                      <a:pt x="202" y="187"/>
                    </a:cubicBezTo>
                    <a:cubicBezTo>
                      <a:pt x="202" y="187"/>
                      <a:pt x="203" y="187"/>
                      <a:pt x="202" y="187"/>
                    </a:cubicBezTo>
                    <a:cubicBezTo>
                      <a:pt x="203" y="187"/>
                      <a:pt x="206" y="186"/>
                      <a:pt x="204" y="186"/>
                    </a:cubicBezTo>
                    <a:cubicBezTo>
                      <a:pt x="205" y="185"/>
                      <a:pt x="204" y="184"/>
                      <a:pt x="203" y="184"/>
                    </a:cubicBezTo>
                    <a:cubicBezTo>
                      <a:pt x="203" y="184"/>
                      <a:pt x="202" y="186"/>
                      <a:pt x="202" y="186"/>
                    </a:cubicBezTo>
                    <a:cubicBezTo>
                      <a:pt x="201" y="187"/>
                      <a:pt x="199" y="185"/>
                      <a:pt x="197" y="186"/>
                    </a:cubicBezTo>
                    <a:cubicBezTo>
                      <a:pt x="198" y="185"/>
                      <a:pt x="198" y="185"/>
                      <a:pt x="199" y="184"/>
                    </a:cubicBezTo>
                    <a:cubicBezTo>
                      <a:pt x="200" y="184"/>
                      <a:pt x="201" y="184"/>
                      <a:pt x="202" y="184"/>
                    </a:cubicBezTo>
                    <a:cubicBezTo>
                      <a:pt x="203" y="183"/>
                      <a:pt x="201" y="182"/>
                      <a:pt x="202" y="181"/>
                    </a:cubicBezTo>
                    <a:cubicBezTo>
                      <a:pt x="201" y="182"/>
                      <a:pt x="201" y="183"/>
                      <a:pt x="200" y="183"/>
                    </a:cubicBezTo>
                    <a:cubicBezTo>
                      <a:pt x="200" y="183"/>
                      <a:pt x="201" y="181"/>
                      <a:pt x="200" y="181"/>
                    </a:cubicBezTo>
                    <a:cubicBezTo>
                      <a:pt x="200" y="181"/>
                      <a:pt x="198" y="182"/>
                      <a:pt x="197" y="183"/>
                    </a:cubicBezTo>
                    <a:cubicBezTo>
                      <a:pt x="197" y="181"/>
                      <a:pt x="199" y="181"/>
                      <a:pt x="200" y="181"/>
                    </a:cubicBezTo>
                    <a:cubicBezTo>
                      <a:pt x="199" y="180"/>
                      <a:pt x="198" y="181"/>
                      <a:pt x="197" y="181"/>
                    </a:cubicBezTo>
                    <a:cubicBezTo>
                      <a:pt x="198" y="180"/>
                      <a:pt x="203" y="179"/>
                      <a:pt x="201" y="178"/>
                    </a:cubicBezTo>
                    <a:cubicBezTo>
                      <a:pt x="201" y="178"/>
                      <a:pt x="203" y="178"/>
                      <a:pt x="203" y="177"/>
                    </a:cubicBezTo>
                    <a:cubicBezTo>
                      <a:pt x="202" y="176"/>
                      <a:pt x="201" y="178"/>
                      <a:pt x="200" y="178"/>
                    </a:cubicBezTo>
                    <a:cubicBezTo>
                      <a:pt x="200" y="176"/>
                      <a:pt x="203" y="176"/>
                      <a:pt x="204" y="175"/>
                    </a:cubicBezTo>
                    <a:cubicBezTo>
                      <a:pt x="206" y="175"/>
                      <a:pt x="206" y="174"/>
                      <a:pt x="207" y="173"/>
                    </a:cubicBezTo>
                    <a:cubicBezTo>
                      <a:pt x="207" y="175"/>
                      <a:pt x="205" y="176"/>
                      <a:pt x="204" y="178"/>
                    </a:cubicBezTo>
                    <a:cubicBezTo>
                      <a:pt x="204" y="178"/>
                      <a:pt x="204" y="178"/>
                      <a:pt x="204" y="179"/>
                    </a:cubicBezTo>
                    <a:cubicBezTo>
                      <a:pt x="204" y="178"/>
                      <a:pt x="206" y="180"/>
                      <a:pt x="205" y="180"/>
                    </a:cubicBezTo>
                    <a:cubicBezTo>
                      <a:pt x="206" y="180"/>
                      <a:pt x="206" y="179"/>
                      <a:pt x="207" y="179"/>
                    </a:cubicBezTo>
                    <a:cubicBezTo>
                      <a:pt x="207" y="178"/>
                      <a:pt x="208" y="178"/>
                      <a:pt x="208" y="178"/>
                    </a:cubicBezTo>
                    <a:cubicBezTo>
                      <a:pt x="208" y="178"/>
                      <a:pt x="208" y="178"/>
                      <a:pt x="208" y="177"/>
                    </a:cubicBezTo>
                    <a:cubicBezTo>
                      <a:pt x="208" y="177"/>
                      <a:pt x="208" y="177"/>
                      <a:pt x="209" y="176"/>
                    </a:cubicBezTo>
                    <a:cubicBezTo>
                      <a:pt x="209" y="176"/>
                      <a:pt x="209" y="174"/>
                      <a:pt x="209" y="175"/>
                    </a:cubicBezTo>
                    <a:cubicBezTo>
                      <a:pt x="209" y="177"/>
                      <a:pt x="209" y="178"/>
                      <a:pt x="209" y="179"/>
                    </a:cubicBezTo>
                    <a:cubicBezTo>
                      <a:pt x="209" y="178"/>
                      <a:pt x="209" y="178"/>
                      <a:pt x="210" y="177"/>
                    </a:cubicBezTo>
                    <a:cubicBezTo>
                      <a:pt x="210" y="180"/>
                      <a:pt x="211" y="178"/>
                      <a:pt x="212" y="177"/>
                    </a:cubicBezTo>
                    <a:cubicBezTo>
                      <a:pt x="213" y="177"/>
                      <a:pt x="215" y="178"/>
                      <a:pt x="216" y="178"/>
                    </a:cubicBezTo>
                    <a:cubicBezTo>
                      <a:pt x="217" y="177"/>
                      <a:pt x="217" y="176"/>
                      <a:pt x="218" y="176"/>
                    </a:cubicBezTo>
                    <a:cubicBezTo>
                      <a:pt x="219" y="175"/>
                      <a:pt x="220" y="175"/>
                      <a:pt x="221" y="176"/>
                    </a:cubicBezTo>
                    <a:cubicBezTo>
                      <a:pt x="221" y="176"/>
                      <a:pt x="217" y="176"/>
                      <a:pt x="219" y="177"/>
                    </a:cubicBezTo>
                    <a:cubicBezTo>
                      <a:pt x="218" y="177"/>
                      <a:pt x="217" y="178"/>
                      <a:pt x="218" y="179"/>
                    </a:cubicBezTo>
                    <a:cubicBezTo>
                      <a:pt x="218" y="178"/>
                      <a:pt x="217" y="178"/>
                      <a:pt x="217" y="178"/>
                    </a:cubicBezTo>
                    <a:cubicBezTo>
                      <a:pt x="217" y="179"/>
                      <a:pt x="218" y="180"/>
                      <a:pt x="218" y="180"/>
                    </a:cubicBezTo>
                    <a:cubicBezTo>
                      <a:pt x="219" y="180"/>
                      <a:pt x="222" y="180"/>
                      <a:pt x="222" y="179"/>
                    </a:cubicBezTo>
                    <a:cubicBezTo>
                      <a:pt x="222" y="181"/>
                      <a:pt x="221" y="181"/>
                      <a:pt x="219" y="181"/>
                    </a:cubicBezTo>
                    <a:cubicBezTo>
                      <a:pt x="219" y="181"/>
                      <a:pt x="219" y="181"/>
                      <a:pt x="220" y="181"/>
                    </a:cubicBezTo>
                    <a:cubicBezTo>
                      <a:pt x="219" y="181"/>
                      <a:pt x="218" y="182"/>
                      <a:pt x="218" y="182"/>
                    </a:cubicBezTo>
                    <a:cubicBezTo>
                      <a:pt x="218" y="183"/>
                      <a:pt x="220" y="181"/>
                      <a:pt x="221" y="181"/>
                    </a:cubicBezTo>
                    <a:cubicBezTo>
                      <a:pt x="222" y="181"/>
                      <a:pt x="224" y="182"/>
                      <a:pt x="224" y="181"/>
                    </a:cubicBezTo>
                    <a:cubicBezTo>
                      <a:pt x="224" y="182"/>
                      <a:pt x="223" y="182"/>
                      <a:pt x="222" y="183"/>
                    </a:cubicBezTo>
                    <a:cubicBezTo>
                      <a:pt x="223" y="183"/>
                      <a:pt x="224" y="182"/>
                      <a:pt x="225" y="182"/>
                    </a:cubicBezTo>
                    <a:cubicBezTo>
                      <a:pt x="226" y="182"/>
                      <a:pt x="227" y="183"/>
                      <a:pt x="228" y="183"/>
                    </a:cubicBezTo>
                    <a:cubicBezTo>
                      <a:pt x="228" y="184"/>
                      <a:pt x="226" y="185"/>
                      <a:pt x="225" y="186"/>
                    </a:cubicBezTo>
                    <a:cubicBezTo>
                      <a:pt x="228" y="186"/>
                      <a:pt x="231" y="186"/>
                      <a:pt x="233" y="186"/>
                    </a:cubicBezTo>
                    <a:cubicBezTo>
                      <a:pt x="234" y="186"/>
                      <a:pt x="235" y="185"/>
                      <a:pt x="235" y="185"/>
                    </a:cubicBezTo>
                    <a:cubicBezTo>
                      <a:pt x="236" y="184"/>
                      <a:pt x="236" y="184"/>
                      <a:pt x="237" y="183"/>
                    </a:cubicBezTo>
                    <a:cubicBezTo>
                      <a:pt x="237" y="183"/>
                      <a:pt x="238" y="182"/>
                      <a:pt x="239" y="182"/>
                    </a:cubicBezTo>
                    <a:cubicBezTo>
                      <a:pt x="237" y="183"/>
                      <a:pt x="237" y="183"/>
                      <a:pt x="237" y="184"/>
                    </a:cubicBezTo>
                    <a:cubicBezTo>
                      <a:pt x="236" y="186"/>
                      <a:pt x="237" y="186"/>
                      <a:pt x="236" y="187"/>
                    </a:cubicBezTo>
                    <a:cubicBezTo>
                      <a:pt x="235" y="187"/>
                      <a:pt x="236" y="187"/>
                      <a:pt x="236" y="188"/>
                    </a:cubicBezTo>
                    <a:cubicBezTo>
                      <a:pt x="236" y="189"/>
                      <a:pt x="235" y="188"/>
                      <a:pt x="237" y="189"/>
                    </a:cubicBezTo>
                    <a:cubicBezTo>
                      <a:pt x="238" y="190"/>
                      <a:pt x="240" y="190"/>
                      <a:pt x="242" y="191"/>
                    </a:cubicBezTo>
                    <a:cubicBezTo>
                      <a:pt x="243" y="191"/>
                      <a:pt x="245" y="192"/>
                      <a:pt x="245" y="192"/>
                    </a:cubicBezTo>
                    <a:cubicBezTo>
                      <a:pt x="247" y="192"/>
                      <a:pt x="250" y="192"/>
                      <a:pt x="252" y="192"/>
                    </a:cubicBezTo>
                    <a:cubicBezTo>
                      <a:pt x="255" y="192"/>
                      <a:pt x="258" y="191"/>
                      <a:pt x="261" y="192"/>
                    </a:cubicBezTo>
                    <a:cubicBezTo>
                      <a:pt x="263" y="192"/>
                      <a:pt x="265" y="192"/>
                      <a:pt x="267" y="193"/>
                    </a:cubicBezTo>
                    <a:cubicBezTo>
                      <a:pt x="268" y="193"/>
                      <a:pt x="269" y="194"/>
                      <a:pt x="270" y="193"/>
                    </a:cubicBezTo>
                    <a:cubicBezTo>
                      <a:pt x="270" y="193"/>
                      <a:pt x="272" y="193"/>
                      <a:pt x="272" y="192"/>
                    </a:cubicBezTo>
                    <a:cubicBezTo>
                      <a:pt x="272" y="192"/>
                      <a:pt x="270" y="192"/>
                      <a:pt x="271" y="191"/>
                    </a:cubicBezTo>
                    <a:cubicBezTo>
                      <a:pt x="272" y="190"/>
                      <a:pt x="273" y="193"/>
                      <a:pt x="273" y="194"/>
                    </a:cubicBezTo>
                    <a:cubicBezTo>
                      <a:pt x="273" y="194"/>
                      <a:pt x="271" y="195"/>
                      <a:pt x="271" y="195"/>
                    </a:cubicBezTo>
                    <a:cubicBezTo>
                      <a:pt x="274" y="196"/>
                      <a:pt x="278" y="198"/>
                      <a:pt x="282" y="198"/>
                    </a:cubicBezTo>
                    <a:cubicBezTo>
                      <a:pt x="284" y="198"/>
                      <a:pt x="285" y="197"/>
                      <a:pt x="286" y="196"/>
                    </a:cubicBezTo>
                    <a:cubicBezTo>
                      <a:pt x="287" y="196"/>
                      <a:pt x="288" y="196"/>
                      <a:pt x="288" y="195"/>
                    </a:cubicBezTo>
                    <a:cubicBezTo>
                      <a:pt x="289" y="194"/>
                      <a:pt x="290" y="194"/>
                      <a:pt x="290" y="194"/>
                    </a:cubicBezTo>
                    <a:cubicBezTo>
                      <a:pt x="291" y="193"/>
                      <a:pt x="290" y="192"/>
                      <a:pt x="291" y="192"/>
                    </a:cubicBezTo>
                    <a:cubicBezTo>
                      <a:pt x="293" y="193"/>
                      <a:pt x="295" y="195"/>
                      <a:pt x="297" y="196"/>
                    </a:cubicBezTo>
                    <a:cubicBezTo>
                      <a:pt x="296" y="196"/>
                      <a:pt x="294" y="195"/>
                      <a:pt x="293" y="196"/>
                    </a:cubicBezTo>
                    <a:cubicBezTo>
                      <a:pt x="293" y="196"/>
                      <a:pt x="293" y="198"/>
                      <a:pt x="294" y="198"/>
                    </a:cubicBezTo>
                    <a:cubicBezTo>
                      <a:pt x="294" y="199"/>
                      <a:pt x="293" y="200"/>
                      <a:pt x="293" y="199"/>
                    </a:cubicBezTo>
                    <a:cubicBezTo>
                      <a:pt x="293" y="198"/>
                      <a:pt x="293" y="197"/>
                      <a:pt x="293" y="196"/>
                    </a:cubicBezTo>
                    <a:cubicBezTo>
                      <a:pt x="293" y="195"/>
                      <a:pt x="293" y="195"/>
                      <a:pt x="293" y="195"/>
                    </a:cubicBezTo>
                    <a:cubicBezTo>
                      <a:pt x="293" y="194"/>
                      <a:pt x="292" y="194"/>
                      <a:pt x="292" y="194"/>
                    </a:cubicBezTo>
                    <a:cubicBezTo>
                      <a:pt x="291" y="193"/>
                      <a:pt x="290" y="194"/>
                      <a:pt x="290" y="195"/>
                    </a:cubicBezTo>
                    <a:cubicBezTo>
                      <a:pt x="290" y="196"/>
                      <a:pt x="291" y="196"/>
                      <a:pt x="291" y="197"/>
                    </a:cubicBezTo>
                    <a:cubicBezTo>
                      <a:pt x="291" y="198"/>
                      <a:pt x="291" y="197"/>
                      <a:pt x="291" y="198"/>
                    </a:cubicBezTo>
                    <a:cubicBezTo>
                      <a:pt x="291" y="198"/>
                      <a:pt x="290" y="199"/>
                      <a:pt x="290" y="199"/>
                    </a:cubicBezTo>
                    <a:cubicBezTo>
                      <a:pt x="290" y="199"/>
                      <a:pt x="289" y="200"/>
                      <a:pt x="288" y="200"/>
                    </a:cubicBezTo>
                    <a:cubicBezTo>
                      <a:pt x="288" y="200"/>
                      <a:pt x="287" y="200"/>
                      <a:pt x="288" y="200"/>
                    </a:cubicBezTo>
                    <a:cubicBezTo>
                      <a:pt x="289" y="201"/>
                      <a:pt x="290" y="201"/>
                      <a:pt x="292" y="202"/>
                    </a:cubicBezTo>
                    <a:cubicBezTo>
                      <a:pt x="294" y="203"/>
                      <a:pt x="297" y="205"/>
                      <a:pt x="299" y="206"/>
                    </a:cubicBezTo>
                    <a:cubicBezTo>
                      <a:pt x="300" y="206"/>
                      <a:pt x="301" y="205"/>
                      <a:pt x="302" y="205"/>
                    </a:cubicBezTo>
                    <a:cubicBezTo>
                      <a:pt x="301" y="206"/>
                      <a:pt x="301" y="206"/>
                      <a:pt x="300" y="206"/>
                    </a:cubicBezTo>
                    <a:cubicBezTo>
                      <a:pt x="303" y="209"/>
                      <a:pt x="306" y="210"/>
                      <a:pt x="309" y="212"/>
                    </a:cubicBezTo>
                    <a:cubicBezTo>
                      <a:pt x="312" y="215"/>
                      <a:pt x="316" y="217"/>
                      <a:pt x="319" y="219"/>
                    </a:cubicBezTo>
                    <a:cubicBezTo>
                      <a:pt x="320" y="220"/>
                      <a:pt x="320" y="218"/>
                      <a:pt x="320" y="218"/>
                    </a:cubicBezTo>
                    <a:cubicBezTo>
                      <a:pt x="321" y="218"/>
                      <a:pt x="321" y="218"/>
                      <a:pt x="322" y="218"/>
                    </a:cubicBezTo>
                    <a:cubicBezTo>
                      <a:pt x="325" y="219"/>
                      <a:pt x="322" y="217"/>
                      <a:pt x="322" y="217"/>
                    </a:cubicBezTo>
                    <a:cubicBezTo>
                      <a:pt x="323" y="217"/>
                      <a:pt x="326" y="219"/>
                      <a:pt x="326" y="217"/>
                    </a:cubicBezTo>
                    <a:cubicBezTo>
                      <a:pt x="326" y="216"/>
                      <a:pt x="325" y="214"/>
                      <a:pt x="325" y="214"/>
                    </a:cubicBezTo>
                    <a:close/>
                    <a:moveTo>
                      <a:pt x="190" y="170"/>
                    </a:moveTo>
                    <a:cubicBezTo>
                      <a:pt x="190" y="170"/>
                      <a:pt x="191" y="170"/>
                      <a:pt x="191" y="170"/>
                    </a:cubicBezTo>
                    <a:cubicBezTo>
                      <a:pt x="191" y="170"/>
                      <a:pt x="191" y="170"/>
                      <a:pt x="191" y="170"/>
                    </a:cubicBezTo>
                    <a:cubicBezTo>
                      <a:pt x="191" y="170"/>
                      <a:pt x="190" y="170"/>
                      <a:pt x="19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2" name="Freeform 3004">
                <a:extLst>
                  <a:ext uri="{FF2B5EF4-FFF2-40B4-BE49-F238E27FC236}">
                    <a16:creationId xmlns:a16="http://schemas.microsoft.com/office/drawing/2014/main" id="{09F21B13-EBCD-4EBA-AEE5-F7E11DA4D9AE}"/>
                  </a:ext>
                </a:extLst>
              </p:cNvPr>
              <p:cNvSpPr>
                <a:spLocks/>
              </p:cNvSpPr>
              <p:nvPr/>
            </p:nvSpPr>
            <p:spPr bwMode="auto">
              <a:xfrm>
                <a:off x="405" y="127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3" name="Freeform 3005">
                <a:extLst>
                  <a:ext uri="{FF2B5EF4-FFF2-40B4-BE49-F238E27FC236}">
                    <a16:creationId xmlns:a16="http://schemas.microsoft.com/office/drawing/2014/main" id="{66CFE389-1ECA-4170-B4E8-588E6D6429E4}"/>
                  </a:ext>
                </a:extLst>
              </p:cNvPr>
              <p:cNvSpPr>
                <a:spLocks/>
              </p:cNvSpPr>
              <p:nvPr/>
            </p:nvSpPr>
            <p:spPr bwMode="auto">
              <a:xfrm>
                <a:off x="241" y="1132"/>
                <a:ext cx="76" cy="54"/>
              </a:xfrm>
              <a:custGeom>
                <a:avLst/>
                <a:gdLst>
                  <a:gd name="T0" fmla="*/ 30 w 32"/>
                  <a:gd name="T1" fmla="*/ 18 h 23"/>
                  <a:gd name="T2" fmla="*/ 30 w 32"/>
                  <a:gd name="T3" fmla="*/ 16 h 23"/>
                  <a:gd name="T4" fmla="*/ 23 w 32"/>
                  <a:gd name="T5" fmla="*/ 8 h 23"/>
                  <a:gd name="T6" fmla="*/ 22 w 32"/>
                  <a:gd name="T7" fmla="*/ 8 h 23"/>
                  <a:gd name="T8" fmla="*/ 19 w 32"/>
                  <a:gd name="T9" fmla="*/ 5 h 23"/>
                  <a:gd name="T10" fmla="*/ 14 w 32"/>
                  <a:gd name="T11" fmla="*/ 0 h 23"/>
                  <a:gd name="T12" fmla="*/ 13 w 32"/>
                  <a:gd name="T13" fmla="*/ 0 h 23"/>
                  <a:gd name="T14" fmla="*/ 11 w 32"/>
                  <a:gd name="T15" fmla="*/ 1 h 23"/>
                  <a:gd name="T16" fmla="*/ 9 w 32"/>
                  <a:gd name="T17" fmla="*/ 1 h 23"/>
                  <a:gd name="T18" fmla="*/ 8 w 32"/>
                  <a:gd name="T19" fmla="*/ 2 h 23"/>
                  <a:gd name="T20" fmla="*/ 8 w 32"/>
                  <a:gd name="T21" fmla="*/ 3 h 23"/>
                  <a:gd name="T22" fmla="*/ 6 w 32"/>
                  <a:gd name="T23" fmla="*/ 4 h 23"/>
                  <a:gd name="T24" fmla="*/ 6 w 32"/>
                  <a:gd name="T25" fmla="*/ 5 h 23"/>
                  <a:gd name="T26" fmla="*/ 5 w 32"/>
                  <a:gd name="T27" fmla="*/ 8 h 23"/>
                  <a:gd name="T28" fmla="*/ 3 w 32"/>
                  <a:gd name="T29" fmla="*/ 9 h 23"/>
                  <a:gd name="T30" fmla="*/ 2 w 32"/>
                  <a:gd name="T31" fmla="*/ 9 h 23"/>
                  <a:gd name="T32" fmla="*/ 0 w 32"/>
                  <a:gd name="T33" fmla="*/ 10 h 23"/>
                  <a:gd name="T34" fmla="*/ 3 w 32"/>
                  <a:gd name="T35" fmla="*/ 11 h 23"/>
                  <a:gd name="T36" fmla="*/ 5 w 32"/>
                  <a:gd name="T37" fmla="*/ 11 h 23"/>
                  <a:gd name="T38" fmla="*/ 9 w 32"/>
                  <a:gd name="T39" fmla="*/ 13 h 23"/>
                  <a:gd name="T40" fmla="*/ 10 w 32"/>
                  <a:gd name="T41" fmla="*/ 12 h 23"/>
                  <a:gd name="T42" fmla="*/ 9 w 32"/>
                  <a:gd name="T43" fmla="*/ 13 h 23"/>
                  <a:gd name="T44" fmla="*/ 11 w 32"/>
                  <a:gd name="T45" fmla="*/ 18 h 23"/>
                  <a:gd name="T46" fmla="*/ 14 w 32"/>
                  <a:gd name="T47" fmla="*/ 19 h 23"/>
                  <a:gd name="T48" fmla="*/ 15 w 32"/>
                  <a:gd name="T49" fmla="*/ 19 h 23"/>
                  <a:gd name="T50" fmla="*/ 16 w 32"/>
                  <a:gd name="T51" fmla="*/ 20 h 23"/>
                  <a:gd name="T52" fmla="*/ 19 w 32"/>
                  <a:gd name="T53" fmla="*/ 18 h 23"/>
                  <a:gd name="T54" fmla="*/ 17 w 32"/>
                  <a:gd name="T55" fmla="*/ 13 h 23"/>
                  <a:gd name="T56" fmla="*/ 16 w 32"/>
                  <a:gd name="T57" fmla="*/ 9 h 23"/>
                  <a:gd name="T58" fmla="*/ 14 w 32"/>
                  <a:gd name="T59" fmla="*/ 7 h 23"/>
                  <a:gd name="T60" fmla="*/ 14 w 32"/>
                  <a:gd name="T61" fmla="*/ 5 h 23"/>
                  <a:gd name="T62" fmla="*/ 16 w 32"/>
                  <a:gd name="T63" fmla="*/ 6 h 23"/>
                  <a:gd name="T64" fmla="*/ 18 w 32"/>
                  <a:gd name="T65" fmla="*/ 10 h 23"/>
                  <a:gd name="T66" fmla="*/ 19 w 32"/>
                  <a:gd name="T67" fmla="*/ 14 h 23"/>
                  <a:gd name="T68" fmla="*/ 20 w 32"/>
                  <a:gd name="T69" fmla="*/ 15 h 23"/>
                  <a:gd name="T70" fmla="*/ 22 w 32"/>
                  <a:gd name="T71" fmla="*/ 19 h 23"/>
                  <a:gd name="T72" fmla="*/ 29 w 32"/>
                  <a:gd name="T73" fmla="*/ 21 h 23"/>
                  <a:gd name="T74" fmla="*/ 30 w 32"/>
                  <a:gd name="T7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23">
                    <a:moveTo>
                      <a:pt x="30" y="19"/>
                    </a:moveTo>
                    <a:cubicBezTo>
                      <a:pt x="30" y="19"/>
                      <a:pt x="31" y="18"/>
                      <a:pt x="30" y="18"/>
                    </a:cubicBezTo>
                    <a:cubicBezTo>
                      <a:pt x="31" y="17"/>
                      <a:pt x="32" y="17"/>
                      <a:pt x="32" y="17"/>
                    </a:cubicBezTo>
                    <a:cubicBezTo>
                      <a:pt x="30" y="16"/>
                      <a:pt x="30" y="16"/>
                      <a:pt x="30" y="16"/>
                    </a:cubicBezTo>
                    <a:cubicBezTo>
                      <a:pt x="28" y="14"/>
                      <a:pt x="27" y="13"/>
                      <a:pt x="25" y="11"/>
                    </a:cubicBezTo>
                    <a:cubicBezTo>
                      <a:pt x="25" y="10"/>
                      <a:pt x="24" y="9"/>
                      <a:pt x="23" y="8"/>
                    </a:cubicBezTo>
                    <a:cubicBezTo>
                      <a:pt x="23" y="8"/>
                      <a:pt x="23" y="8"/>
                      <a:pt x="23" y="8"/>
                    </a:cubicBezTo>
                    <a:cubicBezTo>
                      <a:pt x="22" y="8"/>
                      <a:pt x="22" y="8"/>
                      <a:pt x="22" y="8"/>
                    </a:cubicBezTo>
                    <a:cubicBezTo>
                      <a:pt x="22" y="8"/>
                      <a:pt x="22" y="8"/>
                      <a:pt x="21" y="8"/>
                    </a:cubicBezTo>
                    <a:cubicBezTo>
                      <a:pt x="20" y="7"/>
                      <a:pt x="19" y="6"/>
                      <a:pt x="19" y="5"/>
                    </a:cubicBezTo>
                    <a:cubicBezTo>
                      <a:pt x="18" y="4"/>
                      <a:pt x="17" y="2"/>
                      <a:pt x="16" y="1"/>
                    </a:cubicBezTo>
                    <a:cubicBezTo>
                      <a:pt x="15" y="0"/>
                      <a:pt x="15" y="0"/>
                      <a:pt x="14" y="0"/>
                    </a:cubicBezTo>
                    <a:cubicBezTo>
                      <a:pt x="14" y="0"/>
                      <a:pt x="14" y="0"/>
                      <a:pt x="14" y="0"/>
                    </a:cubicBezTo>
                    <a:cubicBezTo>
                      <a:pt x="13" y="0"/>
                      <a:pt x="13" y="0"/>
                      <a:pt x="13" y="0"/>
                    </a:cubicBezTo>
                    <a:cubicBezTo>
                      <a:pt x="12" y="1"/>
                      <a:pt x="12" y="1"/>
                      <a:pt x="12" y="1"/>
                    </a:cubicBezTo>
                    <a:cubicBezTo>
                      <a:pt x="12" y="1"/>
                      <a:pt x="12" y="1"/>
                      <a:pt x="11" y="1"/>
                    </a:cubicBezTo>
                    <a:cubicBezTo>
                      <a:pt x="11" y="1"/>
                      <a:pt x="10" y="1"/>
                      <a:pt x="10" y="1"/>
                    </a:cubicBezTo>
                    <a:cubicBezTo>
                      <a:pt x="9" y="1"/>
                      <a:pt x="9" y="1"/>
                      <a:pt x="9" y="1"/>
                    </a:cubicBezTo>
                    <a:cubicBezTo>
                      <a:pt x="9" y="1"/>
                      <a:pt x="9" y="2"/>
                      <a:pt x="8" y="2"/>
                    </a:cubicBezTo>
                    <a:cubicBezTo>
                      <a:pt x="8" y="2"/>
                      <a:pt x="8" y="2"/>
                      <a:pt x="8" y="2"/>
                    </a:cubicBezTo>
                    <a:cubicBezTo>
                      <a:pt x="9" y="2"/>
                      <a:pt x="9" y="2"/>
                      <a:pt x="9" y="2"/>
                    </a:cubicBezTo>
                    <a:cubicBezTo>
                      <a:pt x="8" y="3"/>
                      <a:pt x="8" y="3"/>
                      <a:pt x="8" y="3"/>
                    </a:cubicBezTo>
                    <a:cubicBezTo>
                      <a:pt x="8" y="3"/>
                      <a:pt x="8" y="4"/>
                      <a:pt x="7" y="4"/>
                    </a:cubicBezTo>
                    <a:cubicBezTo>
                      <a:pt x="6" y="4"/>
                      <a:pt x="6" y="4"/>
                      <a:pt x="6" y="4"/>
                    </a:cubicBezTo>
                    <a:cubicBezTo>
                      <a:pt x="6" y="4"/>
                      <a:pt x="6" y="4"/>
                      <a:pt x="6" y="4"/>
                    </a:cubicBezTo>
                    <a:cubicBezTo>
                      <a:pt x="6" y="5"/>
                      <a:pt x="6" y="5"/>
                      <a:pt x="6" y="5"/>
                    </a:cubicBezTo>
                    <a:cubicBezTo>
                      <a:pt x="6" y="6"/>
                      <a:pt x="6" y="7"/>
                      <a:pt x="5" y="8"/>
                    </a:cubicBezTo>
                    <a:cubicBezTo>
                      <a:pt x="5" y="8"/>
                      <a:pt x="5" y="8"/>
                      <a:pt x="5" y="8"/>
                    </a:cubicBezTo>
                    <a:cubicBezTo>
                      <a:pt x="5" y="8"/>
                      <a:pt x="4" y="9"/>
                      <a:pt x="4" y="9"/>
                    </a:cubicBezTo>
                    <a:cubicBezTo>
                      <a:pt x="3" y="9"/>
                      <a:pt x="3" y="9"/>
                      <a:pt x="3" y="9"/>
                    </a:cubicBezTo>
                    <a:cubicBezTo>
                      <a:pt x="2" y="9"/>
                      <a:pt x="2" y="9"/>
                      <a:pt x="2" y="9"/>
                    </a:cubicBezTo>
                    <a:cubicBezTo>
                      <a:pt x="2" y="9"/>
                      <a:pt x="2" y="9"/>
                      <a:pt x="2" y="9"/>
                    </a:cubicBezTo>
                    <a:cubicBezTo>
                      <a:pt x="2" y="9"/>
                      <a:pt x="2" y="9"/>
                      <a:pt x="2" y="9"/>
                    </a:cubicBezTo>
                    <a:cubicBezTo>
                      <a:pt x="1" y="9"/>
                      <a:pt x="1" y="9"/>
                      <a:pt x="0" y="10"/>
                    </a:cubicBezTo>
                    <a:cubicBezTo>
                      <a:pt x="0" y="10"/>
                      <a:pt x="0" y="10"/>
                      <a:pt x="0" y="10"/>
                    </a:cubicBezTo>
                    <a:cubicBezTo>
                      <a:pt x="2" y="10"/>
                      <a:pt x="3" y="11"/>
                      <a:pt x="3" y="11"/>
                    </a:cubicBezTo>
                    <a:cubicBezTo>
                      <a:pt x="3" y="11"/>
                      <a:pt x="3" y="10"/>
                      <a:pt x="3" y="10"/>
                    </a:cubicBezTo>
                    <a:cubicBezTo>
                      <a:pt x="3" y="10"/>
                      <a:pt x="4" y="10"/>
                      <a:pt x="5" y="11"/>
                    </a:cubicBezTo>
                    <a:cubicBezTo>
                      <a:pt x="5" y="11"/>
                      <a:pt x="5" y="12"/>
                      <a:pt x="5" y="12"/>
                    </a:cubicBezTo>
                    <a:cubicBezTo>
                      <a:pt x="5" y="13"/>
                      <a:pt x="8" y="14"/>
                      <a:pt x="9" y="13"/>
                    </a:cubicBezTo>
                    <a:cubicBezTo>
                      <a:pt x="9" y="12"/>
                      <a:pt x="8" y="10"/>
                      <a:pt x="8" y="10"/>
                    </a:cubicBezTo>
                    <a:cubicBezTo>
                      <a:pt x="9" y="10"/>
                      <a:pt x="9" y="13"/>
                      <a:pt x="10" y="12"/>
                    </a:cubicBezTo>
                    <a:cubicBezTo>
                      <a:pt x="11" y="12"/>
                      <a:pt x="11" y="11"/>
                      <a:pt x="12" y="12"/>
                    </a:cubicBezTo>
                    <a:cubicBezTo>
                      <a:pt x="11" y="12"/>
                      <a:pt x="10" y="12"/>
                      <a:pt x="9" y="13"/>
                    </a:cubicBezTo>
                    <a:cubicBezTo>
                      <a:pt x="9" y="13"/>
                      <a:pt x="10" y="13"/>
                      <a:pt x="10" y="14"/>
                    </a:cubicBezTo>
                    <a:cubicBezTo>
                      <a:pt x="11" y="15"/>
                      <a:pt x="12" y="17"/>
                      <a:pt x="11" y="18"/>
                    </a:cubicBezTo>
                    <a:cubicBezTo>
                      <a:pt x="10" y="18"/>
                      <a:pt x="11" y="19"/>
                      <a:pt x="11" y="19"/>
                    </a:cubicBezTo>
                    <a:cubicBezTo>
                      <a:pt x="12" y="19"/>
                      <a:pt x="13" y="19"/>
                      <a:pt x="14" y="19"/>
                    </a:cubicBezTo>
                    <a:cubicBezTo>
                      <a:pt x="15" y="19"/>
                      <a:pt x="15" y="20"/>
                      <a:pt x="15" y="19"/>
                    </a:cubicBezTo>
                    <a:cubicBezTo>
                      <a:pt x="15" y="19"/>
                      <a:pt x="15" y="19"/>
                      <a:pt x="15" y="19"/>
                    </a:cubicBezTo>
                    <a:cubicBezTo>
                      <a:pt x="15" y="19"/>
                      <a:pt x="15" y="17"/>
                      <a:pt x="15" y="18"/>
                    </a:cubicBezTo>
                    <a:cubicBezTo>
                      <a:pt x="16" y="19"/>
                      <a:pt x="16" y="20"/>
                      <a:pt x="16" y="20"/>
                    </a:cubicBezTo>
                    <a:cubicBezTo>
                      <a:pt x="17" y="21"/>
                      <a:pt x="17" y="21"/>
                      <a:pt x="19" y="21"/>
                    </a:cubicBezTo>
                    <a:cubicBezTo>
                      <a:pt x="20" y="21"/>
                      <a:pt x="19" y="19"/>
                      <a:pt x="19" y="18"/>
                    </a:cubicBezTo>
                    <a:cubicBezTo>
                      <a:pt x="19" y="18"/>
                      <a:pt x="17" y="15"/>
                      <a:pt x="19" y="16"/>
                    </a:cubicBezTo>
                    <a:cubicBezTo>
                      <a:pt x="18" y="15"/>
                      <a:pt x="18" y="14"/>
                      <a:pt x="17" y="13"/>
                    </a:cubicBezTo>
                    <a:cubicBezTo>
                      <a:pt x="17" y="12"/>
                      <a:pt x="16" y="11"/>
                      <a:pt x="16" y="11"/>
                    </a:cubicBezTo>
                    <a:cubicBezTo>
                      <a:pt x="16" y="10"/>
                      <a:pt x="16" y="10"/>
                      <a:pt x="16" y="9"/>
                    </a:cubicBezTo>
                    <a:cubicBezTo>
                      <a:pt x="16" y="9"/>
                      <a:pt x="16" y="9"/>
                      <a:pt x="15" y="8"/>
                    </a:cubicBezTo>
                    <a:cubicBezTo>
                      <a:pt x="15" y="8"/>
                      <a:pt x="14" y="7"/>
                      <a:pt x="14" y="7"/>
                    </a:cubicBezTo>
                    <a:cubicBezTo>
                      <a:pt x="15" y="6"/>
                      <a:pt x="16" y="7"/>
                      <a:pt x="16" y="7"/>
                    </a:cubicBezTo>
                    <a:cubicBezTo>
                      <a:pt x="16" y="7"/>
                      <a:pt x="15" y="6"/>
                      <a:pt x="14" y="5"/>
                    </a:cubicBezTo>
                    <a:cubicBezTo>
                      <a:pt x="16" y="6"/>
                      <a:pt x="16" y="4"/>
                      <a:pt x="16" y="3"/>
                    </a:cubicBezTo>
                    <a:cubicBezTo>
                      <a:pt x="17" y="4"/>
                      <a:pt x="16" y="5"/>
                      <a:pt x="16" y="6"/>
                    </a:cubicBezTo>
                    <a:cubicBezTo>
                      <a:pt x="16" y="6"/>
                      <a:pt x="17" y="6"/>
                      <a:pt x="17" y="7"/>
                    </a:cubicBezTo>
                    <a:cubicBezTo>
                      <a:pt x="18" y="8"/>
                      <a:pt x="18" y="9"/>
                      <a:pt x="18" y="10"/>
                    </a:cubicBezTo>
                    <a:cubicBezTo>
                      <a:pt x="18" y="11"/>
                      <a:pt x="18" y="12"/>
                      <a:pt x="19" y="13"/>
                    </a:cubicBezTo>
                    <a:cubicBezTo>
                      <a:pt x="19" y="13"/>
                      <a:pt x="19" y="14"/>
                      <a:pt x="19" y="14"/>
                    </a:cubicBezTo>
                    <a:cubicBezTo>
                      <a:pt x="20" y="14"/>
                      <a:pt x="20" y="13"/>
                      <a:pt x="21" y="13"/>
                    </a:cubicBezTo>
                    <a:cubicBezTo>
                      <a:pt x="21" y="14"/>
                      <a:pt x="21" y="16"/>
                      <a:pt x="20" y="15"/>
                    </a:cubicBezTo>
                    <a:cubicBezTo>
                      <a:pt x="20" y="16"/>
                      <a:pt x="21" y="16"/>
                      <a:pt x="21" y="17"/>
                    </a:cubicBezTo>
                    <a:cubicBezTo>
                      <a:pt x="22" y="18"/>
                      <a:pt x="22" y="18"/>
                      <a:pt x="22" y="19"/>
                    </a:cubicBezTo>
                    <a:cubicBezTo>
                      <a:pt x="23" y="20"/>
                      <a:pt x="28" y="23"/>
                      <a:pt x="29" y="21"/>
                    </a:cubicBezTo>
                    <a:cubicBezTo>
                      <a:pt x="29" y="21"/>
                      <a:pt x="29" y="21"/>
                      <a:pt x="29" y="21"/>
                    </a:cubicBezTo>
                    <a:cubicBezTo>
                      <a:pt x="29" y="20"/>
                      <a:pt x="29" y="20"/>
                      <a:pt x="29" y="20"/>
                    </a:cubicBezTo>
                    <a:cubicBezTo>
                      <a:pt x="29" y="20"/>
                      <a:pt x="30" y="19"/>
                      <a:pt x="3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4" name="Freeform 3006">
                <a:extLst>
                  <a:ext uri="{FF2B5EF4-FFF2-40B4-BE49-F238E27FC236}">
                    <a16:creationId xmlns:a16="http://schemas.microsoft.com/office/drawing/2014/main" id="{83287284-108C-4EB0-8156-649909A70B98}"/>
                  </a:ext>
                </a:extLst>
              </p:cNvPr>
              <p:cNvSpPr>
                <a:spLocks/>
              </p:cNvSpPr>
              <p:nvPr/>
            </p:nvSpPr>
            <p:spPr bwMode="auto">
              <a:xfrm>
                <a:off x="310" y="1172"/>
                <a:ext cx="97" cy="130"/>
              </a:xfrm>
              <a:custGeom>
                <a:avLst/>
                <a:gdLst>
                  <a:gd name="T0" fmla="*/ 40 w 41"/>
                  <a:gd name="T1" fmla="*/ 51 h 55"/>
                  <a:gd name="T2" fmla="*/ 41 w 41"/>
                  <a:gd name="T3" fmla="*/ 46 h 55"/>
                  <a:gd name="T4" fmla="*/ 40 w 41"/>
                  <a:gd name="T5" fmla="*/ 43 h 55"/>
                  <a:gd name="T6" fmla="*/ 40 w 41"/>
                  <a:gd name="T7" fmla="*/ 42 h 55"/>
                  <a:gd name="T8" fmla="*/ 40 w 41"/>
                  <a:gd name="T9" fmla="*/ 42 h 55"/>
                  <a:gd name="T10" fmla="*/ 40 w 41"/>
                  <a:gd name="T11" fmla="*/ 37 h 55"/>
                  <a:gd name="T12" fmla="*/ 35 w 41"/>
                  <a:gd name="T13" fmla="*/ 34 h 55"/>
                  <a:gd name="T14" fmla="*/ 34 w 41"/>
                  <a:gd name="T15" fmla="*/ 33 h 55"/>
                  <a:gd name="T16" fmla="*/ 31 w 41"/>
                  <a:gd name="T17" fmla="*/ 32 h 55"/>
                  <a:gd name="T18" fmla="*/ 27 w 41"/>
                  <a:gd name="T19" fmla="*/ 31 h 55"/>
                  <a:gd name="T20" fmla="*/ 25 w 41"/>
                  <a:gd name="T21" fmla="*/ 30 h 55"/>
                  <a:gd name="T22" fmla="*/ 22 w 41"/>
                  <a:gd name="T23" fmla="*/ 29 h 55"/>
                  <a:gd name="T24" fmla="*/ 21 w 41"/>
                  <a:gd name="T25" fmla="*/ 27 h 55"/>
                  <a:gd name="T26" fmla="*/ 19 w 41"/>
                  <a:gd name="T27" fmla="*/ 25 h 55"/>
                  <a:gd name="T28" fmla="*/ 18 w 41"/>
                  <a:gd name="T29" fmla="*/ 23 h 55"/>
                  <a:gd name="T30" fmla="*/ 18 w 41"/>
                  <a:gd name="T31" fmla="*/ 20 h 55"/>
                  <a:gd name="T32" fmla="*/ 13 w 41"/>
                  <a:gd name="T33" fmla="*/ 14 h 55"/>
                  <a:gd name="T34" fmla="*/ 13 w 41"/>
                  <a:gd name="T35" fmla="*/ 12 h 55"/>
                  <a:gd name="T36" fmla="*/ 9 w 41"/>
                  <a:gd name="T37" fmla="*/ 7 h 55"/>
                  <a:gd name="T38" fmla="*/ 8 w 41"/>
                  <a:gd name="T39" fmla="*/ 5 h 55"/>
                  <a:gd name="T40" fmla="*/ 3 w 41"/>
                  <a:gd name="T41" fmla="*/ 0 h 55"/>
                  <a:gd name="T42" fmla="*/ 1 w 41"/>
                  <a:gd name="T43" fmla="*/ 4 h 55"/>
                  <a:gd name="T44" fmla="*/ 1 w 41"/>
                  <a:gd name="T45" fmla="*/ 5 h 55"/>
                  <a:gd name="T46" fmla="*/ 4 w 41"/>
                  <a:gd name="T47" fmla="*/ 6 h 55"/>
                  <a:gd name="T48" fmla="*/ 4 w 41"/>
                  <a:gd name="T49" fmla="*/ 8 h 55"/>
                  <a:gd name="T50" fmla="*/ 4 w 41"/>
                  <a:gd name="T51" fmla="*/ 11 h 55"/>
                  <a:gd name="T52" fmla="*/ 9 w 41"/>
                  <a:gd name="T53" fmla="*/ 10 h 55"/>
                  <a:gd name="T54" fmla="*/ 8 w 41"/>
                  <a:gd name="T55" fmla="*/ 13 h 55"/>
                  <a:gd name="T56" fmla="*/ 8 w 41"/>
                  <a:gd name="T57" fmla="*/ 14 h 55"/>
                  <a:gd name="T58" fmla="*/ 10 w 41"/>
                  <a:gd name="T59" fmla="*/ 18 h 55"/>
                  <a:gd name="T60" fmla="*/ 6 w 41"/>
                  <a:gd name="T61" fmla="*/ 20 h 55"/>
                  <a:gd name="T62" fmla="*/ 13 w 41"/>
                  <a:gd name="T63" fmla="*/ 21 h 55"/>
                  <a:gd name="T64" fmla="*/ 14 w 41"/>
                  <a:gd name="T65" fmla="*/ 25 h 55"/>
                  <a:gd name="T66" fmla="*/ 17 w 41"/>
                  <a:gd name="T67" fmla="*/ 28 h 55"/>
                  <a:gd name="T68" fmla="*/ 18 w 41"/>
                  <a:gd name="T69" fmla="*/ 29 h 55"/>
                  <a:gd name="T70" fmla="*/ 20 w 41"/>
                  <a:gd name="T71" fmla="*/ 32 h 55"/>
                  <a:gd name="T72" fmla="*/ 23 w 41"/>
                  <a:gd name="T73" fmla="*/ 35 h 55"/>
                  <a:gd name="T74" fmla="*/ 21 w 41"/>
                  <a:gd name="T75" fmla="*/ 38 h 55"/>
                  <a:gd name="T76" fmla="*/ 20 w 41"/>
                  <a:gd name="T77" fmla="*/ 41 h 55"/>
                  <a:gd name="T78" fmla="*/ 22 w 41"/>
                  <a:gd name="T79" fmla="*/ 44 h 55"/>
                  <a:gd name="T80" fmla="*/ 24 w 41"/>
                  <a:gd name="T81" fmla="*/ 40 h 55"/>
                  <a:gd name="T82" fmla="*/ 26 w 41"/>
                  <a:gd name="T83" fmla="*/ 38 h 55"/>
                  <a:gd name="T84" fmla="*/ 30 w 41"/>
                  <a:gd name="T85" fmla="*/ 38 h 55"/>
                  <a:gd name="T86" fmla="*/ 33 w 41"/>
                  <a:gd name="T87" fmla="*/ 42 h 55"/>
                  <a:gd name="T88" fmla="*/ 36 w 41"/>
                  <a:gd name="T89" fmla="*/ 47 h 55"/>
                  <a:gd name="T90" fmla="*/ 33 w 41"/>
                  <a:gd name="T91" fmla="*/ 50 h 55"/>
                  <a:gd name="T92" fmla="*/ 33 w 41"/>
                  <a:gd name="T93" fmla="*/ 53 h 55"/>
                  <a:gd name="T94" fmla="*/ 39 w 41"/>
                  <a:gd name="T95" fmla="*/ 52 h 55"/>
                  <a:gd name="T96" fmla="*/ 39 w 41"/>
                  <a:gd name="T97" fmla="*/ 5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 h="55">
                    <a:moveTo>
                      <a:pt x="39" y="51"/>
                    </a:moveTo>
                    <a:cubicBezTo>
                      <a:pt x="40" y="51"/>
                      <a:pt x="40" y="51"/>
                      <a:pt x="40" y="51"/>
                    </a:cubicBezTo>
                    <a:cubicBezTo>
                      <a:pt x="40" y="50"/>
                      <a:pt x="41" y="48"/>
                      <a:pt x="41" y="47"/>
                    </a:cubicBezTo>
                    <a:cubicBezTo>
                      <a:pt x="41" y="47"/>
                      <a:pt x="41" y="46"/>
                      <a:pt x="41" y="46"/>
                    </a:cubicBezTo>
                    <a:cubicBezTo>
                      <a:pt x="40" y="45"/>
                      <a:pt x="40" y="44"/>
                      <a:pt x="40" y="44"/>
                    </a:cubicBezTo>
                    <a:cubicBezTo>
                      <a:pt x="40" y="43"/>
                      <a:pt x="40" y="43"/>
                      <a:pt x="40" y="43"/>
                    </a:cubicBezTo>
                    <a:cubicBezTo>
                      <a:pt x="40" y="43"/>
                      <a:pt x="40" y="43"/>
                      <a:pt x="40" y="42"/>
                    </a:cubicBezTo>
                    <a:cubicBezTo>
                      <a:pt x="40" y="42"/>
                      <a:pt x="40" y="42"/>
                      <a:pt x="40" y="42"/>
                    </a:cubicBezTo>
                    <a:cubicBezTo>
                      <a:pt x="40" y="42"/>
                      <a:pt x="40" y="42"/>
                      <a:pt x="40" y="42"/>
                    </a:cubicBezTo>
                    <a:cubicBezTo>
                      <a:pt x="40" y="42"/>
                      <a:pt x="40" y="42"/>
                      <a:pt x="40" y="42"/>
                    </a:cubicBezTo>
                    <a:cubicBezTo>
                      <a:pt x="40" y="40"/>
                      <a:pt x="40" y="39"/>
                      <a:pt x="41" y="38"/>
                    </a:cubicBezTo>
                    <a:cubicBezTo>
                      <a:pt x="41" y="38"/>
                      <a:pt x="41" y="38"/>
                      <a:pt x="40" y="37"/>
                    </a:cubicBezTo>
                    <a:cubicBezTo>
                      <a:pt x="40" y="37"/>
                      <a:pt x="40" y="37"/>
                      <a:pt x="40" y="37"/>
                    </a:cubicBezTo>
                    <a:cubicBezTo>
                      <a:pt x="40" y="36"/>
                      <a:pt x="36" y="34"/>
                      <a:pt x="35" y="34"/>
                    </a:cubicBezTo>
                    <a:cubicBezTo>
                      <a:pt x="35" y="34"/>
                      <a:pt x="35" y="34"/>
                      <a:pt x="35" y="34"/>
                    </a:cubicBezTo>
                    <a:cubicBezTo>
                      <a:pt x="34" y="34"/>
                      <a:pt x="34" y="33"/>
                      <a:pt x="34" y="33"/>
                    </a:cubicBezTo>
                    <a:cubicBezTo>
                      <a:pt x="33" y="33"/>
                      <a:pt x="32" y="33"/>
                      <a:pt x="32" y="32"/>
                    </a:cubicBezTo>
                    <a:cubicBezTo>
                      <a:pt x="31" y="32"/>
                      <a:pt x="31" y="32"/>
                      <a:pt x="31" y="32"/>
                    </a:cubicBezTo>
                    <a:cubicBezTo>
                      <a:pt x="30" y="32"/>
                      <a:pt x="30" y="32"/>
                      <a:pt x="29" y="32"/>
                    </a:cubicBezTo>
                    <a:cubicBezTo>
                      <a:pt x="28" y="31"/>
                      <a:pt x="28" y="31"/>
                      <a:pt x="27" y="31"/>
                    </a:cubicBezTo>
                    <a:cubicBezTo>
                      <a:pt x="27" y="30"/>
                      <a:pt x="27" y="30"/>
                      <a:pt x="27" y="30"/>
                    </a:cubicBezTo>
                    <a:cubicBezTo>
                      <a:pt x="26" y="30"/>
                      <a:pt x="26" y="30"/>
                      <a:pt x="25" y="30"/>
                    </a:cubicBezTo>
                    <a:cubicBezTo>
                      <a:pt x="24" y="30"/>
                      <a:pt x="23" y="30"/>
                      <a:pt x="23" y="29"/>
                    </a:cubicBezTo>
                    <a:cubicBezTo>
                      <a:pt x="22" y="29"/>
                      <a:pt x="22" y="29"/>
                      <a:pt x="22" y="29"/>
                    </a:cubicBezTo>
                    <a:cubicBezTo>
                      <a:pt x="22" y="28"/>
                      <a:pt x="22" y="28"/>
                      <a:pt x="22" y="28"/>
                    </a:cubicBezTo>
                    <a:cubicBezTo>
                      <a:pt x="22" y="28"/>
                      <a:pt x="22" y="28"/>
                      <a:pt x="21" y="27"/>
                    </a:cubicBezTo>
                    <a:cubicBezTo>
                      <a:pt x="21" y="27"/>
                      <a:pt x="20" y="26"/>
                      <a:pt x="20" y="25"/>
                    </a:cubicBezTo>
                    <a:cubicBezTo>
                      <a:pt x="19" y="25"/>
                      <a:pt x="19" y="25"/>
                      <a:pt x="19" y="25"/>
                    </a:cubicBezTo>
                    <a:cubicBezTo>
                      <a:pt x="19" y="25"/>
                      <a:pt x="19" y="25"/>
                      <a:pt x="19" y="25"/>
                    </a:cubicBezTo>
                    <a:cubicBezTo>
                      <a:pt x="19" y="24"/>
                      <a:pt x="18" y="24"/>
                      <a:pt x="18" y="23"/>
                    </a:cubicBezTo>
                    <a:cubicBezTo>
                      <a:pt x="17" y="22"/>
                      <a:pt x="17" y="21"/>
                      <a:pt x="18" y="20"/>
                    </a:cubicBezTo>
                    <a:cubicBezTo>
                      <a:pt x="18" y="20"/>
                      <a:pt x="18" y="20"/>
                      <a:pt x="18" y="20"/>
                    </a:cubicBezTo>
                    <a:cubicBezTo>
                      <a:pt x="18" y="19"/>
                      <a:pt x="17" y="19"/>
                      <a:pt x="17" y="18"/>
                    </a:cubicBezTo>
                    <a:cubicBezTo>
                      <a:pt x="16" y="17"/>
                      <a:pt x="15" y="15"/>
                      <a:pt x="13" y="14"/>
                    </a:cubicBezTo>
                    <a:cubicBezTo>
                      <a:pt x="13" y="14"/>
                      <a:pt x="13" y="14"/>
                      <a:pt x="13" y="14"/>
                    </a:cubicBezTo>
                    <a:cubicBezTo>
                      <a:pt x="13" y="12"/>
                      <a:pt x="13" y="12"/>
                      <a:pt x="13" y="12"/>
                    </a:cubicBezTo>
                    <a:cubicBezTo>
                      <a:pt x="12" y="12"/>
                      <a:pt x="12" y="11"/>
                      <a:pt x="11" y="10"/>
                    </a:cubicBezTo>
                    <a:cubicBezTo>
                      <a:pt x="10" y="9"/>
                      <a:pt x="10" y="8"/>
                      <a:pt x="9" y="7"/>
                    </a:cubicBezTo>
                    <a:cubicBezTo>
                      <a:pt x="9" y="6"/>
                      <a:pt x="8" y="6"/>
                      <a:pt x="8" y="5"/>
                    </a:cubicBezTo>
                    <a:cubicBezTo>
                      <a:pt x="8" y="5"/>
                      <a:pt x="8" y="5"/>
                      <a:pt x="8" y="5"/>
                    </a:cubicBezTo>
                    <a:cubicBezTo>
                      <a:pt x="7" y="4"/>
                      <a:pt x="7" y="3"/>
                      <a:pt x="6" y="3"/>
                    </a:cubicBezTo>
                    <a:cubicBezTo>
                      <a:pt x="3" y="0"/>
                      <a:pt x="3" y="0"/>
                      <a:pt x="3" y="0"/>
                    </a:cubicBezTo>
                    <a:cubicBezTo>
                      <a:pt x="2" y="1"/>
                      <a:pt x="2" y="1"/>
                      <a:pt x="1" y="2"/>
                    </a:cubicBezTo>
                    <a:cubicBezTo>
                      <a:pt x="1" y="3"/>
                      <a:pt x="1" y="3"/>
                      <a:pt x="1" y="4"/>
                    </a:cubicBezTo>
                    <a:cubicBezTo>
                      <a:pt x="1" y="4"/>
                      <a:pt x="1" y="4"/>
                      <a:pt x="1" y="4"/>
                    </a:cubicBezTo>
                    <a:cubicBezTo>
                      <a:pt x="1" y="4"/>
                      <a:pt x="1" y="5"/>
                      <a:pt x="1" y="5"/>
                    </a:cubicBezTo>
                    <a:cubicBezTo>
                      <a:pt x="0" y="6"/>
                      <a:pt x="0" y="7"/>
                      <a:pt x="2" y="8"/>
                    </a:cubicBezTo>
                    <a:cubicBezTo>
                      <a:pt x="4" y="8"/>
                      <a:pt x="3" y="6"/>
                      <a:pt x="4" y="6"/>
                    </a:cubicBezTo>
                    <a:cubicBezTo>
                      <a:pt x="4" y="7"/>
                      <a:pt x="3" y="7"/>
                      <a:pt x="4" y="8"/>
                    </a:cubicBezTo>
                    <a:cubicBezTo>
                      <a:pt x="5" y="9"/>
                      <a:pt x="4" y="8"/>
                      <a:pt x="4" y="8"/>
                    </a:cubicBezTo>
                    <a:cubicBezTo>
                      <a:pt x="3" y="9"/>
                      <a:pt x="3" y="9"/>
                      <a:pt x="3" y="10"/>
                    </a:cubicBezTo>
                    <a:cubicBezTo>
                      <a:pt x="4" y="10"/>
                      <a:pt x="4" y="10"/>
                      <a:pt x="4" y="11"/>
                    </a:cubicBezTo>
                    <a:cubicBezTo>
                      <a:pt x="5" y="10"/>
                      <a:pt x="5" y="9"/>
                      <a:pt x="6" y="9"/>
                    </a:cubicBezTo>
                    <a:cubicBezTo>
                      <a:pt x="7" y="9"/>
                      <a:pt x="8" y="9"/>
                      <a:pt x="9" y="10"/>
                    </a:cubicBezTo>
                    <a:cubicBezTo>
                      <a:pt x="8" y="10"/>
                      <a:pt x="6" y="9"/>
                      <a:pt x="6" y="10"/>
                    </a:cubicBezTo>
                    <a:cubicBezTo>
                      <a:pt x="5" y="11"/>
                      <a:pt x="7" y="13"/>
                      <a:pt x="8" y="13"/>
                    </a:cubicBezTo>
                    <a:cubicBezTo>
                      <a:pt x="7" y="13"/>
                      <a:pt x="5" y="12"/>
                      <a:pt x="5" y="13"/>
                    </a:cubicBezTo>
                    <a:cubicBezTo>
                      <a:pt x="4" y="15"/>
                      <a:pt x="7" y="14"/>
                      <a:pt x="8" y="14"/>
                    </a:cubicBezTo>
                    <a:cubicBezTo>
                      <a:pt x="7" y="15"/>
                      <a:pt x="6" y="15"/>
                      <a:pt x="6" y="16"/>
                    </a:cubicBezTo>
                    <a:cubicBezTo>
                      <a:pt x="7" y="18"/>
                      <a:pt x="8" y="18"/>
                      <a:pt x="10" y="18"/>
                    </a:cubicBezTo>
                    <a:cubicBezTo>
                      <a:pt x="9" y="19"/>
                      <a:pt x="9" y="18"/>
                      <a:pt x="7" y="19"/>
                    </a:cubicBezTo>
                    <a:cubicBezTo>
                      <a:pt x="6" y="19"/>
                      <a:pt x="7" y="20"/>
                      <a:pt x="6" y="20"/>
                    </a:cubicBezTo>
                    <a:cubicBezTo>
                      <a:pt x="7" y="20"/>
                      <a:pt x="9" y="20"/>
                      <a:pt x="10" y="20"/>
                    </a:cubicBezTo>
                    <a:cubicBezTo>
                      <a:pt x="11" y="21"/>
                      <a:pt x="13" y="22"/>
                      <a:pt x="13" y="21"/>
                    </a:cubicBezTo>
                    <a:cubicBezTo>
                      <a:pt x="14" y="24"/>
                      <a:pt x="13" y="23"/>
                      <a:pt x="12" y="23"/>
                    </a:cubicBezTo>
                    <a:cubicBezTo>
                      <a:pt x="13" y="24"/>
                      <a:pt x="13" y="25"/>
                      <a:pt x="14" y="25"/>
                    </a:cubicBezTo>
                    <a:cubicBezTo>
                      <a:pt x="15" y="26"/>
                      <a:pt x="16" y="26"/>
                      <a:pt x="18" y="25"/>
                    </a:cubicBezTo>
                    <a:cubicBezTo>
                      <a:pt x="17" y="26"/>
                      <a:pt x="16" y="27"/>
                      <a:pt x="17" y="28"/>
                    </a:cubicBezTo>
                    <a:cubicBezTo>
                      <a:pt x="17" y="27"/>
                      <a:pt x="16" y="27"/>
                      <a:pt x="16" y="28"/>
                    </a:cubicBezTo>
                    <a:cubicBezTo>
                      <a:pt x="16" y="28"/>
                      <a:pt x="17" y="29"/>
                      <a:pt x="18" y="29"/>
                    </a:cubicBezTo>
                    <a:cubicBezTo>
                      <a:pt x="18" y="29"/>
                      <a:pt x="19" y="30"/>
                      <a:pt x="20" y="31"/>
                    </a:cubicBezTo>
                    <a:cubicBezTo>
                      <a:pt x="20" y="31"/>
                      <a:pt x="20" y="31"/>
                      <a:pt x="20" y="32"/>
                    </a:cubicBezTo>
                    <a:cubicBezTo>
                      <a:pt x="20" y="32"/>
                      <a:pt x="21" y="32"/>
                      <a:pt x="22" y="33"/>
                    </a:cubicBezTo>
                    <a:cubicBezTo>
                      <a:pt x="23" y="33"/>
                      <a:pt x="23" y="34"/>
                      <a:pt x="23" y="35"/>
                    </a:cubicBezTo>
                    <a:cubicBezTo>
                      <a:pt x="21" y="35"/>
                      <a:pt x="23" y="36"/>
                      <a:pt x="22" y="37"/>
                    </a:cubicBezTo>
                    <a:cubicBezTo>
                      <a:pt x="22" y="38"/>
                      <a:pt x="22" y="38"/>
                      <a:pt x="21" y="38"/>
                    </a:cubicBezTo>
                    <a:cubicBezTo>
                      <a:pt x="21" y="38"/>
                      <a:pt x="21" y="40"/>
                      <a:pt x="21" y="40"/>
                    </a:cubicBezTo>
                    <a:cubicBezTo>
                      <a:pt x="20" y="40"/>
                      <a:pt x="20" y="40"/>
                      <a:pt x="20" y="41"/>
                    </a:cubicBezTo>
                    <a:cubicBezTo>
                      <a:pt x="18" y="40"/>
                      <a:pt x="19" y="42"/>
                      <a:pt x="20" y="43"/>
                    </a:cubicBezTo>
                    <a:cubicBezTo>
                      <a:pt x="20" y="43"/>
                      <a:pt x="22" y="45"/>
                      <a:pt x="22" y="44"/>
                    </a:cubicBezTo>
                    <a:cubicBezTo>
                      <a:pt x="22" y="43"/>
                      <a:pt x="22" y="43"/>
                      <a:pt x="22" y="42"/>
                    </a:cubicBezTo>
                    <a:cubicBezTo>
                      <a:pt x="22" y="42"/>
                      <a:pt x="24" y="41"/>
                      <a:pt x="24" y="40"/>
                    </a:cubicBezTo>
                    <a:cubicBezTo>
                      <a:pt x="24" y="40"/>
                      <a:pt x="23" y="40"/>
                      <a:pt x="23" y="39"/>
                    </a:cubicBezTo>
                    <a:cubicBezTo>
                      <a:pt x="24" y="39"/>
                      <a:pt x="25" y="38"/>
                      <a:pt x="26" y="38"/>
                    </a:cubicBezTo>
                    <a:cubicBezTo>
                      <a:pt x="28" y="37"/>
                      <a:pt x="30" y="37"/>
                      <a:pt x="31" y="36"/>
                    </a:cubicBezTo>
                    <a:cubicBezTo>
                      <a:pt x="31" y="36"/>
                      <a:pt x="30" y="37"/>
                      <a:pt x="30" y="38"/>
                    </a:cubicBezTo>
                    <a:cubicBezTo>
                      <a:pt x="30" y="38"/>
                      <a:pt x="31" y="39"/>
                      <a:pt x="31" y="39"/>
                    </a:cubicBezTo>
                    <a:cubicBezTo>
                      <a:pt x="32" y="40"/>
                      <a:pt x="33" y="41"/>
                      <a:pt x="33" y="42"/>
                    </a:cubicBezTo>
                    <a:cubicBezTo>
                      <a:pt x="33" y="43"/>
                      <a:pt x="33" y="44"/>
                      <a:pt x="33" y="45"/>
                    </a:cubicBezTo>
                    <a:cubicBezTo>
                      <a:pt x="33" y="48"/>
                      <a:pt x="34" y="46"/>
                      <a:pt x="36" y="47"/>
                    </a:cubicBezTo>
                    <a:cubicBezTo>
                      <a:pt x="34" y="48"/>
                      <a:pt x="32" y="47"/>
                      <a:pt x="31" y="49"/>
                    </a:cubicBezTo>
                    <a:cubicBezTo>
                      <a:pt x="31" y="50"/>
                      <a:pt x="32" y="50"/>
                      <a:pt x="33" y="50"/>
                    </a:cubicBezTo>
                    <a:cubicBezTo>
                      <a:pt x="33" y="50"/>
                      <a:pt x="32" y="51"/>
                      <a:pt x="32" y="51"/>
                    </a:cubicBezTo>
                    <a:cubicBezTo>
                      <a:pt x="32" y="52"/>
                      <a:pt x="32" y="52"/>
                      <a:pt x="33" y="53"/>
                    </a:cubicBezTo>
                    <a:cubicBezTo>
                      <a:pt x="33" y="54"/>
                      <a:pt x="32" y="55"/>
                      <a:pt x="35" y="55"/>
                    </a:cubicBezTo>
                    <a:cubicBezTo>
                      <a:pt x="37" y="55"/>
                      <a:pt x="38" y="53"/>
                      <a:pt x="39" y="52"/>
                    </a:cubicBezTo>
                    <a:cubicBezTo>
                      <a:pt x="39" y="52"/>
                      <a:pt x="39" y="52"/>
                      <a:pt x="40" y="51"/>
                    </a:cubicBezTo>
                    <a:lnTo>
                      <a:pt x="39"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5" name="Freeform 3007">
                <a:extLst>
                  <a:ext uri="{FF2B5EF4-FFF2-40B4-BE49-F238E27FC236}">
                    <a16:creationId xmlns:a16="http://schemas.microsoft.com/office/drawing/2014/main" id="{374DD724-D13B-4D4C-9351-C105ECC603E5}"/>
                  </a:ext>
                </a:extLst>
              </p:cNvPr>
              <p:cNvSpPr>
                <a:spLocks noEditPoints="1"/>
              </p:cNvSpPr>
              <p:nvPr/>
            </p:nvSpPr>
            <p:spPr bwMode="auto">
              <a:xfrm>
                <a:off x="147" y="637"/>
                <a:ext cx="2130" cy="1063"/>
              </a:xfrm>
              <a:custGeom>
                <a:avLst/>
                <a:gdLst>
                  <a:gd name="T0" fmla="*/ 870 w 901"/>
                  <a:gd name="T1" fmla="*/ 349 h 449"/>
                  <a:gd name="T2" fmla="*/ 838 w 901"/>
                  <a:gd name="T3" fmla="*/ 293 h 449"/>
                  <a:gd name="T4" fmla="*/ 805 w 901"/>
                  <a:gd name="T5" fmla="*/ 256 h 449"/>
                  <a:gd name="T6" fmla="*/ 777 w 901"/>
                  <a:gd name="T7" fmla="*/ 199 h 449"/>
                  <a:gd name="T8" fmla="*/ 773 w 901"/>
                  <a:gd name="T9" fmla="*/ 212 h 449"/>
                  <a:gd name="T10" fmla="*/ 769 w 901"/>
                  <a:gd name="T11" fmla="*/ 219 h 449"/>
                  <a:gd name="T12" fmla="*/ 765 w 901"/>
                  <a:gd name="T13" fmla="*/ 225 h 449"/>
                  <a:gd name="T14" fmla="*/ 747 w 901"/>
                  <a:gd name="T15" fmla="*/ 233 h 449"/>
                  <a:gd name="T16" fmla="*/ 742 w 901"/>
                  <a:gd name="T17" fmla="*/ 228 h 449"/>
                  <a:gd name="T18" fmla="*/ 742 w 901"/>
                  <a:gd name="T19" fmla="*/ 229 h 449"/>
                  <a:gd name="T20" fmla="*/ 723 w 901"/>
                  <a:gd name="T21" fmla="*/ 223 h 449"/>
                  <a:gd name="T22" fmla="*/ 730 w 901"/>
                  <a:gd name="T23" fmla="*/ 218 h 449"/>
                  <a:gd name="T24" fmla="*/ 728 w 901"/>
                  <a:gd name="T25" fmla="*/ 201 h 449"/>
                  <a:gd name="T26" fmla="*/ 666 w 901"/>
                  <a:gd name="T27" fmla="*/ 169 h 449"/>
                  <a:gd name="T28" fmla="*/ 647 w 901"/>
                  <a:gd name="T29" fmla="*/ 209 h 449"/>
                  <a:gd name="T30" fmla="*/ 639 w 901"/>
                  <a:gd name="T31" fmla="*/ 220 h 449"/>
                  <a:gd name="T32" fmla="*/ 648 w 901"/>
                  <a:gd name="T33" fmla="*/ 232 h 449"/>
                  <a:gd name="T34" fmla="*/ 656 w 901"/>
                  <a:gd name="T35" fmla="*/ 261 h 449"/>
                  <a:gd name="T36" fmla="*/ 629 w 901"/>
                  <a:gd name="T37" fmla="*/ 290 h 449"/>
                  <a:gd name="T38" fmla="*/ 634 w 901"/>
                  <a:gd name="T39" fmla="*/ 306 h 449"/>
                  <a:gd name="T40" fmla="*/ 632 w 901"/>
                  <a:gd name="T41" fmla="*/ 326 h 449"/>
                  <a:gd name="T42" fmla="*/ 612 w 901"/>
                  <a:gd name="T43" fmla="*/ 332 h 449"/>
                  <a:gd name="T44" fmla="*/ 604 w 901"/>
                  <a:gd name="T45" fmla="*/ 316 h 449"/>
                  <a:gd name="T46" fmla="*/ 592 w 901"/>
                  <a:gd name="T47" fmla="*/ 276 h 449"/>
                  <a:gd name="T48" fmla="*/ 568 w 901"/>
                  <a:gd name="T49" fmla="*/ 274 h 449"/>
                  <a:gd name="T50" fmla="*/ 471 w 901"/>
                  <a:gd name="T51" fmla="*/ 196 h 449"/>
                  <a:gd name="T52" fmla="*/ 537 w 901"/>
                  <a:gd name="T53" fmla="*/ 139 h 449"/>
                  <a:gd name="T54" fmla="*/ 589 w 901"/>
                  <a:gd name="T55" fmla="*/ 101 h 449"/>
                  <a:gd name="T56" fmla="*/ 538 w 901"/>
                  <a:gd name="T57" fmla="*/ 69 h 449"/>
                  <a:gd name="T58" fmla="*/ 453 w 901"/>
                  <a:gd name="T59" fmla="*/ 17 h 449"/>
                  <a:gd name="T60" fmla="*/ 454 w 901"/>
                  <a:gd name="T61" fmla="*/ 72 h 449"/>
                  <a:gd name="T62" fmla="*/ 342 w 901"/>
                  <a:gd name="T63" fmla="*/ 90 h 449"/>
                  <a:gd name="T64" fmla="*/ 164 w 901"/>
                  <a:gd name="T65" fmla="*/ 37 h 449"/>
                  <a:gd name="T66" fmla="*/ 68 w 901"/>
                  <a:gd name="T67" fmla="*/ 46 h 449"/>
                  <a:gd name="T68" fmla="*/ 39 w 901"/>
                  <a:gd name="T69" fmla="*/ 216 h 449"/>
                  <a:gd name="T70" fmla="*/ 111 w 901"/>
                  <a:gd name="T71" fmla="*/ 284 h 449"/>
                  <a:gd name="T72" fmla="*/ 126 w 901"/>
                  <a:gd name="T73" fmla="*/ 308 h 449"/>
                  <a:gd name="T74" fmla="*/ 141 w 901"/>
                  <a:gd name="T75" fmla="*/ 324 h 449"/>
                  <a:gd name="T76" fmla="*/ 167 w 901"/>
                  <a:gd name="T77" fmla="*/ 340 h 449"/>
                  <a:gd name="T78" fmla="*/ 513 w 901"/>
                  <a:gd name="T79" fmla="*/ 370 h 449"/>
                  <a:gd name="T80" fmla="*/ 532 w 901"/>
                  <a:gd name="T81" fmla="*/ 365 h 449"/>
                  <a:gd name="T82" fmla="*/ 536 w 901"/>
                  <a:gd name="T83" fmla="*/ 364 h 449"/>
                  <a:gd name="T84" fmla="*/ 548 w 901"/>
                  <a:gd name="T85" fmla="*/ 363 h 449"/>
                  <a:gd name="T86" fmla="*/ 566 w 901"/>
                  <a:gd name="T87" fmla="*/ 374 h 449"/>
                  <a:gd name="T88" fmla="*/ 573 w 901"/>
                  <a:gd name="T89" fmla="*/ 385 h 449"/>
                  <a:gd name="T90" fmla="*/ 595 w 901"/>
                  <a:gd name="T91" fmla="*/ 396 h 449"/>
                  <a:gd name="T92" fmla="*/ 621 w 901"/>
                  <a:gd name="T93" fmla="*/ 407 h 449"/>
                  <a:gd name="T94" fmla="*/ 609 w 901"/>
                  <a:gd name="T95" fmla="*/ 410 h 449"/>
                  <a:gd name="T96" fmla="*/ 609 w 901"/>
                  <a:gd name="T97" fmla="*/ 414 h 449"/>
                  <a:gd name="T98" fmla="*/ 606 w 901"/>
                  <a:gd name="T99" fmla="*/ 442 h 449"/>
                  <a:gd name="T100" fmla="*/ 651 w 901"/>
                  <a:gd name="T101" fmla="*/ 422 h 449"/>
                  <a:gd name="T102" fmla="*/ 763 w 901"/>
                  <a:gd name="T103" fmla="*/ 426 h 449"/>
                  <a:gd name="T104" fmla="*/ 772 w 901"/>
                  <a:gd name="T105" fmla="*/ 373 h 449"/>
                  <a:gd name="T106" fmla="*/ 780 w 901"/>
                  <a:gd name="T107" fmla="*/ 359 h 449"/>
                  <a:gd name="T108" fmla="*/ 717 w 901"/>
                  <a:gd name="T109" fmla="*/ 383 h 449"/>
                  <a:gd name="T110" fmla="*/ 718 w 901"/>
                  <a:gd name="T111" fmla="*/ 368 h 449"/>
                  <a:gd name="T112" fmla="*/ 733 w 901"/>
                  <a:gd name="T113" fmla="*/ 365 h 449"/>
                  <a:gd name="T114" fmla="*/ 758 w 901"/>
                  <a:gd name="T115" fmla="*/ 344 h 449"/>
                  <a:gd name="T116" fmla="*/ 845 w 901"/>
                  <a:gd name="T117" fmla="*/ 352 h 449"/>
                  <a:gd name="T118" fmla="*/ 880 w 901"/>
                  <a:gd name="T119" fmla="*/ 375 h 449"/>
                  <a:gd name="T120" fmla="*/ 197 w 901"/>
                  <a:gd name="T121" fmla="*/ 121 h 449"/>
                  <a:gd name="T122" fmla="*/ 292 w 901"/>
                  <a:gd name="T123" fmla="*/ 180 h 449"/>
                  <a:gd name="T124" fmla="*/ 443 w 901"/>
                  <a:gd name="T125" fmla="*/ 318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1" h="449">
                    <a:moveTo>
                      <a:pt x="901" y="373"/>
                    </a:moveTo>
                    <a:cubicBezTo>
                      <a:pt x="901" y="373"/>
                      <a:pt x="900" y="372"/>
                      <a:pt x="899" y="372"/>
                    </a:cubicBezTo>
                    <a:cubicBezTo>
                      <a:pt x="899" y="373"/>
                      <a:pt x="897" y="374"/>
                      <a:pt x="896" y="375"/>
                    </a:cubicBezTo>
                    <a:cubicBezTo>
                      <a:pt x="896" y="375"/>
                      <a:pt x="896" y="375"/>
                      <a:pt x="896" y="375"/>
                    </a:cubicBezTo>
                    <a:cubicBezTo>
                      <a:pt x="895" y="373"/>
                      <a:pt x="896" y="372"/>
                      <a:pt x="896" y="370"/>
                    </a:cubicBezTo>
                    <a:cubicBezTo>
                      <a:pt x="896" y="370"/>
                      <a:pt x="897" y="369"/>
                      <a:pt x="897" y="369"/>
                    </a:cubicBezTo>
                    <a:cubicBezTo>
                      <a:pt x="897" y="368"/>
                      <a:pt x="898" y="366"/>
                      <a:pt x="899" y="366"/>
                    </a:cubicBezTo>
                    <a:cubicBezTo>
                      <a:pt x="898" y="366"/>
                      <a:pt x="897" y="366"/>
                      <a:pt x="896" y="366"/>
                    </a:cubicBezTo>
                    <a:cubicBezTo>
                      <a:pt x="896" y="367"/>
                      <a:pt x="896" y="367"/>
                      <a:pt x="896" y="367"/>
                    </a:cubicBezTo>
                    <a:cubicBezTo>
                      <a:pt x="895" y="367"/>
                      <a:pt x="894" y="368"/>
                      <a:pt x="894" y="369"/>
                    </a:cubicBezTo>
                    <a:cubicBezTo>
                      <a:pt x="894" y="369"/>
                      <a:pt x="894" y="369"/>
                      <a:pt x="894" y="369"/>
                    </a:cubicBezTo>
                    <a:cubicBezTo>
                      <a:pt x="894" y="369"/>
                      <a:pt x="894" y="369"/>
                      <a:pt x="894" y="369"/>
                    </a:cubicBezTo>
                    <a:cubicBezTo>
                      <a:pt x="893" y="369"/>
                      <a:pt x="893" y="369"/>
                      <a:pt x="893" y="370"/>
                    </a:cubicBezTo>
                    <a:cubicBezTo>
                      <a:pt x="892" y="371"/>
                      <a:pt x="892" y="372"/>
                      <a:pt x="892" y="372"/>
                    </a:cubicBezTo>
                    <a:cubicBezTo>
                      <a:pt x="892" y="372"/>
                      <a:pt x="892" y="372"/>
                      <a:pt x="892" y="373"/>
                    </a:cubicBezTo>
                    <a:cubicBezTo>
                      <a:pt x="892" y="374"/>
                      <a:pt x="891" y="373"/>
                      <a:pt x="891" y="373"/>
                    </a:cubicBezTo>
                    <a:cubicBezTo>
                      <a:pt x="891" y="373"/>
                      <a:pt x="891" y="373"/>
                      <a:pt x="891" y="373"/>
                    </a:cubicBezTo>
                    <a:cubicBezTo>
                      <a:pt x="891" y="373"/>
                      <a:pt x="890" y="373"/>
                      <a:pt x="890" y="373"/>
                    </a:cubicBezTo>
                    <a:cubicBezTo>
                      <a:pt x="890" y="372"/>
                      <a:pt x="890" y="372"/>
                      <a:pt x="890" y="372"/>
                    </a:cubicBezTo>
                    <a:cubicBezTo>
                      <a:pt x="890" y="372"/>
                      <a:pt x="889" y="371"/>
                      <a:pt x="889" y="371"/>
                    </a:cubicBezTo>
                    <a:cubicBezTo>
                      <a:pt x="889" y="370"/>
                      <a:pt x="890" y="369"/>
                      <a:pt x="891" y="368"/>
                    </a:cubicBezTo>
                    <a:cubicBezTo>
                      <a:pt x="891" y="368"/>
                      <a:pt x="891" y="368"/>
                      <a:pt x="891" y="368"/>
                    </a:cubicBezTo>
                    <a:cubicBezTo>
                      <a:pt x="891" y="367"/>
                      <a:pt x="891" y="367"/>
                      <a:pt x="891" y="367"/>
                    </a:cubicBezTo>
                    <a:cubicBezTo>
                      <a:pt x="890" y="367"/>
                      <a:pt x="890" y="367"/>
                      <a:pt x="888" y="367"/>
                    </a:cubicBezTo>
                    <a:cubicBezTo>
                      <a:pt x="889" y="367"/>
                      <a:pt x="890" y="367"/>
                      <a:pt x="891" y="366"/>
                    </a:cubicBezTo>
                    <a:cubicBezTo>
                      <a:pt x="890" y="366"/>
                      <a:pt x="889" y="366"/>
                      <a:pt x="889" y="366"/>
                    </a:cubicBezTo>
                    <a:cubicBezTo>
                      <a:pt x="889" y="366"/>
                      <a:pt x="888" y="366"/>
                      <a:pt x="888" y="366"/>
                    </a:cubicBezTo>
                    <a:cubicBezTo>
                      <a:pt x="888" y="366"/>
                      <a:pt x="889" y="365"/>
                      <a:pt x="889" y="365"/>
                    </a:cubicBezTo>
                    <a:cubicBezTo>
                      <a:pt x="889" y="365"/>
                      <a:pt x="890" y="366"/>
                      <a:pt x="891" y="366"/>
                    </a:cubicBezTo>
                    <a:cubicBezTo>
                      <a:pt x="891" y="366"/>
                      <a:pt x="891" y="366"/>
                      <a:pt x="892" y="365"/>
                    </a:cubicBezTo>
                    <a:cubicBezTo>
                      <a:pt x="891" y="365"/>
                      <a:pt x="890" y="365"/>
                      <a:pt x="889" y="365"/>
                    </a:cubicBezTo>
                    <a:cubicBezTo>
                      <a:pt x="889" y="365"/>
                      <a:pt x="890" y="365"/>
                      <a:pt x="890" y="365"/>
                    </a:cubicBezTo>
                    <a:cubicBezTo>
                      <a:pt x="890" y="365"/>
                      <a:pt x="890" y="365"/>
                      <a:pt x="890" y="365"/>
                    </a:cubicBezTo>
                    <a:cubicBezTo>
                      <a:pt x="891" y="365"/>
                      <a:pt x="891" y="365"/>
                      <a:pt x="892" y="364"/>
                    </a:cubicBezTo>
                    <a:cubicBezTo>
                      <a:pt x="892" y="364"/>
                      <a:pt x="893" y="364"/>
                      <a:pt x="893" y="363"/>
                    </a:cubicBezTo>
                    <a:cubicBezTo>
                      <a:pt x="893" y="363"/>
                      <a:pt x="894" y="364"/>
                      <a:pt x="894" y="363"/>
                    </a:cubicBezTo>
                    <a:cubicBezTo>
                      <a:pt x="894" y="363"/>
                      <a:pt x="894" y="362"/>
                      <a:pt x="894" y="362"/>
                    </a:cubicBezTo>
                    <a:cubicBezTo>
                      <a:pt x="895" y="362"/>
                      <a:pt x="896" y="363"/>
                      <a:pt x="897" y="362"/>
                    </a:cubicBezTo>
                    <a:cubicBezTo>
                      <a:pt x="897" y="361"/>
                      <a:pt x="898" y="358"/>
                      <a:pt x="896" y="359"/>
                    </a:cubicBezTo>
                    <a:cubicBezTo>
                      <a:pt x="896" y="359"/>
                      <a:pt x="895" y="360"/>
                      <a:pt x="895" y="360"/>
                    </a:cubicBezTo>
                    <a:cubicBezTo>
                      <a:pt x="895" y="360"/>
                      <a:pt x="895" y="360"/>
                      <a:pt x="895" y="360"/>
                    </a:cubicBezTo>
                    <a:cubicBezTo>
                      <a:pt x="894" y="360"/>
                      <a:pt x="894" y="359"/>
                      <a:pt x="893" y="359"/>
                    </a:cubicBezTo>
                    <a:cubicBezTo>
                      <a:pt x="893" y="359"/>
                      <a:pt x="893" y="360"/>
                      <a:pt x="892" y="361"/>
                    </a:cubicBezTo>
                    <a:cubicBezTo>
                      <a:pt x="892" y="361"/>
                      <a:pt x="892" y="361"/>
                      <a:pt x="891" y="362"/>
                    </a:cubicBezTo>
                    <a:cubicBezTo>
                      <a:pt x="891" y="362"/>
                      <a:pt x="891" y="361"/>
                      <a:pt x="892" y="361"/>
                    </a:cubicBezTo>
                    <a:cubicBezTo>
                      <a:pt x="891" y="361"/>
                      <a:pt x="891" y="361"/>
                      <a:pt x="890" y="362"/>
                    </a:cubicBezTo>
                    <a:cubicBezTo>
                      <a:pt x="891" y="360"/>
                      <a:pt x="891" y="360"/>
                      <a:pt x="890" y="361"/>
                    </a:cubicBezTo>
                    <a:cubicBezTo>
                      <a:pt x="890" y="361"/>
                      <a:pt x="890" y="361"/>
                      <a:pt x="890" y="361"/>
                    </a:cubicBezTo>
                    <a:cubicBezTo>
                      <a:pt x="890" y="361"/>
                      <a:pt x="889" y="361"/>
                      <a:pt x="889" y="361"/>
                    </a:cubicBezTo>
                    <a:cubicBezTo>
                      <a:pt x="889" y="362"/>
                      <a:pt x="889" y="362"/>
                      <a:pt x="889" y="362"/>
                    </a:cubicBezTo>
                    <a:cubicBezTo>
                      <a:pt x="889" y="362"/>
                      <a:pt x="889" y="362"/>
                      <a:pt x="889" y="362"/>
                    </a:cubicBezTo>
                    <a:cubicBezTo>
                      <a:pt x="889" y="362"/>
                      <a:pt x="889" y="362"/>
                      <a:pt x="889" y="361"/>
                    </a:cubicBezTo>
                    <a:cubicBezTo>
                      <a:pt x="888" y="361"/>
                      <a:pt x="887" y="362"/>
                      <a:pt x="886" y="362"/>
                    </a:cubicBezTo>
                    <a:cubicBezTo>
                      <a:pt x="887" y="362"/>
                      <a:pt x="885" y="363"/>
                      <a:pt x="886" y="362"/>
                    </a:cubicBezTo>
                    <a:cubicBezTo>
                      <a:pt x="886" y="362"/>
                      <a:pt x="887" y="362"/>
                      <a:pt x="887" y="362"/>
                    </a:cubicBezTo>
                    <a:cubicBezTo>
                      <a:pt x="888" y="361"/>
                      <a:pt x="890" y="361"/>
                      <a:pt x="890" y="360"/>
                    </a:cubicBezTo>
                    <a:cubicBezTo>
                      <a:pt x="889" y="360"/>
                      <a:pt x="889" y="360"/>
                      <a:pt x="888" y="360"/>
                    </a:cubicBezTo>
                    <a:cubicBezTo>
                      <a:pt x="889" y="359"/>
                      <a:pt x="890" y="359"/>
                      <a:pt x="891" y="358"/>
                    </a:cubicBezTo>
                    <a:cubicBezTo>
                      <a:pt x="890" y="359"/>
                      <a:pt x="890" y="358"/>
                      <a:pt x="889" y="358"/>
                    </a:cubicBezTo>
                    <a:cubicBezTo>
                      <a:pt x="889" y="358"/>
                      <a:pt x="888" y="358"/>
                      <a:pt x="888" y="358"/>
                    </a:cubicBezTo>
                    <a:cubicBezTo>
                      <a:pt x="888" y="358"/>
                      <a:pt x="888" y="358"/>
                      <a:pt x="889" y="358"/>
                    </a:cubicBezTo>
                    <a:cubicBezTo>
                      <a:pt x="889" y="358"/>
                      <a:pt x="889" y="358"/>
                      <a:pt x="889" y="358"/>
                    </a:cubicBezTo>
                    <a:cubicBezTo>
                      <a:pt x="889" y="358"/>
                      <a:pt x="888" y="359"/>
                      <a:pt x="888" y="359"/>
                    </a:cubicBezTo>
                    <a:cubicBezTo>
                      <a:pt x="888" y="359"/>
                      <a:pt x="888" y="359"/>
                      <a:pt x="888" y="359"/>
                    </a:cubicBezTo>
                    <a:cubicBezTo>
                      <a:pt x="888" y="359"/>
                      <a:pt x="887" y="358"/>
                      <a:pt x="888" y="358"/>
                    </a:cubicBezTo>
                    <a:cubicBezTo>
                      <a:pt x="889" y="358"/>
                      <a:pt x="889" y="357"/>
                      <a:pt x="889" y="357"/>
                    </a:cubicBezTo>
                    <a:cubicBezTo>
                      <a:pt x="888" y="356"/>
                      <a:pt x="887" y="357"/>
                      <a:pt x="887" y="357"/>
                    </a:cubicBezTo>
                    <a:cubicBezTo>
                      <a:pt x="887" y="357"/>
                      <a:pt x="886" y="357"/>
                      <a:pt x="886" y="357"/>
                    </a:cubicBezTo>
                    <a:cubicBezTo>
                      <a:pt x="886" y="357"/>
                      <a:pt x="886" y="357"/>
                      <a:pt x="885" y="357"/>
                    </a:cubicBezTo>
                    <a:cubicBezTo>
                      <a:pt x="886" y="357"/>
                      <a:pt x="886" y="357"/>
                      <a:pt x="886" y="357"/>
                    </a:cubicBezTo>
                    <a:cubicBezTo>
                      <a:pt x="887" y="356"/>
                      <a:pt x="887" y="356"/>
                      <a:pt x="888" y="356"/>
                    </a:cubicBezTo>
                    <a:cubicBezTo>
                      <a:pt x="889" y="355"/>
                      <a:pt x="889" y="355"/>
                      <a:pt x="890" y="354"/>
                    </a:cubicBezTo>
                    <a:cubicBezTo>
                      <a:pt x="890" y="354"/>
                      <a:pt x="890" y="354"/>
                      <a:pt x="891" y="354"/>
                    </a:cubicBezTo>
                    <a:cubicBezTo>
                      <a:pt x="891" y="353"/>
                      <a:pt x="891" y="354"/>
                      <a:pt x="892" y="353"/>
                    </a:cubicBezTo>
                    <a:cubicBezTo>
                      <a:pt x="892" y="352"/>
                      <a:pt x="892" y="351"/>
                      <a:pt x="893" y="351"/>
                    </a:cubicBezTo>
                    <a:cubicBezTo>
                      <a:pt x="893" y="351"/>
                      <a:pt x="893" y="351"/>
                      <a:pt x="892" y="350"/>
                    </a:cubicBezTo>
                    <a:cubicBezTo>
                      <a:pt x="892" y="350"/>
                      <a:pt x="891" y="349"/>
                      <a:pt x="890" y="349"/>
                    </a:cubicBezTo>
                    <a:cubicBezTo>
                      <a:pt x="889" y="349"/>
                      <a:pt x="888" y="348"/>
                      <a:pt x="888" y="348"/>
                    </a:cubicBezTo>
                    <a:cubicBezTo>
                      <a:pt x="887" y="348"/>
                      <a:pt x="887" y="348"/>
                      <a:pt x="887" y="348"/>
                    </a:cubicBezTo>
                    <a:cubicBezTo>
                      <a:pt x="886" y="348"/>
                      <a:pt x="886" y="348"/>
                      <a:pt x="886" y="348"/>
                    </a:cubicBezTo>
                    <a:cubicBezTo>
                      <a:pt x="886" y="348"/>
                      <a:pt x="886" y="349"/>
                      <a:pt x="886" y="349"/>
                    </a:cubicBezTo>
                    <a:cubicBezTo>
                      <a:pt x="886" y="349"/>
                      <a:pt x="885" y="349"/>
                      <a:pt x="885" y="349"/>
                    </a:cubicBezTo>
                    <a:cubicBezTo>
                      <a:pt x="883" y="348"/>
                      <a:pt x="883" y="349"/>
                      <a:pt x="882" y="351"/>
                    </a:cubicBezTo>
                    <a:cubicBezTo>
                      <a:pt x="882" y="350"/>
                      <a:pt x="883" y="349"/>
                      <a:pt x="883" y="348"/>
                    </a:cubicBezTo>
                    <a:cubicBezTo>
                      <a:pt x="883" y="348"/>
                      <a:pt x="883" y="348"/>
                      <a:pt x="883" y="348"/>
                    </a:cubicBezTo>
                    <a:cubicBezTo>
                      <a:pt x="883" y="348"/>
                      <a:pt x="883" y="348"/>
                      <a:pt x="882" y="348"/>
                    </a:cubicBezTo>
                    <a:cubicBezTo>
                      <a:pt x="883" y="348"/>
                      <a:pt x="883" y="347"/>
                      <a:pt x="883" y="347"/>
                    </a:cubicBezTo>
                    <a:cubicBezTo>
                      <a:pt x="881" y="347"/>
                      <a:pt x="881" y="350"/>
                      <a:pt x="879" y="350"/>
                    </a:cubicBezTo>
                    <a:cubicBezTo>
                      <a:pt x="879" y="350"/>
                      <a:pt x="879" y="351"/>
                      <a:pt x="878" y="350"/>
                    </a:cubicBezTo>
                    <a:cubicBezTo>
                      <a:pt x="878" y="351"/>
                      <a:pt x="878" y="350"/>
                      <a:pt x="878" y="350"/>
                    </a:cubicBezTo>
                    <a:cubicBezTo>
                      <a:pt x="878" y="350"/>
                      <a:pt x="877" y="351"/>
                      <a:pt x="877" y="351"/>
                    </a:cubicBezTo>
                    <a:cubicBezTo>
                      <a:pt x="877" y="351"/>
                      <a:pt x="877" y="351"/>
                      <a:pt x="877" y="351"/>
                    </a:cubicBezTo>
                    <a:cubicBezTo>
                      <a:pt x="877" y="351"/>
                      <a:pt x="877" y="351"/>
                      <a:pt x="876" y="351"/>
                    </a:cubicBezTo>
                    <a:cubicBezTo>
                      <a:pt x="876" y="351"/>
                      <a:pt x="876" y="351"/>
                      <a:pt x="876" y="351"/>
                    </a:cubicBezTo>
                    <a:cubicBezTo>
                      <a:pt x="876" y="351"/>
                      <a:pt x="876" y="351"/>
                      <a:pt x="875" y="351"/>
                    </a:cubicBezTo>
                    <a:cubicBezTo>
                      <a:pt x="874" y="351"/>
                      <a:pt x="875" y="352"/>
                      <a:pt x="874" y="352"/>
                    </a:cubicBezTo>
                    <a:cubicBezTo>
                      <a:pt x="874" y="353"/>
                      <a:pt x="874" y="353"/>
                      <a:pt x="874" y="353"/>
                    </a:cubicBezTo>
                    <a:cubicBezTo>
                      <a:pt x="874" y="353"/>
                      <a:pt x="874" y="353"/>
                      <a:pt x="874" y="353"/>
                    </a:cubicBezTo>
                    <a:cubicBezTo>
                      <a:pt x="874" y="353"/>
                      <a:pt x="873" y="353"/>
                      <a:pt x="873" y="353"/>
                    </a:cubicBezTo>
                    <a:cubicBezTo>
                      <a:pt x="874" y="352"/>
                      <a:pt x="874" y="352"/>
                      <a:pt x="875" y="351"/>
                    </a:cubicBezTo>
                    <a:cubicBezTo>
                      <a:pt x="875" y="350"/>
                      <a:pt x="875" y="349"/>
                      <a:pt x="875" y="349"/>
                    </a:cubicBezTo>
                    <a:cubicBezTo>
                      <a:pt x="876" y="349"/>
                      <a:pt x="876" y="348"/>
                      <a:pt x="875" y="348"/>
                    </a:cubicBezTo>
                    <a:cubicBezTo>
                      <a:pt x="875" y="347"/>
                      <a:pt x="875" y="347"/>
                      <a:pt x="875" y="347"/>
                    </a:cubicBezTo>
                    <a:cubicBezTo>
                      <a:pt x="874" y="347"/>
                      <a:pt x="874" y="348"/>
                      <a:pt x="874" y="349"/>
                    </a:cubicBezTo>
                    <a:cubicBezTo>
                      <a:pt x="874" y="349"/>
                      <a:pt x="874" y="350"/>
                      <a:pt x="874" y="350"/>
                    </a:cubicBezTo>
                    <a:cubicBezTo>
                      <a:pt x="874" y="350"/>
                      <a:pt x="874" y="350"/>
                      <a:pt x="874" y="349"/>
                    </a:cubicBezTo>
                    <a:cubicBezTo>
                      <a:pt x="874" y="349"/>
                      <a:pt x="874" y="349"/>
                      <a:pt x="874" y="349"/>
                    </a:cubicBezTo>
                    <a:cubicBezTo>
                      <a:pt x="874" y="349"/>
                      <a:pt x="873" y="349"/>
                      <a:pt x="873" y="350"/>
                    </a:cubicBezTo>
                    <a:cubicBezTo>
                      <a:pt x="873" y="350"/>
                      <a:pt x="873" y="349"/>
                      <a:pt x="873" y="349"/>
                    </a:cubicBezTo>
                    <a:cubicBezTo>
                      <a:pt x="873" y="349"/>
                      <a:pt x="873" y="349"/>
                      <a:pt x="874" y="348"/>
                    </a:cubicBezTo>
                    <a:cubicBezTo>
                      <a:pt x="873" y="348"/>
                      <a:pt x="873" y="348"/>
                      <a:pt x="873" y="348"/>
                    </a:cubicBezTo>
                    <a:cubicBezTo>
                      <a:pt x="872" y="348"/>
                      <a:pt x="872" y="349"/>
                      <a:pt x="871" y="349"/>
                    </a:cubicBezTo>
                    <a:cubicBezTo>
                      <a:pt x="871" y="349"/>
                      <a:pt x="871" y="348"/>
                      <a:pt x="871" y="348"/>
                    </a:cubicBezTo>
                    <a:cubicBezTo>
                      <a:pt x="871" y="349"/>
                      <a:pt x="871" y="349"/>
                      <a:pt x="870" y="349"/>
                    </a:cubicBezTo>
                    <a:cubicBezTo>
                      <a:pt x="870" y="349"/>
                      <a:pt x="869" y="347"/>
                      <a:pt x="868" y="347"/>
                    </a:cubicBezTo>
                    <a:cubicBezTo>
                      <a:pt x="868" y="347"/>
                      <a:pt x="868" y="347"/>
                      <a:pt x="868" y="347"/>
                    </a:cubicBezTo>
                    <a:cubicBezTo>
                      <a:pt x="868" y="347"/>
                      <a:pt x="868" y="347"/>
                      <a:pt x="868" y="347"/>
                    </a:cubicBezTo>
                    <a:cubicBezTo>
                      <a:pt x="867" y="347"/>
                      <a:pt x="866" y="348"/>
                      <a:pt x="866" y="348"/>
                    </a:cubicBezTo>
                    <a:cubicBezTo>
                      <a:pt x="866" y="348"/>
                      <a:pt x="868" y="347"/>
                      <a:pt x="868" y="346"/>
                    </a:cubicBezTo>
                    <a:cubicBezTo>
                      <a:pt x="868" y="346"/>
                      <a:pt x="869" y="345"/>
                      <a:pt x="868" y="345"/>
                    </a:cubicBezTo>
                    <a:cubicBezTo>
                      <a:pt x="868" y="345"/>
                      <a:pt x="868" y="345"/>
                      <a:pt x="868" y="345"/>
                    </a:cubicBezTo>
                    <a:cubicBezTo>
                      <a:pt x="867" y="345"/>
                      <a:pt x="866" y="346"/>
                      <a:pt x="865" y="346"/>
                    </a:cubicBezTo>
                    <a:cubicBezTo>
                      <a:pt x="865" y="346"/>
                      <a:pt x="866" y="345"/>
                      <a:pt x="867" y="344"/>
                    </a:cubicBezTo>
                    <a:cubicBezTo>
                      <a:pt x="867" y="344"/>
                      <a:pt x="868" y="344"/>
                      <a:pt x="868" y="344"/>
                    </a:cubicBezTo>
                    <a:cubicBezTo>
                      <a:pt x="869" y="343"/>
                      <a:pt x="870" y="343"/>
                      <a:pt x="871" y="343"/>
                    </a:cubicBezTo>
                    <a:cubicBezTo>
                      <a:pt x="871" y="343"/>
                      <a:pt x="872" y="342"/>
                      <a:pt x="872" y="342"/>
                    </a:cubicBezTo>
                    <a:cubicBezTo>
                      <a:pt x="872" y="341"/>
                      <a:pt x="870" y="341"/>
                      <a:pt x="870" y="341"/>
                    </a:cubicBezTo>
                    <a:cubicBezTo>
                      <a:pt x="870" y="341"/>
                      <a:pt x="870" y="341"/>
                      <a:pt x="870" y="341"/>
                    </a:cubicBezTo>
                    <a:cubicBezTo>
                      <a:pt x="869" y="342"/>
                      <a:pt x="869" y="342"/>
                      <a:pt x="869" y="341"/>
                    </a:cubicBezTo>
                    <a:cubicBezTo>
                      <a:pt x="869" y="341"/>
                      <a:pt x="869" y="341"/>
                      <a:pt x="868" y="341"/>
                    </a:cubicBezTo>
                    <a:cubicBezTo>
                      <a:pt x="868" y="341"/>
                      <a:pt x="868" y="341"/>
                      <a:pt x="868" y="341"/>
                    </a:cubicBezTo>
                    <a:cubicBezTo>
                      <a:pt x="868" y="340"/>
                      <a:pt x="868" y="340"/>
                      <a:pt x="867" y="340"/>
                    </a:cubicBezTo>
                    <a:cubicBezTo>
                      <a:pt x="867" y="340"/>
                      <a:pt x="867" y="341"/>
                      <a:pt x="867" y="341"/>
                    </a:cubicBezTo>
                    <a:cubicBezTo>
                      <a:pt x="867" y="341"/>
                      <a:pt x="867" y="341"/>
                      <a:pt x="867" y="341"/>
                    </a:cubicBezTo>
                    <a:cubicBezTo>
                      <a:pt x="867" y="341"/>
                      <a:pt x="867" y="341"/>
                      <a:pt x="867" y="341"/>
                    </a:cubicBezTo>
                    <a:cubicBezTo>
                      <a:pt x="867" y="341"/>
                      <a:pt x="867" y="341"/>
                      <a:pt x="867" y="341"/>
                    </a:cubicBezTo>
                    <a:cubicBezTo>
                      <a:pt x="866" y="341"/>
                      <a:pt x="866" y="341"/>
                      <a:pt x="866" y="341"/>
                    </a:cubicBezTo>
                    <a:cubicBezTo>
                      <a:pt x="866" y="341"/>
                      <a:pt x="866" y="341"/>
                      <a:pt x="866" y="341"/>
                    </a:cubicBezTo>
                    <a:cubicBezTo>
                      <a:pt x="866" y="341"/>
                      <a:pt x="865" y="342"/>
                      <a:pt x="865" y="342"/>
                    </a:cubicBezTo>
                    <a:cubicBezTo>
                      <a:pt x="865" y="342"/>
                      <a:pt x="865" y="341"/>
                      <a:pt x="865" y="341"/>
                    </a:cubicBezTo>
                    <a:cubicBezTo>
                      <a:pt x="865" y="340"/>
                      <a:pt x="865" y="340"/>
                      <a:pt x="865" y="339"/>
                    </a:cubicBezTo>
                    <a:cubicBezTo>
                      <a:pt x="864" y="339"/>
                      <a:pt x="864" y="340"/>
                      <a:pt x="863" y="341"/>
                    </a:cubicBezTo>
                    <a:cubicBezTo>
                      <a:pt x="863" y="342"/>
                      <a:pt x="862" y="342"/>
                      <a:pt x="863" y="343"/>
                    </a:cubicBezTo>
                    <a:cubicBezTo>
                      <a:pt x="862" y="341"/>
                      <a:pt x="859" y="346"/>
                      <a:pt x="858" y="347"/>
                    </a:cubicBezTo>
                    <a:cubicBezTo>
                      <a:pt x="858" y="346"/>
                      <a:pt x="858" y="345"/>
                      <a:pt x="858" y="345"/>
                    </a:cubicBezTo>
                    <a:cubicBezTo>
                      <a:pt x="858" y="345"/>
                      <a:pt x="858" y="344"/>
                      <a:pt x="858" y="344"/>
                    </a:cubicBezTo>
                    <a:cubicBezTo>
                      <a:pt x="858" y="343"/>
                      <a:pt x="858" y="342"/>
                      <a:pt x="859" y="341"/>
                    </a:cubicBezTo>
                    <a:cubicBezTo>
                      <a:pt x="859" y="341"/>
                      <a:pt x="859" y="340"/>
                      <a:pt x="860" y="340"/>
                    </a:cubicBezTo>
                    <a:cubicBezTo>
                      <a:pt x="860" y="338"/>
                      <a:pt x="861" y="337"/>
                      <a:pt x="862" y="336"/>
                    </a:cubicBezTo>
                    <a:cubicBezTo>
                      <a:pt x="862" y="335"/>
                      <a:pt x="865" y="333"/>
                      <a:pt x="866" y="332"/>
                    </a:cubicBezTo>
                    <a:cubicBezTo>
                      <a:pt x="866" y="331"/>
                      <a:pt x="865" y="331"/>
                      <a:pt x="865" y="330"/>
                    </a:cubicBezTo>
                    <a:cubicBezTo>
                      <a:pt x="865" y="330"/>
                      <a:pt x="865" y="330"/>
                      <a:pt x="865" y="330"/>
                    </a:cubicBezTo>
                    <a:cubicBezTo>
                      <a:pt x="865" y="330"/>
                      <a:pt x="865" y="330"/>
                      <a:pt x="865" y="330"/>
                    </a:cubicBezTo>
                    <a:cubicBezTo>
                      <a:pt x="865" y="330"/>
                      <a:pt x="866" y="331"/>
                      <a:pt x="866" y="331"/>
                    </a:cubicBezTo>
                    <a:cubicBezTo>
                      <a:pt x="866" y="331"/>
                      <a:pt x="866" y="331"/>
                      <a:pt x="866" y="331"/>
                    </a:cubicBezTo>
                    <a:cubicBezTo>
                      <a:pt x="867" y="330"/>
                      <a:pt x="867" y="330"/>
                      <a:pt x="868" y="329"/>
                    </a:cubicBezTo>
                    <a:cubicBezTo>
                      <a:pt x="868" y="329"/>
                      <a:pt x="868" y="329"/>
                      <a:pt x="868" y="329"/>
                    </a:cubicBezTo>
                    <a:cubicBezTo>
                      <a:pt x="868" y="329"/>
                      <a:pt x="868" y="329"/>
                      <a:pt x="868" y="329"/>
                    </a:cubicBezTo>
                    <a:cubicBezTo>
                      <a:pt x="868" y="328"/>
                      <a:pt x="869" y="327"/>
                      <a:pt x="869" y="326"/>
                    </a:cubicBezTo>
                    <a:cubicBezTo>
                      <a:pt x="869" y="326"/>
                      <a:pt x="869" y="325"/>
                      <a:pt x="869" y="324"/>
                    </a:cubicBezTo>
                    <a:cubicBezTo>
                      <a:pt x="869" y="324"/>
                      <a:pt x="868" y="324"/>
                      <a:pt x="868" y="325"/>
                    </a:cubicBezTo>
                    <a:cubicBezTo>
                      <a:pt x="868" y="325"/>
                      <a:pt x="867" y="325"/>
                      <a:pt x="867" y="325"/>
                    </a:cubicBezTo>
                    <a:cubicBezTo>
                      <a:pt x="867" y="325"/>
                      <a:pt x="867" y="325"/>
                      <a:pt x="867" y="325"/>
                    </a:cubicBezTo>
                    <a:cubicBezTo>
                      <a:pt x="867" y="325"/>
                      <a:pt x="866" y="324"/>
                      <a:pt x="866" y="324"/>
                    </a:cubicBezTo>
                    <a:cubicBezTo>
                      <a:pt x="866" y="324"/>
                      <a:pt x="866" y="323"/>
                      <a:pt x="866" y="323"/>
                    </a:cubicBezTo>
                    <a:cubicBezTo>
                      <a:pt x="866" y="322"/>
                      <a:pt x="866" y="322"/>
                      <a:pt x="867" y="323"/>
                    </a:cubicBezTo>
                    <a:cubicBezTo>
                      <a:pt x="868" y="323"/>
                      <a:pt x="868" y="323"/>
                      <a:pt x="868" y="323"/>
                    </a:cubicBezTo>
                    <a:cubicBezTo>
                      <a:pt x="868" y="323"/>
                      <a:pt x="868" y="323"/>
                      <a:pt x="869" y="323"/>
                    </a:cubicBezTo>
                    <a:cubicBezTo>
                      <a:pt x="869" y="323"/>
                      <a:pt x="869" y="323"/>
                      <a:pt x="870" y="323"/>
                    </a:cubicBezTo>
                    <a:cubicBezTo>
                      <a:pt x="870" y="323"/>
                      <a:pt x="871" y="323"/>
                      <a:pt x="871" y="323"/>
                    </a:cubicBezTo>
                    <a:cubicBezTo>
                      <a:pt x="872" y="323"/>
                      <a:pt x="873" y="320"/>
                      <a:pt x="873" y="320"/>
                    </a:cubicBezTo>
                    <a:cubicBezTo>
                      <a:pt x="873" y="319"/>
                      <a:pt x="872" y="319"/>
                      <a:pt x="872" y="319"/>
                    </a:cubicBezTo>
                    <a:cubicBezTo>
                      <a:pt x="871" y="319"/>
                      <a:pt x="870" y="320"/>
                      <a:pt x="870" y="320"/>
                    </a:cubicBezTo>
                    <a:cubicBezTo>
                      <a:pt x="870" y="320"/>
                      <a:pt x="870" y="320"/>
                      <a:pt x="871" y="321"/>
                    </a:cubicBezTo>
                    <a:cubicBezTo>
                      <a:pt x="871" y="321"/>
                      <a:pt x="871" y="321"/>
                      <a:pt x="871" y="321"/>
                    </a:cubicBezTo>
                    <a:cubicBezTo>
                      <a:pt x="871" y="321"/>
                      <a:pt x="871" y="321"/>
                      <a:pt x="871" y="321"/>
                    </a:cubicBezTo>
                    <a:cubicBezTo>
                      <a:pt x="870" y="321"/>
                      <a:pt x="870" y="321"/>
                      <a:pt x="869" y="321"/>
                    </a:cubicBezTo>
                    <a:cubicBezTo>
                      <a:pt x="869" y="321"/>
                      <a:pt x="868" y="321"/>
                      <a:pt x="868" y="321"/>
                    </a:cubicBezTo>
                    <a:cubicBezTo>
                      <a:pt x="868" y="321"/>
                      <a:pt x="868" y="321"/>
                      <a:pt x="868" y="321"/>
                    </a:cubicBezTo>
                    <a:cubicBezTo>
                      <a:pt x="868" y="320"/>
                      <a:pt x="868" y="320"/>
                      <a:pt x="868" y="320"/>
                    </a:cubicBezTo>
                    <a:cubicBezTo>
                      <a:pt x="868" y="319"/>
                      <a:pt x="868" y="319"/>
                      <a:pt x="868" y="319"/>
                    </a:cubicBezTo>
                    <a:cubicBezTo>
                      <a:pt x="868" y="319"/>
                      <a:pt x="868" y="319"/>
                      <a:pt x="868" y="319"/>
                    </a:cubicBezTo>
                    <a:cubicBezTo>
                      <a:pt x="868" y="319"/>
                      <a:pt x="868" y="319"/>
                      <a:pt x="868" y="319"/>
                    </a:cubicBezTo>
                    <a:cubicBezTo>
                      <a:pt x="868" y="319"/>
                      <a:pt x="868" y="319"/>
                      <a:pt x="868" y="319"/>
                    </a:cubicBezTo>
                    <a:cubicBezTo>
                      <a:pt x="869" y="318"/>
                      <a:pt x="869" y="316"/>
                      <a:pt x="871" y="316"/>
                    </a:cubicBezTo>
                    <a:cubicBezTo>
                      <a:pt x="870" y="316"/>
                      <a:pt x="869" y="315"/>
                      <a:pt x="868" y="315"/>
                    </a:cubicBezTo>
                    <a:cubicBezTo>
                      <a:pt x="867" y="314"/>
                      <a:pt x="866" y="314"/>
                      <a:pt x="865" y="314"/>
                    </a:cubicBezTo>
                    <a:cubicBezTo>
                      <a:pt x="866" y="314"/>
                      <a:pt x="867" y="314"/>
                      <a:pt x="868" y="314"/>
                    </a:cubicBezTo>
                    <a:cubicBezTo>
                      <a:pt x="869" y="315"/>
                      <a:pt x="870" y="315"/>
                      <a:pt x="869" y="314"/>
                    </a:cubicBezTo>
                    <a:cubicBezTo>
                      <a:pt x="870" y="314"/>
                      <a:pt x="871" y="315"/>
                      <a:pt x="870" y="314"/>
                    </a:cubicBezTo>
                    <a:cubicBezTo>
                      <a:pt x="870" y="313"/>
                      <a:pt x="868" y="312"/>
                      <a:pt x="867" y="312"/>
                    </a:cubicBezTo>
                    <a:cubicBezTo>
                      <a:pt x="866" y="312"/>
                      <a:pt x="863" y="312"/>
                      <a:pt x="862" y="311"/>
                    </a:cubicBezTo>
                    <a:cubicBezTo>
                      <a:pt x="863" y="311"/>
                      <a:pt x="864" y="312"/>
                      <a:pt x="864" y="312"/>
                    </a:cubicBezTo>
                    <a:cubicBezTo>
                      <a:pt x="865" y="312"/>
                      <a:pt x="865" y="312"/>
                      <a:pt x="866" y="312"/>
                    </a:cubicBezTo>
                    <a:cubicBezTo>
                      <a:pt x="867" y="311"/>
                      <a:pt x="867" y="312"/>
                      <a:pt x="867" y="311"/>
                    </a:cubicBezTo>
                    <a:cubicBezTo>
                      <a:pt x="868" y="311"/>
                      <a:pt x="869" y="312"/>
                      <a:pt x="869" y="311"/>
                    </a:cubicBezTo>
                    <a:cubicBezTo>
                      <a:pt x="870" y="310"/>
                      <a:pt x="868" y="310"/>
                      <a:pt x="867" y="310"/>
                    </a:cubicBezTo>
                    <a:cubicBezTo>
                      <a:pt x="867" y="310"/>
                      <a:pt x="866" y="309"/>
                      <a:pt x="865" y="308"/>
                    </a:cubicBezTo>
                    <a:cubicBezTo>
                      <a:pt x="866" y="308"/>
                      <a:pt x="868" y="309"/>
                      <a:pt x="868" y="308"/>
                    </a:cubicBezTo>
                    <a:cubicBezTo>
                      <a:pt x="871" y="308"/>
                      <a:pt x="867" y="305"/>
                      <a:pt x="866" y="306"/>
                    </a:cubicBezTo>
                    <a:cubicBezTo>
                      <a:pt x="866" y="305"/>
                      <a:pt x="867" y="306"/>
                      <a:pt x="867" y="305"/>
                    </a:cubicBezTo>
                    <a:cubicBezTo>
                      <a:pt x="868" y="305"/>
                      <a:pt x="868" y="305"/>
                      <a:pt x="868" y="304"/>
                    </a:cubicBezTo>
                    <a:cubicBezTo>
                      <a:pt x="870" y="305"/>
                      <a:pt x="870" y="302"/>
                      <a:pt x="869" y="301"/>
                    </a:cubicBezTo>
                    <a:cubicBezTo>
                      <a:pt x="868" y="300"/>
                      <a:pt x="867" y="301"/>
                      <a:pt x="866" y="300"/>
                    </a:cubicBezTo>
                    <a:cubicBezTo>
                      <a:pt x="865" y="299"/>
                      <a:pt x="864" y="298"/>
                      <a:pt x="865" y="298"/>
                    </a:cubicBezTo>
                    <a:cubicBezTo>
                      <a:pt x="866" y="298"/>
                      <a:pt x="867" y="299"/>
                      <a:pt x="867" y="298"/>
                    </a:cubicBezTo>
                    <a:cubicBezTo>
                      <a:pt x="866" y="298"/>
                      <a:pt x="864" y="297"/>
                      <a:pt x="863" y="297"/>
                    </a:cubicBezTo>
                    <a:cubicBezTo>
                      <a:pt x="862" y="297"/>
                      <a:pt x="861" y="296"/>
                      <a:pt x="860" y="296"/>
                    </a:cubicBezTo>
                    <a:cubicBezTo>
                      <a:pt x="860" y="296"/>
                      <a:pt x="862" y="296"/>
                      <a:pt x="862" y="296"/>
                    </a:cubicBezTo>
                    <a:cubicBezTo>
                      <a:pt x="863" y="295"/>
                      <a:pt x="861" y="295"/>
                      <a:pt x="861" y="295"/>
                    </a:cubicBezTo>
                    <a:cubicBezTo>
                      <a:pt x="861" y="295"/>
                      <a:pt x="860" y="295"/>
                      <a:pt x="861" y="296"/>
                    </a:cubicBezTo>
                    <a:cubicBezTo>
                      <a:pt x="859" y="295"/>
                      <a:pt x="858" y="295"/>
                      <a:pt x="856" y="296"/>
                    </a:cubicBezTo>
                    <a:cubicBezTo>
                      <a:pt x="856" y="297"/>
                      <a:pt x="856" y="298"/>
                      <a:pt x="855" y="298"/>
                    </a:cubicBezTo>
                    <a:cubicBezTo>
                      <a:pt x="855" y="299"/>
                      <a:pt x="853" y="300"/>
                      <a:pt x="853" y="300"/>
                    </a:cubicBezTo>
                    <a:cubicBezTo>
                      <a:pt x="854" y="298"/>
                      <a:pt x="853" y="296"/>
                      <a:pt x="851" y="297"/>
                    </a:cubicBezTo>
                    <a:cubicBezTo>
                      <a:pt x="852" y="297"/>
                      <a:pt x="853" y="296"/>
                      <a:pt x="854" y="296"/>
                    </a:cubicBezTo>
                    <a:cubicBezTo>
                      <a:pt x="854" y="296"/>
                      <a:pt x="855" y="295"/>
                      <a:pt x="855" y="295"/>
                    </a:cubicBezTo>
                    <a:cubicBezTo>
                      <a:pt x="856" y="295"/>
                      <a:pt x="855" y="294"/>
                      <a:pt x="856" y="294"/>
                    </a:cubicBezTo>
                    <a:cubicBezTo>
                      <a:pt x="856" y="294"/>
                      <a:pt x="855" y="293"/>
                      <a:pt x="855" y="293"/>
                    </a:cubicBezTo>
                    <a:cubicBezTo>
                      <a:pt x="855" y="293"/>
                      <a:pt x="855" y="293"/>
                      <a:pt x="855" y="293"/>
                    </a:cubicBezTo>
                    <a:cubicBezTo>
                      <a:pt x="853" y="291"/>
                      <a:pt x="851" y="289"/>
                      <a:pt x="849" y="289"/>
                    </a:cubicBezTo>
                    <a:cubicBezTo>
                      <a:pt x="848" y="289"/>
                      <a:pt x="848" y="289"/>
                      <a:pt x="847" y="289"/>
                    </a:cubicBezTo>
                    <a:cubicBezTo>
                      <a:pt x="846" y="288"/>
                      <a:pt x="843" y="288"/>
                      <a:pt x="842" y="290"/>
                    </a:cubicBezTo>
                    <a:cubicBezTo>
                      <a:pt x="844" y="290"/>
                      <a:pt x="847" y="289"/>
                      <a:pt x="848" y="290"/>
                    </a:cubicBezTo>
                    <a:cubicBezTo>
                      <a:pt x="847" y="291"/>
                      <a:pt x="847" y="290"/>
                      <a:pt x="846" y="290"/>
                    </a:cubicBezTo>
                    <a:cubicBezTo>
                      <a:pt x="845" y="290"/>
                      <a:pt x="845" y="291"/>
                      <a:pt x="844" y="291"/>
                    </a:cubicBezTo>
                    <a:cubicBezTo>
                      <a:pt x="843" y="291"/>
                      <a:pt x="842" y="291"/>
                      <a:pt x="841" y="292"/>
                    </a:cubicBezTo>
                    <a:cubicBezTo>
                      <a:pt x="840" y="292"/>
                      <a:pt x="838" y="292"/>
                      <a:pt x="838" y="293"/>
                    </a:cubicBezTo>
                    <a:cubicBezTo>
                      <a:pt x="837" y="293"/>
                      <a:pt x="837" y="294"/>
                      <a:pt x="836" y="294"/>
                    </a:cubicBezTo>
                    <a:cubicBezTo>
                      <a:pt x="836" y="294"/>
                      <a:pt x="836" y="294"/>
                      <a:pt x="836" y="294"/>
                    </a:cubicBezTo>
                    <a:cubicBezTo>
                      <a:pt x="836" y="295"/>
                      <a:pt x="836" y="295"/>
                      <a:pt x="836" y="295"/>
                    </a:cubicBezTo>
                    <a:cubicBezTo>
                      <a:pt x="836" y="296"/>
                      <a:pt x="835" y="296"/>
                      <a:pt x="834" y="296"/>
                    </a:cubicBezTo>
                    <a:cubicBezTo>
                      <a:pt x="833" y="296"/>
                      <a:pt x="833" y="297"/>
                      <a:pt x="832" y="297"/>
                    </a:cubicBezTo>
                    <a:cubicBezTo>
                      <a:pt x="831" y="298"/>
                      <a:pt x="830" y="298"/>
                      <a:pt x="829" y="298"/>
                    </a:cubicBezTo>
                    <a:cubicBezTo>
                      <a:pt x="827" y="298"/>
                      <a:pt x="827" y="298"/>
                      <a:pt x="827" y="299"/>
                    </a:cubicBezTo>
                    <a:cubicBezTo>
                      <a:pt x="827" y="299"/>
                      <a:pt x="826" y="300"/>
                      <a:pt x="826" y="300"/>
                    </a:cubicBezTo>
                    <a:cubicBezTo>
                      <a:pt x="825" y="301"/>
                      <a:pt x="824" y="301"/>
                      <a:pt x="825" y="302"/>
                    </a:cubicBezTo>
                    <a:cubicBezTo>
                      <a:pt x="824" y="301"/>
                      <a:pt x="823" y="302"/>
                      <a:pt x="822" y="302"/>
                    </a:cubicBezTo>
                    <a:cubicBezTo>
                      <a:pt x="823" y="302"/>
                      <a:pt x="824" y="302"/>
                      <a:pt x="824" y="301"/>
                    </a:cubicBezTo>
                    <a:cubicBezTo>
                      <a:pt x="824" y="301"/>
                      <a:pt x="823" y="301"/>
                      <a:pt x="822" y="301"/>
                    </a:cubicBezTo>
                    <a:cubicBezTo>
                      <a:pt x="822" y="300"/>
                      <a:pt x="825" y="299"/>
                      <a:pt x="826" y="299"/>
                    </a:cubicBezTo>
                    <a:cubicBezTo>
                      <a:pt x="826" y="299"/>
                      <a:pt x="822" y="297"/>
                      <a:pt x="822" y="297"/>
                    </a:cubicBezTo>
                    <a:cubicBezTo>
                      <a:pt x="820" y="296"/>
                      <a:pt x="818" y="295"/>
                      <a:pt x="817" y="296"/>
                    </a:cubicBezTo>
                    <a:cubicBezTo>
                      <a:pt x="817" y="295"/>
                      <a:pt x="817" y="295"/>
                      <a:pt x="817" y="294"/>
                    </a:cubicBezTo>
                    <a:cubicBezTo>
                      <a:pt x="818" y="296"/>
                      <a:pt x="821" y="295"/>
                      <a:pt x="822" y="296"/>
                    </a:cubicBezTo>
                    <a:cubicBezTo>
                      <a:pt x="823" y="297"/>
                      <a:pt x="824" y="298"/>
                      <a:pt x="825" y="298"/>
                    </a:cubicBezTo>
                    <a:cubicBezTo>
                      <a:pt x="826" y="298"/>
                      <a:pt x="824" y="295"/>
                      <a:pt x="826" y="296"/>
                    </a:cubicBezTo>
                    <a:cubicBezTo>
                      <a:pt x="825" y="295"/>
                      <a:pt x="826" y="295"/>
                      <a:pt x="827" y="295"/>
                    </a:cubicBezTo>
                    <a:cubicBezTo>
                      <a:pt x="827" y="294"/>
                      <a:pt x="828" y="294"/>
                      <a:pt x="828" y="294"/>
                    </a:cubicBezTo>
                    <a:cubicBezTo>
                      <a:pt x="828" y="294"/>
                      <a:pt x="828" y="294"/>
                      <a:pt x="828" y="294"/>
                    </a:cubicBezTo>
                    <a:cubicBezTo>
                      <a:pt x="828" y="294"/>
                      <a:pt x="829" y="294"/>
                      <a:pt x="829" y="294"/>
                    </a:cubicBezTo>
                    <a:cubicBezTo>
                      <a:pt x="830" y="294"/>
                      <a:pt x="831" y="294"/>
                      <a:pt x="833" y="293"/>
                    </a:cubicBezTo>
                    <a:cubicBezTo>
                      <a:pt x="834" y="293"/>
                      <a:pt x="835" y="293"/>
                      <a:pt x="836" y="292"/>
                    </a:cubicBezTo>
                    <a:cubicBezTo>
                      <a:pt x="837" y="292"/>
                      <a:pt x="837" y="291"/>
                      <a:pt x="837" y="291"/>
                    </a:cubicBezTo>
                    <a:cubicBezTo>
                      <a:pt x="838" y="291"/>
                      <a:pt x="839" y="291"/>
                      <a:pt x="840" y="291"/>
                    </a:cubicBezTo>
                    <a:cubicBezTo>
                      <a:pt x="841" y="291"/>
                      <a:pt x="842" y="289"/>
                      <a:pt x="843" y="289"/>
                    </a:cubicBezTo>
                    <a:cubicBezTo>
                      <a:pt x="841" y="289"/>
                      <a:pt x="839" y="290"/>
                      <a:pt x="837" y="291"/>
                    </a:cubicBezTo>
                    <a:cubicBezTo>
                      <a:pt x="835" y="291"/>
                      <a:pt x="831" y="292"/>
                      <a:pt x="830" y="291"/>
                    </a:cubicBezTo>
                    <a:cubicBezTo>
                      <a:pt x="832" y="291"/>
                      <a:pt x="834" y="291"/>
                      <a:pt x="835" y="290"/>
                    </a:cubicBezTo>
                    <a:cubicBezTo>
                      <a:pt x="836" y="290"/>
                      <a:pt x="837" y="290"/>
                      <a:pt x="838" y="290"/>
                    </a:cubicBezTo>
                    <a:cubicBezTo>
                      <a:pt x="840" y="289"/>
                      <a:pt x="841" y="289"/>
                      <a:pt x="842" y="288"/>
                    </a:cubicBezTo>
                    <a:cubicBezTo>
                      <a:pt x="842" y="288"/>
                      <a:pt x="843" y="288"/>
                      <a:pt x="844" y="288"/>
                    </a:cubicBezTo>
                    <a:cubicBezTo>
                      <a:pt x="844" y="288"/>
                      <a:pt x="845" y="287"/>
                      <a:pt x="845" y="287"/>
                    </a:cubicBezTo>
                    <a:cubicBezTo>
                      <a:pt x="845" y="287"/>
                      <a:pt x="845" y="287"/>
                      <a:pt x="845" y="287"/>
                    </a:cubicBezTo>
                    <a:cubicBezTo>
                      <a:pt x="845" y="287"/>
                      <a:pt x="844" y="287"/>
                      <a:pt x="844" y="287"/>
                    </a:cubicBezTo>
                    <a:cubicBezTo>
                      <a:pt x="846" y="285"/>
                      <a:pt x="851" y="288"/>
                      <a:pt x="852" y="285"/>
                    </a:cubicBezTo>
                    <a:cubicBezTo>
                      <a:pt x="851" y="285"/>
                      <a:pt x="850" y="285"/>
                      <a:pt x="850" y="285"/>
                    </a:cubicBezTo>
                    <a:cubicBezTo>
                      <a:pt x="851" y="285"/>
                      <a:pt x="852" y="285"/>
                      <a:pt x="853" y="284"/>
                    </a:cubicBezTo>
                    <a:cubicBezTo>
                      <a:pt x="852" y="283"/>
                      <a:pt x="851" y="283"/>
                      <a:pt x="850" y="283"/>
                    </a:cubicBezTo>
                    <a:cubicBezTo>
                      <a:pt x="849" y="282"/>
                      <a:pt x="848" y="281"/>
                      <a:pt x="848" y="281"/>
                    </a:cubicBezTo>
                    <a:cubicBezTo>
                      <a:pt x="847" y="281"/>
                      <a:pt x="847" y="281"/>
                      <a:pt x="846" y="281"/>
                    </a:cubicBezTo>
                    <a:cubicBezTo>
                      <a:pt x="845" y="281"/>
                      <a:pt x="845" y="281"/>
                      <a:pt x="844" y="280"/>
                    </a:cubicBezTo>
                    <a:cubicBezTo>
                      <a:pt x="844" y="280"/>
                      <a:pt x="843" y="280"/>
                      <a:pt x="842" y="281"/>
                    </a:cubicBezTo>
                    <a:cubicBezTo>
                      <a:pt x="842" y="281"/>
                      <a:pt x="843" y="282"/>
                      <a:pt x="842" y="281"/>
                    </a:cubicBezTo>
                    <a:cubicBezTo>
                      <a:pt x="841" y="281"/>
                      <a:pt x="841" y="281"/>
                      <a:pt x="841" y="281"/>
                    </a:cubicBezTo>
                    <a:cubicBezTo>
                      <a:pt x="841" y="281"/>
                      <a:pt x="840" y="280"/>
                      <a:pt x="840" y="280"/>
                    </a:cubicBezTo>
                    <a:cubicBezTo>
                      <a:pt x="839" y="280"/>
                      <a:pt x="839" y="280"/>
                      <a:pt x="839" y="280"/>
                    </a:cubicBezTo>
                    <a:cubicBezTo>
                      <a:pt x="838" y="280"/>
                      <a:pt x="837" y="279"/>
                      <a:pt x="836" y="279"/>
                    </a:cubicBezTo>
                    <a:cubicBezTo>
                      <a:pt x="838" y="278"/>
                      <a:pt x="837" y="279"/>
                      <a:pt x="837" y="277"/>
                    </a:cubicBezTo>
                    <a:cubicBezTo>
                      <a:pt x="837" y="277"/>
                      <a:pt x="837" y="276"/>
                      <a:pt x="837" y="276"/>
                    </a:cubicBezTo>
                    <a:cubicBezTo>
                      <a:pt x="836" y="276"/>
                      <a:pt x="835" y="277"/>
                      <a:pt x="835" y="276"/>
                    </a:cubicBezTo>
                    <a:cubicBezTo>
                      <a:pt x="835" y="277"/>
                      <a:pt x="835" y="276"/>
                      <a:pt x="834" y="276"/>
                    </a:cubicBezTo>
                    <a:cubicBezTo>
                      <a:pt x="834" y="276"/>
                      <a:pt x="834" y="277"/>
                      <a:pt x="834" y="277"/>
                    </a:cubicBezTo>
                    <a:cubicBezTo>
                      <a:pt x="833" y="277"/>
                      <a:pt x="833" y="278"/>
                      <a:pt x="832" y="278"/>
                    </a:cubicBezTo>
                    <a:cubicBezTo>
                      <a:pt x="833" y="277"/>
                      <a:pt x="835" y="275"/>
                      <a:pt x="835" y="275"/>
                    </a:cubicBezTo>
                    <a:cubicBezTo>
                      <a:pt x="835" y="274"/>
                      <a:pt x="833" y="275"/>
                      <a:pt x="833" y="276"/>
                    </a:cubicBezTo>
                    <a:cubicBezTo>
                      <a:pt x="833" y="276"/>
                      <a:pt x="832" y="277"/>
                      <a:pt x="832" y="277"/>
                    </a:cubicBezTo>
                    <a:cubicBezTo>
                      <a:pt x="832" y="277"/>
                      <a:pt x="829" y="279"/>
                      <a:pt x="829" y="279"/>
                    </a:cubicBezTo>
                    <a:cubicBezTo>
                      <a:pt x="828" y="280"/>
                      <a:pt x="828" y="281"/>
                      <a:pt x="827" y="281"/>
                    </a:cubicBezTo>
                    <a:cubicBezTo>
                      <a:pt x="828" y="280"/>
                      <a:pt x="828" y="279"/>
                      <a:pt x="829" y="278"/>
                    </a:cubicBezTo>
                    <a:cubicBezTo>
                      <a:pt x="829" y="278"/>
                      <a:pt x="830" y="277"/>
                      <a:pt x="831" y="277"/>
                    </a:cubicBezTo>
                    <a:cubicBezTo>
                      <a:pt x="831" y="277"/>
                      <a:pt x="832" y="276"/>
                      <a:pt x="832" y="276"/>
                    </a:cubicBezTo>
                    <a:cubicBezTo>
                      <a:pt x="832" y="275"/>
                      <a:pt x="830" y="276"/>
                      <a:pt x="830" y="276"/>
                    </a:cubicBezTo>
                    <a:cubicBezTo>
                      <a:pt x="829" y="276"/>
                      <a:pt x="827" y="275"/>
                      <a:pt x="827" y="276"/>
                    </a:cubicBezTo>
                    <a:cubicBezTo>
                      <a:pt x="827" y="275"/>
                      <a:pt x="828" y="275"/>
                      <a:pt x="829" y="275"/>
                    </a:cubicBezTo>
                    <a:cubicBezTo>
                      <a:pt x="829" y="275"/>
                      <a:pt x="829" y="274"/>
                      <a:pt x="829" y="274"/>
                    </a:cubicBezTo>
                    <a:cubicBezTo>
                      <a:pt x="828" y="273"/>
                      <a:pt x="827" y="274"/>
                      <a:pt x="827" y="274"/>
                    </a:cubicBezTo>
                    <a:cubicBezTo>
                      <a:pt x="827" y="274"/>
                      <a:pt x="826" y="274"/>
                      <a:pt x="826" y="274"/>
                    </a:cubicBezTo>
                    <a:cubicBezTo>
                      <a:pt x="826" y="274"/>
                      <a:pt x="826" y="275"/>
                      <a:pt x="825" y="275"/>
                    </a:cubicBezTo>
                    <a:cubicBezTo>
                      <a:pt x="825" y="276"/>
                      <a:pt x="824" y="276"/>
                      <a:pt x="823" y="277"/>
                    </a:cubicBezTo>
                    <a:cubicBezTo>
                      <a:pt x="823" y="276"/>
                      <a:pt x="825" y="275"/>
                      <a:pt x="826" y="274"/>
                    </a:cubicBezTo>
                    <a:cubicBezTo>
                      <a:pt x="825" y="274"/>
                      <a:pt x="825" y="274"/>
                      <a:pt x="824" y="275"/>
                    </a:cubicBezTo>
                    <a:cubicBezTo>
                      <a:pt x="824" y="275"/>
                      <a:pt x="824" y="274"/>
                      <a:pt x="824" y="274"/>
                    </a:cubicBezTo>
                    <a:cubicBezTo>
                      <a:pt x="823" y="274"/>
                      <a:pt x="823" y="274"/>
                      <a:pt x="823" y="275"/>
                    </a:cubicBezTo>
                    <a:cubicBezTo>
                      <a:pt x="822" y="275"/>
                      <a:pt x="822" y="275"/>
                      <a:pt x="821" y="276"/>
                    </a:cubicBezTo>
                    <a:cubicBezTo>
                      <a:pt x="821" y="276"/>
                      <a:pt x="820" y="277"/>
                      <a:pt x="819" y="278"/>
                    </a:cubicBezTo>
                    <a:cubicBezTo>
                      <a:pt x="820" y="276"/>
                      <a:pt x="821" y="275"/>
                      <a:pt x="822" y="274"/>
                    </a:cubicBezTo>
                    <a:cubicBezTo>
                      <a:pt x="821" y="274"/>
                      <a:pt x="821" y="275"/>
                      <a:pt x="820" y="275"/>
                    </a:cubicBezTo>
                    <a:cubicBezTo>
                      <a:pt x="820" y="275"/>
                      <a:pt x="821" y="274"/>
                      <a:pt x="821" y="273"/>
                    </a:cubicBezTo>
                    <a:cubicBezTo>
                      <a:pt x="821" y="273"/>
                      <a:pt x="822" y="274"/>
                      <a:pt x="822" y="273"/>
                    </a:cubicBezTo>
                    <a:cubicBezTo>
                      <a:pt x="822" y="273"/>
                      <a:pt x="822" y="273"/>
                      <a:pt x="822" y="273"/>
                    </a:cubicBezTo>
                    <a:cubicBezTo>
                      <a:pt x="823" y="272"/>
                      <a:pt x="823" y="272"/>
                      <a:pt x="823" y="272"/>
                    </a:cubicBezTo>
                    <a:cubicBezTo>
                      <a:pt x="824" y="271"/>
                      <a:pt x="824" y="272"/>
                      <a:pt x="824" y="271"/>
                    </a:cubicBezTo>
                    <a:cubicBezTo>
                      <a:pt x="823" y="271"/>
                      <a:pt x="822" y="271"/>
                      <a:pt x="822" y="271"/>
                    </a:cubicBezTo>
                    <a:cubicBezTo>
                      <a:pt x="822" y="272"/>
                      <a:pt x="822" y="272"/>
                      <a:pt x="821" y="273"/>
                    </a:cubicBezTo>
                    <a:cubicBezTo>
                      <a:pt x="821" y="271"/>
                      <a:pt x="823" y="270"/>
                      <a:pt x="823" y="269"/>
                    </a:cubicBezTo>
                    <a:cubicBezTo>
                      <a:pt x="822" y="270"/>
                      <a:pt x="822" y="270"/>
                      <a:pt x="821" y="270"/>
                    </a:cubicBezTo>
                    <a:cubicBezTo>
                      <a:pt x="822" y="269"/>
                      <a:pt x="822" y="269"/>
                      <a:pt x="821" y="269"/>
                    </a:cubicBezTo>
                    <a:cubicBezTo>
                      <a:pt x="820" y="269"/>
                      <a:pt x="822" y="268"/>
                      <a:pt x="822" y="268"/>
                    </a:cubicBezTo>
                    <a:cubicBezTo>
                      <a:pt x="822" y="267"/>
                      <a:pt x="823" y="266"/>
                      <a:pt x="822" y="266"/>
                    </a:cubicBezTo>
                    <a:cubicBezTo>
                      <a:pt x="820" y="266"/>
                      <a:pt x="820" y="268"/>
                      <a:pt x="819" y="269"/>
                    </a:cubicBezTo>
                    <a:cubicBezTo>
                      <a:pt x="819" y="269"/>
                      <a:pt x="820" y="268"/>
                      <a:pt x="820" y="267"/>
                    </a:cubicBezTo>
                    <a:cubicBezTo>
                      <a:pt x="820" y="267"/>
                      <a:pt x="820" y="267"/>
                      <a:pt x="820" y="266"/>
                    </a:cubicBezTo>
                    <a:cubicBezTo>
                      <a:pt x="819" y="266"/>
                      <a:pt x="819" y="267"/>
                      <a:pt x="818" y="267"/>
                    </a:cubicBezTo>
                    <a:cubicBezTo>
                      <a:pt x="818" y="267"/>
                      <a:pt x="817" y="267"/>
                      <a:pt x="816" y="267"/>
                    </a:cubicBezTo>
                    <a:cubicBezTo>
                      <a:pt x="817" y="267"/>
                      <a:pt x="821" y="266"/>
                      <a:pt x="817" y="265"/>
                    </a:cubicBezTo>
                    <a:cubicBezTo>
                      <a:pt x="816" y="265"/>
                      <a:pt x="815" y="266"/>
                      <a:pt x="814" y="265"/>
                    </a:cubicBezTo>
                    <a:cubicBezTo>
                      <a:pt x="817" y="265"/>
                      <a:pt x="811" y="264"/>
                      <a:pt x="811" y="263"/>
                    </a:cubicBezTo>
                    <a:cubicBezTo>
                      <a:pt x="812" y="263"/>
                      <a:pt x="813" y="263"/>
                      <a:pt x="813" y="263"/>
                    </a:cubicBezTo>
                    <a:cubicBezTo>
                      <a:pt x="813" y="262"/>
                      <a:pt x="812" y="263"/>
                      <a:pt x="811" y="263"/>
                    </a:cubicBezTo>
                    <a:cubicBezTo>
                      <a:pt x="813" y="262"/>
                      <a:pt x="813" y="260"/>
                      <a:pt x="811" y="260"/>
                    </a:cubicBezTo>
                    <a:cubicBezTo>
                      <a:pt x="810" y="260"/>
                      <a:pt x="810" y="260"/>
                      <a:pt x="809" y="260"/>
                    </a:cubicBezTo>
                    <a:cubicBezTo>
                      <a:pt x="808" y="260"/>
                      <a:pt x="806" y="261"/>
                      <a:pt x="805" y="259"/>
                    </a:cubicBezTo>
                    <a:cubicBezTo>
                      <a:pt x="806" y="259"/>
                      <a:pt x="806" y="259"/>
                      <a:pt x="807" y="259"/>
                    </a:cubicBezTo>
                    <a:cubicBezTo>
                      <a:pt x="808" y="259"/>
                      <a:pt x="808" y="260"/>
                      <a:pt x="809" y="259"/>
                    </a:cubicBezTo>
                    <a:cubicBezTo>
                      <a:pt x="809" y="259"/>
                      <a:pt x="808" y="259"/>
                      <a:pt x="808" y="259"/>
                    </a:cubicBezTo>
                    <a:cubicBezTo>
                      <a:pt x="808" y="259"/>
                      <a:pt x="809" y="259"/>
                      <a:pt x="810" y="259"/>
                    </a:cubicBezTo>
                    <a:cubicBezTo>
                      <a:pt x="809" y="259"/>
                      <a:pt x="808" y="258"/>
                      <a:pt x="808" y="258"/>
                    </a:cubicBezTo>
                    <a:cubicBezTo>
                      <a:pt x="807" y="258"/>
                      <a:pt x="807" y="257"/>
                      <a:pt x="806" y="257"/>
                    </a:cubicBezTo>
                    <a:cubicBezTo>
                      <a:pt x="806" y="257"/>
                      <a:pt x="805" y="257"/>
                      <a:pt x="804" y="257"/>
                    </a:cubicBezTo>
                    <a:cubicBezTo>
                      <a:pt x="805" y="257"/>
                      <a:pt x="806" y="257"/>
                      <a:pt x="806" y="257"/>
                    </a:cubicBezTo>
                    <a:cubicBezTo>
                      <a:pt x="806" y="256"/>
                      <a:pt x="805" y="256"/>
                      <a:pt x="805" y="256"/>
                    </a:cubicBezTo>
                    <a:cubicBezTo>
                      <a:pt x="806" y="256"/>
                      <a:pt x="811" y="256"/>
                      <a:pt x="808" y="255"/>
                    </a:cubicBezTo>
                    <a:cubicBezTo>
                      <a:pt x="807" y="255"/>
                      <a:pt x="805" y="255"/>
                      <a:pt x="803" y="254"/>
                    </a:cubicBezTo>
                    <a:cubicBezTo>
                      <a:pt x="804" y="254"/>
                      <a:pt x="805" y="254"/>
                      <a:pt x="806" y="254"/>
                    </a:cubicBezTo>
                    <a:cubicBezTo>
                      <a:pt x="804" y="254"/>
                      <a:pt x="802" y="253"/>
                      <a:pt x="800" y="252"/>
                    </a:cubicBezTo>
                    <a:cubicBezTo>
                      <a:pt x="800" y="251"/>
                      <a:pt x="804" y="251"/>
                      <a:pt x="805" y="251"/>
                    </a:cubicBezTo>
                    <a:cubicBezTo>
                      <a:pt x="804" y="252"/>
                      <a:pt x="802" y="251"/>
                      <a:pt x="800" y="252"/>
                    </a:cubicBezTo>
                    <a:cubicBezTo>
                      <a:pt x="802" y="253"/>
                      <a:pt x="804" y="253"/>
                      <a:pt x="805" y="254"/>
                    </a:cubicBezTo>
                    <a:cubicBezTo>
                      <a:pt x="806" y="254"/>
                      <a:pt x="806" y="254"/>
                      <a:pt x="806" y="254"/>
                    </a:cubicBezTo>
                    <a:cubicBezTo>
                      <a:pt x="806" y="254"/>
                      <a:pt x="806" y="253"/>
                      <a:pt x="806" y="253"/>
                    </a:cubicBezTo>
                    <a:cubicBezTo>
                      <a:pt x="807" y="253"/>
                      <a:pt x="807" y="254"/>
                      <a:pt x="807" y="254"/>
                    </a:cubicBezTo>
                    <a:cubicBezTo>
                      <a:pt x="808" y="254"/>
                      <a:pt x="809" y="254"/>
                      <a:pt x="809" y="254"/>
                    </a:cubicBezTo>
                    <a:cubicBezTo>
                      <a:pt x="809" y="254"/>
                      <a:pt x="808" y="253"/>
                      <a:pt x="808" y="253"/>
                    </a:cubicBezTo>
                    <a:cubicBezTo>
                      <a:pt x="808" y="253"/>
                      <a:pt x="808" y="253"/>
                      <a:pt x="808" y="253"/>
                    </a:cubicBezTo>
                    <a:cubicBezTo>
                      <a:pt x="808" y="252"/>
                      <a:pt x="807" y="252"/>
                      <a:pt x="807" y="253"/>
                    </a:cubicBezTo>
                    <a:cubicBezTo>
                      <a:pt x="807" y="252"/>
                      <a:pt x="808" y="252"/>
                      <a:pt x="808" y="252"/>
                    </a:cubicBezTo>
                    <a:cubicBezTo>
                      <a:pt x="809" y="251"/>
                      <a:pt x="809" y="251"/>
                      <a:pt x="809" y="250"/>
                    </a:cubicBezTo>
                    <a:cubicBezTo>
                      <a:pt x="810" y="250"/>
                      <a:pt x="812" y="248"/>
                      <a:pt x="812" y="249"/>
                    </a:cubicBezTo>
                    <a:cubicBezTo>
                      <a:pt x="812" y="248"/>
                      <a:pt x="812" y="247"/>
                      <a:pt x="811" y="247"/>
                    </a:cubicBezTo>
                    <a:cubicBezTo>
                      <a:pt x="810" y="247"/>
                      <a:pt x="808" y="247"/>
                      <a:pt x="809" y="246"/>
                    </a:cubicBezTo>
                    <a:cubicBezTo>
                      <a:pt x="808" y="246"/>
                      <a:pt x="808" y="247"/>
                      <a:pt x="807" y="246"/>
                    </a:cubicBezTo>
                    <a:cubicBezTo>
                      <a:pt x="807" y="246"/>
                      <a:pt x="806" y="245"/>
                      <a:pt x="806" y="245"/>
                    </a:cubicBezTo>
                    <a:cubicBezTo>
                      <a:pt x="806" y="245"/>
                      <a:pt x="807" y="245"/>
                      <a:pt x="807" y="244"/>
                    </a:cubicBezTo>
                    <a:cubicBezTo>
                      <a:pt x="807" y="244"/>
                      <a:pt x="807" y="243"/>
                      <a:pt x="808" y="243"/>
                    </a:cubicBezTo>
                    <a:cubicBezTo>
                      <a:pt x="806" y="242"/>
                      <a:pt x="805" y="242"/>
                      <a:pt x="803" y="242"/>
                    </a:cubicBezTo>
                    <a:cubicBezTo>
                      <a:pt x="802" y="243"/>
                      <a:pt x="801" y="242"/>
                      <a:pt x="800" y="241"/>
                    </a:cubicBezTo>
                    <a:cubicBezTo>
                      <a:pt x="800" y="241"/>
                      <a:pt x="802" y="242"/>
                      <a:pt x="802" y="242"/>
                    </a:cubicBezTo>
                    <a:cubicBezTo>
                      <a:pt x="802" y="242"/>
                      <a:pt x="802" y="241"/>
                      <a:pt x="803" y="241"/>
                    </a:cubicBezTo>
                    <a:cubicBezTo>
                      <a:pt x="803" y="241"/>
                      <a:pt x="804" y="241"/>
                      <a:pt x="805" y="241"/>
                    </a:cubicBezTo>
                    <a:cubicBezTo>
                      <a:pt x="805" y="241"/>
                      <a:pt x="807" y="240"/>
                      <a:pt x="807" y="240"/>
                    </a:cubicBezTo>
                    <a:cubicBezTo>
                      <a:pt x="807" y="238"/>
                      <a:pt x="802" y="236"/>
                      <a:pt x="802" y="235"/>
                    </a:cubicBezTo>
                    <a:cubicBezTo>
                      <a:pt x="802" y="237"/>
                      <a:pt x="801" y="235"/>
                      <a:pt x="800" y="235"/>
                    </a:cubicBezTo>
                    <a:cubicBezTo>
                      <a:pt x="800" y="234"/>
                      <a:pt x="799" y="235"/>
                      <a:pt x="799" y="235"/>
                    </a:cubicBezTo>
                    <a:cubicBezTo>
                      <a:pt x="800" y="234"/>
                      <a:pt x="800" y="234"/>
                      <a:pt x="801" y="234"/>
                    </a:cubicBezTo>
                    <a:cubicBezTo>
                      <a:pt x="802" y="234"/>
                      <a:pt x="802" y="234"/>
                      <a:pt x="802" y="234"/>
                    </a:cubicBezTo>
                    <a:cubicBezTo>
                      <a:pt x="802" y="233"/>
                      <a:pt x="801" y="233"/>
                      <a:pt x="800" y="233"/>
                    </a:cubicBezTo>
                    <a:cubicBezTo>
                      <a:pt x="801" y="233"/>
                      <a:pt x="801" y="232"/>
                      <a:pt x="801" y="232"/>
                    </a:cubicBezTo>
                    <a:cubicBezTo>
                      <a:pt x="799" y="233"/>
                      <a:pt x="798" y="232"/>
                      <a:pt x="796" y="232"/>
                    </a:cubicBezTo>
                    <a:cubicBezTo>
                      <a:pt x="795" y="232"/>
                      <a:pt x="795" y="233"/>
                      <a:pt x="794" y="234"/>
                    </a:cubicBezTo>
                    <a:cubicBezTo>
                      <a:pt x="794" y="234"/>
                      <a:pt x="793" y="234"/>
                      <a:pt x="792" y="234"/>
                    </a:cubicBezTo>
                    <a:cubicBezTo>
                      <a:pt x="792" y="234"/>
                      <a:pt x="793" y="234"/>
                      <a:pt x="794" y="234"/>
                    </a:cubicBezTo>
                    <a:cubicBezTo>
                      <a:pt x="794" y="234"/>
                      <a:pt x="794" y="233"/>
                      <a:pt x="794" y="233"/>
                    </a:cubicBezTo>
                    <a:cubicBezTo>
                      <a:pt x="795" y="232"/>
                      <a:pt x="795" y="232"/>
                      <a:pt x="796" y="232"/>
                    </a:cubicBezTo>
                    <a:cubicBezTo>
                      <a:pt x="797" y="231"/>
                      <a:pt x="799" y="232"/>
                      <a:pt x="800" y="231"/>
                    </a:cubicBezTo>
                    <a:cubicBezTo>
                      <a:pt x="799" y="230"/>
                      <a:pt x="797" y="230"/>
                      <a:pt x="796" y="231"/>
                    </a:cubicBezTo>
                    <a:cubicBezTo>
                      <a:pt x="797" y="230"/>
                      <a:pt x="798" y="230"/>
                      <a:pt x="799" y="230"/>
                    </a:cubicBezTo>
                    <a:cubicBezTo>
                      <a:pt x="800" y="229"/>
                      <a:pt x="799" y="228"/>
                      <a:pt x="800" y="227"/>
                    </a:cubicBezTo>
                    <a:cubicBezTo>
                      <a:pt x="799" y="227"/>
                      <a:pt x="799" y="227"/>
                      <a:pt x="798" y="227"/>
                    </a:cubicBezTo>
                    <a:cubicBezTo>
                      <a:pt x="798" y="227"/>
                      <a:pt x="798" y="227"/>
                      <a:pt x="798" y="227"/>
                    </a:cubicBezTo>
                    <a:cubicBezTo>
                      <a:pt x="797" y="227"/>
                      <a:pt x="797" y="227"/>
                      <a:pt x="796" y="227"/>
                    </a:cubicBezTo>
                    <a:cubicBezTo>
                      <a:pt x="795" y="227"/>
                      <a:pt x="795" y="228"/>
                      <a:pt x="794" y="229"/>
                    </a:cubicBezTo>
                    <a:cubicBezTo>
                      <a:pt x="795" y="227"/>
                      <a:pt x="793" y="227"/>
                      <a:pt x="792" y="228"/>
                    </a:cubicBezTo>
                    <a:cubicBezTo>
                      <a:pt x="791" y="229"/>
                      <a:pt x="790" y="229"/>
                      <a:pt x="789" y="230"/>
                    </a:cubicBezTo>
                    <a:cubicBezTo>
                      <a:pt x="790" y="229"/>
                      <a:pt x="791" y="228"/>
                      <a:pt x="792" y="227"/>
                    </a:cubicBezTo>
                    <a:cubicBezTo>
                      <a:pt x="791" y="227"/>
                      <a:pt x="791" y="227"/>
                      <a:pt x="790" y="227"/>
                    </a:cubicBezTo>
                    <a:cubicBezTo>
                      <a:pt x="791" y="226"/>
                      <a:pt x="792" y="227"/>
                      <a:pt x="792" y="227"/>
                    </a:cubicBezTo>
                    <a:cubicBezTo>
                      <a:pt x="793" y="227"/>
                      <a:pt x="794" y="226"/>
                      <a:pt x="794" y="226"/>
                    </a:cubicBezTo>
                    <a:cubicBezTo>
                      <a:pt x="795" y="226"/>
                      <a:pt x="796" y="225"/>
                      <a:pt x="796" y="225"/>
                    </a:cubicBezTo>
                    <a:cubicBezTo>
                      <a:pt x="798" y="224"/>
                      <a:pt x="797" y="224"/>
                      <a:pt x="795" y="224"/>
                    </a:cubicBezTo>
                    <a:cubicBezTo>
                      <a:pt x="797" y="223"/>
                      <a:pt x="796" y="222"/>
                      <a:pt x="794" y="221"/>
                    </a:cubicBezTo>
                    <a:cubicBezTo>
                      <a:pt x="794" y="221"/>
                      <a:pt x="794" y="222"/>
                      <a:pt x="794" y="222"/>
                    </a:cubicBezTo>
                    <a:cubicBezTo>
                      <a:pt x="794" y="222"/>
                      <a:pt x="793" y="221"/>
                      <a:pt x="793" y="221"/>
                    </a:cubicBezTo>
                    <a:cubicBezTo>
                      <a:pt x="793" y="221"/>
                      <a:pt x="792" y="221"/>
                      <a:pt x="792" y="221"/>
                    </a:cubicBezTo>
                    <a:cubicBezTo>
                      <a:pt x="793" y="221"/>
                      <a:pt x="794" y="220"/>
                      <a:pt x="794" y="220"/>
                    </a:cubicBezTo>
                    <a:cubicBezTo>
                      <a:pt x="793" y="220"/>
                      <a:pt x="793" y="220"/>
                      <a:pt x="792" y="220"/>
                    </a:cubicBezTo>
                    <a:cubicBezTo>
                      <a:pt x="793" y="219"/>
                      <a:pt x="793" y="219"/>
                      <a:pt x="794" y="218"/>
                    </a:cubicBezTo>
                    <a:cubicBezTo>
                      <a:pt x="792" y="217"/>
                      <a:pt x="791" y="219"/>
                      <a:pt x="788" y="219"/>
                    </a:cubicBezTo>
                    <a:cubicBezTo>
                      <a:pt x="788" y="219"/>
                      <a:pt x="787" y="219"/>
                      <a:pt x="787" y="219"/>
                    </a:cubicBezTo>
                    <a:cubicBezTo>
                      <a:pt x="787" y="219"/>
                      <a:pt x="787" y="219"/>
                      <a:pt x="787" y="219"/>
                    </a:cubicBezTo>
                    <a:cubicBezTo>
                      <a:pt x="786" y="219"/>
                      <a:pt x="787" y="220"/>
                      <a:pt x="786" y="220"/>
                    </a:cubicBezTo>
                    <a:cubicBezTo>
                      <a:pt x="786" y="219"/>
                      <a:pt x="786" y="218"/>
                      <a:pt x="785" y="219"/>
                    </a:cubicBezTo>
                    <a:cubicBezTo>
                      <a:pt x="786" y="217"/>
                      <a:pt x="788" y="219"/>
                      <a:pt x="789" y="218"/>
                    </a:cubicBezTo>
                    <a:cubicBezTo>
                      <a:pt x="790" y="218"/>
                      <a:pt x="791" y="217"/>
                      <a:pt x="792" y="216"/>
                    </a:cubicBezTo>
                    <a:cubicBezTo>
                      <a:pt x="791" y="216"/>
                      <a:pt x="790" y="216"/>
                      <a:pt x="789" y="216"/>
                    </a:cubicBezTo>
                    <a:cubicBezTo>
                      <a:pt x="790" y="215"/>
                      <a:pt x="791" y="213"/>
                      <a:pt x="789" y="214"/>
                    </a:cubicBezTo>
                    <a:cubicBezTo>
                      <a:pt x="788" y="214"/>
                      <a:pt x="788" y="215"/>
                      <a:pt x="787" y="215"/>
                    </a:cubicBezTo>
                    <a:cubicBezTo>
                      <a:pt x="788" y="214"/>
                      <a:pt x="789" y="214"/>
                      <a:pt x="787" y="213"/>
                    </a:cubicBezTo>
                    <a:cubicBezTo>
                      <a:pt x="786" y="213"/>
                      <a:pt x="785" y="213"/>
                      <a:pt x="785" y="213"/>
                    </a:cubicBezTo>
                    <a:cubicBezTo>
                      <a:pt x="786" y="212"/>
                      <a:pt x="787" y="213"/>
                      <a:pt x="788" y="212"/>
                    </a:cubicBezTo>
                    <a:cubicBezTo>
                      <a:pt x="788" y="211"/>
                      <a:pt x="786" y="210"/>
                      <a:pt x="785" y="211"/>
                    </a:cubicBezTo>
                    <a:cubicBezTo>
                      <a:pt x="786" y="211"/>
                      <a:pt x="787" y="210"/>
                      <a:pt x="787" y="210"/>
                    </a:cubicBezTo>
                    <a:cubicBezTo>
                      <a:pt x="787" y="210"/>
                      <a:pt x="785" y="210"/>
                      <a:pt x="785" y="210"/>
                    </a:cubicBezTo>
                    <a:cubicBezTo>
                      <a:pt x="785" y="210"/>
                      <a:pt x="785" y="211"/>
                      <a:pt x="784" y="211"/>
                    </a:cubicBezTo>
                    <a:cubicBezTo>
                      <a:pt x="784" y="210"/>
                      <a:pt x="785" y="209"/>
                      <a:pt x="786" y="209"/>
                    </a:cubicBezTo>
                    <a:cubicBezTo>
                      <a:pt x="785" y="209"/>
                      <a:pt x="784" y="209"/>
                      <a:pt x="783" y="208"/>
                    </a:cubicBezTo>
                    <a:cubicBezTo>
                      <a:pt x="782" y="207"/>
                      <a:pt x="783" y="207"/>
                      <a:pt x="784" y="206"/>
                    </a:cubicBezTo>
                    <a:cubicBezTo>
                      <a:pt x="783" y="206"/>
                      <a:pt x="783" y="206"/>
                      <a:pt x="783" y="206"/>
                    </a:cubicBezTo>
                    <a:cubicBezTo>
                      <a:pt x="783" y="205"/>
                      <a:pt x="783" y="205"/>
                      <a:pt x="784" y="204"/>
                    </a:cubicBezTo>
                    <a:cubicBezTo>
                      <a:pt x="783" y="204"/>
                      <a:pt x="782" y="204"/>
                      <a:pt x="782" y="204"/>
                    </a:cubicBezTo>
                    <a:cubicBezTo>
                      <a:pt x="782" y="204"/>
                      <a:pt x="781" y="205"/>
                      <a:pt x="781" y="205"/>
                    </a:cubicBezTo>
                    <a:cubicBezTo>
                      <a:pt x="780" y="205"/>
                      <a:pt x="780" y="206"/>
                      <a:pt x="780" y="205"/>
                    </a:cubicBezTo>
                    <a:cubicBezTo>
                      <a:pt x="779" y="203"/>
                      <a:pt x="780" y="205"/>
                      <a:pt x="781" y="204"/>
                    </a:cubicBezTo>
                    <a:cubicBezTo>
                      <a:pt x="782" y="203"/>
                      <a:pt x="779" y="203"/>
                      <a:pt x="779" y="203"/>
                    </a:cubicBezTo>
                    <a:cubicBezTo>
                      <a:pt x="778" y="203"/>
                      <a:pt x="778" y="204"/>
                      <a:pt x="777" y="204"/>
                    </a:cubicBezTo>
                    <a:cubicBezTo>
                      <a:pt x="777" y="204"/>
                      <a:pt x="777" y="204"/>
                      <a:pt x="777" y="204"/>
                    </a:cubicBezTo>
                    <a:cubicBezTo>
                      <a:pt x="777" y="204"/>
                      <a:pt x="777" y="204"/>
                      <a:pt x="777" y="204"/>
                    </a:cubicBezTo>
                    <a:cubicBezTo>
                      <a:pt x="777" y="204"/>
                      <a:pt x="777" y="204"/>
                      <a:pt x="777" y="204"/>
                    </a:cubicBezTo>
                    <a:cubicBezTo>
                      <a:pt x="777" y="204"/>
                      <a:pt x="778" y="203"/>
                      <a:pt x="778" y="202"/>
                    </a:cubicBezTo>
                    <a:cubicBezTo>
                      <a:pt x="778" y="202"/>
                      <a:pt x="778" y="202"/>
                      <a:pt x="778" y="202"/>
                    </a:cubicBezTo>
                    <a:cubicBezTo>
                      <a:pt x="778" y="202"/>
                      <a:pt x="778" y="202"/>
                      <a:pt x="778" y="202"/>
                    </a:cubicBezTo>
                    <a:cubicBezTo>
                      <a:pt x="779" y="201"/>
                      <a:pt x="779" y="201"/>
                      <a:pt x="779" y="201"/>
                    </a:cubicBezTo>
                    <a:cubicBezTo>
                      <a:pt x="779" y="201"/>
                      <a:pt x="779" y="201"/>
                      <a:pt x="779" y="201"/>
                    </a:cubicBezTo>
                    <a:cubicBezTo>
                      <a:pt x="778" y="201"/>
                      <a:pt x="778" y="201"/>
                      <a:pt x="778" y="201"/>
                    </a:cubicBezTo>
                    <a:cubicBezTo>
                      <a:pt x="778" y="201"/>
                      <a:pt x="778" y="201"/>
                      <a:pt x="778" y="201"/>
                    </a:cubicBezTo>
                    <a:cubicBezTo>
                      <a:pt x="778" y="201"/>
                      <a:pt x="778" y="201"/>
                      <a:pt x="778" y="201"/>
                    </a:cubicBezTo>
                    <a:cubicBezTo>
                      <a:pt x="778" y="201"/>
                      <a:pt x="778" y="201"/>
                      <a:pt x="778" y="201"/>
                    </a:cubicBezTo>
                    <a:cubicBezTo>
                      <a:pt x="779" y="201"/>
                      <a:pt x="779" y="201"/>
                      <a:pt x="779" y="200"/>
                    </a:cubicBezTo>
                    <a:cubicBezTo>
                      <a:pt x="780" y="200"/>
                      <a:pt x="781" y="200"/>
                      <a:pt x="781" y="200"/>
                    </a:cubicBezTo>
                    <a:cubicBezTo>
                      <a:pt x="780" y="200"/>
                      <a:pt x="780" y="199"/>
                      <a:pt x="779" y="199"/>
                    </a:cubicBezTo>
                    <a:cubicBezTo>
                      <a:pt x="780" y="199"/>
                      <a:pt x="780" y="199"/>
                      <a:pt x="780" y="199"/>
                    </a:cubicBezTo>
                    <a:cubicBezTo>
                      <a:pt x="779" y="199"/>
                      <a:pt x="779" y="199"/>
                      <a:pt x="779" y="199"/>
                    </a:cubicBezTo>
                    <a:cubicBezTo>
                      <a:pt x="779" y="199"/>
                      <a:pt x="779" y="199"/>
                      <a:pt x="779" y="199"/>
                    </a:cubicBezTo>
                    <a:cubicBezTo>
                      <a:pt x="778" y="198"/>
                      <a:pt x="778" y="199"/>
                      <a:pt x="778" y="199"/>
                    </a:cubicBezTo>
                    <a:cubicBezTo>
                      <a:pt x="778" y="199"/>
                      <a:pt x="778" y="199"/>
                      <a:pt x="778"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8"/>
                      <a:pt x="777" y="198"/>
                      <a:pt x="777" y="198"/>
                    </a:cubicBezTo>
                    <a:cubicBezTo>
                      <a:pt x="777" y="198"/>
                      <a:pt x="777" y="198"/>
                      <a:pt x="777" y="198"/>
                    </a:cubicBezTo>
                    <a:cubicBezTo>
                      <a:pt x="777" y="198"/>
                      <a:pt x="777" y="198"/>
                      <a:pt x="777" y="198"/>
                    </a:cubicBezTo>
                    <a:cubicBezTo>
                      <a:pt x="777" y="198"/>
                      <a:pt x="777" y="198"/>
                      <a:pt x="777" y="198"/>
                    </a:cubicBezTo>
                    <a:cubicBezTo>
                      <a:pt x="777" y="198"/>
                      <a:pt x="777" y="198"/>
                      <a:pt x="777" y="198"/>
                    </a:cubicBezTo>
                    <a:cubicBezTo>
                      <a:pt x="776" y="199"/>
                      <a:pt x="776" y="199"/>
                      <a:pt x="776" y="199"/>
                    </a:cubicBezTo>
                    <a:cubicBezTo>
                      <a:pt x="776" y="199"/>
                      <a:pt x="776" y="199"/>
                      <a:pt x="776" y="199"/>
                    </a:cubicBezTo>
                    <a:cubicBezTo>
                      <a:pt x="776" y="200"/>
                      <a:pt x="776" y="200"/>
                      <a:pt x="776" y="200"/>
                    </a:cubicBezTo>
                    <a:cubicBezTo>
                      <a:pt x="776" y="201"/>
                      <a:pt x="776" y="201"/>
                      <a:pt x="776" y="201"/>
                    </a:cubicBezTo>
                    <a:cubicBezTo>
                      <a:pt x="776" y="201"/>
                      <a:pt x="776" y="201"/>
                      <a:pt x="776" y="201"/>
                    </a:cubicBezTo>
                    <a:cubicBezTo>
                      <a:pt x="776" y="201"/>
                      <a:pt x="776" y="201"/>
                      <a:pt x="776" y="201"/>
                    </a:cubicBezTo>
                    <a:cubicBezTo>
                      <a:pt x="776" y="201"/>
                      <a:pt x="776" y="201"/>
                      <a:pt x="776" y="201"/>
                    </a:cubicBezTo>
                    <a:cubicBezTo>
                      <a:pt x="775" y="202"/>
                      <a:pt x="775" y="202"/>
                      <a:pt x="775" y="202"/>
                    </a:cubicBezTo>
                    <a:cubicBezTo>
                      <a:pt x="775" y="203"/>
                      <a:pt x="774" y="203"/>
                      <a:pt x="774" y="204"/>
                    </a:cubicBezTo>
                    <a:cubicBezTo>
                      <a:pt x="774" y="204"/>
                      <a:pt x="774" y="204"/>
                      <a:pt x="774" y="204"/>
                    </a:cubicBezTo>
                    <a:cubicBezTo>
                      <a:pt x="774" y="204"/>
                      <a:pt x="774" y="204"/>
                      <a:pt x="774" y="204"/>
                    </a:cubicBezTo>
                    <a:cubicBezTo>
                      <a:pt x="774" y="204"/>
                      <a:pt x="774" y="204"/>
                      <a:pt x="774" y="204"/>
                    </a:cubicBezTo>
                    <a:cubicBezTo>
                      <a:pt x="774" y="204"/>
                      <a:pt x="774" y="204"/>
                      <a:pt x="774" y="204"/>
                    </a:cubicBezTo>
                    <a:cubicBezTo>
                      <a:pt x="774" y="204"/>
                      <a:pt x="774" y="204"/>
                      <a:pt x="774" y="204"/>
                    </a:cubicBezTo>
                    <a:cubicBezTo>
                      <a:pt x="774" y="204"/>
                      <a:pt x="774" y="204"/>
                      <a:pt x="774" y="205"/>
                    </a:cubicBezTo>
                    <a:cubicBezTo>
                      <a:pt x="774" y="205"/>
                      <a:pt x="774" y="205"/>
                      <a:pt x="774" y="205"/>
                    </a:cubicBezTo>
                    <a:cubicBezTo>
                      <a:pt x="774" y="205"/>
                      <a:pt x="774" y="205"/>
                      <a:pt x="774" y="205"/>
                    </a:cubicBezTo>
                    <a:cubicBezTo>
                      <a:pt x="774" y="205"/>
                      <a:pt x="774" y="205"/>
                      <a:pt x="774" y="205"/>
                    </a:cubicBezTo>
                    <a:cubicBezTo>
                      <a:pt x="774" y="205"/>
                      <a:pt x="774" y="205"/>
                      <a:pt x="774" y="205"/>
                    </a:cubicBezTo>
                    <a:cubicBezTo>
                      <a:pt x="774" y="205"/>
                      <a:pt x="774" y="205"/>
                      <a:pt x="774" y="205"/>
                    </a:cubicBezTo>
                    <a:cubicBezTo>
                      <a:pt x="774" y="206"/>
                      <a:pt x="774" y="206"/>
                      <a:pt x="774" y="206"/>
                    </a:cubicBezTo>
                    <a:cubicBezTo>
                      <a:pt x="774" y="206"/>
                      <a:pt x="774" y="206"/>
                      <a:pt x="774" y="206"/>
                    </a:cubicBezTo>
                    <a:cubicBezTo>
                      <a:pt x="774" y="206"/>
                      <a:pt x="774" y="206"/>
                      <a:pt x="774" y="206"/>
                    </a:cubicBezTo>
                    <a:cubicBezTo>
                      <a:pt x="774" y="206"/>
                      <a:pt x="774" y="206"/>
                      <a:pt x="774" y="206"/>
                    </a:cubicBezTo>
                    <a:cubicBezTo>
                      <a:pt x="773" y="206"/>
                      <a:pt x="773" y="206"/>
                      <a:pt x="773" y="206"/>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4" y="207"/>
                      <a:pt x="774" y="207"/>
                      <a:pt x="774" y="207"/>
                    </a:cubicBezTo>
                    <a:cubicBezTo>
                      <a:pt x="774" y="207"/>
                      <a:pt x="774" y="207"/>
                      <a:pt x="774" y="207"/>
                    </a:cubicBezTo>
                    <a:cubicBezTo>
                      <a:pt x="774" y="207"/>
                      <a:pt x="774" y="207"/>
                      <a:pt x="774" y="207"/>
                    </a:cubicBezTo>
                    <a:cubicBezTo>
                      <a:pt x="774" y="207"/>
                      <a:pt x="775" y="207"/>
                      <a:pt x="775" y="208"/>
                    </a:cubicBezTo>
                    <a:cubicBezTo>
                      <a:pt x="775" y="208"/>
                      <a:pt x="775" y="208"/>
                      <a:pt x="775" y="208"/>
                    </a:cubicBezTo>
                    <a:cubicBezTo>
                      <a:pt x="775" y="208"/>
                      <a:pt x="775" y="208"/>
                      <a:pt x="775" y="208"/>
                    </a:cubicBezTo>
                    <a:cubicBezTo>
                      <a:pt x="775" y="208"/>
                      <a:pt x="775" y="208"/>
                      <a:pt x="775" y="208"/>
                    </a:cubicBezTo>
                    <a:cubicBezTo>
                      <a:pt x="775" y="208"/>
                      <a:pt x="775" y="208"/>
                      <a:pt x="775" y="208"/>
                    </a:cubicBezTo>
                    <a:cubicBezTo>
                      <a:pt x="775" y="207"/>
                      <a:pt x="775" y="207"/>
                      <a:pt x="775" y="207"/>
                    </a:cubicBezTo>
                    <a:cubicBezTo>
                      <a:pt x="774" y="207"/>
                      <a:pt x="774" y="207"/>
                      <a:pt x="774" y="207"/>
                    </a:cubicBezTo>
                    <a:cubicBezTo>
                      <a:pt x="774" y="207"/>
                      <a:pt x="774" y="207"/>
                      <a:pt x="774" y="207"/>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3" y="207"/>
                      <a:pt x="773" y="207"/>
                      <a:pt x="772" y="207"/>
                    </a:cubicBezTo>
                    <a:cubicBezTo>
                      <a:pt x="772" y="207"/>
                      <a:pt x="772" y="207"/>
                      <a:pt x="772" y="207"/>
                    </a:cubicBezTo>
                    <a:cubicBezTo>
                      <a:pt x="772" y="207"/>
                      <a:pt x="772" y="207"/>
                      <a:pt x="772" y="207"/>
                    </a:cubicBezTo>
                    <a:cubicBezTo>
                      <a:pt x="772" y="206"/>
                      <a:pt x="772" y="206"/>
                      <a:pt x="772" y="206"/>
                    </a:cubicBezTo>
                    <a:cubicBezTo>
                      <a:pt x="772" y="206"/>
                      <a:pt x="772" y="206"/>
                      <a:pt x="772" y="206"/>
                    </a:cubicBezTo>
                    <a:cubicBezTo>
                      <a:pt x="772" y="206"/>
                      <a:pt x="772" y="206"/>
                      <a:pt x="771" y="206"/>
                    </a:cubicBezTo>
                    <a:cubicBezTo>
                      <a:pt x="771" y="207"/>
                      <a:pt x="771" y="207"/>
                      <a:pt x="771" y="207"/>
                    </a:cubicBezTo>
                    <a:cubicBezTo>
                      <a:pt x="771" y="207"/>
                      <a:pt x="771" y="207"/>
                      <a:pt x="771" y="207"/>
                    </a:cubicBezTo>
                    <a:cubicBezTo>
                      <a:pt x="771" y="207"/>
                      <a:pt x="771" y="207"/>
                      <a:pt x="771" y="207"/>
                    </a:cubicBezTo>
                    <a:cubicBezTo>
                      <a:pt x="771" y="207"/>
                      <a:pt x="771" y="207"/>
                      <a:pt x="771" y="207"/>
                    </a:cubicBezTo>
                    <a:cubicBezTo>
                      <a:pt x="771" y="207"/>
                      <a:pt x="771" y="207"/>
                      <a:pt x="771" y="207"/>
                    </a:cubicBezTo>
                    <a:cubicBezTo>
                      <a:pt x="771" y="207"/>
                      <a:pt x="771" y="207"/>
                      <a:pt x="771" y="207"/>
                    </a:cubicBezTo>
                    <a:cubicBezTo>
                      <a:pt x="771" y="207"/>
                      <a:pt x="771" y="207"/>
                      <a:pt x="771" y="207"/>
                    </a:cubicBezTo>
                    <a:cubicBezTo>
                      <a:pt x="770" y="207"/>
                      <a:pt x="770" y="207"/>
                      <a:pt x="770" y="207"/>
                    </a:cubicBezTo>
                    <a:cubicBezTo>
                      <a:pt x="770" y="207"/>
                      <a:pt x="770" y="207"/>
                      <a:pt x="770" y="207"/>
                    </a:cubicBezTo>
                    <a:cubicBezTo>
                      <a:pt x="770" y="207"/>
                      <a:pt x="770" y="207"/>
                      <a:pt x="770" y="207"/>
                    </a:cubicBezTo>
                    <a:cubicBezTo>
                      <a:pt x="770" y="207"/>
                      <a:pt x="770" y="207"/>
                      <a:pt x="770" y="207"/>
                    </a:cubicBezTo>
                    <a:cubicBezTo>
                      <a:pt x="770" y="207"/>
                      <a:pt x="770" y="207"/>
                      <a:pt x="770" y="207"/>
                    </a:cubicBezTo>
                    <a:cubicBezTo>
                      <a:pt x="770" y="207"/>
                      <a:pt x="770" y="207"/>
                      <a:pt x="770" y="207"/>
                    </a:cubicBezTo>
                    <a:cubicBezTo>
                      <a:pt x="770" y="208"/>
                      <a:pt x="770" y="208"/>
                      <a:pt x="770" y="208"/>
                    </a:cubicBezTo>
                    <a:cubicBezTo>
                      <a:pt x="770" y="209"/>
                      <a:pt x="770" y="209"/>
                      <a:pt x="770" y="209"/>
                    </a:cubicBezTo>
                    <a:cubicBezTo>
                      <a:pt x="770" y="209"/>
                      <a:pt x="770" y="209"/>
                      <a:pt x="770" y="209"/>
                    </a:cubicBezTo>
                    <a:cubicBezTo>
                      <a:pt x="770" y="209"/>
                      <a:pt x="770" y="209"/>
                      <a:pt x="770" y="209"/>
                    </a:cubicBezTo>
                    <a:cubicBezTo>
                      <a:pt x="770" y="209"/>
                      <a:pt x="770" y="209"/>
                      <a:pt x="770" y="209"/>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1"/>
                    </a:cubicBezTo>
                    <a:cubicBezTo>
                      <a:pt x="770" y="211"/>
                      <a:pt x="770" y="211"/>
                      <a:pt x="770" y="211"/>
                    </a:cubicBezTo>
                    <a:cubicBezTo>
                      <a:pt x="770" y="211"/>
                      <a:pt x="770" y="211"/>
                      <a:pt x="770" y="211"/>
                    </a:cubicBezTo>
                    <a:cubicBezTo>
                      <a:pt x="770" y="211"/>
                      <a:pt x="770" y="211"/>
                      <a:pt x="770" y="211"/>
                    </a:cubicBezTo>
                    <a:cubicBezTo>
                      <a:pt x="771" y="212"/>
                      <a:pt x="771" y="211"/>
                      <a:pt x="772" y="211"/>
                    </a:cubicBezTo>
                    <a:cubicBezTo>
                      <a:pt x="772" y="211"/>
                      <a:pt x="772" y="211"/>
                      <a:pt x="772" y="211"/>
                    </a:cubicBezTo>
                    <a:cubicBezTo>
                      <a:pt x="772" y="211"/>
                      <a:pt x="772" y="211"/>
                      <a:pt x="772" y="211"/>
                    </a:cubicBezTo>
                    <a:cubicBezTo>
                      <a:pt x="772" y="211"/>
                      <a:pt x="772" y="211"/>
                      <a:pt x="772" y="211"/>
                    </a:cubicBezTo>
                    <a:cubicBezTo>
                      <a:pt x="772" y="212"/>
                      <a:pt x="772" y="212"/>
                      <a:pt x="772" y="212"/>
                    </a:cubicBezTo>
                    <a:cubicBezTo>
                      <a:pt x="772" y="212"/>
                      <a:pt x="772" y="212"/>
                      <a:pt x="772" y="212"/>
                    </a:cubicBezTo>
                    <a:cubicBezTo>
                      <a:pt x="772" y="212"/>
                      <a:pt x="772"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3"/>
                      <a:pt x="773" y="212"/>
                      <a:pt x="774" y="213"/>
                    </a:cubicBezTo>
                    <a:cubicBezTo>
                      <a:pt x="774" y="213"/>
                      <a:pt x="774" y="213"/>
                      <a:pt x="774" y="213"/>
                    </a:cubicBezTo>
                    <a:cubicBezTo>
                      <a:pt x="774" y="213"/>
                      <a:pt x="774" y="213"/>
                      <a:pt x="774" y="213"/>
                    </a:cubicBezTo>
                    <a:cubicBezTo>
                      <a:pt x="774" y="213"/>
                      <a:pt x="774" y="213"/>
                      <a:pt x="775" y="213"/>
                    </a:cubicBezTo>
                    <a:cubicBezTo>
                      <a:pt x="775" y="213"/>
                      <a:pt x="775" y="213"/>
                      <a:pt x="775" y="213"/>
                    </a:cubicBezTo>
                    <a:cubicBezTo>
                      <a:pt x="775" y="213"/>
                      <a:pt x="775" y="213"/>
                      <a:pt x="775" y="213"/>
                    </a:cubicBezTo>
                    <a:cubicBezTo>
                      <a:pt x="775" y="213"/>
                      <a:pt x="775" y="213"/>
                      <a:pt x="775" y="213"/>
                    </a:cubicBezTo>
                    <a:cubicBezTo>
                      <a:pt x="775" y="213"/>
                      <a:pt x="775" y="213"/>
                      <a:pt x="775" y="213"/>
                    </a:cubicBezTo>
                    <a:cubicBezTo>
                      <a:pt x="775" y="213"/>
                      <a:pt x="775" y="213"/>
                      <a:pt x="775" y="213"/>
                    </a:cubicBezTo>
                    <a:cubicBezTo>
                      <a:pt x="775" y="213"/>
                      <a:pt x="775" y="213"/>
                      <a:pt x="775" y="213"/>
                    </a:cubicBezTo>
                    <a:cubicBezTo>
                      <a:pt x="774" y="213"/>
                      <a:pt x="774" y="213"/>
                      <a:pt x="774" y="213"/>
                    </a:cubicBezTo>
                    <a:cubicBezTo>
                      <a:pt x="774" y="213"/>
                      <a:pt x="773" y="213"/>
                      <a:pt x="773" y="212"/>
                    </a:cubicBezTo>
                    <a:cubicBezTo>
                      <a:pt x="773" y="212"/>
                      <a:pt x="773" y="212"/>
                      <a:pt x="773" y="212"/>
                    </a:cubicBezTo>
                    <a:cubicBezTo>
                      <a:pt x="773" y="212"/>
                      <a:pt x="773" y="212"/>
                      <a:pt x="773" y="212"/>
                    </a:cubicBezTo>
                    <a:cubicBezTo>
                      <a:pt x="773" y="212"/>
                      <a:pt x="772" y="212"/>
                      <a:pt x="772" y="212"/>
                    </a:cubicBezTo>
                    <a:cubicBezTo>
                      <a:pt x="772" y="212"/>
                      <a:pt x="772" y="212"/>
                      <a:pt x="772" y="212"/>
                    </a:cubicBezTo>
                    <a:cubicBezTo>
                      <a:pt x="772" y="212"/>
                      <a:pt x="772" y="212"/>
                      <a:pt x="772" y="212"/>
                    </a:cubicBezTo>
                    <a:cubicBezTo>
                      <a:pt x="772" y="212"/>
                      <a:pt x="772" y="212"/>
                      <a:pt x="772" y="212"/>
                    </a:cubicBezTo>
                    <a:cubicBezTo>
                      <a:pt x="772" y="212"/>
                      <a:pt x="772" y="212"/>
                      <a:pt x="772" y="212"/>
                    </a:cubicBezTo>
                    <a:cubicBezTo>
                      <a:pt x="771" y="212"/>
                      <a:pt x="771" y="212"/>
                      <a:pt x="771" y="212"/>
                    </a:cubicBezTo>
                    <a:cubicBezTo>
                      <a:pt x="770" y="212"/>
                      <a:pt x="770" y="212"/>
                      <a:pt x="770" y="212"/>
                    </a:cubicBezTo>
                    <a:cubicBezTo>
                      <a:pt x="770" y="212"/>
                      <a:pt x="770" y="212"/>
                      <a:pt x="770" y="212"/>
                    </a:cubicBezTo>
                    <a:cubicBezTo>
                      <a:pt x="770" y="212"/>
                      <a:pt x="770" y="212"/>
                      <a:pt x="770" y="212"/>
                    </a:cubicBezTo>
                    <a:cubicBezTo>
                      <a:pt x="769" y="212"/>
                      <a:pt x="769" y="212"/>
                      <a:pt x="769" y="212"/>
                    </a:cubicBezTo>
                    <a:cubicBezTo>
                      <a:pt x="769" y="212"/>
                      <a:pt x="769" y="212"/>
                      <a:pt x="769" y="212"/>
                    </a:cubicBezTo>
                    <a:cubicBezTo>
                      <a:pt x="769" y="212"/>
                      <a:pt x="769" y="212"/>
                      <a:pt x="769" y="212"/>
                    </a:cubicBezTo>
                    <a:cubicBezTo>
                      <a:pt x="769" y="212"/>
                      <a:pt x="769" y="212"/>
                      <a:pt x="769" y="212"/>
                    </a:cubicBezTo>
                    <a:cubicBezTo>
                      <a:pt x="770" y="212"/>
                      <a:pt x="770" y="213"/>
                      <a:pt x="771" y="213"/>
                    </a:cubicBezTo>
                    <a:cubicBezTo>
                      <a:pt x="771" y="213"/>
                      <a:pt x="771" y="213"/>
                      <a:pt x="771" y="213"/>
                    </a:cubicBezTo>
                    <a:cubicBezTo>
                      <a:pt x="771" y="213"/>
                      <a:pt x="771" y="213"/>
                      <a:pt x="771" y="213"/>
                    </a:cubicBezTo>
                    <a:cubicBezTo>
                      <a:pt x="771" y="213"/>
                      <a:pt x="771" y="213"/>
                      <a:pt x="771" y="213"/>
                    </a:cubicBezTo>
                    <a:cubicBezTo>
                      <a:pt x="771" y="214"/>
                      <a:pt x="771" y="214"/>
                      <a:pt x="771" y="214"/>
                    </a:cubicBezTo>
                    <a:cubicBezTo>
                      <a:pt x="771" y="214"/>
                      <a:pt x="771" y="214"/>
                      <a:pt x="771" y="214"/>
                    </a:cubicBezTo>
                    <a:cubicBezTo>
                      <a:pt x="770" y="214"/>
                      <a:pt x="770" y="214"/>
                      <a:pt x="770" y="214"/>
                    </a:cubicBezTo>
                    <a:cubicBezTo>
                      <a:pt x="770" y="214"/>
                      <a:pt x="770" y="214"/>
                      <a:pt x="770" y="214"/>
                    </a:cubicBezTo>
                    <a:cubicBezTo>
                      <a:pt x="771" y="214"/>
                      <a:pt x="771" y="214"/>
                      <a:pt x="771" y="214"/>
                    </a:cubicBezTo>
                    <a:cubicBezTo>
                      <a:pt x="771" y="214"/>
                      <a:pt x="771" y="214"/>
                      <a:pt x="771" y="214"/>
                    </a:cubicBezTo>
                    <a:cubicBezTo>
                      <a:pt x="771" y="214"/>
                      <a:pt x="771" y="214"/>
                      <a:pt x="771" y="214"/>
                    </a:cubicBezTo>
                    <a:cubicBezTo>
                      <a:pt x="771" y="214"/>
                      <a:pt x="771" y="214"/>
                      <a:pt x="771" y="214"/>
                    </a:cubicBezTo>
                    <a:cubicBezTo>
                      <a:pt x="771" y="215"/>
                      <a:pt x="771" y="215"/>
                      <a:pt x="771" y="215"/>
                    </a:cubicBezTo>
                    <a:cubicBezTo>
                      <a:pt x="771" y="215"/>
                      <a:pt x="771" y="215"/>
                      <a:pt x="771" y="215"/>
                    </a:cubicBezTo>
                    <a:cubicBezTo>
                      <a:pt x="771" y="215"/>
                      <a:pt x="771" y="215"/>
                      <a:pt x="771" y="215"/>
                    </a:cubicBezTo>
                    <a:cubicBezTo>
                      <a:pt x="771" y="215"/>
                      <a:pt x="771" y="215"/>
                      <a:pt x="771" y="215"/>
                    </a:cubicBezTo>
                    <a:cubicBezTo>
                      <a:pt x="771" y="215"/>
                      <a:pt x="771" y="215"/>
                      <a:pt x="771" y="215"/>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69" y="213"/>
                      <a:pt x="769" y="213"/>
                    </a:cubicBezTo>
                    <a:cubicBezTo>
                      <a:pt x="769" y="213"/>
                      <a:pt x="769" y="213"/>
                      <a:pt x="769" y="213"/>
                    </a:cubicBezTo>
                    <a:cubicBezTo>
                      <a:pt x="769" y="213"/>
                      <a:pt x="769" y="213"/>
                      <a:pt x="769" y="213"/>
                    </a:cubicBezTo>
                    <a:cubicBezTo>
                      <a:pt x="769" y="214"/>
                      <a:pt x="769" y="214"/>
                      <a:pt x="769" y="214"/>
                    </a:cubicBezTo>
                    <a:cubicBezTo>
                      <a:pt x="769" y="214"/>
                      <a:pt x="769" y="214"/>
                      <a:pt x="769" y="214"/>
                    </a:cubicBezTo>
                    <a:cubicBezTo>
                      <a:pt x="769" y="214"/>
                      <a:pt x="769" y="214"/>
                      <a:pt x="769" y="214"/>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6"/>
                      <a:pt x="770" y="216"/>
                      <a:pt x="770" y="216"/>
                    </a:cubicBezTo>
                    <a:cubicBezTo>
                      <a:pt x="769" y="216"/>
                      <a:pt x="769" y="216"/>
                      <a:pt x="769" y="216"/>
                    </a:cubicBezTo>
                    <a:cubicBezTo>
                      <a:pt x="769" y="216"/>
                      <a:pt x="769" y="216"/>
                      <a:pt x="769" y="216"/>
                    </a:cubicBezTo>
                    <a:cubicBezTo>
                      <a:pt x="769" y="216"/>
                      <a:pt x="769" y="216"/>
                      <a:pt x="769" y="216"/>
                    </a:cubicBezTo>
                    <a:cubicBezTo>
                      <a:pt x="769" y="216"/>
                      <a:pt x="769" y="216"/>
                      <a:pt x="769" y="216"/>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7" y="215"/>
                      <a:pt x="767" y="215"/>
                      <a:pt x="767" y="215"/>
                    </a:cubicBezTo>
                    <a:cubicBezTo>
                      <a:pt x="767" y="215"/>
                      <a:pt x="767" y="215"/>
                      <a:pt x="767" y="215"/>
                    </a:cubicBezTo>
                    <a:cubicBezTo>
                      <a:pt x="767" y="216"/>
                      <a:pt x="767" y="216"/>
                      <a:pt x="767" y="216"/>
                    </a:cubicBezTo>
                    <a:cubicBezTo>
                      <a:pt x="768" y="216"/>
                      <a:pt x="768" y="216"/>
                      <a:pt x="768" y="216"/>
                    </a:cubicBezTo>
                    <a:cubicBezTo>
                      <a:pt x="768" y="217"/>
                      <a:pt x="768" y="217"/>
                      <a:pt x="768" y="217"/>
                    </a:cubicBezTo>
                    <a:cubicBezTo>
                      <a:pt x="768" y="217"/>
                      <a:pt x="768" y="217"/>
                      <a:pt x="768" y="217"/>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9" y="218"/>
                      <a:pt x="769" y="218"/>
                      <a:pt x="769" y="218"/>
                    </a:cubicBezTo>
                    <a:cubicBezTo>
                      <a:pt x="769" y="218"/>
                      <a:pt x="769" y="218"/>
                      <a:pt x="769" y="218"/>
                    </a:cubicBezTo>
                    <a:cubicBezTo>
                      <a:pt x="769" y="218"/>
                      <a:pt x="769" y="218"/>
                      <a:pt x="769" y="218"/>
                    </a:cubicBezTo>
                    <a:cubicBezTo>
                      <a:pt x="770" y="218"/>
                      <a:pt x="769" y="217"/>
                      <a:pt x="770" y="218"/>
                    </a:cubicBezTo>
                    <a:cubicBezTo>
                      <a:pt x="770" y="218"/>
                      <a:pt x="770" y="218"/>
                      <a:pt x="770" y="218"/>
                    </a:cubicBezTo>
                    <a:cubicBezTo>
                      <a:pt x="770" y="218"/>
                      <a:pt x="770" y="218"/>
                      <a:pt x="770" y="218"/>
                    </a:cubicBezTo>
                    <a:cubicBezTo>
                      <a:pt x="771" y="218"/>
                      <a:pt x="771" y="218"/>
                      <a:pt x="772" y="218"/>
                    </a:cubicBezTo>
                    <a:cubicBezTo>
                      <a:pt x="772" y="218"/>
                      <a:pt x="772" y="218"/>
                      <a:pt x="772" y="218"/>
                    </a:cubicBezTo>
                    <a:cubicBezTo>
                      <a:pt x="772" y="218"/>
                      <a:pt x="772" y="218"/>
                      <a:pt x="772" y="218"/>
                    </a:cubicBezTo>
                    <a:cubicBezTo>
                      <a:pt x="772" y="218"/>
                      <a:pt x="772" y="218"/>
                      <a:pt x="772" y="218"/>
                    </a:cubicBezTo>
                    <a:cubicBezTo>
                      <a:pt x="771" y="218"/>
                      <a:pt x="771" y="218"/>
                      <a:pt x="771" y="218"/>
                    </a:cubicBezTo>
                    <a:cubicBezTo>
                      <a:pt x="771" y="218"/>
                      <a:pt x="771" y="218"/>
                      <a:pt x="771" y="218"/>
                    </a:cubicBezTo>
                    <a:cubicBezTo>
                      <a:pt x="769" y="219"/>
                      <a:pt x="769" y="219"/>
                      <a:pt x="769" y="219"/>
                    </a:cubicBezTo>
                    <a:cubicBezTo>
                      <a:pt x="769" y="219"/>
                      <a:pt x="769" y="219"/>
                      <a:pt x="769" y="219"/>
                    </a:cubicBezTo>
                    <a:cubicBezTo>
                      <a:pt x="768" y="219"/>
                      <a:pt x="768" y="219"/>
                      <a:pt x="768" y="219"/>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9"/>
                      <a:pt x="767" y="219"/>
                    </a:cubicBezTo>
                    <a:cubicBezTo>
                      <a:pt x="767" y="219"/>
                      <a:pt x="767" y="219"/>
                      <a:pt x="767" y="219"/>
                    </a:cubicBezTo>
                    <a:cubicBezTo>
                      <a:pt x="767" y="219"/>
                      <a:pt x="767" y="219"/>
                      <a:pt x="767" y="219"/>
                    </a:cubicBezTo>
                    <a:cubicBezTo>
                      <a:pt x="767" y="219"/>
                      <a:pt x="767" y="219"/>
                      <a:pt x="767" y="219"/>
                    </a:cubicBezTo>
                    <a:cubicBezTo>
                      <a:pt x="767" y="219"/>
                      <a:pt x="767" y="219"/>
                      <a:pt x="767" y="219"/>
                    </a:cubicBezTo>
                    <a:cubicBezTo>
                      <a:pt x="768" y="219"/>
                      <a:pt x="768" y="219"/>
                      <a:pt x="768" y="219"/>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7" y="220"/>
                      <a:pt x="767" y="220"/>
                      <a:pt x="767" y="220"/>
                    </a:cubicBezTo>
                    <a:cubicBezTo>
                      <a:pt x="767" y="219"/>
                      <a:pt x="767" y="219"/>
                      <a:pt x="767"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20"/>
                      <a:pt x="766" y="220"/>
                      <a:pt x="766" y="220"/>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6" y="222"/>
                      <a:pt x="765" y="223"/>
                      <a:pt x="764" y="223"/>
                    </a:cubicBezTo>
                    <a:cubicBezTo>
                      <a:pt x="764" y="223"/>
                      <a:pt x="764" y="223"/>
                      <a:pt x="764" y="223"/>
                    </a:cubicBezTo>
                    <a:cubicBezTo>
                      <a:pt x="764" y="223"/>
                      <a:pt x="764" y="223"/>
                      <a:pt x="764" y="223"/>
                    </a:cubicBezTo>
                    <a:cubicBezTo>
                      <a:pt x="764" y="223"/>
                      <a:pt x="764" y="223"/>
                      <a:pt x="764" y="223"/>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5" y="224"/>
                      <a:pt x="765" y="224"/>
                      <a:pt x="765" y="224"/>
                    </a:cubicBezTo>
                    <a:cubicBezTo>
                      <a:pt x="765" y="224"/>
                      <a:pt x="765" y="224"/>
                      <a:pt x="765" y="224"/>
                    </a:cubicBezTo>
                    <a:cubicBezTo>
                      <a:pt x="765" y="224"/>
                      <a:pt x="765" y="224"/>
                      <a:pt x="765" y="224"/>
                    </a:cubicBezTo>
                    <a:cubicBezTo>
                      <a:pt x="765" y="224"/>
                      <a:pt x="765" y="224"/>
                      <a:pt x="765" y="224"/>
                    </a:cubicBezTo>
                    <a:cubicBezTo>
                      <a:pt x="765" y="224"/>
                      <a:pt x="765" y="224"/>
                      <a:pt x="765" y="224"/>
                    </a:cubicBezTo>
                    <a:cubicBezTo>
                      <a:pt x="766" y="224"/>
                      <a:pt x="765" y="224"/>
                      <a:pt x="765" y="224"/>
                    </a:cubicBezTo>
                    <a:cubicBezTo>
                      <a:pt x="765" y="224"/>
                      <a:pt x="765" y="224"/>
                      <a:pt x="765" y="224"/>
                    </a:cubicBezTo>
                    <a:cubicBezTo>
                      <a:pt x="765" y="224"/>
                      <a:pt x="765" y="224"/>
                      <a:pt x="765" y="224"/>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6"/>
                      <a:pt x="766" y="226"/>
                      <a:pt x="766" y="226"/>
                    </a:cubicBezTo>
                    <a:cubicBezTo>
                      <a:pt x="766" y="226"/>
                      <a:pt x="766" y="226"/>
                      <a:pt x="766" y="226"/>
                    </a:cubicBezTo>
                    <a:cubicBezTo>
                      <a:pt x="765" y="227"/>
                      <a:pt x="765" y="227"/>
                      <a:pt x="765" y="227"/>
                    </a:cubicBezTo>
                    <a:cubicBezTo>
                      <a:pt x="765" y="227"/>
                      <a:pt x="765" y="227"/>
                      <a:pt x="765" y="227"/>
                    </a:cubicBezTo>
                    <a:cubicBezTo>
                      <a:pt x="765" y="227"/>
                      <a:pt x="765" y="227"/>
                      <a:pt x="765" y="227"/>
                    </a:cubicBezTo>
                    <a:cubicBezTo>
                      <a:pt x="765" y="227"/>
                      <a:pt x="765" y="227"/>
                      <a:pt x="765" y="227"/>
                    </a:cubicBezTo>
                    <a:cubicBezTo>
                      <a:pt x="765" y="227"/>
                      <a:pt x="765" y="227"/>
                      <a:pt x="765" y="227"/>
                    </a:cubicBezTo>
                    <a:cubicBezTo>
                      <a:pt x="765" y="227"/>
                      <a:pt x="765" y="227"/>
                      <a:pt x="765" y="227"/>
                    </a:cubicBezTo>
                    <a:cubicBezTo>
                      <a:pt x="766" y="227"/>
                      <a:pt x="766" y="227"/>
                      <a:pt x="766" y="227"/>
                    </a:cubicBezTo>
                    <a:cubicBezTo>
                      <a:pt x="766" y="227"/>
                      <a:pt x="766" y="227"/>
                      <a:pt x="766" y="227"/>
                    </a:cubicBezTo>
                    <a:cubicBezTo>
                      <a:pt x="766" y="227"/>
                      <a:pt x="766" y="227"/>
                      <a:pt x="766" y="227"/>
                    </a:cubicBezTo>
                    <a:cubicBezTo>
                      <a:pt x="766" y="227"/>
                      <a:pt x="766" y="227"/>
                      <a:pt x="766" y="227"/>
                    </a:cubicBezTo>
                    <a:cubicBezTo>
                      <a:pt x="765" y="228"/>
                      <a:pt x="765" y="228"/>
                      <a:pt x="765" y="228"/>
                    </a:cubicBezTo>
                    <a:cubicBezTo>
                      <a:pt x="765" y="228"/>
                      <a:pt x="765" y="228"/>
                      <a:pt x="765" y="228"/>
                    </a:cubicBezTo>
                    <a:cubicBezTo>
                      <a:pt x="765" y="228"/>
                      <a:pt x="765" y="228"/>
                      <a:pt x="765" y="228"/>
                    </a:cubicBezTo>
                    <a:cubicBezTo>
                      <a:pt x="764" y="229"/>
                      <a:pt x="764" y="229"/>
                      <a:pt x="764" y="229"/>
                    </a:cubicBezTo>
                    <a:cubicBezTo>
                      <a:pt x="764" y="229"/>
                      <a:pt x="764" y="229"/>
                      <a:pt x="764" y="229"/>
                    </a:cubicBezTo>
                    <a:cubicBezTo>
                      <a:pt x="764" y="229"/>
                      <a:pt x="764" y="229"/>
                      <a:pt x="764" y="229"/>
                    </a:cubicBezTo>
                    <a:cubicBezTo>
                      <a:pt x="764" y="229"/>
                      <a:pt x="764" y="229"/>
                      <a:pt x="764" y="229"/>
                    </a:cubicBezTo>
                    <a:cubicBezTo>
                      <a:pt x="765" y="228"/>
                      <a:pt x="765" y="228"/>
                      <a:pt x="765" y="228"/>
                    </a:cubicBezTo>
                    <a:cubicBezTo>
                      <a:pt x="765" y="228"/>
                      <a:pt x="765" y="228"/>
                      <a:pt x="765" y="228"/>
                    </a:cubicBezTo>
                    <a:cubicBezTo>
                      <a:pt x="765" y="227"/>
                      <a:pt x="764" y="227"/>
                      <a:pt x="765" y="226"/>
                    </a:cubicBezTo>
                    <a:cubicBezTo>
                      <a:pt x="765" y="226"/>
                      <a:pt x="765" y="226"/>
                      <a:pt x="765" y="226"/>
                    </a:cubicBezTo>
                    <a:cubicBezTo>
                      <a:pt x="765" y="226"/>
                      <a:pt x="765" y="226"/>
                      <a:pt x="765" y="226"/>
                    </a:cubicBezTo>
                    <a:cubicBezTo>
                      <a:pt x="765" y="226"/>
                      <a:pt x="765" y="226"/>
                      <a:pt x="765" y="226"/>
                    </a:cubicBezTo>
                    <a:cubicBezTo>
                      <a:pt x="765" y="225"/>
                      <a:pt x="765" y="226"/>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4"/>
                      <a:pt x="765" y="224"/>
                      <a:pt x="765" y="224"/>
                    </a:cubicBezTo>
                    <a:cubicBezTo>
                      <a:pt x="765" y="224"/>
                      <a:pt x="765" y="224"/>
                      <a:pt x="765" y="224"/>
                    </a:cubicBezTo>
                    <a:cubicBezTo>
                      <a:pt x="765" y="224"/>
                      <a:pt x="765" y="224"/>
                      <a:pt x="765" y="224"/>
                    </a:cubicBezTo>
                    <a:cubicBezTo>
                      <a:pt x="765" y="224"/>
                      <a:pt x="765" y="224"/>
                      <a:pt x="765" y="224"/>
                    </a:cubicBezTo>
                    <a:cubicBezTo>
                      <a:pt x="765" y="224"/>
                      <a:pt x="765" y="224"/>
                      <a:pt x="765"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3"/>
                      <a:pt x="764" y="223"/>
                      <a:pt x="764" y="223"/>
                    </a:cubicBezTo>
                    <a:cubicBezTo>
                      <a:pt x="764" y="223"/>
                      <a:pt x="764" y="223"/>
                      <a:pt x="764" y="223"/>
                    </a:cubicBezTo>
                    <a:cubicBezTo>
                      <a:pt x="764" y="223"/>
                      <a:pt x="764" y="223"/>
                      <a:pt x="764" y="223"/>
                    </a:cubicBezTo>
                    <a:cubicBezTo>
                      <a:pt x="764" y="223"/>
                      <a:pt x="764" y="223"/>
                      <a:pt x="764"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2" y="223"/>
                      <a:pt x="763"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1" y="222"/>
                      <a:pt x="761" y="222"/>
                      <a:pt x="761" y="222"/>
                    </a:cubicBezTo>
                    <a:cubicBezTo>
                      <a:pt x="761" y="222"/>
                      <a:pt x="761" y="222"/>
                      <a:pt x="761" y="222"/>
                    </a:cubicBezTo>
                    <a:cubicBezTo>
                      <a:pt x="761" y="222"/>
                      <a:pt x="761" y="222"/>
                      <a:pt x="761" y="222"/>
                    </a:cubicBezTo>
                    <a:cubicBezTo>
                      <a:pt x="761" y="222"/>
                      <a:pt x="761" y="222"/>
                      <a:pt x="761" y="222"/>
                    </a:cubicBezTo>
                    <a:cubicBezTo>
                      <a:pt x="761" y="222"/>
                      <a:pt x="761" y="222"/>
                      <a:pt x="761" y="222"/>
                    </a:cubicBezTo>
                    <a:cubicBezTo>
                      <a:pt x="761" y="222"/>
                      <a:pt x="761" y="222"/>
                      <a:pt x="761" y="222"/>
                    </a:cubicBezTo>
                    <a:cubicBezTo>
                      <a:pt x="761" y="221"/>
                      <a:pt x="761" y="221"/>
                      <a:pt x="761" y="221"/>
                    </a:cubicBezTo>
                    <a:cubicBezTo>
                      <a:pt x="761" y="221"/>
                      <a:pt x="761" y="221"/>
                      <a:pt x="761" y="221"/>
                    </a:cubicBezTo>
                    <a:cubicBezTo>
                      <a:pt x="761" y="221"/>
                      <a:pt x="761" y="221"/>
                      <a:pt x="761" y="221"/>
                    </a:cubicBezTo>
                    <a:cubicBezTo>
                      <a:pt x="761" y="221"/>
                      <a:pt x="761" y="221"/>
                      <a:pt x="761" y="221"/>
                    </a:cubicBezTo>
                    <a:cubicBezTo>
                      <a:pt x="761" y="222"/>
                      <a:pt x="761" y="222"/>
                      <a:pt x="761" y="222"/>
                    </a:cubicBezTo>
                    <a:cubicBezTo>
                      <a:pt x="760" y="222"/>
                      <a:pt x="760" y="222"/>
                      <a:pt x="760" y="222"/>
                    </a:cubicBezTo>
                    <a:cubicBezTo>
                      <a:pt x="759" y="224"/>
                      <a:pt x="759" y="224"/>
                      <a:pt x="759" y="224"/>
                    </a:cubicBezTo>
                    <a:cubicBezTo>
                      <a:pt x="759" y="224"/>
                      <a:pt x="759" y="224"/>
                      <a:pt x="759" y="224"/>
                    </a:cubicBezTo>
                    <a:cubicBezTo>
                      <a:pt x="759" y="225"/>
                      <a:pt x="759" y="225"/>
                      <a:pt x="759" y="225"/>
                    </a:cubicBezTo>
                    <a:cubicBezTo>
                      <a:pt x="759" y="225"/>
                      <a:pt x="759" y="225"/>
                      <a:pt x="759" y="225"/>
                    </a:cubicBezTo>
                    <a:cubicBezTo>
                      <a:pt x="758" y="225"/>
                      <a:pt x="758" y="225"/>
                      <a:pt x="758" y="225"/>
                    </a:cubicBezTo>
                    <a:cubicBezTo>
                      <a:pt x="758" y="225"/>
                      <a:pt x="758" y="225"/>
                      <a:pt x="758" y="225"/>
                    </a:cubicBezTo>
                    <a:cubicBezTo>
                      <a:pt x="758" y="225"/>
                      <a:pt x="758" y="225"/>
                      <a:pt x="758" y="225"/>
                    </a:cubicBezTo>
                    <a:cubicBezTo>
                      <a:pt x="758" y="225"/>
                      <a:pt x="758" y="225"/>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7"/>
                      <a:pt x="758" y="227"/>
                      <a:pt x="758" y="227"/>
                    </a:cubicBezTo>
                    <a:cubicBezTo>
                      <a:pt x="758" y="227"/>
                      <a:pt x="758" y="227"/>
                      <a:pt x="758" y="227"/>
                    </a:cubicBezTo>
                    <a:cubicBezTo>
                      <a:pt x="758" y="227"/>
                      <a:pt x="758" y="227"/>
                      <a:pt x="758" y="227"/>
                    </a:cubicBezTo>
                    <a:cubicBezTo>
                      <a:pt x="758" y="227"/>
                      <a:pt x="758" y="227"/>
                      <a:pt x="758" y="227"/>
                    </a:cubicBezTo>
                    <a:cubicBezTo>
                      <a:pt x="758" y="227"/>
                      <a:pt x="758" y="227"/>
                      <a:pt x="758" y="227"/>
                    </a:cubicBezTo>
                    <a:cubicBezTo>
                      <a:pt x="757" y="227"/>
                      <a:pt x="757" y="227"/>
                      <a:pt x="757" y="227"/>
                    </a:cubicBezTo>
                    <a:cubicBezTo>
                      <a:pt x="749" y="230"/>
                      <a:pt x="749" y="230"/>
                      <a:pt x="749" y="230"/>
                    </a:cubicBezTo>
                    <a:cubicBezTo>
                      <a:pt x="749" y="231"/>
                      <a:pt x="749" y="231"/>
                      <a:pt x="748" y="232"/>
                    </a:cubicBezTo>
                    <a:cubicBezTo>
                      <a:pt x="748" y="232"/>
                      <a:pt x="748" y="232"/>
                      <a:pt x="748" y="232"/>
                    </a:cubicBezTo>
                    <a:cubicBezTo>
                      <a:pt x="748" y="232"/>
                      <a:pt x="748" y="232"/>
                      <a:pt x="748" y="232"/>
                    </a:cubicBezTo>
                    <a:cubicBezTo>
                      <a:pt x="748" y="232"/>
                      <a:pt x="748" y="233"/>
                      <a:pt x="748" y="233"/>
                    </a:cubicBezTo>
                    <a:cubicBezTo>
                      <a:pt x="748" y="233"/>
                      <a:pt x="748" y="233"/>
                      <a:pt x="748" y="233"/>
                    </a:cubicBezTo>
                    <a:cubicBezTo>
                      <a:pt x="748" y="233"/>
                      <a:pt x="748" y="233"/>
                      <a:pt x="748" y="233"/>
                    </a:cubicBezTo>
                    <a:cubicBezTo>
                      <a:pt x="748" y="233"/>
                      <a:pt x="748" y="233"/>
                      <a:pt x="748" y="233"/>
                    </a:cubicBezTo>
                    <a:cubicBezTo>
                      <a:pt x="748" y="233"/>
                      <a:pt x="748" y="233"/>
                      <a:pt x="748" y="233"/>
                    </a:cubicBezTo>
                    <a:cubicBezTo>
                      <a:pt x="748" y="233"/>
                      <a:pt x="748" y="233"/>
                      <a:pt x="748" y="234"/>
                    </a:cubicBezTo>
                    <a:cubicBezTo>
                      <a:pt x="748" y="234"/>
                      <a:pt x="748" y="234"/>
                      <a:pt x="748" y="234"/>
                    </a:cubicBezTo>
                    <a:cubicBezTo>
                      <a:pt x="748" y="234"/>
                      <a:pt x="748" y="234"/>
                      <a:pt x="748" y="234"/>
                    </a:cubicBezTo>
                    <a:cubicBezTo>
                      <a:pt x="748" y="234"/>
                      <a:pt x="748" y="234"/>
                      <a:pt x="748" y="234"/>
                    </a:cubicBezTo>
                    <a:cubicBezTo>
                      <a:pt x="748" y="234"/>
                      <a:pt x="748" y="234"/>
                      <a:pt x="748" y="234"/>
                    </a:cubicBezTo>
                    <a:cubicBezTo>
                      <a:pt x="747" y="234"/>
                      <a:pt x="747" y="234"/>
                      <a:pt x="747" y="234"/>
                    </a:cubicBezTo>
                    <a:cubicBezTo>
                      <a:pt x="747" y="234"/>
                      <a:pt x="747" y="234"/>
                      <a:pt x="747" y="234"/>
                    </a:cubicBezTo>
                    <a:cubicBezTo>
                      <a:pt x="747" y="234"/>
                      <a:pt x="747" y="234"/>
                      <a:pt x="747" y="234"/>
                    </a:cubicBezTo>
                    <a:cubicBezTo>
                      <a:pt x="747" y="235"/>
                      <a:pt x="747" y="235"/>
                      <a:pt x="747" y="235"/>
                    </a:cubicBezTo>
                    <a:cubicBezTo>
                      <a:pt x="747" y="234"/>
                      <a:pt x="747" y="234"/>
                      <a:pt x="747" y="234"/>
                    </a:cubicBezTo>
                    <a:cubicBezTo>
                      <a:pt x="748" y="234"/>
                      <a:pt x="748" y="234"/>
                      <a:pt x="748" y="234"/>
                    </a:cubicBezTo>
                    <a:cubicBezTo>
                      <a:pt x="748" y="233"/>
                      <a:pt x="748" y="233"/>
                      <a:pt x="748" y="233"/>
                    </a:cubicBezTo>
                    <a:cubicBezTo>
                      <a:pt x="748" y="233"/>
                      <a:pt x="748" y="233"/>
                      <a:pt x="747" y="233"/>
                    </a:cubicBezTo>
                    <a:cubicBezTo>
                      <a:pt x="747" y="232"/>
                      <a:pt x="747" y="232"/>
                      <a:pt x="747" y="232"/>
                    </a:cubicBezTo>
                    <a:cubicBezTo>
                      <a:pt x="747" y="232"/>
                      <a:pt x="747" y="232"/>
                      <a:pt x="747" y="232"/>
                    </a:cubicBezTo>
                    <a:cubicBezTo>
                      <a:pt x="747" y="232"/>
                      <a:pt x="747" y="232"/>
                      <a:pt x="747" y="232"/>
                    </a:cubicBezTo>
                    <a:cubicBezTo>
                      <a:pt x="747" y="232"/>
                      <a:pt x="747" y="232"/>
                      <a:pt x="747" y="232"/>
                    </a:cubicBezTo>
                    <a:cubicBezTo>
                      <a:pt x="747" y="232"/>
                      <a:pt x="747" y="232"/>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0"/>
                      <a:pt x="748" y="230"/>
                      <a:pt x="748" y="230"/>
                    </a:cubicBezTo>
                    <a:cubicBezTo>
                      <a:pt x="748" y="230"/>
                      <a:pt x="748" y="230"/>
                      <a:pt x="748" y="230"/>
                    </a:cubicBezTo>
                    <a:cubicBezTo>
                      <a:pt x="748" y="230"/>
                      <a:pt x="748" y="230"/>
                      <a:pt x="748" y="230"/>
                    </a:cubicBezTo>
                    <a:cubicBezTo>
                      <a:pt x="748" y="230"/>
                      <a:pt x="748" y="230"/>
                      <a:pt x="748" y="230"/>
                    </a:cubicBezTo>
                    <a:cubicBezTo>
                      <a:pt x="747" y="229"/>
                      <a:pt x="747" y="229"/>
                      <a:pt x="747" y="229"/>
                    </a:cubicBezTo>
                    <a:cubicBezTo>
                      <a:pt x="747" y="229"/>
                      <a:pt x="747" y="229"/>
                      <a:pt x="747" y="229"/>
                    </a:cubicBezTo>
                    <a:cubicBezTo>
                      <a:pt x="747" y="229"/>
                      <a:pt x="747" y="229"/>
                      <a:pt x="747" y="229"/>
                    </a:cubicBezTo>
                    <a:cubicBezTo>
                      <a:pt x="747" y="229"/>
                      <a:pt x="747" y="229"/>
                      <a:pt x="747" y="229"/>
                    </a:cubicBezTo>
                    <a:cubicBezTo>
                      <a:pt x="748" y="229"/>
                      <a:pt x="747" y="229"/>
                      <a:pt x="748" y="228"/>
                    </a:cubicBezTo>
                    <a:cubicBezTo>
                      <a:pt x="748" y="228"/>
                      <a:pt x="748" y="228"/>
                      <a:pt x="748" y="228"/>
                    </a:cubicBezTo>
                    <a:cubicBezTo>
                      <a:pt x="748" y="228"/>
                      <a:pt x="748" y="228"/>
                      <a:pt x="748" y="228"/>
                    </a:cubicBezTo>
                    <a:cubicBezTo>
                      <a:pt x="747" y="228"/>
                      <a:pt x="747" y="228"/>
                      <a:pt x="747" y="228"/>
                    </a:cubicBezTo>
                    <a:cubicBezTo>
                      <a:pt x="747" y="228"/>
                      <a:pt x="747" y="228"/>
                      <a:pt x="747" y="228"/>
                    </a:cubicBezTo>
                    <a:cubicBezTo>
                      <a:pt x="746" y="228"/>
                      <a:pt x="746" y="228"/>
                      <a:pt x="746" y="228"/>
                    </a:cubicBezTo>
                    <a:cubicBezTo>
                      <a:pt x="746" y="228"/>
                      <a:pt x="746" y="228"/>
                      <a:pt x="746" y="228"/>
                    </a:cubicBezTo>
                    <a:cubicBezTo>
                      <a:pt x="746" y="228"/>
                      <a:pt x="746" y="228"/>
                      <a:pt x="746" y="228"/>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1"/>
                      <a:pt x="746" y="231"/>
                      <a:pt x="746" y="231"/>
                    </a:cubicBezTo>
                    <a:cubicBezTo>
                      <a:pt x="746" y="231"/>
                      <a:pt x="746" y="231"/>
                      <a:pt x="746" y="231"/>
                    </a:cubicBezTo>
                    <a:cubicBezTo>
                      <a:pt x="746" y="231"/>
                      <a:pt x="746" y="231"/>
                      <a:pt x="746" y="231"/>
                    </a:cubicBezTo>
                    <a:cubicBezTo>
                      <a:pt x="746" y="231"/>
                      <a:pt x="746" y="231"/>
                      <a:pt x="746" y="231"/>
                    </a:cubicBezTo>
                    <a:cubicBezTo>
                      <a:pt x="746" y="231"/>
                      <a:pt x="746" y="231"/>
                      <a:pt x="746"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2"/>
                    </a:cubicBezTo>
                    <a:cubicBezTo>
                      <a:pt x="745" y="232"/>
                      <a:pt x="745" y="232"/>
                      <a:pt x="745" y="232"/>
                    </a:cubicBezTo>
                    <a:cubicBezTo>
                      <a:pt x="744" y="232"/>
                      <a:pt x="744" y="232"/>
                      <a:pt x="744" y="232"/>
                    </a:cubicBezTo>
                    <a:cubicBezTo>
                      <a:pt x="744" y="232"/>
                      <a:pt x="744" y="232"/>
                      <a:pt x="744" y="232"/>
                    </a:cubicBezTo>
                    <a:cubicBezTo>
                      <a:pt x="744" y="232"/>
                      <a:pt x="744" y="232"/>
                      <a:pt x="744" y="232"/>
                    </a:cubicBezTo>
                    <a:cubicBezTo>
                      <a:pt x="744" y="232"/>
                      <a:pt x="744" y="232"/>
                      <a:pt x="744" y="232"/>
                    </a:cubicBezTo>
                    <a:cubicBezTo>
                      <a:pt x="744" y="232"/>
                      <a:pt x="744" y="232"/>
                      <a:pt x="744" y="232"/>
                    </a:cubicBezTo>
                    <a:cubicBezTo>
                      <a:pt x="744" y="232"/>
                      <a:pt x="744" y="232"/>
                      <a:pt x="744" y="232"/>
                    </a:cubicBezTo>
                    <a:cubicBezTo>
                      <a:pt x="744" y="232"/>
                      <a:pt x="744" y="233"/>
                      <a:pt x="743" y="233"/>
                    </a:cubicBezTo>
                    <a:cubicBezTo>
                      <a:pt x="743" y="233"/>
                      <a:pt x="743" y="233"/>
                      <a:pt x="743" y="233"/>
                    </a:cubicBezTo>
                    <a:cubicBezTo>
                      <a:pt x="743" y="233"/>
                      <a:pt x="743" y="233"/>
                      <a:pt x="743" y="233"/>
                    </a:cubicBezTo>
                    <a:cubicBezTo>
                      <a:pt x="743" y="233"/>
                      <a:pt x="743" y="233"/>
                      <a:pt x="743" y="233"/>
                    </a:cubicBezTo>
                    <a:cubicBezTo>
                      <a:pt x="743" y="233"/>
                      <a:pt x="743" y="233"/>
                      <a:pt x="743" y="233"/>
                    </a:cubicBezTo>
                    <a:cubicBezTo>
                      <a:pt x="743" y="233"/>
                      <a:pt x="743" y="233"/>
                      <a:pt x="743" y="233"/>
                    </a:cubicBezTo>
                    <a:cubicBezTo>
                      <a:pt x="743" y="233"/>
                      <a:pt x="743" y="233"/>
                      <a:pt x="743" y="233"/>
                    </a:cubicBezTo>
                    <a:cubicBezTo>
                      <a:pt x="744" y="232"/>
                      <a:pt x="744" y="232"/>
                      <a:pt x="744" y="232"/>
                    </a:cubicBezTo>
                    <a:cubicBezTo>
                      <a:pt x="744" y="232"/>
                      <a:pt x="744" y="232"/>
                      <a:pt x="744" y="232"/>
                    </a:cubicBezTo>
                    <a:cubicBezTo>
                      <a:pt x="744" y="232"/>
                      <a:pt x="744" y="232"/>
                      <a:pt x="744" y="232"/>
                    </a:cubicBezTo>
                    <a:cubicBezTo>
                      <a:pt x="744" y="231"/>
                      <a:pt x="744" y="231"/>
                      <a:pt x="745" y="231"/>
                    </a:cubicBezTo>
                    <a:cubicBezTo>
                      <a:pt x="745" y="231"/>
                      <a:pt x="745" y="231"/>
                      <a:pt x="745" y="231"/>
                    </a:cubicBezTo>
                    <a:cubicBezTo>
                      <a:pt x="745" y="231"/>
                      <a:pt x="745" y="231"/>
                      <a:pt x="745" y="231"/>
                    </a:cubicBezTo>
                    <a:cubicBezTo>
                      <a:pt x="745" y="230"/>
                      <a:pt x="746" y="230"/>
                      <a:pt x="746" y="229"/>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5" y="229"/>
                      <a:pt x="745" y="229"/>
                      <a:pt x="745" y="229"/>
                    </a:cubicBezTo>
                    <a:cubicBezTo>
                      <a:pt x="745" y="228"/>
                      <a:pt x="745" y="228"/>
                      <a:pt x="745" y="228"/>
                    </a:cubicBezTo>
                    <a:cubicBezTo>
                      <a:pt x="745" y="228"/>
                      <a:pt x="745" y="228"/>
                      <a:pt x="745" y="228"/>
                    </a:cubicBezTo>
                    <a:cubicBezTo>
                      <a:pt x="745" y="228"/>
                      <a:pt x="745" y="228"/>
                      <a:pt x="745" y="228"/>
                    </a:cubicBezTo>
                    <a:cubicBezTo>
                      <a:pt x="745" y="228"/>
                      <a:pt x="745" y="228"/>
                      <a:pt x="745" y="227"/>
                    </a:cubicBezTo>
                    <a:cubicBezTo>
                      <a:pt x="745" y="227"/>
                      <a:pt x="745" y="227"/>
                      <a:pt x="745" y="227"/>
                    </a:cubicBezTo>
                    <a:cubicBezTo>
                      <a:pt x="745" y="227"/>
                      <a:pt x="745" y="227"/>
                      <a:pt x="745" y="227"/>
                    </a:cubicBezTo>
                    <a:cubicBezTo>
                      <a:pt x="745" y="227"/>
                      <a:pt x="745" y="227"/>
                      <a:pt x="745" y="227"/>
                    </a:cubicBezTo>
                    <a:cubicBezTo>
                      <a:pt x="745" y="227"/>
                      <a:pt x="745" y="227"/>
                      <a:pt x="745" y="227"/>
                    </a:cubicBezTo>
                    <a:cubicBezTo>
                      <a:pt x="745" y="227"/>
                      <a:pt x="745" y="227"/>
                      <a:pt x="745" y="227"/>
                    </a:cubicBezTo>
                    <a:cubicBezTo>
                      <a:pt x="745" y="227"/>
                      <a:pt x="745" y="227"/>
                      <a:pt x="745" y="227"/>
                    </a:cubicBezTo>
                    <a:cubicBezTo>
                      <a:pt x="745" y="227"/>
                      <a:pt x="745" y="227"/>
                      <a:pt x="745" y="227"/>
                    </a:cubicBezTo>
                    <a:cubicBezTo>
                      <a:pt x="745" y="226"/>
                      <a:pt x="745" y="226"/>
                      <a:pt x="744" y="226"/>
                    </a:cubicBezTo>
                    <a:cubicBezTo>
                      <a:pt x="743" y="226"/>
                      <a:pt x="743" y="226"/>
                      <a:pt x="743" y="226"/>
                    </a:cubicBezTo>
                    <a:cubicBezTo>
                      <a:pt x="743" y="226"/>
                      <a:pt x="743" y="226"/>
                      <a:pt x="743" y="226"/>
                    </a:cubicBezTo>
                    <a:cubicBezTo>
                      <a:pt x="743" y="226"/>
                      <a:pt x="743" y="226"/>
                      <a:pt x="743" y="226"/>
                    </a:cubicBezTo>
                    <a:cubicBezTo>
                      <a:pt x="743" y="226"/>
                      <a:pt x="743" y="226"/>
                      <a:pt x="743" y="226"/>
                    </a:cubicBezTo>
                    <a:cubicBezTo>
                      <a:pt x="743" y="226"/>
                      <a:pt x="743" y="226"/>
                      <a:pt x="743" y="226"/>
                    </a:cubicBezTo>
                    <a:cubicBezTo>
                      <a:pt x="743" y="226"/>
                      <a:pt x="743" y="226"/>
                      <a:pt x="743" y="226"/>
                    </a:cubicBezTo>
                    <a:cubicBezTo>
                      <a:pt x="743" y="226"/>
                      <a:pt x="743" y="226"/>
                      <a:pt x="743" y="226"/>
                    </a:cubicBezTo>
                    <a:cubicBezTo>
                      <a:pt x="743" y="227"/>
                      <a:pt x="742" y="227"/>
                      <a:pt x="743" y="227"/>
                    </a:cubicBezTo>
                    <a:cubicBezTo>
                      <a:pt x="743" y="227"/>
                      <a:pt x="743" y="227"/>
                      <a:pt x="743" y="227"/>
                    </a:cubicBezTo>
                    <a:cubicBezTo>
                      <a:pt x="743" y="228"/>
                      <a:pt x="743" y="228"/>
                      <a:pt x="743" y="228"/>
                    </a:cubicBezTo>
                    <a:cubicBezTo>
                      <a:pt x="743" y="228"/>
                      <a:pt x="743" y="228"/>
                      <a:pt x="743" y="228"/>
                    </a:cubicBezTo>
                    <a:cubicBezTo>
                      <a:pt x="743" y="228"/>
                      <a:pt x="743" y="228"/>
                      <a:pt x="742" y="228"/>
                    </a:cubicBezTo>
                    <a:cubicBezTo>
                      <a:pt x="742" y="228"/>
                      <a:pt x="742" y="228"/>
                      <a:pt x="742" y="228"/>
                    </a:cubicBezTo>
                    <a:cubicBezTo>
                      <a:pt x="742" y="228"/>
                      <a:pt x="742" y="228"/>
                      <a:pt x="742" y="228"/>
                    </a:cubicBezTo>
                    <a:cubicBezTo>
                      <a:pt x="742" y="228"/>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30"/>
                      <a:pt x="742" y="230"/>
                      <a:pt x="742" y="230"/>
                    </a:cubicBezTo>
                    <a:cubicBezTo>
                      <a:pt x="742" y="230"/>
                      <a:pt x="742" y="230"/>
                      <a:pt x="742" y="230"/>
                    </a:cubicBezTo>
                    <a:cubicBezTo>
                      <a:pt x="742" y="230"/>
                      <a:pt x="742" y="230"/>
                      <a:pt x="742" y="230"/>
                    </a:cubicBezTo>
                    <a:cubicBezTo>
                      <a:pt x="741" y="231"/>
                      <a:pt x="741" y="231"/>
                      <a:pt x="741" y="231"/>
                    </a:cubicBezTo>
                    <a:cubicBezTo>
                      <a:pt x="741" y="231"/>
                      <a:pt x="741" y="231"/>
                      <a:pt x="741" y="231"/>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3"/>
                      <a:pt x="741" y="233"/>
                    </a:cubicBezTo>
                    <a:cubicBezTo>
                      <a:pt x="740" y="233"/>
                      <a:pt x="740" y="233"/>
                      <a:pt x="740" y="233"/>
                    </a:cubicBezTo>
                    <a:cubicBezTo>
                      <a:pt x="740" y="233"/>
                      <a:pt x="740" y="233"/>
                      <a:pt x="740" y="233"/>
                    </a:cubicBezTo>
                    <a:cubicBezTo>
                      <a:pt x="740" y="233"/>
                      <a:pt x="740" y="233"/>
                      <a:pt x="740" y="233"/>
                    </a:cubicBezTo>
                    <a:cubicBezTo>
                      <a:pt x="740" y="233"/>
                      <a:pt x="740" y="233"/>
                      <a:pt x="740" y="233"/>
                    </a:cubicBezTo>
                    <a:cubicBezTo>
                      <a:pt x="740" y="233"/>
                      <a:pt x="740" y="233"/>
                      <a:pt x="740" y="233"/>
                    </a:cubicBezTo>
                    <a:cubicBezTo>
                      <a:pt x="740" y="233"/>
                      <a:pt x="740" y="233"/>
                      <a:pt x="740" y="233"/>
                    </a:cubicBezTo>
                    <a:cubicBezTo>
                      <a:pt x="740" y="234"/>
                      <a:pt x="740" y="234"/>
                      <a:pt x="740" y="234"/>
                    </a:cubicBezTo>
                    <a:cubicBezTo>
                      <a:pt x="740" y="234"/>
                      <a:pt x="740" y="234"/>
                      <a:pt x="740" y="234"/>
                    </a:cubicBezTo>
                    <a:cubicBezTo>
                      <a:pt x="739" y="234"/>
                      <a:pt x="739" y="234"/>
                      <a:pt x="739" y="234"/>
                    </a:cubicBezTo>
                    <a:cubicBezTo>
                      <a:pt x="739" y="234"/>
                      <a:pt x="739" y="234"/>
                      <a:pt x="739" y="234"/>
                    </a:cubicBezTo>
                    <a:cubicBezTo>
                      <a:pt x="739" y="234"/>
                      <a:pt x="739" y="234"/>
                      <a:pt x="739" y="234"/>
                    </a:cubicBezTo>
                    <a:cubicBezTo>
                      <a:pt x="738" y="234"/>
                      <a:pt x="738" y="234"/>
                      <a:pt x="736" y="235"/>
                    </a:cubicBezTo>
                    <a:cubicBezTo>
                      <a:pt x="736" y="235"/>
                      <a:pt x="736" y="235"/>
                      <a:pt x="736" y="235"/>
                    </a:cubicBezTo>
                    <a:cubicBezTo>
                      <a:pt x="736" y="235"/>
                      <a:pt x="736" y="235"/>
                      <a:pt x="736" y="235"/>
                    </a:cubicBezTo>
                    <a:cubicBezTo>
                      <a:pt x="736" y="235"/>
                      <a:pt x="736" y="235"/>
                      <a:pt x="736" y="235"/>
                    </a:cubicBezTo>
                    <a:cubicBezTo>
                      <a:pt x="736" y="235"/>
                      <a:pt x="736" y="235"/>
                      <a:pt x="736" y="235"/>
                    </a:cubicBezTo>
                    <a:cubicBezTo>
                      <a:pt x="736" y="235"/>
                      <a:pt x="736" y="235"/>
                      <a:pt x="736"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4" y="235"/>
                    </a:cubicBezTo>
                    <a:cubicBezTo>
                      <a:pt x="734" y="235"/>
                      <a:pt x="734" y="235"/>
                      <a:pt x="734" y="235"/>
                    </a:cubicBezTo>
                    <a:cubicBezTo>
                      <a:pt x="734" y="235"/>
                      <a:pt x="734" y="235"/>
                      <a:pt x="734" y="235"/>
                    </a:cubicBezTo>
                    <a:cubicBezTo>
                      <a:pt x="734" y="235"/>
                      <a:pt x="734" y="235"/>
                      <a:pt x="734" y="235"/>
                    </a:cubicBezTo>
                    <a:cubicBezTo>
                      <a:pt x="734" y="235"/>
                      <a:pt x="734" y="235"/>
                      <a:pt x="733" y="236"/>
                    </a:cubicBezTo>
                    <a:cubicBezTo>
                      <a:pt x="733" y="236"/>
                      <a:pt x="733" y="236"/>
                      <a:pt x="733" y="236"/>
                    </a:cubicBezTo>
                    <a:cubicBezTo>
                      <a:pt x="733" y="236"/>
                      <a:pt x="733" y="236"/>
                      <a:pt x="733" y="236"/>
                    </a:cubicBezTo>
                    <a:cubicBezTo>
                      <a:pt x="733" y="236"/>
                      <a:pt x="733" y="236"/>
                      <a:pt x="733" y="236"/>
                    </a:cubicBezTo>
                    <a:cubicBezTo>
                      <a:pt x="733" y="236"/>
                      <a:pt x="733" y="236"/>
                      <a:pt x="733" y="236"/>
                    </a:cubicBezTo>
                    <a:cubicBezTo>
                      <a:pt x="733" y="236"/>
                      <a:pt x="732" y="236"/>
                      <a:pt x="732" y="237"/>
                    </a:cubicBezTo>
                    <a:cubicBezTo>
                      <a:pt x="732" y="237"/>
                      <a:pt x="732" y="237"/>
                      <a:pt x="732" y="237"/>
                    </a:cubicBezTo>
                    <a:cubicBezTo>
                      <a:pt x="732" y="237"/>
                      <a:pt x="732" y="237"/>
                      <a:pt x="732" y="237"/>
                    </a:cubicBezTo>
                    <a:cubicBezTo>
                      <a:pt x="731" y="237"/>
                      <a:pt x="731" y="237"/>
                      <a:pt x="731" y="237"/>
                    </a:cubicBezTo>
                    <a:cubicBezTo>
                      <a:pt x="731" y="237"/>
                      <a:pt x="731" y="237"/>
                      <a:pt x="731" y="237"/>
                    </a:cubicBezTo>
                    <a:cubicBezTo>
                      <a:pt x="731" y="237"/>
                      <a:pt x="731" y="237"/>
                      <a:pt x="731" y="237"/>
                    </a:cubicBezTo>
                    <a:cubicBezTo>
                      <a:pt x="730" y="237"/>
                      <a:pt x="730" y="237"/>
                      <a:pt x="730" y="237"/>
                    </a:cubicBezTo>
                    <a:cubicBezTo>
                      <a:pt x="730" y="237"/>
                      <a:pt x="730" y="237"/>
                      <a:pt x="730" y="237"/>
                    </a:cubicBezTo>
                    <a:cubicBezTo>
                      <a:pt x="730" y="237"/>
                      <a:pt x="730" y="237"/>
                      <a:pt x="730" y="237"/>
                    </a:cubicBezTo>
                    <a:cubicBezTo>
                      <a:pt x="730" y="237"/>
                      <a:pt x="730" y="237"/>
                      <a:pt x="730" y="237"/>
                    </a:cubicBezTo>
                    <a:cubicBezTo>
                      <a:pt x="731" y="237"/>
                      <a:pt x="731" y="237"/>
                      <a:pt x="731" y="237"/>
                    </a:cubicBezTo>
                    <a:cubicBezTo>
                      <a:pt x="731" y="237"/>
                      <a:pt x="731" y="237"/>
                      <a:pt x="731" y="237"/>
                    </a:cubicBezTo>
                    <a:cubicBezTo>
                      <a:pt x="731" y="237"/>
                      <a:pt x="731" y="237"/>
                      <a:pt x="731" y="237"/>
                    </a:cubicBezTo>
                    <a:cubicBezTo>
                      <a:pt x="733" y="235"/>
                      <a:pt x="733" y="236"/>
                      <a:pt x="734" y="235"/>
                    </a:cubicBezTo>
                    <a:cubicBezTo>
                      <a:pt x="734" y="235"/>
                      <a:pt x="734" y="235"/>
                      <a:pt x="734" y="235"/>
                    </a:cubicBezTo>
                    <a:cubicBezTo>
                      <a:pt x="734" y="235"/>
                      <a:pt x="734" y="235"/>
                      <a:pt x="734" y="235"/>
                    </a:cubicBezTo>
                    <a:cubicBezTo>
                      <a:pt x="734" y="235"/>
                      <a:pt x="734" y="235"/>
                      <a:pt x="734" y="235"/>
                    </a:cubicBezTo>
                    <a:cubicBezTo>
                      <a:pt x="734" y="235"/>
                      <a:pt x="734" y="235"/>
                      <a:pt x="734" y="235"/>
                    </a:cubicBezTo>
                    <a:cubicBezTo>
                      <a:pt x="735" y="235"/>
                      <a:pt x="735" y="235"/>
                      <a:pt x="735" y="235"/>
                    </a:cubicBezTo>
                    <a:cubicBezTo>
                      <a:pt x="735" y="235"/>
                      <a:pt x="735" y="235"/>
                      <a:pt x="735" y="235"/>
                    </a:cubicBezTo>
                    <a:cubicBezTo>
                      <a:pt x="735" y="235"/>
                      <a:pt x="735" y="235"/>
                      <a:pt x="735" y="235"/>
                    </a:cubicBezTo>
                    <a:cubicBezTo>
                      <a:pt x="736" y="234"/>
                      <a:pt x="736" y="234"/>
                      <a:pt x="736" y="234"/>
                    </a:cubicBezTo>
                    <a:cubicBezTo>
                      <a:pt x="736" y="234"/>
                      <a:pt x="736" y="234"/>
                      <a:pt x="736" y="234"/>
                    </a:cubicBezTo>
                    <a:cubicBezTo>
                      <a:pt x="736" y="234"/>
                      <a:pt x="736" y="234"/>
                      <a:pt x="736" y="234"/>
                    </a:cubicBezTo>
                    <a:cubicBezTo>
                      <a:pt x="736" y="234"/>
                      <a:pt x="736" y="234"/>
                      <a:pt x="736" y="234"/>
                    </a:cubicBezTo>
                    <a:cubicBezTo>
                      <a:pt x="737" y="234"/>
                      <a:pt x="737" y="234"/>
                      <a:pt x="738" y="234"/>
                    </a:cubicBezTo>
                    <a:cubicBezTo>
                      <a:pt x="738" y="234"/>
                      <a:pt x="738" y="234"/>
                      <a:pt x="738" y="234"/>
                    </a:cubicBezTo>
                    <a:cubicBezTo>
                      <a:pt x="738" y="234"/>
                      <a:pt x="738" y="234"/>
                      <a:pt x="738" y="234"/>
                    </a:cubicBezTo>
                    <a:cubicBezTo>
                      <a:pt x="738" y="234"/>
                      <a:pt x="738" y="234"/>
                      <a:pt x="738" y="234"/>
                    </a:cubicBezTo>
                    <a:cubicBezTo>
                      <a:pt x="738" y="234"/>
                      <a:pt x="738" y="234"/>
                      <a:pt x="738" y="234"/>
                    </a:cubicBezTo>
                    <a:cubicBezTo>
                      <a:pt x="738" y="234"/>
                      <a:pt x="738" y="234"/>
                      <a:pt x="738" y="234"/>
                    </a:cubicBezTo>
                    <a:cubicBezTo>
                      <a:pt x="738" y="234"/>
                      <a:pt x="738" y="234"/>
                      <a:pt x="738" y="234"/>
                    </a:cubicBezTo>
                    <a:cubicBezTo>
                      <a:pt x="739" y="233"/>
                      <a:pt x="739" y="234"/>
                      <a:pt x="740" y="233"/>
                    </a:cubicBezTo>
                    <a:cubicBezTo>
                      <a:pt x="740" y="233"/>
                      <a:pt x="740" y="233"/>
                      <a:pt x="740" y="233"/>
                    </a:cubicBezTo>
                    <a:cubicBezTo>
                      <a:pt x="740" y="233"/>
                      <a:pt x="740" y="233"/>
                      <a:pt x="740" y="233"/>
                    </a:cubicBezTo>
                    <a:cubicBezTo>
                      <a:pt x="740" y="233"/>
                      <a:pt x="740" y="233"/>
                      <a:pt x="740" y="233"/>
                    </a:cubicBezTo>
                    <a:cubicBezTo>
                      <a:pt x="740" y="233"/>
                      <a:pt x="740" y="233"/>
                      <a:pt x="740" y="233"/>
                    </a:cubicBezTo>
                    <a:cubicBezTo>
                      <a:pt x="740" y="232"/>
                      <a:pt x="740" y="232"/>
                      <a:pt x="740" y="232"/>
                    </a:cubicBezTo>
                    <a:cubicBezTo>
                      <a:pt x="740" y="232"/>
                      <a:pt x="740" y="232"/>
                      <a:pt x="740"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1"/>
                      <a:pt x="741" y="231"/>
                      <a:pt x="741" y="231"/>
                    </a:cubicBezTo>
                    <a:cubicBezTo>
                      <a:pt x="741" y="231"/>
                      <a:pt x="741" y="231"/>
                      <a:pt x="741" y="231"/>
                    </a:cubicBezTo>
                    <a:cubicBezTo>
                      <a:pt x="741" y="231"/>
                      <a:pt x="741" y="231"/>
                      <a:pt x="741" y="231"/>
                    </a:cubicBezTo>
                    <a:cubicBezTo>
                      <a:pt x="741" y="230"/>
                      <a:pt x="741" y="230"/>
                      <a:pt x="741" y="230"/>
                    </a:cubicBezTo>
                    <a:cubicBezTo>
                      <a:pt x="741" y="230"/>
                      <a:pt x="741" y="230"/>
                      <a:pt x="741" y="230"/>
                    </a:cubicBezTo>
                    <a:cubicBezTo>
                      <a:pt x="741" y="230"/>
                      <a:pt x="741" y="230"/>
                      <a:pt x="741" y="230"/>
                    </a:cubicBezTo>
                    <a:cubicBezTo>
                      <a:pt x="741" y="230"/>
                      <a:pt x="741" y="230"/>
                      <a:pt x="741" y="230"/>
                    </a:cubicBezTo>
                    <a:cubicBezTo>
                      <a:pt x="741" y="230"/>
                      <a:pt x="741" y="230"/>
                      <a:pt x="741" y="230"/>
                    </a:cubicBezTo>
                    <a:cubicBezTo>
                      <a:pt x="741" y="230"/>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7"/>
                    </a:cubicBezTo>
                    <a:cubicBezTo>
                      <a:pt x="742" y="227"/>
                      <a:pt x="742" y="227"/>
                      <a:pt x="742" y="227"/>
                    </a:cubicBezTo>
                    <a:cubicBezTo>
                      <a:pt x="742" y="227"/>
                      <a:pt x="742" y="227"/>
                      <a:pt x="742" y="227"/>
                    </a:cubicBezTo>
                    <a:cubicBezTo>
                      <a:pt x="742" y="227"/>
                      <a:pt x="742" y="227"/>
                      <a:pt x="742" y="226"/>
                    </a:cubicBezTo>
                    <a:cubicBezTo>
                      <a:pt x="742" y="226"/>
                      <a:pt x="742" y="226"/>
                      <a:pt x="742" y="226"/>
                    </a:cubicBezTo>
                    <a:cubicBezTo>
                      <a:pt x="742" y="226"/>
                      <a:pt x="742" y="226"/>
                      <a:pt x="742" y="226"/>
                    </a:cubicBezTo>
                    <a:cubicBezTo>
                      <a:pt x="742" y="226"/>
                      <a:pt x="742" y="226"/>
                      <a:pt x="742" y="226"/>
                    </a:cubicBezTo>
                    <a:cubicBezTo>
                      <a:pt x="742" y="226"/>
                      <a:pt x="742" y="226"/>
                      <a:pt x="742" y="226"/>
                    </a:cubicBezTo>
                    <a:cubicBezTo>
                      <a:pt x="742" y="225"/>
                      <a:pt x="742" y="225"/>
                      <a:pt x="742" y="225"/>
                    </a:cubicBezTo>
                    <a:cubicBezTo>
                      <a:pt x="741" y="224"/>
                      <a:pt x="741" y="224"/>
                      <a:pt x="741" y="224"/>
                    </a:cubicBezTo>
                    <a:cubicBezTo>
                      <a:pt x="741" y="223"/>
                      <a:pt x="741" y="223"/>
                      <a:pt x="741" y="223"/>
                    </a:cubicBezTo>
                    <a:cubicBezTo>
                      <a:pt x="741" y="223"/>
                      <a:pt x="741" y="223"/>
                      <a:pt x="741" y="223"/>
                    </a:cubicBezTo>
                    <a:cubicBezTo>
                      <a:pt x="741" y="222"/>
                      <a:pt x="741" y="222"/>
                      <a:pt x="741" y="222"/>
                    </a:cubicBezTo>
                    <a:cubicBezTo>
                      <a:pt x="741" y="222"/>
                      <a:pt x="741" y="222"/>
                      <a:pt x="741" y="222"/>
                    </a:cubicBezTo>
                    <a:cubicBezTo>
                      <a:pt x="741" y="222"/>
                      <a:pt x="741" y="222"/>
                      <a:pt x="741" y="222"/>
                    </a:cubicBezTo>
                    <a:cubicBezTo>
                      <a:pt x="740" y="222"/>
                      <a:pt x="740" y="222"/>
                      <a:pt x="740" y="222"/>
                    </a:cubicBezTo>
                    <a:cubicBezTo>
                      <a:pt x="740" y="222"/>
                      <a:pt x="740" y="222"/>
                      <a:pt x="740" y="222"/>
                    </a:cubicBezTo>
                    <a:cubicBezTo>
                      <a:pt x="740" y="222"/>
                      <a:pt x="740" y="222"/>
                      <a:pt x="740" y="222"/>
                    </a:cubicBezTo>
                    <a:cubicBezTo>
                      <a:pt x="740" y="222"/>
                      <a:pt x="740" y="222"/>
                      <a:pt x="740" y="222"/>
                    </a:cubicBezTo>
                    <a:cubicBezTo>
                      <a:pt x="739" y="222"/>
                      <a:pt x="739" y="222"/>
                      <a:pt x="739" y="222"/>
                    </a:cubicBezTo>
                    <a:cubicBezTo>
                      <a:pt x="737" y="221"/>
                      <a:pt x="737" y="221"/>
                      <a:pt x="737"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5" y="221"/>
                      <a:pt x="735" y="221"/>
                      <a:pt x="735" y="221"/>
                    </a:cubicBezTo>
                    <a:cubicBezTo>
                      <a:pt x="735" y="221"/>
                      <a:pt x="735" y="221"/>
                      <a:pt x="735" y="221"/>
                    </a:cubicBezTo>
                    <a:cubicBezTo>
                      <a:pt x="735" y="221"/>
                      <a:pt x="735" y="221"/>
                      <a:pt x="735" y="221"/>
                    </a:cubicBezTo>
                    <a:cubicBezTo>
                      <a:pt x="734" y="221"/>
                      <a:pt x="734" y="221"/>
                      <a:pt x="733" y="221"/>
                    </a:cubicBezTo>
                    <a:cubicBezTo>
                      <a:pt x="733" y="221"/>
                      <a:pt x="733" y="221"/>
                      <a:pt x="733" y="221"/>
                    </a:cubicBezTo>
                    <a:cubicBezTo>
                      <a:pt x="733" y="221"/>
                      <a:pt x="733" y="221"/>
                      <a:pt x="733" y="221"/>
                    </a:cubicBezTo>
                    <a:cubicBezTo>
                      <a:pt x="733" y="221"/>
                      <a:pt x="733" y="221"/>
                      <a:pt x="733" y="221"/>
                    </a:cubicBezTo>
                    <a:cubicBezTo>
                      <a:pt x="733" y="221"/>
                      <a:pt x="732" y="221"/>
                      <a:pt x="732" y="221"/>
                    </a:cubicBezTo>
                    <a:cubicBezTo>
                      <a:pt x="732" y="221"/>
                      <a:pt x="732" y="221"/>
                      <a:pt x="732" y="221"/>
                    </a:cubicBezTo>
                    <a:cubicBezTo>
                      <a:pt x="732" y="221"/>
                      <a:pt x="732" y="221"/>
                      <a:pt x="732" y="221"/>
                    </a:cubicBezTo>
                    <a:cubicBezTo>
                      <a:pt x="732" y="221"/>
                      <a:pt x="732"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0" y="221"/>
                      <a:pt x="730" y="221"/>
                    </a:cubicBezTo>
                    <a:cubicBezTo>
                      <a:pt x="730" y="221"/>
                      <a:pt x="730" y="221"/>
                      <a:pt x="730" y="221"/>
                    </a:cubicBezTo>
                    <a:cubicBezTo>
                      <a:pt x="730" y="221"/>
                      <a:pt x="730" y="221"/>
                      <a:pt x="730" y="221"/>
                    </a:cubicBezTo>
                    <a:cubicBezTo>
                      <a:pt x="730" y="221"/>
                      <a:pt x="730" y="222"/>
                      <a:pt x="730" y="222"/>
                    </a:cubicBezTo>
                    <a:cubicBezTo>
                      <a:pt x="730" y="222"/>
                      <a:pt x="730" y="222"/>
                      <a:pt x="730" y="222"/>
                    </a:cubicBezTo>
                    <a:cubicBezTo>
                      <a:pt x="730" y="222"/>
                      <a:pt x="730" y="222"/>
                      <a:pt x="730" y="222"/>
                    </a:cubicBezTo>
                    <a:cubicBezTo>
                      <a:pt x="730" y="222"/>
                      <a:pt x="730" y="222"/>
                      <a:pt x="730" y="222"/>
                    </a:cubicBezTo>
                    <a:cubicBezTo>
                      <a:pt x="730" y="222"/>
                      <a:pt x="730" y="222"/>
                      <a:pt x="730" y="222"/>
                    </a:cubicBezTo>
                    <a:cubicBezTo>
                      <a:pt x="730" y="222"/>
                      <a:pt x="729" y="222"/>
                      <a:pt x="729" y="222"/>
                    </a:cubicBezTo>
                    <a:cubicBezTo>
                      <a:pt x="729" y="222"/>
                      <a:pt x="729" y="222"/>
                      <a:pt x="729" y="222"/>
                    </a:cubicBezTo>
                    <a:cubicBezTo>
                      <a:pt x="729" y="222"/>
                      <a:pt x="729" y="222"/>
                      <a:pt x="729" y="222"/>
                    </a:cubicBezTo>
                    <a:cubicBezTo>
                      <a:pt x="729" y="223"/>
                      <a:pt x="729" y="222"/>
                      <a:pt x="728" y="223"/>
                    </a:cubicBezTo>
                    <a:cubicBezTo>
                      <a:pt x="728" y="223"/>
                      <a:pt x="728" y="223"/>
                      <a:pt x="728" y="223"/>
                    </a:cubicBezTo>
                    <a:cubicBezTo>
                      <a:pt x="728" y="223"/>
                      <a:pt x="728" y="223"/>
                      <a:pt x="728" y="223"/>
                    </a:cubicBezTo>
                    <a:cubicBezTo>
                      <a:pt x="728" y="223"/>
                      <a:pt x="728" y="223"/>
                      <a:pt x="728" y="223"/>
                    </a:cubicBezTo>
                    <a:cubicBezTo>
                      <a:pt x="728" y="223"/>
                      <a:pt x="728" y="223"/>
                      <a:pt x="728" y="223"/>
                    </a:cubicBezTo>
                    <a:cubicBezTo>
                      <a:pt x="728" y="223"/>
                      <a:pt x="728" y="223"/>
                      <a:pt x="728" y="223"/>
                    </a:cubicBezTo>
                    <a:cubicBezTo>
                      <a:pt x="727" y="223"/>
                      <a:pt x="728"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6" y="224"/>
                      <a:pt x="726" y="225"/>
                      <a:pt x="726" y="225"/>
                    </a:cubicBezTo>
                    <a:cubicBezTo>
                      <a:pt x="726" y="225"/>
                      <a:pt x="726" y="225"/>
                      <a:pt x="726" y="225"/>
                    </a:cubicBezTo>
                    <a:cubicBezTo>
                      <a:pt x="726" y="225"/>
                      <a:pt x="726" y="225"/>
                      <a:pt x="726" y="225"/>
                    </a:cubicBezTo>
                    <a:cubicBezTo>
                      <a:pt x="726" y="225"/>
                      <a:pt x="726" y="225"/>
                      <a:pt x="726" y="225"/>
                    </a:cubicBezTo>
                    <a:cubicBezTo>
                      <a:pt x="726" y="225"/>
                      <a:pt x="726" y="225"/>
                      <a:pt x="726" y="225"/>
                    </a:cubicBezTo>
                    <a:cubicBezTo>
                      <a:pt x="726" y="225"/>
                      <a:pt x="726" y="225"/>
                      <a:pt x="726" y="225"/>
                    </a:cubicBezTo>
                    <a:cubicBezTo>
                      <a:pt x="726" y="225"/>
                      <a:pt x="726" y="225"/>
                      <a:pt x="726" y="225"/>
                    </a:cubicBezTo>
                    <a:cubicBezTo>
                      <a:pt x="726" y="225"/>
                      <a:pt x="726" y="225"/>
                      <a:pt x="726" y="225"/>
                    </a:cubicBezTo>
                    <a:cubicBezTo>
                      <a:pt x="725" y="225"/>
                      <a:pt x="725" y="225"/>
                      <a:pt x="725" y="225"/>
                    </a:cubicBezTo>
                    <a:cubicBezTo>
                      <a:pt x="724" y="224"/>
                      <a:pt x="724" y="224"/>
                      <a:pt x="724" y="224"/>
                    </a:cubicBezTo>
                    <a:cubicBezTo>
                      <a:pt x="724" y="223"/>
                      <a:pt x="724" y="223"/>
                      <a:pt x="724"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2"/>
                      <a:pt x="723" y="223"/>
                      <a:pt x="723" y="222"/>
                    </a:cubicBezTo>
                    <a:cubicBezTo>
                      <a:pt x="723" y="222"/>
                      <a:pt x="723" y="222"/>
                      <a:pt x="723" y="222"/>
                    </a:cubicBezTo>
                    <a:cubicBezTo>
                      <a:pt x="724" y="222"/>
                      <a:pt x="724" y="222"/>
                      <a:pt x="724" y="222"/>
                    </a:cubicBezTo>
                    <a:cubicBezTo>
                      <a:pt x="724" y="222"/>
                      <a:pt x="724" y="222"/>
                      <a:pt x="724" y="222"/>
                    </a:cubicBezTo>
                    <a:cubicBezTo>
                      <a:pt x="724" y="222"/>
                      <a:pt x="724" y="222"/>
                      <a:pt x="724" y="222"/>
                    </a:cubicBezTo>
                    <a:cubicBezTo>
                      <a:pt x="724" y="222"/>
                      <a:pt x="724" y="222"/>
                      <a:pt x="724" y="222"/>
                    </a:cubicBezTo>
                    <a:cubicBezTo>
                      <a:pt x="724" y="222"/>
                      <a:pt x="724" y="222"/>
                      <a:pt x="724" y="222"/>
                    </a:cubicBezTo>
                    <a:cubicBezTo>
                      <a:pt x="724" y="222"/>
                      <a:pt x="725" y="222"/>
                      <a:pt x="725" y="222"/>
                    </a:cubicBezTo>
                    <a:cubicBezTo>
                      <a:pt x="725" y="222"/>
                      <a:pt x="725" y="222"/>
                      <a:pt x="725" y="222"/>
                    </a:cubicBezTo>
                    <a:cubicBezTo>
                      <a:pt x="725" y="222"/>
                      <a:pt x="725" y="222"/>
                      <a:pt x="725" y="222"/>
                    </a:cubicBezTo>
                    <a:cubicBezTo>
                      <a:pt x="725" y="222"/>
                      <a:pt x="725" y="222"/>
                      <a:pt x="725" y="222"/>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6" y="222"/>
                      <a:pt x="726" y="222"/>
                    </a:cubicBezTo>
                    <a:cubicBezTo>
                      <a:pt x="726" y="222"/>
                      <a:pt x="726" y="222"/>
                      <a:pt x="726" y="222"/>
                    </a:cubicBezTo>
                    <a:cubicBezTo>
                      <a:pt x="726" y="222"/>
                      <a:pt x="726" y="222"/>
                      <a:pt x="726" y="222"/>
                    </a:cubicBezTo>
                    <a:cubicBezTo>
                      <a:pt x="726" y="222"/>
                      <a:pt x="726" y="222"/>
                      <a:pt x="726" y="222"/>
                    </a:cubicBezTo>
                    <a:cubicBezTo>
                      <a:pt x="726" y="222"/>
                      <a:pt x="726" y="222"/>
                      <a:pt x="726" y="222"/>
                    </a:cubicBezTo>
                    <a:cubicBezTo>
                      <a:pt x="726" y="222"/>
                      <a:pt x="726" y="222"/>
                      <a:pt x="726" y="222"/>
                    </a:cubicBezTo>
                    <a:cubicBezTo>
                      <a:pt x="726" y="222"/>
                      <a:pt x="726" y="222"/>
                      <a:pt x="726" y="222"/>
                    </a:cubicBezTo>
                    <a:cubicBezTo>
                      <a:pt x="726" y="222"/>
                      <a:pt x="726" y="222"/>
                      <a:pt x="726" y="222"/>
                    </a:cubicBezTo>
                    <a:cubicBezTo>
                      <a:pt x="726" y="221"/>
                      <a:pt x="726" y="221"/>
                      <a:pt x="726" y="221"/>
                    </a:cubicBezTo>
                    <a:cubicBezTo>
                      <a:pt x="726" y="221"/>
                      <a:pt x="726" y="221"/>
                      <a:pt x="726" y="221"/>
                    </a:cubicBezTo>
                    <a:cubicBezTo>
                      <a:pt x="726" y="221"/>
                      <a:pt x="726" y="221"/>
                      <a:pt x="726" y="221"/>
                    </a:cubicBezTo>
                    <a:cubicBezTo>
                      <a:pt x="726" y="221"/>
                      <a:pt x="726" y="221"/>
                      <a:pt x="726" y="221"/>
                    </a:cubicBezTo>
                    <a:cubicBezTo>
                      <a:pt x="726" y="221"/>
                      <a:pt x="726" y="221"/>
                      <a:pt x="726" y="221"/>
                    </a:cubicBezTo>
                    <a:cubicBezTo>
                      <a:pt x="726" y="220"/>
                      <a:pt x="726" y="220"/>
                      <a:pt x="726" y="220"/>
                    </a:cubicBezTo>
                    <a:cubicBezTo>
                      <a:pt x="726" y="220"/>
                      <a:pt x="726" y="220"/>
                      <a:pt x="726" y="220"/>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20"/>
                      <a:pt x="726" y="220"/>
                      <a:pt x="726" y="220"/>
                    </a:cubicBezTo>
                    <a:cubicBezTo>
                      <a:pt x="726" y="220"/>
                      <a:pt x="726" y="220"/>
                      <a:pt x="726" y="220"/>
                    </a:cubicBezTo>
                    <a:cubicBezTo>
                      <a:pt x="726" y="220"/>
                      <a:pt x="726" y="220"/>
                      <a:pt x="726" y="220"/>
                    </a:cubicBezTo>
                    <a:cubicBezTo>
                      <a:pt x="726" y="220"/>
                      <a:pt x="726" y="220"/>
                      <a:pt x="726" y="220"/>
                    </a:cubicBezTo>
                    <a:cubicBezTo>
                      <a:pt x="726" y="220"/>
                      <a:pt x="726" y="220"/>
                      <a:pt x="726" y="220"/>
                    </a:cubicBezTo>
                    <a:cubicBezTo>
                      <a:pt x="726" y="220"/>
                      <a:pt x="726" y="220"/>
                      <a:pt x="726" y="220"/>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7" y="219"/>
                      <a:pt x="727" y="219"/>
                      <a:pt x="727" y="219"/>
                    </a:cubicBezTo>
                    <a:cubicBezTo>
                      <a:pt x="727" y="219"/>
                      <a:pt x="727" y="219"/>
                      <a:pt x="727" y="219"/>
                    </a:cubicBezTo>
                    <a:cubicBezTo>
                      <a:pt x="727" y="219"/>
                      <a:pt x="727" y="219"/>
                      <a:pt x="727" y="219"/>
                    </a:cubicBezTo>
                    <a:cubicBezTo>
                      <a:pt x="727" y="219"/>
                      <a:pt x="727" y="219"/>
                      <a:pt x="727" y="219"/>
                    </a:cubicBezTo>
                    <a:cubicBezTo>
                      <a:pt x="727" y="220"/>
                      <a:pt x="727" y="220"/>
                      <a:pt x="727" y="220"/>
                    </a:cubicBezTo>
                    <a:cubicBezTo>
                      <a:pt x="727" y="220"/>
                      <a:pt x="727" y="220"/>
                      <a:pt x="727" y="221"/>
                    </a:cubicBezTo>
                    <a:cubicBezTo>
                      <a:pt x="728" y="222"/>
                      <a:pt x="728" y="222"/>
                      <a:pt x="728" y="222"/>
                    </a:cubicBezTo>
                    <a:cubicBezTo>
                      <a:pt x="728" y="222"/>
                      <a:pt x="728" y="222"/>
                      <a:pt x="728" y="222"/>
                    </a:cubicBezTo>
                    <a:cubicBezTo>
                      <a:pt x="728" y="222"/>
                      <a:pt x="728" y="222"/>
                      <a:pt x="728" y="222"/>
                    </a:cubicBezTo>
                    <a:cubicBezTo>
                      <a:pt x="728" y="222"/>
                      <a:pt x="728" y="222"/>
                      <a:pt x="728" y="222"/>
                    </a:cubicBezTo>
                    <a:cubicBezTo>
                      <a:pt x="728" y="222"/>
                      <a:pt x="728" y="222"/>
                      <a:pt x="728" y="222"/>
                    </a:cubicBezTo>
                    <a:cubicBezTo>
                      <a:pt x="728" y="222"/>
                      <a:pt x="728" y="222"/>
                      <a:pt x="728" y="222"/>
                    </a:cubicBezTo>
                    <a:cubicBezTo>
                      <a:pt x="729" y="222"/>
                      <a:pt x="729" y="222"/>
                      <a:pt x="729" y="222"/>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0"/>
                      <a:pt x="729" y="220"/>
                      <a:pt x="729" y="220"/>
                    </a:cubicBezTo>
                    <a:cubicBezTo>
                      <a:pt x="729" y="220"/>
                      <a:pt x="729" y="219"/>
                      <a:pt x="729" y="219"/>
                    </a:cubicBezTo>
                    <a:cubicBezTo>
                      <a:pt x="729" y="218"/>
                      <a:pt x="729" y="218"/>
                      <a:pt x="729" y="218"/>
                    </a:cubicBezTo>
                    <a:cubicBezTo>
                      <a:pt x="729" y="218"/>
                      <a:pt x="729" y="218"/>
                      <a:pt x="729" y="218"/>
                    </a:cubicBezTo>
                    <a:cubicBezTo>
                      <a:pt x="729" y="218"/>
                      <a:pt x="729" y="218"/>
                      <a:pt x="729" y="218"/>
                    </a:cubicBezTo>
                    <a:cubicBezTo>
                      <a:pt x="729" y="218"/>
                      <a:pt x="729" y="218"/>
                      <a:pt x="729" y="218"/>
                    </a:cubicBezTo>
                    <a:cubicBezTo>
                      <a:pt x="729" y="218"/>
                      <a:pt x="729" y="218"/>
                      <a:pt x="729" y="218"/>
                    </a:cubicBezTo>
                    <a:cubicBezTo>
                      <a:pt x="729" y="218"/>
                      <a:pt x="730" y="219"/>
                      <a:pt x="730" y="218"/>
                    </a:cubicBezTo>
                    <a:cubicBezTo>
                      <a:pt x="730" y="218"/>
                      <a:pt x="730" y="218"/>
                      <a:pt x="730" y="218"/>
                    </a:cubicBezTo>
                    <a:cubicBezTo>
                      <a:pt x="730" y="218"/>
                      <a:pt x="730" y="218"/>
                      <a:pt x="730" y="218"/>
                    </a:cubicBezTo>
                    <a:cubicBezTo>
                      <a:pt x="730" y="218"/>
                      <a:pt x="730" y="218"/>
                      <a:pt x="730" y="218"/>
                    </a:cubicBezTo>
                    <a:cubicBezTo>
                      <a:pt x="730" y="218"/>
                      <a:pt x="730" y="218"/>
                      <a:pt x="730" y="218"/>
                    </a:cubicBezTo>
                    <a:cubicBezTo>
                      <a:pt x="730" y="218"/>
                      <a:pt x="730" y="218"/>
                      <a:pt x="730" y="218"/>
                    </a:cubicBezTo>
                    <a:cubicBezTo>
                      <a:pt x="731" y="218"/>
                      <a:pt x="731" y="218"/>
                      <a:pt x="731" y="218"/>
                    </a:cubicBezTo>
                    <a:cubicBezTo>
                      <a:pt x="731" y="218"/>
                      <a:pt x="730" y="217"/>
                      <a:pt x="730" y="216"/>
                    </a:cubicBezTo>
                    <a:cubicBezTo>
                      <a:pt x="730" y="216"/>
                      <a:pt x="730" y="216"/>
                      <a:pt x="730" y="216"/>
                    </a:cubicBezTo>
                    <a:cubicBezTo>
                      <a:pt x="730" y="216"/>
                      <a:pt x="730" y="216"/>
                      <a:pt x="730" y="216"/>
                    </a:cubicBezTo>
                    <a:cubicBezTo>
                      <a:pt x="730" y="215"/>
                      <a:pt x="730" y="215"/>
                      <a:pt x="730" y="215"/>
                    </a:cubicBezTo>
                    <a:cubicBezTo>
                      <a:pt x="731" y="215"/>
                      <a:pt x="731" y="215"/>
                      <a:pt x="731" y="215"/>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2" y="216"/>
                      <a:pt x="732" y="216"/>
                      <a:pt x="732" y="216"/>
                    </a:cubicBezTo>
                    <a:cubicBezTo>
                      <a:pt x="732" y="216"/>
                      <a:pt x="732" y="216"/>
                      <a:pt x="732" y="216"/>
                    </a:cubicBezTo>
                    <a:cubicBezTo>
                      <a:pt x="732" y="216"/>
                      <a:pt x="732" y="216"/>
                      <a:pt x="732" y="216"/>
                    </a:cubicBezTo>
                    <a:cubicBezTo>
                      <a:pt x="732" y="216"/>
                      <a:pt x="732" y="216"/>
                      <a:pt x="732" y="216"/>
                    </a:cubicBezTo>
                    <a:cubicBezTo>
                      <a:pt x="732" y="216"/>
                      <a:pt x="732" y="216"/>
                      <a:pt x="732" y="216"/>
                    </a:cubicBezTo>
                    <a:cubicBezTo>
                      <a:pt x="732" y="215"/>
                      <a:pt x="732" y="215"/>
                      <a:pt x="732" y="215"/>
                    </a:cubicBezTo>
                    <a:cubicBezTo>
                      <a:pt x="732" y="215"/>
                      <a:pt x="732" y="215"/>
                      <a:pt x="732" y="215"/>
                    </a:cubicBezTo>
                    <a:cubicBezTo>
                      <a:pt x="732" y="215"/>
                      <a:pt x="732" y="215"/>
                      <a:pt x="732" y="215"/>
                    </a:cubicBezTo>
                    <a:cubicBezTo>
                      <a:pt x="732" y="214"/>
                      <a:pt x="732" y="214"/>
                      <a:pt x="732" y="214"/>
                    </a:cubicBezTo>
                    <a:cubicBezTo>
                      <a:pt x="732" y="214"/>
                      <a:pt x="732" y="214"/>
                      <a:pt x="732" y="214"/>
                    </a:cubicBezTo>
                    <a:cubicBezTo>
                      <a:pt x="732" y="214"/>
                      <a:pt x="732" y="214"/>
                      <a:pt x="732" y="214"/>
                    </a:cubicBezTo>
                    <a:cubicBezTo>
                      <a:pt x="731" y="214"/>
                      <a:pt x="731" y="214"/>
                      <a:pt x="731" y="214"/>
                    </a:cubicBezTo>
                    <a:cubicBezTo>
                      <a:pt x="731" y="214"/>
                      <a:pt x="731" y="214"/>
                      <a:pt x="731" y="214"/>
                    </a:cubicBezTo>
                    <a:cubicBezTo>
                      <a:pt x="730" y="214"/>
                      <a:pt x="730" y="214"/>
                      <a:pt x="730" y="214"/>
                    </a:cubicBezTo>
                    <a:cubicBezTo>
                      <a:pt x="729" y="214"/>
                      <a:pt x="729" y="214"/>
                      <a:pt x="728" y="214"/>
                    </a:cubicBezTo>
                    <a:cubicBezTo>
                      <a:pt x="728" y="214"/>
                      <a:pt x="728" y="214"/>
                      <a:pt x="728" y="214"/>
                    </a:cubicBezTo>
                    <a:cubicBezTo>
                      <a:pt x="728" y="214"/>
                      <a:pt x="728" y="214"/>
                      <a:pt x="728" y="214"/>
                    </a:cubicBezTo>
                    <a:cubicBezTo>
                      <a:pt x="728" y="214"/>
                      <a:pt x="728" y="214"/>
                      <a:pt x="728" y="214"/>
                    </a:cubicBezTo>
                    <a:cubicBezTo>
                      <a:pt x="728" y="214"/>
                      <a:pt x="728" y="214"/>
                      <a:pt x="728" y="214"/>
                    </a:cubicBezTo>
                    <a:cubicBezTo>
                      <a:pt x="728" y="214"/>
                      <a:pt x="728" y="214"/>
                      <a:pt x="728" y="214"/>
                    </a:cubicBezTo>
                    <a:cubicBezTo>
                      <a:pt x="728" y="214"/>
                      <a:pt x="728" y="214"/>
                      <a:pt x="728" y="214"/>
                    </a:cubicBezTo>
                    <a:cubicBezTo>
                      <a:pt x="728" y="215"/>
                      <a:pt x="727" y="214"/>
                      <a:pt x="727" y="214"/>
                    </a:cubicBezTo>
                    <a:cubicBezTo>
                      <a:pt x="727" y="214"/>
                      <a:pt x="727" y="214"/>
                      <a:pt x="727" y="214"/>
                    </a:cubicBezTo>
                    <a:cubicBezTo>
                      <a:pt x="727" y="214"/>
                      <a:pt x="727" y="214"/>
                      <a:pt x="727" y="214"/>
                    </a:cubicBezTo>
                    <a:cubicBezTo>
                      <a:pt x="727" y="214"/>
                      <a:pt x="727" y="214"/>
                      <a:pt x="727" y="214"/>
                    </a:cubicBezTo>
                    <a:cubicBezTo>
                      <a:pt x="727" y="214"/>
                      <a:pt x="727" y="214"/>
                      <a:pt x="727" y="214"/>
                    </a:cubicBezTo>
                    <a:cubicBezTo>
                      <a:pt x="727" y="214"/>
                      <a:pt x="727" y="214"/>
                      <a:pt x="727" y="214"/>
                    </a:cubicBezTo>
                    <a:cubicBezTo>
                      <a:pt x="727" y="214"/>
                      <a:pt x="727" y="214"/>
                      <a:pt x="727" y="214"/>
                    </a:cubicBezTo>
                    <a:cubicBezTo>
                      <a:pt x="728" y="214"/>
                      <a:pt x="728" y="213"/>
                      <a:pt x="728" y="213"/>
                    </a:cubicBezTo>
                    <a:cubicBezTo>
                      <a:pt x="727" y="213"/>
                      <a:pt x="727" y="213"/>
                      <a:pt x="727" y="213"/>
                    </a:cubicBezTo>
                    <a:cubicBezTo>
                      <a:pt x="727" y="213"/>
                      <a:pt x="727" y="213"/>
                      <a:pt x="727" y="213"/>
                    </a:cubicBezTo>
                    <a:cubicBezTo>
                      <a:pt x="727" y="213"/>
                      <a:pt x="728" y="213"/>
                      <a:pt x="727" y="213"/>
                    </a:cubicBezTo>
                    <a:cubicBezTo>
                      <a:pt x="727" y="213"/>
                      <a:pt x="727" y="213"/>
                      <a:pt x="727" y="213"/>
                    </a:cubicBezTo>
                    <a:cubicBezTo>
                      <a:pt x="727" y="212"/>
                      <a:pt x="727" y="212"/>
                      <a:pt x="727" y="212"/>
                    </a:cubicBezTo>
                    <a:cubicBezTo>
                      <a:pt x="727" y="212"/>
                      <a:pt x="727" y="212"/>
                      <a:pt x="727" y="212"/>
                    </a:cubicBezTo>
                    <a:cubicBezTo>
                      <a:pt x="727" y="212"/>
                      <a:pt x="727" y="212"/>
                      <a:pt x="727" y="212"/>
                    </a:cubicBezTo>
                    <a:cubicBezTo>
                      <a:pt x="727" y="212"/>
                      <a:pt x="727" y="212"/>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8" y="210"/>
                      <a:pt x="728" y="210"/>
                      <a:pt x="728" y="210"/>
                    </a:cubicBezTo>
                    <a:cubicBezTo>
                      <a:pt x="728" y="210"/>
                      <a:pt x="728" y="210"/>
                      <a:pt x="728" y="210"/>
                    </a:cubicBezTo>
                    <a:cubicBezTo>
                      <a:pt x="729" y="210"/>
                      <a:pt x="729" y="210"/>
                      <a:pt x="729" y="210"/>
                    </a:cubicBezTo>
                    <a:cubicBezTo>
                      <a:pt x="729" y="210"/>
                      <a:pt x="729" y="210"/>
                      <a:pt x="729" y="210"/>
                    </a:cubicBezTo>
                    <a:cubicBezTo>
                      <a:pt x="729" y="210"/>
                      <a:pt x="729" y="210"/>
                      <a:pt x="729" y="210"/>
                    </a:cubicBezTo>
                    <a:cubicBezTo>
                      <a:pt x="729" y="210"/>
                      <a:pt x="729" y="210"/>
                      <a:pt x="729" y="210"/>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8" y="208"/>
                      <a:pt x="728" y="208"/>
                      <a:pt x="728" y="208"/>
                    </a:cubicBezTo>
                    <a:cubicBezTo>
                      <a:pt x="728" y="208"/>
                      <a:pt x="728" y="208"/>
                      <a:pt x="728" y="208"/>
                    </a:cubicBezTo>
                    <a:cubicBezTo>
                      <a:pt x="728" y="208"/>
                      <a:pt x="728" y="208"/>
                      <a:pt x="728" y="208"/>
                    </a:cubicBezTo>
                    <a:cubicBezTo>
                      <a:pt x="728" y="208"/>
                      <a:pt x="728" y="208"/>
                      <a:pt x="728" y="208"/>
                    </a:cubicBezTo>
                    <a:cubicBezTo>
                      <a:pt x="728" y="208"/>
                      <a:pt x="728" y="208"/>
                      <a:pt x="728" y="208"/>
                    </a:cubicBezTo>
                    <a:cubicBezTo>
                      <a:pt x="728" y="208"/>
                      <a:pt x="728" y="208"/>
                      <a:pt x="728" y="208"/>
                    </a:cubicBezTo>
                    <a:cubicBezTo>
                      <a:pt x="728" y="208"/>
                      <a:pt x="728" y="208"/>
                      <a:pt x="728" y="208"/>
                    </a:cubicBezTo>
                    <a:cubicBezTo>
                      <a:pt x="728" y="207"/>
                      <a:pt x="728" y="207"/>
                      <a:pt x="728" y="207"/>
                    </a:cubicBezTo>
                    <a:cubicBezTo>
                      <a:pt x="728" y="207"/>
                      <a:pt x="728" y="207"/>
                      <a:pt x="728" y="207"/>
                    </a:cubicBezTo>
                    <a:cubicBezTo>
                      <a:pt x="728" y="207"/>
                      <a:pt x="728" y="207"/>
                      <a:pt x="728" y="207"/>
                    </a:cubicBezTo>
                    <a:cubicBezTo>
                      <a:pt x="728" y="207"/>
                      <a:pt x="728" y="207"/>
                      <a:pt x="728" y="207"/>
                    </a:cubicBezTo>
                    <a:cubicBezTo>
                      <a:pt x="728" y="206"/>
                      <a:pt x="728" y="206"/>
                      <a:pt x="728" y="206"/>
                    </a:cubicBezTo>
                    <a:cubicBezTo>
                      <a:pt x="728" y="206"/>
                      <a:pt x="728" y="206"/>
                      <a:pt x="728" y="206"/>
                    </a:cubicBezTo>
                    <a:cubicBezTo>
                      <a:pt x="728" y="206"/>
                      <a:pt x="728" y="206"/>
                      <a:pt x="728" y="206"/>
                    </a:cubicBezTo>
                    <a:cubicBezTo>
                      <a:pt x="728" y="206"/>
                      <a:pt x="728" y="206"/>
                      <a:pt x="728" y="206"/>
                    </a:cubicBezTo>
                    <a:cubicBezTo>
                      <a:pt x="728" y="206"/>
                      <a:pt x="728" y="206"/>
                      <a:pt x="728" y="206"/>
                    </a:cubicBezTo>
                    <a:cubicBezTo>
                      <a:pt x="727" y="205"/>
                      <a:pt x="727" y="205"/>
                      <a:pt x="727" y="205"/>
                    </a:cubicBezTo>
                    <a:cubicBezTo>
                      <a:pt x="727" y="205"/>
                      <a:pt x="727" y="205"/>
                      <a:pt x="727" y="205"/>
                    </a:cubicBezTo>
                    <a:cubicBezTo>
                      <a:pt x="727" y="205"/>
                      <a:pt x="727" y="205"/>
                      <a:pt x="727" y="205"/>
                    </a:cubicBezTo>
                    <a:cubicBezTo>
                      <a:pt x="727" y="205"/>
                      <a:pt x="727" y="205"/>
                      <a:pt x="727" y="205"/>
                    </a:cubicBezTo>
                    <a:cubicBezTo>
                      <a:pt x="727" y="205"/>
                      <a:pt x="727" y="205"/>
                      <a:pt x="727" y="205"/>
                    </a:cubicBezTo>
                    <a:cubicBezTo>
                      <a:pt x="725" y="204"/>
                      <a:pt x="725" y="204"/>
                      <a:pt x="725" y="204"/>
                    </a:cubicBezTo>
                    <a:cubicBezTo>
                      <a:pt x="718" y="204"/>
                      <a:pt x="718" y="204"/>
                      <a:pt x="718" y="204"/>
                    </a:cubicBezTo>
                    <a:cubicBezTo>
                      <a:pt x="719" y="204"/>
                      <a:pt x="719" y="204"/>
                      <a:pt x="720" y="204"/>
                    </a:cubicBezTo>
                    <a:cubicBezTo>
                      <a:pt x="720" y="204"/>
                      <a:pt x="720" y="204"/>
                      <a:pt x="721" y="204"/>
                    </a:cubicBezTo>
                    <a:cubicBezTo>
                      <a:pt x="721" y="204"/>
                      <a:pt x="721" y="204"/>
                      <a:pt x="720" y="204"/>
                    </a:cubicBezTo>
                    <a:cubicBezTo>
                      <a:pt x="721" y="204"/>
                      <a:pt x="722" y="204"/>
                      <a:pt x="723" y="204"/>
                    </a:cubicBezTo>
                    <a:cubicBezTo>
                      <a:pt x="724" y="204"/>
                      <a:pt x="725" y="204"/>
                      <a:pt x="725" y="204"/>
                    </a:cubicBezTo>
                    <a:cubicBezTo>
                      <a:pt x="726" y="204"/>
                      <a:pt x="726" y="204"/>
                      <a:pt x="726" y="204"/>
                    </a:cubicBezTo>
                    <a:cubicBezTo>
                      <a:pt x="727" y="204"/>
                      <a:pt x="725" y="204"/>
                      <a:pt x="726" y="203"/>
                    </a:cubicBezTo>
                    <a:cubicBezTo>
                      <a:pt x="726" y="203"/>
                      <a:pt x="726" y="203"/>
                      <a:pt x="726" y="203"/>
                    </a:cubicBezTo>
                    <a:cubicBezTo>
                      <a:pt x="727" y="203"/>
                      <a:pt x="728" y="203"/>
                      <a:pt x="728" y="203"/>
                    </a:cubicBezTo>
                    <a:cubicBezTo>
                      <a:pt x="728" y="203"/>
                      <a:pt x="728" y="201"/>
                      <a:pt x="728" y="201"/>
                    </a:cubicBezTo>
                    <a:cubicBezTo>
                      <a:pt x="728" y="201"/>
                      <a:pt x="728" y="201"/>
                      <a:pt x="728" y="201"/>
                    </a:cubicBezTo>
                    <a:cubicBezTo>
                      <a:pt x="728" y="201"/>
                      <a:pt x="728" y="201"/>
                      <a:pt x="728" y="201"/>
                    </a:cubicBezTo>
                    <a:cubicBezTo>
                      <a:pt x="728" y="201"/>
                      <a:pt x="728" y="201"/>
                      <a:pt x="728" y="200"/>
                    </a:cubicBezTo>
                    <a:cubicBezTo>
                      <a:pt x="727" y="200"/>
                      <a:pt x="727" y="200"/>
                      <a:pt x="727" y="200"/>
                    </a:cubicBezTo>
                    <a:cubicBezTo>
                      <a:pt x="727" y="200"/>
                      <a:pt x="727" y="200"/>
                      <a:pt x="727" y="199"/>
                    </a:cubicBezTo>
                    <a:cubicBezTo>
                      <a:pt x="727" y="199"/>
                      <a:pt x="726" y="199"/>
                      <a:pt x="726" y="199"/>
                    </a:cubicBezTo>
                    <a:cubicBezTo>
                      <a:pt x="726" y="199"/>
                      <a:pt x="727" y="199"/>
                      <a:pt x="727" y="198"/>
                    </a:cubicBezTo>
                    <a:cubicBezTo>
                      <a:pt x="727" y="198"/>
                      <a:pt x="727" y="198"/>
                      <a:pt x="727" y="198"/>
                    </a:cubicBezTo>
                    <a:cubicBezTo>
                      <a:pt x="727" y="198"/>
                      <a:pt x="727" y="198"/>
                      <a:pt x="727" y="198"/>
                    </a:cubicBezTo>
                    <a:cubicBezTo>
                      <a:pt x="727" y="198"/>
                      <a:pt x="726" y="197"/>
                      <a:pt x="726" y="197"/>
                    </a:cubicBezTo>
                    <a:cubicBezTo>
                      <a:pt x="726" y="196"/>
                      <a:pt x="726" y="196"/>
                      <a:pt x="726" y="196"/>
                    </a:cubicBezTo>
                    <a:cubicBezTo>
                      <a:pt x="726" y="196"/>
                      <a:pt x="726" y="196"/>
                      <a:pt x="726" y="196"/>
                    </a:cubicBezTo>
                    <a:cubicBezTo>
                      <a:pt x="726" y="196"/>
                      <a:pt x="727" y="196"/>
                      <a:pt x="727" y="196"/>
                    </a:cubicBezTo>
                    <a:cubicBezTo>
                      <a:pt x="727" y="196"/>
                      <a:pt x="727" y="196"/>
                      <a:pt x="727" y="195"/>
                    </a:cubicBezTo>
                    <a:cubicBezTo>
                      <a:pt x="727" y="195"/>
                      <a:pt x="728" y="195"/>
                      <a:pt x="727" y="195"/>
                    </a:cubicBezTo>
                    <a:cubicBezTo>
                      <a:pt x="727" y="195"/>
                      <a:pt x="727" y="195"/>
                      <a:pt x="727" y="195"/>
                    </a:cubicBezTo>
                    <a:cubicBezTo>
                      <a:pt x="727" y="195"/>
                      <a:pt x="727" y="194"/>
                      <a:pt x="727" y="194"/>
                    </a:cubicBezTo>
                    <a:cubicBezTo>
                      <a:pt x="727" y="194"/>
                      <a:pt x="727" y="194"/>
                      <a:pt x="727" y="194"/>
                    </a:cubicBezTo>
                    <a:cubicBezTo>
                      <a:pt x="727" y="193"/>
                      <a:pt x="727" y="193"/>
                      <a:pt x="728" y="193"/>
                    </a:cubicBezTo>
                    <a:cubicBezTo>
                      <a:pt x="728" y="193"/>
                      <a:pt x="728" y="193"/>
                      <a:pt x="728" y="193"/>
                    </a:cubicBezTo>
                    <a:cubicBezTo>
                      <a:pt x="729" y="192"/>
                      <a:pt x="730" y="192"/>
                      <a:pt x="730" y="192"/>
                    </a:cubicBezTo>
                    <a:cubicBezTo>
                      <a:pt x="731" y="191"/>
                      <a:pt x="730" y="191"/>
                      <a:pt x="730" y="190"/>
                    </a:cubicBezTo>
                    <a:cubicBezTo>
                      <a:pt x="730" y="190"/>
                      <a:pt x="730" y="189"/>
                      <a:pt x="730" y="189"/>
                    </a:cubicBezTo>
                    <a:cubicBezTo>
                      <a:pt x="730" y="189"/>
                      <a:pt x="730" y="189"/>
                      <a:pt x="730" y="189"/>
                    </a:cubicBezTo>
                    <a:cubicBezTo>
                      <a:pt x="729" y="189"/>
                      <a:pt x="729" y="188"/>
                      <a:pt x="729" y="188"/>
                    </a:cubicBezTo>
                    <a:cubicBezTo>
                      <a:pt x="729" y="188"/>
                      <a:pt x="729" y="188"/>
                      <a:pt x="729" y="188"/>
                    </a:cubicBezTo>
                    <a:cubicBezTo>
                      <a:pt x="729" y="188"/>
                      <a:pt x="729" y="188"/>
                      <a:pt x="729" y="188"/>
                    </a:cubicBezTo>
                    <a:cubicBezTo>
                      <a:pt x="729" y="188"/>
                      <a:pt x="728" y="188"/>
                      <a:pt x="728" y="188"/>
                    </a:cubicBezTo>
                    <a:cubicBezTo>
                      <a:pt x="727" y="188"/>
                      <a:pt x="727" y="188"/>
                      <a:pt x="727" y="189"/>
                    </a:cubicBezTo>
                    <a:cubicBezTo>
                      <a:pt x="727" y="189"/>
                      <a:pt x="727" y="189"/>
                      <a:pt x="727" y="189"/>
                    </a:cubicBezTo>
                    <a:cubicBezTo>
                      <a:pt x="727" y="189"/>
                      <a:pt x="728" y="190"/>
                      <a:pt x="727" y="190"/>
                    </a:cubicBezTo>
                    <a:cubicBezTo>
                      <a:pt x="727" y="191"/>
                      <a:pt x="726" y="190"/>
                      <a:pt x="725" y="191"/>
                    </a:cubicBezTo>
                    <a:cubicBezTo>
                      <a:pt x="725" y="191"/>
                      <a:pt x="725" y="191"/>
                      <a:pt x="725" y="191"/>
                    </a:cubicBezTo>
                    <a:cubicBezTo>
                      <a:pt x="725" y="191"/>
                      <a:pt x="725" y="191"/>
                      <a:pt x="725" y="191"/>
                    </a:cubicBezTo>
                    <a:cubicBezTo>
                      <a:pt x="725" y="191"/>
                      <a:pt x="725" y="191"/>
                      <a:pt x="725" y="191"/>
                    </a:cubicBezTo>
                    <a:cubicBezTo>
                      <a:pt x="725" y="191"/>
                      <a:pt x="725" y="191"/>
                      <a:pt x="725" y="191"/>
                    </a:cubicBezTo>
                    <a:cubicBezTo>
                      <a:pt x="724" y="191"/>
                      <a:pt x="724" y="190"/>
                      <a:pt x="723" y="190"/>
                    </a:cubicBezTo>
                    <a:cubicBezTo>
                      <a:pt x="723" y="189"/>
                      <a:pt x="723" y="189"/>
                      <a:pt x="723" y="188"/>
                    </a:cubicBezTo>
                    <a:cubicBezTo>
                      <a:pt x="723" y="188"/>
                      <a:pt x="723" y="188"/>
                      <a:pt x="723" y="188"/>
                    </a:cubicBezTo>
                    <a:cubicBezTo>
                      <a:pt x="723" y="188"/>
                      <a:pt x="723" y="188"/>
                      <a:pt x="723" y="188"/>
                    </a:cubicBezTo>
                    <a:cubicBezTo>
                      <a:pt x="723" y="188"/>
                      <a:pt x="723" y="188"/>
                      <a:pt x="723" y="188"/>
                    </a:cubicBezTo>
                    <a:cubicBezTo>
                      <a:pt x="723" y="188"/>
                      <a:pt x="723" y="188"/>
                      <a:pt x="723" y="188"/>
                    </a:cubicBezTo>
                    <a:cubicBezTo>
                      <a:pt x="723" y="188"/>
                      <a:pt x="723" y="187"/>
                      <a:pt x="723" y="187"/>
                    </a:cubicBezTo>
                    <a:cubicBezTo>
                      <a:pt x="722" y="187"/>
                      <a:pt x="722" y="187"/>
                      <a:pt x="722" y="187"/>
                    </a:cubicBezTo>
                    <a:cubicBezTo>
                      <a:pt x="721" y="187"/>
                      <a:pt x="719" y="188"/>
                      <a:pt x="718" y="188"/>
                    </a:cubicBezTo>
                    <a:cubicBezTo>
                      <a:pt x="718" y="188"/>
                      <a:pt x="718" y="188"/>
                      <a:pt x="718" y="188"/>
                    </a:cubicBezTo>
                    <a:cubicBezTo>
                      <a:pt x="718" y="188"/>
                      <a:pt x="718" y="188"/>
                      <a:pt x="718" y="188"/>
                    </a:cubicBezTo>
                    <a:cubicBezTo>
                      <a:pt x="718" y="188"/>
                      <a:pt x="717" y="188"/>
                      <a:pt x="716" y="188"/>
                    </a:cubicBezTo>
                    <a:cubicBezTo>
                      <a:pt x="716" y="188"/>
                      <a:pt x="716" y="188"/>
                      <a:pt x="715" y="188"/>
                    </a:cubicBezTo>
                    <a:cubicBezTo>
                      <a:pt x="713" y="188"/>
                      <a:pt x="710" y="186"/>
                      <a:pt x="708" y="185"/>
                    </a:cubicBezTo>
                    <a:cubicBezTo>
                      <a:pt x="708" y="185"/>
                      <a:pt x="707" y="185"/>
                      <a:pt x="706" y="184"/>
                    </a:cubicBezTo>
                    <a:cubicBezTo>
                      <a:pt x="706" y="184"/>
                      <a:pt x="706" y="184"/>
                      <a:pt x="706" y="184"/>
                    </a:cubicBezTo>
                    <a:cubicBezTo>
                      <a:pt x="706" y="184"/>
                      <a:pt x="706" y="184"/>
                      <a:pt x="706" y="184"/>
                    </a:cubicBezTo>
                    <a:cubicBezTo>
                      <a:pt x="706" y="184"/>
                      <a:pt x="706" y="184"/>
                      <a:pt x="707" y="184"/>
                    </a:cubicBezTo>
                    <a:cubicBezTo>
                      <a:pt x="707" y="184"/>
                      <a:pt x="707" y="184"/>
                      <a:pt x="707" y="184"/>
                    </a:cubicBezTo>
                    <a:cubicBezTo>
                      <a:pt x="707" y="184"/>
                      <a:pt x="707" y="184"/>
                      <a:pt x="707" y="184"/>
                    </a:cubicBezTo>
                    <a:cubicBezTo>
                      <a:pt x="707" y="183"/>
                      <a:pt x="706" y="183"/>
                      <a:pt x="705" y="183"/>
                    </a:cubicBezTo>
                    <a:cubicBezTo>
                      <a:pt x="706" y="183"/>
                      <a:pt x="707" y="183"/>
                      <a:pt x="708" y="182"/>
                    </a:cubicBezTo>
                    <a:cubicBezTo>
                      <a:pt x="707" y="182"/>
                      <a:pt x="706" y="182"/>
                      <a:pt x="706" y="182"/>
                    </a:cubicBezTo>
                    <a:cubicBezTo>
                      <a:pt x="706" y="181"/>
                      <a:pt x="706" y="181"/>
                      <a:pt x="706" y="181"/>
                    </a:cubicBezTo>
                    <a:cubicBezTo>
                      <a:pt x="706" y="181"/>
                      <a:pt x="706" y="181"/>
                      <a:pt x="705" y="180"/>
                    </a:cubicBezTo>
                    <a:cubicBezTo>
                      <a:pt x="706" y="180"/>
                      <a:pt x="709" y="180"/>
                      <a:pt x="708" y="179"/>
                    </a:cubicBezTo>
                    <a:cubicBezTo>
                      <a:pt x="708" y="179"/>
                      <a:pt x="708" y="179"/>
                      <a:pt x="707" y="179"/>
                    </a:cubicBezTo>
                    <a:cubicBezTo>
                      <a:pt x="707" y="178"/>
                      <a:pt x="706" y="178"/>
                      <a:pt x="706" y="178"/>
                    </a:cubicBezTo>
                    <a:cubicBezTo>
                      <a:pt x="706" y="178"/>
                      <a:pt x="705" y="178"/>
                      <a:pt x="705" y="178"/>
                    </a:cubicBezTo>
                    <a:cubicBezTo>
                      <a:pt x="705" y="178"/>
                      <a:pt x="705" y="178"/>
                      <a:pt x="705" y="178"/>
                    </a:cubicBezTo>
                    <a:cubicBezTo>
                      <a:pt x="705" y="178"/>
                      <a:pt x="705" y="178"/>
                      <a:pt x="705" y="178"/>
                    </a:cubicBezTo>
                    <a:cubicBezTo>
                      <a:pt x="705" y="178"/>
                      <a:pt x="705" y="179"/>
                      <a:pt x="704" y="179"/>
                    </a:cubicBezTo>
                    <a:cubicBezTo>
                      <a:pt x="704" y="179"/>
                      <a:pt x="704" y="179"/>
                      <a:pt x="703" y="179"/>
                    </a:cubicBezTo>
                    <a:cubicBezTo>
                      <a:pt x="703" y="179"/>
                      <a:pt x="702" y="179"/>
                      <a:pt x="701" y="179"/>
                    </a:cubicBezTo>
                    <a:cubicBezTo>
                      <a:pt x="702" y="179"/>
                      <a:pt x="704" y="179"/>
                      <a:pt x="703" y="178"/>
                    </a:cubicBezTo>
                    <a:cubicBezTo>
                      <a:pt x="703" y="177"/>
                      <a:pt x="702" y="177"/>
                      <a:pt x="702" y="176"/>
                    </a:cubicBezTo>
                    <a:cubicBezTo>
                      <a:pt x="702" y="176"/>
                      <a:pt x="701" y="176"/>
                      <a:pt x="701" y="176"/>
                    </a:cubicBezTo>
                    <a:cubicBezTo>
                      <a:pt x="702" y="176"/>
                      <a:pt x="702" y="176"/>
                      <a:pt x="702" y="176"/>
                    </a:cubicBezTo>
                    <a:cubicBezTo>
                      <a:pt x="702" y="176"/>
                      <a:pt x="702" y="175"/>
                      <a:pt x="701" y="175"/>
                    </a:cubicBezTo>
                    <a:cubicBezTo>
                      <a:pt x="700" y="174"/>
                      <a:pt x="699" y="174"/>
                      <a:pt x="698" y="174"/>
                    </a:cubicBezTo>
                    <a:cubicBezTo>
                      <a:pt x="697" y="175"/>
                      <a:pt x="697" y="175"/>
                      <a:pt x="697" y="176"/>
                    </a:cubicBezTo>
                    <a:cubicBezTo>
                      <a:pt x="697" y="176"/>
                      <a:pt x="696" y="174"/>
                      <a:pt x="696" y="174"/>
                    </a:cubicBezTo>
                    <a:cubicBezTo>
                      <a:pt x="697" y="174"/>
                      <a:pt x="697" y="174"/>
                      <a:pt x="697" y="174"/>
                    </a:cubicBezTo>
                    <a:cubicBezTo>
                      <a:pt x="697" y="174"/>
                      <a:pt x="697" y="174"/>
                      <a:pt x="697" y="173"/>
                    </a:cubicBezTo>
                    <a:cubicBezTo>
                      <a:pt x="697" y="173"/>
                      <a:pt x="697" y="173"/>
                      <a:pt x="697" y="173"/>
                    </a:cubicBezTo>
                    <a:cubicBezTo>
                      <a:pt x="697" y="173"/>
                      <a:pt x="697" y="173"/>
                      <a:pt x="697" y="172"/>
                    </a:cubicBezTo>
                    <a:cubicBezTo>
                      <a:pt x="697" y="172"/>
                      <a:pt x="697" y="172"/>
                      <a:pt x="697" y="172"/>
                    </a:cubicBezTo>
                    <a:cubicBezTo>
                      <a:pt x="697" y="171"/>
                      <a:pt x="697" y="171"/>
                      <a:pt x="696" y="171"/>
                    </a:cubicBezTo>
                    <a:cubicBezTo>
                      <a:pt x="696" y="171"/>
                      <a:pt x="696" y="171"/>
                      <a:pt x="696" y="171"/>
                    </a:cubicBezTo>
                    <a:cubicBezTo>
                      <a:pt x="696" y="171"/>
                      <a:pt x="696" y="171"/>
                      <a:pt x="696" y="171"/>
                    </a:cubicBezTo>
                    <a:cubicBezTo>
                      <a:pt x="695" y="170"/>
                      <a:pt x="694" y="170"/>
                      <a:pt x="692" y="169"/>
                    </a:cubicBezTo>
                    <a:cubicBezTo>
                      <a:pt x="692" y="169"/>
                      <a:pt x="692" y="169"/>
                      <a:pt x="691" y="169"/>
                    </a:cubicBezTo>
                    <a:cubicBezTo>
                      <a:pt x="691" y="169"/>
                      <a:pt x="691" y="169"/>
                      <a:pt x="691" y="168"/>
                    </a:cubicBezTo>
                    <a:cubicBezTo>
                      <a:pt x="691" y="168"/>
                      <a:pt x="691" y="168"/>
                      <a:pt x="691" y="168"/>
                    </a:cubicBezTo>
                    <a:cubicBezTo>
                      <a:pt x="691" y="168"/>
                      <a:pt x="690" y="168"/>
                      <a:pt x="690" y="167"/>
                    </a:cubicBezTo>
                    <a:cubicBezTo>
                      <a:pt x="689" y="167"/>
                      <a:pt x="689" y="167"/>
                      <a:pt x="688" y="166"/>
                    </a:cubicBezTo>
                    <a:cubicBezTo>
                      <a:pt x="688" y="166"/>
                      <a:pt x="687" y="166"/>
                      <a:pt x="687" y="166"/>
                    </a:cubicBezTo>
                    <a:cubicBezTo>
                      <a:pt x="686" y="166"/>
                      <a:pt x="685" y="166"/>
                      <a:pt x="684" y="167"/>
                    </a:cubicBezTo>
                    <a:cubicBezTo>
                      <a:pt x="684" y="167"/>
                      <a:pt x="683" y="167"/>
                      <a:pt x="683" y="167"/>
                    </a:cubicBezTo>
                    <a:cubicBezTo>
                      <a:pt x="682" y="167"/>
                      <a:pt x="682" y="167"/>
                      <a:pt x="682" y="168"/>
                    </a:cubicBezTo>
                    <a:cubicBezTo>
                      <a:pt x="681" y="168"/>
                      <a:pt x="681" y="168"/>
                      <a:pt x="680" y="168"/>
                    </a:cubicBezTo>
                    <a:cubicBezTo>
                      <a:pt x="680" y="168"/>
                      <a:pt x="680" y="168"/>
                      <a:pt x="680" y="168"/>
                    </a:cubicBezTo>
                    <a:cubicBezTo>
                      <a:pt x="679" y="169"/>
                      <a:pt x="679" y="169"/>
                      <a:pt x="678" y="169"/>
                    </a:cubicBezTo>
                    <a:cubicBezTo>
                      <a:pt x="678" y="169"/>
                      <a:pt x="678" y="169"/>
                      <a:pt x="678" y="169"/>
                    </a:cubicBezTo>
                    <a:cubicBezTo>
                      <a:pt x="677" y="169"/>
                      <a:pt x="676" y="169"/>
                      <a:pt x="676" y="169"/>
                    </a:cubicBezTo>
                    <a:cubicBezTo>
                      <a:pt x="676" y="169"/>
                      <a:pt x="676" y="169"/>
                      <a:pt x="676" y="169"/>
                    </a:cubicBezTo>
                    <a:cubicBezTo>
                      <a:pt x="676" y="169"/>
                      <a:pt x="676" y="169"/>
                      <a:pt x="676" y="169"/>
                    </a:cubicBezTo>
                    <a:cubicBezTo>
                      <a:pt x="676" y="169"/>
                      <a:pt x="676" y="170"/>
                      <a:pt x="676" y="170"/>
                    </a:cubicBezTo>
                    <a:cubicBezTo>
                      <a:pt x="676" y="170"/>
                      <a:pt x="675" y="170"/>
                      <a:pt x="676" y="170"/>
                    </a:cubicBezTo>
                    <a:cubicBezTo>
                      <a:pt x="676" y="170"/>
                      <a:pt x="676" y="170"/>
                      <a:pt x="676" y="170"/>
                    </a:cubicBezTo>
                    <a:cubicBezTo>
                      <a:pt x="676" y="170"/>
                      <a:pt x="676" y="170"/>
                      <a:pt x="676" y="170"/>
                    </a:cubicBezTo>
                    <a:cubicBezTo>
                      <a:pt x="676" y="171"/>
                      <a:pt x="677" y="171"/>
                      <a:pt x="677" y="171"/>
                    </a:cubicBezTo>
                    <a:cubicBezTo>
                      <a:pt x="677" y="171"/>
                      <a:pt x="677" y="171"/>
                      <a:pt x="677" y="171"/>
                    </a:cubicBezTo>
                    <a:cubicBezTo>
                      <a:pt x="676" y="171"/>
                      <a:pt x="675" y="170"/>
                      <a:pt x="675" y="170"/>
                    </a:cubicBezTo>
                    <a:cubicBezTo>
                      <a:pt x="674" y="169"/>
                      <a:pt x="672" y="169"/>
                      <a:pt x="671" y="168"/>
                    </a:cubicBezTo>
                    <a:cubicBezTo>
                      <a:pt x="669" y="168"/>
                      <a:pt x="666" y="169"/>
                      <a:pt x="664" y="170"/>
                    </a:cubicBezTo>
                    <a:cubicBezTo>
                      <a:pt x="664" y="170"/>
                      <a:pt x="664" y="170"/>
                      <a:pt x="665" y="170"/>
                    </a:cubicBezTo>
                    <a:cubicBezTo>
                      <a:pt x="665" y="170"/>
                      <a:pt x="665" y="170"/>
                      <a:pt x="665" y="170"/>
                    </a:cubicBezTo>
                    <a:cubicBezTo>
                      <a:pt x="666" y="169"/>
                      <a:pt x="666" y="169"/>
                      <a:pt x="666" y="169"/>
                    </a:cubicBezTo>
                    <a:cubicBezTo>
                      <a:pt x="667" y="169"/>
                      <a:pt x="667" y="169"/>
                      <a:pt x="667" y="169"/>
                    </a:cubicBezTo>
                    <a:cubicBezTo>
                      <a:pt x="666" y="169"/>
                      <a:pt x="666" y="168"/>
                      <a:pt x="666" y="168"/>
                    </a:cubicBezTo>
                    <a:cubicBezTo>
                      <a:pt x="666" y="168"/>
                      <a:pt x="666" y="168"/>
                      <a:pt x="666" y="168"/>
                    </a:cubicBezTo>
                    <a:cubicBezTo>
                      <a:pt x="666" y="168"/>
                      <a:pt x="666" y="168"/>
                      <a:pt x="666" y="168"/>
                    </a:cubicBezTo>
                    <a:cubicBezTo>
                      <a:pt x="666" y="168"/>
                      <a:pt x="666" y="168"/>
                      <a:pt x="666" y="168"/>
                    </a:cubicBezTo>
                    <a:cubicBezTo>
                      <a:pt x="665" y="168"/>
                      <a:pt x="664" y="168"/>
                      <a:pt x="664" y="168"/>
                    </a:cubicBezTo>
                    <a:cubicBezTo>
                      <a:pt x="662" y="167"/>
                      <a:pt x="661" y="167"/>
                      <a:pt x="659" y="166"/>
                    </a:cubicBezTo>
                    <a:cubicBezTo>
                      <a:pt x="659" y="166"/>
                      <a:pt x="659" y="166"/>
                      <a:pt x="658" y="166"/>
                    </a:cubicBezTo>
                    <a:cubicBezTo>
                      <a:pt x="657" y="166"/>
                      <a:pt x="656" y="165"/>
                      <a:pt x="655" y="165"/>
                    </a:cubicBezTo>
                    <a:cubicBezTo>
                      <a:pt x="655" y="165"/>
                      <a:pt x="655" y="165"/>
                      <a:pt x="654" y="165"/>
                    </a:cubicBezTo>
                    <a:cubicBezTo>
                      <a:pt x="654" y="165"/>
                      <a:pt x="654" y="165"/>
                      <a:pt x="654" y="165"/>
                    </a:cubicBezTo>
                    <a:cubicBezTo>
                      <a:pt x="654" y="165"/>
                      <a:pt x="653" y="165"/>
                      <a:pt x="652" y="164"/>
                    </a:cubicBezTo>
                    <a:cubicBezTo>
                      <a:pt x="651" y="164"/>
                      <a:pt x="649" y="164"/>
                      <a:pt x="648" y="164"/>
                    </a:cubicBezTo>
                    <a:cubicBezTo>
                      <a:pt x="648" y="164"/>
                      <a:pt x="648" y="164"/>
                      <a:pt x="647" y="164"/>
                    </a:cubicBezTo>
                    <a:cubicBezTo>
                      <a:pt x="647" y="164"/>
                      <a:pt x="647" y="164"/>
                      <a:pt x="647" y="164"/>
                    </a:cubicBezTo>
                    <a:cubicBezTo>
                      <a:pt x="645" y="165"/>
                      <a:pt x="644" y="166"/>
                      <a:pt x="642" y="167"/>
                    </a:cubicBezTo>
                    <a:cubicBezTo>
                      <a:pt x="642" y="168"/>
                      <a:pt x="641" y="168"/>
                      <a:pt x="641" y="168"/>
                    </a:cubicBezTo>
                    <a:cubicBezTo>
                      <a:pt x="641" y="168"/>
                      <a:pt x="641" y="168"/>
                      <a:pt x="641" y="168"/>
                    </a:cubicBezTo>
                    <a:cubicBezTo>
                      <a:pt x="642" y="171"/>
                      <a:pt x="643" y="175"/>
                      <a:pt x="644" y="177"/>
                    </a:cubicBezTo>
                    <a:cubicBezTo>
                      <a:pt x="644" y="178"/>
                      <a:pt x="645" y="179"/>
                      <a:pt x="645" y="179"/>
                    </a:cubicBezTo>
                    <a:cubicBezTo>
                      <a:pt x="645" y="179"/>
                      <a:pt x="646" y="179"/>
                      <a:pt x="646" y="179"/>
                    </a:cubicBezTo>
                    <a:cubicBezTo>
                      <a:pt x="646" y="179"/>
                      <a:pt x="646" y="179"/>
                      <a:pt x="646" y="179"/>
                    </a:cubicBezTo>
                    <a:cubicBezTo>
                      <a:pt x="646" y="179"/>
                      <a:pt x="647" y="180"/>
                      <a:pt x="647" y="180"/>
                    </a:cubicBezTo>
                    <a:cubicBezTo>
                      <a:pt x="647" y="180"/>
                      <a:pt x="646" y="180"/>
                      <a:pt x="646" y="180"/>
                    </a:cubicBezTo>
                    <a:cubicBezTo>
                      <a:pt x="645" y="181"/>
                      <a:pt x="646" y="180"/>
                      <a:pt x="646" y="181"/>
                    </a:cubicBezTo>
                    <a:cubicBezTo>
                      <a:pt x="646" y="181"/>
                      <a:pt x="646" y="181"/>
                      <a:pt x="647" y="181"/>
                    </a:cubicBezTo>
                    <a:cubicBezTo>
                      <a:pt x="647" y="181"/>
                      <a:pt x="647" y="181"/>
                      <a:pt x="647" y="181"/>
                    </a:cubicBezTo>
                    <a:cubicBezTo>
                      <a:pt x="646" y="181"/>
                      <a:pt x="646" y="181"/>
                      <a:pt x="646" y="181"/>
                    </a:cubicBezTo>
                    <a:cubicBezTo>
                      <a:pt x="646" y="181"/>
                      <a:pt x="646" y="182"/>
                      <a:pt x="645" y="182"/>
                    </a:cubicBezTo>
                    <a:cubicBezTo>
                      <a:pt x="645" y="182"/>
                      <a:pt x="645" y="182"/>
                      <a:pt x="645" y="182"/>
                    </a:cubicBezTo>
                    <a:cubicBezTo>
                      <a:pt x="645" y="181"/>
                      <a:pt x="645" y="181"/>
                      <a:pt x="644" y="181"/>
                    </a:cubicBezTo>
                    <a:cubicBezTo>
                      <a:pt x="644" y="182"/>
                      <a:pt x="644" y="183"/>
                      <a:pt x="644" y="185"/>
                    </a:cubicBezTo>
                    <a:cubicBezTo>
                      <a:pt x="644" y="185"/>
                      <a:pt x="644" y="186"/>
                      <a:pt x="644" y="187"/>
                    </a:cubicBezTo>
                    <a:cubicBezTo>
                      <a:pt x="644" y="187"/>
                      <a:pt x="644" y="187"/>
                      <a:pt x="644" y="187"/>
                    </a:cubicBezTo>
                    <a:cubicBezTo>
                      <a:pt x="644" y="187"/>
                      <a:pt x="644" y="187"/>
                      <a:pt x="644" y="188"/>
                    </a:cubicBezTo>
                    <a:cubicBezTo>
                      <a:pt x="644" y="188"/>
                      <a:pt x="643" y="188"/>
                      <a:pt x="643" y="188"/>
                    </a:cubicBezTo>
                    <a:cubicBezTo>
                      <a:pt x="643" y="189"/>
                      <a:pt x="641" y="190"/>
                      <a:pt x="641" y="190"/>
                    </a:cubicBezTo>
                    <a:cubicBezTo>
                      <a:pt x="641" y="190"/>
                      <a:pt x="641" y="191"/>
                      <a:pt x="641" y="191"/>
                    </a:cubicBezTo>
                    <a:cubicBezTo>
                      <a:pt x="641" y="191"/>
                      <a:pt x="641" y="191"/>
                      <a:pt x="641" y="191"/>
                    </a:cubicBezTo>
                    <a:cubicBezTo>
                      <a:pt x="641" y="191"/>
                      <a:pt x="641" y="191"/>
                      <a:pt x="640" y="191"/>
                    </a:cubicBezTo>
                    <a:cubicBezTo>
                      <a:pt x="640" y="191"/>
                      <a:pt x="640" y="191"/>
                      <a:pt x="640" y="191"/>
                    </a:cubicBezTo>
                    <a:cubicBezTo>
                      <a:pt x="640" y="191"/>
                      <a:pt x="640" y="191"/>
                      <a:pt x="640" y="191"/>
                    </a:cubicBezTo>
                    <a:cubicBezTo>
                      <a:pt x="640" y="192"/>
                      <a:pt x="641" y="192"/>
                      <a:pt x="641" y="192"/>
                    </a:cubicBezTo>
                    <a:cubicBezTo>
                      <a:pt x="641" y="192"/>
                      <a:pt x="642" y="192"/>
                      <a:pt x="642" y="192"/>
                    </a:cubicBezTo>
                    <a:cubicBezTo>
                      <a:pt x="642" y="192"/>
                      <a:pt x="642" y="191"/>
                      <a:pt x="642" y="191"/>
                    </a:cubicBezTo>
                    <a:cubicBezTo>
                      <a:pt x="643" y="191"/>
                      <a:pt x="643" y="192"/>
                      <a:pt x="644" y="192"/>
                    </a:cubicBezTo>
                    <a:cubicBezTo>
                      <a:pt x="644" y="192"/>
                      <a:pt x="644" y="192"/>
                      <a:pt x="644" y="192"/>
                    </a:cubicBezTo>
                    <a:cubicBezTo>
                      <a:pt x="645" y="192"/>
                      <a:pt x="646" y="191"/>
                      <a:pt x="647" y="191"/>
                    </a:cubicBezTo>
                    <a:cubicBezTo>
                      <a:pt x="646" y="192"/>
                      <a:pt x="646" y="192"/>
                      <a:pt x="645" y="192"/>
                    </a:cubicBezTo>
                    <a:cubicBezTo>
                      <a:pt x="647" y="192"/>
                      <a:pt x="645" y="194"/>
                      <a:pt x="644" y="194"/>
                    </a:cubicBezTo>
                    <a:cubicBezTo>
                      <a:pt x="645" y="195"/>
                      <a:pt x="647" y="195"/>
                      <a:pt x="648" y="196"/>
                    </a:cubicBezTo>
                    <a:cubicBezTo>
                      <a:pt x="648" y="196"/>
                      <a:pt x="647" y="196"/>
                      <a:pt x="647" y="196"/>
                    </a:cubicBezTo>
                    <a:cubicBezTo>
                      <a:pt x="647" y="196"/>
                      <a:pt x="647" y="196"/>
                      <a:pt x="647" y="196"/>
                    </a:cubicBezTo>
                    <a:cubicBezTo>
                      <a:pt x="646" y="196"/>
                      <a:pt x="646" y="196"/>
                      <a:pt x="646" y="197"/>
                    </a:cubicBezTo>
                    <a:cubicBezTo>
                      <a:pt x="646" y="197"/>
                      <a:pt x="645" y="197"/>
                      <a:pt x="645" y="197"/>
                    </a:cubicBezTo>
                    <a:cubicBezTo>
                      <a:pt x="645" y="197"/>
                      <a:pt x="645" y="197"/>
                      <a:pt x="645" y="197"/>
                    </a:cubicBezTo>
                    <a:cubicBezTo>
                      <a:pt x="645" y="197"/>
                      <a:pt x="645" y="197"/>
                      <a:pt x="645" y="197"/>
                    </a:cubicBezTo>
                    <a:cubicBezTo>
                      <a:pt x="645" y="197"/>
                      <a:pt x="645" y="197"/>
                      <a:pt x="645" y="197"/>
                    </a:cubicBezTo>
                    <a:cubicBezTo>
                      <a:pt x="645" y="197"/>
                      <a:pt x="645" y="197"/>
                      <a:pt x="645" y="198"/>
                    </a:cubicBezTo>
                    <a:cubicBezTo>
                      <a:pt x="645" y="198"/>
                      <a:pt x="645" y="198"/>
                      <a:pt x="645" y="198"/>
                    </a:cubicBezTo>
                    <a:cubicBezTo>
                      <a:pt x="645" y="198"/>
                      <a:pt x="645" y="198"/>
                      <a:pt x="645" y="198"/>
                    </a:cubicBezTo>
                    <a:cubicBezTo>
                      <a:pt x="645" y="199"/>
                      <a:pt x="646" y="200"/>
                      <a:pt x="646" y="201"/>
                    </a:cubicBezTo>
                    <a:cubicBezTo>
                      <a:pt x="646" y="201"/>
                      <a:pt x="646" y="201"/>
                      <a:pt x="646" y="201"/>
                    </a:cubicBezTo>
                    <a:cubicBezTo>
                      <a:pt x="646" y="201"/>
                      <a:pt x="646" y="201"/>
                      <a:pt x="646" y="201"/>
                    </a:cubicBezTo>
                    <a:cubicBezTo>
                      <a:pt x="646" y="201"/>
                      <a:pt x="646" y="202"/>
                      <a:pt x="646" y="202"/>
                    </a:cubicBezTo>
                    <a:cubicBezTo>
                      <a:pt x="646" y="202"/>
                      <a:pt x="646" y="202"/>
                      <a:pt x="646" y="202"/>
                    </a:cubicBezTo>
                    <a:cubicBezTo>
                      <a:pt x="646" y="202"/>
                      <a:pt x="646" y="202"/>
                      <a:pt x="646" y="202"/>
                    </a:cubicBezTo>
                    <a:cubicBezTo>
                      <a:pt x="646" y="203"/>
                      <a:pt x="646" y="203"/>
                      <a:pt x="646" y="203"/>
                    </a:cubicBezTo>
                    <a:cubicBezTo>
                      <a:pt x="647" y="203"/>
                      <a:pt x="648" y="204"/>
                      <a:pt x="649" y="204"/>
                    </a:cubicBezTo>
                    <a:cubicBezTo>
                      <a:pt x="650" y="204"/>
                      <a:pt x="650" y="204"/>
                      <a:pt x="650" y="204"/>
                    </a:cubicBezTo>
                    <a:cubicBezTo>
                      <a:pt x="650" y="204"/>
                      <a:pt x="650" y="204"/>
                      <a:pt x="650" y="204"/>
                    </a:cubicBezTo>
                    <a:cubicBezTo>
                      <a:pt x="650" y="204"/>
                      <a:pt x="650" y="204"/>
                      <a:pt x="650" y="204"/>
                    </a:cubicBezTo>
                    <a:cubicBezTo>
                      <a:pt x="649" y="205"/>
                      <a:pt x="649" y="205"/>
                      <a:pt x="649" y="205"/>
                    </a:cubicBezTo>
                    <a:cubicBezTo>
                      <a:pt x="649" y="205"/>
                      <a:pt x="649" y="205"/>
                      <a:pt x="649" y="205"/>
                    </a:cubicBezTo>
                    <a:cubicBezTo>
                      <a:pt x="648" y="205"/>
                      <a:pt x="648" y="205"/>
                      <a:pt x="648" y="205"/>
                    </a:cubicBezTo>
                    <a:cubicBezTo>
                      <a:pt x="648" y="205"/>
                      <a:pt x="648" y="205"/>
                      <a:pt x="648" y="205"/>
                    </a:cubicBezTo>
                    <a:cubicBezTo>
                      <a:pt x="648" y="205"/>
                      <a:pt x="648" y="205"/>
                      <a:pt x="648" y="205"/>
                    </a:cubicBezTo>
                    <a:cubicBezTo>
                      <a:pt x="648" y="205"/>
                      <a:pt x="648" y="205"/>
                      <a:pt x="648" y="205"/>
                    </a:cubicBezTo>
                    <a:cubicBezTo>
                      <a:pt x="648" y="205"/>
                      <a:pt x="648" y="205"/>
                      <a:pt x="648" y="205"/>
                    </a:cubicBezTo>
                    <a:cubicBezTo>
                      <a:pt x="649" y="206"/>
                      <a:pt x="649" y="206"/>
                      <a:pt x="649" y="207"/>
                    </a:cubicBezTo>
                    <a:cubicBezTo>
                      <a:pt x="649" y="207"/>
                      <a:pt x="649" y="207"/>
                      <a:pt x="649" y="207"/>
                    </a:cubicBezTo>
                    <a:cubicBezTo>
                      <a:pt x="649" y="207"/>
                      <a:pt x="649" y="207"/>
                      <a:pt x="649" y="207"/>
                    </a:cubicBezTo>
                    <a:cubicBezTo>
                      <a:pt x="649" y="207"/>
                      <a:pt x="649" y="207"/>
                      <a:pt x="649" y="207"/>
                    </a:cubicBezTo>
                    <a:cubicBezTo>
                      <a:pt x="648" y="207"/>
                      <a:pt x="648" y="207"/>
                      <a:pt x="648" y="207"/>
                    </a:cubicBezTo>
                    <a:cubicBezTo>
                      <a:pt x="648" y="207"/>
                      <a:pt x="648" y="207"/>
                      <a:pt x="648" y="207"/>
                    </a:cubicBezTo>
                    <a:cubicBezTo>
                      <a:pt x="648" y="207"/>
                      <a:pt x="648" y="207"/>
                      <a:pt x="648" y="207"/>
                    </a:cubicBezTo>
                    <a:cubicBezTo>
                      <a:pt x="648" y="207"/>
                      <a:pt x="648" y="207"/>
                      <a:pt x="648" y="207"/>
                    </a:cubicBezTo>
                    <a:cubicBezTo>
                      <a:pt x="648" y="207"/>
                      <a:pt x="648" y="207"/>
                      <a:pt x="648" y="207"/>
                    </a:cubicBezTo>
                    <a:cubicBezTo>
                      <a:pt x="648" y="207"/>
                      <a:pt x="648" y="207"/>
                      <a:pt x="648" y="207"/>
                    </a:cubicBezTo>
                    <a:cubicBezTo>
                      <a:pt x="648" y="208"/>
                      <a:pt x="648" y="208"/>
                      <a:pt x="648" y="208"/>
                    </a:cubicBezTo>
                    <a:cubicBezTo>
                      <a:pt x="648" y="208"/>
                      <a:pt x="648" y="208"/>
                      <a:pt x="648" y="208"/>
                    </a:cubicBezTo>
                    <a:cubicBezTo>
                      <a:pt x="647" y="208"/>
                      <a:pt x="647" y="208"/>
                      <a:pt x="647" y="208"/>
                    </a:cubicBezTo>
                    <a:cubicBezTo>
                      <a:pt x="647" y="208"/>
                      <a:pt x="647" y="208"/>
                      <a:pt x="647" y="208"/>
                    </a:cubicBezTo>
                    <a:cubicBezTo>
                      <a:pt x="647" y="208"/>
                      <a:pt x="647" y="208"/>
                      <a:pt x="647" y="208"/>
                    </a:cubicBezTo>
                    <a:cubicBezTo>
                      <a:pt x="647" y="208"/>
                      <a:pt x="647" y="208"/>
                      <a:pt x="647" y="208"/>
                    </a:cubicBezTo>
                    <a:cubicBezTo>
                      <a:pt x="647" y="208"/>
                      <a:pt x="647" y="208"/>
                      <a:pt x="647" y="208"/>
                    </a:cubicBezTo>
                    <a:cubicBezTo>
                      <a:pt x="648" y="209"/>
                      <a:pt x="648" y="209"/>
                      <a:pt x="648" y="210"/>
                    </a:cubicBezTo>
                    <a:cubicBezTo>
                      <a:pt x="648" y="210"/>
                      <a:pt x="648" y="210"/>
                      <a:pt x="648" y="210"/>
                    </a:cubicBezTo>
                    <a:cubicBezTo>
                      <a:pt x="648" y="210"/>
                      <a:pt x="648" y="210"/>
                      <a:pt x="648" y="210"/>
                    </a:cubicBezTo>
                    <a:cubicBezTo>
                      <a:pt x="648" y="210"/>
                      <a:pt x="649" y="210"/>
                      <a:pt x="649" y="210"/>
                    </a:cubicBezTo>
                    <a:cubicBezTo>
                      <a:pt x="649" y="210"/>
                      <a:pt x="649" y="210"/>
                      <a:pt x="649" y="210"/>
                    </a:cubicBezTo>
                    <a:cubicBezTo>
                      <a:pt x="649" y="211"/>
                      <a:pt x="649" y="211"/>
                      <a:pt x="649" y="211"/>
                    </a:cubicBezTo>
                    <a:cubicBezTo>
                      <a:pt x="649" y="211"/>
                      <a:pt x="649" y="211"/>
                      <a:pt x="649" y="211"/>
                    </a:cubicBezTo>
                    <a:cubicBezTo>
                      <a:pt x="649" y="211"/>
                      <a:pt x="649" y="211"/>
                      <a:pt x="649" y="211"/>
                    </a:cubicBezTo>
                    <a:cubicBezTo>
                      <a:pt x="648" y="210"/>
                      <a:pt x="648" y="210"/>
                      <a:pt x="648" y="210"/>
                    </a:cubicBezTo>
                    <a:cubicBezTo>
                      <a:pt x="647" y="210"/>
                      <a:pt x="648" y="210"/>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6" y="209"/>
                      <a:pt x="646" y="209"/>
                      <a:pt x="646" y="209"/>
                    </a:cubicBezTo>
                    <a:cubicBezTo>
                      <a:pt x="646" y="209"/>
                      <a:pt x="646" y="209"/>
                      <a:pt x="646" y="209"/>
                    </a:cubicBezTo>
                    <a:cubicBezTo>
                      <a:pt x="646" y="209"/>
                      <a:pt x="646" y="209"/>
                      <a:pt x="646" y="209"/>
                    </a:cubicBezTo>
                    <a:cubicBezTo>
                      <a:pt x="646" y="209"/>
                      <a:pt x="646" y="209"/>
                      <a:pt x="646" y="209"/>
                    </a:cubicBezTo>
                    <a:cubicBezTo>
                      <a:pt x="646" y="209"/>
                      <a:pt x="646" y="209"/>
                      <a:pt x="646" y="209"/>
                    </a:cubicBezTo>
                    <a:cubicBezTo>
                      <a:pt x="646" y="209"/>
                      <a:pt x="646" y="209"/>
                      <a:pt x="646" y="209"/>
                    </a:cubicBezTo>
                    <a:cubicBezTo>
                      <a:pt x="646" y="209"/>
                      <a:pt x="646" y="209"/>
                      <a:pt x="645" y="209"/>
                    </a:cubicBezTo>
                    <a:cubicBezTo>
                      <a:pt x="645" y="209"/>
                      <a:pt x="645" y="209"/>
                      <a:pt x="645" y="209"/>
                    </a:cubicBezTo>
                    <a:cubicBezTo>
                      <a:pt x="645" y="209"/>
                      <a:pt x="645" y="209"/>
                      <a:pt x="645" y="209"/>
                    </a:cubicBezTo>
                    <a:cubicBezTo>
                      <a:pt x="645" y="209"/>
                      <a:pt x="645" y="209"/>
                      <a:pt x="645" y="209"/>
                    </a:cubicBezTo>
                    <a:cubicBezTo>
                      <a:pt x="645" y="209"/>
                      <a:pt x="645" y="209"/>
                      <a:pt x="645" y="209"/>
                    </a:cubicBezTo>
                    <a:cubicBezTo>
                      <a:pt x="645" y="208"/>
                      <a:pt x="645" y="208"/>
                      <a:pt x="645" y="208"/>
                    </a:cubicBezTo>
                    <a:cubicBezTo>
                      <a:pt x="645" y="208"/>
                      <a:pt x="645" y="208"/>
                      <a:pt x="645" y="208"/>
                    </a:cubicBezTo>
                    <a:cubicBezTo>
                      <a:pt x="645" y="208"/>
                      <a:pt x="645" y="208"/>
                      <a:pt x="645" y="208"/>
                    </a:cubicBezTo>
                    <a:cubicBezTo>
                      <a:pt x="645" y="208"/>
                      <a:pt x="645" y="208"/>
                      <a:pt x="645" y="208"/>
                    </a:cubicBezTo>
                    <a:cubicBezTo>
                      <a:pt x="645" y="208"/>
                      <a:pt x="645" y="208"/>
                      <a:pt x="645" y="208"/>
                    </a:cubicBezTo>
                    <a:cubicBezTo>
                      <a:pt x="645" y="208"/>
                      <a:pt x="645" y="208"/>
                      <a:pt x="645" y="208"/>
                    </a:cubicBezTo>
                    <a:cubicBezTo>
                      <a:pt x="645" y="208"/>
                      <a:pt x="645" y="208"/>
                      <a:pt x="645" y="208"/>
                    </a:cubicBezTo>
                    <a:cubicBezTo>
                      <a:pt x="644" y="209"/>
                      <a:pt x="644" y="209"/>
                      <a:pt x="644" y="209"/>
                    </a:cubicBezTo>
                    <a:cubicBezTo>
                      <a:pt x="644" y="209"/>
                      <a:pt x="644" y="209"/>
                      <a:pt x="644" y="209"/>
                    </a:cubicBezTo>
                    <a:cubicBezTo>
                      <a:pt x="644" y="209"/>
                      <a:pt x="644" y="209"/>
                      <a:pt x="644" y="209"/>
                    </a:cubicBezTo>
                    <a:cubicBezTo>
                      <a:pt x="644" y="209"/>
                      <a:pt x="644" y="209"/>
                      <a:pt x="644" y="209"/>
                    </a:cubicBezTo>
                    <a:cubicBezTo>
                      <a:pt x="645" y="210"/>
                      <a:pt x="645" y="210"/>
                      <a:pt x="645" y="210"/>
                    </a:cubicBezTo>
                    <a:cubicBezTo>
                      <a:pt x="645" y="210"/>
                      <a:pt x="645" y="210"/>
                      <a:pt x="645" y="210"/>
                    </a:cubicBezTo>
                    <a:cubicBezTo>
                      <a:pt x="645" y="210"/>
                      <a:pt x="645" y="210"/>
                      <a:pt x="645" y="210"/>
                    </a:cubicBezTo>
                    <a:cubicBezTo>
                      <a:pt x="645" y="210"/>
                      <a:pt x="645" y="210"/>
                      <a:pt x="645" y="210"/>
                    </a:cubicBezTo>
                    <a:cubicBezTo>
                      <a:pt x="645" y="211"/>
                      <a:pt x="645" y="211"/>
                      <a:pt x="645" y="211"/>
                    </a:cubicBezTo>
                    <a:cubicBezTo>
                      <a:pt x="645" y="211"/>
                      <a:pt x="645" y="211"/>
                      <a:pt x="645" y="211"/>
                    </a:cubicBezTo>
                    <a:cubicBezTo>
                      <a:pt x="645" y="211"/>
                      <a:pt x="645" y="211"/>
                      <a:pt x="645" y="211"/>
                    </a:cubicBezTo>
                    <a:cubicBezTo>
                      <a:pt x="645" y="211"/>
                      <a:pt x="645" y="211"/>
                      <a:pt x="645" y="211"/>
                    </a:cubicBezTo>
                    <a:cubicBezTo>
                      <a:pt x="645" y="211"/>
                      <a:pt x="645" y="211"/>
                      <a:pt x="645" y="211"/>
                    </a:cubicBezTo>
                    <a:cubicBezTo>
                      <a:pt x="644" y="211"/>
                      <a:pt x="644" y="211"/>
                      <a:pt x="644" y="211"/>
                    </a:cubicBezTo>
                    <a:cubicBezTo>
                      <a:pt x="644" y="211"/>
                      <a:pt x="644" y="211"/>
                      <a:pt x="644" y="211"/>
                    </a:cubicBezTo>
                    <a:cubicBezTo>
                      <a:pt x="644" y="211"/>
                      <a:pt x="644" y="211"/>
                      <a:pt x="644" y="211"/>
                    </a:cubicBezTo>
                    <a:cubicBezTo>
                      <a:pt x="644" y="212"/>
                      <a:pt x="644" y="212"/>
                      <a:pt x="644" y="212"/>
                    </a:cubicBezTo>
                    <a:cubicBezTo>
                      <a:pt x="644" y="212"/>
                      <a:pt x="644" y="212"/>
                      <a:pt x="644" y="212"/>
                    </a:cubicBezTo>
                    <a:cubicBezTo>
                      <a:pt x="644" y="212"/>
                      <a:pt x="644" y="212"/>
                      <a:pt x="644" y="212"/>
                    </a:cubicBezTo>
                    <a:cubicBezTo>
                      <a:pt x="643" y="212"/>
                      <a:pt x="643" y="212"/>
                      <a:pt x="643" y="212"/>
                    </a:cubicBezTo>
                    <a:cubicBezTo>
                      <a:pt x="643" y="212"/>
                      <a:pt x="643" y="212"/>
                      <a:pt x="643" y="212"/>
                    </a:cubicBezTo>
                    <a:cubicBezTo>
                      <a:pt x="643" y="212"/>
                      <a:pt x="643" y="212"/>
                      <a:pt x="643" y="212"/>
                    </a:cubicBezTo>
                    <a:cubicBezTo>
                      <a:pt x="643" y="213"/>
                      <a:pt x="643" y="213"/>
                      <a:pt x="643" y="213"/>
                    </a:cubicBezTo>
                    <a:cubicBezTo>
                      <a:pt x="643" y="213"/>
                      <a:pt x="643" y="213"/>
                      <a:pt x="643" y="213"/>
                    </a:cubicBezTo>
                    <a:cubicBezTo>
                      <a:pt x="644" y="213"/>
                      <a:pt x="644" y="213"/>
                      <a:pt x="644" y="213"/>
                    </a:cubicBezTo>
                    <a:cubicBezTo>
                      <a:pt x="644" y="213"/>
                      <a:pt x="644" y="213"/>
                      <a:pt x="644" y="213"/>
                    </a:cubicBezTo>
                    <a:cubicBezTo>
                      <a:pt x="644" y="213"/>
                      <a:pt x="644" y="213"/>
                      <a:pt x="644" y="213"/>
                    </a:cubicBezTo>
                    <a:cubicBezTo>
                      <a:pt x="644" y="213"/>
                      <a:pt x="644" y="213"/>
                      <a:pt x="644"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4" y="214"/>
                      <a:pt x="644" y="214"/>
                      <a:pt x="644" y="214"/>
                    </a:cubicBezTo>
                    <a:cubicBezTo>
                      <a:pt x="644" y="215"/>
                      <a:pt x="644" y="214"/>
                      <a:pt x="643" y="215"/>
                    </a:cubicBezTo>
                    <a:cubicBezTo>
                      <a:pt x="643" y="215"/>
                      <a:pt x="643" y="215"/>
                      <a:pt x="643" y="215"/>
                    </a:cubicBezTo>
                    <a:cubicBezTo>
                      <a:pt x="643" y="215"/>
                      <a:pt x="643" y="215"/>
                      <a:pt x="643" y="215"/>
                    </a:cubicBezTo>
                    <a:cubicBezTo>
                      <a:pt x="643" y="215"/>
                      <a:pt x="643" y="215"/>
                      <a:pt x="642" y="215"/>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1" y="216"/>
                      <a:pt x="641" y="216"/>
                      <a:pt x="641" y="216"/>
                    </a:cubicBezTo>
                    <a:cubicBezTo>
                      <a:pt x="641" y="216"/>
                      <a:pt x="641" y="216"/>
                      <a:pt x="641" y="216"/>
                    </a:cubicBezTo>
                    <a:cubicBezTo>
                      <a:pt x="641" y="216"/>
                      <a:pt x="641" y="216"/>
                      <a:pt x="641" y="216"/>
                    </a:cubicBezTo>
                    <a:cubicBezTo>
                      <a:pt x="641" y="216"/>
                      <a:pt x="641" y="216"/>
                      <a:pt x="641" y="216"/>
                    </a:cubicBezTo>
                    <a:cubicBezTo>
                      <a:pt x="641" y="216"/>
                      <a:pt x="641" y="216"/>
                      <a:pt x="641" y="216"/>
                    </a:cubicBezTo>
                    <a:cubicBezTo>
                      <a:pt x="641" y="216"/>
                      <a:pt x="641" y="216"/>
                      <a:pt x="641" y="216"/>
                    </a:cubicBezTo>
                    <a:cubicBezTo>
                      <a:pt x="641" y="216"/>
                      <a:pt x="641" y="216"/>
                      <a:pt x="641" y="216"/>
                    </a:cubicBezTo>
                    <a:cubicBezTo>
                      <a:pt x="641" y="217"/>
                      <a:pt x="641" y="217"/>
                      <a:pt x="641" y="217"/>
                    </a:cubicBezTo>
                    <a:cubicBezTo>
                      <a:pt x="641" y="217"/>
                      <a:pt x="641" y="217"/>
                      <a:pt x="641" y="217"/>
                    </a:cubicBezTo>
                    <a:cubicBezTo>
                      <a:pt x="641" y="217"/>
                      <a:pt x="641" y="217"/>
                      <a:pt x="641" y="217"/>
                    </a:cubicBezTo>
                    <a:cubicBezTo>
                      <a:pt x="641" y="217"/>
                      <a:pt x="641" y="217"/>
                      <a:pt x="641" y="217"/>
                    </a:cubicBezTo>
                    <a:cubicBezTo>
                      <a:pt x="640" y="217"/>
                      <a:pt x="640" y="217"/>
                      <a:pt x="640" y="217"/>
                    </a:cubicBezTo>
                    <a:cubicBezTo>
                      <a:pt x="640" y="218"/>
                      <a:pt x="640" y="218"/>
                      <a:pt x="640" y="218"/>
                    </a:cubicBezTo>
                    <a:cubicBezTo>
                      <a:pt x="640" y="218"/>
                      <a:pt x="640" y="218"/>
                      <a:pt x="640" y="218"/>
                    </a:cubicBezTo>
                    <a:cubicBezTo>
                      <a:pt x="640" y="218"/>
                      <a:pt x="640" y="218"/>
                      <a:pt x="640" y="218"/>
                    </a:cubicBezTo>
                    <a:cubicBezTo>
                      <a:pt x="640" y="217"/>
                      <a:pt x="640" y="217"/>
                      <a:pt x="640" y="217"/>
                    </a:cubicBezTo>
                    <a:cubicBezTo>
                      <a:pt x="640" y="217"/>
                      <a:pt x="640" y="217"/>
                      <a:pt x="640" y="217"/>
                    </a:cubicBezTo>
                    <a:cubicBezTo>
                      <a:pt x="640" y="218"/>
                      <a:pt x="640" y="218"/>
                      <a:pt x="640" y="218"/>
                    </a:cubicBezTo>
                    <a:cubicBezTo>
                      <a:pt x="640" y="218"/>
                      <a:pt x="640" y="218"/>
                      <a:pt x="640" y="218"/>
                    </a:cubicBezTo>
                    <a:cubicBezTo>
                      <a:pt x="640" y="218"/>
                      <a:pt x="640" y="218"/>
                      <a:pt x="640" y="218"/>
                    </a:cubicBezTo>
                    <a:cubicBezTo>
                      <a:pt x="640" y="218"/>
                      <a:pt x="640" y="218"/>
                      <a:pt x="640" y="218"/>
                    </a:cubicBezTo>
                    <a:cubicBezTo>
                      <a:pt x="640" y="218"/>
                      <a:pt x="640" y="218"/>
                      <a:pt x="640" y="218"/>
                    </a:cubicBezTo>
                    <a:cubicBezTo>
                      <a:pt x="640" y="218"/>
                      <a:pt x="640" y="218"/>
                      <a:pt x="640" y="218"/>
                    </a:cubicBezTo>
                    <a:cubicBezTo>
                      <a:pt x="640" y="218"/>
                      <a:pt x="640" y="218"/>
                      <a:pt x="640" y="218"/>
                    </a:cubicBezTo>
                    <a:cubicBezTo>
                      <a:pt x="639" y="218"/>
                      <a:pt x="639" y="218"/>
                      <a:pt x="639" y="218"/>
                    </a:cubicBezTo>
                    <a:cubicBezTo>
                      <a:pt x="639" y="219"/>
                      <a:pt x="639" y="220"/>
                      <a:pt x="639" y="220"/>
                    </a:cubicBezTo>
                    <a:cubicBezTo>
                      <a:pt x="639" y="220"/>
                      <a:pt x="639" y="220"/>
                      <a:pt x="639" y="220"/>
                    </a:cubicBezTo>
                    <a:cubicBezTo>
                      <a:pt x="638" y="220"/>
                      <a:pt x="638" y="220"/>
                      <a:pt x="638" y="220"/>
                    </a:cubicBezTo>
                    <a:cubicBezTo>
                      <a:pt x="638" y="220"/>
                      <a:pt x="638" y="220"/>
                      <a:pt x="638" y="220"/>
                    </a:cubicBezTo>
                    <a:cubicBezTo>
                      <a:pt x="639" y="220"/>
                      <a:pt x="639" y="220"/>
                      <a:pt x="639"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6" y="220"/>
                      <a:pt x="636" y="220"/>
                      <a:pt x="636" y="220"/>
                    </a:cubicBezTo>
                    <a:cubicBezTo>
                      <a:pt x="636" y="220"/>
                      <a:pt x="636" y="220"/>
                      <a:pt x="636" y="220"/>
                    </a:cubicBezTo>
                    <a:cubicBezTo>
                      <a:pt x="637" y="220"/>
                      <a:pt x="637" y="220"/>
                      <a:pt x="637" y="220"/>
                    </a:cubicBezTo>
                    <a:cubicBezTo>
                      <a:pt x="637" y="221"/>
                      <a:pt x="637" y="221"/>
                      <a:pt x="637" y="221"/>
                    </a:cubicBezTo>
                    <a:cubicBezTo>
                      <a:pt x="637" y="222"/>
                      <a:pt x="637" y="222"/>
                      <a:pt x="637" y="222"/>
                    </a:cubicBezTo>
                    <a:cubicBezTo>
                      <a:pt x="637" y="222"/>
                      <a:pt x="637" y="222"/>
                      <a:pt x="637" y="222"/>
                    </a:cubicBezTo>
                    <a:cubicBezTo>
                      <a:pt x="637" y="223"/>
                      <a:pt x="637" y="223"/>
                      <a:pt x="637" y="223"/>
                    </a:cubicBezTo>
                    <a:cubicBezTo>
                      <a:pt x="637" y="223"/>
                      <a:pt x="637" y="223"/>
                      <a:pt x="637" y="224"/>
                    </a:cubicBezTo>
                    <a:cubicBezTo>
                      <a:pt x="637" y="225"/>
                      <a:pt x="637" y="225"/>
                      <a:pt x="637" y="225"/>
                    </a:cubicBezTo>
                    <a:cubicBezTo>
                      <a:pt x="637" y="225"/>
                      <a:pt x="637" y="225"/>
                      <a:pt x="637" y="225"/>
                    </a:cubicBezTo>
                    <a:cubicBezTo>
                      <a:pt x="637" y="225"/>
                      <a:pt x="637" y="225"/>
                      <a:pt x="637" y="225"/>
                    </a:cubicBezTo>
                    <a:cubicBezTo>
                      <a:pt x="637" y="225"/>
                      <a:pt x="637" y="225"/>
                      <a:pt x="637" y="225"/>
                    </a:cubicBezTo>
                    <a:cubicBezTo>
                      <a:pt x="638" y="225"/>
                      <a:pt x="638" y="225"/>
                      <a:pt x="638" y="226"/>
                    </a:cubicBezTo>
                    <a:cubicBezTo>
                      <a:pt x="638" y="226"/>
                      <a:pt x="638" y="226"/>
                      <a:pt x="638" y="226"/>
                    </a:cubicBezTo>
                    <a:cubicBezTo>
                      <a:pt x="638" y="226"/>
                      <a:pt x="638" y="226"/>
                      <a:pt x="638" y="226"/>
                    </a:cubicBezTo>
                    <a:cubicBezTo>
                      <a:pt x="638" y="226"/>
                      <a:pt x="638" y="226"/>
                      <a:pt x="638" y="226"/>
                    </a:cubicBezTo>
                    <a:cubicBezTo>
                      <a:pt x="639" y="226"/>
                      <a:pt x="639" y="226"/>
                      <a:pt x="639" y="226"/>
                    </a:cubicBezTo>
                    <a:cubicBezTo>
                      <a:pt x="639" y="226"/>
                      <a:pt x="639" y="226"/>
                      <a:pt x="639" y="226"/>
                    </a:cubicBezTo>
                    <a:cubicBezTo>
                      <a:pt x="639" y="226"/>
                      <a:pt x="639" y="226"/>
                      <a:pt x="639" y="226"/>
                    </a:cubicBezTo>
                    <a:cubicBezTo>
                      <a:pt x="639" y="226"/>
                      <a:pt x="639" y="226"/>
                      <a:pt x="639" y="226"/>
                    </a:cubicBezTo>
                    <a:cubicBezTo>
                      <a:pt x="639" y="226"/>
                      <a:pt x="638" y="225"/>
                      <a:pt x="638" y="225"/>
                    </a:cubicBezTo>
                    <a:cubicBezTo>
                      <a:pt x="638" y="225"/>
                      <a:pt x="638" y="225"/>
                      <a:pt x="638" y="225"/>
                    </a:cubicBezTo>
                    <a:cubicBezTo>
                      <a:pt x="638" y="225"/>
                      <a:pt x="638" y="225"/>
                      <a:pt x="638" y="225"/>
                    </a:cubicBezTo>
                    <a:cubicBezTo>
                      <a:pt x="638" y="225"/>
                      <a:pt x="638" y="225"/>
                      <a:pt x="638" y="225"/>
                    </a:cubicBezTo>
                    <a:cubicBezTo>
                      <a:pt x="639" y="225"/>
                      <a:pt x="639" y="225"/>
                      <a:pt x="639" y="225"/>
                    </a:cubicBezTo>
                    <a:cubicBezTo>
                      <a:pt x="639" y="225"/>
                      <a:pt x="639" y="225"/>
                      <a:pt x="639" y="225"/>
                    </a:cubicBezTo>
                    <a:cubicBezTo>
                      <a:pt x="639" y="225"/>
                      <a:pt x="639" y="225"/>
                      <a:pt x="639" y="225"/>
                    </a:cubicBezTo>
                    <a:cubicBezTo>
                      <a:pt x="639" y="225"/>
                      <a:pt x="639" y="225"/>
                      <a:pt x="639" y="225"/>
                    </a:cubicBezTo>
                    <a:cubicBezTo>
                      <a:pt x="639" y="226"/>
                      <a:pt x="639" y="226"/>
                      <a:pt x="640" y="227"/>
                    </a:cubicBezTo>
                    <a:cubicBezTo>
                      <a:pt x="640" y="227"/>
                      <a:pt x="640" y="227"/>
                      <a:pt x="640" y="227"/>
                    </a:cubicBezTo>
                    <a:cubicBezTo>
                      <a:pt x="640" y="227"/>
                      <a:pt x="640" y="227"/>
                      <a:pt x="640" y="227"/>
                    </a:cubicBezTo>
                    <a:cubicBezTo>
                      <a:pt x="640" y="227"/>
                      <a:pt x="640" y="227"/>
                      <a:pt x="640" y="227"/>
                    </a:cubicBezTo>
                    <a:cubicBezTo>
                      <a:pt x="640" y="227"/>
                      <a:pt x="640"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2" y="227"/>
                      <a:pt x="642" y="227"/>
                      <a:pt x="642" y="227"/>
                    </a:cubicBezTo>
                    <a:cubicBezTo>
                      <a:pt x="642" y="227"/>
                      <a:pt x="642" y="227"/>
                      <a:pt x="642" y="227"/>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9"/>
                      <a:pt x="642" y="229"/>
                      <a:pt x="642" y="229"/>
                    </a:cubicBezTo>
                    <a:cubicBezTo>
                      <a:pt x="642" y="229"/>
                      <a:pt x="642" y="229"/>
                      <a:pt x="642" y="229"/>
                    </a:cubicBezTo>
                    <a:cubicBezTo>
                      <a:pt x="642" y="229"/>
                      <a:pt x="642" y="229"/>
                      <a:pt x="642" y="229"/>
                    </a:cubicBezTo>
                    <a:cubicBezTo>
                      <a:pt x="643" y="229"/>
                      <a:pt x="643" y="229"/>
                      <a:pt x="643" y="229"/>
                    </a:cubicBezTo>
                    <a:cubicBezTo>
                      <a:pt x="643" y="229"/>
                      <a:pt x="643" y="229"/>
                      <a:pt x="643" y="229"/>
                    </a:cubicBezTo>
                    <a:cubicBezTo>
                      <a:pt x="643" y="229"/>
                      <a:pt x="643" y="229"/>
                      <a:pt x="643" y="229"/>
                    </a:cubicBezTo>
                    <a:cubicBezTo>
                      <a:pt x="643" y="229"/>
                      <a:pt x="643" y="229"/>
                      <a:pt x="643" y="229"/>
                    </a:cubicBezTo>
                    <a:cubicBezTo>
                      <a:pt x="643" y="229"/>
                      <a:pt x="643" y="229"/>
                      <a:pt x="643" y="229"/>
                    </a:cubicBezTo>
                    <a:cubicBezTo>
                      <a:pt x="643" y="229"/>
                      <a:pt x="643" y="229"/>
                      <a:pt x="643" y="229"/>
                    </a:cubicBezTo>
                    <a:cubicBezTo>
                      <a:pt x="644" y="229"/>
                      <a:pt x="644" y="229"/>
                      <a:pt x="644" y="229"/>
                    </a:cubicBezTo>
                    <a:cubicBezTo>
                      <a:pt x="644" y="229"/>
                      <a:pt x="644" y="229"/>
                      <a:pt x="644" y="229"/>
                    </a:cubicBezTo>
                    <a:cubicBezTo>
                      <a:pt x="644" y="229"/>
                      <a:pt x="644" y="229"/>
                      <a:pt x="644" y="229"/>
                    </a:cubicBezTo>
                    <a:cubicBezTo>
                      <a:pt x="644" y="229"/>
                      <a:pt x="644" y="229"/>
                      <a:pt x="644" y="229"/>
                    </a:cubicBezTo>
                    <a:cubicBezTo>
                      <a:pt x="645" y="229"/>
                      <a:pt x="645" y="230"/>
                      <a:pt x="645" y="230"/>
                    </a:cubicBezTo>
                    <a:cubicBezTo>
                      <a:pt x="646" y="230"/>
                      <a:pt x="646" y="230"/>
                      <a:pt x="646" y="230"/>
                    </a:cubicBezTo>
                    <a:cubicBezTo>
                      <a:pt x="646" y="230"/>
                      <a:pt x="646" y="230"/>
                      <a:pt x="646" y="230"/>
                    </a:cubicBezTo>
                    <a:cubicBezTo>
                      <a:pt x="647" y="230"/>
                      <a:pt x="646" y="231"/>
                      <a:pt x="647" y="231"/>
                    </a:cubicBezTo>
                    <a:cubicBezTo>
                      <a:pt x="647" y="231"/>
                      <a:pt x="647" y="231"/>
                      <a:pt x="647" y="231"/>
                    </a:cubicBezTo>
                    <a:cubicBezTo>
                      <a:pt x="647" y="231"/>
                      <a:pt x="647" y="231"/>
                      <a:pt x="647" y="231"/>
                    </a:cubicBezTo>
                    <a:cubicBezTo>
                      <a:pt x="647" y="231"/>
                      <a:pt x="647" y="231"/>
                      <a:pt x="647" y="231"/>
                    </a:cubicBezTo>
                    <a:cubicBezTo>
                      <a:pt x="647" y="231"/>
                      <a:pt x="647" y="231"/>
                      <a:pt x="647" y="231"/>
                    </a:cubicBezTo>
                    <a:cubicBezTo>
                      <a:pt x="647" y="231"/>
                      <a:pt x="647" y="231"/>
                      <a:pt x="647" y="231"/>
                    </a:cubicBezTo>
                    <a:cubicBezTo>
                      <a:pt x="648" y="231"/>
                      <a:pt x="648" y="231"/>
                      <a:pt x="648" y="231"/>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9" y="232"/>
                      <a:pt x="649" y="232"/>
                      <a:pt x="649" y="232"/>
                    </a:cubicBezTo>
                    <a:cubicBezTo>
                      <a:pt x="649" y="232"/>
                      <a:pt x="649" y="232"/>
                      <a:pt x="649" y="232"/>
                    </a:cubicBezTo>
                    <a:cubicBezTo>
                      <a:pt x="649" y="232"/>
                      <a:pt x="649" y="232"/>
                      <a:pt x="649" y="233"/>
                    </a:cubicBezTo>
                    <a:cubicBezTo>
                      <a:pt x="649" y="233"/>
                      <a:pt x="649" y="233"/>
                      <a:pt x="649" y="233"/>
                    </a:cubicBezTo>
                    <a:cubicBezTo>
                      <a:pt x="649" y="233"/>
                      <a:pt x="649" y="233"/>
                      <a:pt x="649" y="233"/>
                    </a:cubicBezTo>
                    <a:cubicBezTo>
                      <a:pt x="649"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1" y="233"/>
                      <a:pt x="651" y="233"/>
                      <a:pt x="651" y="233"/>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5"/>
                      <a:pt x="651" y="235"/>
                      <a:pt x="651" y="235"/>
                    </a:cubicBezTo>
                    <a:cubicBezTo>
                      <a:pt x="651" y="235"/>
                      <a:pt x="651" y="235"/>
                      <a:pt x="651" y="235"/>
                    </a:cubicBezTo>
                    <a:cubicBezTo>
                      <a:pt x="652" y="235"/>
                      <a:pt x="652" y="235"/>
                      <a:pt x="652" y="235"/>
                    </a:cubicBezTo>
                    <a:cubicBezTo>
                      <a:pt x="652" y="235"/>
                      <a:pt x="652" y="235"/>
                      <a:pt x="652" y="235"/>
                    </a:cubicBezTo>
                    <a:cubicBezTo>
                      <a:pt x="652" y="235"/>
                      <a:pt x="652" y="235"/>
                      <a:pt x="652" y="235"/>
                    </a:cubicBezTo>
                    <a:cubicBezTo>
                      <a:pt x="652" y="235"/>
                      <a:pt x="652" y="235"/>
                      <a:pt x="652" y="235"/>
                    </a:cubicBezTo>
                    <a:cubicBezTo>
                      <a:pt x="652" y="236"/>
                      <a:pt x="652" y="236"/>
                      <a:pt x="652" y="236"/>
                    </a:cubicBezTo>
                    <a:cubicBezTo>
                      <a:pt x="652" y="236"/>
                      <a:pt x="652" y="236"/>
                      <a:pt x="652" y="236"/>
                    </a:cubicBezTo>
                    <a:cubicBezTo>
                      <a:pt x="652" y="236"/>
                      <a:pt x="652" y="236"/>
                      <a:pt x="652" y="236"/>
                    </a:cubicBezTo>
                    <a:cubicBezTo>
                      <a:pt x="652" y="236"/>
                      <a:pt x="652" y="236"/>
                      <a:pt x="652" y="236"/>
                    </a:cubicBezTo>
                    <a:cubicBezTo>
                      <a:pt x="652" y="236"/>
                      <a:pt x="652" y="236"/>
                      <a:pt x="652" y="236"/>
                    </a:cubicBezTo>
                    <a:cubicBezTo>
                      <a:pt x="652" y="236"/>
                      <a:pt x="653" y="236"/>
                      <a:pt x="653" y="237"/>
                    </a:cubicBezTo>
                    <a:cubicBezTo>
                      <a:pt x="653" y="237"/>
                      <a:pt x="653" y="237"/>
                      <a:pt x="653" y="237"/>
                    </a:cubicBezTo>
                    <a:cubicBezTo>
                      <a:pt x="653" y="237"/>
                      <a:pt x="653" y="237"/>
                      <a:pt x="653" y="237"/>
                    </a:cubicBezTo>
                    <a:cubicBezTo>
                      <a:pt x="653" y="237"/>
                      <a:pt x="654" y="238"/>
                      <a:pt x="654" y="238"/>
                    </a:cubicBezTo>
                    <a:cubicBezTo>
                      <a:pt x="654" y="238"/>
                      <a:pt x="654" y="238"/>
                      <a:pt x="654" y="238"/>
                    </a:cubicBezTo>
                    <a:cubicBezTo>
                      <a:pt x="654" y="238"/>
                      <a:pt x="654" y="238"/>
                      <a:pt x="654" y="238"/>
                    </a:cubicBezTo>
                    <a:cubicBezTo>
                      <a:pt x="654" y="238"/>
                      <a:pt x="654" y="238"/>
                      <a:pt x="654" y="238"/>
                    </a:cubicBezTo>
                    <a:cubicBezTo>
                      <a:pt x="654" y="238"/>
                      <a:pt x="654" y="238"/>
                      <a:pt x="654" y="238"/>
                    </a:cubicBezTo>
                    <a:cubicBezTo>
                      <a:pt x="654" y="238"/>
                      <a:pt x="654" y="238"/>
                      <a:pt x="654" y="238"/>
                    </a:cubicBezTo>
                    <a:cubicBezTo>
                      <a:pt x="654" y="239"/>
                      <a:pt x="654" y="239"/>
                      <a:pt x="654" y="239"/>
                    </a:cubicBezTo>
                    <a:cubicBezTo>
                      <a:pt x="655" y="239"/>
                      <a:pt x="654" y="239"/>
                      <a:pt x="655" y="240"/>
                    </a:cubicBezTo>
                    <a:cubicBezTo>
                      <a:pt x="655" y="240"/>
                      <a:pt x="655" y="240"/>
                      <a:pt x="655" y="240"/>
                    </a:cubicBezTo>
                    <a:cubicBezTo>
                      <a:pt x="655" y="240"/>
                      <a:pt x="655" y="240"/>
                      <a:pt x="655" y="240"/>
                    </a:cubicBezTo>
                    <a:cubicBezTo>
                      <a:pt x="655" y="241"/>
                      <a:pt x="655" y="241"/>
                      <a:pt x="655" y="241"/>
                    </a:cubicBezTo>
                    <a:cubicBezTo>
                      <a:pt x="655" y="242"/>
                      <a:pt x="655" y="242"/>
                      <a:pt x="655" y="242"/>
                    </a:cubicBezTo>
                    <a:cubicBezTo>
                      <a:pt x="655" y="242"/>
                      <a:pt x="655" y="242"/>
                      <a:pt x="655" y="242"/>
                    </a:cubicBezTo>
                    <a:cubicBezTo>
                      <a:pt x="655" y="242"/>
                      <a:pt x="655" y="242"/>
                      <a:pt x="655" y="242"/>
                    </a:cubicBezTo>
                    <a:cubicBezTo>
                      <a:pt x="655" y="242"/>
                      <a:pt x="655" y="242"/>
                      <a:pt x="655" y="242"/>
                    </a:cubicBezTo>
                    <a:cubicBezTo>
                      <a:pt x="655" y="242"/>
                      <a:pt x="655" y="242"/>
                      <a:pt x="655" y="242"/>
                    </a:cubicBezTo>
                    <a:cubicBezTo>
                      <a:pt x="656" y="242"/>
                      <a:pt x="655" y="242"/>
                      <a:pt x="656" y="242"/>
                    </a:cubicBezTo>
                    <a:cubicBezTo>
                      <a:pt x="656" y="242"/>
                      <a:pt x="656" y="242"/>
                      <a:pt x="656" y="242"/>
                    </a:cubicBezTo>
                    <a:cubicBezTo>
                      <a:pt x="656" y="242"/>
                      <a:pt x="656" y="242"/>
                      <a:pt x="656" y="242"/>
                    </a:cubicBezTo>
                    <a:cubicBezTo>
                      <a:pt x="656" y="243"/>
                      <a:pt x="656" y="243"/>
                      <a:pt x="656" y="243"/>
                    </a:cubicBezTo>
                    <a:cubicBezTo>
                      <a:pt x="656" y="243"/>
                      <a:pt x="656" y="243"/>
                      <a:pt x="656" y="243"/>
                    </a:cubicBezTo>
                    <a:cubicBezTo>
                      <a:pt x="656" y="243"/>
                      <a:pt x="656" y="243"/>
                      <a:pt x="656" y="243"/>
                    </a:cubicBezTo>
                    <a:cubicBezTo>
                      <a:pt x="656" y="243"/>
                      <a:pt x="656" y="243"/>
                      <a:pt x="656" y="243"/>
                    </a:cubicBezTo>
                    <a:cubicBezTo>
                      <a:pt x="656" y="243"/>
                      <a:pt x="656" y="243"/>
                      <a:pt x="656" y="243"/>
                    </a:cubicBezTo>
                    <a:cubicBezTo>
                      <a:pt x="656" y="243"/>
                      <a:pt x="656" y="243"/>
                      <a:pt x="656" y="244"/>
                    </a:cubicBezTo>
                    <a:cubicBezTo>
                      <a:pt x="656" y="244"/>
                      <a:pt x="656" y="244"/>
                      <a:pt x="656" y="244"/>
                    </a:cubicBezTo>
                    <a:cubicBezTo>
                      <a:pt x="656" y="244"/>
                      <a:pt x="656" y="244"/>
                      <a:pt x="656" y="244"/>
                    </a:cubicBezTo>
                    <a:cubicBezTo>
                      <a:pt x="656" y="244"/>
                      <a:pt x="656" y="244"/>
                      <a:pt x="656" y="244"/>
                    </a:cubicBezTo>
                    <a:cubicBezTo>
                      <a:pt x="656" y="244"/>
                      <a:pt x="656" y="244"/>
                      <a:pt x="656" y="244"/>
                    </a:cubicBezTo>
                    <a:cubicBezTo>
                      <a:pt x="656" y="244"/>
                      <a:pt x="656" y="244"/>
                      <a:pt x="656" y="244"/>
                    </a:cubicBezTo>
                    <a:cubicBezTo>
                      <a:pt x="656" y="244"/>
                      <a:pt x="656" y="244"/>
                      <a:pt x="656" y="244"/>
                    </a:cubicBezTo>
                    <a:cubicBezTo>
                      <a:pt x="656" y="244"/>
                      <a:pt x="656" y="244"/>
                      <a:pt x="656" y="244"/>
                    </a:cubicBezTo>
                    <a:cubicBezTo>
                      <a:pt x="657" y="245"/>
                      <a:pt x="657" y="245"/>
                      <a:pt x="657" y="245"/>
                    </a:cubicBezTo>
                    <a:cubicBezTo>
                      <a:pt x="657" y="245"/>
                      <a:pt x="657" y="245"/>
                      <a:pt x="657" y="245"/>
                    </a:cubicBezTo>
                    <a:cubicBezTo>
                      <a:pt x="657" y="245"/>
                      <a:pt x="657" y="245"/>
                      <a:pt x="657" y="245"/>
                    </a:cubicBezTo>
                    <a:cubicBezTo>
                      <a:pt x="657" y="245"/>
                      <a:pt x="657" y="245"/>
                      <a:pt x="657" y="245"/>
                    </a:cubicBezTo>
                    <a:cubicBezTo>
                      <a:pt x="657" y="245"/>
                      <a:pt x="657" y="245"/>
                      <a:pt x="657" y="245"/>
                    </a:cubicBezTo>
                    <a:cubicBezTo>
                      <a:pt x="657" y="245"/>
                      <a:pt x="657" y="245"/>
                      <a:pt x="657" y="245"/>
                    </a:cubicBezTo>
                    <a:cubicBezTo>
                      <a:pt x="657" y="245"/>
                      <a:pt x="657" y="245"/>
                      <a:pt x="657" y="245"/>
                    </a:cubicBezTo>
                    <a:cubicBezTo>
                      <a:pt x="657" y="246"/>
                      <a:pt x="657" y="246"/>
                      <a:pt x="657" y="246"/>
                    </a:cubicBezTo>
                    <a:cubicBezTo>
                      <a:pt x="657" y="246"/>
                      <a:pt x="657" y="246"/>
                      <a:pt x="657" y="246"/>
                    </a:cubicBezTo>
                    <a:cubicBezTo>
                      <a:pt x="657" y="246"/>
                      <a:pt x="657" y="246"/>
                      <a:pt x="657" y="246"/>
                    </a:cubicBezTo>
                    <a:cubicBezTo>
                      <a:pt x="657" y="247"/>
                      <a:pt x="657" y="247"/>
                      <a:pt x="657" y="247"/>
                    </a:cubicBezTo>
                    <a:cubicBezTo>
                      <a:pt x="657" y="247"/>
                      <a:pt x="657" y="247"/>
                      <a:pt x="657" y="247"/>
                    </a:cubicBezTo>
                    <a:cubicBezTo>
                      <a:pt x="657" y="247"/>
                      <a:pt x="657" y="247"/>
                      <a:pt x="657" y="247"/>
                    </a:cubicBezTo>
                    <a:cubicBezTo>
                      <a:pt x="657" y="247"/>
                      <a:pt x="657" y="247"/>
                      <a:pt x="657" y="247"/>
                    </a:cubicBezTo>
                    <a:cubicBezTo>
                      <a:pt x="657" y="247"/>
                      <a:pt x="657" y="248"/>
                      <a:pt x="657" y="248"/>
                    </a:cubicBezTo>
                    <a:cubicBezTo>
                      <a:pt x="657" y="248"/>
                      <a:pt x="657" y="248"/>
                      <a:pt x="657" y="248"/>
                    </a:cubicBezTo>
                    <a:cubicBezTo>
                      <a:pt x="657" y="248"/>
                      <a:pt x="657" y="248"/>
                      <a:pt x="657" y="248"/>
                    </a:cubicBezTo>
                    <a:cubicBezTo>
                      <a:pt x="657" y="249"/>
                      <a:pt x="657" y="249"/>
                      <a:pt x="657" y="249"/>
                    </a:cubicBezTo>
                    <a:cubicBezTo>
                      <a:pt x="657" y="249"/>
                      <a:pt x="657" y="250"/>
                      <a:pt x="657" y="251"/>
                    </a:cubicBezTo>
                    <a:cubicBezTo>
                      <a:pt x="657" y="251"/>
                      <a:pt x="657" y="251"/>
                      <a:pt x="657" y="251"/>
                    </a:cubicBezTo>
                    <a:cubicBezTo>
                      <a:pt x="657" y="251"/>
                      <a:pt x="657" y="251"/>
                      <a:pt x="657" y="251"/>
                    </a:cubicBezTo>
                    <a:cubicBezTo>
                      <a:pt x="657" y="252"/>
                      <a:pt x="657" y="252"/>
                      <a:pt x="657" y="252"/>
                    </a:cubicBezTo>
                    <a:cubicBezTo>
                      <a:pt x="657" y="252"/>
                      <a:pt x="657" y="252"/>
                      <a:pt x="657" y="252"/>
                    </a:cubicBezTo>
                    <a:cubicBezTo>
                      <a:pt x="658" y="253"/>
                      <a:pt x="657" y="254"/>
                      <a:pt x="657" y="255"/>
                    </a:cubicBezTo>
                    <a:cubicBezTo>
                      <a:pt x="657" y="255"/>
                      <a:pt x="657" y="255"/>
                      <a:pt x="657" y="255"/>
                    </a:cubicBezTo>
                    <a:cubicBezTo>
                      <a:pt x="657" y="255"/>
                      <a:pt x="657" y="255"/>
                      <a:pt x="657" y="255"/>
                    </a:cubicBezTo>
                    <a:cubicBezTo>
                      <a:pt x="657" y="255"/>
                      <a:pt x="657" y="255"/>
                      <a:pt x="657" y="255"/>
                    </a:cubicBezTo>
                    <a:cubicBezTo>
                      <a:pt x="657" y="256"/>
                      <a:pt x="657" y="256"/>
                      <a:pt x="657" y="257"/>
                    </a:cubicBezTo>
                    <a:cubicBezTo>
                      <a:pt x="657" y="257"/>
                      <a:pt x="657" y="257"/>
                      <a:pt x="657" y="257"/>
                    </a:cubicBezTo>
                    <a:cubicBezTo>
                      <a:pt x="657" y="257"/>
                      <a:pt x="657" y="257"/>
                      <a:pt x="657" y="257"/>
                    </a:cubicBezTo>
                    <a:cubicBezTo>
                      <a:pt x="657" y="258"/>
                      <a:pt x="657" y="258"/>
                      <a:pt x="657" y="259"/>
                    </a:cubicBezTo>
                    <a:cubicBezTo>
                      <a:pt x="657" y="259"/>
                      <a:pt x="657" y="259"/>
                      <a:pt x="657" y="259"/>
                    </a:cubicBezTo>
                    <a:cubicBezTo>
                      <a:pt x="657" y="260"/>
                      <a:pt x="657" y="260"/>
                      <a:pt x="657" y="260"/>
                    </a:cubicBezTo>
                    <a:cubicBezTo>
                      <a:pt x="657" y="261"/>
                      <a:pt x="657" y="261"/>
                      <a:pt x="657" y="261"/>
                    </a:cubicBezTo>
                    <a:cubicBezTo>
                      <a:pt x="656" y="261"/>
                      <a:pt x="656" y="261"/>
                      <a:pt x="656" y="261"/>
                    </a:cubicBezTo>
                    <a:cubicBezTo>
                      <a:pt x="656" y="261"/>
                      <a:pt x="656" y="261"/>
                      <a:pt x="656" y="261"/>
                    </a:cubicBezTo>
                    <a:cubicBezTo>
                      <a:pt x="656" y="261"/>
                      <a:pt x="656" y="261"/>
                      <a:pt x="656" y="261"/>
                    </a:cubicBezTo>
                    <a:cubicBezTo>
                      <a:pt x="656" y="261"/>
                      <a:pt x="656" y="261"/>
                      <a:pt x="656" y="261"/>
                    </a:cubicBezTo>
                    <a:cubicBezTo>
                      <a:pt x="656" y="261"/>
                      <a:pt x="656" y="261"/>
                      <a:pt x="656" y="261"/>
                    </a:cubicBezTo>
                    <a:cubicBezTo>
                      <a:pt x="656" y="262"/>
                      <a:pt x="656" y="262"/>
                      <a:pt x="656" y="262"/>
                    </a:cubicBezTo>
                    <a:cubicBezTo>
                      <a:pt x="656" y="262"/>
                      <a:pt x="656" y="262"/>
                      <a:pt x="656" y="262"/>
                    </a:cubicBezTo>
                    <a:cubicBezTo>
                      <a:pt x="656" y="262"/>
                      <a:pt x="656" y="262"/>
                      <a:pt x="656" y="262"/>
                    </a:cubicBezTo>
                    <a:cubicBezTo>
                      <a:pt x="656" y="262"/>
                      <a:pt x="656" y="262"/>
                      <a:pt x="656" y="262"/>
                    </a:cubicBezTo>
                    <a:cubicBezTo>
                      <a:pt x="656" y="262"/>
                      <a:pt x="656" y="262"/>
                      <a:pt x="656" y="263"/>
                    </a:cubicBezTo>
                    <a:cubicBezTo>
                      <a:pt x="656" y="263"/>
                      <a:pt x="656" y="263"/>
                      <a:pt x="656" y="263"/>
                    </a:cubicBezTo>
                    <a:cubicBezTo>
                      <a:pt x="656" y="263"/>
                      <a:pt x="656" y="263"/>
                      <a:pt x="656" y="263"/>
                    </a:cubicBezTo>
                    <a:cubicBezTo>
                      <a:pt x="656" y="263"/>
                      <a:pt x="656" y="263"/>
                      <a:pt x="656" y="263"/>
                    </a:cubicBezTo>
                    <a:cubicBezTo>
                      <a:pt x="656" y="263"/>
                      <a:pt x="656" y="263"/>
                      <a:pt x="656" y="263"/>
                    </a:cubicBezTo>
                    <a:cubicBezTo>
                      <a:pt x="655" y="263"/>
                      <a:pt x="655" y="263"/>
                      <a:pt x="655" y="264"/>
                    </a:cubicBezTo>
                    <a:cubicBezTo>
                      <a:pt x="654" y="264"/>
                      <a:pt x="654" y="264"/>
                      <a:pt x="654" y="264"/>
                    </a:cubicBezTo>
                    <a:cubicBezTo>
                      <a:pt x="654" y="264"/>
                      <a:pt x="654" y="264"/>
                      <a:pt x="654" y="264"/>
                    </a:cubicBezTo>
                    <a:cubicBezTo>
                      <a:pt x="654" y="264"/>
                      <a:pt x="654" y="264"/>
                      <a:pt x="654" y="265"/>
                    </a:cubicBezTo>
                    <a:cubicBezTo>
                      <a:pt x="653" y="265"/>
                      <a:pt x="653" y="265"/>
                      <a:pt x="653" y="265"/>
                    </a:cubicBezTo>
                    <a:cubicBezTo>
                      <a:pt x="653" y="265"/>
                      <a:pt x="653" y="265"/>
                      <a:pt x="653" y="265"/>
                    </a:cubicBezTo>
                    <a:cubicBezTo>
                      <a:pt x="653" y="265"/>
                      <a:pt x="653" y="265"/>
                      <a:pt x="653" y="265"/>
                    </a:cubicBezTo>
                    <a:cubicBezTo>
                      <a:pt x="653" y="265"/>
                      <a:pt x="653" y="265"/>
                      <a:pt x="653" y="265"/>
                    </a:cubicBezTo>
                    <a:cubicBezTo>
                      <a:pt x="652" y="266"/>
                      <a:pt x="652" y="267"/>
                      <a:pt x="651" y="267"/>
                    </a:cubicBezTo>
                    <a:cubicBezTo>
                      <a:pt x="651" y="268"/>
                      <a:pt x="651" y="268"/>
                      <a:pt x="651" y="268"/>
                    </a:cubicBezTo>
                    <a:cubicBezTo>
                      <a:pt x="651" y="268"/>
                      <a:pt x="651" y="268"/>
                      <a:pt x="651" y="268"/>
                    </a:cubicBezTo>
                    <a:cubicBezTo>
                      <a:pt x="651" y="268"/>
                      <a:pt x="651" y="268"/>
                      <a:pt x="651" y="268"/>
                    </a:cubicBezTo>
                    <a:cubicBezTo>
                      <a:pt x="650" y="268"/>
                      <a:pt x="650" y="268"/>
                      <a:pt x="650" y="268"/>
                    </a:cubicBezTo>
                    <a:cubicBezTo>
                      <a:pt x="650" y="268"/>
                      <a:pt x="650" y="268"/>
                      <a:pt x="650" y="268"/>
                    </a:cubicBezTo>
                    <a:cubicBezTo>
                      <a:pt x="651" y="268"/>
                      <a:pt x="652" y="267"/>
                      <a:pt x="651" y="268"/>
                    </a:cubicBezTo>
                    <a:cubicBezTo>
                      <a:pt x="651" y="268"/>
                      <a:pt x="651" y="268"/>
                      <a:pt x="651" y="268"/>
                    </a:cubicBezTo>
                    <a:cubicBezTo>
                      <a:pt x="651" y="268"/>
                      <a:pt x="651" y="268"/>
                      <a:pt x="651" y="268"/>
                    </a:cubicBezTo>
                    <a:cubicBezTo>
                      <a:pt x="651" y="268"/>
                      <a:pt x="651" y="268"/>
                      <a:pt x="650" y="269"/>
                    </a:cubicBezTo>
                    <a:cubicBezTo>
                      <a:pt x="650" y="269"/>
                      <a:pt x="650" y="269"/>
                      <a:pt x="650" y="269"/>
                    </a:cubicBezTo>
                    <a:cubicBezTo>
                      <a:pt x="650" y="269"/>
                      <a:pt x="650" y="269"/>
                      <a:pt x="650" y="269"/>
                    </a:cubicBezTo>
                    <a:cubicBezTo>
                      <a:pt x="650" y="269"/>
                      <a:pt x="650" y="269"/>
                      <a:pt x="650" y="269"/>
                    </a:cubicBezTo>
                    <a:cubicBezTo>
                      <a:pt x="650" y="269"/>
                      <a:pt x="650" y="269"/>
                      <a:pt x="650" y="269"/>
                    </a:cubicBezTo>
                    <a:cubicBezTo>
                      <a:pt x="650" y="269"/>
                      <a:pt x="650" y="269"/>
                      <a:pt x="650" y="269"/>
                    </a:cubicBezTo>
                    <a:cubicBezTo>
                      <a:pt x="650" y="269"/>
                      <a:pt x="649" y="270"/>
                      <a:pt x="649" y="270"/>
                    </a:cubicBezTo>
                    <a:cubicBezTo>
                      <a:pt x="649" y="270"/>
                      <a:pt x="649" y="270"/>
                      <a:pt x="649" y="270"/>
                    </a:cubicBezTo>
                    <a:cubicBezTo>
                      <a:pt x="648" y="270"/>
                      <a:pt x="648" y="270"/>
                      <a:pt x="648" y="270"/>
                    </a:cubicBezTo>
                    <a:cubicBezTo>
                      <a:pt x="648" y="270"/>
                      <a:pt x="648" y="271"/>
                      <a:pt x="648" y="271"/>
                    </a:cubicBezTo>
                    <a:cubicBezTo>
                      <a:pt x="648" y="271"/>
                      <a:pt x="648" y="271"/>
                      <a:pt x="648" y="271"/>
                    </a:cubicBezTo>
                    <a:cubicBezTo>
                      <a:pt x="648" y="271"/>
                      <a:pt x="648" y="271"/>
                      <a:pt x="648" y="271"/>
                    </a:cubicBezTo>
                    <a:cubicBezTo>
                      <a:pt x="648" y="271"/>
                      <a:pt x="648" y="271"/>
                      <a:pt x="648" y="271"/>
                    </a:cubicBezTo>
                    <a:cubicBezTo>
                      <a:pt x="647" y="272"/>
                      <a:pt x="645" y="273"/>
                      <a:pt x="645" y="273"/>
                    </a:cubicBezTo>
                    <a:cubicBezTo>
                      <a:pt x="645" y="273"/>
                      <a:pt x="645" y="273"/>
                      <a:pt x="645" y="273"/>
                    </a:cubicBezTo>
                    <a:cubicBezTo>
                      <a:pt x="645" y="274"/>
                      <a:pt x="645" y="274"/>
                      <a:pt x="645" y="274"/>
                    </a:cubicBezTo>
                    <a:cubicBezTo>
                      <a:pt x="645" y="274"/>
                      <a:pt x="645" y="274"/>
                      <a:pt x="645" y="274"/>
                    </a:cubicBezTo>
                    <a:cubicBezTo>
                      <a:pt x="644" y="274"/>
                      <a:pt x="644" y="274"/>
                      <a:pt x="644" y="274"/>
                    </a:cubicBezTo>
                    <a:cubicBezTo>
                      <a:pt x="644" y="274"/>
                      <a:pt x="644" y="274"/>
                      <a:pt x="644" y="274"/>
                    </a:cubicBezTo>
                    <a:cubicBezTo>
                      <a:pt x="624" y="282"/>
                      <a:pt x="624" y="282"/>
                      <a:pt x="624" y="282"/>
                    </a:cubicBezTo>
                    <a:cubicBezTo>
                      <a:pt x="625" y="282"/>
                      <a:pt x="625" y="282"/>
                      <a:pt x="625" y="282"/>
                    </a:cubicBezTo>
                    <a:cubicBezTo>
                      <a:pt x="625" y="282"/>
                      <a:pt x="625" y="282"/>
                      <a:pt x="625" y="282"/>
                    </a:cubicBezTo>
                    <a:cubicBezTo>
                      <a:pt x="625" y="282"/>
                      <a:pt x="625" y="282"/>
                      <a:pt x="625" y="282"/>
                    </a:cubicBezTo>
                    <a:cubicBezTo>
                      <a:pt x="625" y="283"/>
                      <a:pt x="625" y="283"/>
                      <a:pt x="625" y="283"/>
                    </a:cubicBezTo>
                    <a:cubicBezTo>
                      <a:pt x="625" y="283"/>
                      <a:pt x="625" y="283"/>
                      <a:pt x="625"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7" y="283"/>
                      <a:pt x="627" y="283"/>
                      <a:pt x="627" y="283"/>
                    </a:cubicBezTo>
                    <a:cubicBezTo>
                      <a:pt x="627" y="283"/>
                      <a:pt x="627" y="283"/>
                      <a:pt x="627" y="283"/>
                    </a:cubicBezTo>
                    <a:cubicBezTo>
                      <a:pt x="627" y="284"/>
                      <a:pt x="627" y="284"/>
                      <a:pt x="627" y="284"/>
                    </a:cubicBezTo>
                    <a:cubicBezTo>
                      <a:pt x="627" y="284"/>
                      <a:pt x="627" y="284"/>
                      <a:pt x="627" y="284"/>
                    </a:cubicBezTo>
                    <a:cubicBezTo>
                      <a:pt x="627" y="285"/>
                      <a:pt x="627" y="285"/>
                      <a:pt x="627" y="285"/>
                    </a:cubicBezTo>
                    <a:cubicBezTo>
                      <a:pt x="627" y="285"/>
                      <a:pt x="627" y="285"/>
                      <a:pt x="627" y="285"/>
                    </a:cubicBezTo>
                    <a:cubicBezTo>
                      <a:pt x="627" y="285"/>
                      <a:pt x="627" y="285"/>
                      <a:pt x="627" y="286"/>
                    </a:cubicBezTo>
                    <a:cubicBezTo>
                      <a:pt x="627" y="286"/>
                      <a:pt x="627" y="286"/>
                      <a:pt x="627" y="286"/>
                    </a:cubicBezTo>
                    <a:cubicBezTo>
                      <a:pt x="628" y="287"/>
                      <a:pt x="628" y="287"/>
                      <a:pt x="628" y="287"/>
                    </a:cubicBezTo>
                    <a:cubicBezTo>
                      <a:pt x="628" y="287"/>
                      <a:pt x="628" y="287"/>
                      <a:pt x="628" y="287"/>
                    </a:cubicBezTo>
                    <a:cubicBezTo>
                      <a:pt x="628" y="287"/>
                      <a:pt x="628" y="287"/>
                      <a:pt x="628" y="287"/>
                    </a:cubicBezTo>
                    <a:cubicBezTo>
                      <a:pt x="628" y="288"/>
                      <a:pt x="628" y="288"/>
                      <a:pt x="628" y="288"/>
                    </a:cubicBezTo>
                    <a:cubicBezTo>
                      <a:pt x="628" y="288"/>
                      <a:pt x="628" y="288"/>
                      <a:pt x="628" y="288"/>
                    </a:cubicBezTo>
                    <a:cubicBezTo>
                      <a:pt x="628" y="288"/>
                      <a:pt x="628" y="288"/>
                      <a:pt x="628" y="288"/>
                    </a:cubicBezTo>
                    <a:cubicBezTo>
                      <a:pt x="629" y="288"/>
                      <a:pt x="629" y="288"/>
                      <a:pt x="629" y="288"/>
                    </a:cubicBezTo>
                    <a:cubicBezTo>
                      <a:pt x="629" y="289"/>
                      <a:pt x="629" y="289"/>
                      <a:pt x="629" y="289"/>
                    </a:cubicBezTo>
                    <a:cubicBezTo>
                      <a:pt x="629" y="289"/>
                      <a:pt x="629" y="289"/>
                      <a:pt x="629" y="289"/>
                    </a:cubicBezTo>
                    <a:cubicBezTo>
                      <a:pt x="629" y="289"/>
                      <a:pt x="629" y="289"/>
                      <a:pt x="629" y="289"/>
                    </a:cubicBezTo>
                    <a:cubicBezTo>
                      <a:pt x="629" y="289"/>
                      <a:pt x="629" y="289"/>
                      <a:pt x="629" y="289"/>
                    </a:cubicBezTo>
                    <a:cubicBezTo>
                      <a:pt x="629" y="289"/>
                      <a:pt x="629" y="289"/>
                      <a:pt x="629"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1" y="289"/>
                      <a:pt x="631" y="289"/>
                      <a:pt x="631" y="289"/>
                    </a:cubicBezTo>
                    <a:cubicBezTo>
                      <a:pt x="631" y="289"/>
                      <a:pt x="631" y="289"/>
                      <a:pt x="631" y="289"/>
                    </a:cubicBezTo>
                    <a:cubicBezTo>
                      <a:pt x="631" y="289"/>
                      <a:pt x="631" y="289"/>
                      <a:pt x="631" y="289"/>
                    </a:cubicBezTo>
                    <a:cubicBezTo>
                      <a:pt x="631" y="289"/>
                      <a:pt x="631" y="289"/>
                      <a:pt x="631" y="289"/>
                    </a:cubicBezTo>
                    <a:cubicBezTo>
                      <a:pt x="631" y="289"/>
                      <a:pt x="631" y="289"/>
                      <a:pt x="631" y="289"/>
                    </a:cubicBezTo>
                    <a:cubicBezTo>
                      <a:pt x="631" y="290"/>
                      <a:pt x="631" y="290"/>
                      <a:pt x="631" y="290"/>
                    </a:cubicBezTo>
                    <a:cubicBezTo>
                      <a:pt x="630" y="290"/>
                      <a:pt x="630" y="290"/>
                      <a:pt x="630" y="290"/>
                    </a:cubicBezTo>
                    <a:cubicBezTo>
                      <a:pt x="630" y="290"/>
                      <a:pt x="630" y="290"/>
                      <a:pt x="630" y="290"/>
                    </a:cubicBezTo>
                    <a:cubicBezTo>
                      <a:pt x="630" y="290"/>
                      <a:pt x="630" y="290"/>
                      <a:pt x="630" y="290"/>
                    </a:cubicBezTo>
                    <a:cubicBezTo>
                      <a:pt x="630" y="290"/>
                      <a:pt x="630" y="290"/>
                      <a:pt x="630" y="290"/>
                    </a:cubicBezTo>
                    <a:cubicBezTo>
                      <a:pt x="630" y="290"/>
                      <a:pt x="630" y="290"/>
                      <a:pt x="630" y="290"/>
                    </a:cubicBezTo>
                    <a:cubicBezTo>
                      <a:pt x="630" y="290"/>
                      <a:pt x="630" y="290"/>
                      <a:pt x="629" y="290"/>
                    </a:cubicBezTo>
                    <a:cubicBezTo>
                      <a:pt x="629" y="290"/>
                      <a:pt x="629" y="290"/>
                      <a:pt x="629" y="290"/>
                    </a:cubicBezTo>
                    <a:cubicBezTo>
                      <a:pt x="629" y="290"/>
                      <a:pt x="629" y="290"/>
                      <a:pt x="629" y="290"/>
                    </a:cubicBezTo>
                    <a:cubicBezTo>
                      <a:pt x="629" y="290"/>
                      <a:pt x="629" y="290"/>
                      <a:pt x="629" y="290"/>
                    </a:cubicBezTo>
                    <a:cubicBezTo>
                      <a:pt x="629" y="290"/>
                      <a:pt x="629" y="290"/>
                      <a:pt x="629" y="290"/>
                    </a:cubicBezTo>
                    <a:cubicBezTo>
                      <a:pt x="630" y="290"/>
                      <a:pt x="630" y="290"/>
                      <a:pt x="630" y="290"/>
                    </a:cubicBezTo>
                    <a:cubicBezTo>
                      <a:pt x="630" y="290"/>
                      <a:pt x="630" y="290"/>
                      <a:pt x="630" y="290"/>
                    </a:cubicBezTo>
                    <a:cubicBezTo>
                      <a:pt x="630" y="290"/>
                      <a:pt x="630" y="290"/>
                      <a:pt x="630" y="290"/>
                    </a:cubicBezTo>
                    <a:cubicBezTo>
                      <a:pt x="630" y="290"/>
                      <a:pt x="630" y="290"/>
                      <a:pt x="630" y="290"/>
                    </a:cubicBezTo>
                    <a:cubicBezTo>
                      <a:pt x="630" y="290"/>
                      <a:pt x="630" y="290"/>
                      <a:pt x="630" y="290"/>
                    </a:cubicBezTo>
                    <a:cubicBezTo>
                      <a:pt x="631" y="290"/>
                      <a:pt x="631" y="290"/>
                      <a:pt x="631" y="290"/>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2" y="291"/>
                      <a:pt x="632" y="291"/>
                      <a:pt x="632" y="291"/>
                    </a:cubicBezTo>
                    <a:cubicBezTo>
                      <a:pt x="632" y="291"/>
                      <a:pt x="632" y="291"/>
                      <a:pt x="632" y="291"/>
                    </a:cubicBezTo>
                    <a:cubicBezTo>
                      <a:pt x="632" y="291"/>
                      <a:pt x="632" y="291"/>
                      <a:pt x="632" y="291"/>
                    </a:cubicBezTo>
                    <a:cubicBezTo>
                      <a:pt x="632" y="291"/>
                      <a:pt x="632" y="291"/>
                      <a:pt x="632" y="291"/>
                    </a:cubicBezTo>
                    <a:cubicBezTo>
                      <a:pt x="632" y="291"/>
                      <a:pt x="632" y="291"/>
                      <a:pt x="632" y="291"/>
                    </a:cubicBezTo>
                    <a:cubicBezTo>
                      <a:pt x="632" y="291"/>
                      <a:pt x="632" y="291"/>
                      <a:pt x="632" y="291"/>
                    </a:cubicBezTo>
                    <a:cubicBezTo>
                      <a:pt x="632" y="291"/>
                      <a:pt x="632" y="291"/>
                      <a:pt x="632" y="291"/>
                    </a:cubicBezTo>
                    <a:cubicBezTo>
                      <a:pt x="632" y="292"/>
                      <a:pt x="632" y="292"/>
                      <a:pt x="632" y="292"/>
                    </a:cubicBezTo>
                    <a:cubicBezTo>
                      <a:pt x="632" y="292"/>
                      <a:pt x="632" y="292"/>
                      <a:pt x="632" y="292"/>
                    </a:cubicBezTo>
                    <a:cubicBezTo>
                      <a:pt x="632" y="292"/>
                      <a:pt x="632" y="292"/>
                      <a:pt x="632"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2" y="292"/>
                      <a:pt x="632" y="293"/>
                    </a:cubicBezTo>
                    <a:cubicBezTo>
                      <a:pt x="632" y="293"/>
                      <a:pt x="632" y="293"/>
                      <a:pt x="632" y="293"/>
                    </a:cubicBezTo>
                    <a:cubicBezTo>
                      <a:pt x="632" y="293"/>
                      <a:pt x="632" y="293"/>
                      <a:pt x="632" y="293"/>
                    </a:cubicBezTo>
                    <a:cubicBezTo>
                      <a:pt x="632" y="293"/>
                      <a:pt x="632" y="293"/>
                      <a:pt x="632" y="293"/>
                    </a:cubicBezTo>
                    <a:cubicBezTo>
                      <a:pt x="631" y="293"/>
                      <a:pt x="631" y="293"/>
                      <a:pt x="631" y="293"/>
                    </a:cubicBezTo>
                    <a:cubicBezTo>
                      <a:pt x="631" y="293"/>
                      <a:pt x="631" y="293"/>
                      <a:pt x="631" y="293"/>
                    </a:cubicBezTo>
                    <a:cubicBezTo>
                      <a:pt x="632" y="293"/>
                      <a:pt x="632" y="293"/>
                      <a:pt x="632" y="293"/>
                    </a:cubicBezTo>
                    <a:cubicBezTo>
                      <a:pt x="632" y="294"/>
                      <a:pt x="632" y="294"/>
                      <a:pt x="633" y="294"/>
                    </a:cubicBezTo>
                    <a:cubicBezTo>
                      <a:pt x="633" y="294"/>
                      <a:pt x="633" y="294"/>
                      <a:pt x="633" y="294"/>
                    </a:cubicBezTo>
                    <a:cubicBezTo>
                      <a:pt x="633" y="294"/>
                      <a:pt x="633" y="294"/>
                      <a:pt x="633" y="294"/>
                    </a:cubicBezTo>
                    <a:cubicBezTo>
                      <a:pt x="633" y="294"/>
                      <a:pt x="633" y="294"/>
                      <a:pt x="633" y="294"/>
                    </a:cubicBezTo>
                    <a:cubicBezTo>
                      <a:pt x="632" y="294"/>
                      <a:pt x="632" y="294"/>
                      <a:pt x="632" y="294"/>
                    </a:cubicBezTo>
                    <a:cubicBezTo>
                      <a:pt x="632" y="294"/>
                      <a:pt x="632" y="294"/>
                      <a:pt x="632" y="294"/>
                    </a:cubicBezTo>
                    <a:cubicBezTo>
                      <a:pt x="631" y="294"/>
                      <a:pt x="631" y="294"/>
                      <a:pt x="631" y="294"/>
                    </a:cubicBezTo>
                    <a:cubicBezTo>
                      <a:pt x="631" y="295"/>
                      <a:pt x="631" y="295"/>
                      <a:pt x="631" y="296"/>
                    </a:cubicBezTo>
                    <a:cubicBezTo>
                      <a:pt x="631" y="296"/>
                      <a:pt x="631" y="296"/>
                      <a:pt x="631" y="296"/>
                    </a:cubicBezTo>
                    <a:cubicBezTo>
                      <a:pt x="631" y="296"/>
                      <a:pt x="631" y="296"/>
                      <a:pt x="631" y="296"/>
                    </a:cubicBezTo>
                    <a:cubicBezTo>
                      <a:pt x="631" y="296"/>
                      <a:pt x="631" y="296"/>
                      <a:pt x="631" y="296"/>
                    </a:cubicBezTo>
                    <a:cubicBezTo>
                      <a:pt x="632" y="296"/>
                      <a:pt x="632" y="295"/>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3" y="297"/>
                      <a:pt x="633" y="297"/>
                      <a:pt x="633" y="297"/>
                    </a:cubicBezTo>
                    <a:cubicBezTo>
                      <a:pt x="633" y="297"/>
                      <a:pt x="633" y="297"/>
                      <a:pt x="633" y="297"/>
                    </a:cubicBezTo>
                    <a:cubicBezTo>
                      <a:pt x="633" y="298"/>
                      <a:pt x="633" y="298"/>
                      <a:pt x="633" y="298"/>
                    </a:cubicBezTo>
                    <a:cubicBezTo>
                      <a:pt x="633" y="298"/>
                      <a:pt x="633" y="298"/>
                      <a:pt x="633" y="298"/>
                    </a:cubicBezTo>
                    <a:cubicBezTo>
                      <a:pt x="633" y="298"/>
                      <a:pt x="633" y="298"/>
                      <a:pt x="633" y="298"/>
                    </a:cubicBezTo>
                    <a:cubicBezTo>
                      <a:pt x="633" y="298"/>
                      <a:pt x="633" y="298"/>
                      <a:pt x="633" y="298"/>
                    </a:cubicBezTo>
                    <a:cubicBezTo>
                      <a:pt x="633" y="298"/>
                      <a:pt x="633" y="298"/>
                      <a:pt x="633" y="298"/>
                    </a:cubicBezTo>
                    <a:cubicBezTo>
                      <a:pt x="632" y="298"/>
                      <a:pt x="632" y="298"/>
                      <a:pt x="632" y="298"/>
                    </a:cubicBezTo>
                    <a:cubicBezTo>
                      <a:pt x="632" y="298"/>
                      <a:pt x="632" y="298"/>
                      <a:pt x="632" y="298"/>
                    </a:cubicBezTo>
                    <a:cubicBezTo>
                      <a:pt x="632" y="298"/>
                      <a:pt x="632" y="298"/>
                      <a:pt x="632" y="298"/>
                    </a:cubicBezTo>
                    <a:cubicBezTo>
                      <a:pt x="632" y="298"/>
                      <a:pt x="632" y="298"/>
                      <a:pt x="632"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9"/>
                      <a:pt x="631" y="299"/>
                      <a:pt x="631" y="299"/>
                    </a:cubicBezTo>
                    <a:cubicBezTo>
                      <a:pt x="631" y="299"/>
                      <a:pt x="631" y="299"/>
                      <a:pt x="631" y="299"/>
                    </a:cubicBezTo>
                    <a:cubicBezTo>
                      <a:pt x="632" y="299"/>
                      <a:pt x="632" y="299"/>
                      <a:pt x="632" y="299"/>
                    </a:cubicBezTo>
                    <a:cubicBezTo>
                      <a:pt x="632" y="299"/>
                      <a:pt x="632" y="299"/>
                      <a:pt x="632" y="300"/>
                    </a:cubicBezTo>
                    <a:cubicBezTo>
                      <a:pt x="632" y="300"/>
                      <a:pt x="632" y="300"/>
                      <a:pt x="632" y="300"/>
                    </a:cubicBezTo>
                    <a:cubicBezTo>
                      <a:pt x="632" y="300"/>
                      <a:pt x="632" y="300"/>
                      <a:pt x="632" y="300"/>
                    </a:cubicBezTo>
                    <a:cubicBezTo>
                      <a:pt x="633" y="300"/>
                      <a:pt x="632" y="301"/>
                      <a:pt x="633" y="302"/>
                    </a:cubicBezTo>
                    <a:cubicBezTo>
                      <a:pt x="633" y="302"/>
                      <a:pt x="633" y="302"/>
                      <a:pt x="633" y="302"/>
                    </a:cubicBezTo>
                    <a:cubicBezTo>
                      <a:pt x="633" y="302"/>
                      <a:pt x="633" y="302"/>
                      <a:pt x="633" y="302"/>
                    </a:cubicBezTo>
                    <a:cubicBezTo>
                      <a:pt x="633" y="302"/>
                      <a:pt x="633" y="302"/>
                      <a:pt x="633" y="302"/>
                    </a:cubicBezTo>
                    <a:cubicBezTo>
                      <a:pt x="633" y="302"/>
                      <a:pt x="633" y="302"/>
                      <a:pt x="633" y="302"/>
                    </a:cubicBezTo>
                    <a:cubicBezTo>
                      <a:pt x="633" y="302"/>
                      <a:pt x="633" y="305"/>
                      <a:pt x="633" y="306"/>
                    </a:cubicBezTo>
                    <a:cubicBezTo>
                      <a:pt x="633" y="306"/>
                      <a:pt x="633" y="306"/>
                      <a:pt x="633" y="306"/>
                    </a:cubicBezTo>
                    <a:cubicBezTo>
                      <a:pt x="633" y="306"/>
                      <a:pt x="633" y="306"/>
                      <a:pt x="633" y="306"/>
                    </a:cubicBezTo>
                    <a:cubicBezTo>
                      <a:pt x="633" y="306"/>
                      <a:pt x="633" y="306"/>
                      <a:pt x="633" y="306"/>
                    </a:cubicBezTo>
                    <a:cubicBezTo>
                      <a:pt x="633" y="306"/>
                      <a:pt x="633" y="306"/>
                      <a:pt x="633" y="306"/>
                    </a:cubicBezTo>
                    <a:cubicBezTo>
                      <a:pt x="633" y="306"/>
                      <a:pt x="633" y="306"/>
                      <a:pt x="633" y="306"/>
                    </a:cubicBezTo>
                    <a:cubicBezTo>
                      <a:pt x="633" y="306"/>
                      <a:pt x="633" y="306"/>
                      <a:pt x="633" y="306"/>
                    </a:cubicBezTo>
                    <a:cubicBezTo>
                      <a:pt x="633" y="305"/>
                      <a:pt x="633" y="305"/>
                      <a:pt x="633" y="305"/>
                    </a:cubicBezTo>
                    <a:cubicBezTo>
                      <a:pt x="633" y="305"/>
                      <a:pt x="633" y="305"/>
                      <a:pt x="633" y="305"/>
                    </a:cubicBezTo>
                    <a:cubicBezTo>
                      <a:pt x="634" y="305"/>
                      <a:pt x="634" y="305"/>
                      <a:pt x="634" y="305"/>
                    </a:cubicBezTo>
                    <a:cubicBezTo>
                      <a:pt x="634" y="305"/>
                      <a:pt x="634" y="305"/>
                      <a:pt x="634" y="305"/>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7"/>
                      <a:pt x="634" y="307"/>
                      <a:pt x="634" y="307"/>
                    </a:cubicBezTo>
                    <a:cubicBezTo>
                      <a:pt x="634" y="307"/>
                      <a:pt x="634" y="307"/>
                      <a:pt x="634" y="307"/>
                    </a:cubicBezTo>
                    <a:cubicBezTo>
                      <a:pt x="634" y="307"/>
                      <a:pt x="634" y="307"/>
                      <a:pt x="634" y="307"/>
                    </a:cubicBezTo>
                    <a:cubicBezTo>
                      <a:pt x="635" y="307"/>
                      <a:pt x="635" y="307"/>
                      <a:pt x="635" y="307"/>
                    </a:cubicBezTo>
                    <a:cubicBezTo>
                      <a:pt x="635" y="307"/>
                      <a:pt x="635" y="307"/>
                      <a:pt x="635" y="307"/>
                    </a:cubicBezTo>
                    <a:cubicBezTo>
                      <a:pt x="635" y="307"/>
                      <a:pt x="635" y="307"/>
                      <a:pt x="635" y="307"/>
                    </a:cubicBezTo>
                    <a:cubicBezTo>
                      <a:pt x="635" y="307"/>
                      <a:pt x="635" y="307"/>
                      <a:pt x="635" y="307"/>
                    </a:cubicBezTo>
                    <a:cubicBezTo>
                      <a:pt x="635" y="308"/>
                      <a:pt x="635" y="308"/>
                      <a:pt x="635" y="308"/>
                    </a:cubicBezTo>
                    <a:cubicBezTo>
                      <a:pt x="635" y="310"/>
                      <a:pt x="635" y="310"/>
                      <a:pt x="635" y="310"/>
                    </a:cubicBezTo>
                    <a:cubicBezTo>
                      <a:pt x="635" y="310"/>
                      <a:pt x="635" y="310"/>
                      <a:pt x="635" y="310"/>
                    </a:cubicBezTo>
                    <a:cubicBezTo>
                      <a:pt x="635" y="311"/>
                      <a:pt x="635" y="311"/>
                      <a:pt x="635" y="311"/>
                    </a:cubicBezTo>
                    <a:cubicBezTo>
                      <a:pt x="635" y="311"/>
                      <a:pt x="635" y="311"/>
                      <a:pt x="635" y="311"/>
                    </a:cubicBezTo>
                    <a:cubicBezTo>
                      <a:pt x="635" y="311"/>
                      <a:pt x="635" y="311"/>
                      <a:pt x="635" y="311"/>
                    </a:cubicBezTo>
                    <a:cubicBezTo>
                      <a:pt x="635" y="311"/>
                      <a:pt x="635" y="311"/>
                      <a:pt x="635" y="311"/>
                    </a:cubicBezTo>
                    <a:cubicBezTo>
                      <a:pt x="635" y="311"/>
                      <a:pt x="635" y="311"/>
                      <a:pt x="635" y="311"/>
                    </a:cubicBezTo>
                    <a:cubicBezTo>
                      <a:pt x="635" y="311"/>
                      <a:pt x="635" y="311"/>
                      <a:pt x="635" y="311"/>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6" y="312"/>
                      <a:pt x="636" y="312"/>
                      <a:pt x="636" y="312"/>
                    </a:cubicBezTo>
                    <a:cubicBezTo>
                      <a:pt x="636" y="312"/>
                      <a:pt x="636" y="312"/>
                      <a:pt x="636" y="312"/>
                    </a:cubicBezTo>
                    <a:cubicBezTo>
                      <a:pt x="636" y="312"/>
                      <a:pt x="636" y="312"/>
                      <a:pt x="636" y="312"/>
                    </a:cubicBezTo>
                    <a:cubicBezTo>
                      <a:pt x="636" y="312"/>
                      <a:pt x="636" y="312"/>
                      <a:pt x="636" y="312"/>
                    </a:cubicBezTo>
                    <a:cubicBezTo>
                      <a:pt x="636" y="312"/>
                      <a:pt x="636" y="312"/>
                      <a:pt x="636" y="312"/>
                    </a:cubicBezTo>
                    <a:cubicBezTo>
                      <a:pt x="636" y="312"/>
                      <a:pt x="636" y="312"/>
                      <a:pt x="636" y="312"/>
                    </a:cubicBezTo>
                    <a:cubicBezTo>
                      <a:pt x="636" y="312"/>
                      <a:pt x="636" y="312"/>
                      <a:pt x="637" y="312"/>
                    </a:cubicBezTo>
                    <a:cubicBezTo>
                      <a:pt x="637" y="312"/>
                      <a:pt x="637" y="312"/>
                      <a:pt x="637" y="312"/>
                    </a:cubicBezTo>
                    <a:cubicBezTo>
                      <a:pt x="637" y="312"/>
                      <a:pt x="637" y="312"/>
                      <a:pt x="637" y="312"/>
                    </a:cubicBezTo>
                    <a:cubicBezTo>
                      <a:pt x="637" y="312"/>
                      <a:pt x="637" y="312"/>
                      <a:pt x="637" y="312"/>
                    </a:cubicBezTo>
                    <a:cubicBezTo>
                      <a:pt x="637" y="312"/>
                      <a:pt x="637" y="312"/>
                      <a:pt x="637" y="312"/>
                    </a:cubicBezTo>
                    <a:cubicBezTo>
                      <a:pt x="637" y="313"/>
                      <a:pt x="637" y="313"/>
                      <a:pt x="637" y="313"/>
                    </a:cubicBezTo>
                    <a:cubicBezTo>
                      <a:pt x="637" y="313"/>
                      <a:pt x="637" y="313"/>
                      <a:pt x="637" y="313"/>
                    </a:cubicBezTo>
                    <a:cubicBezTo>
                      <a:pt x="637" y="313"/>
                      <a:pt x="637" y="313"/>
                      <a:pt x="637" y="313"/>
                    </a:cubicBezTo>
                    <a:cubicBezTo>
                      <a:pt x="637" y="313"/>
                      <a:pt x="637" y="313"/>
                      <a:pt x="637" y="313"/>
                    </a:cubicBezTo>
                    <a:cubicBezTo>
                      <a:pt x="637" y="313"/>
                      <a:pt x="637" y="313"/>
                      <a:pt x="637" y="313"/>
                    </a:cubicBezTo>
                    <a:cubicBezTo>
                      <a:pt x="637" y="313"/>
                      <a:pt x="637" y="313"/>
                      <a:pt x="637" y="313"/>
                    </a:cubicBezTo>
                    <a:cubicBezTo>
                      <a:pt x="637" y="313"/>
                      <a:pt x="637" y="313"/>
                      <a:pt x="637" y="313"/>
                    </a:cubicBezTo>
                    <a:cubicBezTo>
                      <a:pt x="637" y="314"/>
                      <a:pt x="637" y="314"/>
                      <a:pt x="637" y="314"/>
                    </a:cubicBezTo>
                    <a:cubicBezTo>
                      <a:pt x="637" y="314"/>
                      <a:pt x="637" y="314"/>
                      <a:pt x="637" y="314"/>
                    </a:cubicBezTo>
                    <a:cubicBezTo>
                      <a:pt x="637" y="315"/>
                      <a:pt x="637" y="315"/>
                      <a:pt x="637" y="315"/>
                    </a:cubicBezTo>
                    <a:cubicBezTo>
                      <a:pt x="637" y="315"/>
                      <a:pt x="637" y="315"/>
                      <a:pt x="637" y="315"/>
                    </a:cubicBezTo>
                    <a:cubicBezTo>
                      <a:pt x="637" y="316"/>
                      <a:pt x="637" y="315"/>
                      <a:pt x="638" y="316"/>
                    </a:cubicBezTo>
                    <a:cubicBezTo>
                      <a:pt x="638" y="316"/>
                      <a:pt x="638" y="316"/>
                      <a:pt x="638" y="316"/>
                    </a:cubicBezTo>
                    <a:cubicBezTo>
                      <a:pt x="638" y="316"/>
                      <a:pt x="638" y="316"/>
                      <a:pt x="638" y="316"/>
                    </a:cubicBezTo>
                    <a:cubicBezTo>
                      <a:pt x="638" y="316"/>
                      <a:pt x="638" y="316"/>
                      <a:pt x="638" y="316"/>
                    </a:cubicBezTo>
                    <a:cubicBezTo>
                      <a:pt x="637" y="317"/>
                      <a:pt x="637" y="317"/>
                      <a:pt x="637" y="317"/>
                    </a:cubicBezTo>
                    <a:cubicBezTo>
                      <a:pt x="636" y="318"/>
                      <a:pt x="636" y="318"/>
                      <a:pt x="636" y="318"/>
                    </a:cubicBezTo>
                    <a:cubicBezTo>
                      <a:pt x="634" y="321"/>
                      <a:pt x="634" y="321"/>
                      <a:pt x="634" y="321"/>
                    </a:cubicBezTo>
                    <a:cubicBezTo>
                      <a:pt x="633" y="322"/>
                      <a:pt x="633" y="322"/>
                      <a:pt x="633" y="322"/>
                    </a:cubicBezTo>
                    <a:cubicBezTo>
                      <a:pt x="632" y="323"/>
                      <a:pt x="632" y="323"/>
                      <a:pt x="632" y="323"/>
                    </a:cubicBezTo>
                    <a:cubicBezTo>
                      <a:pt x="632" y="323"/>
                      <a:pt x="632" y="323"/>
                      <a:pt x="632" y="323"/>
                    </a:cubicBezTo>
                    <a:cubicBezTo>
                      <a:pt x="632" y="323"/>
                      <a:pt x="632" y="323"/>
                      <a:pt x="632" y="323"/>
                    </a:cubicBezTo>
                    <a:cubicBezTo>
                      <a:pt x="633" y="324"/>
                      <a:pt x="632" y="324"/>
                      <a:pt x="633" y="324"/>
                    </a:cubicBezTo>
                    <a:cubicBezTo>
                      <a:pt x="633" y="325"/>
                      <a:pt x="633" y="324"/>
                      <a:pt x="633" y="325"/>
                    </a:cubicBezTo>
                    <a:cubicBezTo>
                      <a:pt x="633" y="325"/>
                      <a:pt x="633" y="325"/>
                      <a:pt x="633" y="325"/>
                    </a:cubicBezTo>
                    <a:cubicBezTo>
                      <a:pt x="633" y="325"/>
                      <a:pt x="633" y="325"/>
                      <a:pt x="633" y="325"/>
                    </a:cubicBezTo>
                    <a:cubicBezTo>
                      <a:pt x="633" y="325"/>
                      <a:pt x="633" y="325"/>
                      <a:pt x="633" y="325"/>
                    </a:cubicBezTo>
                    <a:cubicBezTo>
                      <a:pt x="633" y="325"/>
                      <a:pt x="633" y="325"/>
                      <a:pt x="633" y="325"/>
                    </a:cubicBezTo>
                    <a:cubicBezTo>
                      <a:pt x="633" y="325"/>
                      <a:pt x="633" y="325"/>
                      <a:pt x="633" y="325"/>
                    </a:cubicBezTo>
                    <a:cubicBezTo>
                      <a:pt x="633" y="324"/>
                      <a:pt x="633" y="324"/>
                      <a:pt x="633" y="324"/>
                    </a:cubicBezTo>
                    <a:cubicBezTo>
                      <a:pt x="633" y="324"/>
                      <a:pt x="633" y="324"/>
                      <a:pt x="633" y="324"/>
                    </a:cubicBezTo>
                    <a:cubicBezTo>
                      <a:pt x="634" y="324"/>
                      <a:pt x="633" y="325"/>
                      <a:pt x="634" y="325"/>
                    </a:cubicBezTo>
                    <a:cubicBezTo>
                      <a:pt x="634" y="325"/>
                      <a:pt x="634" y="325"/>
                      <a:pt x="634" y="325"/>
                    </a:cubicBezTo>
                    <a:cubicBezTo>
                      <a:pt x="634" y="325"/>
                      <a:pt x="634" y="325"/>
                      <a:pt x="634" y="325"/>
                    </a:cubicBezTo>
                    <a:cubicBezTo>
                      <a:pt x="634" y="325"/>
                      <a:pt x="634" y="325"/>
                      <a:pt x="634" y="325"/>
                    </a:cubicBezTo>
                    <a:cubicBezTo>
                      <a:pt x="634" y="325"/>
                      <a:pt x="634" y="325"/>
                      <a:pt x="634" y="325"/>
                    </a:cubicBezTo>
                    <a:cubicBezTo>
                      <a:pt x="634" y="325"/>
                      <a:pt x="634" y="326"/>
                      <a:pt x="634" y="326"/>
                    </a:cubicBezTo>
                    <a:cubicBezTo>
                      <a:pt x="634" y="326"/>
                      <a:pt x="634" y="326"/>
                      <a:pt x="634" y="326"/>
                    </a:cubicBezTo>
                    <a:cubicBezTo>
                      <a:pt x="634" y="326"/>
                      <a:pt x="634" y="326"/>
                      <a:pt x="634" y="326"/>
                    </a:cubicBezTo>
                    <a:cubicBezTo>
                      <a:pt x="634" y="326"/>
                      <a:pt x="635" y="326"/>
                      <a:pt x="635" y="326"/>
                    </a:cubicBezTo>
                    <a:cubicBezTo>
                      <a:pt x="635" y="326"/>
                      <a:pt x="635" y="326"/>
                      <a:pt x="635" y="326"/>
                    </a:cubicBezTo>
                    <a:cubicBezTo>
                      <a:pt x="635" y="326"/>
                      <a:pt x="635" y="326"/>
                      <a:pt x="635" y="326"/>
                    </a:cubicBezTo>
                    <a:cubicBezTo>
                      <a:pt x="635" y="326"/>
                      <a:pt x="635" y="326"/>
                      <a:pt x="635" y="326"/>
                    </a:cubicBezTo>
                    <a:cubicBezTo>
                      <a:pt x="635" y="327"/>
                      <a:pt x="635" y="327"/>
                      <a:pt x="635" y="327"/>
                    </a:cubicBezTo>
                    <a:cubicBezTo>
                      <a:pt x="634" y="327"/>
                      <a:pt x="634" y="327"/>
                      <a:pt x="634" y="327"/>
                    </a:cubicBezTo>
                    <a:cubicBezTo>
                      <a:pt x="633" y="328"/>
                      <a:pt x="633" y="328"/>
                      <a:pt x="633" y="328"/>
                    </a:cubicBezTo>
                    <a:cubicBezTo>
                      <a:pt x="633" y="328"/>
                      <a:pt x="633" y="328"/>
                      <a:pt x="633" y="328"/>
                    </a:cubicBezTo>
                    <a:cubicBezTo>
                      <a:pt x="633" y="328"/>
                      <a:pt x="633" y="328"/>
                      <a:pt x="633" y="328"/>
                    </a:cubicBezTo>
                    <a:cubicBezTo>
                      <a:pt x="633" y="328"/>
                      <a:pt x="633" y="328"/>
                      <a:pt x="633" y="328"/>
                    </a:cubicBezTo>
                    <a:cubicBezTo>
                      <a:pt x="634" y="328"/>
                      <a:pt x="634" y="328"/>
                      <a:pt x="634" y="328"/>
                    </a:cubicBezTo>
                    <a:cubicBezTo>
                      <a:pt x="634" y="328"/>
                      <a:pt x="634" y="328"/>
                      <a:pt x="634" y="328"/>
                    </a:cubicBezTo>
                    <a:cubicBezTo>
                      <a:pt x="634" y="328"/>
                      <a:pt x="634" y="328"/>
                      <a:pt x="634" y="328"/>
                    </a:cubicBezTo>
                    <a:cubicBezTo>
                      <a:pt x="634" y="328"/>
                      <a:pt x="634" y="328"/>
                      <a:pt x="634" y="328"/>
                    </a:cubicBezTo>
                    <a:cubicBezTo>
                      <a:pt x="634" y="328"/>
                      <a:pt x="634" y="328"/>
                      <a:pt x="634" y="328"/>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2" y="328"/>
                      <a:pt x="632" y="328"/>
                    </a:cubicBezTo>
                    <a:cubicBezTo>
                      <a:pt x="632" y="328"/>
                      <a:pt x="632" y="328"/>
                      <a:pt x="632" y="328"/>
                    </a:cubicBezTo>
                    <a:cubicBezTo>
                      <a:pt x="632" y="328"/>
                      <a:pt x="632" y="328"/>
                      <a:pt x="632" y="328"/>
                    </a:cubicBezTo>
                    <a:cubicBezTo>
                      <a:pt x="632" y="328"/>
                      <a:pt x="632" y="328"/>
                      <a:pt x="632" y="328"/>
                    </a:cubicBezTo>
                    <a:cubicBezTo>
                      <a:pt x="632" y="328"/>
                      <a:pt x="632" y="328"/>
                      <a:pt x="632" y="328"/>
                    </a:cubicBezTo>
                    <a:cubicBezTo>
                      <a:pt x="632" y="328"/>
                      <a:pt x="632" y="328"/>
                      <a:pt x="632" y="328"/>
                    </a:cubicBezTo>
                    <a:cubicBezTo>
                      <a:pt x="632" y="327"/>
                      <a:pt x="632" y="327"/>
                      <a:pt x="632" y="327"/>
                    </a:cubicBezTo>
                    <a:cubicBezTo>
                      <a:pt x="632" y="327"/>
                      <a:pt x="632" y="327"/>
                      <a:pt x="632" y="327"/>
                    </a:cubicBezTo>
                    <a:cubicBezTo>
                      <a:pt x="632" y="327"/>
                      <a:pt x="632" y="327"/>
                      <a:pt x="632" y="327"/>
                    </a:cubicBezTo>
                    <a:cubicBezTo>
                      <a:pt x="632" y="327"/>
                      <a:pt x="632" y="327"/>
                      <a:pt x="632" y="326"/>
                    </a:cubicBezTo>
                    <a:cubicBezTo>
                      <a:pt x="632" y="326"/>
                      <a:pt x="632" y="326"/>
                      <a:pt x="632" y="326"/>
                    </a:cubicBezTo>
                    <a:cubicBezTo>
                      <a:pt x="632" y="326"/>
                      <a:pt x="632" y="326"/>
                      <a:pt x="632" y="326"/>
                    </a:cubicBezTo>
                    <a:cubicBezTo>
                      <a:pt x="631" y="326"/>
                      <a:pt x="631" y="326"/>
                      <a:pt x="630" y="325"/>
                    </a:cubicBezTo>
                    <a:cubicBezTo>
                      <a:pt x="630" y="325"/>
                      <a:pt x="630" y="325"/>
                      <a:pt x="630" y="325"/>
                    </a:cubicBezTo>
                    <a:cubicBezTo>
                      <a:pt x="630" y="325"/>
                      <a:pt x="630" y="325"/>
                      <a:pt x="630" y="325"/>
                    </a:cubicBezTo>
                    <a:cubicBezTo>
                      <a:pt x="629" y="325"/>
                      <a:pt x="629" y="325"/>
                      <a:pt x="629" y="325"/>
                    </a:cubicBezTo>
                    <a:cubicBezTo>
                      <a:pt x="629" y="325"/>
                      <a:pt x="629" y="325"/>
                      <a:pt x="629" y="325"/>
                    </a:cubicBezTo>
                    <a:cubicBezTo>
                      <a:pt x="630" y="325"/>
                      <a:pt x="630" y="325"/>
                      <a:pt x="630" y="325"/>
                    </a:cubicBezTo>
                    <a:cubicBezTo>
                      <a:pt x="630" y="324"/>
                      <a:pt x="630" y="324"/>
                      <a:pt x="630" y="324"/>
                    </a:cubicBezTo>
                    <a:cubicBezTo>
                      <a:pt x="630" y="324"/>
                      <a:pt x="630" y="324"/>
                      <a:pt x="630" y="324"/>
                    </a:cubicBezTo>
                    <a:cubicBezTo>
                      <a:pt x="629" y="325"/>
                      <a:pt x="629" y="325"/>
                      <a:pt x="629" y="325"/>
                    </a:cubicBezTo>
                    <a:cubicBezTo>
                      <a:pt x="629" y="325"/>
                      <a:pt x="629" y="325"/>
                      <a:pt x="629" y="325"/>
                    </a:cubicBezTo>
                    <a:cubicBezTo>
                      <a:pt x="626" y="327"/>
                      <a:pt x="626" y="327"/>
                      <a:pt x="626"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8"/>
                      <a:pt x="625" y="328"/>
                      <a:pt x="625" y="328"/>
                    </a:cubicBezTo>
                    <a:cubicBezTo>
                      <a:pt x="625" y="328"/>
                      <a:pt x="625" y="328"/>
                      <a:pt x="625" y="328"/>
                    </a:cubicBezTo>
                    <a:cubicBezTo>
                      <a:pt x="625" y="329"/>
                      <a:pt x="625" y="329"/>
                      <a:pt x="625" y="329"/>
                    </a:cubicBezTo>
                    <a:cubicBezTo>
                      <a:pt x="625" y="329"/>
                      <a:pt x="625" y="329"/>
                      <a:pt x="625" y="329"/>
                    </a:cubicBezTo>
                    <a:cubicBezTo>
                      <a:pt x="625" y="329"/>
                      <a:pt x="625" y="329"/>
                      <a:pt x="625" y="329"/>
                    </a:cubicBezTo>
                    <a:cubicBezTo>
                      <a:pt x="625" y="330"/>
                      <a:pt x="624" y="330"/>
                      <a:pt x="624" y="330"/>
                    </a:cubicBezTo>
                    <a:cubicBezTo>
                      <a:pt x="625" y="331"/>
                      <a:pt x="625" y="331"/>
                      <a:pt x="625" y="331"/>
                    </a:cubicBezTo>
                    <a:cubicBezTo>
                      <a:pt x="625" y="331"/>
                      <a:pt x="625" y="331"/>
                      <a:pt x="625" y="331"/>
                    </a:cubicBezTo>
                    <a:cubicBezTo>
                      <a:pt x="626" y="333"/>
                      <a:pt x="626" y="333"/>
                      <a:pt x="626" y="333"/>
                    </a:cubicBezTo>
                    <a:cubicBezTo>
                      <a:pt x="627" y="334"/>
                      <a:pt x="627" y="334"/>
                      <a:pt x="627" y="334"/>
                    </a:cubicBezTo>
                    <a:cubicBezTo>
                      <a:pt x="628" y="334"/>
                      <a:pt x="628" y="335"/>
                      <a:pt x="628" y="335"/>
                    </a:cubicBezTo>
                    <a:cubicBezTo>
                      <a:pt x="628" y="335"/>
                      <a:pt x="628" y="335"/>
                      <a:pt x="628" y="335"/>
                    </a:cubicBezTo>
                    <a:cubicBezTo>
                      <a:pt x="628" y="335"/>
                      <a:pt x="628" y="335"/>
                      <a:pt x="628" y="335"/>
                    </a:cubicBezTo>
                    <a:cubicBezTo>
                      <a:pt x="628" y="335"/>
                      <a:pt x="628" y="336"/>
                      <a:pt x="629" y="336"/>
                    </a:cubicBezTo>
                    <a:cubicBezTo>
                      <a:pt x="629" y="336"/>
                      <a:pt x="629" y="336"/>
                      <a:pt x="629" y="336"/>
                    </a:cubicBezTo>
                    <a:cubicBezTo>
                      <a:pt x="629" y="336"/>
                      <a:pt x="629" y="336"/>
                      <a:pt x="629" y="336"/>
                    </a:cubicBezTo>
                    <a:cubicBezTo>
                      <a:pt x="629" y="336"/>
                      <a:pt x="629" y="336"/>
                      <a:pt x="629" y="336"/>
                    </a:cubicBezTo>
                    <a:cubicBezTo>
                      <a:pt x="628" y="336"/>
                      <a:pt x="628" y="336"/>
                      <a:pt x="628" y="336"/>
                    </a:cubicBezTo>
                    <a:cubicBezTo>
                      <a:pt x="628" y="336"/>
                      <a:pt x="628" y="336"/>
                      <a:pt x="628" y="336"/>
                    </a:cubicBezTo>
                    <a:cubicBezTo>
                      <a:pt x="626" y="333"/>
                      <a:pt x="626" y="333"/>
                      <a:pt x="626" y="333"/>
                    </a:cubicBezTo>
                    <a:cubicBezTo>
                      <a:pt x="624" y="331"/>
                      <a:pt x="624" y="331"/>
                      <a:pt x="624" y="331"/>
                    </a:cubicBezTo>
                    <a:cubicBezTo>
                      <a:pt x="624" y="331"/>
                      <a:pt x="624" y="331"/>
                      <a:pt x="624" y="331"/>
                    </a:cubicBezTo>
                    <a:cubicBezTo>
                      <a:pt x="624" y="331"/>
                      <a:pt x="624" y="331"/>
                      <a:pt x="624" y="331"/>
                    </a:cubicBezTo>
                    <a:cubicBezTo>
                      <a:pt x="623" y="331"/>
                      <a:pt x="623" y="331"/>
                      <a:pt x="623" y="331"/>
                    </a:cubicBezTo>
                    <a:cubicBezTo>
                      <a:pt x="623" y="331"/>
                      <a:pt x="623" y="331"/>
                      <a:pt x="623" y="331"/>
                    </a:cubicBezTo>
                    <a:cubicBezTo>
                      <a:pt x="623" y="331"/>
                      <a:pt x="623" y="330"/>
                      <a:pt x="623" y="330"/>
                    </a:cubicBezTo>
                    <a:cubicBezTo>
                      <a:pt x="623" y="330"/>
                      <a:pt x="623" y="330"/>
                      <a:pt x="623" y="330"/>
                    </a:cubicBezTo>
                    <a:cubicBezTo>
                      <a:pt x="623" y="330"/>
                      <a:pt x="623" y="330"/>
                      <a:pt x="623" y="330"/>
                    </a:cubicBezTo>
                    <a:cubicBezTo>
                      <a:pt x="623" y="330"/>
                      <a:pt x="623" y="330"/>
                      <a:pt x="623" y="330"/>
                    </a:cubicBezTo>
                    <a:cubicBezTo>
                      <a:pt x="622" y="330"/>
                      <a:pt x="622" y="329"/>
                      <a:pt x="621" y="329"/>
                    </a:cubicBezTo>
                    <a:cubicBezTo>
                      <a:pt x="621" y="329"/>
                      <a:pt x="621" y="329"/>
                      <a:pt x="621" y="329"/>
                    </a:cubicBezTo>
                    <a:cubicBezTo>
                      <a:pt x="621" y="329"/>
                      <a:pt x="621" y="329"/>
                      <a:pt x="621" y="329"/>
                    </a:cubicBezTo>
                    <a:cubicBezTo>
                      <a:pt x="621" y="329"/>
                      <a:pt x="621" y="329"/>
                      <a:pt x="621" y="329"/>
                    </a:cubicBezTo>
                    <a:cubicBezTo>
                      <a:pt x="621" y="329"/>
                      <a:pt x="621" y="329"/>
                      <a:pt x="621" y="329"/>
                    </a:cubicBezTo>
                    <a:cubicBezTo>
                      <a:pt x="621" y="329"/>
                      <a:pt x="621" y="329"/>
                      <a:pt x="621" y="329"/>
                    </a:cubicBezTo>
                    <a:cubicBezTo>
                      <a:pt x="621" y="329"/>
                      <a:pt x="621" y="329"/>
                      <a:pt x="621" y="329"/>
                    </a:cubicBezTo>
                    <a:cubicBezTo>
                      <a:pt x="620" y="329"/>
                      <a:pt x="620" y="329"/>
                      <a:pt x="620" y="329"/>
                    </a:cubicBezTo>
                    <a:cubicBezTo>
                      <a:pt x="620" y="329"/>
                      <a:pt x="620" y="329"/>
                      <a:pt x="620" y="329"/>
                    </a:cubicBezTo>
                    <a:cubicBezTo>
                      <a:pt x="620" y="329"/>
                      <a:pt x="620" y="329"/>
                      <a:pt x="619" y="329"/>
                    </a:cubicBezTo>
                    <a:cubicBezTo>
                      <a:pt x="619" y="329"/>
                      <a:pt x="619" y="329"/>
                      <a:pt x="619" y="329"/>
                    </a:cubicBezTo>
                    <a:cubicBezTo>
                      <a:pt x="619" y="329"/>
                      <a:pt x="619" y="329"/>
                      <a:pt x="619" y="329"/>
                    </a:cubicBezTo>
                    <a:cubicBezTo>
                      <a:pt x="619" y="329"/>
                      <a:pt x="619" y="329"/>
                      <a:pt x="619" y="329"/>
                    </a:cubicBezTo>
                    <a:cubicBezTo>
                      <a:pt x="619" y="329"/>
                      <a:pt x="619" y="329"/>
                      <a:pt x="619" y="329"/>
                    </a:cubicBezTo>
                    <a:cubicBezTo>
                      <a:pt x="619" y="329"/>
                      <a:pt x="619" y="329"/>
                      <a:pt x="618" y="328"/>
                    </a:cubicBezTo>
                    <a:cubicBezTo>
                      <a:pt x="618" y="328"/>
                      <a:pt x="618" y="328"/>
                      <a:pt x="618" y="328"/>
                    </a:cubicBezTo>
                    <a:cubicBezTo>
                      <a:pt x="618" y="328"/>
                      <a:pt x="618" y="328"/>
                      <a:pt x="618" y="328"/>
                    </a:cubicBezTo>
                    <a:cubicBezTo>
                      <a:pt x="618" y="328"/>
                      <a:pt x="618" y="328"/>
                      <a:pt x="617" y="328"/>
                    </a:cubicBezTo>
                    <a:cubicBezTo>
                      <a:pt x="617" y="328"/>
                      <a:pt x="617" y="328"/>
                      <a:pt x="617" y="328"/>
                    </a:cubicBezTo>
                    <a:cubicBezTo>
                      <a:pt x="617" y="328"/>
                      <a:pt x="617" y="328"/>
                      <a:pt x="617" y="328"/>
                    </a:cubicBezTo>
                    <a:cubicBezTo>
                      <a:pt x="617" y="329"/>
                      <a:pt x="617" y="329"/>
                      <a:pt x="617" y="329"/>
                    </a:cubicBezTo>
                    <a:cubicBezTo>
                      <a:pt x="617" y="329"/>
                      <a:pt x="617" y="329"/>
                      <a:pt x="617" y="329"/>
                    </a:cubicBezTo>
                    <a:cubicBezTo>
                      <a:pt x="617" y="329"/>
                      <a:pt x="617" y="329"/>
                      <a:pt x="617" y="329"/>
                    </a:cubicBezTo>
                    <a:cubicBezTo>
                      <a:pt x="617" y="329"/>
                      <a:pt x="617" y="329"/>
                      <a:pt x="617" y="329"/>
                    </a:cubicBezTo>
                    <a:cubicBezTo>
                      <a:pt x="617" y="329"/>
                      <a:pt x="617" y="329"/>
                      <a:pt x="617" y="329"/>
                    </a:cubicBezTo>
                    <a:cubicBezTo>
                      <a:pt x="617" y="329"/>
                      <a:pt x="616" y="329"/>
                      <a:pt x="616" y="329"/>
                    </a:cubicBezTo>
                    <a:cubicBezTo>
                      <a:pt x="616" y="330"/>
                      <a:pt x="616" y="330"/>
                      <a:pt x="616" y="330"/>
                    </a:cubicBezTo>
                    <a:cubicBezTo>
                      <a:pt x="616" y="330"/>
                      <a:pt x="616" y="330"/>
                      <a:pt x="616" y="330"/>
                    </a:cubicBezTo>
                    <a:cubicBezTo>
                      <a:pt x="616" y="330"/>
                      <a:pt x="616" y="330"/>
                      <a:pt x="616" y="330"/>
                    </a:cubicBezTo>
                    <a:cubicBezTo>
                      <a:pt x="616" y="330"/>
                      <a:pt x="616" y="330"/>
                      <a:pt x="615" y="330"/>
                    </a:cubicBezTo>
                    <a:cubicBezTo>
                      <a:pt x="615" y="330"/>
                      <a:pt x="615" y="330"/>
                      <a:pt x="615" y="330"/>
                    </a:cubicBezTo>
                    <a:cubicBezTo>
                      <a:pt x="615" y="330"/>
                      <a:pt x="615" y="330"/>
                      <a:pt x="615" y="330"/>
                    </a:cubicBezTo>
                    <a:cubicBezTo>
                      <a:pt x="615" y="330"/>
                      <a:pt x="615" y="330"/>
                      <a:pt x="615" y="331"/>
                    </a:cubicBezTo>
                    <a:cubicBezTo>
                      <a:pt x="615" y="331"/>
                      <a:pt x="615" y="331"/>
                      <a:pt x="615" y="331"/>
                    </a:cubicBezTo>
                    <a:cubicBezTo>
                      <a:pt x="615" y="331"/>
                      <a:pt x="615" y="331"/>
                      <a:pt x="615" y="331"/>
                    </a:cubicBezTo>
                    <a:cubicBezTo>
                      <a:pt x="615" y="331"/>
                      <a:pt x="615" y="331"/>
                      <a:pt x="615" y="331"/>
                    </a:cubicBezTo>
                    <a:cubicBezTo>
                      <a:pt x="615" y="331"/>
                      <a:pt x="615" y="331"/>
                      <a:pt x="615" y="331"/>
                    </a:cubicBezTo>
                    <a:cubicBezTo>
                      <a:pt x="614" y="331"/>
                      <a:pt x="614" y="331"/>
                      <a:pt x="614" y="331"/>
                    </a:cubicBezTo>
                    <a:cubicBezTo>
                      <a:pt x="614" y="331"/>
                      <a:pt x="614" y="331"/>
                      <a:pt x="614" y="331"/>
                    </a:cubicBezTo>
                    <a:cubicBezTo>
                      <a:pt x="614" y="331"/>
                      <a:pt x="614" y="331"/>
                      <a:pt x="614" y="331"/>
                    </a:cubicBezTo>
                    <a:cubicBezTo>
                      <a:pt x="614" y="331"/>
                      <a:pt x="614" y="331"/>
                      <a:pt x="614" y="331"/>
                    </a:cubicBezTo>
                    <a:cubicBezTo>
                      <a:pt x="614" y="331"/>
                      <a:pt x="614" y="331"/>
                      <a:pt x="614" y="331"/>
                    </a:cubicBezTo>
                    <a:cubicBezTo>
                      <a:pt x="613" y="331"/>
                      <a:pt x="613" y="331"/>
                      <a:pt x="613" y="331"/>
                    </a:cubicBezTo>
                    <a:cubicBezTo>
                      <a:pt x="613" y="331"/>
                      <a:pt x="613" y="331"/>
                      <a:pt x="613" y="331"/>
                    </a:cubicBezTo>
                    <a:cubicBezTo>
                      <a:pt x="613" y="331"/>
                      <a:pt x="613" y="331"/>
                      <a:pt x="613" y="331"/>
                    </a:cubicBezTo>
                    <a:cubicBezTo>
                      <a:pt x="613" y="332"/>
                      <a:pt x="613" y="332"/>
                      <a:pt x="613" y="332"/>
                    </a:cubicBezTo>
                    <a:cubicBezTo>
                      <a:pt x="613" y="332"/>
                      <a:pt x="613" y="332"/>
                      <a:pt x="613" y="332"/>
                    </a:cubicBezTo>
                    <a:cubicBezTo>
                      <a:pt x="613" y="332"/>
                      <a:pt x="613" y="332"/>
                      <a:pt x="613" y="332"/>
                    </a:cubicBezTo>
                    <a:cubicBezTo>
                      <a:pt x="613" y="332"/>
                      <a:pt x="613" y="332"/>
                      <a:pt x="613" y="332"/>
                    </a:cubicBezTo>
                    <a:cubicBezTo>
                      <a:pt x="613" y="332"/>
                      <a:pt x="613" y="332"/>
                      <a:pt x="613" y="332"/>
                    </a:cubicBezTo>
                    <a:cubicBezTo>
                      <a:pt x="612" y="332"/>
                      <a:pt x="612" y="332"/>
                      <a:pt x="612" y="332"/>
                    </a:cubicBezTo>
                    <a:cubicBezTo>
                      <a:pt x="612" y="332"/>
                      <a:pt x="612" y="332"/>
                      <a:pt x="612" y="332"/>
                    </a:cubicBezTo>
                    <a:cubicBezTo>
                      <a:pt x="612" y="333"/>
                      <a:pt x="612" y="333"/>
                      <a:pt x="612" y="333"/>
                    </a:cubicBezTo>
                    <a:cubicBezTo>
                      <a:pt x="612" y="333"/>
                      <a:pt x="612" y="333"/>
                      <a:pt x="612" y="333"/>
                    </a:cubicBezTo>
                    <a:cubicBezTo>
                      <a:pt x="612" y="333"/>
                      <a:pt x="612" y="333"/>
                      <a:pt x="612" y="333"/>
                    </a:cubicBezTo>
                    <a:cubicBezTo>
                      <a:pt x="612" y="333"/>
                      <a:pt x="612" y="333"/>
                      <a:pt x="612" y="333"/>
                    </a:cubicBezTo>
                    <a:cubicBezTo>
                      <a:pt x="612" y="333"/>
                      <a:pt x="612" y="333"/>
                      <a:pt x="612" y="333"/>
                    </a:cubicBezTo>
                    <a:cubicBezTo>
                      <a:pt x="612" y="333"/>
                      <a:pt x="612" y="333"/>
                      <a:pt x="612" y="333"/>
                    </a:cubicBezTo>
                    <a:cubicBezTo>
                      <a:pt x="612" y="333"/>
                      <a:pt x="612" y="333"/>
                      <a:pt x="612" y="333"/>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3" y="332"/>
                      <a:pt x="613" y="331"/>
                      <a:pt x="613" y="331"/>
                    </a:cubicBezTo>
                    <a:cubicBezTo>
                      <a:pt x="613" y="331"/>
                      <a:pt x="613" y="331"/>
                      <a:pt x="613" y="331"/>
                    </a:cubicBezTo>
                    <a:cubicBezTo>
                      <a:pt x="613" y="331"/>
                      <a:pt x="613" y="331"/>
                      <a:pt x="613" y="331"/>
                    </a:cubicBezTo>
                    <a:cubicBezTo>
                      <a:pt x="613" y="331"/>
                      <a:pt x="614" y="331"/>
                      <a:pt x="614" y="330"/>
                    </a:cubicBezTo>
                    <a:cubicBezTo>
                      <a:pt x="614" y="330"/>
                      <a:pt x="614" y="330"/>
                      <a:pt x="614" y="330"/>
                    </a:cubicBezTo>
                    <a:cubicBezTo>
                      <a:pt x="614" y="330"/>
                      <a:pt x="614" y="330"/>
                      <a:pt x="614" y="330"/>
                    </a:cubicBezTo>
                    <a:cubicBezTo>
                      <a:pt x="614" y="330"/>
                      <a:pt x="614" y="330"/>
                      <a:pt x="614" y="330"/>
                    </a:cubicBezTo>
                    <a:cubicBezTo>
                      <a:pt x="615" y="329"/>
                      <a:pt x="615" y="329"/>
                      <a:pt x="616" y="329"/>
                    </a:cubicBezTo>
                    <a:cubicBezTo>
                      <a:pt x="616" y="329"/>
                      <a:pt x="616" y="329"/>
                      <a:pt x="616" y="329"/>
                    </a:cubicBezTo>
                    <a:cubicBezTo>
                      <a:pt x="616" y="329"/>
                      <a:pt x="616" y="329"/>
                      <a:pt x="616" y="329"/>
                    </a:cubicBezTo>
                    <a:cubicBezTo>
                      <a:pt x="616" y="329"/>
                      <a:pt x="616" y="329"/>
                      <a:pt x="616" y="329"/>
                    </a:cubicBezTo>
                    <a:cubicBezTo>
                      <a:pt x="616" y="329"/>
                      <a:pt x="616" y="329"/>
                      <a:pt x="616" y="329"/>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7"/>
                      <a:pt x="617" y="327"/>
                      <a:pt x="617" y="327"/>
                    </a:cubicBezTo>
                    <a:cubicBezTo>
                      <a:pt x="617" y="327"/>
                      <a:pt x="617" y="327"/>
                      <a:pt x="617" y="327"/>
                    </a:cubicBezTo>
                    <a:cubicBezTo>
                      <a:pt x="617" y="327"/>
                      <a:pt x="617" y="327"/>
                      <a:pt x="617" y="327"/>
                    </a:cubicBezTo>
                    <a:cubicBezTo>
                      <a:pt x="617" y="327"/>
                      <a:pt x="617" y="327"/>
                      <a:pt x="617" y="327"/>
                    </a:cubicBezTo>
                    <a:cubicBezTo>
                      <a:pt x="617" y="326"/>
                      <a:pt x="617" y="326"/>
                      <a:pt x="617" y="326"/>
                    </a:cubicBezTo>
                    <a:cubicBezTo>
                      <a:pt x="617" y="325"/>
                      <a:pt x="617" y="325"/>
                      <a:pt x="617" y="325"/>
                    </a:cubicBezTo>
                    <a:cubicBezTo>
                      <a:pt x="615" y="323"/>
                      <a:pt x="615" y="323"/>
                      <a:pt x="615" y="323"/>
                    </a:cubicBezTo>
                    <a:cubicBezTo>
                      <a:pt x="615" y="322"/>
                      <a:pt x="615" y="322"/>
                      <a:pt x="615" y="322"/>
                    </a:cubicBezTo>
                    <a:cubicBezTo>
                      <a:pt x="614" y="322"/>
                      <a:pt x="614" y="322"/>
                      <a:pt x="614" y="322"/>
                    </a:cubicBezTo>
                    <a:cubicBezTo>
                      <a:pt x="614" y="322"/>
                      <a:pt x="614" y="322"/>
                      <a:pt x="614" y="322"/>
                    </a:cubicBezTo>
                    <a:cubicBezTo>
                      <a:pt x="614" y="322"/>
                      <a:pt x="614" y="322"/>
                      <a:pt x="614" y="322"/>
                    </a:cubicBezTo>
                    <a:cubicBezTo>
                      <a:pt x="614" y="322"/>
                      <a:pt x="614" y="322"/>
                      <a:pt x="614" y="322"/>
                    </a:cubicBezTo>
                    <a:cubicBezTo>
                      <a:pt x="614" y="322"/>
                      <a:pt x="614" y="322"/>
                      <a:pt x="614" y="322"/>
                    </a:cubicBezTo>
                    <a:cubicBezTo>
                      <a:pt x="614" y="321"/>
                      <a:pt x="614" y="321"/>
                      <a:pt x="614" y="321"/>
                    </a:cubicBezTo>
                    <a:cubicBezTo>
                      <a:pt x="614" y="321"/>
                      <a:pt x="614" y="321"/>
                      <a:pt x="614" y="321"/>
                    </a:cubicBezTo>
                    <a:cubicBezTo>
                      <a:pt x="614" y="321"/>
                      <a:pt x="614" y="321"/>
                      <a:pt x="614" y="321"/>
                    </a:cubicBezTo>
                    <a:cubicBezTo>
                      <a:pt x="614" y="321"/>
                      <a:pt x="614" y="321"/>
                      <a:pt x="614" y="321"/>
                    </a:cubicBezTo>
                    <a:cubicBezTo>
                      <a:pt x="614" y="321"/>
                      <a:pt x="614" y="321"/>
                      <a:pt x="614" y="321"/>
                    </a:cubicBezTo>
                    <a:cubicBezTo>
                      <a:pt x="614" y="321"/>
                      <a:pt x="614" y="321"/>
                      <a:pt x="614" y="321"/>
                    </a:cubicBezTo>
                    <a:cubicBezTo>
                      <a:pt x="614" y="321"/>
                      <a:pt x="614" y="321"/>
                      <a:pt x="614" y="321"/>
                    </a:cubicBezTo>
                    <a:cubicBezTo>
                      <a:pt x="613" y="321"/>
                      <a:pt x="613" y="321"/>
                      <a:pt x="613" y="321"/>
                    </a:cubicBezTo>
                    <a:cubicBezTo>
                      <a:pt x="613" y="321"/>
                      <a:pt x="613" y="321"/>
                      <a:pt x="613" y="321"/>
                    </a:cubicBezTo>
                    <a:cubicBezTo>
                      <a:pt x="613" y="321"/>
                      <a:pt x="613" y="321"/>
                      <a:pt x="613" y="321"/>
                    </a:cubicBezTo>
                    <a:cubicBezTo>
                      <a:pt x="613" y="321"/>
                      <a:pt x="613" y="321"/>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19"/>
                      <a:pt x="612" y="319"/>
                      <a:pt x="612" y="319"/>
                    </a:cubicBezTo>
                    <a:cubicBezTo>
                      <a:pt x="612" y="319"/>
                      <a:pt x="612" y="319"/>
                      <a:pt x="612" y="319"/>
                    </a:cubicBezTo>
                    <a:cubicBezTo>
                      <a:pt x="612" y="319"/>
                      <a:pt x="612" y="319"/>
                      <a:pt x="612"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8"/>
                      <a:pt x="610" y="319"/>
                      <a:pt x="610" y="319"/>
                    </a:cubicBezTo>
                    <a:cubicBezTo>
                      <a:pt x="610" y="319"/>
                      <a:pt x="610" y="319"/>
                      <a:pt x="610" y="319"/>
                    </a:cubicBezTo>
                    <a:cubicBezTo>
                      <a:pt x="610" y="319"/>
                      <a:pt x="610" y="319"/>
                      <a:pt x="610" y="319"/>
                    </a:cubicBezTo>
                    <a:cubicBezTo>
                      <a:pt x="610" y="319"/>
                      <a:pt x="610" y="319"/>
                      <a:pt x="610" y="319"/>
                    </a:cubicBezTo>
                    <a:cubicBezTo>
                      <a:pt x="610" y="319"/>
                      <a:pt x="610" y="319"/>
                      <a:pt x="610" y="319"/>
                    </a:cubicBezTo>
                    <a:cubicBezTo>
                      <a:pt x="610" y="319"/>
                      <a:pt x="610" y="319"/>
                      <a:pt x="610" y="319"/>
                    </a:cubicBezTo>
                    <a:cubicBezTo>
                      <a:pt x="610" y="319"/>
                      <a:pt x="609" y="318"/>
                      <a:pt x="609" y="318"/>
                    </a:cubicBezTo>
                    <a:cubicBezTo>
                      <a:pt x="609" y="318"/>
                      <a:pt x="609" y="318"/>
                      <a:pt x="609" y="318"/>
                    </a:cubicBezTo>
                    <a:cubicBezTo>
                      <a:pt x="609" y="318"/>
                      <a:pt x="609" y="318"/>
                      <a:pt x="609" y="318"/>
                    </a:cubicBezTo>
                    <a:cubicBezTo>
                      <a:pt x="609" y="318"/>
                      <a:pt x="608" y="318"/>
                      <a:pt x="608" y="318"/>
                    </a:cubicBezTo>
                    <a:cubicBezTo>
                      <a:pt x="608" y="318"/>
                      <a:pt x="608" y="318"/>
                      <a:pt x="608" y="318"/>
                    </a:cubicBezTo>
                    <a:cubicBezTo>
                      <a:pt x="608" y="318"/>
                      <a:pt x="608" y="318"/>
                      <a:pt x="608" y="318"/>
                    </a:cubicBezTo>
                    <a:cubicBezTo>
                      <a:pt x="608" y="318"/>
                      <a:pt x="608" y="318"/>
                      <a:pt x="608" y="318"/>
                    </a:cubicBezTo>
                    <a:cubicBezTo>
                      <a:pt x="608" y="318"/>
                      <a:pt x="608" y="318"/>
                      <a:pt x="608" y="318"/>
                    </a:cubicBezTo>
                    <a:cubicBezTo>
                      <a:pt x="608" y="318"/>
                      <a:pt x="608" y="318"/>
                      <a:pt x="608" y="318"/>
                    </a:cubicBezTo>
                    <a:cubicBezTo>
                      <a:pt x="607" y="317"/>
                      <a:pt x="607" y="316"/>
                      <a:pt x="606" y="316"/>
                    </a:cubicBezTo>
                    <a:cubicBezTo>
                      <a:pt x="606" y="316"/>
                      <a:pt x="606" y="316"/>
                      <a:pt x="606" y="316"/>
                    </a:cubicBezTo>
                    <a:cubicBezTo>
                      <a:pt x="605" y="316"/>
                      <a:pt x="605" y="316"/>
                      <a:pt x="605" y="316"/>
                    </a:cubicBezTo>
                    <a:cubicBezTo>
                      <a:pt x="605" y="316"/>
                      <a:pt x="605" y="316"/>
                      <a:pt x="605" y="316"/>
                    </a:cubicBezTo>
                    <a:cubicBezTo>
                      <a:pt x="605" y="316"/>
                      <a:pt x="605" y="316"/>
                      <a:pt x="604" y="316"/>
                    </a:cubicBezTo>
                    <a:cubicBezTo>
                      <a:pt x="604" y="316"/>
                      <a:pt x="604" y="316"/>
                      <a:pt x="604" y="316"/>
                    </a:cubicBezTo>
                    <a:cubicBezTo>
                      <a:pt x="604" y="316"/>
                      <a:pt x="604" y="316"/>
                      <a:pt x="604" y="316"/>
                    </a:cubicBezTo>
                    <a:cubicBezTo>
                      <a:pt x="603" y="316"/>
                      <a:pt x="604" y="316"/>
                      <a:pt x="603" y="317"/>
                    </a:cubicBezTo>
                    <a:cubicBezTo>
                      <a:pt x="603" y="317"/>
                      <a:pt x="603" y="317"/>
                      <a:pt x="603" y="317"/>
                    </a:cubicBezTo>
                    <a:cubicBezTo>
                      <a:pt x="603" y="317"/>
                      <a:pt x="603" y="317"/>
                      <a:pt x="603" y="317"/>
                    </a:cubicBezTo>
                    <a:cubicBezTo>
                      <a:pt x="603" y="317"/>
                      <a:pt x="603" y="317"/>
                      <a:pt x="603" y="317"/>
                    </a:cubicBezTo>
                    <a:cubicBezTo>
                      <a:pt x="603" y="317"/>
                      <a:pt x="603" y="317"/>
                      <a:pt x="603" y="317"/>
                    </a:cubicBezTo>
                    <a:cubicBezTo>
                      <a:pt x="603" y="317"/>
                      <a:pt x="603" y="317"/>
                      <a:pt x="603" y="317"/>
                    </a:cubicBezTo>
                    <a:cubicBezTo>
                      <a:pt x="603" y="317"/>
                      <a:pt x="603" y="317"/>
                      <a:pt x="603" y="317"/>
                    </a:cubicBezTo>
                    <a:cubicBezTo>
                      <a:pt x="603" y="316"/>
                      <a:pt x="603" y="316"/>
                      <a:pt x="603" y="316"/>
                    </a:cubicBezTo>
                    <a:cubicBezTo>
                      <a:pt x="603" y="316"/>
                      <a:pt x="603" y="316"/>
                      <a:pt x="603" y="316"/>
                    </a:cubicBezTo>
                    <a:cubicBezTo>
                      <a:pt x="603" y="316"/>
                      <a:pt x="603" y="316"/>
                      <a:pt x="603" y="316"/>
                    </a:cubicBezTo>
                    <a:cubicBezTo>
                      <a:pt x="604" y="316"/>
                      <a:pt x="604" y="316"/>
                      <a:pt x="604" y="316"/>
                    </a:cubicBezTo>
                    <a:cubicBezTo>
                      <a:pt x="604" y="316"/>
                      <a:pt x="604" y="316"/>
                      <a:pt x="604" y="316"/>
                    </a:cubicBezTo>
                    <a:cubicBezTo>
                      <a:pt x="604" y="316"/>
                      <a:pt x="604" y="316"/>
                      <a:pt x="604" y="316"/>
                    </a:cubicBezTo>
                    <a:cubicBezTo>
                      <a:pt x="604" y="316"/>
                      <a:pt x="604" y="316"/>
                      <a:pt x="604" y="316"/>
                    </a:cubicBezTo>
                    <a:cubicBezTo>
                      <a:pt x="604" y="316"/>
                      <a:pt x="604" y="316"/>
                      <a:pt x="604" y="316"/>
                    </a:cubicBezTo>
                    <a:cubicBezTo>
                      <a:pt x="604" y="316"/>
                      <a:pt x="604" y="316"/>
                      <a:pt x="604" y="316"/>
                    </a:cubicBezTo>
                    <a:cubicBezTo>
                      <a:pt x="604" y="315"/>
                      <a:pt x="604" y="315"/>
                      <a:pt x="604" y="315"/>
                    </a:cubicBezTo>
                    <a:cubicBezTo>
                      <a:pt x="605" y="315"/>
                      <a:pt x="605" y="315"/>
                      <a:pt x="605" y="315"/>
                    </a:cubicBezTo>
                    <a:cubicBezTo>
                      <a:pt x="605" y="315"/>
                      <a:pt x="605" y="315"/>
                      <a:pt x="605" y="315"/>
                    </a:cubicBezTo>
                    <a:cubicBezTo>
                      <a:pt x="605" y="315"/>
                      <a:pt x="605" y="315"/>
                      <a:pt x="605" y="315"/>
                    </a:cubicBezTo>
                    <a:cubicBezTo>
                      <a:pt x="605" y="315"/>
                      <a:pt x="605" y="315"/>
                      <a:pt x="605" y="315"/>
                    </a:cubicBezTo>
                    <a:cubicBezTo>
                      <a:pt x="606" y="315"/>
                      <a:pt x="606" y="315"/>
                      <a:pt x="606" y="315"/>
                    </a:cubicBezTo>
                    <a:cubicBezTo>
                      <a:pt x="606" y="315"/>
                      <a:pt x="606" y="315"/>
                      <a:pt x="606" y="315"/>
                    </a:cubicBezTo>
                    <a:cubicBezTo>
                      <a:pt x="607" y="315"/>
                      <a:pt x="607" y="315"/>
                      <a:pt x="607" y="315"/>
                    </a:cubicBezTo>
                    <a:cubicBezTo>
                      <a:pt x="606" y="315"/>
                      <a:pt x="606" y="315"/>
                      <a:pt x="606" y="315"/>
                    </a:cubicBezTo>
                    <a:cubicBezTo>
                      <a:pt x="606" y="314"/>
                      <a:pt x="606" y="314"/>
                      <a:pt x="606" y="314"/>
                    </a:cubicBezTo>
                    <a:cubicBezTo>
                      <a:pt x="605" y="313"/>
                      <a:pt x="605" y="313"/>
                      <a:pt x="605" y="313"/>
                    </a:cubicBezTo>
                    <a:cubicBezTo>
                      <a:pt x="605" y="313"/>
                      <a:pt x="605" y="313"/>
                      <a:pt x="605" y="313"/>
                    </a:cubicBezTo>
                    <a:cubicBezTo>
                      <a:pt x="605" y="313"/>
                      <a:pt x="605" y="312"/>
                      <a:pt x="604" y="312"/>
                    </a:cubicBezTo>
                    <a:cubicBezTo>
                      <a:pt x="604" y="312"/>
                      <a:pt x="604" y="312"/>
                      <a:pt x="604" y="312"/>
                    </a:cubicBezTo>
                    <a:cubicBezTo>
                      <a:pt x="604" y="312"/>
                      <a:pt x="604" y="312"/>
                      <a:pt x="604" y="312"/>
                    </a:cubicBezTo>
                    <a:cubicBezTo>
                      <a:pt x="604" y="312"/>
                      <a:pt x="604" y="312"/>
                      <a:pt x="604" y="311"/>
                    </a:cubicBezTo>
                    <a:cubicBezTo>
                      <a:pt x="604" y="311"/>
                      <a:pt x="604" y="311"/>
                      <a:pt x="604" y="311"/>
                    </a:cubicBezTo>
                    <a:cubicBezTo>
                      <a:pt x="604" y="311"/>
                      <a:pt x="604" y="311"/>
                      <a:pt x="604" y="311"/>
                    </a:cubicBezTo>
                    <a:cubicBezTo>
                      <a:pt x="604" y="311"/>
                      <a:pt x="604" y="311"/>
                      <a:pt x="604" y="311"/>
                    </a:cubicBezTo>
                    <a:cubicBezTo>
                      <a:pt x="604" y="311"/>
                      <a:pt x="604" y="311"/>
                      <a:pt x="604" y="311"/>
                    </a:cubicBezTo>
                    <a:cubicBezTo>
                      <a:pt x="603" y="311"/>
                      <a:pt x="604" y="311"/>
                      <a:pt x="603" y="311"/>
                    </a:cubicBezTo>
                    <a:cubicBezTo>
                      <a:pt x="603" y="311"/>
                      <a:pt x="603" y="311"/>
                      <a:pt x="603" y="311"/>
                    </a:cubicBezTo>
                    <a:cubicBezTo>
                      <a:pt x="603" y="311"/>
                      <a:pt x="603" y="311"/>
                      <a:pt x="603" y="311"/>
                    </a:cubicBezTo>
                    <a:cubicBezTo>
                      <a:pt x="603" y="310"/>
                      <a:pt x="603" y="310"/>
                      <a:pt x="602" y="310"/>
                    </a:cubicBezTo>
                    <a:cubicBezTo>
                      <a:pt x="602" y="310"/>
                      <a:pt x="602" y="310"/>
                      <a:pt x="602" y="310"/>
                    </a:cubicBezTo>
                    <a:cubicBezTo>
                      <a:pt x="602" y="310"/>
                      <a:pt x="602" y="310"/>
                      <a:pt x="602" y="310"/>
                    </a:cubicBezTo>
                    <a:cubicBezTo>
                      <a:pt x="602" y="310"/>
                      <a:pt x="602" y="310"/>
                      <a:pt x="602" y="310"/>
                    </a:cubicBezTo>
                    <a:cubicBezTo>
                      <a:pt x="602" y="310"/>
                      <a:pt x="602" y="310"/>
                      <a:pt x="602" y="310"/>
                    </a:cubicBezTo>
                    <a:cubicBezTo>
                      <a:pt x="602" y="310"/>
                      <a:pt x="602" y="310"/>
                      <a:pt x="602" y="310"/>
                    </a:cubicBezTo>
                    <a:cubicBezTo>
                      <a:pt x="602" y="310"/>
                      <a:pt x="602" y="310"/>
                      <a:pt x="602" y="310"/>
                    </a:cubicBezTo>
                    <a:cubicBezTo>
                      <a:pt x="602" y="309"/>
                      <a:pt x="602" y="309"/>
                      <a:pt x="602" y="309"/>
                    </a:cubicBezTo>
                    <a:cubicBezTo>
                      <a:pt x="601" y="309"/>
                      <a:pt x="601" y="309"/>
                      <a:pt x="601" y="309"/>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7"/>
                      <a:pt x="601" y="307"/>
                      <a:pt x="601" y="307"/>
                    </a:cubicBezTo>
                    <a:cubicBezTo>
                      <a:pt x="600" y="307"/>
                      <a:pt x="600" y="307"/>
                      <a:pt x="600" y="307"/>
                    </a:cubicBezTo>
                    <a:cubicBezTo>
                      <a:pt x="600" y="307"/>
                      <a:pt x="600" y="307"/>
                      <a:pt x="600" y="307"/>
                    </a:cubicBezTo>
                    <a:cubicBezTo>
                      <a:pt x="600" y="307"/>
                      <a:pt x="600" y="307"/>
                      <a:pt x="600" y="307"/>
                    </a:cubicBezTo>
                    <a:cubicBezTo>
                      <a:pt x="600" y="307"/>
                      <a:pt x="600" y="307"/>
                      <a:pt x="600" y="307"/>
                    </a:cubicBezTo>
                    <a:cubicBezTo>
                      <a:pt x="599" y="307"/>
                      <a:pt x="599" y="307"/>
                      <a:pt x="599" y="306"/>
                    </a:cubicBezTo>
                    <a:cubicBezTo>
                      <a:pt x="599" y="306"/>
                      <a:pt x="599" y="306"/>
                      <a:pt x="599" y="306"/>
                    </a:cubicBezTo>
                    <a:cubicBezTo>
                      <a:pt x="599" y="306"/>
                      <a:pt x="599" y="306"/>
                      <a:pt x="599" y="306"/>
                    </a:cubicBezTo>
                    <a:cubicBezTo>
                      <a:pt x="599" y="306"/>
                      <a:pt x="599" y="306"/>
                      <a:pt x="599" y="306"/>
                    </a:cubicBezTo>
                    <a:cubicBezTo>
                      <a:pt x="598" y="306"/>
                      <a:pt x="598" y="306"/>
                      <a:pt x="598" y="306"/>
                    </a:cubicBezTo>
                    <a:cubicBezTo>
                      <a:pt x="598" y="306"/>
                      <a:pt x="598" y="306"/>
                      <a:pt x="598" y="306"/>
                    </a:cubicBezTo>
                    <a:cubicBezTo>
                      <a:pt x="599" y="305"/>
                      <a:pt x="599" y="305"/>
                      <a:pt x="599" y="305"/>
                    </a:cubicBezTo>
                    <a:cubicBezTo>
                      <a:pt x="599" y="303"/>
                      <a:pt x="599" y="303"/>
                      <a:pt x="599" y="303"/>
                    </a:cubicBezTo>
                    <a:cubicBezTo>
                      <a:pt x="599" y="303"/>
                      <a:pt x="599" y="303"/>
                      <a:pt x="599" y="303"/>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1"/>
                      <a:pt x="600" y="301"/>
                      <a:pt x="600" y="301"/>
                    </a:cubicBezTo>
                    <a:cubicBezTo>
                      <a:pt x="600" y="299"/>
                      <a:pt x="600" y="299"/>
                      <a:pt x="600" y="299"/>
                    </a:cubicBezTo>
                    <a:cubicBezTo>
                      <a:pt x="599" y="293"/>
                      <a:pt x="599" y="293"/>
                      <a:pt x="599" y="293"/>
                    </a:cubicBezTo>
                    <a:cubicBezTo>
                      <a:pt x="599" y="291"/>
                      <a:pt x="599" y="291"/>
                      <a:pt x="599" y="291"/>
                    </a:cubicBezTo>
                    <a:cubicBezTo>
                      <a:pt x="598" y="290"/>
                      <a:pt x="598" y="290"/>
                      <a:pt x="598" y="290"/>
                    </a:cubicBezTo>
                    <a:cubicBezTo>
                      <a:pt x="598" y="290"/>
                      <a:pt x="598" y="290"/>
                      <a:pt x="598" y="290"/>
                    </a:cubicBezTo>
                    <a:cubicBezTo>
                      <a:pt x="598" y="290"/>
                      <a:pt x="598" y="290"/>
                      <a:pt x="598" y="290"/>
                    </a:cubicBezTo>
                    <a:cubicBezTo>
                      <a:pt x="598" y="290"/>
                      <a:pt x="598" y="290"/>
                      <a:pt x="598" y="290"/>
                    </a:cubicBezTo>
                    <a:cubicBezTo>
                      <a:pt x="598" y="290"/>
                      <a:pt x="598" y="290"/>
                      <a:pt x="598" y="290"/>
                    </a:cubicBezTo>
                    <a:cubicBezTo>
                      <a:pt x="598" y="290"/>
                      <a:pt x="598" y="290"/>
                      <a:pt x="598" y="290"/>
                    </a:cubicBezTo>
                    <a:cubicBezTo>
                      <a:pt x="598" y="290"/>
                      <a:pt x="598" y="290"/>
                      <a:pt x="598" y="290"/>
                    </a:cubicBezTo>
                    <a:cubicBezTo>
                      <a:pt x="598" y="290"/>
                      <a:pt x="598" y="290"/>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8"/>
                      <a:pt x="597" y="288"/>
                      <a:pt x="597" y="288"/>
                    </a:cubicBezTo>
                    <a:cubicBezTo>
                      <a:pt x="598" y="286"/>
                      <a:pt x="598" y="286"/>
                      <a:pt x="598" y="286"/>
                    </a:cubicBezTo>
                    <a:cubicBezTo>
                      <a:pt x="599" y="282"/>
                      <a:pt x="599" y="282"/>
                      <a:pt x="599" y="282"/>
                    </a:cubicBezTo>
                    <a:cubicBezTo>
                      <a:pt x="599" y="280"/>
                      <a:pt x="599" y="280"/>
                      <a:pt x="599" y="280"/>
                    </a:cubicBezTo>
                    <a:cubicBezTo>
                      <a:pt x="599" y="276"/>
                      <a:pt x="599" y="276"/>
                      <a:pt x="599" y="276"/>
                    </a:cubicBezTo>
                    <a:cubicBezTo>
                      <a:pt x="594" y="276"/>
                      <a:pt x="594" y="276"/>
                      <a:pt x="594" y="276"/>
                    </a:cubicBezTo>
                    <a:cubicBezTo>
                      <a:pt x="594" y="276"/>
                      <a:pt x="594" y="276"/>
                      <a:pt x="594" y="276"/>
                    </a:cubicBezTo>
                    <a:cubicBezTo>
                      <a:pt x="593" y="275"/>
                      <a:pt x="593" y="275"/>
                      <a:pt x="593" y="275"/>
                    </a:cubicBezTo>
                    <a:cubicBezTo>
                      <a:pt x="593" y="275"/>
                      <a:pt x="593" y="275"/>
                      <a:pt x="593" y="275"/>
                    </a:cubicBezTo>
                    <a:cubicBezTo>
                      <a:pt x="593" y="275"/>
                      <a:pt x="593" y="275"/>
                      <a:pt x="593" y="275"/>
                    </a:cubicBezTo>
                    <a:cubicBezTo>
                      <a:pt x="592" y="275"/>
                      <a:pt x="592" y="275"/>
                      <a:pt x="592" y="275"/>
                    </a:cubicBezTo>
                    <a:cubicBezTo>
                      <a:pt x="592" y="275"/>
                      <a:pt x="592" y="275"/>
                      <a:pt x="592" y="275"/>
                    </a:cubicBezTo>
                    <a:cubicBezTo>
                      <a:pt x="592" y="275"/>
                      <a:pt x="592" y="275"/>
                      <a:pt x="592" y="275"/>
                    </a:cubicBezTo>
                    <a:cubicBezTo>
                      <a:pt x="592" y="275"/>
                      <a:pt x="592" y="275"/>
                      <a:pt x="592" y="275"/>
                    </a:cubicBezTo>
                    <a:cubicBezTo>
                      <a:pt x="592" y="276"/>
                      <a:pt x="592" y="276"/>
                      <a:pt x="592" y="276"/>
                    </a:cubicBezTo>
                    <a:cubicBezTo>
                      <a:pt x="592" y="276"/>
                      <a:pt x="592" y="276"/>
                      <a:pt x="592" y="276"/>
                    </a:cubicBezTo>
                    <a:cubicBezTo>
                      <a:pt x="592" y="276"/>
                      <a:pt x="592" y="276"/>
                      <a:pt x="592" y="276"/>
                    </a:cubicBezTo>
                    <a:cubicBezTo>
                      <a:pt x="592" y="276"/>
                      <a:pt x="592" y="276"/>
                      <a:pt x="592" y="276"/>
                    </a:cubicBezTo>
                    <a:cubicBezTo>
                      <a:pt x="592" y="276"/>
                      <a:pt x="592" y="276"/>
                      <a:pt x="592" y="276"/>
                    </a:cubicBezTo>
                    <a:cubicBezTo>
                      <a:pt x="592" y="275"/>
                      <a:pt x="592" y="275"/>
                      <a:pt x="592" y="275"/>
                    </a:cubicBezTo>
                    <a:cubicBezTo>
                      <a:pt x="592" y="275"/>
                      <a:pt x="592" y="275"/>
                      <a:pt x="592" y="275"/>
                    </a:cubicBezTo>
                    <a:cubicBezTo>
                      <a:pt x="592" y="275"/>
                      <a:pt x="592" y="275"/>
                      <a:pt x="592" y="275"/>
                    </a:cubicBezTo>
                    <a:cubicBezTo>
                      <a:pt x="592" y="274"/>
                      <a:pt x="592" y="274"/>
                      <a:pt x="592" y="274"/>
                    </a:cubicBezTo>
                    <a:cubicBezTo>
                      <a:pt x="592" y="274"/>
                      <a:pt x="592" y="274"/>
                      <a:pt x="592" y="274"/>
                    </a:cubicBezTo>
                    <a:cubicBezTo>
                      <a:pt x="592" y="274"/>
                      <a:pt x="592" y="274"/>
                      <a:pt x="592" y="274"/>
                    </a:cubicBezTo>
                    <a:cubicBezTo>
                      <a:pt x="592" y="274"/>
                      <a:pt x="592" y="274"/>
                      <a:pt x="592" y="274"/>
                    </a:cubicBezTo>
                    <a:cubicBezTo>
                      <a:pt x="591" y="274"/>
                      <a:pt x="591" y="274"/>
                      <a:pt x="591" y="274"/>
                    </a:cubicBezTo>
                    <a:cubicBezTo>
                      <a:pt x="591" y="274"/>
                      <a:pt x="591" y="274"/>
                      <a:pt x="591" y="274"/>
                    </a:cubicBezTo>
                    <a:cubicBezTo>
                      <a:pt x="589" y="274"/>
                      <a:pt x="589" y="274"/>
                      <a:pt x="589" y="274"/>
                    </a:cubicBezTo>
                    <a:cubicBezTo>
                      <a:pt x="588" y="274"/>
                      <a:pt x="588" y="274"/>
                      <a:pt x="588" y="274"/>
                    </a:cubicBezTo>
                    <a:cubicBezTo>
                      <a:pt x="588" y="274"/>
                      <a:pt x="588" y="274"/>
                      <a:pt x="588" y="274"/>
                    </a:cubicBezTo>
                    <a:cubicBezTo>
                      <a:pt x="588" y="274"/>
                      <a:pt x="588" y="274"/>
                      <a:pt x="588" y="274"/>
                    </a:cubicBezTo>
                    <a:cubicBezTo>
                      <a:pt x="587" y="274"/>
                      <a:pt x="587" y="274"/>
                      <a:pt x="587" y="274"/>
                    </a:cubicBezTo>
                    <a:cubicBezTo>
                      <a:pt x="587" y="274"/>
                      <a:pt x="587" y="274"/>
                      <a:pt x="587" y="274"/>
                    </a:cubicBezTo>
                    <a:cubicBezTo>
                      <a:pt x="587" y="274"/>
                      <a:pt x="587" y="274"/>
                      <a:pt x="587" y="274"/>
                    </a:cubicBezTo>
                    <a:cubicBezTo>
                      <a:pt x="587" y="274"/>
                      <a:pt x="587" y="274"/>
                      <a:pt x="587" y="274"/>
                    </a:cubicBezTo>
                    <a:cubicBezTo>
                      <a:pt x="587" y="274"/>
                      <a:pt x="587" y="274"/>
                      <a:pt x="587" y="274"/>
                    </a:cubicBezTo>
                    <a:cubicBezTo>
                      <a:pt x="586" y="274"/>
                      <a:pt x="586" y="274"/>
                      <a:pt x="586" y="274"/>
                    </a:cubicBezTo>
                    <a:cubicBezTo>
                      <a:pt x="586" y="274"/>
                      <a:pt x="586" y="274"/>
                      <a:pt x="586" y="274"/>
                    </a:cubicBezTo>
                    <a:cubicBezTo>
                      <a:pt x="586" y="274"/>
                      <a:pt x="586" y="274"/>
                      <a:pt x="586" y="274"/>
                    </a:cubicBezTo>
                    <a:cubicBezTo>
                      <a:pt x="586" y="274"/>
                      <a:pt x="586" y="274"/>
                      <a:pt x="586" y="274"/>
                    </a:cubicBezTo>
                    <a:cubicBezTo>
                      <a:pt x="586" y="274"/>
                      <a:pt x="586" y="274"/>
                      <a:pt x="586" y="274"/>
                    </a:cubicBezTo>
                    <a:cubicBezTo>
                      <a:pt x="585" y="274"/>
                      <a:pt x="585" y="274"/>
                      <a:pt x="585" y="274"/>
                    </a:cubicBezTo>
                    <a:cubicBezTo>
                      <a:pt x="585" y="274"/>
                      <a:pt x="585" y="274"/>
                      <a:pt x="585"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5" y="274"/>
                      <a:pt x="585" y="274"/>
                      <a:pt x="585" y="274"/>
                    </a:cubicBezTo>
                    <a:cubicBezTo>
                      <a:pt x="585" y="274"/>
                      <a:pt x="585" y="274"/>
                      <a:pt x="585" y="274"/>
                    </a:cubicBezTo>
                    <a:cubicBezTo>
                      <a:pt x="585" y="274"/>
                      <a:pt x="585" y="274"/>
                      <a:pt x="585" y="274"/>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6"/>
                      <a:pt x="585" y="276"/>
                      <a:pt x="585" y="276"/>
                    </a:cubicBezTo>
                    <a:cubicBezTo>
                      <a:pt x="585" y="275"/>
                      <a:pt x="585" y="275"/>
                      <a:pt x="585" y="275"/>
                    </a:cubicBezTo>
                    <a:cubicBezTo>
                      <a:pt x="584" y="275"/>
                      <a:pt x="584" y="275"/>
                      <a:pt x="584" y="275"/>
                    </a:cubicBezTo>
                    <a:cubicBezTo>
                      <a:pt x="581" y="274"/>
                      <a:pt x="581" y="274"/>
                      <a:pt x="581" y="274"/>
                    </a:cubicBezTo>
                    <a:cubicBezTo>
                      <a:pt x="580" y="274"/>
                      <a:pt x="580" y="274"/>
                      <a:pt x="580" y="274"/>
                    </a:cubicBezTo>
                    <a:cubicBezTo>
                      <a:pt x="580" y="274"/>
                      <a:pt x="580" y="274"/>
                      <a:pt x="580" y="274"/>
                    </a:cubicBezTo>
                    <a:cubicBezTo>
                      <a:pt x="579" y="274"/>
                      <a:pt x="579" y="273"/>
                      <a:pt x="578" y="273"/>
                    </a:cubicBezTo>
                    <a:cubicBezTo>
                      <a:pt x="578" y="273"/>
                      <a:pt x="578" y="273"/>
                      <a:pt x="578" y="273"/>
                    </a:cubicBezTo>
                    <a:cubicBezTo>
                      <a:pt x="578" y="273"/>
                      <a:pt x="578" y="273"/>
                      <a:pt x="578" y="273"/>
                    </a:cubicBezTo>
                    <a:cubicBezTo>
                      <a:pt x="578" y="273"/>
                      <a:pt x="578" y="273"/>
                      <a:pt x="578" y="273"/>
                    </a:cubicBezTo>
                    <a:cubicBezTo>
                      <a:pt x="578" y="273"/>
                      <a:pt x="578" y="273"/>
                      <a:pt x="578" y="273"/>
                    </a:cubicBezTo>
                    <a:cubicBezTo>
                      <a:pt x="578" y="273"/>
                      <a:pt x="578" y="273"/>
                      <a:pt x="578" y="273"/>
                    </a:cubicBezTo>
                    <a:cubicBezTo>
                      <a:pt x="578" y="273"/>
                      <a:pt x="578" y="273"/>
                      <a:pt x="578" y="273"/>
                    </a:cubicBezTo>
                    <a:cubicBezTo>
                      <a:pt x="577" y="274"/>
                      <a:pt x="577" y="273"/>
                      <a:pt x="576" y="274"/>
                    </a:cubicBezTo>
                    <a:cubicBezTo>
                      <a:pt x="576" y="274"/>
                      <a:pt x="576" y="274"/>
                      <a:pt x="576" y="274"/>
                    </a:cubicBezTo>
                    <a:cubicBezTo>
                      <a:pt x="576" y="274"/>
                      <a:pt x="576" y="274"/>
                      <a:pt x="576" y="274"/>
                    </a:cubicBezTo>
                    <a:cubicBezTo>
                      <a:pt x="576" y="274"/>
                      <a:pt x="576" y="274"/>
                      <a:pt x="576" y="274"/>
                    </a:cubicBezTo>
                    <a:cubicBezTo>
                      <a:pt x="574" y="274"/>
                      <a:pt x="573" y="274"/>
                      <a:pt x="572" y="274"/>
                    </a:cubicBezTo>
                    <a:cubicBezTo>
                      <a:pt x="571" y="273"/>
                      <a:pt x="571" y="273"/>
                      <a:pt x="571" y="273"/>
                    </a:cubicBezTo>
                    <a:cubicBezTo>
                      <a:pt x="571" y="273"/>
                      <a:pt x="571" y="273"/>
                      <a:pt x="571" y="273"/>
                    </a:cubicBezTo>
                    <a:cubicBezTo>
                      <a:pt x="571" y="273"/>
                      <a:pt x="571" y="273"/>
                      <a:pt x="571" y="273"/>
                    </a:cubicBezTo>
                    <a:cubicBezTo>
                      <a:pt x="571" y="273"/>
                      <a:pt x="571" y="273"/>
                      <a:pt x="571" y="273"/>
                    </a:cubicBezTo>
                    <a:cubicBezTo>
                      <a:pt x="570" y="273"/>
                      <a:pt x="569" y="274"/>
                      <a:pt x="568" y="275"/>
                    </a:cubicBezTo>
                    <a:cubicBezTo>
                      <a:pt x="568" y="275"/>
                      <a:pt x="568" y="275"/>
                      <a:pt x="568" y="275"/>
                    </a:cubicBezTo>
                    <a:cubicBezTo>
                      <a:pt x="568" y="275"/>
                      <a:pt x="568" y="275"/>
                      <a:pt x="568" y="275"/>
                    </a:cubicBezTo>
                    <a:cubicBezTo>
                      <a:pt x="568" y="275"/>
                      <a:pt x="568" y="275"/>
                      <a:pt x="568" y="275"/>
                    </a:cubicBezTo>
                    <a:cubicBezTo>
                      <a:pt x="568" y="275"/>
                      <a:pt x="568" y="275"/>
                      <a:pt x="567" y="276"/>
                    </a:cubicBezTo>
                    <a:cubicBezTo>
                      <a:pt x="567" y="276"/>
                      <a:pt x="567" y="276"/>
                      <a:pt x="567" y="276"/>
                    </a:cubicBezTo>
                    <a:cubicBezTo>
                      <a:pt x="567" y="276"/>
                      <a:pt x="567" y="276"/>
                      <a:pt x="567" y="276"/>
                    </a:cubicBezTo>
                    <a:cubicBezTo>
                      <a:pt x="567" y="277"/>
                      <a:pt x="567" y="277"/>
                      <a:pt x="567" y="277"/>
                    </a:cubicBezTo>
                    <a:cubicBezTo>
                      <a:pt x="567" y="278"/>
                      <a:pt x="567" y="278"/>
                      <a:pt x="567" y="278"/>
                    </a:cubicBezTo>
                    <a:cubicBezTo>
                      <a:pt x="567" y="278"/>
                      <a:pt x="567" y="278"/>
                      <a:pt x="567" y="278"/>
                    </a:cubicBezTo>
                    <a:cubicBezTo>
                      <a:pt x="567" y="278"/>
                      <a:pt x="567" y="278"/>
                      <a:pt x="567" y="278"/>
                    </a:cubicBezTo>
                    <a:cubicBezTo>
                      <a:pt x="567" y="278"/>
                      <a:pt x="567" y="278"/>
                      <a:pt x="567" y="278"/>
                    </a:cubicBezTo>
                    <a:cubicBezTo>
                      <a:pt x="566" y="277"/>
                      <a:pt x="566" y="277"/>
                      <a:pt x="566" y="277"/>
                    </a:cubicBezTo>
                    <a:cubicBezTo>
                      <a:pt x="566" y="277"/>
                      <a:pt x="566" y="277"/>
                      <a:pt x="566" y="277"/>
                    </a:cubicBezTo>
                    <a:cubicBezTo>
                      <a:pt x="567" y="277"/>
                      <a:pt x="567" y="277"/>
                      <a:pt x="567" y="277"/>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5"/>
                      <a:pt x="567" y="275"/>
                      <a:pt x="567" y="275"/>
                    </a:cubicBezTo>
                    <a:cubicBezTo>
                      <a:pt x="567" y="275"/>
                      <a:pt x="567" y="275"/>
                      <a:pt x="567" y="275"/>
                    </a:cubicBezTo>
                    <a:cubicBezTo>
                      <a:pt x="567" y="275"/>
                      <a:pt x="567" y="275"/>
                      <a:pt x="567" y="275"/>
                    </a:cubicBezTo>
                    <a:cubicBezTo>
                      <a:pt x="568" y="275"/>
                      <a:pt x="568" y="275"/>
                      <a:pt x="568" y="275"/>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3"/>
                      <a:pt x="570" y="273"/>
                      <a:pt x="569" y="273"/>
                    </a:cubicBezTo>
                    <a:cubicBezTo>
                      <a:pt x="569" y="273"/>
                      <a:pt x="569" y="273"/>
                      <a:pt x="569" y="273"/>
                    </a:cubicBezTo>
                    <a:cubicBezTo>
                      <a:pt x="569" y="273"/>
                      <a:pt x="569" y="273"/>
                      <a:pt x="569" y="273"/>
                    </a:cubicBezTo>
                    <a:cubicBezTo>
                      <a:pt x="569" y="273"/>
                      <a:pt x="569" y="273"/>
                      <a:pt x="569" y="273"/>
                    </a:cubicBezTo>
                    <a:cubicBezTo>
                      <a:pt x="569" y="273"/>
                      <a:pt x="569" y="273"/>
                      <a:pt x="569" y="273"/>
                    </a:cubicBezTo>
                    <a:cubicBezTo>
                      <a:pt x="569" y="273"/>
                      <a:pt x="569" y="273"/>
                      <a:pt x="569" y="273"/>
                    </a:cubicBezTo>
                    <a:cubicBezTo>
                      <a:pt x="553" y="265"/>
                      <a:pt x="553" y="265"/>
                      <a:pt x="553" y="265"/>
                    </a:cubicBezTo>
                    <a:cubicBezTo>
                      <a:pt x="552" y="265"/>
                      <a:pt x="551" y="264"/>
                      <a:pt x="551" y="265"/>
                    </a:cubicBezTo>
                    <a:cubicBezTo>
                      <a:pt x="551" y="265"/>
                      <a:pt x="551" y="265"/>
                      <a:pt x="551" y="265"/>
                    </a:cubicBezTo>
                    <a:cubicBezTo>
                      <a:pt x="551" y="265"/>
                      <a:pt x="551" y="265"/>
                      <a:pt x="551" y="265"/>
                    </a:cubicBezTo>
                    <a:cubicBezTo>
                      <a:pt x="551" y="265"/>
                      <a:pt x="551" y="265"/>
                      <a:pt x="551" y="265"/>
                    </a:cubicBezTo>
                    <a:cubicBezTo>
                      <a:pt x="551" y="265"/>
                      <a:pt x="551" y="265"/>
                      <a:pt x="551" y="265"/>
                    </a:cubicBezTo>
                    <a:cubicBezTo>
                      <a:pt x="550" y="264"/>
                      <a:pt x="550" y="264"/>
                      <a:pt x="550" y="264"/>
                    </a:cubicBezTo>
                    <a:cubicBezTo>
                      <a:pt x="550" y="264"/>
                      <a:pt x="550" y="264"/>
                      <a:pt x="550" y="264"/>
                    </a:cubicBezTo>
                    <a:cubicBezTo>
                      <a:pt x="550" y="264"/>
                      <a:pt x="550" y="264"/>
                      <a:pt x="550" y="264"/>
                    </a:cubicBezTo>
                    <a:cubicBezTo>
                      <a:pt x="550" y="264"/>
                      <a:pt x="550" y="264"/>
                      <a:pt x="550" y="264"/>
                    </a:cubicBezTo>
                    <a:cubicBezTo>
                      <a:pt x="550" y="264"/>
                      <a:pt x="550" y="264"/>
                      <a:pt x="550" y="264"/>
                    </a:cubicBezTo>
                    <a:cubicBezTo>
                      <a:pt x="550" y="264"/>
                      <a:pt x="550" y="264"/>
                      <a:pt x="550" y="264"/>
                    </a:cubicBezTo>
                    <a:cubicBezTo>
                      <a:pt x="550" y="264"/>
                      <a:pt x="550" y="264"/>
                      <a:pt x="550" y="264"/>
                    </a:cubicBezTo>
                    <a:cubicBezTo>
                      <a:pt x="549" y="264"/>
                      <a:pt x="549" y="264"/>
                      <a:pt x="549" y="264"/>
                    </a:cubicBezTo>
                    <a:cubicBezTo>
                      <a:pt x="549" y="264"/>
                      <a:pt x="549" y="264"/>
                      <a:pt x="549" y="264"/>
                    </a:cubicBezTo>
                    <a:cubicBezTo>
                      <a:pt x="549" y="264"/>
                      <a:pt x="549" y="264"/>
                      <a:pt x="549" y="264"/>
                    </a:cubicBezTo>
                    <a:cubicBezTo>
                      <a:pt x="549" y="264"/>
                      <a:pt x="549" y="264"/>
                      <a:pt x="549" y="264"/>
                    </a:cubicBezTo>
                    <a:cubicBezTo>
                      <a:pt x="549" y="264"/>
                      <a:pt x="549" y="264"/>
                      <a:pt x="549" y="264"/>
                    </a:cubicBezTo>
                    <a:cubicBezTo>
                      <a:pt x="549" y="264"/>
                      <a:pt x="549" y="264"/>
                      <a:pt x="549" y="264"/>
                    </a:cubicBezTo>
                    <a:cubicBezTo>
                      <a:pt x="549" y="264"/>
                      <a:pt x="548" y="264"/>
                      <a:pt x="548" y="264"/>
                    </a:cubicBezTo>
                    <a:cubicBezTo>
                      <a:pt x="548" y="264"/>
                      <a:pt x="548" y="264"/>
                      <a:pt x="548" y="264"/>
                    </a:cubicBezTo>
                    <a:cubicBezTo>
                      <a:pt x="548" y="264"/>
                      <a:pt x="548" y="264"/>
                      <a:pt x="548" y="264"/>
                    </a:cubicBezTo>
                    <a:cubicBezTo>
                      <a:pt x="547" y="264"/>
                      <a:pt x="547" y="264"/>
                      <a:pt x="546" y="264"/>
                    </a:cubicBezTo>
                    <a:cubicBezTo>
                      <a:pt x="546" y="264"/>
                      <a:pt x="546" y="264"/>
                      <a:pt x="546" y="264"/>
                    </a:cubicBezTo>
                    <a:cubicBezTo>
                      <a:pt x="545" y="263"/>
                      <a:pt x="545" y="263"/>
                      <a:pt x="545"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2"/>
                      <a:pt x="544" y="262"/>
                      <a:pt x="544" y="262"/>
                    </a:cubicBezTo>
                    <a:cubicBezTo>
                      <a:pt x="543" y="260"/>
                      <a:pt x="543" y="261"/>
                      <a:pt x="542" y="259"/>
                    </a:cubicBezTo>
                    <a:cubicBezTo>
                      <a:pt x="542" y="259"/>
                      <a:pt x="542" y="259"/>
                      <a:pt x="542" y="259"/>
                    </a:cubicBezTo>
                    <a:cubicBezTo>
                      <a:pt x="542" y="259"/>
                      <a:pt x="542" y="259"/>
                      <a:pt x="542" y="259"/>
                    </a:cubicBezTo>
                    <a:cubicBezTo>
                      <a:pt x="542" y="259"/>
                      <a:pt x="542" y="259"/>
                      <a:pt x="542" y="259"/>
                    </a:cubicBezTo>
                    <a:cubicBezTo>
                      <a:pt x="542" y="259"/>
                      <a:pt x="542" y="259"/>
                      <a:pt x="542" y="259"/>
                    </a:cubicBezTo>
                    <a:cubicBezTo>
                      <a:pt x="541" y="258"/>
                      <a:pt x="541" y="258"/>
                      <a:pt x="541" y="258"/>
                    </a:cubicBezTo>
                    <a:cubicBezTo>
                      <a:pt x="541" y="258"/>
                      <a:pt x="541" y="258"/>
                      <a:pt x="541" y="258"/>
                    </a:cubicBezTo>
                    <a:cubicBezTo>
                      <a:pt x="541" y="258"/>
                      <a:pt x="541" y="258"/>
                      <a:pt x="541" y="258"/>
                    </a:cubicBezTo>
                    <a:cubicBezTo>
                      <a:pt x="541" y="258"/>
                      <a:pt x="541" y="258"/>
                      <a:pt x="541" y="258"/>
                    </a:cubicBezTo>
                    <a:cubicBezTo>
                      <a:pt x="541" y="257"/>
                      <a:pt x="541" y="257"/>
                      <a:pt x="541" y="257"/>
                    </a:cubicBezTo>
                    <a:cubicBezTo>
                      <a:pt x="541" y="257"/>
                      <a:pt x="541" y="257"/>
                      <a:pt x="541" y="257"/>
                    </a:cubicBezTo>
                    <a:cubicBezTo>
                      <a:pt x="541" y="257"/>
                      <a:pt x="541" y="257"/>
                      <a:pt x="541" y="257"/>
                    </a:cubicBezTo>
                    <a:cubicBezTo>
                      <a:pt x="541" y="257"/>
                      <a:pt x="541" y="257"/>
                      <a:pt x="541" y="257"/>
                    </a:cubicBezTo>
                    <a:cubicBezTo>
                      <a:pt x="540" y="257"/>
                      <a:pt x="540" y="257"/>
                      <a:pt x="540" y="257"/>
                    </a:cubicBezTo>
                    <a:cubicBezTo>
                      <a:pt x="540" y="257"/>
                      <a:pt x="540" y="257"/>
                      <a:pt x="540" y="257"/>
                    </a:cubicBezTo>
                    <a:cubicBezTo>
                      <a:pt x="540" y="257"/>
                      <a:pt x="540" y="257"/>
                      <a:pt x="540" y="257"/>
                    </a:cubicBezTo>
                    <a:cubicBezTo>
                      <a:pt x="540" y="257"/>
                      <a:pt x="540" y="257"/>
                      <a:pt x="540" y="257"/>
                    </a:cubicBezTo>
                    <a:cubicBezTo>
                      <a:pt x="540" y="257"/>
                      <a:pt x="540" y="257"/>
                      <a:pt x="540" y="257"/>
                    </a:cubicBezTo>
                    <a:cubicBezTo>
                      <a:pt x="540" y="257"/>
                      <a:pt x="540" y="257"/>
                      <a:pt x="540" y="257"/>
                    </a:cubicBezTo>
                    <a:cubicBezTo>
                      <a:pt x="530" y="251"/>
                      <a:pt x="530" y="251"/>
                      <a:pt x="530" y="251"/>
                    </a:cubicBezTo>
                    <a:cubicBezTo>
                      <a:pt x="529" y="251"/>
                      <a:pt x="529" y="251"/>
                      <a:pt x="529" y="251"/>
                    </a:cubicBezTo>
                    <a:cubicBezTo>
                      <a:pt x="526" y="250"/>
                      <a:pt x="523" y="249"/>
                      <a:pt x="520" y="248"/>
                    </a:cubicBezTo>
                    <a:cubicBezTo>
                      <a:pt x="520" y="249"/>
                      <a:pt x="520" y="249"/>
                      <a:pt x="520" y="249"/>
                    </a:cubicBezTo>
                    <a:cubicBezTo>
                      <a:pt x="520" y="248"/>
                      <a:pt x="519" y="248"/>
                      <a:pt x="518" y="248"/>
                    </a:cubicBezTo>
                    <a:cubicBezTo>
                      <a:pt x="515" y="247"/>
                      <a:pt x="511" y="244"/>
                      <a:pt x="508" y="245"/>
                    </a:cubicBezTo>
                    <a:cubicBezTo>
                      <a:pt x="507" y="246"/>
                      <a:pt x="506" y="246"/>
                      <a:pt x="504" y="246"/>
                    </a:cubicBezTo>
                    <a:cubicBezTo>
                      <a:pt x="501" y="247"/>
                      <a:pt x="498" y="249"/>
                      <a:pt x="494" y="250"/>
                    </a:cubicBezTo>
                    <a:cubicBezTo>
                      <a:pt x="495" y="249"/>
                      <a:pt x="496" y="249"/>
                      <a:pt x="496" y="248"/>
                    </a:cubicBezTo>
                    <a:cubicBezTo>
                      <a:pt x="494" y="248"/>
                      <a:pt x="492" y="249"/>
                      <a:pt x="490" y="250"/>
                    </a:cubicBezTo>
                    <a:cubicBezTo>
                      <a:pt x="493" y="249"/>
                      <a:pt x="495" y="246"/>
                      <a:pt x="495" y="243"/>
                    </a:cubicBezTo>
                    <a:cubicBezTo>
                      <a:pt x="494" y="242"/>
                      <a:pt x="494" y="240"/>
                      <a:pt x="493" y="239"/>
                    </a:cubicBezTo>
                    <a:cubicBezTo>
                      <a:pt x="493" y="239"/>
                      <a:pt x="492" y="238"/>
                      <a:pt x="492" y="238"/>
                    </a:cubicBezTo>
                    <a:cubicBezTo>
                      <a:pt x="492" y="237"/>
                      <a:pt x="491" y="237"/>
                      <a:pt x="491" y="237"/>
                    </a:cubicBezTo>
                    <a:cubicBezTo>
                      <a:pt x="491" y="236"/>
                      <a:pt x="492" y="236"/>
                      <a:pt x="491" y="236"/>
                    </a:cubicBezTo>
                    <a:cubicBezTo>
                      <a:pt x="491" y="235"/>
                      <a:pt x="491" y="233"/>
                      <a:pt x="491" y="232"/>
                    </a:cubicBezTo>
                    <a:cubicBezTo>
                      <a:pt x="490" y="231"/>
                      <a:pt x="489" y="230"/>
                      <a:pt x="489" y="229"/>
                    </a:cubicBezTo>
                    <a:cubicBezTo>
                      <a:pt x="488" y="228"/>
                      <a:pt x="488" y="227"/>
                      <a:pt x="488" y="225"/>
                    </a:cubicBezTo>
                    <a:cubicBezTo>
                      <a:pt x="488" y="225"/>
                      <a:pt x="487" y="224"/>
                      <a:pt x="487" y="223"/>
                    </a:cubicBezTo>
                    <a:cubicBezTo>
                      <a:pt x="486" y="222"/>
                      <a:pt x="487" y="223"/>
                      <a:pt x="486" y="223"/>
                    </a:cubicBezTo>
                    <a:cubicBezTo>
                      <a:pt x="485" y="223"/>
                      <a:pt x="483" y="222"/>
                      <a:pt x="482" y="222"/>
                    </a:cubicBezTo>
                    <a:cubicBezTo>
                      <a:pt x="481" y="222"/>
                      <a:pt x="479" y="223"/>
                      <a:pt x="477" y="223"/>
                    </a:cubicBezTo>
                    <a:cubicBezTo>
                      <a:pt x="477" y="223"/>
                      <a:pt x="477" y="224"/>
                      <a:pt x="477" y="224"/>
                    </a:cubicBezTo>
                    <a:cubicBezTo>
                      <a:pt x="476" y="225"/>
                      <a:pt x="476" y="225"/>
                      <a:pt x="476" y="226"/>
                    </a:cubicBezTo>
                    <a:cubicBezTo>
                      <a:pt x="476" y="228"/>
                      <a:pt x="476" y="229"/>
                      <a:pt x="475" y="231"/>
                    </a:cubicBezTo>
                    <a:cubicBezTo>
                      <a:pt x="475" y="229"/>
                      <a:pt x="476" y="228"/>
                      <a:pt x="476" y="227"/>
                    </a:cubicBezTo>
                    <a:cubicBezTo>
                      <a:pt x="476" y="226"/>
                      <a:pt x="476" y="226"/>
                      <a:pt x="476" y="225"/>
                    </a:cubicBezTo>
                    <a:cubicBezTo>
                      <a:pt x="476" y="224"/>
                      <a:pt x="477" y="224"/>
                      <a:pt x="477" y="223"/>
                    </a:cubicBezTo>
                    <a:cubicBezTo>
                      <a:pt x="477" y="222"/>
                      <a:pt x="476" y="223"/>
                      <a:pt x="476" y="222"/>
                    </a:cubicBezTo>
                    <a:cubicBezTo>
                      <a:pt x="475" y="222"/>
                      <a:pt x="473" y="222"/>
                      <a:pt x="472" y="222"/>
                    </a:cubicBezTo>
                    <a:cubicBezTo>
                      <a:pt x="472" y="222"/>
                      <a:pt x="468" y="219"/>
                      <a:pt x="469" y="218"/>
                    </a:cubicBezTo>
                    <a:cubicBezTo>
                      <a:pt x="469" y="218"/>
                      <a:pt x="470" y="218"/>
                      <a:pt x="471" y="218"/>
                    </a:cubicBezTo>
                    <a:cubicBezTo>
                      <a:pt x="471" y="217"/>
                      <a:pt x="471" y="216"/>
                      <a:pt x="471" y="216"/>
                    </a:cubicBezTo>
                    <a:cubicBezTo>
                      <a:pt x="471" y="215"/>
                      <a:pt x="471" y="214"/>
                      <a:pt x="471" y="213"/>
                    </a:cubicBezTo>
                    <a:cubicBezTo>
                      <a:pt x="471" y="212"/>
                      <a:pt x="471" y="211"/>
                      <a:pt x="471" y="210"/>
                    </a:cubicBezTo>
                    <a:cubicBezTo>
                      <a:pt x="471" y="209"/>
                      <a:pt x="471" y="209"/>
                      <a:pt x="471" y="208"/>
                    </a:cubicBezTo>
                    <a:cubicBezTo>
                      <a:pt x="471" y="207"/>
                      <a:pt x="471" y="205"/>
                      <a:pt x="471" y="204"/>
                    </a:cubicBezTo>
                    <a:cubicBezTo>
                      <a:pt x="470" y="204"/>
                      <a:pt x="470" y="204"/>
                      <a:pt x="470" y="204"/>
                    </a:cubicBezTo>
                    <a:cubicBezTo>
                      <a:pt x="471" y="204"/>
                      <a:pt x="472" y="199"/>
                      <a:pt x="472" y="198"/>
                    </a:cubicBezTo>
                    <a:cubicBezTo>
                      <a:pt x="473" y="197"/>
                      <a:pt x="472" y="196"/>
                      <a:pt x="471" y="196"/>
                    </a:cubicBezTo>
                    <a:cubicBezTo>
                      <a:pt x="471" y="195"/>
                      <a:pt x="472" y="196"/>
                      <a:pt x="472" y="196"/>
                    </a:cubicBezTo>
                    <a:cubicBezTo>
                      <a:pt x="474" y="195"/>
                      <a:pt x="474" y="193"/>
                      <a:pt x="475" y="191"/>
                    </a:cubicBezTo>
                    <a:cubicBezTo>
                      <a:pt x="475" y="191"/>
                      <a:pt x="476" y="190"/>
                      <a:pt x="476" y="190"/>
                    </a:cubicBezTo>
                    <a:cubicBezTo>
                      <a:pt x="477" y="188"/>
                      <a:pt x="478" y="188"/>
                      <a:pt x="479" y="187"/>
                    </a:cubicBezTo>
                    <a:cubicBezTo>
                      <a:pt x="479" y="187"/>
                      <a:pt x="479" y="187"/>
                      <a:pt x="478" y="187"/>
                    </a:cubicBezTo>
                    <a:cubicBezTo>
                      <a:pt x="478" y="185"/>
                      <a:pt x="479" y="185"/>
                      <a:pt x="478" y="184"/>
                    </a:cubicBezTo>
                    <a:cubicBezTo>
                      <a:pt x="478" y="184"/>
                      <a:pt x="479" y="184"/>
                      <a:pt x="479" y="184"/>
                    </a:cubicBezTo>
                    <a:cubicBezTo>
                      <a:pt x="480" y="183"/>
                      <a:pt x="481" y="183"/>
                      <a:pt x="480" y="183"/>
                    </a:cubicBezTo>
                    <a:cubicBezTo>
                      <a:pt x="480" y="182"/>
                      <a:pt x="479" y="182"/>
                      <a:pt x="479" y="181"/>
                    </a:cubicBezTo>
                    <a:cubicBezTo>
                      <a:pt x="479" y="181"/>
                      <a:pt x="480" y="180"/>
                      <a:pt x="480" y="180"/>
                    </a:cubicBezTo>
                    <a:cubicBezTo>
                      <a:pt x="481" y="179"/>
                      <a:pt x="481" y="180"/>
                      <a:pt x="481" y="180"/>
                    </a:cubicBezTo>
                    <a:cubicBezTo>
                      <a:pt x="481" y="180"/>
                      <a:pt x="482" y="179"/>
                      <a:pt x="482" y="179"/>
                    </a:cubicBezTo>
                    <a:cubicBezTo>
                      <a:pt x="483" y="178"/>
                      <a:pt x="485" y="178"/>
                      <a:pt x="486" y="177"/>
                    </a:cubicBezTo>
                    <a:cubicBezTo>
                      <a:pt x="485" y="177"/>
                      <a:pt x="485" y="177"/>
                      <a:pt x="484" y="177"/>
                    </a:cubicBezTo>
                    <a:cubicBezTo>
                      <a:pt x="485" y="177"/>
                      <a:pt x="486" y="177"/>
                      <a:pt x="487" y="176"/>
                    </a:cubicBezTo>
                    <a:cubicBezTo>
                      <a:pt x="487" y="176"/>
                      <a:pt x="485" y="177"/>
                      <a:pt x="485" y="176"/>
                    </a:cubicBezTo>
                    <a:cubicBezTo>
                      <a:pt x="485" y="176"/>
                      <a:pt x="484" y="176"/>
                      <a:pt x="484" y="175"/>
                    </a:cubicBezTo>
                    <a:cubicBezTo>
                      <a:pt x="484" y="175"/>
                      <a:pt x="484" y="175"/>
                      <a:pt x="484" y="175"/>
                    </a:cubicBezTo>
                    <a:cubicBezTo>
                      <a:pt x="484" y="174"/>
                      <a:pt x="483" y="174"/>
                      <a:pt x="483" y="174"/>
                    </a:cubicBezTo>
                    <a:cubicBezTo>
                      <a:pt x="484" y="174"/>
                      <a:pt x="485" y="174"/>
                      <a:pt x="486" y="175"/>
                    </a:cubicBezTo>
                    <a:cubicBezTo>
                      <a:pt x="486" y="174"/>
                      <a:pt x="485" y="174"/>
                      <a:pt x="485" y="174"/>
                    </a:cubicBezTo>
                    <a:cubicBezTo>
                      <a:pt x="486" y="174"/>
                      <a:pt x="486" y="174"/>
                      <a:pt x="487" y="174"/>
                    </a:cubicBezTo>
                    <a:cubicBezTo>
                      <a:pt x="486" y="173"/>
                      <a:pt x="485" y="173"/>
                      <a:pt x="485" y="172"/>
                    </a:cubicBezTo>
                    <a:cubicBezTo>
                      <a:pt x="486" y="172"/>
                      <a:pt x="486" y="172"/>
                      <a:pt x="487" y="173"/>
                    </a:cubicBezTo>
                    <a:cubicBezTo>
                      <a:pt x="487" y="172"/>
                      <a:pt x="489" y="172"/>
                      <a:pt x="490" y="171"/>
                    </a:cubicBezTo>
                    <a:cubicBezTo>
                      <a:pt x="488" y="171"/>
                      <a:pt x="487" y="170"/>
                      <a:pt x="489" y="170"/>
                    </a:cubicBezTo>
                    <a:cubicBezTo>
                      <a:pt x="490" y="170"/>
                      <a:pt x="492" y="170"/>
                      <a:pt x="491" y="169"/>
                    </a:cubicBezTo>
                    <a:cubicBezTo>
                      <a:pt x="490" y="168"/>
                      <a:pt x="488" y="168"/>
                      <a:pt x="487" y="167"/>
                    </a:cubicBezTo>
                    <a:cubicBezTo>
                      <a:pt x="488" y="168"/>
                      <a:pt x="490" y="168"/>
                      <a:pt x="491" y="168"/>
                    </a:cubicBezTo>
                    <a:cubicBezTo>
                      <a:pt x="492" y="169"/>
                      <a:pt x="493" y="171"/>
                      <a:pt x="494" y="170"/>
                    </a:cubicBezTo>
                    <a:cubicBezTo>
                      <a:pt x="493" y="170"/>
                      <a:pt x="493" y="169"/>
                      <a:pt x="493" y="168"/>
                    </a:cubicBezTo>
                    <a:cubicBezTo>
                      <a:pt x="493" y="167"/>
                      <a:pt x="490" y="167"/>
                      <a:pt x="492" y="166"/>
                    </a:cubicBezTo>
                    <a:cubicBezTo>
                      <a:pt x="493" y="165"/>
                      <a:pt x="494" y="166"/>
                      <a:pt x="494" y="165"/>
                    </a:cubicBezTo>
                    <a:cubicBezTo>
                      <a:pt x="493" y="165"/>
                      <a:pt x="493" y="164"/>
                      <a:pt x="493" y="163"/>
                    </a:cubicBezTo>
                    <a:cubicBezTo>
                      <a:pt x="493" y="163"/>
                      <a:pt x="494" y="164"/>
                      <a:pt x="494" y="164"/>
                    </a:cubicBezTo>
                    <a:cubicBezTo>
                      <a:pt x="495" y="163"/>
                      <a:pt x="494" y="164"/>
                      <a:pt x="495" y="164"/>
                    </a:cubicBezTo>
                    <a:cubicBezTo>
                      <a:pt x="496" y="165"/>
                      <a:pt x="496" y="163"/>
                      <a:pt x="497" y="163"/>
                    </a:cubicBezTo>
                    <a:cubicBezTo>
                      <a:pt x="497" y="163"/>
                      <a:pt x="497" y="164"/>
                      <a:pt x="498" y="164"/>
                    </a:cubicBezTo>
                    <a:cubicBezTo>
                      <a:pt x="498" y="164"/>
                      <a:pt x="500" y="164"/>
                      <a:pt x="500" y="163"/>
                    </a:cubicBezTo>
                    <a:cubicBezTo>
                      <a:pt x="500" y="162"/>
                      <a:pt x="499" y="163"/>
                      <a:pt x="498" y="163"/>
                    </a:cubicBezTo>
                    <a:cubicBezTo>
                      <a:pt x="497" y="162"/>
                      <a:pt x="493" y="160"/>
                      <a:pt x="496" y="160"/>
                    </a:cubicBezTo>
                    <a:cubicBezTo>
                      <a:pt x="497" y="160"/>
                      <a:pt x="498" y="159"/>
                      <a:pt x="499" y="159"/>
                    </a:cubicBezTo>
                    <a:cubicBezTo>
                      <a:pt x="500" y="160"/>
                      <a:pt x="501" y="160"/>
                      <a:pt x="502" y="160"/>
                    </a:cubicBezTo>
                    <a:cubicBezTo>
                      <a:pt x="503" y="160"/>
                      <a:pt x="505" y="161"/>
                      <a:pt x="506" y="160"/>
                    </a:cubicBezTo>
                    <a:cubicBezTo>
                      <a:pt x="507" y="159"/>
                      <a:pt x="507" y="159"/>
                      <a:pt x="508" y="158"/>
                    </a:cubicBezTo>
                    <a:cubicBezTo>
                      <a:pt x="509" y="158"/>
                      <a:pt x="509" y="158"/>
                      <a:pt x="510" y="158"/>
                    </a:cubicBezTo>
                    <a:cubicBezTo>
                      <a:pt x="511" y="157"/>
                      <a:pt x="513" y="157"/>
                      <a:pt x="513" y="156"/>
                    </a:cubicBezTo>
                    <a:cubicBezTo>
                      <a:pt x="513" y="155"/>
                      <a:pt x="513" y="154"/>
                      <a:pt x="513" y="153"/>
                    </a:cubicBezTo>
                    <a:cubicBezTo>
                      <a:pt x="512" y="152"/>
                      <a:pt x="513" y="152"/>
                      <a:pt x="512" y="151"/>
                    </a:cubicBezTo>
                    <a:cubicBezTo>
                      <a:pt x="511" y="151"/>
                      <a:pt x="511" y="151"/>
                      <a:pt x="510" y="150"/>
                    </a:cubicBezTo>
                    <a:cubicBezTo>
                      <a:pt x="510" y="150"/>
                      <a:pt x="511" y="151"/>
                      <a:pt x="511" y="151"/>
                    </a:cubicBezTo>
                    <a:cubicBezTo>
                      <a:pt x="510" y="150"/>
                      <a:pt x="509" y="149"/>
                      <a:pt x="507" y="149"/>
                    </a:cubicBezTo>
                    <a:cubicBezTo>
                      <a:pt x="506" y="149"/>
                      <a:pt x="506" y="149"/>
                      <a:pt x="506" y="149"/>
                    </a:cubicBezTo>
                    <a:cubicBezTo>
                      <a:pt x="506" y="149"/>
                      <a:pt x="505" y="148"/>
                      <a:pt x="505" y="148"/>
                    </a:cubicBezTo>
                    <a:cubicBezTo>
                      <a:pt x="504" y="148"/>
                      <a:pt x="504" y="148"/>
                      <a:pt x="504" y="148"/>
                    </a:cubicBezTo>
                    <a:cubicBezTo>
                      <a:pt x="503" y="147"/>
                      <a:pt x="503" y="147"/>
                      <a:pt x="503" y="147"/>
                    </a:cubicBezTo>
                    <a:cubicBezTo>
                      <a:pt x="502" y="145"/>
                      <a:pt x="500" y="146"/>
                      <a:pt x="499" y="147"/>
                    </a:cubicBezTo>
                    <a:cubicBezTo>
                      <a:pt x="498" y="147"/>
                      <a:pt x="498" y="147"/>
                      <a:pt x="498" y="147"/>
                    </a:cubicBezTo>
                    <a:cubicBezTo>
                      <a:pt x="497" y="148"/>
                      <a:pt x="497" y="148"/>
                      <a:pt x="496" y="148"/>
                    </a:cubicBezTo>
                    <a:cubicBezTo>
                      <a:pt x="497" y="148"/>
                      <a:pt x="495" y="148"/>
                      <a:pt x="495" y="148"/>
                    </a:cubicBezTo>
                    <a:cubicBezTo>
                      <a:pt x="495" y="148"/>
                      <a:pt x="494" y="148"/>
                      <a:pt x="494" y="148"/>
                    </a:cubicBezTo>
                    <a:cubicBezTo>
                      <a:pt x="494" y="148"/>
                      <a:pt x="495" y="148"/>
                      <a:pt x="495" y="147"/>
                    </a:cubicBezTo>
                    <a:cubicBezTo>
                      <a:pt x="496" y="146"/>
                      <a:pt x="497" y="147"/>
                      <a:pt x="498" y="146"/>
                    </a:cubicBezTo>
                    <a:cubicBezTo>
                      <a:pt x="497" y="145"/>
                      <a:pt x="497" y="145"/>
                      <a:pt x="496" y="145"/>
                    </a:cubicBezTo>
                    <a:cubicBezTo>
                      <a:pt x="495" y="145"/>
                      <a:pt x="495" y="145"/>
                      <a:pt x="495" y="145"/>
                    </a:cubicBezTo>
                    <a:cubicBezTo>
                      <a:pt x="495" y="145"/>
                      <a:pt x="495" y="144"/>
                      <a:pt x="495" y="144"/>
                    </a:cubicBezTo>
                    <a:cubicBezTo>
                      <a:pt x="494" y="144"/>
                      <a:pt x="494" y="145"/>
                      <a:pt x="493" y="144"/>
                    </a:cubicBezTo>
                    <a:cubicBezTo>
                      <a:pt x="492" y="144"/>
                      <a:pt x="491" y="144"/>
                      <a:pt x="490" y="144"/>
                    </a:cubicBezTo>
                    <a:cubicBezTo>
                      <a:pt x="489" y="143"/>
                      <a:pt x="488" y="142"/>
                      <a:pt x="486" y="142"/>
                    </a:cubicBezTo>
                    <a:cubicBezTo>
                      <a:pt x="483" y="141"/>
                      <a:pt x="485" y="143"/>
                      <a:pt x="487" y="144"/>
                    </a:cubicBezTo>
                    <a:cubicBezTo>
                      <a:pt x="486" y="144"/>
                      <a:pt x="485" y="144"/>
                      <a:pt x="484" y="144"/>
                    </a:cubicBezTo>
                    <a:cubicBezTo>
                      <a:pt x="483" y="143"/>
                      <a:pt x="482" y="142"/>
                      <a:pt x="481" y="141"/>
                    </a:cubicBezTo>
                    <a:cubicBezTo>
                      <a:pt x="482" y="141"/>
                      <a:pt x="483" y="141"/>
                      <a:pt x="483" y="141"/>
                    </a:cubicBezTo>
                    <a:cubicBezTo>
                      <a:pt x="484" y="141"/>
                      <a:pt x="483" y="140"/>
                      <a:pt x="483" y="140"/>
                    </a:cubicBezTo>
                    <a:cubicBezTo>
                      <a:pt x="482" y="139"/>
                      <a:pt x="482" y="139"/>
                      <a:pt x="481" y="138"/>
                    </a:cubicBezTo>
                    <a:cubicBezTo>
                      <a:pt x="481" y="138"/>
                      <a:pt x="482" y="138"/>
                      <a:pt x="482" y="138"/>
                    </a:cubicBezTo>
                    <a:cubicBezTo>
                      <a:pt x="482" y="138"/>
                      <a:pt x="483" y="138"/>
                      <a:pt x="483" y="138"/>
                    </a:cubicBezTo>
                    <a:cubicBezTo>
                      <a:pt x="483" y="138"/>
                      <a:pt x="482" y="139"/>
                      <a:pt x="483" y="139"/>
                    </a:cubicBezTo>
                    <a:cubicBezTo>
                      <a:pt x="483" y="139"/>
                      <a:pt x="484" y="140"/>
                      <a:pt x="484" y="141"/>
                    </a:cubicBezTo>
                    <a:cubicBezTo>
                      <a:pt x="486" y="141"/>
                      <a:pt x="488" y="142"/>
                      <a:pt x="489" y="142"/>
                    </a:cubicBezTo>
                    <a:cubicBezTo>
                      <a:pt x="489" y="142"/>
                      <a:pt x="490" y="142"/>
                      <a:pt x="490" y="143"/>
                    </a:cubicBezTo>
                    <a:cubicBezTo>
                      <a:pt x="491" y="143"/>
                      <a:pt x="491" y="143"/>
                      <a:pt x="492" y="143"/>
                    </a:cubicBezTo>
                    <a:cubicBezTo>
                      <a:pt x="492" y="143"/>
                      <a:pt x="492" y="143"/>
                      <a:pt x="493" y="144"/>
                    </a:cubicBezTo>
                    <a:cubicBezTo>
                      <a:pt x="493" y="144"/>
                      <a:pt x="494" y="143"/>
                      <a:pt x="494" y="144"/>
                    </a:cubicBezTo>
                    <a:cubicBezTo>
                      <a:pt x="494" y="144"/>
                      <a:pt x="495" y="144"/>
                      <a:pt x="495" y="144"/>
                    </a:cubicBezTo>
                    <a:cubicBezTo>
                      <a:pt x="496" y="145"/>
                      <a:pt x="496" y="144"/>
                      <a:pt x="497" y="145"/>
                    </a:cubicBezTo>
                    <a:cubicBezTo>
                      <a:pt x="498" y="145"/>
                      <a:pt x="498" y="145"/>
                      <a:pt x="499" y="144"/>
                    </a:cubicBezTo>
                    <a:cubicBezTo>
                      <a:pt x="499" y="145"/>
                      <a:pt x="500" y="145"/>
                      <a:pt x="501" y="145"/>
                    </a:cubicBezTo>
                    <a:cubicBezTo>
                      <a:pt x="502" y="145"/>
                      <a:pt x="502" y="145"/>
                      <a:pt x="503" y="145"/>
                    </a:cubicBezTo>
                    <a:cubicBezTo>
                      <a:pt x="503" y="145"/>
                      <a:pt x="502" y="145"/>
                      <a:pt x="503" y="145"/>
                    </a:cubicBezTo>
                    <a:cubicBezTo>
                      <a:pt x="503" y="146"/>
                      <a:pt x="503" y="145"/>
                      <a:pt x="503" y="146"/>
                    </a:cubicBezTo>
                    <a:cubicBezTo>
                      <a:pt x="504" y="146"/>
                      <a:pt x="504" y="145"/>
                      <a:pt x="505" y="146"/>
                    </a:cubicBezTo>
                    <a:cubicBezTo>
                      <a:pt x="505" y="146"/>
                      <a:pt x="505" y="146"/>
                      <a:pt x="506" y="146"/>
                    </a:cubicBezTo>
                    <a:cubicBezTo>
                      <a:pt x="506" y="147"/>
                      <a:pt x="508" y="147"/>
                      <a:pt x="508" y="147"/>
                    </a:cubicBezTo>
                    <a:cubicBezTo>
                      <a:pt x="509" y="147"/>
                      <a:pt x="510" y="148"/>
                      <a:pt x="511" y="148"/>
                    </a:cubicBezTo>
                    <a:cubicBezTo>
                      <a:pt x="511" y="148"/>
                      <a:pt x="514" y="148"/>
                      <a:pt x="514" y="147"/>
                    </a:cubicBezTo>
                    <a:cubicBezTo>
                      <a:pt x="514" y="146"/>
                      <a:pt x="512" y="146"/>
                      <a:pt x="513" y="146"/>
                    </a:cubicBezTo>
                    <a:cubicBezTo>
                      <a:pt x="514" y="145"/>
                      <a:pt x="514" y="146"/>
                      <a:pt x="514" y="146"/>
                    </a:cubicBezTo>
                    <a:cubicBezTo>
                      <a:pt x="515" y="147"/>
                      <a:pt x="515" y="147"/>
                      <a:pt x="517" y="146"/>
                    </a:cubicBezTo>
                    <a:cubicBezTo>
                      <a:pt x="517" y="146"/>
                      <a:pt x="520" y="145"/>
                      <a:pt x="520" y="144"/>
                    </a:cubicBezTo>
                    <a:cubicBezTo>
                      <a:pt x="520" y="144"/>
                      <a:pt x="519" y="144"/>
                      <a:pt x="519" y="143"/>
                    </a:cubicBezTo>
                    <a:cubicBezTo>
                      <a:pt x="519" y="143"/>
                      <a:pt x="519" y="142"/>
                      <a:pt x="519" y="142"/>
                    </a:cubicBezTo>
                    <a:cubicBezTo>
                      <a:pt x="518" y="142"/>
                      <a:pt x="517" y="141"/>
                      <a:pt x="517" y="141"/>
                    </a:cubicBezTo>
                    <a:cubicBezTo>
                      <a:pt x="518" y="141"/>
                      <a:pt x="518" y="141"/>
                      <a:pt x="519" y="141"/>
                    </a:cubicBezTo>
                    <a:cubicBezTo>
                      <a:pt x="519" y="142"/>
                      <a:pt x="520" y="141"/>
                      <a:pt x="520" y="141"/>
                    </a:cubicBezTo>
                    <a:cubicBezTo>
                      <a:pt x="520" y="141"/>
                      <a:pt x="521" y="143"/>
                      <a:pt x="522" y="142"/>
                    </a:cubicBezTo>
                    <a:cubicBezTo>
                      <a:pt x="522" y="141"/>
                      <a:pt x="521" y="140"/>
                      <a:pt x="520" y="140"/>
                    </a:cubicBezTo>
                    <a:cubicBezTo>
                      <a:pt x="520" y="139"/>
                      <a:pt x="520" y="139"/>
                      <a:pt x="520" y="138"/>
                    </a:cubicBezTo>
                    <a:cubicBezTo>
                      <a:pt x="520" y="138"/>
                      <a:pt x="521" y="138"/>
                      <a:pt x="522" y="137"/>
                    </a:cubicBezTo>
                    <a:cubicBezTo>
                      <a:pt x="523" y="137"/>
                      <a:pt x="522" y="138"/>
                      <a:pt x="522" y="138"/>
                    </a:cubicBezTo>
                    <a:cubicBezTo>
                      <a:pt x="523" y="139"/>
                      <a:pt x="524" y="141"/>
                      <a:pt x="525" y="142"/>
                    </a:cubicBezTo>
                    <a:cubicBezTo>
                      <a:pt x="525" y="142"/>
                      <a:pt x="525" y="141"/>
                      <a:pt x="524" y="141"/>
                    </a:cubicBezTo>
                    <a:cubicBezTo>
                      <a:pt x="527" y="141"/>
                      <a:pt x="530" y="141"/>
                      <a:pt x="533" y="141"/>
                    </a:cubicBezTo>
                    <a:cubicBezTo>
                      <a:pt x="534" y="141"/>
                      <a:pt x="536" y="140"/>
                      <a:pt x="537" y="139"/>
                    </a:cubicBezTo>
                    <a:cubicBezTo>
                      <a:pt x="538" y="139"/>
                      <a:pt x="540" y="138"/>
                      <a:pt x="540" y="138"/>
                    </a:cubicBezTo>
                    <a:cubicBezTo>
                      <a:pt x="540" y="137"/>
                      <a:pt x="540" y="137"/>
                      <a:pt x="540" y="137"/>
                    </a:cubicBezTo>
                    <a:cubicBezTo>
                      <a:pt x="540" y="137"/>
                      <a:pt x="540" y="136"/>
                      <a:pt x="541" y="136"/>
                    </a:cubicBezTo>
                    <a:cubicBezTo>
                      <a:pt x="541" y="135"/>
                      <a:pt x="541" y="135"/>
                      <a:pt x="542" y="134"/>
                    </a:cubicBezTo>
                    <a:cubicBezTo>
                      <a:pt x="543" y="132"/>
                      <a:pt x="545" y="131"/>
                      <a:pt x="547" y="129"/>
                    </a:cubicBezTo>
                    <a:cubicBezTo>
                      <a:pt x="548" y="128"/>
                      <a:pt x="548" y="127"/>
                      <a:pt x="549" y="126"/>
                    </a:cubicBezTo>
                    <a:cubicBezTo>
                      <a:pt x="549" y="125"/>
                      <a:pt x="551" y="123"/>
                      <a:pt x="551" y="122"/>
                    </a:cubicBezTo>
                    <a:cubicBezTo>
                      <a:pt x="551" y="121"/>
                      <a:pt x="549" y="120"/>
                      <a:pt x="548" y="120"/>
                    </a:cubicBezTo>
                    <a:cubicBezTo>
                      <a:pt x="547" y="120"/>
                      <a:pt x="546" y="120"/>
                      <a:pt x="545" y="120"/>
                    </a:cubicBezTo>
                    <a:cubicBezTo>
                      <a:pt x="545" y="120"/>
                      <a:pt x="544" y="120"/>
                      <a:pt x="544" y="120"/>
                    </a:cubicBezTo>
                    <a:cubicBezTo>
                      <a:pt x="543" y="120"/>
                      <a:pt x="543" y="120"/>
                      <a:pt x="543" y="120"/>
                    </a:cubicBezTo>
                    <a:cubicBezTo>
                      <a:pt x="542" y="120"/>
                      <a:pt x="541" y="120"/>
                      <a:pt x="540" y="120"/>
                    </a:cubicBezTo>
                    <a:cubicBezTo>
                      <a:pt x="539" y="120"/>
                      <a:pt x="538" y="120"/>
                      <a:pt x="537" y="120"/>
                    </a:cubicBezTo>
                    <a:cubicBezTo>
                      <a:pt x="535" y="120"/>
                      <a:pt x="533" y="119"/>
                      <a:pt x="531" y="119"/>
                    </a:cubicBezTo>
                    <a:cubicBezTo>
                      <a:pt x="530" y="119"/>
                      <a:pt x="529" y="119"/>
                      <a:pt x="529" y="118"/>
                    </a:cubicBezTo>
                    <a:cubicBezTo>
                      <a:pt x="528" y="118"/>
                      <a:pt x="528" y="117"/>
                      <a:pt x="528" y="117"/>
                    </a:cubicBezTo>
                    <a:cubicBezTo>
                      <a:pt x="527" y="117"/>
                      <a:pt x="527" y="117"/>
                      <a:pt x="526" y="116"/>
                    </a:cubicBezTo>
                    <a:cubicBezTo>
                      <a:pt x="526" y="116"/>
                      <a:pt x="525" y="115"/>
                      <a:pt x="525" y="114"/>
                    </a:cubicBezTo>
                    <a:cubicBezTo>
                      <a:pt x="524" y="114"/>
                      <a:pt x="524" y="114"/>
                      <a:pt x="523" y="113"/>
                    </a:cubicBezTo>
                    <a:cubicBezTo>
                      <a:pt x="523" y="113"/>
                      <a:pt x="522" y="112"/>
                      <a:pt x="521" y="112"/>
                    </a:cubicBezTo>
                    <a:cubicBezTo>
                      <a:pt x="520" y="112"/>
                      <a:pt x="520" y="111"/>
                      <a:pt x="520" y="111"/>
                    </a:cubicBezTo>
                    <a:cubicBezTo>
                      <a:pt x="520" y="111"/>
                      <a:pt x="520" y="111"/>
                      <a:pt x="520" y="111"/>
                    </a:cubicBezTo>
                    <a:cubicBezTo>
                      <a:pt x="520" y="111"/>
                      <a:pt x="520" y="111"/>
                      <a:pt x="519" y="111"/>
                    </a:cubicBezTo>
                    <a:cubicBezTo>
                      <a:pt x="518" y="111"/>
                      <a:pt x="516" y="111"/>
                      <a:pt x="515" y="110"/>
                    </a:cubicBezTo>
                    <a:cubicBezTo>
                      <a:pt x="511" y="110"/>
                      <a:pt x="508" y="109"/>
                      <a:pt x="504" y="109"/>
                    </a:cubicBezTo>
                    <a:cubicBezTo>
                      <a:pt x="504" y="109"/>
                      <a:pt x="504" y="109"/>
                      <a:pt x="504" y="109"/>
                    </a:cubicBezTo>
                    <a:cubicBezTo>
                      <a:pt x="506" y="109"/>
                      <a:pt x="507" y="108"/>
                      <a:pt x="508" y="109"/>
                    </a:cubicBezTo>
                    <a:cubicBezTo>
                      <a:pt x="509" y="109"/>
                      <a:pt x="511" y="109"/>
                      <a:pt x="512" y="109"/>
                    </a:cubicBezTo>
                    <a:cubicBezTo>
                      <a:pt x="512" y="109"/>
                      <a:pt x="513" y="109"/>
                      <a:pt x="514" y="109"/>
                    </a:cubicBezTo>
                    <a:cubicBezTo>
                      <a:pt x="515" y="109"/>
                      <a:pt x="515" y="110"/>
                      <a:pt x="515" y="110"/>
                    </a:cubicBezTo>
                    <a:cubicBezTo>
                      <a:pt x="517" y="110"/>
                      <a:pt x="518" y="109"/>
                      <a:pt x="520" y="110"/>
                    </a:cubicBezTo>
                    <a:cubicBezTo>
                      <a:pt x="521" y="110"/>
                      <a:pt x="521" y="109"/>
                      <a:pt x="522" y="109"/>
                    </a:cubicBezTo>
                    <a:cubicBezTo>
                      <a:pt x="524" y="109"/>
                      <a:pt x="526" y="110"/>
                      <a:pt x="527" y="111"/>
                    </a:cubicBezTo>
                    <a:cubicBezTo>
                      <a:pt x="530" y="112"/>
                      <a:pt x="534" y="112"/>
                      <a:pt x="536" y="114"/>
                    </a:cubicBezTo>
                    <a:cubicBezTo>
                      <a:pt x="535" y="114"/>
                      <a:pt x="534" y="114"/>
                      <a:pt x="533" y="114"/>
                    </a:cubicBezTo>
                    <a:cubicBezTo>
                      <a:pt x="535" y="115"/>
                      <a:pt x="537" y="117"/>
                      <a:pt x="540" y="118"/>
                    </a:cubicBezTo>
                    <a:cubicBezTo>
                      <a:pt x="541" y="120"/>
                      <a:pt x="544" y="119"/>
                      <a:pt x="546" y="119"/>
                    </a:cubicBezTo>
                    <a:cubicBezTo>
                      <a:pt x="547" y="119"/>
                      <a:pt x="549" y="118"/>
                      <a:pt x="550" y="118"/>
                    </a:cubicBezTo>
                    <a:cubicBezTo>
                      <a:pt x="550" y="117"/>
                      <a:pt x="549" y="117"/>
                      <a:pt x="549" y="117"/>
                    </a:cubicBezTo>
                    <a:cubicBezTo>
                      <a:pt x="550" y="116"/>
                      <a:pt x="550" y="116"/>
                      <a:pt x="550" y="116"/>
                    </a:cubicBezTo>
                    <a:cubicBezTo>
                      <a:pt x="551" y="115"/>
                      <a:pt x="552" y="115"/>
                      <a:pt x="553" y="114"/>
                    </a:cubicBezTo>
                    <a:cubicBezTo>
                      <a:pt x="554" y="114"/>
                      <a:pt x="556" y="113"/>
                      <a:pt x="556" y="112"/>
                    </a:cubicBezTo>
                    <a:cubicBezTo>
                      <a:pt x="556" y="111"/>
                      <a:pt x="555" y="111"/>
                      <a:pt x="556" y="110"/>
                    </a:cubicBezTo>
                    <a:cubicBezTo>
                      <a:pt x="557" y="109"/>
                      <a:pt x="558" y="109"/>
                      <a:pt x="559" y="108"/>
                    </a:cubicBezTo>
                    <a:cubicBezTo>
                      <a:pt x="560" y="108"/>
                      <a:pt x="560" y="108"/>
                      <a:pt x="561" y="107"/>
                    </a:cubicBezTo>
                    <a:cubicBezTo>
                      <a:pt x="561" y="106"/>
                      <a:pt x="560" y="106"/>
                      <a:pt x="560" y="106"/>
                    </a:cubicBezTo>
                    <a:cubicBezTo>
                      <a:pt x="561" y="105"/>
                      <a:pt x="562" y="105"/>
                      <a:pt x="562" y="105"/>
                    </a:cubicBezTo>
                    <a:cubicBezTo>
                      <a:pt x="561" y="104"/>
                      <a:pt x="556" y="103"/>
                      <a:pt x="555" y="103"/>
                    </a:cubicBezTo>
                    <a:cubicBezTo>
                      <a:pt x="555" y="103"/>
                      <a:pt x="553" y="102"/>
                      <a:pt x="553" y="101"/>
                    </a:cubicBezTo>
                    <a:cubicBezTo>
                      <a:pt x="553" y="101"/>
                      <a:pt x="554" y="101"/>
                      <a:pt x="554" y="100"/>
                    </a:cubicBezTo>
                    <a:cubicBezTo>
                      <a:pt x="555" y="99"/>
                      <a:pt x="554" y="99"/>
                      <a:pt x="555" y="98"/>
                    </a:cubicBezTo>
                    <a:cubicBezTo>
                      <a:pt x="556" y="97"/>
                      <a:pt x="557" y="96"/>
                      <a:pt x="558" y="96"/>
                    </a:cubicBezTo>
                    <a:cubicBezTo>
                      <a:pt x="559" y="96"/>
                      <a:pt x="560" y="97"/>
                      <a:pt x="561" y="98"/>
                    </a:cubicBezTo>
                    <a:cubicBezTo>
                      <a:pt x="562" y="98"/>
                      <a:pt x="563" y="98"/>
                      <a:pt x="565" y="98"/>
                    </a:cubicBezTo>
                    <a:cubicBezTo>
                      <a:pt x="566" y="98"/>
                      <a:pt x="567" y="99"/>
                      <a:pt x="567" y="100"/>
                    </a:cubicBezTo>
                    <a:cubicBezTo>
                      <a:pt x="567" y="100"/>
                      <a:pt x="568" y="102"/>
                      <a:pt x="568" y="102"/>
                    </a:cubicBezTo>
                    <a:cubicBezTo>
                      <a:pt x="568" y="102"/>
                      <a:pt x="569" y="102"/>
                      <a:pt x="569" y="102"/>
                    </a:cubicBezTo>
                    <a:cubicBezTo>
                      <a:pt x="569" y="103"/>
                      <a:pt x="569" y="103"/>
                      <a:pt x="569" y="103"/>
                    </a:cubicBezTo>
                    <a:cubicBezTo>
                      <a:pt x="569" y="105"/>
                      <a:pt x="569" y="106"/>
                      <a:pt x="571" y="107"/>
                    </a:cubicBezTo>
                    <a:cubicBezTo>
                      <a:pt x="572" y="108"/>
                      <a:pt x="572" y="108"/>
                      <a:pt x="572" y="109"/>
                    </a:cubicBezTo>
                    <a:cubicBezTo>
                      <a:pt x="573" y="109"/>
                      <a:pt x="573" y="110"/>
                      <a:pt x="574" y="110"/>
                    </a:cubicBezTo>
                    <a:cubicBezTo>
                      <a:pt x="577" y="110"/>
                      <a:pt x="574" y="105"/>
                      <a:pt x="572" y="103"/>
                    </a:cubicBezTo>
                    <a:cubicBezTo>
                      <a:pt x="574" y="104"/>
                      <a:pt x="576" y="105"/>
                      <a:pt x="577" y="105"/>
                    </a:cubicBezTo>
                    <a:cubicBezTo>
                      <a:pt x="577" y="103"/>
                      <a:pt x="574" y="103"/>
                      <a:pt x="576" y="101"/>
                    </a:cubicBezTo>
                    <a:cubicBezTo>
                      <a:pt x="576" y="101"/>
                      <a:pt x="576" y="102"/>
                      <a:pt x="577" y="102"/>
                    </a:cubicBezTo>
                    <a:cubicBezTo>
                      <a:pt x="577" y="102"/>
                      <a:pt x="577" y="102"/>
                      <a:pt x="577" y="102"/>
                    </a:cubicBezTo>
                    <a:cubicBezTo>
                      <a:pt x="577" y="102"/>
                      <a:pt x="577" y="102"/>
                      <a:pt x="577" y="102"/>
                    </a:cubicBezTo>
                    <a:cubicBezTo>
                      <a:pt x="578" y="103"/>
                      <a:pt x="580" y="104"/>
                      <a:pt x="580" y="105"/>
                    </a:cubicBezTo>
                    <a:cubicBezTo>
                      <a:pt x="580" y="106"/>
                      <a:pt x="579" y="106"/>
                      <a:pt x="580" y="106"/>
                    </a:cubicBezTo>
                    <a:cubicBezTo>
                      <a:pt x="581" y="107"/>
                      <a:pt x="581" y="106"/>
                      <a:pt x="582" y="106"/>
                    </a:cubicBezTo>
                    <a:cubicBezTo>
                      <a:pt x="582" y="106"/>
                      <a:pt x="583" y="106"/>
                      <a:pt x="583" y="106"/>
                    </a:cubicBezTo>
                    <a:cubicBezTo>
                      <a:pt x="583" y="106"/>
                      <a:pt x="584" y="106"/>
                      <a:pt x="584" y="106"/>
                    </a:cubicBezTo>
                    <a:cubicBezTo>
                      <a:pt x="584" y="106"/>
                      <a:pt x="582" y="108"/>
                      <a:pt x="582" y="108"/>
                    </a:cubicBezTo>
                    <a:cubicBezTo>
                      <a:pt x="583" y="108"/>
                      <a:pt x="584" y="108"/>
                      <a:pt x="584" y="108"/>
                    </a:cubicBezTo>
                    <a:cubicBezTo>
                      <a:pt x="585" y="108"/>
                      <a:pt x="585" y="107"/>
                      <a:pt x="585" y="107"/>
                    </a:cubicBezTo>
                    <a:cubicBezTo>
                      <a:pt x="585" y="107"/>
                      <a:pt x="585" y="108"/>
                      <a:pt x="586" y="108"/>
                    </a:cubicBezTo>
                    <a:cubicBezTo>
                      <a:pt x="586" y="108"/>
                      <a:pt x="587" y="109"/>
                      <a:pt x="587" y="109"/>
                    </a:cubicBezTo>
                    <a:cubicBezTo>
                      <a:pt x="588" y="109"/>
                      <a:pt x="589" y="108"/>
                      <a:pt x="589" y="107"/>
                    </a:cubicBezTo>
                    <a:cubicBezTo>
                      <a:pt x="588" y="107"/>
                      <a:pt x="587" y="107"/>
                      <a:pt x="586" y="107"/>
                    </a:cubicBezTo>
                    <a:cubicBezTo>
                      <a:pt x="585" y="107"/>
                      <a:pt x="585" y="107"/>
                      <a:pt x="584" y="106"/>
                    </a:cubicBezTo>
                    <a:cubicBezTo>
                      <a:pt x="583" y="105"/>
                      <a:pt x="584" y="106"/>
                      <a:pt x="584" y="104"/>
                    </a:cubicBezTo>
                    <a:cubicBezTo>
                      <a:pt x="584" y="104"/>
                      <a:pt x="584" y="104"/>
                      <a:pt x="584" y="104"/>
                    </a:cubicBezTo>
                    <a:cubicBezTo>
                      <a:pt x="584" y="104"/>
                      <a:pt x="584" y="103"/>
                      <a:pt x="583" y="103"/>
                    </a:cubicBezTo>
                    <a:cubicBezTo>
                      <a:pt x="583" y="103"/>
                      <a:pt x="582" y="102"/>
                      <a:pt x="582" y="102"/>
                    </a:cubicBezTo>
                    <a:cubicBezTo>
                      <a:pt x="582" y="101"/>
                      <a:pt x="582" y="101"/>
                      <a:pt x="582" y="100"/>
                    </a:cubicBezTo>
                    <a:cubicBezTo>
                      <a:pt x="581" y="99"/>
                      <a:pt x="580" y="99"/>
                      <a:pt x="579" y="98"/>
                    </a:cubicBezTo>
                    <a:cubicBezTo>
                      <a:pt x="579" y="97"/>
                      <a:pt x="579" y="98"/>
                      <a:pt x="579" y="97"/>
                    </a:cubicBezTo>
                    <a:cubicBezTo>
                      <a:pt x="579" y="97"/>
                      <a:pt x="580" y="97"/>
                      <a:pt x="579" y="96"/>
                    </a:cubicBezTo>
                    <a:cubicBezTo>
                      <a:pt x="579" y="95"/>
                      <a:pt x="577" y="97"/>
                      <a:pt x="577" y="96"/>
                    </a:cubicBezTo>
                    <a:cubicBezTo>
                      <a:pt x="576" y="95"/>
                      <a:pt x="577" y="95"/>
                      <a:pt x="578" y="95"/>
                    </a:cubicBezTo>
                    <a:cubicBezTo>
                      <a:pt x="577" y="94"/>
                      <a:pt x="576" y="94"/>
                      <a:pt x="575" y="94"/>
                    </a:cubicBezTo>
                    <a:cubicBezTo>
                      <a:pt x="576" y="93"/>
                      <a:pt x="575" y="93"/>
                      <a:pt x="575" y="93"/>
                    </a:cubicBezTo>
                    <a:cubicBezTo>
                      <a:pt x="574" y="93"/>
                      <a:pt x="575" y="92"/>
                      <a:pt x="575" y="92"/>
                    </a:cubicBezTo>
                    <a:cubicBezTo>
                      <a:pt x="574" y="92"/>
                      <a:pt x="572" y="92"/>
                      <a:pt x="571" y="93"/>
                    </a:cubicBezTo>
                    <a:cubicBezTo>
                      <a:pt x="571" y="93"/>
                      <a:pt x="571" y="93"/>
                      <a:pt x="571" y="94"/>
                    </a:cubicBezTo>
                    <a:cubicBezTo>
                      <a:pt x="571" y="93"/>
                      <a:pt x="571" y="93"/>
                      <a:pt x="571" y="93"/>
                    </a:cubicBezTo>
                    <a:cubicBezTo>
                      <a:pt x="570" y="93"/>
                      <a:pt x="570" y="93"/>
                      <a:pt x="569" y="93"/>
                    </a:cubicBezTo>
                    <a:cubicBezTo>
                      <a:pt x="570" y="93"/>
                      <a:pt x="571" y="93"/>
                      <a:pt x="571" y="92"/>
                    </a:cubicBezTo>
                    <a:cubicBezTo>
                      <a:pt x="571" y="92"/>
                      <a:pt x="571" y="92"/>
                      <a:pt x="571" y="93"/>
                    </a:cubicBezTo>
                    <a:cubicBezTo>
                      <a:pt x="571" y="92"/>
                      <a:pt x="572" y="92"/>
                      <a:pt x="573" y="92"/>
                    </a:cubicBezTo>
                    <a:cubicBezTo>
                      <a:pt x="573" y="91"/>
                      <a:pt x="574" y="91"/>
                      <a:pt x="574" y="91"/>
                    </a:cubicBezTo>
                    <a:cubicBezTo>
                      <a:pt x="573" y="91"/>
                      <a:pt x="572" y="90"/>
                      <a:pt x="572" y="90"/>
                    </a:cubicBezTo>
                    <a:cubicBezTo>
                      <a:pt x="573" y="90"/>
                      <a:pt x="575" y="91"/>
                      <a:pt x="576" y="91"/>
                    </a:cubicBezTo>
                    <a:cubicBezTo>
                      <a:pt x="576" y="91"/>
                      <a:pt x="575" y="91"/>
                      <a:pt x="575" y="91"/>
                    </a:cubicBezTo>
                    <a:cubicBezTo>
                      <a:pt x="576" y="92"/>
                      <a:pt x="576" y="92"/>
                      <a:pt x="577" y="92"/>
                    </a:cubicBezTo>
                    <a:cubicBezTo>
                      <a:pt x="577" y="92"/>
                      <a:pt x="577" y="93"/>
                      <a:pt x="578" y="93"/>
                    </a:cubicBezTo>
                    <a:cubicBezTo>
                      <a:pt x="576" y="94"/>
                      <a:pt x="577" y="94"/>
                      <a:pt x="577" y="94"/>
                    </a:cubicBezTo>
                    <a:cubicBezTo>
                      <a:pt x="578" y="95"/>
                      <a:pt x="579" y="95"/>
                      <a:pt x="580" y="96"/>
                    </a:cubicBezTo>
                    <a:cubicBezTo>
                      <a:pt x="580" y="95"/>
                      <a:pt x="581" y="93"/>
                      <a:pt x="582" y="93"/>
                    </a:cubicBezTo>
                    <a:cubicBezTo>
                      <a:pt x="583" y="94"/>
                      <a:pt x="581" y="95"/>
                      <a:pt x="582" y="96"/>
                    </a:cubicBezTo>
                    <a:cubicBezTo>
                      <a:pt x="580" y="96"/>
                      <a:pt x="582" y="98"/>
                      <a:pt x="582" y="98"/>
                    </a:cubicBezTo>
                    <a:cubicBezTo>
                      <a:pt x="583" y="98"/>
                      <a:pt x="584" y="98"/>
                      <a:pt x="584" y="99"/>
                    </a:cubicBezTo>
                    <a:cubicBezTo>
                      <a:pt x="585" y="99"/>
                      <a:pt x="585" y="100"/>
                      <a:pt x="585" y="101"/>
                    </a:cubicBezTo>
                    <a:cubicBezTo>
                      <a:pt x="586" y="101"/>
                      <a:pt x="587" y="102"/>
                      <a:pt x="589" y="101"/>
                    </a:cubicBezTo>
                    <a:cubicBezTo>
                      <a:pt x="590" y="100"/>
                      <a:pt x="590" y="100"/>
                      <a:pt x="592" y="99"/>
                    </a:cubicBezTo>
                    <a:cubicBezTo>
                      <a:pt x="593" y="99"/>
                      <a:pt x="594" y="99"/>
                      <a:pt x="595" y="98"/>
                    </a:cubicBezTo>
                    <a:cubicBezTo>
                      <a:pt x="595" y="98"/>
                      <a:pt x="595" y="98"/>
                      <a:pt x="596" y="97"/>
                    </a:cubicBezTo>
                    <a:cubicBezTo>
                      <a:pt x="597" y="96"/>
                      <a:pt x="598" y="96"/>
                      <a:pt x="600" y="95"/>
                    </a:cubicBezTo>
                    <a:cubicBezTo>
                      <a:pt x="599" y="95"/>
                      <a:pt x="600" y="94"/>
                      <a:pt x="600" y="93"/>
                    </a:cubicBezTo>
                    <a:cubicBezTo>
                      <a:pt x="601" y="93"/>
                      <a:pt x="601" y="93"/>
                      <a:pt x="602" y="92"/>
                    </a:cubicBezTo>
                    <a:cubicBezTo>
                      <a:pt x="603" y="92"/>
                      <a:pt x="605" y="92"/>
                      <a:pt x="606" y="91"/>
                    </a:cubicBezTo>
                    <a:cubicBezTo>
                      <a:pt x="607" y="90"/>
                      <a:pt x="607" y="89"/>
                      <a:pt x="608" y="87"/>
                    </a:cubicBezTo>
                    <a:cubicBezTo>
                      <a:pt x="608" y="86"/>
                      <a:pt x="608" y="85"/>
                      <a:pt x="609" y="84"/>
                    </a:cubicBezTo>
                    <a:cubicBezTo>
                      <a:pt x="609" y="83"/>
                      <a:pt x="609" y="82"/>
                      <a:pt x="608" y="81"/>
                    </a:cubicBezTo>
                    <a:cubicBezTo>
                      <a:pt x="607" y="80"/>
                      <a:pt x="605" y="79"/>
                      <a:pt x="603" y="77"/>
                    </a:cubicBezTo>
                    <a:cubicBezTo>
                      <a:pt x="603" y="77"/>
                      <a:pt x="603" y="77"/>
                      <a:pt x="603" y="77"/>
                    </a:cubicBezTo>
                    <a:cubicBezTo>
                      <a:pt x="603" y="77"/>
                      <a:pt x="603" y="77"/>
                      <a:pt x="603" y="77"/>
                    </a:cubicBezTo>
                    <a:cubicBezTo>
                      <a:pt x="602" y="76"/>
                      <a:pt x="602" y="76"/>
                      <a:pt x="602" y="76"/>
                    </a:cubicBezTo>
                    <a:cubicBezTo>
                      <a:pt x="601" y="75"/>
                      <a:pt x="600" y="75"/>
                      <a:pt x="600" y="74"/>
                    </a:cubicBezTo>
                    <a:cubicBezTo>
                      <a:pt x="599" y="72"/>
                      <a:pt x="601" y="72"/>
                      <a:pt x="601" y="70"/>
                    </a:cubicBezTo>
                    <a:cubicBezTo>
                      <a:pt x="601" y="71"/>
                      <a:pt x="598" y="72"/>
                      <a:pt x="598" y="70"/>
                    </a:cubicBezTo>
                    <a:cubicBezTo>
                      <a:pt x="598" y="69"/>
                      <a:pt x="599" y="69"/>
                      <a:pt x="598" y="68"/>
                    </a:cubicBezTo>
                    <a:cubicBezTo>
                      <a:pt x="598" y="68"/>
                      <a:pt x="597" y="69"/>
                      <a:pt x="597" y="68"/>
                    </a:cubicBezTo>
                    <a:cubicBezTo>
                      <a:pt x="597" y="67"/>
                      <a:pt x="598" y="68"/>
                      <a:pt x="597" y="67"/>
                    </a:cubicBezTo>
                    <a:cubicBezTo>
                      <a:pt x="597" y="66"/>
                      <a:pt x="594" y="67"/>
                      <a:pt x="595" y="65"/>
                    </a:cubicBezTo>
                    <a:cubicBezTo>
                      <a:pt x="596" y="64"/>
                      <a:pt x="595" y="64"/>
                      <a:pt x="596" y="64"/>
                    </a:cubicBezTo>
                    <a:cubicBezTo>
                      <a:pt x="597" y="64"/>
                      <a:pt x="598" y="64"/>
                      <a:pt x="599" y="64"/>
                    </a:cubicBezTo>
                    <a:cubicBezTo>
                      <a:pt x="599" y="64"/>
                      <a:pt x="600" y="64"/>
                      <a:pt x="600" y="64"/>
                    </a:cubicBezTo>
                    <a:cubicBezTo>
                      <a:pt x="602" y="65"/>
                      <a:pt x="603" y="64"/>
                      <a:pt x="604" y="64"/>
                    </a:cubicBezTo>
                    <a:cubicBezTo>
                      <a:pt x="606" y="64"/>
                      <a:pt x="609" y="63"/>
                      <a:pt x="609" y="61"/>
                    </a:cubicBezTo>
                    <a:cubicBezTo>
                      <a:pt x="609" y="60"/>
                      <a:pt x="609" y="58"/>
                      <a:pt x="608" y="58"/>
                    </a:cubicBezTo>
                    <a:cubicBezTo>
                      <a:pt x="607" y="58"/>
                      <a:pt x="605" y="60"/>
                      <a:pt x="606" y="57"/>
                    </a:cubicBezTo>
                    <a:cubicBezTo>
                      <a:pt x="607" y="56"/>
                      <a:pt x="609" y="54"/>
                      <a:pt x="608" y="53"/>
                    </a:cubicBezTo>
                    <a:cubicBezTo>
                      <a:pt x="608" y="52"/>
                      <a:pt x="607" y="52"/>
                      <a:pt x="605" y="51"/>
                    </a:cubicBezTo>
                    <a:cubicBezTo>
                      <a:pt x="604" y="51"/>
                      <a:pt x="603" y="50"/>
                      <a:pt x="602" y="51"/>
                    </a:cubicBezTo>
                    <a:cubicBezTo>
                      <a:pt x="600" y="51"/>
                      <a:pt x="600" y="52"/>
                      <a:pt x="600" y="50"/>
                    </a:cubicBezTo>
                    <a:cubicBezTo>
                      <a:pt x="599" y="49"/>
                      <a:pt x="599" y="48"/>
                      <a:pt x="597" y="48"/>
                    </a:cubicBezTo>
                    <a:cubicBezTo>
                      <a:pt x="595" y="47"/>
                      <a:pt x="592" y="47"/>
                      <a:pt x="590" y="46"/>
                    </a:cubicBezTo>
                    <a:cubicBezTo>
                      <a:pt x="589" y="46"/>
                      <a:pt x="589" y="46"/>
                      <a:pt x="589" y="46"/>
                    </a:cubicBezTo>
                    <a:cubicBezTo>
                      <a:pt x="591" y="46"/>
                      <a:pt x="594" y="47"/>
                      <a:pt x="596" y="46"/>
                    </a:cubicBezTo>
                    <a:cubicBezTo>
                      <a:pt x="596" y="46"/>
                      <a:pt x="595" y="45"/>
                      <a:pt x="595" y="44"/>
                    </a:cubicBezTo>
                    <a:cubicBezTo>
                      <a:pt x="595" y="44"/>
                      <a:pt x="598" y="44"/>
                      <a:pt x="599" y="44"/>
                    </a:cubicBezTo>
                    <a:cubicBezTo>
                      <a:pt x="598" y="44"/>
                      <a:pt x="597" y="44"/>
                      <a:pt x="597" y="44"/>
                    </a:cubicBezTo>
                    <a:cubicBezTo>
                      <a:pt x="596" y="44"/>
                      <a:pt x="596" y="43"/>
                      <a:pt x="595" y="43"/>
                    </a:cubicBezTo>
                    <a:cubicBezTo>
                      <a:pt x="595" y="43"/>
                      <a:pt x="594" y="43"/>
                      <a:pt x="593" y="43"/>
                    </a:cubicBezTo>
                    <a:cubicBezTo>
                      <a:pt x="593" y="43"/>
                      <a:pt x="592" y="43"/>
                      <a:pt x="592" y="43"/>
                    </a:cubicBezTo>
                    <a:cubicBezTo>
                      <a:pt x="590" y="43"/>
                      <a:pt x="589" y="43"/>
                      <a:pt x="588" y="43"/>
                    </a:cubicBezTo>
                    <a:cubicBezTo>
                      <a:pt x="588" y="43"/>
                      <a:pt x="587" y="43"/>
                      <a:pt x="587" y="43"/>
                    </a:cubicBezTo>
                    <a:cubicBezTo>
                      <a:pt x="586" y="43"/>
                      <a:pt x="585" y="43"/>
                      <a:pt x="585" y="43"/>
                    </a:cubicBezTo>
                    <a:cubicBezTo>
                      <a:pt x="582" y="43"/>
                      <a:pt x="580" y="41"/>
                      <a:pt x="578" y="40"/>
                    </a:cubicBezTo>
                    <a:cubicBezTo>
                      <a:pt x="577" y="40"/>
                      <a:pt x="576" y="40"/>
                      <a:pt x="574" y="40"/>
                    </a:cubicBezTo>
                    <a:cubicBezTo>
                      <a:pt x="574" y="40"/>
                      <a:pt x="572" y="40"/>
                      <a:pt x="571" y="41"/>
                    </a:cubicBezTo>
                    <a:cubicBezTo>
                      <a:pt x="571" y="41"/>
                      <a:pt x="571" y="41"/>
                      <a:pt x="571" y="42"/>
                    </a:cubicBezTo>
                    <a:cubicBezTo>
                      <a:pt x="571" y="41"/>
                      <a:pt x="571" y="41"/>
                      <a:pt x="571" y="41"/>
                    </a:cubicBezTo>
                    <a:cubicBezTo>
                      <a:pt x="569" y="43"/>
                      <a:pt x="567" y="39"/>
                      <a:pt x="565" y="40"/>
                    </a:cubicBezTo>
                    <a:cubicBezTo>
                      <a:pt x="564" y="41"/>
                      <a:pt x="566" y="41"/>
                      <a:pt x="566" y="41"/>
                    </a:cubicBezTo>
                    <a:cubicBezTo>
                      <a:pt x="568" y="42"/>
                      <a:pt x="566" y="42"/>
                      <a:pt x="565" y="42"/>
                    </a:cubicBezTo>
                    <a:cubicBezTo>
                      <a:pt x="567" y="42"/>
                      <a:pt x="565" y="43"/>
                      <a:pt x="565" y="44"/>
                    </a:cubicBezTo>
                    <a:cubicBezTo>
                      <a:pt x="565" y="44"/>
                      <a:pt x="566" y="44"/>
                      <a:pt x="566" y="45"/>
                    </a:cubicBezTo>
                    <a:cubicBezTo>
                      <a:pt x="566" y="45"/>
                      <a:pt x="564" y="49"/>
                      <a:pt x="566" y="47"/>
                    </a:cubicBezTo>
                    <a:cubicBezTo>
                      <a:pt x="565" y="49"/>
                      <a:pt x="566" y="49"/>
                      <a:pt x="566" y="50"/>
                    </a:cubicBezTo>
                    <a:cubicBezTo>
                      <a:pt x="565" y="50"/>
                      <a:pt x="567" y="52"/>
                      <a:pt x="567" y="52"/>
                    </a:cubicBezTo>
                    <a:cubicBezTo>
                      <a:pt x="567" y="52"/>
                      <a:pt x="568" y="52"/>
                      <a:pt x="568" y="52"/>
                    </a:cubicBezTo>
                    <a:cubicBezTo>
                      <a:pt x="567" y="53"/>
                      <a:pt x="568" y="53"/>
                      <a:pt x="568" y="53"/>
                    </a:cubicBezTo>
                    <a:cubicBezTo>
                      <a:pt x="569" y="53"/>
                      <a:pt x="569" y="52"/>
                      <a:pt x="570" y="53"/>
                    </a:cubicBezTo>
                    <a:cubicBezTo>
                      <a:pt x="569" y="54"/>
                      <a:pt x="570" y="53"/>
                      <a:pt x="571" y="53"/>
                    </a:cubicBezTo>
                    <a:cubicBezTo>
                      <a:pt x="571" y="53"/>
                      <a:pt x="571" y="53"/>
                      <a:pt x="571" y="54"/>
                    </a:cubicBezTo>
                    <a:cubicBezTo>
                      <a:pt x="571" y="54"/>
                      <a:pt x="571" y="54"/>
                      <a:pt x="571" y="54"/>
                    </a:cubicBezTo>
                    <a:cubicBezTo>
                      <a:pt x="572" y="54"/>
                      <a:pt x="572" y="54"/>
                      <a:pt x="573" y="54"/>
                    </a:cubicBezTo>
                    <a:cubicBezTo>
                      <a:pt x="573" y="54"/>
                      <a:pt x="573" y="55"/>
                      <a:pt x="573" y="55"/>
                    </a:cubicBezTo>
                    <a:cubicBezTo>
                      <a:pt x="574" y="55"/>
                      <a:pt x="575" y="55"/>
                      <a:pt x="575" y="55"/>
                    </a:cubicBezTo>
                    <a:cubicBezTo>
                      <a:pt x="574" y="56"/>
                      <a:pt x="572" y="55"/>
                      <a:pt x="571" y="56"/>
                    </a:cubicBezTo>
                    <a:cubicBezTo>
                      <a:pt x="571" y="56"/>
                      <a:pt x="572" y="56"/>
                      <a:pt x="573" y="57"/>
                    </a:cubicBezTo>
                    <a:cubicBezTo>
                      <a:pt x="572" y="57"/>
                      <a:pt x="571" y="57"/>
                      <a:pt x="571" y="57"/>
                    </a:cubicBezTo>
                    <a:cubicBezTo>
                      <a:pt x="571" y="57"/>
                      <a:pt x="571" y="57"/>
                      <a:pt x="571" y="57"/>
                    </a:cubicBezTo>
                    <a:cubicBezTo>
                      <a:pt x="571" y="57"/>
                      <a:pt x="570" y="56"/>
                      <a:pt x="570" y="56"/>
                    </a:cubicBezTo>
                    <a:cubicBezTo>
                      <a:pt x="570" y="57"/>
                      <a:pt x="569" y="57"/>
                      <a:pt x="569" y="57"/>
                    </a:cubicBezTo>
                    <a:cubicBezTo>
                      <a:pt x="569" y="57"/>
                      <a:pt x="569" y="58"/>
                      <a:pt x="569" y="58"/>
                    </a:cubicBezTo>
                    <a:cubicBezTo>
                      <a:pt x="569" y="59"/>
                      <a:pt x="570" y="59"/>
                      <a:pt x="571" y="59"/>
                    </a:cubicBezTo>
                    <a:cubicBezTo>
                      <a:pt x="571" y="59"/>
                      <a:pt x="571" y="59"/>
                      <a:pt x="571" y="59"/>
                    </a:cubicBezTo>
                    <a:cubicBezTo>
                      <a:pt x="572" y="59"/>
                      <a:pt x="574" y="60"/>
                      <a:pt x="572" y="60"/>
                    </a:cubicBezTo>
                    <a:cubicBezTo>
                      <a:pt x="571" y="60"/>
                      <a:pt x="571" y="59"/>
                      <a:pt x="571" y="60"/>
                    </a:cubicBezTo>
                    <a:cubicBezTo>
                      <a:pt x="571" y="60"/>
                      <a:pt x="571" y="60"/>
                      <a:pt x="571" y="60"/>
                    </a:cubicBezTo>
                    <a:cubicBezTo>
                      <a:pt x="570" y="60"/>
                      <a:pt x="570" y="60"/>
                      <a:pt x="569" y="60"/>
                    </a:cubicBezTo>
                    <a:cubicBezTo>
                      <a:pt x="569" y="60"/>
                      <a:pt x="569" y="60"/>
                      <a:pt x="569" y="60"/>
                    </a:cubicBezTo>
                    <a:cubicBezTo>
                      <a:pt x="568" y="60"/>
                      <a:pt x="569" y="61"/>
                      <a:pt x="568" y="61"/>
                    </a:cubicBezTo>
                    <a:cubicBezTo>
                      <a:pt x="568" y="61"/>
                      <a:pt x="567" y="60"/>
                      <a:pt x="567" y="60"/>
                    </a:cubicBezTo>
                    <a:cubicBezTo>
                      <a:pt x="566" y="60"/>
                      <a:pt x="566" y="60"/>
                      <a:pt x="566" y="60"/>
                    </a:cubicBezTo>
                    <a:cubicBezTo>
                      <a:pt x="564" y="60"/>
                      <a:pt x="564" y="60"/>
                      <a:pt x="564" y="61"/>
                    </a:cubicBezTo>
                    <a:cubicBezTo>
                      <a:pt x="563" y="62"/>
                      <a:pt x="563" y="62"/>
                      <a:pt x="563" y="63"/>
                    </a:cubicBezTo>
                    <a:cubicBezTo>
                      <a:pt x="563" y="65"/>
                      <a:pt x="564" y="65"/>
                      <a:pt x="563" y="67"/>
                    </a:cubicBezTo>
                    <a:cubicBezTo>
                      <a:pt x="563" y="67"/>
                      <a:pt x="562" y="67"/>
                      <a:pt x="562" y="68"/>
                    </a:cubicBezTo>
                    <a:cubicBezTo>
                      <a:pt x="562" y="69"/>
                      <a:pt x="562" y="69"/>
                      <a:pt x="562" y="70"/>
                    </a:cubicBezTo>
                    <a:cubicBezTo>
                      <a:pt x="562" y="71"/>
                      <a:pt x="562" y="72"/>
                      <a:pt x="561" y="73"/>
                    </a:cubicBezTo>
                    <a:cubicBezTo>
                      <a:pt x="561" y="73"/>
                      <a:pt x="560" y="74"/>
                      <a:pt x="559" y="73"/>
                    </a:cubicBezTo>
                    <a:cubicBezTo>
                      <a:pt x="559" y="75"/>
                      <a:pt x="556" y="76"/>
                      <a:pt x="556" y="78"/>
                    </a:cubicBezTo>
                    <a:cubicBezTo>
                      <a:pt x="555" y="79"/>
                      <a:pt x="556" y="81"/>
                      <a:pt x="556" y="83"/>
                    </a:cubicBezTo>
                    <a:cubicBezTo>
                      <a:pt x="556" y="83"/>
                      <a:pt x="556" y="84"/>
                      <a:pt x="555" y="85"/>
                    </a:cubicBezTo>
                    <a:cubicBezTo>
                      <a:pt x="555" y="85"/>
                      <a:pt x="554" y="84"/>
                      <a:pt x="554" y="84"/>
                    </a:cubicBezTo>
                    <a:cubicBezTo>
                      <a:pt x="554" y="85"/>
                      <a:pt x="553" y="83"/>
                      <a:pt x="552" y="84"/>
                    </a:cubicBezTo>
                    <a:cubicBezTo>
                      <a:pt x="551" y="84"/>
                      <a:pt x="550" y="84"/>
                      <a:pt x="550" y="85"/>
                    </a:cubicBezTo>
                    <a:cubicBezTo>
                      <a:pt x="549" y="85"/>
                      <a:pt x="550" y="86"/>
                      <a:pt x="550" y="86"/>
                    </a:cubicBezTo>
                    <a:cubicBezTo>
                      <a:pt x="550" y="86"/>
                      <a:pt x="550" y="87"/>
                      <a:pt x="549" y="87"/>
                    </a:cubicBezTo>
                    <a:cubicBezTo>
                      <a:pt x="549" y="86"/>
                      <a:pt x="548" y="87"/>
                      <a:pt x="548" y="88"/>
                    </a:cubicBezTo>
                    <a:cubicBezTo>
                      <a:pt x="547" y="89"/>
                      <a:pt x="547" y="89"/>
                      <a:pt x="547" y="88"/>
                    </a:cubicBezTo>
                    <a:cubicBezTo>
                      <a:pt x="547" y="87"/>
                      <a:pt x="546" y="86"/>
                      <a:pt x="546" y="86"/>
                    </a:cubicBezTo>
                    <a:cubicBezTo>
                      <a:pt x="546" y="86"/>
                      <a:pt x="546" y="86"/>
                      <a:pt x="546" y="86"/>
                    </a:cubicBezTo>
                    <a:cubicBezTo>
                      <a:pt x="546" y="86"/>
                      <a:pt x="546" y="85"/>
                      <a:pt x="546" y="85"/>
                    </a:cubicBezTo>
                    <a:cubicBezTo>
                      <a:pt x="545" y="84"/>
                      <a:pt x="544" y="84"/>
                      <a:pt x="544" y="83"/>
                    </a:cubicBezTo>
                    <a:cubicBezTo>
                      <a:pt x="543" y="82"/>
                      <a:pt x="542" y="82"/>
                      <a:pt x="542" y="81"/>
                    </a:cubicBezTo>
                    <a:cubicBezTo>
                      <a:pt x="541" y="80"/>
                      <a:pt x="540" y="80"/>
                      <a:pt x="539" y="80"/>
                    </a:cubicBezTo>
                    <a:cubicBezTo>
                      <a:pt x="538" y="79"/>
                      <a:pt x="538" y="78"/>
                      <a:pt x="538" y="78"/>
                    </a:cubicBezTo>
                    <a:cubicBezTo>
                      <a:pt x="537" y="77"/>
                      <a:pt x="537" y="76"/>
                      <a:pt x="537" y="75"/>
                    </a:cubicBezTo>
                    <a:cubicBezTo>
                      <a:pt x="536" y="74"/>
                      <a:pt x="537" y="74"/>
                      <a:pt x="537" y="72"/>
                    </a:cubicBezTo>
                    <a:cubicBezTo>
                      <a:pt x="537" y="71"/>
                      <a:pt x="537" y="70"/>
                      <a:pt x="536" y="69"/>
                    </a:cubicBezTo>
                    <a:cubicBezTo>
                      <a:pt x="536" y="68"/>
                      <a:pt x="536" y="68"/>
                      <a:pt x="537" y="68"/>
                    </a:cubicBezTo>
                    <a:cubicBezTo>
                      <a:pt x="537" y="68"/>
                      <a:pt x="538" y="67"/>
                      <a:pt x="538" y="67"/>
                    </a:cubicBezTo>
                    <a:cubicBezTo>
                      <a:pt x="539" y="67"/>
                      <a:pt x="538" y="68"/>
                      <a:pt x="538" y="69"/>
                    </a:cubicBezTo>
                    <a:cubicBezTo>
                      <a:pt x="538" y="69"/>
                      <a:pt x="540" y="69"/>
                      <a:pt x="540" y="69"/>
                    </a:cubicBezTo>
                    <a:cubicBezTo>
                      <a:pt x="542" y="68"/>
                      <a:pt x="542" y="67"/>
                      <a:pt x="542" y="65"/>
                    </a:cubicBezTo>
                    <a:cubicBezTo>
                      <a:pt x="541" y="65"/>
                      <a:pt x="541" y="64"/>
                      <a:pt x="541" y="63"/>
                    </a:cubicBezTo>
                    <a:cubicBezTo>
                      <a:pt x="541" y="62"/>
                      <a:pt x="541" y="61"/>
                      <a:pt x="540" y="60"/>
                    </a:cubicBezTo>
                    <a:cubicBezTo>
                      <a:pt x="539" y="57"/>
                      <a:pt x="535" y="56"/>
                      <a:pt x="532" y="54"/>
                    </a:cubicBezTo>
                    <a:cubicBezTo>
                      <a:pt x="531" y="52"/>
                      <a:pt x="530" y="50"/>
                      <a:pt x="528" y="51"/>
                    </a:cubicBezTo>
                    <a:cubicBezTo>
                      <a:pt x="526" y="51"/>
                      <a:pt x="526" y="52"/>
                      <a:pt x="525" y="53"/>
                    </a:cubicBezTo>
                    <a:cubicBezTo>
                      <a:pt x="525" y="54"/>
                      <a:pt x="524" y="54"/>
                      <a:pt x="523" y="55"/>
                    </a:cubicBezTo>
                    <a:cubicBezTo>
                      <a:pt x="523" y="56"/>
                      <a:pt x="523" y="61"/>
                      <a:pt x="522" y="62"/>
                    </a:cubicBezTo>
                    <a:cubicBezTo>
                      <a:pt x="522" y="62"/>
                      <a:pt x="522" y="61"/>
                      <a:pt x="522" y="61"/>
                    </a:cubicBezTo>
                    <a:cubicBezTo>
                      <a:pt x="520" y="61"/>
                      <a:pt x="521" y="64"/>
                      <a:pt x="521" y="64"/>
                    </a:cubicBezTo>
                    <a:cubicBezTo>
                      <a:pt x="521" y="65"/>
                      <a:pt x="521" y="65"/>
                      <a:pt x="521" y="66"/>
                    </a:cubicBezTo>
                    <a:cubicBezTo>
                      <a:pt x="521" y="66"/>
                      <a:pt x="521" y="65"/>
                      <a:pt x="521" y="65"/>
                    </a:cubicBezTo>
                    <a:cubicBezTo>
                      <a:pt x="520" y="66"/>
                      <a:pt x="520" y="67"/>
                      <a:pt x="520" y="68"/>
                    </a:cubicBezTo>
                    <a:cubicBezTo>
                      <a:pt x="520" y="67"/>
                      <a:pt x="520" y="67"/>
                      <a:pt x="520" y="67"/>
                    </a:cubicBezTo>
                    <a:cubicBezTo>
                      <a:pt x="519" y="67"/>
                      <a:pt x="518" y="69"/>
                      <a:pt x="517" y="69"/>
                    </a:cubicBezTo>
                    <a:cubicBezTo>
                      <a:pt x="517" y="69"/>
                      <a:pt x="517" y="68"/>
                      <a:pt x="516" y="68"/>
                    </a:cubicBezTo>
                    <a:cubicBezTo>
                      <a:pt x="516" y="67"/>
                      <a:pt x="514" y="67"/>
                      <a:pt x="514" y="66"/>
                    </a:cubicBezTo>
                    <a:cubicBezTo>
                      <a:pt x="513" y="65"/>
                      <a:pt x="514" y="65"/>
                      <a:pt x="514" y="64"/>
                    </a:cubicBezTo>
                    <a:cubicBezTo>
                      <a:pt x="515" y="64"/>
                      <a:pt x="514" y="63"/>
                      <a:pt x="514" y="62"/>
                    </a:cubicBezTo>
                    <a:cubicBezTo>
                      <a:pt x="514" y="62"/>
                      <a:pt x="515" y="62"/>
                      <a:pt x="515" y="61"/>
                    </a:cubicBezTo>
                    <a:cubicBezTo>
                      <a:pt x="515" y="61"/>
                      <a:pt x="514" y="60"/>
                      <a:pt x="514" y="60"/>
                    </a:cubicBezTo>
                    <a:cubicBezTo>
                      <a:pt x="515" y="59"/>
                      <a:pt x="515" y="59"/>
                      <a:pt x="514" y="59"/>
                    </a:cubicBezTo>
                    <a:cubicBezTo>
                      <a:pt x="514" y="59"/>
                      <a:pt x="515" y="58"/>
                      <a:pt x="515" y="58"/>
                    </a:cubicBezTo>
                    <a:cubicBezTo>
                      <a:pt x="514" y="56"/>
                      <a:pt x="513" y="54"/>
                      <a:pt x="511" y="53"/>
                    </a:cubicBezTo>
                    <a:cubicBezTo>
                      <a:pt x="509" y="52"/>
                      <a:pt x="507" y="51"/>
                      <a:pt x="505" y="49"/>
                    </a:cubicBezTo>
                    <a:cubicBezTo>
                      <a:pt x="507" y="50"/>
                      <a:pt x="508" y="51"/>
                      <a:pt x="510" y="49"/>
                    </a:cubicBezTo>
                    <a:cubicBezTo>
                      <a:pt x="510" y="49"/>
                      <a:pt x="508" y="50"/>
                      <a:pt x="508" y="51"/>
                    </a:cubicBezTo>
                    <a:cubicBezTo>
                      <a:pt x="509" y="51"/>
                      <a:pt x="509" y="50"/>
                      <a:pt x="510" y="50"/>
                    </a:cubicBezTo>
                    <a:cubicBezTo>
                      <a:pt x="510" y="50"/>
                      <a:pt x="510" y="52"/>
                      <a:pt x="511" y="51"/>
                    </a:cubicBezTo>
                    <a:cubicBezTo>
                      <a:pt x="511" y="51"/>
                      <a:pt x="511" y="50"/>
                      <a:pt x="512" y="49"/>
                    </a:cubicBezTo>
                    <a:cubicBezTo>
                      <a:pt x="512" y="48"/>
                      <a:pt x="512" y="49"/>
                      <a:pt x="512" y="48"/>
                    </a:cubicBezTo>
                    <a:cubicBezTo>
                      <a:pt x="513" y="47"/>
                      <a:pt x="513" y="48"/>
                      <a:pt x="514" y="48"/>
                    </a:cubicBezTo>
                    <a:cubicBezTo>
                      <a:pt x="514" y="48"/>
                      <a:pt x="515" y="48"/>
                      <a:pt x="516" y="47"/>
                    </a:cubicBezTo>
                    <a:cubicBezTo>
                      <a:pt x="515" y="47"/>
                      <a:pt x="514" y="46"/>
                      <a:pt x="513" y="46"/>
                    </a:cubicBezTo>
                    <a:cubicBezTo>
                      <a:pt x="511" y="45"/>
                      <a:pt x="513" y="48"/>
                      <a:pt x="511" y="46"/>
                    </a:cubicBezTo>
                    <a:cubicBezTo>
                      <a:pt x="510" y="46"/>
                      <a:pt x="510" y="46"/>
                      <a:pt x="509" y="46"/>
                    </a:cubicBezTo>
                    <a:cubicBezTo>
                      <a:pt x="508" y="46"/>
                      <a:pt x="508" y="46"/>
                      <a:pt x="507" y="46"/>
                    </a:cubicBezTo>
                    <a:cubicBezTo>
                      <a:pt x="507" y="45"/>
                      <a:pt x="506" y="46"/>
                      <a:pt x="506" y="46"/>
                    </a:cubicBezTo>
                    <a:cubicBezTo>
                      <a:pt x="505" y="46"/>
                      <a:pt x="504" y="46"/>
                      <a:pt x="504" y="46"/>
                    </a:cubicBezTo>
                    <a:cubicBezTo>
                      <a:pt x="504" y="46"/>
                      <a:pt x="505" y="46"/>
                      <a:pt x="506" y="46"/>
                    </a:cubicBezTo>
                    <a:cubicBezTo>
                      <a:pt x="507" y="45"/>
                      <a:pt x="507" y="44"/>
                      <a:pt x="508" y="44"/>
                    </a:cubicBezTo>
                    <a:cubicBezTo>
                      <a:pt x="508" y="44"/>
                      <a:pt x="506" y="44"/>
                      <a:pt x="505" y="44"/>
                    </a:cubicBezTo>
                    <a:cubicBezTo>
                      <a:pt x="504" y="44"/>
                      <a:pt x="504" y="44"/>
                      <a:pt x="503" y="45"/>
                    </a:cubicBezTo>
                    <a:cubicBezTo>
                      <a:pt x="503" y="45"/>
                      <a:pt x="502" y="46"/>
                      <a:pt x="501" y="46"/>
                    </a:cubicBezTo>
                    <a:cubicBezTo>
                      <a:pt x="499" y="45"/>
                      <a:pt x="497" y="44"/>
                      <a:pt x="494" y="43"/>
                    </a:cubicBezTo>
                    <a:cubicBezTo>
                      <a:pt x="493" y="43"/>
                      <a:pt x="491" y="43"/>
                      <a:pt x="490" y="43"/>
                    </a:cubicBezTo>
                    <a:cubicBezTo>
                      <a:pt x="490" y="43"/>
                      <a:pt x="491" y="43"/>
                      <a:pt x="491" y="43"/>
                    </a:cubicBezTo>
                    <a:cubicBezTo>
                      <a:pt x="492" y="42"/>
                      <a:pt x="493" y="41"/>
                      <a:pt x="494" y="41"/>
                    </a:cubicBezTo>
                    <a:cubicBezTo>
                      <a:pt x="494" y="41"/>
                      <a:pt x="493" y="41"/>
                      <a:pt x="493" y="41"/>
                    </a:cubicBezTo>
                    <a:cubicBezTo>
                      <a:pt x="494" y="41"/>
                      <a:pt x="500" y="37"/>
                      <a:pt x="500" y="37"/>
                    </a:cubicBezTo>
                    <a:cubicBezTo>
                      <a:pt x="499" y="34"/>
                      <a:pt x="494" y="37"/>
                      <a:pt x="493" y="36"/>
                    </a:cubicBezTo>
                    <a:cubicBezTo>
                      <a:pt x="493" y="36"/>
                      <a:pt x="494" y="36"/>
                      <a:pt x="494" y="36"/>
                    </a:cubicBezTo>
                    <a:cubicBezTo>
                      <a:pt x="494" y="35"/>
                      <a:pt x="495" y="35"/>
                      <a:pt x="494" y="35"/>
                    </a:cubicBezTo>
                    <a:cubicBezTo>
                      <a:pt x="494" y="35"/>
                      <a:pt x="494" y="34"/>
                      <a:pt x="494" y="34"/>
                    </a:cubicBezTo>
                    <a:cubicBezTo>
                      <a:pt x="495" y="34"/>
                      <a:pt x="497" y="34"/>
                      <a:pt x="496" y="33"/>
                    </a:cubicBezTo>
                    <a:cubicBezTo>
                      <a:pt x="497" y="32"/>
                      <a:pt x="496" y="34"/>
                      <a:pt x="497" y="34"/>
                    </a:cubicBezTo>
                    <a:cubicBezTo>
                      <a:pt x="497" y="34"/>
                      <a:pt x="499" y="35"/>
                      <a:pt x="499" y="35"/>
                    </a:cubicBezTo>
                    <a:cubicBezTo>
                      <a:pt x="500" y="35"/>
                      <a:pt x="504" y="35"/>
                      <a:pt x="504" y="35"/>
                    </a:cubicBezTo>
                    <a:cubicBezTo>
                      <a:pt x="504" y="34"/>
                      <a:pt x="503" y="33"/>
                      <a:pt x="502" y="34"/>
                    </a:cubicBezTo>
                    <a:cubicBezTo>
                      <a:pt x="502" y="33"/>
                      <a:pt x="502" y="33"/>
                      <a:pt x="502" y="32"/>
                    </a:cubicBezTo>
                    <a:cubicBezTo>
                      <a:pt x="502" y="31"/>
                      <a:pt x="502" y="31"/>
                      <a:pt x="501" y="31"/>
                    </a:cubicBezTo>
                    <a:cubicBezTo>
                      <a:pt x="501" y="31"/>
                      <a:pt x="501" y="31"/>
                      <a:pt x="501" y="31"/>
                    </a:cubicBezTo>
                    <a:cubicBezTo>
                      <a:pt x="501" y="31"/>
                      <a:pt x="501" y="31"/>
                      <a:pt x="501" y="32"/>
                    </a:cubicBezTo>
                    <a:cubicBezTo>
                      <a:pt x="500" y="32"/>
                      <a:pt x="500" y="32"/>
                      <a:pt x="500" y="33"/>
                    </a:cubicBezTo>
                    <a:cubicBezTo>
                      <a:pt x="500" y="32"/>
                      <a:pt x="500" y="31"/>
                      <a:pt x="499" y="30"/>
                    </a:cubicBezTo>
                    <a:cubicBezTo>
                      <a:pt x="499" y="30"/>
                      <a:pt x="498" y="30"/>
                      <a:pt x="498" y="29"/>
                    </a:cubicBezTo>
                    <a:cubicBezTo>
                      <a:pt x="498" y="29"/>
                      <a:pt x="497" y="25"/>
                      <a:pt x="496" y="27"/>
                    </a:cubicBezTo>
                    <a:cubicBezTo>
                      <a:pt x="496" y="25"/>
                      <a:pt x="494" y="26"/>
                      <a:pt x="493" y="25"/>
                    </a:cubicBezTo>
                    <a:cubicBezTo>
                      <a:pt x="492" y="24"/>
                      <a:pt x="492" y="23"/>
                      <a:pt x="491" y="23"/>
                    </a:cubicBezTo>
                    <a:cubicBezTo>
                      <a:pt x="490" y="22"/>
                      <a:pt x="489" y="22"/>
                      <a:pt x="489" y="21"/>
                    </a:cubicBezTo>
                    <a:cubicBezTo>
                      <a:pt x="489" y="21"/>
                      <a:pt x="489" y="22"/>
                      <a:pt x="489" y="22"/>
                    </a:cubicBezTo>
                    <a:cubicBezTo>
                      <a:pt x="489" y="20"/>
                      <a:pt x="489" y="17"/>
                      <a:pt x="489" y="15"/>
                    </a:cubicBezTo>
                    <a:cubicBezTo>
                      <a:pt x="489" y="14"/>
                      <a:pt x="489" y="13"/>
                      <a:pt x="489" y="12"/>
                    </a:cubicBezTo>
                    <a:cubicBezTo>
                      <a:pt x="489" y="12"/>
                      <a:pt x="488" y="11"/>
                      <a:pt x="487" y="11"/>
                    </a:cubicBezTo>
                    <a:cubicBezTo>
                      <a:pt x="486" y="9"/>
                      <a:pt x="484" y="9"/>
                      <a:pt x="482" y="8"/>
                    </a:cubicBezTo>
                    <a:cubicBezTo>
                      <a:pt x="481" y="7"/>
                      <a:pt x="481" y="7"/>
                      <a:pt x="481" y="6"/>
                    </a:cubicBezTo>
                    <a:cubicBezTo>
                      <a:pt x="481" y="6"/>
                      <a:pt x="482" y="5"/>
                      <a:pt x="481" y="4"/>
                    </a:cubicBezTo>
                    <a:cubicBezTo>
                      <a:pt x="481" y="4"/>
                      <a:pt x="480" y="5"/>
                      <a:pt x="480" y="5"/>
                    </a:cubicBezTo>
                    <a:cubicBezTo>
                      <a:pt x="479" y="5"/>
                      <a:pt x="479" y="4"/>
                      <a:pt x="479" y="4"/>
                    </a:cubicBezTo>
                    <a:cubicBezTo>
                      <a:pt x="478" y="4"/>
                      <a:pt x="478" y="5"/>
                      <a:pt x="478" y="5"/>
                    </a:cubicBezTo>
                    <a:cubicBezTo>
                      <a:pt x="477" y="5"/>
                      <a:pt x="477" y="4"/>
                      <a:pt x="477" y="4"/>
                    </a:cubicBezTo>
                    <a:cubicBezTo>
                      <a:pt x="476" y="4"/>
                      <a:pt x="476" y="5"/>
                      <a:pt x="476" y="5"/>
                    </a:cubicBezTo>
                    <a:cubicBezTo>
                      <a:pt x="476" y="6"/>
                      <a:pt x="475" y="6"/>
                      <a:pt x="475" y="6"/>
                    </a:cubicBezTo>
                    <a:cubicBezTo>
                      <a:pt x="475" y="6"/>
                      <a:pt x="475" y="5"/>
                      <a:pt x="475" y="4"/>
                    </a:cubicBezTo>
                    <a:cubicBezTo>
                      <a:pt x="475" y="3"/>
                      <a:pt x="475" y="4"/>
                      <a:pt x="474" y="4"/>
                    </a:cubicBezTo>
                    <a:cubicBezTo>
                      <a:pt x="474" y="4"/>
                      <a:pt x="474" y="4"/>
                      <a:pt x="474" y="4"/>
                    </a:cubicBezTo>
                    <a:cubicBezTo>
                      <a:pt x="473" y="4"/>
                      <a:pt x="473" y="5"/>
                      <a:pt x="472" y="5"/>
                    </a:cubicBezTo>
                    <a:cubicBezTo>
                      <a:pt x="472" y="3"/>
                      <a:pt x="473" y="4"/>
                      <a:pt x="473" y="3"/>
                    </a:cubicBezTo>
                    <a:cubicBezTo>
                      <a:pt x="473" y="3"/>
                      <a:pt x="474" y="3"/>
                      <a:pt x="474" y="3"/>
                    </a:cubicBezTo>
                    <a:cubicBezTo>
                      <a:pt x="474" y="3"/>
                      <a:pt x="474" y="2"/>
                      <a:pt x="474" y="2"/>
                    </a:cubicBezTo>
                    <a:cubicBezTo>
                      <a:pt x="475" y="1"/>
                      <a:pt x="474" y="1"/>
                      <a:pt x="474" y="1"/>
                    </a:cubicBezTo>
                    <a:cubicBezTo>
                      <a:pt x="473" y="0"/>
                      <a:pt x="470" y="0"/>
                      <a:pt x="469" y="1"/>
                    </a:cubicBezTo>
                    <a:cubicBezTo>
                      <a:pt x="468" y="1"/>
                      <a:pt x="467" y="1"/>
                      <a:pt x="466" y="2"/>
                    </a:cubicBezTo>
                    <a:cubicBezTo>
                      <a:pt x="466" y="2"/>
                      <a:pt x="466" y="3"/>
                      <a:pt x="467" y="3"/>
                    </a:cubicBezTo>
                    <a:cubicBezTo>
                      <a:pt x="467" y="3"/>
                      <a:pt x="469" y="3"/>
                      <a:pt x="469" y="3"/>
                    </a:cubicBezTo>
                    <a:cubicBezTo>
                      <a:pt x="471" y="3"/>
                      <a:pt x="471" y="3"/>
                      <a:pt x="473" y="3"/>
                    </a:cubicBezTo>
                    <a:cubicBezTo>
                      <a:pt x="471" y="4"/>
                      <a:pt x="468" y="3"/>
                      <a:pt x="466" y="3"/>
                    </a:cubicBezTo>
                    <a:cubicBezTo>
                      <a:pt x="466" y="4"/>
                      <a:pt x="466" y="5"/>
                      <a:pt x="466" y="5"/>
                    </a:cubicBezTo>
                    <a:cubicBezTo>
                      <a:pt x="465" y="6"/>
                      <a:pt x="464" y="6"/>
                      <a:pt x="463" y="6"/>
                    </a:cubicBezTo>
                    <a:cubicBezTo>
                      <a:pt x="462" y="6"/>
                      <a:pt x="461" y="7"/>
                      <a:pt x="460" y="7"/>
                    </a:cubicBezTo>
                    <a:cubicBezTo>
                      <a:pt x="460" y="7"/>
                      <a:pt x="459" y="8"/>
                      <a:pt x="459" y="9"/>
                    </a:cubicBezTo>
                    <a:cubicBezTo>
                      <a:pt x="459" y="9"/>
                      <a:pt x="461" y="10"/>
                      <a:pt x="461" y="10"/>
                    </a:cubicBezTo>
                    <a:cubicBezTo>
                      <a:pt x="462" y="10"/>
                      <a:pt x="463" y="10"/>
                      <a:pt x="465" y="10"/>
                    </a:cubicBezTo>
                    <a:cubicBezTo>
                      <a:pt x="463" y="10"/>
                      <a:pt x="463" y="11"/>
                      <a:pt x="464" y="12"/>
                    </a:cubicBezTo>
                    <a:cubicBezTo>
                      <a:pt x="464" y="12"/>
                      <a:pt x="463" y="12"/>
                      <a:pt x="463" y="12"/>
                    </a:cubicBezTo>
                    <a:cubicBezTo>
                      <a:pt x="463" y="13"/>
                      <a:pt x="463" y="13"/>
                      <a:pt x="463" y="14"/>
                    </a:cubicBezTo>
                    <a:cubicBezTo>
                      <a:pt x="462" y="14"/>
                      <a:pt x="459" y="12"/>
                      <a:pt x="458" y="12"/>
                    </a:cubicBezTo>
                    <a:cubicBezTo>
                      <a:pt x="456" y="11"/>
                      <a:pt x="457" y="12"/>
                      <a:pt x="456" y="13"/>
                    </a:cubicBezTo>
                    <a:cubicBezTo>
                      <a:pt x="455" y="13"/>
                      <a:pt x="454" y="13"/>
                      <a:pt x="453" y="14"/>
                    </a:cubicBezTo>
                    <a:cubicBezTo>
                      <a:pt x="454" y="14"/>
                      <a:pt x="454" y="14"/>
                      <a:pt x="454" y="15"/>
                    </a:cubicBezTo>
                    <a:cubicBezTo>
                      <a:pt x="454" y="15"/>
                      <a:pt x="454" y="16"/>
                      <a:pt x="454" y="16"/>
                    </a:cubicBezTo>
                    <a:cubicBezTo>
                      <a:pt x="454" y="16"/>
                      <a:pt x="453" y="16"/>
                      <a:pt x="453" y="16"/>
                    </a:cubicBezTo>
                    <a:cubicBezTo>
                      <a:pt x="453" y="17"/>
                      <a:pt x="453" y="17"/>
                      <a:pt x="453" y="17"/>
                    </a:cubicBezTo>
                    <a:cubicBezTo>
                      <a:pt x="454" y="17"/>
                      <a:pt x="454" y="17"/>
                      <a:pt x="455" y="17"/>
                    </a:cubicBezTo>
                    <a:cubicBezTo>
                      <a:pt x="455" y="18"/>
                      <a:pt x="454" y="18"/>
                      <a:pt x="453" y="18"/>
                    </a:cubicBezTo>
                    <a:cubicBezTo>
                      <a:pt x="453" y="19"/>
                      <a:pt x="453" y="20"/>
                      <a:pt x="453" y="20"/>
                    </a:cubicBezTo>
                    <a:cubicBezTo>
                      <a:pt x="453" y="21"/>
                      <a:pt x="452" y="21"/>
                      <a:pt x="452" y="22"/>
                    </a:cubicBezTo>
                    <a:cubicBezTo>
                      <a:pt x="452" y="23"/>
                      <a:pt x="453" y="23"/>
                      <a:pt x="454" y="24"/>
                    </a:cubicBezTo>
                    <a:cubicBezTo>
                      <a:pt x="455" y="25"/>
                      <a:pt x="455" y="26"/>
                      <a:pt x="456" y="26"/>
                    </a:cubicBezTo>
                    <a:cubicBezTo>
                      <a:pt x="457" y="26"/>
                      <a:pt x="458" y="25"/>
                      <a:pt x="460" y="24"/>
                    </a:cubicBezTo>
                    <a:cubicBezTo>
                      <a:pt x="458" y="25"/>
                      <a:pt x="457" y="26"/>
                      <a:pt x="456" y="27"/>
                    </a:cubicBezTo>
                    <a:cubicBezTo>
                      <a:pt x="455" y="28"/>
                      <a:pt x="455" y="29"/>
                      <a:pt x="455" y="29"/>
                    </a:cubicBezTo>
                    <a:cubicBezTo>
                      <a:pt x="454" y="30"/>
                      <a:pt x="453" y="31"/>
                      <a:pt x="453" y="32"/>
                    </a:cubicBezTo>
                    <a:cubicBezTo>
                      <a:pt x="452" y="33"/>
                      <a:pt x="453" y="34"/>
                      <a:pt x="453" y="34"/>
                    </a:cubicBezTo>
                    <a:cubicBezTo>
                      <a:pt x="453" y="35"/>
                      <a:pt x="453" y="36"/>
                      <a:pt x="454" y="37"/>
                    </a:cubicBezTo>
                    <a:cubicBezTo>
                      <a:pt x="455" y="37"/>
                      <a:pt x="455" y="37"/>
                      <a:pt x="455" y="38"/>
                    </a:cubicBezTo>
                    <a:cubicBezTo>
                      <a:pt x="456" y="38"/>
                      <a:pt x="456" y="38"/>
                      <a:pt x="457" y="38"/>
                    </a:cubicBezTo>
                    <a:cubicBezTo>
                      <a:pt x="457" y="39"/>
                      <a:pt x="457" y="38"/>
                      <a:pt x="457" y="39"/>
                    </a:cubicBezTo>
                    <a:cubicBezTo>
                      <a:pt x="457" y="39"/>
                      <a:pt x="457" y="39"/>
                      <a:pt x="457" y="40"/>
                    </a:cubicBezTo>
                    <a:cubicBezTo>
                      <a:pt x="457" y="40"/>
                      <a:pt x="457" y="40"/>
                      <a:pt x="457" y="40"/>
                    </a:cubicBezTo>
                    <a:cubicBezTo>
                      <a:pt x="457" y="40"/>
                      <a:pt x="457" y="40"/>
                      <a:pt x="457" y="40"/>
                    </a:cubicBezTo>
                    <a:cubicBezTo>
                      <a:pt x="458" y="40"/>
                      <a:pt x="458" y="41"/>
                      <a:pt x="458" y="41"/>
                    </a:cubicBezTo>
                    <a:cubicBezTo>
                      <a:pt x="458" y="41"/>
                      <a:pt x="458" y="41"/>
                      <a:pt x="459" y="41"/>
                    </a:cubicBezTo>
                    <a:cubicBezTo>
                      <a:pt x="458" y="42"/>
                      <a:pt x="458" y="43"/>
                      <a:pt x="458" y="43"/>
                    </a:cubicBezTo>
                    <a:cubicBezTo>
                      <a:pt x="459" y="43"/>
                      <a:pt x="459" y="43"/>
                      <a:pt x="459" y="43"/>
                    </a:cubicBezTo>
                    <a:cubicBezTo>
                      <a:pt x="459" y="42"/>
                      <a:pt x="460" y="42"/>
                      <a:pt x="460" y="41"/>
                    </a:cubicBezTo>
                    <a:cubicBezTo>
                      <a:pt x="460" y="41"/>
                      <a:pt x="460" y="41"/>
                      <a:pt x="460" y="42"/>
                    </a:cubicBezTo>
                    <a:cubicBezTo>
                      <a:pt x="461" y="41"/>
                      <a:pt x="461" y="41"/>
                      <a:pt x="461" y="41"/>
                    </a:cubicBezTo>
                    <a:cubicBezTo>
                      <a:pt x="462" y="42"/>
                      <a:pt x="462" y="42"/>
                      <a:pt x="462" y="43"/>
                    </a:cubicBezTo>
                    <a:cubicBezTo>
                      <a:pt x="462" y="43"/>
                      <a:pt x="461" y="43"/>
                      <a:pt x="461" y="44"/>
                    </a:cubicBezTo>
                    <a:cubicBezTo>
                      <a:pt x="461" y="44"/>
                      <a:pt x="461" y="44"/>
                      <a:pt x="461" y="44"/>
                    </a:cubicBezTo>
                    <a:cubicBezTo>
                      <a:pt x="461" y="44"/>
                      <a:pt x="461" y="44"/>
                      <a:pt x="461" y="44"/>
                    </a:cubicBezTo>
                    <a:cubicBezTo>
                      <a:pt x="461" y="44"/>
                      <a:pt x="461" y="44"/>
                      <a:pt x="461" y="44"/>
                    </a:cubicBezTo>
                    <a:cubicBezTo>
                      <a:pt x="461" y="44"/>
                      <a:pt x="462" y="45"/>
                      <a:pt x="462" y="44"/>
                    </a:cubicBezTo>
                    <a:cubicBezTo>
                      <a:pt x="463" y="44"/>
                      <a:pt x="464" y="44"/>
                      <a:pt x="464" y="43"/>
                    </a:cubicBezTo>
                    <a:cubicBezTo>
                      <a:pt x="465" y="43"/>
                      <a:pt x="465" y="43"/>
                      <a:pt x="465" y="44"/>
                    </a:cubicBezTo>
                    <a:cubicBezTo>
                      <a:pt x="467" y="44"/>
                      <a:pt x="467" y="44"/>
                      <a:pt x="468" y="44"/>
                    </a:cubicBezTo>
                    <a:cubicBezTo>
                      <a:pt x="469" y="44"/>
                      <a:pt x="471" y="43"/>
                      <a:pt x="472" y="43"/>
                    </a:cubicBezTo>
                    <a:cubicBezTo>
                      <a:pt x="472" y="44"/>
                      <a:pt x="474" y="47"/>
                      <a:pt x="475" y="47"/>
                    </a:cubicBezTo>
                    <a:cubicBezTo>
                      <a:pt x="477" y="48"/>
                      <a:pt x="480" y="47"/>
                      <a:pt x="482" y="46"/>
                    </a:cubicBezTo>
                    <a:cubicBezTo>
                      <a:pt x="483" y="46"/>
                      <a:pt x="483" y="46"/>
                      <a:pt x="483" y="45"/>
                    </a:cubicBezTo>
                    <a:cubicBezTo>
                      <a:pt x="483" y="46"/>
                      <a:pt x="483" y="46"/>
                      <a:pt x="483" y="46"/>
                    </a:cubicBezTo>
                    <a:cubicBezTo>
                      <a:pt x="485" y="47"/>
                      <a:pt x="484" y="48"/>
                      <a:pt x="483" y="49"/>
                    </a:cubicBezTo>
                    <a:cubicBezTo>
                      <a:pt x="484" y="49"/>
                      <a:pt x="485" y="49"/>
                      <a:pt x="486" y="49"/>
                    </a:cubicBezTo>
                    <a:cubicBezTo>
                      <a:pt x="486" y="49"/>
                      <a:pt x="485" y="49"/>
                      <a:pt x="484" y="50"/>
                    </a:cubicBezTo>
                    <a:cubicBezTo>
                      <a:pt x="483" y="51"/>
                      <a:pt x="482" y="52"/>
                      <a:pt x="480" y="53"/>
                    </a:cubicBezTo>
                    <a:cubicBezTo>
                      <a:pt x="481" y="51"/>
                      <a:pt x="477" y="49"/>
                      <a:pt x="476" y="50"/>
                    </a:cubicBezTo>
                    <a:cubicBezTo>
                      <a:pt x="476" y="50"/>
                      <a:pt x="476" y="51"/>
                      <a:pt x="476" y="51"/>
                    </a:cubicBezTo>
                    <a:cubicBezTo>
                      <a:pt x="476" y="52"/>
                      <a:pt x="475" y="53"/>
                      <a:pt x="476" y="53"/>
                    </a:cubicBezTo>
                    <a:cubicBezTo>
                      <a:pt x="475" y="54"/>
                      <a:pt x="473" y="55"/>
                      <a:pt x="473" y="57"/>
                    </a:cubicBezTo>
                    <a:cubicBezTo>
                      <a:pt x="473" y="57"/>
                      <a:pt x="472" y="59"/>
                      <a:pt x="472" y="60"/>
                    </a:cubicBezTo>
                    <a:cubicBezTo>
                      <a:pt x="473" y="60"/>
                      <a:pt x="473" y="60"/>
                      <a:pt x="474" y="60"/>
                    </a:cubicBezTo>
                    <a:cubicBezTo>
                      <a:pt x="474" y="61"/>
                      <a:pt x="475" y="60"/>
                      <a:pt x="476" y="60"/>
                    </a:cubicBezTo>
                    <a:cubicBezTo>
                      <a:pt x="478" y="60"/>
                      <a:pt x="479" y="59"/>
                      <a:pt x="481" y="58"/>
                    </a:cubicBezTo>
                    <a:cubicBezTo>
                      <a:pt x="480" y="58"/>
                      <a:pt x="478" y="59"/>
                      <a:pt x="478" y="57"/>
                    </a:cubicBezTo>
                    <a:cubicBezTo>
                      <a:pt x="478" y="57"/>
                      <a:pt x="479" y="57"/>
                      <a:pt x="479" y="56"/>
                    </a:cubicBezTo>
                    <a:cubicBezTo>
                      <a:pt x="479" y="56"/>
                      <a:pt x="479" y="55"/>
                      <a:pt x="480" y="55"/>
                    </a:cubicBezTo>
                    <a:cubicBezTo>
                      <a:pt x="480" y="55"/>
                      <a:pt x="480" y="55"/>
                      <a:pt x="480" y="56"/>
                    </a:cubicBezTo>
                    <a:cubicBezTo>
                      <a:pt x="480" y="57"/>
                      <a:pt x="481" y="56"/>
                      <a:pt x="481" y="56"/>
                    </a:cubicBezTo>
                    <a:cubicBezTo>
                      <a:pt x="482" y="57"/>
                      <a:pt x="481" y="61"/>
                      <a:pt x="481" y="62"/>
                    </a:cubicBezTo>
                    <a:cubicBezTo>
                      <a:pt x="482" y="62"/>
                      <a:pt x="484" y="62"/>
                      <a:pt x="485" y="62"/>
                    </a:cubicBezTo>
                    <a:cubicBezTo>
                      <a:pt x="483" y="63"/>
                      <a:pt x="482" y="64"/>
                      <a:pt x="481" y="65"/>
                    </a:cubicBezTo>
                    <a:cubicBezTo>
                      <a:pt x="479" y="66"/>
                      <a:pt x="478" y="67"/>
                      <a:pt x="477" y="68"/>
                    </a:cubicBezTo>
                    <a:cubicBezTo>
                      <a:pt x="476" y="69"/>
                      <a:pt x="475" y="69"/>
                      <a:pt x="475" y="70"/>
                    </a:cubicBezTo>
                    <a:cubicBezTo>
                      <a:pt x="473" y="71"/>
                      <a:pt x="472" y="73"/>
                      <a:pt x="470" y="73"/>
                    </a:cubicBezTo>
                    <a:cubicBezTo>
                      <a:pt x="469" y="73"/>
                      <a:pt x="468" y="72"/>
                      <a:pt x="468" y="72"/>
                    </a:cubicBezTo>
                    <a:cubicBezTo>
                      <a:pt x="467" y="72"/>
                      <a:pt x="467" y="72"/>
                      <a:pt x="466" y="73"/>
                    </a:cubicBezTo>
                    <a:cubicBezTo>
                      <a:pt x="466" y="72"/>
                      <a:pt x="466" y="72"/>
                      <a:pt x="465" y="72"/>
                    </a:cubicBezTo>
                    <a:cubicBezTo>
                      <a:pt x="464" y="72"/>
                      <a:pt x="464" y="73"/>
                      <a:pt x="463" y="74"/>
                    </a:cubicBezTo>
                    <a:cubicBezTo>
                      <a:pt x="463" y="75"/>
                      <a:pt x="461" y="77"/>
                      <a:pt x="461" y="78"/>
                    </a:cubicBezTo>
                    <a:cubicBezTo>
                      <a:pt x="462" y="79"/>
                      <a:pt x="462" y="78"/>
                      <a:pt x="462" y="79"/>
                    </a:cubicBezTo>
                    <a:cubicBezTo>
                      <a:pt x="463" y="79"/>
                      <a:pt x="464" y="80"/>
                      <a:pt x="464" y="80"/>
                    </a:cubicBezTo>
                    <a:cubicBezTo>
                      <a:pt x="465" y="81"/>
                      <a:pt x="465" y="82"/>
                      <a:pt x="465" y="83"/>
                    </a:cubicBezTo>
                    <a:cubicBezTo>
                      <a:pt x="465" y="84"/>
                      <a:pt x="466" y="85"/>
                      <a:pt x="466" y="86"/>
                    </a:cubicBezTo>
                    <a:cubicBezTo>
                      <a:pt x="466" y="88"/>
                      <a:pt x="465" y="88"/>
                      <a:pt x="465" y="90"/>
                    </a:cubicBezTo>
                    <a:cubicBezTo>
                      <a:pt x="466" y="90"/>
                      <a:pt x="466" y="92"/>
                      <a:pt x="466" y="92"/>
                    </a:cubicBezTo>
                    <a:cubicBezTo>
                      <a:pt x="465" y="93"/>
                      <a:pt x="465" y="92"/>
                      <a:pt x="464" y="92"/>
                    </a:cubicBezTo>
                    <a:cubicBezTo>
                      <a:pt x="463" y="92"/>
                      <a:pt x="462" y="92"/>
                      <a:pt x="461" y="92"/>
                    </a:cubicBezTo>
                    <a:cubicBezTo>
                      <a:pt x="460" y="92"/>
                      <a:pt x="459" y="91"/>
                      <a:pt x="457" y="92"/>
                    </a:cubicBezTo>
                    <a:cubicBezTo>
                      <a:pt x="459" y="93"/>
                      <a:pt x="462" y="96"/>
                      <a:pt x="460" y="98"/>
                    </a:cubicBezTo>
                    <a:cubicBezTo>
                      <a:pt x="460" y="97"/>
                      <a:pt x="460" y="95"/>
                      <a:pt x="460" y="95"/>
                    </a:cubicBezTo>
                    <a:cubicBezTo>
                      <a:pt x="459" y="94"/>
                      <a:pt x="458" y="94"/>
                      <a:pt x="458" y="94"/>
                    </a:cubicBezTo>
                    <a:cubicBezTo>
                      <a:pt x="457" y="93"/>
                      <a:pt x="457" y="93"/>
                      <a:pt x="456" y="92"/>
                    </a:cubicBezTo>
                    <a:cubicBezTo>
                      <a:pt x="456" y="92"/>
                      <a:pt x="455" y="91"/>
                      <a:pt x="455" y="91"/>
                    </a:cubicBezTo>
                    <a:cubicBezTo>
                      <a:pt x="454" y="90"/>
                      <a:pt x="453" y="89"/>
                      <a:pt x="455" y="89"/>
                    </a:cubicBezTo>
                    <a:cubicBezTo>
                      <a:pt x="456" y="89"/>
                      <a:pt x="455" y="90"/>
                      <a:pt x="455" y="91"/>
                    </a:cubicBezTo>
                    <a:cubicBezTo>
                      <a:pt x="456" y="91"/>
                      <a:pt x="457" y="91"/>
                      <a:pt x="457" y="91"/>
                    </a:cubicBezTo>
                    <a:cubicBezTo>
                      <a:pt x="458" y="91"/>
                      <a:pt x="458" y="90"/>
                      <a:pt x="459" y="90"/>
                    </a:cubicBezTo>
                    <a:cubicBezTo>
                      <a:pt x="458" y="91"/>
                      <a:pt x="459" y="92"/>
                      <a:pt x="461" y="91"/>
                    </a:cubicBezTo>
                    <a:cubicBezTo>
                      <a:pt x="461" y="91"/>
                      <a:pt x="461" y="91"/>
                      <a:pt x="462" y="91"/>
                    </a:cubicBezTo>
                    <a:cubicBezTo>
                      <a:pt x="462" y="91"/>
                      <a:pt x="462" y="91"/>
                      <a:pt x="462" y="92"/>
                    </a:cubicBezTo>
                    <a:cubicBezTo>
                      <a:pt x="463" y="92"/>
                      <a:pt x="465" y="92"/>
                      <a:pt x="465" y="91"/>
                    </a:cubicBezTo>
                    <a:cubicBezTo>
                      <a:pt x="465" y="90"/>
                      <a:pt x="465" y="90"/>
                      <a:pt x="465" y="90"/>
                    </a:cubicBezTo>
                    <a:cubicBezTo>
                      <a:pt x="465" y="89"/>
                      <a:pt x="465" y="89"/>
                      <a:pt x="464" y="88"/>
                    </a:cubicBezTo>
                    <a:cubicBezTo>
                      <a:pt x="464" y="89"/>
                      <a:pt x="463" y="88"/>
                      <a:pt x="464" y="88"/>
                    </a:cubicBezTo>
                    <a:cubicBezTo>
                      <a:pt x="463" y="88"/>
                      <a:pt x="464" y="87"/>
                      <a:pt x="463" y="87"/>
                    </a:cubicBezTo>
                    <a:cubicBezTo>
                      <a:pt x="463" y="87"/>
                      <a:pt x="461" y="88"/>
                      <a:pt x="460" y="88"/>
                    </a:cubicBezTo>
                    <a:cubicBezTo>
                      <a:pt x="460" y="87"/>
                      <a:pt x="461" y="87"/>
                      <a:pt x="462" y="86"/>
                    </a:cubicBezTo>
                    <a:cubicBezTo>
                      <a:pt x="463" y="85"/>
                      <a:pt x="463" y="84"/>
                      <a:pt x="462" y="84"/>
                    </a:cubicBezTo>
                    <a:cubicBezTo>
                      <a:pt x="461" y="85"/>
                      <a:pt x="462" y="84"/>
                      <a:pt x="461" y="84"/>
                    </a:cubicBezTo>
                    <a:cubicBezTo>
                      <a:pt x="460" y="84"/>
                      <a:pt x="458" y="86"/>
                      <a:pt x="457" y="87"/>
                    </a:cubicBezTo>
                    <a:cubicBezTo>
                      <a:pt x="457" y="86"/>
                      <a:pt x="455" y="87"/>
                      <a:pt x="456" y="85"/>
                    </a:cubicBezTo>
                    <a:cubicBezTo>
                      <a:pt x="456" y="85"/>
                      <a:pt x="457" y="84"/>
                      <a:pt x="457" y="83"/>
                    </a:cubicBezTo>
                    <a:cubicBezTo>
                      <a:pt x="456" y="84"/>
                      <a:pt x="455" y="83"/>
                      <a:pt x="455" y="83"/>
                    </a:cubicBezTo>
                    <a:cubicBezTo>
                      <a:pt x="453" y="82"/>
                      <a:pt x="454" y="82"/>
                      <a:pt x="454" y="81"/>
                    </a:cubicBezTo>
                    <a:cubicBezTo>
                      <a:pt x="455" y="81"/>
                      <a:pt x="455" y="80"/>
                      <a:pt x="455" y="79"/>
                    </a:cubicBezTo>
                    <a:cubicBezTo>
                      <a:pt x="456" y="79"/>
                      <a:pt x="456" y="80"/>
                      <a:pt x="457" y="79"/>
                    </a:cubicBezTo>
                    <a:cubicBezTo>
                      <a:pt x="457" y="79"/>
                      <a:pt x="456" y="79"/>
                      <a:pt x="456" y="79"/>
                    </a:cubicBezTo>
                    <a:cubicBezTo>
                      <a:pt x="456" y="78"/>
                      <a:pt x="456" y="78"/>
                      <a:pt x="456" y="78"/>
                    </a:cubicBezTo>
                    <a:cubicBezTo>
                      <a:pt x="456" y="77"/>
                      <a:pt x="456" y="76"/>
                      <a:pt x="457" y="75"/>
                    </a:cubicBezTo>
                    <a:cubicBezTo>
                      <a:pt x="457" y="74"/>
                      <a:pt x="457" y="73"/>
                      <a:pt x="458" y="72"/>
                    </a:cubicBezTo>
                    <a:cubicBezTo>
                      <a:pt x="458" y="72"/>
                      <a:pt x="458" y="72"/>
                      <a:pt x="458" y="72"/>
                    </a:cubicBezTo>
                    <a:cubicBezTo>
                      <a:pt x="458" y="71"/>
                      <a:pt x="458" y="71"/>
                      <a:pt x="458" y="71"/>
                    </a:cubicBezTo>
                    <a:cubicBezTo>
                      <a:pt x="458" y="71"/>
                      <a:pt x="458" y="70"/>
                      <a:pt x="458" y="70"/>
                    </a:cubicBezTo>
                    <a:cubicBezTo>
                      <a:pt x="458" y="70"/>
                      <a:pt x="458" y="70"/>
                      <a:pt x="458" y="69"/>
                    </a:cubicBezTo>
                    <a:cubicBezTo>
                      <a:pt x="458" y="70"/>
                      <a:pt x="457" y="70"/>
                      <a:pt x="456" y="70"/>
                    </a:cubicBezTo>
                    <a:cubicBezTo>
                      <a:pt x="455" y="71"/>
                      <a:pt x="454" y="72"/>
                      <a:pt x="454" y="72"/>
                    </a:cubicBezTo>
                    <a:cubicBezTo>
                      <a:pt x="453" y="73"/>
                      <a:pt x="451" y="73"/>
                      <a:pt x="450" y="73"/>
                    </a:cubicBezTo>
                    <a:cubicBezTo>
                      <a:pt x="449" y="72"/>
                      <a:pt x="451" y="72"/>
                      <a:pt x="452" y="71"/>
                    </a:cubicBezTo>
                    <a:cubicBezTo>
                      <a:pt x="452" y="71"/>
                      <a:pt x="452" y="70"/>
                      <a:pt x="453" y="70"/>
                    </a:cubicBezTo>
                    <a:cubicBezTo>
                      <a:pt x="452" y="70"/>
                      <a:pt x="451" y="69"/>
                      <a:pt x="452" y="69"/>
                    </a:cubicBezTo>
                    <a:cubicBezTo>
                      <a:pt x="451" y="68"/>
                      <a:pt x="451" y="69"/>
                      <a:pt x="450" y="69"/>
                    </a:cubicBezTo>
                    <a:cubicBezTo>
                      <a:pt x="449" y="69"/>
                      <a:pt x="448" y="69"/>
                      <a:pt x="447" y="69"/>
                    </a:cubicBezTo>
                    <a:cubicBezTo>
                      <a:pt x="448" y="68"/>
                      <a:pt x="448" y="68"/>
                      <a:pt x="448" y="67"/>
                    </a:cubicBezTo>
                    <a:cubicBezTo>
                      <a:pt x="448" y="67"/>
                      <a:pt x="446" y="67"/>
                      <a:pt x="447" y="67"/>
                    </a:cubicBezTo>
                    <a:cubicBezTo>
                      <a:pt x="447" y="66"/>
                      <a:pt x="446" y="66"/>
                      <a:pt x="446" y="66"/>
                    </a:cubicBezTo>
                    <a:cubicBezTo>
                      <a:pt x="445" y="65"/>
                      <a:pt x="444" y="66"/>
                      <a:pt x="442" y="66"/>
                    </a:cubicBezTo>
                    <a:cubicBezTo>
                      <a:pt x="442" y="66"/>
                      <a:pt x="442" y="65"/>
                      <a:pt x="441" y="65"/>
                    </a:cubicBezTo>
                    <a:cubicBezTo>
                      <a:pt x="441" y="65"/>
                      <a:pt x="440" y="64"/>
                      <a:pt x="439" y="64"/>
                    </a:cubicBezTo>
                    <a:cubicBezTo>
                      <a:pt x="435" y="63"/>
                      <a:pt x="442" y="67"/>
                      <a:pt x="439" y="67"/>
                    </a:cubicBezTo>
                    <a:cubicBezTo>
                      <a:pt x="438" y="67"/>
                      <a:pt x="437" y="68"/>
                      <a:pt x="435" y="68"/>
                    </a:cubicBezTo>
                    <a:cubicBezTo>
                      <a:pt x="434" y="67"/>
                      <a:pt x="432" y="67"/>
                      <a:pt x="431" y="67"/>
                    </a:cubicBezTo>
                    <a:cubicBezTo>
                      <a:pt x="431" y="67"/>
                      <a:pt x="431" y="68"/>
                      <a:pt x="432" y="68"/>
                    </a:cubicBezTo>
                    <a:cubicBezTo>
                      <a:pt x="432" y="68"/>
                      <a:pt x="432" y="68"/>
                      <a:pt x="432" y="69"/>
                    </a:cubicBezTo>
                    <a:cubicBezTo>
                      <a:pt x="432" y="69"/>
                      <a:pt x="432" y="69"/>
                      <a:pt x="433" y="69"/>
                    </a:cubicBezTo>
                    <a:cubicBezTo>
                      <a:pt x="433" y="70"/>
                      <a:pt x="434" y="70"/>
                      <a:pt x="434" y="71"/>
                    </a:cubicBezTo>
                    <a:cubicBezTo>
                      <a:pt x="434" y="73"/>
                      <a:pt x="433" y="71"/>
                      <a:pt x="432" y="71"/>
                    </a:cubicBezTo>
                    <a:cubicBezTo>
                      <a:pt x="433" y="71"/>
                      <a:pt x="433" y="72"/>
                      <a:pt x="434" y="73"/>
                    </a:cubicBezTo>
                    <a:cubicBezTo>
                      <a:pt x="434" y="73"/>
                      <a:pt x="435" y="74"/>
                      <a:pt x="435" y="74"/>
                    </a:cubicBezTo>
                    <a:cubicBezTo>
                      <a:pt x="436" y="75"/>
                      <a:pt x="437" y="76"/>
                      <a:pt x="438" y="74"/>
                    </a:cubicBezTo>
                    <a:cubicBezTo>
                      <a:pt x="438" y="74"/>
                      <a:pt x="441" y="73"/>
                      <a:pt x="441" y="73"/>
                    </a:cubicBezTo>
                    <a:cubicBezTo>
                      <a:pt x="441" y="73"/>
                      <a:pt x="443" y="74"/>
                      <a:pt x="443" y="74"/>
                    </a:cubicBezTo>
                    <a:cubicBezTo>
                      <a:pt x="443" y="74"/>
                      <a:pt x="444" y="75"/>
                      <a:pt x="444" y="75"/>
                    </a:cubicBezTo>
                    <a:cubicBezTo>
                      <a:pt x="445" y="75"/>
                      <a:pt x="445" y="74"/>
                      <a:pt x="446" y="75"/>
                    </a:cubicBezTo>
                    <a:cubicBezTo>
                      <a:pt x="446" y="75"/>
                      <a:pt x="447" y="77"/>
                      <a:pt x="447" y="77"/>
                    </a:cubicBezTo>
                    <a:cubicBezTo>
                      <a:pt x="447" y="77"/>
                      <a:pt x="446" y="77"/>
                      <a:pt x="446" y="78"/>
                    </a:cubicBezTo>
                    <a:cubicBezTo>
                      <a:pt x="446" y="79"/>
                      <a:pt x="447" y="79"/>
                      <a:pt x="446" y="80"/>
                    </a:cubicBezTo>
                    <a:cubicBezTo>
                      <a:pt x="446" y="80"/>
                      <a:pt x="444" y="80"/>
                      <a:pt x="443" y="80"/>
                    </a:cubicBezTo>
                    <a:cubicBezTo>
                      <a:pt x="442" y="80"/>
                      <a:pt x="442" y="80"/>
                      <a:pt x="442" y="80"/>
                    </a:cubicBezTo>
                    <a:cubicBezTo>
                      <a:pt x="441" y="79"/>
                      <a:pt x="440" y="79"/>
                      <a:pt x="439" y="79"/>
                    </a:cubicBezTo>
                    <a:cubicBezTo>
                      <a:pt x="438" y="78"/>
                      <a:pt x="437" y="77"/>
                      <a:pt x="436" y="76"/>
                    </a:cubicBezTo>
                    <a:cubicBezTo>
                      <a:pt x="435" y="75"/>
                      <a:pt x="434" y="73"/>
                      <a:pt x="433" y="73"/>
                    </a:cubicBezTo>
                    <a:cubicBezTo>
                      <a:pt x="431" y="72"/>
                      <a:pt x="430" y="72"/>
                      <a:pt x="430" y="73"/>
                    </a:cubicBezTo>
                    <a:cubicBezTo>
                      <a:pt x="430" y="74"/>
                      <a:pt x="431" y="75"/>
                      <a:pt x="432" y="75"/>
                    </a:cubicBezTo>
                    <a:cubicBezTo>
                      <a:pt x="431" y="76"/>
                      <a:pt x="430" y="77"/>
                      <a:pt x="429" y="78"/>
                    </a:cubicBezTo>
                    <a:cubicBezTo>
                      <a:pt x="428" y="78"/>
                      <a:pt x="428" y="78"/>
                      <a:pt x="427" y="78"/>
                    </a:cubicBezTo>
                    <a:cubicBezTo>
                      <a:pt x="426" y="78"/>
                      <a:pt x="425" y="78"/>
                      <a:pt x="424" y="77"/>
                    </a:cubicBezTo>
                    <a:cubicBezTo>
                      <a:pt x="422" y="77"/>
                      <a:pt x="420" y="77"/>
                      <a:pt x="418" y="76"/>
                    </a:cubicBezTo>
                    <a:cubicBezTo>
                      <a:pt x="417" y="76"/>
                      <a:pt x="416" y="76"/>
                      <a:pt x="416" y="76"/>
                    </a:cubicBezTo>
                    <a:cubicBezTo>
                      <a:pt x="413" y="76"/>
                      <a:pt x="410" y="77"/>
                      <a:pt x="408" y="78"/>
                    </a:cubicBezTo>
                    <a:cubicBezTo>
                      <a:pt x="406" y="78"/>
                      <a:pt x="403" y="79"/>
                      <a:pt x="401" y="79"/>
                    </a:cubicBezTo>
                    <a:cubicBezTo>
                      <a:pt x="400" y="78"/>
                      <a:pt x="397" y="78"/>
                      <a:pt x="397" y="79"/>
                    </a:cubicBezTo>
                    <a:cubicBezTo>
                      <a:pt x="397" y="79"/>
                      <a:pt x="397" y="79"/>
                      <a:pt x="397" y="79"/>
                    </a:cubicBezTo>
                    <a:cubicBezTo>
                      <a:pt x="395" y="79"/>
                      <a:pt x="395" y="78"/>
                      <a:pt x="393" y="77"/>
                    </a:cubicBezTo>
                    <a:cubicBezTo>
                      <a:pt x="391" y="77"/>
                      <a:pt x="390" y="77"/>
                      <a:pt x="388" y="76"/>
                    </a:cubicBezTo>
                    <a:cubicBezTo>
                      <a:pt x="388" y="76"/>
                      <a:pt x="388" y="75"/>
                      <a:pt x="387" y="75"/>
                    </a:cubicBezTo>
                    <a:cubicBezTo>
                      <a:pt x="387" y="75"/>
                      <a:pt x="386" y="74"/>
                      <a:pt x="386" y="74"/>
                    </a:cubicBezTo>
                    <a:cubicBezTo>
                      <a:pt x="385" y="74"/>
                      <a:pt x="383" y="73"/>
                      <a:pt x="383" y="73"/>
                    </a:cubicBezTo>
                    <a:cubicBezTo>
                      <a:pt x="381" y="72"/>
                      <a:pt x="378" y="73"/>
                      <a:pt x="375" y="73"/>
                    </a:cubicBezTo>
                    <a:cubicBezTo>
                      <a:pt x="375" y="73"/>
                      <a:pt x="374" y="73"/>
                      <a:pt x="373" y="73"/>
                    </a:cubicBezTo>
                    <a:cubicBezTo>
                      <a:pt x="372" y="73"/>
                      <a:pt x="372" y="73"/>
                      <a:pt x="372" y="73"/>
                    </a:cubicBezTo>
                    <a:cubicBezTo>
                      <a:pt x="371" y="73"/>
                      <a:pt x="372" y="72"/>
                      <a:pt x="371" y="72"/>
                    </a:cubicBezTo>
                    <a:cubicBezTo>
                      <a:pt x="371" y="72"/>
                      <a:pt x="371" y="72"/>
                      <a:pt x="371" y="71"/>
                    </a:cubicBezTo>
                    <a:cubicBezTo>
                      <a:pt x="370" y="71"/>
                      <a:pt x="370" y="71"/>
                      <a:pt x="370" y="71"/>
                    </a:cubicBezTo>
                    <a:cubicBezTo>
                      <a:pt x="370" y="71"/>
                      <a:pt x="370" y="70"/>
                      <a:pt x="370" y="70"/>
                    </a:cubicBezTo>
                    <a:cubicBezTo>
                      <a:pt x="370" y="69"/>
                      <a:pt x="371" y="69"/>
                      <a:pt x="369" y="69"/>
                    </a:cubicBezTo>
                    <a:cubicBezTo>
                      <a:pt x="368" y="69"/>
                      <a:pt x="367" y="70"/>
                      <a:pt x="367" y="69"/>
                    </a:cubicBezTo>
                    <a:cubicBezTo>
                      <a:pt x="366" y="69"/>
                      <a:pt x="365" y="68"/>
                      <a:pt x="364" y="68"/>
                    </a:cubicBezTo>
                    <a:cubicBezTo>
                      <a:pt x="364" y="67"/>
                      <a:pt x="363" y="67"/>
                      <a:pt x="363" y="67"/>
                    </a:cubicBezTo>
                    <a:cubicBezTo>
                      <a:pt x="363" y="67"/>
                      <a:pt x="363" y="66"/>
                      <a:pt x="363" y="66"/>
                    </a:cubicBezTo>
                    <a:cubicBezTo>
                      <a:pt x="363" y="66"/>
                      <a:pt x="362" y="66"/>
                      <a:pt x="362" y="66"/>
                    </a:cubicBezTo>
                    <a:cubicBezTo>
                      <a:pt x="359" y="65"/>
                      <a:pt x="363" y="65"/>
                      <a:pt x="363" y="65"/>
                    </a:cubicBezTo>
                    <a:cubicBezTo>
                      <a:pt x="363" y="65"/>
                      <a:pt x="362" y="63"/>
                      <a:pt x="362" y="63"/>
                    </a:cubicBezTo>
                    <a:cubicBezTo>
                      <a:pt x="362" y="63"/>
                      <a:pt x="361" y="62"/>
                      <a:pt x="361" y="62"/>
                    </a:cubicBezTo>
                    <a:cubicBezTo>
                      <a:pt x="361" y="61"/>
                      <a:pt x="362" y="61"/>
                      <a:pt x="362" y="61"/>
                    </a:cubicBezTo>
                    <a:cubicBezTo>
                      <a:pt x="361" y="60"/>
                      <a:pt x="360" y="59"/>
                      <a:pt x="360" y="59"/>
                    </a:cubicBezTo>
                    <a:cubicBezTo>
                      <a:pt x="358" y="58"/>
                      <a:pt x="356" y="57"/>
                      <a:pt x="354" y="57"/>
                    </a:cubicBezTo>
                    <a:cubicBezTo>
                      <a:pt x="354" y="57"/>
                      <a:pt x="352" y="58"/>
                      <a:pt x="351" y="58"/>
                    </a:cubicBezTo>
                    <a:cubicBezTo>
                      <a:pt x="349" y="59"/>
                      <a:pt x="347" y="59"/>
                      <a:pt x="344" y="60"/>
                    </a:cubicBezTo>
                    <a:cubicBezTo>
                      <a:pt x="341" y="61"/>
                      <a:pt x="338" y="61"/>
                      <a:pt x="334" y="62"/>
                    </a:cubicBezTo>
                    <a:cubicBezTo>
                      <a:pt x="333" y="62"/>
                      <a:pt x="332" y="63"/>
                      <a:pt x="331" y="64"/>
                    </a:cubicBezTo>
                    <a:cubicBezTo>
                      <a:pt x="331" y="64"/>
                      <a:pt x="331" y="65"/>
                      <a:pt x="330" y="66"/>
                    </a:cubicBezTo>
                    <a:cubicBezTo>
                      <a:pt x="329" y="67"/>
                      <a:pt x="329" y="67"/>
                      <a:pt x="328" y="68"/>
                    </a:cubicBezTo>
                    <a:cubicBezTo>
                      <a:pt x="326" y="71"/>
                      <a:pt x="333" y="66"/>
                      <a:pt x="331" y="69"/>
                    </a:cubicBezTo>
                    <a:cubicBezTo>
                      <a:pt x="334" y="69"/>
                      <a:pt x="337" y="70"/>
                      <a:pt x="340" y="70"/>
                    </a:cubicBezTo>
                    <a:cubicBezTo>
                      <a:pt x="339" y="69"/>
                      <a:pt x="338" y="70"/>
                      <a:pt x="338" y="68"/>
                    </a:cubicBezTo>
                    <a:cubicBezTo>
                      <a:pt x="338" y="67"/>
                      <a:pt x="340" y="67"/>
                      <a:pt x="341" y="67"/>
                    </a:cubicBezTo>
                    <a:cubicBezTo>
                      <a:pt x="341" y="68"/>
                      <a:pt x="342" y="68"/>
                      <a:pt x="343" y="68"/>
                    </a:cubicBezTo>
                    <a:cubicBezTo>
                      <a:pt x="344" y="69"/>
                      <a:pt x="345" y="68"/>
                      <a:pt x="346" y="67"/>
                    </a:cubicBezTo>
                    <a:cubicBezTo>
                      <a:pt x="347" y="67"/>
                      <a:pt x="348" y="66"/>
                      <a:pt x="349" y="66"/>
                    </a:cubicBezTo>
                    <a:cubicBezTo>
                      <a:pt x="349" y="67"/>
                      <a:pt x="350" y="68"/>
                      <a:pt x="351" y="68"/>
                    </a:cubicBezTo>
                    <a:cubicBezTo>
                      <a:pt x="350" y="67"/>
                      <a:pt x="351" y="67"/>
                      <a:pt x="351" y="66"/>
                    </a:cubicBezTo>
                    <a:cubicBezTo>
                      <a:pt x="351" y="66"/>
                      <a:pt x="351" y="65"/>
                      <a:pt x="351" y="65"/>
                    </a:cubicBezTo>
                    <a:cubicBezTo>
                      <a:pt x="351" y="64"/>
                      <a:pt x="352" y="64"/>
                      <a:pt x="352" y="64"/>
                    </a:cubicBezTo>
                    <a:cubicBezTo>
                      <a:pt x="355" y="63"/>
                      <a:pt x="357" y="62"/>
                      <a:pt x="360" y="62"/>
                    </a:cubicBezTo>
                    <a:cubicBezTo>
                      <a:pt x="360" y="62"/>
                      <a:pt x="359" y="63"/>
                      <a:pt x="359" y="63"/>
                    </a:cubicBezTo>
                    <a:cubicBezTo>
                      <a:pt x="359" y="64"/>
                      <a:pt x="359" y="64"/>
                      <a:pt x="359" y="65"/>
                    </a:cubicBezTo>
                    <a:cubicBezTo>
                      <a:pt x="359" y="66"/>
                      <a:pt x="354" y="66"/>
                      <a:pt x="353" y="67"/>
                    </a:cubicBezTo>
                    <a:cubicBezTo>
                      <a:pt x="352" y="67"/>
                      <a:pt x="352" y="67"/>
                      <a:pt x="351" y="69"/>
                    </a:cubicBezTo>
                    <a:cubicBezTo>
                      <a:pt x="351" y="71"/>
                      <a:pt x="351" y="69"/>
                      <a:pt x="350" y="69"/>
                    </a:cubicBezTo>
                    <a:cubicBezTo>
                      <a:pt x="349" y="69"/>
                      <a:pt x="348" y="69"/>
                      <a:pt x="348" y="70"/>
                    </a:cubicBezTo>
                    <a:cubicBezTo>
                      <a:pt x="345" y="71"/>
                      <a:pt x="343" y="72"/>
                      <a:pt x="340" y="73"/>
                    </a:cubicBezTo>
                    <a:cubicBezTo>
                      <a:pt x="337" y="74"/>
                      <a:pt x="338" y="73"/>
                      <a:pt x="337" y="72"/>
                    </a:cubicBezTo>
                    <a:cubicBezTo>
                      <a:pt x="337" y="72"/>
                      <a:pt x="337" y="72"/>
                      <a:pt x="337" y="73"/>
                    </a:cubicBezTo>
                    <a:cubicBezTo>
                      <a:pt x="337" y="73"/>
                      <a:pt x="337" y="73"/>
                      <a:pt x="337" y="73"/>
                    </a:cubicBezTo>
                    <a:cubicBezTo>
                      <a:pt x="337" y="73"/>
                      <a:pt x="337" y="73"/>
                      <a:pt x="337" y="74"/>
                    </a:cubicBezTo>
                    <a:cubicBezTo>
                      <a:pt x="338" y="74"/>
                      <a:pt x="340" y="74"/>
                      <a:pt x="339" y="75"/>
                    </a:cubicBezTo>
                    <a:cubicBezTo>
                      <a:pt x="338" y="76"/>
                      <a:pt x="336" y="76"/>
                      <a:pt x="336" y="77"/>
                    </a:cubicBezTo>
                    <a:cubicBezTo>
                      <a:pt x="335" y="77"/>
                      <a:pt x="335" y="78"/>
                      <a:pt x="335" y="78"/>
                    </a:cubicBezTo>
                    <a:cubicBezTo>
                      <a:pt x="335" y="78"/>
                      <a:pt x="335" y="78"/>
                      <a:pt x="334" y="78"/>
                    </a:cubicBezTo>
                    <a:cubicBezTo>
                      <a:pt x="335" y="78"/>
                      <a:pt x="335" y="79"/>
                      <a:pt x="336" y="79"/>
                    </a:cubicBezTo>
                    <a:cubicBezTo>
                      <a:pt x="336" y="80"/>
                      <a:pt x="336" y="80"/>
                      <a:pt x="336" y="80"/>
                    </a:cubicBezTo>
                    <a:cubicBezTo>
                      <a:pt x="336" y="80"/>
                      <a:pt x="337" y="80"/>
                      <a:pt x="337" y="79"/>
                    </a:cubicBezTo>
                    <a:cubicBezTo>
                      <a:pt x="337" y="79"/>
                      <a:pt x="337" y="79"/>
                      <a:pt x="337" y="79"/>
                    </a:cubicBezTo>
                    <a:cubicBezTo>
                      <a:pt x="338" y="80"/>
                      <a:pt x="338" y="81"/>
                      <a:pt x="339" y="81"/>
                    </a:cubicBezTo>
                    <a:cubicBezTo>
                      <a:pt x="340" y="82"/>
                      <a:pt x="340" y="82"/>
                      <a:pt x="339" y="83"/>
                    </a:cubicBezTo>
                    <a:cubicBezTo>
                      <a:pt x="339" y="84"/>
                      <a:pt x="339" y="83"/>
                      <a:pt x="339" y="84"/>
                    </a:cubicBezTo>
                    <a:cubicBezTo>
                      <a:pt x="339" y="84"/>
                      <a:pt x="340" y="85"/>
                      <a:pt x="340" y="85"/>
                    </a:cubicBezTo>
                    <a:cubicBezTo>
                      <a:pt x="340" y="86"/>
                      <a:pt x="340" y="86"/>
                      <a:pt x="341" y="87"/>
                    </a:cubicBezTo>
                    <a:cubicBezTo>
                      <a:pt x="341" y="88"/>
                      <a:pt x="343" y="88"/>
                      <a:pt x="344" y="89"/>
                    </a:cubicBezTo>
                    <a:cubicBezTo>
                      <a:pt x="344" y="89"/>
                      <a:pt x="342" y="89"/>
                      <a:pt x="342" y="90"/>
                    </a:cubicBezTo>
                    <a:cubicBezTo>
                      <a:pt x="342" y="90"/>
                      <a:pt x="342" y="90"/>
                      <a:pt x="343" y="91"/>
                    </a:cubicBezTo>
                    <a:cubicBezTo>
                      <a:pt x="344" y="91"/>
                      <a:pt x="345" y="93"/>
                      <a:pt x="345" y="94"/>
                    </a:cubicBezTo>
                    <a:cubicBezTo>
                      <a:pt x="344" y="93"/>
                      <a:pt x="343" y="92"/>
                      <a:pt x="341" y="91"/>
                    </a:cubicBezTo>
                    <a:cubicBezTo>
                      <a:pt x="342" y="92"/>
                      <a:pt x="342" y="93"/>
                      <a:pt x="342" y="94"/>
                    </a:cubicBezTo>
                    <a:cubicBezTo>
                      <a:pt x="341" y="94"/>
                      <a:pt x="341" y="94"/>
                      <a:pt x="340" y="93"/>
                    </a:cubicBezTo>
                    <a:cubicBezTo>
                      <a:pt x="340" y="93"/>
                      <a:pt x="341" y="93"/>
                      <a:pt x="340" y="93"/>
                    </a:cubicBezTo>
                    <a:cubicBezTo>
                      <a:pt x="340" y="92"/>
                      <a:pt x="341" y="92"/>
                      <a:pt x="341" y="91"/>
                    </a:cubicBezTo>
                    <a:cubicBezTo>
                      <a:pt x="341" y="91"/>
                      <a:pt x="340" y="90"/>
                      <a:pt x="339" y="90"/>
                    </a:cubicBezTo>
                    <a:cubicBezTo>
                      <a:pt x="340" y="90"/>
                      <a:pt x="338" y="90"/>
                      <a:pt x="338" y="91"/>
                    </a:cubicBezTo>
                    <a:cubicBezTo>
                      <a:pt x="338" y="92"/>
                      <a:pt x="338" y="92"/>
                      <a:pt x="339" y="93"/>
                    </a:cubicBezTo>
                    <a:cubicBezTo>
                      <a:pt x="339" y="93"/>
                      <a:pt x="339" y="94"/>
                      <a:pt x="339" y="94"/>
                    </a:cubicBezTo>
                    <a:cubicBezTo>
                      <a:pt x="338" y="95"/>
                      <a:pt x="338" y="95"/>
                      <a:pt x="339" y="96"/>
                    </a:cubicBezTo>
                    <a:cubicBezTo>
                      <a:pt x="339" y="96"/>
                      <a:pt x="340" y="96"/>
                      <a:pt x="340" y="97"/>
                    </a:cubicBezTo>
                    <a:cubicBezTo>
                      <a:pt x="340" y="97"/>
                      <a:pt x="341" y="98"/>
                      <a:pt x="341" y="98"/>
                    </a:cubicBezTo>
                    <a:cubicBezTo>
                      <a:pt x="342" y="99"/>
                      <a:pt x="343" y="100"/>
                      <a:pt x="343" y="102"/>
                    </a:cubicBezTo>
                    <a:cubicBezTo>
                      <a:pt x="342" y="101"/>
                      <a:pt x="342" y="100"/>
                      <a:pt x="341" y="99"/>
                    </a:cubicBezTo>
                    <a:cubicBezTo>
                      <a:pt x="340" y="99"/>
                      <a:pt x="340" y="98"/>
                      <a:pt x="339" y="97"/>
                    </a:cubicBezTo>
                    <a:cubicBezTo>
                      <a:pt x="338" y="97"/>
                      <a:pt x="339" y="97"/>
                      <a:pt x="338" y="96"/>
                    </a:cubicBezTo>
                    <a:cubicBezTo>
                      <a:pt x="337" y="96"/>
                      <a:pt x="337" y="96"/>
                      <a:pt x="336" y="95"/>
                    </a:cubicBezTo>
                    <a:cubicBezTo>
                      <a:pt x="336" y="95"/>
                      <a:pt x="337" y="95"/>
                      <a:pt x="336" y="94"/>
                    </a:cubicBezTo>
                    <a:cubicBezTo>
                      <a:pt x="335" y="93"/>
                      <a:pt x="334" y="94"/>
                      <a:pt x="333" y="93"/>
                    </a:cubicBezTo>
                    <a:cubicBezTo>
                      <a:pt x="336" y="93"/>
                      <a:pt x="334" y="92"/>
                      <a:pt x="333" y="91"/>
                    </a:cubicBezTo>
                    <a:cubicBezTo>
                      <a:pt x="333" y="91"/>
                      <a:pt x="332" y="90"/>
                      <a:pt x="332" y="90"/>
                    </a:cubicBezTo>
                    <a:cubicBezTo>
                      <a:pt x="331" y="90"/>
                      <a:pt x="331" y="90"/>
                      <a:pt x="330" y="90"/>
                    </a:cubicBezTo>
                    <a:cubicBezTo>
                      <a:pt x="330" y="89"/>
                      <a:pt x="330" y="88"/>
                      <a:pt x="330" y="88"/>
                    </a:cubicBezTo>
                    <a:cubicBezTo>
                      <a:pt x="331" y="89"/>
                      <a:pt x="332" y="90"/>
                      <a:pt x="333" y="90"/>
                    </a:cubicBezTo>
                    <a:cubicBezTo>
                      <a:pt x="334" y="90"/>
                      <a:pt x="335" y="90"/>
                      <a:pt x="336" y="90"/>
                    </a:cubicBezTo>
                    <a:cubicBezTo>
                      <a:pt x="337" y="90"/>
                      <a:pt x="337" y="90"/>
                      <a:pt x="337" y="89"/>
                    </a:cubicBezTo>
                    <a:cubicBezTo>
                      <a:pt x="337" y="88"/>
                      <a:pt x="336" y="86"/>
                      <a:pt x="335" y="85"/>
                    </a:cubicBezTo>
                    <a:cubicBezTo>
                      <a:pt x="334" y="85"/>
                      <a:pt x="331" y="85"/>
                      <a:pt x="331" y="84"/>
                    </a:cubicBezTo>
                    <a:cubicBezTo>
                      <a:pt x="330" y="83"/>
                      <a:pt x="331" y="82"/>
                      <a:pt x="330" y="82"/>
                    </a:cubicBezTo>
                    <a:cubicBezTo>
                      <a:pt x="330" y="80"/>
                      <a:pt x="329" y="79"/>
                      <a:pt x="328" y="81"/>
                    </a:cubicBezTo>
                    <a:cubicBezTo>
                      <a:pt x="328" y="82"/>
                      <a:pt x="328" y="83"/>
                      <a:pt x="327" y="85"/>
                    </a:cubicBezTo>
                    <a:cubicBezTo>
                      <a:pt x="327" y="83"/>
                      <a:pt x="325" y="84"/>
                      <a:pt x="325" y="83"/>
                    </a:cubicBezTo>
                    <a:cubicBezTo>
                      <a:pt x="325" y="82"/>
                      <a:pt x="326" y="82"/>
                      <a:pt x="326" y="82"/>
                    </a:cubicBezTo>
                    <a:cubicBezTo>
                      <a:pt x="326" y="81"/>
                      <a:pt x="326" y="81"/>
                      <a:pt x="326" y="81"/>
                    </a:cubicBezTo>
                    <a:cubicBezTo>
                      <a:pt x="326" y="80"/>
                      <a:pt x="326" y="79"/>
                      <a:pt x="325" y="78"/>
                    </a:cubicBezTo>
                    <a:cubicBezTo>
                      <a:pt x="324" y="78"/>
                      <a:pt x="322" y="79"/>
                      <a:pt x="321" y="79"/>
                    </a:cubicBezTo>
                    <a:cubicBezTo>
                      <a:pt x="320" y="79"/>
                      <a:pt x="319" y="79"/>
                      <a:pt x="318" y="78"/>
                    </a:cubicBezTo>
                    <a:cubicBezTo>
                      <a:pt x="319" y="78"/>
                      <a:pt x="319" y="78"/>
                      <a:pt x="319" y="78"/>
                    </a:cubicBezTo>
                    <a:cubicBezTo>
                      <a:pt x="318" y="77"/>
                      <a:pt x="319" y="77"/>
                      <a:pt x="318" y="76"/>
                    </a:cubicBezTo>
                    <a:cubicBezTo>
                      <a:pt x="317" y="76"/>
                      <a:pt x="314" y="76"/>
                      <a:pt x="313" y="76"/>
                    </a:cubicBezTo>
                    <a:cubicBezTo>
                      <a:pt x="305" y="77"/>
                      <a:pt x="297" y="78"/>
                      <a:pt x="289" y="79"/>
                    </a:cubicBezTo>
                    <a:cubicBezTo>
                      <a:pt x="285" y="79"/>
                      <a:pt x="281" y="79"/>
                      <a:pt x="276" y="79"/>
                    </a:cubicBezTo>
                    <a:cubicBezTo>
                      <a:pt x="273" y="79"/>
                      <a:pt x="271" y="77"/>
                      <a:pt x="268" y="77"/>
                    </a:cubicBezTo>
                    <a:cubicBezTo>
                      <a:pt x="266" y="77"/>
                      <a:pt x="264" y="77"/>
                      <a:pt x="262" y="76"/>
                    </a:cubicBezTo>
                    <a:cubicBezTo>
                      <a:pt x="262" y="76"/>
                      <a:pt x="262" y="76"/>
                      <a:pt x="261" y="76"/>
                    </a:cubicBezTo>
                    <a:cubicBezTo>
                      <a:pt x="261" y="75"/>
                      <a:pt x="260" y="76"/>
                      <a:pt x="259" y="75"/>
                    </a:cubicBezTo>
                    <a:cubicBezTo>
                      <a:pt x="258" y="74"/>
                      <a:pt x="260" y="74"/>
                      <a:pt x="261" y="74"/>
                    </a:cubicBezTo>
                    <a:cubicBezTo>
                      <a:pt x="262" y="74"/>
                      <a:pt x="262" y="74"/>
                      <a:pt x="263" y="73"/>
                    </a:cubicBezTo>
                    <a:cubicBezTo>
                      <a:pt x="262" y="73"/>
                      <a:pt x="261" y="72"/>
                      <a:pt x="262" y="71"/>
                    </a:cubicBezTo>
                    <a:cubicBezTo>
                      <a:pt x="263" y="71"/>
                      <a:pt x="264" y="71"/>
                      <a:pt x="265" y="71"/>
                    </a:cubicBezTo>
                    <a:cubicBezTo>
                      <a:pt x="266" y="71"/>
                      <a:pt x="266" y="70"/>
                      <a:pt x="267" y="70"/>
                    </a:cubicBezTo>
                    <a:cubicBezTo>
                      <a:pt x="267" y="70"/>
                      <a:pt x="266" y="70"/>
                      <a:pt x="266" y="69"/>
                    </a:cubicBezTo>
                    <a:cubicBezTo>
                      <a:pt x="268" y="69"/>
                      <a:pt x="271" y="69"/>
                      <a:pt x="273" y="69"/>
                    </a:cubicBezTo>
                    <a:cubicBezTo>
                      <a:pt x="275" y="69"/>
                      <a:pt x="274" y="69"/>
                      <a:pt x="274" y="67"/>
                    </a:cubicBezTo>
                    <a:cubicBezTo>
                      <a:pt x="274" y="67"/>
                      <a:pt x="275" y="67"/>
                      <a:pt x="275" y="67"/>
                    </a:cubicBezTo>
                    <a:cubicBezTo>
                      <a:pt x="275" y="66"/>
                      <a:pt x="274" y="67"/>
                      <a:pt x="273" y="66"/>
                    </a:cubicBezTo>
                    <a:cubicBezTo>
                      <a:pt x="273" y="66"/>
                      <a:pt x="274" y="65"/>
                      <a:pt x="274" y="65"/>
                    </a:cubicBezTo>
                    <a:cubicBezTo>
                      <a:pt x="274" y="64"/>
                      <a:pt x="273" y="64"/>
                      <a:pt x="273" y="64"/>
                    </a:cubicBezTo>
                    <a:cubicBezTo>
                      <a:pt x="272" y="64"/>
                      <a:pt x="273" y="64"/>
                      <a:pt x="272" y="63"/>
                    </a:cubicBezTo>
                    <a:cubicBezTo>
                      <a:pt x="272" y="63"/>
                      <a:pt x="271" y="63"/>
                      <a:pt x="270" y="62"/>
                    </a:cubicBezTo>
                    <a:cubicBezTo>
                      <a:pt x="270" y="62"/>
                      <a:pt x="270" y="61"/>
                      <a:pt x="269" y="61"/>
                    </a:cubicBezTo>
                    <a:cubicBezTo>
                      <a:pt x="269" y="60"/>
                      <a:pt x="268" y="60"/>
                      <a:pt x="267" y="60"/>
                    </a:cubicBezTo>
                    <a:cubicBezTo>
                      <a:pt x="267" y="60"/>
                      <a:pt x="267" y="60"/>
                      <a:pt x="266" y="59"/>
                    </a:cubicBezTo>
                    <a:cubicBezTo>
                      <a:pt x="265" y="58"/>
                      <a:pt x="264" y="59"/>
                      <a:pt x="263" y="58"/>
                    </a:cubicBezTo>
                    <a:cubicBezTo>
                      <a:pt x="260" y="57"/>
                      <a:pt x="257" y="56"/>
                      <a:pt x="254" y="56"/>
                    </a:cubicBezTo>
                    <a:cubicBezTo>
                      <a:pt x="254" y="56"/>
                      <a:pt x="250" y="56"/>
                      <a:pt x="251" y="57"/>
                    </a:cubicBezTo>
                    <a:cubicBezTo>
                      <a:pt x="251" y="57"/>
                      <a:pt x="252" y="57"/>
                      <a:pt x="252" y="57"/>
                    </a:cubicBezTo>
                    <a:cubicBezTo>
                      <a:pt x="253" y="58"/>
                      <a:pt x="254" y="58"/>
                      <a:pt x="254" y="59"/>
                    </a:cubicBezTo>
                    <a:cubicBezTo>
                      <a:pt x="252" y="58"/>
                      <a:pt x="249" y="58"/>
                      <a:pt x="246" y="58"/>
                    </a:cubicBezTo>
                    <a:cubicBezTo>
                      <a:pt x="245" y="57"/>
                      <a:pt x="243" y="58"/>
                      <a:pt x="241" y="57"/>
                    </a:cubicBezTo>
                    <a:cubicBezTo>
                      <a:pt x="240" y="57"/>
                      <a:pt x="239" y="56"/>
                      <a:pt x="238" y="56"/>
                    </a:cubicBezTo>
                    <a:cubicBezTo>
                      <a:pt x="236" y="56"/>
                      <a:pt x="234" y="55"/>
                      <a:pt x="232" y="54"/>
                    </a:cubicBezTo>
                    <a:cubicBezTo>
                      <a:pt x="231" y="54"/>
                      <a:pt x="230" y="54"/>
                      <a:pt x="229" y="53"/>
                    </a:cubicBezTo>
                    <a:cubicBezTo>
                      <a:pt x="228" y="53"/>
                      <a:pt x="227" y="52"/>
                      <a:pt x="227" y="52"/>
                    </a:cubicBezTo>
                    <a:cubicBezTo>
                      <a:pt x="225" y="51"/>
                      <a:pt x="223" y="51"/>
                      <a:pt x="222" y="51"/>
                    </a:cubicBezTo>
                    <a:cubicBezTo>
                      <a:pt x="219" y="50"/>
                      <a:pt x="216" y="50"/>
                      <a:pt x="213" y="49"/>
                    </a:cubicBezTo>
                    <a:cubicBezTo>
                      <a:pt x="213" y="49"/>
                      <a:pt x="213" y="50"/>
                      <a:pt x="213" y="50"/>
                    </a:cubicBezTo>
                    <a:cubicBezTo>
                      <a:pt x="214" y="51"/>
                      <a:pt x="213" y="53"/>
                      <a:pt x="213" y="53"/>
                    </a:cubicBezTo>
                    <a:cubicBezTo>
                      <a:pt x="213" y="52"/>
                      <a:pt x="213" y="51"/>
                      <a:pt x="213" y="50"/>
                    </a:cubicBezTo>
                    <a:cubicBezTo>
                      <a:pt x="213" y="49"/>
                      <a:pt x="213" y="49"/>
                      <a:pt x="213" y="49"/>
                    </a:cubicBezTo>
                    <a:cubicBezTo>
                      <a:pt x="210" y="48"/>
                      <a:pt x="208" y="46"/>
                      <a:pt x="205" y="45"/>
                    </a:cubicBezTo>
                    <a:cubicBezTo>
                      <a:pt x="202" y="44"/>
                      <a:pt x="199" y="42"/>
                      <a:pt x="197" y="41"/>
                    </a:cubicBezTo>
                    <a:cubicBezTo>
                      <a:pt x="195" y="41"/>
                      <a:pt x="193" y="41"/>
                      <a:pt x="191" y="41"/>
                    </a:cubicBezTo>
                    <a:cubicBezTo>
                      <a:pt x="189" y="41"/>
                      <a:pt x="185" y="40"/>
                      <a:pt x="182" y="41"/>
                    </a:cubicBezTo>
                    <a:cubicBezTo>
                      <a:pt x="182" y="41"/>
                      <a:pt x="181" y="42"/>
                      <a:pt x="181" y="42"/>
                    </a:cubicBezTo>
                    <a:cubicBezTo>
                      <a:pt x="181" y="42"/>
                      <a:pt x="181" y="42"/>
                      <a:pt x="181" y="43"/>
                    </a:cubicBezTo>
                    <a:cubicBezTo>
                      <a:pt x="181" y="43"/>
                      <a:pt x="181" y="43"/>
                      <a:pt x="181" y="44"/>
                    </a:cubicBezTo>
                    <a:cubicBezTo>
                      <a:pt x="181" y="44"/>
                      <a:pt x="181" y="44"/>
                      <a:pt x="181" y="44"/>
                    </a:cubicBezTo>
                    <a:cubicBezTo>
                      <a:pt x="181" y="45"/>
                      <a:pt x="181" y="45"/>
                      <a:pt x="181" y="45"/>
                    </a:cubicBezTo>
                    <a:cubicBezTo>
                      <a:pt x="181" y="47"/>
                      <a:pt x="179" y="47"/>
                      <a:pt x="177" y="47"/>
                    </a:cubicBezTo>
                    <a:cubicBezTo>
                      <a:pt x="175" y="48"/>
                      <a:pt x="171" y="50"/>
                      <a:pt x="168" y="49"/>
                    </a:cubicBezTo>
                    <a:cubicBezTo>
                      <a:pt x="168" y="49"/>
                      <a:pt x="167" y="49"/>
                      <a:pt x="167" y="48"/>
                    </a:cubicBezTo>
                    <a:cubicBezTo>
                      <a:pt x="167" y="48"/>
                      <a:pt x="168" y="48"/>
                      <a:pt x="168" y="48"/>
                    </a:cubicBezTo>
                    <a:cubicBezTo>
                      <a:pt x="168" y="48"/>
                      <a:pt x="168" y="47"/>
                      <a:pt x="168" y="48"/>
                    </a:cubicBezTo>
                    <a:cubicBezTo>
                      <a:pt x="168" y="47"/>
                      <a:pt x="168" y="47"/>
                      <a:pt x="169" y="47"/>
                    </a:cubicBezTo>
                    <a:cubicBezTo>
                      <a:pt x="169" y="46"/>
                      <a:pt x="170" y="46"/>
                      <a:pt x="170" y="46"/>
                    </a:cubicBezTo>
                    <a:cubicBezTo>
                      <a:pt x="171" y="45"/>
                      <a:pt x="170" y="44"/>
                      <a:pt x="171" y="44"/>
                    </a:cubicBezTo>
                    <a:cubicBezTo>
                      <a:pt x="170" y="43"/>
                      <a:pt x="168" y="43"/>
                      <a:pt x="167" y="42"/>
                    </a:cubicBezTo>
                    <a:cubicBezTo>
                      <a:pt x="167" y="41"/>
                      <a:pt x="168" y="41"/>
                      <a:pt x="168" y="40"/>
                    </a:cubicBezTo>
                    <a:cubicBezTo>
                      <a:pt x="167" y="39"/>
                      <a:pt x="168" y="39"/>
                      <a:pt x="168" y="37"/>
                    </a:cubicBezTo>
                    <a:cubicBezTo>
                      <a:pt x="168" y="36"/>
                      <a:pt x="169" y="35"/>
                      <a:pt x="168" y="35"/>
                    </a:cubicBezTo>
                    <a:cubicBezTo>
                      <a:pt x="167" y="34"/>
                      <a:pt x="166" y="35"/>
                      <a:pt x="166" y="34"/>
                    </a:cubicBezTo>
                    <a:cubicBezTo>
                      <a:pt x="166" y="34"/>
                      <a:pt x="166" y="34"/>
                      <a:pt x="167" y="34"/>
                    </a:cubicBezTo>
                    <a:cubicBezTo>
                      <a:pt x="166" y="34"/>
                      <a:pt x="165" y="34"/>
                      <a:pt x="165" y="34"/>
                    </a:cubicBezTo>
                    <a:cubicBezTo>
                      <a:pt x="164" y="34"/>
                      <a:pt x="165" y="34"/>
                      <a:pt x="165" y="35"/>
                    </a:cubicBezTo>
                    <a:cubicBezTo>
                      <a:pt x="165" y="35"/>
                      <a:pt x="165" y="35"/>
                      <a:pt x="165" y="35"/>
                    </a:cubicBezTo>
                    <a:cubicBezTo>
                      <a:pt x="166" y="36"/>
                      <a:pt x="166" y="35"/>
                      <a:pt x="167" y="35"/>
                    </a:cubicBezTo>
                    <a:cubicBezTo>
                      <a:pt x="165" y="36"/>
                      <a:pt x="163" y="36"/>
                      <a:pt x="162" y="37"/>
                    </a:cubicBezTo>
                    <a:cubicBezTo>
                      <a:pt x="161" y="37"/>
                      <a:pt x="160" y="37"/>
                      <a:pt x="160" y="38"/>
                    </a:cubicBezTo>
                    <a:cubicBezTo>
                      <a:pt x="160" y="38"/>
                      <a:pt x="160" y="39"/>
                      <a:pt x="160" y="39"/>
                    </a:cubicBezTo>
                    <a:cubicBezTo>
                      <a:pt x="160" y="39"/>
                      <a:pt x="162" y="38"/>
                      <a:pt x="162" y="38"/>
                    </a:cubicBezTo>
                    <a:cubicBezTo>
                      <a:pt x="162" y="37"/>
                      <a:pt x="163" y="37"/>
                      <a:pt x="164" y="37"/>
                    </a:cubicBezTo>
                    <a:cubicBezTo>
                      <a:pt x="163" y="38"/>
                      <a:pt x="158" y="41"/>
                      <a:pt x="160" y="42"/>
                    </a:cubicBezTo>
                    <a:cubicBezTo>
                      <a:pt x="160" y="42"/>
                      <a:pt x="162" y="42"/>
                      <a:pt x="162" y="42"/>
                    </a:cubicBezTo>
                    <a:cubicBezTo>
                      <a:pt x="163" y="42"/>
                      <a:pt x="163" y="43"/>
                      <a:pt x="163" y="44"/>
                    </a:cubicBezTo>
                    <a:cubicBezTo>
                      <a:pt x="163" y="42"/>
                      <a:pt x="158" y="43"/>
                      <a:pt x="158" y="44"/>
                    </a:cubicBezTo>
                    <a:cubicBezTo>
                      <a:pt x="158" y="45"/>
                      <a:pt x="160" y="45"/>
                      <a:pt x="159" y="45"/>
                    </a:cubicBezTo>
                    <a:cubicBezTo>
                      <a:pt x="159" y="46"/>
                      <a:pt x="160" y="46"/>
                      <a:pt x="161" y="47"/>
                    </a:cubicBezTo>
                    <a:cubicBezTo>
                      <a:pt x="159" y="46"/>
                      <a:pt x="156" y="46"/>
                      <a:pt x="156" y="48"/>
                    </a:cubicBezTo>
                    <a:cubicBezTo>
                      <a:pt x="157" y="48"/>
                      <a:pt x="158" y="47"/>
                      <a:pt x="159" y="47"/>
                    </a:cubicBezTo>
                    <a:cubicBezTo>
                      <a:pt x="161" y="47"/>
                      <a:pt x="159" y="50"/>
                      <a:pt x="157" y="50"/>
                    </a:cubicBezTo>
                    <a:cubicBezTo>
                      <a:pt x="155" y="49"/>
                      <a:pt x="153" y="48"/>
                      <a:pt x="150" y="47"/>
                    </a:cubicBezTo>
                    <a:cubicBezTo>
                      <a:pt x="148" y="45"/>
                      <a:pt x="144" y="42"/>
                      <a:pt x="144" y="39"/>
                    </a:cubicBezTo>
                    <a:cubicBezTo>
                      <a:pt x="144" y="39"/>
                      <a:pt x="144" y="39"/>
                      <a:pt x="144" y="38"/>
                    </a:cubicBezTo>
                    <a:cubicBezTo>
                      <a:pt x="144" y="38"/>
                      <a:pt x="143" y="38"/>
                      <a:pt x="143" y="37"/>
                    </a:cubicBezTo>
                    <a:cubicBezTo>
                      <a:pt x="142" y="37"/>
                      <a:pt x="142" y="36"/>
                      <a:pt x="141" y="35"/>
                    </a:cubicBezTo>
                    <a:cubicBezTo>
                      <a:pt x="139" y="31"/>
                      <a:pt x="135" y="29"/>
                      <a:pt x="131" y="27"/>
                    </a:cubicBezTo>
                    <a:cubicBezTo>
                      <a:pt x="131" y="27"/>
                      <a:pt x="129" y="30"/>
                      <a:pt x="130" y="31"/>
                    </a:cubicBezTo>
                    <a:cubicBezTo>
                      <a:pt x="130" y="31"/>
                      <a:pt x="132" y="30"/>
                      <a:pt x="132" y="30"/>
                    </a:cubicBezTo>
                    <a:cubicBezTo>
                      <a:pt x="132" y="32"/>
                      <a:pt x="130" y="32"/>
                      <a:pt x="132" y="32"/>
                    </a:cubicBezTo>
                    <a:cubicBezTo>
                      <a:pt x="133" y="33"/>
                      <a:pt x="135" y="33"/>
                      <a:pt x="136" y="33"/>
                    </a:cubicBezTo>
                    <a:cubicBezTo>
                      <a:pt x="135" y="33"/>
                      <a:pt x="134" y="34"/>
                      <a:pt x="133" y="34"/>
                    </a:cubicBezTo>
                    <a:cubicBezTo>
                      <a:pt x="132" y="34"/>
                      <a:pt x="131" y="34"/>
                      <a:pt x="130" y="34"/>
                    </a:cubicBezTo>
                    <a:cubicBezTo>
                      <a:pt x="129" y="34"/>
                      <a:pt x="128" y="35"/>
                      <a:pt x="128" y="36"/>
                    </a:cubicBezTo>
                    <a:cubicBezTo>
                      <a:pt x="128" y="38"/>
                      <a:pt x="128" y="38"/>
                      <a:pt x="127" y="39"/>
                    </a:cubicBezTo>
                    <a:cubicBezTo>
                      <a:pt x="125" y="40"/>
                      <a:pt x="124" y="41"/>
                      <a:pt x="123" y="42"/>
                    </a:cubicBezTo>
                    <a:cubicBezTo>
                      <a:pt x="122" y="43"/>
                      <a:pt x="122" y="43"/>
                      <a:pt x="121" y="43"/>
                    </a:cubicBezTo>
                    <a:cubicBezTo>
                      <a:pt x="121" y="43"/>
                      <a:pt x="120" y="43"/>
                      <a:pt x="120" y="43"/>
                    </a:cubicBezTo>
                    <a:cubicBezTo>
                      <a:pt x="120" y="43"/>
                      <a:pt x="120" y="41"/>
                      <a:pt x="120" y="40"/>
                    </a:cubicBezTo>
                    <a:cubicBezTo>
                      <a:pt x="120" y="40"/>
                      <a:pt x="121" y="40"/>
                      <a:pt x="122" y="40"/>
                    </a:cubicBezTo>
                    <a:cubicBezTo>
                      <a:pt x="122" y="40"/>
                      <a:pt x="122" y="39"/>
                      <a:pt x="122" y="39"/>
                    </a:cubicBezTo>
                    <a:cubicBezTo>
                      <a:pt x="121" y="39"/>
                      <a:pt x="121" y="40"/>
                      <a:pt x="120" y="40"/>
                    </a:cubicBezTo>
                    <a:cubicBezTo>
                      <a:pt x="119" y="40"/>
                      <a:pt x="118" y="40"/>
                      <a:pt x="118" y="40"/>
                    </a:cubicBezTo>
                    <a:cubicBezTo>
                      <a:pt x="116" y="41"/>
                      <a:pt x="115" y="41"/>
                      <a:pt x="114" y="41"/>
                    </a:cubicBezTo>
                    <a:cubicBezTo>
                      <a:pt x="112" y="42"/>
                      <a:pt x="110" y="42"/>
                      <a:pt x="108" y="43"/>
                    </a:cubicBezTo>
                    <a:cubicBezTo>
                      <a:pt x="107" y="43"/>
                      <a:pt x="107" y="44"/>
                      <a:pt x="106" y="45"/>
                    </a:cubicBezTo>
                    <a:cubicBezTo>
                      <a:pt x="106" y="46"/>
                      <a:pt x="104" y="46"/>
                      <a:pt x="104" y="47"/>
                    </a:cubicBezTo>
                    <a:cubicBezTo>
                      <a:pt x="104" y="47"/>
                      <a:pt x="104" y="47"/>
                      <a:pt x="104" y="47"/>
                    </a:cubicBezTo>
                    <a:cubicBezTo>
                      <a:pt x="103" y="48"/>
                      <a:pt x="102" y="49"/>
                      <a:pt x="102" y="50"/>
                    </a:cubicBezTo>
                    <a:cubicBezTo>
                      <a:pt x="101" y="51"/>
                      <a:pt x="102" y="53"/>
                      <a:pt x="101" y="53"/>
                    </a:cubicBezTo>
                    <a:cubicBezTo>
                      <a:pt x="100" y="53"/>
                      <a:pt x="102" y="50"/>
                      <a:pt x="102" y="50"/>
                    </a:cubicBezTo>
                    <a:cubicBezTo>
                      <a:pt x="100" y="50"/>
                      <a:pt x="100" y="50"/>
                      <a:pt x="101" y="49"/>
                    </a:cubicBezTo>
                    <a:cubicBezTo>
                      <a:pt x="101" y="48"/>
                      <a:pt x="102" y="47"/>
                      <a:pt x="101" y="46"/>
                    </a:cubicBezTo>
                    <a:cubicBezTo>
                      <a:pt x="101" y="47"/>
                      <a:pt x="100" y="49"/>
                      <a:pt x="100" y="50"/>
                    </a:cubicBezTo>
                    <a:cubicBezTo>
                      <a:pt x="101" y="48"/>
                      <a:pt x="101" y="46"/>
                      <a:pt x="99" y="45"/>
                    </a:cubicBezTo>
                    <a:cubicBezTo>
                      <a:pt x="99" y="45"/>
                      <a:pt x="100" y="45"/>
                      <a:pt x="100" y="46"/>
                    </a:cubicBezTo>
                    <a:cubicBezTo>
                      <a:pt x="100" y="47"/>
                      <a:pt x="100" y="48"/>
                      <a:pt x="99" y="49"/>
                    </a:cubicBezTo>
                    <a:cubicBezTo>
                      <a:pt x="100" y="48"/>
                      <a:pt x="100" y="46"/>
                      <a:pt x="98" y="45"/>
                    </a:cubicBezTo>
                    <a:cubicBezTo>
                      <a:pt x="99" y="47"/>
                      <a:pt x="99" y="47"/>
                      <a:pt x="98" y="48"/>
                    </a:cubicBezTo>
                    <a:cubicBezTo>
                      <a:pt x="97" y="49"/>
                      <a:pt x="96" y="49"/>
                      <a:pt x="96" y="50"/>
                    </a:cubicBezTo>
                    <a:cubicBezTo>
                      <a:pt x="96" y="50"/>
                      <a:pt x="96" y="48"/>
                      <a:pt x="96" y="48"/>
                    </a:cubicBezTo>
                    <a:cubicBezTo>
                      <a:pt x="96" y="47"/>
                      <a:pt x="92" y="48"/>
                      <a:pt x="91" y="48"/>
                    </a:cubicBezTo>
                    <a:cubicBezTo>
                      <a:pt x="94" y="48"/>
                      <a:pt x="90" y="52"/>
                      <a:pt x="89" y="52"/>
                    </a:cubicBezTo>
                    <a:cubicBezTo>
                      <a:pt x="87" y="54"/>
                      <a:pt x="84" y="54"/>
                      <a:pt x="82" y="55"/>
                    </a:cubicBezTo>
                    <a:cubicBezTo>
                      <a:pt x="82" y="55"/>
                      <a:pt x="82" y="55"/>
                      <a:pt x="82" y="55"/>
                    </a:cubicBezTo>
                    <a:cubicBezTo>
                      <a:pt x="82" y="56"/>
                      <a:pt x="82" y="56"/>
                      <a:pt x="82" y="56"/>
                    </a:cubicBezTo>
                    <a:cubicBezTo>
                      <a:pt x="83" y="57"/>
                      <a:pt x="82" y="57"/>
                      <a:pt x="82" y="57"/>
                    </a:cubicBezTo>
                    <a:cubicBezTo>
                      <a:pt x="82" y="58"/>
                      <a:pt x="83" y="57"/>
                      <a:pt x="83" y="58"/>
                    </a:cubicBezTo>
                    <a:cubicBezTo>
                      <a:pt x="83" y="58"/>
                      <a:pt x="87" y="56"/>
                      <a:pt x="86" y="59"/>
                    </a:cubicBezTo>
                    <a:cubicBezTo>
                      <a:pt x="85" y="59"/>
                      <a:pt x="84" y="59"/>
                      <a:pt x="83" y="59"/>
                    </a:cubicBezTo>
                    <a:cubicBezTo>
                      <a:pt x="83" y="59"/>
                      <a:pt x="82" y="59"/>
                      <a:pt x="82" y="59"/>
                    </a:cubicBezTo>
                    <a:cubicBezTo>
                      <a:pt x="81" y="59"/>
                      <a:pt x="81" y="59"/>
                      <a:pt x="80" y="59"/>
                    </a:cubicBezTo>
                    <a:cubicBezTo>
                      <a:pt x="79" y="59"/>
                      <a:pt x="78" y="58"/>
                      <a:pt x="77" y="58"/>
                    </a:cubicBezTo>
                    <a:cubicBezTo>
                      <a:pt x="77" y="59"/>
                      <a:pt x="77" y="59"/>
                      <a:pt x="78" y="59"/>
                    </a:cubicBezTo>
                    <a:cubicBezTo>
                      <a:pt x="77" y="60"/>
                      <a:pt x="80" y="61"/>
                      <a:pt x="81" y="61"/>
                    </a:cubicBezTo>
                    <a:cubicBezTo>
                      <a:pt x="80" y="61"/>
                      <a:pt x="75" y="60"/>
                      <a:pt x="76" y="59"/>
                    </a:cubicBezTo>
                    <a:cubicBezTo>
                      <a:pt x="76" y="58"/>
                      <a:pt x="77" y="58"/>
                      <a:pt x="77" y="57"/>
                    </a:cubicBezTo>
                    <a:cubicBezTo>
                      <a:pt x="78" y="57"/>
                      <a:pt x="78" y="56"/>
                      <a:pt x="79" y="55"/>
                    </a:cubicBezTo>
                    <a:cubicBezTo>
                      <a:pt x="79" y="54"/>
                      <a:pt x="81" y="54"/>
                      <a:pt x="82" y="56"/>
                    </a:cubicBezTo>
                    <a:cubicBezTo>
                      <a:pt x="81" y="55"/>
                      <a:pt x="81" y="54"/>
                      <a:pt x="82" y="54"/>
                    </a:cubicBezTo>
                    <a:cubicBezTo>
                      <a:pt x="82" y="54"/>
                      <a:pt x="82" y="54"/>
                      <a:pt x="82" y="54"/>
                    </a:cubicBezTo>
                    <a:cubicBezTo>
                      <a:pt x="82" y="52"/>
                      <a:pt x="83" y="51"/>
                      <a:pt x="84" y="51"/>
                    </a:cubicBezTo>
                    <a:cubicBezTo>
                      <a:pt x="86" y="50"/>
                      <a:pt x="85" y="51"/>
                      <a:pt x="86" y="53"/>
                    </a:cubicBezTo>
                    <a:cubicBezTo>
                      <a:pt x="86" y="52"/>
                      <a:pt x="86" y="52"/>
                      <a:pt x="87" y="51"/>
                    </a:cubicBezTo>
                    <a:cubicBezTo>
                      <a:pt x="88" y="51"/>
                      <a:pt x="87" y="51"/>
                      <a:pt x="88" y="50"/>
                    </a:cubicBezTo>
                    <a:cubicBezTo>
                      <a:pt x="88" y="50"/>
                      <a:pt x="89" y="49"/>
                      <a:pt x="90" y="49"/>
                    </a:cubicBezTo>
                    <a:cubicBezTo>
                      <a:pt x="90" y="48"/>
                      <a:pt x="90" y="47"/>
                      <a:pt x="91" y="46"/>
                    </a:cubicBezTo>
                    <a:cubicBezTo>
                      <a:pt x="93" y="45"/>
                      <a:pt x="96" y="45"/>
                      <a:pt x="98" y="45"/>
                    </a:cubicBezTo>
                    <a:cubicBezTo>
                      <a:pt x="99" y="44"/>
                      <a:pt x="100" y="44"/>
                      <a:pt x="101" y="45"/>
                    </a:cubicBezTo>
                    <a:cubicBezTo>
                      <a:pt x="102" y="46"/>
                      <a:pt x="103" y="44"/>
                      <a:pt x="104" y="43"/>
                    </a:cubicBezTo>
                    <a:cubicBezTo>
                      <a:pt x="105" y="43"/>
                      <a:pt x="105" y="42"/>
                      <a:pt x="107" y="41"/>
                    </a:cubicBezTo>
                    <a:cubicBezTo>
                      <a:pt x="108" y="40"/>
                      <a:pt x="110" y="40"/>
                      <a:pt x="111" y="39"/>
                    </a:cubicBezTo>
                    <a:cubicBezTo>
                      <a:pt x="113" y="39"/>
                      <a:pt x="114" y="38"/>
                      <a:pt x="116" y="37"/>
                    </a:cubicBezTo>
                    <a:cubicBezTo>
                      <a:pt x="116" y="37"/>
                      <a:pt x="117" y="36"/>
                      <a:pt x="117" y="36"/>
                    </a:cubicBezTo>
                    <a:cubicBezTo>
                      <a:pt x="117" y="36"/>
                      <a:pt x="116" y="36"/>
                      <a:pt x="117" y="35"/>
                    </a:cubicBezTo>
                    <a:cubicBezTo>
                      <a:pt x="116" y="35"/>
                      <a:pt x="116" y="35"/>
                      <a:pt x="115" y="35"/>
                    </a:cubicBezTo>
                    <a:cubicBezTo>
                      <a:pt x="115" y="34"/>
                      <a:pt x="115" y="34"/>
                      <a:pt x="115" y="33"/>
                    </a:cubicBezTo>
                    <a:cubicBezTo>
                      <a:pt x="114" y="32"/>
                      <a:pt x="112" y="36"/>
                      <a:pt x="111" y="36"/>
                    </a:cubicBezTo>
                    <a:cubicBezTo>
                      <a:pt x="111" y="36"/>
                      <a:pt x="111" y="36"/>
                      <a:pt x="112" y="36"/>
                    </a:cubicBezTo>
                    <a:cubicBezTo>
                      <a:pt x="111" y="36"/>
                      <a:pt x="110" y="36"/>
                      <a:pt x="109" y="36"/>
                    </a:cubicBezTo>
                    <a:cubicBezTo>
                      <a:pt x="109" y="36"/>
                      <a:pt x="107" y="36"/>
                      <a:pt x="106" y="36"/>
                    </a:cubicBezTo>
                    <a:cubicBezTo>
                      <a:pt x="104" y="36"/>
                      <a:pt x="102" y="35"/>
                      <a:pt x="101" y="37"/>
                    </a:cubicBezTo>
                    <a:cubicBezTo>
                      <a:pt x="101" y="37"/>
                      <a:pt x="101" y="37"/>
                      <a:pt x="101" y="37"/>
                    </a:cubicBezTo>
                    <a:cubicBezTo>
                      <a:pt x="100" y="38"/>
                      <a:pt x="100" y="40"/>
                      <a:pt x="99" y="41"/>
                    </a:cubicBezTo>
                    <a:cubicBezTo>
                      <a:pt x="99" y="36"/>
                      <a:pt x="93" y="41"/>
                      <a:pt x="91" y="42"/>
                    </a:cubicBezTo>
                    <a:cubicBezTo>
                      <a:pt x="90" y="43"/>
                      <a:pt x="89" y="43"/>
                      <a:pt x="87" y="43"/>
                    </a:cubicBezTo>
                    <a:cubicBezTo>
                      <a:pt x="85" y="42"/>
                      <a:pt x="85" y="42"/>
                      <a:pt x="86" y="44"/>
                    </a:cubicBezTo>
                    <a:cubicBezTo>
                      <a:pt x="84" y="44"/>
                      <a:pt x="83" y="44"/>
                      <a:pt x="81" y="44"/>
                    </a:cubicBezTo>
                    <a:cubicBezTo>
                      <a:pt x="78" y="46"/>
                      <a:pt x="75" y="47"/>
                      <a:pt x="72" y="49"/>
                    </a:cubicBezTo>
                    <a:cubicBezTo>
                      <a:pt x="71" y="50"/>
                      <a:pt x="69" y="50"/>
                      <a:pt x="68" y="52"/>
                    </a:cubicBezTo>
                    <a:cubicBezTo>
                      <a:pt x="68" y="52"/>
                      <a:pt x="67" y="52"/>
                      <a:pt x="67" y="52"/>
                    </a:cubicBezTo>
                    <a:cubicBezTo>
                      <a:pt x="67" y="52"/>
                      <a:pt x="67" y="52"/>
                      <a:pt x="67" y="52"/>
                    </a:cubicBezTo>
                    <a:cubicBezTo>
                      <a:pt x="67" y="53"/>
                      <a:pt x="66" y="53"/>
                      <a:pt x="66" y="53"/>
                    </a:cubicBezTo>
                    <a:cubicBezTo>
                      <a:pt x="66" y="53"/>
                      <a:pt x="66" y="53"/>
                      <a:pt x="66" y="53"/>
                    </a:cubicBezTo>
                    <a:cubicBezTo>
                      <a:pt x="65" y="53"/>
                      <a:pt x="65" y="53"/>
                      <a:pt x="65" y="52"/>
                    </a:cubicBezTo>
                    <a:cubicBezTo>
                      <a:pt x="65" y="52"/>
                      <a:pt x="65" y="52"/>
                      <a:pt x="64" y="52"/>
                    </a:cubicBezTo>
                    <a:cubicBezTo>
                      <a:pt x="64" y="52"/>
                      <a:pt x="64" y="52"/>
                      <a:pt x="64" y="52"/>
                    </a:cubicBezTo>
                    <a:cubicBezTo>
                      <a:pt x="64" y="51"/>
                      <a:pt x="63" y="51"/>
                      <a:pt x="63" y="50"/>
                    </a:cubicBezTo>
                    <a:cubicBezTo>
                      <a:pt x="63" y="50"/>
                      <a:pt x="63" y="50"/>
                      <a:pt x="63" y="50"/>
                    </a:cubicBezTo>
                    <a:cubicBezTo>
                      <a:pt x="63" y="50"/>
                      <a:pt x="63" y="50"/>
                      <a:pt x="64" y="49"/>
                    </a:cubicBezTo>
                    <a:cubicBezTo>
                      <a:pt x="64" y="49"/>
                      <a:pt x="64" y="48"/>
                      <a:pt x="64" y="48"/>
                    </a:cubicBezTo>
                    <a:cubicBezTo>
                      <a:pt x="65" y="48"/>
                      <a:pt x="65" y="48"/>
                      <a:pt x="65" y="48"/>
                    </a:cubicBezTo>
                    <a:cubicBezTo>
                      <a:pt x="66" y="48"/>
                      <a:pt x="66" y="48"/>
                      <a:pt x="67" y="47"/>
                    </a:cubicBezTo>
                    <a:cubicBezTo>
                      <a:pt x="67" y="47"/>
                      <a:pt x="67" y="47"/>
                      <a:pt x="67" y="46"/>
                    </a:cubicBezTo>
                    <a:cubicBezTo>
                      <a:pt x="67" y="46"/>
                      <a:pt x="67" y="46"/>
                      <a:pt x="67" y="46"/>
                    </a:cubicBezTo>
                    <a:cubicBezTo>
                      <a:pt x="67" y="46"/>
                      <a:pt x="68" y="46"/>
                      <a:pt x="68" y="46"/>
                    </a:cubicBezTo>
                    <a:cubicBezTo>
                      <a:pt x="68" y="46"/>
                      <a:pt x="68" y="45"/>
                      <a:pt x="68" y="45"/>
                    </a:cubicBezTo>
                    <a:cubicBezTo>
                      <a:pt x="68" y="45"/>
                      <a:pt x="69" y="45"/>
                      <a:pt x="69" y="45"/>
                    </a:cubicBezTo>
                    <a:cubicBezTo>
                      <a:pt x="69" y="45"/>
                      <a:pt x="69" y="45"/>
                      <a:pt x="69" y="45"/>
                    </a:cubicBezTo>
                    <a:cubicBezTo>
                      <a:pt x="69" y="44"/>
                      <a:pt x="70" y="44"/>
                      <a:pt x="70" y="44"/>
                    </a:cubicBezTo>
                    <a:cubicBezTo>
                      <a:pt x="70" y="43"/>
                      <a:pt x="70" y="43"/>
                      <a:pt x="71" y="43"/>
                    </a:cubicBezTo>
                    <a:cubicBezTo>
                      <a:pt x="71" y="43"/>
                      <a:pt x="71" y="42"/>
                      <a:pt x="72" y="42"/>
                    </a:cubicBezTo>
                    <a:cubicBezTo>
                      <a:pt x="72" y="41"/>
                      <a:pt x="73" y="40"/>
                      <a:pt x="72" y="40"/>
                    </a:cubicBezTo>
                    <a:cubicBezTo>
                      <a:pt x="72" y="40"/>
                      <a:pt x="72" y="40"/>
                      <a:pt x="72" y="40"/>
                    </a:cubicBezTo>
                    <a:cubicBezTo>
                      <a:pt x="72" y="40"/>
                      <a:pt x="72" y="40"/>
                      <a:pt x="72" y="40"/>
                    </a:cubicBezTo>
                    <a:cubicBezTo>
                      <a:pt x="71" y="41"/>
                      <a:pt x="71" y="41"/>
                      <a:pt x="71" y="41"/>
                    </a:cubicBezTo>
                    <a:cubicBezTo>
                      <a:pt x="70" y="41"/>
                      <a:pt x="70" y="41"/>
                      <a:pt x="70" y="41"/>
                    </a:cubicBezTo>
                    <a:cubicBezTo>
                      <a:pt x="70" y="41"/>
                      <a:pt x="70" y="41"/>
                      <a:pt x="70" y="41"/>
                    </a:cubicBezTo>
                    <a:cubicBezTo>
                      <a:pt x="70" y="41"/>
                      <a:pt x="70" y="41"/>
                      <a:pt x="70" y="41"/>
                    </a:cubicBezTo>
                    <a:cubicBezTo>
                      <a:pt x="70" y="40"/>
                      <a:pt x="70" y="40"/>
                      <a:pt x="70" y="40"/>
                    </a:cubicBezTo>
                    <a:cubicBezTo>
                      <a:pt x="70" y="40"/>
                      <a:pt x="69" y="40"/>
                      <a:pt x="69" y="40"/>
                    </a:cubicBezTo>
                    <a:cubicBezTo>
                      <a:pt x="69" y="40"/>
                      <a:pt x="69" y="40"/>
                      <a:pt x="69" y="40"/>
                    </a:cubicBezTo>
                    <a:cubicBezTo>
                      <a:pt x="69" y="40"/>
                      <a:pt x="69" y="40"/>
                      <a:pt x="69" y="40"/>
                    </a:cubicBezTo>
                    <a:cubicBezTo>
                      <a:pt x="69" y="40"/>
                      <a:pt x="69" y="39"/>
                      <a:pt x="68" y="38"/>
                    </a:cubicBezTo>
                    <a:cubicBezTo>
                      <a:pt x="68" y="38"/>
                      <a:pt x="68" y="38"/>
                      <a:pt x="67" y="38"/>
                    </a:cubicBezTo>
                    <a:cubicBezTo>
                      <a:pt x="67" y="37"/>
                      <a:pt x="66" y="37"/>
                      <a:pt x="66" y="37"/>
                    </a:cubicBezTo>
                    <a:cubicBezTo>
                      <a:pt x="66" y="37"/>
                      <a:pt x="66" y="37"/>
                      <a:pt x="66" y="38"/>
                    </a:cubicBezTo>
                    <a:cubicBezTo>
                      <a:pt x="66" y="38"/>
                      <a:pt x="66" y="38"/>
                      <a:pt x="66" y="38"/>
                    </a:cubicBezTo>
                    <a:cubicBezTo>
                      <a:pt x="66" y="39"/>
                      <a:pt x="66" y="40"/>
                      <a:pt x="66" y="41"/>
                    </a:cubicBezTo>
                    <a:cubicBezTo>
                      <a:pt x="66" y="42"/>
                      <a:pt x="65" y="42"/>
                      <a:pt x="64" y="42"/>
                    </a:cubicBezTo>
                    <a:cubicBezTo>
                      <a:pt x="63" y="42"/>
                      <a:pt x="62" y="41"/>
                      <a:pt x="62" y="41"/>
                    </a:cubicBezTo>
                    <a:cubicBezTo>
                      <a:pt x="62" y="41"/>
                      <a:pt x="61" y="41"/>
                      <a:pt x="61" y="41"/>
                    </a:cubicBezTo>
                    <a:cubicBezTo>
                      <a:pt x="60" y="41"/>
                      <a:pt x="60" y="42"/>
                      <a:pt x="60" y="41"/>
                    </a:cubicBezTo>
                    <a:cubicBezTo>
                      <a:pt x="60" y="41"/>
                      <a:pt x="59" y="41"/>
                      <a:pt x="59" y="41"/>
                    </a:cubicBezTo>
                    <a:cubicBezTo>
                      <a:pt x="58" y="42"/>
                      <a:pt x="57" y="42"/>
                      <a:pt x="57" y="43"/>
                    </a:cubicBezTo>
                    <a:cubicBezTo>
                      <a:pt x="57" y="44"/>
                      <a:pt x="58" y="45"/>
                      <a:pt x="58" y="45"/>
                    </a:cubicBezTo>
                    <a:cubicBezTo>
                      <a:pt x="56" y="45"/>
                      <a:pt x="54" y="43"/>
                      <a:pt x="54" y="46"/>
                    </a:cubicBezTo>
                    <a:cubicBezTo>
                      <a:pt x="53" y="45"/>
                      <a:pt x="52" y="45"/>
                      <a:pt x="51" y="45"/>
                    </a:cubicBezTo>
                    <a:cubicBezTo>
                      <a:pt x="52" y="47"/>
                      <a:pt x="54" y="47"/>
                      <a:pt x="56" y="48"/>
                    </a:cubicBezTo>
                    <a:cubicBezTo>
                      <a:pt x="55" y="48"/>
                      <a:pt x="54" y="48"/>
                      <a:pt x="53" y="47"/>
                    </a:cubicBezTo>
                    <a:cubicBezTo>
                      <a:pt x="53" y="47"/>
                      <a:pt x="53" y="47"/>
                      <a:pt x="53" y="47"/>
                    </a:cubicBezTo>
                    <a:cubicBezTo>
                      <a:pt x="53" y="47"/>
                      <a:pt x="53" y="47"/>
                      <a:pt x="53" y="47"/>
                    </a:cubicBezTo>
                    <a:cubicBezTo>
                      <a:pt x="53" y="47"/>
                      <a:pt x="53" y="47"/>
                      <a:pt x="53" y="47"/>
                    </a:cubicBezTo>
                    <a:cubicBezTo>
                      <a:pt x="53" y="47"/>
                      <a:pt x="53" y="47"/>
                      <a:pt x="53" y="47"/>
                    </a:cubicBezTo>
                    <a:cubicBezTo>
                      <a:pt x="52" y="47"/>
                      <a:pt x="51" y="46"/>
                      <a:pt x="51" y="46"/>
                    </a:cubicBezTo>
                    <a:cubicBezTo>
                      <a:pt x="51" y="46"/>
                      <a:pt x="51" y="46"/>
                      <a:pt x="51" y="46"/>
                    </a:cubicBezTo>
                    <a:cubicBezTo>
                      <a:pt x="50" y="46"/>
                      <a:pt x="50" y="46"/>
                      <a:pt x="50" y="47"/>
                    </a:cubicBezTo>
                    <a:cubicBezTo>
                      <a:pt x="50" y="47"/>
                      <a:pt x="50" y="47"/>
                      <a:pt x="50" y="48"/>
                    </a:cubicBezTo>
                    <a:cubicBezTo>
                      <a:pt x="50" y="48"/>
                      <a:pt x="50" y="48"/>
                      <a:pt x="50" y="48"/>
                    </a:cubicBezTo>
                    <a:cubicBezTo>
                      <a:pt x="50" y="48"/>
                      <a:pt x="50" y="48"/>
                      <a:pt x="50" y="48"/>
                    </a:cubicBezTo>
                    <a:cubicBezTo>
                      <a:pt x="51" y="48"/>
                      <a:pt x="51" y="48"/>
                      <a:pt x="51" y="49"/>
                    </a:cubicBezTo>
                    <a:cubicBezTo>
                      <a:pt x="52" y="49"/>
                      <a:pt x="52" y="49"/>
                      <a:pt x="52" y="49"/>
                    </a:cubicBezTo>
                    <a:cubicBezTo>
                      <a:pt x="52" y="49"/>
                      <a:pt x="53" y="49"/>
                      <a:pt x="53" y="50"/>
                    </a:cubicBezTo>
                    <a:cubicBezTo>
                      <a:pt x="54" y="50"/>
                      <a:pt x="54" y="50"/>
                      <a:pt x="55" y="50"/>
                    </a:cubicBezTo>
                    <a:cubicBezTo>
                      <a:pt x="53" y="50"/>
                      <a:pt x="51" y="50"/>
                      <a:pt x="50" y="51"/>
                    </a:cubicBezTo>
                    <a:cubicBezTo>
                      <a:pt x="50" y="51"/>
                      <a:pt x="51" y="52"/>
                      <a:pt x="51" y="52"/>
                    </a:cubicBezTo>
                    <a:cubicBezTo>
                      <a:pt x="52" y="52"/>
                      <a:pt x="52" y="52"/>
                      <a:pt x="52" y="52"/>
                    </a:cubicBezTo>
                    <a:cubicBezTo>
                      <a:pt x="53" y="52"/>
                      <a:pt x="53" y="52"/>
                      <a:pt x="54" y="52"/>
                    </a:cubicBezTo>
                    <a:cubicBezTo>
                      <a:pt x="54" y="52"/>
                      <a:pt x="54" y="52"/>
                      <a:pt x="55" y="52"/>
                    </a:cubicBezTo>
                    <a:cubicBezTo>
                      <a:pt x="55" y="52"/>
                      <a:pt x="55" y="52"/>
                      <a:pt x="55" y="52"/>
                    </a:cubicBezTo>
                    <a:cubicBezTo>
                      <a:pt x="55" y="51"/>
                      <a:pt x="54" y="51"/>
                      <a:pt x="55" y="51"/>
                    </a:cubicBezTo>
                    <a:cubicBezTo>
                      <a:pt x="55" y="51"/>
                      <a:pt x="55" y="51"/>
                      <a:pt x="55" y="51"/>
                    </a:cubicBezTo>
                    <a:cubicBezTo>
                      <a:pt x="55" y="51"/>
                      <a:pt x="56" y="51"/>
                      <a:pt x="56" y="51"/>
                    </a:cubicBezTo>
                    <a:cubicBezTo>
                      <a:pt x="56" y="51"/>
                      <a:pt x="57" y="51"/>
                      <a:pt x="57" y="51"/>
                    </a:cubicBezTo>
                    <a:cubicBezTo>
                      <a:pt x="58" y="51"/>
                      <a:pt x="59" y="52"/>
                      <a:pt x="60" y="52"/>
                    </a:cubicBezTo>
                    <a:cubicBezTo>
                      <a:pt x="60" y="52"/>
                      <a:pt x="60" y="52"/>
                      <a:pt x="60" y="52"/>
                    </a:cubicBezTo>
                    <a:cubicBezTo>
                      <a:pt x="60" y="52"/>
                      <a:pt x="61" y="51"/>
                      <a:pt x="61" y="51"/>
                    </a:cubicBezTo>
                    <a:cubicBezTo>
                      <a:pt x="61" y="51"/>
                      <a:pt x="61" y="51"/>
                      <a:pt x="61" y="51"/>
                    </a:cubicBezTo>
                    <a:cubicBezTo>
                      <a:pt x="62" y="50"/>
                      <a:pt x="62" y="50"/>
                      <a:pt x="62" y="51"/>
                    </a:cubicBezTo>
                    <a:cubicBezTo>
                      <a:pt x="62" y="51"/>
                      <a:pt x="63" y="51"/>
                      <a:pt x="63" y="51"/>
                    </a:cubicBezTo>
                    <a:cubicBezTo>
                      <a:pt x="63" y="51"/>
                      <a:pt x="63" y="51"/>
                      <a:pt x="63" y="51"/>
                    </a:cubicBezTo>
                    <a:cubicBezTo>
                      <a:pt x="64" y="52"/>
                      <a:pt x="64" y="53"/>
                      <a:pt x="65" y="54"/>
                    </a:cubicBezTo>
                    <a:cubicBezTo>
                      <a:pt x="64" y="55"/>
                      <a:pt x="64" y="56"/>
                      <a:pt x="65" y="57"/>
                    </a:cubicBezTo>
                    <a:cubicBezTo>
                      <a:pt x="65" y="58"/>
                      <a:pt x="66" y="59"/>
                      <a:pt x="66" y="59"/>
                    </a:cubicBezTo>
                    <a:cubicBezTo>
                      <a:pt x="67" y="60"/>
                      <a:pt x="68" y="60"/>
                      <a:pt x="68" y="61"/>
                    </a:cubicBezTo>
                    <a:cubicBezTo>
                      <a:pt x="66" y="61"/>
                      <a:pt x="66" y="61"/>
                      <a:pt x="65" y="59"/>
                    </a:cubicBezTo>
                    <a:cubicBezTo>
                      <a:pt x="64" y="59"/>
                      <a:pt x="64" y="58"/>
                      <a:pt x="63" y="57"/>
                    </a:cubicBezTo>
                    <a:cubicBezTo>
                      <a:pt x="62" y="57"/>
                      <a:pt x="62" y="57"/>
                      <a:pt x="61" y="57"/>
                    </a:cubicBezTo>
                    <a:cubicBezTo>
                      <a:pt x="61" y="57"/>
                      <a:pt x="61" y="57"/>
                      <a:pt x="61" y="57"/>
                    </a:cubicBezTo>
                    <a:cubicBezTo>
                      <a:pt x="60" y="57"/>
                      <a:pt x="60" y="57"/>
                      <a:pt x="60" y="57"/>
                    </a:cubicBezTo>
                    <a:cubicBezTo>
                      <a:pt x="60" y="57"/>
                      <a:pt x="59" y="57"/>
                      <a:pt x="59" y="57"/>
                    </a:cubicBezTo>
                    <a:cubicBezTo>
                      <a:pt x="58" y="58"/>
                      <a:pt x="56" y="59"/>
                      <a:pt x="55" y="59"/>
                    </a:cubicBezTo>
                    <a:cubicBezTo>
                      <a:pt x="56" y="60"/>
                      <a:pt x="57" y="61"/>
                      <a:pt x="58" y="62"/>
                    </a:cubicBezTo>
                    <a:cubicBezTo>
                      <a:pt x="57" y="62"/>
                      <a:pt x="54" y="60"/>
                      <a:pt x="52" y="60"/>
                    </a:cubicBezTo>
                    <a:cubicBezTo>
                      <a:pt x="50" y="59"/>
                      <a:pt x="48" y="58"/>
                      <a:pt x="45" y="57"/>
                    </a:cubicBezTo>
                    <a:cubicBezTo>
                      <a:pt x="45" y="57"/>
                      <a:pt x="45" y="58"/>
                      <a:pt x="45" y="58"/>
                    </a:cubicBezTo>
                    <a:cubicBezTo>
                      <a:pt x="45" y="57"/>
                      <a:pt x="45" y="57"/>
                      <a:pt x="44" y="57"/>
                    </a:cubicBezTo>
                    <a:cubicBezTo>
                      <a:pt x="37" y="54"/>
                      <a:pt x="30" y="52"/>
                      <a:pt x="23" y="49"/>
                    </a:cubicBezTo>
                    <a:cubicBezTo>
                      <a:pt x="22" y="49"/>
                      <a:pt x="20" y="49"/>
                      <a:pt x="19" y="48"/>
                    </a:cubicBezTo>
                    <a:cubicBezTo>
                      <a:pt x="18" y="47"/>
                      <a:pt x="18" y="46"/>
                      <a:pt x="17" y="46"/>
                    </a:cubicBezTo>
                    <a:cubicBezTo>
                      <a:pt x="11" y="46"/>
                      <a:pt x="6" y="45"/>
                      <a:pt x="0" y="44"/>
                    </a:cubicBezTo>
                    <a:cubicBezTo>
                      <a:pt x="0" y="62"/>
                      <a:pt x="0" y="62"/>
                      <a:pt x="0" y="62"/>
                    </a:cubicBezTo>
                    <a:cubicBezTo>
                      <a:pt x="0" y="77"/>
                      <a:pt x="0" y="93"/>
                      <a:pt x="0" y="105"/>
                    </a:cubicBezTo>
                    <a:cubicBezTo>
                      <a:pt x="0" y="105"/>
                      <a:pt x="0" y="105"/>
                      <a:pt x="0" y="105"/>
                    </a:cubicBezTo>
                    <a:cubicBezTo>
                      <a:pt x="0" y="116"/>
                      <a:pt x="0" y="127"/>
                      <a:pt x="0" y="137"/>
                    </a:cubicBezTo>
                    <a:cubicBezTo>
                      <a:pt x="0" y="166"/>
                      <a:pt x="0" y="166"/>
                      <a:pt x="0" y="166"/>
                    </a:cubicBezTo>
                    <a:cubicBezTo>
                      <a:pt x="0" y="170"/>
                      <a:pt x="0" y="175"/>
                      <a:pt x="0" y="179"/>
                    </a:cubicBezTo>
                    <a:cubicBezTo>
                      <a:pt x="0" y="183"/>
                      <a:pt x="0" y="186"/>
                      <a:pt x="0" y="189"/>
                    </a:cubicBezTo>
                    <a:cubicBezTo>
                      <a:pt x="0" y="195"/>
                      <a:pt x="0" y="195"/>
                      <a:pt x="0" y="195"/>
                    </a:cubicBezTo>
                    <a:cubicBezTo>
                      <a:pt x="0" y="196"/>
                      <a:pt x="0" y="197"/>
                      <a:pt x="0" y="198"/>
                    </a:cubicBezTo>
                    <a:cubicBezTo>
                      <a:pt x="0" y="198"/>
                      <a:pt x="0" y="198"/>
                      <a:pt x="0" y="198"/>
                    </a:cubicBezTo>
                    <a:cubicBezTo>
                      <a:pt x="9" y="200"/>
                      <a:pt x="9" y="200"/>
                      <a:pt x="9" y="200"/>
                    </a:cubicBezTo>
                    <a:cubicBezTo>
                      <a:pt x="9" y="200"/>
                      <a:pt x="9" y="199"/>
                      <a:pt x="10" y="199"/>
                    </a:cubicBezTo>
                    <a:cubicBezTo>
                      <a:pt x="10" y="198"/>
                      <a:pt x="11" y="198"/>
                      <a:pt x="12" y="198"/>
                    </a:cubicBezTo>
                    <a:cubicBezTo>
                      <a:pt x="13" y="197"/>
                      <a:pt x="14" y="197"/>
                      <a:pt x="15" y="197"/>
                    </a:cubicBezTo>
                    <a:cubicBezTo>
                      <a:pt x="15" y="197"/>
                      <a:pt x="15" y="197"/>
                      <a:pt x="15" y="197"/>
                    </a:cubicBezTo>
                    <a:cubicBezTo>
                      <a:pt x="15" y="197"/>
                      <a:pt x="15" y="197"/>
                      <a:pt x="15" y="197"/>
                    </a:cubicBezTo>
                    <a:cubicBezTo>
                      <a:pt x="17" y="197"/>
                      <a:pt x="18" y="197"/>
                      <a:pt x="19" y="198"/>
                    </a:cubicBezTo>
                    <a:cubicBezTo>
                      <a:pt x="20" y="199"/>
                      <a:pt x="19" y="200"/>
                      <a:pt x="19" y="202"/>
                    </a:cubicBezTo>
                    <a:cubicBezTo>
                      <a:pt x="19" y="202"/>
                      <a:pt x="19" y="202"/>
                      <a:pt x="19" y="203"/>
                    </a:cubicBezTo>
                    <a:cubicBezTo>
                      <a:pt x="19" y="203"/>
                      <a:pt x="19" y="203"/>
                      <a:pt x="19" y="203"/>
                    </a:cubicBezTo>
                    <a:cubicBezTo>
                      <a:pt x="21" y="204"/>
                      <a:pt x="22" y="205"/>
                      <a:pt x="24" y="206"/>
                    </a:cubicBezTo>
                    <a:cubicBezTo>
                      <a:pt x="30" y="211"/>
                      <a:pt x="30" y="211"/>
                      <a:pt x="30" y="211"/>
                    </a:cubicBezTo>
                    <a:cubicBezTo>
                      <a:pt x="30" y="211"/>
                      <a:pt x="30" y="212"/>
                      <a:pt x="31" y="212"/>
                    </a:cubicBezTo>
                    <a:cubicBezTo>
                      <a:pt x="32" y="212"/>
                      <a:pt x="33" y="213"/>
                      <a:pt x="34" y="214"/>
                    </a:cubicBezTo>
                    <a:cubicBezTo>
                      <a:pt x="35" y="215"/>
                      <a:pt x="35" y="216"/>
                      <a:pt x="35" y="217"/>
                    </a:cubicBezTo>
                    <a:cubicBezTo>
                      <a:pt x="36" y="218"/>
                      <a:pt x="36" y="218"/>
                      <a:pt x="36" y="218"/>
                    </a:cubicBezTo>
                    <a:cubicBezTo>
                      <a:pt x="36" y="218"/>
                      <a:pt x="36" y="218"/>
                      <a:pt x="36" y="218"/>
                    </a:cubicBezTo>
                    <a:cubicBezTo>
                      <a:pt x="37" y="218"/>
                      <a:pt x="38" y="217"/>
                      <a:pt x="39" y="217"/>
                    </a:cubicBezTo>
                    <a:cubicBezTo>
                      <a:pt x="39" y="216"/>
                      <a:pt x="39" y="216"/>
                      <a:pt x="39" y="216"/>
                    </a:cubicBezTo>
                    <a:cubicBezTo>
                      <a:pt x="40" y="216"/>
                      <a:pt x="40" y="216"/>
                      <a:pt x="41" y="215"/>
                    </a:cubicBezTo>
                    <a:cubicBezTo>
                      <a:pt x="41" y="215"/>
                      <a:pt x="41" y="215"/>
                      <a:pt x="41" y="215"/>
                    </a:cubicBezTo>
                    <a:cubicBezTo>
                      <a:pt x="41" y="215"/>
                      <a:pt x="42" y="215"/>
                      <a:pt x="42" y="215"/>
                    </a:cubicBezTo>
                    <a:cubicBezTo>
                      <a:pt x="43" y="215"/>
                      <a:pt x="43" y="215"/>
                      <a:pt x="43" y="215"/>
                    </a:cubicBezTo>
                    <a:cubicBezTo>
                      <a:pt x="43" y="215"/>
                      <a:pt x="43" y="215"/>
                      <a:pt x="43" y="215"/>
                    </a:cubicBezTo>
                    <a:cubicBezTo>
                      <a:pt x="43" y="215"/>
                      <a:pt x="43" y="215"/>
                      <a:pt x="43" y="215"/>
                    </a:cubicBezTo>
                    <a:cubicBezTo>
                      <a:pt x="44" y="215"/>
                      <a:pt x="44" y="214"/>
                      <a:pt x="44" y="214"/>
                    </a:cubicBezTo>
                    <a:cubicBezTo>
                      <a:pt x="44" y="214"/>
                      <a:pt x="44" y="214"/>
                      <a:pt x="44" y="214"/>
                    </a:cubicBezTo>
                    <a:cubicBezTo>
                      <a:pt x="44" y="214"/>
                      <a:pt x="44" y="214"/>
                      <a:pt x="44" y="214"/>
                    </a:cubicBezTo>
                    <a:cubicBezTo>
                      <a:pt x="44" y="213"/>
                      <a:pt x="44" y="213"/>
                      <a:pt x="44" y="213"/>
                    </a:cubicBezTo>
                    <a:cubicBezTo>
                      <a:pt x="44" y="212"/>
                      <a:pt x="44" y="211"/>
                      <a:pt x="45" y="211"/>
                    </a:cubicBezTo>
                    <a:cubicBezTo>
                      <a:pt x="44" y="210"/>
                      <a:pt x="44" y="210"/>
                      <a:pt x="44" y="210"/>
                    </a:cubicBezTo>
                    <a:cubicBezTo>
                      <a:pt x="46" y="209"/>
                      <a:pt x="46" y="209"/>
                      <a:pt x="46" y="209"/>
                    </a:cubicBezTo>
                    <a:cubicBezTo>
                      <a:pt x="47" y="208"/>
                      <a:pt x="48" y="208"/>
                      <a:pt x="48" y="208"/>
                    </a:cubicBezTo>
                    <a:cubicBezTo>
                      <a:pt x="49" y="208"/>
                      <a:pt x="49" y="208"/>
                      <a:pt x="49" y="208"/>
                    </a:cubicBezTo>
                    <a:cubicBezTo>
                      <a:pt x="50" y="208"/>
                      <a:pt x="50" y="208"/>
                      <a:pt x="50" y="208"/>
                    </a:cubicBezTo>
                    <a:cubicBezTo>
                      <a:pt x="51" y="207"/>
                      <a:pt x="51" y="207"/>
                      <a:pt x="51" y="207"/>
                    </a:cubicBezTo>
                    <a:cubicBezTo>
                      <a:pt x="52" y="207"/>
                      <a:pt x="52" y="207"/>
                      <a:pt x="52" y="207"/>
                    </a:cubicBezTo>
                    <a:cubicBezTo>
                      <a:pt x="52" y="207"/>
                      <a:pt x="52" y="207"/>
                      <a:pt x="53" y="207"/>
                    </a:cubicBezTo>
                    <a:cubicBezTo>
                      <a:pt x="53" y="206"/>
                      <a:pt x="54" y="206"/>
                      <a:pt x="55" y="206"/>
                    </a:cubicBezTo>
                    <a:cubicBezTo>
                      <a:pt x="56" y="206"/>
                      <a:pt x="57" y="207"/>
                      <a:pt x="58" y="208"/>
                    </a:cubicBezTo>
                    <a:cubicBezTo>
                      <a:pt x="59" y="210"/>
                      <a:pt x="60" y="211"/>
                      <a:pt x="61" y="213"/>
                    </a:cubicBezTo>
                    <a:cubicBezTo>
                      <a:pt x="61" y="214"/>
                      <a:pt x="62" y="214"/>
                      <a:pt x="62" y="214"/>
                    </a:cubicBezTo>
                    <a:cubicBezTo>
                      <a:pt x="63" y="214"/>
                      <a:pt x="63" y="215"/>
                      <a:pt x="64" y="215"/>
                    </a:cubicBezTo>
                    <a:cubicBezTo>
                      <a:pt x="64" y="215"/>
                      <a:pt x="64" y="215"/>
                      <a:pt x="64" y="215"/>
                    </a:cubicBezTo>
                    <a:cubicBezTo>
                      <a:pt x="66" y="216"/>
                      <a:pt x="67" y="217"/>
                      <a:pt x="68" y="218"/>
                    </a:cubicBezTo>
                    <a:cubicBezTo>
                      <a:pt x="69" y="220"/>
                      <a:pt x="70" y="221"/>
                      <a:pt x="72" y="223"/>
                    </a:cubicBezTo>
                    <a:cubicBezTo>
                      <a:pt x="77" y="227"/>
                      <a:pt x="77" y="227"/>
                      <a:pt x="77" y="227"/>
                    </a:cubicBezTo>
                    <a:cubicBezTo>
                      <a:pt x="78" y="227"/>
                      <a:pt x="78" y="228"/>
                      <a:pt x="79" y="229"/>
                    </a:cubicBezTo>
                    <a:cubicBezTo>
                      <a:pt x="79" y="230"/>
                      <a:pt x="79" y="230"/>
                      <a:pt x="79" y="230"/>
                    </a:cubicBezTo>
                    <a:cubicBezTo>
                      <a:pt x="79" y="230"/>
                      <a:pt x="80" y="231"/>
                      <a:pt x="80" y="232"/>
                    </a:cubicBezTo>
                    <a:cubicBezTo>
                      <a:pt x="81" y="233"/>
                      <a:pt x="81" y="234"/>
                      <a:pt x="82" y="234"/>
                    </a:cubicBezTo>
                    <a:cubicBezTo>
                      <a:pt x="83" y="235"/>
                      <a:pt x="83" y="236"/>
                      <a:pt x="84" y="237"/>
                    </a:cubicBezTo>
                    <a:cubicBezTo>
                      <a:pt x="84" y="238"/>
                      <a:pt x="84" y="238"/>
                      <a:pt x="84" y="238"/>
                    </a:cubicBezTo>
                    <a:cubicBezTo>
                      <a:pt x="86" y="240"/>
                      <a:pt x="87" y="241"/>
                      <a:pt x="88" y="243"/>
                    </a:cubicBezTo>
                    <a:cubicBezTo>
                      <a:pt x="88" y="243"/>
                      <a:pt x="89" y="244"/>
                      <a:pt x="89" y="245"/>
                    </a:cubicBezTo>
                    <a:cubicBezTo>
                      <a:pt x="89" y="245"/>
                      <a:pt x="90" y="245"/>
                      <a:pt x="89" y="246"/>
                    </a:cubicBezTo>
                    <a:cubicBezTo>
                      <a:pt x="89" y="246"/>
                      <a:pt x="89" y="247"/>
                      <a:pt x="89" y="247"/>
                    </a:cubicBezTo>
                    <a:cubicBezTo>
                      <a:pt x="89" y="247"/>
                      <a:pt x="89" y="247"/>
                      <a:pt x="89" y="247"/>
                    </a:cubicBezTo>
                    <a:cubicBezTo>
                      <a:pt x="89" y="247"/>
                      <a:pt x="89" y="247"/>
                      <a:pt x="89" y="247"/>
                    </a:cubicBezTo>
                    <a:cubicBezTo>
                      <a:pt x="89" y="247"/>
                      <a:pt x="89" y="247"/>
                      <a:pt x="89" y="248"/>
                    </a:cubicBezTo>
                    <a:cubicBezTo>
                      <a:pt x="89" y="248"/>
                      <a:pt x="90" y="248"/>
                      <a:pt x="90" y="249"/>
                    </a:cubicBezTo>
                    <a:cubicBezTo>
                      <a:pt x="90" y="249"/>
                      <a:pt x="90" y="249"/>
                      <a:pt x="90" y="249"/>
                    </a:cubicBezTo>
                    <a:cubicBezTo>
                      <a:pt x="90" y="249"/>
                      <a:pt x="90" y="249"/>
                      <a:pt x="91" y="250"/>
                    </a:cubicBezTo>
                    <a:cubicBezTo>
                      <a:pt x="91" y="250"/>
                      <a:pt x="92" y="251"/>
                      <a:pt x="92" y="252"/>
                    </a:cubicBezTo>
                    <a:cubicBezTo>
                      <a:pt x="92" y="252"/>
                      <a:pt x="92" y="252"/>
                      <a:pt x="92" y="252"/>
                    </a:cubicBezTo>
                    <a:cubicBezTo>
                      <a:pt x="93" y="252"/>
                      <a:pt x="93" y="252"/>
                      <a:pt x="93" y="253"/>
                    </a:cubicBezTo>
                    <a:cubicBezTo>
                      <a:pt x="93" y="253"/>
                      <a:pt x="93" y="253"/>
                      <a:pt x="93" y="253"/>
                    </a:cubicBezTo>
                    <a:cubicBezTo>
                      <a:pt x="94" y="253"/>
                      <a:pt x="94" y="253"/>
                      <a:pt x="94" y="253"/>
                    </a:cubicBezTo>
                    <a:cubicBezTo>
                      <a:pt x="95" y="254"/>
                      <a:pt x="96" y="254"/>
                      <a:pt x="97" y="254"/>
                    </a:cubicBezTo>
                    <a:cubicBezTo>
                      <a:pt x="97" y="254"/>
                      <a:pt x="97" y="254"/>
                      <a:pt x="97" y="254"/>
                    </a:cubicBezTo>
                    <a:cubicBezTo>
                      <a:pt x="98" y="255"/>
                      <a:pt x="98" y="255"/>
                      <a:pt x="99" y="255"/>
                    </a:cubicBezTo>
                    <a:cubicBezTo>
                      <a:pt x="100" y="256"/>
                      <a:pt x="100" y="256"/>
                      <a:pt x="101" y="256"/>
                    </a:cubicBezTo>
                    <a:cubicBezTo>
                      <a:pt x="101" y="257"/>
                      <a:pt x="101" y="257"/>
                      <a:pt x="101" y="257"/>
                    </a:cubicBezTo>
                    <a:cubicBezTo>
                      <a:pt x="101" y="256"/>
                      <a:pt x="101" y="256"/>
                      <a:pt x="101" y="256"/>
                    </a:cubicBezTo>
                    <a:cubicBezTo>
                      <a:pt x="102" y="256"/>
                      <a:pt x="103" y="257"/>
                      <a:pt x="104" y="257"/>
                    </a:cubicBezTo>
                    <a:cubicBezTo>
                      <a:pt x="104" y="257"/>
                      <a:pt x="104" y="257"/>
                      <a:pt x="104" y="257"/>
                    </a:cubicBezTo>
                    <a:cubicBezTo>
                      <a:pt x="105" y="257"/>
                      <a:pt x="105" y="257"/>
                      <a:pt x="105" y="257"/>
                    </a:cubicBezTo>
                    <a:cubicBezTo>
                      <a:pt x="108" y="259"/>
                      <a:pt x="110" y="260"/>
                      <a:pt x="111" y="262"/>
                    </a:cubicBezTo>
                    <a:cubicBezTo>
                      <a:pt x="112" y="263"/>
                      <a:pt x="112" y="264"/>
                      <a:pt x="112" y="265"/>
                    </a:cubicBezTo>
                    <a:cubicBezTo>
                      <a:pt x="112" y="266"/>
                      <a:pt x="111" y="267"/>
                      <a:pt x="111" y="267"/>
                    </a:cubicBezTo>
                    <a:cubicBezTo>
                      <a:pt x="111" y="268"/>
                      <a:pt x="111" y="268"/>
                      <a:pt x="111" y="268"/>
                    </a:cubicBezTo>
                    <a:cubicBezTo>
                      <a:pt x="112" y="268"/>
                      <a:pt x="111" y="269"/>
                      <a:pt x="111" y="269"/>
                    </a:cubicBezTo>
                    <a:cubicBezTo>
                      <a:pt x="111" y="269"/>
                      <a:pt x="111" y="269"/>
                      <a:pt x="111" y="269"/>
                    </a:cubicBezTo>
                    <a:cubicBezTo>
                      <a:pt x="111" y="270"/>
                      <a:pt x="112" y="270"/>
                      <a:pt x="112" y="270"/>
                    </a:cubicBezTo>
                    <a:cubicBezTo>
                      <a:pt x="112" y="271"/>
                      <a:pt x="113" y="273"/>
                      <a:pt x="113" y="273"/>
                    </a:cubicBezTo>
                    <a:cubicBezTo>
                      <a:pt x="113" y="273"/>
                      <a:pt x="113" y="273"/>
                      <a:pt x="113" y="273"/>
                    </a:cubicBezTo>
                    <a:cubicBezTo>
                      <a:pt x="113" y="272"/>
                      <a:pt x="113" y="270"/>
                      <a:pt x="113" y="269"/>
                    </a:cubicBezTo>
                    <a:cubicBezTo>
                      <a:pt x="113" y="269"/>
                      <a:pt x="113" y="269"/>
                      <a:pt x="113" y="269"/>
                    </a:cubicBezTo>
                    <a:cubicBezTo>
                      <a:pt x="114" y="270"/>
                      <a:pt x="115" y="271"/>
                      <a:pt x="115" y="271"/>
                    </a:cubicBezTo>
                    <a:cubicBezTo>
                      <a:pt x="116" y="271"/>
                      <a:pt x="116" y="271"/>
                      <a:pt x="116" y="271"/>
                    </a:cubicBezTo>
                    <a:cubicBezTo>
                      <a:pt x="116" y="271"/>
                      <a:pt x="116" y="271"/>
                      <a:pt x="116" y="271"/>
                    </a:cubicBezTo>
                    <a:cubicBezTo>
                      <a:pt x="116" y="271"/>
                      <a:pt x="116" y="271"/>
                      <a:pt x="116" y="271"/>
                    </a:cubicBezTo>
                    <a:cubicBezTo>
                      <a:pt x="115" y="271"/>
                      <a:pt x="115" y="271"/>
                      <a:pt x="114" y="272"/>
                    </a:cubicBezTo>
                    <a:cubicBezTo>
                      <a:pt x="114" y="273"/>
                      <a:pt x="113" y="274"/>
                      <a:pt x="113" y="275"/>
                    </a:cubicBezTo>
                    <a:cubicBezTo>
                      <a:pt x="113" y="275"/>
                      <a:pt x="113" y="275"/>
                      <a:pt x="113" y="275"/>
                    </a:cubicBezTo>
                    <a:cubicBezTo>
                      <a:pt x="112" y="275"/>
                      <a:pt x="112" y="275"/>
                      <a:pt x="112" y="275"/>
                    </a:cubicBezTo>
                    <a:cubicBezTo>
                      <a:pt x="112" y="275"/>
                      <a:pt x="112" y="275"/>
                      <a:pt x="112" y="276"/>
                    </a:cubicBezTo>
                    <a:cubicBezTo>
                      <a:pt x="112" y="276"/>
                      <a:pt x="112" y="277"/>
                      <a:pt x="111" y="277"/>
                    </a:cubicBezTo>
                    <a:cubicBezTo>
                      <a:pt x="111" y="277"/>
                      <a:pt x="111" y="277"/>
                      <a:pt x="111" y="277"/>
                    </a:cubicBezTo>
                    <a:cubicBezTo>
                      <a:pt x="111" y="277"/>
                      <a:pt x="111" y="277"/>
                      <a:pt x="111" y="277"/>
                    </a:cubicBezTo>
                    <a:cubicBezTo>
                      <a:pt x="111" y="277"/>
                      <a:pt x="111" y="277"/>
                      <a:pt x="111" y="277"/>
                    </a:cubicBezTo>
                    <a:cubicBezTo>
                      <a:pt x="111" y="277"/>
                      <a:pt x="111" y="277"/>
                      <a:pt x="111" y="277"/>
                    </a:cubicBezTo>
                    <a:cubicBezTo>
                      <a:pt x="111" y="277"/>
                      <a:pt x="111" y="277"/>
                      <a:pt x="112" y="277"/>
                    </a:cubicBezTo>
                    <a:cubicBezTo>
                      <a:pt x="112" y="277"/>
                      <a:pt x="112" y="277"/>
                      <a:pt x="112" y="277"/>
                    </a:cubicBezTo>
                    <a:cubicBezTo>
                      <a:pt x="112" y="277"/>
                      <a:pt x="112" y="277"/>
                      <a:pt x="113" y="278"/>
                    </a:cubicBezTo>
                    <a:cubicBezTo>
                      <a:pt x="113" y="278"/>
                      <a:pt x="114" y="278"/>
                      <a:pt x="114" y="278"/>
                    </a:cubicBezTo>
                    <a:cubicBezTo>
                      <a:pt x="114" y="278"/>
                      <a:pt x="115" y="278"/>
                      <a:pt x="115" y="278"/>
                    </a:cubicBezTo>
                    <a:cubicBezTo>
                      <a:pt x="114" y="278"/>
                      <a:pt x="113" y="278"/>
                      <a:pt x="113" y="278"/>
                    </a:cubicBezTo>
                    <a:cubicBezTo>
                      <a:pt x="112" y="278"/>
                      <a:pt x="112" y="278"/>
                      <a:pt x="112" y="278"/>
                    </a:cubicBezTo>
                    <a:cubicBezTo>
                      <a:pt x="111" y="279"/>
                      <a:pt x="111" y="278"/>
                      <a:pt x="111" y="278"/>
                    </a:cubicBezTo>
                    <a:cubicBezTo>
                      <a:pt x="111" y="278"/>
                      <a:pt x="111" y="278"/>
                      <a:pt x="111" y="278"/>
                    </a:cubicBezTo>
                    <a:cubicBezTo>
                      <a:pt x="111" y="278"/>
                      <a:pt x="111" y="278"/>
                      <a:pt x="111" y="278"/>
                    </a:cubicBezTo>
                    <a:cubicBezTo>
                      <a:pt x="111" y="278"/>
                      <a:pt x="110" y="278"/>
                      <a:pt x="110" y="279"/>
                    </a:cubicBezTo>
                    <a:cubicBezTo>
                      <a:pt x="110" y="279"/>
                      <a:pt x="110" y="279"/>
                      <a:pt x="109" y="280"/>
                    </a:cubicBezTo>
                    <a:cubicBezTo>
                      <a:pt x="110" y="279"/>
                      <a:pt x="110" y="279"/>
                      <a:pt x="110" y="279"/>
                    </a:cubicBezTo>
                    <a:cubicBezTo>
                      <a:pt x="110" y="280"/>
                      <a:pt x="109" y="280"/>
                      <a:pt x="109" y="281"/>
                    </a:cubicBezTo>
                    <a:cubicBezTo>
                      <a:pt x="109" y="282"/>
                      <a:pt x="111" y="282"/>
                      <a:pt x="112" y="283"/>
                    </a:cubicBezTo>
                    <a:cubicBezTo>
                      <a:pt x="112" y="283"/>
                      <a:pt x="112" y="283"/>
                      <a:pt x="111" y="283"/>
                    </a:cubicBezTo>
                    <a:cubicBezTo>
                      <a:pt x="111" y="283"/>
                      <a:pt x="111" y="283"/>
                      <a:pt x="111" y="283"/>
                    </a:cubicBezTo>
                    <a:cubicBezTo>
                      <a:pt x="111" y="283"/>
                      <a:pt x="110" y="282"/>
                      <a:pt x="110" y="282"/>
                    </a:cubicBezTo>
                    <a:cubicBezTo>
                      <a:pt x="109" y="282"/>
                      <a:pt x="109" y="282"/>
                      <a:pt x="109" y="282"/>
                    </a:cubicBezTo>
                    <a:cubicBezTo>
                      <a:pt x="109" y="282"/>
                      <a:pt x="109" y="282"/>
                      <a:pt x="109" y="282"/>
                    </a:cubicBezTo>
                    <a:cubicBezTo>
                      <a:pt x="108" y="282"/>
                      <a:pt x="108" y="282"/>
                      <a:pt x="108" y="282"/>
                    </a:cubicBezTo>
                    <a:cubicBezTo>
                      <a:pt x="108" y="282"/>
                      <a:pt x="108" y="282"/>
                      <a:pt x="108" y="282"/>
                    </a:cubicBezTo>
                    <a:cubicBezTo>
                      <a:pt x="108" y="282"/>
                      <a:pt x="108" y="282"/>
                      <a:pt x="108" y="282"/>
                    </a:cubicBezTo>
                    <a:cubicBezTo>
                      <a:pt x="108" y="282"/>
                      <a:pt x="108" y="282"/>
                      <a:pt x="108" y="282"/>
                    </a:cubicBezTo>
                    <a:cubicBezTo>
                      <a:pt x="108" y="282"/>
                      <a:pt x="108" y="282"/>
                      <a:pt x="108" y="282"/>
                    </a:cubicBezTo>
                    <a:cubicBezTo>
                      <a:pt x="107" y="282"/>
                      <a:pt x="107" y="282"/>
                      <a:pt x="107" y="283"/>
                    </a:cubicBezTo>
                    <a:cubicBezTo>
                      <a:pt x="108" y="283"/>
                      <a:pt x="110" y="284"/>
                      <a:pt x="111" y="284"/>
                    </a:cubicBezTo>
                    <a:cubicBezTo>
                      <a:pt x="111" y="284"/>
                      <a:pt x="111" y="284"/>
                      <a:pt x="111" y="284"/>
                    </a:cubicBezTo>
                    <a:cubicBezTo>
                      <a:pt x="111" y="284"/>
                      <a:pt x="111" y="284"/>
                      <a:pt x="111" y="284"/>
                    </a:cubicBezTo>
                    <a:cubicBezTo>
                      <a:pt x="111" y="284"/>
                      <a:pt x="111" y="284"/>
                      <a:pt x="111" y="284"/>
                    </a:cubicBezTo>
                    <a:cubicBezTo>
                      <a:pt x="111" y="284"/>
                      <a:pt x="111" y="284"/>
                      <a:pt x="111" y="284"/>
                    </a:cubicBezTo>
                    <a:cubicBezTo>
                      <a:pt x="110" y="285"/>
                      <a:pt x="110" y="286"/>
                      <a:pt x="111" y="287"/>
                    </a:cubicBezTo>
                    <a:cubicBezTo>
                      <a:pt x="110" y="287"/>
                      <a:pt x="109" y="285"/>
                      <a:pt x="108" y="285"/>
                    </a:cubicBezTo>
                    <a:cubicBezTo>
                      <a:pt x="108" y="284"/>
                      <a:pt x="108" y="284"/>
                      <a:pt x="108" y="284"/>
                    </a:cubicBezTo>
                    <a:cubicBezTo>
                      <a:pt x="108" y="284"/>
                      <a:pt x="108" y="284"/>
                      <a:pt x="108" y="284"/>
                    </a:cubicBezTo>
                    <a:cubicBezTo>
                      <a:pt x="107" y="283"/>
                      <a:pt x="107" y="283"/>
                      <a:pt x="107" y="283"/>
                    </a:cubicBezTo>
                    <a:cubicBezTo>
                      <a:pt x="107" y="283"/>
                      <a:pt x="107" y="283"/>
                      <a:pt x="107" y="283"/>
                    </a:cubicBezTo>
                    <a:cubicBezTo>
                      <a:pt x="107" y="283"/>
                      <a:pt x="107" y="283"/>
                      <a:pt x="107" y="284"/>
                    </a:cubicBezTo>
                    <a:cubicBezTo>
                      <a:pt x="107" y="284"/>
                      <a:pt x="107" y="284"/>
                      <a:pt x="107" y="285"/>
                    </a:cubicBezTo>
                    <a:cubicBezTo>
                      <a:pt x="107" y="285"/>
                      <a:pt x="107" y="285"/>
                      <a:pt x="107" y="285"/>
                    </a:cubicBezTo>
                    <a:cubicBezTo>
                      <a:pt x="107" y="285"/>
                      <a:pt x="107" y="285"/>
                      <a:pt x="107" y="285"/>
                    </a:cubicBezTo>
                    <a:cubicBezTo>
                      <a:pt x="105" y="285"/>
                      <a:pt x="104" y="286"/>
                      <a:pt x="104" y="287"/>
                    </a:cubicBezTo>
                    <a:cubicBezTo>
                      <a:pt x="104" y="288"/>
                      <a:pt x="106" y="288"/>
                      <a:pt x="107" y="288"/>
                    </a:cubicBezTo>
                    <a:cubicBezTo>
                      <a:pt x="108" y="288"/>
                      <a:pt x="108" y="288"/>
                      <a:pt x="108" y="288"/>
                    </a:cubicBezTo>
                    <a:cubicBezTo>
                      <a:pt x="108" y="287"/>
                      <a:pt x="108" y="287"/>
                      <a:pt x="109" y="287"/>
                    </a:cubicBezTo>
                    <a:cubicBezTo>
                      <a:pt x="108" y="287"/>
                      <a:pt x="108" y="288"/>
                      <a:pt x="108" y="288"/>
                    </a:cubicBezTo>
                    <a:cubicBezTo>
                      <a:pt x="108" y="288"/>
                      <a:pt x="108" y="288"/>
                      <a:pt x="108" y="288"/>
                    </a:cubicBezTo>
                    <a:cubicBezTo>
                      <a:pt x="108" y="288"/>
                      <a:pt x="108" y="288"/>
                      <a:pt x="108" y="288"/>
                    </a:cubicBezTo>
                    <a:cubicBezTo>
                      <a:pt x="108" y="288"/>
                      <a:pt x="108" y="288"/>
                      <a:pt x="108" y="288"/>
                    </a:cubicBezTo>
                    <a:cubicBezTo>
                      <a:pt x="108" y="288"/>
                      <a:pt x="108" y="288"/>
                      <a:pt x="108" y="288"/>
                    </a:cubicBezTo>
                    <a:cubicBezTo>
                      <a:pt x="108" y="288"/>
                      <a:pt x="108" y="288"/>
                      <a:pt x="108" y="288"/>
                    </a:cubicBezTo>
                    <a:cubicBezTo>
                      <a:pt x="108" y="288"/>
                      <a:pt x="108" y="288"/>
                      <a:pt x="108" y="288"/>
                    </a:cubicBezTo>
                    <a:cubicBezTo>
                      <a:pt x="108" y="289"/>
                      <a:pt x="108" y="289"/>
                      <a:pt x="109" y="289"/>
                    </a:cubicBezTo>
                    <a:cubicBezTo>
                      <a:pt x="109" y="289"/>
                      <a:pt x="109" y="289"/>
                      <a:pt x="109" y="289"/>
                    </a:cubicBezTo>
                    <a:cubicBezTo>
                      <a:pt x="109" y="289"/>
                      <a:pt x="109" y="290"/>
                      <a:pt x="109" y="290"/>
                    </a:cubicBezTo>
                    <a:cubicBezTo>
                      <a:pt x="109" y="290"/>
                      <a:pt x="110" y="290"/>
                      <a:pt x="110" y="290"/>
                    </a:cubicBezTo>
                    <a:cubicBezTo>
                      <a:pt x="110" y="290"/>
                      <a:pt x="110" y="291"/>
                      <a:pt x="110" y="291"/>
                    </a:cubicBezTo>
                    <a:cubicBezTo>
                      <a:pt x="110" y="291"/>
                      <a:pt x="110" y="291"/>
                      <a:pt x="110" y="291"/>
                    </a:cubicBezTo>
                    <a:cubicBezTo>
                      <a:pt x="110" y="291"/>
                      <a:pt x="110" y="291"/>
                      <a:pt x="110" y="291"/>
                    </a:cubicBezTo>
                    <a:cubicBezTo>
                      <a:pt x="110" y="291"/>
                      <a:pt x="110" y="291"/>
                      <a:pt x="110" y="291"/>
                    </a:cubicBezTo>
                    <a:cubicBezTo>
                      <a:pt x="110" y="291"/>
                      <a:pt x="110" y="291"/>
                      <a:pt x="110" y="291"/>
                    </a:cubicBezTo>
                    <a:cubicBezTo>
                      <a:pt x="110" y="292"/>
                      <a:pt x="110" y="292"/>
                      <a:pt x="110" y="292"/>
                    </a:cubicBezTo>
                    <a:cubicBezTo>
                      <a:pt x="110" y="292"/>
                      <a:pt x="110" y="292"/>
                      <a:pt x="110" y="292"/>
                    </a:cubicBezTo>
                    <a:cubicBezTo>
                      <a:pt x="110" y="292"/>
                      <a:pt x="110" y="292"/>
                      <a:pt x="110" y="292"/>
                    </a:cubicBezTo>
                    <a:cubicBezTo>
                      <a:pt x="110" y="292"/>
                      <a:pt x="110" y="293"/>
                      <a:pt x="111" y="293"/>
                    </a:cubicBezTo>
                    <a:cubicBezTo>
                      <a:pt x="111" y="293"/>
                      <a:pt x="111" y="293"/>
                      <a:pt x="111" y="293"/>
                    </a:cubicBezTo>
                    <a:cubicBezTo>
                      <a:pt x="111" y="293"/>
                      <a:pt x="111" y="294"/>
                      <a:pt x="111" y="294"/>
                    </a:cubicBezTo>
                    <a:cubicBezTo>
                      <a:pt x="111" y="294"/>
                      <a:pt x="111" y="294"/>
                      <a:pt x="112" y="294"/>
                    </a:cubicBezTo>
                    <a:cubicBezTo>
                      <a:pt x="112" y="294"/>
                      <a:pt x="112" y="294"/>
                      <a:pt x="112" y="294"/>
                    </a:cubicBezTo>
                    <a:cubicBezTo>
                      <a:pt x="113" y="295"/>
                      <a:pt x="114" y="296"/>
                      <a:pt x="115" y="297"/>
                    </a:cubicBezTo>
                    <a:cubicBezTo>
                      <a:pt x="115" y="297"/>
                      <a:pt x="115" y="297"/>
                      <a:pt x="116" y="297"/>
                    </a:cubicBezTo>
                    <a:cubicBezTo>
                      <a:pt x="116" y="297"/>
                      <a:pt x="116" y="297"/>
                      <a:pt x="116" y="297"/>
                    </a:cubicBezTo>
                    <a:cubicBezTo>
                      <a:pt x="117" y="298"/>
                      <a:pt x="118" y="299"/>
                      <a:pt x="119" y="299"/>
                    </a:cubicBezTo>
                    <a:cubicBezTo>
                      <a:pt x="119" y="299"/>
                      <a:pt x="119" y="299"/>
                      <a:pt x="119" y="299"/>
                    </a:cubicBezTo>
                    <a:cubicBezTo>
                      <a:pt x="119" y="298"/>
                      <a:pt x="119" y="297"/>
                      <a:pt x="120" y="296"/>
                    </a:cubicBezTo>
                    <a:cubicBezTo>
                      <a:pt x="120" y="295"/>
                      <a:pt x="121" y="295"/>
                      <a:pt x="121" y="295"/>
                    </a:cubicBezTo>
                    <a:cubicBezTo>
                      <a:pt x="121" y="295"/>
                      <a:pt x="121" y="295"/>
                      <a:pt x="121" y="295"/>
                    </a:cubicBezTo>
                    <a:cubicBezTo>
                      <a:pt x="121" y="295"/>
                      <a:pt x="121" y="295"/>
                      <a:pt x="121" y="295"/>
                    </a:cubicBezTo>
                    <a:cubicBezTo>
                      <a:pt x="121" y="295"/>
                      <a:pt x="121" y="295"/>
                      <a:pt x="121" y="295"/>
                    </a:cubicBezTo>
                    <a:cubicBezTo>
                      <a:pt x="121" y="295"/>
                      <a:pt x="121" y="295"/>
                      <a:pt x="121" y="294"/>
                    </a:cubicBezTo>
                    <a:cubicBezTo>
                      <a:pt x="121" y="294"/>
                      <a:pt x="121" y="294"/>
                      <a:pt x="121" y="294"/>
                    </a:cubicBezTo>
                    <a:cubicBezTo>
                      <a:pt x="122" y="295"/>
                      <a:pt x="122" y="294"/>
                      <a:pt x="122" y="294"/>
                    </a:cubicBezTo>
                    <a:cubicBezTo>
                      <a:pt x="122" y="294"/>
                      <a:pt x="122" y="294"/>
                      <a:pt x="122" y="294"/>
                    </a:cubicBezTo>
                    <a:cubicBezTo>
                      <a:pt x="122" y="293"/>
                      <a:pt x="121" y="293"/>
                      <a:pt x="121" y="293"/>
                    </a:cubicBezTo>
                    <a:cubicBezTo>
                      <a:pt x="122" y="293"/>
                      <a:pt x="122" y="293"/>
                      <a:pt x="122" y="294"/>
                    </a:cubicBezTo>
                    <a:cubicBezTo>
                      <a:pt x="122" y="294"/>
                      <a:pt x="122" y="294"/>
                      <a:pt x="122" y="294"/>
                    </a:cubicBezTo>
                    <a:cubicBezTo>
                      <a:pt x="122" y="294"/>
                      <a:pt x="123" y="294"/>
                      <a:pt x="123" y="294"/>
                    </a:cubicBezTo>
                    <a:cubicBezTo>
                      <a:pt x="123" y="294"/>
                      <a:pt x="124" y="293"/>
                      <a:pt x="124" y="293"/>
                    </a:cubicBezTo>
                    <a:cubicBezTo>
                      <a:pt x="124" y="292"/>
                      <a:pt x="124" y="291"/>
                      <a:pt x="125" y="291"/>
                    </a:cubicBezTo>
                    <a:cubicBezTo>
                      <a:pt x="125" y="292"/>
                      <a:pt x="125" y="293"/>
                      <a:pt x="124" y="293"/>
                    </a:cubicBezTo>
                    <a:cubicBezTo>
                      <a:pt x="125" y="293"/>
                      <a:pt x="125" y="293"/>
                      <a:pt x="126" y="294"/>
                    </a:cubicBezTo>
                    <a:cubicBezTo>
                      <a:pt x="125" y="293"/>
                      <a:pt x="124" y="294"/>
                      <a:pt x="123" y="295"/>
                    </a:cubicBezTo>
                    <a:cubicBezTo>
                      <a:pt x="123" y="295"/>
                      <a:pt x="123" y="295"/>
                      <a:pt x="123" y="295"/>
                    </a:cubicBezTo>
                    <a:cubicBezTo>
                      <a:pt x="123" y="295"/>
                      <a:pt x="124" y="296"/>
                      <a:pt x="124" y="296"/>
                    </a:cubicBezTo>
                    <a:cubicBezTo>
                      <a:pt x="124" y="296"/>
                      <a:pt x="123" y="296"/>
                      <a:pt x="123" y="296"/>
                    </a:cubicBezTo>
                    <a:cubicBezTo>
                      <a:pt x="123" y="297"/>
                      <a:pt x="123" y="297"/>
                      <a:pt x="123" y="297"/>
                    </a:cubicBezTo>
                    <a:cubicBezTo>
                      <a:pt x="123" y="297"/>
                      <a:pt x="123" y="296"/>
                      <a:pt x="122" y="296"/>
                    </a:cubicBezTo>
                    <a:cubicBezTo>
                      <a:pt x="122" y="296"/>
                      <a:pt x="121" y="296"/>
                      <a:pt x="121" y="296"/>
                    </a:cubicBezTo>
                    <a:cubicBezTo>
                      <a:pt x="121" y="296"/>
                      <a:pt x="121" y="296"/>
                      <a:pt x="121" y="296"/>
                    </a:cubicBezTo>
                    <a:cubicBezTo>
                      <a:pt x="121" y="296"/>
                      <a:pt x="121" y="296"/>
                      <a:pt x="121" y="296"/>
                    </a:cubicBezTo>
                    <a:cubicBezTo>
                      <a:pt x="121" y="296"/>
                      <a:pt x="120" y="296"/>
                      <a:pt x="120" y="296"/>
                    </a:cubicBezTo>
                    <a:cubicBezTo>
                      <a:pt x="120" y="296"/>
                      <a:pt x="120" y="296"/>
                      <a:pt x="121" y="296"/>
                    </a:cubicBezTo>
                    <a:cubicBezTo>
                      <a:pt x="120" y="297"/>
                      <a:pt x="120" y="297"/>
                      <a:pt x="120" y="298"/>
                    </a:cubicBezTo>
                    <a:cubicBezTo>
                      <a:pt x="120" y="298"/>
                      <a:pt x="121" y="298"/>
                      <a:pt x="121" y="298"/>
                    </a:cubicBezTo>
                    <a:cubicBezTo>
                      <a:pt x="121" y="298"/>
                      <a:pt x="120" y="298"/>
                      <a:pt x="120" y="299"/>
                    </a:cubicBezTo>
                    <a:cubicBezTo>
                      <a:pt x="120" y="299"/>
                      <a:pt x="120" y="299"/>
                      <a:pt x="120" y="299"/>
                    </a:cubicBezTo>
                    <a:cubicBezTo>
                      <a:pt x="120" y="299"/>
                      <a:pt x="120" y="299"/>
                      <a:pt x="120" y="299"/>
                    </a:cubicBezTo>
                    <a:cubicBezTo>
                      <a:pt x="120" y="300"/>
                      <a:pt x="120" y="300"/>
                      <a:pt x="120" y="300"/>
                    </a:cubicBezTo>
                    <a:cubicBezTo>
                      <a:pt x="120" y="300"/>
                      <a:pt x="120" y="300"/>
                      <a:pt x="120" y="300"/>
                    </a:cubicBezTo>
                    <a:cubicBezTo>
                      <a:pt x="119" y="301"/>
                      <a:pt x="119" y="301"/>
                      <a:pt x="120" y="301"/>
                    </a:cubicBezTo>
                    <a:cubicBezTo>
                      <a:pt x="120" y="301"/>
                      <a:pt x="120" y="301"/>
                      <a:pt x="120" y="301"/>
                    </a:cubicBezTo>
                    <a:cubicBezTo>
                      <a:pt x="120" y="301"/>
                      <a:pt x="120" y="301"/>
                      <a:pt x="120" y="301"/>
                    </a:cubicBezTo>
                    <a:cubicBezTo>
                      <a:pt x="121" y="301"/>
                      <a:pt x="121" y="301"/>
                      <a:pt x="121" y="301"/>
                    </a:cubicBezTo>
                    <a:cubicBezTo>
                      <a:pt x="121" y="301"/>
                      <a:pt x="121" y="301"/>
                      <a:pt x="121" y="301"/>
                    </a:cubicBezTo>
                    <a:cubicBezTo>
                      <a:pt x="122" y="301"/>
                      <a:pt x="122" y="300"/>
                      <a:pt x="122" y="300"/>
                    </a:cubicBezTo>
                    <a:cubicBezTo>
                      <a:pt x="122" y="300"/>
                      <a:pt x="122" y="300"/>
                      <a:pt x="122" y="300"/>
                    </a:cubicBezTo>
                    <a:cubicBezTo>
                      <a:pt x="122" y="300"/>
                      <a:pt x="122" y="301"/>
                      <a:pt x="122" y="301"/>
                    </a:cubicBezTo>
                    <a:cubicBezTo>
                      <a:pt x="121" y="301"/>
                      <a:pt x="121" y="301"/>
                      <a:pt x="120" y="302"/>
                    </a:cubicBezTo>
                    <a:cubicBezTo>
                      <a:pt x="120" y="302"/>
                      <a:pt x="120" y="302"/>
                      <a:pt x="120" y="302"/>
                    </a:cubicBezTo>
                    <a:cubicBezTo>
                      <a:pt x="120" y="302"/>
                      <a:pt x="120" y="302"/>
                      <a:pt x="120" y="302"/>
                    </a:cubicBezTo>
                    <a:cubicBezTo>
                      <a:pt x="120" y="302"/>
                      <a:pt x="120" y="302"/>
                      <a:pt x="120" y="302"/>
                    </a:cubicBezTo>
                    <a:cubicBezTo>
                      <a:pt x="120" y="302"/>
                      <a:pt x="120" y="303"/>
                      <a:pt x="120" y="303"/>
                    </a:cubicBezTo>
                    <a:cubicBezTo>
                      <a:pt x="120" y="303"/>
                      <a:pt x="120" y="303"/>
                      <a:pt x="121" y="304"/>
                    </a:cubicBezTo>
                    <a:cubicBezTo>
                      <a:pt x="121" y="304"/>
                      <a:pt x="121" y="304"/>
                      <a:pt x="121" y="304"/>
                    </a:cubicBezTo>
                    <a:cubicBezTo>
                      <a:pt x="121" y="304"/>
                      <a:pt x="122" y="305"/>
                      <a:pt x="122" y="305"/>
                    </a:cubicBezTo>
                    <a:cubicBezTo>
                      <a:pt x="123" y="305"/>
                      <a:pt x="123" y="305"/>
                      <a:pt x="123" y="305"/>
                    </a:cubicBezTo>
                    <a:cubicBezTo>
                      <a:pt x="123" y="305"/>
                      <a:pt x="124" y="305"/>
                      <a:pt x="124" y="305"/>
                    </a:cubicBezTo>
                    <a:cubicBezTo>
                      <a:pt x="124" y="305"/>
                      <a:pt x="124" y="304"/>
                      <a:pt x="124" y="304"/>
                    </a:cubicBezTo>
                    <a:cubicBezTo>
                      <a:pt x="124" y="304"/>
                      <a:pt x="124" y="304"/>
                      <a:pt x="124" y="304"/>
                    </a:cubicBezTo>
                    <a:cubicBezTo>
                      <a:pt x="124" y="304"/>
                      <a:pt x="124" y="304"/>
                      <a:pt x="124" y="304"/>
                    </a:cubicBezTo>
                    <a:cubicBezTo>
                      <a:pt x="124" y="304"/>
                      <a:pt x="124" y="304"/>
                      <a:pt x="125" y="304"/>
                    </a:cubicBezTo>
                    <a:cubicBezTo>
                      <a:pt x="125" y="305"/>
                      <a:pt x="125" y="305"/>
                      <a:pt x="125" y="305"/>
                    </a:cubicBezTo>
                    <a:cubicBezTo>
                      <a:pt x="125" y="305"/>
                      <a:pt x="125" y="306"/>
                      <a:pt x="124" y="306"/>
                    </a:cubicBezTo>
                    <a:cubicBezTo>
                      <a:pt x="124" y="306"/>
                      <a:pt x="124" y="306"/>
                      <a:pt x="124" y="306"/>
                    </a:cubicBezTo>
                    <a:cubicBezTo>
                      <a:pt x="124" y="306"/>
                      <a:pt x="124" y="306"/>
                      <a:pt x="124" y="306"/>
                    </a:cubicBezTo>
                    <a:cubicBezTo>
                      <a:pt x="124" y="306"/>
                      <a:pt x="124" y="306"/>
                      <a:pt x="124" y="306"/>
                    </a:cubicBezTo>
                    <a:cubicBezTo>
                      <a:pt x="124" y="306"/>
                      <a:pt x="124" y="307"/>
                      <a:pt x="124" y="307"/>
                    </a:cubicBezTo>
                    <a:cubicBezTo>
                      <a:pt x="124" y="307"/>
                      <a:pt x="124" y="307"/>
                      <a:pt x="124" y="307"/>
                    </a:cubicBezTo>
                    <a:cubicBezTo>
                      <a:pt x="124" y="307"/>
                      <a:pt x="123" y="306"/>
                      <a:pt x="123" y="306"/>
                    </a:cubicBezTo>
                    <a:cubicBezTo>
                      <a:pt x="123" y="306"/>
                      <a:pt x="123" y="306"/>
                      <a:pt x="123" y="306"/>
                    </a:cubicBezTo>
                    <a:cubicBezTo>
                      <a:pt x="123" y="306"/>
                      <a:pt x="123" y="306"/>
                      <a:pt x="123" y="306"/>
                    </a:cubicBezTo>
                    <a:cubicBezTo>
                      <a:pt x="124" y="307"/>
                      <a:pt x="125" y="307"/>
                      <a:pt x="125" y="307"/>
                    </a:cubicBezTo>
                    <a:cubicBezTo>
                      <a:pt x="125" y="307"/>
                      <a:pt x="125" y="307"/>
                      <a:pt x="125" y="307"/>
                    </a:cubicBezTo>
                    <a:cubicBezTo>
                      <a:pt x="126" y="308"/>
                      <a:pt x="126" y="308"/>
                      <a:pt x="126" y="308"/>
                    </a:cubicBezTo>
                    <a:cubicBezTo>
                      <a:pt x="126" y="308"/>
                      <a:pt x="126" y="308"/>
                      <a:pt x="126" y="308"/>
                    </a:cubicBezTo>
                    <a:cubicBezTo>
                      <a:pt x="126" y="308"/>
                      <a:pt x="126" y="308"/>
                      <a:pt x="126" y="308"/>
                    </a:cubicBezTo>
                    <a:cubicBezTo>
                      <a:pt x="126" y="308"/>
                      <a:pt x="126" y="308"/>
                      <a:pt x="126" y="308"/>
                    </a:cubicBezTo>
                    <a:cubicBezTo>
                      <a:pt x="126" y="308"/>
                      <a:pt x="126" y="308"/>
                      <a:pt x="126" y="308"/>
                    </a:cubicBezTo>
                    <a:cubicBezTo>
                      <a:pt x="126" y="308"/>
                      <a:pt x="126" y="308"/>
                      <a:pt x="126" y="308"/>
                    </a:cubicBezTo>
                    <a:cubicBezTo>
                      <a:pt x="126" y="307"/>
                      <a:pt x="126" y="307"/>
                      <a:pt x="126" y="307"/>
                    </a:cubicBezTo>
                    <a:cubicBezTo>
                      <a:pt x="126" y="307"/>
                      <a:pt x="126" y="307"/>
                      <a:pt x="126" y="307"/>
                    </a:cubicBezTo>
                    <a:cubicBezTo>
                      <a:pt x="126" y="307"/>
                      <a:pt x="126" y="307"/>
                      <a:pt x="126" y="307"/>
                    </a:cubicBezTo>
                    <a:cubicBezTo>
                      <a:pt x="127" y="307"/>
                      <a:pt x="127" y="308"/>
                      <a:pt x="127" y="308"/>
                    </a:cubicBezTo>
                    <a:cubicBezTo>
                      <a:pt x="127" y="308"/>
                      <a:pt x="127" y="308"/>
                      <a:pt x="127" y="308"/>
                    </a:cubicBezTo>
                    <a:cubicBezTo>
                      <a:pt x="127" y="308"/>
                      <a:pt x="127" y="308"/>
                      <a:pt x="127" y="308"/>
                    </a:cubicBezTo>
                    <a:cubicBezTo>
                      <a:pt x="127" y="308"/>
                      <a:pt x="127" y="308"/>
                      <a:pt x="127" y="308"/>
                    </a:cubicBezTo>
                    <a:cubicBezTo>
                      <a:pt x="127" y="308"/>
                      <a:pt x="127" y="308"/>
                      <a:pt x="127" y="308"/>
                    </a:cubicBezTo>
                    <a:cubicBezTo>
                      <a:pt x="127" y="308"/>
                      <a:pt x="127" y="308"/>
                      <a:pt x="127" y="308"/>
                    </a:cubicBezTo>
                    <a:cubicBezTo>
                      <a:pt x="127" y="308"/>
                      <a:pt x="127" y="308"/>
                      <a:pt x="127" y="308"/>
                    </a:cubicBezTo>
                    <a:cubicBezTo>
                      <a:pt x="127" y="309"/>
                      <a:pt x="127" y="309"/>
                      <a:pt x="127" y="309"/>
                    </a:cubicBezTo>
                    <a:cubicBezTo>
                      <a:pt x="127" y="309"/>
                      <a:pt x="128" y="308"/>
                      <a:pt x="128" y="308"/>
                    </a:cubicBezTo>
                    <a:cubicBezTo>
                      <a:pt x="128" y="308"/>
                      <a:pt x="129" y="308"/>
                      <a:pt x="129" y="308"/>
                    </a:cubicBezTo>
                    <a:cubicBezTo>
                      <a:pt x="129" y="308"/>
                      <a:pt x="129" y="308"/>
                      <a:pt x="129" y="308"/>
                    </a:cubicBezTo>
                    <a:cubicBezTo>
                      <a:pt x="129" y="308"/>
                      <a:pt x="129" y="308"/>
                      <a:pt x="129" y="308"/>
                    </a:cubicBezTo>
                    <a:cubicBezTo>
                      <a:pt x="129" y="308"/>
                      <a:pt x="129" y="308"/>
                      <a:pt x="129" y="308"/>
                    </a:cubicBezTo>
                    <a:cubicBezTo>
                      <a:pt x="129" y="308"/>
                      <a:pt x="130" y="308"/>
                      <a:pt x="130" y="308"/>
                    </a:cubicBezTo>
                    <a:cubicBezTo>
                      <a:pt x="130" y="308"/>
                      <a:pt x="130" y="307"/>
                      <a:pt x="130" y="307"/>
                    </a:cubicBezTo>
                    <a:cubicBezTo>
                      <a:pt x="130" y="307"/>
                      <a:pt x="130" y="307"/>
                      <a:pt x="130" y="307"/>
                    </a:cubicBezTo>
                    <a:cubicBezTo>
                      <a:pt x="130" y="307"/>
                      <a:pt x="131" y="307"/>
                      <a:pt x="131" y="307"/>
                    </a:cubicBezTo>
                    <a:cubicBezTo>
                      <a:pt x="130" y="307"/>
                      <a:pt x="130" y="307"/>
                      <a:pt x="130" y="308"/>
                    </a:cubicBezTo>
                    <a:cubicBezTo>
                      <a:pt x="130" y="308"/>
                      <a:pt x="130" y="309"/>
                      <a:pt x="130" y="309"/>
                    </a:cubicBezTo>
                    <a:cubicBezTo>
                      <a:pt x="130" y="310"/>
                      <a:pt x="129" y="311"/>
                      <a:pt x="129" y="311"/>
                    </a:cubicBezTo>
                    <a:cubicBezTo>
                      <a:pt x="129" y="311"/>
                      <a:pt x="129" y="311"/>
                      <a:pt x="129" y="311"/>
                    </a:cubicBezTo>
                    <a:cubicBezTo>
                      <a:pt x="129" y="311"/>
                      <a:pt x="129" y="312"/>
                      <a:pt x="129" y="312"/>
                    </a:cubicBezTo>
                    <a:cubicBezTo>
                      <a:pt x="129" y="312"/>
                      <a:pt x="129" y="313"/>
                      <a:pt x="129" y="313"/>
                    </a:cubicBezTo>
                    <a:cubicBezTo>
                      <a:pt x="129" y="313"/>
                      <a:pt x="129" y="313"/>
                      <a:pt x="129" y="313"/>
                    </a:cubicBezTo>
                    <a:cubicBezTo>
                      <a:pt x="129" y="313"/>
                      <a:pt x="129" y="313"/>
                      <a:pt x="129" y="313"/>
                    </a:cubicBezTo>
                    <a:cubicBezTo>
                      <a:pt x="129" y="313"/>
                      <a:pt x="129" y="313"/>
                      <a:pt x="129" y="313"/>
                    </a:cubicBezTo>
                    <a:cubicBezTo>
                      <a:pt x="129" y="313"/>
                      <a:pt x="129" y="313"/>
                      <a:pt x="129" y="313"/>
                    </a:cubicBezTo>
                    <a:cubicBezTo>
                      <a:pt x="129" y="313"/>
                      <a:pt x="129" y="313"/>
                      <a:pt x="129" y="314"/>
                    </a:cubicBezTo>
                    <a:cubicBezTo>
                      <a:pt x="129" y="314"/>
                      <a:pt x="128" y="314"/>
                      <a:pt x="128" y="314"/>
                    </a:cubicBezTo>
                    <a:cubicBezTo>
                      <a:pt x="128" y="314"/>
                      <a:pt x="128" y="315"/>
                      <a:pt x="128" y="315"/>
                    </a:cubicBezTo>
                    <a:cubicBezTo>
                      <a:pt x="128" y="315"/>
                      <a:pt x="128" y="315"/>
                      <a:pt x="128" y="315"/>
                    </a:cubicBezTo>
                    <a:cubicBezTo>
                      <a:pt x="128" y="315"/>
                      <a:pt x="128" y="315"/>
                      <a:pt x="128" y="315"/>
                    </a:cubicBezTo>
                    <a:cubicBezTo>
                      <a:pt x="128" y="315"/>
                      <a:pt x="128" y="315"/>
                      <a:pt x="128" y="315"/>
                    </a:cubicBezTo>
                    <a:cubicBezTo>
                      <a:pt x="128" y="315"/>
                      <a:pt x="128" y="315"/>
                      <a:pt x="128" y="315"/>
                    </a:cubicBezTo>
                    <a:cubicBezTo>
                      <a:pt x="128" y="315"/>
                      <a:pt x="129" y="315"/>
                      <a:pt x="129" y="314"/>
                    </a:cubicBezTo>
                    <a:cubicBezTo>
                      <a:pt x="129" y="315"/>
                      <a:pt x="129" y="315"/>
                      <a:pt x="129" y="315"/>
                    </a:cubicBezTo>
                    <a:cubicBezTo>
                      <a:pt x="129" y="315"/>
                      <a:pt x="129" y="315"/>
                      <a:pt x="129" y="315"/>
                    </a:cubicBezTo>
                    <a:cubicBezTo>
                      <a:pt x="129" y="315"/>
                      <a:pt x="129" y="315"/>
                      <a:pt x="129" y="315"/>
                    </a:cubicBezTo>
                    <a:cubicBezTo>
                      <a:pt x="129" y="316"/>
                      <a:pt x="130" y="316"/>
                      <a:pt x="130" y="316"/>
                    </a:cubicBezTo>
                    <a:cubicBezTo>
                      <a:pt x="130" y="317"/>
                      <a:pt x="130" y="317"/>
                      <a:pt x="130" y="317"/>
                    </a:cubicBezTo>
                    <a:cubicBezTo>
                      <a:pt x="130" y="317"/>
                      <a:pt x="130" y="317"/>
                      <a:pt x="130" y="317"/>
                    </a:cubicBezTo>
                    <a:cubicBezTo>
                      <a:pt x="131" y="318"/>
                      <a:pt x="131" y="317"/>
                      <a:pt x="131" y="317"/>
                    </a:cubicBezTo>
                    <a:cubicBezTo>
                      <a:pt x="132" y="316"/>
                      <a:pt x="132" y="315"/>
                      <a:pt x="132" y="314"/>
                    </a:cubicBezTo>
                    <a:cubicBezTo>
                      <a:pt x="132" y="314"/>
                      <a:pt x="132" y="314"/>
                      <a:pt x="132" y="314"/>
                    </a:cubicBezTo>
                    <a:cubicBezTo>
                      <a:pt x="133" y="314"/>
                      <a:pt x="132" y="314"/>
                      <a:pt x="132" y="313"/>
                    </a:cubicBezTo>
                    <a:cubicBezTo>
                      <a:pt x="132" y="313"/>
                      <a:pt x="132" y="313"/>
                      <a:pt x="133" y="312"/>
                    </a:cubicBezTo>
                    <a:cubicBezTo>
                      <a:pt x="133" y="312"/>
                      <a:pt x="133" y="313"/>
                      <a:pt x="133" y="313"/>
                    </a:cubicBezTo>
                    <a:cubicBezTo>
                      <a:pt x="133" y="313"/>
                      <a:pt x="133" y="313"/>
                      <a:pt x="133" y="313"/>
                    </a:cubicBezTo>
                    <a:cubicBezTo>
                      <a:pt x="133" y="314"/>
                      <a:pt x="133" y="314"/>
                      <a:pt x="133" y="314"/>
                    </a:cubicBezTo>
                    <a:cubicBezTo>
                      <a:pt x="133" y="314"/>
                      <a:pt x="133" y="314"/>
                      <a:pt x="133" y="314"/>
                    </a:cubicBezTo>
                    <a:cubicBezTo>
                      <a:pt x="133" y="314"/>
                      <a:pt x="132" y="315"/>
                      <a:pt x="132" y="315"/>
                    </a:cubicBezTo>
                    <a:cubicBezTo>
                      <a:pt x="132" y="315"/>
                      <a:pt x="133" y="316"/>
                      <a:pt x="133" y="316"/>
                    </a:cubicBezTo>
                    <a:cubicBezTo>
                      <a:pt x="134" y="315"/>
                      <a:pt x="133" y="314"/>
                      <a:pt x="135" y="315"/>
                    </a:cubicBezTo>
                    <a:cubicBezTo>
                      <a:pt x="136" y="315"/>
                      <a:pt x="136" y="315"/>
                      <a:pt x="136" y="315"/>
                    </a:cubicBezTo>
                    <a:cubicBezTo>
                      <a:pt x="136" y="315"/>
                      <a:pt x="136" y="315"/>
                      <a:pt x="136" y="315"/>
                    </a:cubicBezTo>
                    <a:cubicBezTo>
                      <a:pt x="137" y="314"/>
                      <a:pt x="137" y="314"/>
                      <a:pt x="138" y="313"/>
                    </a:cubicBezTo>
                    <a:cubicBezTo>
                      <a:pt x="138" y="313"/>
                      <a:pt x="138" y="313"/>
                      <a:pt x="138" y="313"/>
                    </a:cubicBezTo>
                    <a:cubicBezTo>
                      <a:pt x="138" y="313"/>
                      <a:pt x="139" y="313"/>
                      <a:pt x="139" y="313"/>
                    </a:cubicBezTo>
                    <a:cubicBezTo>
                      <a:pt x="139" y="313"/>
                      <a:pt x="139" y="312"/>
                      <a:pt x="139" y="312"/>
                    </a:cubicBezTo>
                    <a:cubicBezTo>
                      <a:pt x="140" y="311"/>
                      <a:pt x="141" y="311"/>
                      <a:pt x="141" y="310"/>
                    </a:cubicBezTo>
                    <a:cubicBezTo>
                      <a:pt x="142" y="310"/>
                      <a:pt x="142" y="310"/>
                      <a:pt x="142" y="310"/>
                    </a:cubicBezTo>
                    <a:cubicBezTo>
                      <a:pt x="142" y="310"/>
                      <a:pt x="142" y="310"/>
                      <a:pt x="142" y="310"/>
                    </a:cubicBezTo>
                    <a:cubicBezTo>
                      <a:pt x="142" y="310"/>
                      <a:pt x="142" y="310"/>
                      <a:pt x="142" y="310"/>
                    </a:cubicBezTo>
                    <a:cubicBezTo>
                      <a:pt x="142" y="310"/>
                      <a:pt x="142" y="310"/>
                      <a:pt x="142" y="310"/>
                    </a:cubicBezTo>
                    <a:cubicBezTo>
                      <a:pt x="142" y="309"/>
                      <a:pt x="141" y="308"/>
                      <a:pt x="141" y="307"/>
                    </a:cubicBezTo>
                    <a:cubicBezTo>
                      <a:pt x="141" y="307"/>
                      <a:pt x="141" y="307"/>
                      <a:pt x="142" y="308"/>
                    </a:cubicBezTo>
                    <a:cubicBezTo>
                      <a:pt x="142" y="308"/>
                      <a:pt x="142" y="308"/>
                      <a:pt x="142" y="308"/>
                    </a:cubicBezTo>
                    <a:cubicBezTo>
                      <a:pt x="142" y="308"/>
                      <a:pt x="142" y="309"/>
                      <a:pt x="142" y="310"/>
                    </a:cubicBezTo>
                    <a:cubicBezTo>
                      <a:pt x="142" y="311"/>
                      <a:pt x="142" y="310"/>
                      <a:pt x="141" y="311"/>
                    </a:cubicBezTo>
                    <a:cubicBezTo>
                      <a:pt x="141" y="311"/>
                      <a:pt x="140" y="311"/>
                      <a:pt x="139" y="312"/>
                    </a:cubicBezTo>
                    <a:cubicBezTo>
                      <a:pt x="139" y="312"/>
                      <a:pt x="139" y="312"/>
                      <a:pt x="139" y="313"/>
                    </a:cubicBezTo>
                    <a:cubicBezTo>
                      <a:pt x="139" y="314"/>
                      <a:pt x="141" y="315"/>
                      <a:pt x="142" y="315"/>
                    </a:cubicBezTo>
                    <a:cubicBezTo>
                      <a:pt x="142" y="315"/>
                      <a:pt x="143" y="314"/>
                      <a:pt x="144" y="314"/>
                    </a:cubicBezTo>
                    <a:cubicBezTo>
                      <a:pt x="144" y="314"/>
                      <a:pt x="144" y="314"/>
                      <a:pt x="144" y="314"/>
                    </a:cubicBezTo>
                    <a:cubicBezTo>
                      <a:pt x="144" y="314"/>
                      <a:pt x="143" y="314"/>
                      <a:pt x="143" y="314"/>
                    </a:cubicBezTo>
                    <a:cubicBezTo>
                      <a:pt x="143" y="314"/>
                      <a:pt x="143" y="315"/>
                      <a:pt x="143" y="315"/>
                    </a:cubicBezTo>
                    <a:cubicBezTo>
                      <a:pt x="143" y="315"/>
                      <a:pt x="142" y="315"/>
                      <a:pt x="142" y="315"/>
                    </a:cubicBezTo>
                    <a:cubicBezTo>
                      <a:pt x="142" y="316"/>
                      <a:pt x="143" y="316"/>
                      <a:pt x="143" y="317"/>
                    </a:cubicBezTo>
                    <a:cubicBezTo>
                      <a:pt x="143" y="317"/>
                      <a:pt x="143" y="317"/>
                      <a:pt x="143" y="317"/>
                    </a:cubicBezTo>
                    <a:cubicBezTo>
                      <a:pt x="142" y="316"/>
                      <a:pt x="142" y="315"/>
                      <a:pt x="141" y="315"/>
                    </a:cubicBezTo>
                    <a:cubicBezTo>
                      <a:pt x="140" y="315"/>
                      <a:pt x="139" y="316"/>
                      <a:pt x="139" y="316"/>
                    </a:cubicBezTo>
                    <a:cubicBezTo>
                      <a:pt x="138" y="316"/>
                      <a:pt x="138" y="316"/>
                      <a:pt x="137" y="317"/>
                    </a:cubicBezTo>
                    <a:cubicBezTo>
                      <a:pt x="137" y="317"/>
                      <a:pt x="137" y="317"/>
                      <a:pt x="137" y="317"/>
                    </a:cubicBezTo>
                    <a:cubicBezTo>
                      <a:pt x="137" y="317"/>
                      <a:pt x="137" y="317"/>
                      <a:pt x="137" y="317"/>
                    </a:cubicBezTo>
                    <a:cubicBezTo>
                      <a:pt x="137" y="317"/>
                      <a:pt x="137" y="317"/>
                      <a:pt x="138" y="318"/>
                    </a:cubicBezTo>
                    <a:cubicBezTo>
                      <a:pt x="138" y="318"/>
                      <a:pt x="138" y="318"/>
                      <a:pt x="137" y="318"/>
                    </a:cubicBezTo>
                    <a:cubicBezTo>
                      <a:pt x="137" y="318"/>
                      <a:pt x="136" y="318"/>
                      <a:pt x="135" y="319"/>
                    </a:cubicBezTo>
                    <a:cubicBezTo>
                      <a:pt x="136" y="318"/>
                      <a:pt x="138" y="317"/>
                      <a:pt x="136" y="318"/>
                    </a:cubicBezTo>
                    <a:cubicBezTo>
                      <a:pt x="135" y="318"/>
                      <a:pt x="135" y="319"/>
                      <a:pt x="135" y="319"/>
                    </a:cubicBezTo>
                    <a:cubicBezTo>
                      <a:pt x="134" y="320"/>
                      <a:pt x="135" y="320"/>
                      <a:pt x="134" y="320"/>
                    </a:cubicBezTo>
                    <a:cubicBezTo>
                      <a:pt x="133" y="320"/>
                      <a:pt x="133" y="321"/>
                      <a:pt x="133" y="322"/>
                    </a:cubicBezTo>
                    <a:cubicBezTo>
                      <a:pt x="133" y="323"/>
                      <a:pt x="133" y="325"/>
                      <a:pt x="134" y="326"/>
                    </a:cubicBezTo>
                    <a:cubicBezTo>
                      <a:pt x="134" y="326"/>
                      <a:pt x="134" y="326"/>
                      <a:pt x="134" y="326"/>
                    </a:cubicBezTo>
                    <a:cubicBezTo>
                      <a:pt x="135" y="326"/>
                      <a:pt x="136" y="326"/>
                      <a:pt x="136" y="326"/>
                    </a:cubicBezTo>
                    <a:cubicBezTo>
                      <a:pt x="136" y="326"/>
                      <a:pt x="136" y="326"/>
                      <a:pt x="136" y="326"/>
                    </a:cubicBezTo>
                    <a:cubicBezTo>
                      <a:pt x="136" y="325"/>
                      <a:pt x="136" y="325"/>
                      <a:pt x="136" y="325"/>
                    </a:cubicBezTo>
                    <a:cubicBezTo>
                      <a:pt x="136" y="325"/>
                      <a:pt x="136" y="325"/>
                      <a:pt x="136" y="325"/>
                    </a:cubicBezTo>
                    <a:cubicBezTo>
                      <a:pt x="136" y="325"/>
                      <a:pt x="136" y="325"/>
                      <a:pt x="136" y="325"/>
                    </a:cubicBezTo>
                    <a:cubicBezTo>
                      <a:pt x="136" y="324"/>
                      <a:pt x="137" y="324"/>
                      <a:pt x="137" y="324"/>
                    </a:cubicBezTo>
                    <a:cubicBezTo>
                      <a:pt x="137" y="324"/>
                      <a:pt x="137" y="323"/>
                      <a:pt x="137" y="323"/>
                    </a:cubicBezTo>
                    <a:cubicBezTo>
                      <a:pt x="137" y="322"/>
                      <a:pt x="138" y="322"/>
                      <a:pt x="138" y="322"/>
                    </a:cubicBezTo>
                    <a:cubicBezTo>
                      <a:pt x="138" y="322"/>
                      <a:pt x="138" y="321"/>
                      <a:pt x="138" y="321"/>
                    </a:cubicBezTo>
                    <a:cubicBezTo>
                      <a:pt x="138" y="322"/>
                      <a:pt x="137" y="323"/>
                      <a:pt x="137" y="324"/>
                    </a:cubicBezTo>
                    <a:cubicBezTo>
                      <a:pt x="138" y="324"/>
                      <a:pt x="138" y="324"/>
                      <a:pt x="138" y="324"/>
                    </a:cubicBezTo>
                    <a:cubicBezTo>
                      <a:pt x="139" y="324"/>
                      <a:pt x="139" y="324"/>
                      <a:pt x="139" y="324"/>
                    </a:cubicBezTo>
                    <a:cubicBezTo>
                      <a:pt x="140" y="324"/>
                      <a:pt x="140" y="324"/>
                      <a:pt x="140" y="324"/>
                    </a:cubicBezTo>
                    <a:cubicBezTo>
                      <a:pt x="140" y="324"/>
                      <a:pt x="141" y="324"/>
                      <a:pt x="141" y="324"/>
                    </a:cubicBezTo>
                    <a:cubicBezTo>
                      <a:pt x="141" y="324"/>
                      <a:pt x="142" y="324"/>
                      <a:pt x="142" y="324"/>
                    </a:cubicBezTo>
                    <a:cubicBezTo>
                      <a:pt x="142" y="324"/>
                      <a:pt x="143" y="324"/>
                      <a:pt x="144" y="324"/>
                    </a:cubicBezTo>
                    <a:cubicBezTo>
                      <a:pt x="145" y="324"/>
                      <a:pt x="145" y="324"/>
                      <a:pt x="145" y="323"/>
                    </a:cubicBezTo>
                    <a:cubicBezTo>
                      <a:pt x="145" y="324"/>
                      <a:pt x="144" y="324"/>
                      <a:pt x="143" y="324"/>
                    </a:cubicBezTo>
                    <a:cubicBezTo>
                      <a:pt x="142" y="324"/>
                      <a:pt x="141" y="324"/>
                      <a:pt x="141" y="324"/>
                    </a:cubicBezTo>
                    <a:cubicBezTo>
                      <a:pt x="140" y="324"/>
                      <a:pt x="139" y="324"/>
                      <a:pt x="137" y="324"/>
                    </a:cubicBezTo>
                    <a:cubicBezTo>
                      <a:pt x="137" y="324"/>
                      <a:pt x="137" y="324"/>
                      <a:pt x="137" y="324"/>
                    </a:cubicBezTo>
                    <a:cubicBezTo>
                      <a:pt x="137" y="325"/>
                      <a:pt x="137" y="325"/>
                      <a:pt x="137" y="325"/>
                    </a:cubicBezTo>
                    <a:cubicBezTo>
                      <a:pt x="136" y="326"/>
                      <a:pt x="136" y="326"/>
                      <a:pt x="135" y="327"/>
                    </a:cubicBezTo>
                    <a:cubicBezTo>
                      <a:pt x="135" y="327"/>
                      <a:pt x="135" y="327"/>
                      <a:pt x="134" y="328"/>
                    </a:cubicBezTo>
                    <a:cubicBezTo>
                      <a:pt x="134" y="328"/>
                      <a:pt x="134" y="328"/>
                      <a:pt x="134" y="328"/>
                    </a:cubicBezTo>
                    <a:cubicBezTo>
                      <a:pt x="134" y="328"/>
                      <a:pt x="134" y="328"/>
                      <a:pt x="134" y="328"/>
                    </a:cubicBezTo>
                    <a:cubicBezTo>
                      <a:pt x="134" y="328"/>
                      <a:pt x="134" y="328"/>
                      <a:pt x="134" y="328"/>
                    </a:cubicBezTo>
                    <a:cubicBezTo>
                      <a:pt x="135" y="329"/>
                      <a:pt x="136" y="328"/>
                      <a:pt x="136" y="328"/>
                    </a:cubicBezTo>
                    <a:cubicBezTo>
                      <a:pt x="136" y="328"/>
                      <a:pt x="137" y="328"/>
                      <a:pt x="137" y="328"/>
                    </a:cubicBezTo>
                    <a:cubicBezTo>
                      <a:pt x="137" y="328"/>
                      <a:pt x="137" y="328"/>
                      <a:pt x="137" y="328"/>
                    </a:cubicBezTo>
                    <a:cubicBezTo>
                      <a:pt x="138" y="328"/>
                      <a:pt x="138" y="329"/>
                      <a:pt x="138" y="329"/>
                    </a:cubicBezTo>
                    <a:cubicBezTo>
                      <a:pt x="139" y="329"/>
                      <a:pt x="139" y="329"/>
                      <a:pt x="140" y="328"/>
                    </a:cubicBezTo>
                    <a:cubicBezTo>
                      <a:pt x="140" y="328"/>
                      <a:pt x="140" y="328"/>
                      <a:pt x="140" y="328"/>
                    </a:cubicBezTo>
                    <a:cubicBezTo>
                      <a:pt x="140" y="328"/>
                      <a:pt x="140" y="328"/>
                      <a:pt x="140" y="328"/>
                    </a:cubicBezTo>
                    <a:cubicBezTo>
                      <a:pt x="140" y="328"/>
                      <a:pt x="140" y="328"/>
                      <a:pt x="140" y="328"/>
                    </a:cubicBezTo>
                    <a:cubicBezTo>
                      <a:pt x="140" y="329"/>
                      <a:pt x="140" y="329"/>
                      <a:pt x="140" y="329"/>
                    </a:cubicBezTo>
                    <a:cubicBezTo>
                      <a:pt x="140" y="329"/>
                      <a:pt x="140" y="329"/>
                      <a:pt x="140" y="329"/>
                    </a:cubicBezTo>
                    <a:cubicBezTo>
                      <a:pt x="140" y="329"/>
                      <a:pt x="139" y="329"/>
                      <a:pt x="139" y="329"/>
                    </a:cubicBezTo>
                    <a:cubicBezTo>
                      <a:pt x="138" y="329"/>
                      <a:pt x="137" y="329"/>
                      <a:pt x="136" y="329"/>
                    </a:cubicBezTo>
                    <a:cubicBezTo>
                      <a:pt x="136" y="329"/>
                      <a:pt x="136" y="329"/>
                      <a:pt x="136" y="329"/>
                    </a:cubicBezTo>
                    <a:cubicBezTo>
                      <a:pt x="135" y="329"/>
                      <a:pt x="135" y="329"/>
                      <a:pt x="134" y="329"/>
                    </a:cubicBezTo>
                    <a:cubicBezTo>
                      <a:pt x="134" y="329"/>
                      <a:pt x="134" y="329"/>
                      <a:pt x="134" y="330"/>
                    </a:cubicBezTo>
                    <a:cubicBezTo>
                      <a:pt x="133" y="329"/>
                      <a:pt x="133" y="329"/>
                      <a:pt x="132" y="329"/>
                    </a:cubicBezTo>
                    <a:cubicBezTo>
                      <a:pt x="131" y="329"/>
                      <a:pt x="128" y="330"/>
                      <a:pt x="127" y="330"/>
                    </a:cubicBezTo>
                    <a:cubicBezTo>
                      <a:pt x="128" y="331"/>
                      <a:pt x="129" y="333"/>
                      <a:pt x="130" y="334"/>
                    </a:cubicBezTo>
                    <a:cubicBezTo>
                      <a:pt x="131" y="335"/>
                      <a:pt x="132" y="334"/>
                      <a:pt x="133" y="334"/>
                    </a:cubicBezTo>
                    <a:cubicBezTo>
                      <a:pt x="134" y="334"/>
                      <a:pt x="137" y="334"/>
                      <a:pt x="135" y="333"/>
                    </a:cubicBezTo>
                    <a:cubicBezTo>
                      <a:pt x="136" y="333"/>
                      <a:pt x="136" y="333"/>
                      <a:pt x="137" y="333"/>
                    </a:cubicBezTo>
                    <a:cubicBezTo>
                      <a:pt x="137" y="333"/>
                      <a:pt x="137" y="333"/>
                      <a:pt x="137" y="333"/>
                    </a:cubicBezTo>
                    <a:cubicBezTo>
                      <a:pt x="136" y="334"/>
                      <a:pt x="136" y="333"/>
                      <a:pt x="136" y="334"/>
                    </a:cubicBezTo>
                    <a:cubicBezTo>
                      <a:pt x="136" y="335"/>
                      <a:pt x="137" y="335"/>
                      <a:pt x="137" y="336"/>
                    </a:cubicBezTo>
                    <a:cubicBezTo>
                      <a:pt x="136" y="335"/>
                      <a:pt x="135" y="334"/>
                      <a:pt x="134" y="334"/>
                    </a:cubicBezTo>
                    <a:cubicBezTo>
                      <a:pt x="133" y="335"/>
                      <a:pt x="133" y="335"/>
                      <a:pt x="132" y="335"/>
                    </a:cubicBezTo>
                    <a:cubicBezTo>
                      <a:pt x="131" y="336"/>
                      <a:pt x="132" y="337"/>
                      <a:pt x="133" y="338"/>
                    </a:cubicBezTo>
                    <a:cubicBezTo>
                      <a:pt x="134" y="338"/>
                      <a:pt x="133" y="339"/>
                      <a:pt x="132" y="339"/>
                    </a:cubicBezTo>
                    <a:cubicBezTo>
                      <a:pt x="133" y="339"/>
                      <a:pt x="134" y="339"/>
                      <a:pt x="135" y="338"/>
                    </a:cubicBezTo>
                    <a:cubicBezTo>
                      <a:pt x="135" y="338"/>
                      <a:pt x="137" y="339"/>
                      <a:pt x="137" y="338"/>
                    </a:cubicBezTo>
                    <a:cubicBezTo>
                      <a:pt x="137" y="339"/>
                      <a:pt x="137" y="340"/>
                      <a:pt x="137" y="340"/>
                    </a:cubicBezTo>
                    <a:cubicBezTo>
                      <a:pt x="138" y="340"/>
                      <a:pt x="139" y="339"/>
                      <a:pt x="139" y="339"/>
                    </a:cubicBezTo>
                    <a:cubicBezTo>
                      <a:pt x="139" y="339"/>
                      <a:pt x="140" y="340"/>
                      <a:pt x="140" y="339"/>
                    </a:cubicBezTo>
                    <a:cubicBezTo>
                      <a:pt x="140" y="340"/>
                      <a:pt x="139" y="341"/>
                      <a:pt x="140" y="342"/>
                    </a:cubicBezTo>
                    <a:cubicBezTo>
                      <a:pt x="140" y="343"/>
                      <a:pt x="143" y="343"/>
                      <a:pt x="143" y="341"/>
                    </a:cubicBezTo>
                    <a:cubicBezTo>
                      <a:pt x="143" y="341"/>
                      <a:pt x="143" y="342"/>
                      <a:pt x="144" y="342"/>
                    </a:cubicBezTo>
                    <a:cubicBezTo>
                      <a:pt x="144" y="342"/>
                      <a:pt x="143" y="341"/>
                      <a:pt x="143" y="341"/>
                    </a:cubicBezTo>
                    <a:cubicBezTo>
                      <a:pt x="145" y="342"/>
                      <a:pt x="145" y="343"/>
                      <a:pt x="146" y="344"/>
                    </a:cubicBezTo>
                    <a:cubicBezTo>
                      <a:pt x="146" y="345"/>
                      <a:pt x="147" y="344"/>
                      <a:pt x="147" y="344"/>
                    </a:cubicBezTo>
                    <a:cubicBezTo>
                      <a:pt x="147" y="344"/>
                      <a:pt x="148" y="343"/>
                      <a:pt x="148" y="344"/>
                    </a:cubicBezTo>
                    <a:cubicBezTo>
                      <a:pt x="147" y="345"/>
                      <a:pt x="147" y="345"/>
                      <a:pt x="148" y="345"/>
                    </a:cubicBezTo>
                    <a:cubicBezTo>
                      <a:pt x="149" y="345"/>
                      <a:pt x="150" y="345"/>
                      <a:pt x="151" y="345"/>
                    </a:cubicBezTo>
                    <a:cubicBezTo>
                      <a:pt x="150" y="346"/>
                      <a:pt x="147" y="345"/>
                      <a:pt x="146" y="346"/>
                    </a:cubicBezTo>
                    <a:cubicBezTo>
                      <a:pt x="146" y="347"/>
                      <a:pt x="146" y="349"/>
                      <a:pt x="146" y="349"/>
                    </a:cubicBezTo>
                    <a:cubicBezTo>
                      <a:pt x="148" y="348"/>
                      <a:pt x="147" y="348"/>
                      <a:pt x="149" y="348"/>
                    </a:cubicBezTo>
                    <a:cubicBezTo>
                      <a:pt x="149" y="348"/>
                      <a:pt x="152" y="349"/>
                      <a:pt x="153" y="348"/>
                    </a:cubicBezTo>
                    <a:cubicBezTo>
                      <a:pt x="153" y="349"/>
                      <a:pt x="152" y="351"/>
                      <a:pt x="152" y="351"/>
                    </a:cubicBezTo>
                    <a:cubicBezTo>
                      <a:pt x="152" y="352"/>
                      <a:pt x="154" y="350"/>
                      <a:pt x="154" y="349"/>
                    </a:cubicBezTo>
                    <a:cubicBezTo>
                      <a:pt x="154" y="350"/>
                      <a:pt x="154" y="351"/>
                      <a:pt x="154" y="351"/>
                    </a:cubicBezTo>
                    <a:cubicBezTo>
                      <a:pt x="154" y="351"/>
                      <a:pt x="154" y="352"/>
                      <a:pt x="154" y="352"/>
                    </a:cubicBezTo>
                    <a:cubicBezTo>
                      <a:pt x="155" y="352"/>
                      <a:pt x="155" y="352"/>
                      <a:pt x="156" y="351"/>
                    </a:cubicBezTo>
                    <a:cubicBezTo>
                      <a:pt x="155" y="352"/>
                      <a:pt x="155" y="352"/>
                      <a:pt x="154" y="353"/>
                    </a:cubicBezTo>
                    <a:cubicBezTo>
                      <a:pt x="154" y="353"/>
                      <a:pt x="153" y="352"/>
                      <a:pt x="153" y="353"/>
                    </a:cubicBezTo>
                    <a:cubicBezTo>
                      <a:pt x="154" y="354"/>
                      <a:pt x="158" y="354"/>
                      <a:pt x="159" y="354"/>
                    </a:cubicBezTo>
                    <a:cubicBezTo>
                      <a:pt x="159" y="354"/>
                      <a:pt x="160" y="354"/>
                      <a:pt x="161" y="354"/>
                    </a:cubicBezTo>
                    <a:cubicBezTo>
                      <a:pt x="163" y="355"/>
                      <a:pt x="164" y="353"/>
                      <a:pt x="164" y="351"/>
                    </a:cubicBezTo>
                    <a:cubicBezTo>
                      <a:pt x="164" y="352"/>
                      <a:pt x="164" y="353"/>
                      <a:pt x="163" y="354"/>
                    </a:cubicBezTo>
                    <a:cubicBezTo>
                      <a:pt x="163" y="355"/>
                      <a:pt x="162" y="355"/>
                      <a:pt x="161" y="356"/>
                    </a:cubicBezTo>
                    <a:cubicBezTo>
                      <a:pt x="161" y="357"/>
                      <a:pt x="160" y="357"/>
                      <a:pt x="161" y="358"/>
                    </a:cubicBezTo>
                    <a:cubicBezTo>
                      <a:pt x="165" y="359"/>
                      <a:pt x="168" y="360"/>
                      <a:pt x="171" y="361"/>
                    </a:cubicBezTo>
                    <a:cubicBezTo>
                      <a:pt x="173" y="362"/>
                      <a:pt x="174" y="362"/>
                      <a:pt x="176" y="363"/>
                    </a:cubicBezTo>
                    <a:cubicBezTo>
                      <a:pt x="177" y="363"/>
                      <a:pt x="177" y="363"/>
                      <a:pt x="177" y="363"/>
                    </a:cubicBezTo>
                    <a:cubicBezTo>
                      <a:pt x="177" y="363"/>
                      <a:pt x="177" y="363"/>
                      <a:pt x="177" y="363"/>
                    </a:cubicBezTo>
                    <a:cubicBezTo>
                      <a:pt x="178" y="363"/>
                      <a:pt x="178" y="363"/>
                      <a:pt x="178" y="363"/>
                    </a:cubicBezTo>
                    <a:cubicBezTo>
                      <a:pt x="179" y="363"/>
                      <a:pt x="178" y="362"/>
                      <a:pt x="178" y="362"/>
                    </a:cubicBezTo>
                    <a:cubicBezTo>
                      <a:pt x="178" y="361"/>
                      <a:pt x="178" y="361"/>
                      <a:pt x="178" y="361"/>
                    </a:cubicBezTo>
                    <a:cubicBezTo>
                      <a:pt x="178" y="361"/>
                      <a:pt x="179" y="362"/>
                      <a:pt x="179" y="362"/>
                    </a:cubicBezTo>
                    <a:cubicBezTo>
                      <a:pt x="180" y="362"/>
                      <a:pt x="179" y="361"/>
                      <a:pt x="179" y="360"/>
                    </a:cubicBezTo>
                    <a:cubicBezTo>
                      <a:pt x="178" y="358"/>
                      <a:pt x="179" y="359"/>
                      <a:pt x="177" y="359"/>
                    </a:cubicBezTo>
                    <a:cubicBezTo>
                      <a:pt x="177" y="358"/>
                      <a:pt x="176" y="358"/>
                      <a:pt x="176" y="357"/>
                    </a:cubicBezTo>
                    <a:cubicBezTo>
                      <a:pt x="176" y="357"/>
                      <a:pt x="177" y="357"/>
                      <a:pt x="177" y="356"/>
                    </a:cubicBezTo>
                    <a:cubicBezTo>
                      <a:pt x="176" y="355"/>
                      <a:pt x="174" y="355"/>
                      <a:pt x="174" y="354"/>
                    </a:cubicBezTo>
                    <a:cubicBezTo>
                      <a:pt x="174" y="354"/>
                      <a:pt x="175" y="354"/>
                      <a:pt x="174" y="353"/>
                    </a:cubicBezTo>
                    <a:cubicBezTo>
                      <a:pt x="174" y="352"/>
                      <a:pt x="173" y="352"/>
                      <a:pt x="173" y="352"/>
                    </a:cubicBezTo>
                    <a:cubicBezTo>
                      <a:pt x="172" y="351"/>
                      <a:pt x="173" y="351"/>
                      <a:pt x="172" y="351"/>
                    </a:cubicBezTo>
                    <a:cubicBezTo>
                      <a:pt x="172" y="351"/>
                      <a:pt x="171" y="351"/>
                      <a:pt x="171" y="351"/>
                    </a:cubicBezTo>
                    <a:cubicBezTo>
                      <a:pt x="171" y="350"/>
                      <a:pt x="169" y="349"/>
                      <a:pt x="168" y="349"/>
                    </a:cubicBezTo>
                    <a:cubicBezTo>
                      <a:pt x="167" y="349"/>
                      <a:pt x="166" y="349"/>
                      <a:pt x="165" y="348"/>
                    </a:cubicBezTo>
                    <a:cubicBezTo>
                      <a:pt x="165" y="348"/>
                      <a:pt x="164" y="348"/>
                      <a:pt x="164" y="347"/>
                    </a:cubicBezTo>
                    <a:cubicBezTo>
                      <a:pt x="164" y="347"/>
                      <a:pt x="163" y="346"/>
                      <a:pt x="163" y="346"/>
                    </a:cubicBezTo>
                    <a:cubicBezTo>
                      <a:pt x="163" y="346"/>
                      <a:pt x="162" y="345"/>
                      <a:pt x="162" y="345"/>
                    </a:cubicBezTo>
                    <a:cubicBezTo>
                      <a:pt x="162" y="345"/>
                      <a:pt x="163" y="345"/>
                      <a:pt x="163" y="344"/>
                    </a:cubicBezTo>
                    <a:cubicBezTo>
                      <a:pt x="163" y="344"/>
                      <a:pt x="162" y="343"/>
                      <a:pt x="162" y="343"/>
                    </a:cubicBezTo>
                    <a:cubicBezTo>
                      <a:pt x="161" y="342"/>
                      <a:pt x="160" y="341"/>
                      <a:pt x="160" y="340"/>
                    </a:cubicBezTo>
                    <a:cubicBezTo>
                      <a:pt x="159" y="340"/>
                      <a:pt x="159" y="340"/>
                      <a:pt x="159" y="339"/>
                    </a:cubicBezTo>
                    <a:cubicBezTo>
                      <a:pt x="159" y="339"/>
                      <a:pt x="160" y="340"/>
                      <a:pt x="160" y="340"/>
                    </a:cubicBezTo>
                    <a:cubicBezTo>
                      <a:pt x="160" y="340"/>
                      <a:pt x="160" y="340"/>
                      <a:pt x="160" y="340"/>
                    </a:cubicBezTo>
                    <a:cubicBezTo>
                      <a:pt x="160" y="340"/>
                      <a:pt x="160" y="341"/>
                      <a:pt x="161" y="341"/>
                    </a:cubicBezTo>
                    <a:cubicBezTo>
                      <a:pt x="161" y="341"/>
                      <a:pt x="160" y="340"/>
                      <a:pt x="160" y="340"/>
                    </a:cubicBezTo>
                    <a:cubicBezTo>
                      <a:pt x="161" y="340"/>
                      <a:pt x="161" y="340"/>
                      <a:pt x="161" y="340"/>
                    </a:cubicBezTo>
                    <a:cubicBezTo>
                      <a:pt x="161" y="340"/>
                      <a:pt x="161" y="340"/>
                      <a:pt x="162" y="339"/>
                    </a:cubicBezTo>
                    <a:cubicBezTo>
                      <a:pt x="162" y="339"/>
                      <a:pt x="162" y="339"/>
                      <a:pt x="162" y="339"/>
                    </a:cubicBezTo>
                    <a:cubicBezTo>
                      <a:pt x="162" y="339"/>
                      <a:pt x="162" y="339"/>
                      <a:pt x="162" y="340"/>
                    </a:cubicBezTo>
                    <a:cubicBezTo>
                      <a:pt x="162" y="340"/>
                      <a:pt x="162" y="340"/>
                      <a:pt x="162" y="340"/>
                    </a:cubicBezTo>
                    <a:cubicBezTo>
                      <a:pt x="162" y="340"/>
                      <a:pt x="162" y="340"/>
                      <a:pt x="162" y="340"/>
                    </a:cubicBezTo>
                    <a:cubicBezTo>
                      <a:pt x="162" y="340"/>
                      <a:pt x="162" y="340"/>
                      <a:pt x="162" y="340"/>
                    </a:cubicBezTo>
                    <a:cubicBezTo>
                      <a:pt x="161" y="341"/>
                      <a:pt x="161" y="341"/>
                      <a:pt x="161" y="342"/>
                    </a:cubicBezTo>
                    <a:cubicBezTo>
                      <a:pt x="162" y="342"/>
                      <a:pt x="162" y="341"/>
                      <a:pt x="162" y="341"/>
                    </a:cubicBezTo>
                    <a:cubicBezTo>
                      <a:pt x="163" y="341"/>
                      <a:pt x="164" y="342"/>
                      <a:pt x="165" y="342"/>
                    </a:cubicBezTo>
                    <a:cubicBezTo>
                      <a:pt x="165" y="341"/>
                      <a:pt x="165" y="341"/>
                      <a:pt x="166" y="341"/>
                    </a:cubicBezTo>
                    <a:cubicBezTo>
                      <a:pt x="166" y="340"/>
                      <a:pt x="167" y="341"/>
                      <a:pt x="167" y="340"/>
                    </a:cubicBezTo>
                    <a:cubicBezTo>
                      <a:pt x="168" y="340"/>
                      <a:pt x="168" y="340"/>
                      <a:pt x="169" y="340"/>
                    </a:cubicBezTo>
                    <a:cubicBezTo>
                      <a:pt x="168" y="340"/>
                      <a:pt x="168" y="340"/>
                      <a:pt x="167" y="341"/>
                    </a:cubicBezTo>
                    <a:cubicBezTo>
                      <a:pt x="166" y="341"/>
                      <a:pt x="165" y="341"/>
                      <a:pt x="165" y="342"/>
                    </a:cubicBezTo>
                    <a:cubicBezTo>
                      <a:pt x="165" y="342"/>
                      <a:pt x="165" y="342"/>
                      <a:pt x="165" y="342"/>
                    </a:cubicBezTo>
                    <a:cubicBezTo>
                      <a:pt x="166" y="343"/>
                      <a:pt x="166" y="343"/>
                      <a:pt x="166" y="344"/>
                    </a:cubicBezTo>
                    <a:cubicBezTo>
                      <a:pt x="166" y="344"/>
                      <a:pt x="166" y="344"/>
                      <a:pt x="166" y="344"/>
                    </a:cubicBezTo>
                    <a:cubicBezTo>
                      <a:pt x="166" y="344"/>
                      <a:pt x="166" y="344"/>
                      <a:pt x="166" y="344"/>
                    </a:cubicBezTo>
                    <a:cubicBezTo>
                      <a:pt x="166" y="344"/>
                      <a:pt x="166" y="344"/>
                      <a:pt x="166" y="345"/>
                    </a:cubicBezTo>
                    <a:cubicBezTo>
                      <a:pt x="166" y="345"/>
                      <a:pt x="166" y="345"/>
                      <a:pt x="166" y="345"/>
                    </a:cubicBezTo>
                    <a:cubicBezTo>
                      <a:pt x="165" y="345"/>
                      <a:pt x="165" y="346"/>
                      <a:pt x="165" y="346"/>
                    </a:cubicBezTo>
                    <a:cubicBezTo>
                      <a:pt x="165" y="346"/>
                      <a:pt x="164" y="346"/>
                      <a:pt x="164" y="345"/>
                    </a:cubicBezTo>
                    <a:cubicBezTo>
                      <a:pt x="164" y="346"/>
                      <a:pt x="164" y="346"/>
                      <a:pt x="164" y="346"/>
                    </a:cubicBezTo>
                    <a:cubicBezTo>
                      <a:pt x="165" y="347"/>
                      <a:pt x="167" y="348"/>
                      <a:pt x="169" y="349"/>
                    </a:cubicBezTo>
                    <a:cubicBezTo>
                      <a:pt x="169" y="349"/>
                      <a:pt x="169" y="349"/>
                      <a:pt x="170" y="349"/>
                    </a:cubicBezTo>
                    <a:cubicBezTo>
                      <a:pt x="170" y="349"/>
                      <a:pt x="170" y="349"/>
                      <a:pt x="170" y="349"/>
                    </a:cubicBezTo>
                    <a:cubicBezTo>
                      <a:pt x="170" y="349"/>
                      <a:pt x="171" y="349"/>
                      <a:pt x="171" y="349"/>
                    </a:cubicBezTo>
                    <a:cubicBezTo>
                      <a:pt x="171" y="349"/>
                      <a:pt x="171" y="349"/>
                      <a:pt x="171" y="349"/>
                    </a:cubicBezTo>
                    <a:cubicBezTo>
                      <a:pt x="171" y="349"/>
                      <a:pt x="172" y="349"/>
                      <a:pt x="172" y="349"/>
                    </a:cubicBezTo>
                    <a:cubicBezTo>
                      <a:pt x="172" y="349"/>
                      <a:pt x="172" y="349"/>
                      <a:pt x="172" y="348"/>
                    </a:cubicBezTo>
                    <a:cubicBezTo>
                      <a:pt x="172" y="348"/>
                      <a:pt x="172" y="348"/>
                      <a:pt x="172" y="348"/>
                    </a:cubicBezTo>
                    <a:cubicBezTo>
                      <a:pt x="172" y="348"/>
                      <a:pt x="172" y="348"/>
                      <a:pt x="172" y="348"/>
                    </a:cubicBezTo>
                    <a:cubicBezTo>
                      <a:pt x="172" y="348"/>
                      <a:pt x="172" y="348"/>
                      <a:pt x="172" y="347"/>
                    </a:cubicBezTo>
                    <a:cubicBezTo>
                      <a:pt x="172" y="348"/>
                      <a:pt x="173" y="348"/>
                      <a:pt x="173" y="348"/>
                    </a:cubicBezTo>
                    <a:cubicBezTo>
                      <a:pt x="173" y="348"/>
                      <a:pt x="173" y="348"/>
                      <a:pt x="173" y="348"/>
                    </a:cubicBezTo>
                    <a:cubicBezTo>
                      <a:pt x="172" y="347"/>
                      <a:pt x="172" y="347"/>
                      <a:pt x="172" y="347"/>
                    </a:cubicBezTo>
                    <a:cubicBezTo>
                      <a:pt x="172" y="346"/>
                      <a:pt x="173" y="346"/>
                      <a:pt x="173" y="346"/>
                    </a:cubicBezTo>
                    <a:cubicBezTo>
                      <a:pt x="173" y="346"/>
                      <a:pt x="173" y="346"/>
                      <a:pt x="173" y="346"/>
                    </a:cubicBezTo>
                    <a:cubicBezTo>
                      <a:pt x="174" y="346"/>
                      <a:pt x="174" y="346"/>
                      <a:pt x="174" y="346"/>
                    </a:cubicBezTo>
                    <a:cubicBezTo>
                      <a:pt x="174" y="346"/>
                      <a:pt x="174" y="345"/>
                      <a:pt x="174" y="345"/>
                    </a:cubicBezTo>
                    <a:cubicBezTo>
                      <a:pt x="174" y="345"/>
                      <a:pt x="174" y="345"/>
                      <a:pt x="174" y="345"/>
                    </a:cubicBezTo>
                    <a:cubicBezTo>
                      <a:pt x="174" y="345"/>
                      <a:pt x="174" y="345"/>
                      <a:pt x="174" y="345"/>
                    </a:cubicBezTo>
                    <a:cubicBezTo>
                      <a:pt x="174" y="345"/>
                      <a:pt x="174" y="345"/>
                      <a:pt x="174" y="345"/>
                    </a:cubicBezTo>
                    <a:cubicBezTo>
                      <a:pt x="174" y="345"/>
                      <a:pt x="174" y="345"/>
                      <a:pt x="174" y="345"/>
                    </a:cubicBezTo>
                    <a:cubicBezTo>
                      <a:pt x="173" y="344"/>
                      <a:pt x="173" y="344"/>
                      <a:pt x="173" y="343"/>
                    </a:cubicBezTo>
                    <a:cubicBezTo>
                      <a:pt x="173" y="344"/>
                      <a:pt x="174" y="344"/>
                      <a:pt x="174" y="344"/>
                    </a:cubicBezTo>
                    <a:cubicBezTo>
                      <a:pt x="174" y="344"/>
                      <a:pt x="174" y="344"/>
                      <a:pt x="174" y="344"/>
                    </a:cubicBezTo>
                    <a:cubicBezTo>
                      <a:pt x="174" y="344"/>
                      <a:pt x="174" y="344"/>
                      <a:pt x="174" y="344"/>
                    </a:cubicBezTo>
                    <a:cubicBezTo>
                      <a:pt x="174" y="345"/>
                      <a:pt x="174" y="345"/>
                      <a:pt x="174" y="345"/>
                    </a:cubicBezTo>
                    <a:cubicBezTo>
                      <a:pt x="174" y="345"/>
                      <a:pt x="174" y="345"/>
                      <a:pt x="174" y="345"/>
                    </a:cubicBezTo>
                    <a:cubicBezTo>
                      <a:pt x="174" y="345"/>
                      <a:pt x="174" y="345"/>
                      <a:pt x="174" y="345"/>
                    </a:cubicBezTo>
                    <a:cubicBezTo>
                      <a:pt x="174" y="345"/>
                      <a:pt x="174" y="346"/>
                      <a:pt x="173" y="346"/>
                    </a:cubicBezTo>
                    <a:cubicBezTo>
                      <a:pt x="173" y="346"/>
                      <a:pt x="173" y="346"/>
                      <a:pt x="173" y="346"/>
                    </a:cubicBezTo>
                    <a:cubicBezTo>
                      <a:pt x="173" y="346"/>
                      <a:pt x="173" y="346"/>
                      <a:pt x="173" y="346"/>
                    </a:cubicBezTo>
                    <a:cubicBezTo>
                      <a:pt x="173" y="347"/>
                      <a:pt x="173" y="348"/>
                      <a:pt x="173" y="349"/>
                    </a:cubicBezTo>
                    <a:cubicBezTo>
                      <a:pt x="174" y="349"/>
                      <a:pt x="173" y="349"/>
                      <a:pt x="173" y="349"/>
                    </a:cubicBezTo>
                    <a:cubicBezTo>
                      <a:pt x="173" y="349"/>
                      <a:pt x="173" y="349"/>
                      <a:pt x="173" y="349"/>
                    </a:cubicBezTo>
                    <a:cubicBezTo>
                      <a:pt x="173" y="349"/>
                      <a:pt x="173" y="349"/>
                      <a:pt x="173" y="349"/>
                    </a:cubicBezTo>
                    <a:cubicBezTo>
                      <a:pt x="173" y="350"/>
                      <a:pt x="175" y="350"/>
                      <a:pt x="175" y="351"/>
                    </a:cubicBezTo>
                    <a:cubicBezTo>
                      <a:pt x="176" y="351"/>
                      <a:pt x="177" y="351"/>
                      <a:pt x="177" y="350"/>
                    </a:cubicBezTo>
                    <a:cubicBezTo>
                      <a:pt x="177" y="350"/>
                      <a:pt x="177" y="351"/>
                      <a:pt x="177" y="351"/>
                    </a:cubicBezTo>
                    <a:cubicBezTo>
                      <a:pt x="177" y="351"/>
                      <a:pt x="176" y="351"/>
                      <a:pt x="176" y="351"/>
                    </a:cubicBezTo>
                    <a:cubicBezTo>
                      <a:pt x="176" y="351"/>
                      <a:pt x="176" y="351"/>
                      <a:pt x="175" y="351"/>
                    </a:cubicBezTo>
                    <a:cubicBezTo>
                      <a:pt x="175" y="352"/>
                      <a:pt x="175" y="352"/>
                      <a:pt x="175" y="353"/>
                    </a:cubicBezTo>
                    <a:cubicBezTo>
                      <a:pt x="175" y="353"/>
                      <a:pt x="176" y="353"/>
                      <a:pt x="176" y="354"/>
                    </a:cubicBezTo>
                    <a:cubicBezTo>
                      <a:pt x="177" y="354"/>
                      <a:pt x="177" y="354"/>
                      <a:pt x="178" y="354"/>
                    </a:cubicBezTo>
                    <a:cubicBezTo>
                      <a:pt x="178" y="354"/>
                      <a:pt x="178" y="354"/>
                      <a:pt x="178" y="354"/>
                    </a:cubicBezTo>
                    <a:cubicBezTo>
                      <a:pt x="178" y="354"/>
                      <a:pt x="178" y="354"/>
                      <a:pt x="178" y="354"/>
                    </a:cubicBezTo>
                    <a:cubicBezTo>
                      <a:pt x="178" y="354"/>
                      <a:pt x="178" y="354"/>
                      <a:pt x="178" y="354"/>
                    </a:cubicBezTo>
                    <a:cubicBezTo>
                      <a:pt x="178" y="354"/>
                      <a:pt x="178" y="354"/>
                      <a:pt x="178" y="354"/>
                    </a:cubicBezTo>
                    <a:cubicBezTo>
                      <a:pt x="178" y="354"/>
                      <a:pt x="178" y="354"/>
                      <a:pt x="178" y="353"/>
                    </a:cubicBezTo>
                    <a:cubicBezTo>
                      <a:pt x="178" y="353"/>
                      <a:pt x="178" y="353"/>
                      <a:pt x="178" y="353"/>
                    </a:cubicBezTo>
                    <a:cubicBezTo>
                      <a:pt x="178" y="353"/>
                      <a:pt x="178" y="353"/>
                      <a:pt x="178" y="353"/>
                    </a:cubicBezTo>
                    <a:cubicBezTo>
                      <a:pt x="178" y="353"/>
                      <a:pt x="178" y="353"/>
                      <a:pt x="178" y="352"/>
                    </a:cubicBezTo>
                    <a:cubicBezTo>
                      <a:pt x="178" y="352"/>
                      <a:pt x="178" y="352"/>
                      <a:pt x="179" y="352"/>
                    </a:cubicBezTo>
                    <a:cubicBezTo>
                      <a:pt x="179" y="352"/>
                      <a:pt x="180" y="352"/>
                      <a:pt x="180" y="352"/>
                    </a:cubicBezTo>
                    <a:cubicBezTo>
                      <a:pt x="180" y="351"/>
                      <a:pt x="180" y="351"/>
                      <a:pt x="180" y="351"/>
                    </a:cubicBezTo>
                    <a:cubicBezTo>
                      <a:pt x="180" y="351"/>
                      <a:pt x="180" y="351"/>
                      <a:pt x="180" y="351"/>
                    </a:cubicBezTo>
                    <a:cubicBezTo>
                      <a:pt x="180" y="351"/>
                      <a:pt x="180" y="351"/>
                      <a:pt x="180" y="351"/>
                    </a:cubicBezTo>
                    <a:cubicBezTo>
                      <a:pt x="180" y="351"/>
                      <a:pt x="180" y="351"/>
                      <a:pt x="180" y="351"/>
                    </a:cubicBezTo>
                    <a:cubicBezTo>
                      <a:pt x="181" y="350"/>
                      <a:pt x="181" y="350"/>
                      <a:pt x="181" y="350"/>
                    </a:cubicBezTo>
                    <a:cubicBezTo>
                      <a:pt x="181" y="351"/>
                      <a:pt x="180" y="353"/>
                      <a:pt x="180" y="354"/>
                    </a:cubicBezTo>
                    <a:cubicBezTo>
                      <a:pt x="180" y="354"/>
                      <a:pt x="181" y="353"/>
                      <a:pt x="181" y="353"/>
                    </a:cubicBezTo>
                    <a:cubicBezTo>
                      <a:pt x="182" y="353"/>
                      <a:pt x="183" y="354"/>
                      <a:pt x="183" y="354"/>
                    </a:cubicBezTo>
                    <a:cubicBezTo>
                      <a:pt x="183" y="354"/>
                      <a:pt x="184" y="354"/>
                      <a:pt x="184" y="354"/>
                    </a:cubicBezTo>
                    <a:cubicBezTo>
                      <a:pt x="184" y="354"/>
                      <a:pt x="184" y="354"/>
                      <a:pt x="184" y="354"/>
                    </a:cubicBezTo>
                    <a:cubicBezTo>
                      <a:pt x="184" y="354"/>
                      <a:pt x="184" y="354"/>
                      <a:pt x="184" y="354"/>
                    </a:cubicBezTo>
                    <a:cubicBezTo>
                      <a:pt x="184" y="354"/>
                      <a:pt x="184" y="354"/>
                      <a:pt x="184" y="354"/>
                    </a:cubicBezTo>
                    <a:cubicBezTo>
                      <a:pt x="184" y="354"/>
                      <a:pt x="184" y="354"/>
                      <a:pt x="184" y="354"/>
                    </a:cubicBezTo>
                    <a:cubicBezTo>
                      <a:pt x="184" y="354"/>
                      <a:pt x="184" y="354"/>
                      <a:pt x="184" y="354"/>
                    </a:cubicBezTo>
                    <a:cubicBezTo>
                      <a:pt x="184" y="354"/>
                      <a:pt x="184" y="354"/>
                      <a:pt x="184" y="354"/>
                    </a:cubicBezTo>
                    <a:cubicBezTo>
                      <a:pt x="184" y="354"/>
                      <a:pt x="184" y="355"/>
                      <a:pt x="184" y="355"/>
                    </a:cubicBezTo>
                    <a:cubicBezTo>
                      <a:pt x="184" y="355"/>
                      <a:pt x="184" y="356"/>
                      <a:pt x="184" y="356"/>
                    </a:cubicBezTo>
                    <a:cubicBezTo>
                      <a:pt x="184" y="358"/>
                      <a:pt x="183" y="359"/>
                      <a:pt x="182" y="359"/>
                    </a:cubicBezTo>
                    <a:cubicBezTo>
                      <a:pt x="182" y="359"/>
                      <a:pt x="182" y="359"/>
                      <a:pt x="182" y="360"/>
                    </a:cubicBezTo>
                    <a:cubicBezTo>
                      <a:pt x="182" y="360"/>
                      <a:pt x="183" y="360"/>
                      <a:pt x="184" y="360"/>
                    </a:cubicBezTo>
                    <a:cubicBezTo>
                      <a:pt x="184" y="359"/>
                      <a:pt x="184" y="359"/>
                      <a:pt x="184" y="359"/>
                    </a:cubicBezTo>
                    <a:cubicBezTo>
                      <a:pt x="185" y="359"/>
                      <a:pt x="185" y="359"/>
                      <a:pt x="185" y="359"/>
                    </a:cubicBezTo>
                    <a:cubicBezTo>
                      <a:pt x="185" y="359"/>
                      <a:pt x="185" y="359"/>
                      <a:pt x="185" y="359"/>
                    </a:cubicBezTo>
                    <a:cubicBezTo>
                      <a:pt x="213" y="358"/>
                      <a:pt x="213" y="358"/>
                      <a:pt x="213" y="358"/>
                    </a:cubicBezTo>
                    <a:cubicBezTo>
                      <a:pt x="327" y="358"/>
                      <a:pt x="327" y="358"/>
                      <a:pt x="327" y="358"/>
                    </a:cubicBezTo>
                    <a:cubicBezTo>
                      <a:pt x="330" y="358"/>
                      <a:pt x="368" y="358"/>
                      <a:pt x="368" y="358"/>
                    </a:cubicBezTo>
                    <a:cubicBezTo>
                      <a:pt x="369" y="358"/>
                      <a:pt x="371" y="358"/>
                      <a:pt x="372" y="358"/>
                    </a:cubicBezTo>
                    <a:cubicBezTo>
                      <a:pt x="372" y="358"/>
                      <a:pt x="376" y="358"/>
                      <a:pt x="376" y="358"/>
                    </a:cubicBezTo>
                    <a:cubicBezTo>
                      <a:pt x="377" y="358"/>
                      <a:pt x="420" y="358"/>
                      <a:pt x="443" y="358"/>
                    </a:cubicBezTo>
                    <a:cubicBezTo>
                      <a:pt x="461" y="358"/>
                      <a:pt x="461" y="358"/>
                      <a:pt x="461" y="358"/>
                    </a:cubicBezTo>
                    <a:cubicBezTo>
                      <a:pt x="464" y="359"/>
                      <a:pt x="466" y="359"/>
                      <a:pt x="466" y="359"/>
                    </a:cubicBezTo>
                    <a:cubicBezTo>
                      <a:pt x="467" y="357"/>
                      <a:pt x="467" y="356"/>
                      <a:pt x="466" y="355"/>
                    </a:cubicBezTo>
                    <a:cubicBezTo>
                      <a:pt x="465" y="353"/>
                      <a:pt x="465" y="353"/>
                      <a:pt x="465" y="353"/>
                    </a:cubicBezTo>
                    <a:cubicBezTo>
                      <a:pt x="468" y="353"/>
                      <a:pt x="468" y="353"/>
                      <a:pt x="468" y="353"/>
                    </a:cubicBezTo>
                    <a:cubicBezTo>
                      <a:pt x="469" y="354"/>
                      <a:pt x="472" y="354"/>
                      <a:pt x="472" y="357"/>
                    </a:cubicBezTo>
                    <a:cubicBezTo>
                      <a:pt x="472" y="358"/>
                      <a:pt x="474" y="362"/>
                      <a:pt x="474" y="362"/>
                    </a:cubicBezTo>
                    <a:cubicBezTo>
                      <a:pt x="474" y="362"/>
                      <a:pt x="474" y="362"/>
                      <a:pt x="475" y="362"/>
                    </a:cubicBezTo>
                    <a:cubicBezTo>
                      <a:pt x="476" y="362"/>
                      <a:pt x="478" y="363"/>
                      <a:pt x="478" y="363"/>
                    </a:cubicBezTo>
                    <a:cubicBezTo>
                      <a:pt x="479" y="364"/>
                      <a:pt x="483" y="366"/>
                      <a:pt x="484" y="364"/>
                    </a:cubicBezTo>
                    <a:cubicBezTo>
                      <a:pt x="486" y="363"/>
                      <a:pt x="488" y="363"/>
                      <a:pt x="490" y="364"/>
                    </a:cubicBezTo>
                    <a:cubicBezTo>
                      <a:pt x="490" y="364"/>
                      <a:pt x="491" y="364"/>
                      <a:pt x="491" y="364"/>
                    </a:cubicBezTo>
                    <a:cubicBezTo>
                      <a:pt x="493" y="364"/>
                      <a:pt x="496" y="365"/>
                      <a:pt x="496" y="367"/>
                    </a:cubicBezTo>
                    <a:cubicBezTo>
                      <a:pt x="496" y="367"/>
                      <a:pt x="496" y="367"/>
                      <a:pt x="496" y="367"/>
                    </a:cubicBezTo>
                    <a:cubicBezTo>
                      <a:pt x="498" y="367"/>
                      <a:pt x="500" y="367"/>
                      <a:pt x="501" y="368"/>
                    </a:cubicBezTo>
                    <a:cubicBezTo>
                      <a:pt x="501" y="368"/>
                      <a:pt x="501" y="368"/>
                      <a:pt x="502" y="369"/>
                    </a:cubicBezTo>
                    <a:cubicBezTo>
                      <a:pt x="504" y="371"/>
                      <a:pt x="505" y="372"/>
                      <a:pt x="507" y="370"/>
                    </a:cubicBezTo>
                    <a:cubicBezTo>
                      <a:pt x="509" y="369"/>
                      <a:pt x="511" y="368"/>
                      <a:pt x="512" y="369"/>
                    </a:cubicBezTo>
                    <a:cubicBezTo>
                      <a:pt x="513" y="369"/>
                      <a:pt x="513" y="369"/>
                      <a:pt x="513" y="370"/>
                    </a:cubicBezTo>
                    <a:cubicBezTo>
                      <a:pt x="513" y="370"/>
                      <a:pt x="513" y="370"/>
                      <a:pt x="513" y="370"/>
                    </a:cubicBezTo>
                    <a:cubicBezTo>
                      <a:pt x="513" y="370"/>
                      <a:pt x="513" y="370"/>
                      <a:pt x="513" y="370"/>
                    </a:cubicBezTo>
                    <a:cubicBezTo>
                      <a:pt x="514" y="370"/>
                      <a:pt x="519" y="371"/>
                      <a:pt x="520" y="371"/>
                    </a:cubicBezTo>
                    <a:cubicBezTo>
                      <a:pt x="521" y="371"/>
                      <a:pt x="522" y="371"/>
                      <a:pt x="525" y="372"/>
                    </a:cubicBezTo>
                    <a:cubicBezTo>
                      <a:pt x="525" y="372"/>
                      <a:pt x="525" y="372"/>
                      <a:pt x="525" y="372"/>
                    </a:cubicBezTo>
                    <a:cubicBezTo>
                      <a:pt x="525" y="372"/>
                      <a:pt x="525" y="372"/>
                      <a:pt x="525" y="372"/>
                    </a:cubicBezTo>
                    <a:cubicBezTo>
                      <a:pt x="525" y="372"/>
                      <a:pt x="525" y="372"/>
                      <a:pt x="525" y="372"/>
                    </a:cubicBezTo>
                    <a:cubicBezTo>
                      <a:pt x="525" y="372"/>
                      <a:pt x="525" y="372"/>
                      <a:pt x="525" y="372"/>
                    </a:cubicBezTo>
                    <a:cubicBezTo>
                      <a:pt x="525" y="372"/>
                      <a:pt x="525" y="372"/>
                      <a:pt x="525" y="372"/>
                    </a:cubicBezTo>
                    <a:cubicBezTo>
                      <a:pt x="526" y="372"/>
                      <a:pt x="526" y="372"/>
                      <a:pt x="526" y="372"/>
                    </a:cubicBezTo>
                    <a:cubicBezTo>
                      <a:pt x="526" y="372"/>
                      <a:pt x="526" y="372"/>
                      <a:pt x="526" y="372"/>
                    </a:cubicBezTo>
                    <a:cubicBezTo>
                      <a:pt x="526" y="372"/>
                      <a:pt x="526" y="372"/>
                      <a:pt x="526" y="372"/>
                    </a:cubicBezTo>
                    <a:cubicBezTo>
                      <a:pt x="526" y="372"/>
                      <a:pt x="526" y="372"/>
                      <a:pt x="526" y="372"/>
                    </a:cubicBezTo>
                    <a:cubicBezTo>
                      <a:pt x="525" y="371"/>
                      <a:pt x="525" y="371"/>
                      <a:pt x="525" y="371"/>
                    </a:cubicBezTo>
                    <a:cubicBezTo>
                      <a:pt x="525" y="371"/>
                      <a:pt x="525" y="371"/>
                      <a:pt x="525"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7" y="371"/>
                      <a:pt x="527" y="371"/>
                      <a:pt x="527" y="371"/>
                    </a:cubicBezTo>
                    <a:cubicBezTo>
                      <a:pt x="527" y="371"/>
                      <a:pt x="527" y="371"/>
                      <a:pt x="527" y="371"/>
                    </a:cubicBezTo>
                    <a:cubicBezTo>
                      <a:pt x="527" y="371"/>
                      <a:pt x="527" y="371"/>
                      <a:pt x="527" y="371"/>
                    </a:cubicBezTo>
                    <a:cubicBezTo>
                      <a:pt x="527" y="371"/>
                      <a:pt x="527" y="371"/>
                      <a:pt x="527" y="371"/>
                    </a:cubicBezTo>
                    <a:cubicBezTo>
                      <a:pt x="527" y="371"/>
                      <a:pt x="527" y="371"/>
                      <a:pt x="527" y="371"/>
                    </a:cubicBezTo>
                    <a:cubicBezTo>
                      <a:pt x="527" y="371"/>
                      <a:pt x="527" y="371"/>
                      <a:pt x="527" y="371"/>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8" y="369"/>
                      <a:pt x="528" y="369"/>
                      <a:pt x="528" y="369"/>
                    </a:cubicBezTo>
                    <a:cubicBezTo>
                      <a:pt x="528" y="369"/>
                      <a:pt x="528" y="369"/>
                      <a:pt x="528" y="369"/>
                    </a:cubicBezTo>
                    <a:cubicBezTo>
                      <a:pt x="528" y="368"/>
                      <a:pt x="528" y="368"/>
                      <a:pt x="528" y="368"/>
                    </a:cubicBezTo>
                    <a:cubicBezTo>
                      <a:pt x="528" y="368"/>
                      <a:pt x="528" y="368"/>
                      <a:pt x="528" y="368"/>
                    </a:cubicBezTo>
                    <a:cubicBezTo>
                      <a:pt x="528" y="368"/>
                      <a:pt x="528" y="368"/>
                      <a:pt x="528" y="368"/>
                    </a:cubicBezTo>
                    <a:cubicBezTo>
                      <a:pt x="528" y="368"/>
                      <a:pt x="528" y="368"/>
                      <a:pt x="528" y="368"/>
                    </a:cubicBezTo>
                    <a:cubicBezTo>
                      <a:pt x="528" y="368"/>
                      <a:pt x="528" y="368"/>
                      <a:pt x="528" y="368"/>
                    </a:cubicBezTo>
                    <a:cubicBezTo>
                      <a:pt x="528" y="368"/>
                      <a:pt x="528" y="368"/>
                      <a:pt x="528" y="368"/>
                    </a:cubicBezTo>
                    <a:cubicBezTo>
                      <a:pt x="528" y="368"/>
                      <a:pt x="528" y="368"/>
                      <a:pt x="528" y="368"/>
                    </a:cubicBezTo>
                    <a:cubicBezTo>
                      <a:pt x="528" y="368"/>
                      <a:pt x="527" y="368"/>
                      <a:pt x="527"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6"/>
                      <a:pt x="528" y="366"/>
                      <a:pt x="528" y="366"/>
                    </a:cubicBezTo>
                    <a:cubicBezTo>
                      <a:pt x="529" y="366"/>
                      <a:pt x="529" y="366"/>
                      <a:pt x="529" y="366"/>
                    </a:cubicBezTo>
                    <a:cubicBezTo>
                      <a:pt x="529" y="366"/>
                      <a:pt x="529" y="366"/>
                      <a:pt x="529" y="366"/>
                    </a:cubicBezTo>
                    <a:cubicBezTo>
                      <a:pt x="529" y="366"/>
                      <a:pt x="529" y="366"/>
                      <a:pt x="529" y="366"/>
                    </a:cubicBezTo>
                    <a:cubicBezTo>
                      <a:pt x="529" y="366"/>
                      <a:pt x="529"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1" y="366"/>
                      <a:pt x="531" y="366"/>
                      <a:pt x="531" y="366"/>
                    </a:cubicBezTo>
                    <a:cubicBezTo>
                      <a:pt x="531" y="366"/>
                      <a:pt x="531" y="366"/>
                      <a:pt x="531" y="366"/>
                    </a:cubicBezTo>
                    <a:cubicBezTo>
                      <a:pt x="531" y="366"/>
                      <a:pt x="531" y="366"/>
                      <a:pt x="531" y="366"/>
                    </a:cubicBezTo>
                    <a:cubicBezTo>
                      <a:pt x="531" y="366"/>
                      <a:pt x="531" y="366"/>
                      <a:pt x="531" y="366"/>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6"/>
                      <a:pt x="532" y="366"/>
                      <a:pt x="532" y="366"/>
                    </a:cubicBezTo>
                    <a:cubicBezTo>
                      <a:pt x="532" y="366"/>
                      <a:pt x="532" y="366"/>
                      <a:pt x="532"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2" y="368"/>
                      <a:pt x="532" y="368"/>
                      <a:pt x="532" y="368"/>
                    </a:cubicBezTo>
                    <a:cubicBezTo>
                      <a:pt x="533" y="368"/>
                      <a:pt x="533" y="368"/>
                      <a:pt x="533" y="367"/>
                    </a:cubicBezTo>
                    <a:cubicBezTo>
                      <a:pt x="533" y="367"/>
                      <a:pt x="533" y="367"/>
                      <a:pt x="533" y="367"/>
                    </a:cubicBezTo>
                    <a:cubicBezTo>
                      <a:pt x="533" y="367"/>
                      <a:pt x="533" y="367"/>
                      <a:pt x="533" y="367"/>
                    </a:cubicBezTo>
                    <a:cubicBezTo>
                      <a:pt x="533" y="366"/>
                      <a:pt x="533" y="366"/>
                      <a:pt x="533" y="366"/>
                    </a:cubicBezTo>
                    <a:cubicBezTo>
                      <a:pt x="533" y="366"/>
                      <a:pt x="533" y="366"/>
                      <a:pt x="533" y="366"/>
                    </a:cubicBezTo>
                    <a:cubicBezTo>
                      <a:pt x="533" y="366"/>
                      <a:pt x="533" y="366"/>
                      <a:pt x="533" y="366"/>
                    </a:cubicBezTo>
                    <a:cubicBezTo>
                      <a:pt x="533" y="366"/>
                      <a:pt x="533" y="366"/>
                      <a:pt x="533" y="366"/>
                    </a:cubicBezTo>
                    <a:cubicBezTo>
                      <a:pt x="533" y="366"/>
                      <a:pt x="533"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5"/>
                      <a:pt x="534" y="365"/>
                      <a:pt x="534" y="365"/>
                    </a:cubicBezTo>
                    <a:cubicBezTo>
                      <a:pt x="534" y="365"/>
                      <a:pt x="534" y="365"/>
                      <a:pt x="534" y="365"/>
                    </a:cubicBezTo>
                    <a:cubicBezTo>
                      <a:pt x="534" y="365"/>
                      <a:pt x="534" y="365"/>
                      <a:pt x="534" y="365"/>
                    </a:cubicBezTo>
                    <a:cubicBezTo>
                      <a:pt x="534" y="365"/>
                      <a:pt x="534" y="365"/>
                      <a:pt x="534" y="365"/>
                    </a:cubicBezTo>
                    <a:cubicBezTo>
                      <a:pt x="534" y="364"/>
                      <a:pt x="534" y="364"/>
                      <a:pt x="534" y="364"/>
                    </a:cubicBezTo>
                    <a:cubicBezTo>
                      <a:pt x="534" y="364"/>
                      <a:pt x="534" y="364"/>
                      <a:pt x="534" y="364"/>
                    </a:cubicBezTo>
                    <a:cubicBezTo>
                      <a:pt x="534" y="364"/>
                      <a:pt x="534" y="364"/>
                      <a:pt x="534" y="364"/>
                    </a:cubicBezTo>
                    <a:cubicBezTo>
                      <a:pt x="534" y="364"/>
                      <a:pt x="534" y="364"/>
                      <a:pt x="534" y="364"/>
                    </a:cubicBezTo>
                    <a:cubicBezTo>
                      <a:pt x="534" y="364"/>
                      <a:pt x="534" y="364"/>
                      <a:pt x="534" y="364"/>
                    </a:cubicBezTo>
                    <a:cubicBezTo>
                      <a:pt x="535" y="364"/>
                      <a:pt x="534" y="364"/>
                      <a:pt x="534" y="364"/>
                    </a:cubicBezTo>
                    <a:cubicBezTo>
                      <a:pt x="534" y="364"/>
                      <a:pt x="534" y="364"/>
                      <a:pt x="534" y="364"/>
                    </a:cubicBezTo>
                    <a:cubicBezTo>
                      <a:pt x="535" y="364"/>
                      <a:pt x="535" y="364"/>
                      <a:pt x="535" y="364"/>
                    </a:cubicBezTo>
                    <a:cubicBezTo>
                      <a:pt x="534" y="364"/>
                      <a:pt x="534" y="364"/>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4" y="363"/>
                      <a:pt x="534" y="363"/>
                      <a:pt x="534" y="363"/>
                    </a:cubicBezTo>
                    <a:cubicBezTo>
                      <a:pt x="534" y="363"/>
                      <a:pt x="534" y="363"/>
                      <a:pt x="534" y="363"/>
                    </a:cubicBezTo>
                    <a:cubicBezTo>
                      <a:pt x="534" y="363"/>
                      <a:pt x="534" y="363"/>
                      <a:pt x="534" y="363"/>
                    </a:cubicBezTo>
                    <a:cubicBezTo>
                      <a:pt x="534" y="363"/>
                      <a:pt x="534" y="363"/>
                      <a:pt x="534" y="363"/>
                    </a:cubicBezTo>
                    <a:cubicBezTo>
                      <a:pt x="534" y="363"/>
                      <a:pt x="534" y="363"/>
                      <a:pt x="534" y="363"/>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1"/>
                      <a:pt x="535" y="361"/>
                      <a:pt x="535" y="361"/>
                    </a:cubicBezTo>
                    <a:cubicBezTo>
                      <a:pt x="535" y="361"/>
                      <a:pt x="535" y="361"/>
                      <a:pt x="535" y="361"/>
                    </a:cubicBezTo>
                    <a:cubicBezTo>
                      <a:pt x="535" y="361"/>
                      <a:pt x="535" y="361"/>
                      <a:pt x="535" y="361"/>
                    </a:cubicBezTo>
                    <a:cubicBezTo>
                      <a:pt x="535" y="361"/>
                      <a:pt x="535" y="361"/>
                      <a:pt x="535" y="361"/>
                    </a:cubicBezTo>
                    <a:cubicBezTo>
                      <a:pt x="536" y="361"/>
                      <a:pt x="536" y="361"/>
                      <a:pt x="536" y="361"/>
                    </a:cubicBezTo>
                    <a:cubicBezTo>
                      <a:pt x="536" y="361"/>
                      <a:pt x="536" y="361"/>
                      <a:pt x="536" y="361"/>
                    </a:cubicBezTo>
                    <a:cubicBezTo>
                      <a:pt x="536" y="361"/>
                      <a:pt x="536" y="361"/>
                      <a:pt x="536" y="361"/>
                    </a:cubicBezTo>
                    <a:cubicBezTo>
                      <a:pt x="536" y="361"/>
                      <a:pt x="536" y="361"/>
                      <a:pt x="536" y="361"/>
                    </a:cubicBezTo>
                    <a:cubicBezTo>
                      <a:pt x="536" y="362"/>
                      <a:pt x="536" y="362"/>
                      <a:pt x="536" y="362"/>
                    </a:cubicBezTo>
                    <a:cubicBezTo>
                      <a:pt x="536" y="362"/>
                      <a:pt x="536" y="362"/>
                      <a:pt x="536" y="362"/>
                    </a:cubicBezTo>
                    <a:cubicBezTo>
                      <a:pt x="536" y="362"/>
                      <a:pt x="536" y="362"/>
                      <a:pt x="536" y="362"/>
                    </a:cubicBezTo>
                    <a:cubicBezTo>
                      <a:pt x="536" y="362"/>
                      <a:pt x="536" y="362"/>
                      <a:pt x="536" y="362"/>
                    </a:cubicBezTo>
                    <a:cubicBezTo>
                      <a:pt x="536" y="362"/>
                      <a:pt x="536" y="362"/>
                      <a:pt x="536" y="362"/>
                    </a:cubicBezTo>
                    <a:cubicBezTo>
                      <a:pt x="537" y="363"/>
                      <a:pt x="537" y="363"/>
                      <a:pt x="537" y="363"/>
                    </a:cubicBezTo>
                    <a:cubicBezTo>
                      <a:pt x="537" y="363"/>
                      <a:pt x="537" y="363"/>
                      <a:pt x="537" y="363"/>
                    </a:cubicBezTo>
                    <a:cubicBezTo>
                      <a:pt x="537" y="363"/>
                      <a:pt x="537" y="363"/>
                      <a:pt x="537" y="363"/>
                    </a:cubicBezTo>
                    <a:cubicBezTo>
                      <a:pt x="537" y="364"/>
                      <a:pt x="537" y="364"/>
                      <a:pt x="537" y="364"/>
                    </a:cubicBezTo>
                    <a:cubicBezTo>
                      <a:pt x="537" y="364"/>
                      <a:pt x="537" y="364"/>
                      <a:pt x="537" y="364"/>
                    </a:cubicBezTo>
                    <a:cubicBezTo>
                      <a:pt x="537" y="364"/>
                      <a:pt x="537" y="364"/>
                      <a:pt x="537"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5" y="365"/>
                    </a:cubicBezTo>
                    <a:cubicBezTo>
                      <a:pt x="535" y="365"/>
                      <a:pt x="535" y="365"/>
                      <a:pt x="535" y="365"/>
                    </a:cubicBezTo>
                    <a:cubicBezTo>
                      <a:pt x="535" y="365"/>
                      <a:pt x="535" y="365"/>
                      <a:pt x="535" y="365"/>
                    </a:cubicBezTo>
                    <a:cubicBezTo>
                      <a:pt x="535" y="365"/>
                      <a:pt x="535" y="365"/>
                      <a:pt x="535" y="365"/>
                    </a:cubicBezTo>
                    <a:cubicBezTo>
                      <a:pt x="535" y="365"/>
                      <a:pt x="535" y="365"/>
                      <a:pt x="535" y="365"/>
                    </a:cubicBezTo>
                    <a:cubicBezTo>
                      <a:pt x="535" y="365"/>
                      <a:pt x="535" y="365"/>
                      <a:pt x="535" y="365"/>
                    </a:cubicBezTo>
                    <a:cubicBezTo>
                      <a:pt x="535" y="365"/>
                      <a:pt x="535" y="365"/>
                      <a:pt x="535" y="365"/>
                    </a:cubicBezTo>
                    <a:cubicBezTo>
                      <a:pt x="535" y="365"/>
                      <a:pt x="535" y="365"/>
                      <a:pt x="535" y="365"/>
                    </a:cubicBezTo>
                    <a:cubicBezTo>
                      <a:pt x="534" y="365"/>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5" y="367"/>
                      <a:pt x="535" y="367"/>
                      <a:pt x="535" y="367"/>
                    </a:cubicBezTo>
                    <a:cubicBezTo>
                      <a:pt x="535" y="366"/>
                      <a:pt x="535" y="366"/>
                      <a:pt x="535" y="366"/>
                    </a:cubicBezTo>
                    <a:cubicBezTo>
                      <a:pt x="535" y="366"/>
                      <a:pt x="535" y="366"/>
                      <a:pt x="535" y="366"/>
                    </a:cubicBezTo>
                    <a:cubicBezTo>
                      <a:pt x="535" y="366"/>
                      <a:pt x="535" y="366"/>
                      <a:pt x="535" y="366"/>
                    </a:cubicBezTo>
                    <a:cubicBezTo>
                      <a:pt x="535" y="366"/>
                      <a:pt x="535" y="366"/>
                      <a:pt x="535" y="366"/>
                    </a:cubicBezTo>
                    <a:cubicBezTo>
                      <a:pt x="536" y="365"/>
                      <a:pt x="536" y="365"/>
                      <a:pt x="536" y="365"/>
                    </a:cubicBezTo>
                    <a:cubicBezTo>
                      <a:pt x="536" y="365"/>
                      <a:pt x="536" y="365"/>
                      <a:pt x="536" y="365"/>
                    </a:cubicBezTo>
                    <a:cubicBezTo>
                      <a:pt x="536" y="365"/>
                      <a:pt x="536" y="365"/>
                      <a:pt x="536" y="365"/>
                    </a:cubicBezTo>
                    <a:cubicBezTo>
                      <a:pt x="536" y="365"/>
                      <a:pt x="536" y="365"/>
                      <a:pt x="536" y="365"/>
                    </a:cubicBezTo>
                    <a:cubicBezTo>
                      <a:pt x="536" y="365"/>
                      <a:pt x="536" y="365"/>
                      <a:pt x="536" y="365"/>
                    </a:cubicBezTo>
                    <a:cubicBezTo>
                      <a:pt x="537" y="365"/>
                      <a:pt x="537" y="365"/>
                      <a:pt x="537" y="365"/>
                    </a:cubicBezTo>
                    <a:cubicBezTo>
                      <a:pt x="537" y="365"/>
                      <a:pt x="537" y="365"/>
                      <a:pt x="537" y="365"/>
                    </a:cubicBezTo>
                    <a:cubicBezTo>
                      <a:pt x="537" y="365"/>
                      <a:pt x="537" y="365"/>
                      <a:pt x="537" y="365"/>
                    </a:cubicBezTo>
                    <a:cubicBezTo>
                      <a:pt x="537" y="365"/>
                      <a:pt x="537" y="365"/>
                      <a:pt x="537" y="364"/>
                    </a:cubicBezTo>
                    <a:cubicBezTo>
                      <a:pt x="537" y="364"/>
                      <a:pt x="537" y="364"/>
                      <a:pt x="537" y="364"/>
                    </a:cubicBezTo>
                    <a:cubicBezTo>
                      <a:pt x="537" y="364"/>
                      <a:pt x="537" y="364"/>
                      <a:pt x="537" y="364"/>
                    </a:cubicBezTo>
                    <a:cubicBezTo>
                      <a:pt x="537" y="364"/>
                      <a:pt x="537" y="364"/>
                      <a:pt x="537" y="364"/>
                    </a:cubicBezTo>
                    <a:cubicBezTo>
                      <a:pt x="537" y="364"/>
                      <a:pt x="537" y="364"/>
                      <a:pt x="537" y="364"/>
                    </a:cubicBezTo>
                    <a:cubicBezTo>
                      <a:pt x="537" y="364"/>
                      <a:pt x="537" y="364"/>
                      <a:pt x="537" y="364"/>
                    </a:cubicBezTo>
                    <a:cubicBezTo>
                      <a:pt x="537" y="364"/>
                      <a:pt x="537" y="364"/>
                      <a:pt x="537" y="364"/>
                    </a:cubicBezTo>
                    <a:cubicBezTo>
                      <a:pt x="538" y="364"/>
                      <a:pt x="538" y="364"/>
                      <a:pt x="538" y="364"/>
                    </a:cubicBezTo>
                    <a:cubicBezTo>
                      <a:pt x="538" y="364"/>
                      <a:pt x="538" y="365"/>
                      <a:pt x="538" y="364"/>
                    </a:cubicBezTo>
                    <a:cubicBezTo>
                      <a:pt x="538" y="364"/>
                      <a:pt x="538" y="364"/>
                      <a:pt x="538" y="364"/>
                    </a:cubicBezTo>
                    <a:cubicBezTo>
                      <a:pt x="538" y="364"/>
                      <a:pt x="538" y="364"/>
                      <a:pt x="538" y="364"/>
                    </a:cubicBezTo>
                    <a:cubicBezTo>
                      <a:pt x="539" y="364"/>
                      <a:pt x="539" y="364"/>
                      <a:pt x="539" y="363"/>
                    </a:cubicBezTo>
                    <a:cubicBezTo>
                      <a:pt x="539" y="363"/>
                      <a:pt x="539" y="363"/>
                      <a:pt x="539" y="363"/>
                    </a:cubicBezTo>
                    <a:cubicBezTo>
                      <a:pt x="539" y="363"/>
                      <a:pt x="539" y="363"/>
                      <a:pt x="539" y="363"/>
                    </a:cubicBezTo>
                    <a:cubicBezTo>
                      <a:pt x="539" y="363"/>
                      <a:pt x="539" y="363"/>
                      <a:pt x="539" y="363"/>
                    </a:cubicBezTo>
                    <a:cubicBezTo>
                      <a:pt x="539" y="363"/>
                      <a:pt x="539" y="363"/>
                      <a:pt x="539" y="363"/>
                    </a:cubicBezTo>
                    <a:cubicBezTo>
                      <a:pt x="539" y="363"/>
                      <a:pt x="539" y="363"/>
                      <a:pt x="539" y="363"/>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8" y="362"/>
                      <a:pt x="538" y="362"/>
                      <a:pt x="538" y="362"/>
                    </a:cubicBezTo>
                    <a:cubicBezTo>
                      <a:pt x="538" y="362"/>
                      <a:pt x="538" y="362"/>
                      <a:pt x="538" y="362"/>
                    </a:cubicBezTo>
                    <a:cubicBezTo>
                      <a:pt x="538" y="362"/>
                      <a:pt x="538" y="362"/>
                      <a:pt x="538" y="362"/>
                    </a:cubicBezTo>
                    <a:cubicBezTo>
                      <a:pt x="538" y="362"/>
                      <a:pt x="538" y="362"/>
                      <a:pt x="538" y="362"/>
                    </a:cubicBezTo>
                    <a:cubicBezTo>
                      <a:pt x="538" y="361"/>
                      <a:pt x="538" y="361"/>
                      <a:pt x="538" y="361"/>
                    </a:cubicBezTo>
                    <a:cubicBezTo>
                      <a:pt x="538" y="361"/>
                      <a:pt x="538" y="361"/>
                      <a:pt x="538" y="361"/>
                    </a:cubicBezTo>
                    <a:cubicBezTo>
                      <a:pt x="538" y="361"/>
                      <a:pt x="538" y="361"/>
                      <a:pt x="538" y="361"/>
                    </a:cubicBezTo>
                    <a:cubicBezTo>
                      <a:pt x="538" y="361"/>
                      <a:pt x="538" y="361"/>
                      <a:pt x="538" y="361"/>
                    </a:cubicBezTo>
                    <a:cubicBezTo>
                      <a:pt x="537" y="361"/>
                      <a:pt x="537" y="361"/>
                      <a:pt x="537" y="361"/>
                    </a:cubicBezTo>
                    <a:cubicBezTo>
                      <a:pt x="537" y="361"/>
                      <a:pt x="537" y="361"/>
                      <a:pt x="537" y="361"/>
                    </a:cubicBezTo>
                    <a:cubicBezTo>
                      <a:pt x="537" y="361"/>
                      <a:pt x="538" y="361"/>
                      <a:pt x="538" y="361"/>
                    </a:cubicBezTo>
                    <a:cubicBezTo>
                      <a:pt x="538" y="360"/>
                      <a:pt x="538" y="360"/>
                      <a:pt x="538" y="360"/>
                    </a:cubicBezTo>
                    <a:cubicBezTo>
                      <a:pt x="538" y="360"/>
                      <a:pt x="538" y="360"/>
                      <a:pt x="538" y="360"/>
                    </a:cubicBezTo>
                    <a:cubicBezTo>
                      <a:pt x="538" y="360"/>
                      <a:pt x="537" y="360"/>
                      <a:pt x="537" y="360"/>
                    </a:cubicBezTo>
                    <a:cubicBezTo>
                      <a:pt x="537" y="360"/>
                      <a:pt x="537" y="360"/>
                      <a:pt x="537" y="360"/>
                    </a:cubicBezTo>
                    <a:cubicBezTo>
                      <a:pt x="537" y="360"/>
                      <a:pt x="537" y="360"/>
                      <a:pt x="537" y="360"/>
                    </a:cubicBezTo>
                    <a:cubicBezTo>
                      <a:pt x="537" y="360"/>
                      <a:pt x="537" y="360"/>
                      <a:pt x="537" y="360"/>
                    </a:cubicBezTo>
                    <a:cubicBezTo>
                      <a:pt x="538" y="360"/>
                      <a:pt x="538" y="360"/>
                      <a:pt x="538" y="360"/>
                    </a:cubicBezTo>
                    <a:cubicBezTo>
                      <a:pt x="538" y="360"/>
                      <a:pt x="538" y="360"/>
                      <a:pt x="538" y="360"/>
                    </a:cubicBezTo>
                    <a:cubicBezTo>
                      <a:pt x="538" y="360"/>
                      <a:pt x="538" y="360"/>
                      <a:pt x="538" y="360"/>
                    </a:cubicBezTo>
                    <a:cubicBezTo>
                      <a:pt x="538" y="360"/>
                      <a:pt x="538" y="360"/>
                      <a:pt x="538"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59"/>
                      <a:pt x="539" y="359"/>
                      <a:pt x="539" y="359"/>
                    </a:cubicBezTo>
                    <a:cubicBezTo>
                      <a:pt x="539" y="359"/>
                      <a:pt x="539" y="359"/>
                      <a:pt x="539" y="359"/>
                    </a:cubicBezTo>
                    <a:cubicBezTo>
                      <a:pt x="540" y="359"/>
                      <a:pt x="540" y="359"/>
                      <a:pt x="540" y="359"/>
                    </a:cubicBezTo>
                    <a:cubicBezTo>
                      <a:pt x="540" y="359"/>
                      <a:pt x="540" y="359"/>
                      <a:pt x="540" y="359"/>
                    </a:cubicBezTo>
                    <a:cubicBezTo>
                      <a:pt x="540" y="360"/>
                      <a:pt x="540" y="360"/>
                      <a:pt x="540" y="360"/>
                    </a:cubicBezTo>
                    <a:cubicBezTo>
                      <a:pt x="542" y="360"/>
                      <a:pt x="542" y="360"/>
                      <a:pt x="542" y="360"/>
                    </a:cubicBezTo>
                    <a:cubicBezTo>
                      <a:pt x="545" y="361"/>
                      <a:pt x="545" y="361"/>
                      <a:pt x="545" y="361"/>
                    </a:cubicBezTo>
                    <a:cubicBezTo>
                      <a:pt x="546" y="362"/>
                      <a:pt x="546" y="362"/>
                      <a:pt x="546" y="362"/>
                    </a:cubicBezTo>
                    <a:cubicBezTo>
                      <a:pt x="547" y="362"/>
                      <a:pt x="547" y="362"/>
                      <a:pt x="548" y="363"/>
                    </a:cubicBezTo>
                    <a:cubicBezTo>
                      <a:pt x="548" y="363"/>
                      <a:pt x="548" y="363"/>
                      <a:pt x="548" y="363"/>
                    </a:cubicBezTo>
                    <a:cubicBezTo>
                      <a:pt x="548" y="363"/>
                      <a:pt x="548" y="363"/>
                      <a:pt x="548" y="363"/>
                    </a:cubicBezTo>
                    <a:cubicBezTo>
                      <a:pt x="548" y="362"/>
                      <a:pt x="548" y="362"/>
                      <a:pt x="549" y="362"/>
                    </a:cubicBezTo>
                    <a:cubicBezTo>
                      <a:pt x="549" y="363"/>
                      <a:pt x="549" y="363"/>
                      <a:pt x="549" y="363"/>
                    </a:cubicBezTo>
                    <a:cubicBezTo>
                      <a:pt x="549" y="363"/>
                      <a:pt x="549" y="363"/>
                      <a:pt x="549" y="363"/>
                    </a:cubicBezTo>
                    <a:cubicBezTo>
                      <a:pt x="549" y="362"/>
                      <a:pt x="549" y="362"/>
                      <a:pt x="549" y="362"/>
                    </a:cubicBezTo>
                    <a:cubicBezTo>
                      <a:pt x="549" y="362"/>
                      <a:pt x="549" y="362"/>
                      <a:pt x="549" y="362"/>
                    </a:cubicBezTo>
                    <a:cubicBezTo>
                      <a:pt x="549"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1" y="362"/>
                      <a:pt x="551" y="362"/>
                      <a:pt x="551" y="362"/>
                    </a:cubicBezTo>
                    <a:cubicBezTo>
                      <a:pt x="551" y="362"/>
                      <a:pt x="551" y="362"/>
                      <a:pt x="551" y="362"/>
                    </a:cubicBezTo>
                    <a:cubicBezTo>
                      <a:pt x="552" y="362"/>
                      <a:pt x="552" y="362"/>
                      <a:pt x="552" y="362"/>
                    </a:cubicBezTo>
                    <a:cubicBezTo>
                      <a:pt x="552" y="363"/>
                      <a:pt x="552" y="363"/>
                      <a:pt x="552" y="363"/>
                    </a:cubicBezTo>
                    <a:cubicBezTo>
                      <a:pt x="552" y="363"/>
                      <a:pt x="552" y="363"/>
                      <a:pt x="552" y="363"/>
                    </a:cubicBezTo>
                    <a:cubicBezTo>
                      <a:pt x="552" y="363"/>
                      <a:pt x="552" y="363"/>
                      <a:pt x="552" y="363"/>
                    </a:cubicBezTo>
                    <a:cubicBezTo>
                      <a:pt x="552" y="362"/>
                      <a:pt x="552" y="362"/>
                      <a:pt x="552" y="362"/>
                    </a:cubicBezTo>
                    <a:cubicBezTo>
                      <a:pt x="552" y="362"/>
                      <a:pt x="552" y="362"/>
                      <a:pt x="552"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4" y="362"/>
                      <a:pt x="554" y="362"/>
                      <a:pt x="554" y="362"/>
                    </a:cubicBezTo>
                    <a:cubicBezTo>
                      <a:pt x="554" y="362"/>
                      <a:pt x="554" y="362"/>
                      <a:pt x="554" y="362"/>
                    </a:cubicBezTo>
                    <a:cubicBezTo>
                      <a:pt x="554" y="362"/>
                      <a:pt x="554" y="362"/>
                      <a:pt x="554" y="362"/>
                    </a:cubicBezTo>
                    <a:cubicBezTo>
                      <a:pt x="555" y="363"/>
                      <a:pt x="555" y="363"/>
                      <a:pt x="555" y="363"/>
                    </a:cubicBezTo>
                    <a:cubicBezTo>
                      <a:pt x="555" y="363"/>
                      <a:pt x="555" y="363"/>
                      <a:pt x="555" y="363"/>
                    </a:cubicBezTo>
                    <a:cubicBezTo>
                      <a:pt x="555" y="363"/>
                      <a:pt x="555" y="363"/>
                      <a:pt x="555" y="363"/>
                    </a:cubicBezTo>
                    <a:cubicBezTo>
                      <a:pt x="555" y="363"/>
                      <a:pt x="555" y="363"/>
                      <a:pt x="555" y="363"/>
                    </a:cubicBezTo>
                    <a:cubicBezTo>
                      <a:pt x="555" y="363"/>
                      <a:pt x="555" y="363"/>
                      <a:pt x="555"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7" y="365"/>
                      <a:pt x="557" y="365"/>
                      <a:pt x="557" y="365"/>
                    </a:cubicBezTo>
                    <a:cubicBezTo>
                      <a:pt x="558" y="365"/>
                      <a:pt x="558" y="365"/>
                      <a:pt x="558" y="365"/>
                    </a:cubicBezTo>
                    <a:cubicBezTo>
                      <a:pt x="558" y="365"/>
                      <a:pt x="558" y="365"/>
                      <a:pt x="558" y="365"/>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7"/>
                      <a:pt x="558" y="367"/>
                      <a:pt x="558" y="367"/>
                    </a:cubicBezTo>
                    <a:cubicBezTo>
                      <a:pt x="558" y="367"/>
                      <a:pt x="558" y="367"/>
                      <a:pt x="558" y="367"/>
                    </a:cubicBezTo>
                    <a:cubicBezTo>
                      <a:pt x="558" y="367"/>
                      <a:pt x="558" y="367"/>
                      <a:pt x="558" y="367"/>
                    </a:cubicBezTo>
                    <a:cubicBezTo>
                      <a:pt x="558" y="367"/>
                      <a:pt x="558" y="367"/>
                      <a:pt x="558" y="367"/>
                    </a:cubicBezTo>
                    <a:cubicBezTo>
                      <a:pt x="558" y="367"/>
                      <a:pt x="558" y="367"/>
                      <a:pt x="558" y="367"/>
                    </a:cubicBezTo>
                    <a:cubicBezTo>
                      <a:pt x="558" y="367"/>
                      <a:pt x="558" y="367"/>
                      <a:pt x="558" y="367"/>
                    </a:cubicBezTo>
                    <a:cubicBezTo>
                      <a:pt x="559" y="367"/>
                      <a:pt x="559" y="367"/>
                      <a:pt x="559" y="367"/>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9"/>
                      <a:pt x="559" y="369"/>
                    </a:cubicBezTo>
                    <a:cubicBezTo>
                      <a:pt x="559" y="369"/>
                      <a:pt x="559" y="369"/>
                      <a:pt x="559" y="369"/>
                    </a:cubicBezTo>
                    <a:cubicBezTo>
                      <a:pt x="559" y="369"/>
                      <a:pt x="559" y="369"/>
                      <a:pt x="559" y="369"/>
                    </a:cubicBezTo>
                    <a:cubicBezTo>
                      <a:pt x="559" y="369"/>
                      <a:pt x="559" y="369"/>
                      <a:pt x="559" y="370"/>
                    </a:cubicBezTo>
                    <a:cubicBezTo>
                      <a:pt x="559" y="370"/>
                      <a:pt x="559" y="370"/>
                      <a:pt x="559" y="370"/>
                    </a:cubicBezTo>
                    <a:cubicBezTo>
                      <a:pt x="559" y="370"/>
                      <a:pt x="559" y="370"/>
                      <a:pt x="559" y="370"/>
                    </a:cubicBezTo>
                    <a:cubicBezTo>
                      <a:pt x="559" y="370"/>
                      <a:pt x="559" y="370"/>
                      <a:pt x="559" y="370"/>
                    </a:cubicBezTo>
                    <a:cubicBezTo>
                      <a:pt x="559" y="370"/>
                      <a:pt x="559" y="370"/>
                      <a:pt x="559" y="370"/>
                    </a:cubicBezTo>
                    <a:cubicBezTo>
                      <a:pt x="560" y="370"/>
                      <a:pt x="560" y="370"/>
                      <a:pt x="560" y="370"/>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1" y="372"/>
                      <a:pt x="561" y="372"/>
                      <a:pt x="561" y="372"/>
                    </a:cubicBezTo>
                    <a:cubicBezTo>
                      <a:pt x="561" y="372"/>
                      <a:pt x="561" y="372"/>
                      <a:pt x="562" y="373"/>
                    </a:cubicBezTo>
                    <a:cubicBezTo>
                      <a:pt x="562" y="373"/>
                      <a:pt x="562" y="373"/>
                      <a:pt x="562" y="373"/>
                    </a:cubicBezTo>
                    <a:cubicBezTo>
                      <a:pt x="562" y="373"/>
                      <a:pt x="562" y="373"/>
                      <a:pt x="562" y="373"/>
                    </a:cubicBezTo>
                    <a:cubicBezTo>
                      <a:pt x="562" y="373"/>
                      <a:pt x="562" y="373"/>
                      <a:pt x="562" y="373"/>
                    </a:cubicBezTo>
                    <a:cubicBezTo>
                      <a:pt x="562" y="373"/>
                      <a:pt x="562" y="373"/>
                      <a:pt x="562" y="373"/>
                    </a:cubicBezTo>
                    <a:cubicBezTo>
                      <a:pt x="563" y="373"/>
                      <a:pt x="563" y="373"/>
                      <a:pt x="563" y="373"/>
                    </a:cubicBezTo>
                    <a:cubicBezTo>
                      <a:pt x="565" y="373"/>
                      <a:pt x="565" y="373"/>
                      <a:pt x="565" y="373"/>
                    </a:cubicBezTo>
                    <a:cubicBezTo>
                      <a:pt x="565" y="374"/>
                      <a:pt x="565" y="374"/>
                      <a:pt x="565" y="374"/>
                    </a:cubicBezTo>
                    <a:cubicBezTo>
                      <a:pt x="566" y="374"/>
                      <a:pt x="566" y="374"/>
                      <a:pt x="566" y="374"/>
                    </a:cubicBezTo>
                    <a:cubicBezTo>
                      <a:pt x="566" y="374"/>
                      <a:pt x="566" y="374"/>
                      <a:pt x="566" y="374"/>
                    </a:cubicBezTo>
                    <a:cubicBezTo>
                      <a:pt x="566" y="374"/>
                      <a:pt x="566" y="374"/>
                      <a:pt x="566" y="374"/>
                    </a:cubicBezTo>
                    <a:cubicBezTo>
                      <a:pt x="566" y="374"/>
                      <a:pt x="566" y="374"/>
                      <a:pt x="566" y="374"/>
                    </a:cubicBezTo>
                    <a:cubicBezTo>
                      <a:pt x="566" y="374"/>
                      <a:pt x="566" y="374"/>
                      <a:pt x="566" y="374"/>
                    </a:cubicBezTo>
                    <a:cubicBezTo>
                      <a:pt x="566" y="374"/>
                      <a:pt x="566" y="374"/>
                      <a:pt x="566" y="374"/>
                    </a:cubicBezTo>
                    <a:cubicBezTo>
                      <a:pt x="567" y="374"/>
                      <a:pt x="567" y="373"/>
                      <a:pt x="568" y="373"/>
                    </a:cubicBezTo>
                    <a:cubicBezTo>
                      <a:pt x="568" y="373"/>
                      <a:pt x="568" y="373"/>
                      <a:pt x="568" y="373"/>
                    </a:cubicBezTo>
                    <a:cubicBezTo>
                      <a:pt x="568" y="373"/>
                      <a:pt x="568" y="373"/>
                      <a:pt x="568" y="373"/>
                    </a:cubicBezTo>
                    <a:cubicBezTo>
                      <a:pt x="568" y="373"/>
                      <a:pt x="568" y="373"/>
                      <a:pt x="568" y="373"/>
                    </a:cubicBezTo>
                    <a:cubicBezTo>
                      <a:pt x="568" y="373"/>
                      <a:pt x="568" y="373"/>
                      <a:pt x="568" y="373"/>
                    </a:cubicBezTo>
                    <a:cubicBezTo>
                      <a:pt x="568" y="373"/>
                      <a:pt x="569" y="373"/>
                      <a:pt x="570" y="373"/>
                    </a:cubicBezTo>
                    <a:cubicBezTo>
                      <a:pt x="570" y="373"/>
                      <a:pt x="570" y="373"/>
                      <a:pt x="570" y="373"/>
                    </a:cubicBezTo>
                    <a:cubicBezTo>
                      <a:pt x="570" y="373"/>
                      <a:pt x="571" y="373"/>
                      <a:pt x="572" y="373"/>
                    </a:cubicBezTo>
                    <a:cubicBezTo>
                      <a:pt x="572" y="373"/>
                      <a:pt x="572" y="373"/>
                      <a:pt x="572" y="373"/>
                    </a:cubicBezTo>
                    <a:cubicBezTo>
                      <a:pt x="572" y="373"/>
                      <a:pt x="572" y="373"/>
                      <a:pt x="572" y="373"/>
                    </a:cubicBezTo>
                    <a:cubicBezTo>
                      <a:pt x="572" y="373"/>
                      <a:pt x="572" y="373"/>
                      <a:pt x="572" y="373"/>
                    </a:cubicBezTo>
                    <a:cubicBezTo>
                      <a:pt x="572" y="373"/>
                      <a:pt x="572" y="373"/>
                      <a:pt x="572" y="373"/>
                    </a:cubicBezTo>
                    <a:cubicBezTo>
                      <a:pt x="572" y="373"/>
                      <a:pt x="572" y="373"/>
                      <a:pt x="572" y="373"/>
                    </a:cubicBezTo>
                    <a:cubicBezTo>
                      <a:pt x="572" y="374"/>
                      <a:pt x="572" y="374"/>
                      <a:pt x="572" y="374"/>
                    </a:cubicBezTo>
                    <a:cubicBezTo>
                      <a:pt x="572" y="374"/>
                      <a:pt x="572" y="374"/>
                      <a:pt x="572" y="374"/>
                    </a:cubicBezTo>
                    <a:cubicBezTo>
                      <a:pt x="572" y="374"/>
                      <a:pt x="572" y="374"/>
                      <a:pt x="572" y="374"/>
                    </a:cubicBezTo>
                    <a:cubicBezTo>
                      <a:pt x="572" y="374"/>
                      <a:pt x="572" y="374"/>
                      <a:pt x="572" y="374"/>
                    </a:cubicBezTo>
                    <a:cubicBezTo>
                      <a:pt x="572" y="374"/>
                      <a:pt x="572" y="374"/>
                      <a:pt x="572" y="374"/>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2" y="375"/>
                      <a:pt x="572" y="375"/>
                      <a:pt x="572" y="375"/>
                    </a:cubicBezTo>
                    <a:cubicBezTo>
                      <a:pt x="572" y="375"/>
                      <a:pt x="572" y="375"/>
                      <a:pt x="572" y="375"/>
                    </a:cubicBezTo>
                    <a:cubicBezTo>
                      <a:pt x="572" y="375"/>
                      <a:pt x="572" y="375"/>
                      <a:pt x="572" y="375"/>
                    </a:cubicBezTo>
                    <a:cubicBezTo>
                      <a:pt x="572" y="375"/>
                      <a:pt x="572" y="375"/>
                      <a:pt x="572" y="375"/>
                    </a:cubicBezTo>
                    <a:cubicBezTo>
                      <a:pt x="572" y="375"/>
                      <a:pt x="572" y="375"/>
                      <a:pt x="572" y="375"/>
                    </a:cubicBezTo>
                    <a:cubicBezTo>
                      <a:pt x="572" y="375"/>
                      <a:pt x="572" y="375"/>
                      <a:pt x="572" y="375"/>
                    </a:cubicBezTo>
                    <a:cubicBezTo>
                      <a:pt x="572" y="376"/>
                      <a:pt x="572" y="376"/>
                      <a:pt x="572" y="376"/>
                    </a:cubicBezTo>
                    <a:cubicBezTo>
                      <a:pt x="572" y="376"/>
                      <a:pt x="572" y="376"/>
                      <a:pt x="572" y="376"/>
                    </a:cubicBezTo>
                    <a:cubicBezTo>
                      <a:pt x="572" y="376"/>
                      <a:pt x="572" y="376"/>
                      <a:pt x="572"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7"/>
                      <a:pt x="571" y="377"/>
                      <a:pt x="571" y="377"/>
                    </a:cubicBezTo>
                    <a:cubicBezTo>
                      <a:pt x="571" y="377"/>
                      <a:pt x="571" y="377"/>
                      <a:pt x="571" y="377"/>
                    </a:cubicBezTo>
                    <a:cubicBezTo>
                      <a:pt x="571" y="377"/>
                      <a:pt x="571" y="377"/>
                      <a:pt x="571" y="377"/>
                    </a:cubicBezTo>
                    <a:cubicBezTo>
                      <a:pt x="571" y="377"/>
                      <a:pt x="571" y="377"/>
                      <a:pt x="571" y="377"/>
                    </a:cubicBezTo>
                    <a:cubicBezTo>
                      <a:pt x="571" y="377"/>
                      <a:pt x="571" y="377"/>
                      <a:pt x="571" y="378"/>
                    </a:cubicBezTo>
                    <a:cubicBezTo>
                      <a:pt x="571" y="378"/>
                      <a:pt x="571" y="378"/>
                      <a:pt x="571" y="378"/>
                    </a:cubicBezTo>
                    <a:cubicBezTo>
                      <a:pt x="571" y="378"/>
                      <a:pt x="571" y="378"/>
                      <a:pt x="571" y="378"/>
                    </a:cubicBezTo>
                    <a:cubicBezTo>
                      <a:pt x="570" y="378"/>
                      <a:pt x="570" y="378"/>
                      <a:pt x="570" y="378"/>
                    </a:cubicBezTo>
                    <a:cubicBezTo>
                      <a:pt x="570" y="378"/>
                      <a:pt x="570" y="378"/>
                      <a:pt x="570" y="378"/>
                    </a:cubicBezTo>
                    <a:cubicBezTo>
                      <a:pt x="570" y="378"/>
                      <a:pt x="570" y="378"/>
                      <a:pt x="570" y="378"/>
                    </a:cubicBezTo>
                    <a:cubicBezTo>
                      <a:pt x="570" y="378"/>
                      <a:pt x="570" y="378"/>
                      <a:pt x="570" y="378"/>
                    </a:cubicBezTo>
                    <a:cubicBezTo>
                      <a:pt x="571" y="378"/>
                      <a:pt x="571" y="378"/>
                      <a:pt x="571" y="378"/>
                    </a:cubicBezTo>
                    <a:cubicBezTo>
                      <a:pt x="571" y="378"/>
                      <a:pt x="571" y="378"/>
                      <a:pt x="571" y="378"/>
                    </a:cubicBezTo>
                    <a:cubicBezTo>
                      <a:pt x="571" y="378"/>
                      <a:pt x="571" y="378"/>
                      <a:pt x="571" y="378"/>
                    </a:cubicBezTo>
                    <a:cubicBezTo>
                      <a:pt x="571" y="378"/>
                      <a:pt x="571" y="378"/>
                      <a:pt x="571" y="378"/>
                    </a:cubicBezTo>
                    <a:cubicBezTo>
                      <a:pt x="571" y="378"/>
                      <a:pt x="571" y="378"/>
                      <a:pt x="571" y="378"/>
                    </a:cubicBezTo>
                    <a:cubicBezTo>
                      <a:pt x="571" y="379"/>
                      <a:pt x="571" y="379"/>
                      <a:pt x="571" y="379"/>
                    </a:cubicBezTo>
                    <a:cubicBezTo>
                      <a:pt x="571" y="379"/>
                      <a:pt x="571" y="379"/>
                      <a:pt x="571" y="379"/>
                    </a:cubicBezTo>
                    <a:cubicBezTo>
                      <a:pt x="571" y="379"/>
                      <a:pt x="571" y="379"/>
                      <a:pt x="571" y="379"/>
                    </a:cubicBezTo>
                    <a:cubicBezTo>
                      <a:pt x="571" y="379"/>
                      <a:pt x="571" y="379"/>
                      <a:pt x="571" y="379"/>
                    </a:cubicBezTo>
                    <a:cubicBezTo>
                      <a:pt x="571" y="379"/>
                      <a:pt x="571" y="379"/>
                      <a:pt x="571" y="379"/>
                    </a:cubicBezTo>
                    <a:cubicBezTo>
                      <a:pt x="572" y="379"/>
                      <a:pt x="572" y="379"/>
                      <a:pt x="572" y="379"/>
                    </a:cubicBezTo>
                    <a:cubicBezTo>
                      <a:pt x="572" y="379"/>
                      <a:pt x="572" y="379"/>
                      <a:pt x="572" y="379"/>
                    </a:cubicBezTo>
                    <a:cubicBezTo>
                      <a:pt x="573" y="380"/>
                      <a:pt x="573" y="380"/>
                      <a:pt x="573" y="380"/>
                    </a:cubicBezTo>
                    <a:cubicBezTo>
                      <a:pt x="574" y="381"/>
                      <a:pt x="574" y="381"/>
                      <a:pt x="574" y="381"/>
                    </a:cubicBezTo>
                    <a:cubicBezTo>
                      <a:pt x="574" y="381"/>
                      <a:pt x="574" y="381"/>
                      <a:pt x="574" y="381"/>
                    </a:cubicBezTo>
                    <a:cubicBezTo>
                      <a:pt x="574" y="381"/>
                      <a:pt x="574" y="381"/>
                      <a:pt x="574" y="381"/>
                    </a:cubicBezTo>
                    <a:cubicBezTo>
                      <a:pt x="574" y="381"/>
                      <a:pt x="574" y="381"/>
                      <a:pt x="574" y="381"/>
                    </a:cubicBezTo>
                    <a:cubicBezTo>
                      <a:pt x="574" y="381"/>
                      <a:pt x="574" y="381"/>
                      <a:pt x="574" y="381"/>
                    </a:cubicBezTo>
                    <a:cubicBezTo>
                      <a:pt x="575" y="381"/>
                      <a:pt x="575" y="381"/>
                      <a:pt x="575" y="381"/>
                    </a:cubicBezTo>
                    <a:cubicBezTo>
                      <a:pt x="575" y="381"/>
                      <a:pt x="575" y="381"/>
                      <a:pt x="575" y="381"/>
                    </a:cubicBezTo>
                    <a:cubicBezTo>
                      <a:pt x="575" y="382"/>
                      <a:pt x="575" y="382"/>
                      <a:pt x="575" y="382"/>
                    </a:cubicBezTo>
                    <a:cubicBezTo>
                      <a:pt x="575" y="382"/>
                      <a:pt x="575" y="382"/>
                      <a:pt x="575" y="382"/>
                    </a:cubicBezTo>
                    <a:cubicBezTo>
                      <a:pt x="575" y="382"/>
                      <a:pt x="575" y="382"/>
                      <a:pt x="575" y="382"/>
                    </a:cubicBezTo>
                    <a:cubicBezTo>
                      <a:pt x="575" y="382"/>
                      <a:pt x="575" y="382"/>
                      <a:pt x="575" y="382"/>
                    </a:cubicBezTo>
                    <a:cubicBezTo>
                      <a:pt x="575" y="382"/>
                      <a:pt x="575" y="382"/>
                      <a:pt x="575" y="382"/>
                    </a:cubicBezTo>
                    <a:cubicBezTo>
                      <a:pt x="575" y="382"/>
                      <a:pt x="575" y="382"/>
                      <a:pt x="575" y="382"/>
                    </a:cubicBezTo>
                    <a:cubicBezTo>
                      <a:pt x="575" y="382"/>
                      <a:pt x="575" y="382"/>
                      <a:pt x="574" y="382"/>
                    </a:cubicBezTo>
                    <a:cubicBezTo>
                      <a:pt x="574" y="382"/>
                      <a:pt x="574" y="382"/>
                      <a:pt x="574" y="382"/>
                    </a:cubicBezTo>
                    <a:cubicBezTo>
                      <a:pt x="574" y="382"/>
                      <a:pt x="574" y="382"/>
                      <a:pt x="574" y="382"/>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4" y="386"/>
                      <a:pt x="574" y="386"/>
                      <a:pt x="574" y="386"/>
                    </a:cubicBezTo>
                    <a:cubicBezTo>
                      <a:pt x="575" y="387"/>
                      <a:pt x="575" y="387"/>
                      <a:pt x="575" y="387"/>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9"/>
                      <a:pt x="575" y="389"/>
                    </a:cubicBezTo>
                    <a:cubicBezTo>
                      <a:pt x="575" y="389"/>
                      <a:pt x="575" y="389"/>
                      <a:pt x="575" y="389"/>
                    </a:cubicBezTo>
                    <a:cubicBezTo>
                      <a:pt x="575" y="389"/>
                      <a:pt x="575" y="389"/>
                      <a:pt x="575" y="389"/>
                    </a:cubicBezTo>
                    <a:cubicBezTo>
                      <a:pt x="575" y="389"/>
                      <a:pt x="575" y="389"/>
                      <a:pt x="575" y="389"/>
                    </a:cubicBezTo>
                    <a:cubicBezTo>
                      <a:pt x="575" y="389"/>
                      <a:pt x="576" y="390"/>
                      <a:pt x="576" y="390"/>
                    </a:cubicBezTo>
                    <a:cubicBezTo>
                      <a:pt x="576" y="390"/>
                      <a:pt x="576" y="390"/>
                      <a:pt x="576" y="390"/>
                    </a:cubicBezTo>
                    <a:cubicBezTo>
                      <a:pt x="576" y="390"/>
                      <a:pt x="576" y="390"/>
                      <a:pt x="576" y="390"/>
                    </a:cubicBezTo>
                    <a:cubicBezTo>
                      <a:pt x="576" y="390"/>
                      <a:pt x="576" y="390"/>
                      <a:pt x="576" y="390"/>
                    </a:cubicBezTo>
                    <a:cubicBezTo>
                      <a:pt x="576" y="390"/>
                      <a:pt x="576" y="390"/>
                      <a:pt x="576" y="390"/>
                    </a:cubicBezTo>
                    <a:cubicBezTo>
                      <a:pt x="576" y="390"/>
                      <a:pt x="576" y="390"/>
                      <a:pt x="576" y="390"/>
                    </a:cubicBezTo>
                    <a:cubicBezTo>
                      <a:pt x="576" y="390"/>
                      <a:pt x="576" y="390"/>
                      <a:pt x="576" y="390"/>
                    </a:cubicBezTo>
                    <a:cubicBezTo>
                      <a:pt x="576" y="390"/>
                      <a:pt x="576" y="390"/>
                      <a:pt x="576" y="390"/>
                    </a:cubicBezTo>
                    <a:cubicBezTo>
                      <a:pt x="575" y="390"/>
                      <a:pt x="575" y="391"/>
                      <a:pt x="575" y="391"/>
                    </a:cubicBezTo>
                    <a:cubicBezTo>
                      <a:pt x="575" y="391"/>
                      <a:pt x="575" y="391"/>
                      <a:pt x="575" y="391"/>
                    </a:cubicBezTo>
                    <a:cubicBezTo>
                      <a:pt x="575" y="391"/>
                      <a:pt x="575" y="391"/>
                      <a:pt x="575" y="391"/>
                    </a:cubicBezTo>
                    <a:cubicBezTo>
                      <a:pt x="575" y="391"/>
                      <a:pt x="575" y="391"/>
                      <a:pt x="575" y="392"/>
                    </a:cubicBezTo>
                    <a:cubicBezTo>
                      <a:pt x="575" y="392"/>
                      <a:pt x="575" y="392"/>
                      <a:pt x="575" y="392"/>
                    </a:cubicBezTo>
                    <a:cubicBezTo>
                      <a:pt x="575" y="392"/>
                      <a:pt x="575" y="392"/>
                      <a:pt x="575" y="392"/>
                    </a:cubicBezTo>
                    <a:cubicBezTo>
                      <a:pt x="575" y="392"/>
                      <a:pt x="575" y="392"/>
                      <a:pt x="575" y="392"/>
                    </a:cubicBezTo>
                    <a:cubicBezTo>
                      <a:pt x="575" y="392"/>
                      <a:pt x="575" y="391"/>
                      <a:pt x="575" y="391"/>
                    </a:cubicBezTo>
                    <a:cubicBezTo>
                      <a:pt x="575" y="392"/>
                      <a:pt x="575" y="392"/>
                      <a:pt x="576" y="392"/>
                    </a:cubicBezTo>
                    <a:cubicBezTo>
                      <a:pt x="576" y="392"/>
                      <a:pt x="577" y="392"/>
                      <a:pt x="577" y="392"/>
                    </a:cubicBezTo>
                    <a:cubicBezTo>
                      <a:pt x="577" y="392"/>
                      <a:pt x="577" y="392"/>
                      <a:pt x="577" y="392"/>
                    </a:cubicBezTo>
                    <a:cubicBezTo>
                      <a:pt x="578" y="392"/>
                      <a:pt x="578" y="392"/>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80" y="391"/>
                      <a:pt x="580" y="391"/>
                      <a:pt x="580" y="391"/>
                    </a:cubicBezTo>
                    <a:cubicBezTo>
                      <a:pt x="580" y="392"/>
                      <a:pt x="580" y="392"/>
                      <a:pt x="580" y="392"/>
                    </a:cubicBezTo>
                    <a:cubicBezTo>
                      <a:pt x="580" y="392"/>
                      <a:pt x="580" y="392"/>
                      <a:pt x="580" y="392"/>
                    </a:cubicBezTo>
                    <a:cubicBezTo>
                      <a:pt x="580" y="393"/>
                      <a:pt x="580" y="393"/>
                      <a:pt x="580" y="393"/>
                    </a:cubicBezTo>
                    <a:cubicBezTo>
                      <a:pt x="580" y="393"/>
                      <a:pt x="580" y="393"/>
                      <a:pt x="580" y="393"/>
                    </a:cubicBezTo>
                    <a:cubicBezTo>
                      <a:pt x="580" y="393"/>
                      <a:pt x="580" y="393"/>
                      <a:pt x="580" y="393"/>
                    </a:cubicBezTo>
                    <a:cubicBezTo>
                      <a:pt x="580" y="393"/>
                      <a:pt x="580" y="393"/>
                      <a:pt x="580" y="393"/>
                    </a:cubicBezTo>
                    <a:cubicBezTo>
                      <a:pt x="580" y="393"/>
                      <a:pt x="580" y="393"/>
                      <a:pt x="580" y="393"/>
                    </a:cubicBezTo>
                    <a:cubicBezTo>
                      <a:pt x="580" y="393"/>
                      <a:pt x="580" y="394"/>
                      <a:pt x="580" y="394"/>
                    </a:cubicBezTo>
                    <a:cubicBezTo>
                      <a:pt x="580" y="394"/>
                      <a:pt x="580" y="394"/>
                      <a:pt x="580" y="394"/>
                    </a:cubicBezTo>
                    <a:cubicBezTo>
                      <a:pt x="580" y="394"/>
                      <a:pt x="580" y="394"/>
                      <a:pt x="580" y="394"/>
                    </a:cubicBezTo>
                    <a:cubicBezTo>
                      <a:pt x="580" y="394"/>
                      <a:pt x="580" y="394"/>
                      <a:pt x="580" y="394"/>
                    </a:cubicBezTo>
                    <a:cubicBezTo>
                      <a:pt x="580" y="394"/>
                      <a:pt x="580" y="394"/>
                      <a:pt x="580" y="394"/>
                    </a:cubicBezTo>
                    <a:cubicBezTo>
                      <a:pt x="580" y="394"/>
                      <a:pt x="580" y="394"/>
                      <a:pt x="580" y="394"/>
                    </a:cubicBezTo>
                    <a:cubicBezTo>
                      <a:pt x="580" y="394"/>
                      <a:pt x="580" y="394"/>
                      <a:pt x="580" y="394"/>
                    </a:cubicBezTo>
                    <a:cubicBezTo>
                      <a:pt x="580" y="394"/>
                      <a:pt x="580" y="394"/>
                      <a:pt x="580" y="394"/>
                    </a:cubicBezTo>
                    <a:cubicBezTo>
                      <a:pt x="581" y="394"/>
                      <a:pt x="581" y="394"/>
                      <a:pt x="581" y="394"/>
                    </a:cubicBezTo>
                    <a:cubicBezTo>
                      <a:pt x="582" y="395"/>
                      <a:pt x="582" y="395"/>
                      <a:pt x="582" y="395"/>
                    </a:cubicBezTo>
                    <a:cubicBezTo>
                      <a:pt x="586" y="395"/>
                      <a:pt x="586" y="395"/>
                      <a:pt x="586" y="395"/>
                    </a:cubicBezTo>
                    <a:cubicBezTo>
                      <a:pt x="587" y="395"/>
                      <a:pt x="587" y="395"/>
                      <a:pt x="587" y="395"/>
                    </a:cubicBezTo>
                    <a:cubicBezTo>
                      <a:pt x="588" y="396"/>
                      <a:pt x="588" y="396"/>
                      <a:pt x="588" y="396"/>
                    </a:cubicBezTo>
                    <a:cubicBezTo>
                      <a:pt x="588" y="396"/>
                      <a:pt x="588" y="396"/>
                      <a:pt x="588" y="396"/>
                    </a:cubicBezTo>
                    <a:cubicBezTo>
                      <a:pt x="588" y="396"/>
                      <a:pt x="588" y="396"/>
                      <a:pt x="588" y="396"/>
                    </a:cubicBezTo>
                    <a:cubicBezTo>
                      <a:pt x="588" y="396"/>
                      <a:pt x="588" y="396"/>
                      <a:pt x="588" y="396"/>
                    </a:cubicBezTo>
                    <a:cubicBezTo>
                      <a:pt x="588" y="396"/>
                      <a:pt x="589" y="396"/>
                      <a:pt x="589" y="396"/>
                    </a:cubicBezTo>
                    <a:cubicBezTo>
                      <a:pt x="589" y="396"/>
                      <a:pt x="589" y="396"/>
                      <a:pt x="589" y="396"/>
                    </a:cubicBezTo>
                    <a:cubicBezTo>
                      <a:pt x="589" y="396"/>
                      <a:pt x="589" y="396"/>
                      <a:pt x="589" y="396"/>
                    </a:cubicBezTo>
                    <a:cubicBezTo>
                      <a:pt x="590" y="396"/>
                      <a:pt x="590" y="396"/>
                      <a:pt x="591" y="396"/>
                    </a:cubicBezTo>
                    <a:cubicBezTo>
                      <a:pt x="591" y="396"/>
                      <a:pt x="591" y="396"/>
                      <a:pt x="591" y="396"/>
                    </a:cubicBezTo>
                    <a:cubicBezTo>
                      <a:pt x="591" y="396"/>
                      <a:pt x="591" y="396"/>
                      <a:pt x="591" y="396"/>
                    </a:cubicBezTo>
                    <a:cubicBezTo>
                      <a:pt x="591" y="396"/>
                      <a:pt x="591" y="396"/>
                      <a:pt x="591" y="396"/>
                    </a:cubicBezTo>
                    <a:cubicBezTo>
                      <a:pt x="591" y="396"/>
                      <a:pt x="591" y="396"/>
                      <a:pt x="591" y="396"/>
                    </a:cubicBezTo>
                    <a:cubicBezTo>
                      <a:pt x="591" y="396"/>
                      <a:pt x="591" y="396"/>
                      <a:pt x="591" y="396"/>
                    </a:cubicBezTo>
                    <a:cubicBezTo>
                      <a:pt x="592" y="396"/>
                      <a:pt x="592" y="396"/>
                      <a:pt x="592" y="396"/>
                    </a:cubicBezTo>
                    <a:cubicBezTo>
                      <a:pt x="592" y="396"/>
                      <a:pt x="592" y="396"/>
                      <a:pt x="592" y="396"/>
                    </a:cubicBezTo>
                    <a:cubicBezTo>
                      <a:pt x="592" y="396"/>
                      <a:pt x="592" y="396"/>
                      <a:pt x="592" y="396"/>
                    </a:cubicBezTo>
                    <a:cubicBezTo>
                      <a:pt x="592" y="396"/>
                      <a:pt x="592" y="396"/>
                      <a:pt x="592" y="396"/>
                    </a:cubicBezTo>
                    <a:cubicBezTo>
                      <a:pt x="592" y="396"/>
                      <a:pt x="592" y="396"/>
                      <a:pt x="592" y="396"/>
                    </a:cubicBezTo>
                    <a:cubicBezTo>
                      <a:pt x="593" y="396"/>
                      <a:pt x="593" y="396"/>
                      <a:pt x="593" y="396"/>
                    </a:cubicBezTo>
                    <a:cubicBezTo>
                      <a:pt x="593" y="396"/>
                      <a:pt x="593" y="396"/>
                      <a:pt x="593" y="396"/>
                    </a:cubicBezTo>
                    <a:cubicBezTo>
                      <a:pt x="593" y="396"/>
                      <a:pt x="593" y="396"/>
                      <a:pt x="593" y="396"/>
                    </a:cubicBezTo>
                    <a:cubicBezTo>
                      <a:pt x="593" y="396"/>
                      <a:pt x="593" y="396"/>
                      <a:pt x="593" y="396"/>
                    </a:cubicBezTo>
                    <a:cubicBezTo>
                      <a:pt x="594" y="396"/>
                      <a:pt x="594" y="396"/>
                      <a:pt x="594" y="396"/>
                    </a:cubicBezTo>
                    <a:cubicBezTo>
                      <a:pt x="594" y="396"/>
                      <a:pt x="594" y="396"/>
                      <a:pt x="594" y="396"/>
                    </a:cubicBezTo>
                    <a:cubicBezTo>
                      <a:pt x="594" y="396"/>
                      <a:pt x="594" y="396"/>
                      <a:pt x="594" y="396"/>
                    </a:cubicBezTo>
                    <a:cubicBezTo>
                      <a:pt x="594" y="396"/>
                      <a:pt x="594" y="396"/>
                      <a:pt x="594" y="396"/>
                    </a:cubicBezTo>
                    <a:cubicBezTo>
                      <a:pt x="594" y="396"/>
                      <a:pt x="594" y="396"/>
                      <a:pt x="594" y="396"/>
                    </a:cubicBezTo>
                    <a:cubicBezTo>
                      <a:pt x="595" y="396"/>
                      <a:pt x="595" y="396"/>
                      <a:pt x="595" y="396"/>
                    </a:cubicBezTo>
                    <a:cubicBezTo>
                      <a:pt x="595" y="396"/>
                      <a:pt x="595" y="396"/>
                      <a:pt x="595" y="396"/>
                    </a:cubicBezTo>
                    <a:cubicBezTo>
                      <a:pt x="595" y="396"/>
                      <a:pt x="595" y="396"/>
                      <a:pt x="595" y="396"/>
                    </a:cubicBezTo>
                    <a:cubicBezTo>
                      <a:pt x="595" y="396"/>
                      <a:pt x="595" y="396"/>
                      <a:pt x="595" y="396"/>
                    </a:cubicBezTo>
                    <a:cubicBezTo>
                      <a:pt x="595" y="396"/>
                      <a:pt x="595" y="396"/>
                      <a:pt x="595" y="396"/>
                    </a:cubicBezTo>
                    <a:cubicBezTo>
                      <a:pt x="595" y="396"/>
                      <a:pt x="595" y="396"/>
                      <a:pt x="595" y="396"/>
                    </a:cubicBezTo>
                    <a:cubicBezTo>
                      <a:pt x="595" y="396"/>
                      <a:pt x="595" y="396"/>
                      <a:pt x="595" y="396"/>
                    </a:cubicBezTo>
                    <a:cubicBezTo>
                      <a:pt x="596" y="396"/>
                      <a:pt x="596" y="396"/>
                      <a:pt x="596" y="396"/>
                    </a:cubicBezTo>
                    <a:cubicBezTo>
                      <a:pt x="596" y="396"/>
                      <a:pt x="596" y="396"/>
                      <a:pt x="596" y="396"/>
                    </a:cubicBezTo>
                    <a:cubicBezTo>
                      <a:pt x="596" y="396"/>
                      <a:pt x="596" y="396"/>
                      <a:pt x="596" y="396"/>
                    </a:cubicBezTo>
                    <a:cubicBezTo>
                      <a:pt x="596" y="396"/>
                      <a:pt x="596" y="396"/>
                      <a:pt x="596" y="396"/>
                    </a:cubicBezTo>
                    <a:cubicBezTo>
                      <a:pt x="596" y="396"/>
                      <a:pt x="596" y="396"/>
                      <a:pt x="596" y="396"/>
                    </a:cubicBezTo>
                    <a:cubicBezTo>
                      <a:pt x="596" y="396"/>
                      <a:pt x="596" y="396"/>
                      <a:pt x="596" y="396"/>
                    </a:cubicBezTo>
                    <a:cubicBezTo>
                      <a:pt x="597" y="396"/>
                      <a:pt x="597" y="396"/>
                      <a:pt x="597" y="396"/>
                    </a:cubicBezTo>
                    <a:cubicBezTo>
                      <a:pt x="597" y="396"/>
                      <a:pt x="597" y="396"/>
                      <a:pt x="597" y="396"/>
                    </a:cubicBezTo>
                    <a:cubicBezTo>
                      <a:pt x="597" y="396"/>
                      <a:pt x="597" y="396"/>
                      <a:pt x="597" y="396"/>
                    </a:cubicBezTo>
                    <a:cubicBezTo>
                      <a:pt x="597" y="396"/>
                      <a:pt x="597" y="396"/>
                      <a:pt x="598" y="396"/>
                    </a:cubicBezTo>
                    <a:cubicBezTo>
                      <a:pt x="598" y="396"/>
                      <a:pt x="598" y="396"/>
                      <a:pt x="598" y="396"/>
                    </a:cubicBezTo>
                    <a:cubicBezTo>
                      <a:pt x="599" y="396"/>
                      <a:pt x="600" y="397"/>
                      <a:pt x="601" y="397"/>
                    </a:cubicBezTo>
                    <a:cubicBezTo>
                      <a:pt x="602" y="397"/>
                      <a:pt x="602" y="397"/>
                      <a:pt x="602" y="397"/>
                    </a:cubicBezTo>
                    <a:cubicBezTo>
                      <a:pt x="602" y="397"/>
                      <a:pt x="602" y="397"/>
                      <a:pt x="602" y="397"/>
                    </a:cubicBezTo>
                    <a:cubicBezTo>
                      <a:pt x="602" y="397"/>
                      <a:pt x="602" y="397"/>
                      <a:pt x="602" y="397"/>
                    </a:cubicBezTo>
                    <a:cubicBezTo>
                      <a:pt x="602" y="397"/>
                      <a:pt x="602" y="397"/>
                      <a:pt x="602" y="397"/>
                    </a:cubicBezTo>
                    <a:cubicBezTo>
                      <a:pt x="602" y="397"/>
                      <a:pt x="602" y="397"/>
                      <a:pt x="603" y="397"/>
                    </a:cubicBezTo>
                    <a:cubicBezTo>
                      <a:pt x="603" y="397"/>
                      <a:pt x="603" y="397"/>
                      <a:pt x="603" y="397"/>
                    </a:cubicBezTo>
                    <a:cubicBezTo>
                      <a:pt x="603" y="397"/>
                      <a:pt x="603" y="397"/>
                      <a:pt x="603" y="397"/>
                    </a:cubicBezTo>
                    <a:cubicBezTo>
                      <a:pt x="603" y="397"/>
                      <a:pt x="603" y="397"/>
                      <a:pt x="603" y="397"/>
                    </a:cubicBezTo>
                    <a:cubicBezTo>
                      <a:pt x="603" y="397"/>
                      <a:pt x="602" y="398"/>
                      <a:pt x="602" y="398"/>
                    </a:cubicBezTo>
                    <a:cubicBezTo>
                      <a:pt x="602" y="398"/>
                      <a:pt x="602" y="398"/>
                      <a:pt x="602" y="398"/>
                    </a:cubicBezTo>
                    <a:cubicBezTo>
                      <a:pt x="602" y="398"/>
                      <a:pt x="603" y="397"/>
                      <a:pt x="603"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8"/>
                      <a:pt x="604" y="398"/>
                      <a:pt x="604" y="398"/>
                    </a:cubicBezTo>
                    <a:cubicBezTo>
                      <a:pt x="604" y="398"/>
                      <a:pt x="604" y="398"/>
                      <a:pt x="604" y="398"/>
                    </a:cubicBezTo>
                    <a:cubicBezTo>
                      <a:pt x="605" y="398"/>
                      <a:pt x="605" y="398"/>
                      <a:pt x="605" y="398"/>
                    </a:cubicBezTo>
                    <a:cubicBezTo>
                      <a:pt x="605" y="397"/>
                      <a:pt x="605" y="397"/>
                      <a:pt x="605" y="397"/>
                    </a:cubicBezTo>
                    <a:cubicBezTo>
                      <a:pt x="605" y="397"/>
                      <a:pt x="605" y="397"/>
                      <a:pt x="605" y="397"/>
                    </a:cubicBezTo>
                    <a:cubicBezTo>
                      <a:pt x="605" y="397"/>
                      <a:pt x="605" y="397"/>
                      <a:pt x="605" y="397"/>
                    </a:cubicBezTo>
                    <a:cubicBezTo>
                      <a:pt x="605" y="397"/>
                      <a:pt x="605" y="397"/>
                      <a:pt x="605" y="397"/>
                    </a:cubicBezTo>
                    <a:cubicBezTo>
                      <a:pt x="605" y="398"/>
                      <a:pt x="605" y="398"/>
                      <a:pt x="605" y="398"/>
                    </a:cubicBezTo>
                    <a:cubicBezTo>
                      <a:pt x="605" y="398"/>
                      <a:pt x="605" y="398"/>
                      <a:pt x="605" y="398"/>
                    </a:cubicBezTo>
                    <a:cubicBezTo>
                      <a:pt x="605" y="398"/>
                      <a:pt x="605" y="398"/>
                      <a:pt x="605" y="398"/>
                    </a:cubicBezTo>
                    <a:cubicBezTo>
                      <a:pt x="605" y="398"/>
                      <a:pt x="605" y="398"/>
                      <a:pt x="605" y="398"/>
                    </a:cubicBezTo>
                    <a:cubicBezTo>
                      <a:pt x="604" y="398"/>
                      <a:pt x="604" y="398"/>
                      <a:pt x="604" y="398"/>
                    </a:cubicBezTo>
                    <a:cubicBezTo>
                      <a:pt x="604" y="398"/>
                      <a:pt x="604" y="398"/>
                      <a:pt x="604" y="398"/>
                    </a:cubicBezTo>
                    <a:cubicBezTo>
                      <a:pt x="605" y="398"/>
                      <a:pt x="605" y="398"/>
                      <a:pt x="605" y="398"/>
                    </a:cubicBezTo>
                    <a:cubicBezTo>
                      <a:pt x="605" y="398"/>
                      <a:pt x="605" y="398"/>
                      <a:pt x="605"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5" y="399"/>
                      <a:pt x="605" y="399"/>
                    </a:cubicBezTo>
                    <a:cubicBezTo>
                      <a:pt x="605" y="399"/>
                      <a:pt x="605" y="399"/>
                      <a:pt x="605" y="399"/>
                    </a:cubicBezTo>
                    <a:cubicBezTo>
                      <a:pt x="605" y="399"/>
                      <a:pt x="605" y="399"/>
                      <a:pt x="605" y="399"/>
                    </a:cubicBezTo>
                    <a:cubicBezTo>
                      <a:pt x="605" y="399"/>
                      <a:pt x="605" y="399"/>
                      <a:pt x="605" y="399"/>
                    </a:cubicBezTo>
                    <a:cubicBezTo>
                      <a:pt x="606" y="399"/>
                      <a:pt x="606" y="399"/>
                      <a:pt x="606" y="399"/>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7" y="398"/>
                      <a:pt x="607" y="398"/>
                      <a:pt x="607" y="398"/>
                    </a:cubicBezTo>
                    <a:cubicBezTo>
                      <a:pt x="607" y="398"/>
                      <a:pt x="607" y="398"/>
                      <a:pt x="607" y="398"/>
                    </a:cubicBezTo>
                    <a:cubicBezTo>
                      <a:pt x="607" y="398"/>
                      <a:pt x="607" y="398"/>
                      <a:pt x="607" y="398"/>
                    </a:cubicBezTo>
                    <a:cubicBezTo>
                      <a:pt x="607" y="399"/>
                      <a:pt x="608" y="399"/>
                      <a:pt x="608" y="399"/>
                    </a:cubicBezTo>
                    <a:cubicBezTo>
                      <a:pt x="608" y="399"/>
                      <a:pt x="608" y="399"/>
                      <a:pt x="608" y="399"/>
                    </a:cubicBezTo>
                    <a:cubicBezTo>
                      <a:pt x="608" y="399"/>
                      <a:pt x="608" y="399"/>
                      <a:pt x="608" y="399"/>
                    </a:cubicBezTo>
                    <a:cubicBezTo>
                      <a:pt x="609" y="399"/>
                      <a:pt x="609" y="399"/>
                      <a:pt x="609" y="399"/>
                    </a:cubicBezTo>
                    <a:cubicBezTo>
                      <a:pt x="609" y="399"/>
                      <a:pt x="609" y="399"/>
                      <a:pt x="609" y="399"/>
                    </a:cubicBezTo>
                    <a:cubicBezTo>
                      <a:pt x="609" y="399"/>
                      <a:pt x="609" y="399"/>
                      <a:pt x="609" y="399"/>
                    </a:cubicBezTo>
                    <a:cubicBezTo>
                      <a:pt x="609" y="399"/>
                      <a:pt x="609" y="399"/>
                      <a:pt x="609" y="399"/>
                    </a:cubicBezTo>
                    <a:cubicBezTo>
                      <a:pt x="610" y="399"/>
                      <a:pt x="610" y="399"/>
                      <a:pt x="610" y="399"/>
                    </a:cubicBezTo>
                    <a:cubicBezTo>
                      <a:pt x="610" y="399"/>
                      <a:pt x="610" y="399"/>
                      <a:pt x="610" y="399"/>
                    </a:cubicBezTo>
                    <a:cubicBezTo>
                      <a:pt x="610" y="399"/>
                      <a:pt x="610" y="399"/>
                      <a:pt x="610" y="399"/>
                    </a:cubicBezTo>
                    <a:cubicBezTo>
                      <a:pt x="610" y="399"/>
                      <a:pt x="610" y="399"/>
                      <a:pt x="610" y="399"/>
                    </a:cubicBezTo>
                    <a:cubicBezTo>
                      <a:pt x="610" y="399"/>
                      <a:pt x="610" y="399"/>
                      <a:pt x="610" y="399"/>
                    </a:cubicBezTo>
                    <a:cubicBezTo>
                      <a:pt x="610" y="399"/>
                      <a:pt x="610" y="399"/>
                      <a:pt x="610" y="399"/>
                    </a:cubicBezTo>
                    <a:cubicBezTo>
                      <a:pt x="610" y="399"/>
                      <a:pt x="610" y="399"/>
                      <a:pt x="610" y="399"/>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1" y="398"/>
                      <a:pt x="611" y="398"/>
                      <a:pt x="611" y="398"/>
                    </a:cubicBezTo>
                    <a:cubicBezTo>
                      <a:pt x="612" y="399"/>
                      <a:pt x="612" y="399"/>
                      <a:pt x="612" y="399"/>
                    </a:cubicBezTo>
                    <a:cubicBezTo>
                      <a:pt x="612" y="399"/>
                      <a:pt x="612" y="399"/>
                      <a:pt x="612" y="399"/>
                    </a:cubicBezTo>
                    <a:cubicBezTo>
                      <a:pt x="613" y="399"/>
                      <a:pt x="613" y="399"/>
                      <a:pt x="613" y="399"/>
                    </a:cubicBezTo>
                    <a:cubicBezTo>
                      <a:pt x="613" y="399"/>
                      <a:pt x="613" y="399"/>
                      <a:pt x="613" y="399"/>
                    </a:cubicBezTo>
                    <a:cubicBezTo>
                      <a:pt x="613" y="399"/>
                      <a:pt x="613" y="399"/>
                      <a:pt x="613" y="399"/>
                    </a:cubicBezTo>
                    <a:cubicBezTo>
                      <a:pt x="613" y="399"/>
                      <a:pt x="613" y="399"/>
                      <a:pt x="613" y="399"/>
                    </a:cubicBezTo>
                    <a:cubicBezTo>
                      <a:pt x="613" y="399"/>
                      <a:pt x="613" y="399"/>
                      <a:pt x="613" y="399"/>
                    </a:cubicBezTo>
                    <a:cubicBezTo>
                      <a:pt x="614" y="400"/>
                      <a:pt x="614" y="400"/>
                      <a:pt x="614" y="400"/>
                    </a:cubicBezTo>
                    <a:cubicBezTo>
                      <a:pt x="615" y="401"/>
                      <a:pt x="615" y="401"/>
                      <a:pt x="615" y="401"/>
                    </a:cubicBezTo>
                    <a:cubicBezTo>
                      <a:pt x="619" y="404"/>
                      <a:pt x="619" y="404"/>
                      <a:pt x="619" y="404"/>
                    </a:cubicBezTo>
                    <a:cubicBezTo>
                      <a:pt x="620" y="405"/>
                      <a:pt x="620" y="405"/>
                      <a:pt x="620" y="405"/>
                    </a:cubicBezTo>
                    <a:cubicBezTo>
                      <a:pt x="621" y="406"/>
                      <a:pt x="621" y="406"/>
                      <a:pt x="621" y="406"/>
                    </a:cubicBezTo>
                    <a:cubicBezTo>
                      <a:pt x="621" y="406"/>
                      <a:pt x="621" y="406"/>
                      <a:pt x="621" y="406"/>
                    </a:cubicBezTo>
                    <a:cubicBezTo>
                      <a:pt x="621" y="406"/>
                      <a:pt x="621" y="406"/>
                      <a:pt x="621" y="406"/>
                    </a:cubicBezTo>
                    <a:cubicBezTo>
                      <a:pt x="621" y="406"/>
                      <a:pt x="621" y="406"/>
                      <a:pt x="621" y="406"/>
                    </a:cubicBezTo>
                    <a:cubicBezTo>
                      <a:pt x="621" y="406"/>
                      <a:pt x="621" y="406"/>
                      <a:pt x="621" y="406"/>
                    </a:cubicBezTo>
                    <a:cubicBezTo>
                      <a:pt x="621" y="407"/>
                      <a:pt x="621" y="407"/>
                      <a:pt x="621" y="407"/>
                    </a:cubicBezTo>
                    <a:cubicBezTo>
                      <a:pt x="621" y="408"/>
                      <a:pt x="621" y="408"/>
                      <a:pt x="621" y="408"/>
                    </a:cubicBezTo>
                    <a:cubicBezTo>
                      <a:pt x="621" y="408"/>
                      <a:pt x="621" y="408"/>
                      <a:pt x="621" y="408"/>
                    </a:cubicBezTo>
                    <a:cubicBezTo>
                      <a:pt x="622" y="409"/>
                      <a:pt x="622" y="409"/>
                      <a:pt x="622" y="409"/>
                    </a:cubicBezTo>
                    <a:cubicBezTo>
                      <a:pt x="622" y="410"/>
                      <a:pt x="622" y="410"/>
                      <a:pt x="622" y="410"/>
                    </a:cubicBezTo>
                    <a:cubicBezTo>
                      <a:pt x="622" y="411"/>
                      <a:pt x="622" y="411"/>
                      <a:pt x="622" y="411"/>
                    </a:cubicBezTo>
                    <a:cubicBezTo>
                      <a:pt x="624" y="413"/>
                      <a:pt x="624" y="413"/>
                      <a:pt x="624" y="413"/>
                    </a:cubicBezTo>
                    <a:cubicBezTo>
                      <a:pt x="625" y="414"/>
                      <a:pt x="625" y="414"/>
                      <a:pt x="625" y="414"/>
                    </a:cubicBezTo>
                    <a:cubicBezTo>
                      <a:pt x="625" y="414"/>
                      <a:pt x="625" y="414"/>
                      <a:pt x="625" y="414"/>
                    </a:cubicBezTo>
                    <a:cubicBezTo>
                      <a:pt x="625" y="414"/>
                      <a:pt x="625" y="414"/>
                      <a:pt x="625" y="414"/>
                    </a:cubicBezTo>
                    <a:cubicBezTo>
                      <a:pt x="625" y="414"/>
                      <a:pt x="625" y="414"/>
                      <a:pt x="625" y="414"/>
                    </a:cubicBezTo>
                    <a:cubicBezTo>
                      <a:pt x="625" y="414"/>
                      <a:pt x="625" y="414"/>
                      <a:pt x="625" y="414"/>
                    </a:cubicBezTo>
                    <a:cubicBezTo>
                      <a:pt x="625"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2" y="413"/>
                      <a:pt x="622" y="413"/>
                      <a:pt x="622" y="413"/>
                    </a:cubicBezTo>
                    <a:cubicBezTo>
                      <a:pt x="622" y="413"/>
                      <a:pt x="622" y="413"/>
                      <a:pt x="622" y="413"/>
                    </a:cubicBezTo>
                    <a:cubicBezTo>
                      <a:pt x="622" y="413"/>
                      <a:pt x="622" y="413"/>
                      <a:pt x="622" y="413"/>
                    </a:cubicBezTo>
                    <a:cubicBezTo>
                      <a:pt x="622" y="413"/>
                      <a:pt x="622" y="413"/>
                      <a:pt x="622" y="413"/>
                    </a:cubicBezTo>
                    <a:cubicBezTo>
                      <a:pt x="622" y="413"/>
                      <a:pt x="622" y="413"/>
                      <a:pt x="622" y="413"/>
                    </a:cubicBezTo>
                    <a:cubicBezTo>
                      <a:pt x="622" y="413"/>
                      <a:pt x="622" y="413"/>
                      <a:pt x="622" y="413"/>
                    </a:cubicBezTo>
                    <a:cubicBezTo>
                      <a:pt x="622" y="413"/>
                      <a:pt x="622" y="413"/>
                      <a:pt x="622" y="413"/>
                    </a:cubicBezTo>
                    <a:cubicBezTo>
                      <a:pt x="621" y="414"/>
                      <a:pt x="621" y="414"/>
                      <a:pt x="621" y="414"/>
                    </a:cubicBezTo>
                    <a:cubicBezTo>
                      <a:pt x="621" y="414"/>
                      <a:pt x="621" y="414"/>
                      <a:pt x="621" y="414"/>
                    </a:cubicBezTo>
                    <a:cubicBezTo>
                      <a:pt x="621" y="414"/>
                      <a:pt x="621" y="414"/>
                      <a:pt x="621" y="414"/>
                    </a:cubicBezTo>
                    <a:cubicBezTo>
                      <a:pt x="621" y="414"/>
                      <a:pt x="621" y="414"/>
                      <a:pt x="621" y="414"/>
                    </a:cubicBezTo>
                    <a:cubicBezTo>
                      <a:pt x="621" y="414"/>
                      <a:pt x="621" y="414"/>
                      <a:pt x="621" y="414"/>
                    </a:cubicBezTo>
                    <a:cubicBezTo>
                      <a:pt x="621" y="415"/>
                      <a:pt x="621" y="415"/>
                      <a:pt x="621" y="415"/>
                    </a:cubicBezTo>
                    <a:cubicBezTo>
                      <a:pt x="622" y="416"/>
                      <a:pt x="622" y="416"/>
                      <a:pt x="622" y="416"/>
                    </a:cubicBezTo>
                    <a:cubicBezTo>
                      <a:pt x="621" y="418"/>
                      <a:pt x="621" y="418"/>
                      <a:pt x="621" y="418"/>
                    </a:cubicBezTo>
                    <a:cubicBezTo>
                      <a:pt x="621" y="418"/>
                      <a:pt x="621" y="418"/>
                      <a:pt x="621" y="418"/>
                    </a:cubicBezTo>
                    <a:cubicBezTo>
                      <a:pt x="621" y="418"/>
                      <a:pt x="621" y="418"/>
                      <a:pt x="621" y="418"/>
                    </a:cubicBezTo>
                    <a:cubicBezTo>
                      <a:pt x="621" y="418"/>
                      <a:pt x="621" y="418"/>
                      <a:pt x="621" y="418"/>
                    </a:cubicBezTo>
                    <a:cubicBezTo>
                      <a:pt x="620" y="418"/>
                      <a:pt x="620" y="418"/>
                      <a:pt x="620" y="418"/>
                    </a:cubicBezTo>
                    <a:cubicBezTo>
                      <a:pt x="619" y="417"/>
                      <a:pt x="618" y="417"/>
                      <a:pt x="617" y="417"/>
                    </a:cubicBezTo>
                    <a:cubicBezTo>
                      <a:pt x="617" y="417"/>
                      <a:pt x="617" y="417"/>
                      <a:pt x="617" y="417"/>
                    </a:cubicBezTo>
                    <a:cubicBezTo>
                      <a:pt x="617" y="416"/>
                      <a:pt x="617" y="416"/>
                      <a:pt x="617" y="416"/>
                    </a:cubicBezTo>
                    <a:cubicBezTo>
                      <a:pt x="617" y="416"/>
                      <a:pt x="617" y="416"/>
                      <a:pt x="617" y="416"/>
                    </a:cubicBezTo>
                    <a:cubicBezTo>
                      <a:pt x="617" y="416"/>
                      <a:pt x="617" y="416"/>
                      <a:pt x="617" y="416"/>
                    </a:cubicBezTo>
                    <a:cubicBezTo>
                      <a:pt x="617" y="416"/>
                      <a:pt x="617" y="416"/>
                      <a:pt x="617" y="416"/>
                    </a:cubicBezTo>
                    <a:cubicBezTo>
                      <a:pt x="617" y="416"/>
                      <a:pt x="617" y="416"/>
                      <a:pt x="617" y="416"/>
                    </a:cubicBezTo>
                    <a:cubicBezTo>
                      <a:pt x="616" y="416"/>
                      <a:pt x="616" y="416"/>
                      <a:pt x="616" y="416"/>
                    </a:cubicBezTo>
                    <a:cubicBezTo>
                      <a:pt x="616" y="416"/>
                      <a:pt x="616" y="416"/>
                      <a:pt x="616" y="416"/>
                    </a:cubicBezTo>
                    <a:cubicBezTo>
                      <a:pt x="615" y="415"/>
                      <a:pt x="615" y="415"/>
                      <a:pt x="615" y="415"/>
                    </a:cubicBezTo>
                    <a:cubicBezTo>
                      <a:pt x="615" y="415"/>
                      <a:pt x="615" y="415"/>
                      <a:pt x="615" y="415"/>
                    </a:cubicBezTo>
                    <a:cubicBezTo>
                      <a:pt x="615" y="415"/>
                      <a:pt x="615" y="415"/>
                      <a:pt x="615" y="415"/>
                    </a:cubicBezTo>
                    <a:cubicBezTo>
                      <a:pt x="614" y="415"/>
                      <a:pt x="614" y="415"/>
                      <a:pt x="614" y="415"/>
                    </a:cubicBezTo>
                    <a:cubicBezTo>
                      <a:pt x="614" y="415"/>
                      <a:pt x="614" y="415"/>
                      <a:pt x="614" y="415"/>
                    </a:cubicBezTo>
                    <a:cubicBezTo>
                      <a:pt x="614" y="415"/>
                      <a:pt x="614" y="415"/>
                      <a:pt x="614" y="415"/>
                    </a:cubicBezTo>
                    <a:cubicBezTo>
                      <a:pt x="614" y="415"/>
                      <a:pt x="614" y="415"/>
                      <a:pt x="614" y="415"/>
                    </a:cubicBezTo>
                    <a:cubicBezTo>
                      <a:pt x="614" y="415"/>
                      <a:pt x="614" y="415"/>
                      <a:pt x="613" y="415"/>
                    </a:cubicBezTo>
                    <a:cubicBezTo>
                      <a:pt x="612" y="416"/>
                      <a:pt x="612" y="416"/>
                      <a:pt x="612" y="416"/>
                    </a:cubicBezTo>
                    <a:cubicBezTo>
                      <a:pt x="612" y="416"/>
                      <a:pt x="612" y="416"/>
                      <a:pt x="612" y="416"/>
                    </a:cubicBezTo>
                    <a:cubicBezTo>
                      <a:pt x="612" y="416"/>
                      <a:pt x="612" y="416"/>
                      <a:pt x="612" y="416"/>
                    </a:cubicBezTo>
                    <a:cubicBezTo>
                      <a:pt x="612" y="416"/>
                      <a:pt x="612" y="416"/>
                      <a:pt x="612" y="416"/>
                    </a:cubicBezTo>
                    <a:cubicBezTo>
                      <a:pt x="612" y="416"/>
                      <a:pt x="612" y="416"/>
                      <a:pt x="612" y="416"/>
                    </a:cubicBezTo>
                    <a:cubicBezTo>
                      <a:pt x="612" y="415"/>
                      <a:pt x="612" y="415"/>
                      <a:pt x="612" y="415"/>
                    </a:cubicBezTo>
                    <a:cubicBezTo>
                      <a:pt x="612" y="415"/>
                      <a:pt x="612" y="415"/>
                      <a:pt x="612" y="415"/>
                    </a:cubicBezTo>
                    <a:cubicBezTo>
                      <a:pt x="612" y="415"/>
                      <a:pt x="612" y="415"/>
                      <a:pt x="612" y="415"/>
                    </a:cubicBezTo>
                    <a:cubicBezTo>
                      <a:pt x="611" y="415"/>
                      <a:pt x="611" y="415"/>
                      <a:pt x="611" y="415"/>
                    </a:cubicBezTo>
                    <a:cubicBezTo>
                      <a:pt x="610" y="414"/>
                      <a:pt x="610" y="414"/>
                      <a:pt x="610" y="414"/>
                    </a:cubicBezTo>
                    <a:cubicBezTo>
                      <a:pt x="610" y="414"/>
                      <a:pt x="610" y="414"/>
                      <a:pt x="610" y="414"/>
                    </a:cubicBezTo>
                    <a:cubicBezTo>
                      <a:pt x="610" y="414"/>
                      <a:pt x="610" y="414"/>
                      <a:pt x="610" y="414"/>
                    </a:cubicBezTo>
                    <a:cubicBezTo>
                      <a:pt x="611" y="413"/>
                      <a:pt x="611" y="414"/>
                      <a:pt x="612" y="412"/>
                    </a:cubicBezTo>
                    <a:cubicBezTo>
                      <a:pt x="612" y="412"/>
                      <a:pt x="612" y="412"/>
                      <a:pt x="612" y="412"/>
                    </a:cubicBezTo>
                    <a:cubicBezTo>
                      <a:pt x="612" y="412"/>
                      <a:pt x="612" y="412"/>
                      <a:pt x="612" y="412"/>
                    </a:cubicBezTo>
                    <a:cubicBezTo>
                      <a:pt x="611" y="412"/>
                      <a:pt x="611" y="412"/>
                      <a:pt x="611" y="412"/>
                    </a:cubicBezTo>
                    <a:cubicBezTo>
                      <a:pt x="610" y="412"/>
                      <a:pt x="610" y="412"/>
                      <a:pt x="610" y="412"/>
                    </a:cubicBezTo>
                    <a:cubicBezTo>
                      <a:pt x="610" y="412"/>
                      <a:pt x="610" y="412"/>
                      <a:pt x="610" y="412"/>
                    </a:cubicBezTo>
                    <a:cubicBezTo>
                      <a:pt x="610" y="412"/>
                      <a:pt x="610" y="412"/>
                      <a:pt x="610" y="412"/>
                    </a:cubicBezTo>
                    <a:cubicBezTo>
                      <a:pt x="610" y="412"/>
                      <a:pt x="610" y="412"/>
                      <a:pt x="610" y="412"/>
                    </a:cubicBezTo>
                    <a:cubicBezTo>
                      <a:pt x="610" y="412"/>
                      <a:pt x="610" y="412"/>
                      <a:pt x="610" y="412"/>
                    </a:cubicBezTo>
                    <a:cubicBezTo>
                      <a:pt x="610" y="412"/>
                      <a:pt x="610" y="412"/>
                      <a:pt x="610" y="412"/>
                    </a:cubicBezTo>
                    <a:cubicBezTo>
                      <a:pt x="610" y="412"/>
                      <a:pt x="610" y="412"/>
                      <a:pt x="610" y="412"/>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0"/>
                    </a:cubicBezTo>
                    <a:cubicBezTo>
                      <a:pt x="609" y="410"/>
                      <a:pt x="609" y="410"/>
                      <a:pt x="609" y="410"/>
                    </a:cubicBezTo>
                    <a:cubicBezTo>
                      <a:pt x="609" y="410"/>
                      <a:pt x="609" y="410"/>
                      <a:pt x="609" y="410"/>
                    </a:cubicBezTo>
                    <a:cubicBezTo>
                      <a:pt x="609" y="410"/>
                      <a:pt x="609" y="410"/>
                      <a:pt x="609" y="410"/>
                    </a:cubicBezTo>
                    <a:cubicBezTo>
                      <a:pt x="609" y="410"/>
                      <a:pt x="609" y="410"/>
                      <a:pt x="609" y="410"/>
                    </a:cubicBezTo>
                    <a:cubicBezTo>
                      <a:pt x="609" y="410"/>
                      <a:pt x="609" y="410"/>
                      <a:pt x="609" y="410"/>
                    </a:cubicBezTo>
                    <a:cubicBezTo>
                      <a:pt x="609" y="410"/>
                      <a:pt x="609" y="410"/>
                      <a:pt x="609" y="410"/>
                    </a:cubicBezTo>
                    <a:cubicBezTo>
                      <a:pt x="609" y="410"/>
                      <a:pt x="609" y="410"/>
                      <a:pt x="609" y="410"/>
                    </a:cubicBezTo>
                    <a:cubicBezTo>
                      <a:pt x="608" y="409"/>
                      <a:pt x="608" y="409"/>
                      <a:pt x="608" y="409"/>
                    </a:cubicBezTo>
                    <a:cubicBezTo>
                      <a:pt x="609" y="408"/>
                      <a:pt x="609" y="408"/>
                      <a:pt x="609" y="408"/>
                    </a:cubicBezTo>
                    <a:cubicBezTo>
                      <a:pt x="609" y="408"/>
                      <a:pt x="609" y="408"/>
                      <a:pt x="609" y="408"/>
                    </a:cubicBezTo>
                    <a:cubicBezTo>
                      <a:pt x="609" y="408"/>
                      <a:pt x="609" y="408"/>
                      <a:pt x="609" y="408"/>
                    </a:cubicBezTo>
                    <a:cubicBezTo>
                      <a:pt x="608" y="408"/>
                      <a:pt x="608" y="408"/>
                      <a:pt x="608" y="408"/>
                    </a:cubicBezTo>
                    <a:cubicBezTo>
                      <a:pt x="607" y="408"/>
                      <a:pt x="606" y="408"/>
                      <a:pt x="605"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9"/>
                      <a:pt x="604" y="409"/>
                      <a:pt x="604" y="409"/>
                    </a:cubicBezTo>
                    <a:cubicBezTo>
                      <a:pt x="604" y="409"/>
                      <a:pt x="604" y="409"/>
                      <a:pt x="604" y="409"/>
                    </a:cubicBezTo>
                    <a:cubicBezTo>
                      <a:pt x="604" y="409"/>
                      <a:pt x="604" y="409"/>
                      <a:pt x="604"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10"/>
                      <a:pt x="606" y="410"/>
                      <a:pt x="606" y="410"/>
                    </a:cubicBezTo>
                    <a:cubicBezTo>
                      <a:pt x="606" y="410"/>
                      <a:pt x="606" y="410"/>
                      <a:pt x="606" y="410"/>
                    </a:cubicBezTo>
                    <a:cubicBezTo>
                      <a:pt x="606" y="410"/>
                      <a:pt x="606" y="410"/>
                      <a:pt x="606" y="410"/>
                    </a:cubicBezTo>
                    <a:cubicBezTo>
                      <a:pt x="606" y="410"/>
                      <a:pt x="606" y="410"/>
                      <a:pt x="606" y="410"/>
                    </a:cubicBezTo>
                    <a:cubicBezTo>
                      <a:pt x="606" y="410"/>
                      <a:pt x="606" y="410"/>
                      <a:pt x="607" y="410"/>
                    </a:cubicBezTo>
                    <a:cubicBezTo>
                      <a:pt x="607" y="410"/>
                      <a:pt x="607" y="410"/>
                      <a:pt x="607" y="410"/>
                    </a:cubicBezTo>
                    <a:cubicBezTo>
                      <a:pt x="607" y="410"/>
                      <a:pt x="607" y="410"/>
                      <a:pt x="607" y="410"/>
                    </a:cubicBezTo>
                    <a:cubicBezTo>
                      <a:pt x="607" y="410"/>
                      <a:pt x="607" y="410"/>
                      <a:pt x="607" y="410"/>
                    </a:cubicBezTo>
                    <a:cubicBezTo>
                      <a:pt x="607" y="410"/>
                      <a:pt x="607" y="410"/>
                      <a:pt x="607" y="410"/>
                    </a:cubicBezTo>
                    <a:cubicBezTo>
                      <a:pt x="607" y="410"/>
                      <a:pt x="607" y="410"/>
                      <a:pt x="607" y="410"/>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2"/>
                      <a:pt x="608" y="412"/>
                      <a:pt x="608" y="412"/>
                    </a:cubicBezTo>
                    <a:cubicBezTo>
                      <a:pt x="608" y="412"/>
                      <a:pt x="608" y="412"/>
                      <a:pt x="608" y="412"/>
                    </a:cubicBezTo>
                    <a:cubicBezTo>
                      <a:pt x="608" y="412"/>
                      <a:pt x="608" y="412"/>
                      <a:pt x="608" y="412"/>
                    </a:cubicBezTo>
                    <a:cubicBezTo>
                      <a:pt x="608" y="412"/>
                      <a:pt x="608" y="412"/>
                      <a:pt x="608" y="412"/>
                    </a:cubicBezTo>
                    <a:cubicBezTo>
                      <a:pt x="608" y="412"/>
                      <a:pt x="608" y="412"/>
                      <a:pt x="608" y="412"/>
                    </a:cubicBezTo>
                    <a:cubicBezTo>
                      <a:pt x="608" y="413"/>
                      <a:pt x="608" y="412"/>
                      <a:pt x="608" y="413"/>
                    </a:cubicBezTo>
                    <a:cubicBezTo>
                      <a:pt x="608" y="413"/>
                      <a:pt x="608" y="413"/>
                      <a:pt x="608" y="413"/>
                    </a:cubicBezTo>
                    <a:cubicBezTo>
                      <a:pt x="608" y="413"/>
                      <a:pt x="608" y="413"/>
                      <a:pt x="608" y="413"/>
                    </a:cubicBezTo>
                    <a:cubicBezTo>
                      <a:pt x="608" y="413"/>
                      <a:pt x="608" y="413"/>
                      <a:pt x="608" y="413"/>
                    </a:cubicBezTo>
                    <a:cubicBezTo>
                      <a:pt x="608" y="413"/>
                      <a:pt x="608" y="413"/>
                      <a:pt x="608" y="413"/>
                    </a:cubicBezTo>
                    <a:cubicBezTo>
                      <a:pt x="609" y="413"/>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6"/>
                      <a:pt x="608" y="416"/>
                      <a:pt x="608" y="417"/>
                    </a:cubicBezTo>
                    <a:cubicBezTo>
                      <a:pt x="608" y="417"/>
                      <a:pt x="608" y="417"/>
                      <a:pt x="608" y="417"/>
                    </a:cubicBezTo>
                    <a:cubicBezTo>
                      <a:pt x="608" y="417"/>
                      <a:pt x="608" y="417"/>
                      <a:pt x="608" y="417"/>
                    </a:cubicBezTo>
                    <a:cubicBezTo>
                      <a:pt x="608" y="417"/>
                      <a:pt x="608" y="417"/>
                      <a:pt x="608" y="417"/>
                    </a:cubicBezTo>
                    <a:cubicBezTo>
                      <a:pt x="608" y="417"/>
                      <a:pt x="608" y="417"/>
                      <a:pt x="608" y="417"/>
                    </a:cubicBezTo>
                    <a:cubicBezTo>
                      <a:pt x="608" y="418"/>
                      <a:pt x="608" y="418"/>
                      <a:pt x="608" y="418"/>
                    </a:cubicBezTo>
                    <a:cubicBezTo>
                      <a:pt x="607" y="418"/>
                      <a:pt x="607" y="418"/>
                      <a:pt x="607" y="418"/>
                    </a:cubicBezTo>
                    <a:cubicBezTo>
                      <a:pt x="607" y="418"/>
                      <a:pt x="607" y="418"/>
                      <a:pt x="607" y="418"/>
                    </a:cubicBezTo>
                    <a:cubicBezTo>
                      <a:pt x="607" y="418"/>
                      <a:pt x="607" y="418"/>
                      <a:pt x="607" y="418"/>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20"/>
                      <a:pt x="606" y="420"/>
                      <a:pt x="606" y="420"/>
                    </a:cubicBezTo>
                    <a:cubicBezTo>
                      <a:pt x="606" y="420"/>
                      <a:pt x="606" y="420"/>
                      <a:pt x="606" y="420"/>
                    </a:cubicBezTo>
                    <a:cubicBezTo>
                      <a:pt x="605" y="420"/>
                      <a:pt x="605" y="420"/>
                      <a:pt x="605" y="420"/>
                    </a:cubicBezTo>
                    <a:cubicBezTo>
                      <a:pt x="605" y="420"/>
                      <a:pt x="605" y="420"/>
                      <a:pt x="605" y="420"/>
                    </a:cubicBezTo>
                    <a:cubicBezTo>
                      <a:pt x="606" y="420"/>
                      <a:pt x="606" y="420"/>
                      <a:pt x="606" y="420"/>
                    </a:cubicBezTo>
                    <a:cubicBezTo>
                      <a:pt x="606" y="420"/>
                      <a:pt x="606" y="420"/>
                      <a:pt x="606" y="420"/>
                    </a:cubicBezTo>
                    <a:cubicBezTo>
                      <a:pt x="606" y="420"/>
                      <a:pt x="606" y="420"/>
                      <a:pt x="606" y="420"/>
                    </a:cubicBezTo>
                    <a:cubicBezTo>
                      <a:pt x="606" y="420"/>
                      <a:pt x="606" y="420"/>
                      <a:pt x="606" y="420"/>
                    </a:cubicBezTo>
                    <a:cubicBezTo>
                      <a:pt x="606" y="420"/>
                      <a:pt x="606" y="420"/>
                      <a:pt x="606" y="420"/>
                    </a:cubicBezTo>
                    <a:cubicBezTo>
                      <a:pt x="606" y="420"/>
                      <a:pt x="606" y="420"/>
                      <a:pt x="606" y="420"/>
                    </a:cubicBezTo>
                    <a:cubicBezTo>
                      <a:pt x="605" y="420"/>
                      <a:pt x="605" y="421"/>
                      <a:pt x="605" y="421"/>
                    </a:cubicBezTo>
                    <a:cubicBezTo>
                      <a:pt x="605" y="421"/>
                      <a:pt x="605" y="421"/>
                      <a:pt x="605" y="421"/>
                    </a:cubicBezTo>
                    <a:cubicBezTo>
                      <a:pt x="605" y="421"/>
                      <a:pt x="605" y="421"/>
                      <a:pt x="605" y="421"/>
                    </a:cubicBezTo>
                    <a:cubicBezTo>
                      <a:pt x="605" y="422"/>
                      <a:pt x="605" y="422"/>
                      <a:pt x="604" y="422"/>
                    </a:cubicBezTo>
                    <a:cubicBezTo>
                      <a:pt x="604" y="422"/>
                      <a:pt x="604" y="422"/>
                      <a:pt x="604" y="422"/>
                    </a:cubicBezTo>
                    <a:cubicBezTo>
                      <a:pt x="604" y="422"/>
                      <a:pt x="604" y="422"/>
                      <a:pt x="604" y="422"/>
                    </a:cubicBezTo>
                    <a:cubicBezTo>
                      <a:pt x="604" y="423"/>
                      <a:pt x="604" y="423"/>
                      <a:pt x="604" y="423"/>
                    </a:cubicBezTo>
                    <a:cubicBezTo>
                      <a:pt x="604" y="423"/>
                      <a:pt x="604" y="423"/>
                      <a:pt x="604" y="423"/>
                    </a:cubicBezTo>
                    <a:cubicBezTo>
                      <a:pt x="604" y="423"/>
                      <a:pt x="604" y="423"/>
                      <a:pt x="604" y="423"/>
                    </a:cubicBezTo>
                    <a:cubicBezTo>
                      <a:pt x="604" y="423"/>
                      <a:pt x="604" y="423"/>
                      <a:pt x="604" y="423"/>
                    </a:cubicBezTo>
                    <a:cubicBezTo>
                      <a:pt x="604" y="423"/>
                      <a:pt x="604" y="423"/>
                      <a:pt x="604" y="423"/>
                    </a:cubicBezTo>
                    <a:cubicBezTo>
                      <a:pt x="604" y="424"/>
                      <a:pt x="604" y="424"/>
                      <a:pt x="604" y="424"/>
                    </a:cubicBezTo>
                    <a:cubicBezTo>
                      <a:pt x="604" y="424"/>
                      <a:pt x="604" y="424"/>
                      <a:pt x="604" y="424"/>
                    </a:cubicBezTo>
                    <a:cubicBezTo>
                      <a:pt x="604" y="424"/>
                      <a:pt x="604" y="424"/>
                      <a:pt x="604" y="424"/>
                    </a:cubicBezTo>
                    <a:cubicBezTo>
                      <a:pt x="604" y="424"/>
                      <a:pt x="604" y="424"/>
                      <a:pt x="604" y="424"/>
                    </a:cubicBezTo>
                    <a:cubicBezTo>
                      <a:pt x="604" y="424"/>
                      <a:pt x="604" y="424"/>
                      <a:pt x="604" y="424"/>
                    </a:cubicBezTo>
                    <a:cubicBezTo>
                      <a:pt x="604" y="426"/>
                      <a:pt x="604" y="427"/>
                      <a:pt x="604" y="429"/>
                    </a:cubicBezTo>
                    <a:cubicBezTo>
                      <a:pt x="604" y="429"/>
                      <a:pt x="604" y="429"/>
                      <a:pt x="604" y="429"/>
                    </a:cubicBezTo>
                    <a:cubicBezTo>
                      <a:pt x="603" y="430"/>
                      <a:pt x="603" y="430"/>
                      <a:pt x="603" y="430"/>
                    </a:cubicBezTo>
                    <a:cubicBezTo>
                      <a:pt x="597" y="436"/>
                      <a:pt x="597" y="436"/>
                      <a:pt x="597" y="436"/>
                    </a:cubicBezTo>
                    <a:cubicBezTo>
                      <a:pt x="597" y="436"/>
                      <a:pt x="597" y="436"/>
                      <a:pt x="597" y="436"/>
                    </a:cubicBezTo>
                    <a:cubicBezTo>
                      <a:pt x="597" y="437"/>
                      <a:pt x="596" y="438"/>
                      <a:pt x="596" y="439"/>
                    </a:cubicBezTo>
                    <a:cubicBezTo>
                      <a:pt x="595" y="442"/>
                      <a:pt x="595" y="442"/>
                      <a:pt x="595" y="442"/>
                    </a:cubicBezTo>
                    <a:cubicBezTo>
                      <a:pt x="595" y="442"/>
                      <a:pt x="595" y="442"/>
                      <a:pt x="595" y="442"/>
                    </a:cubicBezTo>
                    <a:cubicBezTo>
                      <a:pt x="595" y="442"/>
                      <a:pt x="595" y="442"/>
                      <a:pt x="595" y="442"/>
                    </a:cubicBezTo>
                    <a:cubicBezTo>
                      <a:pt x="595" y="442"/>
                      <a:pt x="596" y="442"/>
                      <a:pt x="596" y="442"/>
                    </a:cubicBezTo>
                    <a:cubicBezTo>
                      <a:pt x="597" y="442"/>
                      <a:pt x="597" y="442"/>
                      <a:pt x="597" y="442"/>
                    </a:cubicBezTo>
                    <a:cubicBezTo>
                      <a:pt x="597" y="443"/>
                      <a:pt x="597" y="443"/>
                      <a:pt x="597" y="443"/>
                    </a:cubicBezTo>
                    <a:cubicBezTo>
                      <a:pt x="597" y="443"/>
                      <a:pt x="597" y="443"/>
                      <a:pt x="597" y="443"/>
                    </a:cubicBezTo>
                    <a:cubicBezTo>
                      <a:pt x="597" y="443"/>
                      <a:pt x="597" y="443"/>
                      <a:pt x="597" y="443"/>
                    </a:cubicBezTo>
                    <a:cubicBezTo>
                      <a:pt x="597" y="443"/>
                      <a:pt x="597" y="443"/>
                      <a:pt x="597" y="443"/>
                    </a:cubicBezTo>
                    <a:cubicBezTo>
                      <a:pt x="597" y="443"/>
                      <a:pt x="597" y="443"/>
                      <a:pt x="597" y="443"/>
                    </a:cubicBezTo>
                    <a:cubicBezTo>
                      <a:pt x="597" y="444"/>
                      <a:pt x="597" y="444"/>
                      <a:pt x="597" y="444"/>
                    </a:cubicBezTo>
                    <a:cubicBezTo>
                      <a:pt x="597" y="444"/>
                      <a:pt x="597" y="444"/>
                      <a:pt x="597" y="444"/>
                    </a:cubicBezTo>
                    <a:cubicBezTo>
                      <a:pt x="597" y="444"/>
                      <a:pt x="597" y="444"/>
                      <a:pt x="597" y="444"/>
                    </a:cubicBezTo>
                    <a:cubicBezTo>
                      <a:pt x="597" y="445"/>
                      <a:pt x="597" y="445"/>
                      <a:pt x="597" y="445"/>
                    </a:cubicBezTo>
                    <a:cubicBezTo>
                      <a:pt x="597" y="445"/>
                      <a:pt x="597" y="445"/>
                      <a:pt x="597" y="445"/>
                    </a:cubicBezTo>
                    <a:cubicBezTo>
                      <a:pt x="596" y="445"/>
                      <a:pt x="596" y="445"/>
                      <a:pt x="596" y="445"/>
                    </a:cubicBezTo>
                    <a:cubicBezTo>
                      <a:pt x="596" y="445"/>
                      <a:pt x="596" y="445"/>
                      <a:pt x="596" y="445"/>
                    </a:cubicBezTo>
                    <a:cubicBezTo>
                      <a:pt x="595" y="445"/>
                      <a:pt x="593" y="444"/>
                      <a:pt x="591" y="445"/>
                    </a:cubicBezTo>
                    <a:cubicBezTo>
                      <a:pt x="591" y="445"/>
                      <a:pt x="591" y="445"/>
                      <a:pt x="591" y="445"/>
                    </a:cubicBezTo>
                    <a:cubicBezTo>
                      <a:pt x="590" y="445"/>
                      <a:pt x="590" y="445"/>
                      <a:pt x="590" y="445"/>
                    </a:cubicBezTo>
                    <a:cubicBezTo>
                      <a:pt x="590" y="445"/>
                      <a:pt x="590" y="446"/>
                      <a:pt x="590" y="446"/>
                    </a:cubicBezTo>
                    <a:cubicBezTo>
                      <a:pt x="590" y="446"/>
                      <a:pt x="590" y="446"/>
                      <a:pt x="590" y="446"/>
                    </a:cubicBezTo>
                    <a:cubicBezTo>
                      <a:pt x="590" y="447"/>
                      <a:pt x="590" y="447"/>
                      <a:pt x="590" y="447"/>
                    </a:cubicBezTo>
                    <a:cubicBezTo>
                      <a:pt x="590" y="447"/>
                      <a:pt x="590" y="447"/>
                      <a:pt x="590" y="447"/>
                    </a:cubicBezTo>
                    <a:cubicBezTo>
                      <a:pt x="590" y="447"/>
                      <a:pt x="590" y="447"/>
                      <a:pt x="590" y="447"/>
                    </a:cubicBezTo>
                    <a:cubicBezTo>
                      <a:pt x="590" y="447"/>
                      <a:pt x="590" y="448"/>
                      <a:pt x="590" y="448"/>
                    </a:cubicBezTo>
                    <a:cubicBezTo>
                      <a:pt x="590" y="448"/>
                      <a:pt x="591" y="448"/>
                      <a:pt x="591" y="448"/>
                    </a:cubicBezTo>
                    <a:cubicBezTo>
                      <a:pt x="591" y="448"/>
                      <a:pt x="591" y="448"/>
                      <a:pt x="591" y="448"/>
                    </a:cubicBezTo>
                    <a:cubicBezTo>
                      <a:pt x="591" y="448"/>
                      <a:pt x="591" y="448"/>
                      <a:pt x="591" y="448"/>
                    </a:cubicBezTo>
                    <a:cubicBezTo>
                      <a:pt x="591" y="448"/>
                      <a:pt x="591" y="448"/>
                      <a:pt x="591" y="448"/>
                    </a:cubicBezTo>
                    <a:cubicBezTo>
                      <a:pt x="591" y="448"/>
                      <a:pt x="591" y="448"/>
                      <a:pt x="591" y="448"/>
                    </a:cubicBezTo>
                    <a:cubicBezTo>
                      <a:pt x="593" y="449"/>
                      <a:pt x="594" y="448"/>
                      <a:pt x="595" y="448"/>
                    </a:cubicBezTo>
                    <a:cubicBezTo>
                      <a:pt x="595" y="448"/>
                      <a:pt x="595" y="448"/>
                      <a:pt x="595" y="448"/>
                    </a:cubicBezTo>
                    <a:cubicBezTo>
                      <a:pt x="596" y="448"/>
                      <a:pt x="596" y="448"/>
                      <a:pt x="596" y="448"/>
                    </a:cubicBezTo>
                    <a:cubicBezTo>
                      <a:pt x="596" y="448"/>
                      <a:pt x="596" y="448"/>
                      <a:pt x="596" y="448"/>
                    </a:cubicBezTo>
                    <a:cubicBezTo>
                      <a:pt x="596" y="449"/>
                      <a:pt x="596" y="449"/>
                      <a:pt x="596" y="449"/>
                    </a:cubicBezTo>
                    <a:cubicBezTo>
                      <a:pt x="596" y="449"/>
                      <a:pt x="596" y="449"/>
                      <a:pt x="596" y="449"/>
                    </a:cubicBezTo>
                    <a:cubicBezTo>
                      <a:pt x="596" y="449"/>
                      <a:pt x="596" y="449"/>
                      <a:pt x="596" y="449"/>
                    </a:cubicBezTo>
                    <a:cubicBezTo>
                      <a:pt x="596" y="449"/>
                      <a:pt x="596" y="449"/>
                      <a:pt x="596" y="449"/>
                    </a:cubicBezTo>
                    <a:cubicBezTo>
                      <a:pt x="596" y="449"/>
                      <a:pt x="596" y="449"/>
                      <a:pt x="596" y="449"/>
                    </a:cubicBezTo>
                    <a:cubicBezTo>
                      <a:pt x="596" y="449"/>
                      <a:pt x="596" y="449"/>
                      <a:pt x="596" y="449"/>
                    </a:cubicBezTo>
                    <a:cubicBezTo>
                      <a:pt x="596" y="448"/>
                      <a:pt x="596" y="448"/>
                      <a:pt x="596" y="448"/>
                    </a:cubicBezTo>
                    <a:cubicBezTo>
                      <a:pt x="597" y="447"/>
                      <a:pt x="598" y="447"/>
                      <a:pt x="599" y="446"/>
                    </a:cubicBezTo>
                    <a:cubicBezTo>
                      <a:pt x="599" y="446"/>
                      <a:pt x="599" y="446"/>
                      <a:pt x="600" y="446"/>
                    </a:cubicBezTo>
                    <a:cubicBezTo>
                      <a:pt x="600" y="446"/>
                      <a:pt x="600" y="446"/>
                      <a:pt x="600" y="446"/>
                    </a:cubicBezTo>
                    <a:cubicBezTo>
                      <a:pt x="600" y="446"/>
                      <a:pt x="600" y="446"/>
                      <a:pt x="600" y="446"/>
                    </a:cubicBezTo>
                    <a:cubicBezTo>
                      <a:pt x="600" y="445"/>
                      <a:pt x="600" y="445"/>
                      <a:pt x="600" y="445"/>
                    </a:cubicBezTo>
                    <a:cubicBezTo>
                      <a:pt x="601" y="445"/>
                      <a:pt x="601" y="445"/>
                      <a:pt x="601" y="445"/>
                    </a:cubicBezTo>
                    <a:cubicBezTo>
                      <a:pt x="601" y="445"/>
                      <a:pt x="601" y="445"/>
                      <a:pt x="601" y="445"/>
                    </a:cubicBezTo>
                    <a:cubicBezTo>
                      <a:pt x="602" y="444"/>
                      <a:pt x="603" y="444"/>
                      <a:pt x="604" y="443"/>
                    </a:cubicBezTo>
                    <a:cubicBezTo>
                      <a:pt x="604" y="443"/>
                      <a:pt x="605" y="442"/>
                      <a:pt x="605" y="442"/>
                    </a:cubicBezTo>
                    <a:cubicBezTo>
                      <a:pt x="605" y="442"/>
                      <a:pt x="605" y="442"/>
                      <a:pt x="605" y="442"/>
                    </a:cubicBezTo>
                    <a:cubicBezTo>
                      <a:pt x="606" y="442"/>
                      <a:pt x="606" y="442"/>
                      <a:pt x="606" y="442"/>
                    </a:cubicBezTo>
                    <a:cubicBezTo>
                      <a:pt x="606" y="441"/>
                      <a:pt x="607" y="441"/>
                      <a:pt x="607" y="441"/>
                    </a:cubicBezTo>
                    <a:cubicBezTo>
                      <a:pt x="608" y="441"/>
                      <a:pt x="608" y="441"/>
                      <a:pt x="608" y="441"/>
                    </a:cubicBezTo>
                    <a:cubicBezTo>
                      <a:pt x="608" y="441"/>
                      <a:pt x="608" y="441"/>
                      <a:pt x="608" y="441"/>
                    </a:cubicBezTo>
                    <a:cubicBezTo>
                      <a:pt x="610" y="440"/>
                      <a:pt x="611" y="440"/>
                      <a:pt x="612" y="441"/>
                    </a:cubicBezTo>
                    <a:cubicBezTo>
                      <a:pt x="613" y="441"/>
                      <a:pt x="615" y="441"/>
                      <a:pt x="616" y="441"/>
                    </a:cubicBezTo>
                    <a:cubicBezTo>
                      <a:pt x="616" y="441"/>
                      <a:pt x="616" y="441"/>
                      <a:pt x="616" y="441"/>
                    </a:cubicBezTo>
                    <a:cubicBezTo>
                      <a:pt x="616" y="441"/>
                      <a:pt x="616" y="441"/>
                      <a:pt x="616" y="441"/>
                    </a:cubicBezTo>
                    <a:cubicBezTo>
                      <a:pt x="616" y="441"/>
                      <a:pt x="616" y="441"/>
                      <a:pt x="616" y="441"/>
                    </a:cubicBezTo>
                    <a:cubicBezTo>
                      <a:pt x="616" y="441"/>
                      <a:pt x="616" y="441"/>
                      <a:pt x="616" y="441"/>
                    </a:cubicBezTo>
                    <a:cubicBezTo>
                      <a:pt x="617" y="441"/>
                      <a:pt x="618" y="441"/>
                      <a:pt x="618" y="441"/>
                    </a:cubicBezTo>
                    <a:cubicBezTo>
                      <a:pt x="618" y="441"/>
                      <a:pt x="618" y="441"/>
                      <a:pt x="618" y="441"/>
                    </a:cubicBezTo>
                    <a:cubicBezTo>
                      <a:pt x="618" y="441"/>
                      <a:pt x="618" y="441"/>
                      <a:pt x="618" y="441"/>
                    </a:cubicBezTo>
                    <a:cubicBezTo>
                      <a:pt x="618" y="441"/>
                      <a:pt x="619" y="441"/>
                      <a:pt x="619" y="442"/>
                    </a:cubicBezTo>
                    <a:cubicBezTo>
                      <a:pt x="619" y="442"/>
                      <a:pt x="620" y="442"/>
                      <a:pt x="621" y="442"/>
                    </a:cubicBezTo>
                    <a:cubicBezTo>
                      <a:pt x="620" y="442"/>
                      <a:pt x="620" y="442"/>
                      <a:pt x="620" y="442"/>
                    </a:cubicBezTo>
                    <a:cubicBezTo>
                      <a:pt x="620" y="441"/>
                      <a:pt x="619" y="441"/>
                      <a:pt x="618" y="441"/>
                    </a:cubicBezTo>
                    <a:cubicBezTo>
                      <a:pt x="618" y="441"/>
                      <a:pt x="618" y="441"/>
                      <a:pt x="618" y="441"/>
                    </a:cubicBezTo>
                    <a:cubicBezTo>
                      <a:pt x="618" y="441"/>
                      <a:pt x="618" y="441"/>
                      <a:pt x="618" y="441"/>
                    </a:cubicBezTo>
                    <a:cubicBezTo>
                      <a:pt x="618" y="441"/>
                      <a:pt x="618" y="441"/>
                      <a:pt x="618" y="441"/>
                    </a:cubicBezTo>
                    <a:cubicBezTo>
                      <a:pt x="618" y="441"/>
                      <a:pt x="618" y="441"/>
                      <a:pt x="618" y="441"/>
                    </a:cubicBezTo>
                    <a:cubicBezTo>
                      <a:pt x="618" y="441"/>
                      <a:pt x="618" y="441"/>
                      <a:pt x="618" y="441"/>
                    </a:cubicBezTo>
                    <a:cubicBezTo>
                      <a:pt x="618" y="441"/>
                      <a:pt x="618" y="441"/>
                      <a:pt x="618" y="441"/>
                    </a:cubicBezTo>
                    <a:cubicBezTo>
                      <a:pt x="617" y="441"/>
                      <a:pt x="617" y="441"/>
                      <a:pt x="617" y="441"/>
                    </a:cubicBezTo>
                    <a:cubicBezTo>
                      <a:pt x="617" y="441"/>
                      <a:pt x="617" y="441"/>
                      <a:pt x="617" y="441"/>
                    </a:cubicBezTo>
                    <a:cubicBezTo>
                      <a:pt x="617" y="441"/>
                      <a:pt x="617" y="441"/>
                      <a:pt x="617" y="441"/>
                    </a:cubicBezTo>
                    <a:cubicBezTo>
                      <a:pt x="617" y="441"/>
                      <a:pt x="617" y="441"/>
                      <a:pt x="617" y="441"/>
                    </a:cubicBezTo>
                    <a:cubicBezTo>
                      <a:pt x="618" y="441"/>
                      <a:pt x="618" y="441"/>
                      <a:pt x="618" y="441"/>
                    </a:cubicBezTo>
                    <a:cubicBezTo>
                      <a:pt x="618" y="440"/>
                      <a:pt x="618" y="440"/>
                      <a:pt x="618" y="440"/>
                    </a:cubicBezTo>
                    <a:cubicBezTo>
                      <a:pt x="618" y="440"/>
                      <a:pt x="618" y="440"/>
                      <a:pt x="618" y="440"/>
                    </a:cubicBezTo>
                    <a:cubicBezTo>
                      <a:pt x="619" y="440"/>
                      <a:pt x="619" y="440"/>
                      <a:pt x="620" y="440"/>
                    </a:cubicBezTo>
                    <a:cubicBezTo>
                      <a:pt x="622" y="438"/>
                      <a:pt x="622" y="438"/>
                      <a:pt x="622" y="438"/>
                    </a:cubicBezTo>
                    <a:cubicBezTo>
                      <a:pt x="624" y="438"/>
                      <a:pt x="624" y="438"/>
                      <a:pt x="624" y="438"/>
                    </a:cubicBezTo>
                    <a:cubicBezTo>
                      <a:pt x="627" y="438"/>
                      <a:pt x="629" y="438"/>
                      <a:pt x="632" y="437"/>
                    </a:cubicBezTo>
                    <a:cubicBezTo>
                      <a:pt x="632" y="436"/>
                      <a:pt x="632" y="436"/>
                      <a:pt x="631" y="435"/>
                    </a:cubicBezTo>
                    <a:cubicBezTo>
                      <a:pt x="631" y="435"/>
                      <a:pt x="631" y="435"/>
                      <a:pt x="631" y="435"/>
                    </a:cubicBezTo>
                    <a:cubicBezTo>
                      <a:pt x="631" y="434"/>
                      <a:pt x="631" y="434"/>
                      <a:pt x="631" y="434"/>
                    </a:cubicBezTo>
                    <a:cubicBezTo>
                      <a:pt x="631" y="434"/>
                      <a:pt x="631" y="434"/>
                      <a:pt x="631" y="434"/>
                    </a:cubicBezTo>
                    <a:cubicBezTo>
                      <a:pt x="631" y="433"/>
                      <a:pt x="631" y="433"/>
                      <a:pt x="631" y="433"/>
                    </a:cubicBezTo>
                    <a:cubicBezTo>
                      <a:pt x="627" y="433"/>
                      <a:pt x="627" y="433"/>
                      <a:pt x="627" y="433"/>
                    </a:cubicBezTo>
                    <a:cubicBezTo>
                      <a:pt x="627" y="434"/>
                      <a:pt x="627" y="434"/>
                      <a:pt x="627" y="434"/>
                    </a:cubicBezTo>
                    <a:cubicBezTo>
                      <a:pt x="626" y="434"/>
                      <a:pt x="626" y="434"/>
                      <a:pt x="626" y="434"/>
                    </a:cubicBezTo>
                    <a:cubicBezTo>
                      <a:pt x="626" y="434"/>
                      <a:pt x="626" y="434"/>
                      <a:pt x="626" y="434"/>
                    </a:cubicBezTo>
                    <a:cubicBezTo>
                      <a:pt x="626" y="433"/>
                      <a:pt x="625" y="433"/>
                      <a:pt x="625" y="433"/>
                    </a:cubicBezTo>
                    <a:cubicBezTo>
                      <a:pt x="625" y="433"/>
                      <a:pt x="625" y="433"/>
                      <a:pt x="625" y="433"/>
                    </a:cubicBezTo>
                    <a:cubicBezTo>
                      <a:pt x="625" y="433"/>
                      <a:pt x="625" y="433"/>
                      <a:pt x="625" y="433"/>
                    </a:cubicBezTo>
                    <a:cubicBezTo>
                      <a:pt x="624" y="433"/>
                      <a:pt x="624" y="433"/>
                      <a:pt x="624" y="432"/>
                    </a:cubicBezTo>
                    <a:cubicBezTo>
                      <a:pt x="624" y="432"/>
                      <a:pt x="624" y="432"/>
                      <a:pt x="624" y="432"/>
                    </a:cubicBezTo>
                    <a:cubicBezTo>
                      <a:pt x="624" y="432"/>
                      <a:pt x="624" y="432"/>
                      <a:pt x="624" y="432"/>
                    </a:cubicBezTo>
                    <a:cubicBezTo>
                      <a:pt x="624" y="432"/>
                      <a:pt x="624" y="432"/>
                      <a:pt x="624" y="432"/>
                    </a:cubicBezTo>
                    <a:cubicBezTo>
                      <a:pt x="624" y="432"/>
                      <a:pt x="624" y="432"/>
                      <a:pt x="624" y="432"/>
                    </a:cubicBezTo>
                    <a:cubicBezTo>
                      <a:pt x="624" y="432"/>
                      <a:pt x="624" y="432"/>
                      <a:pt x="624" y="432"/>
                    </a:cubicBezTo>
                    <a:cubicBezTo>
                      <a:pt x="625" y="431"/>
                      <a:pt x="625" y="431"/>
                      <a:pt x="625" y="431"/>
                    </a:cubicBezTo>
                    <a:cubicBezTo>
                      <a:pt x="625" y="431"/>
                      <a:pt x="625" y="431"/>
                      <a:pt x="625" y="431"/>
                    </a:cubicBezTo>
                    <a:cubicBezTo>
                      <a:pt x="625" y="431"/>
                      <a:pt x="625" y="431"/>
                      <a:pt x="625" y="431"/>
                    </a:cubicBezTo>
                    <a:cubicBezTo>
                      <a:pt x="626" y="430"/>
                      <a:pt x="626" y="430"/>
                      <a:pt x="626" y="430"/>
                    </a:cubicBezTo>
                    <a:cubicBezTo>
                      <a:pt x="625" y="429"/>
                      <a:pt x="625" y="429"/>
                      <a:pt x="625" y="428"/>
                    </a:cubicBezTo>
                    <a:cubicBezTo>
                      <a:pt x="625" y="426"/>
                      <a:pt x="626" y="425"/>
                      <a:pt x="628" y="425"/>
                    </a:cubicBezTo>
                    <a:cubicBezTo>
                      <a:pt x="629" y="425"/>
                      <a:pt x="630" y="426"/>
                      <a:pt x="630" y="427"/>
                    </a:cubicBezTo>
                    <a:cubicBezTo>
                      <a:pt x="630" y="427"/>
                      <a:pt x="630" y="427"/>
                      <a:pt x="630" y="427"/>
                    </a:cubicBezTo>
                    <a:cubicBezTo>
                      <a:pt x="630" y="426"/>
                      <a:pt x="630" y="426"/>
                      <a:pt x="630" y="426"/>
                    </a:cubicBezTo>
                    <a:cubicBezTo>
                      <a:pt x="631" y="426"/>
                      <a:pt x="631" y="426"/>
                      <a:pt x="631" y="426"/>
                    </a:cubicBezTo>
                    <a:cubicBezTo>
                      <a:pt x="631" y="426"/>
                      <a:pt x="631" y="426"/>
                      <a:pt x="631" y="426"/>
                    </a:cubicBezTo>
                    <a:cubicBezTo>
                      <a:pt x="631" y="426"/>
                      <a:pt x="631" y="426"/>
                      <a:pt x="631" y="426"/>
                    </a:cubicBezTo>
                    <a:cubicBezTo>
                      <a:pt x="631" y="426"/>
                      <a:pt x="631" y="426"/>
                      <a:pt x="631" y="426"/>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6" y="424"/>
                      <a:pt x="646" y="424"/>
                      <a:pt x="646" y="424"/>
                    </a:cubicBezTo>
                    <a:cubicBezTo>
                      <a:pt x="646" y="424"/>
                      <a:pt x="646" y="424"/>
                      <a:pt x="646" y="424"/>
                    </a:cubicBezTo>
                    <a:cubicBezTo>
                      <a:pt x="646" y="424"/>
                      <a:pt x="646" y="424"/>
                      <a:pt x="646" y="424"/>
                    </a:cubicBezTo>
                    <a:cubicBezTo>
                      <a:pt x="646" y="424"/>
                      <a:pt x="646" y="424"/>
                      <a:pt x="646" y="424"/>
                    </a:cubicBezTo>
                    <a:cubicBezTo>
                      <a:pt x="646" y="424"/>
                      <a:pt x="646" y="424"/>
                      <a:pt x="646" y="424"/>
                    </a:cubicBezTo>
                    <a:cubicBezTo>
                      <a:pt x="646" y="423"/>
                      <a:pt x="646" y="423"/>
                      <a:pt x="646" y="423"/>
                    </a:cubicBezTo>
                    <a:cubicBezTo>
                      <a:pt x="647" y="423"/>
                      <a:pt x="647" y="423"/>
                      <a:pt x="647" y="423"/>
                    </a:cubicBezTo>
                    <a:cubicBezTo>
                      <a:pt x="647" y="423"/>
                      <a:pt x="647" y="423"/>
                      <a:pt x="647" y="423"/>
                    </a:cubicBezTo>
                    <a:cubicBezTo>
                      <a:pt x="646" y="423"/>
                      <a:pt x="646" y="423"/>
                      <a:pt x="646" y="423"/>
                    </a:cubicBezTo>
                    <a:cubicBezTo>
                      <a:pt x="646" y="423"/>
                      <a:pt x="646" y="423"/>
                      <a:pt x="646" y="423"/>
                    </a:cubicBezTo>
                    <a:cubicBezTo>
                      <a:pt x="646" y="423"/>
                      <a:pt x="646" y="423"/>
                      <a:pt x="646" y="423"/>
                    </a:cubicBezTo>
                    <a:cubicBezTo>
                      <a:pt x="646" y="423"/>
                      <a:pt x="646" y="423"/>
                      <a:pt x="646" y="423"/>
                    </a:cubicBezTo>
                    <a:cubicBezTo>
                      <a:pt x="646" y="422"/>
                      <a:pt x="647" y="422"/>
                      <a:pt x="647" y="422"/>
                    </a:cubicBezTo>
                    <a:cubicBezTo>
                      <a:pt x="647" y="422"/>
                      <a:pt x="647" y="422"/>
                      <a:pt x="647" y="422"/>
                    </a:cubicBezTo>
                    <a:cubicBezTo>
                      <a:pt x="647" y="422"/>
                      <a:pt x="647" y="422"/>
                      <a:pt x="647" y="422"/>
                    </a:cubicBezTo>
                    <a:cubicBezTo>
                      <a:pt x="648"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50" y="422"/>
                      <a:pt x="650" y="422"/>
                      <a:pt x="650" y="422"/>
                    </a:cubicBezTo>
                    <a:cubicBezTo>
                      <a:pt x="650" y="422"/>
                      <a:pt x="650" y="422"/>
                      <a:pt x="650" y="422"/>
                    </a:cubicBezTo>
                    <a:cubicBezTo>
                      <a:pt x="650" y="422"/>
                      <a:pt x="650" y="422"/>
                      <a:pt x="650" y="422"/>
                    </a:cubicBezTo>
                    <a:cubicBezTo>
                      <a:pt x="650" y="422"/>
                      <a:pt x="651" y="422"/>
                      <a:pt x="651" y="422"/>
                    </a:cubicBezTo>
                    <a:cubicBezTo>
                      <a:pt x="651" y="422"/>
                      <a:pt x="651" y="422"/>
                      <a:pt x="651" y="422"/>
                    </a:cubicBezTo>
                    <a:cubicBezTo>
                      <a:pt x="651" y="422"/>
                      <a:pt x="651" y="422"/>
                      <a:pt x="651" y="422"/>
                    </a:cubicBezTo>
                    <a:cubicBezTo>
                      <a:pt x="651" y="422"/>
                      <a:pt x="651" y="422"/>
                      <a:pt x="651" y="422"/>
                    </a:cubicBezTo>
                    <a:cubicBezTo>
                      <a:pt x="651" y="422"/>
                      <a:pt x="651" y="422"/>
                      <a:pt x="651" y="422"/>
                    </a:cubicBezTo>
                    <a:cubicBezTo>
                      <a:pt x="651" y="422"/>
                      <a:pt x="651" y="422"/>
                      <a:pt x="651" y="422"/>
                    </a:cubicBezTo>
                    <a:cubicBezTo>
                      <a:pt x="651" y="422"/>
                      <a:pt x="651" y="422"/>
                      <a:pt x="652" y="421"/>
                    </a:cubicBezTo>
                    <a:cubicBezTo>
                      <a:pt x="652" y="421"/>
                      <a:pt x="652" y="421"/>
                      <a:pt x="652" y="421"/>
                    </a:cubicBezTo>
                    <a:cubicBezTo>
                      <a:pt x="652" y="421"/>
                      <a:pt x="652" y="421"/>
                      <a:pt x="652" y="421"/>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3" y="423"/>
                      <a:pt x="653" y="423"/>
                      <a:pt x="653" y="423"/>
                    </a:cubicBezTo>
                    <a:cubicBezTo>
                      <a:pt x="654" y="422"/>
                      <a:pt x="654" y="422"/>
                      <a:pt x="654" y="422"/>
                    </a:cubicBezTo>
                    <a:cubicBezTo>
                      <a:pt x="654" y="422"/>
                      <a:pt x="654" y="422"/>
                      <a:pt x="654" y="422"/>
                    </a:cubicBezTo>
                    <a:cubicBezTo>
                      <a:pt x="654" y="422"/>
                      <a:pt x="654" y="422"/>
                      <a:pt x="654" y="422"/>
                    </a:cubicBezTo>
                    <a:cubicBezTo>
                      <a:pt x="654" y="422"/>
                      <a:pt x="654" y="422"/>
                      <a:pt x="654" y="422"/>
                    </a:cubicBezTo>
                    <a:cubicBezTo>
                      <a:pt x="662" y="419"/>
                      <a:pt x="662" y="419"/>
                      <a:pt x="662" y="419"/>
                    </a:cubicBezTo>
                    <a:cubicBezTo>
                      <a:pt x="662" y="418"/>
                      <a:pt x="662" y="418"/>
                      <a:pt x="662" y="418"/>
                    </a:cubicBezTo>
                    <a:cubicBezTo>
                      <a:pt x="662" y="418"/>
                      <a:pt x="662" y="418"/>
                      <a:pt x="662" y="418"/>
                    </a:cubicBezTo>
                    <a:cubicBezTo>
                      <a:pt x="663" y="417"/>
                      <a:pt x="664" y="417"/>
                      <a:pt x="665" y="416"/>
                    </a:cubicBezTo>
                    <a:cubicBezTo>
                      <a:pt x="665" y="416"/>
                      <a:pt x="666" y="415"/>
                      <a:pt x="667" y="414"/>
                    </a:cubicBezTo>
                    <a:cubicBezTo>
                      <a:pt x="667" y="414"/>
                      <a:pt x="667" y="414"/>
                      <a:pt x="667" y="414"/>
                    </a:cubicBezTo>
                    <a:cubicBezTo>
                      <a:pt x="668" y="414"/>
                      <a:pt x="669" y="413"/>
                      <a:pt x="669" y="413"/>
                    </a:cubicBezTo>
                    <a:cubicBezTo>
                      <a:pt x="671" y="411"/>
                      <a:pt x="674" y="410"/>
                      <a:pt x="678" y="410"/>
                    </a:cubicBezTo>
                    <a:cubicBezTo>
                      <a:pt x="682" y="410"/>
                      <a:pt x="704" y="410"/>
                      <a:pt x="708" y="410"/>
                    </a:cubicBezTo>
                    <a:cubicBezTo>
                      <a:pt x="709" y="408"/>
                      <a:pt x="709" y="407"/>
                      <a:pt x="710" y="406"/>
                    </a:cubicBezTo>
                    <a:cubicBezTo>
                      <a:pt x="711" y="406"/>
                      <a:pt x="713" y="406"/>
                      <a:pt x="714" y="406"/>
                    </a:cubicBezTo>
                    <a:cubicBezTo>
                      <a:pt x="715" y="407"/>
                      <a:pt x="716" y="407"/>
                      <a:pt x="717" y="405"/>
                    </a:cubicBezTo>
                    <a:cubicBezTo>
                      <a:pt x="718" y="403"/>
                      <a:pt x="720" y="401"/>
                      <a:pt x="721" y="400"/>
                    </a:cubicBezTo>
                    <a:cubicBezTo>
                      <a:pt x="721" y="399"/>
                      <a:pt x="721" y="399"/>
                      <a:pt x="721" y="399"/>
                    </a:cubicBezTo>
                    <a:cubicBezTo>
                      <a:pt x="720" y="398"/>
                      <a:pt x="721" y="397"/>
                      <a:pt x="724" y="391"/>
                    </a:cubicBezTo>
                    <a:cubicBezTo>
                      <a:pt x="724" y="391"/>
                      <a:pt x="724" y="391"/>
                      <a:pt x="724" y="391"/>
                    </a:cubicBezTo>
                    <a:cubicBezTo>
                      <a:pt x="726" y="388"/>
                      <a:pt x="730" y="381"/>
                      <a:pt x="730" y="380"/>
                    </a:cubicBezTo>
                    <a:cubicBezTo>
                      <a:pt x="730" y="380"/>
                      <a:pt x="731" y="379"/>
                      <a:pt x="732" y="379"/>
                    </a:cubicBezTo>
                    <a:cubicBezTo>
                      <a:pt x="732" y="378"/>
                      <a:pt x="733" y="378"/>
                      <a:pt x="734" y="379"/>
                    </a:cubicBezTo>
                    <a:cubicBezTo>
                      <a:pt x="736" y="379"/>
                      <a:pt x="735" y="381"/>
                      <a:pt x="735" y="381"/>
                    </a:cubicBezTo>
                    <a:cubicBezTo>
                      <a:pt x="736" y="382"/>
                      <a:pt x="736" y="382"/>
                      <a:pt x="736" y="382"/>
                    </a:cubicBezTo>
                    <a:cubicBezTo>
                      <a:pt x="737" y="382"/>
                      <a:pt x="737" y="382"/>
                      <a:pt x="737" y="382"/>
                    </a:cubicBezTo>
                    <a:cubicBezTo>
                      <a:pt x="737" y="381"/>
                      <a:pt x="737" y="381"/>
                      <a:pt x="737" y="381"/>
                    </a:cubicBezTo>
                    <a:cubicBezTo>
                      <a:pt x="739" y="380"/>
                      <a:pt x="742" y="379"/>
                      <a:pt x="744" y="380"/>
                    </a:cubicBezTo>
                    <a:cubicBezTo>
                      <a:pt x="744" y="381"/>
                      <a:pt x="745" y="381"/>
                      <a:pt x="746" y="382"/>
                    </a:cubicBezTo>
                    <a:cubicBezTo>
                      <a:pt x="746" y="382"/>
                      <a:pt x="746" y="382"/>
                      <a:pt x="746" y="382"/>
                    </a:cubicBezTo>
                    <a:cubicBezTo>
                      <a:pt x="746" y="382"/>
                      <a:pt x="746" y="382"/>
                      <a:pt x="746" y="383"/>
                    </a:cubicBezTo>
                    <a:cubicBezTo>
                      <a:pt x="748" y="383"/>
                      <a:pt x="748" y="384"/>
                      <a:pt x="748" y="388"/>
                    </a:cubicBezTo>
                    <a:cubicBezTo>
                      <a:pt x="748" y="392"/>
                      <a:pt x="748" y="400"/>
                      <a:pt x="748" y="400"/>
                    </a:cubicBezTo>
                    <a:cubicBezTo>
                      <a:pt x="748" y="400"/>
                      <a:pt x="748" y="400"/>
                      <a:pt x="748" y="400"/>
                    </a:cubicBezTo>
                    <a:cubicBezTo>
                      <a:pt x="748" y="401"/>
                      <a:pt x="748" y="401"/>
                      <a:pt x="748" y="401"/>
                    </a:cubicBezTo>
                    <a:cubicBezTo>
                      <a:pt x="748" y="401"/>
                      <a:pt x="748" y="401"/>
                      <a:pt x="748" y="402"/>
                    </a:cubicBezTo>
                    <a:cubicBezTo>
                      <a:pt x="749" y="402"/>
                      <a:pt x="749" y="402"/>
                      <a:pt x="750" y="402"/>
                    </a:cubicBezTo>
                    <a:cubicBezTo>
                      <a:pt x="750" y="402"/>
                      <a:pt x="750" y="402"/>
                      <a:pt x="750" y="402"/>
                    </a:cubicBezTo>
                    <a:cubicBezTo>
                      <a:pt x="751" y="402"/>
                      <a:pt x="751" y="403"/>
                      <a:pt x="752" y="403"/>
                    </a:cubicBezTo>
                    <a:cubicBezTo>
                      <a:pt x="753" y="404"/>
                      <a:pt x="752" y="405"/>
                      <a:pt x="752" y="407"/>
                    </a:cubicBezTo>
                    <a:cubicBezTo>
                      <a:pt x="752" y="407"/>
                      <a:pt x="752" y="407"/>
                      <a:pt x="752" y="407"/>
                    </a:cubicBezTo>
                    <a:cubicBezTo>
                      <a:pt x="752" y="407"/>
                      <a:pt x="752" y="408"/>
                      <a:pt x="752" y="408"/>
                    </a:cubicBezTo>
                    <a:cubicBezTo>
                      <a:pt x="753" y="408"/>
                      <a:pt x="754" y="408"/>
                      <a:pt x="755" y="409"/>
                    </a:cubicBezTo>
                    <a:cubicBezTo>
                      <a:pt x="755" y="409"/>
                      <a:pt x="755" y="409"/>
                      <a:pt x="755" y="409"/>
                    </a:cubicBezTo>
                    <a:cubicBezTo>
                      <a:pt x="755" y="410"/>
                      <a:pt x="755" y="410"/>
                      <a:pt x="755" y="410"/>
                    </a:cubicBezTo>
                    <a:cubicBezTo>
                      <a:pt x="755" y="410"/>
                      <a:pt x="755" y="410"/>
                      <a:pt x="756" y="410"/>
                    </a:cubicBezTo>
                    <a:cubicBezTo>
                      <a:pt x="756" y="410"/>
                      <a:pt x="756" y="410"/>
                      <a:pt x="756" y="410"/>
                    </a:cubicBezTo>
                    <a:cubicBezTo>
                      <a:pt x="756" y="410"/>
                      <a:pt x="756" y="410"/>
                      <a:pt x="756" y="410"/>
                    </a:cubicBezTo>
                    <a:cubicBezTo>
                      <a:pt x="756" y="410"/>
                      <a:pt x="756" y="410"/>
                      <a:pt x="756" y="410"/>
                    </a:cubicBezTo>
                    <a:cubicBezTo>
                      <a:pt x="756" y="410"/>
                      <a:pt x="756" y="410"/>
                      <a:pt x="756" y="410"/>
                    </a:cubicBezTo>
                    <a:cubicBezTo>
                      <a:pt x="756" y="411"/>
                      <a:pt x="760" y="410"/>
                      <a:pt x="760" y="410"/>
                    </a:cubicBezTo>
                    <a:cubicBezTo>
                      <a:pt x="760" y="410"/>
                      <a:pt x="760" y="410"/>
                      <a:pt x="760" y="410"/>
                    </a:cubicBezTo>
                    <a:cubicBezTo>
                      <a:pt x="761" y="410"/>
                      <a:pt x="762" y="409"/>
                      <a:pt x="763" y="408"/>
                    </a:cubicBezTo>
                    <a:cubicBezTo>
                      <a:pt x="763" y="407"/>
                      <a:pt x="763" y="407"/>
                      <a:pt x="763" y="407"/>
                    </a:cubicBezTo>
                    <a:cubicBezTo>
                      <a:pt x="763" y="406"/>
                      <a:pt x="764" y="406"/>
                      <a:pt x="765" y="405"/>
                    </a:cubicBezTo>
                    <a:cubicBezTo>
                      <a:pt x="764" y="406"/>
                      <a:pt x="764" y="407"/>
                      <a:pt x="764" y="407"/>
                    </a:cubicBezTo>
                    <a:cubicBezTo>
                      <a:pt x="764" y="407"/>
                      <a:pt x="765" y="408"/>
                      <a:pt x="765" y="408"/>
                    </a:cubicBezTo>
                    <a:cubicBezTo>
                      <a:pt x="765" y="408"/>
                      <a:pt x="765" y="409"/>
                      <a:pt x="766" y="409"/>
                    </a:cubicBezTo>
                    <a:cubicBezTo>
                      <a:pt x="767" y="409"/>
                      <a:pt x="770" y="406"/>
                      <a:pt x="771" y="406"/>
                    </a:cubicBezTo>
                    <a:cubicBezTo>
                      <a:pt x="774" y="404"/>
                      <a:pt x="776" y="403"/>
                      <a:pt x="779" y="401"/>
                    </a:cubicBezTo>
                    <a:cubicBezTo>
                      <a:pt x="780" y="400"/>
                      <a:pt x="779" y="400"/>
                      <a:pt x="779" y="400"/>
                    </a:cubicBezTo>
                    <a:cubicBezTo>
                      <a:pt x="779" y="399"/>
                      <a:pt x="778" y="398"/>
                      <a:pt x="777" y="397"/>
                    </a:cubicBezTo>
                    <a:cubicBezTo>
                      <a:pt x="778" y="398"/>
                      <a:pt x="781" y="401"/>
                      <a:pt x="780" y="402"/>
                    </a:cubicBezTo>
                    <a:cubicBezTo>
                      <a:pt x="781" y="401"/>
                      <a:pt x="782" y="401"/>
                      <a:pt x="782" y="401"/>
                    </a:cubicBezTo>
                    <a:cubicBezTo>
                      <a:pt x="781" y="402"/>
                      <a:pt x="780" y="403"/>
                      <a:pt x="779" y="404"/>
                    </a:cubicBezTo>
                    <a:cubicBezTo>
                      <a:pt x="779" y="405"/>
                      <a:pt x="777" y="406"/>
                      <a:pt x="777" y="407"/>
                    </a:cubicBezTo>
                    <a:cubicBezTo>
                      <a:pt x="777" y="408"/>
                      <a:pt x="779" y="406"/>
                      <a:pt x="780" y="406"/>
                    </a:cubicBezTo>
                    <a:cubicBezTo>
                      <a:pt x="780" y="406"/>
                      <a:pt x="781" y="406"/>
                      <a:pt x="782" y="406"/>
                    </a:cubicBezTo>
                    <a:cubicBezTo>
                      <a:pt x="782" y="406"/>
                      <a:pt x="783" y="406"/>
                      <a:pt x="784" y="406"/>
                    </a:cubicBezTo>
                    <a:cubicBezTo>
                      <a:pt x="784" y="406"/>
                      <a:pt x="785" y="406"/>
                      <a:pt x="785" y="406"/>
                    </a:cubicBezTo>
                    <a:cubicBezTo>
                      <a:pt x="786" y="407"/>
                      <a:pt x="786" y="406"/>
                      <a:pt x="787" y="406"/>
                    </a:cubicBezTo>
                    <a:cubicBezTo>
                      <a:pt x="788" y="406"/>
                      <a:pt x="790" y="406"/>
                      <a:pt x="791" y="407"/>
                    </a:cubicBezTo>
                    <a:cubicBezTo>
                      <a:pt x="791" y="407"/>
                      <a:pt x="791" y="407"/>
                      <a:pt x="792" y="407"/>
                    </a:cubicBezTo>
                    <a:cubicBezTo>
                      <a:pt x="789" y="408"/>
                      <a:pt x="786" y="410"/>
                      <a:pt x="784" y="411"/>
                    </a:cubicBezTo>
                    <a:cubicBezTo>
                      <a:pt x="783" y="410"/>
                      <a:pt x="783" y="410"/>
                      <a:pt x="782" y="409"/>
                    </a:cubicBezTo>
                    <a:cubicBezTo>
                      <a:pt x="781" y="409"/>
                      <a:pt x="781" y="410"/>
                      <a:pt x="781" y="409"/>
                    </a:cubicBezTo>
                    <a:cubicBezTo>
                      <a:pt x="782" y="408"/>
                      <a:pt x="782" y="408"/>
                      <a:pt x="782" y="407"/>
                    </a:cubicBezTo>
                    <a:cubicBezTo>
                      <a:pt x="781" y="406"/>
                      <a:pt x="779" y="407"/>
                      <a:pt x="779" y="408"/>
                    </a:cubicBezTo>
                    <a:cubicBezTo>
                      <a:pt x="776" y="410"/>
                      <a:pt x="772" y="412"/>
                      <a:pt x="769" y="414"/>
                    </a:cubicBezTo>
                    <a:cubicBezTo>
                      <a:pt x="767" y="416"/>
                      <a:pt x="766" y="416"/>
                      <a:pt x="765" y="418"/>
                    </a:cubicBezTo>
                    <a:cubicBezTo>
                      <a:pt x="764" y="419"/>
                      <a:pt x="764" y="420"/>
                      <a:pt x="763" y="421"/>
                    </a:cubicBezTo>
                    <a:cubicBezTo>
                      <a:pt x="763" y="421"/>
                      <a:pt x="763" y="422"/>
                      <a:pt x="763" y="423"/>
                    </a:cubicBezTo>
                    <a:cubicBezTo>
                      <a:pt x="763" y="423"/>
                      <a:pt x="763" y="424"/>
                      <a:pt x="763" y="424"/>
                    </a:cubicBezTo>
                    <a:cubicBezTo>
                      <a:pt x="763" y="425"/>
                      <a:pt x="763" y="425"/>
                      <a:pt x="763" y="426"/>
                    </a:cubicBezTo>
                    <a:cubicBezTo>
                      <a:pt x="764" y="427"/>
                      <a:pt x="764" y="427"/>
                      <a:pt x="765" y="427"/>
                    </a:cubicBezTo>
                    <a:cubicBezTo>
                      <a:pt x="765" y="427"/>
                      <a:pt x="765" y="426"/>
                      <a:pt x="765" y="426"/>
                    </a:cubicBezTo>
                    <a:cubicBezTo>
                      <a:pt x="767" y="427"/>
                      <a:pt x="766" y="427"/>
                      <a:pt x="767" y="429"/>
                    </a:cubicBezTo>
                    <a:cubicBezTo>
                      <a:pt x="767" y="429"/>
                      <a:pt x="767" y="430"/>
                      <a:pt x="768" y="430"/>
                    </a:cubicBezTo>
                    <a:cubicBezTo>
                      <a:pt x="768" y="430"/>
                      <a:pt x="770" y="429"/>
                      <a:pt x="770" y="430"/>
                    </a:cubicBezTo>
                    <a:cubicBezTo>
                      <a:pt x="770" y="429"/>
                      <a:pt x="771" y="428"/>
                      <a:pt x="772" y="428"/>
                    </a:cubicBezTo>
                    <a:cubicBezTo>
                      <a:pt x="772" y="427"/>
                      <a:pt x="771" y="426"/>
                      <a:pt x="772" y="428"/>
                    </a:cubicBezTo>
                    <a:cubicBezTo>
                      <a:pt x="772" y="427"/>
                      <a:pt x="772" y="427"/>
                      <a:pt x="773" y="426"/>
                    </a:cubicBezTo>
                    <a:cubicBezTo>
                      <a:pt x="773" y="427"/>
                      <a:pt x="773" y="427"/>
                      <a:pt x="774" y="428"/>
                    </a:cubicBezTo>
                    <a:cubicBezTo>
                      <a:pt x="775" y="426"/>
                      <a:pt x="775" y="426"/>
                      <a:pt x="777" y="425"/>
                    </a:cubicBezTo>
                    <a:cubicBezTo>
                      <a:pt x="777" y="424"/>
                      <a:pt x="779" y="423"/>
                      <a:pt x="778" y="423"/>
                    </a:cubicBezTo>
                    <a:cubicBezTo>
                      <a:pt x="778" y="423"/>
                      <a:pt x="779" y="422"/>
                      <a:pt x="779" y="422"/>
                    </a:cubicBezTo>
                    <a:cubicBezTo>
                      <a:pt x="779" y="422"/>
                      <a:pt x="779" y="422"/>
                      <a:pt x="779" y="422"/>
                    </a:cubicBezTo>
                    <a:cubicBezTo>
                      <a:pt x="779" y="421"/>
                      <a:pt x="783" y="420"/>
                      <a:pt x="781" y="420"/>
                    </a:cubicBezTo>
                    <a:cubicBezTo>
                      <a:pt x="781" y="420"/>
                      <a:pt x="782" y="420"/>
                      <a:pt x="782" y="420"/>
                    </a:cubicBezTo>
                    <a:cubicBezTo>
                      <a:pt x="782" y="420"/>
                      <a:pt x="781" y="419"/>
                      <a:pt x="782" y="419"/>
                    </a:cubicBezTo>
                    <a:cubicBezTo>
                      <a:pt x="781" y="419"/>
                      <a:pt x="782" y="418"/>
                      <a:pt x="782" y="417"/>
                    </a:cubicBezTo>
                    <a:cubicBezTo>
                      <a:pt x="783" y="417"/>
                      <a:pt x="784" y="417"/>
                      <a:pt x="784" y="418"/>
                    </a:cubicBezTo>
                    <a:cubicBezTo>
                      <a:pt x="784" y="417"/>
                      <a:pt x="784" y="416"/>
                      <a:pt x="785" y="416"/>
                    </a:cubicBezTo>
                    <a:cubicBezTo>
                      <a:pt x="785" y="416"/>
                      <a:pt x="785" y="416"/>
                      <a:pt x="785" y="415"/>
                    </a:cubicBezTo>
                    <a:cubicBezTo>
                      <a:pt x="786" y="415"/>
                      <a:pt x="786" y="415"/>
                      <a:pt x="786" y="416"/>
                    </a:cubicBezTo>
                    <a:cubicBezTo>
                      <a:pt x="786" y="417"/>
                      <a:pt x="786" y="418"/>
                      <a:pt x="787" y="417"/>
                    </a:cubicBezTo>
                    <a:cubicBezTo>
                      <a:pt x="787" y="418"/>
                      <a:pt x="788" y="418"/>
                      <a:pt x="789" y="418"/>
                    </a:cubicBezTo>
                    <a:cubicBezTo>
                      <a:pt x="790" y="416"/>
                      <a:pt x="790" y="416"/>
                      <a:pt x="789" y="415"/>
                    </a:cubicBezTo>
                    <a:cubicBezTo>
                      <a:pt x="790" y="415"/>
                      <a:pt x="790" y="416"/>
                      <a:pt x="792" y="416"/>
                    </a:cubicBezTo>
                    <a:cubicBezTo>
                      <a:pt x="794" y="416"/>
                      <a:pt x="796" y="415"/>
                      <a:pt x="798" y="415"/>
                    </a:cubicBezTo>
                    <a:cubicBezTo>
                      <a:pt x="804" y="412"/>
                      <a:pt x="810" y="410"/>
                      <a:pt x="816" y="407"/>
                    </a:cubicBezTo>
                    <a:cubicBezTo>
                      <a:pt x="815" y="406"/>
                      <a:pt x="813" y="405"/>
                      <a:pt x="812" y="404"/>
                    </a:cubicBezTo>
                    <a:cubicBezTo>
                      <a:pt x="812" y="403"/>
                      <a:pt x="812" y="403"/>
                      <a:pt x="811" y="403"/>
                    </a:cubicBezTo>
                    <a:cubicBezTo>
                      <a:pt x="810" y="402"/>
                      <a:pt x="808" y="403"/>
                      <a:pt x="807" y="403"/>
                    </a:cubicBezTo>
                    <a:cubicBezTo>
                      <a:pt x="807" y="402"/>
                      <a:pt x="806" y="401"/>
                      <a:pt x="807" y="400"/>
                    </a:cubicBezTo>
                    <a:cubicBezTo>
                      <a:pt x="805" y="400"/>
                      <a:pt x="804" y="401"/>
                      <a:pt x="803" y="402"/>
                    </a:cubicBezTo>
                    <a:cubicBezTo>
                      <a:pt x="803" y="402"/>
                      <a:pt x="801" y="403"/>
                      <a:pt x="801" y="403"/>
                    </a:cubicBezTo>
                    <a:cubicBezTo>
                      <a:pt x="801" y="404"/>
                      <a:pt x="799" y="404"/>
                      <a:pt x="799" y="403"/>
                    </a:cubicBezTo>
                    <a:cubicBezTo>
                      <a:pt x="798" y="403"/>
                      <a:pt x="800" y="402"/>
                      <a:pt x="798" y="402"/>
                    </a:cubicBezTo>
                    <a:cubicBezTo>
                      <a:pt x="798" y="402"/>
                      <a:pt x="798" y="401"/>
                      <a:pt x="799" y="401"/>
                    </a:cubicBezTo>
                    <a:cubicBezTo>
                      <a:pt x="797" y="401"/>
                      <a:pt x="794" y="401"/>
                      <a:pt x="793" y="402"/>
                    </a:cubicBezTo>
                    <a:cubicBezTo>
                      <a:pt x="793" y="400"/>
                      <a:pt x="786" y="399"/>
                      <a:pt x="785" y="399"/>
                    </a:cubicBezTo>
                    <a:cubicBezTo>
                      <a:pt x="785" y="398"/>
                      <a:pt x="787" y="398"/>
                      <a:pt x="788" y="397"/>
                    </a:cubicBezTo>
                    <a:cubicBezTo>
                      <a:pt x="786" y="397"/>
                      <a:pt x="785" y="397"/>
                      <a:pt x="784" y="396"/>
                    </a:cubicBezTo>
                    <a:cubicBezTo>
                      <a:pt x="783" y="396"/>
                      <a:pt x="783" y="396"/>
                      <a:pt x="782" y="396"/>
                    </a:cubicBezTo>
                    <a:cubicBezTo>
                      <a:pt x="781" y="395"/>
                      <a:pt x="780" y="395"/>
                      <a:pt x="780" y="396"/>
                    </a:cubicBezTo>
                    <a:cubicBezTo>
                      <a:pt x="780" y="394"/>
                      <a:pt x="780" y="394"/>
                      <a:pt x="778" y="394"/>
                    </a:cubicBezTo>
                    <a:cubicBezTo>
                      <a:pt x="779" y="393"/>
                      <a:pt x="779" y="393"/>
                      <a:pt x="778" y="392"/>
                    </a:cubicBezTo>
                    <a:cubicBezTo>
                      <a:pt x="778" y="391"/>
                      <a:pt x="778" y="390"/>
                      <a:pt x="778" y="390"/>
                    </a:cubicBezTo>
                    <a:cubicBezTo>
                      <a:pt x="777" y="388"/>
                      <a:pt x="776" y="388"/>
                      <a:pt x="776" y="386"/>
                    </a:cubicBezTo>
                    <a:cubicBezTo>
                      <a:pt x="776" y="386"/>
                      <a:pt x="777" y="386"/>
                      <a:pt x="777" y="386"/>
                    </a:cubicBezTo>
                    <a:cubicBezTo>
                      <a:pt x="777" y="385"/>
                      <a:pt x="777" y="385"/>
                      <a:pt x="777" y="385"/>
                    </a:cubicBezTo>
                    <a:cubicBezTo>
                      <a:pt x="775" y="384"/>
                      <a:pt x="773" y="385"/>
                      <a:pt x="771" y="385"/>
                    </a:cubicBezTo>
                    <a:cubicBezTo>
                      <a:pt x="773" y="383"/>
                      <a:pt x="775" y="382"/>
                      <a:pt x="776" y="381"/>
                    </a:cubicBezTo>
                    <a:cubicBezTo>
                      <a:pt x="776" y="380"/>
                      <a:pt x="776" y="379"/>
                      <a:pt x="776" y="378"/>
                    </a:cubicBezTo>
                    <a:cubicBezTo>
                      <a:pt x="777" y="377"/>
                      <a:pt x="777" y="377"/>
                      <a:pt x="778" y="376"/>
                    </a:cubicBezTo>
                    <a:cubicBezTo>
                      <a:pt x="776" y="376"/>
                      <a:pt x="773" y="376"/>
                      <a:pt x="770" y="377"/>
                    </a:cubicBezTo>
                    <a:cubicBezTo>
                      <a:pt x="770" y="377"/>
                      <a:pt x="769" y="377"/>
                      <a:pt x="769" y="377"/>
                    </a:cubicBezTo>
                    <a:cubicBezTo>
                      <a:pt x="768" y="377"/>
                      <a:pt x="768" y="375"/>
                      <a:pt x="767" y="375"/>
                    </a:cubicBezTo>
                    <a:cubicBezTo>
                      <a:pt x="766" y="373"/>
                      <a:pt x="764" y="373"/>
                      <a:pt x="762" y="372"/>
                    </a:cubicBezTo>
                    <a:cubicBezTo>
                      <a:pt x="763" y="372"/>
                      <a:pt x="763" y="372"/>
                      <a:pt x="763" y="372"/>
                    </a:cubicBezTo>
                    <a:cubicBezTo>
                      <a:pt x="764" y="371"/>
                      <a:pt x="764" y="371"/>
                      <a:pt x="764" y="371"/>
                    </a:cubicBezTo>
                    <a:cubicBezTo>
                      <a:pt x="764" y="371"/>
                      <a:pt x="764" y="371"/>
                      <a:pt x="764" y="371"/>
                    </a:cubicBezTo>
                    <a:cubicBezTo>
                      <a:pt x="764" y="371"/>
                      <a:pt x="764" y="371"/>
                      <a:pt x="764" y="371"/>
                    </a:cubicBezTo>
                    <a:cubicBezTo>
                      <a:pt x="765" y="371"/>
                      <a:pt x="765" y="371"/>
                      <a:pt x="765"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8" y="371"/>
                      <a:pt x="768" y="371"/>
                      <a:pt x="768" y="371"/>
                    </a:cubicBezTo>
                    <a:cubicBezTo>
                      <a:pt x="768" y="371"/>
                      <a:pt x="768" y="371"/>
                      <a:pt x="768" y="371"/>
                    </a:cubicBezTo>
                    <a:cubicBezTo>
                      <a:pt x="768" y="371"/>
                      <a:pt x="768" y="371"/>
                      <a:pt x="768" y="371"/>
                    </a:cubicBezTo>
                    <a:cubicBezTo>
                      <a:pt x="768" y="371"/>
                      <a:pt x="768" y="371"/>
                      <a:pt x="768" y="371"/>
                    </a:cubicBezTo>
                    <a:cubicBezTo>
                      <a:pt x="768" y="371"/>
                      <a:pt x="768" y="371"/>
                      <a:pt x="768" y="371"/>
                    </a:cubicBezTo>
                    <a:cubicBezTo>
                      <a:pt x="768" y="371"/>
                      <a:pt x="768" y="372"/>
                      <a:pt x="769" y="372"/>
                    </a:cubicBezTo>
                    <a:cubicBezTo>
                      <a:pt x="769" y="372"/>
                      <a:pt x="769" y="372"/>
                      <a:pt x="769" y="372"/>
                    </a:cubicBezTo>
                    <a:cubicBezTo>
                      <a:pt x="769" y="372"/>
                      <a:pt x="769" y="372"/>
                      <a:pt x="769" y="372"/>
                    </a:cubicBezTo>
                    <a:cubicBezTo>
                      <a:pt x="769" y="372"/>
                      <a:pt x="769" y="372"/>
                      <a:pt x="769" y="372"/>
                    </a:cubicBezTo>
                    <a:cubicBezTo>
                      <a:pt x="769" y="372"/>
                      <a:pt x="769" y="372"/>
                      <a:pt x="769" y="372"/>
                    </a:cubicBezTo>
                    <a:cubicBezTo>
                      <a:pt x="769" y="372"/>
                      <a:pt x="769" y="372"/>
                      <a:pt x="769" y="372"/>
                    </a:cubicBezTo>
                    <a:cubicBezTo>
                      <a:pt x="769" y="372"/>
                      <a:pt x="769" y="372"/>
                      <a:pt x="769"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3"/>
                      <a:pt x="770" y="373"/>
                      <a:pt x="770" y="373"/>
                    </a:cubicBezTo>
                    <a:cubicBezTo>
                      <a:pt x="770" y="373"/>
                      <a:pt x="770" y="373"/>
                      <a:pt x="771" y="373"/>
                    </a:cubicBezTo>
                    <a:cubicBezTo>
                      <a:pt x="771" y="373"/>
                      <a:pt x="771" y="373"/>
                      <a:pt x="771" y="373"/>
                    </a:cubicBezTo>
                    <a:cubicBezTo>
                      <a:pt x="771" y="373"/>
                      <a:pt x="771" y="373"/>
                      <a:pt x="771" y="373"/>
                    </a:cubicBezTo>
                    <a:cubicBezTo>
                      <a:pt x="771" y="373"/>
                      <a:pt x="771" y="373"/>
                      <a:pt x="772" y="373"/>
                    </a:cubicBezTo>
                    <a:cubicBezTo>
                      <a:pt x="772" y="373"/>
                      <a:pt x="772" y="373"/>
                      <a:pt x="772" y="373"/>
                    </a:cubicBezTo>
                    <a:cubicBezTo>
                      <a:pt x="772" y="373"/>
                      <a:pt x="772" y="373"/>
                      <a:pt x="772" y="373"/>
                    </a:cubicBezTo>
                    <a:cubicBezTo>
                      <a:pt x="772" y="373"/>
                      <a:pt x="772" y="373"/>
                      <a:pt x="772" y="373"/>
                    </a:cubicBezTo>
                    <a:cubicBezTo>
                      <a:pt x="772" y="373"/>
                      <a:pt x="772" y="373"/>
                      <a:pt x="772" y="373"/>
                    </a:cubicBezTo>
                    <a:cubicBezTo>
                      <a:pt x="772" y="373"/>
                      <a:pt x="772" y="373"/>
                      <a:pt x="772" y="373"/>
                    </a:cubicBezTo>
                    <a:cubicBezTo>
                      <a:pt x="772" y="373"/>
                      <a:pt x="772" y="373"/>
                      <a:pt x="772" y="373"/>
                    </a:cubicBezTo>
                    <a:cubicBezTo>
                      <a:pt x="773" y="372"/>
                      <a:pt x="773" y="372"/>
                      <a:pt x="773" y="372"/>
                    </a:cubicBezTo>
                    <a:cubicBezTo>
                      <a:pt x="773" y="372"/>
                      <a:pt x="773" y="372"/>
                      <a:pt x="773" y="372"/>
                    </a:cubicBezTo>
                    <a:cubicBezTo>
                      <a:pt x="775" y="371"/>
                      <a:pt x="775" y="371"/>
                      <a:pt x="775" y="371"/>
                    </a:cubicBezTo>
                    <a:cubicBezTo>
                      <a:pt x="776" y="370"/>
                      <a:pt x="776" y="370"/>
                      <a:pt x="776" y="370"/>
                    </a:cubicBezTo>
                    <a:cubicBezTo>
                      <a:pt x="777" y="370"/>
                      <a:pt x="777" y="370"/>
                      <a:pt x="777" y="370"/>
                    </a:cubicBezTo>
                    <a:cubicBezTo>
                      <a:pt x="777" y="370"/>
                      <a:pt x="777" y="370"/>
                      <a:pt x="777" y="370"/>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8"/>
                      <a:pt x="778" y="368"/>
                      <a:pt x="778" y="368"/>
                    </a:cubicBezTo>
                    <a:cubicBezTo>
                      <a:pt x="778" y="368"/>
                      <a:pt x="778" y="368"/>
                      <a:pt x="778" y="368"/>
                    </a:cubicBezTo>
                    <a:cubicBezTo>
                      <a:pt x="778" y="368"/>
                      <a:pt x="778" y="368"/>
                      <a:pt x="778" y="368"/>
                    </a:cubicBezTo>
                    <a:cubicBezTo>
                      <a:pt x="778" y="368"/>
                      <a:pt x="778" y="368"/>
                      <a:pt x="778" y="368"/>
                    </a:cubicBezTo>
                    <a:cubicBezTo>
                      <a:pt x="778" y="368"/>
                      <a:pt x="778" y="368"/>
                      <a:pt x="778" y="368"/>
                    </a:cubicBezTo>
                    <a:cubicBezTo>
                      <a:pt x="778" y="368"/>
                      <a:pt x="778" y="368"/>
                      <a:pt x="778" y="368"/>
                    </a:cubicBezTo>
                    <a:cubicBezTo>
                      <a:pt x="778" y="368"/>
                      <a:pt x="778" y="368"/>
                      <a:pt x="778" y="368"/>
                    </a:cubicBezTo>
                    <a:cubicBezTo>
                      <a:pt x="779" y="368"/>
                      <a:pt x="779" y="368"/>
                      <a:pt x="779" y="368"/>
                    </a:cubicBezTo>
                    <a:cubicBezTo>
                      <a:pt x="779" y="368"/>
                      <a:pt x="779" y="368"/>
                      <a:pt x="780" y="368"/>
                    </a:cubicBezTo>
                    <a:cubicBezTo>
                      <a:pt x="780" y="368"/>
                      <a:pt x="780" y="368"/>
                      <a:pt x="780" y="368"/>
                    </a:cubicBezTo>
                    <a:cubicBezTo>
                      <a:pt x="780" y="368"/>
                      <a:pt x="780" y="368"/>
                      <a:pt x="780" y="368"/>
                    </a:cubicBezTo>
                    <a:cubicBezTo>
                      <a:pt x="780" y="367"/>
                      <a:pt x="781" y="367"/>
                      <a:pt x="782" y="367"/>
                    </a:cubicBezTo>
                    <a:cubicBezTo>
                      <a:pt x="782" y="367"/>
                      <a:pt x="782" y="367"/>
                      <a:pt x="782" y="367"/>
                    </a:cubicBezTo>
                    <a:cubicBezTo>
                      <a:pt x="782" y="367"/>
                      <a:pt x="782" y="367"/>
                      <a:pt x="782" y="367"/>
                    </a:cubicBezTo>
                    <a:cubicBezTo>
                      <a:pt x="782" y="367"/>
                      <a:pt x="782" y="367"/>
                      <a:pt x="782" y="367"/>
                    </a:cubicBezTo>
                    <a:cubicBezTo>
                      <a:pt x="782" y="367"/>
                      <a:pt x="782" y="367"/>
                      <a:pt x="782" y="367"/>
                    </a:cubicBezTo>
                    <a:cubicBezTo>
                      <a:pt x="782" y="366"/>
                      <a:pt x="782" y="366"/>
                      <a:pt x="782"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5"/>
                      <a:pt x="783" y="365"/>
                      <a:pt x="783" y="365"/>
                    </a:cubicBezTo>
                    <a:cubicBezTo>
                      <a:pt x="782" y="365"/>
                      <a:pt x="782" y="365"/>
                      <a:pt x="782" y="365"/>
                    </a:cubicBezTo>
                    <a:cubicBezTo>
                      <a:pt x="782" y="365"/>
                      <a:pt x="782" y="365"/>
                      <a:pt x="782" y="365"/>
                    </a:cubicBezTo>
                    <a:cubicBezTo>
                      <a:pt x="782" y="365"/>
                      <a:pt x="782" y="365"/>
                      <a:pt x="782" y="365"/>
                    </a:cubicBezTo>
                    <a:cubicBezTo>
                      <a:pt x="782" y="365"/>
                      <a:pt x="782" y="365"/>
                      <a:pt x="782" y="365"/>
                    </a:cubicBezTo>
                    <a:cubicBezTo>
                      <a:pt x="782" y="365"/>
                      <a:pt x="782" y="365"/>
                      <a:pt x="782" y="365"/>
                    </a:cubicBezTo>
                    <a:cubicBezTo>
                      <a:pt x="782" y="365"/>
                      <a:pt x="782" y="365"/>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3"/>
                      <a:pt x="783" y="363"/>
                      <a:pt x="782" y="363"/>
                    </a:cubicBezTo>
                    <a:cubicBezTo>
                      <a:pt x="782" y="363"/>
                      <a:pt x="782" y="363"/>
                      <a:pt x="782" y="363"/>
                    </a:cubicBezTo>
                    <a:cubicBezTo>
                      <a:pt x="782" y="363"/>
                      <a:pt x="782" y="363"/>
                      <a:pt x="782" y="363"/>
                    </a:cubicBezTo>
                    <a:cubicBezTo>
                      <a:pt x="782" y="363"/>
                      <a:pt x="782" y="363"/>
                      <a:pt x="782" y="363"/>
                    </a:cubicBezTo>
                    <a:cubicBezTo>
                      <a:pt x="782" y="363"/>
                      <a:pt x="782" y="363"/>
                      <a:pt x="782" y="363"/>
                    </a:cubicBezTo>
                    <a:cubicBezTo>
                      <a:pt x="782" y="363"/>
                      <a:pt x="782" y="363"/>
                      <a:pt x="782" y="363"/>
                    </a:cubicBezTo>
                    <a:cubicBezTo>
                      <a:pt x="782" y="363"/>
                      <a:pt x="782" y="363"/>
                      <a:pt x="782" y="363"/>
                    </a:cubicBezTo>
                    <a:cubicBezTo>
                      <a:pt x="782" y="363"/>
                      <a:pt x="782" y="363"/>
                      <a:pt x="782" y="363"/>
                    </a:cubicBezTo>
                    <a:cubicBezTo>
                      <a:pt x="781" y="362"/>
                      <a:pt x="781" y="363"/>
                      <a:pt x="781" y="363"/>
                    </a:cubicBezTo>
                    <a:cubicBezTo>
                      <a:pt x="781" y="363"/>
                      <a:pt x="781" y="363"/>
                      <a:pt x="781" y="363"/>
                    </a:cubicBezTo>
                    <a:cubicBezTo>
                      <a:pt x="781" y="362"/>
                      <a:pt x="781" y="362"/>
                      <a:pt x="781" y="362"/>
                    </a:cubicBezTo>
                    <a:cubicBezTo>
                      <a:pt x="781" y="362"/>
                      <a:pt x="781" y="362"/>
                      <a:pt x="781" y="362"/>
                    </a:cubicBezTo>
                    <a:cubicBezTo>
                      <a:pt x="781" y="362"/>
                      <a:pt x="781" y="362"/>
                      <a:pt x="781" y="362"/>
                    </a:cubicBezTo>
                    <a:cubicBezTo>
                      <a:pt x="781" y="362"/>
                      <a:pt x="781" y="362"/>
                      <a:pt x="781" y="362"/>
                    </a:cubicBezTo>
                    <a:cubicBezTo>
                      <a:pt x="781" y="362"/>
                      <a:pt x="781" y="362"/>
                      <a:pt x="781" y="362"/>
                    </a:cubicBezTo>
                    <a:cubicBezTo>
                      <a:pt x="781" y="362"/>
                      <a:pt x="781" y="362"/>
                      <a:pt x="781" y="362"/>
                    </a:cubicBezTo>
                    <a:cubicBezTo>
                      <a:pt x="781" y="362"/>
                      <a:pt x="781" y="362"/>
                      <a:pt x="781" y="362"/>
                    </a:cubicBezTo>
                    <a:cubicBezTo>
                      <a:pt x="780" y="362"/>
                      <a:pt x="780" y="362"/>
                      <a:pt x="780" y="362"/>
                    </a:cubicBezTo>
                    <a:cubicBezTo>
                      <a:pt x="780" y="362"/>
                      <a:pt x="780" y="362"/>
                      <a:pt x="780" y="362"/>
                    </a:cubicBezTo>
                    <a:cubicBezTo>
                      <a:pt x="780" y="362"/>
                      <a:pt x="780" y="362"/>
                      <a:pt x="780" y="362"/>
                    </a:cubicBezTo>
                    <a:cubicBezTo>
                      <a:pt x="780" y="362"/>
                      <a:pt x="780" y="362"/>
                      <a:pt x="780" y="362"/>
                    </a:cubicBezTo>
                    <a:cubicBezTo>
                      <a:pt x="780" y="362"/>
                      <a:pt x="780" y="362"/>
                      <a:pt x="780" y="361"/>
                    </a:cubicBezTo>
                    <a:cubicBezTo>
                      <a:pt x="780" y="361"/>
                      <a:pt x="780" y="361"/>
                      <a:pt x="780" y="361"/>
                    </a:cubicBezTo>
                    <a:cubicBezTo>
                      <a:pt x="780" y="361"/>
                      <a:pt x="780" y="361"/>
                      <a:pt x="780" y="361"/>
                    </a:cubicBezTo>
                    <a:cubicBezTo>
                      <a:pt x="781" y="362"/>
                      <a:pt x="782" y="362"/>
                      <a:pt x="783" y="363"/>
                    </a:cubicBezTo>
                    <a:cubicBezTo>
                      <a:pt x="783" y="363"/>
                      <a:pt x="783" y="363"/>
                      <a:pt x="783" y="363"/>
                    </a:cubicBezTo>
                    <a:cubicBezTo>
                      <a:pt x="783" y="363"/>
                      <a:pt x="783" y="363"/>
                      <a:pt x="783" y="363"/>
                    </a:cubicBezTo>
                    <a:cubicBezTo>
                      <a:pt x="783" y="362"/>
                      <a:pt x="783" y="362"/>
                      <a:pt x="783" y="362"/>
                    </a:cubicBezTo>
                    <a:cubicBezTo>
                      <a:pt x="783" y="362"/>
                      <a:pt x="783" y="362"/>
                      <a:pt x="783" y="362"/>
                    </a:cubicBezTo>
                    <a:cubicBezTo>
                      <a:pt x="783" y="362"/>
                      <a:pt x="783" y="362"/>
                      <a:pt x="783" y="362"/>
                    </a:cubicBezTo>
                    <a:cubicBezTo>
                      <a:pt x="783" y="361"/>
                      <a:pt x="783" y="361"/>
                      <a:pt x="783" y="361"/>
                    </a:cubicBezTo>
                    <a:cubicBezTo>
                      <a:pt x="783" y="361"/>
                      <a:pt x="783" y="361"/>
                      <a:pt x="783" y="361"/>
                    </a:cubicBezTo>
                    <a:cubicBezTo>
                      <a:pt x="783" y="361"/>
                      <a:pt x="783" y="361"/>
                      <a:pt x="783" y="361"/>
                    </a:cubicBezTo>
                    <a:cubicBezTo>
                      <a:pt x="783" y="361"/>
                      <a:pt x="783" y="361"/>
                      <a:pt x="783" y="361"/>
                    </a:cubicBezTo>
                    <a:cubicBezTo>
                      <a:pt x="783" y="361"/>
                      <a:pt x="783" y="361"/>
                      <a:pt x="783" y="361"/>
                    </a:cubicBezTo>
                    <a:cubicBezTo>
                      <a:pt x="782" y="360"/>
                      <a:pt x="782" y="360"/>
                      <a:pt x="782" y="360"/>
                    </a:cubicBezTo>
                    <a:cubicBezTo>
                      <a:pt x="782" y="360"/>
                      <a:pt x="782" y="360"/>
                      <a:pt x="782" y="360"/>
                    </a:cubicBezTo>
                    <a:cubicBezTo>
                      <a:pt x="782" y="360"/>
                      <a:pt x="782" y="360"/>
                      <a:pt x="782" y="360"/>
                    </a:cubicBezTo>
                    <a:cubicBezTo>
                      <a:pt x="782" y="360"/>
                      <a:pt x="782" y="360"/>
                      <a:pt x="782" y="360"/>
                    </a:cubicBezTo>
                    <a:cubicBezTo>
                      <a:pt x="782" y="360"/>
                      <a:pt x="782" y="360"/>
                      <a:pt x="782" y="360"/>
                    </a:cubicBezTo>
                    <a:cubicBezTo>
                      <a:pt x="781" y="360"/>
                      <a:pt x="781" y="360"/>
                      <a:pt x="781" y="359"/>
                    </a:cubicBezTo>
                    <a:cubicBezTo>
                      <a:pt x="781" y="359"/>
                      <a:pt x="781" y="359"/>
                      <a:pt x="781" y="359"/>
                    </a:cubicBezTo>
                    <a:cubicBezTo>
                      <a:pt x="781" y="359"/>
                      <a:pt x="781" y="359"/>
                      <a:pt x="781" y="359"/>
                    </a:cubicBezTo>
                    <a:cubicBezTo>
                      <a:pt x="781" y="359"/>
                      <a:pt x="781" y="359"/>
                      <a:pt x="780" y="359"/>
                    </a:cubicBezTo>
                    <a:cubicBezTo>
                      <a:pt x="780" y="359"/>
                      <a:pt x="780" y="359"/>
                      <a:pt x="780" y="359"/>
                    </a:cubicBezTo>
                    <a:cubicBezTo>
                      <a:pt x="780" y="359"/>
                      <a:pt x="780" y="359"/>
                      <a:pt x="780" y="359"/>
                    </a:cubicBezTo>
                    <a:cubicBezTo>
                      <a:pt x="780" y="359"/>
                      <a:pt x="780" y="359"/>
                      <a:pt x="780" y="359"/>
                    </a:cubicBezTo>
                    <a:cubicBezTo>
                      <a:pt x="780" y="359"/>
                      <a:pt x="780" y="359"/>
                      <a:pt x="780" y="359"/>
                    </a:cubicBezTo>
                    <a:cubicBezTo>
                      <a:pt x="780" y="359"/>
                      <a:pt x="780" y="359"/>
                      <a:pt x="780" y="359"/>
                    </a:cubicBezTo>
                    <a:cubicBezTo>
                      <a:pt x="779" y="358"/>
                      <a:pt x="780" y="358"/>
                      <a:pt x="778" y="358"/>
                    </a:cubicBezTo>
                    <a:cubicBezTo>
                      <a:pt x="778" y="358"/>
                      <a:pt x="778" y="358"/>
                      <a:pt x="778" y="358"/>
                    </a:cubicBezTo>
                    <a:cubicBezTo>
                      <a:pt x="778" y="358"/>
                      <a:pt x="778" y="358"/>
                      <a:pt x="778" y="358"/>
                    </a:cubicBezTo>
                    <a:cubicBezTo>
                      <a:pt x="778" y="358"/>
                      <a:pt x="778" y="358"/>
                      <a:pt x="778" y="358"/>
                    </a:cubicBezTo>
                    <a:cubicBezTo>
                      <a:pt x="777" y="358"/>
                      <a:pt x="777" y="357"/>
                      <a:pt x="777" y="357"/>
                    </a:cubicBezTo>
                    <a:cubicBezTo>
                      <a:pt x="777" y="357"/>
                      <a:pt x="777" y="357"/>
                      <a:pt x="777" y="357"/>
                    </a:cubicBezTo>
                    <a:cubicBezTo>
                      <a:pt x="777" y="357"/>
                      <a:pt x="777" y="357"/>
                      <a:pt x="777" y="357"/>
                    </a:cubicBezTo>
                    <a:cubicBezTo>
                      <a:pt x="776" y="357"/>
                      <a:pt x="776" y="357"/>
                      <a:pt x="776" y="357"/>
                    </a:cubicBezTo>
                    <a:cubicBezTo>
                      <a:pt x="776" y="357"/>
                      <a:pt x="776" y="357"/>
                      <a:pt x="776" y="357"/>
                    </a:cubicBezTo>
                    <a:cubicBezTo>
                      <a:pt x="776" y="357"/>
                      <a:pt x="776" y="357"/>
                      <a:pt x="776" y="357"/>
                    </a:cubicBezTo>
                    <a:cubicBezTo>
                      <a:pt x="775" y="357"/>
                      <a:pt x="775" y="357"/>
                      <a:pt x="775" y="357"/>
                    </a:cubicBezTo>
                    <a:cubicBezTo>
                      <a:pt x="775" y="357"/>
                      <a:pt x="775" y="357"/>
                      <a:pt x="775" y="357"/>
                    </a:cubicBezTo>
                    <a:cubicBezTo>
                      <a:pt x="775" y="357"/>
                      <a:pt x="775" y="357"/>
                      <a:pt x="775" y="357"/>
                    </a:cubicBezTo>
                    <a:cubicBezTo>
                      <a:pt x="775" y="357"/>
                      <a:pt x="775" y="357"/>
                      <a:pt x="775" y="357"/>
                    </a:cubicBezTo>
                    <a:cubicBezTo>
                      <a:pt x="775" y="357"/>
                      <a:pt x="775" y="357"/>
                      <a:pt x="775" y="357"/>
                    </a:cubicBezTo>
                    <a:cubicBezTo>
                      <a:pt x="774" y="357"/>
                      <a:pt x="774" y="356"/>
                      <a:pt x="773" y="357"/>
                    </a:cubicBezTo>
                    <a:cubicBezTo>
                      <a:pt x="773" y="357"/>
                      <a:pt x="773" y="357"/>
                      <a:pt x="773" y="357"/>
                    </a:cubicBezTo>
                    <a:cubicBezTo>
                      <a:pt x="773" y="356"/>
                      <a:pt x="773" y="356"/>
                      <a:pt x="773" y="356"/>
                    </a:cubicBezTo>
                    <a:cubicBezTo>
                      <a:pt x="772" y="356"/>
                      <a:pt x="771" y="356"/>
                      <a:pt x="770" y="356"/>
                    </a:cubicBezTo>
                    <a:cubicBezTo>
                      <a:pt x="770" y="356"/>
                      <a:pt x="770" y="356"/>
                      <a:pt x="770" y="356"/>
                    </a:cubicBezTo>
                    <a:cubicBezTo>
                      <a:pt x="770" y="356"/>
                      <a:pt x="770" y="356"/>
                      <a:pt x="770" y="356"/>
                    </a:cubicBezTo>
                    <a:cubicBezTo>
                      <a:pt x="770" y="356"/>
                      <a:pt x="770" y="356"/>
                      <a:pt x="770" y="356"/>
                    </a:cubicBezTo>
                    <a:cubicBezTo>
                      <a:pt x="769" y="356"/>
                      <a:pt x="768" y="357"/>
                      <a:pt x="766" y="357"/>
                    </a:cubicBezTo>
                    <a:cubicBezTo>
                      <a:pt x="766" y="357"/>
                      <a:pt x="766" y="357"/>
                      <a:pt x="766" y="357"/>
                    </a:cubicBezTo>
                    <a:cubicBezTo>
                      <a:pt x="766" y="357"/>
                      <a:pt x="766" y="357"/>
                      <a:pt x="766" y="357"/>
                    </a:cubicBezTo>
                    <a:cubicBezTo>
                      <a:pt x="765" y="357"/>
                      <a:pt x="765" y="357"/>
                      <a:pt x="764" y="357"/>
                    </a:cubicBezTo>
                    <a:cubicBezTo>
                      <a:pt x="764" y="357"/>
                      <a:pt x="764" y="357"/>
                      <a:pt x="764" y="357"/>
                    </a:cubicBezTo>
                    <a:cubicBezTo>
                      <a:pt x="764" y="357"/>
                      <a:pt x="764" y="357"/>
                      <a:pt x="764" y="357"/>
                    </a:cubicBezTo>
                    <a:cubicBezTo>
                      <a:pt x="764" y="357"/>
                      <a:pt x="764" y="357"/>
                      <a:pt x="764" y="357"/>
                    </a:cubicBezTo>
                    <a:cubicBezTo>
                      <a:pt x="764" y="357"/>
                      <a:pt x="764" y="357"/>
                      <a:pt x="764" y="357"/>
                    </a:cubicBezTo>
                    <a:cubicBezTo>
                      <a:pt x="764" y="357"/>
                      <a:pt x="764" y="357"/>
                      <a:pt x="764" y="357"/>
                    </a:cubicBezTo>
                    <a:cubicBezTo>
                      <a:pt x="763" y="357"/>
                      <a:pt x="763" y="357"/>
                      <a:pt x="763" y="357"/>
                    </a:cubicBezTo>
                    <a:cubicBezTo>
                      <a:pt x="763" y="357"/>
                      <a:pt x="763" y="357"/>
                      <a:pt x="763" y="357"/>
                    </a:cubicBezTo>
                    <a:cubicBezTo>
                      <a:pt x="759" y="357"/>
                      <a:pt x="755" y="359"/>
                      <a:pt x="751" y="361"/>
                    </a:cubicBezTo>
                    <a:cubicBezTo>
                      <a:pt x="751" y="361"/>
                      <a:pt x="751" y="361"/>
                      <a:pt x="751" y="361"/>
                    </a:cubicBezTo>
                    <a:cubicBezTo>
                      <a:pt x="751" y="361"/>
                      <a:pt x="751" y="361"/>
                      <a:pt x="751" y="361"/>
                    </a:cubicBezTo>
                    <a:cubicBezTo>
                      <a:pt x="751" y="361"/>
                      <a:pt x="751" y="361"/>
                      <a:pt x="751" y="361"/>
                    </a:cubicBezTo>
                    <a:cubicBezTo>
                      <a:pt x="751" y="361"/>
                      <a:pt x="751" y="361"/>
                      <a:pt x="751" y="361"/>
                    </a:cubicBezTo>
                    <a:cubicBezTo>
                      <a:pt x="751" y="361"/>
                      <a:pt x="750" y="361"/>
                      <a:pt x="750" y="361"/>
                    </a:cubicBezTo>
                    <a:cubicBezTo>
                      <a:pt x="750" y="361"/>
                      <a:pt x="750" y="361"/>
                      <a:pt x="750" y="361"/>
                    </a:cubicBezTo>
                    <a:cubicBezTo>
                      <a:pt x="750" y="361"/>
                      <a:pt x="750" y="361"/>
                      <a:pt x="750" y="361"/>
                    </a:cubicBezTo>
                    <a:cubicBezTo>
                      <a:pt x="749" y="361"/>
                      <a:pt x="749" y="362"/>
                      <a:pt x="748" y="362"/>
                    </a:cubicBezTo>
                    <a:cubicBezTo>
                      <a:pt x="748" y="362"/>
                      <a:pt x="748" y="362"/>
                      <a:pt x="748" y="362"/>
                    </a:cubicBezTo>
                    <a:cubicBezTo>
                      <a:pt x="748" y="362"/>
                      <a:pt x="748" y="362"/>
                      <a:pt x="748" y="362"/>
                    </a:cubicBezTo>
                    <a:cubicBezTo>
                      <a:pt x="748" y="362"/>
                      <a:pt x="748" y="362"/>
                      <a:pt x="748" y="362"/>
                    </a:cubicBezTo>
                    <a:cubicBezTo>
                      <a:pt x="747" y="362"/>
                      <a:pt x="747" y="363"/>
                      <a:pt x="746" y="363"/>
                    </a:cubicBezTo>
                    <a:cubicBezTo>
                      <a:pt x="746" y="363"/>
                      <a:pt x="746" y="363"/>
                      <a:pt x="746" y="363"/>
                    </a:cubicBezTo>
                    <a:cubicBezTo>
                      <a:pt x="746" y="363"/>
                      <a:pt x="746" y="363"/>
                      <a:pt x="746" y="363"/>
                    </a:cubicBezTo>
                    <a:cubicBezTo>
                      <a:pt x="746" y="363"/>
                      <a:pt x="746" y="363"/>
                      <a:pt x="746" y="363"/>
                    </a:cubicBezTo>
                    <a:cubicBezTo>
                      <a:pt x="746" y="363"/>
                      <a:pt x="746" y="363"/>
                      <a:pt x="746" y="363"/>
                    </a:cubicBezTo>
                    <a:cubicBezTo>
                      <a:pt x="746" y="363"/>
                      <a:pt x="746" y="363"/>
                      <a:pt x="746" y="363"/>
                    </a:cubicBezTo>
                    <a:cubicBezTo>
                      <a:pt x="745" y="363"/>
                      <a:pt x="745" y="363"/>
                      <a:pt x="745" y="363"/>
                    </a:cubicBezTo>
                    <a:cubicBezTo>
                      <a:pt x="744" y="364"/>
                      <a:pt x="744" y="363"/>
                      <a:pt x="743" y="364"/>
                    </a:cubicBezTo>
                    <a:cubicBezTo>
                      <a:pt x="743" y="364"/>
                      <a:pt x="743" y="364"/>
                      <a:pt x="743" y="364"/>
                    </a:cubicBezTo>
                    <a:cubicBezTo>
                      <a:pt x="743" y="364"/>
                      <a:pt x="743" y="364"/>
                      <a:pt x="743" y="364"/>
                    </a:cubicBezTo>
                    <a:cubicBezTo>
                      <a:pt x="743" y="364"/>
                      <a:pt x="743" y="364"/>
                      <a:pt x="743" y="364"/>
                    </a:cubicBezTo>
                    <a:cubicBezTo>
                      <a:pt x="742" y="364"/>
                      <a:pt x="742" y="365"/>
                      <a:pt x="742" y="365"/>
                    </a:cubicBezTo>
                    <a:cubicBezTo>
                      <a:pt x="741" y="365"/>
                      <a:pt x="741" y="365"/>
                      <a:pt x="741" y="365"/>
                    </a:cubicBezTo>
                    <a:cubicBezTo>
                      <a:pt x="740" y="365"/>
                      <a:pt x="740" y="365"/>
                      <a:pt x="740" y="365"/>
                    </a:cubicBezTo>
                    <a:cubicBezTo>
                      <a:pt x="740" y="365"/>
                      <a:pt x="740" y="365"/>
                      <a:pt x="740" y="365"/>
                    </a:cubicBezTo>
                    <a:cubicBezTo>
                      <a:pt x="740" y="366"/>
                      <a:pt x="740" y="366"/>
                      <a:pt x="740" y="366"/>
                    </a:cubicBezTo>
                    <a:cubicBezTo>
                      <a:pt x="740" y="366"/>
                      <a:pt x="740" y="366"/>
                      <a:pt x="740" y="366"/>
                    </a:cubicBezTo>
                    <a:cubicBezTo>
                      <a:pt x="740" y="366"/>
                      <a:pt x="740" y="366"/>
                      <a:pt x="740" y="366"/>
                    </a:cubicBezTo>
                    <a:cubicBezTo>
                      <a:pt x="740" y="366"/>
                      <a:pt x="740" y="366"/>
                      <a:pt x="740" y="366"/>
                    </a:cubicBezTo>
                    <a:cubicBezTo>
                      <a:pt x="739" y="366"/>
                      <a:pt x="739" y="366"/>
                      <a:pt x="739" y="366"/>
                    </a:cubicBezTo>
                    <a:cubicBezTo>
                      <a:pt x="739" y="366"/>
                      <a:pt x="739" y="366"/>
                      <a:pt x="739" y="366"/>
                    </a:cubicBezTo>
                    <a:cubicBezTo>
                      <a:pt x="737" y="367"/>
                      <a:pt x="737" y="367"/>
                      <a:pt x="737" y="367"/>
                    </a:cubicBezTo>
                    <a:cubicBezTo>
                      <a:pt x="736" y="368"/>
                      <a:pt x="736" y="368"/>
                      <a:pt x="736" y="368"/>
                    </a:cubicBezTo>
                    <a:cubicBezTo>
                      <a:pt x="736" y="368"/>
                      <a:pt x="736" y="368"/>
                      <a:pt x="736" y="368"/>
                    </a:cubicBezTo>
                    <a:cubicBezTo>
                      <a:pt x="736" y="368"/>
                      <a:pt x="736" y="368"/>
                      <a:pt x="736" y="368"/>
                    </a:cubicBezTo>
                    <a:cubicBezTo>
                      <a:pt x="736" y="368"/>
                      <a:pt x="736" y="368"/>
                      <a:pt x="736" y="368"/>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1"/>
                      <a:pt x="723" y="381"/>
                      <a:pt x="723" y="381"/>
                    </a:cubicBezTo>
                    <a:cubicBezTo>
                      <a:pt x="723" y="381"/>
                      <a:pt x="723" y="381"/>
                      <a:pt x="723" y="381"/>
                    </a:cubicBezTo>
                    <a:cubicBezTo>
                      <a:pt x="723" y="381"/>
                      <a:pt x="723" y="381"/>
                      <a:pt x="723" y="381"/>
                    </a:cubicBezTo>
                    <a:cubicBezTo>
                      <a:pt x="723" y="381"/>
                      <a:pt x="723" y="381"/>
                      <a:pt x="723" y="381"/>
                    </a:cubicBezTo>
                    <a:cubicBezTo>
                      <a:pt x="723" y="381"/>
                      <a:pt x="723" y="381"/>
                      <a:pt x="723" y="381"/>
                    </a:cubicBezTo>
                    <a:cubicBezTo>
                      <a:pt x="723" y="381"/>
                      <a:pt x="723" y="381"/>
                      <a:pt x="723" y="381"/>
                    </a:cubicBezTo>
                    <a:cubicBezTo>
                      <a:pt x="723" y="381"/>
                      <a:pt x="723" y="381"/>
                      <a:pt x="723" y="381"/>
                    </a:cubicBezTo>
                    <a:cubicBezTo>
                      <a:pt x="722" y="382"/>
                      <a:pt x="722" y="382"/>
                      <a:pt x="722" y="382"/>
                    </a:cubicBezTo>
                    <a:cubicBezTo>
                      <a:pt x="722" y="382"/>
                      <a:pt x="722" y="382"/>
                      <a:pt x="722" y="382"/>
                    </a:cubicBezTo>
                    <a:cubicBezTo>
                      <a:pt x="721" y="383"/>
                      <a:pt x="721" y="383"/>
                      <a:pt x="721" y="383"/>
                    </a:cubicBezTo>
                    <a:cubicBezTo>
                      <a:pt x="721" y="383"/>
                      <a:pt x="721" y="383"/>
                      <a:pt x="721" y="383"/>
                    </a:cubicBezTo>
                    <a:cubicBezTo>
                      <a:pt x="721" y="383"/>
                      <a:pt x="721" y="383"/>
                      <a:pt x="721" y="383"/>
                    </a:cubicBezTo>
                    <a:cubicBezTo>
                      <a:pt x="721" y="383"/>
                      <a:pt x="721" y="383"/>
                      <a:pt x="721" y="383"/>
                    </a:cubicBezTo>
                    <a:cubicBezTo>
                      <a:pt x="721" y="383"/>
                      <a:pt x="721" y="383"/>
                      <a:pt x="721" y="383"/>
                    </a:cubicBezTo>
                    <a:cubicBezTo>
                      <a:pt x="720" y="384"/>
                      <a:pt x="720" y="384"/>
                      <a:pt x="719" y="385"/>
                    </a:cubicBezTo>
                    <a:cubicBezTo>
                      <a:pt x="719" y="385"/>
                      <a:pt x="719" y="385"/>
                      <a:pt x="719" y="385"/>
                    </a:cubicBezTo>
                    <a:cubicBezTo>
                      <a:pt x="719" y="385"/>
                      <a:pt x="719" y="385"/>
                      <a:pt x="719" y="385"/>
                    </a:cubicBezTo>
                    <a:cubicBezTo>
                      <a:pt x="718" y="385"/>
                      <a:pt x="718" y="385"/>
                      <a:pt x="718" y="385"/>
                    </a:cubicBezTo>
                    <a:cubicBezTo>
                      <a:pt x="718" y="386"/>
                      <a:pt x="718" y="386"/>
                      <a:pt x="718" y="386"/>
                    </a:cubicBezTo>
                    <a:cubicBezTo>
                      <a:pt x="714" y="388"/>
                      <a:pt x="714" y="388"/>
                      <a:pt x="714" y="388"/>
                    </a:cubicBezTo>
                    <a:cubicBezTo>
                      <a:pt x="714" y="388"/>
                      <a:pt x="712" y="388"/>
                      <a:pt x="712" y="388"/>
                    </a:cubicBezTo>
                    <a:cubicBezTo>
                      <a:pt x="713" y="387"/>
                      <a:pt x="713" y="387"/>
                      <a:pt x="713" y="387"/>
                    </a:cubicBezTo>
                    <a:cubicBezTo>
                      <a:pt x="713" y="386"/>
                      <a:pt x="713" y="386"/>
                      <a:pt x="713" y="386"/>
                    </a:cubicBezTo>
                    <a:cubicBezTo>
                      <a:pt x="714" y="386"/>
                      <a:pt x="714" y="386"/>
                      <a:pt x="714" y="385"/>
                    </a:cubicBezTo>
                    <a:cubicBezTo>
                      <a:pt x="714" y="385"/>
                      <a:pt x="714" y="385"/>
                      <a:pt x="714" y="385"/>
                    </a:cubicBezTo>
                    <a:cubicBezTo>
                      <a:pt x="714" y="385"/>
                      <a:pt x="714" y="385"/>
                      <a:pt x="714" y="385"/>
                    </a:cubicBezTo>
                    <a:cubicBezTo>
                      <a:pt x="715" y="385"/>
                      <a:pt x="716" y="385"/>
                      <a:pt x="717" y="384"/>
                    </a:cubicBezTo>
                    <a:cubicBezTo>
                      <a:pt x="717" y="383"/>
                      <a:pt x="717" y="383"/>
                      <a:pt x="717" y="383"/>
                    </a:cubicBezTo>
                    <a:cubicBezTo>
                      <a:pt x="717" y="383"/>
                      <a:pt x="717" y="383"/>
                      <a:pt x="717" y="383"/>
                    </a:cubicBezTo>
                    <a:cubicBezTo>
                      <a:pt x="717" y="383"/>
                      <a:pt x="717" y="383"/>
                      <a:pt x="717" y="383"/>
                    </a:cubicBezTo>
                    <a:cubicBezTo>
                      <a:pt x="717" y="383"/>
                      <a:pt x="717" y="383"/>
                      <a:pt x="717" y="383"/>
                    </a:cubicBezTo>
                    <a:cubicBezTo>
                      <a:pt x="717" y="383"/>
                      <a:pt x="717" y="383"/>
                      <a:pt x="717" y="383"/>
                    </a:cubicBezTo>
                    <a:cubicBezTo>
                      <a:pt x="717" y="383"/>
                      <a:pt x="717" y="383"/>
                      <a:pt x="718" y="383"/>
                    </a:cubicBezTo>
                    <a:cubicBezTo>
                      <a:pt x="718" y="383"/>
                      <a:pt x="718" y="383"/>
                      <a:pt x="718" y="383"/>
                    </a:cubicBezTo>
                    <a:cubicBezTo>
                      <a:pt x="718" y="383"/>
                      <a:pt x="718" y="383"/>
                      <a:pt x="718" y="383"/>
                    </a:cubicBezTo>
                    <a:cubicBezTo>
                      <a:pt x="718" y="382"/>
                      <a:pt x="718" y="382"/>
                      <a:pt x="718" y="382"/>
                    </a:cubicBezTo>
                    <a:cubicBezTo>
                      <a:pt x="718" y="382"/>
                      <a:pt x="718" y="382"/>
                      <a:pt x="718" y="382"/>
                    </a:cubicBezTo>
                    <a:cubicBezTo>
                      <a:pt x="718" y="382"/>
                      <a:pt x="718" y="382"/>
                      <a:pt x="718" y="382"/>
                    </a:cubicBezTo>
                    <a:cubicBezTo>
                      <a:pt x="718" y="382"/>
                      <a:pt x="718" y="382"/>
                      <a:pt x="718" y="382"/>
                    </a:cubicBezTo>
                    <a:cubicBezTo>
                      <a:pt x="718" y="381"/>
                      <a:pt x="719" y="381"/>
                      <a:pt x="719" y="380"/>
                    </a:cubicBezTo>
                    <a:cubicBezTo>
                      <a:pt x="719" y="380"/>
                      <a:pt x="719" y="380"/>
                      <a:pt x="719" y="380"/>
                    </a:cubicBezTo>
                    <a:cubicBezTo>
                      <a:pt x="719" y="380"/>
                      <a:pt x="719" y="380"/>
                      <a:pt x="719" y="380"/>
                    </a:cubicBezTo>
                    <a:cubicBezTo>
                      <a:pt x="719" y="380"/>
                      <a:pt x="719" y="380"/>
                      <a:pt x="719" y="380"/>
                    </a:cubicBezTo>
                    <a:cubicBezTo>
                      <a:pt x="719" y="380"/>
                      <a:pt x="719" y="380"/>
                      <a:pt x="719" y="380"/>
                    </a:cubicBezTo>
                    <a:cubicBezTo>
                      <a:pt x="720" y="380"/>
                      <a:pt x="720" y="380"/>
                      <a:pt x="720" y="380"/>
                    </a:cubicBezTo>
                    <a:cubicBezTo>
                      <a:pt x="721" y="379"/>
                      <a:pt x="721" y="379"/>
                      <a:pt x="721" y="379"/>
                    </a:cubicBezTo>
                    <a:cubicBezTo>
                      <a:pt x="721" y="379"/>
                      <a:pt x="721" y="379"/>
                      <a:pt x="721" y="379"/>
                    </a:cubicBezTo>
                    <a:cubicBezTo>
                      <a:pt x="722" y="379"/>
                      <a:pt x="722" y="379"/>
                      <a:pt x="722" y="379"/>
                    </a:cubicBezTo>
                    <a:cubicBezTo>
                      <a:pt x="722" y="379"/>
                      <a:pt x="722" y="379"/>
                      <a:pt x="722" y="379"/>
                    </a:cubicBezTo>
                    <a:cubicBezTo>
                      <a:pt x="722" y="378"/>
                      <a:pt x="722" y="378"/>
                      <a:pt x="722" y="378"/>
                    </a:cubicBezTo>
                    <a:cubicBezTo>
                      <a:pt x="722" y="378"/>
                      <a:pt x="722" y="378"/>
                      <a:pt x="722" y="378"/>
                    </a:cubicBezTo>
                    <a:cubicBezTo>
                      <a:pt x="722" y="378"/>
                      <a:pt x="722" y="378"/>
                      <a:pt x="722" y="378"/>
                    </a:cubicBezTo>
                    <a:cubicBezTo>
                      <a:pt x="722" y="378"/>
                      <a:pt x="722" y="378"/>
                      <a:pt x="722" y="378"/>
                    </a:cubicBezTo>
                    <a:cubicBezTo>
                      <a:pt x="722" y="378"/>
                      <a:pt x="722" y="378"/>
                      <a:pt x="722" y="378"/>
                    </a:cubicBezTo>
                    <a:cubicBezTo>
                      <a:pt x="722" y="377"/>
                      <a:pt x="722" y="377"/>
                      <a:pt x="722" y="377"/>
                    </a:cubicBezTo>
                    <a:cubicBezTo>
                      <a:pt x="722" y="377"/>
                      <a:pt x="722" y="377"/>
                      <a:pt x="722" y="377"/>
                    </a:cubicBezTo>
                    <a:cubicBezTo>
                      <a:pt x="723" y="377"/>
                      <a:pt x="723" y="377"/>
                      <a:pt x="723" y="377"/>
                    </a:cubicBezTo>
                    <a:cubicBezTo>
                      <a:pt x="723" y="377"/>
                      <a:pt x="723" y="377"/>
                      <a:pt x="723" y="377"/>
                    </a:cubicBezTo>
                    <a:cubicBezTo>
                      <a:pt x="723" y="377"/>
                      <a:pt x="723" y="377"/>
                      <a:pt x="723" y="377"/>
                    </a:cubicBezTo>
                    <a:cubicBezTo>
                      <a:pt x="723" y="377"/>
                      <a:pt x="723" y="377"/>
                      <a:pt x="723" y="377"/>
                    </a:cubicBezTo>
                    <a:cubicBezTo>
                      <a:pt x="723" y="377"/>
                      <a:pt x="723" y="377"/>
                      <a:pt x="723" y="377"/>
                    </a:cubicBezTo>
                    <a:cubicBezTo>
                      <a:pt x="723" y="377"/>
                      <a:pt x="723" y="377"/>
                      <a:pt x="723" y="377"/>
                    </a:cubicBezTo>
                    <a:cubicBezTo>
                      <a:pt x="723" y="377"/>
                      <a:pt x="723" y="377"/>
                      <a:pt x="723" y="377"/>
                    </a:cubicBezTo>
                    <a:cubicBezTo>
                      <a:pt x="723" y="377"/>
                      <a:pt x="724" y="377"/>
                      <a:pt x="724" y="376"/>
                    </a:cubicBezTo>
                    <a:cubicBezTo>
                      <a:pt x="724" y="376"/>
                      <a:pt x="724" y="376"/>
                      <a:pt x="724" y="376"/>
                    </a:cubicBezTo>
                    <a:cubicBezTo>
                      <a:pt x="724" y="376"/>
                      <a:pt x="724" y="376"/>
                      <a:pt x="724" y="376"/>
                    </a:cubicBezTo>
                    <a:cubicBezTo>
                      <a:pt x="724" y="376"/>
                      <a:pt x="724" y="376"/>
                      <a:pt x="724" y="376"/>
                    </a:cubicBezTo>
                    <a:cubicBezTo>
                      <a:pt x="724" y="376"/>
                      <a:pt x="724" y="376"/>
                      <a:pt x="724" y="376"/>
                    </a:cubicBezTo>
                    <a:cubicBezTo>
                      <a:pt x="724" y="376"/>
                      <a:pt x="724" y="376"/>
                      <a:pt x="724" y="376"/>
                    </a:cubicBezTo>
                    <a:cubicBezTo>
                      <a:pt x="724" y="376"/>
                      <a:pt x="725" y="376"/>
                      <a:pt x="725" y="375"/>
                    </a:cubicBezTo>
                    <a:cubicBezTo>
                      <a:pt x="725" y="375"/>
                      <a:pt x="725" y="375"/>
                      <a:pt x="725" y="375"/>
                    </a:cubicBezTo>
                    <a:cubicBezTo>
                      <a:pt x="725" y="375"/>
                      <a:pt x="725" y="375"/>
                      <a:pt x="725" y="375"/>
                    </a:cubicBezTo>
                    <a:cubicBezTo>
                      <a:pt x="725" y="375"/>
                      <a:pt x="725" y="375"/>
                      <a:pt x="725" y="374"/>
                    </a:cubicBezTo>
                    <a:cubicBezTo>
                      <a:pt x="725" y="374"/>
                      <a:pt x="725" y="374"/>
                      <a:pt x="725" y="374"/>
                    </a:cubicBezTo>
                    <a:cubicBezTo>
                      <a:pt x="725" y="374"/>
                      <a:pt x="725" y="374"/>
                      <a:pt x="725" y="374"/>
                    </a:cubicBezTo>
                    <a:cubicBezTo>
                      <a:pt x="725" y="374"/>
                      <a:pt x="725" y="374"/>
                      <a:pt x="725" y="374"/>
                    </a:cubicBezTo>
                    <a:cubicBezTo>
                      <a:pt x="725" y="374"/>
                      <a:pt x="725" y="374"/>
                      <a:pt x="725" y="374"/>
                    </a:cubicBezTo>
                    <a:cubicBezTo>
                      <a:pt x="725" y="374"/>
                      <a:pt x="725" y="374"/>
                      <a:pt x="725" y="374"/>
                    </a:cubicBezTo>
                    <a:cubicBezTo>
                      <a:pt x="725" y="374"/>
                      <a:pt x="725" y="374"/>
                      <a:pt x="725" y="374"/>
                    </a:cubicBezTo>
                    <a:cubicBezTo>
                      <a:pt x="726" y="374"/>
                      <a:pt x="726" y="373"/>
                      <a:pt x="726" y="373"/>
                    </a:cubicBezTo>
                    <a:cubicBezTo>
                      <a:pt x="726" y="373"/>
                      <a:pt x="726" y="373"/>
                      <a:pt x="726" y="373"/>
                    </a:cubicBezTo>
                    <a:cubicBezTo>
                      <a:pt x="726" y="373"/>
                      <a:pt x="726" y="373"/>
                      <a:pt x="726" y="373"/>
                    </a:cubicBezTo>
                    <a:cubicBezTo>
                      <a:pt x="726" y="373"/>
                      <a:pt x="726" y="373"/>
                      <a:pt x="726" y="372"/>
                    </a:cubicBezTo>
                    <a:cubicBezTo>
                      <a:pt x="726" y="372"/>
                      <a:pt x="726" y="372"/>
                      <a:pt x="726" y="372"/>
                    </a:cubicBezTo>
                    <a:cubicBezTo>
                      <a:pt x="726" y="372"/>
                      <a:pt x="726" y="372"/>
                      <a:pt x="726" y="372"/>
                    </a:cubicBezTo>
                    <a:cubicBezTo>
                      <a:pt x="726" y="372"/>
                      <a:pt x="726" y="372"/>
                      <a:pt x="726" y="372"/>
                    </a:cubicBezTo>
                    <a:cubicBezTo>
                      <a:pt x="726" y="372"/>
                      <a:pt x="727" y="371"/>
                      <a:pt x="727" y="371"/>
                    </a:cubicBezTo>
                    <a:cubicBezTo>
                      <a:pt x="727" y="371"/>
                      <a:pt x="727" y="371"/>
                      <a:pt x="727" y="371"/>
                    </a:cubicBezTo>
                    <a:cubicBezTo>
                      <a:pt x="727" y="371"/>
                      <a:pt x="727" y="371"/>
                      <a:pt x="727" y="371"/>
                    </a:cubicBezTo>
                    <a:cubicBezTo>
                      <a:pt x="726" y="371"/>
                      <a:pt x="726" y="371"/>
                      <a:pt x="726" y="371"/>
                    </a:cubicBezTo>
                    <a:cubicBezTo>
                      <a:pt x="725" y="371"/>
                      <a:pt x="725" y="371"/>
                      <a:pt x="725" y="371"/>
                    </a:cubicBezTo>
                    <a:cubicBezTo>
                      <a:pt x="725" y="371"/>
                      <a:pt x="725" y="371"/>
                      <a:pt x="725" y="371"/>
                    </a:cubicBezTo>
                    <a:cubicBezTo>
                      <a:pt x="725" y="371"/>
                      <a:pt x="725" y="371"/>
                      <a:pt x="725" y="371"/>
                    </a:cubicBezTo>
                    <a:cubicBezTo>
                      <a:pt x="725" y="371"/>
                      <a:pt x="725" y="371"/>
                      <a:pt x="725" y="371"/>
                    </a:cubicBezTo>
                    <a:cubicBezTo>
                      <a:pt x="725" y="371"/>
                      <a:pt x="725" y="371"/>
                      <a:pt x="725" y="371"/>
                    </a:cubicBezTo>
                    <a:cubicBezTo>
                      <a:pt x="725" y="371"/>
                      <a:pt x="725" y="371"/>
                      <a:pt x="725" y="371"/>
                    </a:cubicBezTo>
                    <a:cubicBezTo>
                      <a:pt x="725" y="370"/>
                      <a:pt x="725" y="370"/>
                      <a:pt x="725" y="370"/>
                    </a:cubicBezTo>
                    <a:cubicBezTo>
                      <a:pt x="725" y="370"/>
                      <a:pt x="725" y="370"/>
                      <a:pt x="725" y="370"/>
                    </a:cubicBezTo>
                    <a:cubicBezTo>
                      <a:pt x="725" y="370"/>
                      <a:pt x="725" y="370"/>
                      <a:pt x="725" y="370"/>
                    </a:cubicBezTo>
                    <a:cubicBezTo>
                      <a:pt x="725" y="370"/>
                      <a:pt x="725" y="370"/>
                      <a:pt x="725" y="370"/>
                    </a:cubicBezTo>
                    <a:cubicBezTo>
                      <a:pt x="724" y="370"/>
                      <a:pt x="724" y="370"/>
                      <a:pt x="724" y="370"/>
                    </a:cubicBezTo>
                    <a:cubicBezTo>
                      <a:pt x="724" y="370"/>
                      <a:pt x="724" y="369"/>
                      <a:pt x="723" y="369"/>
                    </a:cubicBezTo>
                    <a:cubicBezTo>
                      <a:pt x="723" y="369"/>
                      <a:pt x="723" y="369"/>
                      <a:pt x="723" y="369"/>
                    </a:cubicBezTo>
                    <a:cubicBezTo>
                      <a:pt x="723" y="369"/>
                      <a:pt x="723" y="369"/>
                      <a:pt x="723" y="369"/>
                    </a:cubicBezTo>
                    <a:cubicBezTo>
                      <a:pt x="723" y="370"/>
                      <a:pt x="723" y="370"/>
                      <a:pt x="723" y="370"/>
                    </a:cubicBezTo>
                    <a:cubicBezTo>
                      <a:pt x="723" y="370"/>
                      <a:pt x="723" y="370"/>
                      <a:pt x="723" y="370"/>
                    </a:cubicBezTo>
                    <a:cubicBezTo>
                      <a:pt x="723" y="370"/>
                      <a:pt x="723" y="370"/>
                      <a:pt x="723" y="370"/>
                    </a:cubicBezTo>
                    <a:cubicBezTo>
                      <a:pt x="723" y="370"/>
                      <a:pt x="723" y="370"/>
                      <a:pt x="723" y="370"/>
                    </a:cubicBezTo>
                    <a:cubicBezTo>
                      <a:pt x="723" y="370"/>
                      <a:pt x="723" y="370"/>
                      <a:pt x="723" y="370"/>
                    </a:cubicBezTo>
                    <a:cubicBezTo>
                      <a:pt x="723" y="370"/>
                      <a:pt x="723" y="370"/>
                      <a:pt x="723" y="370"/>
                    </a:cubicBezTo>
                    <a:cubicBezTo>
                      <a:pt x="722" y="370"/>
                      <a:pt x="722" y="370"/>
                      <a:pt x="722" y="370"/>
                    </a:cubicBezTo>
                    <a:cubicBezTo>
                      <a:pt x="722" y="370"/>
                      <a:pt x="722" y="370"/>
                      <a:pt x="722" y="370"/>
                    </a:cubicBezTo>
                    <a:cubicBezTo>
                      <a:pt x="722" y="369"/>
                      <a:pt x="722" y="369"/>
                      <a:pt x="722" y="369"/>
                    </a:cubicBezTo>
                    <a:cubicBezTo>
                      <a:pt x="722" y="369"/>
                      <a:pt x="722" y="369"/>
                      <a:pt x="722" y="369"/>
                    </a:cubicBezTo>
                    <a:cubicBezTo>
                      <a:pt x="722" y="369"/>
                      <a:pt x="722" y="369"/>
                      <a:pt x="722" y="369"/>
                    </a:cubicBezTo>
                    <a:cubicBezTo>
                      <a:pt x="722" y="369"/>
                      <a:pt x="722" y="369"/>
                      <a:pt x="722" y="369"/>
                    </a:cubicBezTo>
                    <a:cubicBezTo>
                      <a:pt x="722" y="369"/>
                      <a:pt x="722" y="369"/>
                      <a:pt x="722" y="369"/>
                    </a:cubicBezTo>
                    <a:cubicBezTo>
                      <a:pt x="722" y="369"/>
                      <a:pt x="722" y="369"/>
                      <a:pt x="722" y="369"/>
                    </a:cubicBezTo>
                    <a:cubicBezTo>
                      <a:pt x="722" y="369"/>
                      <a:pt x="722" y="369"/>
                      <a:pt x="722" y="369"/>
                    </a:cubicBezTo>
                    <a:cubicBezTo>
                      <a:pt x="722"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19" y="368"/>
                      <a:pt x="719" y="368"/>
                      <a:pt x="719" y="368"/>
                    </a:cubicBezTo>
                    <a:cubicBezTo>
                      <a:pt x="718" y="368"/>
                      <a:pt x="718" y="368"/>
                      <a:pt x="718" y="368"/>
                    </a:cubicBezTo>
                    <a:cubicBezTo>
                      <a:pt x="718" y="368"/>
                      <a:pt x="718" y="368"/>
                      <a:pt x="718" y="368"/>
                    </a:cubicBezTo>
                    <a:cubicBezTo>
                      <a:pt x="718" y="368"/>
                      <a:pt x="718" y="368"/>
                      <a:pt x="718" y="368"/>
                    </a:cubicBezTo>
                    <a:cubicBezTo>
                      <a:pt x="718" y="368"/>
                      <a:pt x="718" y="368"/>
                      <a:pt x="718" y="368"/>
                    </a:cubicBezTo>
                    <a:cubicBezTo>
                      <a:pt x="718" y="368"/>
                      <a:pt x="718" y="368"/>
                      <a:pt x="717" y="368"/>
                    </a:cubicBezTo>
                    <a:cubicBezTo>
                      <a:pt x="717" y="368"/>
                      <a:pt x="717" y="368"/>
                      <a:pt x="717" y="368"/>
                    </a:cubicBezTo>
                    <a:cubicBezTo>
                      <a:pt x="717" y="368"/>
                      <a:pt x="717" y="368"/>
                      <a:pt x="717" y="368"/>
                    </a:cubicBezTo>
                    <a:cubicBezTo>
                      <a:pt x="717" y="368"/>
                      <a:pt x="716" y="368"/>
                      <a:pt x="716" y="368"/>
                    </a:cubicBezTo>
                    <a:cubicBezTo>
                      <a:pt x="716" y="368"/>
                      <a:pt x="716" y="368"/>
                      <a:pt x="716"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6" y="368"/>
                      <a:pt x="716" y="368"/>
                      <a:pt x="716" y="368"/>
                    </a:cubicBezTo>
                    <a:cubicBezTo>
                      <a:pt x="716" y="367"/>
                      <a:pt x="716" y="367"/>
                      <a:pt x="716" y="367"/>
                    </a:cubicBezTo>
                    <a:cubicBezTo>
                      <a:pt x="716" y="367"/>
                      <a:pt x="716" y="367"/>
                      <a:pt x="716" y="367"/>
                    </a:cubicBezTo>
                    <a:cubicBezTo>
                      <a:pt x="716" y="367"/>
                      <a:pt x="716" y="367"/>
                      <a:pt x="716" y="367"/>
                    </a:cubicBezTo>
                    <a:cubicBezTo>
                      <a:pt x="716" y="367"/>
                      <a:pt x="716" y="367"/>
                      <a:pt x="716" y="367"/>
                    </a:cubicBezTo>
                    <a:cubicBezTo>
                      <a:pt x="715" y="367"/>
                      <a:pt x="715" y="367"/>
                      <a:pt x="715" y="367"/>
                    </a:cubicBezTo>
                    <a:cubicBezTo>
                      <a:pt x="715" y="367"/>
                      <a:pt x="715" y="367"/>
                      <a:pt x="715" y="367"/>
                    </a:cubicBezTo>
                    <a:cubicBezTo>
                      <a:pt x="715" y="367"/>
                      <a:pt x="715" y="367"/>
                      <a:pt x="715" y="367"/>
                    </a:cubicBezTo>
                    <a:cubicBezTo>
                      <a:pt x="714" y="367"/>
                      <a:pt x="714" y="367"/>
                      <a:pt x="714" y="367"/>
                    </a:cubicBezTo>
                    <a:cubicBezTo>
                      <a:pt x="714" y="367"/>
                      <a:pt x="714" y="367"/>
                      <a:pt x="714" y="367"/>
                    </a:cubicBezTo>
                    <a:cubicBezTo>
                      <a:pt x="714" y="367"/>
                      <a:pt x="714" y="367"/>
                      <a:pt x="714" y="367"/>
                    </a:cubicBezTo>
                    <a:cubicBezTo>
                      <a:pt x="714" y="367"/>
                      <a:pt x="714" y="367"/>
                      <a:pt x="714" y="367"/>
                    </a:cubicBezTo>
                    <a:cubicBezTo>
                      <a:pt x="713" y="367"/>
                      <a:pt x="713" y="367"/>
                      <a:pt x="713" y="367"/>
                    </a:cubicBezTo>
                    <a:cubicBezTo>
                      <a:pt x="714" y="367"/>
                      <a:pt x="714" y="367"/>
                      <a:pt x="714" y="367"/>
                    </a:cubicBezTo>
                    <a:cubicBezTo>
                      <a:pt x="714" y="367"/>
                      <a:pt x="714" y="367"/>
                      <a:pt x="714" y="367"/>
                    </a:cubicBezTo>
                    <a:cubicBezTo>
                      <a:pt x="714" y="367"/>
                      <a:pt x="714" y="367"/>
                      <a:pt x="714" y="367"/>
                    </a:cubicBezTo>
                    <a:cubicBezTo>
                      <a:pt x="714" y="367"/>
                      <a:pt x="714" y="367"/>
                      <a:pt x="714" y="367"/>
                    </a:cubicBezTo>
                    <a:cubicBezTo>
                      <a:pt x="714" y="367"/>
                      <a:pt x="714" y="367"/>
                      <a:pt x="714" y="367"/>
                    </a:cubicBezTo>
                    <a:cubicBezTo>
                      <a:pt x="715" y="367"/>
                      <a:pt x="715" y="367"/>
                      <a:pt x="716" y="367"/>
                    </a:cubicBezTo>
                    <a:cubicBezTo>
                      <a:pt x="717" y="367"/>
                      <a:pt x="717" y="367"/>
                      <a:pt x="717" y="367"/>
                    </a:cubicBezTo>
                    <a:cubicBezTo>
                      <a:pt x="717" y="367"/>
                      <a:pt x="717" y="367"/>
                      <a:pt x="717" y="367"/>
                    </a:cubicBezTo>
                    <a:cubicBezTo>
                      <a:pt x="717" y="368"/>
                      <a:pt x="717" y="368"/>
                      <a:pt x="717" y="368"/>
                    </a:cubicBezTo>
                    <a:cubicBezTo>
                      <a:pt x="717" y="368"/>
                      <a:pt x="717" y="368"/>
                      <a:pt x="717" y="368"/>
                    </a:cubicBezTo>
                    <a:cubicBezTo>
                      <a:pt x="717" y="368"/>
                      <a:pt x="717" y="368"/>
                      <a:pt x="717" y="368"/>
                    </a:cubicBezTo>
                    <a:cubicBezTo>
                      <a:pt x="717" y="368"/>
                      <a:pt x="717" y="368"/>
                      <a:pt x="717" y="368"/>
                    </a:cubicBezTo>
                    <a:cubicBezTo>
                      <a:pt x="718" y="367"/>
                      <a:pt x="718" y="368"/>
                      <a:pt x="719" y="368"/>
                    </a:cubicBezTo>
                    <a:cubicBezTo>
                      <a:pt x="719" y="368"/>
                      <a:pt x="719" y="368"/>
                      <a:pt x="719" y="368"/>
                    </a:cubicBezTo>
                    <a:cubicBezTo>
                      <a:pt x="719" y="368"/>
                      <a:pt x="719" y="368"/>
                      <a:pt x="719" y="368"/>
                    </a:cubicBezTo>
                    <a:cubicBezTo>
                      <a:pt x="719" y="368"/>
                      <a:pt x="719" y="368"/>
                      <a:pt x="719" y="368"/>
                    </a:cubicBezTo>
                    <a:cubicBezTo>
                      <a:pt x="719" y="368"/>
                      <a:pt x="719" y="368"/>
                      <a:pt x="719" y="368"/>
                    </a:cubicBezTo>
                    <a:cubicBezTo>
                      <a:pt x="719" y="368"/>
                      <a:pt x="719" y="368"/>
                      <a:pt x="719" y="368"/>
                    </a:cubicBezTo>
                    <a:cubicBezTo>
                      <a:pt x="720" y="368"/>
                      <a:pt x="720" y="368"/>
                      <a:pt x="720" y="368"/>
                    </a:cubicBezTo>
                    <a:cubicBezTo>
                      <a:pt x="720" y="368"/>
                      <a:pt x="720" y="368"/>
                      <a:pt x="720" y="368"/>
                    </a:cubicBezTo>
                    <a:cubicBezTo>
                      <a:pt x="720" y="368"/>
                      <a:pt x="720" y="368"/>
                      <a:pt x="720" y="368"/>
                    </a:cubicBezTo>
                    <a:cubicBezTo>
                      <a:pt x="721" y="368"/>
                      <a:pt x="721" y="368"/>
                      <a:pt x="721" y="368"/>
                    </a:cubicBezTo>
                    <a:cubicBezTo>
                      <a:pt x="721" y="368"/>
                      <a:pt x="721" y="368"/>
                      <a:pt x="721" y="368"/>
                    </a:cubicBezTo>
                    <a:cubicBezTo>
                      <a:pt x="721" y="368"/>
                      <a:pt x="721" y="368"/>
                      <a:pt x="721" y="368"/>
                    </a:cubicBezTo>
                    <a:cubicBezTo>
                      <a:pt x="721" y="368"/>
                      <a:pt x="721" y="368"/>
                      <a:pt x="721" y="368"/>
                    </a:cubicBezTo>
                    <a:cubicBezTo>
                      <a:pt x="722" y="369"/>
                      <a:pt x="721" y="369"/>
                      <a:pt x="722" y="369"/>
                    </a:cubicBezTo>
                    <a:cubicBezTo>
                      <a:pt x="722" y="369"/>
                      <a:pt x="722" y="369"/>
                      <a:pt x="722" y="369"/>
                    </a:cubicBezTo>
                    <a:cubicBezTo>
                      <a:pt x="722" y="369"/>
                      <a:pt x="722" y="369"/>
                      <a:pt x="722" y="369"/>
                    </a:cubicBezTo>
                    <a:cubicBezTo>
                      <a:pt x="722" y="369"/>
                      <a:pt x="722" y="369"/>
                      <a:pt x="722" y="369"/>
                    </a:cubicBezTo>
                    <a:cubicBezTo>
                      <a:pt x="723" y="369"/>
                      <a:pt x="723" y="369"/>
                      <a:pt x="723" y="369"/>
                    </a:cubicBezTo>
                    <a:cubicBezTo>
                      <a:pt x="723" y="369"/>
                      <a:pt x="723" y="369"/>
                      <a:pt x="723" y="369"/>
                    </a:cubicBezTo>
                    <a:cubicBezTo>
                      <a:pt x="723" y="369"/>
                      <a:pt x="723" y="369"/>
                      <a:pt x="723" y="369"/>
                    </a:cubicBezTo>
                    <a:cubicBezTo>
                      <a:pt x="723" y="369"/>
                      <a:pt x="724" y="369"/>
                      <a:pt x="724" y="369"/>
                    </a:cubicBezTo>
                    <a:cubicBezTo>
                      <a:pt x="724" y="369"/>
                      <a:pt x="724" y="369"/>
                      <a:pt x="724" y="369"/>
                    </a:cubicBezTo>
                    <a:cubicBezTo>
                      <a:pt x="724" y="369"/>
                      <a:pt x="724" y="369"/>
                      <a:pt x="724" y="369"/>
                    </a:cubicBezTo>
                    <a:cubicBezTo>
                      <a:pt x="724" y="369"/>
                      <a:pt x="724" y="369"/>
                      <a:pt x="724" y="369"/>
                    </a:cubicBezTo>
                    <a:cubicBezTo>
                      <a:pt x="724" y="369"/>
                      <a:pt x="724" y="369"/>
                      <a:pt x="724" y="369"/>
                    </a:cubicBezTo>
                    <a:cubicBezTo>
                      <a:pt x="725" y="369"/>
                      <a:pt x="725" y="369"/>
                      <a:pt x="725" y="369"/>
                    </a:cubicBezTo>
                    <a:cubicBezTo>
                      <a:pt x="725" y="369"/>
                      <a:pt x="725" y="369"/>
                      <a:pt x="725" y="369"/>
                    </a:cubicBezTo>
                    <a:cubicBezTo>
                      <a:pt x="725" y="370"/>
                      <a:pt x="725" y="370"/>
                      <a:pt x="725" y="370"/>
                    </a:cubicBezTo>
                    <a:cubicBezTo>
                      <a:pt x="725" y="370"/>
                      <a:pt x="725" y="370"/>
                      <a:pt x="725" y="370"/>
                    </a:cubicBezTo>
                    <a:cubicBezTo>
                      <a:pt x="725" y="370"/>
                      <a:pt x="725" y="370"/>
                      <a:pt x="725" y="370"/>
                    </a:cubicBezTo>
                    <a:cubicBezTo>
                      <a:pt x="725" y="370"/>
                      <a:pt x="725" y="370"/>
                      <a:pt x="725" y="370"/>
                    </a:cubicBezTo>
                    <a:cubicBezTo>
                      <a:pt x="725" y="370"/>
                      <a:pt x="725" y="370"/>
                      <a:pt x="725" y="370"/>
                    </a:cubicBezTo>
                    <a:cubicBezTo>
                      <a:pt x="725" y="370"/>
                      <a:pt x="725" y="370"/>
                      <a:pt x="725" y="370"/>
                    </a:cubicBezTo>
                    <a:cubicBezTo>
                      <a:pt x="726" y="370"/>
                      <a:pt x="726" y="371"/>
                      <a:pt x="726" y="371"/>
                    </a:cubicBezTo>
                    <a:cubicBezTo>
                      <a:pt x="726" y="371"/>
                      <a:pt x="726" y="371"/>
                      <a:pt x="726" y="371"/>
                    </a:cubicBezTo>
                    <a:cubicBezTo>
                      <a:pt x="726" y="371"/>
                      <a:pt x="726" y="371"/>
                      <a:pt x="726" y="371"/>
                    </a:cubicBezTo>
                    <a:cubicBezTo>
                      <a:pt x="727" y="371"/>
                      <a:pt x="727" y="371"/>
                      <a:pt x="727" y="371"/>
                    </a:cubicBezTo>
                    <a:cubicBezTo>
                      <a:pt x="727" y="371"/>
                      <a:pt x="727" y="371"/>
                      <a:pt x="727" y="371"/>
                    </a:cubicBezTo>
                    <a:cubicBezTo>
                      <a:pt x="727" y="371"/>
                      <a:pt x="727" y="371"/>
                      <a:pt x="727" y="371"/>
                    </a:cubicBezTo>
                    <a:cubicBezTo>
                      <a:pt x="728" y="370"/>
                      <a:pt x="728" y="370"/>
                      <a:pt x="728" y="370"/>
                    </a:cubicBezTo>
                    <a:cubicBezTo>
                      <a:pt x="729" y="369"/>
                      <a:pt x="729" y="369"/>
                      <a:pt x="729" y="369"/>
                    </a:cubicBezTo>
                    <a:cubicBezTo>
                      <a:pt x="730" y="369"/>
                      <a:pt x="730" y="369"/>
                      <a:pt x="730" y="369"/>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1" y="367"/>
                      <a:pt x="731" y="367"/>
                    </a:cubicBezTo>
                    <a:cubicBezTo>
                      <a:pt x="731" y="367"/>
                      <a:pt x="731" y="367"/>
                      <a:pt x="731" y="367"/>
                    </a:cubicBezTo>
                    <a:cubicBezTo>
                      <a:pt x="731" y="367"/>
                      <a:pt x="731" y="367"/>
                      <a:pt x="731" y="367"/>
                    </a:cubicBezTo>
                    <a:cubicBezTo>
                      <a:pt x="731" y="367"/>
                      <a:pt x="731" y="367"/>
                      <a:pt x="731" y="367"/>
                    </a:cubicBezTo>
                    <a:cubicBezTo>
                      <a:pt x="731" y="367"/>
                      <a:pt x="731" y="367"/>
                      <a:pt x="731" y="367"/>
                    </a:cubicBezTo>
                    <a:cubicBezTo>
                      <a:pt x="731" y="367"/>
                      <a:pt x="731" y="367"/>
                      <a:pt x="731" y="367"/>
                    </a:cubicBezTo>
                    <a:cubicBezTo>
                      <a:pt x="731" y="367"/>
                      <a:pt x="731" y="367"/>
                      <a:pt x="731" y="367"/>
                    </a:cubicBezTo>
                    <a:cubicBezTo>
                      <a:pt x="731" y="366"/>
                      <a:pt x="731" y="366"/>
                      <a:pt x="731" y="366"/>
                    </a:cubicBezTo>
                    <a:cubicBezTo>
                      <a:pt x="731" y="365"/>
                      <a:pt x="731" y="365"/>
                      <a:pt x="731" y="365"/>
                    </a:cubicBezTo>
                    <a:cubicBezTo>
                      <a:pt x="731" y="365"/>
                      <a:pt x="731" y="365"/>
                      <a:pt x="731" y="365"/>
                    </a:cubicBezTo>
                    <a:cubicBezTo>
                      <a:pt x="732" y="365"/>
                      <a:pt x="732" y="365"/>
                      <a:pt x="732" y="365"/>
                    </a:cubicBezTo>
                    <a:cubicBezTo>
                      <a:pt x="732" y="365"/>
                      <a:pt x="732" y="365"/>
                      <a:pt x="732" y="365"/>
                    </a:cubicBezTo>
                    <a:cubicBezTo>
                      <a:pt x="732" y="365"/>
                      <a:pt x="732" y="365"/>
                      <a:pt x="732" y="365"/>
                    </a:cubicBezTo>
                    <a:cubicBezTo>
                      <a:pt x="732" y="365"/>
                      <a:pt x="732" y="365"/>
                      <a:pt x="732" y="365"/>
                    </a:cubicBezTo>
                    <a:cubicBezTo>
                      <a:pt x="732" y="365"/>
                      <a:pt x="732" y="365"/>
                      <a:pt x="732" y="365"/>
                    </a:cubicBezTo>
                    <a:cubicBezTo>
                      <a:pt x="732" y="365"/>
                      <a:pt x="732" y="365"/>
                      <a:pt x="732" y="365"/>
                    </a:cubicBezTo>
                    <a:cubicBezTo>
                      <a:pt x="732" y="365"/>
                      <a:pt x="732" y="365"/>
                      <a:pt x="732" y="365"/>
                    </a:cubicBezTo>
                    <a:cubicBezTo>
                      <a:pt x="733" y="365"/>
                      <a:pt x="733" y="365"/>
                      <a:pt x="733" y="365"/>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3"/>
                      <a:pt x="733" y="363"/>
                      <a:pt x="733" y="363"/>
                    </a:cubicBezTo>
                    <a:cubicBezTo>
                      <a:pt x="733" y="363"/>
                      <a:pt x="733" y="363"/>
                      <a:pt x="733" y="363"/>
                    </a:cubicBezTo>
                    <a:cubicBezTo>
                      <a:pt x="733" y="363"/>
                      <a:pt x="733" y="363"/>
                      <a:pt x="733" y="363"/>
                    </a:cubicBezTo>
                    <a:cubicBezTo>
                      <a:pt x="734" y="363"/>
                      <a:pt x="733" y="363"/>
                      <a:pt x="734" y="363"/>
                    </a:cubicBezTo>
                    <a:cubicBezTo>
                      <a:pt x="734" y="363"/>
                      <a:pt x="734" y="363"/>
                      <a:pt x="734" y="363"/>
                    </a:cubicBezTo>
                    <a:cubicBezTo>
                      <a:pt x="734" y="362"/>
                      <a:pt x="734" y="362"/>
                      <a:pt x="734" y="362"/>
                    </a:cubicBezTo>
                    <a:cubicBezTo>
                      <a:pt x="734" y="362"/>
                      <a:pt x="734" y="362"/>
                      <a:pt x="734" y="362"/>
                    </a:cubicBezTo>
                    <a:cubicBezTo>
                      <a:pt x="734" y="362"/>
                      <a:pt x="734" y="362"/>
                      <a:pt x="734" y="362"/>
                    </a:cubicBezTo>
                    <a:cubicBezTo>
                      <a:pt x="735" y="362"/>
                      <a:pt x="735" y="362"/>
                      <a:pt x="735" y="362"/>
                    </a:cubicBezTo>
                    <a:cubicBezTo>
                      <a:pt x="735" y="362"/>
                      <a:pt x="735" y="362"/>
                      <a:pt x="735" y="362"/>
                    </a:cubicBezTo>
                    <a:cubicBezTo>
                      <a:pt x="735" y="362"/>
                      <a:pt x="735" y="362"/>
                      <a:pt x="735" y="362"/>
                    </a:cubicBezTo>
                    <a:cubicBezTo>
                      <a:pt x="735" y="362"/>
                      <a:pt x="735"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7" y="361"/>
                      <a:pt x="737" y="361"/>
                      <a:pt x="737" y="361"/>
                    </a:cubicBezTo>
                    <a:cubicBezTo>
                      <a:pt x="737" y="360"/>
                      <a:pt x="737" y="360"/>
                      <a:pt x="737" y="360"/>
                    </a:cubicBezTo>
                    <a:cubicBezTo>
                      <a:pt x="737" y="360"/>
                      <a:pt x="737" y="360"/>
                      <a:pt x="737" y="360"/>
                    </a:cubicBezTo>
                    <a:cubicBezTo>
                      <a:pt x="737" y="360"/>
                      <a:pt x="737" y="360"/>
                      <a:pt x="737" y="360"/>
                    </a:cubicBezTo>
                    <a:cubicBezTo>
                      <a:pt x="737" y="360"/>
                      <a:pt x="737" y="360"/>
                      <a:pt x="737" y="360"/>
                    </a:cubicBezTo>
                    <a:cubicBezTo>
                      <a:pt x="737" y="360"/>
                      <a:pt x="737" y="360"/>
                      <a:pt x="737" y="360"/>
                    </a:cubicBezTo>
                    <a:cubicBezTo>
                      <a:pt x="738" y="360"/>
                      <a:pt x="738" y="360"/>
                      <a:pt x="738" y="360"/>
                    </a:cubicBezTo>
                    <a:cubicBezTo>
                      <a:pt x="738" y="360"/>
                      <a:pt x="738" y="360"/>
                      <a:pt x="738" y="360"/>
                    </a:cubicBezTo>
                    <a:cubicBezTo>
                      <a:pt x="738" y="360"/>
                      <a:pt x="738" y="360"/>
                      <a:pt x="738" y="360"/>
                    </a:cubicBezTo>
                    <a:cubicBezTo>
                      <a:pt x="738" y="360"/>
                      <a:pt x="738" y="360"/>
                      <a:pt x="738" y="360"/>
                    </a:cubicBezTo>
                    <a:cubicBezTo>
                      <a:pt x="738" y="360"/>
                      <a:pt x="738" y="360"/>
                      <a:pt x="738" y="360"/>
                    </a:cubicBezTo>
                    <a:cubicBezTo>
                      <a:pt x="738" y="360"/>
                      <a:pt x="738" y="360"/>
                      <a:pt x="738" y="360"/>
                    </a:cubicBezTo>
                    <a:cubicBezTo>
                      <a:pt x="738" y="360"/>
                      <a:pt x="738" y="360"/>
                      <a:pt x="738" y="360"/>
                    </a:cubicBezTo>
                    <a:cubicBezTo>
                      <a:pt x="738" y="359"/>
                      <a:pt x="738" y="359"/>
                      <a:pt x="738" y="359"/>
                    </a:cubicBezTo>
                    <a:cubicBezTo>
                      <a:pt x="738" y="359"/>
                      <a:pt x="738" y="359"/>
                      <a:pt x="738" y="359"/>
                    </a:cubicBezTo>
                    <a:cubicBezTo>
                      <a:pt x="739" y="359"/>
                      <a:pt x="739" y="359"/>
                      <a:pt x="739" y="359"/>
                    </a:cubicBezTo>
                    <a:cubicBezTo>
                      <a:pt x="739" y="359"/>
                      <a:pt x="739" y="359"/>
                      <a:pt x="739" y="359"/>
                    </a:cubicBezTo>
                    <a:cubicBezTo>
                      <a:pt x="739" y="358"/>
                      <a:pt x="740" y="358"/>
                      <a:pt x="740" y="358"/>
                    </a:cubicBezTo>
                    <a:cubicBezTo>
                      <a:pt x="740" y="358"/>
                      <a:pt x="740" y="358"/>
                      <a:pt x="740" y="358"/>
                    </a:cubicBezTo>
                    <a:cubicBezTo>
                      <a:pt x="740" y="358"/>
                      <a:pt x="740" y="358"/>
                      <a:pt x="740" y="358"/>
                    </a:cubicBezTo>
                    <a:cubicBezTo>
                      <a:pt x="740" y="358"/>
                      <a:pt x="740" y="358"/>
                      <a:pt x="740" y="358"/>
                    </a:cubicBezTo>
                    <a:cubicBezTo>
                      <a:pt x="740" y="358"/>
                      <a:pt x="740" y="358"/>
                      <a:pt x="740" y="358"/>
                    </a:cubicBezTo>
                    <a:cubicBezTo>
                      <a:pt x="740" y="358"/>
                      <a:pt x="740" y="358"/>
                      <a:pt x="740" y="358"/>
                    </a:cubicBezTo>
                    <a:cubicBezTo>
                      <a:pt x="740" y="358"/>
                      <a:pt x="740" y="358"/>
                      <a:pt x="740" y="358"/>
                    </a:cubicBezTo>
                    <a:cubicBezTo>
                      <a:pt x="740" y="358"/>
                      <a:pt x="740" y="358"/>
                      <a:pt x="740" y="359"/>
                    </a:cubicBezTo>
                    <a:cubicBezTo>
                      <a:pt x="740" y="359"/>
                      <a:pt x="740" y="359"/>
                      <a:pt x="740" y="359"/>
                    </a:cubicBezTo>
                    <a:cubicBezTo>
                      <a:pt x="740" y="359"/>
                      <a:pt x="740" y="359"/>
                      <a:pt x="740" y="359"/>
                    </a:cubicBezTo>
                    <a:cubicBezTo>
                      <a:pt x="740" y="359"/>
                      <a:pt x="740" y="359"/>
                      <a:pt x="740" y="359"/>
                    </a:cubicBezTo>
                    <a:cubicBezTo>
                      <a:pt x="740" y="359"/>
                      <a:pt x="740" y="359"/>
                      <a:pt x="740" y="359"/>
                    </a:cubicBezTo>
                    <a:cubicBezTo>
                      <a:pt x="740" y="359"/>
                      <a:pt x="740" y="359"/>
                      <a:pt x="740" y="359"/>
                    </a:cubicBezTo>
                    <a:cubicBezTo>
                      <a:pt x="740" y="359"/>
                      <a:pt x="740" y="359"/>
                      <a:pt x="740" y="359"/>
                    </a:cubicBezTo>
                    <a:cubicBezTo>
                      <a:pt x="740" y="358"/>
                      <a:pt x="740" y="358"/>
                      <a:pt x="740" y="358"/>
                    </a:cubicBezTo>
                    <a:cubicBezTo>
                      <a:pt x="742" y="357"/>
                      <a:pt x="741" y="357"/>
                      <a:pt x="742" y="357"/>
                    </a:cubicBezTo>
                    <a:cubicBezTo>
                      <a:pt x="743" y="356"/>
                      <a:pt x="743" y="356"/>
                      <a:pt x="743" y="356"/>
                    </a:cubicBezTo>
                    <a:cubicBezTo>
                      <a:pt x="743" y="356"/>
                      <a:pt x="743" y="356"/>
                      <a:pt x="743" y="356"/>
                    </a:cubicBezTo>
                    <a:cubicBezTo>
                      <a:pt x="743" y="356"/>
                      <a:pt x="743" y="356"/>
                      <a:pt x="743" y="356"/>
                    </a:cubicBezTo>
                    <a:cubicBezTo>
                      <a:pt x="744" y="356"/>
                      <a:pt x="744" y="356"/>
                      <a:pt x="744" y="356"/>
                    </a:cubicBezTo>
                    <a:cubicBezTo>
                      <a:pt x="746" y="355"/>
                      <a:pt x="746" y="355"/>
                      <a:pt x="746" y="355"/>
                    </a:cubicBezTo>
                    <a:cubicBezTo>
                      <a:pt x="750" y="354"/>
                      <a:pt x="750" y="354"/>
                      <a:pt x="750" y="354"/>
                    </a:cubicBezTo>
                    <a:cubicBezTo>
                      <a:pt x="751" y="354"/>
                      <a:pt x="751" y="354"/>
                      <a:pt x="751" y="354"/>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2"/>
                      <a:pt x="752" y="352"/>
                      <a:pt x="752" y="352"/>
                    </a:cubicBezTo>
                    <a:cubicBezTo>
                      <a:pt x="752" y="352"/>
                      <a:pt x="752" y="352"/>
                      <a:pt x="752" y="352"/>
                    </a:cubicBezTo>
                    <a:cubicBezTo>
                      <a:pt x="752" y="352"/>
                      <a:pt x="752" y="352"/>
                      <a:pt x="752" y="352"/>
                    </a:cubicBezTo>
                    <a:cubicBezTo>
                      <a:pt x="752" y="352"/>
                      <a:pt x="752" y="352"/>
                      <a:pt x="752" y="351"/>
                    </a:cubicBezTo>
                    <a:cubicBezTo>
                      <a:pt x="752" y="351"/>
                      <a:pt x="752" y="351"/>
                      <a:pt x="752" y="351"/>
                    </a:cubicBezTo>
                    <a:cubicBezTo>
                      <a:pt x="752" y="351"/>
                      <a:pt x="752" y="351"/>
                      <a:pt x="752" y="351"/>
                    </a:cubicBezTo>
                    <a:cubicBezTo>
                      <a:pt x="753" y="350"/>
                      <a:pt x="753" y="351"/>
                      <a:pt x="753" y="350"/>
                    </a:cubicBezTo>
                    <a:cubicBezTo>
                      <a:pt x="753" y="350"/>
                      <a:pt x="753" y="350"/>
                      <a:pt x="753" y="350"/>
                    </a:cubicBezTo>
                    <a:cubicBezTo>
                      <a:pt x="753" y="350"/>
                      <a:pt x="753" y="350"/>
                      <a:pt x="753" y="350"/>
                    </a:cubicBezTo>
                    <a:cubicBezTo>
                      <a:pt x="753" y="350"/>
                      <a:pt x="753" y="350"/>
                      <a:pt x="753" y="350"/>
                    </a:cubicBezTo>
                    <a:cubicBezTo>
                      <a:pt x="753" y="350"/>
                      <a:pt x="753" y="350"/>
                      <a:pt x="753" y="350"/>
                    </a:cubicBezTo>
                    <a:cubicBezTo>
                      <a:pt x="753" y="350"/>
                      <a:pt x="753" y="350"/>
                      <a:pt x="753" y="350"/>
                    </a:cubicBezTo>
                    <a:cubicBezTo>
                      <a:pt x="753" y="350"/>
                      <a:pt x="753" y="350"/>
                      <a:pt x="753" y="350"/>
                    </a:cubicBezTo>
                    <a:cubicBezTo>
                      <a:pt x="753" y="349"/>
                      <a:pt x="753" y="349"/>
                      <a:pt x="753" y="349"/>
                    </a:cubicBezTo>
                    <a:cubicBezTo>
                      <a:pt x="753" y="349"/>
                      <a:pt x="753" y="349"/>
                      <a:pt x="753" y="349"/>
                    </a:cubicBezTo>
                    <a:cubicBezTo>
                      <a:pt x="753" y="348"/>
                      <a:pt x="753" y="348"/>
                      <a:pt x="753" y="348"/>
                    </a:cubicBezTo>
                    <a:cubicBezTo>
                      <a:pt x="753" y="348"/>
                      <a:pt x="753" y="348"/>
                      <a:pt x="753" y="348"/>
                    </a:cubicBezTo>
                    <a:cubicBezTo>
                      <a:pt x="754" y="348"/>
                      <a:pt x="754" y="348"/>
                      <a:pt x="755" y="348"/>
                    </a:cubicBezTo>
                    <a:cubicBezTo>
                      <a:pt x="755" y="348"/>
                      <a:pt x="755" y="348"/>
                      <a:pt x="755" y="348"/>
                    </a:cubicBezTo>
                    <a:cubicBezTo>
                      <a:pt x="755" y="348"/>
                      <a:pt x="755" y="348"/>
                      <a:pt x="755" y="348"/>
                    </a:cubicBezTo>
                    <a:cubicBezTo>
                      <a:pt x="755" y="348"/>
                      <a:pt x="755" y="347"/>
                      <a:pt x="755" y="347"/>
                    </a:cubicBezTo>
                    <a:cubicBezTo>
                      <a:pt x="755" y="347"/>
                      <a:pt x="755" y="347"/>
                      <a:pt x="755" y="347"/>
                    </a:cubicBezTo>
                    <a:cubicBezTo>
                      <a:pt x="755" y="347"/>
                      <a:pt x="755" y="347"/>
                      <a:pt x="755" y="347"/>
                    </a:cubicBezTo>
                    <a:cubicBezTo>
                      <a:pt x="755" y="347"/>
                      <a:pt x="755" y="347"/>
                      <a:pt x="755" y="347"/>
                    </a:cubicBezTo>
                    <a:cubicBezTo>
                      <a:pt x="755" y="347"/>
                      <a:pt x="755" y="347"/>
                      <a:pt x="755" y="347"/>
                    </a:cubicBezTo>
                    <a:cubicBezTo>
                      <a:pt x="755" y="347"/>
                      <a:pt x="755" y="347"/>
                      <a:pt x="755" y="347"/>
                    </a:cubicBezTo>
                    <a:cubicBezTo>
                      <a:pt x="755" y="347"/>
                      <a:pt x="755" y="346"/>
                      <a:pt x="756" y="346"/>
                    </a:cubicBezTo>
                    <a:cubicBezTo>
                      <a:pt x="756" y="346"/>
                      <a:pt x="756" y="346"/>
                      <a:pt x="756" y="346"/>
                    </a:cubicBezTo>
                    <a:cubicBezTo>
                      <a:pt x="756" y="346"/>
                      <a:pt x="756" y="346"/>
                      <a:pt x="756" y="346"/>
                    </a:cubicBezTo>
                    <a:cubicBezTo>
                      <a:pt x="758" y="345"/>
                      <a:pt x="757" y="345"/>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9" y="344"/>
                      <a:pt x="759" y="344"/>
                      <a:pt x="759" y="343"/>
                    </a:cubicBezTo>
                    <a:cubicBezTo>
                      <a:pt x="759" y="343"/>
                      <a:pt x="759" y="343"/>
                      <a:pt x="759" y="343"/>
                    </a:cubicBezTo>
                    <a:cubicBezTo>
                      <a:pt x="759" y="343"/>
                      <a:pt x="759" y="343"/>
                      <a:pt x="759" y="343"/>
                    </a:cubicBezTo>
                    <a:cubicBezTo>
                      <a:pt x="760" y="343"/>
                      <a:pt x="760" y="343"/>
                      <a:pt x="760" y="343"/>
                    </a:cubicBezTo>
                    <a:cubicBezTo>
                      <a:pt x="760" y="343"/>
                      <a:pt x="760" y="343"/>
                      <a:pt x="760" y="343"/>
                    </a:cubicBezTo>
                    <a:cubicBezTo>
                      <a:pt x="760" y="343"/>
                      <a:pt x="760" y="343"/>
                      <a:pt x="760" y="343"/>
                    </a:cubicBezTo>
                    <a:cubicBezTo>
                      <a:pt x="760" y="343"/>
                      <a:pt x="760" y="343"/>
                      <a:pt x="760" y="343"/>
                    </a:cubicBezTo>
                    <a:cubicBezTo>
                      <a:pt x="760" y="343"/>
                      <a:pt x="760" y="343"/>
                      <a:pt x="760" y="343"/>
                    </a:cubicBezTo>
                    <a:cubicBezTo>
                      <a:pt x="761" y="343"/>
                      <a:pt x="762" y="343"/>
                      <a:pt x="763" y="344"/>
                    </a:cubicBezTo>
                    <a:cubicBezTo>
                      <a:pt x="763" y="344"/>
                      <a:pt x="763" y="344"/>
                      <a:pt x="763" y="344"/>
                    </a:cubicBezTo>
                    <a:cubicBezTo>
                      <a:pt x="763" y="344"/>
                      <a:pt x="763" y="344"/>
                      <a:pt x="763" y="344"/>
                    </a:cubicBezTo>
                    <a:cubicBezTo>
                      <a:pt x="763" y="344"/>
                      <a:pt x="763" y="344"/>
                      <a:pt x="763" y="344"/>
                    </a:cubicBezTo>
                    <a:cubicBezTo>
                      <a:pt x="764" y="344"/>
                      <a:pt x="764" y="344"/>
                      <a:pt x="764" y="344"/>
                    </a:cubicBezTo>
                    <a:cubicBezTo>
                      <a:pt x="764" y="344"/>
                      <a:pt x="764" y="344"/>
                      <a:pt x="764" y="344"/>
                    </a:cubicBezTo>
                    <a:cubicBezTo>
                      <a:pt x="765" y="344"/>
                      <a:pt x="765" y="344"/>
                      <a:pt x="765" y="344"/>
                    </a:cubicBezTo>
                    <a:cubicBezTo>
                      <a:pt x="766" y="343"/>
                      <a:pt x="766" y="343"/>
                      <a:pt x="766" y="343"/>
                    </a:cubicBezTo>
                    <a:cubicBezTo>
                      <a:pt x="770" y="343"/>
                      <a:pt x="770" y="343"/>
                      <a:pt x="770" y="343"/>
                    </a:cubicBezTo>
                    <a:cubicBezTo>
                      <a:pt x="772" y="343"/>
                      <a:pt x="772" y="343"/>
                      <a:pt x="772" y="343"/>
                    </a:cubicBezTo>
                    <a:cubicBezTo>
                      <a:pt x="773" y="342"/>
                      <a:pt x="773" y="342"/>
                      <a:pt x="773" y="342"/>
                    </a:cubicBezTo>
                    <a:cubicBezTo>
                      <a:pt x="773" y="342"/>
                      <a:pt x="773" y="342"/>
                      <a:pt x="773" y="342"/>
                    </a:cubicBezTo>
                    <a:cubicBezTo>
                      <a:pt x="773" y="342"/>
                      <a:pt x="773" y="342"/>
                      <a:pt x="773" y="342"/>
                    </a:cubicBezTo>
                    <a:cubicBezTo>
                      <a:pt x="774" y="342"/>
                      <a:pt x="774" y="343"/>
                      <a:pt x="775" y="343"/>
                    </a:cubicBezTo>
                    <a:cubicBezTo>
                      <a:pt x="775" y="343"/>
                      <a:pt x="775" y="343"/>
                      <a:pt x="775" y="343"/>
                    </a:cubicBezTo>
                    <a:cubicBezTo>
                      <a:pt x="775" y="343"/>
                      <a:pt x="775" y="343"/>
                      <a:pt x="775" y="343"/>
                    </a:cubicBezTo>
                    <a:cubicBezTo>
                      <a:pt x="775" y="343"/>
                      <a:pt x="775" y="343"/>
                      <a:pt x="775" y="343"/>
                    </a:cubicBezTo>
                    <a:cubicBezTo>
                      <a:pt x="776" y="343"/>
                      <a:pt x="776" y="343"/>
                      <a:pt x="776" y="343"/>
                    </a:cubicBezTo>
                    <a:cubicBezTo>
                      <a:pt x="776" y="343"/>
                      <a:pt x="776" y="343"/>
                      <a:pt x="776" y="343"/>
                    </a:cubicBezTo>
                    <a:cubicBezTo>
                      <a:pt x="776" y="343"/>
                      <a:pt x="776" y="343"/>
                      <a:pt x="776" y="343"/>
                    </a:cubicBezTo>
                    <a:cubicBezTo>
                      <a:pt x="777" y="343"/>
                      <a:pt x="777" y="343"/>
                      <a:pt x="778" y="343"/>
                    </a:cubicBezTo>
                    <a:cubicBezTo>
                      <a:pt x="778" y="343"/>
                      <a:pt x="778" y="343"/>
                      <a:pt x="778" y="343"/>
                    </a:cubicBezTo>
                    <a:cubicBezTo>
                      <a:pt x="778" y="343"/>
                      <a:pt x="778" y="343"/>
                      <a:pt x="778" y="343"/>
                    </a:cubicBezTo>
                    <a:cubicBezTo>
                      <a:pt x="778" y="343"/>
                      <a:pt x="778" y="343"/>
                      <a:pt x="778" y="343"/>
                    </a:cubicBezTo>
                    <a:cubicBezTo>
                      <a:pt x="779" y="343"/>
                      <a:pt x="779" y="343"/>
                      <a:pt x="779" y="343"/>
                    </a:cubicBezTo>
                    <a:cubicBezTo>
                      <a:pt x="779" y="342"/>
                      <a:pt x="779" y="342"/>
                      <a:pt x="779" y="342"/>
                    </a:cubicBezTo>
                    <a:cubicBezTo>
                      <a:pt x="781" y="342"/>
                      <a:pt x="781" y="342"/>
                      <a:pt x="781" y="342"/>
                    </a:cubicBezTo>
                    <a:cubicBezTo>
                      <a:pt x="781" y="342"/>
                      <a:pt x="781" y="342"/>
                      <a:pt x="781" y="342"/>
                    </a:cubicBezTo>
                    <a:cubicBezTo>
                      <a:pt x="781" y="342"/>
                      <a:pt x="781" y="342"/>
                      <a:pt x="781" y="342"/>
                    </a:cubicBezTo>
                    <a:cubicBezTo>
                      <a:pt x="781" y="342"/>
                      <a:pt x="781" y="342"/>
                      <a:pt x="781" y="342"/>
                    </a:cubicBezTo>
                    <a:cubicBezTo>
                      <a:pt x="781" y="342"/>
                      <a:pt x="781" y="342"/>
                      <a:pt x="781" y="342"/>
                    </a:cubicBezTo>
                    <a:cubicBezTo>
                      <a:pt x="782" y="342"/>
                      <a:pt x="782" y="342"/>
                      <a:pt x="782" y="342"/>
                    </a:cubicBezTo>
                    <a:cubicBezTo>
                      <a:pt x="782" y="342"/>
                      <a:pt x="782" y="342"/>
                      <a:pt x="782" y="342"/>
                    </a:cubicBezTo>
                    <a:cubicBezTo>
                      <a:pt x="782" y="342"/>
                      <a:pt x="782" y="342"/>
                      <a:pt x="782" y="342"/>
                    </a:cubicBezTo>
                    <a:cubicBezTo>
                      <a:pt x="782" y="342"/>
                      <a:pt x="782" y="342"/>
                      <a:pt x="782" y="342"/>
                    </a:cubicBezTo>
                    <a:cubicBezTo>
                      <a:pt x="782" y="343"/>
                      <a:pt x="782" y="343"/>
                      <a:pt x="782" y="343"/>
                    </a:cubicBezTo>
                    <a:cubicBezTo>
                      <a:pt x="782" y="343"/>
                      <a:pt x="782" y="343"/>
                      <a:pt x="782" y="343"/>
                    </a:cubicBezTo>
                    <a:cubicBezTo>
                      <a:pt x="782" y="343"/>
                      <a:pt x="781" y="343"/>
                      <a:pt x="780" y="343"/>
                    </a:cubicBezTo>
                    <a:cubicBezTo>
                      <a:pt x="781" y="343"/>
                      <a:pt x="782" y="344"/>
                      <a:pt x="784" y="344"/>
                    </a:cubicBezTo>
                    <a:cubicBezTo>
                      <a:pt x="785" y="345"/>
                      <a:pt x="785" y="345"/>
                      <a:pt x="786" y="345"/>
                    </a:cubicBezTo>
                    <a:cubicBezTo>
                      <a:pt x="787" y="345"/>
                      <a:pt x="788" y="346"/>
                      <a:pt x="788" y="347"/>
                    </a:cubicBezTo>
                    <a:cubicBezTo>
                      <a:pt x="789" y="347"/>
                      <a:pt x="789" y="348"/>
                      <a:pt x="790" y="349"/>
                    </a:cubicBezTo>
                    <a:cubicBezTo>
                      <a:pt x="790" y="349"/>
                      <a:pt x="791" y="349"/>
                      <a:pt x="791" y="349"/>
                    </a:cubicBezTo>
                    <a:cubicBezTo>
                      <a:pt x="792" y="350"/>
                      <a:pt x="793" y="351"/>
                      <a:pt x="794" y="351"/>
                    </a:cubicBezTo>
                    <a:cubicBezTo>
                      <a:pt x="796" y="352"/>
                      <a:pt x="798" y="352"/>
                      <a:pt x="799" y="352"/>
                    </a:cubicBezTo>
                    <a:cubicBezTo>
                      <a:pt x="801" y="352"/>
                      <a:pt x="804" y="353"/>
                      <a:pt x="806" y="353"/>
                    </a:cubicBezTo>
                    <a:cubicBezTo>
                      <a:pt x="806" y="353"/>
                      <a:pt x="806" y="353"/>
                      <a:pt x="806" y="353"/>
                    </a:cubicBezTo>
                    <a:cubicBezTo>
                      <a:pt x="806" y="353"/>
                      <a:pt x="807" y="353"/>
                      <a:pt x="807" y="353"/>
                    </a:cubicBezTo>
                    <a:cubicBezTo>
                      <a:pt x="807" y="353"/>
                      <a:pt x="808" y="353"/>
                      <a:pt x="808" y="353"/>
                    </a:cubicBezTo>
                    <a:cubicBezTo>
                      <a:pt x="808" y="353"/>
                      <a:pt x="808" y="353"/>
                      <a:pt x="808" y="353"/>
                    </a:cubicBezTo>
                    <a:cubicBezTo>
                      <a:pt x="808" y="353"/>
                      <a:pt x="809" y="352"/>
                      <a:pt x="809" y="352"/>
                    </a:cubicBezTo>
                    <a:cubicBezTo>
                      <a:pt x="809" y="352"/>
                      <a:pt x="809" y="352"/>
                      <a:pt x="808" y="351"/>
                    </a:cubicBezTo>
                    <a:cubicBezTo>
                      <a:pt x="808" y="351"/>
                      <a:pt x="807" y="350"/>
                      <a:pt x="807" y="349"/>
                    </a:cubicBezTo>
                    <a:cubicBezTo>
                      <a:pt x="806" y="349"/>
                      <a:pt x="806" y="349"/>
                      <a:pt x="806" y="349"/>
                    </a:cubicBezTo>
                    <a:cubicBezTo>
                      <a:pt x="806" y="349"/>
                      <a:pt x="806" y="349"/>
                      <a:pt x="806" y="349"/>
                    </a:cubicBezTo>
                    <a:cubicBezTo>
                      <a:pt x="805" y="349"/>
                      <a:pt x="804" y="349"/>
                      <a:pt x="804" y="348"/>
                    </a:cubicBezTo>
                    <a:cubicBezTo>
                      <a:pt x="803" y="348"/>
                      <a:pt x="803" y="348"/>
                      <a:pt x="803" y="348"/>
                    </a:cubicBezTo>
                    <a:cubicBezTo>
                      <a:pt x="803" y="348"/>
                      <a:pt x="803" y="348"/>
                      <a:pt x="802" y="348"/>
                    </a:cubicBezTo>
                    <a:cubicBezTo>
                      <a:pt x="802" y="348"/>
                      <a:pt x="802" y="348"/>
                      <a:pt x="802" y="348"/>
                    </a:cubicBezTo>
                    <a:cubicBezTo>
                      <a:pt x="802" y="347"/>
                      <a:pt x="801" y="347"/>
                      <a:pt x="801" y="347"/>
                    </a:cubicBezTo>
                    <a:cubicBezTo>
                      <a:pt x="800" y="346"/>
                      <a:pt x="800" y="346"/>
                      <a:pt x="800" y="346"/>
                    </a:cubicBezTo>
                    <a:cubicBezTo>
                      <a:pt x="799" y="345"/>
                      <a:pt x="797" y="345"/>
                      <a:pt x="796" y="345"/>
                    </a:cubicBezTo>
                    <a:cubicBezTo>
                      <a:pt x="795" y="344"/>
                      <a:pt x="794" y="344"/>
                      <a:pt x="793" y="343"/>
                    </a:cubicBezTo>
                    <a:cubicBezTo>
                      <a:pt x="795" y="343"/>
                      <a:pt x="797" y="343"/>
                      <a:pt x="799" y="343"/>
                    </a:cubicBezTo>
                    <a:cubicBezTo>
                      <a:pt x="799" y="343"/>
                      <a:pt x="800" y="343"/>
                      <a:pt x="801" y="343"/>
                    </a:cubicBezTo>
                    <a:cubicBezTo>
                      <a:pt x="802" y="343"/>
                      <a:pt x="803" y="343"/>
                      <a:pt x="804" y="343"/>
                    </a:cubicBezTo>
                    <a:cubicBezTo>
                      <a:pt x="805" y="343"/>
                      <a:pt x="807" y="343"/>
                      <a:pt x="807" y="343"/>
                    </a:cubicBezTo>
                    <a:cubicBezTo>
                      <a:pt x="808" y="344"/>
                      <a:pt x="807" y="345"/>
                      <a:pt x="809" y="344"/>
                    </a:cubicBezTo>
                    <a:cubicBezTo>
                      <a:pt x="809" y="344"/>
                      <a:pt x="808" y="345"/>
                      <a:pt x="808" y="345"/>
                    </a:cubicBezTo>
                    <a:cubicBezTo>
                      <a:pt x="810" y="345"/>
                      <a:pt x="812" y="344"/>
                      <a:pt x="814" y="344"/>
                    </a:cubicBezTo>
                    <a:cubicBezTo>
                      <a:pt x="815" y="344"/>
                      <a:pt x="817" y="343"/>
                      <a:pt x="818" y="344"/>
                    </a:cubicBezTo>
                    <a:cubicBezTo>
                      <a:pt x="819" y="344"/>
                      <a:pt x="824" y="342"/>
                      <a:pt x="825" y="343"/>
                    </a:cubicBezTo>
                    <a:cubicBezTo>
                      <a:pt x="827" y="342"/>
                      <a:pt x="830" y="340"/>
                      <a:pt x="832" y="338"/>
                    </a:cubicBezTo>
                    <a:cubicBezTo>
                      <a:pt x="832" y="337"/>
                      <a:pt x="835" y="336"/>
                      <a:pt x="835" y="335"/>
                    </a:cubicBezTo>
                    <a:cubicBezTo>
                      <a:pt x="836" y="338"/>
                      <a:pt x="837" y="335"/>
                      <a:pt x="837" y="334"/>
                    </a:cubicBezTo>
                    <a:cubicBezTo>
                      <a:pt x="837" y="334"/>
                      <a:pt x="837" y="333"/>
                      <a:pt x="836" y="333"/>
                    </a:cubicBezTo>
                    <a:cubicBezTo>
                      <a:pt x="837" y="332"/>
                      <a:pt x="839" y="331"/>
                      <a:pt x="840" y="330"/>
                    </a:cubicBezTo>
                    <a:cubicBezTo>
                      <a:pt x="838" y="329"/>
                      <a:pt x="844" y="328"/>
                      <a:pt x="845" y="328"/>
                    </a:cubicBezTo>
                    <a:cubicBezTo>
                      <a:pt x="847" y="327"/>
                      <a:pt x="848" y="327"/>
                      <a:pt x="850" y="327"/>
                    </a:cubicBezTo>
                    <a:cubicBezTo>
                      <a:pt x="852" y="327"/>
                      <a:pt x="854" y="328"/>
                      <a:pt x="856" y="327"/>
                    </a:cubicBezTo>
                    <a:cubicBezTo>
                      <a:pt x="856" y="327"/>
                      <a:pt x="856" y="327"/>
                      <a:pt x="856" y="327"/>
                    </a:cubicBezTo>
                    <a:cubicBezTo>
                      <a:pt x="856" y="327"/>
                      <a:pt x="856" y="327"/>
                      <a:pt x="856" y="327"/>
                    </a:cubicBezTo>
                    <a:cubicBezTo>
                      <a:pt x="857" y="328"/>
                      <a:pt x="858" y="328"/>
                      <a:pt x="856" y="329"/>
                    </a:cubicBezTo>
                    <a:cubicBezTo>
                      <a:pt x="856" y="330"/>
                      <a:pt x="856" y="330"/>
                      <a:pt x="855" y="331"/>
                    </a:cubicBezTo>
                    <a:cubicBezTo>
                      <a:pt x="855" y="331"/>
                      <a:pt x="854" y="331"/>
                      <a:pt x="853" y="331"/>
                    </a:cubicBezTo>
                    <a:cubicBezTo>
                      <a:pt x="853" y="332"/>
                      <a:pt x="854" y="332"/>
                      <a:pt x="855" y="332"/>
                    </a:cubicBezTo>
                    <a:cubicBezTo>
                      <a:pt x="855" y="332"/>
                      <a:pt x="855" y="332"/>
                      <a:pt x="855" y="332"/>
                    </a:cubicBezTo>
                    <a:cubicBezTo>
                      <a:pt x="855" y="332"/>
                      <a:pt x="855" y="332"/>
                      <a:pt x="855" y="333"/>
                    </a:cubicBezTo>
                    <a:cubicBezTo>
                      <a:pt x="854" y="333"/>
                      <a:pt x="854" y="333"/>
                      <a:pt x="853" y="333"/>
                    </a:cubicBezTo>
                    <a:cubicBezTo>
                      <a:pt x="852" y="334"/>
                      <a:pt x="852" y="335"/>
                      <a:pt x="852" y="335"/>
                    </a:cubicBezTo>
                    <a:cubicBezTo>
                      <a:pt x="852" y="335"/>
                      <a:pt x="851" y="336"/>
                      <a:pt x="851" y="336"/>
                    </a:cubicBezTo>
                    <a:cubicBezTo>
                      <a:pt x="851" y="338"/>
                      <a:pt x="850" y="339"/>
                      <a:pt x="849" y="341"/>
                    </a:cubicBezTo>
                    <a:cubicBezTo>
                      <a:pt x="849" y="342"/>
                      <a:pt x="848" y="343"/>
                      <a:pt x="848" y="344"/>
                    </a:cubicBezTo>
                    <a:cubicBezTo>
                      <a:pt x="848" y="344"/>
                      <a:pt x="848" y="344"/>
                      <a:pt x="848" y="344"/>
                    </a:cubicBezTo>
                    <a:cubicBezTo>
                      <a:pt x="847" y="345"/>
                      <a:pt x="847" y="346"/>
                      <a:pt x="847" y="346"/>
                    </a:cubicBezTo>
                    <a:cubicBezTo>
                      <a:pt x="847" y="347"/>
                      <a:pt x="846" y="347"/>
                      <a:pt x="845" y="348"/>
                    </a:cubicBezTo>
                    <a:cubicBezTo>
                      <a:pt x="845" y="348"/>
                      <a:pt x="844" y="349"/>
                      <a:pt x="844" y="350"/>
                    </a:cubicBezTo>
                    <a:cubicBezTo>
                      <a:pt x="844" y="350"/>
                      <a:pt x="844" y="350"/>
                      <a:pt x="845" y="350"/>
                    </a:cubicBezTo>
                    <a:cubicBezTo>
                      <a:pt x="845" y="351"/>
                      <a:pt x="846" y="351"/>
                      <a:pt x="847" y="351"/>
                    </a:cubicBezTo>
                    <a:cubicBezTo>
                      <a:pt x="847" y="352"/>
                      <a:pt x="846" y="352"/>
                      <a:pt x="845" y="352"/>
                    </a:cubicBezTo>
                    <a:cubicBezTo>
                      <a:pt x="845" y="352"/>
                      <a:pt x="845" y="352"/>
                      <a:pt x="845" y="352"/>
                    </a:cubicBezTo>
                    <a:cubicBezTo>
                      <a:pt x="846" y="352"/>
                      <a:pt x="847" y="352"/>
                      <a:pt x="848" y="352"/>
                    </a:cubicBezTo>
                    <a:cubicBezTo>
                      <a:pt x="848" y="352"/>
                      <a:pt x="848" y="352"/>
                      <a:pt x="848" y="352"/>
                    </a:cubicBezTo>
                    <a:cubicBezTo>
                      <a:pt x="848" y="352"/>
                      <a:pt x="847" y="352"/>
                      <a:pt x="847" y="352"/>
                    </a:cubicBezTo>
                    <a:cubicBezTo>
                      <a:pt x="846" y="352"/>
                      <a:pt x="846" y="352"/>
                      <a:pt x="845" y="352"/>
                    </a:cubicBezTo>
                    <a:cubicBezTo>
                      <a:pt x="845" y="353"/>
                      <a:pt x="845" y="353"/>
                      <a:pt x="846" y="354"/>
                    </a:cubicBezTo>
                    <a:cubicBezTo>
                      <a:pt x="846" y="354"/>
                      <a:pt x="847" y="354"/>
                      <a:pt x="847" y="354"/>
                    </a:cubicBezTo>
                    <a:cubicBezTo>
                      <a:pt x="846" y="355"/>
                      <a:pt x="846" y="354"/>
                      <a:pt x="845" y="354"/>
                    </a:cubicBezTo>
                    <a:cubicBezTo>
                      <a:pt x="845" y="354"/>
                      <a:pt x="845" y="354"/>
                      <a:pt x="845" y="354"/>
                    </a:cubicBezTo>
                    <a:cubicBezTo>
                      <a:pt x="844" y="353"/>
                      <a:pt x="844" y="353"/>
                      <a:pt x="843" y="353"/>
                    </a:cubicBezTo>
                    <a:cubicBezTo>
                      <a:pt x="843" y="353"/>
                      <a:pt x="843" y="354"/>
                      <a:pt x="843" y="353"/>
                    </a:cubicBezTo>
                    <a:cubicBezTo>
                      <a:pt x="843" y="353"/>
                      <a:pt x="843" y="353"/>
                      <a:pt x="843" y="353"/>
                    </a:cubicBezTo>
                    <a:cubicBezTo>
                      <a:pt x="843" y="352"/>
                      <a:pt x="843" y="352"/>
                      <a:pt x="842" y="353"/>
                    </a:cubicBezTo>
                    <a:cubicBezTo>
                      <a:pt x="842" y="353"/>
                      <a:pt x="842" y="353"/>
                      <a:pt x="842" y="354"/>
                    </a:cubicBezTo>
                    <a:cubicBezTo>
                      <a:pt x="841" y="354"/>
                      <a:pt x="841" y="354"/>
                      <a:pt x="841" y="354"/>
                    </a:cubicBezTo>
                    <a:cubicBezTo>
                      <a:pt x="841" y="355"/>
                      <a:pt x="841" y="355"/>
                      <a:pt x="841" y="356"/>
                    </a:cubicBezTo>
                    <a:cubicBezTo>
                      <a:pt x="840" y="357"/>
                      <a:pt x="840" y="357"/>
                      <a:pt x="840" y="357"/>
                    </a:cubicBezTo>
                    <a:cubicBezTo>
                      <a:pt x="839" y="358"/>
                      <a:pt x="840" y="359"/>
                      <a:pt x="839" y="360"/>
                    </a:cubicBezTo>
                    <a:cubicBezTo>
                      <a:pt x="838" y="360"/>
                      <a:pt x="838" y="360"/>
                      <a:pt x="838" y="359"/>
                    </a:cubicBezTo>
                    <a:cubicBezTo>
                      <a:pt x="838" y="360"/>
                      <a:pt x="837" y="360"/>
                      <a:pt x="837" y="359"/>
                    </a:cubicBezTo>
                    <a:cubicBezTo>
                      <a:pt x="837" y="358"/>
                      <a:pt x="838" y="358"/>
                      <a:pt x="839" y="357"/>
                    </a:cubicBezTo>
                    <a:cubicBezTo>
                      <a:pt x="838" y="357"/>
                      <a:pt x="838" y="357"/>
                      <a:pt x="838" y="357"/>
                    </a:cubicBezTo>
                    <a:cubicBezTo>
                      <a:pt x="836" y="358"/>
                      <a:pt x="834" y="360"/>
                      <a:pt x="834" y="361"/>
                    </a:cubicBezTo>
                    <a:cubicBezTo>
                      <a:pt x="834" y="361"/>
                      <a:pt x="834" y="361"/>
                      <a:pt x="835" y="361"/>
                    </a:cubicBezTo>
                    <a:cubicBezTo>
                      <a:pt x="836" y="361"/>
                      <a:pt x="837" y="360"/>
                      <a:pt x="839" y="360"/>
                    </a:cubicBezTo>
                    <a:cubicBezTo>
                      <a:pt x="839" y="360"/>
                      <a:pt x="839" y="360"/>
                      <a:pt x="839" y="360"/>
                    </a:cubicBezTo>
                    <a:cubicBezTo>
                      <a:pt x="840" y="360"/>
                      <a:pt x="841" y="360"/>
                      <a:pt x="841" y="360"/>
                    </a:cubicBezTo>
                    <a:cubicBezTo>
                      <a:pt x="842" y="361"/>
                      <a:pt x="842" y="360"/>
                      <a:pt x="843" y="360"/>
                    </a:cubicBezTo>
                    <a:cubicBezTo>
                      <a:pt x="843" y="360"/>
                      <a:pt x="843" y="360"/>
                      <a:pt x="844" y="360"/>
                    </a:cubicBezTo>
                    <a:cubicBezTo>
                      <a:pt x="843" y="361"/>
                      <a:pt x="842" y="361"/>
                      <a:pt x="842" y="361"/>
                    </a:cubicBezTo>
                    <a:cubicBezTo>
                      <a:pt x="841" y="361"/>
                      <a:pt x="841" y="362"/>
                      <a:pt x="840" y="362"/>
                    </a:cubicBezTo>
                    <a:cubicBezTo>
                      <a:pt x="841" y="362"/>
                      <a:pt x="841" y="362"/>
                      <a:pt x="841" y="362"/>
                    </a:cubicBezTo>
                    <a:cubicBezTo>
                      <a:pt x="839" y="363"/>
                      <a:pt x="838" y="364"/>
                      <a:pt x="836" y="366"/>
                    </a:cubicBezTo>
                    <a:cubicBezTo>
                      <a:pt x="835" y="366"/>
                      <a:pt x="834" y="367"/>
                      <a:pt x="833" y="368"/>
                    </a:cubicBezTo>
                    <a:cubicBezTo>
                      <a:pt x="833" y="368"/>
                      <a:pt x="832" y="368"/>
                      <a:pt x="832" y="369"/>
                    </a:cubicBezTo>
                    <a:cubicBezTo>
                      <a:pt x="832" y="369"/>
                      <a:pt x="833" y="370"/>
                      <a:pt x="833" y="370"/>
                    </a:cubicBezTo>
                    <a:cubicBezTo>
                      <a:pt x="833" y="370"/>
                      <a:pt x="833" y="371"/>
                      <a:pt x="833" y="371"/>
                    </a:cubicBezTo>
                    <a:cubicBezTo>
                      <a:pt x="833" y="371"/>
                      <a:pt x="833" y="371"/>
                      <a:pt x="833" y="372"/>
                    </a:cubicBezTo>
                    <a:cubicBezTo>
                      <a:pt x="833" y="372"/>
                      <a:pt x="834" y="372"/>
                      <a:pt x="835" y="373"/>
                    </a:cubicBezTo>
                    <a:cubicBezTo>
                      <a:pt x="836" y="373"/>
                      <a:pt x="838" y="373"/>
                      <a:pt x="839" y="372"/>
                    </a:cubicBezTo>
                    <a:cubicBezTo>
                      <a:pt x="839" y="372"/>
                      <a:pt x="840" y="372"/>
                      <a:pt x="840" y="372"/>
                    </a:cubicBezTo>
                    <a:cubicBezTo>
                      <a:pt x="841" y="372"/>
                      <a:pt x="842" y="372"/>
                      <a:pt x="842" y="372"/>
                    </a:cubicBezTo>
                    <a:cubicBezTo>
                      <a:pt x="843" y="371"/>
                      <a:pt x="843" y="370"/>
                      <a:pt x="844" y="370"/>
                    </a:cubicBezTo>
                    <a:cubicBezTo>
                      <a:pt x="843" y="371"/>
                      <a:pt x="843" y="371"/>
                      <a:pt x="843" y="372"/>
                    </a:cubicBezTo>
                    <a:cubicBezTo>
                      <a:pt x="843" y="372"/>
                      <a:pt x="843" y="372"/>
                      <a:pt x="844" y="372"/>
                    </a:cubicBezTo>
                    <a:cubicBezTo>
                      <a:pt x="845" y="371"/>
                      <a:pt x="846" y="371"/>
                      <a:pt x="847" y="371"/>
                    </a:cubicBezTo>
                    <a:cubicBezTo>
                      <a:pt x="847" y="371"/>
                      <a:pt x="848" y="371"/>
                      <a:pt x="848" y="371"/>
                    </a:cubicBezTo>
                    <a:cubicBezTo>
                      <a:pt x="849" y="371"/>
                      <a:pt x="850" y="372"/>
                      <a:pt x="851" y="372"/>
                    </a:cubicBezTo>
                    <a:cubicBezTo>
                      <a:pt x="852" y="372"/>
                      <a:pt x="852" y="372"/>
                      <a:pt x="852" y="372"/>
                    </a:cubicBezTo>
                    <a:cubicBezTo>
                      <a:pt x="853" y="372"/>
                      <a:pt x="854" y="372"/>
                      <a:pt x="855" y="372"/>
                    </a:cubicBezTo>
                    <a:cubicBezTo>
                      <a:pt x="855" y="372"/>
                      <a:pt x="856" y="372"/>
                      <a:pt x="856" y="372"/>
                    </a:cubicBezTo>
                    <a:cubicBezTo>
                      <a:pt x="857" y="372"/>
                      <a:pt x="857" y="373"/>
                      <a:pt x="858" y="373"/>
                    </a:cubicBezTo>
                    <a:cubicBezTo>
                      <a:pt x="859" y="373"/>
                      <a:pt x="859" y="373"/>
                      <a:pt x="860" y="373"/>
                    </a:cubicBezTo>
                    <a:cubicBezTo>
                      <a:pt x="859" y="373"/>
                      <a:pt x="859" y="372"/>
                      <a:pt x="859" y="372"/>
                    </a:cubicBezTo>
                    <a:cubicBezTo>
                      <a:pt x="860" y="372"/>
                      <a:pt x="862" y="372"/>
                      <a:pt x="863" y="372"/>
                    </a:cubicBezTo>
                    <a:cubicBezTo>
                      <a:pt x="863" y="372"/>
                      <a:pt x="863" y="372"/>
                      <a:pt x="863" y="372"/>
                    </a:cubicBezTo>
                    <a:cubicBezTo>
                      <a:pt x="864" y="372"/>
                      <a:pt x="864" y="372"/>
                      <a:pt x="864" y="371"/>
                    </a:cubicBezTo>
                    <a:cubicBezTo>
                      <a:pt x="864" y="371"/>
                      <a:pt x="864" y="371"/>
                      <a:pt x="864" y="371"/>
                    </a:cubicBezTo>
                    <a:cubicBezTo>
                      <a:pt x="864" y="371"/>
                      <a:pt x="864" y="371"/>
                      <a:pt x="864" y="371"/>
                    </a:cubicBezTo>
                    <a:cubicBezTo>
                      <a:pt x="865" y="371"/>
                      <a:pt x="865" y="371"/>
                      <a:pt x="865" y="371"/>
                    </a:cubicBezTo>
                    <a:cubicBezTo>
                      <a:pt x="866" y="370"/>
                      <a:pt x="866" y="370"/>
                      <a:pt x="865" y="369"/>
                    </a:cubicBezTo>
                    <a:cubicBezTo>
                      <a:pt x="865" y="369"/>
                      <a:pt x="865" y="369"/>
                      <a:pt x="865" y="369"/>
                    </a:cubicBezTo>
                    <a:cubicBezTo>
                      <a:pt x="865" y="369"/>
                      <a:pt x="865" y="369"/>
                      <a:pt x="865" y="369"/>
                    </a:cubicBezTo>
                    <a:cubicBezTo>
                      <a:pt x="866" y="370"/>
                      <a:pt x="867" y="371"/>
                      <a:pt x="868" y="370"/>
                    </a:cubicBezTo>
                    <a:cubicBezTo>
                      <a:pt x="868" y="370"/>
                      <a:pt x="868" y="370"/>
                      <a:pt x="868" y="370"/>
                    </a:cubicBezTo>
                    <a:cubicBezTo>
                      <a:pt x="868" y="370"/>
                      <a:pt x="868" y="370"/>
                      <a:pt x="868" y="370"/>
                    </a:cubicBezTo>
                    <a:cubicBezTo>
                      <a:pt x="868" y="371"/>
                      <a:pt x="868" y="371"/>
                      <a:pt x="868" y="371"/>
                    </a:cubicBezTo>
                    <a:cubicBezTo>
                      <a:pt x="868" y="371"/>
                      <a:pt x="868" y="372"/>
                      <a:pt x="868" y="372"/>
                    </a:cubicBezTo>
                    <a:cubicBezTo>
                      <a:pt x="869" y="372"/>
                      <a:pt x="870" y="371"/>
                      <a:pt x="871" y="371"/>
                    </a:cubicBezTo>
                    <a:cubicBezTo>
                      <a:pt x="870" y="372"/>
                      <a:pt x="869" y="372"/>
                      <a:pt x="868" y="373"/>
                    </a:cubicBezTo>
                    <a:cubicBezTo>
                      <a:pt x="867" y="373"/>
                      <a:pt x="866" y="373"/>
                      <a:pt x="865" y="373"/>
                    </a:cubicBezTo>
                    <a:cubicBezTo>
                      <a:pt x="865" y="373"/>
                      <a:pt x="865" y="373"/>
                      <a:pt x="865" y="374"/>
                    </a:cubicBezTo>
                    <a:cubicBezTo>
                      <a:pt x="865" y="374"/>
                      <a:pt x="865" y="374"/>
                      <a:pt x="865" y="374"/>
                    </a:cubicBezTo>
                    <a:cubicBezTo>
                      <a:pt x="866" y="374"/>
                      <a:pt x="867" y="374"/>
                      <a:pt x="868" y="373"/>
                    </a:cubicBezTo>
                    <a:cubicBezTo>
                      <a:pt x="869" y="373"/>
                      <a:pt x="869" y="373"/>
                      <a:pt x="869" y="373"/>
                    </a:cubicBezTo>
                    <a:cubicBezTo>
                      <a:pt x="869" y="373"/>
                      <a:pt x="869" y="373"/>
                      <a:pt x="868" y="374"/>
                    </a:cubicBezTo>
                    <a:cubicBezTo>
                      <a:pt x="868" y="374"/>
                      <a:pt x="868" y="374"/>
                      <a:pt x="868" y="374"/>
                    </a:cubicBezTo>
                    <a:cubicBezTo>
                      <a:pt x="868" y="374"/>
                      <a:pt x="868" y="374"/>
                      <a:pt x="868" y="374"/>
                    </a:cubicBezTo>
                    <a:cubicBezTo>
                      <a:pt x="868" y="374"/>
                      <a:pt x="868" y="374"/>
                      <a:pt x="869" y="374"/>
                    </a:cubicBezTo>
                    <a:cubicBezTo>
                      <a:pt x="869" y="374"/>
                      <a:pt x="869" y="374"/>
                      <a:pt x="869" y="374"/>
                    </a:cubicBezTo>
                    <a:cubicBezTo>
                      <a:pt x="869" y="373"/>
                      <a:pt x="869" y="373"/>
                      <a:pt x="869" y="373"/>
                    </a:cubicBezTo>
                    <a:cubicBezTo>
                      <a:pt x="869" y="373"/>
                      <a:pt x="869" y="373"/>
                      <a:pt x="869" y="373"/>
                    </a:cubicBezTo>
                    <a:cubicBezTo>
                      <a:pt x="869" y="374"/>
                      <a:pt x="870" y="374"/>
                      <a:pt x="870" y="374"/>
                    </a:cubicBezTo>
                    <a:cubicBezTo>
                      <a:pt x="871" y="374"/>
                      <a:pt x="871" y="373"/>
                      <a:pt x="871" y="373"/>
                    </a:cubicBezTo>
                    <a:cubicBezTo>
                      <a:pt x="871" y="373"/>
                      <a:pt x="871" y="374"/>
                      <a:pt x="872" y="374"/>
                    </a:cubicBezTo>
                    <a:cubicBezTo>
                      <a:pt x="872" y="374"/>
                      <a:pt x="873" y="374"/>
                      <a:pt x="873" y="374"/>
                    </a:cubicBezTo>
                    <a:cubicBezTo>
                      <a:pt x="873" y="373"/>
                      <a:pt x="873" y="372"/>
                      <a:pt x="873" y="371"/>
                    </a:cubicBezTo>
                    <a:cubicBezTo>
                      <a:pt x="873" y="370"/>
                      <a:pt x="874" y="371"/>
                      <a:pt x="874" y="372"/>
                    </a:cubicBezTo>
                    <a:cubicBezTo>
                      <a:pt x="874" y="371"/>
                      <a:pt x="875" y="372"/>
                      <a:pt x="875" y="372"/>
                    </a:cubicBezTo>
                    <a:cubicBezTo>
                      <a:pt x="875" y="372"/>
                      <a:pt x="875" y="372"/>
                      <a:pt x="876" y="372"/>
                    </a:cubicBezTo>
                    <a:cubicBezTo>
                      <a:pt x="876" y="374"/>
                      <a:pt x="877" y="371"/>
                      <a:pt x="878" y="370"/>
                    </a:cubicBezTo>
                    <a:cubicBezTo>
                      <a:pt x="878" y="371"/>
                      <a:pt x="877" y="372"/>
                      <a:pt x="877" y="372"/>
                    </a:cubicBezTo>
                    <a:cubicBezTo>
                      <a:pt x="878" y="372"/>
                      <a:pt x="878" y="372"/>
                      <a:pt x="879" y="372"/>
                    </a:cubicBezTo>
                    <a:cubicBezTo>
                      <a:pt x="879" y="372"/>
                      <a:pt x="880" y="371"/>
                      <a:pt x="880" y="372"/>
                    </a:cubicBezTo>
                    <a:cubicBezTo>
                      <a:pt x="879" y="372"/>
                      <a:pt x="878" y="373"/>
                      <a:pt x="877" y="373"/>
                    </a:cubicBezTo>
                    <a:cubicBezTo>
                      <a:pt x="875" y="375"/>
                      <a:pt x="873" y="376"/>
                      <a:pt x="871" y="378"/>
                    </a:cubicBezTo>
                    <a:cubicBezTo>
                      <a:pt x="870" y="378"/>
                      <a:pt x="869" y="379"/>
                      <a:pt x="869" y="379"/>
                    </a:cubicBezTo>
                    <a:cubicBezTo>
                      <a:pt x="869" y="379"/>
                      <a:pt x="868" y="380"/>
                      <a:pt x="868" y="380"/>
                    </a:cubicBezTo>
                    <a:cubicBezTo>
                      <a:pt x="868" y="381"/>
                      <a:pt x="868" y="381"/>
                      <a:pt x="868" y="382"/>
                    </a:cubicBezTo>
                    <a:cubicBezTo>
                      <a:pt x="868" y="382"/>
                      <a:pt x="868" y="382"/>
                      <a:pt x="868" y="382"/>
                    </a:cubicBezTo>
                    <a:cubicBezTo>
                      <a:pt x="868" y="382"/>
                      <a:pt x="868" y="382"/>
                      <a:pt x="869" y="382"/>
                    </a:cubicBezTo>
                    <a:cubicBezTo>
                      <a:pt x="870" y="382"/>
                      <a:pt x="872" y="381"/>
                      <a:pt x="872" y="381"/>
                    </a:cubicBezTo>
                    <a:cubicBezTo>
                      <a:pt x="873" y="381"/>
                      <a:pt x="872" y="382"/>
                      <a:pt x="873" y="382"/>
                    </a:cubicBezTo>
                    <a:cubicBezTo>
                      <a:pt x="873" y="382"/>
                      <a:pt x="873" y="381"/>
                      <a:pt x="874" y="381"/>
                    </a:cubicBezTo>
                    <a:cubicBezTo>
                      <a:pt x="875" y="381"/>
                      <a:pt x="875" y="381"/>
                      <a:pt x="875" y="380"/>
                    </a:cubicBezTo>
                    <a:cubicBezTo>
                      <a:pt x="875" y="380"/>
                      <a:pt x="875" y="380"/>
                      <a:pt x="876" y="380"/>
                    </a:cubicBezTo>
                    <a:cubicBezTo>
                      <a:pt x="876" y="380"/>
                      <a:pt x="876" y="379"/>
                      <a:pt x="876" y="379"/>
                    </a:cubicBezTo>
                    <a:cubicBezTo>
                      <a:pt x="877" y="379"/>
                      <a:pt x="877" y="378"/>
                      <a:pt x="877" y="378"/>
                    </a:cubicBezTo>
                    <a:cubicBezTo>
                      <a:pt x="877" y="378"/>
                      <a:pt x="877" y="377"/>
                      <a:pt x="877" y="377"/>
                    </a:cubicBezTo>
                    <a:cubicBezTo>
                      <a:pt x="878" y="376"/>
                      <a:pt x="878" y="375"/>
                      <a:pt x="879" y="375"/>
                    </a:cubicBezTo>
                    <a:cubicBezTo>
                      <a:pt x="879" y="375"/>
                      <a:pt x="879" y="375"/>
                      <a:pt x="879" y="375"/>
                    </a:cubicBezTo>
                    <a:cubicBezTo>
                      <a:pt x="879" y="375"/>
                      <a:pt x="879" y="375"/>
                      <a:pt x="879" y="375"/>
                    </a:cubicBezTo>
                    <a:cubicBezTo>
                      <a:pt x="879" y="375"/>
                      <a:pt x="879" y="375"/>
                      <a:pt x="879" y="375"/>
                    </a:cubicBezTo>
                    <a:cubicBezTo>
                      <a:pt x="880" y="376"/>
                      <a:pt x="880" y="376"/>
                      <a:pt x="880" y="375"/>
                    </a:cubicBezTo>
                    <a:cubicBezTo>
                      <a:pt x="880" y="375"/>
                      <a:pt x="880" y="375"/>
                      <a:pt x="880" y="375"/>
                    </a:cubicBezTo>
                    <a:cubicBezTo>
                      <a:pt x="882" y="375"/>
                      <a:pt x="882" y="373"/>
                      <a:pt x="883" y="372"/>
                    </a:cubicBezTo>
                    <a:cubicBezTo>
                      <a:pt x="883" y="373"/>
                      <a:pt x="882" y="375"/>
                      <a:pt x="881" y="375"/>
                    </a:cubicBezTo>
                    <a:cubicBezTo>
                      <a:pt x="882" y="376"/>
                      <a:pt x="883" y="374"/>
                      <a:pt x="883" y="375"/>
                    </a:cubicBezTo>
                    <a:cubicBezTo>
                      <a:pt x="883" y="374"/>
                      <a:pt x="883" y="373"/>
                      <a:pt x="884" y="372"/>
                    </a:cubicBezTo>
                    <a:cubicBezTo>
                      <a:pt x="884" y="372"/>
                      <a:pt x="885" y="371"/>
                      <a:pt x="885" y="370"/>
                    </a:cubicBezTo>
                    <a:cubicBezTo>
                      <a:pt x="885" y="369"/>
                      <a:pt x="885" y="369"/>
                      <a:pt x="886" y="369"/>
                    </a:cubicBezTo>
                    <a:cubicBezTo>
                      <a:pt x="886" y="369"/>
                      <a:pt x="886" y="369"/>
                      <a:pt x="886" y="369"/>
                    </a:cubicBezTo>
                    <a:cubicBezTo>
                      <a:pt x="886" y="369"/>
                      <a:pt x="886" y="370"/>
                      <a:pt x="887" y="369"/>
                    </a:cubicBezTo>
                    <a:cubicBezTo>
                      <a:pt x="887" y="369"/>
                      <a:pt x="887" y="370"/>
                      <a:pt x="887" y="370"/>
                    </a:cubicBezTo>
                    <a:cubicBezTo>
                      <a:pt x="887" y="370"/>
                      <a:pt x="887" y="370"/>
                      <a:pt x="888" y="371"/>
                    </a:cubicBezTo>
                    <a:cubicBezTo>
                      <a:pt x="888" y="371"/>
                      <a:pt x="888" y="372"/>
                      <a:pt x="888" y="372"/>
                    </a:cubicBezTo>
                    <a:cubicBezTo>
                      <a:pt x="888" y="372"/>
                      <a:pt x="888" y="373"/>
                      <a:pt x="889" y="374"/>
                    </a:cubicBezTo>
                    <a:cubicBezTo>
                      <a:pt x="889" y="374"/>
                      <a:pt x="889" y="375"/>
                      <a:pt x="889" y="375"/>
                    </a:cubicBezTo>
                    <a:cubicBezTo>
                      <a:pt x="888" y="375"/>
                      <a:pt x="888" y="377"/>
                      <a:pt x="887" y="376"/>
                    </a:cubicBezTo>
                    <a:cubicBezTo>
                      <a:pt x="887" y="377"/>
                      <a:pt x="886" y="379"/>
                      <a:pt x="886" y="381"/>
                    </a:cubicBezTo>
                    <a:cubicBezTo>
                      <a:pt x="885" y="382"/>
                      <a:pt x="885" y="382"/>
                      <a:pt x="886" y="383"/>
                    </a:cubicBezTo>
                    <a:cubicBezTo>
                      <a:pt x="888" y="383"/>
                      <a:pt x="890" y="379"/>
                      <a:pt x="891" y="378"/>
                    </a:cubicBezTo>
                    <a:cubicBezTo>
                      <a:pt x="891" y="378"/>
                      <a:pt x="891" y="378"/>
                      <a:pt x="891" y="379"/>
                    </a:cubicBezTo>
                    <a:cubicBezTo>
                      <a:pt x="891" y="378"/>
                      <a:pt x="892" y="378"/>
                      <a:pt x="892" y="378"/>
                    </a:cubicBezTo>
                    <a:cubicBezTo>
                      <a:pt x="892" y="378"/>
                      <a:pt x="892" y="378"/>
                      <a:pt x="892" y="378"/>
                    </a:cubicBezTo>
                    <a:cubicBezTo>
                      <a:pt x="892" y="378"/>
                      <a:pt x="892" y="378"/>
                      <a:pt x="892" y="378"/>
                    </a:cubicBezTo>
                    <a:cubicBezTo>
                      <a:pt x="892" y="379"/>
                      <a:pt x="891" y="379"/>
                      <a:pt x="891" y="380"/>
                    </a:cubicBezTo>
                    <a:cubicBezTo>
                      <a:pt x="891" y="380"/>
                      <a:pt x="892" y="380"/>
                      <a:pt x="892" y="381"/>
                    </a:cubicBezTo>
                    <a:cubicBezTo>
                      <a:pt x="892" y="381"/>
                      <a:pt x="891" y="381"/>
                      <a:pt x="891" y="382"/>
                    </a:cubicBezTo>
                    <a:cubicBezTo>
                      <a:pt x="891" y="382"/>
                      <a:pt x="891" y="382"/>
                      <a:pt x="891" y="383"/>
                    </a:cubicBezTo>
                    <a:cubicBezTo>
                      <a:pt x="891" y="382"/>
                      <a:pt x="892" y="382"/>
                      <a:pt x="892" y="381"/>
                    </a:cubicBezTo>
                    <a:cubicBezTo>
                      <a:pt x="892" y="382"/>
                      <a:pt x="892" y="382"/>
                      <a:pt x="892" y="383"/>
                    </a:cubicBezTo>
                    <a:cubicBezTo>
                      <a:pt x="891" y="384"/>
                      <a:pt x="891" y="385"/>
                      <a:pt x="893" y="385"/>
                    </a:cubicBezTo>
                    <a:cubicBezTo>
                      <a:pt x="893" y="385"/>
                      <a:pt x="893" y="384"/>
                      <a:pt x="894" y="384"/>
                    </a:cubicBezTo>
                    <a:cubicBezTo>
                      <a:pt x="894" y="383"/>
                      <a:pt x="894" y="385"/>
                      <a:pt x="895" y="384"/>
                    </a:cubicBezTo>
                    <a:cubicBezTo>
                      <a:pt x="895" y="384"/>
                      <a:pt x="895" y="384"/>
                      <a:pt x="895" y="384"/>
                    </a:cubicBezTo>
                    <a:cubicBezTo>
                      <a:pt x="896" y="387"/>
                      <a:pt x="898" y="383"/>
                      <a:pt x="898" y="382"/>
                    </a:cubicBezTo>
                    <a:cubicBezTo>
                      <a:pt x="899" y="381"/>
                      <a:pt x="899" y="380"/>
                      <a:pt x="899" y="380"/>
                    </a:cubicBezTo>
                    <a:cubicBezTo>
                      <a:pt x="899" y="378"/>
                      <a:pt x="900" y="377"/>
                      <a:pt x="900" y="376"/>
                    </a:cubicBezTo>
                    <a:cubicBezTo>
                      <a:pt x="900" y="376"/>
                      <a:pt x="901" y="375"/>
                      <a:pt x="901" y="375"/>
                    </a:cubicBezTo>
                    <a:cubicBezTo>
                      <a:pt x="901" y="374"/>
                      <a:pt x="901" y="374"/>
                      <a:pt x="901" y="373"/>
                    </a:cubicBezTo>
                    <a:close/>
                    <a:moveTo>
                      <a:pt x="97" y="50"/>
                    </a:moveTo>
                    <a:cubicBezTo>
                      <a:pt x="97" y="50"/>
                      <a:pt x="98" y="49"/>
                      <a:pt x="99" y="49"/>
                    </a:cubicBezTo>
                    <a:cubicBezTo>
                      <a:pt x="98" y="49"/>
                      <a:pt x="97" y="50"/>
                      <a:pt x="97" y="50"/>
                    </a:cubicBezTo>
                    <a:close/>
                    <a:moveTo>
                      <a:pt x="108" y="286"/>
                    </a:moveTo>
                    <a:cubicBezTo>
                      <a:pt x="108" y="286"/>
                      <a:pt x="108" y="286"/>
                      <a:pt x="108" y="286"/>
                    </a:cubicBezTo>
                    <a:cubicBezTo>
                      <a:pt x="108" y="286"/>
                      <a:pt x="108" y="286"/>
                      <a:pt x="108" y="286"/>
                    </a:cubicBezTo>
                    <a:cubicBezTo>
                      <a:pt x="109" y="286"/>
                      <a:pt x="109" y="287"/>
                      <a:pt x="109" y="287"/>
                    </a:cubicBezTo>
                    <a:cubicBezTo>
                      <a:pt x="109" y="287"/>
                      <a:pt x="109" y="286"/>
                      <a:pt x="108" y="286"/>
                    </a:cubicBezTo>
                    <a:close/>
                    <a:moveTo>
                      <a:pt x="121" y="298"/>
                    </a:moveTo>
                    <a:cubicBezTo>
                      <a:pt x="121" y="298"/>
                      <a:pt x="122" y="298"/>
                      <a:pt x="122" y="298"/>
                    </a:cubicBezTo>
                    <a:cubicBezTo>
                      <a:pt x="122" y="298"/>
                      <a:pt x="122" y="298"/>
                      <a:pt x="122" y="298"/>
                    </a:cubicBezTo>
                    <a:cubicBezTo>
                      <a:pt x="122" y="299"/>
                      <a:pt x="122" y="299"/>
                      <a:pt x="122" y="299"/>
                    </a:cubicBezTo>
                    <a:cubicBezTo>
                      <a:pt x="122" y="299"/>
                      <a:pt x="122" y="299"/>
                      <a:pt x="122" y="299"/>
                    </a:cubicBezTo>
                    <a:cubicBezTo>
                      <a:pt x="122" y="299"/>
                      <a:pt x="122" y="299"/>
                      <a:pt x="122" y="299"/>
                    </a:cubicBezTo>
                    <a:cubicBezTo>
                      <a:pt x="122" y="298"/>
                      <a:pt x="121" y="298"/>
                      <a:pt x="121" y="298"/>
                    </a:cubicBezTo>
                    <a:close/>
                    <a:moveTo>
                      <a:pt x="126" y="306"/>
                    </a:moveTo>
                    <a:cubicBezTo>
                      <a:pt x="126" y="305"/>
                      <a:pt x="126" y="305"/>
                      <a:pt x="126" y="305"/>
                    </a:cubicBezTo>
                    <a:cubicBezTo>
                      <a:pt x="126" y="305"/>
                      <a:pt x="126" y="305"/>
                      <a:pt x="126" y="305"/>
                    </a:cubicBezTo>
                    <a:cubicBezTo>
                      <a:pt x="126" y="305"/>
                      <a:pt x="126" y="305"/>
                      <a:pt x="126" y="305"/>
                    </a:cubicBezTo>
                    <a:cubicBezTo>
                      <a:pt x="126" y="305"/>
                      <a:pt x="126" y="305"/>
                      <a:pt x="125" y="305"/>
                    </a:cubicBezTo>
                    <a:cubicBezTo>
                      <a:pt x="125" y="305"/>
                      <a:pt x="125" y="305"/>
                      <a:pt x="125" y="305"/>
                    </a:cubicBezTo>
                    <a:cubicBezTo>
                      <a:pt x="126" y="305"/>
                      <a:pt x="126" y="304"/>
                      <a:pt x="126" y="303"/>
                    </a:cubicBezTo>
                    <a:cubicBezTo>
                      <a:pt x="126" y="304"/>
                      <a:pt x="126" y="304"/>
                      <a:pt x="126" y="304"/>
                    </a:cubicBezTo>
                    <a:cubicBezTo>
                      <a:pt x="126" y="304"/>
                      <a:pt x="126" y="304"/>
                      <a:pt x="126" y="304"/>
                    </a:cubicBezTo>
                    <a:cubicBezTo>
                      <a:pt x="126" y="304"/>
                      <a:pt x="126" y="304"/>
                      <a:pt x="126" y="304"/>
                    </a:cubicBezTo>
                    <a:cubicBezTo>
                      <a:pt x="126" y="304"/>
                      <a:pt x="126" y="305"/>
                      <a:pt x="126" y="305"/>
                    </a:cubicBezTo>
                    <a:cubicBezTo>
                      <a:pt x="126" y="306"/>
                      <a:pt x="126" y="306"/>
                      <a:pt x="126" y="306"/>
                    </a:cubicBezTo>
                    <a:cubicBezTo>
                      <a:pt x="126" y="306"/>
                      <a:pt x="126" y="306"/>
                      <a:pt x="126" y="306"/>
                    </a:cubicBezTo>
                    <a:cubicBezTo>
                      <a:pt x="126" y="306"/>
                      <a:pt x="126" y="306"/>
                      <a:pt x="126" y="306"/>
                    </a:cubicBezTo>
                    <a:close/>
                    <a:moveTo>
                      <a:pt x="131" y="313"/>
                    </a:moveTo>
                    <a:cubicBezTo>
                      <a:pt x="131" y="313"/>
                      <a:pt x="131" y="313"/>
                      <a:pt x="131" y="313"/>
                    </a:cubicBezTo>
                    <a:cubicBezTo>
                      <a:pt x="131" y="313"/>
                      <a:pt x="131" y="313"/>
                      <a:pt x="130" y="313"/>
                    </a:cubicBezTo>
                    <a:cubicBezTo>
                      <a:pt x="130" y="313"/>
                      <a:pt x="130" y="313"/>
                      <a:pt x="130" y="313"/>
                    </a:cubicBezTo>
                    <a:cubicBezTo>
                      <a:pt x="130" y="313"/>
                      <a:pt x="130" y="313"/>
                      <a:pt x="130" y="313"/>
                    </a:cubicBezTo>
                    <a:cubicBezTo>
                      <a:pt x="131" y="312"/>
                      <a:pt x="132" y="312"/>
                      <a:pt x="133" y="311"/>
                    </a:cubicBezTo>
                    <a:cubicBezTo>
                      <a:pt x="132" y="312"/>
                      <a:pt x="131" y="312"/>
                      <a:pt x="131" y="313"/>
                    </a:cubicBezTo>
                    <a:close/>
                    <a:moveTo>
                      <a:pt x="232" y="109"/>
                    </a:moveTo>
                    <a:cubicBezTo>
                      <a:pt x="232" y="109"/>
                      <a:pt x="232" y="109"/>
                      <a:pt x="232" y="109"/>
                    </a:cubicBezTo>
                    <a:cubicBezTo>
                      <a:pt x="231" y="110"/>
                      <a:pt x="231" y="111"/>
                      <a:pt x="232" y="111"/>
                    </a:cubicBezTo>
                    <a:cubicBezTo>
                      <a:pt x="233" y="111"/>
                      <a:pt x="235" y="110"/>
                      <a:pt x="235" y="110"/>
                    </a:cubicBezTo>
                    <a:cubicBezTo>
                      <a:pt x="236" y="111"/>
                      <a:pt x="236" y="112"/>
                      <a:pt x="235" y="112"/>
                    </a:cubicBezTo>
                    <a:cubicBezTo>
                      <a:pt x="235" y="112"/>
                      <a:pt x="234" y="112"/>
                      <a:pt x="234" y="112"/>
                    </a:cubicBezTo>
                    <a:cubicBezTo>
                      <a:pt x="234" y="112"/>
                      <a:pt x="234" y="113"/>
                      <a:pt x="233" y="113"/>
                    </a:cubicBezTo>
                    <a:cubicBezTo>
                      <a:pt x="233" y="113"/>
                      <a:pt x="232" y="113"/>
                      <a:pt x="232" y="113"/>
                    </a:cubicBezTo>
                    <a:cubicBezTo>
                      <a:pt x="232" y="113"/>
                      <a:pt x="231" y="113"/>
                      <a:pt x="231" y="113"/>
                    </a:cubicBezTo>
                    <a:cubicBezTo>
                      <a:pt x="230" y="113"/>
                      <a:pt x="230" y="113"/>
                      <a:pt x="230" y="113"/>
                    </a:cubicBezTo>
                    <a:cubicBezTo>
                      <a:pt x="229" y="113"/>
                      <a:pt x="229" y="113"/>
                      <a:pt x="229" y="113"/>
                    </a:cubicBezTo>
                    <a:cubicBezTo>
                      <a:pt x="228" y="113"/>
                      <a:pt x="229" y="114"/>
                      <a:pt x="228" y="114"/>
                    </a:cubicBezTo>
                    <a:cubicBezTo>
                      <a:pt x="228" y="114"/>
                      <a:pt x="227" y="114"/>
                      <a:pt x="227" y="114"/>
                    </a:cubicBezTo>
                    <a:cubicBezTo>
                      <a:pt x="227" y="113"/>
                      <a:pt x="226" y="113"/>
                      <a:pt x="226" y="113"/>
                    </a:cubicBezTo>
                    <a:cubicBezTo>
                      <a:pt x="226" y="112"/>
                      <a:pt x="225" y="111"/>
                      <a:pt x="224" y="111"/>
                    </a:cubicBezTo>
                    <a:cubicBezTo>
                      <a:pt x="223" y="111"/>
                      <a:pt x="221" y="111"/>
                      <a:pt x="219" y="111"/>
                    </a:cubicBezTo>
                    <a:cubicBezTo>
                      <a:pt x="219" y="111"/>
                      <a:pt x="218" y="111"/>
                      <a:pt x="217" y="111"/>
                    </a:cubicBezTo>
                    <a:cubicBezTo>
                      <a:pt x="215" y="112"/>
                      <a:pt x="216" y="112"/>
                      <a:pt x="217" y="113"/>
                    </a:cubicBezTo>
                    <a:cubicBezTo>
                      <a:pt x="217" y="113"/>
                      <a:pt x="215" y="113"/>
                      <a:pt x="215" y="113"/>
                    </a:cubicBezTo>
                    <a:cubicBezTo>
                      <a:pt x="214" y="114"/>
                      <a:pt x="213" y="114"/>
                      <a:pt x="212" y="114"/>
                    </a:cubicBezTo>
                    <a:cubicBezTo>
                      <a:pt x="213" y="115"/>
                      <a:pt x="214" y="116"/>
                      <a:pt x="215" y="116"/>
                    </a:cubicBezTo>
                    <a:cubicBezTo>
                      <a:pt x="215" y="116"/>
                      <a:pt x="216" y="116"/>
                      <a:pt x="216" y="117"/>
                    </a:cubicBezTo>
                    <a:cubicBezTo>
                      <a:pt x="217" y="117"/>
                      <a:pt x="218" y="118"/>
                      <a:pt x="218" y="119"/>
                    </a:cubicBezTo>
                    <a:cubicBezTo>
                      <a:pt x="217" y="119"/>
                      <a:pt x="216" y="119"/>
                      <a:pt x="216" y="119"/>
                    </a:cubicBezTo>
                    <a:cubicBezTo>
                      <a:pt x="215" y="119"/>
                      <a:pt x="213" y="119"/>
                      <a:pt x="213" y="120"/>
                    </a:cubicBezTo>
                    <a:cubicBezTo>
                      <a:pt x="213" y="120"/>
                      <a:pt x="213" y="120"/>
                      <a:pt x="213" y="120"/>
                    </a:cubicBezTo>
                    <a:cubicBezTo>
                      <a:pt x="211" y="121"/>
                      <a:pt x="209" y="123"/>
                      <a:pt x="207" y="124"/>
                    </a:cubicBezTo>
                    <a:cubicBezTo>
                      <a:pt x="206" y="125"/>
                      <a:pt x="202" y="128"/>
                      <a:pt x="200" y="128"/>
                    </a:cubicBezTo>
                    <a:cubicBezTo>
                      <a:pt x="199" y="127"/>
                      <a:pt x="197" y="127"/>
                      <a:pt x="198" y="126"/>
                    </a:cubicBezTo>
                    <a:cubicBezTo>
                      <a:pt x="198" y="125"/>
                      <a:pt x="199" y="125"/>
                      <a:pt x="200" y="125"/>
                    </a:cubicBezTo>
                    <a:cubicBezTo>
                      <a:pt x="200" y="124"/>
                      <a:pt x="202" y="125"/>
                      <a:pt x="202" y="124"/>
                    </a:cubicBezTo>
                    <a:cubicBezTo>
                      <a:pt x="204" y="124"/>
                      <a:pt x="203" y="124"/>
                      <a:pt x="203" y="123"/>
                    </a:cubicBezTo>
                    <a:cubicBezTo>
                      <a:pt x="203" y="122"/>
                      <a:pt x="205" y="122"/>
                      <a:pt x="205" y="121"/>
                    </a:cubicBezTo>
                    <a:cubicBezTo>
                      <a:pt x="206" y="121"/>
                      <a:pt x="207" y="121"/>
                      <a:pt x="207" y="120"/>
                    </a:cubicBezTo>
                    <a:cubicBezTo>
                      <a:pt x="208" y="120"/>
                      <a:pt x="209" y="119"/>
                      <a:pt x="209" y="118"/>
                    </a:cubicBezTo>
                    <a:cubicBezTo>
                      <a:pt x="210" y="117"/>
                      <a:pt x="209" y="116"/>
                      <a:pt x="209" y="115"/>
                    </a:cubicBezTo>
                    <a:cubicBezTo>
                      <a:pt x="209" y="114"/>
                      <a:pt x="207" y="114"/>
                      <a:pt x="206" y="114"/>
                    </a:cubicBezTo>
                    <a:cubicBezTo>
                      <a:pt x="204" y="114"/>
                      <a:pt x="202" y="116"/>
                      <a:pt x="201" y="116"/>
                    </a:cubicBezTo>
                    <a:cubicBezTo>
                      <a:pt x="200" y="117"/>
                      <a:pt x="199" y="117"/>
                      <a:pt x="198" y="118"/>
                    </a:cubicBezTo>
                    <a:cubicBezTo>
                      <a:pt x="197" y="118"/>
                      <a:pt x="198" y="118"/>
                      <a:pt x="198" y="119"/>
                    </a:cubicBezTo>
                    <a:cubicBezTo>
                      <a:pt x="197" y="120"/>
                      <a:pt x="197" y="120"/>
                      <a:pt x="197" y="120"/>
                    </a:cubicBezTo>
                    <a:cubicBezTo>
                      <a:pt x="197" y="121"/>
                      <a:pt x="197" y="121"/>
                      <a:pt x="197" y="121"/>
                    </a:cubicBezTo>
                    <a:cubicBezTo>
                      <a:pt x="197" y="123"/>
                      <a:pt x="195" y="123"/>
                      <a:pt x="194" y="124"/>
                    </a:cubicBezTo>
                    <a:cubicBezTo>
                      <a:pt x="192" y="125"/>
                      <a:pt x="192" y="125"/>
                      <a:pt x="190" y="124"/>
                    </a:cubicBezTo>
                    <a:cubicBezTo>
                      <a:pt x="189" y="124"/>
                      <a:pt x="188" y="124"/>
                      <a:pt x="187" y="124"/>
                    </a:cubicBezTo>
                    <a:cubicBezTo>
                      <a:pt x="186" y="124"/>
                      <a:pt x="178" y="123"/>
                      <a:pt x="177" y="122"/>
                    </a:cubicBezTo>
                    <a:cubicBezTo>
                      <a:pt x="177" y="121"/>
                      <a:pt x="182" y="121"/>
                      <a:pt x="183" y="121"/>
                    </a:cubicBezTo>
                    <a:cubicBezTo>
                      <a:pt x="183" y="121"/>
                      <a:pt x="184" y="120"/>
                      <a:pt x="185" y="119"/>
                    </a:cubicBezTo>
                    <a:cubicBezTo>
                      <a:pt x="186" y="118"/>
                      <a:pt x="184" y="118"/>
                      <a:pt x="183" y="116"/>
                    </a:cubicBezTo>
                    <a:cubicBezTo>
                      <a:pt x="185" y="117"/>
                      <a:pt x="184" y="116"/>
                      <a:pt x="185" y="115"/>
                    </a:cubicBezTo>
                    <a:cubicBezTo>
                      <a:pt x="186" y="115"/>
                      <a:pt x="187" y="115"/>
                      <a:pt x="188" y="114"/>
                    </a:cubicBezTo>
                    <a:cubicBezTo>
                      <a:pt x="188" y="114"/>
                      <a:pt x="190" y="114"/>
                      <a:pt x="190" y="113"/>
                    </a:cubicBezTo>
                    <a:cubicBezTo>
                      <a:pt x="190" y="112"/>
                      <a:pt x="186" y="109"/>
                      <a:pt x="185" y="108"/>
                    </a:cubicBezTo>
                    <a:cubicBezTo>
                      <a:pt x="187" y="108"/>
                      <a:pt x="189" y="107"/>
                      <a:pt x="191" y="108"/>
                    </a:cubicBezTo>
                    <a:cubicBezTo>
                      <a:pt x="193" y="108"/>
                      <a:pt x="194" y="109"/>
                      <a:pt x="196" y="109"/>
                    </a:cubicBezTo>
                    <a:cubicBezTo>
                      <a:pt x="198" y="109"/>
                      <a:pt x="203" y="107"/>
                      <a:pt x="199" y="106"/>
                    </a:cubicBezTo>
                    <a:cubicBezTo>
                      <a:pt x="196" y="104"/>
                      <a:pt x="193" y="103"/>
                      <a:pt x="189" y="103"/>
                    </a:cubicBezTo>
                    <a:cubicBezTo>
                      <a:pt x="187" y="103"/>
                      <a:pt x="185" y="103"/>
                      <a:pt x="183" y="103"/>
                    </a:cubicBezTo>
                    <a:cubicBezTo>
                      <a:pt x="181" y="104"/>
                      <a:pt x="183" y="104"/>
                      <a:pt x="183" y="105"/>
                    </a:cubicBezTo>
                    <a:cubicBezTo>
                      <a:pt x="183" y="106"/>
                      <a:pt x="180" y="105"/>
                      <a:pt x="179" y="105"/>
                    </a:cubicBezTo>
                    <a:cubicBezTo>
                      <a:pt x="178" y="105"/>
                      <a:pt x="177" y="105"/>
                      <a:pt x="176" y="105"/>
                    </a:cubicBezTo>
                    <a:cubicBezTo>
                      <a:pt x="175" y="106"/>
                      <a:pt x="173" y="105"/>
                      <a:pt x="171" y="105"/>
                    </a:cubicBezTo>
                    <a:cubicBezTo>
                      <a:pt x="170" y="105"/>
                      <a:pt x="169" y="105"/>
                      <a:pt x="168" y="105"/>
                    </a:cubicBezTo>
                    <a:cubicBezTo>
                      <a:pt x="167" y="105"/>
                      <a:pt x="166" y="105"/>
                      <a:pt x="166" y="105"/>
                    </a:cubicBezTo>
                    <a:cubicBezTo>
                      <a:pt x="166" y="106"/>
                      <a:pt x="167" y="106"/>
                      <a:pt x="167" y="106"/>
                    </a:cubicBezTo>
                    <a:cubicBezTo>
                      <a:pt x="166" y="107"/>
                      <a:pt x="166" y="106"/>
                      <a:pt x="165" y="107"/>
                    </a:cubicBezTo>
                    <a:cubicBezTo>
                      <a:pt x="165" y="107"/>
                      <a:pt x="165" y="107"/>
                      <a:pt x="164" y="108"/>
                    </a:cubicBezTo>
                    <a:cubicBezTo>
                      <a:pt x="164" y="109"/>
                      <a:pt x="164" y="109"/>
                      <a:pt x="163" y="109"/>
                    </a:cubicBezTo>
                    <a:cubicBezTo>
                      <a:pt x="163" y="109"/>
                      <a:pt x="163" y="108"/>
                      <a:pt x="163" y="108"/>
                    </a:cubicBezTo>
                    <a:cubicBezTo>
                      <a:pt x="162" y="107"/>
                      <a:pt x="161" y="106"/>
                      <a:pt x="161" y="105"/>
                    </a:cubicBezTo>
                    <a:cubicBezTo>
                      <a:pt x="161" y="104"/>
                      <a:pt x="162" y="103"/>
                      <a:pt x="163" y="103"/>
                    </a:cubicBezTo>
                    <a:cubicBezTo>
                      <a:pt x="163" y="103"/>
                      <a:pt x="163" y="103"/>
                      <a:pt x="164" y="103"/>
                    </a:cubicBezTo>
                    <a:cubicBezTo>
                      <a:pt x="164" y="103"/>
                      <a:pt x="165" y="103"/>
                      <a:pt x="165" y="103"/>
                    </a:cubicBezTo>
                    <a:cubicBezTo>
                      <a:pt x="166" y="103"/>
                      <a:pt x="167" y="104"/>
                      <a:pt x="168" y="103"/>
                    </a:cubicBezTo>
                    <a:cubicBezTo>
                      <a:pt x="169" y="103"/>
                      <a:pt x="169" y="102"/>
                      <a:pt x="170" y="102"/>
                    </a:cubicBezTo>
                    <a:cubicBezTo>
                      <a:pt x="171" y="101"/>
                      <a:pt x="171" y="103"/>
                      <a:pt x="173" y="102"/>
                    </a:cubicBezTo>
                    <a:cubicBezTo>
                      <a:pt x="173" y="102"/>
                      <a:pt x="174" y="101"/>
                      <a:pt x="174" y="101"/>
                    </a:cubicBezTo>
                    <a:cubicBezTo>
                      <a:pt x="175" y="101"/>
                      <a:pt x="176" y="101"/>
                      <a:pt x="177" y="101"/>
                    </a:cubicBezTo>
                    <a:cubicBezTo>
                      <a:pt x="178" y="100"/>
                      <a:pt x="180" y="100"/>
                      <a:pt x="181" y="99"/>
                    </a:cubicBezTo>
                    <a:cubicBezTo>
                      <a:pt x="181" y="100"/>
                      <a:pt x="181" y="100"/>
                      <a:pt x="182" y="100"/>
                    </a:cubicBezTo>
                    <a:cubicBezTo>
                      <a:pt x="183" y="99"/>
                      <a:pt x="183" y="100"/>
                      <a:pt x="183" y="100"/>
                    </a:cubicBezTo>
                    <a:cubicBezTo>
                      <a:pt x="183" y="99"/>
                      <a:pt x="183" y="99"/>
                      <a:pt x="183" y="98"/>
                    </a:cubicBezTo>
                    <a:cubicBezTo>
                      <a:pt x="185" y="98"/>
                      <a:pt x="187" y="99"/>
                      <a:pt x="187" y="98"/>
                    </a:cubicBezTo>
                    <a:cubicBezTo>
                      <a:pt x="188" y="98"/>
                      <a:pt x="188" y="97"/>
                      <a:pt x="188" y="98"/>
                    </a:cubicBezTo>
                    <a:cubicBezTo>
                      <a:pt x="189" y="98"/>
                      <a:pt x="189" y="98"/>
                      <a:pt x="190" y="98"/>
                    </a:cubicBezTo>
                    <a:cubicBezTo>
                      <a:pt x="190" y="98"/>
                      <a:pt x="191" y="98"/>
                      <a:pt x="191" y="98"/>
                    </a:cubicBezTo>
                    <a:cubicBezTo>
                      <a:pt x="191" y="97"/>
                      <a:pt x="192" y="97"/>
                      <a:pt x="192" y="97"/>
                    </a:cubicBezTo>
                    <a:cubicBezTo>
                      <a:pt x="193" y="97"/>
                      <a:pt x="194" y="96"/>
                      <a:pt x="195" y="96"/>
                    </a:cubicBezTo>
                    <a:cubicBezTo>
                      <a:pt x="196" y="96"/>
                      <a:pt x="197" y="96"/>
                      <a:pt x="198" y="95"/>
                    </a:cubicBezTo>
                    <a:cubicBezTo>
                      <a:pt x="198" y="95"/>
                      <a:pt x="198" y="95"/>
                      <a:pt x="198" y="95"/>
                    </a:cubicBezTo>
                    <a:cubicBezTo>
                      <a:pt x="198" y="95"/>
                      <a:pt x="199" y="95"/>
                      <a:pt x="199" y="95"/>
                    </a:cubicBezTo>
                    <a:cubicBezTo>
                      <a:pt x="199" y="94"/>
                      <a:pt x="200" y="94"/>
                      <a:pt x="200" y="94"/>
                    </a:cubicBezTo>
                    <a:cubicBezTo>
                      <a:pt x="201" y="93"/>
                      <a:pt x="201" y="93"/>
                      <a:pt x="203" y="93"/>
                    </a:cubicBezTo>
                    <a:cubicBezTo>
                      <a:pt x="205" y="93"/>
                      <a:pt x="207" y="92"/>
                      <a:pt x="209" y="92"/>
                    </a:cubicBezTo>
                    <a:cubicBezTo>
                      <a:pt x="210" y="91"/>
                      <a:pt x="210" y="91"/>
                      <a:pt x="211" y="91"/>
                    </a:cubicBezTo>
                    <a:cubicBezTo>
                      <a:pt x="213" y="90"/>
                      <a:pt x="213" y="90"/>
                      <a:pt x="213" y="89"/>
                    </a:cubicBezTo>
                    <a:cubicBezTo>
                      <a:pt x="213" y="89"/>
                      <a:pt x="213" y="90"/>
                      <a:pt x="213" y="90"/>
                    </a:cubicBezTo>
                    <a:cubicBezTo>
                      <a:pt x="213" y="91"/>
                      <a:pt x="222" y="92"/>
                      <a:pt x="224" y="93"/>
                    </a:cubicBezTo>
                    <a:cubicBezTo>
                      <a:pt x="223" y="93"/>
                      <a:pt x="221" y="93"/>
                      <a:pt x="220" y="94"/>
                    </a:cubicBezTo>
                    <a:cubicBezTo>
                      <a:pt x="219" y="94"/>
                      <a:pt x="219" y="95"/>
                      <a:pt x="218" y="95"/>
                    </a:cubicBezTo>
                    <a:cubicBezTo>
                      <a:pt x="218" y="95"/>
                      <a:pt x="217" y="95"/>
                      <a:pt x="216" y="95"/>
                    </a:cubicBezTo>
                    <a:cubicBezTo>
                      <a:pt x="216" y="96"/>
                      <a:pt x="215" y="96"/>
                      <a:pt x="214" y="96"/>
                    </a:cubicBezTo>
                    <a:cubicBezTo>
                      <a:pt x="214" y="96"/>
                      <a:pt x="213" y="97"/>
                      <a:pt x="213" y="97"/>
                    </a:cubicBezTo>
                    <a:cubicBezTo>
                      <a:pt x="212" y="97"/>
                      <a:pt x="212" y="98"/>
                      <a:pt x="211" y="98"/>
                    </a:cubicBezTo>
                    <a:cubicBezTo>
                      <a:pt x="210" y="99"/>
                      <a:pt x="208" y="100"/>
                      <a:pt x="211" y="100"/>
                    </a:cubicBezTo>
                    <a:cubicBezTo>
                      <a:pt x="210" y="100"/>
                      <a:pt x="209" y="101"/>
                      <a:pt x="209" y="101"/>
                    </a:cubicBezTo>
                    <a:cubicBezTo>
                      <a:pt x="209" y="101"/>
                      <a:pt x="210" y="101"/>
                      <a:pt x="211" y="101"/>
                    </a:cubicBezTo>
                    <a:cubicBezTo>
                      <a:pt x="212" y="101"/>
                      <a:pt x="212" y="101"/>
                      <a:pt x="213" y="101"/>
                    </a:cubicBezTo>
                    <a:cubicBezTo>
                      <a:pt x="214" y="102"/>
                      <a:pt x="214" y="102"/>
                      <a:pt x="215" y="102"/>
                    </a:cubicBezTo>
                    <a:cubicBezTo>
                      <a:pt x="216" y="102"/>
                      <a:pt x="216" y="101"/>
                      <a:pt x="217" y="102"/>
                    </a:cubicBezTo>
                    <a:cubicBezTo>
                      <a:pt x="217" y="102"/>
                      <a:pt x="216" y="102"/>
                      <a:pt x="216" y="102"/>
                    </a:cubicBezTo>
                    <a:cubicBezTo>
                      <a:pt x="216" y="103"/>
                      <a:pt x="217" y="103"/>
                      <a:pt x="218" y="102"/>
                    </a:cubicBezTo>
                    <a:cubicBezTo>
                      <a:pt x="218" y="102"/>
                      <a:pt x="218" y="102"/>
                      <a:pt x="218" y="102"/>
                    </a:cubicBezTo>
                    <a:cubicBezTo>
                      <a:pt x="220" y="102"/>
                      <a:pt x="223" y="103"/>
                      <a:pt x="225" y="102"/>
                    </a:cubicBezTo>
                    <a:cubicBezTo>
                      <a:pt x="226" y="102"/>
                      <a:pt x="228" y="102"/>
                      <a:pt x="229" y="102"/>
                    </a:cubicBezTo>
                    <a:cubicBezTo>
                      <a:pt x="230" y="101"/>
                      <a:pt x="231" y="101"/>
                      <a:pt x="232" y="99"/>
                    </a:cubicBezTo>
                    <a:cubicBezTo>
                      <a:pt x="232" y="100"/>
                      <a:pt x="231" y="100"/>
                      <a:pt x="231" y="100"/>
                    </a:cubicBezTo>
                    <a:cubicBezTo>
                      <a:pt x="233" y="98"/>
                      <a:pt x="234" y="97"/>
                      <a:pt x="237" y="96"/>
                    </a:cubicBezTo>
                    <a:cubicBezTo>
                      <a:pt x="238" y="97"/>
                      <a:pt x="237" y="97"/>
                      <a:pt x="236" y="98"/>
                    </a:cubicBezTo>
                    <a:cubicBezTo>
                      <a:pt x="236" y="98"/>
                      <a:pt x="236" y="99"/>
                      <a:pt x="236" y="99"/>
                    </a:cubicBezTo>
                    <a:cubicBezTo>
                      <a:pt x="235" y="100"/>
                      <a:pt x="235" y="100"/>
                      <a:pt x="235" y="101"/>
                    </a:cubicBezTo>
                    <a:cubicBezTo>
                      <a:pt x="236" y="100"/>
                      <a:pt x="238" y="100"/>
                      <a:pt x="239" y="100"/>
                    </a:cubicBezTo>
                    <a:cubicBezTo>
                      <a:pt x="238" y="100"/>
                      <a:pt x="238" y="102"/>
                      <a:pt x="237" y="103"/>
                    </a:cubicBezTo>
                    <a:cubicBezTo>
                      <a:pt x="237" y="104"/>
                      <a:pt x="236" y="105"/>
                      <a:pt x="236" y="106"/>
                    </a:cubicBezTo>
                    <a:cubicBezTo>
                      <a:pt x="236" y="108"/>
                      <a:pt x="235" y="107"/>
                      <a:pt x="234" y="107"/>
                    </a:cubicBezTo>
                    <a:cubicBezTo>
                      <a:pt x="233" y="107"/>
                      <a:pt x="232" y="108"/>
                      <a:pt x="232" y="109"/>
                    </a:cubicBezTo>
                    <a:cubicBezTo>
                      <a:pt x="232" y="109"/>
                      <a:pt x="232" y="109"/>
                      <a:pt x="232" y="109"/>
                    </a:cubicBezTo>
                    <a:close/>
                    <a:moveTo>
                      <a:pt x="323" y="164"/>
                    </a:moveTo>
                    <a:cubicBezTo>
                      <a:pt x="322" y="162"/>
                      <a:pt x="323" y="162"/>
                      <a:pt x="321" y="161"/>
                    </a:cubicBezTo>
                    <a:cubicBezTo>
                      <a:pt x="320" y="161"/>
                      <a:pt x="319" y="161"/>
                      <a:pt x="318" y="161"/>
                    </a:cubicBezTo>
                    <a:cubicBezTo>
                      <a:pt x="317" y="160"/>
                      <a:pt x="315" y="160"/>
                      <a:pt x="313" y="160"/>
                    </a:cubicBezTo>
                    <a:cubicBezTo>
                      <a:pt x="312" y="160"/>
                      <a:pt x="311" y="160"/>
                      <a:pt x="310" y="160"/>
                    </a:cubicBezTo>
                    <a:cubicBezTo>
                      <a:pt x="308" y="160"/>
                      <a:pt x="307" y="160"/>
                      <a:pt x="306" y="161"/>
                    </a:cubicBezTo>
                    <a:cubicBezTo>
                      <a:pt x="303" y="162"/>
                      <a:pt x="299" y="164"/>
                      <a:pt x="298" y="167"/>
                    </a:cubicBezTo>
                    <a:cubicBezTo>
                      <a:pt x="301" y="166"/>
                      <a:pt x="303" y="163"/>
                      <a:pt x="306" y="163"/>
                    </a:cubicBezTo>
                    <a:cubicBezTo>
                      <a:pt x="307" y="163"/>
                      <a:pt x="310" y="163"/>
                      <a:pt x="310" y="162"/>
                    </a:cubicBezTo>
                    <a:cubicBezTo>
                      <a:pt x="311" y="161"/>
                      <a:pt x="310" y="160"/>
                      <a:pt x="311" y="161"/>
                    </a:cubicBezTo>
                    <a:cubicBezTo>
                      <a:pt x="312" y="161"/>
                      <a:pt x="313" y="161"/>
                      <a:pt x="314" y="161"/>
                    </a:cubicBezTo>
                    <a:cubicBezTo>
                      <a:pt x="315" y="161"/>
                      <a:pt x="317" y="161"/>
                      <a:pt x="318" y="161"/>
                    </a:cubicBezTo>
                    <a:cubicBezTo>
                      <a:pt x="316" y="161"/>
                      <a:pt x="314" y="161"/>
                      <a:pt x="312" y="161"/>
                    </a:cubicBezTo>
                    <a:cubicBezTo>
                      <a:pt x="313" y="163"/>
                      <a:pt x="317" y="161"/>
                      <a:pt x="319" y="162"/>
                    </a:cubicBezTo>
                    <a:cubicBezTo>
                      <a:pt x="316" y="163"/>
                      <a:pt x="313" y="163"/>
                      <a:pt x="311" y="164"/>
                    </a:cubicBezTo>
                    <a:cubicBezTo>
                      <a:pt x="310" y="165"/>
                      <a:pt x="309" y="164"/>
                      <a:pt x="308" y="164"/>
                    </a:cubicBezTo>
                    <a:cubicBezTo>
                      <a:pt x="310" y="166"/>
                      <a:pt x="310" y="164"/>
                      <a:pt x="312" y="164"/>
                    </a:cubicBezTo>
                    <a:cubicBezTo>
                      <a:pt x="311" y="165"/>
                      <a:pt x="311" y="165"/>
                      <a:pt x="310" y="166"/>
                    </a:cubicBezTo>
                    <a:cubicBezTo>
                      <a:pt x="311" y="165"/>
                      <a:pt x="311" y="165"/>
                      <a:pt x="312" y="165"/>
                    </a:cubicBezTo>
                    <a:cubicBezTo>
                      <a:pt x="312" y="165"/>
                      <a:pt x="313" y="165"/>
                      <a:pt x="313" y="165"/>
                    </a:cubicBezTo>
                    <a:cubicBezTo>
                      <a:pt x="314" y="165"/>
                      <a:pt x="316" y="164"/>
                      <a:pt x="317" y="164"/>
                    </a:cubicBezTo>
                    <a:cubicBezTo>
                      <a:pt x="314" y="166"/>
                      <a:pt x="312" y="168"/>
                      <a:pt x="309" y="167"/>
                    </a:cubicBezTo>
                    <a:cubicBezTo>
                      <a:pt x="309" y="167"/>
                      <a:pt x="306" y="166"/>
                      <a:pt x="305" y="167"/>
                    </a:cubicBezTo>
                    <a:cubicBezTo>
                      <a:pt x="304" y="167"/>
                      <a:pt x="302" y="169"/>
                      <a:pt x="301" y="170"/>
                    </a:cubicBezTo>
                    <a:cubicBezTo>
                      <a:pt x="300" y="171"/>
                      <a:pt x="299" y="171"/>
                      <a:pt x="298" y="172"/>
                    </a:cubicBezTo>
                    <a:cubicBezTo>
                      <a:pt x="298" y="172"/>
                      <a:pt x="300" y="171"/>
                      <a:pt x="300" y="172"/>
                    </a:cubicBezTo>
                    <a:cubicBezTo>
                      <a:pt x="301" y="172"/>
                      <a:pt x="299" y="173"/>
                      <a:pt x="299" y="173"/>
                    </a:cubicBezTo>
                    <a:cubicBezTo>
                      <a:pt x="298" y="175"/>
                      <a:pt x="295" y="176"/>
                      <a:pt x="293" y="178"/>
                    </a:cubicBezTo>
                    <a:cubicBezTo>
                      <a:pt x="293" y="178"/>
                      <a:pt x="293" y="179"/>
                      <a:pt x="292" y="180"/>
                    </a:cubicBezTo>
                    <a:cubicBezTo>
                      <a:pt x="289" y="181"/>
                      <a:pt x="287" y="181"/>
                      <a:pt x="284" y="181"/>
                    </a:cubicBezTo>
                    <a:cubicBezTo>
                      <a:pt x="282" y="181"/>
                      <a:pt x="281" y="182"/>
                      <a:pt x="280" y="183"/>
                    </a:cubicBezTo>
                    <a:cubicBezTo>
                      <a:pt x="279" y="183"/>
                      <a:pt x="278" y="184"/>
                      <a:pt x="278" y="185"/>
                    </a:cubicBezTo>
                    <a:cubicBezTo>
                      <a:pt x="277" y="185"/>
                      <a:pt x="278" y="186"/>
                      <a:pt x="277" y="186"/>
                    </a:cubicBezTo>
                    <a:cubicBezTo>
                      <a:pt x="279" y="185"/>
                      <a:pt x="278" y="188"/>
                      <a:pt x="277" y="189"/>
                    </a:cubicBezTo>
                    <a:cubicBezTo>
                      <a:pt x="273" y="189"/>
                      <a:pt x="270" y="190"/>
                      <a:pt x="266" y="190"/>
                    </a:cubicBezTo>
                    <a:cubicBezTo>
                      <a:pt x="264" y="190"/>
                      <a:pt x="261" y="191"/>
                      <a:pt x="258" y="191"/>
                    </a:cubicBezTo>
                    <a:cubicBezTo>
                      <a:pt x="256" y="191"/>
                      <a:pt x="255" y="191"/>
                      <a:pt x="253" y="190"/>
                    </a:cubicBezTo>
                    <a:cubicBezTo>
                      <a:pt x="252" y="190"/>
                      <a:pt x="252" y="190"/>
                      <a:pt x="251" y="190"/>
                    </a:cubicBezTo>
                    <a:cubicBezTo>
                      <a:pt x="250" y="189"/>
                      <a:pt x="249" y="189"/>
                      <a:pt x="249" y="188"/>
                    </a:cubicBezTo>
                    <a:cubicBezTo>
                      <a:pt x="247" y="188"/>
                      <a:pt x="244" y="188"/>
                      <a:pt x="242" y="188"/>
                    </a:cubicBezTo>
                    <a:cubicBezTo>
                      <a:pt x="241" y="187"/>
                      <a:pt x="240" y="186"/>
                      <a:pt x="239" y="186"/>
                    </a:cubicBezTo>
                    <a:cubicBezTo>
                      <a:pt x="239" y="185"/>
                      <a:pt x="239" y="185"/>
                      <a:pt x="239" y="185"/>
                    </a:cubicBezTo>
                    <a:cubicBezTo>
                      <a:pt x="238" y="184"/>
                      <a:pt x="237" y="184"/>
                      <a:pt x="237" y="184"/>
                    </a:cubicBezTo>
                    <a:cubicBezTo>
                      <a:pt x="238" y="184"/>
                      <a:pt x="239" y="184"/>
                      <a:pt x="239" y="184"/>
                    </a:cubicBezTo>
                    <a:cubicBezTo>
                      <a:pt x="242" y="185"/>
                      <a:pt x="245" y="186"/>
                      <a:pt x="247" y="185"/>
                    </a:cubicBezTo>
                    <a:cubicBezTo>
                      <a:pt x="244" y="182"/>
                      <a:pt x="250" y="184"/>
                      <a:pt x="251" y="184"/>
                    </a:cubicBezTo>
                    <a:cubicBezTo>
                      <a:pt x="253" y="185"/>
                      <a:pt x="254" y="185"/>
                      <a:pt x="255" y="185"/>
                    </a:cubicBezTo>
                    <a:cubicBezTo>
                      <a:pt x="256" y="183"/>
                      <a:pt x="255" y="183"/>
                      <a:pt x="254" y="183"/>
                    </a:cubicBezTo>
                    <a:cubicBezTo>
                      <a:pt x="254" y="183"/>
                      <a:pt x="254" y="182"/>
                      <a:pt x="255" y="182"/>
                    </a:cubicBezTo>
                    <a:cubicBezTo>
                      <a:pt x="255" y="182"/>
                      <a:pt x="256" y="182"/>
                      <a:pt x="256" y="182"/>
                    </a:cubicBezTo>
                    <a:cubicBezTo>
                      <a:pt x="258" y="182"/>
                      <a:pt x="257" y="181"/>
                      <a:pt x="257" y="181"/>
                    </a:cubicBezTo>
                    <a:cubicBezTo>
                      <a:pt x="257" y="180"/>
                      <a:pt x="257" y="179"/>
                      <a:pt x="258" y="179"/>
                    </a:cubicBezTo>
                    <a:cubicBezTo>
                      <a:pt x="258" y="178"/>
                      <a:pt x="258" y="178"/>
                      <a:pt x="259" y="178"/>
                    </a:cubicBezTo>
                    <a:cubicBezTo>
                      <a:pt x="258" y="177"/>
                      <a:pt x="259" y="177"/>
                      <a:pt x="260" y="177"/>
                    </a:cubicBezTo>
                    <a:cubicBezTo>
                      <a:pt x="261" y="176"/>
                      <a:pt x="262" y="177"/>
                      <a:pt x="263" y="177"/>
                    </a:cubicBezTo>
                    <a:cubicBezTo>
                      <a:pt x="264" y="177"/>
                      <a:pt x="267" y="176"/>
                      <a:pt x="268" y="176"/>
                    </a:cubicBezTo>
                    <a:cubicBezTo>
                      <a:pt x="267" y="176"/>
                      <a:pt x="267" y="176"/>
                      <a:pt x="267" y="175"/>
                    </a:cubicBezTo>
                    <a:cubicBezTo>
                      <a:pt x="268" y="175"/>
                      <a:pt x="268" y="175"/>
                      <a:pt x="268" y="175"/>
                    </a:cubicBezTo>
                    <a:cubicBezTo>
                      <a:pt x="268" y="174"/>
                      <a:pt x="268" y="174"/>
                      <a:pt x="267" y="174"/>
                    </a:cubicBezTo>
                    <a:cubicBezTo>
                      <a:pt x="267" y="174"/>
                      <a:pt x="266" y="173"/>
                      <a:pt x="266" y="173"/>
                    </a:cubicBezTo>
                    <a:cubicBezTo>
                      <a:pt x="266" y="172"/>
                      <a:pt x="265" y="172"/>
                      <a:pt x="264" y="172"/>
                    </a:cubicBezTo>
                    <a:cubicBezTo>
                      <a:pt x="263" y="171"/>
                      <a:pt x="264" y="171"/>
                      <a:pt x="263" y="170"/>
                    </a:cubicBezTo>
                    <a:cubicBezTo>
                      <a:pt x="262" y="169"/>
                      <a:pt x="260" y="170"/>
                      <a:pt x="262" y="168"/>
                    </a:cubicBezTo>
                    <a:cubicBezTo>
                      <a:pt x="261" y="168"/>
                      <a:pt x="261" y="167"/>
                      <a:pt x="261" y="166"/>
                    </a:cubicBezTo>
                    <a:cubicBezTo>
                      <a:pt x="261" y="166"/>
                      <a:pt x="262" y="165"/>
                      <a:pt x="261" y="165"/>
                    </a:cubicBezTo>
                    <a:cubicBezTo>
                      <a:pt x="261" y="165"/>
                      <a:pt x="260" y="165"/>
                      <a:pt x="260" y="165"/>
                    </a:cubicBezTo>
                    <a:cubicBezTo>
                      <a:pt x="259" y="166"/>
                      <a:pt x="258" y="166"/>
                      <a:pt x="257" y="165"/>
                    </a:cubicBezTo>
                    <a:cubicBezTo>
                      <a:pt x="257" y="165"/>
                      <a:pt x="256" y="164"/>
                      <a:pt x="256" y="164"/>
                    </a:cubicBezTo>
                    <a:cubicBezTo>
                      <a:pt x="256" y="165"/>
                      <a:pt x="256" y="163"/>
                      <a:pt x="256" y="163"/>
                    </a:cubicBezTo>
                    <a:cubicBezTo>
                      <a:pt x="256" y="163"/>
                      <a:pt x="254" y="162"/>
                      <a:pt x="254" y="162"/>
                    </a:cubicBezTo>
                    <a:cubicBezTo>
                      <a:pt x="253" y="161"/>
                      <a:pt x="255" y="161"/>
                      <a:pt x="255" y="161"/>
                    </a:cubicBezTo>
                    <a:cubicBezTo>
                      <a:pt x="256" y="161"/>
                      <a:pt x="257" y="162"/>
                      <a:pt x="258" y="163"/>
                    </a:cubicBezTo>
                    <a:cubicBezTo>
                      <a:pt x="259" y="163"/>
                      <a:pt x="260" y="163"/>
                      <a:pt x="261" y="163"/>
                    </a:cubicBezTo>
                    <a:cubicBezTo>
                      <a:pt x="262" y="164"/>
                      <a:pt x="262" y="164"/>
                      <a:pt x="263" y="165"/>
                    </a:cubicBezTo>
                    <a:cubicBezTo>
                      <a:pt x="263" y="165"/>
                      <a:pt x="264" y="165"/>
                      <a:pt x="265" y="166"/>
                    </a:cubicBezTo>
                    <a:cubicBezTo>
                      <a:pt x="267" y="166"/>
                      <a:pt x="267" y="168"/>
                      <a:pt x="269" y="167"/>
                    </a:cubicBezTo>
                    <a:cubicBezTo>
                      <a:pt x="270" y="167"/>
                      <a:pt x="271" y="166"/>
                      <a:pt x="271" y="166"/>
                    </a:cubicBezTo>
                    <a:cubicBezTo>
                      <a:pt x="272" y="166"/>
                      <a:pt x="273" y="168"/>
                      <a:pt x="273" y="169"/>
                    </a:cubicBezTo>
                    <a:cubicBezTo>
                      <a:pt x="273" y="169"/>
                      <a:pt x="274" y="169"/>
                      <a:pt x="274" y="169"/>
                    </a:cubicBezTo>
                    <a:cubicBezTo>
                      <a:pt x="274" y="169"/>
                      <a:pt x="275" y="169"/>
                      <a:pt x="275" y="169"/>
                    </a:cubicBezTo>
                    <a:cubicBezTo>
                      <a:pt x="275" y="170"/>
                      <a:pt x="276" y="170"/>
                      <a:pt x="276" y="170"/>
                    </a:cubicBezTo>
                    <a:cubicBezTo>
                      <a:pt x="276" y="171"/>
                      <a:pt x="277" y="170"/>
                      <a:pt x="277" y="171"/>
                    </a:cubicBezTo>
                    <a:cubicBezTo>
                      <a:pt x="278" y="171"/>
                      <a:pt x="278" y="171"/>
                      <a:pt x="278" y="172"/>
                    </a:cubicBezTo>
                    <a:cubicBezTo>
                      <a:pt x="279" y="172"/>
                      <a:pt x="280" y="173"/>
                      <a:pt x="280" y="173"/>
                    </a:cubicBezTo>
                    <a:cubicBezTo>
                      <a:pt x="280" y="173"/>
                      <a:pt x="280" y="172"/>
                      <a:pt x="281" y="172"/>
                    </a:cubicBezTo>
                    <a:cubicBezTo>
                      <a:pt x="281" y="173"/>
                      <a:pt x="281" y="173"/>
                      <a:pt x="281" y="173"/>
                    </a:cubicBezTo>
                    <a:cubicBezTo>
                      <a:pt x="282" y="173"/>
                      <a:pt x="283" y="173"/>
                      <a:pt x="283" y="173"/>
                    </a:cubicBezTo>
                    <a:cubicBezTo>
                      <a:pt x="284" y="172"/>
                      <a:pt x="284" y="173"/>
                      <a:pt x="284" y="173"/>
                    </a:cubicBezTo>
                    <a:cubicBezTo>
                      <a:pt x="285" y="173"/>
                      <a:pt x="285" y="172"/>
                      <a:pt x="285" y="172"/>
                    </a:cubicBezTo>
                    <a:cubicBezTo>
                      <a:pt x="286" y="172"/>
                      <a:pt x="286" y="172"/>
                      <a:pt x="286" y="172"/>
                    </a:cubicBezTo>
                    <a:cubicBezTo>
                      <a:pt x="287" y="172"/>
                      <a:pt x="287" y="172"/>
                      <a:pt x="288" y="172"/>
                    </a:cubicBezTo>
                    <a:cubicBezTo>
                      <a:pt x="288" y="172"/>
                      <a:pt x="289" y="172"/>
                      <a:pt x="290" y="172"/>
                    </a:cubicBezTo>
                    <a:cubicBezTo>
                      <a:pt x="292" y="171"/>
                      <a:pt x="293" y="170"/>
                      <a:pt x="294" y="169"/>
                    </a:cubicBezTo>
                    <a:cubicBezTo>
                      <a:pt x="295" y="169"/>
                      <a:pt x="295" y="168"/>
                      <a:pt x="296" y="168"/>
                    </a:cubicBezTo>
                    <a:cubicBezTo>
                      <a:pt x="296" y="167"/>
                      <a:pt x="297" y="167"/>
                      <a:pt x="298" y="167"/>
                    </a:cubicBezTo>
                    <a:cubicBezTo>
                      <a:pt x="298" y="166"/>
                      <a:pt x="298" y="165"/>
                      <a:pt x="299" y="165"/>
                    </a:cubicBezTo>
                    <a:cubicBezTo>
                      <a:pt x="299" y="164"/>
                      <a:pt x="300" y="164"/>
                      <a:pt x="300" y="163"/>
                    </a:cubicBezTo>
                    <a:cubicBezTo>
                      <a:pt x="301" y="160"/>
                      <a:pt x="305" y="159"/>
                      <a:pt x="308" y="158"/>
                    </a:cubicBezTo>
                    <a:cubicBezTo>
                      <a:pt x="311" y="157"/>
                      <a:pt x="315" y="158"/>
                      <a:pt x="318" y="158"/>
                    </a:cubicBezTo>
                    <a:cubicBezTo>
                      <a:pt x="319" y="158"/>
                      <a:pt x="319" y="159"/>
                      <a:pt x="320" y="159"/>
                    </a:cubicBezTo>
                    <a:cubicBezTo>
                      <a:pt x="321" y="159"/>
                      <a:pt x="322" y="159"/>
                      <a:pt x="323" y="159"/>
                    </a:cubicBezTo>
                    <a:cubicBezTo>
                      <a:pt x="324" y="159"/>
                      <a:pt x="325" y="161"/>
                      <a:pt x="326" y="160"/>
                    </a:cubicBezTo>
                    <a:cubicBezTo>
                      <a:pt x="325" y="162"/>
                      <a:pt x="324" y="163"/>
                      <a:pt x="323" y="164"/>
                    </a:cubicBezTo>
                    <a:close/>
                    <a:moveTo>
                      <a:pt x="435" y="291"/>
                    </a:moveTo>
                    <a:cubicBezTo>
                      <a:pt x="436" y="289"/>
                      <a:pt x="437" y="288"/>
                      <a:pt x="438" y="286"/>
                    </a:cubicBezTo>
                    <a:cubicBezTo>
                      <a:pt x="439" y="286"/>
                      <a:pt x="438" y="287"/>
                      <a:pt x="439" y="287"/>
                    </a:cubicBezTo>
                    <a:cubicBezTo>
                      <a:pt x="439" y="287"/>
                      <a:pt x="440" y="287"/>
                      <a:pt x="440" y="287"/>
                    </a:cubicBezTo>
                    <a:cubicBezTo>
                      <a:pt x="439" y="289"/>
                      <a:pt x="437" y="288"/>
                      <a:pt x="436" y="290"/>
                    </a:cubicBezTo>
                    <a:cubicBezTo>
                      <a:pt x="436" y="290"/>
                      <a:pt x="436" y="291"/>
                      <a:pt x="436" y="291"/>
                    </a:cubicBezTo>
                    <a:cubicBezTo>
                      <a:pt x="436" y="291"/>
                      <a:pt x="435" y="292"/>
                      <a:pt x="437" y="292"/>
                    </a:cubicBezTo>
                    <a:cubicBezTo>
                      <a:pt x="437" y="292"/>
                      <a:pt x="437" y="292"/>
                      <a:pt x="438" y="292"/>
                    </a:cubicBezTo>
                    <a:cubicBezTo>
                      <a:pt x="438" y="292"/>
                      <a:pt x="439" y="291"/>
                      <a:pt x="439" y="291"/>
                    </a:cubicBezTo>
                    <a:cubicBezTo>
                      <a:pt x="439" y="291"/>
                      <a:pt x="439" y="291"/>
                      <a:pt x="440" y="291"/>
                    </a:cubicBezTo>
                    <a:cubicBezTo>
                      <a:pt x="440" y="291"/>
                      <a:pt x="440" y="290"/>
                      <a:pt x="440" y="290"/>
                    </a:cubicBezTo>
                    <a:cubicBezTo>
                      <a:pt x="441" y="290"/>
                      <a:pt x="439" y="292"/>
                      <a:pt x="439" y="292"/>
                    </a:cubicBezTo>
                    <a:cubicBezTo>
                      <a:pt x="438" y="292"/>
                      <a:pt x="438" y="292"/>
                      <a:pt x="439" y="293"/>
                    </a:cubicBezTo>
                    <a:cubicBezTo>
                      <a:pt x="439" y="293"/>
                      <a:pt x="438" y="293"/>
                      <a:pt x="438" y="293"/>
                    </a:cubicBezTo>
                    <a:cubicBezTo>
                      <a:pt x="438" y="294"/>
                      <a:pt x="439" y="294"/>
                      <a:pt x="439" y="294"/>
                    </a:cubicBezTo>
                    <a:cubicBezTo>
                      <a:pt x="439" y="294"/>
                      <a:pt x="439" y="295"/>
                      <a:pt x="439" y="295"/>
                    </a:cubicBezTo>
                    <a:cubicBezTo>
                      <a:pt x="438" y="295"/>
                      <a:pt x="438" y="295"/>
                      <a:pt x="437" y="294"/>
                    </a:cubicBezTo>
                    <a:cubicBezTo>
                      <a:pt x="436" y="293"/>
                      <a:pt x="434" y="293"/>
                      <a:pt x="435" y="291"/>
                    </a:cubicBezTo>
                    <a:close/>
                    <a:moveTo>
                      <a:pt x="454" y="333"/>
                    </a:moveTo>
                    <a:cubicBezTo>
                      <a:pt x="454" y="333"/>
                      <a:pt x="455" y="334"/>
                      <a:pt x="455" y="334"/>
                    </a:cubicBezTo>
                    <a:cubicBezTo>
                      <a:pt x="455" y="336"/>
                      <a:pt x="454" y="337"/>
                      <a:pt x="455" y="338"/>
                    </a:cubicBezTo>
                    <a:cubicBezTo>
                      <a:pt x="454" y="338"/>
                      <a:pt x="453" y="337"/>
                      <a:pt x="453" y="337"/>
                    </a:cubicBezTo>
                    <a:cubicBezTo>
                      <a:pt x="452" y="337"/>
                      <a:pt x="452" y="338"/>
                      <a:pt x="452" y="338"/>
                    </a:cubicBezTo>
                    <a:cubicBezTo>
                      <a:pt x="452" y="339"/>
                      <a:pt x="453" y="340"/>
                      <a:pt x="452" y="341"/>
                    </a:cubicBezTo>
                    <a:cubicBezTo>
                      <a:pt x="452" y="341"/>
                      <a:pt x="451" y="341"/>
                      <a:pt x="450" y="341"/>
                    </a:cubicBezTo>
                    <a:cubicBezTo>
                      <a:pt x="448" y="341"/>
                      <a:pt x="449" y="337"/>
                      <a:pt x="449" y="335"/>
                    </a:cubicBezTo>
                    <a:cubicBezTo>
                      <a:pt x="449" y="334"/>
                      <a:pt x="449" y="334"/>
                      <a:pt x="449" y="333"/>
                    </a:cubicBezTo>
                    <a:cubicBezTo>
                      <a:pt x="449" y="333"/>
                      <a:pt x="449" y="332"/>
                      <a:pt x="449" y="332"/>
                    </a:cubicBezTo>
                    <a:cubicBezTo>
                      <a:pt x="449" y="332"/>
                      <a:pt x="450" y="332"/>
                      <a:pt x="450" y="331"/>
                    </a:cubicBezTo>
                    <a:cubicBezTo>
                      <a:pt x="450" y="331"/>
                      <a:pt x="450" y="330"/>
                      <a:pt x="451" y="330"/>
                    </a:cubicBezTo>
                    <a:cubicBezTo>
                      <a:pt x="451" y="329"/>
                      <a:pt x="452" y="329"/>
                      <a:pt x="452" y="328"/>
                    </a:cubicBezTo>
                    <a:cubicBezTo>
                      <a:pt x="450" y="327"/>
                      <a:pt x="450" y="330"/>
                      <a:pt x="448" y="330"/>
                    </a:cubicBezTo>
                    <a:cubicBezTo>
                      <a:pt x="448" y="329"/>
                      <a:pt x="449" y="328"/>
                      <a:pt x="450" y="326"/>
                    </a:cubicBezTo>
                    <a:cubicBezTo>
                      <a:pt x="450" y="326"/>
                      <a:pt x="451" y="325"/>
                      <a:pt x="451" y="325"/>
                    </a:cubicBezTo>
                    <a:cubicBezTo>
                      <a:pt x="451" y="324"/>
                      <a:pt x="449" y="323"/>
                      <a:pt x="448" y="324"/>
                    </a:cubicBezTo>
                    <a:cubicBezTo>
                      <a:pt x="447" y="324"/>
                      <a:pt x="447" y="326"/>
                      <a:pt x="446" y="327"/>
                    </a:cubicBezTo>
                    <a:cubicBezTo>
                      <a:pt x="444" y="328"/>
                      <a:pt x="446" y="323"/>
                      <a:pt x="446" y="322"/>
                    </a:cubicBezTo>
                    <a:cubicBezTo>
                      <a:pt x="446" y="321"/>
                      <a:pt x="445" y="318"/>
                      <a:pt x="443" y="319"/>
                    </a:cubicBezTo>
                    <a:cubicBezTo>
                      <a:pt x="443" y="320"/>
                      <a:pt x="443" y="321"/>
                      <a:pt x="442" y="320"/>
                    </a:cubicBezTo>
                    <a:cubicBezTo>
                      <a:pt x="442" y="320"/>
                      <a:pt x="443" y="318"/>
                      <a:pt x="443" y="318"/>
                    </a:cubicBezTo>
                    <a:cubicBezTo>
                      <a:pt x="443" y="318"/>
                      <a:pt x="442" y="318"/>
                      <a:pt x="441" y="318"/>
                    </a:cubicBezTo>
                    <a:cubicBezTo>
                      <a:pt x="440" y="317"/>
                      <a:pt x="440" y="318"/>
                      <a:pt x="440" y="318"/>
                    </a:cubicBezTo>
                    <a:cubicBezTo>
                      <a:pt x="440" y="318"/>
                      <a:pt x="440" y="319"/>
                      <a:pt x="440" y="320"/>
                    </a:cubicBezTo>
                    <a:cubicBezTo>
                      <a:pt x="440" y="320"/>
                      <a:pt x="440" y="320"/>
                      <a:pt x="440" y="321"/>
                    </a:cubicBezTo>
                    <a:cubicBezTo>
                      <a:pt x="439" y="321"/>
                      <a:pt x="438" y="320"/>
                      <a:pt x="437" y="319"/>
                    </a:cubicBezTo>
                    <a:cubicBezTo>
                      <a:pt x="436" y="318"/>
                      <a:pt x="436" y="316"/>
                      <a:pt x="434" y="315"/>
                    </a:cubicBezTo>
                    <a:cubicBezTo>
                      <a:pt x="433" y="314"/>
                      <a:pt x="433" y="313"/>
                      <a:pt x="432" y="312"/>
                    </a:cubicBezTo>
                    <a:cubicBezTo>
                      <a:pt x="432" y="311"/>
                      <a:pt x="431" y="311"/>
                      <a:pt x="430" y="310"/>
                    </a:cubicBezTo>
                    <a:cubicBezTo>
                      <a:pt x="429" y="309"/>
                      <a:pt x="430" y="308"/>
                      <a:pt x="430" y="306"/>
                    </a:cubicBezTo>
                    <a:cubicBezTo>
                      <a:pt x="431" y="305"/>
                      <a:pt x="433" y="306"/>
                      <a:pt x="433" y="305"/>
                    </a:cubicBezTo>
                    <a:cubicBezTo>
                      <a:pt x="433" y="305"/>
                      <a:pt x="431" y="305"/>
                      <a:pt x="431" y="305"/>
                    </a:cubicBezTo>
                    <a:cubicBezTo>
                      <a:pt x="430" y="305"/>
                      <a:pt x="430" y="305"/>
                      <a:pt x="429" y="305"/>
                    </a:cubicBezTo>
                    <a:cubicBezTo>
                      <a:pt x="429" y="305"/>
                      <a:pt x="427" y="305"/>
                      <a:pt x="427" y="305"/>
                    </a:cubicBezTo>
                    <a:cubicBezTo>
                      <a:pt x="426" y="304"/>
                      <a:pt x="426" y="303"/>
                      <a:pt x="425" y="303"/>
                    </a:cubicBezTo>
                    <a:cubicBezTo>
                      <a:pt x="425" y="303"/>
                      <a:pt x="425" y="302"/>
                      <a:pt x="425" y="302"/>
                    </a:cubicBezTo>
                    <a:cubicBezTo>
                      <a:pt x="426" y="300"/>
                      <a:pt x="427" y="296"/>
                      <a:pt x="428" y="294"/>
                    </a:cubicBezTo>
                    <a:cubicBezTo>
                      <a:pt x="429" y="293"/>
                      <a:pt x="430" y="294"/>
                      <a:pt x="431" y="294"/>
                    </a:cubicBezTo>
                    <a:cubicBezTo>
                      <a:pt x="433" y="294"/>
                      <a:pt x="434" y="293"/>
                      <a:pt x="436" y="294"/>
                    </a:cubicBezTo>
                    <a:cubicBezTo>
                      <a:pt x="437" y="294"/>
                      <a:pt x="437" y="295"/>
                      <a:pt x="438" y="295"/>
                    </a:cubicBezTo>
                    <a:cubicBezTo>
                      <a:pt x="438" y="296"/>
                      <a:pt x="438" y="296"/>
                      <a:pt x="439" y="296"/>
                    </a:cubicBezTo>
                    <a:cubicBezTo>
                      <a:pt x="440" y="296"/>
                      <a:pt x="439" y="295"/>
                      <a:pt x="440" y="296"/>
                    </a:cubicBezTo>
                    <a:cubicBezTo>
                      <a:pt x="440" y="296"/>
                      <a:pt x="440" y="297"/>
                      <a:pt x="440" y="297"/>
                    </a:cubicBezTo>
                    <a:cubicBezTo>
                      <a:pt x="440" y="298"/>
                      <a:pt x="441" y="298"/>
                      <a:pt x="441" y="299"/>
                    </a:cubicBezTo>
                    <a:cubicBezTo>
                      <a:pt x="442" y="300"/>
                      <a:pt x="442" y="301"/>
                      <a:pt x="443" y="302"/>
                    </a:cubicBezTo>
                    <a:cubicBezTo>
                      <a:pt x="443" y="303"/>
                      <a:pt x="443" y="303"/>
                      <a:pt x="444" y="304"/>
                    </a:cubicBezTo>
                    <a:cubicBezTo>
                      <a:pt x="444" y="305"/>
                      <a:pt x="444" y="305"/>
                      <a:pt x="445" y="305"/>
                    </a:cubicBezTo>
                    <a:cubicBezTo>
                      <a:pt x="444" y="306"/>
                      <a:pt x="444" y="307"/>
                      <a:pt x="444" y="308"/>
                    </a:cubicBezTo>
                    <a:cubicBezTo>
                      <a:pt x="445" y="308"/>
                      <a:pt x="445" y="309"/>
                      <a:pt x="445" y="309"/>
                    </a:cubicBezTo>
                    <a:cubicBezTo>
                      <a:pt x="446" y="310"/>
                      <a:pt x="447" y="311"/>
                      <a:pt x="447" y="312"/>
                    </a:cubicBezTo>
                    <a:cubicBezTo>
                      <a:pt x="447" y="313"/>
                      <a:pt x="448" y="314"/>
                      <a:pt x="448" y="315"/>
                    </a:cubicBezTo>
                    <a:cubicBezTo>
                      <a:pt x="448" y="316"/>
                      <a:pt x="448" y="318"/>
                      <a:pt x="449" y="319"/>
                    </a:cubicBezTo>
                    <a:cubicBezTo>
                      <a:pt x="449" y="319"/>
                      <a:pt x="450" y="319"/>
                      <a:pt x="450" y="320"/>
                    </a:cubicBezTo>
                    <a:cubicBezTo>
                      <a:pt x="450" y="320"/>
                      <a:pt x="449" y="321"/>
                      <a:pt x="449" y="321"/>
                    </a:cubicBezTo>
                    <a:cubicBezTo>
                      <a:pt x="450" y="321"/>
                      <a:pt x="450" y="321"/>
                      <a:pt x="450" y="321"/>
                    </a:cubicBezTo>
                    <a:cubicBezTo>
                      <a:pt x="450" y="321"/>
                      <a:pt x="451" y="321"/>
                      <a:pt x="451" y="322"/>
                    </a:cubicBezTo>
                    <a:cubicBezTo>
                      <a:pt x="451" y="322"/>
                      <a:pt x="451" y="322"/>
                      <a:pt x="451" y="323"/>
                    </a:cubicBezTo>
                    <a:cubicBezTo>
                      <a:pt x="451" y="324"/>
                      <a:pt x="451" y="324"/>
                      <a:pt x="452" y="325"/>
                    </a:cubicBezTo>
                    <a:cubicBezTo>
                      <a:pt x="453" y="326"/>
                      <a:pt x="453" y="327"/>
                      <a:pt x="454" y="328"/>
                    </a:cubicBezTo>
                    <a:cubicBezTo>
                      <a:pt x="454" y="328"/>
                      <a:pt x="456" y="329"/>
                      <a:pt x="456" y="330"/>
                    </a:cubicBezTo>
                    <a:cubicBezTo>
                      <a:pt x="456" y="330"/>
                      <a:pt x="455" y="331"/>
                      <a:pt x="455" y="331"/>
                    </a:cubicBezTo>
                    <a:cubicBezTo>
                      <a:pt x="454" y="332"/>
                      <a:pt x="454" y="332"/>
                      <a:pt x="454" y="333"/>
                    </a:cubicBezTo>
                    <a:close/>
                    <a:moveTo>
                      <a:pt x="785" y="343"/>
                    </a:moveTo>
                    <a:cubicBezTo>
                      <a:pt x="786" y="342"/>
                      <a:pt x="787" y="342"/>
                      <a:pt x="787" y="342"/>
                    </a:cubicBezTo>
                    <a:cubicBezTo>
                      <a:pt x="787" y="342"/>
                      <a:pt x="787" y="342"/>
                      <a:pt x="787" y="342"/>
                    </a:cubicBezTo>
                    <a:cubicBezTo>
                      <a:pt x="788" y="342"/>
                      <a:pt x="788" y="342"/>
                      <a:pt x="788" y="342"/>
                    </a:cubicBezTo>
                    <a:cubicBezTo>
                      <a:pt x="788" y="342"/>
                      <a:pt x="788" y="342"/>
                      <a:pt x="788" y="342"/>
                    </a:cubicBezTo>
                    <a:cubicBezTo>
                      <a:pt x="788" y="342"/>
                      <a:pt x="788" y="342"/>
                      <a:pt x="788" y="342"/>
                    </a:cubicBezTo>
                    <a:cubicBezTo>
                      <a:pt x="789" y="342"/>
                      <a:pt x="788" y="343"/>
                      <a:pt x="789" y="343"/>
                    </a:cubicBezTo>
                    <a:cubicBezTo>
                      <a:pt x="787" y="343"/>
                      <a:pt x="786" y="343"/>
                      <a:pt x="785" y="343"/>
                    </a:cubicBezTo>
                    <a:close/>
                    <a:moveTo>
                      <a:pt x="790" y="343"/>
                    </a:moveTo>
                    <a:cubicBezTo>
                      <a:pt x="790" y="343"/>
                      <a:pt x="790" y="343"/>
                      <a:pt x="790" y="343"/>
                    </a:cubicBezTo>
                    <a:cubicBezTo>
                      <a:pt x="790" y="343"/>
                      <a:pt x="790" y="343"/>
                      <a:pt x="790" y="343"/>
                    </a:cubicBezTo>
                    <a:cubicBezTo>
                      <a:pt x="790" y="343"/>
                      <a:pt x="790" y="343"/>
                      <a:pt x="791" y="343"/>
                    </a:cubicBezTo>
                    <a:cubicBezTo>
                      <a:pt x="791" y="343"/>
                      <a:pt x="791" y="343"/>
                      <a:pt x="791" y="343"/>
                    </a:cubicBezTo>
                    <a:cubicBezTo>
                      <a:pt x="791" y="343"/>
                      <a:pt x="791" y="343"/>
                      <a:pt x="791" y="343"/>
                    </a:cubicBezTo>
                    <a:cubicBezTo>
                      <a:pt x="791" y="343"/>
                      <a:pt x="791" y="343"/>
                      <a:pt x="791" y="343"/>
                    </a:cubicBezTo>
                    <a:cubicBezTo>
                      <a:pt x="791" y="343"/>
                      <a:pt x="791" y="343"/>
                      <a:pt x="790" y="343"/>
                    </a:cubicBezTo>
                    <a:close/>
                    <a:moveTo>
                      <a:pt x="791" y="343"/>
                    </a:moveTo>
                    <a:cubicBezTo>
                      <a:pt x="791" y="343"/>
                      <a:pt x="791" y="343"/>
                      <a:pt x="791" y="343"/>
                    </a:cubicBezTo>
                    <a:cubicBezTo>
                      <a:pt x="791" y="343"/>
                      <a:pt x="791" y="343"/>
                      <a:pt x="791" y="343"/>
                    </a:cubicBezTo>
                    <a:cubicBezTo>
                      <a:pt x="791" y="343"/>
                      <a:pt x="791" y="343"/>
                      <a:pt x="791" y="343"/>
                    </a:cubicBezTo>
                    <a:close/>
                    <a:moveTo>
                      <a:pt x="857" y="327"/>
                    </a:moveTo>
                    <a:cubicBezTo>
                      <a:pt x="857" y="327"/>
                      <a:pt x="856" y="327"/>
                      <a:pt x="856" y="327"/>
                    </a:cubicBezTo>
                    <a:cubicBezTo>
                      <a:pt x="856" y="327"/>
                      <a:pt x="856" y="327"/>
                      <a:pt x="856" y="327"/>
                    </a:cubicBezTo>
                    <a:cubicBezTo>
                      <a:pt x="857" y="327"/>
                      <a:pt x="857" y="327"/>
                      <a:pt x="858" y="326"/>
                    </a:cubicBezTo>
                    <a:cubicBezTo>
                      <a:pt x="858" y="327"/>
                      <a:pt x="857" y="327"/>
                      <a:pt x="857" y="3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6" name="Freeform 3008">
                <a:extLst>
                  <a:ext uri="{FF2B5EF4-FFF2-40B4-BE49-F238E27FC236}">
                    <a16:creationId xmlns:a16="http://schemas.microsoft.com/office/drawing/2014/main" id="{DCE59F8B-EEF0-4520-B66B-2A408006CE90}"/>
                  </a:ext>
                </a:extLst>
              </p:cNvPr>
              <p:cNvSpPr>
                <a:spLocks/>
              </p:cNvSpPr>
              <p:nvPr/>
            </p:nvSpPr>
            <p:spPr bwMode="auto">
              <a:xfrm>
                <a:off x="1594" y="2746"/>
                <a:ext cx="135" cy="149"/>
              </a:xfrm>
              <a:custGeom>
                <a:avLst/>
                <a:gdLst>
                  <a:gd name="T0" fmla="*/ 7 w 57"/>
                  <a:gd name="T1" fmla="*/ 40 h 63"/>
                  <a:gd name="T2" fmla="*/ 10 w 57"/>
                  <a:gd name="T3" fmla="*/ 37 h 63"/>
                  <a:gd name="T4" fmla="*/ 11 w 57"/>
                  <a:gd name="T5" fmla="*/ 37 h 63"/>
                  <a:gd name="T6" fmla="*/ 12 w 57"/>
                  <a:gd name="T7" fmla="*/ 40 h 63"/>
                  <a:gd name="T8" fmla="*/ 8 w 57"/>
                  <a:gd name="T9" fmla="*/ 47 h 63"/>
                  <a:gd name="T10" fmla="*/ 8 w 57"/>
                  <a:gd name="T11" fmla="*/ 48 h 63"/>
                  <a:gd name="T12" fmla="*/ 9 w 57"/>
                  <a:gd name="T13" fmla="*/ 51 h 63"/>
                  <a:gd name="T14" fmla="*/ 9 w 57"/>
                  <a:gd name="T15" fmla="*/ 54 h 63"/>
                  <a:gd name="T16" fmla="*/ 8 w 57"/>
                  <a:gd name="T17" fmla="*/ 54 h 63"/>
                  <a:gd name="T18" fmla="*/ 7 w 57"/>
                  <a:gd name="T19" fmla="*/ 55 h 63"/>
                  <a:gd name="T20" fmla="*/ 6 w 57"/>
                  <a:gd name="T21" fmla="*/ 55 h 63"/>
                  <a:gd name="T22" fmla="*/ 6 w 57"/>
                  <a:gd name="T23" fmla="*/ 57 h 63"/>
                  <a:gd name="T24" fmla="*/ 7 w 57"/>
                  <a:gd name="T25" fmla="*/ 56 h 63"/>
                  <a:gd name="T26" fmla="*/ 9 w 57"/>
                  <a:gd name="T27" fmla="*/ 56 h 63"/>
                  <a:gd name="T28" fmla="*/ 13 w 57"/>
                  <a:gd name="T29" fmla="*/ 58 h 63"/>
                  <a:gd name="T30" fmla="*/ 14 w 57"/>
                  <a:gd name="T31" fmla="*/ 58 h 63"/>
                  <a:gd name="T32" fmla="*/ 16 w 57"/>
                  <a:gd name="T33" fmla="*/ 60 h 63"/>
                  <a:gd name="T34" fmla="*/ 17 w 57"/>
                  <a:gd name="T35" fmla="*/ 62 h 63"/>
                  <a:gd name="T36" fmla="*/ 18 w 57"/>
                  <a:gd name="T37" fmla="*/ 63 h 63"/>
                  <a:gd name="T38" fmla="*/ 19 w 57"/>
                  <a:gd name="T39" fmla="*/ 63 h 63"/>
                  <a:gd name="T40" fmla="*/ 19 w 57"/>
                  <a:gd name="T41" fmla="*/ 63 h 63"/>
                  <a:gd name="T42" fmla="*/ 20 w 57"/>
                  <a:gd name="T43" fmla="*/ 62 h 63"/>
                  <a:gd name="T44" fmla="*/ 25 w 57"/>
                  <a:gd name="T45" fmla="*/ 51 h 63"/>
                  <a:gd name="T46" fmla="*/ 27 w 57"/>
                  <a:gd name="T47" fmla="*/ 48 h 63"/>
                  <a:gd name="T48" fmla="*/ 27 w 57"/>
                  <a:gd name="T49" fmla="*/ 48 h 63"/>
                  <a:gd name="T50" fmla="*/ 29 w 57"/>
                  <a:gd name="T51" fmla="*/ 45 h 63"/>
                  <a:gd name="T52" fmla="*/ 30 w 57"/>
                  <a:gd name="T53" fmla="*/ 44 h 63"/>
                  <a:gd name="T54" fmla="*/ 38 w 57"/>
                  <a:gd name="T55" fmla="*/ 41 h 63"/>
                  <a:gd name="T56" fmla="*/ 49 w 57"/>
                  <a:gd name="T57" fmla="*/ 34 h 63"/>
                  <a:gd name="T58" fmla="*/ 53 w 57"/>
                  <a:gd name="T59" fmla="*/ 29 h 63"/>
                  <a:gd name="T60" fmla="*/ 54 w 57"/>
                  <a:gd name="T61" fmla="*/ 29 h 63"/>
                  <a:gd name="T62" fmla="*/ 55 w 57"/>
                  <a:gd name="T63" fmla="*/ 26 h 63"/>
                  <a:gd name="T64" fmla="*/ 56 w 57"/>
                  <a:gd name="T65" fmla="*/ 25 h 63"/>
                  <a:gd name="T66" fmla="*/ 57 w 57"/>
                  <a:gd name="T67" fmla="*/ 23 h 63"/>
                  <a:gd name="T68" fmla="*/ 57 w 57"/>
                  <a:gd name="T69" fmla="*/ 20 h 63"/>
                  <a:gd name="T70" fmla="*/ 56 w 57"/>
                  <a:gd name="T71" fmla="*/ 18 h 63"/>
                  <a:gd name="T72" fmla="*/ 55 w 57"/>
                  <a:gd name="T73" fmla="*/ 18 h 63"/>
                  <a:gd name="T74" fmla="*/ 55 w 57"/>
                  <a:gd name="T75" fmla="*/ 17 h 63"/>
                  <a:gd name="T76" fmla="*/ 54 w 57"/>
                  <a:gd name="T77" fmla="*/ 16 h 63"/>
                  <a:gd name="T78" fmla="*/ 53 w 57"/>
                  <a:gd name="T79" fmla="*/ 16 h 63"/>
                  <a:gd name="T80" fmla="*/ 53 w 57"/>
                  <a:gd name="T81" fmla="*/ 14 h 63"/>
                  <a:gd name="T82" fmla="*/ 54 w 57"/>
                  <a:gd name="T83" fmla="*/ 14 h 63"/>
                  <a:gd name="T84" fmla="*/ 51 w 57"/>
                  <a:gd name="T85" fmla="*/ 12 h 63"/>
                  <a:gd name="T86" fmla="*/ 49 w 57"/>
                  <a:gd name="T87" fmla="*/ 11 h 63"/>
                  <a:gd name="T88" fmla="*/ 47 w 57"/>
                  <a:gd name="T89" fmla="*/ 11 h 63"/>
                  <a:gd name="T90" fmla="*/ 39 w 57"/>
                  <a:gd name="T91" fmla="*/ 11 h 63"/>
                  <a:gd name="T92" fmla="*/ 38 w 57"/>
                  <a:gd name="T93" fmla="*/ 11 h 63"/>
                  <a:gd name="T94" fmla="*/ 36 w 57"/>
                  <a:gd name="T95" fmla="*/ 10 h 63"/>
                  <a:gd name="T96" fmla="*/ 34 w 57"/>
                  <a:gd name="T97" fmla="*/ 8 h 63"/>
                  <a:gd name="T98" fmla="*/ 34 w 57"/>
                  <a:gd name="T99" fmla="*/ 7 h 63"/>
                  <a:gd name="T100" fmla="*/ 31 w 57"/>
                  <a:gd name="T101" fmla="*/ 6 h 63"/>
                  <a:gd name="T102" fmla="*/ 21 w 57"/>
                  <a:gd name="T103" fmla="*/ 0 h 63"/>
                  <a:gd name="T104" fmla="*/ 20 w 57"/>
                  <a:gd name="T105" fmla="*/ 1 h 63"/>
                  <a:gd name="T106" fmla="*/ 14 w 57"/>
                  <a:gd name="T107" fmla="*/ 5 h 63"/>
                  <a:gd name="T108" fmla="*/ 9 w 57"/>
                  <a:gd name="T109" fmla="*/ 7 h 63"/>
                  <a:gd name="T110" fmla="*/ 10 w 57"/>
                  <a:gd name="T111" fmla="*/ 10 h 63"/>
                  <a:gd name="T112" fmla="*/ 5 w 57"/>
                  <a:gd name="T113" fmla="*/ 18 h 63"/>
                  <a:gd name="T114" fmla="*/ 5 w 57"/>
                  <a:gd name="T115" fmla="*/ 21 h 63"/>
                  <a:gd name="T116" fmla="*/ 1 w 57"/>
                  <a:gd name="T117" fmla="*/ 25 h 63"/>
                  <a:gd name="T118" fmla="*/ 0 w 57"/>
                  <a:gd name="T119" fmla="*/ 36 h 63"/>
                  <a:gd name="T120" fmla="*/ 6 w 57"/>
                  <a:gd name="T12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 h="63">
                    <a:moveTo>
                      <a:pt x="7" y="41"/>
                    </a:moveTo>
                    <a:cubicBezTo>
                      <a:pt x="7" y="41"/>
                      <a:pt x="7" y="40"/>
                      <a:pt x="7" y="40"/>
                    </a:cubicBezTo>
                    <a:cubicBezTo>
                      <a:pt x="7" y="40"/>
                      <a:pt x="7" y="40"/>
                      <a:pt x="8" y="40"/>
                    </a:cubicBezTo>
                    <a:cubicBezTo>
                      <a:pt x="8" y="39"/>
                      <a:pt x="9" y="38"/>
                      <a:pt x="10" y="37"/>
                    </a:cubicBezTo>
                    <a:cubicBezTo>
                      <a:pt x="10" y="39"/>
                      <a:pt x="10" y="39"/>
                      <a:pt x="9" y="40"/>
                    </a:cubicBezTo>
                    <a:cubicBezTo>
                      <a:pt x="11" y="41"/>
                      <a:pt x="11" y="37"/>
                      <a:pt x="11" y="37"/>
                    </a:cubicBezTo>
                    <a:cubicBezTo>
                      <a:pt x="12" y="37"/>
                      <a:pt x="12" y="38"/>
                      <a:pt x="12" y="39"/>
                    </a:cubicBezTo>
                    <a:cubicBezTo>
                      <a:pt x="13" y="40"/>
                      <a:pt x="12" y="40"/>
                      <a:pt x="12" y="40"/>
                    </a:cubicBezTo>
                    <a:cubicBezTo>
                      <a:pt x="12" y="42"/>
                      <a:pt x="11" y="44"/>
                      <a:pt x="10" y="45"/>
                    </a:cubicBezTo>
                    <a:cubicBezTo>
                      <a:pt x="10" y="47"/>
                      <a:pt x="9" y="47"/>
                      <a:pt x="8" y="47"/>
                    </a:cubicBezTo>
                    <a:cubicBezTo>
                      <a:pt x="8" y="47"/>
                      <a:pt x="8" y="48"/>
                      <a:pt x="8" y="48"/>
                    </a:cubicBezTo>
                    <a:cubicBezTo>
                      <a:pt x="8" y="48"/>
                      <a:pt x="8" y="48"/>
                      <a:pt x="8" y="48"/>
                    </a:cubicBezTo>
                    <a:cubicBezTo>
                      <a:pt x="8" y="49"/>
                      <a:pt x="8" y="50"/>
                      <a:pt x="9" y="51"/>
                    </a:cubicBezTo>
                    <a:cubicBezTo>
                      <a:pt x="9" y="51"/>
                      <a:pt x="9" y="51"/>
                      <a:pt x="9" y="51"/>
                    </a:cubicBezTo>
                    <a:cubicBezTo>
                      <a:pt x="9" y="51"/>
                      <a:pt x="9" y="52"/>
                      <a:pt x="9" y="52"/>
                    </a:cubicBezTo>
                    <a:cubicBezTo>
                      <a:pt x="9" y="52"/>
                      <a:pt x="9" y="53"/>
                      <a:pt x="9" y="54"/>
                    </a:cubicBezTo>
                    <a:cubicBezTo>
                      <a:pt x="9" y="54"/>
                      <a:pt x="9" y="54"/>
                      <a:pt x="9" y="54"/>
                    </a:cubicBezTo>
                    <a:cubicBezTo>
                      <a:pt x="8" y="54"/>
                      <a:pt x="8" y="54"/>
                      <a:pt x="8" y="54"/>
                    </a:cubicBezTo>
                    <a:cubicBezTo>
                      <a:pt x="8" y="55"/>
                      <a:pt x="8" y="55"/>
                      <a:pt x="7" y="55"/>
                    </a:cubicBezTo>
                    <a:cubicBezTo>
                      <a:pt x="7" y="55"/>
                      <a:pt x="7" y="55"/>
                      <a:pt x="7" y="55"/>
                    </a:cubicBezTo>
                    <a:cubicBezTo>
                      <a:pt x="7" y="55"/>
                      <a:pt x="7" y="55"/>
                      <a:pt x="6" y="55"/>
                    </a:cubicBezTo>
                    <a:cubicBezTo>
                      <a:pt x="6" y="55"/>
                      <a:pt x="6" y="55"/>
                      <a:pt x="6" y="55"/>
                    </a:cubicBezTo>
                    <a:cubicBezTo>
                      <a:pt x="6" y="56"/>
                      <a:pt x="6" y="56"/>
                      <a:pt x="6" y="56"/>
                    </a:cubicBezTo>
                    <a:cubicBezTo>
                      <a:pt x="6" y="56"/>
                      <a:pt x="6" y="57"/>
                      <a:pt x="6" y="57"/>
                    </a:cubicBezTo>
                    <a:cubicBezTo>
                      <a:pt x="7" y="57"/>
                      <a:pt x="7" y="57"/>
                      <a:pt x="7" y="57"/>
                    </a:cubicBezTo>
                    <a:cubicBezTo>
                      <a:pt x="7" y="56"/>
                      <a:pt x="7" y="56"/>
                      <a:pt x="7" y="56"/>
                    </a:cubicBezTo>
                    <a:cubicBezTo>
                      <a:pt x="8" y="56"/>
                      <a:pt x="8" y="56"/>
                      <a:pt x="8" y="56"/>
                    </a:cubicBezTo>
                    <a:cubicBezTo>
                      <a:pt x="9" y="56"/>
                      <a:pt x="9" y="56"/>
                      <a:pt x="9" y="56"/>
                    </a:cubicBezTo>
                    <a:cubicBezTo>
                      <a:pt x="10" y="56"/>
                      <a:pt x="10" y="57"/>
                      <a:pt x="11" y="57"/>
                    </a:cubicBezTo>
                    <a:cubicBezTo>
                      <a:pt x="12" y="57"/>
                      <a:pt x="12" y="57"/>
                      <a:pt x="13" y="58"/>
                    </a:cubicBezTo>
                    <a:cubicBezTo>
                      <a:pt x="13" y="57"/>
                      <a:pt x="13" y="57"/>
                      <a:pt x="13" y="57"/>
                    </a:cubicBezTo>
                    <a:cubicBezTo>
                      <a:pt x="14" y="58"/>
                      <a:pt x="14" y="58"/>
                      <a:pt x="14" y="58"/>
                    </a:cubicBezTo>
                    <a:cubicBezTo>
                      <a:pt x="14" y="58"/>
                      <a:pt x="14" y="58"/>
                      <a:pt x="14" y="58"/>
                    </a:cubicBezTo>
                    <a:cubicBezTo>
                      <a:pt x="15" y="59"/>
                      <a:pt x="16" y="60"/>
                      <a:pt x="16" y="60"/>
                    </a:cubicBezTo>
                    <a:cubicBezTo>
                      <a:pt x="16" y="61"/>
                      <a:pt x="16" y="61"/>
                      <a:pt x="16" y="61"/>
                    </a:cubicBezTo>
                    <a:cubicBezTo>
                      <a:pt x="16" y="61"/>
                      <a:pt x="17" y="62"/>
                      <a:pt x="17" y="62"/>
                    </a:cubicBezTo>
                    <a:cubicBezTo>
                      <a:pt x="17" y="62"/>
                      <a:pt x="17" y="62"/>
                      <a:pt x="17" y="62"/>
                    </a:cubicBezTo>
                    <a:cubicBezTo>
                      <a:pt x="17" y="63"/>
                      <a:pt x="18" y="63"/>
                      <a:pt x="18"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20" y="62"/>
                      <a:pt x="20" y="62"/>
                    </a:cubicBezTo>
                    <a:cubicBezTo>
                      <a:pt x="20" y="62"/>
                      <a:pt x="20" y="62"/>
                      <a:pt x="20" y="62"/>
                    </a:cubicBezTo>
                    <a:cubicBezTo>
                      <a:pt x="21" y="61"/>
                      <a:pt x="22" y="60"/>
                      <a:pt x="22" y="59"/>
                    </a:cubicBezTo>
                    <a:cubicBezTo>
                      <a:pt x="23" y="57"/>
                      <a:pt x="24" y="54"/>
                      <a:pt x="25" y="51"/>
                    </a:cubicBezTo>
                    <a:cubicBezTo>
                      <a:pt x="25" y="51"/>
                      <a:pt x="25" y="51"/>
                      <a:pt x="25" y="51"/>
                    </a:cubicBezTo>
                    <a:cubicBezTo>
                      <a:pt x="25" y="50"/>
                      <a:pt x="25" y="49"/>
                      <a:pt x="27" y="48"/>
                    </a:cubicBezTo>
                    <a:cubicBezTo>
                      <a:pt x="27" y="48"/>
                      <a:pt x="27" y="48"/>
                      <a:pt x="27" y="48"/>
                    </a:cubicBezTo>
                    <a:cubicBezTo>
                      <a:pt x="27" y="48"/>
                      <a:pt x="27" y="48"/>
                      <a:pt x="27" y="48"/>
                    </a:cubicBezTo>
                    <a:cubicBezTo>
                      <a:pt x="28" y="47"/>
                      <a:pt x="28" y="47"/>
                      <a:pt x="28" y="46"/>
                    </a:cubicBezTo>
                    <a:cubicBezTo>
                      <a:pt x="28" y="46"/>
                      <a:pt x="29" y="46"/>
                      <a:pt x="29" y="45"/>
                    </a:cubicBezTo>
                    <a:cubicBezTo>
                      <a:pt x="29" y="45"/>
                      <a:pt x="29" y="45"/>
                      <a:pt x="29" y="45"/>
                    </a:cubicBezTo>
                    <a:cubicBezTo>
                      <a:pt x="29" y="45"/>
                      <a:pt x="29" y="44"/>
                      <a:pt x="30" y="44"/>
                    </a:cubicBezTo>
                    <a:cubicBezTo>
                      <a:pt x="31" y="43"/>
                      <a:pt x="33" y="42"/>
                      <a:pt x="35" y="41"/>
                    </a:cubicBezTo>
                    <a:cubicBezTo>
                      <a:pt x="36" y="41"/>
                      <a:pt x="37" y="41"/>
                      <a:pt x="38" y="41"/>
                    </a:cubicBezTo>
                    <a:cubicBezTo>
                      <a:pt x="40" y="40"/>
                      <a:pt x="42" y="39"/>
                      <a:pt x="44" y="38"/>
                    </a:cubicBezTo>
                    <a:cubicBezTo>
                      <a:pt x="46" y="37"/>
                      <a:pt x="47" y="35"/>
                      <a:pt x="49" y="34"/>
                    </a:cubicBezTo>
                    <a:cubicBezTo>
                      <a:pt x="50" y="33"/>
                      <a:pt x="50" y="32"/>
                      <a:pt x="51" y="32"/>
                    </a:cubicBezTo>
                    <a:cubicBezTo>
                      <a:pt x="52" y="31"/>
                      <a:pt x="53" y="30"/>
                      <a:pt x="53" y="29"/>
                    </a:cubicBezTo>
                    <a:cubicBezTo>
                      <a:pt x="53" y="29"/>
                      <a:pt x="53" y="29"/>
                      <a:pt x="54" y="29"/>
                    </a:cubicBezTo>
                    <a:cubicBezTo>
                      <a:pt x="54" y="29"/>
                      <a:pt x="54" y="29"/>
                      <a:pt x="54" y="29"/>
                    </a:cubicBezTo>
                    <a:cubicBezTo>
                      <a:pt x="54" y="28"/>
                      <a:pt x="55" y="27"/>
                      <a:pt x="55" y="26"/>
                    </a:cubicBezTo>
                    <a:cubicBezTo>
                      <a:pt x="55" y="26"/>
                      <a:pt x="55" y="26"/>
                      <a:pt x="55" y="26"/>
                    </a:cubicBezTo>
                    <a:cubicBezTo>
                      <a:pt x="55" y="26"/>
                      <a:pt x="55" y="26"/>
                      <a:pt x="56" y="25"/>
                    </a:cubicBezTo>
                    <a:cubicBezTo>
                      <a:pt x="56" y="25"/>
                      <a:pt x="56" y="25"/>
                      <a:pt x="56" y="25"/>
                    </a:cubicBezTo>
                    <a:cubicBezTo>
                      <a:pt x="56" y="25"/>
                      <a:pt x="56" y="24"/>
                      <a:pt x="56" y="24"/>
                    </a:cubicBezTo>
                    <a:cubicBezTo>
                      <a:pt x="57" y="24"/>
                      <a:pt x="57" y="23"/>
                      <a:pt x="57" y="23"/>
                    </a:cubicBezTo>
                    <a:cubicBezTo>
                      <a:pt x="57" y="22"/>
                      <a:pt x="57" y="22"/>
                      <a:pt x="57" y="22"/>
                    </a:cubicBezTo>
                    <a:cubicBezTo>
                      <a:pt x="57" y="21"/>
                      <a:pt x="57" y="21"/>
                      <a:pt x="57" y="20"/>
                    </a:cubicBezTo>
                    <a:cubicBezTo>
                      <a:pt x="57" y="20"/>
                      <a:pt x="56" y="20"/>
                      <a:pt x="56" y="19"/>
                    </a:cubicBezTo>
                    <a:cubicBezTo>
                      <a:pt x="56" y="19"/>
                      <a:pt x="56" y="19"/>
                      <a:pt x="56" y="18"/>
                    </a:cubicBezTo>
                    <a:cubicBezTo>
                      <a:pt x="55" y="18"/>
                      <a:pt x="55" y="18"/>
                      <a:pt x="55" y="18"/>
                    </a:cubicBezTo>
                    <a:cubicBezTo>
                      <a:pt x="55" y="18"/>
                      <a:pt x="55" y="18"/>
                      <a:pt x="55" y="18"/>
                    </a:cubicBezTo>
                    <a:cubicBezTo>
                      <a:pt x="55" y="17"/>
                      <a:pt x="55" y="17"/>
                      <a:pt x="55" y="17"/>
                    </a:cubicBezTo>
                    <a:cubicBezTo>
                      <a:pt x="55" y="17"/>
                      <a:pt x="55" y="17"/>
                      <a:pt x="55" y="17"/>
                    </a:cubicBezTo>
                    <a:cubicBezTo>
                      <a:pt x="55" y="17"/>
                      <a:pt x="55" y="17"/>
                      <a:pt x="55" y="17"/>
                    </a:cubicBezTo>
                    <a:cubicBezTo>
                      <a:pt x="55" y="17"/>
                      <a:pt x="55" y="16"/>
                      <a:pt x="54" y="16"/>
                    </a:cubicBezTo>
                    <a:cubicBezTo>
                      <a:pt x="54" y="16"/>
                      <a:pt x="54" y="16"/>
                      <a:pt x="54" y="16"/>
                    </a:cubicBezTo>
                    <a:cubicBezTo>
                      <a:pt x="54" y="16"/>
                      <a:pt x="53" y="16"/>
                      <a:pt x="53" y="16"/>
                    </a:cubicBezTo>
                    <a:cubicBezTo>
                      <a:pt x="53" y="15"/>
                      <a:pt x="53" y="15"/>
                      <a:pt x="53" y="15"/>
                    </a:cubicBezTo>
                    <a:cubicBezTo>
                      <a:pt x="53" y="14"/>
                      <a:pt x="53" y="14"/>
                      <a:pt x="53" y="14"/>
                    </a:cubicBezTo>
                    <a:cubicBezTo>
                      <a:pt x="54" y="14"/>
                      <a:pt x="54" y="14"/>
                      <a:pt x="54" y="14"/>
                    </a:cubicBezTo>
                    <a:cubicBezTo>
                      <a:pt x="54" y="14"/>
                      <a:pt x="54" y="14"/>
                      <a:pt x="54" y="14"/>
                    </a:cubicBezTo>
                    <a:cubicBezTo>
                      <a:pt x="52" y="12"/>
                      <a:pt x="52" y="12"/>
                      <a:pt x="52" y="12"/>
                    </a:cubicBezTo>
                    <a:cubicBezTo>
                      <a:pt x="51" y="12"/>
                      <a:pt x="51" y="12"/>
                      <a:pt x="51" y="12"/>
                    </a:cubicBezTo>
                    <a:cubicBezTo>
                      <a:pt x="50" y="12"/>
                      <a:pt x="50" y="11"/>
                      <a:pt x="49" y="11"/>
                    </a:cubicBezTo>
                    <a:cubicBezTo>
                      <a:pt x="49" y="11"/>
                      <a:pt x="49" y="11"/>
                      <a:pt x="49" y="11"/>
                    </a:cubicBezTo>
                    <a:cubicBezTo>
                      <a:pt x="49" y="11"/>
                      <a:pt x="48" y="11"/>
                      <a:pt x="47" y="11"/>
                    </a:cubicBezTo>
                    <a:cubicBezTo>
                      <a:pt x="47" y="11"/>
                      <a:pt x="47" y="11"/>
                      <a:pt x="47" y="11"/>
                    </a:cubicBezTo>
                    <a:cubicBezTo>
                      <a:pt x="44" y="12"/>
                      <a:pt x="43" y="12"/>
                      <a:pt x="41" y="11"/>
                    </a:cubicBezTo>
                    <a:cubicBezTo>
                      <a:pt x="40" y="11"/>
                      <a:pt x="40" y="11"/>
                      <a:pt x="39" y="11"/>
                    </a:cubicBezTo>
                    <a:cubicBezTo>
                      <a:pt x="39" y="11"/>
                      <a:pt x="39" y="11"/>
                      <a:pt x="39" y="11"/>
                    </a:cubicBezTo>
                    <a:cubicBezTo>
                      <a:pt x="39" y="11"/>
                      <a:pt x="38" y="11"/>
                      <a:pt x="38" y="11"/>
                    </a:cubicBezTo>
                    <a:cubicBezTo>
                      <a:pt x="37" y="11"/>
                      <a:pt x="37" y="11"/>
                      <a:pt x="37" y="11"/>
                    </a:cubicBezTo>
                    <a:cubicBezTo>
                      <a:pt x="36" y="11"/>
                      <a:pt x="36" y="10"/>
                      <a:pt x="36" y="10"/>
                    </a:cubicBezTo>
                    <a:cubicBezTo>
                      <a:pt x="35" y="10"/>
                      <a:pt x="35" y="10"/>
                      <a:pt x="35" y="10"/>
                    </a:cubicBezTo>
                    <a:cubicBezTo>
                      <a:pt x="35" y="9"/>
                      <a:pt x="35" y="9"/>
                      <a:pt x="34" y="8"/>
                    </a:cubicBezTo>
                    <a:cubicBezTo>
                      <a:pt x="34" y="8"/>
                      <a:pt x="34" y="8"/>
                      <a:pt x="34" y="7"/>
                    </a:cubicBezTo>
                    <a:cubicBezTo>
                      <a:pt x="34" y="7"/>
                      <a:pt x="34" y="7"/>
                      <a:pt x="34" y="7"/>
                    </a:cubicBezTo>
                    <a:cubicBezTo>
                      <a:pt x="34" y="6"/>
                      <a:pt x="33" y="6"/>
                      <a:pt x="32" y="6"/>
                    </a:cubicBezTo>
                    <a:cubicBezTo>
                      <a:pt x="32" y="6"/>
                      <a:pt x="31" y="6"/>
                      <a:pt x="31" y="6"/>
                    </a:cubicBezTo>
                    <a:cubicBezTo>
                      <a:pt x="27" y="4"/>
                      <a:pt x="25" y="2"/>
                      <a:pt x="22" y="0"/>
                    </a:cubicBezTo>
                    <a:cubicBezTo>
                      <a:pt x="21" y="0"/>
                      <a:pt x="21" y="0"/>
                      <a:pt x="21" y="0"/>
                    </a:cubicBezTo>
                    <a:cubicBezTo>
                      <a:pt x="21" y="1"/>
                      <a:pt x="21" y="1"/>
                      <a:pt x="20" y="2"/>
                    </a:cubicBezTo>
                    <a:cubicBezTo>
                      <a:pt x="20" y="2"/>
                      <a:pt x="20" y="2"/>
                      <a:pt x="20" y="1"/>
                    </a:cubicBezTo>
                    <a:cubicBezTo>
                      <a:pt x="19" y="2"/>
                      <a:pt x="18" y="2"/>
                      <a:pt x="17" y="2"/>
                    </a:cubicBezTo>
                    <a:cubicBezTo>
                      <a:pt x="16" y="3"/>
                      <a:pt x="13" y="3"/>
                      <a:pt x="14" y="5"/>
                    </a:cubicBezTo>
                    <a:cubicBezTo>
                      <a:pt x="13" y="4"/>
                      <a:pt x="8" y="4"/>
                      <a:pt x="9" y="6"/>
                    </a:cubicBezTo>
                    <a:cubicBezTo>
                      <a:pt x="9" y="7"/>
                      <a:pt x="9" y="7"/>
                      <a:pt x="9" y="7"/>
                    </a:cubicBezTo>
                    <a:cubicBezTo>
                      <a:pt x="10" y="8"/>
                      <a:pt x="9" y="8"/>
                      <a:pt x="9" y="8"/>
                    </a:cubicBezTo>
                    <a:cubicBezTo>
                      <a:pt x="9" y="9"/>
                      <a:pt x="10" y="10"/>
                      <a:pt x="10" y="10"/>
                    </a:cubicBezTo>
                    <a:cubicBezTo>
                      <a:pt x="9" y="11"/>
                      <a:pt x="9" y="13"/>
                      <a:pt x="8" y="14"/>
                    </a:cubicBezTo>
                    <a:cubicBezTo>
                      <a:pt x="7" y="15"/>
                      <a:pt x="5" y="16"/>
                      <a:pt x="5" y="18"/>
                    </a:cubicBezTo>
                    <a:cubicBezTo>
                      <a:pt x="5" y="19"/>
                      <a:pt x="6" y="20"/>
                      <a:pt x="7" y="20"/>
                    </a:cubicBezTo>
                    <a:cubicBezTo>
                      <a:pt x="6" y="20"/>
                      <a:pt x="5" y="21"/>
                      <a:pt x="5" y="21"/>
                    </a:cubicBezTo>
                    <a:cubicBezTo>
                      <a:pt x="4" y="22"/>
                      <a:pt x="4" y="22"/>
                      <a:pt x="3" y="23"/>
                    </a:cubicBezTo>
                    <a:cubicBezTo>
                      <a:pt x="2" y="23"/>
                      <a:pt x="0" y="23"/>
                      <a:pt x="1" y="25"/>
                    </a:cubicBezTo>
                    <a:cubicBezTo>
                      <a:pt x="2" y="27"/>
                      <a:pt x="2" y="27"/>
                      <a:pt x="2" y="29"/>
                    </a:cubicBezTo>
                    <a:cubicBezTo>
                      <a:pt x="1" y="31"/>
                      <a:pt x="3" y="37"/>
                      <a:pt x="0" y="36"/>
                    </a:cubicBezTo>
                    <a:cubicBezTo>
                      <a:pt x="0" y="37"/>
                      <a:pt x="1" y="37"/>
                      <a:pt x="2" y="38"/>
                    </a:cubicBezTo>
                    <a:cubicBezTo>
                      <a:pt x="4" y="38"/>
                      <a:pt x="5" y="40"/>
                      <a:pt x="6" y="41"/>
                    </a:cubicBezTo>
                    <a:cubicBezTo>
                      <a:pt x="7" y="41"/>
                      <a:pt x="7" y="41"/>
                      <a:pt x="7"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7" name="Freeform 3009">
                <a:extLst>
                  <a:ext uri="{FF2B5EF4-FFF2-40B4-BE49-F238E27FC236}">
                    <a16:creationId xmlns:a16="http://schemas.microsoft.com/office/drawing/2014/main" id="{B2660DBE-3744-4852-9ECF-26314BDB7C2E}"/>
                  </a:ext>
                </a:extLst>
              </p:cNvPr>
              <p:cNvSpPr>
                <a:spLocks noEditPoints="1"/>
              </p:cNvSpPr>
              <p:nvPr/>
            </p:nvSpPr>
            <p:spPr bwMode="auto">
              <a:xfrm>
                <a:off x="1783" y="2478"/>
                <a:ext cx="317" cy="277"/>
              </a:xfrm>
              <a:custGeom>
                <a:avLst/>
                <a:gdLst>
                  <a:gd name="T0" fmla="*/ 14 w 134"/>
                  <a:gd name="T1" fmla="*/ 31 h 117"/>
                  <a:gd name="T2" fmla="*/ 14 w 134"/>
                  <a:gd name="T3" fmla="*/ 14 h 117"/>
                  <a:gd name="T4" fmla="*/ 10 w 134"/>
                  <a:gd name="T5" fmla="*/ 12 h 117"/>
                  <a:gd name="T6" fmla="*/ 4 w 134"/>
                  <a:gd name="T7" fmla="*/ 18 h 117"/>
                  <a:gd name="T8" fmla="*/ 3 w 134"/>
                  <a:gd name="T9" fmla="*/ 25 h 117"/>
                  <a:gd name="T10" fmla="*/ 3 w 134"/>
                  <a:gd name="T11" fmla="*/ 32 h 117"/>
                  <a:gd name="T12" fmla="*/ 5 w 134"/>
                  <a:gd name="T13" fmla="*/ 33 h 117"/>
                  <a:gd name="T14" fmla="*/ 9 w 134"/>
                  <a:gd name="T15" fmla="*/ 45 h 117"/>
                  <a:gd name="T16" fmla="*/ 11 w 134"/>
                  <a:gd name="T17" fmla="*/ 51 h 117"/>
                  <a:gd name="T18" fmla="*/ 18 w 134"/>
                  <a:gd name="T19" fmla="*/ 53 h 117"/>
                  <a:gd name="T20" fmla="*/ 33 w 134"/>
                  <a:gd name="T21" fmla="*/ 56 h 117"/>
                  <a:gd name="T22" fmla="*/ 38 w 134"/>
                  <a:gd name="T23" fmla="*/ 63 h 117"/>
                  <a:gd name="T24" fmla="*/ 48 w 134"/>
                  <a:gd name="T25" fmla="*/ 61 h 117"/>
                  <a:gd name="T26" fmla="*/ 57 w 134"/>
                  <a:gd name="T27" fmla="*/ 69 h 117"/>
                  <a:gd name="T28" fmla="*/ 55 w 134"/>
                  <a:gd name="T29" fmla="*/ 76 h 117"/>
                  <a:gd name="T30" fmla="*/ 56 w 134"/>
                  <a:gd name="T31" fmla="*/ 84 h 117"/>
                  <a:gd name="T32" fmla="*/ 60 w 134"/>
                  <a:gd name="T33" fmla="*/ 90 h 117"/>
                  <a:gd name="T34" fmla="*/ 58 w 134"/>
                  <a:gd name="T35" fmla="*/ 95 h 117"/>
                  <a:gd name="T36" fmla="*/ 57 w 134"/>
                  <a:gd name="T37" fmla="*/ 97 h 117"/>
                  <a:gd name="T38" fmla="*/ 64 w 134"/>
                  <a:gd name="T39" fmla="*/ 112 h 117"/>
                  <a:gd name="T40" fmla="*/ 66 w 134"/>
                  <a:gd name="T41" fmla="*/ 114 h 117"/>
                  <a:gd name="T42" fmla="*/ 73 w 134"/>
                  <a:gd name="T43" fmla="*/ 116 h 117"/>
                  <a:gd name="T44" fmla="*/ 84 w 134"/>
                  <a:gd name="T45" fmla="*/ 112 h 117"/>
                  <a:gd name="T46" fmla="*/ 91 w 134"/>
                  <a:gd name="T47" fmla="*/ 107 h 117"/>
                  <a:gd name="T48" fmla="*/ 97 w 134"/>
                  <a:gd name="T49" fmla="*/ 103 h 117"/>
                  <a:gd name="T50" fmla="*/ 90 w 134"/>
                  <a:gd name="T51" fmla="*/ 90 h 117"/>
                  <a:gd name="T52" fmla="*/ 85 w 134"/>
                  <a:gd name="T53" fmla="*/ 85 h 117"/>
                  <a:gd name="T54" fmla="*/ 92 w 134"/>
                  <a:gd name="T55" fmla="*/ 84 h 117"/>
                  <a:gd name="T56" fmla="*/ 98 w 134"/>
                  <a:gd name="T57" fmla="*/ 85 h 117"/>
                  <a:gd name="T58" fmla="*/ 104 w 134"/>
                  <a:gd name="T59" fmla="*/ 87 h 117"/>
                  <a:gd name="T60" fmla="*/ 107 w 134"/>
                  <a:gd name="T61" fmla="*/ 83 h 117"/>
                  <a:gd name="T62" fmla="*/ 121 w 134"/>
                  <a:gd name="T63" fmla="*/ 79 h 117"/>
                  <a:gd name="T64" fmla="*/ 124 w 134"/>
                  <a:gd name="T65" fmla="*/ 78 h 117"/>
                  <a:gd name="T66" fmla="*/ 126 w 134"/>
                  <a:gd name="T67" fmla="*/ 75 h 117"/>
                  <a:gd name="T68" fmla="*/ 124 w 134"/>
                  <a:gd name="T69" fmla="*/ 72 h 117"/>
                  <a:gd name="T70" fmla="*/ 121 w 134"/>
                  <a:gd name="T71" fmla="*/ 63 h 117"/>
                  <a:gd name="T72" fmla="*/ 122 w 134"/>
                  <a:gd name="T73" fmla="*/ 57 h 117"/>
                  <a:gd name="T74" fmla="*/ 126 w 134"/>
                  <a:gd name="T75" fmla="*/ 56 h 117"/>
                  <a:gd name="T76" fmla="*/ 129 w 134"/>
                  <a:gd name="T77" fmla="*/ 55 h 117"/>
                  <a:gd name="T78" fmla="*/ 128 w 134"/>
                  <a:gd name="T79" fmla="*/ 54 h 117"/>
                  <a:gd name="T80" fmla="*/ 126 w 134"/>
                  <a:gd name="T81" fmla="*/ 50 h 117"/>
                  <a:gd name="T82" fmla="*/ 132 w 134"/>
                  <a:gd name="T83" fmla="*/ 43 h 117"/>
                  <a:gd name="T84" fmla="*/ 132 w 134"/>
                  <a:gd name="T85" fmla="*/ 38 h 117"/>
                  <a:gd name="T86" fmla="*/ 117 w 134"/>
                  <a:gd name="T87" fmla="*/ 38 h 117"/>
                  <a:gd name="T88" fmla="*/ 126 w 134"/>
                  <a:gd name="T89" fmla="*/ 31 h 117"/>
                  <a:gd name="T90" fmla="*/ 112 w 134"/>
                  <a:gd name="T91" fmla="*/ 25 h 117"/>
                  <a:gd name="T92" fmla="*/ 103 w 134"/>
                  <a:gd name="T93" fmla="*/ 23 h 117"/>
                  <a:gd name="T94" fmla="*/ 105 w 134"/>
                  <a:gd name="T95" fmla="*/ 20 h 117"/>
                  <a:gd name="T96" fmla="*/ 92 w 134"/>
                  <a:gd name="T97" fmla="*/ 17 h 117"/>
                  <a:gd name="T98" fmla="*/ 80 w 134"/>
                  <a:gd name="T99" fmla="*/ 23 h 117"/>
                  <a:gd name="T100" fmla="*/ 61 w 134"/>
                  <a:gd name="T101" fmla="*/ 19 h 117"/>
                  <a:gd name="T102" fmla="*/ 45 w 134"/>
                  <a:gd name="T103" fmla="*/ 10 h 117"/>
                  <a:gd name="T104" fmla="*/ 29 w 134"/>
                  <a:gd name="T105" fmla="*/ 5 h 117"/>
                  <a:gd name="T106" fmla="*/ 32 w 134"/>
                  <a:gd name="T107" fmla="*/ 9 h 117"/>
                  <a:gd name="T108" fmla="*/ 113 w 134"/>
                  <a:gd name="T109" fmla="*/ 2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 h="117">
                    <a:moveTo>
                      <a:pt x="17" y="14"/>
                    </a:moveTo>
                    <a:cubicBezTo>
                      <a:pt x="14" y="16"/>
                      <a:pt x="20" y="24"/>
                      <a:pt x="20" y="26"/>
                    </a:cubicBezTo>
                    <a:cubicBezTo>
                      <a:pt x="21" y="29"/>
                      <a:pt x="22" y="31"/>
                      <a:pt x="19" y="32"/>
                    </a:cubicBezTo>
                    <a:cubicBezTo>
                      <a:pt x="19" y="33"/>
                      <a:pt x="17" y="34"/>
                      <a:pt x="16" y="34"/>
                    </a:cubicBezTo>
                    <a:cubicBezTo>
                      <a:pt x="16" y="34"/>
                      <a:pt x="15" y="34"/>
                      <a:pt x="15" y="34"/>
                    </a:cubicBezTo>
                    <a:cubicBezTo>
                      <a:pt x="14" y="33"/>
                      <a:pt x="14" y="32"/>
                      <a:pt x="14" y="31"/>
                    </a:cubicBezTo>
                    <a:cubicBezTo>
                      <a:pt x="14" y="30"/>
                      <a:pt x="14" y="30"/>
                      <a:pt x="13" y="30"/>
                    </a:cubicBezTo>
                    <a:cubicBezTo>
                      <a:pt x="12" y="29"/>
                      <a:pt x="11" y="27"/>
                      <a:pt x="11" y="27"/>
                    </a:cubicBezTo>
                    <a:cubicBezTo>
                      <a:pt x="10" y="25"/>
                      <a:pt x="11" y="25"/>
                      <a:pt x="12" y="23"/>
                    </a:cubicBezTo>
                    <a:cubicBezTo>
                      <a:pt x="12" y="22"/>
                      <a:pt x="14" y="21"/>
                      <a:pt x="14" y="20"/>
                    </a:cubicBezTo>
                    <a:cubicBezTo>
                      <a:pt x="15" y="18"/>
                      <a:pt x="15" y="18"/>
                      <a:pt x="15" y="16"/>
                    </a:cubicBezTo>
                    <a:cubicBezTo>
                      <a:pt x="15" y="15"/>
                      <a:pt x="15" y="14"/>
                      <a:pt x="14" y="14"/>
                    </a:cubicBezTo>
                    <a:cubicBezTo>
                      <a:pt x="14" y="14"/>
                      <a:pt x="15" y="14"/>
                      <a:pt x="15" y="14"/>
                    </a:cubicBezTo>
                    <a:cubicBezTo>
                      <a:pt x="14" y="13"/>
                      <a:pt x="13" y="12"/>
                      <a:pt x="12" y="10"/>
                    </a:cubicBezTo>
                    <a:cubicBezTo>
                      <a:pt x="12" y="10"/>
                      <a:pt x="12" y="9"/>
                      <a:pt x="12" y="9"/>
                    </a:cubicBezTo>
                    <a:cubicBezTo>
                      <a:pt x="12" y="9"/>
                      <a:pt x="12" y="9"/>
                      <a:pt x="11" y="10"/>
                    </a:cubicBezTo>
                    <a:cubicBezTo>
                      <a:pt x="11" y="10"/>
                      <a:pt x="11" y="11"/>
                      <a:pt x="11" y="11"/>
                    </a:cubicBezTo>
                    <a:cubicBezTo>
                      <a:pt x="10" y="12"/>
                      <a:pt x="10" y="12"/>
                      <a:pt x="10" y="12"/>
                    </a:cubicBezTo>
                    <a:cubicBezTo>
                      <a:pt x="9" y="13"/>
                      <a:pt x="9" y="13"/>
                      <a:pt x="8" y="13"/>
                    </a:cubicBezTo>
                    <a:cubicBezTo>
                      <a:pt x="8" y="13"/>
                      <a:pt x="7" y="14"/>
                      <a:pt x="7" y="14"/>
                    </a:cubicBezTo>
                    <a:cubicBezTo>
                      <a:pt x="7" y="14"/>
                      <a:pt x="6" y="15"/>
                      <a:pt x="6" y="16"/>
                    </a:cubicBezTo>
                    <a:cubicBezTo>
                      <a:pt x="5" y="16"/>
                      <a:pt x="5" y="16"/>
                      <a:pt x="5" y="16"/>
                    </a:cubicBezTo>
                    <a:cubicBezTo>
                      <a:pt x="5" y="17"/>
                      <a:pt x="5" y="17"/>
                      <a:pt x="5" y="18"/>
                    </a:cubicBezTo>
                    <a:cubicBezTo>
                      <a:pt x="4" y="18"/>
                      <a:pt x="4" y="18"/>
                      <a:pt x="4" y="18"/>
                    </a:cubicBezTo>
                    <a:cubicBezTo>
                      <a:pt x="4" y="18"/>
                      <a:pt x="4" y="18"/>
                      <a:pt x="4" y="18"/>
                    </a:cubicBezTo>
                    <a:cubicBezTo>
                      <a:pt x="5" y="18"/>
                      <a:pt x="5" y="18"/>
                      <a:pt x="5" y="18"/>
                    </a:cubicBezTo>
                    <a:cubicBezTo>
                      <a:pt x="4" y="19"/>
                      <a:pt x="4" y="19"/>
                      <a:pt x="3" y="20"/>
                    </a:cubicBezTo>
                    <a:cubicBezTo>
                      <a:pt x="3" y="21"/>
                      <a:pt x="3" y="21"/>
                      <a:pt x="3" y="22"/>
                    </a:cubicBezTo>
                    <a:cubicBezTo>
                      <a:pt x="3" y="23"/>
                      <a:pt x="3" y="23"/>
                      <a:pt x="3" y="23"/>
                    </a:cubicBezTo>
                    <a:cubicBezTo>
                      <a:pt x="3" y="23"/>
                      <a:pt x="3" y="24"/>
                      <a:pt x="3" y="25"/>
                    </a:cubicBezTo>
                    <a:cubicBezTo>
                      <a:pt x="3" y="25"/>
                      <a:pt x="2" y="26"/>
                      <a:pt x="2" y="26"/>
                    </a:cubicBezTo>
                    <a:cubicBezTo>
                      <a:pt x="2" y="27"/>
                      <a:pt x="1" y="29"/>
                      <a:pt x="0" y="30"/>
                    </a:cubicBezTo>
                    <a:cubicBezTo>
                      <a:pt x="0" y="30"/>
                      <a:pt x="1" y="30"/>
                      <a:pt x="1" y="30"/>
                    </a:cubicBezTo>
                    <a:cubicBezTo>
                      <a:pt x="2" y="29"/>
                      <a:pt x="2" y="29"/>
                      <a:pt x="2" y="29"/>
                    </a:cubicBezTo>
                    <a:cubicBezTo>
                      <a:pt x="3" y="31"/>
                      <a:pt x="3" y="31"/>
                      <a:pt x="3" y="31"/>
                    </a:cubicBezTo>
                    <a:cubicBezTo>
                      <a:pt x="3" y="31"/>
                      <a:pt x="3" y="31"/>
                      <a:pt x="3" y="32"/>
                    </a:cubicBezTo>
                    <a:cubicBezTo>
                      <a:pt x="3" y="32"/>
                      <a:pt x="3" y="32"/>
                      <a:pt x="3" y="32"/>
                    </a:cubicBezTo>
                    <a:cubicBezTo>
                      <a:pt x="3" y="32"/>
                      <a:pt x="3" y="32"/>
                      <a:pt x="3" y="32"/>
                    </a:cubicBezTo>
                    <a:cubicBezTo>
                      <a:pt x="3" y="32"/>
                      <a:pt x="3" y="32"/>
                      <a:pt x="3" y="32"/>
                    </a:cubicBezTo>
                    <a:cubicBezTo>
                      <a:pt x="3" y="32"/>
                      <a:pt x="3" y="32"/>
                      <a:pt x="3" y="32"/>
                    </a:cubicBezTo>
                    <a:cubicBezTo>
                      <a:pt x="3" y="32"/>
                      <a:pt x="3" y="32"/>
                      <a:pt x="3" y="32"/>
                    </a:cubicBezTo>
                    <a:cubicBezTo>
                      <a:pt x="4" y="32"/>
                      <a:pt x="5" y="32"/>
                      <a:pt x="5" y="33"/>
                    </a:cubicBezTo>
                    <a:cubicBezTo>
                      <a:pt x="5" y="34"/>
                      <a:pt x="6" y="35"/>
                      <a:pt x="6" y="36"/>
                    </a:cubicBezTo>
                    <a:cubicBezTo>
                      <a:pt x="8" y="39"/>
                      <a:pt x="8" y="39"/>
                      <a:pt x="8" y="39"/>
                    </a:cubicBezTo>
                    <a:cubicBezTo>
                      <a:pt x="8" y="40"/>
                      <a:pt x="9" y="42"/>
                      <a:pt x="9" y="43"/>
                    </a:cubicBezTo>
                    <a:cubicBezTo>
                      <a:pt x="9" y="44"/>
                      <a:pt x="9" y="44"/>
                      <a:pt x="9" y="44"/>
                    </a:cubicBezTo>
                    <a:cubicBezTo>
                      <a:pt x="9" y="44"/>
                      <a:pt x="9" y="44"/>
                      <a:pt x="9" y="44"/>
                    </a:cubicBezTo>
                    <a:cubicBezTo>
                      <a:pt x="9" y="44"/>
                      <a:pt x="9" y="45"/>
                      <a:pt x="9" y="45"/>
                    </a:cubicBezTo>
                    <a:cubicBezTo>
                      <a:pt x="8" y="46"/>
                      <a:pt x="8" y="47"/>
                      <a:pt x="8" y="49"/>
                    </a:cubicBezTo>
                    <a:cubicBezTo>
                      <a:pt x="8" y="49"/>
                      <a:pt x="8" y="49"/>
                      <a:pt x="8" y="49"/>
                    </a:cubicBezTo>
                    <a:cubicBezTo>
                      <a:pt x="8" y="49"/>
                      <a:pt x="8" y="49"/>
                      <a:pt x="9" y="49"/>
                    </a:cubicBezTo>
                    <a:cubicBezTo>
                      <a:pt x="9" y="50"/>
                      <a:pt x="11" y="50"/>
                      <a:pt x="11" y="51"/>
                    </a:cubicBezTo>
                    <a:cubicBezTo>
                      <a:pt x="11" y="51"/>
                      <a:pt x="11" y="51"/>
                      <a:pt x="11" y="51"/>
                    </a:cubicBezTo>
                    <a:cubicBezTo>
                      <a:pt x="11" y="51"/>
                      <a:pt x="11" y="51"/>
                      <a:pt x="11" y="51"/>
                    </a:cubicBezTo>
                    <a:cubicBezTo>
                      <a:pt x="11" y="52"/>
                      <a:pt x="12" y="52"/>
                      <a:pt x="12" y="52"/>
                    </a:cubicBezTo>
                    <a:cubicBezTo>
                      <a:pt x="12" y="53"/>
                      <a:pt x="12" y="53"/>
                      <a:pt x="12" y="53"/>
                    </a:cubicBezTo>
                    <a:cubicBezTo>
                      <a:pt x="12" y="53"/>
                      <a:pt x="12" y="53"/>
                      <a:pt x="13" y="53"/>
                    </a:cubicBezTo>
                    <a:cubicBezTo>
                      <a:pt x="14" y="53"/>
                      <a:pt x="15" y="53"/>
                      <a:pt x="17" y="53"/>
                    </a:cubicBezTo>
                    <a:cubicBezTo>
                      <a:pt x="17" y="53"/>
                      <a:pt x="17" y="53"/>
                      <a:pt x="18" y="53"/>
                    </a:cubicBezTo>
                    <a:cubicBezTo>
                      <a:pt x="18" y="53"/>
                      <a:pt x="18" y="53"/>
                      <a:pt x="18" y="53"/>
                    </a:cubicBezTo>
                    <a:cubicBezTo>
                      <a:pt x="19" y="54"/>
                      <a:pt x="20" y="54"/>
                      <a:pt x="21" y="54"/>
                    </a:cubicBezTo>
                    <a:cubicBezTo>
                      <a:pt x="21" y="54"/>
                      <a:pt x="21" y="54"/>
                      <a:pt x="21" y="54"/>
                    </a:cubicBezTo>
                    <a:cubicBezTo>
                      <a:pt x="21" y="54"/>
                      <a:pt x="22" y="53"/>
                      <a:pt x="22" y="53"/>
                    </a:cubicBezTo>
                    <a:cubicBezTo>
                      <a:pt x="23" y="53"/>
                      <a:pt x="24" y="53"/>
                      <a:pt x="25" y="53"/>
                    </a:cubicBezTo>
                    <a:cubicBezTo>
                      <a:pt x="27" y="53"/>
                      <a:pt x="28" y="53"/>
                      <a:pt x="29" y="53"/>
                    </a:cubicBezTo>
                    <a:cubicBezTo>
                      <a:pt x="31" y="54"/>
                      <a:pt x="32" y="54"/>
                      <a:pt x="33" y="56"/>
                    </a:cubicBezTo>
                    <a:cubicBezTo>
                      <a:pt x="33" y="56"/>
                      <a:pt x="34" y="57"/>
                      <a:pt x="34" y="57"/>
                    </a:cubicBezTo>
                    <a:cubicBezTo>
                      <a:pt x="34" y="58"/>
                      <a:pt x="34" y="58"/>
                      <a:pt x="34" y="58"/>
                    </a:cubicBezTo>
                    <a:cubicBezTo>
                      <a:pt x="35" y="58"/>
                      <a:pt x="35" y="58"/>
                      <a:pt x="35" y="59"/>
                    </a:cubicBezTo>
                    <a:cubicBezTo>
                      <a:pt x="37" y="61"/>
                      <a:pt x="38" y="62"/>
                      <a:pt x="38" y="62"/>
                    </a:cubicBezTo>
                    <a:cubicBezTo>
                      <a:pt x="38" y="63"/>
                      <a:pt x="38" y="63"/>
                      <a:pt x="38" y="63"/>
                    </a:cubicBezTo>
                    <a:cubicBezTo>
                      <a:pt x="38" y="63"/>
                      <a:pt x="38" y="63"/>
                      <a:pt x="38" y="63"/>
                    </a:cubicBezTo>
                    <a:cubicBezTo>
                      <a:pt x="39" y="63"/>
                      <a:pt x="40" y="62"/>
                      <a:pt x="41" y="62"/>
                    </a:cubicBezTo>
                    <a:cubicBezTo>
                      <a:pt x="41" y="62"/>
                      <a:pt x="41" y="62"/>
                      <a:pt x="41" y="62"/>
                    </a:cubicBezTo>
                    <a:cubicBezTo>
                      <a:pt x="41" y="62"/>
                      <a:pt x="42" y="62"/>
                      <a:pt x="42" y="62"/>
                    </a:cubicBezTo>
                    <a:cubicBezTo>
                      <a:pt x="43" y="62"/>
                      <a:pt x="44" y="62"/>
                      <a:pt x="45" y="62"/>
                    </a:cubicBezTo>
                    <a:cubicBezTo>
                      <a:pt x="47" y="62"/>
                      <a:pt x="47" y="62"/>
                      <a:pt x="47" y="62"/>
                    </a:cubicBezTo>
                    <a:cubicBezTo>
                      <a:pt x="47" y="61"/>
                      <a:pt x="48" y="61"/>
                      <a:pt x="48" y="61"/>
                    </a:cubicBezTo>
                    <a:cubicBezTo>
                      <a:pt x="49" y="61"/>
                      <a:pt x="49" y="61"/>
                      <a:pt x="49" y="61"/>
                    </a:cubicBezTo>
                    <a:cubicBezTo>
                      <a:pt x="51" y="61"/>
                      <a:pt x="53" y="61"/>
                      <a:pt x="55" y="61"/>
                    </a:cubicBezTo>
                    <a:cubicBezTo>
                      <a:pt x="58" y="61"/>
                      <a:pt x="59" y="63"/>
                      <a:pt x="59" y="64"/>
                    </a:cubicBezTo>
                    <a:cubicBezTo>
                      <a:pt x="60" y="65"/>
                      <a:pt x="59" y="66"/>
                      <a:pt x="59" y="67"/>
                    </a:cubicBezTo>
                    <a:cubicBezTo>
                      <a:pt x="58" y="68"/>
                      <a:pt x="58" y="68"/>
                      <a:pt x="57" y="69"/>
                    </a:cubicBezTo>
                    <a:cubicBezTo>
                      <a:pt x="57" y="69"/>
                      <a:pt x="57" y="69"/>
                      <a:pt x="57" y="69"/>
                    </a:cubicBezTo>
                    <a:cubicBezTo>
                      <a:pt x="57" y="69"/>
                      <a:pt x="57" y="70"/>
                      <a:pt x="57" y="70"/>
                    </a:cubicBezTo>
                    <a:cubicBezTo>
                      <a:pt x="57" y="70"/>
                      <a:pt x="57" y="70"/>
                      <a:pt x="57" y="70"/>
                    </a:cubicBezTo>
                    <a:cubicBezTo>
                      <a:pt x="56" y="71"/>
                      <a:pt x="56" y="71"/>
                      <a:pt x="56" y="71"/>
                    </a:cubicBezTo>
                    <a:cubicBezTo>
                      <a:pt x="56" y="71"/>
                      <a:pt x="55" y="72"/>
                      <a:pt x="55" y="72"/>
                    </a:cubicBezTo>
                    <a:cubicBezTo>
                      <a:pt x="55" y="73"/>
                      <a:pt x="55" y="73"/>
                      <a:pt x="55" y="73"/>
                    </a:cubicBezTo>
                    <a:cubicBezTo>
                      <a:pt x="55" y="74"/>
                      <a:pt x="55" y="75"/>
                      <a:pt x="55" y="76"/>
                    </a:cubicBezTo>
                    <a:cubicBezTo>
                      <a:pt x="55" y="76"/>
                      <a:pt x="55" y="76"/>
                      <a:pt x="55" y="76"/>
                    </a:cubicBezTo>
                    <a:cubicBezTo>
                      <a:pt x="55" y="77"/>
                      <a:pt x="55" y="78"/>
                      <a:pt x="55" y="79"/>
                    </a:cubicBezTo>
                    <a:cubicBezTo>
                      <a:pt x="55" y="79"/>
                      <a:pt x="55" y="79"/>
                      <a:pt x="55" y="79"/>
                    </a:cubicBezTo>
                    <a:cubicBezTo>
                      <a:pt x="55" y="80"/>
                      <a:pt x="55" y="80"/>
                      <a:pt x="55" y="80"/>
                    </a:cubicBezTo>
                    <a:cubicBezTo>
                      <a:pt x="55" y="80"/>
                      <a:pt x="55" y="80"/>
                      <a:pt x="55" y="81"/>
                    </a:cubicBezTo>
                    <a:cubicBezTo>
                      <a:pt x="55" y="82"/>
                      <a:pt x="56" y="83"/>
                      <a:pt x="56" y="84"/>
                    </a:cubicBezTo>
                    <a:cubicBezTo>
                      <a:pt x="57" y="85"/>
                      <a:pt x="57" y="85"/>
                      <a:pt x="57" y="86"/>
                    </a:cubicBezTo>
                    <a:cubicBezTo>
                      <a:pt x="57" y="86"/>
                      <a:pt x="57" y="87"/>
                      <a:pt x="58" y="87"/>
                    </a:cubicBezTo>
                    <a:cubicBezTo>
                      <a:pt x="58" y="87"/>
                      <a:pt x="58" y="87"/>
                      <a:pt x="58" y="87"/>
                    </a:cubicBezTo>
                    <a:cubicBezTo>
                      <a:pt x="58" y="87"/>
                      <a:pt x="58" y="87"/>
                      <a:pt x="58" y="87"/>
                    </a:cubicBezTo>
                    <a:cubicBezTo>
                      <a:pt x="59" y="88"/>
                      <a:pt x="59" y="89"/>
                      <a:pt x="60" y="90"/>
                    </a:cubicBezTo>
                    <a:cubicBezTo>
                      <a:pt x="60" y="90"/>
                      <a:pt x="60" y="90"/>
                      <a:pt x="60" y="90"/>
                    </a:cubicBezTo>
                    <a:cubicBezTo>
                      <a:pt x="60" y="90"/>
                      <a:pt x="61" y="91"/>
                      <a:pt x="61" y="91"/>
                    </a:cubicBezTo>
                    <a:cubicBezTo>
                      <a:pt x="61" y="91"/>
                      <a:pt x="61" y="92"/>
                      <a:pt x="60" y="92"/>
                    </a:cubicBezTo>
                    <a:cubicBezTo>
                      <a:pt x="60" y="92"/>
                      <a:pt x="60" y="92"/>
                      <a:pt x="60" y="92"/>
                    </a:cubicBezTo>
                    <a:cubicBezTo>
                      <a:pt x="60" y="93"/>
                      <a:pt x="59" y="94"/>
                      <a:pt x="59" y="95"/>
                    </a:cubicBezTo>
                    <a:cubicBezTo>
                      <a:pt x="59" y="95"/>
                      <a:pt x="59" y="95"/>
                      <a:pt x="59" y="95"/>
                    </a:cubicBezTo>
                    <a:cubicBezTo>
                      <a:pt x="58" y="95"/>
                      <a:pt x="58" y="95"/>
                      <a:pt x="58" y="95"/>
                    </a:cubicBezTo>
                    <a:cubicBezTo>
                      <a:pt x="58" y="95"/>
                      <a:pt x="58" y="95"/>
                      <a:pt x="58" y="95"/>
                    </a:cubicBezTo>
                    <a:cubicBezTo>
                      <a:pt x="57" y="95"/>
                      <a:pt x="57" y="95"/>
                      <a:pt x="57" y="95"/>
                    </a:cubicBezTo>
                    <a:cubicBezTo>
                      <a:pt x="57" y="96"/>
                      <a:pt x="57" y="96"/>
                      <a:pt x="56" y="97"/>
                    </a:cubicBezTo>
                    <a:cubicBezTo>
                      <a:pt x="56" y="97"/>
                      <a:pt x="56" y="97"/>
                      <a:pt x="56" y="97"/>
                    </a:cubicBezTo>
                    <a:cubicBezTo>
                      <a:pt x="57" y="97"/>
                      <a:pt x="57" y="97"/>
                      <a:pt x="57" y="97"/>
                    </a:cubicBezTo>
                    <a:cubicBezTo>
                      <a:pt x="57" y="97"/>
                      <a:pt x="57" y="97"/>
                      <a:pt x="57" y="97"/>
                    </a:cubicBezTo>
                    <a:cubicBezTo>
                      <a:pt x="58" y="98"/>
                      <a:pt x="58" y="98"/>
                      <a:pt x="58" y="98"/>
                    </a:cubicBezTo>
                    <a:cubicBezTo>
                      <a:pt x="58" y="98"/>
                      <a:pt x="59" y="99"/>
                      <a:pt x="59" y="99"/>
                    </a:cubicBezTo>
                    <a:cubicBezTo>
                      <a:pt x="60" y="100"/>
                      <a:pt x="60" y="101"/>
                      <a:pt x="61" y="101"/>
                    </a:cubicBezTo>
                    <a:cubicBezTo>
                      <a:pt x="62" y="103"/>
                      <a:pt x="63" y="106"/>
                      <a:pt x="64" y="109"/>
                    </a:cubicBezTo>
                    <a:cubicBezTo>
                      <a:pt x="64" y="109"/>
                      <a:pt x="64" y="110"/>
                      <a:pt x="64" y="110"/>
                    </a:cubicBezTo>
                    <a:cubicBezTo>
                      <a:pt x="64" y="111"/>
                      <a:pt x="64" y="111"/>
                      <a:pt x="64" y="112"/>
                    </a:cubicBezTo>
                    <a:cubicBezTo>
                      <a:pt x="64" y="112"/>
                      <a:pt x="64" y="112"/>
                      <a:pt x="64" y="112"/>
                    </a:cubicBezTo>
                    <a:cubicBezTo>
                      <a:pt x="65" y="112"/>
                      <a:pt x="65" y="112"/>
                      <a:pt x="65" y="113"/>
                    </a:cubicBezTo>
                    <a:cubicBezTo>
                      <a:pt x="65" y="113"/>
                      <a:pt x="65" y="113"/>
                      <a:pt x="65" y="113"/>
                    </a:cubicBezTo>
                    <a:cubicBezTo>
                      <a:pt x="65" y="113"/>
                      <a:pt x="65" y="113"/>
                      <a:pt x="66" y="113"/>
                    </a:cubicBezTo>
                    <a:cubicBezTo>
                      <a:pt x="66" y="114"/>
                      <a:pt x="66" y="114"/>
                      <a:pt x="66" y="114"/>
                    </a:cubicBezTo>
                    <a:cubicBezTo>
                      <a:pt x="66" y="114"/>
                      <a:pt x="66" y="114"/>
                      <a:pt x="66" y="114"/>
                    </a:cubicBezTo>
                    <a:cubicBezTo>
                      <a:pt x="67" y="115"/>
                      <a:pt x="67" y="115"/>
                      <a:pt x="67" y="115"/>
                    </a:cubicBezTo>
                    <a:cubicBezTo>
                      <a:pt x="67" y="115"/>
                      <a:pt x="68" y="115"/>
                      <a:pt x="69" y="116"/>
                    </a:cubicBezTo>
                    <a:cubicBezTo>
                      <a:pt x="70" y="117"/>
                      <a:pt x="70" y="117"/>
                      <a:pt x="71" y="117"/>
                    </a:cubicBezTo>
                    <a:cubicBezTo>
                      <a:pt x="71" y="117"/>
                      <a:pt x="71" y="117"/>
                      <a:pt x="71" y="117"/>
                    </a:cubicBezTo>
                    <a:cubicBezTo>
                      <a:pt x="71" y="117"/>
                      <a:pt x="72" y="117"/>
                      <a:pt x="73" y="117"/>
                    </a:cubicBezTo>
                    <a:cubicBezTo>
                      <a:pt x="73" y="116"/>
                      <a:pt x="73" y="116"/>
                      <a:pt x="73" y="116"/>
                    </a:cubicBezTo>
                    <a:cubicBezTo>
                      <a:pt x="75" y="116"/>
                      <a:pt x="76" y="115"/>
                      <a:pt x="77" y="115"/>
                    </a:cubicBezTo>
                    <a:cubicBezTo>
                      <a:pt x="78" y="115"/>
                      <a:pt x="78" y="116"/>
                      <a:pt x="79" y="116"/>
                    </a:cubicBezTo>
                    <a:cubicBezTo>
                      <a:pt x="79" y="116"/>
                      <a:pt x="79" y="116"/>
                      <a:pt x="79" y="116"/>
                    </a:cubicBezTo>
                    <a:cubicBezTo>
                      <a:pt x="79" y="116"/>
                      <a:pt x="80" y="115"/>
                      <a:pt x="80" y="115"/>
                    </a:cubicBezTo>
                    <a:cubicBezTo>
                      <a:pt x="81" y="113"/>
                      <a:pt x="82" y="113"/>
                      <a:pt x="84" y="112"/>
                    </a:cubicBezTo>
                    <a:cubicBezTo>
                      <a:pt x="84" y="112"/>
                      <a:pt x="84" y="112"/>
                      <a:pt x="84" y="112"/>
                    </a:cubicBezTo>
                    <a:cubicBezTo>
                      <a:pt x="85" y="112"/>
                      <a:pt x="86" y="111"/>
                      <a:pt x="87" y="111"/>
                    </a:cubicBezTo>
                    <a:cubicBezTo>
                      <a:pt x="87" y="111"/>
                      <a:pt x="87" y="111"/>
                      <a:pt x="87" y="111"/>
                    </a:cubicBezTo>
                    <a:cubicBezTo>
                      <a:pt x="88" y="110"/>
                      <a:pt x="88" y="110"/>
                      <a:pt x="89" y="110"/>
                    </a:cubicBezTo>
                    <a:cubicBezTo>
                      <a:pt x="90" y="109"/>
                      <a:pt x="90" y="109"/>
                      <a:pt x="90" y="109"/>
                    </a:cubicBezTo>
                    <a:cubicBezTo>
                      <a:pt x="91" y="109"/>
                      <a:pt x="91" y="108"/>
                      <a:pt x="91" y="107"/>
                    </a:cubicBezTo>
                    <a:cubicBezTo>
                      <a:pt x="91" y="107"/>
                      <a:pt x="91" y="107"/>
                      <a:pt x="91" y="107"/>
                    </a:cubicBezTo>
                    <a:cubicBezTo>
                      <a:pt x="91" y="107"/>
                      <a:pt x="91" y="107"/>
                      <a:pt x="91" y="107"/>
                    </a:cubicBezTo>
                    <a:cubicBezTo>
                      <a:pt x="91" y="106"/>
                      <a:pt x="92" y="105"/>
                      <a:pt x="93" y="105"/>
                    </a:cubicBezTo>
                    <a:cubicBezTo>
                      <a:pt x="94" y="104"/>
                      <a:pt x="95" y="104"/>
                      <a:pt x="96" y="103"/>
                    </a:cubicBezTo>
                    <a:cubicBezTo>
                      <a:pt x="97" y="103"/>
                      <a:pt x="97" y="103"/>
                      <a:pt x="97" y="103"/>
                    </a:cubicBezTo>
                    <a:cubicBezTo>
                      <a:pt x="97" y="103"/>
                      <a:pt x="97" y="103"/>
                      <a:pt x="97" y="103"/>
                    </a:cubicBezTo>
                    <a:cubicBezTo>
                      <a:pt x="97" y="103"/>
                      <a:pt x="97" y="103"/>
                      <a:pt x="97" y="103"/>
                    </a:cubicBezTo>
                    <a:cubicBezTo>
                      <a:pt x="93" y="102"/>
                      <a:pt x="92" y="102"/>
                      <a:pt x="92" y="101"/>
                    </a:cubicBezTo>
                    <a:cubicBezTo>
                      <a:pt x="91" y="100"/>
                      <a:pt x="91" y="100"/>
                      <a:pt x="92" y="99"/>
                    </a:cubicBezTo>
                    <a:cubicBezTo>
                      <a:pt x="92" y="99"/>
                      <a:pt x="92" y="98"/>
                      <a:pt x="92" y="98"/>
                    </a:cubicBezTo>
                    <a:cubicBezTo>
                      <a:pt x="92" y="97"/>
                      <a:pt x="91" y="96"/>
                      <a:pt x="91" y="95"/>
                    </a:cubicBezTo>
                    <a:cubicBezTo>
                      <a:pt x="90" y="94"/>
                      <a:pt x="90" y="93"/>
                      <a:pt x="90" y="91"/>
                    </a:cubicBezTo>
                    <a:cubicBezTo>
                      <a:pt x="90" y="91"/>
                      <a:pt x="90" y="91"/>
                      <a:pt x="90" y="90"/>
                    </a:cubicBezTo>
                    <a:cubicBezTo>
                      <a:pt x="90" y="90"/>
                      <a:pt x="90" y="90"/>
                      <a:pt x="90" y="90"/>
                    </a:cubicBezTo>
                    <a:cubicBezTo>
                      <a:pt x="90" y="90"/>
                      <a:pt x="90" y="90"/>
                      <a:pt x="90" y="90"/>
                    </a:cubicBezTo>
                    <a:cubicBezTo>
                      <a:pt x="89" y="89"/>
                      <a:pt x="89" y="89"/>
                      <a:pt x="88" y="89"/>
                    </a:cubicBezTo>
                    <a:cubicBezTo>
                      <a:pt x="88" y="88"/>
                      <a:pt x="88" y="88"/>
                      <a:pt x="87" y="88"/>
                    </a:cubicBezTo>
                    <a:cubicBezTo>
                      <a:pt x="87" y="87"/>
                      <a:pt x="86" y="87"/>
                      <a:pt x="86" y="86"/>
                    </a:cubicBezTo>
                    <a:cubicBezTo>
                      <a:pt x="85" y="85"/>
                      <a:pt x="85" y="85"/>
                      <a:pt x="85" y="85"/>
                    </a:cubicBezTo>
                    <a:cubicBezTo>
                      <a:pt x="85" y="84"/>
                      <a:pt x="85" y="84"/>
                      <a:pt x="85" y="84"/>
                    </a:cubicBezTo>
                    <a:cubicBezTo>
                      <a:pt x="82" y="83"/>
                      <a:pt x="82" y="83"/>
                      <a:pt x="82" y="83"/>
                    </a:cubicBezTo>
                    <a:cubicBezTo>
                      <a:pt x="85" y="82"/>
                      <a:pt x="85" y="82"/>
                      <a:pt x="85" y="82"/>
                    </a:cubicBezTo>
                    <a:cubicBezTo>
                      <a:pt x="85" y="82"/>
                      <a:pt x="85" y="82"/>
                      <a:pt x="86" y="82"/>
                    </a:cubicBezTo>
                    <a:cubicBezTo>
                      <a:pt x="88" y="81"/>
                      <a:pt x="90" y="83"/>
                      <a:pt x="91" y="84"/>
                    </a:cubicBezTo>
                    <a:cubicBezTo>
                      <a:pt x="92" y="84"/>
                      <a:pt x="92" y="84"/>
                      <a:pt x="92" y="84"/>
                    </a:cubicBezTo>
                    <a:cubicBezTo>
                      <a:pt x="92" y="84"/>
                      <a:pt x="93" y="84"/>
                      <a:pt x="93" y="85"/>
                    </a:cubicBezTo>
                    <a:cubicBezTo>
                      <a:pt x="93" y="85"/>
                      <a:pt x="93" y="85"/>
                      <a:pt x="93" y="85"/>
                    </a:cubicBezTo>
                    <a:cubicBezTo>
                      <a:pt x="93" y="85"/>
                      <a:pt x="93" y="85"/>
                      <a:pt x="94" y="85"/>
                    </a:cubicBezTo>
                    <a:cubicBezTo>
                      <a:pt x="94" y="85"/>
                      <a:pt x="94" y="85"/>
                      <a:pt x="94" y="85"/>
                    </a:cubicBezTo>
                    <a:cubicBezTo>
                      <a:pt x="94" y="85"/>
                      <a:pt x="94" y="85"/>
                      <a:pt x="94" y="85"/>
                    </a:cubicBezTo>
                    <a:cubicBezTo>
                      <a:pt x="96" y="85"/>
                      <a:pt x="97" y="84"/>
                      <a:pt x="98" y="85"/>
                    </a:cubicBezTo>
                    <a:cubicBezTo>
                      <a:pt x="98" y="85"/>
                      <a:pt x="98" y="84"/>
                      <a:pt x="99" y="84"/>
                    </a:cubicBezTo>
                    <a:cubicBezTo>
                      <a:pt x="100" y="84"/>
                      <a:pt x="101" y="85"/>
                      <a:pt x="102" y="85"/>
                    </a:cubicBezTo>
                    <a:cubicBezTo>
                      <a:pt x="102" y="86"/>
                      <a:pt x="103" y="86"/>
                      <a:pt x="103" y="87"/>
                    </a:cubicBezTo>
                    <a:cubicBezTo>
                      <a:pt x="103" y="87"/>
                      <a:pt x="103" y="87"/>
                      <a:pt x="103" y="87"/>
                    </a:cubicBezTo>
                    <a:cubicBezTo>
                      <a:pt x="103" y="87"/>
                      <a:pt x="104" y="88"/>
                      <a:pt x="104" y="88"/>
                    </a:cubicBezTo>
                    <a:cubicBezTo>
                      <a:pt x="104" y="88"/>
                      <a:pt x="104" y="88"/>
                      <a:pt x="104" y="87"/>
                    </a:cubicBezTo>
                    <a:cubicBezTo>
                      <a:pt x="104" y="87"/>
                      <a:pt x="104" y="87"/>
                      <a:pt x="104" y="87"/>
                    </a:cubicBezTo>
                    <a:cubicBezTo>
                      <a:pt x="104" y="87"/>
                      <a:pt x="104" y="87"/>
                      <a:pt x="104" y="87"/>
                    </a:cubicBezTo>
                    <a:cubicBezTo>
                      <a:pt x="104" y="86"/>
                      <a:pt x="104" y="86"/>
                      <a:pt x="104" y="86"/>
                    </a:cubicBezTo>
                    <a:cubicBezTo>
                      <a:pt x="104" y="86"/>
                      <a:pt x="104" y="85"/>
                      <a:pt x="104" y="85"/>
                    </a:cubicBezTo>
                    <a:cubicBezTo>
                      <a:pt x="105" y="84"/>
                      <a:pt x="106" y="83"/>
                      <a:pt x="107" y="83"/>
                    </a:cubicBezTo>
                    <a:cubicBezTo>
                      <a:pt x="107" y="83"/>
                      <a:pt x="107" y="83"/>
                      <a:pt x="107" y="83"/>
                    </a:cubicBezTo>
                    <a:cubicBezTo>
                      <a:pt x="107" y="83"/>
                      <a:pt x="108" y="83"/>
                      <a:pt x="108" y="83"/>
                    </a:cubicBezTo>
                    <a:cubicBezTo>
                      <a:pt x="110" y="82"/>
                      <a:pt x="113" y="82"/>
                      <a:pt x="116" y="82"/>
                    </a:cubicBezTo>
                    <a:cubicBezTo>
                      <a:pt x="117" y="81"/>
                      <a:pt x="117" y="81"/>
                      <a:pt x="117" y="81"/>
                    </a:cubicBezTo>
                    <a:cubicBezTo>
                      <a:pt x="118" y="81"/>
                      <a:pt x="118" y="81"/>
                      <a:pt x="119" y="80"/>
                    </a:cubicBezTo>
                    <a:cubicBezTo>
                      <a:pt x="119" y="80"/>
                      <a:pt x="119" y="80"/>
                      <a:pt x="120" y="80"/>
                    </a:cubicBezTo>
                    <a:cubicBezTo>
                      <a:pt x="120" y="79"/>
                      <a:pt x="121" y="79"/>
                      <a:pt x="121" y="79"/>
                    </a:cubicBezTo>
                    <a:cubicBezTo>
                      <a:pt x="121" y="79"/>
                      <a:pt x="122" y="79"/>
                      <a:pt x="122" y="79"/>
                    </a:cubicBezTo>
                    <a:cubicBezTo>
                      <a:pt x="122" y="79"/>
                      <a:pt x="122" y="79"/>
                      <a:pt x="123" y="79"/>
                    </a:cubicBezTo>
                    <a:cubicBezTo>
                      <a:pt x="123" y="79"/>
                      <a:pt x="123" y="79"/>
                      <a:pt x="123" y="79"/>
                    </a:cubicBezTo>
                    <a:cubicBezTo>
                      <a:pt x="123" y="79"/>
                      <a:pt x="123" y="78"/>
                      <a:pt x="123" y="78"/>
                    </a:cubicBezTo>
                    <a:cubicBezTo>
                      <a:pt x="124" y="78"/>
                      <a:pt x="124" y="78"/>
                      <a:pt x="124" y="78"/>
                    </a:cubicBezTo>
                    <a:cubicBezTo>
                      <a:pt x="124" y="78"/>
                      <a:pt x="124" y="78"/>
                      <a:pt x="124" y="78"/>
                    </a:cubicBezTo>
                    <a:cubicBezTo>
                      <a:pt x="124" y="77"/>
                      <a:pt x="125" y="77"/>
                      <a:pt x="126" y="76"/>
                    </a:cubicBezTo>
                    <a:cubicBezTo>
                      <a:pt x="124" y="75"/>
                      <a:pt x="124" y="75"/>
                      <a:pt x="124" y="75"/>
                    </a:cubicBezTo>
                    <a:cubicBezTo>
                      <a:pt x="126" y="76"/>
                      <a:pt x="126" y="76"/>
                      <a:pt x="126" y="76"/>
                    </a:cubicBezTo>
                    <a:cubicBezTo>
                      <a:pt x="126" y="75"/>
                      <a:pt x="126" y="75"/>
                      <a:pt x="126" y="75"/>
                    </a:cubicBezTo>
                    <a:cubicBezTo>
                      <a:pt x="126" y="75"/>
                      <a:pt x="126" y="75"/>
                      <a:pt x="126" y="75"/>
                    </a:cubicBezTo>
                    <a:cubicBezTo>
                      <a:pt x="126" y="75"/>
                      <a:pt x="126" y="75"/>
                      <a:pt x="126" y="75"/>
                    </a:cubicBezTo>
                    <a:cubicBezTo>
                      <a:pt x="126" y="75"/>
                      <a:pt x="126" y="75"/>
                      <a:pt x="126" y="75"/>
                    </a:cubicBezTo>
                    <a:cubicBezTo>
                      <a:pt x="126" y="75"/>
                      <a:pt x="126" y="75"/>
                      <a:pt x="126" y="74"/>
                    </a:cubicBezTo>
                    <a:cubicBezTo>
                      <a:pt x="126" y="74"/>
                      <a:pt x="126" y="74"/>
                      <a:pt x="126" y="74"/>
                    </a:cubicBezTo>
                    <a:cubicBezTo>
                      <a:pt x="126" y="74"/>
                      <a:pt x="126" y="74"/>
                      <a:pt x="126" y="74"/>
                    </a:cubicBezTo>
                    <a:cubicBezTo>
                      <a:pt x="125" y="73"/>
                      <a:pt x="125" y="73"/>
                      <a:pt x="124" y="72"/>
                    </a:cubicBezTo>
                    <a:cubicBezTo>
                      <a:pt x="124" y="72"/>
                      <a:pt x="124" y="72"/>
                      <a:pt x="124" y="72"/>
                    </a:cubicBezTo>
                    <a:cubicBezTo>
                      <a:pt x="124" y="72"/>
                      <a:pt x="124" y="72"/>
                      <a:pt x="123" y="71"/>
                    </a:cubicBezTo>
                    <a:cubicBezTo>
                      <a:pt x="119" y="67"/>
                      <a:pt x="119" y="67"/>
                      <a:pt x="119" y="67"/>
                    </a:cubicBezTo>
                    <a:cubicBezTo>
                      <a:pt x="119" y="66"/>
                      <a:pt x="119" y="66"/>
                      <a:pt x="119" y="65"/>
                    </a:cubicBezTo>
                    <a:cubicBezTo>
                      <a:pt x="119" y="65"/>
                      <a:pt x="119" y="65"/>
                      <a:pt x="119" y="65"/>
                    </a:cubicBezTo>
                    <a:cubicBezTo>
                      <a:pt x="120" y="64"/>
                      <a:pt x="120" y="64"/>
                      <a:pt x="120" y="63"/>
                    </a:cubicBezTo>
                    <a:cubicBezTo>
                      <a:pt x="121" y="63"/>
                      <a:pt x="121" y="63"/>
                      <a:pt x="121" y="63"/>
                    </a:cubicBezTo>
                    <a:cubicBezTo>
                      <a:pt x="121" y="63"/>
                      <a:pt x="121" y="63"/>
                      <a:pt x="121" y="63"/>
                    </a:cubicBezTo>
                    <a:cubicBezTo>
                      <a:pt x="121" y="62"/>
                      <a:pt x="121" y="62"/>
                      <a:pt x="121" y="62"/>
                    </a:cubicBezTo>
                    <a:cubicBezTo>
                      <a:pt x="121" y="62"/>
                      <a:pt x="121" y="61"/>
                      <a:pt x="121" y="60"/>
                    </a:cubicBezTo>
                    <a:cubicBezTo>
                      <a:pt x="121" y="60"/>
                      <a:pt x="121" y="60"/>
                      <a:pt x="121" y="60"/>
                    </a:cubicBezTo>
                    <a:cubicBezTo>
                      <a:pt x="121" y="60"/>
                      <a:pt x="121" y="60"/>
                      <a:pt x="121" y="60"/>
                    </a:cubicBezTo>
                    <a:cubicBezTo>
                      <a:pt x="121" y="59"/>
                      <a:pt x="121" y="57"/>
                      <a:pt x="122" y="57"/>
                    </a:cubicBezTo>
                    <a:cubicBezTo>
                      <a:pt x="122" y="56"/>
                      <a:pt x="122" y="56"/>
                      <a:pt x="122" y="56"/>
                    </a:cubicBezTo>
                    <a:cubicBezTo>
                      <a:pt x="123" y="56"/>
                      <a:pt x="123" y="56"/>
                      <a:pt x="123" y="56"/>
                    </a:cubicBezTo>
                    <a:cubicBezTo>
                      <a:pt x="123" y="56"/>
                      <a:pt x="123" y="56"/>
                      <a:pt x="123" y="56"/>
                    </a:cubicBezTo>
                    <a:cubicBezTo>
                      <a:pt x="123" y="56"/>
                      <a:pt x="123" y="56"/>
                      <a:pt x="123" y="56"/>
                    </a:cubicBezTo>
                    <a:cubicBezTo>
                      <a:pt x="124" y="56"/>
                      <a:pt x="124" y="56"/>
                      <a:pt x="125" y="56"/>
                    </a:cubicBezTo>
                    <a:cubicBezTo>
                      <a:pt x="125" y="56"/>
                      <a:pt x="126" y="56"/>
                      <a:pt x="126" y="56"/>
                    </a:cubicBezTo>
                    <a:cubicBezTo>
                      <a:pt x="126" y="56"/>
                      <a:pt x="126" y="56"/>
                      <a:pt x="126" y="56"/>
                    </a:cubicBezTo>
                    <a:cubicBezTo>
                      <a:pt x="126" y="56"/>
                      <a:pt x="126" y="56"/>
                      <a:pt x="126" y="56"/>
                    </a:cubicBezTo>
                    <a:cubicBezTo>
                      <a:pt x="126" y="56"/>
                      <a:pt x="126" y="56"/>
                      <a:pt x="126" y="56"/>
                    </a:cubicBezTo>
                    <a:cubicBezTo>
                      <a:pt x="127" y="56"/>
                      <a:pt x="127" y="55"/>
                      <a:pt x="128" y="55"/>
                    </a:cubicBezTo>
                    <a:cubicBezTo>
                      <a:pt x="129" y="55"/>
                      <a:pt x="129" y="55"/>
                      <a:pt x="129" y="55"/>
                    </a:cubicBezTo>
                    <a:cubicBezTo>
                      <a:pt x="129" y="55"/>
                      <a:pt x="129" y="55"/>
                      <a:pt x="129" y="55"/>
                    </a:cubicBezTo>
                    <a:cubicBezTo>
                      <a:pt x="129" y="54"/>
                      <a:pt x="129" y="54"/>
                      <a:pt x="129" y="54"/>
                    </a:cubicBezTo>
                    <a:cubicBezTo>
                      <a:pt x="129" y="54"/>
                      <a:pt x="129" y="54"/>
                      <a:pt x="130" y="54"/>
                    </a:cubicBezTo>
                    <a:cubicBezTo>
                      <a:pt x="129" y="54"/>
                      <a:pt x="129" y="54"/>
                      <a:pt x="129" y="54"/>
                    </a:cubicBezTo>
                    <a:cubicBezTo>
                      <a:pt x="129" y="54"/>
                      <a:pt x="129" y="54"/>
                      <a:pt x="129" y="54"/>
                    </a:cubicBezTo>
                    <a:cubicBezTo>
                      <a:pt x="129" y="54"/>
                      <a:pt x="128" y="54"/>
                      <a:pt x="128" y="54"/>
                    </a:cubicBezTo>
                    <a:cubicBezTo>
                      <a:pt x="128" y="54"/>
                      <a:pt x="128" y="54"/>
                      <a:pt x="128" y="54"/>
                    </a:cubicBezTo>
                    <a:cubicBezTo>
                      <a:pt x="127" y="54"/>
                      <a:pt x="127" y="54"/>
                      <a:pt x="127" y="54"/>
                    </a:cubicBezTo>
                    <a:cubicBezTo>
                      <a:pt x="127" y="53"/>
                      <a:pt x="127" y="53"/>
                      <a:pt x="126" y="53"/>
                    </a:cubicBezTo>
                    <a:cubicBezTo>
                      <a:pt x="126" y="52"/>
                      <a:pt x="126" y="52"/>
                      <a:pt x="126" y="52"/>
                    </a:cubicBezTo>
                    <a:cubicBezTo>
                      <a:pt x="126" y="52"/>
                      <a:pt x="126" y="52"/>
                      <a:pt x="126" y="52"/>
                    </a:cubicBezTo>
                    <a:cubicBezTo>
                      <a:pt x="126" y="52"/>
                      <a:pt x="126" y="51"/>
                      <a:pt x="126" y="51"/>
                    </a:cubicBezTo>
                    <a:cubicBezTo>
                      <a:pt x="126" y="50"/>
                      <a:pt x="126" y="50"/>
                      <a:pt x="126" y="50"/>
                    </a:cubicBezTo>
                    <a:cubicBezTo>
                      <a:pt x="126" y="50"/>
                      <a:pt x="126" y="50"/>
                      <a:pt x="126" y="50"/>
                    </a:cubicBezTo>
                    <a:cubicBezTo>
                      <a:pt x="126" y="49"/>
                      <a:pt x="126" y="48"/>
                      <a:pt x="127" y="48"/>
                    </a:cubicBezTo>
                    <a:cubicBezTo>
                      <a:pt x="127" y="48"/>
                      <a:pt x="127" y="47"/>
                      <a:pt x="127" y="47"/>
                    </a:cubicBezTo>
                    <a:cubicBezTo>
                      <a:pt x="127" y="47"/>
                      <a:pt x="128" y="46"/>
                      <a:pt x="128" y="45"/>
                    </a:cubicBezTo>
                    <a:cubicBezTo>
                      <a:pt x="129" y="45"/>
                      <a:pt x="129" y="45"/>
                      <a:pt x="129" y="45"/>
                    </a:cubicBezTo>
                    <a:cubicBezTo>
                      <a:pt x="130" y="45"/>
                      <a:pt x="131" y="44"/>
                      <a:pt x="132" y="43"/>
                    </a:cubicBezTo>
                    <a:cubicBezTo>
                      <a:pt x="132" y="43"/>
                      <a:pt x="133" y="43"/>
                      <a:pt x="133" y="42"/>
                    </a:cubicBezTo>
                    <a:cubicBezTo>
                      <a:pt x="134" y="42"/>
                      <a:pt x="134" y="42"/>
                      <a:pt x="134" y="41"/>
                    </a:cubicBezTo>
                    <a:cubicBezTo>
                      <a:pt x="134" y="41"/>
                      <a:pt x="134" y="40"/>
                      <a:pt x="133" y="40"/>
                    </a:cubicBezTo>
                    <a:cubicBezTo>
                      <a:pt x="133" y="39"/>
                      <a:pt x="133" y="39"/>
                      <a:pt x="133" y="39"/>
                    </a:cubicBezTo>
                    <a:cubicBezTo>
                      <a:pt x="133" y="39"/>
                      <a:pt x="133" y="39"/>
                      <a:pt x="133" y="39"/>
                    </a:cubicBezTo>
                    <a:cubicBezTo>
                      <a:pt x="132" y="38"/>
                      <a:pt x="132" y="38"/>
                      <a:pt x="132" y="38"/>
                    </a:cubicBezTo>
                    <a:cubicBezTo>
                      <a:pt x="133" y="38"/>
                      <a:pt x="133" y="38"/>
                      <a:pt x="133" y="38"/>
                    </a:cubicBezTo>
                    <a:cubicBezTo>
                      <a:pt x="132" y="38"/>
                      <a:pt x="131" y="38"/>
                      <a:pt x="131" y="38"/>
                    </a:cubicBezTo>
                    <a:cubicBezTo>
                      <a:pt x="128" y="38"/>
                      <a:pt x="126" y="39"/>
                      <a:pt x="123" y="40"/>
                    </a:cubicBezTo>
                    <a:cubicBezTo>
                      <a:pt x="123" y="40"/>
                      <a:pt x="124" y="40"/>
                      <a:pt x="124" y="39"/>
                    </a:cubicBezTo>
                    <a:cubicBezTo>
                      <a:pt x="123" y="40"/>
                      <a:pt x="122" y="40"/>
                      <a:pt x="121" y="40"/>
                    </a:cubicBezTo>
                    <a:cubicBezTo>
                      <a:pt x="120" y="40"/>
                      <a:pt x="118" y="39"/>
                      <a:pt x="117" y="38"/>
                    </a:cubicBezTo>
                    <a:cubicBezTo>
                      <a:pt x="117" y="38"/>
                      <a:pt x="118" y="38"/>
                      <a:pt x="119" y="38"/>
                    </a:cubicBezTo>
                    <a:cubicBezTo>
                      <a:pt x="119" y="38"/>
                      <a:pt x="119" y="38"/>
                      <a:pt x="120" y="38"/>
                    </a:cubicBezTo>
                    <a:cubicBezTo>
                      <a:pt x="120" y="38"/>
                      <a:pt x="121" y="39"/>
                      <a:pt x="121" y="38"/>
                    </a:cubicBezTo>
                    <a:cubicBezTo>
                      <a:pt x="122" y="38"/>
                      <a:pt x="123" y="34"/>
                      <a:pt x="124" y="33"/>
                    </a:cubicBezTo>
                    <a:cubicBezTo>
                      <a:pt x="123" y="33"/>
                      <a:pt x="123" y="34"/>
                      <a:pt x="123" y="34"/>
                    </a:cubicBezTo>
                    <a:cubicBezTo>
                      <a:pt x="123" y="33"/>
                      <a:pt x="125" y="31"/>
                      <a:pt x="126" y="31"/>
                    </a:cubicBezTo>
                    <a:cubicBezTo>
                      <a:pt x="124" y="29"/>
                      <a:pt x="121" y="28"/>
                      <a:pt x="119" y="26"/>
                    </a:cubicBezTo>
                    <a:cubicBezTo>
                      <a:pt x="119" y="26"/>
                      <a:pt x="118" y="25"/>
                      <a:pt x="118" y="25"/>
                    </a:cubicBezTo>
                    <a:cubicBezTo>
                      <a:pt x="119" y="27"/>
                      <a:pt x="116" y="26"/>
                      <a:pt x="116" y="28"/>
                    </a:cubicBezTo>
                    <a:cubicBezTo>
                      <a:pt x="115" y="26"/>
                      <a:pt x="114" y="25"/>
                      <a:pt x="112" y="24"/>
                    </a:cubicBezTo>
                    <a:cubicBezTo>
                      <a:pt x="112" y="24"/>
                      <a:pt x="112" y="25"/>
                      <a:pt x="113" y="25"/>
                    </a:cubicBezTo>
                    <a:cubicBezTo>
                      <a:pt x="112" y="25"/>
                      <a:pt x="112" y="25"/>
                      <a:pt x="112" y="25"/>
                    </a:cubicBezTo>
                    <a:cubicBezTo>
                      <a:pt x="112" y="26"/>
                      <a:pt x="112" y="26"/>
                      <a:pt x="112" y="27"/>
                    </a:cubicBezTo>
                    <a:cubicBezTo>
                      <a:pt x="112" y="26"/>
                      <a:pt x="112" y="25"/>
                      <a:pt x="111" y="24"/>
                    </a:cubicBezTo>
                    <a:cubicBezTo>
                      <a:pt x="111" y="25"/>
                      <a:pt x="111" y="26"/>
                      <a:pt x="110" y="27"/>
                    </a:cubicBezTo>
                    <a:cubicBezTo>
                      <a:pt x="110" y="26"/>
                      <a:pt x="109" y="24"/>
                      <a:pt x="109" y="23"/>
                    </a:cubicBezTo>
                    <a:cubicBezTo>
                      <a:pt x="108" y="22"/>
                      <a:pt x="109" y="21"/>
                      <a:pt x="108" y="22"/>
                    </a:cubicBezTo>
                    <a:cubicBezTo>
                      <a:pt x="106" y="25"/>
                      <a:pt x="106" y="23"/>
                      <a:pt x="103" y="23"/>
                    </a:cubicBezTo>
                    <a:cubicBezTo>
                      <a:pt x="104" y="23"/>
                      <a:pt x="104" y="23"/>
                      <a:pt x="105" y="23"/>
                    </a:cubicBezTo>
                    <a:cubicBezTo>
                      <a:pt x="105" y="23"/>
                      <a:pt x="105" y="23"/>
                      <a:pt x="105" y="23"/>
                    </a:cubicBezTo>
                    <a:cubicBezTo>
                      <a:pt x="105" y="23"/>
                      <a:pt x="106" y="23"/>
                      <a:pt x="106" y="23"/>
                    </a:cubicBezTo>
                    <a:cubicBezTo>
                      <a:pt x="106" y="23"/>
                      <a:pt x="107" y="23"/>
                      <a:pt x="107" y="23"/>
                    </a:cubicBezTo>
                    <a:cubicBezTo>
                      <a:pt x="108" y="22"/>
                      <a:pt x="105" y="20"/>
                      <a:pt x="104" y="20"/>
                    </a:cubicBezTo>
                    <a:cubicBezTo>
                      <a:pt x="104" y="20"/>
                      <a:pt x="105" y="20"/>
                      <a:pt x="105" y="20"/>
                    </a:cubicBezTo>
                    <a:cubicBezTo>
                      <a:pt x="105" y="19"/>
                      <a:pt x="104" y="19"/>
                      <a:pt x="104" y="19"/>
                    </a:cubicBezTo>
                    <a:cubicBezTo>
                      <a:pt x="105" y="17"/>
                      <a:pt x="107" y="19"/>
                      <a:pt x="109" y="18"/>
                    </a:cubicBezTo>
                    <a:cubicBezTo>
                      <a:pt x="111" y="18"/>
                      <a:pt x="113" y="17"/>
                      <a:pt x="115" y="16"/>
                    </a:cubicBezTo>
                    <a:cubicBezTo>
                      <a:pt x="111" y="17"/>
                      <a:pt x="106" y="17"/>
                      <a:pt x="102" y="17"/>
                    </a:cubicBezTo>
                    <a:cubicBezTo>
                      <a:pt x="100" y="17"/>
                      <a:pt x="96" y="18"/>
                      <a:pt x="95" y="17"/>
                    </a:cubicBezTo>
                    <a:cubicBezTo>
                      <a:pt x="95" y="18"/>
                      <a:pt x="93" y="17"/>
                      <a:pt x="92" y="17"/>
                    </a:cubicBezTo>
                    <a:cubicBezTo>
                      <a:pt x="92" y="17"/>
                      <a:pt x="91" y="17"/>
                      <a:pt x="91" y="17"/>
                    </a:cubicBezTo>
                    <a:cubicBezTo>
                      <a:pt x="90" y="17"/>
                      <a:pt x="91" y="18"/>
                      <a:pt x="92" y="18"/>
                    </a:cubicBezTo>
                    <a:cubicBezTo>
                      <a:pt x="93" y="19"/>
                      <a:pt x="95" y="18"/>
                      <a:pt x="96" y="19"/>
                    </a:cubicBezTo>
                    <a:cubicBezTo>
                      <a:pt x="93" y="19"/>
                      <a:pt x="91" y="20"/>
                      <a:pt x="88" y="21"/>
                    </a:cubicBezTo>
                    <a:cubicBezTo>
                      <a:pt x="87" y="22"/>
                      <a:pt x="85" y="22"/>
                      <a:pt x="84" y="23"/>
                    </a:cubicBezTo>
                    <a:cubicBezTo>
                      <a:pt x="83" y="23"/>
                      <a:pt x="81" y="23"/>
                      <a:pt x="80" y="23"/>
                    </a:cubicBezTo>
                    <a:cubicBezTo>
                      <a:pt x="78" y="22"/>
                      <a:pt x="76" y="22"/>
                      <a:pt x="75" y="21"/>
                    </a:cubicBezTo>
                    <a:cubicBezTo>
                      <a:pt x="73" y="21"/>
                      <a:pt x="72" y="19"/>
                      <a:pt x="72" y="18"/>
                    </a:cubicBezTo>
                    <a:cubicBezTo>
                      <a:pt x="70" y="17"/>
                      <a:pt x="68" y="18"/>
                      <a:pt x="66" y="18"/>
                    </a:cubicBezTo>
                    <a:cubicBezTo>
                      <a:pt x="66" y="18"/>
                      <a:pt x="66" y="18"/>
                      <a:pt x="66" y="19"/>
                    </a:cubicBezTo>
                    <a:cubicBezTo>
                      <a:pt x="66" y="20"/>
                      <a:pt x="65" y="22"/>
                      <a:pt x="63" y="22"/>
                    </a:cubicBezTo>
                    <a:cubicBezTo>
                      <a:pt x="62" y="22"/>
                      <a:pt x="61" y="20"/>
                      <a:pt x="61" y="19"/>
                    </a:cubicBezTo>
                    <a:cubicBezTo>
                      <a:pt x="61" y="19"/>
                      <a:pt x="61" y="18"/>
                      <a:pt x="61" y="18"/>
                    </a:cubicBezTo>
                    <a:cubicBezTo>
                      <a:pt x="59" y="18"/>
                      <a:pt x="58" y="18"/>
                      <a:pt x="56" y="19"/>
                    </a:cubicBezTo>
                    <a:cubicBezTo>
                      <a:pt x="55" y="19"/>
                      <a:pt x="54" y="19"/>
                      <a:pt x="52" y="19"/>
                    </a:cubicBezTo>
                    <a:cubicBezTo>
                      <a:pt x="50" y="18"/>
                      <a:pt x="50" y="18"/>
                      <a:pt x="49" y="16"/>
                    </a:cubicBezTo>
                    <a:cubicBezTo>
                      <a:pt x="49" y="15"/>
                      <a:pt x="49" y="13"/>
                      <a:pt x="48" y="12"/>
                    </a:cubicBezTo>
                    <a:cubicBezTo>
                      <a:pt x="47" y="12"/>
                      <a:pt x="46" y="10"/>
                      <a:pt x="45" y="10"/>
                    </a:cubicBezTo>
                    <a:cubicBezTo>
                      <a:pt x="43" y="10"/>
                      <a:pt x="41" y="9"/>
                      <a:pt x="39" y="9"/>
                    </a:cubicBezTo>
                    <a:cubicBezTo>
                      <a:pt x="38" y="9"/>
                      <a:pt x="37" y="9"/>
                      <a:pt x="36" y="8"/>
                    </a:cubicBezTo>
                    <a:cubicBezTo>
                      <a:pt x="35" y="8"/>
                      <a:pt x="35" y="8"/>
                      <a:pt x="34" y="7"/>
                    </a:cubicBezTo>
                    <a:cubicBezTo>
                      <a:pt x="34" y="6"/>
                      <a:pt x="34" y="5"/>
                      <a:pt x="34" y="4"/>
                    </a:cubicBezTo>
                    <a:cubicBezTo>
                      <a:pt x="33" y="1"/>
                      <a:pt x="31" y="0"/>
                      <a:pt x="29" y="3"/>
                    </a:cubicBezTo>
                    <a:cubicBezTo>
                      <a:pt x="29" y="4"/>
                      <a:pt x="29" y="4"/>
                      <a:pt x="29" y="5"/>
                    </a:cubicBezTo>
                    <a:cubicBezTo>
                      <a:pt x="30" y="6"/>
                      <a:pt x="30" y="7"/>
                      <a:pt x="31" y="7"/>
                    </a:cubicBezTo>
                    <a:cubicBezTo>
                      <a:pt x="31" y="7"/>
                      <a:pt x="31" y="7"/>
                      <a:pt x="31" y="7"/>
                    </a:cubicBezTo>
                    <a:cubicBezTo>
                      <a:pt x="32" y="7"/>
                      <a:pt x="33" y="7"/>
                      <a:pt x="34" y="6"/>
                    </a:cubicBezTo>
                    <a:cubicBezTo>
                      <a:pt x="34" y="7"/>
                      <a:pt x="34" y="8"/>
                      <a:pt x="35" y="8"/>
                    </a:cubicBezTo>
                    <a:cubicBezTo>
                      <a:pt x="33" y="8"/>
                      <a:pt x="32" y="9"/>
                      <a:pt x="31" y="8"/>
                    </a:cubicBezTo>
                    <a:cubicBezTo>
                      <a:pt x="31" y="8"/>
                      <a:pt x="31" y="8"/>
                      <a:pt x="32" y="9"/>
                    </a:cubicBezTo>
                    <a:cubicBezTo>
                      <a:pt x="31" y="9"/>
                      <a:pt x="30" y="9"/>
                      <a:pt x="30" y="10"/>
                    </a:cubicBezTo>
                    <a:cubicBezTo>
                      <a:pt x="27" y="10"/>
                      <a:pt x="25" y="11"/>
                      <a:pt x="22" y="12"/>
                    </a:cubicBezTo>
                    <a:cubicBezTo>
                      <a:pt x="21" y="12"/>
                      <a:pt x="20" y="13"/>
                      <a:pt x="19" y="14"/>
                    </a:cubicBezTo>
                    <a:cubicBezTo>
                      <a:pt x="18" y="14"/>
                      <a:pt x="18" y="14"/>
                      <a:pt x="17" y="14"/>
                    </a:cubicBezTo>
                    <a:close/>
                    <a:moveTo>
                      <a:pt x="113" y="25"/>
                    </a:moveTo>
                    <a:cubicBezTo>
                      <a:pt x="113" y="25"/>
                      <a:pt x="113" y="25"/>
                      <a:pt x="113" y="25"/>
                    </a:cubicBezTo>
                    <a:cubicBezTo>
                      <a:pt x="113" y="25"/>
                      <a:pt x="113" y="25"/>
                      <a:pt x="1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8" name="Freeform 3010">
                <a:extLst>
                  <a:ext uri="{FF2B5EF4-FFF2-40B4-BE49-F238E27FC236}">
                    <a16:creationId xmlns:a16="http://schemas.microsoft.com/office/drawing/2014/main" id="{6250AFCD-FB74-4E10-AFA3-F782CEF9B5A8}"/>
                  </a:ext>
                </a:extLst>
              </p:cNvPr>
              <p:cNvSpPr>
                <a:spLocks/>
              </p:cNvSpPr>
              <p:nvPr/>
            </p:nvSpPr>
            <p:spPr bwMode="auto">
              <a:xfrm>
                <a:off x="2071" y="2575"/>
                <a:ext cx="104" cy="171"/>
              </a:xfrm>
              <a:custGeom>
                <a:avLst/>
                <a:gdLst>
                  <a:gd name="T0" fmla="*/ 12 w 44"/>
                  <a:gd name="T1" fmla="*/ 4 h 72"/>
                  <a:gd name="T2" fmla="*/ 7 w 44"/>
                  <a:gd name="T3" fmla="*/ 7 h 72"/>
                  <a:gd name="T4" fmla="*/ 6 w 44"/>
                  <a:gd name="T5" fmla="*/ 9 h 72"/>
                  <a:gd name="T6" fmla="*/ 7 w 44"/>
                  <a:gd name="T7" fmla="*/ 11 h 72"/>
                  <a:gd name="T8" fmla="*/ 10 w 44"/>
                  <a:gd name="T9" fmla="*/ 13 h 72"/>
                  <a:gd name="T10" fmla="*/ 7 w 44"/>
                  <a:gd name="T11" fmla="*/ 16 h 72"/>
                  <a:gd name="T12" fmla="*/ 5 w 44"/>
                  <a:gd name="T13" fmla="*/ 17 h 72"/>
                  <a:gd name="T14" fmla="*/ 3 w 44"/>
                  <a:gd name="T15" fmla="*/ 17 h 72"/>
                  <a:gd name="T16" fmla="*/ 2 w 44"/>
                  <a:gd name="T17" fmla="*/ 19 h 72"/>
                  <a:gd name="T18" fmla="*/ 2 w 44"/>
                  <a:gd name="T19" fmla="*/ 21 h 72"/>
                  <a:gd name="T20" fmla="*/ 0 w 44"/>
                  <a:gd name="T21" fmla="*/ 24 h 72"/>
                  <a:gd name="T22" fmla="*/ 3 w 44"/>
                  <a:gd name="T23" fmla="*/ 29 h 72"/>
                  <a:gd name="T24" fmla="*/ 5 w 44"/>
                  <a:gd name="T25" fmla="*/ 31 h 72"/>
                  <a:gd name="T26" fmla="*/ 6 w 44"/>
                  <a:gd name="T27" fmla="*/ 31 h 72"/>
                  <a:gd name="T28" fmla="*/ 7 w 44"/>
                  <a:gd name="T29" fmla="*/ 31 h 72"/>
                  <a:gd name="T30" fmla="*/ 9 w 44"/>
                  <a:gd name="T31" fmla="*/ 30 h 72"/>
                  <a:gd name="T32" fmla="*/ 9 w 44"/>
                  <a:gd name="T33" fmla="*/ 31 h 72"/>
                  <a:gd name="T34" fmla="*/ 11 w 44"/>
                  <a:gd name="T35" fmla="*/ 31 h 72"/>
                  <a:gd name="T36" fmla="*/ 12 w 44"/>
                  <a:gd name="T37" fmla="*/ 31 h 72"/>
                  <a:gd name="T38" fmla="*/ 16 w 44"/>
                  <a:gd name="T39" fmla="*/ 41 h 72"/>
                  <a:gd name="T40" fmla="*/ 18 w 44"/>
                  <a:gd name="T41" fmla="*/ 44 h 72"/>
                  <a:gd name="T42" fmla="*/ 16 w 44"/>
                  <a:gd name="T43" fmla="*/ 48 h 72"/>
                  <a:gd name="T44" fmla="*/ 14 w 44"/>
                  <a:gd name="T45" fmla="*/ 60 h 72"/>
                  <a:gd name="T46" fmla="*/ 19 w 44"/>
                  <a:gd name="T47" fmla="*/ 69 h 72"/>
                  <a:gd name="T48" fmla="*/ 25 w 44"/>
                  <a:gd name="T49" fmla="*/ 72 h 72"/>
                  <a:gd name="T50" fmla="*/ 25 w 44"/>
                  <a:gd name="T51" fmla="*/ 70 h 72"/>
                  <a:gd name="T52" fmla="*/ 38 w 44"/>
                  <a:gd name="T53" fmla="*/ 65 h 72"/>
                  <a:gd name="T54" fmla="*/ 43 w 44"/>
                  <a:gd name="T55" fmla="*/ 64 h 72"/>
                  <a:gd name="T56" fmla="*/ 44 w 44"/>
                  <a:gd name="T57" fmla="*/ 64 h 72"/>
                  <a:gd name="T58" fmla="*/ 41 w 44"/>
                  <a:gd name="T59" fmla="*/ 59 h 72"/>
                  <a:gd name="T60" fmla="*/ 39 w 44"/>
                  <a:gd name="T61" fmla="*/ 56 h 72"/>
                  <a:gd name="T62" fmla="*/ 38 w 44"/>
                  <a:gd name="T63" fmla="*/ 53 h 72"/>
                  <a:gd name="T64" fmla="*/ 33 w 44"/>
                  <a:gd name="T65" fmla="*/ 48 h 72"/>
                  <a:gd name="T66" fmla="*/ 32 w 44"/>
                  <a:gd name="T67" fmla="*/ 41 h 72"/>
                  <a:gd name="T68" fmla="*/ 32 w 44"/>
                  <a:gd name="T69" fmla="*/ 40 h 72"/>
                  <a:gd name="T70" fmla="*/ 33 w 44"/>
                  <a:gd name="T71" fmla="*/ 36 h 72"/>
                  <a:gd name="T72" fmla="*/ 35 w 44"/>
                  <a:gd name="T73" fmla="*/ 33 h 72"/>
                  <a:gd name="T74" fmla="*/ 39 w 44"/>
                  <a:gd name="T75" fmla="*/ 33 h 72"/>
                  <a:gd name="T76" fmla="*/ 39 w 44"/>
                  <a:gd name="T77" fmla="*/ 30 h 72"/>
                  <a:gd name="T78" fmla="*/ 40 w 44"/>
                  <a:gd name="T79" fmla="*/ 26 h 72"/>
                  <a:gd name="T80" fmla="*/ 40 w 44"/>
                  <a:gd name="T81" fmla="*/ 25 h 72"/>
                  <a:gd name="T82" fmla="*/ 40 w 44"/>
                  <a:gd name="T83" fmla="*/ 22 h 72"/>
                  <a:gd name="T84" fmla="*/ 33 w 44"/>
                  <a:gd name="T85" fmla="*/ 17 h 72"/>
                  <a:gd name="T86" fmla="*/ 28 w 44"/>
                  <a:gd name="T87" fmla="*/ 12 h 72"/>
                  <a:gd name="T88" fmla="*/ 15 w 44"/>
                  <a:gd name="T8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72">
                    <a:moveTo>
                      <a:pt x="15" y="2"/>
                    </a:moveTo>
                    <a:cubicBezTo>
                      <a:pt x="14" y="2"/>
                      <a:pt x="13" y="3"/>
                      <a:pt x="13" y="3"/>
                    </a:cubicBezTo>
                    <a:cubicBezTo>
                      <a:pt x="12" y="4"/>
                      <a:pt x="12" y="4"/>
                      <a:pt x="12" y="4"/>
                    </a:cubicBezTo>
                    <a:cubicBezTo>
                      <a:pt x="11" y="5"/>
                      <a:pt x="9" y="6"/>
                      <a:pt x="8" y="6"/>
                    </a:cubicBezTo>
                    <a:cubicBezTo>
                      <a:pt x="8" y="7"/>
                      <a:pt x="8" y="7"/>
                      <a:pt x="8" y="7"/>
                    </a:cubicBezTo>
                    <a:cubicBezTo>
                      <a:pt x="7" y="7"/>
                      <a:pt x="7" y="7"/>
                      <a:pt x="7" y="7"/>
                    </a:cubicBezTo>
                    <a:cubicBezTo>
                      <a:pt x="7" y="8"/>
                      <a:pt x="7" y="8"/>
                      <a:pt x="7" y="8"/>
                    </a:cubicBezTo>
                    <a:cubicBezTo>
                      <a:pt x="7" y="8"/>
                      <a:pt x="6" y="9"/>
                      <a:pt x="6" y="9"/>
                    </a:cubicBezTo>
                    <a:cubicBezTo>
                      <a:pt x="6" y="9"/>
                      <a:pt x="6" y="9"/>
                      <a:pt x="6" y="9"/>
                    </a:cubicBezTo>
                    <a:cubicBezTo>
                      <a:pt x="6" y="10"/>
                      <a:pt x="7" y="10"/>
                      <a:pt x="7" y="10"/>
                    </a:cubicBezTo>
                    <a:cubicBezTo>
                      <a:pt x="7" y="11"/>
                      <a:pt x="7" y="11"/>
                      <a:pt x="7" y="11"/>
                    </a:cubicBezTo>
                    <a:cubicBezTo>
                      <a:pt x="7" y="11"/>
                      <a:pt x="7" y="11"/>
                      <a:pt x="7" y="11"/>
                    </a:cubicBezTo>
                    <a:cubicBezTo>
                      <a:pt x="8" y="11"/>
                      <a:pt x="10" y="11"/>
                      <a:pt x="10" y="12"/>
                    </a:cubicBezTo>
                    <a:cubicBezTo>
                      <a:pt x="10" y="12"/>
                      <a:pt x="10" y="12"/>
                      <a:pt x="10" y="13"/>
                    </a:cubicBezTo>
                    <a:cubicBezTo>
                      <a:pt x="10" y="13"/>
                      <a:pt x="10" y="13"/>
                      <a:pt x="10" y="13"/>
                    </a:cubicBezTo>
                    <a:cubicBezTo>
                      <a:pt x="10" y="14"/>
                      <a:pt x="10" y="14"/>
                      <a:pt x="9" y="15"/>
                    </a:cubicBezTo>
                    <a:cubicBezTo>
                      <a:pt x="9" y="15"/>
                      <a:pt x="9" y="15"/>
                      <a:pt x="9" y="15"/>
                    </a:cubicBezTo>
                    <a:cubicBezTo>
                      <a:pt x="8" y="16"/>
                      <a:pt x="8" y="16"/>
                      <a:pt x="7" y="16"/>
                    </a:cubicBezTo>
                    <a:cubicBezTo>
                      <a:pt x="7" y="16"/>
                      <a:pt x="7" y="16"/>
                      <a:pt x="7" y="16"/>
                    </a:cubicBezTo>
                    <a:cubicBezTo>
                      <a:pt x="6" y="17"/>
                      <a:pt x="6" y="17"/>
                      <a:pt x="6" y="17"/>
                    </a:cubicBezTo>
                    <a:cubicBezTo>
                      <a:pt x="5" y="17"/>
                      <a:pt x="5" y="17"/>
                      <a:pt x="5" y="17"/>
                    </a:cubicBezTo>
                    <a:cubicBezTo>
                      <a:pt x="4" y="17"/>
                      <a:pt x="4" y="17"/>
                      <a:pt x="3" y="17"/>
                    </a:cubicBezTo>
                    <a:cubicBezTo>
                      <a:pt x="3" y="17"/>
                      <a:pt x="3" y="17"/>
                      <a:pt x="3" y="17"/>
                    </a:cubicBezTo>
                    <a:cubicBezTo>
                      <a:pt x="3" y="17"/>
                      <a:pt x="3" y="17"/>
                      <a:pt x="3" y="17"/>
                    </a:cubicBezTo>
                    <a:cubicBezTo>
                      <a:pt x="2" y="18"/>
                      <a:pt x="2" y="18"/>
                      <a:pt x="2" y="18"/>
                    </a:cubicBezTo>
                    <a:cubicBezTo>
                      <a:pt x="2" y="18"/>
                      <a:pt x="2" y="18"/>
                      <a:pt x="2" y="18"/>
                    </a:cubicBezTo>
                    <a:cubicBezTo>
                      <a:pt x="2" y="18"/>
                      <a:pt x="2" y="19"/>
                      <a:pt x="2" y="19"/>
                    </a:cubicBezTo>
                    <a:cubicBezTo>
                      <a:pt x="2" y="19"/>
                      <a:pt x="2" y="19"/>
                      <a:pt x="2" y="19"/>
                    </a:cubicBezTo>
                    <a:cubicBezTo>
                      <a:pt x="2" y="19"/>
                      <a:pt x="2" y="19"/>
                      <a:pt x="2" y="20"/>
                    </a:cubicBezTo>
                    <a:cubicBezTo>
                      <a:pt x="2" y="20"/>
                      <a:pt x="2" y="20"/>
                      <a:pt x="2" y="21"/>
                    </a:cubicBezTo>
                    <a:cubicBezTo>
                      <a:pt x="2" y="21"/>
                      <a:pt x="2" y="21"/>
                      <a:pt x="2" y="21"/>
                    </a:cubicBezTo>
                    <a:cubicBezTo>
                      <a:pt x="2" y="21"/>
                      <a:pt x="2" y="22"/>
                      <a:pt x="2" y="23"/>
                    </a:cubicBezTo>
                    <a:cubicBezTo>
                      <a:pt x="1" y="23"/>
                      <a:pt x="1" y="24"/>
                      <a:pt x="0" y="24"/>
                    </a:cubicBezTo>
                    <a:cubicBezTo>
                      <a:pt x="0" y="25"/>
                      <a:pt x="0" y="25"/>
                      <a:pt x="0" y="25"/>
                    </a:cubicBezTo>
                    <a:cubicBezTo>
                      <a:pt x="0" y="25"/>
                      <a:pt x="0" y="25"/>
                      <a:pt x="0" y="25"/>
                    </a:cubicBezTo>
                    <a:cubicBezTo>
                      <a:pt x="3" y="29"/>
                      <a:pt x="3" y="29"/>
                      <a:pt x="3" y="29"/>
                    </a:cubicBezTo>
                    <a:cubicBezTo>
                      <a:pt x="3" y="29"/>
                      <a:pt x="4" y="29"/>
                      <a:pt x="4" y="29"/>
                    </a:cubicBezTo>
                    <a:cubicBezTo>
                      <a:pt x="4" y="30"/>
                      <a:pt x="4" y="30"/>
                      <a:pt x="4" y="30"/>
                    </a:cubicBezTo>
                    <a:cubicBezTo>
                      <a:pt x="4" y="30"/>
                      <a:pt x="5" y="30"/>
                      <a:pt x="5" y="31"/>
                    </a:cubicBezTo>
                    <a:cubicBezTo>
                      <a:pt x="5" y="31"/>
                      <a:pt x="5" y="31"/>
                      <a:pt x="5" y="31"/>
                    </a:cubicBezTo>
                    <a:cubicBezTo>
                      <a:pt x="5" y="31"/>
                      <a:pt x="5" y="31"/>
                      <a:pt x="5" y="31"/>
                    </a:cubicBezTo>
                    <a:cubicBezTo>
                      <a:pt x="6" y="31"/>
                      <a:pt x="6" y="31"/>
                      <a:pt x="6" y="31"/>
                    </a:cubicBezTo>
                    <a:cubicBezTo>
                      <a:pt x="6" y="31"/>
                      <a:pt x="6" y="31"/>
                      <a:pt x="6" y="31"/>
                    </a:cubicBezTo>
                    <a:cubicBezTo>
                      <a:pt x="7" y="31"/>
                      <a:pt x="7" y="31"/>
                      <a:pt x="7" y="31"/>
                    </a:cubicBezTo>
                    <a:cubicBezTo>
                      <a:pt x="7" y="31"/>
                      <a:pt x="7" y="31"/>
                      <a:pt x="7" y="31"/>
                    </a:cubicBezTo>
                    <a:cubicBezTo>
                      <a:pt x="8" y="31"/>
                      <a:pt x="8" y="31"/>
                      <a:pt x="8" y="31"/>
                    </a:cubicBezTo>
                    <a:cubicBezTo>
                      <a:pt x="8" y="30"/>
                      <a:pt x="8" y="30"/>
                      <a:pt x="8" y="30"/>
                    </a:cubicBezTo>
                    <a:cubicBezTo>
                      <a:pt x="9" y="30"/>
                      <a:pt x="9" y="30"/>
                      <a:pt x="9" y="30"/>
                    </a:cubicBezTo>
                    <a:cubicBezTo>
                      <a:pt x="9" y="30"/>
                      <a:pt x="9" y="30"/>
                      <a:pt x="9" y="30"/>
                    </a:cubicBezTo>
                    <a:cubicBezTo>
                      <a:pt x="9" y="30"/>
                      <a:pt x="9" y="30"/>
                      <a:pt x="9" y="30"/>
                    </a:cubicBezTo>
                    <a:cubicBezTo>
                      <a:pt x="9" y="30"/>
                      <a:pt x="9" y="31"/>
                      <a:pt x="9" y="31"/>
                    </a:cubicBezTo>
                    <a:cubicBezTo>
                      <a:pt x="10" y="31"/>
                      <a:pt x="10" y="31"/>
                      <a:pt x="10" y="31"/>
                    </a:cubicBezTo>
                    <a:cubicBezTo>
                      <a:pt x="10" y="31"/>
                      <a:pt x="10" y="31"/>
                      <a:pt x="10" y="31"/>
                    </a:cubicBezTo>
                    <a:cubicBezTo>
                      <a:pt x="10" y="31"/>
                      <a:pt x="10" y="31"/>
                      <a:pt x="11" y="31"/>
                    </a:cubicBezTo>
                    <a:cubicBezTo>
                      <a:pt x="11" y="31"/>
                      <a:pt x="11" y="31"/>
                      <a:pt x="11" y="31"/>
                    </a:cubicBezTo>
                    <a:cubicBezTo>
                      <a:pt x="11" y="31"/>
                      <a:pt x="11" y="31"/>
                      <a:pt x="11" y="31"/>
                    </a:cubicBezTo>
                    <a:cubicBezTo>
                      <a:pt x="11" y="31"/>
                      <a:pt x="12" y="31"/>
                      <a:pt x="12" y="31"/>
                    </a:cubicBezTo>
                    <a:cubicBezTo>
                      <a:pt x="12" y="31"/>
                      <a:pt x="12" y="32"/>
                      <a:pt x="12" y="32"/>
                    </a:cubicBezTo>
                    <a:cubicBezTo>
                      <a:pt x="14" y="33"/>
                      <a:pt x="14" y="35"/>
                      <a:pt x="13" y="38"/>
                    </a:cubicBezTo>
                    <a:cubicBezTo>
                      <a:pt x="14" y="38"/>
                      <a:pt x="16" y="39"/>
                      <a:pt x="16" y="41"/>
                    </a:cubicBezTo>
                    <a:cubicBezTo>
                      <a:pt x="16" y="41"/>
                      <a:pt x="16" y="41"/>
                      <a:pt x="16" y="41"/>
                    </a:cubicBezTo>
                    <a:cubicBezTo>
                      <a:pt x="16" y="41"/>
                      <a:pt x="16" y="41"/>
                      <a:pt x="16" y="41"/>
                    </a:cubicBezTo>
                    <a:cubicBezTo>
                      <a:pt x="16" y="42"/>
                      <a:pt x="16" y="43"/>
                      <a:pt x="18" y="44"/>
                    </a:cubicBezTo>
                    <a:cubicBezTo>
                      <a:pt x="18" y="45"/>
                      <a:pt x="18" y="45"/>
                      <a:pt x="18" y="45"/>
                    </a:cubicBezTo>
                    <a:cubicBezTo>
                      <a:pt x="18" y="46"/>
                      <a:pt x="18" y="46"/>
                      <a:pt x="18" y="46"/>
                    </a:cubicBezTo>
                    <a:cubicBezTo>
                      <a:pt x="18" y="47"/>
                      <a:pt x="17" y="48"/>
                      <a:pt x="16" y="48"/>
                    </a:cubicBezTo>
                    <a:cubicBezTo>
                      <a:pt x="16" y="49"/>
                      <a:pt x="13" y="57"/>
                      <a:pt x="14" y="59"/>
                    </a:cubicBezTo>
                    <a:cubicBezTo>
                      <a:pt x="14" y="59"/>
                      <a:pt x="14" y="59"/>
                      <a:pt x="14" y="59"/>
                    </a:cubicBezTo>
                    <a:cubicBezTo>
                      <a:pt x="14" y="59"/>
                      <a:pt x="14" y="60"/>
                      <a:pt x="14" y="60"/>
                    </a:cubicBezTo>
                    <a:cubicBezTo>
                      <a:pt x="15" y="61"/>
                      <a:pt x="16" y="62"/>
                      <a:pt x="17" y="65"/>
                    </a:cubicBezTo>
                    <a:cubicBezTo>
                      <a:pt x="17" y="66"/>
                      <a:pt x="18" y="68"/>
                      <a:pt x="19" y="68"/>
                    </a:cubicBezTo>
                    <a:cubicBezTo>
                      <a:pt x="19" y="68"/>
                      <a:pt x="19" y="69"/>
                      <a:pt x="19" y="69"/>
                    </a:cubicBezTo>
                    <a:cubicBezTo>
                      <a:pt x="20" y="69"/>
                      <a:pt x="20" y="70"/>
                      <a:pt x="21" y="70"/>
                    </a:cubicBezTo>
                    <a:cubicBezTo>
                      <a:pt x="23" y="70"/>
                      <a:pt x="23" y="71"/>
                      <a:pt x="24" y="71"/>
                    </a:cubicBezTo>
                    <a:cubicBezTo>
                      <a:pt x="24" y="72"/>
                      <a:pt x="24" y="72"/>
                      <a:pt x="25" y="72"/>
                    </a:cubicBezTo>
                    <a:cubicBezTo>
                      <a:pt x="26" y="72"/>
                      <a:pt x="26" y="71"/>
                      <a:pt x="26" y="71"/>
                    </a:cubicBezTo>
                    <a:cubicBezTo>
                      <a:pt x="26" y="71"/>
                      <a:pt x="26" y="71"/>
                      <a:pt x="26" y="71"/>
                    </a:cubicBezTo>
                    <a:cubicBezTo>
                      <a:pt x="25" y="70"/>
                      <a:pt x="25" y="70"/>
                      <a:pt x="25" y="70"/>
                    </a:cubicBezTo>
                    <a:cubicBezTo>
                      <a:pt x="27" y="69"/>
                      <a:pt x="27" y="69"/>
                      <a:pt x="27" y="69"/>
                    </a:cubicBezTo>
                    <a:cubicBezTo>
                      <a:pt x="34" y="68"/>
                      <a:pt x="36" y="67"/>
                      <a:pt x="36" y="67"/>
                    </a:cubicBezTo>
                    <a:cubicBezTo>
                      <a:pt x="36" y="67"/>
                      <a:pt x="37" y="67"/>
                      <a:pt x="38" y="65"/>
                    </a:cubicBezTo>
                    <a:cubicBezTo>
                      <a:pt x="39" y="64"/>
                      <a:pt x="40" y="63"/>
                      <a:pt x="41" y="63"/>
                    </a:cubicBezTo>
                    <a:cubicBezTo>
                      <a:pt x="42" y="63"/>
                      <a:pt x="42" y="64"/>
                      <a:pt x="43" y="64"/>
                    </a:cubicBezTo>
                    <a:cubicBezTo>
                      <a:pt x="43" y="64"/>
                      <a:pt x="43" y="64"/>
                      <a:pt x="43" y="64"/>
                    </a:cubicBezTo>
                    <a:cubicBezTo>
                      <a:pt x="43" y="64"/>
                      <a:pt x="43" y="64"/>
                      <a:pt x="44" y="64"/>
                    </a:cubicBezTo>
                    <a:cubicBezTo>
                      <a:pt x="44" y="64"/>
                      <a:pt x="44" y="64"/>
                      <a:pt x="44" y="64"/>
                    </a:cubicBezTo>
                    <a:cubicBezTo>
                      <a:pt x="44" y="64"/>
                      <a:pt x="44" y="64"/>
                      <a:pt x="44" y="64"/>
                    </a:cubicBezTo>
                    <a:cubicBezTo>
                      <a:pt x="44" y="64"/>
                      <a:pt x="43" y="63"/>
                      <a:pt x="43" y="63"/>
                    </a:cubicBezTo>
                    <a:cubicBezTo>
                      <a:pt x="43" y="63"/>
                      <a:pt x="43" y="63"/>
                      <a:pt x="43" y="63"/>
                    </a:cubicBezTo>
                    <a:cubicBezTo>
                      <a:pt x="42" y="62"/>
                      <a:pt x="41" y="60"/>
                      <a:pt x="41" y="59"/>
                    </a:cubicBezTo>
                    <a:cubicBezTo>
                      <a:pt x="40" y="58"/>
                      <a:pt x="40" y="58"/>
                      <a:pt x="40" y="58"/>
                    </a:cubicBezTo>
                    <a:cubicBezTo>
                      <a:pt x="40" y="58"/>
                      <a:pt x="40" y="57"/>
                      <a:pt x="40" y="57"/>
                    </a:cubicBezTo>
                    <a:cubicBezTo>
                      <a:pt x="39" y="57"/>
                      <a:pt x="39" y="56"/>
                      <a:pt x="39" y="56"/>
                    </a:cubicBezTo>
                    <a:cubicBezTo>
                      <a:pt x="39" y="56"/>
                      <a:pt x="39" y="56"/>
                      <a:pt x="39" y="55"/>
                    </a:cubicBezTo>
                    <a:cubicBezTo>
                      <a:pt x="39" y="55"/>
                      <a:pt x="39" y="54"/>
                      <a:pt x="39" y="52"/>
                    </a:cubicBezTo>
                    <a:cubicBezTo>
                      <a:pt x="38" y="53"/>
                      <a:pt x="38" y="53"/>
                      <a:pt x="38" y="53"/>
                    </a:cubicBezTo>
                    <a:cubicBezTo>
                      <a:pt x="37" y="53"/>
                      <a:pt x="36" y="52"/>
                      <a:pt x="36" y="52"/>
                    </a:cubicBezTo>
                    <a:cubicBezTo>
                      <a:pt x="35" y="52"/>
                      <a:pt x="35" y="52"/>
                      <a:pt x="35" y="52"/>
                    </a:cubicBezTo>
                    <a:cubicBezTo>
                      <a:pt x="34" y="51"/>
                      <a:pt x="34" y="50"/>
                      <a:pt x="33" y="48"/>
                    </a:cubicBezTo>
                    <a:cubicBezTo>
                      <a:pt x="31" y="46"/>
                      <a:pt x="30" y="44"/>
                      <a:pt x="31" y="42"/>
                    </a:cubicBezTo>
                    <a:cubicBezTo>
                      <a:pt x="31" y="42"/>
                      <a:pt x="31" y="41"/>
                      <a:pt x="32" y="41"/>
                    </a:cubicBezTo>
                    <a:cubicBezTo>
                      <a:pt x="32" y="41"/>
                      <a:pt x="32" y="41"/>
                      <a:pt x="32" y="41"/>
                    </a:cubicBezTo>
                    <a:cubicBezTo>
                      <a:pt x="32" y="41"/>
                      <a:pt x="32" y="41"/>
                      <a:pt x="32" y="41"/>
                    </a:cubicBezTo>
                    <a:cubicBezTo>
                      <a:pt x="32" y="41"/>
                      <a:pt x="32" y="40"/>
                      <a:pt x="32" y="40"/>
                    </a:cubicBezTo>
                    <a:cubicBezTo>
                      <a:pt x="32" y="40"/>
                      <a:pt x="32" y="40"/>
                      <a:pt x="32" y="40"/>
                    </a:cubicBezTo>
                    <a:cubicBezTo>
                      <a:pt x="32" y="39"/>
                      <a:pt x="32" y="39"/>
                      <a:pt x="32" y="38"/>
                    </a:cubicBezTo>
                    <a:cubicBezTo>
                      <a:pt x="32" y="38"/>
                      <a:pt x="32" y="38"/>
                      <a:pt x="32" y="38"/>
                    </a:cubicBezTo>
                    <a:cubicBezTo>
                      <a:pt x="33" y="38"/>
                      <a:pt x="33" y="37"/>
                      <a:pt x="33" y="36"/>
                    </a:cubicBezTo>
                    <a:cubicBezTo>
                      <a:pt x="33" y="36"/>
                      <a:pt x="33" y="36"/>
                      <a:pt x="33" y="36"/>
                    </a:cubicBezTo>
                    <a:cubicBezTo>
                      <a:pt x="33" y="35"/>
                      <a:pt x="33" y="35"/>
                      <a:pt x="33" y="35"/>
                    </a:cubicBezTo>
                    <a:cubicBezTo>
                      <a:pt x="33" y="34"/>
                      <a:pt x="34" y="33"/>
                      <a:pt x="35" y="33"/>
                    </a:cubicBezTo>
                    <a:cubicBezTo>
                      <a:pt x="36" y="33"/>
                      <a:pt x="37" y="33"/>
                      <a:pt x="38" y="33"/>
                    </a:cubicBezTo>
                    <a:cubicBezTo>
                      <a:pt x="38" y="33"/>
                      <a:pt x="38" y="33"/>
                      <a:pt x="38" y="33"/>
                    </a:cubicBezTo>
                    <a:cubicBezTo>
                      <a:pt x="38" y="33"/>
                      <a:pt x="38" y="33"/>
                      <a:pt x="39" y="33"/>
                    </a:cubicBezTo>
                    <a:cubicBezTo>
                      <a:pt x="39" y="33"/>
                      <a:pt x="39" y="33"/>
                      <a:pt x="39" y="32"/>
                    </a:cubicBezTo>
                    <a:cubicBezTo>
                      <a:pt x="39" y="32"/>
                      <a:pt x="39" y="32"/>
                      <a:pt x="39" y="32"/>
                    </a:cubicBezTo>
                    <a:cubicBezTo>
                      <a:pt x="39" y="31"/>
                      <a:pt x="39" y="31"/>
                      <a:pt x="39" y="30"/>
                    </a:cubicBezTo>
                    <a:cubicBezTo>
                      <a:pt x="39" y="30"/>
                      <a:pt x="39" y="30"/>
                      <a:pt x="39" y="30"/>
                    </a:cubicBezTo>
                    <a:cubicBezTo>
                      <a:pt x="39" y="29"/>
                      <a:pt x="39" y="28"/>
                      <a:pt x="39" y="27"/>
                    </a:cubicBezTo>
                    <a:cubicBezTo>
                      <a:pt x="40" y="26"/>
                      <a:pt x="40" y="26"/>
                      <a:pt x="40" y="26"/>
                    </a:cubicBezTo>
                    <a:cubicBezTo>
                      <a:pt x="40" y="25"/>
                      <a:pt x="40" y="25"/>
                      <a:pt x="40" y="25"/>
                    </a:cubicBezTo>
                    <a:cubicBezTo>
                      <a:pt x="40" y="25"/>
                      <a:pt x="40" y="25"/>
                      <a:pt x="40" y="25"/>
                    </a:cubicBezTo>
                    <a:cubicBezTo>
                      <a:pt x="40" y="25"/>
                      <a:pt x="40" y="25"/>
                      <a:pt x="40" y="25"/>
                    </a:cubicBezTo>
                    <a:cubicBezTo>
                      <a:pt x="40" y="24"/>
                      <a:pt x="40" y="24"/>
                      <a:pt x="40" y="24"/>
                    </a:cubicBezTo>
                    <a:cubicBezTo>
                      <a:pt x="41" y="25"/>
                      <a:pt x="41" y="25"/>
                      <a:pt x="41" y="25"/>
                    </a:cubicBezTo>
                    <a:cubicBezTo>
                      <a:pt x="41" y="23"/>
                      <a:pt x="40" y="22"/>
                      <a:pt x="40" y="22"/>
                    </a:cubicBezTo>
                    <a:cubicBezTo>
                      <a:pt x="39" y="21"/>
                      <a:pt x="38" y="21"/>
                      <a:pt x="38" y="21"/>
                    </a:cubicBezTo>
                    <a:cubicBezTo>
                      <a:pt x="37" y="21"/>
                      <a:pt x="37" y="20"/>
                      <a:pt x="36" y="20"/>
                    </a:cubicBezTo>
                    <a:cubicBezTo>
                      <a:pt x="35" y="19"/>
                      <a:pt x="35" y="18"/>
                      <a:pt x="33" y="17"/>
                    </a:cubicBezTo>
                    <a:cubicBezTo>
                      <a:pt x="32" y="16"/>
                      <a:pt x="31" y="16"/>
                      <a:pt x="30" y="15"/>
                    </a:cubicBezTo>
                    <a:cubicBezTo>
                      <a:pt x="28" y="14"/>
                      <a:pt x="27" y="19"/>
                      <a:pt x="26" y="20"/>
                    </a:cubicBezTo>
                    <a:cubicBezTo>
                      <a:pt x="25" y="18"/>
                      <a:pt x="28" y="15"/>
                      <a:pt x="28" y="12"/>
                    </a:cubicBezTo>
                    <a:cubicBezTo>
                      <a:pt x="28" y="10"/>
                      <a:pt x="26" y="8"/>
                      <a:pt x="24" y="6"/>
                    </a:cubicBezTo>
                    <a:cubicBezTo>
                      <a:pt x="22" y="4"/>
                      <a:pt x="21" y="3"/>
                      <a:pt x="19" y="2"/>
                    </a:cubicBezTo>
                    <a:cubicBezTo>
                      <a:pt x="18" y="2"/>
                      <a:pt x="16" y="1"/>
                      <a:pt x="15" y="0"/>
                    </a:cubicBezTo>
                    <a:cubicBezTo>
                      <a:pt x="15" y="1"/>
                      <a:pt x="15" y="1"/>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9" name="Freeform 3011">
                <a:extLst>
                  <a:ext uri="{FF2B5EF4-FFF2-40B4-BE49-F238E27FC236}">
                    <a16:creationId xmlns:a16="http://schemas.microsoft.com/office/drawing/2014/main" id="{FB28898F-1D5A-4B8C-89D6-2527A9583E2C}"/>
                  </a:ext>
                </a:extLst>
              </p:cNvPr>
              <p:cNvSpPr>
                <a:spLocks/>
              </p:cNvSpPr>
              <p:nvPr/>
            </p:nvSpPr>
            <p:spPr bwMode="auto">
              <a:xfrm>
                <a:off x="2149" y="2632"/>
                <a:ext cx="93" cy="97"/>
              </a:xfrm>
              <a:custGeom>
                <a:avLst/>
                <a:gdLst>
                  <a:gd name="T0" fmla="*/ 10 w 39"/>
                  <a:gd name="T1" fmla="*/ 2 h 41"/>
                  <a:gd name="T2" fmla="*/ 9 w 39"/>
                  <a:gd name="T3" fmla="*/ 3 h 41"/>
                  <a:gd name="T4" fmla="*/ 8 w 39"/>
                  <a:gd name="T5" fmla="*/ 6 h 41"/>
                  <a:gd name="T6" fmla="*/ 8 w 39"/>
                  <a:gd name="T7" fmla="*/ 6 h 41"/>
                  <a:gd name="T8" fmla="*/ 8 w 39"/>
                  <a:gd name="T9" fmla="*/ 9 h 41"/>
                  <a:gd name="T10" fmla="*/ 8 w 39"/>
                  <a:gd name="T11" fmla="*/ 10 h 41"/>
                  <a:gd name="T12" fmla="*/ 6 w 39"/>
                  <a:gd name="T13" fmla="*/ 11 h 41"/>
                  <a:gd name="T14" fmla="*/ 4 w 39"/>
                  <a:gd name="T15" fmla="*/ 11 h 41"/>
                  <a:gd name="T16" fmla="*/ 3 w 39"/>
                  <a:gd name="T17" fmla="*/ 11 h 41"/>
                  <a:gd name="T18" fmla="*/ 2 w 39"/>
                  <a:gd name="T19" fmla="*/ 12 h 41"/>
                  <a:gd name="T20" fmla="*/ 1 w 39"/>
                  <a:gd name="T21" fmla="*/ 16 h 41"/>
                  <a:gd name="T22" fmla="*/ 1 w 39"/>
                  <a:gd name="T23" fmla="*/ 18 h 41"/>
                  <a:gd name="T24" fmla="*/ 1 w 39"/>
                  <a:gd name="T25" fmla="*/ 19 h 41"/>
                  <a:gd name="T26" fmla="*/ 0 w 39"/>
                  <a:gd name="T27" fmla="*/ 19 h 41"/>
                  <a:gd name="T28" fmla="*/ 2 w 39"/>
                  <a:gd name="T29" fmla="*/ 23 h 41"/>
                  <a:gd name="T30" fmla="*/ 5 w 39"/>
                  <a:gd name="T31" fmla="*/ 26 h 41"/>
                  <a:gd name="T32" fmla="*/ 6 w 39"/>
                  <a:gd name="T33" fmla="*/ 26 h 41"/>
                  <a:gd name="T34" fmla="*/ 8 w 39"/>
                  <a:gd name="T35" fmla="*/ 27 h 41"/>
                  <a:gd name="T36" fmla="*/ 9 w 39"/>
                  <a:gd name="T37" fmla="*/ 31 h 41"/>
                  <a:gd name="T38" fmla="*/ 9 w 39"/>
                  <a:gd name="T39" fmla="*/ 33 h 41"/>
                  <a:gd name="T40" fmla="*/ 12 w 39"/>
                  <a:gd name="T41" fmla="*/ 38 h 41"/>
                  <a:gd name="T42" fmla="*/ 13 w 39"/>
                  <a:gd name="T43" fmla="*/ 38 h 41"/>
                  <a:gd name="T44" fmla="*/ 14 w 39"/>
                  <a:gd name="T45" fmla="*/ 37 h 41"/>
                  <a:gd name="T46" fmla="*/ 13 w 39"/>
                  <a:gd name="T47" fmla="*/ 39 h 41"/>
                  <a:gd name="T48" fmla="*/ 15 w 39"/>
                  <a:gd name="T49" fmla="*/ 40 h 41"/>
                  <a:gd name="T50" fmla="*/ 19 w 39"/>
                  <a:gd name="T51" fmla="*/ 41 h 41"/>
                  <a:gd name="T52" fmla="*/ 20 w 39"/>
                  <a:gd name="T53" fmla="*/ 41 h 41"/>
                  <a:gd name="T54" fmla="*/ 18 w 39"/>
                  <a:gd name="T55" fmla="*/ 38 h 41"/>
                  <a:gd name="T56" fmla="*/ 21 w 39"/>
                  <a:gd name="T57" fmla="*/ 35 h 41"/>
                  <a:gd name="T58" fmla="*/ 25 w 39"/>
                  <a:gd name="T59" fmla="*/ 35 h 41"/>
                  <a:gd name="T60" fmla="*/ 29 w 39"/>
                  <a:gd name="T61" fmla="*/ 34 h 41"/>
                  <a:gd name="T62" fmla="*/ 30 w 39"/>
                  <a:gd name="T63" fmla="*/ 34 h 41"/>
                  <a:gd name="T64" fmla="*/ 33 w 39"/>
                  <a:gd name="T65" fmla="*/ 35 h 41"/>
                  <a:gd name="T66" fmla="*/ 33 w 39"/>
                  <a:gd name="T67" fmla="*/ 35 h 41"/>
                  <a:gd name="T68" fmla="*/ 35 w 39"/>
                  <a:gd name="T69" fmla="*/ 35 h 41"/>
                  <a:gd name="T70" fmla="*/ 37 w 39"/>
                  <a:gd name="T71" fmla="*/ 33 h 41"/>
                  <a:gd name="T72" fmla="*/ 37 w 39"/>
                  <a:gd name="T73" fmla="*/ 32 h 41"/>
                  <a:gd name="T74" fmla="*/ 38 w 39"/>
                  <a:gd name="T75" fmla="*/ 29 h 41"/>
                  <a:gd name="T76" fmla="*/ 38 w 39"/>
                  <a:gd name="T77" fmla="*/ 29 h 41"/>
                  <a:gd name="T78" fmla="*/ 39 w 39"/>
                  <a:gd name="T79" fmla="*/ 26 h 41"/>
                  <a:gd name="T80" fmla="*/ 39 w 39"/>
                  <a:gd name="T81" fmla="*/ 25 h 41"/>
                  <a:gd name="T82" fmla="*/ 39 w 39"/>
                  <a:gd name="T83" fmla="*/ 25 h 41"/>
                  <a:gd name="T84" fmla="*/ 38 w 39"/>
                  <a:gd name="T85" fmla="*/ 24 h 41"/>
                  <a:gd name="T86" fmla="*/ 36 w 39"/>
                  <a:gd name="T87" fmla="*/ 19 h 41"/>
                  <a:gd name="T88" fmla="*/ 35 w 39"/>
                  <a:gd name="T89" fmla="*/ 9 h 41"/>
                  <a:gd name="T90" fmla="*/ 37 w 39"/>
                  <a:gd name="T91" fmla="*/ 7 h 41"/>
                  <a:gd name="T92" fmla="*/ 38 w 39"/>
                  <a:gd name="T93" fmla="*/ 3 h 41"/>
                  <a:gd name="T94" fmla="*/ 39 w 39"/>
                  <a:gd name="T95" fmla="*/ 1 h 41"/>
                  <a:gd name="T96" fmla="*/ 32 w 39"/>
                  <a:gd name="T97" fmla="*/ 0 h 41"/>
                  <a:gd name="T98" fmla="*/ 29 w 39"/>
                  <a:gd name="T99" fmla="*/ 2 h 41"/>
                  <a:gd name="T100" fmla="*/ 21 w 39"/>
                  <a:gd name="T101" fmla="*/ 1 h 41"/>
                  <a:gd name="T102" fmla="*/ 13 w 39"/>
                  <a:gd name="T103" fmla="*/ 1 h 41"/>
                  <a:gd name="T104" fmla="*/ 9 w 39"/>
                  <a:gd name="T10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 h="41">
                    <a:moveTo>
                      <a:pt x="10" y="1"/>
                    </a:moveTo>
                    <a:cubicBezTo>
                      <a:pt x="10" y="2"/>
                      <a:pt x="10" y="2"/>
                      <a:pt x="10" y="2"/>
                    </a:cubicBezTo>
                    <a:cubicBezTo>
                      <a:pt x="10" y="2"/>
                      <a:pt x="9" y="2"/>
                      <a:pt x="9" y="3"/>
                    </a:cubicBezTo>
                    <a:cubicBezTo>
                      <a:pt x="9" y="3"/>
                      <a:pt x="9" y="3"/>
                      <a:pt x="9" y="3"/>
                    </a:cubicBezTo>
                    <a:cubicBezTo>
                      <a:pt x="9" y="3"/>
                      <a:pt x="9" y="3"/>
                      <a:pt x="9" y="3"/>
                    </a:cubicBezTo>
                    <a:cubicBezTo>
                      <a:pt x="9" y="4"/>
                      <a:pt x="8" y="5"/>
                      <a:pt x="8" y="6"/>
                    </a:cubicBezTo>
                    <a:cubicBezTo>
                      <a:pt x="8" y="6"/>
                      <a:pt x="8" y="6"/>
                      <a:pt x="8" y="6"/>
                    </a:cubicBezTo>
                    <a:cubicBezTo>
                      <a:pt x="8" y="6"/>
                      <a:pt x="8" y="6"/>
                      <a:pt x="8" y="6"/>
                    </a:cubicBezTo>
                    <a:cubicBezTo>
                      <a:pt x="9" y="7"/>
                      <a:pt x="8" y="8"/>
                      <a:pt x="8" y="9"/>
                    </a:cubicBezTo>
                    <a:cubicBezTo>
                      <a:pt x="8" y="9"/>
                      <a:pt x="8" y="9"/>
                      <a:pt x="8" y="9"/>
                    </a:cubicBezTo>
                    <a:cubicBezTo>
                      <a:pt x="8" y="9"/>
                      <a:pt x="8" y="9"/>
                      <a:pt x="8" y="10"/>
                    </a:cubicBezTo>
                    <a:cubicBezTo>
                      <a:pt x="8" y="10"/>
                      <a:pt x="8" y="10"/>
                      <a:pt x="8" y="10"/>
                    </a:cubicBezTo>
                    <a:cubicBezTo>
                      <a:pt x="8" y="11"/>
                      <a:pt x="8" y="11"/>
                      <a:pt x="8" y="11"/>
                    </a:cubicBezTo>
                    <a:cubicBezTo>
                      <a:pt x="7" y="11"/>
                      <a:pt x="7" y="11"/>
                      <a:pt x="6" y="11"/>
                    </a:cubicBezTo>
                    <a:cubicBezTo>
                      <a:pt x="6" y="12"/>
                      <a:pt x="6" y="12"/>
                      <a:pt x="5" y="12"/>
                    </a:cubicBezTo>
                    <a:cubicBezTo>
                      <a:pt x="5" y="12"/>
                      <a:pt x="5" y="11"/>
                      <a:pt x="4" y="11"/>
                    </a:cubicBezTo>
                    <a:cubicBezTo>
                      <a:pt x="4" y="11"/>
                      <a:pt x="4" y="11"/>
                      <a:pt x="4" y="11"/>
                    </a:cubicBezTo>
                    <a:cubicBezTo>
                      <a:pt x="3" y="11"/>
                      <a:pt x="3" y="11"/>
                      <a:pt x="3" y="11"/>
                    </a:cubicBezTo>
                    <a:cubicBezTo>
                      <a:pt x="3" y="11"/>
                      <a:pt x="2" y="12"/>
                      <a:pt x="2" y="12"/>
                    </a:cubicBezTo>
                    <a:cubicBezTo>
                      <a:pt x="2" y="12"/>
                      <a:pt x="2" y="12"/>
                      <a:pt x="2" y="12"/>
                    </a:cubicBezTo>
                    <a:cubicBezTo>
                      <a:pt x="2" y="14"/>
                      <a:pt x="2" y="14"/>
                      <a:pt x="2" y="15"/>
                    </a:cubicBezTo>
                    <a:cubicBezTo>
                      <a:pt x="2" y="16"/>
                      <a:pt x="1" y="16"/>
                      <a:pt x="1" y="16"/>
                    </a:cubicBezTo>
                    <a:cubicBezTo>
                      <a:pt x="1" y="16"/>
                      <a:pt x="1" y="17"/>
                      <a:pt x="1" y="17"/>
                    </a:cubicBezTo>
                    <a:cubicBezTo>
                      <a:pt x="1" y="17"/>
                      <a:pt x="1" y="18"/>
                      <a:pt x="1" y="18"/>
                    </a:cubicBezTo>
                    <a:cubicBezTo>
                      <a:pt x="1" y="18"/>
                      <a:pt x="1" y="18"/>
                      <a:pt x="1" y="18"/>
                    </a:cubicBezTo>
                    <a:cubicBezTo>
                      <a:pt x="1" y="19"/>
                      <a:pt x="1" y="19"/>
                      <a:pt x="1" y="19"/>
                    </a:cubicBezTo>
                    <a:cubicBezTo>
                      <a:pt x="1" y="19"/>
                      <a:pt x="0" y="19"/>
                      <a:pt x="0" y="19"/>
                    </a:cubicBezTo>
                    <a:cubicBezTo>
                      <a:pt x="0" y="19"/>
                      <a:pt x="0" y="19"/>
                      <a:pt x="0" y="19"/>
                    </a:cubicBezTo>
                    <a:cubicBezTo>
                      <a:pt x="0" y="19"/>
                      <a:pt x="0" y="19"/>
                      <a:pt x="0" y="19"/>
                    </a:cubicBezTo>
                    <a:cubicBezTo>
                      <a:pt x="0" y="19"/>
                      <a:pt x="0" y="20"/>
                      <a:pt x="2" y="23"/>
                    </a:cubicBezTo>
                    <a:cubicBezTo>
                      <a:pt x="3" y="24"/>
                      <a:pt x="3" y="25"/>
                      <a:pt x="4" y="26"/>
                    </a:cubicBezTo>
                    <a:cubicBezTo>
                      <a:pt x="4" y="26"/>
                      <a:pt x="4" y="26"/>
                      <a:pt x="5" y="26"/>
                    </a:cubicBezTo>
                    <a:cubicBezTo>
                      <a:pt x="5" y="26"/>
                      <a:pt x="5" y="26"/>
                      <a:pt x="5" y="26"/>
                    </a:cubicBezTo>
                    <a:cubicBezTo>
                      <a:pt x="5" y="26"/>
                      <a:pt x="5" y="26"/>
                      <a:pt x="6" y="26"/>
                    </a:cubicBezTo>
                    <a:cubicBezTo>
                      <a:pt x="7" y="25"/>
                      <a:pt x="7" y="25"/>
                      <a:pt x="7" y="25"/>
                    </a:cubicBezTo>
                    <a:cubicBezTo>
                      <a:pt x="8" y="27"/>
                      <a:pt x="8" y="27"/>
                      <a:pt x="8" y="27"/>
                    </a:cubicBezTo>
                    <a:cubicBezTo>
                      <a:pt x="8" y="28"/>
                      <a:pt x="8" y="29"/>
                      <a:pt x="9" y="31"/>
                    </a:cubicBezTo>
                    <a:cubicBezTo>
                      <a:pt x="9" y="31"/>
                      <a:pt x="9" y="31"/>
                      <a:pt x="9" y="31"/>
                    </a:cubicBezTo>
                    <a:cubicBezTo>
                      <a:pt x="9" y="32"/>
                      <a:pt x="9" y="32"/>
                      <a:pt x="9" y="32"/>
                    </a:cubicBezTo>
                    <a:cubicBezTo>
                      <a:pt x="9" y="32"/>
                      <a:pt x="9" y="32"/>
                      <a:pt x="9" y="33"/>
                    </a:cubicBezTo>
                    <a:cubicBezTo>
                      <a:pt x="10" y="34"/>
                      <a:pt x="10" y="34"/>
                      <a:pt x="10" y="34"/>
                    </a:cubicBezTo>
                    <a:cubicBezTo>
                      <a:pt x="11" y="35"/>
                      <a:pt x="11" y="36"/>
                      <a:pt x="12" y="38"/>
                    </a:cubicBezTo>
                    <a:cubicBezTo>
                      <a:pt x="12" y="38"/>
                      <a:pt x="12" y="38"/>
                      <a:pt x="12" y="38"/>
                    </a:cubicBezTo>
                    <a:cubicBezTo>
                      <a:pt x="13" y="38"/>
                      <a:pt x="13" y="38"/>
                      <a:pt x="13" y="38"/>
                    </a:cubicBezTo>
                    <a:cubicBezTo>
                      <a:pt x="13" y="39"/>
                      <a:pt x="13" y="39"/>
                      <a:pt x="13" y="39"/>
                    </a:cubicBezTo>
                    <a:cubicBezTo>
                      <a:pt x="14" y="37"/>
                      <a:pt x="14" y="37"/>
                      <a:pt x="14" y="37"/>
                    </a:cubicBezTo>
                    <a:cubicBezTo>
                      <a:pt x="13" y="39"/>
                      <a:pt x="13" y="39"/>
                      <a:pt x="13" y="39"/>
                    </a:cubicBezTo>
                    <a:cubicBezTo>
                      <a:pt x="13" y="39"/>
                      <a:pt x="13" y="39"/>
                      <a:pt x="13" y="39"/>
                    </a:cubicBezTo>
                    <a:cubicBezTo>
                      <a:pt x="14" y="40"/>
                      <a:pt x="14" y="40"/>
                      <a:pt x="15" y="40"/>
                    </a:cubicBezTo>
                    <a:cubicBezTo>
                      <a:pt x="15" y="40"/>
                      <a:pt x="15" y="40"/>
                      <a:pt x="15" y="40"/>
                    </a:cubicBezTo>
                    <a:cubicBezTo>
                      <a:pt x="16" y="40"/>
                      <a:pt x="17" y="41"/>
                      <a:pt x="18" y="41"/>
                    </a:cubicBezTo>
                    <a:cubicBezTo>
                      <a:pt x="19" y="41"/>
                      <a:pt x="19" y="41"/>
                      <a:pt x="19" y="41"/>
                    </a:cubicBezTo>
                    <a:cubicBezTo>
                      <a:pt x="19" y="41"/>
                      <a:pt x="19" y="41"/>
                      <a:pt x="20" y="41"/>
                    </a:cubicBezTo>
                    <a:cubicBezTo>
                      <a:pt x="20" y="41"/>
                      <a:pt x="20" y="41"/>
                      <a:pt x="20" y="41"/>
                    </a:cubicBezTo>
                    <a:cubicBezTo>
                      <a:pt x="19" y="41"/>
                      <a:pt x="19" y="40"/>
                      <a:pt x="19" y="40"/>
                    </a:cubicBezTo>
                    <a:cubicBezTo>
                      <a:pt x="19" y="40"/>
                      <a:pt x="18" y="39"/>
                      <a:pt x="18" y="38"/>
                    </a:cubicBezTo>
                    <a:cubicBezTo>
                      <a:pt x="18" y="37"/>
                      <a:pt x="18" y="36"/>
                      <a:pt x="19" y="35"/>
                    </a:cubicBezTo>
                    <a:cubicBezTo>
                      <a:pt x="20" y="34"/>
                      <a:pt x="21" y="34"/>
                      <a:pt x="21" y="35"/>
                    </a:cubicBezTo>
                    <a:cubicBezTo>
                      <a:pt x="22" y="35"/>
                      <a:pt x="23" y="35"/>
                      <a:pt x="24" y="35"/>
                    </a:cubicBezTo>
                    <a:cubicBezTo>
                      <a:pt x="24" y="35"/>
                      <a:pt x="25" y="35"/>
                      <a:pt x="25" y="35"/>
                    </a:cubicBezTo>
                    <a:cubicBezTo>
                      <a:pt x="26" y="35"/>
                      <a:pt x="27" y="35"/>
                      <a:pt x="27" y="35"/>
                    </a:cubicBezTo>
                    <a:cubicBezTo>
                      <a:pt x="28" y="34"/>
                      <a:pt x="28" y="34"/>
                      <a:pt x="29" y="34"/>
                    </a:cubicBezTo>
                    <a:cubicBezTo>
                      <a:pt x="30" y="34"/>
                      <a:pt x="30" y="34"/>
                      <a:pt x="30" y="34"/>
                    </a:cubicBezTo>
                    <a:cubicBezTo>
                      <a:pt x="30" y="34"/>
                      <a:pt x="30" y="34"/>
                      <a:pt x="30" y="34"/>
                    </a:cubicBezTo>
                    <a:cubicBezTo>
                      <a:pt x="31" y="34"/>
                      <a:pt x="31" y="34"/>
                      <a:pt x="32" y="34"/>
                    </a:cubicBezTo>
                    <a:cubicBezTo>
                      <a:pt x="32" y="34"/>
                      <a:pt x="32" y="35"/>
                      <a:pt x="33" y="35"/>
                    </a:cubicBezTo>
                    <a:cubicBezTo>
                      <a:pt x="33" y="35"/>
                      <a:pt x="33" y="35"/>
                      <a:pt x="33" y="35"/>
                    </a:cubicBezTo>
                    <a:cubicBezTo>
                      <a:pt x="33" y="35"/>
                      <a:pt x="33" y="35"/>
                      <a:pt x="33" y="35"/>
                    </a:cubicBezTo>
                    <a:cubicBezTo>
                      <a:pt x="34" y="36"/>
                      <a:pt x="34" y="36"/>
                      <a:pt x="34" y="36"/>
                    </a:cubicBezTo>
                    <a:cubicBezTo>
                      <a:pt x="34" y="36"/>
                      <a:pt x="34" y="36"/>
                      <a:pt x="35" y="35"/>
                    </a:cubicBezTo>
                    <a:cubicBezTo>
                      <a:pt x="35" y="35"/>
                      <a:pt x="36" y="34"/>
                      <a:pt x="36" y="34"/>
                    </a:cubicBezTo>
                    <a:cubicBezTo>
                      <a:pt x="36" y="34"/>
                      <a:pt x="36" y="33"/>
                      <a:pt x="37" y="33"/>
                    </a:cubicBezTo>
                    <a:cubicBezTo>
                      <a:pt x="37" y="33"/>
                      <a:pt x="37" y="33"/>
                      <a:pt x="37" y="32"/>
                    </a:cubicBezTo>
                    <a:cubicBezTo>
                      <a:pt x="37" y="32"/>
                      <a:pt x="37" y="32"/>
                      <a:pt x="37" y="32"/>
                    </a:cubicBezTo>
                    <a:cubicBezTo>
                      <a:pt x="38" y="32"/>
                      <a:pt x="38" y="31"/>
                      <a:pt x="38" y="30"/>
                    </a:cubicBezTo>
                    <a:cubicBezTo>
                      <a:pt x="38" y="30"/>
                      <a:pt x="38" y="30"/>
                      <a:pt x="38" y="29"/>
                    </a:cubicBezTo>
                    <a:cubicBezTo>
                      <a:pt x="38" y="29"/>
                      <a:pt x="38" y="29"/>
                      <a:pt x="38" y="29"/>
                    </a:cubicBezTo>
                    <a:cubicBezTo>
                      <a:pt x="38" y="29"/>
                      <a:pt x="38" y="29"/>
                      <a:pt x="38" y="29"/>
                    </a:cubicBezTo>
                    <a:cubicBezTo>
                      <a:pt x="38" y="29"/>
                      <a:pt x="38" y="29"/>
                      <a:pt x="38" y="29"/>
                    </a:cubicBezTo>
                    <a:cubicBezTo>
                      <a:pt x="38" y="28"/>
                      <a:pt x="38" y="27"/>
                      <a:pt x="39" y="26"/>
                    </a:cubicBezTo>
                    <a:cubicBezTo>
                      <a:pt x="39" y="25"/>
                      <a:pt x="39" y="25"/>
                      <a:pt x="39" y="25"/>
                    </a:cubicBezTo>
                    <a:cubicBezTo>
                      <a:pt x="39" y="25"/>
                      <a:pt x="39" y="25"/>
                      <a:pt x="39" y="25"/>
                    </a:cubicBezTo>
                    <a:cubicBezTo>
                      <a:pt x="39" y="25"/>
                      <a:pt x="39" y="25"/>
                      <a:pt x="39" y="25"/>
                    </a:cubicBezTo>
                    <a:cubicBezTo>
                      <a:pt x="39" y="25"/>
                      <a:pt x="39" y="25"/>
                      <a:pt x="39" y="25"/>
                    </a:cubicBezTo>
                    <a:cubicBezTo>
                      <a:pt x="39" y="24"/>
                      <a:pt x="39" y="24"/>
                      <a:pt x="39" y="24"/>
                    </a:cubicBezTo>
                    <a:cubicBezTo>
                      <a:pt x="39" y="24"/>
                      <a:pt x="38" y="24"/>
                      <a:pt x="38" y="24"/>
                    </a:cubicBezTo>
                    <a:cubicBezTo>
                      <a:pt x="38" y="23"/>
                      <a:pt x="38" y="23"/>
                      <a:pt x="38" y="23"/>
                    </a:cubicBezTo>
                    <a:cubicBezTo>
                      <a:pt x="37" y="21"/>
                      <a:pt x="36" y="20"/>
                      <a:pt x="36" y="19"/>
                    </a:cubicBezTo>
                    <a:cubicBezTo>
                      <a:pt x="35" y="17"/>
                      <a:pt x="34" y="15"/>
                      <a:pt x="34" y="13"/>
                    </a:cubicBezTo>
                    <a:cubicBezTo>
                      <a:pt x="34" y="12"/>
                      <a:pt x="34" y="10"/>
                      <a:pt x="35" y="9"/>
                    </a:cubicBezTo>
                    <a:cubicBezTo>
                      <a:pt x="35" y="8"/>
                      <a:pt x="36" y="8"/>
                      <a:pt x="36" y="7"/>
                    </a:cubicBezTo>
                    <a:cubicBezTo>
                      <a:pt x="36" y="7"/>
                      <a:pt x="37" y="7"/>
                      <a:pt x="37" y="7"/>
                    </a:cubicBezTo>
                    <a:cubicBezTo>
                      <a:pt x="37" y="6"/>
                      <a:pt x="38" y="5"/>
                      <a:pt x="38" y="4"/>
                    </a:cubicBezTo>
                    <a:cubicBezTo>
                      <a:pt x="38" y="3"/>
                      <a:pt x="38" y="3"/>
                      <a:pt x="38" y="3"/>
                    </a:cubicBezTo>
                    <a:cubicBezTo>
                      <a:pt x="39" y="1"/>
                      <a:pt x="39" y="1"/>
                      <a:pt x="39" y="1"/>
                    </a:cubicBezTo>
                    <a:cubicBezTo>
                      <a:pt x="39" y="1"/>
                      <a:pt x="39" y="1"/>
                      <a:pt x="39" y="1"/>
                    </a:cubicBezTo>
                    <a:cubicBezTo>
                      <a:pt x="38" y="1"/>
                      <a:pt x="37" y="1"/>
                      <a:pt x="36" y="1"/>
                    </a:cubicBezTo>
                    <a:cubicBezTo>
                      <a:pt x="34" y="1"/>
                      <a:pt x="33" y="0"/>
                      <a:pt x="32" y="0"/>
                    </a:cubicBezTo>
                    <a:cubicBezTo>
                      <a:pt x="32" y="0"/>
                      <a:pt x="29" y="0"/>
                      <a:pt x="28" y="0"/>
                    </a:cubicBezTo>
                    <a:cubicBezTo>
                      <a:pt x="28" y="0"/>
                      <a:pt x="29" y="2"/>
                      <a:pt x="29" y="2"/>
                    </a:cubicBezTo>
                    <a:cubicBezTo>
                      <a:pt x="27" y="0"/>
                      <a:pt x="25" y="1"/>
                      <a:pt x="23" y="1"/>
                    </a:cubicBezTo>
                    <a:cubicBezTo>
                      <a:pt x="22" y="1"/>
                      <a:pt x="21" y="0"/>
                      <a:pt x="21" y="1"/>
                    </a:cubicBezTo>
                    <a:cubicBezTo>
                      <a:pt x="21" y="1"/>
                      <a:pt x="21" y="2"/>
                      <a:pt x="21" y="3"/>
                    </a:cubicBezTo>
                    <a:cubicBezTo>
                      <a:pt x="18" y="2"/>
                      <a:pt x="15" y="1"/>
                      <a:pt x="13" y="1"/>
                    </a:cubicBezTo>
                    <a:cubicBezTo>
                      <a:pt x="12" y="1"/>
                      <a:pt x="10" y="0"/>
                      <a:pt x="9" y="1"/>
                    </a:cubicBezTo>
                    <a:cubicBezTo>
                      <a:pt x="9" y="1"/>
                      <a:pt x="9" y="1"/>
                      <a:pt x="9" y="1"/>
                    </a:cubicBezTo>
                    <a:lnTo>
                      <a:pt x="1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0" name="Freeform 3012">
                <a:extLst>
                  <a:ext uri="{FF2B5EF4-FFF2-40B4-BE49-F238E27FC236}">
                    <a16:creationId xmlns:a16="http://schemas.microsoft.com/office/drawing/2014/main" id="{3FC8D3D6-9823-4672-B679-50F37C85409B}"/>
                  </a:ext>
                </a:extLst>
              </p:cNvPr>
              <p:cNvSpPr>
                <a:spLocks/>
              </p:cNvSpPr>
              <p:nvPr/>
            </p:nvSpPr>
            <p:spPr bwMode="auto">
              <a:xfrm>
                <a:off x="2235" y="2637"/>
                <a:ext cx="66" cy="85"/>
              </a:xfrm>
              <a:custGeom>
                <a:avLst/>
                <a:gdLst>
                  <a:gd name="T0" fmla="*/ 4 w 28"/>
                  <a:gd name="T1" fmla="*/ 3 h 36"/>
                  <a:gd name="T2" fmla="*/ 2 w 28"/>
                  <a:gd name="T3" fmla="*/ 7 h 36"/>
                  <a:gd name="T4" fmla="*/ 1 w 28"/>
                  <a:gd name="T5" fmla="*/ 11 h 36"/>
                  <a:gd name="T6" fmla="*/ 4 w 28"/>
                  <a:gd name="T7" fmla="*/ 19 h 36"/>
                  <a:gd name="T8" fmla="*/ 5 w 28"/>
                  <a:gd name="T9" fmla="*/ 21 h 36"/>
                  <a:gd name="T10" fmla="*/ 5 w 28"/>
                  <a:gd name="T11" fmla="*/ 22 h 36"/>
                  <a:gd name="T12" fmla="*/ 5 w 28"/>
                  <a:gd name="T13" fmla="*/ 25 h 36"/>
                  <a:gd name="T14" fmla="*/ 4 w 28"/>
                  <a:gd name="T15" fmla="*/ 28 h 36"/>
                  <a:gd name="T16" fmla="*/ 4 w 28"/>
                  <a:gd name="T17" fmla="*/ 31 h 36"/>
                  <a:gd name="T18" fmla="*/ 3 w 28"/>
                  <a:gd name="T19" fmla="*/ 33 h 36"/>
                  <a:gd name="T20" fmla="*/ 1 w 28"/>
                  <a:gd name="T21" fmla="*/ 35 h 36"/>
                  <a:gd name="T22" fmla="*/ 2 w 28"/>
                  <a:gd name="T23" fmla="*/ 36 h 36"/>
                  <a:gd name="T24" fmla="*/ 3 w 28"/>
                  <a:gd name="T25" fmla="*/ 36 h 36"/>
                  <a:gd name="T26" fmla="*/ 4 w 28"/>
                  <a:gd name="T27" fmla="*/ 36 h 36"/>
                  <a:gd name="T28" fmla="*/ 11 w 28"/>
                  <a:gd name="T29" fmla="*/ 34 h 36"/>
                  <a:gd name="T30" fmla="*/ 11 w 28"/>
                  <a:gd name="T31" fmla="*/ 34 h 36"/>
                  <a:gd name="T32" fmla="*/ 14 w 28"/>
                  <a:gd name="T33" fmla="*/ 36 h 36"/>
                  <a:gd name="T34" fmla="*/ 15 w 28"/>
                  <a:gd name="T35" fmla="*/ 36 h 36"/>
                  <a:gd name="T36" fmla="*/ 16 w 28"/>
                  <a:gd name="T37" fmla="*/ 35 h 36"/>
                  <a:gd name="T38" fmla="*/ 18 w 28"/>
                  <a:gd name="T39" fmla="*/ 33 h 36"/>
                  <a:gd name="T40" fmla="*/ 18 w 28"/>
                  <a:gd name="T41" fmla="*/ 32 h 36"/>
                  <a:gd name="T42" fmla="*/ 17 w 28"/>
                  <a:gd name="T43" fmla="*/ 30 h 36"/>
                  <a:gd name="T44" fmla="*/ 19 w 28"/>
                  <a:gd name="T45" fmla="*/ 30 h 36"/>
                  <a:gd name="T46" fmla="*/ 20 w 28"/>
                  <a:gd name="T47" fmla="*/ 28 h 36"/>
                  <a:gd name="T48" fmla="*/ 21 w 28"/>
                  <a:gd name="T49" fmla="*/ 26 h 36"/>
                  <a:gd name="T50" fmla="*/ 27 w 28"/>
                  <a:gd name="T51" fmla="*/ 18 h 36"/>
                  <a:gd name="T52" fmla="*/ 28 w 28"/>
                  <a:gd name="T53" fmla="*/ 16 h 36"/>
                  <a:gd name="T54" fmla="*/ 26 w 28"/>
                  <a:gd name="T55" fmla="*/ 12 h 36"/>
                  <a:gd name="T56" fmla="*/ 24 w 28"/>
                  <a:gd name="T57" fmla="*/ 15 h 36"/>
                  <a:gd name="T58" fmla="*/ 24 w 28"/>
                  <a:gd name="T59" fmla="*/ 12 h 36"/>
                  <a:gd name="T60" fmla="*/ 21 w 28"/>
                  <a:gd name="T61" fmla="*/ 9 h 36"/>
                  <a:gd name="T62" fmla="*/ 11 w 28"/>
                  <a:gd name="T63" fmla="*/ 3 h 36"/>
                  <a:gd name="T64" fmla="*/ 5 w 28"/>
                  <a:gd name="T6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36">
                    <a:moveTo>
                      <a:pt x="5" y="2"/>
                    </a:moveTo>
                    <a:cubicBezTo>
                      <a:pt x="4" y="3"/>
                      <a:pt x="4" y="3"/>
                      <a:pt x="4" y="3"/>
                    </a:cubicBezTo>
                    <a:cubicBezTo>
                      <a:pt x="4" y="4"/>
                      <a:pt x="4" y="5"/>
                      <a:pt x="3" y="6"/>
                    </a:cubicBezTo>
                    <a:cubicBezTo>
                      <a:pt x="2" y="7"/>
                      <a:pt x="2" y="7"/>
                      <a:pt x="2" y="7"/>
                    </a:cubicBezTo>
                    <a:cubicBezTo>
                      <a:pt x="2" y="7"/>
                      <a:pt x="1" y="8"/>
                      <a:pt x="1" y="8"/>
                    </a:cubicBezTo>
                    <a:cubicBezTo>
                      <a:pt x="1" y="9"/>
                      <a:pt x="1" y="10"/>
                      <a:pt x="1" y="11"/>
                    </a:cubicBezTo>
                    <a:cubicBezTo>
                      <a:pt x="1" y="13"/>
                      <a:pt x="1" y="14"/>
                      <a:pt x="2" y="16"/>
                    </a:cubicBezTo>
                    <a:cubicBezTo>
                      <a:pt x="3" y="17"/>
                      <a:pt x="3" y="18"/>
                      <a:pt x="4" y="19"/>
                    </a:cubicBezTo>
                    <a:cubicBezTo>
                      <a:pt x="4" y="20"/>
                      <a:pt x="4" y="20"/>
                      <a:pt x="4" y="20"/>
                    </a:cubicBezTo>
                    <a:cubicBezTo>
                      <a:pt x="4" y="21"/>
                      <a:pt x="5" y="21"/>
                      <a:pt x="5" y="21"/>
                    </a:cubicBezTo>
                    <a:cubicBezTo>
                      <a:pt x="5" y="21"/>
                      <a:pt x="5" y="21"/>
                      <a:pt x="5" y="21"/>
                    </a:cubicBezTo>
                    <a:cubicBezTo>
                      <a:pt x="5" y="21"/>
                      <a:pt x="5" y="21"/>
                      <a:pt x="5" y="22"/>
                    </a:cubicBezTo>
                    <a:cubicBezTo>
                      <a:pt x="5" y="22"/>
                      <a:pt x="5" y="22"/>
                      <a:pt x="5" y="23"/>
                    </a:cubicBezTo>
                    <a:cubicBezTo>
                      <a:pt x="6" y="23"/>
                      <a:pt x="6" y="24"/>
                      <a:pt x="5" y="25"/>
                    </a:cubicBezTo>
                    <a:cubicBezTo>
                      <a:pt x="5" y="26"/>
                      <a:pt x="4" y="26"/>
                      <a:pt x="4" y="27"/>
                    </a:cubicBezTo>
                    <a:cubicBezTo>
                      <a:pt x="4" y="28"/>
                      <a:pt x="4" y="28"/>
                      <a:pt x="4" y="28"/>
                    </a:cubicBezTo>
                    <a:cubicBezTo>
                      <a:pt x="4" y="28"/>
                      <a:pt x="4" y="28"/>
                      <a:pt x="4" y="28"/>
                    </a:cubicBezTo>
                    <a:cubicBezTo>
                      <a:pt x="4" y="29"/>
                      <a:pt x="4" y="30"/>
                      <a:pt x="4" y="31"/>
                    </a:cubicBezTo>
                    <a:cubicBezTo>
                      <a:pt x="4" y="31"/>
                      <a:pt x="4" y="31"/>
                      <a:pt x="4" y="31"/>
                    </a:cubicBezTo>
                    <a:cubicBezTo>
                      <a:pt x="3" y="32"/>
                      <a:pt x="3" y="32"/>
                      <a:pt x="3" y="33"/>
                    </a:cubicBezTo>
                    <a:cubicBezTo>
                      <a:pt x="2" y="33"/>
                      <a:pt x="2" y="33"/>
                      <a:pt x="2" y="34"/>
                    </a:cubicBezTo>
                    <a:cubicBezTo>
                      <a:pt x="1" y="34"/>
                      <a:pt x="1" y="35"/>
                      <a:pt x="1" y="35"/>
                    </a:cubicBezTo>
                    <a:cubicBezTo>
                      <a:pt x="0" y="35"/>
                      <a:pt x="0" y="35"/>
                      <a:pt x="0" y="35"/>
                    </a:cubicBezTo>
                    <a:cubicBezTo>
                      <a:pt x="1" y="35"/>
                      <a:pt x="2" y="36"/>
                      <a:pt x="2" y="36"/>
                    </a:cubicBezTo>
                    <a:cubicBezTo>
                      <a:pt x="3" y="36"/>
                      <a:pt x="3" y="36"/>
                      <a:pt x="3" y="36"/>
                    </a:cubicBezTo>
                    <a:cubicBezTo>
                      <a:pt x="3" y="36"/>
                      <a:pt x="3" y="36"/>
                      <a:pt x="3" y="36"/>
                    </a:cubicBezTo>
                    <a:cubicBezTo>
                      <a:pt x="3" y="36"/>
                      <a:pt x="3" y="36"/>
                      <a:pt x="3" y="36"/>
                    </a:cubicBezTo>
                    <a:cubicBezTo>
                      <a:pt x="4" y="36"/>
                      <a:pt x="4" y="36"/>
                      <a:pt x="4" y="36"/>
                    </a:cubicBezTo>
                    <a:cubicBezTo>
                      <a:pt x="5" y="35"/>
                      <a:pt x="7" y="35"/>
                      <a:pt x="9" y="35"/>
                    </a:cubicBezTo>
                    <a:cubicBezTo>
                      <a:pt x="9" y="34"/>
                      <a:pt x="10" y="34"/>
                      <a:pt x="11" y="34"/>
                    </a:cubicBezTo>
                    <a:cubicBezTo>
                      <a:pt x="11" y="34"/>
                      <a:pt x="11" y="34"/>
                      <a:pt x="11" y="34"/>
                    </a:cubicBezTo>
                    <a:cubicBezTo>
                      <a:pt x="11" y="34"/>
                      <a:pt x="11" y="34"/>
                      <a:pt x="11" y="34"/>
                    </a:cubicBezTo>
                    <a:cubicBezTo>
                      <a:pt x="12" y="34"/>
                      <a:pt x="13" y="35"/>
                      <a:pt x="13" y="36"/>
                    </a:cubicBezTo>
                    <a:cubicBezTo>
                      <a:pt x="14" y="36"/>
                      <a:pt x="14" y="36"/>
                      <a:pt x="14" y="36"/>
                    </a:cubicBezTo>
                    <a:cubicBezTo>
                      <a:pt x="14" y="36"/>
                      <a:pt x="15" y="36"/>
                      <a:pt x="15" y="36"/>
                    </a:cubicBezTo>
                    <a:cubicBezTo>
                      <a:pt x="15" y="36"/>
                      <a:pt x="15" y="36"/>
                      <a:pt x="15" y="36"/>
                    </a:cubicBezTo>
                    <a:cubicBezTo>
                      <a:pt x="15" y="36"/>
                      <a:pt x="15" y="35"/>
                      <a:pt x="16" y="35"/>
                    </a:cubicBezTo>
                    <a:cubicBezTo>
                      <a:pt x="16" y="35"/>
                      <a:pt x="16" y="35"/>
                      <a:pt x="16" y="35"/>
                    </a:cubicBezTo>
                    <a:cubicBezTo>
                      <a:pt x="16" y="35"/>
                      <a:pt x="17" y="34"/>
                      <a:pt x="17" y="34"/>
                    </a:cubicBezTo>
                    <a:cubicBezTo>
                      <a:pt x="18" y="33"/>
                      <a:pt x="18" y="33"/>
                      <a:pt x="18" y="33"/>
                    </a:cubicBezTo>
                    <a:cubicBezTo>
                      <a:pt x="18" y="33"/>
                      <a:pt x="18" y="33"/>
                      <a:pt x="18" y="32"/>
                    </a:cubicBezTo>
                    <a:cubicBezTo>
                      <a:pt x="18" y="32"/>
                      <a:pt x="18" y="32"/>
                      <a:pt x="18" y="32"/>
                    </a:cubicBezTo>
                    <a:cubicBezTo>
                      <a:pt x="18" y="32"/>
                      <a:pt x="18" y="31"/>
                      <a:pt x="18" y="31"/>
                    </a:cubicBezTo>
                    <a:cubicBezTo>
                      <a:pt x="17" y="30"/>
                      <a:pt x="17" y="30"/>
                      <a:pt x="17" y="30"/>
                    </a:cubicBezTo>
                    <a:cubicBezTo>
                      <a:pt x="19" y="30"/>
                      <a:pt x="19" y="30"/>
                      <a:pt x="19" y="30"/>
                    </a:cubicBezTo>
                    <a:cubicBezTo>
                      <a:pt x="19" y="30"/>
                      <a:pt x="19" y="30"/>
                      <a:pt x="19" y="30"/>
                    </a:cubicBezTo>
                    <a:cubicBezTo>
                      <a:pt x="19" y="30"/>
                      <a:pt x="19" y="29"/>
                      <a:pt x="20" y="28"/>
                    </a:cubicBezTo>
                    <a:cubicBezTo>
                      <a:pt x="20" y="28"/>
                      <a:pt x="20" y="28"/>
                      <a:pt x="20" y="28"/>
                    </a:cubicBezTo>
                    <a:cubicBezTo>
                      <a:pt x="20" y="28"/>
                      <a:pt x="20" y="27"/>
                      <a:pt x="21" y="26"/>
                    </a:cubicBezTo>
                    <a:cubicBezTo>
                      <a:pt x="21" y="26"/>
                      <a:pt x="21" y="26"/>
                      <a:pt x="21" y="26"/>
                    </a:cubicBezTo>
                    <a:cubicBezTo>
                      <a:pt x="22" y="25"/>
                      <a:pt x="23" y="23"/>
                      <a:pt x="24" y="22"/>
                    </a:cubicBezTo>
                    <a:cubicBezTo>
                      <a:pt x="27" y="18"/>
                      <a:pt x="27" y="18"/>
                      <a:pt x="27" y="18"/>
                    </a:cubicBezTo>
                    <a:cubicBezTo>
                      <a:pt x="27" y="16"/>
                      <a:pt x="27" y="16"/>
                      <a:pt x="27" y="16"/>
                    </a:cubicBezTo>
                    <a:cubicBezTo>
                      <a:pt x="28" y="16"/>
                      <a:pt x="28" y="16"/>
                      <a:pt x="28" y="16"/>
                    </a:cubicBezTo>
                    <a:cubicBezTo>
                      <a:pt x="28" y="15"/>
                      <a:pt x="28" y="14"/>
                      <a:pt x="28" y="14"/>
                    </a:cubicBezTo>
                    <a:cubicBezTo>
                      <a:pt x="27" y="13"/>
                      <a:pt x="26" y="12"/>
                      <a:pt x="26" y="12"/>
                    </a:cubicBezTo>
                    <a:cubicBezTo>
                      <a:pt x="25" y="13"/>
                      <a:pt x="26" y="13"/>
                      <a:pt x="25" y="14"/>
                    </a:cubicBezTo>
                    <a:cubicBezTo>
                      <a:pt x="25" y="14"/>
                      <a:pt x="25" y="15"/>
                      <a:pt x="24" y="15"/>
                    </a:cubicBezTo>
                    <a:cubicBezTo>
                      <a:pt x="25" y="15"/>
                      <a:pt x="25" y="14"/>
                      <a:pt x="25" y="14"/>
                    </a:cubicBezTo>
                    <a:cubicBezTo>
                      <a:pt x="25" y="13"/>
                      <a:pt x="25" y="13"/>
                      <a:pt x="24" y="12"/>
                    </a:cubicBezTo>
                    <a:cubicBezTo>
                      <a:pt x="23" y="10"/>
                      <a:pt x="23" y="10"/>
                      <a:pt x="21" y="11"/>
                    </a:cubicBezTo>
                    <a:cubicBezTo>
                      <a:pt x="22" y="10"/>
                      <a:pt x="22" y="10"/>
                      <a:pt x="21" y="9"/>
                    </a:cubicBezTo>
                    <a:cubicBezTo>
                      <a:pt x="21" y="9"/>
                      <a:pt x="21" y="9"/>
                      <a:pt x="21" y="9"/>
                    </a:cubicBezTo>
                    <a:cubicBezTo>
                      <a:pt x="19" y="6"/>
                      <a:pt x="15" y="4"/>
                      <a:pt x="11" y="3"/>
                    </a:cubicBezTo>
                    <a:cubicBezTo>
                      <a:pt x="5" y="0"/>
                      <a:pt x="5" y="0"/>
                      <a:pt x="5" y="0"/>
                    </a:cubicBez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1" name="Freeform 3013">
                <a:extLst>
                  <a:ext uri="{FF2B5EF4-FFF2-40B4-BE49-F238E27FC236}">
                    <a16:creationId xmlns:a16="http://schemas.microsoft.com/office/drawing/2014/main" id="{52CE0542-EAE5-4784-90FD-8F9413930020}"/>
                  </a:ext>
                </a:extLst>
              </p:cNvPr>
              <p:cNvSpPr>
                <a:spLocks/>
              </p:cNvSpPr>
              <p:nvPr/>
            </p:nvSpPr>
            <p:spPr bwMode="auto">
              <a:xfrm>
                <a:off x="2138" y="3529"/>
                <a:ext cx="123" cy="130"/>
              </a:xfrm>
              <a:custGeom>
                <a:avLst/>
                <a:gdLst>
                  <a:gd name="T0" fmla="*/ 51 w 52"/>
                  <a:gd name="T1" fmla="*/ 41 h 55"/>
                  <a:gd name="T2" fmla="*/ 49 w 52"/>
                  <a:gd name="T3" fmla="*/ 40 h 55"/>
                  <a:gd name="T4" fmla="*/ 49 w 52"/>
                  <a:gd name="T5" fmla="*/ 33 h 55"/>
                  <a:gd name="T6" fmla="*/ 52 w 52"/>
                  <a:gd name="T7" fmla="*/ 29 h 55"/>
                  <a:gd name="T8" fmla="*/ 47 w 52"/>
                  <a:gd name="T9" fmla="*/ 24 h 55"/>
                  <a:gd name="T10" fmla="*/ 45 w 52"/>
                  <a:gd name="T11" fmla="*/ 21 h 55"/>
                  <a:gd name="T12" fmla="*/ 43 w 52"/>
                  <a:gd name="T13" fmla="*/ 20 h 55"/>
                  <a:gd name="T14" fmla="*/ 39 w 52"/>
                  <a:gd name="T15" fmla="*/ 17 h 55"/>
                  <a:gd name="T16" fmla="*/ 38 w 52"/>
                  <a:gd name="T17" fmla="*/ 16 h 55"/>
                  <a:gd name="T18" fmla="*/ 32 w 52"/>
                  <a:gd name="T19" fmla="*/ 13 h 55"/>
                  <a:gd name="T20" fmla="*/ 29 w 52"/>
                  <a:gd name="T21" fmla="*/ 10 h 55"/>
                  <a:gd name="T22" fmla="*/ 29 w 52"/>
                  <a:gd name="T23" fmla="*/ 10 h 55"/>
                  <a:gd name="T24" fmla="*/ 29 w 52"/>
                  <a:gd name="T25" fmla="*/ 10 h 55"/>
                  <a:gd name="T26" fmla="*/ 29 w 52"/>
                  <a:gd name="T27" fmla="*/ 10 h 55"/>
                  <a:gd name="T28" fmla="*/ 29 w 52"/>
                  <a:gd name="T29" fmla="*/ 10 h 55"/>
                  <a:gd name="T30" fmla="*/ 28 w 52"/>
                  <a:gd name="T31" fmla="*/ 11 h 55"/>
                  <a:gd name="T32" fmla="*/ 27 w 52"/>
                  <a:gd name="T33" fmla="*/ 11 h 55"/>
                  <a:gd name="T34" fmla="*/ 25 w 52"/>
                  <a:gd name="T35" fmla="*/ 12 h 55"/>
                  <a:gd name="T36" fmla="*/ 24 w 52"/>
                  <a:gd name="T37" fmla="*/ 10 h 55"/>
                  <a:gd name="T38" fmla="*/ 23 w 52"/>
                  <a:gd name="T39" fmla="*/ 7 h 55"/>
                  <a:gd name="T40" fmla="*/ 19 w 52"/>
                  <a:gd name="T41" fmla="*/ 3 h 55"/>
                  <a:gd name="T42" fmla="*/ 15 w 52"/>
                  <a:gd name="T43" fmla="*/ 1 h 55"/>
                  <a:gd name="T44" fmla="*/ 13 w 52"/>
                  <a:gd name="T45" fmla="*/ 2 h 55"/>
                  <a:gd name="T46" fmla="*/ 9 w 52"/>
                  <a:gd name="T47" fmla="*/ 2 h 55"/>
                  <a:gd name="T48" fmla="*/ 8 w 52"/>
                  <a:gd name="T49" fmla="*/ 2 h 55"/>
                  <a:gd name="T50" fmla="*/ 7 w 52"/>
                  <a:gd name="T51" fmla="*/ 5 h 55"/>
                  <a:gd name="T52" fmla="*/ 8 w 52"/>
                  <a:gd name="T53" fmla="*/ 7 h 55"/>
                  <a:gd name="T54" fmla="*/ 7 w 52"/>
                  <a:gd name="T55" fmla="*/ 10 h 55"/>
                  <a:gd name="T56" fmla="*/ 6 w 52"/>
                  <a:gd name="T57" fmla="*/ 14 h 55"/>
                  <a:gd name="T58" fmla="*/ 5 w 52"/>
                  <a:gd name="T59" fmla="*/ 16 h 55"/>
                  <a:gd name="T60" fmla="*/ 4 w 52"/>
                  <a:gd name="T61" fmla="*/ 20 h 55"/>
                  <a:gd name="T62" fmla="*/ 4 w 52"/>
                  <a:gd name="T63" fmla="*/ 20 h 55"/>
                  <a:gd name="T64" fmla="*/ 4 w 52"/>
                  <a:gd name="T65" fmla="*/ 23 h 55"/>
                  <a:gd name="T66" fmla="*/ 4 w 52"/>
                  <a:gd name="T67" fmla="*/ 24 h 55"/>
                  <a:gd name="T68" fmla="*/ 4 w 52"/>
                  <a:gd name="T69" fmla="*/ 28 h 55"/>
                  <a:gd name="T70" fmla="*/ 5 w 52"/>
                  <a:gd name="T71" fmla="*/ 34 h 55"/>
                  <a:gd name="T72" fmla="*/ 3 w 52"/>
                  <a:gd name="T73" fmla="*/ 35 h 55"/>
                  <a:gd name="T74" fmla="*/ 1 w 52"/>
                  <a:gd name="T75" fmla="*/ 41 h 55"/>
                  <a:gd name="T76" fmla="*/ 0 w 52"/>
                  <a:gd name="T77" fmla="*/ 42 h 55"/>
                  <a:gd name="T78" fmla="*/ 4 w 52"/>
                  <a:gd name="T79" fmla="*/ 46 h 55"/>
                  <a:gd name="T80" fmla="*/ 10 w 52"/>
                  <a:gd name="T81" fmla="*/ 49 h 55"/>
                  <a:gd name="T82" fmla="*/ 23 w 52"/>
                  <a:gd name="T83" fmla="*/ 53 h 55"/>
                  <a:gd name="T84" fmla="*/ 31 w 52"/>
                  <a:gd name="T85" fmla="*/ 53 h 55"/>
                  <a:gd name="T86" fmla="*/ 40 w 52"/>
                  <a:gd name="T87" fmla="*/ 53 h 55"/>
                  <a:gd name="T88" fmla="*/ 42 w 52"/>
                  <a:gd name="T89" fmla="*/ 50 h 55"/>
                  <a:gd name="T90" fmla="*/ 48 w 52"/>
                  <a:gd name="T91" fmla="*/ 48 h 55"/>
                  <a:gd name="T92" fmla="*/ 50 w 52"/>
                  <a:gd name="T93"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 h="55">
                    <a:moveTo>
                      <a:pt x="51" y="42"/>
                    </a:moveTo>
                    <a:cubicBezTo>
                      <a:pt x="51" y="41"/>
                      <a:pt x="51" y="41"/>
                      <a:pt x="51" y="41"/>
                    </a:cubicBezTo>
                    <a:cubicBezTo>
                      <a:pt x="50" y="41"/>
                      <a:pt x="50" y="41"/>
                      <a:pt x="50" y="40"/>
                    </a:cubicBezTo>
                    <a:cubicBezTo>
                      <a:pt x="50" y="40"/>
                      <a:pt x="49" y="40"/>
                      <a:pt x="49" y="40"/>
                    </a:cubicBezTo>
                    <a:cubicBezTo>
                      <a:pt x="48" y="39"/>
                      <a:pt x="49" y="34"/>
                      <a:pt x="49" y="33"/>
                    </a:cubicBezTo>
                    <a:cubicBezTo>
                      <a:pt x="49" y="33"/>
                      <a:pt x="49" y="33"/>
                      <a:pt x="49" y="33"/>
                    </a:cubicBezTo>
                    <a:cubicBezTo>
                      <a:pt x="50" y="31"/>
                      <a:pt x="51" y="30"/>
                      <a:pt x="51" y="29"/>
                    </a:cubicBezTo>
                    <a:cubicBezTo>
                      <a:pt x="52" y="29"/>
                      <a:pt x="52" y="29"/>
                      <a:pt x="52" y="29"/>
                    </a:cubicBezTo>
                    <a:cubicBezTo>
                      <a:pt x="50" y="27"/>
                      <a:pt x="49" y="27"/>
                      <a:pt x="48" y="25"/>
                    </a:cubicBezTo>
                    <a:cubicBezTo>
                      <a:pt x="47" y="24"/>
                      <a:pt x="47" y="24"/>
                      <a:pt x="47" y="24"/>
                    </a:cubicBezTo>
                    <a:cubicBezTo>
                      <a:pt x="47" y="23"/>
                      <a:pt x="46" y="23"/>
                      <a:pt x="46" y="22"/>
                    </a:cubicBezTo>
                    <a:cubicBezTo>
                      <a:pt x="45" y="21"/>
                      <a:pt x="45" y="21"/>
                      <a:pt x="45" y="21"/>
                    </a:cubicBezTo>
                    <a:cubicBezTo>
                      <a:pt x="45" y="21"/>
                      <a:pt x="44" y="20"/>
                      <a:pt x="44" y="20"/>
                    </a:cubicBezTo>
                    <a:cubicBezTo>
                      <a:pt x="43" y="20"/>
                      <a:pt x="43" y="20"/>
                      <a:pt x="43" y="20"/>
                    </a:cubicBezTo>
                    <a:cubicBezTo>
                      <a:pt x="43" y="20"/>
                      <a:pt x="42" y="19"/>
                      <a:pt x="42" y="19"/>
                    </a:cubicBezTo>
                    <a:cubicBezTo>
                      <a:pt x="41" y="19"/>
                      <a:pt x="40" y="18"/>
                      <a:pt x="39" y="17"/>
                    </a:cubicBezTo>
                    <a:cubicBezTo>
                      <a:pt x="39" y="17"/>
                      <a:pt x="39" y="17"/>
                      <a:pt x="39" y="17"/>
                    </a:cubicBezTo>
                    <a:cubicBezTo>
                      <a:pt x="39" y="16"/>
                      <a:pt x="38" y="16"/>
                      <a:pt x="38" y="16"/>
                    </a:cubicBezTo>
                    <a:cubicBezTo>
                      <a:pt x="38" y="15"/>
                      <a:pt x="37" y="15"/>
                      <a:pt x="36" y="15"/>
                    </a:cubicBezTo>
                    <a:cubicBezTo>
                      <a:pt x="34" y="14"/>
                      <a:pt x="33" y="14"/>
                      <a:pt x="32" y="13"/>
                    </a:cubicBezTo>
                    <a:cubicBezTo>
                      <a:pt x="31" y="13"/>
                      <a:pt x="31" y="12"/>
                      <a:pt x="30" y="11"/>
                    </a:cubicBezTo>
                    <a:cubicBezTo>
                      <a:pt x="30" y="11"/>
                      <a:pt x="30" y="10"/>
                      <a:pt x="29" y="10"/>
                    </a:cubicBezTo>
                    <a:cubicBezTo>
                      <a:pt x="29" y="10"/>
                      <a:pt x="29" y="10"/>
                      <a:pt x="29" y="10"/>
                    </a:cubicBezTo>
                    <a:cubicBezTo>
                      <a:pt x="29" y="10"/>
                      <a:pt x="29" y="10"/>
                      <a:pt x="29" y="10"/>
                    </a:cubicBezTo>
                    <a:cubicBezTo>
                      <a:pt x="29" y="10"/>
                      <a:pt x="29" y="10"/>
                      <a:pt x="29" y="10"/>
                    </a:cubicBezTo>
                    <a:cubicBezTo>
                      <a:pt x="29" y="10"/>
                      <a:pt x="29" y="10"/>
                      <a:pt x="29" y="10"/>
                    </a:cubicBezTo>
                    <a:cubicBezTo>
                      <a:pt x="29" y="10"/>
                      <a:pt x="29" y="10"/>
                      <a:pt x="29" y="10"/>
                    </a:cubicBezTo>
                    <a:cubicBezTo>
                      <a:pt x="29" y="10"/>
                      <a:pt x="29" y="10"/>
                      <a:pt x="29" y="10"/>
                    </a:cubicBezTo>
                    <a:cubicBezTo>
                      <a:pt x="29" y="10"/>
                      <a:pt x="29" y="10"/>
                      <a:pt x="28" y="10"/>
                    </a:cubicBezTo>
                    <a:cubicBezTo>
                      <a:pt x="29" y="10"/>
                      <a:pt x="29" y="10"/>
                      <a:pt x="29" y="10"/>
                    </a:cubicBezTo>
                    <a:cubicBezTo>
                      <a:pt x="28" y="10"/>
                      <a:pt x="28" y="10"/>
                      <a:pt x="28" y="10"/>
                    </a:cubicBezTo>
                    <a:cubicBezTo>
                      <a:pt x="28" y="11"/>
                      <a:pt x="28" y="11"/>
                      <a:pt x="28" y="11"/>
                    </a:cubicBezTo>
                    <a:cubicBezTo>
                      <a:pt x="28" y="11"/>
                      <a:pt x="28" y="11"/>
                      <a:pt x="28" y="11"/>
                    </a:cubicBezTo>
                    <a:cubicBezTo>
                      <a:pt x="27" y="11"/>
                      <a:pt x="27" y="11"/>
                      <a:pt x="27" y="11"/>
                    </a:cubicBezTo>
                    <a:cubicBezTo>
                      <a:pt x="27" y="11"/>
                      <a:pt x="27" y="11"/>
                      <a:pt x="27" y="11"/>
                    </a:cubicBezTo>
                    <a:cubicBezTo>
                      <a:pt x="26" y="11"/>
                      <a:pt x="26" y="11"/>
                      <a:pt x="25" y="12"/>
                    </a:cubicBezTo>
                    <a:cubicBezTo>
                      <a:pt x="23" y="12"/>
                      <a:pt x="23" y="12"/>
                      <a:pt x="23" y="12"/>
                    </a:cubicBezTo>
                    <a:cubicBezTo>
                      <a:pt x="24" y="10"/>
                      <a:pt x="24" y="10"/>
                      <a:pt x="24" y="10"/>
                    </a:cubicBezTo>
                    <a:cubicBezTo>
                      <a:pt x="24" y="10"/>
                      <a:pt x="24" y="9"/>
                      <a:pt x="24" y="9"/>
                    </a:cubicBezTo>
                    <a:cubicBezTo>
                      <a:pt x="24" y="8"/>
                      <a:pt x="24" y="7"/>
                      <a:pt x="23" y="7"/>
                    </a:cubicBezTo>
                    <a:cubicBezTo>
                      <a:pt x="22" y="5"/>
                      <a:pt x="22" y="5"/>
                      <a:pt x="22" y="5"/>
                    </a:cubicBezTo>
                    <a:cubicBezTo>
                      <a:pt x="21" y="5"/>
                      <a:pt x="20" y="4"/>
                      <a:pt x="19" y="3"/>
                    </a:cubicBezTo>
                    <a:cubicBezTo>
                      <a:pt x="18" y="2"/>
                      <a:pt x="18" y="2"/>
                      <a:pt x="17" y="1"/>
                    </a:cubicBezTo>
                    <a:cubicBezTo>
                      <a:pt x="16" y="1"/>
                      <a:pt x="15" y="0"/>
                      <a:pt x="15" y="1"/>
                    </a:cubicBezTo>
                    <a:cubicBezTo>
                      <a:pt x="15" y="1"/>
                      <a:pt x="15" y="1"/>
                      <a:pt x="14" y="1"/>
                    </a:cubicBezTo>
                    <a:cubicBezTo>
                      <a:pt x="14" y="1"/>
                      <a:pt x="14" y="2"/>
                      <a:pt x="13" y="2"/>
                    </a:cubicBezTo>
                    <a:cubicBezTo>
                      <a:pt x="12" y="3"/>
                      <a:pt x="11" y="2"/>
                      <a:pt x="9" y="2"/>
                    </a:cubicBezTo>
                    <a:cubicBezTo>
                      <a:pt x="9" y="2"/>
                      <a:pt x="9" y="2"/>
                      <a:pt x="9" y="2"/>
                    </a:cubicBezTo>
                    <a:cubicBezTo>
                      <a:pt x="9" y="2"/>
                      <a:pt x="9" y="2"/>
                      <a:pt x="9" y="2"/>
                    </a:cubicBezTo>
                    <a:cubicBezTo>
                      <a:pt x="9" y="2"/>
                      <a:pt x="9" y="2"/>
                      <a:pt x="8" y="2"/>
                    </a:cubicBezTo>
                    <a:cubicBezTo>
                      <a:pt x="8" y="2"/>
                      <a:pt x="8" y="3"/>
                      <a:pt x="8" y="3"/>
                    </a:cubicBezTo>
                    <a:cubicBezTo>
                      <a:pt x="7" y="3"/>
                      <a:pt x="7" y="4"/>
                      <a:pt x="7" y="5"/>
                    </a:cubicBezTo>
                    <a:cubicBezTo>
                      <a:pt x="7" y="5"/>
                      <a:pt x="7" y="5"/>
                      <a:pt x="7" y="5"/>
                    </a:cubicBezTo>
                    <a:cubicBezTo>
                      <a:pt x="7" y="6"/>
                      <a:pt x="7" y="6"/>
                      <a:pt x="8" y="7"/>
                    </a:cubicBezTo>
                    <a:cubicBezTo>
                      <a:pt x="8" y="7"/>
                      <a:pt x="8" y="8"/>
                      <a:pt x="8" y="8"/>
                    </a:cubicBezTo>
                    <a:cubicBezTo>
                      <a:pt x="7" y="9"/>
                      <a:pt x="7" y="9"/>
                      <a:pt x="7" y="10"/>
                    </a:cubicBezTo>
                    <a:cubicBezTo>
                      <a:pt x="7" y="11"/>
                      <a:pt x="7" y="12"/>
                      <a:pt x="6" y="13"/>
                    </a:cubicBezTo>
                    <a:cubicBezTo>
                      <a:pt x="6" y="14"/>
                      <a:pt x="6" y="14"/>
                      <a:pt x="6" y="14"/>
                    </a:cubicBezTo>
                    <a:cubicBezTo>
                      <a:pt x="6" y="14"/>
                      <a:pt x="6" y="14"/>
                      <a:pt x="6" y="14"/>
                    </a:cubicBezTo>
                    <a:cubicBezTo>
                      <a:pt x="6" y="15"/>
                      <a:pt x="5" y="16"/>
                      <a:pt x="5" y="16"/>
                    </a:cubicBezTo>
                    <a:cubicBezTo>
                      <a:pt x="6" y="17"/>
                      <a:pt x="6" y="18"/>
                      <a:pt x="5" y="19"/>
                    </a:cubicBezTo>
                    <a:cubicBezTo>
                      <a:pt x="5" y="19"/>
                      <a:pt x="4" y="20"/>
                      <a:pt x="4" y="20"/>
                    </a:cubicBezTo>
                    <a:cubicBezTo>
                      <a:pt x="4" y="20"/>
                      <a:pt x="4" y="20"/>
                      <a:pt x="4" y="20"/>
                    </a:cubicBezTo>
                    <a:cubicBezTo>
                      <a:pt x="4" y="20"/>
                      <a:pt x="4" y="20"/>
                      <a:pt x="4" y="20"/>
                    </a:cubicBezTo>
                    <a:cubicBezTo>
                      <a:pt x="4" y="21"/>
                      <a:pt x="4" y="21"/>
                      <a:pt x="4" y="21"/>
                    </a:cubicBezTo>
                    <a:cubicBezTo>
                      <a:pt x="4" y="22"/>
                      <a:pt x="4" y="23"/>
                      <a:pt x="4" y="23"/>
                    </a:cubicBezTo>
                    <a:cubicBezTo>
                      <a:pt x="4" y="23"/>
                      <a:pt x="4" y="23"/>
                      <a:pt x="4" y="23"/>
                    </a:cubicBezTo>
                    <a:cubicBezTo>
                      <a:pt x="4" y="24"/>
                      <a:pt x="4" y="24"/>
                      <a:pt x="4" y="24"/>
                    </a:cubicBezTo>
                    <a:cubicBezTo>
                      <a:pt x="4" y="26"/>
                      <a:pt x="4" y="27"/>
                      <a:pt x="4" y="28"/>
                    </a:cubicBezTo>
                    <a:cubicBezTo>
                      <a:pt x="4" y="28"/>
                      <a:pt x="4" y="28"/>
                      <a:pt x="4" y="28"/>
                    </a:cubicBezTo>
                    <a:cubicBezTo>
                      <a:pt x="5" y="29"/>
                      <a:pt x="5" y="29"/>
                      <a:pt x="5" y="29"/>
                    </a:cubicBezTo>
                    <a:cubicBezTo>
                      <a:pt x="5" y="30"/>
                      <a:pt x="6" y="32"/>
                      <a:pt x="5" y="34"/>
                    </a:cubicBezTo>
                    <a:cubicBezTo>
                      <a:pt x="4" y="34"/>
                      <a:pt x="4" y="34"/>
                      <a:pt x="3" y="34"/>
                    </a:cubicBezTo>
                    <a:cubicBezTo>
                      <a:pt x="3" y="34"/>
                      <a:pt x="3" y="35"/>
                      <a:pt x="3" y="35"/>
                    </a:cubicBezTo>
                    <a:cubicBezTo>
                      <a:pt x="2" y="36"/>
                      <a:pt x="2" y="37"/>
                      <a:pt x="2" y="37"/>
                    </a:cubicBezTo>
                    <a:cubicBezTo>
                      <a:pt x="2" y="38"/>
                      <a:pt x="1" y="40"/>
                      <a:pt x="1" y="41"/>
                    </a:cubicBezTo>
                    <a:cubicBezTo>
                      <a:pt x="1" y="42"/>
                      <a:pt x="1" y="42"/>
                      <a:pt x="1" y="42"/>
                    </a:cubicBezTo>
                    <a:cubicBezTo>
                      <a:pt x="0" y="42"/>
                      <a:pt x="0" y="42"/>
                      <a:pt x="0" y="42"/>
                    </a:cubicBezTo>
                    <a:cubicBezTo>
                      <a:pt x="0" y="42"/>
                      <a:pt x="0" y="42"/>
                      <a:pt x="0" y="42"/>
                    </a:cubicBezTo>
                    <a:cubicBezTo>
                      <a:pt x="1" y="43"/>
                      <a:pt x="3" y="45"/>
                      <a:pt x="4" y="46"/>
                    </a:cubicBezTo>
                    <a:cubicBezTo>
                      <a:pt x="4" y="47"/>
                      <a:pt x="5" y="48"/>
                      <a:pt x="6" y="49"/>
                    </a:cubicBezTo>
                    <a:cubicBezTo>
                      <a:pt x="6" y="49"/>
                      <a:pt x="9" y="49"/>
                      <a:pt x="10" y="49"/>
                    </a:cubicBezTo>
                    <a:cubicBezTo>
                      <a:pt x="11" y="49"/>
                      <a:pt x="12" y="48"/>
                      <a:pt x="14" y="49"/>
                    </a:cubicBezTo>
                    <a:cubicBezTo>
                      <a:pt x="17" y="51"/>
                      <a:pt x="20" y="52"/>
                      <a:pt x="23" y="53"/>
                    </a:cubicBezTo>
                    <a:cubicBezTo>
                      <a:pt x="25" y="54"/>
                      <a:pt x="25" y="54"/>
                      <a:pt x="27" y="53"/>
                    </a:cubicBezTo>
                    <a:cubicBezTo>
                      <a:pt x="28" y="53"/>
                      <a:pt x="31" y="52"/>
                      <a:pt x="31" y="53"/>
                    </a:cubicBezTo>
                    <a:cubicBezTo>
                      <a:pt x="32" y="53"/>
                      <a:pt x="35" y="55"/>
                      <a:pt x="36" y="55"/>
                    </a:cubicBezTo>
                    <a:cubicBezTo>
                      <a:pt x="37" y="54"/>
                      <a:pt x="39" y="53"/>
                      <a:pt x="40" y="53"/>
                    </a:cubicBezTo>
                    <a:cubicBezTo>
                      <a:pt x="41" y="52"/>
                      <a:pt x="42" y="52"/>
                      <a:pt x="42" y="51"/>
                    </a:cubicBezTo>
                    <a:cubicBezTo>
                      <a:pt x="43" y="51"/>
                      <a:pt x="42" y="50"/>
                      <a:pt x="42" y="50"/>
                    </a:cubicBezTo>
                    <a:cubicBezTo>
                      <a:pt x="42" y="50"/>
                      <a:pt x="43" y="50"/>
                      <a:pt x="44" y="49"/>
                    </a:cubicBezTo>
                    <a:cubicBezTo>
                      <a:pt x="45" y="49"/>
                      <a:pt x="47" y="49"/>
                      <a:pt x="48" y="48"/>
                    </a:cubicBezTo>
                    <a:cubicBezTo>
                      <a:pt x="48" y="48"/>
                      <a:pt x="48" y="47"/>
                      <a:pt x="48" y="47"/>
                    </a:cubicBezTo>
                    <a:cubicBezTo>
                      <a:pt x="48" y="46"/>
                      <a:pt x="50" y="45"/>
                      <a:pt x="50" y="44"/>
                    </a:cubicBezTo>
                    <a:cubicBezTo>
                      <a:pt x="50" y="44"/>
                      <a:pt x="51" y="43"/>
                      <a:pt x="5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2" name="Freeform 3014">
                <a:extLst>
                  <a:ext uri="{FF2B5EF4-FFF2-40B4-BE49-F238E27FC236}">
                    <a16:creationId xmlns:a16="http://schemas.microsoft.com/office/drawing/2014/main" id="{C8992E8F-992D-42F3-AD32-1A9BEA887485}"/>
                  </a:ext>
                </a:extLst>
              </p:cNvPr>
              <p:cNvSpPr>
                <a:spLocks/>
              </p:cNvSpPr>
              <p:nvPr/>
            </p:nvSpPr>
            <p:spPr bwMode="auto">
              <a:xfrm>
                <a:off x="1809" y="4177"/>
                <a:ext cx="80" cy="80"/>
              </a:xfrm>
              <a:custGeom>
                <a:avLst/>
                <a:gdLst>
                  <a:gd name="T0" fmla="*/ 34 w 34"/>
                  <a:gd name="T1" fmla="*/ 2 h 34"/>
                  <a:gd name="T2" fmla="*/ 27 w 34"/>
                  <a:gd name="T3" fmla="*/ 0 h 34"/>
                  <a:gd name="T4" fmla="*/ 20 w 34"/>
                  <a:gd name="T5" fmla="*/ 4 h 34"/>
                  <a:gd name="T6" fmla="*/ 18 w 34"/>
                  <a:gd name="T7" fmla="*/ 4 h 34"/>
                  <a:gd name="T8" fmla="*/ 20 w 34"/>
                  <a:gd name="T9" fmla="*/ 6 h 34"/>
                  <a:gd name="T10" fmla="*/ 20 w 34"/>
                  <a:gd name="T11" fmla="*/ 13 h 34"/>
                  <a:gd name="T12" fmla="*/ 28 w 34"/>
                  <a:gd name="T13" fmla="*/ 13 h 34"/>
                  <a:gd name="T14" fmla="*/ 20 w 34"/>
                  <a:gd name="T15" fmla="*/ 17 h 34"/>
                  <a:gd name="T16" fmla="*/ 20 w 34"/>
                  <a:gd name="T17" fmla="*/ 20 h 34"/>
                  <a:gd name="T18" fmla="*/ 26 w 34"/>
                  <a:gd name="T19" fmla="*/ 25 h 34"/>
                  <a:gd name="T20" fmla="*/ 31 w 34"/>
                  <a:gd name="T21" fmla="*/ 27 h 34"/>
                  <a:gd name="T22" fmla="*/ 28 w 34"/>
                  <a:gd name="T23" fmla="*/ 27 h 34"/>
                  <a:gd name="T24" fmla="*/ 26 w 34"/>
                  <a:gd name="T25" fmla="*/ 26 h 34"/>
                  <a:gd name="T26" fmla="*/ 23 w 34"/>
                  <a:gd name="T27" fmla="*/ 26 h 34"/>
                  <a:gd name="T28" fmla="*/ 22 w 34"/>
                  <a:gd name="T29" fmla="*/ 27 h 34"/>
                  <a:gd name="T30" fmla="*/ 20 w 34"/>
                  <a:gd name="T31" fmla="*/ 26 h 34"/>
                  <a:gd name="T32" fmla="*/ 12 w 34"/>
                  <a:gd name="T33" fmla="*/ 23 h 34"/>
                  <a:gd name="T34" fmla="*/ 15 w 34"/>
                  <a:gd name="T35" fmla="*/ 25 h 34"/>
                  <a:gd name="T36" fmla="*/ 19 w 34"/>
                  <a:gd name="T37" fmla="*/ 29 h 34"/>
                  <a:gd name="T38" fmla="*/ 14 w 34"/>
                  <a:gd name="T39" fmla="*/ 29 h 34"/>
                  <a:gd name="T40" fmla="*/ 15 w 34"/>
                  <a:gd name="T41" fmla="*/ 26 h 34"/>
                  <a:gd name="T42" fmla="*/ 5 w 34"/>
                  <a:gd name="T43" fmla="*/ 28 h 34"/>
                  <a:gd name="T44" fmla="*/ 3 w 34"/>
                  <a:gd name="T45" fmla="*/ 28 h 34"/>
                  <a:gd name="T46" fmla="*/ 3 w 34"/>
                  <a:gd name="T47" fmla="*/ 29 h 34"/>
                  <a:gd name="T48" fmla="*/ 0 w 34"/>
                  <a:gd name="T49" fmla="*/ 28 h 34"/>
                  <a:gd name="T50" fmla="*/ 2 w 34"/>
                  <a:gd name="T51" fmla="*/ 30 h 34"/>
                  <a:gd name="T52" fmla="*/ 7 w 34"/>
                  <a:gd name="T53" fmla="*/ 29 h 34"/>
                  <a:gd name="T54" fmla="*/ 8 w 34"/>
                  <a:gd name="T55" fmla="*/ 31 h 34"/>
                  <a:gd name="T56" fmla="*/ 10 w 34"/>
                  <a:gd name="T57" fmla="*/ 32 h 34"/>
                  <a:gd name="T58" fmla="*/ 15 w 34"/>
                  <a:gd name="T59" fmla="*/ 31 h 34"/>
                  <a:gd name="T60" fmla="*/ 12 w 34"/>
                  <a:gd name="T61" fmla="*/ 32 h 34"/>
                  <a:gd name="T62" fmla="*/ 18 w 34"/>
                  <a:gd name="T63" fmla="*/ 31 h 34"/>
                  <a:gd name="T64" fmla="*/ 21 w 34"/>
                  <a:gd name="T65" fmla="*/ 31 h 34"/>
                  <a:gd name="T66" fmla="*/ 24 w 34"/>
                  <a:gd name="T67" fmla="*/ 33 h 34"/>
                  <a:gd name="T68" fmla="*/ 32 w 34"/>
                  <a:gd name="T69" fmla="*/ 32 h 34"/>
                  <a:gd name="T70" fmla="*/ 34 w 34"/>
                  <a:gd name="T71"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34">
                    <a:moveTo>
                      <a:pt x="34" y="33"/>
                    </a:moveTo>
                    <a:cubicBezTo>
                      <a:pt x="33" y="27"/>
                      <a:pt x="34" y="8"/>
                      <a:pt x="34" y="2"/>
                    </a:cubicBezTo>
                    <a:cubicBezTo>
                      <a:pt x="33" y="2"/>
                      <a:pt x="32" y="2"/>
                      <a:pt x="31" y="2"/>
                    </a:cubicBezTo>
                    <a:cubicBezTo>
                      <a:pt x="29" y="2"/>
                      <a:pt x="29" y="1"/>
                      <a:pt x="27" y="0"/>
                    </a:cubicBezTo>
                    <a:cubicBezTo>
                      <a:pt x="26" y="0"/>
                      <a:pt x="26" y="0"/>
                      <a:pt x="25" y="1"/>
                    </a:cubicBezTo>
                    <a:cubicBezTo>
                      <a:pt x="23" y="3"/>
                      <a:pt x="22" y="6"/>
                      <a:pt x="20" y="4"/>
                    </a:cubicBezTo>
                    <a:cubicBezTo>
                      <a:pt x="19" y="3"/>
                      <a:pt x="18" y="3"/>
                      <a:pt x="17" y="4"/>
                    </a:cubicBezTo>
                    <a:cubicBezTo>
                      <a:pt x="17" y="4"/>
                      <a:pt x="18" y="4"/>
                      <a:pt x="18" y="4"/>
                    </a:cubicBezTo>
                    <a:cubicBezTo>
                      <a:pt x="18" y="5"/>
                      <a:pt x="18" y="5"/>
                      <a:pt x="18" y="6"/>
                    </a:cubicBezTo>
                    <a:cubicBezTo>
                      <a:pt x="18" y="6"/>
                      <a:pt x="20" y="5"/>
                      <a:pt x="20" y="6"/>
                    </a:cubicBezTo>
                    <a:cubicBezTo>
                      <a:pt x="20" y="6"/>
                      <a:pt x="17" y="9"/>
                      <a:pt x="17" y="7"/>
                    </a:cubicBezTo>
                    <a:cubicBezTo>
                      <a:pt x="15" y="8"/>
                      <a:pt x="17" y="15"/>
                      <a:pt x="20" y="13"/>
                    </a:cubicBezTo>
                    <a:cubicBezTo>
                      <a:pt x="22" y="12"/>
                      <a:pt x="22" y="12"/>
                      <a:pt x="24" y="12"/>
                    </a:cubicBezTo>
                    <a:cubicBezTo>
                      <a:pt x="26" y="12"/>
                      <a:pt x="28" y="11"/>
                      <a:pt x="28" y="13"/>
                    </a:cubicBezTo>
                    <a:cubicBezTo>
                      <a:pt x="27" y="16"/>
                      <a:pt x="24" y="16"/>
                      <a:pt x="22" y="16"/>
                    </a:cubicBezTo>
                    <a:cubicBezTo>
                      <a:pt x="21" y="16"/>
                      <a:pt x="21" y="17"/>
                      <a:pt x="20" y="17"/>
                    </a:cubicBezTo>
                    <a:cubicBezTo>
                      <a:pt x="20" y="18"/>
                      <a:pt x="19" y="17"/>
                      <a:pt x="19" y="18"/>
                    </a:cubicBezTo>
                    <a:cubicBezTo>
                      <a:pt x="19" y="19"/>
                      <a:pt x="19" y="20"/>
                      <a:pt x="20" y="20"/>
                    </a:cubicBezTo>
                    <a:cubicBezTo>
                      <a:pt x="20" y="22"/>
                      <a:pt x="20" y="22"/>
                      <a:pt x="22" y="23"/>
                    </a:cubicBezTo>
                    <a:cubicBezTo>
                      <a:pt x="23" y="24"/>
                      <a:pt x="25" y="24"/>
                      <a:pt x="26" y="25"/>
                    </a:cubicBezTo>
                    <a:cubicBezTo>
                      <a:pt x="27" y="25"/>
                      <a:pt x="28" y="26"/>
                      <a:pt x="30" y="27"/>
                    </a:cubicBezTo>
                    <a:cubicBezTo>
                      <a:pt x="30" y="27"/>
                      <a:pt x="31" y="27"/>
                      <a:pt x="31" y="27"/>
                    </a:cubicBezTo>
                    <a:cubicBezTo>
                      <a:pt x="31" y="29"/>
                      <a:pt x="28" y="29"/>
                      <a:pt x="27" y="30"/>
                    </a:cubicBezTo>
                    <a:cubicBezTo>
                      <a:pt x="27" y="28"/>
                      <a:pt x="29" y="28"/>
                      <a:pt x="28" y="27"/>
                    </a:cubicBezTo>
                    <a:cubicBezTo>
                      <a:pt x="28" y="27"/>
                      <a:pt x="27" y="27"/>
                      <a:pt x="27" y="26"/>
                    </a:cubicBezTo>
                    <a:cubicBezTo>
                      <a:pt x="27" y="26"/>
                      <a:pt x="26" y="26"/>
                      <a:pt x="26" y="26"/>
                    </a:cubicBezTo>
                    <a:cubicBezTo>
                      <a:pt x="25" y="26"/>
                      <a:pt x="26" y="26"/>
                      <a:pt x="26" y="27"/>
                    </a:cubicBezTo>
                    <a:cubicBezTo>
                      <a:pt x="25" y="28"/>
                      <a:pt x="23" y="23"/>
                      <a:pt x="23" y="26"/>
                    </a:cubicBezTo>
                    <a:cubicBezTo>
                      <a:pt x="23" y="27"/>
                      <a:pt x="24" y="28"/>
                      <a:pt x="23" y="29"/>
                    </a:cubicBezTo>
                    <a:cubicBezTo>
                      <a:pt x="23" y="28"/>
                      <a:pt x="22" y="27"/>
                      <a:pt x="22" y="27"/>
                    </a:cubicBezTo>
                    <a:cubicBezTo>
                      <a:pt x="22" y="26"/>
                      <a:pt x="21" y="25"/>
                      <a:pt x="21" y="25"/>
                    </a:cubicBezTo>
                    <a:cubicBezTo>
                      <a:pt x="21" y="25"/>
                      <a:pt x="20" y="24"/>
                      <a:pt x="20" y="26"/>
                    </a:cubicBezTo>
                    <a:cubicBezTo>
                      <a:pt x="20" y="27"/>
                      <a:pt x="19" y="27"/>
                      <a:pt x="18" y="26"/>
                    </a:cubicBezTo>
                    <a:cubicBezTo>
                      <a:pt x="16" y="25"/>
                      <a:pt x="14" y="24"/>
                      <a:pt x="12" y="23"/>
                    </a:cubicBezTo>
                    <a:cubicBezTo>
                      <a:pt x="12" y="24"/>
                      <a:pt x="13" y="24"/>
                      <a:pt x="14" y="25"/>
                    </a:cubicBezTo>
                    <a:cubicBezTo>
                      <a:pt x="14" y="25"/>
                      <a:pt x="14" y="25"/>
                      <a:pt x="15" y="25"/>
                    </a:cubicBezTo>
                    <a:cubicBezTo>
                      <a:pt x="16" y="25"/>
                      <a:pt x="16" y="26"/>
                      <a:pt x="16" y="27"/>
                    </a:cubicBezTo>
                    <a:cubicBezTo>
                      <a:pt x="17" y="28"/>
                      <a:pt x="18" y="28"/>
                      <a:pt x="19" y="29"/>
                    </a:cubicBezTo>
                    <a:cubicBezTo>
                      <a:pt x="18" y="28"/>
                      <a:pt x="16" y="28"/>
                      <a:pt x="15" y="27"/>
                    </a:cubicBezTo>
                    <a:cubicBezTo>
                      <a:pt x="15" y="27"/>
                      <a:pt x="14" y="29"/>
                      <a:pt x="14" y="29"/>
                    </a:cubicBezTo>
                    <a:cubicBezTo>
                      <a:pt x="13" y="29"/>
                      <a:pt x="13" y="28"/>
                      <a:pt x="14" y="27"/>
                    </a:cubicBezTo>
                    <a:cubicBezTo>
                      <a:pt x="14" y="27"/>
                      <a:pt x="14" y="26"/>
                      <a:pt x="15" y="26"/>
                    </a:cubicBezTo>
                    <a:cubicBezTo>
                      <a:pt x="13" y="26"/>
                      <a:pt x="12" y="27"/>
                      <a:pt x="10" y="27"/>
                    </a:cubicBezTo>
                    <a:cubicBezTo>
                      <a:pt x="8" y="27"/>
                      <a:pt x="6" y="27"/>
                      <a:pt x="5" y="28"/>
                    </a:cubicBezTo>
                    <a:cubicBezTo>
                      <a:pt x="5" y="28"/>
                      <a:pt x="5" y="28"/>
                      <a:pt x="6" y="28"/>
                    </a:cubicBezTo>
                    <a:cubicBezTo>
                      <a:pt x="5" y="28"/>
                      <a:pt x="4" y="28"/>
                      <a:pt x="3" y="28"/>
                    </a:cubicBezTo>
                    <a:cubicBezTo>
                      <a:pt x="3" y="28"/>
                      <a:pt x="4" y="28"/>
                      <a:pt x="5" y="29"/>
                    </a:cubicBezTo>
                    <a:cubicBezTo>
                      <a:pt x="4" y="29"/>
                      <a:pt x="4" y="29"/>
                      <a:pt x="3" y="29"/>
                    </a:cubicBezTo>
                    <a:cubicBezTo>
                      <a:pt x="4" y="29"/>
                      <a:pt x="4" y="29"/>
                      <a:pt x="4" y="29"/>
                    </a:cubicBezTo>
                    <a:cubicBezTo>
                      <a:pt x="3" y="29"/>
                      <a:pt x="2" y="29"/>
                      <a:pt x="0" y="28"/>
                    </a:cubicBezTo>
                    <a:cubicBezTo>
                      <a:pt x="0" y="29"/>
                      <a:pt x="1" y="29"/>
                      <a:pt x="1" y="30"/>
                    </a:cubicBezTo>
                    <a:cubicBezTo>
                      <a:pt x="0" y="30"/>
                      <a:pt x="1" y="30"/>
                      <a:pt x="2" y="30"/>
                    </a:cubicBezTo>
                    <a:cubicBezTo>
                      <a:pt x="3" y="30"/>
                      <a:pt x="5" y="30"/>
                      <a:pt x="7" y="29"/>
                    </a:cubicBezTo>
                    <a:cubicBezTo>
                      <a:pt x="7" y="29"/>
                      <a:pt x="7" y="29"/>
                      <a:pt x="7" y="29"/>
                    </a:cubicBezTo>
                    <a:cubicBezTo>
                      <a:pt x="8" y="29"/>
                      <a:pt x="8" y="30"/>
                      <a:pt x="8" y="30"/>
                    </a:cubicBezTo>
                    <a:cubicBezTo>
                      <a:pt x="8" y="30"/>
                      <a:pt x="7" y="30"/>
                      <a:pt x="8" y="31"/>
                    </a:cubicBezTo>
                    <a:cubicBezTo>
                      <a:pt x="9" y="31"/>
                      <a:pt x="9" y="30"/>
                      <a:pt x="10" y="30"/>
                    </a:cubicBezTo>
                    <a:cubicBezTo>
                      <a:pt x="11" y="30"/>
                      <a:pt x="11" y="31"/>
                      <a:pt x="10" y="32"/>
                    </a:cubicBezTo>
                    <a:cubicBezTo>
                      <a:pt x="11" y="31"/>
                      <a:pt x="11" y="31"/>
                      <a:pt x="12" y="31"/>
                    </a:cubicBezTo>
                    <a:cubicBezTo>
                      <a:pt x="12" y="30"/>
                      <a:pt x="14" y="31"/>
                      <a:pt x="15" y="31"/>
                    </a:cubicBezTo>
                    <a:cubicBezTo>
                      <a:pt x="15" y="30"/>
                      <a:pt x="15" y="30"/>
                      <a:pt x="16" y="30"/>
                    </a:cubicBezTo>
                    <a:cubicBezTo>
                      <a:pt x="15" y="32"/>
                      <a:pt x="13" y="31"/>
                      <a:pt x="12" y="32"/>
                    </a:cubicBezTo>
                    <a:cubicBezTo>
                      <a:pt x="12" y="34"/>
                      <a:pt x="15" y="32"/>
                      <a:pt x="16" y="32"/>
                    </a:cubicBezTo>
                    <a:cubicBezTo>
                      <a:pt x="16" y="32"/>
                      <a:pt x="18" y="32"/>
                      <a:pt x="18" y="31"/>
                    </a:cubicBezTo>
                    <a:cubicBezTo>
                      <a:pt x="18" y="31"/>
                      <a:pt x="17" y="33"/>
                      <a:pt x="18" y="33"/>
                    </a:cubicBezTo>
                    <a:cubicBezTo>
                      <a:pt x="19" y="33"/>
                      <a:pt x="21" y="32"/>
                      <a:pt x="21" y="31"/>
                    </a:cubicBezTo>
                    <a:cubicBezTo>
                      <a:pt x="22" y="33"/>
                      <a:pt x="21" y="32"/>
                      <a:pt x="23" y="31"/>
                    </a:cubicBezTo>
                    <a:cubicBezTo>
                      <a:pt x="25" y="30"/>
                      <a:pt x="24" y="32"/>
                      <a:pt x="24" y="33"/>
                    </a:cubicBezTo>
                    <a:cubicBezTo>
                      <a:pt x="25" y="33"/>
                      <a:pt x="27" y="34"/>
                      <a:pt x="28" y="34"/>
                    </a:cubicBezTo>
                    <a:cubicBezTo>
                      <a:pt x="30" y="34"/>
                      <a:pt x="31" y="34"/>
                      <a:pt x="32" y="32"/>
                    </a:cubicBezTo>
                    <a:cubicBezTo>
                      <a:pt x="32" y="32"/>
                      <a:pt x="32" y="32"/>
                      <a:pt x="32" y="32"/>
                    </a:cubicBezTo>
                    <a:cubicBezTo>
                      <a:pt x="32" y="32"/>
                      <a:pt x="33" y="33"/>
                      <a:pt x="34"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3" name="Freeform 3015">
                <a:extLst>
                  <a:ext uri="{FF2B5EF4-FFF2-40B4-BE49-F238E27FC236}">
                    <a16:creationId xmlns:a16="http://schemas.microsoft.com/office/drawing/2014/main" id="{86060C58-DF64-45FC-9937-D6B4569EB00C}"/>
                  </a:ext>
                </a:extLst>
              </p:cNvPr>
              <p:cNvSpPr>
                <a:spLocks/>
              </p:cNvSpPr>
              <p:nvPr/>
            </p:nvSpPr>
            <p:spPr bwMode="auto">
              <a:xfrm>
                <a:off x="1473" y="2509"/>
                <a:ext cx="76" cy="66"/>
              </a:xfrm>
              <a:custGeom>
                <a:avLst/>
                <a:gdLst>
                  <a:gd name="T0" fmla="*/ 24 w 32"/>
                  <a:gd name="T1" fmla="*/ 3 h 28"/>
                  <a:gd name="T2" fmla="*/ 22 w 32"/>
                  <a:gd name="T3" fmla="*/ 4 h 28"/>
                  <a:gd name="T4" fmla="*/ 21 w 32"/>
                  <a:gd name="T5" fmla="*/ 4 h 28"/>
                  <a:gd name="T6" fmla="*/ 20 w 32"/>
                  <a:gd name="T7" fmla="*/ 4 h 28"/>
                  <a:gd name="T8" fmla="*/ 16 w 32"/>
                  <a:gd name="T9" fmla="*/ 3 h 28"/>
                  <a:gd name="T10" fmla="*/ 14 w 32"/>
                  <a:gd name="T11" fmla="*/ 2 h 28"/>
                  <a:gd name="T12" fmla="*/ 14 w 32"/>
                  <a:gd name="T13" fmla="*/ 2 h 28"/>
                  <a:gd name="T14" fmla="*/ 13 w 32"/>
                  <a:gd name="T15" fmla="*/ 2 h 28"/>
                  <a:gd name="T16" fmla="*/ 11 w 32"/>
                  <a:gd name="T17" fmla="*/ 2 h 28"/>
                  <a:gd name="T18" fmla="*/ 5 w 32"/>
                  <a:gd name="T19" fmla="*/ 0 h 28"/>
                  <a:gd name="T20" fmla="*/ 3 w 32"/>
                  <a:gd name="T21" fmla="*/ 1 h 28"/>
                  <a:gd name="T22" fmla="*/ 2 w 32"/>
                  <a:gd name="T23" fmla="*/ 1 h 28"/>
                  <a:gd name="T24" fmla="*/ 0 w 32"/>
                  <a:gd name="T25" fmla="*/ 2 h 28"/>
                  <a:gd name="T26" fmla="*/ 3 w 32"/>
                  <a:gd name="T27" fmla="*/ 5 h 28"/>
                  <a:gd name="T28" fmla="*/ 2 w 32"/>
                  <a:gd name="T29" fmla="*/ 11 h 28"/>
                  <a:gd name="T30" fmla="*/ 8 w 32"/>
                  <a:gd name="T31" fmla="*/ 15 h 28"/>
                  <a:gd name="T32" fmla="*/ 9 w 32"/>
                  <a:gd name="T33" fmla="*/ 15 h 28"/>
                  <a:gd name="T34" fmla="*/ 11 w 32"/>
                  <a:gd name="T35" fmla="*/ 13 h 28"/>
                  <a:gd name="T36" fmla="*/ 7 w 32"/>
                  <a:gd name="T37" fmla="*/ 8 h 28"/>
                  <a:gd name="T38" fmla="*/ 12 w 32"/>
                  <a:gd name="T39" fmla="*/ 11 h 28"/>
                  <a:gd name="T40" fmla="*/ 16 w 32"/>
                  <a:gd name="T41" fmla="*/ 16 h 28"/>
                  <a:gd name="T42" fmla="*/ 18 w 32"/>
                  <a:gd name="T43" fmla="*/ 16 h 28"/>
                  <a:gd name="T44" fmla="*/ 23 w 32"/>
                  <a:gd name="T45" fmla="*/ 20 h 28"/>
                  <a:gd name="T46" fmla="*/ 24 w 32"/>
                  <a:gd name="T47" fmla="*/ 27 h 28"/>
                  <a:gd name="T48" fmla="*/ 25 w 32"/>
                  <a:gd name="T49" fmla="*/ 25 h 28"/>
                  <a:gd name="T50" fmla="*/ 29 w 32"/>
                  <a:gd name="T51" fmla="*/ 27 h 28"/>
                  <a:gd name="T52" fmla="*/ 29 w 32"/>
                  <a:gd name="T53" fmla="*/ 26 h 28"/>
                  <a:gd name="T54" fmla="*/ 30 w 32"/>
                  <a:gd name="T55" fmla="*/ 24 h 28"/>
                  <a:gd name="T56" fmla="*/ 31 w 32"/>
                  <a:gd name="T57" fmla="*/ 22 h 28"/>
                  <a:gd name="T58" fmla="*/ 30 w 32"/>
                  <a:gd name="T59" fmla="*/ 20 h 28"/>
                  <a:gd name="T60" fmla="*/ 30 w 32"/>
                  <a:gd name="T61" fmla="*/ 20 h 28"/>
                  <a:gd name="T62" fmla="*/ 30 w 32"/>
                  <a:gd name="T63" fmla="*/ 16 h 28"/>
                  <a:gd name="T64" fmla="*/ 31 w 32"/>
                  <a:gd name="T65" fmla="*/ 14 h 28"/>
                  <a:gd name="T66" fmla="*/ 32 w 32"/>
                  <a:gd name="T6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28">
                    <a:moveTo>
                      <a:pt x="28" y="9"/>
                    </a:moveTo>
                    <a:cubicBezTo>
                      <a:pt x="26" y="7"/>
                      <a:pt x="25" y="5"/>
                      <a:pt x="24" y="3"/>
                    </a:cubicBezTo>
                    <a:cubicBezTo>
                      <a:pt x="24" y="3"/>
                      <a:pt x="23" y="4"/>
                      <a:pt x="23" y="4"/>
                    </a:cubicBezTo>
                    <a:cubicBezTo>
                      <a:pt x="23" y="4"/>
                      <a:pt x="22" y="4"/>
                      <a:pt x="22" y="4"/>
                    </a:cubicBezTo>
                    <a:cubicBezTo>
                      <a:pt x="22" y="4"/>
                      <a:pt x="22" y="4"/>
                      <a:pt x="22" y="4"/>
                    </a:cubicBezTo>
                    <a:cubicBezTo>
                      <a:pt x="22" y="4"/>
                      <a:pt x="22" y="4"/>
                      <a:pt x="21" y="4"/>
                    </a:cubicBezTo>
                    <a:cubicBezTo>
                      <a:pt x="21" y="4"/>
                      <a:pt x="21" y="4"/>
                      <a:pt x="21" y="4"/>
                    </a:cubicBezTo>
                    <a:cubicBezTo>
                      <a:pt x="20" y="4"/>
                      <a:pt x="20" y="4"/>
                      <a:pt x="20" y="4"/>
                    </a:cubicBezTo>
                    <a:cubicBezTo>
                      <a:pt x="19" y="4"/>
                      <a:pt x="18" y="4"/>
                      <a:pt x="17" y="3"/>
                    </a:cubicBezTo>
                    <a:cubicBezTo>
                      <a:pt x="16" y="3"/>
                      <a:pt x="16" y="3"/>
                      <a:pt x="16" y="3"/>
                    </a:cubicBezTo>
                    <a:cubicBezTo>
                      <a:pt x="16" y="3"/>
                      <a:pt x="16" y="3"/>
                      <a:pt x="16" y="3"/>
                    </a:cubicBezTo>
                    <a:cubicBezTo>
                      <a:pt x="15" y="2"/>
                      <a:pt x="15" y="2"/>
                      <a:pt x="14" y="2"/>
                    </a:cubicBezTo>
                    <a:cubicBezTo>
                      <a:pt x="14" y="2"/>
                      <a:pt x="14" y="2"/>
                      <a:pt x="14" y="2"/>
                    </a:cubicBezTo>
                    <a:cubicBezTo>
                      <a:pt x="14" y="2"/>
                      <a:pt x="14" y="2"/>
                      <a:pt x="14" y="2"/>
                    </a:cubicBezTo>
                    <a:cubicBezTo>
                      <a:pt x="14" y="2"/>
                      <a:pt x="14" y="2"/>
                      <a:pt x="14" y="2"/>
                    </a:cubicBezTo>
                    <a:cubicBezTo>
                      <a:pt x="14" y="2"/>
                      <a:pt x="13" y="2"/>
                      <a:pt x="13" y="2"/>
                    </a:cubicBezTo>
                    <a:cubicBezTo>
                      <a:pt x="12" y="2"/>
                      <a:pt x="12" y="2"/>
                      <a:pt x="11" y="2"/>
                    </a:cubicBezTo>
                    <a:cubicBezTo>
                      <a:pt x="11" y="2"/>
                      <a:pt x="11" y="2"/>
                      <a:pt x="11" y="2"/>
                    </a:cubicBezTo>
                    <a:cubicBezTo>
                      <a:pt x="9" y="2"/>
                      <a:pt x="8" y="1"/>
                      <a:pt x="6" y="1"/>
                    </a:cubicBezTo>
                    <a:cubicBezTo>
                      <a:pt x="6" y="0"/>
                      <a:pt x="5" y="0"/>
                      <a:pt x="5" y="0"/>
                    </a:cubicBezTo>
                    <a:cubicBezTo>
                      <a:pt x="4" y="0"/>
                      <a:pt x="4" y="0"/>
                      <a:pt x="4" y="0"/>
                    </a:cubicBezTo>
                    <a:cubicBezTo>
                      <a:pt x="4" y="0"/>
                      <a:pt x="3" y="0"/>
                      <a:pt x="3" y="1"/>
                    </a:cubicBezTo>
                    <a:cubicBezTo>
                      <a:pt x="2" y="1"/>
                      <a:pt x="2" y="1"/>
                      <a:pt x="2" y="1"/>
                    </a:cubicBezTo>
                    <a:cubicBezTo>
                      <a:pt x="2" y="1"/>
                      <a:pt x="2" y="1"/>
                      <a:pt x="2" y="1"/>
                    </a:cubicBezTo>
                    <a:cubicBezTo>
                      <a:pt x="2" y="2"/>
                      <a:pt x="2" y="2"/>
                      <a:pt x="2" y="2"/>
                    </a:cubicBezTo>
                    <a:cubicBezTo>
                      <a:pt x="1" y="1"/>
                      <a:pt x="1" y="1"/>
                      <a:pt x="0" y="2"/>
                    </a:cubicBezTo>
                    <a:cubicBezTo>
                      <a:pt x="1" y="2"/>
                      <a:pt x="3" y="2"/>
                      <a:pt x="3" y="3"/>
                    </a:cubicBezTo>
                    <a:cubicBezTo>
                      <a:pt x="3" y="3"/>
                      <a:pt x="3" y="4"/>
                      <a:pt x="3" y="5"/>
                    </a:cubicBezTo>
                    <a:cubicBezTo>
                      <a:pt x="3" y="5"/>
                      <a:pt x="1" y="6"/>
                      <a:pt x="1" y="6"/>
                    </a:cubicBezTo>
                    <a:cubicBezTo>
                      <a:pt x="2" y="7"/>
                      <a:pt x="2" y="9"/>
                      <a:pt x="2" y="11"/>
                    </a:cubicBezTo>
                    <a:cubicBezTo>
                      <a:pt x="3" y="12"/>
                      <a:pt x="4" y="12"/>
                      <a:pt x="5" y="12"/>
                    </a:cubicBezTo>
                    <a:cubicBezTo>
                      <a:pt x="6" y="13"/>
                      <a:pt x="7" y="14"/>
                      <a:pt x="8" y="15"/>
                    </a:cubicBezTo>
                    <a:cubicBezTo>
                      <a:pt x="8" y="15"/>
                      <a:pt x="8" y="15"/>
                      <a:pt x="8" y="15"/>
                    </a:cubicBezTo>
                    <a:cubicBezTo>
                      <a:pt x="8" y="15"/>
                      <a:pt x="8" y="15"/>
                      <a:pt x="9" y="15"/>
                    </a:cubicBezTo>
                    <a:cubicBezTo>
                      <a:pt x="9" y="15"/>
                      <a:pt x="10" y="14"/>
                      <a:pt x="10" y="14"/>
                    </a:cubicBezTo>
                    <a:cubicBezTo>
                      <a:pt x="10" y="14"/>
                      <a:pt x="10" y="13"/>
                      <a:pt x="11" y="13"/>
                    </a:cubicBezTo>
                    <a:cubicBezTo>
                      <a:pt x="10" y="12"/>
                      <a:pt x="9" y="12"/>
                      <a:pt x="8" y="11"/>
                    </a:cubicBezTo>
                    <a:cubicBezTo>
                      <a:pt x="8" y="10"/>
                      <a:pt x="7" y="9"/>
                      <a:pt x="7" y="8"/>
                    </a:cubicBezTo>
                    <a:cubicBezTo>
                      <a:pt x="7" y="9"/>
                      <a:pt x="8" y="9"/>
                      <a:pt x="9" y="9"/>
                    </a:cubicBezTo>
                    <a:cubicBezTo>
                      <a:pt x="10" y="10"/>
                      <a:pt x="11" y="11"/>
                      <a:pt x="12" y="11"/>
                    </a:cubicBezTo>
                    <a:cubicBezTo>
                      <a:pt x="13" y="12"/>
                      <a:pt x="13" y="13"/>
                      <a:pt x="13" y="14"/>
                    </a:cubicBezTo>
                    <a:cubicBezTo>
                      <a:pt x="13" y="15"/>
                      <a:pt x="15" y="16"/>
                      <a:pt x="16" y="16"/>
                    </a:cubicBezTo>
                    <a:cubicBezTo>
                      <a:pt x="17" y="16"/>
                      <a:pt x="17" y="16"/>
                      <a:pt x="18" y="17"/>
                    </a:cubicBezTo>
                    <a:cubicBezTo>
                      <a:pt x="18" y="17"/>
                      <a:pt x="18" y="16"/>
                      <a:pt x="18" y="16"/>
                    </a:cubicBezTo>
                    <a:cubicBezTo>
                      <a:pt x="19" y="17"/>
                      <a:pt x="20" y="18"/>
                      <a:pt x="21" y="19"/>
                    </a:cubicBezTo>
                    <a:cubicBezTo>
                      <a:pt x="22" y="19"/>
                      <a:pt x="22" y="19"/>
                      <a:pt x="23" y="20"/>
                    </a:cubicBezTo>
                    <a:cubicBezTo>
                      <a:pt x="23" y="21"/>
                      <a:pt x="24" y="21"/>
                      <a:pt x="24" y="21"/>
                    </a:cubicBezTo>
                    <a:cubicBezTo>
                      <a:pt x="24" y="24"/>
                      <a:pt x="21" y="25"/>
                      <a:pt x="24" y="27"/>
                    </a:cubicBezTo>
                    <a:cubicBezTo>
                      <a:pt x="25" y="27"/>
                      <a:pt x="27" y="28"/>
                      <a:pt x="27" y="28"/>
                    </a:cubicBezTo>
                    <a:cubicBezTo>
                      <a:pt x="27" y="27"/>
                      <a:pt x="26" y="26"/>
                      <a:pt x="25" y="25"/>
                    </a:cubicBezTo>
                    <a:cubicBezTo>
                      <a:pt x="27" y="24"/>
                      <a:pt x="29" y="24"/>
                      <a:pt x="29" y="26"/>
                    </a:cubicBezTo>
                    <a:cubicBezTo>
                      <a:pt x="29" y="27"/>
                      <a:pt x="29" y="27"/>
                      <a:pt x="29" y="27"/>
                    </a:cubicBezTo>
                    <a:cubicBezTo>
                      <a:pt x="29" y="27"/>
                      <a:pt x="29" y="27"/>
                      <a:pt x="29" y="27"/>
                    </a:cubicBezTo>
                    <a:cubicBezTo>
                      <a:pt x="29" y="26"/>
                      <a:pt x="29" y="26"/>
                      <a:pt x="29" y="26"/>
                    </a:cubicBezTo>
                    <a:cubicBezTo>
                      <a:pt x="30" y="26"/>
                      <a:pt x="30" y="26"/>
                      <a:pt x="30" y="25"/>
                    </a:cubicBezTo>
                    <a:cubicBezTo>
                      <a:pt x="30" y="25"/>
                      <a:pt x="30" y="25"/>
                      <a:pt x="30" y="24"/>
                    </a:cubicBezTo>
                    <a:cubicBezTo>
                      <a:pt x="30" y="23"/>
                      <a:pt x="30" y="23"/>
                      <a:pt x="31" y="22"/>
                    </a:cubicBezTo>
                    <a:cubicBezTo>
                      <a:pt x="31" y="22"/>
                      <a:pt x="31" y="22"/>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7"/>
                      <a:pt x="30" y="16"/>
                    </a:cubicBezTo>
                    <a:cubicBezTo>
                      <a:pt x="30" y="15"/>
                      <a:pt x="30" y="15"/>
                      <a:pt x="31" y="14"/>
                    </a:cubicBezTo>
                    <a:cubicBezTo>
                      <a:pt x="31" y="14"/>
                      <a:pt x="31" y="14"/>
                      <a:pt x="31" y="14"/>
                    </a:cubicBezTo>
                    <a:cubicBezTo>
                      <a:pt x="31" y="14"/>
                      <a:pt x="31" y="14"/>
                      <a:pt x="31" y="14"/>
                    </a:cubicBezTo>
                    <a:cubicBezTo>
                      <a:pt x="32" y="14"/>
                      <a:pt x="32" y="14"/>
                      <a:pt x="32" y="14"/>
                    </a:cubicBezTo>
                    <a:cubicBezTo>
                      <a:pt x="31" y="12"/>
                      <a:pt x="29" y="11"/>
                      <a:pt x="2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4" name="Freeform 3016">
                <a:extLst>
                  <a:ext uri="{FF2B5EF4-FFF2-40B4-BE49-F238E27FC236}">
                    <a16:creationId xmlns:a16="http://schemas.microsoft.com/office/drawing/2014/main" id="{5B827466-0864-4976-9EBE-85C74D20796F}"/>
                  </a:ext>
                </a:extLst>
              </p:cNvPr>
              <p:cNvSpPr>
                <a:spLocks/>
              </p:cNvSpPr>
              <p:nvPr/>
            </p:nvSpPr>
            <p:spPr bwMode="auto">
              <a:xfrm>
                <a:off x="1438" y="2462"/>
                <a:ext cx="2" cy="2"/>
              </a:xfrm>
              <a:custGeom>
                <a:avLst/>
                <a:gdLst>
                  <a:gd name="T0" fmla="*/ 1 w 1"/>
                  <a:gd name="T1" fmla="*/ 0 h 1"/>
                  <a:gd name="T2" fmla="*/ 0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1"/>
                      <a:pt x="0" y="1"/>
                      <a:pt x="0"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5" name="Freeform 3017">
                <a:extLst>
                  <a:ext uri="{FF2B5EF4-FFF2-40B4-BE49-F238E27FC236}">
                    <a16:creationId xmlns:a16="http://schemas.microsoft.com/office/drawing/2014/main" id="{4069FC3A-051D-4243-893A-EA7174CD6D62}"/>
                  </a:ext>
                </a:extLst>
              </p:cNvPr>
              <p:cNvSpPr>
                <a:spLocks/>
              </p:cNvSpPr>
              <p:nvPr/>
            </p:nvSpPr>
            <p:spPr bwMode="auto">
              <a:xfrm>
                <a:off x="1431" y="2417"/>
                <a:ext cx="108" cy="97"/>
              </a:xfrm>
              <a:custGeom>
                <a:avLst/>
                <a:gdLst>
                  <a:gd name="T0" fmla="*/ 42 w 46"/>
                  <a:gd name="T1" fmla="*/ 1 h 41"/>
                  <a:gd name="T2" fmla="*/ 37 w 46"/>
                  <a:gd name="T3" fmla="*/ 2 h 41"/>
                  <a:gd name="T4" fmla="*/ 36 w 46"/>
                  <a:gd name="T5" fmla="*/ 2 h 41"/>
                  <a:gd name="T6" fmla="*/ 36 w 46"/>
                  <a:gd name="T7" fmla="*/ 3 h 41"/>
                  <a:gd name="T8" fmla="*/ 34 w 46"/>
                  <a:gd name="T9" fmla="*/ 3 h 41"/>
                  <a:gd name="T10" fmla="*/ 31 w 46"/>
                  <a:gd name="T11" fmla="*/ 2 h 41"/>
                  <a:gd name="T12" fmla="*/ 29 w 46"/>
                  <a:gd name="T13" fmla="*/ 1 h 41"/>
                  <a:gd name="T14" fmla="*/ 29 w 46"/>
                  <a:gd name="T15" fmla="*/ 2 h 41"/>
                  <a:gd name="T16" fmla="*/ 27 w 46"/>
                  <a:gd name="T17" fmla="*/ 4 h 41"/>
                  <a:gd name="T18" fmla="*/ 27 w 46"/>
                  <a:gd name="T19" fmla="*/ 6 h 41"/>
                  <a:gd name="T20" fmla="*/ 25 w 46"/>
                  <a:gd name="T21" fmla="*/ 7 h 41"/>
                  <a:gd name="T22" fmla="*/ 22 w 46"/>
                  <a:gd name="T23" fmla="*/ 10 h 41"/>
                  <a:gd name="T24" fmla="*/ 19 w 46"/>
                  <a:gd name="T25" fmla="*/ 11 h 41"/>
                  <a:gd name="T26" fmla="*/ 17 w 46"/>
                  <a:gd name="T27" fmla="*/ 10 h 41"/>
                  <a:gd name="T28" fmla="*/ 15 w 46"/>
                  <a:gd name="T29" fmla="*/ 11 h 41"/>
                  <a:gd name="T30" fmla="*/ 12 w 46"/>
                  <a:gd name="T31" fmla="*/ 12 h 41"/>
                  <a:gd name="T32" fmla="*/ 11 w 46"/>
                  <a:gd name="T33" fmla="*/ 12 h 41"/>
                  <a:gd name="T34" fmla="*/ 11 w 46"/>
                  <a:gd name="T35" fmla="*/ 14 h 41"/>
                  <a:gd name="T36" fmla="*/ 11 w 46"/>
                  <a:gd name="T37" fmla="*/ 17 h 41"/>
                  <a:gd name="T38" fmla="*/ 9 w 46"/>
                  <a:gd name="T39" fmla="*/ 17 h 41"/>
                  <a:gd name="T40" fmla="*/ 9 w 46"/>
                  <a:gd name="T41" fmla="*/ 19 h 41"/>
                  <a:gd name="T42" fmla="*/ 5 w 46"/>
                  <a:gd name="T43" fmla="*/ 20 h 41"/>
                  <a:gd name="T44" fmla="*/ 4 w 46"/>
                  <a:gd name="T45" fmla="*/ 20 h 41"/>
                  <a:gd name="T46" fmla="*/ 3 w 46"/>
                  <a:gd name="T47" fmla="*/ 20 h 41"/>
                  <a:gd name="T48" fmla="*/ 1 w 46"/>
                  <a:gd name="T49" fmla="*/ 18 h 41"/>
                  <a:gd name="T50" fmla="*/ 6 w 46"/>
                  <a:gd name="T51" fmla="*/ 24 h 41"/>
                  <a:gd name="T52" fmla="*/ 11 w 46"/>
                  <a:gd name="T53" fmla="*/ 29 h 41"/>
                  <a:gd name="T54" fmla="*/ 20 w 46"/>
                  <a:gd name="T55" fmla="*/ 37 h 41"/>
                  <a:gd name="T56" fmla="*/ 20 w 46"/>
                  <a:gd name="T57" fmla="*/ 37 h 41"/>
                  <a:gd name="T58" fmla="*/ 22 w 46"/>
                  <a:gd name="T59" fmla="*/ 36 h 41"/>
                  <a:gd name="T60" fmla="*/ 23 w 46"/>
                  <a:gd name="T61" fmla="*/ 37 h 41"/>
                  <a:gd name="T62" fmla="*/ 19 w 46"/>
                  <a:gd name="T63" fmla="*/ 31 h 41"/>
                  <a:gd name="T64" fmla="*/ 30 w 46"/>
                  <a:gd name="T65" fmla="*/ 38 h 41"/>
                  <a:gd name="T66" fmla="*/ 32 w 46"/>
                  <a:gd name="T67" fmla="*/ 38 h 41"/>
                  <a:gd name="T68" fmla="*/ 36 w 46"/>
                  <a:gd name="T69" fmla="*/ 40 h 41"/>
                  <a:gd name="T70" fmla="*/ 39 w 46"/>
                  <a:gd name="T71" fmla="*/ 41 h 41"/>
                  <a:gd name="T72" fmla="*/ 40 w 46"/>
                  <a:gd name="T73" fmla="*/ 41 h 41"/>
                  <a:gd name="T74" fmla="*/ 40 w 46"/>
                  <a:gd name="T75" fmla="*/ 40 h 41"/>
                  <a:gd name="T76" fmla="*/ 41 w 46"/>
                  <a:gd name="T77" fmla="*/ 33 h 41"/>
                  <a:gd name="T78" fmla="*/ 41 w 46"/>
                  <a:gd name="T79" fmla="*/ 29 h 41"/>
                  <a:gd name="T80" fmla="*/ 40 w 46"/>
                  <a:gd name="T81" fmla="*/ 24 h 41"/>
                  <a:gd name="T82" fmla="*/ 42 w 46"/>
                  <a:gd name="T83" fmla="*/ 25 h 41"/>
                  <a:gd name="T84" fmla="*/ 43 w 46"/>
                  <a:gd name="T85" fmla="*/ 22 h 41"/>
                  <a:gd name="T86" fmla="*/ 45 w 46"/>
                  <a:gd name="T87" fmla="*/ 7 h 41"/>
                  <a:gd name="T88" fmla="*/ 44 w 46"/>
                  <a:gd name="T8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41">
                    <a:moveTo>
                      <a:pt x="44" y="0"/>
                    </a:moveTo>
                    <a:cubicBezTo>
                      <a:pt x="44" y="0"/>
                      <a:pt x="43" y="1"/>
                      <a:pt x="42" y="1"/>
                    </a:cubicBezTo>
                    <a:cubicBezTo>
                      <a:pt x="41" y="1"/>
                      <a:pt x="41" y="1"/>
                      <a:pt x="41" y="1"/>
                    </a:cubicBezTo>
                    <a:cubicBezTo>
                      <a:pt x="39" y="1"/>
                      <a:pt x="38" y="2"/>
                      <a:pt x="37" y="2"/>
                    </a:cubicBezTo>
                    <a:cubicBezTo>
                      <a:pt x="37" y="2"/>
                      <a:pt x="37" y="2"/>
                      <a:pt x="37" y="2"/>
                    </a:cubicBezTo>
                    <a:cubicBezTo>
                      <a:pt x="36" y="2"/>
                      <a:pt x="36" y="2"/>
                      <a:pt x="36" y="2"/>
                    </a:cubicBezTo>
                    <a:cubicBezTo>
                      <a:pt x="36" y="2"/>
                      <a:pt x="36" y="2"/>
                      <a:pt x="36" y="2"/>
                    </a:cubicBezTo>
                    <a:cubicBezTo>
                      <a:pt x="36" y="2"/>
                      <a:pt x="36" y="2"/>
                      <a:pt x="36" y="3"/>
                    </a:cubicBezTo>
                    <a:cubicBezTo>
                      <a:pt x="35" y="3"/>
                      <a:pt x="35" y="3"/>
                      <a:pt x="35" y="3"/>
                    </a:cubicBezTo>
                    <a:cubicBezTo>
                      <a:pt x="35" y="3"/>
                      <a:pt x="34" y="3"/>
                      <a:pt x="34" y="3"/>
                    </a:cubicBezTo>
                    <a:cubicBezTo>
                      <a:pt x="34" y="3"/>
                      <a:pt x="34" y="3"/>
                      <a:pt x="34" y="3"/>
                    </a:cubicBezTo>
                    <a:cubicBezTo>
                      <a:pt x="32" y="3"/>
                      <a:pt x="31" y="2"/>
                      <a:pt x="31" y="2"/>
                    </a:cubicBezTo>
                    <a:cubicBezTo>
                      <a:pt x="30" y="2"/>
                      <a:pt x="30" y="2"/>
                      <a:pt x="30" y="2"/>
                    </a:cubicBezTo>
                    <a:cubicBezTo>
                      <a:pt x="30" y="2"/>
                      <a:pt x="30" y="1"/>
                      <a:pt x="29" y="1"/>
                    </a:cubicBezTo>
                    <a:cubicBezTo>
                      <a:pt x="29" y="1"/>
                      <a:pt x="29" y="1"/>
                      <a:pt x="29" y="1"/>
                    </a:cubicBezTo>
                    <a:cubicBezTo>
                      <a:pt x="29" y="1"/>
                      <a:pt x="29" y="2"/>
                      <a:pt x="29" y="2"/>
                    </a:cubicBezTo>
                    <a:cubicBezTo>
                      <a:pt x="29" y="2"/>
                      <a:pt x="29" y="3"/>
                      <a:pt x="28" y="3"/>
                    </a:cubicBezTo>
                    <a:cubicBezTo>
                      <a:pt x="28" y="3"/>
                      <a:pt x="28" y="3"/>
                      <a:pt x="27" y="4"/>
                    </a:cubicBezTo>
                    <a:cubicBezTo>
                      <a:pt x="27" y="4"/>
                      <a:pt x="27" y="4"/>
                      <a:pt x="27" y="5"/>
                    </a:cubicBezTo>
                    <a:cubicBezTo>
                      <a:pt x="27" y="5"/>
                      <a:pt x="27" y="6"/>
                      <a:pt x="27" y="6"/>
                    </a:cubicBezTo>
                    <a:cubicBezTo>
                      <a:pt x="26" y="6"/>
                      <a:pt x="26" y="7"/>
                      <a:pt x="25" y="7"/>
                    </a:cubicBezTo>
                    <a:cubicBezTo>
                      <a:pt x="25" y="7"/>
                      <a:pt x="25" y="7"/>
                      <a:pt x="25" y="7"/>
                    </a:cubicBezTo>
                    <a:cubicBezTo>
                      <a:pt x="24" y="8"/>
                      <a:pt x="24" y="8"/>
                      <a:pt x="23" y="9"/>
                    </a:cubicBezTo>
                    <a:cubicBezTo>
                      <a:pt x="23" y="9"/>
                      <a:pt x="22" y="9"/>
                      <a:pt x="22" y="10"/>
                    </a:cubicBezTo>
                    <a:cubicBezTo>
                      <a:pt x="22" y="10"/>
                      <a:pt x="22" y="10"/>
                      <a:pt x="22" y="10"/>
                    </a:cubicBezTo>
                    <a:cubicBezTo>
                      <a:pt x="22" y="11"/>
                      <a:pt x="21" y="12"/>
                      <a:pt x="19" y="11"/>
                    </a:cubicBezTo>
                    <a:cubicBezTo>
                      <a:pt x="18" y="11"/>
                      <a:pt x="18" y="10"/>
                      <a:pt x="17" y="10"/>
                    </a:cubicBezTo>
                    <a:cubicBezTo>
                      <a:pt x="17" y="10"/>
                      <a:pt x="17" y="10"/>
                      <a:pt x="17" y="10"/>
                    </a:cubicBezTo>
                    <a:cubicBezTo>
                      <a:pt x="17" y="10"/>
                      <a:pt x="17" y="10"/>
                      <a:pt x="17" y="10"/>
                    </a:cubicBezTo>
                    <a:cubicBezTo>
                      <a:pt x="16" y="10"/>
                      <a:pt x="16" y="11"/>
                      <a:pt x="15" y="11"/>
                    </a:cubicBezTo>
                    <a:cubicBezTo>
                      <a:pt x="14" y="13"/>
                      <a:pt x="13" y="12"/>
                      <a:pt x="12" y="12"/>
                    </a:cubicBezTo>
                    <a:cubicBezTo>
                      <a:pt x="12" y="12"/>
                      <a:pt x="12" y="12"/>
                      <a:pt x="12" y="12"/>
                    </a:cubicBezTo>
                    <a:cubicBezTo>
                      <a:pt x="12" y="12"/>
                      <a:pt x="11" y="12"/>
                      <a:pt x="11" y="12"/>
                    </a:cubicBezTo>
                    <a:cubicBezTo>
                      <a:pt x="11" y="12"/>
                      <a:pt x="11" y="12"/>
                      <a:pt x="11" y="12"/>
                    </a:cubicBezTo>
                    <a:cubicBezTo>
                      <a:pt x="11" y="13"/>
                      <a:pt x="11" y="13"/>
                      <a:pt x="11" y="13"/>
                    </a:cubicBezTo>
                    <a:cubicBezTo>
                      <a:pt x="11" y="14"/>
                      <a:pt x="11" y="14"/>
                      <a:pt x="11" y="14"/>
                    </a:cubicBezTo>
                    <a:cubicBezTo>
                      <a:pt x="11" y="14"/>
                      <a:pt x="12" y="15"/>
                      <a:pt x="12" y="15"/>
                    </a:cubicBezTo>
                    <a:cubicBezTo>
                      <a:pt x="12" y="16"/>
                      <a:pt x="11" y="16"/>
                      <a:pt x="11" y="17"/>
                    </a:cubicBezTo>
                    <a:cubicBezTo>
                      <a:pt x="10" y="17"/>
                      <a:pt x="10" y="17"/>
                      <a:pt x="10" y="17"/>
                    </a:cubicBezTo>
                    <a:cubicBezTo>
                      <a:pt x="10" y="17"/>
                      <a:pt x="10" y="17"/>
                      <a:pt x="9" y="17"/>
                    </a:cubicBezTo>
                    <a:cubicBezTo>
                      <a:pt x="9" y="17"/>
                      <a:pt x="9" y="17"/>
                      <a:pt x="9" y="17"/>
                    </a:cubicBezTo>
                    <a:cubicBezTo>
                      <a:pt x="9" y="18"/>
                      <a:pt x="9" y="18"/>
                      <a:pt x="9" y="19"/>
                    </a:cubicBezTo>
                    <a:cubicBezTo>
                      <a:pt x="8" y="19"/>
                      <a:pt x="8" y="19"/>
                      <a:pt x="8" y="19"/>
                    </a:cubicBezTo>
                    <a:cubicBezTo>
                      <a:pt x="7" y="20"/>
                      <a:pt x="7" y="20"/>
                      <a:pt x="5" y="20"/>
                    </a:cubicBezTo>
                    <a:cubicBezTo>
                      <a:pt x="5" y="20"/>
                      <a:pt x="5" y="20"/>
                      <a:pt x="5" y="20"/>
                    </a:cubicBezTo>
                    <a:cubicBezTo>
                      <a:pt x="4" y="20"/>
                      <a:pt x="4" y="20"/>
                      <a:pt x="4" y="20"/>
                    </a:cubicBezTo>
                    <a:cubicBezTo>
                      <a:pt x="4" y="20"/>
                      <a:pt x="4" y="20"/>
                      <a:pt x="4" y="20"/>
                    </a:cubicBezTo>
                    <a:cubicBezTo>
                      <a:pt x="3" y="20"/>
                      <a:pt x="3" y="20"/>
                      <a:pt x="3" y="20"/>
                    </a:cubicBezTo>
                    <a:cubicBezTo>
                      <a:pt x="3" y="20"/>
                      <a:pt x="3" y="20"/>
                      <a:pt x="3" y="20"/>
                    </a:cubicBezTo>
                    <a:cubicBezTo>
                      <a:pt x="2" y="19"/>
                      <a:pt x="2" y="19"/>
                      <a:pt x="1" y="18"/>
                    </a:cubicBezTo>
                    <a:cubicBezTo>
                      <a:pt x="1" y="19"/>
                      <a:pt x="0" y="19"/>
                      <a:pt x="1" y="20"/>
                    </a:cubicBezTo>
                    <a:cubicBezTo>
                      <a:pt x="2" y="22"/>
                      <a:pt x="4" y="23"/>
                      <a:pt x="6" y="24"/>
                    </a:cubicBezTo>
                    <a:cubicBezTo>
                      <a:pt x="7" y="25"/>
                      <a:pt x="8" y="26"/>
                      <a:pt x="9" y="27"/>
                    </a:cubicBezTo>
                    <a:cubicBezTo>
                      <a:pt x="10" y="27"/>
                      <a:pt x="10" y="28"/>
                      <a:pt x="11" y="29"/>
                    </a:cubicBezTo>
                    <a:cubicBezTo>
                      <a:pt x="13" y="33"/>
                      <a:pt x="16" y="35"/>
                      <a:pt x="19" y="38"/>
                    </a:cubicBezTo>
                    <a:cubicBezTo>
                      <a:pt x="20" y="37"/>
                      <a:pt x="20" y="37"/>
                      <a:pt x="20" y="37"/>
                    </a:cubicBezTo>
                    <a:cubicBezTo>
                      <a:pt x="20" y="37"/>
                      <a:pt x="20" y="37"/>
                      <a:pt x="20" y="37"/>
                    </a:cubicBezTo>
                    <a:cubicBezTo>
                      <a:pt x="20" y="37"/>
                      <a:pt x="20" y="37"/>
                      <a:pt x="20" y="37"/>
                    </a:cubicBezTo>
                    <a:cubicBezTo>
                      <a:pt x="21" y="37"/>
                      <a:pt x="21" y="37"/>
                      <a:pt x="21" y="37"/>
                    </a:cubicBezTo>
                    <a:cubicBezTo>
                      <a:pt x="21" y="36"/>
                      <a:pt x="22" y="36"/>
                      <a:pt x="22" y="36"/>
                    </a:cubicBezTo>
                    <a:cubicBezTo>
                      <a:pt x="22" y="36"/>
                      <a:pt x="22" y="36"/>
                      <a:pt x="23" y="37"/>
                    </a:cubicBezTo>
                    <a:cubicBezTo>
                      <a:pt x="23" y="37"/>
                      <a:pt x="23" y="37"/>
                      <a:pt x="23" y="37"/>
                    </a:cubicBezTo>
                    <a:cubicBezTo>
                      <a:pt x="22" y="36"/>
                      <a:pt x="21" y="36"/>
                      <a:pt x="20" y="35"/>
                    </a:cubicBezTo>
                    <a:cubicBezTo>
                      <a:pt x="19" y="33"/>
                      <a:pt x="19" y="32"/>
                      <a:pt x="19" y="31"/>
                    </a:cubicBezTo>
                    <a:cubicBezTo>
                      <a:pt x="18" y="29"/>
                      <a:pt x="19" y="27"/>
                      <a:pt x="21" y="29"/>
                    </a:cubicBezTo>
                    <a:cubicBezTo>
                      <a:pt x="23" y="29"/>
                      <a:pt x="31" y="36"/>
                      <a:pt x="30" y="38"/>
                    </a:cubicBezTo>
                    <a:cubicBezTo>
                      <a:pt x="31" y="38"/>
                      <a:pt x="32" y="38"/>
                      <a:pt x="32" y="38"/>
                    </a:cubicBezTo>
                    <a:cubicBezTo>
                      <a:pt x="32" y="38"/>
                      <a:pt x="32" y="38"/>
                      <a:pt x="32" y="38"/>
                    </a:cubicBezTo>
                    <a:cubicBezTo>
                      <a:pt x="33" y="38"/>
                      <a:pt x="34" y="39"/>
                      <a:pt x="35" y="40"/>
                    </a:cubicBezTo>
                    <a:cubicBezTo>
                      <a:pt x="36" y="40"/>
                      <a:pt x="36" y="40"/>
                      <a:pt x="36" y="40"/>
                    </a:cubicBezTo>
                    <a:cubicBezTo>
                      <a:pt x="37" y="41"/>
                      <a:pt x="37" y="41"/>
                      <a:pt x="38" y="41"/>
                    </a:cubicBezTo>
                    <a:cubicBezTo>
                      <a:pt x="39" y="41"/>
                      <a:pt x="39" y="41"/>
                      <a:pt x="39" y="41"/>
                    </a:cubicBezTo>
                    <a:cubicBezTo>
                      <a:pt x="39" y="41"/>
                      <a:pt x="39" y="41"/>
                      <a:pt x="39" y="41"/>
                    </a:cubicBezTo>
                    <a:cubicBezTo>
                      <a:pt x="39" y="41"/>
                      <a:pt x="40" y="41"/>
                      <a:pt x="40" y="41"/>
                    </a:cubicBezTo>
                    <a:cubicBezTo>
                      <a:pt x="40" y="41"/>
                      <a:pt x="40" y="41"/>
                      <a:pt x="40" y="41"/>
                    </a:cubicBezTo>
                    <a:cubicBezTo>
                      <a:pt x="40" y="40"/>
                      <a:pt x="40" y="40"/>
                      <a:pt x="40" y="40"/>
                    </a:cubicBezTo>
                    <a:cubicBezTo>
                      <a:pt x="40" y="39"/>
                      <a:pt x="39" y="38"/>
                      <a:pt x="39" y="37"/>
                    </a:cubicBezTo>
                    <a:cubicBezTo>
                      <a:pt x="39" y="36"/>
                      <a:pt x="40" y="34"/>
                      <a:pt x="41" y="33"/>
                    </a:cubicBezTo>
                    <a:cubicBezTo>
                      <a:pt x="40" y="30"/>
                      <a:pt x="40" y="31"/>
                      <a:pt x="40" y="28"/>
                    </a:cubicBezTo>
                    <a:cubicBezTo>
                      <a:pt x="41" y="28"/>
                      <a:pt x="41" y="29"/>
                      <a:pt x="41" y="29"/>
                    </a:cubicBezTo>
                    <a:cubicBezTo>
                      <a:pt x="41" y="28"/>
                      <a:pt x="41" y="26"/>
                      <a:pt x="41" y="24"/>
                    </a:cubicBezTo>
                    <a:cubicBezTo>
                      <a:pt x="41" y="24"/>
                      <a:pt x="40" y="24"/>
                      <a:pt x="40" y="24"/>
                    </a:cubicBezTo>
                    <a:cubicBezTo>
                      <a:pt x="40" y="23"/>
                      <a:pt x="42" y="23"/>
                      <a:pt x="42" y="22"/>
                    </a:cubicBezTo>
                    <a:cubicBezTo>
                      <a:pt x="42" y="23"/>
                      <a:pt x="42" y="24"/>
                      <a:pt x="42" y="25"/>
                    </a:cubicBezTo>
                    <a:cubicBezTo>
                      <a:pt x="42" y="25"/>
                      <a:pt x="42" y="25"/>
                      <a:pt x="42" y="25"/>
                    </a:cubicBezTo>
                    <a:cubicBezTo>
                      <a:pt x="44" y="26"/>
                      <a:pt x="43" y="23"/>
                      <a:pt x="43" y="22"/>
                    </a:cubicBezTo>
                    <a:cubicBezTo>
                      <a:pt x="43" y="19"/>
                      <a:pt x="43" y="16"/>
                      <a:pt x="44" y="13"/>
                    </a:cubicBezTo>
                    <a:cubicBezTo>
                      <a:pt x="44" y="11"/>
                      <a:pt x="44" y="9"/>
                      <a:pt x="45" y="7"/>
                    </a:cubicBezTo>
                    <a:cubicBezTo>
                      <a:pt x="45" y="7"/>
                      <a:pt x="46" y="6"/>
                      <a:pt x="46" y="6"/>
                    </a:cubicBezTo>
                    <a:cubicBezTo>
                      <a:pt x="46" y="5"/>
                      <a:pt x="46" y="1"/>
                      <a:pt x="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6" name="Freeform 3018">
                <a:extLst>
                  <a:ext uri="{FF2B5EF4-FFF2-40B4-BE49-F238E27FC236}">
                    <a16:creationId xmlns:a16="http://schemas.microsoft.com/office/drawing/2014/main" id="{8A14B447-FDD1-43CA-B0C4-C45CD4E1E425}"/>
                  </a:ext>
                </a:extLst>
              </p:cNvPr>
              <p:cNvSpPr>
                <a:spLocks/>
              </p:cNvSpPr>
              <p:nvPr/>
            </p:nvSpPr>
            <p:spPr bwMode="auto">
              <a:xfrm>
                <a:off x="1381" y="24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7" name="Freeform 3019">
                <a:extLst>
                  <a:ext uri="{FF2B5EF4-FFF2-40B4-BE49-F238E27FC236}">
                    <a16:creationId xmlns:a16="http://schemas.microsoft.com/office/drawing/2014/main" id="{B4C2BD6A-D8AE-418D-98C3-A18FA268438D}"/>
                  </a:ext>
                </a:extLst>
              </p:cNvPr>
              <p:cNvSpPr>
                <a:spLocks/>
              </p:cNvSpPr>
              <p:nvPr/>
            </p:nvSpPr>
            <p:spPr bwMode="auto">
              <a:xfrm>
                <a:off x="1391" y="242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8" name="Freeform 3020">
                <a:extLst>
                  <a:ext uri="{FF2B5EF4-FFF2-40B4-BE49-F238E27FC236}">
                    <a16:creationId xmlns:a16="http://schemas.microsoft.com/office/drawing/2014/main" id="{19527749-47EC-4B3D-9798-5C26ECE273DB}"/>
                  </a:ext>
                </a:extLst>
              </p:cNvPr>
              <p:cNvSpPr>
                <a:spLocks/>
              </p:cNvSpPr>
              <p:nvPr/>
            </p:nvSpPr>
            <p:spPr bwMode="auto">
              <a:xfrm>
                <a:off x="1376" y="2428"/>
                <a:ext cx="52" cy="29"/>
              </a:xfrm>
              <a:custGeom>
                <a:avLst/>
                <a:gdLst>
                  <a:gd name="T0" fmla="*/ 21 w 22"/>
                  <a:gd name="T1" fmla="*/ 10 h 12"/>
                  <a:gd name="T2" fmla="*/ 21 w 22"/>
                  <a:gd name="T3" fmla="*/ 10 h 12"/>
                  <a:gd name="T4" fmla="*/ 21 w 22"/>
                  <a:gd name="T5" fmla="*/ 9 h 12"/>
                  <a:gd name="T6" fmla="*/ 21 w 22"/>
                  <a:gd name="T7" fmla="*/ 9 h 12"/>
                  <a:gd name="T8" fmla="*/ 21 w 22"/>
                  <a:gd name="T9" fmla="*/ 7 h 12"/>
                  <a:gd name="T10" fmla="*/ 21 w 22"/>
                  <a:gd name="T11" fmla="*/ 7 h 12"/>
                  <a:gd name="T12" fmla="*/ 22 w 22"/>
                  <a:gd name="T13" fmla="*/ 6 h 12"/>
                  <a:gd name="T14" fmla="*/ 22 w 22"/>
                  <a:gd name="T15" fmla="*/ 6 h 12"/>
                  <a:gd name="T16" fmla="*/ 21 w 22"/>
                  <a:gd name="T17" fmla="*/ 6 h 12"/>
                  <a:gd name="T18" fmla="*/ 20 w 22"/>
                  <a:gd name="T19" fmla="*/ 6 h 12"/>
                  <a:gd name="T20" fmla="*/ 20 w 22"/>
                  <a:gd name="T21" fmla="*/ 6 h 12"/>
                  <a:gd name="T22" fmla="*/ 19 w 22"/>
                  <a:gd name="T23" fmla="*/ 5 h 12"/>
                  <a:gd name="T24" fmla="*/ 19 w 22"/>
                  <a:gd name="T25" fmla="*/ 5 h 12"/>
                  <a:gd name="T26" fmla="*/ 18 w 22"/>
                  <a:gd name="T27" fmla="*/ 5 h 12"/>
                  <a:gd name="T28" fmla="*/ 18 w 22"/>
                  <a:gd name="T29" fmla="*/ 5 h 12"/>
                  <a:gd name="T30" fmla="*/ 18 w 22"/>
                  <a:gd name="T31" fmla="*/ 5 h 12"/>
                  <a:gd name="T32" fmla="*/ 17 w 22"/>
                  <a:gd name="T33" fmla="*/ 6 h 12"/>
                  <a:gd name="T34" fmla="*/ 16 w 22"/>
                  <a:gd name="T35" fmla="*/ 6 h 12"/>
                  <a:gd name="T36" fmla="*/ 15 w 22"/>
                  <a:gd name="T37" fmla="*/ 6 h 12"/>
                  <a:gd name="T38" fmla="*/ 13 w 22"/>
                  <a:gd name="T39" fmla="*/ 7 h 12"/>
                  <a:gd name="T40" fmla="*/ 14 w 22"/>
                  <a:gd name="T41" fmla="*/ 5 h 12"/>
                  <a:gd name="T42" fmla="*/ 14 w 22"/>
                  <a:gd name="T43" fmla="*/ 5 h 12"/>
                  <a:gd name="T44" fmla="*/ 13 w 22"/>
                  <a:gd name="T45" fmla="*/ 4 h 12"/>
                  <a:gd name="T46" fmla="*/ 12 w 22"/>
                  <a:gd name="T47" fmla="*/ 4 h 12"/>
                  <a:gd name="T48" fmla="*/ 12 w 22"/>
                  <a:gd name="T49" fmla="*/ 3 h 12"/>
                  <a:gd name="T50" fmla="*/ 11 w 22"/>
                  <a:gd name="T51" fmla="*/ 3 h 12"/>
                  <a:gd name="T52" fmla="*/ 9 w 22"/>
                  <a:gd name="T53" fmla="*/ 5 h 12"/>
                  <a:gd name="T54" fmla="*/ 10 w 22"/>
                  <a:gd name="T55" fmla="*/ 2 h 12"/>
                  <a:gd name="T56" fmla="*/ 9 w 22"/>
                  <a:gd name="T57" fmla="*/ 1 h 12"/>
                  <a:gd name="T58" fmla="*/ 8 w 22"/>
                  <a:gd name="T59" fmla="*/ 1 h 12"/>
                  <a:gd name="T60" fmla="*/ 8 w 22"/>
                  <a:gd name="T61" fmla="*/ 1 h 12"/>
                  <a:gd name="T62" fmla="*/ 7 w 22"/>
                  <a:gd name="T63" fmla="*/ 0 h 12"/>
                  <a:gd name="T64" fmla="*/ 7 w 22"/>
                  <a:gd name="T65" fmla="*/ 0 h 12"/>
                  <a:gd name="T66" fmla="*/ 7 w 22"/>
                  <a:gd name="T67" fmla="*/ 0 h 12"/>
                  <a:gd name="T68" fmla="*/ 6 w 22"/>
                  <a:gd name="T69" fmla="*/ 0 h 12"/>
                  <a:gd name="T70" fmla="*/ 6 w 22"/>
                  <a:gd name="T71" fmla="*/ 1 h 12"/>
                  <a:gd name="T72" fmla="*/ 6 w 22"/>
                  <a:gd name="T73" fmla="*/ 2 h 12"/>
                  <a:gd name="T74" fmla="*/ 4 w 22"/>
                  <a:gd name="T75" fmla="*/ 3 h 12"/>
                  <a:gd name="T76" fmla="*/ 4 w 22"/>
                  <a:gd name="T77" fmla="*/ 3 h 12"/>
                  <a:gd name="T78" fmla="*/ 4 w 22"/>
                  <a:gd name="T79" fmla="*/ 3 h 12"/>
                  <a:gd name="T80" fmla="*/ 4 w 22"/>
                  <a:gd name="T81" fmla="*/ 3 h 12"/>
                  <a:gd name="T82" fmla="*/ 4 w 22"/>
                  <a:gd name="T83" fmla="*/ 6 h 12"/>
                  <a:gd name="T84" fmla="*/ 2 w 22"/>
                  <a:gd name="T85" fmla="*/ 4 h 12"/>
                  <a:gd name="T86" fmla="*/ 2 w 22"/>
                  <a:gd name="T87" fmla="*/ 4 h 12"/>
                  <a:gd name="T88" fmla="*/ 1 w 22"/>
                  <a:gd name="T89" fmla="*/ 5 h 12"/>
                  <a:gd name="T90" fmla="*/ 0 w 22"/>
                  <a:gd name="T91" fmla="*/ 7 h 12"/>
                  <a:gd name="T92" fmla="*/ 0 w 22"/>
                  <a:gd name="T93" fmla="*/ 7 h 12"/>
                  <a:gd name="T94" fmla="*/ 5 w 22"/>
                  <a:gd name="T95" fmla="*/ 9 h 12"/>
                  <a:gd name="T96" fmla="*/ 12 w 22"/>
                  <a:gd name="T97" fmla="*/ 11 h 12"/>
                  <a:gd name="T98" fmla="*/ 19 w 22"/>
                  <a:gd name="T99" fmla="*/ 12 h 12"/>
                  <a:gd name="T100" fmla="*/ 21 w 22"/>
                  <a:gd name="T101" fmla="*/ 12 h 12"/>
                  <a:gd name="T102" fmla="*/ 22 w 22"/>
                  <a:gd name="T103" fmla="*/ 10 h 12"/>
                  <a:gd name="T104" fmla="*/ 21 w 22"/>
                  <a:gd name="T10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 h="12">
                    <a:moveTo>
                      <a:pt x="21" y="10"/>
                    </a:moveTo>
                    <a:cubicBezTo>
                      <a:pt x="21" y="10"/>
                      <a:pt x="21" y="10"/>
                      <a:pt x="21" y="10"/>
                    </a:cubicBezTo>
                    <a:cubicBezTo>
                      <a:pt x="21" y="10"/>
                      <a:pt x="21" y="9"/>
                      <a:pt x="21" y="9"/>
                    </a:cubicBezTo>
                    <a:cubicBezTo>
                      <a:pt x="21" y="9"/>
                      <a:pt x="21" y="9"/>
                      <a:pt x="21" y="9"/>
                    </a:cubicBezTo>
                    <a:cubicBezTo>
                      <a:pt x="21" y="8"/>
                      <a:pt x="21" y="8"/>
                      <a:pt x="21" y="7"/>
                    </a:cubicBezTo>
                    <a:cubicBezTo>
                      <a:pt x="21" y="7"/>
                      <a:pt x="21" y="7"/>
                      <a:pt x="21" y="7"/>
                    </a:cubicBezTo>
                    <a:cubicBezTo>
                      <a:pt x="22" y="6"/>
                      <a:pt x="22" y="6"/>
                      <a:pt x="22" y="6"/>
                    </a:cubicBezTo>
                    <a:cubicBezTo>
                      <a:pt x="22" y="6"/>
                      <a:pt x="22" y="6"/>
                      <a:pt x="22" y="6"/>
                    </a:cubicBezTo>
                    <a:cubicBezTo>
                      <a:pt x="21" y="6"/>
                      <a:pt x="21" y="6"/>
                      <a:pt x="21" y="6"/>
                    </a:cubicBezTo>
                    <a:cubicBezTo>
                      <a:pt x="21" y="6"/>
                      <a:pt x="21" y="6"/>
                      <a:pt x="20" y="6"/>
                    </a:cubicBezTo>
                    <a:cubicBezTo>
                      <a:pt x="20" y="6"/>
                      <a:pt x="20" y="6"/>
                      <a:pt x="20" y="6"/>
                    </a:cubicBezTo>
                    <a:cubicBezTo>
                      <a:pt x="19" y="5"/>
                      <a:pt x="19" y="5"/>
                      <a:pt x="19" y="5"/>
                    </a:cubicBezTo>
                    <a:cubicBezTo>
                      <a:pt x="19" y="5"/>
                      <a:pt x="19" y="5"/>
                      <a:pt x="19" y="5"/>
                    </a:cubicBezTo>
                    <a:cubicBezTo>
                      <a:pt x="19" y="5"/>
                      <a:pt x="19" y="5"/>
                      <a:pt x="18" y="5"/>
                    </a:cubicBezTo>
                    <a:cubicBezTo>
                      <a:pt x="18" y="5"/>
                      <a:pt x="18" y="5"/>
                      <a:pt x="18" y="5"/>
                    </a:cubicBezTo>
                    <a:cubicBezTo>
                      <a:pt x="18" y="5"/>
                      <a:pt x="18" y="5"/>
                      <a:pt x="18" y="5"/>
                    </a:cubicBezTo>
                    <a:cubicBezTo>
                      <a:pt x="18" y="6"/>
                      <a:pt x="17" y="6"/>
                      <a:pt x="17" y="6"/>
                    </a:cubicBezTo>
                    <a:cubicBezTo>
                      <a:pt x="16" y="6"/>
                      <a:pt x="16" y="6"/>
                      <a:pt x="16" y="6"/>
                    </a:cubicBezTo>
                    <a:cubicBezTo>
                      <a:pt x="16" y="6"/>
                      <a:pt x="16" y="6"/>
                      <a:pt x="15" y="6"/>
                    </a:cubicBezTo>
                    <a:cubicBezTo>
                      <a:pt x="13" y="7"/>
                      <a:pt x="13" y="7"/>
                      <a:pt x="13" y="7"/>
                    </a:cubicBezTo>
                    <a:cubicBezTo>
                      <a:pt x="14" y="5"/>
                      <a:pt x="14" y="5"/>
                      <a:pt x="14" y="5"/>
                    </a:cubicBezTo>
                    <a:cubicBezTo>
                      <a:pt x="14" y="5"/>
                      <a:pt x="14" y="5"/>
                      <a:pt x="14" y="5"/>
                    </a:cubicBezTo>
                    <a:cubicBezTo>
                      <a:pt x="13" y="4"/>
                      <a:pt x="13" y="4"/>
                      <a:pt x="13" y="4"/>
                    </a:cubicBezTo>
                    <a:cubicBezTo>
                      <a:pt x="12" y="4"/>
                      <a:pt x="12" y="4"/>
                      <a:pt x="12" y="4"/>
                    </a:cubicBezTo>
                    <a:cubicBezTo>
                      <a:pt x="12" y="3"/>
                      <a:pt x="12" y="3"/>
                      <a:pt x="12" y="3"/>
                    </a:cubicBezTo>
                    <a:cubicBezTo>
                      <a:pt x="11" y="3"/>
                      <a:pt x="11" y="3"/>
                      <a:pt x="11" y="3"/>
                    </a:cubicBezTo>
                    <a:cubicBezTo>
                      <a:pt x="9" y="5"/>
                      <a:pt x="9" y="5"/>
                      <a:pt x="9" y="5"/>
                    </a:cubicBezTo>
                    <a:cubicBezTo>
                      <a:pt x="10" y="2"/>
                      <a:pt x="10" y="2"/>
                      <a:pt x="10" y="2"/>
                    </a:cubicBezTo>
                    <a:cubicBezTo>
                      <a:pt x="10" y="2"/>
                      <a:pt x="10" y="2"/>
                      <a:pt x="9" y="1"/>
                    </a:cubicBezTo>
                    <a:cubicBezTo>
                      <a:pt x="9" y="1"/>
                      <a:pt x="9" y="1"/>
                      <a:pt x="8" y="1"/>
                    </a:cubicBezTo>
                    <a:cubicBezTo>
                      <a:pt x="8" y="1"/>
                      <a:pt x="8" y="1"/>
                      <a:pt x="8" y="1"/>
                    </a:cubicBezTo>
                    <a:cubicBezTo>
                      <a:pt x="8" y="0"/>
                      <a:pt x="7" y="0"/>
                      <a:pt x="7" y="0"/>
                    </a:cubicBezTo>
                    <a:cubicBezTo>
                      <a:pt x="7" y="0"/>
                      <a:pt x="7" y="0"/>
                      <a:pt x="7" y="0"/>
                    </a:cubicBezTo>
                    <a:cubicBezTo>
                      <a:pt x="7" y="0"/>
                      <a:pt x="7" y="0"/>
                      <a:pt x="7" y="0"/>
                    </a:cubicBezTo>
                    <a:cubicBezTo>
                      <a:pt x="6" y="0"/>
                      <a:pt x="6" y="0"/>
                      <a:pt x="6" y="0"/>
                    </a:cubicBezTo>
                    <a:cubicBezTo>
                      <a:pt x="6" y="1"/>
                      <a:pt x="6" y="1"/>
                      <a:pt x="6" y="1"/>
                    </a:cubicBezTo>
                    <a:cubicBezTo>
                      <a:pt x="6" y="1"/>
                      <a:pt x="6" y="1"/>
                      <a:pt x="6" y="2"/>
                    </a:cubicBezTo>
                    <a:cubicBezTo>
                      <a:pt x="5" y="3"/>
                      <a:pt x="4" y="3"/>
                      <a:pt x="4" y="3"/>
                    </a:cubicBezTo>
                    <a:cubicBezTo>
                      <a:pt x="4" y="3"/>
                      <a:pt x="4" y="3"/>
                      <a:pt x="4" y="3"/>
                    </a:cubicBezTo>
                    <a:cubicBezTo>
                      <a:pt x="4" y="3"/>
                      <a:pt x="4" y="3"/>
                      <a:pt x="4" y="3"/>
                    </a:cubicBezTo>
                    <a:cubicBezTo>
                      <a:pt x="4" y="3"/>
                      <a:pt x="4" y="3"/>
                      <a:pt x="4" y="3"/>
                    </a:cubicBezTo>
                    <a:cubicBezTo>
                      <a:pt x="4" y="6"/>
                      <a:pt x="4" y="6"/>
                      <a:pt x="4" y="6"/>
                    </a:cubicBezTo>
                    <a:cubicBezTo>
                      <a:pt x="2" y="4"/>
                      <a:pt x="2" y="4"/>
                      <a:pt x="2" y="4"/>
                    </a:cubicBezTo>
                    <a:cubicBezTo>
                      <a:pt x="2" y="4"/>
                      <a:pt x="2" y="4"/>
                      <a:pt x="2" y="4"/>
                    </a:cubicBezTo>
                    <a:cubicBezTo>
                      <a:pt x="1" y="4"/>
                      <a:pt x="1" y="5"/>
                      <a:pt x="1" y="5"/>
                    </a:cubicBezTo>
                    <a:cubicBezTo>
                      <a:pt x="1" y="5"/>
                      <a:pt x="0" y="5"/>
                      <a:pt x="0" y="7"/>
                    </a:cubicBezTo>
                    <a:cubicBezTo>
                      <a:pt x="0" y="7"/>
                      <a:pt x="0" y="7"/>
                      <a:pt x="0" y="7"/>
                    </a:cubicBezTo>
                    <a:cubicBezTo>
                      <a:pt x="1" y="8"/>
                      <a:pt x="3" y="8"/>
                      <a:pt x="5" y="9"/>
                    </a:cubicBezTo>
                    <a:cubicBezTo>
                      <a:pt x="8" y="9"/>
                      <a:pt x="9" y="10"/>
                      <a:pt x="12" y="11"/>
                    </a:cubicBezTo>
                    <a:cubicBezTo>
                      <a:pt x="14" y="12"/>
                      <a:pt x="17" y="12"/>
                      <a:pt x="19" y="12"/>
                    </a:cubicBezTo>
                    <a:cubicBezTo>
                      <a:pt x="19" y="12"/>
                      <a:pt x="21" y="12"/>
                      <a:pt x="21" y="12"/>
                    </a:cubicBezTo>
                    <a:cubicBezTo>
                      <a:pt x="21" y="12"/>
                      <a:pt x="22" y="11"/>
                      <a:pt x="22" y="10"/>
                    </a:cubicBezTo>
                    <a:lnTo>
                      <a:pt x="2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9" name="Freeform 3021">
                <a:extLst>
                  <a:ext uri="{FF2B5EF4-FFF2-40B4-BE49-F238E27FC236}">
                    <a16:creationId xmlns:a16="http://schemas.microsoft.com/office/drawing/2014/main" id="{A1BDE44E-90D7-454C-AD50-6110D3B05D89}"/>
                  </a:ext>
                </a:extLst>
              </p:cNvPr>
              <p:cNvSpPr>
                <a:spLocks/>
              </p:cNvSpPr>
              <p:nvPr/>
            </p:nvSpPr>
            <p:spPr bwMode="auto">
              <a:xfrm>
                <a:off x="1398" y="2386"/>
                <a:ext cx="141" cy="73"/>
              </a:xfrm>
              <a:custGeom>
                <a:avLst/>
                <a:gdLst>
                  <a:gd name="T0" fmla="*/ 56 w 60"/>
                  <a:gd name="T1" fmla="*/ 9 h 31"/>
                  <a:gd name="T2" fmla="*/ 55 w 60"/>
                  <a:gd name="T3" fmla="*/ 9 h 31"/>
                  <a:gd name="T4" fmla="*/ 52 w 60"/>
                  <a:gd name="T5" fmla="*/ 8 h 31"/>
                  <a:gd name="T6" fmla="*/ 52 w 60"/>
                  <a:gd name="T7" fmla="*/ 6 h 31"/>
                  <a:gd name="T8" fmla="*/ 51 w 60"/>
                  <a:gd name="T9" fmla="*/ 4 h 31"/>
                  <a:gd name="T10" fmla="*/ 42 w 60"/>
                  <a:gd name="T11" fmla="*/ 1 h 31"/>
                  <a:gd name="T12" fmla="*/ 34 w 60"/>
                  <a:gd name="T13" fmla="*/ 1 h 31"/>
                  <a:gd name="T14" fmla="*/ 31 w 60"/>
                  <a:gd name="T15" fmla="*/ 2 h 31"/>
                  <a:gd name="T16" fmla="*/ 20 w 60"/>
                  <a:gd name="T17" fmla="*/ 3 h 31"/>
                  <a:gd name="T18" fmla="*/ 10 w 60"/>
                  <a:gd name="T19" fmla="*/ 3 h 31"/>
                  <a:gd name="T20" fmla="*/ 10 w 60"/>
                  <a:gd name="T21" fmla="*/ 4 h 31"/>
                  <a:gd name="T22" fmla="*/ 7 w 60"/>
                  <a:gd name="T23" fmla="*/ 6 h 31"/>
                  <a:gd name="T24" fmla="*/ 4 w 60"/>
                  <a:gd name="T25" fmla="*/ 9 h 31"/>
                  <a:gd name="T26" fmla="*/ 2 w 60"/>
                  <a:gd name="T27" fmla="*/ 10 h 31"/>
                  <a:gd name="T28" fmla="*/ 0 w 60"/>
                  <a:gd name="T29" fmla="*/ 11 h 31"/>
                  <a:gd name="T30" fmla="*/ 0 w 60"/>
                  <a:gd name="T31" fmla="*/ 12 h 31"/>
                  <a:gd name="T32" fmla="*/ 0 w 60"/>
                  <a:gd name="T33" fmla="*/ 13 h 31"/>
                  <a:gd name="T34" fmla="*/ 1 w 60"/>
                  <a:gd name="T35" fmla="*/ 14 h 31"/>
                  <a:gd name="T36" fmla="*/ 0 w 60"/>
                  <a:gd name="T37" fmla="*/ 15 h 31"/>
                  <a:gd name="T38" fmla="*/ 2 w 60"/>
                  <a:gd name="T39" fmla="*/ 18 h 31"/>
                  <a:gd name="T40" fmla="*/ 3 w 60"/>
                  <a:gd name="T41" fmla="*/ 19 h 31"/>
                  <a:gd name="T42" fmla="*/ 5 w 60"/>
                  <a:gd name="T43" fmla="*/ 20 h 31"/>
                  <a:gd name="T44" fmla="*/ 7 w 60"/>
                  <a:gd name="T45" fmla="*/ 21 h 31"/>
                  <a:gd name="T46" fmla="*/ 7 w 60"/>
                  <a:gd name="T47" fmla="*/ 21 h 31"/>
                  <a:gd name="T48" fmla="*/ 8 w 60"/>
                  <a:gd name="T49" fmla="*/ 21 h 31"/>
                  <a:gd name="T50" fmla="*/ 11 w 60"/>
                  <a:gd name="T51" fmla="*/ 21 h 31"/>
                  <a:gd name="T52" fmla="*/ 14 w 60"/>
                  <a:gd name="T53" fmla="*/ 22 h 31"/>
                  <a:gd name="T54" fmla="*/ 15 w 60"/>
                  <a:gd name="T55" fmla="*/ 24 h 31"/>
                  <a:gd name="T56" fmla="*/ 15 w 60"/>
                  <a:gd name="T57" fmla="*/ 26 h 31"/>
                  <a:gd name="T58" fmla="*/ 15 w 60"/>
                  <a:gd name="T59" fmla="*/ 27 h 31"/>
                  <a:gd name="T60" fmla="*/ 15 w 60"/>
                  <a:gd name="T61" fmla="*/ 27 h 31"/>
                  <a:gd name="T62" fmla="*/ 16 w 60"/>
                  <a:gd name="T63" fmla="*/ 29 h 31"/>
                  <a:gd name="T64" fmla="*/ 18 w 60"/>
                  <a:gd name="T65" fmla="*/ 30 h 31"/>
                  <a:gd name="T66" fmla="*/ 19 w 60"/>
                  <a:gd name="T67" fmla="*/ 31 h 31"/>
                  <a:gd name="T68" fmla="*/ 21 w 60"/>
                  <a:gd name="T69" fmla="*/ 30 h 31"/>
                  <a:gd name="T70" fmla="*/ 21 w 60"/>
                  <a:gd name="T71" fmla="*/ 29 h 31"/>
                  <a:gd name="T72" fmla="*/ 23 w 60"/>
                  <a:gd name="T73" fmla="*/ 28 h 31"/>
                  <a:gd name="T74" fmla="*/ 23 w 60"/>
                  <a:gd name="T75" fmla="*/ 27 h 31"/>
                  <a:gd name="T76" fmla="*/ 23 w 60"/>
                  <a:gd name="T77" fmla="*/ 23 h 31"/>
                  <a:gd name="T78" fmla="*/ 27 w 60"/>
                  <a:gd name="T79" fmla="*/ 23 h 31"/>
                  <a:gd name="T80" fmla="*/ 29 w 60"/>
                  <a:gd name="T81" fmla="*/ 21 h 31"/>
                  <a:gd name="T82" fmla="*/ 31 w 60"/>
                  <a:gd name="T83" fmla="*/ 20 h 31"/>
                  <a:gd name="T84" fmla="*/ 32 w 60"/>
                  <a:gd name="T85" fmla="*/ 20 h 31"/>
                  <a:gd name="T86" fmla="*/ 33 w 60"/>
                  <a:gd name="T87" fmla="*/ 21 h 31"/>
                  <a:gd name="T88" fmla="*/ 34 w 60"/>
                  <a:gd name="T89" fmla="*/ 22 h 31"/>
                  <a:gd name="T90" fmla="*/ 34 w 60"/>
                  <a:gd name="T91" fmla="*/ 21 h 31"/>
                  <a:gd name="T92" fmla="*/ 38 w 60"/>
                  <a:gd name="T93" fmla="*/ 18 h 31"/>
                  <a:gd name="T94" fmla="*/ 39 w 60"/>
                  <a:gd name="T95" fmla="*/ 17 h 31"/>
                  <a:gd name="T96" fmla="*/ 39 w 60"/>
                  <a:gd name="T97" fmla="*/ 16 h 31"/>
                  <a:gd name="T98" fmla="*/ 40 w 60"/>
                  <a:gd name="T99" fmla="*/ 14 h 31"/>
                  <a:gd name="T100" fmla="*/ 44 w 60"/>
                  <a:gd name="T101" fmla="*/ 12 h 31"/>
                  <a:gd name="T102" fmla="*/ 44 w 60"/>
                  <a:gd name="T103" fmla="*/ 12 h 31"/>
                  <a:gd name="T104" fmla="*/ 48 w 60"/>
                  <a:gd name="T105" fmla="*/ 14 h 31"/>
                  <a:gd name="T106" fmla="*/ 48 w 60"/>
                  <a:gd name="T107" fmla="*/ 13 h 31"/>
                  <a:gd name="T108" fmla="*/ 48 w 60"/>
                  <a:gd name="T109" fmla="*/ 13 h 31"/>
                  <a:gd name="T110" fmla="*/ 50 w 60"/>
                  <a:gd name="T111" fmla="*/ 13 h 31"/>
                  <a:gd name="T112" fmla="*/ 54 w 60"/>
                  <a:gd name="T113" fmla="*/ 12 h 31"/>
                  <a:gd name="T114" fmla="*/ 60 w 60"/>
                  <a:gd name="T115"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31">
                    <a:moveTo>
                      <a:pt x="59" y="10"/>
                    </a:moveTo>
                    <a:cubicBezTo>
                      <a:pt x="58" y="10"/>
                      <a:pt x="57" y="9"/>
                      <a:pt x="56" y="9"/>
                    </a:cubicBezTo>
                    <a:cubicBezTo>
                      <a:pt x="56" y="9"/>
                      <a:pt x="57" y="9"/>
                      <a:pt x="57" y="8"/>
                    </a:cubicBezTo>
                    <a:cubicBezTo>
                      <a:pt x="56" y="8"/>
                      <a:pt x="55" y="9"/>
                      <a:pt x="55" y="9"/>
                    </a:cubicBezTo>
                    <a:cubicBezTo>
                      <a:pt x="54" y="9"/>
                      <a:pt x="54" y="9"/>
                      <a:pt x="53" y="8"/>
                    </a:cubicBezTo>
                    <a:cubicBezTo>
                      <a:pt x="53" y="8"/>
                      <a:pt x="52" y="9"/>
                      <a:pt x="52" y="8"/>
                    </a:cubicBezTo>
                    <a:cubicBezTo>
                      <a:pt x="51" y="7"/>
                      <a:pt x="51" y="6"/>
                      <a:pt x="52" y="5"/>
                    </a:cubicBezTo>
                    <a:cubicBezTo>
                      <a:pt x="52" y="5"/>
                      <a:pt x="52" y="6"/>
                      <a:pt x="52" y="6"/>
                    </a:cubicBezTo>
                    <a:cubicBezTo>
                      <a:pt x="53" y="6"/>
                      <a:pt x="54" y="7"/>
                      <a:pt x="55" y="7"/>
                    </a:cubicBezTo>
                    <a:cubicBezTo>
                      <a:pt x="54" y="6"/>
                      <a:pt x="52" y="5"/>
                      <a:pt x="51" y="4"/>
                    </a:cubicBezTo>
                    <a:cubicBezTo>
                      <a:pt x="50" y="3"/>
                      <a:pt x="49" y="3"/>
                      <a:pt x="47" y="3"/>
                    </a:cubicBezTo>
                    <a:cubicBezTo>
                      <a:pt x="45" y="3"/>
                      <a:pt x="44" y="2"/>
                      <a:pt x="42" y="1"/>
                    </a:cubicBezTo>
                    <a:cubicBezTo>
                      <a:pt x="41" y="0"/>
                      <a:pt x="39" y="2"/>
                      <a:pt x="38" y="2"/>
                    </a:cubicBezTo>
                    <a:cubicBezTo>
                      <a:pt x="37" y="1"/>
                      <a:pt x="35" y="1"/>
                      <a:pt x="34" y="1"/>
                    </a:cubicBezTo>
                    <a:cubicBezTo>
                      <a:pt x="33" y="1"/>
                      <a:pt x="33" y="0"/>
                      <a:pt x="32" y="0"/>
                    </a:cubicBezTo>
                    <a:cubicBezTo>
                      <a:pt x="33" y="1"/>
                      <a:pt x="32" y="1"/>
                      <a:pt x="31" y="2"/>
                    </a:cubicBezTo>
                    <a:cubicBezTo>
                      <a:pt x="30" y="2"/>
                      <a:pt x="28" y="3"/>
                      <a:pt x="26" y="3"/>
                    </a:cubicBezTo>
                    <a:cubicBezTo>
                      <a:pt x="24" y="3"/>
                      <a:pt x="22" y="3"/>
                      <a:pt x="20" y="3"/>
                    </a:cubicBezTo>
                    <a:cubicBezTo>
                      <a:pt x="18" y="2"/>
                      <a:pt x="16" y="2"/>
                      <a:pt x="14" y="1"/>
                    </a:cubicBezTo>
                    <a:cubicBezTo>
                      <a:pt x="13" y="1"/>
                      <a:pt x="11" y="3"/>
                      <a:pt x="10" y="3"/>
                    </a:cubicBezTo>
                    <a:cubicBezTo>
                      <a:pt x="10" y="4"/>
                      <a:pt x="10" y="4"/>
                      <a:pt x="10" y="4"/>
                    </a:cubicBezTo>
                    <a:cubicBezTo>
                      <a:pt x="10" y="4"/>
                      <a:pt x="10" y="4"/>
                      <a:pt x="10" y="4"/>
                    </a:cubicBezTo>
                    <a:cubicBezTo>
                      <a:pt x="9" y="5"/>
                      <a:pt x="8" y="5"/>
                      <a:pt x="8" y="6"/>
                    </a:cubicBezTo>
                    <a:cubicBezTo>
                      <a:pt x="7" y="6"/>
                      <a:pt x="7" y="6"/>
                      <a:pt x="7" y="6"/>
                    </a:cubicBezTo>
                    <a:cubicBezTo>
                      <a:pt x="7" y="7"/>
                      <a:pt x="7" y="7"/>
                      <a:pt x="6" y="7"/>
                    </a:cubicBezTo>
                    <a:cubicBezTo>
                      <a:pt x="6" y="8"/>
                      <a:pt x="5" y="9"/>
                      <a:pt x="4" y="9"/>
                    </a:cubicBezTo>
                    <a:cubicBezTo>
                      <a:pt x="3" y="10"/>
                      <a:pt x="3" y="10"/>
                      <a:pt x="3" y="10"/>
                    </a:cubicBezTo>
                    <a:cubicBezTo>
                      <a:pt x="3" y="10"/>
                      <a:pt x="2" y="10"/>
                      <a:pt x="2" y="10"/>
                    </a:cubicBezTo>
                    <a:cubicBezTo>
                      <a:pt x="1" y="11"/>
                      <a:pt x="1" y="11"/>
                      <a:pt x="1" y="11"/>
                    </a:cubicBezTo>
                    <a:cubicBezTo>
                      <a:pt x="1" y="11"/>
                      <a:pt x="1" y="11"/>
                      <a:pt x="0" y="11"/>
                    </a:cubicBezTo>
                    <a:cubicBezTo>
                      <a:pt x="0" y="11"/>
                      <a:pt x="0" y="12"/>
                      <a:pt x="0" y="12"/>
                    </a:cubicBezTo>
                    <a:cubicBezTo>
                      <a:pt x="0" y="12"/>
                      <a:pt x="0" y="12"/>
                      <a:pt x="0" y="12"/>
                    </a:cubicBezTo>
                    <a:cubicBezTo>
                      <a:pt x="2" y="11"/>
                      <a:pt x="2" y="11"/>
                      <a:pt x="2" y="11"/>
                    </a:cubicBezTo>
                    <a:cubicBezTo>
                      <a:pt x="0" y="13"/>
                      <a:pt x="0" y="13"/>
                      <a:pt x="0" y="13"/>
                    </a:cubicBezTo>
                    <a:cubicBezTo>
                      <a:pt x="0" y="13"/>
                      <a:pt x="0" y="13"/>
                      <a:pt x="0" y="13"/>
                    </a:cubicBezTo>
                    <a:cubicBezTo>
                      <a:pt x="1" y="14"/>
                      <a:pt x="1" y="14"/>
                      <a:pt x="1" y="14"/>
                    </a:cubicBezTo>
                    <a:cubicBezTo>
                      <a:pt x="1" y="15"/>
                      <a:pt x="1" y="15"/>
                      <a:pt x="0" y="15"/>
                    </a:cubicBezTo>
                    <a:cubicBezTo>
                      <a:pt x="0" y="15"/>
                      <a:pt x="0" y="15"/>
                      <a:pt x="0" y="15"/>
                    </a:cubicBezTo>
                    <a:cubicBezTo>
                      <a:pt x="0" y="16"/>
                      <a:pt x="0" y="16"/>
                      <a:pt x="0" y="16"/>
                    </a:cubicBezTo>
                    <a:cubicBezTo>
                      <a:pt x="0" y="16"/>
                      <a:pt x="1" y="17"/>
                      <a:pt x="2" y="18"/>
                    </a:cubicBezTo>
                    <a:cubicBezTo>
                      <a:pt x="2" y="18"/>
                      <a:pt x="3" y="18"/>
                      <a:pt x="3" y="19"/>
                    </a:cubicBezTo>
                    <a:cubicBezTo>
                      <a:pt x="3" y="19"/>
                      <a:pt x="3" y="19"/>
                      <a:pt x="3" y="19"/>
                    </a:cubicBezTo>
                    <a:cubicBezTo>
                      <a:pt x="4" y="19"/>
                      <a:pt x="4" y="19"/>
                      <a:pt x="4" y="20"/>
                    </a:cubicBezTo>
                    <a:cubicBezTo>
                      <a:pt x="4" y="20"/>
                      <a:pt x="5" y="20"/>
                      <a:pt x="5" y="20"/>
                    </a:cubicBezTo>
                    <a:cubicBezTo>
                      <a:pt x="6" y="20"/>
                      <a:pt x="6" y="20"/>
                      <a:pt x="6" y="21"/>
                    </a:cubicBezTo>
                    <a:cubicBezTo>
                      <a:pt x="7" y="21"/>
                      <a:pt x="7" y="21"/>
                      <a:pt x="7" y="21"/>
                    </a:cubicBezTo>
                    <a:cubicBezTo>
                      <a:pt x="7" y="21"/>
                      <a:pt x="7" y="21"/>
                      <a:pt x="7" y="21"/>
                    </a:cubicBezTo>
                    <a:cubicBezTo>
                      <a:pt x="7" y="21"/>
                      <a:pt x="7" y="21"/>
                      <a:pt x="7" y="21"/>
                    </a:cubicBezTo>
                    <a:cubicBezTo>
                      <a:pt x="7" y="21"/>
                      <a:pt x="7" y="21"/>
                      <a:pt x="8" y="21"/>
                    </a:cubicBezTo>
                    <a:cubicBezTo>
                      <a:pt x="8" y="21"/>
                      <a:pt x="8" y="21"/>
                      <a:pt x="8" y="21"/>
                    </a:cubicBezTo>
                    <a:cubicBezTo>
                      <a:pt x="9" y="20"/>
                      <a:pt x="10" y="20"/>
                      <a:pt x="11" y="21"/>
                    </a:cubicBezTo>
                    <a:cubicBezTo>
                      <a:pt x="11" y="21"/>
                      <a:pt x="11" y="21"/>
                      <a:pt x="11" y="21"/>
                    </a:cubicBezTo>
                    <a:cubicBezTo>
                      <a:pt x="11" y="21"/>
                      <a:pt x="12" y="21"/>
                      <a:pt x="12" y="21"/>
                    </a:cubicBezTo>
                    <a:cubicBezTo>
                      <a:pt x="12" y="21"/>
                      <a:pt x="13" y="21"/>
                      <a:pt x="14" y="22"/>
                    </a:cubicBezTo>
                    <a:cubicBezTo>
                      <a:pt x="14" y="22"/>
                      <a:pt x="14" y="22"/>
                      <a:pt x="14" y="22"/>
                    </a:cubicBezTo>
                    <a:cubicBezTo>
                      <a:pt x="15" y="22"/>
                      <a:pt x="15" y="23"/>
                      <a:pt x="15" y="24"/>
                    </a:cubicBezTo>
                    <a:cubicBezTo>
                      <a:pt x="15" y="24"/>
                      <a:pt x="15" y="25"/>
                      <a:pt x="15" y="25"/>
                    </a:cubicBezTo>
                    <a:cubicBezTo>
                      <a:pt x="15" y="26"/>
                      <a:pt x="15" y="26"/>
                      <a:pt x="15" y="26"/>
                    </a:cubicBezTo>
                    <a:cubicBezTo>
                      <a:pt x="15" y="26"/>
                      <a:pt x="15" y="26"/>
                      <a:pt x="15" y="26"/>
                    </a:cubicBezTo>
                    <a:cubicBezTo>
                      <a:pt x="15" y="26"/>
                      <a:pt x="15" y="26"/>
                      <a:pt x="15" y="27"/>
                    </a:cubicBezTo>
                    <a:cubicBezTo>
                      <a:pt x="15" y="27"/>
                      <a:pt x="15" y="27"/>
                      <a:pt x="15" y="27"/>
                    </a:cubicBezTo>
                    <a:cubicBezTo>
                      <a:pt x="15" y="27"/>
                      <a:pt x="15" y="27"/>
                      <a:pt x="15" y="27"/>
                    </a:cubicBezTo>
                    <a:cubicBezTo>
                      <a:pt x="16" y="27"/>
                      <a:pt x="16" y="27"/>
                      <a:pt x="17" y="28"/>
                    </a:cubicBezTo>
                    <a:cubicBezTo>
                      <a:pt x="17" y="28"/>
                      <a:pt x="16" y="29"/>
                      <a:pt x="16" y="29"/>
                    </a:cubicBezTo>
                    <a:cubicBezTo>
                      <a:pt x="16" y="30"/>
                      <a:pt x="18" y="30"/>
                      <a:pt x="18" y="31"/>
                    </a:cubicBezTo>
                    <a:cubicBezTo>
                      <a:pt x="18" y="30"/>
                      <a:pt x="18" y="30"/>
                      <a:pt x="18" y="30"/>
                    </a:cubicBezTo>
                    <a:cubicBezTo>
                      <a:pt x="19" y="31"/>
                      <a:pt x="19" y="31"/>
                      <a:pt x="19" y="31"/>
                    </a:cubicBezTo>
                    <a:cubicBezTo>
                      <a:pt x="19" y="31"/>
                      <a:pt x="19" y="31"/>
                      <a:pt x="19" y="31"/>
                    </a:cubicBezTo>
                    <a:cubicBezTo>
                      <a:pt x="20" y="31"/>
                      <a:pt x="20" y="30"/>
                      <a:pt x="21" y="30"/>
                    </a:cubicBezTo>
                    <a:cubicBezTo>
                      <a:pt x="21" y="30"/>
                      <a:pt x="21" y="30"/>
                      <a:pt x="21" y="30"/>
                    </a:cubicBezTo>
                    <a:cubicBezTo>
                      <a:pt x="21" y="30"/>
                      <a:pt x="21" y="30"/>
                      <a:pt x="21" y="30"/>
                    </a:cubicBezTo>
                    <a:cubicBezTo>
                      <a:pt x="21" y="29"/>
                      <a:pt x="21" y="29"/>
                      <a:pt x="21" y="29"/>
                    </a:cubicBezTo>
                    <a:cubicBezTo>
                      <a:pt x="21" y="29"/>
                      <a:pt x="21" y="29"/>
                      <a:pt x="21" y="29"/>
                    </a:cubicBezTo>
                    <a:cubicBezTo>
                      <a:pt x="22" y="28"/>
                      <a:pt x="22" y="28"/>
                      <a:pt x="23" y="28"/>
                    </a:cubicBezTo>
                    <a:cubicBezTo>
                      <a:pt x="23" y="28"/>
                      <a:pt x="23" y="28"/>
                      <a:pt x="23" y="28"/>
                    </a:cubicBezTo>
                    <a:cubicBezTo>
                      <a:pt x="23" y="27"/>
                      <a:pt x="23" y="27"/>
                      <a:pt x="23" y="27"/>
                    </a:cubicBezTo>
                    <a:cubicBezTo>
                      <a:pt x="23" y="27"/>
                      <a:pt x="23" y="26"/>
                      <a:pt x="22" y="26"/>
                    </a:cubicBezTo>
                    <a:cubicBezTo>
                      <a:pt x="22" y="25"/>
                      <a:pt x="22" y="24"/>
                      <a:pt x="23" y="23"/>
                    </a:cubicBezTo>
                    <a:cubicBezTo>
                      <a:pt x="23" y="22"/>
                      <a:pt x="26" y="22"/>
                      <a:pt x="26" y="22"/>
                    </a:cubicBezTo>
                    <a:cubicBezTo>
                      <a:pt x="26" y="22"/>
                      <a:pt x="27" y="23"/>
                      <a:pt x="27" y="23"/>
                    </a:cubicBezTo>
                    <a:cubicBezTo>
                      <a:pt x="27" y="23"/>
                      <a:pt x="27" y="23"/>
                      <a:pt x="27" y="23"/>
                    </a:cubicBezTo>
                    <a:cubicBezTo>
                      <a:pt x="28" y="22"/>
                      <a:pt x="29" y="21"/>
                      <a:pt x="29" y="21"/>
                    </a:cubicBezTo>
                    <a:cubicBezTo>
                      <a:pt x="30" y="20"/>
                      <a:pt x="30" y="20"/>
                      <a:pt x="30" y="20"/>
                    </a:cubicBezTo>
                    <a:cubicBezTo>
                      <a:pt x="30" y="20"/>
                      <a:pt x="31" y="20"/>
                      <a:pt x="31" y="20"/>
                    </a:cubicBezTo>
                    <a:cubicBezTo>
                      <a:pt x="32" y="19"/>
                      <a:pt x="32" y="19"/>
                      <a:pt x="32" y="19"/>
                    </a:cubicBezTo>
                    <a:cubicBezTo>
                      <a:pt x="32" y="20"/>
                      <a:pt x="32" y="20"/>
                      <a:pt x="32" y="20"/>
                    </a:cubicBezTo>
                    <a:cubicBezTo>
                      <a:pt x="33" y="20"/>
                      <a:pt x="33" y="20"/>
                      <a:pt x="33" y="21"/>
                    </a:cubicBezTo>
                    <a:cubicBezTo>
                      <a:pt x="33" y="21"/>
                      <a:pt x="33" y="21"/>
                      <a:pt x="33" y="21"/>
                    </a:cubicBezTo>
                    <a:cubicBezTo>
                      <a:pt x="33" y="21"/>
                      <a:pt x="34" y="21"/>
                      <a:pt x="34" y="22"/>
                    </a:cubicBezTo>
                    <a:cubicBezTo>
                      <a:pt x="34" y="22"/>
                      <a:pt x="34" y="22"/>
                      <a:pt x="34" y="22"/>
                    </a:cubicBezTo>
                    <a:cubicBezTo>
                      <a:pt x="34" y="22"/>
                      <a:pt x="34" y="21"/>
                      <a:pt x="34" y="21"/>
                    </a:cubicBezTo>
                    <a:cubicBezTo>
                      <a:pt x="34" y="21"/>
                      <a:pt x="34" y="21"/>
                      <a:pt x="34" y="21"/>
                    </a:cubicBezTo>
                    <a:cubicBezTo>
                      <a:pt x="34" y="21"/>
                      <a:pt x="35" y="20"/>
                      <a:pt x="35" y="20"/>
                    </a:cubicBezTo>
                    <a:cubicBezTo>
                      <a:pt x="36" y="19"/>
                      <a:pt x="37" y="19"/>
                      <a:pt x="38" y="18"/>
                    </a:cubicBezTo>
                    <a:cubicBezTo>
                      <a:pt x="38" y="18"/>
                      <a:pt x="39" y="17"/>
                      <a:pt x="39" y="17"/>
                    </a:cubicBezTo>
                    <a:cubicBezTo>
                      <a:pt x="39" y="17"/>
                      <a:pt x="39" y="17"/>
                      <a:pt x="39" y="17"/>
                    </a:cubicBezTo>
                    <a:cubicBezTo>
                      <a:pt x="39" y="16"/>
                      <a:pt x="39" y="16"/>
                      <a:pt x="39" y="16"/>
                    </a:cubicBezTo>
                    <a:cubicBezTo>
                      <a:pt x="39" y="16"/>
                      <a:pt x="39" y="16"/>
                      <a:pt x="39" y="16"/>
                    </a:cubicBezTo>
                    <a:cubicBezTo>
                      <a:pt x="39" y="16"/>
                      <a:pt x="39" y="16"/>
                      <a:pt x="39" y="16"/>
                    </a:cubicBezTo>
                    <a:cubicBezTo>
                      <a:pt x="39" y="15"/>
                      <a:pt x="39" y="14"/>
                      <a:pt x="40" y="14"/>
                    </a:cubicBezTo>
                    <a:cubicBezTo>
                      <a:pt x="41" y="13"/>
                      <a:pt x="42" y="12"/>
                      <a:pt x="43" y="12"/>
                    </a:cubicBezTo>
                    <a:cubicBezTo>
                      <a:pt x="43" y="12"/>
                      <a:pt x="43" y="12"/>
                      <a:pt x="44" y="12"/>
                    </a:cubicBezTo>
                    <a:cubicBezTo>
                      <a:pt x="44" y="12"/>
                      <a:pt x="44" y="12"/>
                      <a:pt x="44" y="12"/>
                    </a:cubicBezTo>
                    <a:cubicBezTo>
                      <a:pt x="44" y="12"/>
                      <a:pt x="44" y="12"/>
                      <a:pt x="44" y="12"/>
                    </a:cubicBezTo>
                    <a:cubicBezTo>
                      <a:pt x="45" y="12"/>
                      <a:pt x="45" y="12"/>
                      <a:pt x="46" y="13"/>
                    </a:cubicBezTo>
                    <a:cubicBezTo>
                      <a:pt x="47" y="13"/>
                      <a:pt x="47" y="14"/>
                      <a:pt x="48" y="14"/>
                    </a:cubicBezTo>
                    <a:cubicBezTo>
                      <a:pt x="48" y="14"/>
                      <a:pt x="48" y="14"/>
                      <a:pt x="48" y="14"/>
                    </a:cubicBezTo>
                    <a:cubicBezTo>
                      <a:pt x="48" y="13"/>
                      <a:pt x="48" y="13"/>
                      <a:pt x="48" y="13"/>
                    </a:cubicBezTo>
                    <a:cubicBezTo>
                      <a:pt x="48" y="13"/>
                      <a:pt x="48" y="13"/>
                      <a:pt x="48" y="13"/>
                    </a:cubicBezTo>
                    <a:cubicBezTo>
                      <a:pt x="48" y="13"/>
                      <a:pt x="48" y="13"/>
                      <a:pt x="48" y="13"/>
                    </a:cubicBezTo>
                    <a:cubicBezTo>
                      <a:pt x="49" y="13"/>
                      <a:pt x="49" y="13"/>
                      <a:pt x="49" y="13"/>
                    </a:cubicBezTo>
                    <a:cubicBezTo>
                      <a:pt x="50" y="13"/>
                      <a:pt x="50" y="13"/>
                      <a:pt x="50" y="13"/>
                    </a:cubicBezTo>
                    <a:cubicBezTo>
                      <a:pt x="50" y="13"/>
                      <a:pt x="50" y="13"/>
                      <a:pt x="50" y="13"/>
                    </a:cubicBezTo>
                    <a:cubicBezTo>
                      <a:pt x="51" y="12"/>
                      <a:pt x="53" y="12"/>
                      <a:pt x="54" y="12"/>
                    </a:cubicBezTo>
                    <a:cubicBezTo>
                      <a:pt x="56" y="11"/>
                      <a:pt x="58" y="11"/>
                      <a:pt x="60" y="10"/>
                    </a:cubicBezTo>
                    <a:cubicBezTo>
                      <a:pt x="60" y="10"/>
                      <a:pt x="60" y="10"/>
                      <a:pt x="60" y="10"/>
                    </a:cubicBezTo>
                    <a:cubicBezTo>
                      <a:pt x="60" y="10"/>
                      <a:pt x="59" y="10"/>
                      <a:pt x="5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0" name="Rectangle 3022">
                <a:extLst>
                  <a:ext uri="{FF2B5EF4-FFF2-40B4-BE49-F238E27FC236}">
                    <a16:creationId xmlns:a16="http://schemas.microsoft.com/office/drawing/2014/main" id="{13DD7510-E394-4466-878E-ACC639E42CC8}"/>
                  </a:ext>
                </a:extLst>
              </p:cNvPr>
              <p:cNvSpPr>
                <a:spLocks noChangeArrowheads="1"/>
              </p:cNvSpPr>
              <p:nvPr/>
            </p:nvSpPr>
            <p:spPr bwMode="auto">
              <a:xfrm>
                <a:off x="1393" y="241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1" name="Freeform 3023">
                <a:extLst>
                  <a:ext uri="{FF2B5EF4-FFF2-40B4-BE49-F238E27FC236}">
                    <a16:creationId xmlns:a16="http://schemas.microsoft.com/office/drawing/2014/main" id="{9EBC1871-D92B-4D97-A472-4DA76EFC8FC9}"/>
                  </a:ext>
                </a:extLst>
              </p:cNvPr>
              <p:cNvSpPr>
                <a:spLocks/>
              </p:cNvSpPr>
              <p:nvPr/>
            </p:nvSpPr>
            <p:spPr bwMode="auto">
              <a:xfrm>
                <a:off x="1324" y="2343"/>
                <a:ext cx="93" cy="100"/>
              </a:xfrm>
              <a:custGeom>
                <a:avLst/>
                <a:gdLst>
                  <a:gd name="T0" fmla="*/ 33 w 39"/>
                  <a:gd name="T1" fmla="*/ 20 h 42"/>
                  <a:gd name="T2" fmla="*/ 34 w 39"/>
                  <a:gd name="T3" fmla="*/ 21 h 42"/>
                  <a:gd name="T4" fmla="*/ 33 w 39"/>
                  <a:gd name="T5" fmla="*/ 21 h 42"/>
                  <a:gd name="T6" fmla="*/ 32 w 39"/>
                  <a:gd name="T7" fmla="*/ 21 h 42"/>
                  <a:gd name="T8" fmla="*/ 32 w 39"/>
                  <a:gd name="T9" fmla="*/ 21 h 42"/>
                  <a:gd name="T10" fmla="*/ 30 w 39"/>
                  <a:gd name="T11" fmla="*/ 21 h 42"/>
                  <a:gd name="T12" fmla="*/ 28 w 39"/>
                  <a:gd name="T13" fmla="*/ 19 h 42"/>
                  <a:gd name="T14" fmla="*/ 29 w 39"/>
                  <a:gd name="T15" fmla="*/ 6 h 42"/>
                  <a:gd name="T16" fmla="*/ 29 w 39"/>
                  <a:gd name="T17" fmla="*/ 2 h 42"/>
                  <a:gd name="T18" fmla="*/ 16 w 39"/>
                  <a:gd name="T19" fmla="*/ 1 h 42"/>
                  <a:gd name="T20" fmla="*/ 15 w 39"/>
                  <a:gd name="T21" fmla="*/ 1 h 42"/>
                  <a:gd name="T22" fmla="*/ 13 w 39"/>
                  <a:gd name="T23" fmla="*/ 4 h 42"/>
                  <a:gd name="T24" fmla="*/ 13 w 39"/>
                  <a:gd name="T25" fmla="*/ 5 h 42"/>
                  <a:gd name="T26" fmla="*/ 11 w 39"/>
                  <a:gd name="T27" fmla="*/ 7 h 42"/>
                  <a:gd name="T28" fmla="*/ 11 w 39"/>
                  <a:gd name="T29" fmla="*/ 7 h 42"/>
                  <a:gd name="T30" fmla="*/ 14 w 39"/>
                  <a:gd name="T31" fmla="*/ 10 h 42"/>
                  <a:gd name="T32" fmla="*/ 17 w 39"/>
                  <a:gd name="T33" fmla="*/ 12 h 42"/>
                  <a:gd name="T34" fmla="*/ 17 w 39"/>
                  <a:gd name="T35" fmla="*/ 13 h 42"/>
                  <a:gd name="T36" fmla="*/ 18 w 39"/>
                  <a:gd name="T37" fmla="*/ 14 h 42"/>
                  <a:gd name="T38" fmla="*/ 19 w 39"/>
                  <a:gd name="T39" fmla="*/ 16 h 42"/>
                  <a:gd name="T40" fmla="*/ 18 w 39"/>
                  <a:gd name="T41" fmla="*/ 18 h 42"/>
                  <a:gd name="T42" fmla="*/ 12 w 39"/>
                  <a:gd name="T43" fmla="*/ 19 h 42"/>
                  <a:gd name="T44" fmla="*/ 7 w 39"/>
                  <a:gd name="T45" fmla="*/ 19 h 42"/>
                  <a:gd name="T46" fmla="*/ 5 w 39"/>
                  <a:gd name="T47" fmla="*/ 20 h 42"/>
                  <a:gd name="T48" fmla="*/ 4 w 39"/>
                  <a:gd name="T49" fmla="*/ 21 h 42"/>
                  <a:gd name="T50" fmla="*/ 1 w 39"/>
                  <a:gd name="T51" fmla="*/ 25 h 42"/>
                  <a:gd name="T52" fmla="*/ 1 w 39"/>
                  <a:gd name="T53" fmla="*/ 26 h 42"/>
                  <a:gd name="T54" fmla="*/ 1 w 39"/>
                  <a:gd name="T55" fmla="*/ 26 h 42"/>
                  <a:gd name="T56" fmla="*/ 1 w 39"/>
                  <a:gd name="T57" fmla="*/ 27 h 42"/>
                  <a:gd name="T58" fmla="*/ 1 w 39"/>
                  <a:gd name="T59" fmla="*/ 29 h 42"/>
                  <a:gd name="T60" fmla="*/ 1 w 39"/>
                  <a:gd name="T61" fmla="*/ 30 h 42"/>
                  <a:gd name="T62" fmla="*/ 1 w 39"/>
                  <a:gd name="T63" fmla="*/ 31 h 42"/>
                  <a:gd name="T64" fmla="*/ 1 w 39"/>
                  <a:gd name="T65" fmla="*/ 32 h 42"/>
                  <a:gd name="T66" fmla="*/ 1 w 39"/>
                  <a:gd name="T67" fmla="*/ 33 h 42"/>
                  <a:gd name="T68" fmla="*/ 0 w 39"/>
                  <a:gd name="T69" fmla="*/ 34 h 42"/>
                  <a:gd name="T70" fmla="*/ 0 w 39"/>
                  <a:gd name="T71" fmla="*/ 35 h 42"/>
                  <a:gd name="T72" fmla="*/ 11 w 39"/>
                  <a:gd name="T73" fmla="*/ 40 h 42"/>
                  <a:gd name="T74" fmla="*/ 19 w 39"/>
                  <a:gd name="T75" fmla="*/ 41 h 42"/>
                  <a:gd name="T76" fmla="*/ 19 w 39"/>
                  <a:gd name="T77" fmla="*/ 41 h 42"/>
                  <a:gd name="T78" fmla="*/ 22 w 39"/>
                  <a:gd name="T79" fmla="*/ 38 h 42"/>
                  <a:gd name="T80" fmla="*/ 25 w 39"/>
                  <a:gd name="T81" fmla="*/ 37 h 42"/>
                  <a:gd name="T82" fmla="*/ 25 w 39"/>
                  <a:gd name="T83" fmla="*/ 35 h 42"/>
                  <a:gd name="T84" fmla="*/ 27 w 39"/>
                  <a:gd name="T85" fmla="*/ 34 h 42"/>
                  <a:gd name="T86" fmla="*/ 28 w 39"/>
                  <a:gd name="T87" fmla="*/ 33 h 42"/>
                  <a:gd name="T88" fmla="*/ 29 w 39"/>
                  <a:gd name="T89" fmla="*/ 32 h 42"/>
                  <a:gd name="T90" fmla="*/ 29 w 39"/>
                  <a:gd name="T91" fmla="*/ 29 h 42"/>
                  <a:gd name="T92" fmla="*/ 29 w 39"/>
                  <a:gd name="T93" fmla="*/ 29 h 42"/>
                  <a:gd name="T94" fmla="*/ 31 w 39"/>
                  <a:gd name="T95" fmla="*/ 26 h 42"/>
                  <a:gd name="T96" fmla="*/ 32 w 39"/>
                  <a:gd name="T97" fmla="*/ 27 h 42"/>
                  <a:gd name="T98" fmla="*/ 32 w 39"/>
                  <a:gd name="T99" fmla="*/ 26 h 42"/>
                  <a:gd name="T100" fmla="*/ 33 w 39"/>
                  <a:gd name="T101" fmla="*/ 25 h 42"/>
                  <a:gd name="T102" fmla="*/ 37 w 39"/>
                  <a:gd name="T103" fmla="*/ 23 h 42"/>
                  <a:gd name="T104" fmla="*/ 39 w 39"/>
                  <a:gd name="T105" fmla="*/ 21 h 42"/>
                  <a:gd name="T106" fmla="*/ 37 w 39"/>
                  <a:gd name="T107"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 h="42">
                    <a:moveTo>
                      <a:pt x="37" y="20"/>
                    </a:moveTo>
                    <a:cubicBezTo>
                      <a:pt x="35" y="21"/>
                      <a:pt x="35" y="21"/>
                      <a:pt x="33" y="20"/>
                    </a:cubicBezTo>
                    <a:cubicBezTo>
                      <a:pt x="33" y="20"/>
                      <a:pt x="33" y="20"/>
                      <a:pt x="33" y="20"/>
                    </a:cubicBezTo>
                    <a:cubicBezTo>
                      <a:pt x="34" y="21"/>
                      <a:pt x="34" y="21"/>
                      <a:pt x="34" y="21"/>
                    </a:cubicBezTo>
                    <a:cubicBezTo>
                      <a:pt x="33" y="21"/>
                      <a:pt x="33" y="21"/>
                      <a:pt x="33" y="21"/>
                    </a:cubicBezTo>
                    <a:cubicBezTo>
                      <a:pt x="33" y="21"/>
                      <a:pt x="33" y="21"/>
                      <a:pt x="33" y="21"/>
                    </a:cubicBezTo>
                    <a:cubicBezTo>
                      <a:pt x="33" y="21"/>
                      <a:pt x="33" y="21"/>
                      <a:pt x="33" y="21"/>
                    </a:cubicBezTo>
                    <a:cubicBezTo>
                      <a:pt x="32" y="21"/>
                      <a:pt x="32" y="21"/>
                      <a:pt x="32" y="21"/>
                    </a:cubicBezTo>
                    <a:cubicBezTo>
                      <a:pt x="32" y="21"/>
                      <a:pt x="32" y="21"/>
                      <a:pt x="32" y="21"/>
                    </a:cubicBezTo>
                    <a:cubicBezTo>
                      <a:pt x="32" y="21"/>
                      <a:pt x="32" y="21"/>
                      <a:pt x="32" y="21"/>
                    </a:cubicBezTo>
                    <a:cubicBezTo>
                      <a:pt x="31" y="21"/>
                      <a:pt x="31" y="21"/>
                      <a:pt x="31" y="21"/>
                    </a:cubicBezTo>
                    <a:cubicBezTo>
                      <a:pt x="31" y="21"/>
                      <a:pt x="31" y="21"/>
                      <a:pt x="30" y="21"/>
                    </a:cubicBezTo>
                    <a:cubicBezTo>
                      <a:pt x="28" y="21"/>
                      <a:pt x="28" y="21"/>
                      <a:pt x="28" y="21"/>
                    </a:cubicBezTo>
                    <a:cubicBezTo>
                      <a:pt x="28" y="19"/>
                      <a:pt x="28" y="19"/>
                      <a:pt x="28" y="19"/>
                    </a:cubicBezTo>
                    <a:cubicBezTo>
                      <a:pt x="29" y="14"/>
                      <a:pt x="29" y="10"/>
                      <a:pt x="29" y="6"/>
                    </a:cubicBezTo>
                    <a:cubicBezTo>
                      <a:pt x="29" y="6"/>
                      <a:pt x="29" y="6"/>
                      <a:pt x="29" y="6"/>
                    </a:cubicBezTo>
                    <a:cubicBezTo>
                      <a:pt x="29" y="5"/>
                      <a:pt x="29" y="4"/>
                      <a:pt x="29" y="3"/>
                    </a:cubicBezTo>
                    <a:cubicBezTo>
                      <a:pt x="29" y="2"/>
                      <a:pt x="29" y="2"/>
                      <a:pt x="29" y="2"/>
                    </a:cubicBezTo>
                    <a:cubicBezTo>
                      <a:pt x="29" y="2"/>
                      <a:pt x="29" y="1"/>
                      <a:pt x="29" y="1"/>
                    </a:cubicBezTo>
                    <a:cubicBezTo>
                      <a:pt x="16" y="1"/>
                      <a:pt x="16" y="1"/>
                      <a:pt x="16" y="1"/>
                    </a:cubicBezTo>
                    <a:cubicBezTo>
                      <a:pt x="16" y="1"/>
                      <a:pt x="16" y="1"/>
                      <a:pt x="15" y="1"/>
                    </a:cubicBezTo>
                    <a:cubicBezTo>
                      <a:pt x="15" y="1"/>
                      <a:pt x="15" y="1"/>
                      <a:pt x="15" y="1"/>
                    </a:cubicBezTo>
                    <a:cubicBezTo>
                      <a:pt x="14" y="1"/>
                      <a:pt x="13" y="0"/>
                      <a:pt x="13" y="0"/>
                    </a:cubicBezTo>
                    <a:cubicBezTo>
                      <a:pt x="13" y="1"/>
                      <a:pt x="13" y="3"/>
                      <a:pt x="13" y="4"/>
                    </a:cubicBezTo>
                    <a:cubicBezTo>
                      <a:pt x="13" y="4"/>
                      <a:pt x="13" y="5"/>
                      <a:pt x="13" y="5"/>
                    </a:cubicBezTo>
                    <a:cubicBezTo>
                      <a:pt x="13" y="5"/>
                      <a:pt x="13" y="5"/>
                      <a:pt x="13" y="5"/>
                    </a:cubicBezTo>
                    <a:cubicBezTo>
                      <a:pt x="13" y="6"/>
                      <a:pt x="13" y="6"/>
                      <a:pt x="13" y="6"/>
                    </a:cubicBezTo>
                    <a:cubicBezTo>
                      <a:pt x="12" y="6"/>
                      <a:pt x="12" y="7"/>
                      <a:pt x="11" y="7"/>
                    </a:cubicBezTo>
                    <a:cubicBezTo>
                      <a:pt x="10" y="7"/>
                      <a:pt x="10" y="7"/>
                      <a:pt x="10" y="7"/>
                    </a:cubicBezTo>
                    <a:cubicBezTo>
                      <a:pt x="11" y="7"/>
                      <a:pt x="11" y="7"/>
                      <a:pt x="11" y="7"/>
                    </a:cubicBezTo>
                    <a:cubicBezTo>
                      <a:pt x="12" y="8"/>
                      <a:pt x="12" y="8"/>
                      <a:pt x="12" y="9"/>
                    </a:cubicBezTo>
                    <a:cubicBezTo>
                      <a:pt x="13" y="9"/>
                      <a:pt x="13" y="9"/>
                      <a:pt x="14" y="10"/>
                    </a:cubicBezTo>
                    <a:cubicBezTo>
                      <a:pt x="14" y="10"/>
                      <a:pt x="14" y="10"/>
                      <a:pt x="14" y="10"/>
                    </a:cubicBezTo>
                    <a:cubicBezTo>
                      <a:pt x="15" y="11"/>
                      <a:pt x="16" y="12"/>
                      <a:pt x="17" y="12"/>
                    </a:cubicBezTo>
                    <a:cubicBezTo>
                      <a:pt x="17" y="12"/>
                      <a:pt x="17" y="12"/>
                      <a:pt x="17" y="12"/>
                    </a:cubicBezTo>
                    <a:cubicBezTo>
                      <a:pt x="17" y="13"/>
                      <a:pt x="17" y="13"/>
                      <a:pt x="17" y="13"/>
                    </a:cubicBezTo>
                    <a:cubicBezTo>
                      <a:pt x="18" y="13"/>
                      <a:pt x="18" y="13"/>
                      <a:pt x="18" y="13"/>
                    </a:cubicBezTo>
                    <a:cubicBezTo>
                      <a:pt x="18" y="14"/>
                      <a:pt x="18" y="14"/>
                      <a:pt x="18" y="14"/>
                    </a:cubicBezTo>
                    <a:cubicBezTo>
                      <a:pt x="19" y="14"/>
                      <a:pt x="19" y="15"/>
                      <a:pt x="19" y="16"/>
                    </a:cubicBezTo>
                    <a:cubicBezTo>
                      <a:pt x="19" y="16"/>
                      <a:pt x="19" y="16"/>
                      <a:pt x="19" y="16"/>
                    </a:cubicBezTo>
                    <a:cubicBezTo>
                      <a:pt x="19" y="16"/>
                      <a:pt x="19" y="16"/>
                      <a:pt x="19" y="16"/>
                    </a:cubicBezTo>
                    <a:cubicBezTo>
                      <a:pt x="19" y="17"/>
                      <a:pt x="19" y="17"/>
                      <a:pt x="18" y="18"/>
                    </a:cubicBezTo>
                    <a:cubicBezTo>
                      <a:pt x="18" y="18"/>
                      <a:pt x="18" y="19"/>
                      <a:pt x="16" y="19"/>
                    </a:cubicBezTo>
                    <a:cubicBezTo>
                      <a:pt x="12" y="19"/>
                      <a:pt x="12" y="19"/>
                      <a:pt x="12" y="19"/>
                    </a:cubicBezTo>
                    <a:cubicBezTo>
                      <a:pt x="10" y="19"/>
                      <a:pt x="10" y="19"/>
                      <a:pt x="10" y="19"/>
                    </a:cubicBezTo>
                    <a:cubicBezTo>
                      <a:pt x="9" y="19"/>
                      <a:pt x="8" y="19"/>
                      <a:pt x="7" y="19"/>
                    </a:cubicBezTo>
                    <a:cubicBezTo>
                      <a:pt x="6" y="19"/>
                      <a:pt x="6" y="19"/>
                      <a:pt x="5" y="20"/>
                    </a:cubicBezTo>
                    <a:cubicBezTo>
                      <a:pt x="5" y="20"/>
                      <a:pt x="5" y="20"/>
                      <a:pt x="5" y="20"/>
                    </a:cubicBezTo>
                    <a:cubicBezTo>
                      <a:pt x="5" y="20"/>
                      <a:pt x="5" y="20"/>
                      <a:pt x="4" y="20"/>
                    </a:cubicBezTo>
                    <a:cubicBezTo>
                      <a:pt x="4" y="20"/>
                      <a:pt x="4" y="20"/>
                      <a:pt x="4" y="21"/>
                    </a:cubicBezTo>
                    <a:cubicBezTo>
                      <a:pt x="3" y="21"/>
                      <a:pt x="3" y="21"/>
                      <a:pt x="3" y="21"/>
                    </a:cubicBezTo>
                    <a:cubicBezTo>
                      <a:pt x="3" y="22"/>
                      <a:pt x="1" y="24"/>
                      <a:pt x="1" y="25"/>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7"/>
                      <a:pt x="1" y="27"/>
                    </a:cubicBezTo>
                    <a:cubicBezTo>
                      <a:pt x="1" y="27"/>
                      <a:pt x="2" y="28"/>
                      <a:pt x="1" y="29"/>
                    </a:cubicBezTo>
                    <a:cubicBezTo>
                      <a:pt x="1" y="29"/>
                      <a:pt x="1" y="29"/>
                      <a:pt x="1" y="29"/>
                    </a:cubicBezTo>
                    <a:cubicBezTo>
                      <a:pt x="1" y="29"/>
                      <a:pt x="1" y="29"/>
                      <a:pt x="1" y="29"/>
                    </a:cubicBezTo>
                    <a:cubicBezTo>
                      <a:pt x="1" y="30"/>
                      <a:pt x="1" y="30"/>
                      <a:pt x="1" y="30"/>
                    </a:cubicBezTo>
                    <a:cubicBezTo>
                      <a:pt x="1" y="30"/>
                      <a:pt x="1" y="30"/>
                      <a:pt x="1" y="30"/>
                    </a:cubicBezTo>
                    <a:cubicBezTo>
                      <a:pt x="1" y="30"/>
                      <a:pt x="1" y="31"/>
                      <a:pt x="1" y="31"/>
                    </a:cubicBezTo>
                    <a:cubicBezTo>
                      <a:pt x="1" y="31"/>
                      <a:pt x="1" y="31"/>
                      <a:pt x="1" y="31"/>
                    </a:cubicBezTo>
                    <a:cubicBezTo>
                      <a:pt x="1" y="31"/>
                      <a:pt x="1" y="32"/>
                      <a:pt x="1" y="32"/>
                    </a:cubicBezTo>
                    <a:cubicBezTo>
                      <a:pt x="1" y="32"/>
                      <a:pt x="1" y="32"/>
                      <a:pt x="1" y="32"/>
                    </a:cubicBezTo>
                    <a:cubicBezTo>
                      <a:pt x="1" y="32"/>
                      <a:pt x="1" y="33"/>
                      <a:pt x="1" y="33"/>
                    </a:cubicBezTo>
                    <a:cubicBezTo>
                      <a:pt x="0" y="33"/>
                      <a:pt x="0" y="33"/>
                      <a:pt x="0" y="33"/>
                    </a:cubicBezTo>
                    <a:cubicBezTo>
                      <a:pt x="0" y="34"/>
                      <a:pt x="0" y="34"/>
                      <a:pt x="0" y="34"/>
                    </a:cubicBezTo>
                    <a:cubicBezTo>
                      <a:pt x="0" y="35"/>
                      <a:pt x="0" y="35"/>
                      <a:pt x="0" y="35"/>
                    </a:cubicBezTo>
                    <a:cubicBezTo>
                      <a:pt x="0" y="35"/>
                      <a:pt x="0" y="35"/>
                      <a:pt x="0" y="35"/>
                    </a:cubicBezTo>
                    <a:cubicBezTo>
                      <a:pt x="1" y="36"/>
                      <a:pt x="2" y="37"/>
                      <a:pt x="3" y="37"/>
                    </a:cubicBezTo>
                    <a:cubicBezTo>
                      <a:pt x="6" y="39"/>
                      <a:pt x="8" y="40"/>
                      <a:pt x="11" y="40"/>
                    </a:cubicBezTo>
                    <a:cubicBezTo>
                      <a:pt x="13" y="40"/>
                      <a:pt x="14" y="40"/>
                      <a:pt x="15" y="40"/>
                    </a:cubicBezTo>
                    <a:cubicBezTo>
                      <a:pt x="17" y="40"/>
                      <a:pt x="18" y="41"/>
                      <a:pt x="19" y="41"/>
                    </a:cubicBezTo>
                    <a:cubicBezTo>
                      <a:pt x="19" y="41"/>
                      <a:pt x="19" y="42"/>
                      <a:pt x="19" y="42"/>
                    </a:cubicBezTo>
                    <a:cubicBezTo>
                      <a:pt x="19" y="41"/>
                      <a:pt x="19" y="41"/>
                      <a:pt x="19" y="41"/>
                    </a:cubicBezTo>
                    <a:cubicBezTo>
                      <a:pt x="20" y="39"/>
                      <a:pt x="20" y="39"/>
                      <a:pt x="21" y="39"/>
                    </a:cubicBezTo>
                    <a:cubicBezTo>
                      <a:pt x="21" y="39"/>
                      <a:pt x="22" y="38"/>
                      <a:pt x="22" y="38"/>
                    </a:cubicBezTo>
                    <a:cubicBezTo>
                      <a:pt x="23" y="38"/>
                      <a:pt x="23" y="38"/>
                      <a:pt x="23" y="38"/>
                    </a:cubicBezTo>
                    <a:cubicBezTo>
                      <a:pt x="24" y="37"/>
                      <a:pt x="24" y="37"/>
                      <a:pt x="25" y="37"/>
                    </a:cubicBezTo>
                    <a:cubicBezTo>
                      <a:pt x="25" y="37"/>
                      <a:pt x="25" y="37"/>
                      <a:pt x="25" y="37"/>
                    </a:cubicBezTo>
                    <a:cubicBezTo>
                      <a:pt x="25" y="36"/>
                      <a:pt x="25" y="36"/>
                      <a:pt x="25" y="35"/>
                    </a:cubicBezTo>
                    <a:cubicBezTo>
                      <a:pt x="25" y="34"/>
                      <a:pt x="26" y="34"/>
                      <a:pt x="27" y="34"/>
                    </a:cubicBezTo>
                    <a:cubicBezTo>
                      <a:pt x="27" y="34"/>
                      <a:pt x="27" y="34"/>
                      <a:pt x="27" y="34"/>
                    </a:cubicBezTo>
                    <a:cubicBezTo>
                      <a:pt x="28" y="33"/>
                      <a:pt x="28" y="33"/>
                      <a:pt x="28" y="33"/>
                    </a:cubicBezTo>
                    <a:cubicBezTo>
                      <a:pt x="28" y="33"/>
                      <a:pt x="28" y="33"/>
                      <a:pt x="28" y="33"/>
                    </a:cubicBezTo>
                    <a:cubicBezTo>
                      <a:pt x="29" y="33"/>
                      <a:pt x="29" y="32"/>
                      <a:pt x="29" y="32"/>
                    </a:cubicBezTo>
                    <a:cubicBezTo>
                      <a:pt x="29" y="32"/>
                      <a:pt x="29" y="32"/>
                      <a:pt x="29" y="32"/>
                    </a:cubicBezTo>
                    <a:cubicBezTo>
                      <a:pt x="29" y="32"/>
                      <a:pt x="29" y="31"/>
                      <a:pt x="29" y="31"/>
                    </a:cubicBezTo>
                    <a:cubicBezTo>
                      <a:pt x="29" y="30"/>
                      <a:pt x="29" y="30"/>
                      <a:pt x="29" y="29"/>
                    </a:cubicBezTo>
                    <a:cubicBezTo>
                      <a:pt x="29" y="29"/>
                      <a:pt x="29" y="29"/>
                      <a:pt x="29" y="29"/>
                    </a:cubicBezTo>
                    <a:cubicBezTo>
                      <a:pt x="29" y="29"/>
                      <a:pt x="29" y="29"/>
                      <a:pt x="29" y="29"/>
                    </a:cubicBezTo>
                    <a:cubicBezTo>
                      <a:pt x="29" y="29"/>
                      <a:pt x="29" y="29"/>
                      <a:pt x="29" y="28"/>
                    </a:cubicBezTo>
                    <a:cubicBezTo>
                      <a:pt x="29" y="27"/>
                      <a:pt x="30" y="27"/>
                      <a:pt x="31" y="26"/>
                    </a:cubicBezTo>
                    <a:cubicBezTo>
                      <a:pt x="32" y="27"/>
                      <a:pt x="32" y="27"/>
                      <a:pt x="32" y="27"/>
                    </a:cubicBezTo>
                    <a:cubicBezTo>
                      <a:pt x="32" y="27"/>
                      <a:pt x="32" y="27"/>
                      <a:pt x="32" y="27"/>
                    </a:cubicBezTo>
                    <a:cubicBezTo>
                      <a:pt x="32" y="26"/>
                      <a:pt x="32" y="26"/>
                      <a:pt x="32" y="26"/>
                    </a:cubicBezTo>
                    <a:cubicBezTo>
                      <a:pt x="32" y="26"/>
                      <a:pt x="32" y="26"/>
                      <a:pt x="32" y="26"/>
                    </a:cubicBezTo>
                    <a:cubicBezTo>
                      <a:pt x="32" y="26"/>
                      <a:pt x="33" y="26"/>
                      <a:pt x="33" y="25"/>
                    </a:cubicBezTo>
                    <a:cubicBezTo>
                      <a:pt x="33" y="25"/>
                      <a:pt x="33" y="25"/>
                      <a:pt x="33" y="25"/>
                    </a:cubicBezTo>
                    <a:cubicBezTo>
                      <a:pt x="34" y="25"/>
                      <a:pt x="35" y="24"/>
                      <a:pt x="36" y="23"/>
                    </a:cubicBezTo>
                    <a:cubicBezTo>
                      <a:pt x="36" y="23"/>
                      <a:pt x="36" y="23"/>
                      <a:pt x="37" y="23"/>
                    </a:cubicBezTo>
                    <a:cubicBezTo>
                      <a:pt x="37" y="22"/>
                      <a:pt x="37" y="22"/>
                      <a:pt x="37" y="22"/>
                    </a:cubicBezTo>
                    <a:cubicBezTo>
                      <a:pt x="37" y="22"/>
                      <a:pt x="38" y="21"/>
                      <a:pt x="39" y="21"/>
                    </a:cubicBezTo>
                    <a:cubicBezTo>
                      <a:pt x="38" y="20"/>
                      <a:pt x="37" y="19"/>
                      <a:pt x="36" y="19"/>
                    </a:cubicBezTo>
                    <a:cubicBezTo>
                      <a:pt x="36" y="19"/>
                      <a:pt x="37" y="20"/>
                      <a:pt x="3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2" name="Freeform 3024">
                <a:extLst>
                  <a:ext uri="{FF2B5EF4-FFF2-40B4-BE49-F238E27FC236}">
                    <a16:creationId xmlns:a16="http://schemas.microsoft.com/office/drawing/2014/main" id="{E8818C27-6556-4183-9EFD-5FFA5129DE5B}"/>
                  </a:ext>
                </a:extLst>
              </p:cNvPr>
              <p:cNvSpPr>
                <a:spLocks/>
              </p:cNvSpPr>
              <p:nvPr/>
            </p:nvSpPr>
            <p:spPr bwMode="auto">
              <a:xfrm>
                <a:off x="1639" y="2473"/>
                <a:ext cx="283" cy="398"/>
              </a:xfrm>
              <a:custGeom>
                <a:avLst/>
                <a:gdLst>
                  <a:gd name="T0" fmla="*/ 115 w 120"/>
                  <a:gd name="T1" fmla="*/ 101 h 168"/>
                  <a:gd name="T2" fmla="*/ 116 w 120"/>
                  <a:gd name="T3" fmla="*/ 94 h 168"/>
                  <a:gd name="T4" fmla="*/ 118 w 120"/>
                  <a:gd name="T5" fmla="*/ 93 h 168"/>
                  <a:gd name="T6" fmla="*/ 114 w 120"/>
                  <a:gd name="T7" fmla="*/ 83 h 168"/>
                  <a:gd name="T8" fmla="*/ 114 w 120"/>
                  <a:gd name="T9" fmla="*/ 78 h 168"/>
                  <a:gd name="T10" fmla="*/ 116 w 120"/>
                  <a:gd name="T11" fmla="*/ 69 h 168"/>
                  <a:gd name="T12" fmla="*/ 107 w 120"/>
                  <a:gd name="T13" fmla="*/ 66 h 168"/>
                  <a:gd name="T14" fmla="*/ 94 w 120"/>
                  <a:gd name="T15" fmla="*/ 61 h 168"/>
                  <a:gd name="T16" fmla="*/ 82 w 120"/>
                  <a:gd name="T17" fmla="*/ 58 h 168"/>
                  <a:gd name="T18" fmla="*/ 70 w 120"/>
                  <a:gd name="T19" fmla="*/ 55 h 168"/>
                  <a:gd name="T20" fmla="*/ 67 w 120"/>
                  <a:gd name="T21" fmla="*/ 46 h 168"/>
                  <a:gd name="T22" fmla="*/ 62 w 120"/>
                  <a:gd name="T23" fmla="*/ 35 h 168"/>
                  <a:gd name="T24" fmla="*/ 58 w 120"/>
                  <a:gd name="T25" fmla="*/ 32 h 168"/>
                  <a:gd name="T26" fmla="*/ 62 w 120"/>
                  <a:gd name="T27" fmla="*/ 21 h 168"/>
                  <a:gd name="T28" fmla="*/ 67 w 120"/>
                  <a:gd name="T29" fmla="*/ 14 h 168"/>
                  <a:gd name="T30" fmla="*/ 75 w 120"/>
                  <a:gd name="T31" fmla="*/ 7 h 168"/>
                  <a:gd name="T32" fmla="*/ 81 w 120"/>
                  <a:gd name="T33" fmla="*/ 6 h 168"/>
                  <a:gd name="T34" fmla="*/ 64 w 120"/>
                  <a:gd name="T35" fmla="*/ 9 h 168"/>
                  <a:gd name="T36" fmla="*/ 46 w 120"/>
                  <a:gd name="T37" fmla="*/ 18 h 168"/>
                  <a:gd name="T38" fmla="*/ 41 w 120"/>
                  <a:gd name="T39" fmla="*/ 17 h 168"/>
                  <a:gd name="T40" fmla="*/ 35 w 120"/>
                  <a:gd name="T41" fmla="*/ 28 h 168"/>
                  <a:gd name="T42" fmla="*/ 23 w 120"/>
                  <a:gd name="T43" fmla="*/ 40 h 168"/>
                  <a:gd name="T44" fmla="*/ 18 w 120"/>
                  <a:gd name="T45" fmla="*/ 41 h 168"/>
                  <a:gd name="T46" fmla="*/ 16 w 120"/>
                  <a:gd name="T47" fmla="*/ 53 h 168"/>
                  <a:gd name="T48" fmla="*/ 13 w 120"/>
                  <a:gd name="T49" fmla="*/ 56 h 168"/>
                  <a:gd name="T50" fmla="*/ 16 w 120"/>
                  <a:gd name="T51" fmla="*/ 72 h 168"/>
                  <a:gd name="T52" fmla="*/ 19 w 120"/>
                  <a:gd name="T53" fmla="*/ 87 h 168"/>
                  <a:gd name="T54" fmla="*/ 5 w 120"/>
                  <a:gd name="T55" fmla="*/ 104 h 168"/>
                  <a:gd name="T56" fmla="*/ 2 w 120"/>
                  <a:gd name="T57" fmla="*/ 112 h 168"/>
                  <a:gd name="T58" fmla="*/ 18 w 120"/>
                  <a:gd name="T59" fmla="*/ 122 h 168"/>
                  <a:gd name="T60" fmla="*/ 27 w 120"/>
                  <a:gd name="T61" fmla="*/ 124 h 168"/>
                  <a:gd name="T62" fmla="*/ 36 w 120"/>
                  <a:gd name="T63" fmla="*/ 127 h 168"/>
                  <a:gd name="T64" fmla="*/ 40 w 120"/>
                  <a:gd name="T65" fmla="*/ 128 h 168"/>
                  <a:gd name="T66" fmla="*/ 43 w 120"/>
                  <a:gd name="T67" fmla="*/ 129 h 168"/>
                  <a:gd name="T68" fmla="*/ 47 w 120"/>
                  <a:gd name="T69" fmla="*/ 129 h 168"/>
                  <a:gd name="T70" fmla="*/ 51 w 120"/>
                  <a:gd name="T71" fmla="*/ 138 h 168"/>
                  <a:gd name="T72" fmla="*/ 55 w 120"/>
                  <a:gd name="T73" fmla="*/ 140 h 168"/>
                  <a:gd name="T74" fmla="*/ 59 w 120"/>
                  <a:gd name="T75" fmla="*/ 146 h 168"/>
                  <a:gd name="T76" fmla="*/ 62 w 120"/>
                  <a:gd name="T77" fmla="*/ 147 h 168"/>
                  <a:gd name="T78" fmla="*/ 63 w 120"/>
                  <a:gd name="T79" fmla="*/ 149 h 168"/>
                  <a:gd name="T80" fmla="*/ 68 w 120"/>
                  <a:gd name="T81" fmla="*/ 152 h 168"/>
                  <a:gd name="T82" fmla="*/ 71 w 120"/>
                  <a:gd name="T83" fmla="*/ 152 h 168"/>
                  <a:gd name="T84" fmla="*/ 72 w 120"/>
                  <a:gd name="T85" fmla="*/ 152 h 168"/>
                  <a:gd name="T86" fmla="*/ 77 w 120"/>
                  <a:gd name="T87" fmla="*/ 151 h 168"/>
                  <a:gd name="T88" fmla="*/ 81 w 120"/>
                  <a:gd name="T89" fmla="*/ 151 h 168"/>
                  <a:gd name="T90" fmla="*/ 89 w 120"/>
                  <a:gd name="T91" fmla="*/ 152 h 168"/>
                  <a:gd name="T92" fmla="*/ 90 w 120"/>
                  <a:gd name="T93" fmla="*/ 163 h 168"/>
                  <a:gd name="T94" fmla="*/ 88 w 120"/>
                  <a:gd name="T95" fmla="*/ 166 h 168"/>
                  <a:gd name="T96" fmla="*/ 94 w 120"/>
                  <a:gd name="T97" fmla="*/ 163 h 168"/>
                  <a:gd name="T98" fmla="*/ 95 w 120"/>
                  <a:gd name="T99" fmla="*/ 156 h 168"/>
                  <a:gd name="T100" fmla="*/ 96 w 120"/>
                  <a:gd name="T101" fmla="*/ 151 h 168"/>
                  <a:gd name="T102" fmla="*/ 97 w 120"/>
                  <a:gd name="T103" fmla="*/ 139 h 168"/>
                  <a:gd name="T104" fmla="*/ 91 w 120"/>
                  <a:gd name="T105" fmla="*/ 123 h 168"/>
                  <a:gd name="T106" fmla="*/ 100 w 120"/>
                  <a:gd name="T107" fmla="*/ 119 h 168"/>
                  <a:gd name="T108" fmla="*/ 93 w 120"/>
                  <a:gd name="T109" fmla="*/ 117 h 168"/>
                  <a:gd name="T110" fmla="*/ 110 w 120"/>
                  <a:gd name="T111" fmla="*/ 107 h 168"/>
                  <a:gd name="T112" fmla="*/ 120 w 120"/>
                  <a:gd name="T113" fmla="*/ 10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68">
                    <a:moveTo>
                      <a:pt x="119" y="104"/>
                    </a:moveTo>
                    <a:cubicBezTo>
                      <a:pt x="119" y="104"/>
                      <a:pt x="119" y="103"/>
                      <a:pt x="118" y="103"/>
                    </a:cubicBezTo>
                    <a:cubicBezTo>
                      <a:pt x="118" y="102"/>
                      <a:pt x="118" y="102"/>
                      <a:pt x="117" y="102"/>
                    </a:cubicBezTo>
                    <a:cubicBezTo>
                      <a:pt x="117" y="101"/>
                      <a:pt x="117" y="101"/>
                      <a:pt x="117" y="101"/>
                    </a:cubicBezTo>
                    <a:cubicBezTo>
                      <a:pt x="117" y="101"/>
                      <a:pt x="117" y="101"/>
                      <a:pt x="117" y="101"/>
                    </a:cubicBezTo>
                    <a:cubicBezTo>
                      <a:pt x="116" y="101"/>
                      <a:pt x="116" y="101"/>
                      <a:pt x="115" y="101"/>
                    </a:cubicBezTo>
                    <a:cubicBezTo>
                      <a:pt x="114" y="101"/>
                      <a:pt x="114" y="100"/>
                      <a:pt x="114" y="99"/>
                    </a:cubicBezTo>
                    <a:cubicBezTo>
                      <a:pt x="114" y="98"/>
                      <a:pt x="114" y="98"/>
                      <a:pt x="115" y="98"/>
                    </a:cubicBezTo>
                    <a:cubicBezTo>
                      <a:pt x="115" y="97"/>
                      <a:pt x="116" y="96"/>
                      <a:pt x="117" y="96"/>
                    </a:cubicBezTo>
                    <a:cubicBezTo>
                      <a:pt x="117" y="95"/>
                      <a:pt x="117" y="95"/>
                      <a:pt x="117" y="95"/>
                    </a:cubicBezTo>
                    <a:cubicBezTo>
                      <a:pt x="117" y="95"/>
                      <a:pt x="117" y="95"/>
                      <a:pt x="117" y="95"/>
                    </a:cubicBezTo>
                    <a:cubicBezTo>
                      <a:pt x="116" y="94"/>
                      <a:pt x="116" y="94"/>
                      <a:pt x="116" y="94"/>
                    </a:cubicBezTo>
                    <a:cubicBezTo>
                      <a:pt x="118" y="95"/>
                      <a:pt x="118" y="95"/>
                      <a:pt x="118" y="95"/>
                    </a:cubicBezTo>
                    <a:cubicBezTo>
                      <a:pt x="118" y="95"/>
                      <a:pt x="118" y="95"/>
                      <a:pt x="118" y="95"/>
                    </a:cubicBezTo>
                    <a:cubicBezTo>
                      <a:pt x="118" y="94"/>
                      <a:pt x="119" y="94"/>
                      <a:pt x="119" y="94"/>
                    </a:cubicBezTo>
                    <a:cubicBezTo>
                      <a:pt x="119" y="94"/>
                      <a:pt x="119" y="94"/>
                      <a:pt x="119" y="94"/>
                    </a:cubicBezTo>
                    <a:cubicBezTo>
                      <a:pt x="119" y="93"/>
                      <a:pt x="119" y="93"/>
                      <a:pt x="119" y="93"/>
                    </a:cubicBezTo>
                    <a:cubicBezTo>
                      <a:pt x="118" y="93"/>
                      <a:pt x="118" y="93"/>
                      <a:pt x="118" y="93"/>
                    </a:cubicBezTo>
                    <a:cubicBezTo>
                      <a:pt x="118" y="92"/>
                      <a:pt x="118" y="92"/>
                      <a:pt x="118" y="92"/>
                    </a:cubicBezTo>
                    <a:cubicBezTo>
                      <a:pt x="117" y="92"/>
                      <a:pt x="117" y="91"/>
                      <a:pt x="116" y="91"/>
                    </a:cubicBezTo>
                    <a:cubicBezTo>
                      <a:pt x="116" y="90"/>
                      <a:pt x="116" y="89"/>
                      <a:pt x="116" y="89"/>
                    </a:cubicBezTo>
                    <a:cubicBezTo>
                      <a:pt x="116" y="89"/>
                      <a:pt x="116" y="89"/>
                      <a:pt x="116" y="89"/>
                    </a:cubicBezTo>
                    <a:cubicBezTo>
                      <a:pt x="115" y="88"/>
                      <a:pt x="115" y="88"/>
                      <a:pt x="115" y="88"/>
                    </a:cubicBezTo>
                    <a:cubicBezTo>
                      <a:pt x="114" y="86"/>
                      <a:pt x="114" y="85"/>
                      <a:pt x="114" y="83"/>
                    </a:cubicBezTo>
                    <a:cubicBezTo>
                      <a:pt x="114" y="83"/>
                      <a:pt x="114" y="83"/>
                      <a:pt x="114" y="82"/>
                    </a:cubicBezTo>
                    <a:cubicBezTo>
                      <a:pt x="111" y="83"/>
                      <a:pt x="111" y="83"/>
                      <a:pt x="111" y="83"/>
                    </a:cubicBezTo>
                    <a:cubicBezTo>
                      <a:pt x="114" y="82"/>
                      <a:pt x="114" y="82"/>
                      <a:pt x="114" y="82"/>
                    </a:cubicBezTo>
                    <a:cubicBezTo>
                      <a:pt x="114" y="81"/>
                      <a:pt x="114" y="81"/>
                      <a:pt x="114" y="81"/>
                    </a:cubicBezTo>
                    <a:cubicBezTo>
                      <a:pt x="114" y="81"/>
                      <a:pt x="113" y="81"/>
                      <a:pt x="114" y="80"/>
                    </a:cubicBezTo>
                    <a:cubicBezTo>
                      <a:pt x="114" y="80"/>
                      <a:pt x="114" y="79"/>
                      <a:pt x="114" y="78"/>
                    </a:cubicBezTo>
                    <a:cubicBezTo>
                      <a:pt x="114" y="77"/>
                      <a:pt x="114" y="76"/>
                      <a:pt x="114" y="75"/>
                    </a:cubicBezTo>
                    <a:cubicBezTo>
                      <a:pt x="114" y="74"/>
                      <a:pt x="114" y="74"/>
                      <a:pt x="114" y="74"/>
                    </a:cubicBezTo>
                    <a:cubicBezTo>
                      <a:pt x="114" y="73"/>
                      <a:pt x="115" y="72"/>
                      <a:pt x="115" y="71"/>
                    </a:cubicBezTo>
                    <a:cubicBezTo>
                      <a:pt x="115" y="71"/>
                      <a:pt x="116" y="71"/>
                      <a:pt x="116" y="70"/>
                    </a:cubicBezTo>
                    <a:cubicBezTo>
                      <a:pt x="116" y="70"/>
                      <a:pt x="116" y="70"/>
                      <a:pt x="116" y="70"/>
                    </a:cubicBezTo>
                    <a:cubicBezTo>
                      <a:pt x="116" y="69"/>
                      <a:pt x="116" y="69"/>
                      <a:pt x="116" y="69"/>
                    </a:cubicBezTo>
                    <a:cubicBezTo>
                      <a:pt x="117" y="69"/>
                      <a:pt x="117" y="68"/>
                      <a:pt x="118" y="68"/>
                    </a:cubicBezTo>
                    <a:cubicBezTo>
                      <a:pt x="118" y="67"/>
                      <a:pt x="118" y="67"/>
                      <a:pt x="118" y="66"/>
                    </a:cubicBezTo>
                    <a:cubicBezTo>
                      <a:pt x="118" y="65"/>
                      <a:pt x="116" y="65"/>
                      <a:pt x="115" y="65"/>
                    </a:cubicBezTo>
                    <a:cubicBezTo>
                      <a:pt x="114" y="65"/>
                      <a:pt x="112" y="65"/>
                      <a:pt x="110" y="66"/>
                    </a:cubicBezTo>
                    <a:cubicBezTo>
                      <a:pt x="109" y="66"/>
                      <a:pt x="109" y="66"/>
                      <a:pt x="108" y="66"/>
                    </a:cubicBezTo>
                    <a:cubicBezTo>
                      <a:pt x="107" y="66"/>
                      <a:pt x="107" y="66"/>
                      <a:pt x="107" y="66"/>
                    </a:cubicBezTo>
                    <a:cubicBezTo>
                      <a:pt x="106" y="66"/>
                      <a:pt x="104" y="66"/>
                      <a:pt x="103" y="67"/>
                    </a:cubicBezTo>
                    <a:cubicBezTo>
                      <a:pt x="103" y="67"/>
                      <a:pt x="103" y="67"/>
                      <a:pt x="103" y="67"/>
                    </a:cubicBezTo>
                    <a:cubicBezTo>
                      <a:pt x="103" y="67"/>
                      <a:pt x="103" y="67"/>
                      <a:pt x="103" y="67"/>
                    </a:cubicBezTo>
                    <a:cubicBezTo>
                      <a:pt x="100" y="67"/>
                      <a:pt x="99" y="67"/>
                      <a:pt x="98" y="67"/>
                    </a:cubicBezTo>
                    <a:cubicBezTo>
                      <a:pt x="97" y="66"/>
                      <a:pt x="96" y="64"/>
                      <a:pt x="94" y="62"/>
                    </a:cubicBezTo>
                    <a:cubicBezTo>
                      <a:pt x="94" y="62"/>
                      <a:pt x="94" y="62"/>
                      <a:pt x="94" y="61"/>
                    </a:cubicBezTo>
                    <a:cubicBezTo>
                      <a:pt x="93" y="61"/>
                      <a:pt x="93" y="61"/>
                      <a:pt x="93" y="61"/>
                    </a:cubicBezTo>
                    <a:cubicBezTo>
                      <a:pt x="93" y="61"/>
                      <a:pt x="92" y="60"/>
                      <a:pt x="92" y="60"/>
                    </a:cubicBezTo>
                    <a:cubicBezTo>
                      <a:pt x="91" y="58"/>
                      <a:pt x="91" y="58"/>
                      <a:pt x="89" y="58"/>
                    </a:cubicBezTo>
                    <a:cubicBezTo>
                      <a:pt x="88" y="58"/>
                      <a:pt x="87" y="57"/>
                      <a:pt x="86" y="57"/>
                    </a:cubicBezTo>
                    <a:cubicBezTo>
                      <a:pt x="86" y="57"/>
                      <a:pt x="85" y="57"/>
                      <a:pt x="84" y="58"/>
                    </a:cubicBezTo>
                    <a:cubicBezTo>
                      <a:pt x="83" y="58"/>
                      <a:pt x="83" y="58"/>
                      <a:pt x="82" y="58"/>
                    </a:cubicBezTo>
                    <a:cubicBezTo>
                      <a:pt x="81" y="58"/>
                      <a:pt x="80" y="58"/>
                      <a:pt x="79" y="58"/>
                    </a:cubicBezTo>
                    <a:cubicBezTo>
                      <a:pt x="78" y="58"/>
                      <a:pt x="78" y="58"/>
                      <a:pt x="77" y="58"/>
                    </a:cubicBezTo>
                    <a:cubicBezTo>
                      <a:pt x="76" y="58"/>
                      <a:pt x="75" y="58"/>
                      <a:pt x="74" y="58"/>
                    </a:cubicBezTo>
                    <a:cubicBezTo>
                      <a:pt x="74" y="58"/>
                      <a:pt x="73" y="58"/>
                      <a:pt x="72" y="57"/>
                    </a:cubicBezTo>
                    <a:cubicBezTo>
                      <a:pt x="71" y="57"/>
                      <a:pt x="71" y="56"/>
                      <a:pt x="70" y="55"/>
                    </a:cubicBezTo>
                    <a:cubicBezTo>
                      <a:pt x="70" y="55"/>
                      <a:pt x="70" y="55"/>
                      <a:pt x="70" y="55"/>
                    </a:cubicBezTo>
                    <a:cubicBezTo>
                      <a:pt x="70" y="54"/>
                      <a:pt x="70" y="54"/>
                      <a:pt x="70" y="54"/>
                    </a:cubicBezTo>
                    <a:cubicBezTo>
                      <a:pt x="70" y="54"/>
                      <a:pt x="70" y="54"/>
                      <a:pt x="69" y="54"/>
                    </a:cubicBezTo>
                    <a:cubicBezTo>
                      <a:pt x="69" y="54"/>
                      <a:pt x="69" y="54"/>
                      <a:pt x="68" y="54"/>
                    </a:cubicBezTo>
                    <a:cubicBezTo>
                      <a:pt x="67" y="54"/>
                      <a:pt x="67" y="52"/>
                      <a:pt x="67" y="51"/>
                    </a:cubicBezTo>
                    <a:cubicBezTo>
                      <a:pt x="66" y="49"/>
                      <a:pt x="66" y="47"/>
                      <a:pt x="67" y="46"/>
                    </a:cubicBezTo>
                    <a:cubicBezTo>
                      <a:pt x="67" y="46"/>
                      <a:pt x="67" y="46"/>
                      <a:pt x="67" y="46"/>
                    </a:cubicBezTo>
                    <a:cubicBezTo>
                      <a:pt x="67" y="44"/>
                      <a:pt x="67" y="43"/>
                      <a:pt x="67" y="43"/>
                    </a:cubicBezTo>
                    <a:cubicBezTo>
                      <a:pt x="66" y="42"/>
                      <a:pt x="66" y="42"/>
                      <a:pt x="66" y="42"/>
                    </a:cubicBezTo>
                    <a:cubicBezTo>
                      <a:pt x="65" y="38"/>
                      <a:pt x="65" y="38"/>
                      <a:pt x="65" y="38"/>
                    </a:cubicBezTo>
                    <a:cubicBezTo>
                      <a:pt x="64" y="38"/>
                      <a:pt x="64" y="37"/>
                      <a:pt x="64" y="36"/>
                    </a:cubicBezTo>
                    <a:cubicBezTo>
                      <a:pt x="63" y="37"/>
                      <a:pt x="62" y="36"/>
                      <a:pt x="62" y="36"/>
                    </a:cubicBezTo>
                    <a:cubicBezTo>
                      <a:pt x="62" y="35"/>
                      <a:pt x="62" y="35"/>
                      <a:pt x="62" y="35"/>
                    </a:cubicBezTo>
                    <a:cubicBezTo>
                      <a:pt x="61" y="35"/>
                      <a:pt x="61" y="35"/>
                      <a:pt x="61" y="35"/>
                    </a:cubicBezTo>
                    <a:cubicBezTo>
                      <a:pt x="60" y="35"/>
                      <a:pt x="60" y="36"/>
                      <a:pt x="59" y="36"/>
                    </a:cubicBezTo>
                    <a:cubicBezTo>
                      <a:pt x="58" y="36"/>
                      <a:pt x="58" y="36"/>
                      <a:pt x="58" y="36"/>
                    </a:cubicBezTo>
                    <a:cubicBezTo>
                      <a:pt x="58" y="35"/>
                      <a:pt x="58" y="35"/>
                      <a:pt x="58" y="35"/>
                    </a:cubicBezTo>
                    <a:cubicBezTo>
                      <a:pt x="57" y="34"/>
                      <a:pt x="57" y="33"/>
                      <a:pt x="58" y="33"/>
                    </a:cubicBezTo>
                    <a:cubicBezTo>
                      <a:pt x="58" y="32"/>
                      <a:pt x="58" y="32"/>
                      <a:pt x="58" y="32"/>
                    </a:cubicBezTo>
                    <a:cubicBezTo>
                      <a:pt x="58" y="32"/>
                      <a:pt x="58" y="32"/>
                      <a:pt x="58" y="32"/>
                    </a:cubicBezTo>
                    <a:cubicBezTo>
                      <a:pt x="59" y="32"/>
                      <a:pt x="59" y="32"/>
                      <a:pt x="59" y="32"/>
                    </a:cubicBezTo>
                    <a:cubicBezTo>
                      <a:pt x="60" y="30"/>
                      <a:pt x="60" y="29"/>
                      <a:pt x="61" y="27"/>
                    </a:cubicBezTo>
                    <a:cubicBezTo>
                      <a:pt x="61" y="27"/>
                      <a:pt x="61" y="26"/>
                      <a:pt x="61" y="26"/>
                    </a:cubicBezTo>
                    <a:cubicBezTo>
                      <a:pt x="61" y="25"/>
                      <a:pt x="61" y="25"/>
                      <a:pt x="62" y="24"/>
                    </a:cubicBezTo>
                    <a:cubicBezTo>
                      <a:pt x="62" y="23"/>
                      <a:pt x="62" y="22"/>
                      <a:pt x="62" y="21"/>
                    </a:cubicBezTo>
                    <a:cubicBezTo>
                      <a:pt x="62" y="20"/>
                      <a:pt x="63" y="19"/>
                      <a:pt x="63" y="18"/>
                    </a:cubicBezTo>
                    <a:cubicBezTo>
                      <a:pt x="64" y="18"/>
                      <a:pt x="64" y="18"/>
                      <a:pt x="64" y="18"/>
                    </a:cubicBezTo>
                    <a:cubicBezTo>
                      <a:pt x="64" y="18"/>
                      <a:pt x="64" y="17"/>
                      <a:pt x="64" y="17"/>
                    </a:cubicBezTo>
                    <a:cubicBezTo>
                      <a:pt x="64" y="17"/>
                      <a:pt x="64" y="17"/>
                      <a:pt x="64" y="17"/>
                    </a:cubicBezTo>
                    <a:cubicBezTo>
                      <a:pt x="65" y="16"/>
                      <a:pt x="65" y="16"/>
                      <a:pt x="65" y="16"/>
                    </a:cubicBezTo>
                    <a:cubicBezTo>
                      <a:pt x="65" y="16"/>
                      <a:pt x="66" y="14"/>
                      <a:pt x="67" y="14"/>
                    </a:cubicBezTo>
                    <a:cubicBezTo>
                      <a:pt x="67" y="13"/>
                      <a:pt x="68" y="13"/>
                      <a:pt x="68" y="13"/>
                    </a:cubicBezTo>
                    <a:cubicBezTo>
                      <a:pt x="69" y="13"/>
                      <a:pt x="69" y="13"/>
                      <a:pt x="69" y="12"/>
                    </a:cubicBezTo>
                    <a:cubicBezTo>
                      <a:pt x="69" y="12"/>
                      <a:pt x="69" y="12"/>
                      <a:pt x="69" y="12"/>
                    </a:cubicBezTo>
                    <a:cubicBezTo>
                      <a:pt x="70" y="12"/>
                      <a:pt x="70" y="11"/>
                      <a:pt x="70" y="11"/>
                    </a:cubicBezTo>
                    <a:cubicBezTo>
                      <a:pt x="71" y="10"/>
                      <a:pt x="71" y="8"/>
                      <a:pt x="72" y="8"/>
                    </a:cubicBezTo>
                    <a:cubicBezTo>
                      <a:pt x="73" y="7"/>
                      <a:pt x="74" y="7"/>
                      <a:pt x="75" y="7"/>
                    </a:cubicBezTo>
                    <a:cubicBezTo>
                      <a:pt x="75" y="7"/>
                      <a:pt x="75" y="7"/>
                      <a:pt x="75" y="7"/>
                    </a:cubicBezTo>
                    <a:cubicBezTo>
                      <a:pt x="77" y="6"/>
                      <a:pt x="77" y="6"/>
                      <a:pt x="77" y="6"/>
                    </a:cubicBezTo>
                    <a:cubicBezTo>
                      <a:pt x="77" y="6"/>
                      <a:pt x="78" y="6"/>
                      <a:pt x="79" y="6"/>
                    </a:cubicBezTo>
                    <a:cubicBezTo>
                      <a:pt x="80" y="6"/>
                      <a:pt x="80" y="6"/>
                      <a:pt x="80" y="6"/>
                    </a:cubicBezTo>
                    <a:cubicBezTo>
                      <a:pt x="80" y="6"/>
                      <a:pt x="80" y="6"/>
                      <a:pt x="80" y="6"/>
                    </a:cubicBezTo>
                    <a:cubicBezTo>
                      <a:pt x="80" y="6"/>
                      <a:pt x="80" y="6"/>
                      <a:pt x="81" y="6"/>
                    </a:cubicBezTo>
                    <a:cubicBezTo>
                      <a:pt x="81" y="5"/>
                      <a:pt x="82" y="5"/>
                      <a:pt x="81" y="4"/>
                    </a:cubicBezTo>
                    <a:cubicBezTo>
                      <a:pt x="81" y="3"/>
                      <a:pt x="80" y="2"/>
                      <a:pt x="80" y="2"/>
                    </a:cubicBezTo>
                    <a:cubicBezTo>
                      <a:pt x="79" y="1"/>
                      <a:pt x="77" y="0"/>
                      <a:pt x="76" y="1"/>
                    </a:cubicBezTo>
                    <a:cubicBezTo>
                      <a:pt x="75" y="1"/>
                      <a:pt x="73" y="2"/>
                      <a:pt x="71" y="3"/>
                    </a:cubicBezTo>
                    <a:cubicBezTo>
                      <a:pt x="70" y="3"/>
                      <a:pt x="70" y="5"/>
                      <a:pt x="69" y="7"/>
                    </a:cubicBezTo>
                    <a:cubicBezTo>
                      <a:pt x="67" y="8"/>
                      <a:pt x="65" y="9"/>
                      <a:pt x="64" y="9"/>
                    </a:cubicBezTo>
                    <a:cubicBezTo>
                      <a:pt x="62" y="10"/>
                      <a:pt x="61" y="11"/>
                      <a:pt x="60" y="12"/>
                    </a:cubicBezTo>
                    <a:cubicBezTo>
                      <a:pt x="58" y="13"/>
                      <a:pt x="55" y="13"/>
                      <a:pt x="53" y="12"/>
                    </a:cubicBezTo>
                    <a:cubicBezTo>
                      <a:pt x="52" y="12"/>
                      <a:pt x="52" y="12"/>
                      <a:pt x="51" y="12"/>
                    </a:cubicBezTo>
                    <a:cubicBezTo>
                      <a:pt x="50" y="13"/>
                      <a:pt x="49" y="15"/>
                      <a:pt x="49" y="16"/>
                    </a:cubicBezTo>
                    <a:cubicBezTo>
                      <a:pt x="48" y="18"/>
                      <a:pt x="48" y="18"/>
                      <a:pt x="46" y="17"/>
                    </a:cubicBezTo>
                    <a:cubicBezTo>
                      <a:pt x="46" y="18"/>
                      <a:pt x="46" y="18"/>
                      <a:pt x="46" y="18"/>
                    </a:cubicBezTo>
                    <a:cubicBezTo>
                      <a:pt x="46" y="17"/>
                      <a:pt x="47" y="17"/>
                      <a:pt x="47" y="16"/>
                    </a:cubicBezTo>
                    <a:cubicBezTo>
                      <a:pt x="47" y="16"/>
                      <a:pt x="48" y="16"/>
                      <a:pt x="49" y="16"/>
                    </a:cubicBezTo>
                    <a:cubicBezTo>
                      <a:pt x="49" y="16"/>
                      <a:pt x="49" y="16"/>
                      <a:pt x="49" y="16"/>
                    </a:cubicBezTo>
                    <a:cubicBezTo>
                      <a:pt x="48" y="16"/>
                      <a:pt x="47" y="16"/>
                      <a:pt x="46" y="15"/>
                    </a:cubicBezTo>
                    <a:cubicBezTo>
                      <a:pt x="46" y="15"/>
                      <a:pt x="44" y="14"/>
                      <a:pt x="43" y="14"/>
                    </a:cubicBezTo>
                    <a:cubicBezTo>
                      <a:pt x="42" y="15"/>
                      <a:pt x="42" y="16"/>
                      <a:pt x="41" y="17"/>
                    </a:cubicBezTo>
                    <a:cubicBezTo>
                      <a:pt x="40" y="17"/>
                      <a:pt x="40" y="17"/>
                      <a:pt x="40" y="18"/>
                    </a:cubicBezTo>
                    <a:cubicBezTo>
                      <a:pt x="39" y="18"/>
                      <a:pt x="39" y="18"/>
                      <a:pt x="39" y="19"/>
                    </a:cubicBezTo>
                    <a:cubicBezTo>
                      <a:pt x="39" y="19"/>
                      <a:pt x="37" y="19"/>
                      <a:pt x="37" y="20"/>
                    </a:cubicBezTo>
                    <a:cubicBezTo>
                      <a:pt x="36" y="21"/>
                      <a:pt x="36" y="23"/>
                      <a:pt x="35" y="24"/>
                    </a:cubicBezTo>
                    <a:cubicBezTo>
                      <a:pt x="35" y="24"/>
                      <a:pt x="36" y="24"/>
                      <a:pt x="36" y="23"/>
                    </a:cubicBezTo>
                    <a:cubicBezTo>
                      <a:pt x="36" y="25"/>
                      <a:pt x="35" y="27"/>
                      <a:pt x="35" y="28"/>
                    </a:cubicBezTo>
                    <a:cubicBezTo>
                      <a:pt x="34" y="29"/>
                      <a:pt x="36" y="29"/>
                      <a:pt x="36" y="30"/>
                    </a:cubicBezTo>
                    <a:cubicBezTo>
                      <a:pt x="35" y="31"/>
                      <a:pt x="35" y="32"/>
                      <a:pt x="34" y="32"/>
                    </a:cubicBezTo>
                    <a:cubicBezTo>
                      <a:pt x="33" y="32"/>
                      <a:pt x="32" y="32"/>
                      <a:pt x="31" y="33"/>
                    </a:cubicBezTo>
                    <a:cubicBezTo>
                      <a:pt x="30" y="33"/>
                      <a:pt x="29" y="35"/>
                      <a:pt x="29" y="37"/>
                    </a:cubicBezTo>
                    <a:cubicBezTo>
                      <a:pt x="28" y="38"/>
                      <a:pt x="25" y="39"/>
                      <a:pt x="24" y="40"/>
                    </a:cubicBezTo>
                    <a:cubicBezTo>
                      <a:pt x="23" y="40"/>
                      <a:pt x="23" y="40"/>
                      <a:pt x="23" y="40"/>
                    </a:cubicBezTo>
                    <a:cubicBezTo>
                      <a:pt x="21" y="41"/>
                      <a:pt x="23" y="42"/>
                      <a:pt x="23" y="43"/>
                    </a:cubicBezTo>
                    <a:cubicBezTo>
                      <a:pt x="24" y="44"/>
                      <a:pt x="24" y="45"/>
                      <a:pt x="24" y="46"/>
                    </a:cubicBezTo>
                    <a:cubicBezTo>
                      <a:pt x="24" y="46"/>
                      <a:pt x="24" y="47"/>
                      <a:pt x="24" y="47"/>
                    </a:cubicBezTo>
                    <a:cubicBezTo>
                      <a:pt x="23" y="48"/>
                      <a:pt x="23" y="47"/>
                      <a:pt x="23" y="46"/>
                    </a:cubicBezTo>
                    <a:cubicBezTo>
                      <a:pt x="22" y="44"/>
                      <a:pt x="20" y="42"/>
                      <a:pt x="18" y="41"/>
                    </a:cubicBezTo>
                    <a:cubicBezTo>
                      <a:pt x="18" y="41"/>
                      <a:pt x="18" y="41"/>
                      <a:pt x="18" y="41"/>
                    </a:cubicBezTo>
                    <a:cubicBezTo>
                      <a:pt x="19" y="42"/>
                      <a:pt x="19" y="42"/>
                      <a:pt x="19" y="43"/>
                    </a:cubicBezTo>
                    <a:cubicBezTo>
                      <a:pt x="20" y="44"/>
                      <a:pt x="20" y="45"/>
                      <a:pt x="21" y="46"/>
                    </a:cubicBezTo>
                    <a:cubicBezTo>
                      <a:pt x="22" y="48"/>
                      <a:pt x="22" y="48"/>
                      <a:pt x="22" y="48"/>
                    </a:cubicBezTo>
                    <a:cubicBezTo>
                      <a:pt x="20" y="48"/>
                      <a:pt x="20" y="48"/>
                      <a:pt x="20" y="48"/>
                    </a:cubicBezTo>
                    <a:cubicBezTo>
                      <a:pt x="19" y="49"/>
                      <a:pt x="19" y="50"/>
                      <a:pt x="18" y="51"/>
                    </a:cubicBezTo>
                    <a:cubicBezTo>
                      <a:pt x="17" y="52"/>
                      <a:pt x="16" y="52"/>
                      <a:pt x="16" y="53"/>
                    </a:cubicBezTo>
                    <a:cubicBezTo>
                      <a:pt x="15" y="53"/>
                      <a:pt x="15" y="53"/>
                      <a:pt x="15" y="53"/>
                    </a:cubicBezTo>
                    <a:cubicBezTo>
                      <a:pt x="15" y="52"/>
                      <a:pt x="15" y="52"/>
                      <a:pt x="15" y="52"/>
                    </a:cubicBezTo>
                    <a:cubicBezTo>
                      <a:pt x="15" y="53"/>
                      <a:pt x="14" y="53"/>
                      <a:pt x="14" y="54"/>
                    </a:cubicBezTo>
                    <a:cubicBezTo>
                      <a:pt x="14" y="54"/>
                      <a:pt x="14" y="54"/>
                      <a:pt x="14" y="54"/>
                    </a:cubicBezTo>
                    <a:cubicBezTo>
                      <a:pt x="14" y="56"/>
                      <a:pt x="14" y="56"/>
                      <a:pt x="14" y="56"/>
                    </a:cubicBezTo>
                    <a:cubicBezTo>
                      <a:pt x="13" y="56"/>
                      <a:pt x="13" y="56"/>
                      <a:pt x="13" y="56"/>
                    </a:cubicBezTo>
                    <a:cubicBezTo>
                      <a:pt x="14" y="57"/>
                      <a:pt x="15" y="58"/>
                      <a:pt x="16" y="59"/>
                    </a:cubicBezTo>
                    <a:cubicBezTo>
                      <a:pt x="17" y="60"/>
                      <a:pt x="18" y="60"/>
                      <a:pt x="18" y="61"/>
                    </a:cubicBezTo>
                    <a:cubicBezTo>
                      <a:pt x="18" y="62"/>
                      <a:pt x="16" y="63"/>
                      <a:pt x="17" y="65"/>
                    </a:cubicBezTo>
                    <a:cubicBezTo>
                      <a:pt x="17" y="66"/>
                      <a:pt x="18" y="67"/>
                      <a:pt x="18" y="68"/>
                    </a:cubicBezTo>
                    <a:cubicBezTo>
                      <a:pt x="18" y="69"/>
                      <a:pt x="19" y="69"/>
                      <a:pt x="19" y="69"/>
                    </a:cubicBezTo>
                    <a:cubicBezTo>
                      <a:pt x="19" y="71"/>
                      <a:pt x="16" y="71"/>
                      <a:pt x="16" y="72"/>
                    </a:cubicBezTo>
                    <a:cubicBezTo>
                      <a:pt x="17" y="73"/>
                      <a:pt x="18" y="74"/>
                      <a:pt x="18" y="75"/>
                    </a:cubicBezTo>
                    <a:cubicBezTo>
                      <a:pt x="18" y="77"/>
                      <a:pt x="18" y="78"/>
                      <a:pt x="18" y="80"/>
                    </a:cubicBezTo>
                    <a:cubicBezTo>
                      <a:pt x="18" y="81"/>
                      <a:pt x="18" y="82"/>
                      <a:pt x="18" y="83"/>
                    </a:cubicBezTo>
                    <a:cubicBezTo>
                      <a:pt x="17" y="84"/>
                      <a:pt x="18" y="85"/>
                      <a:pt x="19" y="85"/>
                    </a:cubicBezTo>
                    <a:cubicBezTo>
                      <a:pt x="18" y="86"/>
                      <a:pt x="16" y="86"/>
                      <a:pt x="18" y="88"/>
                    </a:cubicBezTo>
                    <a:cubicBezTo>
                      <a:pt x="18" y="87"/>
                      <a:pt x="18" y="87"/>
                      <a:pt x="19" y="87"/>
                    </a:cubicBezTo>
                    <a:cubicBezTo>
                      <a:pt x="20" y="87"/>
                      <a:pt x="19" y="88"/>
                      <a:pt x="20" y="89"/>
                    </a:cubicBezTo>
                    <a:cubicBezTo>
                      <a:pt x="20" y="89"/>
                      <a:pt x="20" y="88"/>
                      <a:pt x="21" y="88"/>
                    </a:cubicBezTo>
                    <a:cubicBezTo>
                      <a:pt x="20" y="91"/>
                      <a:pt x="18" y="96"/>
                      <a:pt x="14" y="97"/>
                    </a:cubicBezTo>
                    <a:cubicBezTo>
                      <a:pt x="15" y="99"/>
                      <a:pt x="15" y="99"/>
                      <a:pt x="14" y="100"/>
                    </a:cubicBezTo>
                    <a:cubicBezTo>
                      <a:pt x="13" y="101"/>
                      <a:pt x="12" y="102"/>
                      <a:pt x="11" y="102"/>
                    </a:cubicBezTo>
                    <a:cubicBezTo>
                      <a:pt x="10" y="103"/>
                      <a:pt x="7" y="103"/>
                      <a:pt x="5" y="104"/>
                    </a:cubicBezTo>
                    <a:cubicBezTo>
                      <a:pt x="5" y="105"/>
                      <a:pt x="4" y="106"/>
                      <a:pt x="4" y="106"/>
                    </a:cubicBezTo>
                    <a:cubicBezTo>
                      <a:pt x="4" y="107"/>
                      <a:pt x="5" y="108"/>
                      <a:pt x="6" y="109"/>
                    </a:cubicBezTo>
                    <a:cubicBezTo>
                      <a:pt x="6" y="111"/>
                      <a:pt x="2" y="111"/>
                      <a:pt x="0" y="112"/>
                    </a:cubicBezTo>
                    <a:cubicBezTo>
                      <a:pt x="1" y="112"/>
                      <a:pt x="1" y="112"/>
                      <a:pt x="2" y="112"/>
                    </a:cubicBezTo>
                    <a:cubicBezTo>
                      <a:pt x="2" y="112"/>
                      <a:pt x="2" y="112"/>
                      <a:pt x="2" y="112"/>
                    </a:cubicBezTo>
                    <a:cubicBezTo>
                      <a:pt x="2" y="112"/>
                      <a:pt x="2" y="112"/>
                      <a:pt x="2" y="112"/>
                    </a:cubicBezTo>
                    <a:cubicBezTo>
                      <a:pt x="3" y="112"/>
                      <a:pt x="3" y="112"/>
                      <a:pt x="3" y="112"/>
                    </a:cubicBezTo>
                    <a:cubicBezTo>
                      <a:pt x="3" y="112"/>
                      <a:pt x="3" y="113"/>
                      <a:pt x="4" y="113"/>
                    </a:cubicBezTo>
                    <a:cubicBezTo>
                      <a:pt x="7" y="115"/>
                      <a:pt x="9" y="117"/>
                      <a:pt x="13" y="118"/>
                    </a:cubicBezTo>
                    <a:cubicBezTo>
                      <a:pt x="13" y="118"/>
                      <a:pt x="13" y="118"/>
                      <a:pt x="14" y="118"/>
                    </a:cubicBezTo>
                    <a:cubicBezTo>
                      <a:pt x="15" y="119"/>
                      <a:pt x="17" y="119"/>
                      <a:pt x="17" y="121"/>
                    </a:cubicBezTo>
                    <a:cubicBezTo>
                      <a:pt x="18" y="122"/>
                      <a:pt x="18" y="122"/>
                      <a:pt x="18" y="122"/>
                    </a:cubicBezTo>
                    <a:cubicBezTo>
                      <a:pt x="18" y="123"/>
                      <a:pt x="18" y="123"/>
                      <a:pt x="18" y="123"/>
                    </a:cubicBezTo>
                    <a:cubicBezTo>
                      <a:pt x="18" y="123"/>
                      <a:pt x="18" y="123"/>
                      <a:pt x="18" y="123"/>
                    </a:cubicBezTo>
                    <a:cubicBezTo>
                      <a:pt x="18" y="123"/>
                      <a:pt x="19" y="123"/>
                      <a:pt x="19" y="123"/>
                    </a:cubicBezTo>
                    <a:cubicBezTo>
                      <a:pt x="19" y="123"/>
                      <a:pt x="20" y="124"/>
                      <a:pt x="20" y="124"/>
                    </a:cubicBezTo>
                    <a:cubicBezTo>
                      <a:pt x="21" y="124"/>
                      <a:pt x="22" y="124"/>
                      <a:pt x="22" y="124"/>
                    </a:cubicBezTo>
                    <a:cubicBezTo>
                      <a:pt x="24" y="124"/>
                      <a:pt x="25" y="124"/>
                      <a:pt x="27" y="124"/>
                    </a:cubicBezTo>
                    <a:cubicBezTo>
                      <a:pt x="27" y="124"/>
                      <a:pt x="27" y="124"/>
                      <a:pt x="27" y="124"/>
                    </a:cubicBezTo>
                    <a:cubicBezTo>
                      <a:pt x="28" y="123"/>
                      <a:pt x="30" y="123"/>
                      <a:pt x="31" y="124"/>
                    </a:cubicBezTo>
                    <a:cubicBezTo>
                      <a:pt x="32" y="124"/>
                      <a:pt x="32" y="124"/>
                      <a:pt x="33" y="125"/>
                    </a:cubicBezTo>
                    <a:cubicBezTo>
                      <a:pt x="33" y="125"/>
                      <a:pt x="33" y="125"/>
                      <a:pt x="33" y="125"/>
                    </a:cubicBezTo>
                    <a:cubicBezTo>
                      <a:pt x="33" y="125"/>
                      <a:pt x="34" y="125"/>
                      <a:pt x="34" y="125"/>
                    </a:cubicBezTo>
                    <a:cubicBezTo>
                      <a:pt x="36" y="127"/>
                      <a:pt x="36" y="127"/>
                      <a:pt x="36" y="127"/>
                    </a:cubicBezTo>
                    <a:cubicBezTo>
                      <a:pt x="37" y="127"/>
                      <a:pt x="37" y="127"/>
                      <a:pt x="37" y="127"/>
                    </a:cubicBezTo>
                    <a:cubicBezTo>
                      <a:pt x="38" y="128"/>
                      <a:pt x="38" y="128"/>
                      <a:pt x="38" y="128"/>
                    </a:cubicBezTo>
                    <a:cubicBezTo>
                      <a:pt x="38" y="128"/>
                      <a:pt x="39" y="128"/>
                      <a:pt x="39" y="128"/>
                    </a:cubicBezTo>
                    <a:cubicBezTo>
                      <a:pt x="39" y="128"/>
                      <a:pt x="40" y="128"/>
                      <a:pt x="40" y="128"/>
                    </a:cubicBezTo>
                    <a:cubicBezTo>
                      <a:pt x="40" y="128"/>
                      <a:pt x="40" y="128"/>
                      <a:pt x="40" y="128"/>
                    </a:cubicBezTo>
                    <a:cubicBezTo>
                      <a:pt x="40" y="128"/>
                      <a:pt x="40" y="128"/>
                      <a:pt x="40" y="128"/>
                    </a:cubicBezTo>
                    <a:cubicBezTo>
                      <a:pt x="41" y="128"/>
                      <a:pt x="41" y="128"/>
                      <a:pt x="41" y="128"/>
                    </a:cubicBezTo>
                    <a:cubicBezTo>
                      <a:pt x="42" y="128"/>
                      <a:pt x="42" y="128"/>
                      <a:pt x="42" y="128"/>
                    </a:cubicBezTo>
                    <a:cubicBezTo>
                      <a:pt x="42" y="128"/>
                      <a:pt x="42" y="128"/>
                      <a:pt x="42" y="128"/>
                    </a:cubicBezTo>
                    <a:cubicBezTo>
                      <a:pt x="43" y="128"/>
                      <a:pt x="43" y="129"/>
                      <a:pt x="43" y="129"/>
                    </a:cubicBezTo>
                    <a:cubicBezTo>
                      <a:pt x="44" y="127"/>
                      <a:pt x="44" y="127"/>
                      <a:pt x="44" y="127"/>
                    </a:cubicBezTo>
                    <a:cubicBezTo>
                      <a:pt x="43" y="129"/>
                      <a:pt x="43" y="129"/>
                      <a:pt x="43" y="129"/>
                    </a:cubicBezTo>
                    <a:cubicBezTo>
                      <a:pt x="44" y="129"/>
                      <a:pt x="44" y="129"/>
                      <a:pt x="44" y="129"/>
                    </a:cubicBezTo>
                    <a:cubicBezTo>
                      <a:pt x="44" y="129"/>
                      <a:pt x="44" y="129"/>
                      <a:pt x="44" y="129"/>
                    </a:cubicBezTo>
                    <a:cubicBezTo>
                      <a:pt x="44" y="129"/>
                      <a:pt x="44" y="129"/>
                      <a:pt x="44" y="129"/>
                    </a:cubicBezTo>
                    <a:cubicBezTo>
                      <a:pt x="44" y="129"/>
                      <a:pt x="44" y="129"/>
                      <a:pt x="44" y="129"/>
                    </a:cubicBezTo>
                    <a:cubicBezTo>
                      <a:pt x="45" y="130"/>
                      <a:pt x="45" y="130"/>
                      <a:pt x="46" y="130"/>
                    </a:cubicBezTo>
                    <a:cubicBezTo>
                      <a:pt x="47" y="129"/>
                      <a:pt x="47" y="129"/>
                      <a:pt x="47" y="129"/>
                    </a:cubicBezTo>
                    <a:cubicBezTo>
                      <a:pt x="46" y="130"/>
                      <a:pt x="46" y="130"/>
                      <a:pt x="46" y="130"/>
                    </a:cubicBezTo>
                    <a:cubicBezTo>
                      <a:pt x="46" y="131"/>
                      <a:pt x="46" y="131"/>
                      <a:pt x="46" y="131"/>
                    </a:cubicBezTo>
                    <a:cubicBezTo>
                      <a:pt x="47" y="132"/>
                      <a:pt x="49" y="133"/>
                      <a:pt x="49" y="134"/>
                    </a:cubicBezTo>
                    <a:cubicBezTo>
                      <a:pt x="49" y="135"/>
                      <a:pt x="49" y="135"/>
                      <a:pt x="49" y="135"/>
                    </a:cubicBezTo>
                    <a:cubicBezTo>
                      <a:pt x="50" y="135"/>
                      <a:pt x="50" y="135"/>
                      <a:pt x="50" y="136"/>
                    </a:cubicBezTo>
                    <a:cubicBezTo>
                      <a:pt x="50" y="136"/>
                      <a:pt x="50" y="138"/>
                      <a:pt x="51" y="138"/>
                    </a:cubicBezTo>
                    <a:cubicBezTo>
                      <a:pt x="51" y="138"/>
                      <a:pt x="51" y="138"/>
                      <a:pt x="51" y="138"/>
                    </a:cubicBezTo>
                    <a:cubicBezTo>
                      <a:pt x="51" y="138"/>
                      <a:pt x="52" y="138"/>
                      <a:pt x="52" y="138"/>
                    </a:cubicBezTo>
                    <a:cubicBezTo>
                      <a:pt x="52" y="138"/>
                      <a:pt x="52" y="138"/>
                      <a:pt x="52" y="138"/>
                    </a:cubicBezTo>
                    <a:cubicBezTo>
                      <a:pt x="53" y="139"/>
                      <a:pt x="53" y="139"/>
                      <a:pt x="53" y="139"/>
                    </a:cubicBezTo>
                    <a:cubicBezTo>
                      <a:pt x="54" y="140"/>
                      <a:pt x="54" y="140"/>
                      <a:pt x="54" y="140"/>
                    </a:cubicBezTo>
                    <a:cubicBezTo>
                      <a:pt x="54" y="140"/>
                      <a:pt x="55" y="140"/>
                      <a:pt x="55" y="140"/>
                    </a:cubicBezTo>
                    <a:cubicBezTo>
                      <a:pt x="56" y="141"/>
                      <a:pt x="57" y="141"/>
                      <a:pt x="57" y="141"/>
                    </a:cubicBezTo>
                    <a:cubicBezTo>
                      <a:pt x="58" y="142"/>
                      <a:pt x="58" y="143"/>
                      <a:pt x="58" y="143"/>
                    </a:cubicBezTo>
                    <a:cubicBezTo>
                      <a:pt x="59" y="144"/>
                      <a:pt x="59" y="144"/>
                      <a:pt x="59" y="144"/>
                    </a:cubicBezTo>
                    <a:cubicBezTo>
                      <a:pt x="59" y="145"/>
                      <a:pt x="59" y="145"/>
                      <a:pt x="59" y="145"/>
                    </a:cubicBezTo>
                    <a:cubicBezTo>
                      <a:pt x="59" y="145"/>
                      <a:pt x="59" y="145"/>
                      <a:pt x="59" y="145"/>
                    </a:cubicBezTo>
                    <a:cubicBezTo>
                      <a:pt x="59" y="146"/>
                      <a:pt x="59" y="146"/>
                      <a:pt x="59" y="146"/>
                    </a:cubicBezTo>
                    <a:cubicBezTo>
                      <a:pt x="59" y="146"/>
                      <a:pt x="59" y="146"/>
                      <a:pt x="59" y="146"/>
                    </a:cubicBezTo>
                    <a:cubicBezTo>
                      <a:pt x="59" y="146"/>
                      <a:pt x="59" y="146"/>
                      <a:pt x="59" y="146"/>
                    </a:cubicBezTo>
                    <a:cubicBezTo>
                      <a:pt x="59" y="146"/>
                      <a:pt x="59" y="146"/>
                      <a:pt x="59" y="146"/>
                    </a:cubicBezTo>
                    <a:cubicBezTo>
                      <a:pt x="59" y="146"/>
                      <a:pt x="59" y="146"/>
                      <a:pt x="59" y="146"/>
                    </a:cubicBezTo>
                    <a:cubicBezTo>
                      <a:pt x="60" y="146"/>
                      <a:pt x="61" y="146"/>
                      <a:pt x="62" y="146"/>
                    </a:cubicBezTo>
                    <a:cubicBezTo>
                      <a:pt x="62" y="147"/>
                      <a:pt x="62" y="147"/>
                      <a:pt x="62" y="147"/>
                    </a:cubicBezTo>
                    <a:cubicBezTo>
                      <a:pt x="62" y="147"/>
                      <a:pt x="62" y="147"/>
                      <a:pt x="62" y="147"/>
                    </a:cubicBezTo>
                    <a:cubicBezTo>
                      <a:pt x="62" y="147"/>
                      <a:pt x="62" y="147"/>
                      <a:pt x="62" y="148"/>
                    </a:cubicBezTo>
                    <a:cubicBezTo>
                      <a:pt x="65" y="147"/>
                      <a:pt x="65" y="147"/>
                      <a:pt x="65" y="147"/>
                    </a:cubicBezTo>
                    <a:cubicBezTo>
                      <a:pt x="63" y="148"/>
                      <a:pt x="63" y="148"/>
                      <a:pt x="63" y="148"/>
                    </a:cubicBezTo>
                    <a:cubicBezTo>
                      <a:pt x="63" y="148"/>
                      <a:pt x="63" y="148"/>
                      <a:pt x="63" y="148"/>
                    </a:cubicBezTo>
                    <a:cubicBezTo>
                      <a:pt x="63" y="149"/>
                      <a:pt x="63" y="149"/>
                      <a:pt x="63" y="149"/>
                    </a:cubicBezTo>
                    <a:cubicBezTo>
                      <a:pt x="63" y="150"/>
                      <a:pt x="63" y="150"/>
                      <a:pt x="63" y="150"/>
                    </a:cubicBezTo>
                    <a:cubicBezTo>
                      <a:pt x="63" y="150"/>
                      <a:pt x="63" y="150"/>
                      <a:pt x="63" y="150"/>
                    </a:cubicBezTo>
                    <a:cubicBezTo>
                      <a:pt x="63" y="152"/>
                      <a:pt x="64" y="152"/>
                      <a:pt x="64" y="153"/>
                    </a:cubicBezTo>
                    <a:cubicBezTo>
                      <a:pt x="64" y="153"/>
                      <a:pt x="65" y="153"/>
                      <a:pt x="65" y="153"/>
                    </a:cubicBezTo>
                    <a:cubicBezTo>
                      <a:pt x="65" y="152"/>
                      <a:pt x="66" y="152"/>
                      <a:pt x="66" y="152"/>
                    </a:cubicBezTo>
                    <a:cubicBezTo>
                      <a:pt x="67" y="152"/>
                      <a:pt x="67" y="152"/>
                      <a:pt x="68" y="152"/>
                    </a:cubicBezTo>
                    <a:cubicBezTo>
                      <a:pt x="68" y="152"/>
                      <a:pt x="68" y="152"/>
                      <a:pt x="69" y="152"/>
                    </a:cubicBezTo>
                    <a:cubicBezTo>
                      <a:pt x="69" y="152"/>
                      <a:pt x="69" y="152"/>
                      <a:pt x="69" y="152"/>
                    </a:cubicBezTo>
                    <a:cubicBezTo>
                      <a:pt x="70" y="153"/>
                      <a:pt x="70" y="153"/>
                      <a:pt x="70" y="153"/>
                    </a:cubicBezTo>
                    <a:cubicBezTo>
                      <a:pt x="70" y="153"/>
                      <a:pt x="70" y="153"/>
                      <a:pt x="70" y="153"/>
                    </a:cubicBezTo>
                    <a:cubicBezTo>
                      <a:pt x="70" y="152"/>
                      <a:pt x="70" y="152"/>
                      <a:pt x="70" y="152"/>
                    </a:cubicBezTo>
                    <a:cubicBezTo>
                      <a:pt x="70" y="152"/>
                      <a:pt x="71" y="152"/>
                      <a:pt x="71" y="152"/>
                    </a:cubicBezTo>
                    <a:cubicBezTo>
                      <a:pt x="71" y="152"/>
                      <a:pt x="71" y="152"/>
                      <a:pt x="71" y="152"/>
                    </a:cubicBezTo>
                    <a:cubicBezTo>
                      <a:pt x="71" y="152"/>
                      <a:pt x="71" y="152"/>
                      <a:pt x="71" y="152"/>
                    </a:cubicBezTo>
                    <a:cubicBezTo>
                      <a:pt x="71" y="152"/>
                      <a:pt x="71" y="152"/>
                      <a:pt x="71" y="152"/>
                    </a:cubicBezTo>
                    <a:cubicBezTo>
                      <a:pt x="71" y="152"/>
                      <a:pt x="71" y="152"/>
                      <a:pt x="71" y="152"/>
                    </a:cubicBezTo>
                    <a:cubicBezTo>
                      <a:pt x="72" y="152"/>
                      <a:pt x="72" y="152"/>
                      <a:pt x="72" y="152"/>
                    </a:cubicBezTo>
                    <a:cubicBezTo>
                      <a:pt x="72" y="152"/>
                      <a:pt x="72" y="152"/>
                      <a:pt x="72" y="152"/>
                    </a:cubicBezTo>
                    <a:cubicBezTo>
                      <a:pt x="73" y="151"/>
                      <a:pt x="73" y="151"/>
                      <a:pt x="73" y="151"/>
                    </a:cubicBezTo>
                    <a:cubicBezTo>
                      <a:pt x="73" y="151"/>
                      <a:pt x="73" y="151"/>
                      <a:pt x="73" y="151"/>
                    </a:cubicBezTo>
                    <a:cubicBezTo>
                      <a:pt x="73" y="151"/>
                      <a:pt x="73" y="151"/>
                      <a:pt x="73" y="151"/>
                    </a:cubicBezTo>
                    <a:cubicBezTo>
                      <a:pt x="74" y="150"/>
                      <a:pt x="74" y="150"/>
                      <a:pt x="76" y="150"/>
                    </a:cubicBezTo>
                    <a:cubicBezTo>
                      <a:pt x="76" y="150"/>
                      <a:pt x="76" y="150"/>
                      <a:pt x="77" y="151"/>
                    </a:cubicBezTo>
                    <a:cubicBezTo>
                      <a:pt x="77" y="151"/>
                      <a:pt x="77" y="151"/>
                      <a:pt x="77" y="151"/>
                    </a:cubicBezTo>
                    <a:cubicBezTo>
                      <a:pt x="78" y="151"/>
                      <a:pt x="79" y="151"/>
                      <a:pt x="79" y="151"/>
                    </a:cubicBezTo>
                    <a:cubicBezTo>
                      <a:pt x="79" y="151"/>
                      <a:pt x="79" y="151"/>
                      <a:pt x="79" y="151"/>
                    </a:cubicBezTo>
                    <a:cubicBezTo>
                      <a:pt x="79" y="151"/>
                      <a:pt x="79" y="151"/>
                      <a:pt x="80" y="151"/>
                    </a:cubicBezTo>
                    <a:cubicBezTo>
                      <a:pt x="80" y="151"/>
                      <a:pt x="80" y="151"/>
                      <a:pt x="80" y="151"/>
                    </a:cubicBezTo>
                    <a:cubicBezTo>
                      <a:pt x="80" y="151"/>
                      <a:pt x="80" y="151"/>
                      <a:pt x="80" y="151"/>
                    </a:cubicBezTo>
                    <a:cubicBezTo>
                      <a:pt x="80" y="151"/>
                      <a:pt x="81" y="151"/>
                      <a:pt x="81" y="151"/>
                    </a:cubicBezTo>
                    <a:cubicBezTo>
                      <a:pt x="81" y="151"/>
                      <a:pt x="81" y="151"/>
                      <a:pt x="81" y="151"/>
                    </a:cubicBezTo>
                    <a:cubicBezTo>
                      <a:pt x="82" y="151"/>
                      <a:pt x="82" y="151"/>
                      <a:pt x="82" y="151"/>
                    </a:cubicBezTo>
                    <a:cubicBezTo>
                      <a:pt x="82" y="151"/>
                      <a:pt x="83" y="150"/>
                      <a:pt x="83" y="150"/>
                    </a:cubicBezTo>
                    <a:cubicBezTo>
                      <a:pt x="84" y="150"/>
                      <a:pt x="86" y="151"/>
                      <a:pt x="86" y="151"/>
                    </a:cubicBezTo>
                    <a:cubicBezTo>
                      <a:pt x="86" y="151"/>
                      <a:pt x="87" y="152"/>
                      <a:pt x="87" y="152"/>
                    </a:cubicBezTo>
                    <a:cubicBezTo>
                      <a:pt x="87" y="152"/>
                      <a:pt x="88" y="152"/>
                      <a:pt x="89" y="152"/>
                    </a:cubicBezTo>
                    <a:cubicBezTo>
                      <a:pt x="89" y="152"/>
                      <a:pt x="89" y="153"/>
                      <a:pt x="90" y="153"/>
                    </a:cubicBezTo>
                    <a:cubicBezTo>
                      <a:pt x="90" y="153"/>
                      <a:pt x="91" y="153"/>
                      <a:pt x="92" y="153"/>
                    </a:cubicBezTo>
                    <a:cubicBezTo>
                      <a:pt x="92" y="154"/>
                      <a:pt x="92" y="154"/>
                      <a:pt x="93" y="154"/>
                    </a:cubicBezTo>
                    <a:cubicBezTo>
                      <a:pt x="93" y="155"/>
                      <a:pt x="93" y="155"/>
                      <a:pt x="93" y="155"/>
                    </a:cubicBezTo>
                    <a:cubicBezTo>
                      <a:pt x="94" y="156"/>
                      <a:pt x="93" y="158"/>
                      <a:pt x="93" y="158"/>
                    </a:cubicBezTo>
                    <a:cubicBezTo>
                      <a:pt x="92" y="160"/>
                      <a:pt x="91" y="161"/>
                      <a:pt x="90" y="163"/>
                    </a:cubicBezTo>
                    <a:cubicBezTo>
                      <a:pt x="90" y="163"/>
                      <a:pt x="90" y="163"/>
                      <a:pt x="90" y="163"/>
                    </a:cubicBezTo>
                    <a:cubicBezTo>
                      <a:pt x="89" y="164"/>
                      <a:pt x="89" y="164"/>
                      <a:pt x="88" y="165"/>
                    </a:cubicBezTo>
                    <a:cubicBezTo>
                      <a:pt x="88" y="166"/>
                      <a:pt x="88" y="166"/>
                      <a:pt x="88" y="166"/>
                    </a:cubicBezTo>
                    <a:cubicBezTo>
                      <a:pt x="88" y="166"/>
                      <a:pt x="88" y="166"/>
                      <a:pt x="88" y="166"/>
                    </a:cubicBezTo>
                    <a:cubicBezTo>
                      <a:pt x="88" y="166"/>
                      <a:pt x="88" y="166"/>
                      <a:pt x="88" y="166"/>
                    </a:cubicBezTo>
                    <a:cubicBezTo>
                      <a:pt x="88" y="166"/>
                      <a:pt x="88" y="166"/>
                      <a:pt x="88" y="166"/>
                    </a:cubicBezTo>
                    <a:cubicBezTo>
                      <a:pt x="89" y="166"/>
                      <a:pt x="90" y="166"/>
                      <a:pt x="90" y="166"/>
                    </a:cubicBezTo>
                    <a:cubicBezTo>
                      <a:pt x="91" y="166"/>
                      <a:pt x="91" y="167"/>
                      <a:pt x="92" y="168"/>
                    </a:cubicBezTo>
                    <a:cubicBezTo>
                      <a:pt x="92" y="168"/>
                      <a:pt x="92" y="168"/>
                      <a:pt x="92" y="168"/>
                    </a:cubicBezTo>
                    <a:cubicBezTo>
                      <a:pt x="93" y="167"/>
                      <a:pt x="93" y="166"/>
                      <a:pt x="93" y="165"/>
                    </a:cubicBezTo>
                    <a:cubicBezTo>
                      <a:pt x="93" y="163"/>
                      <a:pt x="93" y="163"/>
                      <a:pt x="93" y="163"/>
                    </a:cubicBezTo>
                    <a:cubicBezTo>
                      <a:pt x="94" y="163"/>
                      <a:pt x="94" y="163"/>
                      <a:pt x="94" y="163"/>
                    </a:cubicBezTo>
                    <a:cubicBezTo>
                      <a:pt x="93" y="163"/>
                      <a:pt x="93" y="163"/>
                      <a:pt x="93" y="163"/>
                    </a:cubicBezTo>
                    <a:cubicBezTo>
                      <a:pt x="94" y="161"/>
                      <a:pt x="94" y="161"/>
                      <a:pt x="94" y="161"/>
                    </a:cubicBezTo>
                    <a:cubicBezTo>
                      <a:pt x="94" y="161"/>
                      <a:pt x="94" y="161"/>
                      <a:pt x="94" y="161"/>
                    </a:cubicBezTo>
                    <a:cubicBezTo>
                      <a:pt x="94" y="160"/>
                      <a:pt x="94" y="160"/>
                      <a:pt x="94" y="160"/>
                    </a:cubicBezTo>
                    <a:cubicBezTo>
                      <a:pt x="94" y="160"/>
                      <a:pt x="94" y="160"/>
                      <a:pt x="94" y="160"/>
                    </a:cubicBezTo>
                    <a:cubicBezTo>
                      <a:pt x="95" y="156"/>
                      <a:pt x="95" y="156"/>
                      <a:pt x="95" y="156"/>
                    </a:cubicBezTo>
                    <a:cubicBezTo>
                      <a:pt x="95" y="156"/>
                      <a:pt x="95" y="156"/>
                      <a:pt x="95" y="156"/>
                    </a:cubicBezTo>
                    <a:cubicBezTo>
                      <a:pt x="95" y="155"/>
                      <a:pt x="95" y="155"/>
                      <a:pt x="95" y="155"/>
                    </a:cubicBezTo>
                    <a:cubicBezTo>
                      <a:pt x="95" y="155"/>
                      <a:pt x="95" y="154"/>
                      <a:pt x="95" y="154"/>
                    </a:cubicBezTo>
                    <a:cubicBezTo>
                      <a:pt x="95" y="154"/>
                      <a:pt x="95" y="154"/>
                      <a:pt x="95" y="153"/>
                    </a:cubicBezTo>
                    <a:cubicBezTo>
                      <a:pt x="96" y="152"/>
                      <a:pt x="96" y="152"/>
                      <a:pt x="96" y="152"/>
                    </a:cubicBezTo>
                    <a:cubicBezTo>
                      <a:pt x="96" y="152"/>
                      <a:pt x="96" y="151"/>
                      <a:pt x="96" y="151"/>
                    </a:cubicBezTo>
                    <a:cubicBezTo>
                      <a:pt x="96" y="150"/>
                      <a:pt x="96" y="150"/>
                      <a:pt x="96" y="150"/>
                    </a:cubicBezTo>
                    <a:cubicBezTo>
                      <a:pt x="96" y="150"/>
                      <a:pt x="96" y="150"/>
                      <a:pt x="96" y="150"/>
                    </a:cubicBezTo>
                    <a:cubicBezTo>
                      <a:pt x="96" y="150"/>
                      <a:pt x="96" y="150"/>
                      <a:pt x="96" y="150"/>
                    </a:cubicBezTo>
                    <a:cubicBezTo>
                      <a:pt x="96" y="149"/>
                      <a:pt x="96" y="149"/>
                      <a:pt x="96" y="149"/>
                    </a:cubicBezTo>
                    <a:cubicBezTo>
                      <a:pt x="96" y="148"/>
                      <a:pt x="96" y="148"/>
                      <a:pt x="96" y="148"/>
                    </a:cubicBezTo>
                    <a:cubicBezTo>
                      <a:pt x="97" y="144"/>
                      <a:pt x="98" y="140"/>
                      <a:pt x="97" y="139"/>
                    </a:cubicBezTo>
                    <a:cubicBezTo>
                      <a:pt x="97" y="138"/>
                      <a:pt x="97" y="137"/>
                      <a:pt x="96" y="136"/>
                    </a:cubicBezTo>
                    <a:cubicBezTo>
                      <a:pt x="96" y="135"/>
                      <a:pt x="96" y="134"/>
                      <a:pt x="96" y="134"/>
                    </a:cubicBezTo>
                    <a:cubicBezTo>
                      <a:pt x="94" y="133"/>
                      <a:pt x="90" y="131"/>
                      <a:pt x="91" y="128"/>
                    </a:cubicBezTo>
                    <a:cubicBezTo>
                      <a:pt x="91" y="127"/>
                      <a:pt x="91" y="127"/>
                      <a:pt x="91" y="126"/>
                    </a:cubicBezTo>
                    <a:cubicBezTo>
                      <a:pt x="91" y="126"/>
                      <a:pt x="91" y="126"/>
                      <a:pt x="91" y="126"/>
                    </a:cubicBezTo>
                    <a:cubicBezTo>
                      <a:pt x="91" y="125"/>
                      <a:pt x="91" y="124"/>
                      <a:pt x="91" y="123"/>
                    </a:cubicBezTo>
                    <a:cubicBezTo>
                      <a:pt x="91" y="121"/>
                      <a:pt x="94" y="120"/>
                      <a:pt x="95" y="120"/>
                    </a:cubicBezTo>
                    <a:cubicBezTo>
                      <a:pt x="95" y="120"/>
                      <a:pt x="95" y="120"/>
                      <a:pt x="95" y="120"/>
                    </a:cubicBezTo>
                    <a:cubicBezTo>
                      <a:pt x="96" y="120"/>
                      <a:pt x="96" y="120"/>
                      <a:pt x="96" y="120"/>
                    </a:cubicBezTo>
                    <a:cubicBezTo>
                      <a:pt x="97" y="119"/>
                      <a:pt x="98" y="119"/>
                      <a:pt x="99" y="120"/>
                    </a:cubicBezTo>
                    <a:cubicBezTo>
                      <a:pt x="100" y="120"/>
                      <a:pt x="100" y="120"/>
                      <a:pt x="100" y="120"/>
                    </a:cubicBezTo>
                    <a:cubicBezTo>
                      <a:pt x="100" y="120"/>
                      <a:pt x="100" y="119"/>
                      <a:pt x="100" y="119"/>
                    </a:cubicBezTo>
                    <a:cubicBezTo>
                      <a:pt x="100" y="119"/>
                      <a:pt x="100" y="119"/>
                      <a:pt x="100" y="119"/>
                    </a:cubicBezTo>
                    <a:cubicBezTo>
                      <a:pt x="99" y="119"/>
                      <a:pt x="99" y="119"/>
                      <a:pt x="99" y="119"/>
                    </a:cubicBezTo>
                    <a:cubicBezTo>
                      <a:pt x="98" y="119"/>
                      <a:pt x="98" y="119"/>
                      <a:pt x="98" y="119"/>
                    </a:cubicBezTo>
                    <a:cubicBezTo>
                      <a:pt x="97" y="118"/>
                      <a:pt x="96" y="118"/>
                      <a:pt x="95" y="118"/>
                    </a:cubicBezTo>
                    <a:cubicBezTo>
                      <a:pt x="93" y="119"/>
                      <a:pt x="93" y="119"/>
                      <a:pt x="93" y="119"/>
                    </a:cubicBezTo>
                    <a:cubicBezTo>
                      <a:pt x="93" y="117"/>
                      <a:pt x="93" y="117"/>
                      <a:pt x="93" y="117"/>
                    </a:cubicBezTo>
                    <a:cubicBezTo>
                      <a:pt x="93" y="115"/>
                      <a:pt x="93" y="111"/>
                      <a:pt x="93" y="111"/>
                    </a:cubicBezTo>
                    <a:cubicBezTo>
                      <a:pt x="93" y="110"/>
                      <a:pt x="93" y="110"/>
                      <a:pt x="93" y="110"/>
                    </a:cubicBezTo>
                    <a:cubicBezTo>
                      <a:pt x="94" y="109"/>
                      <a:pt x="94" y="109"/>
                      <a:pt x="94" y="109"/>
                    </a:cubicBezTo>
                    <a:cubicBezTo>
                      <a:pt x="94" y="109"/>
                      <a:pt x="95" y="109"/>
                      <a:pt x="99" y="109"/>
                    </a:cubicBezTo>
                    <a:cubicBezTo>
                      <a:pt x="102" y="109"/>
                      <a:pt x="107" y="109"/>
                      <a:pt x="109" y="109"/>
                    </a:cubicBezTo>
                    <a:cubicBezTo>
                      <a:pt x="109" y="108"/>
                      <a:pt x="110" y="107"/>
                      <a:pt x="110" y="107"/>
                    </a:cubicBezTo>
                    <a:cubicBezTo>
                      <a:pt x="111" y="105"/>
                      <a:pt x="111" y="105"/>
                      <a:pt x="111" y="105"/>
                    </a:cubicBezTo>
                    <a:cubicBezTo>
                      <a:pt x="113" y="107"/>
                      <a:pt x="113" y="107"/>
                      <a:pt x="113" y="107"/>
                    </a:cubicBezTo>
                    <a:cubicBezTo>
                      <a:pt x="113" y="108"/>
                      <a:pt x="114" y="109"/>
                      <a:pt x="114" y="109"/>
                    </a:cubicBezTo>
                    <a:cubicBezTo>
                      <a:pt x="114" y="109"/>
                      <a:pt x="114" y="109"/>
                      <a:pt x="114" y="108"/>
                    </a:cubicBezTo>
                    <a:cubicBezTo>
                      <a:pt x="115" y="108"/>
                      <a:pt x="115" y="108"/>
                      <a:pt x="116" y="107"/>
                    </a:cubicBezTo>
                    <a:cubicBezTo>
                      <a:pt x="117" y="107"/>
                      <a:pt x="118" y="105"/>
                      <a:pt x="120" y="106"/>
                    </a:cubicBezTo>
                    <a:cubicBezTo>
                      <a:pt x="120" y="105"/>
                      <a:pt x="120" y="105"/>
                      <a:pt x="11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3" name="Freeform 3025">
                <a:extLst>
                  <a:ext uri="{FF2B5EF4-FFF2-40B4-BE49-F238E27FC236}">
                    <a16:creationId xmlns:a16="http://schemas.microsoft.com/office/drawing/2014/main" id="{F6AFB53A-DCB7-4301-9E37-9A7C6A46E660}"/>
                  </a:ext>
                </a:extLst>
              </p:cNvPr>
              <p:cNvSpPr>
                <a:spLocks noEditPoints="1"/>
              </p:cNvSpPr>
              <p:nvPr/>
            </p:nvSpPr>
            <p:spPr bwMode="auto">
              <a:xfrm>
                <a:off x="1547" y="2544"/>
                <a:ext cx="134" cy="60"/>
              </a:xfrm>
              <a:custGeom>
                <a:avLst/>
                <a:gdLst>
                  <a:gd name="T0" fmla="*/ 50 w 57"/>
                  <a:gd name="T1" fmla="*/ 14 h 25"/>
                  <a:gd name="T2" fmla="*/ 49 w 57"/>
                  <a:gd name="T3" fmla="*/ 12 h 25"/>
                  <a:gd name="T4" fmla="*/ 50 w 57"/>
                  <a:gd name="T5" fmla="*/ 23 h 25"/>
                  <a:gd name="T6" fmla="*/ 51 w 57"/>
                  <a:gd name="T7" fmla="*/ 23 h 25"/>
                  <a:gd name="T8" fmla="*/ 52 w 57"/>
                  <a:gd name="T9" fmla="*/ 21 h 25"/>
                  <a:gd name="T10" fmla="*/ 52 w 57"/>
                  <a:gd name="T11" fmla="*/ 21 h 25"/>
                  <a:gd name="T12" fmla="*/ 52 w 57"/>
                  <a:gd name="T13" fmla="*/ 19 h 25"/>
                  <a:gd name="T14" fmla="*/ 53 w 57"/>
                  <a:gd name="T15" fmla="*/ 19 h 25"/>
                  <a:gd name="T16" fmla="*/ 54 w 57"/>
                  <a:gd name="T17" fmla="*/ 19 h 25"/>
                  <a:gd name="T18" fmla="*/ 55 w 57"/>
                  <a:gd name="T19" fmla="*/ 19 h 25"/>
                  <a:gd name="T20" fmla="*/ 56 w 57"/>
                  <a:gd name="T21" fmla="*/ 14 h 25"/>
                  <a:gd name="T22" fmla="*/ 55 w 57"/>
                  <a:gd name="T23" fmla="*/ 9 h 25"/>
                  <a:gd name="T24" fmla="*/ 42 w 57"/>
                  <a:gd name="T25" fmla="*/ 2 h 25"/>
                  <a:gd name="T26" fmla="*/ 30 w 57"/>
                  <a:gd name="T27" fmla="*/ 3 h 25"/>
                  <a:gd name="T28" fmla="*/ 17 w 57"/>
                  <a:gd name="T29" fmla="*/ 8 h 25"/>
                  <a:gd name="T30" fmla="*/ 12 w 57"/>
                  <a:gd name="T31" fmla="*/ 6 h 25"/>
                  <a:gd name="T32" fmla="*/ 7 w 57"/>
                  <a:gd name="T33" fmla="*/ 4 h 25"/>
                  <a:gd name="T34" fmla="*/ 4 w 57"/>
                  <a:gd name="T35" fmla="*/ 2 h 25"/>
                  <a:gd name="T36" fmla="*/ 2 w 57"/>
                  <a:gd name="T37" fmla="*/ 2 h 25"/>
                  <a:gd name="T38" fmla="*/ 1 w 57"/>
                  <a:gd name="T39" fmla="*/ 2 h 25"/>
                  <a:gd name="T40" fmla="*/ 1 w 57"/>
                  <a:gd name="T41" fmla="*/ 5 h 25"/>
                  <a:gd name="T42" fmla="*/ 2 w 57"/>
                  <a:gd name="T43" fmla="*/ 6 h 25"/>
                  <a:gd name="T44" fmla="*/ 4 w 57"/>
                  <a:gd name="T45" fmla="*/ 7 h 25"/>
                  <a:gd name="T46" fmla="*/ 2 w 57"/>
                  <a:gd name="T47" fmla="*/ 8 h 25"/>
                  <a:gd name="T48" fmla="*/ 1 w 57"/>
                  <a:gd name="T49" fmla="*/ 9 h 25"/>
                  <a:gd name="T50" fmla="*/ 1 w 57"/>
                  <a:gd name="T51" fmla="*/ 12 h 25"/>
                  <a:gd name="T52" fmla="*/ 0 w 57"/>
                  <a:gd name="T53" fmla="*/ 13 h 25"/>
                  <a:gd name="T54" fmla="*/ 0 w 57"/>
                  <a:gd name="T55" fmla="*/ 13 h 25"/>
                  <a:gd name="T56" fmla="*/ 3 w 57"/>
                  <a:gd name="T57" fmla="*/ 13 h 25"/>
                  <a:gd name="T58" fmla="*/ 8 w 57"/>
                  <a:gd name="T59" fmla="*/ 15 h 25"/>
                  <a:gd name="T60" fmla="*/ 10 w 57"/>
                  <a:gd name="T61" fmla="*/ 14 h 25"/>
                  <a:gd name="T62" fmla="*/ 15 w 57"/>
                  <a:gd name="T63" fmla="*/ 19 h 25"/>
                  <a:gd name="T64" fmla="*/ 17 w 57"/>
                  <a:gd name="T65" fmla="*/ 21 h 25"/>
                  <a:gd name="T66" fmla="*/ 20 w 57"/>
                  <a:gd name="T67" fmla="*/ 21 h 25"/>
                  <a:gd name="T68" fmla="*/ 20 w 57"/>
                  <a:gd name="T69" fmla="*/ 24 h 25"/>
                  <a:gd name="T70" fmla="*/ 30 w 57"/>
                  <a:gd name="T71" fmla="*/ 22 h 25"/>
                  <a:gd name="T72" fmla="*/ 26 w 57"/>
                  <a:gd name="T73" fmla="*/ 13 h 25"/>
                  <a:gd name="T74" fmla="*/ 32 w 57"/>
                  <a:gd name="T75" fmla="*/ 10 h 25"/>
                  <a:gd name="T76" fmla="*/ 35 w 57"/>
                  <a:gd name="T77" fmla="*/ 7 h 25"/>
                  <a:gd name="T78" fmla="*/ 40 w 57"/>
                  <a:gd name="T79" fmla="*/ 7 h 25"/>
                  <a:gd name="T80" fmla="*/ 44 w 57"/>
                  <a:gd name="T81" fmla="*/ 9 h 25"/>
                  <a:gd name="T82" fmla="*/ 46 w 57"/>
                  <a:gd name="T83" fmla="*/ 11 h 25"/>
                  <a:gd name="T84" fmla="*/ 48 w 57"/>
                  <a:gd name="T85" fmla="*/ 12 h 25"/>
                  <a:gd name="T86" fmla="*/ 49 w 57"/>
                  <a:gd name="T87" fmla="*/ 11 h 25"/>
                  <a:gd name="T88" fmla="*/ 51 w 57"/>
                  <a:gd name="T89" fmla="*/ 14 h 25"/>
                  <a:gd name="T90" fmla="*/ 48 w 57"/>
                  <a:gd name="T91"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 h="25">
                    <a:moveTo>
                      <a:pt x="51" y="14"/>
                    </a:moveTo>
                    <a:cubicBezTo>
                      <a:pt x="51" y="14"/>
                      <a:pt x="50" y="14"/>
                      <a:pt x="50" y="14"/>
                    </a:cubicBezTo>
                    <a:cubicBezTo>
                      <a:pt x="50" y="14"/>
                      <a:pt x="49" y="13"/>
                      <a:pt x="49" y="13"/>
                    </a:cubicBezTo>
                    <a:cubicBezTo>
                      <a:pt x="49" y="13"/>
                      <a:pt x="49" y="12"/>
                      <a:pt x="49" y="12"/>
                    </a:cubicBezTo>
                    <a:cubicBezTo>
                      <a:pt x="48" y="12"/>
                      <a:pt x="46" y="15"/>
                      <a:pt x="46" y="15"/>
                    </a:cubicBezTo>
                    <a:cubicBezTo>
                      <a:pt x="45" y="18"/>
                      <a:pt x="48" y="21"/>
                      <a:pt x="50" y="23"/>
                    </a:cubicBezTo>
                    <a:cubicBezTo>
                      <a:pt x="51" y="23"/>
                      <a:pt x="51" y="23"/>
                      <a:pt x="51" y="23"/>
                    </a:cubicBezTo>
                    <a:cubicBezTo>
                      <a:pt x="51" y="23"/>
                      <a:pt x="51" y="23"/>
                      <a:pt x="51" y="23"/>
                    </a:cubicBezTo>
                    <a:cubicBezTo>
                      <a:pt x="51" y="23"/>
                      <a:pt x="51" y="23"/>
                      <a:pt x="51" y="23"/>
                    </a:cubicBezTo>
                    <a:cubicBezTo>
                      <a:pt x="51" y="22"/>
                      <a:pt x="51" y="22"/>
                      <a:pt x="52" y="21"/>
                    </a:cubicBezTo>
                    <a:cubicBezTo>
                      <a:pt x="52" y="21"/>
                      <a:pt x="52" y="21"/>
                      <a:pt x="52" y="21"/>
                    </a:cubicBezTo>
                    <a:cubicBezTo>
                      <a:pt x="52" y="21"/>
                      <a:pt x="52" y="21"/>
                      <a:pt x="52" y="21"/>
                    </a:cubicBezTo>
                    <a:cubicBezTo>
                      <a:pt x="52" y="20"/>
                      <a:pt x="52" y="20"/>
                      <a:pt x="52" y="20"/>
                    </a:cubicBezTo>
                    <a:cubicBezTo>
                      <a:pt x="52" y="20"/>
                      <a:pt x="52" y="19"/>
                      <a:pt x="52" y="19"/>
                    </a:cubicBezTo>
                    <a:cubicBezTo>
                      <a:pt x="52" y="19"/>
                      <a:pt x="52" y="19"/>
                      <a:pt x="52" y="19"/>
                    </a:cubicBezTo>
                    <a:cubicBezTo>
                      <a:pt x="53" y="19"/>
                      <a:pt x="53" y="19"/>
                      <a:pt x="53" y="19"/>
                    </a:cubicBezTo>
                    <a:cubicBezTo>
                      <a:pt x="54" y="18"/>
                      <a:pt x="54" y="18"/>
                      <a:pt x="54" y="18"/>
                    </a:cubicBezTo>
                    <a:cubicBezTo>
                      <a:pt x="54" y="19"/>
                      <a:pt x="54" y="19"/>
                      <a:pt x="54" y="19"/>
                    </a:cubicBezTo>
                    <a:cubicBezTo>
                      <a:pt x="54" y="19"/>
                      <a:pt x="54" y="19"/>
                      <a:pt x="55" y="19"/>
                    </a:cubicBezTo>
                    <a:cubicBezTo>
                      <a:pt x="55" y="19"/>
                      <a:pt x="55" y="19"/>
                      <a:pt x="55" y="19"/>
                    </a:cubicBezTo>
                    <a:cubicBezTo>
                      <a:pt x="56" y="18"/>
                      <a:pt x="56" y="17"/>
                      <a:pt x="57" y="17"/>
                    </a:cubicBezTo>
                    <a:cubicBezTo>
                      <a:pt x="57" y="16"/>
                      <a:pt x="56" y="15"/>
                      <a:pt x="56" y="14"/>
                    </a:cubicBezTo>
                    <a:cubicBezTo>
                      <a:pt x="56" y="13"/>
                      <a:pt x="55" y="13"/>
                      <a:pt x="55" y="12"/>
                    </a:cubicBezTo>
                    <a:cubicBezTo>
                      <a:pt x="54" y="11"/>
                      <a:pt x="55" y="10"/>
                      <a:pt x="55" y="9"/>
                    </a:cubicBezTo>
                    <a:cubicBezTo>
                      <a:pt x="54" y="8"/>
                      <a:pt x="52" y="6"/>
                      <a:pt x="51" y="5"/>
                    </a:cubicBezTo>
                    <a:cubicBezTo>
                      <a:pt x="48" y="4"/>
                      <a:pt x="45" y="3"/>
                      <a:pt x="42" y="2"/>
                    </a:cubicBezTo>
                    <a:cubicBezTo>
                      <a:pt x="40" y="1"/>
                      <a:pt x="38" y="1"/>
                      <a:pt x="36" y="0"/>
                    </a:cubicBezTo>
                    <a:cubicBezTo>
                      <a:pt x="34" y="0"/>
                      <a:pt x="31" y="2"/>
                      <a:pt x="30" y="3"/>
                    </a:cubicBezTo>
                    <a:cubicBezTo>
                      <a:pt x="28" y="5"/>
                      <a:pt x="25" y="6"/>
                      <a:pt x="22" y="7"/>
                    </a:cubicBezTo>
                    <a:cubicBezTo>
                      <a:pt x="21" y="8"/>
                      <a:pt x="18" y="9"/>
                      <a:pt x="17" y="8"/>
                    </a:cubicBezTo>
                    <a:cubicBezTo>
                      <a:pt x="15" y="7"/>
                      <a:pt x="12" y="6"/>
                      <a:pt x="11" y="4"/>
                    </a:cubicBezTo>
                    <a:cubicBezTo>
                      <a:pt x="11" y="5"/>
                      <a:pt x="11" y="6"/>
                      <a:pt x="12" y="6"/>
                    </a:cubicBezTo>
                    <a:cubicBezTo>
                      <a:pt x="11" y="7"/>
                      <a:pt x="10" y="7"/>
                      <a:pt x="9" y="7"/>
                    </a:cubicBezTo>
                    <a:cubicBezTo>
                      <a:pt x="8" y="7"/>
                      <a:pt x="6" y="5"/>
                      <a:pt x="7" y="4"/>
                    </a:cubicBezTo>
                    <a:cubicBezTo>
                      <a:pt x="6" y="4"/>
                      <a:pt x="5" y="3"/>
                      <a:pt x="4" y="1"/>
                    </a:cubicBezTo>
                    <a:cubicBezTo>
                      <a:pt x="4" y="2"/>
                      <a:pt x="4" y="2"/>
                      <a:pt x="4" y="2"/>
                    </a:cubicBezTo>
                    <a:cubicBezTo>
                      <a:pt x="3" y="2"/>
                      <a:pt x="2" y="2"/>
                      <a:pt x="2" y="2"/>
                    </a:cubicBezTo>
                    <a:cubicBezTo>
                      <a:pt x="2" y="2"/>
                      <a:pt x="2" y="2"/>
                      <a:pt x="2" y="2"/>
                    </a:cubicBezTo>
                    <a:cubicBezTo>
                      <a:pt x="1" y="2"/>
                      <a:pt x="1" y="2"/>
                      <a:pt x="1" y="2"/>
                    </a:cubicBezTo>
                    <a:cubicBezTo>
                      <a:pt x="1" y="2"/>
                      <a:pt x="1" y="2"/>
                      <a:pt x="1" y="2"/>
                    </a:cubicBezTo>
                    <a:cubicBezTo>
                      <a:pt x="1" y="2"/>
                      <a:pt x="1" y="2"/>
                      <a:pt x="1" y="2"/>
                    </a:cubicBezTo>
                    <a:cubicBezTo>
                      <a:pt x="1" y="3"/>
                      <a:pt x="1" y="4"/>
                      <a:pt x="1" y="5"/>
                    </a:cubicBezTo>
                    <a:cubicBezTo>
                      <a:pt x="1" y="5"/>
                      <a:pt x="1" y="5"/>
                      <a:pt x="1" y="5"/>
                    </a:cubicBezTo>
                    <a:cubicBezTo>
                      <a:pt x="1" y="5"/>
                      <a:pt x="2" y="5"/>
                      <a:pt x="2" y="6"/>
                    </a:cubicBezTo>
                    <a:cubicBezTo>
                      <a:pt x="2" y="6"/>
                      <a:pt x="2" y="6"/>
                      <a:pt x="3" y="6"/>
                    </a:cubicBezTo>
                    <a:cubicBezTo>
                      <a:pt x="4" y="7"/>
                      <a:pt x="4" y="7"/>
                      <a:pt x="4" y="7"/>
                    </a:cubicBezTo>
                    <a:cubicBezTo>
                      <a:pt x="3" y="8"/>
                      <a:pt x="3" y="8"/>
                      <a:pt x="3" y="8"/>
                    </a:cubicBezTo>
                    <a:cubicBezTo>
                      <a:pt x="3" y="8"/>
                      <a:pt x="3" y="8"/>
                      <a:pt x="2" y="8"/>
                    </a:cubicBezTo>
                    <a:cubicBezTo>
                      <a:pt x="2" y="9"/>
                      <a:pt x="2" y="9"/>
                      <a:pt x="2" y="9"/>
                    </a:cubicBezTo>
                    <a:cubicBezTo>
                      <a:pt x="2" y="9"/>
                      <a:pt x="2" y="9"/>
                      <a:pt x="1" y="9"/>
                    </a:cubicBezTo>
                    <a:cubicBezTo>
                      <a:pt x="2" y="9"/>
                      <a:pt x="2" y="10"/>
                      <a:pt x="2" y="10"/>
                    </a:cubicBezTo>
                    <a:cubicBezTo>
                      <a:pt x="2" y="11"/>
                      <a:pt x="2" y="12"/>
                      <a:pt x="1" y="12"/>
                    </a:cubicBezTo>
                    <a:cubicBezTo>
                      <a:pt x="1" y="12"/>
                      <a:pt x="1" y="12"/>
                      <a:pt x="1" y="12"/>
                    </a:cubicBezTo>
                    <a:cubicBezTo>
                      <a:pt x="1" y="12"/>
                      <a:pt x="0" y="13"/>
                      <a:pt x="0" y="13"/>
                    </a:cubicBezTo>
                    <a:cubicBezTo>
                      <a:pt x="0" y="13"/>
                      <a:pt x="0" y="13"/>
                      <a:pt x="0" y="13"/>
                    </a:cubicBezTo>
                    <a:cubicBezTo>
                      <a:pt x="0" y="13"/>
                      <a:pt x="0" y="13"/>
                      <a:pt x="0" y="13"/>
                    </a:cubicBezTo>
                    <a:cubicBezTo>
                      <a:pt x="1" y="15"/>
                      <a:pt x="1" y="15"/>
                      <a:pt x="1" y="15"/>
                    </a:cubicBezTo>
                    <a:cubicBezTo>
                      <a:pt x="1" y="14"/>
                      <a:pt x="2" y="13"/>
                      <a:pt x="3" y="13"/>
                    </a:cubicBezTo>
                    <a:cubicBezTo>
                      <a:pt x="4" y="13"/>
                      <a:pt x="6" y="13"/>
                      <a:pt x="7" y="13"/>
                    </a:cubicBezTo>
                    <a:cubicBezTo>
                      <a:pt x="7" y="14"/>
                      <a:pt x="7" y="14"/>
                      <a:pt x="8" y="15"/>
                    </a:cubicBezTo>
                    <a:cubicBezTo>
                      <a:pt x="8" y="15"/>
                      <a:pt x="8" y="15"/>
                      <a:pt x="8" y="15"/>
                    </a:cubicBezTo>
                    <a:cubicBezTo>
                      <a:pt x="8" y="15"/>
                      <a:pt x="9" y="14"/>
                      <a:pt x="10" y="14"/>
                    </a:cubicBezTo>
                    <a:cubicBezTo>
                      <a:pt x="11" y="14"/>
                      <a:pt x="11" y="16"/>
                      <a:pt x="12" y="15"/>
                    </a:cubicBezTo>
                    <a:cubicBezTo>
                      <a:pt x="13" y="16"/>
                      <a:pt x="13" y="18"/>
                      <a:pt x="15" y="19"/>
                    </a:cubicBezTo>
                    <a:cubicBezTo>
                      <a:pt x="14" y="20"/>
                      <a:pt x="15" y="20"/>
                      <a:pt x="16" y="20"/>
                    </a:cubicBezTo>
                    <a:cubicBezTo>
                      <a:pt x="16" y="20"/>
                      <a:pt x="17" y="20"/>
                      <a:pt x="17" y="21"/>
                    </a:cubicBezTo>
                    <a:cubicBezTo>
                      <a:pt x="17" y="19"/>
                      <a:pt x="17" y="18"/>
                      <a:pt x="18" y="18"/>
                    </a:cubicBezTo>
                    <a:cubicBezTo>
                      <a:pt x="19" y="18"/>
                      <a:pt x="19" y="20"/>
                      <a:pt x="20" y="21"/>
                    </a:cubicBezTo>
                    <a:cubicBezTo>
                      <a:pt x="20" y="21"/>
                      <a:pt x="21" y="22"/>
                      <a:pt x="21" y="23"/>
                    </a:cubicBezTo>
                    <a:cubicBezTo>
                      <a:pt x="21" y="23"/>
                      <a:pt x="20" y="24"/>
                      <a:pt x="20" y="24"/>
                    </a:cubicBezTo>
                    <a:cubicBezTo>
                      <a:pt x="22" y="24"/>
                      <a:pt x="23" y="25"/>
                      <a:pt x="25" y="24"/>
                    </a:cubicBezTo>
                    <a:cubicBezTo>
                      <a:pt x="26" y="23"/>
                      <a:pt x="28" y="22"/>
                      <a:pt x="30" y="22"/>
                    </a:cubicBezTo>
                    <a:cubicBezTo>
                      <a:pt x="29" y="20"/>
                      <a:pt x="28" y="19"/>
                      <a:pt x="27" y="18"/>
                    </a:cubicBezTo>
                    <a:cubicBezTo>
                      <a:pt x="25" y="16"/>
                      <a:pt x="24" y="15"/>
                      <a:pt x="26" y="13"/>
                    </a:cubicBezTo>
                    <a:cubicBezTo>
                      <a:pt x="27" y="15"/>
                      <a:pt x="32" y="11"/>
                      <a:pt x="33" y="10"/>
                    </a:cubicBezTo>
                    <a:cubicBezTo>
                      <a:pt x="32" y="10"/>
                      <a:pt x="32" y="10"/>
                      <a:pt x="32" y="10"/>
                    </a:cubicBezTo>
                    <a:cubicBezTo>
                      <a:pt x="32" y="9"/>
                      <a:pt x="32" y="8"/>
                      <a:pt x="33" y="8"/>
                    </a:cubicBezTo>
                    <a:cubicBezTo>
                      <a:pt x="33" y="7"/>
                      <a:pt x="34" y="7"/>
                      <a:pt x="35" y="7"/>
                    </a:cubicBezTo>
                    <a:cubicBezTo>
                      <a:pt x="36" y="6"/>
                      <a:pt x="38" y="7"/>
                      <a:pt x="39" y="5"/>
                    </a:cubicBezTo>
                    <a:cubicBezTo>
                      <a:pt x="39" y="6"/>
                      <a:pt x="39" y="6"/>
                      <a:pt x="40" y="7"/>
                    </a:cubicBezTo>
                    <a:cubicBezTo>
                      <a:pt x="41" y="7"/>
                      <a:pt x="43" y="8"/>
                      <a:pt x="44" y="9"/>
                    </a:cubicBezTo>
                    <a:cubicBezTo>
                      <a:pt x="44" y="9"/>
                      <a:pt x="44" y="9"/>
                      <a:pt x="44" y="9"/>
                    </a:cubicBezTo>
                    <a:cubicBezTo>
                      <a:pt x="45" y="10"/>
                      <a:pt x="45" y="11"/>
                      <a:pt x="46" y="13"/>
                    </a:cubicBezTo>
                    <a:cubicBezTo>
                      <a:pt x="46" y="13"/>
                      <a:pt x="46" y="11"/>
                      <a:pt x="46" y="11"/>
                    </a:cubicBezTo>
                    <a:cubicBezTo>
                      <a:pt x="46" y="11"/>
                      <a:pt x="47" y="11"/>
                      <a:pt x="48" y="11"/>
                    </a:cubicBezTo>
                    <a:cubicBezTo>
                      <a:pt x="48" y="11"/>
                      <a:pt x="48" y="12"/>
                      <a:pt x="48" y="12"/>
                    </a:cubicBezTo>
                    <a:cubicBezTo>
                      <a:pt x="48" y="12"/>
                      <a:pt x="48" y="11"/>
                      <a:pt x="49" y="12"/>
                    </a:cubicBezTo>
                    <a:cubicBezTo>
                      <a:pt x="49" y="11"/>
                      <a:pt x="49" y="11"/>
                      <a:pt x="49" y="11"/>
                    </a:cubicBezTo>
                    <a:cubicBezTo>
                      <a:pt x="50" y="12"/>
                      <a:pt x="51" y="13"/>
                      <a:pt x="52" y="15"/>
                    </a:cubicBezTo>
                    <a:cubicBezTo>
                      <a:pt x="52" y="15"/>
                      <a:pt x="52" y="14"/>
                      <a:pt x="51" y="14"/>
                    </a:cubicBezTo>
                    <a:close/>
                    <a:moveTo>
                      <a:pt x="48" y="11"/>
                    </a:moveTo>
                    <a:cubicBezTo>
                      <a:pt x="48" y="11"/>
                      <a:pt x="48" y="11"/>
                      <a:pt x="4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4" name="Freeform 3026">
                <a:extLst>
                  <a:ext uri="{FF2B5EF4-FFF2-40B4-BE49-F238E27FC236}">
                    <a16:creationId xmlns:a16="http://schemas.microsoft.com/office/drawing/2014/main" id="{9E2FC720-F056-4EDF-8B64-8575B454BD29}"/>
                  </a:ext>
                </a:extLst>
              </p:cNvPr>
              <p:cNvSpPr>
                <a:spLocks/>
              </p:cNvSpPr>
              <p:nvPr/>
            </p:nvSpPr>
            <p:spPr bwMode="auto">
              <a:xfrm>
                <a:off x="724" y="1960"/>
                <a:ext cx="730" cy="461"/>
              </a:xfrm>
              <a:custGeom>
                <a:avLst/>
                <a:gdLst>
                  <a:gd name="T0" fmla="*/ 296 w 309"/>
                  <a:gd name="T1" fmla="*/ 122 h 195"/>
                  <a:gd name="T2" fmla="*/ 271 w 309"/>
                  <a:gd name="T3" fmla="*/ 138 h 195"/>
                  <a:gd name="T4" fmla="*/ 263 w 309"/>
                  <a:gd name="T5" fmla="*/ 149 h 195"/>
                  <a:gd name="T6" fmla="*/ 255 w 309"/>
                  <a:gd name="T7" fmla="*/ 153 h 195"/>
                  <a:gd name="T8" fmla="*/ 243 w 309"/>
                  <a:gd name="T9" fmla="*/ 155 h 195"/>
                  <a:gd name="T10" fmla="*/ 221 w 309"/>
                  <a:gd name="T11" fmla="*/ 152 h 195"/>
                  <a:gd name="T12" fmla="*/ 217 w 309"/>
                  <a:gd name="T13" fmla="*/ 151 h 195"/>
                  <a:gd name="T14" fmla="*/ 197 w 309"/>
                  <a:gd name="T15" fmla="*/ 118 h 195"/>
                  <a:gd name="T16" fmla="*/ 196 w 309"/>
                  <a:gd name="T17" fmla="*/ 110 h 195"/>
                  <a:gd name="T18" fmla="*/ 197 w 309"/>
                  <a:gd name="T19" fmla="*/ 81 h 195"/>
                  <a:gd name="T20" fmla="*/ 202 w 309"/>
                  <a:gd name="T21" fmla="*/ 76 h 195"/>
                  <a:gd name="T22" fmla="*/ 198 w 309"/>
                  <a:gd name="T23" fmla="*/ 75 h 195"/>
                  <a:gd name="T24" fmla="*/ 177 w 309"/>
                  <a:gd name="T25" fmla="*/ 59 h 195"/>
                  <a:gd name="T26" fmla="*/ 160 w 309"/>
                  <a:gd name="T27" fmla="*/ 35 h 195"/>
                  <a:gd name="T28" fmla="*/ 148 w 309"/>
                  <a:gd name="T29" fmla="*/ 33 h 195"/>
                  <a:gd name="T30" fmla="*/ 135 w 309"/>
                  <a:gd name="T31" fmla="*/ 39 h 195"/>
                  <a:gd name="T32" fmla="*/ 108 w 309"/>
                  <a:gd name="T33" fmla="*/ 13 h 195"/>
                  <a:gd name="T34" fmla="*/ 91 w 309"/>
                  <a:gd name="T35" fmla="*/ 12 h 195"/>
                  <a:gd name="T36" fmla="*/ 21 w 309"/>
                  <a:gd name="T37" fmla="*/ 2 h 195"/>
                  <a:gd name="T38" fmla="*/ 11 w 309"/>
                  <a:gd name="T39" fmla="*/ 1 h 195"/>
                  <a:gd name="T40" fmla="*/ 9 w 309"/>
                  <a:gd name="T41" fmla="*/ 20 h 195"/>
                  <a:gd name="T42" fmla="*/ 20 w 309"/>
                  <a:gd name="T43" fmla="*/ 36 h 195"/>
                  <a:gd name="T44" fmla="*/ 29 w 309"/>
                  <a:gd name="T45" fmla="*/ 52 h 195"/>
                  <a:gd name="T46" fmla="*/ 32 w 309"/>
                  <a:gd name="T47" fmla="*/ 58 h 195"/>
                  <a:gd name="T48" fmla="*/ 20 w 309"/>
                  <a:gd name="T49" fmla="*/ 55 h 195"/>
                  <a:gd name="T50" fmla="*/ 38 w 309"/>
                  <a:gd name="T51" fmla="*/ 65 h 195"/>
                  <a:gd name="T52" fmla="*/ 50 w 309"/>
                  <a:gd name="T53" fmla="*/ 83 h 195"/>
                  <a:gd name="T54" fmla="*/ 68 w 309"/>
                  <a:gd name="T55" fmla="*/ 100 h 195"/>
                  <a:gd name="T56" fmla="*/ 73 w 309"/>
                  <a:gd name="T57" fmla="*/ 95 h 195"/>
                  <a:gd name="T58" fmla="*/ 62 w 309"/>
                  <a:gd name="T59" fmla="*/ 82 h 195"/>
                  <a:gd name="T60" fmla="*/ 54 w 309"/>
                  <a:gd name="T61" fmla="*/ 67 h 195"/>
                  <a:gd name="T62" fmla="*/ 42 w 309"/>
                  <a:gd name="T63" fmla="*/ 49 h 195"/>
                  <a:gd name="T64" fmla="*/ 27 w 309"/>
                  <a:gd name="T65" fmla="*/ 32 h 195"/>
                  <a:gd name="T66" fmla="*/ 21 w 309"/>
                  <a:gd name="T67" fmla="*/ 8 h 195"/>
                  <a:gd name="T68" fmla="*/ 34 w 309"/>
                  <a:gd name="T69" fmla="*/ 13 h 195"/>
                  <a:gd name="T70" fmla="*/ 47 w 309"/>
                  <a:gd name="T71" fmla="*/ 37 h 195"/>
                  <a:gd name="T72" fmla="*/ 65 w 309"/>
                  <a:gd name="T73" fmla="*/ 54 h 195"/>
                  <a:gd name="T74" fmla="*/ 81 w 309"/>
                  <a:gd name="T75" fmla="*/ 71 h 195"/>
                  <a:gd name="T76" fmla="*/ 78 w 309"/>
                  <a:gd name="T77" fmla="*/ 78 h 195"/>
                  <a:gd name="T78" fmla="*/ 89 w 309"/>
                  <a:gd name="T79" fmla="*/ 83 h 195"/>
                  <a:gd name="T80" fmla="*/ 96 w 309"/>
                  <a:gd name="T81" fmla="*/ 91 h 195"/>
                  <a:gd name="T82" fmla="*/ 119 w 309"/>
                  <a:gd name="T83" fmla="*/ 122 h 195"/>
                  <a:gd name="T84" fmla="*/ 119 w 309"/>
                  <a:gd name="T85" fmla="*/ 132 h 195"/>
                  <a:gd name="T86" fmla="*/ 141 w 309"/>
                  <a:gd name="T87" fmla="*/ 157 h 195"/>
                  <a:gd name="T88" fmla="*/ 187 w 309"/>
                  <a:gd name="T89" fmla="*/ 176 h 195"/>
                  <a:gd name="T90" fmla="*/ 213 w 309"/>
                  <a:gd name="T91" fmla="*/ 183 h 195"/>
                  <a:gd name="T92" fmla="*/ 226 w 309"/>
                  <a:gd name="T93" fmla="*/ 176 h 195"/>
                  <a:gd name="T94" fmla="*/ 236 w 309"/>
                  <a:gd name="T95" fmla="*/ 181 h 195"/>
                  <a:gd name="T96" fmla="*/ 252 w 309"/>
                  <a:gd name="T97" fmla="*/ 194 h 195"/>
                  <a:gd name="T98" fmla="*/ 253 w 309"/>
                  <a:gd name="T99" fmla="*/ 190 h 195"/>
                  <a:gd name="T100" fmla="*/ 255 w 309"/>
                  <a:gd name="T101" fmla="*/ 182 h 195"/>
                  <a:gd name="T102" fmla="*/ 266 w 309"/>
                  <a:gd name="T103" fmla="*/ 179 h 195"/>
                  <a:gd name="T104" fmla="*/ 270 w 309"/>
                  <a:gd name="T105" fmla="*/ 177 h 195"/>
                  <a:gd name="T106" fmla="*/ 264 w 309"/>
                  <a:gd name="T107" fmla="*/ 172 h 195"/>
                  <a:gd name="T108" fmla="*/ 265 w 309"/>
                  <a:gd name="T109" fmla="*/ 161 h 195"/>
                  <a:gd name="T110" fmla="*/ 283 w 309"/>
                  <a:gd name="T111" fmla="*/ 160 h 195"/>
                  <a:gd name="T112" fmla="*/ 286 w 309"/>
                  <a:gd name="T113" fmla="*/ 159 h 195"/>
                  <a:gd name="T114" fmla="*/ 289 w 309"/>
                  <a:gd name="T115" fmla="*/ 156 h 195"/>
                  <a:gd name="T116" fmla="*/ 294 w 309"/>
                  <a:gd name="T117" fmla="*/ 152 h 195"/>
                  <a:gd name="T118" fmla="*/ 301 w 309"/>
                  <a:gd name="T119" fmla="*/ 144 h 195"/>
                  <a:gd name="T120" fmla="*/ 302 w 309"/>
                  <a:gd name="T121" fmla="*/ 13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 h="195">
                    <a:moveTo>
                      <a:pt x="308" y="124"/>
                    </a:moveTo>
                    <a:cubicBezTo>
                      <a:pt x="308" y="123"/>
                      <a:pt x="307" y="122"/>
                      <a:pt x="306" y="122"/>
                    </a:cubicBezTo>
                    <a:cubicBezTo>
                      <a:pt x="306" y="122"/>
                      <a:pt x="305" y="122"/>
                      <a:pt x="304" y="122"/>
                    </a:cubicBezTo>
                    <a:cubicBezTo>
                      <a:pt x="304" y="122"/>
                      <a:pt x="303" y="122"/>
                      <a:pt x="303" y="122"/>
                    </a:cubicBezTo>
                    <a:cubicBezTo>
                      <a:pt x="302" y="122"/>
                      <a:pt x="302" y="122"/>
                      <a:pt x="301" y="123"/>
                    </a:cubicBezTo>
                    <a:cubicBezTo>
                      <a:pt x="299" y="122"/>
                      <a:pt x="298" y="122"/>
                      <a:pt x="296" y="122"/>
                    </a:cubicBezTo>
                    <a:cubicBezTo>
                      <a:pt x="292" y="121"/>
                      <a:pt x="290" y="122"/>
                      <a:pt x="287" y="123"/>
                    </a:cubicBezTo>
                    <a:cubicBezTo>
                      <a:pt x="285" y="124"/>
                      <a:pt x="282" y="124"/>
                      <a:pt x="279" y="125"/>
                    </a:cubicBezTo>
                    <a:cubicBezTo>
                      <a:pt x="278" y="125"/>
                      <a:pt x="277" y="125"/>
                      <a:pt x="276" y="126"/>
                    </a:cubicBezTo>
                    <a:cubicBezTo>
                      <a:pt x="275" y="127"/>
                      <a:pt x="272" y="128"/>
                      <a:pt x="272" y="129"/>
                    </a:cubicBezTo>
                    <a:cubicBezTo>
                      <a:pt x="271" y="131"/>
                      <a:pt x="271" y="132"/>
                      <a:pt x="271" y="134"/>
                    </a:cubicBezTo>
                    <a:cubicBezTo>
                      <a:pt x="271" y="135"/>
                      <a:pt x="271" y="136"/>
                      <a:pt x="271" y="138"/>
                    </a:cubicBezTo>
                    <a:cubicBezTo>
                      <a:pt x="270" y="139"/>
                      <a:pt x="269" y="140"/>
                      <a:pt x="269" y="141"/>
                    </a:cubicBezTo>
                    <a:cubicBezTo>
                      <a:pt x="269" y="142"/>
                      <a:pt x="268" y="143"/>
                      <a:pt x="268" y="144"/>
                    </a:cubicBezTo>
                    <a:cubicBezTo>
                      <a:pt x="268" y="145"/>
                      <a:pt x="268" y="145"/>
                      <a:pt x="267" y="146"/>
                    </a:cubicBezTo>
                    <a:cubicBezTo>
                      <a:pt x="267" y="146"/>
                      <a:pt x="261" y="150"/>
                      <a:pt x="261" y="150"/>
                    </a:cubicBezTo>
                    <a:cubicBezTo>
                      <a:pt x="261" y="150"/>
                      <a:pt x="261" y="150"/>
                      <a:pt x="261" y="150"/>
                    </a:cubicBezTo>
                    <a:cubicBezTo>
                      <a:pt x="262" y="150"/>
                      <a:pt x="262" y="150"/>
                      <a:pt x="263" y="149"/>
                    </a:cubicBezTo>
                    <a:cubicBezTo>
                      <a:pt x="263" y="150"/>
                      <a:pt x="262" y="151"/>
                      <a:pt x="262" y="151"/>
                    </a:cubicBezTo>
                    <a:cubicBezTo>
                      <a:pt x="262" y="151"/>
                      <a:pt x="262" y="151"/>
                      <a:pt x="262" y="152"/>
                    </a:cubicBezTo>
                    <a:cubicBezTo>
                      <a:pt x="263" y="151"/>
                      <a:pt x="263" y="152"/>
                      <a:pt x="262" y="153"/>
                    </a:cubicBezTo>
                    <a:cubicBezTo>
                      <a:pt x="263" y="153"/>
                      <a:pt x="263" y="153"/>
                      <a:pt x="264" y="153"/>
                    </a:cubicBezTo>
                    <a:cubicBezTo>
                      <a:pt x="262" y="154"/>
                      <a:pt x="260" y="154"/>
                      <a:pt x="258" y="155"/>
                    </a:cubicBezTo>
                    <a:cubicBezTo>
                      <a:pt x="257" y="156"/>
                      <a:pt x="256" y="153"/>
                      <a:pt x="255" y="153"/>
                    </a:cubicBezTo>
                    <a:cubicBezTo>
                      <a:pt x="256" y="153"/>
                      <a:pt x="256" y="153"/>
                      <a:pt x="257" y="153"/>
                    </a:cubicBezTo>
                    <a:cubicBezTo>
                      <a:pt x="256" y="153"/>
                      <a:pt x="256" y="152"/>
                      <a:pt x="256" y="152"/>
                    </a:cubicBezTo>
                    <a:cubicBezTo>
                      <a:pt x="254" y="152"/>
                      <a:pt x="252" y="152"/>
                      <a:pt x="251" y="153"/>
                    </a:cubicBezTo>
                    <a:cubicBezTo>
                      <a:pt x="250" y="153"/>
                      <a:pt x="249" y="154"/>
                      <a:pt x="248" y="155"/>
                    </a:cubicBezTo>
                    <a:cubicBezTo>
                      <a:pt x="248" y="154"/>
                      <a:pt x="248" y="154"/>
                      <a:pt x="248" y="153"/>
                    </a:cubicBezTo>
                    <a:cubicBezTo>
                      <a:pt x="246" y="153"/>
                      <a:pt x="245" y="155"/>
                      <a:pt x="243" y="155"/>
                    </a:cubicBezTo>
                    <a:cubicBezTo>
                      <a:pt x="241" y="155"/>
                      <a:pt x="240" y="155"/>
                      <a:pt x="238" y="156"/>
                    </a:cubicBezTo>
                    <a:cubicBezTo>
                      <a:pt x="236" y="157"/>
                      <a:pt x="234" y="157"/>
                      <a:pt x="232" y="158"/>
                    </a:cubicBezTo>
                    <a:cubicBezTo>
                      <a:pt x="230" y="158"/>
                      <a:pt x="229" y="158"/>
                      <a:pt x="228" y="156"/>
                    </a:cubicBezTo>
                    <a:cubicBezTo>
                      <a:pt x="227" y="155"/>
                      <a:pt x="227" y="154"/>
                      <a:pt x="226" y="154"/>
                    </a:cubicBezTo>
                    <a:cubicBezTo>
                      <a:pt x="225" y="154"/>
                      <a:pt x="224" y="154"/>
                      <a:pt x="224" y="153"/>
                    </a:cubicBezTo>
                    <a:cubicBezTo>
                      <a:pt x="223" y="153"/>
                      <a:pt x="222" y="152"/>
                      <a:pt x="221" y="152"/>
                    </a:cubicBezTo>
                    <a:cubicBezTo>
                      <a:pt x="221" y="152"/>
                      <a:pt x="220" y="152"/>
                      <a:pt x="219" y="152"/>
                    </a:cubicBezTo>
                    <a:cubicBezTo>
                      <a:pt x="217" y="152"/>
                      <a:pt x="215" y="151"/>
                      <a:pt x="215" y="154"/>
                    </a:cubicBezTo>
                    <a:cubicBezTo>
                      <a:pt x="215" y="154"/>
                      <a:pt x="214" y="154"/>
                      <a:pt x="214" y="155"/>
                    </a:cubicBezTo>
                    <a:cubicBezTo>
                      <a:pt x="214" y="154"/>
                      <a:pt x="215" y="153"/>
                      <a:pt x="215" y="152"/>
                    </a:cubicBezTo>
                    <a:cubicBezTo>
                      <a:pt x="216" y="151"/>
                      <a:pt x="215" y="152"/>
                      <a:pt x="215" y="151"/>
                    </a:cubicBezTo>
                    <a:cubicBezTo>
                      <a:pt x="215" y="151"/>
                      <a:pt x="216" y="151"/>
                      <a:pt x="217" y="151"/>
                    </a:cubicBezTo>
                    <a:cubicBezTo>
                      <a:pt x="215" y="149"/>
                      <a:pt x="212" y="147"/>
                      <a:pt x="211" y="144"/>
                    </a:cubicBezTo>
                    <a:cubicBezTo>
                      <a:pt x="211" y="143"/>
                      <a:pt x="211" y="141"/>
                      <a:pt x="210" y="140"/>
                    </a:cubicBezTo>
                    <a:cubicBezTo>
                      <a:pt x="209" y="139"/>
                      <a:pt x="208" y="137"/>
                      <a:pt x="207" y="136"/>
                    </a:cubicBezTo>
                    <a:cubicBezTo>
                      <a:pt x="205" y="135"/>
                      <a:pt x="204" y="133"/>
                      <a:pt x="203" y="132"/>
                    </a:cubicBezTo>
                    <a:cubicBezTo>
                      <a:pt x="202" y="131"/>
                      <a:pt x="201" y="129"/>
                      <a:pt x="201" y="127"/>
                    </a:cubicBezTo>
                    <a:cubicBezTo>
                      <a:pt x="199" y="124"/>
                      <a:pt x="198" y="122"/>
                      <a:pt x="197" y="118"/>
                    </a:cubicBezTo>
                    <a:cubicBezTo>
                      <a:pt x="198" y="119"/>
                      <a:pt x="199" y="120"/>
                      <a:pt x="200" y="121"/>
                    </a:cubicBezTo>
                    <a:cubicBezTo>
                      <a:pt x="200" y="122"/>
                      <a:pt x="200" y="122"/>
                      <a:pt x="200" y="123"/>
                    </a:cubicBezTo>
                    <a:cubicBezTo>
                      <a:pt x="200" y="124"/>
                      <a:pt x="200" y="124"/>
                      <a:pt x="200" y="125"/>
                    </a:cubicBezTo>
                    <a:cubicBezTo>
                      <a:pt x="200" y="124"/>
                      <a:pt x="201" y="123"/>
                      <a:pt x="201" y="122"/>
                    </a:cubicBezTo>
                    <a:cubicBezTo>
                      <a:pt x="201" y="120"/>
                      <a:pt x="197" y="118"/>
                      <a:pt x="196" y="115"/>
                    </a:cubicBezTo>
                    <a:cubicBezTo>
                      <a:pt x="196" y="114"/>
                      <a:pt x="196" y="111"/>
                      <a:pt x="196" y="110"/>
                    </a:cubicBezTo>
                    <a:cubicBezTo>
                      <a:pt x="195" y="108"/>
                      <a:pt x="196" y="106"/>
                      <a:pt x="196" y="104"/>
                    </a:cubicBezTo>
                    <a:cubicBezTo>
                      <a:pt x="196" y="101"/>
                      <a:pt x="197" y="98"/>
                      <a:pt x="197" y="94"/>
                    </a:cubicBezTo>
                    <a:cubicBezTo>
                      <a:pt x="197" y="95"/>
                      <a:pt x="197" y="96"/>
                      <a:pt x="197" y="98"/>
                    </a:cubicBezTo>
                    <a:cubicBezTo>
                      <a:pt x="196" y="95"/>
                      <a:pt x="195" y="92"/>
                      <a:pt x="196" y="89"/>
                    </a:cubicBezTo>
                    <a:cubicBezTo>
                      <a:pt x="196" y="88"/>
                      <a:pt x="198" y="86"/>
                      <a:pt x="197" y="85"/>
                    </a:cubicBezTo>
                    <a:cubicBezTo>
                      <a:pt x="196" y="84"/>
                      <a:pt x="197" y="82"/>
                      <a:pt x="197" y="81"/>
                    </a:cubicBezTo>
                    <a:cubicBezTo>
                      <a:pt x="197" y="81"/>
                      <a:pt x="198" y="82"/>
                      <a:pt x="199" y="81"/>
                    </a:cubicBezTo>
                    <a:cubicBezTo>
                      <a:pt x="199" y="81"/>
                      <a:pt x="198" y="81"/>
                      <a:pt x="199" y="81"/>
                    </a:cubicBezTo>
                    <a:cubicBezTo>
                      <a:pt x="199" y="80"/>
                      <a:pt x="199" y="80"/>
                      <a:pt x="199" y="80"/>
                    </a:cubicBezTo>
                    <a:cubicBezTo>
                      <a:pt x="199" y="80"/>
                      <a:pt x="200" y="80"/>
                      <a:pt x="200" y="80"/>
                    </a:cubicBezTo>
                    <a:cubicBezTo>
                      <a:pt x="200" y="82"/>
                      <a:pt x="199" y="84"/>
                      <a:pt x="198" y="86"/>
                    </a:cubicBezTo>
                    <a:cubicBezTo>
                      <a:pt x="199" y="82"/>
                      <a:pt x="201" y="79"/>
                      <a:pt x="202" y="76"/>
                    </a:cubicBezTo>
                    <a:cubicBezTo>
                      <a:pt x="202" y="76"/>
                      <a:pt x="202" y="76"/>
                      <a:pt x="202" y="76"/>
                    </a:cubicBezTo>
                    <a:cubicBezTo>
                      <a:pt x="202" y="76"/>
                      <a:pt x="202" y="76"/>
                      <a:pt x="202" y="76"/>
                    </a:cubicBezTo>
                    <a:cubicBezTo>
                      <a:pt x="202" y="76"/>
                      <a:pt x="201" y="76"/>
                      <a:pt x="201" y="76"/>
                    </a:cubicBezTo>
                    <a:cubicBezTo>
                      <a:pt x="200" y="76"/>
                      <a:pt x="200" y="76"/>
                      <a:pt x="199" y="76"/>
                    </a:cubicBezTo>
                    <a:cubicBezTo>
                      <a:pt x="199" y="76"/>
                      <a:pt x="199" y="76"/>
                      <a:pt x="199" y="76"/>
                    </a:cubicBezTo>
                    <a:cubicBezTo>
                      <a:pt x="198" y="76"/>
                      <a:pt x="198" y="76"/>
                      <a:pt x="198" y="75"/>
                    </a:cubicBezTo>
                    <a:cubicBezTo>
                      <a:pt x="197" y="75"/>
                      <a:pt x="196" y="74"/>
                      <a:pt x="195" y="74"/>
                    </a:cubicBezTo>
                    <a:cubicBezTo>
                      <a:pt x="194" y="74"/>
                      <a:pt x="191" y="74"/>
                      <a:pt x="190" y="73"/>
                    </a:cubicBezTo>
                    <a:cubicBezTo>
                      <a:pt x="190" y="73"/>
                      <a:pt x="190" y="73"/>
                      <a:pt x="189" y="73"/>
                    </a:cubicBezTo>
                    <a:cubicBezTo>
                      <a:pt x="188" y="72"/>
                      <a:pt x="187" y="72"/>
                      <a:pt x="185" y="71"/>
                    </a:cubicBezTo>
                    <a:cubicBezTo>
                      <a:pt x="183" y="70"/>
                      <a:pt x="182" y="70"/>
                      <a:pt x="181" y="69"/>
                    </a:cubicBezTo>
                    <a:cubicBezTo>
                      <a:pt x="177" y="60"/>
                      <a:pt x="177" y="59"/>
                      <a:pt x="177" y="59"/>
                    </a:cubicBezTo>
                    <a:cubicBezTo>
                      <a:pt x="178" y="57"/>
                      <a:pt x="177" y="57"/>
                      <a:pt x="177" y="57"/>
                    </a:cubicBezTo>
                    <a:cubicBezTo>
                      <a:pt x="176" y="56"/>
                      <a:pt x="174" y="55"/>
                      <a:pt x="174" y="54"/>
                    </a:cubicBezTo>
                    <a:cubicBezTo>
                      <a:pt x="174" y="54"/>
                      <a:pt x="173" y="52"/>
                      <a:pt x="172" y="52"/>
                    </a:cubicBezTo>
                    <a:cubicBezTo>
                      <a:pt x="170" y="49"/>
                      <a:pt x="168" y="46"/>
                      <a:pt x="166" y="41"/>
                    </a:cubicBezTo>
                    <a:cubicBezTo>
                      <a:pt x="164" y="38"/>
                      <a:pt x="163" y="37"/>
                      <a:pt x="162" y="36"/>
                    </a:cubicBezTo>
                    <a:cubicBezTo>
                      <a:pt x="161" y="36"/>
                      <a:pt x="161" y="35"/>
                      <a:pt x="160" y="35"/>
                    </a:cubicBezTo>
                    <a:cubicBezTo>
                      <a:pt x="158" y="33"/>
                      <a:pt x="158" y="33"/>
                      <a:pt x="158" y="33"/>
                    </a:cubicBezTo>
                    <a:cubicBezTo>
                      <a:pt x="156" y="33"/>
                      <a:pt x="154" y="33"/>
                      <a:pt x="153" y="32"/>
                    </a:cubicBezTo>
                    <a:cubicBezTo>
                      <a:pt x="152" y="32"/>
                      <a:pt x="152" y="32"/>
                      <a:pt x="152" y="32"/>
                    </a:cubicBezTo>
                    <a:cubicBezTo>
                      <a:pt x="152" y="32"/>
                      <a:pt x="152" y="32"/>
                      <a:pt x="151" y="32"/>
                    </a:cubicBezTo>
                    <a:cubicBezTo>
                      <a:pt x="151" y="32"/>
                      <a:pt x="151" y="32"/>
                      <a:pt x="150" y="32"/>
                    </a:cubicBezTo>
                    <a:cubicBezTo>
                      <a:pt x="150" y="33"/>
                      <a:pt x="149" y="33"/>
                      <a:pt x="148" y="33"/>
                    </a:cubicBezTo>
                    <a:cubicBezTo>
                      <a:pt x="147" y="33"/>
                      <a:pt x="147" y="34"/>
                      <a:pt x="145" y="37"/>
                    </a:cubicBezTo>
                    <a:cubicBezTo>
                      <a:pt x="145" y="38"/>
                      <a:pt x="145" y="38"/>
                      <a:pt x="144" y="39"/>
                    </a:cubicBezTo>
                    <a:cubicBezTo>
                      <a:pt x="144" y="40"/>
                      <a:pt x="143" y="41"/>
                      <a:pt x="142" y="41"/>
                    </a:cubicBezTo>
                    <a:cubicBezTo>
                      <a:pt x="142" y="41"/>
                      <a:pt x="141" y="41"/>
                      <a:pt x="141" y="41"/>
                    </a:cubicBezTo>
                    <a:cubicBezTo>
                      <a:pt x="139" y="42"/>
                      <a:pt x="136" y="40"/>
                      <a:pt x="135" y="39"/>
                    </a:cubicBezTo>
                    <a:cubicBezTo>
                      <a:pt x="135" y="39"/>
                      <a:pt x="135" y="39"/>
                      <a:pt x="135" y="39"/>
                    </a:cubicBezTo>
                    <a:cubicBezTo>
                      <a:pt x="134" y="39"/>
                      <a:pt x="134" y="39"/>
                      <a:pt x="134" y="39"/>
                    </a:cubicBezTo>
                    <a:cubicBezTo>
                      <a:pt x="133" y="39"/>
                      <a:pt x="133" y="39"/>
                      <a:pt x="133" y="39"/>
                    </a:cubicBezTo>
                    <a:cubicBezTo>
                      <a:pt x="131" y="37"/>
                      <a:pt x="125" y="35"/>
                      <a:pt x="125" y="30"/>
                    </a:cubicBezTo>
                    <a:cubicBezTo>
                      <a:pt x="124" y="26"/>
                      <a:pt x="121" y="23"/>
                      <a:pt x="121" y="23"/>
                    </a:cubicBezTo>
                    <a:cubicBezTo>
                      <a:pt x="117" y="19"/>
                      <a:pt x="112" y="15"/>
                      <a:pt x="111" y="15"/>
                    </a:cubicBezTo>
                    <a:cubicBezTo>
                      <a:pt x="111" y="15"/>
                      <a:pt x="109" y="14"/>
                      <a:pt x="108" y="13"/>
                    </a:cubicBezTo>
                    <a:cubicBezTo>
                      <a:pt x="108" y="12"/>
                      <a:pt x="108" y="12"/>
                      <a:pt x="108" y="12"/>
                    </a:cubicBezTo>
                    <a:cubicBezTo>
                      <a:pt x="108" y="11"/>
                      <a:pt x="108" y="11"/>
                      <a:pt x="107" y="11"/>
                    </a:cubicBezTo>
                    <a:cubicBezTo>
                      <a:pt x="105" y="11"/>
                      <a:pt x="94" y="11"/>
                      <a:pt x="91" y="11"/>
                    </a:cubicBezTo>
                    <a:cubicBezTo>
                      <a:pt x="91" y="11"/>
                      <a:pt x="91" y="11"/>
                      <a:pt x="91" y="11"/>
                    </a:cubicBezTo>
                    <a:cubicBezTo>
                      <a:pt x="91" y="11"/>
                      <a:pt x="91" y="11"/>
                      <a:pt x="91" y="11"/>
                    </a:cubicBezTo>
                    <a:cubicBezTo>
                      <a:pt x="91" y="12"/>
                      <a:pt x="91" y="12"/>
                      <a:pt x="91" y="12"/>
                    </a:cubicBezTo>
                    <a:cubicBezTo>
                      <a:pt x="91" y="13"/>
                      <a:pt x="91" y="14"/>
                      <a:pt x="90" y="15"/>
                    </a:cubicBezTo>
                    <a:cubicBezTo>
                      <a:pt x="89" y="16"/>
                      <a:pt x="89" y="16"/>
                      <a:pt x="89" y="16"/>
                    </a:cubicBezTo>
                    <a:cubicBezTo>
                      <a:pt x="77" y="16"/>
                      <a:pt x="77" y="16"/>
                      <a:pt x="77" y="16"/>
                    </a:cubicBezTo>
                    <a:cubicBezTo>
                      <a:pt x="66" y="16"/>
                      <a:pt x="63" y="16"/>
                      <a:pt x="50" y="12"/>
                    </a:cubicBezTo>
                    <a:cubicBezTo>
                      <a:pt x="46" y="11"/>
                      <a:pt x="27" y="5"/>
                      <a:pt x="22" y="3"/>
                    </a:cubicBezTo>
                    <a:cubicBezTo>
                      <a:pt x="21" y="2"/>
                      <a:pt x="21" y="2"/>
                      <a:pt x="21" y="2"/>
                    </a:cubicBezTo>
                    <a:cubicBezTo>
                      <a:pt x="21" y="1"/>
                      <a:pt x="21" y="1"/>
                      <a:pt x="21" y="1"/>
                    </a:cubicBezTo>
                    <a:cubicBezTo>
                      <a:pt x="21" y="1"/>
                      <a:pt x="21" y="1"/>
                      <a:pt x="21" y="0"/>
                    </a:cubicBezTo>
                    <a:cubicBezTo>
                      <a:pt x="20" y="0"/>
                      <a:pt x="19" y="0"/>
                      <a:pt x="17" y="1"/>
                    </a:cubicBezTo>
                    <a:cubicBezTo>
                      <a:pt x="17" y="1"/>
                      <a:pt x="16" y="1"/>
                      <a:pt x="16" y="1"/>
                    </a:cubicBezTo>
                    <a:cubicBezTo>
                      <a:pt x="15" y="1"/>
                      <a:pt x="14" y="1"/>
                      <a:pt x="12" y="1"/>
                    </a:cubicBezTo>
                    <a:cubicBezTo>
                      <a:pt x="11" y="1"/>
                      <a:pt x="11" y="1"/>
                      <a:pt x="11" y="1"/>
                    </a:cubicBezTo>
                    <a:cubicBezTo>
                      <a:pt x="8" y="1"/>
                      <a:pt x="6" y="2"/>
                      <a:pt x="5" y="2"/>
                    </a:cubicBezTo>
                    <a:cubicBezTo>
                      <a:pt x="4" y="2"/>
                      <a:pt x="3" y="2"/>
                      <a:pt x="1" y="2"/>
                    </a:cubicBezTo>
                    <a:cubicBezTo>
                      <a:pt x="0" y="3"/>
                      <a:pt x="0" y="3"/>
                      <a:pt x="0" y="3"/>
                    </a:cubicBezTo>
                    <a:cubicBezTo>
                      <a:pt x="1" y="5"/>
                      <a:pt x="2" y="8"/>
                      <a:pt x="3" y="11"/>
                    </a:cubicBezTo>
                    <a:cubicBezTo>
                      <a:pt x="4" y="13"/>
                      <a:pt x="5" y="17"/>
                      <a:pt x="7" y="18"/>
                    </a:cubicBezTo>
                    <a:cubicBezTo>
                      <a:pt x="7" y="19"/>
                      <a:pt x="9" y="20"/>
                      <a:pt x="9" y="20"/>
                    </a:cubicBezTo>
                    <a:cubicBezTo>
                      <a:pt x="10" y="21"/>
                      <a:pt x="10" y="22"/>
                      <a:pt x="10" y="23"/>
                    </a:cubicBezTo>
                    <a:cubicBezTo>
                      <a:pt x="10" y="24"/>
                      <a:pt x="10" y="25"/>
                      <a:pt x="10" y="25"/>
                    </a:cubicBezTo>
                    <a:cubicBezTo>
                      <a:pt x="11" y="23"/>
                      <a:pt x="12" y="26"/>
                      <a:pt x="12" y="27"/>
                    </a:cubicBezTo>
                    <a:cubicBezTo>
                      <a:pt x="12" y="28"/>
                      <a:pt x="12" y="29"/>
                      <a:pt x="12" y="30"/>
                    </a:cubicBezTo>
                    <a:cubicBezTo>
                      <a:pt x="12" y="32"/>
                      <a:pt x="16" y="34"/>
                      <a:pt x="18" y="35"/>
                    </a:cubicBezTo>
                    <a:cubicBezTo>
                      <a:pt x="18" y="36"/>
                      <a:pt x="19" y="36"/>
                      <a:pt x="20" y="36"/>
                    </a:cubicBezTo>
                    <a:cubicBezTo>
                      <a:pt x="20" y="36"/>
                      <a:pt x="20" y="36"/>
                      <a:pt x="21" y="37"/>
                    </a:cubicBezTo>
                    <a:cubicBezTo>
                      <a:pt x="23" y="38"/>
                      <a:pt x="25" y="40"/>
                      <a:pt x="26" y="42"/>
                    </a:cubicBezTo>
                    <a:cubicBezTo>
                      <a:pt x="27" y="43"/>
                      <a:pt x="28" y="44"/>
                      <a:pt x="28" y="45"/>
                    </a:cubicBezTo>
                    <a:cubicBezTo>
                      <a:pt x="30" y="46"/>
                      <a:pt x="29" y="49"/>
                      <a:pt x="29" y="51"/>
                    </a:cubicBezTo>
                    <a:cubicBezTo>
                      <a:pt x="28" y="53"/>
                      <a:pt x="28" y="53"/>
                      <a:pt x="28" y="53"/>
                    </a:cubicBezTo>
                    <a:cubicBezTo>
                      <a:pt x="28" y="53"/>
                      <a:pt x="29" y="53"/>
                      <a:pt x="29" y="52"/>
                    </a:cubicBezTo>
                    <a:cubicBezTo>
                      <a:pt x="29" y="53"/>
                      <a:pt x="29" y="54"/>
                      <a:pt x="29" y="55"/>
                    </a:cubicBezTo>
                    <a:cubicBezTo>
                      <a:pt x="30" y="55"/>
                      <a:pt x="30" y="55"/>
                      <a:pt x="30" y="54"/>
                    </a:cubicBezTo>
                    <a:cubicBezTo>
                      <a:pt x="30" y="54"/>
                      <a:pt x="31" y="54"/>
                      <a:pt x="31" y="54"/>
                    </a:cubicBezTo>
                    <a:cubicBezTo>
                      <a:pt x="31" y="54"/>
                      <a:pt x="31" y="54"/>
                      <a:pt x="31" y="53"/>
                    </a:cubicBezTo>
                    <a:cubicBezTo>
                      <a:pt x="29" y="52"/>
                      <a:pt x="31" y="53"/>
                      <a:pt x="31" y="54"/>
                    </a:cubicBezTo>
                    <a:cubicBezTo>
                      <a:pt x="32" y="55"/>
                      <a:pt x="32" y="57"/>
                      <a:pt x="32" y="58"/>
                    </a:cubicBezTo>
                    <a:cubicBezTo>
                      <a:pt x="31" y="57"/>
                      <a:pt x="31" y="56"/>
                      <a:pt x="31" y="56"/>
                    </a:cubicBezTo>
                    <a:cubicBezTo>
                      <a:pt x="31" y="55"/>
                      <a:pt x="30" y="56"/>
                      <a:pt x="29" y="55"/>
                    </a:cubicBezTo>
                    <a:cubicBezTo>
                      <a:pt x="28" y="55"/>
                      <a:pt x="28" y="55"/>
                      <a:pt x="27" y="54"/>
                    </a:cubicBezTo>
                    <a:cubicBezTo>
                      <a:pt x="26" y="54"/>
                      <a:pt x="27" y="54"/>
                      <a:pt x="26" y="54"/>
                    </a:cubicBezTo>
                    <a:cubicBezTo>
                      <a:pt x="24" y="54"/>
                      <a:pt x="22" y="54"/>
                      <a:pt x="20" y="54"/>
                    </a:cubicBezTo>
                    <a:cubicBezTo>
                      <a:pt x="20" y="54"/>
                      <a:pt x="19" y="53"/>
                      <a:pt x="20" y="55"/>
                    </a:cubicBezTo>
                    <a:cubicBezTo>
                      <a:pt x="21" y="57"/>
                      <a:pt x="24" y="58"/>
                      <a:pt x="26" y="60"/>
                    </a:cubicBezTo>
                    <a:cubicBezTo>
                      <a:pt x="27" y="61"/>
                      <a:pt x="28" y="62"/>
                      <a:pt x="30" y="63"/>
                    </a:cubicBezTo>
                    <a:cubicBezTo>
                      <a:pt x="31" y="64"/>
                      <a:pt x="32" y="65"/>
                      <a:pt x="34" y="65"/>
                    </a:cubicBezTo>
                    <a:cubicBezTo>
                      <a:pt x="35" y="66"/>
                      <a:pt x="35" y="65"/>
                      <a:pt x="36" y="65"/>
                    </a:cubicBezTo>
                    <a:cubicBezTo>
                      <a:pt x="36" y="65"/>
                      <a:pt x="36" y="65"/>
                      <a:pt x="37" y="65"/>
                    </a:cubicBezTo>
                    <a:cubicBezTo>
                      <a:pt x="38" y="65"/>
                      <a:pt x="37" y="65"/>
                      <a:pt x="38" y="65"/>
                    </a:cubicBezTo>
                    <a:cubicBezTo>
                      <a:pt x="39" y="64"/>
                      <a:pt x="39" y="64"/>
                      <a:pt x="39" y="63"/>
                    </a:cubicBezTo>
                    <a:cubicBezTo>
                      <a:pt x="39" y="64"/>
                      <a:pt x="39" y="65"/>
                      <a:pt x="39" y="65"/>
                    </a:cubicBezTo>
                    <a:cubicBezTo>
                      <a:pt x="40" y="67"/>
                      <a:pt x="42" y="69"/>
                      <a:pt x="44" y="70"/>
                    </a:cubicBezTo>
                    <a:cubicBezTo>
                      <a:pt x="46" y="71"/>
                      <a:pt x="49" y="72"/>
                      <a:pt x="49" y="75"/>
                    </a:cubicBezTo>
                    <a:cubicBezTo>
                      <a:pt x="49" y="77"/>
                      <a:pt x="50" y="79"/>
                      <a:pt x="50" y="81"/>
                    </a:cubicBezTo>
                    <a:cubicBezTo>
                      <a:pt x="50" y="82"/>
                      <a:pt x="50" y="82"/>
                      <a:pt x="50" y="83"/>
                    </a:cubicBezTo>
                    <a:cubicBezTo>
                      <a:pt x="49" y="84"/>
                      <a:pt x="49" y="85"/>
                      <a:pt x="49" y="86"/>
                    </a:cubicBezTo>
                    <a:cubicBezTo>
                      <a:pt x="50" y="86"/>
                      <a:pt x="49" y="85"/>
                      <a:pt x="50" y="85"/>
                    </a:cubicBezTo>
                    <a:cubicBezTo>
                      <a:pt x="50" y="85"/>
                      <a:pt x="50" y="86"/>
                      <a:pt x="50" y="87"/>
                    </a:cubicBezTo>
                    <a:cubicBezTo>
                      <a:pt x="51" y="88"/>
                      <a:pt x="53" y="89"/>
                      <a:pt x="55" y="90"/>
                    </a:cubicBezTo>
                    <a:cubicBezTo>
                      <a:pt x="58" y="92"/>
                      <a:pt x="61" y="95"/>
                      <a:pt x="64" y="97"/>
                    </a:cubicBezTo>
                    <a:cubicBezTo>
                      <a:pt x="65" y="98"/>
                      <a:pt x="67" y="99"/>
                      <a:pt x="68" y="100"/>
                    </a:cubicBezTo>
                    <a:cubicBezTo>
                      <a:pt x="70" y="102"/>
                      <a:pt x="71" y="105"/>
                      <a:pt x="72" y="107"/>
                    </a:cubicBezTo>
                    <a:cubicBezTo>
                      <a:pt x="73" y="107"/>
                      <a:pt x="74" y="106"/>
                      <a:pt x="74" y="106"/>
                    </a:cubicBezTo>
                    <a:cubicBezTo>
                      <a:pt x="75" y="105"/>
                      <a:pt x="76" y="105"/>
                      <a:pt x="76" y="105"/>
                    </a:cubicBezTo>
                    <a:cubicBezTo>
                      <a:pt x="77" y="104"/>
                      <a:pt x="77" y="103"/>
                      <a:pt x="77" y="102"/>
                    </a:cubicBezTo>
                    <a:cubicBezTo>
                      <a:pt x="77" y="100"/>
                      <a:pt x="75" y="100"/>
                      <a:pt x="74" y="98"/>
                    </a:cubicBezTo>
                    <a:cubicBezTo>
                      <a:pt x="74" y="98"/>
                      <a:pt x="74" y="96"/>
                      <a:pt x="73" y="95"/>
                    </a:cubicBezTo>
                    <a:cubicBezTo>
                      <a:pt x="73" y="95"/>
                      <a:pt x="72" y="95"/>
                      <a:pt x="72" y="95"/>
                    </a:cubicBezTo>
                    <a:cubicBezTo>
                      <a:pt x="71" y="95"/>
                      <a:pt x="70" y="92"/>
                      <a:pt x="69" y="92"/>
                    </a:cubicBezTo>
                    <a:cubicBezTo>
                      <a:pt x="68" y="92"/>
                      <a:pt x="68" y="93"/>
                      <a:pt x="68" y="94"/>
                    </a:cubicBezTo>
                    <a:cubicBezTo>
                      <a:pt x="67" y="93"/>
                      <a:pt x="66" y="94"/>
                      <a:pt x="65" y="93"/>
                    </a:cubicBezTo>
                    <a:cubicBezTo>
                      <a:pt x="64" y="92"/>
                      <a:pt x="64" y="89"/>
                      <a:pt x="64" y="88"/>
                    </a:cubicBezTo>
                    <a:cubicBezTo>
                      <a:pt x="64" y="86"/>
                      <a:pt x="63" y="84"/>
                      <a:pt x="62" y="82"/>
                    </a:cubicBezTo>
                    <a:cubicBezTo>
                      <a:pt x="61" y="80"/>
                      <a:pt x="60" y="77"/>
                      <a:pt x="59" y="75"/>
                    </a:cubicBezTo>
                    <a:cubicBezTo>
                      <a:pt x="59" y="75"/>
                      <a:pt x="59" y="76"/>
                      <a:pt x="59" y="76"/>
                    </a:cubicBezTo>
                    <a:cubicBezTo>
                      <a:pt x="59" y="74"/>
                      <a:pt x="58" y="73"/>
                      <a:pt x="57" y="72"/>
                    </a:cubicBezTo>
                    <a:cubicBezTo>
                      <a:pt x="57" y="71"/>
                      <a:pt x="57" y="70"/>
                      <a:pt x="56" y="68"/>
                    </a:cubicBezTo>
                    <a:cubicBezTo>
                      <a:pt x="56" y="67"/>
                      <a:pt x="54" y="65"/>
                      <a:pt x="53" y="64"/>
                    </a:cubicBezTo>
                    <a:cubicBezTo>
                      <a:pt x="53" y="65"/>
                      <a:pt x="54" y="66"/>
                      <a:pt x="54" y="67"/>
                    </a:cubicBezTo>
                    <a:cubicBezTo>
                      <a:pt x="52" y="67"/>
                      <a:pt x="52" y="64"/>
                      <a:pt x="51" y="62"/>
                    </a:cubicBezTo>
                    <a:cubicBezTo>
                      <a:pt x="51" y="62"/>
                      <a:pt x="51" y="61"/>
                      <a:pt x="49" y="61"/>
                    </a:cubicBezTo>
                    <a:cubicBezTo>
                      <a:pt x="48" y="61"/>
                      <a:pt x="47" y="58"/>
                      <a:pt x="47" y="57"/>
                    </a:cubicBezTo>
                    <a:cubicBezTo>
                      <a:pt x="46" y="56"/>
                      <a:pt x="45" y="53"/>
                      <a:pt x="43" y="52"/>
                    </a:cubicBezTo>
                    <a:cubicBezTo>
                      <a:pt x="43" y="52"/>
                      <a:pt x="43" y="52"/>
                      <a:pt x="43" y="52"/>
                    </a:cubicBezTo>
                    <a:cubicBezTo>
                      <a:pt x="43" y="51"/>
                      <a:pt x="43" y="50"/>
                      <a:pt x="42" y="49"/>
                    </a:cubicBezTo>
                    <a:cubicBezTo>
                      <a:pt x="42" y="48"/>
                      <a:pt x="43" y="47"/>
                      <a:pt x="42" y="47"/>
                    </a:cubicBezTo>
                    <a:cubicBezTo>
                      <a:pt x="41" y="47"/>
                      <a:pt x="41" y="47"/>
                      <a:pt x="40" y="46"/>
                    </a:cubicBezTo>
                    <a:cubicBezTo>
                      <a:pt x="38" y="45"/>
                      <a:pt x="37" y="43"/>
                      <a:pt x="36" y="41"/>
                    </a:cubicBezTo>
                    <a:cubicBezTo>
                      <a:pt x="36" y="43"/>
                      <a:pt x="34" y="39"/>
                      <a:pt x="33" y="39"/>
                    </a:cubicBezTo>
                    <a:cubicBezTo>
                      <a:pt x="32" y="37"/>
                      <a:pt x="31" y="35"/>
                      <a:pt x="29" y="33"/>
                    </a:cubicBezTo>
                    <a:cubicBezTo>
                      <a:pt x="29" y="32"/>
                      <a:pt x="28" y="32"/>
                      <a:pt x="27" y="32"/>
                    </a:cubicBezTo>
                    <a:cubicBezTo>
                      <a:pt x="27" y="32"/>
                      <a:pt x="26" y="31"/>
                      <a:pt x="25" y="30"/>
                    </a:cubicBezTo>
                    <a:cubicBezTo>
                      <a:pt x="25" y="28"/>
                      <a:pt x="24" y="27"/>
                      <a:pt x="24" y="25"/>
                    </a:cubicBezTo>
                    <a:cubicBezTo>
                      <a:pt x="24" y="22"/>
                      <a:pt x="22" y="19"/>
                      <a:pt x="22" y="17"/>
                    </a:cubicBezTo>
                    <a:cubicBezTo>
                      <a:pt x="22" y="15"/>
                      <a:pt x="22" y="14"/>
                      <a:pt x="22" y="12"/>
                    </a:cubicBezTo>
                    <a:cubicBezTo>
                      <a:pt x="23" y="11"/>
                      <a:pt x="22" y="10"/>
                      <a:pt x="21" y="9"/>
                    </a:cubicBezTo>
                    <a:cubicBezTo>
                      <a:pt x="21" y="9"/>
                      <a:pt x="21" y="8"/>
                      <a:pt x="21" y="8"/>
                    </a:cubicBezTo>
                    <a:cubicBezTo>
                      <a:pt x="22" y="8"/>
                      <a:pt x="22" y="9"/>
                      <a:pt x="22" y="9"/>
                    </a:cubicBezTo>
                    <a:cubicBezTo>
                      <a:pt x="24" y="10"/>
                      <a:pt x="26" y="11"/>
                      <a:pt x="28" y="12"/>
                    </a:cubicBezTo>
                    <a:cubicBezTo>
                      <a:pt x="29" y="12"/>
                      <a:pt x="30" y="13"/>
                      <a:pt x="31" y="12"/>
                    </a:cubicBezTo>
                    <a:cubicBezTo>
                      <a:pt x="31" y="12"/>
                      <a:pt x="31" y="12"/>
                      <a:pt x="31" y="11"/>
                    </a:cubicBezTo>
                    <a:cubicBezTo>
                      <a:pt x="31" y="11"/>
                      <a:pt x="31" y="11"/>
                      <a:pt x="31" y="11"/>
                    </a:cubicBezTo>
                    <a:cubicBezTo>
                      <a:pt x="31" y="11"/>
                      <a:pt x="34" y="13"/>
                      <a:pt x="34" y="13"/>
                    </a:cubicBezTo>
                    <a:cubicBezTo>
                      <a:pt x="36" y="14"/>
                      <a:pt x="38" y="15"/>
                      <a:pt x="39" y="16"/>
                    </a:cubicBezTo>
                    <a:cubicBezTo>
                      <a:pt x="40" y="17"/>
                      <a:pt x="40" y="17"/>
                      <a:pt x="40" y="19"/>
                    </a:cubicBezTo>
                    <a:cubicBezTo>
                      <a:pt x="40" y="20"/>
                      <a:pt x="40" y="21"/>
                      <a:pt x="40" y="22"/>
                    </a:cubicBezTo>
                    <a:cubicBezTo>
                      <a:pt x="41" y="25"/>
                      <a:pt x="43" y="27"/>
                      <a:pt x="44" y="30"/>
                    </a:cubicBezTo>
                    <a:cubicBezTo>
                      <a:pt x="45" y="32"/>
                      <a:pt x="45" y="34"/>
                      <a:pt x="46" y="35"/>
                    </a:cubicBezTo>
                    <a:cubicBezTo>
                      <a:pt x="46" y="36"/>
                      <a:pt x="47" y="37"/>
                      <a:pt x="47" y="37"/>
                    </a:cubicBezTo>
                    <a:cubicBezTo>
                      <a:pt x="47" y="38"/>
                      <a:pt x="49" y="37"/>
                      <a:pt x="49" y="38"/>
                    </a:cubicBezTo>
                    <a:cubicBezTo>
                      <a:pt x="49" y="38"/>
                      <a:pt x="49" y="41"/>
                      <a:pt x="49" y="41"/>
                    </a:cubicBezTo>
                    <a:cubicBezTo>
                      <a:pt x="52" y="44"/>
                      <a:pt x="54" y="46"/>
                      <a:pt x="57" y="49"/>
                    </a:cubicBezTo>
                    <a:cubicBezTo>
                      <a:pt x="58" y="50"/>
                      <a:pt x="61" y="53"/>
                      <a:pt x="63" y="53"/>
                    </a:cubicBezTo>
                    <a:cubicBezTo>
                      <a:pt x="63" y="53"/>
                      <a:pt x="64" y="53"/>
                      <a:pt x="65" y="53"/>
                    </a:cubicBezTo>
                    <a:cubicBezTo>
                      <a:pt x="67" y="53"/>
                      <a:pt x="65" y="53"/>
                      <a:pt x="65" y="54"/>
                    </a:cubicBezTo>
                    <a:cubicBezTo>
                      <a:pt x="65" y="53"/>
                      <a:pt x="65" y="54"/>
                      <a:pt x="65" y="54"/>
                    </a:cubicBezTo>
                    <a:cubicBezTo>
                      <a:pt x="64" y="57"/>
                      <a:pt x="67" y="61"/>
                      <a:pt x="69" y="61"/>
                    </a:cubicBezTo>
                    <a:cubicBezTo>
                      <a:pt x="70" y="62"/>
                      <a:pt x="71" y="62"/>
                      <a:pt x="72" y="62"/>
                    </a:cubicBezTo>
                    <a:cubicBezTo>
                      <a:pt x="72" y="62"/>
                      <a:pt x="72" y="64"/>
                      <a:pt x="72" y="64"/>
                    </a:cubicBezTo>
                    <a:cubicBezTo>
                      <a:pt x="73" y="65"/>
                      <a:pt x="75" y="65"/>
                      <a:pt x="76" y="65"/>
                    </a:cubicBezTo>
                    <a:cubicBezTo>
                      <a:pt x="78" y="66"/>
                      <a:pt x="80" y="69"/>
                      <a:pt x="81" y="71"/>
                    </a:cubicBezTo>
                    <a:cubicBezTo>
                      <a:pt x="80" y="71"/>
                      <a:pt x="80" y="71"/>
                      <a:pt x="80" y="70"/>
                    </a:cubicBezTo>
                    <a:cubicBezTo>
                      <a:pt x="79" y="71"/>
                      <a:pt x="79" y="71"/>
                      <a:pt x="78" y="72"/>
                    </a:cubicBezTo>
                    <a:cubicBezTo>
                      <a:pt x="78" y="73"/>
                      <a:pt x="77" y="74"/>
                      <a:pt x="77" y="75"/>
                    </a:cubicBezTo>
                    <a:cubicBezTo>
                      <a:pt x="77" y="76"/>
                      <a:pt x="77" y="76"/>
                      <a:pt x="77" y="77"/>
                    </a:cubicBezTo>
                    <a:cubicBezTo>
                      <a:pt x="77" y="76"/>
                      <a:pt x="78" y="77"/>
                      <a:pt x="79" y="77"/>
                    </a:cubicBezTo>
                    <a:cubicBezTo>
                      <a:pt x="78" y="77"/>
                      <a:pt x="78" y="78"/>
                      <a:pt x="78" y="78"/>
                    </a:cubicBezTo>
                    <a:cubicBezTo>
                      <a:pt x="78" y="78"/>
                      <a:pt x="79" y="77"/>
                      <a:pt x="79" y="78"/>
                    </a:cubicBezTo>
                    <a:cubicBezTo>
                      <a:pt x="79" y="77"/>
                      <a:pt x="79" y="77"/>
                      <a:pt x="79" y="77"/>
                    </a:cubicBezTo>
                    <a:cubicBezTo>
                      <a:pt x="80" y="77"/>
                      <a:pt x="80" y="78"/>
                      <a:pt x="80" y="78"/>
                    </a:cubicBezTo>
                    <a:cubicBezTo>
                      <a:pt x="81" y="78"/>
                      <a:pt x="82" y="78"/>
                      <a:pt x="83" y="78"/>
                    </a:cubicBezTo>
                    <a:cubicBezTo>
                      <a:pt x="82" y="78"/>
                      <a:pt x="82" y="79"/>
                      <a:pt x="81" y="80"/>
                    </a:cubicBezTo>
                    <a:cubicBezTo>
                      <a:pt x="84" y="80"/>
                      <a:pt x="87" y="81"/>
                      <a:pt x="89" y="83"/>
                    </a:cubicBezTo>
                    <a:cubicBezTo>
                      <a:pt x="90" y="84"/>
                      <a:pt x="91" y="84"/>
                      <a:pt x="92" y="85"/>
                    </a:cubicBezTo>
                    <a:cubicBezTo>
                      <a:pt x="92" y="85"/>
                      <a:pt x="92" y="86"/>
                      <a:pt x="92" y="87"/>
                    </a:cubicBezTo>
                    <a:cubicBezTo>
                      <a:pt x="92" y="88"/>
                      <a:pt x="92" y="89"/>
                      <a:pt x="94" y="90"/>
                    </a:cubicBezTo>
                    <a:cubicBezTo>
                      <a:pt x="93" y="90"/>
                      <a:pt x="93" y="89"/>
                      <a:pt x="93" y="89"/>
                    </a:cubicBezTo>
                    <a:cubicBezTo>
                      <a:pt x="93" y="89"/>
                      <a:pt x="94" y="90"/>
                      <a:pt x="95" y="90"/>
                    </a:cubicBezTo>
                    <a:cubicBezTo>
                      <a:pt x="95" y="90"/>
                      <a:pt x="95" y="91"/>
                      <a:pt x="96" y="91"/>
                    </a:cubicBezTo>
                    <a:cubicBezTo>
                      <a:pt x="96" y="91"/>
                      <a:pt x="96" y="90"/>
                      <a:pt x="97" y="90"/>
                    </a:cubicBezTo>
                    <a:cubicBezTo>
                      <a:pt x="98" y="90"/>
                      <a:pt x="97" y="91"/>
                      <a:pt x="96" y="91"/>
                    </a:cubicBezTo>
                    <a:cubicBezTo>
                      <a:pt x="99" y="94"/>
                      <a:pt x="102" y="96"/>
                      <a:pt x="105" y="100"/>
                    </a:cubicBezTo>
                    <a:cubicBezTo>
                      <a:pt x="107" y="104"/>
                      <a:pt x="111" y="107"/>
                      <a:pt x="114" y="111"/>
                    </a:cubicBezTo>
                    <a:cubicBezTo>
                      <a:pt x="115" y="112"/>
                      <a:pt x="116" y="114"/>
                      <a:pt x="116" y="116"/>
                    </a:cubicBezTo>
                    <a:cubicBezTo>
                      <a:pt x="116" y="118"/>
                      <a:pt x="118" y="121"/>
                      <a:pt x="119" y="122"/>
                    </a:cubicBezTo>
                    <a:cubicBezTo>
                      <a:pt x="120" y="123"/>
                      <a:pt x="120" y="123"/>
                      <a:pt x="120" y="124"/>
                    </a:cubicBezTo>
                    <a:cubicBezTo>
                      <a:pt x="119" y="126"/>
                      <a:pt x="119" y="127"/>
                      <a:pt x="118" y="129"/>
                    </a:cubicBezTo>
                    <a:cubicBezTo>
                      <a:pt x="118" y="129"/>
                      <a:pt x="118" y="130"/>
                      <a:pt x="117" y="130"/>
                    </a:cubicBezTo>
                    <a:cubicBezTo>
                      <a:pt x="117" y="130"/>
                      <a:pt x="118" y="130"/>
                      <a:pt x="119" y="131"/>
                    </a:cubicBezTo>
                    <a:cubicBezTo>
                      <a:pt x="119" y="131"/>
                      <a:pt x="119" y="131"/>
                      <a:pt x="120" y="131"/>
                    </a:cubicBezTo>
                    <a:cubicBezTo>
                      <a:pt x="120" y="132"/>
                      <a:pt x="120" y="132"/>
                      <a:pt x="119" y="132"/>
                    </a:cubicBezTo>
                    <a:cubicBezTo>
                      <a:pt x="119" y="133"/>
                      <a:pt x="116" y="133"/>
                      <a:pt x="116" y="134"/>
                    </a:cubicBezTo>
                    <a:cubicBezTo>
                      <a:pt x="115" y="135"/>
                      <a:pt x="119" y="140"/>
                      <a:pt x="120" y="142"/>
                    </a:cubicBezTo>
                    <a:cubicBezTo>
                      <a:pt x="121" y="144"/>
                      <a:pt x="123" y="146"/>
                      <a:pt x="126" y="147"/>
                    </a:cubicBezTo>
                    <a:cubicBezTo>
                      <a:pt x="128" y="148"/>
                      <a:pt x="131" y="149"/>
                      <a:pt x="133" y="151"/>
                    </a:cubicBezTo>
                    <a:cubicBezTo>
                      <a:pt x="135" y="152"/>
                      <a:pt x="136" y="154"/>
                      <a:pt x="138" y="155"/>
                    </a:cubicBezTo>
                    <a:cubicBezTo>
                      <a:pt x="139" y="156"/>
                      <a:pt x="140" y="157"/>
                      <a:pt x="141" y="157"/>
                    </a:cubicBezTo>
                    <a:cubicBezTo>
                      <a:pt x="144" y="158"/>
                      <a:pt x="147" y="159"/>
                      <a:pt x="151" y="160"/>
                    </a:cubicBezTo>
                    <a:cubicBezTo>
                      <a:pt x="152" y="161"/>
                      <a:pt x="153" y="159"/>
                      <a:pt x="154" y="160"/>
                    </a:cubicBezTo>
                    <a:cubicBezTo>
                      <a:pt x="156" y="162"/>
                      <a:pt x="158" y="164"/>
                      <a:pt x="160" y="165"/>
                    </a:cubicBezTo>
                    <a:cubicBezTo>
                      <a:pt x="165" y="168"/>
                      <a:pt x="171" y="170"/>
                      <a:pt x="176" y="172"/>
                    </a:cubicBezTo>
                    <a:cubicBezTo>
                      <a:pt x="179" y="174"/>
                      <a:pt x="181" y="174"/>
                      <a:pt x="184" y="175"/>
                    </a:cubicBezTo>
                    <a:cubicBezTo>
                      <a:pt x="186" y="175"/>
                      <a:pt x="186" y="175"/>
                      <a:pt x="187" y="176"/>
                    </a:cubicBezTo>
                    <a:cubicBezTo>
                      <a:pt x="188" y="177"/>
                      <a:pt x="189" y="178"/>
                      <a:pt x="191" y="178"/>
                    </a:cubicBezTo>
                    <a:cubicBezTo>
                      <a:pt x="192" y="178"/>
                      <a:pt x="193" y="179"/>
                      <a:pt x="194" y="180"/>
                    </a:cubicBezTo>
                    <a:cubicBezTo>
                      <a:pt x="196" y="181"/>
                      <a:pt x="197" y="181"/>
                      <a:pt x="199" y="181"/>
                    </a:cubicBezTo>
                    <a:cubicBezTo>
                      <a:pt x="200" y="181"/>
                      <a:pt x="201" y="181"/>
                      <a:pt x="202" y="181"/>
                    </a:cubicBezTo>
                    <a:cubicBezTo>
                      <a:pt x="203" y="182"/>
                      <a:pt x="204" y="183"/>
                      <a:pt x="205" y="183"/>
                    </a:cubicBezTo>
                    <a:cubicBezTo>
                      <a:pt x="208" y="184"/>
                      <a:pt x="210" y="184"/>
                      <a:pt x="213" y="183"/>
                    </a:cubicBezTo>
                    <a:cubicBezTo>
                      <a:pt x="215" y="183"/>
                      <a:pt x="217" y="181"/>
                      <a:pt x="219" y="181"/>
                    </a:cubicBezTo>
                    <a:cubicBezTo>
                      <a:pt x="220" y="181"/>
                      <a:pt x="221" y="179"/>
                      <a:pt x="222" y="179"/>
                    </a:cubicBezTo>
                    <a:cubicBezTo>
                      <a:pt x="223" y="179"/>
                      <a:pt x="224" y="179"/>
                      <a:pt x="225" y="178"/>
                    </a:cubicBezTo>
                    <a:cubicBezTo>
                      <a:pt x="225" y="178"/>
                      <a:pt x="226" y="178"/>
                      <a:pt x="226" y="178"/>
                    </a:cubicBezTo>
                    <a:cubicBezTo>
                      <a:pt x="225" y="178"/>
                      <a:pt x="225" y="178"/>
                      <a:pt x="224" y="178"/>
                    </a:cubicBezTo>
                    <a:cubicBezTo>
                      <a:pt x="225" y="177"/>
                      <a:pt x="226" y="177"/>
                      <a:pt x="226" y="176"/>
                    </a:cubicBezTo>
                    <a:cubicBezTo>
                      <a:pt x="227" y="178"/>
                      <a:pt x="227" y="178"/>
                      <a:pt x="228" y="177"/>
                    </a:cubicBezTo>
                    <a:cubicBezTo>
                      <a:pt x="228" y="178"/>
                      <a:pt x="228" y="178"/>
                      <a:pt x="227" y="178"/>
                    </a:cubicBezTo>
                    <a:cubicBezTo>
                      <a:pt x="228" y="179"/>
                      <a:pt x="229" y="179"/>
                      <a:pt x="231" y="179"/>
                    </a:cubicBezTo>
                    <a:cubicBezTo>
                      <a:pt x="232" y="179"/>
                      <a:pt x="233" y="180"/>
                      <a:pt x="234" y="180"/>
                    </a:cubicBezTo>
                    <a:cubicBezTo>
                      <a:pt x="234" y="179"/>
                      <a:pt x="231" y="179"/>
                      <a:pt x="230" y="178"/>
                    </a:cubicBezTo>
                    <a:cubicBezTo>
                      <a:pt x="231" y="177"/>
                      <a:pt x="235" y="180"/>
                      <a:pt x="236" y="181"/>
                    </a:cubicBezTo>
                    <a:cubicBezTo>
                      <a:pt x="238" y="182"/>
                      <a:pt x="241" y="184"/>
                      <a:pt x="243" y="186"/>
                    </a:cubicBezTo>
                    <a:cubicBezTo>
                      <a:pt x="244" y="187"/>
                      <a:pt x="244" y="188"/>
                      <a:pt x="245" y="188"/>
                    </a:cubicBezTo>
                    <a:cubicBezTo>
                      <a:pt x="246" y="189"/>
                      <a:pt x="247" y="189"/>
                      <a:pt x="248" y="190"/>
                    </a:cubicBezTo>
                    <a:cubicBezTo>
                      <a:pt x="249" y="192"/>
                      <a:pt x="250" y="193"/>
                      <a:pt x="252" y="195"/>
                    </a:cubicBezTo>
                    <a:cubicBezTo>
                      <a:pt x="252" y="194"/>
                      <a:pt x="252" y="194"/>
                      <a:pt x="252" y="194"/>
                    </a:cubicBezTo>
                    <a:cubicBezTo>
                      <a:pt x="252" y="194"/>
                      <a:pt x="252" y="194"/>
                      <a:pt x="252" y="194"/>
                    </a:cubicBezTo>
                    <a:cubicBezTo>
                      <a:pt x="252" y="194"/>
                      <a:pt x="252" y="194"/>
                      <a:pt x="252" y="194"/>
                    </a:cubicBezTo>
                    <a:cubicBezTo>
                      <a:pt x="252" y="194"/>
                      <a:pt x="252" y="194"/>
                      <a:pt x="252" y="194"/>
                    </a:cubicBezTo>
                    <a:cubicBezTo>
                      <a:pt x="252" y="193"/>
                      <a:pt x="252" y="193"/>
                      <a:pt x="252" y="192"/>
                    </a:cubicBezTo>
                    <a:cubicBezTo>
                      <a:pt x="252" y="192"/>
                      <a:pt x="252" y="192"/>
                      <a:pt x="252" y="192"/>
                    </a:cubicBezTo>
                    <a:cubicBezTo>
                      <a:pt x="252" y="192"/>
                      <a:pt x="252" y="191"/>
                      <a:pt x="253" y="190"/>
                    </a:cubicBezTo>
                    <a:cubicBezTo>
                      <a:pt x="253" y="190"/>
                      <a:pt x="253" y="190"/>
                      <a:pt x="253" y="190"/>
                    </a:cubicBezTo>
                    <a:cubicBezTo>
                      <a:pt x="252" y="189"/>
                      <a:pt x="252" y="189"/>
                      <a:pt x="252" y="188"/>
                    </a:cubicBezTo>
                    <a:cubicBezTo>
                      <a:pt x="252" y="188"/>
                      <a:pt x="252" y="187"/>
                      <a:pt x="252" y="187"/>
                    </a:cubicBezTo>
                    <a:cubicBezTo>
                      <a:pt x="252" y="187"/>
                      <a:pt x="252" y="187"/>
                      <a:pt x="252" y="187"/>
                    </a:cubicBezTo>
                    <a:cubicBezTo>
                      <a:pt x="252" y="187"/>
                      <a:pt x="252" y="187"/>
                      <a:pt x="253" y="187"/>
                    </a:cubicBezTo>
                    <a:cubicBezTo>
                      <a:pt x="253" y="186"/>
                      <a:pt x="253" y="186"/>
                      <a:pt x="253" y="186"/>
                    </a:cubicBezTo>
                    <a:cubicBezTo>
                      <a:pt x="253" y="185"/>
                      <a:pt x="254" y="183"/>
                      <a:pt x="255" y="182"/>
                    </a:cubicBezTo>
                    <a:cubicBezTo>
                      <a:pt x="256" y="181"/>
                      <a:pt x="256" y="181"/>
                      <a:pt x="256" y="181"/>
                    </a:cubicBezTo>
                    <a:cubicBezTo>
                      <a:pt x="256" y="181"/>
                      <a:pt x="257" y="180"/>
                      <a:pt x="257" y="180"/>
                    </a:cubicBezTo>
                    <a:cubicBezTo>
                      <a:pt x="257" y="180"/>
                      <a:pt x="258" y="180"/>
                      <a:pt x="258" y="179"/>
                    </a:cubicBezTo>
                    <a:cubicBezTo>
                      <a:pt x="259" y="179"/>
                      <a:pt x="259" y="179"/>
                      <a:pt x="260" y="179"/>
                    </a:cubicBezTo>
                    <a:cubicBezTo>
                      <a:pt x="262" y="178"/>
                      <a:pt x="263" y="178"/>
                      <a:pt x="264" y="178"/>
                    </a:cubicBezTo>
                    <a:cubicBezTo>
                      <a:pt x="265" y="179"/>
                      <a:pt x="265" y="179"/>
                      <a:pt x="266" y="179"/>
                    </a:cubicBezTo>
                    <a:cubicBezTo>
                      <a:pt x="270" y="178"/>
                      <a:pt x="270" y="178"/>
                      <a:pt x="270" y="178"/>
                    </a:cubicBezTo>
                    <a:cubicBezTo>
                      <a:pt x="270" y="178"/>
                      <a:pt x="270" y="178"/>
                      <a:pt x="270" y="178"/>
                    </a:cubicBezTo>
                    <a:cubicBezTo>
                      <a:pt x="270" y="178"/>
                      <a:pt x="270" y="178"/>
                      <a:pt x="270" y="178"/>
                    </a:cubicBezTo>
                    <a:cubicBezTo>
                      <a:pt x="270" y="178"/>
                      <a:pt x="270" y="177"/>
                      <a:pt x="270" y="177"/>
                    </a:cubicBezTo>
                    <a:cubicBezTo>
                      <a:pt x="270" y="177"/>
                      <a:pt x="270" y="177"/>
                      <a:pt x="270" y="177"/>
                    </a:cubicBezTo>
                    <a:cubicBezTo>
                      <a:pt x="270" y="177"/>
                      <a:pt x="270" y="177"/>
                      <a:pt x="270" y="177"/>
                    </a:cubicBezTo>
                    <a:cubicBezTo>
                      <a:pt x="270" y="177"/>
                      <a:pt x="270" y="177"/>
                      <a:pt x="269" y="177"/>
                    </a:cubicBezTo>
                    <a:cubicBezTo>
                      <a:pt x="268" y="176"/>
                      <a:pt x="267" y="175"/>
                      <a:pt x="266" y="174"/>
                    </a:cubicBezTo>
                    <a:cubicBezTo>
                      <a:pt x="266" y="174"/>
                      <a:pt x="266" y="174"/>
                      <a:pt x="266" y="174"/>
                    </a:cubicBezTo>
                    <a:cubicBezTo>
                      <a:pt x="266" y="174"/>
                      <a:pt x="266" y="174"/>
                      <a:pt x="266" y="174"/>
                    </a:cubicBezTo>
                    <a:cubicBezTo>
                      <a:pt x="266" y="173"/>
                      <a:pt x="265" y="173"/>
                      <a:pt x="265" y="172"/>
                    </a:cubicBezTo>
                    <a:cubicBezTo>
                      <a:pt x="264" y="172"/>
                      <a:pt x="264" y="172"/>
                      <a:pt x="264" y="172"/>
                    </a:cubicBezTo>
                    <a:cubicBezTo>
                      <a:pt x="263" y="170"/>
                      <a:pt x="263" y="170"/>
                      <a:pt x="263" y="170"/>
                    </a:cubicBezTo>
                    <a:cubicBezTo>
                      <a:pt x="262" y="170"/>
                      <a:pt x="261" y="169"/>
                      <a:pt x="260" y="168"/>
                    </a:cubicBezTo>
                    <a:cubicBezTo>
                      <a:pt x="257" y="166"/>
                      <a:pt x="257" y="166"/>
                      <a:pt x="257" y="166"/>
                    </a:cubicBezTo>
                    <a:cubicBezTo>
                      <a:pt x="264" y="166"/>
                      <a:pt x="264" y="166"/>
                      <a:pt x="264" y="166"/>
                    </a:cubicBezTo>
                    <a:cubicBezTo>
                      <a:pt x="264" y="166"/>
                      <a:pt x="264" y="166"/>
                      <a:pt x="264" y="166"/>
                    </a:cubicBezTo>
                    <a:cubicBezTo>
                      <a:pt x="264" y="163"/>
                      <a:pt x="264" y="161"/>
                      <a:pt x="265" y="161"/>
                    </a:cubicBezTo>
                    <a:cubicBezTo>
                      <a:pt x="265" y="160"/>
                      <a:pt x="266" y="160"/>
                      <a:pt x="269" y="160"/>
                    </a:cubicBezTo>
                    <a:cubicBezTo>
                      <a:pt x="269" y="160"/>
                      <a:pt x="269" y="160"/>
                      <a:pt x="269" y="160"/>
                    </a:cubicBezTo>
                    <a:cubicBezTo>
                      <a:pt x="270" y="160"/>
                      <a:pt x="270" y="160"/>
                      <a:pt x="270" y="160"/>
                    </a:cubicBezTo>
                    <a:cubicBezTo>
                      <a:pt x="277" y="160"/>
                      <a:pt x="277" y="160"/>
                      <a:pt x="277" y="160"/>
                    </a:cubicBezTo>
                    <a:cubicBezTo>
                      <a:pt x="279" y="160"/>
                      <a:pt x="281" y="160"/>
                      <a:pt x="283" y="160"/>
                    </a:cubicBezTo>
                    <a:cubicBezTo>
                      <a:pt x="283" y="160"/>
                      <a:pt x="283" y="160"/>
                      <a:pt x="283" y="160"/>
                    </a:cubicBezTo>
                    <a:cubicBezTo>
                      <a:pt x="283" y="160"/>
                      <a:pt x="283" y="160"/>
                      <a:pt x="283" y="160"/>
                    </a:cubicBezTo>
                    <a:cubicBezTo>
                      <a:pt x="284" y="160"/>
                      <a:pt x="284" y="160"/>
                      <a:pt x="284" y="160"/>
                    </a:cubicBezTo>
                    <a:cubicBezTo>
                      <a:pt x="284" y="160"/>
                      <a:pt x="284" y="159"/>
                      <a:pt x="284" y="159"/>
                    </a:cubicBezTo>
                    <a:cubicBezTo>
                      <a:pt x="284" y="159"/>
                      <a:pt x="284" y="159"/>
                      <a:pt x="284" y="159"/>
                    </a:cubicBezTo>
                    <a:cubicBezTo>
                      <a:pt x="284" y="159"/>
                      <a:pt x="285" y="159"/>
                      <a:pt x="285" y="159"/>
                    </a:cubicBezTo>
                    <a:cubicBezTo>
                      <a:pt x="285" y="159"/>
                      <a:pt x="285" y="159"/>
                      <a:pt x="286" y="159"/>
                    </a:cubicBezTo>
                    <a:cubicBezTo>
                      <a:pt x="286" y="159"/>
                      <a:pt x="287" y="159"/>
                      <a:pt x="287" y="159"/>
                    </a:cubicBezTo>
                    <a:cubicBezTo>
                      <a:pt x="287" y="159"/>
                      <a:pt x="287" y="159"/>
                      <a:pt x="287" y="159"/>
                    </a:cubicBezTo>
                    <a:cubicBezTo>
                      <a:pt x="287" y="159"/>
                      <a:pt x="287" y="159"/>
                      <a:pt x="288" y="158"/>
                    </a:cubicBezTo>
                    <a:cubicBezTo>
                      <a:pt x="288" y="158"/>
                      <a:pt x="288" y="157"/>
                      <a:pt x="289" y="157"/>
                    </a:cubicBezTo>
                    <a:cubicBezTo>
                      <a:pt x="289" y="157"/>
                      <a:pt x="289" y="157"/>
                      <a:pt x="289" y="157"/>
                    </a:cubicBezTo>
                    <a:cubicBezTo>
                      <a:pt x="289" y="156"/>
                      <a:pt x="289" y="156"/>
                      <a:pt x="289" y="156"/>
                    </a:cubicBezTo>
                    <a:cubicBezTo>
                      <a:pt x="289" y="155"/>
                      <a:pt x="289" y="155"/>
                      <a:pt x="289" y="155"/>
                    </a:cubicBezTo>
                    <a:cubicBezTo>
                      <a:pt x="290" y="154"/>
                      <a:pt x="291" y="153"/>
                      <a:pt x="292" y="153"/>
                    </a:cubicBezTo>
                    <a:cubicBezTo>
                      <a:pt x="292" y="153"/>
                      <a:pt x="292" y="153"/>
                      <a:pt x="293" y="153"/>
                    </a:cubicBezTo>
                    <a:cubicBezTo>
                      <a:pt x="294" y="153"/>
                      <a:pt x="294" y="153"/>
                      <a:pt x="294" y="153"/>
                    </a:cubicBezTo>
                    <a:cubicBezTo>
                      <a:pt x="294" y="153"/>
                      <a:pt x="294" y="153"/>
                      <a:pt x="294" y="153"/>
                    </a:cubicBezTo>
                    <a:cubicBezTo>
                      <a:pt x="294" y="153"/>
                      <a:pt x="294" y="152"/>
                      <a:pt x="294" y="152"/>
                    </a:cubicBezTo>
                    <a:cubicBezTo>
                      <a:pt x="295" y="152"/>
                      <a:pt x="295" y="151"/>
                      <a:pt x="295" y="151"/>
                    </a:cubicBezTo>
                    <a:cubicBezTo>
                      <a:pt x="296" y="152"/>
                      <a:pt x="295" y="153"/>
                      <a:pt x="295" y="154"/>
                    </a:cubicBezTo>
                    <a:cubicBezTo>
                      <a:pt x="295" y="155"/>
                      <a:pt x="297" y="157"/>
                      <a:pt x="298" y="158"/>
                    </a:cubicBezTo>
                    <a:cubicBezTo>
                      <a:pt x="299" y="154"/>
                      <a:pt x="299" y="149"/>
                      <a:pt x="301" y="146"/>
                    </a:cubicBezTo>
                    <a:cubicBezTo>
                      <a:pt x="300" y="145"/>
                      <a:pt x="301" y="146"/>
                      <a:pt x="300" y="147"/>
                    </a:cubicBezTo>
                    <a:cubicBezTo>
                      <a:pt x="299" y="147"/>
                      <a:pt x="300" y="145"/>
                      <a:pt x="301" y="144"/>
                    </a:cubicBezTo>
                    <a:cubicBezTo>
                      <a:pt x="301" y="145"/>
                      <a:pt x="301" y="145"/>
                      <a:pt x="301" y="145"/>
                    </a:cubicBezTo>
                    <a:cubicBezTo>
                      <a:pt x="302" y="144"/>
                      <a:pt x="302" y="144"/>
                      <a:pt x="302" y="143"/>
                    </a:cubicBezTo>
                    <a:cubicBezTo>
                      <a:pt x="301" y="143"/>
                      <a:pt x="298" y="144"/>
                      <a:pt x="299" y="142"/>
                    </a:cubicBezTo>
                    <a:cubicBezTo>
                      <a:pt x="299" y="141"/>
                      <a:pt x="301" y="141"/>
                      <a:pt x="301" y="140"/>
                    </a:cubicBezTo>
                    <a:cubicBezTo>
                      <a:pt x="302" y="140"/>
                      <a:pt x="301" y="139"/>
                      <a:pt x="301" y="138"/>
                    </a:cubicBezTo>
                    <a:cubicBezTo>
                      <a:pt x="302" y="138"/>
                      <a:pt x="301" y="137"/>
                      <a:pt x="302" y="137"/>
                    </a:cubicBezTo>
                    <a:cubicBezTo>
                      <a:pt x="302" y="134"/>
                      <a:pt x="305" y="133"/>
                      <a:pt x="306" y="131"/>
                    </a:cubicBezTo>
                    <a:cubicBezTo>
                      <a:pt x="307" y="129"/>
                      <a:pt x="308" y="128"/>
                      <a:pt x="309" y="127"/>
                    </a:cubicBezTo>
                    <a:cubicBezTo>
                      <a:pt x="309" y="126"/>
                      <a:pt x="308" y="125"/>
                      <a:pt x="308"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5" name="Rectangle 3027">
                <a:extLst>
                  <a:ext uri="{FF2B5EF4-FFF2-40B4-BE49-F238E27FC236}">
                    <a16:creationId xmlns:a16="http://schemas.microsoft.com/office/drawing/2014/main" id="{7007C404-541C-4F86-B13A-A08E0848A2A8}"/>
                  </a:ext>
                </a:extLst>
              </p:cNvPr>
              <p:cNvSpPr>
                <a:spLocks noChangeArrowheads="1"/>
              </p:cNvSpPr>
              <p:nvPr/>
            </p:nvSpPr>
            <p:spPr bwMode="auto">
              <a:xfrm>
                <a:off x="781" y="196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6" name="Freeform 3028">
                <a:extLst>
                  <a:ext uri="{FF2B5EF4-FFF2-40B4-BE49-F238E27FC236}">
                    <a16:creationId xmlns:a16="http://schemas.microsoft.com/office/drawing/2014/main" id="{000C5F86-799A-4648-ABDE-6FA514C7FBC9}"/>
                  </a:ext>
                </a:extLst>
              </p:cNvPr>
              <p:cNvSpPr>
                <a:spLocks/>
              </p:cNvSpPr>
              <p:nvPr/>
            </p:nvSpPr>
            <p:spPr bwMode="auto">
              <a:xfrm>
                <a:off x="3778" y="1946"/>
                <a:ext cx="376" cy="350"/>
              </a:xfrm>
              <a:custGeom>
                <a:avLst/>
                <a:gdLst>
                  <a:gd name="T0" fmla="*/ 20 w 159"/>
                  <a:gd name="T1" fmla="*/ 10 h 148"/>
                  <a:gd name="T2" fmla="*/ 15 w 159"/>
                  <a:gd name="T3" fmla="*/ 12 h 148"/>
                  <a:gd name="T4" fmla="*/ 14 w 159"/>
                  <a:gd name="T5" fmla="*/ 13 h 148"/>
                  <a:gd name="T6" fmla="*/ 12 w 159"/>
                  <a:gd name="T7" fmla="*/ 15 h 148"/>
                  <a:gd name="T8" fmla="*/ 9 w 159"/>
                  <a:gd name="T9" fmla="*/ 17 h 148"/>
                  <a:gd name="T10" fmla="*/ 8 w 159"/>
                  <a:gd name="T11" fmla="*/ 21 h 148"/>
                  <a:gd name="T12" fmla="*/ 9 w 159"/>
                  <a:gd name="T13" fmla="*/ 24 h 148"/>
                  <a:gd name="T14" fmla="*/ 7 w 159"/>
                  <a:gd name="T15" fmla="*/ 29 h 148"/>
                  <a:gd name="T16" fmla="*/ 6 w 159"/>
                  <a:gd name="T17" fmla="*/ 31 h 148"/>
                  <a:gd name="T18" fmla="*/ 2 w 159"/>
                  <a:gd name="T19" fmla="*/ 34 h 148"/>
                  <a:gd name="T20" fmla="*/ 0 w 159"/>
                  <a:gd name="T21" fmla="*/ 34 h 148"/>
                  <a:gd name="T22" fmla="*/ 2 w 159"/>
                  <a:gd name="T23" fmla="*/ 39 h 148"/>
                  <a:gd name="T24" fmla="*/ 5 w 159"/>
                  <a:gd name="T25" fmla="*/ 50 h 148"/>
                  <a:gd name="T26" fmla="*/ 5 w 159"/>
                  <a:gd name="T27" fmla="*/ 57 h 148"/>
                  <a:gd name="T28" fmla="*/ 5 w 159"/>
                  <a:gd name="T29" fmla="*/ 63 h 148"/>
                  <a:gd name="T30" fmla="*/ 4 w 159"/>
                  <a:gd name="T31" fmla="*/ 66 h 148"/>
                  <a:gd name="T32" fmla="*/ 4 w 159"/>
                  <a:gd name="T33" fmla="*/ 68 h 148"/>
                  <a:gd name="T34" fmla="*/ 5 w 159"/>
                  <a:gd name="T35" fmla="*/ 73 h 148"/>
                  <a:gd name="T36" fmla="*/ 3 w 159"/>
                  <a:gd name="T37" fmla="*/ 76 h 148"/>
                  <a:gd name="T38" fmla="*/ 1 w 159"/>
                  <a:gd name="T39" fmla="*/ 77 h 148"/>
                  <a:gd name="T40" fmla="*/ 0 w 159"/>
                  <a:gd name="T41" fmla="*/ 78 h 148"/>
                  <a:gd name="T42" fmla="*/ 3 w 159"/>
                  <a:gd name="T43" fmla="*/ 82 h 148"/>
                  <a:gd name="T44" fmla="*/ 4 w 159"/>
                  <a:gd name="T45" fmla="*/ 83 h 148"/>
                  <a:gd name="T46" fmla="*/ 6 w 159"/>
                  <a:gd name="T47" fmla="*/ 89 h 148"/>
                  <a:gd name="T48" fmla="*/ 7 w 159"/>
                  <a:gd name="T49" fmla="*/ 92 h 148"/>
                  <a:gd name="T50" fmla="*/ 9 w 159"/>
                  <a:gd name="T51" fmla="*/ 94 h 148"/>
                  <a:gd name="T52" fmla="*/ 10 w 159"/>
                  <a:gd name="T53" fmla="*/ 95 h 148"/>
                  <a:gd name="T54" fmla="*/ 13 w 159"/>
                  <a:gd name="T55" fmla="*/ 94 h 148"/>
                  <a:gd name="T56" fmla="*/ 17 w 159"/>
                  <a:gd name="T57" fmla="*/ 96 h 148"/>
                  <a:gd name="T58" fmla="*/ 23 w 159"/>
                  <a:gd name="T59" fmla="*/ 99 h 148"/>
                  <a:gd name="T60" fmla="*/ 24 w 159"/>
                  <a:gd name="T61" fmla="*/ 103 h 148"/>
                  <a:gd name="T62" fmla="*/ 30 w 159"/>
                  <a:gd name="T63" fmla="*/ 105 h 148"/>
                  <a:gd name="T64" fmla="*/ 44 w 159"/>
                  <a:gd name="T65" fmla="*/ 111 h 148"/>
                  <a:gd name="T66" fmla="*/ 47 w 159"/>
                  <a:gd name="T67" fmla="*/ 114 h 148"/>
                  <a:gd name="T68" fmla="*/ 49 w 159"/>
                  <a:gd name="T69" fmla="*/ 115 h 148"/>
                  <a:gd name="T70" fmla="*/ 65 w 159"/>
                  <a:gd name="T71" fmla="*/ 107 h 148"/>
                  <a:gd name="T72" fmla="*/ 72 w 159"/>
                  <a:gd name="T73" fmla="*/ 109 h 148"/>
                  <a:gd name="T74" fmla="*/ 114 w 159"/>
                  <a:gd name="T75" fmla="*/ 130 h 148"/>
                  <a:gd name="T76" fmla="*/ 147 w 159"/>
                  <a:gd name="T77" fmla="*/ 145 h 148"/>
                  <a:gd name="T78" fmla="*/ 147 w 159"/>
                  <a:gd name="T79" fmla="*/ 145 h 148"/>
                  <a:gd name="T80" fmla="*/ 147 w 159"/>
                  <a:gd name="T81" fmla="*/ 144 h 148"/>
                  <a:gd name="T82" fmla="*/ 150 w 159"/>
                  <a:gd name="T83" fmla="*/ 143 h 148"/>
                  <a:gd name="T84" fmla="*/ 156 w 159"/>
                  <a:gd name="T85" fmla="*/ 143 h 148"/>
                  <a:gd name="T86" fmla="*/ 157 w 159"/>
                  <a:gd name="T87" fmla="*/ 128 h 148"/>
                  <a:gd name="T88" fmla="*/ 156 w 159"/>
                  <a:gd name="T89" fmla="*/ 122 h 148"/>
                  <a:gd name="T90" fmla="*/ 157 w 159"/>
                  <a:gd name="T91" fmla="*/ 50 h 148"/>
                  <a:gd name="T92" fmla="*/ 155 w 159"/>
                  <a:gd name="T93" fmla="*/ 38 h 148"/>
                  <a:gd name="T94" fmla="*/ 154 w 159"/>
                  <a:gd name="T95" fmla="*/ 34 h 148"/>
                  <a:gd name="T96" fmla="*/ 156 w 159"/>
                  <a:gd name="T97" fmla="*/ 29 h 148"/>
                  <a:gd name="T98" fmla="*/ 156 w 159"/>
                  <a:gd name="T99" fmla="*/ 23 h 148"/>
                  <a:gd name="T100" fmla="*/ 158 w 159"/>
                  <a:gd name="T101" fmla="*/ 17 h 148"/>
                  <a:gd name="T102" fmla="*/ 159 w 159"/>
                  <a:gd name="T103" fmla="*/ 16 h 148"/>
                  <a:gd name="T104" fmla="*/ 154 w 159"/>
                  <a:gd name="T105" fmla="*/ 13 h 148"/>
                  <a:gd name="T106" fmla="*/ 139 w 159"/>
                  <a:gd name="T107" fmla="*/ 9 h 148"/>
                  <a:gd name="T108" fmla="*/ 131 w 159"/>
                  <a:gd name="T109" fmla="*/ 4 h 148"/>
                  <a:gd name="T110" fmla="*/ 113 w 159"/>
                  <a:gd name="T111" fmla="*/ 7 h 148"/>
                  <a:gd name="T112" fmla="*/ 107 w 159"/>
                  <a:gd name="T113" fmla="*/ 20 h 148"/>
                  <a:gd name="T114" fmla="*/ 101 w 159"/>
                  <a:gd name="T115" fmla="*/ 32 h 148"/>
                  <a:gd name="T116" fmla="*/ 86 w 159"/>
                  <a:gd name="T117" fmla="*/ 26 h 148"/>
                  <a:gd name="T118" fmla="*/ 61 w 159"/>
                  <a:gd name="T119" fmla="*/ 17 h 148"/>
                  <a:gd name="T120" fmla="*/ 55 w 159"/>
                  <a:gd name="T121" fmla="*/ 8 h 148"/>
                  <a:gd name="T122" fmla="*/ 30 w 159"/>
                  <a:gd name="T123" fmla="*/ 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48">
                    <a:moveTo>
                      <a:pt x="22" y="1"/>
                    </a:moveTo>
                    <a:cubicBezTo>
                      <a:pt x="22" y="8"/>
                      <a:pt x="22" y="8"/>
                      <a:pt x="22" y="8"/>
                    </a:cubicBezTo>
                    <a:cubicBezTo>
                      <a:pt x="22" y="9"/>
                      <a:pt x="21" y="10"/>
                      <a:pt x="20" y="10"/>
                    </a:cubicBezTo>
                    <a:cubicBezTo>
                      <a:pt x="19" y="11"/>
                      <a:pt x="19" y="11"/>
                      <a:pt x="18" y="11"/>
                    </a:cubicBezTo>
                    <a:cubicBezTo>
                      <a:pt x="17" y="12"/>
                      <a:pt x="17" y="12"/>
                      <a:pt x="17" y="12"/>
                    </a:cubicBezTo>
                    <a:cubicBezTo>
                      <a:pt x="16" y="12"/>
                      <a:pt x="16" y="12"/>
                      <a:pt x="15" y="12"/>
                    </a:cubicBezTo>
                    <a:cubicBezTo>
                      <a:pt x="15" y="12"/>
                      <a:pt x="15" y="12"/>
                      <a:pt x="15" y="12"/>
                    </a:cubicBezTo>
                    <a:cubicBezTo>
                      <a:pt x="15" y="12"/>
                      <a:pt x="15" y="13"/>
                      <a:pt x="15" y="13"/>
                    </a:cubicBezTo>
                    <a:cubicBezTo>
                      <a:pt x="15" y="13"/>
                      <a:pt x="15" y="13"/>
                      <a:pt x="14" y="13"/>
                    </a:cubicBezTo>
                    <a:cubicBezTo>
                      <a:pt x="14" y="13"/>
                      <a:pt x="14" y="14"/>
                      <a:pt x="13" y="14"/>
                    </a:cubicBezTo>
                    <a:cubicBezTo>
                      <a:pt x="13" y="15"/>
                      <a:pt x="12" y="15"/>
                      <a:pt x="12" y="15"/>
                    </a:cubicBezTo>
                    <a:cubicBezTo>
                      <a:pt x="12" y="15"/>
                      <a:pt x="12" y="15"/>
                      <a:pt x="12" y="15"/>
                    </a:cubicBezTo>
                    <a:cubicBezTo>
                      <a:pt x="12" y="15"/>
                      <a:pt x="12" y="15"/>
                      <a:pt x="12" y="15"/>
                    </a:cubicBezTo>
                    <a:cubicBezTo>
                      <a:pt x="11" y="16"/>
                      <a:pt x="11" y="16"/>
                      <a:pt x="10" y="17"/>
                    </a:cubicBezTo>
                    <a:cubicBezTo>
                      <a:pt x="10" y="17"/>
                      <a:pt x="10" y="17"/>
                      <a:pt x="9" y="17"/>
                    </a:cubicBezTo>
                    <a:cubicBezTo>
                      <a:pt x="9" y="17"/>
                      <a:pt x="9" y="17"/>
                      <a:pt x="9" y="17"/>
                    </a:cubicBezTo>
                    <a:cubicBezTo>
                      <a:pt x="9" y="17"/>
                      <a:pt x="9" y="17"/>
                      <a:pt x="9" y="17"/>
                    </a:cubicBezTo>
                    <a:cubicBezTo>
                      <a:pt x="9" y="18"/>
                      <a:pt x="8" y="20"/>
                      <a:pt x="8" y="21"/>
                    </a:cubicBezTo>
                    <a:cubicBezTo>
                      <a:pt x="8" y="22"/>
                      <a:pt x="9" y="22"/>
                      <a:pt x="9" y="23"/>
                    </a:cubicBezTo>
                    <a:cubicBezTo>
                      <a:pt x="9" y="23"/>
                      <a:pt x="9" y="23"/>
                      <a:pt x="9" y="23"/>
                    </a:cubicBezTo>
                    <a:cubicBezTo>
                      <a:pt x="9" y="23"/>
                      <a:pt x="9" y="24"/>
                      <a:pt x="9" y="24"/>
                    </a:cubicBezTo>
                    <a:cubicBezTo>
                      <a:pt x="9" y="26"/>
                      <a:pt x="9" y="28"/>
                      <a:pt x="8" y="29"/>
                    </a:cubicBezTo>
                    <a:cubicBezTo>
                      <a:pt x="10" y="30"/>
                      <a:pt x="10" y="30"/>
                      <a:pt x="10" y="30"/>
                    </a:cubicBezTo>
                    <a:cubicBezTo>
                      <a:pt x="7" y="29"/>
                      <a:pt x="7" y="29"/>
                      <a:pt x="7" y="29"/>
                    </a:cubicBezTo>
                    <a:cubicBezTo>
                      <a:pt x="7" y="29"/>
                      <a:pt x="7" y="29"/>
                      <a:pt x="7" y="29"/>
                    </a:cubicBezTo>
                    <a:cubicBezTo>
                      <a:pt x="7" y="30"/>
                      <a:pt x="7" y="30"/>
                      <a:pt x="6" y="30"/>
                    </a:cubicBezTo>
                    <a:cubicBezTo>
                      <a:pt x="6" y="31"/>
                      <a:pt x="6" y="31"/>
                      <a:pt x="6" y="31"/>
                    </a:cubicBezTo>
                    <a:cubicBezTo>
                      <a:pt x="6" y="31"/>
                      <a:pt x="6" y="31"/>
                      <a:pt x="6" y="32"/>
                    </a:cubicBezTo>
                    <a:cubicBezTo>
                      <a:pt x="5" y="33"/>
                      <a:pt x="4" y="33"/>
                      <a:pt x="3" y="34"/>
                    </a:cubicBezTo>
                    <a:cubicBezTo>
                      <a:pt x="2" y="34"/>
                      <a:pt x="2" y="34"/>
                      <a:pt x="2" y="34"/>
                    </a:cubicBezTo>
                    <a:cubicBezTo>
                      <a:pt x="1" y="34"/>
                      <a:pt x="1" y="34"/>
                      <a:pt x="1" y="34"/>
                    </a:cubicBezTo>
                    <a:cubicBezTo>
                      <a:pt x="0" y="34"/>
                      <a:pt x="0" y="34"/>
                      <a:pt x="0" y="34"/>
                    </a:cubicBezTo>
                    <a:cubicBezTo>
                      <a:pt x="0" y="34"/>
                      <a:pt x="0" y="34"/>
                      <a:pt x="0" y="34"/>
                    </a:cubicBezTo>
                    <a:cubicBezTo>
                      <a:pt x="0" y="35"/>
                      <a:pt x="0" y="35"/>
                      <a:pt x="0" y="35"/>
                    </a:cubicBezTo>
                    <a:cubicBezTo>
                      <a:pt x="0" y="35"/>
                      <a:pt x="0" y="35"/>
                      <a:pt x="0" y="35"/>
                    </a:cubicBezTo>
                    <a:cubicBezTo>
                      <a:pt x="0" y="36"/>
                      <a:pt x="1" y="38"/>
                      <a:pt x="2" y="39"/>
                    </a:cubicBezTo>
                    <a:cubicBezTo>
                      <a:pt x="2" y="39"/>
                      <a:pt x="3" y="40"/>
                      <a:pt x="3" y="40"/>
                    </a:cubicBezTo>
                    <a:cubicBezTo>
                      <a:pt x="4" y="42"/>
                      <a:pt x="5" y="45"/>
                      <a:pt x="5" y="49"/>
                    </a:cubicBezTo>
                    <a:cubicBezTo>
                      <a:pt x="5" y="49"/>
                      <a:pt x="5" y="50"/>
                      <a:pt x="5" y="50"/>
                    </a:cubicBezTo>
                    <a:cubicBezTo>
                      <a:pt x="5" y="51"/>
                      <a:pt x="5" y="51"/>
                      <a:pt x="5" y="51"/>
                    </a:cubicBezTo>
                    <a:cubicBezTo>
                      <a:pt x="4" y="52"/>
                      <a:pt x="4" y="54"/>
                      <a:pt x="4" y="55"/>
                    </a:cubicBezTo>
                    <a:cubicBezTo>
                      <a:pt x="5" y="56"/>
                      <a:pt x="5" y="56"/>
                      <a:pt x="5" y="57"/>
                    </a:cubicBezTo>
                    <a:cubicBezTo>
                      <a:pt x="5" y="58"/>
                      <a:pt x="5" y="58"/>
                      <a:pt x="5" y="58"/>
                    </a:cubicBezTo>
                    <a:cubicBezTo>
                      <a:pt x="6" y="60"/>
                      <a:pt x="5" y="61"/>
                      <a:pt x="5" y="62"/>
                    </a:cubicBezTo>
                    <a:cubicBezTo>
                      <a:pt x="5" y="63"/>
                      <a:pt x="5" y="63"/>
                      <a:pt x="5" y="63"/>
                    </a:cubicBezTo>
                    <a:cubicBezTo>
                      <a:pt x="4" y="63"/>
                      <a:pt x="4" y="63"/>
                      <a:pt x="4" y="63"/>
                    </a:cubicBezTo>
                    <a:cubicBezTo>
                      <a:pt x="4" y="64"/>
                      <a:pt x="4" y="64"/>
                      <a:pt x="4" y="64"/>
                    </a:cubicBezTo>
                    <a:cubicBezTo>
                      <a:pt x="4" y="64"/>
                      <a:pt x="4" y="65"/>
                      <a:pt x="4" y="66"/>
                    </a:cubicBezTo>
                    <a:cubicBezTo>
                      <a:pt x="4" y="66"/>
                      <a:pt x="4" y="66"/>
                      <a:pt x="4" y="66"/>
                    </a:cubicBezTo>
                    <a:cubicBezTo>
                      <a:pt x="4" y="67"/>
                      <a:pt x="4" y="67"/>
                      <a:pt x="4" y="67"/>
                    </a:cubicBezTo>
                    <a:cubicBezTo>
                      <a:pt x="4" y="68"/>
                      <a:pt x="4" y="68"/>
                      <a:pt x="4" y="68"/>
                    </a:cubicBezTo>
                    <a:cubicBezTo>
                      <a:pt x="4" y="69"/>
                      <a:pt x="4" y="69"/>
                      <a:pt x="4" y="69"/>
                    </a:cubicBezTo>
                    <a:cubicBezTo>
                      <a:pt x="5" y="70"/>
                      <a:pt x="5" y="71"/>
                      <a:pt x="5" y="72"/>
                    </a:cubicBezTo>
                    <a:cubicBezTo>
                      <a:pt x="5" y="73"/>
                      <a:pt x="5" y="73"/>
                      <a:pt x="5" y="73"/>
                    </a:cubicBezTo>
                    <a:cubicBezTo>
                      <a:pt x="5" y="74"/>
                      <a:pt x="5" y="75"/>
                      <a:pt x="4" y="76"/>
                    </a:cubicBezTo>
                    <a:cubicBezTo>
                      <a:pt x="3" y="76"/>
                      <a:pt x="3" y="76"/>
                      <a:pt x="3" y="76"/>
                    </a:cubicBezTo>
                    <a:cubicBezTo>
                      <a:pt x="3" y="76"/>
                      <a:pt x="3" y="76"/>
                      <a:pt x="3" y="76"/>
                    </a:cubicBezTo>
                    <a:cubicBezTo>
                      <a:pt x="3" y="76"/>
                      <a:pt x="3" y="76"/>
                      <a:pt x="3" y="76"/>
                    </a:cubicBezTo>
                    <a:cubicBezTo>
                      <a:pt x="2" y="76"/>
                      <a:pt x="2" y="76"/>
                      <a:pt x="2" y="76"/>
                    </a:cubicBezTo>
                    <a:cubicBezTo>
                      <a:pt x="2" y="76"/>
                      <a:pt x="2" y="77"/>
                      <a:pt x="1" y="77"/>
                    </a:cubicBezTo>
                    <a:cubicBezTo>
                      <a:pt x="1" y="78"/>
                      <a:pt x="0" y="78"/>
                      <a:pt x="0" y="78"/>
                    </a:cubicBezTo>
                    <a:cubicBezTo>
                      <a:pt x="0" y="78"/>
                      <a:pt x="0" y="78"/>
                      <a:pt x="0" y="78"/>
                    </a:cubicBezTo>
                    <a:cubicBezTo>
                      <a:pt x="0" y="78"/>
                      <a:pt x="0" y="78"/>
                      <a:pt x="0" y="78"/>
                    </a:cubicBezTo>
                    <a:cubicBezTo>
                      <a:pt x="0" y="78"/>
                      <a:pt x="1" y="79"/>
                      <a:pt x="2" y="81"/>
                    </a:cubicBezTo>
                    <a:cubicBezTo>
                      <a:pt x="3" y="81"/>
                      <a:pt x="3" y="81"/>
                      <a:pt x="3" y="81"/>
                    </a:cubicBezTo>
                    <a:cubicBezTo>
                      <a:pt x="3" y="81"/>
                      <a:pt x="3" y="82"/>
                      <a:pt x="3" y="82"/>
                    </a:cubicBezTo>
                    <a:cubicBezTo>
                      <a:pt x="3" y="82"/>
                      <a:pt x="3" y="82"/>
                      <a:pt x="3" y="82"/>
                    </a:cubicBezTo>
                    <a:cubicBezTo>
                      <a:pt x="4" y="82"/>
                      <a:pt x="4" y="83"/>
                      <a:pt x="4" y="83"/>
                    </a:cubicBezTo>
                    <a:cubicBezTo>
                      <a:pt x="4" y="83"/>
                      <a:pt x="4" y="83"/>
                      <a:pt x="4" y="83"/>
                    </a:cubicBezTo>
                    <a:cubicBezTo>
                      <a:pt x="4" y="83"/>
                      <a:pt x="5" y="84"/>
                      <a:pt x="5" y="84"/>
                    </a:cubicBezTo>
                    <a:cubicBezTo>
                      <a:pt x="6" y="86"/>
                      <a:pt x="6" y="88"/>
                      <a:pt x="6" y="89"/>
                    </a:cubicBezTo>
                    <a:cubicBezTo>
                      <a:pt x="6" y="89"/>
                      <a:pt x="6" y="89"/>
                      <a:pt x="6" y="89"/>
                    </a:cubicBezTo>
                    <a:cubicBezTo>
                      <a:pt x="7" y="90"/>
                      <a:pt x="7" y="91"/>
                      <a:pt x="7" y="91"/>
                    </a:cubicBezTo>
                    <a:cubicBezTo>
                      <a:pt x="7" y="92"/>
                      <a:pt x="7" y="92"/>
                      <a:pt x="7" y="92"/>
                    </a:cubicBezTo>
                    <a:cubicBezTo>
                      <a:pt x="7" y="92"/>
                      <a:pt x="7" y="92"/>
                      <a:pt x="7" y="92"/>
                    </a:cubicBezTo>
                    <a:cubicBezTo>
                      <a:pt x="8" y="93"/>
                      <a:pt x="8" y="94"/>
                      <a:pt x="9" y="94"/>
                    </a:cubicBezTo>
                    <a:cubicBezTo>
                      <a:pt x="9" y="94"/>
                      <a:pt x="9" y="94"/>
                      <a:pt x="9" y="94"/>
                    </a:cubicBezTo>
                    <a:cubicBezTo>
                      <a:pt x="9" y="94"/>
                      <a:pt x="9" y="94"/>
                      <a:pt x="9" y="94"/>
                    </a:cubicBezTo>
                    <a:cubicBezTo>
                      <a:pt x="9" y="95"/>
                      <a:pt x="9" y="95"/>
                      <a:pt x="10" y="95"/>
                    </a:cubicBezTo>
                    <a:cubicBezTo>
                      <a:pt x="10" y="95"/>
                      <a:pt x="10" y="95"/>
                      <a:pt x="10" y="95"/>
                    </a:cubicBezTo>
                    <a:cubicBezTo>
                      <a:pt x="10" y="95"/>
                      <a:pt x="10" y="95"/>
                      <a:pt x="10" y="95"/>
                    </a:cubicBezTo>
                    <a:cubicBezTo>
                      <a:pt x="11" y="95"/>
                      <a:pt x="11" y="95"/>
                      <a:pt x="12" y="94"/>
                    </a:cubicBezTo>
                    <a:cubicBezTo>
                      <a:pt x="12" y="93"/>
                      <a:pt x="12" y="93"/>
                      <a:pt x="12" y="93"/>
                    </a:cubicBezTo>
                    <a:cubicBezTo>
                      <a:pt x="13" y="94"/>
                      <a:pt x="13" y="94"/>
                      <a:pt x="13" y="94"/>
                    </a:cubicBezTo>
                    <a:cubicBezTo>
                      <a:pt x="13" y="94"/>
                      <a:pt x="13" y="94"/>
                      <a:pt x="13" y="94"/>
                    </a:cubicBezTo>
                    <a:cubicBezTo>
                      <a:pt x="13" y="94"/>
                      <a:pt x="14" y="95"/>
                      <a:pt x="15" y="95"/>
                    </a:cubicBezTo>
                    <a:cubicBezTo>
                      <a:pt x="16" y="95"/>
                      <a:pt x="17" y="96"/>
                      <a:pt x="17" y="96"/>
                    </a:cubicBezTo>
                    <a:cubicBezTo>
                      <a:pt x="19" y="96"/>
                      <a:pt x="19" y="96"/>
                      <a:pt x="19" y="96"/>
                    </a:cubicBezTo>
                    <a:cubicBezTo>
                      <a:pt x="21" y="97"/>
                      <a:pt x="22" y="98"/>
                      <a:pt x="23" y="99"/>
                    </a:cubicBezTo>
                    <a:cubicBezTo>
                      <a:pt x="23" y="99"/>
                      <a:pt x="23" y="99"/>
                      <a:pt x="23" y="99"/>
                    </a:cubicBezTo>
                    <a:cubicBezTo>
                      <a:pt x="23" y="100"/>
                      <a:pt x="23" y="100"/>
                      <a:pt x="23" y="100"/>
                    </a:cubicBezTo>
                    <a:cubicBezTo>
                      <a:pt x="24" y="101"/>
                      <a:pt x="24" y="101"/>
                      <a:pt x="24" y="102"/>
                    </a:cubicBezTo>
                    <a:cubicBezTo>
                      <a:pt x="24" y="103"/>
                      <a:pt x="24" y="103"/>
                      <a:pt x="24" y="103"/>
                    </a:cubicBezTo>
                    <a:cubicBezTo>
                      <a:pt x="25" y="104"/>
                      <a:pt x="25" y="105"/>
                      <a:pt x="26" y="105"/>
                    </a:cubicBezTo>
                    <a:cubicBezTo>
                      <a:pt x="26" y="105"/>
                      <a:pt x="26" y="105"/>
                      <a:pt x="26" y="105"/>
                    </a:cubicBezTo>
                    <a:cubicBezTo>
                      <a:pt x="30" y="105"/>
                      <a:pt x="30" y="105"/>
                      <a:pt x="30" y="105"/>
                    </a:cubicBezTo>
                    <a:cubicBezTo>
                      <a:pt x="29" y="106"/>
                      <a:pt x="29" y="106"/>
                      <a:pt x="29" y="106"/>
                    </a:cubicBezTo>
                    <a:cubicBezTo>
                      <a:pt x="40" y="109"/>
                      <a:pt x="40" y="109"/>
                      <a:pt x="40" y="109"/>
                    </a:cubicBezTo>
                    <a:cubicBezTo>
                      <a:pt x="42" y="109"/>
                      <a:pt x="43" y="110"/>
                      <a:pt x="44" y="111"/>
                    </a:cubicBezTo>
                    <a:cubicBezTo>
                      <a:pt x="46" y="113"/>
                      <a:pt x="46" y="113"/>
                      <a:pt x="46" y="113"/>
                    </a:cubicBezTo>
                    <a:cubicBezTo>
                      <a:pt x="46" y="113"/>
                      <a:pt x="46" y="113"/>
                      <a:pt x="47" y="113"/>
                    </a:cubicBezTo>
                    <a:cubicBezTo>
                      <a:pt x="47" y="114"/>
                      <a:pt x="47" y="114"/>
                      <a:pt x="47" y="114"/>
                    </a:cubicBezTo>
                    <a:cubicBezTo>
                      <a:pt x="47" y="114"/>
                      <a:pt x="48" y="114"/>
                      <a:pt x="48" y="115"/>
                    </a:cubicBezTo>
                    <a:cubicBezTo>
                      <a:pt x="48" y="115"/>
                      <a:pt x="48" y="115"/>
                      <a:pt x="48" y="115"/>
                    </a:cubicBezTo>
                    <a:cubicBezTo>
                      <a:pt x="48" y="115"/>
                      <a:pt x="49" y="115"/>
                      <a:pt x="49" y="115"/>
                    </a:cubicBezTo>
                    <a:cubicBezTo>
                      <a:pt x="49" y="115"/>
                      <a:pt x="50" y="114"/>
                      <a:pt x="50" y="114"/>
                    </a:cubicBezTo>
                    <a:cubicBezTo>
                      <a:pt x="64" y="107"/>
                      <a:pt x="64" y="107"/>
                      <a:pt x="64" y="107"/>
                    </a:cubicBezTo>
                    <a:cubicBezTo>
                      <a:pt x="65" y="107"/>
                      <a:pt x="65" y="107"/>
                      <a:pt x="65" y="107"/>
                    </a:cubicBezTo>
                    <a:cubicBezTo>
                      <a:pt x="66" y="106"/>
                      <a:pt x="66" y="106"/>
                      <a:pt x="67" y="107"/>
                    </a:cubicBezTo>
                    <a:cubicBezTo>
                      <a:pt x="68" y="107"/>
                      <a:pt x="68" y="107"/>
                      <a:pt x="69" y="107"/>
                    </a:cubicBezTo>
                    <a:cubicBezTo>
                      <a:pt x="72" y="109"/>
                      <a:pt x="72" y="109"/>
                      <a:pt x="72" y="109"/>
                    </a:cubicBezTo>
                    <a:cubicBezTo>
                      <a:pt x="75" y="110"/>
                      <a:pt x="79" y="112"/>
                      <a:pt x="82" y="114"/>
                    </a:cubicBezTo>
                    <a:cubicBezTo>
                      <a:pt x="86" y="116"/>
                      <a:pt x="86" y="116"/>
                      <a:pt x="86" y="116"/>
                    </a:cubicBezTo>
                    <a:cubicBezTo>
                      <a:pt x="96" y="121"/>
                      <a:pt x="106" y="126"/>
                      <a:pt x="114" y="130"/>
                    </a:cubicBezTo>
                    <a:cubicBezTo>
                      <a:pt x="147" y="148"/>
                      <a:pt x="147" y="148"/>
                      <a:pt x="147" y="148"/>
                    </a:cubicBezTo>
                    <a:cubicBezTo>
                      <a:pt x="147" y="147"/>
                      <a:pt x="147" y="147"/>
                      <a:pt x="147" y="147"/>
                    </a:cubicBezTo>
                    <a:cubicBezTo>
                      <a:pt x="147" y="145"/>
                      <a:pt x="147" y="145"/>
                      <a:pt x="147" y="145"/>
                    </a:cubicBezTo>
                    <a:cubicBezTo>
                      <a:pt x="147" y="145"/>
                      <a:pt x="147" y="145"/>
                      <a:pt x="147" y="145"/>
                    </a:cubicBezTo>
                    <a:cubicBezTo>
                      <a:pt x="147" y="145"/>
                      <a:pt x="147" y="145"/>
                      <a:pt x="147" y="145"/>
                    </a:cubicBezTo>
                    <a:cubicBezTo>
                      <a:pt x="147" y="145"/>
                      <a:pt x="147" y="145"/>
                      <a:pt x="147" y="145"/>
                    </a:cubicBezTo>
                    <a:cubicBezTo>
                      <a:pt x="147" y="145"/>
                      <a:pt x="147" y="144"/>
                      <a:pt x="147" y="144"/>
                    </a:cubicBezTo>
                    <a:cubicBezTo>
                      <a:pt x="147" y="144"/>
                      <a:pt x="147" y="144"/>
                      <a:pt x="147" y="144"/>
                    </a:cubicBezTo>
                    <a:cubicBezTo>
                      <a:pt x="147" y="144"/>
                      <a:pt x="147" y="144"/>
                      <a:pt x="147" y="144"/>
                    </a:cubicBezTo>
                    <a:cubicBezTo>
                      <a:pt x="148" y="144"/>
                      <a:pt x="148" y="144"/>
                      <a:pt x="148" y="144"/>
                    </a:cubicBezTo>
                    <a:cubicBezTo>
                      <a:pt x="148" y="144"/>
                      <a:pt x="148" y="144"/>
                      <a:pt x="148" y="144"/>
                    </a:cubicBezTo>
                    <a:cubicBezTo>
                      <a:pt x="148" y="143"/>
                      <a:pt x="149" y="143"/>
                      <a:pt x="150" y="143"/>
                    </a:cubicBezTo>
                    <a:cubicBezTo>
                      <a:pt x="150" y="143"/>
                      <a:pt x="151" y="143"/>
                      <a:pt x="152" y="143"/>
                    </a:cubicBezTo>
                    <a:cubicBezTo>
                      <a:pt x="153" y="143"/>
                      <a:pt x="153" y="143"/>
                      <a:pt x="154" y="143"/>
                    </a:cubicBezTo>
                    <a:cubicBezTo>
                      <a:pt x="155" y="143"/>
                      <a:pt x="155" y="143"/>
                      <a:pt x="156" y="143"/>
                    </a:cubicBezTo>
                    <a:cubicBezTo>
                      <a:pt x="156" y="143"/>
                      <a:pt x="156" y="143"/>
                      <a:pt x="156" y="143"/>
                    </a:cubicBezTo>
                    <a:cubicBezTo>
                      <a:pt x="156" y="143"/>
                      <a:pt x="157" y="143"/>
                      <a:pt x="157" y="143"/>
                    </a:cubicBezTo>
                    <a:cubicBezTo>
                      <a:pt x="157" y="128"/>
                      <a:pt x="157" y="128"/>
                      <a:pt x="157" y="128"/>
                    </a:cubicBezTo>
                    <a:cubicBezTo>
                      <a:pt x="157" y="127"/>
                      <a:pt x="157" y="125"/>
                      <a:pt x="157" y="124"/>
                    </a:cubicBezTo>
                    <a:cubicBezTo>
                      <a:pt x="157" y="123"/>
                      <a:pt x="157" y="123"/>
                      <a:pt x="157" y="123"/>
                    </a:cubicBezTo>
                    <a:cubicBezTo>
                      <a:pt x="156" y="122"/>
                      <a:pt x="156" y="122"/>
                      <a:pt x="156" y="122"/>
                    </a:cubicBezTo>
                    <a:cubicBezTo>
                      <a:pt x="157" y="122"/>
                      <a:pt x="157" y="122"/>
                      <a:pt x="157" y="122"/>
                    </a:cubicBezTo>
                    <a:cubicBezTo>
                      <a:pt x="157" y="61"/>
                      <a:pt x="157" y="61"/>
                      <a:pt x="157" y="61"/>
                    </a:cubicBezTo>
                    <a:cubicBezTo>
                      <a:pt x="157" y="57"/>
                      <a:pt x="157" y="54"/>
                      <a:pt x="157" y="50"/>
                    </a:cubicBezTo>
                    <a:cubicBezTo>
                      <a:pt x="157" y="49"/>
                      <a:pt x="157" y="47"/>
                      <a:pt x="157" y="46"/>
                    </a:cubicBezTo>
                    <a:cubicBezTo>
                      <a:pt x="156" y="43"/>
                      <a:pt x="156" y="41"/>
                      <a:pt x="155" y="39"/>
                    </a:cubicBezTo>
                    <a:cubicBezTo>
                      <a:pt x="155" y="38"/>
                      <a:pt x="155" y="38"/>
                      <a:pt x="155" y="38"/>
                    </a:cubicBezTo>
                    <a:cubicBezTo>
                      <a:pt x="155" y="37"/>
                      <a:pt x="155" y="37"/>
                      <a:pt x="155" y="37"/>
                    </a:cubicBezTo>
                    <a:cubicBezTo>
                      <a:pt x="155" y="37"/>
                      <a:pt x="155" y="36"/>
                      <a:pt x="155" y="35"/>
                    </a:cubicBezTo>
                    <a:cubicBezTo>
                      <a:pt x="154" y="35"/>
                      <a:pt x="154" y="35"/>
                      <a:pt x="154" y="34"/>
                    </a:cubicBezTo>
                    <a:cubicBezTo>
                      <a:pt x="154" y="33"/>
                      <a:pt x="155" y="32"/>
                      <a:pt x="156" y="31"/>
                    </a:cubicBezTo>
                    <a:cubicBezTo>
                      <a:pt x="156" y="30"/>
                      <a:pt x="156" y="30"/>
                      <a:pt x="156" y="30"/>
                    </a:cubicBezTo>
                    <a:cubicBezTo>
                      <a:pt x="156" y="29"/>
                      <a:pt x="156" y="29"/>
                      <a:pt x="156" y="29"/>
                    </a:cubicBezTo>
                    <a:cubicBezTo>
                      <a:pt x="157" y="29"/>
                      <a:pt x="157" y="28"/>
                      <a:pt x="157" y="27"/>
                    </a:cubicBezTo>
                    <a:cubicBezTo>
                      <a:pt x="156" y="26"/>
                      <a:pt x="156" y="26"/>
                      <a:pt x="156" y="25"/>
                    </a:cubicBezTo>
                    <a:cubicBezTo>
                      <a:pt x="156" y="24"/>
                      <a:pt x="156" y="24"/>
                      <a:pt x="156" y="23"/>
                    </a:cubicBezTo>
                    <a:cubicBezTo>
                      <a:pt x="156" y="22"/>
                      <a:pt x="156" y="21"/>
                      <a:pt x="156" y="21"/>
                    </a:cubicBezTo>
                    <a:cubicBezTo>
                      <a:pt x="156" y="20"/>
                      <a:pt x="156" y="20"/>
                      <a:pt x="156" y="19"/>
                    </a:cubicBezTo>
                    <a:cubicBezTo>
                      <a:pt x="157" y="19"/>
                      <a:pt x="157" y="18"/>
                      <a:pt x="158" y="17"/>
                    </a:cubicBezTo>
                    <a:cubicBezTo>
                      <a:pt x="159" y="17"/>
                      <a:pt x="159" y="17"/>
                      <a:pt x="159" y="17"/>
                    </a:cubicBezTo>
                    <a:cubicBezTo>
                      <a:pt x="159" y="16"/>
                      <a:pt x="159" y="16"/>
                      <a:pt x="159" y="16"/>
                    </a:cubicBezTo>
                    <a:cubicBezTo>
                      <a:pt x="159" y="16"/>
                      <a:pt x="159" y="16"/>
                      <a:pt x="159" y="16"/>
                    </a:cubicBezTo>
                    <a:cubicBezTo>
                      <a:pt x="159" y="15"/>
                      <a:pt x="158" y="14"/>
                      <a:pt x="158" y="13"/>
                    </a:cubicBezTo>
                    <a:cubicBezTo>
                      <a:pt x="157" y="13"/>
                      <a:pt x="156" y="13"/>
                      <a:pt x="156" y="13"/>
                    </a:cubicBezTo>
                    <a:cubicBezTo>
                      <a:pt x="155" y="13"/>
                      <a:pt x="155" y="13"/>
                      <a:pt x="154" y="13"/>
                    </a:cubicBezTo>
                    <a:cubicBezTo>
                      <a:pt x="152" y="13"/>
                      <a:pt x="151" y="13"/>
                      <a:pt x="148" y="12"/>
                    </a:cubicBezTo>
                    <a:cubicBezTo>
                      <a:pt x="146" y="11"/>
                      <a:pt x="143" y="11"/>
                      <a:pt x="140" y="11"/>
                    </a:cubicBezTo>
                    <a:cubicBezTo>
                      <a:pt x="140" y="11"/>
                      <a:pt x="139" y="10"/>
                      <a:pt x="139" y="9"/>
                    </a:cubicBezTo>
                    <a:cubicBezTo>
                      <a:pt x="138" y="8"/>
                      <a:pt x="139" y="7"/>
                      <a:pt x="139" y="6"/>
                    </a:cubicBezTo>
                    <a:cubicBezTo>
                      <a:pt x="139" y="5"/>
                      <a:pt x="137" y="5"/>
                      <a:pt x="136" y="5"/>
                    </a:cubicBezTo>
                    <a:cubicBezTo>
                      <a:pt x="135" y="4"/>
                      <a:pt x="133" y="4"/>
                      <a:pt x="131" y="4"/>
                    </a:cubicBezTo>
                    <a:cubicBezTo>
                      <a:pt x="130" y="3"/>
                      <a:pt x="128" y="2"/>
                      <a:pt x="127" y="3"/>
                    </a:cubicBezTo>
                    <a:cubicBezTo>
                      <a:pt x="125" y="3"/>
                      <a:pt x="124" y="4"/>
                      <a:pt x="122" y="4"/>
                    </a:cubicBezTo>
                    <a:cubicBezTo>
                      <a:pt x="119" y="5"/>
                      <a:pt x="116" y="6"/>
                      <a:pt x="113" y="7"/>
                    </a:cubicBezTo>
                    <a:cubicBezTo>
                      <a:pt x="112" y="7"/>
                      <a:pt x="111" y="8"/>
                      <a:pt x="111" y="9"/>
                    </a:cubicBezTo>
                    <a:cubicBezTo>
                      <a:pt x="110" y="10"/>
                      <a:pt x="109" y="11"/>
                      <a:pt x="108" y="12"/>
                    </a:cubicBezTo>
                    <a:cubicBezTo>
                      <a:pt x="106" y="14"/>
                      <a:pt x="106" y="17"/>
                      <a:pt x="107" y="20"/>
                    </a:cubicBezTo>
                    <a:cubicBezTo>
                      <a:pt x="108" y="20"/>
                      <a:pt x="108" y="20"/>
                      <a:pt x="108" y="21"/>
                    </a:cubicBezTo>
                    <a:cubicBezTo>
                      <a:pt x="109" y="23"/>
                      <a:pt x="108" y="25"/>
                      <a:pt x="107" y="27"/>
                    </a:cubicBezTo>
                    <a:cubicBezTo>
                      <a:pt x="105" y="29"/>
                      <a:pt x="103" y="31"/>
                      <a:pt x="101" y="32"/>
                    </a:cubicBezTo>
                    <a:cubicBezTo>
                      <a:pt x="100" y="33"/>
                      <a:pt x="98" y="33"/>
                      <a:pt x="97" y="33"/>
                    </a:cubicBezTo>
                    <a:cubicBezTo>
                      <a:pt x="96" y="32"/>
                      <a:pt x="96" y="32"/>
                      <a:pt x="95" y="31"/>
                    </a:cubicBezTo>
                    <a:cubicBezTo>
                      <a:pt x="92" y="30"/>
                      <a:pt x="89" y="28"/>
                      <a:pt x="86" y="26"/>
                    </a:cubicBezTo>
                    <a:cubicBezTo>
                      <a:pt x="83" y="24"/>
                      <a:pt x="78" y="23"/>
                      <a:pt x="74" y="22"/>
                    </a:cubicBezTo>
                    <a:cubicBezTo>
                      <a:pt x="72" y="21"/>
                      <a:pt x="69" y="22"/>
                      <a:pt x="66" y="21"/>
                    </a:cubicBezTo>
                    <a:cubicBezTo>
                      <a:pt x="64" y="20"/>
                      <a:pt x="62" y="19"/>
                      <a:pt x="61" y="17"/>
                    </a:cubicBezTo>
                    <a:cubicBezTo>
                      <a:pt x="61" y="16"/>
                      <a:pt x="60" y="15"/>
                      <a:pt x="60" y="14"/>
                    </a:cubicBezTo>
                    <a:cubicBezTo>
                      <a:pt x="59" y="12"/>
                      <a:pt x="59" y="9"/>
                      <a:pt x="57" y="8"/>
                    </a:cubicBezTo>
                    <a:cubicBezTo>
                      <a:pt x="57" y="8"/>
                      <a:pt x="56" y="8"/>
                      <a:pt x="55" y="8"/>
                    </a:cubicBezTo>
                    <a:cubicBezTo>
                      <a:pt x="52" y="8"/>
                      <a:pt x="49" y="6"/>
                      <a:pt x="46" y="5"/>
                    </a:cubicBezTo>
                    <a:cubicBezTo>
                      <a:pt x="44" y="4"/>
                      <a:pt x="40" y="4"/>
                      <a:pt x="37" y="4"/>
                    </a:cubicBezTo>
                    <a:cubicBezTo>
                      <a:pt x="35" y="3"/>
                      <a:pt x="32" y="4"/>
                      <a:pt x="30" y="4"/>
                    </a:cubicBezTo>
                    <a:cubicBezTo>
                      <a:pt x="27" y="2"/>
                      <a:pt x="25" y="1"/>
                      <a:pt x="22" y="0"/>
                    </a:cubicBezTo>
                    <a:cubicBezTo>
                      <a:pt x="22" y="0"/>
                      <a:pt x="22" y="1"/>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7" name="Freeform 3029">
                <a:extLst>
                  <a:ext uri="{FF2B5EF4-FFF2-40B4-BE49-F238E27FC236}">
                    <a16:creationId xmlns:a16="http://schemas.microsoft.com/office/drawing/2014/main" id="{861EF2D4-5405-454B-B54E-C04CB24C95C2}"/>
                  </a:ext>
                </a:extLst>
              </p:cNvPr>
              <p:cNvSpPr>
                <a:spLocks/>
              </p:cNvSpPr>
              <p:nvPr/>
            </p:nvSpPr>
            <p:spPr bwMode="auto">
              <a:xfrm>
                <a:off x="3734" y="1830"/>
                <a:ext cx="89" cy="189"/>
              </a:xfrm>
              <a:custGeom>
                <a:avLst/>
                <a:gdLst>
                  <a:gd name="T0" fmla="*/ 11 w 38"/>
                  <a:gd name="T1" fmla="*/ 6 h 80"/>
                  <a:gd name="T2" fmla="*/ 8 w 38"/>
                  <a:gd name="T3" fmla="*/ 14 h 80"/>
                  <a:gd name="T4" fmla="*/ 8 w 38"/>
                  <a:gd name="T5" fmla="*/ 20 h 80"/>
                  <a:gd name="T6" fmla="*/ 9 w 38"/>
                  <a:gd name="T7" fmla="*/ 22 h 80"/>
                  <a:gd name="T8" fmla="*/ 9 w 38"/>
                  <a:gd name="T9" fmla="*/ 23 h 80"/>
                  <a:gd name="T10" fmla="*/ 7 w 38"/>
                  <a:gd name="T11" fmla="*/ 32 h 80"/>
                  <a:gd name="T12" fmla="*/ 1 w 38"/>
                  <a:gd name="T13" fmla="*/ 38 h 80"/>
                  <a:gd name="T14" fmla="*/ 0 w 38"/>
                  <a:gd name="T15" fmla="*/ 40 h 80"/>
                  <a:gd name="T16" fmla="*/ 4 w 38"/>
                  <a:gd name="T17" fmla="*/ 48 h 80"/>
                  <a:gd name="T18" fmla="*/ 7 w 38"/>
                  <a:gd name="T19" fmla="*/ 51 h 80"/>
                  <a:gd name="T20" fmla="*/ 7 w 38"/>
                  <a:gd name="T21" fmla="*/ 52 h 80"/>
                  <a:gd name="T22" fmla="*/ 8 w 38"/>
                  <a:gd name="T23" fmla="*/ 54 h 80"/>
                  <a:gd name="T24" fmla="*/ 9 w 38"/>
                  <a:gd name="T25" fmla="*/ 56 h 80"/>
                  <a:gd name="T26" fmla="*/ 12 w 38"/>
                  <a:gd name="T27" fmla="*/ 59 h 80"/>
                  <a:gd name="T28" fmla="*/ 15 w 38"/>
                  <a:gd name="T29" fmla="*/ 60 h 80"/>
                  <a:gd name="T30" fmla="*/ 20 w 38"/>
                  <a:gd name="T31" fmla="*/ 79 h 80"/>
                  <a:gd name="T32" fmla="*/ 21 w 38"/>
                  <a:gd name="T33" fmla="*/ 80 h 80"/>
                  <a:gd name="T34" fmla="*/ 23 w 38"/>
                  <a:gd name="T35" fmla="*/ 78 h 80"/>
                  <a:gd name="T36" fmla="*/ 24 w 38"/>
                  <a:gd name="T37" fmla="*/ 77 h 80"/>
                  <a:gd name="T38" fmla="*/ 25 w 38"/>
                  <a:gd name="T39" fmla="*/ 74 h 80"/>
                  <a:gd name="T40" fmla="*/ 25 w 38"/>
                  <a:gd name="T41" fmla="*/ 73 h 80"/>
                  <a:gd name="T42" fmla="*/ 26 w 38"/>
                  <a:gd name="T43" fmla="*/ 64 h 80"/>
                  <a:gd name="T44" fmla="*/ 29 w 38"/>
                  <a:gd name="T45" fmla="*/ 63 h 80"/>
                  <a:gd name="T46" fmla="*/ 31 w 38"/>
                  <a:gd name="T47" fmla="*/ 61 h 80"/>
                  <a:gd name="T48" fmla="*/ 32 w 38"/>
                  <a:gd name="T49" fmla="*/ 60 h 80"/>
                  <a:gd name="T50" fmla="*/ 33 w 38"/>
                  <a:gd name="T51" fmla="*/ 59 h 80"/>
                  <a:gd name="T52" fmla="*/ 35 w 38"/>
                  <a:gd name="T53" fmla="*/ 58 h 80"/>
                  <a:gd name="T54" fmla="*/ 38 w 38"/>
                  <a:gd name="T55" fmla="*/ 57 h 80"/>
                  <a:gd name="T56" fmla="*/ 38 w 38"/>
                  <a:gd name="T57" fmla="*/ 50 h 80"/>
                  <a:gd name="T58" fmla="*/ 38 w 38"/>
                  <a:gd name="T59" fmla="*/ 49 h 80"/>
                  <a:gd name="T60" fmla="*/ 38 w 38"/>
                  <a:gd name="T61" fmla="*/ 49 h 80"/>
                  <a:gd name="T62" fmla="*/ 34 w 38"/>
                  <a:gd name="T63" fmla="*/ 43 h 80"/>
                  <a:gd name="T64" fmla="*/ 31 w 38"/>
                  <a:gd name="T65" fmla="*/ 45 h 80"/>
                  <a:gd name="T66" fmla="*/ 30 w 38"/>
                  <a:gd name="T67" fmla="*/ 43 h 80"/>
                  <a:gd name="T68" fmla="*/ 24 w 38"/>
                  <a:gd name="T69" fmla="*/ 37 h 80"/>
                  <a:gd name="T70" fmla="*/ 34 w 38"/>
                  <a:gd name="T71" fmla="*/ 27 h 80"/>
                  <a:gd name="T72" fmla="*/ 34 w 38"/>
                  <a:gd name="T73" fmla="*/ 21 h 80"/>
                  <a:gd name="T74" fmla="*/ 29 w 38"/>
                  <a:gd name="T75" fmla="*/ 12 h 80"/>
                  <a:gd name="T76" fmla="*/ 35 w 38"/>
                  <a:gd name="T77" fmla="*/ 7 h 80"/>
                  <a:gd name="T78" fmla="*/ 31 w 38"/>
                  <a:gd name="T79" fmla="*/ 6 h 80"/>
                  <a:gd name="T80" fmla="*/ 29 w 38"/>
                  <a:gd name="T81" fmla="*/ 7 h 80"/>
                  <a:gd name="T82" fmla="*/ 27 w 38"/>
                  <a:gd name="T83" fmla="*/ 4 h 80"/>
                  <a:gd name="T84" fmla="*/ 22 w 38"/>
                  <a:gd name="T85" fmla="*/ 3 h 80"/>
                  <a:gd name="T86" fmla="*/ 15 w 38"/>
                  <a:gd name="T87" fmla="*/ 3 h 80"/>
                  <a:gd name="T88" fmla="*/ 11 w 38"/>
                  <a:gd name="T89" fmla="*/ 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 h="80">
                    <a:moveTo>
                      <a:pt x="11" y="5"/>
                    </a:moveTo>
                    <a:cubicBezTo>
                      <a:pt x="11" y="6"/>
                      <a:pt x="11" y="6"/>
                      <a:pt x="11" y="6"/>
                    </a:cubicBezTo>
                    <a:cubicBezTo>
                      <a:pt x="7" y="10"/>
                      <a:pt x="7" y="10"/>
                      <a:pt x="7" y="10"/>
                    </a:cubicBezTo>
                    <a:cubicBezTo>
                      <a:pt x="8" y="11"/>
                      <a:pt x="9" y="12"/>
                      <a:pt x="8" y="14"/>
                    </a:cubicBezTo>
                    <a:cubicBezTo>
                      <a:pt x="8" y="16"/>
                      <a:pt x="8" y="16"/>
                      <a:pt x="8" y="16"/>
                    </a:cubicBezTo>
                    <a:cubicBezTo>
                      <a:pt x="8" y="17"/>
                      <a:pt x="8" y="19"/>
                      <a:pt x="8" y="20"/>
                    </a:cubicBezTo>
                    <a:cubicBezTo>
                      <a:pt x="8" y="20"/>
                      <a:pt x="8" y="21"/>
                      <a:pt x="9" y="21"/>
                    </a:cubicBezTo>
                    <a:cubicBezTo>
                      <a:pt x="9" y="22"/>
                      <a:pt x="9" y="22"/>
                      <a:pt x="9" y="22"/>
                    </a:cubicBezTo>
                    <a:cubicBezTo>
                      <a:pt x="9" y="23"/>
                      <a:pt x="9" y="23"/>
                      <a:pt x="9" y="23"/>
                    </a:cubicBezTo>
                    <a:cubicBezTo>
                      <a:pt x="9" y="23"/>
                      <a:pt x="9" y="23"/>
                      <a:pt x="9" y="23"/>
                    </a:cubicBezTo>
                    <a:cubicBezTo>
                      <a:pt x="9" y="24"/>
                      <a:pt x="9" y="25"/>
                      <a:pt x="9" y="26"/>
                    </a:cubicBezTo>
                    <a:cubicBezTo>
                      <a:pt x="9" y="28"/>
                      <a:pt x="8" y="30"/>
                      <a:pt x="7" y="32"/>
                    </a:cubicBezTo>
                    <a:cubicBezTo>
                      <a:pt x="6" y="33"/>
                      <a:pt x="5" y="35"/>
                      <a:pt x="3" y="36"/>
                    </a:cubicBezTo>
                    <a:cubicBezTo>
                      <a:pt x="2" y="37"/>
                      <a:pt x="1" y="37"/>
                      <a:pt x="1" y="38"/>
                    </a:cubicBezTo>
                    <a:cubicBezTo>
                      <a:pt x="0" y="39"/>
                      <a:pt x="0" y="39"/>
                      <a:pt x="0" y="39"/>
                    </a:cubicBezTo>
                    <a:cubicBezTo>
                      <a:pt x="0" y="39"/>
                      <a:pt x="0" y="39"/>
                      <a:pt x="0" y="40"/>
                    </a:cubicBezTo>
                    <a:cubicBezTo>
                      <a:pt x="0" y="42"/>
                      <a:pt x="1" y="43"/>
                      <a:pt x="2" y="45"/>
                    </a:cubicBezTo>
                    <a:cubicBezTo>
                      <a:pt x="2" y="46"/>
                      <a:pt x="3" y="47"/>
                      <a:pt x="4" y="48"/>
                    </a:cubicBezTo>
                    <a:cubicBezTo>
                      <a:pt x="5" y="49"/>
                      <a:pt x="6" y="49"/>
                      <a:pt x="7" y="50"/>
                    </a:cubicBezTo>
                    <a:cubicBezTo>
                      <a:pt x="7" y="50"/>
                      <a:pt x="7" y="51"/>
                      <a:pt x="7" y="51"/>
                    </a:cubicBezTo>
                    <a:cubicBezTo>
                      <a:pt x="7" y="51"/>
                      <a:pt x="7" y="51"/>
                      <a:pt x="7" y="51"/>
                    </a:cubicBezTo>
                    <a:cubicBezTo>
                      <a:pt x="7" y="52"/>
                      <a:pt x="7" y="52"/>
                      <a:pt x="7" y="52"/>
                    </a:cubicBezTo>
                    <a:cubicBezTo>
                      <a:pt x="8" y="52"/>
                      <a:pt x="8" y="53"/>
                      <a:pt x="8" y="54"/>
                    </a:cubicBezTo>
                    <a:cubicBezTo>
                      <a:pt x="8" y="54"/>
                      <a:pt x="8" y="54"/>
                      <a:pt x="8" y="54"/>
                    </a:cubicBezTo>
                    <a:cubicBezTo>
                      <a:pt x="8" y="54"/>
                      <a:pt x="8" y="55"/>
                      <a:pt x="8" y="55"/>
                    </a:cubicBezTo>
                    <a:cubicBezTo>
                      <a:pt x="9" y="56"/>
                      <a:pt x="9" y="56"/>
                      <a:pt x="9" y="56"/>
                    </a:cubicBezTo>
                    <a:cubicBezTo>
                      <a:pt x="9" y="56"/>
                      <a:pt x="9" y="56"/>
                      <a:pt x="9" y="56"/>
                    </a:cubicBezTo>
                    <a:cubicBezTo>
                      <a:pt x="12" y="59"/>
                      <a:pt x="12" y="59"/>
                      <a:pt x="12" y="59"/>
                    </a:cubicBezTo>
                    <a:cubicBezTo>
                      <a:pt x="13" y="59"/>
                      <a:pt x="13" y="59"/>
                      <a:pt x="13" y="59"/>
                    </a:cubicBezTo>
                    <a:cubicBezTo>
                      <a:pt x="14" y="60"/>
                      <a:pt x="14" y="60"/>
                      <a:pt x="15" y="60"/>
                    </a:cubicBezTo>
                    <a:cubicBezTo>
                      <a:pt x="16" y="61"/>
                      <a:pt x="16" y="62"/>
                      <a:pt x="16" y="62"/>
                    </a:cubicBezTo>
                    <a:cubicBezTo>
                      <a:pt x="20" y="79"/>
                      <a:pt x="20" y="79"/>
                      <a:pt x="20" y="79"/>
                    </a:cubicBezTo>
                    <a:cubicBezTo>
                      <a:pt x="22" y="76"/>
                      <a:pt x="22" y="76"/>
                      <a:pt x="22" y="76"/>
                    </a:cubicBezTo>
                    <a:cubicBezTo>
                      <a:pt x="21" y="80"/>
                      <a:pt x="21" y="80"/>
                      <a:pt x="21" y="80"/>
                    </a:cubicBezTo>
                    <a:cubicBezTo>
                      <a:pt x="22" y="80"/>
                      <a:pt x="22" y="80"/>
                      <a:pt x="23" y="79"/>
                    </a:cubicBezTo>
                    <a:cubicBezTo>
                      <a:pt x="23" y="79"/>
                      <a:pt x="23" y="78"/>
                      <a:pt x="23" y="78"/>
                    </a:cubicBezTo>
                    <a:cubicBezTo>
                      <a:pt x="23" y="78"/>
                      <a:pt x="23" y="78"/>
                      <a:pt x="23" y="78"/>
                    </a:cubicBezTo>
                    <a:cubicBezTo>
                      <a:pt x="24" y="78"/>
                      <a:pt x="24" y="77"/>
                      <a:pt x="24" y="77"/>
                    </a:cubicBezTo>
                    <a:cubicBezTo>
                      <a:pt x="24" y="77"/>
                      <a:pt x="24" y="77"/>
                      <a:pt x="24" y="77"/>
                    </a:cubicBezTo>
                    <a:cubicBezTo>
                      <a:pt x="25" y="75"/>
                      <a:pt x="26" y="75"/>
                      <a:pt x="25" y="74"/>
                    </a:cubicBezTo>
                    <a:cubicBezTo>
                      <a:pt x="25" y="73"/>
                      <a:pt x="25" y="73"/>
                      <a:pt x="25" y="73"/>
                    </a:cubicBezTo>
                    <a:cubicBezTo>
                      <a:pt x="25" y="73"/>
                      <a:pt x="25" y="73"/>
                      <a:pt x="25" y="73"/>
                    </a:cubicBezTo>
                    <a:cubicBezTo>
                      <a:pt x="25" y="72"/>
                      <a:pt x="25" y="71"/>
                      <a:pt x="25" y="70"/>
                    </a:cubicBezTo>
                    <a:cubicBezTo>
                      <a:pt x="25" y="70"/>
                      <a:pt x="25" y="66"/>
                      <a:pt x="26" y="64"/>
                    </a:cubicBezTo>
                    <a:cubicBezTo>
                      <a:pt x="27" y="64"/>
                      <a:pt x="27" y="64"/>
                      <a:pt x="28" y="64"/>
                    </a:cubicBezTo>
                    <a:cubicBezTo>
                      <a:pt x="28" y="64"/>
                      <a:pt x="28" y="63"/>
                      <a:pt x="29" y="63"/>
                    </a:cubicBezTo>
                    <a:cubicBezTo>
                      <a:pt x="29" y="62"/>
                      <a:pt x="29" y="62"/>
                      <a:pt x="30" y="61"/>
                    </a:cubicBezTo>
                    <a:cubicBezTo>
                      <a:pt x="30" y="61"/>
                      <a:pt x="31" y="61"/>
                      <a:pt x="31" y="61"/>
                    </a:cubicBezTo>
                    <a:cubicBezTo>
                      <a:pt x="31" y="61"/>
                      <a:pt x="31" y="61"/>
                      <a:pt x="32" y="60"/>
                    </a:cubicBezTo>
                    <a:cubicBezTo>
                      <a:pt x="32" y="60"/>
                      <a:pt x="32" y="60"/>
                      <a:pt x="32" y="60"/>
                    </a:cubicBezTo>
                    <a:cubicBezTo>
                      <a:pt x="32" y="60"/>
                      <a:pt x="32" y="60"/>
                      <a:pt x="32" y="60"/>
                    </a:cubicBezTo>
                    <a:cubicBezTo>
                      <a:pt x="32" y="60"/>
                      <a:pt x="33" y="60"/>
                      <a:pt x="33" y="59"/>
                    </a:cubicBezTo>
                    <a:cubicBezTo>
                      <a:pt x="33" y="59"/>
                      <a:pt x="33" y="59"/>
                      <a:pt x="33" y="59"/>
                    </a:cubicBezTo>
                    <a:cubicBezTo>
                      <a:pt x="34" y="59"/>
                      <a:pt x="34" y="58"/>
                      <a:pt x="35" y="58"/>
                    </a:cubicBezTo>
                    <a:cubicBezTo>
                      <a:pt x="36" y="58"/>
                      <a:pt x="36" y="58"/>
                      <a:pt x="36" y="58"/>
                    </a:cubicBezTo>
                    <a:cubicBezTo>
                      <a:pt x="37" y="58"/>
                      <a:pt x="37" y="57"/>
                      <a:pt x="38" y="57"/>
                    </a:cubicBezTo>
                    <a:cubicBezTo>
                      <a:pt x="38" y="57"/>
                      <a:pt x="38" y="57"/>
                      <a:pt x="38" y="57"/>
                    </a:cubicBezTo>
                    <a:cubicBezTo>
                      <a:pt x="38" y="50"/>
                      <a:pt x="38" y="50"/>
                      <a:pt x="38" y="50"/>
                    </a:cubicBezTo>
                    <a:cubicBezTo>
                      <a:pt x="38" y="50"/>
                      <a:pt x="38" y="49"/>
                      <a:pt x="38" y="49"/>
                    </a:cubicBezTo>
                    <a:cubicBezTo>
                      <a:pt x="38" y="49"/>
                      <a:pt x="38" y="49"/>
                      <a:pt x="38" y="49"/>
                    </a:cubicBezTo>
                    <a:cubicBezTo>
                      <a:pt x="38" y="49"/>
                      <a:pt x="38" y="49"/>
                      <a:pt x="38" y="49"/>
                    </a:cubicBezTo>
                    <a:cubicBezTo>
                      <a:pt x="38" y="49"/>
                      <a:pt x="38" y="49"/>
                      <a:pt x="38" y="49"/>
                    </a:cubicBezTo>
                    <a:cubicBezTo>
                      <a:pt x="38" y="48"/>
                      <a:pt x="34" y="48"/>
                      <a:pt x="36" y="47"/>
                    </a:cubicBezTo>
                    <a:cubicBezTo>
                      <a:pt x="35" y="46"/>
                      <a:pt x="35" y="44"/>
                      <a:pt x="34" y="43"/>
                    </a:cubicBezTo>
                    <a:cubicBezTo>
                      <a:pt x="33" y="43"/>
                      <a:pt x="34" y="44"/>
                      <a:pt x="34" y="44"/>
                    </a:cubicBezTo>
                    <a:cubicBezTo>
                      <a:pt x="33" y="45"/>
                      <a:pt x="32" y="45"/>
                      <a:pt x="31" y="45"/>
                    </a:cubicBezTo>
                    <a:cubicBezTo>
                      <a:pt x="31" y="44"/>
                      <a:pt x="32" y="43"/>
                      <a:pt x="31" y="43"/>
                    </a:cubicBezTo>
                    <a:cubicBezTo>
                      <a:pt x="31" y="43"/>
                      <a:pt x="30" y="43"/>
                      <a:pt x="30" y="43"/>
                    </a:cubicBezTo>
                    <a:cubicBezTo>
                      <a:pt x="28" y="43"/>
                      <a:pt x="28" y="43"/>
                      <a:pt x="26" y="42"/>
                    </a:cubicBezTo>
                    <a:cubicBezTo>
                      <a:pt x="25" y="41"/>
                      <a:pt x="25" y="39"/>
                      <a:pt x="24" y="37"/>
                    </a:cubicBezTo>
                    <a:cubicBezTo>
                      <a:pt x="24" y="37"/>
                      <a:pt x="30" y="33"/>
                      <a:pt x="31" y="32"/>
                    </a:cubicBezTo>
                    <a:cubicBezTo>
                      <a:pt x="32" y="31"/>
                      <a:pt x="33" y="29"/>
                      <a:pt x="34" y="27"/>
                    </a:cubicBezTo>
                    <a:cubicBezTo>
                      <a:pt x="35" y="26"/>
                      <a:pt x="36" y="25"/>
                      <a:pt x="35" y="24"/>
                    </a:cubicBezTo>
                    <a:cubicBezTo>
                      <a:pt x="35" y="23"/>
                      <a:pt x="35" y="22"/>
                      <a:pt x="34" y="21"/>
                    </a:cubicBezTo>
                    <a:cubicBezTo>
                      <a:pt x="32" y="20"/>
                      <a:pt x="29" y="18"/>
                      <a:pt x="29" y="15"/>
                    </a:cubicBezTo>
                    <a:cubicBezTo>
                      <a:pt x="29" y="14"/>
                      <a:pt x="29" y="12"/>
                      <a:pt x="29" y="12"/>
                    </a:cubicBezTo>
                    <a:cubicBezTo>
                      <a:pt x="30" y="11"/>
                      <a:pt x="32" y="11"/>
                      <a:pt x="33" y="10"/>
                    </a:cubicBezTo>
                    <a:cubicBezTo>
                      <a:pt x="33" y="9"/>
                      <a:pt x="34" y="8"/>
                      <a:pt x="35" y="7"/>
                    </a:cubicBezTo>
                    <a:cubicBezTo>
                      <a:pt x="36" y="6"/>
                      <a:pt x="35" y="2"/>
                      <a:pt x="33" y="4"/>
                    </a:cubicBezTo>
                    <a:cubicBezTo>
                      <a:pt x="33" y="4"/>
                      <a:pt x="32" y="5"/>
                      <a:pt x="31" y="6"/>
                    </a:cubicBezTo>
                    <a:cubicBezTo>
                      <a:pt x="31" y="6"/>
                      <a:pt x="30" y="6"/>
                      <a:pt x="30" y="6"/>
                    </a:cubicBezTo>
                    <a:cubicBezTo>
                      <a:pt x="30" y="6"/>
                      <a:pt x="30" y="7"/>
                      <a:pt x="29" y="7"/>
                    </a:cubicBezTo>
                    <a:cubicBezTo>
                      <a:pt x="28" y="8"/>
                      <a:pt x="28" y="7"/>
                      <a:pt x="27" y="7"/>
                    </a:cubicBezTo>
                    <a:cubicBezTo>
                      <a:pt x="28" y="5"/>
                      <a:pt x="27" y="5"/>
                      <a:pt x="27" y="4"/>
                    </a:cubicBezTo>
                    <a:cubicBezTo>
                      <a:pt x="26" y="3"/>
                      <a:pt x="26" y="2"/>
                      <a:pt x="25" y="2"/>
                    </a:cubicBezTo>
                    <a:cubicBezTo>
                      <a:pt x="23" y="1"/>
                      <a:pt x="23" y="2"/>
                      <a:pt x="22" y="3"/>
                    </a:cubicBezTo>
                    <a:cubicBezTo>
                      <a:pt x="21" y="1"/>
                      <a:pt x="22" y="0"/>
                      <a:pt x="20" y="1"/>
                    </a:cubicBezTo>
                    <a:cubicBezTo>
                      <a:pt x="18" y="1"/>
                      <a:pt x="16" y="2"/>
                      <a:pt x="15" y="3"/>
                    </a:cubicBezTo>
                    <a:cubicBezTo>
                      <a:pt x="14" y="3"/>
                      <a:pt x="13" y="4"/>
                      <a:pt x="12" y="4"/>
                    </a:cubicBezTo>
                    <a:cubicBezTo>
                      <a:pt x="12" y="4"/>
                      <a:pt x="12" y="5"/>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8" name="Freeform 3030">
                <a:extLst>
                  <a:ext uri="{FF2B5EF4-FFF2-40B4-BE49-F238E27FC236}">
                    <a16:creationId xmlns:a16="http://schemas.microsoft.com/office/drawing/2014/main" id="{51AF32BA-CEE7-4B95-8D45-160C16C9DF0C}"/>
                  </a:ext>
                </a:extLst>
              </p:cNvPr>
              <p:cNvSpPr>
                <a:spLocks/>
              </p:cNvSpPr>
              <p:nvPr/>
            </p:nvSpPr>
            <p:spPr bwMode="auto">
              <a:xfrm>
                <a:off x="3878" y="2204"/>
                <a:ext cx="248" cy="388"/>
              </a:xfrm>
              <a:custGeom>
                <a:avLst/>
                <a:gdLst>
                  <a:gd name="T0" fmla="*/ 25 w 105"/>
                  <a:gd name="T1" fmla="*/ 0 h 164"/>
                  <a:gd name="T2" fmla="*/ 16 w 105"/>
                  <a:gd name="T3" fmla="*/ 4 h 164"/>
                  <a:gd name="T4" fmla="*/ 17 w 105"/>
                  <a:gd name="T5" fmla="*/ 14 h 164"/>
                  <a:gd name="T6" fmla="*/ 19 w 105"/>
                  <a:gd name="T7" fmla="*/ 20 h 164"/>
                  <a:gd name="T8" fmla="*/ 21 w 105"/>
                  <a:gd name="T9" fmla="*/ 24 h 164"/>
                  <a:gd name="T10" fmla="*/ 21 w 105"/>
                  <a:gd name="T11" fmla="*/ 27 h 164"/>
                  <a:gd name="T12" fmla="*/ 23 w 105"/>
                  <a:gd name="T13" fmla="*/ 28 h 164"/>
                  <a:gd name="T14" fmla="*/ 24 w 105"/>
                  <a:gd name="T15" fmla="*/ 34 h 164"/>
                  <a:gd name="T16" fmla="*/ 22 w 105"/>
                  <a:gd name="T17" fmla="*/ 41 h 164"/>
                  <a:gd name="T18" fmla="*/ 20 w 105"/>
                  <a:gd name="T19" fmla="*/ 66 h 164"/>
                  <a:gd name="T20" fmla="*/ 19 w 105"/>
                  <a:gd name="T21" fmla="*/ 70 h 164"/>
                  <a:gd name="T22" fmla="*/ 6 w 105"/>
                  <a:gd name="T23" fmla="*/ 85 h 164"/>
                  <a:gd name="T24" fmla="*/ 2 w 105"/>
                  <a:gd name="T25" fmla="*/ 101 h 164"/>
                  <a:gd name="T26" fmla="*/ 5 w 105"/>
                  <a:gd name="T27" fmla="*/ 107 h 164"/>
                  <a:gd name="T28" fmla="*/ 11 w 105"/>
                  <a:gd name="T29" fmla="*/ 111 h 164"/>
                  <a:gd name="T30" fmla="*/ 16 w 105"/>
                  <a:gd name="T31" fmla="*/ 119 h 164"/>
                  <a:gd name="T32" fmla="*/ 17 w 105"/>
                  <a:gd name="T33" fmla="*/ 123 h 164"/>
                  <a:gd name="T34" fmla="*/ 16 w 105"/>
                  <a:gd name="T35" fmla="*/ 126 h 164"/>
                  <a:gd name="T36" fmla="*/ 16 w 105"/>
                  <a:gd name="T37" fmla="*/ 129 h 164"/>
                  <a:gd name="T38" fmla="*/ 21 w 105"/>
                  <a:gd name="T39" fmla="*/ 138 h 164"/>
                  <a:gd name="T40" fmla="*/ 17 w 105"/>
                  <a:gd name="T41" fmla="*/ 141 h 164"/>
                  <a:gd name="T42" fmla="*/ 11 w 105"/>
                  <a:gd name="T43" fmla="*/ 142 h 164"/>
                  <a:gd name="T44" fmla="*/ 7 w 105"/>
                  <a:gd name="T45" fmla="*/ 141 h 164"/>
                  <a:gd name="T46" fmla="*/ 5 w 105"/>
                  <a:gd name="T47" fmla="*/ 143 h 164"/>
                  <a:gd name="T48" fmla="*/ 7 w 105"/>
                  <a:gd name="T49" fmla="*/ 145 h 164"/>
                  <a:gd name="T50" fmla="*/ 16 w 105"/>
                  <a:gd name="T51" fmla="*/ 154 h 164"/>
                  <a:gd name="T52" fmla="*/ 20 w 105"/>
                  <a:gd name="T53" fmla="*/ 160 h 164"/>
                  <a:gd name="T54" fmla="*/ 21 w 105"/>
                  <a:gd name="T55" fmla="*/ 164 h 164"/>
                  <a:gd name="T56" fmla="*/ 26 w 105"/>
                  <a:gd name="T57" fmla="*/ 163 h 164"/>
                  <a:gd name="T58" fmla="*/ 29 w 105"/>
                  <a:gd name="T59" fmla="*/ 161 h 164"/>
                  <a:gd name="T60" fmla="*/ 32 w 105"/>
                  <a:gd name="T61" fmla="*/ 162 h 164"/>
                  <a:gd name="T62" fmla="*/ 34 w 105"/>
                  <a:gd name="T63" fmla="*/ 163 h 164"/>
                  <a:gd name="T64" fmla="*/ 36 w 105"/>
                  <a:gd name="T65" fmla="*/ 162 h 164"/>
                  <a:gd name="T66" fmla="*/ 41 w 105"/>
                  <a:gd name="T67" fmla="*/ 160 h 164"/>
                  <a:gd name="T68" fmla="*/ 47 w 105"/>
                  <a:gd name="T69" fmla="*/ 159 h 164"/>
                  <a:gd name="T70" fmla="*/ 50 w 105"/>
                  <a:gd name="T71" fmla="*/ 159 h 164"/>
                  <a:gd name="T72" fmla="*/ 51 w 105"/>
                  <a:gd name="T73" fmla="*/ 158 h 164"/>
                  <a:gd name="T74" fmla="*/ 54 w 105"/>
                  <a:gd name="T75" fmla="*/ 154 h 164"/>
                  <a:gd name="T76" fmla="*/ 55 w 105"/>
                  <a:gd name="T77" fmla="*/ 149 h 164"/>
                  <a:gd name="T78" fmla="*/ 64 w 105"/>
                  <a:gd name="T79" fmla="*/ 148 h 164"/>
                  <a:gd name="T80" fmla="*/ 81 w 105"/>
                  <a:gd name="T81" fmla="*/ 135 h 164"/>
                  <a:gd name="T82" fmla="*/ 89 w 105"/>
                  <a:gd name="T83" fmla="*/ 129 h 164"/>
                  <a:gd name="T84" fmla="*/ 94 w 105"/>
                  <a:gd name="T85" fmla="*/ 129 h 164"/>
                  <a:gd name="T86" fmla="*/ 94 w 105"/>
                  <a:gd name="T87" fmla="*/ 127 h 164"/>
                  <a:gd name="T88" fmla="*/ 90 w 105"/>
                  <a:gd name="T89" fmla="*/ 121 h 164"/>
                  <a:gd name="T90" fmla="*/ 88 w 105"/>
                  <a:gd name="T91" fmla="*/ 113 h 164"/>
                  <a:gd name="T92" fmla="*/ 85 w 105"/>
                  <a:gd name="T93" fmla="*/ 114 h 164"/>
                  <a:gd name="T94" fmla="*/ 83 w 105"/>
                  <a:gd name="T95" fmla="*/ 109 h 164"/>
                  <a:gd name="T96" fmla="*/ 87 w 105"/>
                  <a:gd name="T97" fmla="*/ 105 h 164"/>
                  <a:gd name="T98" fmla="*/ 88 w 105"/>
                  <a:gd name="T99" fmla="*/ 97 h 164"/>
                  <a:gd name="T100" fmla="*/ 89 w 105"/>
                  <a:gd name="T101" fmla="*/ 94 h 164"/>
                  <a:gd name="T102" fmla="*/ 91 w 105"/>
                  <a:gd name="T103" fmla="*/ 91 h 164"/>
                  <a:gd name="T104" fmla="*/ 92 w 105"/>
                  <a:gd name="T105" fmla="*/ 89 h 164"/>
                  <a:gd name="T106" fmla="*/ 94 w 105"/>
                  <a:gd name="T107" fmla="*/ 82 h 164"/>
                  <a:gd name="T108" fmla="*/ 70 w 105"/>
                  <a:gd name="T109" fmla="*/ 2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64">
                    <a:moveTo>
                      <a:pt x="43" y="9"/>
                    </a:moveTo>
                    <a:cubicBezTo>
                      <a:pt x="39" y="7"/>
                      <a:pt x="39" y="7"/>
                      <a:pt x="39" y="7"/>
                    </a:cubicBezTo>
                    <a:cubicBezTo>
                      <a:pt x="35" y="5"/>
                      <a:pt x="32" y="4"/>
                      <a:pt x="29" y="2"/>
                    </a:cubicBezTo>
                    <a:cubicBezTo>
                      <a:pt x="25" y="0"/>
                      <a:pt x="25" y="0"/>
                      <a:pt x="25" y="0"/>
                    </a:cubicBezTo>
                    <a:cubicBezTo>
                      <a:pt x="25" y="0"/>
                      <a:pt x="25" y="0"/>
                      <a:pt x="24" y="0"/>
                    </a:cubicBezTo>
                    <a:cubicBezTo>
                      <a:pt x="24" y="0"/>
                      <a:pt x="24" y="0"/>
                      <a:pt x="24" y="0"/>
                    </a:cubicBezTo>
                    <a:cubicBezTo>
                      <a:pt x="24" y="0"/>
                      <a:pt x="24" y="0"/>
                      <a:pt x="24" y="0"/>
                    </a:cubicBezTo>
                    <a:cubicBezTo>
                      <a:pt x="16" y="4"/>
                      <a:pt x="16" y="4"/>
                      <a:pt x="16" y="4"/>
                    </a:cubicBezTo>
                    <a:cubicBezTo>
                      <a:pt x="16" y="6"/>
                      <a:pt x="16" y="6"/>
                      <a:pt x="16" y="6"/>
                    </a:cubicBezTo>
                    <a:cubicBezTo>
                      <a:pt x="16" y="8"/>
                      <a:pt x="17" y="10"/>
                      <a:pt x="17" y="12"/>
                    </a:cubicBezTo>
                    <a:cubicBezTo>
                      <a:pt x="17" y="12"/>
                      <a:pt x="17" y="13"/>
                      <a:pt x="17" y="14"/>
                    </a:cubicBezTo>
                    <a:cubicBezTo>
                      <a:pt x="17" y="14"/>
                      <a:pt x="17" y="14"/>
                      <a:pt x="17" y="14"/>
                    </a:cubicBezTo>
                    <a:cubicBezTo>
                      <a:pt x="17" y="15"/>
                      <a:pt x="17" y="15"/>
                      <a:pt x="17" y="15"/>
                    </a:cubicBezTo>
                    <a:cubicBezTo>
                      <a:pt x="17" y="16"/>
                      <a:pt x="17" y="16"/>
                      <a:pt x="17" y="16"/>
                    </a:cubicBezTo>
                    <a:cubicBezTo>
                      <a:pt x="17" y="17"/>
                      <a:pt x="17" y="18"/>
                      <a:pt x="18" y="19"/>
                    </a:cubicBezTo>
                    <a:cubicBezTo>
                      <a:pt x="18" y="20"/>
                      <a:pt x="19" y="20"/>
                      <a:pt x="19" y="20"/>
                    </a:cubicBezTo>
                    <a:cubicBezTo>
                      <a:pt x="19" y="20"/>
                      <a:pt x="19" y="20"/>
                      <a:pt x="19" y="20"/>
                    </a:cubicBezTo>
                    <a:cubicBezTo>
                      <a:pt x="19" y="21"/>
                      <a:pt x="19" y="21"/>
                      <a:pt x="19" y="21"/>
                    </a:cubicBezTo>
                    <a:cubicBezTo>
                      <a:pt x="19" y="21"/>
                      <a:pt x="20" y="21"/>
                      <a:pt x="20" y="22"/>
                    </a:cubicBezTo>
                    <a:cubicBezTo>
                      <a:pt x="20" y="22"/>
                      <a:pt x="20" y="23"/>
                      <a:pt x="21" y="24"/>
                    </a:cubicBezTo>
                    <a:cubicBezTo>
                      <a:pt x="21" y="24"/>
                      <a:pt x="21" y="24"/>
                      <a:pt x="21" y="24"/>
                    </a:cubicBezTo>
                    <a:cubicBezTo>
                      <a:pt x="21" y="24"/>
                      <a:pt x="21" y="25"/>
                      <a:pt x="21" y="26"/>
                    </a:cubicBezTo>
                    <a:cubicBezTo>
                      <a:pt x="21" y="26"/>
                      <a:pt x="21" y="26"/>
                      <a:pt x="21" y="26"/>
                    </a:cubicBezTo>
                    <a:cubicBezTo>
                      <a:pt x="21" y="27"/>
                      <a:pt x="21" y="27"/>
                      <a:pt x="21" y="27"/>
                    </a:cubicBezTo>
                    <a:cubicBezTo>
                      <a:pt x="22" y="27"/>
                      <a:pt x="22" y="27"/>
                      <a:pt x="22" y="27"/>
                    </a:cubicBezTo>
                    <a:cubicBezTo>
                      <a:pt x="22" y="27"/>
                      <a:pt x="22" y="28"/>
                      <a:pt x="23" y="28"/>
                    </a:cubicBezTo>
                    <a:cubicBezTo>
                      <a:pt x="23" y="28"/>
                      <a:pt x="23" y="28"/>
                      <a:pt x="23" y="28"/>
                    </a:cubicBezTo>
                    <a:cubicBezTo>
                      <a:pt x="23" y="28"/>
                      <a:pt x="23" y="28"/>
                      <a:pt x="23" y="28"/>
                    </a:cubicBezTo>
                    <a:cubicBezTo>
                      <a:pt x="24" y="29"/>
                      <a:pt x="25" y="30"/>
                      <a:pt x="25" y="31"/>
                    </a:cubicBezTo>
                    <a:cubicBezTo>
                      <a:pt x="25" y="32"/>
                      <a:pt x="25" y="32"/>
                      <a:pt x="25" y="33"/>
                    </a:cubicBezTo>
                    <a:cubicBezTo>
                      <a:pt x="25" y="33"/>
                      <a:pt x="25" y="33"/>
                      <a:pt x="25" y="33"/>
                    </a:cubicBezTo>
                    <a:cubicBezTo>
                      <a:pt x="25" y="33"/>
                      <a:pt x="25" y="34"/>
                      <a:pt x="24" y="34"/>
                    </a:cubicBezTo>
                    <a:cubicBezTo>
                      <a:pt x="24" y="35"/>
                      <a:pt x="24" y="35"/>
                      <a:pt x="24" y="35"/>
                    </a:cubicBezTo>
                    <a:cubicBezTo>
                      <a:pt x="24" y="35"/>
                      <a:pt x="24" y="35"/>
                      <a:pt x="24" y="35"/>
                    </a:cubicBezTo>
                    <a:cubicBezTo>
                      <a:pt x="23" y="37"/>
                      <a:pt x="23" y="38"/>
                      <a:pt x="23" y="40"/>
                    </a:cubicBezTo>
                    <a:cubicBezTo>
                      <a:pt x="22" y="41"/>
                      <a:pt x="22" y="41"/>
                      <a:pt x="22" y="41"/>
                    </a:cubicBezTo>
                    <a:cubicBezTo>
                      <a:pt x="22" y="47"/>
                      <a:pt x="21" y="53"/>
                      <a:pt x="21" y="58"/>
                    </a:cubicBezTo>
                    <a:cubicBezTo>
                      <a:pt x="21" y="59"/>
                      <a:pt x="21" y="59"/>
                      <a:pt x="21" y="59"/>
                    </a:cubicBezTo>
                    <a:cubicBezTo>
                      <a:pt x="21" y="59"/>
                      <a:pt x="21" y="59"/>
                      <a:pt x="21" y="59"/>
                    </a:cubicBezTo>
                    <a:cubicBezTo>
                      <a:pt x="20" y="66"/>
                      <a:pt x="20" y="66"/>
                      <a:pt x="20" y="66"/>
                    </a:cubicBezTo>
                    <a:cubicBezTo>
                      <a:pt x="20" y="66"/>
                      <a:pt x="20" y="66"/>
                      <a:pt x="20" y="66"/>
                    </a:cubicBezTo>
                    <a:cubicBezTo>
                      <a:pt x="20" y="67"/>
                      <a:pt x="20" y="68"/>
                      <a:pt x="20" y="69"/>
                    </a:cubicBezTo>
                    <a:cubicBezTo>
                      <a:pt x="20" y="69"/>
                      <a:pt x="20" y="69"/>
                      <a:pt x="20" y="69"/>
                    </a:cubicBezTo>
                    <a:cubicBezTo>
                      <a:pt x="20" y="70"/>
                      <a:pt x="19" y="70"/>
                      <a:pt x="19" y="70"/>
                    </a:cubicBezTo>
                    <a:cubicBezTo>
                      <a:pt x="19" y="70"/>
                      <a:pt x="19" y="70"/>
                      <a:pt x="19" y="70"/>
                    </a:cubicBezTo>
                    <a:cubicBezTo>
                      <a:pt x="19" y="71"/>
                      <a:pt x="18" y="71"/>
                      <a:pt x="18" y="71"/>
                    </a:cubicBezTo>
                    <a:cubicBezTo>
                      <a:pt x="11" y="78"/>
                      <a:pt x="11" y="78"/>
                      <a:pt x="11" y="78"/>
                    </a:cubicBezTo>
                    <a:cubicBezTo>
                      <a:pt x="9" y="80"/>
                      <a:pt x="8" y="82"/>
                      <a:pt x="6" y="85"/>
                    </a:cubicBezTo>
                    <a:cubicBezTo>
                      <a:pt x="1" y="94"/>
                      <a:pt x="1" y="94"/>
                      <a:pt x="1" y="94"/>
                    </a:cubicBezTo>
                    <a:cubicBezTo>
                      <a:pt x="1" y="94"/>
                      <a:pt x="0" y="94"/>
                      <a:pt x="0" y="94"/>
                    </a:cubicBezTo>
                    <a:cubicBezTo>
                      <a:pt x="0" y="96"/>
                      <a:pt x="0" y="97"/>
                      <a:pt x="1" y="98"/>
                    </a:cubicBezTo>
                    <a:cubicBezTo>
                      <a:pt x="1" y="99"/>
                      <a:pt x="1" y="100"/>
                      <a:pt x="2" y="101"/>
                    </a:cubicBezTo>
                    <a:cubicBezTo>
                      <a:pt x="2" y="102"/>
                      <a:pt x="2" y="102"/>
                      <a:pt x="2" y="102"/>
                    </a:cubicBezTo>
                    <a:cubicBezTo>
                      <a:pt x="2" y="102"/>
                      <a:pt x="2" y="102"/>
                      <a:pt x="3" y="103"/>
                    </a:cubicBezTo>
                    <a:cubicBezTo>
                      <a:pt x="3" y="103"/>
                      <a:pt x="3" y="103"/>
                      <a:pt x="3" y="104"/>
                    </a:cubicBezTo>
                    <a:cubicBezTo>
                      <a:pt x="5" y="107"/>
                      <a:pt x="5" y="107"/>
                      <a:pt x="5" y="107"/>
                    </a:cubicBezTo>
                    <a:cubicBezTo>
                      <a:pt x="9" y="108"/>
                      <a:pt x="9" y="108"/>
                      <a:pt x="9" y="108"/>
                    </a:cubicBezTo>
                    <a:cubicBezTo>
                      <a:pt x="10" y="108"/>
                      <a:pt x="10" y="109"/>
                      <a:pt x="11" y="110"/>
                    </a:cubicBezTo>
                    <a:cubicBezTo>
                      <a:pt x="11" y="110"/>
                      <a:pt x="11" y="110"/>
                      <a:pt x="11" y="110"/>
                    </a:cubicBezTo>
                    <a:cubicBezTo>
                      <a:pt x="11" y="111"/>
                      <a:pt x="11" y="111"/>
                      <a:pt x="11" y="111"/>
                    </a:cubicBezTo>
                    <a:cubicBezTo>
                      <a:pt x="12" y="112"/>
                      <a:pt x="13" y="112"/>
                      <a:pt x="13" y="113"/>
                    </a:cubicBezTo>
                    <a:cubicBezTo>
                      <a:pt x="14" y="114"/>
                      <a:pt x="14" y="115"/>
                      <a:pt x="14" y="115"/>
                    </a:cubicBezTo>
                    <a:cubicBezTo>
                      <a:pt x="14" y="116"/>
                      <a:pt x="15" y="118"/>
                      <a:pt x="15" y="119"/>
                    </a:cubicBezTo>
                    <a:cubicBezTo>
                      <a:pt x="16" y="119"/>
                      <a:pt x="16" y="119"/>
                      <a:pt x="16" y="119"/>
                    </a:cubicBezTo>
                    <a:cubicBezTo>
                      <a:pt x="16" y="120"/>
                      <a:pt x="16" y="120"/>
                      <a:pt x="16" y="121"/>
                    </a:cubicBezTo>
                    <a:cubicBezTo>
                      <a:pt x="16" y="121"/>
                      <a:pt x="16" y="121"/>
                      <a:pt x="16" y="121"/>
                    </a:cubicBezTo>
                    <a:cubicBezTo>
                      <a:pt x="16" y="121"/>
                      <a:pt x="16" y="122"/>
                      <a:pt x="16" y="122"/>
                    </a:cubicBezTo>
                    <a:cubicBezTo>
                      <a:pt x="17" y="123"/>
                      <a:pt x="17" y="123"/>
                      <a:pt x="17" y="123"/>
                    </a:cubicBezTo>
                    <a:cubicBezTo>
                      <a:pt x="17" y="123"/>
                      <a:pt x="17" y="123"/>
                      <a:pt x="17" y="123"/>
                    </a:cubicBezTo>
                    <a:cubicBezTo>
                      <a:pt x="17" y="123"/>
                      <a:pt x="17" y="123"/>
                      <a:pt x="17" y="123"/>
                    </a:cubicBezTo>
                    <a:cubicBezTo>
                      <a:pt x="17" y="123"/>
                      <a:pt x="17" y="123"/>
                      <a:pt x="17" y="123"/>
                    </a:cubicBezTo>
                    <a:cubicBezTo>
                      <a:pt x="17" y="124"/>
                      <a:pt x="17" y="125"/>
                      <a:pt x="16" y="126"/>
                    </a:cubicBezTo>
                    <a:cubicBezTo>
                      <a:pt x="16" y="126"/>
                      <a:pt x="16" y="127"/>
                      <a:pt x="16" y="127"/>
                    </a:cubicBezTo>
                    <a:cubicBezTo>
                      <a:pt x="16" y="127"/>
                      <a:pt x="16" y="127"/>
                      <a:pt x="16" y="127"/>
                    </a:cubicBezTo>
                    <a:cubicBezTo>
                      <a:pt x="16" y="127"/>
                      <a:pt x="16" y="128"/>
                      <a:pt x="16" y="128"/>
                    </a:cubicBezTo>
                    <a:cubicBezTo>
                      <a:pt x="16" y="128"/>
                      <a:pt x="16" y="129"/>
                      <a:pt x="16" y="129"/>
                    </a:cubicBezTo>
                    <a:cubicBezTo>
                      <a:pt x="16" y="132"/>
                      <a:pt x="17" y="134"/>
                      <a:pt x="18" y="136"/>
                    </a:cubicBezTo>
                    <a:cubicBezTo>
                      <a:pt x="19" y="136"/>
                      <a:pt x="19" y="137"/>
                      <a:pt x="20" y="138"/>
                    </a:cubicBezTo>
                    <a:cubicBezTo>
                      <a:pt x="20" y="138"/>
                      <a:pt x="20" y="138"/>
                      <a:pt x="21" y="138"/>
                    </a:cubicBezTo>
                    <a:cubicBezTo>
                      <a:pt x="21" y="138"/>
                      <a:pt x="21" y="138"/>
                      <a:pt x="21" y="138"/>
                    </a:cubicBezTo>
                    <a:cubicBezTo>
                      <a:pt x="21" y="139"/>
                      <a:pt x="21" y="139"/>
                      <a:pt x="22" y="139"/>
                    </a:cubicBezTo>
                    <a:cubicBezTo>
                      <a:pt x="24" y="141"/>
                      <a:pt x="24" y="141"/>
                      <a:pt x="24" y="141"/>
                    </a:cubicBezTo>
                    <a:cubicBezTo>
                      <a:pt x="21" y="141"/>
                      <a:pt x="21" y="141"/>
                      <a:pt x="21" y="141"/>
                    </a:cubicBezTo>
                    <a:cubicBezTo>
                      <a:pt x="20" y="141"/>
                      <a:pt x="18" y="141"/>
                      <a:pt x="17" y="141"/>
                    </a:cubicBezTo>
                    <a:cubicBezTo>
                      <a:pt x="17" y="141"/>
                      <a:pt x="16" y="141"/>
                      <a:pt x="16" y="141"/>
                    </a:cubicBezTo>
                    <a:cubicBezTo>
                      <a:pt x="16" y="141"/>
                      <a:pt x="16" y="141"/>
                      <a:pt x="16" y="141"/>
                    </a:cubicBezTo>
                    <a:cubicBezTo>
                      <a:pt x="14" y="141"/>
                      <a:pt x="13" y="142"/>
                      <a:pt x="12" y="142"/>
                    </a:cubicBezTo>
                    <a:cubicBezTo>
                      <a:pt x="11" y="142"/>
                      <a:pt x="11" y="142"/>
                      <a:pt x="11" y="142"/>
                    </a:cubicBezTo>
                    <a:cubicBezTo>
                      <a:pt x="11" y="142"/>
                      <a:pt x="11" y="142"/>
                      <a:pt x="11" y="142"/>
                    </a:cubicBezTo>
                    <a:cubicBezTo>
                      <a:pt x="10" y="141"/>
                      <a:pt x="10" y="141"/>
                      <a:pt x="10" y="141"/>
                    </a:cubicBezTo>
                    <a:cubicBezTo>
                      <a:pt x="10" y="141"/>
                      <a:pt x="10" y="141"/>
                      <a:pt x="10" y="141"/>
                    </a:cubicBezTo>
                    <a:cubicBezTo>
                      <a:pt x="9" y="141"/>
                      <a:pt x="8" y="141"/>
                      <a:pt x="7" y="141"/>
                    </a:cubicBezTo>
                    <a:cubicBezTo>
                      <a:pt x="7" y="141"/>
                      <a:pt x="7" y="141"/>
                      <a:pt x="7" y="141"/>
                    </a:cubicBezTo>
                    <a:cubicBezTo>
                      <a:pt x="6" y="141"/>
                      <a:pt x="6" y="141"/>
                      <a:pt x="6" y="142"/>
                    </a:cubicBezTo>
                    <a:cubicBezTo>
                      <a:pt x="6" y="142"/>
                      <a:pt x="6" y="143"/>
                      <a:pt x="6" y="143"/>
                    </a:cubicBezTo>
                    <a:cubicBezTo>
                      <a:pt x="5" y="143"/>
                      <a:pt x="5" y="143"/>
                      <a:pt x="5" y="143"/>
                    </a:cubicBezTo>
                    <a:cubicBezTo>
                      <a:pt x="5" y="143"/>
                      <a:pt x="5" y="143"/>
                      <a:pt x="5" y="144"/>
                    </a:cubicBezTo>
                    <a:cubicBezTo>
                      <a:pt x="6" y="144"/>
                      <a:pt x="6" y="144"/>
                      <a:pt x="6" y="144"/>
                    </a:cubicBezTo>
                    <a:cubicBezTo>
                      <a:pt x="6" y="144"/>
                      <a:pt x="6" y="144"/>
                      <a:pt x="6" y="144"/>
                    </a:cubicBezTo>
                    <a:cubicBezTo>
                      <a:pt x="6" y="145"/>
                      <a:pt x="7" y="145"/>
                      <a:pt x="7" y="145"/>
                    </a:cubicBezTo>
                    <a:cubicBezTo>
                      <a:pt x="7" y="146"/>
                      <a:pt x="7" y="146"/>
                      <a:pt x="7" y="146"/>
                    </a:cubicBezTo>
                    <a:cubicBezTo>
                      <a:pt x="9" y="147"/>
                      <a:pt x="10" y="148"/>
                      <a:pt x="11" y="149"/>
                    </a:cubicBezTo>
                    <a:cubicBezTo>
                      <a:pt x="12" y="150"/>
                      <a:pt x="12" y="150"/>
                      <a:pt x="12" y="150"/>
                    </a:cubicBezTo>
                    <a:cubicBezTo>
                      <a:pt x="13" y="151"/>
                      <a:pt x="15" y="152"/>
                      <a:pt x="16" y="154"/>
                    </a:cubicBezTo>
                    <a:cubicBezTo>
                      <a:pt x="17" y="155"/>
                      <a:pt x="18" y="156"/>
                      <a:pt x="19" y="158"/>
                    </a:cubicBezTo>
                    <a:cubicBezTo>
                      <a:pt x="19" y="158"/>
                      <a:pt x="19" y="158"/>
                      <a:pt x="19" y="158"/>
                    </a:cubicBezTo>
                    <a:cubicBezTo>
                      <a:pt x="19" y="158"/>
                      <a:pt x="19" y="159"/>
                      <a:pt x="19" y="159"/>
                    </a:cubicBezTo>
                    <a:cubicBezTo>
                      <a:pt x="19" y="159"/>
                      <a:pt x="19" y="160"/>
                      <a:pt x="20" y="160"/>
                    </a:cubicBezTo>
                    <a:cubicBezTo>
                      <a:pt x="20" y="161"/>
                      <a:pt x="20" y="161"/>
                      <a:pt x="20" y="162"/>
                    </a:cubicBezTo>
                    <a:cubicBezTo>
                      <a:pt x="22" y="162"/>
                      <a:pt x="22" y="162"/>
                      <a:pt x="22" y="162"/>
                    </a:cubicBezTo>
                    <a:cubicBezTo>
                      <a:pt x="21" y="163"/>
                      <a:pt x="21" y="163"/>
                      <a:pt x="21" y="163"/>
                    </a:cubicBezTo>
                    <a:cubicBezTo>
                      <a:pt x="21" y="163"/>
                      <a:pt x="21" y="164"/>
                      <a:pt x="21" y="164"/>
                    </a:cubicBezTo>
                    <a:cubicBezTo>
                      <a:pt x="22" y="164"/>
                      <a:pt x="22" y="164"/>
                      <a:pt x="23" y="164"/>
                    </a:cubicBezTo>
                    <a:cubicBezTo>
                      <a:pt x="23" y="163"/>
                      <a:pt x="24" y="163"/>
                      <a:pt x="24" y="163"/>
                    </a:cubicBezTo>
                    <a:cubicBezTo>
                      <a:pt x="25" y="163"/>
                      <a:pt x="25" y="163"/>
                      <a:pt x="25" y="163"/>
                    </a:cubicBezTo>
                    <a:cubicBezTo>
                      <a:pt x="25" y="163"/>
                      <a:pt x="26" y="163"/>
                      <a:pt x="26" y="163"/>
                    </a:cubicBezTo>
                    <a:cubicBezTo>
                      <a:pt x="27" y="163"/>
                      <a:pt x="27" y="163"/>
                      <a:pt x="27" y="163"/>
                    </a:cubicBezTo>
                    <a:cubicBezTo>
                      <a:pt x="27" y="163"/>
                      <a:pt x="27" y="163"/>
                      <a:pt x="27" y="163"/>
                    </a:cubicBezTo>
                    <a:cubicBezTo>
                      <a:pt x="28" y="162"/>
                      <a:pt x="28" y="162"/>
                      <a:pt x="28" y="161"/>
                    </a:cubicBezTo>
                    <a:cubicBezTo>
                      <a:pt x="28" y="161"/>
                      <a:pt x="29" y="161"/>
                      <a:pt x="29" y="161"/>
                    </a:cubicBezTo>
                    <a:cubicBezTo>
                      <a:pt x="29" y="161"/>
                      <a:pt x="29" y="161"/>
                      <a:pt x="30" y="161"/>
                    </a:cubicBezTo>
                    <a:cubicBezTo>
                      <a:pt x="30" y="161"/>
                      <a:pt x="30" y="161"/>
                      <a:pt x="30" y="161"/>
                    </a:cubicBezTo>
                    <a:cubicBezTo>
                      <a:pt x="30" y="161"/>
                      <a:pt x="30" y="161"/>
                      <a:pt x="30" y="161"/>
                    </a:cubicBezTo>
                    <a:cubicBezTo>
                      <a:pt x="31" y="161"/>
                      <a:pt x="31" y="161"/>
                      <a:pt x="32" y="162"/>
                    </a:cubicBezTo>
                    <a:cubicBezTo>
                      <a:pt x="33" y="163"/>
                      <a:pt x="33" y="163"/>
                      <a:pt x="33" y="163"/>
                    </a:cubicBezTo>
                    <a:cubicBezTo>
                      <a:pt x="33" y="163"/>
                      <a:pt x="33" y="163"/>
                      <a:pt x="33" y="163"/>
                    </a:cubicBezTo>
                    <a:cubicBezTo>
                      <a:pt x="34" y="163"/>
                      <a:pt x="34" y="163"/>
                      <a:pt x="34" y="163"/>
                    </a:cubicBezTo>
                    <a:cubicBezTo>
                      <a:pt x="34" y="163"/>
                      <a:pt x="34" y="163"/>
                      <a:pt x="34" y="163"/>
                    </a:cubicBezTo>
                    <a:cubicBezTo>
                      <a:pt x="34" y="163"/>
                      <a:pt x="34" y="163"/>
                      <a:pt x="34" y="163"/>
                    </a:cubicBezTo>
                    <a:cubicBezTo>
                      <a:pt x="34" y="163"/>
                      <a:pt x="34" y="163"/>
                      <a:pt x="34" y="163"/>
                    </a:cubicBezTo>
                    <a:cubicBezTo>
                      <a:pt x="35" y="162"/>
                      <a:pt x="35" y="162"/>
                      <a:pt x="36" y="162"/>
                    </a:cubicBezTo>
                    <a:cubicBezTo>
                      <a:pt x="36" y="162"/>
                      <a:pt x="36" y="162"/>
                      <a:pt x="36" y="162"/>
                    </a:cubicBezTo>
                    <a:cubicBezTo>
                      <a:pt x="37" y="161"/>
                      <a:pt x="37" y="161"/>
                      <a:pt x="38" y="161"/>
                    </a:cubicBezTo>
                    <a:cubicBezTo>
                      <a:pt x="39" y="161"/>
                      <a:pt x="39" y="161"/>
                      <a:pt x="39" y="161"/>
                    </a:cubicBezTo>
                    <a:cubicBezTo>
                      <a:pt x="39" y="161"/>
                      <a:pt x="39" y="161"/>
                      <a:pt x="39" y="161"/>
                    </a:cubicBezTo>
                    <a:cubicBezTo>
                      <a:pt x="41" y="160"/>
                      <a:pt x="41" y="160"/>
                      <a:pt x="41" y="160"/>
                    </a:cubicBezTo>
                    <a:cubicBezTo>
                      <a:pt x="42" y="160"/>
                      <a:pt x="43" y="160"/>
                      <a:pt x="44" y="159"/>
                    </a:cubicBezTo>
                    <a:cubicBezTo>
                      <a:pt x="44" y="159"/>
                      <a:pt x="45" y="159"/>
                      <a:pt x="46" y="159"/>
                    </a:cubicBezTo>
                    <a:cubicBezTo>
                      <a:pt x="46" y="159"/>
                      <a:pt x="47" y="159"/>
                      <a:pt x="47" y="159"/>
                    </a:cubicBezTo>
                    <a:cubicBezTo>
                      <a:pt x="47" y="159"/>
                      <a:pt x="47" y="159"/>
                      <a:pt x="47" y="159"/>
                    </a:cubicBezTo>
                    <a:cubicBezTo>
                      <a:pt x="47" y="159"/>
                      <a:pt x="47" y="159"/>
                      <a:pt x="47" y="159"/>
                    </a:cubicBezTo>
                    <a:cubicBezTo>
                      <a:pt x="48" y="159"/>
                      <a:pt x="48" y="159"/>
                      <a:pt x="48" y="159"/>
                    </a:cubicBezTo>
                    <a:cubicBezTo>
                      <a:pt x="48" y="159"/>
                      <a:pt x="49" y="159"/>
                      <a:pt x="49" y="159"/>
                    </a:cubicBezTo>
                    <a:cubicBezTo>
                      <a:pt x="49" y="159"/>
                      <a:pt x="50" y="159"/>
                      <a:pt x="50" y="159"/>
                    </a:cubicBezTo>
                    <a:cubicBezTo>
                      <a:pt x="50" y="159"/>
                      <a:pt x="50" y="159"/>
                      <a:pt x="50" y="159"/>
                    </a:cubicBezTo>
                    <a:cubicBezTo>
                      <a:pt x="50" y="159"/>
                      <a:pt x="50" y="159"/>
                      <a:pt x="50" y="159"/>
                    </a:cubicBezTo>
                    <a:cubicBezTo>
                      <a:pt x="50" y="159"/>
                      <a:pt x="50" y="158"/>
                      <a:pt x="50" y="158"/>
                    </a:cubicBezTo>
                    <a:cubicBezTo>
                      <a:pt x="51" y="158"/>
                      <a:pt x="51" y="158"/>
                      <a:pt x="51" y="158"/>
                    </a:cubicBezTo>
                    <a:cubicBezTo>
                      <a:pt x="52" y="157"/>
                      <a:pt x="53" y="156"/>
                      <a:pt x="53" y="156"/>
                    </a:cubicBezTo>
                    <a:cubicBezTo>
                      <a:pt x="54" y="155"/>
                      <a:pt x="54" y="154"/>
                      <a:pt x="54" y="154"/>
                    </a:cubicBezTo>
                    <a:cubicBezTo>
                      <a:pt x="54" y="154"/>
                      <a:pt x="54" y="154"/>
                      <a:pt x="54" y="154"/>
                    </a:cubicBezTo>
                    <a:cubicBezTo>
                      <a:pt x="54" y="154"/>
                      <a:pt x="54" y="154"/>
                      <a:pt x="54" y="154"/>
                    </a:cubicBezTo>
                    <a:cubicBezTo>
                      <a:pt x="54" y="154"/>
                      <a:pt x="54" y="154"/>
                      <a:pt x="54" y="154"/>
                    </a:cubicBezTo>
                    <a:cubicBezTo>
                      <a:pt x="54" y="154"/>
                      <a:pt x="54" y="154"/>
                      <a:pt x="54" y="154"/>
                    </a:cubicBezTo>
                    <a:cubicBezTo>
                      <a:pt x="53" y="153"/>
                      <a:pt x="52" y="153"/>
                      <a:pt x="52" y="152"/>
                    </a:cubicBezTo>
                    <a:cubicBezTo>
                      <a:pt x="52" y="151"/>
                      <a:pt x="53" y="150"/>
                      <a:pt x="55" y="149"/>
                    </a:cubicBezTo>
                    <a:cubicBezTo>
                      <a:pt x="56" y="149"/>
                      <a:pt x="56" y="149"/>
                      <a:pt x="56" y="149"/>
                    </a:cubicBezTo>
                    <a:cubicBezTo>
                      <a:pt x="56" y="149"/>
                      <a:pt x="56" y="149"/>
                      <a:pt x="56" y="149"/>
                    </a:cubicBezTo>
                    <a:cubicBezTo>
                      <a:pt x="59" y="148"/>
                      <a:pt x="62" y="148"/>
                      <a:pt x="63" y="148"/>
                    </a:cubicBezTo>
                    <a:cubicBezTo>
                      <a:pt x="64" y="148"/>
                      <a:pt x="64" y="148"/>
                      <a:pt x="64" y="148"/>
                    </a:cubicBezTo>
                    <a:cubicBezTo>
                      <a:pt x="65" y="148"/>
                      <a:pt x="66" y="148"/>
                      <a:pt x="68" y="148"/>
                    </a:cubicBezTo>
                    <a:cubicBezTo>
                      <a:pt x="68" y="148"/>
                      <a:pt x="69" y="148"/>
                      <a:pt x="69" y="147"/>
                    </a:cubicBezTo>
                    <a:cubicBezTo>
                      <a:pt x="72" y="146"/>
                      <a:pt x="73" y="144"/>
                      <a:pt x="75" y="142"/>
                    </a:cubicBezTo>
                    <a:cubicBezTo>
                      <a:pt x="81" y="135"/>
                      <a:pt x="81" y="135"/>
                      <a:pt x="81" y="135"/>
                    </a:cubicBezTo>
                    <a:cubicBezTo>
                      <a:pt x="81" y="134"/>
                      <a:pt x="81" y="134"/>
                      <a:pt x="81" y="133"/>
                    </a:cubicBezTo>
                    <a:cubicBezTo>
                      <a:pt x="82" y="133"/>
                      <a:pt x="82" y="133"/>
                      <a:pt x="82" y="132"/>
                    </a:cubicBezTo>
                    <a:cubicBezTo>
                      <a:pt x="83" y="131"/>
                      <a:pt x="85" y="130"/>
                      <a:pt x="87" y="130"/>
                    </a:cubicBezTo>
                    <a:cubicBezTo>
                      <a:pt x="88" y="129"/>
                      <a:pt x="88" y="129"/>
                      <a:pt x="89" y="129"/>
                    </a:cubicBezTo>
                    <a:cubicBezTo>
                      <a:pt x="89" y="129"/>
                      <a:pt x="89" y="129"/>
                      <a:pt x="89" y="129"/>
                    </a:cubicBezTo>
                    <a:cubicBezTo>
                      <a:pt x="90" y="129"/>
                      <a:pt x="90" y="129"/>
                      <a:pt x="90" y="129"/>
                    </a:cubicBezTo>
                    <a:cubicBezTo>
                      <a:pt x="91" y="129"/>
                      <a:pt x="92" y="129"/>
                      <a:pt x="94" y="129"/>
                    </a:cubicBezTo>
                    <a:cubicBezTo>
                      <a:pt x="94" y="129"/>
                      <a:pt x="94" y="129"/>
                      <a:pt x="94" y="129"/>
                    </a:cubicBezTo>
                    <a:cubicBezTo>
                      <a:pt x="94" y="128"/>
                      <a:pt x="94" y="128"/>
                      <a:pt x="94" y="128"/>
                    </a:cubicBezTo>
                    <a:cubicBezTo>
                      <a:pt x="94" y="128"/>
                      <a:pt x="94" y="128"/>
                      <a:pt x="94" y="128"/>
                    </a:cubicBezTo>
                    <a:cubicBezTo>
                      <a:pt x="94" y="128"/>
                      <a:pt x="94" y="128"/>
                      <a:pt x="94" y="127"/>
                    </a:cubicBezTo>
                    <a:cubicBezTo>
                      <a:pt x="94" y="127"/>
                      <a:pt x="94" y="127"/>
                      <a:pt x="94" y="127"/>
                    </a:cubicBezTo>
                    <a:cubicBezTo>
                      <a:pt x="94" y="127"/>
                      <a:pt x="93" y="126"/>
                      <a:pt x="93" y="126"/>
                    </a:cubicBezTo>
                    <a:cubicBezTo>
                      <a:pt x="92" y="125"/>
                      <a:pt x="92" y="125"/>
                      <a:pt x="92" y="125"/>
                    </a:cubicBezTo>
                    <a:cubicBezTo>
                      <a:pt x="90" y="124"/>
                      <a:pt x="90" y="123"/>
                      <a:pt x="90" y="120"/>
                    </a:cubicBezTo>
                    <a:cubicBezTo>
                      <a:pt x="90" y="121"/>
                      <a:pt x="90" y="121"/>
                      <a:pt x="90" y="121"/>
                    </a:cubicBezTo>
                    <a:cubicBezTo>
                      <a:pt x="89" y="119"/>
                      <a:pt x="89" y="119"/>
                      <a:pt x="89" y="119"/>
                    </a:cubicBezTo>
                    <a:cubicBezTo>
                      <a:pt x="89" y="119"/>
                      <a:pt x="89" y="118"/>
                      <a:pt x="89" y="117"/>
                    </a:cubicBezTo>
                    <a:cubicBezTo>
                      <a:pt x="89" y="117"/>
                      <a:pt x="88" y="114"/>
                      <a:pt x="88" y="113"/>
                    </a:cubicBezTo>
                    <a:cubicBezTo>
                      <a:pt x="88" y="113"/>
                      <a:pt x="88" y="113"/>
                      <a:pt x="88" y="113"/>
                    </a:cubicBezTo>
                    <a:cubicBezTo>
                      <a:pt x="87" y="113"/>
                      <a:pt x="87" y="114"/>
                      <a:pt x="87" y="114"/>
                    </a:cubicBezTo>
                    <a:cubicBezTo>
                      <a:pt x="86" y="114"/>
                      <a:pt x="86" y="114"/>
                      <a:pt x="86" y="114"/>
                    </a:cubicBezTo>
                    <a:cubicBezTo>
                      <a:pt x="86" y="117"/>
                      <a:pt x="86" y="117"/>
                      <a:pt x="86" y="117"/>
                    </a:cubicBezTo>
                    <a:cubicBezTo>
                      <a:pt x="85" y="114"/>
                      <a:pt x="85" y="114"/>
                      <a:pt x="85" y="114"/>
                    </a:cubicBezTo>
                    <a:cubicBezTo>
                      <a:pt x="85" y="114"/>
                      <a:pt x="85" y="114"/>
                      <a:pt x="85" y="114"/>
                    </a:cubicBezTo>
                    <a:cubicBezTo>
                      <a:pt x="85" y="114"/>
                      <a:pt x="84" y="114"/>
                      <a:pt x="84" y="113"/>
                    </a:cubicBezTo>
                    <a:cubicBezTo>
                      <a:pt x="84" y="113"/>
                      <a:pt x="84" y="113"/>
                      <a:pt x="84" y="113"/>
                    </a:cubicBezTo>
                    <a:cubicBezTo>
                      <a:pt x="83" y="112"/>
                      <a:pt x="83" y="111"/>
                      <a:pt x="83" y="109"/>
                    </a:cubicBezTo>
                    <a:cubicBezTo>
                      <a:pt x="84" y="108"/>
                      <a:pt x="85" y="107"/>
                      <a:pt x="86" y="106"/>
                    </a:cubicBezTo>
                    <a:cubicBezTo>
                      <a:pt x="86" y="106"/>
                      <a:pt x="86" y="106"/>
                      <a:pt x="87" y="106"/>
                    </a:cubicBezTo>
                    <a:cubicBezTo>
                      <a:pt x="87" y="105"/>
                      <a:pt x="87" y="105"/>
                      <a:pt x="87" y="105"/>
                    </a:cubicBezTo>
                    <a:cubicBezTo>
                      <a:pt x="87" y="105"/>
                      <a:pt x="87" y="105"/>
                      <a:pt x="87" y="105"/>
                    </a:cubicBezTo>
                    <a:cubicBezTo>
                      <a:pt x="87" y="105"/>
                      <a:pt x="87" y="104"/>
                      <a:pt x="87" y="104"/>
                    </a:cubicBezTo>
                    <a:cubicBezTo>
                      <a:pt x="86" y="103"/>
                      <a:pt x="85" y="101"/>
                      <a:pt x="86" y="99"/>
                    </a:cubicBezTo>
                    <a:cubicBezTo>
                      <a:pt x="86" y="99"/>
                      <a:pt x="87" y="99"/>
                      <a:pt x="87" y="98"/>
                    </a:cubicBezTo>
                    <a:cubicBezTo>
                      <a:pt x="87" y="98"/>
                      <a:pt x="88" y="98"/>
                      <a:pt x="88" y="97"/>
                    </a:cubicBezTo>
                    <a:cubicBezTo>
                      <a:pt x="89" y="97"/>
                      <a:pt x="89" y="97"/>
                      <a:pt x="89" y="97"/>
                    </a:cubicBezTo>
                    <a:cubicBezTo>
                      <a:pt x="89" y="97"/>
                      <a:pt x="89" y="97"/>
                      <a:pt x="89" y="97"/>
                    </a:cubicBezTo>
                    <a:cubicBezTo>
                      <a:pt x="89" y="96"/>
                      <a:pt x="89" y="96"/>
                      <a:pt x="89" y="96"/>
                    </a:cubicBezTo>
                    <a:cubicBezTo>
                      <a:pt x="89" y="95"/>
                      <a:pt x="89" y="95"/>
                      <a:pt x="89" y="94"/>
                    </a:cubicBezTo>
                    <a:cubicBezTo>
                      <a:pt x="89" y="94"/>
                      <a:pt x="89" y="94"/>
                      <a:pt x="89" y="94"/>
                    </a:cubicBezTo>
                    <a:cubicBezTo>
                      <a:pt x="89" y="94"/>
                      <a:pt x="89" y="94"/>
                      <a:pt x="89" y="94"/>
                    </a:cubicBezTo>
                    <a:cubicBezTo>
                      <a:pt x="89" y="94"/>
                      <a:pt x="89" y="94"/>
                      <a:pt x="89" y="94"/>
                    </a:cubicBezTo>
                    <a:cubicBezTo>
                      <a:pt x="88" y="92"/>
                      <a:pt x="89" y="91"/>
                      <a:pt x="91" y="91"/>
                    </a:cubicBezTo>
                    <a:cubicBezTo>
                      <a:pt x="91" y="90"/>
                      <a:pt x="91" y="90"/>
                      <a:pt x="91" y="90"/>
                    </a:cubicBezTo>
                    <a:cubicBezTo>
                      <a:pt x="91" y="90"/>
                      <a:pt x="91" y="90"/>
                      <a:pt x="91" y="90"/>
                    </a:cubicBezTo>
                    <a:cubicBezTo>
                      <a:pt x="92" y="90"/>
                      <a:pt x="92" y="90"/>
                      <a:pt x="92" y="90"/>
                    </a:cubicBezTo>
                    <a:cubicBezTo>
                      <a:pt x="92" y="90"/>
                      <a:pt x="92" y="89"/>
                      <a:pt x="92" y="89"/>
                    </a:cubicBezTo>
                    <a:cubicBezTo>
                      <a:pt x="92" y="88"/>
                      <a:pt x="92" y="88"/>
                      <a:pt x="92" y="88"/>
                    </a:cubicBezTo>
                    <a:cubicBezTo>
                      <a:pt x="92" y="88"/>
                      <a:pt x="93" y="87"/>
                      <a:pt x="93" y="86"/>
                    </a:cubicBezTo>
                    <a:cubicBezTo>
                      <a:pt x="93" y="85"/>
                      <a:pt x="93" y="85"/>
                      <a:pt x="93" y="85"/>
                    </a:cubicBezTo>
                    <a:cubicBezTo>
                      <a:pt x="93" y="84"/>
                      <a:pt x="93" y="83"/>
                      <a:pt x="94" y="82"/>
                    </a:cubicBezTo>
                    <a:cubicBezTo>
                      <a:pt x="96" y="79"/>
                      <a:pt x="100" y="79"/>
                      <a:pt x="104" y="79"/>
                    </a:cubicBezTo>
                    <a:cubicBezTo>
                      <a:pt x="104" y="79"/>
                      <a:pt x="104" y="79"/>
                      <a:pt x="105" y="79"/>
                    </a:cubicBezTo>
                    <a:cubicBezTo>
                      <a:pt x="105" y="41"/>
                      <a:pt x="105" y="41"/>
                      <a:pt x="105" y="41"/>
                    </a:cubicBezTo>
                    <a:cubicBezTo>
                      <a:pt x="70" y="23"/>
                      <a:pt x="70" y="23"/>
                      <a:pt x="70" y="23"/>
                    </a:cubicBezTo>
                    <a:cubicBezTo>
                      <a:pt x="63" y="19"/>
                      <a:pt x="53" y="14"/>
                      <a:pt x="4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9" name="Freeform 3031">
                <a:extLst>
                  <a:ext uri="{FF2B5EF4-FFF2-40B4-BE49-F238E27FC236}">
                    <a16:creationId xmlns:a16="http://schemas.microsoft.com/office/drawing/2014/main" id="{0DFD31B6-510C-4793-B2E8-A7015AF5D786}"/>
                  </a:ext>
                </a:extLst>
              </p:cNvPr>
              <p:cNvSpPr>
                <a:spLocks/>
              </p:cNvSpPr>
              <p:nvPr/>
            </p:nvSpPr>
            <p:spPr bwMode="auto">
              <a:xfrm>
                <a:off x="3559" y="2201"/>
                <a:ext cx="373" cy="287"/>
              </a:xfrm>
              <a:custGeom>
                <a:avLst/>
                <a:gdLst>
                  <a:gd name="T0" fmla="*/ 82 w 158"/>
                  <a:gd name="T1" fmla="*/ 107 h 121"/>
                  <a:gd name="T2" fmla="*/ 91 w 158"/>
                  <a:gd name="T3" fmla="*/ 110 h 121"/>
                  <a:gd name="T4" fmla="*/ 93 w 158"/>
                  <a:gd name="T5" fmla="*/ 111 h 121"/>
                  <a:gd name="T6" fmla="*/ 95 w 158"/>
                  <a:gd name="T7" fmla="*/ 109 h 121"/>
                  <a:gd name="T8" fmla="*/ 107 w 158"/>
                  <a:gd name="T9" fmla="*/ 105 h 121"/>
                  <a:gd name="T10" fmla="*/ 113 w 158"/>
                  <a:gd name="T11" fmla="*/ 105 h 121"/>
                  <a:gd name="T12" fmla="*/ 118 w 158"/>
                  <a:gd name="T13" fmla="*/ 106 h 121"/>
                  <a:gd name="T14" fmla="*/ 125 w 158"/>
                  <a:gd name="T15" fmla="*/ 105 h 121"/>
                  <a:gd name="T16" fmla="*/ 128 w 158"/>
                  <a:gd name="T17" fmla="*/ 103 h 121"/>
                  <a:gd name="T18" fmla="*/ 131 w 158"/>
                  <a:gd name="T19" fmla="*/ 101 h 121"/>
                  <a:gd name="T20" fmla="*/ 132 w 158"/>
                  <a:gd name="T21" fmla="*/ 95 h 121"/>
                  <a:gd name="T22" fmla="*/ 133 w 158"/>
                  <a:gd name="T23" fmla="*/ 93 h 121"/>
                  <a:gd name="T24" fmla="*/ 139 w 158"/>
                  <a:gd name="T25" fmla="*/ 85 h 121"/>
                  <a:gd name="T26" fmla="*/ 152 w 158"/>
                  <a:gd name="T27" fmla="*/ 70 h 121"/>
                  <a:gd name="T28" fmla="*/ 153 w 158"/>
                  <a:gd name="T29" fmla="*/ 69 h 121"/>
                  <a:gd name="T30" fmla="*/ 152 w 158"/>
                  <a:gd name="T31" fmla="*/ 61 h 121"/>
                  <a:gd name="T32" fmla="*/ 155 w 158"/>
                  <a:gd name="T33" fmla="*/ 41 h 121"/>
                  <a:gd name="T34" fmla="*/ 158 w 158"/>
                  <a:gd name="T35" fmla="*/ 33 h 121"/>
                  <a:gd name="T36" fmla="*/ 155 w 158"/>
                  <a:gd name="T37" fmla="*/ 30 h 121"/>
                  <a:gd name="T38" fmla="*/ 154 w 158"/>
                  <a:gd name="T39" fmla="*/ 26 h 121"/>
                  <a:gd name="T40" fmla="*/ 152 w 158"/>
                  <a:gd name="T41" fmla="*/ 23 h 121"/>
                  <a:gd name="T42" fmla="*/ 150 w 158"/>
                  <a:gd name="T43" fmla="*/ 16 h 121"/>
                  <a:gd name="T44" fmla="*/ 148 w 158"/>
                  <a:gd name="T45" fmla="*/ 7 h 121"/>
                  <a:gd name="T46" fmla="*/ 138 w 158"/>
                  <a:gd name="T47" fmla="*/ 7 h 121"/>
                  <a:gd name="T48" fmla="*/ 133 w 158"/>
                  <a:gd name="T49" fmla="*/ 3 h 121"/>
                  <a:gd name="T50" fmla="*/ 65 w 158"/>
                  <a:gd name="T51" fmla="*/ 35 h 121"/>
                  <a:gd name="T52" fmla="*/ 57 w 158"/>
                  <a:gd name="T53" fmla="*/ 43 h 121"/>
                  <a:gd name="T54" fmla="*/ 41 w 158"/>
                  <a:gd name="T55" fmla="*/ 52 h 121"/>
                  <a:gd name="T56" fmla="*/ 40 w 158"/>
                  <a:gd name="T57" fmla="*/ 75 h 121"/>
                  <a:gd name="T58" fmla="*/ 36 w 158"/>
                  <a:gd name="T59" fmla="*/ 83 h 121"/>
                  <a:gd name="T60" fmla="*/ 30 w 158"/>
                  <a:gd name="T61" fmla="*/ 86 h 121"/>
                  <a:gd name="T62" fmla="*/ 28 w 158"/>
                  <a:gd name="T63" fmla="*/ 86 h 121"/>
                  <a:gd name="T64" fmla="*/ 23 w 158"/>
                  <a:gd name="T65" fmla="*/ 87 h 121"/>
                  <a:gd name="T66" fmla="*/ 1 w 158"/>
                  <a:gd name="T67" fmla="*/ 90 h 121"/>
                  <a:gd name="T68" fmla="*/ 0 w 158"/>
                  <a:gd name="T69" fmla="*/ 91 h 121"/>
                  <a:gd name="T70" fmla="*/ 1 w 158"/>
                  <a:gd name="T71" fmla="*/ 98 h 121"/>
                  <a:gd name="T72" fmla="*/ 4 w 158"/>
                  <a:gd name="T73" fmla="*/ 102 h 121"/>
                  <a:gd name="T74" fmla="*/ 10 w 158"/>
                  <a:gd name="T75" fmla="*/ 105 h 121"/>
                  <a:gd name="T76" fmla="*/ 8 w 158"/>
                  <a:gd name="T77" fmla="*/ 108 h 121"/>
                  <a:gd name="T78" fmla="*/ 7 w 158"/>
                  <a:gd name="T79" fmla="*/ 109 h 121"/>
                  <a:gd name="T80" fmla="*/ 11 w 158"/>
                  <a:gd name="T81" fmla="*/ 111 h 121"/>
                  <a:gd name="T82" fmla="*/ 15 w 158"/>
                  <a:gd name="T83" fmla="*/ 112 h 121"/>
                  <a:gd name="T84" fmla="*/ 20 w 158"/>
                  <a:gd name="T85" fmla="*/ 115 h 121"/>
                  <a:gd name="T86" fmla="*/ 19 w 158"/>
                  <a:gd name="T87" fmla="*/ 117 h 121"/>
                  <a:gd name="T88" fmla="*/ 22 w 158"/>
                  <a:gd name="T89" fmla="*/ 116 h 121"/>
                  <a:gd name="T90" fmla="*/ 25 w 158"/>
                  <a:gd name="T91" fmla="*/ 115 h 121"/>
                  <a:gd name="T92" fmla="*/ 27 w 158"/>
                  <a:gd name="T93" fmla="*/ 117 h 121"/>
                  <a:gd name="T94" fmla="*/ 32 w 158"/>
                  <a:gd name="T95" fmla="*/ 116 h 121"/>
                  <a:gd name="T96" fmla="*/ 33 w 158"/>
                  <a:gd name="T97" fmla="*/ 114 h 121"/>
                  <a:gd name="T98" fmla="*/ 34 w 158"/>
                  <a:gd name="T99" fmla="*/ 112 h 121"/>
                  <a:gd name="T100" fmla="*/ 37 w 158"/>
                  <a:gd name="T101" fmla="*/ 107 h 121"/>
                  <a:gd name="T102" fmla="*/ 46 w 158"/>
                  <a:gd name="T103" fmla="*/ 101 h 121"/>
                  <a:gd name="T104" fmla="*/ 53 w 158"/>
                  <a:gd name="T105" fmla="*/ 100 h 121"/>
                  <a:gd name="T106" fmla="*/ 57 w 158"/>
                  <a:gd name="T107" fmla="*/ 101 h 121"/>
                  <a:gd name="T108" fmla="*/ 64 w 158"/>
                  <a:gd name="T109" fmla="*/ 104 h 121"/>
                  <a:gd name="T110" fmla="*/ 70 w 158"/>
                  <a:gd name="T111" fmla="*/ 108 h 121"/>
                  <a:gd name="T112" fmla="*/ 77 w 158"/>
                  <a:gd name="T113" fmla="*/ 10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 h="121">
                    <a:moveTo>
                      <a:pt x="78" y="105"/>
                    </a:moveTo>
                    <a:cubicBezTo>
                      <a:pt x="79" y="105"/>
                      <a:pt x="79" y="105"/>
                      <a:pt x="79" y="105"/>
                    </a:cubicBezTo>
                    <a:cubicBezTo>
                      <a:pt x="79" y="105"/>
                      <a:pt x="79" y="105"/>
                      <a:pt x="79" y="106"/>
                    </a:cubicBezTo>
                    <a:cubicBezTo>
                      <a:pt x="80" y="106"/>
                      <a:pt x="81" y="106"/>
                      <a:pt x="82" y="107"/>
                    </a:cubicBezTo>
                    <a:cubicBezTo>
                      <a:pt x="82" y="107"/>
                      <a:pt x="83" y="107"/>
                      <a:pt x="83" y="108"/>
                    </a:cubicBezTo>
                    <a:cubicBezTo>
                      <a:pt x="86" y="109"/>
                      <a:pt x="86" y="109"/>
                      <a:pt x="86" y="109"/>
                    </a:cubicBezTo>
                    <a:cubicBezTo>
                      <a:pt x="87" y="110"/>
                      <a:pt x="89" y="110"/>
                      <a:pt x="91" y="110"/>
                    </a:cubicBezTo>
                    <a:cubicBezTo>
                      <a:pt x="91" y="110"/>
                      <a:pt x="91" y="110"/>
                      <a:pt x="91" y="110"/>
                    </a:cubicBezTo>
                    <a:cubicBezTo>
                      <a:pt x="91" y="110"/>
                      <a:pt x="91" y="110"/>
                      <a:pt x="91" y="110"/>
                    </a:cubicBezTo>
                    <a:cubicBezTo>
                      <a:pt x="91" y="110"/>
                      <a:pt x="92" y="110"/>
                      <a:pt x="92" y="110"/>
                    </a:cubicBezTo>
                    <a:cubicBezTo>
                      <a:pt x="92" y="110"/>
                      <a:pt x="92" y="110"/>
                      <a:pt x="92" y="111"/>
                    </a:cubicBezTo>
                    <a:cubicBezTo>
                      <a:pt x="93" y="111"/>
                      <a:pt x="93" y="111"/>
                      <a:pt x="93" y="111"/>
                    </a:cubicBezTo>
                    <a:cubicBezTo>
                      <a:pt x="93" y="111"/>
                      <a:pt x="93" y="111"/>
                      <a:pt x="94" y="111"/>
                    </a:cubicBezTo>
                    <a:cubicBezTo>
                      <a:pt x="94" y="111"/>
                      <a:pt x="94" y="111"/>
                      <a:pt x="94" y="110"/>
                    </a:cubicBezTo>
                    <a:cubicBezTo>
                      <a:pt x="94" y="110"/>
                      <a:pt x="94" y="110"/>
                      <a:pt x="94" y="110"/>
                    </a:cubicBezTo>
                    <a:cubicBezTo>
                      <a:pt x="95" y="109"/>
                      <a:pt x="95" y="109"/>
                      <a:pt x="95" y="109"/>
                    </a:cubicBezTo>
                    <a:cubicBezTo>
                      <a:pt x="96" y="108"/>
                      <a:pt x="97" y="108"/>
                      <a:pt x="97" y="107"/>
                    </a:cubicBezTo>
                    <a:cubicBezTo>
                      <a:pt x="98" y="106"/>
                      <a:pt x="100" y="106"/>
                      <a:pt x="101" y="105"/>
                    </a:cubicBezTo>
                    <a:cubicBezTo>
                      <a:pt x="103" y="105"/>
                      <a:pt x="104" y="105"/>
                      <a:pt x="105" y="105"/>
                    </a:cubicBezTo>
                    <a:cubicBezTo>
                      <a:pt x="106" y="105"/>
                      <a:pt x="106" y="105"/>
                      <a:pt x="107" y="105"/>
                    </a:cubicBezTo>
                    <a:cubicBezTo>
                      <a:pt x="108" y="105"/>
                      <a:pt x="109" y="105"/>
                      <a:pt x="109" y="105"/>
                    </a:cubicBezTo>
                    <a:cubicBezTo>
                      <a:pt x="110" y="105"/>
                      <a:pt x="110" y="105"/>
                      <a:pt x="110" y="105"/>
                    </a:cubicBezTo>
                    <a:cubicBezTo>
                      <a:pt x="111" y="105"/>
                      <a:pt x="112" y="105"/>
                      <a:pt x="113" y="105"/>
                    </a:cubicBezTo>
                    <a:cubicBezTo>
                      <a:pt x="113" y="105"/>
                      <a:pt x="113" y="105"/>
                      <a:pt x="113" y="105"/>
                    </a:cubicBezTo>
                    <a:cubicBezTo>
                      <a:pt x="114" y="105"/>
                      <a:pt x="114" y="105"/>
                      <a:pt x="115" y="105"/>
                    </a:cubicBezTo>
                    <a:cubicBezTo>
                      <a:pt x="117" y="106"/>
                      <a:pt x="117" y="106"/>
                      <a:pt x="117" y="106"/>
                    </a:cubicBezTo>
                    <a:cubicBezTo>
                      <a:pt x="117" y="106"/>
                      <a:pt x="117" y="106"/>
                      <a:pt x="117" y="106"/>
                    </a:cubicBezTo>
                    <a:cubicBezTo>
                      <a:pt x="118" y="106"/>
                      <a:pt x="118" y="106"/>
                      <a:pt x="118" y="106"/>
                    </a:cubicBezTo>
                    <a:cubicBezTo>
                      <a:pt x="122" y="108"/>
                      <a:pt x="122" y="108"/>
                      <a:pt x="122" y="108"/>
                    </a:cubicBezTo>
                    <a:cubicBezTo>
                      <a:pt x="125" y="105"/>
                      <a:pt x="125" y="105"/>
                      <a:pt x="125" y="105"/>
                    </a:cubicBezTo>
                    <a:cubicBezTo>
                      <a:pt x="125" y="105"/>
                      <a:pt x="125" y="105"/>
                      <a:pt x="125" y="105"/>
                    </a:cubicBezTo>
                    <a:cubicBezTo>
                      <a:pt x="125" y="105"/>
                      <a:pt x="125" y="105"/>
                      <a:pt x="125" y="105"/>
                    </a:cubicBezTo>
                    <a:cubicBezTo>
                      <a:pt x="126" y="104"/>
                      <a:pt x="126" y="104"/>
                      <a:pt x="127" y="104"/>
                    </a:cubicBezTo>
                    <a:cubicBezTo>
                      <a:pt x="127" y="103"/>
                      <a:pt x="127" y="103"/>
                      <a:pt x="127" y="103"/>
                    </a:cubicBezTo>
                    <a:cubicBezTo>
                      <a:pt x="127" y="103"/>
                      <a:pt x="127" y="103"/>
                      <a:pt x="127" y="103"/>
                    </a:cubicBezTo>
                    <a:cubicBezTo>
                      <a:pt x="128" y="103"/>
                      <a:pt x="128" y="103"/>
                      <a:pt x="128" y="103"/>
                    </a:cubicBezTo>
                    <a:cubicBezTo>
                      <a:pt x="128" y="103"/>
                      <a:pt x="128" y="103"/>
                      <a:pt x="129" y="103"/>
                    </a:cubicBezTo>
                    <a:cubicBezTo>
                      <a:pt x="129" y="102"/>
                      <a:pt x="129" y="102"/>
                      <a:pt x="129" y="102"/>
                    </a:cubicBezTo>
                    <a:cubicBezTo>
                      <a:pt x="129" y="102"/>
                      <a:pt x="129" y="102"/>
                      <a:pt x="130" y="102"/>
                    </a:cubicBezTo>
                    <a:cubicBezTo>
                      <a:pt x="130" y="102"/>
                      <a:pt x="131" y="102"/>
                      <a:pt x="131" y="101"/>
                    </a:cubicBezTo>
                    <a:cubicBezTo>
                      <a:pt x="132" y="101"/>
                      <a:pt x="132" y="101"/>
                      <a:pt x="133" y="101"/>
                    </a:cubicBezTo>
                    <a:cubicBezTo>
                      <a:pt x="133" y="101"/>
                      <a:pt x="133" y="101"/>
                      <a:pt x="134" y="101"/>
                    </a:cubicBezTo>
                    <a:cubicBezTo>
                      <a:pt x="133" y="101"/>
                      <a:pt x="133" y="100"/>
                      <a:pt x="133" y="100"/>
                    </a:cubicBezTo>
                    <a:cubicBezTo>
                      <a:pt x="133" y="98"/>
                      <a:pt x="132" y="97"/>
                      <a:pt x="132" y="95"/>
                    </a:cubicBezTo>
                    <a:cubicBezTo>
                      <a:pt x="132" y="95"/>
                      <a:pt x="132" y="95"/>
                      <a:pt x="132" y="94"/>
                    </a:cubicBezTo>
                    <a:cubicBezTo>
                      <a:pt x="132" y="94"/>
                      <a:pt x="132" y="94"/>
                      <a:pt x="132" y="94"/>
                    </a:cubicBezTo>
                    <a:cubicBezTo>
                      <a:pt x="132" y="94"/>
                      <a:pt x="132" y="94"/>
                      <a:pt x="132" y="94"/>
                    </a:cubicBezTo>
                    <a:cubicBezTo>
                      <a:pt x="133" y="93"/>
                      <a:pt x="133" y="93"/>
                      <a:pt x="133" y="93"/>
                    </a:cubicBezTo>
                    <a:cubicBezTo>
                      <a:pt x="134" y="93"/>
                      <a:pt x="134" y="93"/>
                      <a:pt x="134" y="93"/>
                    </a:cubicBezTo>
                    <a:cubicBezTo>
                      <a:pt x="134" y="93"/>
                      <a:pt x="134" y="93"/>
                      <a:pt x="134" y="93"/>
                    </a:cubicBezTo>
                    <a:cubicBezTo>
                      <a:pt x="134" y="93"/>
                      <a:pt x="134" y="93"/>
                      <a:pt x="134" y="93"/>
                    </a:cubicBezTo>
                    <a:cubicBezTo>
                      <a:pt x="139" y="85"/>
                      <a:pt x="139" y="85"/>
                      <a:pt x="139" y="85"/>
                    </a:cubicBezTo>
                    <a:cubicBezTo>
                      <a:pt x="141" y="82"/>
                      <a:pt x="142" y="80"/>
                      <a:pt x="144" y="78"/>
                    </a:cubicBezTo>
                    <a:cubicBezTo>
                      <a:pt x="144" y="78"/>
                      <a:pt x="144" y="78"/>
                      <a:pt x="144" y="78"/>
                    </a:cubicBezTo>
                    <a:cubicBezTo>
                      <a:pt x="146" y="76"/>
                      <a:pt x="148" y="74"/>
                      <a:pt x="149" y="73"/>
                    </a:cubicBezTo>
                    <a:cubicBezTo>
                      <a:pt x="152" y="70"/>
                      <a:pt x="152" y="70"/>
                      <a:pt x="152" y="70"/>
                    </a:cubicBezTo>
                    <a:cubicBezTo>
                      <a:pt x="152" y="70"/>
                      <a:pt x="152" y="70"/>
                      <a:pt x="152" y="69"/>
                    </a:cubicBezTo>
                    <a:cubicBezTo>
                      <a:pt x="152" y="69"/>
                      <a:pt x="152" y="69"/>
                      <a:pt x="152" y="69"/>
                    </a:cubicBezTo>
                    <a:cubicBezTo>
                      <a:pt x="152" y="69"/>
                      <a:pt x="153" y="69"/>
                      <a:pt x="153" y="69"/>
                    </a:cubicBezTo>
                    <a:cubicBezTo>
                      <a:pt x="153" y="69"/>
                      <a:pt x="153" y="69"/>
                      <a:pt x="153" y="69"/>
                    </a:cubicBezTo>
                    <a:cubicBezTo>
                      <a:pt x="153" y="68"/>
                      <a:pt x="153" y="68"/>
                      <a:pt x="153" y="68"/>
                    </a:cubicBezTo>
                    <a:cubicBezTo>
                      <a:pt x="153" y="67"/>
                      <a:pt x="153" y="67"/>
                      <a:pt x="153" y="67"/>
                    </a:cubicBezTo>
                    <a:cubicBezTo>
                      <a:pt x="153" y="61"/>
                      <a:pt x="153" y="61"/>
                      <a:pt x="153" y="61"/>
                    </a:cubicBezTo>
                    <a:cubicBezTo>
                      <a:pt x="152" y="61"/>
                      <a:pt x="152" y="61"/>
                      <a:pt x="152" y="61"/>
                    </a:cubicBezTo>
                    <a:cubicBezTo>
                      <a:pt x="153" y="60"/>
                      <a:pt x="153" y="60"/>
                      <a:pt x="153" y="60"/>
                    </a:cubicBezTo>
                    <a:cubicBezTo>
                      <a:pt x="153" y="60"/>
                      <a:pt x="153" y="60"/>
                      <a:pt x="153" y="60"/>
                    </a:cubicBezTo>
                    <a:cubicBezTo>
                      <a:pt x="154" y="55"/>
                      <a:pt x="154" y="48"/>
                      <a:pt x="155" y="42"/>
                    </a:cubicBezTo>
                    <a:cubicBezTo>
                      <a:pt x="155" y="41"/>
                      <a:pt x="155" y="41"/>
                      <a:pt x="155" y="41"/>
                    </a:cubicBezTo>
                    <a:cubicBezTo>
                      <a:pt x="155" y="39"/>
                      <a:pt x="156" y="37"/>
                      <a:pt x="157" y="35"/>
                    </a:cubicBezTo>
                    <a:cubicBezTo>
                      <a:pt x="157" y="34"/>
                      <a:pt x="157" y="34"/>
                      <a:pt x="157" y="34"/>
                    </a:cubicBezTo>
                    <a:cubicBezTo>
                      <a:pt x="157" y="34"/>
                      <a:pt x="158" y="33"/>
                      <a:pt x="158" y="33"/>
                    </a:cubicBezTo>
                    <a:cubicBezTo>
                      <a:pt x="158" y="33"/>
                      <a:pt x="158" y="33"/>
                      <a:pt x="158" y="33"/>
                    </a:cubicBezTo>
                    <a:cubicBezTo>
                      <a:pt x="158" y="33"/>
                      <a:pt x="158" y="33"/>
                      <a:pt x="158" y="33"/>
                    </a:cubicBezTo>
                    <a:cubicBezTo>
                      <a:pt x="158" y="33"/>
                      <a:pt x="157" y="32"/>
                      <a:pt x="156" y="31"/>
                    </a:cubicBezTo>
                    <a:cubicBezTo>
                      <a:pt x="156" y="31"/>
                      <a:pt x="156" y="31"/>
                      <a:pt x="156" y="31"/>
                    </a:cubicBezTo>
                    <a:cubicBezTo>
                      <a:pt x="156" y="30"/>
                      <a:pt x="155" y="30"/>
                      <a:pt x="155" y="30"/>
                    </a:cubicBezTo>
                    <a:cubicBezTo>
                      <a:pt x="155" y="30"/>
                      <a:pt x="155" y="30"/>
                      <a:pt x="155" y="30"/>
                    </a:cubicBezTo>
                    <a:cubicBezTo>
                      <a:pt x="155" y="30"/>
                      <a:pt x="155" y="30"/>
                      <a:pt x="154" y="29"/>
                    </a:cubicBezTo>
                    <a:cubicBezTo>
                      <a:pt x="154" y="29"/>
                      <a:pt x="154" y="28"/>
                      <a:pt x="154" y="27"/>
                    </a:cubicBezTo>
                    <a:cubicBezTo>
                      <a:pt x="154" y="27"/>
                      <a:pt x="154" y="26"/>
                      <a:pt x="154" y="26"/>
                    </a:cubicBezTo>
                    <a:cubicBezTo>
                      <a:pt x="153" y="26"/>
                      <a:pt x="153" y="26"/>
                      <a:pt x="153" y="26"/>
                    </a:cubicBezTo>
                    <a:cubicBezTo>
                      <a:pt x="153" y="25"/>
                      <a:pt x="153" y="25"/>
                      <a:pt x="153" y="24"/>
                    </a:cubicBezTo>
                    <a:cubicBezTo>
                      <a:pt x="152" y="24"/>
                      <a:pt x="152" y="23"/>
                      <a:pt x="152" y="23"/>
                    </a:cubicBezTo>
                    <a:cubicBezTo>
                      <a:pt x="152" y="23"/>
                      <a:pt x="152" y="23"/>
                      <a:pt x="152" y="23"/>
                    </a:cubicBezTo>
                    <a:cubicBezTo>
                      <a:pt x="151" y="22"/>
                      <a:pt x="151" y="22"/>
                      <a:pt x="151" y="22"/>
                    </a:cubicBezTo>
                    <a:cubicBezTo>
                      <a:pt x="150" y="20"/>
                      <a:pt x="150" y="18"/>
                      <a:pt x="150" y="17"/>
                    </a:cubicBezTo>
                    <a:cubicBezTo>
                      <a:pt x="150" y="16"/>
                      <a:pt x="150" y="16"/>
                      <a:pt x="150" y="16"/>
                    </a:cubicBezTo>
                    <a:cubicBezTo>
                      <a:pt x="150" y="16"/>
                      <a:pt x="150" y="16"/>
                      <a:pt x="150" y="16"/>
                    </a:cubicBezTo>
                    <a:cubicBezTo>
                      <a:pt x="150" y="15"/>
                      <a:pt x="150" y="15"/>
                      <a:pt x="150" y="15"/>
                    </a:cubicBezTo>
                    <a:cubicBezTo>
                      <a:pt x="150" y="14"/>
                      <a:pt x="150" y="14"/>
                      <a:pt x="149" y="13"/>
                    </a:cubicBezTo>
                    <a:cubicBezTo>
                      <a:pt x="149" y="11"/>
                      <a:pt x="149" y="9"/>
                      <a:pt x="148" y="8"/>
                    </a:cubicBezTo>
                    <a:cubicBezTo>
                      <a:pt x="148" y="7"/>
                      <a:pt x="148" y="7"/>
                      <a:pt x="148" y="7"/>
                    </a:cubicBezTo>
                    <a:cubicBezTo>
                      <a:pt x="148" y="7"/>
                      <a:pt x="148" y="7"/>
                      <a:pt x="148" y="6"/>
                    </a:cubicBezTo>
                    <a:cubicBezTo>
                      <a:pt x="144" y="8"/>
                      <a:pt x="144" y="8"/>
                      <a:pt x="144" y="8"/>
                    </a:cubicBezTo>
                    <a:cubicBezTo>
                      <a:pt x="143" y="9"/>
                      <a:pt x="141" y="10"/>
                      <a:pt x="140" y="9"/>
                    </a:cubicBezTo>
                    <a:cubicBezTo>
                      <a:pt x="139" y="8"/>
                      <a:pt x="139" y="8"/>
                      <a:pt x="138" y="7"/>
                    </a:cubicBezTo>
                    <a:cubicBezTo>
                      <a:pt x="138" y="7"/>
                      <a:pt x="138" y="7"/>
                      <a:pt x="138" y="7"/>
                    </a:cubicBezTo>
                    <a:cubicBezTo>
                      <a:pt x="138" y="7"/>
                      <a:pt x="138" y="7"/>
                      <a:pt x="137" y="7"/>
                    </a:cubicBezTo>
                    <a:cubicBezTo>
                      <a:pt x="136" y="5"/>
                      <a:pt x="136" y="5"/>
                      <a:pt x="136" y="5"/>
                    </a:cubicBezTo>
                    <a:cubicBezTo>
                      <a:pt x="135" y="4"/>
                      <a:pt x="134" y="4"/>
                      <a:pt x="133" y="3"/>
                    </a:cubicBezTo>
                    <a:cubicBezTo>
                      <a:pt x="119" y="0"/>
                      <a:pt x="119" y="0"/>
                      <a:pt x="119" y="0"/>
                    </a:cubicBezTo>
                    <a:cubicBezTo>
                      <a:pt x="77" y="26"/>
                      <a:pt x="77" y="26"/>
                      <a:pt x="77" y="26"/>
                    </a:cubicBezTo>
                    <a:cubicBezTo>
                      <a:pt x="74" y="27"/>
                      <a:pt x="72" y="29"/>
                      <a:pt x="70" y="31"/>
                    </a:cubicBezTo>
                    <a:cubicBezTo>
                      <a:pt x="68" y="32"/>
                      <a:pt x="67" y="34"/>
                      <a:pt x="65" y="35"/>
                    </a:cubicBezTo>
                    <a:cubicBezTo>
                      <a:pt x="61" y="39"/>
                      <a:pt x="61" y="39"/>
                      <a:pt x="61" y="39"/>
                    </a:cubicBezTo>
                    <a:cubicBezTo>
                      <a:pt x="60" y="40"/>
                      <a:pt x="59" y="41"/>
                      <a:pt x="58" y="42"/>
                    </a:cubicBezTo>
                    <a:cubicBezTo>
                      <a:pt x="57" y="42"/>
                      <a:pt x="57" y="42"/>
                      <a:pt x="57" y="42"/>
                    </a:cubicBezTo>
                    <a:cubicBezTo>
                      <a:pt x="57" y="42"/>
                      <a:pt x="57" y="43"/>
                      <a:pt x="57" y="43"/>
                    </a:cubicBezTo>
                    <a:cubicBezTo>
                      <a:pt x="55" y="44"/>
                      <a:pt x="53" y="44"/>
                      <a:pt x="51" y="45"/>
                    </a:cubicBezTo>
                    <a:cubicBezTo>
                      <a:pt x="50" y="45"/>
                      <a:pt x="49" y="45"/>
                      <a:pt x="49" y="45"/>
                    </a:cubicBezTo>
                    <a:cubicBezTo>
                      <a:pt x="41" y="46"/>
                      <a:pt x="41" y="46"/>
                      <a:pt x="41" y="46"/>
                    </a:cubicBezTo>
                    <a:cubicBezTo>
                      <a:pt x="41" y="52"/>
                      <a:pt x="41" y="52"/>
                      <a:pt x="41" y="52"/>
                    </a:cubicBezTo>
                    <a:cubicBezTo>
                      <a:pt x="41" y="55"/>
                      <a:pt x="41" y="58"/>
                      <a:pt x="41" y="61"/>
                    </a:cubicBezTo>
                    <a:cubicBezTo>
                      <a:pt x="41" y="63"/>
                      <a:pt x="41" y="63"/>
                      <a:pt x="41" y="63"/>
                    </a:cubicBezTo>
                    <a:cubicBezTo>
                      <a:pt x="41" y="67"/>
                      <a:pt x="40" y="70"/>
                      <a:pt x="40" y="73"/>
                    </a:cubicBezTo>
                    <a:cubicBezTo>
                      <a:pt x="40" y="74"/>
                      <a:pt x="40" y="74"/>
                      <a:pt x="40" y="75"/>
                    </a:cubicBezTo>
                    <a:cubicBezTo>
                      <a:pt x="39" y="76"/>
                      <a:pt x="39" y="77"/>
                      <a:pt x="38" y="78"/>
                    </a:cubicBezTo>
                    <a:cubicBezTo>
                      <a:pt x="38" y="79"/>
                      <a:pt x="38" y="79"/>
                      <a:pt x="38" y="79"/>
                    </a:cubicBezTo>
                    <a:cubicBezTo>
                      <a:pt x="38" y="80"/>
                      <a:pt x="38" y="80"/>
                      <a:pt x="38" y="80"/>
                    </a:cubicBezTo>
                    <a:cubicBezTo>
                      <a:pt x="37" y="81"/>
                      <a:pt x="37" y="82"/>
                      <a:pt x="36" y="83"/>
                    </a:cubicBezTo>
                    <a:cubicBezTo>
                      <a:pt x="36" y="83"/>
                      <a:pt x="36" y="83"/>
                      <a:pt x="35" y="84"/>
                    </a:cubicBezTo>
                    <a:cubicBezTo>
                      <a:pt x="34" y="85"/>
                      <a:pt x="33" y="86"/>
                      <a:pt x="32" y="86"/>
                    </a:cubicBezTo>
                    <a:cubicBezTo>
                      <a:pt x="31" y="87"/>
                      <a:pt x="31" y="86"/>
                      <a:pt x="30" y="86"/>
                    </a:cubicBezTo>
                    <a:cubicBezTo>
                      <a:pt x="30" y="86"/>
                      <a:pt x="30" y="86"/>
                      <a:pt x="30" y="86"/>
                    </a:cubicBezTo>
                    <a:cubicBezTo>
                      <a:pt x="30" y="86"/>
                      <a:pt x="30" y="86"/>
                      <a:pt x="30" y="86"/>
                    </a:cubicBezTo>
                    <a:cubicBezTo>
                      <a:pt x="30" y="86"/>
                      <a:pt x="30" y="86"/>
                      <a:pt x="30" y="86"/>
                    </a:cubicBezTo>
                    <a:cubicBezTo>
                      <a:pt x="29" y="86"/>
                      <a:pt x="29" y="86"/>
                      <a:pt x="29" y="86"/>
                    </a:cubicBezTo>
                    <a:cubicBezTo>
                      <a:pt x="28" y="86"/>
                      <a:pt x="28" y="86"/>
                      <a:pt x="28" y="86"/>
                    </a:cubicBezTo>
                    <a:cubicBezTo>
                      <a:pt x="28" y="87"/>
                      <a:pt x="27" y="87"/>
                      <a:pt x="27" y="87"/>
                    </a:cubicBezTo>
                    <a:cubicBezTo>
                      <a:pt x="26" y="87"/>
                      <a:pt x="25" y="87"/>
                      <a:pt x="24" y="87"/>
                    </a:cubicBezTo>
                    <a:cubicBezTo>
                      <a:pt x="24" y="87"/>
                      <a:pt x="24" y="87"/>
                      <a:pt x="24" y="87"/>
                    </a:cubicBezTo>
                    <a:cubicBezTo>
                      <a:pt x="24" y="87"/>
                      <a:pt x="23" y="87"/>
                      <a:pt x="23" y="87"/>
                    </a:cubicBezTo>
                    <a:cubicBezTo>
                      <a:pt x="19" y="87"/>
                      <a:pt x="15" y="87"/>
                      <a:pt x="10" y="87"/>
                    </a:cubicBezTo>
                    <a:cubicBezTo>
                      <a:pt x="9" y="88"/>
                      <a:pt x="7" y="88"/>
                      <a:pt x="5" y="89"/>
                    </a:cubicBezTo>
                    <a:cubicBezTo>
                      <a:pt x="4" y="89"/>
                      <a:pt x="3" y="90"/>
                      <a:pt x="2" y="90"/>
                    </a:cubicBezTo>
                    <a:cubicBezTo>
                      <a:pt x="2" y="90"/>
                      <a:pt x="2" y="90"/>
                      <a:pt x="1" y="90"/>
                    </a:cubicBezTo>
                    <a:cubicBezTo>
                      <a:pt x="1" y="90"/>
                      <a:pt x="1" y="91"/>
                      <a:pt x="0" y="91"/>
                    </a:cubicBezTo>
                    <a:cubicBezTo>
                      <a:pt x="0" y="91"/>
                      <a:pt x="0" y="91"/>
                      <a:pt x="0" y="91"/>
                    </a:cubicBezTo>
                    <a:cubicBezTo>
                      <a:pt x="0" y="91"/>
                      <a:pt x="0" y="91"/>
                      <a:pt x="0" y="91"/>
                    </a:cubicBezTo>
                    <a:cubicBezTo>
                      <a:pt x="0" y="91"/>
                      <a:pt x="0" y="91"/>
                      <a:pt x="0" y="91"/>
                    </a:cubicBezTo>
                    <a:cubicBezTo>
                      <a:pt x="0" y="95"/>
                      <a:pt x="0" y="95"/>
                      <a:pt x="0" y="95"/>
                    </a:cubicBezTo>
                    <a:cubicBezTo>
                      <a:pt x="0" y="95"/>
                      <a:pt x="0" y="95"/>
                      <a:pt x="0" y="96"/>
                    </a:cubicBezTo>
                    <a:cubicBezTo>
                      <a:pt x="0" y="96"/>
                      <a:pt x="0" y="96"/>
                      <a:pt x="0" y="96"/>
                    </a:cubicBezTo>
                    <a:cubicBezTo>
                      <a:pt x="1" y="96"/>
                      <a:pt x="1" y="97"/>
                      <a:pt x="1" y="98"/>
                    </a:cubicBezTo>
                    <a:cubicBezTo>
                      <a:pt x="2" y="98"/>
                      <a:pt x="2" y="99"/>
                      <a:pt x="2" y="100"/>
                    </a:cubicBezTo>
                    <a:cubicBezTo>
                      <a:pt x="2" y="100"/>
                      <a:pt x="2" y="101"/>
                      <a:pt x="3" y="101"/>
                    </a:cubicBezTo>
                    <a:cubicBezTo>
                      <a:pt x="3" y="102"/>
                      <a:pt x="3" y="102"/>
                      <a:pt x="3" y="102"/>
                    </a:cubicBezTo>
                    <a:cubicBezTo>
                      <a:pt x="3" y="102"/>
                      <a:pt x="3" y="102"/>
                      <a:pt x="4" y="102"/>
                    </a:cubicBezTo>
                    <a:cubicBezTo>
                      <a:pt x="4" y="102"/>
                      <a:pt x="4" y="102"/>
                      <a:pt x="4" y="102"/>
                    </a:cubicBezTo>
                    <a:cubicBezTo>
                      <a:pt x="5" y="102"/>
                      <a:pt x="5" y="102"/>
                      <a:pt x="5" y="102"/>
                    </a:cubicBezTo>
                    <a:cubicBezTo>
                      <a:pt x="6" y="103"/>
                      <a:pt x="7" y="103"/>
                      <a:pt x="8" y="104"/>
                    </a:cubicBezTo>
                    <a:cubicBezTo>
                      <a:pt x="9" y="104"/>
                      <a:pt x="9" y="105"/>
                      <a:pt x="10" y="105"/>
                    </a:cubicBezTo>
                    <a:cubicBezTo>
                      <a:pt x="15" y="110"/>
                      <a:pt x="15" y="110"/>
                      <a:pt x="15" y="110"/>
                    </a:cubicBezTo>
                    <a:cubicBezTo>
                      <a:pt x="9" y="107"/>
                      <a:pt x="9" y="107"/>
                      <a:pt x="9" y="107"/>
                    </a:cubicBezTo>
                    <a:cubicBezTo>
                      <a:pt x="8" y="107"/>
                      <a:pt x="8" y="107"/>
                      <a:pt x="8" y="107"/>
                    </a:cubicBezTo>
                    <a:cubicBezTo>
                      <a:pt x="8" y="108"/>
                      <a:pt x="8" y="108"/>
                      <a:pt x="8" y="108"/>
                    </a:cubicBezTo>
                    <a:cubicBezTo>
                      <a:pt x="8" y="108"/>
                      <a:pt x="8" y="108"/>
                      <a:pt x="7" y="108"/>
                    </a:cubicBezTo>
                    <a:cubicBezTo>
                      <a:pt x="7" y="108"/>
                      <a:pt x="7" y="108"/>
                      <a:pt x="7" y="108"/>
                    </a:cubicBezTo>
                    <a:cubicBezTo>
                      <a:pt x="7" y="108"/>
                      <a:pt x="7" y="109"/>
                      <a:pt x="7" y="109"/>
                    </a:cubicBezTo>
                    <a:cubicBezTo>
                      <a:pt x="7" y="109"/>
                      <a:pt x="7" y="109"/>
                      <a:pt x="7" y="109"/>
                    </a:cubicBezTo>
                    <a:cubicBezTo>
                      <a:pt x="7" y="109"/>
                      <a:pt x="7" y="109"/>
                      <a:pt x="7" y="109"/>
                    </a:cubicBezTo>
                    <a:cubicBezTo>
                      <a:pt x="8" y="109"/>
                      <a:pt x="8" y="109"/>
                      <a:pt x="8" y="109"/>
                    </a:cubicBezTo>
                    <a:cubicBezTo>
                      <a:pt x="8" y="109"/>
                      <a:pt x="8" y="109"/>
                      <a:pt x="8" y="109"/>
                    </a:cubicBezTo>
                    <a:cubicBezTo>
                      <a:pt x="9" y="110"/>
                      <a:pt x="10" y="110"/>
                      <a:pt x="11" y="111"/>
                    </a:cubicBezTo>
                    <a:cubicBezTo>
                      <a:pt x="11" y="111"/>
                      <a:pt x="11" y="111"/>
                      <a:pt x="12" y="111"/>
                    </a:cubicBezTo>
                    <a:cubicBezTo>
                      <a:pt x="12" y="111"/>
                      <a:pt x="12" y="112"/>
                      <a:pt x="12" y="112"/>
                    </a:cubicBezTo>
                    <a:cubicBezTo>
                      <a:pt x="13" y="112"/>
                      <a:pt x="14" y="112"/>
                      <a:pt x="14" y="113"/>
                    </a:cubicBezTo>
                    <a:cubicBezTo>
                      <a:pt x="15" y="112"/>
                      <a:pt x="15" y="112"/>
                      <a:pt x="15" y="112"/>
                    </a:cubicBezTo>
                    <a:cubicBezTo>
                      <a:pt x="16" y="112"/>
                      <a:pt x="16" y="112"/>
                      <a:pt x="17" y="112"/>
                    </a:cubicBezTo>
                    <a:cubicBezTo>
                      <a:pt x="18" y="112"/>
                      <a:pt x="18" y="112"/>
                      <a:pt x="18" y="112"/>
                    </a:cubicBezTo>
                    <a:cubicBezTo>
                      <a:pt x="19" y="112"/>
                      <a:pt x="19" y="113"/>
                      <a:pt x="20" y="114"/>
                    </a:cubicBezTo>
                    <a:cubicBezTo>
                      <a:pt x="20" y="114"/>
                      <a:pt x="20" y="114"/>
                      <a:pt x="20" y="115"/>
                    </a:cubicBezTo>
                    <a:cubicBezTo>
                      <a:pt x="20" y="115"/>
                      <a:pt x="20" y="116"/>
                      <a:pt x="20" y="116"/>
                    </a:cubicBezTo>
                    <a:cubicBezTo>
                      <a:pt x="20" y="117"/>
                      <a:pt x="19" y="117"/>
                      <a:pt x="19" y="117"/>
                    </a:cubicBezTo>
                    <a:cubicBezTo>
                      <a:pt x="19" y="117"/>
                      <a:pt x="19" y="117"/>
                      <a:pt x="19" y="117"/>
                    </a:cubicBezTo>
                    <a:cubicBezTo>
                      <a:pt x="19" y="117"/>
                      <a:pt x="19" y="117"/>
                      <a:pt x="19" y="117"/>
                    </a:cubicBezTo>
                    <a:cubicBezTo>
                      <a:pt x="19" y="117"/>
                      <a:pt x="19" y="118"/>
                      <a:pt x="19" y="118"/>
                    </a:cubicBezTo>
                    <a:cubicBezTo>
                      <a:pt x="19" y="117"/>
                      <a:pt x="20" y="117"/>
                      <a:pt x="20" y="116"/>
                    </a:cubicBezTo>
                    <a:cubicBezTo>
                      <a:pt x="20" y="116"/>
                      <a:pt x="20" y="116"/>
                      <a:pt x="20" y="116"/>
                    </a:cubicBezTo>
                    <a:cubicBezTo>
                      <a:pt x="21" y="116"/>
                      <a:pt x="21" y="116"/>
                      <a:pt x="22" y="116"/>
                    </a:cubicBezTo>
                    <a:cubicBezTo>
                      <a:pt x="22" y="116"/>
                      <a:pt x="22" y="116"/>
                      <a:pt x="22" y="116"/>
                    </a:cubicBezTo>
                    <a:cubicBezTo>
                      <a:pt x="23" y="116"/>
                      <a:pt x="23" y="115"/>
                      <a:pt x="24" y="115"/>
                    </a:cubicBezTo>
                    <a:cubicBezTo>
                      <a:pt x="24" y="115"/>
                      <a:pt x="24" y="115"/>
                      <a:pt x="25" y="115"/>
                    </a:cubicBezTo>
                    <a:cubicBezTo>
                      <a:pt x="25" y="115"/>
                      <a:pt x="25" y="115"/>
                      <a:pt x="25" y="115"/>
                    </a:cubicBezTo>
                    <a:cubicBezTo>
                      <a:pt x="25" y="115"/>
                      <a:pt x="25" y="115"/>
                      <a:pt x="25" y="115"/>
                    </a:cubicBezTo>
                    <a:cubicBezTo>
                      <a:pt x="25" y="115"/>
                      <a:pt x="25" y="115"/>
                      <a:pt x="26" y="115"/>
                    </a:cubicBezTo>
                    <a:cubicBezTo>
                      <a:pt x="26" y="115"/>
                      <a:pt x="26" y="115"/>
                      <a:pt x="26" y="115"/>
                    </a:cubicBezTo>
                    <a:cubicBezTo>
                      <a:pt x="26" y="116"/>
                      <a:pt x="27" y="116"/>
                      <a:pt x="27" y="117"/>
                    </a:cubicBezTo>
                    <a:cubicBezTo>
                      <a:pt x="29" y="118"/>
                      <a:pt x="30" y="120"/>
                      <a:pt x="32" y="121"/>
                    </a:cubicBezTo>
                    <a:cubicBezTo>
                      <a:pt x="32" y="121"/>
                      <a:pt x="32" y="121"/>
                      <a:pt x="32" y="121"/>
                    </a:cubicBezTo>
                    <a:cubicBezTo>
                      <a:pt x="32" y="119"/>
                      <a:pt x="32" y="118"/>
                      <a:pt x="32" y="116"/>
                    </a:cubicBezTo>
                    <a:cubicBezTo>
                      <a:pt x="32" y="116"/>
                      <a:pt x="32" y="116"/>
                      <a:pt x="32" y="116"/>
                    </a:cubicBezTo>
                    <a:cubicBezTo>
                      <a:pt x="32" y="115"/>
                      <a:pt x="32" y="115"/>
                      <a:pt x="32" y="115"/>
                    </a:cubicBezTo>
                    <a:cubicBezTo>
                      <a:pt x="32" y="115"/>
                      <a:pt x="32" y="115"/>
                      <a:pt x="32" y="115"/>
                    </a:cubicBezTo>
                    <a:cubicBezTo>
                      <a:pt x="32" y="115"/>
                      <a:pt x="32" y="114"/>
                      <a:pt x="33" y="114"/>
                    </a:cubicBezTo>
                    <a:cubicBezTo>
                      <a:pt x="33" y="114"/>
                      <a:pt x="33" y="114"/>
                      <a:pt x="33" y="114"/>
                    </a:cubicBezTo>
                    <a:cubicBezTo>
                      <a:pt x="33" y="113"/>
                      <a:pt x="33" y="113"/>
                      <a:pt x="33" y="113"/>
                    </a:cubicBezTo>
                    <a:cubicBezTo>
                      <a:pt x="34" y="113"/>
                      <a:pt x="34" y="113"/>
                      <a:pt x="34" y="113"/>
                    </a:cubicBezTo>
                    <a:cubicBezTo>
                      <a:pt x="32" y="111"/>
                      <a:pt x="32" y="111"/>
                      <a:pt x="32" y="111"/>
                    </a:cubicBezTo>
                    <a:cubicBezTo>
                      <a:pt x="34" y="112"/>
                      <a:pt x="34" y="112"/>
                      <a:pt x="34" y="112"/>
                    </a:cubicBezTo>
                    <a:cubicBezTo>
                      <a:pt x="34" y="112"/>
                      <a:pt x="34" y="112"/>
                      <a:pt x="34" y="112"/>
                    </a:cubicBezTo>
                    <a:cubicBezTo>
                      <a:pt x="34" y="112"/>
                      <a:pt x="34" y="112"/>
                      <a:pt x="34" y="112"/>
                    </a:cubicBezTo>
                    <a:cubicBezTo>
                      <a:pt x="37" y="107"/>
                      <a:pt x="37" y="107"/>
                      <a:pt x="37" y="107"/>
                    </a:cubicBezTo>
                    <a:cubicBezTo>
                      <a:pt x="37" y="107"/>
                      <a:pt x="37" y="107"/>
                      <a:pt x="37" y="107"/>
                    </a:cubicBezTo>
                    <a:cubicBezTo>
                      <a:pt x="37" y="107"/>
                      <a:pt x="37" y="107"/>
                      <a:pt x="37" y="106"/>
                    </a:cubicBezTo>
                    <a:cubicBezTo>
                      <a:pt x="37" y="106"/>
                      <a:pt x="37" y="105"/>
                      <a:pt x="37" y="104"/>
                    </a:cubicBezTo>
                    <a:cubicBezTo>
                      <a:pt x="38" y="103"/>
                      <a:pt x="41" y="102"/>
                      <a:pt x="43" y="101"/>
                    </a:cubicBezTo>
                    <a:cubicBezTo>
                      <a:pt x="44" y="101"/>
                      <a:pt x="45" y="101"/>
                      <a:pt x="46" y="101"/>
                    </a:cubicBezTo>
                    <a:cubicBezTo>
                      <a:pt x="48" y="100"/>
                      <a:pt x="50" y="100"/>
                      <a:pt x="52" y="100"/>
                    </a:cubicBezTo>
                    <a:cubicBezTo>
                      <a:pt x="52" y="100"/>
                      <a:pt x="52" y="100"/>
                      <a:pt x="52" y="100"/>
                    </a:cubicBezTo>
                    <a:cubicBezTo>
                      <a:pt x="52" y="100"/>
                      <a:pt x="52" y="100"/>
                      <a:pt x="52" y="100"/>
                    </a:cubicBezTo>
                    <a:cubicBezTo>
                      <a:pt x="53" y="100"/>
                      <a:pt x="53" y="100"/>
                      <a:pt x="53" y="100"/>
                    </a:cubicBezTo>
                    <a:cubicBezTo>
                      <a:pt x="53" y="100"/>
                      <a:pt x="54" y="100"/>
                      <a:pt x="54" y="100"/>
                    </a:cubicBezTo>
                    <a:cubicBezTo>
                      <a:pt x="54" y="100"/>
                      <a:pt x="55" y="100"/>
                      <a:pt x="55" y="100"/>
                    </a:cubicBezTo>
                    <a:cubicBezTo>
                      <a:pt x="56" y="100"/>
                      <a:pt x="56" y="101"/>
                      <a:pt x="56" y="101"/>
                    </a:cubicBezTo>
                    <a:cubicBezTo>
                      <a:pt x="57" y="101"/>
                      <a:pt x="57" y="101"/>
                      <a:pt x="57" y="101"/>
                    </a:cubicBezTo>
                    <a:cubicBezTo>
                      <a:pt x="57" y="101"/>
                      <a:pt x="57" y="101"/>
                      <a:pt x="57" y="101"/>
                    </a:cubicBezTo>
                    <a:cubicBezTo>
                      <a:pt x="59" y="101"/>
                      <a:pt x="60" y="101"/>
                      <a:pt x="61" y="102"/>
                    </a:cubicBezTo>
                    <a:cubicBezTo>
                      <a:pt x="62" y="103"/>
                      <a:pt x="62" y="103"/>
                      <a:pt x="62" y="103"/>
                    </a:cubicBezTo>
                    <a:cubicBezTo>
                      <a:pt x="63" y="103"/>
                      <a:pt x="63" y="104"/>
                      <a:pt x="64" y="104"/>
                    </a:cubicBezTo>
                    <a:cubicBezTo>
                      <a:pt x="68" y="108"/>
                      <a:pt x="68" y="108"/>
                      <a:pt x="68" y="108"/>
                    </a:cubicBezTo>
                    <a:cubicBezTo>
                      <a:pt x="68" y="108"/>
                      <a:pt x="68" y="108"/>
                      <a:pt x="68" y="108"/>
                    </a:cubicBezTo>
                    <a:cubicBezTo>
                      <a:pt x="69" y="108"/>
                      <a:pt x="69" y="108"/>
                      <a:pt x="69" y="108"/>
                    </a:cubicBezTo>
                    <a:cubicBezTo>
                      <a:pt x="69" y="108"/>
                      <a:pt x="70" y="108"/>
                      <a:pt x="70" y="108"/>
                    </a:cubicBezTo>
                    <a:cubicBezTo>
                      <a:pt x="70" y="107"/>
                      <a:pt x="71" y="107"/>
                      <a:pt x="71" y="107"/>
                    </a:cubicBezTo>
                    <a:cubicBezTo>
                      <a:pt x="71" y="107"/>
                      <a:pt x="71" y="107"/>
                      <a:pt x="71" y="107"/>
                    </a:cubicBezTo>
                    <a:cubicBezTo>
                      <a:pt x="73" y="106"/>
                      <a:pt x="74" y="105"/>
                      <a:pt x="76" y="105"/>
                    </a:cubicBezTo>
                    <a:cubicBezTo>
                      <a:pt x="76" y="105"/>
                      <a:pt x="77" y="105"/>
                      <a:pt x="77" y="105"/>
                    </a:cubicBezTo>
                    <a:cubicBezTo>
                      <a:pt x="78" y="105"/>
                      <a:pt x="78" y="105"/>
                      <a:pt x="78" y="105"/>
                    </a:cubicBezTo>
                    <a:cubicBezTo>
                      <a:pt x="78" y="105"/>
                      <a:pt x="78" y="105"/>
                      <a:pt x="78"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0" name="Freeform 3032">
                <a:extLst>
                  <a:ext uri="{FF2B5EF4-FFF2-40B4-BE49-F238E27FC236}">
                    <a16:creationId xmlns:a16="http://schemas.microsoft.com/office/drawing/2014/main" id="{692689A6-277C-41BD-BDC9-C522D0E37AA4}"/>
                  </a:ext>
                </a:extLst>
              </p:cNvPr>
              <p:cNvSpPr>
                <a:spLocks/>
              </p:cNvSpPr>
              <p:nvPr/>
            </p:nvSpPr>
            <p:spPr bwMode="auto">
              <a:xfrm>
                <a:off x="4150" y="1986"/>
                <a:ext cx="262" cy="248"/>
              </a:xfrm>
              <a:custGeom>
                <a:avLst/>
                <a:gdLst>
                  <a:gd name="T0" fmla="*/ 1 w 111"/>
                  <a:gd name="T1" fmla="*/ 4 h 105"/>
                  <a:gd name="T2" fmla="*/ 1 w 111"/>
                  <a:gd name="T3" fmla="*/ 6 h 105"/>
                  <a:gd name="T4" fmla="*/ 2 w 111"/>
                  <a:gd name="T5" fmla="*/ 8 h 105"/>
                  <a:gd name="T6" fmla="*/ 2 w 111"/>
                  <a:gd name="T7" fmla="*/ 13 h 105"/>
                  <a:gd name="T8" fmla="*/ 1 w 111"/>
                  <a:gd name="T9" fmla="*/ 15 h 105"/>
                  <a:gd name="T10" fmla="*/ 0 w 111"/>
                  <a:gd name="T11" fmla="*/ 18 h 105"/>
                  <a:gd name="T12" fmla="*/ 1 w 111"/>
                  <a:gd name="T13" fmla="*/ 20 h 105"/>
                  <a:gd name="T14" fmla="*/ 2 w 111"/>
                  <a:gd name="T15" fmla="*/ 28 h 105"/>
                  <a:gd name="T16" fmla="*/ 2 w 111"/>
                  <a:gd name="T17" fmla="*/ 42 h 105"/>
                  <a:gd name="T18" fmla="*/ 3 w 111"/>
                  <a:gd name="T19" fmla="*/ 105 h 105"/>
                  <a:gd name="T20" fmla="*/ 66 w 111"/>
                  <a:gd name="T21" fmla="*/ 104 h 105"/>
                  <a:gd name="T22" fmla="*/ 69 w 111"/>
                  <a:gd name="T23" fmla="*/ 105 h 105"/>
                  <a:gd name="T24" fmla="*/ 81 w 111"/>
                  <a:gd name="T25" fmla="*/ 105 h 105"/>
                  <a:gd name="T26" fmla="*/ 85 w 111"/>
                  <a:gd name="T27" fmla="*/ 105 h 105"/>
                  <a:gd name="T28" fmla="*/ 94 w 111"/>
                  <a:gd name="T29" fmla="*/ 104 h 105"/>
                  <a:gd name="T30" fmla="*/ 98 w 111"/>
                  <a:gd name="T31" fmla="*/ 102 h 105"/>
                  <a:gd name="T32" fmla="*/ 100 w 111"/>
                  <a:gd name="T33" fmla="*/ 101 h 105"/>
                  <a:gd name="T34" fmla="*/ 101 w 111"/>
                  <a:gd name="T35" fmla="*/ 100 h 105"/>
                  <a:gd name="T36" fmla="*/ 104 w 111"/>
                  <a:gd name="T37" fmla="*/ 95 h 105"/>
                  <a:gd name="T38" fmla="*/ 108 w 111"/>
                  <a:gd name="T39" fmla="*/ 94 h 105"/>
                  <a:gd name="T40" fmla="*/ 109 w 111"/>
                  <a:gd name="T41" fmla="*/ 93 h 105"/>
                  <a:gd name="T42" fmla="*/ 109 w 111"/>
                  <a:gd name="T43" fmla="*/ 91 h 105"/>
                  <a:gd name="T44" fmla="*/ 109 w 111"/>
                  <a:gd name="T45" fmla="*/ 85 h 105"/>
                  <a:gd name="T46" fmla="*/ 108 w 111"/>
                  <a:gd name="T47" fmla="*/ 83 h 105"/>
                  <a:gd name="T48" fmla="*/ 94 w 111"/>
                  <a:gd name="T49" fmla="*/ 58 h 105"/>
                  <a:gd name="T50" fmla="*/ 93 w 111"/>
                  <a:gd name="T51" fmla="*/ 55 h 105"/>
                  <a:gd name="T52" fmla="*/ 90 w 111"/>
                  <a:gd name="T53" fmla="*/ 46 h 105"/>
                  <a:gd name="T54" fmla="*/ 86 w 111"/>
                  <a:gd name="T55" fmla="*/ 40 h 105"/>
                  <a:gd name="T56" fmla="*/ 82 w 111"/>
                  <a:gd name="T57" fmla="*/ 35 h 105"/>
                  <a:gd name="T58" fmla="*/ 76 w 111"/>
                  <a:gd name="T59" fmla="*/ 23 h 105"/>
                  <a:gd name="T60" fmla="*/ 78 w 111"/>
                  <a:gd name="T61" fmla="*/ 19 h 105"/>
                  <a:gd name="T62" fmla="*/ 80 w 111"/>
                  <a:gd name="T63" fmla="*/ 24 h 105"/>
                  <a:gd name="T64" fmla="*/ 85 w 111"/>
                  <a:gd name="T65" fmla="*/ 30 h 105"/>
                  <a:gd name="T66" fmla="*/ 88 w 111"/>
                  <a:gd name="T67" fmla="*/ 37 h 105"/>
                  <a:gd name="T68" fmla="*/ 96 w 111"/>
                  <a:gd name="T69" fmla="*/ 43 h 105"/>
                  <a:gd name="T70" fmla="*/ 96 w 111"/>
                  <a:gd name="T71" fmla="*/ 4 h 105"/>
                  <a:gd name="T72" fmla="*/ 91 w 111"/>
                  <a:gd name="T73" fmla="*/ 6 h 105"/>
                  <a:gd name="T74" fmla="*/ 83 w 111"/>
                  <a:gd name="T75" fmla="*/ 7 h 105"/>
                  <a:gd name="T76" fmla="*/ 75 w 111"/>
                  <a:gd name="T77" fmla="*/ 4 h 105"/>
                  <a:gd name="T78" fmla="*/ 71 w 111"/>
                  <a:gd name="T79" fmla="*/ 4 h 105"/>
                  <a:gd name="T80" fmla="*/ 69 w 111"/>
                  <a:gd name="T81" fmla="*/ 2 h 105"/>
                  <a:gd name="T82" fmla="*/ 62 w 111"/>
                  <a:gd name="T83" fmla="*/ 1 h 105"/>
                  <a:gd name="T84" fmla="*/ 55 w 111"/>
                  <a:gd name="T85" fmla="*/ 5 h 105"/>
                  <a:gd name="T86" fmla="*/ 53 w 111"/>
                  <a:gd name="T87" fmla="*/ 4 h 105"/>
                  <a:gd name="T88" fmla="*/ 43 w 111"/>
                  <a:gd name="T89" fmla="*/ 9 h 105"/>
                  <a:gd name="T90" fmla="*/ 32 w 111"/>
                  <a:gd name="T91" fmla="*/ 6 h 105"/>
                  <a:gd name="T92" fmla="*/ 26 w 111"/>
                  <a:gd name="T93" fmla="*/ 4 h 105"/>
                  <a:gd name="T94" fmla="*/ 9 w 111"/>
                  <a:gd name="T95" fmla="*/ 1 h 105"/>
                  <a:gd name="T96" fmla="*/ 3 w 111"/>
                  <a:gd name="T97" fmla="*/ 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105">
                    <a:moveTo>
                      <a:pt x="3" y="2"/>
                    </a:moveTo>
                    <a:cubicBezTo>
                      <a:pt x="2" y="2"/>
                      <a:pt x="2" y="3"/>
                      <a:pt x="1" y="4"/>
                    </a:cubicBezTo>
                    <a:cubicBezTo>
                      <a:pt x="1" y="4"/>
                      <a:pt x="1" y="4"/>
                      <a:pt x="1" y="4"/>
                    </a:cubicBezTo>
                    <a:cubicBezTo>
                      <a:pt x="1" y="4"/>
                      <a:pt x="1" y="5"/>
                      <a:pt x="1" y="6"/>
                    </a:cubicBezTo>
                    <a:cubicBezTo>
                      <a:pt x="1" y="6"/>
                      <a:pt x="1" y="7"/>
                      <a:pt x="2" y="7"/>
                    </a:cubicBezTo>
                    <a:cubicBezTo>
                      <a:pt x="2" y="8"/>
                      <a:pt x="2" y="8"/>
                      <a:pt x="2" y="8"/>
                    </a:cubicBezTo>
                    <a:cubicBezTo>
                      <a:pt x="2" y="8"/>
                      <a:pt x="2" y="9"/>
                      <a:pt x="2" y="9"/>
                    </a:cubicBezTo>
                    <a:cubicBezTo>
                      <a:pt x="2" y="10"/>
                      <a:pt x="2" y="12"/>
                      <a:pt x="2" y="13"/>
                    </a:cubicBezTo>
                    <a:cubicBezTo>
                      <a:pt x="1" y="14"/>
                      <a:pt x="1" y="14"/>
                      <a:pt x="1" y="14"/>
                    </a:cubicBezTo>
                    <a:cubicBezTo>
                      <a:pt x="1" y="14"/>
                      <a:pt x="1" y="15"/>
                      <a:pt x="1" y="15"/>
                    </a:cubicBezTo>
                    <a:cubicBezTo>
                      <a:pt x="0" y="16"/>
                      <a:pt x="0" y="16"/>
                      <a:pt x="0" y="17"/>
                    </a:cubicBezTo>
                    <a:cubicBezTo>
                      <a:pt x="0" y="18"/>
                      <a:pt x="0" y="18"/>
                      <a:pt x="0" y="18"/>
                    </a:cubicBezTo>
                    <a:cubicBezTo>
                      <a:pt x="0" y="18"/>
                      <a:pt x="0" y="19"/>
                      <a:pt x="0" y="20"/>
                    </a:cubicBezTo>
                    <a:cubicBezTo>
                      <a:pt x="1" y="20"/>
                      <a:pt x="1" y="20"/>
                      <a:pt x="1" y="20"/>
                    </a:cubicBezTo>
                    <a:cubicBezTo>
                      <a:pt x="1" y="21"/>
                      <a:pt x="1" y="21"/>
                      <a:pt x="1" y="21"/>
                    </a:cubicBezTo>
                    <a:cubicBezTo>
                      <a:pt x="1" y="23"/>
                      <a:pt x="2" y="26"/>
                      <a:pt x="2" y="28"/>
                    </a:cubicBezTo>
                    <a:cubicBezTo>
                      <a:pt x="2" y="30"/>
                      <a:pt x="2" y="32"/>
                      <a:pt x="2" y="33"/>
                    </a:cubicBezTo>
                    <a:cubicBezTo>
                      <a:pt x="2" y="36"/>
                      <a:pt x="2" y="39"/>
                      <a:pt x="2" y="42"/>
                    </a:cubicBezTo>
                    <a:cubicBezTo>
                      <a:pt x="3" y="47"/>
                      <a:pt x="3" y="47"/>
                      <a:pt x="3" y="47"/>
                    </a:cubicBezTo>
                    <a:cubicBezTo>
                      <a:pt x="3" y="105"/>
                      <a:pt x="3" y="105"/>
                      <a:pt x="3" y="105"/>
                    </a:cubicBezTo>
                    <a:cubicBezTo>
                      <a:pt x="65" y="104"/>
                      <a:pt x="65" y="104"/>
                      <a:pt x="65" y="104"/>
                    </a:cubicBezTo>
                    <a:cubicBezTo>
                      <a:pt x="66" y="104"/>
                      <a:pt x="66" y="104"/>
                      <a:pt x="66" y="104"/>
                    </a:cubicBezTo>
                    <a:cubicBezTo>
                      <a:pt x="66" y="103"/>
                      <a:pt x="67" y="102"/>
                      <a:pt x="68" y="103"/>
                    </a:cubicBezTo>
                    <a:cubicBezTo>
                      <a:pt x="69" y="103"/>
                      <a:pt x="69" y="104"/>
                      <a:pt x="69" y="105"/>
                    </a:cubicBezTo>
                    <a:cubicBezTo>
                      <a:pt x="81" y="105"/>
                      <a:pt x="81" y="105"/>
                      <a:pt x="81" y="105"/>
                    </a:cubicBezTo>
                    <a:cubicBezTo>
                      <a:pt x="81" y="105"/>
                      <a:pt x="81" y="105"/>
                      <a:pt x="81" y="105"/>
                    </a:cubicBezTo>
                    <a:cubicBezTo>
                      <a:pt x="82" y="105"/>
                      <a:pt x="82" y="105"/>
                      <a:pt x="82" y="105"/>
                    </a:cubicBezTo>
                    <a:cubicBezTo>
                      <a:pt x="83" y="105"/>
                      <a:pt x="84" y="105"/>
                      <a:pt x="85" y="105"/>
                    </a:cubicBezTo>
                    <a:cubicBezTo>
                      <a:pt x="93" y="105"/>
                      <a:pt x="93" y="105"/>
                      <a:pt x="93" y="105"/>
                    </a:cubicBezTo>
                    <a:cubicBezTo>
                      <a:pt x="93" y="105"/>
                      <a:pt x="94" y="104"/>
                      <a:pt x="94" y="104"/>
                    </a:cubicBezTo>
                    <a:cubicBezTo>
                      <a:pt x="94" y="104"/>
                      <a:pt x="94" y="104"/>
                      <a:pt x="94" y="103"/>
                    </a:cubicBezTo>
                    <a:cubicBezTo>
                      <a:pt x="95" y="102"/>
                      <a:pt x="96" y="102"/>
                      <a:pt x="98" y="102"/>
                    </a:cubicBezTo>
                    <a:cubicBezTo>
                      <a:pt x="98" y="102"/>
                      <a:pt x="98" y="102"/>
                      <a:pt x="98" y="102"/>
                    </a:cubicBezTo>
                    <a:cubicBezTo>
                      <a:pt x="99" y="102"/>
                      <a:pt x="100" y="102"/>
                      <a:pt x="100" y="101"/>
                    </a:cubicBezTo>
                    <a:cubicBezTo>
                      <a:pt x="100" y="100"/>
                      <a:pt x="100" y="100"/>
                      <a:pt x="100" y="100"/>
                    </a:cubicBezTo>
                    <a:cubicBezTo>
                      <a:pt x="101" y="100"/>
                      <a:pt x="101" y="100"/>
                      <a:pt x="101" y="100"/>
                    </a:cubicBezTo>
                    <a:cubicBezTo>
                      <a:pt x="101" y="98"/>
                      <a:pt x="101" y="97"/>
                      <a:pt x="103" y="96"/>
                    </a:cubicBezTo>
                    <a:cubicBezTo>
                      <a:pt x="103" y="96"/>
                      <a:pt x="103" y="96"/>
                      <a:pt x="104" y="95"/>
                    </a:cubicBezTo>
                    <a:cubicBezTo>
                      <a:pt x="105" y="95"/>
                      <a:pt x="105" y="95"/>
                      <a:pt x="106" y="94"/>
                    </a:cubicBezTo>
                    <a:cubicBezTo>
                      <a:pt x="106" y="94"/>
                      <a:pt x="107" y="94"/>
                      <a:pt x="108" y="94"/>
                    </a:cubicBezTo>
                    <a:cubicBezTo>
                      <a:pt x="108" y="93"/>
                      <a:pt x="108" y="93"/>
                      <a:pt x="108" y="93"/>
                    </a:cubicBezTo>
                    <a:cubicBezTo>
                      <a:pt x="109" y="93"/>
                      <a:pt x="109" y="93"/>
                      <a:pt x="109" y="93"/>
                    </a:cubicBezTo>
                    <a:cubicBezTo>
                      <a:pt x="110" y="93"/>
                      <a:pt x="110" y="93"/>
                      <a:pt x="110" y="93"/>
                    </a:cubicBezTo>
                    <a:cubicBezTo>
                      <a:pt x="109" y="92"/>
                      <a:pt x="109" y="92"/>
                      <a:pt x="109" y="91"/>
                    </a:cubicBezTo>
                    <a:cubicBezTo>
                      <a:pt x="109" y="90"/>
                      <a:pt x="109" y="89"/>
                      <a:pt x="109" y="88"/>
                    </a:cubicBezTo>
                    <a:cubicBezTo>
                      <a:pt x="109" y="87"/>
                      <a:pt x="108" y="85"/>
                      <a:pt x="109" y="85"/>
                    </a:cubicBezTo>
                    <a:cubicBezTo>
                      <a:pt x="109" y="85"/>
                      <a:pt x="110" y="86"/>
                      <a:pt x="111" y="85"/>
                    </a:cubicBezTo>
                    <a:cubicBezTo>
                      <a:pt x="110" y="85"/>
                      <a:pt x="109" y="83"/>
                      <a:pt x="108" y="83"/>
                    </a:cubicBezTo>
                    <a:cubicBezTo>
                      <a:pt x="107" y="81"/>
                      <a:pt x="105" y="79"/>
                      <a:pt x="104" y="77"/>
                    </a:cubicBezTo>
                    <a:cubicBezTo>
                      <a:pt x="101" y="71"/>
                      <a:pt x="98" y="65"/>
                      <a:pt x="94" y="58"/>
                    </a:cubicBezTo>
                    <a:cubicBezTo>
                      <a:pt x="94" y="58"/>
                      <a:pt x="93" y="57"/>
                      <a:pt x="93" y="56"/>
                    </a:cubicBezTo>
                    <a:cubicBezTo>
                      <a:pt x="93" y="56"/>
                      <a:pt x="93" y="56"/>
                      <a:pt x="93" y="55"/>
                    </a:cubicBezTo>
                    <a:cubicBezTo>
                      <a:pt x="93" y="55"/>
                      <a:pt x="93" y="54"/>
                      <a:pt x="93" y="54"/>
                    </a:cubicBezTo>
                    <a:cubicBezTo>
                      <a:pt x="93" y="51"/>
                      <a:pt x="91" y="48"/>
                      <a:pt x="90" y="46"/>
                    </a:cubicBezTo>
                    <a:cubicBezTo>
                      <a:pt x="90" y="45"/>
                      <a:pt x="89" y="43"/>
                      <a:pt x="89" y="42"/>
                    </a:cubicBezTo>
                    <a:cubicBezTo>
                      <a:pt x="88" y="42"/>
                      <a:pt x="87" y="41"/>
                      <a:pt x="86" y="40"/>
                    </a:cubicBezTo>
                    <a:cubicBezTo>
                      <a:pt x="86" y="39"/>
                      <a:pt x="85" y="39"/>
                      <a:pt x="84" y="38"/>
                    </a:cubicBezTo>
                    <a:cubicBezTo>
                      <a:pt x="84" y="37"/>
                      <a:pt x="82" y="36"/>
                      <a:pt x="82" y="35"/>
                    </a:cubicBezTo>
                    <a:cubicBezTo>
                      <a:pt x="81" y="33"/>
                      <a:pt x="80" y="30"/>
                      <a:pt x="80" y="29"/>
                    </a:cubicBezTo>
                    <a:cubicBezTo>
                      <a:pt x="79" y="27"/>
                      <a:pt x="76" y="25"/>
                      <a:pt x="76" y="23"/>
                    </a:cubicBezTo>
                    <a:cubicBezTo>
                      <a:pt x="76" y="22"/>
                      <a:pt x="77" y="22"/>
                      <a:pt x="77" y="21"/>
                    </a:cubicBezTo>
                    <a:cubicBezTo>
                      <a:pt x="77" y="21"/>
                      <a:pt x="77" y="20"/>
                      <a:pt x="78" y="19"/>
                    </a:cubicBezTo>
                    <a:cubicBezTo>
                      <a:pt x="79" y="18"/>
                      <a:pt x="80" y="24"/>
                      <a:pt x="80" y="25"/>
                    </a:cubicBezTo>
                    <a:cubicBezTo>
                      <a:pt x="80" y="25"/>
                      <a:pt x="80" y="24"/>
                      <a:pt x="80" y="24"/>
                    </a:cubicBezTo>
                    <a:cubicBezTo>
                      <a:pt x="81" y="25"/>
                      <a:pt x="81" y="27"/>
                      <a:pt x="82" y="27"/>
                    </a:cubicBezTo>
                    <a:cubicBezTo>
                      <a:pt x="83" y="28"/>
                      <a:pt x="84" y="29"/>
                      <a:pt x="85" y="30"/>
                    </a:cubicBezTo>
                    <a:cubicBezTo>
                      <a:pt x="85" y="31"/>
                      <a:pt x="85" y="33"/>
                      <a:pt x="85" y="35"/>
                    </a:cubicBezTo>
                    <a:cubicBezTo>
                      <a:pt x="86" y="35"/>
                      <a:pt x="87" y="36"/>
                      <a:pt x="88" y="37"/>
                    </a:cubicBezTo>
                    <a:cubicBezTo>
                      <a:pt x="90" y="40"/>
                      <a:pt x="92" y="42"/>
                      <a:pt x="96" y="44"/>
                    </a:cubicBezTo>
                    <a:cubicBezTo>
                      <a:pt x="96" y="44"/>
                      <a:pt x="96" y="43"/>
                      <a:pt x="96" y="43"/>
                    </a:cubicBezTo>
                    <a:cubicBezTo>
                      <a:pt x="98" y="37"/>
                      <a:pt x="100" y="31"/>
                      <a:pt x="102" y="25"/>
                    </a:cubicBezTo>
                    <a:cubicBezTo>
                      <a:pt x="96" y="4"/>
                      <a:pt x="96" y="4"/>
                      <a:pt x="96" y="4"/>
                    </a:cubicBezTo>
                    <a:cubicBezTo>
                      <a:pt x="95" y="4"/>
                      <a:pt x="95" y="4"/>
                      <a:pt x="95" y="4"/>
                    </a:cubicBezTo>
                    <a:cubicBezTo>
                      <a:pt x="94" y="4"/>
                      <a:pt x="92" y="5"/>
                      <a:pt x="91" y="6"/>
                    </a:cubicBezTo>
                    <a:cubicBezTo>
                      <a:pt x="90" y="6"/>
                      <a:pt x="90" y="6"/>
                      <a:pt x="89" y="6"/>
                    </a:cubicBezTo>
                    <a:cubicBezTo>
                      <a:pt x="87" y="6"/>
                      <a:pt x="85" y="7"/>
                      <a:pt x="83" y="7"/>
                    </a:cubicBezTo>
                    <a:cubicBezTo>
                      <a:pt x="82" y="7"/>
                      <a:pt x="80" y="7"/>
                      <a:pt x="79" y="6"/>
                    </a:cubicBezTo>
                    <a:cubicBezTo>
                      <a:pt x="78" y="6"/>
                      <a:pt x="76" y="4"/>
                      <a:pt x="75" y="4"/>
                    </a:cubicBezTo>
                    <a:cubicBezTo>
                      <a:pt x="77" y="5"/>
                      <a:pt x="75" y="6"/>
                      <a:pt x="74" y="7"/>
                    </a:cubicBezTo>
                    <a:cubicBezTo>
                      <a:pt x="73" y="6"/>
                      <a:pt x="71" y="5"/>
                      <a:pt x="71" y="4"/>
                    </a:cubicBezTo>
                    <a:cubicBezTo>
                      <a:pt x="71" y="4"/>
                      <a:pt x="72" y="2"/>
                      <a:pt x="72" y="1"/>
                    </a:cubicBezTo>
                    <a:cubicBezTo>
                      <a:pt x="71" y="1"/>
                      <a:pt x="70" y="2"/>
                      <a:pt x="69" y="2"/>
                    </a:cubicBezTo>
                    <a:cubicBezTo>
                      <a:pt x="68" y="3"/>
                      <a:pt x="66" y="1"/>
                      <a:pt x="65" y="1"/>
                    </a:cubicBezTo>
                    <a:cubicBezTo>
                      <a:pt x="63" y="1"/>
                      <a:pt x="63" y="1"/>
                      <a:pt x="62" y="1"/>
                    </a:cubicBezTo>
                    <a:cubicBezTo>
                      <a:pt x="59" y="2"/>
                      <a:pt x="56" y="2"/>
                      <a:pt x="54" y="4"/>
                    </a:cubicBezTo>
                    <a:cubicBezTo>
                      <a:pt x="54" y="4"/>
                      <a:pt x="55" y="5"/>
                      <a:pt x="55" y="5"/>
                    </a:cubicBezTo>
                    <a:cubicBezTo>
                      <a:pt x="55" y="5"/>
                      <a:pt x="55" y="5"/>
                      <a:pt x="54" y="5"/>
                    </a:cubicBezTo>
                    <a:cubicBezTo>
                      <a:pt x="54" y="5"/>
                      <a:pt x="54" y="4"/>
                      <a:pt x="53" y="4"/>
                    </a:cubicBezTo>
                    <a:cubicBezTo>
                      <a:pt x="52" y="5"/>
                      <a:pt x="52" y="5"/>
                      <a:pt x="51" y="6"/>
                    </a:cubicBezTo>
                    <a:cubicBezTo>
                      <a:pt x="49" y="7"/>
                      <a:pt x="46" y="9"/>
                      <a:pt x="43" y="9"/>
                    </a:cubicBezTo>
                    <a:cubicBezTo>
                      <a:pt x="41" y="9"/>
                      <a:pt x="41" y="8"/>
                      <a:pt x="40" y="8"/>
                    </a:cubicBezTo>
                    <a:cubicBezTo>
                      <a:pt x="38" y="7"/>
                      <a:pt x="35" y="7"/>
                      <a:pt x="32" y="6"/>
                    </a:cubicBezTo>
                    <a:cubicBezTo>
                      <a:pt x="31" y="6"/>
                      <a:pt x="29" y="6"/>
                      <a:pt x="28" y="5"/>
                    </a:cubicBezTo>
                    <a:cubicBezTo>
                      <a:pt x="27" y="5"/>
                      <a:pt x="26" y="5"/>
                      <a:pt x="26" y="4"/>
                    </a:cubicBezTo>
                    <a:cubicBezTo>
                      <a:pt x="23" y="3"/>
                      <a:pt x="20" y="3"/>
                      <a:pt x="18" y="2"/>
                    </a:cubicBezTo>
                    <a:cubicBezTo>
                      <a:pt x="15" y="1"/>
                      <a:pt x="12" y="0"/>
                      <a:pt x="9" y="1"/>
                    </a:cubicBezTo>
                    <a:cubicBezTo>
                      <a:pt x="8" y="1"/>
                      <a:pt x="5" y="2"/>
                      <a:pt x="3" y="1"/>
                    </a:cubicBez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1" name="Rectangle 3033">
                <a:extLst>
                  <a:ext uri="{FF2B5EF4-FFF2-40B4-BE49-F238E27FC236}">
                    <a16:creationId xmlns:a16="http://schemas.microsoft.com/office/drawing/2014/main" id="{6C83C6EC-0C30-4341-9219-CB531FA09F20}"/>
                  </a:ext>
                </a:extLst>
              </p:cNvPr>
              <p:cNvSpPr>
                <a:spLocks noChangeArrowheads="1"/>
              </p:cNvSpPr>
              <p:nvPr/>
            </p:nvSpPr>
            <p:spPr bwMode="auto">
              <a:xfrm>
                <a:off x="4105" y="25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2" name="Freeform 3034">
                <a:extLst>
                  <a:ext uri="{FF2B5EF4-FFF2-40B4-BE49-F238E27FC236}">
                    <a16:creationId xmlns:a16="http://schemas.microsoft.com/office/drawing/2014/main" id="{5BDE9DE5-AD02-4DE8-9E6F-70F85AD03A8F}"/>
                  </a:ext>
                </a:extLst>
              </p:cNvPr>
              <p:cNvSpPr>
                <a:spLocks/>
              </p:cNvSpPr>
              <p:nvPr/>
            </p:nvSpPr>
            <p:spPr bwMode="auto">
              <a:xfrm>
                <a:off x="4079" y="2211"/>
                <a:ext cx="399" cy="478"/>
              </a:xfrm>
              <a:custGeom>
                <a:avLst/>
                <a:gdLst>
                  <a:gd name="T0" fmla="*/ 135 w 169"/>
                  <a:gd name="T1" fmla="*/ 3 h 202"/>
                  <a:gd name="T2" fmla="*/ 129 w 169"/>
                  <a:gd name="T3" fmla="*/ 10 h 202"/>
                  <a:gd name="T4" fmla="*/ 124 w 169"/>
                  <a:gd name="T5" fmla="*/ 12 h 202"/>
                  <a:gd name="T6" fmla="*/ 96 w 169"/>
                  <a:gd name="T7" fmla="*/ 11 h 202"/>
                  <a:gd name="T8" fmla="*/ 32 w 169"/>
                  <a:gd name="T9" fmla="*/ 16 h 202"/>
                  <a:gd name="T10" fmla="*/ 23 w 169"/>
                  <a:gd name="T11" fmla="*/ 34 h 202"/>
                  <a:gd name="T12" fmla="*/ 22 w 169"/>
                  <a:gd name="T13" fmla="*/ 38 h 202"/>
                  <a:gd name="T14" fmla="*/ 19 w 169"/>
                  <a:gd name="T15" fmla="*/ 79 h 202"/>
                  <a:gd name="T16" fmla="*/ 10 w 169"/>
                  <a:gd name="T17" fmla="*/ 86 h 202"/>
                  <a:gd name="T18" fmla="*/ 7 w 169"/>
                  <a:gd name="T19" fmla="*/ 90 h 202"/>
                  <a:gd name="T20" fmla="*/ 6 w 169"/>
                  <a:gd name="T21" fmla="*/ 92 h 202"/>
                  <a:gd name="T22" fmla="*/ 8 w 169"/>
                  <a:gd name="T23" fmla="*/ 95 h 202"/>
                  <a:gd name="T24" fmla="*/ 4 w 169"/>
                  <a:gd name="T25" fmla="*/ 100 h 202"/>
                  <a:gd name="T26" fmla="*/ 2 w 169"/>
                  <a:gd name="T27" fmla="*/ 105 h 202"/>
                  <a:gd name="T28" fmla="*/ 1 w 169"/>
                  <a:gd name="T29" fmla="*/ 108 h 202"/>
                  <a:gd name="T30" fmla="*/ 6 w 169"/>
                  <a:gd name="T31" fmla="*/ 114 h 202"/>
                  <a:gd name="T32" fmla="*/ 8 w 169"/>
                  <a:gd name="T33" fmla="*/ 118 h 202"/>
                  <a:gd name="T34" fmla="*/ 11 w 169"/>
                  <a:gd name="T35" fmla="*/ 127 h 202"/>
                  <a:gd name="T36" fmla="*/ 15 w 169"/>
                  <a:gd name="T37" fmla="*/ 132 h 202"/>
                  <a:gd name="T38" fmla="*/ 19 w 169"/>
                  <a:gd name="T39" fmla="*/ 143 h 202"/>
                  <a:gd name="T40" fmla="*/ 17 w 169"/>
                  <a:gd name="T41" fmla="*/ 148 h 202"/>
                  <a:gd name="T42" fmla="*/ 24 w 169"/>
                  <a:gd name="T43" fmla="*/ 150 h 202"/>
                  <a:gd name="T44" fmla="*/ 27 w 169"/>
                  <a:gd name="T45" fmla="*/ 154 h 202"/>
                  <a:gd name="T46" fmla="*/ 35 w 169"/>
                  <a:gd name="T47" fmla="*/ 158 h 202"/>
                  <a:gd name="T48" fmla="*/ 36 w 169"/>
                  <a:gd name="T49" fmla="*/ 162 h 202"/>
                  <a:gd name="T50" fmla="*/ 47 w 169"/>
                  <a:gd name="T51" fmla="*/ 169 h 202"/>
                  <a:gd name="T52" fmla="*/ 46 w 169"/>
                  <a:gd name="T53" fmla="*/ 174 h 202"/>
                  <a:gd name="T54" fmla="*/ 48 w 169"/>
                  <a:gd name="T55" fmla="*/ 177 h 202"/>
                  <a:gd name="T56" fmla="*/ 55 w 169"/>
                  <a:gd name="T57" fmla="*/ 183 h 202"/>
                  <a:gd name="T58" fmla="*/ 64 w 169"/>
                  <a:gd name="T59" fmla="*/ 194 h 202"/>
                  <a:gd name="T60" fmla="*/ 75 w 169"/>
                  <a:gd name="T61" fmla="*/ 194 h 202"/>
                  <a:gd name="T62" fmla="*/ 82 w 169"/>
                  <a:gd name="T63" fmla="*/ 191 h 202"/>
                  <a:gd name="T64" fmla="*/ 86 w 169"/>
                  <a:gd name="T65" fmla="*/ 198 h 202"/>
                  <a:gd name="T66" fmla="*/ 91 w 169"/>
                  <a:gd name="T67" fmla="*/ 202 h 202"/>
                  <a:gd name="T68" fmla="*/ 96 w 169"/>
                  <a:gd name="T69" fmla="*/ 200 h 202"/>
                  <a:gd name="T70" fmla="*/ 104 w 169"/>
                  <a:gd name="T71" fmla="*/ 202 h 202"/>
                  <a:gd name="T72" fmla="*/ 115 w 169"/>
                  <a:gd name="T73" fmla="*/ 199 h 202"/>
                  <a:gd name="T74" fmla="*/ 124 w 169"/>
                  <a:gd name="T75" fmla="*/ 194 h 202"/>
                  <a:gd name="T76" fmla="*/ 139 w 169"/>
                  <a:gd name="T77" fmla="*/ 190 h 202"/>
                  <a:gd name="T78" fmla="*/ 140 w 169"/>
                  <a:gd name="T79" fmla="*/ 188 h 202"/>
                  <a:gd name="T80" fmla="*/ 140 w 169"/>
                  <a:gd name="T81" fmla="*/ 186 h 202"/>
                  <a:gd name="T82" fmla="*/ 134 w 169"/>
                  <a:gd name="T83" fmla="*/ 182 h 202"/>
                  <a:gd name="T84" fmla="*/ 126 w 169"/>
                  <a:gd name="T85" fmla="*/ 169 h 202"/>
                  <a:gd name="T86" fmla="*/ 120 w 169"/>
                  <a:gd name="T87" fmla="*/ 162 h 202"/>
                  <a:gd name="T88" fmla="*/ 114 w 169"/>
                  <a:gd name="T89" fmla="*/ 160 h 202"/>
                  <a:gd name="T90" fmla="*/ 116 w 169"/>
                  <a:gd name="T91" fmla="*/ 151 h 202"/>
                  <a:gd name="T92" fmla="*/ 122 w 169"/>
                  <a:gd name="T93" fmla="*/ 152 h 202"/>
                  <a:gd name="T94" fmla="*/ 124 w 169"/>
                  <a:gd name="T95" fmla="*/ 138 h 202"/>
                  <a:gd name="T96" fmla="*/ 126 w 169"/>
                  <a:gd name="T97" fmla="*/ 130 h 202"/>
                  <a:gd name="T98" fmla="*/ 129 w 169"/>
                  <a:gd name="T99" fmla="*/ 127 h 202"/>
                  <a:gd name="T100" fmla="*/ 131 w 169"/>
                  <a:gd name="T101" fmla="*/ 128 h 202"/>
                  <a:gd name="T102" fmla="*/ 132 w 169"/>
                  <a:gd name="T103" fmla="*/ 127 h 202"/>
                  <a:gd name="T104" fmla="*/ 132 w 169"/>
                  <a:gd name="T105" fmla="*/ 123 h 202"/>
                  <a:gd name="T106" fmla="*/ 138 w 169"/>
                  <a:gd name="T107" fmla="*/ 111 h 202"/>
                  <a:gd name="T108" fmla="*/ 144 w 169"/>
                  <a:gd name="T109" fmla="*/ 108 h 202"/>
                  <a:gd name="T110" fmla="*/ 147 w 169"/>
                  <a:gd name="T111" fmla="*/ 97 h 202"/>
                  <a:gd name="T112" fmla="*/ 150 w 169"/>
                  <a:gd name="T113" fmla="*/ 76 h 202"/>
                  <a:gd name="T114" fmla="*/ 155 w 169"/>
                  <a:gd name="T115" fmla="*/ 62 h 202"/>
                  <a:gd name="T116" fmla="*/ 161 w 169"/>
                  <a:gd name="T117" fmla="*/ 59 h 202"/>
                  <a:gd name="T118" fmla="*/ 165 w 169"/>
                  <a:gd name="T119" fmla="*/ 55 h 202"/>
                  <a:gd name="T120" fmla="*/ 169 w 169"/>
                  <a:gd name="T121" fmla="*/ 53 h 202"/>
                  <a:gd name="T122" fmla="*/ 157 w 169"/>
                  <a:gd name="T123" fmla="*/ 22 h 202"/>
                  <a:gd name="T124" fmla="*/ 140 w 169"/>
                  <a:gd name="T1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 h="202">
                    <a:moveTo>
                      <a:pt x="140" y="0"/>
                    </a:moveTo>
                    <a:cubicBezTo>
                      <a:pt x="140" y="0"/>
                      <a:pt x="140" y="0"/>
                      <a:pt x="140" y="0"/>
                    </a:cubicBezTo>
                    <a:cubicBezTo>
                      <a:pt x="139" y="0"/>
                      <a:pt x="139" y="1"/>
                      <a:pt x="139" y="1"/>
                    </a:cubicBezTo>
                    <a:cubicBezTo>
                      <a:pt x="138" y="1"/>
                      <a:pt x="138" y="1"/>
                      <a:pt x="137" y="2"/>
                    </a:cubicBezTo>
                    <a:cubicBezTo>
                      <a:pt x="137" y="2"/>
                      <a:pt x="137" y="2"/>
                      <a:pt x="137" y="2"/>
                    </a:cubicBezTo>
                    <a:cubicBezTo>
                      <a:pt x="136" y="2"/>
                      <a:pt x="136" y="2"/>
                      <a:pt x="135" y="3"/>
                    </a:cubicBezTo>
                    <a:cubicBezTo>
                      <a:pt x="135" y="3"/>
                      <a:pt x="135" y="3"/>
                      <a:pt x="135" y="3"/>
                    </a:cubicBezTo>
                    <a:cubicBezTo>
                      <a:pt x="135" y="3"/>
                      <a:pt x="134" y="3"/>
                      <a:pt x="134" y="3"/>
                    </a:cubicBezTo>
                    <a:cubicBezTo>
                      <a:pt x="134" y="3"/>
                      <a:pt x="133" y="5"/>
                      <a:pt x="133" y="5"/>
                    </a:cubicBezTo>
                    <a:cubicBezTo>
                      <a:pt x="133" y="6"/>
                      <a:pt x="133" y="6"/>
                      <a:pt x="133" y="6"/>
                    </a:cubicBezTo>
                    <a:cubicBezTo>
                      <a:pt x="133" y="6"/>
                      <a:pt x="133" y="6"/>
                      <a:pt x="132" y="7"/>
                    </a:cubicBezTo>
                    <a:cubicBezTo>
                      <a:pt x="131" y="9"/>
                      <a:pt x="130" y="9"/>
                      <a:pt x="129" y="10"/>
                    </a:cubicBezTo>
                    <a:cubicBezTo>
                      <a:pt x="128" y="10"/>
                      <a:pt x="128" y="10"/>
                      <a:pt x="128" y="10"/>
                    </a:cubicBezTo>
                    <a:cubicBezTo>
                      <a:pt x="127" y="10"/>
                      <a:pt x="126" y="10"/>
                      <a:pt x="126" y="10"/>
                    </a:cubicBezTo>
                    <a:cubicBezTo>
                      <a:pt x="126" y="10"/>
                      <a:pt x="126" y="10"/>
                      <a:pt x="126" y="10"/>
                    </a:cubicBezTo>
                    <a:cubicBezTo>
                      <a:pt x="126" y="11"/>
                      <a:pt x="126" y="11"/>
                      <a:pt x="125" y="11"/>
                    </a:cubicBezTo>
                    <a:cubicBezTo>
                      <a:pt x="125" y="12"/>
                      <a:pt x="125" y="12"/>
                      <a:pt x="125" y="12"/>
                    </a:cubicBezTo>
                    <a:cubicBezTo>
                      <a:pt x="125" y="12"/>
                      <a:pt x="124" y="12"/>
                      <a:pt x="124" y="12"/>
                    </a:cubicBezTo>
                    <a:cubicBezTo>
                      <a:pt x="114" y="12"/>
                      <a:pt x="114" y="12"/>
                      <a:pt x="114" y="12"/>
                    </a:cubicBezTo>
                    <a:cubicBezTo>
                      <a:pt x="114" y="12"/>
                      <a:pt x="113" y="12"/>
                      <a:pt x="112" y="12"/>
                    </a:cubicBezTo>
                    <a:cubicBezTo>
                      <a:pt x="111" y="12"/>
                      <a:pt x="111" y="12"/>
                      <a:pt x="111" y="12"/>
                    </a:cubicBezTo>
                    <a:cubicBezTo>
                      <a:pt x="96" y="12"/>
                      <a:pt x="96" y="12"/>
                      <a:pt x="96" y="12"/>
                    </a:cubicBezTo>
                    <a:cubicBezTo>
                      <a:pt x="96" y="11"/>
                      <a:pt x="96" y="11"/>
                      <a:pt x="96" y="11"/>
                    </a:cubicBezTo>
                    <a:cubicBezTo>
                      <a:pt x="96" y="11"/>
                      <a:pt x="96" y="11"/>
                      <a:pt x="96" y="11"/>
                    </a:cubicBezTo>
                    <a:cubicBezTo>
                      <a:pt x="96" y="11"/>
                      <a:pt x="96" y="11"/>
                      <a:pt x="96" y="11"/>
                    </a:cubicBezTo>
                    <a:cubicBezTo>
                      <a:pt x="32" y="12"/>
                      <a:pt x="32" y="12"/>
                      <a:pt x="32" y="12"/>
                    </a:cubicBezTo>
                    <a:cubicBezTo>
                      <a:pt x="32" y="12"/>
                      <a:pt x="32" y="12"/>
                      <a:pt x="32" y="12"/>
                    </a:cubicBezTo>
                    <a:cubicBezTo>
                      <a:pt x="32" y="14"/>
                      <a:pt x="32" y="14"/>
                      <a:pt x="32" y="14"/>
                    </a:cubicBezTo>
                    <a:cubicBezTo>
                      <a:pt x="32" y="16"/>
                      <a:pt x="32" y="16"/>
                      <a:pt x="32" y="16"/>
                    </a:cubicBezTo>
                    <a:cubicBezTo>
                      <a:pt x="32" y="16"/>
                      <a:pt x="32" y="16"/>
                      <a:pt x="32" y="16"/>
                    </a:cubicBezTo>
                    <a:cubicBezTo>
                      <a:pt x="33" y="32"/>
                      <a:pt x="33" y="32"/>
                      <a:pt x="33" y="32"/>
                    </a:cubicBezTo>
                    <a:cubicBezTo>
                      <a:pt x="33" y="33"/>
                      <a:pt x="32" y="33"/>
                      <a:pt x="31" y="34"/>
                    </a:cubicBezTo>
                    <a:cubicBezTo>
                      <a:pt x="31" y="34"/>
                      <a:pt x="30" y="34"/>
                      <a:pt x="29" y="34"/>
                    </a:cubicBezTo>
                    <a:cubicBezTo>
                      <a:pt x="28" y="34"/>
                      <a:pt x="28" y="34"/>
                      <a:pt x="27" y="34"/>
                    </a:cubicBezTo>
                    <a:cubicBezTo>
                      <a:pt x="26" y="34"/>
                      <a:pt x="26" y="34"/>
                      <a:pt x="25" y="34"/>
                    </a:cubicBezTo>
                    <a:cubicBezTo>
                      <a:pt x="24" y="34"/>
                      <a:pt x="24" y="34"/>
                      <a:pt x="23" y="34"/>
                    </a:cubicBezTo>
                    <a:cubicBezTo>
                      <a:pt x="23" y="34"/>
                      <a:pt x="22" y="34"/>
                      <a:pt x="22" y="34"/>
                    </a:cubicBezTo>
                    <a:cubicBezTo>
                      <a:pt x="22" y="34"/>
                      <a:pt x="22" y="34"/>
                      <a:pt x="22" y="34"/>
                    </a:cubicBezTo>
                    <a:cubicBezTo>
                      <a:pt x="22" y="34"/>
                      <a:pt x="22" y="35"/>
                      <a:pt x="22" y="37"/>
                    </a:cubicBezTo>
                    <a:cubicBezTo>
                      <a:pt x="22" y="37"/>
                      <a:pt x="22" y="37"/>
                      <a:pt x="22" y="37"/>
                    </a:cubicBezTo>
                    <a:cubicBezTo>
                      <a:pt x="22" y="37"/>
                      <a:pt x="22" y="37"/>
                      <a:pt x="22" y="37"/>
                    </a:cubicBezTo>
                    <a:cubicBezTo>
                      <a:pt x="22" y="38"/>
                      <a:pt x="22" y="38"/>
                      <a:pt x="22" y="38"/>
                    </a:cubicBezTo>
                    <a:cubicBezTo>
                      <a:pt x="22" y="39"/>
                      <a:pt x="22" y="39"/>
                      <a:pt x="22" y="39"/>
                    </a:cubicBezTo>
                    <a:cubicBezTo>
                      <a:pt x="22" y="39"/>
                      <a:pt x="22" y="39"/>
                      <a:pt x="22" y="39"/>
                    </a:cubicBezTo>
                    <a:cubicBezTo>
                      <a:pt x="22" y="41"/>
                      <a:pt x="22" y="41"/>
                      <a:pt x="22" y="41"/>
                    </a:cubicBezTo>
                    <a:cubicBezTo>
                      <a:pt x="22" y="79"/>
                      <a:pt x="22" y="79"/>
                      <a:pt x="22" y="79"/>
                    </a:cubicBezTo>
                    <a:cubicBezTo>
                      <a:pt x="21" y="79"/>
                      <a:pt x="21" y="79"/>
                      <a:pt x="21" y="79"/>
                    </a:cubicBezTo>
                    <a:cubicBezTo>
                      <a:pt x="20" y="79"/>
                      <a:pt x="19" y="79"/>
                      <a:pt x="19" y="79"/>
                    </a:cubicBezTo>
                    <a:cubicBezTo>
                      <a:pt x="16" y="79"/>
                      <a:pt x="12" y="78"/>
                      <a:pt x="11" y="80"/>
                    </a:cubicBezTo>
                    <a:cubicBezTo>
                      <a:pt x="11" y="81"/>
                      <a:pt x="10" y="82"/>
                      <a:pt x="10" y="83"/>
                    </a:cubicBezTo>
                    <a:cubicBezTo>
                      <a:pt x="10" y="84"/>
                      <a:pt x="10" y="84"/>
                      <a:pt x="10" y="84"/>
                    </a:cubicBezTo>
                    <a:cubicBezTo>
                      <a:pt x="10" y="84"/>
                      <a:pt x="10" y="85"/>
                      <a:pt x="10" y="86"/>
                    </a:cubicBezTo>
                    <a:cubicBezTo>
                      <a:pt x="12" y="86"/>
                      <a:pt x="12" y="86"/>
                      <a:pt x="12" y="86"/>
                    </a:cubicBezTo>
                    <a:cubicBezTo>
                      <a:pt x="10" y="86"/>
                      <a:pt x="10" y="86"/>
                      <a:pt x="10" y="86"/>
                    </a:cubicBezTo>
                    <a:cubicBezTo>
                      <a:pt x="10" y="86"/>
                      <a:pt x="10" y="86"/>
                      <a:pt x="10" y="86"/>
                    </a:cubicBezTo>
                    <a:cubicBezTo>
                      <a:pt x="9" y="87"/>
                      <a:pt x="9" y="87"/>
                      <a:pt x="9" y="87"/>
                    </a:cubicBezTo>
                    <a:cubicBezTo>
                      <a:pt x="9" y="87"/>
                      <a:pt x="9" y="88"/>
                      <a:pt x="9" y="88"/>
                    </a:cubicBezTo>
                    <a:cubicBezTo>
                      <a:pt x="9" y="88"/>
                      <a:pt x="8" y="89"/>
                      <a:pt x="8" y="89"/>
                    </a:cubicBezTo>
                    <a:cubicBezTo>
                      <a:pt x="8" y="89"/>
                      <a:pt x="7" y="90"/>
                      <a:pt x="7" y="90"/>
                    </a:cubicBezTo>
                    <a:cubicBezTo>
                      <a:pt x="7" y="90"/>
                      <a:pt x="7" y="90"/>
                      <a:pt x="7" y="90"/>
                    </a:cubicBezTo>
                    <a:cubicBezTo>
                      <a:pt x="7" y="90"/>
                      <a:pt x="7" y="90"/>
                      <a:pt x="7" y="90"/>
                    </a:cubicBezTo>
                    <a:cubicBezTo>
                      <a:pt x="6" y="90"/>
                      <a:pt x="6" y="90"/>
                      <a:pt x="6" y="90"/>
                    </a:cubicBezTo>
                    <a:cubicBezTo>
                      <a:pt x="6" y="90"/>
                      <a:pt x="6" y="90"/>
                      <a:pt x="6" y="90"/>
                    </a:cubicBezTo>
                    <a:cubicBezTo>
                      <a:pt x="6" y="90"/>
                      <a:pt x="6" y="90"/>
                      <a:pt x="6" y="91"/>
                    </a:cubicBezTo>
                    <a:cubicBezTo>
                      <a:pt x="6" y="91"/>
                      <a:pt x="6" y="91"/>
                      <a:pt x="6" y="91"/>
                    </a:cubicBezTo>
                    <a:cubicBezTo>
                      <a:pt x="6" y="91"/>
                      <a:pt x="6" y="92"/>
                      <a:pt x="6" y="92"/>
                    </a:cubicBezTo>
                    <a:cubicBezTo>
                      <a:pt x="6" y="92"/>
                      <a:pt x="6" y="92"/>
                      <a:pt x="6" y="92"/>
                    </a:cubicBezTo>
                    <a:cubicBezTo>
                      <a:pt x="6" y="92"/>
                      <a:pt x="6" y="92"/>
                      <a:pt x="6" y="92"/>
                    </a:cubicBezTo>
                    <a:cubicBezTo>
                      <a:pt x="6" y="92"/>
                      <a:pt x="6" y="92"/>
                      <a:pt x="6" y="92"/>
                    </a:cubicBezTo>
                    <a:cubicBezTo>
                      <a:pt x="7" y="92"/>
                      <a:pt x="7" y="92"/>
                      <a:pt x="7" y="92"/>
                    </a:cubicBezTo>
                    <a:cubicBezTo>
                      <a:pt x="7" y="93"/>
                      <a:pt x="7" y="93"/>
                      <a:pt x="7" y="94"/>
                    </a:cubicBezTo>
                    <a:cubicBezTo>
                      <a:pt x="8" y="95"/>
                      <a:pt x="8" y="95"/>
                      <a:pt x="8" y="95"/>
                    </a:cubicBezTo>
                    <a:cubicBezTo>
                      <a:pt x="6" y="95"/>
                      <a:pt x="6" y="95"/>
                      <a:pt x="6" y="95"/>
                    </a:cubicBezTo>
                    <a:cubicBezTo>
                      <a:pt x="6" y="95"/>
                      <a:pt x="6" y="96"/>
                      <a:pt x="5" y="96"/>
                    </a:cubicBezTo>
                    <a:cubicBezTo>
                      <a:pt x="4" y="97"/>
                      <a:pt x="4" y="97"/>
                      <a:pt x="4" y="97"/>
                    </a:cubicBezTo>
                    <a:cubicBezTo>
                      <a:pt x="4" y="97"/>
                      <a:pt x="4" y="97"/>
                      <a:pt x="4" y="97"/>
                    </a:cubicBezTo>
                    <a:cubicBezTo>
                      <a:pt x="3" y="97"/>
                      <a:pt x="3" y="97"/>
                      <a:pt x="3" y="97"/>
                    </a:cubicBezTo>
                    <a:cubicBezTo>
                      <a:pt x="3" y="98"/>
                      <a:pt x="3" y="98"/>
                      <a:pt x="4" y="100"/>
                    </a:cubicBezTo>
                    <a:cubicBezTo>
                      <a:pt x="4" y="100"/>
                      <a:pt x="4" y="101"/>
                      <a:pt x="4" y="101"/>
                    </a:cubicBezTo>
                    <a:cubicBezTo>
                      <a:pt x="5" y="101"/>
                      <a:pt x="5" y="101"/>
                      <a:pt x="5" y="101"/>
                    </a:cubicBezTo>
                    <a:cubicBezTo>
                      <a:pt x="5" y="101"/>
                      <a:pt x="5" y="102"/>
                      <a:pt x="5" y="102"/>
                    </a:cubicBezTo>
                    <a:cubicBezTo>
                      <a:pt x="5" y="103"/>
                      <a:pt x="4" y="104"/>
                      <a:pt x="3" y="104"/>
                    </a:cubicBezTo>
                    <a:cubicBezTo>
                      <a:pt x="3" y="105"/>
                      <a:pt x="3" y="105"/>
                      <a:pt x="3" y="105"/>
                    </a:cubicBezTo>
                    <a:cubicBezTo>
                      <a:pt x="2" y="105"/>
                      <a:pt x="2" y="105"/>
                      <a:pt x="2" y="105"/>
                    </a:cubicBezTo>
                    <a:cubicBezTo>
                      <a:pt x="2" y="106"/>
                      <a:pt x="1" y="107"/>
                      <a:pt x="1" y="108"/>
                    </a:cubicBezTo>
                    <a:cubicBezTo>
                      <a:pt x="1" y="108"/>
                      <a:pt x="0" y="108"/>
                      <a:pt x="0" y="108"/>
                    </a:cubicBezTo>
                    <a:cubicBezTo>
                      <a:pt x="0" y="108"/>
                      <a:pt x="0" y="108"/>
                      <a:pt x="0" y="108"/>
                    </a:cubicBezTo>
                    <a:cubicBezTo>
                      <a:pt x="1" y="108"/>
                      <a:pt x="1" y="108"/>
                      <a:pt x="1" y="108"/>
                    </a:cubicBezTo>
                    <a:cubicBezTo>
                      <a:pt x="1" y="108"/>
                      <a:pt x="1" y="108"/>
                      <a:pt x="1" y="108"/>
                    </a:cubicBezTo>
                    <a:cubicBezTo>
                      <a:pt x="1" y="108"/>
                      <a:pt x="1" y="108"/>
                      <a:pt x="1" y="108"/>
                    </a:cubicBezTo>
                    <a:cubicBezTo>
                      <a:pt x="1" y="108"/>
                      <a:pt x="1" y="108"/>
                      <a:pt x="1" y="108"/>
                    </a:cubicBezTo>
                    <a:cubicBezTo>
                      <a:pt x="1" y="108"/>
                      <a:pt x="2" y="108"/>
                      <a:pt x="2" y="108"/>
                    </a:cubicBezTo>
                    <a:cubicBezTo>
                      <a:pt x="2" y="107"/>
                      <a:pt x="3" y="107"/>
                      <a:pt x="3" y="107"/>
                    </a:cubicBezTo>
                    <a:cubicBezTo>
                      <a:pt x="4" y="108"/>
                      <a:pt x="4" y="108"/>
                      <a:pt x="4" y="108"/>
                    </a:cubicBezTo>
                    <a:cubicBezTo>
                      <a:pt x="4" y="108"/>
                      <a:pt x="4" y="108"/>
                      <a:pt x="5" y="108"/>
                    </a:cubicBezTo>
                    <a:cubicBezTo>
                      <a:pt x="5" y="109"/>
                      <a:pt x="6" y="111"/>
                      <a:pt x="6" y="114"/>
                    </a:cubicBezTo>
                    <a:cubicBezTo>
                      <a:pt x="6" y="114"/>
                      <a:pt x="6" y="114"/>
                      <a:pt x="6" y="114"/>
                    </a:cubicBezTo>
                    <a:cubicBezTo>
                      <a:pt x="7" y="114"/>
                      <a:pt x="7" y="114"/>
                      <a:pt x="7" y="114"/>
                    </a:cubicBezTo>
                    <a:cubicBezTo>
                      <a:pt x="9" y="115"/>
                      <a:pt x="9" y="115"/>
                      <a:pt x="9" y="115"/>
                    </a:cubicBezTo>
                    <a:cubicBezTo>
                      <a:pt x="8" y="116"/>
                      <a:pt x="8" y="116"/>
                      <a:pt x="8" y="116"/>
                    </a:cubicBezTo>
                    <a:cubicBezTo>
                      <a:pt x="8" y="116"/>
                      <a:pt x="8" y="117"/>
                      <a:pt x="8" y="117"/>
                    </a:cubicBezTo>
                    <a:cubicBezTo>
                      <a:pt x="8" y="118"/>
                      <a:pt x="8" y="118"/>
                      <a:pt x="8" y="118"/>
                    </a:cubicBezTo>
                    <a:cubicBezTo>
                      <a:pt x="8" y="120"/>
                      <a:pt x="8" y="120"/>
                      <a:pt x="8" y="121"/>
                    </a:cubicBezTo>
                    <a:cubicBezTo>
                      <a:pt x="9" y="121"/>
                      <a:pt x="9" y="121"/>
                      <a:pt x="9" y="121"/>
                    </a:cubicBezTo>
                    <a:cubicBezTo>
                      <a:pt x="10" y="121"/>
                      <a:pt x="11" y="122"/>
                      <a:pt x="11" y="123"/>
                    </a:cubicBezTo>
                    <a:cubicBezTo>
                      <a:pt x="12" y="124"/>
                      <a:pt x="12" y="125"/>
                      <a:pt x="11" y="126"/>
                    </a:cubicBezTo>
                    <a:cubicBezTo>
                      <a:pt x="11" y="126"/>
                      <a:pt x="11" y="126"/>
                      <a:pt x="11" y="126"/>
                    </a:cubicBezTo>
                    <a:cubicBezTo>
                      <a:pt x="11" y="126"/>
                      <a:pt x="11" y="127"/>
                      <a:pt x="11" y="127"/>
                    </a:cubicBezTo>
                    <a:cubicBezTo>
                      <a:pt x="11" y="127"/>
                      <a:pt x="11" y="127"/>
                      <a:pt x="11" y="127"/>
                    </a:cubicBezTo>
                    <a:cubicBezTo>
                      <a:pt x="11" y="127"/>
                      <a:pt x="11" y="127"/>
                      <a:pt x="11" y="127"/>
                    </a:cubicBezTo>
                    <a:cubicBezTo>
                      <a:pt x="11" y="127"/>
                      <a:pt x="11" y="127"/>
                      <a:pt x="11" y="127"/>
                    </a:cubicBezTo>
                    <a:cubicBezTo>
                      <a:pt x="11" y="127"/>
                      <a:pt x="11" y="127"/>
                      <a:pt x="11" y="127"/>
                    </a:cubicBezTo>
                    <a:cubicBezTo>
                      <a:pt x="13" y="130"/>
                      <a:pt x="13" y="130"/>
                      <a:pt x="13" y="130"/>
                    </a:cubicBezTo>
                    <a:cubicBezTo>
                      <a:pt x="14" y="131"/>
                      <a:pt x="14" y="131"/>
                      <a:pt x="15" y="132"/>
                    </a:cubicBezTo>
                    <a:cubicBezTo>
                      <a:pt x="15" y="132"/>
                      <a:pt x="15" y="132"/>
                      <a:pt x="15" y="132"/>
                    </a:cubicBezTo>
                    <a:cubicBezTo>
                      <a:pt x="16" y="133"/>
                      <a:pt x="16" y="134"/>
                      <a:pt x="17" y="135"/>
                    </a:cubicBezTo>
                    <a:cubicBezTo>
                      <a:pt x="18" y="136"/>
                      <a:pt x="19" y="138"/>
                      <a:pt x="19" y="140"/>
                    </a:cubicBezTo>
                    <a:cubicBezTo>
                      <a:pt x="19" y="140"/>
                      <a:pt x="19" y="141"/>
                      <a:pt x="19" y="141"/>
                    </a:cubicBezTo>
                    <a:cubicBezTo>
                      <a:pt x="19" y="142"/>
                      <a:pt x="19" y="142"/>
                      <a:pt x="19" y="142"/>
                    </a:cubicBezTo>
                    <a:cubicBezTo>
                      <a:pt x="19" y="142"/>
                      <a:pt x="19" y="142"/>
                      <a:pt x="19" y="143"/>
                    </a:cubicBezTo>
                    <a:cubicBezTo>
                      <a:pt x="19" y="143"/>
                      <a:pt x="19" y="143"/>
                      <a:pt x="19" y="144"/>
                    </a:cubicBezTo>
                    <a:cubicBezTo>
                      <a:pt x="19" y="145"/>
                      <a:pt x="18" y="146"/>
                      <a:pt x="18" y="146"/>
                    </a:cubicBezTo>
                    <a:cubicBezTo>
                      <a:pt x="18" y="146"/>
                      <a:pt x="17" y="146"/>
                      <a:pt x="17" y="146"/>
                    </a:cubicBezTo>
                    <a:cubicBezTo>
                      <a:pt x="17" y="146"/>
                      <a:pt x="17" y="147"/>
                      <a:pt x="17" y="147"/>
                    </a:cubicBezTo>
                    <a:cubicBezTo>
                      <a:pt x="17" y="147"/>
                      <a:pt x="17" y="147"/>
                      <a:pt x="17" y="147"/>
                    </a:cubicBezTo>
                    <a:cubicBezTo>
                      <a:pt x="17" y="148"/>
                      <a:pt x="17" y="148"/>
                      <a:pt x="17" y="148"/>
                    </a:cubicBezTo>
                    <a:cubicBezTo>
                      <a:pt x="17" y="148"/>
                      <a:pt x="17" y="149"/>
                      <a:pt x="17" y="149"/>
                    </a:cubicBezTo>
                    <a:cubicBezTo>
                      <a:pt x="18" y="149"/>
                      <a:pt x="18" y="149"/>
                      <a:pt x="19" y="149"/>
                    </a:cubicBezTo>
                    <a:cubicBezTo>
                      <a:pt x="19" y="149"/>
                      <a:pt x="19" y="149"/>
                      <a:pt x="19" y="149"/>
                    </a:cubicBezTo>
                    <a:cubicBezTo>
                      <a:pt x="20" y="149"/>
                      <a:pt x="20" y="149"/>
                      <a:pt x="20" y="149"/>
                    </a:cubicBezTo>
                    <a:cubicBezTo>
                      <a:pt x="22" y="149"/>
                      <a:pt x="22" y="149"/>
                      <a:pt x="22" y="149"/>
                    </a:cubicBezTo>
                    <a:cubicBezTo>
                      <a:pt x="22" y="149"/>
                      <a:pt x="23" y="149"/>
                      <a:pt x="24" y="150"/>
                    </a:cubicBezTo>
                    <a:cubicBezTo>
                      <a:pt x="24" y="151"/>
                      <a:pt x="24" y="151"/>
                      <a:pt x="24" y="152"/>
                    </a:cubicBezTo>
                    <a:cubicBezTo>
                      <a:pt x="24" y="152"/>
                      <a:pt x="24" y="152"/>
                      <a:pt x="25" y="153"/>
                    </a:cubicBezTo>
                    <a:cubicBezTo>
                      <a:pt x="25" y="153"/>
                      <a:pt x="25" y="153"/>
                      <a:pt x="25" y="154"/>
                    </a:cubicBezTo>
                    <a:cubicBezTo>
                      <a:pt x="25" y="154"/>
                      <a:pt x="25" y="154"/>
                      <a:pt x="26" y="154"/>
                    </a:cubicBezTo>
                    <a:cubicBezTo>
                      <a:pt x="26" y="154"/>
                      <a:pt x="26" y="154"/>
                      <a:pt x="26" y="154"/>
                    </a:cubicBezTo>
                    <a:cubicBezTo>
                      <a:pt x="26" y="154"/>
                      <a:pt x="27" y="154"/>
                      <a:pt x="27" y="154"/>
                    </a:cubicBezTo>
                    <a:cubicBezTo>
                      <a:pt x="27" y="154"/>
                      <a:pt x="27" y="154"/>
                      <a:pt x="27" y="154"/>
                    </a:cubicBezTo>
                    <a:cubicBezTo>
                      <a:pt x="28" y="154"/>
                      <a:pt x="29" y="154"/>
                      <a:pt x="30" y="155"/>
                    </a:cubicBezTo>
                    <a:cubicBezTo>
                      <a:pt x="31" y="155"/>
                      <a:pt x="33" y="156"/>
                      <a:pt x="34" y="157"/>
                    </a:cubicBezTo>
                    <a:cubicBezTo>
                      <a:pt x="34" y="157"/>
                      <a:pt x="34" y="158"/>
                      <a:pt x="34" y="158"/>
                    </a:cubicBezTo>
                    <a:cubicBezTo>
                      <a:pt x="34" y="158"/>
                      <a:pt x="34" y="158"/>
                      <a:pt x="34" y="158"/>
                    </a:cubicBezTo>
                    <a:cubicBezTo>
                      <a:pt x="35" y="158"/>
                      <a:pt x="35" y="158"/>
                      <a:pt x="35" y="158"/>
                    </a:cubicBezTo>
                    <a:cubicBezTo>
                      <a:pt x="35" y="159"/>
                      <a:pt x="35" y="159"/>
                      <a:pt x="35" y="159"/>
                    </a:cubicBezTo>
                    <a:cubicBezTo>
                      <a:pt x="35" y="159"/>
                      <a:pt x="35" y="159"/>
                      <a:pt x="35" y="159"/>
                    </a:cubicBezTo>
                    <a:cubicBezTo>
                      <a:pt x="35" y="160"/>
                      <a:pt x="35" y="160"/>
                      <a:pt x="35" y="160"/>
                    </a:cubicBezTo>
                    <a:cubicBezTo>
                      <a:pt x="35" y="160"/>
                      <a:pt x="35" y="160"/>
                      <a:pt x="35" y="160"/>
                    </a:cubicBezTo>
                    <a:cubicBezTo>
                      <a:pt x="35" y="160"/>
                      <a:pt x="35" y="161"/>
                      <a:pt x="35" y="161"/>
                    </a:cubicBezTo>
                    <a:cubicBezTo>
                      <a:pt x="36" y="161"/>
                      <a:pt x="36" y="161"/>
                      <a:pt x="36" y="162"/>
                    </a:cubicBezTo>
                    <a:cubicBezTo>
                      <a:pt x="45" y="169"/>
                      <a:pt x="45" y="169"/>
                      <a:pt x="45" y="169"/>
                    </a:cubicBezTo>
                    <a:cubicBezTo>
                      <a:pt x="46" y="168"/>
                      <a:pt x="46" y="168"/>
                      <a:pt x="46" y="168"/>
                    </a:cubicBezTo>
                    <a:cubicBezTo>
                      <a:pt x="45" y="170"/>
                      <a:pt x="45" y="170"/>
                      <a:pt x="45" y="170"/>
                    </a:cubicBezTo>
                    <a:cubicBezTo>
                      <a:pt x="46" y="170"/>
                      <a:pt x="46" y="170"/>
                      <a:pt x="46" y="170"/>
                    </a:cubicBezTo>
                    <a:cubicBezTo>
                      <a:pt x="46" y="170"/>
                      <a:pt x="46" y="170"/>
                      <a:pt x="46" y="170"/>
                    </a:cubicBezTo>
                    <a:cubicBezTo>
                      <a:pt x="47" y="169"/>
                      <a:pt x="47" y="169"/>
                      <a:pt x="47" y="169"/>
                    </a:cubicBezTo>
                    <a:cubicBezTo>
                      <a:pt x="46" y="170"/>
                      <a:pt x="46" y="170"/>
                      <a:pt x="46" y="170"/>
                    </a:cubicBezTo>
                    <a:cubicBezTo>
                      <a:pt x="46" y="171"/>
                      <a:pt x="46" y="171"/>
                      <a:pt x="46" y="171"/>
                    </a:cubicBezTo>
                    <a:cubicBezTo>
                      <a:pt x="47" y="171"/>
                      <a:pt x="47" y="172"/>
                      <a:pt x="47" y="172"/>
                    </a:cubicBezTo>
                    <a:cubicBezTo>
                      <a:pt x="46" y="173"/>
                      <a:pt x="46" y="173"/>
                      <a:pt x="46" y="173"/>
                    </a:cubicBezTo>
                    <a:cubicBezTo>
                      <a:pt x="46" y="174"/>
                      <a:pt x="46" y="174"/>
                      <a:pt x="46" y="174"/>
                    </a:cubicBezTo>
                    <a:cubicBezTo>
                      <a:pt x="46" y="174"/>
                      <a:pt x="46" y="174"/>
                      <a:pt x="46" y="174"/>
                    </a:cubicBezTo>
                    <a:cubicBezTo>
                      <a:pt x="46" y="174"/>
                      <a:pt x="46" y="174"/>
                      <a:pt x="46" y="175"/>
                    </a:cubicBezTo>
                    <a:cubicBezTo>
                      <a:pt x="46" y="175"/>
                      <a:pt x="46" y="175"/>
                      <a:pt x="46" y="175"/>
                    </a:cubicBezTo>
                    <a:cubicBezTo>
                      <a:pt x="46" y="175"/>
                      <a:pt x="46" y="175"/>
                      <a:pt x="47" y="175"/>
                    </a:cubicBezTo>
                    <a:cubicBezTo>
                      <a:pt x="47" y="176"/>
                      <a:pt x="47" y="176"/>
                      <a:pt x="47" y="176"/>
                    </a:cubicBezTo>
                    <a:cubicBezTo>
                      <a:pt x="47" y="176"/>
                      <a:pt x="47" y="176"/>
                      <a:pt x="47" y="176"/>
                    </a:cubicBezTo>
                    <a:cubicBezTo>
                      <a:pt x="47" y="176"/>
                      <a:pt x="48" y="176"/>
                      <a:pt x="48" y="177"/>
                    </a:cubicBezTo>
                    <a:cubicBezTo>
                      <a:pt x="49" y="177"/>
                      <a:pt x="49" y="177"/>
                      <a:pt x="49" y="177"/>
                    </a:cubicBezTo>
                    <a:cubicBezTo>
                      <a:pt x="50" y="177"/>
                      <a:pt x="51" y="178"/>
                      <a:pt x="52" y="178"/>
                    </a:cubicBezTo>
                    <a:cubicBezTo>
                      <a:pt x="53" y="179"/>
                      <a:pt x="55" y="180"/>
                      <a:pt x="56" y="182"/>
                    </a:cubicBezTo>
                    <a:cubicBezTo>
                      <a:pt x="56" y="182"/>
                      <a:pt x="56" y="183"/>
                      <a:pt x="56" y="183"/>
                    </a:cubicBezTo>
                    <a:cubicBezTo>
                      <a:pt x="55" y="183"/>
                      <a:pt x="55" y="183"/>
                      <a:pt x="55" y="183"/>
                    </a:cubicBezTo>
                    <a:cubicBezTo>
                      <a:pt x="55" y="183"/>
                      <a:pt x="55" y="183"/>
                      <a:pt x="55" y="183"/>
                    </a:cubicBezTo>
                    <a:cubicBezTo>
                      <a:pt x="56" y="183"/>
                      <a:pt x="56" y="183"/>
                      <a:pt x="56" y="183"/>
                    </a:cubicBezTo>
                    <a:cubicBezTo>
                      <a:pt x="56" y="183"/>
                      <a:pt x="56" y="183"/>
                      <a:pt x="56" y="184"/>
                    </a:cubicBezTo>
                    <a:cubicBezTo>
                      <a:pt x="56" y="184"/>
                      <a:pt x="57" y="185"/>
                      <a:pt x="57" y="186"/>
                    </a:cubicBezTo>
                    <a:cubicBezTo>
                      <a:pt x="57" y="187"/>
                      <a:pt x="57" y="187"/>
                      <a:pt x="57" y="187"/>
                    </a:cubicBezTo>
                    <a:cubicBezTo>
                      <a:pt x="59" y="188"/>
                      <a:pt x="60" y="190"/>
                      <a:pt x="61" y="191"/>
                    </a:cubicBezTo>
                    <a:cubicBezTo>
                      <a:pt x="61" y="192"/>
                      <a:pt x="63" y="193"/>
                      <a:pt x="64" y="194"/>
                    </a:cubicBezTo>
                    <a:cubicBezTo>
                      <a:pt x="65" y="194"/>
                      <a:pt x="65" y="194"/>
                      <a:pt x="65" y="194"/>
                    </a:cubicBezTo>
                    <a:cubicBezTo>
                      <a:pt x="66" y="194"/>
                      <a:pt x="66" y="194"/>
                      <a:pt x="66" y="194"/>
                    </a:cubicBezTo>
                    <a:cubicBezTo>
                      <a:pt x="66" y="194"/>
                      <a:pt x="66" y="194"/>
                      <a:pt x="66" y="194"/>
                    </a:cubicBezTo>
                    <a:cubicBezTo>
                      <a:pt x="66" y="194"/>
                      <a:pt x="67" y="193"/>
                      <a:pt x="68" y="193"/>
                    </a:cubicBezTo>
                    <a:cubicBezTo>
                      <a:pt x="69" y="193"/>
                      <a:pt x="70" y="193"/>
                      <a:pt x="72" y="193"/>
                    </a:cubicBezTo>
                    <a:cubicBezTo>
                      <a:pt x="73" y="194"/>
                      <a:pt x="74" y="194"/>
                      <a:pt x="75" y="194"/>
                    </a:cubicBezTo>
                    <a:cubicBezTo>
                      <a:pt x="75" y="194"/>
                      <a:pt x="75" y="194"/>
                      <a:pt x="75" y="194"/>
                    </a:cubicBezTo>
                    <a:cubicBezTo>
                      <a:pt x="75" y="193"/>
                      <a:pt x="75" y="193"/>
                      <a:pt x="75" y="193"/>
                    </a:cubicBezTo>
                    <a:cubicBezTo>
                      <a:pt x="75" y="193"/>
                      <a:pt x="75" y="193"/>
                      <a:pt x="75" y="193"/>
                    </a:cubicBezTo>
                    <a:cubicBezTo>
                      <a:pt x="77" y="192"/>
                      <a:pt x="78" y="192"/>
                      <a:pt x="79" y="192"/>
                    </a:cubicBezTo>
                    <a:cubicBezTo>
                      <a:pt x="80" y="192"/>
                      <a:pt x="80" y="192"/>
                      <a:pt x="80" y="192"/>
                    </a:cubicBezTo>
                    <a:cubicBezTo>
                      <a:pt x="82" y="191"/>
                      <a:pt x="82" y="191"/>
                      <a:pt x="82" y="191"/>
                    </a:cubicBezTo>
                    <a:cubicBezTo>
                      <a:pt x="82" y="193"/>
                      <a:pt x="82" y="193"/>
                      <a:pt x="82" y="193"/>
                    </a:cubicBezTo>
                    <a:cubicBezTo>
                      <a:pt x="82" y="193"/>
                      <a:pt x="82" y="193"/>
                      <a:pt x="82" y="194"/>
                    </a:cubicBezTo>
                    <a:cubicBezTo>
                      <a:pt x="82" y="194"/>
                      <a:pt x="82" y="194"/>
                      <a:pt x="82" y="195"/>
                    </a:cubicBezTo>
                    <a:cubicBezTo>
                      <a:pt x="83" y="196"/>
                      <a:pt x="83" y="196"/>
                      <a:pt x="83" y="196"/>
                    </a:cubicBezTo>
                    <a:cubicBezTo>
                      <a:pt x="84" y="197"/>
                      <a:pt x="85" y="197"/>
                      <a:pt x="86" y="198"/>
                    </a:cubicBezTo>
                    <a:cubicBezTo>
                      <a:pt x="86" y="198"/>
                      <a:pt x="86" y="198"/>
                      <a:pt x="86" y="198"/>
                    </a:cubicBezTo>
                    <a:cubicBezTo>
                      <a:pt x="87" y="198"/>
                      <a:pt x="87" y="198"/>
                      <a:pt x="87" y="198"/>
                    </a:cubicBezTo>
                    <a:cubicBezTo>
                      <a:pt x="87" y="198"/>
                      <a:pt x="89" y="199"/>
                      <a:pt x="89" y="200"/>
                    </a:cubicBezTo>
                    <a:cubicBezTo>
                      <a:pt x="89" y="200"/>
                      <a:pt x="89" y="201"/>
                      <a:pt x="89" y="201"/>
                    </a:cubicBezTo>
                    <a:cubicBezTo>
                      <a:pt x="89" y="201"/>
                      <a:pt x="89" y="201"/>
                      <a:pt x="89" y="202"/>
                    </a:cubicBezTo>
                    <a:cubicBezTo>
                      <a:pt x="89" y="202"/>
                      <a:pt x="90" y="202"/>
                      <a:pt x="90" y="202"/>
                    </a:cubicBezTo>
                    <a:cubicBezTo>
                      <a:pt x="90" y="202"/>
                      <a:pt x="90" y="202"/>
                      <a:pt x="91" y="202"/>
                    </a:cubicBezTo>
                    <a:cubicBezTo>
                      <a:pt x="91" y="202"/>
                      <a:pt x="91" y="202"/>
                      <a:pt x="91" y="201"/>
                    </a:cubicBezTo>
                    <a:cubicBezTo>
                      <a:pt x="92" y="201"/>
                      <a:pt x="92" y="201"/>
                      <a:pt x="92" y="201"/>
                    </a:cubicBezTo>
                    <a:cubicBezTo>
                      <a:pt x="92" y="201"/>
                      <a:pt x="92" y="201"/>
                      <a:pt x="92" y="201"/>
                    </a:cubicBezTo>
                    <a:cubicBezTo>
                      <a:pt x="92" y="201"/>
                      <a:pt x="92" y="201"/>
                      <a:pt x="92" y="200"/>
                    </a:cubicBezTo>
                    <a:cubicBezTo>
                      <a:pt x="94" y="199"/>
                      <a:pt x="95" y="200"/>
                      <a:pt x="95" y="200"/>
                    </a:cubicBezTo>
                    <a:cubicBezTo>
                      <a:pt x="95" y="200"/>
                      <a:pt x="96" y="200"/>
                      <a:pt x="96" y="200"/>
                    </a:cubicBezTo>
                    <a:cubicBezTo>
                      <a:pt x="97" y="200"/>
                      <a:pt x="97" y="200"/>
                      <a:pt x="97" y="201"/>
                    </a:cubicBezTo>
                    <a:cubicBezTo>
                      <a:pt x="98" y="201"/>
                      <a:pt x="98" y="201"/>
                      <a:pt x="98" y="200"/>
                    </a:cubicBezTo>
                    <a:cubicBezTo>
                      <a:pt x="101" y="199"/>
                      <a:pt x="101" y="199"/>
                      <a:pt x="101" y="199"/>
                    </a:cubicBezTo>
                    <a:cubicBezTo>
                      <a:pt x="102" y="200"/>
                      <a:pt x="102" y="200"/>
                      <a:pt x="102" y="200"/>
                    </a:cubicBezTo>
                    <a:cubicBezTo>
                      <a:pt x="103" y="201"/>
                      <a:pt x="103" y="201"/>
                      <a:pt x="103" y="201"/>
                    </a:cubicBezTo>
                    <a:cubicBezTo>
                      <a:pt x="103" y="201"/>
                      <a:pt x="104" y="201"/>
                      <a:pt x="104" y="202"/>
                    </a:cubicBezTo>
                    <a:cubicBezTo>
                      <a:pt x="104" y="202"/>
                      <a:pt x="104" y="202"/>
                      <a:pt x="104" y="202"/>
                    </a:cubicBezTo>
                    <a:cubicBezTo>
                      <a:pt x="104" y="202"/>
                      <a:pt x="104" y="202"/>
                      <a:pt x="104" y="202"/>
                    </a:cubicBezTo>
                    <a:cubicBezTo>
                      <a:pt x="105" y="201"/>
                      <a:pt x="105" y="201"/>
                      <a:pt x="106" y="200"/>
                    </a:cubicBezTo>
                    <a:cubicBezTo>
                      <a:pt x="107" y="200"/>
                      <a:pt x="107" y="200"/>
                      <a:pt x="109" y="199"/>
                    </a:cubicBezTo>
                    <a:cubicBezTo>
                      <a:pt x="109" y="199"/>
                      <a:pt x="112" y="198"/>
                      <a:pt x="114" y="199"/>
                    </a:cubicBezTo>
                    <a:cubicBezTo>
                      <a:pt x="114" y="199"/>
                      <a:pt x="114" y="199"/>
                      <a:pt x="115" y="199"/>
                    </a:cubicBezTo>
                    <a:cubicBezTo>
                      <a:pt x="115" y="199"/>
                      <a:pt x="116" y="199"/>
                      <a:pt x="117" y="200"/>
                    </a:cubicBezTo>
                    <a:cubicBezTo>
                      <a:pt x="118" y="200"/>
                      <a:pt x="118" y="200"/>
                      <a:pt x="119" y="199"/>
                    </a:cubicBezTo>
                    <a:cubicBezTo>
                      <a:pt x="122" y="196"/>
                      <a:pt x="122" y="196"/>
                      <a:pt x="122" y="196"/>
                    </a:cubicBezTo>
                    <a:cubicBezTo>
                      <a:pt x="122" y="195"/>
                      <a:pt x="122" y="195"/>
                      <a:pt x="122" y="195"/>
                    </a:cubicBezTo>
                    <a:cubicBezTo>
                      <a:pt x="122" y="195"/>
                      <a:pt x="122" y="195"/>
                      <a:pt x="122" y="195"/>
                    </a:cubicBezTo>
                    <a:cubicBezTo>
                      <a:pt x="124" y="194"/>
                      <a:pt x="124" y="194"/>
                      <a:pt x="124" y="194"/>
                    </a:cubicBezTo>
                    <a:cubicBezTo>
                      <a:pt x="124" y="193"/>
                      <a:pt x="124" y="193"/>
                      <a:pt x="125" y="193"/>
                    </a:cubicBezTo>
                    <a:cubicBezTo>
                      <a:pt x="125" y="193"/>
                      <a:pt x="125" y="193"/>
                      <a:pt x="125" y="193"/>
                    </a:cubicBezTo>
                    <a:cubicBezTo>
                      <a:pt x="125" y="193"/>
                      <a:pt x="125" y="193"/>
                      <a:pt x="125" y="193"/>
                    </a:cubicBezTo>
                    <a:cubicBezTo>
                      <a:pt x="126" y="192"/>
                      <a:pt x="126" y="191"/>
                      <a:pt x="128" y="191"/>
                    </a:cubicBezTo>
                    <a:cubicBezTo>
                      <a:pt x="139" y="191"/>
                      <a:pt x="139" y="191"/>
                      <a:pt x="139" y="191"/>
                    </a:cubicBezTo>
                    <a:cubicBezTo>
                      <a:pt x="139" y="191"/>
                      <a:pt x="139" y="191"/>
                      <a:pt x="139" y="190"/>
                    </a:cubicBezTo>
                    <a:cubicBezTo>
                      <a:pt x="139" y="190"/>
                      <a:pt x="139" y="190"/>
                      <a:pt x="139" y="190"/>
                    </a:cubicBezTo>
                    <a:cubicBezTo>
                      <a:pt x="139" y="190"/>
                      <a:pt x="139" y="191"/>
                      <a:pt x="139" y="191"/>
                    </a:cubicBezTo>
                    <a:cubicBezTo>
                      <a:pt x="140" y="191"/>
                      <a:pt x="140" y="191"/>
                      <a:pt x="140" y="191"/>
                    </a:cubicBezTo>
                    <a:cubicBezTo>
                      <a:pt x="140" y="189"/>
                      <a:pt x="140" y="189"/>
                      <a:pt x="140" y="189"/>
                    </a:cubicBezTo>
                    <a:cubicBezTo>
                      <a:pt x="140" y="189"/>
                      <a:pt x="140" y="189"/>
                      <a:pt x="140" y="188"/>
                    </a:cubicBezTo>
                    <a:cubicBezTo>
                      <a:pt x="140" y="188"/>
                      <a:pt x="140" y="188"/>
                      <a:pt x="140" y="188"/>
                    </a:cubicBezTo>
                    <a:cubicBezTo>
                      <a:pt x="140" y="188"/>
                      <a:pt x="140" y="187"/>
                      <a:pt x="140" y="187"/>
                    </a:cubicBezTo>
                    <a:cubicBezTo>
                      <a:pt x="140" y="187"/>
                      <a:pt x="140" y="187"/>
                      <a:pt x="140" y="187"/>
                    </a:cubicBezTo>
                    <a:cubicBezTo>
                      <a:pt x="140" y="186"/>
                      <a:pt x="140" y="186"/>
                      <a:pt x="140" y="186"/>
                    </a:cubicBezTo>
                    <a:cubicBezTo>
                      <a:pt x="140" y="186"/>
                      <a:pt x="140" y="186"/>
                      <a:pt x="140" y="186"/>
                    </a:cubicBezTo>
                    <a:cubicBezTo>
                      <a:pt x="140" y="186"/>
                      <a:pt x="140" y="186"/>
                      <a:pt x="140" y="186"/>
                    </a:cubicBezTo>
                    <a:cubicBezTo>
                      <a:pt x="140" y="186"/>
                      <a:pt x="140" y="186"/>
                      <a:pt x="140" y="186"/>
                    </a:cubicBezTo>
                    <a:cubicBezTo>
                      <a:pt x="139" y="186"/>
                      <a:pt x="139" y="186"/>
                      <a:pt x="139" y="186"/>
                    </a:cubicBezTo>
                    <a:cubicBezTo>
                      <a:pt x="138" y="185"/>
                      <a:pt x="137" y="185"/>
                      <a:pt x="136" y="185"/>
                    </a:cubicBezTo>
                    <a:cubicBezTo>
                      <a:pt x="136" y="184"/>
                      <a:pt x="136" y="184"/>
                      <a:pt x="136" y="184"/>
                    </a:cubicBezTo>
                    <a:cubicBezTo>
                      <a:pt x="136" y="184"/>
                      <a:pt x="135" y="184"/>
                      <a:pt x="135" y="184"/>
                    </a:cubicBezTo>
                    <a:cubicBezTo>
                      <a:pt x="135" y="183"/>
                      <a:pt x="135" y="183"/>
                      <a:pt x="134" y="183"/>
                    </a:cubicBezTo>
                    <a:cubicBezTo>
                      <a:pt x="134" y="183"/>
                      <a:pt x="134" y="183"/>
                      <a:pt x="134" y="182"/>
                    </a:cubicBezTo>
                    <a:cubicBezTo>
                      <a:pt x="134" y="182"/>
                      <a:pt x="133" y="181"/>
                      <a:pt x="133" y="181"/>
                    </a:cubicBezTo>
                    <a:cubicBezTo>
                      <a:pt x="133" y="180"/>
                      <a:pt x="131" y="174"/>
                      <a:pt x="130" y="172"/>
                    </a:cubicBezTo>
                    <a:cubicBezTo>
                      <a:pt x="130" y="172"/>
                      <a:pt x="130" y="172"/>
                      <a:pt x="129" y="172"/>
                    </a:cubicBezTo>
                    <a:cubicBezTo>
                      <a:pt x="129" y="171"/>
                      <a:pt x="129" y="171"/>
                      <a:pt x="129" y="171"/>
                    </a:cubicBezTo>
                    <a:cubicBezTo>
                      <a:pt x="128" y="170"/>
                      <a:pt x="128" y="170"/>
                      <a:pt x="127" y="170"/>
                    </a:cubicBezTo>
                    <a:cubicBezTo>
                      <a:pt x="127" y="169"/>
                      <a:pt x="127" y="169"/>
                      <a:pt x="126" y="169"/>
                    </a:cubicBezTo>
                    <a:cubicBezTo>
                      <a:pt x="125" y="168"/>
                      <a:pt x="124" y="168"/>
                      <a:pt x="123" y="166"/>
                    </a:cubicBezTo>
                    <a:cubicBezTo>
                      <a:pt x="123" y="166"/>
                      <a:pt x="123" y="166"/>
                      <a:pt x="123" y="166"/>
                    </a:cubicBezTo>
                    <a:cubicBezTo>
                      <a:pt x="123" y="166"/>
                      <a:pt x="122" y="166"/>
                      <a:pt x="122" y="165"/>
                    </a:cubicBezTo>
                    <a:cubicBezTo>
                      <a:pt x="122" y="165"/>
                      <a:pt x="122" y="165"/>
                      <a:pt x="122" y="164"/>
                    </a:cubicBezTo>
                    <a:cubicBezTo>
                      <a:pt x="121" y="164"/>
                      <a:pt x="121" y="164"/>
                      <a:pt x="121" y="164"/>
                    </a:cubicBezTo>
                    <a:cubicBezTo>
                      <a:pt x="121" y="164"/>
                      <a:pt x="120" y="162"/>
                      <a:pt x="120" y="162"/>
                    </a:cubicBezTo>
                    <a:cubicBezTo>
                      <a:pt x="120" y="162"/>
                      <a:pt x="120" y="162"/>
                      <a:pt x="119" y="162"/>
                    </a:cubicBezTo>
                    <a:cubicBezTo>
                      <a:pt x="119" y="162"/>
                      <a:pt x="119" y="162"/>
                      <a:pt x="119" y="162"/>
                    </a:cubicBezTo>
                    <a:cubicBezTo>
                      <a:pt x="118" y="162"/>
                      <a:pt x="118" y="162"/>
                      <a:pt x="118" y="162"/>
                    </a:cubicBezTo>
                    <a:cubicBezTo>
                      <a:pt x="117" y="161"/>
                      <a:pt x="117" y="161"/>
                      <a:pt x="117" y="161"/>
                    </a:cubicBezTo>
                    <a:cubicBezTo>
                      <a:pt x="116" y="161"/>
                      <a:pt x="115" y="160"/>
                      <a:pt x="114" y="160"/>
                    </a:cubicBezTo>
                    <a:cubicBezTo>
                      <a:pt x="114" y="160"/>
                      <a:pt x="114" y="160"/>
                      <a:pt x="114" y="160"/>
                    </a:cubicBezTo>
                    <a:cubicBezTo>
                      <a:pt x="113" y="160"/>
                      <a:pt x="113" y="159"/>
                      <a:pt x="112" y="159"/>
                    </a:cubicBezTo>
                    <a:cubicBezTo>
                      <a:pt x="111" y="159"/>
                      <a:pt x="111" y="159"/>
                      <a:pt x="111" y="159"/>
                    </a:cubicBezTo>
                    <a:cubicBezTo>
                      <a:pt x="112" y="157"/>
                      <a:pt x="112" y="157"/>
                      <a:pt x="112" y="157"/>
                    </a:cubicBezTo>
                    <a:cubicBezTo>
                      <a:pt x="112" y="157"/>
                      <a:pt x="112" y="156"/>
                      <a:pt x="113" y="156"/>
                    </a:cubicBezTo>
                    <a:cubicBezTo>
                      <a:pt x="113" y="154"/>
                      <a:pt x="114" y="152"/>
                      <a:pt x="116" y="152"/>
                    </a:cubicBezTo>
                    <a:cubicBezTo>
                      <a:pt x="116" y="152"/>
                      <a:pt x="116" y="152"/>
                      <a:pt x="116" y="151"/>
                    </a:cubicBezTo>
                    <a:cubicBezTo>
                      <a:pt x="117" y="151"/>
                      <a:pt x="117" y="151"/>
                      <a:pt x="117" y="151"/>
                    </a:cubicBezTo>
                    <a:cubicBezTo>
                      <a:pt x="117" y="151"/>
                      <a:pt x="117" y="151"/>
                      <a:pt x="117" y="151"/>
                    </a:cubicBezTo>
                    <a:cubicBezTo>
                      <a:pt x="117" y="151"/>
                      <a:pt x="118" y="151"/>
                      <a:pt x="118" y="152"/>
                    </a:cubicBezTo>
                    <a:cubicBezTo>
                      <a:pt x="118" y="152"/>
                      <a:pt x="118" y="152"/>
                      <a:pt x="118" y="152"/>
                    </a:cubicBezTo>
                    <a:cubicBezTo>
                      <a:pt x="118" y="152"/>
                      <a:pt x="119" y="152"/>
                      <a:pt x="119" y="152"/>
                    </a:cubicBezTo>
                    <a:cubicBezTo>
                      <a:pt x="120" y="152"/>
                      <a:pt x="122" y="152"/>
                      <a:pt x="122" y="152"/>
                    </a:cubicBezTo>
                    <a:cubicBezTo>
                      <a:pt x="123" y="152"/>
                      <a:pt x="123" y="152"/>
                      <a:pt x="123" y="152"/>
                    </a:cubicBezTo>
                    <a:cubicBezTo>
                      <a:pt x="124" y="151"/>
                      <a:pt x="123" y="146"/>
                      <a:pt x="123" y="144"/>
                    </a:cubicBezTo>
                    <a:cubicBezTo>
                      <a:pt x="123" y="144"/>
                      <a:pt x="123" y="144"/>
                      <a:pt x="123" y="144"/>
                    </a:cubicBezTo>
                    <a:cubicBezTo>
                      <a:pt x="123" y="142"/>
                      <a:pt x="123" y="141"/>
                      <a:pt x="124" y="140"/>
                    </a:cubicBezTo>
                    <a:cubicBezTo>
                      <a:pt x="124" y="139"/>
                      <a:pt x="124" y="139"/>
                      <a:pt x="124" y="139"/>
                    </a:cubicBezTo>
                    <a:cubicBezTo>
                      <a:pt x="124" y="138"/>
                      <a:pt x="124" y="138"/>
                      <a:pt x="124" y="138"/>
                    </a:cubicBezTo>
                    <a:cubicBezTo>
                      <a:pt x="125" y="137"/>
                      <a:pt x="125" y="137"/>
                      <a:pt x="125" y="136"/>
                    </a:cubicBezTo>
                    <a:cubicBezTo>
                      <a:pt x="125" y="135"/>
                      <a:pt x="125" y="135"/>
                      <a:pt x="125" y="135"/>
                    </a:cubicBezTo>
                    <a:cubicBezTo>
                      <a:pt x="125" y="135"/>
                      <a:pt x="125" y="135"/>
                      <a:pt x="125" y="134"/>
                    </a:cubicBezTo>
                    <a:cubicBezTo>
                      <a:pt x="126" y="134"/>
                      <a:pt x="125" y="134"/>
                      <a:pt x="125" y="133"/>
                    </a:cubicBezTo>
                    <a:cubicBezTo>
                      <a:pt x="125" y="132"/>
                      <a:pt x="125" y="131"/>
                      <a:pt x="125" y="130"/>
                    </a:cubicBezTo>
                    <a:cubicBezTo>
                      <a:pt x="125" y="130"/>
                      <a:pt x="125" y="130"/>
                      <a:pt x="126" y="130"/>
                    </a:cubicBezTo>
                    <a:cubicBezTo>
                      <a:pt x="126" y="129"/>
                      <a:pt x="126" y="129"/>
                      <a:pt x="127" y="128"/>
                    </a:cubicBezTo>
                    <a:cubicBezTo>
                      <a:pt x="127" y="128"/>
                      <a:pt x="127" y="127"/>
                      <a:pt x="128" y="127"/>
                    </a:cubicBezTo>
                    <a:cubicBezTo>
                      <a:pt x="128" y="127"/>
                      <a:pt x="128" y="127"/>
                      <a:pt x="128" y="127"/>
                    </a:cubicBezTo>
                    <a:cubicBezTo>
                      <a:pt x="128" y="127"/>
                      <a:pt x="128" y="127"/>
                      <a:pt x="128" y="127"/>
                    </a:cubicBezTo>
                    <a:cubicBezTo>
                      <a:pt x="129" y="127"/>
                      <a:pt x="129" y="127"/>
                      <a:pt x="129" y="127"/>
                    </a:cubicBezTo>
                    <a:cubicBezTo>
                      <a:pt x="129" y="127"/>
                      <a:pt x="129" y="127"/>
                      <a:pt x="129" y="127"/>
                    </a:cubicBezTo>
                    <a:cubicBezTo>
                      <a:pt x="129" y="127"/>
                      <a:pt x="129" y="127"/>
                      <a:pt x="129" y="127"/>
                    </a:cubicBezTo>
                    <a:cubicBezTo>
                      <a:pt x="129" y="127"/>
                      <a:pt x="129" y="127"/>
                      <a:pt x="130" y="127"/>
                    </a:cubicBezTo>
                    <a:cubicBezTo>
                      <a:pt x="130" y="127"/>
                      <a:pt x="130" y="127"/>
                      <a:pt x="130" y="127"/>
                    </a:cubicBezTo>
                    <a:cubicBezTo>
                      <a:pt x="130" y="127"/>
                      <a:pt x="130" y="127"/>
                      <a:pt x="130" y="127"/>
                    </a:cubicBezTo>
                    <a:cubicBezTo>
                      <a:pt x="130" y="127"/>
                      <a:pt x="130" y="127"/>
                      <a:pt x="130" y="127"/>
                    </a:cubicBezTo>
                    <a:cubicBezTo>
                      <a:pt x="131" y="127"/>
                      <a:pt x="131" y="128"/>
                      <a:pt x="131" y="128"/>
                    </a:cubicBezTo>
                    <a:cubicBezTo>
                      <a:pt x="131" y="128"/>
                      <a:pt x="131" y="128"/>
                      <a:pt x="131" y="128"/>
                    </a:cubicBezTo>
                    <a:cubicBezTo>
                      <a:pt x="131" y="128"/>
                      <a:pt x="131" y="128"/>
                      <a:pt x="131" y="128"/>
                    </a:cubicBezTo>
                    <a:cubicBezTo>
                      <a:pt x="131" y="128"/>
                      <a:pt x="132" y="128"/>
                      <a:pt x="132" y="128"/>
                    </a:cubicBezTo>
                    <a:cubicBezTo>
                      <a:pt x="132" y="127"/>
                      <a:pt x="132" y="127"/>
                      <a:pt x="132" y="127"/>
                    </a:cubicBezTo>
                    <a:cubicBezTo>
                      <a:pt x="132" y="127"/>
                      <a:pt x="132" y="127"/>
                      <a:pt x="132" y="127"/>
                    </a:cubicBezTo>
                    <a:cubicBezTo>
                      <a:pt x="132" y="127"/>
                      <a:pt x="132" y="127"/>
                      <a:pt x="132" y="127"/>
                    </a:cubicBezTo>
                    <a:cubicBezTo>
                      <a:pt x="132" y="126"/>
                      <a:pt x="132" y="126"/>
                      <a:pt x="132" y="126"/>
                    </a:cubicBezTo>
                    <a:cubicBezTo>
                      <a:pt x="132" y="125"/>
                      <a:pt x="132" y="125"/>
                      <a:pt x="132" y="125"/>
                    </a:cubicBezTo>
                    <a:cubicBezTo>
                      <a:pt x="132" y="125"/>
                      <a:pt x="132" y="125"/>
                      <a:pt x="132" y="125"/>
                    </a:cubicBezTo>
                    <a:cubicBezTo>
                      <a:pt x="132" y="124"/>
                      <a:pt x="132" y="124"/>
                      <a:pt x="132" y="124"/>
                    </a:cubicBezTo>
                    <a:cubicBezTo>
                      <a:pt x="132" y="123"/>
                      <a:pt x="132" y="123"/>
                      <a:pt x="132" y="123"/>
                    </a:cubicBezTo>
                    <a:cubicBezTo>
                      <a:pt x="132" y="123"/>
                      <a:pt x="132" y="123"/>
                      <a:pt x="132" y="123"/>
                    </a:cubicBezTo>
                    <a:cubicBezTo>
                      <a:pt x="133" y="122"/>
                      <a:pt x="133" y="121"/>
                      <a:pt x="133" y="120"/>
                    </a:cubicBezTo>
                    <a:cubicBezTo>
                      <a:pt x="133" y="119"/>
                      <a:pt x="133" y="119"/>
                      <a:pt x="133" y="119"/>
                    </a:cubicBezTo>
                    <a:cubicBezTo>
                      <a:pt x="133" y="118"/>
                      <a:pt x="134" y="117"/>
                      <a:pt x="135" y="116"/>
                    </a:cubicBezTo>
                    <a:cubicBezTo>
                      <a:pt x="136" y="115"/>
                      <a:pt x="136" y="115"/>
                      <a:pt x="136" y="114"/>
                    </a:cubicBezTo>
                    <a:cubicBezTo>
                      <a:pt x="137" y="113"/>
                      <a:pt x="138" y="112"/>
                      <a:pt x="138" y="111"/>
                    </a:cubicBezTo>
                    <a:cubicBezTo>
                      <a:pt x="138" y="111"/>
                      <a:pt x="138" y="111"/>
                      <a:pt x="138" y="111"/>
                    </a:cubicBezTo>
                    <a:cubicBezTo>
                      <a:pt x="139" y="110"/>
                      <a:pt x="139" y="110"/>
                      <a:pt x="139" y="109"/>
                    </a:cubicBezTo>
                    <a:cubicBezTo>
                      <a:pt x="140" y="108"/>
                      <a:pt x="140" y="108"/>
                      <a:pt x="141" y="108"/>
                    </a:cubicBezTo>
                    <a:cubicBezTo>
                      <a:pt x="142" y="108"/>
                      <a:pt x="142" y="108"/>
                      <a:pt x="142" y="108"/>
                    </a:cubicBezTo>
                    <a:cubicBezTo>
                      <a:pt x="142" y="108"/>
                      <a:pt x="142" y="108"/>
                      <a:pt x="142" y="108"/>
                    </a:cubicBezTo>
                    <a:cubicBezTo>
                      <a:pt x="142" y="108"/>
                      <a:pt x="142" y="108"/>
                      <a:pt x="143" y="108"/>
                    </a:cubicBezTo>
                    <a:cubicBezTo>
                      <a:pt x="143" y="108"/>
                      <a:pt x="143" y="108"/>
                      <a:pt x="144" y="108"/>
                    </a:cubicBezTo>
                    <a:cubicBezTo>
                      <a:pt x="144" y="108"/>
                      <a:pt x="144" y="108"/>
                      <a:pt x="144" y="108"/>
                    </a:cubicBezTo>
                    <a:cubicBezTo>
                      <a:pt x="144" y="108"/>
                      <a:pt x="144" y="107"/>
                      <a:pt x="145" y="106"/>
                    </a:cubicBezTo>
                    <a:cubicBezTo>
                      <a:pt x="145" y="105"/>
                      <a:pt x="145" y="105"/>
                      <a:pt x="145" y="105"/>
                    </a:cubicBezTo>
                    <a:cubicBezTo>
                      <a:pt x="145" y="104"/>
                      <a:pt x="145" y="104"/>
                      <a:pt x="145" y="104"/>
                    </a:cubicBezTo>
                    <a:cubicBezTo>
                      <a:pt x="146" y="101"/>
                      <a:pt x="147" y="99"/>
                      <a:pt x="147" y="97"/>
                    </a:cubicBezTo>
                    <a:cubicBezTo>
                      <a:pt x="147" y="97"/>
                      <a:pt x="147" y="97"/>
                      <a:pt x="147" y="97"/>
                    </a:cubicBezTo>
                    <a:cubicBezTo>
                      <a:pt x="147" y="96"/>
                      <a:pt x="147" y="95"/>
                      <a:pt x="148" y="94"/>
                    </a:cubicBezTo>
                    <a:cubicBezTo>
                      <a:pt x="148" y="93"/>
                      <a:pt x="148" y="93"/>
                      <a:pt x="148" y="93"/>
                    </a:cubicBezTo>
                    <a:cubicBezTo>
                      <a:pt x="147" y="91"/>
                      <a:pt x="147" y="88"/>
                      <a:pt x="147" y="88"/>
                    </a:cubicBezTo>
                    <a:cubicBezTo>
                      <a:pt x="147" y="88"/>
                      <a:pt x="147" y="88"/>
                      <a:pt x="147" y="87"/>
                    </a:cubicBezTo>
                    <a:cubicBezTo>
                      <a:pt x="147" y="86"/>
                      <a:pt x="147" y="85"/>
                      <a:pt x="147" y="84"/>
                    </a:cubicBezTo>
                    <a:cubicBezTo>
                      <a:pt x="147" y="81"/>
                      <a:pt x="149" y="78"/>
                      <a:pt x="150" y="76"/>
                    </a:cubicBezTo>
                    <a:cubicBezTo>
                      <a:pt x="150" y="76"/>
                      <a:pt x="150" y="76"/>
                      <a:pt x="150" y="76"/>
                    </a:cubicBezTo>
                    <a:cubicBezTo>
                      <a:pt x="150" y="75"/>
                      <a:pt x="151" y="74"/>
                      <a:pt x="151" y="73"/>
                    </a:cubicBezTo>
                    <a:cubicBezTo>
                      <a:pt x="152" y="70"/>
                      <a:pt x="152" y="67"/>
                      <a:pt x="152" y="64"/>
                    </a:cubicBezTo>
                    <a:cubicBezTo>
                      <a:pt x="153" y="62"/>
                      <a:pt x="153" y="62"/>
                      <a:pt x="153" y="62"/>
                    </a:cubicBezTo>
                    <a:cubicBezTo>
                      <a:pt x="154" y="62"/>
                      <a:pt x="154" y="62"/>
                      <a:pt x="154" y="62"/>
                    </a:cubicBezTo>
                    <a:cubicBezTo>
                      <a:pt x="154" y="62"/>
                      <a:pt x="155" y="62"/>
                      <a:pt x="155" y="62"/>
                    </a:cubicBezTo>
                    <a:cubicBezTo>
                      <a:pt x="156" y="62"/>
                      <a:pt x="157" y="63"/>
                      <a:pt x="158" y="62"/>
                    </a:cubicBezTo>
                    <a:cubicBezTo>
                      <a:pt x="158" y="62"/>
                      <a:pt x="158" y="62"/>
                      <a:pt x="158" y="62"/>
                    </a:cubicBezTo>
                    <a:cubicBezTo>
                      <a:pt x="158" y="62"/>
                      <a:pt x="158" y="62"/>
                      <a:pt x="158" y="62"/>
                    </a:cubicBezTo>
                    <a:cubicBezTo>
                      <a:pt x="158" y="61"/>
                      <a:pt x="158" y="61"/>
                      <a:pt x="159" y="61"/>
                    </a:cubicBezTo>
                    <a:cubicBezTo>
                      <a:pt x="159" y="60"/>
                      <a:pt x="160" y="59"/>
                      <a:pt x="161" y="59"/>
                    </a:cubicBezTo>
                    <a:cubicBezTo>
                      <a:pt x="161" y="59"/>
                      <a:pt x="161" y="59"/>
                      <a:pt x="161" y="59"/>
                    </a:cubicBezTo>
                    <a:cubicBezTo>
                      <a:pt x="162" y="59"/>
                      <a:pt x="162" y="58"/>
                      <a:pt x="162" y="58"/>
                    </a:cubicBezTo>
                    <a:cubicBezTo>
                      <a:pt x="163" y="58"/>
                      <a:pt x="163" y="58"/>
                      <a:pt x="163" y="58"/>
                    </a:cubicBezTo>
                    <a:cubicBezTo>
                      <a:pt x="163" y="58"/>
                      <a:pt x="163" y="58"/>
                      <a:pt x="163" y="58"/>
                    </a:cubicBezTo>
                    <a:cubicBezTo>
                      <a:pt x="164" y="57"/>
                      <a:pt x="165" y="57"/>
                      <a:pt x="165" y="57"/>
                    </a:cubicBezTo>
                    <a:cubicBezTo>
                      <a:pt x="166" y="57"/>
                      <a:pt x="166" y="57"/>
                      <a:pt x="166" y="57"/>
                    </a:cubicBezTo>
                    <a:cubicBezTo>
                      <a:pt x="165" y="55"/>
                      <a:pt x="165" y="55"/>
                      <a:pt x="165" y="55"/>
                    </a:cubicBezTo>
                    <a:cubicBezTo>
                      <a:pt x="166" y="57"/>
                      <a:pt x="166" y="57"/>
                      <a:pt x="166" y="57"/>
                    </a:cubicBezTo>
                    <a:cubicBezTo>
                      <a:pt x="166" y="57"/>
                      <a:pt x="166" y="57"/>
                      <a:pt x="166" y="57"/>
                    </a:cubicBezTo>
                    <a:cubicBezTo>
                      <a:pt x="167" y="56"/>
                      <a:pt x="168" y="55"/>
                      <a:pt x="168" y="54"/>
                    </a:cubicBezTo>
                    <a:cubicBezTo>
                      <a:pt x="168" y="54"/>
                      <a:pt x="168" y="54"/>
                      <a:pt x="168" y="54"/>
                    </a:cubicBezTo>
                    <a:cubicBezTo>
                      <a:pt x="169" y="54"/>
                      <a:pt x="169" y="54"/>
                      <a:pt x="169" y="53"/>
                    </a:cubicBezTo>
                    <a:cubicBezTo>
                      <a:pt x="169" y="53"/>
                      <a:pt x="169" y="53"/>
                      <a:pt x="169" y="53"/>
                    </a:cubicBezTo>
                    <a:cubicBezTo>
                      <a:pt x="169" y="52"/>
                      <a:pt x="168" y="52"/>
                      <a:pt x="168" y="52"/>
                    </a:cubicBezTo>
                    <a:cubicBezTo>
                      <a:pt x="165" y="50"/>
                      <a:pt x="163" y="48"/>
                      <a:pt x="160" y="46"/>
                    </a:cubicBezTo>
                    <a:cubicBezTo>
                      <a:pt x="157" y="44"/>
                      <a:pt x="156" y="38"/>
                      <a:pt x="156" y="35"/>
                    </a:cubicBezTo>
                    <a:cubicBezTo>
                      <a:pt x="156" y="32"/>
                      <a:pt x="156" y="30"/>
                      <a:pt x="156" y="27"/>
                    </a:cubicBezTo>
                    <a:cubicBezTo>
                      <a:pt x="156" y="25"/>
                      <a:pt x="155" y="22"/>
                      <a:pt x="155" y="20"/>
                    </a:cubicBezTo>
                    <a:cubicBezTo>
                      <a:pt x="156" y="20"/>
                      <a:pt x="156" y="21"/>
                      <a:pt x="157" y="22"/>
                    </a:cubicBezTo>
                    <a:cubicBezTo>
                      <a:pt x="157" y="20"/>
                      <a:pt x="155" y="19"/>
                      <a:pt x="155" y="18"/>
                    </a:cubicBezTo>
                    <a:cubicBezTo>
                      <a:pt x="154" y="17"/>
                      <a:pt x="153" y="16"/>
                      <a:pt x="153" y="14"/>
                    </a:cubicBezTo>
                    <a:cubicBezTo>
                      <a:pt x="153" y="14"/>
                      <a:pt x="153" y="11"/>
                      <a:pt x="152" y="11"/>
                    </a:cubicBezTo>
                    <a:cubicBezTo>
                      <a:pt x="153" y="11"/>
                      <a:pt x="153" y="11"/>
                      <a:pt x="153" y="11"/>
                    </a:cubicBezTo>
                    <a:cubicBezTo>
                      <a:pt x="150" y="9"/>
                      <a:pt x="147" y="6"/>
                      <a:pt x="144" y="4"/>
                    </a:cubicBezTo>
                    <a:cubicBezTo>
                      <a:pt x="143" y="3"/>
                      <a:pt x="142" y="2"/>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3" name="Freeform 3035">
                <a:extLst>
                  <a:ext uri="{FF2B5EF4-FFF2-40B4-BE49-F238E27FC236}">
                    <a16:creationId xmlns:a16="http://schemas.microsoft.com/office/drawing/2014/main" id="{DF771F9D-425D-48FD-B195-AD850BB7C4F0}"/>
                  </a:ext>
                </a:extLst>
              </p:cNvPr>
              <p:cNvSpPr>
                <a:spLocks/>
              </p:cNvSpPr>
              <p:nvPr/>
            </p:nvSpPr>
            <p:spPr bwMode="auto">
              <a:xfrm>
                <a:off x="3256" y="2164"/>
                <a:ext cx="392" cy="364"/>
              </a:xfrm>
              <a:custGeom>
                <a:avLst/>
                <a:gdLst>
                  <a:gd name="T0" fmla="*/ 68 w 166"/>
                  <a:gd name="T1" fmla="*/ 137 h 154"/>
                  <a:gd name="T2" fmla="*/ 78 w 166"/>
                  <a:gd name="T3" fmla="*/ 132 h 154"/>
                  <a:gd name="T4" fmla="*/ 79 w 166"/>
                  <a:gd name="T5" fmla="*/ 127 h 154"/>
                  <a:gd name="T6" fmla="*/ 82 w 166"/>
                  <a:gd name="T7" fmla="*/ 121 h 154"/>
                  <a:gd name="T8" fmla="*/ 88 w 166"/>
                  <a:gd name="T9" fmla="*/ 122 h 154"/>
                  <a:gd name="T10" fmla="*/ 90 w 166"/>
                  <a:gd name="T11" fmla="*/ 122 h 154"/>
                  <a:gd name="T12" fmla="*/ 92 w 166"/>
                  <a:gd name="T13" fmla="*/ 117 h 154"/>
                  <a:gd name="T14" fmla="*/ 101 w 166"/>
                  <a:gd name="T15" fmla="*/ 112 h 154"/>
                  <a:gd name="T16" fmla="*/ 107 w 166"/>
                  <a:gd name="T17" fmla="*/ 108 h 154"/>
                  <a:gd name="T18" fmla="*/ 115 w 166"/>
                  <a:gd name="T19" fmla="*/ 104 h 154"/>
                  <a:gd name="T20" fmla="*/ 121 w 166"/>
                  <a:gd name="T21" fmla="*/ 103 h 154"/>
                  <a:gd name="T22" fmla="*/ 126 w 166"/>
                  <a:gd name="T23" fmla="*/ 104 h 154"/>
                  <a:gd name="T24" fmla="*/ 127 w 166"/>
                  <a:gd name="T25" fmla="*/ 104 h 154"/>
                  <a:gd name="T26" fmla="*/ 151 w 166"/>
                  <a:gd name="T27" fmla="*/ 100 h 154"/>
                  <a:gd name="T28" fmla="*/ 157 w 166"/>
                  <a:gd name="T29" fmla="*/ 100 h 154"/>
                  <a:gd name="T30" fmla="*/ 161 w 166"/>
                  <a:gd name="T31" fmla="*/ 98 h 154"/>
                  <a:gd name="T32" fmla="*/ 166 w 166"/>
                  <a:gd name="T33" fmla="*/ 79 h 154"/>
                  <a:gd name="T34" fmla="*/ 160 w 166"/>
                  <a:gd name="T35" fmla="*/ 64 h 154"/>
                  <a:gd name="T36" fmla="*/ 156 w 166"/>
                  <a:gd name="T37" fmla="*/ 59 h 154"/>
                  <a:gd name="T38" fmla="*/ 156 w 166"/>
                  <a:gd name="T39" fmla="*/ 56 h 154"/>
                  <a:gd name="T40" fmla="*/ 154 w 166"/>
                  <a:gd name="T41" fmla="*/ 54 h 154"/>
                  <a:gd name="T42" fmla="*/ 147 w 166"/>
                  <a:gd name="T43" fmla="*/ 51 h 154"/>
                  <a:gd name="T44" fmla="*/ 140 w 166"/>
                  <a:gd name="T45" fmla="*/ 48 h 154"/>
                  <a:gd name="T46" fmla="*/ 135 w 166"/>
                  <a:gd name="T47" fmla="*/ 45 h 154"/>
                  <a:gd name="T48" fmla="*/ 125 w 166"/>
                  <a:gd name="T49" fmla="*/ 35 h 154"/>
                  <a:gd name="T50" fmla="*/ 79 w 166"/>
                  <a:gd name="T51" fmla="*/ 3 h 154"/>
                  <a:gd name="T52" fmla="*/ 60 w 166"/>
                  <a:gd name="T53" fmla="*/ 13 h 154"/>
                  <a:gd name="T54" fmla="*/ 70 w 166"/>
                  <a:gd name="T55" fmla="*/ 93 h 154"/>
                  <a:gd name="T56" fmla="*/ 67 w 166"/>
                  <a:gd name="T57" fmla="*/ 101 h 154"/>
                  <a:gd name="T58" fmla="*/ 63 w 166"/>
                  <a:gd name="T59" fmla="*/ 101 h 154"/>
                  <a:gd name="T60" fmla="*/ 30 w 166"/>
                  <a:gd name="T61" fmla="*/ 101 h 154"/>
                  <a:gd name="T62" fmla="*/ 17 w 166"/>
                  <a:gd name="T63" fmla="*/ 102 h 154"/>
                  <a:gd name="T64" fmla="*/ 13 w 166"/>
                  <a:gd name="T65" fmla="*/ 106 h 154"/>
                  <a:gd name="T66" fmla="*/ 5 w 166"/>
                  <a:gd name="T67" fmla="*/ 102 h 154"/>
                  <a:gd name="T68" fmla="*/ 2 w 166"/>
                  <a:gd name="T69" fmla="*/ 108 h 154"/>
                  <a:gd name="T70" fmla="*/ 2 w 166"/>
                  <a:gd name="T71" fmla="*/ 119 h 154"/>
                  <a:gd name="T72" fmla="*/ 9 w 166"/>
                  <a:gd name="T73" fmla="*/ 128 h 154"/>
                  <a:gd name="T74" fmla="*/ 9 w 166"/>
                  <a:gd name="T75" fmla="*/ 131 h 154"/>
                  <a:gd name="T76" fmla="*/ 9 w 166"/>
                  <a:gd name="T77" fmla="*/ 135 h 154"/>
                  <a:gd name="T78" fmla="*/ 12 w 166"/>
                  <a:gd name="T79" fmla="*/ 133 h 154"/>
                  <a:gd name="T80" fmla="*/ 15 w 166"/>
                  <a:gd name="T81" fmla="*/ 135 h 154"/>
                  <a:gd name="T82" fmla="*/ 24 w 166"/>
                  <a:gd name="T83" fmla="*/ 134 h 154"/>
                  <a:gd name="T84" fmla="*/ 28 w 166"/>
                  <a:gd name="T85" fmla="*/ 130 h 154"/>
                  <a:gd name="T86" fmla="*/ 35 w 166"/>
                  <a:gd name="T87" fmla="*/ 136 h 154"/>
                  <a:gd name="T88" fmla="*/ 36 w 166"/>
                  <a:gd name="T89" fmla="*/ 139 h 154"/>
                  <a:gd name="T90" fmla="*/ 39 w 166"/>
                  <a:gd name="T91" fmla="*/ 143 h 154"/>
                  <a:gd name="T92" fmla="*/ 40 w 166"/>
                  <a:gd name="T93" fmla="*/ 144 h 154"/>
                  <a:gd name="T94" fmla="*/ 39 w 166"/>
                  <a:gd name="T95" fmla="*/ 145 h 154"/>
                  <a:gd name="T96" fmla="*/ 41 w 166"/>
                  <a:gd name="T97" fmla="*/ 151 h 154"/>
                  <a:gd name="T98" fmla="*/ 42 w 166"/>
                  <a:gd name="T99" fmla="*/ 153 h 154"/>
                  <a:gd name="T100" fmla="*/ 46 w 166"/>
                  <a:gd name="T101" fmla="*/ 151 h 154"/>
                  <a:gd name="T102" fmla="*/ 52 w 166"/>
                  <a:gd name="T103" fmla="*/ 153 h 154"/>
                  <a:gd name="T104" fmla="*/ 55 w 166"/>
                  <a:gd name="T105" fmla="*/ 150 h 154"/>
                  <a:gd name="T106" fmla="*/ 59 w 166"/>
                  <a:gd name="T107" fmla="*/ 148 h 154"/>
                  <a:gd name="T108" fmla="*/ 62 w 166"/>
                  <a:gd name="T109" fmla="*/ 154 h 154"/>
                  <a:gd name="T110" fmla="*/ 65 w 166"/>
                  <a:gd name="T111" fmla="*/ 151 h 154"/>
                  <a:gd name="T112" fmla="*/ 67 w 166"/>
                  <a:gd name="T113" fmla="*/ 15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 h="154">
                    <a:moveTo>
                      <a:pt x="69" y="142"/>
                    </a:moveTo>
                    <a:cubicBezTo>
                      <a:pt x="69" y="141"/>
                      <a:pt x="69" y="140"/>
                      <a:pt x="69" y="140"/>
                    </a:cubicBezTo>
                    <a:cubicBezTo>
                      <a:pt x="69" y="140"/>
                      <a:pt x="69" y="140"/>
                      <a:pt x="69" y="140"/>
                    </a:cubicBezTo>
                    <a:cubicBezTo>
                      <a:pt x="69" y="139"/>
                      <a:pt x="68" y="139"/>
                      <a:pt x="68" y="139"/>
                    </a:cubicBezTo>
                    <a:cubicBezTo>
                      <a:pt x="66" y="138"/>
                      <a:pt x="66" y="138"/>
                      <a:pt x="66" y="138"/>
                    </a:cubicBezTo>
                    <a:cubicBezTo>
                      <a:pt x="68" y="137"/>
                      <a:pt x="68" y="137"/>
                      <a:pt x="68" y="137"/>
                    </a:cubicBezTo>
                    <a:cubicBezTo>
                      <a:pt x="69" y="137"/>
                      <a:pt x="69" y="136"/>
                      <a:pt x="70" y="136"/>
                    </a:cubicBezTo>
                    <a:cubicBezTo>
                      <a:pt x="72" y="135"/>
                      <a:pt x="72" y="135"/>
                      <a:pt x="72" y="135"/>
                    </a:cubicBezTo>
                    <a:cubicBezTo>
                      <a:pt x="73" y="135"/>
                      <a:pt x="74" y="135"/>
                      <a:pt x="74" y="135"/>
                    </a:cubicBezTo>
                    <a:cubicBezTo>
                      <a:pt x="75" y="135"/>
                      <a:pt x="75" y="135"/>
                      <a:pt x="75" y="135"/>
                    </a:cubicBezTo>
                    <a:cubicBezTo>
                      <a:pt x="76" y="134"/>
                      <a:pt x="77" y="134"/>
                      <a:pt x="77" y="133"/>
                    </a:cubicBezTo>
                    <a:cubicBezTo>
                      <a:pt x="78" y="133"/>
                      <a:pt x="78" y="133"/>
                      <a:pt x="78" y="132"/>
                    </a:cubicBezTo>
                    <a:cubicBezTo>
                      <a:pt x="78" y="132"/>
                      <a:pt x="78" y="132"/>
                      <a:pt x="78" y="132"/>
                    </a:cubicBezTo>
                    <a:cubicBezTo>
                      <a:pt x="78" y="132"/>
                      <a:pt x="77" y="131"/>
                      <a:pt x="77" y="130"/>
                    </a:cubicBezTo>
                    <a:cubicBezTo>
                      <a:pt x="77" y="129"/>
                      <a:pt x="77" y="129"/>
                      <a:pt x="77" y="129"/>
                    </a:cubicBezTo>
                    <a:cubicBezTo>
                      <a:pt x="77" y="128"/>
                      <a:pt x="77" y="128"/>
                      <a:pt x="77" y="128"/>
                    </a:cubicBezTo>
                    <a:cubicBezTo>
                      <a:pt x="79" y="127"/>
                      <a:pt x="79" y="127"/>
                      <a:pt x="79" y="127"/>
                    </a:cubicBezTo>
                    <a:cubicBezTo>
                      <a:pt x="79" y="127"/>
                      <a:pt x="79" y="127"/>
                      <a:pt x="79" y="127"/>
                    </a:cubicBezTo>
                    <a:cubicBezTo>
                      <a:pt x="79" y="127"/>
                      <a:pt x="79" y="127"/>
                      <a:pt x="80" y="127"/>
                    </a:cubicBezTo>
                    <a:cubicBezTo>
                      <a:pt x="80" y="127"/>
                      <a:pt x="80" y="127"/>
                      <a:pt x="80" y="127"/>
                    </a:cubicBezTo>
                    <a:cubicBezTo>
                      <a:pt x="79" y="127"/>
                      <a:pt x="79" y="127"/>
                      <a:pt x="79" y="126"/>
                    </a:cubicBezTo>
                    <a:cubicBezTo>
                      <a:pt x="79" y="126"/>
                      <a:pt x="79" y="125"/>
                      <a:pt x="79" y="125"/>
                    </a:cubicBezTo>
                    <a:cubicBezTo>
                      <a:pt x="80" y="123"/>
                      <a:pt x="81" y="122"/>
                      <a:pt x="82" y="121"/>
                    </a:cubicBezTo>
                    <a:cubicBezTo>
                      <a:pt x="82" y="121"/>
                      <a:pt x="82" y="121"/>
                      <a:pt x="82" y="121"/>
                    </a:cubicBezTo>
                    <a:cubicBezTo>
                      <a:pt x="82" y="120"/>
                      <a:pt x="82" y="120"/>
                      <a:pt x="82" y="120"/>
                    </a:cubicBezTo>
                    <a:cubicBezTo>
                      <a:pt x="83" y="119"/>
                      <a:pt x="83" y="119"/>
                      <a:pt x="83" y="119"/>
                    </a:cubicBezTo>
                    <a:cubicBezTo>
                      <a:pt x="84" y="120"/>
                      <a:pt x="84" y="120"/>
                      <a:pt x="84" y="120"/>
                    </a:cubicBezTo>
                    <a:cubicBezTo>
                      <a:pt x="85" y="120"/>
                      <a:pt x="85" y="120"/>
                      <a:pt x="85" y="121"/>
                    </a:cubicBezTo>
                    <a:cubicBezTo>
                      <a:pt x="86" y="121"/>
                      <a:pt x="87" y="122"/>
                      <a:pt x="88" y="122"/>
                    </a:cubicBezTo>
                    <a:cubicBezTo>
                      <a:pt x="88" y="122"/>
                      <a:pt x="88" y="122"/>
                      <a:pt x="88" y="122"/>
                    </a:cubicBezTo>
                    <a:cubicBezTo>
                      <a:pt x="88" y="123"/>
                      <a:pt x="88" y="123"/>
                      <a:pt x="88" y="123"/>
                    </a:cubicBezTo>
                    <a:cubicBezTo>
                      <a:pt x="88" y="123"/>
                      <a:pt x="88" y="123"/>
                      <a:pt x="89" y="123"/>
                    </a:cubicBezTo>
                    <a:cubicBezTo>
                      <a:pt x="89" y="123"/>
                      <a:pt x="89" y="122"/>
                      <a:pt x="89" y="122"/>
                    </a:cubicBezTo>
                    <a:cubicBezTo>
                      <a:pt x="89" y="122"/>
                      <a:pt x="89" y="122"/>
                      <a:pt x="89" y="122"/>
                    </a:cubicBezTo>
                    <a:cubicBezTo>
                      <a:pt x="89" y="122"/>
                      <a:pt x="89" y="122"/>
                      <a:pt x="90" y="122"/>
                    </a:cubicBezTo>
                    <a:cubicBezTo>
                      <a:pt x="90" y="122"/>
                      <a:pt x="90" y="122"/>
                      <a:pt x="90" y="122"/>
                    </a:cubicBezTo>
                    <a:cubicBezTo>
                      <a:pt x="90" y="122"/>
                      <a:pt x="90" y="122"/>
                      <a:pt x="90" y="122"/>
                    </a:cubicBezTo>
                    <a:cubicBezTo>
                      <a:pt x="89" y="121"/>
                      <a:pt x="89" y="119"/>
                      <a:pt x="89" y="118"/>
                    </a:cubicBezTo>
                    <a:cubicBezTo>
                      <a:pt x="90" y="116"/>
                      <a:pt x="90" y="116"/>
                      <a:pt x="90" y="116"/>
                    </a:cubicBezTo>
                    <a:cubicBezTo>
                      <a:pt x="91" y="117"/>
                      <a:pt x="91" y="117"/>
                      <a:pt x="91" y="117"/>
                    </a:cubicBezTo>
                    <a:cubicBezTo>
                      <a:pt x="91" y="117"/>
                      <a:pt x="91" y="117"/>
                      <a:pt x="92" y="117"/>
                    </a:cubicBezTo>
                    <a:cubicBezTo>
                      <a:pt x="92" y="117"/>
                      <a:pt x="92" y="117"/>
                      <a:pt x="92" y="117"/>
                    </a:cubicBezTo>
                    <a:cubicBezTo>
                      <a:pt x="92" y="118"/>
                      <a:pt x="92" y="118"/>
                      <a:pt x="93" y="118"/>
                    </a:cubicBezTo>
                    <a:cubicBezTo>
                      <a:pt x="93" y="118"/>
                      <a:pt x="93" y="118"/>
                      <a:pt x="93" y="118"/>
                    </a:cubicBezTo>
                    <a:cubicBezTo>
                      <a:pt x="93" y="117"/>
                      <a:pt x="93" y="117"/>
                      <a:pt x="93" y="117"/>
                    </a:cubicBezTo>
                    <a:cubicBezTo>
                      <a:pt x="94" y="116"/>
                      <a:pt x="94" y="116"/>
                      <a:pt x="94" y="116"/>
                    </a:cubicBezTo>
                    <a:cubicBezTo>
                      <a:pt x="95" y="114"/>
                      <a:pt x="96" y="112"/>
                      <a:pt x="99" y="112"/>
                    </a:cubicBezTo>
                    <a:cubicBezTo>
                      <a:pt x="100" y="111"/>
                      <a:pt x="101" y="112"/>
                      <a:pt x="101" y="112"/>
                    </a:cubicBezTo>
                    <a:cubicBezTo>
                      <a:pt x="101" y="112"/>
                      <a:pt x="102" y="112"/>
                      <a:pt x="102" y="112"/>
                    </a:cubicBezTo>
                    <a:cubicBezTo>
                      <a:pt x="102" y="112"/>
                      <a:pt x="102" y="112"/>
                      <a:pt x="102" y="112"/>
                    </a:cubicBezTo>
                    <a:cubicBezTo>
                      <a:pt x="102" y="112"/>
                      <a:pt x="102" y="112"/>
                      <a:pt x="102" y="112"/>
                    </a:cubicBezTo>
                    <a:cubicBezTo>
                      <a:pt x="103" y="110"/>
                      <a:pt x="103" y="110"/>
                      <a:pt x="105" y="109"/>
                    </a:cubicBezTo>
                    <a:cubicBezTo>
                      <a:pt x="106" y="109"/>
                      <a:pt x="106" y="109"/>
                      <a:pt x="107" y="109"/>
                    </a:cubicBezTo>
                    <a:cubicBezTo>
                      <a:pt x="107" y="108"/>
                      <a:pt x="107" y="108"/>
                      <a:pt x="107" y="108"/>
                    </a:cubicBezTo>
                    <a:cubicBezTo>
                      <a:pt x="108" y="108"/>
                      <a:pt x="108" y="108"/>
                      <a:pt x="109" y="108"/>
                    </a:cubicBezTo>
                    <a:cubicBezTo>
                      <a:pt x="109" y="108"/>
                      <a:pt x="109" y="108"/>
                      <a:pt x="109" y="108"/>
                    </a:cubicBezTo>
                    <a:cubicBezTo>
                      <a:pt x="110" y="107"/>
                      <a:pt x="111" y="107"/>
                      <a:pt x="112" y="106"/>
                    </a:cubicBezTo>
                    <a:cubicBezTo>
                      <a:pt x="113" y="106"/>
                      <a:pt x="113" y="106"/>
                      <a:pt x="113" y="105"/>
                    </a:cubicBezTo>
                    <a:cubicBezTo>
                      <a:pt x="114" y="105"/>
                      <a:pt x="114" y="105"/>
                      <a:pt x="114" y="105"/>
                    </a:cubicBezTo>
                    <a:cubicBezTo>
                      <a:pt x="114" y="104"/>
                      <a:pt x="115" y="104"/>
                      <a:pt x="115" y="104"/>
                    </a:cubicBezTo>
                    <a:cubicBezTo>
                      <a:pt x="116" y="103"/>
                      <a:pt x="116" y="103"/>
                      <a:pt x="116" y="103"/>
                    </a:cubicBezTo>
                    <a:cubicBezTo>
                      <a:pt x="116" y="103"/>
                      <a:pt x="117" y="103"/>
                      <a:pt x="117" y="103"/>
                    </a:cubicBezTo>
                    <a:cubicBezTo>
                      <a:pt x="118" y="103"/>
                      <a:pt x="118" y="103"/>
                      <a:pt x="119" y="103"/>
                    </a:cubicBezTo>
                    <a:cubicBezTo>
                      <a:pt x="119" y="103"/>
                      <a:pt x="119" y="103"/>
                      <a:pt x="119" y="103"/>
                    </a:cubicBezTo>
                    <a:cubicBezTo>
                      <a:pt x="120" y="103"/>
                      <a:pt x="120" y="103"/>
                      <a:pt x="121" y="103"/>
                    </a:cubicBezTo>
                    <a:cubicBezTo>
                      <a:pt x="121" y="103"/>
                      <a:pt x="121" y="103"/>
                      <a:pt x="121" y="103"/>
                    </a:cubicBezTo>
                    <a:cubicBezTo>
                      <a:pt x="122" y="103"/>
                      <a:pt x="123" y="103"/>
                      <a:pt x="124" y="104"/>
                    </a:cubicBezTo>
                    <a:cubicBezTo>
                      <a:pt x="124" y="104"/>
                      <a:pt x="124" y="104"/>
                      <a:pt x="124" y="104"/>
                    </a:cubicBezTo>
                    <a:cubicBezTo>
                      <a:pt x="125" y="104"/>
                      <a:pt x="125" y="104"/>
                      <a:pt x="125" y="104"/>
                    </a:cubicBezTo>
                    <a:cubicBezTo>
                      <a:pt x="125" y="104"/>
                      <a:pt x="125" y="104"/>
                      <a:pt x="125" y="104"/>
                    </a:cubicBezTo>
                    <a:cubicBezTo>
                      <a:pt x="125" y="104"/>
                      <a:pt x="125" y="104"/>
                      <a:pt x="125" y="104"/>
                    </a:cubicBezTo>
                    <a:cubicBezTo>
                      <a:pt x="125" y="104"/>
                      <a:pt x="126" y="104"/>
                      <a:pt x="126" y="104"/>
                    </a:cubicBezTo>
                    <a:cubicBezTo>
                      <a:pt x="126" y="104"/>
                      <a:pt x="126" y="104"/>
                      <a:pt x="126" y="104"/>
                    </a:cubicBezTo>
                    <a:cubicBezTo>
                      <a:pt x="126" y="104"/>
                      <a:pt x="126" y="104"/>
                      <a:pt x="126" y="104"/>
                    </a:cubicBezTo>
                    <a:cubicBezTo>
                      <a:pt x="126" y="104"/>
                      <a:pt x="126" y="104"/>
                      <a:pt x="126" y="104"/>
                    </a:cubicBezTo>
                    <a:cubicBezTo>
                      <a:pt x="127" y="105"/>
                      <a:pt x="127" y="105"/>
                      <a:pt x="127" y="105"/>
                    </a:cubicBezTo>
                    <a:cubicBezTo>
                      <a:pt x="127" y="105"/>
                      <a:pt x="127" y="105"/>
                      <a:pt x="127" y="104"/>
                    </a:cubicBezTo>
                    <a:cubicBezTo>
                      <a:pt x="127" y="104"/>
                      <a:pt x="127" y="104"/>
                      <a:pt x="127" y="104"/>
                    </a:cubicBezTo>
                    <a:cubicBezTo>
                      <a:pt x="128" y="104"/>
                      <a:pt x="128" y="104"/>
                      <a:pt x="128" y="104"/>
                    </a:cubicBezTo>
                    <a:cubicBezTo>
                      <a:pt x="129" y="104"/>
                      <a:pt x="129" y="104"/>
                      <a:pt x="129" y="104"/>
                    </a:cubicBezTo>
                    <a:cubicBezTo>
                      <a:pt x="129" y="104"/>
                      <a:pt x="129" y="104"/>
                      <a:pt x="129" y="104"/>
                    </a:cubicBezTo>
                    <a:cubicBezTo>
                      <a:pt x="130" y="103"/>
                      <a:pt x="131" y="103"/>
                      <a:pt x="132" y="103"/>
                    </a:cubicBezTo>
                    <a:cubicBezTo>
                      <a:pt x="134" y="102"/>
                      <a:pt x="136" y="101"/>
                      <a:pt x="138" y="101"/>
                    </a:cubicBezTo>
                    <a:cubicBezTo>
                      <a:pt x="143" y="100"/>
                      <a:pt x="147" y="100"/>
                      <a:pt x="151" y="100"/>
                    </a:cubicBezTo>
                    <a:cubicBezTo>
                      <a:pt x="151" y="100"/>
                      <a:pt x="151" y="100"/>
                      <a:pt x="151" y="100"/>
                    </a:cubicBezTo>
                    <a:cubicBezTo>
                      <a:pt x="151" y="100"/>
                      <a:pt x="152" y="100"/>
                      <a:pt x="152" y="100"/>
                    </a:cubicBezTo>
                    <a:cubicBezTo>
                      <a:pt x="152" y="100"/>
                      <a:pt x="152" y="100"/>
                      <a:pt x="152" y="100"/>
                    </a:cubicBezTo>
                    <a:cubicBezTo>
                      <a:pt x="153" y="100"/>
                      <a:pt x="154" y="100"/>
                      <a:pt x="155" y="100"/>
                    </a:cubicBezTo>
                    <a:cubicBezTo>
                      <a:pt x="155" y="100"/>
                      <a:pt x="156" y="100"/>
                      <a:pt x="156" y="100"/>
                    </a:cubicBezTo>
                    <a:cubicBezTo>
                      <a:pt x="157" y="100"/>
                      <a:pt x="157" y="100"/>
                      <a:pt x="157" y="100"/>
                    </a:cubicBezTo>
                    <a:cubicBezTo>
                      <a:pt x="157" y="100"/>
                      <a:pt x="157" y="100"/>
                      <a:pt x="158" y="100"/>
                    </a:cubicBezTo>
                    <a:cubicBezTo>
                      <a:pt x="158" y="100"/>
                      <a:pt x="158" y="100"/>
                      <a:pt x="158" y="100"/>
                    </a:cubicBezTo>
                    <a:cubicBezTo>
                      <a:pt x="159" y="100"/>
                      <a:pt x="159" y="100"/>
                      <a:pt x="159" y="100"/>
                    </a:cubicBezTo>
                    <a:cubicBezTo>
                      <a:pt x="159" y="100"/>
                      <a:pt x="159" y="100"/>
                      <a:pt x="159" y="100"/>
                    </a:cubicBezTo>
                    <a:cubicBezTo>
                      <a:pt x="159" y="100"/>
                      <a:pt x="159" y="100"/>
                      <a:pt x="159" y="100"/>
                    </a:cubicBezTo>
                    <a:cubicBezTo>
                      <a:pt x="160" y="100"/>
                      <a:pt x="161" y="99"/>
                      <a:pt x="161" y="98"/>
                    </a:cubicBezTo>
                    <a:cubicBezTo>
                      <a:pt x="162" y="98"/>
                      <a:pt x="162" y="97"/>
                      <a:pt x="162" y="97"/>
                    </a:cubicBezTo>
                    <a:cubicBezTo>
                      <a:pt x="163" y="97"/>
                      <a:pt x="163" y="96"/>
                      <a:pt x="163" y="95"/>
                    </a:cubicBezTo>
                    <a:cubicBezTo>
                      <a:pt x="163" y="95"/>
                      <a:pt x="164" y="95"/>
                      <a:pt x="164" y="94"/>
                    </a:cubicBezTo>
                    <a:cubicBezTo>
                      <a:pt x="164" y="93"/>
                      <a:pt x="164" y="93"/>
                      <a:pt x="164" y="93"/>
                    </a:cubicBezTo>
                    <a:cubicBezTo>
                      <a:pt x="165" y="92"/>
                      <a:pt x="165" y="90"/>
                      <a:pt x="166" y="89"/>
                    </a:cubicBezTo>
                    <a:cubicBezTo>
                      <a:pt x="166" y="86"/>
                      <a:pt x="166" y="82"/>
                      <a:pt x="166" y="79"/>
                    </a:cubicBezTo>
                    <a:cubicBezTo>
                      <a:pt x="166" y="77"/>
                      <a:pt x="166" y="77"/>
                      <a:pt x="166" y="77"/>
                    </a:cubicBezTo>
                    <a:cubicBezTo>
                      <a:pt x="166" y="74"/>
                      <a:pt x="166" y="72"/>
                      <a:pt x="166" y="69"/>
                    </a:cubicBezTo>
                    <a:cubicBezTo>
                      <a:pt x="166" y="68"/>
                      <a:pt x="166" y="68"/>
                      <a:pt x="166" y="68"/>
                    </a:cubicBezTo>
                    <a:cubicBezTo>
                      <a:pt x="166" y="66"/>
                      <a:pt x="166" y="64"/>
                      <a:pt x="166" y="63"/>
                    </a:cubicBezTo>
                    <a:cubicBezTo>
                      <a:pt x="163" y="64"/>
                      <a:pt x="163" y="64"/>
                      <a:pt x="163" y="64"/>
                    </a:cubicBezTo>
                    <a:cubicBezTo>
                      <a:pt x="163" y="64"/>
                      <a:pt x="161" y="64"/>
                      <a:pt x="160" y="64"/>
                    </a:cubicBezTo>
                    <a:cubicBezTo>
                      <a:pt x="157" y="64"/>
                      <a:pt x="156" y="63"/>
                      <a:pt x="155" y="63"/>
                    </a:cubicBezTo>
                    <a:cubicBezTo>
                      <a:pt x="155" y="63"/>
                      <a:pt x="155" y="63"/>
                      <a:pt x="155" y="63"/>
                    </a:cubicBezTo>
                    <a:cubicBezTo>
                      <a:pt x="155" y="63"/>
                      <a:pt x="155" y="63"/>
                      <a:pt x="155" y="63"/>
                    </a:cubicBezTo>
                    <a:cubicBezTo>
                      <a:pt x="155" y="62"/>
                      <a:pt x="155" y="62"/>
                      <a:pt x="155" y="62"/>
                    </a:cubicBezTo>
                    <a:cubicBezTo>
                      <a:pt x="154" y="61"/>
                      <a:pt x="155" y="60"/>
                      <a:pt x="155" y="59"/>
                    </a:cubicBezTo>
                    <a:cubicBezTo>
                      <a:pt x="156" y="59"/>
                      <a:pt x="156" y="59"/>
                      <a:pt x="156" y="59"/>
                    </a:cubicBezTo>
                    <a:cubicBezTo>
                      <a:pt x="156" y="59"/>
                      <a:pt x="156" y="59"/>
                      <a:pt x="156" y="58"/>
                    </a:cubicBezTo>
                    <a:cubicBezTo>
                      <a:pt x="156" y="58"/>
                      <a:pt x="156" y="58"/>
                      <a:pt x="156" y="58"/>
                    </a:cubicBezTo>
                    <a:cubicBezTo>
                      <a:pt x="156" y="58"/>
                      <a:pt x="156" y="58"/>
                      <a:pt x="156" y="58"/>
                    </a:cubicBezTo>
                    <a:cubicBezTo>
                      <a:pt x="156" y="58"/>
                      <a:pt x="155" y="58"/>
                      <a:pt x="155" y="57"/>
                    </a:cubicBezTo>
                    <a:cubicBezTo>
                      <a:pt x="155" y="57"/>
                      <a:pt x="155" y="56"/>
                      <a:pt x="156" y="56"/>
                    </a:cubicBezTo>
                    <a:cubicBezTo>
                      <a:pt x="156" y="56"/>
                      <a:pt x="156" y="56"/>
                      <a:pt x="156" y="56"/>
                    </a:cubicBezTo>
                    <a:cubicBezTo>
                      <a:pt x="156" y="56"/>
                      <a:pt x="156" y="56"/>
                      <a:pt x="156" y="56"/>
                    </a:cubicBezTo>
                    <a:cubicBezTo>
                      <a:pt x="156" y="55"/>
                      <a:pt x="156" y="55"/>
                      <a:pt x="156" y="55"/>
                    </a:cubicBezTo>
                    <a:cubicBezTo>
                      <a:pt x="156" y="55"/>
                      <a:pt x="156" y="55"/>
                      <a:pt x="156" y="55"/>
                    </a:cubicBezTo>
                    <a:cubicBezTo>
                      <a:pt x="155" y="55"/>
                      <a:pt x="155" y="55"/>
                      <a:pt x="155" y="55"/>
                    </a:cubicBezTo>
                    <a:cubicBezTo>
                      <a:pt x="155" y="55"/>
                      <a:pt x="155" y="55"/>
                      <a:pt x="155" y="55"/>
                    </a:cubicBezTo>
                    <a:cubicBezTo>
                      <a:pt x="154" y="54"/>
                      <a:pt x="154" y="54"/>
                      <a:pt x="154" y="54"/>
                    </a:cubicBezTo>
                    <a:cubicBezTo>
                      <a:pt x="154" y="54"/>
                      <a:pt x="154" y="54"/>
                      <a:pt x="153" y="54"/>
                    </a:cubicBezTo>
                    <a:cubicBezTo>
                      <a:pt x="153" y="54"/>
                      <a:pt x="153" y="54"/>
                      <a:pt x="153" y="54"/>
                    </a:cubicBezTo>
                    <a:cubicBezTo>
                      <a:pt x="153" y="54"/>
                      <a:pt x="153" y="54"/>
                      <a:pt x="153" y="54"/>
                    </a:cubicBezTo>
                    <a:cubicBezTo>
                      <a:pt x="152" y="54"/>
                      <a:pt x="152" y="54"/>
                      <a:pt x="152" y="54"/>
                    </a:cubicBezTo>
                    <a:cubicBezTo>
                      <a:pt x="150" y="53"/>
                      <a:pt x="149" y="52"/>
                      <a:pt x="147" y="51"/>
                    </a:cubicBezTo>
                    <a:cubicBezTo>
                      <a:pt x="147" y="51"/>
                      <a:pt x="147" y="51"/>
                      <a:pt x="147" y="51"/>
                    </a:cubicBezTo>
                    <a:cubicBezTo>
                      <a:pt x="147" y="51"/>
                      <a:pt x="147" y="51"/>
                      <a:pt x="147" y="51"/>
                    </a:cubicBezTo>
                    <a:cubicBezTo>
                      <a:pt x="147" y="51"/>
                      <a:pt x="147" y="51"/>
                      <a:pt x="147" y="51"/>
                    </a:cubicBezTo>
                    <a:cubicBezTo>
                      <a:pt x="146" y="51"/>
                      <a:pt x="146" y="51"/>
                      <a:pt x="146" y="51"/>
                    </a:cubicBezTo>
                    <a:cubicBezTo>
                      <a:pt x="146" y="51"/>
                      <a:pt x="146" y="51"/>
                      <a:pt x="145" y="51"/>
                    </a:cubicBezTo>
                    <a:cubicBezTo>
                      <a:pt x="145" y="51"/>
                      <a:pt x="145" y="51"/>
                      <a:pt x="145" y="51"/>
                    </a:cubicBezTo>
                    <a:cubicBezTo>
                      <a:pt x="144" y="51"/>
                      <a:pt x="141" y="50"/>
                      <a:pt x="140" y="48"/>
                    </a:cubicBezTo>
                    <a:cubicBezTo>
                      <a:pt x="140" y="48"/>
                      <a:pt x="140" y="48"/>
                      <a:pt x="140" y="48"/>
                    </a:cubicBezTo>
                    <a:cubicBezTo>
                      <a:pt x="139" y="48"/>
                      <a:pt x="139" y="48"/>
                      <a:pt x="139" y="48"/>
                    </a:cubicBezTo>
                    <a:cubicBezTo>
                      <a:pt x="139" y="47"/>
                      <a:pt x="139" y="47"/>
                      <a:pt x="138" y="47"/>
                    </a:cubicBezTo>
                    <a:cubicBezTo>
                      <a:pt x="138" y="47"/>
                      <a:pt x="138" y="47"/>
                      <a:pt x="138" y="47"/>
                    </a:cubicBezTo>
                    <a:cubicBezTo>
                      <a:pt x="138" y="47"/>
                      <a:pt x="138" y="47"/>
                      <a:pt x="138" y="47"/>
                    </a:cubicBezTo>
                    <a:cubicBezTo>
                      <a:pt x="136" y="46"/>
                      <a:pt x="135" y="46"/>
                      <a:pt x="135" y="45"/>
                    </a:cubicBezTo>
                    <a:cubicBezTo>
                      <a:pt x="134" y="44"/>
                      <a:pt x="134" y="44"/>
                      <a:pt x="135" y="44"/>
                    </a:cubicBezTo>
                    <a:cubicBezTo>
                      <a:pt x="135" y="43"/>
                      <a:pt x="135" y="43"/>
                      <a:pt x="135" y="43"/>
                    </a:cubicBezTo>
                    <a:cubicBezTo>
                      <a:pt x="135" y="43"/>
                      <a:pt x="135" y="43"/>
                      <a:pt x="135" y="43"/>
                    </a:cubicBezTo>
                    <a:cubicBezTo>
                      <a:pt x="135" y="42"/>
                      <a:pt x="135" y="42"/>
                      <a:pt x="135" y="42"/>
                    </a:cubicBezTo>
                    <a:cubicBezTo>
                      <a:pt x="135" y="41"/>
                      <a:pt x="134" y="41"/>
                      <a:pt x="134" y="41"/>
                    </a:cubicBezTo>
                    <a:cubicBezTo>
                      <a:pt x="125" y="35"/>
                      <a:pt x="125" y="35"/>
                      <a:pt x="125" y="35"/>
                    </a:cubicBezTo>
                    <a:cubicBezTo>
                      <a:pt x="117" y="30"/>
                      <a:pt x="111" y="25"/>
                      <a:pt x="104" y="21"/>
                    </a:cubicBezTo>
                    <a:cubicBezTo>
                      <a:pt x="100" y="18"/>
                      <a:pt x="97" y="15"/>
                      <a:pt x="93" y="13"/>
                    </a:cubicBezTo>
                    <a:cubicBezTo>
                      <a:pt x="90" y="11"/>
                      <a:pt x="90" y="11"/>
                      <a:pt x="90" y="11"/>
                    </a:cubicBezTo>
                    <a:cubicBezTo>
                      <a:pt x="87" y="9"/>
                      <a:pt x="85" y="7"/>
                      <a:pt x="82" y="5"/>
                    </a:cubicBezTo>
                    <a:cubicBezTo>
                      <a:pt x="82" y="5"/>
                      <a:pt x="82" y="5"/>
                      <a:pt x="82" y="5"/>
                    </a:cubicBezTo>
                    <a:cubicBezTo>
                      <a:pt x="81" y="5"/>
                      <a:pt x="80" y="4"/>
                      <a:pt x="79" y="3"/>
                    </a:cubicBezTo>
                    <a:cubicBezTo>
                      <a:pt x="77" y="2"/>
                      <a:pt x="77" y="2"/>
                      <a:pt x="77" y="2"/>
                    </a:cubicBezTo>
                    <a:cubicBezTo>
                      <a:pt x="76" y="1"/>
                      <a:pt x="75" y="1"/>
                      <a:pt x="74" y="0"/>
                    </a:cubicBezTo>
                    <a:cubicBezTo>
                      <a:pt x="58" y="0"/>
                      <a:pt x="58" y="0"/>
                      <a:pt x="58" y="0"/>
                    </a:cubicBezTo>
                    <a:cubicBezTo>
                      <a:pt x="59" y="8"/>
                      <a:pt x="59" y="8"/>
                      <a:pt x="59" y="8"/>
                    </a:cubicBezTo>
                    <a:cubicBezTo>
                      <a:pt x="59" y="8"/>
                      <a:pt x="59" y="9"/>
                      <a:pt x="59" y="10"/>
                    </a:cubicBezTo>
                    <a:cubicBezTo>
                      <a:pt x="60" y="13"/>
                      <a:pt x="60" y="13"/>
                      <a:pt x="60" y="13"/>
                    </a:cubicBezTo>
                    <a:cubicBezTo>
                      <a:pt x="61" y="21"/>
                      <a:pt x="62" y="29"/>
                      <a:pt x="63" y="37"/>
                    </a:cubicBezTo>
                    <a:cubicBezTo>
                      <a:pt x="64" y="47"/>
                      <a:pt x="65" y="56"/>
                      <a:pt x="66" y="66"/>
                    </a:cubicBezTo>
                    <a:cubicBezTo>
                      <a:pt x="69" y="89"/>
                      <a:pt x="69" y="89"/>
                      <a:pt x="69" y="89"/>
                    </a:cubicBezTo>
                    <a:cubicBezTo>
                      <a:pt x="69" y="89"/>
                      <a:pt x="69" y="89"/>
                      <a:pt x="69" y="89"/>
                    </a:cubicBezTo>
                    <a:cubicBezTo>
                      <a:pt x="69" y="90"/>
                      <a:pt x="69" y="90"/>
                      <a:pt x="69" y="90"/>
                    </a:cubicBezTo>
                    <a:cubicBezTo>
                      <a:pt x="71" y="91"/>
                      <a:pt x="70" y="92"/>
                      <a:pt x="70" y="93"/>
                    </a:cubicBezTo>
                    <a:cubicBezTo>
                      <a:pt x="70" y="95"/>
                      <a:pt x="70" y="95"/>
                      <a:pt x="70" y="95"/>
                    </a:cubicBezTo>
                    <a:cubicBezTo>
                      <a:pt x="70" y="95"/>
                      <a:pt x="70" y="96"/>
                      <a:pt x="70" y="96"/>
                    </a:cubicBezTo>
                    <a:cubicBezTo>
                      <a:pt x="70" y="96"/>
                      <a:pt x="70" y="96"/>
                      <a:pt x="70" y="96"/>
                    </a:cubicBezTo>
                    <a:cubicBezTo>
                      <a:pt x="70" y="99"/>
                      <a:pt x="69" y="100"/>
                      <a:pt x="69" y="101"/>
                    </a:cubicBezTo>
                    <a:cubicBezTo>
                      <a:pt x="68" y="101"/>
                      <a:pt x="68" y="101"/>
                      <a:pt x="68" y="101"/>
                    </a:cubicBezTo>
                    <a:cubicBezTo>
                      <a:pt x="67" y="101"/>
                      <a:pt x="67" y="101"/>
                      <a:pt x="67" y="101"/>
                    </a:cubicBezTo>
                    <a:cubicBezTo>
                      <a:pt x="67" y="101"/>
                      <a:pt x="67" y="101"/>
                      <a:pt x="67" y="101"/>
                    </a:cubicBezTo>
                    <a:cubicBezTo>
                      <a:pt x="66" y="101"/>
                      <a:pt x="66" y="101"/>
                      <a:pt x="66" y="101"/>
                    </a:cubicBezTo>
                    <a:cubicBezTo>
                      <a:pt x="66" y="101"/>
                      <a:pt x="66" y="101"/>
                      <a:pt x="66" y="101"/>
                    </a:cubicBezTo>
                    <a:cubicBezTo>
                      <a:pt x="65" y="101"/>
                      <a:pt x="65" y="101"/>
                      <a:pt x="64" y="101"/>
                    </a:cubicBezTo>
                    <a:cubicBezTo>
                      <a:pt x="64" y="101"/>
                      <a:pt x="64" y="101"/>
                      <a:pt x="64" y="101"/>
                    </a:cubicBezTo>
                    <a:cubicBezTo>
                      <a:pt x="63" y="101"/>
                      <a:pt x="63" y="101"/>
                      <a:pt x="63" y="101"/>
                    </a:cubicBezTo>
                    <a:cubicBezTo>
                      <a:pt x="58" y="101"/>
                      <a:pt x="53" y="101"/>
                      <a:pt x="48" y="101"/>
                    </a:cubicBezTo>
                    <a:cubicBezTo>
                      <a:pt x="34" y="101"/>
                      <a:pt x="34" y="101"/>
                      <a:pt x="34" y="101"/>
                    </a:cubicBezTo>
                    <a:cubicBezTo>
                      <a:pt x="33" y="101"/>
                      <a:pt x="33" y="101"/>
                      <a:pt x="33" y="101"/>
                    </a:cubicBezTo>
                    <a:cubicBezTo>
                      <a:pt x="33" y="101"/>
                      <a:pt x="33" y="101"/>
                      <a:pt x="33" y="101"/>
                    </a:cubicBezTo>
                    <a:cubicBezTo>
                      <a:pt x="32" y="101"/>
                      <a:pt x="32" y="101"/>
                      <a:pt x="31" y="101"/>
                    </a:cubicBezTo>
                    <a:cubicBezTo>
                      <a:pt x="31" y="101"/>
                      <a:pt x="30" y="101"/>
                      <a:pt x="30" y="101"/>
                    </a:cubicBezTo>
                    <a:cubicBezTo>
                      <a:pt x="30" y="101"/>
                      <a:pt x="30" y="101"/>
                      <a:pt x="30" y="101"/>
                    </a:cubicBezTo>
                    <a:cubicBezTo>
                      <a:pt x="29" y="101"/>
                      <a:pt x="29" y="101"/>
                      <a:pt x="29" y="101"/>
                    </a:cubicBezTo>
                    <a:cubicBezTo>
                      <a:pt x="29" y="101"/>
                      <a:pt x="29" y="101"/>
                      <a:pt x="29" y="101"/>
                    </a:cubicBezTo>
                    <a:cubicBezTo>
                      <a:pt x="29" y="101"/>
                      <a:pt x="29" y="101"/>
                      <a:pt x="29" y="101"/>
                    </a:cubicBezTo>
                    <a:cubicBezTo>
                      <a:pt x="29" y="102"/>
                      <a:pt x="29" y="102"/>
                      <a:pt x="29" y="102"/>
                    </a:cubicBezTo>
                    <a:cubicBezTo>
                      <a:pt x="17" y="102"/>
                      <a:pt x="17" y="102"/>
                      <a:pt x="17" y="102"/>
                    </a:cubicBezTo>
                    <a:cubicBezTo>
                      <a:pt x="17" y="102"/>
                      <a:pt x="17" y="102"/>
                      <a:pt x="17" y="102"/>
                    </a:cubicBezTo>
                    <a:cubicBezTo>
                      <a:pt x="16" y="102"/>
                      <a:pt x="16" y="102"/>
                      <a:pt x="16" y="102"/>
                    </a:cubicBezTo>
                    <a:cubicBezTo>
                      <a:pt x="16" y="102"/>
                      <a:pt x="16" y="102"/>
                      <a:pt x="15" y="102"/>
                    </a:cubicBezTo>
                    <a:cubicBezTo>
                      <a:pt x="15" y="102"/>
                      <a:pt x="15" y="102"/>
                      <a:pt x="15" y="102"/>
                    </a:cubicBezTo>
                    <a:cubicBezTo>
                      <a:pt x="15" y="103"/>
                      <a:pt x="14" y="104"/>
                      <a:pt x="14" y="105"/>
                    </a:cubicBezTo>
                    <a:cubicBezTo>
                      <a:pt x="13" y="106"/>
                      <a:pt x="13" y="106"/>
                      <a:pt x="13" y="106"/>
                    </a:cubicBezTo>
                    <a:cubicBezTo>
                      <a:pt x="12" y="105"/>
                      <a:pt x="12" y="105"/>
                      <a:pt x="12" y="105"/>
                    </a:cubicBezTo>
                    <a:cubicBezTo>
                      <a:pt x="10" y="103"/>
                      <a:pt x="8" y="101"/>
                      <a:pt x="6" y="100"/>
                    </a:cubicBezTo>
                    <a:cubicBezTo>
                      <a:pt x="6" y="100"/>
                      <a:pt x="6" y="100"/>
                      <a:pt x="6" y="100"/>
                    </a:cubicBezTo>
                    <a:cubicBezTo>
                      <a:pt x="6" y="100"/>
                      <a:pt x="6" y="100"/>
                      <a:pt x="5" y="100"/>
                    </a:cubicBezTo>
                    <a:cubicBezTo>
                      <a:pt x="5" y="100"/>
                      <a:pt x="5" y="100"/>
                      <a:pt x="5" y="100"/>
                    </a:cubicBezTo>
                    <a:cubicBezTo>
                      <a:pt x="5" y="101"/>
                      <a:pt x="5" y="101"/>
                      <a:pt x="5" y="102"/>
                    </a:cubicBezTo>
                    <a:cubicBezTo>
                      <a:pt x="5" y="103"/>
                      <a:pt x="5" y="104"/>
                      <a:pt x="5" y="105"/>
                    </a:cubicBezTo>
                    <a:cubicBezTo>
                      <a:pt x="5" y="106"/>
                      <a:pt x="5" y="106"/>
                      <a:pt x="4" y="106"/>
                    </a:cubicBezTo>
                    <a:cubicBezTo>
                      <a:pt x="4" y="106"/>
                      <a:pt x="4" y="107"/>
                      <a:pt x="4" y="107"/>
                    </a:cubicBezTo>
                    <a:cubicBezTo>
                      <a:pt x="4" y="107"/>
                      <a:pt x="3" y="108"/>
                      <a:pt x="3" y="108"/>
                    </a:cubicBezTo>
                    <a:cubicBezTo>
                      <a:pt x="2" y="108"/>
                      <a:pt x="2" y="108"/>
                      <a:pt x="2" y="108"/>
                    </a:cubicBezTo>
                    <a:cubicBezTo>
                      <a:pt x="2" y="108"/>
                      <a:pt x="2" y="108"/>
                      <a:pt x="2" y="108"/>
                    </a:cubicBezTo>
                    <a:cubicBezTo>
                      <a:pt x="0" y="109"/>
                      <a:pt x="0" y="109"/>
                      <a:pt x="0" y="109"/>
                    </a:cubicBezTo>
                    <a:cubicBezTo>
                      <a:pt x="2" y="117"/>
                      <a:pt x="2" y="117"/>
                      <a:pt x="2" y="117"/>
                    </a:cubicBezTo>
                    <a:cubicBezTo>
                      <a:pt x="5" y="116"/>
                      <a:pt x="5" y="116"/>
                      <a:pt x="5" y="116"/>
                    </a:cubicBezTo>
                    <a:cubicBezTo>
                      <a:pt x="3" y="117"/>
                      <a:pt x="3" y="117"/>
                      <a:pt x="3" y="117"/>
                    </a:cubicBezTo>
                    <a:cubicBezTo>
                      <a:pt x="3" y="117"/>
                      <a:pt x="3" y="117"/>
                      <a:pt x="3" y="117"/>
                    </a:cubicBezTo>
                    <a:cubicBezTo>
                      <a:pt x="3" y="118"/>
                      <a:pt x="3" y="118"/>
                      <a:pt x="2" y="119"/>
                    </a:cubicBezTo>
                    <a:cubicBezTo>
                      <a:pt x="3" y="119"/>
                      <a:pt x="3" y="120"/>
                      <a:pt x="4" y="120"/>
                    </a:cubicBezTo>
                    <a:cubicBezTo>
                      <a:pt x="4" y="120"/>
                      <a:pt x="5" y="120"/>
                      <a:pt x="5" y="120"/>
                    </a:cubicBezTo>
                    <a:cubicBezTo>
                      <a:pt x="5" y="121"/>
                      <a:pt x="6" y="121"/>
                      <a:pt x="6" y="121"/>
                    </a:cubicBezTo>
                    <a:cubicBezTo>
                      <a:pt x="8" y="122"/>
                      <a:pt x="8" y="124"/>
                      <a:pt x="9" y="126"/>
                    </a:cubicBezTo>
                    <a:cubicBezTo>
                      <a:pt x="9" y="127"/>
                      <a:pt x="9" y="127"/>
                      <a:pt x="9" y="128"/>
                    </a:cubicBezTo>
                    <a:cubicBezTo>
                      <a:pt x="9" y="128"/>
                      <a:pt x="9" y="128"/>
                      <a:pt x="9" y="128"/>
                    </a:cubicBezTo>
                    <a:cubicBezTo>
                      <a:pt x="9" y="128"/>
                      <a:pt x="9" y="128"/>
                      <a:pt x="9" y="129"/>
                    </a:cubicBezTo>
                    <a:cubicBezTo>
                      <a:pt x="9" y="129"/>
                      <a:pt x="9" y="129"/>
                      <a:pt x="9" y="129"/>
                    </a:cubicBezTo>
                    <a:cubicBezTo>
                      <a:pt x="9" y="130"/>
                      <a:pt x="9" y="130"/>
                      <a:pt x="9" y="130"/>
                    </a:cubicBezTo>
                    <a:cubicBezTo>
                      <a:pt x="9" y="130"/>
                      <a:pt x="9" y="130"/>
                      <a:pt x="9" y="131"/>
                    </a:cubicBezTo>
                    <a:cubicBezTo>
                      <a:pt x="10" y="131"/>
                      <a:pt x="10" y="131"/>
                      <a:pt x="10" y="131"/>
                    </a:cubicBezTo>
                    <a:cubicBezTo>
                      <a:pt x="9" y="131"/>
                      <a:pt x="9" y="131"/>
                      <a:pt x="9" y="131"/>
                    </a:cubicBezTo>
                    <a:cubicBezTo>
                      <a:pt x="10" y="131"/>
                      <a:pt x="10" y="131"/>
                      <a:pt x="10" y="131"/>
                    </a:cubicBezTo>
                    <a:cubicBezTo>
                      <a:pt x="9" y="133"/>
                      <a:pt x="9" y="133"/>
                      <a:pt x="9" y="133"/>
                    </a:cubicBezTo>
                    <a:cubicBezTo>
                      <a:pt x="8" y="133"/>
                      <a:pt x="8" y="134"/>
                      <a:pt x="8" y="134"/>
                    </a:cubicBezTo>
                    <a:cubicBezTo>
                      <a:pt x="8" y="134"/>
                      <a:pt x="8" y="134"/>
                      <a:pt x="8" y="134"/>
                    </a:cubicBezTo>
                    <a:cubicBezTo>
                      <a:pt x="9" y="134"/>
                      <a:pt x="9" y="134"/>
                      <a:pt x="9" y="134"/>
                    </a:cubicBezTo>
                    <a:cubicBezTo>
                      <a:pt x="9" y="135"/>
                      <a:pt x="9" y="135"/>
                      <a:pt x="9" y="135"/>
                    </a:cubicBezTo>
                    <a:cubicBezTo>
                      <a:pt x="9" y="135"/>
                      <a:pt x="9" y="135"/>
                      <a:pt x="9" y="135"/>
                    </a:cubicBezTo>
                    <a:cubicBezTo>
                      <a:pt x="9" y="135"/>
                      <a:pt x="10" y="134"/>
                      <a:pt x="10" y="134"/>
                    </a:cubicBezTo>
                    <a:cubicBezTo>
                      <a:pt x="10" y="134"/>
                      <a:pt x="10" y="134"/>
                      <a:pt x="10" y="134"/>
                    </a:cubicBezTo>
                    <a:cubicBezTo>
                      <a:pt x="11" y="133"/>
                      <a:pt x="11" y="133"/>
                      <a:pt x="12" y="133"/>
                    </a:cubicBezTo>
                    <a:cubicBezTo>
                      <a:pt x="12" y="133"/>
                      <a:pt x="12" y="133"/>
                      <a:pt x="12" y="133"/>
                    </a:cubicBezTo>
                    <a:cubicBezTo>
                      <a:pt x="12" y="133"/>
                      <a:pt x="12" y="133"/>
                      <a:pt x="12" y="133"/>
                    </a:cubicBezTo>
                    <a:cubicBezTo>
                      <a:pt x="13" y="133"/>
                      <a:pt x="13" y="133"/>
                      <a:pt x="13" y="133"/>
                    </a:cubicBezTo>
                    <a:cubicBezTo>
                      <a:pt x="13" y="133"/>
                      <a:pt x="13" y="133"/>
                      <a:pt x="13" y="133"/>
                    </a:cubicBezTo>
                    <a:cubicBezTo>
                      <a:pt x="13" y="133"/>
                      <a:pt x="13" y="133"/>
                      <a:pt x="13" y="133"/>
                    </a:cubicBezTo>
                    <a:cubicBezTo>
                      <a:pt x="13" y="133"/>
                      <a:pt x="14" y="133"/>
                      <a:pt x="14" y="134"/>
                    </a:cubicBezTo>
                    <a:cubicBezTo>
                      <a:pt x="15" y="134"/>
                      <a:pt x="15" y="135"/>
                      <a:pt x="15" y="135"/>
                    </a:cubicBezTo>
                    <a:cubicBezTo>
                      <a:pt x="15" y="135"/>
                      <a:pt x="15" y="135"/>
                      <a:pt x="15" y="135"/>
                    </a:cubicBezTo>
                    <a:cubicBezTo>
                      <a:pt x="16" y="134"/>
                      <a:pt x="19" y="133"/>
                      <a:pt x="21" y="133"/>
                    </a:cubicBezTo>
                    <a:cubicBezTo>
                      <a:pt x="21" y="133"/>
                      <a:pt x="21" y="133"/>
                      <a:pt x="21" y="133"/>
                    </a:cubicBezTo>
                    <a:cubicBezTo>
                      <a:pt x="21" y="133"/>
                      <a:pt x="21" y="133"/>
                      <a:pt x="21" y="133"/>
                    </a:cubicBezTo>
                    <a:cubicBezTo>
                      <a:pt x="22" y="133"/>
                      <a:pt x="23" y="134"/>
                      <a:pt x="23" y="134"/>
                    </a:cubicBezTo>
                    <a:cubicBezTo>
                      <a:pt x="24" y="134"/>
                      <a:pt x="24" y="134"/>
                      <a:pt x="24" y="134"/>
                    </a:cubicBezTo>
                    <a:cubicBezTo>
                      <a:pt x="24" y="134"/>
                      <a:pt x="24" y="134"/>
                      <a:pt x="24" y="134"/>
                    </a:cubicBezTo>
                    <a:cubicBezTo>
                      <a:pt x="24" y="134"/>
                      <a:pt x="24" y="134"/>
                      <a:pt x="24" y="134"/>
                    </a:cubicBezTo>
                    <a:cubicBezTo>
                      <a:pt x="25" y="133"/>
                      <a:pt x="26" y="133"/>
                      <a:pt x="26" y="133"/>
                    </a:cubicBezTo>
                    <a:cubicBezTo>
                      <a:pt x="27" y="133"/>
                      <a:pt x="27" y="133"/>
                      <a:pt x="28" y="133"/>
                    </a:cubicBezTo>
                    <a:cubicBezTo>
                      <a:pt x="28" y="133"/>
                      <a:pt x="28" y="133"/>
                      <a:pt x="28" y="132"/>
                    </a:cubicBezTo>
                    <a:cubicBezTo>
                      <a:pt x="28" y="132"/>
                      <a:pt x="27" y="131"/>
                      <a:pt x="28" y="131"/>
                    </a:cubicBezTo>
                    <a:cubicBezTo>
                      <a:pt x="28" y="130"/>
                      <a:pt x="28" y="130"/>
                      <a:pt x="28" y="130"/>
                    </a:cubicBezTo>
                    <a:cubicBezTo>
                      <a:pt x="29" y="130"/>
                      <a:pt x="29" y="130"/>
                      <a:pt x="29" y="130"/>
                    </a:cubicBezTo>
                    <a:cubicBezTo>
                      <a:pt x="30" y="130"/>
                      <a:pt x="31" y="130"/>
                      <a:pt x="31" y="131"/>
                    </a:cubicBezTo>
                    <a:cubicBezTo>
                      <a:pt x="33" y="132"/>
                      <a:pt x="34" y="133"/>
                      <a:pt x="34" y="135"/>
                    </a:cubicBezTo>
                    <a:cubicBezTo>
                      <a:pt x="35" y="135"/>
                      <a:pt x="35" y="135"/>
                      <a:pt x="35" y="135"/>
                    </a:cubicBezTo>
                    <a:cubicBezTo>
                      <a:pt x="35" y="135"/>
                      <a:pt x="35" y="135"/>
                      <a:pt x="35" y="135"/>
                    </a:cubicBezTo>
                    <a:cubicBezTo>
                      <a:pt x="35" y="136"/>
                      <a:pt x="35" y="136"/>
                      <a:pt x="35" y="136"/>
                    </a:cubicBezTo>
                    <a:cubicBezTo>
                      <a:pt x="35" y="136"/>
                      <a:pt x="35" y="137"/>
                      <a:pt x="35" y="137"/>
                    </a:cubicBezTo>
                    <a:cubicBezTo>
                      <a:pt x="35" y="137"/>
                      <a:pt x="35" y="137"/>
                      <a:pt x="35" y="137"/>
                    </a:cubicBezTo>
                    <a:cubicBezTo>
                      <a:pt x="35" y="138"/>
                      <a:pt x="35" y="138"/>
                      <a:pt x="35" y="138"/>
                    </a:cubicBezTo>
                    <a:cubicBezTo>
                      <a:pt x="35" y="138"/>
                      <a:pt x="35" y="138"/>
                      <a:pt x="35" y="138"/>
                    </a:cubicBezTo>
                    <a:cubicBezTo>
                      <a:pt x="35" y="138"/>
                      <a:pt x="35" y="138"/>
                      <a:pt x="35" y="138"/>
                    </a:cubicBezTo>
                    <a:cubicBezTo>
                      <a:pt x="35" y="139"/>
                      <a:pt x="36" y="139"/>
                      <a:pt x="36" y="139"/>
                    </a:cubicBezTo>
                    <a:cubicBezTo>
                      <a:pt x="36" y="139"/>
                      <a:pt x="36" y="139"/>
                      <a:pt x="36" y="139"/>
                    </a:cubicBezTo>
                    <a:cubicBezTo>
                      <a:pt x="36" y="139"/>
                      <a:pt x="39" y="141"/>
                      <a:pt x="39" y="143"/>
                    </a:cubicBezTo>
                    <a:cubicBezTo>
                      <a:pt x="39" y="143"/>
                      <a:pt x="39" y="143"/>
                      <a:pt x="39" y="143"/>
                    </a:cubicBezTo>
                    <a:cubicBezTo>
                      <a:pt x="39" y="143"/>
                      <a:pt x="39" y="143"/>
                      <a:pt x="39" y="143"/>
                    </a:cubicBezTo>
                    <a:cubicBezTo>
                      <a:pt x="39" y="143"/>
                      <a:pt x="40" y="143"/>
                      <a:pt x="40" y="143"/>
                    </a:cubicBezTo>
                    <a:cubicBezTo>
                      <a:pt x="39" y="143"/>
                      <a:pt x="39" y="143"/>
                      <a:pt x="39" y="143"/>
                    </a:cubicBezTo>
                    <a:cubicBezTo>
                      <a:pt x="39" y="143"/>
                      <a:pt x="39" y="143"/>
                      <a:pt x="39" y="143"/>
                    </a:cubicBezTo>
                    <a:cubicBezTo>
                      <a:pt x="40" y="143"/>
                      <a:pt x="40" y="143"/>
                      <a:pt x="40" y="143"/>
                    </a:cubicBezTo>
                    <a:cubicBezTo>
                      <a:pt x="40" y="143"/>
                      <a:pt x="40" y="143"/>
                      <a:pt x="40" y="143"/>
                    </a:cubicBezTo>
                    <a:cubicBezTo>
                      <a:pt x="40" y="144"/>
                      <a:pt x="40" y="144"/>
                      <a:pt x="40" y="144"/>
                    </a:cubicBezTo>
                    <a:cubicBezTo>
                      <a:pt x="40" y="144"/>
                      <a:pt x="40" y="144"/>
                      <a:pt x="40" y="144"/>
                    </a:cubicBezTo>
                    <a:cubicBezTo>
                      <a:pt x="40" y="144"/>
                      <a:pt x="40" y="144"/>
                      <a:pt x="40" y="144"/>
                    </a:cubicBezTo>
                    <a:cubicBezTo>
                      <a:pt x="39" y="145"/>
                      <a:pt x="39" y="145"/>
                      <a:pt x="39" y="145"/>
                    </a:cubicBezTo>
                    <a:cubicBezTo>
                      <a:pt x="39" y="145"/>
                      <a:pt x="39" y="145"/>
                      <a:pt x="39" y="145"/>
                    </a:cubicBezTo>
                    <a:cubicBezTo>
                      <a:pt x="39" y="145"/>
                      <a:pt x="39" y="145"/>
                      <a:pt x="39" y="145"/>
                    </a:cubicBezTo>
                    <a:cubicBezTo>
                      <a:pt x="39" y="145"/>
                      <a:pt x="39" y="145"/>
                      <a:pt x="39" y="145"/>
                    </a:cubicBezTo>
                    <a:cubicBezTo>
                      <a:pt x="39" y="145"/>
                      <a:pt x="39" y="145"/>
                      <a:pt x="39" y="145"/>
                    </a:cubicBezTo>
                    <a:cubicBezTo>
                      <a:pt x="39" y="145"/>
                      <a:pt x="39" y="145"/>
                      <a:pt x="39" y="145"/>
                    </a:cubicBezTo>
                    <a:cubicBezTo>
                      <a:pt x="39" y="145"/>
                      <a:pt x="40" y="145"/>
                      <a:pt x="40" y="145"/>
                    </a:cubicBezTo>
                    <a:cubicBezTo>
                      <a:pt x="40" y="145"/>
                      <a:pt x="40" y="146"/>
                      <a:pt x="40" y="146"/>
                    </a:cubicBezTo>
                    <a:cubicBezTo>
                      <a:pt x="40" y="146"/>
                      <a:pt x="40" y="146"/>
                      <a:pt x="40" y="146"/>
                    </a:cubicBezTo>
                    <a:cubicBezTo>
                      <a:pt x="40" y="146"/>
                      <a:pt x="40" y="146"/>
                      <a:pt x="40" y="146"/>
                    </a:cubicBezTo>
                    <a:cubicBezTo>
                      <a:pt x="41" y="147"/>
                      <a:pt x="41" y="149"/>
                      <a:pt x="41" y="150"/>
                    </a:cubicBezTo>
                    <a:cubicBezTo>
                      <a:pt x="41" y="150"/>
                      <a:pt x="41" y="151"/>
                      <a:pt x="41" y="151"/>
                    </a:cubicBezTo>
                    <a:cubicBezTo>
                      <a:pt x="41" y="151"/>
                      <a:pt x="41" y="151"/>
                      <a:pt x="41" y="151"/>
                    </a:cubicBezTo>
                    <a:cubicBezTo>
                      <a:pt x="41" y="151"/>
                      <a:pt x="41" y="151"/>
                      <a:pt x="41" y="151"/>
                    </a:cubicBezTo>
                    <a:cubicBezTo>
                      <a:pt x="41" y="152"/>
                      <a:pt x="41" y="152"/>
                      <a:pt x="41" y="152"/>
                    </a:cubicBezTo>
                    <a:cubicBezTo>
                      <a:pt x="41" y="152"/>
                      <a:pt x="42" y="152"/>
                      <a:pt x="42" y="153"/>
                    </a:cubicBezTo>
                    <a:cubicBezTo>
                      <a:pt x="42" y="153"/>
                      <a:pt x="42" y="153"/>
                      <a:pt x="42" y="153"/>
                    </a:cubicBezTo>
                    <a:cubicBezTo>
                      <a:pt x="42" y="153"/>
                      <a:pt x="42" y="153"/>
                      <a:pt x="42" y="153"/>
                    </a:cubicBezTo>
                    <a:cubicBezTo>
                      <a:pt x="43" y="153"/>
                      <a:pt x="43" y="153"/>
                      <a:pt x="43" y="153"/>
                    </a:cubicBezTo>
                    <a:cubicBezTo>
                      <a:pt x="43" y="153"/>
                      <a:pt x="43" y="153"/>
                      <a:pt x="43" y="154"/>
                    </a:cubicBezTo>
                    <a:cubicBezTo>
                      <a:pt x="43" y="153"/>
                      <a:pt x="43" y="153"/>
                      <a:pt x="44" y="153"/>
                    </a:cubicBezTo>
                    <a:cubicBezTo>
                      <a:pt x="44" y="153"/>
                      <a:pt x="44" y="152"/>
                      <a:pt x="44" y="152"/>
                    </a:cubicBezTo>
                    <a:cubicBezTo>
                      <a:pt x="45" y="151"/>
                      <a:pt x="45" y="151"/>
                      <a:pt x="46" y="151"/>
                    </a:cubicBezTo>
                    <a:cubicBezTo>
                      <a:pt x="46" y="151"/>
                      <a:pt x="46" y="151"/>
                      <a:pt x="46" y="151"/>
                    </a:cubicBezTo>
                    <a:cubicBezTo>
                      <a:pt x="47" y="151"/>
                      <a:pt x="48" y="152"/>
                      <a:pt x="49" y="152"/>
                    </a:cubicBezTo>
                    <a:cubicBezTo>
                      <a:pt x="50" y="153"/>
                      <a:pt x="50" y="153"/>
                      <a:pt x="50" y="153"/>
                    </a:cubicBezTo>
                    <a:cubicBezTo>
                      <a:pt x="50" y="153"/>
                      <a:pt x="50" y="153"/>
                      <a:pt x="50" y="153"/>
                    </a:cubicBezTo>
                    <a:cubicBezTo>
                      <a:pt x="50" y="153"/>
                      <a:pt x="50" y="153"/>
                      <a:pt x="50" y="153"/>
                    </a:cubicBezTo>
                    <a:cubicBezTo>
                      <a:pt x="51" y="153"/>
                      <a:pt x="51" y="153"/>
                      <a:pt x="51" y="153"/>
                    </a:cubicBezTo>
                    <a:cubicBezTo>
                      <a:pt x="52" y="153"/>
                      <a:pt x="52" y="153"/>
                      <a:pt x="52" y="153"/>
                    </a:cubicBezTo>
                    <a:cubicBezTo>
                      <a:pt x="52" y="152"/>
                      <a:pt x="52" y="152"/>
                      <a:pt x="53" y="152"/>
                    </a:cubicBezTo>
                    <a:cubicBezTo>
                      <a:pt x="53" y="152"/>
                      <a:pt x="53" y="152"/>
                      <a:pt x="53" y="152"/>
                    </a:cubicBezTo>
                    <a:cubicBezTo>
                      <a:pt x="53" y="152"/>
                      <a:pt x="53" y="152"/>
                      <a:pt x="53" y="152"/>
                    </a:cubicBezTo>
                    <a:cubicBezTo>
                      <a:pt x="53" y="152"/>
                      <a:pt x="53" y="152"/>
                      <a:pt x="54" y="152"/>
                    </a:cubicBezTo>
                    <a:cubicBezTo>
                      <a:pt x="54" y="152"/>
                      <a:pt x="54" y="152"/>
                      <a:pt x="54" y="152"/>
                    </a:cubicBezTo>
                    <a:cubicBezTo>
                      <a:pt x="54" y="151"/>
                      <a:pt x="54" y="151"/>
                      <a:pt x="55" y="150"/>
                    </a:cubicBezTo>
                    <a:cubicBezTo>
                      <a:pt x="55" y="150"/>
                      <a:pt x="55" y="150"/>
                      <a:pt x="55" y="150"/>
                    </a:cubicBezTo>
                    <a:cubicBezTo>
                      <a:pt x="55" y="149"/>
                      <a:pt x="55" y="149"/>
                      <a:pt x="55" y="149"/>
                    </a:cubicBezTo>
                    <a:cubicBezTo>
                      <a:pt x="55" y="149"/>
                      <a:pt x="56" y="149"/>
                      <a:pt x="56" y="149"/>
                    </a:cubicBezTo>
                    <a:cubicBezTo>
                      <a:pt x="56" y="149"/>
                      <a:pt x="57" y="149"/>
                      <a:pt x="57" y="149"/>
                    </a:cubicBezTo>
                    <a:cubicBezTo>
                      <a:pt x="58" y="149"/>
                      <a:pt x="58" y="149"/>
                      <a:pt x="59" y="148"/>
                    </a:cubicBezTo>
                    <a:cubicBezTo>
                      <a:pt x="59" y="148"/>
                      <a:pt x="59" y="148"/>
                      <a:pt x="59" y="148"/>
                    </a:cubicBezTo>
                    <a:cubicBezTo>
                      <a:pt x="61" y="147"/>
                      <a:pt x="61" y="147"/>
                      <a:pt x="61" y="147"/>
                    </a:cubicBezTo>
                    <a:cubicBezTo>
                      <a:pt x="61" y="149"/>
                      <a:pt x="61" y="149"/>
                      <a:pt x="61" y="149"/>
                    </a:cubicBezTo>
                    <a:cubicBezTo>
                      <a:pt x="61" y="149"/>
                      <a:pt x="61" y="150"/>
                      <a:pt x="61" y="150"/>
                    </a:cubicBezTo>
                    <a:cubicBezTo>
                      <a:pt x="61" y="150"/>
                      <a:pt x="61" y="151"/>
                      <a:pt x="61" y="151"/>
                    </a:cubicBezTo>
                    <a:cubicBezTo>
                      <a:pt x="61" y="152"/>
                      <a:pt x="61" y="153"/>
                      <a:pt x="62" y="154"/>
                    </a:cubicBezTo>
                    <a:cubicBezTo>
                      <a:pt x="62" y="154"/>
                      <a:pt x="62" y="154"/>
                      <a:pt x="62" y="154"/>
                    </a:cubicBezTo>
                    <a:cubicBezTo>
                      <a:pt x="62" y="154"/>
                      <a:pt x="62" y="154"/>
                      <a:pt x="62" y="154"/>
                    </a:cubicBezTo>
                    <a:cubicBezTo>
                      <a:pt x="62" y="154"/>
                      <a:pt x="63" y="153"/>
                      <a:pt x="63" y="153"/>
                    </a:cubicBezTo>
                    <a:cubicBezTo>
                      <a:pt x="63" y="153"/>
                      <a:pt x="63" y="153"/>
                      <a:pt x="63" y="153"/>
                    </a:cubicBezTo>
                    <a:cubicBezTo>
                      <a:pt x="63" y="152"/>
                      <a:pt x="63" y="152"/>
                      <a:pt x="64" y="152"/>
                    </a:cubicBezTo>
                    <a:cubicBezTo>
                      <a:pt x="64" y="152"/>
                      <a:pt x="64" y="152"/>
                      <a:pt x="64" y="152"/>
                    </a:cubicBezTo>
                    <a:cubicBezTo>
                      <a:pt x="64" y="152"/>
                      <a:pt x="64" y="152"/>
                      <a:pt x="65" y="151"/>
                    </a:cubicBezTo>
                    <a:cubicBezTo>
                      <a:pt x="65" y="151"/>
                      <a:pt x="65" y="151"/>
                      <a:pt x="65" y="151"/>
                    </a:cubicBezTo>
                    <a:cubicBezTo>
                      <a:pt x="65" y="151"/>
                      <a:pt x="65" y="151"/>
                      <a:pt x="65" y="151"/>
                    </a:cubicBezTo>
                    <a:cubicBezTo>
                      <a:pt x="65" y="151"/>
                      <a:pt x="66" y="151"/>
                      <a:pt x="66" y="151"/>
                    </a:cubicBezTo>
                    <a:cubicBezTo>
                      <a:pt x="66" y="151"/>
                      <a:pt x="66" y="151"/>
                      <a:pt x="66" y="151"/>
                    </a:cubicBezTo>
                    <a:cubicBezTo>
                      <a:pt x="66" y="151"/>
                      <a:pt x="66" y="151"/>
                      <a:pt x="67" y="151"/>
                    </a:cubicBezTo>
                    <a:cubicBezTo>
                      <a:pt x="67" y="151"/>
                      <a:pt x="67" y="151"/>
                      <a:pt x="67" y="151"/>
                    </a:cubicBezTo>
                    <a:cubicBezTo>
                      <a:pt x="67" y="150"/>
                      <a:pt x="67" y="150"/>
                      <a:pt x="67" y="149"/>
                    </a:cubicBezTo>
                    <a:cubicBezTo>
                      <a:pt x="67" y="149"/>
                      <a:pt x="67" y="149"/>
                      <a:pt x="67" y="149"/>
                    </a:cubicBezTo>
                    <a:cubicBezTo>
                      <a:pt x="67" y="147"/>
                      <a:pt x="66" y="145"/>
                      <a:pt x="68" y="145"/>
                    </a:cubicBezTo>
                    <a:cubicBezTo>
                      <a:pt x="69" y="144"/>
                      <a:pt x="69" y="144"/>
                      <a:pt x="69" y="143"/>
                    </a:cubicBezTo>
                    <a:lnTo>
                      <a:pt x="69"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4" name="Freeform 3036">
                <a:extLst>
                  <a:ext uri="{FF2B5EF4-FFF2-40B4-BE49-F238E27FC236}">
                    <a16:creationId xmlns:a16="http://schemas.microsoft.com/office/drawing/2014/main" id="{74AF5724-DFFE-4D38-9DE3-08A56CCE1541}"/>
                  </a:ext>
                </a:extLst>
              </p:cNvPr>
              <p:cNvSpPr>
                <a:spLocks/>
              </p:cNvSpPr>
              <p:nvPr/>
            </p:nvSpPr>
            <p:spPr bwMode="auto">
              <a:xfrm>
                <a:off x="3459" y="200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5" name="Freeform 3037">
                <a:extLst>
                  <a:ext uri="{FF2B5EF4-FFF2-40B4-BE49-F238E27FC236}">
                    <a16:creationId xmlns:a16="http://schemas.microsoft.com/office/drawing/2014/main" id="{7E14FD13-F823-46F1-A815-1C27C3F8DC2A}"/>
                  </a:ext>
                </a:extLst>
              </p:cNvPr>
              <p:cNvSpPr>
                <a:spLocks/>
              </p:cNvSpPr>
              <p:nvPr/>
            </p:nvSpPr>
            <p:spPr bwMode="auto">
              <a:xfrm>
                <a:off x="3232" y="1870"/>
                <a:ext cx="289" cy="218"/>
              </a:xfrm>
              <a:custGeom>
                <a:avLst/>
                <a:gdLst>
                  <a:gd name="T0" fmla="*/ 44 w 122"/>
                  <a:gd name="T1" fmla="*/ 83 h 92"/>
                  <a:gd name="T2" fmla="*/ 46 w 122"/>
                  <a:gd name="T3" fmla="*/ 80 h 92"/>
                  <a:gd name="T4" fmla="*/ 49 w 122"/>
                  <a:gd name="T5" fmla="*/ 78 h 92"/>
                  <a:gd name="T6" fmla="*/ 51 w 122"/>
                  <a:gd name="T7" fmla="*/ 77 h 92"/>
                  <a:gd name="T8" fmla="*/ 55 w 122"/>
                  <a:gd name="T9" fmla="*/ 73 h 92"/>
                  <a:gd name="T10" fmla="*/ 60 w 122"/>
                  <a:gd name="T11" fmla="*/ 72 h 92"/>
                  <a:gd name="T12" fmla="*/ 64 w 122"/>
                  <a:gd name="T13" fmla="*/ 71 h 92"/>
                  <a:gd name="T14" fmla="*/ 66 w 122"/>
                  <a:gd name="T15" fmla="*/ 71 h 92"/>
                  <a:gd name="T16" fmla="*/ 66 w 122"/>
                  <a:gd name="T17" fmla="*/ 70 h 92"/>
                  <a:gd name="T18" fmla="*/ 67 w 122"/>
                  <a:gd name="T19" fmla="*/ 69 h 92"/>
                  <a:gd name="T20" fmla="*/ 68 w 122"/>
                  <a:gd name="T21" fmla="*/ 68 h 92"/>
                  <a:gd name="T22" fmla="*/ 77 w 122"/>
                  <a:gd name="T23" fmla="*/ 67 h 92"/>
                  <a:gd name="T24" fmla="*/ 80 w 122"/>
                  <a:gd name="T25" fmla="*/ 65 h 92"/>
                  <a:gd name="T26" fmla="*/ 81 w 122"/>
                  <a:gd name="T27" fmla="*/ 64 h 92"/>
                  <a:gd name="T28" fmla="*/ 84 w 122"/>
                  <a:gd name="T29" fmla="*/ 62 h 92"/>
                  <a:gd name="T30" fmla="*/ 95 w 122"/>
                  <a:gd name="T31" fmla="*/ 56 h 92"/>
                  <a:gd name="T32" fmla="*/ 95 w 122"/>
                  <a:gd name="T33" fmla="*/ 56 h 92"/>
                  <a:gd name="T34" fmla="*/ 94 w 122"/>
                  <a:gd name="T35" fmla="*/ 52 h 92"/>
                  <a:gd name="T36" fmla="*/ 94 w 122"/>
                  <a:gd name="T37" fmla="*/ 52 h 92"/>
                  <a:gd name="T38" fmla="*/ 93 w 122"/>
                  <a:gd name="T39" fmla="*/ 50 h 92"/>
                  <a:gd name="T40" fmla="*/ 96 w 122"/>
                  <a:gd name="T41" fmla="*/ 47 h 92"/>
                  <a:gd name="T42" fmla="*/ 98 w 122"/>
                  <a:gd name="T43" fmla="*/ 47 h 92"/>
                  <a:gd name="T44" fmla="*/ 98 w 122"/>
                  <a:gd name="T45" fmla="*/ 47 h 92"/>
                  <a:gd name="T46" fmla="*/ 102 w 122"/>
                  <a:gd name="T47" fmla="*/ 46 h 92"/>
                  <a:gd name="T48" fmla="*/ 105 w 122"/>
                  <a:gd name="T49" fmla="*/ 43 h 92"/>
                  <a:gd name="T50" fmla="*/ 108 w 122"/>
                  <a:gd name="T51" fmla="*/ 42 h 92"/>
                  <a:gd name="T52" fmla="*/ 112 w 122"/>
                  <a:gd name="T53" fmla="*/ 42 h 92"/>
                  <a:gd name="T54" fmla="*/ 117 w 122"/>
                  <a:gd name="T55" fmla="*/ 43 h 92"/>
                  <a:gd name="T56" fmla="*/ 120 w 122"/>
                  <a:gd name="T57" fmla="*/ 42 h 92"/>
                  <a:gd name="T58" fmla="*/ 122 w 122"/>
                  <a:gd name="T59" fmla="*/ 40 h 92"/>
                  <a:gd name="T60" fmla="*/ 119 w 122"/>
                  <a:gd name="T61" fmla="*/ 37 h 92"/>
                  <a:gd name="T62" fmla="*/ 115 w 122"/>
                  <a:gd name="T63" fmla="*/ 25 h 92"/>
                  <a:gd name="T64" fmla="*/ 116 w 122"/>
                  <a:gd name="T65" fmla="*/ 21 h 92"/>
                  <a:gd name="T66" fmla="*/ 115 w 122"/>
                  <a:gd name="T67" fmla="*/ 18 h 92"/>
                  <a:gd name="T68" fmla="*/ 114 w 122"/>
                  <a:gd name="T69" fmla="*/ 16 h 92"/>
                  <a:gd name="T70" fmla="*/ 114 w 122"/>
                  <a:gd name="T71" fmla="*/ 14 h 92"/>
                  <a:gd name="T72" fmla="*/ 114 w 122"/>
                  <a:gd name="T73" fmla="*/ 14 h 92"/>
                  <a:gd name="T74" fmla="*/ 113 w 122"/>
                  <a:gd name="T75" fmla="*/ 13 h 92"/>
                  <a:gd name="T76" fmla="*/ 112 w 122"/>
                  <a:gd name="T77" fmla="*/ 12 h 92"/>
                  <a:gd name="T78" fmla="*/ 111 w 122"/>
                  <a:gd name="T79" fmla="*/ 11 h 92"/>
                  <a:gd name="T80" fmla="*/ 110 w 122"/>
                  <a:gd name="T81" fmla="*/ 10 h 92"/>
                  <a:gd name="T82" fmla="*/ 110 w 122"/>
                  <a:gd name="T83" fmla="*/ 9 h 92"/>
                  <a:gd name="T84" fmla="*/ 105 w 122"/>
                  <a:gd name="T85" fmla="*/ 9 h 92"/>
                  <a:gd name="T86" fmla="*/ 102 w 122"/>
                  <a:gd name="T87" fmla="*/ 6 h 92"/>
                  <a:gd name="T88" fmla="*/ 88 w 122"/>
                  <a:gd name="T89" fmla="*/ 9 h 92"/>
                  <a:gd name="T90" fmla="*/ 81 w 122"/>
                  <a:gd name="T91" fmla="*/ 4 h 92"/>
                  <a:gd name="T92" fmla="*/ 79 w 122"/>
                  <a:gd name="T93" fmla="*/ 1 h 92"/>
                  <a:gd name="T94" fmla="*/ 79 w 122"/>
                  <a:gd name="T95" fmla="*/ 0 h 92"/>
                  <a:gd name="T96" fmla="*/ 71 w 122"/>
                  <a:gd name="T97" fmla="*/ 8 h 92"/>
                  <a:gd name="T98" fmla="*/ 59 w 122"/>
                  <a:gd name="T99" fmla="*/ 25 h 92"/>
                  <a:gd name="T100" fmla="*/ 54 w 122"/>
                  <a:gd name="T101" fmla="*/ 28 h 92"/>
                  <a:gd name="T102" fmla="*/ 46 w 122"/>
                  <a:gd name="T103" fmla="*/ 31 h 92"/>
                  <a:gd name="T104" fmla="*/ 39 w 122"/>
                  <a:gd name="T105" fmla="*/ 39 h 92"/>
                  <a:gd name="T106" fmla="*/ 34 w 122"/>
                  <a:gd name="T107" fmla="*/ 50 h 92"/>
                  <a:gd name="T108" fmla="*/ 34 w 122"/>
                  <a:gd name="T109" fmla="*/ 57 h 92"/>
                  <a:gd name="T110" fmla="*/ 34 w 122"/>
                  <a:gd name="T111" fmla="*/ 61 h 92"/>
                  <a:gd name="T112" fmla="*/ 35 w 122"/>
                  <a:gd name="T113" fmla="*/ 66 h 92"/>
                  <a:gd name="T114" fmla="*/ 21 w 122"/>
                  <a:gd name="T115" fmla="*/ 82 h 92"/>
                  <a:gd name="T116" fmla="*/ 11 w 122"/>
                  <a:gd name="T117" fmla="*/ 88 h 92"/>
                  <a:gd name="T118" fmla="*/ 1 w 122"/>
                  <a:gd name="T119" fmla="*/ 91 h 92"/>
                  <a:gd name="T120" fmla="*/ 44 w 122"/>
                  <a:gd name="T1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2" h="92">
                    <a:moveTo>
                      <a:pt x="44" y="92"/>
                    </a:moveTo>
                    <a:cubicBezTo>
                      <a:pt x="44" y="83"/>
                      <a:pt x="44" y="83"/>
                      <a:pt x="44" y="83"/>
                    </a:cubicBezTo>
                    <a:cubicBezTo>
                      <a:pt x="44" y="82"/>
                      <a:pt x="44" y="82"/>
                      <a:pt x="44" y="82"/>
                    </a:cubicBezTo>
                    <a:cubicBezTo>
                      <a:pt x="45" y="81"/>
                      <a:pt x="45" y="81"/>
                      <a:pt x="46" y="80"/>
                    </a:cubicBezTo>
                    <a:cubicBezTo>
                      <a:pt x="46" y="80"/>
                      <a:pt x="47" y="79"/>
                      <a:pt x="48" y="79"/>
                    </a:cubicBezTo>
                    <a:cubicBezTo>
                      <a:pt x="49" y="78"/>
                      <a:pt x="49" y="78"/>
                      <a:pt x="49" y="78"/>
                    </a:cubicBezTo>
                    <a:cubicBezTo>
                      <a:pt x="49" y="78"/>
                      <a:pt x="49" y="78"/>
                      <a:pt x="49" y="78"/>
                    </a:cubicBezTo>
                    <a:cubicBezTo>
                      <a:pt x="51" y="77"/>
                      <a:pt x="51" y="77"/>
                      <a:pt x="51" y="77"/>
                    </a:cubicBezTo>
                    <a:cubicBezTo>
                      <a:pt x="52" y="76"/>
                      <a:pt x="53" y="75"/>
                      <a:pt x="54" y="74"/>
                    </a:cubicBezTo>
                    <a:cubicBezTo>
                      <a:pt x="54" y="74"/>
                      <a:pt x="55" y="74"/>
                      <a:pt x="55" y="73"/>
                    </a:cubicBezTo>
                    <a:cubicBezTo>
                      <a:pt x="57" y="73"/>
                      <a:pt x="58" y="73"/>
                      <a:pt x="58" y="72"/>
                    </a:cubicBezTo>
                    <a:cubicBezTo>
                      <a:pt x="59" y="72"/>
                      <a:pt x="60" y="72"/>
                      <a:pt x="60" y="72"/>
                    </a:cubicBezTo>
                    <a:cubicBezTo>
                      <a:pt x="62" y="71"/>
                      <a:pt x="62" y="71"/>
                      <a:pt x="62" y="71"/>
                    </a:cubicBezTo>
                    <a:cubicBezTo>
                      <a:pt x="62" y="71"/>
                      <a:pt x="63" y="71"/>
                      <a:pt x="64" y="71"/>
                    </a:cubicBezTo>
                    <a:cubicBezTo>
                      <a:pt x="64" y="71"/>
                      <a:pt x="65" y="71"/>
                      <a:pt x="65" y="71"/>
                    </a:cubicBezTo>
                    <a:cubicBezTo>
                      <a:pt x="66" y="71"/>
                      <a:pt x="66" y="71"/>
                      <a:pt x="66" y="71"/>
                    </a:cubicBezTo>
                    <a:cubicBezTo>
                      <a:pt x="66" y="71"/>
                      <a:pt x="66" y="71"/>
                      <a:pt x="66" y="71"/>
                    </a:cubicBezTo>
                    <a:cubicBezTo>
                      <a:pt x="66" y="71"/>
                      <a:pt x="66" y="70"/>
                      <a:pt x="66" y="70"/>
                    </a:cubicBezTo>
                    <a:cubicBezTo>
                      <a:pt x="66" y="70"/>
                      <a:pt x="66" y="70"/>
                      <a:pt x="66" y="70"/>
                    </a:cubicBezTo>
                    <a:cubicBezTo>
                      <a:pt x="66" y="69"/>
                      <a:pt x="67" y="69"/>
                      <a:pt x="67" y="69"/>
                    </a:cubicBezTo>
                    <a:cubicBezTo>
                      <a:pt x="67" y="68"/>
                      <a:pt x="67" y="68"/>
                      <a:pt x="67" y="68"/>
                    </a:cubicBezTo>
                    <a:cubicBezTo>
                      <a:pt x="68" y="68"/>
                      <a:pt x="68" y="68"/>
                      <a:pt x="68" y="68"/>
                    </a:cubicBezTo>
                    <a:cubicBezTo>
                      <a:pt x="68" y="68"/>
                      <a:pt x="69" y="68"/>
                      <a:pt x="69" y="68"/>
                    </a:cubicBezTo>
                    <a:cubicBezTo>
                      <a:pt x="71" y="69"/>
                      <a:pt x="75" y="68"/>
                      <a:pt x="77" y="67"/>
                    </a:cubicBezTo>
                    <a:cubicBezTo>
                      <a:pt x="78" y="67"/>
                      <a:pt x="78" y="67"/>
                      <a:pt x="78" y="67"/>
                    </a:cubicBezTo>
                    <a:cubicBezTo>
                      <a:pt x="79" y="66"/>
                      <a:pt x="79" y="66"/>
                      <a:pt x="80" y="65"/>
                    </a:cubicBezTo>
                    <a:cubicBezTo>
                      <a:pt x="80" y="65"/>
                      <a:pt x="80" y="65"/>
                      <a:pt x="80" y="65"/>
                    </a:cubicBezTo>
                    <a:cubicBezTo>
                      <a:pt x="80" y="65"/>
                      <a:pt x="81" y="64"/>
                      <a:pt x="81" y="64"/>
                    </a:cubicBezTo>
                    <a:cubicBezTo>
                      <a:pt x="81" y="64"/>
                      <a:pt x="81" y="64"/>
                      <a:pt x="81" y="64"/>
                    </a:cubicBezTo>
                    <a:cubicBezTo>
                      <a:pt x="82" y="63"/>
                      <a:pt x="82" y="62"/>
                      <a:pt x="84" y="62"/>
                    </a:cubicBezTo>
                    <a:cubicBezTo>
                      <a:pt x="94" y="57"/>
                      <a:pt x="94" y="57"/>
                      <a:pt x="94" y="57"/>
                    </a:cubicBezTo>
                    <a:cubicBezTo>
                      <a:pt x="94" y="56"/>
                      <a:pt x="95" y="56"/>
                      <a:pt x="95" y="56"/>
                    </a:cubicBezTo>
                    <a:cubicBezTo>
                      <a:pt x="95" y="56"/>
                      <a:pt x="95" y="56"/>
                      <a:pt x="95" y="56"/>
                    </a:cubicBezTo>
                    <a:cubicBezTo>
                      <a:pt x="95" y="56"/>
                      <a:pt x="95" y="56"/>
                      <a:pt x="95" y="56"/>
                    </a:cubicBezTo>
                    <a:cubicBezTo>
                      <a:pt x="93" y="55"/>
                      <a:pt x="94" y="54"/>
                      <a:pt x="94" y="53"/>
                    </a:cubicBezTo>
                    <a:cubicBezTo>
                      <a:pt x="94" y="53"/>
                      <a:pt x="94" y="53"/>
                      <a:pt x="94" y="52"/>
                    </a:cubicBezTo>
                    <a:cubicBezTo>
                      <a:pt x="94" y="52"/>
                      <a:pt x="94" y="52"/>
                      <a:pt x="94" y="52"/>
                    </a:cubicBezTo>
                    <a:cubicBezTo>
                      <a:pt x="94" y="52"/>
                      <a:pt x="94" y="52"/>
                      <a:pt x="94" y="52"/>
                    </a:cubicBezTo>
                    <a:cubicBezTo>
                      <a:pt x="94" y="52"/>
                      <a:pt x="94" y="51"/>
                      <a:pt x="93" y="51"/>
                    </a:cubicBezTo>
                    <a:cubicBezTo>
                      <a:pt x="93" y="50"/>
                      <a:pt x="93" y="50"/>
                      <a:pt x="93" y="50"/>
                    </a:cubicBezTo>
                    <a:cubicBezTo>
                      <a:pt x="94" y="48"/>
                      <a:pt x="94" y="48"/>
                      <a:pt x="95" y="47"/>
                    </a:cubicBezTo>
                    <a:cubicBezTo>
                      <a:pt x="96" y="47"/>
                      <a:pt x="96" y="47"/>
                      <a:pt x="96" y="47"/>
                    </a:cubicBezTo>
                    <a:cubicBezTo>
                      <a:pt x="96" y="47"/>
                      <a:pt x="96" y="47"/>
                      <a:pt x="97" y="47"/>
                    </a:cubicBezTo>
                    <a:cubicBezTo>
                      <a:pt x="97" y="47"/>
                      <a:pt x="97" y="47"/>
                      <a:pt x="98" y="47"/>
                    </a:cubicBezTo>
                    <a:cubicBezTo>
                      <a:pt x="98" y="47"/>
                      <a:pt x="98" y="47"/>
                      <a:pt x="98" y="47"/>
                    </a:cubicBezTo>
                    <a:cubicBezTo>
                      <a:pt x="98" y="47"/>
                      <a:pt x="98" y="47"/>
                      <a:pt x="98" y="47"/>
                    </a:cubicBezTo>
                    <a:cubicBezTo>
                      <a:pt x="99" y="47"/>
                      <a:pt x="100" y="47"/>
                      <a:pt x="101" y="47"/>
                    </a:cubicBezTo>
                    <a:cubicBezTo>
                      <a:pt x="101" y="46"/>
                      <a:pt x="101" y="46"/>
                      <a:pt x="102" y="46"/>
                    </a:cubicBezTo>
                    <a:cubicBezTo>
                      <a:pt x="102" y="46"/>
                      <a:pt x="102" y="46"/>
                      <a:pt x="103" y="45"/>
                    </a:cubicBezTo>
                    <a:cubicBezTo>
                      <a:pt x="103" y="44"/>
                      <a:pt x="104" y="43"/>
                      <a:pt x="105" y="43"/>
                    </a:cubicBezTo>
                    <a:cubicBezTo>
                      <a:pt x="106" y="43"/>
                      <a:pt x="106" y="43"/>
                      <a:pt x="107" y="42"/>
                    </a:cubicBezTo>
                    <a:cubicBezTo>
                      <a:pt x="107" y="42"/>
                      <a:pt x="108" y="42"/>
                      <a:pt x="108" y="42"/>
                    </a:cubicBezTo>
                    <a:cubicBezTo>
                      <a:pt x="109" y="42"/>
                      <a:pt x="110" y="42"/>
                      <a:pt x="112" y="42"/>
                    </a:cubicBezTo>
                    <a:cubicBezTo>
                      <a:pt x="112" y="42"/>
                      <a:pt x="112" y="42"/>
                      <a:pt x="112" y="42"/>
                    </a:cubicBezTo>
                    <a:cubicBezTo>
                      <a:pt x="113" y="42"/>
                      <a:pt x="114" y="42"/>
                      <a:pt x="116" y="42"/>
                    </a:cubicBezTo>
                    <a:cubicBezTo>
                      <a:pt x="116" y="42"/>
                      <a:pt x="117" y="43"/>
                      <a:pt x="117" y="43"/>
                    </a:cubicBezTo>
                    <a:cubicBezTo>
                      <a:pt x="118" y="43"/>
                      <a:pt x="119" y="43"/>
                      <a:pt x="120" y="43"/>
                    </a:cubicBezTo>
                    <a:cubicBezTo>
                      <a:pt x="120" y="42"/>
                      <a:pt x="120" y="42"/>
                      <a:pt x="120" y="42"/>
                    </a:cubicBezTo>
                    <a:cubicBezTo>
                      <a:pt x="121" y="40"/>
                      <a:pt x="121" y="40"/>
                      <a:pt x="121" y="40"/>
                    </a:cubicBezTo>
                    <a:cubicBezTo>
                      <a:pt x="122" y="40"/>
                      <a:pt x="122" y="40"/>
                      <a:pt x="122" y="40"/>
                    </a:cubicBezTo>
                    <a:cubicBezTo>
                      <a:pt x="121" y="39"/>
                      <a:pt x="121" y="39"/>
                      <a:pt x="121" y="39"/>
                    </a:cubicBezTo>
                    <a:cubicBezTo>
                      <a:pt x="120" y="38"/>
                      <a:pt x="120" y="38"/>
                      <a:pt x="119" y="37"/>
                    </a:cubicBezTo>
                    <a:cubicBezTo>
                      <a:pt x="115" y="27"/>
                      <a:pt x="115" y="27"/>
                      <a:pt x="115" y="27"/>
                    </a:cubicBezTo>
                    <a:cubicBezTo>
                      <a:pt x="115" y="26"/>
                      <a:pt x="115" y="26"/>
                      <a:pt x="115" y="25"/>
                    </a:cubicBezTo>
                    <a:cubicBezTo>
                      <a:pt x="115" y="25"/>
                      <a:pt x="115" y="24"/>
                      <a:pt x="115" y="24"/>
                    </a:cubicBezTo>
                    <a:cubicBezTo>
                      <a:pt x="116" y="23"/>
                      <a:pt x="116" y="22"/>
                      <a:pt x="116" y="21"/>
                    </a:cubicBezTo>
                    <a:cubicBezTo>
                      <a:pt x="115" y="19"/>
                      <a:pt x="115" y="19"/>
                      <a:pt x="115" y="19"/>
                    </a:cubicBezTo>
                    <a:cubicBezTo>
                      <a:pt x="115" y="18"/>
                      <a:pt x="115" y="18"/>
                      <a:pt x="115" y="18"/>
                    </a:cubicBezTo>
                    <a:cubicBezTo>
                      <a:pt x="115" y="17"/>
                      <a:pt x="115" y="17"/>
                      <a:pt x="115" y="17"/>
                    </a:cubicBezTo>
                    <a:cubicBezTo>
                      <a:pt x="115" y="17"/>
                      <a:pt x="115" y="17"/>
                      <a:pt x="114" y="16"/>
                    </a:cubicBezTo>
                    <a:cubicBezTo>
                      <a:pt x="114" y="16"/>
                      <a:pt x="114" y="15"/>
                      <a:pt x="114" y="15"/>
                    </a:cubicBezTo>
                    <a:cubicBezTo>
                      <a:pt x="114" y="15"/>
                      <a:pt x="114" y="14"/>
                      <a:pt x="114" y="14"/>
                    </a:cubicBezTo>
                    <a:cubicBezTo>
                      <a:pt x="113" y="15"/>
                      <a:pt x="113" y="15"/>
                      <a:pt x="113" y="15"/>
                    </a:cubicBezTo>
                    <a:cubicBezTo>
                      <a:pt x="114" y="14"/>
                      <a:pt x="114" y="14"/>
                      <a:pt x="114" y="14"/>
                    </a:cubicBezTo>
                    <a:cubicBezTo>
                      <a:pt x="114" y="14"/>
                      <a:pt x="114" y="14"/>
                      <a:pt x="114" y="14"/>
                    </a:cubicBezTo>
                    <a:cubicBezTo>
                      <a:pt x="113" y="13"/>
                      <a:pt x="113" y="13"/>
                      <a:pt x="113" y="13"/>
                    </a:cubicBezTo>
                    <a:cubicBezTo>
                      <a:pt x="112" y="12"/>
                      <a:pt x="112" y="12"/>
                      <a:pt x="112" y="12"/>
                    </a:cubicBezTo>
                    <a:cubicBezTo>
                      <a:pt x="112" y="12"/>
                      <a:pt x="112" y="12"/>
                      <a:pt x="112" y="12"/>
                    </a:cubicBezTo>
                    <a:cubicBezTo>
                      <a:pt x="111" y="12"/>
                      <a:pt x="111" y="12"/>
                      <a:pt x="111" y="11"/>
                    </a:cubicBezTo>
                    <a:cubicBezTo>
                      <a:pt x="111" y="11"/>
                      <a:pt x="111" y="11"/>
                      <a:pt x="111" y="11"/>
                    </a:cubicBezTo>
                    <a:cubicBezTo>
                      <a:pt x="111" y="11"/>
                      <a:pt x="111" y="11"/>
                      <a:pt x="111" y="11"/>
                    </a:cubicBezTo>
                    <a:cubicBezTo>
                      <a:pt x="110" y="10"/>
                      <a:pt x="110" y="10"/>
                      <a:pt x="110" y="10"/>
                    </a:cubicBezTo>
                    <a:cubicBezTo>
                      <a:pt x="110" y="10"/>
                      <a:pt x="110" y="10"/>
                      <a:pt x="110" y="10"/>
                    </a:cubicBezTo>
                    <a:cubicBezTo>
                      <a:pt x="110" y="9"/>
                      <a:pt x="110" y="9"/>
                      <a:pt x="110" y="9"/>
                    </a:cubicBezTo>
                    <a:cubicBezTo>
                      <a:pt x="109" y="9"/>
                      <a:pt x="107" y="8"/>
                      <a:pt x="104" y="8"/>
                    </a:cubicBezTo>
                    <a:cubicBezTo>
                      <a:pt x="105" y="8"/>
                      <a:pt x="105" y="9"/>
                      <a:pt x="105" y="9"/>
                    </a:cubicBezTo>
                    <a:cubicBezTo>
                      <a:pt x="104" y="9"/>
                      <a:pt x="104" y="9"/>
                      <a:pt x="104" y="8"/>
                    </a:cubicBezTo>
                    <a:cubicBezTo>
                      <a:pt x="104" y="6"/>
                      <a:pt x="104" y="6"/>
                      <a:pt x="102" y="6"/>
                    </a:cubicBezTo>
                    <a:cubicBezTo>
                      <a:pt x="99" y="7"/>
                      <a:pt x="97" y="8"/>
                      <a:pt x="94" y="8"/>
                    </a:cubicBezTo>
                    <a:cubicBezTo>
                      <a:pt x="92" y="9"/>
                      <a:pt x="90" y="9"/>
                      <a:pt x="88" y="9"/>
                    </a:cubicBezTo>
                    <a:cubicBezTo>
                      <a:pt x="87" y="9"/>
                      <a:pt x="85" y="7"/>
                      <a:pt x="84" y="7"/>
                    </a:cubicBezTo>
                    <a:cubicBezTo>
                      <a:pt x="83" y="6"/>
                      <a:pt x="82" y="6"/>
                      <a:pt x="81" y="4"/>
                    </a:cubicBezTo>
                    <a:cubicBezTo>
                      <a:pt x="81" y="3"/>
                      <a:pt x="80" y="2"/>
                      <a:pt x="79" y="1"/>
                    </a:cubicBezTo>
                    <a:cubicBezTo>
                      <a:pt x="79" y="1"/>
                      <a:pt x="79" y="1"/>
                      <a:pt x="79" y="1"/>
                    </a:cubicBezTo>
                    <a:cubicBezTo>
                      <a:pt x="80" y="1"/>
                      <a:pt x="80" y="1"/>
                      <a:pt x="80" y="0"/>
                    </a:cubicBezTo>
                    <a:cubicBezTo>
                      <a:pt x="80" y="0"/>
                      <a:pt x="79" y="0"/>
                      <a:pt x="79" y="0"/>
                    </a:cubicBezTo>
                    <a:cubicBezTo>
                      <a:pt x="77" y="1"/>
                      <a:pt x="74" y="1"/>
                      <a:pt x="73" y="2"/>
                    </a:cubicBezTo>
                    <a:cubicBezTo>
                      <a:pt x="72" y="4"/>
                      <a:pt x="72" y="6"/>
                      <a:pt x="71" y="8"/>
                    </a:cubicBezTo>
                    <a:cubicBezTo>
                      <a:pt x="69" y="13"/>
                      <a:pt x="67" y="16"/>
                      <a:pt x="65" y="20"/>
                    </a:cubicBezTo>
                    <a:cubicBezTo>
                      <a:pt x="64" y="22"/>
                      <a:pt x="61" y="24"/>
                      <a:pt x="59" y="25"/>
                    </a:cubicBezTo>
                    <a:cubicBezTo>
                      <a:pt x="59" y="25"/>
                      <a:pt x="59" y="25"/>
                      <a:pt x="58" y="26"/>
                    </a:cubicBezTo>
                    <a:cubicBezTo>
                      <a:pt x="54" y="28"/>
                      <a:pt x="54" y="28"/>
                      <a:pt x="54" y="28"/>
                    </a:cubicBezTo>
                    <a:cubicBezTo>
                      <a:pt x="53" y="28"/>
                      <a:pt x="53" y="28"/>
                      <a:pt x="52" y="28"/>
                    </a:cubicBezTo>
                    <a:cubicBezTo>
                      <a:pt x="50" y="29"/>
                      <a:pt x="48" y="30"/>
                      <a:pt x="46" y="31"/>
                    </a:cubicBezTo>
                    <a:cubicBezTo>
                      <a:pt x="45" y="33"/>
                      <a:pt x="43" y="35"/>
                      <a:pt x="41" y="37"/>
                    </a:cubicBezTo>
                    <a:cubicBezTo>
                      <a:pt x="41" y="37"/>
                      <a:pt x="40" y="38"/>
                      <a:pt x="39" y="39"/>
                    </a:cubicBezTo>
                    <a:cubicBezTo>
                      <a:pt x="39" y="40"/>
                      <a:pt x="39" y="41"/>
                      <a:pt x="38" y="42"/>
                    </a:cubicBezTo>
                    <a:cubicBezTo>
                      <a:pt x="38" y="45"/>
                      <a:pt x="36" y="47"/>
                      <a:pt x="34" y="50"/>
                    </a:cubicBezTo>
                    <a:cubicBezTo>
                      <a:pt x="33" y="52"/>
                      <a:pt x="34" y="52"/>
                      <a:pt x="34" y="53"/>
                    </a:cubicBezTo>
                    <a:cubicBezTo>
                      <a:pt x="34" y="55"/>
                      <a:pt x="33" y="56"/>
                      <a:pt x="34" y="57"/>
                    </a:cubicBezTo>
                    <a:cubicBezTo>
                      <a:pt x="34" y="58"/>
                      <a:pt x="33" y="60"/>
                      <a:pt x="33" y="61"/>
                    </a:cubicBezTo>
                    <a:cubicBezTo>
                      <a:pt x="33" y="61"/>
                      <a:pt x="33" y="61"/>
                      <a:pt x="34" y="61"/>
                    </a:cubicBezTo>
                    <a:cubicBezTo>
                      <a:pt x="35" y="62"/>
                      <a:pt x="36" y="63"/>
                      <a:pt x="36" y="64"/>
                    </a:cubicBezTo>
                    <a:cubicBezTo>
                      <a:pt x="36" y="65"/>
                      <a:pt x="35" y="66"/>
                      <a:pt x="35" y="66"/>
                    </a:cubicBezTo>
                    <a:cubicBezTo>
                      <a:pt x="34" y="70"/>
                      <a:pt x="30" y="74"/>
                      <a:pt x="28" y="77"/>
                    </a:cubicBezTo>
                    <a:cubicBezTo>
                      <a:pt x="26" y="79"/>
                      <a:pt x="23" y="80"/>
                      <a:pt x="21" y="82"/>
                    </a:cubicBezTo>
                    <a:cubicBezTo>
                      <a:pt x="18" y="84"/>
                      <a:pt x="16" y="85"/>
                      <a:pt x="14" y="87"/>
                    </a:cubicBezTo>
                    <a:cubicBezTo>
                      <a:pt x="13" y="88"/>
                      <a:pt x="12" y="88"/>
                      <a:pt x="11" y="88"/>
                    </a:cubicBezTo>
                    <a:cubicBezTo>
                      <a:pt x="9" y="89"/>
                      <a:pt x="7" y="89"/>
                      <a:pt x="5" y="90"/>
                    </a:cubicBezTo>
                    <a:cubicBezTo>
                      <a:pt x="4" y="90"/>
                      <a:pt x="2" y="90"/>
                      <a:pt x="1" y="91"/>
                    </a:cubicBezTo>
                    <a:cubicBezTo>
                      <a:pt x="1" y="91"/>
                      <a:pt x="1" y="92"/>
                      <a:pt x="0" y="92"/>
                    </a:cubicBezTo>
                    <a:lnTo>
                      <a:pt x="4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6" name="Freeform 3038">
                <a:extLst>
                  <a:ext uri="{FF2B5EF4-FFF2-40B4-BE49-F238E27FC236}">
                    <a16:creationId xmlns:a16="http://schemas.microsoft.com/office/drawing/2014/main" id="{AE43C529-DEF5-48C1-A923-099830DCD540}"/>
                  </a:ext>
                </a:extLst>
              </p:cNvPr>
              <p:cNvSpPr>
                <a:spLocks/>
              </p:cNvSpPr>
              <p:nvPr/>
            </p:nvSpPr>
            <p:spPr bwMode="auto">
              <a:xfrm>
                <a:off x="3138" y="2095"/>
                <a:ext cx="198" cy="158"/>
              </a:xfrm>
              <a:custGeom>
                <a:avLst/>
                <a:gdLst>
                  <a:gd name="T0" fmla="*/ 1 w 84"/>
                  <a:gd name="T1" fmla="*/ 66 h 67"/>
                  <a:gd name="T2" fmla="*/ 3 w 84"/>
                  <a:gd name="T3" fmla="*/ 66 h 67"/>
                  <a:gd name="T4" fmla="*/ 3 w 84"/>
                  <a:gd name="T5" fmla="*/ 66 h 67"/>
                  <a:gd name="T6" fmla="*/ 3 w 84"/>
                  <a:gd name="T7" fmla="*/ 66 h 67"/>
                  <a:gd name="T8" fmla="*/ 6 w 84"/>
                  <a:gd name="T9" fmla="*/ 66 h 67"/>
                  <a:gd name="T10" fmla="*/ 17 w 84"/>
                  <a:gd name="T11" fmla="*/ 66 h 67"/>
                  <a:gd name="T12" fmla="*/ 40 w 84"/>
                  <a:gd name="T13" fmla="*/ 66 h 67"/>
                  <a:gd name="T14" fmla="*/ 40 w 84"/>
                  <a:gd name="T15" fmla="*/ 64 h 67"/>
                  <a:gd name="T16" fmla="*/ 40 w 84"/>
                  <a:gd name="T17" fmla="*/ 64 h 67"/>
                  <a:gd name="T18" fmla="*/ 40 w 84"/>
                  <a:gd name="T19" fmla="*/ 63 h 67"/>
                  <a:gd name="T20" fmla="*/ 39 w 84"/>
                  <a:gd name="T21" fmla="*/ 57 h 67"/>
                  <a:gd name="T22" fmla="*/ 39 w 84"/>
                  <a:gd name="T23" fmla="*/ 55 h 67"/>
                  <a:gd name="T24" fmla="*/ 39 w 84"/>
                  <a:gd name="T25" fmla="*/ 54 h 67"/>
                  <a:gd name="T26" fmla="*/ 39 w 84"/>
                  <a:gd name="T27" fmla="*/ 54 h 67"/>
                  <a:gd name="T28" fmla="*/ 39 w 84"/>
                  <a:gd name="T29" fmla="*/ 50 h 67"/>
                  <a:gd name="T30" fmla="*/ 43 w 84"/>
                  <a:gd name="T31" fmla="*/ 46 h 67"/>
                  <a:gd name="T32" fmla="*/ 44 w 84"/>
                  <a:gd name="T33" fmla="*/ 46 h 67"/>
                  <a:gd name="T34" fmla="*/ 45 w 84"/>
                  <a:gd name="T35" fmla="*/ 45 h 67"/>
                  <a:gd name="T36" fmla="*/ 46 w 84"/>
                  <a:gd name="T37" fmla="*/ 45 h 67"/>
                  <a:gd name="T38" fmla="*/ 48 w 84"/>
                  <a:gd name="T39" fmla="*/ 44 h 67"/>
                  <a:gd name="T40" fmla="*/ 49 w 84"/>
                  <a:gd name="T41" fmla="*/ 44 h 67"/>
                  <a:gd name="T42" fmla="*/ 49 w 84"/>
                  <a:gd name="T43" fmla="*/ 44 h 67"/>
                  <a:gd name="T44" fmla="*/ 50 w 84"/>
                  <a:gd name="T45" fmla="*/ 44 h 67"/>
                  <a:gd name="T46" fmla="*/ 50 w 84"/>
                  <a:gd name="T47" fmla="*/ 40 h 67"/>
                  <a:gd name="T48" fmla="*/ 50 w 84"/>
                  <a:gd name="T49" fmla="*/ 40 h 67"/>
                  <a:gd name="T50" fmla="*/ 50 w 84"/>
                  <a:gd name="T51" fmla="*/ 38 h 67"/>
                  <a:gd name="T52" fmla="*/ 50 w 84"/>
                  <a:gd name="T53" fmla="*/ 18 h 67"/>
                  <a:gd name="T54" fmla="*/ 51 w 84"/>
                  <a:gd name="T55" fmla="*/ 16 h 67"/>
                  <a:gd name="T56" fmla="*/ 51 w 84"/>
                  <a:gd name="T57" fmla="*/ 16 h 67"/>
                  <a:gd name="T58" fmla="*/ 53 w 84"/>
                  <a:gd name="T59" fmla="*/ 15 h 67"/>
                  <a:gd name="T60" fmla="*/ 53 w 84"/>
                  <a:gd name="T61" fmla="*/ 15 h 67"/>
                  <a:gd name="T62" fmla="*/ 54 w 84"/>
                  <a:gd name="T63" fmla="*/ 16 h 67"/>
                  <a:gd name="T64" fmla="*/ 84 w 84"/>
                  <a:gd name="T65" fmla="*/ 15 h 67"/>
                  <a:gd name="T66" fmla="*/ 84 w 84"/>
                  <a:gd name="T67" fmla="*/ 13 h 67"/>
                  <a:gd name="T68" fmla="*/ 84 w 84"/>
                  <a:gd name="T69" fmla="*/ 13 h 67"/>
                  <a:gd name="T70" fmla="*/ 84 w 84"/>
                  <a:gd name="T71" fmla="*/ 12 h 67"/>
                  <a:gd name="T72" fmla="*/ 84 w 84"/>
                  <a:gd name="T73" fmla="*/ 0 h 67"/>
                  <a:gd name="T74" fmla="*/ 84 w 84"/>
                  <a:gd name="T75" fmla="*/ 0 h 67"/>
                  <a:gd name="T76" fmla="*/ 84 w 84"/>
                  <a:gd name="T77" fmla="*/ 0 h 67"/>
                  <a:gd name="T78" fmla="*/ 39 w 84"/>
                  <a:gd name="T79" fmla="*/ 0 h 67"/>
                  <a:gd name="T80" fmla="*/ 34 w 84"/>
                  <a:gd name="T81" fmla="*/ 10 h 67"/>
                  <a:gd name="T82" fmla="*/ 28 w 84"/>
                  <a:gd name="T83" fmla="*/ 13 h 67"/>
                  <a:gd name="T84" fmla="*/ 26 w 84"/>
                  <a:gd name="T85" fmla="*/ 15 h 67"/>
                  <a:gd name="T86" fmla="*/ 23 w 84"/>
                  <a:gd name="T87" fmla="*/ 22 h 67"/>
                  <a:gd name="T88" fmla="*/ 21 w 84"/>
                  <a:gd name="T89" fmla="*/ 31 h 67"/>
                  <a:gd name="T90" fmla="*/ 18 w 84"/>
                  <a:gd name="T91" fmla="*/ 34 h 67"/>
                  <a:gd name="T92" fmla="*/ 16 w 84"/>
                  <a:gd name="T93" fmla="*/ 37 h 67"/>
                  <a:gd name="T94" fmla="*/ 12 w 84"/>
                  <a:gd name="T95" fmla="*/ 42 h 67"/>
                  <a:gd name="T96" fmla="*/ 8 w 84"/>
                  <a:gd name="T97" fmla="*/ 49 h 67"/>
                  <a:gd name="T98" fmla="*/ 6 w 84"/>
                  <a:gd name="T99" fmla="*/ 54 h 67"/>
                  <a:gd name="T100" fmla="*/ 5 w 84"/>
                  <a:gd name="T101" fmla="*/ 57 h 67"/>
                  <a:gd name="T102" fmla="*/ 3 w 84"/>
                  <a:gd name="T103" fmla="*/ 58 h 67"/>
                  <a:gd name="T104" fmla="*/ 1 w 84"/>
                  <a:gd name="T105" fmla="*/ 62 h 67"/>
                  <a:gd name="T106" fmla="*/ 0 w 84"/>
                  <a:gd name="T107" fmla="*/ 65 h 67"/>
                  <a:gd name="T108" fmla="*/ 0 w 84"/>
                  <a:gd name="T109" fmla="*/ 67 h 67"/>
                  <a:gd name="T110" fmla="*/ 1 w 84"/>
                  <a:gd name="T111" fmla="*/ 6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67">
                    <a:moveTo>
                      <a:pt x="1" y="66"/>
                    </a:moveTo>
                    <a:cubicBezTo>
                      <a:pt x="2" y="66"/>
                      <a:pt x="2" y="66"/>
                      <a:pt x="3" y="66"/>
                    </a:cubicBezTo>
                    <a:cubicBezTo>
                      <a:pt x="3" y="66"/>
                      <a:pt x="3" y="66"/>
                      <a:pt x="3" y="66"/>
                    </a:cubicBezTo>
                    <a:cubicBezTo>
                      <a:pt x="3" y="66"/>
                      <a:pt x="3" y="66"/>
                      <a:pt x="3" y="66"/>
                    </a:cubicBezTo>
                    <a:cubicBezTo>
                      <a:pt x="4" y="66"/>
                      <a:pt x="5" y="66"/>
                      <a:pt x="6" y="66"/>
                    </a:cubicBezTo>
                    <a:cubicBezTo>
                      <a:pt x="17" y="66"/>
                      <a:pt x="17" y="66"/>
                      <a:pt x="17" y="66"/>
                    </a:cubicBezTo>
                    <a:cubicBezTo>
                      <a:pt x="25" y="66"/>
                      <a:pt x="32" y="66"/>
                      <a:pt x="40" y="66"/>
                    </a:cubicBezTo>
                    <a:cubicBezTo>
                      <a:pt x="40" y="66"/>
                      <a:pt x="40" y="65"/>
                      <a:pt x="40" y="64"/>
                    </a:cubicBezTo>
                    <a:cubicBezTo>
                      <a:pt x="40" y="64"/>
                      <a:pt x="40" y="64"/>
                      <a:pt x="40" y="64"/>
                    </a:cubicBezTo>
                    <a:cubicBezTo>
                      <a:pt x="40" y="64"/>
                      <a:pt x="40" y="64"/>
                      <a:pt x="40" y="63"/>
                    </a:cubicBezTo>
                    <a:cubicBezTo>
                      <a:pt x="39" y="57"/>
                      <a:pt x="39" y="57"/>
                      <a:pt x="39" y="57"/>
                    </a:cubicBezTo>
                    <a:cubicBezTo>
                      <a:pt x="39" y="56"/>
                      <a:pt x="39" y="55"/>
                      <a:pt x="39" y="55"/>
                    </a:cubicBezTo>
                    <a:cubicBezTo>
                      <a:pt x="39" y="54"/>
                      <a:pt x="39" y="54"/>
                      <a:pt x="39" y="54"/>
                    </a:cubicBezTo>
                    <a:cubicBezTo>
                      <a:pt x="39" y="54"/>
                      <a:pt x="39" y="54"/>
                      <a:pt x="39" y="54"/>
                    </a:cubicBezTo>
                    <a:cubicBezTo>
                      <a:pt x="38" y="52"/>
                      <a:pt x="39" y="51"/>
                      <a:pt x="39" y="50"/>
                    </a:cubicBezTo>
                    <a:cubicBezTo>
                      <a:pt x="41" y="48"/>
                      <a:pt x="42" y="47"/>
                      <a:pt x="43" y="46"/>
                    </a:cubicBezTo>
                    <a:cubicBezTo>
                      <a:pt x="43" y="46"/>
                      <a:pt x="44" y="46"/>
                      <a:pt x="44" y="46"/>
                    </a:cubicBezTo>
                    <a:cubicBezTo>
                      <a:pt x="44" y="45"/>
                      <a:pt x="44" y="45"/>
                      <a:pt x="45" y="45"/>
                    </a:cubicBezTo>
                    <a:cubicBezTo>
                      <a:pt x="45" y="45"/>
                      <a:pt x="46" y="45"/>
                      <a:pt x="46" y="45"/>
                    </a:cubicBezTo>
                    <a:cubicBezTo>
                      <a:pt x="47" y="45"/>
                      <a:pt x="47" y="45"/>
                      <a:pt x="48" y="44"/>
                    </a:cubicBezTo>
                    <a:cubicBezTo>
                      <a:pt x="49" y="44"/>
                      <a:pt x="49" y="44"/>
                      <a:pt x="49" y="44"/>
                    </a:cubicBezTo>
                    <a:cubicBezTo>
                      <a:pt x="49" y="44"/>
                      <a:pt x="49" y="44"/>
                      <a:pt x="49" y="44"/>
                    </a:cubicBezTo>
                    <a:cubicBezTo>
                      <a:pt x="50" y="44"/>
                      <a:pt x="50" y="44"/>
                      <a:pt x="50" y="44"/>
                    </a:cubicBezTo>
                    <a:cubicBezTo>
                      <a:pt x="50" y="43"/>
                      <a:pt x="50" y="41"/>
                      <a:pt x="50" y="40"/>
                    </a:cubicBezTo>
                    <a:cubicBezTo>
                      <a:pt x="50" y="40"/>
                      <a:pt x="50" y="40"/>
                      <a:pt x="50" y="40"/>
                    </a:cubicBezTo>
                    <a:cubicBezTo>
                      <a:pt x="50" y="39"/>
                      <a:pt x="50" y="39"/>
                      <a:pt x="50" y="38"/>
                    </a:cubicBezTo>
                    <a:cubicBezTo>
                      <a:pt x="50" y="18"/>
                      <a:pt x="50" y="18"/>
                      <a:pt x="50" y="18"/>
                    </a:cubicBezTo>
                    <a:cubicBezTo>
                      <a:pt x="50" y="17"/>
                      <a:pt x="50" y="16"/>
                      <a:pt x="51" y="16"/>
                    </a:cubicBezTo>
                    <a:cubicBezTo>
                      <a:pt x="51" y="16"/>
                      <a:pt x="51" y="16"/>
                      <a:pt x="51" y="16"/>
                    </a:cubicBezTo>
                    <a:cubicBezTo>
                      <a:pt x="52" y="16"/>
                      <a:pt x="52" y="15"/>
                      <a:pt x="53" y="15"/>
                    </a:cubicBezTo>
                    <a:cubicBezTo>
                      <a:pt x="53" y="15"/>
                      <a:pt x="53" y="15"/>
                      <a:pt x="53" y="15"/>
                    </a:cubicBezTo>
                    <a:cubicBezTo>
                      <a:pt x="53" y="16"/>
                      <a:pt x="53" y="16"/>
                      <a:pt x="54" y="16"/>
                    </a:cubicBezTo>
                    <a:cubicBezTo>
                      <a:pt x="84" y="15"/>
                      <a:pt x="84" y="15"/>
                      <a:pt x="84" y="15"/>
                    </a:cubicBezTo>
                    <a:cubicBezTo>
                      <a:pt x="84" y="15"/>
                      <a:pt x="84" y="14"/>
                      <a:pt x="84" y="13"/>
                    </a:cubicBezTo>
                    <a:cubicBezTo>
                      <a:pt x="84" y="13"/>
                      <a:pt x="84" y="13"/>
                      <a:pt x="84" y="13"/>
                    </a:cubicBezTo>
                    <a:cubicBezTo>
                      <a:pt x="84" y="13"/>
                      <a:pt x="84" y="12"/>
                      <a:pt x="84" y="12"/>
                    </a:cubicBezTo>
                    <a:cubicBezTo>
                      <a:pt x="84" y="0"/>
                      <a:pt x="84" y="0"/>
                      <a:pt x="84" y="0"/>
                    </a:cubicBezTo>
                    <a:cubicBezTo>
                      <a:pt x="84" y="0"/>
                      <a:pt x="84" y="0"/>
                      <a:pt x="84" y="0"/>
                    </a:cubicBezTo>
                    <a:cubicBezTo>
                      <a:pt x="84" y="0"/>
                      <a:pt x="84" y="0"/>
                      <a:pt x="84" y="0"/>
                    </a:cubicBezTo>
                    <a:cubicBezTo>
                      <a:pt x="39" y="0"/>
                      <a:pt x="39" y="0"/>
                      <a:pt x="39" y="0"/>
                    </a:cubicBezTo>
                    <a:cubicBezTo>
                      <a:pt x="38" y="3"/>
                      <a:pt x="37" y="8"/>
                      <a:pt x="34" y="10"/>
                    </a:cubicBezTo>
                    <a:cubicBezTo>
                      <a:pt x="32" y="11"/>
                      <a:pt x="30" y="12"/>
                      <a:pt x="28" y="13"/>
                    </a:cubicBezTo>
                    <a:cubicBezTo>
                      <a:pt x="27" y="14"/>
                      <a:pt x="26" y="14"/>
                      <a:pt x="26" y="15"/>
                    </a:cubicBezTo>
                    <a:cubicBezTo>
                      <a:pt x="26" y="18"/>
                      <a:pt x="24" y="20"/>
                      <a:pt x="23" y="22"/>
                    </a:cubicBezTo>
                    <a:cubicBezTo>
                      <a:pt x="22" y="25"/>
                      <a:pt x="23" y="29"/>
                      <a:pt x="21" y="31"/>
                    </a:cubicBezTo>
                    <a:cubicBezTo>
                      <a:pt x="20" y="33"/>
                      <a:pt x="19" y="33"/>
                      <a:pt x="18" y="34"/>
                    </a:cubicBezTo>
                    <a:cubicBezTo>
                      <a:pt x="18" y="35"/>
                      <a:pt x="17" y="36"/>
                      <a:pt x="16" y="37"/>
                    </a:cubicBezTo>
                    <a:cubicBezTo>
                      <a:pt x="14" y="38"/>
                      <a:pt x="13" y="40"/>
                      <a:pt x="12" y="42"/>
                    </a:cubicBezTo>
                    <a:cubicBezTo>
                      <a:pt x="10" y="44"/>
                      <a:pt x="9" y="47"/>
                      <a:pt x="8" y="49"/>
                    </a:cubicBezTo>
                    <a:cubicBezTo>
                      <a:pt x="8" y="51"/>
                      <a:pt x="7" y="52"/>
                      <a:pt x="6" y="54"/>
                    </a:cubicBezTo>
                    <a:cubicBezTo>
                      <a:pt x="6" y="55"/>
                      <a:pt x="6" y="56"/>
                      <a:pt x="5" y="57"/>
                    </a:cubicBezTo>
                    <a:cubicBezTo>
                      <a:pt x="5" y="57"/>
                      <a:pt x="4" y="58"/>
                      <a:pt x="3" y="58"/>
                    </a:cubicBezTo>
                    <a:cubicBezTo>
                      <a:pt x="2" y="59"/>
                      <a:pt x="1" y="60"/>
                      <a:pt x="1" y="62"/>
                    </a:cubicBezTo>
                    <a:cubicBezTo>
                      <a:pt x="0" y="63"/>
                      <a:pt x="1" y="64"/>
                      <a:pt x="0" y="65"/>
                    </a:cubicBezTo>
                    <a:cubicBezTo>
                      <a:pt x="0" y="66"/>
                      <a:pt x="0" y="66"/>
                      <a:pt x="0" y="67"/>
                    </a:cubicBezTo>
                    <a:cubicBezTo>
                      <a:pt x="0" y="66"/>
                      <a:pt x="1" y="66"/>
                      <a:pt x="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7" name="Freeform 3039">
                <a:extLst>
                  <a:ext uri="{FF2B5EF4-FFF2-40B4-BE49-F238E27FC236}">
                    <a16:creationId xmlns:a16="http://schemas.microsoft.com/office/drawing/2014/main" id="{01F6189C-3FE9-48B4-BF11-B99D3867A26A}"/>
                  </a:ext>
                </a:extLst>
              </p:cNvPr>
              <p:cNvSpPr>
                <a:spLocks/>
              </p:cNvSpPr>
              <p:nvPr/>
            </p:nvSpPr>
            <p:spPr bwMode="auto">
              <a:xfrm>
                <a:off x="3140" y="2107"/>
                <a:ext cx="281" cy="307"/>
              </a:xfrm>
              <a:custGeom>
                <a:avLst/>
                <a:gdLst>
                  <a:gd name="T0" fmla="*/ 6 w 119"/>
                  <a:gd name="T1" fmla="*/ 72 h 130"/>
                  <a:gd name="T2" fmla="*/ 7 w 119"/>
                  <a:gd name="T3" fmla="*/ 76 h 130"/>
                  <a:gd name="T4" fmla="*/ 6 w 119"/>
                  <a:gd name="T5" fmla="*/ 80 h 130"/>
                  <a:gd name="T6" fmla="*/ 5 w 119"/>
                  <a:gd name="T7" fmla="*/ 83 h 130"/>
                  <a:gd name="T8" fmla="*/ 8 w 119"/>
                  <a:gd name="T9" fmla="*/ 105 h 130"/>
                  <a:gd name="T10" fmla="*/ 7 w 119"/>
                  <a:gd name="T11" fmla="*/ 112 h 130"/>
                  <a:gd name="T12" fmla="*/ 12 w 119"/>
                  <a:gd name="T13" fmla="*/ 112 h 130"/>
                  <a:gd name="T14" fmla="*/ 17 w 119"/>
                  <a:gd name="T15" fmla="*/ 111 h 130"/>
                  <a:gd name="T16" fmla="*/ 24 w 119"/>
                  <a:gd name="T17" fmla="*/ 111 h 130"/>
                  <a:gd name="T18" fmla="*/ 29 w 119"/>
                  <a:gd name="T19" fmla="*/ 113 h 130"/>
                  <a:gd name="T20" fmla="*/ 32 w 119"/>
                  <a:gd name="T21" fmla="*/ 116 h 130"/>
                  <a:gd name="T22" fmla="*/ 33 w 119"/>
                  <a:gd name="T23" fmla="*/ 116 h 130"/>
                  <a:gd name="T24" fmla="*/ 35 w 119"/>
                  <a:gd name="T25" fmla="*/ 116 h 130"/>
                  <a:gd name="T26" fmla="*/ 37 w 119"/>
                  <a:gd name="T27" fmla="*/ 118 h 130"/>
                  <a:gd name="T28" fmla="*/ 39 w 119"/>
                  <a:gd name="T29" fmla="*/ 122 h 130"/>
                  <a:gd name="T30" fmla="*/ 43 w 119"/>
                  <a:gd name="T31" fmla="*/ 125 h 130"/>
                  <a:gd name="T32" fmla="*/ 45 w 119"/>
                  <a:gd name="T33" fmla="*/ 127 h 130"/>
                  <a:gd name="T34" fmla="*/ 47 w 119"/>
                  <a:gd name="T35" fmla="*/ 129 h 130"/>
                  <a:gd name="T36" fmla="*/ 48 w 119"/>
                  <a:gd name="T37" fmla="*/ 130 h 130"/>
                  <a:gd name="T38" fmla="*/ 49 w 119"/>
                  <a:gd name="T39" fmla="*/ 130 h 130"/>
                  <a:gd name="T40" fmla="*/ 51 w 119"/>
                  <a:gd name="T41" fmla="*/ 129 h 130"/>
                  <a:gd name="T42" fmla="*/ 52 w 119"/>
                  <a:gd name="T43" fmla="*/ 124 h 130"/>
                  <a:gd name="T44" fmla="*/ 55 w 119"/>
                  <a:gd name="T45" fmla="*/ 120 h 130"/>
                  <a:gd name="T46" fmla="*/ 62 w 119"/>
                  <a:gd name="T47" fmla="*/ 125 h 130"/>
                  <a:gd name="T48" fmla="*/ 64 w 119"/>
                  <a:gd name="T49" fmla="*/ 123 h 130"/>
                  <a:gd name="T50" fmla="*/ 76 w 119"/>
                  <a:gd name="T51" fmla="*/ 123 h 130"/>
                  <a:gd name="T52" fmla="*/ 76 w 119"/>
                  <a:gd name="T53" fmla="*/ 122 h 130"/>
                  <a:gd name="T54" fmla="*/ 76 w 119"/>
                  <a:gd name="T55" fmla="*/ 121 h 130"/>
                  <a:gd name="T56" fmla="*/ 78 w 119"/>
                  <a:gd name="T57" fmla="*/ 121 h 130"/>
                  <a:gd name="T58" fmla="*/ 79 w 119"/>
                  <a:gd name="T59" fmla="*/ 121 h 130"/>
                  <a:gd name="T60" fmla="*/ 80 w 119"/>
                  <a:gd name="T61" fmla="*/ 123 h 130"/>
                  <a:gd name="T62" fmla="*/ 81 w 119"/>
                  <a:gd name="T63" fmla="*/ 123 h 130"/>
                  <a:gd name="T64" fmla="*/ 83 w 119"/>
                  <a:gd name="T65" fmla="*/ 123 h 130"/>
                  <a:gd name="T66" fmla="*/ 113 w 119"/>
                  <a:gd name="T67" fmla="*/ 123 h 130"/>
                  <a:gd name="T68" fmla="*/ 115 w 119"/>
                  <a:gd name="T69" fmla="*/ 123 h 130"/>
                  <a:gd name="T70" fmla="*/ 116 w 119"/>
                  <a:gd name="T71" fmla="*/ 123 h 130"/>
                  <a:gd name="T72" fmla="*/ 116 w 119"/>
                  <a:gd name="T73" fmla="*/ 119 h 130"/>
                  <a:gd name="T74" fmla="*/ 117 w 119"/>
                  <a:gd name="T75" fmla="*/ 116 h 130"/>
                  <a:gd name="T76" fmla="*/ 116 w 119"/>
                  <a:gd name="T77" fmla="*/ 115 h 130"/>
                  <a:gd name="T78" fmla="*/ 109 w 119"/>
                  <a:gd name="T79" fmla="*/ 62 h 130"/>
                  <a:gd name="T80" fmla="*/ 104 w 119"/>
                  <a:gd name="T81" fmla="*/ 23 h 130"/>
                  <a:gd name="T82" fmla="*/ 113 w 119"/>
                  <a:gd name="T83" fmla="*/ 17 h 130"/>
                  <a:gd name="T84" fmla="*/ 103 w 119"/>
                  <a:gd name="T85" fmla="*/ 11 h 130"/>
                  <a:gd name="T86" fmla="*/ 86 w 119"/>
                  <a:gd name="T87" fmla="*/ 0 h 130"/>
                  <a:gd name="T88" fmla="*/ 86 w 119"/>
                  <a:gd name="T89" fmla="*/ 8 h 130"/>
                  <a:gd name="T90" fmla="*/ 84 w 119"/>
                  <a:gd name="T91" fmla="*/ 13 h 130"/>
                  <a:gd name="T92" fmla="*/ 52 w 119"/>
                  <a:gd name="T93" fmla="*/ 13 h 130"/>
                  <a:gd name="T94" fmla="*/ 52 w 119"/>
                  <a:gd name="T95" fmla="*/ 34 h 130"/>
                  <a:gd name="T96" fmla="*/ 51 w 119"/>
                  <a:gd name="T97" fmla="*/ 41 h 130"/>
                  <a:gd name="T98" fmla="*/ 46 w 119"/>
                  <a:gd name="T99" fmla="*/ 42 h 130"/>
                  <a:gd name="T100" fmla="*/ 44 w 119"/>
                  <a:gd name="T101" fmla="*/ 43 h 130"/>
                  <a:gd name="T102" fmla="*/ 40 w 119"/>
                  <a:gd name="T103" fmla="*/ 48 h 130"/>
                  <a:gd name="T104" fmla="*/ 41 w 119"/>
                  <a:gd name="T105" fmla="*/ 58 h 130"/>
                  <a:gd name="T106" fmla="*/ 41 w 119"/>
                  <a:gd name="T107" fmla="*/ 63 h 130"/>
                  <a:gd name="T108" fmla="*/ 6 w 119"/>
                  <a:gd name="T109" fmla="*/ 63 h 130"/>
                  <a:gd name="T110" fmla="*/ 1 w 119"/>
                  <a:gd name="T111" fmla="*/ 63 h 130"/>
                  <a:gd name="T112" fmla="*/ 5 w 119"/>
                  <a:gd name="T113" fmla="*/ 6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9" h="130">
                    <a:moveTo>
                      <a:pt x="5" y="69"/>
                    </a:moveTo>
                    <a:cubicBezTo>
                      <a:pt x="5" y="69"/>
                      <a:pt x="5" y="69"/>
                      <a:pt x="5" y="69"/>
                    </a:cubicBezTo>
                    <a:cubicBezTo>
                      <a:pt x="5" y="70"/>
                      <a:pt x="6" y="71"/>
                      <a:pt x="6" y="72"/>
                    </a:cubicBezTo>
                    <a:cubicBezTo>
                      <a:pt x="7" y="73"/>
                      <a:pt x="7" y="73"/>
                      <a:pt x="7" y="74"/>
                    </a:cubicBezTo>
                    <a:cubicBezTo>
                      <a:pt x="7" y="74"/>
                      <a:pt x="7" y="75"/>
                      <a:pt x="7" y="75"/>
                    </a:cubicBezTo>
                    <a:cubicBezTo>
                      <a:pt x="7" y="75"/>
                      <a:pt x="7" y="76"/>
                      <a:pt x="7" y="76"/>
                    </a:cubicBezTo>
                    <a:cubicBezTo>
                      <a:pt x="7" y="77"/>
                      <a:pt x="7" y="77"/>
                      <a:pt x="7" y="77"/>
                    </a:cubicBezTo>
                    <a:cubicBezTo>
                      <a:pt x="7" y="77"/>
                      <a:pt x="7" y="78"/>
                      <a:pt x="7" y="78"/>
                    </a:cubicBezTo>
                    <a:cubicBezTo>
                      <a:pt x="7" y="79"/>
                      <a:pt x="7" y="79"/>
                      <a:pt x="6" y="80"/>
                    </a:cubicBezTo>
                    <a:cubicBezTo>
                      <a:pt x="6" y="81"/>
                      <a:pt x="5" y="81"/>
                      <a:pt x="5" y="83"/>
                    </a:cubicBezTo>
                    <a:cubicBezTo>
                      <a:pt x="5" y="82"/>
                      <a:pt x="6" y="82"/>
                      <a:pt x="7" y="81"/>
                    </a:cubicBezTo>
                    <a:cubicBezTo>
                      <a:pt x="6" y="82"/>
                      <a:pt x="6" y="82"/>
                      <a:pt x="5" y="83"/>
                    </a:cubicBezTo>
                    <a:cubicBezTo>
                      <a:pt x="4" y="85"/>
                      <a:pt x="7" y="85"/>
                      <a:pt x="7" y="87"/>
                    </a:cubicBezTo>
                    <a:cubicBezTo>
                      <a:pt x="8" y="90"/>
                      <a:pt x="8" y="93"/>
                      <a:pt x="9" y="96"/>
                    </a:cubicBezTo>
                    <a:cubicBezTo>
                      <a:pt x="9" y="100"/>
                      <a:pt x="9" y="102"/>
                      <a:pt x="8" y="105"/>
                    </a:cubicBezTo>
                    <a:cubicBezTo>
                      <a:pt x="7" y="106"/>
                      <a:pt x="7" y="107"/>
                      <a:pt x="7" y="108"/>
                    </a:cubicBezTo>
                    <a:cubicBezTo>
                      <a:pt x="6" y="109"/>
                      <a:pt x="5" y="111"/>
                      <a:pt x="5" y="113"/>
                    </a:cubicBezTo>
                    <a:cubicBezTo>
                      <a:pt x="6" y="113"/>
                      <a:pt x="6" y="112"/>
                      <a:pt x="7" y="112"/>
                    </a:cubicBezTo>
                    <a:cubicBezTo>
                      <a:pt x="8" y="111"/>
                      <a:pt x="9" y="112"/>
                      <a:pt x="9" y="112"/>
                    </a:cubicBezTo>
                    <a:cubicBezTo>
                      <a:pt x="10" y="112"/>
                      <a:pt x="11" y="112"/>
                      <a:pt x="11" y="112"/>
                    </a:cubicBezTo>
                    <a:cubicBezTo>
                      <a:pt x="12" y="112"/>
                      <a:pt x="12" y="112"/>
                      <a:pt x="12" y="112"/>
                    </a:cubicBezTo>
                    <a:cubicBezTo>
                      <a:pt x="13" y="112"/>
                      <a:pt x="14" y="112"/>
                      <a:pt x="14" y="112"/>
                    </a:cubicBezTo>
                    <a:cubicBezTo>
                      <a:pt x="15" y="111"/>
                      <a:pt x="15" y="111"/>
                      <a:pt x="16" y="111"/>
                    </a:cubicBezTo>
                    <a:cubicBezTo>
                      <a:pt x="16" y="111"/>
                      <a:pt x="17" y="111"/>
                      <a:pt x="17" y="111"/>
                    </a:cubicBezTo>
                    <a:cubicBezTo>
                      <a:pt x="17" y="111"/>
                      <a:pt x="17" y="111"/>
                      <a:pt x="17" y="111"/>
                    </a:cubicBezTo>
                    <a:cubicBezTo>
                      <a:pt x="18" y="111"/>
                      <a:pt x="19" y="110"/>
                      <a:pt x="20" y="110"/>
                    </a:cubicBezTo>
                    <a:cubicBezTo>
                      <a:pt x="21" y="111"/>
                      <a:pt x="22" y="111"/>
                      <a:pt x="24" y="111"/>
                    </a:cubicBezTo>
                    <a:cubicBezTo>
                      <a:pt x="25" y="111"/>
                      <a:pt x="25" y="111"/>
                      <a:pt x="25" y="111"/>
                    </a:cubicBezTo>
                    <a:cubicBezTo>
                      <a:pt x="27" y="111"/>
                      <a:pt x="28" y="112"/>
                      <a:pt x="29" y="113"/>
                    </a:cubicBezTo>
                    <a:cubicBezTo>
                      <a:pt x="29" y="113"/>
                      <a:pt x="29" y="113"/>
                      <a:pt x="29" y="113"/>
                    </a:cubicBezTo>
                    <a:cubicBezTo>
                      <a:pt x="30" y="113"/>
                      <a:pt x="30" y="113"/>
                      <a:pt x="30" y="114"/>
                    </a:cubicBezTo>
                    <a:cubicBezTo>
                      <a:pt x="31" y="114"/>
                      <a:pt x="31" y="115"/>
                      <a:pt x="32" y="115"/>
                    </a:cubicBezTo>
                    <a:cubicBezTo>
                      <a:pt x="32" y="115"/>
                      <a:pt x="32" y="116"/>
                      <a:pt x="32" y="116"/>
                    </a:cubicBezTo>
                    <a:cubicBezTo>
                      <a:pt x="32" y="116"/>
                      <a:pt x="32" y="116"/>
                      <a:pt x="32" y="116"/>
                    </a:cubicBezTo>
                    <a:cubicBezTo>
                      <a:pt x="32" y="116"/>
                      <a:pt x="33" y="116"/>
                      <a:pt x="33" y="116"/>
                    </a:cubicBezTo>
                    <a:cubicBezTo>
                      <a:pt x="33" y="116"/>
                      <a:pt x="33" y="116"/>
                      <a:pt x="33" y="116"/>
                    </a:cubicBezTo>
                    <a:cubicBezTo>
                      <a:pt x="34" y="116"/>
                      <a:pt x="34" y="116"/>
                      <a:pt x="34" y="116"/>
                    </a:cubicBezTo>
                    <a:cubicBezTo>
                      <a:pt x="34" y="116"/>
                      <a:pt x="34" y="116"/>
                      <a:pt x="34" y="116"/>
                    </a:cubicBezTo>
                    <a:cubicBezTo>
                      <a:pt x="35" y="116"/>
                      <a:pt x="35" y="116"/>
                      <a:pt x="35" y="116"/>
                    </a:cubicBezTo>
                    <a:cubicBezTo>
                      <a:pt x="35" y="116"/>
                      <a:pt x="35" y="116"/>
                      <a:pt x="35" y="116"/>
                    </a:cubicBezTo>
                    <a:cubicBezTo>
                      <a:pt x="35" y="116"/>
                      <a:pt x="35" y="116"/>
                      <a:pt x="35" y="116"/>
                    </a:cubicBezTo>
                    <a:cubicBezTo>
                      <a:pt x="36" y="116"/>
                      <a:pt x="37" y="117"/>
                      <a:pt x="37" y="118"/>
                    </a:cubicBezTo>
                    <a:cubicBezTo>
                      <a:pt x="38" y="119"/>
                      <a:pt x="38" y="119"/>
                      <a:pt x="38" y="119"/>
                    </a:cubicBezTo>
                    <a:cubicBezTo>
                      <a:pt x="38" y="120"/>
                      <a:pt x="38" y="120"/>
                      <a:pt x="38" y="120"/>
                    </a:cubicBezTo>
                    <a:cubicBezTo>
                      <a:pt x="38" y="121"/>
                      <a:pt x="38" y="121"/>
                      <a:pt x="39" y="122"/>
                    </a:cubicBezTo>
                    <a:cubicBezTo>
                      <a:pt x="39" y="122"/>
                      <a:pt x="39" y="122"/>
                      <a:pt x="40" y="122"/>
                    </a:cubicBezTo>
                    <a:cubicBezTo>
                      <a:pt x="40" y="122"/>
                      <a:pt x="40" y="122"/>
                      <a:pt x="40" y="122"/>
                    </a:cubicBezTo>
                    <a:cubicBezTo>
                      <a:pt x="41" y="123"/>
                      <a:pt x="42" y="124"/>
                      <a:pt x="43" y="125"/>
                    </a:cubicBezTo>
                    <a:cubicBezTo>
                      <a:pt x="43" y="126"/>
                      <a:pt x="44" y="126"/>
                      <a:pt x="44" y="127"/>
                    </a:cubicBezTo>
                    <a:cubicBezTo>
                      <a:pt x="44" y="127"/>
                      <a:pt x="44" y="127"/>
                      <a:pt x="44" y="127"/>
                    </a:cubicBezTo>
                    <a:cubicBezTo>
                      <a:pt x="45" y="127"/>
                      <a:pt x="45" y="127"/>
                      <a:pt x="45" y="127"/>
                    </a:cubicBezTo>
                    <a:cubicBezTo>
                      <a:pt x="45" y="128"/>
                      <a:pt x="45" y="128"/>
                      <a:pt x="45" y="128"/>
                    </a:cubicBezTo>
                    <a:cubicBezTo>
                      <a:pt x="45" y="128"/>
                      <a:pt x="46" y="128"/>
                      <a:pt x="46" y="129"/>
                    </a:cubicBezTo>
                    <a:cubicBezTo>
                      <a:pt x="47" y="129"/>
                      <a:pt x="47" y="129"/>
                      <a:pt x="47" y="129"/>
                    </a:cubicBezTo>
                    <a:cubicBezTo>
                      <a:pt x="47" y="129"/>
                      <a:pt x="47" y="129"/>
                      <a:pt x="47" y="130"/>
                    </a:cubicBezTo>
                    <a:cubicBezTo>
                      <a:pt x="48" y="130"/>
                      <a:pt x="48" y="130"/>
                      <a:pt x="48" y="130"/>
                    </a:cubicBezTo>
                    <a:cubicBezTo>
                      <a:pt x="48" y="130"/>
                      <a:pt x="48" y="130"/>
                      <a:pt x="48" y="130"/>
                    </a:cubicBezTo>
                    <a:cubicBezTo>
                      <a:pt x="48" y="130"/>
                      <a:pt x="48" y="130"/>
                      <a:pt x="48" y="130"/>
                    </a:cubicBezTo>
                    <a:cubicBezTo>
                      <a:pt x="48" y="130"/>
                      <a:pt x="48" y="130"/>
                      <a:pt x="48" y="130"/>
                    </a:cubicBezTo>
                    <a:cubicBezTo>
                      <a:pt x="49" y="130"/>
                      <a:pt x="49" y="130"/>
                      <a:pt x="49" y="130"/>
                    </a:cubicBezTo>
                    <a:cubicBezTo>
                      <a:pt x="50" y="130"/>
                      <a:pt x="50" y="130"/>
                      <a:pt x="50" y="130"/>
                    </a:cubicBezTo>
                    <a:cubicBezTo>
                      <a:pt x="51" y="130"/>
                      <a:pt x="51" y="130"/>
                      <a:pt x="51" y="129"/>
                    </a:cubicBezTo>
                    <a:cubicBezTo>
                      <a:pt x="51" y="129"/>
                      <a:pt x="51" y="129"/>
                      <a:pt x="51" y="129"/>
                    </a:cubicBezTo>
                    <a:cubicBezTo>
                      <a:pt x="51" y="129"/>
                      <a:pt x="51" y="129"/>
                      <a:pt x="51" y="129"/>
                    </a:cubicBezTo>
                    <a:cubicBezTo>
                      <a:pt x="51" y="128"/>
                      <a:pt x="52" y="126"/>
                      <a:pt x="52" y="125"/>
                    </a:cubicBezTo>
                    <a:cubicBezTo>
                      <a:pt x="52" y="125"/>
                      <a:pt x="52" y="124"/>
                      <a:pt x="52" y="124"/>
                    </a:cubicBezTo>
                    <a:cubicBezTo>
                      <a:pt x="52" y="122"/>
                      <a:pt x="53" y="122"/>
                      <a:pt x="54" y="122"/>
                    </a:cubicBezTo>
                    <a:cubicBezTo>
                      <a:pt x="54" y="122"/>
                      <a:pt x="54" y="122"/>
                      <a:pt x="54" y="122"/>
                    </a:cubicBezTo>
                    <a:cubicBezTo>
                      <a:pt x="55" y="120"/>
                      <a:pt x="55" y="120"/>
                      <a:pt x="55" y="120"/>
                    </a:cubicBezTo>
                    <a:cubicBezTo>
                      <a:pt x="56" y="121"/>
                      <a:pt x="56" y="121"/>
                      <a:pt x="56" y="121"/>
                    </a:cubicBezTo>
                    <a:cubicBezTo>
                      <a:pt x="57" y="122"/>
                      <a:pt x="59" y="124"/>
                      <a:pt x="61" y="126"/>
                    </a:cubicBezTo>
                    <a:cubicBezTo>
                      <a:pt x="61" y="126"/>
                      <a:pt x="62" y="125"/>
                      <a:pt x="62" y="125"/>
                    </a:cubicBezTo>
                    <a:cubicBezTo>
                      <a:pt x="62" y="124"/>
                      <a:pt x="62" y="124"/>
                      <a:pt x="62" y="124"/>
                    </a:cubicBezTo>
                    <a:cubicBezTo>
                      <a:pt x="62" y="124"/>
                      <a:pt x="63" y="123"/>
                      <a:pt x="63" y="123"/>
                    </a:cubicBezTo>
                    <a:cubicBezTo>
                      <a:pt x="63" y="123"/>
                      <a:pt x="63" y="123"/>
                      <a:pt x="64" y="123"/>
                    </a:cubicBezTo>
                    <a:cubicBezTo>
                      <a:pt x="64" y="123"/>
                      <a:pt x="65" y="123"/>
                      <a:pt x="66" y="123"/>
                    </a:cubicBezTo>
                    <a:cubicBezTo>
                      <a:pt x="66" y="123"/>
                      <a:pt x="66" y="123"/>
                      <a:pt x="66" y="123"/>
                    </a:cubicBezTo>
                    <a:cubicBezTo>
                      <a:pt x="76" y="123"/>
                      <a:pt x="76" y="123"/>
                      <a:pt x="76" y="123"/>
                    </a:cubicBezTo>
                    <a:cubicBezTo>
                      <a:pt x="76" y="123"/>
                      <a:pt x="76" y="123"/>
                      <a:pt x="76" y="123"/>
                    </a:cubicBezTo>
                    <a:cubicBezTo>
                      <a:pt x="76" y="123"/>
                      <a:pt x="76" y="122"/>
                      <a:pt x="76" y="122"/>
                    </a:cubicBezTo>
                    <a:cubicBezTo>
                      <a:pt x="76" y="122"/>
                      <a:pt x="76" y="122"/>
                      <a:pt x="76" y="122"/>
                    </a:cubicBezTo>
                    <a:cubicBezTo>
                      <a:pt x="76" y="122"/>
                      <a:pt x="76" y="122"/>
                      <a:pt x="76" y="121"/>
                    </a:cubicBezTo>
                    <a:cubicBezTo>
                      <a:pt x="76" y="121"/>
                      <a:pt x="76" y="121"/>
                      <a:pt x="76" y="121"/>
                    </a:cubicBezTo>
                    <a:cubicBezTo>
                      <a:pt x="76" y="121"/>
                      <a:pt x="76" y="121"/>
                      <a:pt x="76" y="121"/>
                    </a:cubicBezTo>
                    <a:cubicBezTo>
                      <a:pt x="77" y="121"/>
                      <a:pt x="77" y="121"/>
                      <a:pt x="77" y="121"/>
                    </a:cubicBezTo>
                    <a:cubicBezTo>
                      <a:pt x="77" y="121"/>
                      <a:pt x="77" y="121"/>
                      <a:pt x="77" y="121"/>
                    </a:cubicBezTo>
                    <a:cubicBezTo>
                      <a:pt x="77" y="121"/>
                      <a:pt x="77" y="121"/>
                      <a:pt x="78" y="121"/>
                    </a:cubicBezTo>
                    <a:cubicBezTo>
                      <a:pt x="78" y="121"/>
                      <a:pt x="78" y="121"/>
                      <a:pt x="78" y="121"/>
                    </a:cubicBezTo>
                    <a:cubicBezTo>
                      <a:pt x="78" y="121"/>
                      <a:pt x="78" y="121"/>
                      <a:pt x="78" y="121"/>
                    </a:cubicBezTo>
                    <a:cubicBezTo>
                      <a:pt x="78" y="121"/>
                      <a:pt x="78" y="121"/>
                      <a:pt x="79" y="121"/>
                    </a:cubicBezTo>
                    <a:cubicBezTo>
                      <a:pt x="79" y="122"/>
                      <a:pt x="79" y="122"/>
                      <a:pt x="79" y="122"/>
                    </a:cubicBezTo>
                    <a:cubicBezTo>
                      <a:pt x="79" y="122"/>
                      <a:pt x="79" y="122"/>
                      <a:pt x="79" y="122"/>
                    </a:cubicBezTo>
                    <a:cubicBezTo>
                      <a:pt x="79" y="122"/>
                      <a:pt x="79" y="122"/>
                      <a:pt x="80" y="123"/>
                    </a:cubicBezTo>
                    <a:cubicBezTo>
                      <a:pt x="80" y="123"/>
                      <a:pt x="80" y="123"/>
                      <a:pt x="80" y="123"/>
                    </a:cubicBezTo>
                    <a:cubicBezTo>
                      <a:pt x="80" y="123"/>
                      <a:pt x="80" y="123"/>
                      <a:pt x="80" y="123"/>
                    </a:cubicBezTo>
                    <a:cubicBezTo>
                      <a:pt x="80" y="123"/>
                      <a:pt x="80" y="123"/>
                      <a:pt x="81" y="123"/>
                    </a:cubicBezTo>
                    <a:cubicBezTo>
                      <a:pt x="81" y="123"/>
                      <a:pt x="81" y="123"/>
                      <a:pt x="82" y="123"/>
                    </a:cubicBezTo>
                    <a:cubicBezTo>
                      <a:pt x="82" y="123"/>
                      <a:pt x="82" y="123"/>
                      <a:pt x="82" y="123"/>
                    </a:cubicBezTo>
                    <a:cubicBezTo>
                      <a:pt x="82" y="123"/>
                      <a:pt x="82" y="123"/>
                      <a:pt x="83" y="123"/>
                    </a:cubicBezTo>
                    <a:cubicBezTo>
                      <a:pt x="103" y="123"/>
                      <a:pt x="103" y="123"/>
                      <a:pt x="103" y="123"/>
                    </a:cubicBezTo>
                    <a:cubicBezTo>
                      <a:pt x="106" y="123"/>
                      <a:pt x="109" y="123"/>
                      <a:pt x="112" y="123"/>
                    </a:cubicBezTo>
                    <a:cubicBezTo>
                      <a:pt x="113" y="123"/>
                      <a:pt x="113" y="123"/>
                      <a:pt x="113" y="123"/>
                    </a:cubicBezTo>
                    <a:cubicBezTo>
                      <a:pt x="114" y="123"/>
                      <a:pt x="114" y="123"/>
                      <a:pt x="114" y="123"/>
                    </a:cubicBezTo>
                    <a:cubicBezTo>
                      <a:pt x="114" y="123"/>
                      <a:pt x="114" y="123"/>
                      <a:pt x="114" y="123"/>
                    </a:cubicBezTo>
                    <a:cubicBezTo>
                      <a:pt x="115" y="123"/>
                      <a:pt x="115" y="123"/>
                      <a:pt x="115" y="123"/>
                    </a:cubicBezTo>
                    <a:cubicBezTo>
                      <a:pt x="115" y="123"/>
                      <a:pt x="115" y="123"/>
                      <a:pt x="116" y="123"/>
                    </a:cubicBezTo>
                    <a:cubicBezTo>
                      <a:pt x="116" y="123"/>
                      <a:pt x="116" y="123"/>
                      <a:pt x="116" y="123"/>
                    </a:cubicBezTo>
                    <a:cubicBezTo>
                      <a:pt x="116" y="123"/>
                      <a:pt x="116" y="123"/>
                      <a:pt x="116" y="123"/>
                    </a:cubicBezTo>
                    <a:cubicBezTo>
                      <a:pt x="116" y="123"/>
                      <a:pt x="116" y="123"/>
                      <a:pt x="116" y="123"/>
                    </a:cubicBezTo>
                    <a:cubicBezTo>
                      <a:pt x="116" y="122"/>
                      <a:pt x="116" y="121"/>
                      <a:pt x="116" y="120"/>
                    </a:cubicBezTo>
                    <a:cubicBezTo>
                      <a:pt x="116" y="119"/>
                      <a:pt x="116" y="119"/>
                      <a:pt x="116" y="119"/>
                    </a:cubicBezTo>
                    <a:cubicBezTo>
                      <a:pt x="117" y="117"/>
                      <a:pt x="117" y="117"/>
                      <a:pt x="117" y="117"/>
                    </a:cubicBezTo>
                    <a:cubicBezTo>
                      <a:pt x="117" y="116"/>
                      <a:pt x="117" y="116"/>
                      <a:pt x="117" y="116"/>
                    </a:cubicBezTo>
                    <a:cubicBezTo>
                      <a:pt x="117" y="116"/>
                      <a:pt x="117" y="116"/>
                      <a:pt x="117" y="116"/>
                    </a:cubicBezTo>
                    <a:cubicBezTo>
                      <a:pt x="117" y="115"/>
                      <a:pt x="116" y="115"/>
                      <a:pt x="116" y="115"/>
                    </a:cubicBezTo>
                    <a:cubicBezTo>
                      <a:pt x="116" y="115"/>
                      <a:pt x="116" y="115"/>
                      <a:pt x="116" y="115"/>
                    </a:cubicBezTo>
                    <a:cubicBezTo>
                      <a:pt x="116" y="115"/>
                      <a:pt x="116" y="115"/>
                      <a:pt x="116" y="115"/>
                    </a:cubicBezTo>
                    <a:cubicBezTo>
                      <a:pt x="116" y="114"/>
                      <a:pt x="116" y="114"/>
                      <a:pt x="115" y="114"/>
                    </a:cubicBezTo>
                    <a:cubicBezTo>
                      <a:pt x="113" y="93"/>
                      <a:pt x="113" y="93"/>
                      <a:pt x="113" y="93"/>
                    </a:cubicBezTo>
                    <a:cubicBezTo>
                      <a:pt x="112" y="83"/>
                      <a:pt x="110" y="72"/>
                      <a:pt x="109" y="62"/>
                    </a:cubicBezTo>
                    <a:cubicBezTo>
                      <a:pt x="108" y="54"/>
                      <a:pt x="107" y="45"/>
                      <a:pt x="106" y="37"/>
                    </a:cubicBezTo>
                    <a:cubicBezTo>
                      <a:pt x="105" y="28"/>
                      <a:pt x="105" y="28"/>
                      <a:pt x="105" y="28"/>
                    </a:cubicBezTo>
                    <a:cubicBezTo>
                      <a:pt x="105" y="26"/>
                      <a:pt x="105" y="25"/>
                      <a:pt x="104" y="23"/>
                    </a:cubicBezTo>
                    <a:cubicBezTo>
                      <a:pt x="104" y="21"/>
                      <a:pt x="104" y="21"/>
                      <a:pt x="104" y="21"/>
                    </a:cubicBezTo>
                    <a:cubicBezTo>
                      <a:pt x="119" y="21"/>
                      <a:pt x="119" y="21"/>
                      <a:pt x="119" y="21"/>
                    </a:cubicBezTo>
                    <a:cubicBezTo>
                      <a:pt x="117" y="20"/>
                      <a:pt x="115" y="19"/>
                      <a:pt x="113" y="17"/>
                    </a:cubicBezTo>
                    <a:cubicBezTo>
                      <a:pt x="112" y="17"/>
                      <a:pt x="112" y="17"/>
                      <a:pt x="111" y="16"/>
                    </a:cubicBezTo>
                    <a:cubicBezTo>
                      <a:pt x="109" y="15"/>
                      <a:pt x="106" y="13"/>
                      <a:pt x="104" y="12"/>
                    </a:cubicBezTo>
                    <a:cubicBezTo>
                      <a:pt x="104" y="11"/>
                      <a:pt x="103" y="11"/>
                      <a:pt x="103" y="11"/>
                    </a:cubicBezTo>
                    <a:cubicBezTo>
                      <a:pt x="100" y="9"/>
                      <a:pt x="97" y="7"/>
                      <a:pt x="95" y="6"/>
                    </a:cubicBezTo>
                    <a:cubicBezTo>
                      <a:pt x="95" y="6"/>
                      <a:pt x="95" y="6"/>
                      <a:pt x="94" y="5"/>
                    </a:cubicBezTo>
                    <a:cubicBezTo>
                      <a:pt x="92" y="4"/>
                      <a:pt x="89" y="2"/>
                      <a:pt x="86" y="0"/>
                    </a:cubicBezTo>
                    <a:cubicBezTo>
                      <a:pt x="86" y="1"/>
                      <a:pt x="86" y="3"/>
                      <a:pt x="86" y="4"/>
                    </a:cubicBezTo>
                    <a:cubicBezTo>
                      <a:pt x="86" y="7"/>
                      <a:pt x="86" y="7"/>
                      <a:pt x="86" y="7"/>
                    </a:cubicBezTo>
                    <a:cubicBezTo>
                      <a:pt x="86" y="7"/>
                      <a:pt x="86" y="7"/>
                      <a:pt x="86" y="8"/>
                    </a:cubicBezTo>
                    <a:cubicBezTo>
                      <a:pt x="86" y="8"/>
                      <a:pt x="86" y="8"/>
                      <a:pt x="86" y="8"/>
                    </a:cubicBezTo>
                    <a:cubicBezTo>
                      <a:pt x="86" y="9"/>
                      <a:pt x="86" y="10"/>
                      <a:pt x="86" y="11"/>
                    </a:cubicBezTo>
                    <a:cubicBezTo>
                      <a:pt x="86" y="12"/>
                      <a:pt x="86" y="13"/>
                      <a:pt x="84" y="13"/>
                    </a:cubicBezTo>
                    <a:cubicBezTo>
                      <a:pt x="53" y="13"/>
                      <a:pt x="53" y="13"/>
                      <a:pt x="53" y="13"/>
                    </a:cubicBezTo>
                    <a:cubicBezTo>
                      <a:pt x="52" y="13"/>
                      <a:pt x="52" y="13"/>
                      <a:pt x="52" y="13"/>
                    </a:cubicBezTo>
                    <a:cubicBezTo>
                      <a:pt x="52" y="13"/>
                      <a:pt x="52" y="13"/>
                      <a:pt x="52" y="13"/>
                    </a:cubicBezTo>
                    <a:cubicBezTo>
                      <a:pt x="52" y="13"/>
                      <a:pt x="52" y="13"/>
                      <a:pt x="52" y="13"/>
                    </a:cubicBezTo>
                    <a:cubicBezTo>
                      <a:pt x="52" y="33"/>
                      <a:pt x="52" y="33"/>
                      <a:pt x="52" y="33"/>
                    </a:cubicBezTo>
                    <a:cubicBezTo>
                      <a:pt x="52" y="34"/>
                      <a:pt x="52" y="34"/>
                      <a:pt x="52" y="34"/>
                    </a:cubicBezTo>
                    <a:cubicBezTo>
                      <a:pt x="52" y="35"/>
                      <a:pt x="52" y="35"/>
                      <a:pt x="52" y="35"/>
                    </a:cubicBezTo>
                    <a:cubicBezTo>
                      <a:pt x="52" y="37"/>
                      <a:pt x="52" y="39"/>
                      <a:pt x="52" y="40"/>
                    </a:cubicBezTo>
                    <a:cubicBezTo>
                      <a:pt x="51" y="40"/>
                      <a:pt x="51" y="40"/>
                      <a:pt x="51" y="41"/>
                    </a:cubicBezTo>
                    <a:cubicBezTo>
                      <a:pt x="50" y="41"/>
                      <a:pt x="50" y="41"/>
                      <a:pt x="49" y="41"/>
                    </a:cubicBezTo>
                    <a:cubicBezTo>
                      <a:pt x="49" y="41"/>
                      <a:pt x="48" y="41"/>
                      <a:pt x="48" y="42"/>
                    </a:cubicBezTo>
                    <a:cubicBezTo>
                      <a:pt x="47" y="42"/>
                      <a:pt x="47" y="42"/>
                      <a:pt x="46" y="42"/>
                    </a:cubicBezTo>
                    <a:cubicBezTo>
                      <a:pt x="45" y="42"/>
                      <a:pt x="45" y="42"/>
                      <a:pt x="45" y="43"/>
                    </a:cubicBezTo>
                    <a:cubicBezTo>
                      <a:pt x="45" y="43"/>
                      <a:pt x="44" y="43"/>
                      <a:pt x="44" y="43"/>
                    </a:cubicBezTo>
                    <a:cubicBezTo>
                      <a:pt x="44" y="43"/>
                      <a:pt x="44" y="43"/>
                      <a:pt x="44" y="43"/>
                    </a:cubicBezTo>
                    <a:cubicBezTo>
                      <a:pt x="44" y="43"/>
                      <a:pt x="44" y="43"/>
                      <a:pt x="43" y="43"/>
                    </a:cubicBezTo>
                    <a:cubicBezTo>
                      <a:pt x="42" y="44"/>
                      <a:pt x="41" y="45"/>
                      <a:pt x="40" y="46"/>
                    </a:cubicBezTo>
                    <a:cubicBezTo>
                      <a:pt x="40" y="47"/>
                      <a:pt x="40" y="47"/>
                      <a:pt x="40" y="48"/>
                    </a:cubicBezTo>
                    <a:cubicBezTo>
                      <a:pt x="40" y="48"/>
                      <a:pt x="40" y="49"/>
                      <a:pt x="40" y="49"/>
                    </a:cubicBezTo>
                    <a:cubicBezTo>
                      <a:pt x="41" y="50"/>
                      <a:pt x="41" y="51"/>
                      <a:pt x="41" y="52"/>
                    </a:cubicBezTo>
                    <a:cubicBezTo>
                      <a:pt x="41" y="58"/>
                      <a:pt x="41" y="58"/>
                      <a:pt x="41" y="58"/>
                    </a:cubicBezTo>
                    <a:cubicBezTo>
                      <a:pt x="41" y="58"/>
                      <a:pt x="41" y="59"/>
                      <a:pt x="41" y="59"/>
                    </a:cubicBezTo>
                    <a:cubicBezTo>
                      <a:pt x="41" y="60"/>
                      <a:pt x="42" y="61"/>
                      <a:pt x="41" y="62"/>
                    </a:cubicBezTo>
                    <a:cubicBezTo>
                      <a:pt x="41" y="63"/>
                      <a:pt x="41" y="63"/>
                      <a:pt x="41" y="63"/>
                    </a:cubicBezTo>
                    <a:cubicBezTo>
                      <a:pt x="40" y="63"/>
                      <a:pt x="40" y="63"/>
                      <a:pt x="40" y="63"/>
                    </a:cubicBezTo>
                    <a:cubicBezTo>
                      <a:pt x="32" y="63"/>
                      <a:pt x="24" y="63"/>
                      <a:pt x="16" y="63"/>
                    </a:cubicBezTo>
                    <a:cubicBezTo>
                      <a:pt x="6" y="63"/>
                      <a:pt x="6" y="63"/>
                      <a:pt x="6" y="63"/>
                    </a:cubicBezTo>
                    <a:cubicBezTo>
                      <a:pt x="5" y="63"/>
                      <a:pt x="4" y="63"/>
                      <a:pt x="3" y="63"/>
                    </a:cubicBezTo>
                    <a:cubicBezTo>
                      <a:pt x="2" y="63"/>
                      <a:pt x="2" y="63"/>
                      <a:pt x="2" y="63"/>
                    </a:cubicBezTo>
                    <a:cubicBezTo>
                      <a:pt x="1" y="63"/>
                      <a:pt x="1" y="63"/>
                      <a:pt x="1" y="63"/>
                    </a:cubicBezTo>
                    <a:cubicBezTo>
                      <a:pt x="1" y="63"/>
                      <a:pt x="1" y="64"/>
                      <a:pt x="0" y="65"/>
                    </a:cubicBezTo>
                    <a:cubicBezTo>
                      <a:pt x="1" y="67"/>
                      <a:pt x="2" y="69"/>
                      <a:pt x="4" y="70"/>
                    </a:cubicBezTo>
                    <a:cubicBezTo>
                      <a:pt x="4" y="70"/>
                      <a:pt x="4" y="69"/>
                      <a:pt x="5"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8" name="Freeform 3040">
                <a:extLst>
                  <a:ext uri="{FF2B5EF4-FFF2-40B4-BE49-F238E27FC236}">
                    <a16:creationId xmlns:a16="http://schemas.microsoft.com/office/drawing/2014/main" id="{7CC75BE4-9318-4164-8D1F-00880570BA47}"/>
                  </a:ext>
                </a:extLst>
              </p:cNvPr>
              <p:cNvSpPr>
                <a:spLocks/>
              </p:cNvSpPr>
              <p:nvPr/>
            </p:nvSpPr>
            <p:spPr bwMode="auto">
              <a:xfrm>
                <a:off x="3185" y="2514"/>
                <a:ext cx="2" cy="2"/>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0"/>
                      <a:pt x="0" y="0"/>
                      <a:pt x="1"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9" name="Freeform 3041">
                <a:extLst>
                  <a:ext uri="{FF2B5EF4-FFF2-40B4-BE49-F238E27FC236}">
                    <a16:creationId xmlns:a16="http://schemas.microsoft.com/office/drawing/2014/main" id="{4282F1C7-C580-43C1-95AA-F550CF3ED75E}"/>
                  </a:ext>
                </a:extLst>
              </p:cNvPr>
              <p:cNvSpPr>
                <a:spLocks/>
              </p:cNvSpPr>
              <p:nvPr/>
            </p:nvSpPr>
            <p:spPr bwMode="auto">
              <a:xfrm>
                <a:off x="3301" y="2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0" name="Freeform 3042">
                <a:extLst>
                  <a:ext uri="{FF2B5EF4-FFF2-40B4-BE49-F238E27FC236}">
                    <a16:creationId xmlns:a16="http://schemas.microsoft.com/office/drawing/2014/main" id="{F94D6FC9-5A87-408C-825E-38EDDEDC1850}"/>
                  </a:ext>
                </a:extLst>
              </p:cNvPr>
              <p:cNvSpPr>
                <a:spLocks noEditPoints="1"/>
              </p:cNvSpPr>
              <p:nvPr/>
            </p:nvSpPr>
            <p:spPr bwMode="auto">
              <a:xfrm>
                <a:off x="3190" y="2471"/>
                <a:ext cx="170" cy="128"/>
              </a:xfrm>
              <a:custGeom>
                <a:avLst/>
                <a:gdLst>
                  <a:gd name="T0" fmla="*/ 17 w 72"/>
                  <a:gd name="T1" fmla="*/ 34 h 54"/>
                  <a:gd name="T2" fmla="*/ 19 w 72"/>
                  <a:gd name="T3" fmla="*/ 34 h 54"/>
                  <a:gd name="T4" fmla="*/ 20 w 72"/>
                  <a:gd name="T5" fmla="*/ 32 h 54"/>
                  <a:gd name="T6" fmla="*/ 22 w 72"/>
                  <a:gd name="T7" fmla="*/ 31 h 54"/>
                  <a:gd name="T8" fmla="*/ 26 w 72"/>
                  <a:gd name="T9" fmla="*/ 27 h 54"/>
                  <a:gd name="T10" fmla="*/ 28 w 72"/>
                  <a:gd name="T11" fmla="*/ 27 h 54"/>
                  <a:gd name="T12" fmla="*/ 37 w 72"/>
                  <a:gd name="T13" fmla="*/ 26 h 54"/>
                  <a:gd name="T14" fmla="*/ 41 w 72"/>
                  <a:gd name="T15" fmla="*/ 32 h 54"/>
                  <a:gd name="T16" fmla="*/ 45 w 72"/>
                  <a:gd name="T17" fmla="*/ 36 h 54"/>
                  <a:gd name="T18" fmla="*/ 46 w 72"/>
                  <a:gd name="T19" fmla="*/ 38 h 54"/>
                  <a:gd name="T20" fmla="*/ 47 w 72"/>
                  <a:gd name="T21" fmla="*/ 41 h 54"/>
                  <a:gd name="T22" fmla="*/ 47 w 72"/>
                  <a:gd name="T23" fmla="*/ 41 h 54"/>
                  <a:gd name="T24" fmla="*/ 49 w 72"/>
                  <a:gd name="T25" fmla="*/ 41 h 54"/>
                  <a:gd name="T26" fmla="*/ 51 w 72"/>
                  <a:gd name="T27" fmla="*/ 41 h 54"/>
                  <a:gd name="T28" fmla="*/ 54 w 72"/>
                  <a:gd name="T29" fmla="*/ 42 h 54"/>
                  <a:gd name="T30" fmla="*/ 57 w 72"/>
                  <a:gd name="T31" fmla="*/ 47 h 54"/>
                  <a:gd name="T32" fmla="*/ 58 w 72"/>
                  <a:gd name="T33" fmla="*/ 53 h 54"/>
                  <a:gd name="T34" fmla="*/ 61 w 72"/>
                  <a:gd name="T35" fmla="*/ 54 h 54"/>
                  <a:gd name="T36" fmla="*/ 64 w 72"/>
                  <a:gd name="T37" fmla="*/ 49 h 54"/>
                  <a:gd name="T38" fmla="*/ 67 w 72"/>
                  <a:gd name="T39" fmla="*/ 51 h 54"/>
                  <a:gd name="T40" fmla="*/ 68 w 72"/>
                  <a:gd name="T41" fmla="*/ 47 h 54"/>
                  <a:gd name="T42" fmla="*/ 67 w 72"/>
                  <a:gd name="T43" fmla="*/ 42 h 54"/>
                  <a:gd name="T44" fmla="*/ 69 w 72"/>
                  <a:gd name="T45" fmla="*/ 41 h 54"/>
                  <a:gd name="T46" fmla="*/ 71 w 72"/>
                  <a:gd name="T47" fmla="*/ 41 h 54"/>
                  <a:gd name="T48" fmla="*/ 72 w 72"/>
                  <a:gd name="T49" fmla="*/ 41 h 54"/>
                  <a:gd name="T50" fmla="*/ 70 w 72"/>
                  <a:gd name="T51" fmla="*/ 40 h 54"/>
                  <a:gd name="T52" fmla="*/ 71 w 72"/>
                  <a:gd name="T53" fmla="*/ 35 h 54"/>
                  <a:gd name="T54" fmla="*/ 69 w 72"/>
                  <a:gd name="T55" fmla="*/ 34 h 54"/>
                  <a:gd name="T56" fmla="*/ 68 w 72"/>
                  <a:gd name="T57" fmla="*/ 27 h 54"/>
                  <a:gd name="T58" fmla="*/ 69 w 72"/>
                  <a:gd name="T59" fmla="*/ 25 h 54"/>
                  <a:gd name="T60" fmla="*/ 67 w 72"/>
                  <a:gd name="T61" fmla="*/ 24 h 54"/>
                  <a:gd name="T62" fmla="*/ 66 w 72"/>
                  <a:gd name="T63" fmla="*/ 21 h 54"/>
                  <a:gd name="T64" fmla="*/ 66 w 72"/>
                  <a:gd name="T65" fmla="*/ 17 h 54"/>
                  <a:gd name="T66" fmla="*/ 63 w 72"/>
                  <a:gd name="T67" fmla="*/ 16 h 54"/>
                  <a:gd name="T68" fmla="*/ 62 w 72"/>
                  <a:gd name="T69" fmla="*/ 11 h 54"/>
                  <a:gd name="T70" fmla="*/ 61 w 72"/>
                  <a:gd name="T71" fmla="*/ 11 h 54"/>
                  <a:gd name="T72" fmla="*/ 61 w 72"/>
                  <a:gd name="T73" fmla="*/ 10 h 54"/>
                  <a:gd name="T74" fmla="*/ 61 w 72"/>
                  <a:gd name="T75" fmla="*/ 7 h 54"/>
                  <a:gd name="T76" fmla="*/ 60 w 72"/>
                  <a:gd name="T77" fmla="*/ 6 h 54"/>
                  <a:gd name="T78" fmla="*/ 55 w 72"/>
                  <a:gd name="T79" fmla="*/ 6 h 54"/>
                  <a:gd name="T80" fmla="*/ 50 w 72"/>
                  <a:gd name="T81" fmla="*/ 6 h 54"/>
                  <a:gd name="T82" fmla="*/ 49 w 72"/>
                  <a:gd name="T83" fmla="*/ 6 h 54"/>
                  <a:gd name="T84" fmla="*/ 42 w 72"/>
                  <a:gd name="T85" fmla="*/ 8 h 54"/>
                  <a:gd name="T86" fmla="*/ 40 w 72"/>
                  <a:gd name="T87" fmla="*/ 6 h 54"/>
                  <a:gd name="T88" fmla="*/ 38 w 72"/>
                  <a:gd name="T89" fmla="*/ 7 h 54"/>
                  <a:gd name="T90" fmla="*/ 36 w 72"/>
                  <a:gd name="T91" fmla="*/ 7 h 54"/>
                  <a:gd name="T92" fmla="*/ 34 w 72"/>
                  <a:gd name="T93" fmla="*/ 5 h 54"/>
                  <a:gd name="T94" fmla="*/ 33 w 72"/>
                  <a:gd name="T95" fmla="*/ 3 h 54"/>
                  <a:gd name="T96" fmla="*/ 24 w 72"/>
                  <a:gd name="T97" fmla="*/ 4 h 54"/>
                  <a:gd name="T98" fmla="*/ 17 w 72"/>
                  <a:gd name="T99" fmla="*/ 1 h 54"/>
                  <a:gd name="T100" fmla="*/ 14 w 72"/>
                  <a:gd name="T101" fmla="*/ 0 h 54"/>
                  <a:gd name="T102" fmla="*/ 13 w 72"/>
                  <a:gd name="T103" fmla="*/ 4 h 54"/>
                  <a:gd name="T104" fmla="*/ 13 w 72"/>
                  <a:gd name="T105" fmla="*/ 9 h 54"/>
                  <a:gd name="T106" fmla="*/ 12 w 72"/>
                  <a:gd name="T107" fmla="*/ 11 h 54"/>
                  <a:gd name="T108" fmla="*/ 6 w 72"/>
                  <a:gd name="T109" fmla="*/ 12 h 54"/>
                  <a:gd name="T110" fmla="*/ 3 w 72"/>
                  <a:gd name="T111" fmla="*/ 12 h 54"/>
                  <a:gd name="T112" fmla="*/ 1 w 72"/>
                  <a:gd name="T113" fmla="*/ 18 h 54"/>
                  <a:gd name="T114" fmla="*/ 2 w 72"/>
                  <a:gd name="T115" fmla="*/ 21 h 54"/>
                  <a:gd name="T116" fmla="*/ 9 w 72"/>
                  <a:gd name="T117" fmla="*/ 25 h 54"/>
                  <a:gd name="T118" fmla="*/ 14 w 72"/>
                  <a:gd name="T119" fmla="*/ 31 h 54"/>
                  <a:gd name="T120" fmla="*/ 1 w 72"/>
                  <a:gd name="T121" fmla="*/ 1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54">
                    <a:moveTo>
                      <a:pt x="16" y="35"/>
                    </a:moveTo>
                    <a:cubicBezTo>
                      <a:pt x="16" y="35"/>
                      <a:pt x="16" y="34"/>
                      <a:pt x="16" y="34"/>
                    </a:cubicBezTo>
                    <a:cubicBezTo>
                      <a:pt x="16" y="34"/>
                      <a:pt x="17" y="34"/>
                      <a:pt x="17" y="34"/>
                    </a:cubicBezTo>
                    <a:cubicBezTo>
                      <a:pt x="17" y="34"/>
                      <a:pt x="17" y="34"/>
                      <a:pt x="17" y="34"/>
                    </a:cubicBezTo>
                    <a:cubicBezTo>
                      <a:pt x="17" y="34"/>
                      <a:pt x="17" y="34"/>
                      <a:pt x="17" y="34"/>
                    </a:cubicBezTo>
                    <a:cubicBezTo>
                      <a:pt x="17" y="34"/>
                      <a:pt x="17" y="34"/>
                      <a:pt x="17" y="34"/>
                    </a:cubicBezTo>
                    <a:cubicBezTo>
                      <a:pt x="17" y="34"/>
                      <a:pt x="17" y="34"/>
                      <a:pt x="17" y="34"/>
                    </a:cubicBezTo>
                    <a:cubicBezTo>
                      <a:pt x="19" y="34"/>
                      <a:pt x="19" y="34"/>
                      <a:pt x="19" y="34"/>
                    </a:cubicBezTo>
                    <a:cubicBezTo>
                      <a:pt x="19" y="34"/>
                      <a:pt x="19" y="34"/>
                      <a:pt x="19" y="34"/>
                    </a:cubicBezTo>
                    <a:cubicBezTo>
                      <a:pt x="20" y="33"/>
                      <a:pt x="20" y="33"/>
                      <a:pt x="20" y="33"/>
                    </a:cubicBezTo>
                    <a:cubicBezTo>
                      <a:pt x="20" y="33"/>
                      <a:pt x="20" y="33"/>
                      <a:pt x="20" y="33"/>
                    </a:cubicBezTo>
                    <a:cubicBezTo>
                      <a:pt x="20" y="33"/>
                      <a:pt x="20" y="33"/>
                      <a:pt x="20" y="32"/>
                    </a:cubicBezTo>
                    <a:cubicBezTo>
                      <a:pt x="21" y="32"/>
                      <a:pt x="21" y="32"/>
                      <a:pt x="21" y="32"/>
                    </a:cubicBezTo>
                    <a:cubicBezTo>
                      <a:pt x="21" y="32"/>
                      <a:pt x="21" y="32"/>
                      <a:pt x="21" y="32"/>
                    </a:cubicBezTo>
                    <a:cubicBezTo>
                      <a:pt x="21" y="31"/>
                      <a:pt x="22" y="31"/>
                      <a:pt x="22" y="31"/>
                    </a:cubicBezTo>
                    <a:cubicBezTo>
                      <a:pt x="22" y="31"/>
                      <a:pt x="22" y="31"/>
                      <a:pt x="22" y="31"/>
                    </a:cubicBezTo>
                    <a:cubicBezTo>
                      <a:pt x="22" y="31"/>
                      <a:pt x="22" y="30"/>
                      <a:pt x="22" y="30"/>
                    </a:cubicBezTo>
                    <a:cubicBezTo>
                      <a:pt x="22" y="30"/>
                      <a:pt x="22" y="30"/>
                      <a:pt x="22" y="30"/>
                    </a:cubicBezTo>
                    <a:cubicBezTo>
                      <a:pt x="22" y="30"/>
                      <a:pt x="23" y="29"/>
                      <a:pt x="23" y="29"/>
                    </a:cubicBezTo>
                    <a:cubicBezTo>
                      <a:pt x="24" y="27"/>
                      <a:pt x="24" y="27"/>
                      <a:pt x="26" y="27"/>
                    </a:cubicBezTo>
                    <a:cubicBezTo>
                      <a:pt x="27" y="27"/>
                      <a:pt x="27" y="27"/>
                      <a:pt x="27" y="27"/>
                    </a:cubicBezTo>
                    <a:cubicBezTo>
                      <a:pt x="27" y="27"/>
                      <a:pt x="27" y="27"/>
                      <a:pt x="27" y="27"/>
                    </a:cubicBezTo>
                    <a:cubicBezTo>
                      <a:pt x="27" y="27"/>
                      <a:pt x="27" y="27"/>
                      <a:pt x="27" y="27"/>
                    </a:cubicBezTo>
                    <a:cubicBezTo>
                      <a:pt x="28" y="27"/>
                      <a:pt x="28" y="27"/>
                      <a:pt x="28" y="27"/>
                    </a:cubicBezTo>
                    <a:cubicBezTo>
                      <a:pt x="29" y="27"/>
                      <a:pt x="30" y="27"/>
                      <a:pt x="32" y="26"/>
                    </a:cubicBezTo>
                    <a:cubicBezTo>
                      <a:pt x="33" y="26"/>
                      <a:pt x="34" y="26"/>
                      <a:pt x="36" y="26"/>
                    </a:cubicBezTo>
                    <a:cubicBezTo>
                      <a:pt x="36" y="26"/>
                      <a:pt x="36" y="26"/>
                      <a:pt x="36" y="26"/>
                    </a:cubicBezTo>
                    <a:cubicBezTo>
                      <a:pt x="37" y="26"/>
                      <a:pt x="37" y="26"/>
                      <a:pt x="37" y="26"/>
                    </a:cubicBezTo>
                    <a:cubicBezTo>
                      <a:pt x="38" y="26"/>
                      <a:pt x="38" y="26"/>
                      <a:pt x="39" y="27"/>
                    </a:cubicBezTo>
                    <a:cubicBezTo>
                      <a:pt x="40" y="28"/>
                      <a:pt x="40" y="29"/>
                      <a:pt x="41" y="30"/>
                    </a:cubicBezTo>
                    <a:cubicBezTo>
                      <a:pt x="41" y="30"/>
                      <a:pt x="41" y="31"/>
                      <a:pt x="41" y="32"/>
                    </a:cubicBezTo>
                    <a:cubicBezTo>
                      <a:pt x="41" y="32"/>
                      <a:pt x="41" y="32"/>
                      <a:pt x="41" y="32"/>
                    </a:cubicBezTo>
                    <a:cubicBezTo>
                      <a:pt x="42" y="33"/>
                      <a:pt x="42" y="34"/>
                      <a:pt x="43" y="35"/>
                    </a:cubicBezTo>
                    <a:cubicBezTo>
                      <a:pt x="43" y="35"/>
                      <a:pt x="43" y="35"/>
                      <a:pt x="43" y="35"/>
                    </a:cubicBezTo>
                    <a:cubicBezTo>
                      <a:pt x="44" y="35"/>
                      <a:pt x="44" y="36"/>
                      <a:pt x="45" y="36"/>
                    </a:cubicBezTo>
                    <a:cubicBezTo>
                      <a:pt x="45" y="36"/>
                      <a:pt x="45" y="36"/>
                      <a:pt x="45" y="36"/>
                    </a:cubicBezTo>
                    <a:cubicBezTo>
                      <a:pt x="45" y="37"/>
                      <a:pt x="45" y="37"/>
                      <a:pt x="45" y="37"/>
                    </a:cubicBezTo>
                    <a:cubicBezTo>
                      <a:pt x="45" y="37"/>
                      <a:pt x="45" y="37"/>
                      <a:pt x="45" y="38"/>
                    </a:cubicBezTo>
                    <a:cubicBezTo>
                      <a:pt x="45" y="38"/>
                      <a:pt x="45" y="38"/>
                      <a:pt x="45" y="38"/>
                    </a:cubicBezTo>
                    <a:cubicBezTo>
                      <a:pt x="45" y="38"/>
                      <a:pt x="46" y="38"/>
                      <a:pt x="46" y="38"/>
                    </a:cubicBezTo>
                    <a:cubicBezTo>
                      <a:pt x="46" y="39"/>
                      <a:pt x="46" y="39"/>
                      <a:pt x="46" y="39"/>
                    </a:cubicBezTo>
                    <a:cubicBezTo>
                      <a:pt x="46" y="40"/>
                      <a:pt x="46" y="40"/>
                      <a:pt x="46" y="41"/>
                    </a:cubicBezTo>
                    <a:cubicBezTo>
                      <a:pt x="46" y="41"/>
                      <a:pt x="46" y="41"/>
                      <a:pt x="46" y="41"/>
                    </a:cubicBezTo>
                    <a:cubicBezTo>
                      <a:pt x="46" y="41"/>
                      <a:pt x="46" y="41"/>
                      <a:pt x="47" y="41"/>
                    </a:cubicBezTo>
                    <a:cubicBezTo>
                      <a:pt x="47" y="41"/>
                      <a:pt x="47" y="41"/>
                      <a:pt x="47" y="41"/>
                    </a:cubicBezTo>
                    <a:cubicBezTo>
                      <a:pt x="47" y="41"/>
                      <a:pt x="47" y="41"/>
                      <a:pt x="47" y="41"/>
                    </a:cubicBezTo>
                    <a:cubicBezTo>
                      <a:pt x="47" y="41"/>
                      <a:pt x="47" y="41"/>
                      <a:pt x="47" y="41"/>
                    </a:cubicBezTo>
                    <a:cubicBezTo>
                      <a:pt x="47" y="41"/>
                      <a:pt x="47" y="41"/>
                      <a:pt x="47" y="41"/>
                    </a:cubicBezTo>
                    <a:cubicBezTo>
                      <a:pt x="47" y="41"/>
                      <a:pt x="47" y="41"/>
                      <a:pt x="47" y="41"/>
                    </a:cubicBezTo>
                    <a:cubicBezTo>
                      <a:pt x="48" y="41"/>
                      <a:pt x="48" y="41"/>
                      <a:pt x="48" y="41"/>
                    </a:cubicBezTo>
                    <a:cubicBezTo>
                      <a:pt x="48" y="41"/>
                      <a:pt x="48" y="41"/>
                      <a:pt x="48" y="41"/>
                    </a:cubicBezTo>
                    <a:cubicBezTo>
                      <a:pt x="49" y="41"/>
                      <a:pt x="49" y="41"/>
                      <a:pt x="49" y="41"/>
                    </a:cubicBezTo>
                    <a:cubicBezTo>
                      <a:pt x="49" y="41"/>
                      <a:pt x="49" y="41"/>
                      <a:pt x="50" y="41"/>
                    </a:cubicBezTo>
                    <a:cubicBezTo>
                      <a:pt x="50" y="41"/>
                      <a:pt x="50" y="41"/>
                      <a:pt x="50" y="41"/>
                    </a:cubicBezTo>
                    <a:cubicBezTo>
                      <a:pt x="51" y="41"/>
                      <a:pt x="51" y="41"/>
                      <a:pt x="51" y="41"/>
                    </a:cubicBezTo>
                    <a:cubicBezTo>
                      <a:pt x="51" y="41"/>
                      <a:pt x="51" y="41"/>
                      <a:pt x="51" y="41"/>
                    </a:cubicBezTo>
                    <a:cubicBezTo>
                      <a:pt x="52" y="40"/>
                      <a:pt x="53" y="41"/>
                      <a:pt x="53" y="41"/>
                    </a:cubicBezTo>
                    <a:cubicBezTo>
                      <a:pt x="54" y="41"/>
                      <a:pt x="54" y="41"/>
                      <a:pt x="54" y="41"/>
                    </a:cubicBezTo>
                    <a:cubicBezTo>
                      <a:pt x="54" y="41"/>
                      <a:pt x="54" y="41"/>
                      <a:pt x="54" y="41"/>
                    </a:cubicBezTo>
                    <a:cubicBezTo>
                      <a:pt x="54" y="42"/>
                      <a:pt x="54" y="42"/>
                      <a:pt x="54" y="42"/>
                    </a:cubicBezTo>
                    <a:cubicBezTo>
                      <a:pt x="54" y="42"/>
                      <a:pt x="55" y="42"/>
                      <a:pt x="55" y="43"/>
                    </a:cubicBezTo>
                    <a:cubicBezTo>
                      <a:pt x="55" y="43"/>
                      <a:pt x="55" y="43"/>
                      <a:pt x="56" y="43"/>
                    </a:cubicBezTo>
                    <a:cubicBezTo>
                      <a:pt x="56" y="44"/>
                      <a:pt x="57" y="45"/>
                      <a:pt x="57" y="46"/>
                    </a:cubicBezTo>
                    <a:cubicBezTo>
                      <a:pt x="57" y="46"/>
                      <a:pt x="57" y="46"/>
                      <a:pt x="57" y="47"/>
                    </a:cubicBezTo>
                    <a:cubicBezTo>
                      <a:pt x="57" y="47"/>
                      <a:pt x="57" y="47"/>
                      <a:pt x="57" y="47"/>
                    </a:cubicBezTo>
                    <a:cubicBezTo>
                      <a:pt x="57" y="48"/>
                      <a:pt x="58" y="50"/>
                      <a:pt x="58" y="51"/>
                    </a:cubicBezTo>
                    <a:cubicBezTo>
                      <a:pt x="57" y="52"/>
                      <a:pt x="57" y="52"/>
                      <a:pt x="57" y="52"/>
                    </a:cubicBezTo>
                    <a:cubicBezTo>
                      <a:pt x="57" y="52"/>
                      <a:pt x="57" y="52"/>
                      <a:pt x="58" y="53"/>
                    </a:cubicBezTo>
                    <a:cubicBezTo>
                      <a:pt x="59" y="53"/>
                      <a:pt x="59" y="53"/>
                      <a:pt x="59" y="54"/>
                    </a:cubicBezTo>
                    <a:cubicBezTo>
                      <a:pt x="59" y="54"/>
                      <a:pt x="59" y="54"/>
                      <a:pt x="59" y="54"/>
                    </a:cubicBezTo>
                    <a:cubicBezTo>
                      <a:pt x="60" y="54"/>
                      <a:pt x="60" y="54"/>
                      <a:pt x="61" y="54"/>
                    </a:cubicBezTo>
                    <a:cubicBezTo>
                      <a:pt x="61" y="54"/>
                      <a:pt x="61" y="54"/>
                      <a:pt x="61" y="54"/>
                    </a:cubicBezTo>
                    <a:cubicBezTo>
                      <a:pt x="61" y="54"/>
                      <a:pt x="61" y="53"/>
                      <a:pt x="61" y="53"/>
                    </a:cubicBezTo>
                    <a:cubicBezTo>
                      <a:pt x="61" y="53"/>
                      <a:pt x="61" y="53"/>
                      <a:pt x="61" y="53"/>
                    </a:cubicBezTo>
                    <a:cubicBezTo>
                      <a:pt x="62" y="52"/>
                      <a:pt x="62" y="51"/>
                      <a:pt x="63" y="50"/>
                    </a:cubicBezTo>
                    <a:cubicBezTo>
                      <a:pt x="64" y="49"/>
                      <a:pt x="64" y="49"/>
                      <a:pt x="64" y="49"/>
                    </a:cubicBezTo>
                    <a:cubicBezTo>
                      <a:pt x="65" y="50"/>
                      <a:pt x="65" y="50"/>
                      <a:pt x="65" y="50"/>
                    </a:cubicBezTo>
                    <a:cubicBezTo>
                      <a:pt x="65" y="50"/>
                      <a:pt x="66" y="50"/>
                      <a:pt x="66" y="51"/>
                    </a:cubicBezTo>
                    <a:cubicBezTo>
                      <a:pt x="66" y="51"/>
                      <a:pt x="66" y="51"/>
                      <a:pt x="66" y="51"/>
                    </a:cubicBezTo>
                    <a:cubicBezTo>
                      <a:pt x="66" y="51"/>
                      <a:pt x="67" y="51"/>
                      <a:pt x="67" y="51"/>
                    </a:cubicBezTo>
                    <a:cubicBezTo>
                      <a:pt x="68" y="51"/>
                      <a:pt x="68" y="50"/>
                      <a:pt x="68" y="47"/>
                    </a:cubicBezTo>
                    <a:cubicBezTo>
                      <a:pt x="68" y="47"/>
                      <a:pt x="68" y="47"/>
                      <a:pt x="68" y="47"/>
                    </a:cubicBezTo>
                    <a:cubicBezTo>
                      <a:pt x="68" y="47"/>
                      <a:pt x="68" y="47"/>
                      <a:pt x="68" y="47"/>
                    </a:cubicBezTo>
                    <a:cubicBezTo>
                      <a:pt x="68" y="47"/>
                      <a:pt x="68" y="47"/>
                      <a:pt x="68" y="47"/>
                    </a:cubicBezTo>
                    <a:cubicBezTo>
                      <a:pt x="68" y="46"/>
                      <a:pt x="67" y="46"/>
                      <a:pt x="67" y="46"/>
                    </a:cubicBezTo>
                    <a:cubicBezTo>
                      <a:pt x="67" y="45"/>
                      <a:pt x="66" y="44"/>
                      <a:pt x="67" y="43"/>
                    </a:cubicBezTo>
                    <a:cubicBezTo>
                      <a:pt x="67" y="43"/>
                      <a:pt x="67" y="42"/>
                      <a:pt x="67" y="42"/>
                    </a:cubicBezTo>
                    <a:cubicBezTo>
                      <a:pt x="67" y="42"/>
                      <a:pt x="67" y="42"/>
                      <a:pt x="67" y="42"/>
                    </a:cubicBezTo>
                    <a:cubicBezTo>
                      <a:pt x="67" y="42"/>
                      <a:pt x="68" y="42"/>
                      <a:pt x="68" y="42"/>
                    </a:cubicBezTo>
                    <a:cubicBezTo>
                      <a:pt x="68" y="41"/>
                      <a:pt x="68" y="41"/>
                      <a:pt x="68" y="41"/>
                    </a:cubicBezTo>
                    <a:cubicBezTo>
                      <a:pt x="68" y="41"/>
                      <a:pt x="68" y="41"/>
                      <a:pt x="68" y="41"/>
                    </a:cubicBezTo>
                    <a:cubicBezTo>
                      <a:pt x="69" y="41"/>
                      <a:pt x="69" y="41"/>
                      <a:pt x="69" y="41"/>
                    </a:cubicBezTo>
                    <a:cubicBezTo>
                      <a:pt x="69" y="41"/>
                      <a:pt x="69" y="41"/>
                      <a:pt x="69" y="41"/>
                    </a:cubicBezTo>
                    <a:cubicBezTo>
                      <a:pt x="70" y="41"/>
                      <a:pt x="70" y="41"/>
                      <a:pt x="70" y="41"/>
                    </a:cubicBezTo>
                    <a:cubicBezTo>
                      <a:pt x="70" y="41"/>
                      <a:pt x="70" y="41"/>
                      <a:pt x="70" y="41"/>
                    </a:cubicBezTo>
                    <a:cubicBezTo>
                      <a:pt x="71" y="41"/>
                      <a:pt x="71" y="41"/>
                      <a:pt x="71" y="41"/>
                    </a:cubicBezTo>
                    <a:cubicBezTo>
                      <a:pt x="71" y="41"/>
                      <a:pt x="71" y="41"/>
                      <a:pt x="71" y="41"/>
                    </a:cubicBezTo>
                    <a:cubicBezTo>
                      <a:pt x="71" y="41"/>
                      <a:pt x="71" y="41"/>
                      <a:pt x="71" y="41"/>
                    </a:cubicBezTo>
                    <a:cubicBezTo>
                      <a:pt x="71" y="41"/>
                      <a:pt x="71" y="41"/>
                      <a:pt x="71" y="41"/>
                    </a:cubicBezTo>
                    <a:cubicBezTo>
                      <a:pt x="72" y="41"/>
                      <a:pt x="72" y="41"/>
                      <a:pt x="72" y="41"/>
                    </a:cubicBezTo>
                    <a:cubicBezTo>
                      <a:pt x="71" y="41"/>
                      <a:pt x="71" y="41"/>
                      <a:pt x="71" y="41"/>
                    </a:cubicBezTo>
                    <a:cubicBezTo>
                      <a:pt x="71" y="41"/>
                      <a:pt x="71" y="41"/>
                      <a:pt x="71" y="41"/>
                    </a:cubicBezTo>
                    <a:cubicBezTo>
                      <a:pt x="71" y="41"/>
                      <a:pt x="71" y="41"/>
                      <a:pt x="71" y="41"/>
                    </a:cubicBezTo>
                    <a:cubicBezTo>
                      <a:pt x="70" y="40"/>
                      <a:pt x="70" y="40"/>
                      <a:pt x="70" y="40"/>
                    </a:cubicBezTo>
                    <a:cubicBezTo>
                      <a:pt x="69" y="39"/>
                      <a:pt x="70" y="38"/>
                      <a:pt x="71" y="37"/>
                    </a:cubicBezTo>
                    <a:cubicBezTo>
                      <a:pt x="71" y="37"/>
                      <a:pt x="71" y="36"/>
                      <a:pt x="71" y="36"/>
                    </a:cubicBezTo>
                    <a:cubicBezTo>
                      <a:pt x="71" y="36"/>
                      <a:pt x="72" y="36"/>
                      <a:pt x="71" y="35"/>
                    </a:cubicBezTo>
                    <a:cubicBezTo>
                      <a:pt x="71" y="35"/>
                      <a:pt x="71" y="35"/>
                      <a:pt x="71" y="35"/>
                    </a:cubicBezTo>
                    <a:cubicBezTo>
                      <a:pt x="71" y="35"/>
                      <a:pt x="71" y="35"/>
                      <a:pt x="71" y="34"/>
                    </a:cubicBezTo>
                    <a:cubicBezTo>
                      <a:pt x="70" y="34"/>
                      <a:pt x="70" y="34"/>
                      <a:pt x="69" y="34"/>
                    </a:cubicBezTo>
                    <a:cubicBezTo>
                      <a:pt x="69" y="34"/>
                      <a:pt x="69" y="34"/>
                      <a:pt x="69" y="34"/>
                    </a:cubicBezTo>
                    <a:cubicBezTo>
                      <a:pt x="69" y="34"/>
                      <a:pt x="69" y="34"/>
                      <a:pt x="69" y="34"/>
                    </a:cubicBezTo>
                    <a:cubicBezTo>
                      <a:pt x="69" y="34"/>
                      <a:pt x="68" y="33"/>
                      <a:pt x="68" y="33"/>
                    </a:cubicBezTo>
                    <a:cubicBezTo>
                      <a:pt x="68" y="32"/>
                      <a:pt x="68" y="31"/>
                      <a:pt x="67" y="31"/>
                    </a:cubicBezTo>
                    <a:cubicBezTo>
                      <a:pt x="67" y="30"/>
                      <a:pt x="67" y="30"/>
                      <a:pt x="67" y="30"/>
                    </a:cubicBezTo>
                    <a:cubicBezTo>
                      <a:pt x="67" y="29"/>
                      <a:pt x="67" y="28"/>
                      <a:pt x="68" y="27"/>
                    </a:cubicBezTo>
                    <a:cubicBezTo>
                      <a:pt x="68" y="26"/>
                      <a:pt x="68" y="26"/>
                      <a:pt x="69" y="25"/>
                    </a:cubicBezTo>
                    <a:cubicBezTo>
                      <a:pt x="69" y="25"/>
                      <a:pt x="69" y="25"/>
                      <a:pt x="69" y="25"/>
                    </a:cubicBezTo>
                    <a:cubicBezTo>
                      <a:pt x="69" y="25"/>
                      <a:pt x="69" y="25"/>
                      <a:pt x="69" y="25"/>
                    </a:cubicBezTo>
                    <a:cubicBezTo>
                      <a:pt x="69" y="25"/>
                      <a:pt x="69" y="25"/>
                      <a:pt x="69" y="25"/>
                    </a:cubicBezTo>
                    <a:cubicBezTo>
                      <a:pt x="68" y="25"/>
                      <a:pt x="68" y="25"/>
                      <a:pt x="68" y="24"/>
                    </a:cubicBezTo>
                    <a:cubicBezTo>
                      <a:pt x="68" y="24"/>
                      <a:pt x="68" y="24"/>
                      <a:pt x="68" y="24"/>
                    </a:cubicBezTo>
                    <a:cubicBezTo>
                      <a:pt x="68" y="24"/>
                      <a:pt x="68" y="24"/>
                      <a:pt x="68" y="24"/>
                    </a:cubicBezTo>
                    <a:cubicBezTo>
                      <a:pt x="67" y="24"/>
                      <a:pt x="67" y="24"/>
                      <a:pt x="67" y="24"/>
                    </a:cubicBezTo>
                    <a:cubicBezTo>
                      <a:pt x="67" y="23"/>
                      <a:pt x="67" y="23"/>
                      <a:pt x="67" y="23"/>
                    </a:cubicBezTo>
                    <a:cubicBezTo>
                      <a:pt x="67" y="22"/>
                      <a:pt x="66" y="22"/>
                      <a:pt x="66" y="22"/>
                    </a:cubicBezTo>
                    <a:cubicBezTo>
                      <a:pt x="66" y="22"/>
                      <a:pt x="66" y="22"/>
                      <a:pt x="66" y="22"/>
                    </a:cubicBezTo>
                    <a:cubicBezTo>
                      <a:pt x="66" y="22"/>
                      <a:pt x="66" y="22"/>
                      <a:pt x="66" y="21"/>
                    </a:cubicBezTo>
                    <a:cubicBezTo>
                      <a:pt x="66" y="21"/>
                      <a:pt x="66" y="20"/>
                      <a:pt x="66" y="20"/>
                    </a:cubicBezTo>
                    <a:cubicBezTo>
                      <a:pt x="66" y="19"/>
                      <a:pt x="66" y="19"/>
                      <a:pt x="66" y="19"/>
                    </a:cubicBezTo>
                    <a:cubicBezTo>
                      <a:pt x="66" y="19"/>
                      <a:pt x="66" y="18"/>
                      <a:pt x="66" y="17"/>
                    </a:cubicBezTo>
                    <a:cubicBezTo>
                      <a:pt x="66" y="17"/>
                      <a:pt x="66" y="17"/>
                      <a:pt x="66" y="17"/>
                    </a:cubicBezTo>
                    <a:cubicBezTo>
                      <a:pt x="66" y="17"/>
                      <a:pt x="66" y="18"/>
                      <a:pt x="65" y="18"/>
                    </a:cubicBezTo>
                    <a:cubicBezTo>
                      <a:pt x="65" y="18"/>
                      <a:pt x="64" y="18"/>
                      <a:pt x="64" y="18"/>
                    </a:cubicBezTo>
                    <a:cubicBezTo>
                      <a:pt x="61" y="19"/>
                      <a:pt x="61" y="19"/>
                      <a:pt x="61" y="19"/>
                    </a:cubicBezTo>
                    <a:cubicBezTo>
                      <a:pt x="63" y="16"/>
                      <a:pt x="63" y="16"/>
                      <a:pt x="63" y="16"/>
                    </a:cubicBezTo>
                    <a:cubicBezTo>
                      <a:pt x="63" y="14"/>
                      <a:pt x="64" y="14"/>
                      <a:pt x="65" y="13"/>
                    </a:cubicBezTo>
                    <a:cubicBezTo>
                      <a:pt x="65" y="13"/>
                      <a:pt x="65" y="13"/>
                      <a:pt x="65" y="13"/>
                    </a:cubicBezTo>
                    <a:cubicBezTo>
                      <a:pt x="64" y="12"/>
                      <a:pt x="63" y="11"/>
                      <a:pt x="62" y="11"/>
                    </a:cubicBezTo>
                    <a:cubicBezTo>
                      <a:pt x="62" y="11"/>
                      <a:pt x="62" y="11"/>
                      <a:pt x="62" y="11"/>
                    </a:cubicBezTo>
                    <a:cubicBezTo>
                      <a:pt x="62" y="11"/>
                      <a:pt x="62" y="11"/>
                      <a:pt x="62" y="11"/>
                    </a:cubicBezTo>
                    <a:cubicBezTo>
                      <a:pt x="62" y="11"/>
                      <a:pt x="62" y="11"/>
                      <a:pt x="62" y="11"/>
                    </a:cubicBezTo>
                    <a:cubicBezTo>
                      <a:pt x="62" y="11"/>
                      <a:pt x="62" y="11"/>
                      <a:pt x="62" y="11"/>
                    </a:cubicBezTo>
                    <a:cubicBezTo>
                      <a:pt x="62" y="11"/>
                      <a:pt x="61" y="11"/>
                      <a:pt x="61" y="11"/>
                    </a:cubicBezTo>
                    <a:cubicBezTo>
                      <a:pt x="61" y="11"/>
                      <a:pt x="61" y="10"/>
                      <a:pt x="61" y="10"/>
                    </a:cubicBezTo>
                    <a:cubicBezTo>
                      <a:pt x="61" y="10"/>
                      <a:pt x="61" y="10"/>
                      <a:pt x="61" y="10"/>
                    </a:cubicBezTo>
                    <a:cubicBezTo>
                      <a:pt x="61" y="10"/>
                      <a:pt x="61" y="10"/>
                      <a:pt x="61" y="10"/>
                    </a:cubicBezTo>
                    <a:cubicBezTo>
                      <a:pt x="61" y="10"/>
                      <a:pt x="61" y="10"/>
                      <a:pt x="61" y="10"/>
                    </a:cubicBezTo>
                    <a:cubicBezTo>
                      <a:pt x="61" y="9"/>
                      <a:pt x="61" y="8"/>
                      <a:pt x="61" y="8"/>
                    </a:cubicBezTo>
                    <a:cubicBezTo>
                      <a:pt x="61" y="7"/>
                      <a:pt x="61" y="7"/>
                      <a:pt x="61" y="7"/>
                    </a:cubicBezTo>
                    <a:cubicBezTo>
                      <a:pt x="61" y="7"/>
                      <a:pt x="61" y="7"/>
                      <a:pt x="61" y="7"/>
                    </a:cubicBezTo>
                    <a:cubicBezTo>
                      <a:pt x="61" y="7"/>
                      <a:pt x="61" y="7"/>
                      <a:pt x="61" y="7"/>
                    </a:cubicBezTo>
                    <a:cubicBezTo>
                      <a:pt x="61" y="7"/>
                      <a:pt x="61" y="7"/>
                      <a:pt x="61" y="7"/>
                    </a:cubicBezTo>
                    <a:cubicBezTo>
                      <a:pt x="61" y="7"/>
                      <a:pt x="61" y="7"/>
                      <a:pt x="61" y="7"/>
                    </a:cubicBezTo>
                    <a:cubicBezTo>
                      <a:pt x="59" y="8"/>
                      <a:pt x="59" y="8"/>
                      <a:pt x="59" y="8"/>
                    </a:cubicBezTo>
                    <a:cubicBezTo>
                      <a:pt x="60" y="6"/>
                      <a:pt x="60" y="6"/>
                      <a:pt x="60" y="6"/>
                    </a:cubicBezTo>
                    <a:cubicBezTo>
                      <a:pt x="60" y="6"/>
                      <a:pt x="60" y="6"/>
                      <a:pt x="60" y="6"/>
                    </a:cubicBezTo>
                    <a:cubicBezTo>
                      <a:pt x="60" y="5"/>
                      <a:pt x="59" y="3"/>
                      <a:pt x="58" y="3"/>
                    </a:cubicBezTo>
                    <a:cubicBezTo>
                      <a:pt x="58" y="3"/>
                      <a:pt x="58" y="4"/>
                      <a:pt x="58" y="4"/>
                    </a:cubicBezTo>
                    <a:cubicBezTo>
                      <a:pt x="57" y="5"/>
                      <a:pt x="56" y="5"/>
                      <a:pt x="55" y="6"/>
                    </a:cubicBezTo>
                    <a:cubicBezTo>
                      <a:pt x="55" y="6"/>
                      <a:pt x="55" y="6"/>
                      <a:pt x="54" y="6"/>
                    </a:cubicBezTo>
                    <a:cubicBezTo>
                      <a:pt x="54" y="6"/>
                      <a:pt x="54" y="7"/>
                      <a:pt x="53" y="7"/>
                    </a:cubicBezTo>
                    <a:cubicBezTo>
                      <a:pt x="52" y="7"/>
                      <a:pt x="51" y="7"/>
                      <a:pt x="50" y="6"/>
                    </a:cubicBezTo>
                    <a:cubicBezTo>
                      <a:pt x="50" y="6"/>
                      <a:pt x="50" y="6"/>
                      <a:pt x="50" y="6"/>
                    </a:cubicBezTo>
                    <a:cubicBezTo>
                      <a:pt x="50" y="6"/>
                      <a:pt x="49" y="6"/>
                      <a:pt x="49" y="6"/>
                    </a:cubicBezTo>
                    <a:cubicBezTo>
                      <a:pt x="49" y="6"/>
                      <a:pt x="49" y="6"/>
                      <a:pt x="49" y="6"/>
                    </a:cubicBezTo>
                    <a:cubicBezTo>
                      <a:pt x="49" y="6"/>
                      <a:pt x="49" y="6"/>
                      <a:pt x="49" y="6"/>
                    </a:cubicBezTo>
                    <a:cubicBezTo>
                      <a:pt x="49" y="6"/>
                      <a:pt x="49" y="6"/>
                      <a:pt x="49" y="6"/>
                    </a:cubicBezTo>
                    <a:cubicBezTo>
                      <a:pt x="48" y="6"/>
                      <a:pt x="45" y="7"/>
                      <a:pt x="45" y="7"/>
                    </a:cubicBezTo>
                    <a:cubicBezTo>
                      <a:pt x="45" y="7"/>
                      <a:pt x="44" y="8"/>
                      <a:pt x="44" y="8"/>
                    </a:cubicBezTo>
                    <a:cubicBezTo>
                      <a:pt x="43" y="10"/>
                      <a:pt x="43" y="10"/>
                      <a:pt x="43" y="10"/>
                    </a:cubicBezTo>
                    <a:cubicBezTo>
                      <a:pt x="42" y="8"/>
                      <a:pt x="42" y="8"/>
                      <a:pt x="42" y="8"/>
                    </a:cubicBezTo>
                    <a:cubicBezTo>
                      <a:pt x="42" y="8"/>
                      <a:pt x="42" y="8"/>
                      <a:pt x="41" y="7"/>
                    </a:cubicBezTo>
                    <a:cubicBezTo>
                      <a:pt x="41" y="7"/>
                      <a:pt x="41" y="6"/>
                      <a:pt x="40" y="5"/>
                    </a:cubicBezTo>
                    <a:cubicBezTo>
                      <a:pt x="40" y="5"/>
                      <a:pt x="40" y="5"/>
                      <a:pt x="40" y="5"/>
                    </a:cubicBezTo>
                    <a:cubicBezTo>
                      <a:pt x="40" y="6"/>
                      <a:pt x="40" y="6"/>
                      <a:pt x="40" y="6"/>
                    </a:cubicBezTo>
                    <a:cubicBezTo>
                      <a:pt x="39" y="6"/>
                      <a:pt x="39" y="6"/>
                      <a:pt x="39" y="6"/>
                    </a:cubicBezTo>
                    <a:cubicBezTo>
                      <a:pt x="39" y="6"/>
                      <a:pt x="39" y="7"/>
                      <a:pt x="39" y="7"/>
                    </a:cubicBezTo>
                    <a:cubicBezTo>
                      <a:pt x="38" y="7"/>
                      <a:pt x="38" y="7"/>
                      <a:pt x="38" y="7"/>
                    </a:cubicBezTo>
                    <a:cubicBezTo>
                      <a:pt x="38" y="7"/>
                      <a:pt x="38" y="7"/>
                      <a:pt x="38" y="7"/>
                    </a:cubicBezTo>
                    <a:cubicBezTo>
                      <a:pt x="38" y="7"/>
                      <a:pt x="38" y="7"/>
                      <a:pt x="38" y="7"/>
                    </a:cubicBezTo>
                    <a:cubicBezTo>
                      <a:pt x="37" y="7"/>
                      <a:pt x="37" y="7"/>
                      <a:pt x="37" y="7"/>
                    </a:cubicBezTo>
                    <a:cubicBezTo>
                      <a:pt x="37" y="7"/>
                      <a:pt x="37" y="7"/>
                      <a:pt x="37" y="7"/>
                    </a:cubicBezTo>
                    <a:cubicBezTo>
                      <a:pt x="36" y="7"/>
                      <a:pt x="36" y="7"/>
                      <a:pt x="36" y="7"/>
                    </a:cubicBezTo>
                    <a:cubicBezTo>
                      <a:pt x="36" y="7"/>
                      <a:pt x="36" y="7"/>
                      <a:pt x="35" y="7"/>
                    </a:cubicBezTo>
                    <a:cubicBezTo>
                      <a:pt x="35" y="6"/>
                      <a:pt x="35" y="6"/>
                      <a:pt x="35" y="6"/>
                    </a:cubicBezTo>
                    <a:cubicBezTo>
                      <a:pt x="34" y="5"/>
                      <a:pt x="34" y="5"/>
                      <a:pt x="34" y="5"/>
                    </a:cubicBezTo>
                    <a:cubicBezTo>
                      <a:pt x="34" y="5"/>
                      <a:pt x="34" y="5"/>
                      <a:pt x="34" y="5"/>
                    </a:cubicBezTo>
                    <a:cubicBezTo>
                      <a:pt x="34" y="5"/>
                      <a:pt x="33" y="5"/>
                      <a:pt x="33" y="4"/>
                    </a:cubicBezTo>
                    <a:cubicBezTo>
                      <a:pt x="33" y="4"/>
                      <a:pt x="33" y="4"/>
                      <a:pt x="33" y="4"/>
                    </a:cubicBezTo>
                    <a:cubicBezTo>
                      <a:pt x="33" y="4"/>
                      <a:pt x="33" y="4"/>
                      <a:pt x="33" y="4"/>
                    </a:cubicBezTo>
                    <a:cubicBezTo>
                      <a:pt x="33" y="3"/>
                      <a:pt x="33" y="3"/>
                      <a:pt x="33" y="3"/>
                    </a:cubicBezTo>
                    <a:cubicBezTo>
                      <a:pt x="33" y="3"/>
                      <a:pt x="33" y="3"/>
                      <a:pt x="33" y="3"/>
                    </a:cubicBezTo>
                    <a:cubicBezTo>
                      <a:pt x="32" y="3"/>
                      <a:pt x="31" y="3"/>
                      <a:pt x="30" y="3"/>
                    </a:cubicBezTo>
                    <a:cubicBezTo>
                      <a:pt x="28" y="4"/>
                      <a:pt x="26" y="4"/>
                      <a:pt x="24" y="4"/>
                    </a:cubicBezTo>
                    <a:cubicBezTo>
                      <a:pt x="24" y="4"/>
                      <a:pt x="24" y="4"/>
                      <a:pt x="24" y="4"/>
                    </a:cubicBezTo>
                    <a:cubicBezTo>
                      <a:pt x="24" y="4"/>
                      <a:pt x="23" y="4"/>
                      <a:pt x="23" y="4"/>
                    </a:cubicBezTo>
                    <a:cubicBezTo>
                      <a:pt x="21" y="3"/>
                      <a:pt x="20" y="3"/>
                      <a:pt x="19" y="2"/>
                    </a:cubicBezTo>
                    <a:cubicBezTo>
                      <a:pt x="18" y="2"/>
                      <a:pt x="18" y="2"/>
                      <a:pt x="18" y="2"/>
                    </a:cubicBezTo>
                    <a:cubicBezTo>
                      <a:pt x="18" y="2"/>
                      <a:pt x="17" y="1"/>
                      <a:pt x="17" y="1"/>
                    </a:cubicBezTo>
                    <a:cubicBezTo>
                      <a:pt x="16" y="1"/>
                      <a:pt x="16" y="1"/>
                      <a:pt x="16" y="1"/>
                    </a:cubicBezTo>
                    <a:cubicBezTo>
                      <a:pt x="16" y="1"/>
                      <a:pt x="16" y="1"/>
                      <a:pt x="16" y="1"/>
                    </a:cubicBezTo>
                    <a:cubicBezTo>
                      <a:pt x="15" y="1"/>
                      <a:pt x="15" y="0"/>
                      <a:pt x="14" y="0"/>
                    </a:cubicBezTo>
                    <a:cubicBezTo>
                      <a:pt x="14" y="0"/>
                      <a:pt x="14" y="0"/>
                      <a:pt x="14" y="0"/>
                    </a:cubicBezTo>
                    <a:cubicBezTo>
                      <a:pt x="14" y="0"/>
                      <a:pt x="13" y="0"/>
                      <a:pt x="13" y="0"/>
                    </a:cubicBezTo>
                    <a:cubicBezTo>
                      <a:pt x="13" y="1"/>
                      <a:pt x="13" y="1"/>
                      <a:pt x="13" y="1"/>
                    </a:cubicBezTo>
                    <a:cubicBezTo>
                      <a:pt x="13" y="2"/>
                      <a:pt x="13" y="2"/>
                      <a:pt x="13" y="3"/>
                    </a:cubicBezTo>
                    <a:cubicBezTo>
                      <a:pt x="13" y="3"/>
                      <a:pt x="13" y="4"/>
                      <a:pt x="13" y="4"/>
                    </a:cubicBezTo>
                    <a:cubicBezTo>
                      <a:pt x="12" y="4"/>
                      <a:pt x="12" y="4"/>
                      <a:pt x="12" y="4"/>
                    </a:cubicBezTo>
                    <a:cubicBezTo>
                      <a:pt x="12" y="5"/>
                      <a:pt x="12" y="5"/>
                      <a:pt x="12" y="5"/>
                    </a:cubicBezTo>
                    <a:cubicBezTo>
                      <a:pt x="12" y="5"/>
                      <a:pt x="12" y="5"/>
                      <a:pt x="12" y="5"/>
                    </a:cubicBezTo>
                    <a:cubicBezTo>
                      <a:pt x="12" y="6"/>
                      <a:pt x="13" y="7"/>
                      <a:pt x="13" y="9"/>
                    </a:cubicBezTo>
                    <a:cubicBezTo>
                      <a:pt x="13" y="9"/>
                      <a:pt x="13" y="9"/>
                      <a:pt x="13" y="9"/>
                    </a:cubicBezTo>
                    <a:cubicBezTo>
                      <a:pt x="13" y="9"/>
                      <a:pt x="13" y="9"/>
                      <a:pt x="13" y="9"/>
                    </a:cubicBezTo>
                    <a:cubicBezTo>
                      <a:pt x="13" y="9"/>
                      <a:pt x="13" y="10"/>
                      <a:pt x="12" y="10"/>
                    </a:cubicBezTo>
                    <a:cubicBezTo>
                      <a:pt x="12" y="11"/>
                      <a:pt x="12" y="11"/>
                      <a:pt x="12" y="11"/>
                    </a:cubicBezTo>
                    <a:cubicBezTo>
                      <a:pt x="12" y="11"/>
                      <a:pt x="11" y="11"/>
                      <a:pt x="11" y="11"/>
                    </a:cubicBezTo>
                    <a:cubicBezTo>
                      <a:pt x="11" y="11"/>
                      <a:pt x="11" y="11"/>
                      <a:pt x="11" y="11"/>
                    </a:cubicBezTo>
                    <a:cubicBezTo>
                      <a:pt x="10" y="11"/>
                      <a:pt x="10" y="11"/>
                      <a:pt x="10" y="11"/>
                    </a:cubicBezTo>
                    <a:cubicBezTo>
                      <a:pt x="9" y="11"/>
                      <a:pt x="8" y="11"/>
                      <a:pt x="6" y="12"/>
                    </a:cubicBezTo>
                    <a:cubicBezTo>
                      <a:pt x="6" y="12"/>
                      <a:pt x="6" y="12"/>
                      <a:pt x="6" y="12"/>
                    </a:cubicBezTo>
                    <a:cubicBezTo>
                      <a:pt x="5" y="12"/>
                      <a:pt x="5" y="12"/>
                      <a:pt x="5" y="12"/>
                    </a:cubicBezTo>
                    <a:cubicBezTo>
                      <a:pt x="4" y="12"/>
                      <a:pt x="4" y="12"/>
                      <a:pt x="4" y="12"/>
                    </a:cubicBezTo>
                    <a:cubicBezTo>
                      <a:pt x="3" y="12"/>
                      <a:pt x="3" y="12"/>
                      <a:pt x="3" y="12"/>
                    </a:cubicBezTo>
                    <a:cubicBezTo>
                      <a:pt x="2" y="13"/>
                      <a:pt x="1" y="15"/>
                      <a:pt x="0" y="16"/>
                    </a:cubicBezTo>
                    <a:cubicBezTo>
                      <a:pt x="0" y="16"/>
                      <a:pt x="0" y="16"/>
                      <a:pt x="0" y="16"/>
                    </a:cubicBezTo>
                    <a:cubicBezTo>
                      <a:pt x="1" y="17"/>
                      <a:pt x="1" y="17"/>
                      <a:pt x="1" y="17"/>
                    </a:cubicBezTo>
                    <a:cubicBezTo>
                      <a:pt x="1" y="17"/>
                      <a:pt x="0" y="17"/>
                      <a:pt x="1" y="18"/>
                    </a:cubicBezTo>
                    <a:cubicBezTo>
                      <a:pt x="1" y="19"/>
                      <a:pt x="1" y="20"/>
                      <a:pt x="2" y="19"/>
                    </a:cubicBezTo>
                    <a:cubicBezTo>
                      <a:pt x="2" y="19"/>
                      <a:pt x="2" y="20"/>
                      <a:pt x="2" y="20"/>
                    </a:cubicBezTo>
                    <a:cubicBezTo>
                      <a:pt x="3" y="20"/>
                      <a:pt x="3" y="18"/>
                      <a:pt x="4" y="18"/>
                    </a:cubicBezTo>
                    <a:cubicBezTo>
                      <a:pt x="3" y="18"/>
                      <a:pt x="2" y="20"/>
                      <a:pt x="2" y="21"/>
                    </a:cubicBezTo>
                    <a:cubicBezTo>
                      <a:pt x="2" y="22"/>
                      <a:pt x="3" y="21"/>
                      <a:pt x="3" y="22"/>
                    </a:cubicBezTo>
                    <a:cubicBezTo>
                      <a:pt x="4" y="23"/>
                      <a:pt x="4" y="24"/>
                      <a:pt x="4" y="25"/>
                    </a:cubicBezTo>
                    <a:cubicBezTo>
                      <a:pt x="5" y="24"/>
                      <a:pt x="7" y="27"/>
                      <a:pt x="8" y="26"/>
                    </a:cubicBezTo>
                    <a:cubicBezTo>
                      <a:pt x="8" y="26"/>
                      <a:pt x="8" y="25"/>
                      <a:pt x="9" y="25"/>
                    </a:cubicBezTo>
                    <a:cubicBezTo>
                      <a:pt x="9" y="26"/>
                      <a:pt x="11" y="30"/>
                      <a:pt x="12" y="27"/>
                    </a:cubicBezTo>
                    <a:cubicBezTo>
                      <a:pt x="11" y="30"/>
                      <a:pt x="11" y="30"/>
                      <a:pt x="13" y="29"/>
                    </a:cubicBezTo>
                    <a:cubicBezTo>
                      <a:pt x="13" y="30"/>
                      <a:pt x="12" y="31"/>
                      <a:pt x="12" y="32"/>
                    </a:cubicBezTo>
                    <a:cubicBezTo>
                      <a:pt x="13" y="31"/>
                      <a:pt x="13" y="32"/>
                      <a:pt x="14" y="31"/>
                    </a:cubicBezTo>
                    <a:cubicBezTo>
                      <a:pt x="14" y="32"/>
                      <a:pt x="15" y="34"/>
                      <a:pt x="16" y="35"/>
                    </a:cubicBezTo>
                    <a:close/>
                    <a:moveTo>
                      <a:pt x="1" y="17"/>
                    </a:moveTo>
                    <a:cubicBezTo>
                      <a:pt x="2" y="16"/>
                      <a:pt x="1" y="16"/>
                      <a:pt x="2" y="16"/>
                    </a:cubicBezTo>
                    <a:cubicBezTo>
                      <a:pt x="2" y="16"/>
                      <a:pt x="2" y="16"/>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1" name="Freeform 3043">
                <a:extLst>
                  <a:ext uri="{FF2B5EF4-FFF2-40B4-BE49-F238E27FC236}">
                    <a16:creationId xmlns:a16="http://schemas.microsoft.com/office/drawing/2014/main" id="{D8D140B8-A23C-4F31-A1F0-B03DA4A5120E}"/>
                  </a:ext>
                </a:extLst>
              </p:cNvPr>
              <p:cNvSpPr>
                <a:spLocks/>
              </p:cNvSpPr>
              <p:nvPr/>
            </p:nvSpPr>
            <p:spPr bwMode="auto">
              <a:xfrm>
                <a:off x="3419" y="2412"/>
                <a:ext cx="185" cy="130"/>
              </a:xfrm>
              <a:custGeom>
                <a:avLst/>
                <a:gdLst>
                  <a:gd name="T0" fmla="*/ 75 w 78"/>
                  <a:gd name="T1" fmla="*/ 36 h 55"/>
                  <a:gd name="T2" fmla="*/ 78 w 78"/>
                  <a:gd name="T3" fmla="*/ 33 h 55"/>
                  <a:gd name="T4" fmla="*/ 76 w 78"/>
                  <a:gd name="T5" fmla="*/ 29 h 55"/>
                  <a:gd name="T6" fmla="*/ 74 w 78"/>
                  <a:gd name="T7" fmla="*/ 27 h 55"/>
                  <a:gd name="T8" fmla="*/ 76 w 78"/>
                  <a:gd name="T9" fmla="*/ 26 h 55"/>
                  <a:gd name="T10" fmla="*/ 76 w 78"/>
                  <a:gd name="T11" fmla="*/ 25 h 55"/>
                  <a:gd name="T12" fmla="*/ 70 w 78"/>
                  <a:gd name="T13" fmla="*/ 25 h 55"/>
                  <a:gd name="T14" fmla="*/ 69 w 78"/>
                  <a:gd name="T15" fmla="*/ 24 h 55"/>
                  <a:gd name="T16" fmla="*/ 64 w 78"/>
                  <a:gd name="T17" fmla="*/ 24 h 55"/>
                  <a:gd name="T18" fmla="*/ 64 w 78"/>
                  <a:gd name="T19" fmla="*/ 21 h 55"/>
                  <a:gd name="T20" fmla="*/ 64 w 78"/>
                  <a:gd name="T21" fmla="*/ 21 h 55"/>
                  <a:gd name="T22" fmla="*/ 65 w 78"/>
                  <a:gd name="T23" fmla="*/ 16 h 55"/>
                  <a:gd name="T24" fmla="*/ 60 w 78"/>
                  <a:gd name="T25" fmla="*/ 15 h 55"/>
                  <a:gd name="T26" fmla="*/ 59 w 78"/>
                  <a:gd name="T27" fmla="*/ 11 h 55"/>
                  <a:gd name="T28" fmla="*/ 56 w 78"/>
                  <a:gd name="T29" fmla="*/ 6 h 55"/>
                  <a:gd name="T30" fmla="*/ 54 w 78"/>
                  <a:gd name="T31" fmla="*/ 1 h 55"/>
                  <a:gd name="T32" fmla="*/ 53 w 78"/>
                  <a:gd name="T33" fmla="*/ 1 h 55"/>
                  <a:gd name="T34" fmla="*/ 50 w 78"/>
                  <a:gd name="T35" fmla="*/ 0 h 55"/>
                  <a:gd name="T36" fmla="*/ 48 w 78"/>
                  <a:gd name="T37" fmla="*/ 0 h 55"/>
                  <a:gd name="T38" fmla="*/ 46 w 78"/>
                  <a:gd name="T39" fmla="*/ 2 h 55"/>
                  <a:gd name="T40" fmla="*/ 41 w 78"/>
                  <a:gd name="T41" fmla="*/ 5 h 55"/>
                  <a:gd name="T42" fmla="*/ 37 w 78"/>
                  <a:gd name="T43" fmla="*/ 7 h 55"/>
                  <a:gd name="T44" fmla="*/ 34 w 78"/>
                  <a:gd name="T45" fmla="*/ 10 h 55"/>
                  <a:gd name="T46" fmla="*/ 32 w 78"/>
                  <a:gd name="T47" fmla="*/ 10 h 55"/>
                  <a:gd name="T48" fmla="*/ 30 w 78"/>
                  <a:gd name="T49" fmla="*/ 9 h 55"/>
                  <a:gd name="T50" fmla="*/ 26 w 78"/>
                  <a:gd name="T51" fmla="*/ 14 h 55"/>
                  <a:gd name="T52" fmla="*/ 23 w 78"/>
                  <a:gd name="T53" fmla="*/ 15 h 55"/>
                  <a:gd name="T54" fmla="*/ 23 w 78"/>
                  <a:gd name="T55" fmla="*/ 17 h 55"/>
                  <a:gd name="T56" fmla="*/ 22 w 78"/>
                  <a:gd name="T57" fmla="*/ 19 h 55"/>
                  <a:gd name="T58" fmla="*/ 21 w 78"/>
                  <a:gd name="T59" fmla="*/ 20 h 55"/>
                  <a:gd name="T60" fmla="*/ 19 w 78"/>
                  <a:gd name="T61" fmla="*/ 20 h 55"/>
                  <a:gd name="T62" fmla="*/ 18 w 78"/>
                  <a:gd name="T63" fmla="*/ 20 h 55"/>
                  <a:gd name="T64" fmla="*/ 13 w 78"/>
                  <a:gd name="T65" fmla="*/ 20 h 55"/>
                  <a:gd name="T66" fmla="*/ 11 w 78"/>
                  <a:gd name="T67" fmla="*/ 25 h 55"/>
                  <a:gd name="T68" fmla="*/ 11 w 78"/>
                  <a:gd name="T69" fmla="*/ 28 h 55"/>
                  <a:gd name="T70" fmla="*/ 10 w 78"/>
                  <a:gd name="T71" fmla="*/ 30 h 55"/>
                  <a:gd name="T72" fmla="*/ 4 w 78"/>
                  <a:gd name="T73" fmla="*/ 33 h 55"/>
                  <a:gd name="T74" fmla="*/ 2 w 78"/>
                  <a:gd name="T75" fmla="*/ 33 h 55"/>
                  <a:gd name="T76" fmla="*/ 0 w 78"/>
                  <a:gd name="T77" fmla="*/ 42 h 55"/>
                  <a:gd name="T78" fmla="*/ 0 w 78"/>
                  <a:gd name="T79" fmla="*/ 46 h 55"/>
                  <a:gd name="T80" fmla="*/ 2 w 78"/>
                  <a:gd name="T81" fmla="*/ 47 h 55"/>
                  <a:gd name="T82" fmla="*/ 4 w 78"/>
                  <a:gd name="T83" fmla="*/ 50 h 55"/>
                  <a:gd name="T84" fmla="*/ 7 w 78"/>
                  <a:gd name="T85" fmla="*/ 54 h 55"/>
                  <a:gd name="T86" fmla="*/ 14 w 78"/>
                  <a:gd name="T87" fmla="*/ 52 h 55"/>
                  <a:gd name="T88" fmla="*/ 20 w 78"/>
                  <a:gd name="T89" fmla="*/ 51 h 55"/>
                  <a:gd name="T90" fmla="*/ 21 w 78"/>
                  <a:gd name="T91" fmla="*/ 51 h 55"/>
                  <a:gd name="T92" fmla="*/ 25 w 78"/>
                  <a:gd name="T93" fmla="*/ 54 h 55"/>
                  <a:gd name="T94" fmla="*/ 24 w 78"/>
                  <a:gd name="T95" fmla="*/ 46 h 55"/>
                  <a:gd name="T96" fmla="*/ 25 w 78"/>
                  <a:gd name="T97" fmla="*/ 39 h 55"/>
                  <a:gd name="T98" fmla="*/ 32 w 78"/>
                  <a:gd name="T99" fmla="*/ 41 h 55"/>
                  <a:gd name="T100" fmla="*/ 42 w 78"/>
                  <a:gd name="T101" fmla="*/ 40 h 55"/>
                  <a:gd name="T102" fmla="*/ 47 w 78"/>
                  <a:gd name="T103" fmla="*/ 40 h 55"/>
                  <a:gd name="T104" fmla="*/ 48 w 78"/>
                  <a:gd name="T105" fmla="*/ 40 h 55"/>
                  <a:gd name="T106" fmla="*/ 49 w 78"/>
                  <a:gd name="T107" fmla="*/ 40 h 55"/>
                  <a:gd name="T108" fmla="*/ 51 w 78"/>
                  <a:gd name="T109" fmla="*/ 39 h 55"/>
                  <a:gd name="T110" fmla="*/ 52 w 78"/>
                  <a:gd name="T111" fmla="*/ 39 h 55"/>
                  <a:gd name="T112" fmla="*/ 54 w 78"/>
                  <a:gd name="T113" fmla="*/ 39 h 55"/>
                  <a:gd name="T114" fmla="*/ 62 w 78"/>
                  <a:gd name="T115" fmla="*/ 40 h 55"/>
                  <a:gd name="T116" fmla="*/ 65 w 78"/>
                  <a:gd name="T117" fmla="*/ 40 h 55"/>
                  <a:gd name="T118" fmla="*/ 69 w 78"/>
                  <a:gd name="T119" fmla="*/ 36 h 55"/>
                  <a:gd name="T120" fmla="*/ 74 w 78"/>
                  <a:gd name="T121"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55">
                    <a:moveTo>
                      <a:pt x="75" y="36"/>
                    </a:moveTo>
                    <a:cubicBezTo>
                      <a:pt x="75" y="36"/>
                      <a:pt x="75" y="36"/>
                      <a:pt x="75" y="36"/>
                    </a:cubicBezTo>
                    <a:cubicBezTo>
                      <a:pt x="75" y="36"/>
                      <a:pt x="75" y="36"/>
                      <a:pt x="75" y="36"/>
                    </a:cubicBezTo>
                    <a:cubicBezTo>
                      <a:pt x="76" y="36"/>
                      <a:pt x="76" y="35"/>
                      <a:pt x="77" y="35"/>
                    </a:cubicBezTo>
                    <a:cubicBezTo>
                      <a:pt x="77" y="34"/>
                      <a:pt x="78" y="34"/>
                      <a:pt x="78" y="33"/>
                    </a:cubicBezTo>
                    <a:cubicBezTo>
                      <a:pt x="78" y="33"/>
                      <a:pt x="78" y="33"/>
                      <a:pt x="78" y="33"/>
                    </a:cubicBezTo>
                    <a:cubicBezTo>
                      <a:pt x="78" y="32"/>
                      <a:pt x="77" y="32"/>
                      <a:pt x="77" y="31"/>
                    </a:cubicBezTo>
                    <a:cubicBezTo>
                      <a:pt x="77" y="31"/>
                      <a:pt x="77" y="31"/>
                      <a:pt x="77" y="31"/>
                    </a:cubicBezTo>
                    <a:cubicBezTo>
                      <a:pt x="76" y="30"/>
                      <a:pt x="76" y="30"/>
                      <a:pt x="76" y="29"/>
                    </a:cubicBezTo>
                    <a:cubicBezTo>
                      <a:pt x="76" y="29"/>
                      <a:pt x="76" y="29"/>
                      <a:pt x="76" y="29"/>
                    </a:cubicBezTo>
                    <a:cubicBezTo>
                      <a:pt x="75" y="29"/>
                      <a:pt x="75" y="29"/>
                      <a:pt x="75" y="28"/>
                    </a:cubicBezTo>
                    <a:cubicBezTo>
                      <a:pt x="74" y="27"/>
                      <a:pt x="74" y="27"/>
                      <a:pt x="74" y="27"/>
                    </a:cubicBezTo>
                    <a:cubicBezTo>
                      <a:pt x="75" y="27"/>
                      <a:pt x="75" y="27"/>
                      <a:pt x="75" y="27"/>
                    </a:cubicBezTo>
                    <a:cubicBezTo>
                      <a:pt x="75" y="26"/>
                      <a:pt x="76" y="26"/>
                      <a:pt x="76" y="26"/>
                    </a:cubicBezTo>
                    <a:cubicBezTo>
                      <a:pt x="76" y="26"/>
                      <a:pt x="76" y="26"/>
                      <a:pt x="76" y="26"/>
                    </a:cubicBezTo>
                    <a:cubicBezTo>
                      <a:pt x="76" y="26"/>
                      <a:pt x="76" y="26"/>
                      <a:pt x="76" y="26"/>
                    </a:cubicBezTo>
                    <a:cubicBezTo>
                      <a:pt x="76" y="26"/>
                      <a:pt x="76" y="26"/>
                      <a:pt x="76" y="26"/>
                    </a:cubicBezTo>
                    <a:cubicBezTo>
                      <a:pt x="76" y="25"/>
                      <a:pt x="76" y="25"/>
                      <a:pt x="76" y="25"/>
                    </a:cubicBezTo>
                    <a:cubicBezTo>
                      <a:pt x="76" y="26"/>
                      <a:pt x="75" y="26"/>
                      <a:pt x="74" y="26"/>
                    </a:cubicBezTo>
                    <a:cubicBezTo>
                      <a:pt x="73" y="26"/>
                      <a:pt x="73" y="26"/>
                      <a:pt x="73" y="26"/>
                    </a:cubicBezTo>
                    <a:cubicBezTo>
                      <a:pt x="72" y="26"/>
                      <a:pt x="71" y="26"/>
                      <a:pt x="70" y="25"/>
                    </a:cubicBezTo>
                    <a:cubicBezTo>
                      <a:pt x="70" y="25"/>
                      <a:pt x="70" y="25"/>
                      <a:pt x="69" y="25"/>
                    </a:cubicBezTo>
                    <a:cubicBezTo>
                      <a:pt x="69" y="24"/>
                      <a:pt x="69" y="24"/>
                      <a:pt x="69" y="24"/>
                    </a:cubicBezTo>
                    <a:cubicBezTo>
                      <a:pt x="69" y="24"/>
                      <a:pt x="69" y="24"/>
                      <a:pt x="69" y="24"/>
                    </a:cubicBezTo>
                    <a:cubicBezTo>
                      <a:pt x="68" y="24"/>
                      <a:pt x="67" y="23"/>
                      <a:pt x="66" y="23"/>
                    </a:cubicBezTo>
                    <a:cubicBezTo>
                      <a:pt x="66" y="22"/>
                      <a:pt x="65" y="22"/>
                      <a:pt x="65" y="22"/>
                    </a:cubicBezTo>
                    <a:cubicBezTo>
                      <a:pt x="64" y="24"/>
                      <a:pt x="64" y="24"/>
                      <a:pt x="64" y="24"/>
                    </a:cubicBezTo>
                    <a:cubicBezTo>
                      <a:pt x="65" y="22"/>
                      <a:pt x="65" y="22"/>
                      <a:pt x="65" y="22"/>
                    </a:cubicBezTo>
                    <a:cubicBezTo>
                      <a:pt x="65" y="22"/>
                      <a:pt x="65" y="22"/>
                      <a:pt x="65" y="22"/>
                    </a:cubicBezTo>
                    <a:cubicBezTo>
                      <a:pt x="65" y="22"/>
                      <a:pt x="64" y="21"/>
                      <a:pt x="64" y="21"/>
                    </a:cubicBezTo>
                    <a:cubicBezTo>
                      <a:pt x="63" y="22"/>
                      <a:pt x="63" y="22"/>
                      <a:pt x="63" y="22"/>
                    </a:cubicBezTo>
                    <a:cubicBezTo>
                      <a:pt x="64" y="21"/>
                      <a:pt x="64" y="21"/>
                      <a:pt x="64" y="21"/>
                    </a:cubicBezTo>
                    <a:cubicBezTo>
                      <a:pt x="64" y="21"/>
                      <a:pt x="64" y="21"/>
                      <a:pt x="64" y="21"/>
                    </a:cubicBezTo>
                    <a:cubicBezTo>
                      <a:pt x="64" y="21"/>
                      <a:pt x="64" y="20"/>
                      <a:pt x="64" y="20"/>
                    </a:cubicBezTo>
                    <a:cubicBezTo>
                      <a:pt x="64" y="20"/>
                      <a:pt x="64" y="19"/>
                      <a:pt x="64" y="18"/>
                    </a:cubicBezTo>
                    <a:cubicBezTo>
                      <a:pt x="64" y="17"/>
                      <a:pt x="64" y="17"/>
                      <a:pt x="65" y="16"/>
                    </a:cubicBezTo>
                    <a:cubicBezTo>
                      <a:pt x="64" y="16"/>
                      <a:pt x="64" y="16"/>
                      <a:pt x="63" y="16"/>
                    </a:cubicBezTo>
                    <a:cubicBezTo>
                      <a:pt x="63" y="15"/>
                      <a:pt x="63" y="15"/>
                      <a:pt x="63" y="15"/>
                    </a:cubicBezTo>
                    <a:cubicBezTo>
                      <a:pt x="62" y="15"/>
                      <a:pt x="61" y="15"/>
                      <a:pt x="60" y="15"/>
                    </a:cubicBezTo>
                    <a:cubicBezTo>
                      <a:pt x="60" y="14"/>
                      <a:pt x="60" y="14"/>
                      <a:pt x="60" y="14"/>
                    </a:cubicBezTo>
                    <a:cubicBezTo>
                      <a:pt x="60" y="14"/>
                      <a:pt x="60" y="14"/>
                      <a:pt x="60" y="14"/>
                    </a:cubicBezTo>
                    <a:cubicBezTo>
                      <a:pt x="59" y="13"/>
                      <a:pt x="59" y="12"/>
                      <a:pt x="59" y="11"/>
                    </a:cubicBezTo>
                    <a:cubicBezTo>
                      <a:pt x="59" y="11"/>
                      <a:pt x="58" y="10"/>
                      <a:pt x="58" y="9"/>
                    </a:cubicBezTo>
                    <a:cubicBezTo>
                      <a:pt x="58" y="9"/>
                      <a:pt x="58" y="9"/>
                      <a:pt x="57" y="8"/>
                    </a:cubicBezTo>
                    <a:cubicBezTo>
                      <a:pt x="57" y="7"/>
                      <a:pt x="56" y="7"/>
                      <a:pt x="56" y="6"/>
                    </a:cubicBezTo>
                    <a:cubicBezTo>
                      <a:pt x="56" y="2"/>
                      <a:pt x="56" y="2"/>
                      <a:pt x="56" y="2"/>
                    </a:cubicBezTo>
                    <a:cubicBezTo>
                      <a:pt x="55" y="1"/>
                      <a:pt x="55" y="1"/>
                      <a:pt x="55" y="1"/>
                    </a:cubicBezTo>
                    <a:cubicBezTo>
                      <a:pt x="54" y="1"/>
                      <a:pt x="54" y="1"/>
                      <a:pt x="54" y="1"/>
                    </a:cubicBezTo>
                    <a:cubicBezTo>
                      <a:pt x="54" y="1"/>
                      <a:pt x="54" y="1"/>
                      <a:pt x="54" y="1"/>
                    </a:cubicBezTo>
                    <a:cubicBezTo>
                      <a:pt x="54" y="1"/>
                      <a:pt x="54" y="1"/>
                      <a:pt x="54" y="1"/>
                    </a:cubicBezTo>
                    <a:cubicBezTo>
                      <a:pt x="53" y="1"/>
                      <a:pt x="53" y="1"/>
                      <a:pt x="53" y="1"/>
                    </a:cubicBezTo>
                    <a:cubicBezTo>
                      <a:pt x="52" y="1"/>
                      <a:pt x="52" y="1"/>
                      <a:pt x="52" y="1"/>
                    </a:cubicBezTo>
                    <a:cubicBezTo>
                      <a:pt x="51" y="1"/>
                      <a:pt x="51" y="1"/>
                      <a:pt x="51" y="1"/>
                    </a:cubicBezTo>
                    <a:cubicBezTo>
                      <a:pt x="51" y="1"/>
                      <a:pt x="50" y="0"/>
                      <a:pt x="50" y="0"/>
                    </a:cubicBezTo>
                    <a:cubicBezTo>
                      <a:pt x="50" y="0"/>
                      <a:pt x="50" y="0"/>
                      <a:pt x="50" y="0"/>
                    </a:cubicBezTo>
                    <a:cubicBezTo>
                      <a:pt x="50" y="0"/>
                      <a:pt x="50" y="0"/>
                      <a:pt x="50" y="0"/>
                    </a:cubicBezTo>
                    <a:cubicBezTo>
                      <a:pt x="49" y="0"/>
                      <a:pt x="48" y="0"/>
                      <a:pt x="48" y="0"/>
                    </a:cubicBezTo>
                    <a:cubicBezTo>
                      <a:pt x="47" y="1"/>
                      <a:pt x="47" y="1"/>
                      <a:pt x="47" y="1"/>
                    </a:cubicBezTo>
                    <a:cubicBezTo>
                      <a:pt x="47" y="1"/>
                      <a:pt x="47" y="1"/>
                      <a:pt x="47" y="2"/>
                    </a:cubicBezTo>
                    <a:cubicBezTo>
                      <a:pt x="46" y="2"/>
                      <a:pt x="46" y="2"/>
                      <a:pt x="46" y="2"/>
                    </a:cubicBezTo>
                    <a:cubicBezTo>
                      <a:pt x="46" y="3"/>
                      <a:pt x="45" y="3"/>
                      <a:pt x="44" y="3"/>
                    </a:cubicBezTo>
                    <a:cubicBezTo>
                      <a:pt x="43" y="4"/>
                      <a:pt x="42" y="5"/>
                      <a:pt x="41" y="5"/>
                    </a:cubicBezTo>
                    <a:cubicBezTo>
                      <a:pt x="41" y="5"/>
                      <a:pt x="41" y="5"/>
                      <a:pt x="41" y="5"/>
                    </a:cubicBezTo>
                    <a:cubicBezTo>
                      <a:pt x="40" y="5"/>
                      <a:pt x="40" y="5"/>
                      <a:pt x="39" y="6"/>
                    </a:cubicBezTo>
                    <a:cubicBezTo>
                      <a:pt x="39" y="6"/>
                      <a:pt x="39" y="6"/>
                      <a:pt x="39" y="6"/>
                    </a:cubicBezTo>
                    <a:cubicBezTo>
                      <a:pt x="38" y="6"/>
                      <a:pt x="38" y="7"/>
                      <a:pt x="37" y="7"/>
                    </a:cubicBezTo>
                    <a:cubicBezTo>
                      <a:pt x="36" y="7"/>
                      <a:pt x="36" y="7"/>
                      <a:pt x="36" y="8"/>
                    </a:cubicBezTo>
                    <a:cubicBezTo>
                      <a:pt x="36" y="8"/>
                      <a:pt x="35" y="8"/>
                      <a:pt x="35" y="9"/>
                    </a:cubicBezTo>
                    <a:cubicBezTo>
                      <a:pt x="35" y="9"/>
                      <a:pt x="35" y="9"/>
                      <a:pt x="34" y="10"/>
                    </a:cubicBezTo>
                    <a:cubicBezTo>
                      <a:pt x="34" y="10"/>
                      <a:pt x="34" y="10"/>
                      <a:pt x="33" y="10"/>
                    </a:cubicBezTo>
                    <a:cubicBezTo>
                      <a:pt x="33" y="10"/>
                      <a:pt x="33" y="10"/>
                      <a:pt x="33" y="10"/>
                    </a:cubicBezTo>
                    <a:cubicBezTo>
                      <a:pt x="32" y="10"/>
                      <a:pt x="32" y="10"/>
                      <a:pt x="32" y="10"/>
                    </a:cubicBezTo>
                    <a:cubicBezTo>
                      <a:pt x="32" y="10"/>
                      <a:pt x="32" y="9"/>
                      <a:pt x="32" y="9"/>
                    </a:cubicBezTo>
                    <a:cubicBezTo>
                      <a:pt x="31" y="9"/>
                      <a:pt x="31" y="9"/>
                      <a:pt x="31" y="9"/>
                    </a:cubicBezTo>
                    <a:cubicBezTo>
                      <a:pt x="31" y="9"/>
                      <a:pt x="30" y="9"/>
                      <a:pt x="30" y="9"/>
                    </a:cubicBezTo>
                    <a:cubicBezTo>
                      <a:pt x="29" y="9"/>
                      <a:pt x="28" y="11"/>
                      <a:pt x="27" y="12"/>
                    </a:cubicBezTo>
                    <a:cubicBezTo>
                      <a:pt x="26" y="13"/>
                      <a:pt x="26" y="13"/>
                      <a:pt x="26" y="13"/>
                    </a:cubicBezTo>
                    <a:cubicBezTo>
                      <a:pt x="26" y="14"/>
                      <a:pt x="26" y="14"/>
                      <a:pt x="26" y="14"/>
                    </a:cubicBezTo>
                    <a:cubicBezTo>
                      <a:pt x="26" y="15"/>
                      <a:pt x="25" y="15"/>
                      <a:pt x="24" y="15"/>
                    </a:cubicBezTo>
                    <a:cubicBezTo>
                      <a:pt x="24" y="15"/>
                      <a:pt x="24" y="15"/>
                      <a:pt x="24" y="15"/>
                    </a:cubicBezTo>
                    <a:cubicBezTo>
                      <a:pt x="23" y="15"/>
                      <a:pt x="23" y="15"/>
                      <a:pt x="23" y="15"/>
                    </a:cubicBezTo>
                    <a:cubicBezTo>
                      <a:pt x="23" y="15"/>
                      <a:pt x="23" y="15"/>
                      <a:pt x="23" y="15"/>
                    </a:cubicBezTo>
                    <a:cubicBezTo>
                      <a:pt x="23" y="16"/>
                      <a:pt x="23" y="16"/>
                      <a:pt x="23" y="16"/>
                    </a:cubicBezTo>
                    <a:cubicBezTo>
                      <a:pt x="23" y="17"/>
                      <a:pt x="23" y="17"/>
                      <a:pt x="23" y="17"/>
                    </a:cubicBezTo>
                    <a:cubicBezTo>
                      <a:pt x="23" y="17"/>
                      <a:pt x="23" y="17"/>
                      <a:pt x="23" y="18"/>
                    </a:cubicBezTo>
                    <a:cubicBezTo>
                      <a:pt x="23" y="19"/>
                      <a:pt x="23" y="19"/>
                      <a:pt x="23" y="19"/>
                    </a:cubicBezTo>
                    <a:cubicBezTo>
                      <a:pt x="22" y="19"/>
                      <a:pt x="22" y="19"/>
                      <a:pt x="22" y="19"/>
                    </a:cubicBezTo>
                    <a:cubicBezTo>
                      <a:pt x="22" y="19"/>
                      <a:pt x="22" y="19"/>
                      <a:pt x="22" y="19"/>
                    </a:cubicBezTo>
                    <a:cubicBezTo>
                      <a:pt x="21" y="19"/>
                      <a:pt x="21" y="19"/>
                      <a:pt x="21" y="20"/>
                    </a:cubicBezTo>
                    <a:cubicBezTo>
                      <a:pt x="21" y="20"/>
                      <a:pt x="21" y="20"/>
                      <a:pt x="21" y="20"/>
                    </a:cubicBezTo>
                    <a:cubicBezTo>
                      <a:pt x="21" y="20"/>
                      <a:pt x="21" y="20"/>
                      <a:pt x="21" y="20"/>
                    </a:cubicBezTo>
                    <a:cubicBezTo>
                      <a:pt x="21" y="20"/>
                      <a:pt x="21" y="20"/>
                      <a:pt x="21" y="20"/>
                    </a:cubicBezTo>
                    <a:cubicBezTo>
                      <a:pt x="20" y="20"/>
                      <a:pt x="20" y="20"/>
                      <a:pt x="19" y="20"/>
                    </a:cubicBezTo>
                    <a:cubicBezTo>
                      <a:pt x="19" y="20"/>
                      <a:pt x="19" y="20"/>
                      <a:pt x="19" y="20"/>
                    </a:cubicBezTo>
                    <a:cubicBezTo>
                      <a:pt x="18" y="20"/>
                      <a:pt x="18" y="20"/>
                      <a:pt x="18" y="20"/>
                    </a:cubicBezTo>
                    <a:cubicBezTo>
                      <a:pt x="18" y="20"/>
                      <a:pt x="18" y="20"/>
                      <a:pt x="18" y="20"/>
                    </a:cubicBezTo>
                    <a:cubicBezTo>
                      <a:pt x="16" y="19"/>
                      <a:pt x="15" y="18"/>
                      <a:pt x="15" y="17"/>
                    </a:cubicBezTo>
                    <a:cubicBezTo>
                      <a:pt x="15" y="18"/>
                      <a:pt x="15" y="18"/>
                      <a:pt x="15" y="18"/>
                    </a:cubicBezTo>
                    <a:cubicBezTo>
                      <a:pt x="14" y="18"/>
                      <a:pt x="13" y="19"/>
                      <a:pt x="13" y="20"/>
                    </a:cubicBezTo>
                    <a:cubicBezTo>
                      <a:pt x="13" y="21"/>
                      <a:pt x="13" y="21"/>
                      <a:pt x="13" y="22"/>
                    </a:cubicBezTo>
                    <a:cubicBezTo>
                      <a:pt x="13" y="23"/>
                      <a:pt x="13" y="23"/>
                      <a:pt x="13" y="23"/>
                    </a:cubicBezTo>
                    <a:cubicBezTo>
                      <a:pt x="13" y="23"/>
                      <a:pt x="13" y="25"/>
                      <a:pt x="11" y="25"/>
                    </a:cubicBezTo>
                    <a:cubicBezTo>
                      <a:pt x="11" y="25"/>
                      <a:pt x="11" y="25"/>
                      <a:pt x="11" y="25"/>
                    </a:cubicBezTo>
                    <a:cubicBezTo>
                      <a:pt x="11" y="26"/>
                      <a:pt x="11" y="27"/>
                      <a:pt x="11" y="27"/>
                    </a:cubicBezTo>
                    <a:cubicBezTo>
                      <a:pt x="11" y="28"/>
                      <a:pt x="11" y="28"/>
                      <a:pt x="11" y="28"/>
                    </a:cubicBezTo>
                    <a:cubicBezTo>
                      <a:pt x="11" y="28"/>
                      <a:pt x="11" y="29"/>
                      <a:pt x="11" y="29"/>
                    </a:cubicBezTo>
                    <a:cubicBezTo>
                      <a:pt x="11" y="29"/>
                      <a:pt x="11" y="29"/>
                      <a:pt x="10" y="29"/>
                    </a:cubicBezTo>
                    <a:cubicBezTo>
                      <a:pt x="10" y="30"/>
                      <a:pt x="10" y="30"/>
                      <a:pt x="10" y="30"/>
                    </a:cubicBezTo>
                    <a:cubicBezTo>
                      <a:pt x="9" y="30"/>
                      <a:pt x="9" y="31"/>
                      <a:pt x="7" y="32"/>
                    </a:cubicBezTo>
                    <a:cubicBezTo>
                      <a:pt x="7" y="32"/>
                      <a:pt x="6" y="32"/>
                      <a:pt x="5" y="32"/>
                    </a:cubicBezTo>
                    <a:cubicBezTo>
                      <a:pt x="5" y="32"/>
                      <a:pt x="5" y="33"/>
                      <a:pt x="4" y="33"/>
                    </a:cubicBezTo>
                    <a:cubicBezTo>
                      <a:pt x="4" y="33"/>
                      <a:pt x="3" y="33"/>
                      <a:pt x="3" y="33"/>
                    </a:cubicBezTo>
                    <a:cubicBezTo>
                      <a:pt x="2" y="33"/>
                      <a:pt x="2" y="33"/>
                      <a:pt x="2" y="33"/>
                    </a:cubicBezTo>
                    <a:cubicBezTo>
                      <a:pt x="2" y="33"/>
                      <a:pt x="2" y="33"/>
                      <a:pt x="2" y="33"/>
                    </a:cubicBezTo>
                    <a:cubicBezTo>
                      <a:pt x="3" y="35"/>
                      <a:pt x="3" y="36"/>
                      <a:pt x="3" y="38"/>
                    </a:cubicBezTo>
                    <a:cubicBezTo>
                      <a:pt x="3" y="39"/>
                      <a:pt x="3" y="39"/>
                      <a:pt x="3" y="39"/>
                    </a:cubicBezTo>
                    <a:cubicBezTo>
                      <a:pt x="2" y="40"/>
                      <a:pt x="2" y="41"/>
                      <a:pt x="0" y="42"/>
                    </a:cubicBezTo>
                    <a:cubicBezTo>
                      <a:pt x="0" y="42"/>
                      <a:pt x="0" y="42"/>
                      <a:pt x="0" y="43"/>
                    </a:cubicBezTo>
                    <a:cubicBezTo>
                      <a:pt x="0" y="44"/>
                      <a:pt x="0" y="44"/>
                      <a:pt x="0" y="45"/>
                    </a:cubicBezTo>
                    <a:cubicBezTo>
                      <a:pt x="0" y="45"/>
                      <a:pt x="0" y="45"/>
                      <a:pt x="0" y="46"/>
                    </a:cubicBezTo>
                    <a:cubicBezTo>
                      <a:pt x="0" y="47"/>
                      <a:pt x="0" y="47"/>
                      <a:pt x="0" y="47"/>
                    </a:cubicBezTo>
                    <a:cubicBezTo>
                      <a:pt x="0" y="47"/>
                      <a:pt x="0" y="47"/>
                      <a:pt x="1" y="47"/>
                    </a:cubicBezTo>
                    <a:cubicBezTo>
                      <a:pt x="1" y="47"/>
                      <a:pt x="1" y="47"/>
                      <a:pt x="2" y="47"/>
                    </a:cubicBezTo>
                    <a:cubicBezTo>
                      <a:pt x="2" y="47"/>
                      <a:pt x="2" y="48"/>
                      <a:pt x="2" y="48"/>
                    </a:cubicBezTo>
                    <a:cubicBezTo>
                      <a:pt x="3" y="48"/>
                      <a:pt x="3" y="48"/>
                      <a:pt x="4" y="48"/>
                    </a:cubicBezTo>
                    <a:cubicBezTo>
                      <a:pt x="4" y="49"/>
                      <a:pt x="4" y="49"/>
                      <a:pt x="4" y="50"/>
                    </a:cubicBezTo>
                    <a:cubicBezTo>
                      <a:pt x="5" y="51"/>
                      <a:pt x="5" y="51"/>
                      <a:pt x="5" y="51"/>
                    </a:cubicBezTo>
                    <a:cubicBezTo>
                      <a:pt x="5" y="52"/>
                      <a:pt x="6" y="53"/>
                      <a:pt x="7" y="53"/>
                    </a:cubicBezTo>
                    <a:cubicBezTo>
                      <a:pt x="7" y="53"/>
                      <a:pt x="7" y="53"/>
                      <a:pt x="7" y="54"/>
                    </a:cubicBezTo>
                    <a:cubicBezTo>
                      <a:pt x="8" y="54"/>
                      <a:pt x="8" y="54"/>
                      <a:pt x="8" y="54"/>
                    </a:cubicBezTo>
                    <a:cubicBezTo>
                      <a:pt x="9" y="54"/>
                      <a:pt x="10" y="54"/>
                      <a:pt x="10" y="55"/>
                    </a:cubicBezTo>
                    <a:cubicBezTo>
                      <a:pt x="11" y="53"/>
                      <a:pt x="13" y="52"/>
                      <a:pt x="14" y="52"/>
                    </a:cubicBezTo>
                    <a:cubicBezTo>
                      <a:pt x="15" y="52"/>
                      <a:pt x="15" y="52"/>
                      <a:pt x="16" y="51"/>
                    </a:cubicBezTo>
                    <a:cubicBezTo>
                      <a:pt x="17" y="51"/>
                      <a:pt x="18" y="51"/>
                      <a:pt x="19" y="51"/>
                    </a:cubicBezTo>
                    <a:cubicBezTo>
                      <a:pt x="19" y="51"/>
                      <a:pt x="19" y="51"/>
                      <a:pt x="20" y="51"/>
                    </a:cubicBezTo>
                    <a:cubicBezTo>
                      <a:pt x="20" y="51"/>
                      <a:pt x="20" y="51"/>
                      <a:pt x="20" y="51"/>
                    </a:cubicBezTo>
                    <a:cubicBezTo>
                      <a:pt x="20" y="51"/>
                      <a:pt x="20" y="51"/>
                      <a:pt x="20" y="51"/>
                    </a:cubicBezTo>
                    <a:cubicBezTo>
                      <a:pt x="21" y="51"/>
                      <a:pt x="21" y="51"/>
                      <a:pt x="21" y="51"/>
                    </a:cubicBezTo>
                    <a:cubicBezTo>
                      <a:pt x="23" y="52"/>
                      <a:pt x="23" y="52"/>
                      <a:pt x="24" y="53"/>
                    </a:cubicBezTo>
                    <a:cubicBezTo>
                      <a:pt x="24" y="53"/>
                      <a:pt x="24" y="53"/>
                      <a:pt x="24" y="54"/>
                    </a:cubicBezTo>
                    <a:cubicBezTo>
                      <a:pt x="25" y="54"/>
                      <a:pt x="25" y="54"/>
                      <a:pt x="25" y="54"/>
                    </a:cubicBezTo>
                    <a:cubicBezTo>
                      <a:pt x="25" y="54"/>
                      <a:pt x="25" y="54"/>
                      <a:pt x="25" y="53"/>
                    </a:cubicBezTo>
                    <a:cubicBezTo>
                      <a:pt x="25" y="51"/>
                      <a:pt x="24" y="48"/>
                      <a:pt x="24" y="46"/>
                    </a:cubicBezTo>
                    <a:cubicBezTo>
                      <a:pt x="24" y="46"/>
                      <a:pt x="24" y="46"/>
                      <a:pt x="24" y="46"/>
                    </a:cubicBezTo>
                    <a:cubicBezTo>
                      <a:pt x="23" y="44"/>
                      <a:pt x="24" y="43"/>
                      <a:pt x="24" y="42"/>
                    </a:cubicBezTo>
                    <a:cubicBezTo>
                      <a:pt x="25" y="42"/>
                      <a:pt x="25" y="42"/>
                      <a:pt x="25" y="42"/>
                    </a:cubicBezTo>
                    <a:cubicBezTo>
                      <a:pt x="25" y="39"/>
                      <a:pt x="25" y="39"/>
                      <a:pt x="25" y="39"/>
                    </a:cubicBezTo>
                    <a:cubicBezTo>
                      <a:pt x="27" y="40"/>
                      <a:pt x="27" y="40"/>
                      <a:pt x="27" y="40"/>
                    </a:cubicBezTo>
                    <a:cubicBezTo>
                      <a:pt x="27" y="41"/>
                      <a:pt x="28" y="41"/>
                      <a:pt x="30" y="41"/>
                    </a:cubicBezTo>
                    <a:cubicBezTo>
                      <a:pt x="31" y="41"/>
                      <a:pt x="31" y="41"/>
                      <a:pt x="32" y="41"/>
                    </a:cubicBezTo>
                    <a:cubicBezTo>
                      <a:pt x="32" y="41"/>
                      <a:pt x="33" y="41"/>
                      <a:pt x="33" y="41"/>
                    </a:cubicBezTo>
                    <a:cubicBezTo>
                      <a:pt x="33" y="41"/>
                      <a:pt x="33" y="41"/>
                      <a:pt x="33" y="41"/>
                    </a:cubicBezTo>
                    <a:cubicBezTo>
                      <a:pt x="37" y="40"/>
                      <a:pt x="40" y="40"/>
                      <a:pt x="42" y="40"/>
                    </a:cubicBezTo>
                    <a:cubicBezTo>
                      <a:pt x="44" y="40"/>
                      <a:pt x="45" y="40"/>
                      <a:pt x="46" y="40"/>
                    </a:cubicBezTo>
                    <a:cubicBezTo>
                      <a:pt x="47" y="40"/>
                      <a:pt x="47" y="40"/>
                      <a:pt x="47" y="40"/>
                    </a:cubicBezTo>
                    <a:cubicBezTo>
                      <a:pt x="47" y="40"/>
                      <a:pt x="47" y="40"/>
                      <a:pt x="47" y="40"/>
                    </a:cubicBezTo>
                    <a:cubicBezTo>
                      <a:pt x="47" y="40"/>
                      <a:pt x="48" y="40"/>
                      <a:pt x="48" y="40"/>
                    </a:cubicBezTo>
                    <a:cubicBezTo>
                      <a:pt x="48" y="40"/>
                      <a:pt x="48" y="40"/>
                      <a:pt x="48" y="40"/>
                    </a:cubicBezTo>
                    <a:cubicBezTo>
                      <a:pt x="48" y="40"/>
                      <a:pt x="48" y="40"/>
                      <a:pt x="48" y="40"/>
                    </a:cubicBezTo>
                    <a:cubicBezTo>
                      <a:pt x="49" y="40"/>
                      <a:pt x="49" y="40"/>
                      <a:pt x="49" y="40"/>
                    </a:cubicBezTo>
                    <a:cubicBezTo>
                      <a:pt x="49" y="40"/>
                      <a:pt x="49" y="40"/>
                      <a:pt x="49" y="40"/>
                    </a:cubicBezTo>
                    <a:cubicBezTo>
                      <a:pt x="49" y="40"/>
                      <a:pt x="49" y="40"/>
                      <a:pt x="49" y="40"/>
                    </a:cubicBezTo>
                    <a:cubicBezTo>
                      <a:pt x="50" y="40"/>
                      <a:pt x="50" y="40"/>
                      <a:pt x="50" y="40"/>
                    </a:cubicBezTo>
                    <a:cubicBezTo>
                      <a:pt x="50" y="40"/>
                      <a:pt x="50" y="40"/>
                      <a:pt x="50" y="40"/>
                    </a:cubicBezTo>
                    <a:cubicBezTo>
                      <a:pt x="50" y="40"/>
                      <a:pt x="50" y="40"/>
                      <a:pt x="51" y="39"/>
                    </a:cubicBezTo>
                    <a:cubicBezTo>
                      <a:pt x="51" y="39"/>
                      <a:pt x="51" y="39"/>
                      <a:pt x="51" y="39"/>
                    </a:cubicBezTo>
                    <a:cubicBezTo>
                      <a:pt x="51" y="39"/>
                      <a:pt x="51" y="39"/>
                      <a:pt x="52" y="39"/>
                    </a:cubicBezTo>
                    <a:cubicBezTo>
                      <a:pt x="52" y="39"/>
                      <a:pt x="52" y="39"/>
                      <a:pt x="52" y="39"/>
                    </a:cubicBezTo>
                    <a:cubicBezTo>
                      <a:pt x="52" y="39"/>
                      <a:pt x="53" y="39"/>
                      <a:pt x="53" y="39"/>
                    </a:cubicBezTo>
                    <a:cubicBezTo>
                      <a:pt x="53" y="39"/>
                      <a:pt x="53" y="39"/>
                      <a:pt x="53" y="39"/>
                    </a:cubicBezTo>
                    <a:cubicBezTo>
                      <a:pt x="54" y="39"/>
                      <a:pt x="54" y="39"/>
                      <a:pt x="54" y="39"/>
                    </a:cubicBezTo>
                    <a:cubicBezTo>
                      <a:pt x="54" y="39"/>
                      <a:pt x="54" y="39"/>
                      <a:pt x="54" y="39"/>
                    </a:cubicBezTo>
                    <a:cubicBezTo>
                      <a:pt x="55" y="39"/>
                      <a:pt x="55" y="39"/>
                      <a:pt x="55" y="39"/>
                    </a:cubicBezTo>
                    <a:cubicBezTo>
                      <a:pt x="57" y="40"/>
                      <a:pt x="59" y="40"/>
                      <a:pt x="62" y="40"/>
                    </a:cubicBezTo>
                    <a:cubicBezTo>
                      <a:pt x="64" y="40"/>
                      <a:pt x="64" y="40"/>
                      <a:pt x="64" y="40"/>
                    </a:cubicBezTo>
                    <a:cubicBezTo>
                      <a:pt x="64" y="39"/>
                      <a:pt x="64" y="39"/>
                      <a:pt x="64" y="39"/>
                    </a:cubicBezTo>
                    <a:cubicBezTo>
                      <a:pt x="65" y="40"/>
                      <a:pt x="65" y="40"/>
                      <a:pt x="65" y="40"/>
                    </a:cubicBezTo>
                    <a:cubicBezTo>
                      <a:pt x="65" y="40"/>
                      <a:pt x="65" y="39"/>
                      <a:pt x="65" y="39"/>
                    </a:cubicBezTo>
                    <a:cubicBezTo>
                      <a:pt x="65" y="38"/>
                      <a:pt x="66" y="38"/>
                      <a:pt x="67" y="37"/>
                    </a:cubicBezTo>
                    <a:cubicBezTo>
                      <a:pt x="68" y="37"/>
                      <a:pt x="68" y="36"/>
                      <a:pt x="69" y="36"/>
                    </a:cubicBezTo>
                    <a:cubicBezTo>
                      <a:pt x="70" y="36"/>
                      <a:pt x="70" y="36"/>
                      <a:pt x="71" y="36"/>
                    </a:cubicBezTo>
                    <a:cubicBezTo>
                      <a:pt x="71" y="36"/>
                      <a:pt x="72" y="36"/>
                      <a:pt x="73" y="36"/>
                    </a:cubicBezTo>
                    <a:cubicBezTo>
                      <a:pt x="73" y="36"/>
                      <a:pt x="73" y="36"/>
                      <a:pt x="74" y="36"/>
                    </a:cubicBezTo>
                    <a:cubicBezTo>
                      <a:pt x="74" y="36"/>
                      <a:pt x="74" y="36"/>
                      <a:pt x="75"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2" name="Freeform 3044">
                <a:extLst>
                  <a:ext uri="{FF2B5EF4-FFF2-40B4-BE49-F238E27FC236}">
                    <a16:creationId xmlns:a16="http://schemas.microsoft.com/office/drawing/2014/main" id="{4F66B274-60E8-4F61-8B11-4EAC373BCF91}"/>
                  </a:ext>
                </a:extLst>
              </p:cNvPr>
              <p:cNvSpPr>
                <a:spLocks/>
              </p:cNvSpPr>
              <p:nvPr/>
            </p:nvSpPr>
            <p:spPr bwMode="auto">
              <a:xfrm>
                <a:off x="3478" y="2540"/>
                <a:ext cx="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3" name="Freeform 3045">
                <a:extLst>
                  <a:ext uri="{FF2B5EF4-FFF2-40B4-BE49-F238E27FC236}">
                    <a16:creationId xmlns:a16="http://schemas.microsoft.com/office/drawing/2014/main" id="{003B2BFB-19AC-4C69-9D72-68E079110A27}"/>
                  </a:ext>
                </a:extLst>
              </p:cNvPr>
              <p:cNvSpPr>
                <a:spLocks/>
              </p:cNvSpPr>
              <p:nvPr/>
            </p:nvSpPr>
            <p:spPr bwMode="auto">
              <a:xfrm>
                <a:off x="4351" y="2421"/>
                <a:ext cx="350" cy="270"/>
              </a:xfrm>
              <a:custGeom>
                <a:avLst/>
                <a:gdLst>
                  <a:gd name="T0" fmla="*/ 98 w 148"/>
                  <a:gd name="T1" fmla="*/ 105 h 114"/>
                  <a:gd name="T2" fmla="*/ 113 w 148"/>
                  <a:gd name="T3" fmla="*/ 99 h 114"/>
                  <a:gd name="T4" fmla="*/ 118 w 148"/>
                  <a:gd name="T5" fmla="*/ 99 h 114"/>
                  <a:gd name="T6" fmla="*/ 121 w 148"/>
                  <a:gd name="T7" fmla="*/ 97 h 114"/>
                  <a:gd name="T8" fmla="*/ 126 w 148"/>
                  <a:gd name="T9" fmla="*/ 92 h 114"/>
                  <a:gd name="T10" fmla="*/ 136 w 148"/>
                  <a:gd name="T11" fmla="*/ 68 h 114"/>
                  <a:gd name="T12" fmla="*/ 109 w 148"/>
                  <a:gd name="T13" fmla="*/ 59 h 114"/>
                  <a:gd name="T14" fmla="*/ 101 w 148"/>
                  <a:gd name="T15" fmla="*/ 51 h 114"/>
                  <a:gd name="T16" fmla="*/ 95 w 148"/>
                  <a:gd name="T17" fmla="*/ 41 h 114"/>
                  <a:gd name="T18" fmla="*/ 94 w 148"/>
                  <a:gd name="T19" fmla="*/ 39 h 114"/>
                  <a:gd name="T20" fmla="*/ 86 w 148"/>
                  <a:gd name="T21" fmla="*/ 36 h 114"/>
                  <a:gd name="T22" fmla="*/ 86 w 148"/>
                  <a:gd name="T23" fmla="*/ 33 h 114"/>
                  <a:gd name="T24" fmla="*/ 89 w 148"/>
                  <a:gd name="T25" fmla="*/ 28 h 114"/>
                  <a:gd name="T26" fmla="*/ 85 w 148"/>
                  <a:gd name="T27" fmla="*/ 13 h 114"/>
                  <a:gd name="T28" fmla="*/ 74 w 148"/>
                  <a:gd name="T29" fmla="*/ 4 h 114"/>
                  <a:gd name="T30" fmla="*/ 71 w 148"/>
                  <a:gd name="T31" fmla="*/ 3 h 114"/>
                  <a:gd name="T32" fmla="*/ 70 w 148"/>
                  <a:gd name="T33" fmla="*/ 2 h 114"/>
                  <a:gd name="T34" fmla="*/ 64 w 148"/>
                  <a:gd name="T35" fmla="*/ 3 h 114"/>
                  <a:gd name="T36" fmla="*/ 61 w 148"/>
                  <a:gd name="T37" fmla="*/ 2 h 114"/>
                  <a:gd name="T38" fmla="*/ 60 w 148"/>
                  <a:gd name="T39" fmla="*/ 1 h 114"/>
                  <a:gd name="T40" fmla="*/ 55 w 148"/>
                  <a:gd name="T41" fmla="*/ 3 h 114"/>
                  <a:gd name="T42" fmla="*/ 51 w 148"/>
                  <a:gd name="T43" fmla="*/ 1 h 114"/>
                  <a:gd name="T44" fmla="*/ 47 w 148"/>
                  <a:gd name="T45" fmla="*/ 1 h 114"/>
                  <a:gd name="T46" fmla="*/ 46 w 148"/>
                  <a:gd name="T47" fmla="*/ 3 h 114"/>
                  <a:gd name="T48" fmla="*/ 44 w 148"/>
                  <a:gd name="T49" fmla="*/ 5 h 114"/>
                  <a:gd name="T50" fmla="*/ 43 w 148"/>
                  <a:gd name="T51" fmla="*/ 5 h 114"/>
                  <a:gd name="T52" fmla="*/ 42 w 148"/>
                  <a:gd name="T53" fmla="*/ 4 h 114"/>
                  <a:gd name="T54" fmla="*/ 39 w 148"/>
                  <a:gd name="T55" fmla="*/ 5 h 114"/>
                  <a:gd name="T56" fmla="*/ 35 w 148"/>
                  <a:gd name="T57" fmla="*/ 8 h 114"/>
                  <a:gd name="T58" fmla="*/ 30 w 148"/>
                  <a:gd name="T59" fmla="*/ 21 h 114"/>
                  <a:gd name="T60" fmla="*/ 28 w 148"/>
                  <a:gd name="T61" fmla="*/ 21 h 114"/>
                  <a:gd name="T62" fmla="*/ 26 w 148"/>
                  <a:gd name="T63" fmla="*/ 22 h 114"/>
                  <a:gd name="T64" fmla="*/ 20 w 148"/>
                  <a:gd name="T65" fmla="*/ 32 h 114"/>
                  <a:gd name="T66" fmla="*/ 19 w 148"/>
                  <a:gd name="T67" fmla="*/ 38 h 114"/>
                  <a:gd name="T68" fmla="*/ 17 w 148"/>
                  <a:gd name="T69" fmla="*/ 41 h 114"/>
                  <a:gd name="T70" fmla="*/ 14 w 148"/>
                  <a:gd name="T71" fmla="*/ 40 h 114"/>
                  <a:gd name="T72" fmla="*/ 13 w 148"/>
                  <a:gd name="T73" fmla="*/ 43 h 114"/>
                  <a:gd name="T74" fmla="*/ 11 w 148"/>
                  <a:gd name="T75" fmla="*/ 52 h 114"/>
                  <a:gd name="T76" fmla="*/ 9 w 148"/>
                  <a:gd name="T77" fmla="*/ 65 h 114"/>
                  <a:gd name="T78" fmla="*/ 1 w 148"/>
                  <a:gd name="T79" fmla="*/ 65 h 114"/>
                  <a:gd name="T80" fmla="*/ 4 w 148"/>
                  <a:gd name="T81" fmla="*/ 70 h 114"/>
                  <a:gd name="T82" fmla="*/ 9 w 148"/>
                  <a:gd name="T83" fmla="*/ 75 h 114"/>
                  <a:gd name="T84" fmla="*/ 15 w 148"/>
                  <a:gd name="T85" fmla="*/ 80 h 114"/>
                  <a:gd name="T86" fmla="*/ 21 w 148"/>
                  <a:gd name="T87" fmla="*/ 92 h 114"/>
                  <a:gd name="T88" fmla="*/ 25 w 148"/>
                  <a:gd name="T89" fmla="*/ 94 h 114"/>
                  <a:gd name="T90" fmla="*/ 28 w 148"/>
                  <a:gd name="T91" fmla="*/ 99 h 114"/>
                  <a:gd name="T92" fmla="*/ 29 w 148"/>
                  <a:gd name="T93" fmla="*/ 102 h 114"/>
                  <a:gd name="T94" fmla="*/ 39 w 148"/>
                  <a:gd name="T95" fmla="*/ 103 h 114"/>
                  <a:gd name="T96" fmla="*/ 42 w 148"/>
                  <a:gd name="T97" fmla="*/ 106 h 114"/>
                  <a:gd name="T98" fmla="*/ 51 w 148"/>
                  <a:gd name="T99" fmla="*/ 112 h 114"/>
                  <a:gd name="T100" fmla="*/ 64 w 148"/>
                  <a:gd name="T101" fmla="*/ 114 h 114"/>
                  <a:gd name="T102" fmla="*/ 77 w 148"/>
                  <a:gd name="T103" fmla="*/ 105 h 114"/>
                  <a:gd name="T104" fmla="*/ 82 w 148"/>
                  <a:gd name="T105" fmla="*/ 109 h 114"/>
                  <a:gd name="T106" fmla="*/ 85 w 148"/>
                  <a:gd name="T107" fmla="*/ 109 h 114"/>
                  <a:gd name="T108" fmla="*/ 91 w 148"/>
                  <a:gd name="T109"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114">
                    <a:moveTo>
                      <a:pt x="91" y="106"/>
                    </a:moveTo>
                    <a:cubicBezTo>
                      <a:pt x="92" y="106"/>
                      <a:pt x="93" y="106"/>
                      <a:pt x="94" y="106"/>
                    </a:cubicBezTo>
                    <a:cubicBezTo>
                      <a:pt x="94" y="106"/>
                      <a:pt x="94" y="106"/>
                      <a:pt x="94" y="106"/>
                    </a:cubicBezTo>
                    <a:cubicBezTo>
                      <a:pt x="95" y="106"/>
                      <a:pt x="95" y="106"/>
                      <a:pt x="96" y="106"/>
                    </a:cubicBezTo>
                    <a:cubicBezTo>
                      <a:pt x="96" y="106"/>
                      <a:pt x="97" y="105"/>
                      <a:pt x="98" y="105"/>
                    </a:cubicBezTo>
                    <a:cubicBezTo>
                      <a:pt x="98" y="105"/>
                      <a:pt x="99" y="104"/>
                      <a:pt x="99" y="104"/>
                    </a:cubicBezTo>
                    <a:cubicBezTo>
                      <a:pt x="102" y="102"/>
                      <a:pt x="104" y="100"/>
                      <a:pt x="108" y="99"/>
                    </a:cubicBezTo>
                    <a:cubicBezTo>
                      <a:pt x="108" y="99"/>
                      <a:pt x="109" y="99"/>
                      <a:pt x="110" y="99"/>
                    </a:cubicBezTo>
                    <a:cubicBezTo>
                      <a:pt x="111" y="99"/>
                      <a:pt x="111" y="98"/>
                      <a:pt x="113" y="99"/>
                    </a:cubicBezTo>
                    <a:cubicBezTo>
                      <a:pt x="113" y="99"/>
                      <a:pt x="113" y="99"/>
                      <a:pt x="113" y="99"/>
                    </a:cubicBezTo>
                    <a:cubicBezTo>
                      <a:pt x="114" y="99"/>
                      <a:pt x="114" y="99"/>
                      <a:pt x="114" y="99"/>
                    </a:cubicBezTo>
                    <a:cubicBezTo>
                      <a:pt x="115" y="99"/>
                      <a:pt x="115" y="99"/>
                      <a:pt x="115" y="99"/>
                    </a:cubicBezTo>
                    <a:cubicBezTo>
                      <a:pt x="116" y="99"/>
                      <a:pt x="116" y="99"/>
                      <a:pt x="117" y="99"/>
                    </a:cubicBezTo>
                    <a:cubicBezTo>
                      <a:pt x="117" y="99"/>
                      <a:pt x="118" y="99"/>
                      <a:pt x="118" y="99"/>
                    </a:cubicBezTo>
                    <a:cubicBezTo>
                      <a:pt x="118" y="99"/>
                      <a:pt x="118" y="99"/>
                      <a:pt x="118" y="99"/>
                    </a:cubicBezTo>
                    <a:cubicBezTo>
                      <a:pt x="118" y="99"/>
                      <a:pt x="118" y="99"/>
                      <a:pt x="118" y="99"/>
                    </a:cubicBezTo>
                    <a:cubicBezTo>
                      <a:pt x="119" y="99"/>
                      <a:pt x="119" y="99"/>
                      <a:pt x="119" y="99"/>
                    </a:cubicBezTo>
                    <a:cubicBezTo>
                      <a:pt x="119" y="99"/>
                      <a:pt x="119" y="99"/>
                      <a:pt x="119" y="99"/>
                    </a:cubicBezTo>
                    <a:cubicBezTo>
                      <a:pt x="120" y="99"/>
                      <a:pt x="120" y="98"/>
                      <a:pt x="120" y="98"/>
                    </a:cubicBezTo>
                    <a:cubicBezTo>
                      <a:pt x="121" y="98"/>
                      <a:pt x="121" y="97"/>
                      <a:pt x="121" y="97"/>
                    </a:cubicBezTo>
                    <a:cubicBezTo>
                      <a:pt x="122" y="96"/>
                      <a:pt x="122" y="96"/>
                      <a:pt x="122" y="96"/>
                    </a:cubicBezTo>
                    <a:cubicBezTo>
                      <a:pt x="122" y="96"/>
                      <a:pt x="123" y="95"/>
                      <a:pt x="123" y="95"/>
                    </a:cubicBezTo>
                    <a:cubicBezTo>
                      <a:pt x="124" y="94"/>
                      <a:pt x="124" y="94"/>
                      <a:pt x="124" y="94"/>
                    </a:cubicBezTo>
                    <a:cubicBezTo>
                      <a:pt x="124" y="94"/>
                      <a:pt x="124" y="93"/>
                      <a:pt x="125" y="93"/>
                    </a:cubicBezTo>
                    <a:cubicBezTo>
                      <a:pt x="126" y="92"/>
                      <a:pt x="126" y="92"/>
                      <a:pt x="126" y="92"/>
                    </a:cubicBezTo>
                    <a:cubicBezTo>
                      <a:pt x="133" y="85"/>
                      <a:pt x="138" y="79"/>
                      <a:pt x="144" y="74"/>
                    </a:cubicBezTo>
                    <a:cubicBezTo>
                      <a:pt x="145" y="73"/>
                      <a:pt x="146" y="71"/>
                      <a:pt x="148" y="70"/>
                    </a:cubicBezTo>
                    <a:cubicBezTo>
                      <a:pt x="145" y="70"/>
                      <a:pt x="143" y="70"/>
                      <a:pt x="141" y="70"/>
                    </a:cubicBezTo>
                    <a:cubicBezTo>
                      <a:pt x="140" y="70"/>
                      <a:pt x="138" y="69"/>
                      <a:pt x="136" y="68"/>
                    </a:cubicBezTo>
                    <a:cubicBezTo>
                      <a:pt x="136" y="68"/>
                      <a:pt x="136" y="68"/>
                      <a:pt x="136" y="68"/>
                    </a:cubicBezTo>
                    <a:cubicBezTo>
                      <a:pt x="136" y="68"/>
                      <a:pt x="135" y="68"/>
                      <a:pt x="135" y="68"/>
                    </a:cubicBezTo>
                    <a:cubicBezTo>
                      <a:pt x="116" y="61"/>
                      <a:pt x="116" y="61"/>
                      <a:pt x="116" y="61"/>
                    </a:cubicBezTo>
                    <a:cubicBezTo>
                      <a:pt x="116" y="61"/>
                      <a:pt x="115" y="61"/>
                      <a:pt x="115" y="61"/>
                    </a:cubicBezTo>
                    <a:cubicBezTo>
                      <a:pt x="115" y="61"/>
                      <a:pt x="115" y="61"/>
                      <a:pt x="115" y="61"/>
                    </a:cubicBezTo>
                    <a:cubicBezTo>
                      <a:pt x="113" y="60"/>
                      <a:pt x="111" y="60"/>
                      <a:pt x="109" y="59"/>
                    </a:cubicBezTo>
                    <a:cubicBezTo>
                      <a:pt x="109" y="59"/>
                      <a:pt x="109" y="59"/>
                      <a:pt x="109" y="58"/>
                    </a:cubicBezTo>
                    <a:cubicBezTo>
                      <a:pt x="107" y="57"/>
                      <a:pt x="107" y="57"/>
                      <a:pt x="107" y="57"/>
                    </a:cubicBezTo>
                    <a:cubicBezTo>
                      <a:pt x="106" y="57"/>
                      <a:pt x="105" y="56"/>
                      <a:pt x="104" y="55"/>
                    </a:cubicBezTo>
                    <a:cubicBezTo>
                      <a:pt x="103" y="54"/>
                      <a:pt x="102" y="53"/>
                      <a:pt x="101" y="51"/>
                    </a:cubicBezTo>
                    <a:cubicBezTo>
                      <a:pt x="101" y="51"/>
                      <a:pt x="101" y="51"/>
                      <a:pt x="101" y="51"/>
                    </a:cubicBezTo>
                    <a:cubicBezTo>
                      <a:pt x="101" y="51"/>
                      <a:pt x="101" y="50"/>
                      <a:pt x="101" y="50"/>
                    </a:cubicBezTo>
                    <a:cubicBezTo>
                      <a:pt x="100" y="49"/>
                      <a:pt x="100" y="49"/>
                      <a:pt x="100" y="49"/>
                    </a:cubicBezTo>
                    <a:cubicBezTo>
                      <a:pt x="99" y="48"/>
                      <a:pt x="98" y="46"/>
                      <a:pt x="97" y="45"/>
                    </a:cubicBezTo>
                    <a:cubicBezTo>
                      <a:pt x="97" y="45"/>
                      <a:pt x="97" y="44"/>
                      <a:pt x="97" y="44"/>
                    </a:cubicBezTo>
                    <a:cubicBezTo>
                      <a:pt x="96" y="43"/>
                      <a:pt x="95" y="42"/>
                      <a:pt x="95" y="41"/>
                    </a:cubicBezTo>
                    <a:cubicBezTo>
                      <a:pt x="95" y="41"/>
                      <a:pt x="96" y="41"/>
                      <a:pt x="96" y="40"/>
                    </a:cubicBezTo>
                    <a:cubicBezTo>
                      <a:pt x="97" y="39"/>
                      <a:pt x="97" y="39"/>
                      <a:pt x="97" y="39"/>
                    </a:cubicBezTo>
                    <a:cubicBezTo>
                      <a:pt x="97" y="39"/>
                      <a:pt x="97" y="39"/>
                      <a:pt x="97" y="38"/>
                    </a:cubicBezTo>
                    <a:cubicBezTo>
                      <a:pt x="97" y="38"/>
                      <a:pt x="97" y="38"/>
                      <a:pt x="97" y="38"/>
                    </a:cubicBezTo>
                    <a:cubicBezTo>
                      <a:pt x="96" y="38"/>
                      <a:pt x="96" y="38"/>
                      <a:pt x="94" y="39"/>
                    </a:cubicBezTo>
                    <a:cubicBezTo>
                      <a:pt x="92" y="39"/>
                      <a:pt x="90" y="40"/>
                      <a:pt x="89" y="40"/>
                    </a:cubicBezTo>
                    <a:cubicBezTo>
                      <a:pt x="89" y="41"/>
                      <a:pt x="89" y="41"/>
                      <a:pt x="89" y="41"/>
                    </a:cubicBezTo>
                    <a:cubicBezTo>
                      <a:pt x="89" y="40"/>
                      <a:pt x="89" y="40"/>
                      <a:pt x="89" y="40"/>
                    </a:cubicBezTo>
                    <a:cubicBezTo>
                      <a:pt x="88" y="39"/>
                      <a:pt x="87" y="39"/>
                      <a:pt x="87" y="39"/>
                    </a:cubicBezTo>
                    <a:cubicBezTo>
                      <a:pt x="86" y="38"/>
                      <a:pt x="86" y="37"/>
                      <a:pt x="86" y="36"/>
                    </a:cubicBezTo>
                    <a:cubicBezTo>
                      <a:pt x="86" y="35"/>
                      <a:pt x="86" y="35"/>
                      <a:pt x="86" y="35"/>
                    </a:cubicBezTo>
                    <a:cubicBezTo>
                      <a:pt x="86" y="35"/>
                      <a:pt x="86" y="34"/>
                      <a:pt x="86" y="34"/>
                    </a:cubicBezTo>
                    <a:cubicBezTo>
                      <a:pt x="85" y="34"/>
                      <a:pt x="85" y="34"/>
                      <a:pt x="85" y="34"/>
                    </a:cubicBezTo>
                    <a:cubicBezTo>
                      <a:pt x="86" y="34"/>
                      <a:pt x="86" y="34"/>
                      <a:pt x="86" y="34"/>
                    </a:cubicBezTo>
                    <a:cubicBezTo>
                      <a:pt x="86" y="33"/>
                      <a:pt x="86" y="33"/>
                      <a:pt x="86" y="33"/>
                    </a:cubicBezTo>
                    <a:cubicBezTo>
                      <a:pt x="86" y="33"/>
                      <a:pt x="86" y="33"/>
                      <a:pt x="86" y="32"/>
                    </a:cubicBezTo>
                    <a:cubicBezTo>
                      <a:pt x="86" y="32"/>
                      <a:pt x="86" y="32"/>
                      <a:pt x="86" y="32"/>
                    </a:cubicBezTo>
                    <a:cubicBezTo>
                      <a:pt x="86" y="31"/>
                      <a:pt x="87" y="30"/>
                      <a:pt x="87" y="29"/>
                    </a:cubicBezTo>
                    <a:cubicBezTo>
                      <a:pt x="88" y="29"/>
                      <a:pt x="88" y="29"/>
                      <a:pt x="88" y="29"/>
                    </a:cubicBezTo>
                    <a:cubicBezTo>
                      <a:pt x="88" y="28"/>
                      <a:pt x="88" y="28"/>
                      <a:pt x="89" y="28"/>
                    </a:cubicBezTo>
                    <a:cubicBezTo>
                      <a:pt x="89" y="28"/>
                      <a:pt x="90" y="26"/>
                      <a:pt x="90" y="25"/>
                    </a:cubicBezTo>
                    <a:cubicBezTo>
                      <a:pt x="91" y="24"/>
                      <a:pt x="92" y="23"/>
                      <a:pt x="92" y="22"/>
                    </a:cubicBezTo>
                    <a:cubicBezTo>
                      <a:pt x="89" y="19"/>
                      <a:pt x="89" y="19"/>
                      <a:pt x="89" y="19"/>
                    </a:cubicBezTo>
                    <a:cubicBezTo>
                      <a:pt x="88" y="17"/>
                      <a:pt x="87" y="16"/>
                      <a:pt x="86" y="15"/>
                    </a:cubicBezTo>
                    <a:cubicBezTo>
                      <a:pt x="85" y="13"/>
                      <a:pt x="85" y="13"/>
                      <a:pt x="85" y="13"/>
                    </a:cubicBezTo>
                    <a:cubicBezTo>
                      <a:pt x="83" y="11"/>
                      <a:pt x="80" y="9"/>
                      <a:pt x="78" y="7"/>
                    </a:cubicBezTo>
                    <a:cubicBezTo>
                      <a:pt x="78" y="6"/>
                      <a:pt x="78" y="6"/>
                      <a:pt x="78" y="6"/>
                    </a:cubicBezTo>
                    <a:cubicBezTo>
                      <a:pt x="77" y="6"/>
                      <a:pt x="76" y="5"/>
                      <a:pt x="75" y="5"/>
                    </a:cubicBezTo>
                    <a:cubicBezTo>
                      <a:pt x="75" y="5"/>
                      <a:pt x="75" y="5"/>
                      <a:pt x="75" y="5"/>
                    </a:cubicBezTo>
                    <a:cubicBezTo>
                      <a:pt x="75" y="5"/>
                      <a:pt x="74" y="5"/>
                      <a:pt x="74" y="4"/>
                    </a:cubicBezTo>
                    <a:cubicBezTo>
                      <a:pt x="74" y="4"/>
                      <a:pt x="73" y="4"/>
                      <a:pt x="73" y="4"/>
                    </a:cubicBezTo>
                    <a:cubicBezTo>
                      <a:pt x="73" y="4"/>
                      <a:pt x="73" y="4"/>
                      <a:pt x="73" y="4"/>
                    </a:cubicBezTo>
                    <a:cubicBezTo>
                      <a:pt x="72" y="4"/>
                      <a:pt x="72" y="3"/>
                      <a:pt x="72" y="3"/>
                    </a:cubicBezTo>
                    <a:cubicBezTo>
                      <a:pt x="71" y="3"/>
                      <a:pt x="71" y="3"/>
                      <a:pt x="71" y="3"/>
                    </a:cubicBezTo>
                    <a:cubicBezTo>
                      <a:pt x="71" y="3"/>
                      <a:pt x="71" y="3"/>
                      <a:pt x="71" y="3"/>
                    </a:cubicBezTo>
                    <a:cubicBezTo>
                      <a:pt x="71" y="3"/>
                      <a:pt x="71" y="3"/>
                      <a:pt x="71" y="3"/>
                    </a:cubicBezTo>
                    <a:cubicBezTo>
                      <a:pt x="71" y="2"/>
                      <a:pt x="71" y="2"/>
                      <a:pt x="71" y="2"/>
                    </a:cubicBezTo>
                    <a:cubicBezTo>
                      <a:pt x="70" y="2"/>
                      <a:pt x="70" y="2"/>
                      <a:pt x="70" y="2"/>
                    </a:cubicBezTo>
                    <a:cubicBezTo>
                      <a:pt x="70" y="2"/>
                      <a:pt x="70" y="2"/>
                      <a:pt x="70" y="2"/>
                    </a:cubicBezTo>
                    <a:cubicBezTo>
                      <a:pt x="70" y="2"/>
                      <a:pt x="70" y="2"/>
                      <a:pt x="70" y="2"/>
                    </a:cubicBezTo>
                    <a:cubicBezTo>
                      <a:pt x="69" y="3"/>
                      <a:pt x="68" y="3"/>
                      <a:pt x="67" y="2"/>
                    </a:cubicBezTo>
                    <a:cubicBezTo>
                      <a:pt x="67" y="2"/>
                      <a:pt x="66" y="2"/>
                      <a:pt x="66" y="2"/>
                    </a:cubicBezTo>
                    <a:cubicBezTo>
                      <a:pt x="66" y="2"/>
                      <a:pt x="66" y="2"/>
                      <a:pt x="65" y="2"/>
                    </a:cubicBezTo>
                    <a:cubicBezTo>
                      <a:pt x="65" y="2"/>
                      <a:pt x="65" y="3"/>
                      <a:pt x="65" y="3"/>
                    </a:cubicBezTo>
                    <a:cubicBezTo>
                      <a:pt x="64" y="3"/>
                      <a:pt x="64" y="3"/>
                      <a:pt x="64" y="3"/>
                    </a:cubicBezTo>
                    <a:cubicBezTo>
                      <a:pt x="63" y="3"/>
                      <a:pt x="63" y="3"/>
                      <a:pt x="63" y="3"/>
                    </a:cubicBezTo>
                    <a:cubicBezTo>
                      <a:pt x="63" y="3"/>
                      <a:pt x="63" y="3"/>
                      <a:pt x="63" y="3"/>
                    </a:cubicBezTo>
                    <a:cubicBezTo>
                      <a:pt x="63" y="3"/>
                      <a:pt x="63" y="3"/>
                      <a:pt x="63" y="3"/>
                    </a:cubicBezTo>
                    <a:cubicBezTo>
                      <a:pt x="63" y="3"/>
                      <a:pt x="63" y="3"/>
                      <a:pt x="63" y="3"/>
                    </a:cubicBezTo>
                    <a:cubicBezTo>
                      <a:pt x="61" y="2"/>
                      <a:pt x="61" y="2"/>
                      <a:pt x="61" y="2"/>
                    </a:cubicBezTo>
                    <a:cubicBezTo>
                      <a:pt x="61" y="2"/>
                      <a:pt x="61" y="2"/>
                      <a:pt x="61" y="2"/>
                    </a:cubicBezTo>
                    <a:cubicBezTo>
                      <a:pt x="61" y="2"/>
                      <a:pt x="61" y="2"/>
                      <a:pt x="61" y="2"/>
                    </a:cubicBezTo>
                    <a:cubicBezTo>
                      <a:pt x="61" y="1"/>
                      <a:pt x="61" y="1"/>
                      <a:pt x="61" y="1"/>
                    </a:cubicBezTo>
                    <a:cubicBezTo>
                      <a:pt x="61" y="1"/>
                      <a:pt x="61" y="1"/>
                      <a:pt x="61" y="1"/>
                    </a:cubicBezTo>
                    <a:cubicBezTo>
                      <a:pt x="61" y="1"/>
                      <a:pt x="60" y="1"/>
                      <a:pt x="60" y="1"/>
                    </a:cubicBezTo>
                    <a:cubicBezTo>
                      <a:pt x="60" y="2"/>
                      <a:pt x="60" y="2"/>
                      <a:pt x="60" y="2"/>
                    </a:cubicBezTo>
                    <a:cubicBezTo>
                      <a:pt x="59" y="2"/>
                      <a:pt x="59" y="2"/>
                      <a:pt x="59" y="2"/>
                    </a:cubicBezTo>
                    <a:cubicBezTo>
                      <a:pt x="59" y="2"/>
                      <a:pt x="58" y="2"/>
                      <a:pt x="58" y="3"/>
                    </a:cubicBezTo>
                    <a:cubicBezTo>
                      <a:pt x="58" y="3"/>
                      <a:pt x="57" y="3"/>
                      <a:pt x="57" y="3"/>
                    </a:cubicBezTo>
                    <a:cubicBezTo>
                      <a:pt x="56" y="3"/>
                      <a:pt x="55" y="3"/>
                      <a:pt x="55" y="3"/>
                    </a:cubicBezTo>
                    <a:cubicBezTo>
                      <a:pt x="54" y="4"/>
                      <a:pt x="54" y="4"/>
                      <a:pt x="54" y="4"/>
                    </a:cubicBezTo>
                    <a:cubicBezTo>
                      <a:pt x="53" y="3"/>
                      <a:pt x="53" y="3"/>
                      <a:pt x="53" y="3"/>
                    </a:cubicBezTo>
                    <a:cubicBezTo>
                      <a:pt x="53" y="3"/>
                      <a:pt x="53" y="2"/>
                      <a:pt x="52" y="2"/>
                    </a:cubicBezTo>
                    <a:cubicBezTo>
                      <a:pt x="52" y="1"/>
                      <a:pt x="52" y="1"/>
                      <a:pt x="52" y="1"/>
                    </a:cubicBezTo>
                    <a:cubicBezTo>
                      <a:pt x="51" y="1"/>
                      <a:pt x="51" y="1"/>
                      <a:pt x="51" y="1"/>
                    </a:cubicBezTo>
                    <a:cubicBezTo>
                      <a:pt x="50" y="0"/>
                      <a:pt x="50" y="0"/>
                      <a:pt x="49" y="0"/>
                    </a:cubicBezTo>
                    <a:cubicBezTo>
                      <a:pt x="49" y="0"/>
                      <a:pt x="49" y="0"/>
                      <a:pt x="48" y="0"/>
                    </a:cubicBezTo>
                    <a:cubicBezTo>
                      <a:pt x="48" y="0"/>
                      <a:pt x="48" y="0"/>
                      <a:pt x="48" y="0"/>
                    </a:cubicBezTo>
                    <a:cubicBezTo>
                      <a:pt x="48" y="0"/>
                      <a:pt x="48" y="0"/>
                      <a:pt x="48" y="0"/>
                    </a:cubicBezTo>
                    <a:cubicBezTo>
                      <a:pt x="47" y="1"/>
                      <a:pt x="47" y="1"/>
                      <a:pt x="47" y="1"/>
                    </a:cubicBezTo>
                    <a:cubicBezTo>
                      <a:pt x="47" y="2"/>
                      <a:pt x="47" y="2"/>
                      <a:pt x="47" y="2"/>
                    </a:cubicBezTo>
                    <a:cubicBezTo>
                      <a:pt x="47" y="2"/>
                      <a:pt x="47" y="2"/>
                      <a:pt x="47" y="2"/>
                    </a:cubicBezTo>
                    <a:cubicBezTo>
                      <a:pt x="47" y="2"/>
                      <a:pt x="47" y="3"/>
                      <a:pt x="47" y="3"/>
                    </a:cubicBezTo>
                    <a:cubicBezTo>
                      <a:pt x="46" y="3"/>
                      <a:pt x="46" y="3"/>
                      <a:pt x="46" y="3"/>
                    </a:cubicBezTo>
                    <a:cubicBezTo>
                      <a:pt x="46" y="3"/>
                      <a:pt x="46" y="3"/>
                      <a:pt x="46" y="3"/>
                    </a:cubicBezTo>
                    <a:cubicBezTo>
                      <a:pt x="46" y="4"/>
                      <a:pt x="46" y="4"/>
                      <a:pt x="46" y="4"/>
                    </a:cubicBezTo>
                    <a:cubicBezTo>
                      <a:pt x="46" y="4"/>
                      <a:pt x="45" y="4"/>
                      <a:pt x="45" y="4"/>
                    </a:cubicBezTo>
                    <a:cubicBezTo>
                      <a:pt x="45" y="4"/>
                      <a:pt x="45" y="4"/>
                      <a:pt x="45" y="4"/>
                    </a:cubicBezTo>
                    <a:cubicBezTo>
                      <a:pt x="45" y="4"/>
                      <a:pt x="45" y="4"/>
                      <a:pt x="45" y="5"/>
                    </a:cubicBezTo>
                    <a:cubicBezTo>
                      <a:pt x="45" y="5"/>
                      <a:pt x="44" y="5"/>
                      <a:pt x="44" y="5"/>
                    </a:cubicBezTo>
                    <a:cubicBezTo>
                      <a:pt x="44" y="5"/>
                      <a:pt x="44" y="5"/>
                      <a:pt x="44" y="5"/>
                    </a:cubicBezTo>
                    <a:cubicBezTo>
                      <a:pt x="44" y="5"/>
                      <a:pt x="44" y="5"/>
                      <a:pt x="44" y="5"/>
                    </a:cubicBezTo>
                    <a:cubicBezTo>
                      <a:pt x="44" y="5"/>
                      <a:pt x="44" y="5"/>
                      <a:pt x="44" y="5"/>
                    </a:cubicBezTo>
                    <a:cubicBezTo>
                      <a:pt x="44" y="5"/>
                      <a:pt x="44" y="5"/>
                      <a:pt x="44" y="5"/>
                    </a:cubicBezTo>
                    <a:cubicBezTo>
                      <a:pt x="43" y="5"/>
                      <a:pt x="43" y="5"/>
                      <a:pt x="43" y="5"/>
                    </a:cubicBezTo>
                    <a:cubicBezTo>
                      <a:pt x="43" y="5"/>
                      <a:pt x="43" y="5"/>
                      <a:pt x="43" y="5"/>
                    </a:cubicBezTo>
                    <a:cubicBezTo>
                      <a:pt x="43" y="5"/>
                      <a:pt x="43" y="5"/>
                      <a:pt x="43" y="5"/>
                    </a:cubicBezTo>
                    <a:cubicBezTo>
                      <a:pt x="42" y="4"/>
                      <a:pt x="42" y="4"/>
                      <a:pt x="42" y="4"/>
                    </a:cubicBezTo>
                    <a:cubicBezTo>
                      <a:pt x="42" y="4"/>
                      <a:pt x="42" y="4"/>
                      <a:pt x="42" y="4"/>
                    </a:cubicBezTo>
                    <a:cubicBezTo>
                      <a:pt x="42" y="4"/>
                      <a:pt x="42" y="4"/>
                      <a:pt x="42" y="4"/>
                    </a:cubicBezTo>
                    <a:cubicBezTo>
                      <a:pt x="42" y="4"/>
                      <a:pt x="42" y="4"/>
                      <a:pt x="42" y="4"/>
                    </a:cubicBezTo>
                    <a:cubicBezTo>
                      <a:pt x="42" y="4"/>
                      <a:pt x="42" y="4"/>
                      <a:pt x="42" y="4"/>
                    </a:cubicBezTo>
                    <a:cubicBezTo>
                      <a:pt x="42" y="4"/>
                      <a:pt x="42" y="4"/>
                      <a:pt x="42" y="4"/>
                    </a:cubicBezTo>
                    <a:cubicBezTo>
                      <a:pt x="41" y="4"/>
                      <a:pt x="41" y="5"/>
                      <a:pt x="40" y="5"/>
                    </a:cubicBezTo>
                    <a:cubicBezTo>
                      <a:pt x="40" y="5"/>
                      <a:pt x="39" y="5"/>
                      <a:pt x="39" y="5"/>
                    </a:cubicBezTo>
                    <a:cubicBezTo>
                      <a:pt x="39" y="5"/>
                      <a:pt x="38" y="5"/>
                      <a:pt x="38" y="5"/>
                    </a:cubicBezTo>
                    <a:cubicBezTo>
                      <a:pt x="38" y="5"/>
                      <a:pt x="38" y="5"/>
                      <a:pt x="38" y="5"/>
                    </a:cubicBezTo>
                    <a:cubicBezTo>
                      <a:pt x="38" y="5"/>
                      <a:pt x="37" y="5"/>
                      <a:pt x="37" y="5"/>
                    </a:cubicBezTo>
                    <a:cubicBezTo>
                      <a:pt x="35" y="5"/>
                      <a:pt x="35" y="5"/>
                      <a:pt x="35" y="5"/>
                    </a:cubicBezTo>
                    <a:cubicBezTo>
                      <a:pt x="35" y="6"/>
                      <a:pt x="35" y="7"/>
                      <a:pt x="35" y="8"/>
                    </a:cubicBezTo>
                    <a:cubicBezTo>
                      <a:pt x="35" y="9"/>
                      <a:pt x="35" y="9"/>
                      <a:pt x="35" y="9"/>
                    </a:cubicBezTo>
                    <a:cubicBezTo>
                      <a:pt x="34" y="11"/>
                      <a:pt x="33" y="13"/>
                      <a:pt x="33" y="15"/>
                    </a:cubicBezTo>
                    <a:cubicBezTo>
                      <a:pt x="32" y="17"/>
                      <a:pt x="32" y="17"/>
                      <a:pt x="32" y="17"/>
                    </a:cubicBezTo>
                    <a:cubicBezTo>
                      <a:pt x="32" y="19"/>
                      <a:pt x="32" y="20"/>
                      <a:pt x="31" y="21"/>
                    </a:cubicBezTo>
                    <a:cubicBezTo>
                      <a:pt x="31" y="21"/>
                      <a:pt x="30" y="21"/>
                      <a:pt x="30" y="21"/>
                    </a:cubicBezTo>
                    <a:cubicBezTo>
                      <a:pt x="30" y="21"/>
                      <a:pt x="30" y="21"/>
                      <a:pt x="30" y="21"/>
                    </a:cubicBezTo>
                    <a:cubicBezTo>
                      <a:pt x="29" y="21"/>
                      <a:pt x="29" y="21"/>
                      <a:pt x="29" y="21"/>
                    </a:cubicBezTo>
                    <a:cubicBezTo>
                      <a:pt x="29" y="21"/>
                      <a:pt x="29" y="21"/>
                      <a:pt x="29" y="21"/>
                    </a:cubicBezTo>
                    <a:cubicBezTo>
                      <a:pt x="29" y="21"/>
                      <a:pt x="29" y="21"/>
                      <a:pt x="29" y="21"/>
                    </a:cubicBezTo>
                    <a:cubicBezTo>
                      <a:pt x="28" y="21"/>
                      <a:pt x="28" y="21"/>
                      <a:pt x="28" y="21"/>
                    </a:cubicBezTo>
                    <a:cubicBezTo>
                      <a:pt x="27" y="21"/>
                      <a:pt x="27" y="21"/>
                      <a:pt x="27" y="21"/>
                    </a:cubicBezTo>
                    <a:cubicBezTo>
                      <a:pt x="27" y="21"/>
                      <a:pt x="27" y="21"/>
                      <a:pt x="27" y="21"/>
                    </a:cubicBezTo>
                    <a:cubicBezTo>
                      <a:pt x="27" y="21"/>
                      <a:pt x="27" y="21"/>
                      <a:pt x="27" y="21"/>
                    </a:cubicBezTo>
                    <a:cubicBezTo>
                      <a:pt x="26" y="21"/>
                      <a:pt x="26" y="21"/>
                      <a:pt x="26" y="21"/>
                    </a:cubicBezTo>
                    <a:cubicBezTo>
                      <a:pt x="26" y="22"/>
                      <a:pt x="26" y="22"/>
                      <a:pt x="26" y="22"/>
                    </a:cubicBezTo>
                    <a:cubicBezTo>
                      <a:pt x="25" y="23"/>
                      <a:pt x="25" y="23"/>
                      <a:pt x="25" y="23"/>
                    </a:cubicBezTo>
                    <a:cubicBezTo>
                      <a:pt x="25" y="24"/>
                      <a:pt x="24" y="25"/>
                      <a:pt x="24" y="26"/>
                    </a:cubicBezTo>
                    <a:cubicBezTo>
                      <a:pt x="23" y="27"/>
                      <a:pt x="23" y="28"/>
                      <a:pt x="22" y="29"/>
                    </a:cubicBezTo>
                    <a:cubicBezTo>
                      <a:pt x="21" y="29"/>
                      <a:pt x="21" y="30"/>
                      <a:pt x="21" y="31"/>
                    </a:cubicBezTo>
                    <a:cubicBezTo>
                      <a:pt x="20" y="32"/>
                      <a:pt x="20" y="32"/>
                      <a:pt x="20" y="32"/>
                    </a:cubicBezTo>
                    <a:cubicBezTo>
                      <a:pt x="20" y="32"/>
                      <a:pt x="20" y="33"/>
                      <a:pt x="20" y="34"/>
                    </a:cubicBezTo>
                    <a:cubicBezTo>
                      <a:pt x="20" y="35"/>
                      <a:pt x="20" y="35"/>
                      <a:pt x="20" y="35"/>
                    </a:cubicBezTo>
                    <a:cubicBezTo>
                      <a:pt x="20" y="35"/>
                      <a:pt x="20" y="36"/>
                      <a:pt x="20" y="36"/>
                    </a:cubicBezTo>
                    <a:cubicBezTo>
                      <a:pt x="20" y="36"/>
                      <a:pt x="19" y="37"/>
                      <a:pt x="19" y="37"/>
                    </a:cubicBezTo>
                    <a:cubicBezTo>
                      <a:pt x="19" y="37"/>
                      <a:pt x="19" y="38"/>
                      <a:pt x="19" y="38"/>
                    </a:cubicBezTo>
                    <a:cubicBezTo>
                      <a:pt x="19" y="38"/>
                      <a:pt x="19" y="38"/>
                      <a:pt x="19" y="38"/>
                    </a:cubicBezTo>
                    <a:cubicBezTo>
                      <a:pt x="19" y="38"/>
                      <a:pt x="19" y="38"/>
                      <a:pt x="19" y="39"/>
                    </a:cubicBezTo>
                    <a:cubicBezTo>
                      <a:pt x="19" y="39"/>
                      <a:pt x="19" y="40"/>
                      <a:pt x="19" y="40"/>
                    </a:cubicBezTo>
                    <a:cubicBezTo>
                      <a:pt x="19" y="40"/>
                      <a:pt x="19" y="40"/>
                      <a:pt x="19" y="40"/>
                    </a:cubicBezTo>
                    <a:cubicBezTo>
                      <a:pt x="18" y="41"/>
                      <a:pt x="18" y="41"/>
                      <a:pt x="17" y="41"/>
                    </a:cubicBezTo>
                    <a:cubicBezTo>
                      <a:pt x="17" y="41"/>
                      <a:pt x="16" y="41"/>
                      <a:pt x="16" y="41"/>
                    </a:cubicBezTo>
                    <a:cubicBezTo>
                      <a:pt x="16" y="41"/>
                      <a:pt x="16" y="41"/>
                      <a:pt x="16" y="41"/>
                    </a:cubicBezTo>
                    <a:cubicBezTo>
                      <a:pt x="16" y="41"/>
                      <a:pt x="15" y="41"/>
                      <a:pt x="15" y="41"/>
                    </a:cubicBezTo>
                    <a:cubicBezTo>
                      <a:pt x="15" y="41"/>
                      <a:pt x="15" y="41"/>
                      <a:pt x="15" y="41"/>
                    </a:cubicBezTo>
                    <a:cubicBezTo>
                      <a:pt x="15" y="41"/>
                      <a:pt x="14" y="41"/>
                      <a:pt x="14" y="40"/>
                    </a:cubicBezTo>
                    <a:cubicBezTo>
                      <a:pt x="14" y="40"/>
                      <a:pt x="14" y="40"/>
                      <a:pt x="14" y="40"/>
                    </a:cubicBezTo>
                    <a:cubicBezTo>
                      <a:pt x="14" y="41"/>
                      <a:pt x="14" y="41"/>
                      <a:pt x="14" y="41"/>
                    </a:cubicBezTo>
                    <a:cubicBezTo>
                      <a:pt x="13" y="41"/>
                      <a:pt x="13" y="42"/>
                      <a:pt x="13" y="42"/>
                    </a:cubicBezTo>
                    <a:cubicBezTo>
                      <a:pt x="13" y="42"/>
                      <a:pt x="13" y="42"/>
                      <a:pt x="13" y="42"/>
                    </a:cubicBezTo>
                    <a:cubicBezTo>
                      <a:pt x="13" y="42"/>
                      <a:pt x="13" y="43"/>
                      <a:pt x="13" y="43"/>
                    </a:cubicBezTo>
                    <a:cubicBezTo>
                      <a:pt x="13" y="44"/>
                      <a:pt x="13" y="45"/>
                      <a:pt x="13" y="46"/>
                    </a:cubicBezTo>
                    <a:cubicBezTo>
                      <a:pt x="13" y="46"/>
                      <a:pt x="13" y="47"/>
                      <a:pt x="13" y="47"/>
                    </a:cubicBezTo>
                    <a:cubicBezTo>
                      <a:pt x="12" y="48"/>
                      <a:pt x="12" y="48"/>
                      <a:pt x="12" y="48"/>
                    </a:cubicBezTo>
                    <a:cubicBezTo>
                      <a:pt x="12" y="48"/>
                      <a:pt x="12" y="49"/>
                      <a:pt x="12" y="50"/>
                    </a:cubicBezTo>
                    <a:cubicBezTo>
                      <a:pt x="11" y="51"/>
                      <a:pt x="11" y="51"/>
                      <a:pt x="11" y="52"/>
                    </a:cubicBezTo>
                    <a:cubicBezTo>
                      <a:pt x="11" y="53"/>
                      <a:pt x="11" y="54"/>
                      <a:pt x="11" y="55"/>
                    </a:cubicBezTo>
                    <a:cubicBezTo>
                      <a:pt x="11" y="56"/>
                      <a:pt x="11" y="57"/>
                      <a:pt x="11" y="57"/>
                    </a:cubicBezTo>
                    <a:cubicBezTo>
                      <a:pt x="11" y="58"/>
                      <a:pt x="11" y="58"/>
                      <a:pt x="11" y="59"/>
                    </a:cubicBezTo>
                    <a:cubicBezTo>
                      <a:pt x="11" y="62"/>
                      <a:pt x="10" y="63"/>
                      <a:pt x="9" y="65"/>
                    </a:cubicBezTo>
                    <a:cubicBezTo>
                      <a:pt x="9" y="65"/>
                      <a:pt x="9" y="65"/>
                      <a:pt x="9" y="65"/>
                    </a:cubicBezTo>
                    <a:cubicBezTo>
                      <a:pt x="7" y="66"/>
                      <a:pt x="6" y="65"/>
                      <a:pt x="4" y="65"/>
                    </a:cubicBezTo>
                    <a:cubicBezTo>
                      <a:pt x="3" y="65"/>
                      <a:pt x="3" y="65"/>
                      <a:pt x="3" y="65"/>
                    </a:cubicBezTo>
                    <a:cubicBezTo>
                      <a:pt x="2" y="65"/>
                      <a:pt x="2" y="65"/>
                      <a:pt x="2" y="65"/>
                    </a:cubicBezTo>
                    <a:cubicBezTo>
                      <a:pt x="2" y="65"/>
                      <a:pt x="2" y="65"/>
                      <a:pt x="2" y="65"/>
                    </a:cubicBezTo>
                    <a:cubicBezTo>
                      <a:pt x="1" y="65"/>
                      <a:pt x="1" y="65"/>
                      <a:pt x="1" y="65"/>
                    </a:cubicBezTo>
                    <a:cubicBezTo>
                      <a:pt x="1" y="65"/>
                      <a:pt x="0" y="66"/>
                      <a:pt x="0" y="67"/>
                    </a:cubicBezTo>
                    <a:cubicBezTo>
                      <a:pt x="0" y="67"/>
                      <a:pt x="0" y="67"/>
                      <a:pt x="0" y="68"/>
                    </a:cubicBezTo>
                    <a:cubicBezTo>
                      <a:pt x="0" y="68"/>
                      <a:pt x="0" y="68"/>
                      <a:pt x="0" y="68"/>
                    </a:cubicBezTo>
                    <a:cubicBezTo>
                      <a:pt x="0" y="68"/>
                      <a:pt x="0" y="69"/>
                      <a:pt x="0" y="69"/>
                    </a:cubicBezTo>
                    <a:cubicBezTo>
                      <a:pt x="1" y="69"/>
                      <a:pt x="2" y="70"/>
                      <a:pt x="4" y="70"/>
                    </a:cubicBezTo>
                    <a:cubicBezTo>
                      <a:pt x="4" y="70"/>
                      <a:pt x="4" y="70"/>
                      <a:pt x="4" y="70"/>
                    </a:cubicBezTo>
                    <a:cubicBezTo>
                      <a:pt x="4" y="70"/>
                      <a:pt x="4" y="71"/>
                      <a:pt x="5" y="71"/>
                    </a:cubicBezTo>
                    <a:cubicBezTo>
                      <a:pt x="5" y="71"/>
                      <a:pt x="5" y="71"/>
                      <a:pt x="6" y="71"/>
                    </a:cubicBezTo>
                    <a:cubicBezTo>
                      <a:pt x="7" y="71"/>
                      <a:pt x="8" y="73"/>
                      <a:pt x="8" y="74"/>
                    </a:cubicBezTo>
                    <a:cubicBezTo>
                      <a:pt x="9" y="74"/>
                      <a:pt x="9" y="74"/>
                      <a:pt x="9" y="75"/>
                    </a:cubicBezTo>
                    <a:cubicBezTo>
                      <a:pt x="9" y="75"/>
                      <a:pt x="10" y="75"/>
                      <a:pt x="10" y="76"/>
                    </a:cubicBezTo>
                    <a:cubicBezTo>
                      <a:pt x="10" y="76"/>
                      <a:pt x="10" y="76"/>
                      <a:pt x="10" y="76"/>
                    </a:cubicBezTo>
                    <a:cubicBezTo>
                      <a:pt x="11" y="77"/>
                      <a:pt x="12" y="77"/>
                      <a:pt x="13" y="78"/>
                    </a:cubicBezTo>
                    <a:cubicBezTo>
                      <a:pt x="13" y="78"/>
                      <a:pt x="13" y="78"/>
                      <a:pt x="14" y="79"/>
                    </a:cubicBezTo>
                    <a:cubicBezTo>
                      <a:pt x="14" y="79"/>
                      <a:pt x="15" y="80"/>
                      <a:pt x="15" y="80"/>
                    </a:cubicBezTo>
                    <a:cubicBezTo>
                      <a:pt x="16" y="81"/>
                      <a:pt x="16" y="81"/>
                      <a:pt x="16" y="81"/>
                    </a:cubicBezTo>
                    <a:cubicBezTo>
                      <a:pt x="16" y="81"/>
                      <a:pt x="17" y="81"/>
                      <a:pt x="17" y="82"/>
                    </a:cubicBezTo>
                    <a:cubicBezTo>
                      <a:pt x="18" y="84"/>
                      <a:pt x="20" y="90"/>
                      <a:pt x="20" y="91"/>
                    </a:cubicBezTo>
                    <a:cubicBezTo>
                      <a:pt x="20" y="91"/>
                      <a:pt x="21" y="91"/>
                      <a:pt x="21" y="92"/>
                    </a:cubicBezTo>
                    <a:cubicBezTo>
                      <a:pt x="21" y="92"/>
                      <a:pt x="21" y="92"/>
                      <a:pt x="21" y="92"/>
                    </a:cubicBezTo>
                    <a:cubicBezTo>
                      <a:pt x="21" y="92"/>
                      <a:pt x="22" y="93"/>
                      <a:pt x="22" y="93"/>
                    </a:cubicBezTo>
                    <a:cubicBezTo>
                      <a:pt x="22" y="93"/>
                      <a:pt x="22" y="93"/>
                      <a:pt x="22" y="93"/>
                    </a:cubicBezTo>
                    <a:cubicBezTo>
                      <a:pt x="22" y="93"/>
                      <a:pt x="23" y="93"/>
                      <a:pt x="23" y="93"/>
                    </a:cubicBezTo>
                    <a:cubicBezTo>
                      <a:pt x="23" y="94"/>
                      <a:pt x="24" y="94"/>
                      <a:pt x="25" y="94"/>
                    </a:cubicBezTo>
                    <a:cubicBezTo>
                      <a:pt x="25" y="94"/>
                      <a:pt x="25" y="94"/>
                      <a:pt x="25" y="94"/>
                    </a:cubicBezTo>
                    <a:cubicBezTo>
                      <a:pt x="25" y="94"/>
                      <a:pt x="26" y="94"/>
                      <a:pt x="27" y="95"/>
                    </a:cubicBezTo>
                    <a:cubicBezTo>
                      <a:pt x="28" y="95"/>
                      <a:pt x="28" y="96"/>
                      <a:pt x="28" y="96"/>
                    </a:cubicBezTo>
                    <a:cubicBezTo>
                      <a:pt x="28" y="97"/>
                      <a:pt x="28" y="97"/>
                      <a:pt x="28" y="97"/>
                    </a:cubicBezTo>
                    <a:cubicBezTo>
                      <a:pt x="28" y="97"/>
                      <a:pt x="28" y="98"/>
                      <a:pt x="28" y="98"/>
                    </a:cubicBezTo>
                    <a:cubicBezTo>
                      <a:pt x="28" y="99"/>
                      <a:pt x="28" y="99"/>
                      <a:pt x="28" y="99"/>
                    </a:cubicBezTo>
                    <a:cubicBezTo>
                      <a:pt x="28" y="99"/>
                      <a:pt x="28" y="99"/>
                      <a:pt x="28" y="99"/>
                    </a:cubicBezTo>
                    <a:cubicBezTo>
                      <a:pt x="28" y="100"/>
                      <a:pt x="28" y="100"/>
                      <a:pt x="28" y="100"/>
                    </a:cubicBezTo>
                    <a:cubicBezTo>
                      <a:pt x="28" y="102"/>
                      <a:pt x="28" y="102"/>
                      <a:pt x="28" y="102"/>
                    </a:cubicBezTo>
                    <a:cubicBezTo>
                      <a:pt x="28" y="102"/>
                      <a:pt x="28" y="102"/>
                      <a:pt x="28" y="102"/>
                    </a:cubicBezTo>
                    <a:cubicBezTo>
                      <a:pt x="29" y="102"/>
                      <a:pt x="29" y="102"/>
                      <a:pt x="29" y="102"/>
                    </a:cubicBezTo>
                    <a:cubicBezTo>
                      <a:pt x="29" y="103"/>
                      <a:pt x="30" y="104"/>
                      <a:pt x="30" y="104"/>
                    </a:cubicBezTo>
                    <a:cubicBezTo>
                      <a:pt x="35" y="104"/>
                      <a:pt x="35" y="104"/>
                      <a:pt x="35" y="104"/>
                    </a:cubicBezTo>
                    <a:cubicBezTo>
                      <a:pt x="36" y="104"/>
                      <a:pt x="36" y="104"/>
                      <a:pt x="37" y="104"/>
                    </a:cubicBezTo>
                    <a:cubicBezTo>
                      <a:pt x="37" y="104"/>
                      <a:pt x="38" y="104"/>
                      <a:pt x="38" y="104"/>
                    </a:cubicBezTo>
                    <a:cubicBezTo>
                      <a:pt x="39" y="103"/>
                      <a:pt x="39" y="103"/>
                      <a:pt x="39" y="103"/>
                    </a:cubicBezTo>
                    <a:cubicBezTo>
                      <a:pt x="38" y="105"/>
                      <a:pt x="38" y="105"/>
                      <a:pt x="38" y="105"/>
                    </a:cubicBezTo>
                    <a:cubicBezTo>
                      <a:pt x="39" y="105"/>
                      <a:pt x="39" y="105"/>
                      <a:pt x="39" y="105"/>
                    </a:cubicBezTo>
                    <a:cubicBezTo>
                      <a:pt x="39" y="105"/>
                      <a:pt x="39" y="105"/>
                      <a:pt x="40" y="105"/>
                    </a:cubicBezTo>
                    <a:cubicBezTo>
                      <a:pt x="40" y="105"/>
                      <a:pt x="40" y="105"/>
                      <a:pt x="40" y="105"/>
                    </a:cubicBezTo>
                    <a:cubicBezTo>
                      <a:pt x="41" y="106"/>
                      <a:pt x="41" y="106"/>
                      <a:pt x="42" y="106"/>
                    </a:cubicBezTo>
                    <a:cubicBezTo>
                      <a:pt x="42" y="107"/>
                      <a:pt x="42" y="107"/>
                      <a:pt x="42" y="107"/>
                    </a:cubicBezTo>
                    <a:cubicBezTo>
                      <a:pt x="43" y="107"/>
                      <a:pt x="43" y="107"/>
                      <a:pt x="44" y="108"/>
                    </a:cubicBezTo>
                    <a:cubicBezTo>
                      <a:pt x="45" y="108"/>
                      <a:pt x="45" y="108"/>
                      <a:pt x="45" y="108"/>
                    </a:cubicBezTo>
                    <a:cubicBezTo>
                      <a:pt x="46" y="109"/>
                      <a:pt x="47" y="110"/>
                      <a:pt x="49" y="111"/>
                    </a:cubicBezTo>
                    <a:cubicBezTo>
                      <a:pt x="49" y="111"/>
                      <a:pt x="50" y="112"/>
                      <a:pt x="51" y="112"/>
                    </a:cubicBezTo>
                    <a:cubicBezTo>
                      <a:pt x="52" y="113"/>
                      <a:pt x="55" y="113"/>
                      <a:pt x="57" y="113"/>
                    </a:cubicBezTo>
                    <a:cubicBezTo>
                      <a:pt x="57" y="113"/>
                      <a:pt x="58" y="113"/>
                      <a:pt x="58" y="113"/>
                    </a:cubicBezTo>
                    <a:cubicBezTo>
                      <a:pt x="60" y="113"/>
                      <a:pt x="60" y="113"/>
                      <a:pt x="60" y="113"/>
                    </a:cubicBezTo>
                    <a:cubicBezTo>
                      <a:pt x="61" y="114"/>
                      <a:pt x="62" y="114"/>
                      <a:pt x="63" y="114"/>
                    </a:cubicBezTo>
                    <a:cubicBezTo>
                      <a:pt x="64" y="114"/>
                      <a:pt x="64" y="114"/>
                      <a:pt x="64" y="114"/>
                    </a:cubicBezTo>
                    <a:cubicBezTo>
                      <a:pt x="65" y="114"/>
                      <a:pt x="65" y="113"/>
                      <a:pt x="66" y="112"/>
                    </a:cubicBezTo>
                    <a:cubicBezTo>
                      <a:pt x="66" y="111"/>
                      <a:pt x="67" y="110"/>
                      <a:pt x="69" y="109"/>
                    </a:cubicBezTo>
                    <a:cubicBezTo>
                      <a:pt x="77" y="105"/>
                      <a:pt x="77" y="105"/>
                      <a:pt x="77" y="105"/>
                    </a:cubicBezTo>
                    <a:cubicBezTo>
                      <a:pt x="77" y="105"/>
                      <a:pt x="77" y="105"/>
                      <a:pt x="77" y="105"/>
                    </a:cubicBezTo>
                    <a:cubicBezTo>
                      <a:pt x="77" y="105"/>
                      <a:pt x="77" y="105"/>
                      <a:pt x="77" y="105"/>
                    </a:cubicBezTo>
                    <a:cubicBezTo>
                      <a:pt x="77" y="105"/>
                      <a:pt x="77" y="105"/>
                      <a:pt x="77" y="105"/>
                    </a:cubicBezTo>
                    <a:cubicBezTo>
                      <a:pt x="78" y="105"/>
                      <a:pt x="78" y="105"/>
                      <a:pt x="78" y="105"/>
                    </a:cubicBezTo>
                    <a:cubicBezTo>
                      <a:pt x="78" y="105"/>
                      <a:pt x="78" y="106"/>
                      <a:pt x="79" y="106"/>
                    </a:cubicBezTo>
                    <a:cubicBezTo>
                      <a:pt x="79" y="106"/>
                      <a:pt x="79" y="106"/>
                      <a:pt x="80" y="107"/>
                    </a:cubicBezTo>
                    <a:cubicBezTo>
                      <a:pt x="80" y="107"/>
                      <a:pt x="81" y="108"/>
                      <a:pt x="82" y="109"/>
                    </a:cubicBezTo>
                    <a:cubicBezTo>
                      <a:pt x="82" y="109"/>
                      <a:pt x="82" y="109"/>
                      <a:pt x="82" y="109"/>
                    </a:cubicBezTo>
                    <a:cubicBezTo>
                      <a:pt x="82" y="109"/>
                      <a:pt x="82" y="109"/>
                      <a:pt x="83" y="109"/>
                    </a:cubicBezTo>
                    <a:cubicBezTo>
                      <a:pt x="83" y="109"/>
                      <a:pt x="83" y="109"/>
                      <a:pt x="83" y="109"/>
                    </a:cubicBezTo>
                    <a:cubicBezTo>
                      <a:pt x="83" y="109"/>
                      <a:pt x="84" y="109"/>
                      <a:pt x="85" y="109"/>
                    </a:cubicBezTo>
                    <a:cubicBezTo>
                      <a:pt x="85" y="109"/>
                      <a:pt x="85" y="109"/>
                      <a:pt x="85" y="109"/>
                    </a:cubicBezTo>
                    <a:cubicBezTo>
                      <a:pt x="85" y="109"/>
                      <a:pt x="86" y="109"/>
                      <a:pt x="87" y="109"/>
                    </a:cubicBezTo>
                    <a:cubicBezTo>
                      <a:pt x="87" y="109"/>
                      <a:pt x="87" y="109"/>
                      <a:pt x="87" y="109"/>
                    </a:cubicBezTo>
                    <a:cubicBezTo>
                      <a:pt x="88" y="109"/>
                      <a:pt x="88" y="109"/>
                      <a:pt x="88" y="109"/>
                    </a:cubicBezTo>
                    <a:cubicBezTo>
                      <a:pt x="88" y="108"/>
                      <a:pt x="89" y="108"/>
                      <a:pt x="89" y="108"/>
                    </a:cubicBezTo>
                    <a:cubicBezTo>
                      <a:pt x="90" y="107"/>
                      <a:pt x="90" y="107"/>
                      <a:pt x="91"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4" name="Rectangle 3046">
                <a:extLst>
                  <a:ext uri="{FF2B5EF4-FFF2-40B4-BE49-F238E27FC236}">
                    <a16:creationId xmlns:a16="http://schemas.microsoft.com/office/drawing/2014/main" id="{C42ED60E-FA44-4CF1-B1FA-AB005FFC60BD}"/>
                  </a:ext>
                </a:extLst>
              </p:cNvPr>
              <p:cNvSpPr>
                <a:spLocks noChangeArrowheads="1"/>
              </p:cNvSpPr>
              <p:nvPr/>
            </p:nvSpPr>
            <p:spPr bwMode="auto">
              <a:xfrm>
                <a:off x="4455" y="24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5" name="Freeform 3047">
                <a:extLst>
                  <a:ext uri="{FF2B5EF4-FFF2-40B4-BE49-F238E27FC236}">
                    <a16:creationId xmlns:a16="http://schemas.microsoft.com/office/drawing/2014/main" id="{7E9E60CE-4B14-42CB-9902-1B14BD3812D7}"/>
                  </a:ext>
                </a:extLst>
              </p:cNvPr>
              <p:cNvSpPr>
                <a:spLocks/>
              </p:cNvSpPr>
              <p:nvPr/>
            </p:nvSpPr>
            <p:spPr bwMode="auto">
              <a:xfrm>
                <a:off x="4431" y="2341"/>
                <a:ext cx="158" cy="132"/>
              </a:xfrm>
              <a:custGeom>
                <a:avLst/>
                <a:gdLst>
                  <a:gd name="T0" fmla="*/ 19 w 67"/>
                  <a:gd name="T1" fmla="*/ 4 h 56"/>
                  <a:gd name="T2" fmla="*/ 19 w 67"/>
                  <a:gd name="T3" fmla="*/ 4 h 56"/>
                  <a:gd name="T4" fmla="*/ 18 w 67"/>
                  <a:gd name="T5" fmla="*/ 4 h 56"/>
                  <a:gd name="T6" fmla="*/ 17 w 67"/>
                  <a:gd name="T7" fmla="*/ 5 h 56"/>
                  <a:gd name="T8" fmla="*/ 15 w 67"/>
                  <a:gd name="T9" fmla="*/ 5 h 56"/>
                  <a:gd name="T10" fmla="*/ 11 w 67"/>
                  <a:gd name="T11" fmla="*/ 8 h 56"/>
                  <a:gd name="T12" fmla="*/ 11 w 67"/>
                  <a:gd name="T13" fmla="*/ 9 h 56"/>
                  <a:gd name="T14" fmla="*/ 6 w 67"/>
                  <a:gd name="T15" fmla="*/ 10 h 56"/>
                  <a:gd name="T16" fmla="*/ 0 w 67"/>
                  <a:gd name="T17" fmla="*/ 29 h 56"/>
                  <a:gd name="T18" fmla="*/ 1 w 67"/>
                  <a:gd name="T19" fmla="*/ 33 h 56"/>
                  <a:gd name="T20" fmla="*/ 1 w 67"/>
                  <a:gd name="T21" fmla="*/ 35 h 56"/>
                  <a:gd name="T22" fmla="*/ 1 w 67"/>
                  <a:gd name="T23" fmla="*/ 36 h 56"/>
                  <a:gd name="T24" fmla="*/ 1 w 67"/>
                  <a:gd name="T25" fmla="*/ 37 h 56"/>
                  <a:gd name="T26" fmla="*/ 4 w 67"/>
                  <a:gd name="T27" fmla="*/ 37 h 56"/>
                  <a:gd name="T28" fmla="*/ 6 w 67"/>
                  <a:gd name="T29" fmla="*/ 36 h 56"/>
                  <a:gd name="T30" fmla="*/ 9 w 67"/>
                  <a:gd name="T31" fmla="*/ 35 h 56"/>
                  <a:gd name="T32" fmla="*/ 10 w 67"/>
                  <a:gd name="T33" fmla="*/ 36 h 56"/>
                  <a:gd name="T34" fmla="*/ 12 w 67"/>
                  <a:gd name="T35" fmla="*/ 32 h 56"/>
                  <a:gd name="T36" fmla="*/ 14 w 67"/>
                  <a:gd name="T37" fmla="*/ 29 h 56"/>
                  <a:gd name="T38" fmla="*/ 16 w 67"/>
                  <a:gd name="T39" fmla="*/ 31 h 56"/>
                  <a:gd name="T40" fmla="*/ 16 w 67"/>
                  <a:gd name="T41" fmla="*/ 32 h 56"/>
                  <a:gd name="T42" fmla="*/ 20 w 67"/>
                  <a:gd name="T43" fmla="*/ 34 h 56"/>
                  <a:gd name="T44" fmla="*/ 22 w 67"/>
                  <a:gd name="T45" fmla="*/ 34 h 56"/>
                  <a:gd name="T46" fmla="*/ 24 w 67"/>
                  <a:gd name="T47" fmla="*/ 34 h 56"/>
                  <a:gd name="T48" fmla="*/ 26 w 67"/>
                  <a:gd name="T49" fmla="*/ 33 h 56"/>
                  <a:gd name="T50" fmla="*/ 27 w 67"/>
                  <a:gd name="T51" fmla="*/ 33 h 56"/>
                  <a:gd name="T52" fmla="*/ 28 w 67"/>
                  <a:gd name="T53" fmla="*/ 33 h 56"/>
                  <a:gd name="T54" fmla="*/ 31 w 67"/>
                  <a:gd name="T55" fmla="*/ 32 h 56"/>
                  <a:gd name="T56" fmla="*/ 29 w 67"/>
                  <a:gd name="T57" fmla="*/ 34 h 56"/>
                  <a:gd name="T58" fmla="*/ 30 w 67"/>
                  <a:gd name="T59" fmla="*/ 34 h 56"/>
                  <a:gd name="T60" fmla="*/ 31 w 67"/>
                  <a:gd name="T61" fmla="*/ 34 h 56"/>
                  <a:gd name="T62" fmla="*/ 34 w 67"/>
                  <a:gd name="T63" fmla="*/ 34 h 56"/>
                  <a:gd name="T64" fmla="*/ 39 w 67"/>
                  <a:gd name="T65" fmla="*/ 35 h 56"/>
                  <a:gd name="T66" fmla="*/ 39 w 67"/>
                  <a:gd name="T67" fmla="*/ 35 h 56"/>
                  <a:gd name="T68" fmla="*/ 42 w 67"/>
                  <a:gd name="T69" fmla="*/ 36 h 56"/>
                  <a:gd name="T70" fmla="*/ 52 w 67"/>
                  <a:gd name="T71" fmla="*/ 46 h 56"/>
                  <a:gd name="T72" fmla="*/ 61 w 67"/>
                  <a:gd name="T73" fmla="*/ 56 h 56"/>
                  <a:gd name="T74" fmla="*/ 67 w 67"/>
                  <a:gd name="T75" fmla="*/ 53 h 56"/>
                  <a:gd name="T76" fmla="*/ 59 w 67"/>
                  <a:gd name="T77" fmla="*/ 47 h 56"/>
                  <a:gd name="T78" fmla="*/ 47 w 67"/>
                  <a:gd name="T79" fmla="*/ 34 h 56"/>
                  <a:gd name="T80" fmla="*/ 34 w 67"/>
                  <a:gd name="T81" fmla="*/ 25 h 56"/>
                  <a:gd name="T82" fmla="*/ 32 w 67"/>
                  <a:gd name="T83" fmla="*/ 28 h 56"/>
                  <a:gd name="T84" fmla="*/ 28 w 67"/>
                  <a:gd name="T85" fmla="*/ 18 h 56"/>
                  <a:gd name="T86" fmla="*/ 21 w 67"/>
                  <a:gd name="T8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56">
                    <a:moveTo>
                      <a:pt x="21" y="1"/>
                    </a:moveTo>
                    <a:cubicBezTo>
                      <a:pt x="21" y="2"/>
                      <a:pt x="20" y="3"/>
                      <a:pt x="19" y="3"/>
                    </a:cubicBezTo>
                    <a:cubicBezTo>
                      <a:pt x="19" y="3"/>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5"/>
                      <a:pt x="18" y="5"/>
                      <a:pt x="18" y="5"/>
                    </a:cubicBezTo>
                    <a:cubicBezTo>
                      <a:pt x="17" y="5"/>
                      <a:pt x="17" y="5"/>
                      <a:pt x="17" y="5"/>
                    </a:cubicBezTo>
                    <a:cubicBezTo>
                      <a:pt x="17" y="5"/>
                      <a:pt x="17" y="5"/>
                      <a:pt x="17" y="5"/>
                    </a:cubicBezTo>
                    <a:cubicBezTo>
                      <a:pt x="16" y="5"/>
                      <a:pt x="16" y="5"/>
                      <a:pt x="15" y="5"/>
                    </a:cubicBezTo>
                    <a:cubicBezTo>
                      <a:pt x="15" y="5"/>
                      <a:pt x="15" y="5"/>
                      <a:pt x="15" y="5"/>
                    </a:cubicBezTo>
                    <a:cubicBezTo>
                      <a:pt x="15" y="5"/>
                      <a:pt x="15" y="5"/>
                      <a:pt x="15" y="5"/>
                    </a:cubicBezTo>
                    <a:cubicBezTo>
                      <a:pt x="15" y="6"/>
                      <a:pt x="14" y="6"/>
                      <a:pt x="14" y="6"/>
                    </a:cubicBezTo>
                    <a:cubicBezTo>
                      <a:pt x="14" y="6"/>
                      <a:pt x="14" y="6"/>
                      <a:pt x="14" y="6"/>
                    </a:cubicBezTo>
                    <a:cubicBezTo>
                      <a:pt x="13" y="7"/>
                      <a:pt x="12" y="7"/>
                      <a:pt x="11" y="8"/>
                    </a:cubicBezTo>
                    <a:cubicBezTo>
                      <a:pt x="11" y="8"/>
                      <a:pt x="11" y="8"/>
                      <a:pt x="11" y="8"/>
                    </a:cubicBezTo>
                    <a:cubicBezTo>
                      <a:pt x="11" y="8"/>
                      <a:pt x="11" y="8"/>
                      <a:pt x="11" y="8"/>
                    </a:cubicBezTo>
                    <a:cubicBezTo>
                      <a:pt x="11" y="8"/>
                      <a:pt x="11" y="8"/>
                      <a:pt x="11" y="9"/>
                    </a:cubicBezTo>
                    <a:cubicBezTo>
                      <a:pt x="11" y="9"/>
                      <a:pt x="11" y="9"/>
                      <a:pt x="11" y="9"/>
                    </a:cubicBezTo>
                    <a:cubicBezTo>
                      <a:pt x="10" y="9"/>
                      <a:pt x="10" y="9"/>
                      <a:pt x="10" y="9"/>
                    </a:cubicBezTo>
                    <a:cubicBezTo>
                      <a:pt x="9" y="10"/>
                      <a:pt x="7" y="10"/>
                      <a:pt x="6" y="10"/>
                    </a:cubicBezTo>
                    <a:cubicBezTo>
                      <a:pt x="6" y="13"/>
                      <a:pt x="6" y="15"/>
                      <a:pt x="4" y="18"/>
                    </a:cubicBezTo>
                    <a:cubicBezTo>
                      <a:pt x="4" y="20"/>
                      <a:pt x="3" y="21"/>
                      <a:pt x="3" y="22"/>
                    </a:cubicBezTo>
                    <a:cubicBezTo>
                      <a:pt x="2" y="24"/>
                      <a:pt x="1" y="27"/>
                      <a:pt x="0" y="29"/>
                    </a:cubicBezTo>
                    <a:cubicBezTo>
                      <a:pt x="0" y="30"/>
                      <a:pt x="0" y="31"/>
                      <a:pt x="1" y="32"/>
                    </a:cubicBezTo>
                    <a:cubicBezTo>
                      <a:pt x="1" y="32"/>
                      <a:pt x="1" y="32"/>
                      <a:pt x="1" y="32"/>
                    </a:cubicBezTo>
                    <a:cubicBezTo>
                      <a:pt x="1" y="32"/>
                      <a:pt x="1" y="33"/>
                      <a:pt x="1" y="33"/>
                    </a:cubicBezTo>
                    <a:cubicBezTo>
                      <a:pt x="1" y="33"/>
                      <a:pt x="1" y="33"/>
                      <a:pt x="1" y="33"/>
                    </a:cubicBezTo>
                    <a:cubicBezTo>
                      <a:pt x="1" y="33"/>
                      <a:pt x="1" y="34"/>
                      <a:pt x="1" y="35"/>
                    </a:cubicBezTo>
                    <a:cubicBezTo>
                      <a:pt x="1" y="35"/>
                      <a:pt x="1" y="35"/>
                      <a:pt x="1" y="35"/>
                    </a:cubicBezTo>
                    <a:cubicBezTo>
                      <a:pt x="1" y="35"/>
                      <a:pt x="1" y="35"/>
                      <a:pt x="1" y="35"/>
                    </a:cubicBezTo>
                    <a:cubicBezTo>
                      <a:pt x="1" y="36"/>
                      <a:pt x="1" y="36"/>
                      <a:pt x="1" y="36"/>
                    </a:cubicBezTo>
                    <a:cubicBezTo>
                      <a:pt x="1" y="36"/>
                      <a:pt x="1" y="36"/>
                      <a:pt x="1" y="36"/>
                    </a:cubicBezTo>
                    <a:cubicBezTo>
                      <a:pt x="1" y="36"/>
                      <a:pt x="1" y="36"/>
                      <a:pt x="1" y="36"/>
                    </a:cubicBezTo>
                    <a:cubicBezTo>
                      <a:pt x="1" y="37"/>
                      <a:pt x="1" y="37"/>
                      <a:pt x="1" y="37"/>
                    </a:cubicBezTo>
                    <a:cubicBezTo>
                      <a:pt x="1" y="37"/>
                      <a:pt x="1" y="37"/>
                      <a:pt x="1" y="37"/>
                    </a:cubicBezTo>
                    <a:cubicBezTo>
                      <a:pt x="1" y="37"/>
                      <a:pt x="2" y="37"/>
                      <a:pt x="2" y="37"/>
                    </a:cubicBezTo>
                    <a:cubicBezTo>
                      <a:pt x="3" y="37"/>
                      <a:pt x="3" y="37"/>
                      <a:pt x="3" y="37"/>
                    </a:cubicBezTo>
                    <a:cubicBezTo>
                      <a:pt x="3" y="37"/>
                      <a:pt x="4" y="37"/>
                      <a:pt x="4" y="37"/>
                    </a:cubicBezTo>
                    <a:cubicBezTo>
                      <a:pt x="4" y="37"/>
                      <a:pt x="4" y="37"/>
                      <a:pt x="4" y="37"/>
                    </a:cubicBezTo>
                    <a:cubicBezTo>
                      <a:pt x="5" y="37"/>
                      <a:pt x="5" y="37"/>
                      <a:pt x="5" y="36"/>
                    </a:cubicBezTo>
                    <a:cubicBezTo>
                      <a:pt x="6" y="36"/>
                      <a:pt x="6" y="36"/>
                      <a:pt x="6" y="36"/>
                    </a:cubicBezTo>
                    <a:cubicBezTo>
                      <a:pt x="7" y="35"/>
                      <a:pt x="7" y="35"/>
                      <a:pt x="7" y="35"/>
                    </a:cubicBezTo>
                    <a:cubicBezTo>
                      <a:pt x="8" y="34"/>
                      <a:pt x="8" y="34"/>
                      <a:pt x="8" y="34"/>
                    </a:cubicBezTo>
                    <a:cubicBezTo>
                      <a:pt x="9" y="35"/>
                      <a:pt x="9" y="35"/>
                      <a:pt x="9" y="35"/>
                    </a:cubicBezTo>
                    <a:cubicBezTo>
                      <a:pt x="9" y="35"/>
                      <a:pt x="9"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1" y="35"/>
                      <a:pt x="12" y="33"/>
                      <a:pt x="12" y="32"/>
                    </a:cubicBezTo>
                    <a:cubicBezTo>
                      <a:pt x="12" y="32"/>
                      <a:pt x="12" y="32"/>
                      <a:pt x="12" y="32"/>
                    </a:cubicBezTo>
                    <a:cubicBezTo>
                      <a:pt x="12" y="32"/>
                      <a:pt x="12" y="32"/>
                      <a:pt x="12" y="32"/>
                    </a:cubicBezTo>
                    <a:cubicBezTo>
                      <a:pt x="14" y="29"/>
                      <a:pt x="14" y="29"/>
                      <a:pt x="14" y="29"/>
                    </a:cubicBezTo>
                    <a:cubicBezTo>
                      <a:pt x="15" y="30"/>
                      <a:pt x="15" y="30"/>
                      <a:pt x="15" y="30"/>
                    </a:cubicBezTo>
                    <a:cubicBezTo>
                      <a:pt x="15" y="31"/>
                      <a:pt x="15" y="31"/>
                      <a:pt x="15" y="31"/>
                    </a:cubicBezTo>
                    <a:cubicBezTo>
                      <a:pt x="16" y="31"/>
                      <a:pt x="16" y="31"/>
                      <a:pt x="16" y="31"/>
                    </a:cubicBezTo>
                    <a:cubicBezTo>
                      <a:pt x="16" y="31"/>
                      <a:pt x="16" y="31"/>
                      <a:pt x="16" y="31"/>
                    </a:cubicBezTo>
                    <a:cubicBezTo>
                      <a:pt x="16" y="31"/>
                      <a:pt x="16" y="32"/>
                      <a:pt x="16" y="32"/>
                    </a:cubicBezTo>
                    <a:cubicBezTo>
                      <a:pt x="16" y="32"/>
                      <a:pt x="16" y="32"/>
                      <a:pt x="16" y="32"/>
                    </a:cubicBezTo>
                    <a:cubicBezTo>
                      <a:pt x="17" y="32"/>
                      <a:pt x="17" y="32"/>
                      <a:pt x="17" y="32"/>
                    </a:cubicBezTo>
                    <a:cubicBezTo>
                      <a:pt x="18" y="32"/>
                      <a:pt x="19" y="33"/>
                      <a:pt x="20" y="33"/>
                    </a:cubicBezTo>
                    <a:cubicBezTo>
                      <a:pt x="20" y="34"/>
                      <a:pt x="20" y="34"/>
                      <a:pt x="20" y="34"/>
                    </a:cubicBezTo>
                    <a:cubicBezTo>
                      <a:pt x="20" y="34"/>
                      <a:pt x="20" y="34"/>
                      <a:pt x="20" y="35"/>
                    </a:cubicBezTo>
                    <a:cubicBezTo>
                      <a:pt x="21" y="35"/>
                      <a:pt x="21" y="35"/>
                      <a:pt x="21" y="35"/>
                    </a:cubicBezTo>
                    <a:cubicBezTo>
                      <a:pt x="21" y="35"/>
                      <a:pt x="22" y="34"/>
                      <a:pt x="22" y="34"/>
                    </a:cubicBezTo>
                    <a:cubicBezTo>
                      <a:pt x="23" y="34"/>
                      <a:pt x="23" y="34"/>
                      <a:pt x="23" y="34"/>
                    </a:cubicBezTo>
                    <a:cubicBezTo>
                      <a:pt x="23" y="34"/>
                      <a:pt x="23" y="34"/>
                      <a:pt x="24" y="34"/>
                    </a:cubicBezTo>
                    <a:cubicBezTo>
                      <a:pt x="24" y="34"/>
                      <a:pt x="24" y="34"/>
                      <a:pt x="24" y="34"/>
                    </a:cubicBezTo>
                    <a:cubicBezTo>
                      <a:pt x="24" y="34"/>
                      <a:pt x="24" y="34"/>
                      <a:pt x="24" y="34"/>
                    </a:cubicBezTo>
                    <a:cubicBezTo>
                      <a:pt x="25" y="34"/>
                      <a:pt x="25" y="33"/>
                      <a:pt x="25" y="33"/>
                    </a:cubicBezTo>
                    <a:cubicBezTo>
                      <a:pt x="25" y="33"/>
                      <a:pt x="26" y="33"/>
                      <a:pt x="26" y="33"/>
                    </a:cubicBezTo>
                    <a:cubicBezTo>
                      <a:pt x="26" y="33"/>
                      <a:pt x="26" y="33"/>
                      <a:pt x="26" y="33"/>
                    </a:cubicBezTo>
                    <a:cubicBezTo>
                      <a:pt x="26" y="33"/>
                      <a:pt x="26" y="33"/>
                      <a:pt x="27" y="33"/>
                    </a:cubicBezTo>
                    <a:cubicBezTo>
                      <a:pt x="27" y="33"/>
                      <a:pt x="27" y="33"/>
                      <a:pt x="27" y="33"/>
                    </a:cubicBezTo>
                    <a:cubicBezTo>
                      <a:pt x="27" y="33"/>
                      <a:pt x="27" y="33"/>
                      <a:pt x="27" y="33"/>
                    </a:cubicBezTo>
                    <a:cubicBezTo>
                      <a:pt x="27" y="33"/>
                      <a:pt x="27" y="33"/>
                      <a:pt x="27" y="33"/>
                    </a:cubicBezTo>
                    <a:cubicBezTo>
                      <a:pt x="27" y="33"/>
                      <a:pt x="28" y="33"/>
                      <a:pt x="28" y="33"/>
                    </a:cubicBezTo>
                    <a:cubicBezTo>
                      <a:pt x="28" y="33"/>
                      <a:pt x="28" y="33"/>
                      <a:pt x="28" y="33"/>
                    </a:cubicBezTo>
                    <a:cubicBezTo>
                      <a:pt x="28" y="33"/>
                      <a:pt x="28" y="33"/>
                      <a:pt x="28" y="33"/>
                    </a:cubicBezTo>
                    <a:cubicBezTo>
                      <a:pt x="31" y="32"/>
                      <a:pt x="31" y="32"/>
                      <a:pt x="31" y="32"/>
                    </a:cubicBezTo>
                    <a:cubicBezTo>
                      <a:pt x="29" y="34"/>
                      <a:pt x="29" y="34"/>
                      <a:pt x="29" y="34"/>
                    </a:cubicBezTo>
                    <a:cubicBezTo>
                      <a:pt x="29" y="34"/>
                      <a:pt x="29" y="34"/>
                      <a:pt x="29" y="34"/>
                    </a:cubicBezTo>
                    <a:cubicBezTo>
                      <a:pt x="29" y="34"/>
                      <a:pt x="29" y="34"/>
                      <a:pt x="29" y="34"/>
                    </a:cubicBezTo>
                    <a:cubicBezTo>
                      <a:pt x="29" y="34"/>
                      <a:pt x="29" y="34"/>
                      <a:pt x="29" y="34"/>
                    </a:cubicBezTo>
                    <a:cubicBezTo>
                      <a:pt x="29" y="34"/>
                      <a:pt x="29" y="34"/>
                      <a:pt x="29" y="34"/>
                    </a:cubicBezTo>
                    <a:cubicBezTo>
                      <a:pt x="30" y="34"/>
                      <a:pt x="30" y="34"/>
                      <a:pt x="30" y="34"/>
                    </a:cubicBezTo>
                    <a:cubicBezTo>
                      <a:pt x="30" y="34"/>
                      <a:pt x="30" y="34"/>
                      <a:pt x="30" y="34"/>
                    </a:cubicBezTo>
                    <a:cubicBezTo>
                      <a:pt x="31" y="34"/>
                      <a:pt x="31" y="34"/>
                      <a:pt x="31" y="34"/>
                    </a:cubicBezTo>
                    <a:cubicBezTo>
                      <a:pt x="31" y="34"/>
                      <a:pt x="31" y="34"/>
                      <a:pt x="31" y="34"/>
                    </a:cubicBezTo>
                    <a:cubicBezTo>
                      <a:pt x="31" y="33"/>
                      <a:pt x="32" y="33"/>
                      <a:pt x="33" y="33"/>
                    </a:cubicBezTo>
                    <a:cubicBezTo>
                      <a:pt x="33" y="34"/>
                      <a:pt x="34" y="34"/>
                      <a:pt x="34" y="34"/>
                    </a:cubicBezTo>
                    <a:cubicBezTo>
                      <a:pt x="34" y="34"/>
                      <a:pt x="34" y="34"/>
                      <a:pt x="34" y="34"/>
                    </a:cubicBezTo>
                    <a:cubicBezTo>
                      <a:pt x="35" y="34"/>
                      <a:pt x="35" y="34"/>
                      <a:pt x="35" y="34"/>
                    </a:cubicBezTo>
                    <a:cubicBezTo>
                      <a:pt x="36" y="34"/>
                      <a:pt x="37" y="33"/>
                      <a:pt x="38" y="34"/>
                    </a:cubicBezTo>
                    <a:cubicBezTo>
                      <a:pt x="39" y="35"/>
                      <a:pt x="39" y="35"/>
                      <a:pt x="39" y="35"/>
                    </a:cubicBezTo>
                    <a:cubicBezTo>
                      <a:pt x="40" y="33"/>
                      <a:pt x="40" y="33"/>
                      <a:pt x="40" y="33"/>
                    </a:cubicBezTo>
                    <a:cubicBezTo>
                      <a:pt x="39" y="35"/>
                      <a:pt x="39" y="35"/>
                      <a:pt x="39" y="35"/>
                    </a:cubicBezTo>
                    <a:cubicBezTo>
                      <a:pt x="39" y="35"/>
                      <a:pt x="39" y="35"/>
                      <a:pt x="39" y="35"/>
                    </a:cubicBezTo>
                    <a:cubicBezTo>
                      <a:pt x="40" y="35"/>
                      <a:pt x="40" y="36"/>
                      <a:pt x="40" y="36"/>
                    </a:cubicBezTo>
                    <a:cubicBezTo>
                      <a:pt x="40" y="36"/>
                      <a:pt x="41" y="36"/>
                      <a:pt x="41" y="36"/>
                    </a:cubicBezTo>
                    <a:cubicBezTo>
                      <a:pt x="41" y="36"/>
                      <a:pt x="41" y="36"/>
                      <a:pt x="42" y="36"/>
                    </a:cubicBezTo>
                    <a:cubicBezTo>
                      <a:pt x="42" y="37"/>
                      <a:pt x="42" y="37"/>
                      <a:pt x="42" y="37"/>
                    </a:cubicBezTo>
                    <a:cubicBezTo>
                      <a:pt x="43" y="37"/>
                      <a:pt x="45" y="37"/>
                      <a:pt x="45" y="38"/>
                    </a:cubicBezTo>
                    <a:cubicBezTo>
                      <a:pt x="48" y="41"/>
                      <a:pt x="50" y="43"/>
                      <a:pt x="52" y="46"/>
                    </a:cubicBezTo>
                    <a:cubicBezTo>
                      <a:pt x="54" y="47"/>
                      <a:pt x="54" y="47"/>
                      <a:pt x="54" y="47"/>
                    </a:cubicBezTo>
                    <a:cubicBezTo>
                      <a:pt x="55" y="48"/>
                      <a:pt x="56" y="50"/>
                      <a:pt x="57" y="51"/>
                    </a:cubicBezTo>
                    <a:cubicBezTo>
                      <a:pt x="61" y="56"/>
                      <a:pt x="61" y="56"/>
                      <a:pt x="61" y="56"/>
                    </a:cubicBezTo>
                    <a:cubicBezTo>
                      <a:pt x="62" y="56"/>
                      <a:pt x="63" y="56"/>
                      <a:pt x="63" y="56"/>
                    </a:cubicBezTo>
                    <a:cubicBezTo>
                      <a:pt x="64" y="55"/>
                      <a:pt x="66" y="54"/>
                      <a:pt x="66" y="53"/>
                    </a:cubicBezTo>
                    <a:cubicBezTo>
                      <a:pt x="67" y="53"/>
                      <a:pt x="67" y="53"/>
                      <a:pt x="67" y="53"/>
                    </a:cubicBezTo>
                    <a:cubicBezTo>
                      <a:pt x="66" y="52"/>
                      <a:pt x="66" y="52"/>
                      <a:pt x="66" y="52"/>
                    </a:cubicBezTo>
                    <a:cubicBezTo>
                      <a:pt x="63" y="54"/>
                      <a:pt x="62" y="49"/>
                      <a:pt x="60" y="49"/>
                    </a:cubicBezTo>
                    <a:cubicBezTo>
                      <a:pt x="60" y="48"/>
                      <a:pt x="60" y="48"/>
                      <a:pt x="59" y="47"/>
                    </a:cubicBezTo>
                    <a:cubicBezTo>
                      <a:pt x="59" y="45"/>
                      <a:pt x="58" y="43"/>
                      <a:pt x="56" y="42"/>
                    </a:cubicBezTo>
                    <a:cubicBezTo>
                      <a:pt x="55" y="42"/>
                      <a:pt x="53" y="41"/>
                      <a:pt x="52" y="41"/>
                    </a:cubicBezTo>
                    <a:cubicBezTo>
                      <a:pt x="50" y="39"/>
                      <a:pt x="49" y="35"/>
                      <a:pt x="47" y="34"/>
                    </a:cubicBezTo>
                    <a:cubicBezTo>
                      <a:pt x="45" y="33"/>
                      <a:pt x="43" y="32"/>
                      <a:pt x="42" y="31"/>
                    </a:cubicBezTo>
                    <a:cubicBezTo>
                      <a:pt x="40" y="30"/>
                      <a:pt x="38" y="31"/>
                      <a:pt x="37" y="30"/>
                    </a:cubicBezTo>
                    <a:cubicBezTo>
                      <a:pt x="36" y="29"/>
                      <a:pt x="35" y="26"/>
                      <a:pt x="34" y="25"/>
                    </a:cubicBezTo>
                    <a:cubicBezTo>
                      <a:pt x="33" y="25"/>
                      <a:pt x="33" y="26"/>
                      <a:pt x="33" y="26"/>
                    </a:cubicBezTo>
                    <a:cubicBezTo>
                      <a:pt x="33" y="27"/>
                      <a:pt x="34" y="27"/>
                      <a:pt x="34" y="28"/>
                    </a:cubicBezTo>
                    <a:cubicBezTo>
                      <a:pt x="34" y="29"/>
                      <a:pt x="33" y="29"/>
                      <a:pt x="32" y="28"/>
                    </a:cubicBezTo>
                    <a:cubicBezTo>
                      <a:pt x="32" y="28"/>
                      <a:pt x="33" y="28"/>
                      <a:pt x="33" y="27"/>
                    </a:cubicBezTo>
                    <a:cubicBezTo>
                      <a:pt x="32" y="27"/>
                      <a:pt x="29" y="24"/>
                      <a:pt x="30" y="24"/>
                    </a:cubicBezTo>
                    <a:cubicBezTo>
                      <a:pt x="30" y="22"/>
                      <a:pt x="28" y="20"/>
                      <a:pt x="28" y="18"/>
                    </a:cubicBezTo>
                    <a:cubicBezTo>
                      <a:pt x="27" y="16"/>
                      <a:pt x="27" y="14"/>
                      <a:pt x="27" y="12"/>
                    </a:cubicBezTo>
                    <a:cubicBezTo>
                      <a:pt x="26" y="8"/>
                      <a:pt x="24" y="4"/>
                      <a:pt x="22" y="0"/>
                    </a:cubicBezTo>
                    <a:cubicBezTo>
                      <a:pt x="22"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6" name="Freeform 3048">
                <a:extLst>
                  <a:ext uri="{FF2B5EF4-FFF2-40B4-BE49-F238E27FC236}">
                    <a16:creationId xmlns:a16="http://schemas.microsoft.com/office/drawing/2014/main" id="{88C6AC7E-79E3-4280-8D9E-146B856A7EF7}"/>
                  </a:ext>
                </a:extLst>
              </p:cNvPr>
              <p:cNvSpPr>
                <a:spLocks noEditPoints="1"/>
              </p:cNvSpPr>
              <p:nvPr/>
            </p:nvSpPr>
            <p:spPr bwMode="auto">
              <a:xfrm>
                <a:off x="4542" y="2485"/>
                <a:ext cx="248" cy="329"/>
              </a:xfrm>
              <a:custGeom>
                <a:avLst/>
                <a:gdLst>
                  <a:gd name="T0" fmla="*/ 102 w 105"/>
                  <a:gd name="T1" fmla="*/ 16 h 139"/>
                  <a:gd name="T2" fmla="*/ 102 w 105"/>
                  <a:gd name="T3" fmla="*/ 14 h 139"/>
                  <a:gd name="T4" fmla="*/ 104 w 105"/>
                  <a:gd name="T5" fmla="*/ 2 h 139"/>
                  <a:gd name="T6" fmla="*/ 96 w 105"/>
                  <a:gd name="T7" fmla="*/ 2 h 139"/>
                  <a:gd name="T8" fmla="*/ 79 w 105"/>
                  <a:gd name="T9" fmla="*/ 8 h 139"/>
                  <a:gd name="T10" fmla="*/ 61 w 105"/>
                  <a:gd name="T11" fmla="*/ 10 h 139"/>
                  <a:gd name="T12" fmla="*/ 53 w 105"/>
                  <a:gd name="T13" fmla="*/ 14 h 139"/>
                  <a:gd name="T14" fmla="*/ 48 w 105"/>
                  <a:gd name="T15" fmla="*/ 12 h 139"/>
                  <a:gd name="T16" fmla="*/ 35 w 105"/>
                  <a:gd name="T17" fmla="*/ 17 h 139"/>
                  <a:gd name="T18" fmla="*/ 26 w 105"/>
                  <a:gd name="T19" fmla="*/ 11 h 139"/>
                  <a:gd name="T20" fmla="*/ 23 w 105"/>
                  <a:gd name="T21" fmla="*/ 6 h 139"/>
                  <a:gd name="T22" fmla="*/ 21 w 105"/>
                  <a:gd name="T23" fmla="*/ 10 h 139"/>
                  <a:gd name="T24" fmla="*/ 18 w 105"/>
                  <a:gd name="T25" fmla="*/ 13 h 139"/>
                  <a:gd name="T26" fmla="*/ 17 w 105"/>
                  <a:gd name="T27" fmla="*/ 14 h 139"/>
                  <a:gd name="T28" fmla="*/ 18 w 105"/>
                  <a:gd name="T29" fmla="*/ 16 h 139"/>
                  <a:gd name="T30" fmla="*/ 21 w 105"/>
                  <a:gd name="T31" fmla="*/ 21 h 139"/>
                  <a:gd name="T32" fmla="*/ 22 w 105"/>
                  <a:gd name="T33" fmla="*/ 23 h 139"/>
                  <a:gd name="T34" fmla="*/ 28 w 105"/>
                  <a:gd name="T35" fmla="*/ 28 h 139"/>
                  <a:gd name="T36" fmla="*/ 30 w 105"/>
                  <a:gd name="T37" fmla="*/ 30 h 139"/>
                  <a:gd name="T38" fmla="*/ 36 w 105"/>
                  <a:gd name="T39" fmla="*/ 32 h 139"/>
                  <a:gd name="T40" fmla="*/ 55 w 105"/>
                  <a:gd name="T41" fmla="*/ 38 h 139"/>
                  <a:gd name="T42" fmla="*/ 60 w 105"/>
                  <a:gd name="T43" fmla="*/ 40 h 139"/>
                  <a:gd name="T44" fmla="*/ 63 w 105"/>
                  <a:gd name="T45" fmla="*/ 40 h 139"/>
                  <a:gd name="T46" fmla="*/ 66 w 105"/>
                  <a:gd name="T47" fmla="*/ 40 h 139"/>
                  <a:gd name="T48" fmla="*/ 70 w 105"/>
                  <a:gd name="T49" fmla="*/ 40 h 139"/>
                  <a:gd name="T50" fmla="*/ 71 w 105"/>
                  <a:gd name="T51" fmla="*/ 42 h 139"/>
                  <a:gd name="T52" fmla="*/ 47 w 105"/>
                  <a:gd name="T53" fmla="*/ 66 h 139"/>
                  <a:gd name="T54" fmla="*/ 45 w 105"/>
                  <a:gd name="T55" fmla="*/ 68 h 139"/>
                  <a:gd name="T56" fmla="*/ 43 w 105"/>
                  <a:gd name="T57" fmla="*/ 71 h 139"/>
                  <a:gd name="T58" fmla="*/ 41 w 105"/>
                  <a:gd name="T59" fmla="*/ 73 h 139"/>
                  <a:gd name="T60" fmla="*/ 39 w 105"/>
                  <a:gd name="T61" fmla="*/ 74 h 139"/>
                  <a:gd name="T62" fmla="*/ 38 w 105"/>
                  <a:gd name="T63" fmla="*/ 74 h 139"/>
                  <a:gd name="T64" fmla="*/ 35 w 105"/>
                  <a:gd name="T65" fmla="*/ 74 h 139"/>
                  <a:gd name="T66" fmla="*/ 34 w 105"/>
                  <a:gd name="T67" fmla="*/ 74 h 139"/>
                  <a:gd name="T68" fmla="*/ 32 w 105"/>
                  <a:gd name="T69" fmla="*/ 74 h 139"/>
                  <a:gd name="T70" fmla="*/ 30 w 105"/>
                  <a:gd name="T71" fmla="*/ 74 h 139"/>
                  <a:gd name="T72" fmla="*/ 29 w 105"/>
                  <a:gd name="T73" fmla="*/ 74 h 139"/>
                  <a:gd name="T74" fmla="*/ 20 w 105"/>
                  <a:gd name="T75" fmla="*/ 79 h 139"/>
                  <a:gd name="T76" fmla="*/ 15 w 105"/>
                  <a:gd name="T77" fmla="*/ 81 h 139"/>
                  <a:gd name="T78" fmla="*/ 13 w 105"/>
                  <a:gd name="T79" fmla="*/ 81 h 139"/>
                  <a:gd name="T80" fmla="*/ 10 w 105"/>
                  <a:gd name="T81" fmla="*/ 82 h 139"/>
                  <a:gd name="T82" fmla="*/ 9 w 105"/>
                  <a:gd name="T83" fmla="*/ 84 h 139"/>
                  <a:gd name="T84" fmla="*/ 2 w 105"/>
                  <a:gd name="T85" fmla="*/ 92 h 139"/>
                  <a:gd name="T86" fmla="*/ 1 w 105"/>
                  <a:gd name="T87" fmla="*/ 93 h 139"/>
                  <a:gd name="T88" fmla="*/ 0 w 105"/>
                  <a:gd name="T89" fmla="*/ 95 h 139"/>
                  <a:gd name="T90" fmla="*/ 0 w 105"/>
                  <a:gd name="T91" fmla="*/ 97 h 139"/>
                  <a:gd name="T92" fmla="*/ 0 w 105"/>
                  <a:gd name="T93" fmla="*/ 103 h 139"/>
                  <a:gd name="T94" fmla="*/ 0 w 105"/>
                  <a:gd name="T95" fmla="*/ 114 h 139"/>
                  <a:gd name="T96" fmla="*/ 0 w 105"/>
                  <a:gd name="T97" fmla="*/ 127 h 139"/>
                  <a:gd name="T98" fmla="*/ 1 w 105"/>
                  <a:gd name="T99" fmla="*/ 133 h 139"/>
                  <a:gd name="T100" fmla="*/ 3 w 105"/>
                  <a:gd name="T101" fmla="*/ 136 h 139"/>
                  <a:gd name="T102" fmla="*/ 8 w 105"/>
                  <a:gd name="T103" fmla="*/ 133 h 139"/>
                  <a:gd name="T104" fmla="*/ 27 w 105"/>
                  <a:gd name="T105" fmla="*/ 115 h 139"/>
                  <a:gd name="T106" fmla="*/ 41 w 105"/>
                  <a:gd name="T107" fmla="*/ 104 h 139"/>
                  <a:gd name="T108" fmla="*/ 68 w 105"/>
                  <a:gd name="T109" fmla="*/ 80 h 139"/>
                  <a:gd name="T110" fmla="*/ 85 w 105"/>
                  <a:gd name="T111" fmla="*/ 52 h 139"/>
                  <a:gd name="T112" fmla="*/ 92 w 105"/>
                  <a:gd name="T113" fmla="*/ 39 h 139"/>
                  <a:gd name="T114" fmla="*/ 99 w 105"/>
                  <a:gd name="T115" fmla="*/ 26 h 139"/>
                  <a:gd name="T116" fmla="*/ 101 w 105"/>
                  <a:gd name="T117" fmla="*/ 17 h 139"/>
                  <a:gd name="T118" fmla="*/ 103 w 105"/>
                  <a:gd name="T119" fmla="*/ 15 h 139"/>
                  <a:gd name="T120" fmla="*/ 102 w 105"/>
                  <a:gd name="T121" fmla="*/ 1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139">
                    <a:moveTo>
                      <a:pt x="103" y="15"/>
                    </a:moveTo>
                    <a:cubicBezTo>
                      <a:pt x="102" y="15"/>
                      <a:pt x="102" y="16"/>
                      <a:pt x="102" y="16"/>
                    </a:cubicBezTo>
                    <a:cubicBezTo>
                      <a:pt x="102" y="15"/>
                      <a:pt x="102" y="15"/>
                      <a:pt x="102" y="15"/>
                    </a:cubicBezTo>
                    <a:cubicBezTo>
                      <a:pt x="102" y="15"/>
                      <a:pt x="102" y="14"/>
                      <a:pt x="102" y="14"/>
                    </a:cubicBezTo>
                    <a:cubicBezTo>
                      <a:pt x="102" y="12"/>
                      <a:pt x="102" y="10"/>
                      <a:pt x="102" y="8"/>
                    </a:cubicBezTo>
                    <a:cubicBezTo>
                      <a:pt x="102" y="6"/>
                      <a:pt x="103" y="4"/>
                      <a:pt x="104" y="2"/>
                    </a:cubicBezTo>
                    <a:cubicBezTo>
                      <a:pt x="102" y="1"/>
                      <a:pt x="98" y="0"/>
                      <a:pt x="97" y="1"/>
                    </a:cubicBezTo>
                    <a:cubicBezTo>
                      <a:pt x="96" y="1"/>
                      <a:pt x="96" y="2"/>
                      <a:pt x="96" y="2"/>
                    </a:cubicBezTo>
                    <a:cubicBezTo>
                      <a:pt x="95" y="4"/>
                      <a:pt x="91" y="4"/>
                      <a:pt x="89" y="5"/>
                    </a:cubicBezTo>
                    <a:cubicBezTo>
                      <a:pt x="86" y="6"/>
                      <a:pt x="82" y="7"/>
                      <a:pt x="79" y="8"/>
                    </a:cubicBezTo>
                    <a:cubicBezTo>
                      <a:pt x="75" y="8"/>
                      <a:pt x="70" y="8"/>
                      <a:pt x="65" y="9"/>
                    </a:cubicBezTo>
                    <a:cubicBezTo>
                      <a:pt x="64" y="9"/>
                      <a:pt x="63" y="9"/>
                      <a:pt x="61" y="10"/>
                    </a:cubicBezTo>
                    <a:cubicBezTo>
                      <a:pt x="61" y="11"/>
                      <a:pt x="60" y="11"/>
                      <a:pt x="59" y="11"/>
                    </a:cubicBezTo>
                    <a:cubicBezTo>
                      <a:pt x="58" y="12"/>
                      <a:pt x="55" y="14"/>
                      <a:pt x="53" y="14"/>
                    </a:cubicBezTo>
                    <a:cubicBezTo>
                      <a:pt x="53" y="14"/>
                      <a:pt x="52" y="13"/>
                      <a:pt x="52" y="13"/>
                    </a:cubicBezTo>
                    <a:cubicBezTo>
                      <a:pt x="51" y="13"/>
                      <a:pt x="49" y="12"/>
                      <a:pt x="48" y="12"/>
                    </a:cubicBezTo>
                    <a:cubicBezTo>
                      <a:pt x="45" y="14"/>
                      <a:pt x="43" y="15"/>
                      <a:pt x="40" y="16"/>
                    </a:cubicBezTo>
                    <a:cubicBezTo>
                      <a:pt x="38" y="17"/>
                      <a:pt x="36" y="17"/>
                      <a:pt x="35" y="17"/>
                    </a:cubicBezTo>
                    <a:cubicBezTo>
                      <a:pt x="34" y="17"/>
                      <a:pt x="32" y="16"/>
                      <a:pt x="31" y="15"/>
                    </a:cubicBezTo>
                    <a:cubicBezTo>
                      <a:pt x="29" y="14"/>
                      <a:pt x="27" y="12"/>
                      <a:pt x="26" y="11"/>
                    </a:cubicBezTo>
                    <a:cubicBezTo>
                      <a:pt x="25" y="10"/>
                      <a:pt x="25" y="9"/>
                      <a:pt x="25" y="9"/>
                    </a:cubicBezTo>
                    <a:cubicBezTo>
                      <a:pt x="24" y="8"/>
                      <a:pt x="23" y="7"/>
                      <a:pt x="23" y="6"/>
                    </a:cubicBezTo>
                    <a:cubicBezTo>
                      <a:pt x="22" y="7"/>
                      <a:pt x="22" y="9"/>
                      <a:pt x="21" y="10"/>
                    </a:cubicBezTo>
                    <a:cubicBezTo>
                      <a:pt x="21" y="10"/>
                      <a:pt x="21" y="10"/>
                      <a:pt x="21" y="10"/>
                    </a:cubicBezTo>
                    <a:cubicBezTo>
                      <a:pt x="19" y="11"/>
                      <a:pt x="19" y="11"/>
                      <a:pt x="19" y="11"/>
                    </a:cubicBezTo>
                    <a:cubicBezTo>
                      <a:pt x="19" y="12"/>
                      <a:pt x="19" y="13"/>
                      <a:pt x="18" y="13"/>
                    </a:cubicBezTo>
                    <a:cubicBezTo>
                      <a:pt x="18" y="13"/>
                      <a:pt x="18" y="14"/>
                      <a:pt x="17" y="14"/>
                    </a:cubicBezTo>
                    <a:cubicBezTo>
                      <a:pt x="17" y="14"/>
                      <a:pt x="17" y="14"/>
                      <a:pt x="17" y="14"/>
                    </a:cubicBezTo>
                    <a:cubicBezTo>
                      <a:pt x="17" y="15"/>
                      <a:pt x="17" y="15"/>
                      <a:pt x="17" y="15"/>
                    </a:cubicBezTo>
                    <a:cubicBezTo>
                      <a:pt x="17" y="15"/>
                      <a:pt x="18" y="15"/>
                      <a:pt x="18" y="16"/>
                    </a:cubicBezTo>
                    <a:cubicBezTo>
                      <a:pt x="18" y="16"/>
                      <a:pt x="18" y="16"/>
                      <a:pt x="18" y="16"/>
                    </a:cubicBezTo>
                    <a:cubicBezTo>
                      <a:pt x="19" y="18"/>
                      <a:pt x="20" y="19"/>
                      <a:pt x="21" y="21"/>
                    </a:cubicBezTo>
                    <a:cubicBezTo>
                      <a:pt x="22" y="22"/>
                      <a:pt x="22" y="22"/>
                      <a:pt x="22" y="22"/>
                    </a:cubicBezTo>
                    <a:cubicBezTo>
                      <a:pt x="22" y="22"/>
                      <a:pt x="22" y="23"/>
                      <a:pt x="22" y="23"/>
                    </a:cubicBezTo>
                    <a:cubicBezTo>
                      <a:pt x="23" y="24"/>
                      <a:pt x="24" y="25"/>
                      <a:pt x="24" y="26"/>
                    </a:cubicBezTo>
                    <a:cubicBezTo>
                      <a:pt x="25" y="27"/>
                      <a:pt x="26" y="28"/>
                      <a:pt x="28" y="28"/>
                    </a:cubicBezTo>
                    <a:cubicBezTo>
                      <a:pt x="29" y="29"/>
                      <a:pt x="29" y="29"/>
                      <a:pt x="29" y="29"/>
                    </a:cubicBezTo>
                    <a:cubicBezTo>
                      <a:pt x="29" y="30"/>
                      <a:pt x="30" y="30"/>
                      <a:pt x="30" y="30"/>
                    </a:cubicBezTo>
                    <a:cubicBezTo>
                      <a:pt x="31" y="31"/>
                      <a:pt x="33" y="31"/>
                      <a:pt x="34" y="31"/>
                    </a:cubicBezTo>
                    <a:cubicBezTo>
                      <a:pt x="35" y="32"/>
                      <a:pt x="36" y="32"/>
                      <a:pt x="36" y="32"/>
                    </a:cubicBezTo>
                    <a:cubicBezTo>
                      <a:pt x="36" y="32"/>
                      <a:pt x="36" y="32"/>
                      <a:pt x="36" y="32"/>
                    </a:cubicBezTo>
                    <a:cubicBezTo>
                      <a:pt x="55" y="38"/>
                      <a:pt x="55" y="38"/>
                      <a:pt x="55" y="38"/>
                    </a:cubicBezTo>
                    <a:cubicBezTo>
                      <a:pt x="55" y="39"/>
                      <a:pt x="56" y="39"/>
                      <a:pt x="56" y="39"/>
                    </a:cubicBezTo>
                    <a:cubicBezTo>
                      <a:pt x="58" y="40"/>
                      <a:pt x="59" y="40"/>
                      <a:pt x="60" y="40"/>
                    </a:cubicBezTo>
                    <a:cubicBezTo>
                      <a:pt x="61" y="40"/>
                      <a:pt x="61" y="40"/>
                      <a:pt x="62" y="40"/>
                    </a:cubicBezTo>
                    <a:cubicBezTo>
                      <a:pt x="62" y="40"/>
                      <a:pt x="63" y="40"/>
                      <a:pt x="63" y="40"/>
                    </a:cubicBezTo>
                    <a:cubicBezTo>
                      <a:pt x="63" y="41"/>
                      <a:pt x="63" y="41"/>
                      <a:pt x="63" y="41"/>
                    </a:cubicBezTo>
                    <a:cubicBezTo>
                      <a:pt x="64" y="41"/>
                      <a:pt x="65" y="40"/>
                      <a:pt x="66" y="40"/>
                    </a:cubicBezTo>
                    <a:cubicBezTo>
                      <a:pt x="67" y="40"/>
                      <a:pt x="67" y="40"/>
                      <a:pt x="67" y="40"/>
                    </a:cubicBezTo>
                    <a:cubicBezTo>
                      <a:pt x="68" y="40"/>
                      <a:pt x="69" y="40"/>
                      <a:pt x="70" y="40"/>
                    </a:cubicBezTo>
                    <a:cubicBezTo>
                      <a:pt x="73" y="40"/>
                      <a:pt x="73" y="40"/>
                      <a:pt x="73" y="40"/>
                    </a:cubicBezTo>
                    <a:cubicBezTo>
                      <a:pt x="71" y="42"/>
                      <a:pt x="71" y="42"/>
                      <a:pt x="71" y="42"/>
                    </a:cubicBezTo>
                    <a:cubicBezTo>
                      <a:pt x="69" y="44"/>
                      <a:pt x="67" y="47"/>
                      <a:pt x="64" y="49"/>
                    </a:cubicBezTo>
                    <a:cubicBezTo>
                      <a:pt x="59" y="54"/>
                      <a:pt x="53" y="59"/>
                      <a:pt x="47" y="66"/>
                    </a:cubicBezTo>
                    <a:cubicBezTo>
                      <a:pt x="45" y="68"/>
                      <a:pt x="45" y="68"/>
                      <a:pt x="45" y="68"/>
                    </a:cubicBezTo>
                    <a:cubicBezTo>
                      <a:pt x="45" y="68"/>
                      <a:pt x="45" y="68"/>
                      <a:pt x="45" y="68"/>
                    </a:cubicBezTo>
                    <a:cubicBezTo>
                      <a:pt x="44" y="70"/>
                      <a:pt x="44" y="70"/>
                      <a:pt x="44" y="70"/>
                    </a:cubicBezTo>
                    <a:cubicBezTo>
                      <a:pt x="44" y="70"/>
                      <a:pt x="44" y="70"/>
                      <a:pt x="43" y="71"/>
                    </a:cubicBezTo>
                    <a:cubicBezTo>
                      <a:pt x="42" y="71"/>
                      <a:pt x="42" y="71"/>
                      <a:pt x="42" y="71"/>
                    </a:cubicBezTo>
                    <a:cubicBezTo>
                      <a:pt x="42" y="72"/>
                      <a:pt x="41" y="73"/>
                      <a:pt x="41" y="73"/>
                    </a:cubicBezTo>
                    <a:cubicBezTo>
                      <a:pt x="41" y="73"/>
                      <a:pt x="40" y="74"/>
                      <a:pt x="40" y="74"/>
                    </a:cubicBezTo>
                    <a:cubicBezTo>
                      <a:pt x="40" y="74"/>
                      <a:pt x="39" y="74"/>
                      <a:pt x="39" y="74"/>
                    </a:cubicBezTo>
                    <a:cubicBezTo>
                      <a:pt x="39" y="74"/>
                      <a:pt x="39" y="74"/>
                      <a:pt x="38" y="74"/>
                    </a:cubicBezTo>
                    <a:cubicBezTo>
                      <a:pt x="38" y="74"/>
                      <a:pt x="38" y="74"/>
                      <a:pt x="38" y="74"/>
                    </a:cubicBezTo>
                    <a:cubicBezTo>
                      <a:pt x="38" y="74"/>
                      <a:pt x="37" y="74"/>
                      <a:pt x="37" y="74"/>
                    </a:cubicBezTo>
                    <a:cubicBezTo>
                      <a:pt x="36" y="74"/>
                      <a:pt x="36" y="74"/>
                      <a:pt x="35" y="74"/>
                    </a:cubicBezTo>
                    <a:cubicBezTo>
                      <a:pt x="35" y="74"/>
                      <a:pt x="35" y="74"/>
                      <a:pt x="35" y="74"/>
                    </a:cubicBezTo>
                    <a:cubicBezTo>
                      <a:pt x="35" y="74"/>
                      <a:pt x="35" y="74"/>
                      <a:pt x="34" y="74"/>
                    </a:cubicBezTo>
                    <a:cubicBezTo>
                      <a:pt x="34" y="74"/>
                      <a:pt x="34" y="74"/>
                      <a:pt x="34" y="74"/>
                    </a:cubicBezTo>
                    <a:cubicBezTo>
                      <a:pt x="33" y="74"/>
                      <a:pt x="33" y="74"/>
                      <a:pt x="32" y="74"/>
                    </a:cubicBezTo>
                    <a:cubicBezTo>
                      <a:pt x="32" y="74"/>
                      <a:pt x="32" y="74"/>
                      <a:pt x="32" y="74"/>
                    </a:cubicBezTo>
                    <a:cubicBezTo>
                      <a:pt x="31" y="74"/>
                      <a:pt x="31" y="74"/>
                      <a:pt x="30" y="74"/>
                    </a:cubicBezTo>
                    <a:cubicBezTo>
                      <a:pt x="30" y="74"/>
                      <a:pt x="30" y="74"/>
                      <a:pt x="30" y="74"/>
                    </a:cubicBezTo>
                    <a:cubicBezTo>
                      <a:pt x="30" y="74"/>
                      <a:pt x="29" y="74"/>
                      <a:pt x="29" y="74"/>
                    </a:cubicBezTo>
                    <a:cubicBezTo>
                      <a:pt x="28" y="74"/>
                      <a:pt x="28" y="74"/>
                      <a:pt x="27" y="74"/>
                    </a:cubicBezTo>
                    <a:cubicBezTo>
                      <a:pt x="25" y="75"/>
                      <a:pt x="22" y="77"/>
                      <a:pt x="20" y="79"/>
                    </a:cubicBezTo>
                    <a:cubicBezTo>
                      <a:pt x="19" y="79"/>
                      <a:pt x="19" y="80"/>
                      <a:pt x="18" y="80"/>
                    </a:cubicBezTo>
                    <a:cubicBezTo>
                      <a:pt x="17" y="81"/>
                      <a:pt x="16" y="81"/>
                      <a:pt x="15" y="81"/>
                    </a:cubicBezTo>
                    <a:cubicBezTo>
                      <a:pt x="15" y="81"/>
                      <a:pt x="14" y="81"/>
                      <a:pt x="13" y="81"/>
                    </a:cubicBezTo>
                    <a:cubicBezTo>
                      <a:pt x="13" y="81"/>
                      <a:pt x="13" y="81"/>
                      <a:pt x="13" y="81"/>
                    </a:cubicBezTo>
                    <a:cubicBezTo>
                      <a:pt x="12" y="81"/>
                      <a:pt x="11" y="81"/>
                      <a:pt x="11" y="82"/>
                    </a:cubicBezTo>
                    <a:cubicBezTo>
                      <a:pt x="11" y="82"/>
                      <a:pt x="10" y="82"/>
                      <a:pt x="10" y="82"/>
                    </a:cubicBezTo>
                    <a:cubicBezTo>
                      <a:pt x="10" y="83"/>
                      <a:pt x="9" y="83"/>
                      <a:pt x="9" y="83"/>
                    </a:cubicBezTo>
                    <a:cubicBezTo>
                      <a:pt x="9" y="84"/>
                      <a:pt x="9" y="84"/>
                      <a:pt x="9" y="84"/>
                    </a:cubicBezTo>
                    <a:cubicBezTo>
                      <a:pt x="8" y="85"/>
                      <a:pt x="3" y="91"/>
                      <a:pt x="3" y="91"/>
                    </a:cubicBezTo>
                    <a:cubicBezTo>
                      <a:pt x="2" y="92"/>
                      <a:pt x="2" y="92"/>
                      <a:pt x="2" y="92"/>
                    </a:cubicBezTo>
                    <a:cubicBezTo>
                      <a:pt x="2" y="92"/>
                      <a:pt x="2" y="92"/>
                      <a:pt x="2" y="92"/>
                    </a:cubicBezTo>
                    <a:cubicBezTo>
                      <a:pt x="1" y="93"/>
                      <a:pt x="1" y="93"/>
                      <a:pt x="1" y="93"/>
                    </a:cubicBezTo>
                    <a:cubicBezTo>
                      <a:pt x="1" y="94"/>
                      <a:pt x="0" y="94"/>
                      <a:pt x="0" y="95"/>
                    </a:cubicBezTo>
                    <a:cubicBezTo>
                      <a:pt x="0" y="95"/>
                      <a:pt x="0" y="95"/>
                      <a:pt x="0" y="95"/>
                    </a:cubicBezTo>
                    <a:cubicBezTo>
                      <a:pt x="0" y="95"/>
                      <a:pt x="0" y="96"/>
                      <a:pt x="0" y="97"/>
                    </a:cubicBezTo>
                    <a:cubicBezTo>
                      <a:pt x="0" y="97"/>
                      <a:pt x="0" y="97"/>
                      <a:pt x="0" y="97"/>
                    </a:cubicBezTo>
                    <a:cubicBezTo>
                      <a:pt x="0" y="97"/>
                      <a:pt x="0" y="98"/>
                      <a:pt x="0" y="98"/>
                    </a:cubicBezTo>
                    <a:cubicBezTo>
                      <a:pt x="0" y="103"/>
                      <a:pt x="0" y="103"/>
                      <a:pt x="0" y="103"/>
                    </a:cubicBezTo>
                    <a:cubicBezTo>
                      <a:pt x="0" y="106"/>
                      <a:pt x="0" y="109"/>
                      <a:pt x="0" y="113"/>
                    </a:cubicBezTo>
                    <a:cubicBezTo>
                      <a:pt x="0" y="114"/>
                      <a:pt x="0" y="114"/>
                      <a:pt x="0" y="114"/>
                    </a:cubicBezTo>
                    <a:cubicBezTo>
                      <a:pt x="0" y="118"/>
                      <a:pt x="0" y="121"/>
                      <a:pt x="0" y="125"/>
                    </a:cubicBezTo>
                    <a:cubicBezTo>
                      <a:pt x="0" y="126"/>
                      <a:pt x="0" y="126"/>
                      <a:pt x="0" y="127"/>
                    </a:cubicBezTo>
                    <a:cubicBezTo>
                      <a:pt x="0" y="129"/>
                      <a:pt x="0" y="131"/>
                      <a:pt x="0" y="132"/>
                    </a:cubicBezTo>
                    <a:cubicBezTo>
                      <a:pt x="0" y="132"/>
                      <a:pt x="0" y="132"/>
                      <a:pt x="1" y="133"/>
                    </a:cubicBezTo>
                    <a:cubicBezTo>
                      <a:pt x="1" y="134"/>
                      <a:pt x="2" y="135"/>
                      <a:pt x="3" y="136"/>
                    </a:cubicBezTo>
                    <a:cubicBezTo>
                      <a:pt x="3" y="136"/>
                      <a:pt x="3" y="136"/>
                      <a:pt x="3" y="136"/>
                    </a:cubicBezTo>
                    <a:cubicBezTo>
                      <a:pt x="4" y="137"/>
                      <a:pt x="4" y="138"/>
                      <a:pt x="5" y="139"/>
                    </a:cubicBezTo>
                    <a:cubicBezTo>
                      <a:pt x="6" y="137"/>
                      <a:pt x="7" y="135"/>
                      <a:pt x="8" y="133"/>
                    </a:cubicBezTo>
                    <a:cubicBezTo>
                      <a:pt x="8" y="133"/>
                      <a:pt x="8" y="133"/>
                      <a:pt x="8" y="133"/>
                    </a:cubicBezTo>
                    <a:cubicBezTo>
                      <a:pt x="15" y="128"/>
                      <a:pt x="20" y="120"/>
                      <a:pt x="27" y="115"/>
                    </a:cubicBezTo>
                    <a:cubicBezTo>
                      <a:pt x="30" y="112"/>
                      <a:pt x="33" y="110"/>
                      <a:pt x="36" y="107"/>
                    </a:cubicBezTo>
                    <a:cubicBezTo>
                      <a:pt x="38" y="106"/>
                      <a:pt x="39" y="105"/>
                      <a:pt x="41" y="104"/>
                    </a:cubicBezTo>
                    <a:cubicBezTo>
                      <a:pt x="47" y="101"/>
                      <a:pt x="50" y="97"/>
                      <a:pt x="55" y="93"/>
                    </a:cubicBezTo>
                    <a:cubicBezTo>
                      <a:pt x="60" y="89"/>
                      <a:pt x="64" y="84"/>
                      <a:pt x="68" y="80"/>
                    </a:cubicBezTo>
                    <a:cubicBezTo>
                      <a:pt x="72" y="75"/>
                      <a:pt x="75" y="69"/>
                      <a:pt x="78" y="64"/>
                    </a:cubicBezTo>
                    <a:cubicBezTo>
                      <a:pt x="81" y="61"/>
                      <a:pt x="83" y="56"/>
                      <a:pt x="85" y="52"/>
                    </a:cubicBezTo>
                    <a:cubicBezTo>
                      <a:pt x="86" y="50"/>
                      <a:pt x="87" y="47"/>
                      <a:pt x="88" y="44"/>
                    </a:cubicBezTo>
                    <a:cubicBezTo>
                      <a:pt x="89" y="42"/>
                      <a:pt x="90" y="41"/>
                      <a:pt x="92" y="39"/>
                    </a:cubicBezTo>
                    <a:cubicBezTo>
                      <a:pt x="94" y="37"/>
                      <a:pt x="95" y="34"/>
                      <a:pt x="96" y="31"/>
                    </a:cubicBezTo>
                    <a:cubicBezTo>
                      <a:pt x="97" y="30"/>
                      <a:pt x="99" y="28"/>
                      <a:pt x="99" y="26"/>
                    </a:cubicBezTo>
                    <a:cubicBezTo>
                      <a:pt x="99" y="25"/>
                      <a:pt x="99" y="23"/>
                      <a:pt x="100" y="22"/>
                    </a:cubicBezTo>
                    <a:cubicBezTo>
                      <a:pt x="100" y="20"/>
                      <a:pt x="99" y="18"/>
                      <a:pt x="101" y="17"/>
                    </a:cubicBezTo>
                    <a:cubicBezTo>
                      <a:pt x="102" y="16"/>
                      <a:pt x="104" y="17"/>
                      <a:pt x="105" y="16"/>
                    </a:cubicBezTo>
                    <a:cubicBezTo>
                      <a:pt x="104" y="16"/>
                      <a:pt x="103" y="15"/>
                      <a:pt x="103" y="15"/>
                    </a:cubicBezTo>
                    <a:close/>
                    <a:moveTo>
                      <a:pt x="101" y="16"/>
                    </a:moveTo>
                    <a:cubicBezTo>
                      <a:pt x="101" y="16"/>
                      <a:pt x="101" y="16"/>
                      <a:pt x="102" y="16"/>
                    </a:cubicBezTo>
                    <a:cubicBezTo>
                      <a:pt x="101" y="16"/>
                      <a:pt x="101" y="16"/>
                      <a:pt x="10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7" name="Freeform 3049">
                <a:extLst>
                  <a:ext uri="{FF2B5EF4-FFF2-40B4-BE49-F238E27FC236}">
                    <a16:creationId xmlns:a16="http://schemas.microsoft.com/office/drawing/2014/main" id="{8E19F94C-FB01-4D0D-9C68-12E360D94297}"/>
                  </a:ext>
                </a:extLst>
              </p:cNvPr>
              <p:cNvSpPr>
                <a:spLocks/>
              </p:cNvSpPr>
              <p:nvPr/>
            </p:nvSpPr>
            <p:spPr bwMode="auto">
              <a:xfrm>
                <a:off x="4266" y="2679"/>
                <a:ext cx="125" cy="130"/>
              </a:xfrm>
              <a:custGeom>
                <a:avLst/>
                <a:gdLst>
                  <a:gd name="T0" fmla="*/ 43 w 53"/>
                  <a:gd name="T1" fmla="*/ 39 h 55"/>
                  <a:gd name="T2" fmla="*/ 44 w 53"/>
                  <a:gd name="T3" fmla="*/ 37 h 55"/>
                  <a:gd name="T4" fmla="*/ 46 w 53"/>
                  <a:gd name="T5" fmla="*/ 33 h 55"/>
                  <a:gd name="T6" fmla="*/ 47 w 53"/>
                  <a:gd name="T7" fmla="*/ 32 h 55"/>
                  <a:gd name="T8" fmla="*/ 48 w 53"/>
                  <a:gd name="T9" fmla="*/ 30 h 55"/>
                  <a:gd name="T10" fmla="*/ 49 w 53"/>
                  <a:gd name="T11" fmla="*/ 28 h 55"/>
                  <a:gd name="T12" fmla="*/ 51 w 53"/>
                  <a:gd name="T13" fmla="*/ 28 h 55"/>
                  <a:gd name="T14" fmla="*/ 52 w 53"/>
                  <a:gd name="T15" fmla="*/ 26 h 55"/>
                  <a:gd name="T16" fmla="*/ 52 w 53"/>
                  <a:gd name="T17" fmla="*/ 24 h 55"/>
                  <a:gd name="T18" fmla="*/ 53 w 53"/>
                  <a:gd name="T19" fmla="*/ 21 h 55"/>
                  <a:gd name="T20" fmla="*/ 50 w 53"/>
                  <a:gd name="T21" fmla="*/ 13 h 55"/>
                  <a:gd name="T22" fmla="*/ 48 w 53"/>
                  <a:gd name="T23" fmla="*/ 8 h 55"/>
                  <a:gd name="T24" fmla="*/ 47 w 53"/>
                  <a:gd name="T25" fmla="*/ 4 h 55"/>
                  <a:gd name="T26" fmla="*/ 44 w 53"/>
                  <a:gd name="T27" fmla="*/ 1 h 55"/>
                  <a:gd name="T28" fmla="*/ 41 w 53"/>
                  <a:gd name="T29" fmla="*/ 3 h 55"/>
                  <a:gd name="T30" fmla="*/ 34 w 53"/>
                  <a:gd name="T31" fmla="*/ 3 h 55"/>
                  <a:gd name="T32" fmla="*/ 28 w 53"/>
                  <a:gd name="T33" fmla="*/ 5 h 55"/>
                  <a:gd name="T34" fmla="*/ 24 w 53"/>
                  <a:gd name="T35" fmla="*/ 6 h 55"/>
                  <a:gd name="T36" fmla="*/ 24 w 53"/>
                  <a:gd name="T37" fmla="*/ 6 h 55"/>
                  <a:gd name="T38" fmla="*/ 20 w 53"/>
                  <a:gd name="T39" fmla="*/ 5 h 55"/>
                  <a:gd name="T40" fmla="*/ 17 w 53"/>
                  <a:gd name="T41" fmla="*/ 5 h 55"/>
                  <a:gd name="T42" fmla="*/ 15 w 53"/>
                  <a:gd name="T43" fmla="*/ 4 h 55"/>
                  <a:gd name="T44" fmla="*/ 15 w 53"/>
                  <a:gd name="T45" fmla="*/ 4 h 55"/>
                  <a:gd name="T46" fmla="*/ 15 w 53"/>
                  <a:gd name="T47" fmla="*/ 5 h 55"/>
                  <a:gd name="T48" fmla="*/ 13 w 53"/>
                  <a:gd name="T49" fmla="*/ 6 h 55"/>
                  <a:gd name="T50" fmla="*/ 13 w 53"/>
                  <a:gd name="T51" fmla="*/ 10 h 55"/>
                  <a:gd name="T52" fmla="*/ 12 w 53"/>
                  <a:gd name="T53" fmla="*/ 14 h 55"/>
                  <a:gd name="T54" fmla="*/ 12 w 53"/>
                  <a:gd name="T55" fmla="*/ 16 h 55"/>
                  <a:gd name="T56" fmla="*/ 13 w 53"/>
                  <a:gd name="T57" fmla="*/ 16 h 55"/>
                  <a:gd name="T58" fmla="*/ 15 w 53"/>
                  <a:gd name="T59" fmla="*/ 17 h 55"/>
                  <a:gd name="T60" fmla="*/ 18 w 53"/>
                  <a:gd name="T61" fmla="*/ 20 h 55"/>
                  <a:gd name="T62" fmla="*/ 6 w 53"/>
                  <a:gd name="T63" fmla="*/ 32 h 55"/>
                  <a:gd name="T64" fmla="*/ 5 w 53"/>
                  <a:gd name="T65" fmla="*/ 33 h 55"/>
                  <a:gd name="T66" fmla="*/ 3 w 53"/>
                  <a:gd name="T67" fmla="*/ 39 h 55"/>
                  <a:gd name="T68" fmla="*/ 1 w 53"/>
                  <a:gd name="T69" fmla="*/ 48 h 55"/>
                  <a:gd name="T70" fmla="*/ 2 w 53"/>
                  <a:gd name="T71" fmla="*/ 54 h 55"/>
                  <a:gd name="T72" fmla="*/ 4 w 53"/>
                  <a:gd name="T73" fmla="*/ 54 h 55"/>
                  <a:gd name="T74" fmla="*/ 6 w 53"/>
                  <a:gd name="T75" fmla="*/ 51 h 55"/>
                  <a:gd name="T76" fmla="*/ 9 w 53"/>
                  <a:gd name="T77" fmla="*/ 51 h 55"/>
                  <a:gd name="T78" fmla="*/ 24 w 53"/>
                  <a:gd name="T79" fmla="*/ 45 h 55"/>
                  <a:gd name="T80" fmla="*/ 30 w 53"/>
                  <a:gd name="T81" fmla="*/ 38 h 55"/>
                  <a:gd name="T82" fmla="*/ 36 w 53"/>
                  <a:gd name="T83" fmla="*/ 37 h 55"/>
                  <a:gd name="T84" fmla="*/ 41 w 53"/>
                  <a:gd name="T85" fmla="*/ 3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55">
                    <a:moveTo>
                      <a:pt x="43" y="40"/>
                    </a:moveTo>
                    <a:cubicBezTo>
                      <a:pt x="43" y="39"/>
                      <a:pt x="43" y="39"/>
                      <a:pt x="43" y="39"/>
                    </a:cubicBezTo>
                    <a:cubicBezTo>
                      <a:pt x="43" y="39"/>
                      <a:pt x="43" y="39"/>
                      <a:pt x="43" y="39"/>
                    </a:cubicBezTo>
                    <a:cubicBezTo>
                      <a:pt x="43" y="39"/>
                      <a:pt x="43" y="38"/>
                      <a:pt x="43" y="38"/>
                    </a:cubicBezTo>
                    <a:cubicBezTo>
                      <a:pt x="43" y="38"/>
                      <a:pt x="43" y="38"/>
                      <a:pt x="43" y="38"/>
                    </a:cubicBezTo>
                    <a:cubicBezTo>
                      <a:pt x="43" y="37"/>
                      <a:pt x="44" y="37"/>
                      <a:pt x="44" y="37"/>
                    </a:cubicBezTo>
                    <a:cubicBezTo>
                      <a:pt x="44" y="36"/>
                      <a:pt x="44" y="36"/>
                      <a:pt x="44" y="36"/>
                    </a:cubicBezTo>
                    <a:cubicBezTo>
                      <a:pt x="45" y="35"/>
                      <a:pt x="45" y="34"/>
                      <a:pt x="46" y="34"/>
                    </a:cubicBezTo>
                    <a:cubicBezTo>
                      <a:pt x="46" y="33"/>
                      <a:pt x="46" y="33"/>
                      <a:pt x="46" y="33"/>
                    </a:cubicBezTo>
                    <a:cubicBezTo>
                      <a:pt x="46" y="33"/>
                      <a:pt x="46" y="33"/>
                      <a:pt x="46" y="33"/>
                    </a:cubicBezTo>
                    <a:cubicBezTo>
                      <a:pt x="47" y="33"/>
                      <a:pt x="47" y="32"/>
                      <a:pt x="47" y="32"/>
                    </a:cubicBezTo>
                    <a:cubicBezTo>
                      <a:pt x="47" y="32"/>
                      <a:pt x="47" y="32"/>
                      <a:pt x="47" y="32"/>
                    </a:cubicBezTo>
                    <a:cubicBezTo>
                      <a:pt x="47" y="31"/>
                      <a:pt x="48" y="31"/>
                      <a:pt x="48" y="30"/>
                    </a:cubicBezTo>
                    <a:cubicBezTo>
                      <a:pt x="48" y="30"/>
                      <a:pt x="48" y="30"/>
                      <a:pt x="48" y="30"/>
                    </a:cubicBezTo>
                    <a:cubicBezTo>
                      <a:pt x="48" y="30"/>
                      <a:pt x="48" y="30"/>
                      <a:pt x="48" y="30"/>
                    </a:cubicBezTo>
                    <a:cubicBezTo>
                      <a:pt x="49" y="29"/>
                      <a:pt x="49" y="29"/>
                      <a:pt x="49" y="29"/>
                    </a:cubicBezTo>
                    <a:cubicBezTo>
                      <a:pt x="49" y="29"/>
                      <a:pt x="49" y="29"/>
                      <a:pt x="49" y="29"/>
                    </a:cubicBezTo>
                    <a:cubicBezTo>
                      <a:pt x="49" y="28"/>
                      <a:pt x="49" y="28"/>
                      <a:pt x="49" y="28"/>
                    </a:cubicBezTo>
                    <a:cubicBezTo>
                      <a:pt x="50" y="28"/>
                      <a:pt x="50" y="28"/>
                      <a:pt x="50" y="28"/>
                    </a:cubicBezTo>
                    <a:cubicBezTo>
                      <a:pt x="50" y="28"/>
                      <a:pt x="51" y="28"/>
                      <a:pt x="51" y="28"/>
                    </a:cubicBezTo>
                    <a:cubicBezTo>
                      <a:pt x="51" y="28"/>
                      <a:pt x="51" y="28"/>
                      <a:pt x="51" y="28"/>
                    </a:cubicBezTo>
                    <a:cubicBezTo>
                      <a:pt x="51" y="28"/>
                      <a:pt x="51" y="28"/>
                      <a:pt x="51" y="28"/>
                    </a:cubicBezTo>
                    <a:cubicBezTo>
                      <a:pt x="51" y="28"/>
                      <a:pt x="51" y="27"/>
                      <a:pt x="51" y="27"/>
                    </a:cubicBezTo>
                    <a:cubicBezTo>
                      <a:pt x="51" y="27"/>
                      <a:pt x="51" y="26"/>
                      <a:pt x="52" y="26"/>
                    </a:cubicBezTo>
                    <a:cubicBezTo>
                      <a:pt x="52" y="26"/>
                      <a:pt x="52" y="26"/>
                      <a:pt x="52" y="26"/>
                    </a:cubicBezTo>
                    <a:cubicBezTo>
                      <a:pt x="52" y="25"/>
                      <a:pt x="52" y="25"/>
                      <a:pt x="52" y="25"/>
                    </a:cubicBezTo>
                    <a:cubicBezTo>
                      <a:pt x="52" y="24"/>
                      <a:pt x="52" y="24"/>
                      <a:pt x="52" y="24"/>
                    </a:cubicBezTo>
                    <a:cubicBezTo>
                      <a:pt x="53" y="23"/>
                      <a:pt x="53" y="22"/>
                      <a:pt x="53" y="22"/>
                    </a:cubicBezTo>
                    <a:cubicBezTo>
                      <a:pt x="53" y="21"/>
                      <a:pt x="53" y="21"/>
                      <a:pt x="53" y="21"/>
                    </a:cubicBezTo>
                    <a:cubicBezTo>
                      <a:pt x="53" y="21"/>
                      <a:pt x="53" y="21"/>
                      <a:pt x="53" y="21"/>
                    </a:cubicBezTo>
                    <a:cubicBezTo>
                      <a:pt x="53" y="19"/>
                      <a:pt x="52" y="18"/>
                      <a:pt x="52" y="16"/>
                    </a:cubicBezTo>
                    <a:cubicBezTo>
                      <a:pt x="52" y="16"/>
                      <a:pt x="52" y="15"/>
                      <a:pt x="51" y="14"/>
                    </a:cubicBezTo>
                    <a:cubicBezTo>
                      <a:pt x="51" y="13"/>
                      <a:pt x="51" y="13"/>
                      <a:pt x="50" y="13"/>
                    </a:cubicBezTo>
                    <a:cubicBezTo>
                      <a:pt x="50" y="12"/>
                      <a:pt x="50" y="12"/>
                      <a:pt x="50" y="12"/>
                    </a:cubicBezTo>
                    <a:cubicBezTo>
                      <a:pt x="49" y="11"/>
                      <a:pt x="49" y="10"/>
                      <a:pt x="48" y="9"/>
                    </a:cubicBezTo>
                    <a:cubicBezTo>
                      <a:pt x="48" y="8"/>
                      <a:pt x="48" y="8"/>
                      <a:pt x="48" y="8"/>
                    </a:cubicBezTo>
                    <a:cubicBezTo>
                      <a:pt x="48" y="7"/>
                      <a:pt x="48" y="6"/>
                      <a:pt x="48" y="5"/>
                    </a:cubicBezTo>
                    <a:cubicBezTo>
                      <a:pt x="47" y="5"/>
                      <a:pt x="47" y="5"/>
                      <a:pt x="47" y="5"/>
                    </a:cubicBezTo>
                    <a:cubicBezTo>
                      <a:pt x="47" y="4"/>
                      <a:pt x="47" y="4"/>
                      <a:pt x="47" y="4"/>
                    </a:cubicBezTo>
                    <a:cubicBezTo>
                      <a:pt x="46" y="4"/>
                      <a:pt x="45" y="4"/>
                      <a:pt x="45" y="4"/>
                    </a:cubicBezTo>
                    <a:cubicBezTo>
                      <a:pt x="45" y="3"/>
                      <a:pt x="45" y="3"/>
                      <a:pt x="44" y="3"/>
                    </a:cubicBezTo>
                    <a:cubicBezTo>
                      <a:pt x="44" y="2"/>
                      <a:pt x="44" y="1"/>
                      <a:pt x="44" y="1"/>
                    </a:cubicBezTo>
                    <a:cubicBezTo>
                      <a:pt x="44" y="1"/>
                      <a:pt x="44" y="1"/>
                      <a:pt x="44" y="1"/>
                    </a:cubicBezTo>
                    <a:cubicBezTo>
                      <a:pt x="44" y="1"/>
                      <a:pt x="44" y="0"/>
                      <a:pt x="44" y="0"/>
                    </a:cubicBezTo>
                    <a:cubicBezTo>
                      <a:pt x="41" y="3"/>
                      <a:pt x="41" y="3"/>
                      <a:pt x="41" y="3"/>
                    </a:cubicBezTo>
                    <a:cubicBezTo>
                      <a:pt x="40" y="4"/>
                      <a:pt x="40" y="4"/>
                      <a:pt x="37" y="4"/>
                    </a:cubicBezTo>
                    <a:cubicBezTo>
                      <a:pt x="36" y="4"/>
                      <a:pt x="36" y="4"/>
                      <a:pt x="35" y="4"/>
                    </a:cubicBezTo>
                    <a:cubicBezTo>
                      <a:pt x="34" y="3"/>
                      <a:pt x="34" y="3"/>
                      <a:pt x="34" y="3"/>
                    </a:cubicBezTo>
                    <a:cubicBezTo>
                      <a:pt x="33" y="3"/>
                      <a:pt x="32" y="3"/>
                      <a:pt x="30" y="4"/>
                    </a:cubicBezTo>
                    <a:cubicBezTo>
                      <a:pt x="29" y="4"/>
                      <a:pt x="29" y="4"/>
                      <a:pt x="28" y="4"/>
                    </a:cubicBezTo>
                    <a:cubicBezTo>
                      <a:pt x="28" y="5"/>
                      <a:pt x="28" y="5"/>
                      <a:pt x="28" y="5"/>
                    </a:cubicBezTo>
                    <a:cubicBezTo>
                      <a:pt x="28" y="5"/>
                      <a:pt x="28" y="5"/>
                      <a:pt x="27" y="5"/>
                    </a:cubicBezTo>
                    <a:cubicBezTo>
                      <a:pt x="27" y="6"/>
                      <a:pt x="27" y="6"/>
                      <a:pt x="27" y="6"/>
                    </a:cubicBezTo>
                    <a:cubicBezTo>
                      <a:pt x="26" y="7"/>
                      <a:pt x="25" y="7"/>
                      <a:pt x="24" y="6"/>
                    </a:cubicBezTo>
                    <a:cubicBezTo>
                      <a:pt x="24" y="6"/>
                      <a:pt x="24" y="6"/>
                      <a:pt x="24" y="6"/>
                    </a:cubicBezTo>
                    <a:cubicBezTo>
                      <a:pt x="24" y="6"/>
                      <a:pt x="24" y="6"/>
                      <a:pt x="24" y="6"/>
                    </a:cubicBezTo>
                    <a:cubicBezTo>
                      <a:pt x="24" y="6"/>
                      <a:pt x="24" y="6"/>
                      <a:pt x="24" y="6"/>
                    </a:cubicBezTo>
                    <a:cubicBezTo>
                      <a:pt x="23" y="6"/>
                      <a:pt x="23" y="6"/>
                      <a:pt x="22" y="5"/>
                    </a:cubicBezTo>
                    <a:cubicBezTo>
                      <a:pt x="21" y="4"/>
                      <a:pt x="21" y="4"/>
                      <a:pt x="21" y="4"/>
                    </a:cubicBezTo>
                    <a:cubicBezTo>
                      <a:pt x="20" y="5"/>
                      <a:pt x="20" y="5"/>
                      <a:pt x="20" y="5"/>
                    </a:cubicBezTo>
                    <a:cubicBezTo>
                      <a:pt x="19" y="5"/>
                      <a:pt x="19" y="5"/>
                      <a:pt x="18" y="5"/>
                    </a:cubicBezTo>
                    <a:cubicBezTo>
                      <a:pt x="17" y="5"/>
                      <a:pt x="17" y="5"/>
                      <a:pt x="17" y="5"/>
                    </a:cubicBezTo>
                    <a:cubicBezTo>
                      <a:pt x="17" y="5"/>
                      <a:pt x="17" y="5"/>
                      <a:pt x="17" y="5"/>
                    </a:cubicBezTo>
                    <a:cubicBezTo>
                      <a:pt x="16" y="5"/>
                      <a:pt x="16" y="4"/>
                      <a:pt x="16" y="4"/>
                    </a:cubicBezTo>
                    <a:cubicBezTo>
                      <a:pt x="15" y="4"/>
                      <a:pt x="15" y="4"/>
                      <a:pt x="15" y="4"/>
                    </a:cubicBezTo>
                    <a:cubicBezTo>
                      <a:pt x="15" y="4"/>
                      <a:pt x="15" y="4"/>
                      <a:pt x="15" y="4"/>
                    </a:cubicBezTo>
                    <a:cubicBezTo>
                      <a:pt x="15" y="4"/>
                      <a:pt x="15" y="4"/>
                      <a:pt x="15" y="4"/>
                    </a:cubicBezTo>
                    <a:cubicBezTo>
                      <a:pt x="15" y="4"/>
                      <a:pt x="15" y="4"/>
                      <a:pt x="15" y="4"/>
                    </a:cubicBezTo>
                    <a:cubicBezTo>
                      <a:pt x="15" y="4"/>
                      <a:pt x="15" y="4"/>
                      <a:pt x="15" y="4"/>
                    </a:cubicBezTo>
                    <a:cubicBezTo>
                      <a:pt x="15" y="4"/>
                      <a:pt x="15" y="4"/>
                      <a:pt x="15" y="4"/>
                    </a:cubicBezTo>
                    <a:cubicBezTo>
                      <a:pt x="15" y="5"/>
                      <a:pt x="15" y="5"/>
                      <a:pt x="15" y="5"/>
                    </a:cubicBezTo>
                    <a:cubicBezTo>
                      <a:pt x="15" y="5"/>
                      <a:pt x="15" y="5"/>
                      <a:pt x="15" y="5"/>
                    </a:cubicBezTo>
                    <a:cubicBezTo>
                      <a:pt x="14" y="5"/>
                      <a:pt x="14" y="5"/>
                      <a:pt x="14" y="5"/>
                    </a:cubicBezTo>
                    <a:cubicBezTo>
                      <a:pt x="14" y="6"/>
                      <a:pt x="13" y="6"/>
                      <a:pt x="13" y="6"/>
                    </a:cubicBezTo>
                    <a:cubicBezTo>
                      <a:pt x="13" y="6"/>
                      <a:pt x="13" y="6"/>
                      <a:pt x="13" y="6"/>
                    </a:cubicBezTo>
                    <a:cubicBezTo>
                      <a:pt x="14" y="10"/>
                      <a:pt x="14" y="10"/>
                      <a:pt x="14" y="10"/>
                    </a:cubicBezTo>
                    <a:cubicBezTo>
                      <a:pt x="13" y="9"/>
                      <a:pt x="13" y="9"/>
                      <a:pt x="13" y="9"/>
                    </a:cubicBezTo>
                    <a:cubicBezTo>
                      <a:pt x="13" y="9"/>
                      <a:pt x="13" y="9"/>
                      <a:pt x="13" y="10"/>
                    </a:cubicBezTo>
                    <a:cubicBezTo>
                      <a:pt x="12" y="10"/>
                      <a:pt x="12" y="11"/>
                      <a:pt x="12" y="12"/>
                    </a:cubicBezTo>
                    <a:cubicBezTo>
                      <a:pt x="13" y="12"/>
                      <a:pt x="13" y="12"/>
                      <a:pt x="13" y="13"/>
                    </a:cubicBezTo>
                    <a:cubicBezTo>
                      <a:pt x="13" y="13"/>
                      <a:pt x="12" y="14"/>
                      <a:pt x="12" y="14"/>
                    </a:cubicBezTo>
                    <a:cubicBezTo>
                      <a:pt x="12" y="14"/>
                      <a:pt x="12" y="14"/>
                      <a:pt x="12" y="14"/>
                    </a:cubicBezTo>
                    <a:cubicBezTo>
                      <a:pt x="12" y="15"/>
                      <a:pt x="12" y="15"/>
                      <a:pt x="12" y="15"/>
                    </a:cubicBezTo>
                    <a:cubicBezTo>
                      <a:pt x="12" y="16"/>
                      <a:pt x="12" y="16"/>
                      <a:pt x="12" y="16"/>
                    </a:cubicBezTo>
                    <a:cubicBezTo>
                      <a:pt x="12" y="16"/>
                      <a:pt x="12" y="16"/>
                      <a:pt x="12" y="16"/>
                    </a:cubicBezTo>
                    <a:cubicBezTo>
                      <a:pt x="13" y="16"/>
                      <a:pt x="13" y="16"/>
                      <a:pt x="13" y="16"/>
                    </a:cubicBezTo>
                    <a:cubicBezTo>
                      <a:pt x="13" y="16"/>
                      <a:pt x="13" y="16"/>
                      <a:pt x="13" y="16"/>
                    </a:cubicBezTo>
                    <a:cubicBezTo>
                      <a:pt x="14" y="16"/>
                      <a:pt x="14" y="16"/>
                      <a:pt x="14" y="16"/>
                    </a:cubicBezTo>
                    <a:cubicBezTo>
                      <a:pt x="14" y="16"/>
                      <a:pt x="14" y="16"/>
                      <a:pt x="14" y="17"/>
                    </a:cubicBezTo>
                    <a:cubicBezTo>
                      <a:pt x="15" y="17"/>
                      <a:pt x="15" y="17"/>
                      <a:pt x="15" y="17"/>
                    </a:cubicBezTo>
                    <a:cubicBezTo>
                      <a:pt x="15" y="17"/>
                      <a:pt x="16" y="17"/>
                      <a:pt x="16" y="17"/>
                    </a:cubicBezTo>
                    <a:cubicBezTo>
                      <a:pt x="18" y="19"/>
                      <a:pt x="18" y="19"/>
                      <a:pt x="18" y="19"/>
                    </a:cubicBezTo>
                    <a:cubicBezTo>
                      <a:pt x="18" y="20"/>
                      <a:pt x="18" y="20"/>
                      <a:pt x="18" y="20"/>
                    </a:cubicBezTo>
                    <a:cubicBezTo>
                      <a:pt x="17" y="21"/>
                      <a:pt x="16" y="22"/>
                      <a:pt x="15" y="23"/>
                    </a:cubicBezTo>
                    <a:cubicBezTo>
                      <a:pt x="14" y="25"/>
                      <a:pt x="12" y="26"/>
                      <a:pt x="11" y="28"/>
                    </a:cubicBezTo>
                    <a:cubicBezTo>
                      <a:pt x="9" y="29"/>
                      <a:pt x="7" y="31"/>
                      <a:pt x="6" y="32"/>
                    </a:cubicBezTo>
                    <a:cubicBezTo>
                      <a:pt x="7" y="34"/>
                      <a:pt x="7" y="34"/>
                      <a:pt x="7" y="34"/>
                    </a:cubicBezTo>
                    <a:cubicBezTo>
                      <a:pt x="5" y="33"/>
                      <a:pt x="5" y="33"/>
                      <a:pt x="5" y="33"/>
                    </a:cubicBezTo>
                    <a:cubicBezTo>
                      <a:pt x="5" y="33"/>
                      <a:pt x="5" y="33"/>
                      <a:pt x="5" y="33"/>
                    </a:cubicBezTo>
                    <a:cubicBezTo>
                      <a:pt x="4" y="33"/>
                      <a:pt x="4" y="33"/>
                      <a:pt x="4" y="34"/>
                    </a:cubicBezTo>
                    <a:cubicBezTo>
                      <a:pt x="4" y="35"/>
                      <a:pt x="4" y="35"/>
                      <a:pt x="4" y="36"/>
                    </a:cubicBezTo>
                    <a:cubicBezTo>
                      <a:pt x="4" y="37"/>
                      <a:pt x="4" y="38"/>
                      <a:pt x="3" y="39"/>
                    </a:cubicBezTo>
                    <a:cubicBezTo>
                      <a:pt x="3" y="39"/>
                      <a:pt x="3" y="39"/>
                      <a:pt x="3" y="39"/>
                    </a:cubicBezTo>
                    <a:cubicBezTo>
                      <a:pt x="2" y="41"/>
                      <a:pt x="1" y="43"/>
                      <a:pt x="1" y="45"/>
                    </a:cubicBezTo>
                    <a:cubicBezTo>
                      <a:pt x="1" y="46"/>
                      <a:pt x="1" y="47"/>
                      <a:pt x="1" y="48"/>
                    </a:cubicBezTo>
                    <a:cubicBezTo>
                      <a:pt x="0" y="50"/>
                      <a:pt x="0" y="52"/>
                      <a:pt x="0" y="53"/>
                    </a:cubicBezTo>
                    <a:cubicBezTo>
                      <a:pt x="0" y="53"/>
                      <a:pt x="0" y="54"/>
                      <a:pt x="0" y="54"/>
                    </a:cubicBezTo>
                    <a:cubicBezTo>
                      <a:pt x="1" y="54"/>
                      <a:pt x="2" y="54"/>
                      <a:pt x="2" y="54"/>
                    </a:cubicBezTo>
                    <a:cubicBezTo>
                      <a:pt x="3" y="54"/>
                      <a:pt x="3" y="54"/>
                      <a:pt x="3" y="55"/>
                    </a:cubicBezTo>
                    <a:cubicBezTo>
                      <a:pt x="3" y="55"/>
                      <a:pt x="3" y="55"/>
                      <a:pt x="4" y="55"/>
                    </a:cubicBezTo>
                    <a:cubicBezTo>
                      <a:pt x="4" y="54"/>
                      <a:pt x="4" y="54"/>
                      <a:pt x="4" y="54"/>
                    </a:cubicBezTo>
                    <a:cubicBezTo>
                      <a:pt x="5" y="53"/>
                      <a:pt x="5" y="53"/>
                      <a:pt x="5" y="53"/>
                    </a:cubicBezTo>
                    <a:cubicBezTo>
                      <a:pt x="5" y="53"/>
                      <a:pt x="6" y="52"/>
                      <a:pt x="7" y="52"/>
                    </a:cubicBezTo>
                    <a:cubicBezTo>
                      <a:pt x="6" y="51"/>
                      <a:pt x="6" y="51"/>
                      <a:pt x="6" y="51"/>
                    </a:cubicBezTo>
                    <a:cubicBezTo>
                      <a:pt x="8" y="51"/>
                      <a:pt x="8" y="51"/>
                      <a:pt x="8" y="51"/>
                    </a:cubicBezTo>
                    <a:cubicBezTo>
                      <a:pt x="9" y="51"/>
                      <a:pt x="9" y="51"/>
                      <a:pt x="9" y="51"/>
                    </a:cubicBezTo>
                    <a:cubicBezTo>
                      <a:pt x="9" y="51"/>
                      <a:pt x="9" y="51"/>
                      <a:pt x="9" y="51"/>
                    </a:cubicBezTo>
                    <a:cubicBezTo>
                      <a:pt x="13" y="51"/>
                      <a:pt x="17" y="50"/>
                      <a:pt x="21" y="50"/>
                    </a:cubicBezTo>
                    <a:cubicBezTo>
                      <a:pt x="21" y="50"/>
                      <a:pt x="21" y="49"/>
                      <a:pt x="21" y="49"/>
                    </a:cubicBezTo>
                    <a:cubicBezTo>
                      <a:pt x="22" y="48"/>
                      <a:pt x="23" y="46"/>
                      <a:pt x="24" y="45"/>
                    </a:cubicBezTo>
                    <a:cubicBezTo>
                      <a:pt x="24" y="44"/>
                      <a:pt x="24" y="44"/>
                      <a:pt x="23" y="43"/>
                    </a:cubicBezTo>
                    <a:cubicBezTo>
                      <a:pt x="23" y="41"/>
                      <a:pt x="27" y="41"/>
                      <a:pt x="29" y="41"/>
                    </a:cubicBezTo>
                    <a:cubicBezTo>
                      <a:pt x="30" y="41"/>
                      <a:pt x="30" y="40"/>
                      <a:pt x="30" y="38"/>
                    </a:cubicBezTo>
                    <a:cubicBezTo>
                      <a:pt x="30" y="40"/>
                      <a:pt x="31" y="41"/>
                      <a:pt x="33" y="41"/>
                    </a:cubicBezTo>
                    <a:cubicBezTo>
                      <a:pt x="34" y="40"/>
                      <a:pt x="34" y="40"/>
                      <a:pt x="34" y="40"/>
                    </a:cubicBezTo>
                    <a:cubicBezTo>
                      <a:pt x="35" y="39"/>
                      <a:pt x="37" y="38"/>
                      <a:pt x="36" y="37"/>
                    </a:cubicBezTo>
                    <a:cubicBezTo>
                      <a:pt x="37" y="37"/>
                      <a:pt x="38" y="36"/>
                      <a:pt x="38" y="38"/>
                    </a:cubicBezTo>
                    <a:cubicBezTo>
                      <a:pt x="39" y="38"/>
                      <a:pt x="39" y="40"/>
                      <a:pt x="40" y="40"/>
                    </a:cubicBezTo>
                    <a:cubicBezTo>
                      <a:pt x="40" y="40"/>
                      <a:pt x="41" y="38"/>
                      <a:pt x="41" y="38"/>
                    </a:cubicBezTo>
                    <a:cubicBezTo>
                      <a:pt x="41" y="39"/>
                      <a:pt x="41" y="40"/>
                      <a:pt x="42" y="40"/>
                    </a:cubicBezTo>
                    <a:cubicBezTo>
                      <a:pt x="43" y="40"/>
                      <a:pt x="43" y="40"/>
                      <a:pt x="4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8" name="Freeform 3050">
                <a:extLst>
                  <a:ext uri="{FF2B5EF4-FFF2-40B4-BE49-F238E27FC236}">
                    <a16:creationId xmlns:a16="http://schemas.microsoft.com/office/drawing/2014/main" id="{89F51B24-E636-4775-BD11-C748A3462544}"/>
                  </a:ext>
                </a:extLst>
              </p:cNvPr>
              <p:cNvSpPr>
                <a:spLocks/>
              </p:cNvSpPr>
              <p:nvPr/>
            </p:nvSpPr>
            <p:spPr bwMode="auto">
              <a:xfrm>
                <a:off x="3847" y="2651"/>
                <a:ext cx="454" cy="449"/>
              </a:xfrm>
              <a:custGeom>
                <a:avLst/>
                <a:gdLst>
                  <a:gd name="T0" fmla="*/ 173 w 192"/>
                  <a:gd name="T1" fmla="*/ 95 h 190"/>
                  <a:gd name="T2" fmla="*/ 171 w 192"/>
                  <a:gd name="T3" fmla="*/ 89 h 190"/>
                  <a:gd name="T4" fmla="*/ 169 w 192"/>
                  <a:gd name="T5" fmla="*/ 77 h 190"/>
                  <a:gd name="T6" fmla="*/ 172 w 192"/>
                  <a:gd name="T7" fmla="*/ 69 h 190"/>
                  <a:gd name="T8" fmla="*/ 178 w 192"/>
                  <a:gd name="T9" fmla="*/ 47 h 190"/>
                  <a:gd name="T10" fmla="*/ 192 w 192"/>
                  <a:gd name="T11" fmla="*/ 32 h 190"/>
                  <a:gd name="T12" fmla="*/ 187 w 192"/>
                  <a:gd name="T13" fmla="*/ 25 h 190"/>
                  <a:gd name="T14" fmla="*/ 185 w 192"/>
                  <a:gd name="T15" fmla="*/ 16 h 190"/>
                  <a:gd name="T16" fmla="*/ 178 w 192"/>
                  <a:gd name="T17" fmla="*/ 10 h 190"/>
                  <a:gd name="T18" fmla="*/ 166 w 192"/>
                  <a:gd name="T19" fmla="*/ 10 h 190"/>
                  <a:gd name="T20" fmla="*/ 153 w 192"/>
                  <a:gd name="T21" fmla="*/ 3 h 190"/>
                  <a:gd name="T22" fmla="*/ 145 w 192"/>
                  <a:gd name="T23" fmla="*/ 3 h 190"/>
                  <a:gd name="T24" fmla="*/ 135 w 192"/>
                  <a:gd name="T25" fmla="*/ 0 h 190"/>
                  <a:gd name="T26" fmla="*/ 134 w 192"/>
                  <a:gd name="T27" fmla="*/ 2 h 190"/>
                  <a:gd name="T28" fmla="*/ 124 w 192"/>
                  <a:gd name="T29" fmla="*/ 4 h 190"/>
                  <a:gd name="T30" fmla="*/ 109 w 192"/>
                  <a:gd name="T31" fmla="*/ 6 h 190"/>
                  <a:gd name="T32" fmla="*/ 105 w 192"/>
                  <a:gd name="T33" fmla="*/ 11 h 190"/>
                  <a:gd name="T34" fmla="*/ 99 w 192"/>
                  <a:gd name="T35" fmla="*/ 11 h 190"/>
                  <a:gd name="T36" fmla="*/ 90 w 192"/>
                  <a:gd name="T37" fmla="*/ 12 h 190"/>
                  <a:gd name="T38" fmla="*/ 81 w 192"/>
                  <a:gd name="T39" fmla="*/ 7 h 190"/>
                  <a:gd name="T40" fmla="*/ 75 w 192"/>
                  <a:gd name="T41" fmla="*/ 2 h 190"/>
                  <a:gd name="T42" fmla="*/ 68 w 192"/>
                  <a:gd name="T43" fmla="*/ 7 h 190"/>
                  <a:gd name="T44" fmla="*/ 65 w 192"/>
                  <a:gd name="T45" fmla="*/ 14 h 190"/>
                  <a:gd name="T46" fmla="*/ 65 w 192"/>
                  <a:gd name="T47" fmla="*/ 22 h 190"/>
                  <a:gd name="T48" fmla="*/ 62 w 192"/>
                  <a:gd name="T49" fmla="*/ 28 h 190"/>
                  <a:gd name="T50" fmla="*/ 59 w 192"/>
                  <a:gd name="T51" fmla="*/ 37 h 190"/>
                  <a:gd name="T52" fmla="*/ 58 w 192"/>
                  <a:gd name="T53" fmla="*/ 51 h 190"/>
                  <a:gd name="T54" fmla="*/ 47 w 192"/>
                  <a:gd name="T55" fmla="*/ 67 h 190"/>
                  <a:gd name="T56" fmla="*/ 41 w 192"/>
                  <a:gd name="T57" fmla="*/ 82 h 190"/>
                  <a:gd name="T58" fmla="*/ 41 w 192"/>
                  <a:gd name="T59" fmla="*/ 87 h 190"/>
                  <a:gd name="T60" fmla="*/ 27 w 192"/>
                  <a:gd name="T61" fmla="*/ 102 h 190"/>
                  <a:gd name="T62" fmla="*/ 20 w 192"/>
                  <a:gd name="T63" fmla="*/ 99 h 190"/>
                  <a:gd name="T64" fmla="*/ 9 w 192"/>
                  <a:gd name="T65" fmla="*/ 103 h 190"/>
                  <a:gd name="T66" fmla="*/ 3 w 192"/>
                  <a:gd name="T67" fmla="*/ 107 h 190"/>
                  <a:gd name="T68" fmla="*/ 12 w 192"/>
                  <a:gd name="T69" fmla="*/ 112 h 190"/>
                  <a:gd name="T70" fmla="*/ 40 w 192"/>
                  <a:gd name="T71" fmla="*/ 112 h 190"/>
                  <a:gd name="T72" fmla="*/ 55 w 192"/>
                  <a:gd name="T73" fmla="*/ 135 h 190"/>
                  <a:gd name="T74" fmla="*/ 71 w 192"/>
                  <a:gd name="T75" fmla="*/ 134 h 190"/>
                  <a:gd name="T76" fmla="*/ 75 w 192"/>
                  <a:gd name="T77" fmla="*/ 124 h 190"/>
                  <a:gd name="T78" fmla="*/ 81 w 192"/>
                  <a:gd name="T79" fmla="*/ 123 h 190"/>
                  <a:gd name="T80" fmla="*/ 87 w 192"/>
                  <a:gd name="T81" fmla="*/ 127 h 190"/>
                  <a:gd name="T82" fmla="*/ 98 w 192"/>
                  <a:gd name="T83" fmla="*/ 132 h 190"/>
                  <a:gd name="T84" fmla="*/ 98 w 192"/>
                  <a:gd name="T85" fmla="*/ 150 h 190"/>
                  <a:gd name="T86" fmla="*/ 102 w 192"/>
                  <a:gd name="T87" fmla="*/ 165 h 190"/>
                  <a:gd name="T88" fmla="*/ 119 w 192"/>
                  <a:gd name="T89" fmla="*/ 163 h 190"/>
                  <a:gd name="T90" fmla="*/ 127 w 192"/>
                  <a:gd name="T91" fmla="*/ 168 h 190"/>
                  <a:gd name="T92" fmla="*/ 134 w 192"/>
                  <a:gd name="T93" fmla="*/ 172 h 190"/>
                  <a:gd name="T94" fmla="*/ 148 w 192"/>
                  <a:gd name="T95" fmla="*/ 174 h 190"/>
                  <a:gd name="T96" fmla="*/ 155 w 192"/>
                  <a:gd name="T97" fmla="*/ 175 h 190"/>
                  <a:gd name="T98" fmla="*/ 165 w 192"/>
                  <a:gd name="T99" fmla="*/ 181 h 190"/>
                  <a:gd name="T100" fmla="*/ 177 w 192"/>
                  <a:gd name="T101" fmla="*/ 180 h 190"/>
                  <a:gd name="T102" fmla="*/ 172 w 192"/>
                  <a:gd name="T103" fmla="*/ 182 h 190"/>
                  <a:gd name="T104" fmla="*/ 168 w 192"/>
                  <a:gd name="T105" fmla="*/ 179 h 190"/>
                  <a:gd name="T106" fmla="*/ 165 w 192"/>
                  <a:gd name="T107" fmla="*/ 156 h 190"/>
                  <a:gd name="T108" fmla="*/ 164 w 192"/>
                  <a:gd name="T109" fmla="*/ 151 h 190"/>
                  <a:gd name="T110" fmla="*/ 168 w 192"/>
                  <a:gd name="T111" fmla="*/ 142 h 190"/>
                  <a:gd name="T112" fmla="*/ 181 w 192"/>
                  <a:gd name="T113" fmla="*/ 12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 h="190">
                    <a:moveTo>
                      <a:pt x="181" y="127"/>
                    </a:moveTo>
                    <a:cubicBezTo>
                      <a:pt x="178" y="124"/>
                      <a:pt x="176" y="120"/>
                      <a:pt x="173" y="117"/>
                    </a:cubicBezTo>
                    <a:cubicBezTo>
                      <a:pt x="172" y="116"/>
                      <a:pt x="172" y="116"/>
                      <a:pt x="172" y="115"/>
                    </a:cubicBezTo>
                    <a:cubicBezTo>
                      <a:pt x="172" y="114"/>
                      <a:pt x="172" y="114"/>
                      <a:pt x="173" y="114"/>
                    </a:cubicBezTo>
                    <a:cubicBezTo>
                      <a:pt x="173" y="113"/>
                      <a:pt x="173" y="113"/>
                      <a:pt x="173" y="113"/>
                    </a:cubicBezTo>
                    <a:cubicBezTo>
                      <a:pt x="174" y="111"/>
                      <a:pt x="172" y="108"/>
                      <a:pt x="172" y="107"/>
                    </a:cubicBezTo>
                    <a:cubicBezTo>
                      <a:pt x="171" y="104"/>
                      <a:pt x="172" y="102"/>
                      <a:pt x="172" y="99"/>
                    </a:cubicBezTo>
                    <a:cubicBezTo>
                      <a:pt x="172" y="98"/>
                      <a:pt x="173" y="96"/>
                      <a:pt x="173" y="95"/>
                    </a:cubicBezTo>
                    <a:cubicBezTo>
                      <a:pt x="172" y="95"/>
                      <a:pt x="172" y="97"/>
                      <a:pt x="172" y="97"/>
                    </a:cubicBezTo>
                    <a:cubicBezTo>
                      <a:pt x="171" y="98"/>
                      <a:pt x="171" y="97"/>
                      <a:pt x="171" y="96"/>
                    </a:cubicBezTo>
                    <a:cubicBezTo>
                      <a:pt x="171" y="95"/>
                      <a:pt x="171" y="93"/>
                      <a:pt x="172" y="92"/>
                    </a:cubicBezTo>
                    <a:cubicBezTo>
                      <a:pt x="172" y="91"/>
                      <a:pt x="172" y="91"/>
                      <a:pt x="172" y="90"/>
                    </a:cubicBezTo>
                    <a:cubicBezTo>
                      <a:pt x="172" y="90"/>
                      <a:pt x="172" y="90"/>
                      <a:pt x="172" y="90"/>
                    </a:cubicBezTo>
                    <a:cubicBezTo>
                      <a:pt x="171" y="90"/>
                      <a:pt x="171" y="90"/>
                      <a:pt x="171" y="90"/>
                    </a:cubicBezTo>
                    <a:cubicBezTo>
                      <a:pt x="171" y="90"/>
                      <a:pt x="171" y="90"/>
                      <a:pt x="171" y="90"/>
                    </a:cubicBezTo>
                    <a:cubicBezTo>
                      <a:pt x="171" y="89"/>
                      <a:pt x="171" y="89"/>
                      <a:pt x="171" y="89"/>
                    </a:cubicBezTo>
                    <a:cubicBezTo>
                      <a:pt x="170" y="89"/>
                      <a:pt x="170" y="89"/>
                      <a:pt x="170" y="89"/>
                    </a:cubicBezTo>
                    <a:cubicBezTo>
                      <a:pt x="171" y="87"/>
                      <a:pt x="171" y="87"/>
                      <a:pt x="171" y="87"/>
                    </a:cubicBezTo>
                    <a:cubicBezTo>
                      <a:pt x="171" y="86"/>
                      <a:pt x="171" y="85"/>
                      <a:pt x="171" y="84"/>
                    </a:cubicBezTo>
                    <a:cubicBezTo>
                      <a:pt x="171" y="85"/>
                      <a:pt x="171" y="85"/>
                      <a:pt x="171" y="85"/>
                    </a:cubicBezTo>
                    <a:cubicBezTo>
                      <a:pt x="169" y="81"/>
                      <a:pt x="169" y="81"/>
                      <a:pt x="169" y="81"/>
                    </a:cubicBezTo>
                    <a:cubicBezTo>
                      <a:pt x="168" y="80"/>
                      <a:pt x="168" y="79"/>
                      <a:pt x="168" y="78"/>
                    </a:cubicBezTo>
                    <a:cubicBezTo>
                      <a:pt x="168" y="78"/>
                      <a:pt x="169" y="77"/>
                      <a:pt x="169" y="77"/>
                    </a:cubicBezTo>
                    <a:cubicBezTo>
                      <a:pt x="169" y="77"/>
                      <a:pt x="169" y="77"/>
                      <a:pt x="169" y="77"/>
                    </a:cubicBezTo>
                    <a:cubicBezTo>
                      <a:pt x="169" y="76"/>
                      <a:pt x="170" y="76"/>
                      <a:pt x="170" y="76"/>
                    </a:cubicBezTo>
                    <a:cubicBezTo>
                      <a:pt x="170" y="76"/>
                      <a:pt x="170" y="75"/>
                      <a:pt x="170" y="75"/>
                    </a:cubicBezTo>
                    <a:cubicBezTo>
                      <a:pt x="170" y="75"/>
                      <a:pt x="171" y="74"/>
                      <a:pt x="171" y="73"/>
                    </a:cubicBezTo>
                    <a:cubicBezTo>
                      <a:pt x="171" y="72"/>
                      <a:pt x="171" y="71"/>
                      <a:pt x="172" y="70"/>
                    </a:cubicBezTo>
                    <a:cubicBezTo>
                      <a:pt x="172" y="69"/>
                      <a:pt x="172" y="69"/>
                      <a:pt x="172" y="69"/>
                    </a:cubicBezTo>
                    <a:cubicBezTo>
                      <a:pt x="171" y="69"/>
                      <a:pt x="171" y="69"/>
                      <a:pt x="171" y="69"/>
                    </a:cubicBezTo>
                    <a:cubicBezTo>
                      <a:pt x="172" y="69"/>
                      <a:pt x="172" y="69"/>
                      <a:pt x="172" y="69"/>
                    </a:cubicBezTo>
                    <a:cubicBezTo>
                      <a:pt x="172" y="69"/>
                      <a:pt x="172" y="69"/>
                      <a:pt x="172" y="69"/>
                    </a:cubicBezTo>
                    <a:cubicBezTo>
                      <a:pt x="173" y="69"/>
                      <a:pt x="174" y="68"/>
                      <a:pt x="174" y="68"/>
                    </a:cubicBezTo>
                    <a:cubicBezTo>
                      <a:pt x="174" y="67"/>
                      <a:pt x="175" y="67"/>
                      <a:pt x="175" y="67"/>
                    </a:cubicBezTo>
                    <a:cubicBezTo>
                      <a:pt x="175" y="67"/>
                      <a:pt x="175" y="66"/>
                      <a:pt x="175" y="65"/>
                    </a:cubicBezTo>
                    <a:cubicBezTo>
                      <a:pt x="175" y="63"/>
                      <a:pt x="175" y="61"/>
                      <a:pt x="175" y="60"/>
                    </a:cubicBezTo>
                    <a:cubicBezTo>
                      <a:pt x="175" y="59"/>
                      <a:pt x="176" y="58"/>
                      <a:pt x="176" y="57"/>
                    </a:cubicBezTo>
                    <a:cubicBezTo>
                      <a:pt x="176" y="54"/>
                      <a:pt x="177" y="52"/>
                      <a:pt x="178" y="50"/>
                    </a:cubicBezTo>
                    <a:cubicBezTo>
                      <a:pt x="178" y="50"/>
                      <a:pt x="178" y="50"/>
                      <a:pt x="178" y="50"/>
                    </a:cubicBezTo>
                    <a:cubicBezTo>
                      <a:pt x="178" y="49"/>
                      <a:pt x="178" y="48"/>
                      <a:pt x="178" y="47"/>
                    </a:cubicBezTo>
                    <a:cubicBezTo>
                      <a:pt x="179" y="47"/>
                      <a:pt x="179" y="46"/>
                      <a:pt x="179" y="45"/>
                    </a:cubicBezTo>
                    <a:cubicBezTo>
                      <a:pt x="179" y="44"/>
                      <a:pt x="180" y="44"/>
                      <a:pt x="180" y="43"/>
                    </a:cubicBezTo>
                    <a:cubicBezTo>
                      <a:pt x="180" y="43"/>
                      <a:pt x="180" y="43"/>
                      <a:pt x="180" y="43"/>
                    </a:cubicBezTo>
                    <a:cubicBezTo>
                      <a:pt x="181" y="43"/>
                      <a:pt x="181" y="43"/>
                      <a:pt x="181" y="43"/>
                    </a:cubicBezTo>
                    <a:cubicBezTo>
                      <a:pt x="183" y="41"/>
                      <a:pt x="184" y="40"/>
                      <a:pt x="186" y="38"/>
                    </a:cubicBezTo>
                    <a:cubicBezTo>
                      <a:pt x="186" y="38"/>
                      <a:pt x="186" y="38"/>
                      <a:pt x="186" y="38"/>
                    </a:cubicBezTo>
                    <a:cubicBezTo>
                      <a:pt x="188" y="36"/>
                      <a:pt x="189" y="35"/>
                      <a:pt x="191" y="33"/>
                    </a:cubicBezTo>
                    <a:cubicBezTo>
                      <a:pt x="191" y="33"/>
                      <a:pt x="191" y="32"/>
                      <a:pt x="192" y="32"/>
                    </a:cubicBezTo>
                    <a:cubicBezTo>
                      <a:pt x="191" y="31"/>
                      <a:pt x="191" y="31"/>
                      <a:pt x="191" y="31"/>
                    </a:cubicBezTo>
                    <a:cubicBezTo>
                      <a:pt x="190" y="31"/>
                      <a:pt x="190" y="31"/>
                      <a:pt x="190" y="31"/>
                    </a:cubicBezTo>
                    <a:cubicBezTo>
                      <a:pt x="189" y="31"/>
                      <a:pt x="189" y="31"/>
                      <a:pt x="189" y="31"/>
                    </a:cubicBezTo>
                    <a:cubicBezTo>
                      <a:pt x="188" y="30"/>
                      <a:pt x="187" y="30"/>
                      <a:pt x="187" y="29"/>
                    </a:cubicBezTo>
                    <a:cubicBezTo>
                      <a:pt x="187" y="28"/>
                      <a:pt x="187" y="28"/>
                      <a:pt x="187" y="27"/>
                    </a:cubicBezTo>
                    <a:cubicBezTo>
                      <a:pt x="187" y="27"/>
                      <a:pt x="187" y="26"/>
                      <a:pt x="187" y="26"/>
                    </a:cubicBezTo>
                    <a:cubicBezTo>
                      <a:pt x="187" y="26"/>
                      <a:pt x="187" y="26"/>
                      <a:pt x="187" y="26"/>
                    </a:cubicBezTo>
                    <a:cubicBezTo>
                      <a:pt x="187" y="26"/>
                      <a:pt x="187" y="25"/>
                      <a:pt x="187" y="25"/>
                    </a:cubicBezTo>
                    <a:cubicBezTo>
                      <a:pt x="187" y="25"/>
                      <a:pt x="187" y="24"/>
                      <a:pt x="187" y="24"/>
                    </a:cubicBezTo>
                    <a:cubicBezTo>
                      <a:pt x="187" y="23"/>
                      <a:pt x="187" y="22"/>
                      <a:pt x="187" y="21"/>
                    </a:cubicBezTo>
                    <a:cubicBezTo>
                      <a:pt x="187" y="21"/>
                      <a:pt x="187" y="21"/>
                      <a:pt x="187" y="21"/>
                    </a:cubicBezTo>
                    <a:cubicBezTo>
                      <a:pt x="187" y="20"/>
                      <a:pt x="188" y="19"/>
                      <a:pt x="188" y="19"/>
                    </a:cubicBezTo>
                    <a:cubicBezTo>
                      <a:pt x="188" y="18"/>
                      <a:pt x="188" y="18"/>
                      <a:pt x="188" y="18"/>
                    </a:cubicBezTo>
                    <a:cubicBezTo>
                      <a:pt x="188" y="18"/>
                      <a:pt x="188" y="18"/>
                      <a:pt x="188" y="18"/>
                    </a:cubicBezTo>
                    <a:cubicBezTo>
                      <a:pt x="188" y="18"/>
                      <a:pt x="187" y="18"/>
                      <a:pt x="187" y="18"/>
                    </a:cubicBezTo>
                    <a:cubicBezTo>
                      <a:pt x="186" y="18"/>
                      <a:pt x="185" y="18"/>
                      <a:pt x="185" y="16"/>
                    </a:cubicBezTo>
                    <a:cubicBezTo>
                      <a:pt x="185" y="16"/>
                      <a:pt x="185" y="15"/>
                      <a:pt x="185" y="15"/>
                    </a:cubicBezTo>
                    <a:cubicBezTo>
                      <a:pt x="185" y="15"/>
                      <a:pt x="185" y="15"/>
                      <a:pt x="185" y="15"/>
                    </a:cubicBezTo>
                    <a:cubicBezTo>
                      <a:pt x="185" y="15"/>
                      <a:pt x="185" y="15"/>
                      <a:pt x="184" y="15"/>
                    </a:cubicBezTo>
                    <a:cubicBezTo>
                      <a:pt x="184" y="14"/>
                      <a:pt x="184" y="14"/>
                      <a:pt x="184" y="14"/>
                    </a:cubicBezTo>
                    <a:cubicBezTo>
                      <a:pt x="183" y="14"/>
                      <a:pt x="183" y="14"/>
                      <a:pt x="183" y="14"/>
                    </a:cubicBezTo>
                    <a:cubicBezTo>
                      <a:pt x="181" y="14"/>
                      <a:pt x="181" y="13"/>
                      <a:pt x="180" y="12"/>
                    </a:cubicBezTo>
                    <a:cubicBezTo>
                      <a:pt x="179" y="11"/>
                      <a:pt x="179" y="11"/>
                      <a:pt x="179" y="11"/>
                    </a:cubicBezTo>
                    <a:cubicBezTo>
                      <a:pt x="178" y="10"/>
                      <a:pt x="178" y="10"/>
                      <a:pt x="178" y="10"/>
                    </a:cubicBezTo>
                    <a:cubicBezTo>
                      <a:pt x="178" y="10"/>
                      <a:pt x="177" y="9"/>
                      <a:pt x="177" y="8"/>
                    </a:cubicBezTo>
                    <a:cubicBezTo>
                      <a:pt x="176" y="8"/>
                      <a:pt x="175" y="8"/>
                      <a:pt x="175" y="9"/>
                    </a:cubicBezTo>
                    <a:cubicBezTo>
                      <a:pt x="175" y="9"/>
                      <a:pt x="175" y="9"/>
                      <a:pt x="175" y="9"/>
                    </a:cubicBezTo>
                    <a:cubicBezTo>
                      <a:pt x="175" y="9"/>
                      <a:pt x="175" y="9"/>
                      <a:pt x="174" y="9"/>
                    </a:cubicBezTo>
                    <a:cubicBezTo>
                      <a:pt x="173" y="11"/>
                      <a:pt x="171" y="10"/>
                      <a:pt x="169" y="10"/>
                    </a:cubicBezTo>
                    <a:cubicBezTo>
                      <a:pt x="168" y="10"/>
                      <a:pt x="168" y="9"/>
                      <a:pt x="167" y="9"/>
                    </a:cubicBezTo>
                    <a:cubicBezTo>
                      <a:pt x="167" y="9"/>
                      <a:pt x="167" y="9"/>
                      <a:pt x="166" y="9"/>
                    </a:cubicBezTo>
                    <a:cubicBezTo>
                      <a:pt x="166" y="10"/>
                      <a:pt x="166" y="10"/>
                      <a:pt x="166" y="10"/>
                    </a:cubicBezTo>
                    <a:cubicBezTo>
                      <a:pt x="165" y="11"/>
                      <a:pt x="164" y="11"/>
                      <a:pt x="162" y="10"/>
                    </a:cubicBezTo>
                    <a:cubicBezTo>
                      <a:pt x="162" y="10"/>
                      <a:pt x="162" y="10"/>
                      <a:pt x="161" y="10"/>
                    </a:cubicBezTo>
                    <a:cubicBezTo>
                      <a:pt x="159" y="9"/>
                      <a:pt x="157" y="8"/>
                      <a:pt x="156" y="6"/>
                    </a:cubicBezTo>
                    <a:cubicBezTo>
                      <a:pt x="156" y="5"/>
                      <a:pt x="155" y="4"/>
                      <a:pt x="154" y="3"/>
                    </a:cubicBezTo>
                    <a:cubicBezTo>
                      <a:pt x="154" y="3"/>
                      <a:pt x="154" y="3"/>
                      <a:pt x="154" y="3"/>
                    </a:cubicBezTo>
                    <a:cubicBezTo>
                      <a:pt x="154" y="3"/>
                      <a:pt x="154" y="3"/>
                      <a:pt x="153" y="3"/>
                    </a:cubicBezTo>
                    <a:cubicBezTo>
                      <a:pt x="153" y="3"/>
                      <a:pt x="153" y="3"/>
                      <a:pt x="153" y="3"/>
                    </a:cubicBezTo>
                    <a:cubicBezTo>
                      <a:pt x="153" y="3"/>
                      <a:pt x="153" y="3"/>
                      <a:pt x="153" y="3"/>
                    </a:cubicBezTo>
                    <a:cubicBezTo>
                      <a:pt x="153" y="3"/>
                      <a:pt x="153" y="3"/>
                      <a:pt x="152" y="3"/>
                    </a:cubicBezTo>
                    <a:cubicBezTo>
                      <a:pt x="152" y="2"/>
                      <a:pt x="152" y="2"/>
                      <a:pt x="152" y="2"/>
                    </a:cubicBezTo>
                    <a:cubicBezTo>
                      <a:pt x="152" y="2"/>
                      <a:pt x="151" y="2"/>
                      <a:pt x="151" y="2"/>
                    </a:cubicBezTo>
                    <a:cubicBezTo>
                      <a:pt x="151" y="2"/>
                      <a:pt x="151" y="2"/>
                      <a:pt x="151" y="2"/>
                    </a:cubicBezTo>
                    <a:cubicBezTo>
                      <a:pt x="150" y="1"/>
                      <a:pt x="149" y="2"/>
                      <a:pt x="148" y="2"/>
                    </a:cubicBezTo>
                    <a:cubicBezTo>
                      <a:pt x="147" y="2"/>
                      <a:pt x="147" y="2"/>
                      <a:pt x="147" y="2"/>
                    </a:cubicBezTo>
                    <a:cubicBezTo>
                      <a:pt x="146" y="3"/>
                      <a:pt x="146" y="3"/>
                      <a:pt x="145" y="3"/>
                    </a:cubicBezTo>
                    <a:cubicBezTo>
                      <a:pt x="145" y="3"/>
                      <a:pt x="145" y="3"/>
                      <a:pt x="145" y="3"/>
                    </a:cubicBezTo>
                    <a:cubicBezTo>
                      <a:pt x="145" y="3"/>
                      <a:pt x="144" y="3"/>
                      <a:pt x="144" y="3"/>
                    </a:cubicBezTo>
                    <a:cubicBezTo>
                      <a:pt x="144" y="3"/>
                      <a:pt x="144" y="3"/>
                      <a:pt x="144" y="3"/>
                    </a:cubicBezTo>
                    <a:cubicBezTo>
                      <a:pt x="143" y="2"/>
                      <a:pt x="143" y="2"/>
                      <a:pt x="142" y="2"/>
                    </a:cubicBezTo>
                    <a:cubicBezTo>
                      <a:pt x="142" y="2"/>
                      <a:pt x="141" y="1"/>
                      <a:pt x="141" y="1"/>
                    </a:cubicBezTo>
                    <a:cubicBezTo>
                      <a:pt x="141" y="1"/>
                      <a:pt x="140" y="1"/>
                      <a:pt x="140" y="1"/>
                    </a:cubicBezTo>
                    <a:cubicBezTo>
                      <a:pt x="140" y="1"/>
                      <a:pt x="139" y="2"/>
                      <a:pt x="139" y="2"/>
                    </a:cubicBezTo>
                    <a:cubicBezTo>
                      <a:pt x="138" y="2"/>
                      <a:pt x="137" y="1"/>
                      <a:pt x="136" y="1"/>
                    </a:cubicBezTo>
                    <a:cubicBezTo>
                      <a:pt x="136" y="0"/>
                      <a:pt x="135" y="0"/>
                      <a:pt x="135" y="0"/>
                    </a:cubicBezTo>
                    <a:cubicBezTo>
                      <a:pt x="135" y="0"/>
                      <a:pt x="135" y="0"/>
                      <a:pt x="135" y="0"/>
                    </a:cubicBezTo>
                    <a:cubicBezTo>
                      <a:pt x="135" y="0"/>
                      <a:pt x="135" y="0"/>
                      <a:pt x="134" y="0"/>
                    </a:cubicBezTo>
                    <a:cubicBezTo>
                      <a:pt x="134" y="0"/>
                      <a:pt x="134" y="0"/>
                      <a:pt x="134" y="0"/>
                    </a:cubicBezTo>
                    <a:cubicBezTo>
                      <a:pt x="134" y="0"/>
                      <a:pt x="134" y="0"/>
                      <a:pt x="134" y="0"/>
                    </a:cubicBezTo>
                    <a:cubicBezTo>
                      <a:pt x="134" y="0"/>
                      <a:pt x="134" y="0"/>
                      <a:pt x="134" y="0"/>
                    </a:cubicBezTo>
                    <a:cubicBezTo>
                      <a:pt x="134" y="1"/>
                      <a:pt x="134" y="1"/>
                      <a:pt x="134" y="1"/>
                    </a:cubicBezTo>
                    <a:cubicBezTo>
                      <a:pt x="134" y="2"/>
                      <a:pt x="134" y="2"/>
                      <a:pt x="134" y="2"/>
                    </a:cubicBezTo>
                    <a:cubicBezTo>
                      <a:pt x="134" y="2"/>
                      <a:pt x="134" y="2"/>
                      <a:pt x="134" y="2"/>
                    </a:cubicBezTo>
                    <a:cubicBezTo>
                      <a:pt x="133" y="3"/>
                      <a:pt x="131" y="4"/>
                      <a:pt x="130" y="4"/>
                    </a:cubicBezTo>
                    <a:cubicBezTo>
                      <a:pt x="130" y="4"/>
                      <a:pt x="130" y="4"/>
                      <a:pt x="130" y="4"/>
                    </a:cubicBezTo>
                    <a:cubicBezTo>
                      <a:pt x="130" y="4"/>
                      <a:pt x="129" y="4"/>
                      <a:pt x="129" y="4"/>
                    </a:cubicBezTo>
                    <a:cubicBezTo>
                      <a:pt x="129" y="4"/>
                      <a:pt x="129" y="4"/>
                      <a:pt x="129" y="4"/>
                    </a:cubicBezTo>
                    <a:cubicBezTo>
                      <a:pt x="128" y="4"/>
                      <a:pt x="127" y="4"/>
                      <a:pt x="127" y="4"/>
                    </a:cubicBezTo>
                    <a:cubicBezTo>
                      <a:pt x="126" y="4"/>
                      <a:pt x="126" y="4"/>
                      <a:pt x="126" y="4"/>
                    </a:cubicBezTo>
                    <a:cubicBezTo>
                      <a:pt x="126" y="4"/>
                      <a:pt x="126" y="4"/>
                      <a:pt x="125" y="4"/>
                    </a:cubicBezTo>
                    <a:cubicBezTo>
                      <a:pt x="124" y="4"/>
                      <a:pt x="124" y="4"/>
                      <a:pt x="124" y="4"/>
                    </a:cubicBezTo>
                    <a:cubicBezTo>
                      <a:pt x="124" y="3"/>
                      <a:pt x="124" y="3"/>
                      <a:pt x="124" y="3"/>
                    </a:cubicBezTo>
                    <a:cubicBezTo>
                      <a:pt x="124" y="3"/>
                      <a:pt x="124" y="3"/>
                      <a:pt x="124" y="3"/>
                    </a:cubicBezTo>
                    <a:cubicBezTo>
                      <a:pt x="124" y="3"/>
                      <a:pt x="123" y="3"/>
                      <a:pt x="123" y="3"/>
                    </a:cubicBezTo>
                    <a:cubicBezTo>
                      <a:pt x="122" y="4"/>
                      <a:pt x="122" y="4"/>
                      <a:pt x="122" y="4"/>
                    </a:cubicBezTo>
                    <a:cubicBezTo>
                      <a:pt x="117" y="6"/>
                      <a:pt x="117" y="6"/>
                      <a:pt x="117" y="6"/>
                    </a:cubicBezTo>
                    <a:cubicBezTo>
                      <a:pt x="117" y="6"/>
                      <a:pt x="116" y="6"/>
                      <a:pt x="116" y="7"/>
                    </a:cubicBezTo>
                    <a:cubicBezTo>
                      <a:pt x="115" y="7"/>
                      <a:pt x="113" y="8"/>
                      <a:pt x="112" y="8"/>
                    </a:cubicBezTo>
                    <a:cubicBezTo>
                      <a:pt x="111" y="7"/>
                      <a:pt x="110" y="7"/>
                      <a:pt x="109" y="6"/>
                    </a:cubicBezTo>
                    <a:cubicBezTo>
                      <a:pt x="109" y="6"/>
                      <a:pt x="109" y="6"/>
                      <a:pt x="109" y="6"/>
                    </a:cubicBezTo>
                    <a:cubicBezTo>
                      <a:pt x="110" y="7"/>
                      <a:pt x="110" y="7"/>
                      <a:pt x="110" y="7"/>
                    </a:cubicBezTo>
                    <a:cubicBezTo>
                      <a:pt x="108" y="6"/>
                      <a:pt x="108" y="6"/>
                      <a:pt x="108" y="6"/>
                    </a:cubicBezTo>
                    <a:cubicBezTo>
                      <a:pt x="108" y="6"/>
                      <a:pt x="108" y="6"/>
                      <a:pt x="108" y="6"/>
                    </a:cubicBezTo>
                    <a:cubicBezTo>
                      <a:pt x="107" y="7"/>
                      <a:pt x="107" y="7"/>
                      <a:pt x="107" y="7"/>
                    </a:cubicBezTo>
                    <a:cubicBezTo>
                      <a:pt x="107" y="8"/>
                      <a:pt x="107" y="8"/>
                      <a:pt x="107" y="8"/>
                    </a:cubicBezTo>
                    <a:cubicBezTo>
                      <a:pt x="106" y="8"/>
                      <a:pt x="106" y="8"/>
                      <a:pt x="106" y="8"/>
                    </a:cubicBezTo>
                    <a:cubicBezTo>
                      <a:pt x="105" y="10"/>
                      <a:pt x="105" y="11"/>
                      <a:pt x="105" y="11"/>
                    </a:cubicBezTo>
                    <a:cubicBezTo>
                      <a:pt x="105" y="11"/>
                      <a:pt x="105" y="11"/>
                      <a:pt x="105" y="11"/>
                    </a:cubicBezTo>
                    <a:cubicBezTo>
                      <a:pt x="103" y="13"/>
                      <a:pt x="103" y="13"/>
                      <a:pt x="103" y="13"/>
                    </a:cubicBezTo>
                    <a:cubicBezTo>
                      <a:pt x="103" y="12"/>
                      <a:pt x="103" y="12"/>
                      <a:pt x="103" y="12"/>
                    </a:cubicBezTo>
                    <a:cubicBezTo>
                      <a:pt x="103" y="12"/>
                      <a:pt x="102" y="12"/>
                      <a:pt x="102" y="12"/>
                    </a:cubicBezTo>
                    <a:cubicBezTo>
                      <a:pt x="102" y="12"/>
                      <a:pt x="102" y="12"/>
                      <a:pt x="101" y="12"/>
                    </a:cubicBezTo>
                    <a:cubicBezTo>
                      <a:pt x="101" y="12"/>
                      <a:pt x="100" y="12"/>
                      <a:pt x="100" y="12"/>
                    </a:cubicBezTo>
                    <a:cubicBezTo>
                      <a:pt x="100" y="12"/>
                      <a:pt x="100" y="12"/>
                      <a:pt x="100" y="12"/>
                    </a:cubicBezTo>
                    <a:cubicBezTo>
                      <a:pt x="99" y="12"/>
                      <a:pt x="99" y="12"/>
                      <a:pt x="99" y="11"/>
                    </a:cubicBezTo>
                    <a:cubicBezTo>
                      <a:pt x="99" y="11"/>
                      <a:pt x="99" y="11"/>
                      <a:pt x="99" y="11"/>
                    </a:cubicBezTo>
                    <a:cubicBezTo>
                      <a:pt x="98" y="11"/>
                      <a:pt x="98" y="11"/>
                      <a:pt x="98" y="11"/>
                    </a:cubicBezTo>
                    <a:cubicBezTo>
                      <a:pt x="97" y="11"/>
                      <a:pt x="97" y="11"/>
                      <a:pt x="96" y="11"/>
                    </a:cubicBezTo>
                    <a:cubicBezTo>
                      <a:pt x="95" y="11"/>
                      <a:pt x="95" y="11"/>
                      <a:pt x="95" y="11"/>
                    </a:cubicBezTo>
                    <a:cubicBezTo>
                      <a:pt x="94" y="11"/>
                      <a:pt x="93" y="11"/>
                      <a:pt x="92" y="11"/>
                    </a:cubicBezTo>
                    <a:cubicBezTo>
                      <a:pt x="91" y="11"/>
                      <a:pt x="91" y="11"/>
                      <a:pt x="91" y="11"/>
                    </a:cubicBezTo>
                    <a:cubicBezTo>
                      <a:pt x="91" y="11"/>
                      <a:pt x="91" y="11"/>
                      <a:pt x="90" y="11"/>
                    </a:cubicBezTo>
                    <a:cubicBezTo>
                      <a:pt x="90" y="12"/>
                      <a:pt x="90" y="12"/>
                      <a:pt x="90" y="12"/>
                    </a:cubicBezTo>
                    <a:cubicBezTo>
                      <a:pt x="90" y="10"/>
                      <a:pt x="90" y="10"/>
                      <a:pt x="90" y="10"/>
                    </a:cubicBezTo>
                    <a:cubicBezTo>
                      <a:pt x="90" y="10"/>
                      <a:pt x="90" y="10"/>
                      <a:pt x="90" y="10"/>
                    </a:cubicBezTo>
                    <a:cubicBezTo>
                      <a:pt x="89" y="10"/>
                      <a:pt x="88" y="10"/>
                      <a:pt x="88" y="10"/>
                    </a:cubicBezTo>
                    <a:cubicBezTo>
                      <a:pt x="87" y="10"/>
                      <a:pt x="87" y="10"/>
                      <a:pt x="87" y="10"/>
                    </a:cubicBezTo>
                    <a:cubicBezTo>
                      <a:pt x="86" y="9"/>
                      <a:pt x="86" y="9"/>
                      <a:pt x="85" y="9"/>
                    </a:cubicBezTo>
                    <a:cubicBezTo>
                      <a:pt x="85" y="9"/>
                      <a:pt x="85" y="9"/>
                      <a:pt x="85" y="9"/>
                    </a:cubicBezTo>
                    <a:cubicBezTo>
                      <a:pt x="84" y="9"/>
                      <a:pt x="84" y="9"/>
                      <a:pt x="84" y="9"/>
                    </a:cubicBezTo>
                    <a:cubicBezTo>
                      <a:pt x="82" y="8"/>
                      <a:pt x="82" y="8"/>
                      <a:pt x="81" y="7"/>
                    </a:cubicBezTo>
                    <a:cubicBezTo>
                      <a:pt x="78" y="4"/>
                      <a:pt x="78" y="4"/>
                      <a:pt x="78" y="4"/>
                    </a:cubicBezTo>
                    <a:cubicBezTo>
                      <a:pt x="78" y="4"/>
                      <a:pt x="78" y="4"/>
                      <a:pt x="77" y="4"/>
                    </a:cubicBezTo>
                    <a:cubicBezTo>
                      <a:pt x="77" y="3"/>
                      <a:pt x="77" y="3"/>
                      <a:pt x="77" y="3"/>
                    </a:cubicBezTo>
                    <a:cubicBezTo>
                      <a:pt x="76" y="3"/>
                      <a:pt x="76" y="3"/>
                      <a:pt x="76" y="3"/>
                    </a:cubicBezTo>
                    <a:cubicBezTo>
                      <a:pt x="76" y="3"/>
                      <a:pt x="76" y="3"/>
                      <a:pt x="76" y="3"/>
                    </a:cubicBezTo>
                    <a:cubicBezTo>
                      <a:pt x="75" y="2"/>
                      <a:pt x="75" y="2"/>
                      <a:pt x="75" y="2"/>
                    </a:cubicBezTo>
                    <a:cubicBezTo>
                      <a:pt x="75" y="2"/>
                      <a:pt x="75" y="2"/>
                      <a:pt x="75" y="2"/>
                    </a:cubicBezTo>
                    <a:cubicBezTo>
                      <a:pt x="75" y="2"/>
                      <a:pt x="75" y="2"/>
                      <a:pt x="75" y="2"/>
                    </a:cubicBezTo>
                    <a:cubicBezTo>
                      <a:pt x="75" y="2"/>
                      <a:pt x="75" y="2"/>
                      <a:pt x="75" y="2"/>
                    </a:cubicBezTo>
                    <a:cubicBezTo>
                      <a:pt x="74" y="2"/>
                      <a:pt x="74" y="2"/>
                      <a:pt x="74" y="2"/>
                    </a:cubicBezTo>
                    <a:cubicBezTo>
                      <a:pt x="74" y="2"/>
                      <a:pt x="74" y="2"/>
                      <a:pt x="74" y="2"/>
                    </a:cubicBezTo>
                    <a:cubicBezTo>
                      <a:pt x="73" y="2"/>
                      <a:pt x="73" y="2"/>
                      <a:pt x="73" y="2"/>
                    </a:cubicBezTo>
                    <a:cubicBezTo>
                      <a:pt x="72" y="2"/>
                      <a:pt x="71" y="3"/>
                      <a:pt x="70" y="4"/>
                    </a:cubicBezTo>
                    <a:cubicBezTo>
                      <a:pt x="70" y="4"/>
                      <a:pt x="69" y="5"/>
                      <a:pt x="69" y="5"/>
                    </a:cubicBezTo>
                    <a:cubicBezTo>
                      <a:pt x="69" y="6"/>
                      <a:pt x="69" y="6"/>
                      <a:pt x="69" y="6"/>
                    </a:cubicBezTo>
                    <a:cubicBezTo>
                      <a:pt x="68" y="6"/>
                      <a:pt x="68" y="7"/>
                      <a:pt x="68" y="7"/>
                    </a:cubicBezTo>
                    <a:cubicBezTo>
                      <a:pt x="67" y="8"/>
                      <a:pt x="67" y="8"/>
                      <a:pt x="67" y="8"/>
                    </a:cubicBezTo>
                    <a:cubicBezTo>
                      <a:pt x="67" y="8"/>
                      <a:pt x="67" y="8"/>
                      <a:pt x="67" y="8"/>
                    </a:cubicBezTo>
                    <a:cubicBezTo>
                      <a:pt x="67" y="9"/>
                      <a:pt x="66" y="9"/>
                      <a:pt x="66" y="10"/>
                    </a:cubicBezTo>
                    <a:cubicBezTo>
                      <a:pt x="66" y="10"/>
                      <a:pt x="65" y="10"/>
                      <a:pt x="65" y="10"/>
                    </a:cubicBezTo>
                    <a:cubicBezTo>
                      <a:pt x="65" y="11"/>
                      <a:pt x="65" y="11"/>
                      <a:pt x="65" y="11"/>
                    </a:cubicBezTo>
                    <a:cubicBezTo>
                      <a:pt x="65" y="12"/>
                      <a:pt x="65" y="12"/>
                      <a:pt x="65" y="13"/>
                    </a:cubicBezTo>
                    <a:cubicBezTo>
                      <a:pt x="65" y="13"/>
                      <a:pt x="65" y="13"/>
                      <a:pt x="65" y="13"/>
                    </a:cubicBezTo>
                    <a:cubicBezTo>
                      <a:pt x="65" y="13"/>
                      <a:pt x="65" y="14"/>
                      <a:pt x="65" y="14"/>
                    </a:cubicBezTo>
                    <a:cubicBezTo>
                      <a:pt x="65" y="15"/>
                      <a:pt x="65" y="15"/>
                      <a:pt x="65" y="16"/>
                    </a:cubicBezTo>
                    <a:cubicBezTo>
                      <a:pt x="65" y="17"/>
                      <a:pt x="65" y="17"/>
                      <a:pt x="65" y="18"/>
                    </a:cubicBezTo>
                    <a:cubicBezTo>
                      <a:pt x="65" y="19"/>
                      <a:pt x="65" y="19"/>
                      <a:pt x="65" y="19"/>
                    </a:cubicBezTo>
                    <a:cubicBezTo>
                      <a:pt x="65" y="19"/>
                      <a:pt x="65" y="19"/>
                      <a:pt x="65" y="20"/>
                    </a:cubicBezTo>
                    <a:cubicBezTo>
                      <a:pt x="65" y="21"/>
                      <a:pt x="65" y="21"/>
                      <a:pt x="65" y="21"/>
                    </a:cubicBezTo>
                    <a:cubicBezTo>
                      <a:pt x="65" y="21"/>
                      <a:pt x="65" y="21"/>
                      <a:pt x="65" y="21"/>
                    </a:cubicBezTo>
                    <a:cubicBezTo>
                      <a:pt x="65" y="21"/>
                      <a:pt x="65" y="21"/>
                      <a:pt x="65" y="22"/>
                    </a:cubicBezTo>
                    <a:cubicBezTo>
                      <a:pt x="65" y="22"/>
                      <a:pt x="65" y="22"/>
                      <a:pt x="65" y="22"/>
                    </a:cubicBezTo>
                    <a:cubicBezTo>
                      <a:pt x="65" y="22"/>
                      <a:pt x="65" y="23"/>
                      <a:pt x="64" y="23"/>
                    </a:cubicBezTo>
                    <a:cubicBezTo>
                      <a:pt x="64" y="23"/>
                      <a:pt x="64" y="23"/>
                      <a:pt x="64" y="24"/>
                    </a:cubicBezTo>
                    <a:cubicBezTo>
                      <a:pt x="64" y="24"/>
                      <a:pt x="64" y="24"/>
                      <a:pt x="64" y="25"/>
                    </a:cubicBezTo>
                    <a:cubicBezTo>
                      <a:pt x="64" y="25"/>
                      <a:pt x="64" y="25"/>
                      <a:pt x="64" y="25"/>
                    </a:cubicBezTo>
                    <a:cubicBezTo>
                      <a:pt x="63" y="25"/>
                      <a:pt x="63" y="25"/>
                      <a:pt x="63" y="25"/>
                    </a:cubicBezTo>
                    <a:cubicBezTo>
                      <a:pt x="63" y="26"/>
                      <a:pt x="63" y="26"/>
                      <a:pt x="63" y="26"/>
                    </a:cubicBezTo>
                    <a:cubicBezTo>
                      <a:pt x="62" y="27"/>
                      <a:pt x="62" y="27"/>
                      <a:pt x="62" y="27"/>
                    </a:cubicBezTo>
                    <a:cubicBezTo>
                      <a:pt x="62" y="27"/>
                      <a:pt x="62" y="28"/>
                      <a:pt x="62" y="28"/>
                    </a:cubicBezTo>
                    <a:cubicBezTo>
                      <a:pt x="63" y="29"/>
                      <a:pt x="63" y="29"/>
                      <a:pt x="63" y="29"/>
                    </a:cubicBezTo>
                    <a:cubicBezTo>
                      <a:pt x="61" y="28"/>
                      <a:pt x="61" y="28"/>
                      <a:pt x="61" y="28"/>
                    </a:cubicBezTo>
                    <a:cubicBezTo>
                      <a:pt x="61" y="29"/>
                      <a:pt x="61" y="29"/>
                      <a:pt x="61" y="29"/>
                    </a:cubicBezTo>
                    <a:cubicBezTo>
                      <a:pt x="60" y="30"/>
                      <a:pt x="60" y="31"/>
                      <a:pt x="60" y="32"/>
                    </a:cubicBezTo>
                    <a:cubicBezTo>
                      <a:pt x="60" y="32"/>
                      <a:pt x="60" y="33"/>
                      <a:pt x="60" y="33"/>
                    </a:cubicBezTo>
                    <a:cubicBezTo>
                      <a:pt x="60" y="33"/>
                      <a:pt x="60" y="33"/>
                      <a:pt x="60" y="33"/>
                    </a:cubicBezTo>
                    <a:cubicBezTo>
                      <a:pt x="60" y="33"/>
                      <a:pt x="60" y="34"/>
                      <a:pt x="60" y="34"/>
                    </a:cubicBezTo>
                    <a:cubicBezTo>
                      <a:pt x="60" y="35"/>
                      <a:pt x="59" y="36"/>
                      <a:pt x="59" y="37"/>
                    </a:cubicBezTo>
                    <a:cubicBezTo>
                      <a:pt x="59" y="38"/>
                      <a:pt x="59" y="38"/>
                      <a:pt x="59" y="38"/>
                    </a:cubicBezTo>
                    <a:cubicBezTo>
                      <a:pt x="58" y="40"/>
                      <a:pt x="58" y="41"/>
                      <a:pt x="58" y="42"/>
                    </a:cubicBezTo>
                    <a:cubicBezTo>
                      <a:pt x="58" y="43"/>
                      <a:pt x="58" y="43"/>
                      <a:pt x="58" y="44"/>
                    </a:cubicBezTo>
                    <a:cubicBezTo>
                      <a:pt x="58" y="44"/>
                      <a:pt x="58" y="45"/>
                      <a:pt x="58" y="45"/>
                    </a:cubicBezTo>
                    <a:cubicBezTo>
                      <a:pt x="58" y="45"/>
                      <a:pt x="58" y="45"/>
                      <a:pt x="58" y="45"/>
                    </a:cubicBezTo>
                    <a:cubicBezTo>
                      <a:pt x="58" y="46"/>
                      <a:pt x="58" y="46"/>
                      <a:pt x="58" y="47"/>
                    </a:cubicBezTo>
                    <a:cubicBezTo>
                      <a:pt x="58" y="47"/>
                      <a:pt x="58" y="48"/>
                      <a:pt x="58" y="48"/>
                    </a:cubicBezTo>
                    <a:cubicBezTo>
                      <a:pt x="58" y="49"/>
                      <a:pt x="58" y="50"/>
                      <a:pt x="58" y="51"/>
                    </a:cubicBezTo>
                    <a:cubicBezTo>
                      <a:pt x="55" y="61"/>
                      <a:pt x="55" y="61"/>
                      <a:pt x="55" y="61"/>
                    </a:cubicBezTo>
                    <a:cubicBezTo>
                      <a:pt x="54" y="62"/>
                      <a:pt x="53" y="63"/>
                      <a:pt x="52" y="63"/>
                    </a:cubicBezTo>
                    <a:cubicBezTo>
                      <a:pt x="52" y="63"/>
                      <a:pt x="52" y="63"/>
                      <a:pt x="52" y="64"/>
                    </a:cubicBezTo>
                    <a:cubicBezTo>
                      <a:pt x="52" y="64"/>
                      <a:pt x="52" y="64"/>
                      <a:pt x="52" y="64"/>
                    </a:cubicBezTo>
                    <a:cubicBezTo>
                      <a:pt x="51" y="64"/>
                      <a:pt x="51" y="64"/>
                      <a:pt x="50" y="65"/>
                    </a:cubicBezTo>
                    <a:cubicBezTo>
                      <a:pt x="49" y="65"/>
                      <a:pt x="49" y="66"/>
                      <a:pt x="48" y="67"/>
                    </a:cubicBezTo>
                    <a:cubicBezTo>
                      <a:pt x="47" y="67"/>
                      <a:pt x="47" y="67"/>
                      <a:pt x="47" y="67"/>
                    </a:cubicBezTo>
                    <a:cubicBezTo>
                      <a:pt x="47" y="67"/>
                      <a:pt x="47" y="67"/>
                      <a:pt x="47" y="67"/>
                    </a:cubicBezTo>
                    <a:cubicBezTo>
                      <a:pt x="47" y="68"/>
                      <a:pt x="46" y="68"/>
                      <a:pt x="46" y="68"/>
                    </a:cubicBezTo>
                    <a:cubicBezTo>
                      <a:pt x="46" y="69"/>
                      <a:pt x="46" y="69"/>
                      <a:pt x="45" y="70"/>
                    </a:cubicBezTo>
                    <a:cubicBezTo>
                      <a:pt x="44" y="72"/>
                      <a:pt x="43" y="74"/>
                      <a:pt x="41" y="76"/>
                    </a:cubicBezTo>
                    <a:cubicBezTo>
                      <a:pt x="41" y="76"/>
                      <a:pt x="41" y="76"/>
                      <a:pt x="41" y="76"/>
                    </a:cubicBezTo>
                    <a:cubicBezTo>
                      <a:pt x="41" y="76"/>
                      <a:pt x="41" y="76"/>
                      <a:pt x="41" y="76"/>
                    </a:cubicBezTo>
                    <a:cubicBezTo>
                      <a:pt x="40" y="77"/>
                      <a:pt x="40" y="77"/>
                      <a:pt x="40" y="77"/>
                    </a:cubicBezTo>
                    <a:cubicBezTo>
                      <a:pt x="40" y="79"/>
                      <a:pt x="40" y="79"/>
                      <a:pt x="40" y="79"/>
                    </a:cubicBezTo>
                    <a:cubicBezTo>
                      <a:pt x="40" y="80"/>
                      <a:pt x="40" y="81"/>
                      <a:pt x="41" y="82"/>
                    </a:cubicBezTo>
                    <a:cubicBezTo>
                      <a:pt x="40" y="83"/>
                      <a:pt x="40" y="83"/>
                      <a:pt x="41" y="84"/>
                    </a:cubicBezTo>
                    <a:cubicBezTo>
                      <a:pt x="41" y="84"/>
                      <a:pt x="41" y="84"/>
                      <a:pt x="41" y="84"/>
                    </a:cubicBezTo>
                    <a:cubicBezTo>
                      <a:pt x="41" y="84"/>
                      <a:pt x="41" y="84"/>
                      <a:pt x="41" y="84"/>
                    </a:cubicBezTo>
                    <a:cubicBezTo>
                      <a:pt x="41" y="85"/>
                      <a:pt x="41" y="85"/>
                      <a:pt x="41" y="85"/>
                    </a:cubicBezTo>
                    <a:cubicBezTo>
                      <a:pt x="42" y="85"/>
                      <a:pt x="42" y="85"/>
                      <a:pt x="42" y="85"/>
                    </a:cubicBezTo>
                    <a:cubicBezTo>
                      <a:pt x="41" y="85"/>
                      <a:pt x="41" y="85"/>
                      <a:pt x="41" y="85"/>
                    </a:cubicBezTo>
                    <a:cubicBezTo>
                      <a:pt x="41" y="86"/>
                      <a:pt x="41" y="86"/>
                      <a:pt x="41" y="86"/>
                    </a:cubicBezTo>
                    <a:cubicBezTo>
                      <a:pt x="41" y="86"/>
                      <a:pt x="41" y="86"/>
                      <a:pt x="41" y="87"/>
                    </a:cubicBezTo>
                    <a:cubicBezTo>
                      <a:pt x="41" y="87"/>
                      <a:pt x="41" y="87"/>
                      <a:pt x="41" y="88"/>
                    </a:cubicBezTo>
                    <a:cubicBezTo>
                      <a:pt x="41" y="88"/>
                      <a:pt x="41" y="88"/>
                      <a:pt x="40" y="88"/>
                    </a:cubicBezTo>
                    <a:cubicBezTo>
                      <a:pt x="40" y="89"/>
                      <a:pt x="40" y="89"/>
                      <a:pt x="40" y="90"/>
                    </a:cubicBezTo>
                    <a:cubicBezTo>
                      <a:pt x="39" y="91"/>
                      <a:pt x="39" y="91"/>
                      <a:pt x="39" y="91"/>
                    </a:cubicBezTo>
                    <a:cubicBezTo>
                      <a:pt x="39" y="92"/>
                      <a:pt x="38" y="93"/>
                      <a:pt x="38" y="94"/>
                    </a:cubicBezTo>
                    <a:cubicBezTo>
                      <a:pt x="37" y="95"/>
                      <a:pt x="35" y="97"/>
                      <a:pt x="33" y="98"/>
                    </a:cubicBezTo>
                    <a:cubicBezTo>
                      <a:pt x="32" y="98"/>
                      <a:pt x="32" y="98"/>
                      <a:pt x="31" y="98"/>
                    </a:cubicBezTo>
                    <a:cubicBezTo>
                      <a:pt x="29" y="100"/>
                      <a:pt x="29" y="101"/>
                      <a:pt x="27" y="102"/>
                    </a:cubicBezTo>
                    <a:cubicBezTo>
                      <a:pt x="27" y="103"/>
                      <a:pt x="27" y="103"/>
                      <a:pt x="27" y="103"/>
                    </a:cubicBezTo>
                    <a:cubicBezTo>
                      <a:pt x="26" y="103"/>
                      <a:pt x="25" y="104"/>
                      <a:pt x="24" y="105"/>
                    </a:cubicBezTo>
                    <a:cubicBezTo>
                      <a:pt x="24" y="105"/>
                      <a:pt x="24" y="105"/>
                      <a:pt x="23" y="105"/>
                    </a:cubicBezTo>
                    <a:cubicBezTo>
                      <a:pt x="23" y="105"/>
                      <a:pt x="23" y="105"/>
                      <a:pt x="23" y="105"/>
                    </a:cubicBezTo>
                    <a:cubicBezTo>
                      <a:pt x="23" y="105"/>
                      <a:pt x="23" y="105"/>
                      <a:pt x="22" y="105"/>
                    </a:cubicBezTo>
                    <a:cubicBezTo>
                      <a:pt x="22" y="105"/>
                      <a:pt x="22" y="105"/>
                      <a:pt x="22" y="105"/>
                    </a:cubicBezTo>
                    <a:cubicBezTo>
                      <a:pt x="22" y="105"/>
                      <a:pt x="21" y="105"/>
                      <a:pt x="21" y="105"/>
                    </a:cubicBezTo>
                    <a:cubicBezTo>
                      <a:pt x="20" y="105"/>
                      <a:pt x="20" y="103"/>
                      <a:pt x="20" y="99"/>
                    </a:cubicBezTo>
                    <a:cubicBezTo>
                      <a:pt x="20" y="99"/>
                      <a:pt x="20" y="99"/>
                      <a:pt x="20" y="99"/>
                    </a:cubicBezTo>
                    <a:cubicBezTo>
                      <a:pt x="20" y="99"/>
                      <a:pt x="19" y="99"/>
                      <a:pt x="19" y="99"/>
                    </a:cubicBezTo>
                    <a:cubicBezTo>
                      <a:pt x="19" y="100"/>
                      <a:pt x="18" y="100"/>
                      <a:pt x="18" y="100"/>
                    </a:cubicBezTo>
                    <a:cubicBezTo>
                      <a:pt x="18" y="100"/>
                      <a:pt x="18" y="100"/>
                      <a:pt x="18" y="100"/>
                    </a:cubicBezTo>
                    <a:cubicBezTo>
                      <a:pt x="16" y="100"/>
                      <a:pt x="16" y="100"/>
                      <a:pt x="15" y="100"/>
                    </a:cubicBezTo>
                    <a:cubicBezTo>
                      <a:pt x="15" y="100"/>
                      <a:pt x="15" y="100"/>
                      <a:pt x="15" y="100"/>
                    </a:cubicBezTo>
                    <a:cubicBezTo>
                      <a:pt x="15" y="102"/>
                      <a:pt x="14" y="103"/>
                      <a:pt x="13" y="104"/>
                    </a:cubicBezTo>
                    <a:cubicBezTo>
                      <a:pt x="11" y="105"/>
                      <a:pt x="10" y="104"/>
                      <a:pt x="9" y="103"/>
                    </a:cubicBezTo>
                    <a:cubicBezTo>
                      <a:pt x="9" y="103"/>
                      <a:pt x="8" y="103"/>
                      <a:pt x="8" y="102"/>
                    </a:cubicBezTo>
                    <a:cubicBezTo>
                      <a:pt x="8" y="102"/>
                      <a:pt x="8" y="102"/>
                      <a:pt x="8" y="102"/>
                    </a:cubicBezTo>
                    <a:cubicBezTo>
                      <a:pt x="8" y="102"/>
                      <a:pt x="8" y="102"/>
                      <a:pt x="8" y="102"/>
                    </a:cubicBezTo>
                    <a:cubicBezTo>
                      <a:pt x="6" y="103"/>
                      <a:pt x="4" y="104"/>
                      <a:pt x="3" y="105"/>
                    </a:cubicBezTo>
                    <a:cubicBezTo>
                      <a:pt x="3" y="105"/>
                      <a:pt x="3" y="105"/>
                      <a:pt x="3" y="105"/>
                    </a:cubicBezTo>
                    <a:cubicBezTo>
                      <a:pt x="4" y="106"/>
                      <a:pt x="4" y="106"/>
                      <a:pt x="4" y="106"/>
                    </a:cubicBezTo>
                    <a:cubicBezTo>
                      <a:pt x="2" y="106"/>
                      <a:pt x="2" y="106"/>
                      <a:pt x="2" y="106"/>
                    </a:cubicBezTo>
                    <a:cubicBezTo>
                      <a:pt x="3" y="106"/>
                      <a:pt x="3" y="106"/>
                      <a:pt x="3" y="107"/>
                    </a:cubicBezTo>
                    <a:cubicBezTo>
                      <a:pt x="3" y="110"/>
                      <a:pt x="3" y="112"/>
                      <a:pt x="3" y="113"/>
                    </a:cubicBezTo>
                    <a:cubicBezTo>
                      <a:pt x="2" y="113"/>
                      <a:pt x="2" y="113"/>
                      <a:pt x="0" y="114"/>
                    </a:cubicBezTo>
                    <a:cubicBezTo>
                      <a:pt x="1" y="114"/>
                      <a:pt x="1" y="114"/>
                      <a:pt x="1" y="114"/>
                    </a:cubicBezTo>
                    <a:cubicBezTo>
                      <a:pt x="1" y="114"/>
                      <a:pt x="2" y="113"/>
                      <a:pt x="3" y="113"/>
                    </a:cubicBezTo>
                    <a:cubicBezTo>
                      <a:pt x="4" y="112"/>
                      <a:pt x="5" y="111"/>
                      <a:pt x="7" y="112"/>
                    </a:cubicBezTo>
                    <a:cubicBezTo>
                      <a:pt x="8" y="112"/>
                      <a:pt x="10" y="112"/>
                      <a:pt x="11" y="112"/>
                    </a:cubicBezTo>
                    <a:cubicBezTo>
                      <a:pt x="11" y="112"/>
                      <a:pt x="11" y="112"/>
                      <a:pt x="11" y="112"/>
                    </a:cubicBezTo>
                    <a:cubicBezTo>
                      <a:pt x="12" y="112"/>
                      <a:pt x="12" y="112"/>
                      <a:pt x="12" y="112"/>
                    </a:cubicBezTo>
                    <a:cubicBezTo>
                      <a:pt x="13" y="112"/>
                      <a:pt x="14" y="112"/>
                      <a:pt x="15" y="112"/>
                    </a:cubicBezTo>
                    <a:cubicBezTo>
                      <a:pt x="16" y="112"/>
                      <a:pt x="17" y="112"/>
                      <a:pt x="18" y="112"/>
                    </a:cubicBezTo>
                    <a:cubicBezTo>
                      <a:pt x="20" y="112"/>
                      <a:pt x="20" y="112"/>
                      <a:pt x="20" y="112"/>
                    </a:cubicBezTo>
                    <a:cubicBezTo>
                      <a:pt x="21" y="112"/>
                      <a:pt x="23" y="112"/>
                      <a:pt x="25" y="112"/>
                    </a:cubicBezTo>
                    <a:cubicBezTo>
                      <a:pt x="37" y="112"/>
                      <a:pt x="37" y="112"/>
                      <a:pt x="37" y="112"/>
                    </a:cubicBezTo>
                    <a:cubicBezTo>
                      <a:pt x="38" y="112"/>
                      <a:pt x="38" y="112"/>
                      <a:pt x="39" y="112"/>
                    </a:cubicBezTo>
                    <a:cubicBezTo>
                      <a:pt x="39" y="112"/>
                      <a:pt x="40" y="112"/>
                      <a:pt x="40" y="112"/>
                    </a:cubicBezTo>
                    <a:cubicBezTo>
                      <a:pt x="40" y="112"/>
                      <a:pt x="40" y="112"/>
                      <a:pt x="40" y="112"/>
                    </a:cubicBezTo>
                    <a:cubicBezTo>
                      <a:pt x="42" y="112"/>
                      <a:pt x="43" y="112"/>
                      <a:pt x="44" y="113"/>
                    </a:cubicBezTo>
                    <a:cubicBezTo>
                      <a:pt x="45" y="113"/>
                      <a:pt x="46" y="115"/>
                      <a:pt x="46" y="117"/>
                    </a:cubicBezTo>
                    <a:cubicBezTo>
                      <a:pt x="46" y="117"/>
                      <a:pt x="46" y="118"/>
                      <a:pt x="46" y="118"/>
                    </a:cubicBezTo>
                    <a:cubicBezTo>
                      <a:pt x="47" y="121"/>
                      <a:pt x="48" y="124"/>
                      <a:pt x="49" y="127"/>
                    </a:cubicBezTo>
                    <a:cubicBezTo>
                      <a:pt x="49" y="128"/>
                      <a:pt x="50" y="129"/>
                      <a:pt x="50" y="129"/>
                    </a:cubicBezTo>
                    <a:cubicBezTo>
                      <a:pt x="51" y="130"/>
                      <a:pt x="51" y="130"/>
                      <a:pt x="51" y="131"/>
                    </a:cubicBezTo>
                    <a:cubicBezTo>
                      <a:pt x="53" y="134"/>
                      <a:pt x="53" y="134"/>
                      <a:pt x="53" y="134"/>
                    </a:cubicBezTo>
                    <a:cubicBezTo>
                      <a:pt x="54" y="135"/>
                      <a:pt x="54" y="135"/>
                      <a:pt x="55" y="135"/>
                    </a:cubicBezTo>
                    <a:cubicBezTo>
                      <a:pt x="58" y="135"/>
                      <a:pt x="58" y="135"/>
                      <a:pt x="58" y="135"/>
                    </a:cubicBezTo>
                    <a:cubicBezTo>
                      <a:pt x="58" y="135"/>
                      <a:pt x="59" y="135"/>
                      <a:pt x="59" y="134"/>
                    </a:cubicBezTo>
                    <a:cubicBezTo>
                      <a:pt x="59" y="134"/>
                      <a:pt x="59" y="134"/>
                      <a:pt x="59" y="134"/>
                    </a:cubicBezTo>
                    <a:cubicBezTo>
                      <a:pt x="60" y="134"/>
                      <a:pt x="60" y="134"/>
                      <a:pt x="60" y="134"/>
                    </a:cubicBezTo>
                    <a:cubicBezTo>
                      <a:pt x="60" y="134"/>
                      <a:pt x="60" y="134"/>
                      <a:pt x="60" y="134"/>
                    </a:cubicBezTo>
                    <a:cubicBezTo>
                      <a:pt x="61" y="134"/>
                      <a:pt x="62" y="133"/>
                      <a:pt x="64" y="133"/>
                    </a:cubicBezTo>
                    <a:cubicBezTo>
                      <a:pt x="64" y="133"/>
                      <a:pt x="64" y="133"/>
                      <a:pt x="64" y="133"/>
                    </a:cubicBezTo>
                    <a:cubicBezTo>
                      <a:pt x="71" y="134"/>
                      <a:pt x="71" y="134"/>
                      <a:pt x="71" y="134"/>
                    </a:cubicBezTo>
                    <a:cubicBezTo>
                      <a:pt x="71" y="134"/>
                      <a:pt x="71" y="134"/>
                      <a:pt x="71" y="133"/>
                    </a:cubicBezTo>
                    <a:cubicBezTo>
                      <a:pt x="71" y="133"/>
                      <a:pt x="71" y="133"/>
                      <a:pt x="71" y="133"/>
                    </a:cubicBezTo>
                    <a:cubicBezTo>
                      <a:pt x="71" y="133"/>
                      <a:pt x="71" y="133"/>
                      <a:pt x="71" y="132"/>
                    </a:cubicBezTo>
                    <a:cubicBezTo>
                      <a:pt x="72" y="129"/>
                      <a:pt x="72" y="129"/>
                      <a:pt x="72" y="129"/>
                    </a:cubicBezTo>
                    <a:cubicBezTo>
                      <a:pt x="72" y="126"/>
                      <a:pt x="72" y="124"/>
                      <a:pt x="74" y="124"/>
                    </a:cubicBezTo>
                    <a:cubicBezTo>
                      <a:pt x="74" y="124"/>
                      <a:pt x="74" y="124"/>
                      <a:pt x="74" y="124"/>
                    </a:cubicBezTo>
                    <a:cubicBezTo>
                      <a:pt x="74" y="124"/>
                      <a:pt x="75" y="124"/>
                      <a:pt x="75" y="124"/>
                    </a:cubicBezTo>
                    <a:cubicBezTo>
                      <a:pt x="75" y="124"/>
                      <a:pt x="75" y="124"/>
                      <a:pt x="75" y="124"/>
                    </a:cubicBezTo>
                    <a:cubicBezTo>
                      <a:pt x="76" y="124"/>
                      <a:pt x="76" y="124"/>
                      <a:pt x="76" y="124"/>
                    </a:cubicBezTo>
                    <a:cubicBezTo>
                      <a:pt x="76" y="124"/>
                      <a:pt x="76" y="124"/>
                      <a:pt x="76" y="124"/>
                    </a:cubicBezTo>
                    <a:cubicBezTo>
                      <a:pt x="75" y="117"/>
                      <a:pt x="75" y="117"/>
                      <a:pt x="75" y="117"/>
                    </a:cubicBezTo>
                    <a:cubicBezTo>
                      <a:pt x="79" y="124"/>
                      <a:pt x="79" y="124"/>
                      <a:pt x="79" y="124"/>
                    </a:cubicBezTo>
                    <a:cubicBezTo>
                      <a:pt x="79" y="124"/>
                      <a:pt x="79" y="124"/>
                      <a:pt x="79" y="124"/>
                    </a:cubicBezTo>
                    <a:cubicBezTo>
                      <a:pt x="80" y="124"/>
                      <a:pt x="80" y="124"/>
                      <a:pt x="80" y="124"/>
                    </a:cubicBezTo>
                    <a:cubicBezTo>
                      <a:pt x="80" y="124"/>
                      <a:pt x="80" y="123"/>
                      <a:pt x="80" y="123"/>
                    </a:cubicBezTo>
                    <a:cubicBezTo>
                      <a:pt x="81" y="123"/>
                      <a:pt x="81" y="123"/>
                      <a:pt x="81" y="123"/>
                    </a:cubicBezTo>
                    <a:cubicBezTo>
                      <a:pt x="81" y="123"/>
                      <a:pt x="81" y="123"/>
                      <a:pt x="81" y="123"/>
                    </a:cubicBezTo>
                    <a:cubicBezTo>
                      <a:pt x="82" y="123"/>
                      <a:pt x="82" y="123"/>
                      <a:pt x="82" y="123"/>
                    </a:cubicBezTo>
                    <a:cubicBezTo>
                      <a:pt x="82" y="123"/>
                      <a:pt x="82" y="123"/>
                      <a:pt x="82" y="123"/>
                    </a:cubicBezTo>
                    <a:cubicBezTo>
                      <a:pt x="84" y="123"/>
                      <a:pt x="85" y="123"/>
                      <a:pt x="85" y="123"/>
                    </a:cubicBezTo>
                    <a:cubicBezTo>
                      <a:pt x="86" y="124"/>
                      <a:pt x="86" y="125"/>
                      <a:pt x="85" y="126"/>
                    </a:cubicBezTo>
                    <a:cubicBezTo>
                      <a:pt x="85" y="127"/>
                      <a:pt x="85" y="127"/>
                      <a:pt x="85" y="127"/>
                    </a:cubicBezTo>
                    <a:cubicBezTo>
                      <a:pt x="85" y="127"/>
                      <a:pt x="85" y="127"/>
                      <a:pt x="85" y="127"/>
                    </a:cubicBezTo>
                    <a:cubicBezTo>
                      <a:pt x="86" y="127"/>
                      <a:pt x="86" y="127"/>
                      <a:pt x="87" y="127"/>
                    </a:cubicBezTo>
                    <a:cubicBezTo>
                      <a:pt x="87" y="127"/>
                      <a:pt x="87" y="127"/>
                      <a:pt x="87" y="127"/>
                    </a:cubicBezTo>
                    <a:cubicBezTo>
                      <a:pt x="88" y="127"/>
                      <a:pt x="88" y="127"/>
                      <a:pt x="89" y="127"/>
                    </a:cubicBezTo>
                    <a:cubicBezTo>
                      <a:pt x="94" y="127"/>
                      <a:pt x="94" y="127"/>
                      <a:pt x="94" y="127"/>
                    </a:cubicBezTo>
                    <a:cubicBezTo>
                      <a:pt x="94" y="127"/>
                      <a:pt x="94" y="127"/>
                      <a:pt x="94" y="127"/>
                    </a:cubicBezTo>
                    <a:cubicBezTo>
                      <a:pt x="95" y="127"/>
                      <a:pt x="95" y="127"/>
                      <a:pt x="95" y="127"/>
                    </a:cubicBezTo>
                    <a:cubicBezTo>
                      <a:pt x="95" y="127"/>
                      <a:pt x="96" y="126"/>
                      <a:pt x="97" y="127"/>
                    </a:cubicBezTo>
                    <a:cubicBezTo>
                      <a:pt x="98" y="128"/>
                      <a:pt x="98" y="130"/>
                      <a:pt x="98" y="130"/>
                    </a:cubicBezTo>
                    <a:cubicBezTo>
                      <a:pt x="98" y="131"/>
                      <a:pt x="98" y="132"/>
                      <a:pt x="98" y="132"/>
                    </a:cubicBezTo>
                    <a:cubicBezTo>
                      <a:pt x="97" y="135"/>
                      <a:pt x="97" y="135"/>
                      <a:pt x="99" y="138"/>
                    </a:cubicBezTo>
                    <a:cubicBezTo>
                      <a:pt x="99" y="139"/>
                      <a:pt x="99" y="140"/>
                      <a:pt x="99" y="142"/>
                    </a:cubicBezTo>
                    <a:cubicBezTo>
                      <a:pt x="99" y="142"/>
                      <a:pt x="99" y="142"/>
                      <a:pt x="99" y="143"/>
                    </a:cubicBezTo>
                    <a:cubicBezTo>
                      <a:pt x="99" y="143"/>
                      <a:pt x="99" y="143"/>
                      <a:pt x="99" y="144"/>
                    </a:cubicBezTo>
                    <a:cubicBezTo>
                      <a:pt x="98" y="144"/>
                      <a:pt x="98" y="144"/>
                      <a:pt x="98" y="144"/>
                    </a:cubicBezTo>
                    <a:cubicBezTo>
                      <a:pt x="98" y="145"/>
                      <a:pt x="98" y="146"/>
                      <a:pt x="98" y="147"/>
                    </a:cubicBezTo>
                    <a:cubicBezTo>
                      <a:pt x="98" y="149"/>
                      <a:pt x="98" y="149"/>
                      <a:pt x="98" y="149"/>
                    </a:cubicBezTo>
                    <a:cubicBezTo>
                      <a:pt x="98" y="150"/>
                      <a:pt x="98" y="150"/>
                      <a:pt x="98" y="150"/>
                    </a:cubicBezTo>
                    <a:cubicBezTo>
                      <a:pt x="98" y="151"/>
                      <a:pt x="98" y="151"/>
                      <a:pt x="98" y="151"/>
                    </a:cubicBezTo>
                    <a:cubicBezTo>
                      <a:pt x="98" y="152"/>
                      <a:pt x="99" y="152"/>
                      <a:pt x="100" y="153"/>
                    </a:cubicBezTo>
                    <a:cubicBezTo>
                      <a:pt x="100" y="153"/>
                      <a:pt x="101" y="154"/>
                      <a:pt x="101" y="154"/>
                    </a:cubicBezTo>
                    <a:cubicBezTo>
                      <a:pt x="101" y="155"/>
                      <a:pt x="102" y="155"/>
                      <a:pt x="102" y="156"/>
                    </a:cubicBezTo>
                    <a:cubicBezTo>
                      <a:pt x="102" y="157"/>
                      <a:pt x="102" y="158"/>
                      <a:pt x="103" y="159"/>
                    </a:cubicBezTo>
                    <a:cubicBezTo>
                      <a:pt x="103" y="161"/>
                      <a:pt x="103" y="162"/>
                      <a:pt x="103" y="162"/>
                    </a:cubicBezTo>
                    <a:cubicBezTo>
                      <a:pt x="103" y="163"/>
                      <a:pt x="102" y="164"/>
                      <a:pt x="102" y="164"/>
                    </a:cubicBezTo>
                    <a:cubicBezTo>
                      <a:pt x="102" y="165"/>
                      <a:pt x="102" y="165"/>
                      <a:pt x="102" y="165"/>
                    </a:cubicBezTo>
                    <a:cubicBezTo>
                      <a:pt x="101" y="165"/>
                      <a:pt x="102" y="166"/>
                      <a:pt x="102" y="167"/>
                    </a:cubicBezTo>
                    <a:cubicBezTo>
                      <a:pt x="105" y="166"/>
                      <a:pt x="108" y="166"/>
                      <a:pt x="110" y="166"/>
                    </a:cubicBezTo>
                    <a:cubicBezTo>
                      <a:pt x="111" y="166"/>
                      <a:pt x="112" y="165"/>
                      <a:pt x="113" y="165"/>
                    </a:cubicBezTo>
                    <a:cubicBezTo>
                      <a:pt x="113" y="165"/>
                      <a:pt x="114" y="165"/>
                      <a:pt x="115" y="165"/>
                    </a:cubicBezTo>
                    <a:cubicBezTo>
                      <a:pt x="115" y="165"/>
                      <a:pt x="116" y="165"/>
                      <a:pt x="117" y="165"/>
                    </a:cubicBezTo>
                    <a:cubicBezTo>
                      <a:pt x="117" y="165"/>
                      <a:pt x="117" y="165"/>
                      <a:pt x="118" y="164"/>
                    </a:cubicBezTo>
                    <a:cubicBezTo>
                      <a:pt x="118" y="162"/>
                      <a:pt x="118" y="162"/>
                      <a:pt x="118" y="162"/>
                    </a:cubicBezTo>
                    <a:cubicBezTo>
                      <a:pt x="119" y="163"/>
                      <a:pt x="119" y="163"/>
                      <a:pt x="119" y="163"/>
                    </a:cubicBezTo>
                    <a:cubicBezTo>
                      <a:pt x="120" y="161"/>
                      <a:pt x="120" y="161"/>
                      <a:pt x="120" y="161"/>
                    </a:cubicBezTo>
                    <a:cubicBezTo>
                      <a:pt x="120" y="164"/>
                      <a:pt x="120" y="164"/>
                      <a:pt x="120" y="164"/>
                    </a:cubicBezTo>
                    <a:cubicBezTo>
                      <a:pt x="120" y="164"/>
                      <a:pt x="121" y="165"/>
                      <a:pt x="121" y="165"/>
                    </a:cubicBezTo>
                    <a:cubicBezTo>
                      <a:pt x="122" y="166"/>
                      <a:pt x="124" y="166"/>
                      <a:pt x="124" y="168"/>
                    </a:cubicBezTo>
                    <a:cubicBezTo>
                      <a:pt x="124" y="168"/>
                      <a:pt x="125" y="169"/>
                      <a:pt x="124" y="169"/>
                    </a:cubicBezTo>
                    <a:cubicBezTo>
                      <a:pt x="125" y="169"/>
                      <a:pt x="125" y="169"/>
                      <a:pt x="125" y="169"/>
                    </a:cubicBezTo>
                    <a:cubicBezTo>
                      <a:pt x="125" y="169"/>
                      <a:pt x="125" y="169"/>
                      <a:pt x="125" y="169"/>
                    </a:cubicBezTo>
                    <a:cubicBezTo>
                      <a:pt x="126" y="169"/>
                      <a:pt x="126" y="168"/>
                      <a:pt x="127" y="168"/>
                    </a:cubicBezTo>
                    <a:cubicBezTo>
                      <a:pt x="127" y="168"/>
                      <a:pt x="128" y="168"/>
                      <a:pt x="128" y="168"/>
                    </a:cubicBezTo>
                    <a:cubicBezTo>
                      <a:pt x="128" y="168"/>
                      <a:pt x="129" y="168"/>
                      <a:pt x="129" y="168"/>
                    </a:cubicBezTo>
                    <a:cubicBezTo>
                      <a:pt x="130" y="168"/>
                      <a:pt x="130" y="168"/>
                      <a:pt x="130" y="168"/>
                    </a:cubicBezTo>
                    <a:cubicBezTo>
                      <a:pt x="130" y="168"/>
                      <a:pt x="131" y="168"/>
                      <a:pt x="131" y="167"/>
                    </a:cubicBezTo>
                    <a:cubicBezTo>
                      <a:pt x="131" y="167"/>
                      <a:pt x="131" y="167"/>
                      <a:pt x="132" y="167"/>
                    </a:cubicBezTo>
                    <a:cubicBezTo>
                      <a:pt x="134" y="166"/>
                      <a:pt x="134" y="166"/>
                      <a:pt x="134" y="166"/>
                    </a:cubicBezTo>
                    <a:cubicBezTo>
                      <a:pt x="134" y="170"/>
                      <a:pt x="134" y="170"/>
                      <a:pt x="134" y="170"/>
                    </a:cubicBezTo>
                    <a:cubicBezTo>
                      <a:pt x="134" y="171"/>
                      <a:pt x="134" y="171"/>
                      <a:pt x="134" y="172"/>
                    </a:cubicBezTo>
                    <a:cubicBezTo>
                      <a:pt x="134" y="172"/>
                      <a:pt x="135" y="172"/>
                      <a:pt x="135" y="173"/>
                    </a:cubicBezTo>
                    <a:cubicBezTo>
                      <a:pt x="136" y="173"/>
                      <a:pt x="136" y="173"/>
                      <a:pt x="136" y="173"/>
                    </a:cubicBezTo>
                    <a:cubicBezTo>
                      <a:pt x="136" y="173"/>
                      <a:pt x="136" y="173"/>
                      <a:pt x="136" y="173"/>
                    </a:cubicBezTo>
                    <a:cubicBezTo>
                      <a:pt x="136" y="173"/>
                      <a:pt x="136" y="173"/>
                      <a:pt x="137" y="173"/>
                    </a:cubicBezTo>
                    <a:cubicBezTo>
                      <a:pt x="137" y="173"/>
                      <a:pt x="137" y="173"/>
                      <a:pt x="137" y="173"/>
                    </a:cubicBezTo>
                    <a:cubicBezTo>
                      <a:pt x="137" y="173"/>
                      <a:pt x="138" y="173"/>
                      <a:pt x="138" y="173"/>
                    </a:cubicBezTo>
                    <a:cubicBezTo>
                      <a:pt x="148" y="175"/>
                      <a:pt x="148" y="175"/>
                      <a:pt x="148" y="175"/>
                    </a:cubicBezTo>
                    <a:cubicBezTo>
                      <a:pt x="148" y="175"/>
                      <a:pt x="148" y="175"/>
                      <a:pt x="148" y="174"/>
                    </a:cubicBezTo>
                    <a:cubicBezTo>
                      <a:pt x="148" y="174"/>
                      <a:pt x="148" y="174"/>
                      <a:pt x="148" y="174"/>
                    </a:cubicBezTo>
                    <a:cubicBezTo>
                      <a:pt x="148" y="174"/>
                      <a:pt x="148" y="174"/>
                      <a:pt x="148" y="174"/>
                    </a:cubicBezTo>
                    <a:cubicBezTo>
                      <a:pt x="148" y="173"/>
                      <a:pt x="148" y="173"/>
                      <a:pt x="148" y="173"/>
                    </a:cubicBezTo>
                    <a:cubicBezTo>
                      <a:pt x="149" y="172"/>
                      <a:pt x="149" y="172"/>
                      <a:pt x="149" y="172"/>
                    </a:cubicBezTo>
                    <a:cubicBezTo>
                      <a:pt x="149" y="171"/>
                      <a:pt x="150" y="171"/>
                      <a:pt x="151" y="171"/>
                    </a:cubicBezTo>
                    <a:cubicBezTo>
                      <a:pt x="151" y="171"/>
                      <a:pt x="151" y="171"/>
                      <a:pt x="151" y="171"/>
                    </a:cubicBezTo>
                    <a:cubicBezTo>
                      <a:pt x="153" y="171"/>
                      <a:pt x="154" y="173"/>
                      <a:pt x="155" y="174"/>
                    </a:cubicBezTo>
                    <a:cubicBezTo>
                      <a:pt x="155" y="175"/>
                      <a:pt x="155" y="175"/>
                      <a:pt x="155" y="175"/>
                    </a:cubicBezTo>
                    <a:cubicBezTo>
                      <a:pt x="155" y="175"/>
                      <a:pt x="155" y="176"/>
                      <a:pt x="156" y="176"/>
                    </a:cubicBezTo>
                    <a:cubicBezTo>
                      <a:pt x="156" y="177"/>
                      <a:pt x="156" y="178"/>
                      <a:pt x="157" y="178"/>
                    </a:cubicBezTo>
                    <a:cubicBezTo>
                      <a:pt x="157" y="178"/>
                      <a:pt x="157" y="178"/>
                      <a:pt x="157" y="178"/>
                    </a:cubicBezTo>
                    <a:cubicBezTo>
                      <a:pt x="158" y="178"/>
                      <a:pt x="158" y="178"/>
                      <a:pt x="159" y="178"/>
                    </a:cubicBezTo>
                    <a:cubicBezTo>
                      <a:pt x="159" y="178"/>
                      <a:pt x="160" y="178"/>
                      <a:pt x="161" y="179"/>
                    </a:cubicBezTo>
                    <a:cubicBezTo>
                      <a:pt x="161" y="179"/>
                      <a:pt x="162" y="179"/>
                      <a:pt x="162" y="180"/>
                    </a:cubicBezTo>
                    <a:cubicBezTo>
                      <a:pt x="163" y="180"/>
                      <a:pt x="163" y="180"/>
                      <a:pt x="163" y="180"/>
                    </a:cubicBezTo>
                    <a:cubicBezTo>
                      <a:pt x="163" y="180"/>
                      <a:pt x="164" y="180"/>
                      <a:pt x="165" y="181"/>
                    </a:cubicBezTo>
                    <a:cubicBezTo>
                      <a:pt x="171" y="190"/>
                      <a:pt x="171" y="190"/>
                      <a:pt x="171" y="190"/>
                    </a:cubicBezTo>
                    <a:cubicBezTo>
                      <a:pt x="172" y="190"/>
                      <a:pt x="172" y="190"/>
                      <a:pt x="173" y="190"/>
                    </a:cubicBezTo>
                    <a:cubicBezTo>
                      <a:pt x="173" y="190"/>
                      <a:pt x="173" y="190"/>
                      <a:pt x="173" y="190"/>
                    </a:cubicBezTo>
                    <a:cubicBezTo>
                      <a:pt x="173" y="189"/>
                      <a:pt x="173" y="189"/>
                      <a:pt x="173" y="189"/>
                    </a:cubicBezTo>
                    <a:cubicBezTo>
                      <a:pt x="173" y="189"/>
                      <a:pt x="174" y="189"/>
                      <a:pt x="174" y="189"/>
                    </a:cubicBezTo>
                    <a:cubicBezTo>
                      <a:pt x="175" y="188"/>
                      <a:pt x="175" y="188"/>
                      <a:pt x="176" y="188"/>
                    </a:cubicBezTo>
                    <a:cubicBezTo>
                      <a:pt x="176" y="188"/>
                      <a:pt x="177" y="188"/>
                      <a:pt x="177" y="188"/>
                    </a:cubicBezTo>
                    <a:cubicBezTo>
                      <a:pt x="177" y="180"/>
                      <a:pt x="177" y="180"/>
                      <a:pt x="177" y="180"/>
                    </a:cubicBezTo>
                    <a:cubicBezTo>
                      <a:pt x="177" y="180"/>
                      <a:pt x="177" y="180"/>
                      <a:pt x="177" y="180"/>
                    </a:cubicBezTo>
                    <a:cubicBezTo>
                      <a:pt x="177" y="180"/>
                      <a:pt x="176" y="180"/>
                      <a:pt x="176" y="180"/>
                    </a:cubicBezTo>
                    <a:cubicBezTo>
                      <a:pt x="176" y="180"/>
                      <a:pt x="176" y="180"/>
                      <a:pt x="176" y="180"/>
                    </a:cubicBezTo>
                    <a:cubicBezTo>
                      <a:pt x="176" y="180"/>
                      <a:pt x="176" y="181"/>
                      <a:pt x="176" y="182"/>
                    </a:cubicBezTo>
                    <a:cubicBezTo>
                      <a:pt x="175" y="182"/>
                      <a:pt x="175" y="182"/>
                      <a:pt x="175" y="182"/>
                    </a:cubicBezTo>
                    <a:cubicBezTo>
                      <a:pt x="174" y="182"/>
                      <a:pt x="174" y="182"/>
                      <a:pt x="173" y="182"/>
                    </a:cubicBezTo>
                    <a:cubicBezTo>
                      <a:pt x="173" y="182"/>
                      <a:pt x="173" y="182"/>
                      <a:pt x="173" y="182"/>
                    </a:cubicBezTo>
                    <a:cubicBezTo>
                      <a:pt x="173" y="182"/>
                      <a:pt x="173" y="182"/>
                      <a:pt x="172" y="182"/>
                    </a:cubicBezTo>
                    <a:cubicBezTo>
                      <a:pt x="172" y="182"/>
                      <a:pt x="172" y="182"/>
                      <a:pt x="172" y="182"/>
                    </a:cubicBezTo>
                    <a:cubicBezTo>
                      <a:pt x="172" y="182"/>
                      <a:pt x="172" y="182"/>
                      <a:pt x="172" y="182"/>
                    </a:cubicBezTo>
                    <a:cubicBezTo>
                      <a:pt x="171" y="182"/>
                      <a:pt x="171" y="182"/>
                      <a:pt x="171" y="182"/>
                    </a:cubicBezTo>
                    <a:cubicBezTo>
                      <a:pt x="171" y="182"/>
                      <a:pt x="171" y="182"/>
                      <a:pt x="171" y="182"/>
                    </a:cubicBezTo>
                    <a:cubicBezTo>
                      <a:pt x="170" y="181"/>
                      <a:pt x="170" y="181"/>
                      <a:pt x="169" y="181"/>
                    </a:cubicBezTo>
                    <a:cubicBezTo>
                      <a:pt x="169" y="181"/>
                      <a:pt x="169" y="181"/>
                      <a:pt x="169" y="180"/>
                    </a:cubicBezTo>
                    <a:cubicBezTo>
                      <a:pt x="169" y="180"/>
                      <a:pt x="169" y="180"/>
                      <a:pt x="169" y="180"/>
                    </a:cubicBezTo>
                    <a:cubicBezTo>
                      <a:pt x="169" y="180"/>
                      <a:pt x="169" y="179"/>
                      <a:pt x="168" y="179"/>
                    </a:cubicBezTo>
                    <a:cubicBezTo>
                      <a:pt x="167" y="178"/>
                      <a:pt x="166" y="177"/>
                      <a:pt x="165" y="177"/>
                    </a:cubicBezTo>
                    <a:cubicBezTo>
                      <a:pt x="164" y="176"/>
                      <a:pt x="164" y="175"/>
                      <a:pt x="163" y="174"/>
                    </a:cubicBezTo>
                    <a:cubicBezTo>
                      <a:pt x="162" y="171"/>
                      <a:pt x="163" y="168"/>
                      <a:pt x="164" y="166"/>
                    </a:cubicBezTo>
                    <a:cubicBezTo>
                      <a:pt x="164" y="165"/>
                      <a:pt x="164" y="164"/>
                      <a:pt x="164" y="164"/>
                    </a:cubicBezTo>
                    <a:cubicBezTo>
                      <a:pt x="165" y="162"/>
                      <a:pt x="165" y="160"/>
                      <a:pt x="165" y="159"/>
                    </a:cubicBezTo>
                    <a:cubicBezTo>
                      <a:pt x="165" y="159"/>
                      <a:pt x="165" y="159"/>
                      <a:pt x="165" y="159"/>
                    </a:cubicBezTo>
                    <a:cubicBezTo>
                      <a:pt x="165" y="159"/>
                      <a:pt x="165" y="159"/>
                      <a:pt x="165" y="159"/>
                    </a:cubicBezTo>
                    <a:cubicBezTo>
                      <a:pt x="165" y="158"/>
                      <a:pt x="165" y="157"/>
                      <a:pt x="165" y="156"/>
                    </a:cubicBezTo>
                    <a:cubicBezTo>
                      <a:pt x="165" y="156"/>
                      <a:pt x="165" y="156"/>
                      <a:pt x="165" y="156"/>
                    </a:cubicBezTo>
                    <a:cubicBezTo>
                      <a:pt x="165" y="155"/>
                      <a:pt x="165" y="155"/>
                      <a:pt x="165" y="155"/>
                    </a:cubicBezTo>
                    <a:cubicBezTo>
                      <a:pt x="165" y="154"/>
                      <a:pt x="165" y="154"/>
                      <a:pt x="165" y="154"/>
                    </a:cubicBezTo>
                    <a:cubicBezTo>
                      <a:pt x="165" y="154"/>
                      <a:pt x="165" y="153"/>
                      <a:pt x="165" y="153"/>
                    </a:cubicBezTo>
                    <a:cubicBezTo>
                      <a:pt x="165" y="152"/>
                      <a:pt x="165" y="152"/>
                      <a:pt x="165" y="152"/>
                    </a:cubicBezTo>
                    <a:cubicBezTo>
                      <a:pt x="165" y="152"/>
                      <a:pt x="165" y="152"/>
                      <a:pt x="165" y="152"/>
                    </a:cubicBezTo>
                    <a:cubicBezTo>
                      <a:pt x="165" y="152"/>
                      <a:pt x="165" y="152"/>
                      <a:pt x="165" y="152"/>
                    </a:cubicBezTo>
                    <a:cubicBezTo>
                      <a:pt x="165" y="151"/>
                      <a:pt x="164" y="151"/>
                      <a:pt x="164" y="151"/>
                    </a:cubicBezTo>
                    <a:cubicBezTo>
                      <a:pt x="164" y="151"/>
                      <a:pt x="164" y="150"/>
                      <a:pt x="164" y="150"/>
                    </a:cubicBezTo>
                    <a:cubicBezTo>
                      <a:pt x="164" y="150"/>
                      <a:pt x="163" y="150"/>
                      <a:pt x="163" y="149"/>
                    </a:cubicBezTo>
                    <a:cubicBezTo>
                      <a:pt x="162" y="149"/>
                      <a:pt x="163" y="148"/>
                      <a:pt x="163" y="147"/>
                    </a:cubicBezTo>
                    <a:cubicBezTo>
                      <a:pt x="164" y="146"/>
                      <a:pt x="165" y="145"/>
                      <a:pt x="166" y="144"/>
                    </a:cubicBezTo>
                    <a:cubicBezTo>
                      <a:pt x="167" y="144"/>
                      <a:pt x="167" y="143"/>
                      <a:pt x="167" y="143"/>
                    </a:cubicBezTo>
                    <a:cubicBezTo>
                      <a:pt x="167" y="143"/>
                      <a:pt x="167" y="143"/>
                      <a:pt x="167" y="143"/>
                    </a:cubicBezTo>
                    <a:cubicBezTo>
                      <a:pt x="168" y="142"/>
                      <a:pt x="168" y="142"/>
                      <a:pt x="168" y="142"/>
                    </a:cubicBezTo>
                    <a:cubicBezTo>
                      <a:pt x="168" y="142"/>
                      <a:pt x="168" y="142"/>
                      <a:pt x="168" y="142"/>
                    </a:cubicBezTo>
                    <a:cubicBezTo>
                      <a:pt x="168" y="142"/>
                      <a:pt x="168" y="141"/>
                      <a:pt x="168" y="141"/>
                    </a:cubicBezTo>
                    <a:cubicBezTo>
                      <a:pt x="168" y="141"/>
                      <a:pt x="168" y="141"/>
                      <a:pt x="168" y="141"/>
                    </a:cubicBezTo>
                    <a:cubicBezTo>
                      <a:pt x="167" y="139"/>
                      <a:pt x="167" y="139"/>
                      <a:pt x="167" y="139"/>
                    </a:cubicBezTo>
                    <a:cubicBezTo>
                      <a:pt x="169" y="139"/>
                      <a:pt x="169" y="139"/>
                      <a:pt x="169" y="139"/>
                    </a:cubicBezTo>
                    <a:cubicBezTo>
                      <a:pt x="173" y="138"/>
                      <a:pt x="178" y="137"/>
                      <a:pt x="182" y="137"/>
                    </a:cubicBezTo>
                    <a:cubicBezTo>
                      <a:pt x="185" y="136"/>
                      <a:pt x="185" y="136"/>
                      <a:pt x="185" y="136"/>
                    </a:cubicBezTo>
                    <a:cubicBezTo>
                      <a:pt x="184" y="135"/>
                      <a:pt x="183" y="133"/>
                      <a:pt x="183" y="131"/>
                    </a:cubicBezTo>
                    <a:cubicBezTo>
                      <a:pt x="182" y="130"/>
                      <a:pt x="182" y="128"/>
                      <a:pt x="181"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9" name="Freeform 3051">
                <a:extLst>
                  <a:ext uri="{FF2B5EF4-FFF2-40B4-BE49-F238E27FC236}">
                    <a16:creationId xmlns:a16="http://schemas.microsoft.com/office/drawing/2014/main" id="{94660761-EE7C-4760-82C8-7AC82A05C3AB}"/>
                  </a:ext>
                </a:extLst>
              </p:cNvPr>
              <p:cNvSpPr>
                <a:spLocks/>
              </p:cNvSpPr>
              <p:nvPr/>
            </p:nvSpPr>
            <p:spPr bwMode="auto">
              <a:xfrm>
                <a:off x="3845" y="292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0" name="Freeform 3052">
                <a:extLst>
                  <a:ext uri="{FF2B5EF4-FFF2-40B4-BE49-F238E27FC236}">
                    <a16:creationId xmlns:a16="http://schemas.microsoft.com/office/drawing/2014/main" id="{26489F71-B0F9-4EB1-B0FD-D7271AE5FE2E}"/>
                  </a:ext>
                </a:extLst>
              </p:cNvPr>
              <p:cNvSpPr>
                <a:spLocks/>
              </p:cNvSpPr>
              <p:nvPr/>
            </p:nvSpPr>
            <p:spPr bwMode="auto">
              <a:xfrm>
                <a:off x="3901" y="2514"/>
                <a:ext cx="305" cy="201"/>
              </a:xfrm>
              <a:custGeom>
                <a:avLst/>
                <a:gdLst>
                  <a:gd name="T0" fmla="*/ 41 w 129"/>
                  <a:gd name="T1" fmla="*/ 30 h 85"/>
                  <a:gd name="T2" fmla="*/ 38 w 129"/>
                  <a:gd name="T3" fmla="*/ 30 h 85"/>
                  <a:gd name="T4" fmla="*/ 31 w 129"/>
                  <a:gd name="T5" fmla="*/ 32 h 85"/>
                  <a:gd name="T6" fmla="*/ 27 w 129"/>
                  <a:gd name="T7" fmla="*/ 33 h 85"/>
                  <a:gd name="T8" fmla="*/ 24 w 129"/>
                  <a:gd name="T9" fmla="*/ 35 h 85"/>
                  <a:gd name="T10" fmla="*/ 22 w 129"/>
                  <a:gd name="T11" fmla="*/ 35 h 85"/>
                  <a:gd name="T12" fmla="*/ 19 w 129"/>
                  <a:gd name="T13" fmla="*/ 34 h 85"/>
                  <a:gd name="T14" fmla="*/ 10 w 129"/>
                  <a:gd name="T15" fmla="*/ 36 h 85"/>
                  <a:gd name="T16" fmla="*/ 6 w 129"/>
                  <a:gd name="T17" fmla="*/ 41 h 85"/>
                  <a:gd name="T18" fmla="*/ 4 w 129"/>
                  <a:gd name="T19" fmla="*/ 46 h 85"/>
                  <a:gd name="T20" fmla="*/ 2 w 129"/>
                  <a:gd name="T21" fmla="*/ 52 h 85"/>
                  <a:gd name="T22" fmla="*/ 1 w 129"/>
                  <a:gd name="T23" fmla="*/ 58 h 85"/>
                  <a:gd name="T24" fmla="*/ 4 w 129"/>
                  <a:gd name="T25" fmla="*/ 65 h 85"/>
                  <a:gd name="T26" fmla="*/ 7 w 129"/>
                  <a:gd name="T27" fmla="*/ 71 h 85"/>
                  <a:gd name="T28" fmla="*/ 15 w 129"/>
                  <a:gd name="T29" fmla="*/ 80 h 85"/>
                  <a:gd name="T30" fmla="*/ 17 w 129"/>
                  <a:gd name="T31" fmla="*/ 85 h 85"/>
                  <a:gd name="T32" fmla="*/ 18 w 129"/>
                  <a:gd name="T33" fmla="*/ 80 h 85"/>
                  <a:gd name="T34" fmla="*/ 19 w 129"/>
                  <a:gd name="T35" fmla="*/ 76 h 85"/>
                  <a:gd name="T36" fmla="*/ 24 w 129"/>
                  <a:gd name="T37" fmla="*/ 74 h 85"/>
                  <a:gd name="T38" fmla="*/ 34 w 129"/>
                  <a:gd name="T39" fmla="*/ 73 h 85"/>
                  <a:gd name="T40" fmla="*/ 39 w 129"/>
                  <a:gd name="T41" fmla="*/ 73 h 85"/>
                  <a:gd name="T42" fmla="*/ 40 w 129"/>
                  <a:gd name="T43" fmla="*/ 71 h 85"/>
                  <a:gd name="T44" fmla="*/ 39 w 129"/>
                  <a:gd name="T45" fmla="*/ 67 h 85"/>
                  <a:gd name="T46" fmla="*/ 42 w 129"/>
                  <a:gd name="T47" fmla="*/ 65 h 85"/>
                  <a:gd name="T48" fmla="*/ 50 w 129"/>
                  <a:gd name="T49" fmla="*/ 58 h 85"/>
                  <a:gd name="T50" fmla="*/ 52 w 129"/>
                  <a:gd name="T51" fmla="*/ 58 h 85"/>
                  <a:gd name="T52" fmla="*/ 55 w 129"/>
                  <a:gd name="T53" fmla="*/ 59 h 85"/>
                  <a:gd name="T54" fmla="*/ 62 w 129"/>
                  <a:gd name="T55" fmla="*/ 65 h 85"/>
                  <a:gd name="T56" fmla="*/ 67 w 129"/>
                  <a:gd name="T57" fmla="*/ 66 h 85"/>
                  <a:gd name="T58" fmla="*/ 70 w 129"/>
                  <a:gd name="T59" fmla="*/ 66 h 85"/>
                  <a:gd name="T60" fmla="*/ 77 w 129"/>
                  <a:gd name="T61" fmla="*/ 67 h 85"/>
                  <a:gd name="T62" fmla="*/ 81 w 129"/>
                  <a:gd name="T63" fmla="*/ 65 h 85"/>
                  <a:gd name="T64" fmla="*/ 83 w 129"/>
                  <a:gd name="T65" fmla="*/ 62 h 85"/>
                  <a:gd name="T66" fmla="*/ 85 w 129"/>
                  <a:gd name="T67" fmla="*/ 61 h 85"/>
                  <a:gd name="T68" fmla="*/ 89 w 129"/>
                  <a:gd name="T69" fmla="*/ 63 h 85"/>
                  <a:gd name="T70" fmla="*/ 99 w 129"/>
                  <a:gd name="T71" fmla="*/ 59 h 85"/>
                  <a:gd name="T72" fmla="*/ 101 w 129"/>
                  <a:gd name="T73" fmla="*/ 58 h 85"/>
                  <a:gd name="T74" fmla="*/ 105 w 129"/>
                  <a:gd name="T75" fmla="*/ 60 h 85"/>
                  <a:gd name="T76" fmla="*/ 110 w 129"/>
                  <a:gd name="T77" fmla="*/ 56 h 85"/>
                  <a:gd name="T78" fmla="*/ 112 w 129"/>
                  <a:gd name="T79" fmla="*/ 55 h 85"/>
                  <a:gd name="T80" fmla="*/ 116 w 129"/>
                  <a:gd name="T81" fmla="*/ 57 h 85"/>
                  <a:gd name="T82" fmla="*/ 122 w 129"/>
                  <a:gd name="T83" fmla="*/ 58 h 85"/>
                  <a:gd name="T84" fmla="*/ 122 w 129"/>
                  <a:gd name="T85" fmla="*/ 58 h 85"/>
                  <a:gd name="T86" fmla="*/ 128 w 129"/>
                  <a:gd name="T87" fmla="*/ 57 h 85"/>
                  <a:gd name="T88" fmla="*/ 126 w 129"/>
                  <a:gd name="T89" fmla="*/ 53 h 85"/>
                  <a:gd name="T90" fmla="*/ 120 w 129"/>
                  <a:gd name="T91" fmla="*/ 50 h 85"/>
                  <a:gd name="T92" fmla="*/ 118 w 129"/>
                  <a:gd name="T93" fmla="*/ 45 h 85"/>
                  <a:gd name="T94" fmla="*/ 108 w 129"/>
                  <a:gd name="T95" fmla="*/ 33 h 85"/>
                  <a:gd name="T96" fmla="*/ 107 w 129"/>
                  <a:gd name="T97" fmla="*/ 31 h 85"/>
                  <a:gd name="T98" fmla="*/ 100 w 129"/>
                  <a:gd name="T99" fmla="*/ 28 h 85"/>
                  <a:gd name="T100" fmla="*/ 96 w 129"/>
                  <a:gd name="T101" fmla="*/ 23 h 85"/>
                  <a:gd name="T102" fmla="*/ 92 w 129"/>
                  <a:gd name="T103" fmla="*/ 23 h 85"/>
                  <a:gd name="T104" fmla="*/ 90 w 129"/>
                  <a:gd name="T105" fmla="*/ 20 h 85"/>
                  <a:gd name="T106" fmla="*/ 91 w 129"/>
                  <a:gd name="T107" fmla="*/ 16 h 85"/>
                  <a:gd name="T108" fmla="*/ 90 w 129"/>
                  <a:gd name="T109" fmla="*/ 8 h 85"/>
                  <a:gd name="T110" fmla="*/ 83 w 129"/>
                  <a:gd name="T111" fmla="*/ 0 h 85"/>
                  <a:gd name="T112" fmla="*/ 74 w 129"/>
                  <a:gd name="T113" fmla="*/ 3 h 85"/>
                  <a:gd name="T114" fmla="*/ 67 w 129"/>
                  <a:gd name="T115" fmla="*/ 13 h 85"/>
                  <a:gd name="T116" fmla="*/ 47 w 129"/>
                  <a:gd name="T117" fmla="*/ 20 h 85"/>
                  <a:gd name="T118" fmla="*/ 46 w 129"/>
                  <a:gd name="T119" fmla="*/ 2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9" h="85">
                    <a:moveTo>
                      <a:pt x="45" y="26"/>
                    </a:moveTo>
                    <a:cubicBezTo>
                      <a:pt x="45" y="27"/>
                      <a:pt x="44" y="28"/>
                      <a:pt x="43" y="29"/>
                    </a:cubicBezTo>
                    <a:cubicBezTo>
                      <a:pt x="42" y="29"/>
                      <a:pt x="42" y="29"/>
                      <a:pt x="42" y="29"/>
                    </a:cubicBezTo>
                    <a:cubicBezTo>
                      <a:pt x="42" y="30"/>
                      <a:pt x="42" y="30"/>
                      <a:pt x="41" y="30"/>
                    </a:cubicBezTo>
                    <a:cubicBezTo>
                      <a:pt x="41" y="30"/>
                      <a:pt x="41" y="30"/>
                      <a:pt x="41" y="30"/>
                    </a:cubicBezTo>
                    <a:cubicBezTo>
                      <a:pt x="41" y="30"/>
                      <a:pt x="41" y="30"/>
                      <a:pt x="41" y="30"/>
                    </a:cubicBezTo>
                    <a:cubicBezTo>
                      <a:pt x="40" y="30"/>
                      <a:pt x="40" y="30"/>
                      <a:pt x="40" y="30"/>
                    </a:cubicBezTo>
                    <a:cubicBezTo>
                      <a:pt x="40" y="30"/>
                      <a:pt x="40" y="30"/>
                      <a:pt x="40" y="30"/>
                    </a:cubicBezTo>
                    <a:cubicBezTo>
                      <a:pt x="39" y="30"/>
                      <a:pt x="39" y="30"/>
                      <a:pt x="39" y="30"/>
                    </a:cubicBezTo>
                    <a:cubicBezTo>
                      <a:pt x="39" y="30"/>
                      <a:pt x="39" y="30"/>
                      <a:pt x="38" y="30"/>
                    </a:cubicBezTo>
                    <a:cubicBezTo>
                      <a:pt x="37" y="31"/>
                      <a:pt x="37" y="31"/>
                      <a:pt x="37" y="31"/>
                    </a:cubicBezTo>
                    <a:cubicBezTo>
                      <a:pt x="37" y="31"/>
                      <a:pt x="37" y="31"/>
                      <a:pt x="37" y="31"/>
                    </a:cubicBezTo>
                    <a:cubicBezTo>
                      <a:pt x="36" y="31"/>
                      <a:pt x="36" y="31"/>
                      <a:pt x="36" y="31"/>
                    </a:cubicBezTo>
                    <a:cubicBezTo>
                      <a:pt x="36" y="31"/>
                      <a:pt x="35" y="31"/>
                      <a:pt x="34" y="31"/>
                    </a:cubicBezTo>
                    <a:cubicBezTo>
                      <a:pt x="33" y="31"/>
                      <a:pt x="32" y="31"/>
                      <a:pt x="31" y="32"/>
                    </a:cubicBezTo>
                    <a:cubicBezTo>
                      <a:pt x="30" y="32"/>
                      <a:pt x="30" y="32"/>
                      <a:pt x="30" y="32"/>
                    </a:cubicBezTo>
                    <a:cubicBezTo>
                      <a:pt x="30" y="32"/>
                      <a:pt x="30" y="32"/>
                      <a:pt x="29" y="32"/>
                    </a:cubicBezTo>
                    <a:cubicBezTo>
                      <a:pt x="29" y="32"/>
                      <a:pt x="29" y="32"/>
                      <a:pt x="29" y="32"/>
                    </a:cubicBezTo>
                    <a:cubicBezTo>
                      <a:pt x="28" y="33"/>
                      <a:pt x="28" y="33"/>
                      <a:pt x="27" y="33"/>
                    </a:cubicBezTo>
                    <a:cubicBezTo>
                      <a:pt x="27" y="33"/>
                      <a:pt x="27" y="33"/>
                      <a:pt x="27" y="33"/>
                    </a:cubicBezTo>
                    <a:cubicBezTo>
                      <a:pt x="26" y="33"/>
                      <a:pt x="26" y="34"/>
                      <a:pt x="26" y="34"/>
                    </a:cubicBezTo>
                    <a:cubicBezTo>
                      <a:pt x="25" y="34"/>
                      <a:pt x="25" y="34"/>
                      <a:pt x="25" y="34"/>
                    </a:cubicBezTo>
                    <a:cubicBezTo>
                      <a:pt x="25" y="34"/>
                      <a:pt x="25" y="34"/>
                      <a:pt x="25" y="34"/>
                    </a:cubicBezTo>
                    <a:cubicBezTo>
                      <a:pt x="24" y="35"/>
                      <a:pt x="24" y="35"/>
                      <a:pt x="24" y="35"/>
                    </a:cubicBezTo>
                    <a:cubicBezTo>
                      <a:pt x="24" y="35"/>
                      <a:pt x="24" y="35"/>
                      <a:pt x="24" y="35"/>
                    </a:cubicBezTo>
                    <a:cubicBezTo>
                      <a:pt x="23" y="35"/>
                      <a:pt x="23" y="35"/>
                      <a:pt x="23" y="35"/>
                    </a:cubicBezTo>
                    <a:cubicBezTo>
                      <a:pt x="23" y="35"/>
                      <a:pt x="23" y="35"/>
                      <a:pt x="23" y="35"/>
                    </a:cubicBezTo>
                    <a:cubicBezTo>
                      <a:pt x="23" y="35"/>
                      <a:pt x="23" y="35"/>
                      <a:pt x="23" y="35"/>
                    </a:cubicBezTo>
                    <a:cubicBezTo>
                      <a:pt x="23" y="35"/>
                      <a:pt x="22" y="35"/>
                      <a:pt x="22" y="35"/>
                    </a:cubicBezTo>
                    <a:cubicBezTo>
                      <a:pt x="22" y="35"/>
                      <a:pt x="22" y="35"/>
                      <a:pt x="22" y="35"/>
                    </a:cubicBezTo>
                    <a:cubicBezTo>
                      <a:pt x="22" y="35"/>
                      <a:pt x="22" y="35"/>
                      <a:pt x="22" y="35"/>
                    </a:cubicBezTo>
                    <a:cubicBezTo>
                      <a:pt x="20" y="32"/>
                      <a:pt x="20" y="32"/>
                      <a:pt x="20" y="32"/>
                    </a:cubicBezTo>
                    <a:cubicBezTo>
                      <a:pt x="20" y="32"/>
                      <a:pt x="20" y="33"/>
                      <a:pt x="20" y="33"/>
                    </a:cubicBezTo>
                    <a:cubicBezTo>
                      <a:pt x="20" y="33"/>
                      <a:pt x="19" y="33"/>
                      <a:pt x="19" y="34"/>
                    </a:cubicBezTo>
                    <a:cubicBezTo>
                      <a:pt x="19" y="34"/>
                      <a:pt x="19" y="34"/>
                      <a:pt x="19" y="34"/>
                    </a:cubicBezTo>
                    <a:cubicBezTo>
                      <a:pt x="18" y="34"/>
                      <a:pt x="17" y="34"/>
                      <a:pt x="17" y="34"/>
                    </a:cubicBezTo>
                    <a:cubicBezTo>
                      <a:pt x="16" y="35"/>
                      <a:pt x="16" y="35"/>
                      <a:pt x="15" y="35"/>
                    </a:cubicBezTo>
                    <a:cubicBezTo>
                      <a:pt x="13" y="35"/>
                      <a:pt x="13" y="35"/>
                      <a:pt x="13" y="35"/>
                    </a:cubicBezTo>
                    <a:cubicBezTo>
                      <a:pt x="12" y="35"/>
                      <a:pt x="12" y="35"/>
                      <a:pt x="11" y="35"/>
                    </a:cubicBezTo>
                    <a:cubicBezTo>
                      <a:pt x="10" y="36"/>
                      <a:pt x="10" y="36"/>
                      <a:pt x="10" y="36"/>
                    </a:cubicBezTo>
                    <a:cubicBezTo>
                      <a:pt x="10" y="36"/>
                      <a:pt x="10" y="36"/>
                      <a:pt x="10" y="36"/>
                    </a:cubicBezTo>
                    <a:cubicBezTo>
                      <a:pt x="9" y="36"/>
                      <a:pt x="9" y="36"/>
                      <a:pt x="9" y="36"/>
                    </a:cubicBezTo>
                    <a:cubicBezTo>
                      <a:pt x="9" y="37"/>
                      <a:pt x="8" y="37"/>
                      <a:pt x="8" y="38"/>
                    </a:cubicBezTo>
                    <a:cubicBezTo>
                      <a:pt x="8" y="38"/>
                      <a:pt x="8" y="38"/>
                      <a:pt x="8" y="38"/>
                    </a:cubicBezTo>
                    <a:cubicBezTo>
                      <a:pt x="7" y="39"/>
                      <a:pt x="6" y="40"/>
                      <a:pt x="6" y="41"/>
                    </a:cubicBezTo>
                    <a:cubicBezTo>
                      <a:pt x="6" y="42"/>
                      <a:pt x="6" y="42"/>
                      <a:pt x="6" y="42"/>
                    </a:cubicBezTo>
                    <a:cubicBezTo>
                      <a:pt x="5" y="42"/>
                      <a:pt x="5" y="42"/>
                      <a:pt x="5" y="43"/>
                    </a:cubicBezTo>
                    <a:cubicBezTo>
                      <a:pt x="5" y="43"/>
                      <a:pt x="5" y="44"/>
                      <a:pt x="4" y="44"/>
                    </a:cubicBezTo>
                    <a:cubicBezTo>
                      <a:pt x="4" y="45"/>
                      <a:pt x="4" y="45"/>
                      <a:pt x="4" y="45"/>
                    </a:cubicBezTo>
                    <a:cubicBezTo>
                      <a:pt x="4" y="45"/>
                      <a:pt x="4" y="45"/>
                      <a:pt x="4" y="46"/>
                    </a:cubicBezTo>
                    <a:cubicBezTo>
                      <a:pt x="3" y="48"/>
                      <a:pt x="2" y="49"/>
                      <a:pt x="0" y="49"/>
                    </a:cubicBezTo>
                    <a:cubicBezTo>
                      <a:pt x="0" y="50"/>
                      <a:pt x="1" y="50"/>
                      <a:pt x="1" y="50"/>
                    </a:cubicBezTo>
                    <a:cubicBezTo>
                      <a:pt x="1" y="50"/>
                      <a:pt x="1" y="50"/>
                      <a:pt x="1" y="50"/>
                    </a:cubicBezTo>
                    <a:cubicBezTo>
                      <a:pt x="1" y="50"/>
                      <a:pt x="1" y="51"/>
                      <a:pt x="1" y="51"/>
                    </a:cubicBezTo>
                    <a:cubicBezTo>
                      <a:pt x="1" y="51"/>
                      <a:pt x="1" y="52"/>
                      <a:pt x="2" y="52"/>
                    </a:cubicBezTo>
                    <a:cubicBezTo>
                      <a:pt x="2" y="53"/>
                      <a:pt x="1" y="54"/>
                      <a:pt x="1" y="54"/>
                    </a:cubicBezTo>
                    <a:cubicBezTo>
                      <a:pt x="1" y="55"/>
                      <a:pt x="1" y="55"/>
                      <a:pt x="1" y="55"/>
                    </a:cubicBezTo>
                    <a:cubicBezTo>
                      <a:pt x="1" y="56"/>
                      <a:pt x="1" y="56"/>
                      <a:pt x="1" y="56"/>
                    </a:cubicBezTo>
                    <a:cubicBezTo>
                      <a:pt x="1" y="56"/>
                      <a:pt x="1" y="57"/>
                      <a:pt x="1" y="57"/>
                    </a:cubicBezTo>
                    <a:cubicBezTo>
                      <a:pt x="1" y="57"/>
                      <a:pt x="1" y="57"/>
                      <a:pt x="1" y="58"/>
                    </a:cubicBezTo>
                    <a:cubicBezTo>
                      <a:pt x="1" y="58"/>
                      <a:pt x="1" y="58"/>
                      <a:pt x="1" y="58"/>
                    </a:cubicBezTo>
                    <a:cubicBezTo>
                      <a:pt x="1" y="58"/>
                      <a:pt x="1" y="58"/>
                      <a:pt x="2" y="59"/>
                    </a:cubicBezTo>
                    <a:cubicBezTo>
                      <a:pt x="2" y="60"/>
                      <a:pt x="2" y="61"/>
                      <a:pt x="3" y="63"/>
                    </a:cubicBezTo>
                    <a:cubicBezTo>
                      <a:pt x="3" y="64"/>
                      <a:pt x="3" y="64"/>
                      <a:pt x="3" y="64"/>
                    </a:cubicBezTo>
                    <a:cubicBezTo>
                      <a:pt x="3" y="64"/>
                      <a:pt x="3" y="64"/>
                      <a:pt x="4" y="65"/>
                    </a:cubicBezTo>
                    <a:cubicBezTo>
                      <a:pt x="4" y="66"/>
                      <a:pt x="5" y="66"/>
                      <a:pt x="5" y="66"/>
                    </a:cubicBezTo>
                    <a:cubicBezTo>
                      <a:pt x="6" y="68"/>
                      <a:pt x="6" y="68"/>
                      <a:pt x="6" y="68"/>
                    </a:cubicBezTo>
                    <a:cubicBezTo>
                      <a:pt x="6" y="68"/>
                      <a:pt x="7" y="69"/>
                      <a:pt x="7" y="69"/>
                    </a:cubicBezTo>
                    <a:cubicBezTo>
                      <a:pt x="8" y="71"/>
                      <a:pt x="8" y="71"/>
                      <a:pt x="8" y="71"/>
                    </a:cubicBezTo>
                    <a:cubicBezTo>
                      <a:pt x="7" y="71"/>
                      <a:pt x="7" y="71"/>
                      <a:pt x="7" y="71"/>
                    </a:cubicBezTo>
                    <a:cubicBezTo>
                      <a:pt x="7" y="73"/>
                      <a:pt x="8" y="74"/>
                      <a:pt x="9" y="75"/>
                    </a:cubicBezTo>
                    <a:cubicBezTo>
                      <a:pt x="11" y="76"/>
                      <a:pt x="11" y="76"/>
                      <a:pt x="11" y="76"/>
                    </a:cubicBezTo>
                    <a:cubicBezTo>
                      <a:pt x="11" y="76"/>
                      <a:pt x="11" y="76"/>
                      <a:pt x="11" y="76"/>
                    </a:cubicBezTo>
                    <a:cubicBezTo>
                      <a:pt x="11" y="76"/>
                      <a:pt x="11" y="76"/>
                      <a:pt x="11" y="76"/>
                    </a:cubicBezTo>
                    <a:cubicBezTo>
                      <a:pt x="13" y="77"/>
                      <a:pt x="14" y="78"/>
                      <a:pt x="15" y="80"/>
                    </a:cubicBezTo>
                    <a:cubicBezTo>
                      <a:pt x="16" y="80"/>
                      <a:pt x="16" y="80"/>
                      <a:pt x="16" y="81"/>
                    </a:cubicBezTo>
                    <a:cubicBezTo>
                      <a:pt x="16" y="81"/>
                      <a:pt x="16" y="81"/>
                      <a:pt x="16" y="81"/>
                    </a:cubicBezTo>
                    <a:cubicBezTo>
                      <a:pt x="16" y="81"/>
                      <a:pt x="16" y="81"/>
                      <a:pt x="17" y="81"/>
                    </a:cubicBezTo>
                    <a:cubicBezTo>
                      <a:pt x="17" y="82"/>
                      <a:pt x="17" y="82"/>
                      <a:pt x="17" y="83"/>
                    </a:cubicBezTo>
                    <a:cubicBezTo>
                      <a:pt x="17" y="84"/>
                      <a:pt x="17" y="84"/>
                      <a:pt x="17" y="85"/>
                    </a:cubicBezTo>
                    <a:cubicBezTo>
                      <a:pt x="17" y="85"/>
                      <a:pt x="17" y="85"/>
                      <a:pt x="17" y="85"/>
                    </a:cubicBezTo>
                    <a:cubicBezTo>
                      <a:pt x="17" y="84"/>
                      <a:pt x="17" y="84"/>
                      <a:pt x="17" y="84"/>
                    </a:cubicBezTo>
                    <a:cubicBezTo>
                      <a:pt x="18" y="84"/>
                      <a:pt x="18" y="83"/>
                      <a:pt x="18" y="82"/>
                    </a:cubicBezTo>
                    <a:cubicBezTo>
                      <a:pt x="18" y="81"/>
                      <a:pt x="18" y="81"/>
                      <a:pt x="18" y="80"/>
                    </a:cubicBezTo>
                    <a:cubicBezTo>
                      <a:pt x="18" y="80"/>
                      <a:pt x="18" y="80"/>
                      <a:pt x="18" y="80"/>
                    </a:cubicBezTo>
                    <a:cubicBezTo>
                      <a:pt x="18" y="79"/>
                      <a:pt x="18" y="78"/>
                      <a:pt x="19" y="78"/>
                    </a:cubicBezTo>
                    <a:cubicBezTo>
                      <a:pt x="19" y="77"/>
                      <a:pt x="19" y="77"/>
                      <a:pt x="19" y="77"/>
                    </a:cubicBezTo>
                    <a:cubicBezTo>
                      <a:pt x="19" y="77"/>
                      <a:pt x="19" y="77"/>
                      <a:pt x="19" y="77"/>
                    </a:cubicBezTo>
                    <a:cubicBezTo>
                      <a:pt x="19" y="77"/>
                      <a:pt x="19" y="77"/>
                      <a:pt x="19" y="76"/>
                    </a:cubicBezTo>
                    <a:cubicBezTo>
                      <a:pt x="19" y="76"/>
                      <a:pt x="19" y="76"/>
                      <a:pt x="19" y="76"/>
                    </a:cubicBezTo>
                    <a:cubicBezTo>
                      <a:pt x="19" y="76"/>
                      <a:pt x="19" y="76"/>
                      <a:pt x="19" y="76"/>
                    </a:cubicBezTo>
                    <a:cubicBezTo>
                      <a:pt x="20" y="75"/>
                      <a:pt x="20" y="75"/>
                      <a:pt x="21" y="74"/>
                    </a:cubicBezTo>
                    <a:cubicBezTo>
                      <a:pt x="22" y="74"/>
                      <a:pt x="22" y="74"/>
                      <a:pt x="23" y="74"/>
                    </a:cubicBezTo>
                    <a:cubicBezTo>
                      <a:pt x="23" y="72"/>
                      <a:pt x="23" y="72"/>
                      <a:pt x="23" y="72"/>
                    </a:cubicBezTo>
                    <a:cubicBezTo>
                      <a:pt x="24" y="74"/>
                      <a:pt x="24" y="74"/>
                      <a:pt x="24" y="74"/>
                    </a:cubicBezTo>
                    <a:cubicBezTo>
                      <a:pt x="24" y="74"/>
                      <a:pt x="24" y="74"/>
                      <a:pt x="24" y="74"/>
                    </a:cubicBezTo>
                    <a:cubicBezTo>
                      <a:pt x="25" y="73"/>
                      <a:pt x="25" y="73"/>
                      <a:pt x="26" y="73"/>
                    </a:cubicBezTo>
                    <a:cubicBezTo>
                      <a:pt x="28" y="73"/>
                      <a:pt x="30" y="73"/>
                      <a:pt x="33" y="73"/>
                    </a:cubicBezTo>
                    <a:cubicBezTo>
                      <a:pt x="33" y="73"/>
                      <a:pt x="33" y="73"/>
                      <a:pt x="34" y="73"/>
                    </a:cubicBezTo>
                    <a:cubicBezTo>
                      <a:pt x="34" y="73"/>
                      <a:pt x="34" y="73"/>
                      <a:pt x="34" y="73"/>
                    </a:cubicBezTo>
                    <a:cubicBezTo>
                      <a:pt x="35" y="73"/>
                      <a:pt x="35" y="73"/>
                      <a:pt x="35" y="73"/>
                    </a:cubicBezTo>
                    <a:cubicBezTo>
                      <a:pt x="36" y="73"/>
                      <a:pt x="36" y="73"/>
                      <a:pt x="36" y="73"/>
                    </a:cubicBezTo>
                    <a:cubicBezTo>
                      <a:pt x="36" y="73"/>
                      <a:pt x="36" y="73"/>
                      <a:pt x="36" y="73"/>
                    </a:cubicBezTo>
                    <a:cubicBezTo>
                      <a:pt x="38" y="73"/>
                      <a:pt x="38" y="73"/>
                      <a:pt x="39" y="73"/>
                    </a:cubicBezTo>
                    <a:cubicBezTo>
                      <a:pt x="39" y="73"/>
                      <a:pt x="39" y="73"/>
                      <a:pt x="39" y="73"/>
                    </a:cubicBezTo>
                    <a:cubicBezTo>
                      <a:pt x="39" y="73"/>
                      <a:pt x="39" y="73"/>
                      <a:pt x="39" y="73"/>
                    </a:cubicBezTo>
                    <a:cubicBezTo>
                      <a:pt x="40" y="73"/>
                      <a:pt x="40" y="73"/>
                      <a:pt x="40" y="73"/>
                    </a:cubicBezTo>
                    <a:cubicBezTo>
                      <a:pt x="40" y="73"/>
                      <a:pt x="40" y="72"/>
                      <a:pt x="40" y="72"/>
                    </a:cubicBezTo>
                    <a:cubicBezTo>
                      <a:pt x="40" y="72"/>
                      <a:pt x="40" y="71"/>
                      <a:pt x="40" y="71"/>
                    </a:cubicBezTo>
                    <a:cubicBezTo>
                      <a:pt x="40" y="71"/>
                      <a:pt x="40" y="71"/>
                      <a:pt x="40" y="71"/>
                    </a:cubicBezTo>
                    <a:cubicBezTo>
                      <a:pt x="40" y="70"/>
                      <a:pt x="40" y="70"/>
                      <a:pt x="40" y="70"/>
                    </a:cubicBezTo>
                    <a:cubicBezTo>
                      <a:pt x="40" y="69"/>
                      <a:pt x="40" y="69"/>
                      <a:pt x="40" y="69"/>
                    </a:cubicBezTo>
                    <a:cubicBezTo>
                      <a:pt x="40" y="69"/>
                      <a:pt x="40" y="69"/>
                      <a:pt x="40" y="69"/>
                    </a:cubicBezTo>
                    <a:cubicBezTo>
                      <a:pt x="40" y="69"/>
                      <a:pt x="40" y="69"/>
                      <a:pt x="40" y="69"/>
                    </a:cubicBezTo>
                    <a:cubicBezTo>
                      <a:pt x="39" y="68"/>
                      <a:pt x="39" y="68"/>
                      <a:pt x="39" y="67"/>
                    </a:cubicBezTo>
                    <a:cubicBezTo>
                      <a:pt x="39" y="67"/>
                      <a:pt x="39" y="66"/>
                      <a:pt x="39" y="66"/>
                    </a:cubicBezTo>
                    <a:cubicBezTo>
                      <a:pt x="40" y="66"/>
                      <a:pt x="41" y="66"/>
                      <a:pt x="41" y="66"/>
                    </a:cubicBezTo>
                    <a:cubicBezTo>
                      <a:pt x="41" y="66"/>
                      <a:pt x="41" y="66"/>
                      <a:pt x="41" y="66"/>
                    </a:cubicBezTo>
                    <a:cubicBezTo>
                      <a:pt x="41" y="66"/>
                      <a:pt x="42" y="66"/>
                      <a:pt x="42" y="66"/>
                    </a:cubicBezTo>
                    <a:cubicBezTo>
                      <a:pt x="42" y="65"/>
                      <a:pt x="42" y="65"/>
                      <a:pt x="42" y="65"/>
                    </a:cubicBezTo>
                    <a:cubicBezTo>
                      <a:pt x="43" y="64"/>
                      <a:pt x="43" y="64"/>
                      <a:pt x="43" y="64"/>
                    </a:cubicBezTo>
                    <a:cubicBezTo>
                      <a:pt x="43" y="63"/>
                      <a:pt x="43" y="63"/>
                      <a:pt x="44" y="62"/>
                    </a:cubicBezTo>
                    <a:cubicBezTo>
                      <a:pt x="44" y="62"/>
                      <a:pt x="44" y="62"/>
                      <a:pt x="44" y="62"/>
                    </a:cubicBezTo>
                    <a:cubicBezTo>
                      <a:pt x="44" y="61"/>
                      <a:pt x="45" y="61"/>
                      <a:pt x="45" y="60"/>
                    </a:cubicBezTo>
                    <a:cubicBezTo>
                      <a:pt x="47" y="59"/>
                      <a:pt x="48" y="58"/>
                      <a:pt x="50" y="58"/>
                    </a:cubicBezTo>
                    <a:cubicBezTo>
                      <a:pt x="50" y="58"/>
                      <a:pt x="50" y="58"/>
                      <a:pt x="51" y="58"/>
                    </a:cubicBezTo>
                    <a:cubicBezTo>
                      <a:pt x="51" y="58"/>
                      <a:pt x="51" y="58"/>
                      <a:pt x="51" y="58"/>
                    </a:cubicBezTo>
                    <a:cubicBezTo>
                      <a:pt x="51" y="58"/>
                      <a:pt x="51" y="58"/>
                      <a:pt x="51" y="58"/>
                    </a:cubicBezTo>
                    <a:cubicBezTo>
                      <a:pt x="51" y="58"/>
                      <a:pt x="51" y="58"/>
                      <a:pt x="52" y="58"/>
                    </a:cubicBezTo>
                    <a:cubicBezTo>
                      <a:pt x="52" y="58"/>
                      <a:pt x="52" y="58"/>
                      <a:pt x="52" y="58"/>
                    </a:cubicBezTo>
                    <a:cubicBezTo>
                      <a:pt x="53" y="58"/>
                      <a:pt x="53" y="58"/>
                      <a:pt x="53" y="58"/>
                    </a:cubicBezTo>
                    <a:cubicBezTo>
                      <a:pt x="53" y="58"/>
                      <a:pt x="53" y="58"/>
                      <a:pt x="53" y="58"/>
                    </a:cubicBezTo>
                    <a:cubicBezTo>
                      <a:pt x="54" y="58"/>
                      <a:pt x="54" y="58"/>
                      <a:pt x="54" y="58"/>
                    </a:cubicBezTo>
                    <a:cubicBezTo>
                      <a:pt x="54" y="59"/>
                      <a:pt x="54" y="59"/>
                      <a:pt x="54" y="59"/>
                    </a:cubicBezTo>
                    <a:cubicBezTo>
                      <a:pt x="54" y="59"/>
                      <a:pt x="55" y="59"/>
                      <a:pt x="55" y="59"/>
                    </a:cubicBezTo>
                    <a:cubicBezTo>
                      <a:pt x="55" y="59"/>
                      <a:pt x="56" y="59"/>
                      <a:pt x="56" y="60"/>
                    </a:cubicBezTo>
                    <a:cubicBezTo>
                      <a:pt x="60" y="63"/>
                      <a:pt x="60" y="63"/>
                      <a:pt x="60" y="63"/>
                    </a:cubicBezTo>
                    <a:cubicBezTo>
                      <a:pt x="60" y="64"/>
                      <a:pt x="61" y="64"/>
                      <a:pt x="61" y="64"/>
                    </a:cubicBezTo>
                    <a:cubicBezTo>
                      <a:pt x="61" y="64"/>
                      <a:pt x="61" y="64"/>
                      <a:pt x="61" y="64"/>
                    </a:cubicBezTo>
                    <a:cubicBezTo>
                      <a:pt x="62" y="64"/>
                      <a:pt x="62" y="64"/>
                      <a:pt x="62" y="65"/>
                    </a:cubicBezTo>
                    <a:cubicBezTo>
                      <a:pt x="62" y="65"/>
                      <a:pt x="63" y="65"/>
                      <a:pt x="63" y="65"/>
                    </a:cubicBezTo>
                    <a:cubicBezTo>
                      <a:pt x="64" y="65"/>
                      <a:pt x="64" y="65"/>
                      <a:pt x="65" y="65"/>
                    </a:cubicBezTo>
                    <a:cubicBezTo>
                      <a:pt x="65" y="65"/>
                      <a:pt x="65" y="65"/>
                      <a:pt x="65" y="65"/>
                    </a:cubicBezTo>
                    <a:cubicBezTo>
                      <a:pt x="66" y="65"/>
                      <a:pt x="66" y="66"/>
                      <a:pt x="67" y="66"/>
                    </a:cubicBezTo>
                    <a:cubicBezTo>
                      <a:pt x="67" y="66"/>
                      <a:pt x="67" y="66"/>
                      <a:pt x="67" y="66"/>
                    </a:cubicBezTo>
                    <a:cubicBezTo>
                      <a:pt x="68" y="66"/>
                      <a:pt x="68" y="66"/>
                      <a:pt x="68" y="66"/>
                    </a:cubicBezTo>
                    <a:cubicBezTo>
                      <a:pt x="68" y="66"/>
                      <a:pt x="68" y="66"/>
                      <a:pt x="68" y="66"/>
                    </a:cubicBezTo>
                    <a:cubicBezTo>
                      <a:pt x="68" y="66"/>
                      <a:pt x="68" y="66"/>
                      <a:pt x="68" y="66"/>
                    </a:cubicBezTo>
                    <a:cubicBezTo>
                      <a:pt x="68" y="66"/>
                      <a:pt x="69" y="66"/>
                      <a:pt x="69" y="66"/>
                    </a:cubicBezTo>
                    <a:cubicBezTo>
                      <a:pt x="70" y="66"/>
                      <a:pt x="70" y="66"/>
                      <a:pt x="70" y="66"/>
                    </a:cubicBezTo>
                    <a:cubicBezTo>
                      <a:pt x="70" y="67"/>
                      <a:pt x="71" y="67"/>
                      <a:pt x="72" y="67"/>
                    </a:cubicBezTo>
                    <a:cubicBezTo>
                      <a:pt x="72" y="67"/>
                      <a:pt x="73" y="67"/>
                      <a:pt x="73" y="67"/>
                    </a:cubicBezTo>
                    <a:cubicBezTo>
                      <a:pt x="74" y="67"/>
                      <a:pt x="75" y="67"/>
                      <a:pt x="76" y="67"/>
                    </a:cubicBezTo>
                    <a:cubicBezTo>
                      <a:pt x="77" y="67"/>
                      <a:pt x="77" y="67"/>
                      <a:pt x="77" y="67"/>
                    </a:cubicBezTo>
                    <a:cubicBezTo>
                      <a:pt x="77" y="67"/>
                      <a:pt x="77" y="67"/>
                      <a:pt x="77" y="67"/>
                    </a:cubicBezTo>
                    <a:cubicBezTo>
                      <a:pt x="77" y="67"/>
                      <a:pt x="77" y="67"/>
                      <a:pt x="77" y="67"/>
                    </a:cubicBezTo>
                    <a:cubicBezTo>
                      <a:pt x="78" y="67"/>
                      <a:pt x="79" y="68"/>
                      <a:pt x="79" y="68"/>
                    </a:cubicBezTo>
                    <a:cubicBezTo>
                      <a:pt x="80" y="67"/>
                      <a:pt x="80" y="67"/>
                      <a:pt x="80" y="67"/>
                    </a:cubicBezTo>
                    <a:cubicBezTo>
                      <a:pt x="80" y="66"/>
                      <a:pt x="81" y="66"/>
                      <a:pt x="81" y="65"/>
                    </a:cubicBezTo>
                    <a:cubicBezTo>
                      <a:pt x="81" y="65"/>
                      <a:pt x="81" y="65"/>
                      <a:pt x="81" y="65"/>
                    </a:cubicBezTo>
                    <a:cubicBezTo>
                      <a:pt x="81" y="65"/>
                      <a:pt x="81" y="64"/>
                      <a:pt x="81" y="64"/>
                    </a:cubicBezTo>
                    <a:cubicBezTo>
                      <a:pt x="82" y="64"/>
                      <a:pt x="82" y="64"/>
                      <a:pt x="82" y="64"/>
                    </a:cubicBezTo>
                    <a:cubicBezTo>
                      <a:pt x="82" y="64"/>
                      <a:pt x="82" y="63"/>
                      <a:pt x="83" y="62"/>
                    </a:cubicBezTo>
                    <a:cubicBezTo>
                      <a:pt x="83" y="62"/>
                      <a:pt x="83" y="62"/>
                      <a:pt x="83" y="62"/>
                    </a:cubicBezTo>
                    <a:cubicBezTo>
                      <a:pt x="83" y="62"/>
                      <a:pt x="83" y="62"/>
                      <a:pt x="83" y="62"/>
                    </a:cubicBezTo>
                    <a:cubicBezTo>
                      <a:pt x="84" y="62"/>
                      <a:pt x="84" y="62"/>
                      <a:pt x="84" y="62"/>
                    </a:cubicBezTo>
                    <a:cubicBezTo>
                      <a:pt x="84" y="62"/>
                      <a:pt x="84" y="62"/>
                      <a:pt x="84" y="62"/>
                    </a:cubicBezTo>
                    <a:cubicBezTo>
                      <a:pt x="84" y="61"/>
                      <a:pt x="84" y="61"/>
                      <a:pt x="84" y="61"/>
                    </a:cubicBezTo>
                    <a:cubicBezTo>
                      <a:pt x="84" y="61"/>
                      <a:pt x="84" y="61"/>
                      <a:pt x="84" y="61"/>
                    </a:cubicBezTo>
                    <a:cubicBezTo>
                      <a:pt x="84" y="61"/>
                      <a:pt x="84" y="61"/>
                      <a:pt x="85" y="61"/>
                    </a:cubicBezTo>
                    <a:cubicBezTo>
                      <a:pt x="85" y="61"/>
                      <a:pt x="85" y="61"/>
                      <a:pt x="85" y="61"/>
                    </a:cubicBezTo>
                    <a:cubicBezTo>
                      <a:pt x="85" y="61"/>
                      <a:pt x="85" y="61"/>
                      <a:pt x="85" y="61"/>
                    </a:cubicBezTo>
                    <a:cubicBezTo>
                      <a:pt x="85" y="61"/>
                      <a:pt x="86" y="61"/>
                      <a:pt x="86" y="61"/>
                    </a:cubicBezTo>
                    <a:cubicBezTo>
                      <a:pt x="86" y="61"/>
                      <a:pt x="87" y="62"/>
                      <a:pt x="88" y="62"/>
                    </a:cubicBezTo>
                    <a:cubicBezTo>
                      <a:pt x="88" y="63"/>
                      <a:pt x="89" y="63"/>
                      <a:pt x="89" y="63"/>
                    </a:cubicBezTo>
                    <a:cubicBezTo>
                      <a:pt x="90" y="63"/>
                      <a:pt x="91" y="63"/>
                      <a:pt x="92" y="62"/>
                    </a:cubicBezTo>
                    <a:cubicBezTo>
                      <a:pt x="92" y="62"/>
                      <a:pt x="92" y="62"/>
                      <a:pt x="93" y="62"/>
                    </a:cubicBezTo>
                    <a:cubicBezTo>
                      <a:pt x="98" y="59"/>
                      <a:pt x="98" y="59"/>
                      <a:pt x="98" y="59"/>
                    </a:cubicBezTo>
                    <a:cubicBezTo>
                      <a:pt x="98" y="59"/>
                      <a:pt x="98" y="59"/>
                      <a:pt x="99" y="59"/>
                    </a:cubicBezTo>
                    <a:cubicBezTo>
                      <a:pt x="99" y="59"/>
                      <a:pt x="99" y="59"/>
                      <a:pt x="99" y="59"/>
                    </a:cubicBezTo>
                    <a:cubicBezTo>
                      <a:pt x="99" y="59"/>
                      <a:pt x="100" y="59"/>
                      <a:pt x="100" y="58"/>
                    </a:cubicBezTo>
                    <a:cubicBezTo>
                      <a:pt x="100" y="58"/>
                      <a:pt x="100" y="58"/>
                      <a:pt x="100" y="58"/>
                    </a:cubicBezTo>
                    <a:cubicBezTo>
                      <a:pt x="100" y="58"/>
                      <a:pt x="101" y="58"/>
                      <a:pt x="101" y="58"/>
                    </a:cubicBezTo>
                    <a:cubicBezTo>
                      <a:pt x="101" y="58"/>
                      <a:pt x="101" y="58"/>
                      <a:pt x="101" y="58"/>
                    </a:cubicBezTo>
                    <a:cubicBezTo>
                      <a:pt x="101" y="58"/>
                      <a:pt x="101" y="58"/>
                      <a:pt x="101" y="58"/>
                    </a:cubicBezTo>
                    <a:cubicBezTo>
                      <a:pt x="102" y="58"/>
                      <a:pt x="102" y="58"/>
                      <a:pt x="102" y="58"/>
                    </a:cubicBezTo>
                    <a:cubicBezTo>
                      <a:pt x="102" y="58"/>
                      <a:pt x="102" y="59"/>
                      <a:pt x="102" y="59"/>
                    </a:cubicBezTo>
                    <a:cubicBezTo>
                      <a:pt x="103" y="59"/>
                      <a:pt x="103" y="59"/>
                      <a:pt x="104" y="60"/>
                    </a:cubicBezTo>
                    <a:cubicBezTo>
                      <a:pt x="104" y="60"/>
                      <a:pt x="104" y="60"/>
                      <a:pt x="105" y="60"/>
                    </a:cubicBezTo>
                    <a:cubicBezTo>
                      <a:pt x="105" y="60"/>
                      <a:pt x="105" y="60"/>
                      <a:pt x="105" y="60"/>
                    </a:cubicBezTo>
                    <a:cubicBezTo>
                      <a:pt x="105" y="60"/>
                      <a:pt x="105" y="59"/>
                      <a:pt x="106" y="59"/>
                    </a:cubicBezTo>
                    <a:cubicBezTo>
                      <a:pt x="106" y="59"/>
                      <a:pt x="106" y="59"/>
                      <a:pt x="107" y="59"/>
                    </a:cubicBezTo>
                    <a:cubicBezTo>
                      <a:pt x="107" y="59"/>
                      <a:pt x="108" y="59"/>
                      <a:pt x="108" y="59"/>
                    </a:cubicBezTo>
                    <a:cubicBezTo>
                      <a:pt x="108" y="58"/>
                      <a:pt x="108" y="58"/>
                      <a:pt x="109" y="57"/>
                    </a:cubicBezTo>
                    <a:cubicBezTo>
                      <a:pt x="109" y="56"/>
                      <a:pt x="109" y="56"/>
                      <a:pt x="110" y="56"/>
                    </a:cubicBezTo>
                    <a:cubicBezTo>
                      <a:pt x="110" y="56"/>
                      <a:pt x="110" y="56"/>
                      <a:pt x="110" y="56"/>
                    </a:cubicBezTo>
                    <a:cubicBezTo>
                      <a:pt x="110" y="56"/>
                      <a:pt x="111" y="55"/>
                      <a:pt x="111" y="55"/>
                    </a:cubicBezTo>
                    <a:cubicBezTo>
                      <a:pt x="111" y="55"/>
                      <a:pt x="111" y="55"/>
                      <a:pt x="111" y="55"/>
                    </a:cubicBezTo>
                    <a:cubicBezTo>
                      <a:pt x="111" y="55"/>
                      <a:pt x="112" y="55"/>
                      <a:pt x="112" y="55"/>
                    </a:cubicBezTo>
                    <a:cubicBezTo>
                      <a:pt x="112" y="55"/>
                      <a:pt x="112" y="55"/>
                      <a:pt x="112" y="55"/>
                    </a:cubicBezTo>
                    <a:cubicBezTo>
                      <a:pt x="113" y="55"/>
                      <a:pt x="113" y="56"/>
                      <a:pt x="113" y="56"/>
                    </a:cubicBezTo>
                    <a:cubicBezTo>
                      <a:pt x="114" y="56"/>
                      <a:pt x="114" y="56"/>
                      <a:pt x="114" y="56"/>
                    </a:cubicBezTo>
                    <a:cubicBezTo>
                      <a:pt x="115" y="57"/>
                      <a:pt x="115" y="57"/>
                      <a:pt x="115" y="57"/>
                    </a:cubicBezTo>
                    <a:cubicBezTo>
                      <a:pt x="115" y="57"/>
                      <a:pt x="115" y="57"/>
                      <a:pt x="115" y="57"/>
                    </a:cubicBezTo>
                    <a:cubicBezTo>
                      <a:pt x="115" y="57"/>
                      <a:pt x="115" y="57"/>
                      <a:pt x="116" y="57"/>
                    </a:cubicBezTo>
                    <a:cubicBezTo>
                      <a:pt x="116" y="57"/>
                      <a:pt x="116" y="57"/>
                      <a:pt x="116" y="57"/>
                    </a:cubicBezTo>
                    <a:cubicBezTo>
                      <a:pt x="116" y="57"/>
                      <a:pt x="116" y="57"/>
                      <a:pt x="116" y="57"/>
                    </a:cubicBezTo>
                    <a:cubicBezTo>
                      <a:pt x="117" y="57"/>
                      <a:pt x="118" y="57"/>
                      <a:pt x="119" y="57"/>
                    </a:cubicBezTo>
                    <a:cubicBezTo>
                      <a:pt x="119" y="57"/>
                      <a:pt x="120" y="57"/>
                      <a:pt x="121" y="58"/>
                    </a:cubicBezTo>
                    <a:cubicBezTo>
                      <a:pt x="121" y="58"/>
                      <a:pt x="121" y="58"/>
                      <a:pt x="122" y="58"/>
                    </a:cubicBezTo>
                    <a:cubicBezTo>
                      <a:pt x="122" y="58"/>
                      <a:pt x="122" y="58"/>
                      <a:pt x="122" y="58"/>
                    </a:cubicBezTo>
                    <a:cubicBezTo>
                      <a:pt x="122" y="58"/>
                      <a:pt x="122" y="58"/>
                      <a:pt x="122" y="58"/>
                    </a:cubicBezTo>
                    <a:cubicBezTo>
                      <a:pt x="122" y="59"/>
                      <a:pt x="122" y="59"/>
                      <a:pt x="122" y="59"/>
                    </a:cubicBezTo>
                    <a:cubicBezTo>
                      <a:pt x="122" y="58"/>
                      <a:pt x="122" y="58"/>
                      <a:pt x="122" y="58"/>
                    </a:cubicBezTo>
                    <a:cubicBezTo>
                      <a:pt x="122" y="58"/>
                      <a:pt x="122" y="58"/>
                      <a:pt x="122" y="58"/>
                    </a:cubicBezTo>
                    <a:cubicBezTo>
                      <a:pt x="122" y="58"/>
                      <a:pt x="123" y="58"/>
                      <a:pt x="123" y="58"/>
                    </a:cubicBezTo>
                    <a:cubicBezTo>
                      <a:pt x="123" y="58"/>
                      <a:pt x="123" y="58"/>
                      <a:pt x="124" y="58"/>
                    </a:cubicBezTo>
                    <a:cubicBezTo>
                      <a:pt x="124" y="58"/>
                      <a:pt x="124" y="58"/>
                      <a:pt x="124" y="58"/>
                    </a:cubicBezTo>
                    <a:cubicBezTo>
                      <a:pt x="124" y="58"/>
                      <a:pt x="124" y="58"/>
                      <a:pt x="124" y="58"/>
                    </a:cubicBezTo>
                    <a:cubicBezTo>
                      <a:pt x="126" y="57"/>
                      <a:pt x="127" y="57"/>
                      <a:pt x="128" y="57"/>
                    </a:cubicBezTo>
                    <a:cubicBezTo>
                      <a:pt x="129" y="57"/>
                      <a:pt x="129" y="57"/>
                      <a:pt x="129" y="57"/>
                    </a:cubicBezTo>
                    <a:cubicBezTo>
                      <a:pt x="129" y="57"/>
                      <a:pt x="129" y="57"/>
                      <a:pt x="128" y="56"/>
                    </a:cubicBezTo>
                    <a:cubicBezTo>
                      <a:pt x="128" y="56"/>
                      <a:pt x="128" y="56"/>
                      <a:pt x="128" y="55"/>
                    </a:cubicBezTo>
                    <a:cubicBezTo>
                      <a:pt x="128" y="55"/>
                      <a:pt x="128" y="55"/>
                      <a:pt x="128" y="55"/>
                    </a:cubicBezTo>
                    <a:cubicBezTo>
                      <a:pt x="128" y="54"/>
                      <a:pt x="126" y="53"/>
                      <a:pt x="126" y="53"/>
                    </a:cubicBezTo>
                    <a:cubicBezTo>
                      <a:pt x="125" y="52"/>
                      <a:pt x="124" y="51"/>
                      <a:pt x="123" y="51"/>
                    </a:cubicBezTo>
                    <a:cubicBezTo>
                      <a:pt x="122" y="51"/>
                      <a:pt x="122" y="51"/>
                      <a:pt x="122" y="51"/>
                    </a:cubicBezTo>
                    <a:cubicBezTo>
                      <a:pt x="122" y="51"/>
                      <a:pt x="121" y="50"/>
                      <a:pt x="120" y="50"/>
                    </a:cubicBezTo>
                    <a:cubicBezTo>
                      <a:pt x="120" y="50"/>
                      <a:pt x="120" y="50"/>
                      <a:pt x="120" y="50"/>
                    </a:cubicBezTo>
                    <a:cubicBezTo>
                      <a:pt x="120" y="50"/>
                      <a:pt x="120" y="50"/>
                      <a:pt x="120" y="50"/>
                    </a:cubicBezTo>
                    <a:cubicBezTo>
                      <a:pt x="120" y="50"/>
                      <a:pt x="120" y="50"/>
                      <a:pt x="120" y="49"/>
                    </a:cubicBezTo>
                    <a:cubicBezTo>
                      <a:pt x="120" y="49"/>
                      <a:pt x="119" y="49"/>
                      <a:pt x="119" y="48"/>
                    </a:cubicBezTo>
                    <a:cubicBezTo>
                      <a:pt x="119" y="48"/>
                      <a:pt x="119" y="48"/>
                      <a:pt x="119" y="48"/>
                    </a:cubicBezTo>
                    <a:cubicBezTo>
                      <a:pt x="119" y="48"/>
                      <a:pt x="119" y="47"/>
                      <a:pt x="119" y="47"/>
                    </a:cubicBezTo>
                    <a:cubicBezTo>
                      <a:pt x="118" y="46"/>
                      <a:pt x="118" y="46"/>
                      <a:pt x="118" y="45"/>
                    </a:cubicBezTo>
                    <a:cubicBezTo>
                      <a:pt x="118" y="45"/>
                      <a:pt x="118" y="45"/>
                      <a:pt x="119" y="44"/>
                    </a:cubicBezTo>
                    <a:cubicBezTo>
                      <a:pt x="119" y="44"/>
                      <a:pt x="119" y="44"/>
                      <a:pt x="119" y="44"/>
                    </a:cubicBezTo>
                    <a:cubicBezTo>
                      <a:pt x="119" y="44"/>
                      <a:pt x="119" y="44"/>
                      <a:pt x="119" y="44"/>
                    </a:cubicBezTo>
                    <a:cubicBezTo>
                      <a:pt x="110" y="35"/>
                      <a:pt x="110" y="35"/>
                      <a:pt x="110" y="35"/>
                    </a:cubicBezTo>
                    <a:cubicBezTo>
                      <a:pt x="109" y="35"/>
                      <a:pt x="108" y="34"/>
                      <a:pt x="108" y="33"/>
                    </a:cubicBezTo>
                    <a:cubicBezTo>
                      <a:pt x="108" y="33"/>
                      <a:pt x="108" y="33"/>
                      <a:pt x="108" y="32"/>
                    </a:cubicBezTo>
                    <a:cubicBezTo>
                      <a:pt x="108" y="32"/>
                      <a:pt x="108" y="32"/>
                      <a:pt x="108" y="32"/>
                    </a:cubicBezTo>
                    <a:cubicBezTo>
                      <a:pt x="108" y="32"/>
                      <a:pt x="108" y="32"/>
                      <a:pt x="108" y="32"/>
                    </a:cubicBezTo>
                    <a:cubicBezTo>
                      <a:pt x="108" y="32"/>
                      <a:pt x="108" y="32"/>
                      <a:pt x="108" y="32"/>
                    </a:cubicBezTo>
                    <a:cubicBezTo>
                      <a:pt x="108" y="32"/>
                      <a:pt x="108" y="32"/>
                      <a:pt x="107" y="31"/>
                    </a:cubicBezTo>
                    <a:cubicBezTo>
                      <a:pt x="107" y="31"/>
                      <a:pt x="107" y="31"/>
                      <a:pt x="107" y="31"/>
                    </a:cubicBezTo>
                    <a:cubicBezTo>
                      <a:pt x="107" y="31"/>
                      <a:pt x="107" y="31"/>
                      <a:pt x="107" y="31"/>
                    </a:cubicBezTo>
                    <a:cubicBezTo>
                      <a:pt x="106" y="30"/>
                      <a:pt x="105" y="29"/>
                      <a:pt x="104" y="29"/>
                    </a:cubicBezTo>
                    <a:cubicBezTo>
                      <a:pt x="103" y="29"/>
                      <a:pt x="103" y="29"/>
                      <a:pt x="102" y="28"/>
                    </a:cubicBezTo>
                    <a:cubicBezTo>
                      <a:pt x="100" y="28"/>
                      <a:pt x="100" y="28"/>
                      <a:pt x="100" y="28"/>
                    </a:cubicBezTo>
                    <a:cubicBezTo>
                      <a:pt x="99" y="28"/>
                      <a:pt x="98" y="28"/>
                      <a:pt x="98" y="27"/>
                    </a:cubicBezTo>
                    <a:cubicBezTo>
                      <a:pt x="97" y="27"/>
                      <a:pt x="97" y="26"/>
                      <a:pt x="97" y="25"/>
                    </a:cubicBezTo>
                    <a:cubicBezTo>
                      <a:pt x="97" y="25"/>
                      <a:pt x="97" y="25"/>
                      <a:pt x="97" y="24"/>
                    </a:cubicBezTo>
                    <a:cubicBezTo>
                      <a:pt x="97" y="24"/>
                      <a:pt x="97" y="24"/>
                      <a:pt x="97" y="24"/>
                    </a:cubicBezTo>
                    <a:cubicBezTo>
                      <a:pt x="97" y="24"/>
                      <a:pt x="96" y="23"/>
                      <a:pt x="96" y="23"/>
                    </a:cubicBezTo>
                    <a:cubicBezTo>
                      <a:pt x="95" y="23"/>
                      <a:pt x="95" y="23"/>
                      <a:pt x="95" y="23"/>
                    </a:cubicBezTo>
                    <a:cubicBezTo>
                      <a:pt x="95" y="23"/>
                      <a:pt x="95" y="23"/>
                      <a:pt x="94" y="23"/>
                    </a:cubicBezTo>
                    <a:cubicBezTo>
                      <a:pt x="94" y="23"/>
                      <a:pt x="94" y="23"/>
                      <a:pt x="94" y="23"/>
                    </a:cubicBezTo>
                    <a:cubicBezTo>
                      <a:pt x="93" y="23"/>
                      <a:pt x="93" y="23"/>
                      <a:pt x="93" y="23"/>
                    </a:cubicBezTo>
                    <a:cubicBezTo>
                      <a:pt x="93" y="23"/>
                      <a:pt x="93" y="23"/>
                      <a:pt x="92" y="23"/>
                    </a:cubicBezTo>
                    <a:cubicBezTo>
                      <a:pt x="92" y="23"/>
                      <a:pt x="92" y="23"/>
                      <a:pt x="92" y="23"/>
                    </a:cubicBezTo>
                    <a:cubicBezTo>
                      <a:pt x="92" y="23"/>
                      <a:pt x="92" y="23"/>
                      <a:pt x="92" y="23"/>
                    </a:cubicBezTo>
                    <a:cubicBezTo>
                      <a:pt x="91" y="24"/>
                      <a:pt x="91" y="24"/>
                      <a:pt x="91" y="24"/>
                    </a:cubicBezTo>
                    <a:cubicBezTo>
                      <a:pt x="90" y="23"/>
                      <a:pt x="90" y="23"/>
                      <a:pt x="90" y="23"/>
                    </a:cubicBezTo>
                    <a:cubicBezTo>
                      <a:pt x="90" y="22"/>
                      <a:pt x="90" y="21"/>
                      <a:pt x="90" y="20"/>
                    </a:cubicBezTo>
                    <a:cubicBezTo>
                      <a:pt x="90" y="19"/>
                      <a:pt x="90" y="19"/>
                      <a:pt x="90" y="19"/>
                    </a:cubicBezTo>
                    <a:cubicBezTo>
                      <a:pt x="89" y="18"/>
                      <a:pt x="89" y="18"/>
                      <a:pt x="90" y="17"/>
                    </a:cubicBezTo>
                    <a:cubicBezTo>
                      <a:pt x="91" y="16"/>
                      <a:pt x="91" y="16"/>
                      <a:pt x="91" y="16"/>
                    </a:cubicBezTo>
                    <a:cubicBezTo>
                      <a:pt x="91" y="16"/>
                      <a:pt x="91" y="16"/>
                      <a:pt x="91" y="16"/>
                    </a:cubicBezTo>
                    <a:cubicBezTo>
                      <a:pt x="91" y="16"/>
                      <a:pt x="91" y="16"/>
                      <a:pt x="91" y="16"/>
                    </a:cubicBezTo>
                    <a:cubicBezTo>
                      <a:pt x="91" y="15"/>
                      <a:pt x="91" y="15"/>
                      <a:pt x="91" y="15"/>
                    </a:cubicBezTo>
                    <a:cubicBezTo>
                      <a:pt x="91" y="14"/>
                      <a:pt x="91" y="14"/>
                      <a:pt x="91" y="13"/>
                    </a:cubicBezTo>
                    <a:cubicBezTo>
                      <a:pt x="91" y="13"/>
                      <a:pt x="91" y="13"/>
                      <a:pt x="91" y="13"/>
                    </a:cubicBezTo>
                    <a:cubicBezTo>
                      <a:pt x="92" y="13"/>
                      <a:pt x="92" y="12"/>
                      <a:pt x="92" y="12"/>
                    </a:cubicBezTo>
                    <a:cubicBezTo>
                      <a:pt x="92" y="11"/>
                      <a:pt x="90" y="9"/>
                      <a:pt x="90" y="8"/>
                    </a:cubicBezTo>
                    <a:cubicBezTo>
                      <a:pt x="89" y="8"/>
                      <a:pt x="89" y="7"/>
                      <a:pt x="88" y="6"/>
                    </a:cubicBezTo>
                    <a:cubicBezTo>
                      <a:pt x="88" y="6"/>
                      <a:pt x="88" y="6"/>
                      <a:pt x="88" y="6"/>
                    </a:cubicBezTo>
                    <a:cubicBezTo>
                      <a:pt x="87" y="5"/>
                      <a:pt x="87" y="4"/>
                      <a:pt x="86" y="4"/>
                    </a:cubicBezTo>
                    <a:cubicBezTo>
                      <a:pt x="84" y="0"/>
                      <a:pt x="84" y="0"/>
                      <a:pt x="84" y="0"/>
                    </a:cubicBezTo>
                    <a:cubicBezTo>
                      <a:pt x="83" y="0"/>
                      <a:pt x="83" y="0"/>
                      <a:pt x="83" y="0"/>
                    </a:cubicBezTo>
                    <a:cubicBezTo>
                      <a:pt x="82" y="0"/>
                      <a:pt x="82" y="0"/>
                      <a:pt x="82" y="0"/>
                    </a:cubicBezTo>
                    <a:cubicBezTo>
                      <a:pt x="81" y="0"/>
                      <a:pt x="80" y="0"/>
                      <a:pt x="80" y="0"/>
                    </a:cubicBezTo>
                    <a:cubicBezTo>
                      <a:pt x="80" y="0"/>
                      <a:pt x="80" y="0"/>
                      <a:pt x="80" y="0"/>
                    </a:cubicBezTo>
                    <a:cubicBezTo>
                      <a:pt x="79" y="0"/>
                      <a:pt x="79" y="1"/>
                      <a:pt x="78" y="1"/>
                    </a:cubicBezTo>
                    <a:cubicBezTo>
                      <a:pt x="77" y="1"/>
                      <a:pt x="75" y="2"/>
                      <a:pt x="74" y="3"/>
                    </a:cubicBezTo>
                    <a:cubicBezTo>
                      <a:pt x="74" y="3"/>
                      <a:pt x="74" y="3"/>
                      <a:pt x="74" y="3"/>
                    </a:cubicBezTo>
                    <a:cubicBezTo>
                      <a:pt x="74" y="3"/>
                      <a:pt x="74" y="3"/>
                      <a:pt x="74" y="3"/>
                    </a:cubicBezTo>
                    <a:cubicBezTo>
                      <a:pt x="74" y="3"/>
                      <a:pt x="74" y="3"/>
                      <a:pt x="74" y="3"/>
                    </a:cubicBezTo>
                    <a:cubicBezTo>
                      <a:pt x="74" y="4"/>
                      <a:pt x="74" y="5"/>
                      <a:pt x="74" y="5"/>
                    </a:cubicBezTo>
                    <a:cubicBezTo>
                      <a:pt x="67" y="13"/>
                      <a:pt x="67" y="13"/>
                      <a:pt x="67" y="13"/>
                    </a:cubicBezTo>
                    <a:cubicBezTo>
                      <a:pt x="65" y="15"/>
                      <a:pt x="63" y="17"/>
                      <a:pt x="61" y="18"/>
                    </a:cubicBezTo>
                    <a:cubicBezTo>
                      <a:pt x="60" y="19"/>
                      <a:pt x="59" y="19"/>
                      <a:pt x="58" y="19"/>
                    </a:cubicBezTo>
                    <a:cubicBezTo>
                      <a:pt x="57" y="20"/>
                      <a:pt x="55" y="20"/>
                      <a:pt x="54" y="20"/>
                    </a:cubicBezTo>
                    <a:cubicBezTo>
                      <a:pt x="53" y="20"/>
                      <a:pt x="53" y="20"/>
                      <a:pt x="53" y="20"/>
                    </a:cubicBezTo>
                    <a:cubicBezTo>
                      <a:pt x="52" y="20"/>
                      <a:pt x="49" y="20"/>
                      <a:pt x="47" y="20"/>
                    </a:cubicBezTo>
                    <a:cubicBezTo>
                      <a:pt x="47" y="22"/>
                      <a:pt x="47" y="22"/>
                      <a:pt x="47" y="22"/>
                    </a:cubicBezTo>
                    <a:cubicBezTo>
                      <a:pt x="46" y="20"/>
                      <a:pt x="46" y="20"/>
                      <a:pt x="46" y="20"/>
                    </a:cubicBezTo>
                    <a:cubicBezTo>
                      <a:pt x="46" y="21"/>
                      <a:pt x="46" y="21"/>
                      <a:pt x="46" y="21"/>
                    </a:cubicBezTo>
                    <a:cubicBezTo>
                      <a:pt x="46" y="21"/>
                      <a:pt x="46" y="21"/>
                      <a:pt x="46" y="21"/>
                    </a:cubicBezTo>
                    <a:cubicBezTo>
                      <a:pt x="46" y="21"/>
                      <a:pt x="46" y="21"/>
                      <a:pt x="46" y="21"/>
                    </a:cubicBezTo>
                    <a:cubicBezTo>
                      <a:pt x="46" y="21"/>
                      <a:pt x="47" y="22"/>
                      <a:pt x="47" y="23"/>
                    </a:cubicBezTo>
                    <a:cubicBezTo>
                      <a:pt x="47" y="23"/>
                      <a:pt x="47" y="24"/>
                      <a:pt x="47" y="24"/>
                    </a:cubicBezTo>
                    <a:cubicBezTo>
                      <a:pt x="47" y="24"/>
                      <a:pt x="46" y="24"/>
                      <a:pt x="46" y="25"/>
                    </a:cubicBezTo>
                    <a:cubicBezTo>
                      <a:pt x="46" y="25"/>
                      <a:pt x="46" y="25"/>
                      <a:pt x="4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1" name="Freeform 3053">
                <a:extLst>
                  <a:ext uri="{FF2B5EF4-FFF2-40B4-BE49-F238E27FC236}">
                    <a16:creationId xmlns:a16="http://schemas.microsoft.com/office/drawing/2014/main" id="{CB1FD217-FB72-4424-AB8C-4CA238CF19A3}"/>
                  </a:ext>
                </a:extLst>
              </p:cNvPr>
              <p:cNvSpPr>
                <a:spLocks/>
              </p:cNvSpPr>
              <p:nvPr/>
            </p:nvSpPr>
            <p:spPr bwMode="auto">
              <a:xfrm>
                <a:off x="3821" y="2691"/>
                <a:ext cx="177" cy="204"/>
              </a:xfrm>
              <a:custGeom>
                <a:avLst/>
                <a:gdLst>
                  <a:gd name="T0" fmla="*/ 11 w 75"/>
                  <a:gd name="T1" fmla="*/ 83 h 86"/>
                  <a:gd name="T2" fmla="*/ 15 w 75"/>
                  <a:gd name="T3" fmla="*/ 80 h 86"/>
                  <a:gd name="T4" fmla="*/ 20 w 75"/>
                  <a:gd name="T5" fmla="*/ 83 h 86"/>
                  <a:gd name="T6" fmla="*/ 22 w 75"/>
                  <a:gd name="T7" fmla="*/ 84 h 86"/>
                  <a:gd name="T8" fmla="*/ 24 w 75"/>
                  <a:gd name="T9" fmla="*/ 82 h 86"/>
                  <a:gd name="T10" fmla="*/ 26 w 75"/>
                  <a:gd name="T11" fmla="*/ 81 h 86"/>
                  <a:gd name="T12" fmla="*/ 30 w 75"/>
                  <a:gd name="T13" fmla="*/ 80 h 86"/>
                  <a:gd name="T14" fmla="*/ 33 w 75"/>
                  <a:gd name="T15" fmla="*/ 82 h 86"/>
                  <a:gd name="T16" fmla="*/ 34 w 75"/>
                  <a:gd name="T17" fmla="*/ 85 h 86"/>
                  <a:gd name="T18" fmla="*/ 41 w 75"/>
                  <a:gd name="T19" fmla="*/ 79 h 86"/>
                  <a:gd name="T20" fmla="*/ 49 w 75"/>
                  <a:gd name="T21" fmla="*/ 71 h 86"/>
                  <a:gd name="T22" fmla="*/ 49 w 75"/>
                  <a:gd name="T23" fmla="*/ 69 h 86"/>
                  <a:gd name="T24" fmla="*/ 48 w 75"/>
                  <a:gd name="T25" fmla="*/ 68 h 86"/>
                  <a:gd name="T26" fmla="*/ 49 w 75"/>
                  <a:gd name="T27" fmla="*/ 62 h 86"/>
                  <a:gd name="T28" fmla="*/ 50 w 75"/>
                  <a:gd name="T29" fmla="*/ 57 h 86"/>
                  <a:gd name="T30" fmla="*/ 56 w 75"/>
                  <a:gd name="T31" fmla="*/ 48 h 86"/>
                  <a:gd name="T32" fmla="*/ 61 w 75"/>
                  <a:gd name="T33" fmla="*/ 45 h 86"/>
                  <a:gd name="T34" fmla="*/ 67 w 75"/>
                  <a:gd name="T35" fmla="*/ 33 h 86"/>
                  <a:gd name="T36" fmla="*/ 66 w 75"/>
                  <a:gd name="T37" fmla="*/ 28 h 86"/>
                  <a:gd name="T38" fmla="*/ 68 w 75"/>
                  <a:gd name="T39" fmla="*/ 20 h 86"/>
                  <a:gd name="T40" fmla="*/ 70 w 75"/>
                  <a:gd name="T41" fmla="*/ 11 h 86"/>
                  <a:gd name="T42" fmla="*/ 70 w 75"/>
                  <a:gd name="T43" fmla="*/ 10 h 86"/>
                  <a:gd name="T44" fmla="*/ 68 w 75"/>
                  <a:gd name="T45" fmla="*/ 0 h 86"/>
                  <a:gd name="T46" fmla="*/ 58 w 75"/>
                  <a:gd name="T47" fmla="*/ 1 h 86"/>
                  <a:gd name="T48" fmla="*/ 55 w 75"/>
                  <a:gd name="T49" fmla="*/ 3 h 86"/>
                  <a:gd name="T50" fmla="*/ 54 w 75"/>
                  <a:gd name="T51" fmla="*/ 8 h 86"/>
                  <a:gd name="T52" fmla="*/ 50 w 75"/>
                  <a:gd name="T53" fmla="*/ 17 h 86"/>
                  <a:gd name="T54" fmla="*/ 48 w 75"/>
                  <a:gd name="T55" fmla="*/ 20 h 86"/>
                  <a:gd name="T56" fmla="*/ 44 w 75"/>
                  <a:gd name="T57" fmla="*/ 18 h 86"/>
                  <a:gd name="T58" fmla="*/ 40 w 75"/>
                  <a:gd name="T59" fmla="*/ 17 h 86"/>
                  <a:gd name="T60" fmla="*/ 34 w 75"/>
                  <a:gd name="T61" fmla="*/ 15 h 86"/>
                  <a:gd name="T62" fmla="*/ 22 w 75"/>
                  <a:gd name="T63" fmla="*/ 16 h 86"/>
                  <a:gd name="T64" fmla="*/ 21 w 75"/>
                  <a:gd name="T65" fmla="*/ 18 h 86"/>
                  <a:gd name="T66" fmla="*/ 25 w 75"/>
                  <a:gd name="T67" fmla="*/ 21 h 86"/>
                  <a:gd name="T68" fmla="*/ 27 w 75"/>
                  <a:gd name="T69" fmla="*/ 21 h 86"/>
                  <a:gd name="T70" fmla="*/ 29 w 75"/>
                  <a:gd name="T71" fmla="*/ 21 h 86"/>
                  <a:gd name="T72" fmla="*/ 33 w 75"/>
                  <a:gd name="T73" fmla="*/ 29 h 86"/>
                  <a:gd name="T74" fmla="*/ 29 w 75"/>
                  <a:gd name="T75" fmla="*/ 35 h 86"/>
                  <a:gd name="T76" fmla="*/ 28 w 75"/>
                  <a:gd name="T77" fmla="*/ 38 h 86"/>
                  <a:gd name="T78" fmla="*/ 34 w 75"/>
                  <a:gd name="T79" fmla="*/ 45 h 86"/>
                  <a:gd name="T80" fmla="*/ 34 w 75"/>
                  <a:gd name="T81" fmla="*/ 48 h 86"/>
                  <a:gd name="T82" fmla="*/ 34 w 75"/>
                  <a:gd name="T83" fmla="*/ 51 h 86"/>
                  <a:gd name="T84" fmla="*/ 32 w 75"/>
                  <a:gd name="T85" fmla="*/ 58 h 86"/>
                  <a:gd name="T86" fmla="*/ 25 w 75"/>
                  <a:gd name="T87" fmla="*/ 62 h 86"/>
                  <a:gd name="T88" fmla="*/ 25 w 75"/>
                  <a:gd name="T89" fmla="*/ 61 h 86"/>
                  <a:gd name="T90" fmla="*/ 18 w 75"/>
                  <a:gd name="T91" fmla="*/ 62 h 86"/>
                  <a:gd name="T92" fmla="*/ 15 w 75"/>
                  <a:gd name="T93" fmla="*/ 57 h 86"/>
                  <a:gd name="T94" fmla="*/ 13 w 75"/>
                  <a:gd name="T95" fmla="*/ 57 h 86"/>
                  <a:gd name="T96" fmla="*/ 8 w 75"/>
                  <a:gd name="T97" fmla="*/ 62 h 86"/>
                  <a:gd name="T98" fmla="*/ 7 w 75"/>
                  <a:gd name="T99" fmla="*/ 62 h 86"/>
                  <a:gd name="T100" fmla="*/ 5 w 75"/>
                  <a:gd name="T101" fmla="*/ 64 h 86"/>
                  <a:gd name="T102" fmla="*/ 6 w 75"/>
                  <a:gd name="T103" fmla="*/ 66 h 86"/>
                  <a:gd name="T104" fmla="*/ 6 w 75"/>
                  <a:gd name="T105" fmla="*/ 68 h 86"/>
                  <a:gd name="T106" fmla="*/ 8 w 75"/>
                  <a:gd name="T107" fmla="*/ 71 h 86"/>
                  <a:gd name="T108" fmla="*/ 8 w 75"/>
                  <a:gd name="T109" fmla="*/ 72 h 86"/>
                  <a:gd name="T110" fmla="*/ 8 w 75"/>
                  <a:gd name="T111" fmla="*/ 74 h 86"/>
                  <a:gd name="T112" fmla="*/ 4 w 75"/>
                  <a:gd name="T113" fmla="*/ 74 h 86"/>
                  <a:gd name="T114" fmla="*/ 2 w 75"/>
                  <a:gd name="T115" fmla="*/ 74 h 86"/>
                  <a:gd name="T116" fmla="*/ 0 w 75"/>
                  <a:gd name="T117" fmla="*/ 77 h 86"/>
                  <a:gd name="T118" fmla="*/ 8 w 75"/>
                  <a:gd name="T1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 h="86">
                    <a:moveTo>
                      <a:pt x="8" y="86"/>
                    </a:moveTo>
                    <a:cubicBezTo>
                      <a:pt x="8" y="86"/>
                      <a:pt x="9" y="85"/>
                      <a:pt x="9" y="85"/>
                    </a:cubicBezTo>
                    <a:cubicBezTo>
                      <a:pt x="9" y="84"/>
                      <a:pt x="9" y="84"/>
                      <a:pt x="9" y="84"/>
                    </a:cubicBezTo>
                    <a:cubicBezTo>
                      <a:pt x="10" y="84"/>
                      <a:pt x="11" y="83"/>
                      <a:pt x="11" y="83"/>
                    </a:cubicBezTo>
                    <a:cubicBezTo>
                      <a:pt x="12" y="83"/>
                      <a:pt x="12" y="83"/>
                      <a:pt x="12" y="83"/>
                    </a:cubicBezTo>
                    <a:cubicBezTo>
                      <a:pt x="12" y="82"/>
                      <a:pt x="13" y="82"/>
                      <a:pt x="14" y="81"/>
                    </a:cubicBezTo>
                    <a:cubicBezTo>
                      <a:pt x="13" y="79"/>
                      <a:pt x="13" y="79"/>
                      <a:pt x="13" y="79"/>
                    </a:cubicBezTo>
                    <a:cubicBezTo>
                      <a:pt x="15" y="80"/>
                      <a:pt x="15" y="80"/>
                      <a:pt x="15" y="80"/>
                    </a:cubicBezTo>
                    <a:cubicBezTo>
                      <a:pt x="15" y="79"/>
                      <a:pt x="15" y="79"/>
                      <a:pt x="15" y="79"/>
                    </a:cubicBezTo>
                    <a:cubicBezTo>
                      <a:pt x="17" y="81"/>
                      <a:pt x="17" y="81"/>
                      <a:pt x="17" y="81"/>
                    </a:cubicBezTo>
                    <a:cubicBezTo>
                      <a:pt x="18" y="82"/>
                      <a:pt x="18" y="82"/>
                      <a:pt x="19" y="82"/>
                    </a:cubicBezTo>
                    <a:cubicBezTo>
                      <a:pt x="20" y="83"/>
                      <a:pt x="20" y="83"/>
                      <a:pt x="20" y="83"/>
                    </a:cubicBezTo>
                    <a:cubicBezTo>
                      <a:pt x="21" y="84"/>
                      <a:pt x="21" y="84"/>
                      <a:pt x="21" y="84"/>
                    </a:cubicBezTo>
                    <a:cubicBezTo>
                      <a:pt x="21" y="84"/>
                      <a:pt x="21" y="84"/>
                      <a:pt x="21" y="84"/>
                    </a:cubicBezTo>
                    <a:cubicBezTo>
                      <a:pt x="21" y="84"/>
                      <a:pt x="21" y="84"/>
                      <a:pt x="21" y="84"/>
                    </a:cubicBezTo>
                    <a:cubicBezTo>
                      <a:pt x="21" y="84"/>
                      <a:pt x="21" y="84"/>
                      <a:pt x="22" y="84"/>
                    </a:cubicBezTo>
                    <a:cubicBezTo>
                      <a:pt x="22" y="85"/>
                      <a:pt x="22" y="85"/>
                      <a:pt x="22" y="85"/>
                    </a:cubicBezTo>
                    <a:cubicBezTo>
                      <a:pt x="22" y="85"/>
                      <a:pt x="22" y="85"/>
                      <a:pt x="22" y="84"/>
                    </a:cubicBezTo>
                    <a:cubicBezTo>
                      <a:pt x="23" y="84"/>
                      <a:pt x="23" y="83"/>
                      <a:pt x="24" y="83"/>
                    </a:cubicBezTo>
                    <a:cubicBezTo>
                      <a:pt x="24" y="82"/>
                      <a:pt x="24" y="82"/>
                      <a:pt x="24" y="82"/>
                    </a:cubicBezTo>
                    <a:cubicBezTo>
                      <a:pt x="24" y="82"/>
                      <a:pt x="24" y="82"/>
                      <a:pt x="24" y="82"/>
                    </a:cubicBezTo>
                    <a:cubicBezTo>
                      <a:pt x="24" y="81"/>
                      <a:pt x="24" y="81"/>
                      <a:pt x="24" y="81"/>
                    </a:cubicBezTo>
                    <a:cubicBezTo>
                      <a:pt x="25" y="81"/>
                      <a:pt x="25" y="81"/>
                      <a:pt x="25" y="81"/>
                    </a:cubicBezTo>
                    <a:cubicBezTo>
                      <a:pt x="25" y="81"/>
                      <a:pt x="26" y="81"/>
                      <a:pt x="26" y="81"/>
                    </a:cubicBezTo>
                    <a:cubicBezTo>
                      <a:pt x="27" y="81"/>
                      <a:pt x="27" y="81"/>
                      <a:pt x="27" y="81"/>
                    </a:cubicBezTo>
                    <a:cubicBezTo>
                      <a:pt x="28" y="80"/>
                      <a:pt x="28" y="80"/>
                      <a:pt x="28" y="80"/>
                    </a:cubicBezTo>
                    <a:cubicBezTo>
                      <a:pt x="29" y="80"/>
                      <a:pt x="29" y="80"/>
                      <a:pt x="29" y="80"/>
                    </a:cubicBezTo>
                    <a:cubicBezTo>
                      <a:pt x="30" y="80"/>
                      <a:pt x="30" y="80"/>
                      <a:pt x="30" y="80"/>
                    </a:cubicBezTo>
                    <a:cubicBezTo>
                      <a:pt x="31" y="79"/>
                      <a:pt x="31" y="79"/>
                      <a:pt x="32" y="79"/>
                    </a:cubicBezTo>
                    <a:cubicBezTo>
                      <a:pt x="33" y="78"/>
                      <a:pt x="33" y="78"/>
                      <a:pt x="33" y="78"/>
                    </a:cubicBezTo>
                    <a:cubicBezTo>
                      <a:pt x="33" y="80"/>
                      <a:pt x="33" y="80"/>
                      <a:pt x="33" y="80"/>
                    </a:cubicBezTo>
                    <a:cubicBezTo>
                      <a:pt x="33" y="80"/>
                      <a:pt x="33" y="81"/>
                      <a:pt x="33" y="82"/>
                    </a:cubicBezTo>
                    <a:cubicBezTo>
                      <a:pt x="33" y="82"/>
                      <a:pt x="33" y="82"/>
                      <a:pt x="33" y="82"/>
                    </a:cubicBezTo>
                    <a:cubicBezTo>
                      <a:pt x="33" y="83"/>
                      <a:pt x="33" y="84"/>
                      <a:pt x="33" y="85"/>
                    </a:cubicBezTo>
                    <a:cubicBezTo>
                      <a:pt x="33" y="85"/>
                      <a:pt x="33" y="85"/>
                      <a:pt x="33" y="85"/>
                    </a:cubicBezTo>
                    <a:cubicBezTo>
                      <a:pt x="34" y="85"/>
                      <a:pt x="34" y="85"/>
                      <a:pt x="34" y="85"/>
                    </a:cubicBezTo>
                    <a:cubicBezTo>
                      <a:pt x="34" y="85"/>
                      <a:pt x="34" y="85"/>
                      <a:pt x="35" y="85"/>
                    </a:cubicBezTo>
                    <a:cubicBezTo>
                      <a:pt x="35" y="85"/>
                      <a:pt x="36" y="84"/>
                      <a:pt x="36" y="84"/>
                    </a:cubicBezTo>
                    <a:cubicBezTo>
                      <a:pt x="36" y="84"/>
                      <a:pt x="36" y="84"/>
                      <a:pt x="36" y="84"/>
                    </a:cubicBezTo>
                    <a:cubicBezTo>
                      <a:pt x="38" y="82"/>
                      <a:pt x="39" y="81"/>
                      <a:pt x="41" y="79"/>
                    </a:cubicBezTo>
                    <a:cubicBezTo>
                      <a:pt x="41" y="79"/>
                      <a:pt x="42" y="79"/>
                      <a:pt x="43" y="78"/>
                    </a:cubicBezTo>
                    <a:cubicBezTo>
                      <a:pt x="44" y="77"/>
                      <a:pt x="46" y="77"/>
                      <a:pt x="46" y="75"/>
                    </a:cubicBezTo>
                    <a:cubicBezTo>
                      <a:pt x="47" y="74"/>
                      <a:pt x="48" y="73"/>
                      <a:pt x="48" y="72"/>
                    </a:cubicBezTo>
                    <a:cubicBezTo>
                      <a:pt x="49" y="71"/>
                      <a:pt x="49" y="71"/>
                      <a:pt x="49" y="71"/>
                    </a:cubicBezTo>
                    <a:cubicBezTo>
                      <a:pt x="49" y="71"/>
                      <a:pt x="49" y="71"/>
                      <a:pt x="49" y="70"/>
                    </a:cubicBezTo>
                    <a:cubicBezTo>
                      <a:pt x="49" y="70"/>
                      <a:pt x="49" y="70"/>
                      <a:pt x="49" y="70"/>
                    </a:cubicBezTo>
                    <a:cubicBezTo>
                      <a:pt x="49" y="70"/>
                      <a:pt x="49" y="70"/>
                      <a:pt x="49" y="70"/>
                    </a:cubicBezTo>
                    <a:cubicBezTo>
                      <a:pt x="49" y="69"/>
                      <a:pt x="49" y="69"/>
                      <a:pt x="49" y="69"/>
                    </a:cubicBezTo>
                    <a:cubicBezTo>
                      <a:pt x="49" y="69"/>
                      <a:pt x="49" y="69"/>
                      <a:pt x="49" y="69"/>
                    </a:cubicBezTo>
                    <a:cubicBezTo>
                      <a:pt x="49" y="69"/>
                      <a:pt x="49" y="69"/>
                      <a:pt x="49" y="69"/>
                    </a:cubicBezTo>
                    <a:cubicBezTo>
                      <a:pt x="49" y="68"/>
                      <a:pt x="49" y="68"/>
                      <a:pt x="49" y="68"/>
                    </a:cubicBezTo>
                    <a:cubicBezTo>
                      <a:pt x="48" y="68"/>
                      <a:pt x="48" y="68"/>
                      <a:pt x="48" y="68"/>
                    </a:cubicBezTo>
                    <a:cubicBezTo>
                      <a:pt x="49" y="67"/>
                      <a:pt x="49" y="67"/>
                      <a:pt x="49" y="67"/>
                    </a:cubicBezTo>
                    <a:cubicBezTo>
                      <a:pt x="49" y="67"/>
                      <a:pt x="49" y="67"/>
                      <a:pt x="49" y="67"/>
                    </a:cubicBezTo>
                    <a:cubicBezTo>
                      <a:pt x="49" y="66"/>
                      <a:pt x="49" y="66"/>
                      <a:pt x="49" y="65"/>
                    </a:cubicBezTo>
                    <a:cubicBezTo>
                      <a:pt x="49" y="64"/>
                      <a:pt x="49" y="63"/>
                      <a:pt x="49" y="62"/>
                    </a:cubicBezTo>
                    <a:cubicBezTo>
                      <a:pt x="49" y="60"/>
                      <a:pt x="49" y="60"/>
                      <a:pt x="49" y="60"/>
                    </a:cubicBezTo>
                    <a:cubicBezTo>
                      <a:pt x="49" y="60"/>
                      <a:pt x="49" y="59"/>
                      <a:pt x="49" y="59"/>
                    </a:cubicBezTo>
                    <a:cubicBezTo>
                      <a:pt x="49" y="58"/>
                      <a:pt x="49" y="58"/>
                      <a:pt x="50" y="58"/>
                    </a:cubicBezTo>
                    <a:cubicBezTo>
                      <a:pt x="50" y="57"/>
                      <a:pt x="50" y="57"/>
                      <a:pt x="50" y="57"/>
                    </a:cubicBezTo>
                    <a:cubicBezTo>
                      <a:pt x="52" y="56"/>
                      <a:pt x="53" y="54"/>
                      <a:pt x="54" y="52"/>
                    </a:cubicBezTo>
                    <a:cubicBezTo>
                      <a:pt x="54" y="51"/>
                      <a:pt x="55" y="51"/>
                      <a:pt x="55" y="50"/>
                    </a:cubicBezTo>
                    <a:cubicBezTo>
                      <a:pt x="55" y="50"/>
                      <a:pt x="56" y="49"/>
                      <a:pt x="56" y="49"/>
                    </a:cubicBezTo>
                    <a:cubicBezTo>
                      <a:pt x="56" y="49"/>
                      <a:pt x="56" y="49"/>
                      <a:pt x="56" y="48"/>
                    </a:cubicBezTo>
                    <a:cubicBezTo>
                      <a:pt x="56" y="48"/>
                      <a:pt x="57" y="48"/>
                      <a:pt x="57" y="48"/>
                    </a:cubicBezTo>
                    <a:cubicBezTo>
                      <a:pt x="58" y="47"/>
                      <a:pt x="59" y="46"/>
                      <a:pt x="59" y="46"/>
                    </a:cubicBezTo>
                    <a:cubicBezTo>
                      <a:pt x="60" y="46"/>
                      <a:pt x="60" y="46"/>
                      <a:pt x="60" y="46"/>
                    </a:cubicBezTo>
                    <a:cubicBezTo>
                      <a:pt x="60" y="45"/>
                      <a:pt x="61" y="45"/>
                      <a:pt x="61" y="45"/>
                    </a:cubicBezTo>
                    <a:cubicBezTo>
                      <a:pt x="61" y="45"/>
                      <a:pt x="61" y="45"/>
                      <a:pt x="61" y="45"/>
                    </a:cubicBezTo>
                    <a:cubicBezTo>
                      <a:pt x="62" y="44"/>
                      <a:pt x="62" y="44"/>
                      <a:pt x="62" y="44"/>
                    </a:cubicBezTo>
                    <a:cubicBezTo>
                      <a:pt x="63" y="44"/>
                      <a:pt x="63" y="44"/>
                      <a:pt x="63" y="43"/>
                    </a:cubicBezTo>
                    <a:cubicBezTo>
                      <a:pt x="67" y="33"/>
                      <a:pt x="67" y="33"/>
                      <a:pt x="67" y="33"/>
                    </a:cubicBezTo>
                    <a:cubicBezTo>
                      <a:pt x="67" y="33"/>
                      <a:pt x="67" y="32"/>
                      <a:pt x="67" y="32"/>
                    </a:cubicBezTo>
                    <a:cubicBezTo>
                      <a:pt x="67" y="31"/>
                      <a:pt x="66" y="31"/>
                      <a:pt x="66" y="30"/>
                    </a:cubicBezTo>
                    <a:cubicBezTo>
                      <a:pt x="66" y="30"/>
                      <a:pt x="66" y="29"/>
                      <a:pt x="66" y="28"/>
                    </a:cubicBezTo>
                    <a:cubicBezTo>
                      <a:pt x="66" y="28"/>
                      <a:pt x="66" y="28"/>
                      <a:pt x="66" y="28"/>
                    </a:cubicBezTo>
                    <a:cubicBezTo>
                      <a:pt x="66" y="28"/>
                      <a:pt x="66" y="27"/>
                      <a:pt x="66" y="27"/>
                    </a:cubicBezTo>
                    <a:cubicBezTo>
                      <a:pt x="66" y="26"/>
                      <a:pt x="66" y="25"/>
                      <a:pt x="66" y="24"/>
                    </a:cubicBezTo>
                    <a:cubicBezTo>
                      <a:pt x="67" y="23"/>
                      <a:pt x="67" y="22"/>
                      <a:pt x="67" y="21"/>
                    </a:cubicBezTo>
                    <a:cubicBezTo>
                      <a:pt x="68" y="20"/>
                      <a:pt x="68" y="20"/>
                      <a:pt x="68" y="20"/>
                    </a:cubicBezTo>
                    <a:cubicBezTo>
                      <a:pt x="68" y="19"/>
                      <a:pt x="68" y="18"/>
                      <a:pt x="68" y="17"/>
                    </a:cubicBezTo>
                    <a:cubicBezTo>
                      <a:pt x="68" y="17"/>
                      <a:pt x="68" y="16"/>
                      <a:pt x="68" y="16"/>
                    </a:cubicBezTo>
                    <a:cubicBezTo>
                      <a:pt x="68" y="16"/>
                      <a:pt x="68" y="15"/>
                      <a:pt x="68" y="15"/>
                    </a:cubicBezTo>
                    <a:cubicBezTo>
                      <a:pt x="68" y="13"/>
                      <a:pt x="69" y="12"/>
                      <a:pt x="70" y="11"/>
                    </a:cubicBezTo>
                    <a:cubicBezTo>
                      <a:pt x="70" y="11"/>
                      <a:pt x="70" y="11"/>
                      <a:pt x="70" y="11"/>
                    </a:cubicBezTo>
                    <a:cubicBezTo>
                      <a:pt x="67" y="9"/>
                      <a:pt x="67" y="9"/>
                      <a:pt x="67" y="9"/>
                    </a:cubicBezTo>
                    <a:cubicBezTo>
                      <a:pt x="70" y="10"/>
                      <a:pt x="70" y="10"/>
                      <a:pt x="70" y="10"/>
                    </a:cubicBezTo>
                    <a:cubicBezTo>
                      <a:pt x="70" y="10"/>
                      <a:pt x="70" y="10"/>
                      <a:pt x="70" y="10"/>
                    </a:cubicBezTo>
                    <a:cubicBezTo>
                      <a:pt x="71" y="9"/>
                      <a:pt x="71" y="9"/>
                      <a:pt x="71" y="8"/>
                    </a:cubicBezTo>
                    <a:cubicBezTo>
                      <a:pt x="73" y="5"/>
                      <a:pt x="75" y="3"/>
                      <a:pt x="73" y="1"/>
                    </a:cubicBezTo>
                    <a:cubicBezTo>
                      <a:pt x="72" y="1"/>
                      <a:pt x="70" y="1"/>
                      <a:pt x="68" y="0"/>
                    </a:cubicBezTo>
                    <a:cubicBezTo>
                      <a:pt x="68" y="0"/>
                      <a:pt x="68" y="0"/>
                      <a:pt x="68" y="0"/>
                    </a:cubicBezTo>
                    <a:cubicBezTo>
                      <a:pt x="67" y="0"/>
                      <a:pt x="67" y="0"/>
                      <a:pt x="67" y="0"/>
                    </a:cubicBezTo>
                    <a:cubicBezTo>
                      <a:pt x="64" y="0"/>
                      <a:pt x="63" y="0"/>
                      <a:pt x="61" y="1"/>
                    </a:cubicBezTo>
                    <a:cubicBezTo>
                      <a:pt x="60" y="1"/>
                      <a:pt x="59" y="1"/>
                      <a:pt x="59" y="1"/>
                    </a:cubicBezTo>
                    <a:cubicBezTo>
                      <a:pt x="58" y="1"/>
                      <a:pt x="58" y="1"/>
                      <a:pt x="58" y="1"/>
                    </a:cubicBezTo>
                    <a:cubicBezTo>
                      <a:pt x="58" y="1"/>
                      <a:pt x="58" y="1"/>
                      <a:pt x="58" y="1"/>
                    </a:cubicBezTo>
                    <a:cubicBezTo>
                      <a:pt x="57" y="1"/>
                      <a:pt x="56" y="2"/>
                      <a:pt x="56" y="2"/>
                    </a:cubicBezTo>
                    <a:cubicBezTo>
                      <a:pt x="56" y="2"/>
                      <a:pt x="55" y="2"/>
                      <a:pt x="55" y="2"/>
                    </a:cubicBezTo>
                    <a:cubicBezTo>
                      <a:pt x="55" y="2"/>
                      <a:pt x="55" y="2"/>
                      <a:pt x="55" y="3"/>
                    </a:cubicBezTo>
                    <a:cubicBezTo>
                      <a:pt x="55" y="3"/>
                      <a:pt x="55" y="3"/>
                      <a:pt x="55" y="3"/>
                    </a:cubicBezTo>
                    <a:cubicBezTo>
                      <a:pt x="55" y="4"/>
                      <a:pt x="55" y="4"/>
                      <a:pt x="55" y="4"/>
                    </a:cubicBezTo>
                    <a:cubicBezTo>
                      <a:pt x="55" y="5"/>
                      <a:pt x="55" y="5"/>
                      <a:pt x="55" y="5"/>
                    </a:cubicBezTo>
                    <a:cubicBezTo>
                      <a:pt x="55" y="6"/>
                      <a:pt x="54" y="7"/>
                      <a:pt x="54" y="8"/>
                    </a:cubicBezTo>
                    <a:cubicBezTo>
                      <a:pt x="54" y="10"/>
                      <a:pt x="53" y="12"/>
                      <a:pt x="52" y="14"/>
                    </a:cubicBezTo>
                    <a:cubicBezTo>
                      <a:pt x="52" y="14"/>
                      <a:pt x="52" y="14"/>
                      <a:pt x="52" y="14"/>
                    </a:cubicBezTo>
                    <a:cubicBezTo>
                      <a:pt x="51" y="14"/>
                      <a:pt x="51" y="14"/>
                      <a:pt x="51" y="14"/>
                    </a:cubicBezTo>
                    <a:cubicBezTo>
                      <a:pt x="50" y="17"/>
                      <a:pt x="50" y="17"/>
                      <a:pt x="50" y="17"/>
                    </a:cubicBezTo>
                    <a:cubicBezTo>
                      <a:pt x="50" y="18"/>
                      <a:pt x="50" y="18"/>
                      <a:pt x="50" y="18"/>
                    </a:cubicBezTo>
                    <a:cubicBezTo>
                      <a:pt x="50" y="18"/>
                      <a:pt x="50" y="19"/>
                      <a:pt x="50" y="20"/>
                    </a:cubicBezTo>
                    <a:cubicBezTo>
                      <a:pt x="50" y="22"/>
                      <a:pt x="50" y="22"/>
                      <a:pt x="50" y="22"/>
                    </a:cubicBezTo>
                    <a:cubicBezTo>
                      <a:pt x="48" y="20"/>
                      <a:pt x="48" y="20"/>
                      <a:pt x="48" y="20"/>
                    </a:cubicBezTo>
                    <a:cubicBezTo>
                      <a:pt x="47" y="20"/>
                      <a:pt x="47" y="20"/>
                      <a:pt x="47" y="19"/>
                    </a:cubicBezTo>
                    <a:cubicBezTo>
                      <a:pt x="47" y="19"/>
                      <a:pt x="46" y="19"/>
                      <a:pt x="46" y="19"/>
                    </a:cubicBezTo>
                    <a:cubicBezTo>
                      <a:pt x="46" y="18"/>
                      <a:pt x="46" y="18"/>
                      <a:pt x="45" y="18"/>
                    </a:cubicBezTo>
                    <a:cubicBezTo>
                      <a:pt x="45" y="18"/>
                      <a:pt x="44" y="18"/>
                      <a:pt x="44" y="18"/>
                    </a:cubicBezTo>
                    <a:cubicBezTo>
                      <a:pt x="43" y="18"/>
                      <a:pt x="43" y="18"/>
                      <a:pt x="43" y="18"/>
                    </a:cubicBezTo>
                    <a:cubicBezTo>
                      <a:pt x="42" y="18"/>
                      <a:pt x="41" y="18"/>
                      <a:pt x="41" y="17"/>
                    </a:cubicBezTo>
                    <a:cubicBezTo>
                      <a:pt x="41" y="17"/>
                      <a:pt x="40" y="17"/>
                      <a:pt x="40" y="17"/>
                    </a:cubicBezTo>
                    <a:cubicBezTo>
                      <a:pt x="40" y="17"/>
                      <a:pt x="40" y="17"/>
                      <a:pt x="40" y="17"/>
                    </a:cubicBezTo>
                    <a:cubicBezTo>
                      <a:pt x="38" y="17"/>
                      <a:pt x="37" y="17"/>
                      <a:pt x="36" y="17"/>
                    </a:cubicBezTo>
                    <a:cubicBezTo>
                      <a:pt x="36" y="17"/>
                      <a:pt x="36" y="16"/>
                      <a:pt x="35" y="16"/>
                    </a:cubicBezTo>
                    <a:cubicBezTo>
                      <a:pt x="35" y="16"/>
                      <a:pt x="35" y="16"/>
                      <a:pt x="34" y="16"/>
                    </a:cubicBezTo>
                    <a:cubicBezTo>
                      <a:pt x="34" y="16"/>
                      <a:pt x="34" y="15"/>
                      <a:pt x="34" y="15"/>
                    </a:cubicBezTo>
                    <a:cubicBezTo>
                      <a:pt x="31" y="15"/>
                      <a:pt x="31" y="15"/>
                      <a:pt x="31" y="15"/>
                    </a:cubicBezTo>
                    <a:cubicBezTo>
                      <a:pt x="29" y="15"/>
                      <a:pt x="27" y="16"/>
                      <a:pt x="24" y="16"/>
                    </a:cubicBezTo>
                    <a:cubicBezTo>
                      <a:pt x="24" y="16"/>
                      <a:pt x="24" y="16"/>
                      <a:pt x="24" y="16"/>
                    </a:cubicBezTo>
                    <a:cubicBezTo>
                      <a:pt x="23" y="16"/>
                      <a:pt x="23" y="16"/>
                      <a:pt x="22" y="16"/>
                    </a:cubicBezTo>
                    <a:cubicBezTo>
                      <a:pt x="22" y="16"/>
                      <a:pt x="22" y="16"/>
                      <a:pt x="21" y="16"/>
                    </a:cubicBezTo>
                    <a:cubicBezTo>
                      <a:pt x="21" y="16"/>
                      <a:pt x="21" y="16"/>
                      <a:pt x="21" y="16"/>
                    </a:cubicBezTo>
                    <a:cubicBezTo>
                      <a:pt x="21" y="17"/>
                      <a:pt x="21" y="17"/>
                      <a:pt x="21" y="17"/>
                    </a:cubicBezTo>
                    <a:cubicBezTo>
                      <a:pt x="21" y="18"/>
                      <a:pt x="21" y="18"/>
                      <a:pt x="21" y="18"/>
                    </a:cubicBezTo>
                    <a:cubicBezTo>
                      <a:pt x="20" y="19"/>
                      <a:pt x="21" y="20"/>
                      <a:pt x="21" y="22"/>
                    </a:cubicBezTo>
                    <a:cubicBezTo>
                      <a:pt x="21" y="22"/>
                      <a:pt x="21" y="22"/>
                      <a:pt x="21" y="22"/>
                    </a:cubicBezTo>
                    <a:cubicBezTo>
                      <a:pt x="21" y="22"/>
                      <a:pt x="21" y="22"/>
                      <a:pt x="21" y="22"/>
                    </a:cubicBezTo>
                    <a:cubicBezTo>
                      <a:pt x="22" y="22"/>
                      <a:pt x="23" y="21"/>
                      <a:pt x="25" y="21"/>
                    </a:cubicBezTo>
                    <a:cubicBezTo>
                      <a:pt x="25" y="21"/>
                      <a:pt x="26" y="21"/>
                      <a:pt x="26" y="21"/>
                    </a:cubicBezTo>
                    <a:cubicBezTo>
                      <a:pt x="26" y="21"/>
                      <a:pt x="27" y="21"/>
                      <a:pt x="27" y="21"/>
                    </a:cubicBezTo>
                    <a:cubicBezTo>
                      <a:pt x="27" y="21"/>
                      <a:pt x="27" y="21"/>
                      <a:pt x="27" y="21"/>
                    </a:cubicBezTo>
                    <a:cubicBezTo>
                      <a:pt x="27" y="21"/>
                      <a:pt x="27" y="21"/>
                      <a:pt x="27" y="21"/>
                    </a:cubicBezTo>
                    <a:cubicBezTo>
                      <a:pt x="27" y="21"/>
                      <a:pt x="28" y="21"/>
                      <a:pt x="29" y="21"/>
                    </a:cubicBezTo>
                    <a:cubicBezTo>
                      <a:pt x="29" y="21"/>
                      <a:pt x="29" y="21"/>
                      <a:pt x="29" y="21"/>
                    </a:cubicBezTo>
                    <a:cubicBezTo>
                      <a:pt x="29" y="21"/>
                      <a:pt x="29" y="21"/>
                      <a:pt x="29" y="21"/>
                    </a:cubicBezTo>
                    <a:cubicBezTo>
                      <a:pt x="29" y="21"/>
                      <a:pt x="29" y="21"/>
                      <a:pt x="29" y="21"/>
                    </a:cubicBezTo>
                    <a:cubicBezTo>
                      <a:pt x="30" y="21"/>
                      <a:pt x="31" y="21"/>
                      <a:pt x="32" y="22"/>
                    </a:cubicBezTo>
                    <a:cubicBezTo>
                      <a:pt x="33" y="26"/>
                      <a:pt x="33" y="26"/>
                      <a:pt x="33" y="26"/>
                    </a:cubicBezTo>
                    <a:cubicBezTo>
                      <a:pt x="33" y="26"/>
                      <a:pt x="33" y="27"/>
                      <a:pt x="34" y="27"/>
                    </a:cubicBezTo>
                    <a:cubicBezTo>
                      <a:pt x="34" y="28"/>
                      <a:pt x="34" y="28"/>
                      <a:pt x="33" y="29"/>
                    </a:cubicBezTo>
                    <a:cubicBezTo>
                      <a:pt x="33" y="31"/>
                      <a:pt x="32" y="31"/>
                      <a:pt x="31" y="32"/>
                    </a:cubicBezTo>
                    <a:cubicBezTo>
                      <a:pt x="30" y="32"/>
                      <a:pt x="30" y="32"/>
                      <a:pt x="30" y="32"/>
                    </a:cubicBezTo>
                    <a:cubicBezTo>
                      <a:pt x="30" y="33"/>
                      <a:pt x="30" y="34"/>
                      <a:pt x="29" y="34"/>
                    </a:cubicBezTo>
                    <a:cubicBezTo>
                      <a:pt x="29" y="35"/>
                      <a:pt x="29" y="35"/>
                      <a:pt x="29" y="35"/>
                    </a:cubicBezTo>
                    <a:cubicBezTo>
                      <a:pt x="29" y="35"/>
                      <a:pt x="29" y="35"/>
                      <a:pt x="29" y="35"/>
                    </a:cubicBezTo>
                    <a:cubicBezTo>
                      <a:pt x="29" y="36"/>
                      <a:pt x="29" y="36"/>
                      <a:pt x="29" y="36"/>
                    </a:cubicBezTo>
                    <a:cubicBezTo>
                      <a:pt x="29" y="36"/>
                      <a:pt x="28" y="37"/>
                      <a:pt x="28" y="38"/>
                    </a:cubicBezTo>
                    <a:cubicBezTo>
                      <a:pt x="28" y="38"/>
                      <a:pt x="28" y="38"/>
                      <a:pt x="28" y="38"/>
                    </a:cubicBezTo>
                    <a:cubicBezTo>
                      <a:pt x="28" y="39"/>
                      <a:pt x="29" y="39"/>
                      <a:pt x="30" y="39"/>
                    </a:cubicBezTo>
                    <a:cubicBezTo>
                      <a:pt x="32" y="40"/>
                      <a:pt x="34" y="41"/>
                      <a:pt x="34" y="43"/>
                    </a:cubicBezTo>
                    <a:cubicBezTo>
                      <a:pt x="34" y="43"/>
                      <a:pt x="34" y="44"/>
                      <a:pt x="34" y="45"/>
                    </a:cubicBezTo>
                    <a:cubicBezTo>
                      <a:pt x="34" y="45"/>
                      <a:pt x="34" y="45"/>
                      <a:pt x="34" y="45"/>
                    </a:cubicBezTo>
                    <a:cubicBezTo>
                      <a:pt x="34" y="46"/>
                      <a:pt x="34" y="46"/>
                      <a:pt x="34" y="46"/>
                    </a:cubicBezTo>
                    <a:cubicBezTo>
                      <a:pt x="33" y="46"/>
                      <a:pt x="33" y="46"/>
                      <a:pt x="33" y="46"/>
                    </a:cubicBezTo>
                    <a:cubicBezTo>
                      <a:pt x="34" y="47"/>
                      <a:pt x="34" y="47"/>
                      <a:pt x="34" y="47"/>
                    </a:cubicBezTo>
                    <a:cubicBezTo>
                      <a:pt x="34" y="48"/>
                      <a:pt x="34" y="48"/>
                      <a:pt x="34" y="48"/>
                    </a:cubicBezTo>
                    <a:cubicBezTo>
                      <a:pt x="34" y="48"/>
                      <a:pt x="34" y="48"/>
                      <a:pt x="34" y="49"/>
                    </a:cubicBezTo>
                    <a:cubicBezTo>
                      <a:pt x="34" y="49"/>
                      <a:pt x="34" y="49"/>
                      <a:pt x="34" y="49"/>
                    </a:cubicBezTo>
                    <a:cubicBezTo>
                      <a:pt x="34" y="49"/>
                      <a:pt x="34" y="49"/>
                      <a:pt x="34" y="49"/>
                    </a:cubicBezTo>
                    <a:cubicBezTo>
                      <a:pt x="34" y="50"/>
                      <a:pt x="34" y="51"/>
                      <a:pt x="34" y="51"/>
                    </a:cubicBezTo>
                    <a:cubicBezTo>
                      <a:pt x="34" y="52"/>
                      <a:pt x="34" y="52"/>
                      <a:pt x="34" y="53"/>
                    </a:cubicBezTo>
                    <a:cubicBezTo>
                      <a:pt x="34" y="53"/>
                      <a:pt x="34" y="53"/>
                      <a:pt x="34" y="53"/>
                    </a:cubicBezTo>
                    <a:cubicBezTo>
                      <a:pt x="34" y="54"/>
                      <a:pt x="34" y="54"/>
                      <a:pt x="34" y="54"/>
                    </a:cubicBezTo>
                    <a:cubicBezTo>
                      <a:pt x="33" y="56"/>
                      <a:pt x="33" y="57"/>
                      <a:pt x="32" y="58"/>
                    </a:cubicBezTo>
                    <a:cubicBezTo>
                      <a:pt x="30" y="62"/>
                      <a:pt x="30" y="62"/>
                      <a:pt x="30" y="62"/>
                    </a:cubicBezTo>
                    <a:cubicBezTo>
                      <a:pt x="30" y="63"/>
                      <a:pt x="29" y="63"/>
                      <a:pt x="28" y="63"/>
                    </a:cubicBezTo>
                    <a:cubicBezTo>
                      <a:pt x="28" y="63"/>
                      <a:pt x="28" y="63"/>
                      <a:pt x="27" y="63"/>
                    </a:cubicBezTo>
                    <a:cubicBezTo>
                      <a:pt x="27" y="63"/>
                      <a:pt x="26" y="63"/>
                      <a:pt x="25" y="62"/>
                    </a:cubicBezTo>
                    <a:cubicBezTo>
                      <a:pt x="25" y="61"/>
                      <a:pt x="25" y="61"/>
                      <a:pt x="25" y="61"/>
                    </a:cubicBezTo>
                    <a:cubicBezTo>
                      <a:pt x="25" y="61"/>
                      <a:pt x="25" y="61"/>
                      <a:pt x="25" y="61"/>
                    </a:cubicBezTo>
                    <a:cubicBezTo>
                      <a:pt x="25" y="61"/>
                      <a:pt x="25" y="61"/>
                      <a:pt x="25" y="61"/>
                    </a:cubicBezTo>
                    <a:cubicBezTo>
                      <a:pt x="25" y="61"/>
                      <a:pt x="25" y="61"/>
                      <a:pt x="25" y="61"/>
                    </a:cubicBezTo>
                    <a:cubicBezTo>
                      <a:pt x="23" y="62"/>
                      <a:pt x="21" y="62"/>
                      <a:pt x="20" y="62"/>
                    </a:cubicBezTo>
                    <a:cubicBezTo>
                      <a:pt x="19" y="62"/>
                      <a:pt x="19" y="62"/>
                      <a:pt x="19" y="62"/>
                    </a:cubicBezTo>
                    <a:cubicBezTo>
                      <a:pt x="19" y="62"/>
                      <a:pt x="19" y="62"/>
                      <a:pt x="18" y="62"/>
                    </a:cubicBezTo>
                    <a:cubicBezTo>
                      <a:pt x="18" y="62"/>
                      <a:pt x="18" y="62"/>
                      <a:pt x="18" y="62"/>
                    </a:cubicBezTo>
                    <a:cubicBezTo>
                      <a:pt x="16" y="62"/>
                      <a:pt x="16" y="60"/>
                      <a:pt x="15" y="58"/>
                    </a:cubicBezTo>
                    <a:cubicBezTo>
                      <a:pt x="16" y="58"/>
                      <a:pt x="16" y="58"/>
                      <a:pt x="16" y="58"/>
                    </a:cubicBezTo>
                    <a:cubicBezTo>
                      <a:pt x="15" y="58"/>
                      <a:pt x="15" y="58"/>
                      <a:pt x="15" y="58"/>
                    </a:cubicBezTo>
                    <a:cubicBezTo>
                      <a:pt x="15" y="58"/>
                      <a:pt x="15" y="57"/>
                      <a:pt x="15" y="57"/>
                    </a:cubicBezTo>
                    <a:cubicBezTo>
                      <a:pt x="15" y="57"/>
                      <a:pt x="14" y="57"/>
                      <a:pt x="14" y="57"/>
                    </a:cubicBezTo>
                    <a:cubicBezTo>
                      <a:pt x="14" y="57"/>
                      <a:pt x="14" y="57"/>
                      <a:pt x="13" y="57"/>
                    </a:cubicBezTo>
                    <a:cubicBezTo>
                      <a:pt x="13" y="57"/>
                      <a:pt x="13" y="57"/>
                      <a:pt x="13" y="57"/>
                    </a:cubicBezTo>
                    <a:cubicBezTo>
                      <a:pt x="13" y="57"/>
                      <a:pt x="13" y="57"/>
                      <a:pt x="13" y="57"/>
                    </a:cubicBezTo>
                    <a:cubicBezTo>
                      <a:pt x="13" y="59"/>
                      <a:pt x="12" y="60"/>
                      <a:pt x="11" y="61"/>
                    </a:cubicBezTo>
                    <a:cubicBezTo>
                      <a:pt x="11" y="61"/>
                      <a:pt x="11" y="61"/>
                      <a:pt x="11" y="61"/>
                    </a:cubicBezTo>
                    <a:cubicBezTo>
                      <a:pt x="10" y="62"/>
                      <a:pt x="10" y="62"/>
                      <a:pt x="10" y="62"/>
                    </a:cubicBezTo>
                    <a:cubicBezTo>
                      <a:pt x="9" y="62"/>
                      <a:pt x="8" y="62"/>
                      <a:pt x="8" y="62"/>
                    </a:cubicBezTo>
                    <a:cubicBezTo>
                      <a:pt x="7" y="62"/>
                      <a:pt x="7" y="62"/>
                      <a:pt x="7" y="62"/>
                    </a:cubicBezTo>
                    <a:cubicBezTo>
                      <a:pt x="7" y="62"/>
                      <a:pt x="7" y="62"/>
                      <a:pt x="7" y="62"/>
                    </a:cubicBezTo>
                    <a:cubicBezTo>
                      <a:pt x="7" y="62"/>
                      <a:pt x="7" y="62"/>
                      <a:pt x="7" y="62"/>
                    </a:cubicBezTo>
                    <a:cubicBezTo>
                      <a:pt x="7" y="62"/>
                      <a:pt x="7" y="62"/>
                      <a:pt x="7" y="62"/>
                    </a:cubicBezTo>
                    <a:cubicBezTo>
                      <a:pt x="6" y="62"/>
                      <a:pt x="6" y="62"/>
                      <a:pt x="6" y="62"/>
                    </a:cubicBezTo>
                    <a:cubicBezTo>
                      <a:pt x="6" y="62"/>
                      <a:pt x="5" y="62"/>
                      <a:pt x="5" y="62"/>
                    </a:cubicBezTo>
                    <a:cubicBezTo>
                      <a:pt x="5" y="62"/>
                      <a:pt x="5" y="63"/>
                      <a:pt x="5" y="63"/>
                    </a:cubicBezTo>
                    <a:cubicBezTo>
                      <a:pt x="5" y="63"/>
                      <a:pt x="5" y="63"/>
                      <a:pt x="5" y="64"/>
                    </a:cubicBezTo>
                    <a:cubicBezTo>
                      <a:pt x="5" y="64"/>
                      <a:pt x="5" y="64"/>
                      <a:pt x="4" y="64"/>
                    </a:cubicBezTo>
                    <a:cubicBezTo>
                      <a:pt x="4" y="64"/>
                      <a:pt x="4" y="65"/>
                      <a:pt x="4" y="65"/>
                    </a:cubicBezTo>
                    <a:cubicBezTo>
                      <a:pt x="5" y="65"/>
                      <a:pt x="5" y="65"/>
                      <a:pt x="5" y="65"/>
                    </a:cubicBezTo>
                    <a:cubicBezTo>
                      <a:pt x="5" y="66"/>
                      <a:pt x="6" y="66"/>
                      <a:pt x="6" y="66"/>
                    </a:cubicBezTo>
                    <a:cubicBezTo>
                      <a:pt x="7" y="67"/>
                      <a:pt x="7" y="67"/>
                      <a:pt x="7" y="67"/>
                    </a:cubicBezTo>
                    <a:cubicBezTo>
                      <a:pt x="6" y="68"/>
                      <a:pt x="6" y="68"/>
                      <a:pt x="6" y="68"/>
                    </a:cubicBezTo>
                    <a:cubicBezTo>
                      <a:pt x="6" y="68"/>
                      <a:pt x="6" y="68"/>
                      <a:pt x="6" y="68"/>
                    </a:cubicBezTo>
                    <a:cubicBezTo>
                      <a:pt x="6" y="68"/>
                      <a:pt x="6" y="68"/>
                      <a:pt x="6" y="68"/>
                    </a:cubicBezTo>
                    <a:cubicBezTo>
                      <a:pt x="6" y="68"/>
                      <a:pt x="6" y="68"/>
                      <a:pt x="6" y="68"/>
                    </a:cubicBezTo>
                    <a:cubicBezTo>
                      <a:pt x="7" y="69"/>
                      <a:pt x="7" y="69"/>
                      <a:pt x="8" y="69"/>
                    </a:cubicBezTo>
                    <a:cubicBezTo>
                      <a:pt x="8" y="69"/>
                      <a:pt x="8" y="69"/>
                      <a:pt x="8" y="69"/>
                    </a:cubicBezTo>
                    <a:cubicBezTo>
                      <a:pt x="8" y="70"/>
                      <a:pt x="8" y="70"/>
                      <a:pt x="8" y="71"/>
                    </a:cubicBezTo>
                    <a:cubicBezTo>
                      <a:pt x="8" y="71"/>
                      <a:pt x="8" y="71"/>
                      <a:pt x="8" y="71"/>
                    </a:cubicBezTo>
                    <a:cubicBezTo>
                      <a:pt x="8" y="72"/>
                      <a:pt x="8" y="72"/>
                      <a:pt x="8" y="72"/>
                    </a:cubicBezTo>
                    <a:cubicBezTo>
                      <a:pt x="8" y="72"/>
                      <a:pt x="8" y="72"/>
                      <a:pt x="8" y="72"/>
                    </a:cubicBezTo>
                    <a:cubicBezTo>
                      <a:pt x="8" y="72"/>
                      <a:pt x="8" y="72"/>
                      <a:pt x="8" y="72"/>
                    </a:cubicBezTo>
                    <a:cubicBezTo>
                      <a:pt x="8" y="72"/>
                      <a:pt x="8" y="72"/>
                      <a:pt x="8" y="72"/>
                    </a:cubicBezTo>
                    <a:cubicBezTo>
                      <a:pt x="8" y="72"/>
                      <a:pt x="8" y="72"/>
                      <a:pt x="8" y="72"/>
                    </a:cubicBezTo>
                    <a:cubicBezTo>
                      <a:pt x="8" y="73"/>
                      <a:pt x="8" y="73"/>
                      <a:pt x="8" y="73"/>
                    </a:cubicBezTo>
                    <a:cubicBezTo>
                      <a:pt x="8" y="74"/>
                      <a:pt x="8" y="74"/>
                      <a:pt x="8" y="74"/>
                    </a:cubicBezTo>
                    <a:cubicBezTo>
                      <a:pt x="8" y="74"/>
                      <a:pt x="8" y="74"/>
                      <a:pt x="8" y="74"/>
                    </a:cubicBezTo>
                    <a:cubicBezTo>
                      <a:pt x="7" y="75"/>
                      <a:pt x="7" y="75"/>
                      <a:pt x="6" y="75"/>
                    </a:cubicBezTo>
                    <a:cubicBezTo>
                      <a:pt x="5" y="76"/>
                      <a:pt x="5" y="75"/>
                      <a:pt x="4" y="75"/>
                    </a:cubicBezTo>
                    <a:cubicBezTo>
                      <a:pt x="4" y="74"/>
                      <a:pt x="4" y="74"/>
                      <a:pt x="4" y="74"/>
                    </a:cubicBezTo>
                    <a:cubicBezTo>
                      <a:pt x="4" y="74"/>
                      <a:pt x="3" y="74"/>
                      <a:pt x="3" y="74"/>
                    </a:cubicBezTo>
                    <a:cubicBezTo>
                      <a:pt x="3" y="74"/>
                      <a:pt x="3" y="74"/>
                      <a:pt x="2" y="74"/>
                    </a:cubicBezTo>
                    <a:cubicBezTo>
                      <a:pt x="2" y="74"/>
                      <a:pt x="2" y="74"/>
                      <a:pt x="2" y="74"/>
                    </a:cubicBezTo>
                    <a:cubicBezTo>
                      <a:pt x="2" y="74"/>
                      <a:pt x="2" y="74"/>
                      <a:pt x="2" y="74"/>
                    </a:cubicBezTo>
                    <a:cubicBezTo>
                      <a:pt x="1" y="74"/>
                      <a:pt x="1" y="74"/>
                      <a:pt x="1" y="74"/>
                    </a:cubicBezTo>
                    <a:cubicBezTo>
                      <a:pt x="1" y="75"/>
                      <a:pt x="1" y="75"/>
                      <a:pt x="1" y="75"/>
                    </a:cubicBezTo>
                    <a:cubicBezTo>
                      <a:pt x="0" y="75"/>
                      <a:pt x="0" y="76"/>
                      <a:pt x="0" y="77"/>
                    </a:cubicBezTo>
                    <a:cubicBezTo>
                      <a:pt x="0" y="77"/>
                      <a:pt x="0" y="77"/>
                      <a:pt x="0" y="77"/>
                    </a:cubicBezTo>
                    <a:cubicBezTo>
                      <a:pt x="0" y="78"/>
                      <a:pt x="0" y="78"/>
                      <a:pt x="0" y="78"/>
                    </a:cubicBezTo>
                    <a:cubicBezTo>
                      <a:pt x="1" y="79"/>
                      <a:pt x="3" y="80"/>
                      <a:pt x="4" y="82"/>
                    </a:cubicBezTo>
                    <a:cubicBezTo>
                      <a:pt x="5" y="83"/>
                      <a:pt x="6" y="85"/>
                      <a:pt x="7" y="86"/>
                    </a:cubicBezTo>
                    <a:lnTo>
                      <a:pt x="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2" name="Freeform 3054">
                <a:extLst>
                  <a:ext uri="{FF2B5EF4-FFF2-40B4-BE49-F238E27FC236}">
                    <a16:creationId xmlns:a16="http://schemas.microsoft.com/office/drawing/2014/main" id="{FC2A1DAB-442E-4D49-B991-E80BB20B123A}"/>
                  </a:ext>
                </a:extLst>
              </p:cNvPr>
              <p:cNvSpPr>
                <a:spLocks/>
              </p:cNvSpPr>
              <p:nvPr/>
            </p:nvSpPr>
            <p:spPr bwMode="auto">
              <a:xfrm>
                <a:off x="3833" y="2921"/>
                <a:ext cx="295" cy="293"/>
              </a:xfrm>
              <a:custGeom>
                <a:avLst/>
                <a:gdLst>
                  <a:gd name="T0" fmla="*/ 17 w 125"/>
                  <a:gd name="T1" fmla="*/ 113 h 124"/>
                  <a:gd name="T2" fmla="*/ 20 w 125"/>
                  <a:gd name="T3" fmla="*/ 115 h 124"/>
                  <a:gd name="T4" fmla="*/ 21 w 125"/>
                  <a:gd name="T5" fmla="*/ 117 h 124"/>
                  <a:gd name="T6" fmla="*/ 24 w 125"/>
                  <a:gd name="T7" fmla="*/ 118 h 124"/>
                  <a:gd name="T8" fmla="*/ 27 w 125"/>
                  <a:gd name="T9" fmla="*/ 117 h 124"/>
                  <a:gd name="T10" fmla="*/ 42 w 125"/>
                  <a:gd name="T11" fmla="*/ 118 h 124"/>
                  <a:gd name="T12" fmla="*/ 63 w 125"/>
                  <a:gd name="T13" fmla="*/ 117 h 124"/>
                  <a:gd name="T14" fmla="*/ 70 w 125"/>
                  <a:gd name="T15" fmla="*/ 119 h 124"/>
                  <a:gd name="T16" fmla="*/ 75 w 125"/>
                  <a:gd name="T17" fmla="*/ 122 h 124"/>
                  <a:gd name="T18" fmla="*/ 78 w 125"/>
                  <a:gd name="T19" fmla="*/ 122 h 124"/>
                  <a:gd name="T20" fmla="*/ 83 w 125"/>
                  <a:gd name="T21" fmla="*/ 122 h 124"/>
                  <a:gd name="T22" fmla="*/ 102 w 125"/>
                  <a:gd name="T23" fmla="*/ 123 h 124"/>
                  <a:gd name="T24" fmla="*/ 106 w 125"/>
                  <a:gd name="T25" fmla="*/ 111 h 124"/>
                  <a:gd name="T26" fmla="*/ 104 w 125"/>
                  <a:gd name="T27" fmla="*/ 106 h 124"/>
                  <a:gd name="T28" fmla="*/ 103 w 125"/>
                  <a:gd name="T29" fmla="*/ 101 h 124"/>
                  <a:gd name="T30" fmla="*/ 104 w 125"/>
                  <a:gd name="T31" fmla="*/ 72 h 124"/>
                  <a:gd name="T32" fmla="*/ 113 w 125"/>
                  <a:gd name="T33" fmla="*/ 72 h 124"/>
                  <a:gd name="T34" fmla="*/ 123 w 125"/>
                  <a:gd name="T35" fmla="*/ 70 h 124"/>
                  <a:gd name="T36" fmla="*/ 124 w 125"/>
                  <a:gd name="T37" fmla="*/ 67 h 124"/>
                  <a:gd name="T38" fmla="*/ 124 w 125"/>
                  <a:gd name="T39" fmla="*/ 60 h 124"/>
                  <a:gd name="T40" fmla="*/ 121 w 125"/>
                  <a:gd name="T41" fmla="*/ 54 h 124"/>
                  <a:gd name="T42" fmla="*/ 117 w 125"/>
                  <a:gd name="T43" fmla="*/ 54 h 124"/>
                  <a:gd name="T44" fmla="*/ 106 w 125"/>
                  <a:gd name="T45" fmla="*/ 55 h 124"/>
                  <a:gd name="T46" fmla="*/ 105 w 125"/>
                  <a:gd name="T47" fmla="*/ 50 h 124"/>
                  <a:gd name="T48" fmla="*/ 106 w 125"/>
                  <a:gd name="T49" fmla="*/ 48 h 124"/>
                  <a:gd name="T50" fmla="*/ 107 w 125"/>
                  <a:gd name="T51" fmla="*/ 48 h 124"/>
                  <a:gd name="T52" fmla="*/ 105 w 125"/>
                  <a:gd name="T53" fmla="*/ 42 h 124"/>
                  <a:gd name="T54" fmla="*/ 102 w 125"/>
                  <a:gd name="T55" fmla="*/ 38 h 124"/>
                  <a:gd name="T56" fmla="*/ 101 w 125"/>
                  <a:gd name="T57" fmla="*/ 35 h 124"/>
                  <a:gd name="T58" fmla="*/ 102 w 125"/>
                  <a:gd name="T59" fmla="*/ 30 h 124"/>
                  <a:gd name="T60" fmla="*/ 102 w 125"/>
                  <a:gd name="T61" fmla="*/ 27 h 124"/>
                  <a:gd name="T62" fmla="*/ 102 w 125"/>
                  <a:gd name="T63" fmla="*/ 16 h 124"/>
                  <a:gd name="T64" fmla="*/ 100 w 125"/>
                  <a:gd name="T65" fmla="*/ 15 h 124"/>
                  <a:gd name="T66" fmla="*/ 94 w 125"/>
                  <a:gd name="T67" fmla="*/ 15 h 124"/>
                  <a:gd name="T68" fmla="*/ 89 w 125"/>
                  <a:gd name="T69" fmla="*/ 11 h 124"/>
                  <a:gd name="T70" fmla="*/ 88 w 125"/>
                  <a:gd name="T71" fmla="*/ 11 h 124"/>
                  <a:gd name="T72" fmla="*/ 85 w 125"/>
                  <a:gd name="T73" fmla="*/ 12 h 124"/>
                  <a:gd name="T74" fmla="*/ 83 w 125"/>
                  <a:gd name="T75" fmla="*/ 12 h 124"/>
                  <a:gd name="T76" fmla="*/ 81 w 125"/>
                  <a:gd name="T77" fmla="*/ 13 h 124"/>
                  <a:gd name="T78" fmla="*/ 80 w 125"/>
                  <a:gd name="T79" fmla="*/ 16 h 124"/>
                  <a:gd name="T80" fmla="*/ 79 w 125"/>
                  <a:gd name="T81" fmla="*/ 20 h 124"/>
                  <a:gd name="T82" fmla="*/ 77 w 125"/>
                  <a:gd name="T83" fmla="*/ 22 h 124"/>
                  <a:gd name="T84" fmla="*/ 67 w 125"/>
                  <a:gd name="T85" fmla="*/ 22 h 124"/>
                  <a:gd name="T86" fmla="*/ 64 w 125"/>
                  <a:gd name="T87" fmla="*/ 24 h 124"/>
                  <a:gd name="T88" fmla="*/ 55 w 125"/>
                  <a:gd name="T89" fmla="*/ 18 h 124"/>
                  <a:gd name="T90" fmla="*/ 53 w 125"/>
                  <a:gd name="T91" fmla="*/ 14 h 124"/>
                  <a:gd name="T92" fmla="*/ 47 w 125"/>
                  <a:gd name="T93" fmla="*/ 1 h 124"/>
                  <a:gd name="T94" fmla="*/ 43 w 125"/>
                  <a:gd name="T95" fmla="*/ 1 h 124"/>
                  <a:gd name="T96" fmla="*/ 24 w 125"/>
                  <a:gd name="T97" fmla="*/ 1 h 124"/>
                  <a:gd name="T98" fmla="*/ 17 w 125"/>
                  <a:gd name="T99" fmla="*/ 0 h 124"/>
                  <a:gd name="T100" fmla="*/ 10 w 125"/>
                  <a:gd name="T101" fmla="*/ 1 h 124"/>
                  <a:gd name="T102" fmla="*/ 5 w 125"/>
                  <a:gd name="T103" fmla="*/ 2 h 124"/>
                  <a:gd name="T104" fmla="*/ 13 w 125"/>
                  <a:gd name="T105" fmla="*/ 18 h 124"/>
                  <a:gd name="T106" fmla="*/ 13 w 125"/>
                  <a:gd name="T107" fmla="*/ 32 h 124"/>
                  <a:gd name="T108" fmla="*/ 21 w 125"/>
                  <a:gd name="T109" fmla="*/ 52 h 124"/>
                  <a:gd name="T110" fmla="*/ 15 w 125"/>
                  <a:gd name="T111" fmla="*/ 69 h 124"/>
                  <a:gd name="T112" fmla="*/ 4 w 125"/>
                  <a:gd name="T113" fmla="*/ 93 h 124"/>
                  <a:gd name="T114" fmla="*/ 0 w 125"/>
                  <a:gd name="T115" fmla="*/ 104 h 124"/>
                  <a:gd name="T116" fmla="*/ 7 w 125"/>
                  <a:gd name="T117" fmla="*/ 116 h 124"/>
                  <a:gd name="T118" fmla="*/ 12 w 125"/>
                  <a:gd name="T119" fmla="*/ 114 h 124"/>
                  <a:gd name="T120" fmla="*/ 13 w 125"/>
                  <a:gd name="T121" fmla="*/ 11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 h="124">
                    <a:moveTo>
                      <a:pt x="14" y="113"/>
                    </a:moveTo>
                    <a:cubicBezTo>
                      <a:pt x="14" y="113"/>
                      <a:pt x="15" y="113"/>
                      <a:pt x="15" y="113"/>
                    </a:cubicBezTo>
                    <a:cubicBezTo>
                      <a:pt x="17" y="113"/>
                      <a:pt x="17" y="113"/>
                      <a:pt x="17" y="113"/>
                    </a:cubicBezTo>
                    <a:cubicBezTo>
                      <a:pt x="17" y="113"/>
                      <a:pt x="17" y="113"/>
                      <a:pt x="17" y="113"/>
                    </a:cubicBezTo>
                    <a:cubicBezTo>
                      <a:pt x="18" y="114"/>
                      <a:pt x="19" y="115"/>
                      <a:pt x="20" y="115"/>
                    </a:cubicBezTo>
                    <a:cubicBezTo>
                      <a:pt x="20" y="115"/>
                      <a:pt x="20" y="115"/>
                      <a:pt x="20" y="115"/>
                    </a:cubicBezTo>
                    <a:cubicBezTo>
                      <a:pt x="20" y="116"/>
                      <a:pt x="20" y="116"/>
                      <a:pt x="20" y="116"/>
                    </a:cubicBezTo>
                    <a:cubicBezTo>
                      <a:pt x="21" y="116"/>
                      <a:pt x="21" y="116"/>
                      <a:pt x="21" y="116"/>
                    </a:cubicBezTo>
                    <a:cubicBezTo>
                      <a:pt x="21" y="116"/>
                      <a:pt x="21" y="116"/>
                      <a:pt x="21" y="117"/>
                    </a:cubicBezTo>
                    <a:cubicBezTo>
                      <a:pt x="21" y="117"/>
                      <a:pt x="21" y="117"/>
                      <a:pt x="21" y="117"/>
                    </a:cubicBezTo>
                    <a:cubicBezTo>
                      <a:pt x="22" y="117"/>
                      <a:pt x="23" y="118"/>
                      <a:pt x="23" y="118"/>
                    </a:cubicBezTo>
                    <a:cubicBezTo>
                      <a:pt x="23" y="118"/>
                      <a:pt x="23" y="118"/>
                      <a:pt x="24" y="118"/>
                    </a:cubicBezTo>
                    <a:cubicBezTo>
                      <a:pt x="24" y="118"/>
                      <a:pt x="25" y="117"/>
                      <a:pt x="25" y="117"/>
                    </a:cubicBezTo>
                    <a:cubicBezTo>
                      <a:pt x="25" y="117"/>
                      <a:pt x="25" y="117"/>
                      <a:pt x="25" y="117"/>
                    </a:cubicBezTo>
                    <a:cubicBezTo>
                      <a:pt x="26" y="117"/>
                      <a:pt x="26" y="117"/>
                      <a:pt x="27" y="117"/>
                    </a:cubicBezTo>
                    <a:cubicBezTo>
                      <a:pt x="30" y="117"/>
                      <a:pt x="30" y="117"/>
                      <a:pt x="30" y="117"/>
                    </a:cubicBezTo>
                    <a:cubicBezTo>
                      <a:pt x="33" y="117"/>
                      <a:pt x="35" y="118"/>
                      <a:pt x="38" y="118"/>
                    </a:cubicBezTo>
                    <a:cubicBezTo>
                      <a:pt x="42" y="118"/>
                      <a:pt x="42" y="118"/>
                      <a:pt x="42" y="118"/>
                    </a:cubicBezTo>
                    <a:cubicBezTo>
                      <a:pt x="48" y="118"/>
                      <a:pt x="55" y="118"/>
                      <a:pt x="62" y="117"/>
                    </a:cubicBezTo>
                    <a:cubicBezTo>
                      <a:pt x="62" y="117"/>
                      <a:pt x="63" y="117"/>
                      <a:pt x="63" y="117"/>
                    </a:cubicBezTo>
                    <a:cubicBezTo>
                      <a:pt x="63" y="117"/>
                      <a:pt x="63" y="117"/>
                      <a:pt x="63" y="117"/>
                    </a:cubicBezTo>
                    <a:cubicBezTo>
                      <a:pt x="65" y="117"/>
                      <a:pt x="68" y="117"/>
                      <a:pt x="69" y="118"/>
                    </a:cubicBezTo>
                    <a:cubicBezTo>
                      <a:pt x="69" y="118"/>
                      <a:pt x="70" y="118"/>
                      <a:pt x="70" y="119"/>
                    </a:cubicBezTo>
                    <a:cubicBezTo>
                      <a:pt x="70" y="119"/>
                      <a:pt x="70" y="119"/>
                      <a:pt x="70" y="119"/>
                    </a:cubicBezTo>
                    <a:cubicBezTo>
                      <a:pt x="71" y="119"/>
                      <a:pt x="71" y="120"/>
                      <a:pt x="71" y="120"/>
                    </a:cubicBezTo>
                    <a:cubicBezTo>
                      <a:pt x="72" y="120"/>
                      <a:pt x="72" y="121"/>
                      <a:pt x="73" y="122"/>
                    </a:cubicBezTo>
                    <a:cubicBezTo>
                      <a:pt x="74" y="122"/>
                      <a:pt x="74" y="122"/>
                      <a:pt x="75" y="122"/>
                    </a:cubicBezTo>
                    <a:cubicBezTo>
                      <a:pt x="76" y="122"/>
                      <a:pt x="76" y="122"/>
                      <a:pt x="76" y="122"/>
                    </a:cubicBezTo>
                    <a:cubicBezTo>
                      <a:pt x="76" y="122"/>
                      <a:pt x="76" y="122"/>
                      <a:pt x="76" y="122"/>
                    </a:cubicBezTo>
                    <a:cubicBezTo>
                      <a:pt x="78" y="122"/>
                      <a:pt x="78" y="122"/>
                      <a:pt x="78" y="122"/>
                    </a:cubicBezTo>
                    <a:cubicBezTo>
                      <a:pt x="79" y="122"/>
                      <a:pt x="79" y="122"/>
                      <a:pt x="80" y="122"/>
                    </a:cubicBezTo>
                    <a:cubicBezTo>
                      <a:pt x="80" y="122"/>
                      <a:pt x="81" y="122"/>
                      <a:pt x="81" y="122"/>
                    </a:cubicBezTo>
                    <a:cubicBezTo>
                      <a:pt x="83" y="122"/>
                      <a:pt x="83" y="122"/>
                      <a:pt x="83" y="122"/>
                    </a:cubicBezTo>
                    <a:cubicBezTo>
                      <a:pt x="83" y="122"/>
                      <a:pt x="83" y="122"/>
                      <a:pt x="84" y="122"/>
                    </a:cubicBezTo>
                    <a:cubicBezTo>
                      <a:pt x="87" y="123"/>
                      <a:pt x="87" y="123"/>
                      <a:pt x="87" y="123"/>
                    </a:cubicBezTo>
                    <a:cubicBezTo>
                      <a:pt x="92" y="123"/>
                      <a:pt x="97" y="124"/>
                      <a:pt x="102" y="123"/>
                    </a:cubicBezTo>
                    <a:cubicBezTo>
                      <a:pt x="117" y="121"/>
                      <a:pt x="117" y="121"/>
                      <a:pt x="117" y="121"/>
                    </a:cubicBezTo>
                    <a:cubicBezTo>
                      <a:pt x="117" y="120"/>
                      <a:pt x="117" y="120"/>
                      <a:pt x="117" y="120"/>
                    </a:cubicBezTo>
                    <a:cubicBezTo>
                      <a:pt x="106" y="111"/>
                      <a:pt x="106" y="111"/>
                      <a:pt x="106" y="111"/>
                    </a:cubicBezTo>
                    <a:cubicBezTo>
                      <a:pt x="105" y="110"/>
                      <a:pt x="104" y="109"/>
                      <a:pt x="104" y="107"/>
                    </a:cubicBezTo>
                    <a:cubicBezTo>
                      <a:pt x="102" y="107"/>
                      <a:pt x="102" y="107"/>
                      <a:pt x="102" y="107"/>
                    </a:cubicBezTo>
                    <a:cubicBezTo>
                      <a:pt x="104" y="106"/>
                      <a:pt x="104" y="106"/>
                      <a:pt x="104" y="106"/>
                    </a:cubicBezTo>
                    <a:cubicBezTo>
                      <a:pt x="103" y="105"/>
                      <a:pt x="103" y="105"/>
                      <a:pt x="103" y="105"/>
                    </a:cubicBezTo>
                    <a:cubicBezTo>
                      <a:pt x="103" y="104"/>
                      <a:pt x="103" y="103"/>
                      <a:pt x="103" y="102"/>
                    </a:cubicBezTo>
                    <a:cubicBezTo>
                      <a:pt x="103" y="101"/>
                      <a:pt x="103" y="101"/>
                      <a:pt x="103" y="101"/>
                    </a:cubicBezTo>
                    <a:cubicBezTo>
                      <a:pt x="103" y="75"/>
                      <a:pt x="103" y="75"/>
                      <a:pt x="103" y="75"/>
                    </a:cubicBezTo>
                    <a:cubicBezTo>
                      <a:pt x="103" y="74"/>
                      <a:pt x="103" y="74"/>
                      <a:pt x="103" y="74"/>
                    </a:cubicBezTo>
                    <a:cubicBezTo>
                      <a:pt x="103" y="73"/>
                      <a:pt x="103" y="73"/>
                      <a:pt x="104" y="72"/>
                    </a:cubicBezTo>
                    <a:cubicBezTo>
                      <a:pt x="104" y="72"/>
                      <a:pt x="105" y="71"/>
                      <a:pt x="106" y="71"/>
                    </a:cubicBezTo>
                    <a:cubicBezTo>
                      <a:pt x="108" y="71"/>
                      <a:pt x="111" y="71"/>
                      <a:pt x="113" y="72"/>
                    </a:cubicBezTo>
                    <a:cubicBezTo>
                      <a:pt x="113" y="72"/>
                      <a:pt x="113" y="72"/>
                      <a:pt x="113" y="72"/>
                    </a:cubicBezTo>
                    <a:cubicBezTo>
                      <a:pt x="114" y="72"/>
                      <a:pt x="114" y="72"/>
                      <a:pt x="115" y="72"/>
                    </a:cubicBezTo>
                    <a:cubicBezTo>
                      <a:pt x="123" y="72"/>
                      <a:pt x="123" y="72"/>
                      <a:pt x="123" y="72"/>
                    </a:cubicBezTo>
                    <a:cubicBezTo>
                      <a:pt x="123" y="71"/>
                      <a:pt x="123" y="71"/>
                      <a:pt x="123" y="70"/>
                    </a:cubicBezTo>
                    <a:cubicBezTo>
                      <a:pt x="123" y="70"/>
                      <a:pt x="123" y="70"/>
                      <a:pt x="123" y="70"/>
                    </a:cubicBezTo>
                    <a:cubicBezTo>
                      <a:pt x="123" y="69"/>
                      <a:pt x="123" y="68"/>
                      <a:pt x="124" y="68"/>
                    </a:cubicBezTo>
                    <a:cubicBezTo>
                      <a:pt x="124" y="67"/>
                      <a:pt x="124" y="67"/>
                      <a:pt x="124" y="67"/>
                    </a:cubicBezTo>
                    <a:cubicBezTo>
                      <a:pt x="124" y="67"/>
                      <a:pt x="124" y="67"/>
                      <a:pt x="124" y="66"/>
                    </a:cubicBezTo>
                    <a:cubicBezTo>
                      <a:pt x="125" y="65"/>
                      <a:pt x="124" y="63"/>
                      <a:pt x="124" y="62"/>
                    </a:cubicBezTo>
                    <a:cubicBezTo>
                      <a:pt x="124" y="61"/>
                      <a:pt x="124" y="60"/>
                      <a:pt x="124" y="60"/>
                    </a:cubicBezTo>
                    <a:cubicBezTo>
                      <a:pt x="124" y="53"/>
                      <a:pt x="124" y="53"/>
                      <a:pt x="124" y="53"/>
                    </a:cubicBezTo>
                    <a:cubicBezTo>
                      <a:pt x="124" y="53"/>
                      <a:pt x="124" y="54"/>
                      <a:pt x="123" y="54"/>
                    </a:cubicBezTo>
                    <a:cubicBezTo>
                      <a:pt x="123" y="54"/>
                      <a:pt x="122" y="54"/>
                      <a:pt x="121" y="54"/>
                    </a:cubicBezTo>
                    <a:cubicBezTo>
                      <a:pt x="120" y="54"/>
                      <a:pt x="120" y="54"/>
                      <a:pt x="120" y="54"/>
                    </a:cubicBezTo>
                    <a:cubicBezTo>
                      <a:pt x="120" y="54"/>
                      <a:pt x="120" y="54"/>
                      <a:pt x="119" y="54"/>
                    </a:cubicBezTo>
                    <a:cubicBezTo>
                      <a:pt x="118" y="54"/>
                      <a:pt x="117" y="54"/>
                      <a:pt x="117" y="54"/>
                    </a:cubicBezTo>
                    <a:cubicBezTo>
                      <a:pt x="113" y="54"/>
                      <a:pt x="110" y="55"/>
                      <a:pt x="108" y="56"/>
                    </a:cubicBezTo>
                    <a:cubicBezTo>
                      <a:pt x="106" y="56"/>
                      <a:pt x="106" y="56"/>
                      <a:pt x="106" y="56"/>
                    </a:cubicBezTo>
                    <a:cubicBezTo>
                      <a:pt x="106" y="55"/>
                      <a:pt x="106" y="55"/>
                      <a:pt x="106" y="55"/>
                    </a:cubicBezTo>
                    <a:cubicBezTo>
                      <a:pt x="106" y="55"/>
                      <a:pt x="106" y="54"/>
                      <a:pt x="106" y="54"/>
                    </a:cubicBezTo>
                    <a:cubicBezTo>
                      <a:pt x="106" y="54"/>
                      <a:pt x="106" y="54"/>
                      <a:pt x="106" y="54"/>
                    </a:cubicBezTo>
                    <a:cubicBezTo>
                      <a:pt x="105" y="53"/>
                      <a:pt x="105" y="52"/>
                      <a:pt x="105" y="50"/>
                    </a:cubicBezTo>
                    <a:cubicBezTo>
                      <a:pt x="105" y="50"/>
                      <a:pt x="106" y="49"/>
                      <a:pt x="106" y="49"/>
                    </a:cubicBezTo>
                    <a:cubicBezTo>
                      <a:pt x="106" y="49"/>
                      <a:pt x="106" y="49"/>
                      <a:pt x="106" y="49"/>
                    </a:cubicBezTo>
                    <a:cubicBezTo>
                      <a:pt x="106" y="48"/>
                      <a:pt x="106" y="48"/>
                      <a:pt x="106" y="48"/>
                    </a:cubicBezTo>
                    <a:cubicBezTo>
                      <a:pt x="106" y="48"/>
                      <a:pt x="106" y="48"/>
                      <a:pt x="106" y="48"/>
                    </a:cubicBezTo>
                    <a:cubicBezTo>
                      <a:pt x="106" y="48"/>
                      <a:pt x="106" y="48"/>
                      <a:pt x="106" y="48"/>
                    </a:cubicBezTo>
                    <a:cubicBezTo>
                      <a:pt x="107" y="48"/>
                      <a:pt x="107" y="48"/>
                      <a:pt x="107" y="48"/>
                    </a:cubicBezTo>
                    <a:cubicBezTo>
                      <a:pt x="107" y="48"/>
                      <a:pt x="106" y="47"/>
                      <a:pt x="106" y="46"/>
                    </a:cubicBezTo>
                    <a:cubicBezTo>
                      <a:pt x="106" y="45"/>
                      <a:pt x="106" y="43"/>
                      <a:pt x="105" y="42"/>
                    </a:cubicBezTo>
                    <a:cubicBezTo>
                      <a:pt x="105" y="42"/>
                      <a:pt x="105" y="42"/>
                      <a:pt x="105" y="42"/>
                    </a:cubicBezTo>
                    <a:cubicBezTo>
                      <a:pt x="105" y="42"/>
                      <a:pt x="105" y="42"/>
                      <a:pt x="105" y="42"/>
                    </a:cubicBezTo>
                    <a:cubicBezTo>
                      <a:pt x="105" y="41"/>
                      <a:pt x="104" y="41"/>
                      <a:pt x="104" y="41"/>
                    </a:cubicBezTo>
                    <a:cubicBezTo>
                      <a:pt x="103" y="40"/>
                      <a:pt x="102" y="39"/>
                      <a:pt x="102" y="38"/>
                    </a:cubicBezTo>
                    <a:cubicBezTo>
                      <a:pt x="102" y="38"/>
                      <a:pt x="102" y="37"/>
                      <a:pt x="102" y="37"/>
                    </a:cubicBezTo>
                    <a:cubicBezTo>
                      <a:pt x="101" y="36"/>
                      <a:pt x="101" y="36"/>
                      <a:pt x="101" y="35"/>
                    </a:cubicBezTo>
                    <a:cubicBezTo>
                      <a:pt x="101" y="35"/>
                      <a:pt x="101" y="35"/>
                      <a:pt x="101" y="35"/>
                    </a:cubicBezTo>
                    <a:cubicBezTo>
                      <a:pt x="101" y="34"/>
                      <a:pt x="101" y="34"/>
                      <a:pt x="101" y="34"/>
                    </a:cubicBezTo>
                    <a:cubicBezTo>
                      <a:pt x="102" y="33"/>
                      <a:pt x="102" y="33"/>
                      <a:pt x="102" y="33"/>
                    </a:cubicBezTo>
                    <a:cubicBezTo>
                      <a:pt x="102" y="32"/>
                      <a:pt x="102" y="31"/>
                      <a:pt x="102" y="30"/>
                    </a:cubicBezTo>
                    <a:cubicBezTo>
                      <a:pt x="102" y="28"/>
                      <a:pt x="102" y="28"/>
                      <a:pt x="102" y="28"/>
                    </a:cubicBezTo>
                    <a:cubicBezTo>
                      <a:pt x="102" y="28"/>
                      <a:pt x="102" y="28"/>
                      <a:pt x="102" y="27"/>
                    </a:cubicBezTo>
                    <a:cubicBezTo>
                      <a:pt x="102" y="27"/>
                      <a:pt x="102" y="27"/>
                      <a:pt x="102" y="27"/>
                    </a:cubicBezTo>
                    <a:cubicBezTo>
                      <a:pt x="102" y="27"/>
                      <a:pt x="103" y="25"/>
                      <a:pt x="102" y="25"/>
                    </a:cubicBezTo>
                    <a:cubicBezTo>
                      <a:pt x="101" y="22"/>
                      <a:pt x="101" y="21"/>
                      <a:pt x="101" y="18"/>
                    </a:cubicBezTo>
                    <a:cubicBezTo>
                      <a:pt x="102" y="18"/>
                      <a:pt x="102" y="17"/>
                      <a:pt x="102" y="16"/>
                    </a:cubicBezTo>
                    <a:cubicBezTo>
                      <a:pt x="102" y="15"/>
                      <a:pt x="102" y="15"/>
                      <a:pt x="101" y="15"/>
                    </a:cubicBezTo>
                    <a:cubicBezTo>
                      <a:pt x="101" y="15"/>
                      <a:pt x="101" y="15"/>
                      <a:pt x="101" y="15"/>
                    </a:cubicBezTo>
                    <a:cubicBezTo>
                      <a:pt x="100" y="15"/>
                      <a:pt x="100" y="15"/>
                      <a:pt x="100" y="15"/>
                    </a:cubicBezTo>
                    <a:cubicBezTo>
                      <a:pt x="100" y="15"/>
                      <a:pt x="100" y="15"/>
                      <a:pt x="100" y="15"/>
                    </a:cubicBezTo>
                    <a:cubicBezTo>
                      <a:pt x="95" y="15"/>
                      <a:pt x="95" y="15"/>
                      <a:pt x="95" y="15"/>
                    </a:cubicBezTo>
                    <a:cubicBezTo>
                      <a:pt x="94" y="15"/>
                      <a:pt x="94" y="15"/>
                      <a:pt x="94" y="15"/>
                    </a:cubicBezTo>
                    <a:cubicBezTo>
                      <a:pt x="92" y="15"/>
                      <a:pt x="91" y="15"/>
                      <a:pt x="90" y="15"/>
                    </a:cubicBezTo>
                    <a:cubicBezTo>
                      <a:pt x="89" y="15"/>
                      <a:pt x="89" y="14"/>
                      <a:pt x="89" y="14"/>
                    </a:cubicBezTo>
                    <a:cubicBezTo>
                      <a:pt x="88" y="13"/>
                      <a:pt x="88" y="12"/>
                      <a:pt x="89" y="11"/>
                    </a:cubicBezTo>
                    <a:cubicBezTo>
                      <a:pt x="89" y="11"/>
                      <a:pt x="89" y="11"/>
                      <a:pt x="89" y="11"/>
                    </a:cubicBezTo>
                    <a:cubicBezTo>
                      <a:pt x="89" y="11"/>
                      <a:pt x="89" y="11"/>
                      <a:pt x="89" y="11"/>
                    </a:cubicBezTo>
                    <a:cubicBezTo>
                      <a:pt x="89" y="11"/>
                      <a:pt x="88" y="11"/>
                      <a:pt x="88" y="11"/>
                    </a:cubicBezTo>
                    <a:cubicBezTo>
                      <a:pt x="88" y="11"/>
                      <a:pt x="88" y="11"/>
                      <a:pt x="88" y="11"/>
                    </a:cubicBezTo>
                    <a:cubicBezTo>
                      <a:pt x="88" y="12"/>
                      <a:pt x="87" y="12"/>
                      <a:pt x="87" y="12"/>
                    </a:cubicBezTo>
                    <a:cubicBezTo>
                      <a:pt x="86" y="12"/>
                      <a:pt x="86" y="12"/>
                      <a:pt x="85" y="12"/>
                    </a:cubicBezTo>
                    <a:cubicBezTo>
                      <a:pt x="84" y="12"/>
                      <a:pt x="84" y="12"/>
                      <a:pt x="84" y="12"/>
                    </a:cubicBezTo>
                    <a:cubicBezTo>
                      <a:pt x="84" y="12"/>
                      <a:pt x="84" y="12"/>
                      <a:pt x="84" y="12"/>
                    </a:cubicBezTo>
                    <a:cubicBezTo>
                      <a:pt x="84" y="12"/>
                      <a:pt x="84" y="12"/>
                      <a:pt x="83" y="12"/>
                    </a:cubicBezTo>
                    <a:cubicBezTo>
                      <a:pt x="83" y="12"/>
                      <a:pt x="83" y="12"/>
                      <a:pt x="83" y="12"/>
                    </a:cubicBezTo>
                    <a:cubicBezTo>
                      <a:pt x="82" y="12"/>
                      <a:pt x="82" y="12"/>
                      <a:pt x="82" y="12"/>
                    </a:cubicBezTo>
                    <a:cubicBezTo>
                      <a:pt x="82" y="12"/>
                      <a:pt x="82" y="13"/>
                      <a:pt x="81" y="13"/>
                    </a:cubicBezTo>
                    <a:cubicBezTo>
                      <a:pt x="81" y="13"/>
                      <a:pt x="81" y="13"/>
                      <a:pt x="81" y="13"/>
                    </a:cubicBezTo>
                    <a:cubicBezTo>
                      <a:pt x="81" y="13"/>
                      <a:pt x="81" y="13"/>
                      <a:pt x="81" y="13"/>
                    </a:cubicBezTo>
                    <a:cubicBezTo>
                      <a:pt x="81" y="13"/>
                      <a:pt x="80" y="14"/>
                      <a:pt x="80" y="16"/>
                    </a:cubicBezTo>
                    <a:cubicBezTo>
                      <a:pt x="80" y="16"/>
                      <a:pt x="80" y="16"/>
                      <a:pt x="80" y="16"/>
                    </a:cubicBezTo>
                    <a:cubicBezTo>
                      <a:pt x="80" y="19"/>
                      <a:pt x="80" y="19"/>
                      <a:pt x="80" y="19"/>
                    </a:cubicBezTo>
                    <a:cubicBezTo>
                      <a:pt x="79" y="19"/>
                      <a:pt x="79" y="19"/>
                      <a:pt x="79" y="20"/>
                    </a:cubicBezTo>
                    <a:cubicBezTo>
                      <a:pt x="79" y="20"/>
                      <a:pt x="79" y="20"/>
                      <a:pt x="79" y="20"/>
                    </a:cubicBezTo>
                    <a:cubicBezTo>
                      <a:pt x="79" y="20"/>
                      <a:pt x="79" y="22"/>
                      <a:pt x="77" y="22"/>
                    </a:cubicBezTo>
                    <a:cubicBezTo>
                      <a:pt x="77" y="22"/>
                      <a:pt x="77" y="22"/>
                      <a:pt x="77" y="22"/>
                    </a:cubicBezTo>
                    <a:cubicBezTo>
                      <a:pt x="70" y="22"/>
                      <a:pt x="70" y="22"/>
                      <a:pt x="70" y="22"/>
                    </a:cubicBezTo>
                    <a:cubicBezTo>
                      <a:pt x="70" y="22"/>
                      <a:pt x="70" y="22"/>
                      <a:pt x="70" y="22"/>
                    </a:cubicBezTo>
                    <a:cubicBezTo>
                      <a:pt x="69" y="22"/>
                      <a:pt x="68" y="22"/>
                      <a:pt x="67" y="22"/>
                    </a:cubicBezTo>
                    <a:cubicBezTo>
                      <a:pt x="66" y="22"/>
                      <a:pt x="66" y="22"/>
                      <a:pt x="66" y="22"/>
                    </a:cubicBezTo>
                    <a:cubicBezTo>
                      <a:pt x="66" y="22"/>
                      <a:pt x="66" y="23"/>
                      <a:pt x="66" y="23"/>
                    </a:cubicBezTo>
                    <a:cubicBezTo>
                      <a:pt x="66" y="23"/>
                      <a:pt x="65" y="24"/>
                      <a:pt x="64" y="24"/>
                    </a:cubicBezTo>
                    <a:cubicBezTo>
                      <a:pt x="61" y="23"/>
                      <a:pt x="61" y="23"/>
                      <a:pt x="61" y="23"/>
                    </a:cubicBezTo>
                    <a:cubicBezTo>
                      <a:pt x="59" y="23"/>
                      <a:pt x="58" y="23"/>
                      <a:pt x="57" y="21"/>
                    </a:cubicBezTo>
                    <a:cubicBezTo>
                      <a:pt x="55" y="18"/>
                      <a:pt x="55" y="18"/>
                      <a:pt x="55" y="18"/>
                    </a:cubicBezTo>
                    <a:cubicBezTo>
                      <a:pt x="55" y="18"/>
                      <a:pt x="55" y="17"/>
                      <a:pt x="55" y="17"/>
                    </a:cubicBezTo>
                    <a:cubicBezTo>
                      <a:pt x="54" y="17"/>
                      <a:pt x="54" y="17"/>
                      <a:pt x="54" y="17"/>
                    </a:cubicBezTo>
                    <a:cubicBezTo>
                      <a:pt x="54" y="16"/>
                      <a:pt x="53" y="15"/>
                      <a:pt x="53" y="14"/>
                    </a:cubicBezTo>
                    <a:cubicBezTo>
                      <a:pt x="51" y="11"/>
                      <a:pt x="50" y="8"/>
                      <a:pt x="50" y="5"/>
                    </a:cubicBezTo>
                    <a:cubicBezTo>
                      <a:pt x="49" y="1"/>
                      <a:pt x="49" y="1"/>
                      <a:pt x="49" y="1"/>
                    </a:cubicBezTo>
                    <a:cubicBezTo>
                      <a:pt x="48" y="1"/>
                      <a:pt x="48" y="1"/>
                      <a:pt x="47" y="1"/>
                    </a:cubicBezTo>
                    <a:cubicBezTo>
                      <a:pt x="46" y="1"/>
                      <a:pt x="46" y="1"/>
                      <a:pt x="46" y="1"/>
                    </a:cubicBezTo>
                    <a:cubicBezTo>
                      <a:pt x="46" y="1"/>
                      <a:pt x="45" y="1"/>
                      <a:pt x="45" y="1"/>
                    </a:cubicBezTo>
                    <a:cubicBezTo>
                      <a:pt x="44" y="1"/>
                      <a:pt x="44" y="1"/>
                      <a:pt x="43" y="1"/>
                    </a:cubicBezTo>
                    <a:cubicBezTo>
                      <a:pt x="31" y="1"/>
                      <a:pt x="31" y="1"/>
                      <a:pt x="31" y="1"/>
                    </a:cubicBezTo>
                    <a:cubicBezTo>
                      <a:pt x="29" y="1"/>
                      <a:pt x="27" y="1"/>
                      <a:pt x="25" y="1"/>
                    </a:cubicBezTo>
                    <a:cubicBezTo>
                      <a:pt x="24" y="1"/>
                      <a:pt x="24" y="1"/>
                      <a:pt x="24" y="1"/>
                    </a:cubicBezTo>
                    <a:cubicBezTo>
                      <a:pt x="23" y="1"/>
                      <a:pt x="22" y="1"/>
                      <a:pt x="21" y="1"/>
                    </a:cubicBezTo>
                    <a:cubicBezTo>
                      <a:pt x="20" y="0"/>
                      <a:pt x="19" y="0"/>
                      <a:pt x="18" y="0"/>
                    </a:cubicBezTo>
                    <a:cubicBezTo>
                      <a:pt x="17" y="0"/>
                      <a:pt x="17" y="0"/>
                      <a:pt x="17" y="0"/>
                    </a:cubicBezTo>
                    <a:cubicBezTo>
                      <a:pt x="17" y="0"/>
                      <a:pt x="17" y="0"/>
                      <a:pt x="17" y="0"/>
                    </a:cubicBezTo>
                    <a:cubicBezTo>
                      <a:pt x="16" y="0"/>
                      <a:pt x="14" y="0"/>
                      <a:pt x="12" y="0"/>
                    </a:cubicBezTo>
                    <a:cubicBezTo>
                      <a:pt x="12" y="0"/>
                      <a:pt x="11" y="0"/>
                      <a:pt x="10" y="1"/>
                    </a:cubicBezTo>
                    <a:cubicBezTo>
                      <a:pt x="9" y="2"/>
                      <a:pt x="8" y="2"/>
                      <a:pt x="7" y="2"/>
                    </a:cubicBezTo>
                    <a:cubicBezTo>
                      <a:pt x="7" y="2"/>
                      <a:pt x="7" y="2"/>
                      <a:pt x="7" y="2"/>
                    </a:cubicBezTo>
                    <a:cubicBezTo>
                      <a:pt x="5" y="2"/>
                      <a:pt x="5" y="2"/>
                      <a:pt x="5" y="2"/>
                    </a:cubicBezTo>
                    <a:cubicBezTo>
                      <a:pt x="6" y="3"/>
                      <a:pt x="7" y="5"/>
                      <a:pt x="7" y="6"/>
                    </a:cubicBezTo>
                    <a:cubicBezTo>
                      <a:pt x="8" y="7"/>
                      <a:pt x="9" y="8"/>
                      <a:pt x="9" y="9"/>
                    </a:cubicBezTo>
                    <a:cubicBezTo>
                      <a:pt x="11" y="12"/>
                      <a:pt x="12" y="15"/>
                      <a:pt x="13" y="18"/>
                    </a:cubicBezTo>
                    <a:cubicBezTo>
                      <a:pt x="14" y="21"/>
                      <a:pt x="16" y="23"/>
                      <a:pt x="16" y="25"/>
                    </a:cubicBezTo>
                    <a:cubicBezTo>
                      <a:pt x="16" y="27"/>
                      <a:pt x="17" y="28"/>
                      <a:pt x="15" y="29"/>
                    </a:cubicBezTo>
                    <a:cubicBezTo>
                      <a:pt x="15" y="30"/>
                      <a:pt x="13" y="31"/>
                      <a:pt x="13" y="32"/>
                    </a:cubicBezTo>
                    <a:cubicBezTo>
                      <a:pt x="12" y="33"/>
                      <a:pt x="14" y="35"/>
                      <a:pt x="14" y="35"/>
                    </a:cubicBezTo>
                    <a:cubicBezTo>
                      <a:pt x="15" y="38"/>
                      <a:pt x="16" y="41"/>
                      <a:pt x="18" y="44"/>
                    </a:cubicBezTo>
                    <a:cubicBezTo>
                      <a:pt x="19" y="47"/>
                      <a:pt x="21" y="49"/>
                      <a:pt x="21" y="52"/>
                    </a:cubicBezTo>
                    <a:cubicBezTo>
                      <a:pt x="21" y="54"/>
                      <a:pt x="22" y="58"/>
                      <a:pt x="20" y="61"/>
                    </a:cubicBezTo>
                    <a:cubicBezTo>
                      <a:pt x="20" y="63"/>
                      <a:pt x="19" y="65"/>
                      <a:pt x="18" y="67"/>
                    </a:cubicBezTo>
                    <a:cubicBezTo>
                      <a:pt x="17" y="68"/>
                      <a:pt x="17" y="68"/>
                      <a:pt x="15" y="69"/>
                    </a:cubicBezTo>
                    <a:cubicBezTo>
                      <a:pt x="13" y="70"/>
                      <a:pt x="11" y="73"/>
                      <a:pt x="10" y="75"/>
                    </a:cubicBezTo>
                    <a:cubicBezTo>
                      <a:pt x="8" y="77"/>
                      <a:pt x="8" y="79"/>
                      <a:pt x="7" y="81"/>
                    </a:cubicBezTo>
                    <a:cubicBezTo>
                      <a:pt x="6" y="85"/>
                      <a:pt x="5" y="89"/>
                      <a:pt x="4" y="93"/>
                    </a:cubicBezTo>
                    <a:cubicBezTo>
                      <a:pt x="4" y="95"/>
                      <a:pt x="4" y="98"/>
                      <a:pt x="2" y="100"/>
                    </a:cubicBezTo>
                    <a:cubicBezTo>
                      <a:pt x="2" y="100"/>
                      <a:pt x="0" y="102"/>
                      <a:pt x="0" y="103"/>
                    </a:cubicBezTo>
                    <a:cubicBezTo>
                      <a:pt x="0" y="103"/>
                      <a:pt x="0" y="104"/>
                      <a:pt x="0" y="104"/>
                    </a:cubicBezTo>
                    <a:cubicBezTo>
                      <a:pt x="0" y="108"/>
                      <a:pt x="0" y="112"/>
                      <a:pt x="0" y="116"/>
                    </a:cubicBezTo>
                    <a:cubicBezTo>
                      <a:pt x="1" y="116"/>
                      <a:pt x="2" y="116"/>
                      <a:pt x="3" y="116"/>
                    </a:cubicBezTo>
                    <a:cubicBezTo>
                      <a:pt x="4" y="116"/>
                      <a:pt x="6" y="116"/>
                      <a:pt x="7" y="116"/>
                    </a:cubicBezTo>
                    <a:cubicBezTo>
                      <a:pt x="8" y="116"/>
                      <a:pt x="9" y="115"/>
                      <a:pt x="10" y="115"/>
                    </a:cubicBezTo>
                    <a:cubicBezTo>
                      <a:pt x="10" y="115"/>
                      <a:pt x="11" y="114"/>
                      <a:pt x="11" y="114"/>
                    </a:cubicBezTo>
                    <a:cubicBezTo>
                      <a:pt x="12" y="114"/>
                      <a:pt x="12" y="114"/>
                      <a:pt x="12" y="114"/>
                    </a:cubicBezTo>
                    <a:cubicBezTo>
                      <a:pt x="13" y="114"/>
                      <a:pt x="13" y="114"/>
                      <a:pt x="13" y="114"/>
                    </a:cubicBezTo>
                    <a:cubicBezTo>
                      <a:pt x="12" y="112"/>
                      <a:pt x="12" y="112"/>
                      <a:pt x="12" y="112"/>
                    </a:cubicBezTo>
                    <a:cubicBezTo>
                      <a:pt x="13" y="113"/>
                      <a:pt x="13" y="113"/>
                      <a:pt x="13" y="113"/>
                    </a:cubicBezTo>
                    <a:lnTo>
                      <a:pt x="14"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3" name="Freeform 3055">
                <a:extLst>
                  <a:ext uri="{FF2B5EF4-FFF2-40B4-BE49-F238E27FC236}">
                    <a16:creationId xmlns:a16="http://schemas.microsoft.com/office/drawing/2014/main" id="{D1016D8B-F986-4E24-9D02-C86374A13946}"/>
                  </a:ext>
                </a:extLst>
              </p:cNvPr>
              <p:cNvSpPr>
                <a:spLocks/>
              </p:cNvSpPr>
              <p:nvPr/>
            </p:nvSpPr>
            <p:spPr bwMode="auto">
              <a:xfrm>
                <a:off x="4083" y="2980"/>
                <a:ext cx="275" cy="236"/>
              </a:xfrm>
              <a:custGeom>
                <a:avLst/>
                <a:gdLst>
                  <a:gd name="T0" fmla="*/ 108 w 116"/>
                  <a:gd name="T1" fmla="*/ 56 h 100"/>
                  <a:gd name="T2" fmla="*/ 108 w 116"/>
                  <a:gd name="T3" fmla="*/ 52 h 100"/>
                  <a:gd name="T4" fmla="*/ 109 w 116"/>
                  <a:gd name="T5" fmla="*/ 51 h 100"/>
                  <a:gd name="T6" fmla="*/ 110 w 116"/>
                  <a:gd name="T7" fmla="*/ 43 h 100"/>
                  <a:gd name="T8" fmla="*/ 113 w 116"/>
                  <a:gd name="T9" fmla="*/ 42 h 100"/>
                  <a:gd name="T10" fmla="*/ 112 w 116"/>
                  <a:gd name="T11" fmla="*/ 36 h 100"/>
                  <a:gd name="T12" fmla="*/ 113 w 116"/>
                  <a:gd name="T13" fmla="*/ 30 h 100"/>
                  <a:gd name="T14" fmla="*/ 113 w 116"/>
                  <a:gd name="T15" fmla="*/ 27 h 100"/>
                  <a:gd name="T16" fmla="*/ 113 w 116"/>
                  <a:gd name="T17" fmla="*/ 24 h 100"/>
                  <a:gd name="T18" fmla="*/ 116 w 116"/>
                  <a:gd name="T19" fmla="*/ 22 h 100"/>
                  <a:gd name="T20" fmla="*/ 109 w 116"/>
                  <a:gd name="T21" fmla="*/ 11 h 100"/>
                  <a:gd name="T22" fmla="*/ 99 w 116"/>
                  <a:gd name="T23" fmla="*/ 8 h 100"/>
                  <a:gd name="T24" fmla="*/ 97 w 116"/>
                  <a:gd name="T25" fmla="*/ 6 h 100"/>
                  <a:gd name="T26" fmla="*/ 92 w 116"/>
                  <a:gd name="T27" fmla="*/ 4 h 100"/>
                  <a:gd name="T28" fmla="*/ 86 w 116"/>
                  <a:gd name="T29" fmla="*/ 2 h 100"/>
                  <a:gd name="T30" fmla="*/ 71 w 116"/>
                  <a:gd name="T31" fmla="*/ 2 h 100"/>
                  <a:gd name="T32" fmla="*/ 68 w 116"/>
                  <a:gd name="T33" fmla="*/ 7 h 100"/>
                  <a:gd name="T34" fmla="*/ 67 w 116"/>
                  <a:gd name="T35" fmla="*/ 11 h 100"/>
                  <a:gd name="T36" fmla="*/ 67 w 116"/>
                  <a:gd name="T37" fmla="*/ 12 h 100"/>
                  <a:gd name="T38" fmla="*/ 68 w 116"/>
                  <a:gd name="T39" fmla="*/ 17 h 100"/>
                  <a:gd name="T40" fmla="*/ 67 w 116"/>
                  <a:gd name="T41" fmla="*/ 20 h 100"/>
                  <a:gd name="T42" fmla="*/ 67 w 116"/>
                  <a:gd name="T43" fmla="*/ 36 h 100"/>
                  <a:gd name="T44" fmla="*/ 71 w 116"/>
                  <a:gd name="T45" fmla="*/ 40 h 100"/>
                  <a:gd name="T46" fmla="*/ 74 w 116"/>
                  <a:gd name="T47" fmla="*/ 40 h 100"/>
                  <a:gd name="T48" fmla="*/ 78 w 116"/>
                  <a:gd name="T49" fmla="*/ 38 h 100"/>
                  <a:gd name="T50" fmla="*/ 78 w 116"/>
                  <a:gd name="T51" fmla="*/ 54 h 100"/>
                  <a:gd name="T52" fmla="*/ 76 w 116"/>
                  <a:gd name="T53" fmla="*/ 54 h 100"/>
                  <a:gd name="T54" fmla="*/ 74 w 116"/>
                  <a:gd name="T55" fmla="*/ 53 h 100"/>
                  <a:gd name="T56" fmla="*/ 62 w 116"/>
                  <a:gd name="T57" fmla="*/ 43 h 100"/>
                  <a:gd name="T58" fmla="*/ 57 w 116"/>
                  <a:gd name="T59" fmla="*/ 41 h 100"/>
                  <a:gd name="T60" fmla="*/ 53 w 116"/>
                  <a:gd name="T61" fmla="*/ 38 h 100"/>
                  <a:gd name="T62" fmla="*/ 51 w 116"/>
                  <a:gd name="T63" fmla="*/ 36 h 100"/>
                  <a:gd name="T64" fmla="*/ 37 w 116"/>
                  <a:gd name="T65" fmla="*/ 37 h 100"/>
                  <a:gd name="T66" fmla="*/ 32 w 116"/>
                  <a:gd name="T67" fmla="*/ 34 h 100"/>
                  <a:gd name="T68" fmla="*/ 28 w 116"/>
                  <a:gd name="T69" fmla="*/ 31 h 100"/>
                  <a:gd name="T70" fmla="*/ 22 w 116"/>
                  <a:gd name="T71" fmla="*/ 33 h 100"/>
                  <a:gd name="T72" fmla="*/ 22 w 116"/>
                  <a:gd name="T73" fmla="*/ 30 h 100"/>
                  <a:gd name="T74" fmla="*/ 21 w 116"/>
                  <a:gd name="T75" fmla="*/ 37 h 100"/>
                  <a:gd name="T76" fmla="*/ 19 w 116"/>
                  <a:gd name="T77" fmla="*/ 45 h 100"/>
                  <a:gd name="T78" fmla="*/ 21 w 116"/>
                  <a:gd name="T79" fmla="*/ 49 h 100"/>
                  <a:gd name="T80" fmla="*/ 0 w 116"/>
                  <a:gd name="T81" fmla="*/ 49 h 100"/>
                  <a:gd name="T82" fmla="*/ 0 w 116"/>
                  <a:gd name="T83" fmla="*/ 53 h 100"/>
                  <a:gd name="T84" fmla="*/ 0 w 116"/>
                  <a:gd name="T85" fmla="*/ 81 h 100"/>
                  <a:gd name="T86" fmla="*/ 13 w 116"/>
                  <a:gd name="T87" fmla="*/ 94 h 100"/>
                  <a:gd name="T88" fmla="*/ 14 w 116"/>
                  <a:gd name="T89" fmla="*/ 95 h 100"/>
                  <a:gd name="T90" fmla="*/ 23 w 116"/>
                  <a:gd name="T91" fmla="*/ 94 h 100"/>
                  <a:gd name="T92" fmla="*/ 31 w 116"/>
                  <a:gd name="T93" fmla="*/ 96 h 100"/>
                  <a:gd name="T94" fmla="*/ 33 w 116"/>
                  <a:gd name="T95" fmla="*/ 97 h 100"/>
                  <a:gd name="T96" fmla="*/ 46 w 116"/>
                  <a:gd name="T97" fmla="*/ 100 h 100"/>
                  <a:gd name="T98" fmla="*/ 48 w 116"/>
                  <a:gd name="T99" fmla="*/ 99 h 100"/>
                  <a:gd name="T100" fmla="*/ 51 w 116"/>
                  <a:gd name="T101" fmla="*/ 96 h 100"/>
                  <a:gd name="T102" fmla="*/ 54 w 116"/>
                  <a:gd name="T103" fmla="*/ 94 h 100"/>
                  <a:gd name="T104" fmla="*/ 55 w 116"/>
                  <a:gd name="T105" fmla="*/ 92 h 100"/>
                  <a:gd name="T106" fmla="*/ 61 w 116"/>
                  <a:gd name="T107" fmla="*/ 87 h 100"/>
                  <a:gd name="T108" fmla="*/ 67 w 116"/>
                  <a:gd name="T109" fmla="*/ 83 h 100"/>
                  <a:gd name="T110" fmla="*/ 68 w 116"/>
                  <a:gd name="T111" fmla="*/ 81 h 100"/>
                  <a:gd name="T112" fmla="*/ 70 w 116"/>
                  <a:gd name="T113" fmla="*/ 77 h 100"/>
                  <a:gd name="T114" fmla="*/ 81 w 116"/>
                  <a:gd name="T115" fmla="*/ 74 h 100"/>
                  <a:gd name="T116" fmla="*/ 81 w 116"/>
                  <a:gd name="T117" fmla="*/ 69 h 100"/>
                  <a:gd name="T118" fmla="*/ 109 w 116"/>
                  <a:gd name="T119" fmla="*/ 5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 h="100">
                    <a:moveTo>
                      <a:pt x="109" y="58"/>
                    </a:moveTo>
                    <a:cubicBezTo>
                      <a:pt x="109" y="58"/>
                      <a:pt x="109" y="58"/>
                      <a:pt x="109" y="58"/>
                    </a:cubicBezTo>
                    <a:cubicBezTo>
                      <a:pt x="109" y="58"/>
                      <a:pt x="109" y="57"/>
                      <a:pt x="108" y="57"/>
                    </a:cubicBezTo>
                    <a:cubicBezTo>
                      <a:pt x="108" y="56"/>
                      <a:pt x="108" y="56"/>
                      <a:pt x="108" y="56"/>
                    </a:cubicBezTo>
                    <a:cubicBezTo>
                      <a:pt x="107" y="56"/>
                      <a:pt x="107" y="56"/>
                      <a:pt x="107" y="55"/>
                    </a:cubicBezTo>
                    <a:cubicBezTo>
                      <a:pt x="107" y="55"/>
                      <a:pt x="107" y="55"/>
                      <a:pt x="107" y="54"/>
                    </a:cubicBezTo>
                    <a:cubicBezTo>
                      <a:pt x="107" y="54"/>
                      <a:pt x="107" y="53"/>
                      <a:pt x="107" y="53"/>
                    </a:cubicBezTo>
                    <a:cubicBezTo>
                      <a:pt x="108" y="53"/>
                      <a:pt x="108" y="52"/>
                      <a:pt x="108" y="52"/>
                    </a:cubicBezTo>
                    <a:cubicBezTo>
                      <a:pt x="108" y="52"/>
                      <a:pt x="108" y="52"/>
                      <a:pt x="108" y="52"/>
                    </a:cubicBezTo>
                    <a:cubicBezTo>
                      <a:pt x="109" y="52"/>
                      <a:pt x="109" y="52"/>
                      <a:pt x="109" y="52"/>
                    </a:cubicBezTo>
                    <a:cubicBezTo>
                      <a:pt x="109" y="52"/>
                      <a:pt x="109" y="51"/>
                      <a:pt x="109" y="51"/>
                    </a:cubicBezTo>
                    <a:cubicBezTo>
                      <a:pt x="109" y="51"/>
                      <a:pt x="109" y="51"/>
                      <a:pt x="109" y="51"/>
                    </a:cubicBezTo>
                    <a:cubicBezTo>
                      <a:pt x="110" y="50"/>
                      <a:pt x="110" y="48"/>
                      <a:pt x="110" y="47"/>
                    </a:cubicBezTo>
                    <a:cubicBezTo>
                      <a:pt x="110" y="46"/>
                      <a:pt x="110" y="45"/>
                      <a:pt x="110" y="44"/>
                    </a:cubicBezTo>
                    <a:cubicBezTo>
                      <a:pt x="110" y="44"/>
                      <a:pt x="110" y="44"/>
                      <a:pt x="110" y="44"/>
                    </a:cubicBezTo>
                    <a:cubicBezTo>
                      <a:pt x="110" y="44"/>
                      <a:pt x="110" y="43"/>
                      <a:pt x="110" y="43"/>
                    </a:cubicBezTo>
                    <a:cubicBezTo>
                      <a:pt x="111" y="42"/>
                      <a:pt x="111" y="42"/>
                      <a:pt x="111" y="42"/>
                    </a:cubicBezTo>
                    <a:cubicBezTo>
                      <a:pt x="112" y="42"/>
                      <a:pt x="112" y="42"/>
                      <a:pt x="112" y="42"/>
                    </a:cubicBezTo>
                    <a:cubicBezTo>
                      <a:pt x="112" y="42"/>
                      <a:pt x="112" y="42"/>
                      <a:pt x="112" y="42"/>
                    </a:cubicBezTo>
                    <a:cubicBezTo>
                      <a:pt x="113" y="42"/>
                      <a:pt x="113" y="42"/>
                      <a:pt x="113" y="42"/>
                    </a:cubicBezTo>
                    <a:cubicBezTo>
                      <a:pt x="113" y="42"/>
                      <a:pt x="114" y="42"/>
                      <a:pt x="114" y="41"/>
                    </a:cubicBezTo>
                    <a:cubicBezTo>
                      <a:pt x="113" y="40"/>
                      <a:pt x="113" y="39"/>
                      <a:pt x="113" y="38"/>
                    </a:cubicBezTo>
                    <a:cubicBezTo>
                      <a:pt x="113" y="37"/>
                      <a:pt x="113" y="37"/>
                      <a:pt x="113" y="37"/>
                    </a:cubicBezTo>
                    <a:cubicBezTo>
                      <a:pt x="113" y="37"/>
                      <a:pt x="112" y="36"/>
                      <a:pt x="112" y="36"/>
                    </a:cubicBezTo>
                    <a:cubicBezTo>
                      <a:pt x="112" y="36"/>
                      <a:pt x="112" y="36"/>
                      <a:pt x="112" y="36"/>
                    </a:cubicBezTo>
                    <a:cubicBezTo>
                      <a:pt x="112" y="35"/>
                      <a:pt x="112" y="34"/>
                      <a:pt x="112" y="33"/>
                    </a:cubicBezTo>
                    <a:cubicBezTo>
                      <a:pt x="112" y="33"/>
                      <a:pt x="112" y="32"/>
                      <a:pt x="112" y="32"/>
                    </a:cubicBezTo>
                    <a:cubicBezTo>
                      <a:pt x="112" y="32"/>
                      <a:pt x="112" y="31"/>
                      <a:pt x="113" y="30"/>
                    </a:cubicBezTo>
                    <a:cubicBezTo>
                      <a:pt x="113" y="29"/>
                      <a:pt x="113" y="29"/>
                      <a:pt x="113" y="28"/>
                    </a:cubicBezTo>
                    <a:cubicBezTo>
                      <a:pt x="113" y="28"/>
                      <a:pt x="113" y="28"/>
                      <a:pt x="113" y="27"/>
                    </a:cubicBezTo>
                    <a:cubicBezTo>
                      <a:pt x="113" y="27"/>
                      <a:pt x="113" y="27"/>
                      <a:pt x="113" y="27"/>
                    </a:cubicBezTo>
                    <a:cubicBezTo>
                      <a:pt x="113" y="27"/>
                      <a:pt x="113" y="27"/>
                      <a:pt x="113" y="27"/>
                    </a:cubicBezTo>
                    <a:cubicBezTo>
                      <a:pt x="113" y="27"/>
                      <a:pt x="113" y="27"/>
                      <a:pt x="113" y="27"/>
                    </a:cubicBezTo>
                    <a:cubicBezTo>
                      <a:pt x="113" y="26"/>
                      <a:pt x="113" y="26"/>
                      <a:pt x="113" y="26"/>
                    </a:cubicBezTo>
                    <a:cubicBezTo>
                      <a:pt x="113" y="26"/>
                      <a:pt x="113" y="26"/>
                      <a:pt x="113" y="26"/>
                    </a:cubicBezTo>
                    <a:cubicBezTo>
                      <a:pt x="113" y="25"/>
                      <a:pt x="113" y="25"/>
                      <a:pt x="113" y="24"/>
                    </a:cubicBezTo>
                    <a:cubicBezTo>
                      <a:pt x="114" y="24"/>
                      <a:pt x="114" y="24"/>
                      <a:pt x="114" y="24"/>
                    </a:cubicBezTo>
                    <a:cubicBezTo>
                      <a:pt x="114" y="24"/>
                      <a:pt x="114" y="24"/>
                      <a:pt x="114" y="24"/>
                    </a:cubicBezTo>
                    <a:cubicBezTo>
                      <a:pt x="116" y="22"/>
                      <a:pt x="116" y="22"/>
                      <a:pt x="116" y="22"/>
                    </a:cubicBezTo>
                    <a:cubicBezTo>
                      <a:pt x="116" y="22"/>
                      <a:pt x="116" y="22"/>
                      <a:pt x="116" y="22"/>
                    </a:cubicBezTo>
                    <a:cubicBezTo>
                      <a:pt x="115" y="20"/>
                      <a:pt x="113" y="19"/>
                      <a:pt x="113" y="16"/>
                    </a:cubicBezTo>
                    <a:cubicBezTo>
                      <a:pt x="113" y="15"/>
                      <a:pt x="113" y="15"/>
                      <a:pt x="113" y="14"/>
                    </a:cubicBezTo>
                    <a:cubicBezTo>
                      <a:pt x="112" y="14"/>
                      <a:pt x="111" y="13"/>
                      <a:pt x="110" y="11"/>
                    </a:cubicBezTo>
                    <a:cubicBezTo>
                      <a:pt x="110" y="11"/>
                      <a:pt x="109" y="11"/>
                      <a:pt x="109" y="11"/>
                    </a:cubicBezTo>
                    <a:cubicBezTo>
                      <a:pt x="108" y="11"/>
                      <a:pt x="107" y="11"/>
                      <a:pt x="106" y="10"/>
                    </a:cubicBezTo>
                    <a:cubicBezTo>
                      <a:pt x="106" y="10"/>
                      <a:pt x="106" y="10"/>
                      <a:pt x="106" y="10"/>
                    </a:cubicBezTo>
                    <a:cubicBezTo>
                      <a:pt x="104" y="10"/>
                      <a:pt x="101" y="9"/>
                      <a:pt x="100" y="8"/>
                    </a:cubicBezTo>
                    <a:cubicBezTo>
                      <a:pt x="99" y="8"/>
                      <a:pt x="99" y="8"/>
                      <a:pt x="99" y="8"/>
                    </a:cubicBezTo>
                    <a:cubicBezTo>
                      <a:pt x="99" y="8"/>
                      <a:pt x="99" y="8"/>
                      <a:pt x="99" y="7"/>
                    </a:cubicBezTo>
                    <a:cubicBezTo>
                      <a:pt x="99" y="7"/>
                      <a:pt x="99" y="7"/>
                      <a:pt x="99" y="7"/>
                    </a:cubicBezTo>
                    <a:cubicBezTo>
                      <a:pt x="99" y="7"/>
                      <a:pt x="99" y="7"/>
                      <a:pt x="99" y="7"/>
                    </a:cubicBezTo>
                    <a:cubicBezTo>
                      <a:pt x="98" y="7"/>
                      <a:pt x="97" y="7"/>
                      <a:pt x="97" y="6"/>
                    </a:cubicBezTo>
                    <a:cubicBezTo>
                      <a:pt x="96" y="6"/>
                      <a:pt x="95" y="6"/>
                      <a:pt x="94" y="5"/>
                    </a:cubicBezTo>
                    <a:cubicBezTo>
                      <a:pt x="94" y="5"/>
                      <a:pt x="94" y="5"/>
                      <a:pt x="94" y="5"/>
                    </a:cubicBezTo>
                    <a:cubicBezTo>
                      <a:pt x="94" y="5"/>
                      <a:pt x="93" y="4"/>
                      <a:pt x="92" y="4"/>
                    </a:cubicBezTo>
                    <a:cubicBezTo>
                      <a:pt x="92" y="4"/>
                      <a:pt x="92" y="4"/>
                      <a:pt x="92" y="4"/>
                    </a:cubicBezTo>
                    <a:cubicBezTo>
                      <a:pt x="92" y="4"/>
                      <a:pt x="92" y="4"/>
                      <a:pt x="92" y="4"/>
                    </a:cubicBezTo>
                    <a:cubicBezTo>
                      <a:pt x="92" y="4"/>
                      <a:pt x="91" y="4"/>
                      <a:pt x="91" y="4"/>
                    </a:cubicBezTo>
                    <a:cubicBezTo>
                      <a:pt x="90" y="4"/>
                      <a:pt x="88" y="2"/>
                      <a:pt x="87" y="1"/>
                    </a:cubicBezTo>
                    <a:cubicBezTo>
                      <a:pt x="87" y="2"/>
                      <a:pt x="87" y="2"/>
                      <a:pt x="86" y="2"/>
                    </a:cubicBezTo>
                    <a:cubicBezTo>
                      <a:pt x="85" y="2"/>
                      <a:pt x="85" y="1"/>
                      <a:pt x="85" y="0"/>
                    </a:cubicBezTo>
                    <a:cubicBezTo>
                      <a:pt x="82" y="0"/>
                      <a:pt x="82" y="0"/>
                      <a:pt x="82" y="0"/>
                    </a:cubicBezTo>
                    <a:cubicBezTo>
                      <a:pt x="78" y="1"/>
                      <a:pt x="75" y="1"/>
                      <a:pt x="71" y="2"/>
                    </a:cubicBezTo>
                    <a:cubicBezTo>
                      <a:pt x="71" y="2"/>
                      <a:pt x="71" y="2"/>
                      <a:pt x="71" y="2"/>
                    </a:cubicBezTo>
                    <a:cubicBezTo>
                      <a:pt x="71" y="2"/>
                      <a:pt x="71" y="3"/>
                      <a:pt x="71" y="3"/>
                    </a:cubicBezTo>
                    <a:cubicBezTo>
                      <a:pt x="71" y="4"/>
                      <a:pt x="70" y="5"/>
                      <a:pt x="69" y="6"/>
                    </a:cubicBezTo>
                    <a:cubicBezTo>
                      <a:pt x="69" y="6"/>
                      <a:pt x="69" y="6"/>
                      <a:pt x="69" y="6"/>
                    </a:cubicBezTo>
                    <a:cubicBezTo>
                      <a:pt x="69" y="6"/>
                      <a:pt x="68" y="6"/>
                      <a:pt x="68" y="7"/>
                    </a:cubicBezTo>
                    <a:cubicBezTo>
                      <a:pt x="67" y="7"/>
                      <a:pt x="66" y="8"/>
                      <a:pt x="66" y="9"/>
                    </a:cubicBezTo>
                    <a:cubicBezTo>
                      <a:pt x="66" y="9"/>
                      <a:pt x="66" y="9"/>
                      <a:pt x="66" y="9"/>
                    </a:cubicBezTo>
                    <a:cubicBezTo>
                      <a:pt x="67" y="11"/>
                      <a:pt x="67" y="11"/>
                      <a:pt x="67" y="11"/>
                    </a:cubicBezTo>
                    <a:cubicBezTo>
                      <a:pt x="67" y="11"/>
                      <a:pt x="67" y="11"/>
                      <a:pt x="67" y="11"/>
                    </a:cubicBezTo>
                    <a:cubicBezTo>
                      <a:pt x="67" y="11"/>
                      <a:pt x="67" y="11"/>
                      <a:pt x="67" y="11"/>
                    </a:cubicBezTo>
                    <a:cubicBezTo>
                      <a:pt x="67" y="11"/>
                      <a:pt x="67" y="11"/>
                      <a:pt x="67" y="11"/>
                    </a:cubicBezTo>
                    <a:cubicBezTo>
                      <a:pt x="67" y="11"/>
                      <a:pt x="67" y="11"/>
                      <a:pt x="67" y="11"/>
                    </a:cubicBezTo>
                    <a:cubicBezTo>
                      <a:pt x="67" y="12"/>
                      <a:pt x="67" y="12"/>
                      <a:pt x="67" y="12"/>
                    </a:cubicBezTo>
                    <a:cubicBezTo>
                      <a:pt x="67" y="13"/>
                      <a:pt x="67" y="13"/>
                      <a:pt x="67" y="13"/>
                    </a:cubicBezTo>
                    <a:cubicBezTo>
                      <a:pt x="68" y="14"/>
                      <a:pt x="68" y="14"/>
                      <a:pt x="68" y="15"/>
                    </a:cubicBezTo>
                    <a:cubicBezTo>
                      <a:pt x="68" y="15"/>
                      <a:pt x="68" y="16"/>
                      <a:pt x="68" y="16"/>
                    </a:cubicBezTo>
                    <a:cubicBezTo>
                      <a:pt x="68" y="16"/>
                      <a:pt x="68" y="17"/>
                      <a:pt x="68" y="17"/>
                    </a:cubicBezTo>
                    <a:cubicBezTo>
                      <a:pt x="68" y="17"/>
                      <a:pt x="68" y="18"/>
                      <a:pt x="67" y="18"/>
                    </a:cubicBezTo>
                    <a:cubicBezTo>
                      <a:pt x="67" y="19"/>
                      <a:pt x="67" y="19"/>
                      <a:pt x="67" y="19"/>
                    </a:cubicBezTo>
                    <a:cubicBezTo>
                      <a:pt x="67" y="19"/>
                      <a:pt x="67" y="19"/>
                      <a:pt x="67" y="19"/>
                    </a:cubicBezTo>
                    <a:cubicBezTo>
                      <a:pt x="67" y="20"/>
                      <a:pt x="67" y="20"/>
                      <a:pt x="67" y="20"/>
                    </a:cubicBezTo>
                    <a:cubicBezTo>
                      <a:pt x="68" y="22"/>
                      <a:pt x="67" y="23"/>
                      <a:pt x="67" y="25"/>
                    </a:cubicBezTo>
                    <a:cubicBezTo>
                      <a:pt x="67" y="26"/>
                      <a:pt x="66" y="27"/>
                      <a:pt x="66" y="28"/>
                    </a:cubicBezTo>
                    <a:cubicBezTo>
                      <a:pt x="65" y="30"/>
                      <a:pt x="65" y="32"/>
                      <a:pt x="65" y="34"/>
                    </a:cubicBezTo>
                    <a:cubicBezTo>
                      <a:pt x="66" y="35"/>
                      <a:pt x="66" y="35"/>
                      <a:pt x="67" y="36"/>
                    </a:cubicBezTo>
                    <a:cubicBezTo>
                      <a:pt x="68" y="36"/>
                      <a:pt x="69" y="37"/>
                      <a:pt x="70" y="39"/>
                    </a:cubicBezTo>
                    <a:cubicBezTo>
                      <a:pt x="71" y="39"/>
                      <a:pt x="71" y="39"/>
                      <a:pt x="71" y="40"/>
                    </a:cubicBezTo>
                    <a:cubicBezTo>
                      <a:pt x="71" y="40"/>
                      <a:pt x="71" y="40"/>
                      <a:pt x="71" y="40"/>
                    </a:cubicBezTo>
                    <a:cubicBezTo>
                      <a:pt x="71" y="40"/>
                      <a:pt x="71" y="40"/>
                      <a:pt x="71" y="40"/>
                    </a:cubicBezTo>
                    <a:cubicBezTo>
                      <a:pt x="71" y="40"/>
                      <a:pt x="71" y="40"/>
                      <a:pt x="71" y="40"/>
                    </a:cubicBezTo>
                    <a:cubicBezTo>
                      <a:pt x="71" y="40"/>
                      <a:pt x="71" y="40"/>
                      <a:pt x="72" y="40"/>
                    </a:cubicBezTo>
                    <a:cubicBezTo>
                      <a:pt x="72" y="40"/>
                      <a:pt x="72" y="40"/>
                      <a:pt x="73" y="40"/>
                    </a:cubicBezTo>
                    <a:cubicBezTo>
                      <a:pt x="73" y="40"/>
                      <a:pt x="73" y="40"/>
                      <a:pt x="74" y="40"/>
                    </a:cubicBezTo>
                    <a:cubicBezTo>
                      <a:pt x="74" y="40"/>
                      <a:pt x="74" y="40"/>
                      <a:pt x="74" y="40"/>
                    </a:cubicBezTo>
                    <a:cubicBezTo>
                      <a:pt x="74" y="40"/>
                      <a:pt x="74" y="39"/>
                      <a:pt x="74" y="39"/>
                    </a:cubicBezTo>
                    <a:cubicBezTo>
                      <a:pt x="75" y="38"/>
                      <a:pt x="76" y="38"/>
                      <a:pt x="77" y="38"/>
                    </a:cubicBezTo>
                    <a:cubicBezTo>
                      <a:pt x="77" y="38"/>
                      <a:pt x="78" y="38"/>
                      <a:pt x="78" y="38"/>
                    </a:cubicBezTo>
                    <a:cubicBezTo>
                      <a:pt x="80" y="37"/>
                      <a:pt x="80" y="37"/>
                      <a:pt x="80" y="37"/>
                    </a:cubicBezTo>
                    <a:cubicBezTo>
                      <a:pt x="80" y="53"/>
                      <a:pt x="80" y="53"/>
                      <a:pt x="80" y="53"/>
                    </a:cubicBezTo>
                    <a:cubicBezTo>
                      <a:pt x="79" y="54"/>
                      <a:pt x="79" y="54"/>
                      <a:pt x="79" y="54"/>
                    </a:cubicBezTo>
                    <a:cubicBezTo>
                      <a:pt x="79" y="54"/>
                      <a:pt x="78" y="54"/>
                      <a:pt x="78" y="54"/>
                    </a:cubicBezTo>
                    <a:cubicBezTo>
                      <a:pt x="78" y="54"/>
                      <a:pt x="78" y="54"/>
                      <a:pt x="78" y="54"/>
                    </a:cubicBezTo>
                    <a:cubicBezTo>
                      <a:pt x="78" y="54"/>
                      <a:pt x="77" y="54"/>
                      <a:pt x="77" y="54"/>
                    </a:cubicBezTo>
                    <a:cubicBezTo>
                      <a:pt x="77" y="54"/>
                      <a:pt x="77" y="54"/>
                      <a:pt x="77" y="54"/>
                    </a:cubicBezTo>
                    <a:cubicBezTo>
                      <a:pt x="77" y="54"/>
                      <a:pt x="77" y="54"/>
                      <a:pt x="76" y="54"/>
                    </a:cubicBezTo>
                    <a:cubicBezTo>
                      <a:pt x="76" y="53"/>
                      <a:pt x="76" y="53"/>
                      <a:pt x="75" y="52"/>
                    </a:cubicBezTo>
                    <a:cubicBezTo>
                      <a:pt x="75" y="52"/>
                      <a:pt x="75" y="52"/>
                      <a:pt x="75" y="52"/>
                    </a:cubicBezTo>
                    <a:cubicBezTo>
                      <a:pt x="75" y="52"/>
                      <a:pt x="75" y="52"/>
                      <a:pt x="75" y="52"/>
                    </a:cubicBezTo>
                    <a:cubicBezTo>
                      <a:pt x="75" y="52"/>
                      <a:pt x="75" y="53"/>
                      <a:pt x="74" y="53"/>
                    </a:cubicBezTo>
                    <a:cubicBezTo>
                      <a:pt x="74" y="53"/>
                      <a:pt x="74" y="53"/>
                      <a:pt x="74" y="53"/>
                    </a:cubicBezTo>
                    <a:cubicBezTo>
                      <a:pt x="73" y="53"/>
                      <a:pt x="71" y="54"/>
                      <a:pt x="69" y="52"/>
                    </a:cubicBezTo>
                    <a:cubicBezTo>
                      <a:pt x="63" y="43"/>
                      <a:pt x="63" y="43"/>
                      <a:pt x="63" y="43"/>
                    </a:cubicBezTo>
                    <a:cubicBezTo>
                      <a:pt x="63" y="43"/>
                      <a:pt x="62" y="43"/>
                      <a:pt x="62" y="43"/>
                    </a:cubicBezTo>
                    <a:cubicBezTo>
                      <a:pt x="62" y="43"/>
                      <a:pt x="62" y="43"/>
                      <a:pt x="62" y="43"/>
                    </a:cubicBezTo>
                    <a:cubicBezTo>
                      <a:pt x="61" y="43"/>
                      <a:pt x="60" y="42"/>
                      <a:pt x="60" y="42"/>
                    </a:cubicBezTo>
                    <a:cubicBezTo>
                      <a:pt x="59" y="42"/>
                      <a:pt x="59" y="42"/>
                      <a:pt x="58" y="41"/>
                    </a:cubicBezTo>
                    <a:cubicBezTo>
                      <a:pt x="58" y="41"/>
                      <a:pt x="58" y="41"/>
                      <a:pt x="57" y="41"/>
                    </a:cubicBezTo>
                    <a:cubicBezTo>
                      <a:pt x="57" y="41"/>
                      <a:pt x="56" y="41"/>
                      <a:pt x="56" y="41"/>
                    </a:cubicBezTo>
                    <a:cubicBezTo>
                      <a:pt x="55" y="41"/>
                      <a:pt x="54" y="39"/>
                      <a:pt x="53" y="38"/>
                    </a:cubicBezTo>
                    <a:cubicBezTo>
                      <a:pt x="53" y="38"/>
                      <a:pt x="53" y="38"/>
                      <a:pt x="53" y="38"/>
                    </a:cubicBezTo>
                    <a:cubicBezTo>
                      <a:pt x="53" y="38"/>
                      <a:pt x="53" y="38"/>
                      <a:pt x="53" y="38"/>
                    </a:cubicBezTo>
                    <a:cubicBezTo>
                      <a:pt x="53" y="37"/>
                      <a:pt x="53" y="37"/>
                      <a:pt x="52" y="37"/>
                    </a:cubicBezTo>
                    <a:cubicBezTo>
                      <a:pt x="52" y="35"/>
                      <a:pt x="51" y="35"/>
                      <a:pt x="51" y="35"/>
                    </a:cubicBezTo>
                    <a:cubicBezTo>
                      <a:pt x="51" y="35"/>
                      <a:pt x="51" y="35"/>
                      <a:pt x="51" y="35"/>
                    </a:cubicBezTo>
                    <a:cubicBezTo>
                      <a:pt x="51" y="36"/>
                      <a:pt x="51" y="36"/>
                      <a:pt x="51" y="36"/>
                    </a:cubicBezTo>
                    <a:cubicBezTo>
                      <a:pt x="51" y="36"/>
                      <a:pt x="51" y="37"/>
                      <a:pt x="50" y="38"/>
                    </a:cubicBezTo>
                    <a:cubicBezTo>
                      <a:pt x="49" y="38"/>
                      <a:pt x="49" y="39"/>
                      <a:pt x="48" y="38"/>
                    </a:cubicBezTo>
                    <a:cubicBezTo>
                      <a:pt x="38" y="37"/>
                      <a:pt x="38" y="37"/>
                      <a:pt x="38" y="37"/>
                    </a:cubicBezTo>
                    <a:cubicBezTo>
                      <a:pt x="38" y="37"/>
                      <a:pt x="37" y="37"/>
                      <a:pt x="37" y="37"/>
                    </a:cubicBezTo>
                    <a:cubicBezTo>
                      <a:pt x="37" y="37"/>
                      <a:pt x="37" y="37"/>
                      <a:pt x="37" y="37"/>
                    </a:cubicBezTo>
                    <a:cubicBezTo>
                      <a:pt x="36" y="37"/>
                      <a:pt x="35" y="37"/>
                      <a:pt x="34" y="36"/>
                    </a:cubicBezTo>
                    <a:cubicBezTo>
                      <a:pt x="33" y="36"/>
                      <a:pt x="33" y="36"/>
                      <a:pt x="33" y="35"/>
                    </a:cubicBezTo>
                    <a:cubicBezTo>
                      <a:pt x="33" y="35"/>
                      <a:pt x="32" y="35"/>
                      <a:pt x="32" y="34"/>
                    </a:cubicBezTo>
                    <a:cubicBezTo>
                      <a:pt x="31" y="33"/>
                      <a:pt x="31" y="32"/>
                      <a:pt x="31" y="31"/>
                    </a:cubicBezTo>
                    <a:cubicBezTo>
                      <a:pt x="31" y="31"/>
                      <a:pt x="30" y="31"/>
                      <a:pt x="30" y="31"/>
                    </a:cubicBezTo>
                    <a:cubicBezTo>
                      <a:pt x="30" y="31"/>
                      <a:pt x="30" y="31"/>
                      <a:pt x="30" y="31"/>
                    </a:cubicBezTo>
                    <a:cubicBezTo>
                      <a:pt x="29" y="31"/>
                      <a:pt x="29" y="31"/>
                      <a:pt x="28" y="31"/>
                    </a:cubicBezTo>
                    <a:cubicBezTo>
                      <a:pt x="28" y="31"/>
                      <a:pt x="28" y="31"/>
                      <a:pt x="28" y="32"/>
                    </a:cubicBezTo>
                    <a:cubicBezTo>
                      <a:pt x="27" y="32"/>
                      <a:pt x="27" y="32"/>
                      <a:pt x="27" y="32"/>
                    </a:cubicBezTo>
                    <a:cubicBezTo>
                      <a:pt x="26" y="32"/>
                      <a:pt x="26" y="32"/>
                      <a:pt x="26" y="32"/>
                    </a:cubicBezTo>
                    <a:cubicBezTo>
                      <a:pt x="26" y="33"/>
                      <a:pt x="24" y="33"/>
                      <a:pt x="22" y="33"/>
                    </a:cubicBezTo>
                    <a:cubicBezTo>
                      <a:pt x="22" y="33"/>
                      <a:pt x="21" y="32"/>
                      <a:pt x="21" y="31"/>
                    </a:cubicBezTo>
                    <a:cubicBezTo>
                      <a:pt x="21" y="31"/>
                      <a:pt x="21" y="31"/>
                      <a:pt x="21" y="31"/>
                    </a:cubicBezTo>
                    <a:cubicBezTo>
                      <a:pt x="21" y="30"/>
                      <a:pt x="21" y="30"/>
                      <a:pt x="21" y="30"/>
                    </a:cubicBezTo>
                    <a:cubicBezTo>
                      <a:pt x="22" y="30"/>
                      <a:pt x="22" y="30"/>
                      <a:pt x="22" y="30"/>
                    </a:cubicBezTo>
                    <a:cubicBezTo>
                      <a:pt x="22" y="30"/>
                      <a:pt x="22" y="30"/>
                      <a:pt x="22" y="30"/>
                    </a:cubicBezTo>
                    <a:cubicBezTo>
                      <a:pt x="22" y="29"/>
                      <a:pt x="21" y="29"/>
                      <a:pt x="20" y="28"/>
                    </a:cubicBezTo>
                    <a:cubicBezTo>
                      <a:pt x="21" y="34"/>
                      <a:pt x="21" y="34"/>
                      <a:pt x="21" y="34"/>
                    </a:cubicBezTo>
                    <a:cubicBezTo>
                      <a:pt x="21" y="35"/>
                      <a:pt x="21" y="36"/>
                      <a:pt x="21" y="37"/>
                    </a:cubicBezTo>
                    <a:cubicBezTo>
                      <a:pt x="21" y="38"/>
                      <a:pt x="21" y="40"/>
                      <a:pt x="21" y="42"/>
                    </a:cubicBezTo>
                    <a:cubicBezTo>
                      <a:pt x="21" y="42"/>
                      <a:pt x="21" y="43"/>
                      <a:pt x="20" y="43"/>
                    </a:cubicBezTo>
                    <a:cubicBezTo>
                      <a:pt x="20" y="43"/>
                      <a:pt x="20" y="44"/>
                      <a:pt x="20" y="44"/>
                    </a:cubicBezTo>
                    <a:cubicBezTo>
                      <a:pt x="20" y="44"/>
                      <a:pt x="20" y="45"/>
                      <a:pt x="19" y="45"/>
                    </a:cubicBezTo>
                    <a:cubicBezTo>
                      <a:pt x="19" y="45"/>
                      <a:pt x="19" y="45"/>
                      <a:pt x="19" y="45"/>
                    </a:cubicBezTo>
                    <a:cubicBezTo>
                      <a:pt x="19" y="46"/>
                      <a:pt x="19" y="46"/>
                      <a:pt x="19" y="46"/>
                    </a:cubicBezTo>
                    <a:cubicBezTo>
                      <a:pt x="20" y="46"/>
                      <a:pt x="20" y="47"/>
                      <a:pt x="20" y="48"/>
                    </a:cubicBezTo>
                    <a:cubicBezTo>
                      <a:pt x="21" y="49"/>
                      <a:pt x="21" y="49"/>
                      <a:pt x="21" y="49"/>
                    </a:cubicBezTo>
                    <a:cubicBezTo>
                      <a:pt x="9" y="49"/>
                      <a:pt x="9" y="49"/>
                      <a:pt x="9" y="49"/>
                    </a:cubicBezTo>
                    <a:cubicBezTo>
                      <a:pt x="8" y="49"/>
                      <a:pt x="7" y="49"/>
                      <a:pt x="7" y="49"/>
                    </a:cubicBezTo>
                    <a:cubicBezTo>
                      <a:pt x="4" y="49"/>
                      <a:pt x="2" y="49"/>
                      <a:pt x="0" y="49"/>
                    </a:cubicBezTo>
                    <a:cubicBezTo>
                      <a:pt x="0" y="49"/>
                      <a:pt x="0" y="49"/>
                      <a:pt x="0" y="49"/>
                    </a:cubicBezTo>
                    <a:cubicBezTo>
                      <a:pt x="0" y="49"/>
                      <a:pt x="0" y="49"/>
                      <a:pt x="0" y="49"/>
                    </a:cubicBezTo>
                    <a:cubicBezTo>
                      <a:pt x="0" y="50"/>
                      <a:pt x="0" y="50"/>
                      <a:pt x="0" y="50"/>
                    </a:cubicBezTo>
                    <a:cubicBezTo>
                      <a:pt x="0" y="50"/>
                      <a:pt x="0" y="50"/>
                      <a:pt x="0" y="50"/>
                    </a:cubicBezTo>
                    <a:cubicBezTo>
                      <a:pt x="0" y="53"/>
                      <a:pt x="0" y="53"/>
                      <a:pt x="0" y="53"/>
                    </a:cubicBezTo>
                    <a:cubicBezTo>
                      <a:pt x="0" y="76"/>
                      <a:pt x="0" y="76"/>
                      <a:pt x="0" y="76"/>
                    </a:cubicBezTo>
                    <a:cubicBezTo>
                      <a:pt x="0" y="77"/>
                      <a:pt x="0" y="77"/>
                      <a:pt x="0" y="77"/>
                    </a:cubicBezTo>
                    <a:cubicBezTo>
                      <a:pt x="0" y="78"/>
                      <a:pt x="0" y="79"/>
                      <a:pt x="0" y="80"/>
                    </a:cubicBezTo>
                    <a:cubicBezTo>
                      <a:pt x="0" y="81"/>
                      <a:pt x="0" y="81"/>
                      <a:pt x="0" y="81"/>
                    </a:cubicBezTo>
                    <a:cubicBezTo>
                      <a:pt x="0" y="82"/>
                      <a:pt x="1" y="83"/>
                      <a:pt x="2" y="84"/>
                    </a:cubicBezTo>
                    <a:cubicBezTo>
                      <a:pt x="13" y="94"/>
                      <a:pt x="13" y="94"/>
                      <a:pt x="13" y="94"/>
                    </a:cubicBezTo>
                    <a:cubicBezTo>
                      <a:pt x="13" y="94"/>
                      <a:pt x="13" y="94"/>
                      <a:pt x="13" y="94"/>
                    </a:cubicBezTo>
                    <a:cubicBezTo>
                      <a:pt x="13" y="94"/>
                      <a:pt x="13" y="94"/>
                      <a:pt x="13" y="94"/>
                    </a:cubicBezTo>
                    <a:cubicBezTo>
                      <a:pt x="13" y="94"/>
                      <a:pt x="13" y="94"/>
                      <a:pt x="13" y="94"/>
                    </a:cubicBezTo>
                    <a:cubicBezTo>
                      <a:pt x="14" y="95"/>
                      <a:pt x="14" y="95"/>
                      <a:pt x="14" y="95"/>
                    </a:cubicBezTo>
                    <a:cubicBezTo>
                      <a:pt x="14" y="95"/>
                      <a:pt x="14" y="95"/>
                      <a:pt x="14" y="95"/>
                    </a:cubicBezTo>
                    <a:cubicBezTo>
                      <a:pt x="14" y="95"/>
                      <a:pt x="14" y="95"/>
                      <a:pt x="14" y="95"/>
                    </a:cubicBezTo>
                    <a:cubicBezTo>
                      <a:pt x="14" y="95"/>
                      <a:pt x="15" y="95"/>
                      <a:pt x="16" y="95"/>
                    </a:cubicBezTo>
                    <a:cubicBezTo>
                      <a:pt x="16" y="94"/>
                      <a:pt x="16" y="94"/>
                      <a:pt x="16" y="94"/>
                    </a:cubicBezTo>
                    <a:cubicBezTo>
                      <a:pt x="18" y="94"/>
                      <a:pt x="20" y="93"/>
                      <a:pt x="22" y="94"/>
                    </a:cubicBezTo>
                    <a:cubicBezTo>
                      <a:pt x="23" y="94"/>
                      <a:pt x="23" y="94"/>
                      <a:pt x="23" y="94"/>
                    </a:cubicBezTo>
                    <a:cubicBezTo>
                      <a:pt x="25" y="94"/>
                      <a:pt x="27" y="94"/>
                      <a:pt x="29" y="94"/>
                    </a:cubicBezTo>
                    <a:cubicBezTo>
                      <a:pt x="29" y="94"/>
                      <a:pt x="30" y="95"/>
                      <a:pt x="30" y="95"/>
                    </a:cubicBezTo>
                    <a:cubicBezTo>
                      <a:pt x="31" y="95"/>
                      <a:pt x="31" y="95"/>
                      <a:pt x="31" y="95"/>
                    </a:cubicBezTo>
                    <a:cubicBezTo>
                      <a:pt x="31" y="96"/>
                      <a:pt x="31" y="96"/>
                      <a:pt x="31" y="96"/>
                    </a:cubicBezTo>
                    <a:cubicBezTo>
                      <a:pt x="31" y="96"/>
                      <a:pt x="31" y="96"/>
                      <a:pt x="31" y="96"/>
                    </a:cubicBezTo>
                    <a:cubicBezTo>
                      <a:pt x="32" y="97"/>
                      <a:pt x="32" y="97"/>
                      <a:pt x="32" y="97"/>
                    </a:cubicBezTo>
                    <a:cubicBezTo>
                      <a:pt x="32" y="97"/>
                      <a:pt x="32" y="97"/>
                      <a:pt x="33" y="97"/>
                    </a:cubicBezTo>
                    <a:cubicBezTo>
                      <a:pt x="33" y="97"/>
                      <a:pt x="33" y="97"/>
                      <a:pt x="33" y="97"/>
                    </a:cubicBezTo>
                    <a:cubicBezTo>
                      <a:pt x="44" y="99"/>
                      <a:pt x="44" y="99"/>
                      <a:pt x="44" y="99"/>
                    </a:cubicBezTo>
                    <a:cubicBezTo>
                      <a:pt x="44" y="99"/>
                      <a:pt x="44" y="99"/>
                      <a:pt x="45" y="99"/>
                    </a:cubicBezTo>
                    <a:cubicBezTo>
                      <a:pt x="45" y="99"/>
                      <a:pt x="45" y="99"/>
                      <a:pt x="46" y="100"/>
                    </a:cubicBezTo>
                    <a:cubicBezTo>
                      <a:pt x="46" y="100"/>
                      <a:pt x="46" y="100"/>
                      <a:pt x="46" y="100"/>
                    </a:cubicBezTo>
                    <a:cubicBezTo>
                      <a:pt x="46" y="97"/>
                      <a:pt x="46" y="97"/>
                      <a:pt x="46" y="97"/>
                    </a:cubicBezTo>
                    <a:cubicBezTo>
                      <a:pt x="47" y="99"/>
                      <a:pt x="47" y="99"/>
                      <a:pt x="47" y="99"/>
                    </a:cubicBezTo>
                    <a:cubicBezTo>
                      <a:pt x="47" y="99"/>
                      <a:pt x="47" y="99"/>
                      <a:pt x="47" y="99"/>
                    </a:cubicBezTo>
                    <a:cubicBezTo>
                      <a:pt x="47" y="99"/>
                      <a:pt x="47" y="99"/>
                      <a:pt x="48" y="99"/>
                    </a:cubicBezTo>
                    <a:cubicBezTo>
                      <a:pt x="48" y="99"/>
                      <a:pt x="48" y="99"/>
                      <a:pt x="48" y="99"/>
                    </a:cubicBezTo>
                    <a:cubicBezTo>
                      <a:pt x="49" y="99"/>
                      <a:pt x="49" y="98"/>
                      <a:pt x="50" y="98"/>
                    </a:cubicBezTo>
                    <a:cubicBezTo>
                      <a:pt x="50" y="98"/>
                      <a:pt x="50" y="98"/>
                      <a:pt x="50" y="97"/>
                    </a:cubicBezTo>
                    <a:cubicBezTo>
                      <a:pt x="50" y="97"/>
                      <a:pt x="51" y="96"/>
                      <a:pt x="51" y="96"/>
                    </a:cubicBezTo>
                    <a:cubicBezTo>
                      <a:pt x="51" y="96"/>
                      <a:pt x="51" y="96"/>
                      <a:pt x="51" y="96"/>
                    </a:cubicBezTo>
                    <a:cubicBezTo>
                      <a:pt x="52" y="95"/>
                      <a:pt x="53" y="95"/>
                      <a:pt x="53" y="94"/>
                    </a:cubicBezTo>
                    <a:cubicBezTo>
                      <a:pt x="54" y="94"/>
                      <a:pt x="54" y="94"/>
                      <a:pt x="54" y="94"/>
                    </a:cubicBezTo>
                    <a:cubicBezTo>
                      <a:pt x="54" y="94"/>
                      <a:pt x="54" y="94"/>
                      <a:pt x="54" y="94"/>
                    </a:cubicBezTo>
                    <a:cubicBezTo>
                      <a:pt x="54" y="93"/>
                      <a:pt x="54" y="93"/>
                      <a:pt x="54" y="93"/>
                    </a:cubicBezTo>
                    <a:cubicBezTo>
                      <a:pt x="55" y="93"/>
                      <a:pt x="55" y="93"/>
                      <a:pt x="55" y="93"/>
                    </a:cubicBezTo>
                    <a:cubicBezTo>
                      <a:pt x="55" y="92"/>
                      <a:pt x="55" y="92"/>
                      <a:pt x="55" y="92"/>
                    </a:cubicBezTo>
                    <a:cubicBezTo>
                      <a:pt x="55" y="92"/>
                      <a:pt x="55" y="92"/>
                      <a:pt x="55" y="92"/>
                    </a:cubicBezTo>
                    <a:cubicBezTo>
                      <a:pt x="55" y="91"/>
                      <a:pt x="55" y="91"/>
                      <a:pt x="56" y="91"/>
                    </a:cubicBezTo>
                    <a:cubicBezTo>
                      <a:pt x="56" y="90"/>
                      <a:pt x="57" y="89"/>
                      <a:pt x="58" y="89"/>
                    </a:cubicBezTo>
                    <a:cubicBezTo>
                      <a:pt x="58" y="88"/>
                      <a:pt x="59" y="88"/>
                      <a:pt x="60" y="87"/>
                    </a:cubicBezTo>
                    <a:cubicBezTo>
                      <a:pt x="61" y="87"/>
                      <a:pt x="61" y="87"/>
                      <a:pt x="61" y="87"/>
                    </a:cubicBezTo>
                    <a:cubicBezTo>
                      <a:pt x="61" y="87"/>
                      <a:pt x="61" y="87"/>
                      <a:pt x="61" y="87"/>
                    </a:cubicBezTo>
                    <a:cubicBezTo>
                      <a:pt x="62" y="86"/>
                      <a:pt x="62" y="86"/>
                      <a:pt x="63" y="86"/>
                    </a:cubicBezTo>
                    <a:cubicBezTo>
                      <a:pt x="63" y="86"/>
                      <a:pt x="63" y="86"/>
                      <a:pt x="63" y="86"/>
                    </a:cubicBezTo>
                    <a:cubicBezTo>
                      <a:pt x="65" y="85"/>
                      <a:pt x="67" y="84"/>
                      <a:pt x="67" y="83"/>
                    </a:cubicBezTo>
                    <a:cubicBezTo>
                      <a:pt x="67" y="82"/>
                      <a:pt x="67" y="82"/>
                      <a:pt x="67" y="82"/>
                    </a:cubicBezTo>
                    <a:cubicBezTo>
                      <a:pt x="67" y="82"/>
                      <a:pt x="67" y="82"/>
                      <a:pt x="67" y="82"/>
                    </a:cubicBezTo>
                    <a:cubicBezTo>
                      <a:pt x="67" y="81"/>
                      <a:pt x="67" y="81"/>
                      <a:pt x="67" y="81"/>
                    </a:cubicBezTo>
                    <a:cubicBezTo>
                      <a:pt x="68" y="81"/>
                      <a:pt x="68" y="81"/>
                      <a:pt x="68" y="81"/>
                    </a:cubicBezTo>
                    <a:cubicBezTo>
                      <a:pt x="68" y="80"/>
                      <a:pt x="68" y="79"/>
                      <a:pt x="68" y="78"/>
                    </a:cubicBezTo>
                    <a:cubicBezTo>
                      <a:pt x="68" y="78"/>
                      <a:pt x="68" y="78"/>
                      <a:pt x="68" y="78"/>
                    </a:cubicBezTo>
                    <a:cubicBezTo>
                      <a:pt x="69" y="78"/>
                      <a:pt x="69" y="78"/>
                      <a:pt x="69" y="78"/>
                    </a:cubicBezTo>
                    <a:cubicBezTo>
                      <a:pt x="69" y="77"/>
                      <a:pt x="70" y="77"/>
                      <a:pt x="70" y="77"/>
                    </a:cubicBezTo>
                    <a:cubicBezTo>
                      <a:pt x="71" y="77"/>
                      <a:pt x="71" y="77"/>
                      <a:pt x="71" y="77"/>
                    </a:cubicBezTo>
                    <a:cubicBezTo>
                      <a:pt x="73" y="76"/>
                      <a:pt x="75" y="74"/>
                      <a:pt x="78" y="74"/>
                    </a:cubicBezTo>
                    <a:cubicBezTo>
                      <a:pt x="79" y="74"/>
                      <a:pt x="79" y="74"/>
                      <a:pt x="80" y="74"/>
                    </a:cubicBezTo>
                    <a:cubicBezTo>
                      <a:pt x="80" y="74"/>
                      <a:pt x="81" y="74"/>
                      <a:pt x="81" y="74"/>
                    </a:cubicBezTo>
                    <a:cubicBezTo>
                      <a:pt x="82" y="74"/>
                      <a:pt x="82" y="74"/>
                      <a:pt x="83" y="74"/>
                    </a:cubicBezTo>
                    <a:cubicBezTo>
                      <a:pt x="83" y="74"/>
                      <a:pt x="83" y="74"/>
                      <a:pt x="83" y="74"/>
                    </a:cubicBezTo>
                    <a:cubicBezTo>
                      <a:pt x="82" y="73"/>
                      <a:pt x="81" y="71"/>
                      <a:pt x="81" y="69"/>
                    </a:cubicBezTo>
                    <a:cubicBezTo>
                      <a:pt x="81" y="69"/>
                      <a:pt x="81" y="69"/>
                      <a:pt x="81" y="69"/>
                    </a:cubicBezTo>
                    <a:cubicBezTo>
                      <a:pt x="81" y="69"/>
                      <a:pt x="81" y="68"/>
                      <a:pt x="81" y="68"/>
                    </a:cubicBezTo>
                    <a:cubicBezTo>
                      <a:pt x="82" y="67"/>
                      <a:pt x="82" y="67"/>
                      <a:pt x="83" y="67"/>
                    </a:cubicBezTo>
                    <a:cubicBezTo>
                      <a:pt x="109" y="58"/>
                      <a:pt x="109" y="58"/>
                      <a:pt x="109" y="58"/>
                    </a:cubicBezTo>
                    <a:cubicBezTo>
                      <a:pt x="109" y="58"/>
                      <a:pt x="109" y="58"/>
                      <a:pt x="10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4" name="Freeform 3056">
                <a:extLst>
                  <a:ext uri="{FF2B5EF4-FFF2-40B4-BE49-F238E27FC236}">
                    <a16:creationId xmlns:a16="http://schemas.microsoft.com/office/drawing/2014/main" id="{5CF86053-E715-47B3-A7F2-45644B38637C}"/>
                  </a:ext>
                </a:extLst>
              </p:cNvPr>
              <p:cNvSpPr>
                <a:spLocks/>
              </p:cNvSpPr>
              <p:nvPr/>
            </p:nvSpPr>
            <p:spPr bwMode="auto">
              <a:xfrm>
                <a:off x="4166" y="3160"/>
                <a:ext cx="178" cy="165"/>
              </a:xfrm>
              <a:custGeom>
                <a:avLst/>
                <a:gdLst>
                  <a:gd name="T0" fmla="*/ 75 w 75"/>
                  <a:gd name="T1" fmla="*/ 43 h 70"/>
                  <a:gd name="T2" fmla="*/ 73 w 75"/>
                  <a:gd name="T3" fmla="*/ 38 h 70"/>
                  <a:gd name="T4" fmla="*/ 73 w 75"/>
                  <a:gd name="T5" fmla="*/ 36 h 70"/>
                  <a:gd name="T6" fmla="*/ 72 w 75"/>
                  <a:gd name="T7" fmla="*/ 32 h 70"/>
                  <a:gd name="T8" fmla="*/ 74 w 75"/>
                  <a:gd name="T9" fmla="*/ 29 h 70"/>
                  <a:gd name="T10" fmla="*/ 75 w 75"/>
                  <a:gd name="T11" fmla="*/ 28 h 70"/>
                  <a:gd name="T12" fmla="*/ 75 w 75"/>
                  <a:gd name="T13" fmla="*/ 22 h 70"/>
                  <a:gd name="T14" fmla="*/ 74 w 75"/>
                  <a:gd name="T15" fmla="*/ 14 h 70"/>
                  <a:gd name="T16" fmla="*/ 74 w 75"/>
                  <a:gd name="T17" fmla="*/ 12 h 70"/>
                  <a:gd name="T18" fmla="*/ 66 w 75"/>
                  <a:gd name="T19" fmla="*/ 9 h 70"/>
                  <a:gd name="T20" fmla="*/ 54 w 75"/>
                  <a:gd name="T21" fmla="*/ 5 h 70"/>
                  <a:gd name="T22" fmla="*/ 49 w 75"/>
                  <a:gd name="T23" fmla="*/ 4 h 70"/>
                  <a:gd name="T24" fmla="*/ 46 w 75"/>
                  <a:gd name="T25" fmla="*/ 1 h 70"/>
                  <a:gd name="T26" fmla="*/ 37 w 75"/>
                  <a:gd name="T27" fmla="*/ 3 h 70"/>
                  <a:gd name="T28" fmla="*/ 35 w 75"/>
                  <a:gd name="T29" fmla="*/ 6 h 70"/>
                  <a:gd name="T30" fmla="*/ 35 w 75"/>
                  <a:gd name="T31" fmla="*/ 7 h 70"/>
                  <a:gd name="T32" fmla="*/ 27 w 75"/>
                  <a:gd name="T33" fmla="*/ 13 h 70"/>
                  <a:gd name="T34" fmla="*/ 24 w 75"/>
                  <a:gd name="T35" fmla="*/ 15 h 70"/>
                  <a:gd name="T36" fmla="*/ 22 w 75"/>
                  <a:gd name="T37" fmla="*/ 17 h 70"/>
                  <a:gd name="T38" fmla="*/ 20 w 75"/>
                  <a:gd name="T39" fmla="*/ 19 h 70"/>
                  <a:gd name="T40" fmla="*/ 17 w 75"/>
                  <a:gd name="T41" fmla="*/ 23 h 70"/>
                  <a:gd name="T42" fmla="*/ 13 w 75"/>
                  <a:gd name="T43" fmla="*/ 26 h 70"/>
                  <a:gd name="T44" fmla="*/ 13 w 75"/>
                  <a:gd name="T45" fmla="*/ 26 h 70"/>
                  <a:gd name="T46" fmla="*/ 12 w 75"/>
                  <a:gd name="T47" fmla="*/ 26 h 70"/>
                  <a:gd name="T48" fmla="*/ 8 w 75"/>
                  <a:gd name="T49" fmla="*/ 26 h 70"/>
                  <a:gd name="T50" fmla="*/ 0 w 75"/>
                  <a:gd name="T51" fmla="*/ 24 h 70"/>
                  <a:gd name="T52" fmla="*/ 6 w 75"/>
                  <a:gd name="T53" fmla="*/ 36 h 70"/>
                  <a:gd name="T54" fmla="*/ 8 w 75"/>
                  <a:gd name="T55" fmla="*/ 40 h 70"/>
                  <a:gd name="T56" fmla="*/ 14 w 75"/>
                  <a:gd name="T57" fmla="*/ 44 h 70"/>
                  <a:gd name="T58" fmla="*/ 19 w 75"/>
                  <a:gd name="T59" fmla="*/ 48 h 70"/>
                  <a:gd name="T60" fmla="*/ 19 w 75"/>
                  <a:gd name="T61" fmla="*/ 49 h 70"/>
                  <a:gd name="T62" fmla="*/ 23 w 75"/>
                  <a:gd name="T63" fmla="*/ 51 h 70"/>
                  <a:gd name="T64" fmla="*/ 23 w 75"/>
                  <a:gd name="T65" fmla="*/ 53 h 70"/>
                  <a:gd name="T66" fmla="*/ 24 w 75"/>
                  <a:gd name="T67" fmla="*/ 57 h 70"/>
                  <a:gd name="T68" fmla="*/ 26 w 75"/>
                  <a:gd name="T69" fmla="*/ 61 h 70"/>
                  <a:gd name="T70" fmla="*/ 31 w 75"/>
                  <a:gd name="T71" fmla="*/ 62 h 70"/>
                  <a:gd name="T72" fmla="*/ 37 w 75"/>
                  <a:gd name="T73" fmla="*/ 65 h 70"/>
                  <a:gd name="T74" fmla="*/ 39 w 75"/>
                  <a:gd name="T75" fmla="*/ 68 h 70"/>
                  <a:gd name="T76" fmla="*/ 44 w 75"/>
                  <a:gd name="T77" fmla="*/ 68 h 70"/>
                  <a:gd name="T78" fmla="*/ 58 w 75"/>
                  <a:gd name="T79" fmla="*/ 70 h 70"/>
                  <a:gd name="T80" fmla="*/ 59 w 75"/>
                  <a:gd name="T81" fmla="*/ 69 h 70"/>
                  <a:gd name="T82" fmla="*/ 59 w 75"/>
                  <a:gd name="T83" fmla="*/ 69 h 70"/>
                  <a:gd name="T84" fmla="*/ 64 w 75"/>
                  <a:gd name="T85" fmla="*/ 63 h 70"/>
                  <a:gd name="T86" fmla="*/ 68 w 75"/>
                  <a:gd name="T87" fmla="*/ 57 h 70"/>
                  <a:gd name="T88" fmla="*/ 71 w 75"/>
                  <a:gd name="T89" fmla="*/ 50 h 70"/>
                  <a:gd name="T90" fmla="*/ 74 w 75"/>
                  <a:gd name="T91" fmla="*/ 4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 h="70">
                    <a:moveTo>
                      <a:pt x="75" y="43"/>
                    </a:moveTo>
                    <a:cubicBezTo>
                      <a:pt x="75" y="43"/>
                      <a:pt x="75" y="43"/>
                      <a:pt x="75" y="43"/>
                    </a:cubicBezTo>
                    <a:cubicBezTo>
                      <a:pt x="75" y="43"/>
                      <a:pt x="75" y="43"/>
                      <a:pt x="75" y="43"/>
                    </a:cubicBezTo>
                    <a:cubicBezTo>
                      <a:pt x="74" y="43"/>
                      <a:pt x="74" y="43"/>
                      <a:pt x="74" y="43"/>
                    </a:cubicBezTo>
                    <a:cubicBezTo>
                      <a:pt x="73" y="43"/>
                      <a:pt x="73" y="42"/>
                      <a:pt x="73" y="41"/>
                    </a:cubicBezTo>
                    <a:cubicBezTo>
                      <a:pt x="73" y="40"/>
                      <a:pt x="73" y="39"/>
                      <a:pt x="73" y="38"/>
                    </a:cubicBezTo>
                    <a:cubicBezTo>
                      <a:pt x="73" y="38"/>
                      <a:pt x="73" y="37"/>
                      <a:pt x="73" y="36"/>
                    </a:cubicBezTo>
                    <a:cubicBezTo>
                      <a:pt x="73" y="36"/>
                      <a:pt x="73" y="36"/>
                      <a:pt x="73" y="36"/>
                    </a:cubicBezTo>
                    <a:cubicBezTo>
                      <a:pt x="73" y="36"/>
                      <a:pt x="73" y="36"/>
                      <a:pt x="73" y="36"/>
                    </a:cubicBezTo>
                    <a:cubicBezTo>
                      <a:pt x="73" y="35"/>
                      <a:pt x="73" y="35"/>
                      <a:pt x="73" y="35"/>
                    </a:cubicBezTo>
                    <a:cubicBezTo>
                      <a:pt x="73" y="35"/>
                      <a:pt x="72" y="35"/>
                      <a:pt x="72" y="35"/>
                    </a:cubicBezTo>
                    <a:cubicBezTo>
                      <a:pt x="72" y="34"/>
                      <a:pt x="72" y="33"/>
                      <a:pt x="72" y="32"/>
                    </a:cubicBezTo>
                    <a:cubicBezTo>
                      <a:pt x="72" y="32"/>
                      <a:pt x="72" y="32"/>
                      <a:pt x="73" y="32"/>
                    </a:cubicBezTo>
                    <a:cubicBezTo>
                      <a:pt x="73" y="32"/>
                      <a:pt x="73" y="31"/>
                      <a:pt x="73" y="31"/>
                    </a:cubicBezTo>
                    <a:cubicBezTo>
                      <a:pt x="73" y="30"/>
                      <a:pt x="73" y="30"/>
                      <a:pt x="74" y="29"/>
                    </a:cubicBezTo>
                    <a:cubicBezTo>
                      <a:pt x="74" y="29"/>
                      <a:pt x="74" y="29"/>
                      <a:pt x="74" y="28"/>
                    </a:cubicBezTo>
                    <a:cubicBezTo>
                      <a:pt x="75" y="28"/>
                      <a:pt x="75" y="28"/>
                      <a:pt x="75" y="28"/>
                    </a:cubicBezTo>
                    <a:cubicBezTo>
                      <a:pt x="75" y="28"/>
                      <a:pt x="75" y="28"/>
                      <a:pt x="75" y="28"/>
                    </a:cubicBezTo>
                    <a:cubicBezTo>
                      <a:pt x="75" y="28"/>
                      <a:pt x="75" y="27"/>
                      <a:pt x="75" y="27"/>
                    </a:cubicBezTo>
                    <a:cubicBezTo>
                      <a:pt x="75" y="27"/>
                      <a:pt x="75" y="26"/>
                      <a:pt x="75" y="25"/>
                    </a:cubicBezTo>
                    <a:cubicBezTo>
                      <a:pt x="75" y="24"/>
                      <a:pt x="75" y="23"/>
                      <a:pt x="75" y="22"/>
                    </a:cubicBezTo>
                    <a:cubicBezTo>
                      <a:pt x="75" y="22"/>
                      <a:pt x="75" y="21"/>
                      <a:pt x="75" y="20"/>
                    </a:cubicBezTo>
                    <a:cubicBezTo>
                      <a:pt x="75" y="19"/>
                      <a:pt x="75" y="17"/>
                      <a:pt x="75" y="16"/>
                    </a:cubicBezTo>
                    <a:cubicBezTo>
                      <a:pt x="74" y="15"/>
                      <a:pt x="74" y="15"/>
                      <a:pt x="74" y="14"/>
                    </a:cubicBezTo>
                    <a:cubicBezTo>
                      <a:pt x="74" y="14"/>
                      <a:pt x="74" y="14"/>
                      <a:pt x="74" y="13"/>
                    </a:cubicBezTo>
                    <a:cubicBezTo>
                      <a:pt x="74" y="13"/>
                      <a:pt x="74" y="13"/>
                      <a:pt x="74" y="13"/>
                    </a:cubicBezTo>
                    <a:cubicBezTo>
                      <a:pt x="74" y="13"/>
                      <a:pt x="74" y="12"/>
                      <a:pt x="74" y="12"/>
                    </a:cubicBezTo>
                    <a:cubicBezTo>
                      <a:pt x="74" y="12"/>
                      <a:pt x="74" y="12"/>
                      <a:pt x="74" y="12"/>
                    </a:cubicBezTo>
                    <a:cubicBezTo>
                      <a:pt x="72" y="12"/>
                      <a:pt x="70" y="11"/>
                      <a:pt x="68" y="10"/>
                    </a:cubicBezTo>
                    <a:cubicBezTo>
                      <a:pt x="68" y="10"/>
                      <a:pt x="67" y="9"/>
                      <a:pt x="66" y="9"/>
                    </a:cubicBezTo>
                    <a:cubicBezTo>
                      <a:pt x="57" y="5"/>
                      <a:pt x="57" y="5"/>
                      <a:pt x="57" y="5"/>
                    </a:cubicBezTo>
                    <a:cubicBezTo>
                      <a:pt x="56" y="5"/>
                      <a:pt x="56" y="5"/>
                      <a:pt x="55" y="5"/>
                    </a:cubicBezTo>
                    <a:cubicBezTo>
                      <a:pt x="55" y="5"/>
                      <a:pt x="55" y="5"/>
                      <a:pt x="54" y="5"/>
                    </a:cubicBezTo>
                    <a:cubicBezTo>
                      <a:pt x="54" y="5"/>
                      <a:pt x="54" y="5"/>
                      <a:pt x="54" y="5"/>
                    </a:cubicBezTo>
                    <a:cubicBezTo>
                      <a:pt x="53" y="5"/>
                      <a:pt x="53" y="5"/>
                      <a:pt x="53" y="5"/>
                    </a:cubicBezTo>
                    <a:cubicBezTo>
                      <a:pt x="51" y="5"/>
                      <a:pt x="50" y="4"/>
                      <a:pt x="49" y="4"/>
                    </a:cubicBezTo>
                    <a:cubicBezTo>
                      <a:pt x="48" y="3"/>
                      <a:pt x="48" y="2"/>
                      <a:pt x="48" y="1"/>
                    </a:cubicBezTo>
                    <a:cubicBezTo>
                      <a:pt x="48" y="1"/>
                      <a:pt x="48" y="1"/>
                      <a:pt x="47" y="1"/>
                    </a:cubicBezTo>
                    <a:cubicBezTo>
                      <a:pt x="47" y="1"/>
                      <a:pt x="47" y="1"/>
                      <a:pt x="46" y="1"/>
                    </a:cubicBezTo>
                    <a:cubicBezTo>
                      <a:pt x="46" y="1"/>
                      <a:pt x="46" y="1"/>
                      <a:pt x="46" y="1"/>
                    </a:cubicBezTo>
                    <a:cubicBezTo>
                      <a:pt x="45" y="0"/>
                      <a:pt x="44" y="0"/>
                      <a:pt x="43" y="0"/>
                    </a:cubicBezTo>
                    <a:cubicBezTo>
                      <a:pt x="41" y="1"/>
                      <a:pt x="39" y="2"/>
                      <a:pt x="37" y="3"/>
                    </a:cubicBezTo>
                    <a:cubicBezTo>
                      <a:pt x="36" y="3"/>
                      <a:pt x="36" y="3"/>
                      <a:pt x="35" y="4"/>
                    </a:cubicBezTo>
                    <a:cubicBezTo>
                      <a:pt x="35" y="4"/>
                      <a:pt x="35" y="5"/>
                      <a:pt x="35" y="5"/>
                    </a:cubicBezTo>
                    <a:cubicBezTo>
                      <a:pt x="35" y="6"/>
                      <a:pt x="35" y="6"/>
                      <a:pt x="35" y="6"/>
                    </a:cubicBezTo>
                    <a:cubicBezTo>
                      <a:pt x="35" y="6"/>
                      <a:pt x="35" y="6"/>
                      <a:pt x="35" y="6"/>
                    </a:cubicBezTo>
                    <a:cubicBezTo>
                      <a:pt x="35" y="6"/>
                      <a:pt x="35" y="6"/>
                      <a:pt x="35" y="6"/>
                    </a:cubicBezTo>
                    <a:cubicBezTo>
                      <a:pt x="35" y="6"/>
                      <a:pt x="35" y="7"/>
                      <a:pt x="35" y="7"/>
                    </a:cubicBezTo>
                    <a:cubicBezTo>
                      <a:pt x="34" y="10"/>
                      <a:pt x="31" y="11"/>
                      <a:pt x="29" y="12"/>
                    </a:cubicBezTo>
                    <a:cubicBezTo>
                      <a:pt x="28" y="12"/>
                      <a:pt x="28" y="13"/>
                      <a:pt x="27" y="13"/>
                    </a:cubicBezTo>
                    <a:cubicBezTo>
                      <a:pt x="27" y="13"/>
                      <a:pt x="27" y="13"/>
                      <a:pt x="27" y="13"/>
                    </a:cubicBezTo>
                    <a:cubicBezTo>
                      <a:pt x="26" y="13"/>
                      <a:pt x="26" y="13"/>
                      <a:pt x="26" y="13"/>
                    </a:cubicBezTo>
                    <a:cubicBezTo>
                      <a:pt x="26" y="13"/>
                      <a:pt x="26" y="13"/>
                      <a:pt x="26" y="13"/>
                    </a:cubicBezTo>
                    <a:cubicBezTo>
                      <a:pt x="25" y="14"/>
                      <a:pt x="25" y="14"/>
                      <a:pt x="24" y="15"/>
                    </a:cubicBezTo>
                    <a:cubicBezTo>
                      <a:pt x="23" y="15"/>
                      <a:pt x="23" y="16"/>
                      <a:pt x="23" y="16"/>
                    </a:cubicBezTo>
                    <a:cubicBezTo>
                      <a:pt x="23" y="16"/>
                      <a:pt x="22" y="17"/>
                      <a:pt x="22" y="17"/>
                    </a:cubicBezTo>
                    <a:cubicBezTo>
                      <a:pt x="22" y="17"/>
                      <a:pt x="22" y="17"/>
                      <a:pt x="22" y="17"/>
                    </a:cubicBezTo>
                    <a:cubicBezTo>
                      <a:pt x="22" y="17"/>
                      <a:pt x="22" y="18"/>
                      <a:pt x="22" y="18"/>
                    </a:cubicBezTo>
                    <a:cubicBezTo>
                      <a:pt x="21" y="18"/>
                      <a:pt x="21" y="18"/>
                      <a:pt x="21" y="18"/>
                    </a:cubicBezTo>
                    <a:cubicBezTo>
                      <a:pt x="21" y="19"/>
                      <a:pt x="21" y="19"/>
                      <a:pt x="20" y="19"/>
                    </a:cubicBezTo>
                    <a:cubicBezTo>
                      <a:pt x="20" y="20"/>
                      <a:pt x="20" y="20"/>
                      <a:pt x="20" y="20"/>
                    </a:cubicBezTo>
                    <a:cubicBezTo>
                      <a:pt x="19" y="21"/>
                      <a:pt x="18" y="22"/>
                      <a:pt x="17" y="23"/>
                    </a:cubicBezTo>
                    <a:cubicBezTo>
                      <a:pt x="17" y="23"/>
                      <a:pt x="17" y="23"/>
                      <a:pt x="17" y="23"/>
                    </a:cubicBezTo>
                    <a:cubicBezTo>
                      <a:pt x="16" y="24"/>
                      <a:pt x="15" y="25"/>
                      <a:pt x="14" y="25"/>
                    </a:cubicBezTo>
                    <a:cubicBezTo>
                      <a:pt x="14" y="25"/>
                      <a:pt x="14" y="25"/>
                      <a:pt x="13" y="26"/>
                    </a:cubicBezTo>
                    <a:cubicBezTo>
                      <a:pt x="13" y="26"/>
                      <a:pt x="13" y="26"/>
                      <a:pt x="13" y="26"/>
                    </a:cubicBezTo>
                    <a:cubicBezTo>
                      <a:pt x="13" y="26"/>
                      <a:pt x="13" y="26"/>
                      <a:pt x="13" y="26"/>
                    </a:cubicBezTo>
                    <a:cubicBezTo>
                      <a:pt x="13" y="26"/>
                      <a:pt x="13" y="26"/>
                      <a:pt x="13" y="26"/>
                    </a:cubicBezTo>
                    <a:cubicBezTo>
                      <a:pt x="13" y="26"/>
                      <a:pt x="13" y="26"/>
                      <a:pt x="13" y="26"/>
                    </a:cubicBezTo>
                    <a:cubicBezTo>
                      <a:pt x="12" y="26"/>
                      <a:pt x="12" y="26"/>
                      <a:pt x="12" y="26"/>
                    </a:cubicBezTo>
                    <a:cubicBezTo>
                      <a:pt x="12" y="26"/>
                      <a:pt x="12" y="26"/>
                      <a:pt x="12" y="26"/>
                    </a:cubicBezTo>
                    <a:cubicBezTo>
                      <a:pt x="12" y="26"/>
                      <a:pt x="12" y="26"/>
                      <a:pt x="12" y="26"/>
                    </a:cubicBezTo>
                    <a:cubicBezTo>
                      <a:pt x="12" y="26"/>
                      <a:pt x="11" y="26"/>
                      <a:pt x="11" y="26"/>
                    </a:cubicBezTo>
                    <a:cubicBezTo>
                      <a:pt x="10" y="26"/>
                      <a:pt x="10" y="26"/>
                      <a:pt x="9" y="26"/>
                    </a:cubicBezTo>
                    <a:cubicBezTo>
                      <a:pt x="8" y="26"/>
                      <a:pt x="8" y="26"/>
                      <a:pt x="8" y="26"/>
                    </a:cubicBezTo>
                    <a:cubicBezTo>
                      <a:pt x="1" y="24"/>
                      <a:pt x="1" y="24"/>
                      <a:pt x="1" y="24"/>
                    </a:cubicBezTo>
                    <a:cubicBezTo>
                      <a:pt x="1" y="24"/>
                      <a:pt x="1" y="24"/>
                      <a:pt x="1" y="24"/>
                    </a:cubicBezTo>
                    <a:cubicBezTo>
                      <a:pt x="0" y="24"/>
                      <a:pt x="0" y="24"/>
                      <a:pt x="0" y="24"/>
                    </a:cubicBezTo>
                    <a:cubicBezTo>
                      <a:pt x="2" y="28"/>
                      <a:pt x="2" y="28"/>
                      <a:pt x="2" y="28"/>
                    </a:cubicBezTo>
                    <a:cubicBezTo>
                      <a:pt x="2" y="28"/>
                      <a:pt x="2" y="29"/>
                      <a:pt x="3" y="30"/>
                    </a:cubicBezTo>
                    <a:cubicBezTo>
                      <a:pt x="4" y="32"/>
                      <a:pt x="5" y="34"/>
                      <a:pt x="6" y="36"/>
                    </a:cubicBezTo>
                    <a:cubicBezTo>
                      <a:pt x="6" y="36"/>
                      <a:pt x="6" y="36"/>
                      <a:pt x="6" y="36"/>
                    </a:cubicBezTo>
                    <a:cubicBezTo>
                      <a:pt x="7" y="38"/>
                      <a:pt x="7" y="38"/>
                      <a:pt x="7" y="38"/>
                    </a:cubicBezTo>
                    <a:cubicBezTo>
                      <a:pt x="7" y="39"/>
                      <a:pt x="7" y="40"/>
                      <a:pt x="8" y="40"/>
                    </a:cubicBezTo>
                    <a:cubicBezTo>
                      <a:pt x="8" y="40"/>
                      <a:pt x="9" y="41"/>
                      <a:pt x="10" y="41"/>
                    </a:cubicBezTo>
                    <a:cubicBezTo>
                      <a:pt x="11" y="42"/>
                      <a:pt x="12" y="43"/>
                      <a:pt x="14" y="44"/>
                    </a:cubicBezTo>
                    <a:cubicBezTo>
                      <a:pt x="14" y="44"/>
                      <a:pt x="14" y="44"/>
                      <a:pt x="14" y="44"/>
                    </a:cubicBezTo>
                    <a:cubicBezTo>
                      <a:pt x="15" y="44"/>
                      <a:pt x="16" y="44"/>
                      <a:pt x="17" y="45"/>
                    </a:cubicBezTo>
                    <a:cubicBezTo>
                      <a:pt x="18" y="46"/>
                      <a:pt x="18" y="46"/>
                      <a:pt x="19" y="47"/>
                    </a:cubicBezTo>
                    <a:cubicBezTo>
                      <a:pt x="19" y="47"/>
                      <a:pt x="19" y="47"/>
                      <a:pt x="19" y="48"/>
                    </a:cubicBezTo>
                    <a:cubicBezTo>
                      <a:pt x="19" y="48"/>
                      <a:pt x="19" y="48"/>
                      <a:pt x="19" y="48"/>
                    </a:cubicBezTo>
                    <a:cubicBezTo>
                      <a:pt x="19" y="48"/>
                      <a:pt x="19" y="49"/>
                      <a:pt x="19" y="49"/>
                    </a:cubicBezTo>
                    <a:cubicBezTo>
                      <a:pt x="19" y="49"/>
                      <a:pt x="19" y="49"/>
                      <a:pt x="19" y="49"/>
                    </a:cubicBezTo>
                    <a:cubicBezTo>
                      <a:pt x="19" y="49"/>
                      <a:pt x="19" y="49"/>
                      <a:pt x="19" y="49"/>
                    </a:cubicBezTo>
                    <a:cubicBezTo>
                      <a:pt x="20" y="50"/>
                      <a:pt x="20" y="50"/>
                      <a:pt x="20" y="50"/>
                    </a:cubicBezTo>
                    <a:cubicBezTo>
                      <a:pt x="21" y="50"/>
                      <a:pt x="23" y="50"/>
                      <a:pt x="23" y="51"/>
                    </a:cubicBezTo>
                    <a:cubicBezTo>
                      <a:pt x="23" y="51"/>
                      <a:pt x="23" y="51"/>
                      <a:pt x="23" y="52"/>
                    </a:cubicBezTo>
                    <a:cubicBezTo>
                      <a:pt x="23" y="52"/>
                      <a:pt x="23" y="52"/>
                      <a:pt x="23" y="52"/>
                    </a:cubicBezTo>
                    <a:cubicBezTo>
                      <a:pt x="23" y="52"/>
                      <a:pt x="23" y="53"/>
                      <a:pt x="23" y="53"/>
                    </a:cubicBezTo>
                    <a:cubicBezTo>
                      <a:pt x="23" y="53"/>
                      <a:pt x="23" y="53"/>
                      <a:pt x="23" y="54"/>
                    </a:cubicBezTo>
                    <a:cubicBezTo>
                      <a:pt x="23" y="54"/>
                      <a:pt x="23" y="54"/>
                      <a:pt x="23" y="54"/>
                    </a:cubicBezTo>
                    <a:cubicBezTo>
                      <a:pt x="23" y="55"/>
                      <a:pt x="24" y="56"/>
                      <a:pt x="24" y="57"/>
                    </a:cubicBezTo>
                    <a:cubicBezTo>
                      <a:pt x="24" y="57"/>
                      <a:pt x="24" y="57"/>
                      <a:pt x="24" y="57"/>
                    </a:cubicBezTo>
                    <a:cubicBezTo>
                      <a:pt x="24" y="58"/>
                      <a:pt x="25" y="58"/>
                      <a:pt x="25" y="59"/>
                    </a:cubicBezTo>
                    <a:cubicBezTo>
                      <a:pt x="25" y="59"/>
                      <a:pt x="25" y="61"/>
                      <a:pt x="26" y="61"/>
                    </a:cubicBezTo>
                    <a:cubicBezTo>
                      <a:pt x="26" y="61"/>
                      <a:pt x="27" y="61"/>
                      <a:pt x="28" y="62"/>
                    </a:cubicBezTo>
                    <a:cubicBezTo>
                      <a:pt x="29" y="62"/>
                      <a:pt x="29" y="62"/>
                      <a:pt x="30" y="62"/>
                    </a:cubicBezTo>
                    <a:cubicBezTo>
                      <a:pt x="30" y="62"/>
                      <a:pt x="30" y="62"/>
                      <a:pt x="31" y="62"/>
                    </a:cubicBezTo>
                    <a:cubicBezTo>
                      <a:pt x="33" y="62"/>
                      <a:pt x="35" y="63"/>
                      <a:pt x="36" y="63"/>
                    </a:cubicBezTo>
                    <a:cubicBezTo>
                      <a:pt x="37" y="64"/>
                      <a:pt x="37" y="64"/>
                      <a:pt x="37" y="64"/>
                    </a:cubicBezTo>
                    <a:cubicBezTo>
                      <a:pt x="37" y="64"/>
                      <a:pt x="37" y="65"/>
                      <a:pt x="37" y="65"/>
                    </a:cubicBezTo>
                    <a:cubicBezTo>
                      <a:pt x="37" y="66"/>
                      <a:pt x="37" y="66"/>
                      <a:pt x="37" y="66"/>
                    </a:cubicBezTo>
                    <a:cubicBezTo>
                      <a:pt x="37" y="66"/>
                      <a:pt x="37" y="66"/>
                      <a:pt x="37" y="66"/>
                    </a:cubicBezTo>
                    <a:cubicBezTo>
                      <a:pt x="39" y="68"/>
                      <a:pt x="39" y="68"/>
                      <a:pt x="39" y="68"/>
                    </a:cubicBezTo>
                    <a:cubicBezTo>
                      <a:pt x="40" y="68"/>
                      <a:pt x="40" y="68"/>
                      <a:pt x="40" y="68"/>
                    </a:cubicBezTo>
                    <a:cubicBezTo>
                      <a:pt x="41" y="68"/>
                      <a:pt x="42" y="68"/>
                      <a:pt x="43" y="68"/>
                    </a:cubicBezTo>
                    <a:cubicBezTo>
                      <a:pt x="44" y="68"/>
                      <a:pt x="44" y="68"/>
                      <a:pt x="44" y="68"/>
                    </a:cubicBezTo>
                    <a:cubicBezTo>
                      <a:pt x="47" y="68"/>
                      <a:pt x="51" y="68"/>
                      <a:pt x="54" y="69"/>
                    </a:cubicBezTo>
                    <a:cubicBezTo>
                      <a:pt x="55" y="69"/>
                      <a:pt x="55" y="69"/>
                      <a:pt x="55" y="69"/>
                    </a:cubicBezTo>
                    <a:cubicBezTo>
                      <a:pt x="56" y="69"/>
                      <a:pt x="57" y="69"/>
                      <a:pt x="58" y="70"/>
                    </a:cubicBezTo>
                    <a:cubicBezTo>
                      <a:pt x="58" y="70"/>
                      <a:pt x="58" y="69"/>
                      <a:pt x="58" y="69"/>
                    </a:cubicBezTo>
                    <a:cubicBezTo>
                      <a:pt x="58" y="69"/>
                      <a:pt x="58" y="69"/>
                      <a:pt x="58" y="69"/>
                    </a:cubicBezTo>
                    <a:cubicBezTo>
                      <a:pt x="59" y="69"/>
                      <a:pt x="59" y="69"/>
                      <a:pt x="59" y="69"/>
                    </a:cubicBezTo>
                    <a:cubicBezTo>
                      <a:pt x="59" y="69"/>
                      <a:pt x="59" y="69"/>
                      <a:pt x="59" y="69"/>
                    </a:cubicBezTo>
                    <a:cubicBezTo>
                      <a:pt x="59" y="69"/>
                      <a:pt x="59" y="69"/>
                      <a:pt x="59" y="69"/>
                    </a:cubicBezTo>
                    <a:cubicBezTo>
                      <a:pt x="59" y="69"/>
                      <a:pt x="59" y="69"/>
                      <a:pt x="59" y="69"/>
                    </a:cubicBezTo>
                    <a:cubicBezTo>
                      <a:pt x="64" y="64"/>
                      <a:pt x="64" y="64"/>
                      <a:pt x="64" y="64"/>
                    </a:cubicBezTo>
                    <a:cubicBezTo>
                      <a:pt x="64" y="64"/>
                      <a:pt x="64" y="64"/>
                      <a:pt x="64" y="64"/>
                    </a:cubicBezTo>
                    <a:cubicBezTo>
                      <a:pt x="64" y="63"/>
                      <a:pt x="64" y="63"/>
                      <a:pt x="64" y="63"/>
                    </a:cubicBezTo>
                    <a:cubicBezTo>
                      <a:pt x="65" y="62"/>
                      <a:pt x="66" y="61"/>
                      <a:pt x="68" y="60"/>
                    </a:cubicBezTo>
                    <a:cubicBezTo>
                      <a:pt x="68" y="59"/>
                      <a:pt x="68" y="59"/>
                      <a:pt x="69" y="59"/>
                    </a:cubicBezTo>
                    <a:cubicBezTo>
                      <a:pt x="68" y="58"/>
                      <a:pt x="68" y="58"/>
                      <a:pt x="68" y="57"/>
                    </a:cubicBezTo>
                    <a:cubicBezTo>
                      <a:pt x="68" y="56"/>
                      <a:pt x="69" y="55"/>
                      <a:pt x="69" y="54"/>
                    </a:cubicBezTo>
                    <a:cubicBezTo>
                      <a:pt x="69" y="54"/>
                      <a:pt x="69" y="54"/>
                      <a:pt x="69" y="54"/>
                    </a:cubicBezTo>
                    <a:cubicBezTo>
                      <a:pt x="69" y="52"/>
                      <a:pt x="70" y="51"/>
                      <a:pt x="71" y="50"/>
                    </a:cubicBezTo>
                    <a:cubicBezTo>
                      <a:pt x="71" y="50"/>
                      <a:pt x="72" y="50"/>
                      <a:pt x="72" y="50"/>
                    </a:cubicBezTo>
                    <a:cubicBezTo>
                      <a:pt x="72" y="50"/>
                      <a:pt x="72" y="50"/>
                      <a:pt x="72" y="50"/>
                    </a:cubicBezTo>
                    <a:cubicBezTo>
                      <a:pt x="72" y="49"/>
                      <a:pt x="73" y="48"/>
                      <a:pt x="74" y="47"/>
                    </a:cubicBezTo>
                    <a:cubicBezTo>
                      <a:pt x="74" y="46"/>
                      <a:pt x="75" y="45"/>
                      <a:pt x="75" y="44"/>
                    </a:cubicBezTo>
                    <a:cubicBezTo>
                      <a:pt x="75" y="44"/>
                      <a:pt x="75" y="44"/>
                      <a:pt x="7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5" name="Freeform 3057">
                <a:extLst>
                  <a:ext uri="{FF2B5EF4-FFF2-40B4-BE49-F238E27FC236}">
                    <a16:creationId xmlns:a16="http://schemas.microsoft.com/office/drawing/2014/main" id="{DB71BE76-1D3F-4478-BA41-F0E1D4C5CAA9}"/>
                  </a:ext>
                </a:extLst>
              </p:cNvPr>
              <p:cNvSpPr>
                <a:spLocks/>
              </p:cNvSpPr>
              <p:nvPr/>
            </p:nvSpPr>
            <p:spPr bwMode="auto">
              <a:xfrm>
                <a:off x="4034" y="3216"/>
                <a:ext cx="217" cy="223"/>
              </a:xfrm>
              <a:custGeom>
                <a:avLst/>
                <a:gdLst>
                  <a:gd name="T0" fmla="*/ 91 w 92"/>
                  <a:gd name="T1" fmla="*/ 44 h 94"/>
                  <a:gd name="T2" fmla="*/ 91 w 92"/>
                  <a:gd name="T3" fmla="*/ 43 h 94"/>
                  <a:gd name="T4" fmla="*/ 90 w 92"/>
                  <a:gd name="T5" fmla="*/ 41 h 94"/>
                  <a:gd name="T6" fmla="*/ 85 w 92"/>
                  <a:gd name="T7" fmla="*/ 40 h 94"/>
                  <a:gd name="T8" fmla="*/ 80 w 92"/>
                  <a:gd name="T9" fmla="*/ 39 h 94"/>
                  <a:gd name="T10" fmla="*/ 78 w 92"/>
                  <a:gd name="T11" fmla="*/ 34 h 94"/>
                  <a:gd name="T12" fmla="*/ 77 w 92"/>
                  <a:gd name="T13" fmla="*/ 28 h 94"/>
                  <a:gd name="T14" fmla="*/ 75 w 92"/>
                  <a:gd name="T15" fmla="*/ 28 h 94"/>
                  <a:gd name="T16" fmla="*/ 72 w 92"/>
                  <a:gd name="T17" fmla="*/ 24 h 94"/>
                  <a:gd name="T18" fmla="*/ 72 w 92"/>
                  <a:gd name="T19" fmla="*/ 23 h 94"/>
                  <a:gd name="T20" fmla="*/ 64 w 92"/>
                  <a:gd name="T21" fmla="*/ 20 h 94"/>
                  <a:gd name="T22" fmla="*/ 60 w 92"/>
                  <a:gd name="T23" fmla="*/ 13 h 94"/>
                  <a:gd name="T24" fmla="*/ 52 w 92"/>
                  <a:gd name="T25" fmla="*/ 0 h 94"/>
                  <a:gd name="T26" fmla="*/ 40 w 92"/>
                  <a:gd name="T27" fmla="*/ 4 h 94"/>
                  <a:gd name="T28" fmla="*/ 35 w 92"/>
                  <a:gd name="T29" fmla="*/ 6 h 94"/>
                  <a:gd name="T30" fmla="*/ 33 w 92"/>
                  <a:gd name="T31" fmla="*/ 2 h 94"/>
                  <a:gd name="T32" fmla="*/ 32 w 92"/>
                  <a:gd name="T33" fmla="*/ 2 h 94"/>
                  <a:gd name="T34" fmla="*/ 11 w 92"/>
                  <a:gd name="T35" fmla="*/ 20 h 94"/>
                  <a:gd name="T36" fmla="*/ 11 w 92"/>
                  <a:gd name="T37" fmla="*/ 39 h 94"/>
                  <a:gd name="T38" fmla="*/ 11 w 92"/>
                  <a:gd name="T39" fmla="*/ 42 h 94"/>
                  <a:gd name="T40" fmla="*/ 0 w 92"/>
                  <a:gd name="T41" fmla="*/ 44 h 94"/>
                  <a:gd name="T42" fmla="*/ 2 w 92"/>
                  <a:gd name="T43" fmla="*/ 73 h 94"/>
                  <a:gd name="T44" fmla="*/ 7 w 92"/>
                  <a:gd name="T45" fmla="*/ 80 h 94"/>
                  <a:gd name="T46" fmla="*/ 9 w 92"/>
                  <a:gd name="T47" fmla="*/ 87 h 94"/>
                  <a:gd name="T48" fmla="*/ 8 w 92"/>
                  <a:gd name="T49" fmla="*/ 90 h 94"/>
                  <a:gd name="T50" fmla="*/ 7 w 92"/>
                  <a:gd name="T51" fmla="*/ 93 h 94"/>
                  <a:gd name="T52" fmla="*/ 7 w 92"/>
                  <a:gd name="T53" fmla="*/ 94 h 94"/>
                  <a:gd name="T54" fmla="*/ 10 w 92"/>
                  <a:gd name="T55" fmla="*/ 94 h 94"/>
                  <a:gd name="T56" fmla="*/ 13 w 92"/>
                  <a:gd name="T57" fmla="*/ 94 h 94"/>
                  <a:gd name="T58" fmla="*/ 15 w 92"/>
                  <a:gd name="T59" fmla="*/ 94 h 94"/>
                  <a:gd name="T60" fmla="*/ 18 w 92"/>
                  <a:gd name="T61" fmla="*/ 92 h 94"/>
                  <a:gd name="T62" fmla="*/ 19 w 92"/>
                  <a:gd name="T63" fmla="*/ 92 h 94"/>
                  <a:gd name="T64" fmla="*/ 25 w 92"/>
                  <a:gd name="T65" fmla="*/ 86 h 94"/>
                  <a:gd name="T66" fmla="*/ 26 w 92"/>
                  <a:gd name="T67" fmla="*/ 84 h 94"/>
                  <a:gd name="T68" fmla="*/ 26 w 92"/>
                  <a:gd name="T69" fmla="*/ 83 h 94"/>
                  <a:gd name="T70" fmla="*/ 27 w 92"/>
                  <a:gd name="T71" fmla="*/ 82 h 94"/>
                  <a:gd name="T72" fmla="*/ 27 w 92"/>
                  <a:gd name="T73" fmla="*/ 80 h 94"/>
                  <a:gd name="T74" fmla="*/ 35 w 92"/>
                  <a:gd name="T75" fmla="*/ 78 h 94"/>
                  <a:gd name="T76" fmla="*/ 41 w 92"/>
                  <a:gd name="T77" fmla="*/ 80 h 94"/>
                  <a:gd name="T78" fmla="*/ 50 w 92"/>
                  <a:gd name="T79" fmla="*/ 83 h 94"/>
                  <a:gd name="T80" fmla="*/ 54 w 92"/>
                  <a:gd name="T81" fmla="*/ 82 h 94"/>
                  <a:gd name="T82" fmla="*/ 56 w 92"/>
                  <a:gd name="T83" fmla="*/ 80 h 94"/>
                  <a:gd name="T84" fmla="*/ 58 w 92"/>
                  <a:gd name="T85" fmla="*/ 73 h 94"/>
                  <a:gd name="T86" fmla="*/ 59 w 92"/>
                  <a:gd name="T87" fmla="*/ 71 h 94"/>
                  <a:gd name="T88" fmla="*/ 66 w 92"/>
                  <a:gd name="T89" fmla="*/ 68 h 94"/>
                  <a:gd name="T90" fmla="*/ 67 w 92"/>
                  <a:gd name="T91" fmla="*/ 67 h 94"/>
                  <a:gd name="T92" fmla="*/ 68 w 92"/>
                  <a:gd name="T93" fmla="*/ 65 h 94"/>
                  <a:gd name="T94" fmla="*/ 69 w 92"/>
                  <a:gd name="T95" fmla="*/ 63 h 94"/>
                  <a:gd name="T96" fmla="*/ 76 w 92"/>
                  <a:gd name="T97" fmla="*/ 55 h 94"/>
                  <a:gd name="T98" fmla="*/ 84 w 92"/>
                  <a:gd name="T99" fmla="*/ 48 h 94"/>
                  <a:gd name="T100" fmla="*/ 88 w 92"/>
                  <a:gd name="T101"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94">
                    <a:moveTo>
                      <a:pt x="89" y="47"/>
                    </a:moveTo>
                    <a:cubicBezTo>
                      <a:pt x="89" y="47"/>
                      <a:pt x="89" y="46"/>
                      <a:pt x="90" y="46"/>
                    </a:cubicBezTo>
                    <a:cubicBezTo>
                      <a:pt x="90" y="45"/>
                      <a:pt x="90" y="45"/>
                      <a:pt x="91" y="44"/>
                    </a:cubicBezTo>
                    <a:cubicBezTo>
                      <a:pt x="91" y="44"/>
                      <a:pt x="91" y="44"/>
                      <a:pt x="92" y="44"/>
                    </a:cubicBezTo>
                    <a:cubicBezTo>
                      <a:pt x="91" y="43"/>
                      <a:pt x="91" y="43"/>
                      <a:pt x="91" y="43"/>
                    </a:cubicBezTo>
                    <a:cubicBezTo>
                      <a:pt x="91" y="43"/>
                      <a:pt x="91" y="43"/>
                      <a:pt x="91" y="43"/>
                    </a:cubicBezTo>
                    <a:cubicBezTo>
                      <a:pt x="91" y="43"/>
                      <a:pt x="91" y="43"/>
                      <a:pt x="91" y="43"/>
                    </a:cubicBezTo>
                    <a:cubicBezTo>
                      <a:pt x="91" y="42"/>
                      <a:pt x="90" y="42"/>
                      <a:pt x="90" y="42"/>
                    </a:cubicBezTo>
                    <a:cubicBezTo>
                      <a:pt x="90" y="42"/>
                      <a:pt x="90" y="41"/>
                      <a:pt x="90" y="41"/>
                    </a:cubicBezTo>
                    <a:cubicBezTo>
                      <a:pt x="89" y="41"/>
                      <a:pt x="88" y="41"/>
                      <a:pt x="87" y="41"/>
                    </a:cubicBezTo>
                    <a:cubicBezTo>
                      <a:pt x="86" y="40"/>
                      <a:pt x="86" y="40"/>
                      <a:pt x="86" y="40"/>
                    </a:cubicBezTo>
                    <a:cubicBezTo>
                      <a:pt x="86" y="40"/>
                      <a:pt x="85" y="40"/>
                      <a:pt x="85" y="40"/>
                    </a:cubicBezTo>
                    <a:cubicBezTo>
                      <a:pt x="85" y="40"/>
                      <a:pt x="85" y="40"/>
                      <a:pt x="84" y="40"/>
                    </a:cubicBezTo>
                    <a:cubicBezTo>
                      <a:pt x="84" y="40"/>
                      <a:pt x="84" y="40"/>
                      <a:pt x="84" y="40"/>
                    </a:cubicBezTo>
                    <a:cubicBezTo>
                      <a:pt x="83" y="40"/>
                      <a:pt x="81" y="40"/>
                      <a:pt x="80" y="39"/>
                    </a:cubicBezTo>
                    <a:cubicBezTo>
                      <a:pt x="79" y="38"/>
                      <a:pt x="79" y="37"/>
                      <a:pt x="78" y="35"/>
                    </a:cubicBezTo>
                    <a:cubicBezTo>
                      <a:pt x="78" y="35"/>
                      <a:pt x="78" y="35"/>
                      <a:pt x="78" y="34"/>
                    </a:cubicBezTo>
                    <a:cubicBezTo>
                      <a:pt x="78" y="34"/>
                      <a:pt x="78" y="34"/>
                      <a:pt x="78" y="34"/>
                    </a:cubicBezTo>
                    <a:cubicBezTo>
                      <a:pt x="77" y="33"/>
                      <a:pt x="77" y="32"/>
                      <a:pt x="77" y="30"/>
                    </a:cubicBezTo>
                    <a:cubicBezTo>
                      <a:pt x="77" y="29"/>
                      <a:pt x="77" y="29"/>
                      <a:pt x="77" y="29"/>
                    </a:cubicBezTo>
                    <a:cubicBezTo>
                      <a:pt x="77" y="29"/>
                      <a:pt x="77" y="28"/>
                      <a:pt x="77" y="28"/>
                    </a:cubicBezTo>
                    <a:cubicBezTo>
                      <a:pt x="77" y="28"/>
                      <a:pt x="76" y="28"/>
                      <a:pt x="76" y="28"/>
                    </a:cubicBezTo>
                    <a:cubicBezTo>
                      <a:pt x="76" y="28"/>
                      <a:pt x="76" y="28"/>
                      <a:pt x="76" y="28"/>
                    </a:cubicBezTo>
                    <a:cubicBezTo>
                      <a:pt x="75" y="28"/>
                      <a:pt x="75" y="28"/>
                      <a:pt x="75" y="28"/>
                    </a:cubicBezTo>
                    <a:cubicBezTo>
                      <a:pt x="74" y="28"/>
                      <a:pt x="73" y="28"/>
                      <a:pt x="73" y="27"/>
                    </a:cubicBezTo>
                    <a:cubicBezTo>
                      <a:pt x="72" y="27"/>
                      <a:pt x="72" y="26"/>
                      <a:pt x="72" y="25"/>
                    </a:cubicBezTo>
                    <a:cubicBezTo>
                      <a:pt x="72" y="25"/>
                      <a:pt x="72" y="25"/>
                      <a:pt x="72" y="24"/>
                    </a:cubicBezTo>
                    <a:cubicBezTo>
                      <a:pt x="72" y="24"/>
                      <a:pt x="72" y="24"/>
                      <a:pt x="72" y="24"/>
                    </a:cubicBezTo>
                    <a:cubicBezTo>
                      <a:pt x="72" y="24"/>
                      <a:pt x="72" y="24"/>
                      <a:pt x="72" y="24"/>
                    </a:cubicBezTo>
                    <a:cubicBezTo>
                      <a:pt x="72" y="23"/>
                      <a:pt x="72" y="23"/>
                      <a:pt x="72" y="23"/>
                    </a:cubicBezTo>
                    <a:cubicBezTo>
                      <a:pt x="71" y="23"/>
                      <a:pt x="70" y="22"/>
                      <a:pt x="69" y="22"/>
                    </a:cubicBezTo>
                    <a:cubicBezTo>
                      <a:pt x="69" y="22"/>
                      <a:pt x="69" y="22"/>
                      <a:pt x="69" y="22"/>
                    </a:cubicBezTo>
                    <a:cubicBezTo>
                      <a:pt x="67" y="21"/>
                      <a:pt x="66" y="21"/>
                      <a:pt x="64" y="20"/>
                    </a:cubicBezTo>
                    <a:cubicBezTo>
                      <a:pt x="64" y="19"/>
                      <a:pt x="63" y="18"/>
                      <a:pt x="62" y="18"/>
                    </a:cubicBezTo>
                    <a:cubicBezTo>
                      <a:pt x="61" y="17"/>
                      <a:pt x="61" y="16"/>
                      <a:pt x="60" y="15"/>
                    </a:cubicBezTo>
                    <a:cubicBezTo>
                      <a:pt x="60" y="13"/>
                      <a:pt x="60" y="13"/>
                      <a:pt x="60" y="13"/>
                    </a:cubicBezTo>
                    <a:cubicBezTo>
                      <a:pt x="59" y="11"/>
                      <a:pt x="58" y="9"/>
                      <a:pt x="57" y="7"/>
                    </a:cubicBezTo>
                    <a:cubicBezTo>
                      <a:pt x="56" y="6"/>
                      <a:pt x="56" y="6"/>
                      <a:pt x="56" y="5"/>
                    </a:cubicBezTo>
                    <a:cubicBezTo>
                      <a:pt x="52" y="0"/>
                      <a:pt x="52" y="0"/>
                      <a:pt x="52" y="0"/>
                    </a:cubicBezTo>
                    <a:cubicBezTo>
                      <a:pt x="48" y="0"/>
                      <a:pt x="45" y="1"/>
                      <a:pt x="41" y="3"/>
                    </a:cubicBezTo>
                    <a:cubicBezTo>
                      <a:pt x="41" y="3"/>
                      <a:pt x="41" y="3"/>
                      <a:pt x="41" y="3"/>
                    </a:cubicBezTo>
                    <a:cubicBezTo>
                      <a:pt x="41" y="3"/>
                      <a:pt x="40" y="4"/>
                      <a:pt x="40" y="4"/>
                    </a:cubicBezTo>
                    <a:cubicBezTo>
                      <a:pt x="38" y="5"/>
                      <a:pt x="37" y="6"/>
                      <a:pt x="36" y="6"/>
                    </a:cubicBezTo>
                    <a:cubicBezTo>
                      <a:pt x="36" y="6"/>
                      <a:pt x="36" y="6"/>
                      <a:pt x="36" y="6"/>
                    </a:cubicBezTo>
                    <a:cubicBezTo>
                      <a:pt x="36" y="6"/>
                      <a:pt x="35" y="6"/>
                      <a:pt x="35" y="6"/>
                    </a:cubicBezTo>
                    <a:cubicBezTo>
                      <a:pt x="35" y="6"/>
                      <a:pt x="34" y="5"/>
                      <a:pt x="34" y="5"/>
                    </a:cubicBezTo>
                    <a:cubicBezTo>
                      <a:pt x="34" y="5"/>
                      <a:pt x="33" y="4"/>
                      <a:pt x="33" y="3"/>
                    </a:cubicBezTo>
                    <a:cubicBezTo>
                      <a:pt x="33" y="3"/>
                      <a:pt x="33" y="3"/>
                      <a:pt x="33" y="2"/>
                    </a:cubicBezTo>
                    <a:cubicBezTo>
                      <a:pt x="33" y="2"/>
                      <a:pt x="32" y="2"/>
                      <a:pt x="32" y="2"/>
                    </a:cubicBezTo>
                    <a:cubicBezTo>
                      <a:pt x="32" y="2"/>
                      <a:pt x="32" y="2"/>
                      <a:pt x="32" y="2"/>
                    </a:cubicBezTo>
                    <a:cubicBezTo>
                      <a:pt x="32" y="2"/>
                      <a:pt x="32" y="2"/>
                      <a:pt x="32" y="2"/>
                    </a:cubicBezTo>
                    <a:cubicBezTo>
                      <a:pt x="11" y="5"/>
                      <a:pt x="11" y="5"/>
                      <a:pt x="11" y="5"/>
                    </a:cubicBezTo>
                    <a:cubicBezTo>
                      <a:pt x="11" y="5"/>
                      <a:pt x="11" y="5"/>
                      <a:pt x="11" y="5"/>
                    </a:cubicBezTo>
                    <a:cubicBezTo>
                      <a:pt x="11" y="20"/>
                      <a:pt x="11" y="20"/>
                      <a:pt x="11" y="20"/>
                    </a:cubicBezTo>
                    <a:cubicBezTo>
                      <a:pt x="11" y="20"/>
                      <a:pt x="11" y="20"/>
                      <a:pt x="11" y="20"/>
                    </a:cubicBezTo>
                    <a:cubicBezTo>
                      <a:pt x="11" y="25"/>
                      <a:pt x="11" y="30"/>
                      <a:pt x="11" y="35"/>
                    </a:cubicBezTo>
                    <a:cubicBezTo>
                      <a:pt x="11" y="39"/>
                      <a:pt x="11" y="39"/>
                      <a:pt x="11" y="39"/>
                    </a:cubicBezTo>
                    <a:cubicBezTo>
                      <a:pt x="11" y="40"/>
                      <a:pt x="11" y="40"/>
                      <a:pt x="11" y="40"/>
                    </a:cubicBezTo>
                    <a:cubicBezTo>
                      <a:pt x="11" y="41"/>
                      <a:pt x="11" y="41"/>
                      <a:pt x="11" y="42"/>
                    </a:cubicBezTo>
                    <a:cubicBezTo>
                      <a:pt x="11" y="42"/>
                      <a:pt x="11" y="42"/>
                      <a:pt x="11" y="42"/>
                    </a:cubicBezTo>
                    <a:cubicBezTo>
                      <a:pt x="11" y="42"/>
                      <a:pt x="10" y="43"/>
                      <a:pt x="8" y="44"/>
                    </a:cubicBezTo>
                    <a:cubicBezTo>
                      <a:pt x="6" y="44"/>
                      <a:pt x="4" y="44"/>
                      <a:pt x="2" y="44"/>
                    </a:cubicBezTo>
                    <a:cubicBezTo>
                      <a:pt x="1" y="44"/>
                      <a:pt x="1" y="44"/>
                      <a:pt x="0" y="44"/>
                    </a:cubicBezTo>
                    <a:cubicBezTo>
                      <a:pt x="0" y="44"/>
                      <a:pt x="0" y="44"/>
                      <a:pt x="0" y="45"/>
                    </a:cubicBezTo>
                    <a:cubicBezTo>
                      <a:pt x="0" y="72"/>
                      <a:pt x="0" y="72"/>
                      <a:pt x="0" y="72"/>
                    </a:cubicBezTo>
                    <a:cubicBezTo>
                      <a:pt x="2" y="73"/>
                      <a:pt x="2" y="73"/>
                      <a:pt x="2" y="73"/>
                    </a:cubicBezTo>
                    <a:cubicBezTo>
                      <a:pt x="2" y="73"/>
                      <a:pt x="3" y="74"/>
                      <a:pt x="4" y="74"/>
                    </a:cubicBezTo>
                    <a:cubicBezTo>
                      <a:pt x="5" y="75"/>
                      <a:pt x="6" y="77"/>
                      <a:pt x="7" y="79"/>
                    </a:cubicBezTo>
                    <a:cubicBezTo>
                      <a:pt x="7" y="80"/>
                      <a:pt x="7" y="80"/>
                      <a:pt x="7" y="80"/>
                    </a:cubicBezTo>
                    <a:cubicBezTo>
                      <a:pt x="7" y="80"/>
                      <a:pt x="7" y="80"/>
                      <a:pt x="8" y="81"/>
                    </a:cubicBezTo>
                    <a:cubicBezTo>
                      <a:pt x="8" y="81"/>
                      <a:pt x="8" y="81"/>
                      <a:pt x="8" y="81"/>
                    </a:cubicBezTo>
                    <a:cubicBezTo>
                      <a:pt x="8" y="83"/>
                      <a:pt x="9" y="85"/>
                      <a:pt x="9" y="87"/>
                    </a:cubicBezTo>
                    <a:cubicBezTo>
                      <a:pt x="9" y="87"/>
                      <a:pt x="9" y="88"/>
                      <a:pt x="9" y="88"/>
                    </a:cubicBezTo>
                    <a:cubicBezTo>
                      <a:pt x="9" y="89"/>
                      <a:pt x="9" y="89"/>
                      <a:pt x="8" y="90"/>
                    </a:cubicBezTo>
                    <a:cubicBezTo>
                      <a:pt x="8" y="90"/>
                      <a:pt x="8" y="90"/>
                      <a:pt x="8" y="90"/>
                    </a:cubicBezTo>
                    <a:cubicBezTo>
                      <a:pt x="8" y="90"/>
                      <a:pt x="8" y="90"/>
                      <a:pt x="8" y="91"/>
                    </a:cubicBezTo>
                    <a:cubicBezTo>
                      <a:pt x="7" y="91"/>
                      <a:pt x="7" y="92"/>
                      <a:pt x="7" y="92"/>
                    </a:cubicBezTo>
                    <a:cubicBezTo>
                      <a:pt x="7" y="93"/>
                      <a:pt x="7" y="93"/>
                      <a:pt x="7" y="93"/>
                    </a:cubicBezTo>
                    <a:cubicBezTo>
                      <a:pt x="7" y="93"/>
                      <a:pt x="7" y="93"/>
                      <a:pt x="7" y="93"/>
                    </a:cubicBezTo>
                    <a:cubicBezTo>
                      <a:pt x="7" y="94"/>
                      <a:pt x="7" y="94"/>
                      <a:pt x="7" y="94"/>
                    </a:cubicBezTo>
                    <a:cubicBezTo>
                      <a:pt x="7" y="94"/>
                      <a:pt x="7" y="94"/>
                      <a:pt x="7" y="94"/>
                    </a:cubicBezTo>
                    <a:cubicBezTo>
                      <a:pt x="7" y="94"/>
                      <a:pt x="7" y="94"/>
                      <a:pt x="7" y="94"/>
                    </a:cubicBezTo>
                    <a:cubicBezTo>
                      <a:pt x="8" y="94"/>
                      <a:pt x="8" y="93"/>
                      <a:pt x="9" y="94"/>
                    </a:cubicBezTo>
                    <a:cubicBezTo>
                      <a:pt x="9" y="94"/>
                      <a:pt x="10" y="94"/>
                      <a:pt x="10" y="94"/>
                    </a:cubicBezTo>
                    <a:cubicBezTo>
                      <a:pt x="10" y="94"/>
                      <a:pt x="10" y="94"/>
                      <a:pt x="10" y="94"/>
                    </a:cubicBezTo>
                    <a:cubicBezTo>
                      <a:pt x="11" y="94"/>
                      <a:pt x="11" y="94"/>
                      <a:pt x="12" y="94"/>
                    </a:cubicBezTo>
                    <a:cubicBezTo>
                      <a:pt x="12" y="94"/>
                      <a:pt x="13" y="94"/>
                      <a:pt x="13" y="94"/>
                    </a:cubicBezTo>
                    <a:cubicBezTo>
                      <a:pt x="13" y="94"/>
                      <a:pt x="13" y="94"/>
                      <a:pt x="13" y="94"/>
                    </a:cubicBezTo>
                    <a:cubicBezTo>
                      <a:pt x="14" y="94"/>
                      <a:pt x="14" y="94"/>
                      <a:pt x="15" y="94"/>
                    </a:cubicBezTo>
                    <a:cubicBezTo>
                      <a:pt x="15" y="94"/>
                      <a:pt x="15" y="94"/>
                      <a:pt x="15" y="94"/>
                    </a:cubicBezTo>
                    <a:cubicBezTo>
                      <a:pt x="15" y="94"/>
                      <a:pt x="16" y="94"/>
                      <a:pt x="16" y="94"/>
                    </a:cubicBezTo>
                    <a:cubicBezTo>
                      <a:pt x="16" y="94"/>
                      <a:pt x="17" y="94"/>
                      <a:pt x="17" y="93"/>
                    </a:cubicBezTo>
                    <a:cubicBezTo>
                      <a:pt x="18" y="93"/>
                      <a:pt x="18" y="93"/>
                      <a:pt x="18" y="92"/>
                    </a:cubicBezTo>
                    <a:cubicBezTo>
                      <a:pt x="18" y="92"/>
                      <a:pt x="18" y="92"/>
                      <a:pt x="18" y="92"/>
                    </a:cubicBezTo>
                    <a:cubicBezTo>
                      <a:pt x="18" y="92"/>
                      <a:pt x="18" y="92"/>
                      <a:pt x="18" y="92"/>
                    </a:cubicBezTo>
                    <a:cubicBezTo>
                      <a:pt x="19" y="92"/>
                      <a:pt x="19" y="92"/>
                      <a:pt x="19" y="92"/>
                    </a:cubicBezTo>
                    <a:cubicBezTo>
                      <a:pt x="19" y="92"/>
                      <a:pt x="19" y="91"/>
                      <a:pt x="19" y="91"/>
                    </a:cubicBezTo>
                    <a:cubicBezTo>
                      <a:pt x="25" y="86"/>
                      <a:pt x="25" y="86"/>
                      <a:pt x="25" y="86"/>
                    </a:cubicBezTo>
                    <a:cubicBezTo>
                      <a:pt x="25" y="86"/>
                      <a:pt x="25" y="86"/>
                      <a:pt x="25" y="86"/>
                    </a:cubicBezTo>
                    <a:cubicBezTo>
                      <a:pt x="26" y="86"/>
                      <a:pt x="26" y="86"/>
                      <a:pt x="26" y="85"/>
                    </a:cubicBezTo>
                    <a:cubicBezTo>
                      <a:pt x="26" y="85"/>
                      <a:pt x="26" y="85"/>
                      <a:pt x="26" y="85"/>
                    </a:cubicBezTo>
                    <a:cubicBezTo>
                      <a:pt x="26" y="85"/>
                      <a:pt x="26" y="85"/>
                      <a:pt x="26" y="84"/>
                    </a:cubicBezTo>
                    <a:cubicBezTo>
                      <a:pt x="26" y="84"/>
                      <a:pt x="26" y="84"/>
                      <a:pt x="26" y="84"/>
                    </a:cubicBezTo>
                    <a:cubicBezTo>
                      <a:pt x="26" y="84"/>
                      <a:pt x="26" y="84"/>
                      <a:pt x="26" y="84"/>
                    </a:cubicBezTo>
                    <a:cubicBezTo>
                      <a:pt x="26" y="83"/>
                      <a:pt x="26" y="83"/>
                      <a:pt x="26" y="83"/>
                    </a:cubicBezTo>
                    <a:cubicBezTo>
                      <a:pt x="26" y="83"/>
                      <a:pt x="26" y="82"/>
                      <a:pt x="27" y="82"/>
                    </a:cubicBezTo>
                    <a:cubicBezTo>
                      <a:pt x="27" y="82"/>
                      <a:pt x="27" y="82"/>
                      <a:pt x="27" y="82"/>
                    </a:cubicBezTo>
                    <a:cubicBezTo>
                      <a:pt x="27" y="82"/>
                      <a:pt x="27" y="82"/>
                      <a:pt x="27" y="82"/>
                    </a:cubicBezTo>
                    <a:cubicBezTo>
                      <a:pt x="27" y="82"/>
                      <a:pt x="27" y="82"/>
                      <a:pt x="27" y="82"/>
                    </a:cubicBezTo>
                    <a:cubicBezTo>
                      <a:pt x="27" y="81"/>
                      <a:pt x="27" y="81"/>
                      <a:pt x="27" y="81"/>
                    </a:cubicBezTo>
                    <a:cubicBezTo>
                      <a:pt x="27" y="81"/>
                      <a:pt x="27" y="81"/>
                      <a:pt x="27" y="80"/>
                    </a:cubicBezTo>
                    <a:cubicBezTo>
                      <a:pt x="27" y="80"/>
                      <a:pt x="27" y="80"/>
                      <a:pt x="27" y="80"/>
                    </a:cubicBezTo>
                    <a:cubicBezTo>
                      <a:pt x="27" y="79"/>
                      <a:pt x="29" y="78"/>
                      <a:pt x="30" y="77"/>
                    </a:cubicBezTo>
                    <a:cubicBezTo>
                      <a:pt x="31" y="76"/>
                      <a:pt x="33" y="77"/>
                      <a:pt x="35" y="78"/>
                    </a:cubicBezTo>
                    <a:cubicBezTo>
                      <a:pt x="36" y="78"/>
                      <a:pt x="37" y="79"/>
                      <a:pt x="38" y="79"/>
                    </a:cubicBezTo>
                    <a:cubicBezTo>
                      <a:pt x="39" y="79"/>
                      <a:pt x="39" y="79"/>
                      <a:pt x="39" y="79"/>
                    </a:cubicBezTo>
                    <a:cubicBezTo>
                      <a:pt x="39" y="80"/>
                      <a:pt x="40" y="80"/>
                      <a:pt x="41" y="80"/>
                    </a:cubicBezTo>
                    <a:cubicBezTo>
                      <a:pt x="41" y="80"/>
                      <a:pt x="41" y="80"/>
                      <a:pt x="41" y="80"/>
                    </a:cubicBezTo>
                    <a:cubicBezTo>
                      <a:pt x="43" y="81"/>
                      <a:pt x="44" y="82"/>
                      <a:pt x="46" y="82"/>
                    </a:cubicBezTo>
                    <a:cubicBezTo>
                      <a:pt x="47" y="83"/>
                      <a:pt x="48" y="83"/>
                      <a:pt x="50" y="83"/>
                    </a:cubicBezTo>
                    <a:cubicBezTo>
                      <a:pt x="50" y="82"/>
                      <a:pt x="51" y="82"/>
                      <a:pt x="52" y="82"/>
                    </a:cubicBezTo>
                    <a:cubicBezTo>
                      <a:pt x="52" y="82"/>
                      <a:pt x="52" y="82"/>
                      <a:pt x="52" y="82"/>
                    </a:cubicBezTo>
                    <a:cubicBezTo>
                      <a:pt x="53" y="82"/>
                      <a:pt x="53" y="82"/>
                      <a:pt x="54" y="82"/>
                    </a:cubicBezTo>
                    <a:cubicBezTo>
                      <a:pt x="54" y="82"/>
                      <a:pt x="54" y="81"/>
                      <a:pt x="55" y="81"/>
                    </a:cubicBezTo>
                    <a:cubicBezTo>
                      <a:pt x="55" y="80"/>
                      <a:pt x="55" y="80"/>
                      <a:pt x="55" y="80"/>
                    </a:cubicBezTo>
                    <a:cubicBezTo>
                      <a:pt x="55" y="80"/>
                      <a:pt x="56" y="80"/>
                      <a:pt x="56" y="80"/>
                    </a:cubicBezTo>
                    <a:cubicBezTo>
                      <a:pt x="57" y="78"/>
                      <a:pt x="57" y="77"/>
                      <a:pt x="58" y="74"/>
                    </a:cubicBezTo>
                    <a:cubicBezTo>
                      <a:pt x="58" y="74"/>
                      <a:pt x="58" y="74"/>
                      <a:pt x="58" y="74"/>
                    </a:cubicBezTo>
                    <a:cubicBezTo>
                      <a:pt x="58" y="73"/>
                      <a:pt x="58" y="73"/>
                      <a:pt x="58" y="73"/>
                    </a:cubicBezTo>
                    <a:cubicBezTo>
                      <a:pt x="58" y="73"/>
                      <a:pt x="58" y="73"/>
                      <a:pt x="58" y="73"/>
                    </a:cubicBezTo>
                    <a:cubicBezTo>
                      <a:pt x="58" y="72"/>
                      <a:pt x="58" y="71"/>
                      <a:pt x="59" y="71"/>
                    </a:cubicBezTo>
                    <a:cubicBezTo>
                      <a:pt x="59" y="71"/>
                      <a:pt x="59" y="71"/>
                      <a:pt x="59" y="71"/>
                    </a:cubicBezTo>
                    <a:cubicBezTo>
                      <a:pt x="59" y="71"/>
                      <a:pt x="59" y="71"/>
                      <a:pt x="59" y="71"/>
                    </a:cubicBezTo>
                    <a:cubicBezTo>
                      <a:pt x="60" y="71"/>
                      <a:pt x="61" y="70"/>
                      <a:pt x="62" y="70"/>
                    </a:cubicBezTo>
                    <a:cubicBezTo>
                      <a:pt x="64" y="70"/>
                      <a:pt x="64" y="70"/>
                      <a:pt x="66" y="68"/>
                    </a:cubicBezTo>
                    <a:cubicBezTo>
                      <a:pt x="66" y="68"/>
                      <a:pt x="66" y="68"/>
                      <a:pt x="66" y="68"/>
                    </a:cubicBezTo>
                    <a:cubicBezTo>
                      <a:pt x="67" y="68"/>
                      <a:pt x="67" y="68"/>
                      <a:pt x="67" y="68"/>
                    </a:cubicBezTo>
                    <a:cubicBezTo>
                      <a:pt x="67" y="68"/>
                      <a:pt x="67" y="67"/>
                      <a:pt x="67" y="67"/>
                    </a:cubicBezTo>
                    <a:cubicBezTo>
                      <a:pt x="67" y="67"/>
                      <a:pt x="67" y="67"/>
                      <a:pt x="67" y="67"/>
                    </a:cubicBezTo>
                    <a:cubicBezTo>
                      <a:pt x="68" y="66"/>
                      <a:pt x="68" y="66"/>
                      <a:pt x="68" y="66"/>
                    </a:cubicBezTo>
                    <a:cubicBezTo>
                      <a:pt x="68" y="65"/>
                      <a:pt x="68" y="65"/>
                      <a:pt x="68" y="65"/>
                    </a:cubicBezTo>
                    <a:cubicBezTo>
                      <a:pt x="68" y="64"/>
                      <a:pt x="68" y="64"/>
                      <a:pt x="68" y="64"/>
                    </a:cubicBezTo>
                    <a:cubicBezTo>
                      <a:pt x="68" y="64"/>
                      <a:pt x="68" y="64"/>
                      <a:pt x="69" y="64"/>
                    </a:cubicBezTo>
                    <a:cubicBezTo>
                      <a:pt x="69" y="63"/>
                      <a:pt x="69" y="63"/>
                      <a:pt x="69" y="63"/>
                    </a:cubicBezTo>
                    <a:cubicBezTo>
                      <a:pt x="69" y="62"/>
                      <a:pt x="69" y="62"/>
                      <a:pt x="69" y="62"/>
                    </a:cubicBezTo>
                    <a:cubicBezTo>
                      <a:pt x="69" y="60"/>
                      <a:pt x="72" y="58"/>
                      <a:pt x="74" y="57"/>
                    </a:cubicBezTo>
                    <a:cubicBezTo>
                      <a:pt x="75" y="56"/>
                      <a:pt x="76" y="56"/>
                      <a:pt x="76" y="55"/>
                    </a:cubicBezTo>
                    <a:cubicBezTo>
                      <a:pt x="78" y="54"/>
                      <a:pt x="80" y="52"/>
                      <a:pt x="81" y="51"/>
                    </a:cubicBezTo>
                    <a:cubicBezTo>
                      <a:pt x="81" y="51"/>
                      <a:pt x="81" y="51"/>
                      <a:pt x="81" y="51"/>
                    </a:cubicBezTo>
                    <a:cubicBezTo>
                      <a:pt x="82" y="50"/>
                      <a:pt x="83" y="48"/>
                      <a:pt x="84" y="48"/>
                    </a:cubicBezTo>
                    <a:cubicBezTo>
                      <a:pt x="85" y="48"/>
                      <a:pt x="85" y="48"/>
                      <a:pt x="85" y="48"/>
                    </a:cubicBezTo>
                    <a:cubicBezTo>
                      <a:pt x="85" y="48"/>
                      <a:pt x="85" y="48"/>
                      <a:pt x="86" y="48"/>
                    </a:cubicBezTo>
                    <a:cubicBezTo>
                      <a:pt x="86" y="47"/>
                      <a:pt x="87" y="47"/>
                      <a:pt x="88" y="47"/>
                    </a:cubicBezTo>
                    <a:lnTo>
                      <a:pt x="89"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6" name="Rectangle 3058">
                <a:extLst>
                  <a:ext uri="{FF2B5EF4-FFF2-40B4-BE49-F238E27FC236}">
                    <a16:creationId xmlns:a16="http://schemas.microsoft.com/office/drawing/2014/main" id="{C4D6A8A2-CADE-4AFC-A16A-1485644C6FAC}"/>
                  </a:ext>
                </a:extLst>
              </p:cNvPr>
              <p:cNvSpPr>
                <a:spLocks noChangeArrowheads="1"/>
              </p:cNvSpPr>
              <p:nvPr/>
            </p:nvSpPr>
            <p:spPr bwMode="auto">
              <a:xfrm>
                <a:off x="4114" y="321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7" name="Freeform 3059">
                <a:extLst>
                  <a:ext uri="{FF2B5EF4-FFF2-40B4-BE49-F238E27FC236}">
                    <a16:creationId xmlns:a16="http://schemas.microsoft.com/office/drawing/2014/main" id="{E8827D78-4469-4A78-A782-554A1AD699C3}"/>
                  </a:ext>
                </a:extLst>
              </p:cNvPr>
              <p:cNvSpPr>
                <a:spLocks/>
              </p:cNvSpPr>
              <p:nvPr/>
            </p:nvSpPr>
            <p:spPr bwMode="auto">
              <a:xfrm>
                <a:off x="3833" y="3195"/>
                <a:ext cx="319" cy="298"/>
              </a:xfrm>
              <a:custGeom>
                <a:avLst/>
                <a:gdLst>
                  <a:gd name="T0" fmla="*/ 50 w 135"/>
                  <a:gd name="T1" fmla="*/ 120 h 126"/>
                  <a:gd name="T2" fmla="*/ 51 w 135"/>
                  <a:gd name="T3" fmla="*/ 118 h 126"/>
                  <a:gd name="T4" fmla="*/ 53 w 135"/>
                  <a:gd name="T5" fmla="*/ 117 h 126"/>
                  <a:gd name="T6" fmla="*/ 57 w 135"/>
                  <a:gd name="T7" fmla="*/ 118 h 126"/>
                  <a:gd name="T8" fmla="*/ 57 w 135"/>
                  <a:gd name="T9" fmla="*/ 119 h 126"/>
                  <a:gd name="T10" fmla="*/ 59 w 135"/>
                  <a:gd name="T11" fmla="*/ 120 h 126"/>
                  <a:gd name="T12" fmla="*/ 58 w 135"/>
                  <a:gd name="T13" fmla="*/ 122 h 126"/>
                  <a:gd name="T14" fmla="*/ 60 w 135"/>
                  <a:gd name="T15" fmla="*/ 124 h 126"/>
                  <a:gd name="T16" fmla="*/ 62 w 135"/>
                  <a:gd name="T17" fmla="*/ 125 h 126"/>
                  <a:gd name="T18" fmla="*/ 68 w 135"/>
                  <a:gd name="T19" fmla="*/ 126 h 126"/>
                  <a:gd name="T20" fmla="*/ 76 w 135"/>
                  <a:gd name="T21" fmla="*/ 124 h 126"/>
                  <a:gd name="T22" fmla="*/ 83 w 135"/>
                  <a:gd name="T23" fmla="*/ 121 h 126"/>
                  <a:gd name="T24" fmla="*/ 83 w 135"/>
                  <a:gd name="T25" fmla="*/ 86 h 126"/>
                  <a:gd name="T26" fmla="*/ 83 w 135"/>
                  <a:gd name="T27" fmla="*/ 82 h 126"/>
                  <a:gd name="T28" fmla="*/ 83 w 135"/>
                  <a:gd name="T29" fmla="*/ 54 h 126"/>
                  <a:gd name="T30" fmla="*/ 85 w 135"/>
                  <a:gd name="T31" fmla="*/ 50 h 126"/>
                  <a:gd name="T32" fmla="*/ 93 w 135"/>
                  <a:gd name="T33" fmla="*/ 50 h 126"/>
                  <a:gd name="T34" fmla="*/ 93 w 135"/>
                  <a:gd name="T35" fmla="*/ 48 h 126"/>
                  <a:gd name="T36" fmla="*/ 93 w 135"/>
                  <a:gd name="T37" fmla="*/ 29 h 126"/>
                  <a:gd name="T38" fmla="*/ 94 w 135"/>
                  <a:gd name="T39" fmla="*/ 12 h 126"/>
                  <a:gd name="T40" fmla="*/ 116 w 135"/>
                  <a:gd name="T41" fmla="*/ 8 h 126"/>
                  <a:gd name="T42" fmla="*/ 120 w 135"/>
                  <a:gd name="T43" fmla="*/ 10 h 126"/>
                  <a:gd name="T44" fmla="*/ 121 w 135"/>
                  <a:gd name="T45" fmla="*/ 13 h 126"/>
                  <a:gd name="T46" fmla="*/ 124 w 135"/>
                  <a:gd name="T47" fmla="*/ 11 h 126"/>
                  <a:gd name="T48" fmla="*/ 124 w 135"/>
                  <a:gd name="T49" fmla="*/ 10 h 126"/>
                  <a:gd name="T50" fmla="*/ 134 w 135"/>
                  <a:gd name="T51" fmla="*/ 6 h 126"/>
                  <a:gd name="T52" fmla="*/ 128 w 135"/>
                  <a:gd name="T53" fmla="*/ 5 h 126"/>
                  <a:gd name="T54" fmla="*/ 120 w 135"/>
                  <a:gd name="T55" fmla="*/ 7 h 126"/>
                  <a:gd name="T56" fmla="*/ 87 w 135"/>
                  <a:gd name="T57" fmla="*/ 9 h 126"/>
                  <a:gd name="T58" fmla="*/ 82 w 135"/>
                  <a:gd name="T59" fmla="*/ 9 h 126"/>
                  <a:gd name="T60" fmla="*/ 77 w 135"/>
                  <a:gd name="T61" fmla="*/ 9 h 126"/>
                  <a:gd name="T62" fmla="*/ 75 w 135"/>
                  <a:gd name="T63" fmla="*/ 9 h 126"/>
                  <a:gd name="T64" fmla="*/ 68 w 135"/>
                  <a:gd name="T65" fmla="*/ 5 h 126"/>
                  <a:gd name="T66" fmla="*/ 68 w 135"/>
                  <a:gd name="T67" fmla="*/ 4 h 126"/>
                  <a:gd name="T68" fmla="*/ 62 w 135"/>
                  <a:gd name="T69" fmla="*/ 4 h 126"/>
                  <a:gd name="T70" fmla="*/ 30 w 135"/>
                  <a:gd name="T71" fmla="*/ 4 h 126"/>
                  <a:gd name="T72" fmla="*/ 25 w 135"/>
                  <a:gd name="T73" fmla="*/ 4 h 126"/>
                  <a:gd name="T74" fmla="*/ 20 w 135"/>
                  <a:gd name="T75" fmla="*/ 3 h 126"/>
                  <a:gd name="T76" fmla="*/ 18 w 135"/>
                  <a:gd name="T77" fmla="*/ 1 h 126"/>
                  <a:gd name="T78" fmla="*/ 16 w 135"/>
                  <a:gd name="T79" fmla="*/ 0 h 126"/>
                  <a:gd name="T80" fmla="*/ 14 w 135"/>
                  <a:gd name="T81" fmla="*/ 0 h 126"/>
                  <a:gd name="T82" fmla="*/ 11 w 135"/>
                  <a:gd name="T83" fmla="*/ 1 h 126"/>
                  <a:gd name="T84" fmla="*/ 0 w 135"/>
                  <a:gd name="T85" fmla="*/ 3 h 126"/>
                  <a:gd name="T86" fmla="*/ 15 w 135"/>
                  <a:gd name="T87" fmla="*/ 34 h 126"/>
                  <a:gd name="T88" fmla="*/ 28 w 135"/>
                  <a:gd name="T89" fmla="*/ 62 h 126"/>
                  <a:gd name="T90" fmla="*/ 29 w 135"/>
                  <a:gd name="T91" fmla="*/ 78 h 126"/>
                  <a:gd name="T92" fmla="*/ 34 w 135"/>
                  <a:gd name="T93" fmla="*/ 103 h 126"/>
                  <a:gd name="T94" fmla="*/ 47 w 135"/>
                  <a:gd name="T95" fmla="*/ 1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126">
                    <a:moveTo>
                      <a:pt x="48" y="122"/>
                    </a:moveTo>
                    <a:cubicBezTo>
                      <a:pt x="48" y="122"/>
                      <a:pt x="49" y="121"/>
                      <a:pt x="49" y="121"/>
                    </a:cubicBezTo>
                    <a:cubicBezTo>
                      <a:pt x="49" y="120"/>
                      <a:pt x="49" y="120"/>
                      <a:pt x="50" y="120"/>
                    </a:cubicBezTo>
                    <a:cubicBezTo>
                      <a:pt x="50" y="120"/>
                      <a:pt x="50" y="119"/>
                      <a:pt x="50" y="119"/>
                    </a:cubicBezTo>
                    <a:cubicBezTo>
                      <a:pt x="50" y="119"/>
                      <a:pt x="50" y="119"/>
                      <a:pt x="50" y="119"/>
                    </a:cubicBezTo>
                    <a:cubicBezTo>
                      <a:pt x="50" y="118"/>
                      <a:pt x="51" y="118"/>
                      <a:pt x="51" y="118"/>
                    </a:cubicBezTo>
                    <a:cubicBezTo>
                      <a:pt x="51" y="117"/>
                      <a:pt x="51" y="117"/>
                      <a:pt x="52" y="117"/>
                    </a:cubicBezTo>
                    <a:cubicBezTo>
                      <a:pt x="52" y="117"/>
                      <a:pt x="52" y="117"/>
                      <a:pt x="52" y="117"/>
                    </a:cubicBezTo>
                    <a:cubicBezTo>
                      <a:pt x="52" y="117"/>
                      <a:pt x="53" y="117"/>
                      <a:pt x="53" y="117"/>
                    </a:cubicBezTo>
                    <a:cubicBezTo>
                      <a:pt x="54" y="117"/>
                      <a:pt x="54" y="117"/>
                      <a:pt x="54" y="117"/>
                    </a:cubicBezTo>
                    <a:cubicBezTo>
                      <a:pt x="55" y="117"/>
                      <a:pt x="55" y="117"/>
                      <a:pt x="55" y="117"/>
                    </a:cubicBezTo>
                    <a:cubicBezTo>
                      <a:pt x="56" y="117"/>
                      <a:pt x="56" y="118"/>
                      <a:pt x="57" y="118"/>
                    </a:cubicBezTo>
                    <a:cubicBezTo>
                      <a:pt x="57" y="119"/>
                      <a:pt x="57" y="119"/>
                      <a:pt x="57" y="119"/>
                    </a:cubicBezTo>
                    <a:cubicBezTo>
                      <a:pt x="57" y="119"/>
                      <a:pt x="57" y="119"/>
                      <a:pt x="57" y="119"/>
                    </a:cubicBezTo>
                    <a:cubicBezTo>
                      <a:pt x="57" y="119"/>
                      <a:pt x="57" y="119"/>
                      <a:pt x="57" y="119"/>
                    </a:cubicBezTo>
                    <a:cubicBezTo>
                      <a:pt x="57" y="119"/>
                      <a:pt x="57" y="119"/>
                      <a:pt x="57" y="119"/>
                    </a:cubicBezTo>
                    <a:cubicBezTo>
                      <a:pt x="57" y="119"/>
                      <a:pt x="58" y="119"/>
                      <a:pt x="58" y="120"/>
                    </a:cubicBezTo>
                    <a:cubicBezTo>
                      <a:pt x="59" y="120"/>
                      <a:pt x="59" y="120"/>
                      <a:pt x="59" y="120"/>
                    </a:cubicBezTo>
                    <a:cubicBezTo>
                      <a:pt x="59" y="120"/>
                      <a:pt x="59" y="121"/>
                      <a:pt x="59" y="121"/>
                    </a:cubicBezTo>
                    <a:cubicBezTo>
                      <a:pt x="59" y="122"/>
                      <a:pt x="59" y="122"/>
                      <a:pt x="58" y="122"/>
                    </a:cubicBezTo>
                    <a:cubicBezTo>
                      <a:pt x="58" y="122"/>
                      <a:pt x="58" y="122"/>
                      <a:pt x="58" y="122"/>
                    </a:cubicBezTo>
                    <a:cubicBezTo>
                      <a:pt x="59" y="123"/>
                      <a:pt x="59" y="123"/>
                      <a:pt x="59" y="123"/>
                    </a:cubicBezTo>
                    <a:cubicBezTo>
                      <a:pt x="59" y="124"/>
                      <a:pt x="59" y="124"/>
                      <a:pt x="59" y="124"/>
                    </a:cubicBezTo>
                    <a:cubicBezTo>
                      <a:pt x="59" y="124"/>
                      <a:pt x="59" y="124"/>
                      <a:pt x="60" y="124"/>
                    </a:cubicBezTo>
                    <a:cubicBezTo>
                      <a:pt x="60" y="124"/>
                      <a:pt x="60" y="124"/>
                      <a:pt x="60" y="124"/>
                    </a:cubicBezTo>
                    <a:cubicBezTo>
                      <a:pt x="60" y="124"/>
                      <a:pt x="61" y="124"/>
                      <a:pt x="61" y="124"/>
                    </a:cubicBezTo>
                    <a:cubicBezTo>
                      <a:pt x="62" y="125"/>
                      <a:pt x="62" y="125"/>
                      <a:pt x="62" y="125"/>
                    </a:cubicBezTo>
                    <a:cubicBezTo>
                      <a:pt x="63" y="125"/>
                      <a:pt x="65" y="126"/>
                      <a:pt x="67" y="126"/>
                    </a:cubicBezTo>
                    <a:cubicBezTo>
                      <a:pt x="67" y="126"/>
                      <a:pt x="68" y="126"/>
                      <a:pt x="68" y="126"/>
                    </a:cubicBezTo>
                    <a:cubicBezTo>
                      <a:pt x="68" y="126"/>
                      <a:pt x="68" y="126"/>
                      <a:pt x="68" y="126"/>
                    </a:cubicBezTo>
                    <a:cubicBezTo>
                      <a:pt x="70" y="126"/>
                      <a:pt x="74" y="126"/>
                      <a:pt x="75" y="126"/>
                    </a:cubicBezTo>
                    <a:cubicBezTo>
                      <a:pt x="75" y="126"/>
                      <a:pt x="75" y="126"/>
                      <a:pt x="75" y="126"/>
                    </a:cubicBezTo>
                    <a:cubicBezTo>
                      <a:pt x="75" y="125"/>
                      <a:pt x="76" y="124"/>
                      <a:pt x="76" y="124"/>
                    </a:cubicBezTo>
                    <a:cubicBezTo>
                      <a:pt x="77" y="123"/>
                      <a:pt x="78" y="122"/>
                      <a:pt x="80" y="122"/>
                    </a:cubicBezTo>
                    <a:cubicBezTo>
                      <a:pt x="80" y="121"/>
                      <a:pt x="81" y="121"/>
                      <a:pt x="82" y="121"/>
                    </a:cubicBezTo>
                    <a:cubicBezTo>
                      <a:pt x="82" y="121"/>
                      <a:pt x="83" y="121"/>
                      <a:pt x="83" y="121"/>
                    </a:cubicBezTo>
                    <a:cubicBezTo>
                      <a:pt x="83" y="121"/>
                      <a:pt x="83" y="120"/>
                      <a:pt x="83" y="119"/>
                    </a:cubicBezTo>
                    <a:cubicBezTo>
                      <a:pt x="83" y="119"/>
                      <a:pt x="83" y="118"/>
                      <a:pt x="83" y="118"/>
                    </a:cubicBezTo>
                    <a:cubicBezTo>
                      <a:pt x="83" y="86"/>
                      <a:pt x="83" y="86"/>
                      <a:pt x="83" y="86"/>
                    </a:cubicBezTo>
                    <a:cubicBezTo>
                      <a:pt x="83" y="86"/>
                      <a:pt x="83" y="85"/>
                      <a:pt x="83" y="84"/>
                    </a:cubicBezTo>
                    <a:cubicBezTo>
                      <a:pt x="83" y="84"/>
                      <a:pt x="83" y="84"/>
                      <a:pt x="83" y="84"/>
                    </a:cubicBezTo>
                    <a:cubicBezTo>
                      <a:pt x="83" y="83"/>
                      <a:pt x="83" y="83"/>
                      <a:pt x="83" y="82"/>
                    </a:cubicBezTo>
                    <a:cubicBezTo>
                      <a:pt x="82" y="82"/>
                      <a:pt x="82" y="82"/>
                      <a:pt x="82" y="82"/>
                    </a:cubicBezTo>
                    <a:cubicBezTo>
                      <a:pt x="83" y="81"/>
                      <a:pt x="83" y="81"/>
                      <a:pt x="83" y="81"/>
                    </a:cubicBezTo>
                    <a:cubicBezTo>
                      <a:pt x="83" y="54"/>
                      <a:pt x="83" y="54"/>
                      <a:pt x="83" y="54"/>
                    </a:cubicBezTo>
                    <a:cubicBezTo>
                      <a:pt x="83" y="53"/>
                      <a:pt x="83" y="52"/>
                      <a:pt x="83" y="52"/>
                    </a:cubicBezTo>
                    <a:cubicBezTo>
                      <a:pt x="83" y="51"/>
                      <a:pt x="83" y="51"/>
                      <a:pt x="83" y="51"/>
                    </a:cubicBezTo>
                    <a:cubicBezTo>
                      <a:pt x="84" y="51"/>
                      <a:pt x="84" y="50"/>
                      <a:pt x="85" y="50"/>
                    </a:cubicBezTo>
                    <a:cubicBezTo>
                      <a:pt x="85" y="50"/>
                      <a:pt x="86" y="50"/>
                      <a:pt x="87" y="51"/>
                    </a:cubicBezTo>
                    <a:cubicBezTo>
                      <a:pt x="87" y="51"/>
                      <a:pt x="87" y="51"/>
                      <a:pt x="87" y="51"/>
                    </a:cubicBezTo>
                    <a:cubicBezTo>
                      <a:pt x="89" y="51"/>
                      <a:pt x="91" y="51"/>
                      <a:pt x="93" y="50"/>
                    </a:cubicBezTo>
                    <a:cubicBezTo>
                      <a:pt x="93" y="50"/>
                      <a:pt x="93" y="50"/>
                      <a:pt x="93" y="50"/>
                    </a:cubicBezTo>
                    <a:cubicBezTo>
                      <a:pt x="93" y="50"/>
                      <a:pt x="93" y="50"/>
                      <a:pt x="93" y="49"/>
                    </a:cubicBezTo>
                    <a:cubicBezTo>
                      <a:pt x="93" y="49"/>
                      <a:pt x="93" y="49"/>
                      <a:pt x="93" y="48"/>
                    </a:cubicBezTo>
                    <a:cubicBezTo>
                      <a:pt x="93" y="44"/>
                      <a:pt x="93" y="44"/>
                      <a:pt x="93" y="44"/>
                    </a:cubicBezTo>
                    <a:cubicBezTo>
                      <a:pt x="93" y="39"/>
                      <a:pt x="93" y="34"/>
                      <a:pt x="93" y="29"/>
                    </a:cubicBezTo>
                    <a:cubicBezTo>
                      <a:pt x="93" y="29"/>
                      <a:pt x="93" y="29"/>
                      <a:pt x="93" y="29"/>
                    </a:cubicBezTo>
                    <a:cubicBezTo>
                      <a:pt x="93" y="24"/>
                      <a:pt x="93" y="19"/>
                      <a:pt x="93" y="14"/>
                    </a:cubicBezTo>
                    <a:cubicBezTo>
                      <a:pt x="93" y="13"/>
                      <a:pt x="93" y="13"/>
                      <a:pt x="93" y="12"/>
                    </a:cubicBezTo>
                    <a:cubicBezTo>
                      <a:pt x="94" y="12"/>
                      <a:pt x="94" y="12"/>
                      <a:pt x="94" y="12"/>
                    </a:cubicBezTo>
                    <a:cubicBezTo>
                      <a:pt x="94" y="12"/>
                      <a:pt x="94" y="11"/>
                      <a:pt x="94" y="11"/>
                    </a:cubicBezTo>
                    <a:cubicBezTo>
                      <a:pt x="95" y="11"/>
                      <a:pt x="95" y="11"/>
                      <a:pt x="95" y="11"/>
                    </a:cubicBezTo>
                    <a:cubicBezTo>
                      <a:pt x="116" y="8"/>
                      <a:pt x="116" y="8"/>
                      <a:pt x="116" y="8"/>
                    </a:cubicBezTo>
                    <a:cubicBezTo>
                      <a:pt x="117" y="8"/>
                      <a:pt x="118" y="8"/>
                      <a:pt x="119" y="9"/>
                    </a:cubicBezTo>
                    <a:cubicBezTo>
                      <a:pt x="119" y="9"/>
                      <a:pt x="120" y="9"/>
                      <a:pt x="120" y="10"/>
                    </a:cubicBezTo>
                    <a:cubicBezTo>
                      <a:pt x="120" y="10"/>
                      <a:pt x="120" y="10"/>
                      <a:pt x="120" y="10"/>
                    </a:cubicBezTo>
                    <a:cubicBezTo>
                      <a:pt x="120" y="10"/>
                      <a:pt x="120" y="10"/>
                      <a:pt x="120" y="10"/>
                    </a:cubicBezTo>
                    <a:cubicBezTo>
                      <a:pt x="120" y="10"/>
                      <a:pt x="120" y="11"/>
                      <a:pt x="120" y="11"/>
                    </a:cubicBezTo>
                    <a:cubicBezTo>
                      <a:pt x="121" y="12"/>
                      <a:pt x="121" y="12"/>
                      <a:pt x="121" y="13"/>
                    </a:cubicBezTo>
                    <a:cubicBezTo>
                      <a:pt x="121" y="13"/>
                      <a:pt x="121" y="13"/>
                      <a:pt x="121" y="13"/>
                    </a:cubicBezTo>
                    <a:cubicBezTo>
                      <a:pt x="122" y="13"/>
                      <a:pt x="122" y="12"/>
                      <a:pt x="123" y="11"/>
                    </a:cubicBezTo>
                    <a:cubicBezTo>
                      <a:pt x="123" y="11"/>
                      <a:pt x="124" y="11"/>
                      <a:pt x="124" y="11"/>
                    </a:cubicBezTo>
                    <a:cubicBezTo>
                      <a:pt x="123" y="9"/>
                      <a:pt x="123" y="9"/>
                      <a:pt x="123" y="9"/>
                    </a:cubicBezTo>
                    <a:cubicBezTo>
                      <a:pt x="124" y="10"/>
                      <a:pt x="124" y="10"/>
                      <a:pt x="124" y="10"/>
                    </a:cubicBezTo>
                    <a:cubicBezTo>
                      <a:pt x="124" y="10"/>
                      <a:pt x="124" y="10"/>
                      <a:pt x="124" y="10"/>
                    </a:cubicBezTo>
                    <a:cubicBezTo>
                      <a:pt x="128" y="8"/>
                      <a:pt x="131" y="7"/>
                      <a:pt x="135" y="6"/>
                    </a:cubicBezTo>
                    <a:cubicBezTo>
                      <a:pt x="135" y="6"/>
                      <a:pt x="135" y="6"/>
                      <a:pt x="135" y="6"/>
                    </a:cubicBezTo>
                    <a:cubicBezTo>
                      <a:pt x="135" y="6"/>
                      <a:pt x="134" y="6"/>
                      <a:pt x="134" y="6"/>
                    </a:cubicBezTo>
                    <a:cubicBezTo>
                      <a:pt x="133" y="5"/>
                      <a:pt x="131" y="5"/>
                      <a:pt x="130" y="5"/>
                    </a:cubicBezTo>
                    <a:cubicBezTo>
                      <a:pt x="129" y="5"/>
                      <a:pt x="129" y="5"/>
                      <a:pt x="129" y="5"/>
                    </a:cubicBezTo>
                    <a:cubicBezTo>
                      <a:pt x="129" y="5"/>
                      <a:pt x="128" y="5"/>
                      <a:pt x="128" y="5"/>
                    </a:cubicBezTo>
                    <a:cubicBezTo>
                      <a:pt x="126" y="5"/>
                      <a:pt x="124" y="5"/>
                      <a:pt x="122" y="6"/>
                    </a:cubicBezTo>
                    <a:cubicBezTo>
                      <a:pt x="122" y="6"/>
                      <a:pt x="121" y="6"/>
                      <a:pt x="120" y="6"/>
                    </a:cubicBezTo>
                    <a:cubicBezTo>
                      <a:pt x="120" y="7"/>
                      <a:pt x="120" y="7"/>
                      <a:pt x="120" y="7"/>
                    </a:cubicBezTo>
                    <a:cubicBezTo>
                      <a:pt x="102" y="10"/>
                      <a:pt x="102" y="10"/>
                      <a:pt x="102" y="10"/>
                    </a:cubicBezTo>
                    <a:cubicBezTo>
                      <a:pt x="101" y="10"/>
                      <a:pt x="99" y="10"/>
                      <a:pt x="98" y="10"/>
                    </a:cubicBezTo>
                    <a:cubicBezTo>
                      <a:pt x="94" y="10"/>
                      <a:pt x="90" y="10"/>
                      <a:pt x="87" y="9"/>
                    </a:cubicBezTo>
                    <a:cubicBezTo>
                      <a:pt x="84" y="9"/>
                      <a:pt x="84" y="9"/>
                      <a:pt x="84" y="9"/>
                    </a:cubicBezTo>
                    <a:cubicBezTo>
                      <a:pt x="83" y="9"/>
                      <a:pt x="83" y="9"/>
                      <a:pt x="83" y="9"/>
                    </a:cubicBezTo>
                    <a:cubicBezTo>
                      <a:pt x="82" y="9"/>
                      <a:pt x="82" y="9"/>
                      <a:pt x="82" y="9"/>
                    </a:cubicBezTo>
                    <a:cubicBezTo>
                      <a:pt x="81" y="9"/>
                      <a:pt x="80" y="9"/>
                      <a:pt x="80" y="9"/>
                    </a:cubicBezTo>
                    <a:cubicBezTo>
                      <a:pt x="79" y="9"/>
                      <a:pt x="79" y="9"/>
                      <a:pt x="78" y="9"/>
                    </a:cubicBezTo>
                    <a:cubicBezTo>
                      <a:pt x="77" y="9"/>
                      <a:pt x="77" y="9"/>
                      <a:pt x="77" y="9"/>
                    </a:cubicBezTo>
                    <a:cubicBezTo>
                      <a:pt x="77" y="9"/>
                      <a:pt x="77" y="9"/>
                      <a:pt x="76" y="9"/>
                    </a:cubicBezTo>
                    <a:cubicBezTo>
                      <a:pt x="76" y="9"/>
                      <a:pt x="76" y="9"/>
                      <a:pt x="76" y="9"/>
                    </a:cubicBezTo>
                    <a:cubicBezTo>
                      <a:pt x="75" y="9"/>
                      <a:pt x="75" y="9"/>
                      <a:pt x="75" y="9"/>
                    </a:cubicBezTo>
                    <a:cubicBezTo>
                      <a:pt x="74" y="9"/>
                      <a:pt x="73" y="8"/>
                      <a:pt x="72" y="8"/>
                    </a:cubicBezTo>
                    <a:cubicBezTo>
                      <a:pt x="71" y="7"/>
                      <a:pt x="70" y="6"/>
                      <a:pt x="69" y="6"/>
                    </a:cubicBezTo>
                    <a:cubicBezTo>
                      <a:pt x="69" y="6"/>
                      <a:pt x="69" y="5"/>
                      <a:pt x="68" y="5"/>
                    </a:cubicBezTo>
                    <a:cubicBezTo>
                      <a:pt x="68" y="5"/>
                      <a:pt x="68" y="5"/>
                      <a:pt x="68" y="5"/>
                    </a:cubicBezTo>
                    <a:cubicBezTo>
                      <a:pt x="68" y="5"/>
                      <a:pt x="68" y="4"/>
                      <a:pt x="68" y="4"/>
                    </a:cubicBezTo>
                    <a:cubicBezTo>
                      <a:pt x="68" y="4"/>
                      <a:pt x="68" y="4"/>
                      <a:pt x="68" y="4"/>
                    </a:cubicBezTo>
                    <a:cubicBezTo>
                      <a:pt x="68" y="4"/>
                      <a:pt x="68" y="4"/>
                      <a:pt x="68" y="4"/>
                    </a:cubicBezTo>
                    <a:cubicBezTo>
                      <a:pt x="67" y="4"/>
                      <a:pt x="65" y="4"/>
                      <a:pt x="64" y="4"/>
                    </a:cubicBezTo>
                    <a:cubicBezTo>
                      <a:pt x="63" y="4"/>
                      <a:pt x="63" y="4"/>
                      <a:pt x="62" y="4"/>
                    </a:cubicBezTo>
                    <a:cubicBezTo>
                      <a:pt x="56" y="4"/>
                      <a:pt x="50" y="4"/>
                      <a:pt x="44" y="4"/>
                    </a:cubicBezTo>
                    <a:cubicBezTo>
                      <a:pt x="35" y="4"/>
                      <a:pt x="35" y="4"/>
                      <a:pt x="35" y="4"/>
                    </a:cubicBezTo>
                    <a:cubicBezTo>
                      <a:pt x="33" y="4"/>
                      <a:pt x="32" y="4"/>
                      <a:pt x="30" y="4"/>
                    </a:cubicBezTo>
                    <a:cubicBezTo>
                      <a:pt x="28" y="4"/>
                      <a:pt x="28" y="4"/>
                      <a:pt x="28" y="4"/>
                    </a:cubicBezTo>
                    <a:cubicBezTo>
                      <a:pt x="27" y="4"/>
                      <a:pt x="26" y="4"/>
                      <a:pt x="25" y="4"/>
                    </a:cubicBezTo>
                    <a:cubicBezTo>
                      <a:pt x="25" y="4"/>
                      <a:pt x="25" y="4"/>
                      <a:pt x="25" y="4"/>
                    </a:cubicBezTo>
                    <a:cubicBezTo>
                      <a:pt x="25" y="4"/>
                      <a:pt x="25" y="4"/>
                      <a:pt x="24" y="4"/>
                    </a:cubicBezTo>
                    <a:cubicBezTo>
                      <a:pt x="24" y="4"/>
                      <a:pt x="23" y="4"/>
                      <a:pt x="22" y="4"/>
                    </a:cubicBezTo>
                    <a:cubicBezTo>
                      <a:pt x="21" y="4"/>
                      <a:pt x="20" y="3"/>
                      <a:pt x="20" y="3"/>
                    </a:cubicBezTo>
                    <a:cubicBezTo>
                      <a:pt x="20" y="3"/>
                      <a:pt x="19" y="2"/>
                      <a:pt x="19" y="2"/>
                    </a:cubicBezTo>
                    <a:cubicBezTo>
                      <a:pt x="19" y="2"/>
                      <a:pt x="19" y="2"/>
                      <a:pt x="19" y="2"/>
                    </a:cubicBezTo>
                    <a:cubicBezTo>
                      <a:pt x="19" y="2"/>
                      <a:pt x="18" y="2"/>
                      <a:pt x="18" y="1"/>
                    </a:cubicBezTo>
                    <a:cubicBezTo>
                      <a:pt x="18" y="1"/>
                      <a:pt x="18" y="1"/>
                      <a:pt x="18" y="1"/>
                    </a:cubicBezTo>
                    <a:cubicBezTo>
                      <a:pt x="17" y="1"/>
                      <a:pt x="16" y="0"/>
                      <a:pt x="16" y="0"/>
                    </a:cubicBezTo>
                    <a:cubicBezTo>
                      <a:pt x="16" y="0"/>
                      <a:pt x="16" y="0"/>
                      <a:pt x="16" y="0"/>
                    </a:cubicBezTo>
                    <a:cubicBezTo>
                      <a:pt x="15" y="0"/>
                      <a:pt x="15" y="0"/>
                      <a:pt x="15" y="0"/>
                    </a:cubicBezTo>
                    <a:cubicBezTo>
                      <a:pt x="15" y="0"/>
                      <a:pt x="15" y="0"/>
                      <a:pt x="14" y="0"/>
                    </a:cubicBezTo>
                    <a:cubicBezTo>
                      <a:pt x="14" y="0"/>
                      <a:pt x="14" y="0"/>
                      <a:pt x="14" y="0"/>
                    </a:cubicBezTo>
                    <a:cubicBezTo>
                      <a:pt x="14" y="0"/>
                      <a:pt x="13" y="0"/>
                      <a:pt x="13" y="0"/>
                    </a:cubicBezTo>
                    <a:cubicBezTo>
                      <a:pt x="13" y="0"/>
                      <a:pt x="13" y="0"/>
                      <a:pt x="12" y="0"/>
                    </a:cubicBezTo>
                    <a:cubicBezTo>
                      <a:pt x="12" y="1"/>
                      <a:pt x="12" y="1"/>
                      <a:pt x="11" y="1"/>
                    </a:cubicBezTo>
                    <a:cubicBezTo>
                      <a:pt x="10" y="2"/>
                      <a:pt x="9" y="2"/>
                      <a:pt x="8" y="3"/>
                    </a:cubicBezTo>
                    <a:cubicBezTo>
                      <a:pt x="6" y="3"/>
                      <a:pt x="4" y="3"/>
                      <a:pt x="3" y="3"/>
                    </a:cubicBezTo>
                    <a:cubicBezTo>
                      <a:pt x="2" y="3"/>
                      <a:pt x="1" y="3"/>
                      <a:pt x="0" y="3"/>
                    </a:cubicBezTo>
                    <a:cubicBezTo>
                      <a:pt x="0" y="3"/>
                      <a:pt x="0" y="3"/>
                      <a:pt x="0" y="3"/>
                    </a:cubicBezTo>
                    <a:cubicBezTo>
                      <a:pt x="0" y="7"/>
                      <a:pt x="0" y="12"/>
                      <a:pt x="4" y="15"/>
                    </a:cubicBezTo>
                    <a:cubicBezTo>
                      <a:pt x="9" y="20"/>
                      <a:pt x="12" y="28"/>
                      <a:pt x="15" y="34"/>
                    </a:cubicBezTo>
                    <a:cubicBezTo>
                      <a:pt x="17" y="40"/>
                      <a:pt x="20" y="45"/>
                      <a:pt x="23" y="50"/>
                    </a:cubicBezTo>
                    <a:cubicBezTo>
                      <a:pt x="25" y="53"/>
                      <a:pt x="26" y="56"/>
                      <a:pt x="28" y="59"/>
                    </a:cubicBezTo>
                    <a:cubicBezTo>
                      <a:pt x="29" y="60"/>
                      <a:pt x="28" y="61"/>
                      <a:pt x="28" y="62"/>
                    </a:cubicBezTo>
                    <a:cubicBezTo>
                      <a:pt x="28" y="64"/>
                      <a:pt x="28" y="66"/>
                      <a:pt x="28" y="68"/>
                    </a:cubicBezTo>
                    <a:cubicBezTo>
                      <a:pt x="28" y="70"/>
                      <a:pt x="27" y="73"/>
                      <a:pt x="28" y="75"/>
                    </a:cubicBezTo>
                    <a:cubicBezTo>
                      <a:pt x="28" y="76"/>
                      <a:pt x="28" y="77"/>
                      <a:pt x="29" y="78"/>
                    </a:cubicBezTo>
                    <a:cubicBezTo>
                      <a:pt x="29" y="80"/>
                      <a:pt x="30" y="81"/>
                      <a:pt x="31" y="83"/>
                    </a:cubicBezTo>
                    <a:cubicBezTo>
                      <a:pt x="32" y="86"/>
                      <a:pt x="31" y="89"/>
                      <a:pt x="31" y="92"/>
                    </a:cubicBezTo>
                    <a:cubicBezTo>
                      <a:pt x="32" y="96"/>
                      <a:pt x="33" y="100"/>
                      <a:pt x="34" y="103"/>
                    </a:cubicBezTo>
                    <a:cubicBezTo>
                      <a:pt x="35" y="107"/>
                      <a:pt x="36" y="111"/>
                      <a:pt x="39" y="114"/>
                    </a:cubicBezTo>
                    <a:cubicBezTo>
                      <a:pt x="40" y="116"/>
                      <a:pt x="41" y="118"/>
                      <a:pt x="43" y="119"/>
                    </a:cubicBezTo>
                    <a:cubicBezTo>
                      <a:pt x="44" y="120"/>
                      <a:pt x="45" y="122"/>
                      <a:pt x="47" y="123"/>
                    </a:cubicBezTo>
                    <a:cubicBezTo>
                      <a:pt x="47" y="123"/>
                      <a:pt x="47" y="123"/>
                      <a:pt x="47" y="123"/>
                    </a:cubicBezTo>
                    <a:lnTo>
                      <a:pt x="48"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8" name="Freeform 3060">
                <a:extLst>
                  <a:ext uri="{FF2B5EF4-FFF2-40B4-BE49-F238E27FC236}">
                    <a16:creationId xmlns:a16="http://schemas.microsoft.com/office/drawing/2014/main" id="{331D8C52-388E-4C9F-B4DD-809E41217202}"/>
                  </a:ext>
                </a:extLst>
              </p:cNvPr>
              <p:cNvSpPr>
                <a:spLocks/>
              </p:cNvSpPr>
              <p:nvPr/>
            </p:nvSpPr>
            <p:spPr bwMode="auto">
              <a:xfrm>
                <a:off x="4344" y="3011"/>
                <a:ext cx="68" cy="172"/>
              </a:xfrm>
              <a:custGeom>
                <a:avLst/>
                <a:gdLst>
                  <a:gd name="T0" fmla="*/ 29 w 29"/>
                  <a:gd name="T1" fmla="*/ 54 h 73"/>
                  <a:gd name="T2" fmla="*/ 27 w 29"/>
                  <a:gd name="T3" fmla="*/ 51 h 73"/>
                  <a:gd name="T4" fmla="*/ 23 w 29"/>
                  <a:gd name="T5" fmla="*/ 45 h 73"/>
                  <a:gd name="T6" fmla="*/ 24 w 29"/>
                  <a:gd name="T7" fmla="*/ 49 h 73"/>
                  <a:gd name="T8" fmla="*/ 20 w 29"/>
                  <a:gd name="T9" fmla="*/ 45 h 73"/>
                  <a:gd name="T10" fmla="*/ 17 w 29"/>
                  <a:gd name="T11" fmla="*/ 46 h 73"/>
                  <a:gd name="T12" fmla="*/ 14 w 29"/>
                  <a:gd name="T13" fmla="*/ 44 h 73"/>
                  <a:gd name="T14" fmla="*/ 17 w 29"/>
                  <a:gd name="T15" fmla="*/ 42 h 73"/>
                  <a:gd name="T16" fmla="*/ 15 w 29"/>
                  <a:gd name="T17" fmla="*/ 35 h 73"/>
                  <a:gd name="T18" fmla="*/ 14 w 29"/>
                  <a:gd name="T19" fmla="*/ 22 h 73"/>
                  <a:gd name="T20" fmla="*/ 13 w 29"/>
                  <a:gd name="T21" fmla="*/ 10 h 73"/>
                  <a:gd name="T22" fmla="*/ 11 w 29"/>
                  <a:gd name="T23" fmla="*/ 2 h 73"/>
                  <a:gd name="T24" fmla="*/ 11 w 29"/>
                  <a:gd name="T25" fmla="*/ 2 h 73"/>
                  <a:gd name="T26" fmla="*/ 10 w 29"/>
                  <a:gd name="T27" fmla="*/ 2 h 73"/>
                  <a:gd name="T28" fmla="*/ 9 w 29"/>
                  <a:gd name="T29" fmla="*/ 2 h 73"/>
                  <a:gd name="T30" fmla="*/ 8 w 29"/>
                  <a:gd name="T31" fmla="*/ 1 h 73"/>
                  <a:gd name="T32" fmla="*/ 6 w 29"/>
                  <a:gd name="T33" fmla="*/ 1 h 73"/>
                  <a:gd name="T34" fmla="*/ 6 w 29"/>
                  <a:gd name="T35" fmla="*/ 3 h 73"/>
                  <a:gd name="T36" fmla="*/ 9 w 29"/>
                  <a:gd name="T37" fmla="*/ 9 h 73"/>
                  <a:gd name="T38" fmla="*/ 5 w 29"/>
                  <a:gd name="T39" fmla="*/ 13 h 73"/>
                  <a:gd name="T40" fmla="*/ 5 w 29"/>
                  <a:gd name="T41" fmla="*/ 14 h 73"/>
                  <a:gd name="T42" fmla="*/ 5 w 29"/>
                  <a:gd name="T43" fmla="*/ 18 h 73"/>
                  <a:gd name="T44" fmla="*/ 5 w 29"/>
                  <a:gd name="T45" fmla="*/ 20 h 73"/>
                  <a:gd name="T46" fmla="*/ 5 w 29"/>
                  <a:gd name="T47" fmla="*/ 23 h 73"/>
                  <a:gd name="T48" fmla="*/ 5 w 29"/>
                  <a:gd name="T49" fmla="*/ 24 h 73"/>
                  <a:gd name="T50" fmla="*/ 5 w 29"/>
                  <a:gd name="T51" fmla="*/ 25 h 73"/>
                  <a:gd name="T52" fmla="*/ 6 w 29"/>
                  <a:gd name="T53" fmla="*/ 27 h 73"/>
                  <a:gd name="T54" fmla="*/ 7 w 29"/>
                  <a:gd name="T55" fmla="*/ 29 h 73"/>
                  <a:gd name="T56" fmla="*/ 6 w 29"/>
                  <a:gd name="T57" fmla="*/ 30 h 73"/>
                  <a:gd name="T58" fmla="*/ 3 w 29"/>
                  <a:gd name="T59" fmla="*/ 32 h 73"/>
                  <a:gd name="T60" fmla="*/ 2 w 29"/>
                  <a:gd name="T61" fmla="*/ 34 h 73"/>
                  <a:gd name="T62" fmla="*/ 1 w 29"/>
                  <a:gd name="T63" fmla="*/ 39 h 73"/>
                  <a:gd name="T64" fmla="*/ 0 w 29"/>
                  <a:gd name="T65" fmla="*/ 41 h 73"/>
                  <a:gd name="T66" fmla="*/ 0 w 29"/>
                  <a:gd name="T67" fmla="*/ 42 h 73"/>
                  <a:gd name="T68" fmla="*/ 1 w 29"/>
                  <a:gd name="T69" fmla="*/ 43 h 73"/>
                  <a:gd name="T70" fmla="*/ 1 w 29"/>
                  <a:gd name="T71" fmla="*/ 44 h 73"/>
                  <a:gd name="T72" fmla="*/ 3 w 29"/>
                  <a:gd name="T73" fmla="*/ 44 h 73"/>
                  <a:gd name="T74" fmla="*/ 4 w 29"/>
                  <a:gd name="T75" fmla="*/ 44 h 73"/>
                  <a:gd name="T76" fmla="*/ 6 w 29"/>
                  <a:gd name="T77" fmla="*/ 47 h 73"/>
                  <a:gd name="T78" fmla="*/ 8 w 29"/>
                  <a:gd name="T79" fmla="*/ 50 h 73"/>
                  <a:gd name="T80" fmla="*/ 16 w 29"/>
                  <a:gd name="T81" fmla="*/ 49 h 73"/>
                  <a:gd name="T82" fmla="*/ 18 w 29"/>
                  <a:gd name="T83" fmla="*/ 55 h 73"/>
                  <a:gd name="T84" fmla="*/ 19 w 29"/>
                  <a:gd name="T85" fmla="*/ 56 h 73"/>
                  <a:gd name="T86" fmla="*/ 18 w 29"/>
                  <a:gd name="T87" fmla="*/ 60 h 73"/>
                  <a:gd name="T88" fmla="*/ 15 w 29"/>
                  <a:gd name="T89" fmla="*/ 65 h 73"/>
                  <a:gd name="T90" fmla="*/ 16 w 29"/>
                  <a:gd name="T91" fmla="*/ 67 h 73"/>
                  <a:gd name="T92" fmla="*/ 17 w 29"/>
                  <a:gd name="T93" fmla="*/ 68 h 73"/>
                  <a:gd name="T94" fmla="*/ 17 w 29"/>
                  <a:gd name="T95" fmla="*/ 69 h 73"/>
                  <a:gd name="T96" fmla="*/ 20 w 29"/>
                  <a:gd name="T97" fmla="*/ 72 h 73"/>
                  <a:gd name="T98" fmla="*/ 21 w 29"/>
                  <a:gd name="T99" fmla="*/ 72 h 73"/>
                  <a:gd name="T100" fmla="*/ 22 w 29"/>
                  <a:gd name="T101" fmla="*/ 72 h 73"/>
                  <a:gd name="T102" fmla="*/ 22 w 29"/>
                  <a:gd name="T103" fmla="*/ 71 h 73"/>
                  <a:gd name="T104" fmla="*/ 24 w 29"/>
                  <a:gd name="T105" fmla="*/ 68 h 73"/>
                  <a:gd name="T106" fmla="*/ 25 w 29"/>
                  <a:gd name="T107" fmla="*/ 67 h 73"/>
                  <a:gd name="T108" fmla="*/ 26 w 29"/>
                  <a:gd name="T109" fmla="*/ 67 h 73"/>
                  <a:gd name="T110" fmla="*/ 27 w 29"/>
                  <a:gd name="T111" fmla="*/ 66 h 73"/>
                  <a:gd name="T112" fmla="*/ 29 w 29"/>
                  <a:gd name="T113" fmla="*/ 65 h 73"/>
                  <a:gd name="T114" fmla="*/ 29 w 29"/>
                  <a:gd name="T115" fmla="*/ 61 h 73"/>
                  <a:gd name="T116" fmla="*/ 29 w 29"/>
                  <a:gd name="T117" fmla="*/ 58 h 73"/>
                  <a:gd name="T118" fmla="*/ 29 w 29"/>
                  <a:gd name="T119" fmla="*/ 58 h 73"/>
                  <a:gd name="T120" fmla="*/ 29 w 29"/>
                  <a:gd name="T121"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73">
                    <a:moveTo>
                      <a:pt x="29" y="56"/>
                    </a:moveTo>
                    <a:cubicBezTo>
                      <a:pt x="29" y="55"/>
                      <a:pt x="29" y="55"/>
                      <a:pt x="29" y="54"/>
                    </a:cubicBezTo>
                    <a:cubicBezTo>
                      <a:pt x="29" y="53"/>
                      <a:pt x="29" y="52"/>
                      <a:pt x="28" y="51"/>
                    </a:cubicBezTo>
                    <a:cubicBezTo>
                      <a:pt x="27" y="51"/>
                      <a:pt x="27" y="51"/>
                      <a:pt x="27" y="51"/>
                    </a:cubicBezTo>
                    <a:cubicBezTo>
                      <a:pt x="27" y="51"/>
                      <a:pt x="27" y="51"/>
                      <a:pt x="27" y="51"/>
                    </a:cubicBezTo>
                    <a:cubicBezTo>
                      <a:pt x="23" y="45"/>
                      <a:pt x="23" y="45"/>
                      <a:pt x="23" y="45"/>
                    </a:cubicBezTo>
                    <a:cubicBezTo>
                      <a:pt x="23" y="45"/>
                      <a:pt x="23" y="45"/>
                      <a:pt x="23" y="45"/>
                    </a:cubicBezTo>
                    <a:cubicBezTo>
                      <a:pt x="23" y="46"/>
                      <a:pt x="24" y="47"/>
                      <a:pt x="24" y="49"/>
                    </a:cubicBezTo>
                    <a:cubicBezTo>
                      <a:pt x="23" y="48"/>
                      <a:pt x="22" y="48"/>
                      <a:pt x="21" y="47"/>
                    </a:cubicBezTo>
                    <a:cubicBezTo>
                      <a:pt x="21" y="46"/>
                      <a:pt x="21" y="46"/>
                      <a:pt x="20" y="45"/>
                    </a:cubicBezTo>
                    <a:cubicBezTo>
                      <a:pt x="20" y="46"/>
                      <a:pt x="19" y="47"/>
                      <a:pt x="19" y="48"/>
                    </a:cubicBezTo>
                    <a:cubicBezTo>
                      <a:pt x="18" y="48"/>
                      <a:pt x="17" y="46"/>
                      <a:pt x="17" y="46"/>
                    </a:cubicBezTo>
                    <a:cubicBezTo>
                      <a:pt x="17" y="45"/>
                      <a:pt x="17" y="44"/>
                      <a:pt x="17" y="43"/>
                    </a:cubicBezTo>
                    <a:cubicBezTo>
                      <a:pt x="14" y="44"/>
                      <a:pt x="14" y="44"/>
                      <a:pt x="14" y="44"/>
                    </a:cubicBezTo>
                    <a:cubicBezTo>
                      <a:pt x="17" y="42"/>
                      <a:pt x="17" y="42"/>
                      <a:pt x="17" y="42"/>
                    </a:cubicBezTo>
                    <a:cubicBezTo>
                      <a:pt x="17" y="42"/>
                      <a:pt x="17" y="42"/>
                      <a:pt x="17" y="42"/>
                    </a:cubicBezTo>
                    <a:cubicBezTo>
                      <a:pt x="16" y="40"/>
                      <a:pt x="15" y="40"/>
                      <a:pt x="15" y="38"/>
                    </a:cubicBezTo>
                    <a:cubicBezTo>
                      <a:pt x="15" y="37"/>
                      <a:pt x="15" y="36"/>
                      <a:pt x="15" y="35"/>
                    </a:cubicBezTo>
                    <a:cubicBezTo>
                      <a:pt x="14" y="32"/>
                      <a:pt x="12" y="30"/>
                      <a:pt x="12" y="27"/>
                    </a:cubicBezTo>
                    <a:cubicBezTo>
                      <a:pt x="11" y="25"/>
                      <a:pt x="13" y="23"/>
                      <a:pt x="14" y="22"/>
                    </a:cubicBezTo>
                    <a:cubicBezTo>
                      <a:pt x="15" y="20"/>
                      <a:pt x="14" y="16"/>
                      <a:pt x="14" y="14"/>
                    </a:cubicBezTo>
                    <a:cubicBezTo>
                      <a:pt x="13" y="13"/>
                      <a:pt x="13" y="11"/>
                      <a:pt x="13" y="10"/>
                    </a:cubicBezTo>
                    <a:cubicBezTo>
                      <a:pt x="13" y="8"/>
                      <a:pt x="14" y="9"/>
                      <a:pt x="13" y="7"/>
                    </a:cubicBezTo>
                    <a:cubicBezTo>
                      <a:pt x="13" y="5"/>
                      <a:pt x="12" y="4"/>
                      <a:pt x="11" y="2"/>
                    </a:cubicBezTo>
                    <a:cubicBezTo>
                      <a:pt x="11" y="2"/>
                      <a:pt x="11" y="2"/>
                      <a:pt x="11" y="2"/>
                    </a:cubicBezTo>
                    <a:cubicBezTo>
                      <a:pt x="11" y="2"/>
                      <a:pt x="11" y="2"/>
                      <a:pt x="11" y="2"/>
                    </a:cubicBezTo>
                    <a:cubicBezTo>
                      <a:pt x="10" y="2"/>
                      <a:pt x="10" y="2"/>
                      <a:pt x="10" y="2"/>
                    </a:cubicBezTo>
                    <a:cubicBezTo>
                      <a:pt x="10" y="2"/>
                      <a:pt x="10" y="2"/>
                      <a:pt x="10" y="2"/>
                    </a:cubicBezTo>
                    <a:cubicBezTo>
                      <a:pt x="10" y="2"/>
                      <a:pt x="10" y="2"/>
                      <a:pt x="10" y="2"/>
                    </a:cubicBezTo>
                    <a:cubicBezTo>
                      <a:pt x="9" y="2"/>
                      <a:pt x="9" y="2"/>
                      <a:pt x="9" y="2"/>
                    </a:cubicBezTo>
                    <a:cubicBezTo>
                      <a:pt x="9" y="2"/>
                      <a:pt x="8" y="1"/>
                      <a:pt x="8" y="1"/>
                    </a:cubicBezTo>
                    <a:cubicBezTo>
                      <a:pt x="8" y="1"/>
                      <a:pt x="8" y="1"/>
                      <a:pt x="8" y="1"/>
                    </a:cubicBezTo>
                    <a:cubicBezTo>
                      <a:pt x="7" y="1"/>
                      <a:pt x="7" y="1"/>
                      <a:pt x="7" y="1"/>
                    </a:cubicBezTo>
                    <a:cubicBezTo>
                      <a:pt x="6" y="1"/>
                      <a:pt x="6" y="1"/>
                      <a:pt x="6" y="1"/>
                    </a:cubicBezTo>
                    <a:cubicBezTo>
                      <a:pt x="6" y="0"/>
                      <a:pt x="5" y="0"/>
                      <a:pt x="5" y="0"/>
                    </a:cubicBezTo>
                    <a:cubicBezTo>
                      <a:pt x="5" y="1"/>
                      <a:pt x="6" y="2"/>
                      <a:pt x="6" y="3"/>
                    </a:cubicBezTo>
                    <a:cubicBezTo>
                      <a:pt x="6" y="5"/>
                      <a:pt x="7" y="6"/>
                      <a:pt x="8" y="7"/>
                    </a:cubicBezTo>
                    <a:cubicBezTo>
                      <a:pt x="8" y="8"/>
                      <a:pt x="9" y="8"/>
                      <a:pt x="9" y="9"/>
                    </a:cubicBezTo>
                    <a:cubicBezTo>
                      <a:pt x="10" y="10"/>
                      <a:pt x="10" y="10"/>
                      <a:pt x="10" y="10"/>
                    </a:cubicBezTo>
                    <a:cubicBezTo>
                      <a:pt x="5" y="13"/>
                      <a:pt x="5" y="13"/>
                      <a:pt x="5" y="13"/>
                    </a:cubicBezTo>
                    <a:cubicBezTo>
                      <a:pt x="5" y="13"/>
                      <a:pt x="5" y="13"/>
                      <a:pt x="5" y="13"/>
                    </a:cubicBezTo>
                    <a:cubicBezTo>
                      <a:pt x="5" y="13"/>
                      <a:pt x="5" y="14"/>
                      <a:pt x="5" y="14"/>
                    </a:cubicBezTo>
                    <a:cubicBezTo>
                      <a:pt x="5" y="14"/>
                      <a:pt x="5" y="15"/>
                      <a:pt x="5" y="15"/>
                    </a:cubicBezTo>
                    <a:cubicBezTo>
                      <a:pt x="5" y="16"/>
                      <a:pt x="5" y="17"/>
                      <a:pt x="5" y="18"/>
                    </a:cubicBezTo>
                    <a:cubicBezTo>
                      <a:pt x="5" y="18"/>
                      <a:pt x="5" y="19"/>
                      <a:pt x="5" y="19"/>
                    </a:cubicBezTo>
                    <a:cubicBezTo>
                      <a:pt x="5" y="20"/>
                      <a:pt x="5" y="20"/>
                      <a:pt x="5" y="20"/>
                    </a:cubicBezTo>
                    <a:cubicBezTo>
                      <a:pt x="5" y="21"/>
                      <a:pt x="5" y="22"/>
                      <a:pt x="5" y="22"/>
                    </a:cubicBezTo>
                    <a:cubicBezTo>
                      <a:pt x="5" y="23"/>
                      <a:pt x="5" y="23"/>
                      <a:pt x="5" y="23"/>
                    </a:cubicBezTo>
                    <a:cubicBezTo>
                      <a:pt x="5" y="23"/>
                      <a:pt x="5" y="23"/>
                      <a:pt x="5" y="24"/>
                    </a:cubicBezTo>
                    <a:cubicBezTo>
                      <a:pt x="5" y="24"/>
                      <a:pt x="5" y="24"/>
                      <a:pt x="5" y="24"/>
                    </a:cubicBezTo>
                    <a:cubicBezTo>
                      <a:pt x="7" y="24"/>
                      <a:pt x="7" y="24"/>
                      <a:pt x="7" y="24"/>
                    </a:cubicBezTo>
                    <a:cubicBezTo>
                      <a:pt x="5" y="25"/>
                      <a:pt x="5" y="25"/>
                      <a:pt x="5" y="25"/>
                    </a:cubicBezTo>
                    <a:cubicBezTo>
                      <a:pt x="5" y="25"/>
                      <a:pt x="5" y="25"/>
                      <a:pt x="5" y="25"/>
                    </a:cubicBezTo>
                    <a:cubicBezTo>
                      <a:pt x="5" y="26"/>
                      <a:pt x="5" y="26"/>
                      <a:pt x="6" y="27"/>
                    </a:cubicBezTo>
                    <a:cubicBezTo>
                      <a:pt x="8" y="29"/>
                      <a:pt x="8" y="29"/>
                      <a:pt x="8" y="29"/>
                    </a:cubicBezTo>
                    <a:cubicBezTo>
                      <a:pt x="7" y="29"/>
                      <a:pt x="7" y="29"/>
                      <a:pt x="7" y="29"/>
                    </a:cubicBezTo>
                    <a:cubicBezTo>
                      <a:pt x="7" y="30"/>
                      <a:pt x="7" y="30"/>
                      <a:pt x="6" y="30"/>
                    </a:cubicBezTo>
                    <a:cubicBezTo>
                      <a:pt x="6" y="30"/>
                      <a:pt x="6" y="30"/>
                      <a:pt x="6" y="30"/>
                    </a:cubicBezTo>
                    <a:cubicBezTo>
                      <a:pt x="5" y="31"/>
                      <a:pt x="5" y="31"/>
                      <a:pt x="4" y="32"/>
                    </a:cubicBezTo>
                    <a:cubicBezTo>
                      <a:pt x="3" y="32"/>
                      <a:pt x="3" y="32"/>
                      <a:pt x="3" y="32"/>
                    </a:cubicBezTo>
                    <a:cubicBezTo>
                      <a:pt x="3" y="32"/>
                      <a:pt x="3" y="32"/>
                      <a:pt x="3" y="32"/>
                    </a:cubicBezTo>
                    <a:cubicBezTo>
                      <a:pt x="3" y="32"/>
                      <a:pt x="3" y="33"/>
                      <a:pt x="2" y="34"/>
                    </a:cubicBezTo>
                    <a:cubicBezTo>
                      <a:pt x="2" y="34"/>
                      <a:pt x="2" y="34"/>
                      <a:pt x="2" y="34"/>
                    </a:cubicBezTo>
                    <a:cubicBezTo>
                      <a:pt x="2" y="36"/>
                      <a:pt x="2" y="37"/>
                      <a:pt x="1" y="39"/>
                    </a:cubicBezTo>
                    <a:cubicBezTo>
                      <a:pt x="1" y="39"/>
                      <a:pt x="1" y="40"/>
                      <a:pt x="1" y="40"/>
                    </a:cubicBezTo>
                    <a:cubicBezTo>
                      <a:pt x="1" y="41"/>
                      <a:pt x="0" y="41"/>
                      <a:pt x="0" y="41"/>
                    </a:cubicBezTo>
                    <a:cubicBezTo>
                      <a:pt x="0" y="41"/>
                      <a:pt x="0" y="41"/>
                      <a:pt x="0" y="42"/>
                    </a:cubicBezTo>
                    <a:cubicBezTo>
                      <a:pt x="0" y="42"/>
                      <a:pt x="0" y="42"/>
                      <a:pt x="0" y="42"/>
                    </a:cubicBezTo>
                    <a:cubicBezTo>
                      <a:pt x="0" y="42"/>
                      <a:pt x="0" y="42"/>
                      <a:pt x="0" y="42"/>
                    </a:cubicBezTo>
                    <a:cubicBezTo>
                      <a:pt x="0" y="43"/>
                      <a:pt x="1" y="43"/>
                      <a:pt x="1" y="43"/>
                    </a:cubicBezTo>
                    <a:cubicBezTo>
                      <a:pt x="1" y="43"/>
                      <a:pt x="1" y="44"/>
                      <a:pt x="1" y="44"/>
                    </a:cubicBezTo>
                    <a:cubicBezTo>
                      <a:pt x="1" y="44"/>
                      <a:pt x="1" y="44"/>
                      <a:pt x="1" y="44"/>
                    </a:cubicBezTo>
                    <a:cubicBezTo>
                      <a:pt x="2" y="44"/>
                      <a:pt x="2" y="44"/>
                      <a:pt x="2" y="44"/>
                    </a:cubicBezTo>
                    <a:cubicBezTo>
                      <a:pt x="3" y="44"/>
                      <a:pt x="3" y="44"/>
                      <a:pt x="3" y="44"/>
                    </a:cubicBezTo>
                    <a:cubicBezTo>
                      <a:pt x="3" y="44"/>
                      <a:pt x="3" y="44"/>
                      <a:pt x="3" y="44"/>
                    </a:cubicBezTo>
                    <a:cubicBezTo>
                      <a:pt x="4" y="44"/>
                      <a:pt x="4" y="44"/>
                      <a:pt x="4" y="44"/>
                    </a:cubicBezTo>
                    <a:cubicBezTo>
                      <a:pt x="7" y="47"/>
                      <a:pt x="7" y="47"/>
                      <a:pt x="7" y="47"/>
                    </a:cubicBezTo>
                    <a:cubicBezTo>
                      <a:pt x="6" y="47"/>
                      <a:pt x="6" y="47"/>
                      <a:pt x="6" y="47"/>
                    </a:cubicBezTo>
                    <a:cubicBezTo>
                      <a:pt x="7" y="48"/>
                      <a:pt x="7" y="49"/>
                      <a:pt x="8" y="49"/>
                    </a:cubicBezTo>
                    <a:cubicBezTo>
                      <a:pt x="8" y="49"/>
                      <a:pt x="8" y="50"/>
                      <a:pt x="8" y="50"/>
                    </a:cubicBezTo>
                    <a:cubicBezTo>
                      <a:pt x="11" y="49"/>
                      <a:pt x="11" y="49"/>
                      <a:pt x="11" y="49"/>
                    </a:cubicBezTo>
                    <a:cubicBezTo>
                      <a:pt x="14" y="48"/>
                      <a:pt x="16" y="48"/>
                      <a:pt x="16" y="49"/>
                    </a:cubicBezTo>
                    <a:cubicBezTo>
                      <a:pt x="17" y="50"/>
                      <a:pt x="17" y="50"/>
                      <a:pt x="17" y="51"/>
                    </a:cubicBezTo>
                    <a:cubicBezTo>
                      <a:pt x="18" y="52"/>
                      <a:pt x="18" y="54"/>
                      <a:pt x="18" y="55"/>
                    </a:cubicBezTo>
                    <a:cubicBezTo>
                      <a:pt x="18" y="55"/>
                      <a:pt x="18" y="55"/>
                      <a:pt x="18" y="55"/>
                    </a:cubicBezTo>
                    <a:cubicBezTo>
                      <a:pt x="19" y="55"/>
                      <a:pt x="19" y="56"/>
                      <a:pt x="19" y="56"/>
                    </a:cubicBezTo>
                    <a:cubicBezTo>
                      <a:pt x="19" y="57"/>
                      <a:pt x="18" y="59"/>
                      <a:pt x="18" y="59"/>
                    </a:cubicBezTo>
                    <a:cubicBezTo>
                      <a:pt x="18" y="60"/>
                      <a:pt x="18" y="60"/>
                      <a:pt x="18" y="60"/>
                    </a:cubicBezTo>
                    <a:cubicBezTo>
                      <a:pt x="17" y="60"/>
                      <a:pt x="17" y="61"/>
                      <a:pt x="17" y="61"/>
                    </a:cubicBezTo>
                    <a:cubicBezTo>
                      <a:pt x="17" y="62"/>
                      <a:pt x="16" y="64"/>
                      <a:pt x="15" y="65"/>
                    </a:cubicBezTo>
                    <a:cubicBezTo>
                      <a:pt x="15" y="65"/>
                      <a:pt x="15" y="65"/>
                      <a:pt x="15" y="65"/>
                    </a:cubicBezTo>
                    <a:cubicBezTo>
                      <a:pt x="15" y="66"/>
                      <a:pt x="16" y="66"/>
                      <a:pt x="16" y="67"/>
                    </a:cubicBezTo>
                    <a:cubicBezTo>
                      <a:pt x="16" y="68"/>
                      <a:pt x="16" y="68"/>
                      <a:pt x="16" y="68"/>
                    </a:cubicBezTo>
                    <a:cubicBezTo>
                      <a:pt x="17" y="68"/>
                      <a:pt x="17" y="68"/>
                      <a:pt x="17" y="68"/>
                    </a:cubicBezTo>
                    <a:cubicBezTo>
                      <a:pt x="17" y="68"/>
                      <a:pt x="17" y="68"/>
                      <a:pt x="17" y="68"/>
                    </a:cubicBezTo>
                    <a:cubicBezTo>
                      <a:pt x="17" y="68"/>
                      <a:pt x="17" y="69"/>
                      <a:pt x="17" y="69"/>
                    </a:cubicBezTo>
                    <a:cubicBezTo>
                      <a:pt x="18" y="69"/>
                      <a:pt x="18" y="70"/>
                      <a:pt x="19" y="71"/>
                    </a:cubicBezTo>
                    <a:cubicBezTo>
                      <a:pt x="20" y="72"/>
                      <a:pt x="20" y="72"/>
                      <a:pt x="20" y="72"/>
                    </a:cubicBezTo>
                    <a:cubicBezTo>
                      <a:pt x="20" y="72"/>
                      <a:pt x="20" y="72"/>
                      <a:pt x="20" y="72"/>
                    </a:cubicBezTo>
                    <a:cubicBezTo>
                      <a:pt x="21" y="72"/>
                      <a:pt x="21" y="72"/>
                      <a:pt x="21" y="72"/>
                    </a:cubicBezTo>
                    <a:cubicBezTo>
                      <a:pt x="21" y="72"/>
                      <a:pt x="21" y="73"/>
                      <a:pt x="22" y="73"/>
                    </a:cubicBezTo>
                    <a:cubicBezTo>
                      <a:pt x="22" y="73"/>
                      <a:pt x="22" y="72"/>
                      <a:pt x="22" y="72"/>
                    </a:cubicBezTo>
                    <a:cubicBezTo>
                      <a:pt x="22" y="72"/>
                      <a:pt x="22" y="72"/>
                      <a:pt x="22" y="72"/>
                    </a:cubicBezTo>
                    <a:cubicBezTo>
                      <a:pt x="22" y="71"/>
                      <a:pt x="22" y="71"/>
                      <a:pt x="22" y="71"/>
                    </a:cubicBezTo>
                    <a:cubicBezTo>
                      <a:pt x="22" y="71"/>
                      <a:pt x="23" y="69"/>
                      <a:pt x="23" y="69"/>
                    </a:cubicBezTo>
                    <a:cubicBezTo>
                      <a:pt x="23" y="68"/>
                      <a:pt x="24" y="68"/>
                      <a:pt x="24" y="68"/>
                    </a:cubicBezTo>
                    <a:cubicBezTo>
                      <a:pt x="24" y="67"/>
                      <a:pt x="24" y="67"/>
                      <a:pt x="25" y="67"/>
                    </a:cubicBezTo>
                    <a:cubicBezTo>
                      <a:pt x="25" y="67"/>
                      <a:pt x="25" y="67"/>
                      <a:pt x="25" y="67"/>
                    </a:cubicBezTo>
                    <a:cubicBezTo>
                      <a:pt x="25" y="67"/>
                      <a:pt x="25" y="67"/>
                      <a:pt x="26" y="67"/>
                    </a:cubicBezTo>
                    <a:cubicBezTo>
                      <a:pt x="26" y="67"/>
                      <a:pt x="26" y="67"/>
                      <a:pt x="26" y="67"/>
                    </a:cubicBezTo>
                    <a:cubicBezTo>
                      <a:pt x="27" y="66"/>
                      <a:pt x="27" y="66"/>
                      <a:pt x="27" y="66"/>
                    </a:cubicBezTo>
                    <a:cubicBezTo>
                      <a:pt x="27" y="66"/>
                      <a:pt x="27" y="66"/>
                      <a:pt x="27" y="66"/>
                    </a:cubicBezTo>
                    <a:cubicBezTo>
                      <a:pt x="28" y="66"/>
                      <a:pt x="28" y="66"/>
                      <a:pt x="28" y="66"/>
                    </a:cubicBezTo>
                    <a:cubicBezTo>
                      <a:pt x="28" y="66"/>
                      <a:pt x="28" y="66"/>
                      <a:pt x="29" y="65"/>
                    </a:cubicBezTo>
                    <a:cubicBezTo>
                      <a:pt x="29" y="61"/>
                      <a:pt x="29" y="61"/>
                      <a:pt x="29" y="61"/>
                    </a:cubicBezTo>
                    <a:cubicBezTo>
                      <a:pt x="29" y="61"/>
                      <a:pt x="29" y="61"/>
                      <a:pt x="29" y="61"/>
                    </a:cubicBezTo>
                    <a:cubicBezTo>
                      <a:pt x="29" y="60"/>
                      <a:pt x="29" y="60"/>
                      <a:pt x="29" y="60"/>
                    </a:cubicBezTo>
                    <a:cubicBezTo>
                      <a:pt x="29" y="59"/>
                      <a:pt x="29" y="59"/>
                      <a:pt x="29" y="58"/>
                    </a:cubicBezTo>
                    <a:cubicBezTo>
                      <a:pt x="29" y="58"/>
                      <a:pt x="29" y="58"/>
                      <a:pt x="29" y="58"/>
                    </a:cubicBezTo>
                    <a:cubicBezTo>
                      <a:pt x="29" y="58"/>
                      <a:pt x="29" y="58"/>
                      <a:pt x="29" y="58"/>
                    </a:cubicBezTo>
                    <a:cubicBezTo>
                      <a:pt x="29" y="58"/>
                      <a:pt x="29" y="58"/>
                      <a:pt x="29" y="58"/>
                    </a:cubicBezTo>
                    <a:cubicBezTo>
                      <a:pt x="29" y="57"/>
                      <a:pt x="29" y="57"/>
                      <a:pt x="29"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9" name="Freeform 3061">
                <a:extLst>
                  <a:ext uri="{FF2B5EF4-FFF2-40B4-BE49-F238E27FC236}">
                    <a16:creationId xmlns:a16="http://schemas.microsoft.com/office/drawing/2014/main" id="{4B6771BD-9675-4041-9D7C-015FFF8B42E5}"/>
                  </a:ext>
                </a:extLst>
              </p:cNvPr>
              <p:cNvSpPr>
                <a:spLocks/>
              </p:cNvSpPr>
              <p:nvPr/>
            </p:nvSpPr>
            <p:spPr bwMode="auto">
              <a:xfrm>
                <a:off x="3913" y="24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0" name="Freeform 3062">
                <a:extLst>
                  <a:ext uri="{FF2B5EF4-FFF2-40B4-BE49-F238E27FC236}">
                    <a16:creationId xmlns:a16="http://schemas.microsoft.com/office/drawing/2014/main" id="{4DAC335A-E846-42D9-A5A7-D4C9C71A951B}"/>
                  </a:ext>
                </a:extLst>
              </p:cNvPr>
              <p:cNvSpPr>
                <a:spLocks/>
              </p:cNvSpPr>
              <p:nvPr/>
            </p:nvSpPr>
            <p:spPr bwMode="auto">
              <a:xfrm>
                <a:off x="3755" y="2665"/>
                <a:ext cx="2" cy="5"/>
              </a:xfrm>
              <a:custGeom>
                <a:avLst/>
                <a:gdLst>
                  <a:gd name="T0" fmla="*/ 1 w 1"/>
                  <a:gd name="T1" fmla="*/ 0 h 2"/>
                  <a:gd name="T2" fmla="*/ 0 w 1"/>
                  <a:gd name="T3" fmla="*/ 1 h 2"/>
                  <a:gd name="T4" fmla="*/ 0 w 1"/>
                  <a:gd name="T5" fmla="*/ 1 h 2"/>
                  <a:gd name="T6" fmla="*/ 0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0" y="1"/>
                    </a:cubicBezTo>
                    <a:cubicBezTo>
                      <a:pt x="0" y="1"/>
                      <a:pt x="0" y="1"/>
                      <a:pt x="0" y="1"/>
                    </a:cubicBezTo>
                    <a:cubicBezTo>
                      <a:pt x="0" y="1"/>
                      <a:pt x="0" y="1"/>
                      <a:pt x="0" y="1"/>
                    </a:cubicBezTo>
                    <a:cubicBezTo>
                      <a:pt x="1" y="2"/>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1" name="Freeform 3063">
                <a:extLst>
                  <a:ext uri="{FF2B5EF4-FFF2-40B4-BE49-F238E27FC236}">
                    <a16:creationId xmlns:a16="http://schemas.microsoft.com/office/drawing/2014/main" id="{82B2ACD4-950A-4F16-BEFE-A20A0F9112AA}"/>
                  </a:ext>
                </a:extLst>
              </p:cNvPr>
              <p:cNvSpPr>
                <a:spLocks/>
              </p:cNvSpPr>
              <p:nvPr/>
            </p:nvSpPr>
            <p:spPr bwMode="auto">
              <a:xfrm>
                <a:off x="3760" y="2464"/>
                <a:ext cx="177" cy="267"/>
              </a:xfrm>
              <a:custGeom>
                <a:avLst/>
                <a:gdLst>
                  <a:gd name="T0" fmla="*/ 12 w 75"/>
                  <a:gd name="T1" fmla="*/ 108 h 113"/>
                  <a:gd name="T2" fmla="*/ 24 w 75"/>
                  <a:gd name="T3" fmla="*/ 109 h 113"/>
                  <a:gd name="T4" fmla="*/ 31 w 75"/>
                  <a:gd name="T5" fmla="*/ 108 h 113"/>
                  <a:gd name="T6" fmla="*/ 40 w 75"/>
                  <a:gd name="T7" fmla="*/ 108 h 113"/>
                  <a:gd name="T8" fmla="*/ 46 w 75"/>
                  <a:gd name="T9" fmla="*/ 108 h 113"/>
                  <a:gd name="T10" fmla="*/ 50 w 75"/>
                  <a:gd name="T11" fmla="*/ 108 h 113"/>
                  <a:gd name="T12" fmla="*/ 60 w 75"/>
                  <a:gd name="T13" fmla="*/ 109 h 113"/>
                  <a:gd name="T14" fmla="*/ 62 w 75"/>
                  <a:gd name="T15" fmla="*/ 110 h 113"/>
                  <a:gd name="T16" fmla="*/ 65 w 75"/>
                  <a:gd name="T17" fmla="*/ 111 h 113"/>
                  <a:gd name="T18" fmla="*/ 68 w 75"/>
                  <a:gd name="T19" fmla="*/ 111 h 113"/>
                  <a:gd name="T20" fmla="*/ 74 w 75"/>
                  <a:gd name="T21" fmla="*/ 113 h 113"/>
                  <a:gd name="T22" fmla="*/ 75 w 75"/>
                  <a:gd name="T23" fmla="*/ 108 h 113"/>
                  <a:gd name="T24" fmla="*/ 70 w 75"/>
                  <a:gd name="T25" fmla="*/ 99 h 113"/>
                  <a:gd name="T26" fmla="*/ 64 w 75"/>
                  <a:gd name="T27" fmla="*/ 90 h 113"/>
                  <a:gd name="T28" fmla="*/ 59 w 75"/>
                  <a:gd name="T29" fmla="*/ 80 h 113"/>
                  <a:gd name="T30" fmla="*/ 59 w 75"/>
                  <a:gd name="T31" fmla="*/ 76 h 113"/>
                  <a:gd name="T32" fmla="*/ 59 w 75"/>
                  <a:gd name="T33" fmla="*/ 72 h 113"/>
                  <a:gd name="T34" fmla="*/ 61 w 75"/>
                  <a:gd name="T35" fmla="*/ 66 h 113"/>
                  <a:gd name="T36" fmla="*/ 64 w 75"/>
                  <a:gd name="T37" fmla="*/ 61 h 113"/>
                  <a:gd name="T38" fmla="*/ 68 w 75"/>
                  <a:gd name="T39" fmla="*/ 55 h 113"/>
                  <a:gd name="T40" fmla="*/ 68 w 75"/>
                  <a:gd name="T41" fmla="*/ 53 h 113"/>
                  <a:gd name="T42" fmla="*/ 64 w 75"/>
                  <a:gd name="T43" fmla="*/ 46 h 113"/>
                  <a:gd name="T44" fmla="*/ 54 w 75"/>
                  <a:gd name="T45" fmla="*/ 36 h 113"/>
                  <a:gd name="T46" fmla="*/ 57 w 75"/>
                  <a:gd name="T47" fmla="*/ 29 h 113"/>
                  <a:gd name="T48" fmla="*/ 62 w 75"/>
                  <a:gd name="T49" fmla="*/ 29 h 113"/>
                  <a:gd name="T50" fmla="*/ 67 w 75"/>
                  <a:gd name="T51" fmla="*/ 29 h 113"/>
                  <a:gd name="T52" fmla="*/ 64 w 75"/>
                  <a:gd name="T53" fmla="*/ 16 h 113"/>
                  <a:gd name="T54" fmla="*/ 64 w 75"/>
                  <a:gd name="T55" fmla="*/ 13 h 113"/>
                  <a:gd name="T56" fmla="*/ 62 w 75"/>
                  <a:gd name="T57" fmla="*/ 6 h 113"/>
                  <a:gd name="T58" fmla="*/ 59 w 75"/>
                  <a:gd name="T59" fmla="*/ 2 h 113"/>
                  <a:gd name="T60" fmla="*/ 57 w 75"/>
                  <a:gd name="T61" fmla="*/ 3 h 113"/>
                  <a:gd name="T62" fmla="*/ 59 w 75"/>
                  <a:gd name="T63" fmla="*/ 5 h 113"/>
                  <a:gd name="T64" fmla="*/ 61 w 75"/>
                  <a:gd name="T65" fmla="*/ 7 h 113"/>
                  <a:gd name="T66" fmla="*/ 61 w 75"/>
                  <a:gd name="T67" fmla="*/ 15 h 113"/>
                  <a:gd name="T68" fmla="*/ 55 w 75"/>
                  <a:gd name="T69" fmla="*/ 18 h 113"/>
                  <a:gd name="T70" fmla="*/ 54 w 75"/>
                  <a:gd name="T71" fmla="*/ 19 h 113"/>
                  <a:gd name="T72" fmla="*/ 52 w 75"/>
                  <a:gd name="T73" fmla="*/ 21 h 113"/>
                  <a:gd name="T74" fmla="*/ 50 w 75"/>
                  <a:gd name="T75" fmla="*/ 26 h 113"/>
                  <a:gd name="T76" fmla="*/ 48 w 75"/>
                  <a:gd name="T77" fmla="*/ 31 h 113"/>
                  <a:gd name="T78" fmla="*/ 45 w 75"/>
                  <a:gd name="T79" fmla="*/ 36 h 113"/>
                  <a:gd name="T80" fmla="*/ 43 w 75"/>
                  <a:gd name="T81" fmla="*/ 40 h 113"/>
                  <a:gd name="T82" fmla="*/ 37 w 75"/>
                  <a:gd name="T83" fmla="*/ 47 h 113"/>
                  <a:gd name="T84" fmla="*/ 33 w 75"/>
                  <a:gd name="T85" fmla="*/ 58 h 113"/>
                  <a:gd name="T86" fmla="*/ 32 w 75"/>
                  <a:gd name="T87" fmla="*/ 61 h 113"/>
                  <a:gd name="T88" fmla="*/ 27 w 75"/>
                  <a:gd name="T89" fmla="*/ 67 h 113"/>
                  <a:gd name="T90" fmla="*/ 20 w 75"/>
                  <a:gd name="T91" fmla="*/ 61 h 113"/>
                  <a:gd name="T92" fmla="*/ 16 w 75"/>
                  <a:gd name="T93" fmla="*/ 62 h 113"/>
                  <a:gd name="T94" fmla="*/ 12 w 75"/>
                  <a:gd name="T95" fmla="*/ 65 h 113"/>
                  <a:gd name="T96" fmla="*/ 5 w 75"/>
                  <a:gd name="T97" fmla="*/ 72 h 113"/>
                  <a:gd name="T98" fmla="*/ 2 w 75"/>
                  <a:gd name="T99" fmla="*/ 78 h 113"/>
                  <a:gd name="T100" fmla="*/ 0 w 75"/>
                  <a:gd name="T101" fmla="*/ 84 h 113"/>
                  <a:gd name="T102" fmla="*/ 2 w 75"/>
                  <a:gd name="T103" fmla="*/ 89 h 113"/>
                  <a:gd name="T104" fmla="*/ 8 w 75"/>
                  <a:gd name="T105" fmla="*/ 91 h 113"/>
                  <a:gd name="T106" fmla="*/ 9 w 75"/>
                  <a:gd name="T107" fmla="*/ 9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 h="113">
                    <a:moveTo>
                      <a:pt x="12" y="103"/>
                    </a:moveTo>
                    <a:cubicBezTo>
                      <a:pt x="12" y="105"/>
                      <a:pt x="11" y="106"/>
                      <a:pt x="11" y="107"/>
                    </a:cubicBezTo>
                    <a:cubicBezTo>
                      <a:pt x="11" y="107"/>
                      <a:pt x="11" y="107"/>
                      <a:pt x="11" y="107"/>
                    </a:cubicBezTo>
                    <a:cubicBezTo>
                      <a:pt x="12" y="107"/>
                      <a:pt x="12" y="107"/>
                      <a:pt x="12" y="107"/>
                    </a:cubicBezTo>
                    <a:cubicBezTo>
                      <a:pt x="12" y="107"/>
                      <a:pt x="12" y="107"/>
                      <a:pt x="12" y="108"/>
                    </a:cubicBezTo>
                    <a:cubicBezTo>
                      <a:pt x="13" y="108"/>
                      <a:pt x="13" y="108"/>
                      <a:pt x="13" y="108"/>
                    </a:cubicBezTo>
                    <a:cubicBezTo>
                      <a:pt x="13" y="108"/>
                      <a:pt x="14" y="109"/>
                      <a:pt x="17" y="109"/>
                    </a:cubicBezTo>
                    <a:cubicBezTo>
                      <a:pt x="23" y="109"/>
                      <a:pt x="23" y="109"/>
                      <a:pt x="23" y="109"/>
                    </a:cubicBezTo>
                    <a:cubicBezTo>
                      <a:pt x="23" y="109"/>
                      <a:pt x="23" y="109"/>
                      <a:pt x="24" y="109"/>
                    </a:cubicBezTo>
                    <a:cubicBezTo>
                      <a:pt x="24" y="109"/>
                      <a:pt x="24" y="109"/>
                      <a:pt x="24" y="109"/>
                    </a:cubicBezTo>
                    <a:cubicBezTo>
                      <a:pt x="24" y="109"/>
                      <a:pt x="25" y="109"/>
                      <a:pt x="26" y="109"/>
                    </a:cubicBezTo>
                    <a:cubicBezTo>
                      <a:pt x="26" y="109"/>
                      <a:pt x="26" y="108"/>
                      <a:pt x="27" y="108"/>
                    </a:cubicBezTo>
                    <a:cubicBezTo>
                      <a:pt x="27" y="107"/>
                      <a:pt x="28" y="107"/>
                      <a:pt x="29" y="107"/>
                    </a:cubicBezTo>
                    <a:cubicBezTo>
                      <a:pt x="29" y="108"/>
                      <a:pt x="29" y="107"/>
                      <a:pt x="29" y="108"/>
                    </a:cubicBezTo>
                    <a:cubicBezTo>
                      <a:pt x="30" y="107"/>
                      <a:pt x="31" y="108"/>
                      <a:pt x="31" y="108"/>
                    </a:cubicBezTo>
                    <a:cubicBezTo>
                      <a:pt x="32" y="108"/>
                      <a:pt x="32" y="108"/>
                      <a:pt x="33" y="108"/>
                    </a:cubicBezTo>
                    <a:cubicBezTo>
                      <a:pt x="33" y="108"/>
                      <a:pt x="33" y="108"/>
                      <a:pt x="33" y="108"/>
                    </a:cubicBezTo>
                    <a:cubicBezTo>
                      <a:pt x="34" y="108"/>
                      <a:pt x="34" y="108"/>
                      <a:pt x="34" y="108"/>
                    </a:cubicBezTo>
                    <a:cubicBezTo>
                      <a:pt x="36" y="108"/>
                      <a:pt x="37" y="108"/>
                      <a:pt x="39" y="108"/>
                    </a:cubicBezTo>
                    <a:cubicBezTo>
                      <a:pt x="40" y="108"/>
                      <a:pt x="40" y="108"/>
                      <a:pt x="40" y="108"/>
                    </a:cubicBezTo>
                    <a:cubicBezTo>
                      <a:pt x="41" y="108"/>
                      <a:pt x="43" y="108"/>
                      <a:pt x="44" y="108"/>
                    </a:cubicBezTo>
                    <a:cubicBezTo>
                      <a:pt x="44" y="108"/>
                      <a:pt x="44" y="108"/>
                      <a:pt x="44" y="108"/>
                    </a:cubicBezTo>
                    <a:cubicBezTo>
                      <a:pt x="44" y="108"/>
                      <a:pt x="45" y="108"/>
                      <a:pt x="45" y="108"/>
                    </a:cubicBezTo>
                    <a:cubicBezTo>
                      <a:pt x="45" y="108"/>
                      <a:pt x="45" y="108"/>
                      <a:pt x="45" y="108"/>
                    </a:cubicBezTo>
                    <a:cubicBezTo>
                      <a:pt x="45" y="108"/>
                      <a:pt x="45" y="108"/>
                      <a:pt x="46" y="108"/>
                    </a:cubicBezTo>
                    <a:cubicBezTo>
                      <a:pt x="46" y="108"/>
                      <a:pt x="46" y="108"/>
                      <a:pt x="46" y="108"/>
                    </a:cubicBezTo>
                    <a:cubicBezTo>
                      <a:pt x="46" y="108"/>
                      <a:pt x="46" y="108"/>
                      <a:pt x="47" y="108"/>
                    </a:cubicBezTo>
                    <a:cubicBezTo>
                      <a:pt x="47" y="109"/>
                      <a:pt x="47" y="109"/>
                      <a:pt x="47" y="109"/>
                    </a:cubicBezTo>
                    <a:cubicBezTo>
                      <a:pt x="47" y="109"/>
                      <a:pt x="47" y="109"/>
                      <a:pt x="47" y="109"/>
                    </a:cubicBezTo>
                    <a:cubicBezTo>
                      <a:pt x="50" y="108"/>
                      <a:pt x="50" y="108"/>
                      <a:pt x="50" y="108"/>
                    </a:cubicBezTo>
                    <a:cubicBezTo>
                      <a:pt x="49" y="109"/>
                      <a:pt x="49" y="109"/>
                      <a:pt x="49" y="109"/>
                    </a:cubicBezTo>
                    <a:cubicBezTo>
                      <a:pt x="49" y="109"/>
                      <a:pt x="49" y="109"/>
                      <a:pt x="50" y="109"/>
                    </a:cubicBezTo>
                    <a:cubicBezTo>
                      <a:pt x="50" y="109"/>
                      <a:pt x="50" y="109"/>
                      <a:pt x="50" y="109"/>
                    </a:cubicBezTo>
                    <a:cubicBezTo>
                      <a:pt x="53" y="109"/>
                      <a:pt x="55" y="109"/>
                      <a:pt x="57" y="109"/>
                    </a:cubicBezTo>
                    <a:cubicBezTo>
                      <a:pt x="60" y="109"/>
                      <a:pt x="60" y="109"/>
                      <a:pt x="60" y="109"/>
                    </a:cubicBezTo>
                    <a:cubicBezTo>
                      <a:pt x="60" y="109"/>
                      <a:pt x="60" y="109"/>
                      <a:pt x="60" y="109"/>
                    </a:cubicBezTo>
                    <a:cubicBezTo>
                      <a:pt x="60" y="109"/>
                      <a:pt x="61" y="109"/>
                      <a:pt x="61" y="109"/>
                    </a:cubicBezTo>
                    <a:cubicBezTo>
                      <a:pt x="61" y="109"/>
                      <a:pt x="61" y="110"/>
                      <a:pt x="62" y="110"/>
                    </a:cubicBezTo>
                    <a:cubicBezTo>
                      <a:pt x="62" y="110"/>
                      <a:pt x="62" y="110"/>
                      <a:pt x="62" y="110"/>
                    </a:cubicBezTo>
                    <a:cubicBezTo>
                      <a:pt x="62" y="110"/>
                      <a:pt x="62" y="110"/>
                      <a:pt x="62" y="110"/>
                    </a:cubicBezTo>
                    <a:cubicBezTo>
                      <a:pt x="62" y="110"/>
                      <a:pt x="62" y="110"/>
                      <a:pt x="63" y="110"/>
                    </a:cubicBezTo>
                    <a:cubicBezTo>
                      <a:pt x="63" y="110"/>
                      <a:pt x="63" y="110"/>
                      <a:pt x="63" y="110"/>
                    </a:cubicBezTo>
                    <a:cubicBezTo>
                      <a:pt x="63" y="110"/>
                      <a:pt x="63" y="110"/>
                      <a:pt x="63" y="110"/>
                    </a:cubicBezTo>
                    <a:cubicBezTo>
                      <a:pt x="65" y="110"/>
                      <a:pt x="65" y="110"/>
                      <a:pt x="65" y="110"/>
                    </a:cubicBezTo>
                    <a:cubicBezTo>
                      <a:pt x="65" y="111"/>
                      <a:pt x="65" y="111"/>
                      <a:pt x="65" y="111"/>
                    </a:cubicBezTo>
                    <a:cubicBezTo>
                      <a:pt x="65" y="111"/>
                      <a:pt x="65" y="111"/>
                      <a:pt x="65" y="111"/>
                    </a:cubicBezTo>
                    <a:cubicBezTo>
                      <a:pt x="65" y="111"/>
                      <a:pt x="66" y="111"/>
                      <a:pt x="66" y="111"/>
                    </a:cubicBezTo>
                    <a:cubicBezTo>
                      <a:pt x="66" y="111"/>
                      <a:pt x="66" y="111"/>
                      <a:pt x="66" y="111"/>
                    </a:cubicBezTo>
                    <a:cubicBezTo>
                      <a:pt x="67" y="111"/>
                      <a:pt x="67" y="111"/>
                      <a:pt x="67" y="111"/>
                    </a:cubicBezTo>
                    <a:cubicBezTo>
                      <a:pt x="68" y="111"/>
                      <a:pt x="68" y="111"/>
                      <a:pt x="68" y="111"/>
                    </a:cubicBezTo>
                    <a:cubicBezTo>
                      <a:pt x="68" y="111"/>
                      <a:pt x="68" y="111"/>
                      <a:pt x="69" y="111"/>
                    </a:cubicBezTo>
                    <a:cubicBezTo>
                      <a:pt x="69" y="111"/>
                      <a:pt x="69" y="111"/>
                      <a:pt x="69" y="111"/>
                    </a:cubicBezTo>
                    <a:cubicBezTo>
                      <a:pt x="70" y="111"/>
                      <a:pt x="71" y="111"/>
                      <a:pt x="72" y="112"/>
                    </a:cubicBezTo>
                    <a:cubicBezTo>
                      <a:pt x="73" y="112"/>
                      <a:pt x="73" y="112"/>
                      <a:pt x="74" y="113"/>
                    </a:cubicBezTo>
                    <a:cubicBezTo>
                      <a:pt x="74" y="113"/>
                      <a:pt x="74" y="113"/>
                      <a:pt x="74" y="113"/>
                    </a:cubicBezTo>
                    <a:cubicBezTo>
                      <a:pt x="74" y="113"/>
                      <a:pt x="74" y="112"/>
                      <a:pt x="74" y="112"/>
                    </a:cubicBezTo>
                    <a:cubicBezTo>
                      <a:pt x="74" y="111"/>
                      <a:pt x="74" y="110"/>
                      <a:pt x="75" y="109"/>
                    </a:cubicBezTo>
                    <a:cubicBezTo>
                      <a:pt x="75" y="109"/>
                      <a:pt x="75" y="109"/>
                      <a:pt x="75" y="109"/>
                    </a:cubicBezTo>
                    <a:cubicBezTo>
                      <a:pt x="75" y="109"/>
                      <a:pt x="75" y="109"/>
                      <a:pt x="75" y="109"/>
                    </a:cubicBezTo>
                    <a:cubicBezTo>
                      <a:pt x="75" y="108"/>
                      <a:pt x="75" y="108"/>
                      <a:pt x="75" y="108"/>
                    </a:cubicBezTo>
                    <a:cubicBezTo>
                      <a:pt x="74" y="107"/>
                      <a:pt x="74" y="105"/>
                      <a:pt x="74" y="104"/>
                    </a:cubicBezTo>
                    <a:cubicBezTo>
                      <a:pt x="74" y="103"/>
                      <a:pt x="74" y="103"/>
                      <a:pt x="74" y="103"/>
                    </a:cubicBezTo>
                    <a:cubicBezTo>
                      <a:pt x="74" y="103"/>
                      <a:pt x="74" y="103"/>
                      <a:pt x="74" y="103"/>
                    </a:cubicBezTo>
                    <a:cubicBezTo>
                      <a:pt x="74" y="103"/>
                      <a:pt x="74" y="103"/>
                      <a:pt x="74" y="103"/>
                    </a:cubicBezTo>
                    <a:cubicBezTo>
                      <a:pt x="72" y="101"/>
                      <a:pt x="71" y="100"/>
                      <a:pt x="70" y="99"/>
                    </a:cubicBezTo>
                    <a:cubicBezTo>
                      <a:pt x="70" y="99"/>
                      <a:pt x="69" y="99"/>
                      <a:pt x="69" y="99"/>
                    </a:cubicBezTo>
                    <a:cubicBezTo>
                      <a:pt x="68" y="98"/>
                      <a:pt x="68" y="98"/>
                      <a:pt x="68" y="98"/>
                    </a:cubicBezTo>
                    <a:cubicBezTo>
                      <a:pt x="66" y="96"/>
                      <a:pt x="65" y="95"/>
                      <a:pt x="64" y="93"/>
                    </a:cubicBezTo>
                    <a:cubicBezTo>
                      <a:pt x="63" y="90"/>
                      <a:pt x="63" y="90"/>
                      <a:pt x="63" y="90"/>
                    </a:cubicBezTo>
                    <a:cubicBezTo>
                      <a:pt x="64" y="90"/>
                      <a:pt x="64" y="90"/>
                      <a:pt x="64" y="90"/>
                    </a:cubicBezTo>
                    <a:cubicBezTo>
                      <a:pt x="63" y="89"/>
                      <a:pt x="63" y="89"/>
                      <a:pt x="63" y="89"/>
                    </a:cubicBezTo>
                    <a:cubicBezTo>
                      <a:pt x="63" y="89"/>
                      <a:pt x="62" y="88"/>
                      <a:pt x="62" y="88"/>
                    </a:cubicBezTo>
                    <a:cubicBezTo>
                      <a:pt x="61" y="87"/>
                      <a:pt x="60" y="86"/>
                      <a:pt x="60" y="85"/>
                    </a:cubicBezTo>
                    <a:cubicBezTo>
                      <a:pt x="60" y="84"/>
                      <a:pt x="60" y="84"/>
                      <a:pt x="60" y="84"/>
                    </a:cubicBezTo>
                    <a:cubicBezTo>
                      <a:pt x="60" y="83"/>
                      <a:pt x="60" y="82"/>
                      <a:pt x="59" y="80"/>
                    </a:cubicBezTo>
                    <a:cubicBezTo>
                      <a:pt x="59" y="80"/>
                      <a:pt x="59" y="80"/>
                      <a:pt x="59" y="80"/>
                    </a:cubicBezTo>
                    <a:cubicBezTo>
                      <a:pt x="59" y="79"/>
                      <a:pt x="58" y="79"/>
                      <a:pt x="58" y="78"/>
                    </a:cubicBezTo>
                    <a:cubicBezTo>
                      <a:pt x="58" y="77"/>
                      <a:pt x="58" y="77"/>
                      <a:pt x="59" y="76"/>
                    </a:cubicBezTo>
                    <a:cubicBezTo>
                      <a:pt x="59" y="76"/>
                      <a:pt x="59" y="76"/>
                      <a:pt x="59" y="76"/>
                    </a:cubicBezTo>
                    <a:cubicBezTo>
                      <a:pt x="59" y="76"/>
                      <a:pt x="59" y="76"/>
                      <a:pt x="59" y="76"/>
                    </a:cubicBezTo>
                    <a:cubicBezTo>
                      <a:pt x="59" y="75"/>
                      <a:pt x="59" y="75"/>
                      <a:pt x="59" y="75"/>
                    </a:cubicBezTo>
                    <a:cubicBezTo>
                      <a:pt x="59" y="74"/>
                      <a:pt x="59" y="74"/>
                      <a:pt x="59" y="74"/>
                    </a:cubicBezTo>
                    <a:cubicBezTo>
                      <a:pt x="59" y="73"/>
                      <a:pt x="59" y="73"/>
                      <a:pt x="59" y="73"/>
                    </a:cubicBezTo>
                    <a:cubicBezTo>
                      <a:pt x="59" y="73"/>
                      <a:pt x="59" y="73"/>
                      <a:pt x="59" y="73"/>
                    </a:cubicBezTo>
                    <a:cubicBezTo>
                      <a:pt x="59" y="72"/>
                      <a:pt x="59" y="72"/>
                      <a:pt x="59" y="72"/>
                    </a:cubicBezTo>
                    <a:cubicBezTo>
                      <a:pt x="59" y="72"/>
                      <a:pt x="58" y="72"/>
                      <a:pt x="58" y="72"/>
                    </a:cubicBezTo>
                    <a:cubicBezTo>
                      <a:pt x="58" y="72"/>
                      <a:pt x="58" y="71"/>
                      <a:pt x="57" y="71"/>
                    </a:cubicBezTo>
                    <a:cubicBezTo>
                      <a:pt x="56" y="70"/>
                      <a:pt x="56" y="70"/>
                      <a:pt x="56" y="70"/>
                    </a:cubicBezTo>
                    <a:cubicBezTo>
                      <a:pt x="58" y="69"/>
                      <a:pt x="58" y="69"/>
                      <a:pt x="58" y="69"/>
                    </a:cubicBezTo>
                    <a:cubicBezTo>
                      <a:pt x="60" y="68"/>
                      <a:pt x="61" y="67"/>
                      <a:pt x="61" y="66"/>
                    </a:cubicBezTo>
                    <a:cubicBezTo>
                      <a:pt x="62" y="65"/>
                      <a:pt x="62" y="65"/>
                      <a:pt x="62" y="65"/>
                    </a:cubicBezTo>
                    <a:cubicBezTo>
                      <a:pt x="62" y="64"/>
                      <a:pt x="62" y="64"/>
                      <a:pt x="62" y="64"/>
                    </a:cubicBezTo>
                    <a:cubicBezTo>
                      <a:pt x="62" y="64"/>
                      <a:pt x="62" y="63"/>
                      <a:pt x="63" y="63"/>
                    </a:cubicBezTo>
                    <a:cubicBezTo>
                      <a:pt x="63" y="62"/>
                      <a:pt x="63" y="62"/>
                      <a:pt x="64" y="61"/>
                    </a:cubicBezTo>
                    <a:cubicBezTo>
                      <a:pt x="64" y="61"/>
                      <a:pt x="64" y="61"/>
                      <a:pt x="64" y="61"/>
                    </a:cubicBezTo>
                    <a:cubicBezTo>
                      <a:pt x="64" y="60"/>
                      <a:pt x="65" y="59"/>
                      <a:pt x="65" y="58"/>
                    </a:cubicBezTo>
                    <a:cubicBezTo>
                      <a:pt x="66" y="58"/>
                      <a:pt x="66" y="58"/>
                      <a:pt x="66" y="58"/>
                    </a:cubicBezTo>
                    <a:cubicBezTo>
                      <a:pt x="66" y="57"/>
                      <a:pt x="67" y="56"/>
                      <a:pt x="68" y="55"/>
                    </a:cubicBezTo>
                    <a:cubicBezTo>
                      <a:pt x="68" y="55"/>
                      <a:pt x="68" y="55"/>
                      <a:pt x="68" y="55"/>
                    </a:cubicBezTo>
                    <a:cubicBezTo>
                      <a:pt x="68" y="55"/>
                      <a:pt x="68" y="55"/>
                      <a:pt x="68" y="55"/>
                    </a:cubicBezTo>
                    <a:cubicBezTo>
                      <a:pt x="68" y="55"/>
                      <a:pt x="68" y="55"/>
                      <a:pt x="68" y="55"/>
                    </a:cubicBezTo>
                    <a:cubicBezTo>
                      <a:pt x="68" y="55"/>
                      <a:pt x="68" y="55"/>
                      <a:pt x="68" y="55"/>
                    </a:cubicBezTo>
                    <a:cubicBezTo>
                      <a:pt x="68" y="54"/>
                      <a:pt x="68" y="54"/>
                      <a:pt x="68" y="54"/>
                    </a:cubicBezTo>
                    <a:cubicBezTo>
                      <a:pt x="68" y="54"/>
                      <a:pt x="68" y="54"/>
                      <a:pt x="69" y="53"/>
                    </a:cubicBezTo>
                    <a:cubicBezTo>
                      <a:pt x="68" y="53"/>
                      <a:pt x="68" y="53"/>
                      <a:pt x="68" y="53"/>
                    </a:cubicBezTo>
                    <a:cubicBezTo>
                      <a:pt x="68" y="53"/>
                      <a:pt x="68" y="52"/>
                      <a:pt x="67" y="51"/>
                    </a:cubicBezTo>
                    <a:cubicBezTo>
                      <a:pt x="67" y="51"/>
                      <a:pt x="67" y="50"/>
                      <a:pt x="67" y="50"/>
                    </a:cubicBezTo>
                    <a:cubicBezTo>
                      <a:pt x="67" y="50"/>
                      <a:pt x="67" y="50"/>
                      <a:pt x="67" y="49"/>
                    </a:cubicBezTo>
                    <a:cubicBezTo>
                      <a:pt x="66" y="49"/>
                      <a:pt x="66" y="49"/>
                      <a:pt x="66" y="49"/>
                    </a:cubicBezTo>
                    <a:cubicBezTo>
                      <a:pt x="66" y="48"/>
                      <a:pt x="65" y="46"/>
                      <a:pt x="64" y="46"/>
                    </a:cubicBezTo>
                    <a:cubicBezTo>
                      <a:pt x="63" y="44"/>
                      <a:pt x="62" y="43"/>
                      <a:pt x="60" y="41"/>
                    </a:cubicBezTo>
                    <a:cubicBezTo>
                      <a:pt x="59" y="40"/>
                      <a:pt x="57" y="39"/>
                      <a:pt x="56" y="37"/>
                    </a:cubicBezTo>
                    <a:cubicBezTo>
                      <a:pt x="55" y="37"/>
                      <a:pt x="55" y="37"/>
                      <a:pt x="55" y="37"/>
                    </a:cubicBezTo>
                    <a:cubicBezTo>
                      <a:pt x="55" y="37"/>
                      <a:pt x="55" y="36"/>
                      <a:pt x="54" y="36"/>
                    </a:cubicBezTo>
                    <a:cubicBezTo>
                      <a:pt x="54" y="36"/>
                      <a:pt x="54" y="36"/>
                      <a:pt x="54" y="36"/>
                    </a:cubicBezTo>
                    <a:cubicBezTo>
                      <a:pt x="54" y="35"/>
                      <a:pt x="54" y="35"/>
                      <a:pt x="54" y="35"/>
                    </a:cubicBezTo>
                    <a:cubicBezTo>
                      <a:pt x="52" y="34"/>
                      <a:pt x="52" y="33"/>
                      <a:pt x="53" y="31"/>
                    </a:cubicBezTo>
                    <a:cubicBezTo>
                      <a:pt x="54" y="31"/>
                      <a:pt x="54" y="31"/>
                      <a:pt x="54" y="31"/>
                    </a:cubicBezTo>
                    <a:cubicBezTo>
                      <a:pt x="54" y="30"/>
                      <a:pt x="55" y="29"/>
                      <a:pt x="57" y="29"/>
                    </a:cubicBezTo>
                    <a:cubicBezTo>
                      <a:pt x="57" y="29"/>
                      <a:pt x="57" y="29"/>
                      <a:pt x="57" y="29"/>
                    </a:cubicBezTo>
                    <a:cubicBezTo>
                      <a:pt x="58" y="29"/>
                      <a:pt x="59" y="29"/>
                      <a:pt x="60" y="29"/>
                    </a:cubicBezTo>
                    <a:cubicBezTo>
                      <a:pt x="60" y="29"/>
                      <a:pt x="60" y="29"/>
                      <a:pt x="60" y="29"/>
                    </a:cubicBezTo>
                    <a:cubicBezTo>
                      <a:pt x="61" y="29"/>
                      <a:pt x="61" y="29"/>
                      <a:pt x="61" y="29"/>
                    </a:cubicBezTo>
                    <a:cubicBezTo>
                      <a:pt x="61" y="29"/>
                      <a:pt x="61" y="29"/>
                      <a:pt x="61" y="29"/>
                    </a:cubicBezTo>
                    <a:cubicBezTo>
                      <a:pt x="62" y="29"/>
                      <a:pt x="62" y="29"/>
                      <a:pt x="62" y="29"/>
                    </a:cubicBezTo>
                    <a:cubicBezTo>
                      <a:pt x="63" y="29"/>
                      <a:pt x="64" y="29"/>
                      <a:pt x="65" y="29"/>
                    </a:cubicBezTo>
                    <a:cubicBezTo>
                      <a:pt x="65" y="26"/>
                      <a:pt x="65" y="26"/>
                      <a:pt x="65" y="26"/>
                    </a:cubicBezTo>
                    <a:cubicBezTo>
                      <a:pt x="66" y="29"/>
                      <a:pt x="66" y="29"/>
                      <a:pt x="66" y="29"/>
                    </a:cubicBezTo>
                    <a:cubicBezTo>
                      <a:pt x="66" y="29"/>
                      <a:pt x="66" y="29"/>
                      <a:pt x="66" y="29"/>
                    </a:cubicBezTo>
                    <a:cubicBezTo>
                      <a:pt x="66" y="29"/>
                      <a:pt x="67" y="29"/>
                      <a:pt x="67" y="29"/>
                    </a:cubicBezTo>
                    <a:cubicBezTo>
                      <a:pt x="67" y="29"/>
                      <a:pt x="67" y="29"/>
                      <a:pt x="67" y="29"/>
                    </a:cubicBezTo>
                    <a:cubicBezTo>
                      <a:pt x="67" y="28"/>
                      <a:pt x="67" y="28"/>
                      <a:pt x="66" y="27"/>
                    </a:cubicBezTo>
                    <a:cubicBezTo>
                      <a:pt x="65" y="25"/>
                      <a:pt x="64" y="22"/>
                      <a:pt x="63" y="20"/>
                    </a:cubicBezTo>
                    <a:cubicBezTo>
                      <a:pt x="63" y="19"/>
                      <a:pt x="63" y="18"/>
                      <a:pt x="63" y="17"/>
                    </a:cubicBezTo>
                    <a:cubicBezTo>
                      <a:pt x="64" y="17"/>
                      <a:pt x="64" y="17"/>
                      <a:pt x="64" y="16"/>
                    </a:cubicBezTo>
                    <a:cubicBezTo>
                      <a:pt x="64" y="16"/>
                      <a:pt x="64" y="16"/>
                      <a:pt x="64" y="15"/>
                    </a:cubicBezTo>
                    <a:cubicBezTo>
                      <a:pt x="64" y="15"/>
                      <a:pt x="64" y="14"/>
                      <a:pt x="64" y="14"/>
                    </a:cubicBezTo>
                    <a:cubicBezTo>
                      <a:pt x="64" y="13"/>
                      <a:pt x="64" y="13"/>
                      <a:pt x="64" y="13"/>
                    </a:cubicBezTo>
                    <a:cubicBezTo>
                      <a:pt x="64" y="13"/>
                      <a:pt x="64" y="13"/>
                      <a:pt x="64" y="13"/>
                    </a:cubicBezTo>
                    <a:cubicBezTo>
                      <a:pt x="64" y="13"/>
                      <a:pt x="64" y="13"/>
                      <a:pt x="64" y="13"/>
                    </a:cubicBezTo>
                    <a:cubicBezTo>
                      <a:pt x="64" y="13"/>
                      <a:pt x="64" y="13"/>
                      <a:pt x="64" y="13"/>
                    </a:cubicBezTo>
                    <a:cubicBezTo>
                      <a:pt x="64" y="12"/>
                      <a:pt x="64" y="12"/>
                      <a:pt x="64" y="11"/>
                    </a:cubicBezTo>
                    <a:cubicBezTo>
                      <a:pt x="64" y="11"/>
                      <a:pt x="63" y="11"/>
                      <a:pt x="63" y="10"/>
                    </a:cubicBezTo>
                    <a:cubicBezTo>
                      <a:pt x="63" y="10"/>
                      <a:pt x="63" y="10"/>
                      <a:pt x="63" y="10"/>
                    </a:cubicBezTo>
                    <a:cubicBezTo>
                      <a:pt x="62" y="8"/>
                      <a:pt x="62" y="7"/>
                      <a:pt x="62" y="6"/>
                    </a:cubicBezTo>
                    <a:cubicBezTo>
                      <a:pt x="61" y="5"/>
                      <a:pt x="61" y="4"/>
                      <a:pt x="61" y="4"/>
                    </a:cubicBezTo>
                    <a:cubicBezTo>
                      <a:pt x="61" y="4"/>
                      <a:pt x="61" y="4"/>
                      <a:pt x="61" y="4"/>
                    </a:cubicBezTo>
                    <a:cubicBezTo>
                      <a:pt x="61" y="4"/>
                      <a:pt x="61" y="4"/>
                      <a:pt x="60" y="3"/>
                    </a:cubicBezTo>
                    <a:cubicBezTo>
                      <a:pt x="60" y="3"/>
                      <a:pt x="60" y="3"/>
                      <a:pt x="60" y="3"/>
                    </a:cubicBezTo>
                    <a:cubicBezTo>
                      <a:pt x="59" y="2"/>
                      <a:pt x="59" y="2"/>
                      <a:pt x="59" y="2"/>
                    </a:cubicBezTo>
                    <a:cubicBezTo>
                      <a:pt x="58" y="2"/>
                      <a:pt x="58" y="1"/>
                      <a:pt x="58" y="1"/>
                    </a:cubicBezTo>
                    <a:cubicBezTo>
                      <a:pt x="58" y="1"/>
                      <a:pt x="58" y="1"/>
                      <a:pt x="58" y="1"/>
                    </a:cubicBezTo>
                    <a:cubicBezTo>
                      <a:pt x="58" y="0"/>
                      <a:pt x="58" y="0"/>
                      <a:pt x="58" y="0"/>
                    </a:cubicBezTo>
                    <a:cubicBezTo>
                      <a:pt x="56" y="0"/>
                      <a:pt x="56" y="0"/>
                      <a:pt x="56" y="0"/>
                    </a:cubicBezTo>
                    <a:cubicBezTo>
                      <a:pt x="57" y="3"/>
                      <a:pt x="57" y="3"/>
                      <a:pt x="57" y="3"/>
                    </a:cubicBezTo>
                    <a:cubicBezTo>
                      <a:pt x="57" y="3"/>
                      <a:pt x="57" y="4"/>
                      <a:pt x="57" y="4"/>
                    </a:cubicBezTo>
                    <a:cubicBezTo>
                      <a:pt x="57" y="4"/>
                      <a:pt x="57" y="4"/>
                      <a:pt x="57" y="4"/>
                    </a:cubicBezTo>
                    <a:cubicBezTo>
                      <a:pt x="57" y="4"/>
                      <a:pt x="58" y="4"/>
                      <a:pt x="58" y="4"/>
                    </a:cubicBezTo>
                    <a:cubicBezTo>
                      <a:pt x="58" y="5"/>
                      <a:pt x="58" y="5"/>
                      <a:pt x="58" y="5"/>
                    </a:cubicBezTo>
                    <a:cubicBezTo>
                      <a:pt x="59" y="5"/>
                      <a:pt x="59" y="5"/>
                      <a:pt x="59" y="5"/>
                    </a:cubicBezTo>
                    <a:cubicBezTo>
                      <a:pt x="59" y="5"/>
                      <a:pt x="59" y="5"/>
                      <a:pt x="59" y="5"/>
                    </a:cubicBezTo>
                    <a:cubicBezTo>
                      <a:pt x="60" y="6"/>
                      <a:pt x="61" y="6"/>
                      <a:pt x="61" y="7"/>
                    </a:cubicBezTo>
                    <a:cubicBezTo>
                      <a:pt x="61" y="7"/>
                      <a:pt x="61" y="7"/>
                      <a:pt x="61" y="7"/>
                    </a:cubicBezTo>
                    <a:cubicBezTo>
                      <a:pt x="61" y="7"/>
                      <a:pt x="61" y="7"/>
                      <a:pt x="61" y="7"/>
                    </a:cubicBezTo>
                    <a:cubicBezTo>
                      <a:pt x="61" y="7"/>
                      <a:pt x="61" y="7"/>
                      <a:pt x="61" y="7"/>
                    </a:cubicBezTo>
                    <a:cubicBezTo>
                      <a:pt x="62" y="8"/>
                      <a:pt x="62" y="9"/>
                      <a:pt x="62" y="9"/>
                    </a:cubicBezTo>
                    <a:cubicBezTo>
                      <a:pt x="62" y="10"/>
                      <a:pt x="62" y="10"/>
                      <a:pt x="62" y="10"/>
                    </a:cubicBezTo>
                    <a:cubicBezTo>
                      <a:pt x="62" y="11"/>
                      <a:pt x="62" y="11"/>
                      <a:pt x="62" y="11"/>
                    </a:cubicBezTo>
                    <a:cubicBezTo>
                      <a:pt x="62" y="11"/>
                      <a:pt x="62" y="12"/>
                      <a:pt x="62" y="13"/>
                    </a:cubicBezTo>
                    <a:cubicBezTo>
                      <a:pt x="62" y="14"/>
                      <a:pt x="61" y="14"/>
                      <a:pt x="61" y="15"/>
                    </a:cubicBezTo>
                    <a:cubicBezTo>
                      <a:pt x="60" y="16"/>
                      <a:pt x="60" y="16"/>
                      <a:pt x="59" y="16"/>
                    </a:cubicBezTo>
                    <a:cubicBezTo>
                      <a:pt x="59" y="16"/>
                      <a:pt x="59" y="16"/>
                      <a:pt x="59" y="16"/>
                    </a:cubicBezTo>
                    <a:cubicBezTo>
                      <a:pt x="59" y="17"/>
                      <a:pt x="58" y="17"/>
                      <a:pt x="57" y="17"/>
                    </a:cubicBezTo>
                    <a:cubicBezTo>
                      <a:pt x="57" y="18"/>
                      <a:pt x="57" y="18"/>
                      <a:pt x="57" y="18"/>
                    </a:cubicBezTo>
                    <a:cubicBezTo>
                      <a:pt x="56" y="18"/>
                      <a:pt x="55" y="18"/>
                      <a:pt x="55" y="18"/>
                    </a:cubicBezTo>
                    <a:cubicBezTo>
                      <a:pt x="55" y="18"/>
                      <a:pt x="55" y="18"/>
                      <a:pt x="54" y="18"/>
                    </a:cubicBezTo>
                    <a:cubicBezTo>
                      <a:pt x="54" y="18"/>
                      <a:pt x="54" y="18"/>
                      <a:pt x="54" y="18"/>
                    </a:cubicBezTo>
                    <a:cubicBezTo>
                      <a:pt x="54" y="18"/>
                      <a:pt x="54" y="18"/>
                      <a:pt x="54" y="18"/>
                    </a:cubicBezTo>
                    <a:cubicBezTo>
                      <a:pt x="54" y="18"/>
                      <a:pt x="54" y="18"/>
                      <a:pt x="54" y="18"/>
                    </a:cubicBezTo>
                    <a:cubicBezTo>
                      <a:pt x="54" y="18"/>
                      <a:pt x="54" y="19"/>
                      <a:pt x="54" y="19"/>
                    </a:cubicBezTo>
                    <a:cubicBezTo>
                      <a:pt x="53" y="19"/>
                      <a:pt x="53" y="20"/>
                      <a:pt x="53" y="20"/>
                    </a:cubicBezTo>
                    <a:cubicBezTo>
                      <a:pt x="53" y="20"/>
                      <a:pt x="53" y="20"/>
                      <a:pt x="53" y="20"/>
                    </a:cubicBezTo>
                    <a:cubicBezTo>
                      <a:pt x="53" y="21"/>
                      <a:pt x="53" y="21"/>
                      <a:pt x="53" y="21"/>
                    </a:cubicBezTo>
                    <a:cubicBezTo>
                      <a:pt x="53" y="21"/>
                      <a:pt x="53" y="21"/>
                      <a:pt x="53" y="21"/>
                    </a:cubicBezTo>
                    <a:cubicBezTo>
                      <a:pt x="52" y="21"/>
                      <a:pt x="52" y="21"/>
                      <a:pt x="52" y="21"/>
                    </a:cubicBezTo>
                    <a:cubicBezTo>
                      <a:pt x="52" y="22"/>
                      <a:pt x="52" y="22"/>
                      <a:pt x="51" y="22"/>
                    </a:cubicBezTo>
                    <a:cubicBezTo>
                      <a:pt x="51" y="23"/>
                      <a:pt x="51" y="23"/>
                      <a:pt x="51" y="24"/>
                    </a:cubicBezTo>
                    <a:cubicBezTo>
                      <a:pt x="50" y="24"/>
                      <a:pt x="50" y="24"/>
                      <a:pt x="50" y="24"/>
                    </a:cubicBezTo>
                    <a:cubicBezTo>
                      <a:pt x="50" y="25"/>
                      <a:pt x="50" y="25"/>
                      <a:pt x="50" y="26"/>
                    </a:cubicBezTo>
                    <a:cubicBezTo>
                      <a:pt x="50" y="26"/>
                      <a:pt x="50" y="26"/>
                      <a:pt x="50" y="26"/>
                    </a:cubicBezTo>
                    <a:cubicBezTo>
                      <a:pt x="50" y="27"/>
                      <a:pt x="49" y="28"/>
                      <a:pt x="49" y="28"/>
                    </a:cubicBezTo>
                    <a:cubicBezTo>
                      <a:pt x="49" y="29"/>
                      <a:pt x="49" y="30"/>
                      <a:pt x="48" y="30"/>
                    </a:cubicBezTo>
                    <a:cubicBezTo>
                      <a:pt x="48" y="30"/>
                      <a:pt x="48" y="30"/>
                      <a:pt x="48" y="30"/>
                    </a:cubicBezTo>
                    <a:cubicBezTo>
                      <a:pt x="48" y="30"/>
                      <a:pt x="48" y="31"/>
                      <a:pt x="48" y="31"/>
                    </a:cubicBezTo>
                    <a:cubicBezTo>
                      <a:pt x="48" y="31"/>
                      <a:pt x="48" y="31"/>
                      <a:pt x="48" y="31"/>
                    </a:cubicBezTo>
                    <a:cubicBezTo>
                      <a:pt x="48" y="32"/>
                      <a:pt x="48" y="32"/>
                      <a:pt x="48" y="32"/>
                    </a:cubicBezTo>
                    <a:cubicBezTo>
                      <a:pt x="48" y="32"/>
                      <a:pt x="48" y="32"/>
                      <a:pt x="48" y="32"/>
                    </a:cubicBezTo>
                    <a:cubicBezTo>
                      <a:pt x="48" y="33"/>
                      <a:pt x="47" y="35"/>
                      <a:pt x="46" y="36"/>
                    </a:cubicBezTo>
                    <a:cubicBezTo>
                      <a:pt x="46" y="36"/>
                      <a:pt x="46" y="36"/>
                      <a:pt x="46" y="36"/>
                    </a:cubicBezTo>
                    <a:cubicBezTo>
                      <a:pt x="46" y="36"/>
                      <a:pt x="45" y="36"/>
                      <a:pt x="45" y="36"/>
                    </a:cubicBezTo>
                    <a:cubicBezTo>
                      <a:pt x="45" y="36"/>
                      <a:pt x="45" y="36"/>
                      <a:pt x="45" y="36"/>
                    </a:cubicBezTo>
                    <a:cubicBezTo>
                      <a:pt x="45" y="36"/>
                      <a:pt x="45" y="36"/>
                      <a:pt x="45" y="36"/>
                    </a:cubicBezTo>
                    <a:cubicBezTo>
                      <a:pt x="45" y="36"/>
                      <a:pt x="45" y="36"/>
                      <a:pt x="45" y="36"/>
                    </a:cubicBezTo>
                    <a:cubicBezTo>
                      <a:pt x="44" y="37"/>
                      <a:pt x="44" y="37"/>
                      <a:pt x="44" y="37"/>
                    </a:cubicBezTo>
                    <a:cubicBezTo>
                      <a:pt x="44" y="38"/>
                      <a:pt x="44" y="39"/>
                      <a:pt x="43" y="40"/>
                    </a:cubicBezTo>
                    <a:cubicBezTo>
                      <a:pt x="43" y="41"/>
                      <a:pt x="43" y="42"/>
                      <a:pt x="43" y="43"/>
                    </a:cubicBezTo>
                    <a:cubicBezTo>
                      <a:pt x="42" y="43"/>
                      <a:pt x="42" y="43"/>
                      <a:pt x="42" y="44"/>
                    </a:cubicBezTo>
                    <a:cubicBezTo>
                      <a:pt x="41" y="45"/>
                      <a:pt x="40" y="45"/>
                      <a:pt x="39" y="46"/>
                    </a:cubicBezTo>
                    <a:cubicBezTo>
                      <a:pt x="38" y="46"/>
                      <a:pt x="37" y="46"/>
                      <a:pt x="37" y="47"/>
                    </a:cubicBezTo>
                    <a:cubicBezTo>
                      <a:pt x="37" y="47"/>
                      <a:pt x="37" y="47"/>
                      <a:pt x="37" y="47"/>
                    </a:cubicBezTo>
                    <a:cubicBezTo>
                      <a:pt x="37" y="47"/>
                      <a:pt x="37" y="48"/>
                      <a:pt x="37" y="48"/>
                    </a:cubicBezTo>
                    <a:cubicBezTo>
                      <a:pt x="37" y="49"/>
                      <a:pt x="37" y="49"/>
                      <a:pt x="37" y="50"/>
                    </a:cubicBezTo>
                    <a:cubicBezTo>
                      <a:pt x="34" y="55"/>
                      <a:pt x="34" y="55"/>
                      <a:pt x="34" y="55"/>
                    </a:cubicBezTo>
                    <a:cubicBezTo>
                      <a:pt x="34" y="56"/>
                      <a:pt x="33" y="57"/>
                      <a:pt x="33" y="57"/>
                    </a:cubicBezTo>
                    <a:cubicBezTo>
                      <a:pt x="33" y="58"/>
                      <a:pt x="33" y="58"/>
                      <a:pt x="33" y="58"/>
                    </a:cubicBezTo>
                    <a:cubicBezTo>
                      <a:pt x="33" y="58"/>
                      <a:pt x="33" y="58"/>
                      <a:pt x="33" y="58"/>
                    </a:cubicBezTo>
                    <a:cubicBezTo>
                      <a:pt x="33" y="59"/>
                      <a:pt x="33" y="59"/>
                      <a:pt x="33" y="59"/>
                    </a:cubicBezTo>
                    <a:cubicBezTo>
                      <a:pt x="33" y="59"/>
                      <a:pt x="33" y="59"/>
                      <a:pt x="33" y="60"/>
                    </a:cubicBezTo>
                    <a:cubicBezTo>
                      <a:pt x="34" y="62"/>
                      <a:pt x="34" y="62"/>
                      <a:pt x="34" y="62"/>
                    </a:cubicBezTo>
                    <a:cubicBezTo>
                      <a:pt x="32" y="61"/>
                      <a:pt x="32" y="61"/>
                      <a:pt x="32" y="61"/>
                    </a:cubicBezTo>
                    <a:cubicBezTo>
                      <a:pt x="32" y="61"/>
                      <a:pt x="31" y="63"/>
                      <a:pt x="31" y="63"/>
                    </a:cubicBezTo>
                    <a:cubicBezTo>
                      <a:pt x="31" y="64"/>
                      <a:pt x="31" y="64"/>
                      <a:pt x="31" y="64"/>
                    </a:cubicBezTo>
                    <a:cubicBezTo>
                      <a:pt x="30" y="65"/>
                      <a:pt x="29" y="67"/>
                      <a:pt x="28" y="67"/>
                    </a:cubicBezTo>
                    <a:cubicBezTo>
                      <a:pt x="28" y="67"/>
                      <a:pt x="27" y="67"/>
                      <a:pt x="27" y="67"/>
                    </a:cubicBezTo>
                    <a:cubicBezTo>
                      <a:pt x="27" y="67"/>
                      <a:pt x="27" y="67"/>
                      <a:pt x="27" y="67"/>
                    </a:cubicBezTo>
                    <a:cubicBezTo>
                      <a:pt x="27" y="67"/>
                      <a:pt x="27" y="68"/>
                      <a:pt x="27" y="68"/>
                    </a:cubicBezTo>
                    <a:cubicBezTo>
                      <a:pt x="26" y="68"/>
                      <a:pt x="26" y="68"/>
                      <a:pt x="26" y="68"/>
                    </a:cubicBezTo>
                    <a:cubicBezTo>
                      <a:pt x="25" y="68"/>
                      <a:pt x="24" y="67"/>
                      <a:pt x="24" y="67"/>
                    </a:cubicBezTo>
                    <a:cubicBezTo>
                      <a:pt x="21" y="63"/>
                      <a:pt x="21" y="63"/>
                      <a:pt x="21" y="63"/>
                    </a:cubicBezTo>
                    <a:cubicBezTo>
                      <a:pt x="21" y="63"/>
                      <a:pt x="20" y="62"/>
                      <a:pt x="20" y="61"/>
                    </a:cubicBezTo>
                    <a:cubicBezTo>
                      <a:pt x="20" y="62"/>
                      <a:pt x="19" y="62"/>
                      <a:pt x="19" y="62"/>
                    </a:cubicBezTo>
                    <a:cubicBezTo>
                      <a:pt x="19" y="62"/>
                      <a:pt x="19" y="62"/>
                      <a:pt x="19" y="63"/>
                    </a:cubicBezTo>
                    <a:cubicBezTo>
                      <a:pt x="18" y="63"/>
                      <a:pt x="18" y="63"/>
                      <a:pt x="18" y="63"/>
                    </a:cubicBezTo>
                    <a:cubicBezTo>
                      <a:pt x="18" y="63"/>
                      <a:pt x="17" y="63"/>
                      <a:pt x="17" y="63"/>
                    </a:cubicBezTo>
                    <a:cubicBezTo>
                      <a:pt x="17" y="63"/>
                      <a:pt x="16" y="63"/>
                      <a:pt x="16" y="62"/>
                    </a:cubicBezTo>
                    <a:cubicBezTo>
                      <a:pt x="15" y="62"/>
                      <a:pt x="15" y="62"/>
                      <a:pt x="15" y="62"/>
                    </a:cubicBezTo>
                    <a:cubicBezTo>
                      <a:pt x="14" y="62"/>
                      <a:pt x="14" y="62"/>
                      <a:pt x="12" y="64"/>
                    </a:cubicBezTo>
                    <a:cubicBezTo>
                      <a:pt x="12" y="64"/>
                      <a:pt x="12" y="65"/>
                      <a:pt x="12" y="65"/>
                    </a:cubicBezTo>
                    <a:cubicBezTo>
                      <a:pt x="12" y="65"/>
                      <a:pt x="12" y="65"/>
                      <a:pt x="12" y="65"/>
                    </a:cubicBezTo>
                    <a:cubicBezTo>
                      <a:pt x="12" y="65"/>
                      <a:pt x="12" y="65"/>
                      <a:pt x="12" y="65"/>
                    </a:cubicBezTo>
                    <a:cubicBezTo>
                      <a:pt x="12" y="65"/>
                      <a:pt x="11" y="65"/>
                      <a:pt x="11" y="65"/>
                    </a:cubicBezTo>
                    <a:cubicBezTo>
                      <a:pt x="11" y="66"/>
                      <a:pt x="11" y="67"/>
                      <a:pt x="10" y="67"/>
                    </a:cubicBezTo>
                    <a:cubicBezTo>
                      <a:pt x="10" y="67"/>
                      <a:pt x="10" y="67"/>
                      <a:pt x="10" y="67"/>
                    </a:cubicBezTo>
                    <a:cubicBezTo>
                      <a:pt x="9" y="67"/>
                      <a:pt x="8" y="68"/>
                      <a:pt x="8" y="68"/>
                    </a:cubicBezTo>
                    <a:cubicBezTo>
                      <a:pt x="5" y="72"/>
                      <a:pt x="5" y="72"/>
                      <a:pt x="5" y="72"/>
                    </a:cubicBezTo>
                    <a:cubicBezTo>
                      <a:pt x="4" y="72"/>
                      <a:pt x="4" y="73"/>
                      <a:pt x="3" y="73"/>
                    </a:cubicBezTo>
                    <a:cubicBezTo>
                      <a:pt x="3" y="73"/>
                      <a:pt x="3" y="73"/>
                      <a:pt x="3" y="73"/>
                    </a:cubicBezTo>
                    <a:cubicBezTo>
                      <a:pt x="3" y="73"/>
                      <a:pt x="2" y="74"/>
                      <a:pt x="2" y="74"/>
                    </a:cubicBezTo>
                    <a:cubicBezTo>
                      <a:pt x="2" y="74"/>
                      <a:pt x="2" y="75"/>
                      <a:pt x="2" y="75"/>
                    </a:cubicBezTo>
                    <a:cubicBezTo>
                      <a:pt x="2" y="76"/>
                      <a:pt x="2" y="77"/>
                      <a:pt x="2" y="78"/>
                    </a:cubicBezTo>
                    <a:cubicBezTo>
                      <a:pt x="2" y="79"/>
                      <a:pt x="2" y="79"/>
                      <a:pt x="2" y="79"/>
                    </a:cubicBezTo>
                    <a:cubicBezTo>
                      <a:pt x="2" y="80"/>
                      <a:pt x="2" y="80"/>
                      <a:pt x="2" y="80"/>
                    </a:cubicBezTo>
                    <a:cubicBezTo>
                      <a:pt x="1" y="81"/>
                      <a:pt x="1" y="81"/>
                      <a:pt x="1" y="82"/>
                    </a:cubicBezTo>
                    <a:cubicBezTo>
                      <a:pt x="1" y="82"/>
                      <a:pt x="1" y="82"/>
                      <a:pt x="1" y="82"/>
                    </a:cubicBezTo>
                    <a:cubicBezTo>
                      <a:pt x="0" y="82"/>
                      <a:pt x="0" y="83"/>
                      <a:pt x="0" y="84"/>
                    </a:cubicBezTo>
                    <a:cubicBezTo>
                      <a:pt x="0" y="84"/>
                      <a:pt x="0" y="84"/>
                      <a:pt x="0" y="84"/>
                    </a:cubicBezTo>
                    <a:cubicBezTo>
                      <a:pt x="0" y="84"/>
                      <a:pt x="0" y="84"/>
                      <a:pt x="0" y="84"/>
                    </a:cubicBezTo>
                    <a:cubicBezTo>
                      <a:pt x="0" y="85"/>
                      <a:pt x="1" y="85"/>
                      <a:pt x="1" y="86"/>
                    </a:cubicBezTo>
                    <a:cubicBezTo>
                      <a:pt x="1" y="85"/>
                      <a:pt x="1" y="85"/>
                      <a:pt x="1" y="85"/>
                    </a:cubicBezTo>
                    <a:cubicBezTo>
                      <a:pt x="1" y="86"/>
                      <a:pt x="2" y="87"/>
                      <a:pt x="2" y="89"/>
                    </a:cubicBezTo>
                    <a:cubicBezTo>
                      <a:pt x="3" y="91"/>
                      <a:pt x="3" y="91"/>
                      <a:pt x="5" y="92"/>
                    </a:cubicBezTo>
                    <a:cubicBezTo>
                      <a:pt x="6" y="92"/>
                      <a:pt x="7" y="92"/>
                      <a:pt x="8" y="92"/>
                    </a:cubicBezTo>
                    <a:cubicBezTo>
                      <a:pt x="8" y="92"/>
                      <a:pt x="8" y="91"/>
                      <a:pt x="7" y="91"/>
                    </a:cubicBezTo>
                    <a:cubicBezTo>
                      <a:pt x="8" y="91"/>
                      <a:pt x="8" y="91"/>
                      <a:pt x="8" y="90"/>
                    </a:cubicBezTo>
                    <a:cubicBezTo>
                      <a:pt x="8" y="91"/>
                      <a:pt x="8" y="91"/>
                      <a:pt x="8" y="91"/>
                    </a:cubicBezTo>
                    <a:cubicBezTo>
                      <a:pt x="9" y="91"/>
                      <a:pt x="10" y="90"/>
                      <a:pt x="11" y="90"/>
                    </a:cubicBezTo>
                    <a:cubicBezTo>
                      <a:pt x="10" y="91"/>
                      <a:pt x="10" y="91"/>
                      <a:pt x="9" y="92"/>
                    </a:cubicBezTo>
                    <a:cubicBezTo>
                      <a:pt x="10" y="92"/>
                      <a:pt x="10" y="92"/>
                      <a:pt x="11" y="92"/>
                    </a:cubicBezTo>
                    <a:cubicBezTo>
                      <a:pt x="10" y="93"/>
                      <a:pt x="10" y="93"/>
                      <a:pt x="8" y="94"/>
                    </a:cubicBezTo>
                    <a:cubicBezTo>
                      <a:pt x="9" y="94"/>
                      <a:pt x="9" y="94"/>
                      <a:pt x="9" y="94"/>
                    </a:cubicBezTo>
                    <a:cubicBezTo>
                      <a:pt x="9" y="96"/>
                      <a:pt x="11" y="97"/>
                      <a:pt x="12" y="99"/>
                    </a:cubicBezTo>
                    <a:cubicBezTo>
                      <a:pt x="13" y="100"/>
                      <a:pt x="12" y="102"/>
                      <a:pt x="12"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2" name="Freeform 3064">
                <a:extLst>
                  <a:ext uri="{FF2B5EF4-FFF2-40B4-BE49-F238E27FC236}">
                    <a16:creationId xmlns:a16="http://schemas.microsoft.com/office/drawing/2014/main" id="{15F8C086-B949-4ED9-B787-4F77FED7298E}"/>
                  </a:ext>
                </a:extLst>
              </p:cNvPr>
              <p:cNvSpPr>
                <a:spLocks noEditPoints="1"/>
              </p:cNvSpPr>
              <p:nvPr/>
            </p:nvSpPr>
            <p:spPr bwMode="auto">
              <a:xfrm>
                <a:off x="3615" y="2443"/>
                <a:ext cx="284" cy="232"/>
              </a:xfrm>
              <a:custGeom>
                <a:avLst/>
                <a:gdLst>
                  <a:gd name="T0" fmla="*/ 58 w 120"/>
                  <a:gd name="T1" fmla="*/ 92 h 98"/>
                  <a:gd name="T2" fmla="*/ 61 w 120"/>
                  <a:gd name="T3" fmla="*/ 85 h 98"/>
                  <a:gd name="T4" fmla="*/ 67 w 120"/>
                  <a:gd name="T5" fmla="*/ 76 h 98"/>
                  <a:gd name="T6" fmla="*/ 71 w 120"/>
                  <a:gd name="T7" fmla="*/ 72 h 98"/>
                  <a:gd name="T8" fmla="*/ 78 w 120"/>
                  <a:gd name="T9" fmla="*/ 69 h 98"/>
                  <a:gd name="T10" fmla="*/ 84 w 120"/>
                  <a:gd name="T11" fmla="*/ 71 h 98"/>
                  <a:gd name="T12" fmla="*/ 89 w 120"/>
                  <a:gd name="T13" fmla="*/ 72 h 98"/>
                  <a:gd name="T14" fmla="*/ 95 w 120"/>
                  <a:gd name="T15" fmla="*/ 58 h 98"/>
                  <a:gd name="T16" fmla="*/ 99 w 120"/>
                  <a:gd name="T17" fmla="*/ 52 h 98"/>
                  <a:gd name="T18" fmla="*/ 104 w 120"/>
                  <a:gd name="T19" fmla="*/ 44 h 98"/>
                  <a:gd name="T20" fmla="*/ 106 w 120"/>
                  <a:gd name="T21" fmla="*/ 41 h 98"/>
                  <a:gd name="T22" fmla="*/ 108 w 120"/>
                  <a:gd name="T23" fmla="*/ 37 h 98"/>
                  <a:gd name="T24" fmla="*/ 110 w 120"/>
                  <a:gd name="T25" fmla="*/ 30 h 98"/>
                  <a:gd name="T26" fmla="*/ 112 w 120"/>
                  <a:gd name="T27" fmla="*/ 28 h 98"/>
                  <a:gd name="T28" fmla="*/ 114 w 120"/>
                  <a:gd name="T29" fmla="*/ 25 h 98"/>
                  <a:gd name="T30" fmla="*/ 119 w 120"/>
                  <a:gd name="T31" fmla="*/ 23 h 98"/>
                  <a:gd name="T32" fmla="*/ 120 w 120"/>
                  <a:gd name="T33" fmla="*/ 19 h 98"/>
                  <a:gd name="T34" fmla="*/ 119 w 120"/>
                  <a:gd name="T35" fmla="*/ 16 h 98"/>
                  <a:gd name="T36" fmla="*/ 112 w 120"/>
                  <a:gd name="T37" fmla="*/ 4 h 98"/>
                  <a:gd name="T38" fmla="*/ 110 w 120"/>
                  <a:gd name="T39" fmla="*/ 2 h 98"/>
                  <a:gd name="T40" fmla="*/ 107 w 120"/>
                  <a:gd name="T41" fmla="*/ 2 h 98"/>
                  <a:gd name="T42" fmla="*/ 104 w 120"/>
                  <a:gd name="T43" fmla="*/ 4 h 98"/>
                  <a:gd name="T44" fmla="*/ 98 w 120"/>
                  <a:gd name="T45" fmla="*/ 8 h 98"/>
                  <a:gd name="T46" fmla="*/ 85 w 120"/>
                  <a:gd name="T47" fmla="*/ 5 h 98"/>
                  <a:gd name="T48" fmla="*/ 75 w 120"/>
                  <a:gd name="T49" fmla="*/ 7 h 98"/>
                  <a:gd name="T50" fmla="*/ 70 w 120"/>
                  <a:gd name="T51" fmla="*/ 11 h 98"/>
                  <a:gd name="T52" fmla="*/ 67 w 120"/>
                  <a:gd name="T53" fmla="*/ 11 h 98"/>
                  <a:gd name="T54" fmla="*/ 57 w 120"/>
                  <a:gd name="T55" fmla="*/ 7 h 98"/>
                  <a:gd name="T56" fmla="*/ 53 w 120"/>
                  <a:gd name="T57" fmla="*/ 6 h 98"/>
                  <a:gd name="T58" fmla="*/ 46 w 120"/>
                  <a:gd name="T59" fmla="*/ 8 h 98"/>
                  <a:gd name="T60" fmla="*/ 36 w 120"/>
                  <a:gd name="T61" fmla="*/ 2 h 98"/>
                  <a:gd name="T62" fmla="*/ 29 w 120"/>
                  <a:gd name="T63" fmla="*/ 0 h 98"/>
                  <a:gd name="T64" fmla="*/ 15 w 120"/>
                  <a:gd name="T65" fmla="*/ 4 h 98"/>
                  <a:gd name="T66" fmla="*/ 15 w 120"/>
                  <a:gd name="T67" fmla="*/ 6 h 98"/>
                  <a:gd name="T68" fmla="*/ 12 w 120"/>
                  <a:gd name="T69" fmla="*/ 12 h 98"/>
                  <a:gd name="T70" fmla="*/ 10 w 120"/>
                  <a:gd name="T71" fmla="*/ 15 h 98"/>
                  <a:gd name="T72" fmla="*/ 10 w 120"/>
                  <a:gd name="T73" fmla="*/ 23 h 98"/>
                  <a:gd name="T74" fmla="*/ 10 w 120"/>
                  <a:gd name="T75" fmla="*/ 26 h 98"/>
                  <a:gd name="T76" fmla="*/ 12 w 120"/>
                  <a:gd name="T77" fmla="*/ 32 h 98"/>
                  <a:gd name="T78" fmla="*/ 10 w 120"/>
                  <a:gd name="T79" fmla="*/ 36 h 98"/>
                  <a:gd name="T80" fmla="*/ 6 w 120"/>
                  <a:gd name="T81" fmla="*/ 44 h 98"/>
                  <a:gd name="T82" fmla="*/ 1 w 120"/>
                  <a:gd name="T83" fmla="*/ 50 h 98"/>
                  <a:gd name="T84" fmla="*/ 1 w 120"/>
                  <a:gd name="T85" fmla="*/ 61 h 98"/>
                  <a:gd name="T86" fmla="*/ 1 w 120"/>
                  <a:gd name="T87" fmla="*/ 71 h 98"/>
                  <a:gd name="T88" fmla="*/ 6 w 120"/>
                  <a:gd name="T89" fmla="*/ 73 h 98"/>
                  <a:gd name="T90" fmla="*/ 9 w 120"/>
                  <a:gd name="T91" fmla="*/ 75 h 98"/>
                  <a:gd name="T92" fmla="*/ 23 w 120"/>
                  <a:gd name="T93" fmla="*/ 82 h 98"/>
                  <a:gd name="T94" fmla="*/ 28 w 120"/>
                  <a:gd name="T95" fmla="*/ 84 h 98"/>
                  <a:gd name="T96" fmla="*/ 28 w 120"/>
                  <a:gd name="T97" fmla="*/ 91 h 98"/>
                  <a:gd name="T98" fmla="*/ 37 w 120"/>
                  <a:gd name="T99" fmla="*/ 97 h 98"/>
                  <a:gd name="T100" fmla="*/ 41 w 120"/>
                  <a:gd name="T101" fmla="*/ 95 h 98"/>
                  <a:gd name="T102" fmla="*/ 42 w 120"/>
                  <a:gd name="T103" fmla="*/ 94 h 98"/>
                  <a:gd name="T104" fmla="*/ 45 w 120"/>
                  <a:gd name="T105" fmla="*/ 96 h 98"/>
                  <a:gd name="T106" fmla="*/ 47 w 120"/>
                  <a:gd name="T107" fmla="*/ 95 h 98"/>
                  <a:gd name="T108" fmla="*/ 55 w 120"/>
                  <a:gd name="T109"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58" y="93"/>
                    </a:moveTo>
                    <a:cubicBezTo>
                      <a:pt x="58" y="93"/>
                      <a:pt x="58" y="93"/>
                      <a:pt x="58" y="93"/>
                    </a:cubicBezTo>
                    <a:cubicBezTo>
                      <a:pt x="58" y="92"/>
                      <a:pt x="58" y="92"/>
                      <a:pt x="58" y="92"/>
                    </a:cubicBezTo>
                    <a:cubicBezTo>
                      <a:pt x="58" y="92"/>
                      <a:pt x="58" y="92"/>
                      <a:pt x="58" y="92"/>
                    </a:cubicBezTo>
                    <a:cubicBezTo>
                      <a:pt x="58" y="92"/>
                      <a:pt x="58" y="92"/>
                      <a:pt x="58" y="92"/>
                    </a:cubicBezTo>
                    <a:cubicBezTo>
                      <a:pt x="59" y="91"/>
                      <a:pt x="59" y="90"/>
                      <a:pt x="60" y="89"/>
                    </a:cubicBezTo>
                    <a:cubicBezTo>
                      <a:pt x="60" y="89"/>
                      <a:pt x="60" y="89"/>
                      <a:pt x="60" y="88"/>
                    </a:cubicBezTo>
                    <a:cubicBezTo>
                      <a:pt x="60" y="88"/>
                      <a:pt x="60" y="88"/>
                      <a:pt x="60" y="88"/>
                    </a:cubicBezTo>
                    <a:cubicBezTo>
                      <a:pt x="61" y="87"/>
                      <a:pt x="61" y="87"/>
                      <a:pt x="61" y="86"/>
                    </a:cubicBezTo>
                    <a:cubicBezTo>
                      <a:pt x="61" y="86"/>
                      <a:pt x="61" y="85"/>
                      <a:pt x="61" y="85"/>
                    </a:cubicBezTo>
                    <a:cubicBezTo>
                      <a:pt x="61" y="84"/>
                      <a:pt x="61" y="82"/>
                      <a:pt x="61" y="81"/>
                    </a:cubicBezTo>
                    <a:cubicBezTo>
                      <a:pt x="62" y="81"/>
                      <a:pt x="62" y="80"/>
                      <a:pt x="63" y="80"/>
                    </a:cubicBezTo>
                    <a:cubicBezTo>
                      <a:pt x="63" y="80"/>
                      <a:pt x="63" y="80"/>
                      <a:pt x="63" y="80"/>
                    </a:cubicBezTo>
                    <a:cubicBezTo>
                      <a:pt x="63" y="80"/>
                      <a:pt x="64" y="79"/>
                      <a:pt x="64" y="79"/>
                    </a:cubicBezTo>
                    <a:cubicBezTo>
                      <a:pt x="67" y="76"/>
                      <a:pt x="67" y="76"/>
                      <a:pt x="67" y="76"/>
                    </a:cubicBezTo>
                    <a:cubicBezTo>
                      <a:pt x="68" y="75"/>
                      <a:pt x="68" y="74"/>
                      <a:pt x="69" y="74"/>
                    </a:cubicBezTo>
                    <a:cubicBezTo>
                      <a:pt x="69" y="74"/>
                      <a:pt x="69" y="74"/>
                      <a:pt x="69" y="74"/>
                    </a:cubicBezTo>
                    <a:cubicBezTo>
                      <a:pt x="70" y="74"/>
                      <a:pt x="70" y="73"/>
                      <a:pt x="70" y="73"/>
                    </a:cubicBezTo>
                    <a:cubicBezTo>
                      <a:pt x="70" y="73"/>
                      <a:pt x="70" y="73"/>
                      <a:pt x="70" y="73"/>
                    </a:cubicBezTo>
                    <a:cubicBezTo>
                      <a:pt x="70" y="73"/>
                      <a:pt x="70" y="73"/>
                      <a:pt x="71" y="72"/>
                    </a:cubicBezTo>
                    <a:cubicBezTo>
                      <a:pt x="71" y="72"/>
                      <a:pt x="71" y="72"/>
                      <a:pt x="71" y="72"/>
                    </a:cubicBezTo>
                    <a:cubicBezTo>
                      <a:pt x="71" y="72"/>
                      <a:pt x="71" y="72"/>
                      <a:pt x="72" y="71"/>
                    </a:cubicBezTo>
                    <a:cubicBezTo>
                      <a:pt x="73" y="70"/>
                      <a:pt x="74" y="69"/>
                      <a:pt x="75" y="68"/>
                    </a:cubicBezTo>
                    <a:cubicBezTo>
                      <a:pt x="77" y="68"/>
                      <a:pt x="78" y="69"/>
                      <a:pt x="78" y="69"/>
                    </a:cubicBezTo>
                    <a:cubicBezTo>
                      <a:pt x="78" y="69"/>
                      <a:pt x="78" y="69"/>
                      <a:pt x="78" y="69"/>
                    </a:cubicBezTo>
                    <a:cubicBezTo>
                      <a:pt x="78" y="69"/>
                      <a:pt x="79" y="69"/>
                      <a:pt x="79" y="69"/>
                    </a:cubicBezTo>
                    <a:cubicBezTo>
                      <a:pt x="79" y="69"/>
                      <a:pt x="79" y="69"/>
                      <a:pt x="79" y="69"/>
                    </a:cubicBezTo>
                    <a:cubicBezTo>
                      <a:pt x="79" y="66"/>
                      <a:pt x="79" y="66"/>
                      <a:pt x="79" y="66"/>
                    </a:cubicBezTo>
                    <a:cubicBezTo>
                      <a:pt x="81" y="67"/>
                      <a:pt x="81" y="67"/>
                      <a:pt x="81" y="67"/>
                    </a:cubicBezTo>
                    <a:cubicBezTo>
                      <a:pt x="82" y="68"/>
                      <a:pt x="84" y="70"/>
                      <a:pt x="84" y="71"/>
                    </a:cubicBezTo>
                    <a:cubicBezTo>
                      <a:pt x="87" y="74"/>
                      <a:pt x="87" y="74"/>
                      <a:pt x="87" y="74"/>
                    </a:cubicBezTo>
                    <a:cubicBezTo>
                      <a:pt x="87" y="74"/>
                      <a:pt x="87" y="74"/>
                      <a:pt x="87" y="74"/>
                    </a:cubicBezTo>
                    <a:cubicBezTo>
                      <a:pt x="87" y="74"/>
                      <a:pt x="87" y="74"/>
                      <a:pt x="87" y="74"/>
                    </a:cubicBezTo>
                    <a:cubicBezTo>
                      <a:pt x="88" y="74"/>
                      <a:pt x="88" y="74"/>
                      <a:pt x="88" y="74"/>
                    </a:cubicBezTo>
                    <a:cubicBezTo>
                      <a:pt x="88" y="74"/>
                      <a:pt x="89" y="72"/>
                      <a:pt x="89" y="72"/>
                    </a:cubicBezTo>
                    <a:cubicBezTo>
                      <a:pt x="90" y="70"/>
                      <a:pt x="91" y="69"/>
                      <a:pt x="91" y="68"/>
                    </a:cubicBezTo>
                    <a:cubicBezTo>
                      <a:pt x="91" y="68"/>
                      <a:pt x="91" y="67"/>
                      <a:pt x="91" y="66"/>
                    </a:cubicBezTo>
                    <a:cubicBezTo>
                      <a:pt x="92" y="65"/>
                      <a:pt x="92" y="65"/>
                      <a:pt x="92" y="65"/>
                    </a:cubicBezTo>
                    <a:cubicBezTo>
                      <a:pt x="92" y="65"/>
                      <a:pt x="93" y="64"/>
                      <a:pt x="93" y="63"/>
                    </a:cubicBezTo>
                    <a:cubicBezTo>
                      <a:pt x="95" y="58"/>
                      <a:pt x="95" y="58"/>
                      <a:pt x="95" y="58"/>
                    </a:cubicBezTo>
                    <a:cubicBezTo>
                      <a:pt x="96" y="58"/>
                      <a:pt x="96" y="57"/>
                      <a:pt x="96" y="57"/>
                    </a:cubicBezTo>
                    <a:cubicBezTo>
                      <a:pt x="96" y="57"/>
                      <a:pt x="96" y="56"/>
                      <a:pt x="96" y="55"/>
                    </a:cubicBezTo>
                    <a:cubicBezTo>
                      <a:pt x="96" y="55"/>
                      <a:pt x="96" y="55"/>
                      <a:pt x="96" y="55"/>
                    </a:cubicBezTo>
                    <a:cubicBezTo>
                      <a:pt x="96" y="55"/>
                      <a:pt x="96" y="55"/>
                      <a:pt x="96" y="55"/>
                    </a:cubicBezTo>
                    <a:cubicBezTo>
                      <a:pt x="97" y="54"/>
                      <a:pt x="98" y="53"/>
                      <a:pt x="99" y="52"/>
                    </a:cubicBezTo>
                    <a:cubicBezTo>
                      <a:pt x="100" y="52"/>
                      <a:pt x="101" y="52"/>
                      <a:pt x="101" y="51"/>
                    </a:cubicBezTo>
                    <a:cubicBezTo>
                      <a:pt x="101" y="51"/>
                      <a:pt x="101" y="51"/>
                      <a:pt x="101" y="50"/>
                    </a:cubicBezTo>
                    <a:cubicBezTo>
                      <a:pt x="102" y="50"/>
                      <a:pt x="102" y="49"/>
                      <a:pt x="102" y="48"/>
                    </a:cubicBezTo>
                    <a:cubicBezTo>
                      <a:pt x="102" y="47"/>
                      <a:pt x="102" y="47"/>
                      <a:pt x="103" y="46"/>
                    </a:cubicBezTo>
                    <a:cubicBezTo>
                      <a:pt x="103" y="45"/>
                      <a:pt x="103" y="44"/>
                      <a:pt x="104" y="44"/>
                    </a:cubicBezTo>
                    <a:cubicBezTo>
                      <a:pt x="104" y="43"/>
                      <a:pt x="104" y="43"/>
                      <a:pt x="105" y="43"/>
                    </a:cubicBezTo>
                    <a:cubicBezTo>
                      <a:pt x="105" y="43"/>
                      <a:pt x="105" y="43"/>
                      <a:pt x="105" y="43"/>
                    </a:cubicBezTo>
                    <a:cubicBezTo>
                      <a:pt x="105" y="43"/>
                      <a:pt x="106" y="43"/>
                      <a:pt x="106" y="43"/>
                    </a:cubicBezTo>
                    <a:cubicBezTo>
                      <a:pt x="106" y="42"/>
                      <a:pt x="106" y="42"/>
                      <a:pt x="106" y="41"/>
                    </a:cubicBezTo>
                    <a:cubicBezTo>
                      <a:pt x="106" y="41"/>
                      <a:pt x="106" y="41"/>
                      <a:pt x="106" y="41"/>
                    </a:cubicBezTo>
                    <a:cubicBezTo>
                      <a:pt x="106" y="41"/>
                      <a:pt x="106" y="40"/>
                      <a:pt x="106" y="40"/>
                    </a:cubicBezTo>
                    <a:cubicBezTo>
                      <a:pt x="106" y="40"/>
                      <a:pt x="106" y="40"/>
                      <a:pt x="106" y="40"/>
                    </a:cubicBezTo>
                    <a:cubicBezTo>
                      <a:pt x="106" y="40"/>
                      <a:pt x="106" y="40"/>
                      <a:pt x="106" y="40"/>
                    </a:cubicBezTo>
                    <a:cubicBezTo>
                      <a:pt x="106" y="39"/>
                      <a:pt x="107" y="38"/>
                      <a:pt x="107" y="37"/>
                    </a:cubicBezTo>
                    <a:cubicBezTo>
                      <a:pt x="108" y="37"/>
                      <a:pt x="108" y="37"/>
                      <a:pt x="108" y="37"/>
                    </a:cubicBezTo>
                    <a:cubicBezTo>
                      <a:pt x="108" y="36"/>
                      <a:pt x="108" y="35"/>
                      <a:pt x="108" y="35"/>
                    </a:cubicBezTo>
                    <a:cubicBezTo>
                      <a:pt x="109" y="34"/>
                      <a:pt x="109" y="34"/>
                      <a:pt x="109" y="34"/>
                    </a:cubicBezTo>
                    <a:cubicBezTo>
                      <a:pt x="109" y="34"/>
                      <a:pt x="109" y="33"/>
                      <a:pt x="109" y="33"/>
                    </a:cubicBezTo>
                    <a:cubicBezTo>
                      <a:pt x="109" y="32"/>
                      <a:pt x="109" y="32"/>
                      <a:pt x="109" y="32"/>
                    </a:cubicBezTo>
                    <a:cubicBezTo>
                      <a:pt x="109" y="31"/>
                      <a:pt x="110" y="30"/>
                      <a:pt x="110" y="30"/>
                    </a:cubicBezTo>
                    <a:cubicBezTo>
                      <a:pt x="111" y="30"/>
                      <a:pt x="111" y="29"/>
                      <a:pt x="111" y="29"/>
                    </a:cubicBezTo>
                    <a:cubicBezTo>
                      <a:pt x="109" y="28"/>
                      <a:pt x="109" y="28"/>
                      <a:pt x="109" y="28"/>
                    </a:cubicBezTo>
                    <a:cubicBezTo>
                      <a:pt x="111" y="29"/>
                      <a:pt x="111" y="29"/>
                      <a:pt x="111" y="29"/>
                    </a:cubicBezTo>
                    <a:cubicBezTo>
                      <a:pt x="111" y="29"/>
                      <a:pt x="111" y="29"/>
                      <a:pt x="111" y="29"/>
                    </a:cubicBezTo>
                    <a:cubicBezTo>
                      <a:pt x="112" y="28"/>
                      <a:pt x="112" y="28"/>
                      <a:pt x="112" y="28"/>
                    </a:cubicBezTo>
                    <a:cubicBezTo>
                      <a:pt x="112" y="28"/>
                      <a:pt x="112" y="28"/>
                      <a:pt x="112" y="28"/>
                    </a:cubicBezTo>
                    <a:cubicBezTo>
                      <a:pt x="112" y="28"/>
                      <a:pt x="112" y="27"/>
                      <a:pt x="112" y="27"/>
                    </a:cubicBezTo>
                    <a:cubicBezTo>
                      <a:pt x="113" y="26"/>
                      <a:pt x="113" y="26"/>
                      <a:pt x="113" y="25"/>
                    </a:cubicBezTo>
                    <a:cubicBezTo>
                      <a:pt x="113" y="25"/>
                      <a:pt x="114" y="25"/>
                      <a:pt x="114" y="25"/>
                    </a:cubicBezTo>
                    <a:cubicBezTo>
                      <a:pt x="114" y="25"/>
                      <a:pt x="114" y="25"/>
                      <a:pt x="114" y="25"/>
                    </a:cubicBezTo>
                    <a:cubicBezTo>
                      <a:pt x="115" y="25"/>
                      <a:pt x="115" y="25"/>
                      <a:pt x="115" y="24"/>
                    </a:cubicBezTo>
                    <a:cubicBezTo>
                      <a:pt x="116" y="24"/>
                      <a:pt x="116" y="25"/>
                      <a:pt x="116" y="25"/>
                    </a:cubicBezTo>
                    <a:cubicBezTo>
                      <a:pt x="117" y="25"/>
                      <a:pt x="117" y="25"/>
                      <a:pt x="117" y="25"/>
                    </a:cubicBezTo>
                    <a:cubicBezTo>
                      <a:pt x="117" y="24"/>
                      <a:pt x="117" y="24"/>
                      <a:pt x="117" y="24"/>
                    </a:cubicBezTo>
                    <a:cubicBezTo>
                      <a:pt x="118" y="24"/>
                      <a:pt x="118" y="24"/>
                      <a:pt x="119" y="23"/>
                    </a:cubicBezTo>
                    <a:cubicBezTo>
                      <a:pt x="119" y="23"/>
                      <a:pt x="119" y="23"/>
                      <a:pt x="119" y="23"/>
                    </a:cubicBezTo>
                    <a:cubicBezTo>
                      <a:pt x="119" y="23"/>
                      <a:pt x="120" y="23"/>
                      <a:pt x="120" y="22"/>
                    </a:cubicBezTo>
                    <a:cubicBezTo>
                      <a:pt x="120" y="22"/>
                      <a:pt x="120" y="22"/>
                      <a:pt x="120" y="22"/>
                    </a:cubicBezTo>
                    <a:cubicBezTo>
                      <a:pt x="120" y="21"/>
                      <a:pt x="120" y="20"/>
                      <a:pt x="120" y="20"/>
                    </a:cubicBezTo>
                    <a:cubicBezTo>
                      <a:pt x="120" y="19"/>
                      <a:pt x="120" y="19"/>
                      <a:pt x="120" y="19"/>
                    </a:cubicBezTo>
                    <a:cubicBezTo>
                      <a:pt x="120" y="19"/>
                      <a:pt x="120" y="19"/>
                      <a:pt x="120" y="18"/>
                    </a:cubicBezTo>
                    <a:cubicBezTo>
                      <a:pt x="120" y="18"/>
                      <a:pt x="120" y="18"/>
                      <a:pt x="120" y="17"/>
                    </a:cubicBezTo>
                    <a:cubicBezTo>
                      <a:pt x="120" y="17"/>
                      <a:pt x="120" y="17"/>
                      <a:pt x="120" y="17"/>
                    </a:cubicBezTo>
                    <a:cubicBezTo>
                      <a:pt x="120" y="17"/>
                      <a:pt x="119" y="16"/>
                      <a:pt x="119" y="16"/>
                    </a:cubicBezTo>
                    <a:cubicBezTo>
                      <a:pt x="119" y="16"/>
                      <a:pt x="119" y="16"/>
                      <a:pt x="119" y="16"/>
                    </a:cubicBezTo>
                    <a:cubicBezTo>
                      <a:pt x="118" y="16"/>
                      <a:pt x="118" y="16"/>
                      <a:pt x="118" y="16"/>
                    </a:cubicBezTo>
                    <a:cubicBezTo>
                      <a:pt x="117" y="15"/>
                      <a:pt x="116" y="15"/>
                      <a:pt x="115" y="13"/>
                    </a:cubicBezTo>
                    <a:cubicBezTo>
                      <a:pt x="115" y="13"/>
                      <a:pt x="115" y="13"/>
                      <a:pt x="115" y="13"/>
                    </a:cubicBezTo>
                    <a:cubicBezTo>
                      <a:pt x="114" y="7"/>
                      <a:pt x="114" y="7"/>
                      <a:pt x="114" y="7"/>
                    </a:cubicBezTo>
                    <a:cubicBezTo>
                      <a:pt x="112" y="4"/>
                      <a:pt x="112" y="4"/>
                      <a:pt x="112" y="4"/>
                    </a:cubicBezTo>
                    <a:cubicBezTo>
                      <a:pt x="112" y="4"/>
                      <a:pt x="112" y="4"/>
                      <a:pt x="112" y="3"/>
                    </a:cubicBezTo>
                    <a:cubicBezTo>
                      <a:pt x="111" y="3"/>
                      <a:pt x="111" y="3"/>
                      <a:pt x="111" y="2"/>
                    </a:cubicBezTo>
                    <a:cubicBezTo>
                      <a:pt x="111" y="2"/>
                      <a:pt x="111" y="2"/>
                      <a:pt x="111" y="2"/>
                    </a:cubicBezTo>
                    <a:cubicBezTo>
                      <a:pt x="110" y="2"/>
                      <a:pt x="110" y="2"/>
                      <a:pt x="110" y="2"/>
                    </a:cubicBezTo>
                    <a:cubicBezTo>
                      <a:pt x="110" y="2"/>
                      <a:pt x="110" y="2"/>
                      <a:pt x="110" y="2"/>
                    </a:cubicBezTo>
                    <a:cubicBezTo>
                      <a:pt x="110" y="2"/>
                      <a:pt x="110" y="2"/>
                      <a:pt x="110" y="2"/>
                    </a:cubicBezTo>
                    <a:cubicBezTo>
                      <a:pt x="110" y="2"/>
                      <a:pt x="109" y="2"/>
                      <a:pt x="109" y="2"/>
                    </a:cubicBezTo>
                    <a:cubicBezTo>
                      <a:pt x="109" y="2"/>
                      <a:pt x="109" y="2"/>
                      <a:pt x="109" y="2"/>
                    </a:cubicBezTo>
                    <a:cubicBezTo>
                      <a:pt x="109" y="2"/>
                      <a:pt x="108" y="2"/>
                      <a:pt x="108" y="2"/>
                    </a:cubicBezTo>
                    <a:cubicBezTo>
                      <a:pt x="108" y="2"/>
                      <a:pt x="107" y="2"/>
                      <a:pt x="107" y="2"/>
                    </a:cubicBezTo>
                    <a:cubicBezTo>
                      <a:pt x="106" y="3"/>
                      <a:pt x="106" y="3"/>
                      <a:pt x="106" y="3"/>
                    </a:cubicBezTo>
                    <a:cubicBezTo>
                      <a:pt x="106" y="3"/>
                      <a:pt x="106" y="3"/>
                      <a:pt x="106" y="3"/>
                    </a:cubicBezTo>
                    <a:cubicBezTo>
                      <a:pt x="105" y="3"/>
                      <a:pt x="105" y="3"/>
                      <a:pt x="105" y="3"/>
                    </a:cubicBezTo>
                    <a:cubicBezTo>
                      <a:pt x="105" y="3"/>
                      <a:pt x="105" y="3"/>
                      <a:pt x="105" y="3"/>
                    </a:cubicBezTo>
                    <a:cubicBezTo>
                      <a:pt x="105" y="4"/>
                      <a:pt x="104" y="4"/>
                      <a:pt x="104" y="4"/>
                    </a:cubicBezTo>
                    <a:cubicBezTo>
                      <a:pt x="104" y="4"/>
                      <a:pt x="103" y="4"/>
                      <a:pt x="103" y="4"/>
                    </a:cubicBezTo>
                    <a:cubicBezTo>
                      <a:pt x="99" y="8"/>
                      <a:pt x="99" y="8"/>
                      <a:pt x="99" y="8"/>
                    </a:cubicBezTo>
                    <a:cubicBezTo>
                      <a:pt x="99" y="8"/>
                      <a:pt x="99" y="8"/>
                      <a:pt x="99" y="8"/>
                    </a:cubicBezTo>
                    <a:cubicBezTo>
                      <a:pt x="99" y="8"/>
                      <a:pt x="99" y="8"/>
                      <a:pt x="99" y="8"/>
                    </a:cubicBezTo>
                    <a:cubicBezTo>
                      <a:pt x="98" y="8"/>
                      <a:pt x="98" y="8"/>
                      <a:pt x="98" y="8"/>
                    </a:cubicBezTo>
                    <a:cubicBezTo>
                      <a:pt x="90" y="6"/>
                      <a:pt x="90" y="6"/>
                      <a:pt x="90" y="6"/>
                    </a:cubicBezTo>
                    <a:cubicBezTo>
                      <a:pt x="90" y="6"/>
                      <a:pt x="89" y="5"/>
                      <a:pt x="89" y="5"/>
                    </a:cubicBezTo>
                    <a:cubicBezTo>
                      <a:pt x="88" y="5"/>
                      <a:pt x="88" y="5"/>
                      <a:pt x="88" y="5"/>
                    </a:cubicBezTo>
                    <a:cubicBezTo>
                      <a:pt x="88" y="5"/>
                      <a:pt x="87" y="5"/>
                      <a:pt x="86" y="5"/>
                    </a:cubicBezTo>
                    <a:cubicBezTo>
                      <a:pt x="85" y="5"/>
                      <a:pt x="85" y="5"/>
                      <a:pt x="85" y="5"/>
                    </a:cubicBezTo>
                    <a:cubicBezTo>
                      <a:pt x="85" y="5"/>
                      <a:pt x="84" y="5"/>
                      <a:pt x="83" y="5"/>
                    </a:cubicBezTo>
                    <a:cubicBezTo>
                      <a:pt x="82" y="5"/>
                      <a:pt x="82" y="5"/>
                      <a:pt x="82" y="5"/>
                    </a:cubicBezTo>
                    <a:cubicBezTo>
                      <a:pt x="82" y="5"/>
                      <a:pt x="81" y="5"/>
                      <a:pt x="81" y="5"/>
                    </a:cubicBezTo>
                    <a:cubicBezTo>
                      <a:pt x="80" y="5"/>
                      <a:pt x="79" y="5"/>
                      <a:pt x="78" y="6"/>
                    </a:cubicBezTo>
                    <a:cubicBezTo>
                      <a:pt x="77" y="6"/>
                      <a:pt x="75" y="6"/>
                      <a:pt x="75" y="7"/>
                    </a:cubicBezTo>
                    <a:cubicBezTo>
                      <a:pt x="74" y="7"/>
                      <a:pt x="74" y="8"/>
                      <a:pt x="73" y="9"/>
                    </a:cubicBezTo>
                    <a:cubicBezTo>
                      <a:pt x="72" y="10"/>
                      <a:pt x="72" y="10"/>
                      <a:pt x="72" y="10"/>
                    </a:cubicBezTo>
                    <a:cubicBezTo>
                      <a:pt x="72" y="10"/>
                      <a:pt x="71" y="11"/>
                      <a:pt x="71" y="11"/>
                    </a:cubicBezTo>
                    <a:cubicBezTo>
                      <a:pt x="71" y="11"/>
                      <a:pt x="71" y="11"/>
                      <a:pt x="71" y="11"/>
                    </a:cubicBezTo>
                    <a:cubicBezTo>
                      <a:pt x="71" y="11"/>
                      <a:pt x="70" y="11"/>
                      <a:pt x="70" y="11"/>
                    </a:cubicBezTo>
                    <a:cubicBezTo>
                      <a:pt x="70" y="11"/>
                      <a:pt x="70" y="11"/>
                      <a:pt x="69" y="11"/>
                    </a:cubicBezTo>
                    <a:cubicBezTo>
                      <a:pt x="69" y="11"/>
                      <a:pt x="69" y="11"/>
                      <a:pt x="68" y="11"/>
                    </a:cubicBezTo>
                    <a:cubicBezTo>
                      <a:pt x="68" y="11"/>
                      <a:pt x="68" y="11"/>
                      <a:pt x="68" y="11"/>
                    </a:cubicBezTo>
                    <a:cubicBezTo>
                      <a:pt x="67" y="11"/>
                      <a:pt x="67" y="11"/>
                      <a:pt x="67" y="11"/>
                    </a:cubicBezTo>
                    <a:cubicBezTo>
                      <a:pt x="67" y="11"/>
                      <a:pt x="67" y="11"/>
                      <a:pt x="67" y="11"/>
                    </a:cubicBezTo>
                    <a:cubicBezTo>
                      <a:pt x="67" y="11"/>
                      <a:pt x="67" y="11"/>
                      <a:pt x="67" y="11"/>
                    </a:cubicBezTo>
                    <a:cubicBezTo>
                      <a:pt x="64" y="11"/>
                      <a:pt x="62" y="10"/>
                      <a:pt x="60" y="9"/>
                    </a:cubicBezTo>
                    <a:cubicBezTo>
                      <a:pt x="58" y="8"/>
                      <a:pt x="58" y="8"/>
                      <a:pt x="58" y="8"/>
                    </a:cubicBezTo>
                    <a:cubicBezTo>
                      <a:pt x="58" y="8"/>
                      <a:pt x="57" y="8"/>
                      <a:pt x="57" y="7"/>
                    </a:cubicBezTo>
                    <a:cubicBezTo>
                      <a:pt x="57" y="7"/>
                      <a:pt x="57" y="7"/>
                      <a:pt x="57" y="7"/>
                    </a:cubicBezTo>
                    <a:cubicBezTo>
                      <a:pt x="56" y="7"/>
                      <a:pt x="55" y="6"/>
                      <a:pt x="54" y="6"/>
                    </a:cubicBezTo>
                    <a:cubicBezTo>
                      <a:pt x="54" y="6"/>
                      <a:pt x="54" y="6"/>
                      <a:pt x="54" y="6"/>
                    </a:cubicBezTo>
                    <a:cubicBezTo>
                      <a:pt x="53" y="7"/>
                      <a:pt x="53" y="7"/>
                      <a:pt x="53" y="7"/>
                    </a:cubicBezTo>
                    <a:cubicBezTo>
                      <a:pt x="54" y="6"/>
                      <a:pt x="54" y="6"/>
                      <a:pt x="54" y="6"/>
                    </a:cubicBezTo>
                    <a:cubicBezTo>
                      <a:pt x="53" y="6"/>
                      <a:pt x="53" y="6"/>
                      <a:pt x="53" y="6"/>
                    </a:cubicBezTo>
                    <a:cubicBezTo>
                      <a:pt x="53" y="6"/>
                      <a:pt x="52" y="6"/>
                      <a:pt x="52" y="6"/>
                    </a:cubicBezTo>
                    <a:cubicBezTo>
                      <a:pt x="51" y="6"/>
                      <a:pt x="50" y="7"/>
                      <a:pt x="48" y="7"/>
                    </a:cubicBezTo>
                    <a:cubicBezTo>
                      <a:pt x="48" y="7"/>
                      <a:pt x="47" y="8"/>
                      <a:pt x="47" y="8"/>
                    </a:cubicBezTo>
                    <a:cubicBezTo>
                      <a:pt x="47" y="8"/>
                      <a:pt x="47" y="8"/>
                      <a:pt x="46" y="8"/>
                    </a:cubicBezTo>
                    <a:cubicBezTo>
                      <a:pt x="46" y="8"/>
                      <a:pt x="46" y="8"/>
                      <a:pt x="46" y="8"/>
                    </a:cubicBezTo>
                    <a:cubicBezTo>
                      <a:pt x="45" y="9"/>
                      <a:pt x="45" y="9"/>
                      <a:pt x="45" y="9"/>
                    </a:cubicBezTo>
                    <a:cubicBezTo>
                      <a:pt x="44" y="9"/>
                      <a:pt x="43" y="9"/>
                      <a:pt x="42" y="8"/>
                    </a:cubicBezTo>
                    <a:cubicBezTo>
                      <a:pt x="38" y="4"/>
                      <a:pt x="38" y="4"/>
                      <a:pt x="38" y="4"/>
                    </a:cubicBezTo>
                    <a:cubicBezTo>
                      <a:pt x="38" y="4"/>
                      <a:pt x="37" y="3"/>
                      <a:pt x="37" y="3"/>
                    </a:cubicBezTo>
                    <a:cubicBezTo>
                      <a:pt x="36" y="2"/>
                      <a:pt x="36" y="2"/>
                      <a:pt x="36" y="2"/>
                    </a:cubicBezTo>
                    <a:cubicBezTo>
                      <a:pt x="35" y="2"/>
                      <a:pt x="34" y="2"/>
                      <a:pt x="33" y="1"/>
                    </a:cubicBezTo>
                    <a:cubicBezTo>
                      <a:pt x="33" y="1"/>
                      <a:pt x="32" y="1"/>
                      <a:pt x="32" y="1"/>
                    </a:cubicBezTo>
                    <a:cubicBezTo>
                      <a:pt x="31" y="1"/>
                      <a:pt x="31" y="1"/>
                      <a:pt x="30" y="1"/>
                    </a:cubicBezTo>
                    <a:cubicBezTo>
                      <a:pt x="30" y="1"/>
                      <a:pt x="30" y="1"/>
                      <a:pt x="30" y="1"/>
                    </a:cubicBezTo>
                    <a:cubicBezTo>
                      <a:pt x="30" y="0"/>
                      <a:pt x="29" y="0"/>
                      <a:pt x="29" y="0"/>
                    </a:cubicBezTo>
                    <a:cubicBezTo>
                      <a:pt x="28" y="0"/>
                      <a:pt x="28" y="0"/>
                      <a:pt x="28" y="0"/>
                    </a:cubicBezTo>
                    <a:cubicBezTo>
                      <a:pt x="28" y="0"/>
                      <a:pt x="28" y="0"/>
                      <a:pt x="28" y="0"/>
                    </a:cubicBezTo>
                    <a:cubicBezTo>
                      <a:pt x="26" y="0"/>
                      <a:pt x="24" y="1"/>
                      <a:pt x="22" y="1"/>
                    </a:cubicBezTo>
                    <a:cubicBezTo>
                      <a:pt x="21" y="1"/>
                      <a:pt x="20" y="1"/>
                      <a:pt x="19" y="2"/>
                    </a:cubicBezTo>
                    <a:cubicBezTo>
                      <a:pt x="18" y="2"/>
                      <a:pt x="16" y="3"/>
                      <a:pt x="15" y="4"/>
                    </a:cubicBezTo>
                    <a:cubicBezTo>
                      <a:pt x="15" y="4"/>
                      <a:pt x="15" y="4"/>
                      <a:pt x="15" y="5"/>
                    </a:cubicBezTo>
                    <a:cubicBezTo>
                      <a:pt x="15" y="5"/>
                      <a:pt x="15" y="5"/>
                      <a:pt x="15" y="5"/>
                    </a:cubicBezTo>
                    <a:cubicBezTo>
                      <a:pt x="15" y="5"/>
                      <a:pt x="15" y="5"/>
                      <a:pt x="15" y="5"/>
                    </a:cubicBezTo>
                    <a:cubicBezTo>
                      <a:pt x="15" y="6"/>
                      <a:pt x="15" y="6"/>
                      <a:pt x="15" y="6"/>
                    </a:cubicBezTo>
                    <a:cubicBezTo>
                      <a:pt x="15" y="6"/>
                      <a:pt x="15" y="6"/>
                      <a:pt x="15" y="6"/>
                    </a:cubicBezTo>
                    <a:cubicBezTo>
                      <a:pt x="15" y="7"/>
                      <a:pt x="15" y="7"/>
                      <a:pt x="15" y="7"/>
                    </a:cubicBezTo>
                    <a:cubicBezTo>
                      <a:pt x="13" y="11"/>
                      <a:pt x="13" y="11"/>
                      <a:pt x="13" y="11"/>
                    </a:cubicBezTo>
                    <a:cubicBezTo>
                      <a:pt x="12" y="11"/>
                      <a:pt x="12" y="11"/>
                      <a:pt x="12" y="12"/>
                    </a:cubicBezTo>
                    <a:cubicBezTo>
                      <a:pt x="12" y="12"/>
                      <a:pt x="12" y="12"/>
                      <a:pt x="12" y="12"/>
                    </a:cubicBezTo>
                    <a:cubicBezTo>
                      <a:pt x="12" y="12"/>
                      <a:pt x="12" y="12"/>
                      <a:pt x="12" y="12"/>
                    </a:cubicBezTo>
                    <a:cubicBezTo>
                      <a:pt x="11" y="13"/>
                      <a:pt x="11" y="13"/>
                      <a:pt x="11" y="13"/>
                    </a:cubicBezTo>
                    <a:cubicBezTo>
                      <a:pt x="11" y="13"/>
                      <a:pt x="11" y="13"/>
                      <a:pt x="11" y="13"/>
                    </a:cubicBezTo>
                    <a:cubicBezTo>
                      <a:pt x="11" y="13"/>
                      <a:pt x="11" y="13"/>
                      <a:pt x="11" y="13"/>
                    </a:cubicBezTo>
                    <a:cubicBezTo>
                      <a:pt x="11" y="13"/>
                      <a:pt x="11" y="14"/>
                      <a:pt x="11" y="14"/>
                    </a:cubicBezTo>
                    <a:cubicBezTo>
                      <a:pt x="10" y="15"/>
                      <a:pt x="10" y="15"/>
                      <a:pt x="10" y="15"/>
                    </a:cubicBezTo>
                    <a:cubicBezTo>
                      <a:pt x="10" y="16"/>
                      <a:pt x="10" y="18"/>
                      <a:pt x="10" y="19"/>
                    </a:cubicBezTo>
                    <a:cubicBezTo>
                      <a:pt x="10" y="20"/>
                      <a:pt x="10" y="21"/>
                      <a:pt x="10" y="21"/>
                    </a:cubicBezTo>
                    <a:cubicBezTo>
                      <a:pt x="10" y="21"/>
                      <a:pt x="10" y="22"/>
                      <a:pt x="10" y="22"/>
                    </a:cubicBezTo>
                    <a:cubicBezTo>
                      <a:pt x="10" y="22"/>
                      <a:pt x="10" y="22"/>
                      <a:pt x="10" y="22"/>
                    </a:cubicBezTo>
                    <a:cubicBezTo>
                      <a:pt x="10" y="22"/>
                      <a:pt x="10" y="22"/>
                      <a:pt x="10" y="23"/>
                    </a:cubicBezTo>
                    <a:cubicBezTo>
                      <a:pt x="9" y="23"/>
                      <a:pt x="9" y="23"/>
                      <a:pt x="9" y="23"/>
                    </a:cubicBezTo>
                    <a:cubicBezTo>
                      <a:pt x="11" y="24"/>
                      <a:pt x="11" y="24"/>
                      <a:pt x="11" y="24"/>
                    </a:cubicBezTo>
                    <a:cubicBezTo>
                      <a:pt x="9" y="24"/>
                      <a:pt x="9" y="24"/>
                      <a:pt x="9" y="24"/>
                    </a:cubicBezTo>
                    <a:cubicBezTo>
                      <a:pt x="9" y="24"/>
                      <a:pt x="9" y="24"/>
                      <a:pt x="9" y="24"/>
                    </a:cubicBezTo>
                    <a:cubicBezTo>
                      <a:pt x="9" y="24"/>
                      <a:pt x="9" y="25"/>
                      <a:pt x="10" y="26"/>
                    </a:cubicBezTo>
                    <a:cubicBezTo>
                      <a:pt x="10" y="26"/>
                      <a:pt x="10" y="26"/>
                      <a:pt x="10" y="26"/>
                    </a:cubicBezTo>
                    <a:cubicBezTo>
                      <a:pt x="11" y="27"/>
                      <a:pt x="11" y="27"/>
                      <a:pt x="12" y="28"/>
                    </a:cubicBezTo>
                    <a:cubicBezTo>
                      <a:pt x="12" y="28"/>
                      <a:pt x="12" y="29"/>
                      <a:pt x="12" y="29"/>
                    </a:cubicBezTo>
                    <a:cubicBezTo>
                      <a:pt x="12" y="30"/>
                      <a:pt x="12" y="30"/>
                      <a:pt x="12" y="30"/>
                    </a:cubicBezTo>
                    <a:cubicBezTo>
                      <a:pt x="12" y="31"/>
                      <a:pt x="12" y="31"/>
                      <a:pt x="12" y="32"/>
                    </a:cubicBezTo>
                    <a:cubicBezTo>
                      <a:pt x="12" y="32"/>
                      <a:pt x="12" y="32"/>
                      <a:pt x="12" y="32"/>
                    </a:cubicBezTo>
                    <a:cubicBezTo>
                      <a:pt x="12" y="33"/>
                      <a:pt x="12" y="34"/>
                      <a:pt x="11" y="34"/>
                    </a:cubicBezTo>
                    <a:cubicBezTo>
                      <a:pt x="11" y="35"/>
                      <a:pt x="11" y="35"/>
                      <a:pt x="11" y="35"/>
                    </a:cubicBezTo>
                    <a:cubicBezTo>
                      <a:pt x="10" y="35"/>
                      <a:pt x="10" y="35"/>
                      <a:pt x="10" y="35"/>
                    </a:cubicBezTo>
                    <a:cubicBezTo>
                      <a:pt x="10" y="36"/>
                      <a:pt x="10" y="36"/>
                      <a:pt x="10" y="36"/>
                    </a:cubicBezTo>
                    <a:cubicBezTo>
                      <a:pt x="10" y="36"/>
                      <a:pt x="10" y="36"/>
                      <a:pt x="10" y="36"/>
                    </a:cubicBezTo>
                    <a:cubicBezTo>
                      <a:pt x="10" y="36"/>
                      <a:pt x="10" y="37"/>
                      <a:pt x="10" y="37"/>
                    </a:cubicBezTo>
                    <a:cubicBezTo>
                      <a:pt x="10" y="38"/>
                      <a:pt x="10" y="39"/>
                      <a:pt x="9" y="40"/>
                    </a:cubicBezTo>
                    <a:cubicBezTo>
                      <a:pt x="7" y="43"/>
                      <a:pt x="7" y="43"/>
                      <a:pt x="7" y="43"/>
                    </a:cubicBezTo>
                    <a:cubicBezTo>
                      <a:pt x="6" y="43"/>
                      <a:pt x="6" y="44"/>
                      <a:pt x="6" y="44"/>
                    </a:cubicBezTo>
                    <a:cubicBezTo>
                      <a:pt x="6" y="46"/>
                      <a:pt x="5" y="46"/>
                      <a:pt x="5" y="47"/>
                    </a:cubicBezTo>
                    <a:cubicBezTo>
                      <a:pt x="5" y="48"/>
                      <a:pt x="4" y="49"/>
                      <a:pt x="3" y="50"/>
                    </a:cubicBezTo>
                    <a:cubicBezTo>
                      <a:pt x="2" y="50"/>
                      <a:pt x="2" y="50"/>
                      <a:pt x="2" y="50"/>
                    </a:cubicBezTo>
                    <a:cubicBezTo>
                      <a:pt x="1" y="50"/>
                      <a:pt x="1" y="50"/>
                      <a:pt x="1" y="50"/>
                    </a:cubicBezTo>
                    <a:cubicBezTo>
                      <a:pt x="1" y="50"/>
                      <a:pt x="1" y="50"/>
                      <a:pt x="1" y="50"/>
                    </a:cubicBezTo>
                    <a:cubicBezTo>
                      <a:pt x="1" y="50"/>
                      <a:pt x="1" y="51"/>
                      <a:pt x="1" y="52"/>
                    </a:cubicBezTo>
                    <a:cubicBezTo>
                      <a:pt x="1" y="53"/>
                      <a:pt x="1" y="55"/>
                      <a:pt x="1" y="56"/>
                    </a:cubicBezTo>
                    <a:cubicBezTo>
                      <a:pt x="1" y="57"/>
                      <a:pt x="1" y="57"/>
                      <a:pt x="1" y="58"/>
                    </a:cubicBezTo>
                    <a:cubicBezTo>
                      <a:pt x="0" y="59"/>
                      <a:pt x="0" y="60"/>
                      <a:pt x="0" y="60"/>
                    </a:cubicBezTo>
                    <a:cubicBezTo>
                      <a:pt x="1" y="60"/>
                      <a:pt x="1" y="60"/>
                      <a:pt x="1" y="61"/>
                    </a:cubicBezTo>
                    <a:cubicBezTo>
                      <a:pt x="1" y="61"/>
                      <a:pt x="1" y="61"/>
                      <a:pt x="1" y="61"/>
                    </a:cubicBezTo>
                    <a:cubicBezTo>
                      <a:pt x="1" y="62"/>
                      <a:pt x="1" y="63"/>
                      <a:pt x="1" y="64"/>
                    </a:cubicBezTo>
                    <a:cubicBezTo>
                      <a:pt x="1" y="65"/>
                      <a:pt x="1" y="65"/>
                      <a:pt x="1" y="66"/>
                    </a:cubicBezTo>
                    <a:cubicBezTo>
                      <a:pt x="1" y="67"/>
                      <a:pt x="1" y="68"/>
                      <a:pt x="1" y="70"/>
                    </a:cubicBezTo>
                    <a:cubicBezTo>
                      <a:pt x="1" y="70"/>
                      <a:pt x="1" y="70"/>
                      <a:pt x="1" y="71"/>
                    </a:cubicBezTo>
                    <a:cubicBezTo>
                      <a:pt x="1" y="72"/>
                      <a:pt x="2" y="72"/>
                      <a:pt x="1" y="73"/>
                    </a:cubicBezTo>
                    <a:cubicBezTo>
                      <a:pt x="1" y="74"/>
                      <a:pt x="1" y="75"/>
                      <a:pt x="1" y="76"/>
                    </a:cubicBezTo>
                    <a:cubicBezTo>
                      <a:pt x="2" y="76"/>
                      <a:pt x="3" y="76"/>
                      <a:pt x="3" y="76"/>
                    </a:cubicBezTo>
                    <a:cubicBezTo>
                      <a:pt x="3" y="76"/>
                      <a:pt x="3" y="76"/>
                      <a:pt x="3" y="75"/>
                    </a:cubicBezTo>
                    <a:cubicBezTo>
                      <a:pt x="3" y="74"/>
                      <a:pt x="4" y="73"/>
                      <a:pt x="6" y="73"/>
                    </a:cubicBezTo>
                    <a:cubicBezTo>
                      <a:pt x="7" y="73"/>
                      <a:pt x="8" y="73"/>
                      <a:pt x="9" y="75"/>
                    </a:cubicBezTo>
                    <a:cubicBezTo>
                      <a:pt x="10" y="74"/>
                      <a:pt x="11" y="74"/>
                      <a:pt x="11" y="74"/>
                    </a:cubicBezTo>
                    <a:cubicBezTo>
                      <a:pt x="11" y="74"/>
                      <a:pt x="10" y="74"/>
                      <a:pt x="9" y="75"/>
                    </a:cubicBezTo>
                    <a:cubicBezTo>
                      <a:pt x="9" y="75"/>
                      <a:pt x="9" y="75"/>
                      <a:pt x="9" y="75"/>
                    </a:cubicBezTo>
                    <a:cubicBezTo>
                      <a:pt x="9" y="75"/>
                      <a:pt x="9" y="75"/>
                      <a:pt x="9" y="75"/>
                    </a:cubicBezTo>
                    <a:cubicBezTo>
                      <a:pt x="9" y="75"/>
                      <a:pt x="12" y="76"/>
                      <a:pt x="12" y="76"/>
                    </a:cubicBezTo>
                    <a:cubicBezTo>
                      <a:pt x="13" y="76"/>
                      <a:pt x="15" y="76"/>
                      <a:pt x="17" y="76"/>
                    </a:cubicBezTo>
                    <a:cubicBezTo>
                      <a:pt x="18" y="77"/>
                      <a:pt x="19" y="78"/>
                      <a:pt x="20" y="79"/>
                    </a:cubicBezTo>
                    <a:cubicBezTo>
                      <a:pt x="21" y="80"/>
                      <a:pt x="22" y="80"/>
                      <a:pt x="23" y="81"/>
                    </a:cubicBezTo>
                    <a:cubicBezTo>
                      <a:pt x="23" y="81"/>
                      <a:pt x="23" y="82"/>
                      <a:pt x="23" y="82"/>
                    </a:cubicBezTo>
                    <a:cubicBezTo>
                      <a:pt x="24" y="83"/>
                      <a:pt x="25" y="81"/>
                      <a:pt x="26" y="81"/>
                    </a:cubicBezTo>
                    <a:cubicBezTo>
                      <a:pt x="25" y="81"/>
                      <a:pt x="25" y="82"/>
                      <a:pt x="24" y="82"/>
                    </a:cubicBezTo>
                    <a:cubicBezTo>
                      <a:pt x="24" y="82"/>
                      <a:pt x="24" y="83"/>
                      <a:pt x="24" y="83"/>
                    </a:cubicBezTo>
                    <a:cubicBezTo>
                      <a:pt x="25" y="84"/>
                      <a:pt x="26" y="84"/>
                      <a:pt x="26" y="83"/>
                    </a:cubicBezTo>
                    <a:cubicBezTo>
                      <a:pt x="27" y="83"/>
                      <a:pt x="27" y="84"/>
                      <a:pt x="28" y="84"/>
                    </a:cubicBezTo>
                    <a:cubicBezTo>
                      <a:pt x="27" y="84"/>
                      <a:pt x="26" y="84"/>
                      <a:pt x="26" y="84"/>
                    </a:cubicBezTo>
                    <a:cubicBezTo>
                      <a:pt x="25" y="84"/>
                      <a:pt x="25" y="84"/>
                      <a:pt x="25" y="85"/>
                    </a:cubicBezTo>
                    <a:cubicBezTo>
                      <a:pt x="27" y="86"/>
                      <a:pt x="27" y="86"/>
                      <a:pt x="29" y="85"/>
                    </a:cubicBezTo>
                    <a:cubicBezTo>
                      <a:pt x="29" y="86"/>
                      <a:pt x="29" y="86"/>
                      <a:pt x="29" y="86"/>
                    </a:cubicBezTo>
                    <a:cubicBezTo>
                      <a:pt x="27" y="86"/>
                      <a:pt x="28" y="90"/>
                      <a:pt x="28" y="91"/>
                    </a:cubicBezTo>
                    <a:cubicBezTo>
                      <a:pt x="29" y="93"/>
                      <a:pt x="29" y="94"/>
                      <a:pt x="30" y="95"/>
                    </a:cubicBezTo>
                    <a:cubicBezTo>
                      <a:pt x="31" y="96"/>
                      <a:pt x="33" y="98"/>
                      <a:pt x="35" y="98"/>
                    </a:cubicBezTo>
                    <a:cubicBezTo>
                      <a:pt x="35" y="97"/>
                      <a:pt x="36" y="96"/>
                      <a:pt x="36" y="96"/>
                    </a:cubicBezTo>
                    <a:cubicBezTo>
                      <a:pt x="36" y="97"/>
                      <a:pt x="36" y="97"/>
                      <a:pt x="36" y="97"/>
                    </a:cubicBezTo>
                    <a:cubicBezTo>
                      <a:pt x="36" y="97"/>
                      <a:pt x="36" y="97"/>
                      <a:pt x="37" y="97"/>
                    </a:cubicBezTo>
                    <a:cubicBezTo>
                      <a:pt x="39" y="98"/>
                      <a:pt x="38" y="97"/>
                      <a:pt x="39" y="95"/>
                    </a:cubicBezTo>
                    <a:cubicBezTo>
                      <a:pt x="39" y="96"/>
                      <a:pt x="40" y="97"/>
                      <a:pt x="40" y="97"/>
                    </a:cubicBezTo>
                    <a:cubicBezTo>
                      <a:pt x="40" y="96"/>
                      <a:pt x="40" y="95"/>
                      <a:pt x="41" y="94"/>
                    </a:cubicBezTo>
                    <a:cubicBezTo>
                      <a:pt x="41" y="96"/>
                      <a:pt x="40" y="96"/>
                      <a:pt x="42" y="97"/>
                    </a:cubicBezTo>
                    <a:cubicBezTo>
                      <a:pt x="42" y="96"/>
                      <a:pt x="41" y="96"/>
                      <a:pt x="41" y="95"/>
                    </a:cubicBezTo>
                    <a:cubicBezTo>
                      <a:pt x="41" y="95"/>
                      <a:pt x="41" y="94"/>
                      <a:pt x="41" y="94"/>
                    </a:cubicBezTo>
                    <a:cubicBezTo>
                      <a:pt x="41" y="93"/>
                      <a:pt x="41" y="93"/>
                      <a:pt x="41" y="92"/>
                    </a:cubicBezTo>
                    <a:cubicBezTo>
                      <a:pt x="41" y="92"/>
                      <a:pt x="42" y="94"/>
                      <a:pt x="42" y="94"/>
                    </a:cubicBezTo>
                    <a:cubicBezTo>
                      <a:pt x="42" y="95"/>
                      <a:pt x="41" y="96"/>
                      <a:pt x="44" y="97"/>
                    </a:cubicBezTo>
                    <a:cubicBezTo>
                      <a:pt x="43" y="96"/>
                      <a:pt x="43" y="95"/>
                      <a:pt x="42" y="94"/>
                    </a:cubicBezTo>
                    <a:cubicBezTo>
                      <a:pt x="43" y="94"/>
                      <a:pt x="43" y="94"/>
                      <a:pt x="43" y="94"/>
                    </a:cubicBezTo>
                    <a:cubicBezTo>
                      <a:pt x="43" y="94"/>
                      <a:pt x="43" y="93"/>
                      <a:pt x="43" y="93"/>
                    </a:cubicBezTo>
                    <a:cubicBezTo>
                      <a:pt x="44" y="93"/>
                      <a:pt x="43" y="94"/>
                      <a:pt x="44" y="94"/>
                    </a:cubicBezTo>
                    <a:cubicBezTo>
                      <a:pt x="44" y="94"/>
                      <a:pt x="43" y="95"/>
                      <a:pt x="44" y="95"/>
                    </a:cubicBezTo>
                    <a:cubicBezTo>
                      <a:pt x="44" y="95"/>
                      <a:pt x="45" y="96"/>
                      <a:pt x="45" y="96"/>
                    </a:cubicBezTo>
                    <a:cubicBezTo>
                      <a:pt x="46" y="95"/>
                      <a:pt x="45" y="94"/>
                      <a:pt x="44" y="93"/>
                    </a:cubicBezTo>
                    <a:cubicBezTo>
                      <a:pt x="44" y="93"/>
                      <a:pt x="44" y="93"/>
                      <a:pt x="44" y="93"/>
                    </a:cubicBezTo>
                    <a:cubicBezTo>
                      <a:pt x="44" y="93"/>
                      <a:pt x="44" y="93"/>
                      <a:pt x="44" y="93"/>
                    </a:cubicBezTo>
                    <a:cubicBezTo>
                      <a:pt x="45" y="93"/>
                      <a:pt x="45" y="94"/>
                      <a:pt x="45" y="94"/>
                    </a:cubicBezTo>
                    <a:cubicBezTo>
                      <a:pt x="46" y="94"/>
                      <a:pt x="46" y="94"/>
                      <a:pt x="47" y="95"/>
                    </a:cubicBezTo>
                    <a:cubicBezTo>
                      <a:pt x="48" y="95"/>
                      <a:pt x="49" y="95"/>
                      <a:pt x="49" y="93"/>
                    </a:cubicBezTo>
                    <a:cubicBezTo>
                      <a:pt x="49" y="94"/>
                      <a:pt x="50" y="96"/>
                      <a:pt x="51" y="95"/>
                    </a:cubicBezTo>
                    <a:cubicBezTo>
                      <a:pt x="51" y="95"/>
                      <a:pt x="51" y="95"/>
                      <a:pt x="51" y="95"/>
                    </a:cubicBezTo>
                    <a:cubicBezTo>
                      <a:pt x="52" y="95"/>
                      <a:pt x="56" y="95"/>
                      <a:pt x="57" y="94"/>
                    </a:cubicBezTo>
                    <a:cubicBezTo>
                      <a:pt x="58" y="94"/>
                      <a:pt x="56" y="92"/>
                      <a:pt x="55" y="90"/>
                    </a:cubicBezTo>
                    <a:cubicBezTo>
                      <a:pt x="56" y="91"/>
                      <a:pt x="57" y="92"/>
                      <a:pt x="58" y="93"/>
                    </a:cubicBezTo>
                    <a:close/>
                    <a:moveTo>
                      <a:pt x="29" y="85"/>
                    </a:moveTo>
                    <a:cubicBezTo>
                      <a:pt x="29" y="85"/>
                      <a:pt x="29" y="85"/>
                      <a:pt x="29" y="85"/>
                    </a:cubicBezTo>
                    <a:cubicBezTo>
                      <a:pt x="29" y="85"/>
                      <a:pt x="29" y="85"/>
                      <a:pt x="29"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3" name="Freeform 3065">
                <a:extLst>
                  <a:ext uri="{FF2B5EF4-FFF2-40B4-BE49-F238E27FC236}">
                    <a16:creationId xmlns:a16="http://schemas.microsoft.com/office/drawing/2014/main" id="{6AEC779F-8C6D-42B7-A278-DF5D2AA858B5}"/>
                  </a:ext>
                </a:extLst>
              </p:cNvPr>
              <p:cNvSpPr>
                <a:spLocks noEditPoints="1"/>
              </p:cNvSpPr>
              <p:nvPr/>
            </p:nvSpPr>
            <p:spPr bwMode="auto">
              <a:xfrm>
                <a:off x="3760" y="2724"/>
                <a:ext cx="137" cy="147"/>
              </a:xfrm>
              <a:custGeom>
                <a:avLst/>
                <a:gdLst>
                  <a:gd name="T0" fmla="*/ 26 w 58"/>
                  <a:gd name="T1" fmla="*/ 58 h 62"/>
                  <a:gd name="T2" fmla="*/ 28 w 58"/>
                  <a:gd name="T3" fmla="*/ 57 h 62"/>
                  <a:gd name="T4" fmla="*/ 31 w 58"/>
                  <a:gd name="T5" fmla="*/ 58 h 62"/>
                  <a:gd name="T6" fmla="*/ 31 w 58"/>
                  <a:gd name="T7" fmla="*/ 57 h 62"/>
                  <a:gd name="T8" fmla="*/ 29 w 58"/>
                  <a:gd name="T9" fmla="*/ 55 h 62"/>
                  <a:gd name="T10" fmla="*/ 28 w 58"/>
                  <a:gd name="T11" fmla="*/ 52 h 62"/>
                  <a:gd name="T12" fmla="*/ 28 w 58"/>
                  <a:gd name="T13" fmla="*/ 49 h 62"/>
                  <a:gd name="T14" fmla="*/ 28 w 58"/>
                  <a:gd name="T15" fmla="*/ 48 h 62"/>
                  <a:gd name="T16" fmla="*/ 27 w 58"/>
                  <a:gd name="T17" fmla="*/ 45 h 62"/>
                  <a:gd name="T18" fmla="*/ 32 w 58"/>
                  <a:gd name="T19" fmla="*/ 45 h 62"/>
                  <a:gd name="T20" fmla="*/ 34 w 58"/>
                  <a:gd name="T21" fmla="*/ 45 h 62"/>
                  <a:gd name="T22" fmla="*/ 36 w 58"/>
                  <a:gd name="T23" fmla="*/ 45 h 62"/>
                  <a:gd name="T24" fmla="*/ 37 w 58"/>
                  <a:gd name="T25" fmla="*/ 42 h 62"/>
                  <a:gd name="T26" fmla="*/ 40 w 58"/>
                  <a:gd name="T27" fmla="*/ 40 h 62"/>
                  <a:gd name="T28" fmla="*/ 44 w 58"/>
                  <a:gd name="T29" fmla="*/ 43 h 62"/>
                  <a:gd name="T30" fmla="*/ 49 w 58"/>
                  <a:gd name="T31" fmla="*/ 45 h 62"/>
                  <a:gd name="T32" fmla="*/ 52 w 58"/>
                  <a:gd name="T33" fmla="*/ 43 h 62"/>
                  <a:gd name="T34" fmla="*/ 54 w 58"/>
                  <a:gd name="T35" fmla="*/ 47 h 62"/>
                  <a:gd name="T36" fmla="*/ 57 w 58"/>
                  <a:gd name="T37" fmla="*/ 39 h 62"/>
                  <a:gd name="T38" fmla="*/ 58 w 58"/>
                  <a:gd name="T39" fmla="*/ 37 h 62"/>
                  <a:gd name="T40" fmla="*/ 58 w 58"/>
                  <a:gd name="T41" fmla="*/ 35 h 62"/>
                  <a:gd name="T42" fmla="*/ 57 w 58"/>
                  <a:gd name="T43" fmla="*/ 32 h 62"/>
                  <a:gd name="T44" fmla="*/ 58 w 58"/>
                  <a:gd name="T45" fmla="*/ 30 h 62"/>
                  <a:gd name="T46" fmla="*/ 55 w 58"/>
                  <a:gd name="T47" fmla="*/ 28 h 62"/>
                  <a:gd name="T48" fmla="*/ 51 w 58"/>
                  <a:gd name="T49" fmla="*/ 24 h 62"/>
                  <a:gd name="T50" fmla="*/ 53 w 58"/>
                  <a:gd name="T51" fmla="*/ 20 h 62"/>
                  <a:gd name="T52" fmla="*/ 56 w 58"/>
                  <a:gd name="T53" fmla="*/ 16 h 62"/>
                  <a:gd name="T54" fmla="*/ 57 w 58"/>
                  <a:gd name="T55" fmla="*/ 13 h 62"/>
                  <a:gd name="T56" fmla="*/ 55 w 58"/>
                  <a:gd name="T57" fmla="*/ 9 h 62"/>
                  <a:gd name="T58" fmla="*/ 48 w 58"/>
                  <a:gd name="T59" fmla="*/ 10 h 62"/>
                  <a:gd name="T60" fmla="*/ 44 w 58"/>
                  <a:gd name="T61" fmla="*/ 8 h 62"/>
                  <a:gd name="T62" fmla="*/ 45 w 58"/>
                  <a:gd name="T63" fmla="*/ 1 h 62"/>
                  <a:gd name="T64" fmla="*/ 45 w 58"/>
                  <a:gd name="T65" fmla="*/ 0 h 62"/>
                  <a:gd name="T66" fmla="*/ 34 w 58"/>
                  <a:gd name="T67" fmla="*/ 0 h 62"/>
                  <a:gd name="T68" fmla="*/ 31 w 58"/>
                  <a:gd name="T69" fmla="*/ 0 h 62"/>
                  <a:gd name="T70" fmla="*/ 29 w 58"/>
                  <a:gd name="T71" fmla="*/ 0 h 62"/>
                  <a:gd name="T72" fmla="*/ 28 w 58"/>
                  <a:gd name="T73" fmla="*/ 0 h 62"/>
                  <a:gd name="T74" fmla="*/ 28 w 58"/>
                  <a:gd name="T75" fmla="*/ 3 h 62"/>
                  <a:gd name="T76" fmla="*/ 27 w 58"/>
                  <a:gd name="T77" fmla="*/ 13 h 62"/>
                  <a:gd name="T78" fmla="*/ 16 w 58"/>
                  <a:gd name="T79" fmla="*/ 13 h 62"/>
                  <a:gd name="T80" fmla="*/ 11 w 58"/>
                  <a:gd name="T81" fmla="*/ 13 h 62"/>
                  <a:gd name="T82" fmla="*/ 9 w 58"/>
                  <a:gd name="T83" fmla="*/ 13 h 62"/>
                  <a:gd name="T84" fmla="*/ 9 w 58"/>
                  <a:gd name="T85" fmla="*/ 14 h 62"/>
                  <a:gd name="T86" fmla="*/ 9 w 58"/>
                  <a:gd name="T87" fmla="*/ 16 h 62"/>
                  <a:gd name="T88" fmla="*/ 9 w 58"/>
                  <a:gd name="T89" fmla="*/ 19 h 62"/>
                  <a:gd name="T90" fmla="*/ 11 w 58"/>
                  <a:gd name="T91" fmla="*/ 22 h 62"/>
                  <a:gd name="T92" fmla="*/ 8 w 58"/>
                  <a:gd name="T93" fmla="*/ 21 h 62"/>
                  <a:gd name="T94" fmla="*/ 6 w 58"/>
                  <a:gd name="T95" fmla="*/ 19 h 62"/>
                  <a:gd name="T96" fmla="*/ 1 w 58"/>
                  <a:gd name="T97" fmla="*/ 31 h 62"/>
                  <a:gd name="T98" fmla="*/ 6 w 58"/>
                  <a:gd name="T99" fmla="*/ 36 h 62"/>
                  <a:gd name="T100" fmla="*/ 7 w 58"/>
                  <a:gd name="T101" fmla="*/ 39 h 62"/>
                  <a:gd name="T102" fmla="*/ 6 w 58"/>
                  <a:gd name="T103" fmla="*/ 41 h 62"/>
                  <a:gd name="T104" fmla="*/ 9 w 58"/>
                  <a:gd name="T105" fmla="*/ 47 h 62"/>
                  <a:gd name="T106" fmla="*/ 14 w 58"/>
                  <a:gd name="T107" fmla="*/ 48 h 62"/>
                  <a:gd name="T108" fmla="*/ 11 w 58"/>
                  <a:gd name="T109" fmla="*/ 48 h 62"/>
                  <a:gd name="T110" fmla="*/ 10 w 58"/>
                  <a:gd name="T11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2">
                    <a:moveTo>
                      <a:pt x="24" y="62"/>
                    </a:moveTo>
                    <a:cubicBezTo>
                      <a:pt x="24" y="61"/>
                      <a:pt x="24" y="60"/>
                      <a:pt x="25" y="59"/>
                    </a:cubicBezTo>
                    <a:cubicBezTo>
                      <a:pt x="25" y="59"/>
                      <a:pt x="26" y="59"/>
                      <a:pt x="26" y="58"/>
                    </a:cubicBezTo>
                    <a:cubicBezTo>
                      <a:pt x="27" y="58"/>
                      <a:pt x="27" y="58"/>
                      <a:pt x="27" y="58"/>
                    </a:cubicBezTo>
                    <a:cubicBezTo>
                      <a:pt x="27" y="58"/>
                      <a:pt x="27" y="58"/>
                      <a:pt x="27" y="58"/>
                    </a:cubicBezTo>
                    <a:cubicBezTo>
                      <a:pt x="27" y="57"/>
                      <a:pt x="28" y="57"/>
                      <a:pt x="28" y="57"/>
                    </a:cubicBezTo>
                    <a:cubicBezTo>
                      <a:pt x="29" y="57"/>
                      <a:pt x="30" y="57"/>
                      <a:pt x="31" y="58"/>
                    </a:cubicBezTo>
                    <a:cubicBezTo>
                      <a:pt x="31" y="58"/>
                      <a:pt x="31" y="58"/>
                      <a:pt x="31" y="58"/>
                    </a:cubicBezTo>
                    <a:cubicBezTo>
                      <a:pt x="31" y="58"/>
                      <a:pt x="31" y="58"/>
                      <a:pt x="31" y="58"/>
                    </a:cubicBezTo>
                    <a:cubicBezTo>
                      <a:pt x="31" y="58"/>
                      <a:pt x="31" y="58"/>
                      <a:pt x="31" y="58"/>
                    </a:cubicBezTo>
                    <a:cubicBezTo>
                      <a:pt x="31" y="58"/>
                      <a:pt x="31" y="58"/>
                      <a:pt x="31" y="57"/>
                    </a:cubicBezTo>
                    <a:cubicBezTo>
                      <a:pt x="31" y="57"/>
                      <a:pt x="31" y="57"/>
                      <a:pt x="31" y="57"/>
                    </a:cubicBezTo>
                    <a:cubicBezTo>
                      <a:pt x="31" y="57"/>
                      <a:pt x="31" y="57"/>
                      <a:pt x="31" y="57"/>
                    </a:cubicBezTo>
                    <a:cubicBezTo>
                      <a:pt x="31" y="57"/>
                      <a:pt x="30" y="56"/>
                      <a:pt x="30" y="56"/>
                    </a:cubicBezTo>
                    <a:cubicBezTo>
                      <a:pt x="30" y="56"/>
                      <a:pt x="29" y="55"/>
                      <a:pt x="29" y="55"/>
                    </a:cubicBezTo>
                    <a:cubicBezTo>
                      <a:pt x="29" y="54"/>
                      <a:pt x="29" y="54"/>
                      <a:pt x="30" y="53"/>
                    </a:cubicBezTo>
                    <a:cubicBezTo>
                      <a:pt x="29" y="52"/>
                      <a:pt x="29" y="52"/>
                      <a:pt x="29" y="52"/>
                    </a:cubicBezTo>
                    <a:cubicBezTo>
                      <a:pt x="28" y="52"/>
                      <a:pt x="28" y="52"/>
                      <a:pt x="28" y="52"/>
                    </a:cubicBezTo>
                    <a:cubicBezTo>
                      <a:pt x="28" y="52"/>
                      <a:pt x="28" y="51"/>
                      <a:pt x="28" y="51"/>
                    </a:cubicBezTo>
                    <a:cubicBezTo>
                      <a:pt x="28" y="51"/>
                      <a:pt x="28" y="51"/>
                      <a:pt x="28" y="51"/>
                    </a:cubicBezTo>
                    <a:cubicBezTo>
                      <a:pt x="28" y="50"/>
                      <a:pt x="28" y="50"/>
                      <a:pt x="28" y="49"/>
                    </a:cubicBezTo>
                    <a:cubicBezTo>
                      <a:pt x="28" y="49"/>
                      <a:pt x="28" y="49"/>
                      <a:pt x="28" y="49"/>
                    </a:cubicBezTo>
                    <a:cubicBezTo>
                      <a:pt x="28" y="49"/>
                      <a:pt x="28" y="49"/>
                      <a:pt x="28" y="49"/>
                    </a:cubicBezTo>
                    <a:cubicBezTo>
                      <a:pt x="28" y="49"/>
                      <a:pt x="28" y="48"/>
                      <a:pt x="28" y="48"/>
                    </a:cubicBezTo>
                    <a:cubicBezTo>
                      <a:pt x="28" y="48"/>
                      <a:pt x="28" y="48"/>
                      <a:pt x="28" y="48"/>
                    </a:cubicBezTo>
                    <a:cubicBezTo>
                      <a:pt x="28" y="47"/>
                      <a:pt x="28" y="47"/>
                      <a:pt x="28" y="47"/>
                    </a:cubicBezTo>
                    <a:cubicBezTo>
                      <a:pt x="27" y="45"/>
                      <a:pt x="27" y="45"/>
                      <a:pt x="27" y="45"/>
                    </a:cubicBezTo>
                    <a:cubicBezTo>
                      <a:pt x="29" y="45"/>
                      <a:pt x="29" y="45"/>
                      <a:pt x="29" y="45"/>
                    </a:cubicBezTo>
                    <a:cubicBezTo>
                      <a:pt x="30" y="45"/>
                      <a:pt x="30" y="45"/>
                      <a:pt x="31" y="45"/>
                    </a:cubicBezTo>
                    <a:cubicBezTo>
                      <a:pt x="31" y="46"/>
                      <a:pt x="31" y="46"/>
                      <a:pt x="32" y="45"/>
                    </a:cubicBezTo>
                    <a:cubicBezTo>
                      <a:pt x="32" y="45"/>
                      <a:pt x="33" y="45"/>
                      <a:pt x="33" y="45"/>
                    </a:cubicBezTo>
                    <a:cubicBezTo>
                      <a:pt x="34" y="45"/>
                      <a:pt x="34" y="45"/>
                      <a:pt x="34" y="45"/>
                    </a:cubicBezTo>
                    <a:cubicBezTo>
                      <a:pt x="34" y="45"/>
                      <a:pt x="34" y="45"/>
                      <a:pt x="34" y="45"/>
                    </a:cubicBezTo>
                    <a:cubicBezTo>
                      <a:pt x="34" y="45"/>
                      <a:pt x="35" y="45"/>
                      <a:pt x="35" y="45"/>
                    </a:cubicBezTo>
                    <a:cubicBezTo>
                      <a:pt x="36" y="45"/>
                      <a:pt x="36" y="45"/>
                      <a:pt x="36" y="45"/>
                    </a:cubicBezTo>
                    <a:cubicBezTo>
                      <a:pt x="36" y="45"/>
                      <a:pt x="36" y="45"/>
                      <a:pt x="36" y="45"/>
                    </a:cubicBezTo>
                    <a:cubicBezTo>
                      <a:pt x="36" y="44"/>
                      <a:pt x="36" y="44"/>
                      <a:pt x="37" y="43"/>
                    </a:cubicBezTo>
                    <a:cubicBezTo>
                      <a:pt x="37" y="42"/>
                      <a:pt x="37" y="42"/>
                      <a:pt x="37" y="42"/>
                    </a:cubicBezTo>
                    <a:cubicBezTo>
                      <a:pt x="37" y="42"/>
                      <a:pt x="37" y="42"/>
                      <a:pt x="37" y="42"/>
                    </a:cubicBezTo>
                    <a:cubicBezTo>
                      <a:pt x="37" y="42"/>
                      <a:pt x="37" y="42"/>
                      <a:pt x="37" y="42"/>
                    </a:cubicBezTo>
                    <a:cubicBezTo>
                      <a:pt x="37" y="41"/>
                      <a:pt x="37" y="40"/>
                      <a:pt x="38" y="40"/>
                    </a:cubicBezTo>
                    <a:cubicBezTo>
                      <a:pt x="39" y="40"/>
                      <a:pt x="39" y="40"/>
                      <a:pt x="40" y="40"/>
                    </a:cubicBezTo>
                    <a:cubicBezTo>
                      <a:pt x="40" y="40"/>
                      <a:pt x="40" y="40"/>
                      <a:pt x="40" y="40"/>
                    </a:cubicBezTo>
                    <a:cubicBezTo>
                      <a:pt x="41" y="40"/>
                      <a:pt x="41" y="40"/>
                      <a:pt x="41" y="40"/>
                    </a:cubicBezTo>
                    <a:cubicBezTo>
                      <a:pt x="43" y="40"/>
                      <a:pt x="43" y="42"/>
                      <a:pt x="44" y="43"/>
                    </a:cubicBezTo>
                    <a:cubicBezTo>
                      <a:pt x="44" y="45"/>
                      <a:pt x="44" y="45"/>
                      <a:pt x="44" y="45"/>
                    </a:cubicBezTo>
                    <a:cubicBezTo>
                      <a:pt x="45" y="45"/>
                      <a:pt x="45" y="45"/>
                      <a:pt x="46" y="45"/>
                    </a:cubicBezTo>
                    <a:cubicBezTo>
                      <a:pt x="47" y="45"/>
                      <a:pt x="49" y="45"/>
                      <a:pt x="49" y="45"/>
                    </a:cubicBezTo>
                    <a:cubicBezTo>
                      <a:pt x="49" y="45"/>
                      <a:pt x="50" y="44"/>
                      <a:pt x="50" y="43"/>
                    </a:cubicBezTo>
                    <a:cubicBezTo>
                      <a:pt x="51" y="41"/>
                      <a:pt x="51" y="41"/>
                      <a:pt x="51" y="41"/>
                    </a:cubicBezTo>
                    <a:cubicBezTo>
                      <a:pt x="52" y="43"/>
                      <a:pt x="52" y="43"/>
                      <a:pt x="52" y="43"/>
                    </a:cubicBezTo>
                    <a:cubicBezTo>
                      <a:pt x="53" y="44"/>
                      <a:pt x="54" y="45"/>
                      <a:pt x="54" y="46"/>
                    </a:cubicBezTo>
                    <a:cubicBezTo>
                      <a:pt x="54" y="46"/>
                      <a:pt x="54" y="46"/>
                      <a:pt x="54" y="46"/>
                    </a:cubicBezTo>
                    <a:cubicBezTo>
                      <a:pt x="54" y="47"/>
                      <a:pt x="54" y="47"/>
                      <a:pt x="54" y="47"/>
                    </a:cubicBezTo>
                    <a:cubicBezTo>
                      <a:pt x="56" y="43"/>
                      <a:pt x="56" y="43"/>
                      <a:pt x="56" y="43"/>
                    </a:cubicBezTo>
                    <a:cubicBezTo>
                      <a:pt x="56" y="42"/>
                      <a:pt x="57" y="41"/>
                      <a:pt x="57" y="40"/>
                    </a:cubicBezTo>
                    <a:cubicBezTo>
                      <a:pt x="57" y="39"/>
                      <a:pt x="57" y="39"/>
                      <a:pt x="57" y="39"/>
                    </a:cubicBezTo>
                    <a:cubicBezTo>
                      <a:pt x="57" y="38"/>
                      <a:pt x="57" y="38"/>
                      <a:pt x="57" y="38"/>
                    </a:cubicBezTo>
                    <a:cubicBezTo>
                      <a:pt x="57" y="38"/>
                      <a:pt x="57" y="37"/>
                      <a:pt x="58" y="37"/>
                    </a:cubicBezTo>
                    <a:cubicBezTo>
                      <a:pt x="58" y="37"/>
                      <a:pt x="58" y="37"/>
                      <a:pt x="58" y="37"/>
                    </a:cubicBezTo>
                    <a:cubicBezTo>
                      <a:pt x="58" y="36"/>
                      <a:pt x="58" y="36"/>
                      <a:pt x="58" y="36"/>
                    </a:cubicBezTo>
                    <a:cubicBezTo>
                      <a:pt x="58" y="35"/>
                      <a:pt x="58" y="35"/>
                      <a:pt x="58" y="35"/>
                    </a:cubicBezTo>
                    <a:cubicBezTo>
                      <a:pt x="58" y="35"/>
                      <a:pt x="58" y="35"/>
                      <a:pt x="58" y="35"/>
                    </a:cubicBezTo>
                    <a:cubicBezTo>
                      <a:pt x="58" y="35"/>
                      <a:pt x="57" y="35"/>
                      <a:pt x="57" y="34"/>
                    </a:cubicBezTo>
                    <a:cubicBezTo>
                      <a:pt x="57" y="34"/>
                      <a:pt x="57" y="34"/>
                      <a:pt x="57" y="34"/>
                    </a:cubicBezTo>
                    <a:cubicBezTo>
                      <a:pt x="57" y="34"/>
                      <a:pt x="57" y="33"/>
                      <a:pt x="57" y="32"/>
                    </a:cubicBezTo>
                    <a:cubicBezTo>
                      <a:pt x="57" y="32"/>
                      <a:pt x="57" y="32"/>
                      <a:pt x="57" y="32"/>
                    </a:cubicBezTo>
                    <a:cubicBezTo>
                      <a:pt x="57" y="31"/>
                      <a:pt x="57" y="31"/>
                      <a:pt x="57" y="31"/>
                    </a:cubicBezTo>
                    <a:cubicBezTo>
                      <a:pt x="58" y="31"/>
                      <a:pt x="58" y="31"/>
                      <a:pt x="58" y="30"/>
                    </a:cubicBezTo>
                    <a:cubicBezTo>
                      <a:pt x="58" y="30"/>
                      <a:pt x="58" y="30"/>
                      <a:pt x="58" y="30"/>
                    </a:cubicBezTo>
                    <a:cubicBezTo>
                      <a:pt x="58" y="30"/>
                      <a:pt x="58" y="29"/>
                      <a:pt x="58" y="29"/>
                    </a:cubicBezTo>
                    <a:cubicBezTo>
                      <a:pt x="58" y="29"/>
                      <a:pt x="56" y="28"/>
                      <a:pt x="55" y="28"/>
                    </a:cubicBezTo>
                    <a:cubicBezTo>
                      <a:pt x="54" y="27"/>
                      <a:pt x="53" y="27"/>
                      <a:pt x="52" y="26"/>
                    </a:cubicBezTo>
                    <a:cubicBezTo>
                      <a:pt x="52" y="26"/>
                      <a:pt x="52" y="25"/>
                      <a:pt x="52" y="25"/>
                    </a:cubicBezTo>
                    <a:cubicBezTo>
                      <a:pt x="52" y="25"/>
                      <a:pt x="51" y="25"/>
                      <a:pt x="51" y="24"/>
                    </a:cubicBezTo>
                    <a:cubicBezTo>
                      <a:pt x="51" y="24"/>
                      <a:pt x="51" y="24"/>
                      <a:pt x="51" y="24"/>
                    </a:cubicBezTo>
                    <a:cubicBezTo>
                      <a:pt x="51" y="23"/>
                      <a:pt x="52" y="22"/>
                      <a:pt x="53" y="21"/>
                    </a:cubicBezTo>
                    <a:cubicBezTo>
                      <a:pt x="53" y="20"/>
                      <a:pt x="53" y="20"/>
                      <a:pt x="53" y="20"/>
                    </a:cubicBezTo>
                    <a:cubicBezTo>
                      <a:pt x="53" y="19"/>
                      <a:pt x="54" y="17"/>
                      <a:pt x="54" y="17"/>
                    </a:cubicBezTo>
                    <a:cubicBezTo>
                      <a:pt x="55" y="16"/>
                      <a:pt x="55" y="16"/>
                      <a:pt x="55" y="16"/>
                    </a:cubicBezTo>
                    <a:cubicBezTo>
                      <a:pt x="56" y="16"/>
                      <a:pt x="56" y="16"/>
                      <a:pt x="56" y="16"/>
                    </a:cubicBezTo>
                    <a:cubicBezTo>
                      <a:pt x="56" y="15"/>
                      <a:pt x="57" y="15"/>
                      <a:pt x="57" y="14"/>
                    </a:cubicBezTo>
                    <a:cubicBezTo>
                      <a:pt x="57" y="14"/>
                      <a:pt x="57" y="14"/>
                      <a:pt x="57" y="13"/>
                    </a:cubicBezTo>
                    <a:cubicBezTo>
                      <a:pt x="57" y="13"/>
                      <a:pt x="57" y="13"/>
                      <a:pt x="57" y="13"/>
                    </a:cubicBezTo>
                    <a:cubicBezTo>
                      <a:pt x="55" y="10"/>
                      <a:pt x="55" y="10"/>
                      <a:pt x="55" y="10"/>
                    </a:cubicBezTo>
                    <a:cubicBezTo>
                      <a:pt x="55" y="10"/>
                      <a:pt x="55" y="10"/>
                      <a:pt x="55" y="9"/>
                    </a:cubicBezTo>
                    <a:cubicBezTo>
                      <a:pt x="55" y="9"/>
                      <a:pt x="55" y="9"/>
                      <a:pt x="55" y="9"/>
                    </a:cubicBezTo>
                    <a:cubicBezTo>
                      <a:pt x="54" y="9"/>
                      <a:pt x="54" y="9"/>
                      <a:pt x="54" y="9"/>
                    </a:cubicBezTo>
                    <a:cubicBezTo>
                      <a:pt x="53" y="9"/>
                      <a:pt x="52" y="9"/>
                      <a:pt x="51" y="9"/>
                    </a:cubicBezTo>
                    <a:cubicBezTo>
                      <a:pt x="50" y="10"/>
                      <a:pt x="49" y="10"/>
                      <a:pt x="48" y="10"/>
                    </a:cubicBezTo>
                    <a:cubicBezTo>
                      <a:pt x="44" y="12"/>
                      <a:pt x="44" y="12"/>
                      <a:pt x="44" y="12"/>
                    </a:cubicBezTo>
                    <a:cubicBezTo>
                      <a:pt x="44" y="10"/>
                      <a:pt x="44" y="10"/>
                      <a:pt x="44" y="10"/>
                    </a:cubicBezTo>
                    <a:cubicBezTo>
                      <a:pt x="44" y="9"/>
                      <a:pt x="44" y="9"/>
                      <a:pt x="44" y="8"/>
                    </a:cubicBezTo>
                    <a:cubicBezTo>
                      <a:pt x="44" y="6"/>
                      <a:pt x="44" y="4"/>
                      <a:pt x="44" y="3"/>
                    </a:cubicBezTo>
                    <a:cubicBezTo>
                      <a:pt x="45" y="2"/>
                      <a:pt x="45" y="2"/>
                      <a:pt x="45" y="2"/>
                    </a:cubicBezTo>
                    <a:cubicBezTo>
                      <a:pt x="45" y="2"/>
                      <a:pt x="45" y="2"/>
                      <a:pt x="45" y="1"/>
                    </a:cubicBezTo>
                    <a:cubicBezTo>
                      <a:pt x="45" y="1"/>
                      <a:pt x="45" y="1"/>
                      <a:pt x="45" y="1"/>
                    </a:cubicBezTo>
                    <a:cubicBezTo>
                      <a:pt x="45" y="1"/>
                      <a:pt x="45" y="1"/>
                      <a:pt x="45" y="1"/>
                    </a:cubicBezTo>
                    <a:cubicBezTo>
                      <a:pt x="45" y="1"/>
                      <a:pt x="45" y="0"/>
                      <a:pt x="45" y="0"/>
                    </a:cubicBezTo>
                    <a:cubicBezTo>
                      <a:pt x="45" y="0"/>
                      <a:pt x="45" y="0"/>
                      <a:pt x="44" y="0"/>
                    </a:cubicBezTo>
                    <a:cubicBezTo>
                      <a:pt x="42" y="0"/>
                      <a:pt x="41" y="0"/>
                      <a:pt x="39" y="0"/>
                    </a:cubicBezTo>
                    <a:cubicBezTo>
                      <a:pt x="37" y="0"/>
                      <a:pt x="35" y="0"/>
                      <a:pt x="34" y="0"/>
                    </a:cubicBezTo>
                    <a:cubicBezTo>
                      <a:pt x="33" y="0"/>
                      <a:pt x="33" y="0"/>
                      <a:pt x="33" y="0"/>
                    </a:cubicBezTo>
                    <a:cubicBezTo>
                      <a:pt x="33" y="0"/>
                      <a:pt x="33" y="0"/>
                      <a:pt x="33" y="0"/>
                    </a:cubicBezTo>
                    <a:cubicBezTo>
                      <a:pt x="32" y="0"/>
                      <a:pt x="32" y="0"/>
                      <a:pt x="31" y="0"/>
                    </a:cubicBezTo>
                    <a:cubicBezTo>
                      <a:pt x="31" y="0"/>
                      <a:pt x="31" y="0"/>
                      <a:pt x="31" y="0"/>
                    </a:cubicBezTo>
                    <a:cubicBezTo>
                      <a:pt x="30" y="0"/>
                      <a:pt x="30" y="0"/>
                      <a:pt x="29" y="0"/>
                    </a:cubicBezTo>
                    <a:cubicBezTo>
                      <a:pt x="29" y="0"/>
                      <a:pt x="29" y="0"/>
                      <a:pt x="29" y="0"/>
                    </a:cubicBezTo>
                    <a:cubicBezTo>
                      <a:pt x="29" y="0"/>
                      <a:pt x="29" y="0"/>
                      <a:pt x="29" y="0"/>
                    </a:cubicBezTo>
                    <a:cubicBezTo>
                      <a:pt x="28" y="0"/>
                      <a:pt x="28" y="0"/>
                      <a:pt x="28" y="0"/>
                    </a:cubicBezTo>
                    <a:cubicBezTo>
                      <a:pt x="28" y="0"/>
                      <a:pt x="28" y="0"/>
                      <a:pt x="28" y="0"/>
                    </a:cubicBezTo>
                    <a:cubicBezTo>
                      <a:pt x="28" y="1"/>
                      <a:pt x="28" y="1"/>
                      <a:pt x="28" y="1"/>
                    </a:cubicBezTo>
                    <a:cubicBezTo>
                      <a:pt x="28" y="1"/>
                      <a:pt x="28" y="1"/>
                      <a:pt x="28" y="1"/>
                    </a:cubicBezTo>
                    <a:cubicBezTo>
                      <a:pt x="28" y="3"/>
                      <a:pt x="28" y="3"/>
                      <a:pt x="28" y="3"/>
                    </a:cubicBezTo>
                    <a:cubicBezTo>
                      <a:pt x="28" y="4"/>
                      <a:pt x="28" y="4"/>
                      <a:pt x="28" y="5"/>
                    </a:cubicBezTo>
                    <a:cubicBezTo>
                      <a:pt x="28" y="6"/>
                      <a:pt x="28" y="6"/>
                      <a:pt x="28" y="6"/>
                    </a:cubicBezTo>
                    <a:cubicBezTo>
                      <a:pt x="29" y="10"/>
                      <a:pt x="29" y="12"/>
                      <a:pt x="27" y="13"/>
                    </a:cubicBezTo>
                    <a:cubicBezTo>
                      <a:pt x="27" y="14"/>
                      <a:pt x="26" y="14"/>
                      <a:pt x="23" y="13"/>
                    </a:cubicBezTo>
                    <a:cubicBezTo>
                      <a:pt x="23" y="13"/>
                      <a:pt x="23" y="13"/>
                      <a:pt x="23" y="13"/>
                    </a:cubicBezTo>
                    <a:cubicBezTo>
                      <a:pt x="16" y="13"/>
                      <a:pt x="16" y="13"/>
                      <a:pt x="16" y="13"/>
                    </a:cubicBezTo>
                    <a:cubicBezTo>
                      <a:pt x="16" y="13"/>
                      <a:pt x="15" y="13"/>
                      <a:pt x="15" y="13"/>
                    </a:cubicBezTo>
                    <a:cubicBezTo>
                      <a:pt x="14" y="14"/>
                      <a:pt x="12" y="14"/>
                      <a:pt x="11" y="13"/>
                    </a:cubicBezTo>
                    <a:cubicBezTo>
                      <a:pt x="11" y="13"/>
                      <a:pt x="11" y="13"/>
                      <a:pt x="11" y="13"/>
                    </a:cubicBezTo>
                    <a:cubicBezTo>
                      <a:pt x="10" y="13"/>
                      <a:pt x="10" y="13"/>
                      <a:pt x="10" y="13"/>
                    </a:cubicBezTo>
                    <a:cubicBezTo>
                      <a:pt x="10" y="13"/>
                      <a:pt x="10" y="13"/>
                      <a:pt x="10" y="13"/>
                    </a:cubicBezTo>
                    <a:cubicBezTo>
                      <a:pt x="9" y="13"/>
                      <a:pt x="9" y="13"/>
                      <a:pt x="9" y="13"/>
                    </a:cubicBezTo>
                    <a:cubicBezTo>
                      <a:pt x="9" y="12"/>
                      <a:pt x="9" y="12"/>
                      <a:pt x="9" y="12"/>
                    </a:cubicBezTo>
                    <a:cubicBezTo>
                      <a:pt x="9" y="12"/>
                      <a:pt x="9" y="12"/>
                      <a:pt x="9" y="13"/>
                    </a:cubicBezTo>
                    <a:cubicBezTo>
                      <a:pt x="9" y="13"/>
                      <a:pt x="9" y="14"/>
                      <a:pt x="9" y="14"/>
                    </a:cubicBezTo>
                    <a:cubicBezTo>
                      <a:pt x="9" y="15"/>
                      <a:pt x="9" y="16"/>
                      <a:pt x="9" y="18"/>
                    </a:cubicBezTo>
                    <a:cubicBezTo>
                      <a:pt x="9" y="17"/>
                      <a:pt x="9" y="17"/>
                      <a:pt x="9" y="16"/>
                    </a:cubicBezTo>
                    <a:cubicBezTo>
                      <a:pt x="8" y="16"/>
                      <a:pt x="8" y="17"/>
                      <a:pt x="9" y="16"/>
                    </a:cubicBezTo>
                    <a:cubicBezTo>
                      <a:pt x="8" y="16"/>
                      <a:pt x="7" y="17"/>
                      <a:pt x="6" y="17"/>
                    </a:cubicBezTo>
                    <a:cubicBezTo>
                      <a:pt x="7" y="17"/>
                      <a:pt x="7" y="18"/>
                      <a:pt x="7" y="18"/>
                    </a:cubicBezTo>
                    <a:cubicBezTo>
                      <a:pt x="8" y="19"/>
                      <a:pt x="8" y="19"/>
                      <a:pt x="9" y="19"/>
                    </a:cubicBezTo>
                    <a:cubicBezTo>
                      <a:pt x="9" y="20"/>
                      <a:pt x="10" y="20"/>
                      <a:pt x="10" y="20"/>
                    </a:cubicBezTo>
                    <a:cubicBezTo>
                      <a:pt x="11" y="21"/>
                      <a:pt x="12" y="20"/>
                      <a:pt x="13" y="20"/>
                    </a:cubicBezTo>
                    <a:cubicBezTo>
                      <a:pt x="12" y="21"/>
                      <a:pt x="12" y="21"/>
                      <a:pt x="11" y="22"/>
                    </a:cubicBezTo>
                    <a:cubicBezTo>
                      <a:pt x="10" y="21"/>
                      <a:pt x="10" y="21"/>
                      <a:pt x="9" y="21"/>
                    </a:cubicBezTo>
                    <a:cubicBezTo>
                      <a:pt x="9" y="21"/>
                      <a:pt x="9" y="21"/>
                      <a:pt x="9" y="21"/>
                    </a:cubicBezTo>
                    <a:cubicBezTo>
                      <a:pt x="8" y="21"/>
                      <a:pt x="8" y="21"/>
                      <a:pt x="8" y="21"/>
                    </a:cubicBezTo>
                    <a:cubicBezTo>
                      <a:pt x="8" y="21"/>
                      <a:pt x="8" y="21"/>
                      <a:pt x="8" y="21"/>
                    </a:cubicBezTo>
                    <a:cubicBezTo>
                      <a:pt x="7" y="21"/>
                      <a:pt x="7" y="20"/>
                      <a:pt x="7" y="21"/>
                    </a:cubicBezTo>
                    <a:cubicBezTo>
                      <a:pt x="7" y="20"/>
                      <a:pt x="6" y="20"/>
                      <a:pt x="6" y="19"/>
                    </a:cubicBezTo>
                    <a:cubicBezTo>
                      <a:pt x="6" y="20"/>
                      <a:pt x="6" y="21"/>
                      <a:pt x="6" y="21"/>
                    </a:cubicBezTo>
                    <a:cubicBezTo>
                      <a:pt x="6" y="25"/>
                      <a:pt x="5" y="28"/>
                      <a:pt x="3" y="31"/>
                    </a:cubicBezTo>
                    <a:cubicBezTo>
                      <a:pt x="3" y="30"/>
                      <a:pt x="2" y="31"/>
                      <a:pt x="1" y="31"/>
                    </a:cubicBezTo>
                    <a:cubicBezTo>
                      <a:pt x="1" y="30"/>
                      <a:pt x="0" y="29"/>
                      <a:pt x="0" y="28"/>
                    </a:cubicBezTo>
                    <a:cubicBezTo>
                      <a:pt x="1" y="31"/>
                      <a:pt x="2" y="34"/>
                      <a:pt x="4" y="36"/>
                    </a:cubicBezTo>
                    <a:cubicBezTo>
                      <a:pt x="5" y="37"/>
                      <a:pt x="5" y="36"/>
                      <a:pt x="6" y="36"/>
                    </a:cubicBezTo>
                    <a:cubicBezTo>
                      <a:pt x="7" y="36"/>
                      <a:pt x="5" y="38"/>
                      <a:pt x="6" y="38"/>
                    </a:cubicBezTo>
                    <a:cubicBezTo>
                      <a:pt x="6" y="39"/>
                      <a:pt x="8" y="39"/>
                      <a:pt x="8" y="39"/>
                    </a:cubicBezTo>
                    <a:cubicBezTo>
                      <a:pt x="8" y="39"/>
                      <a:pt x="7" y="39"/>
                      <a:pt x="7" y="39"/>
                    </a:cubicBezTo>
                    <a:cubicBezTo>
                      <a:pt x="7" y="39"/>
                      <a:pt x="6" y="39"/>
                      <a:pt x="6" y="39"/>
                    </a:cubicBezTo>
                    <a:cubicBezTo>
                      <a:pt x="6" y="39"/>
                      <a:pt x="6" y="38"/>
                      <a:pt x="5" y="38"/>
                    </a:cubicBezTo>
                    <a:cubicBezTo>
                      <a:pt x="5" y="39"/>
                      <a:pt x="5" y="41"/>
                      <a:pt x="6" y="41"/>
                    </a:cubicBezTo>
                    <a:cubicBezTo>
                      <a:pt x="6" y="42"/>
                      <a:pt x="6" y="41"/>
                      <a:pt x="7" y="42"/>
                    </a:cubicBezTo>
                    <a:cubicBezTo>
                      <a:pt x="10" y="43"/>
                      <a:pt x="8" y="46"/>
                      <a:pt x="10" y="47"/>
                    </a:cubicBezTo>
                    <a:cubicBezTo>
                      <a:pt x="9" y="47"/>
                      <a:pt x="9" y="47"/>
                      <a:pt x="9" y="47"/>
                    </a:cubicBezTo>
                    <a:cubicBezTo>
                      <a:pt x="14" y="52"/>
                      <a:pt x="19" y="57"/>
                      <a:pt x="24" y="62"/>
                    </a:cubicBezTo>
                    <a:close/>
                    <a:moveTo>
                      <a:pt x="13" y="49"/>
                    </a:moveTo>
                    <a:cubicBezTo>
                      <a:pt x="13" y="49"/>
                      <a:pt x="14" y="48"/>
                      <a:pt x="14" y="48"/>
                    </a:cubicBezTo>
                    <a:cubicBezTo>
                      <a:pt x="15" y="49"/>
                      <a:pt x="14" y="49"/>
                      <a:pt x="14" y="49"/>
                    </a:cubicBezTo>
                    <a:cubicBezTo>
                      <a:pt x="14" y="49"/>
                      <a:pt x="13" y="49"/>
                      <a:pt x="13" y="49"/>
                    </a:cubicBezTo>
                    <a:cubicBezTo>
                      <a:pt x="12" y="49"/>
                      <a:pt x="12" y="48"/>
                      <a:pt x="11" y="48"/>
                    </a:cubicBezTo>
                    <a:cubicBezTo>
                      <a:pt x="11" y="46"/>
                      <a:pt x="12" y="48"/>
                      <a:pt x="13" y="49"/>
                    </a:cubicBezTo>
                    <a:close/>
                    <a:moveTo>
                      <a:pt x="11" y="48"/>
                    </a:moveTo>
                    <a:cubicBezTo>
                      <a:pt x="11" y="48"/>
                      <a:pt x="11" y="48"/>
                      <a:pt x="10" y="47"/>
                    </a:cubicBezTo>
                    <a:cubicBezTo>
                      <a:pt x="11" y="47"/>
                      <a:pt x="11" y="48"/>
                      <a:pt x="1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4" name="Freeform 3066">
                <a:extLst>
                  <a:ext uri="{FF2B5EF4-FFF2-40B4-BE49-F238E27FC236}">
                    <a16:creationId xmlns:a16="http://schemas.microsoft.com/office/drawing/2014/main" id="{514CC847-9132-4EC5-86F0-29C5AE1C16CE}"/>
                  </a:ext>
                </a:extLst>
              </p:cNvPr>
              <p:cNvSpPr>
                <a:spLocks/>
              </p:cNvSpPr>
              <p:nvPr/>
            </p:nvSpPr>
            <p:spPr bwMode="auto">
              <a:xfrm>
                <a:off x="3774" y="2724"/>
                <a:ext cx="47" cy="29"/>
              </a:xfrm>
              <a:custGeom>
                <a:avLst/>
                <a:gdLst>
                  <a:gd name="T0" fmla="*/ 3 w 20"/>
                  <a:gd name="T1" fmla="*/ 11 h 12"/>
                  <a:gd name="T2" fmla="*/ 4 w 20"/>
                  <a:gd name="T3" fmla="*/ 11 h 12"/>
                  <a:gd name="T4" fmla="*/ 5 w 20"/>
                  <a:gd name="T5" fmla="*/ 11 h 12"/>
                  <a:gd name="T6" fmla="*/ 6 w 20"/>
                  <a:gd name="T7" fmla="*/ 11 h 12"/>
                  <a:gd name="T8" fmla="*/ 6 w 20"/>
                  <a:gd name="T9" fmla="*/ 11 h 12"/>
                  <a:gd name="T10" fmla="*/ 9 w 20"/>
                  <a:gd name="T11" fmla="*/ 11 h 12"/>
                  <a:gd name="T12" fmla="*/ 9 w 20"/>
                  <a:gd name="T13" fmla="*/ 11 h 12"/>
                  <a:gd name="T14" fmla="*/ 10 w 20"/>
                  <a:gd name="T15" fmla="*/ 11 h 12"/>
                  <a:gd name="T16" fmla="*/ 17 w 20"/>
                  <a:gd name="T17" fmla="*/ 11 h 12"/>
                  <a:gd name="T18" fmla="*/ 17 w 20"/>
                  <a:gd name="T19" fmla="*/ 11 h 12"/>
                  <a:gd name="T20" fmla="*/ 18 w 20"/>
                  <a:gd name="T21" fmla="*/ 11 h 12"/>
                  <a:gd name="T22" fmla="*/ 20 w 20"/>
                  <a:gd name="T23" fmla="*/ 11 h 12"/>
                  <a:gd name="T24" fmla="*/ 20 w 20"/>
                  <a:gd name="T25" fmla="*/ 6 h 12"/>
                  <a:gd name="T26" fmla="*/ 20 w 20"/>
                  <a:gd name="T27" fmla="*/ 6 h 12"/>
                  <a:gd name="T28" fmla="*/ 20 w 20"/>
                  <a:gd name="T29" fmla="*/ 5 h 12"/>
                  <a:gd name="T30" fmla="*/ 20 w 20"/>
                  <a:gd name="T31" fmla="*/ 3 h 12"/>
                  <a:gd name="T32" fmla="*/ 19 w 20"/>
                  <a:gd name="T33" fmla="*/ 2 h 12"/>
                  <a:gd name="T34" fmla="*/ 17 w 20"/>
                  <a:gd name="T35" fmla="*/ 2 h 12"/>
                  <a:gd name="T36" fmla="*/ 17 w 20"/>
                  <a:gd name="T37" fmla="*/ 1 h 12"/>
                  <a:gd name="T38" fmla="*/ 11 w 20"/>
                  <a:gd name="T39" fmla="*/ 1 h 12"/>
                  <a:gd name="T40" fmla="*/ 5 w 20"/>
                  <a:gd name="T41" fmla="*/ 0 h 12"/>
                  <a:gd name="T42" fmla="*/ 4 w 20"/>
                  <a:gd name="T43" fmla="*/ 4 h 12"/>
                  <a:gd name="T44" fmla="*/ 4 w 20"/>
                  <a:gd name="T45" fmla="*/ 4 h 12"/>
                  <a:gd name="T46" fmla="*/ 8 w 20"/>
                  <a:gd name="T47" fmla="*/ 6 h 12"/>
                  <a:gd name="T48" fmla="*/ 8 w 20"/>
                  <a:gd name="T49" fmla="*/ 7 h 12"/>
                  <a:gd name="T50" fmla="*/ 3 w 20"/>
                  <a:gd name="T51" fmla="*/ 5 h 12"/>
                  <a:gd name="T52" fmla="*/ 4 w 20"/>
                  <a:gd name="T53" fmla="*/ 6 h 12"/>
                  <a:gd name="T54" fmla="*/ 3 w 20"/>
                  <a:gd name="T55" fmla="*/ 6 h 12"/>
                  <a:gd name="T56" fmla="*/ 1 w 20"/>
                  <a:gd name="T57" fmla="*/ 9 h 12"/>
                  <a:gd name="T58" fmla="*/ 1 w 20"/>
                  <a:gd name="T59" fmla="*/ 11 h 12"/>
                  <a:gd name="T60" fmla="*/ 2 w 20"/>
                  <a:gd name="T61" fmla="*/ 11 h 12"/>
                  <a:gd name="T62" fmla="*/ 3 w 20"/>
                  <a:gd name="T63" fmla="*/ 12 h 12"/>
                  <a:gd name="T64" fmla="*/ 3 w 20"/>
                  <a:gd name="T65" fmla="*/ 12 h 12"/>
                  <a:gd name="T66" fmla="*/ 3 w 20"/>
                  <a:gd name="T6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2">
                    <a:moveTo>
                      <a:pt x="3" y="11"/>
                    </a:moveTo>
                    <a:cubicBezTo>
                      <a:pt x="4" y="11"/>
                      <a:pt x="4" y="11"/>
                      <a:pt x="4" y="11"/>
                    </a:cubicBezTo>
                    <a:cubicBezTo>
                      <a:pt x="5" y="11"/>
                      <a:pt x="5" y="11"/>
                      <a:pt x="5" y="11"/>
                    </a:cubicBezTo>
                    <a:cubicBezTo>
                      <a:pt x="5" y="11"/>
                      <a:pt x="5" y="11"/>
                      <a:pt x="6" y="11"/>
                    </a:cubicBezTo>
                    <a:cubicBezTo>
                      <a:pt x="6" y="11"/>
                      <a:pt x="6" y="11"/>
                      <a:pt x="6" y="11"/>
                    </a:cubicBezTo>
                    <a:cubicBezTo>
                      <a:pt x="7" y="11"/>
                      <a:pt x="8" y="11"/>
                      <a:pt x="9" y="11"/>
                    </a:cubicBezTo>
                    <a:cubicBezTo>
                      <a:pt x="9" y="11"/>
                      <a:pt x="9" y="11"/>
                      <a:pt x="9" y="11"/>
                    </a:cubicBezTo>
                    <a:cubicBezTo>
                      <a:pt x="9" y="11"/>
                      <a:pt x="10" y="11"/>
                      <a:pt x="10" y="11"/>
                    </a:cubicBezTo>
                    <a:cubicBezTo>
                      <a:pt x="17" y="11"/>
                      <a:pt x="17" y="11"/>
                      <a:pt x="17" y="11"/>
                    </a:cubicBezTo>
                    <a:cubicBezTo>
                      <a:pt x="17" y="11"/>
                      <a:pt x="17" y="11"/>
                      <a:pt x="17" y="11"/>
                    </a:cubicBezTo>
                    <a:cubicBezTo>
                      <a:pt x="18" y="11"/>
                      <a:pt x="18" y="11"/>
                      <a:pt x="18" y="11"/>
                    </a:cubicBezTo>
                    <a:cubicBezTo>
                      <a:pt x="19" y="11"/>
                      <a:pt x="20" y="11"/>
                      <a:pt x="20" y="11"/>
                    </a:cubicBezTo>
                    <a:cubicBezTo>
                      <a:pt x="20" y="11"/>
                      <a:pt x="20" y="9"/>
                      <a:pt x="20" y="6"/>
                    </a:cubicBezTo>
                    <a:cubicBezTo>
                      <a:pt x="20" y="6"/>
                      <a:pt x="20" y="6"/>
                      <a:pt x="20" y="6"/>
                    </a:cubicBezTo>
                    <a:cubicBezTo>
                      <a:pt x="20" y="5"/>
                      <a:pt x="20" y="5"/>
                      <a:pt x="20" y="5"/>
                    </a:cubicBezTo>
                    <a:cubicBezTo>
                      <a:pt x="20" y="4"/>
                      <a:pt x="20" y="4"/>
                      <a:pt x="20" y="3"/>
                    </a:cubicBezTo>
                    <a:cubicBezTo>
                      <a:pt x="19" y="2"/>
                      <a:pt x="19" y="2"/>
                      <a:pt x="19" y="2"/>
                    </a:cubicBezTo>
                    <a:cubicBezTo>
                      <a:pt x="19" y="2"/>
                      <a:pt x="18" y="2"/>
                      <a:pt x="17" y="2"/>
                    </a:cubicBezTo>
                    <a:cubicBezTo>
                      <a:pt x="17" y="2"/>
                      <a:pt x="17" y="1"/>
                      <a:pt x="17" y="1"/>
                    </a:cubicBezTo>
                    <a:cubicBezTo>
                      <a:pt x="11" y="1"/>
                      <a:pt x="11" y="1"/>
                      <a:pt x="11" y="1"/>
                    </a:cubicBezTo>
                    <a:cubicBezTo>
                      <a:pt x="8" y="1"/>
                      <a:pt x="6" y="1"/>
                      <a:pt x="5" y="0"/>
                    </a:cubicBezTo>
                    <a:cubicBezTo>
                      <a:pt x="5" y="2"/>
                      <a:pt x="5" y="3"/>
                      <a:pt x="4" y="4"/>
                    </a:cubicBezTo>
                    <a:cubicBezTo>
                      <a:pt x="4" y="4"/>
                      <a:pt x="4" y="4"/>
                      <a:pt x="4" y="4"/>
                    </a:cubicBezTo>
                    <a:cubicBezTo>
                      <a:pt x="8" y="6"/>
                      <a:pt x="8" y="6"/>
                      <a:pt x="8" y="6"/>
                    </a:cubicBezTo>
                    <a:cubicBezTo>
                      <a:pt x="8" y="7"/>
                      <a:pt x="8" y="7"/>
                      <a:pt x="8" y="7"/>
                    </a:cubicBezTo>
                    <a:cubicBezTo>
                      <a:pt x="3" y="5"/>
                      <a:pt x="3" y="5"/>
                      <a:pt x="3" y="5"/>
                    </a:cubicBezTo>
                    <a:cubicBezTo>
                      <a:pt x="3" y="6"/>
                      <a:pt x="3" y="7"/>
                      <a:pt x="4" y="6"/>
                    </a:cubicBezTo>
                    <a:cubicBezTo>
                      <a:pt x="4" y="6"/>
                      <a:pt x="4" y="6"/>
                      <a:pt x="3" y="6"/>
                    </a:cubicBezTo>
                    <a:cubicBezTo>
                      <a:pt x="3" y="7"/>
                      <a:pt x="2" y="8"/>
                      <a:pt x="1" y="9"/>
                    </a:cubicBezTo>
                    <a:cubicBezTo>
                      <a:pt x="0" y="10"/>
                      <a:pt x="0" y="11"/>
                      <a:pt x="1" y="11"/>
                    </a:cubicBezTo>
                    <a:cubicBezTo>
                      <a:pt x="2" y="11"/>
                      <a:pt x="2" y="11"/>
                      <a:pt x="2" y="11"/>
                    </a:cubicBezTo>
                    <a:cubicBezTo>
                      <a:pt x="2" y="11"/>
                      <a:pt x="3" y="12"/>
                      <a:pt x="3" y="12"/>
                    </a:cubicBezTo>
                    <a:cubicBezTo>
                      <a:pt x="3" y="12"/>
                      <a:pt x="3" y="12"/>
                      <a:pt x="3" y="12"/>
                    </a:cubicBezTo>
                    <a:lnTo>
                      <a:pt x="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5" name="Freeform 3067">
                <a:extLst>
                  <a:ext uri="{FF2B5EF4-FFF2-40B4-BE49-F238E27FC236}">
                    <a16:creationId xmlns:a16="http://schemas.microsoft.com/office/drawing/2014/main" id="{DE9DAE72-166D-40D6-9065-FD2584B3DDB1}"/>
                  </a:ext>
                </a:extLst>
              </p:cNvPr>
              <p:cNvSpPr>
                <a:spLocks/>
              </p:cNvSpPr>
              <p:nvPr/>
            </p:nvSpPr>
            <p:spPr bwMode="auto">
              <a:xfrm>
                <a:off x="3840" y="2887"/>
                <a:ext cx="19" cy="27"/>
              </a:xfrm>
              <a:custGeom>
                <a:avLst/>
                <a:gdLst>
                  <a:gd name="T0" fmla="*/ 1 w 8"/>
                  <a:gd name="T1" fmla="*/ 8 h 11"/>
                  <a:gd name="T2" fmla="*/ 2 w 8"/>
                  <a:gd name="T3" fmla="*/ 11 h 11"/>
                  <a:gd name="T4" fmla="*/ 2 w 8"/>
                  <a:gd name="T5" fmla="*/ 11 h 11"/>
                  <a:gd name="T6" fmla="*/ 4 w 8"/>
                  <a:gd name="T7" fmla="*/ 11 h 11"/>
                  <a:gd name="T8" fmla="*/ 3 w 8"/>
                  <a:gd name="T9" fmla="*/ 7 h 11"/>
                  <a:gd name="T10" fmla="*/ 3 w 8"/>
                  <a:gd name="T11" fmla="*/ 6 h 11"/>
                  <a:gd name="T12" fmla="*/ 3 w 8"/>
                  <a:gd name="T13" fmla="*/ 6 h 11"/>
                  <a:gd name="T14" fmla="*/ 3 w 8"/>
                  <a:gd name="T15" fmla="*/ 6 h 11"/>
                  <a:gd name="T16" fmla="*/ 3 w 8"/>
                  <a:gd name="T17" fmla="*/ 5 h 11"/>
                  <a:gd name="T18" fmla="*/ 3 w 8"/>
                  <a:gd name="T19" fmla="*/ 4 h 11"/>
                  <a:gd name="T20" fmla="*/ 4 w 8"/>
                  <a:gd name="T21" fmla="*/ 3 h 11"/>
                  <a:gd name="T22" fmla="*/ 6 w 8"/>
                  <a:gd name="T23" fmla="*/ 2 h 11"/>
                  <a:gd name="T24" fmla="*/ 7 w 8"/>
                  <a:gd name="T25" fmla="*/ 2 h 11"/>
                  <a:gd name="T26" fmla="*/ 8 w 8"/>
                  <a:gd name="T27" fmla="*/ 1 h 11"/>
                  <a:gd name="T28" fmla="*/ 8 w 8"/>
                  <a:gd name="T29" fmla="*/ 0 h 11"/>
                  <a:gd name="T30" fmla="*/ 8 w 8"/>
                  <a:gd name="T31" fmla="*/ 0 h 11"/>
                  <a:gd name="T32" fmla="*/ 5 w 8"/>
                  <a:gd name="T33" fmla="*/ 2 h 11"/>
                  <a:gd name="T34" fmla="*/ 5 w 8"/>
                  <a:gd name="T35" fmla="*/ 2 h 11"/>
                  <a:gd name="T36" fmla="*/ 3 w 8"/>
                  <a:gd name="T37" fmla="*/ 3 h 11"/>
                  <a:gd name="T38" fmla="*/ 3 w 8"/>
                  <a:gd name="T39" fmla="*/ 4 h 11"/>
                  <a:gd name="T40" fmla="*/ 1 w 8"/>
                  <a:gd name="T41" fmla="*/ 5 h 11"/>
                  <a:gd name="T42" fmla="*/ 1 w 8"/>
                  <a:gd name="T43" fmla="*/ 6 h 11"/>
                  <a:gd name="T44" fmla="*/ 0 w 8"/>
                  <a:gd name="T45" fmla="*/ 6 h 11"/>
                  <a:gd name="T46" fmla="*/ 1 w 8"/>
                  <a:gd name="T47" fmla="*/ 7 h 11"/>
                  <a:gd name="T48" fmla="*/ 1 w 8"/>
                  <a:gd name="T4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1">
                    <a:moveTo>
                      <a:pt x="1" y="8"/>
                    </a:moveTo>
                    <a:cubicBezTo>
                      <a:pt x="2" y="9"/>
                      <a:pt x="2" y="10"/>
                      <a:pt x="2" y="11"/>
                    </a:cubicBezTo>
                    <a:cubicBezTo>
                      <a:pt x="2" y="11"/>
                      <a:pt x="2" y="11"/>
                      <a:pt x="2" y="11"/>
                    </a:cubicBezTo>
                    <a:cubicBezTo>
                      <a:pt x="3" y="11"/>
                      <a:pt x="3" y="11"/>
                      <a:pt x="4" y="11"/>
                    </a:cubicBezTo>
                    <a:cubicBezTo>
                      <a:pt x="4" y="10"/>
                      <a:pt x="4" y="9"/>
                      <a:pt x="3" y="7"/>
                    </a:cubicBezTo>
                    <a:cubicBezTo>
                      <a:pt x="3" y="7"/>
                      <a:pt x="3" y="6"/>
                      <a:pt x="3" y="6"/>
                    </a:cubicBezTo>
                    <a:cubicBezTo>
                      <a:pt x="3" y="6"/>
                      <a:pt x="3" y="6"/>
                      <a:pt x="3" y="6"/>
                    </a:cubicBezTo>
                    <a:cubicBezTo>
                      <a:pt x="3" y="6"/>
                      <a:pt x="3" y="6"/>
                      <a:pt x="3" y="6"/>
                    </a:cubicBezTo>
                    <a:cubicBezTo>
                      <a:pt x="3" y="5"/>
                      <a:pt x="3" y="5"/>
                      <a:pt x="3" y="5"/>
                    </a:cubicBezTo>
                    <a:cubicBezTo>
                      <a:pt x="3" y="5"/>
                      <a:pt x="3" y="5"/>
                      <a:pt x="3" y="4"/>
                    </a:cubicBezTo>
                    <a:cubicBezTo>
                      <a:pt x="4" y="4"/>
                      <a:pt x="4" y="4"/>
                      <a:pt x="4" y="3"/>
                    </a:cubicBezTo>
                    <a:cubicBezTo>
                      <a:pt x="5" y="3"/>
                      <a:pt x="6" y="2"/>
                      <a:pt x="6" y="2"/>
                    </a:cubicBezTo>
                    <a:cubicBezTo>
                      <a:pt x="7" y="2"/>
                      <a:pt x="7" y="2"/>
                      <a:pt x="7" y="2"/>
                    </a:cubicBezTo>
                    <a:cubicBezTo>
                      <a:pt x="7" y="1"/>
                      <a:pt x="8" y="1"/>
                      <a:pt x="8" y="1"/>
                    </a:cubicBezTo>
                    <a:cubicBezTo>
                      <a:pt x="8" y="0"/>
                      <a:pt x="8" y="0"/>
                      <a:pt x="8" y="0"/>
                    </a:cubicBezTo>
                    <a:cubicBezTo>
                      <a:pt x="8" y="0"/>
                      <a:pt x="8" y="0"/>
                      <a:pt x="8" y="0"/>
                    </a:cubicBezTo>
                    <a:cubicBezTo>
                      <a:pt x="7" y="1"/>
                      <a:pt x="6" y="1"/>
                      <a:pt x="5" y="2"/>
                    </a:cubicBezTo>
                    <a:cubicBezTo>
                      <a:pt x="5" y="2"/>
                      <a:pt x="5" y="2"/>
                      <a:pt x="5" y="2"/>
                    </a:cubicBezTo>
                    <a:cubicBezTo>
                      <a:pt x="4" y="3"/>
                      <a:pt x="4" y="3"/>
                      <a:pt x="3" y="3"/>
                    </a:cubicBezTo>
                    <a:cubicBezTo>
                      <a:pt x="3" y="4"/>
                      <a:pt x="3" y="4"/>
                      <a:pt x="3" y="4"/>
                    </a:cubicBezTo>
                    <a:cubicBezTo>
                      <a:pt x="2" y="4"/>
                      <a:pt x="2" y="5"/>
                      <a:pt x="1" y="5"/>
                    </a:cubicBezTo>
                    <a:cubicBezTo>
                      <a:pt x="1" y="6"/>
                      <a:pt x="1" y="6"/>
                      <a:pt x="1" y="6"/>
                    </a:cubicBezTo>
                    <a:cubicBezTo>
                      <a:pt x="0" y="6"/>
                      <a:pt x="0" y="6"/>
                      <a:pt x="0" y="6"/>
                    </a:cubicBezTo>
                    <a:cubicBezTo>
                      <a:pt x="0" y="6"/>
                      <a:pt x="1" y="7"/>
                      <a:pt x="1" y="7"/>
                    </a:cubicBezTo>
                    <a:cubicBezTo>
                      <a:pt x="1" y="7"/>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6" name="Freeform 3068">
                <a:extLst>
                  <a:ext uri="{FF2B5EF4-FFF2-40B4-BE49-F238E27FC236}">
                    <a16:creationId xmlns:a16="http://schemas.microsoft.com/office/drawing/2014/main" id="{A3C07F5A-F220-4198-88F6-F4F145948FC6}"/>
                  </a:ext>
                </a:extLst>
              </p:cNvPr>
              <p:cNvSpPr>
                <a:spLocks/>
              </p:cNvSpPr>
              <p:nvPr/>
            </p:nvSpPr>
            <p:spPr bwMode="auto">
              <a:xfrm>
                <a:off x="3570" y="2481"/>
                <a:ext cx="69" cy="144"/>
              </a:xfrm>
              <a:custGeom>
                <a:avLst/>
                <a:gdLst>
                  <a:gd name="T0" fmla="*/ 18 w 29"/>
                  <a:gd name="T1" fmla="*/ 57 h 61"/>
                  <a:gd name="T2" fmla="*/ 18 w 29"/>
                  <a:gd name="T3" fmla="*/ 53 h 61"/>
                  <a:gd name="T4" fmla="*/ 18 w 29"/>
                  <a:gd name="T5" fmla="*/ 48 h 61"/>
                  <a:gd name="T6" fmla="*/ 17 w 29"/>
                  <a:gd name="T7" fmla="*/ 41 h 61"/>
                  <a:gd name="T8" fmla="*/ 17 w 29"/>
                  <a:gd name="T9" fmla="*/ 40 h 61"/>
                  <a:gd name="T10" fmla="*/ 18 w 29"/>
                  <a:gd name="T11" fmla="*/ 34 h 61"/>
                  <a:gd name="T12" fmla="*/ 18 w 29"/>
                  <a:gd name="T13" fmla="*/ 34 h 61"/>
                  <a:gd name="T14" fmla="*/ 21 w 29"/>
                  <a:gd name="T15" fmla="*/ 31 h 61"/>
                  <a:gd name="T16" fmla="*/ 21 w 29"/>
                  <a:gd name="T17" fmla="*/ 31 h 61"/>
                  <a:gd name="T18" fmla="*/ 23 w 29"/>
                  <a:gd name="T19" fmla="*/ 28 h 61"/>
                  <a:gd name="T20" fmla="*/ 26 w 29"/>
                  <a:gd name="T21" fmla="*/ 22 h 61"/>
                  <a:gd name="T22" fmla="*/ 27 w 29"/>
                  <a:gd name="T23" fmla="*/ 22 h 61"/>
                  <a:gd name="T24" fmla="*/ 27 w 29"/>
                  <a:gd name="T25" fmla="*/ 19 h 61"/>
                  <a:gd name="T26" fmla="*/ 28 w 29"/>
                  <a:gd name="T27" fmla="*/ 17 h 61"/>
                  <a:gd name="T28" fmla="*/ 28 w 29"/>
                  <a:gd name="T29" fmla="*/ 17 h 61"/>
                  <a:gd name="T30" fmla="*/ 29 w 29"/>
                  <a:gd name="T31" fmla="*/ 16 h 61"/>
                  <a:gd name="T32" fmla="*/ 28 w 29"/>
                  <a:gd name="T33" fmla="*/ 14 h 61"/>
                  <a:gd name="T34" fmla="*/ 27 w 29"/>
                  <a:gd name="T35" fmla="*/ 11 h 61"/>
                  <a:gd name="T36" fmla="*/ 26 w 29"/>
                  <a:gd name="T37" fmla="*/ 7 h 61"/>
                  <a:gd name="T38" fmla="*/ 26 w 29"/>
                  <a:gd name="T39" fmla="*/ 6 h 61"/>
                  <a:gd name="T40" fmla="*/ 20 w 29"/>
                  <a:gd name="T41" fmla="*/ 0 h 61"/>
                  <a:gd name="T42" fmla="*/ 20 w 29"/>
                  <a:gd name="T43" fmla="*/ 0 h 61"/>
                  <a:gd name="T44" fmla="*/ 18 w 29"/>
                  <a:gd name="T45" fmla="*/ 0 h 61"/>
                  <a:gd name="T46" fmla="*/ 17 w 29"/>
                  <a:gd name="T47" fmla="*/ 1 h 61"/>
                  <a:gd name="T48" fmla="*/ 17 w 29"/>
                  <a:gd name="T49" fmla="*/ 2 h 61"/>
                  <a:gd name="T50" fmla="*/ 17 w 29"/>
                  <a:gd name="T51" fmla="*/ 3 h 61"/>
                  <a:gd name="T52" fmla="*/ 17 w 29"/>
                  <a:gd name="T53" fmla="*/ 4 h 61"/>
                  <a:gd name="T54" fmla="*/ 16 w 29"/>
                  <a:gd name="T55" fmla="*/ 5 h 61"/>
                  <a:gd name="T56" fmla="*/ 13 w 29"/>
                  <a:gd name="T57" fmla="*/ 8 h 61"/>
                  <a:gd name="T58" fmla="*/ 13 w 29"/>
                  <a:gd name="T59" fmla="*/ 9 h 61"/>
                  <a:gd name="T60" fmla="*/ 12 w 29"/>
                  <a:gd name="T61" fmla="*/ 9 h 61"/>
                  <a:gd name="T62" fmla="*/ 11 w 29"/>
                  <a:gd name="T63" fmla="*/ 9 h 61"/>
                  <a:gd name="T64" fmla="*/ 10 w 29"/>
                  <a:gd name="T65" fmla="*/ 9 h 61"/>
                  <a:gd name="T66" fmla="*/ 8 w 29"/>
                  <a:gd name="T67" fmla="*/ 9 h 61"/>
                  <a:gd name="T68" fmla="*/ 6 w 29"/>
                  <a:gd name="T69" fmla="*/ 9 h 61"/>
                  <a:gd name="T70" fmla="*/ 4 w 29"/>
                  <a:gd name="T71" fmla="*/ 10 h 61"/>
                  <a:gd name="T72" fmla="*/ 5 w 29"/>
                  <a:gd name="T73" fmla="*/ 13 h 61"/>
                  <a:gd name="T74" fmla="*/ 1 w 29"/>
                  <a:gd name="T75" fmla="*/ 14 h 61"/>
                  <a:gd name="T76" fmla="*/ 1 w 29"/>
                  <a:gd name="T77" fmla="*/ 14 h 61"/>
                  <a:gd name="T78" fmla="*/ 0 w 29"/>
                  <a:gd name="T79" fmla="*/ 18 h 61"/>
                  <a:gd name="T80" fmla="*/ 3 w 29"/>
                  <a:gd name="T81" fmla="*/ 21 h 61"/>
                  <a:gd name="T82" fmla="*/ 5 w 29"/>
                  <a:gd name="T83" fmla="*/ 22 h 61"/>
                  <a:gd name="T84" fmla="*/ 5 w 29"/>
                  <a:gd name="T85" fmla="*/ 22 h 61"/>
                  <a:gd name="T86" fmla="*/ 6 w 29"/>
                  <a:gd name="T87" fmla="*/ 28 h 61"/>
                  <a:gd name="T88" fmla="*/ 6 w 29"/>
                  <a:gd name="T89" fmla="*/ 29 h 61"/>
                  <a:gd name="T90" fmla="*/ 7 w 29"/>
                  <a:gd name="T91" fmla="*/ 30 h 61"/>
                  <a:gd name="T92" fmla="*/ 7 w 29"/>
                  <a:gd name="T93" fmla="*/ 30 h 61"/>
                  <a:gd name="T94" fmla="*/ 9 w 29"/>
                  <a:gd name="T95" fmla="*/ 37 h 61"/>
                  <a:gd name="T96" fmla="*/ 9 w 29"/>
                  <a:gd name="T97" fmla="*/ 41 h 61"/>
                  <a:gd name="T98" fmla="*/ 9 w 29"/>
                  <a:gd name="T99" fmla="*/ 49 h 61"/>
                  <a:gd name="T100" fmla="*/ 8 w 29"/>
                  <a:gd name="T101" fmla="*/ 53 h 61"/>
                  <a:gd name="T102" fmla="*/ 9 w 29"/>
                  <a:gd name="T103" fmla="*/ 56 h 61"/>
                  <a:gd name="T104" fmla="*/ 8 w 29"/>
                  <a:gd name="T105" fmla="*/ 57 h 61"/>
                  <a:gd name="T106" fmla="*/ 9 w 29"/>
                  <a:gd name="T107" fmla="*/ 57 h 61"/>
                  <a:gd name="T108" fmla="*/ 10 w 29"/>
                  <a:gd name="T109" fmla="*/ 59 h 61"/>
                  <a:gd name="T110" fmla="*/ 10 w 29"/>
                  <a:gd name="T111" fmla="*/ 60 h 61"/>
                  <a:gd name="T112" fmla="*/ 10 w 29"/>
                  <a:gd name="T113" fmla="*/ 61 h 61"/>
                  <a:gd name="T114" fmla="*/ 17 w 29"/>
                  <a:gd name="T11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 h="61">
                    <a:moveTo>
                      <a:pt x="17" y="61"/>
                    </a:moveTo>
                    <a:cubicBezTo>
                      <a:pt x="17" y="59"/>
                      <a:pt x="18" y="58"/>
                      <a:pt x="18" y="57"/>
                    </a:cubicBezTo>
                    <a:cubicBezTo>
                      <a:pt x="18" y="56"/>
                      <a:pt x="18" y="56"/>
                      <a:pt x="18" y="55"/>
                    </a:cubicBezTo>
                    <a:cubicBezTo>
                      <a:pt x="18" y="55"/>
                      <a:pt x="18" y="54"/>
                      <a:pt x="18" y="53"/>
                    </a:cubicBezTo>
                    <a:cubicBezTo>
                      <a:pt x="18" y="52"/>
                      <a:pt x="18" y="51"/>
                      <a:pt x="18" y="50"/>
                    </a:cubicBezTo>
                    <a:cubicBezTo>
                      <a:pt x="18" y="48"/>
                      <a:pt x="18" y="48"/>
                      <a:pt x="18" y="48"/>
                    </a:cubicBezTo>
                    <a:cubicBezTo>
                      <a:pt x="17" y="47"/>
                      <a:pt x="17" y="46"/>
                      <a:pt x="17" y="45"/>
                    </a:cubicBezTo>
                    <a:cubicBezTo>
                      <a:pt x="17" y="44"/>
                      <a:pt x="17" y="43"/>
                      <a:pt x="17" y="41"/>
                    </a:cubicBezTo>
                    <a:cubicBezTo>
                      <a:pt x="17" y="41"/>
                      <a:pt x="17" y="41"/>
                      <a:pt x="17" y="41"/>
                    </a:cubicBezTo>
                    <a:cubicBezTo>
                      <a:pt x="17" y="41"/>
                      <a:pt x="17" y="41"/>
                      <a:pt x="17" y="40"/>
                    </a:cubicBezTo>
                    <a:cubicBezTo>
                      <a:pt x="17" y="39"/>
                      <a:pt x="18" y="37"/>
                      <a:pt x="18" y="36"/>
                    </a:cubicBezTo>
                    <a:cubicBezTo>
                      <a:pt x="18" y="35"/>
                      <a:pt x="18" y="34"/>
                      <a:pt x="18" y="34"/>
                    </a:cubicBezTo>
                    <a:cubicBezTo>
                      <a:pt x="17" y="34"/>
                      <a:pt x="17" y="34"/>
                      <a:pt x="17" y="34"/>
                    </a:cubicBezTo>
                    <a:cubicBezTo>
                      <a:pt x="18" y="34"/>
                      <a:pt x="18" y="34"/>
                      <a:pt x="18" y="34"/>
                    </a:cubicBezTo>
                    <a:cubicBezTo>
                      <a:pt x="18" y="33"/>
                      <a:pt x="18" y="32"/>
                      <a:pt x="19" y="32"/>
                    </a:cubicBezTo>
                    <a:cubicBezTo>
                      <a:pt x="19" y="31"/>
                      <a:pt x="20" y="31"/>
                      <a:pt x="21" y="31"/>
                    </a:cubicBezTo>
                    <a:cubicBezTo>
                      <a:pt x="21" y="31"/>
                      <a:pt x="21" y="31"/>
                      <a:pt x="21" y="31"/>
                    </a:cubicBezTo>
                    <a:cubicBezTo>
                      <a:pt x="21" y="31"/>
                      <a:pt x="21" y="31"/>
                      <a:pt x="21" y="31"/>
                    </a:cubicBezTo>
                    <a:cubicBezTo>
                      <a:pt x="21" y="31"/>
                      <a:pt x="22" y="31"/>
                      <a:pt x="22" y="31"/>
                    </a:cubicBezTo>
                    <a:cubicBezTo>
                      <a:pt x="22" y="30"/>
                      <a:pt x="22" y="29"/>
                      <a:pt x="23" y="28"/>
                    </a:cubicBezTo>
                    <a:cubicBezTo>
                      <a:pt x="23" y="27"/>
                      <a:pt x="23" y="26"/>
                      <a:pt x="24" y="25"/>
                    </a:cubicBezTo>
                    <a:cubicBezTo>
                      <a:pt x="26" y="22"/>
                      <a:pt x="26" y="22"/>
                      <a:pt x="26" y="22"/>
                    </a:cubicBezTo>
                    <a:cubicBezTo>
                      <a:pt x="27" y="22"/>
                      <a:pt x="27" y="22"/>
                      <a:pt x="27" y="22"/>
                    </a:cubicBezTo>
                    <a:cubicBezTo>
                      <a:pt x="27" y="22"/>
                      <a:pt x="27" y="22"/>
                      <a:pt x="27" y="22"/>
                    </a:cubicBezTo>
                    <a:cubicBezTo>
                      <a:pt x="26" y="21"/>
                      <a:pt x="26" y="21"/>
                      <a:pt x="26" y="20"/>
                    </a:cubicBezTo>
                    <a:cubicBezTo>
                      <a:pt x="26" y="19"/>
                      <a:pt x="27" y="19"/>
                      <a:pt x="27" y="19"/>
                    </a:cubicBezTo>
                    <a:cubicBezTo>
                      <a:pt x="27" y="18"/>
                      <a:pt x="27" y="18"/>
                      <a:pt x="27" y="18"/>
                    </a:cubicBezTo>
                    <a:cubicBezTo>
                      <a:pt x="27" y="18"/>
                      <a:pt x="27" y="17"/>
                      <a:pt x="28" y="17"/>
                    </a:cubicBezTo>
                    <a:cubicBezTo>
                      <a:pt x="28" y="17"/>
                      <a:pt x="28" y="17"/>
                      <a:pt x="28" y="17"/>
                    </a:cubicBezTo>
                    <a:cubicBezTo>
                      <a:pt x="28" y="17"/>
                      <a:pt x="28" y="17"/>
                      <a:pt x="28" y="17"/>
                    </a:cubicBezTo>
                    <a:cubicBezTo>
                      <a:pt x="29" y="16"/>
                      <a:pt x="29" y="16"/>
                      <a:pt x="29" y="16"/>
                    </a:cubicBezTo>
                    <a:cubicBezTo>
                      <a:pt x="29" y="16"/>
                      <a:pt x="29" y="16"/>
                      <a:pt x="29" y="16"/>
                    </a:cubicBezTo>
                    <a:cubicBezTo>
                      <a:pt x="29" y="15"/>
                      <a:pt x="29" y="15"/>
                      <a:pt x="29" y="15"/>
                    </a:cubicBezTo>
                    <a:cubicBezTo>
                      <a:pt x="28" y="14"/>
                      <a:pt x="28" y="14"/>
                      <a:pt x="28" y="14"/>
                    </a:cubicBezTo>
                    <a:cubicBezTo>
                      <a:pt x="28" y="13"/>
                      <a:pt x="28" y="13"/>
                      <a:pt x="28" y="13"/>
                    </a:cubicBezTo>
                    <a:cubicBezTo>
                      <a:pt x="28" y="12"/>
                      <a:pt x="28" y="12"/>
                      <a:pt x="27" y="11"/>
                    </a:cubicBezTo>
                    <a:cubicBezTo>
                      <a:pt x="27" y="11"/>
                      <a:pt x="27" y="11"/>
                      <a:pt x="27" y="11"/>
                    </a:cubicBezTo>
                    <a:cubicBezTo>
                      <a:pt x="26" y="10"/>
                      <a:pt x="25" y="9"/>
                      <a:pt x="26" y="7"/>
                    </a:cubicBezTo>
                    <a:cubicBezTo>
                      <a:pt x="26" y="7"/>
                      <a:pt x="26" y="7"/>
                      <a:pt x="26" y="7"/>
                    </a:cubicBezTo>
                    <a:cubicBezTo>
                      <a:pt x="26" y="7"/>
                      <a:pt x="26" y="6"/>
                      <a:pt x="26" y="6"/>
                    </a:cubicBezTo>
                    <a:cubicBezTo>
                      <a:pt x="26" y="6"/>
                      <a:pt x="26" y="6"/>
                      <a:pt x="25" y="5"/>
                    </a:cubicBezTo>
                    <a:cubicBezTo>
                      <a:pt x="23" y="4"/>
                      <a:pt x="22" y="2"/>
                      <a:pt x="20" y="0"/>
                    </a:cubicBezTo>
                    <a:cubicBezTo>
                      <a:pt x="20" y="0"/>
                      <a:pt x="20" y="0"/>
                      <a:pt x="20" y="0"/>
                    </a:cubicBezTo>
                    <a:cubicBezTo>
                      <a:pt x="20" y="0"/>
                      <a:pt x="20" y="0"/>
                      <a:pt x="20" y="0"/>
                    </a:cubicBezTo>
                    <a:cubicBezTo>
                      <a:pt x="19" y="0"/>
                      <a:pt x="19" y="0"/>
                      <a:pt x="19" y="0"/>
                    </a:cubicBezTo>
                    <a:cubicBezTo>
                      <a:pt x="19" y="0"/>
                      <a:pt x="18" y="0"/>
                      <a:pt x="18" y="0"/>
                    </a:cubicBezTo>
                    <a:cubicBezTo>
                      <a:pt x="17" y="0"/>
                      <a:pt x="17" y="0"/>
                      <a:pt x="17" y="0"/>
                    </a:cubicBezTo>
                    <a:cubicBezTo>
                      <a:pt x="17" y="1"/>
                      <a:pt x="17" y="1"/>
                      <a:pt x="17" y="1"/>
                    </a:cubicBezTo>
                    <a:cubicBezTo>
                      <a:pt x="17" y="1"/>
                      <a:pt x="17" y="1"/>
                      <a:pt x="17" y="1"/>
                    </a:cubicBezTo>
                    <a:cubicBezTo>
                      <a:pt x="17" y="1"/>
                      <a:pt x="17" y="2"/>
                      <a:pt x="17" y="2"/>
                    </a:cubicBezTo>
                    <a:cubicBezTo>
                      <a:pt x="17" y="3"/>
                      <a:pt x="17" y="3"/>
                      <a:pt x="17" y="3"/>
                    </a:cubicBezTo>
                    <a:cubicBezTo>
                      <a:pt x="17" y="3"/>
                      <a:pt x="17" y="3"/>
                      <a:pt x="17" y="3"/>
                    </a:cubicBezTo>
                    <a:cubicBezTo>
                      <a:pt x="17" y="4"/>
                      <a:pt x="17" y="4"/>
                      <a:pt x="17" y="4"/>
                    </a:cubicBezTo>
                    <a:cubicBezTo>
                      <a:pt x="17" y="4"/>
                      <a:pt x="17" y="4"/>
                      <a:pt x="17" y="4"/>
                    </a:cubicBezTo>
                    <a:cubicBezTo>
                      <a:pt x="17" y="5"/>
                      <a:pt x="17" y="5"/>
                      <a:pt x="17" y="5"/>
                    </a:cubicBezTo>
                    <a:cubicBezTo>
                      <a:pt x="16" y="5"/>
                      <a:pt x="16" y="5"/>
                      <a:pt x="16" y="5"/>
                    </a:cubicBezTo>
                    <a:cubicBezTo>
                      <a:pt x="16" y="6"/>
                      <a:pt x="15" y="7"/>
                      <a:pt x="14" y="8"/>
                    </a:cubicBezTo>
                    <a:cubicBezTo>
                      <a:pt x="14" y="8"/>
                      <a:pt x="14" y="8"/>
                      <a:pt x="13" y="8"/>
                    </a:cubicBezTo>
                    <a:cubicBezTo>
                      <a:pt x="13" y="8"/>
                      <a:pt x="13" y="9"/>
                      <a:pt x="13" y="9"/>
                    </a:cubicBezTo>
                    <a:cubicBezTo>
                      <a:pt x="13" y="9"/>
                      <a:pt x="13" y="9"/>
                      <a:pt x="13" y="9"/>
                    </a:cubicBezTo>
                    <a:cubicBezTo>
                      <a:pt x="13" y="9"/>
                      <a:pt x="13" y="9"/>
                      <a:pt x="12" y="9"/>
                    </a:cubicBezTo>
                    <a:cubicBezTo>
                      <a:pt x="12" y="9"/>
                      <a:pt x="12" y="9"/>
                      <a:pt x="12" y="9"/>
                    </a:cubicBezTo>
                    <a:cubicBezTo>
                      <a:pt x="12" y="9"/>
                      <a:pt x="11" y="9"/>
                      <a:pt x="11" y="9"/>
                    </a:cubicBezTo>
                    <a:cubicBezTo>
                      <a:pt x="11" y="9"/>
                      <a:pt x="11" y="9"/>
                      <a:pt x="11" y="9"/>
                    </a:cubicBezTo>
                    <a:cubicBezTo>
                      <a:pt x="10" y="9"/>
                      <a:pt x="10" y="9"/>
                      <a:pt x="10" y="9"/>
                    </a:cubicBezTo>
                    <a:cubicBezTo>
                      <a:pt x="10" y="9"/>
                      <a:pt x="10" y="9"/>
                      <a:pt x="10" y="9"/>
                    </a:cubicBezTo>
                    <a:cubicBezTo>
                      <a:pt x="9" y="9"/>
                      <a:pt x="9" y="9"/>
                      <a:pt x="8" y="9"/>
                    </a:cubicBezTo>
                    <a:cubicBezTo>
                      <a:pt x="8" y="9"/>
                      <a:pt x="8" y="9"/>
                      <a:pt x="8" y="9"/>
                    </a:cubicBezTo>
                    <a:cubicBezTo>
                      <a:pt x="8" y="9"/>
                      <a:pt x="7" y="9"/>
                      <a:pt x="7" y="9"/>
                    </a:cubicBezTo>
                    <a:cubicBezTo>
                      <a:pt x="6" y="9"/>
                      <a:pt x="6" y="9"/>
                      <a:pt x="6" y="9"/>
                    </a:cubicBezTo>
                    <a:cubicBezTo>
                      <a:pt x="6" y="9"/>
                      <a:pt x="5" y="10"/>
                      <a:pt x="5" y="10"/>
                    </a:cubicBezTo>
                    <a:cubicBezTo>
                      <a:pt x="4" y="10"/>
                      <a:pt x="4" y="10"/>
                      <a:pt x="4" y="10"/>
                    </a:cubicBezTo>
                    <a:cubicBezTo>
                      <a:pt x="4" y="11"/>
                      <a:pt x="4" y="11"/>
                      <a:pt x="3" y="11"/>
                    </a:cubicBezTo>
                    <a:cubicBezTo>
                      <a:pt x="5" y="13"/>
                      <a:pt x="5" y="13"/>
                      <a:pt x="5" y="13"/>
                    </a:cubicBezTo>
                    <a:cubicBezTo>
                      <a:pt x="3" y="13"/>
                      <a:pt x="3" y="13"/>
                      <a:pt x="3" y="13"/>
                    </a:cubicBezTo>
                    <a:cubicBezTo>
                      <a:pt x="2" y="13"/>
                      <a:pt x="2" y="14"/>
                      <a:pt x="1" y="14"/>
                    </a:cubicBezTo>
                    <a:cubicBezTo>
                      <a:pt x="1" y="15"/>
                      <a:pt x="1" y="15"/>
                      <a:pt x="1" y="15"/>
                    </a:cubicBezTo>
                    <a:cubicBezTo>
                      <a:pt x="1" y="14"/>
                      <a:pt x="1" y="14"/>
                      <a:pt x="1" y="14"/>
                    </a:cubicBezTo>
                    <a:cubicBezTo>
                      <a:pt x="1" y="15"/>
                      <a:pt x="0" y="16"/>
                      <a:pt x="0" y="16"/>
                    </a:cubicBezTo>
                    <a:cubicBezTo>
                      <a:pt x="0" y="17"/>
                      <a:pt x="0" y="17"/>
                      <a:pt x="0" y="18"/>
                    </a:cubicBezTo>
                    <a:cubicBezTo>
                      <a:pt x="0" y="18"/>
                      <a:pt x="1" y="19"/>
                      <a:pt x="1" y="19"/>
                    </a:cubicBezTo>
                    <a:cubicBezTo>
                      <a:pt x="2" y="20"/>
                      <a:pt x="3" y="20"/>
                      <a:pt x="3" y="21"/>
                    </a:cubicBezTo>
                    <a:cubicBezTo>
                      <a:pt x="4" y="21"/>
                      <a:pt x="4" y="21"/>
                      <a:pt x="4" y="21"/>
                    </a:cubicBezTo>
                    <a:cubicBezTo>
                      <a:pt x="4" y="21"/>
                      <a:pt x="5" y="21"/>
                      <a:pt x="5" y="22"/>
                    </a:cubicBezTo>
                    <a:cubicBezTo>
                      <a:pt x="5" y="22"/>
                      <a:pt x="5" y="22"/>
                      <a:pt x="5" y="22"/>
                    </a:cubicBezTo>
                    <a:cubicBezTo>
                      <a:pt x="5" y="22"/>
                      <a:pt x="5" y="22"/>
                      <a:pt x="5" y="22"/>
                    </a:cubicBezTo>
                    <a:cubicBezTo>
                      <a:pt x="6" y="22"/>
                      <a:pt x="6" y="24"/>
                      <a:pt x="6" y="27"/>
                    </a:cubicBezTo>
                    <a:cubicBezTo>
                      <a:pt x="6" y="27"/>
                      <a:pt x="6" y="28"/>
                      <a:pt x="6" y="28"/>
                    </a:cubicBezTo>
                    <a:cubicBezTo>
                      <a:pt x="6" y="28"/>
                      <a:pt x="6" y="28"/>
                      <a:pt x="6" y="28"/>
                    </a:cubicBezTo>
                    <a:cubicBezTo>
                      <a:pt x="6" y="29"/>
                      <a:pt x="6" y="29"/>
                      <a:pt x="6" y="29"/>
                    </a:cubicBezTo>
                    <a:cubicBezTo>
                      <a:pt x="6" y="29"/>
                      <a:pt x="7" y="29"/>
                      <a:pt x="7" y="29"/>
                    </a:cubicBezTo>
                    <a:cubicBezTo>
                      <a:pt x="7" y="29"/>
                      <a:pt x="7" y="29"/>
                      <a:pt x="7" y="30"/>
                    </a:cubicBezTo>
                    <a:cubicBezTo>
                      <a:pt x="7" y="30"/>
                      <a:pt x="7" y="30"/>
                      <a:pt x="7" y="30"/>
                    </a:cubicBezTo>
                    <a:cubicBezTo>
                      <a:pt x="7" y="30"/>
                      <a:pt x="7" y="30"/>
                      <a:pt x="7" y="30"/>
                    </a:cubicBezTo>
                    <a:cubicBezTo>
                      <a:pt x="8" y="31"/>
                      <a:pt x="8" y="31"/>
                      <a:pt x="8" y="31"/>
                    </a:cubicBezTo>
                    <a:cubicBezTo>
                      <a:pt x="9" y="33"/>
                      <a:pt x="9" y="35"/>
                      <a:pt x="9" y="37"/>
                    </a:cubicBezTo>
                    <a:cubicBezTo>
                      <a:pt x="9" y="38"/>
                      <a:pt x="9" y="38"/>
                      <a:pt x="9" y="38"/>
                    </a:cubicBezTo>
                    <a:cubicBezTo>
                      <a:pt x="9" y="39"/>
                      <a:pt x="9" y="40"/>
                      <a:pt x="9" y="41"/>
                    </a:cubicBezTo>
                    <a:cubicBezTo>
                      <a:pt x="9" y="42"/>
                      <a:pt x="9" y="42"/>
                      <a:pt x="9" y="42"/>
                    </a:cubicBezTo>
                    <a:cubicBezTo>
                      <a:pt x="9" y="44"/>
                      <a:pt x="9" y="46"/>
                      <a:pt x="9" y="49"/>
                    </a:cubicBezTo>
                    <a:cubicBezTo>
                      <a:pt x="9" y="50"/>
                      <a:pt x="9" y="51"/>
                      <a:pt x="9" y="52"/>
                    </a:cubicBezTo>
                    <a:cubicBezTo>
                      <a:pt x="8" y="53"/>
                      <a:pt x="8" y="53"/>
                      <a:pt x="8" y="53"/>
                    </a:cubicBezTo>
                    <a:cubicBezTo>
                      <a:pt x="8" y="54"/>
                      <a:pt x="8" y="54"/>
                      <a:pt x="8" y="55"/>
                    </a:cubicBezTo>
                    <a:cubicBezTo>
                      <a:pt x="9" y="55"/>
                      <a:pt x="9" y="55"/>
                      <a:pt x="9" y="56"/>
                    </a:cubicBezTo>
                    <a:cubicBezTo>
                      <a:pt x="9" y="56"/>
                      <a:pt x="9" y="56"/>
                      <a:pt x="9" y="56"/>
                    </a:cubicBezTo>
                    <a:cubicBezTo>
                      <a:pt x="8" y="57"/>
                      <a:pt x="8" y="57"/>
                      <a:pt x="8" y="57"/>
                    </a:cubicBezTo>
                    <a:cubicBezTo>
                      <a:pt x="8" y="57"/>
                      <a:pt x="8" y="57"/>
                      <a:pt x="8" y="57"/>
                    </a:cubicBezTo>
                    <a:cubicBezTo>
                      <a:pt x="8" y="57"/>
                      <a:pt x="9" y="57"/>
                      <a:pt x="9" y="57"/>
                    </a:cubicBezTo>
                    <a:cubicBezTo>
                      <a:pt x="9" y="57"/>
                      <a:pt x="9" y="57"/>
                      <a:pt x="9" y="57"/>
                    </a:cubicBezTo>
                    <a:cubicBezTo>
                      <a:pt x="9" y="58"/>
                      <a:pt x="9" y="58"/>
                      <a:pt x="10" y="59"/>
                    </a:cubicBezTo>
                    <a:cubicBezTo>
                      <a:pt x="12" y="58"/>
                      <a:pt x="12" y="58"/>
                      <a:pt x="12" y="58"/>
                    </a:cubicBezTo>
                    <a:cubicBezTo>
                      <a:pt x="10" y="60"/>
                      <a:pt x="10" y="60"/>
                      <a:pt x="10" y="60"/>
                    </a:cubicBezTo>
                    <a:cubicBezTo>
                      <a:pt x="10" y="60"/>
                      <a:pt x="10" y="60"/>
                      <a:pt x="10" y="60"/>
                    </a:cubicBezTo>
                    <a:cubicBezTo>
                      <a:pt x="10" y="60"/>
                      <a:pt x="10" y="61"/>
                      <a:pt x="10" y="61"/>
                    </a:cubicBezTo>
                    <a:cubicBezTo>
                      <a:pt x="11" y="61"/>
                      <a:pt x="13" y="61"/>
                      <a:pt x="14" y="61"/>
                    </a:cubicBezTo>
                    <a:cubicBezTo>
                      <a:pt x="14" y="61"/>
                      <a:pt x="16" y="61"/>
                      <a:pt x="17"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7" name="Freeform 3069">
                <a:extLst>
                  <a:ext uri="{FF2B5EF4-FFF2-40B4-BE49-F238E27FC236}">
                    <a16:creationId xmlns:a16="http://schemas.microsoft.com/office/drawing/2014/main" id="{0A59A99B-878D-4A7F-A88A-81AD7EE47A39}"/>
                  </a:ext>
                </a:extLst>
              </p:cNvPr>
              <p:cNvSpPr>
                <a:spLocks/>
              </p:cNvSpPr>
              <p:nvPr/>
            </p:nvSpPr>
            <p:spPr bwMode="auto">
              <a:xfrm>
                <a:off x="3549" y="2511"/>
                <a:ext cx="40" cy="119"/>
              </a:xfrm>
              <a:custGeom>
                <a:avLst/>
                <a:gdLst>
                  <a:gd name="T0" fmla="*/ 17 w 17"/>
                  <a:gd name="T1" fmla="*/ 47 h 50"/>
                  <a:gd name="T2" fmla="*/ 17 w 17"/>
                  <a:gd name="T3" fmla="*/ 47 h 50"/>
                  <a:gd name="T4" fmla="*/ 16 w 17"/>
                  <a:gd name="T5" fmla="*/ 45 h 50"/>
                  <a:gd name="T6" fmla="*/ 15 w 17"/>
                  <a:gd name="T7" fmla="*/ 45 h 50"/>
                  <a:gd name="T8" fmla="*/ 15 w 17"/>
                  <a:gd name="T9" fmla="*/ 43 h 50"/>
                  <a:gd name="T10" fmla="*/ 15 w 17"/>
                  <a:gd name="T11" fmla="*/ 42 h 50"/>
                  <a:gd name="T12" fmla="*/ 15 w 17"/>
                  <a:gd name="T13" fmla="*/ 39 h 50"/>
                  <a:gd name="T14" fmla="*/ 15 w 17"/>
                  <a:gd name="T15" fmla="*/ 29 h 50"/>
                  <a:gd name="T16" fmla="*/ 15 w 17"/>
                  <a:gd name="T17" fmla="*/ 25 h 50"/>
                  <a:gd name="T18" fmla="*/ 15 w 17"/>
                  <a:gd name="T19" fmla="*/ 20 h 50"/>
                  <a:gd name="T20" fmla="*/ 14 w 17"/>
                  <a:gd name="T21" fmla="*/ 19 h 50"/>
                  <a:gd name="T22" fmla="*/ 13 w 17"/>
                  <a:gd name="T23" fmla="*/ 17 h 50"/>
                  <a:gd name="T24" fmla="*/ 13 w 17"/>
                  <a:gd name="T25" fmla="*/ 16 h 50"/>
                  <a:gd name="T26" fmla="*/ 13 w 17"/>
                  <a:gd name="T27" fmla="*/ 14 h 50"/>
                  <a:gd name="T28" fmla="*/ 13 w 17"/>
                  <a:gd name="T29" fmla="*/ 11 h 50"/>
                  <a:gd name="T30" fmla="*/ 12 w 17"/>
                  <a:gd name="T31" fmla="*/ 11 h 50"/>
                  <a:gd name="T32" fmla="*/ 11 w 17"/>
                  <a:gd name="T33" fmla="*/ 10 h 50"/>
                  <a:gd name="T34" fmla="*/ 7 w 17"/>
                  <a:gd name="T35" fmla="*/ 5 h 50"/>
                  <a:gd name="T36" fmla="*/ 8 w 17"/>
                  <a:gd name="T37" fmla="*/ 1 h 50"/>
                  <a:gd name="T38" fmla="*/ 1 w 17"/>
                  <a:gd name="T39" fmla="*/ 0 h 50"/>
                  <a:gd name="T40" fmla="*/ 1 w 17"/>
                  <a:gd name="T41" fmla="*/ 1 h 50"/>
                  <a:gd name="T42" fmla="*/ 4 w 17"/>
                  <a:gd name="T43" fmla="*/ 5 h 50"/>
                  <a:gd name="T44" fmla="*/ 4 w 17"/>
                  <a:gd name="T45" fmla="*/ 12 h 50"/>
                  <a:gd name="T46" fmla="*/ 4 w 17"/>
                  <a:gd name="T47" fmla="*/ 13 h 50"/>
                  <a:gd name="T48" fmla="*/ 5 w 17"/>
                  <a:gd name="T49" fmla="*/ 15 h 50"/>
                  <a:gd name="T50" fmla="*/ 6 w 17"/>
                  <a:gd name="T51" fmla="*/ 19 h 50"/>
                  <a:gd name="T52" fmla="*/ 6 w 17"/>
                  <a:gd name="T53" fmla="*/ 20 h 50"/>
                  <a:gd name="T54" fmla="*/ 6 w 17"/>
                  <a:gd name="T55" fmla="*/ 21 h 50"/>
                  <a:gd name="T56" fmla="*/ 6 w 17"/>
                  <a:gd name="T57" fmla="*/ 24 h 50"/>
                  <a:gd name="T58" fmla="*/ 8 w 17"/>
                  <a:gd name="T59" fmla="*/ 28 h 50"/>
                  <a:gd name="T60" fmla="*/ 7 w 17"/>
                  <a:gd name="T61" fmla="*/ 30 h 50"/>
                  <a:gd name="T62" fmla="*/ 6 w 17"/>
                  <a:gd name="T63" fmla="*/ 35 h 50"/>
                  <a:gd name="T64" fmla="*/ 8 w 17"/>
                  <a:gd name="T65" fmla="*/ 36 h 50"/>
                  <a:gd name="T66" fmla="*/ 7 w 17"/>
                  <a:gd name="T67" fmla="*/ 40 h 50"/>
                  <a:gd name="T68" fmla="*/ 7 w 17"/>
                  <a:gd name="T69" fmla="*/ 41 h 50"/>
                  <a:gd name="T70" fmla="*/ 11 w 17"/>
                  <a:gd name="T71" fmla="*/ 48 h 50"/>
                  <a:gd name="T72" fmla="*/ 13 w 17"/>
                  <a:gd name="T73" fmla="*/ 49 h 50"/>
                  <a:gd name="T74" fmla="*/ 14 w 17"/>
                  <a:gd name="T75" fmla="*/ 49 h 50"/>
                  <a:gd name="T76" fmla="*/ 16 w 17"/>
                  <a:gd name="T77"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50">
                    <a:moveTo>
                      <a:pt x="16" y="48"/>
                    </a:moveTo>
                    <a:cubicBezTo>
                      <a:pt x="17" y="47"/>
                      <a:pt x="17" y="47"/>
                      <a:pt x="17" y="47"/>
                    </a:cubicBezTo>
                    <a:cubicBezTo>
                      <a:pt x="17" y="47"/>
                      <a:pt x="17" y="47"/>
                      <a:pt x="17" y="47"/>
                    </a:cubicBezTo>
                    <a:cubicBezTo>
                      <a:pt x="17" y="47"/>
                      <a:pt x="17" y="47"/>
                      <a:pt x="17" y="47"/>
                    </a:cubicBezTo>
                    <a:cubicBezTo>
                      <a:pt x="16" y="47"/>
                      <a:pt x="16" y="46"/>
                      <a:pt x="16" y="46"/>
                    </a:cubicBezTo>
                    <a:cubicBezTo>
                      <a:pt x="16" y="45"/>
                      <a:pt x="16" y="45"/>
                      <a:pt x="16" y="45"/>
                    </a:cubicBezTo>
                    <a:cubicBezTo>
                      <a:pt x="15" y="45"/>
                      <a:pt x="15" y="45"/>
                      <a:pt x="15" y="45"/>
                    </a:cubicBezTo>
                    <a:cubicBezTo>
                      <a:pt x="15" y="45"/>
                      <a:pt x="15" y="45"/>
                      <a:pt x="15" y="45"/>
                    </a:cubicBezTo>
                    <a:cubicBezTo>
                      <a:pt x="15" y="44"/>
                      <a:pt x="15" y="44"/>
                      <a:pt x="15" y="44"/>
                    </a:cubicBezTo>
                    <a:cubicBezTo>
                      <a:pt x="15" y="43"/>
                      <a:pt x="15" y="43"/>
                      <a:pt x="15" y="43"/>
                    </a:cubicBezTo>
                    <a:cubicBezTo>
                      <a:pt x="15" y="43"/>
                      <a:pt x="15" y="43"/>
                      <a:pt x="15" y="43"/>
                    </a:cubicBezTo>
                    <a:cubicBezTo>
                      <a:pt x="15" y="42"/>
                      <a:pt x="15" y="42"/>
                      <a:pt x="15" y="42"/>
                    </a:cubicBezTo>
                    <a:cubicBezTo>
                      <a:pt x="15" y="41"/>
                      <a:pt x="15" y="41"/>
                      <a:pt x="15" y="40"/>
                    </a:cubicBezTo>
                    <a:cubicBezTo>
                      <a:pt x="15" y="39"/>
                      <a:pt x="15" y="39"/>
                      <a:pt x="15" y="39"/>
                    </a:cubicBezTo>
                    <a:cubicBezTo>
                      <a:pt x="15" y="38"/>
                      <a:pt x="15" y="37"/>
                      <a:pt x="16" y="35"/>
                    </a:cubicBezTo>
                    <a:cubicBezTo>
                      <a:pt x="16" y="33"/>
                      <a:pt x="16" y="31"/>
                      <a:pt x="15" y="29"/>
                    </a:cubicBezTo>
                    <a:cubicBezTo>
                      <a:pt x="15" y="28"/>
                      <a:pt x="15" y="28"/>
                      <a:pt x="15" y="28"/>
                    </a:cubicBezTo>
                    <a:cubicBezTo>
                      <a:pt x="15" y="27"/>
                      <a:pt x="15" y="26"/>
                      <a:pt x="15" y="25"/>
                    </a:cubicBezTo>
                    <a:cubicBezTo>
                      <a:pt x="15" y="24"/>
                      <a:pt x="15" y="24"/>
                      <a:pt x="15" y="24"/>
                    </a:cubicBezTo>
                    <a:cubicBezTo>
                      <a:pt x="15" y="22"/>
                      <a:pt x="16" y="20"/>
                      <a:pt x="15" y="20"/>
                    </a:cubicBezTo>
                    <a:cubicBezTo>
                      <a:pt x="15" y="19"/>
                      <a:pt x="15" y="19"/>
                      <a:pt x="14" y="19"/>
                    </a:cubicBezTo>
                    <a:cubicBezTo>
                      <a:pt x="14" y="19"/>
                      <a:pt x="14" y="19"/>
                      <a:pt x="14" y="19"/>
                    </a:cubicBezTo>
                    <a:cubicBezTo>
                      <a:pt x="14" y="19"/>
                      <a:pt x="14" y="18"/>
                      <a:pt x="14" y="18"/>
                    </a:cubicBezTo>
                    <a:cubicBezTo>
                      <a:pt x="13" y="18"/>
                      <a:pt x="13" y="18"/>
                      <a:pt x="13" y="17"/>
                    </a:cubicBezTo>
                    <a:cubicBezTo>
                      <a:pt x="13" y="17"/>
                      <a:pt x="13" y="17"/>
                      <a:pt x="13" y="16"/>
                    </a:cubicBezTo>
                    <a:cubicBezTo>
                      <a:pt x="13" y="16"/>
                      <a:pt x="13" y="16"/>
                      <a:pt x="13" y="16"/>
                    </a:cubicBezTo>
                    <a:cubicBezTo>
                      <a:pt x="13" y="15"/>
                      <a:pt x="13" y="15"/>
                      <a:pt x="13" y="15"/>
                    </a:cubicBezTo>
                    <a:cubicBezTo>
                      <a:pt x="13" y="15"/>
                      <a:pt x="13" y="14"/>
                      <a:pt x="13" y="14"/>
                    </a:cubicBezTo>
                    <a:cubicBezTo>
                      <a:pt x="13" y="13"/>
                      <a:pt x="13" y="13"/>
                      <a:pt x="13" y="13"/>
                    </a:cubicBezTo>
                    <a:cubicBezTo>
                      <a:pt x="13" y="13"/>
                      <a:pt x="13" y="11"/>
                      <a:pt x="13" y="11"/>
                    </a:cubicBezTo>
                    <a:cubicBezTo>
                      <a:pt x="13" y="11"/>
                      <a:pt x="13" y="11"/>
                      <a:pt x="13" y="11"/>
                    </a:cubicBezTo>
                    <a:cubicBezTo>
                      <a:pt x="12" y="11"/>
                      <a:pt x="12" y="11"/>
                      <a:pt x="12" y="11"/>
                    </a:cubicBezTo>
                    <a:cubicBezTo>
                      <a:pt x="12" y="10"/>
                      <a:pt x="12" y="10"/>
                      <a:pt x="12" y="10"/>
                    </a:cubicBezTo>
                    <a:cubicBezTo>
                      <a:pt x="11" y="10"/>
                      <a:pt x="11" y="10"/>
                      <a:pt x="11" y="10"/>
                    </a:cubicBezTo>
                    <a:cubicBezTo>
                      <a:pt x="10" y="9"/>
                      <a:pt x="9" y="9"/>
                      <a:pt x="8" y="8"/>
                    </a:cubicBezTo>
                    <a:cubicBezTo>
                      <a:pt x="8" y="7"/>
                      <a:pt x="7" y="6"/>
                      <a:pt x="7" y="5"/>
                    </a:cubicBezTo>
                    <a:cubicBezTo>
                      <a:pt x="7" y="4"/>
                      <a:pt x="7" y="4"/>
                      <a:pt x="7" y="3"/>
                    </a:cubicBezTo>
                    <a:cubicBezTo>
                      <a:pt x="7" y="2"/>
                      <a:pt x="7" y="2"/>
                      <a:pt x="8" y="1"/>
                    </a:cubicBezTo>
                    <a:cubicBezTo>
                      <a:pt x="7" y="1"/>
                      <a:pt x="7" y="1"/>
                      <a:pt x="7" y="1"/>
                    </a:cubicBezTo>
                    <a:cubicBezTo>
                      <a:pt x="5" y="1"/>
                      <a:pt x="3" y="0"/>
                      <a:pt x="1" y="0"/>
                    </a:cubicBezTo>
                    <a:cubicBezTo>
                      <a:pt x="1" y="0"/>
                      <a:pt x="1" y="0"/>
                      <a:pt x="1" y="0"/>
                    </a:cubicBezTo>
                    <a:cubicBezTo>
                      <a:pt x="1" y="1"/>
                      <a:pt x="1" y="1"/>
                      <a:pt x="1" y="1"/>
                    </a:cubicBezTo>
                    <a:cubicBezTo>
                      <a:pt x="0" y="2"/>
                      <a:pt x="0" y="2"/>
                      <a:pt x="1" y="3"/>
                    </a:cubicBezTo>
                    <a:cubicBezTo>
                      <a:pt x="4" y="5"/>
                      <a:pt x="4" y="5"/>
                      <a:pt x="4" y="5"/>
                    </a:cubicBezTo>
                    <a:cubicBezTo>
                      <a:pt x="6" y="7"/>
                      <a:pt x="5" y="10"/>
                      <a:pt x="5" y="12"/>
                    </a:cubicBezTo>
                    <a:cubicBezTo>
                      <a:pt x="4" y="12"/>
                      <a:pt x="4" y="12"/>
                      <a:pt x="4" y="12"/>
                    </a:cubicBezTo>
                    <a:cubicBezTo>
                      <a:pt x="4" y="13"/>
                      <a:pt x="4" y="13"/>
                      <a:pt x="4" y="13"/>
                    </a:cubicBezTo>
                    <a:cubicBezTo>
                      <a:pt x="4" y="13"/>
                      <a:pt x="4" y="13"/>
                      <a:pt x="4" y="13"/>
                    </a:cubicBezTo>
                    <a:cubicBezTo>
                      <a:pt x="7" y="13"/>
                      <a:pt x="7" y="13"/>
                      <a:pt x="7" y="13"/>
                    </a:cubicBezTo>
                    <a:cubicBezTo>
                      <a:pt x="5" y="15"/>
                      <a:pt x="5" y="15"/>
                      <a:pt x="5" y="15"/>
                    </a:cubicBezTo>
                    <a:cubicBezTo>
                      <a:pt x="5" y="16"/>
                      <a:pt x="5" y="17"/>
                      <a:pt x="5" y="18"/>
                    </a:cubicBezTo>
                    <a:cubicBezTo>
                      <a:pt x="6" y="19"/>
                      <a:pt x="6" y="19"/>
                      <a:pt x="6" y="19"/>
                    </a:cubicBezTo>
                    <a:cubicBezTo>
                      <a:pt x="6" y="19"/>
                      <a:pt x="6" y="19"/>
                      <a:pt x="6" y="19"/>
                    </a:cubicBezTo>
                    <a:cubicBezTo>
                      <a:pt x="6" y="20"/>
                      <a:pt x="6" y="20"/>
                      <a:pt x="6" y="20"/>
                    </a:cubicBezTo>
                    <a:cubicBezTo>
                      <a:pt x="6" y="20"/>
                      <a:pt x="6" y="21"/>
                      <a:pt x="6" y="21"/>
                    </a:cubicBezTo>
                    <a:cubicBezTo>
                      <a:pt x="6" y="21"/>
                      <a:pt x="6" y="21"/>
                      <a:pt x="6" y="21"/>
                    </a:cubicBezTo>
                    <a:cubicBezTo>
                      <a:pt x="6" y="22"/>
                      <a:pt x="6" y="22"/>
                      <a:pt x="6" y="23"/>
                    </a:cubicBezTo>
                    <a:cubicBezTo>
                      <a:pt x="6" y="23"/>
                      <a:pt x="6" y="23"/>
                      <a:pt x="6" y="24"/>
                    </a:cubicBezTo>
                    <a:cubicBezTo>
                      <a:pt x="7" y="24"/>
                      <a:pt x="7" y="24"/>
                      <a:pt x="7" y="25"/>
                    </a:cubicBezTo>
                    <a:cubicBezTo>
                      <a:pt x="9" y="26"/>
                      <a:pt x="8" y="28"/>
                      <a:pt x="8" y="28"/>
                    </a:cubicBezTo>
                    <a:cubicBezTo>
                      <a:pt x="8" y="29"/>
                      <a:pt x="7" y="29"/>
                      <a:pt x="7" y="29"/>
                    </a:cubicBezTo>
                    <a:cubicBezTo>
                      <a:pt x="7" y="29"/>
                      <a:pt x="7" y="30"/>
                      <a:pt x="7" y="30"/>
                    </a:cubicBezTo>
                    <a:cubicBezTo>
                      <a:pt x="8" y="31"/>
                      <a:pt x="7" y="33"/>
                      <a:pt x="7" y="35"/>
                    </a:cubicBezTo>
                    <a:cubicBezTo>
                      <a:pt x="7" y="35"/>
                      <a:pt x="7" y="35"/>
                      <a:pt x="6" y="35"/>
                    </a:cubicBezTo>
                    <a:cubicBezTo>
                      <a:pt x="6" y="35"/>
                      <a:pt x="6" y="35"/>
                      <a:pt x="6" y="35"/>
                    </a:cubicBezTo>
                    <a:cubicBezTo>
                      <a:pt x="7" y="35"/>
                      <a:pt x="7" y="36"/>
                      <a:pt x="8" y="36"/>
                    </a:cubicBezTo>
                    <a:cubicBezTo>
                      <a:pt x="8" y="37"/>
                      <a:pt x="8" y="38"/>
                      <a:pt x="7" y="40"/>
                    </a:cubicBezTo>
                    <a:cubicBezTo>
                      <a:pt x="7" y="40"/>
                      <a:pt x="7" y="40"/>
                      <a:pt x="7" y="40"/>
                    </a:cubicBezTo>
                    <a:cubicBezTo>
                      <a:pt x="7" y="41"/>
                      <a:pt x="7" y="41"/>
                      <a:pt x="7" y="41"/>
                    </a:cubicBezTo>
                    <a:cubicBezTo>
                      <a:pt x="7" y="41"/>
                      <a:pt x="7" y="41"/>
                      <a:pt x="7" y="41"/>
                    </a:cubicBezTo>
                    <a:cubicBezTo>
                      <a:pt x="7" y="41"/>
                      <a:pt x="7" y="41"/>
                      <a:pt x="7" y="41"/>
                    </a:cubicBezTo>
                    <a:cubicBezTo>
                      <a:pt x="8" y="44"/>
                      <a:pt x="9" y="46"/>
                      <a:pt x="11" y="48"/>
                    </a:cubicBezTo>
                    <a:cubicBezTo>
                      <a:pt x="12" y="48"/>
                      <a:pt x="12" y="49"/>
                      <a:pt x="13" y="49"/>
                    </a:cubicBezTo>
                    <a:cubicBezTo>
                      <a:pt x="13" y="49"/>
                      <a:pt x="13" y="49"/>
                      <a:pt x="13" y="49"/>
                    </a:cubicBezTo>
                    <a:cubicBezTo>
                      <a:pt x="13" y="50"/>
                      <a:pt x="13" y="50"/>
                      <a:pt x="13" y="50"/>
                    </a:cubicBezTo>
                    <a:cubicBezTo>
                      <a:pt x="13" y="50"/>
                      <a:pt x="14" y="50"/>
                      <a:pt x="14" y="49"/>
                    </a:cubicBezTo>
                    <a:cubicBezTo>
                      <a:pt x="15" y="49"/>
                      <a:pt x="15" y="49"/>
                      <a:pt x="16" y="49"/>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8" name="Freeform 3070">
                <a:extLst>
                  <a:ext uri="{FF2B5EF4-FFF2-40B4-BE49-F238E27FC236}">
                    <a16:creationId xmlns:a16="http://schemas.microsoft.com/office/drawing/2014/main" id="{0195C0AA-CD1E-4CD0-AA43-9F2899708D1C}"/>
                  </a:ext>
                </a:extLst>
              </p:cNvPr>
              <p:cNvSpPr>
                <a:spLocks/>
              </p:cNvSpPr>
              <p:nvPr/>
            </p:nvSpPr>
            <p:spPr bwMode="auto">
              <a:xfrm>
                <a:off x="3473" y="2509"/>
                <a:ext cx="102" cy="154"/>
              </a:xfrm>
              <a:custGeom>
                <a:avLst/>
                <a:gdLst>
                  <a:gd name="T0" fmla="*/ 36 w 43"/>
                  <a:gd name="T1" fmla="*/ 42 h 65"/>
                  <a:gd name="T2" fmla="*/ 37 w 43"/>
                  <a:gd name="T3" fmla="*/ 41 h 65"/>
                  <a:gd name="T4" fmla="*/ 37 w 43"/>
                  <a:gd name="T5" fmla="*/ 40 h 65"/>
                  <a:gd name="T6" fmla="*/ 36 w 43"/>
                  <a:gd name="T7" fmla="*/ 37 h 65"/>
                  <a:gd name="T8" fmla="*/ 36 w 43"/>
                  <a:gd name="T9" fmla="*/ 35 h 65"/>
                  <a:gd name="T10" fmla="*/ 37 w 43"/>
                  <a:gd name="T11" fmla="*/ 31 h 65"/>
                  <a:gd name="T12" fmla="*/ 37 w 43"/>
                  <a:gd name="T13" fmla="*/ 28 h 65"/>
                  <a:gd name="T14" fmla="*/ 37 w 43"/>
                  <a:gd name="T15" fmla="*/ 27 h 65"/>
                  <a:gd name="T16" fmla="*/ 35 w 43"/>
                  <a:gd name="T17" fmla="*/ 24 h 65"/>
                  <a:gd name="T18" fmla="*/ 35 w 43"/>
                  <a:gd name="T19" fmla="*/ 23 h 65"/>
                  <a:gd name="T20" fmla="*/ 36 w 43"/>
                  <a:gd name="T21" fmla="*/ 21 h 65"/>
                  <a:gd name="T22" fmla="*/ 35 w 43"/>
                  <a:gd name="T23" fmla="*/ 18 h 65"/>
                  <a:gd name="T24" fmla="*/ 33 w 43"/>
                  <a:gd name="T25" fmla="*/ 16 h 65"/>
                  <a:gd name="T26" fmla="*/ 34 w 43"/>
                  <a:gd name="T27" fmla="*/ 12 h 65"/>
                  <a:gd name="T28" fmla="*/ 34 w 43"/>
                  <a:gd name="T29" fmla="*/ 8 h 65"/>
                  <a:gd name="T30" fmla="*/ 30 w 43"/>
                  <a:gd name="T31" fmla="*/ 1 h 65"/>
                  <a:gd name="T32" fmla="*/ 31 w 43"/>
                  <a:gd name="T33" fmla="*/ 1 h 65"/>
                  <a:gd name="T34" fmla="*/ 28 w 43"/>
                  <a:gd name="T35" fmla="*/ 1 h 65"/>
                  <a:gd name="T36" fmla="*/ 27 w 43"/>
                  <a:gd name="T37" fmla="*/ 2 h 65"/>
                  <a:gd name="T38" fmla="*/ 27 w 43"/>
                  <a:gd name="T39" fmla="*/ 1 h 65"/>
                  <a:gd name="T40" fmla="*/ 26 w 43"/>
                  <a:gd name="T41" fmla="*/ 2 h 65"/>
                  <a:gd name="T42" fmla="*/ 26 w 43"/>
                  <a:gd name="T43" fmla="*/ 2 h 65"/>
                  <a:gd name="T44" fmla="*/ 22 w 43"/>
                  <a:gd name="T45" fmla="*/ 2 h 65"/>
                  <a:gd name="T46" fmla="*/ 10 w 43"/>
                  <a:gd name="T47" fmla="*/ 2 h 65"/>
                  <a:gd name="T48" fmla="*/ 7 w 43"/>
                  <a:gd name="T49" fmla="*/ 2 h 65"/>
                  <a:gd name="T50" fmla="*/ 4 w 43"/>
                  <a:gd name="T51" fmla="*/ 2 h 65"/>
                  <a:gd name="T52" fmla="*/ 3 w 43"/>
                  <a:gd name="T53" fmla="*/ 4 h 65"/>
                  <a:gd name="T54" fmla="*/ 6 w 43"/>
                  <a:gd name="T55" fmla="*/ 7 h 65"/>
                  <a:gd name="T56" fmla="*/ 6 w 43"/>
                  <a:gd name="T57" fmla="*/ 12 h 65"/>
                  <a:gd name="T58" fmla="*/ 6 w 43"/>
                  <a:gd name="T59" fmla="*/ 16 h 65"/>
                  <a:gd name="T60" fmla="*/ 6 w 43"/>
                  <a:gd name="T61" fmla="*/ 16 h 65"/>
                  <a:gd name="T62" fmla="*/ 6 w 43"/>
                  <a:gd name="T63" fmla="*/ 17 h 65"/>
                  <a:gd name="T64" fmla="*/ 5 w 43"/>
                  <a:gd name="T65" fmla="*/ 18 h 65"/>
                  <a:gd name="T66" fmla="*/ 5 w 43"/>
                  <a:gd name="T67" fmla="*/ 20 h 65"/>
                  <a:gd name="T68" fmla="*/ 5 w 43"/>
                  <a:gd name="T69" fmla="*/ 21 h 65"/>
                  <a:gd name="T70" fmla="*/ 6 w 43"/>
                  <a:gd name="T71" fmla="*/ 23 h 65"/>
                  <a:gd name="T72" fmla="*/ 6 w 43"/>
                  <a:gd name="T73" fmla="*/ 32 h 65"/>
                  <a:gd name="T74" fmla="*/ 5 w 43"/>
                  <a:gd name="T75" fmla="*/ 34 h 65"/>
                  <a:gd name="T76" fmla="*/ 3 w 43"/>
                  <a:gd name="T77" fmla="*/ 37 h 65"/>
                  <a:gd name="T78" fmla="*/ 3 w 43"/>
                  <a:gd name="T79" fmla="*/ 38 h 65"/>
                  <a:gd name="T80" fmla="*/ 0 w 43"/>
                  <a:gd name="T81" fmla="*/ 45 h 65"/>
                  <a:gd name="T82" fmla="*/ 2 w 43"/>
                  <a:gd name="T83" fmla="*/ 53 h 65"/>
                  <a:gd name="T84" fmla="*/ 2 w 43"/>
                  <a:gd name="T85" fmla="*/ 54 h 65"/>
                  <a:gd name="T86" fmla="*/ 3 w 43"/>
                  <a:gd name="T87" fmla="*/ 55 h 65"/>
                  <a:gd name="T88" fmla="*/ 5 w 43"/>
                  <a:gd name="T89" fmla="*/ 58 h 65"/>
                  <a:gd name="T90" fmla="*/ 5 w 43"/>
                  <a:gd name="T91" fmla="*/ 59 h 65"/>
                  <a:gd name="T92" fmla="*/ 5 w 43"/>
                  <a:gd name="T93" fmla="*/ 61 h 65"/>
                  <a:gd name="T94" fmla="*/ 5 w 43"/>
                  <a:gd name="T95" fmla="*/ 62 h 65"/>
                  <a:gd name="T96" fmla="*/ 4 w 43"/>
                  <a:gd name="T97" fmla="*/ 62 h 65"/>
                  <a:gd name="T98" fmla="*/ 8 w 43"/>
                  <a:gd name="T99" fmla="*/ 64 h 65"/>
                  <a:gd name="T100" fmla="*/ 14 w 43"/>
                  <a:gd name="T101" fmla="*/ 64 h 65"/>
                  <a:gd name="T102" fmla="*/ 24 w 43"/>
                  <a:gd name="T103" fmla="*/ 60 h 65"/>
                  <a:gd name="T104" fmla="*/ 38 w 43"/>
                  <a:gd name="T105" fmla="*/ 54 h 65"/>
                  <a:gd name="T106" fmla="*/ 38 w 43"/>
                  <a:gd name="T107" fmla="*/ 53 h 65"/>
                  <a:gd name="T108" fmla="*/ 43 w 43"/>
                  <a:gd name="T109" fmla="*/ 52 h 65"/>
                  <a:gd name="T110" fmla="*/ 42 w 43"/>
                  <a:gd name="T111" fmla="*/ 5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 h="65">
                    <a:moveTo>
                      <a:pt x="42" y="51"/>
                    </a:moveTo>
                    <a:cubicBezTo>
                      <a:pt x="39" y="48"/>
                      <a:pt x="37" y="46"/>
                      <a:pt x="36" y="42"/>
                    </a:cubicBezTo>
                    <a:cubicBezTo>
                      <a:pt x="35" y="41"/>
                      <a:pt x="35" y="41"/>
                      <a:pt x="35" y="41"/>
                    </a:cubicBezTo>
                    <a:cubicBezTo>
                      <a:pt x="37" y="41"/>
                      <a:pt x="37" y="41"/>
                      <a:pt x="37" y="41"/>
                    </a:cubicBezTo>
                    <a:cubicBezTo>
                      <a:pt x="37" y="41"/>
                      <a:pt x="37" y="40"/>
                      <a:pt x="37" y="40"/>
                    </a:cubicBezTo>
                    <a:cubicBezTo>
                      <a:pt x="37" y="40"/>
                      <a:pt x="37" y="40"/>
                      <a:pt x="37" y="40"/>
                    </a:cubicBezTo>
                    <a:cubicBezTo>
                      <a:pt x="37" y="39"/>
                      <a:pt x="37" y="39"/>
                      <a:pt x="37" y="39"/>
                    </a:cubicBezTo>
                    <a:cubicBezTo>
                      <a:pt x="37" y="38"/>
                      <a:pt x="36" y="38"/>
                      <a:pt x="36" y="37"/>
                    </a:cubicBezTo>
                    <a:cubicBezTo>
                      <a:pt x="36" y="37"/>
                      <a:pt x="36" y="36"/>
                      <a:pt x="36" y="36"/>
                    </a:cubicBezTo>
                    <a:cubicBezTo>
                      <a:pt x="36" y="35"/>
                      <a:pt x="36" y="35"/>
                      <a:pt x="36" y="35"/>
                    </a:cubicBezTo>
                    <a:cubicBezTo>
                      <a:pt x="36" y="35"/>
                      <a:pt x="36" y="35"/>
                      <a:pt x="36" y="35"/>
                    </a:cubicBezTo>
                    <a:cubicBezTo>
                      <a:pt x="37" y="33"/>
                      <a:pt x="37" y="32"/>
                      <a:pt x="37" y="31"/>
                    </a:cubicBezTo>
                    <a:cubicBezTo>
                      <a:pt x="37" y="31"/>
                      <a:pt x="37" y="30"/>
                      <a:pt x="37" y="30"/>
                    </a:cubicBezTo>
                    <a:cubicBezTo>
                      <a:pt x="37" y="29"/>
                      <a:pt x="37" y="29"/>
                      <a:pt x="37" y="28"/>
                    </a:cubicBezTo>
                    <a:cubicBezTo>
                      <a:pt x="38" y="28"/>
                      <a:pt x="38" y="28"/>
                      <a:pt x="38" y="27"/>
                    </a:cubicBezTo>
                    <a:cubicBezTo>
                      <a:pt x="37" y="27"/>
                      <a:pt x="37" y="27"/>
                      <a:pt x="37" y="27"/>
                    </a:cubicBezTo>
                    <a:cubicBezTo>
                      <a:pt x="37" y="26"/>
                      <a:pt x="37" y="26"/>
                      <a:pt x="37" y="26"/>
                    </a:cubicBezTo>
                    <a:cubicBezTo>
                      <a:pt x="36" y="26"/>
                      <a:pt x="35" y="25"/>
                      <a:pt x="35" y="24"/>
                    </a:cubicBezTo>
                    <a:cubicBezTo>
                      <a:pt x="34" y="23"/>
                      <a:pt x="34" y="23"/>
                      <a:pt x="34" y="23"/>
                    </a:cubicBezTo>
                    <a:cubicBezTo>
                      <a:pt x="35" y="23"/>
                      <a:pt x="35" y="23"/>
                      <a:pt x="35" y="23"/>
                    </a:cubicBezTo>
                    <a:cubicBezTo>
                      <a:pt x="35" y="22"/>
                      <a:pt x="36" y="22"/>
                      <a:pt x="36" y="22"/>
                    </a:cubicBezTo>
                    <a:cubicBezTo>
                      <a:pt x="36" y="22"/>
                      <a:pt x="36" y="22"/>
                      <a:pt x="36" y="21"/>
                    </a:cubicBezTo>
                    <a:cubicBezTo>
                      <a:pt x="35" y="21"/>
                      <a:pt x="35" y="21"/>
                      <a:pt x="35" y="20"/>
                    </a:cubicBezTo>
                    <a:cubicBezTo>
                      <a:pt x="35" y="18"/>
                      <a:pt x="35" y="18"/>
                      <a:pt x="35" y="18"/>
                    </a:cubicBezTo>
                    <a:cubicBezTo>
                      <a:pt x="34" y="18"/>
                      <a:pt x="34" y="18"/>
                      <a:pt x="34" y="18"/>
                    </a:cubicBezTo>
                    <a:cubicBezTo>
                      <a:pt x="33" y="18"/>
                      <a:pt x="33" y="17"/>
                      <a:pt x="33" y="16"/>
                    </a:cubicBezTo>
                    <a:cubicBezTo>
                      <a:pt x="33" y="16"/>
                      <a:pt x="33" y="16"/>
                      <a:pt x="34" y="15"/>
                    </a:cubicBezTo>
                    <a:cubicBezTo>
                      <a:pt x="33" y="14"/>
                      <a:pt x="34" y="13"/>
                      <a:pt x="34" y="12"/>
                    </a:cubicBezTo>
                    <a:cubicBezTo>
                      <a:pt x="34" y="12"/>
                      <a:pt x="34" y="12"/>
                      <a:pt x="34" y="12"/>
                    </a:cubicBezTo>
                    <a:cubicBezTo>
                      <a:pt x="35" y="10"/>
                      <a:pt x="35" y="9"/>
                      <a:pt x="34" y="8"/>
                    </a:cubicBezTo>
                    <a:cubicBezTo>
                      <a:pt x="31" y="6"/>
                      <a:pt x="31" y="6"/>
                      <a:pt x="31" y="6"/>
                    </a:cubicBezTo>
                    <a:cubicBezTo>
                      <a:pt x="29" y="4"/>
                      <a:pt x="30" y="2"/>
                      <a:pt x="30" y="1"/>
                    </a:cubicBezTo>
                    <a:cubicBezTo>
                      <a:pt x="31" y="1"/>
                      <a:pt x="31" y="1"/>
                      <a:pt x="31" y="1"/>
                    </a:cubicBezTo>
                    <a:cubicBezTo>
                      <a:pt x="31" y="1"/>
                      <a:pt x="31" y="1"/>
                      <a:pt x="31" y="1"/>
                    </a:cubicBezTo>
                    <a:cubicBezTo>
                      <a:pt x="30" y="0"/>
                      <a:pt x="30" y="0"/>
                      <a:pt x="30" y="0"/>
                    </a:cubicBezTo>
                    <a:cubicBezTo>
                      <a:pt x="29" y="0"/>
                      <a:pt x="28" y="1"/>
                      <a:pt x="28" y="1"/>
                    </a:cubicBezTo>
                    <a:cubicBezTo>
                      <a:pt x="28" y="1"/>
                      <a:pt x="28" y="2"/>
                      <a:pt x="28" y="2"/>
                    </a:cubicBezTo>
                    <a:cubicBezTo>
                      <a:pt x="27" y="2"/>
                      <a:pt x="27" y="2"/>
                      <a:pt x="27" y="2"/>
                    </a:cubicBezTo>
                    <a:cubicBezTo>
                      <a:pt x="27" y="2"/>
                      <a:pt x="27" y="2"/>
                      <a:pt x="27" y="2"/>
                    </a:cubicBezTo>
                    <a:cubicBezTo>
                      <a:pt x="27" y="1"/>
                      <a:pt x="27" y="1"/>
                      <a:pt x="27" y="1"/>
                    </a:cubicBezTo>
                    <a:cubicBezTo>
                      <a:pt x="27" y="2"/>
                      <a:pt x="27" y="2"/>
                      <a:pt x="27" y="2"/>
                    </a:cubicBezTo>
                    <a:cubicBezTo>
                      <a:pt x="27" y="2"/>
                      <a:pt x="27" y="2"/>
                      <a:pt x="26" y="2"/>
                    </a:cubicBezTo>
                    <a:cubicBezTo>
                      <a:pt x="26" y="1"/>
                      <a:pt x="26" y="1"/>
                      <a:pt x="26" y="1"/>
                    </a:cubicBezTo>
                    <a:cubicBezTo>
                      <a:pt x="26" y="2"/>
                      <a:pt x="26" y="2"/>
                      <a:pt x="26" y="2"/>
                    </a:cubicBezTo>
                    <a:cubicBezTo>
                      <a:pt x="26" y="2"/>
                      <a:pt x="25" y="2"/>
                      <a:pt x="24" y="2"/>
                    </a:cubicBezTo>
                    <a:cubicBezTo>
                      <a:pt x="22" y="2"/>
                      <a:pt x="22" y="2"/>
                      <a:pt x="22" y="2"/>
                    </a:cubicBezTo>
                    <a:cubicBezTo>
                      <a:pt x="21" y="2"/>
                      <a:pt x="20" y="2"/>
                      <a:pt x="19" y="2"/>
                    </a:cubicBezTo>
                    <a:cubicBezTo>
                      <a:pt x="17" y="2"/>
                      <a:pt x="14" y="2"/>
                      <a:pt x="10" y="2"/>
                    </a:cubicBezTo>
                    <a:cubicBezTo>
                      <a:pt x="10" y="2"/>
                      <a:pt x="10" y="2"/>
                      <a:pt x="10" y="2"/>
                    </a:cubicBezTo>
                    <a:cubicBezTo>
                      <a:pt x="9" y="2"/>
                      <a:pt x="8" y="2"/>
                      <a:pt x="7" y="2"/>
                    </a:cubicBezTo>
                    <a:cubicBezTo>
                      <a:pt x="6" y="2"/>
                      <a:pt x="5" y="2"/>
                      <a:pt x="4" y="2"/>
                    </a:cubicBezTo>
                    <a:cubicBezTo>
                      <a:pt x="4" y="2"/>
                      <a:pt x="4" y="2"/>
                      <a:pt x="4" y="2"/>
                    </a:cubicBezTo>
                    <a:cubicBezTo>
                      <a:pt x="3" y="3"/>
                      <a:pt x="3" y="3"/>
                      <a:pt x="3" y="4"/>
                    </a:cubicBezTo>
                    <a:cubicBezTo>
                      <a:pt x="3" y="4"/>
                      <a:pt x="3" y="4"/>
                      <a:pt x="3" y="4"/>
                    </a:cubicBezTo>
                    <a:cubicBezTo>
                      <a:pt x="4" y="6"/>
                      <a:pt x="5" y="9"/>
                      <a:pt x="5" y="11"/>
                    </a:cubicBezTo>
                    <a:cubicBezTo>
                      <a:pt x="6" y="7"/>
                      <a:pt x="6" y="7"/>
                      <a:pt x="6" y="7"/>
                    </a:cubicBezTo>
                    <a:cubicBezTo>
                      <a:pt x="6" y="13"/>
                      <a:pt x="6" y="13"/>
                      <a:pt x="6" y="13"/>
                    </a:cubicBezTo>
                    <a:cubicBezTo>
                      <a:pt x="6" y="12"/>
                      <a:pt x="6" y="12"/>
                      <a:pt x="6" y="12"/>
                    </a:cubicBezTo>
                    <a:cubicBezTo>
                      <a:pt x="6" y="16"/>
                      <a:pt x="6" y="16"/>
                      <a:pt x="6" y="16"/>
                    </a:cubicBezTo>
                    <a:cubicBezTo>
                      <a:pt x="6" y="16"/>
                      <a:pt x="6" y="16"/>
                      <a:pt x="6" y="16"/>
                    </a:cubicBezTo>
                    <a:cubicBezTo>
                      <a:pt x="6" y="16"/>
                      <a:pt x="6" y="16"/>
                      <a:pt x="6" y="16"/>
                    </a:cubicBezTo>
                    <a:cubicBezTo>
                      <a:pt x="6" y="16"/>
                      <a:pt x="6" y="16"/>
                      <a:pt x="6" y="16"/>
                    </a:cubicBezTo>
                    <a:cubicBezTo>
                      <a:pt x="6" y="17"/>
                      <a:pt x="6" y="17"/>
                      <a:pt x="6" y="17"/>
                    </a:cubicBezTo>
                    <a:cubicBezTo>
                      <a:pt x="6" y="17"/>
                      <a:pt x="6" y="17"/>
                      <a:pt x="6" y="17"/>
                    </a:cubicBezTo>
                    <a:cubicBezTo>
                      <a:pt x="6" y="17"/>
                      <a:pt x="6" y="17"/>
                      <a:pt x="6" y="17"/>
                    </a:cubicBezTo>
                    <a:cubicBezTo>
                      <a:pt x="5" y="18"/>
                      <a:pt x="5" y="18"/>
                      <a:pt x="5" y="18"/>
                    </a:cubicBezTo>
                    <a:cubicBezTo>
                      <a:pt x="5" y="18"/>
                      <a:pt x="5" y="19"/>
                      <a:pt x="5" y="19"/>
                    </a:cubicBezTo>
                    <a:cubicBezTo>
                      <a:pt x="5" y="20"/>
                      <a:pt x="5" y="20"/>
                      <a:pt x="5" y="20"/>
                    </a:cubicBezTo>
                    <a:cubicBezTo>
                      <a:pt x="5" y="20"/>
                      <a:pt x="5" y="20"/>
                      <a:pt x="5" y="20"/>
                    </a:cubicBezTo>
                    <a:cubicBezTo>
                      <a:pt x="5" y="20"/>
                      <a:pt x="5" y="20"/>
                      <a:pt x="5" y="21"/>
                    </a:cubicBezTo>
                    <a:cubicBezTo>
                      <a:pt x="5" y="21"/>
                      <a:pt x="5" y="21"/>
                      <a:pt x="5" y="21"/>
                    </a:cubicBezTo>
                    <a:cubicBezTo>
                      <a:pt x="6" y="23"/>
                      <a:pt x="6" y="23"/>
                      <a:pt x="6" y="23"/>
                    </a:cubicBezTo>
                    <a:cubicBezTo>
                      <a:pt x="7" y="24"/>
                      <a:pt x="7" y="25"/>
                      <a:pt x="7" y="27"/>
                    </a:cubicBezTo>
                    <a:cubicBezTo>
                      <a:pt x="8" y="29"/>
                      <a:pt x="8" y="30"/>
                      <a:pt x="6" y="32"/>
                    </a:cubicBezTo>
                    <a:cubicBezTo>
                      <a:pt x="6" y="32"/>
                      <a:pt x="6" y="32"/>
                      <a:pt x="6" y="33"/>
                    </a:cubicBezTo>
                    <a:cubicBezTo>
                      <a:pt x="5" y="34"/>
                      <a:pt x="5" y="34"/>
                      <a:pt x="5" y="34"/>
                    </a:cubicBezTo>
                    <a:cubicBezTo>
                      <a:pt x="5" y="34"/>
                      <a:pt x="4" y="34"/>
                      <a:pt x="4" y="35"/>
                    </a:cubicBezTo>
                    <a:cubicBezTo>
                      <a:pt x="4" y="35"/>
                      <a:pt x="3" y="36"/>
                      <a:pt x="3" y="37"/>
                    </a:cubicBezTo>
                    <a:cubicBezTo>
                      <a:pt x="3" y="37"/>
                      <a:pt x="3" y="37"/>
                      <a:pt x="3" y="37"/>
                    </a:cubicBezTo>
                    <a:cubicBezTo>
                      <a:pt x="3" y="37"/>
                      <a:pt x="3" y="38"/>
                      <a:pt x="3" y="38"/>
                    </a:cubicBezTo>
                    <a:cubicBezTo>
                      <a:pt x="3" y="39"/>
                      <a:pt x="2" y="39"/>
                      <a:pt x="2" y="40"/>
                    </a:cubicBezTo>
                    <a:cubicBezTo>
                      <a:pt x="1" y="42"/>
                      <a:pt x="0" y="44"/>
                      <a:pt x="0" y="45"/>
                    </a:cubicBezTo>
                    <a:cubicBezTo>
                      <a:pt x="0" y="46"/>
                      <a:pt x="0" y="46"/>
                      <a:pt x="0" y="46"/>
                    </a:cubicBezTo>
                    <a:cubicBezTo>
                      <a:pt x="1" y="49"/>
                      <a:pt x="1" y="51"/>
                      <a:pt x="2" y="53"/>
                    </a:cubicBezTo>
                    <a:cubicBezTo>
                      <a:pt x="2" y="54"/>
                      <a:pt x="2" y="54"/>
                      <a:pt x="2" y="54"/>
                    </a:cubicBezTo>
                    <a:cubicBezTo>
                      <a:pt x="2" y="54"/>
                      <a:pt x="2" y="54"/>
                      <a:pt x="2" y="54"/>
                    </a:cubicBezTo>
                    <a:cubicBezTo>
                      <a:pt x="3" y="54"/>
                      <a:pt x="3" y="55"/>
                      <a:pt x="3" y="55"/>
                    </a:cubicBezTo>
                    <a:cubicBezTo>
                      <a:pt x="3" y="55"/>
                      <a:pt x="3" y="55"/>
                      <a:pt x="3" y="55"/>
                    </a:cubicBezTo>
                    <a:cubicBezTo>
                      <a:pt x="4" y="56"/>
                      <a:pt x="5" y="57"/>
                      <a:pt x="5" y="58"/>
                    </a:cubicBezTo>
                    <a:cubicBezTo>
                      <a:pt x="5" y="58"/>
                      <a:pt x="5" y="58"/>
                      <a:pt x="5" y="58"/>
                    </a:cubicBezTo>
                    <a:cubicBezTo>
                      <a:pt x="5" y="58"/>
                      <a:pt x="5" y="59"/>
                      <a:pt x="5" y="59"/>
                    </a:cubicBezTo>
                    <a:cubicBezTo>
                      <a:pt x="5" y="59"/>
                      <a:pt x="5" y="59"/>
                      <a:pt x="5" y="59"/>
                    </a:cubicBezTo>
                    <a:cubicBezTo>
                      <a:pt x="5" y="59"/>
                      <a:pt x="5" y="60"/>
                      <a:pt x="5" y="60"/>
                    </a:cubicBezTo>
                    <a:cubicBezTo>
                      <a:pt x="5" y="60"/>
                      <a:pt x="5" y="60"/>
                      <a:pt x="5" y="61"/>
                    </a:cubicBezTo>
                    <a:cubicBezTo>
                      <a:pt x="5" y="61"/>
                      <a:pt x="5" y="61"/>
                      <a:pt x="5" y="61"/>
                    </a:cubicBezTo>
                    <a:cubicBezTo>
                      <a:pt x="5" y="62"/>
                      <a:pt x="5" y="62"/>
                      <a:pt x="5" y="62"/>
                    </a:cubicBezTo>
                    <a:cubicBezTo>
                      <a:pt x="5" y="62"/>
                      <a:pt x="5" y="62"/>
                      <a:pt x="4" y="62"/>
                    </a:cubicBezTo>
                    <a:cubicBezTo>
                      <a:pt x="4" y="62"/>
                      <a:pt x="4" y="62"/>
                      <a:pt x="4" y="62"/>
                    </a:cubicBezTo>
                    <a:cubicBezTo>
                      <a:pt x="4" y="62"/>
                      <a:pt x="3" y="62"/>
                      <a:pt x="3" y="62"/>
                    </a:cubicBezTo>
                    <a:cubicBezTo>
                      <a:pt x="5" y="63"/>
                      <a:pt x="7" y="64"/>
                      <a:pt x="8" y="64"/>
                    </a:cubicBezTo>
                    <a:cubicBezTo>
                      <a:pt x="9" y="65"/>
                      <a:pt x="11" y="65"/>
                      <a:pt x="12" y="65"/>
                    </a:cubicBezTo>
                    <a:cubicBezTo>
                      <a:pt x="12" y="65"/>
                      <a:pt x="13" y="64"/>
                      <a:pt x="14" y="64"/>
                    </a:cubicBezTo>
                    <a:cubicBezTo>
                      <a:pt x="14" y="63"/>
                      <a:pt x="15" y="62"/>
                      <a:pt x="16" y="62"/>
                    </a:cubicBezTo>
                    <a:cubicBezTo>
                      <a:pt x="18" y="61"/>
                      <a:pt x="21" y="61"/>
                      <a:pt x="24" y="60"/>
                    </a:cubicBezTo>
                    <a:cubicBezTo>
                      <a:pt x="26" y="59"/>
                      <a:pt x="27" y="57"/>
                      <a:pt x="30" y="57"/>
                    </a:cubicBezTo>
                    <a:cubicBezTo>
                      <a:pt x="33" y="56"/>
                      <a:pt x="35" y="55"/>
                      <a:pt x="38" y="54"/>
                    </a:cubicBezTo>
                    <a:cubicBezTo>
                      <a:pt x="37" y="53"/>
                      <a:pt x="36" y="52"/>
                      <a:pt x="34" y="51"/>
                    </a:cubicBezTo>
                    <a:cubicBezTo>
                      <a:pt x="37" y="51"/>
                      <a:pt x="38" y="51"/>
                      <a:pt x="38" y="53"/>
                    </a:cubicBezTo>
                    <a:cubicBezTo>
                      <a:pt x="39" y="55"/>
                      <a:pt x="41" y="55"/>
                      <a:pt x="42" y="54"/>
                    </a:cubicBezTo>
                    <a:cubicBezTo>
                      <a:pt x="42" y="54"/>
                      <a:pt x="43" y="53"/>
                      <a:pt x="43" y="52"/>
                    </a:cubicBezTo>
                    <a:cubicBezTo>
                      <a:pt x="43" y="52"/>
                      <a:pt x="43" y="52"/>
                      <a:pt x="43" y="52"/>
                    </a:cubicBezTo>
                    <a:cubicBezTo>
                      <a:pt x="43" y="52"/>
                      <a:pt x="42" y="51"/>
                      <a:pt x="4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9" name="Freeform 3071">
                <a:extLst>
                  <a:ext uri="{FF2B5EF4-FFF2-40B4-BE49-F238E27FC236}">
                    <a16:creationId xmlns:a16="http://schemas.microsoft.com/office/drawing/2014/main" id="{0E681970-3E0D-4C4D-9D43-9765F7835665}"/>
                  </a:ext>
                </a:extLst>
              </p:cNvPr>
              <p:cNvSpPr>
                <a:spLocks/>
              </p:cNvSpPr>
              <p:nvPr/>
            </p:nvSpPr>
            <p:spPr bwMode="auto">
              <a:xfrm>
                <a:off x="3353" y="2575"/>
                <a:ext cx="2" cy="0"/>
              </a:xfrm>
              <a:custGeom>
                <a:avLst/>
                <a:gdLst>
                  <a:gd name="T0" fmla="*/ 0 w 1"/>
                  <a:gd name="T1" fmla="*/ 0 w 1"/>
                  <a:gd name="T2" fmla="*/ 0 w 1"/>
                  <a:gd name="T3" fmla="*/ 1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1" y="0"/>
                      <a:pt x="1" y="0"/>
                      <a:pt x="1" y="0"/>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0" name="Freeform 3072">
                <a:extLst>
                  <a:ext uri="{FF2B5EF4-FFF2-40B4-BE49-F238E27FC236}">
                    <a16:creationId xmlns:a16="http://schemas.microsoft.com/office/drawing/2014/main" id="{760F778D-8FB1-4822-ABD4-61F0DB5B8472}"/>
                  </a:ext>
                </a:extLst>
              </p:cNvPr>
              <p:cNvSpPr>
                <a:spLocks noEditPoints="1"/>
              </p:cNvSpPr>
              <p:nvPr/>
            </p:nvSpPr>
            <p:spPr bwMode="auto">
              <a:xfrm>
                <a:off x="3346" y="2523"/>
                <a:ext cx="139" cy="147"/>
              </a:xfrm>
              <a:custGeom>
                <a:avLst/>
                <a:gdLst>
                  <a:gd name="T0" fmla="*/ 54 w 59"/>
                  <a:gd name="T1" fmla="*/ 54 h 62"/>
                  <a:gd name="T2" fmla="*/ 57 w 59"/>
                  <a:gd name="T3" fmla="*/ 52 h 62"/>
                  <a:gd name="T4" fmla="*/ 54 w 59"/>
                  <a:gd name="T5" fmla="*/ 50 h 62"/>
                  <a:gd name="T6" fmla="*/ 52 w 59"/>
                  <a:gd name="T7" fmla="*/ 41 h 62"/>
                  <a:gd name="T8" fmla="*/ 54 w 59"/>
                  <a:gd name="T9" fmla="*/ 33 h 62"/>
                  <a:gd name="T10" fmla="*/ 55 w 59"/>
                  <a:gd name="T11" fmla="*/ 30 h 62"/>
                  <a:gd name="T12" fmla="*/ 58 w 59"/>
                  <a:gd name="T13" fmla="*/ 25 h 62"/>
                  <a:gd name="T14" fmla="*/ 58 w 59"/>
                  <a:gd name="T15" fmla="*/ 18 h 62"/>
                  <a:gd name="T16" fmla="*/ 57 w 59"/>
                  <a:gd name="T17" fmla="*/ 16 h 62"/>
                  <a:gd name="T18" fmla="*/ 56 w 59"/>
                  <a:gd name="T19" fmla="*/ 14 h 62"/>
                  <a:gd name="T20" fmla="*/ 57 w 59"/>
                  <a:gd name="T21" fmla="*/ 12 h 62"/>
                  <a:gd name="T22" fmla="*/ 55 w 59"/>
                  <a:gd name="T23" fmla="*/ 10 h 62"/>
                  <a:gd name="T24" fmla="*/ 54 w 59"/>
                  <a:gd name="T25" fmla="*/ 9 h 62"/>
                  <a:gd name="T26" fmla="*/ 51 w 59"/>
                  <a:gd name="T27" fmla="*/ 7 h 62"/>
                  <a:gd name="T28" fmla="*/ 50 w 59"/>
                  <a:gd name="T29" fmla="*/ 7 h 62"/>
                  <a:gd name="T30" fmla="*/ 43 w 59"/>
                  <a:gd name="T31" fmla="*/ 10 h 62"/>
                  <a:gd name="T32" fmla="*/ 41 w 59"/>
                  <a:gd name="T33" fmla="*/ 10 h 62"/>
                  <a:gd name="T34" fmla="*/ 37 w 59"/>
                  <a:gd name="T35" fmla="*/ 9 h 62"/>
                  <a:gd name="T36" fmla="*/ 33 w 59"/>
                  <a:gd name="T37" fmla="*/ 3 h 62"/>
                  <a:gd name="T38" fmla="*/ 31 w 59"/>
                  <a:gd name="T39" fmla="*/ 2 h 62"/>
                  <a:gd name="T40" fmla="*/ 27 w 59"/>
                  <a:gd name="T41" fmla="*/ 2 h 62"/>
                  <a:gd name="T42" fmla="*/ 22 w 59"/>
                  <a:gd name="T43" fmla="*/ 3 h 62"/>
                  <a:gd name="T44" fmla="*/ 19 w 59"/>
                  <a:gd name="T45" fmla="*/ 0 h 62"/>
                  <a:gd name="T46" fmla="*/ 18 w 59"/>
                  <a:gd name="T47" fmla="*/ 3 h 62"/>
                  <a:gd name="T48" fmla="*/ 16 w 59"/>
                  <a:gd name="T49" fmla="*/ 2 h 62"/>
                  <a:gd name="T50" fmla="*/ 16 w 59"/>
                  <a:gd name="T51" fmla="*/ 3 h 62"/>
                  <a:gd name="T52" fmla="*/ 14 w 59"/>
                  <a:gd name="T53" fmla="*/ 6 h 62"/>
                  <a:gd name="T54" fmla="*/ 12 w 59"/>
                  <a:gd name="T55" fmla="*/ 4 h 62"/>
                  <a:gd name="T56" fmla="*/ 10 w 59"/>
                  <a:gd name="T57" fmla="*/ 3 h 62"/>
                  <a:gd name="T58" fmla="*/ 8 w 59"/>
                  <a:gd name="T59" fmla="*/ 2 h 62"/>
                  <a:gd name="T60" fmla="*/ 8 w 59"/>
                  <a:gd name="T61" fmla="*/ 3 h 62"/>
                  <a:gd name="T62" fmla="*/ 4 w 59"/>
                  <a:gd name="T63" fmla="*/ 5 h 62"/>
                  <a:gd name="T64" fmla="*/ 4 w 59"/>
                  <a:gd name="T65" fmla="*/ 8 h 62"/>
                  <a:gd name="T66" fmla="*/ 6 w 59"/>
                  <a:gd name="T67" fmla="*/ 10 h 62"/>
                  <a:gd name="T68" fmla="*/ 7 w 59"/>
                  <a:gd name="T69" fmla="*/ 12 h 62"/>
                  <a:gd name="T70" fmla="*/ 7 w 59"/>
                  <a:gd name="T71" fmla="*/ 17 h 62"/>
                  <a:gd name="T72" fmla="*/ 9 w 59"/>
                  <a:gd name="T73" fmla="*/ 22 h 62"/>
                  <a:gd name="T74" fmla="*/ 7 w 59"/>
                  <a:gd name="T75" fmla="*/ 23 h 62"/>
                  <a:gd name="T76" fmla="*/ 5 w 59"/>
                  <a:gd name="T77" fmla="*/ 22 h 62"/>
                  <a:gd name="T78" fmla="*/ 4 w 59"/>
                  <a:gd name="T79" fmla="*/ 22 h 62"/>
                  <a:gd name="T80" fmla="*/ 5 w 59"/>
                  <a:gd name="T81" fmla="*/ 23 h 62"/>
                  <a:gd name="T82" fmla="*/ 5 w 59"/>
                  <a:gd name="T83" fmla="*/ 27 h 62"/>
                  <a:gd name="T84" fmla="*/ 2 w 59"/>
                  <a:gd name="T85" fmla="*/ 31 h 62"/>
                  <a:gd name="T86" fmla="*/ 2 w 59"/>
                  <a:gd name="T87" fmla="*/ 32 h 62"/>
                  <a:gd name="T88" fmla="*/ 2 w 59"/>
                  <a:gd name="T89" fmla="*/ 34 h 62"/>
                  <a:gd name="T90" fmla="*/ 2 w 59"/>
                  <a:gd name="T91" fmla="*/ 35 h 62"/>
                  <a:gd name="T92" fmla="*/ 2 w 59"/>
                  <a:gd name="T93" fmla="*/ 36 h 62"/>
                  <a:gd name="T94" fmla="*/ 2 w 59"/>
                  <a:gd name="T95" fmla="*/ 37 h 62"/>
                  <a:gd name="T96" fmla="*/ 2 w 59"/>
                  <a:gd name="T97" fmla="*/ 39 h 62"/>
                  <a:gd name="T98" fmla="*/ 1 w 59"/>
                  <a:gd name="T99" fmla="*/ 40 h 62"/>
                  <a:gd name="T100" fmla="*/ 2 w 59"/>
                  <a:gd name="T101" fmla="*/ 42 h 62"/>
                  <a:gd name="T102" fmla="*/ 7 w 59"/>
                  <a:gd name="T103" fmla="*/ 43 h 62"/>
                  <a:gd name="T104" fmla="*/ 12 w 59"/>
                  <a:gd name="T105" fmla="*/ 50 h 62"/>
                  <a:gd name="T106" fmla="*/ 10 w 59"/>
                  <a:gd name="T107" fmla="*/ 62 h 62"/>
                  <a:gd name="T108" fmla="*/ 12 w 59"/>
                  <a:gd name="T109" fmla="*/ 62 h 62"/>
                  <a:gd name="T110" fmla="*/ 35 w 59"/>
                  <a:gd name="T111" fmla="*/ 55 h 62"/>
                  <a:gd name="T112" fmla="*/ 32 w 59"/>
                  <a:gd name="T113" fmla="*/ 54 h 62"/>
                  <a:gd name="T114" fmla="*/ 45 w 59"/>
                  <a:gd name="T115" fmla="*/ 54 h 62"/>
                  <a:gd name="T116" fmla="*/ 47 w 59"/>
                  <a:gd name="T117" fmla="*/ 54 h 62"/>
                  <a:gd name="T118" fmla="*/ 52 w 59"/>
                  <a:gd name="T119" fmla="*/ 55 h 62"/>
                  <a:gd name="T120" fmla="*/ 54 w 59"/>
                  <a:gd name="T121" fmla="*/ 54 h 62"/>
                  <a:gd name="T122" fmla="*/ 48 w 59"/>
                  <a:gd name="T123"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 h="62">
                    <a:moveTo>
                      <a:pt x="54" y="54"/>
                    </a:moveTo>
                    <a:cubicBezTo>
                      <a:pt x="54" y="54"/>
                      <a:pt x="54" y="54"/>
                      <a:pt x="54" y="54"/>
                    </a:cubicBezTo>
                    <a:cubicBezTo>
                      <a:pt x="54" y="54"/>
                      <a:pt x="54" y="54"/>
                      <a:pt x="54" y="54"/>
                    </a:cubicBezTo>
                    <a:cubicBezTo>
                      <a:pt x="55" y="54"/>
                      <a:pt x="56" y="54"/>
                      <a:pt x="57" y="54"/>
                    </a:cubicBezTo>
                    <a:cubicBezTo>
                      <a:pt x="56" y="54"/>
                      <a:pt x="57" y="53"/>
                      <a:pt x="57" y="53"/>
                    </a:cubicBezTo>
                    <a:cubicBezTo>
                      <a:pt x="57" y="53"/>
                      <a:pt x="57" y="53"/>
                      <a:pt x="57" y="52"/>
                    </a:cubicBezTo>
                    <a:cubicBezTo>
                      <a:pt x="56" y="52"/>
                      <a:pt x="56" y="52"/>
                      <a:pt x="56" y="51"/>
                    </a:cubicBezTo>
                    <a:cubicBezTo>
                      <a:pt x="55" y="51"/>
                      <a:pt x="55" y="51"/>
                      <a:pt x="55" y="50"/>
                    </a:cubicBezTo>
                    <a:cubicBezTo>
                      <a:pt x="55" y="50"/>
                      <a:pt x="55" y="50"/>
                      <a:pt x="54" y="50"/>
                    </a:cubicBezTo>
                    <a:cubicBezTo>
                      <a:pt x="54" y="49"/>
                      <a:pt x="54" y="49"/>
                      <a:pt x="54" y="49"/>
                    </a:cubicBezTo>
                    <a:cubicBezTo>
                      <a:pt x="54" y="49"/>
                      <a:pt x="54" y="49"/>
                      <a:pt x="54" y="49"/>
                    </a:cubicBezTo>
                    <a:cubicBezTo>
                      <a:pt x="53" y="46"/>
                      <a:pt x="52" y="43"/>
                      <a:pt x="52" y="41"/>
                    </a:cubicBezTo>
                    <a:cubicBezTo>
                      <a:pt x="52" y="40"/>
                      <a:pt x="52" y="40"/>
                      <a:pt x="52" y="40"/>
                    </a:cubicBezTo>
                    <a:cubicBezTo>
                      <a:pt x="52" y="37"/>
                      <a:pt x="53" y="35"/>
                      <a:pt x="54" y="33"/>
                    </a:cubicBezTo>
                    <a:cubicBezTo>
                      <a:pt x="54" y="33"/>
                      <a:pt x="54" y="33"/>
                      <a:pt x="54" y="33"/>
                    </a:cubicBezTo>
                    <a:cubicBezTo>
                      <a:pt x="54" y="32"/>
                      <a:pt x="54" y="32"/>
                      <a:pt x="54" y="31"/>
                    </a:cubicBezTo>
                    <a:cubicBezTo>
                      <a:pt x="54" y="31"/>
                      <a:pt x="55" y="30"/>
                      <a:pt x="55" y="30"/>
                    </a:cubicBezTo>
                    <a:cubicBezTo>
                      <a:pt x="55" y="30"/>
                      <a:pt x="55" y="30"/>
                      <a:pt x="55" y="30"/>
                    </a:cubicBezTo>
                    <a:cubicBezTo>
                      <a:pt x="55" y="29"/>
                      <a:pt x="55" y="28"/>
                      <a:pt x="56" y="27"/>
                    </a:cubicBezTo>
                    <a:cubicBezTo>
                      <a:pt x="56" y="27"/>
                      <a:pt x="57" y="26"/>
                      <a:pt x="57" y="26"/>
                    </a:cubicBezTo>
                    <a:cubicBezTo>
                      <a:pt x="58" y="25"/>
                      <a:pt x="58" y="25"/>
                      <a:pt x="58" y="25"/>
                    </a:cubicBezTo>
                    <a:cubicBezTo>
                      <a:pt x="58" y="25"/>
                      <a:pt x="58" y="24"/>
                      <a:pt x="58" y="24"/>
                    </a:cubicBezTo>
                    <a:cubicBezTo>
                      <a:pt x="59" y="23"/>
                      <a:pt x="59" y="23"/>
                      <a:pt x="59" y="21"/>
                    </a:cubicBezTo>
                    <a:cubicBezTo>
                      <a:pt x="59" y="20"/>
                      <a:pt x="58" y="19"/>
                      <a:pt x="58" y="18"/>
                    </a:cubicBezTo>
                    <a:cubicBezTo>
                      <a:pt x="58" y="18"/>
                      <a:pt x="58" y="18"/>
                      <a:pt x="58" y="18"/>
                    </a:cubicBezTo>
                    <a:cubicBezTo>
                      <a:pt x="58" y="17"/>
                      <a:pt x="58" y="17"/>
                      <a:pt x="57" y="17"/>
                    </a:cubicBezTo>
                    <a:cubicBezTo>
                      <a:pt x="57" y="16"/>
                      <a:pt x="57" y="16"/>
                      <a:pt x="57" y="16"/>
                    </a:cubicBezTo>
                    <a:cubicBezTo>
                      <a:pt x="57" y="16"/>
                      <a:pt x="57" y="16"/>
                      <a:pt x="57" y="16"/>
                    </a:cubicBezTo>
                    <a:cubicBezTo>
                      <a:pt x="57" y="15"/>
                      <a:pt x="57" y="15"/>
                      <a:pt x="56" y="15"/>
                    </a:cubicBezTo>
                    <a:cubicBezTo>
                      <a:pt x="56" y="14"/>
                      <a:pt x="56" y="14"/>
                      <a:pt x="56" y="14"/>
                    </a:cubicBezTo>
                    <a:cubicBezTo>
                      <a:pt x="56" y="14"/>
                      <a:pt x="56" y="14"/>
                      <a:pt x="56" y="13"/>
                    </a:cubicBezTo>
                    <a:cubicBezTo>
                      <a:pt x="57" y="13"/>
                      <a:pt x="57" y="13"/>
                      <a:pt x="57" y="13"/>
                    </a:cubicBezTo>
                    <a:cubicBezTo>
                      <a:pt x="57" y="13"/>
                      <a:pt x="57" y="12"/>
                      <a:pt x="57" y="12"/>
                    </a:cubicBezTo>
                    <a:cubicBezTo>
                      <a:pt x="57" y="12"/>
                      <a:pt x="57" y="12"/>
                      <a:pt x="57" y="12"/>
                    </a:cubicBezTo>
                    <a:cubicBezTo>
                      <a:pt x="57" y="12"/>
                      <a:pt x="57" y="12"/>
                      <a:pt x="57" y="12"/>
                    </a:cubicBezTo>
                    <a:cubicBezTo>
                      <a:pt x="56" y="12"/>
                      <a:pt x="56" y="11"/>
                      <a:pt x="55" y="10"/>
                    </a:cubicBezTo>
                    <a:cubicBezTo>
                      <a:pt x="55" y="10"/>
                      <a:pt x="55" y="10"/>
                      <a:pt x="55" y="10"/>
                    </a:cubicBezTo>
                    <a:cubicBezTo>
                      <a:pt x="55" y="10"/>
                      <a:pt x="55" y="9"/>
                      <a:pt x="55" y="9"/>
                    </a:cubicBezTo>
                    <a:cubicBezTo>
                      <a:pt x="55" y="9"/>
                      <a:pt x="54" y="9"/>
                      <a:pt x="54" y="9"/>
                    </a:cubicBezTo>
                    <a:cubicBezTo>
                      <a:pt x="53" y="8"/>
                      <a:pt x="52" y="8"/>
                      <a:pt x="52" y="7"/>
                    </a:cubicBezTo>
                    <a:cubicBezTo>
                      <a:pt x="52" y="7"/>
                      <a:pt x="52" y="7"/>
                      <a:pt x="52" y="7"/>
                    </a:cubicBezTo>
                    <a:cubicBezTo>
                      <a:pt x="52" y="7"/>
                      <a:pt x="52" y="7"/>
                      <a:pt x="51" y="7"/>
                    </a:cubicBezTo>
                    <a:cubicBezTo>
                      <a:pt x="51" y="7"/>
                      <a:pt x="51" y="7"/>
                      <a:pt x="51" y="7"/>
                    </a:cubicBezTo>
                    <a:cubicBezTo>
                      <a:pt x="50" y="7"/>
                      <a:pt x="50" y="7"/>
                      <a:pt x="50" y="7"/>
                    </a:cubicBezTo>
                    <a:cubicBezTo>
                      <a:pt x="50" y="7"/>
                      <a:pt x="50" y="7"/>
                      <a:pt x="50" y="7"/>
                    </a:cubicBezTo>
                    <a:cubicBezTo>
                      <a:pt x="49" y="7"/>
                      <a:pt x="47" y="7"/>
                      <a:pt x="46" y="7"/>
                    </a:cubicBezTo>
                    <a:cubicBezTo>
                      <a:pt x="45" y="8"/>
                      <a:pt x="44" y="9"/>
                      <a:pt x="43" y="10"/>
                    </a:cubicBezTo>
                    <a:cubicBezTo>
                      <a:pt x="43" y="10"/>
                      <a:pt x="43" y="10"/>
                      <a:pt x="43" y="10"/>
                    </a:cubicBezTo>
                    <a:cubicBezTo>
                      <a:pt x="42" y="10"/>
                      <a:pt x="42" y="10"/>
                      <a:pt x="42" y="10"/>
                    </a:cubicBezTo>
                    <a:cubicBezTo>
                      <a:pt x="41" y="10"/>
                      <a:pt x="41" y="10"/>
                      <a:pt x="41" y="10"/>
                    </a:cubicBezTo>
                    <a:cubicBezTo>
                      <a:pt x="41" y="10"/>
                      <a:pt x="41" y="10"/>
                      <a:pt x="41" y="10"/>
                    </a:cubicBezTo>
                    <a:cubicBezTo>
                      <a:pt x="41" y="10"/>
                      <a:pt x="40" y="10"/>
                      <a:pt x="39" y="9"/>
                    </a:cubicBezTo>
                    <a:cubicBezTo>
                      <a:pt x="38" y="9"/>
                      <a:pt x="38" y="9"/>
                      <a:pt x="38" y="9"/>
                    </a:cubicBezTo>
                    <a:cubicBezTo>
                      <a:pt x="37" y="9"/>
                      <a:pt x="37" y="9"/>
                      <a:pt x="37" y="9"/>
                    </a:cubicBezTo>
                    <a:cubicBezTo>
                      <a:pt x="35" y="8"/>
                      <a:pt x="34" y="6"/>
                      <a:pt x="33" y="5"/>
                    </a:cubicBezTo>
                    <a:cubicBezTo>
                      <a:pt x="33" y="4"/>
                      <a:pt x="33" y="4"/>
                      <a:pt x="33" y="4"/>
                    </a:cubicBezTo>
                    <a:cubicBezTo>
                      <a:pt x="33" y="3"/>
                      <a:pt x="33" y="3"/>
                      <a:pt x="33" y="3"/>
                    </a:cubicBezTo>
                    <a:cubicBezTo>
                      <a:pt x="33" y="3"/>
                      <a:pt x="33" y="3"/>
                      <a:pt x="33" y="3"/>
                    </a:cubicBezTo>
                    <a:cubicBezTo>
                      <a:pt x="33" y="3"/>
                      <a:pt x="32" y="3"/>
                      <a:pt x="32" y="3"/>
                    </a:cubicBezTo>
                    <a:cubicBezTo>
                      <a:pt x="31" y="3"/>
                      <a:pt x="31" y="2"/>
                      <a:pt x="31" y="2"/>
                    </a:cubicBezTo>
                    <a:cubicBezTo>
                      <a:pt x="30" y="2"/>
                      <a:pt x="30" y="2"/>
                      <a:pt x="30" y="2"/>
                    </a:cubicBezTo>
                    <a:cubicBezTo>
                      <a:pt x="29" y="2"/>
                      <a:pt x="29" y="2"/>
                      <a:pt x="29" y="2"/>
                    </a:cubicBezTo>
                    <a:cubicBezTo>
                      <a:pt x="28" y="2"/>
                      <a:pt x="28" y="2"/>
                      <a:pt x="27" y="2"/>
                    </a:cubicBezTo>
                    <a:cubicBezTo>
                      <a:pt x="27" y="2"/>
                      <a:pt x="27" y="2"/>
                      <a:pt x="27" y="3"/>
                    </a:cubicBezTo>
                    <a:cubicBezTo>
                      <a:pt x="26" y="3"/>
                      <a:pt x="26" y="4"/>
                      <a:pt x="25" y="4"/>
                    </a:cubicBezTo>
                    <a:cubicBezTo>
                      <a:pt x="24" y="4"/>
                      <a:pt x="23" y="4"/>
                      <a:pt x="22" y="3"/>
                    </a:cubicBezTo>
                    <a:cubicBezTo>
                      <a:pt x="21" y="3"/>
                      <a:pt x="21" y="1"/>
                      <a:pt x="21" y="0"/>
                    </a:cubicBezTo>
                    <a:cubicBezTo>
                      <a:pt x="20" y="0"/>
                      <a:pt x="20" y="0"/>
                      <a:pt x="20" y="0"/>
                    </a:cubicBezTo>
                    <a:cubicBezTo>
                      <a:pt x="20" y="0"/>
                      <a:pt x="19" y="0"/>
                      <a:pt x="19" y="0"/>
                    </a:cubicBezTo>
                    <a:cubicBezTo>
                      <a:pt x="19" y="0"/>
                      <a:pt x="19" y="0"/>
                      <a:pt x="19" y="1"/>
                    </a:cubicBezTo>
                    <a:cubicBezTo>
                      <a:pt x="19" y="2"/>
                      <a:pt x="19" y="2"/>
                      <a:pt x="19" y="2"/>
                    </a:cubicBezTo>
                    <a:cubicBezTo>
                      <a:pt x="18" y="3"/>
                      <a:pt x="18" y="3"/>
                      <a:pt x="18" y="3"/>
                    </a:cubicBezTo>
                    <a:cubicBezTo>
                      <a:pt x="18" y="3"/>
                      <a:pt x="17" y="2"/>
                      <a:pt x="17" y="2"/>
                    </a:cubicBezTo>
                    <a:cubicBezTo>
                      <a:pt x="17" y="2"/>
                      <a:pt x="17" y="2"/>
                      <a:pt x="17" y="2"/>
                    </a:cubicBezTo>
                    <a:cubicBezTo>
                      <a:pt x="17" y="2"/>
                      <a:pt x="16" y="2"/>
                      <a:pt x="16" y="2"/>
                    </a:cubicBezTo>
                    <a:cubicBezTo>
                      <a:pt x="16" y="2"/>
                      <a:pt x="16" y="2"/>
                      <a:pt x="16" y="2"/>
                    </a:cubicBezTo>
                    <a:cubicBezTo>
                      <a:pt x="16" y="2"/>
                      <a:pt x="16" y="2"/>
                      <a:pt x="16" y="2"/>
                    </a:cubicBezTo>
                    <a:cubicBezTo>
                      <a:pt x="16" y="3"/>
                      <a:pt x="16" y="3"/>
                      <a:pt x="16" y="3"/>
                    </a:cubicBezTo>
                    <a:cubicBezTo>
                      <a:pt x="16" y="3"/>
                      <a:pt x="16" y="3"/>
                      <a:pt x="16" y="3"/>
                    </a:cubicBezTo>
                    <a:cubicBezTo>
                      <a:pt x="15" y="3"/>
                      <a:pt x="15" y="4"/>
                      <a:pt x="15" y="4"/>
                    </a:cubicBezTo>
                    <a:cubicBezTo>
                      <a:pt x="14" y="6"/>
                      <a:pt x="14" y="6"/>
                      <a:pt x="14" y="6"/>
                    </a:cubicBezTo>
                    <a:cubicBezTo>
                      <a:pt x="13" y="4"/>
                      <a:pt x="13" y="4"/>
                      <a:pt x="13" y="4"/>
                    </a:cubicBezTo>
                    <a:cubicBezTo>
                      <a:pt x="13" y="4"/>
                      <a:pt x="13" y="4"/>
                      <a:pt x="13" y="4"/>
                    </a:cubicBezTo>
                    <a:cubicBezTo>
                      <a:pt x="13" y="4"/>
                      <a:pt x="12" y="4"/>
                      <a:pt x="12" y="4"/>
                    </a:cubicBezTo>
                    <a:cubicBezTo>
                      <a:pt x="12" y="4"/>
                      <a:pt x="11" y="4"/>
                      <a:pt x="10" y="3"/>
                    </a:cubicBezTo>
                    <a:cubicBezTo>
                      <a:pt x="10" y="3"/>
                      <a:pt x="10" y="3"/>
                      <a:pt x="10" y="3"/>
                    </a:cubicBezTo>
                    <a:cubicBezTo>
                      <a:pt x="10" y="3"/>
                      <a:pt x="10" y="3"/>
                      <a:pt x="10" y="3"/>
                    </a:cubicBezTo>
                    <a:cubicBezTo>
                      <a:pt x="9" y="2"/>
                      <a:pt x="9" y="2"/>
                      <a:pt x="8" y="2"/>
                    </a:cubicBezTo>
                    <a:cubicBezTo>
                      <a:pt x="8" y="2"/>
                      <a:pt x="8" y="2"/>
                      <a:pt x="8" y="2"/>
                    </a:cubicBezTo>
                    <a:cubicBezTo>
                      <a:pt x="8" y="2"/>
                      <a:pt x="8" y="2"/>
                      <a:pt x="8" y="2"/>
                    </a:cubicBezTo>
                    <a:cubicBezTo>
                      <a:pt x="8" y="2"/>
                      <a:pt x="8" y="2"/>
                      <a:pt x="8" y="2"/>
                    </a:cubicBezTo>
                    <a:cubicBezTo>
                      <a:pt x="8" y="3"/>
                      <a:pt x="8" y="3"/>
                      <a:pt x="8" y="3"/>
                    </a:cubicBezTo>
                    <a:cubicBezTo>
                      <a:pt x="8" y="3"/>
                      <a:pt x="8" y="3"/>
                      <a:pt x="8" y="3"/>
                    </a:cubicBezTo>
                    <a:cubicBezTo>
                      <a:pt x="7" y="3"/>
                      <a:pt x="7" y="3"/>
                      <a:pt x="7" y="3"/>
                    </a:cubicBezTo>
                    <a:cubicBezTo>
                      <a:pt x="6" y="4"/>
                      <a:pt x="6" y="4"/>
                      <a:pt x="6" y="4"/>
                    </a:cubicBezTo>
                    <a:cubicBezTo>
                      <a:pt x="5" y="4"/>
                      <a:pt x="5" y="5"/>
                      <a:pt x="4" y="5"/>
                    </a:cubicBezTo>
                    <a:cubicBezTo>
                      <a:pt x="4" y="5"/>
                      <a:pt x="4" y="5"/>
                      <a:pt x="4" y="6"/>
                    </a:cubicBezTo>
                    <a:cubicBezTo>
                      <a:pt x="4" y="6"/>
                      <a:pt x="4" y="7"/>
                      <a:pt x="4" y="8"/>
                    </a:cubicBezTo>
                    <a:cubicBezTo>
                      <a:pt x="4" y="8"/>
                      <a:pt x="4" y="8"/>
                      <a:pt x="4" y="8"/>
                    </a:cubicBezTo>
                    <a:cubicBezTo>
                      <a:pt x="4" y="9"/>
                      <a:pt x="4" y="9"/>
                      <a:pt x="4" y="10"/>
                    </a:cubicBezTo>
                    <a:cubicBezTo>
                      <a:pt x="5" y="10"/>
                      <a:pt x="5" y="10"/>
                      <a:pt x="5" y="10"/>
                    </a:cubicBezTo>
                    <a:cubicBezTo>
                      <a:pt x="5" y="10"/>
                      <a:pt x="6" y="10"/>
                      <a:pt x="6" y="10"/>
                    </a:cubicBezTo>
                    <a:cubicBezTo>
                      <a:pt x="7" y="10"/>
                      <a:pt x="7" y="10"/>
                      <a:pt x="7" y="10"/>
                    </a:cubicBezTo>
                    <a:cubicBezTo>
                      <a:pt x="7" y="11"/>
                      <a:pt x="7" y="11"/>
                      <a:pt x="7" y="11"/>
                    </a:cubicBezTo>
                    <a:cubicBezTo>
                      <a:pt x="7" y="11"/>
                      <a:pt x="7" y="12"/>
                      <a:pt x="7" y="12"/>
                    </a:cubicBezTo>
                    <a:cubicBezTo>
                      <a:pt x="8" y="13"/>
                      <a:pt x="8" y="15"/>
                      <a:pt x="7" y="16"/>
                    </a:cubicBezTo>
                    <a:cubicBezTo>
                      <a:pt x="7" y="16"/>
                      <a:pt x="7" y="16"/>
                      <a:pt x="7" y="17"/>
                    </a:cubicBezTo>
                    <a:cubicBezTo>
                      <a:pt x="7" y="17"/>
                      <a:pt x="7" y="17"/>
                      <a:pt x="7" y="17"/>
                    </a:cubicBezTo>
                    <a:cubicBezTo>
                      <a:pt x="7" y="17"/>
                      <a:pt x="7" y="17"/>
                      <a:pt x="7" y="17"/>
                    </a:cubicBezTo>
                    <a:cubicBezTo>
                      <a:pt x="8" y="18"/>
                      <a:pt x="8" y="19"/>
                      <a:pt x="9" y="21"/>
                    </a:cubicBezTo>
                    <a:cubicBezTo>
                      <a:pt x="9" y="22"/>
                      <a:pt x="9" y="22"/>
                      <a:pt x="9" y="22"/>
                    </a:cubicBezTo>
                    <a:cubicBezTo>
                      <a:pt x="8" y="23"/>
                      <a:pt x="8" y="23"/>
                      <a:pt x="8" y="23"/>
                    </a:cubicBezTo>
                    <a:cubicBezTo>
                      <a:pt x="8" y="23"/>
                      <a:pt x="7" y="23"/>
                      <a:pt x="7" y="23"/>
                    </a:cubicBezTo>
                    <a:cubicBezTo>
                      <a:pt x="7" y="23"/>
                      <a:pt x="7" y="23"/>
                      <a:pt x="7" y="23"/>
                    </a:cubicBezTo>
                    <a:cubicBezTo>
                      <a:pt x="6" y="22"/>
                      <a:pt x="6" y="22"/>
                      <a:pt x="6" y="22"/>
                    </a:cubicBezTo>
                    <a:cubicBezTo>
                      <a:pt x="6" y="22"/>
                      <a:pt x="6" y="22"/>
                      <a:pt x="6" y="22"/>
                    </a:cubicBezTo>
                    <a:cubicBezTo>
                      <a:pt x="5" y="22"/>
                      <a:pt x="5" y="22"/>
                      <a:pt x="5" y="22"/>
                    </a:cubicBezTo>
                    <a:cubicBezTo>
                      <a:pt x="5" y="22"/>
                      <a:pt x="5" y="22"/>
                      <a:pt x="5" y="22"/>
                    </a:cubicBezTo>
                    <a:cubicBezTo>
                      <a:pt x="5" y="22"/>
                      <a:pt x="4" y="22"/>
                      <a:pt x="4" y="22"/>
                    </a:cubicBezTo>
                    <a:cubicBezTo>
                      <a:pt x="4" y="22"/>
                      <a:pt x="4" y="22"/>
                      <a:pt x="4" y="22"/>
                    </a:cubicBezTo>
                    <a:cubicBezTo>
                      <a:pt x="4" y="22"/>
                      <a:pt x="4" y="22"/>
                      <a:pt x="4" y="22"/>
                    </a:cubicBezTo>
                    <a:cubicBezTo>
                      <a:pt x="4" y="22"/>
                      <a:pt x="4" y="22"/>
                      <a:pt x="4" y="22"/>
                    </a:cubicBezTo>
                    <a:cubicBezTo>
                      <a:pt x="5" y="23"/>
                      <a:pt x="5" y="23"/>
                      <a:pt x="5" y="23"/>
                    </a:cubicBezTo>
                    <a:cubicBezTo>
                      <a:pt x="5" y="23"/>
                      <a:pt x="5" y="24"/>
                      <a:pt x="6" y="24"/>
                    </a:cubicBezTo>
                    <a:cubicBezTo>
                      <a:pt x="7" y="28"/>
                      <a:pt x="7" y="28"/>
                      <a:pt x="7" y="28"/>
                    </a:cubicBezTo>
                    <a:cubicBezTo>
                      <a:pt x="5" y="27"/>
                      <a:pt x="5" y="27"/>
                      <a:pt x="5" y="27"/>
                    </a:cubicBezTo>
                    <a:cubicBezTo>
                      <a:pt x="4" y="29"/>
                      <a:pt x="4" y="31"/>
                      <a:pt x="2" y="31"/>
                    </a:cubicBezTo>
                    <a:cubicBezTo>
                      <a:pt x="2" y="31"/>
                      <a:pt x="2" y="31"/>
                      <a:pt x="2" y="31"/>
                    </a:cubicBezTo>
                    <a:cubicBezTo>
                      <a:pt x="2" y="31"/>
                      <a:pt x="2" y="31"/>
                      <a:pt x="2" y="31"/>
                    </a:cubicBezTo>
                    <a:cubicBezTo>
                      <a:pt x="2" y="31"/>
                      <a:pt x="2" y="31"/>
                      <a:pt x="2" y="31"/>
                    </a:cubicBezTo>
                    <a:cubicBezTo>
                      <a:pt x="2" y="31"/>
                      <a:pt x="1" y="31"/>
                      <a:pt x="1" y="31"/>
                    </a:cubicBezTo>
                    <a:cubicBezTo>
                      <a:pt x="1" y="32"/>
                      <a:pt x="1" y="32"/>
                      <a:pt x="2" y="32"/>
                    </a:cubicBezTo>
                    <a:cubicBezTo>
                      <a:pt x="2" y="32"/>
                      <a:pt x="2" y="32"/>
                      <a:pt x="2" y="32"/>
                    </a:cubicBezTo>
                    <a:cubicBezTo>
                      <a:pt x="2" y="33"/>
                      <a:pt x="2" y="33"/>
                      <a:pt x="2" y="33"/>
                    </a:cubicBezTo>
                    <a:cubicBezTo>
                      <a:pt x="2" y="34"/>
                      <a:pt x="2" y="34"/>
                      <a:pt x="2" y="34"/>
                    </a:cubicBezTo>
                    <a:cubicBezTo>
                      <a:pt x="2" y="34"/>
                      <a:pt x="2" y="34"/>
                      <a:pt x="2" y="34"/>
                    </a:cubicBezTo>
                    <a:cubicBezTo>
                      <a:pt x="2" y="35"/>
                      <a:pt x="2" y="35"/>
                      <a:pt x="2" y="35"/>
                    </a:cubicBezTo>
                    <a:cubicBezTo>
                      <a:pt x="2" y="35"/>
                      <a:pt x="2" y="35"/>
                      <a:pt x="2" y="35"/>
                    </a:cubicBezTo>
                    <a:cubicBezTo>
                      <a:pt x="2" y="36"/>
                      <a:pt x="2" y="36"/>
                      <a:pt x="2" y="36"/>
                    </a:cubicBezTo>
                    <a:cubicBezTo>
                      <a:pt x="2" y="36"/>
                      <a:pt x="2" y="36"/>
                      <a:pt x="2" y="36"/>
                    </a:cubicBezTo>
                    <a:cubicBezTo>
                      <a:pt x="2" y="36"/>
                      <a:pt x="2" y="36"/>
                      <a:pt x="2" y="36"/>
                    </a:cubicBezTo>
                    <a:cubicBezTo>
                      <a:pt x="2" y="36"/>
                      <a:pt x="2" y="37"/>
                      <a:pt x="2" y="37"/>
                    </a:cubicBezTo>
                    <a:cubicBezTo>
                      <a:pt x="2" y="37"/>
                      <a:pt x="2" y="37"/>
                      <a:pt x="2" y="37"/>
                    </a:cubicBezTo>
                    <a:cubicBezTo>
                      <a:pt x="2" y="37"/>
                      <a:pt x="2" y="37"/>
                      <a:pt x="2" y="37"/>
                    </a:cubicBezTo>
                    <a:cubicBezTo>
                      <a:pt x="2" y="37"/>
                      <a:pt x="2" y="38"/>
                      <a:pt x="2" y="38"/>
                    </a:cubicBezTo>
                    <a:cubicBezTo>
                      <a:pt x="2" y="38"/>
                      <a:pt x="2" y="38"/>
                      <a:pt x="2" y="38"/>
                    </a:cubicBezTo>
                    <a:cubicBezTo>
                      <a:pt x="2" y="38"/>
                      <a:pt x="2" y="38"/>
                      <a:pt x="2" y="39"/>
                    </a:cubicBezTo>
                    <a:cubicBezTo>
                      <a:pt x="1" y="39"/>
                      <a:pt x="1" y="39"/>
                      <a:pt x="1" y="39"/>
                    </a:cubicBezTo>
                    <a:cubicBezTo>
                      <a:pt x="1" y="39"/>
                      <a:pt x="1" y="39"/>
                      <a:pt x="1" y="39"/>
                    </a:cubicBezTo>
                    <a:cubicBezTo>
                      <a:pt x="1" y="40"/>
                      <a:pt x="1" y="40"/>
                      <a:pt x="1" y="40"/>
                    </a:cubicBezTo>
                    <a:cubicBezTo>
                      <a:pt x="1" y="40"/>
                      <a:pt x="0" y="40"/>
                      <a:pt x="0" y="41"/>
                    </a:cubicBezTo>
                    <a:cubicBezTo>
                      <a:pt x="1" y="41"/>
                      <a:pt x="1" y="41"/>
                      <a:pt x="2" y="41"/>
                    </a:cubicBezTo>
                    <a:cubicBezTo>
                      <a:pt x="2" y="42"/>
                      <a:pt x="2" y="42"/>
                      <a:pt x="2" y="42"/>
                    </a:cubicBezTo>
                    <a:cubicBezTo>
                      <a:pt x="2" y="42"/>
                      <a:pt x="2" y="42"/>
                      <a:pt x="3" y="42"/>
                    </a:cubicBezTo>
                    <a:cubicBezTo>
                      <a:pt x="3" y="42"/>
                      <a:pt x="4" y="42"/>
                      <a:pt x="4" y="42"/>
                    </a:cubicBezTo>
                    <a:cubicBezTo>
                      <a:pt x="5" y="42"/>
                      <a:pt x="6" y="42"/>
                      <a:pt x="7" y="43"/>
                    </a:cubicBezTo>
                    <a:cubicBezTo>
                      <a:pt x="8" y="44"/>
                      <a:pt x="8" y="44"/>
                      <a:pt x="8" y="44"/>
                    </a:cubicBezTo>
                    <a:cubicBezTo>
                      <a:pt x="9" y="45"/>
                      <a:pt x="9" y="45"/>
                      <a:pt x="9" y="45"/>
                    </a:cubicBezTo>
                    <a:cubicBezTo>
                      <a:pt x="11" y="46"/>
                      <a:pt x="11" y="48"/>
                      <a:pt x="12" y="50"/>
                    </a:cubicBezTo>
                    <a:cubicBezTo>
                      <a:pt x="12" y="53"/>
                      <a:pt x="11" y="55"/>
                      <a:pt x="10" y="58"/>
                    </a:cubicBezTo>
                    <a:cubicBezTo>
                      <a:pt x="10" y="59"/>
                      <a:pt x="10" y="59"/>
                      <a:pt x="10" y="59"/>
                    </a:cubicBezTo>
                    <a:cubicBezTo>
                      <a:pt x="10" y="59"/>
                      <a:pt x="10" y="59"/>
                      <a:pt x="10" y="62"/>
                    </a:cubicBezTo>
                    <a:cubicBezTo>
                      <a:pt x="10" y="62"/>
                      <a:pt x="10" y="62"/>
                      <a:pt x="10" y="62"/>
                    </a:cubicBezTo>
                    <a:cubicBezTo>
                      <a:pt x="10" y="62"/>
                      <a:pt x="10" y="62"/>
                      <a:pt x="10" y="62"/>
                    </a:cubicBezTo>
                    <a:cubicBezTo>
                      <a:pt x="11" y="62"/>
                      <a:pt x="11" y="62"/>
                      <a:pt x="12" y="62"/>
                    </a:cubicBezTo>
                    <a:cubicBezTo>
                      <a:pt x="14" y="60"/>
                      <a:pt x="17" y="59"/>
                      <a:pt x="20" y="58"/>
                    </a:cubicBezTo>
                    <a:cubicBezTo>
                      <a:pt x="22" y="57"/>
                      <a:pt x="25" y="56"/>
                      <a:pt x="27" y="56"/>
                    </a:cubicBezTo>
                    <a:cubicBezTo>
                      <a:pt x="30" y="55"/>
                      <a:pt x="32" y="55"/>
                      <a:pt x="35" y="55"/>
                    </a:cubicBezTo>
                    <a:cubicBezTo>
                      <a:pt x="35" y="55"/>
                      <a:pt x="35" y="55"/>
                      <a:pt x="35" y="54"/>
                    </a:cubicBezTo>
                    <a:cubicBezTo>
                      <a:pt x="34" y="54"/>
                      <a:pt x="34" y="54"/>
                      <a:pt x="34" y="54"/>
                    </a:cubicBezTo>
                    <a:cubicBezTo>
                      <a:pt x="33" y="55"/>
                      <a:pt x="33" y="54"/>
                      <a:pt x="32" y="54"/>
                    </a:cubicBezTo>
                    <a:cubicBezTo>
                      <a:pt x="32" y="54"/>
                      <a:pt x="33" y="54"/>
                      <a:pt x="34" y="54"/>
                    </a:cubicBezTo>
                    <a:cubicBezTo>
                      <a:pt x="34" y="54"/>
                      <a:pt x="34" y="54"/>
                      <a:pt x="35" y="54"/>
                    </a:cubicBezTo>
                    <a:cubicBezTo>
                      <a:pt x="38" y="55"/>
                      <a:pt x="42" y="55"/>
                      <a:pt x="45" y="54"/>
                    </a:cubicBezTo>
                    <a:cubicBezTo>
                      <a:pt x="44" y="52"/>
                      <a:pt x="37" y="56"/>
                      <a:pt x="37" y="54"/>
                    </a:cubicBezTo>
                    <a:cubicBezTo>
                      <a:pt x="39" y="54"/>
                      <a:pt x="40" y="53"/>
                      <a:pt x="42" y="53"/>
                    </a:cubicBezTo>
                    <a:cubicBezTo>
                      <a:pt x="43" y="53"/>
                      <a:pt x="47" y="53"/>
                      <a:pt x="47" y="54"/>
                    </a:cubicBezTo>
                    <a:cubicBezTo>
                      <a:pt x="47" y="54"/>
                      <a:pt x="46" y="54"/>
                      <a:pt x="45" y="54"/>
                    </a:cubicBezTo>
                    <a:cubicBezTo>
                      <a:pt x="46" y="54"/>
                      <a:pt x="46" y="54"/>
                      <a:pt x="47" y="54"/>
                    </a:cubicBezTo>
                    <a:cubicBezTo>
                      <a:pt x="48" y="54"/>
                      <a:pt x="52" y="56"/>
                      <a:pt x="52" y="55"/>
                    </a:cubicBezTo>
                    <a:cubicBezTo>
                      <a:pt x="52" y="55"/>
                      <a:pt x="52" y="54"/>
                      <a:pt x="52" y="54"/>
                    </a:cubicBezTo>
                    <a:cubicBezTo>
                      <a:pt x="52" y="54"/>
                      <a:pt x="53" y="52"/>
                      <a:pt x="54" y="53"/>
                    </a:cubicBezTo>
                    <a:cubicBezTo>
                      <a:pt x="54" y="53"/>
                      <a:pt x="54" y="54"/>
                      <a:pt x="54" y="54"/>
                    </a:cubicBezTo>
                    <a:close/>
                    <a:moveTo>
                      <a:pt x="47" y="53"/>
                    </a:moveTo>
                    <a:cubicBezTo>
                      <a:pt x="47" y="53"/>
                      <a:pt x="47" y="53"/>
                      <a:pt x="47" y="52"/>
                    </a:cubicBezTo>
                    <a:cubicBezTo>
                      <a:pt x="47" y="53"/>
                      <a:pt x="47" y="53"/>
                      <a:pt x="48" y="53"/>
                    </a:cubicBezTo>
                    <a:cubicBezTo>
                      <a:pt x="48" y="53"/>
                      <a:pt x="47" y="53"/>
                      <a:pt x="4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1" name="Freeform 3073">
                <a:extLst>
                  <a:ext uri="{FF2B5EF4-FFF2-40B4-BE49-F238E27FC236}">
                    <a16:creationId xmlns:a16="http://schemas.microsoft.com/office/drawing/2014/main" id="{C6EEBC34-DF15-4C6B-8147-73E95BD3557F}"/>
                  </a:ext>
                </a:extLst>
              </p:cNvPr>
              <p:cNvSpPr>
                <a:spLocks/>
              </p:cNvSpPr>
              <p:nvPr/>
            </p:nvSpPr>
            <p:spPr bwMode="auto">
              <a:xfrm>
                <a:off x="3272" y="2573"/>
                <a:ext cx="95" cy="99"/>
              </a:xfrm>
              <a:custGeom>
                <a:avLst/>
                <a:gdLst>
                  <a:gd name="T0" fmla="*/ 39 w 40"/>
                  <a:gd name="T1" fmla="*/ 41 h 42"/>
                  <a:gd name="T2" fmla="*/ 39 w 40"/>
                  <a:gd name="T3" fmla="*/ 36 h 42"/>
                  <a:gd name="T4" fmla="*/ 40 w 40"/>
                  <a:gd name="T5" fmla="*/ 29 h 42"/>
                  <a:gd name="T6" fmla="*/ 38 w 40"/>
                  <a:gd name="T7" fmla="*/ 25 h 42"/>
                  <a:gd name="T8" fmla="*/ 35 w 40"/>
                  <a:gd name="T9" fmla="*/ 23 h 42"/>
                  <a:gd name="T10" fmla="*/ 34 w 40"/>
                  <a:gd name="T11" fmla="*/ 23 h 42"/>
                  <a:gd name="T12" fmla="*/ 32 w 40"/>
                  <a:gd name="T13" fmla="*/ 23 h 42"/>
                  <a:gd name="T14" fmla="*/ 29 w 40"/>
                  <a:gd name="T15" fmla="*/ 22 h 42"/>
                  <a:gd name="T16" fmla="*/ 27 w 40"/>
                  <a:gd name="T17" fmla="*/ 20 h 42"/>
                  <a:gd name="T18" fmla="*/ 30 w 40"/>
                  <a:gd name="T19" fmla="*/ 10 h 42"/>
                  <a:gd name="T20" fmla="*/ 29 w 40"/>
                  <a:gd name="T21" fmla="*/ 11 h 42"/>
                  <a:gd name="T22" fmla="*/ 28 w 40"/>
                  <a:gd name="T23" fmla="*/ 12 h 42"/>
                  <a:gd name="T24" fmla="*/ 24 w 40"/>
                  <a:gd name="T25" fmla="*/ 14 h 42"/>
                  <a:gd name="T26" fmla="*/ 23 w 40"/>
                  <a:gd name="T27" fmla="*/ 14 h 42"/>
                  <a:gd name="T28" fmla="*/ 22 w 40"/>
                  <a:gd name="T29" fmla="*/ 12 h 42"/>
                  <a:gd name="T30" fmla="*/ 21 w 40"/>
                  <a:gd name="T31" fmla="*/ 12 h 42"/>
                  <a:gd name="T32" fmla="*/ 20 w 40"/>
                  <a:gd name="T33" fmla="*/ 7 h 42"/>
                  <a:gd name="T34" fmla="*/ 19 w 40"/>
                  <a:gd name="T35" fmla="*/ 4 h 42"/>
                  <a:gd name="T36" fmla="*/ 18 w 40"/>
                  <a:gd name="T37" fmla="*/ 1 h 42"/>
                  <a:gd name="T38" fmla="*/ 17 w 40"/>
                  <a:gd name="T39" fmla="*/ 0 h 42"/>
                  <a:gd name="T40" fmla="*/ 16 w 40"/>
                  <a:gd name="T41" fmla="*/ 1 h 42"/>
                  <a:gd name="T42" fmla="*/ 15 w 40"/>
                  <a:gd name="T43" fmla="*/ 1 h 42"/>
                  <a:gd name="T44" fmla="*/ 14 w 40"/>
                  <a:gd name="T45" fmla="*/ 1 h 42"/>
                  <a:gd name="T46" fmla="*/ 13 w 40"/>
                  <a:gd name="T47" fmla="*/ 2 h 42"/>
                  <a:gd name="T48" fmla="*/ 11 w 40"/>
                  <a:gd name="T49" fmla="*/ 4 h 42"/>
                  <a:gd name="T50" fmla="*/ 10 w 40"/>
                  <a:gd name="T51" fmla="*/ 5 h 42"/>
                  <a:gd name="T52" fmla="*/ 6 w 40"/>
                  <a:gd name="T53" fmla="*/ 11 h 42"/>
                  <a:gd name="T54" fmla="*/ 4 w 40"/>
                  <a:gd name="T55" fmla="*/ 12 h 42"/>
                  <a:gd name="T56" fmla="*/ 1 w 40"/>
                  <a:gd name="T57" fmla="*/ 16 h 42"/>
                  <a:gd name="T58" fmla="*/ 4 w 40"/>
                  <a:gd name="T59" fmla="*/ 19 h 42"/>
                  <a:gd name="T60" fmla="*/ 19 w 40"/>
                  <a:gd name="T61" fmla="*/ 31 h 42"/>
                  <a:gd name="T62" fmla="*/ 35 w 40"/>
                  <a:gd name="T63" fmla="*/ 40 h 42"/>
                  <a:gd name="T64" fmla="*/ 39 w 40"/>
                  <a:gd name="T65"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42">
                    <a:moveTo>
                      <a:pt x="39" y="41"/>
                    </a:moveTo>
                    <a:cubicBezTo>
                      <a:pt x="39" y="41"/>
                      <a:pt x="39" y="41"/>
                      <a:pt x="39" y="41"/>
                    </a:cubicBezTo>
                    <a:cubicBezTo>
                      <a:pt x="38" y="39"/>
                      <a:pt x="38" y="38"/>
                      <a:pt x="38" y="37"/>
                    </a:cubicBezTo>
                    <a:cubicBezTo>
                      <a:pt x="39" y="36"/>
                      <a:pt x="39" y="36"/>
                      <a:pt x="39" y="36"/>
                    </a:cubicBezTo>
                    <a:cubicBezTo>
                      <a:pt x="39" y="36"/>
                      <a:pt x="39" y="36"/>
                      <a:pt x="39" y="36"/>
                    </a:cubicBezTo>
                    <a:cubicBezTo>
                      <a:pt x="40" y="33"/>
                      <a:pt x="40" y="31"/>
                      <a:pt x="40" y="29"/>
                    </a:cubicBezTo>
                    <a:cubicBezTo>
                      <a:pt x="40" y="28"/>
                      <a:pt x="39" y="27"/>
                      <a:pt x="38" y="26"/>
                    </a:cubicBezTo>
                    <a:cubicBezTo>
                      <a:pt x="38" y="26"/>
                      <a:pt x="38" y="25"/>
                      <a:pt x="38" y="25"/>
                    </a:cubicBezTo>
                    <a:cubicBezTo>
                      <a:pt x="37" y="24"/>
                      <a:pt x="37" y="24"/>
                      <a:pt x="37" y="24"/>
                    </a:cubicBezTo>
                    <a:cubicBezTo>
                      <a:pt x="36" y="23"/>
                      <a:pt x="35" y="23"/>
                      <a:pt x="35" y="23"/>
                    </a:cubicBezTo>
                    <a:cubicBezTo>
                      <a:pt x="34" y="23"/>
                      <a:pt x="34" y="23"/>
                      <a:pt x="34" y="23"/>
                    </a:cubicBezTo>
                    <a:cubicBezTo>
                      <a:pt x="34" y="23"/>
                      <a:pt x="34" y="23"/>
                      <a:pt x="34" y="23"/>
                    </a:cubicBezTo>
                    <a:cubicBezTo>
                      <a:pt x="33" y="23"/>
                      <a:pt x="33" y="23"/>
                      <a:pt x="32" y="23"/>
                    </a:cubicBezTo>
                    <a:cubicBezTo>
                      <a:pt x="32" y="23"/>
                      <a:pt x="32" y="23"/>
                      <a:pt x="32" y="23"/>
                    </a:cubicBezTo>
                    <a:cubicBezTo>
                      <a:pt x="31" y="23"/>
                      <a:pt x="30" y="22"/>
                      <a:pt x="29" y="22"/>
                    </a:cubicBezTo>
                    <a:cubicBezTo>
                      <a:pt x="29" y="22"/>
                      <a:pt x="29" y="22"/>
                      <a:pt x="29" y="22"/>
                    </a:cubicBezTo>
                    <a:cubicBezTo>
                      <a:pt x="29" y="21"/>
                      <a:pt x="29" y="21"/>
                      <a:pt x="28" y="21"/>
                    </a:cubicBezTo>
                    <a:cubicBezTo>
                      <a:pt x="27" y="20"/>
                      <a:pt x="27" y="20"/>
                      <a:pt x="27" y="20"/>
                    </a:cubicBezTo>
                    <a:cubicBezTo>
                      <a:pt x="28" y="19"/>
                      <a:pt x="28" y="19"/>
                      <a:pt x="28" y="19"/>
                    </a:cubicBezTo>
                    <a:cubicBezTo>
                      <a:pt x="32" y="16"/>
                      <a:pt x="31" y="14"/>
                      <a:pt x="30" y="10"/>
                    </a:cubicBezTo>
                    <a:cubicBezTo>
                      <a:pt x="30" y="10"/>
                      <a:pt x="29" y="10"/>
                      <a:pt x="29" y="10"/>
                    </a:cubicBezTo>
                    <a:cubicBezTo>
                      <a:pt x="29" y="10"/>
                      <a:pt x="29" y="10"/>
                      <a:pt x="29" y="11"/>
                    </a:cubicBezTo>
                    <a:cubicBezTo>
                      <a:pt x="28" y="11"/>
                      <a:pt x="28" y="11"/>
                      <a:pt x="28" y="11"/>
                    </a:cubicBezTo>
                    <a:cubicBezTo>
                      <a:pt x="28" y="11"/>
                      <a:pt x="28" y="12"/>
                      <a:pt x="28" y="12"/>
                    </a:cubicBezTo>
                    <a:cubicBezTo>
                      <a:pt x="27" y="13"/>
                      <a:pt x="26" y="14"/>
                      <a:pt x="25" y="14"/>
                    </a:cubicBezTo>
                    <a:cubicBezTo>
                      <a:pt x="25" y="14"/>
                      <a:pt x="25" y="14"/>
                      <a:pt x="24" y="14"/>
                    </a:cubicBezTo>
                    <a:cubicBezTo>
                      <a:pt x="24" y="14"/>
                      <a:pt x="24" y="14"/>
                      <a:pt x="24" y="14"/>
                    </a:cubicBezTo>
                    <a:cubicBezTo>
                      <a:pt x="24" y="14"/>
                      <a:pt x="24" y="14"/>
                      <a:pt x="23" y="14"/>
                    </a:cubicBezTo>
                    <a:cubicBezTo>
                      <a:pt x="23" y="14"/>
                      <a:pt x="23" y="14"/>
                      <a:pt x="23" y="13"/>
                    </a:cubicBezTo>
                    <a:cubicBezTo>
                      <a:pt x="23" y="13"/>
                      <a:pt x="22" y="13"/>
                      <a:pt x="22" y="12"/>
                    </a:cubicBezTo>
                    <a:cubicBezTo>
                      <a:pt x="22" y="12"/>
                      <a:pt x="22" y="12"/>
                      <a:pt x="22" y="12"/>
                    </a:cubicBezTo>
                    <a:cubicBezTo>
                      <a:pt x="21" y="12"/>
                      <a:pt x="21" y="12"/>
                      <a:pt x="21" y="12"/>
                    </a:cubicBezTo>
                    <a:cubicBezTo>
                      <a:pt x="18" y="14"/>
                      <a:pt x="18" y="14"/>
                      <a:pt x="18" y="14"/>
                    </a:cubicBezTo>
                    <a:cubicBezTo>
                      <a:pt x="20" y="7"/>
                      <a:pt x="20" y="7"/>
                      <a:pt x="20" y="7"/>
                    </a:cubicBezTo>
                    <a:cubicBezTo>
                      <a:pt x="20" y="7"/>
                      <a:pt x="20" y="6"/>
                      <a:pt x="20" y="5"/>
                    </a:cubicBezTo>
                    <a:cubicBezTo>
                      <a:pt x="19" y="4"/>
                      <a:pt x="19" y="4"/>
                      <a:pt x="19" y="4"/>
                    </a:cubicBezTo>
                    <a:cubicBezTo>
                      <a:pt x="19" y="3"/>
                      <a:pt x="19" y="2"/>
                      <a:pt x="19" y="2"/>
                    </a:cubicBezTo>
                    <a:cubicBezTo>
                      <a:pt x="18" y="2"/>
                      <a:pt x="18" y="1"/>
                      <a:pt x="18" y="1"/>
                    </a:cubicBezTo>
                    <a:cubicBezTo>
                      <a:pt x="18" y="1"/>
                      <a:pt x="18" y="1"/>
                      <a:pt x="18" y="1"/>
                    </a:cubicBezTo>
                    <a:cubicBezTo>
                      <a:pt x="17" y="0"/>
                      <a:pt x="17" y="0"/>
                      <a:pt x="17" y="0"/>
                    </a:cubicBezTo>
                    <a:cubicBezTo>
                      <a:pt x="17" y="0"/>
                      <a:pt x="17" y="0"/>
                      <a:pt x="17" y="0"/>
                    </a:cubicBezTo>
                    <a:cubicBezTo>
                      <a:pt x="17" y="0"/>
                      <a:pt x="17" y="1"/>
                      <a:pt x="16" y="1"/>
                    </a:cubicBezTo>
                    <a:cubicBezTo>
                      <a:pt x="16" y="1"/>
                      <a:pt x="16" y="1"/>
                      <a:pt x="15" y="1"/>
                    </a:cubicBezTo>
                    <a:cubicBezTo>
                      <a:pt x="15" y="1"/>
                      <a:pt x="15" y="1"/>
                      <a:pt x="15" y="1"/>
                    </a:cubicBezTo>
                    <a:cubicBezTo>
                      <a:pt x="15" y="1"/>
                      <a:pt x="15" y="1"/>
                      <a:pt x="15" y="1"/>
                    </a:cubicBezTo>
                    <a:cubicBezTo>
                      <a:pt x="14" y="1"/>
                      <a:pt x="14" y="1"/>
                      <a:pt x="14" y="1"/>
                    </a:cubicBezTo>
                    <a:cubicBezTo>
                      <a:pt x="13" y="1"/>
                      <a:pt x="13" y="1"/>
                      <a:pt x="13" y="1"/>
                    </a:cubicBezTo>
                    <a:cubicBezTo>
                      <a:pt x="13" y="1"/>
                      <a:pt x="13" y="1"/>
                      <a:pt x="13" y="2"/>
                    </a:cubicBezTo>
                    <a:cubicBezTo>
                      <a:pt x="13" y="2"/>
                      <a:pt x="13" y="3"/>
                      <a:pt x="13" y="3"/>
                    </a:cubicBezTo>
                    <a:cubicBezTo>
                      <a:pt x="12" y="4"/>
                      <a:pt x="11" y="4"/>
                      <a:pt x="11" y="4"/>
                    </a:cubicBezTo>
                    <a:cubicBezTo>
                      <a:pt x="11" y="4"/>
                      <a:pt x="10" y="4"/>
                      <a:pt x="10" y="4"/>
                    </a:cubicBezTo>
                    <a:cubicBezTo>
                      <a:pt x="10" y="4"/>
                      <a:pt x="10" y="5"/>
                      <a:pt x="10" y="5"/>
                    </a:cubicBezTo>
                    <a:cubicBezTo>
                      <a:pt x="10" y="6"/>
                      <a:pt x="10" y="7"/>
                      <a:pt x="9" y="8"/>
                    </a:cubicBezTo>
                    <a:cubicBezTo>
                      <a:pt x="8" y="9"/>
                      <a:pt x="7" y="10"/>
                      <a:pt x="6" y="11"/>
                    </a:cubicBezTo>
                    <a:cubicBezTo>
                      <a:pt x="5" y="12"/>
                      <a:pt x="5" y="12"/>
                      <a:pt x="5" y="12"/>
                    </a:cubicBezTo>
                    <a:cubicBezTo>
                      <a:pt x="5" y="12"/>
                      <a:pt x="5" y="12"/>
                      <a:pt x="4" y="12"/>
                    </a:cubicBezTo>
                    <a:cubicBezTo>
                      <a:pt x="4" y="13"/>
                      <a:pt x="3" y="13"/>
                      <a:pt x="2" y="14"/>
                    </a:cubicBezTo>
                    <a:cubicBezTo>
                      <a:pt x="2" y="15"/>
                      <a:pt x="1" y="16"/>
                      <a:pt x="1" y="16"/>
                    </a:cubicBezTo>
                    <a:cubicBezTo>
                      <a:pt x="0" y="16"/>
                      <a:pt x="0" y="16"/>
                      <a:pt x="0" y="16"/>
                    </a:cubicBezTo>
                    <a:cubicBezTo>
                      <a:pt x="2" y="17"/>
                      <a:pt x="3" y="18"/>
                      <a:pt x="4" y="19"/>
                    </a:cubicBezTo>
                    <a:cubicBezTo>
                      <a:pt x="6" y="20"/>
                      <a:pt x="7" y="23"/>
                      <a:pt x="9" y="23"/>
                    </a:cubicBezTo>
                    <a:cubicBezTo>
                      <a:pt x="13" y="24"/>
                      <a:pt x="16" y="28"/>
                      <a:pt x="19" y="31"/>
                    </a:cubicBezTo>
                    <a:cubicBezTo>
                      <a:pt x="21" y="33"/>
                      <a:pt x="25" y="36"/>
                      <a:pt x="28" y="37"/>
                    </a:cubicBezTo>
                    <a:cubicBezTo>
                      <a:pt x="31" y="38"/>
                      <a:pt x="33" y="39"/>
                      <a:pt x="35" y="40"/>
                    </a:cubicBezTo>
                    <a:cubicBezTo>
                      <a:pt x="37" y="41"/>
                      <a:pt x="38" y="41"/>
                      <a:pt x="39" y="42"/>
                    </a:cubicBezTo>
                    <a:cubicBezTo>
                      <a:pt x="39" y="42"/>
                      <a:pt x="39" y="42"/>
                      <a:pt x="39"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2" name="Freeform 3074">
                <a:extLst>
                  <a:ext uri="{FF2B5EF4-FFF2-40B4-BE49-F238E27FC236}">
                    <a16:creationId xmlns:a16="http://schemas.microsoft.com/office/drawing/2014/main" id="{3559B3D3-735A-4882-90AD-CB2F8E330CD7}"/>
                  </a:ext>
                </a:extLst>
              </p:cNvPr>
              <p:cNvSpPr>
                <a:spLocks/>
              </p:cNvSpPr>
              <p:nvPr/>
            </p:nvSpPr>
            <p:spPr bwMode="auto">
              <a:xfrm>
                <a:off x="3228" y="2537"/>
                <a:ext cx="66" cy="71"/>
              </a:xfrm>
              <a:custGeom>
                <a:avLst/>
                <a:gdLst>
                  <a:gd name="T0" fmla="*/ 18 w 28"/>
                  <a:gd name="T1" fmla="*/ 29 h 30"/>
                  <a:gd name="T2" fmla="*/ 19 w 28"/>
                  <a:gd name="T3" fmla="*/ 27 h 30"/>
                  <a:gd name="T4" fmla="*/ 22 w 28"/>
                  <a:gd name="T5" fmla="*/ 25 h 30"/>
                  <a:gd name="T6" fmla="*/ 23 w 28"/>
                  <a:gd name="T7" fmla="*/ 24 h 30"/>
                  <a:gd name="T8" fmla="*/ 23 w 28"/>
                  <a:gd name="T9" fmla="*/ 24 h 30"/>
                  <a:gd name="T10" fmla="*/ 26 w 28"/>
                  <a:gd name="T11" fmla="*/ 22 h 30"/>
                  <a:gd name="T12" fmla="*/ 26 w 28"/>
                  <a:gd name="T13" fmla="*/ 20 h 30"/>
                  <a:gd name="T14" fmla="*/ 27 w 28"/>
                  <a:gd name="T15" fmla="*/ 18 h 30"/>
                  <a:gd name="T16" fmla="*/ 28 w 28"/>
                  <a:gd name="T17" fmla="*/ 17 h 30"/>
                  <a:gd name="T18" fmla="*/ 28 w 28"/>
                  <a:gd name="T19" fmla="*/ 17 h 30"/>
                  <a:gd name="T20" fmla="*/ 28 w 28"/>
                  <a:gd name="T21" fmla="*/ 17 h 30"/>
                  <a:gd name="T22" fmla="*/ 24 w 28"/>
                  <a:gd name="T23" fmla="*/ 20 h 30"/>
                  <a:gd name="T24" fmla="*/ 27 w 28"/>
                  <a:gd name="T25" fmla="*/ 12 h 30"/>
                  <a:gd name="T26" fmla="*/ 27 w 28"/>
                  <a:gd name="T27" fmla="*/ 12 h 30"/>
                  <a:gd name="T28" fmla="*/ 27 w 28"/>
                  <a:gd name="T29" fmla="*/ 12 h 30"/>
                  <a:gd name="T30" fmla="*/ 27 w 28"/>
                  <a:gd name="T31" fmla="*/ 11 h 30"/>
                  <a:gd name="T32" fmla="*/ 27 w 28"/>
                  <a:gd name="T33" fmla="*/ 11 h 30"/>
                  <a:gd name="T34" fmla="*/ 27 w 28"/>
                  <a:gd name="T35" fmla="*/ 10 h 30"/>
                  <a:gd name="T36" fmla="*/ 27 w 28"/>
                  <a:gd name="T37" fmla="*/ 10 h 30"/>
                  <a:gd name="T38" fmla="*/ 27 w 28"/>
                  <a:gd name="T39" fmla="*/ 10 h 30"/>
                  <a:gd name="T40" fmla="*/ 27 w 28"/>
                  <a:gd name="T41" fmla="*/ 10 h 30"/>
                  <a:gd name="T42" fmla="*/ 26 w 28"/>
                  <a:gd name="T43" fmla="*/ 9 h 30"/>
                  <a:gd name="T44" fmla="*/ 25 w 28"/>
                  <a:gd name="T45" fmla="*/ 8 h 30"/>
                  <a:gd name="T46" fmla="*/ 23 w 28"/>
                  <a:gd name="T47" fmla="*/ 5 h 30"/>
                  <a:gd name="T48" fmla="*/ 23 w 28"/>
                  <a:gd name="T49" fmla="*/ 4 h 30"/>
                  <a:gd name="T50" fmla="*/ 22 w 28"/>
                  <a:gd name="T51" fmla="*/ 3 h 30"/>
                  <a:gd name="T52" fmla="*/ 22 w 28"/>
                  <a:gd name="T53" fmla="*/ 3 h 30"/>
                  <a:gd name="T54" fmla="*/ 21 w 28"/>
                  <a:gd name="T55" fmla="*/ 0 h 30"/>
                  <a:gd name="T56" fmla="*/ 20 w 28"/>
                  <a:gd name="T57" fmla="*/ 0 h 30"/>
                  <a:gd name="T58" fmla="*/ 20 w 28"/>
                  <a:gd name="T59" fmla="*/ 0 h 30"/>
                  <a:gd name="T60" fmla="*/ 20 w 28"/>
                  <a:gd name="T61" fmla="*/ 0 h 30"/>
                  <a:gd name="T62" fmla="*/ 16 w 28"/>
                  <a:gd name="T63" fmla="*/ 1 h 30"/>
                  <a:gd name="T64" fmla="*/ 12 w 28"/>
                  <a:gd name="T65" fmla="*/ 1 h 30"/>
                  <a:gd name="T66" fmla="*/ 11 w 28"/>
                  <a:gd name="T67" fmla="*/ 1 h 30"/>
                  <a:gd name="T68" fmla="*/ 11 w 28"/>
                  <a:gd name="T69" fmla="*/ 1 h 30"/>
                  <a:gd name="T70" fmla="*/ 10 w 28"/>
                  <a:gd name="T71" fmla="*/ 1 h 30"/>
                  <a:gd name="T72" fmla="*/ 9 w 28"/>
                  <a:gd name="T73" fmla="*/ 2 h 30"/>
                  <a:gd name="T74" fmla="*/ 4 w 28"/>
                  <a:gd name="T75" fmla="*/ 8 h 30"/>
                  <a:gd name="T76" fmla="*/ 4 w 28"/>
                  <a:gd name="T77" fmla="*/ 9 h 30"/>
                  <a:gd name="T78" fmla="*/ 4 w 28"/>
                  <a:gd name="T79" fmla="*/ 9 h 30"/>
                  <a:gd name="T80" fmla="*/ 3 w 28"/>
                  <a:gd name="T81" fmla="*/ 10 h 30"/>
                  <a:gd name="T82" fmla="*/ 3 w 28"/>
                  <a:gd name="T83" fmla="*/ 10 h 30"/>
                  <a:gd name="T84" fmla="*/ 2 w 28"/>
                  <a:gd name="T85" fmla="*/ 10 h 30"/>
                  <a:gd name="T86" fmla="*/ 3 w 28"/>
                  <a:gd name="T87" fmla="*/ 11 h 30"/>
                  <a:gd name="T88" fmla="*/ 2 w 28"/>
                  <a:gd name="T89" fmla="*/ 13 h 30"/>
                  <a:gd name="T90" fmla="*/ 4 w 28"/>
                  <a:gd name="T91" fmla="*/ 13 h 30"/>
                  <a:gd name="T92" fmla="*/ 4 w 28"/>
                  <a:gd name="T93" fmla="*/ 14 h 30"/>
                  <a:gd name="T94" fmla="*/ 3 w 28"/>
                  <a:gd name="T95" fmla="*/ 14 h 30"/>
                  <a:gd name="T96" fmla="*/ 3 w 28"/>
                  <a:gd name="T97" fmla="*/ 16 h 30"/>
                  <a:gd name="T98" fmla="*/ 0 w 28"/>
                  <a:gd name="T99" fmla="*/ 14 h 30"/>
                  <a:gd name="T100" fmla="*/ 1 w 28"/>
                  <a:gd name="T101" fmla="*/ 16 h 30"/>
                  <a:gd name="T102" fmla="*/ 1 w 28"/>
                  <a:gd name="T103" fmla="*/ 18 h 30"/>
                  <a:gd name="T104" fmla="*/ 3 w 28"/>
                  <a:gd name="T105" fmla="*/ 17 h 30"/>
                  <a:gd name="T106" fmla="*/ 6 w 28"/>
                  <a:gd name="T107" fmla="*/ 23 h 30"/>
                  <a:gd name="T108" fmla="*/ 9 w 28"/>
                  <a:gd name="T109" fmla="*/ 22 h 30"/>
                  <a:gd name="T110" fmla="*/ 11 w 28"/>
                  <a:gd name="T111" fmla="*/ 24 h 30"/>
                  <a:gd name="T112" fmla="*/ 9 w 28"/>
                  <a:gd name="T113" fmla="*/ 24 h 30"/>
                  <a:gd name="T114" fmla="*/ 10 w 28"/>
                  <a:gd name="T115" fmla="*/ 26 h 30"/>
                  <a:gd name="T116" fmla="*/ 8 w 28"/>
                  <a:gd name="T117" fmla="*/ 26 h 30"/>
                  <a:gd name="T118" fmla="*/ 9 w 28"/>
                  <a:gd name="T119" fmla="*/ 26 h 30"/>
                  <a:gd name="T120" fmla="*/ 14 w 28"/>
                  <a:gd name="T121" fmla="*/ 28 h 30"/>
                  <a:gd name="T122" fmla="*/ 17 w 28"/>
                  <a:gd name="T123" fmla="*/ 30 h 30"/>
                  <a:gd name="T124" fmla="*/ 18 w 28"/>
                  <a:gd name="T12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 h="30">
                    <a:moveTo>
                      <a:pt x="18" y="29"/>
                    </a:moveTo>
                    <a:cubicBezTo>
                      <a:pt x="18" y="29"/>
                      <a:pt x="19" y="29"/>
                      <a:pt x="19" y="27"/>
                    </a:cubicBezTo>
                    <a:cubicBezTo>
                      <a:pt x="20" y="26"/>
                      <a:pt x="21" y="26"/>
                      <a:pt x="22" y="25"/>
                    </a:cubicBezTo>
                    <a:cubicBezTo>
                      <a:pt x="22" y="25"/>
                      <a:pt x="23" y="25"/>
                      <a:pt x="23" y="24"/>
                    </a:cubicBezTo>
                    <a:cubicBezTo>
                      <a:pt x="23" y="24"/>
                      <a:pt x="23" y="24"/>
                      <a:pt x="23" y="24"/>
                    </a:cubicBezTo>
                    <a:cubicBezTo>
                      <a:pt x="24" y="23"/>
                      <a:pt x="25" y="23"/>
                      <a:pt x="26" y="22"/>
                    </a:cubicBezTo>
                    <a:cubicBezTo>
                      <a:pt x="26" y="21"/>
                      <a:pt x="26" y="21"/>
                      <a:pt x="26" y="20"/>
                    </a:cubicBezTo>
                    <a:cubicBezTo>
                      <a:pt x="27" y="19"/>
                      <a:pt x="27" y="18"/>
                      <a:pt x="27" y="18"/>
                    </a:cubicBezTo>
                    <a:cubicBezTo>
                      <a:pt x="28" y="17"/>
                      <a:pt x="28" y="17"/>
                      <a:pt x="28" y="17"/>
                    </a:cubicBezTo>
                    <a:cubicBezTo>
                      <a:pt x="28" y="17"/>
                      <a:pt x="28" y="17"/>
                      <a:pt x="28" y="17"/>
                    </a:cubicBezTo>
                    <a:cubicBezTo>
                      <a:pt x="28" y="17"/>
                      <a:pt x="28" y="17"/>
                      <a:pt x="28" y="17"/>
                    </a:cubicBezTo>
                    <a:cubicBezTo>
                      <a:pt x="24" y="20"/>
                      <a:pt x="24" y="20"/>
                      <a:pt x="24" y="20"/>
                    </a:cubicBezTo>
                    <a:cubicBezTo>
                      <a:pt x="27" y="12"/>
                      <a:pt x="27" y="12"/>
                      <a:pt x="27" y="12"/>
                    </a:cubicBezTo>
                    <a:cubicBezTo>
                      <a:pt x="27" y="12"/>
                      <a:pt x="27" y="12"/>
                      <a:pt x="27" y="12"/>
                    </a:cubicBezTo>
                    <a:cubicBezTo>
                      <a:pt x="27" y="12"/>
                      <a:pt x="27" y="12"/>
                      <a:pt x="27" y="12"/>
                    </a:cubicBezTo>
                    <a:cubicBezTo>
                      <a:pt x="27" y="12"/>
                      <a:pt x="27" y="11"/>
                      <a:pt x="27" y="11"/>
                    </a:cubicBezTo>
                    <a:cubicBezTo>
                      <a:pt x="27" y="11"/>
                      <a:pt x="27" y="11"/>
                      <a:pt x="27" y="11"/>
                    </a:cubicBezTo>
                    <a:cubicBezTo>
                      <a:pt x="27" y="11"/>
                      <a:pt x="27" y="11"/>
                      <a:pt x="27" y="10"/>
                    </a:cubicBezTo>
                    <a:cubicBezTo>
                      <a:pt x="27" y="10"/>
                      <a:pt x="27" y="10"/>
                      <a:pt x="27" y="10"/>
                    </a:cubicBezTo>
                    <a:cubicBezTo>
                      <a:pt x="27" y="10"/>
                      <a:pt x="27" y="10"/>
                      <a:pt x="27" y="10"/>
                    </a:cubicBezTo>
                    <a:cubicBezTo>
                      <a:pt x="27" y="10"/>
                      <a:pt x="27" y="10"/>
                      <a:pt x="27" y="10"/>
                    </a:cubicBezTo>
                    <a:cubicBezTo>
                      <a:pt x="26" y="10"/>
                      <a:pt x="26" y="10"/>
                      <a:pt x="26" y="9"/>
                    </a:cubicBezTo>
                    <a:cubicBezTo>
                      <a:pt x="25" y="9"/>
                      <a:pt x="25" y="9"/>
                      <a:pt x="25" y="8"/>
                    </a:cubicBezTo>
                    <a:cubicBezTo>
                      <a:pt x="24" y="7"/>
                      <a:pt x="23" y="6"/>
                      <a:pt x="23" y="5"/>
                    </a:cubicBezTo>
                    <a:cubicBezTo>
                      <a:pt x="23" y="4"/>
                      <a:pt x="23" y="4"/>
                      <a:pt x="23" y="4"/>
                    </a:cubicBezTo>
                    <a:cubicBezTo>
                      <a:pt x="23" y="4"/>
                      <a:pt x="23" y="4"/>
                      <a:pt x="22" y="3"/>
                    </a:cubicBezTo>
                    <a:cubicBezTo>
                      <a:pt x="22" y="3"/>
                      <a:pt x="22" y="3"/>
                      <a:pt x="22" y="3"/>
                    </a:cubicBezTo>
                    <a:cubicBezTo>
                      <a:pt x="22" y="2"/>
                      <a:pt x="21" y="1"/>
                      <a:pt x="21" y="0"/>
                    </a:cubicBezTo>
                    <a:cubicBezTo>
                      <a:pt x="21" y="0"/>
                      <a:pt x="21" y="0"/>
                      <a:pt x="20" y="0"/>
                    </a:cubicBezTo>
                    <a:cubicBezTo>
                      <a:pt x="20" y="0"/>
                      <a:pt x="20" y="0"/>
                      <a:pt x="20" y="0"/>
                    </a:cubicBezTo>
                    <a:cubicBezTo>
                      <a:pt x="20" y="0"/>
                      <a:pt x="20" y="0"/>
                      <a:pt x="20" y="0"/>
                    </a:cubicBezTo>
                    <a:cubicBezTo>
                      <a:pt x="19" y="0"/>
                      <a:pt x="18" y="0"/>
                      <a:pt x="16" y="1"/>
                    </a:cubicBezTo>
                    <a:cubicBezTo>
                      <a:pt x="15" y="1"/>
                      <a:pt x="14" y="1"/>
                      <a:pt x="12" y="1"/>
                    </a:cubicBezTo>
                    <a:cubicBezTo>
                      <a:pt x="12" y="1"/>
                      <a:pt x="12" y="1"/>
                      <a:pt x="11" y="1"/>
                    </a:cubicBezTo>
                    <a:cubicBezTo>
                      <a:pt x="11" y="1"/>
                      <a:pt x="11" y="1"/>
                      <a:pt x="11" y="1"/>
                    </a:cubicBezTo>
                    <a:cubicBezTo>
                      <a:pt x="11" y="1"/>
                      <a:pt x="11" y="1"/>
                      <a:pt x="10" y="1"/>
                    </a:cubicBezTo>
                    <a:cubicBezTo>
                      <a:pt x="9" y="1"/>
                      <a:pt x="9" y="1"/>
                      <a:pt x="9" y="2"/>
                    </a:cubicBezTo>
                    <a:cubicBezTo>
                      <a:pt x="8" y="4"/>
                      <a:pt x="7" y="6"/>
                      <a:pt x="4" y="8"/>
                    </a:cubicBezTo>
                    <a:cubicBezTo>
                      <a:pt x="4" y="9"/>
                      <a:pt x="4" y="9"/>
                      <a:pt x="4" y="9"/>
                    </a:cubicBezTo>
                    <a:cubicBezTo>
                      <a:pt x="4" y="9"/>
                      <a:pt x="4" y="9"/>
                      <a:pt x="4" y="9"/>
                    </a:cubicBezTo>
                    <a:cubicBezTo>
                      <a:pt x="3" y="9"/>
                      <a:pt x="3" y="9"/>
                      <a:pt x="3" y="10"/>
                    </a:cubicBezTo>
                    <a:cubicBezTo>
                      <a:pt x="3" y="10"/>
                      <a:pt x="3" y="10"/>
                      <a:pt x="3" y="10"/>
                    </a:cubicBezTo>
                    <a:cubicBezTo>
                      <a:pt x="2" y="10"/>
                      <a:pt x="2" y="10"/>
                      <a:pt x="2" y="10"/>
                    </a:cubicBezTo>
                    <a:cubicBezTo>
                      <a:pt x="2" y="10"/>
                      <a:pt x="3" y="10"/>
                      <a:pt x="3" y="11"/>
                    </a:cubicBezTo>
                    <a:cubicBezTo>
                      <a:pt x="1" y="11"/>
                      <a:pt x="1" y="13"/>
                      <a:pt x="2" y="13"/>
                    </a:cubicBezTo>
                    <a:cubicBezTo>
                      <a:pt x="3" y="14"/>
                      <a:pt x="4" y="13"/>
                      <a:pt x="4" y="13"/>
                    </a:cubicBezTo>
                    <a:cubicBezTo>
                      <a:pt x="4" y="13"/>
                      <a:pt x="4" y="13"/>
                      <a:pt x="4" y="14"/>
                    </a:cubicBezTo>
                    <a:cubicBezTo>
                      <a:pt x="4" y="14"/>
                      <a:pt x="3" y="14"/>
                      <a:pt x="3" y="14"/>
                    </a:cubicBezTo>
                    <a:cubicBezTo>
                      <a:pt x="3" y="14"/>
                      <a:pt x="3" y="15"/>
                      <a:pt x="3" y="16"/>
                    </a:cubicBezTo>
                    <a:cubicBezTo>
                      <a:pt x="2" y="15"/>
                      <a:pt x="1" y="15"/>
                      <a:pt x="0" y="14"/>
                    </a:cubicBezTo>
                    <a:cubicBezTo>
                      <a:pt x="0" y="15"/>
                      <a:pt x="0" y="15"/>
                      <a:pt x="1" y="16"/>
                    </a:cubicBezTo>
                    <a:cubicBezTo>
                      <a:pt x="1" y="16"/>
                      <a:pt x="1" y="17"/>
                      <a:pt x="1" y="18"/>
                    </a:cubicBezTo>
                    <a:cubicBezTo>
                      <a:pt x="2" y="17"/>
                      <a:pt x="3" y="17"/>
                      <a:pt x="3" y="17"/>
                    </a:cubicBezTo>
                    <a:cubicBezTo>
                      <a:pt x="4" y="19"/>
                      <a:pt x="4" y="22"/>
                      <a:pt x="6" y="23"/>
                    </a:cubicBezTo>
                    <a:cubicBezTo>
                      <a:pt x="7" y="23"/>
                      <a:pt x="8" y="23"/>
                      <a:pt x="9" y="22"/>
                    </a:cubicBezTo>
                    <a:cubicBezTo>
                      <a:pt x="9" y="25"/>
                      <a:pt x="9" y="24"/>
                      <a:pt x="11" y="24"/>
                    </a:cubicBezTo>
                    <a:cubicBezTo>
                      <a:pt x="11" y="24"/>
                      <a:pt x="10" y="24"/>
                      <a:pt x="9" y="24"/>
                    </a:cubicBezTo>
                    <a:cubicBezTo>
                      <a:pt x="9" y="25"/>
                      <a:pt x="9" y="25"/>
                      <a:pt x="10" y="26"/>
                    </a:cubicBezTo>
                    <a:cubicBezTo>
                      <a:pt x="9" y="26"/>
                      <a:pt x="9" y="26"/>
                      <a:pt x="8" y="26"/>
                    </a:cubicBezTo>
                    <a:cubicBezTo>
                      <a:pt x="9" y="26"/>
                      <a:pt x="9" y="26"/>
                      <a:pt x="9" y="26"/>
                    </a:cubicBezTo>
                    <a:cubicBezTo>
                      <a:pt x="11" y="27"/>
                      <a:pt x="13" y="27"/>
                      <a:pt x="14" y="28"/>
                    </a:cubicBezTo>
                    <a:cubicBezTo>
                      <a:pt x="15" y="29"/>
                      <a:pt x="16" y="29"/>
                      <a:pt x="17" y="30"/>
                    </a:cubicBezTo>
                    <a:lnTo>
                      <a:pt x="1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3" name="Freeform 3075">
                <a:extLst>
                  <a:ext uri="{FF2B5EF4-FFF2-40B4-BE49-F238E27FC236}">
                    <a16:creationId xmlns:a16="http://schemas.microsoft.com/office/drawing/2014/main" id="{00D6162F-8520-4654-9A0A-E0EBC4E713E5}"/>
                  </a:ext>
                </a:extLst>
              </p:cNvPr>
              <p:cNvSpPr>
                <a:spLocks/>
              </p:cNvSpPr>
              <p:nvPr/>
            </p:nvSpPr>
            <p:spPr bwMode="auto">
              <a:xfrm>
                <a:off x="3154" y="2471"/>
                <a:ext cx="62" cy="38"/>
              </a:xfrm>
              <a:custGeom>
                <a:avLst/>
                <a:gdLst>
                  <a:gd name="T0" fmla="*/ 13 w 26"/>
                  <a:gd name="T1" fmla="*/ 15 h 16"/>
                  <a:gd name="T2" fmla="*/ 13 w 26"/>
                  <a:gd name="T3" fmla="*/ 15 h 16"/>
                  <a:gd name="T4" fmla="*/ 16 w 26"/>
                  <a:gd name="T5" fmla="*/ 10 h 16"/>
                  <a:gd name="T6" fmla="*/ 19 w 26"/>
                  <a:gd name="T7" fmla="*/ 10 h 16"/>
                  <a:gd name="T8" fmla="*/ 19 w 26"/>
                  <a:gd name="T9" fmla="*/ 10 h 16"/>
                  <a:gd name="T10" fmla="*/ 20 w 26"/>
                  <a:gd name="T11" fmla="*/ 9 h 16"/>
                  <a:gd name="T12" fmla="*/ 21 w 26"/>
                  <a:gd name="T13" fmla="*/ 9 h 16"/>
                  <a:gd name="T14" fmla="*/ 24 w 26"/>
                  <a:gd name="T15" fmla="*/ 8 h 16"/>
                  <a:gd name="T16" fmla="*/ 25 w 26"/>
                  <a:gd name="T17" fmla="*/ 8 h 16"/>
                  <a:gd name="T18" fmla="*/ 25 w 26"/>
                  <a:gd name="T19" fmla="*/ 8 h 16"/>
                  <a:gd name="T20" fmla="*/ 25 w 26"/>
                  <a:gd name="T21" fmla="*/ 7 h 16"/>
                  <a:gd name="T22" fmla="*/ 24 w 26"/>
                  <a:gd name="T23" fmla="*/ 6 h 16"/>
                  <a:gd name="T24" fmla="*/ 21 w 26"/>
                  <a:gd name="T25" fmla="*/ 6 h 16"/>
                  <a:gd name="T26" fmla="*/ 24 w 26"/>
                  <a:gd name="T27" fmla="*/ 4 h 16"/>
                  <a:gd name="T28" fmla="*/ 26 w 26"/>
                  <a:gd name="T29" fmla="*/ 2 h 16"/>
                  <a:gd name="T30" fmla="*/ 26 w 26"/>
                  <a:gd name="T31" fmla="*/ 2 h 16"/>
                  <a:gd name="T32" fmla="*/ 26 w 26"/>
                  <a:gd name="T33" fmla="*/ 1 h 16"/>
                  <a:gd name="T34" fmla="*/ 26 w 26"/>
                  <a:gd name="T35" fmla="*/ 0 h 16"/>
                  <a:gd name="T36" fmla="*/ 25 w 26"/>
                  <a:gd name="T37" fmla="*/ 0 h 16"/>
                  <a:gd name="T38" fmla="*/ 23 w 26"/>
                  <a:gd name="T39" fmla="*/ 0 h 16"/>
                  <a:gd name="T40" fmla="*/ 22 w 26"/>
                  <a:gd name="T41" fmla="*/ 0 h 16"/>
                  <a:gd name="T42" fmla="*/ 20 w 26"/>
                  <a:gd name="T43" fmla="*/ 0 h 16"/>
                  <a:gd name="T44" fmla="*/ 16 w 26"/>
                  <a:gd name="T45" fmla="*/ 0 h 16"/>
                  <a:gd name="T46" fmla="*/ 15 w 26"/>
                  <a:gd name="T47" fmla="*/ 0 h 16"/>
                  <a:gd name="T48" fmla="*/ 2 w 26"/>
                  <a:gd name="T49" fmla="*/ 3 h 16"/>
                  <a:gd name="T50" fmla="*/ 0 w 26"/>
                  <a:gd name="T51" fmla="*/ 4 h 16"/>
                  <a:gd name="T52" fmla="*/ 1 w 26"/>
                  <a:gd name="T53" fmla="*/ 7 h 16"/>
                  <a:gd name="T54" fmla="*/ 3 w 26"/>
                  <a:gd name="T55" fmla="*/ 7 h 16"/>
                  <a:gd name="T56" fmla="*/ 6 w 26"/>
                  <a:gd name="T57" fmla="*/ 6 h 16"/>
                  <a:gd name="T58" fmla="*/ 4 w 26"/>
                  <a:gd name="T59" fmla="*/ 9 h 16"/>
                  <a:gd name="T60" fmla="*/ 6 w 26"/>
                  <a:gd name="T61" fmla="*/ 8 h 16"/>
                  <a:gd name="T62" fmla="*/ 9 w 26"/>
                  <a:gd name="T63" fmla="*/ 7 h 16"/>
                  <a:gd name="T64" fmla="*/ 13 w 26"/>
                  <a:gd name="T65" fmla="*/ 7 h 16"/>
                  <a:gd name="T66" fmla="*/ 14 w 26"/>
                  <a:gd name="T67" fmla="*/ 9 h 16"/>
                  <a:gd name="T68" fmla="*/ 10 w 26"/>
                  <a:gd name="T69" fmla="*/ 8 h 16"/>
                  <a:gd name="T70" fmla="*/ 9 w 26"/>
                  <a:gd name="T71" fmla="*/ 11 h 16"/>
                  <a:gd name="T72" fmla="*/ 14 w 26"/>
                  <a:gd name="T73" fmla="*/ 10 h 16"/>
                  <a:gd name="T74" fmla="*/ 13 w 26"/>
                  <a:gd name="T75" fmla="*/ 11 h 16"/>
                  <a:gd name="T76" fmla="*/ 13 w 26"/>
                  <a:gd name="T77" fmla="*/ 10 h 16"/>
                  <a:gd name="T78" fmla="*/ 12 w 26"/>
                  <a:gd name="T79" fmla="*/ 11 h 16"/>
                  <a:gd name="T80" fmla="*/ 11 w 26"/>
                  <a:gd name="T81" fmla="*/ 10 h 16"/>
                  <a:gd name="T82" fmla="*/ 9 w 26"/>
                  <a:gd name="T83" fmla="*/ 13 h 16"/>
                  <a:gd name="T84" fmla="*/ 10 w 26"/>
                  <a:gd name="T85" fmla="*/ 12 h 16"/>
                  <a:gd name="T86" fmla="*/ 10 w 26"/>
                  <a:gd name="T87" fmla="*/ 13 h 16"/>
                  <a:gd name="T88" fmla="*/ 11 w 26"/>
                  <a:gd name="T89" fmla="*/ 12 h 16"/>
                  <a:gd name="T90" fmla="*/ 10 w 26"/>
                  <a:gd name="T91" fmla="*/ 13 h 16"/>
                  <a:gd name="T92" fmla="*/ 9 w 26"/>
                  <a:gd name="T93" fmla="*/ 14 h 16"/>
                  <a:gd name="T94" fmla="*/ 12 w 26"/>
                  <a:gd name="T95" fmla="*/ 16 h 16"/>
                  <a:gd name="T96" fmla="*/ 13 w 26"/>
                  <a:gd name="T9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 h="16">
                    <a:moveTo>
                      <a:pt x="13" y="15"/>
                    </a:moveTo>
                    <a:cubicBezTo>
                      <a:pt x="13" y="15"/>
                      <a:pt x="13" y="15"/>
                      <a:pt x="13" y="15"/>
                    </a:cubicBezTo>
                    <a:cubicBezTo>
                      <a:pt x="14" y="13"/>
                      <a:pt x="15" y="11"/>
                      <a:pt x="16" y="10"/>
                    </a:cubicBezTo>
                    <a:cubicBezTo>
                      <a:pt x="17" y="10"/>
                      <a:pt x="17" y="10"/>
                      <a:pt x="19" y="10"/>
                    </a:cubicBezTo>
                    <a:cubicBezTo>
                      <a:pt x="19" y="10"/>
                      <a:pt x="19" y="10"/>
                      <a:pt x="19" y="10"/>
                    </a:cubicBezTo>
                    <a:cubicBezTo>
                      <a:pt x="19" y="10"/>
                      <a:pt x="20" y="9"/>
                      <a:pt x="20" y="9"/>
                    </a:cubicBezTo>
                    <a:cubicBezTo>
                      <a:pt x="21" y="9"/>
                      <a:pt x="21" y="9"/>
                      <a:pt x="21" y="9"/>
                    </a:cubicBezTo>
                    <a:cubicBezTo>
                      <a:pt x="22" y="9"/>
                      <a:pt x="23" y="9"/>
                      <a:pt x="24" y="8"/>
                    </a:cubicBezTo>
                    <a:cubicBezTo>
                      <a:pt x="24" y="8"/>
                      <a:pt x="25" y="8"/>
                      <a:pt x="25" y="8"/>
                    </a:cubicBezTo>
                    <a:cubicBezTo>
                      <a:pt x="25" y="8"/>
                      <a:pt x="25" y="8"/>
                      <a:pt x="25" y="8"/>
                    </a:cubicBezTo>
                    <a:cubicBezTo>
                      <a:pt x="25" y="7"/>
                      <a:pt x="25" y="7"/>
                      <a:pt x="25" y="7"/>
                    </a:cubicBezTo>
                    <a:cubicBezTo>
                      <a:pt x="24" y="6"/>
                      <a:pt x="24" y="6"/>
                      <a:pt x="24" y="6"/>
                    </a:cubicBezTo>
                    <a:cubicBezTo>
                      <a:pt x="21" y="6"/>
                      <a:pt x="21" y="6"/>
                      <a:pt x="21" y="6"/>
                    </a:cubicBezTo>
                    <a:cubicBezTo>
                      <a:pt x="24" y="4"/>
                      <a:pt x="24" y="4"/>
                      <a:pt x="24" y="4"/>
                    </a:cubicBezTo>
                    <a:cubicBezTo>
                      <a:pt x="24" y="3"/>
                      <a:pt x="25" y="3"/>
                      <a:pt x="26" y="2"/>
                    </a:cubicBezTo>
                    <a:cubicBezTo>
                      <a:pt x="26" y="2"/>
                      <a:pt x="26" y="2"/>
                      <a:pt x="26" y="2"/>
                    </a:cubicBezTo>
                    <a:cubicBezTo>
                      <a:pt x="26" y="2"/>
                      <a:pt x="26" y="2"/>
                      <a:pt x="26" y="1"/>
                    </a:cubicBezTo>
                    <a:cubicBezTo>
                      <a:pt x="26" y="0"/>
                      <a:pt x="26" y="0"/>
                      <a:pt x="26" y="0"/>
                    </a:cubicBezTo>
                    <a:cubicBezTo>
                      <a:pt x="25" y="0"/>
                      <a:pt x="25" y="0"/>
                      <a:pt x="25" y="0"/>
                    </a:cubicBezTo>
                    <a:cubicBezTo>
                      <a:pt x="24" y="0"/>
                      <a:pt x="23" y="0"/>
                      <a:pt x="23" y="0"/>
                    </a:cubicBezTo>
                    <a:cubicBezTo>
                      <a:pt x="22" y="0"/>
                      <a:pt x="22" y="0"/>
                      <a:pt x="22" y="0"/>
                    </a:cubicBezTo>
                    <a:cubicBezTo>
                      <a:pt x="22" y="0"/>
                      <a:pt x="21" y="0"/>
                      <a:pt x="20" y="0"/>
                    </a:cubicBezTo>
                    <a:cubicBezTo>
                      <a:pt x="19" y="0"/>
                      <a:pt x="17" y="0"/>
                      <a:pt x="16" y="0"/>
                    </a:cubicBezTo>
                    <a:cubicBezTo>
                      <a:pt x="15" y="0"/>
                      <a:pt x="15" y="0"/>
                      <a:pt x="15" y="0"/>
                    </a:cubicBezTo>
                    <a:cubicBezTo>
                      <a:pt x="11" y="1"/>
                      <a:pt x="7" y="2"/>
                      <a:pt x="2" y="3"/>
                    </a:cubicBezTo>
                    <a:cubicBezTo>
                      <a:pt x="1" y="4"/>
                      <a:pt x="0" y="4"/>
                      <a:pt x="0" y="4"/>
                    </a:cubicBezTo>
                    <a:cubicBezTo>
                      <a:pt x="0" y="5"/>
                      <a:pt x="1" y="6"/>
                      <a:pt x="1" y="7"/>
                    </a:cubicBezTo>
                    <a:cubicBezTo>
                      <a:pt x="2" y="7"/>
                      <a:pt x="2" y="7"/>
                      <a:pt x="3" y="7"/>
                    </a:cubicBezTo>
                    <a:cubicBezTo>
                      <a:pt x="4" y="7"/>
                      <a:pt x="5" y="6"/>
                      <a:pt x="6" y="6"/>
                    </a:cubicBezTo>
                    <a:cubicBezTo>
                      <a:pt x="5" y="7"/>
                      <a:pt x="4" y="7"/>
                      <a:pt x="4" y="9"/>
                    </a:cubicBezTo>
                    <a:cubicBezTo>
                      <a:pt x="4" y="9"/>
                      <a:pt x="6" y="9"/>
                      <a:pt x="6" y="8"/>
                    </a:cubicBezTo>
                    <a:cubicBezTo>
                      <a:pt x="7" y="8"/>
                      <a:pt x="8" y="7"/>
                      <a:pt x="9" y="7"/>
                    </a:cubicBezTo>
                    <a:cubicBezTo>
                      <a:pt x="10" y="7"/>
                      <a:pt x="12" y="7"/>
                      <a:pt x="13" y="7"/>
                    </a:cubicBezTo>
                    <a:cubicBezTo>
                      <a:pt x="14" y="7"/>
                      <a:pt x="14" y="8"/>
                      <a:pt x="14" y="9"/>
                    </a:cubicBezTo>
                    <a:cubicBezTo>
                      <a:pt x="13" y="7"/>
                      <a:pt x="12" y="6"/>
                      <a:pt x="10" y="8"/>
                    </a:cubicBezTo>
                    <a:cubicBezTo>
                      <a:pt x="8" y="9"/>
                      <a:pt x="9" y="9"/>
                      <a:pt x="9" y="11"/>
                    </a:cubicBezTo>
                    <a:cubicBezTo>
                      <a:pt x="10" y="9"/>
                      <a:pt x="12" y="10"/>
                      <a:pt x="14" y="10"/>
                    </a:cubicBezTo>
                    <a:cubicBezTo>
                      <a:pt x="13" y="11"/>
                      <a:pt x="13" y="11"/>
                      <a:pt x="13" y="11"/>
                    </a:cubicBezTo>
                    <a:cubicBezTo>
                      <a:pt x="13" y="11"/>
                      <a:pt x="13" y="10"/>
                      <a:pt x="13" y="10"/>
                    </a:cubicBezTo>
                    <a:cubicBezTo>
                      <a:pt x="12" y="10"/>
                      <a:pt x="12" y="10"/>
                      <a:pt x="12" y="11"/>
                    </a:cubicBezTo>
                    <a:cubicBezTo>
                      <a:pt x="11" y="11"/>
                      <a:pt x="11" y="11"/>
                      <a:pt x="11" y="10"/>
                    </a:cubicBezTo>
                    <a:cubicBezTo>
                      <a:pt x="10" y="11"/>
                      <a:pt x="9" y="12"/>
                      <a:pt x="9" y="13"/>
                    </a:cubicBezTo>
                    <a:cubicBezTo>
                      <a:pt x="9" y="13"/>
                      <a:pt x="9" y="13"/>
                      <a:pt x="10" y="12"/>
                    </a:cubicBezTo>
                    <a:cubicBezTo>
                      <a:pt x="10" y="12"/>
                      <a:pt x="10" y="13"/>
                      <a:pt x="10" y="13"/>
                    </a:cubicBezTo>
                    <a:cubicBezTo>
                      <a:pt x="11" y="12"/>
                      <a:pt x="11" y="12"/>
                      <a:pt x="11" y="12"/>
                    </a:cubicBezTo>
                    <a:cubicBezTo>
                      <a:pt x="11" y="12"/>
                      <a:pt x="11" y="12"/>
                      <a:pt x="10" y="13"/>
                    </a:cubicBezTo>
                    <a:cubicBezTo>
                      <a:pt x="10" y="13"/>
                      <a:pt x="9" y="13"/>
                      <a:pt x="9" y="14"/>
                    </a:cubicBezTo>
                    <a:cubicBezTo>
                      <a:pt x="11" y="14"/>
                      <a:pt x="12" y="14"/>
                      <a:pt x="12" y="16"/>
                    </a:cubicBezTo>
                    <a:cubicBezTo>
                      <a:pt x="12" y="16"/>
                      <a:pt x="13" y="15"/>
                      <a:pt x="1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4" name="Freeform 3076">
                <a:extLst>
                  <a:ext uri="{FF2B5EF4-FFF2-40B4-BE49-F238E27FC236}">
                    <a16:creationId xmlns:a16="http://schemas.microsoft.com/office/drawing/2014/main" id="{C2F5C31C-3632-40C9-AAEE-A983070ED830}"/>
                  </a:ext>
                </a:extLst>
              </p:cNvPr>
              <p:cNvSpPr>
                <a:spLocks/>
              </p:cNvSpPr>
              <p:nvPr/>
            </p:nvSpPr>
            <p:spPr bwMode="auto">
              <a:xfrm>
                <a:off x="3150" y="2478"/>
                <a:ext cx="9" cy="3"/>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1" y="1"/>
                      <a:pt x="2" y="1"/>
                      <a:pt x="4" y="0"/>
                    </a:cubicBezTo>
                    <a:cubicBezTo>
                      <a:pt x="3"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5" name="Freeform 3077">
                <a:extLst>
                  <a:ext uri="{FF2B5EF4-FFF2-40B4-BE49-F238E27FC236}">
                    <a16:creationId xmlns:a16="http://schemas.microsoft.com/office/drawing/2014/main" id="{6EDA9CF2-918B-4712-8F2D-99628887FA1C}"/>
                  </a:ext>
                </a:extLst>
              </p:cNvPr>
              <p:cNvSpPr>
                <a:spLocks/>
              </p:cNvSpPr>
              <p:nvPr/>
            </p:nvSpPr>
            <p:spPr bwMode="auto">
              <a:xfrm>
                <a:off x="4254" y="2838"/>
                <a:ext cx="40" cy="45"/>
              </a:xfrm>
              <a:custGeom>
                <a:avLst/>
                <a:gdLst>
                  <a:gd name="T0" fmla="*/ 16 w 17"/>
                  <a:gd name="T1" fmla="*/ 8 h 19"/>
                  <a:gd name="T2" fmla="*/ 17 w 17"/>
                  <a:gd name="T3" fmla="*/ 7 h 19"/>
                  <a:gd name="T4" fmla="*/ 17 w 17"/>
                  <a:gd name="T5" fmla="*/ 5 h 19"/>
                  <a:gd name="T6" fmla="*/ 16 w 17"/>
                  <a:gd name="T7" fmla="*/ 4 h 19"/>
                  <a:gd name="T8" fmla="*/ 15 w 17"/>
                  <a:gd name="T9" fmla="*/ 4 h 19"/>
                  <a:gd name="T10" fmla="*/ 15 w 17"/>
                  <a:gd name="T11" fmla="*/ 2 h 19"/>
                  <a:gd name="T12" fmla="*/ 15 w 17"/>
                  <a:gd name="T13" fmla="*/ 2 h 19"/>
                  <a:gd name="T14" fmla="*/ 14 w 17"/>
                  <a:gd name="T15" fmla="*/ 0 h 19"/>
                  <a:gd name="T16" fmla="*/ 14 w 17"/>
                  <a:gd name="T17" fmla="*/ 0 h 19"/>
                  <a:gd name="T18" fmla="*/ 14 w 17"/>
                  <a:gd name="T19" fmla="*/ 0 h 19"/>
                  <a:gd name="T20" fmla="*/ 14 w 17"/>
                  <a:gd name="T21" fmla="*/ 0 h 19"/>
                  <a:gd name="T22" fmla="*/ 13 w 17"/>
                  <a:gd name="T23" fmla="*/ 0 h 19"/>
                  <a:gd name="T24" fmla="*/ 12 w 17"/>
                  <a:gd name="T25" fmla="*/ 0 h 19"/>
                  <a:gd name="T26" fmla="*/ 9 w 17"/>
                  <a:gd name="T27" fmla="*/ 0 h 19"/>
                  <a:gd name="T28" fmla="*/ 7 w 17"/>
                  <a:gd name="T29" fmla="*/ 3 h 19"/>
                  <a:gd name="T30" fmla="*/ 7 w 17"/>
                  <a:gd name="T31" fmla="*/ 3 h 19"/>
                  <a:gd name="T32" fmla="*/ 5 w 17"/>
                  <a:gd name="T33" fmla="*/ 4 h 19"/>
                  <a:gd name="T34" fmla="*/ 5 w 17"/>
                  <a:gd name="T35" fmla="*/ 4 h 19"/>
                  <a:gd name="T36" fmla="*/ 5 w 17"/>
                  <a:gd name="T37" fmla="*/ 4 h 19"/>
                  <a:gd name="T38" fmla="*/ 5 w 17"/>
                  <a:gd name="T39" fmla="*/ 4 h 19"/>
                  <a:gd name="T40" fmla="*/ 5 w 17"/>
                  <a:gd name="T41" fmla="*/ 4 h 19"/>
                  <a:gd name="T42" fmla="*/ 5 w 17"/>
                  <a:gd name="T43" fmla="*/ 4 h 19"/>
                  <a:gd name="T44" fmla="*/ 5 w 17"/>
                  <a:gd name="T45" fmla="*/ 4 h 19"/>
                  <a:gd name="T46" fmla="*/ 4 w 17"/>
                  <a:gd name="T47" fmla="*/ 4 h 19"/>
                  <a:gd name="T48" fmla="*/ 1 w 17"/>
                  <a:gd name="T49" fmla="*/ 3 h 19"/>
                  <a:gd name="T50" fmla="*/ 0 w 17"/>
                  <a:gd name="T51" fmla="*/ 2 h 19"/>
                  <a:gd name="T52" fmla="*/ 0 w 17"/>
                  <a:gd name="T53" fmla="*/ 2 h 19"/>
                  <a:gd name="T54" fmla="*/ 0 w 17"/>
                  <a:gd name="T55" fmla="*/ 2 h 19"/>
                  <a:gd name="T56" fmla="*/ 0 w 17"/>
                  <a:gd name="T57" fmla="*/ 2 h 19"/>
                  <a:gd name="T58" fmla="*/ 0 w 17"/>
                  <a:gd name="T59" fmla="*/ 3 h 19"/>
                  <a:gd name="T60" fmla="*/ 0 w 17"/>
                  <a:gd name="T61" fmla="*/ 3 h 19"/>
                  <a:gd name="T62" fmla="*/ 1 w 17"/>
                  <a:gd name="T63" fmla="*/ 3 h 19"/>
                  <a:gd name="T64" fmla="*/ 1 w 17"/>
                  <a:gd name="T65" fmla="*/ 4 h 19"/>
                  <a:gd name="T66" fmla="*/ 2 w 17"/>
                  <a:gd name="T67" fmla="*/ 7 h 19"/>
                  <a:gd name="T68" fmla="*/ 2 w 17"/>
                  <a:gd name="T69" fmla="*/ 7 h 19"/>
                  <a:gd name="T70" fmla="*/ 2 w 17"/>
                  <a:gd name="T71" fmla="*/ 8 h 19"/>
                  <a:gd name="T72" fmla="*/ 2 w 17"/>
                  <a:gd name="T73" fmla="*/ 9 h 19"/>
                  <a:gd name="T74" fmla="*/ 2 w 17"/>
                  <a:gd name="T75" fmla="*/ 9 h 19"/>
                  <a:gd name="T76" fmla="*/ 1 w 17"/>
                  <a:gd name="T77" fmla="*/ 10 h 19"/>
                  <a:gd name="T78" fmla="*/ 2 w 17"/>
                  <a:gd name="T79" fmla="*/ 10 h 19"/>
                  <a:gd name="T80" fmla="*/ 1 w 17"/>
                  <a:gd name="T81" fmla="*/ 10 h 19"/>
                  <a:gd name="T82" fmla="*/ 1 w 17"/>
                  <a:gd name="T83" fmla="*/ 10 h 19"/>
                  <a:gd name="T84" fmla="*/ 1 w 17"/>
                  <a:gd name="T85" fmla="*/ 11 h 19"/>
                  <a:gd name="T86" fmla="*/ 1 w 17"/>
                  <a:gd name="T87" fmla="*/ 11 h 19"/>
                  <a:gd name="T88" fmla="*/ 2 w 17"/>
                  <a:gd name="T89" fmla="*/ 13 h 19"/>
                  <a:gd name="T90" fmla="*/ 4 w 17"/>
                  <a:gd name="T91" fmla="*/ 19 h 19"/>
                  <a:gd name="T92" fmla="*/ 4 w 17"/>
                  <a:gd name="T93" fmla="*/ 19 h 19"/>
                  <a:gd name="T94" fmla="*/ 6 w 17"/>
                  <a:gd name="T95" fmla="*/ 19 h 19"/>
                  <a:gd name="T96" fmla="*/ 6 w 17"/>
                  <a:gd name="T97" fmla="*/ 19 h 19"/>
                  <a:gd name="T98" fmla="*/ 9 w 17"/>
                  <a:gd name="T99" fmla="*/ 18 h 19"/>
                  <a:gd name="T100" fmla="*/ 11 w 17"/>
                  <a:gd name="T101" fmla="*/ 18 h 19"/>
                  <a:gd name="T102" fmla="*/ 13 w 17"/>
                  <a:gd name="T103" fmla="*/ 16 h 19"/>
                  <a:gd name="T104" fmla="*/ 13 w 17"/>
                  <a:gd name="T105" fmla="*/ 15 h 19"/>
                  <a:gd name="T106" fmla="*/ 14 w 17"/>
                  <a:gd name="T107" fmla="*/ 13 h 19"/>
                  <a:gd name="T108" fmla="*/ 15 w 17"/>
                  <a:gd name="T109" fmla="*/ 10 h 19"/>
                  <a:gd name="T110" fmla="*/ 16 w 17"/>
                  <a:gd name="T111" fmla="*/ 9 h 19"/>
                  <a:gd name="T112" fmla="*/ 16 w 17"/>
                  <a:gd name="T113" fmla="*/ 9 h 19"/>
                  <a:gd name="T114" fmla="*/ 16 w 17"/>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 h="19">
                    <a:moveTo>
                      <a:pt x="16" y="8"/>
                    </a:moveTo>
                    <a:cubicBezTo>
                      <a:pt x="16" y="8"/>
                      <a:pt x="17" y="7"/>
                      <a:pt x="17" y="7"/>
                    </a:cubicBezTo>
                    <a:cubicBezTo>
                      <a:pt x="17" y="7"/>
                      <a:pt x="17" y="5"/>
                      <a:pt x="17" y="5"/>
                    </a:cubicBezTo>
                    <a:cubicBezTo>
                      <a:pt x="16" y="4"/>
                      <a:pt x="16" y="4"/>
                      <a:pt x="16" y="4"/>
                    </a:cubicBezTo>
                    <a:cubicBezTo>
                      <a:pt x="15" y="4"/>
                      <a:pt x="15" y="4"/>
                      <a:pt x="15" y="4"/>
                    </a:cubicBezTo>
                    <a:cubicBezTo>
                      <a:pt x="15" y="2"/>
                      <a:pt x="15" y="2"/>
                      <a:pt x="15" y="2"/>
                    </a:cubicBezTo>
                    <a:cubicBezTo>
                      <a:pt x="15" y="2"/>
                      <a:pt x="15" y="2"/>
                      <a:pt x="15" y="2"/>
                    </a:cubicBezTo>
                    <a:cubicBezTo>
                      <a:pt x="15" y="2"/>
                      <a:pt x="14" y="1"/>
                      <a:pt x="14" y="0"/>
                    </a:cubicBezTo>
                    <a:cubicBezTo>
                      <a:pt x="14" y="0"/>
                      <a:pt x="14" y="0"/>
                      <a:pt x="14" y="0"/>
                    </a:cubicBezTo>
                    <a:cubicBezTo>
                      <a:pt x="14" y="0"/>
                      <a:pt x="14" y="0"/>
                      <a:pt x="14" y="0"/>
                    </a:cubicBezTo>
                    <a:cubicBezTo>
                      <a:pt x="14" y="0"/>
                      <a:pt x="14" y="0"/>
                      <a:pt x="14" y="0"/>
                    </a:cubicBezTo>
                    <a:cubicBezTo>
                      <a:pt x="13" y="0"/>
                      <a:pt x="13" y="0"/>
                      <a:pt x="13" y="0"/>
                    </a:cubicBezTo>
                    <a:cubicBezTo>
                      <a:pt x="13" y="0"/>
                      <a:pt x="12" y="0"/>
                      <a:pt x="12" y="0"/>
                    </a:cubicBezTo>
                    <a:cubicBezTo>
                      <a:pt x="11" y="0"/>
                      <a:pt x="10" y="0"/>
                      <a:pt x="9" y="0"/>
                    </a:cubicBezTo>
                    <a:cubicBezTo>
                      <a:pt x="9" y="1"/>
                      <a:pt x="9" y="2"/>
                      <a:pt x="7" y="3"/>
                    </a:cubicBezTo>
                    <a:cubicBezTo>
                      <a:pt x="7" y="3"/>
                      <a:pt x="7" y="3"/>
                      <a:pt x="7" y="3"/>
                    </a:cubicBezTo>
                    <a:cubicBezTo>
                      <a:pt x="7" y="3"/>
                      <a:pt x="6"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4" y="4"/>
                      <a:pt x="4" y="4"/>
                    </a:cubicBezTo>
                    <a:cubicBezTo>
                      <a:pt x="2" y="4"/>
                      <a:pt x="2" y="4"/>
                      <a:pt x="1" y="3"/>
                    </a:cubicBezTo>
                    <a:cubicBezTo>
                      <a:pt x="1" y="3"/>
                      <a:pt x="0" y="3"/>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1" y="3"/>
                    </a:cubicBezTo>
                    <a:cubicBezTo>
                      <a:pt x="1" y="4"/>
                      <a:pt x="1" y="4"/>
                      <a:pt x="1" y="4"/>
                    </a:cubicBezTo>
                    <a:cubicBezTo>
                      <a:pt x="1" y="5"/>
                      <a:pt x="2" y="6"/>
                      <a:pt x="2" y="7"/>
                    </a:cubicBezTo>
                    <a:cubicBezTo>
                      <a:pt x="2" y="7"/>
                      <a:pt x="2" y="7"/>
                      <a:pt x="2" y="7"/>
                    </a:cubicBezTo>
                    <a:cubicBezTo>
                      <a:pt x="2" y="8"/>
                      <a:pt x="2" y="8"/>
                      <a:pt x="2" y="8"/>
                    </a:cubicBezTo>
                    <a:cubicBezTo>
                      <a:pt x="2" y="9"/>
                      <a:pt x="2" y="9"/>
                      <a:pt x="2" y="9"/>
                    </a:cubicBezTo>
                    <a:cubicBezTo>
                      <a:pt x="2" y="9"/>
                      <a:pt x="2" y="9"/>
                      <a:pt x="2" y="9"/>
                    </a:cubicBezTo>
                    <a:cubicBezTo>
                      <a:pt x="1" y="10"/>
                      <a:pt x="1" y="10"/>
                      <a:pt x="1" y="10"/>
                    </a:cubicBezTo>
                    <a:cubicBezTo>
                      <a:pt x="2" y="10"/>
                      <a:pt x="2" y="10"/>
                      <a:pt x="2" y="10"/>
                    </a:cubicBezTo>
                    <a:cubicBezTo>
                      <a:pt x="1" y="10"/>
                      <a:pt x="1" y="10"/>
                      <a:pt x="1" y="10"/>
                    </a:cubicBezTo>
                    <a:cubicBezTo>
                      <a:pt x="1" y="10"/>
                      <a:pt x="1" y="10"/>
                      <a:pt x="1" y="10"/>
                    </a:cubicBezTo>
                    <a:cubicBezTo>
                      <a:pt x="1" y="11"/>
                      <a:pt x="1" y="11"/>
                      <a:pt x="1" y="11"/>
                    </a:cubicBezTo>
                    <a:cubicBezTo>
                      <a:pt x="1" y="11"/>
                      <a:pt x="1" y="11"/>
                      <a:pt x="1" y="11"/>
                    </a:cubicBezTo>
                    <a:cubicBezTo>
                      <a:pt x="1" y="12"/>
                      <a:pt x="2" y="13"/>
                      <a:pt x="2" y="13"/>
                    </a:cubicBezTo>
                    <a:cubicBezTo>
                      <a:pt x="2" y="15"/>
                      <a:pt x="3" y="17"/>
                      <a:pt x="4" y="19"/>
                    </a:cubicBezTo>
                    <a:cubicBezTo>
                      <a:pt x="4" y="19"/>
                      <a:pt x="4" y="19"/>
                      <a:pt x="4" y="19"/>
                    </a:cubicBezTo>
                    <a:cubicBezTo>
                      <a:pt x="6" y="19"/>
                      <a:pt x="6" y="19"/>
                      <a:pt x="6" y="19"/>
                    </a:cubicBezTo>
                    <a:cubicBezTo>
                      <a:pt x="6" y="19"/>
                      <a:pt x="6" y="19"/>
                      <a:pt x="6" y="19"/>
                    </a:cubicBezTo>
                    <a:cubicBezTo>
                      <a:pt x="6" y="19"/>
                      <a:pt x="6" y="19"/>
                      <a:pt x="9" y="18"/>
                    </a:cubicBezTo>
                    <a:cubicBezTo>
                      <a:pt x="10" y="18"/>
                      <a:pt x="11" y="18"/>
                      <a:pt x="11" y="18"/>
                    </a:cubicBezTo>
                    <a:cubicBezTo>
                      <a:pt x="12" y="17"/>
                      <a:pt x="12" y="17"/>
                      <a:pt x="13" y="16"/>
                    </a:cubicBezTo>
                    <a:cubicBezTo>
                      <a:pt x="13" y="15"/>
                      <a:pt x="13" y="15"/>
                      <a:pt x="13" y="15"/>
                    </a:cubicBezTo>
                    <a:cubicBezTo>
                      <a:pt x="14" y="14"/>
                      <a:pt x="14" y="14"/>
                      <a:pt x="14" y="13"/>
                    </a:cubicBezTo>
                    <a:cubicBezTo>
                      <a:pt x="14" y="12"/>
                      <a:pt x="14" y="11"/>
                      <a:pt x="15" y="10"/>
                    </a:cubicBezTo>
                    <a:cubicBezTo>
                      <a:pt x="15" y="10"/>
                      <a:pt x="15" y="9"/>
                      <a:pt x="16" y="9"/>
                    </a:cubicBezTo>
                    <a:cubicBezTo>
                      <a:pt x="16" y="9"/>
                      <a:pt x="16" y="9"/>
                      <a:pt x="16" y="9"/>
                    </a:cubicBezTo>
                    <a:cubicBezTo>
                      <a:pt x="16" y="8"/>
                      <a:pt x="16"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6" name="Freeform 3078">
                <a:extLst>
                  <a:ext uri="{FF2B5EF4-FFF2-40B4-BE49-F238E27FC236}">
                    <a16:creationId xmlns:a16="http://schemas.microsoft.com/office/drawing/2014/main" id="{3F5C295F-0CDC-4AE5-97C5-0F1DB5243E7F}"/>
                  </a:ext>
                </a:extLst>
              </p:cNvPr>
              <p:cNvSpPr>
                <a:spLocks/>
              </p:cNvSpPr>
              <p:nvPr/>
            </p:nvSpPr>
            <p:spPr bwMode="auto">
              <a:xfrm>
                <a:off x="4251" y="2807"/>
                <a:ext cx="41" cy="36"/>
              </a:xfrm>
              <a:custGeom>
                <a:avLst/>
                <a:gdLst>
                  <a:gd name="T0" fmla="*/ 16 w 17"/>
                  <a:gd name="T1" fmla="*/ 5 h 15"/>
                  <a:gd name="T2" fmla="*/ 16 w 17"/>
                  <a:gd name="T3" fmla="*/ 3 h 15"/>
                  <a:gd name="T4" fmla="*/ 14 w 17"/>
                  <a:gd name="T5" fmla="*/ 0 h 15"/>
                  <a:gd name="T6" fmla="*/ 13 w 17"/>
                  <a:gd name="T7" fmla="*/ 1 h 15"/>
                  <a:gd name="T8" fmla="*/ 12 w 17"/>
                  <a:gd name="T9" fmla="*/ 1 h 15"/>
                  <a:gd name="T10" fmla="*/ 11 w 17"/>
                  <a:gd name="T11" fmla="*/ 3 h 15"/>
                  <a:gd name="T12" fmla="*/ 9 w 17"/>
                  <a:gd name="T13" fmla="*/ 3 h 15"/>
                  <a:gd name="T14" fmla="*/ 8 w 17"/>
                  <a:gd name="T15" fmla="*/ 3 h 15"/>
                  <a:gd name="T16" fmla="*/ 7 w 17"/>
                  <a:gd name="T17" fmla="*/ 2 h 15"/>
                  <a:gd name="T18" fmla="*/ 7 w 17"/>
                  <a:gd name="T19" fmla="*/ 2 h 15"/>
                  <a:gd name="T20" fmla="*/ 6 w 17"/>
                  <a:gd name="T21" fmla="*/ 2 h 15"/>
                  <a:gd name="T22" fmla="*/ 5 w 17"/>
                  <a:gd name="T23" fmla="*/ 3 h 15"/>
                  <a:gd name="T24" fmla="*/ 5 w 17"/>
                  <a:gd name="T25" fmla="*/ 4 h 15"/>
                  <a:gd name="T26" fmla="*/ 4 w 17"/>
                  <a:gd name="T27" fmla="*/ 4 h 15"/>
                  <a:gd name="T28" fmla="*/ 3 w 17"/>
                  <a:gd name="T29" fmla="*/ 5 h 15"/>
                  <a:gd name="T30" fmla="*/ 3 w 17"/>
                  <a:gd name="T31" fmla="*/ 5 h 15"/>
                  <a:gd name="T32" fmla="*/ 3 w 17"/>
                  <a:gd name="T33" fmla="*/ 5 h 15"/>
                  <a:gd name="T34" fmla="*/ 2 w 17"/>
                  <a:gd name="T35" fmla="*/ 6 h 15"/>
                  <a:gd name="T36" fmla="*/ 2 w 17"/>
                  <a:gd name="T37" fmla="*/ 8 h 15"/>
                  <a:gd name="T38" fmla="*/ 2 w 17"/>
                  <a:gd name="T39" fmla="*/ 10 h 15"/>
                  <a:gd name="T40" fmla="*/ 1 w 17"/>
                  <a:gd name="T41" fmla="*/ 12 h 15"/>
                  <a:gd name="T42" fmla="*/ 0 w 17"/>
                  <a:gd name="T43" fmla="*/ 13 h 15"/>
                  <a:gd name="T44" fmla="*/ 0 w 17"/>
                  <a:gd name="T45" fmla="*/ 13 h 15"/>
                  <a:gd name="T46" fmla="*/ 0 w 17"/>
                  <a:gd name="T47" fmla="*/ 13 h 15"/>
                  <a:gd name="T48" fmla="*/ 0 w 17"/>
                  <a:gd name="T49" fmla="*/ 13 h 15"/>
                  <a:gd name="T50" fmla="*/ 2 w 17"/>
                  <a:gd name="T51" fmla="*/ 13 h 15"/>
                  <a:gd name="T52" fmla="*/ 3 w 17"/>
                  <a:gd name="T53" fmla="*/ 11 h 15"/>
                  <a:gd name="T54" fmla="*/ 2 w 17"/>
                  <a:gd name="T55" fmla="*/ 13 h 15"/>
                  <a:gd name="T56" fmla="*/ 2 w 17"/>
                  <a:gd name="T57" fmla="*/ 13 h 15"/>
                  <a:gd name="T58" fmla="*/ 4 w 17"/>
                  <a:gd name="T59" fmla="*/ 14 h 15"/>
                  <a:gd name="T60" fmla="*/ 4 w 17"/>
                  <a:gd name="T61" fmla="*/ 15 h 15"/>
                  <a:gd name="T62" fmla="*/ 4 w 17"/>
                  <a:gd name="T63" fmla="*/ 13 h 15"/>
                  <a:gd name="T64" fmla="*/ 5 w 17"/>
                  <a:gd name="T65" fmla="*/ 15 h 15"/>
                  <a:gd name="T66" fmla="*/ 5 w 17"/>
                  <a:gd name="T67" fmla="*/ 15 h 15"/>
                  <a:gd name="T68" fmla="*/ 5 w 17"/>
                  <a:gd name="T69" fmla="*/ 15 h 15"/>
                  <a:gd name="T70" fmla="*/ 5 w 17"/>
                  <a:gd name="T71" fmla="*/ 15 h 15"/>
                  <a:gd name="T72" fmla="*/ 5 w 17"/>
                  <a:gd name="T73" fmla="*/ 15 h 15"/>
                  <a:gd name="T74" fmla="*/ 7 w 17"/>
                  <a:gd name="T75" fmla="*/ 14 h 15"/>
                  <a:gd name="T76" fmla="*/ 7 w 17"/>
                  <a:gd name="T77" fmla="*/ 14 h 15"/>
                  <a:gd name="T78" fmla="*/ 8 w 17"/>
                  <a:gd name="T79" fmla="*/ 12 h 15"/>
                  <a:gd name="T80" fmla="*/ 8 w 17"/>
                  <a:gd name="T81" fmla="*/ 11 h 15"/>
                  <a:gd name="T82" fmla="*/ 8 w 17"/>
                  <a:gd name="T83" fmla="*/ 9 h 15"/>
                  <a:gd name="T84" fmla="*/ 9 w 17"/>
                  <a:gd name="T85" fmla="*/ 10 h 15"/>
                  <a:gd name="T86" fmla="*/ 12 w 17"/>
                  <a:gd name="T87" fmla="*/ 10 h 15"/>
                  <a:gd name="T88" fmla="*/ 13 w 17"/>
                  <a:gd name="T89" fmla="*/ 10 h 15"/>
                  <a:gd name="T90" fmla="*/ 15 w 17"/>
                  <a:gd name="T91" fmla="*/ 10 h 15"/>
                  <a:gd name="T92" fmla="*/ 15 w 17"/>
                  <a:gd name="T93" fmla="*/ 11 h 15"/>
                  <a:gd name="T94" fmla="*/ 15 w 17"/>
                  <a:gd name="T95" fmla="*/ 11 h 15"/>
                  <a:gd name="T96" fmla="*/ 16 w 17"/>
                  <a:gd name="T97" fmla="*/ 10 h 15"/>
                  <a:gd name="T98" fmla="*/ 17 w 17"/>
                  <a:gd name="T99" fmla="*/ 10 h 15"/>
                  <a:gd name="T100" fmla="*/ 17 w 17"/>
                  <a:gd name="T101" fmla="*/ 10 h 15"/>
                  <a:gd name="T102" fmla="*/ 17 w 17"/>
                  <a:gd name="T103" fmla="*/ 10 h 15"/>
                  <a:gd name="T104" fmla="*/ 17 w 17"/>
                  <a:gd name="T105" fmla="*/ 10 h 15"/>
                  <a:gd name="T106" fmla="*/ 17 w 17"/>
                  <a:gd name="T107" fmla="*/ 9 h 15"/>
                  <a:gd name="T108" fmla="*/ 17 w 17"/>
                  <a:gd name="T109" fmla="*/ 8 h 15"/>
                  <a:gd name="T110" fmla="*/ 16 w 17"/>
                  <a:gd name="T111" fmla="*/ 7 h 15"/>
                  <a:gd name="T112" fmla="*/ 16 w 17"/>
                  <a:gd name="T113"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 h="15">
                    <a:moveTo>
                      <a:pt x="16" y="5"/>
                    </a:moveTo>
                    <a:cubicBezTo>
                      <a:pt x="16" y="4"/>
                      <a:pt x="16" y="4"/>
                      <a:pt x="16" y="3"/>
                    </a:cubicBezTo>
                    <a:cubicBezTo>
                      <a:pt x="14" y="0"/>
                      <a:pt x="14" y="0"/>
                      <a:pt x="14" y="0"/>
                    </a:cubicBezTo>
                    <a:cubicBezTo>
                      <a:pt x="13" y="0"/>
                      <a:pt x="13" y="1"/>
                      <a:pt x="13" y="1"/>
                    </a:cubicBezTo>
                    <a:cubicBezTo>
                      <a:pt x="12" y="1"/>
                      <a:pt x="12" y="1"/>
                      <a:pt x="12" y="1"/>
                    </a:cubicBezTo>
                    <a:cubicBezTo>
                      <a:pt x="12" y="2"/>
                      <a:pt x="11" y="2"/>
                      <a:pt x="11" y="3"/>
                    </a:cubicBezTo>
                    <a:cubicBezTo>
                      <a:pt x="11" y="3"/>
                      <a:pt x="10" y="3"/>
                      <a:pt x="9" y="3"/>
                    </a:cubicBezTo>
                    <a:cubicBezTo>
                      <a:pt x="9" y="3"/>
                      <a:pt x="8" y="3"/>
                      <a:pt x="8" y="3"/>
                    </a:cubicBezTo>
                    <a:cubicBezTo>
                      <a:pt x="7" y="2"/>
                      <a:pt x="7" y="2"/>
                      <a:pt x="7" y="2"/>
                    </a:cubicBezTo>
                    <a:cubicBezTo>
                      <a:pt x="7" y="2"/>
                      <a:pt x="7" y="2"/>
                      <a:pt x="7" y="2"/>
                    </a:cubicBezTo>
                    <a:cubicBezTo>
                      <a:pt x="6" y="2"/>
                      <a:pt x="6" y="2"/>
                      <a:pt x="6" y="2"/>
                    </a:cubicBezTo>
                    <a:cubicBezTo>
                      <a:pt x="6" y="3"/>
                      <a:pt x="6" y="3"/>
                      <a:pt x="5" y="3"/>
                    </a:cubicBezTo>
                    <a:cubicBezTo>
                      <a:pt x="5" y="4"/>
                      <a:pt x="5" y="4"/>
                      <a:pt x="5" y="4"/>
                    </a:cubicBezTo>
                    <a:cubicBezTo>
                      <a:pt x="4" y="4"/>
                      <a:pt x="4" y="4"/>
                      <a:pt x="4" y="4"/>
                    </a:cubicBezTo>
                    <a:cubicBezTo>
                      <a:pt x="4" y="4"/>
                      <a:pt x="4" y="5"/>
                      <a:pt x="3" y="5"/>
                    </a:cubicBezTo>
                    <a:cubicBezTo>
                      <a:pt x="3" y="5"/>
                      <a:pt x="3" y="5"/>
                      <a:pt x="3" y="5"/>
                    </a:cubicBezTo>
                    <a:cubicBezTo>
                      <a:pt x="3" y="5"/>
                      <a:pt x="3" y="5"/>
                      <a:pt x="3" y="5"/>
                    </a:cubicBezTo>
                    <a:cubicBezTo>
                      <a:pt x="2" y="6"/>
                      <a:pt x="2" y="6"/>
                      <a:pt x="2" y="6"/>
                    </a:cubicBezTo>
                    <a:cubicBezTo>
                      <a:pt x="2" y="6"/>
                      <a:pt x="2" y="7"/>
                      <a:pt x="2" y="8"/>
                    </a:cubicBezTo>
                    <a:cubicBezTo>
                      <a:pt x="2" y="8"/>
                      <a:pt x="2" y="9"/>
                      <a:pt x="2" y="10"/>
                    </a:cubicBezTo>
                    <a:cubicBezTo>
                      <a:pt x="1" y="11"/>
                      <a:pt x="1" y="11"/>
                      <a:pt x="1" y="12"/>
                    </a:cubicBezTo>
                    <a:cubicBezTo>
                      <a:pt x="0" y="12"/>
                      <a:pt x="0" y="12"/>
                      <a:pt x="0" y="13"/>
                    </a:cubicBezTo>
                    <a:cubicBezTo>
                      <a:pt x="0" y="13"/>
                      <a:pt x="0" y="13"/>
                      <a:pt x="0" y="13"/>
                    </a:cubicBezTo>
                    <a:cubicBezTo>
                      <a:pt x="0" y="13"/>
                      <a:pt x="0" y="13"/>
                      <a:pt x="0" y="13"/>
                    </a:cubicBezTo>
                    <a:cubicBezTo>
                      <a:pt x="0" y="13"/>
                      <a:pt x="0" y="13"/>
                      <a:pt x="0" y="13"/>
                    </a:cubicBezTo>
                    <a:cubicBezTo>
                      <a:pt x="1" y="13"/>
                      <a:pt x="1" y="13"/>
                      <a:pt x="2" y="13"/>
                    </a:cubicBezTo>
                    <a:cubicBezTo>
                      <a:pt x="3" y="11"/>
                      <a:pt x="3" y="11"/>
                      <a:pt x="3" y="11"/>
                    </a:cubicBezTo>
                    <a:cubicBezTo>
                      <a:pt x="2" y="13"/>
                      <a:pt x="2" y="13"/>
                      <a:pt x="2" y="13"/>
                    </a:cubicBezTo>
                    <a:cubicBezTo>
                      <a:pt x="2" y="13"/>
                      <a:pt x="2" y="13"/>
                      <a:pt x="2" y="13"/>
                    </a:cubicBezTo>
                    <a:cubicBezTo>
                      <a:pt x="3" y="14"/>
                      <a:pt x="3" y="14"/>
                      <a:pt x="4" y="14"/>
                    </a:cubicBezTo>
                    <a:cubicBezTo>
                      <a:pt x="4" y="15"/>
                      <a:pt x="4" y="15"/>
                      <a:pt x="4" y="15"/>
                    </a:cubicBezTo>
                    <a:cubicBezTo>
                      <a:pt x="4" y="13"/>
                      <a:pt x="4" y="13"/>
                      <a:pt x="4" y="13"/>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6" y="14"/>
                      <a:pt x="6" y="14"/>
                      <a:pt x="7" y="14"/>
                    </a:cubicBezTo>
                    <a:cubicBezTo>
                      <a:pt x="7" y="14"/>
                      <a:pt x="7" y="14"/>
                      <a:pt x="7" y="14"/>
                    </a:cubicBezTo>
                    <a:cubicBezTo>
                      <a:pt x="8" y="14"/>
                      <a:pt x="8" y="12"/>
                      <a:pt x="8" y="12"/>
                    </a:cubicBezTo>
                    <a:cubicBezTo>
                      <a:pt x="8" y="12"/>
                      <a:pt x="8" y="11"/>
                      <a:pt x="8" y="11"/>
                    </a:cubicBezTo>
                    <a:cubicBezTo>
                      <a:pt x="8" y="9"/>
                      <a:pt x="8" y="9"/>
                      <a:pt x="8" y="9"/>
                    </a:cubicBezTo>
                    <a:cubicBezTo>
                      <a:pt x="9" y="10"/>
                      <a:pt x="9" y="10"/>
                      <a:pt x="9" y="10"/>
                    </a:cubicBezTo>
                    <a:cubicBezTo>
                      <a:pt x="11" y="11"/>
                      <a:pt x="11" y="11"/>
                      <a:pt x="12" y="10"/>
                    </a:cubicBezTo>
                    <a:cubicBezTo>
                      <a:pt x="13" y="10"/>
                      <a:pt x="13" y="10"/>
                      <a:pt x="13" y="10"/>
                    </a:cubicBezTo>
                    <a:cubicBezTo>
                      <a:pt x="14" y="10"/>
                      <a:pt x="14" y="10"/>
                      <a:pt x="15" y="10"/>
                    </a:cubicBezTo>
                    <a:cubicBezTo>
                      <a:pt x="15" y="11"/>
                      <a:pt x="15" y="11"/>
                      <a:pt x="15" y="11"/>
                    </a:cubicBezTo>
                    <a:cubicBezTo>
                      <a:pt x="15" y="11"/>
                      <a:pt x="15" y="11"/>
                      <a:pt x="15" y="11"/>
                    </a:cubicBezTo>
                    <a:cubicBezTo>
                      <a:pt x="16" y="10"/>
                      <a:pt x="16" y="10"/>
                      <a:pt x="16" y="10"/>
                    </a:cubicBezTo>
                    <a:cubicBezTo>
                      <a:pt x="16" y="10"/>
                      <a:pt x="16" y="10"/>
                      <a:pt x="17" y="10"/>
                    </a:cubicBezTo>
                    <a:cubicBezTo>
                      <a:pt x="17" y="10"/>
                      <a:pt x="17" y="10"/>
                      <a:pt x="17" y="10"/>
                    </a:cubicBezTo>
                    <a:cubicBezTo>
                      <a:pt x="17" y="10"/>
                      <a:pt x="17" y="10"/>
                      <a:pt x="17" y="10"/>
                    </a:cubicBezTo>
                    <a:cubicBezTo>
                      <a:pt x="17" y="10"/>
                      <a:pt x="17" y="10"/>
                      <a:pt x="17" y="10"/>
                    </a:cubicBezTo>
                    <a:cubicBezTo>
                      <a:pt x="17" y="10"/>
                      <a:pt x="17" y="9"/>
                      <a:pt x="17" y="9"/>
                    </a:cubicBezTo>
                    <a:cubicBezTo>
                      <a:pt x="17" y="9"/>
                      <a:pt x="17" y="9"/>
                      <a:pt x="17" y="8"/>
                    </a:cubicBezTo>
                    <a:cubicBezTo>
                      <a:pt x="17" y="8"/>
                      <a:pt x="17" y="7"/>
                      <a:pt x="16" y="7"/>
                    </a:cubicBezTo>
                    <a:cubicBezTo>
                      <a:pt x="16" y="6"/>
                      <a:pt x="16" y="5"/>
                      <a:pt x="1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7" name="Freeform 3079">
                <a:extLst>
                  <a:ext uri="{FF2B5EF4-FFF2-40B4-BE49-F238E27FC236}">
                    <a16:creationId xmlns:a16="http://schemas.microsoft.com/office/drawing/2014/main" id="{56153248-05DE-48B9-9D69-DCC7375482A9}"/>
                  </a:ext>
                </a:extLst>
              </p:cNvPr>
              <p:cNvSpPr>
                <a:spLocks/>
              </p:cNvSpPr>
              <p:nvPr/>
            </p:nvSpPr>
            <p:spPr bwMode="auto">
              <a:xfrm>
                <a:off x="3126" y="2374"/>
                <a:ext cx="146" cy="102"/>
              </a:xfrm>
              <a:custGeom>
                <a:avLst/>
                <a:gdLst>
                  <a:gd name="T0" fmla="*/ 60 w 62"/>
                  <a:gd name="T1" fmla="*/ 36 h 43"/>
                  <a:gd name="T2" fmla="*/ 54 w 62"/>
                  <a:gd name="T3" fmla="*/ 29 h 43"/>
                  <a:gd name="T4" fmla="*/ 53 w 62"/>
                  <a:gd name="T5" fmla="*/ 19 h 43"/>
                  <a:gd name="T6" fmla="*/ 50 w 62"/>
                  <a:gd name="T7" fmla="*/ 17 h 43"/>
                  <a:gd name="T8" fmla="*/ 49 w 62"/>
                  <a:gd name="T9" fmla="*/ 16 h 43"/>
                  <a:gd name="T10" fmla="*/ 47 w 62"/>
                  <a:gd name="T11" fmla="*/ 14 h 43"/>
                  <a:gd name="T12" fmla="*/ 42 w 62"/>
                  <a:gd name="T13" fmla="*/ 7 h 43"/>
                  <a:gd name="T14" fmla="*/ 41 w 62"/>
                  <a:gd name="T15" fmla="*/ 5 h 43"/>
                  <a:gd name="T16" fmla="*/ 39 w 62"/>
                  <a:gd name="T17" fmla="*/ 5 h 43"/>
                  <a:gd name="T18" fmla="*/ 37 w 62"/>
                  <a:gd name="T19" fmla="*/ 5 h 43"/>
                  <a:gd name="T20" fmla="*/ 35 w 62"/>
                  <a:gd name="T21" fmla="*/ 3 h 43"/>
                  <a:gd name="T22" fmla="*/ 31 w 62"/>
                  <a:gd name="T23" fmla="*/ 0 h 43"/>
                  <a:gd name="T24" fmla="*/ 24 w 62"/>
                  <a:gd name="T25" fmla="*/ 0 h 43"/>
                  <a:gd name="T26" fmla="*/ 21 w 62"/>
                  <a:gd name="T27" fmla="*/ 1 h 43"/>
                  <a:gd name="T28" fmla="*/ 15 w 62"/>
                  <a:gd name="T29" fmla="*/ 2 h 43"/>
                  <a:gd name="T30" fmla="*/ 11 w 62"/>
                  <a:gd name="T31" fmla="*/ 6 h 43"/>
                  <a:gd name="T32" fmla="*/ 7 w 62"/>
                  <a:gd name="T33" fmla="*/ 13 h 43"/>
                  <a:gd name="T34" fmla="*/ 1 w 62"/>
                  <a:gd name="T35" fmla="*/ 20 h 43"/>
                  <a:gd name="T36" fmla="*/ 8 w 62"/>
                  <a:gd name="T37" fmla="*/ 28 h 43"/>
                  <a:gd name="T38" fmla="*/ 12 w 62"/>
                  <a:gd name="T39" fmla="*/ 25 h 43"/>
                  <a:gd name="T40" fmla="*/ 8 w 62"/>
                  <a:gd name="T41" fmla="*/ 28 h 43"/>
                  <a:gd name="T42" fmla="*/ 10 w 62"/>
                  <a:gd name="T43" fmla="*/ 30 h 43"/>
                  <a:gd name="T44" fmla="*/ 22 w 62"/>
                  <a:gd name="T45" fmla="*/ 27 h 43"/>
                  <a:gd name="T46" fmla="*/ 27 w 62"/>
                  <a:gd name="T47" fmla="*/ 27 h 43"/>
                  <a:gd name="T48" fmla="*/ 31 w 62"/>
                  <a:gd name="T49" fmla="*/ 30 h 43"/>
                  <a:gd name="T50" fmla="*/ 33 w 62"/>
                  <a:gd name="T51" fmla="*/ 30 h 43"/>
                  <a:gd name="T52" fmla="*/ 36 w 62"/>
                  <a:gd name="T53" fmla="*/ 30 h 43"/>
                  <a:gd name="T54" fmla="*/ 37 w 62"/>
                  <a:gd name="T55" fmla="*/ 30 h 43"/>
                  <a:gd name="T56" fmla="*/ 38 w 62"/>
                  <a:gd name="T57" fmla="*/ 31 h 43"/>
                  <a:gd name="T58" fmla="*/ 39 w 62"/>
                  <a:gd name="T59" fmla="*/ 33 h 43"/>
                  <a:gd name="T60" fmla="*/ 38 w 62"/>
                  <a:gd name="T61" fmla="*/ 34 h 43"/>
                  <a:gd name="T62" fmla="*/ 36 w 62"/>
                  <a:gd name="T63" fmla="*/ 35 h 43"/>
                  <a:gd name="T64" fmla="*/ 25 w 62"/>
                  <a:gd name="T65" fmla="*/ 33 h 43"/>
                  <a:gd name="T66" fmla="*/ 20 w 62"/>
                  <a:gd name="T67" fmla="*/ 35 h 43"/>
                  <a:gd name="T68" fmla="*/ 19 w 62"/>
                  <a:gd name="T69" fmla="*/ 35 h 43"/>
                  <a:gd name="T70" fmla="*/ 16 w 62"/>
                  <a:gd name="T71" fmla="*/ 36 h 43"/>
                  <a:gd name="T72" fmla="*/ 8 w 62"/>
                  <a:gd name="T73" fmla="*/ 37 h 43"/>
                  <a:gd name="T74" fmla="*/ 13 w 62"/>
                  <a:gd name="T75" fmla="*/ 41 h 43"/>
                  <a:gd name="T76" fmla="*/ 7 w 62"/>
                  <a:gd name="T77" fmla="*/ 43 h 43"/>
                  <a:gd name="T78" fmla="*/ 27 w 62"/>
                  <a:gd name="T79" fmla="*/ 39 h 43"/>
                  <a:gd name="T80" fmla="*/ 35 w 62"/>
                  <a:gd name="T81" fmla="*/ 39 h 43"/>
                  <a:gd name="T82" fmla="*/ 37 w 62"/>
                  <a:gd name="T83" fmla="*/ 39 h 43"/>
                  <a:gd name="T84" fmla="*/ 44 w 62"/>
                  <a:gd name="T85" fmla="*/ 40 h 43"/>
                  <a:gd name="T86" fmla="*/ 47 w 62"/>
                  <a:gd name="T87" fmla="*/ 41 h 43"/>
                  <a:gd name="T88" fmla="*/ 55 w 62"/>
                  <a:gd name="T89" fmla="*/ 42 h 43"/>
                  <a:gd name="T90" fmla="*/ 62 w 62"/>
                  <a:gd name="T91"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 h="43">
                    <a:moveTo>
                      <a:pt x="61" y="38"/>
                    </a:moveTo>
                    <a:cubicBezTo>
                      <a:pt x="61" y="36"/>
                      <a:pt x="61" y="35"/>
                      <a:pt x="60" y="34"/>
                    </a:cubicBezTo>
                    <a:cubicBezTo>
                      <a:pt x="60" y="36"/>
                      <a:pt x="60" y="36"/>
                      <a:pt x="60" y="36"/>
                    </a:cubicBezTo>
                    <a:cubicBezTo>
                      <a:pt x="58" y="34"/>
                      <a:pt x="58" y="34"/>
                      <a:pt x="58" y="34"/>
                    </a:cubicBezTo>
                    <a:cubicBezTo>
                      <a:pt x="57" y="33"/>
                      <a:pt x="55" y="32"/>
                      <a:pt x="55" y="30"/>
                    </a:cubicBezTo>
                    <a:cubicBezTo>
                      <a:pt x="54" y="29"/>
                      <a:pt x="54" y="29"/>
                      <a:pt x="54" y="29"/>
                    </a:cubicBezTo>
                    <a:cubicBezTo>
                      <a:pt x="55" y="28"/>
                      <a:pt x="55" y="28"/>
                      <a:pt x="55" y="28"/>
                    </a:cubicBezTo>
                    <a:cubicBezTo>
                      <a:pt x="53" y="19"/>
                      <a:pt x="53" y="19"/>
                      <a:pt x="53" y="19"/>
                    </a:cubicBezTo>
                    <a:cubicBezTo>
                      <a:pt x="53" y="19"/>
                      <a:pt x="53" y="19"/>
                      <a:pt x="53" y="19"/>
                    </a:cubicBezTo>
                    <a:cubicBezTo>
                      <a:pt x="50" y="17"/>
                      <a:pt x="50" y="17"/>
                      <a:pt x="50" y="17"/>
                    </a:cubicBezTo>
                    <a:cubicBezTo>
                      <a:pt x="50" y="17"/>
                      <a:pt x="50" y="17"/>
                      <a:pt x="50" y="17"/>
                    </a:cubicBezTo>
                    <a:cubicBezTo>
                      <a:pt x="50" y="17"/>
                      <a:pt x="50" y="17"/>
                      <a:pt x="50" y="17"/>
                    </a:cubicBezTo>
                    <a:cubicBezTo>
                      <a:pt x="50" y="17"/>
                      <a:pt x="50" y="17"/>
                      <a:pt x="50" y="17"/>
                    </a:cubicBezTo>
                    <a:cubicBezTo>
                      <a:pt x="49" y="17"/>
                      <a:pt x="49" y="16"/>
                      <a:pt x="49" y="16"/>
                    </a:cubicBezTo>
                    <a:cubicBezTo>
                      <a:pt x="49" y="16"/>
                      <a:pt x="49" y="16"/>
                      <a:pt x="49" y="16"/>
                    </a:cubicBezTo>
                    <a:cubicBezTo>
                      <a:pt x="49" y="16"/>
                      <a:pt x="48" y="16"/>
                      <a:pt x="48" y="16"/>
                    </a:cubicBezTo>
                    <a:cubicBezTo>
                      <a:pt x="48" y="15"/>
                      <a:pt x="47" y="15"/>
                      <a:pt x="47" y="14"/>
                    </a:cubicBezTo>
                    <a:cubicBezTo>
                      <a:pt x="47" y="14"/>
                      <a:pt x="47" y="14"/>
                      <a:pt x="47" y="14"/>
                    </a:cubicBezTo>
                    <a:cubicBezTo>
                      <a:pt x="46" y="13"/>
                      <a:pt x="45" y="12"/>
                      <a:pt x="44" y="11"/>
                    </a:cubicBezTo>
                    <a:cubicBezTo>
                      <a:pt x="44" y="11"/>
                      <a:pt x="43" y="11"/>
                      <a:pt x="43" y="10"/>
                    </a:cubicBezTo>
                    <a:cubicBezTo>
                      <a:pt x="42" y="9"/>
                      <a:pt x="42" y="8"/>
                      <a:pt x="42" y="7"/>
                    </a:cubicBezTo>
                    <a:cubicBezTo>
                      <a:pt x="41" y="7"/>
                      <a:pt x="41" y="7"/>
                      <a:pt x="41" y="7"/>
                    </a:cubicBezTo>
                    <a:cubicBezTo>
                      <a:pt x="41" y="7"/>
                      <a:pt x="41" y="7"/>
                      <a:pt x="41" y="6"/>
                    </a:cubicBezTo>
                    <a:cubicBezTo>
                      <a:pt x="41" y="6"/>
                      <a:pt x="41" y="6"/>
                      <a:pt x="41" y="5"/>
                    </a:cubicBezTo>
                    <a:cubicBezTo>
                      <a:pt x="40" y="8"/>
                      <a:pt x="40" y="8"/>
                      <a:pt x="40" y="8"/>
                    </a:cubicBezTo>
                    <a:cubicBezTo>
                      <a:pt x="40" y="5"/>
                      <a:pt x="40" y="5"/>
                      <a:pt x="40" y="5"/>
                    </a:cubicBezTo>
                    <a:cubicBezTo>
                      <a:pt x="39" y="5"/>
                      <a:pt x="39" y="5"/>
                      <a:pt x="39" y="5"/>
                    </a:cubicBezTo>
                    <a:cubicBezTo>
                      <a:pt x="39" y="5"/>
                      <a:pt x="38" y="5"/>
                      <a:pt x="38" y="5"/>
                    </a:cubicBezTo>
                    <a:cubicBezTo>
                      <a:pt x="38" y="5"/>
                      <a:pt x="38" y="5"/>
                      <a:pt x="38" y="5"/>
                    </a:cubicBezTo>
                    <a:cubicBezTo>
                      <a:pt x="37" y="5"/>
                      <a:pt x="37" y="5"/>
                      <a:pt x="37" y="5"/>
                    </a:cubicBezTo>
                    <a:cubicBezTo>
                      <a:pt x="37" y="5"/>
                      <a:pt x="37" y="5"/>
                      <a:pt x="37" y="5"/>
                    </a:cubicBezTo>
                    <a:cubicBezTo>
                      <a:pt x="36" y="4"/>
                      <a:pt x="35" y="4"/>
                      <a:pt x="35" y="3"/>
                    </a:cubicBezTo>
                    <a:cubicBezTo>
                      <a:pt x="35" y="3"/>
                      <a:pt x="35" y="3"/>
                      <a:pt x="35" y="3"/>
                    </a:cubicBezTo>
                    <a:cubicBezTo>
                      <a:pt x="35" y="3"/>
                      <a:pt x="34" y="2"/>
                      <a:pt x="34" y="2"/>
                    </a:cubicBezTo>
                    <a:cubicBezTo>
                      <a:pt x="34" y="2"/>
                      <a:pt x="34" y="2"/>
                      <a:pt x="34" y="2"/>
                    </a:cubicBezTo>
                    <a:cubicBezTo>
                      <a:pt x="32" y="1"/>
                      <a:pt x="32" y="0"/>
                      <a:pt x="31" y="0"/>
                    </a:cubicBezTo>
                    <a:cubicBezTo>
                      <a:pt x="30" y="0"/>
                      <a:pt x="30" y="0"/>
                      <a:pt x="30" y="0"/>
                    </a:cubicBezTo>
                    <a:cubicBezTo>
                      <a:pt x="29" y="0"/>
                      <a:pt x="27" y="0"/>
                      <a:pt x="26" y="0"/>
                    </a:cubicBezTo>
                    <a:cubicBezTo>
                      <a:pt x="25" y="0"/>
                      <a:pt x="25" y="0"/>
                      <a:pt x="24" y="0"/>
                    </a:cubicBezTo>
                    <a:cubicBezTo>
                      <a:pt x="23" y="0"/>
                      <a:pt x="23" y="1"/>
                      <a:pt x="22" y="1"/>
                    </a:cubicBezTo>
                    <a:cubicBezTo>
                      <a:pt x="22" y="1"/>
                      <a:pt x="22" y="1"/>
                      <a:pt x="21" y="1"/>
                    </a:cubicBezTo>
                    <a:cubicBezTo>
                      <a:pt x="21" y="1"/>
                      <a:pt x="21" y="1"/>
                      <a:pt x="21" y="1"/>
                    </a:cubicBezTo>
                    <a:cubicBezTo>
                      <a:pt x="20" y="1"/>
                      <a:pt x="19" y="2"/>
                      <a:pt x="18" y="2"/>
                    </a:cubicBezTo>
                    <a:cubicBezTo>
                      <a:pt x="17" y="2"/>
                      <a:pt x="17" y="2"/>
                      <a:pt x="17" y="2"/>
                    </a:cubicBezTo>
                    <a:cubicBezTo>
                      <a:pt x="16" y="2"/>
                      <a:pt x="15" y="2"/>
                      <a:pt x="15" y="2"/>
                    </a:cubicBezTo>
                    <a:cubicBezTo>
                      <a:pt x="14" y="2"/>
                      <a:pt x="14" y="1"/>
                      <a:pt x="14" y="1"/>
                    </a:cubicBezTo>
                    <a:cubicBezTo>
                      <a:pt x="13" y="2"/>
                      <a:pt x="12" y="3"/>
                      <a:pt x="11" y="5"/>
                    </a:cubicBezTo>
                    <a:cubicBezTo>
                      <a:pt x="11" y="6"/>
                      <a:pt x="11" y="6"/>
                      <a:pt x="11" y="6"/>
                    </a:cubicBezTo>
                    <a:cubicBezTo>
                      <a:pt x="10" y="6"/>
                      <a:pt x="10" y="6"/>
                      <a:pt x="10" y="6"/>
                    </a:cubicBezTo>
                    <a:cubicBezTo>
                      <a:pt x="10" y="7"/>
                      <a:pt x="10" y="8"/>
                      <a:pt x="9" y="10"/>
                    </a:cubicBezTo>
                    <a:cubicBezTo>
                      <a:pt x="8" y="11"/>
                      <a:pt x="7" y="12"/>
                      <a:pt x="7" y="13"/>
                    </a:cubicBezTo>
                    <a:cubicBezTo>
                      <a:pt x="6" y="14"/>
                      <a:pt x="5" y="16"/>
                      <a:pt x="3" y="17"/>
                    </a:cubicBezTo>
                    <a:cubicBezTo>
                      <a:pt x="2" y="18"/>
                      <a:pt x="1" y="18"/>
                      <a:pt x="0" y="19"/>
                    </a:cubicBezTo>
                    <a:cubicBezTo>
                      <a:pt x="0" y="19"/>
                      <a:pt x="0" y="19"/>
                      <a:pt x="1" y="20"/>
                    </a:cubicBezTo>
                    <a:cubicBezTo>
                      <a:pt x="1" y="18"/>
                      <a:pt x="2" y="19"/>
                      <a:pt x="2" y="19"/>
                    </a:cubicBezTo>
                    <a:cubicBezTo>
                      <a:pt x="4" y="20"/>
                      <a:pt x="5" y="22"/>
                      <a:pt x="6" y="23"/>
                    </a:cubicBezTo>
                    <a:cubicBezTo>
                      <a:pt x="7" y="25"/>
                      <a:pt x="7" y="26"/>
                      <a:pt x="8" y="28"/>
                    </a:cubicBezTo>
                    <a:cubicBezTo>
                      <a:pt x="8" y="27"/>
                      <a:pt x="7" y="26"/>
                      <a:pt x="9" y="26"/>
                    </a:cubicBezTo>
                    <a:cubicBezTo>
                      <a:pt x="9" y="26"/>
                      <a:pt x="9" y="26"/>
                      <a:pt x="9" y="26"/>
                    </a:cubicBezTo>
                    <a:cubicBezTo>
                      <a:pt x="10" y="26"/>
                      <a:pt x="11" y="25"/>
                      <a:pt x="12" y="25"/>
                    </a:cubicBezTo>
                    <a:cubicBezTo>
                      <a:pt x="11" y="25"/>
                      <a:pt x="10" y="26"/>
                      <a:pt x="9" y="26"/>
                    </a:cubicBezTo>
                    <a:cubicBezTo>
                      <a:pt x="9" y="26"/>
                      <a:pt x="9" y="26"/>
                      <a:pt x="9" y="26"/>
                    </a:cubicBezTo>
                    <a:cubicBezTo>
                      <a:pt x="8" y="27"/>
                      <a:pt x="7" y="28"/>
                      <a:pt x="8" y="28"/>
                    </a:cubicBezTo>
                    <a:cubicBezTo>
                      <a:pt x="8" y="29"/>
                      <a:pt x="9" y="29"/>
                      <a:pt x="9" y="28"/>
                    </a:cubicBezTo>
                    <a:cubicBezTo>
                      <a:pt x="9" y="29"/>
                      <a:pt x="9" y="29"/>
                      <a:pt x="9" y="30"/>
                    </a:cubicBezTo>
                    <a:cubicBezTo>
                      <a:pt x="10" y="30"/>
                      <a:pt x="10" y="30"/>
                      <a:pt x="10" y="30"/>
                    </a:cubicBezTo>
                    <a:cubicBezTo>
                      <a:pt x="10" y="30"/>
                      <a:pt x="14" y="29"/>
                      <a:pt x="20" y="29"/>
                    </a:cubicBezTo>
                    <a:cubicBezTo>
                      <a:pt x="20" y="29"/>
                      <a:pt x="20" y="29"/>
                      <a:pt x="20" y="29"/>
                    </a:cubicBezTo>
                    <a:cubicBezTo>
                      <a:pt x="21" y="28"/>
                      <a:pt x="21" y="28"/>
                      <a:pt x="22" y="27"/>
                    </a:cubicBezTo>
                    <a:cubicBezTo>
                      <a:pt x="23" y="27"/>
                      <a:pt x="24" y="27"/>
                      <a:pt x="26" y="27"/>
                    </a:cubicBezTo>
                    <a:cubicBezTo>
                      <a:pt x="26" y="27"/>
                      <a:pt x="26" y="27"/>
                      <a:pt x="26" y="27"/>
                    </a:cubicBezTo>
                    <a:cubicBezTo>
                      <a:pt x="26" y="27"/>
                      <a:pt x="27" y="27"/>
                      <a:pt x="27" y="27"/>
                    </a:cubicBezTo>
                    <a:cubicBezTo>
                      <a:pt x="28" y="28"/>
                      <a:pt x="29" y="28"/>
                      <a:pt x="30" y="29"/>
                    </a:cubicBezTo>
                    <a:cubicBezTo>
                      <a:pt x="30" y="29"/>
                      <a:pt x="30" y="29"/>
                      <a:pt x="30" y="29"/>
                    </a:cubicBezTo>
                    <a:cubicBezTo>
                      <a:pt x="31" y="29"/>
                      <a:pt x="31" y="30"/>
                      <a:pt x="31" y="30"/>
                    </a:cubicBezTo>
                    <a:cubicBezTo>
                      <a:pt x="31" y="30"/>
                      <a:pt x="32" y="30"/>
                      <a:pt x="32" y="30"/>
                    </a:cubicBezTo>
                    <a:cubicBezTo>
                      <a:pt x="32" y="30"/>
                      <a:pt x="32" y="30"/>
                      <a:pt x="32" y="30"/>
                    </a:cubicBezTo>
                    <a:cubicBezTo>
                      <a:pt x="33" y="30"/>
                      <a:pt x="33" y="30"/>
                      <a:pt x="33" y="30"/>
                    </a:cubicBezTo>
                    <a:cubicBezTo>
                      <a:pt x="34" y="30"/>
                      <a:pt x="34" y="30"/>
                      <a:pt x="34" y="30"/>
                    </a:cubicBezTo>
                    <a:cubicBezTo>
                      <a:pt x="34" y="30"/>
                      <a:pt x="34" y="30"/>
                      <a:pt x="34" y="30"/>
                    </a:cubicBezTo>
                    <a:cubicBezTo>
                      <a:pt x="35" y="30"/>
                      <a:pt x="36" y="30"/>
                      <a:pt x="36" y="30"/>
                    </a:cubicBezTo>
                    <a:cubicBezTo>
                      <a:pt x="37" y="28"/>
                      <a:pt x="37" y="28"/>
                      <a:pt x="37" y="28"/>
                    </a:cubicBezTo>
                    <a:cubicBezTo>
                      <a:pt x="37" y="30"/>
                      <a:pt x="37" y="30"/>
                      <a:pt x="37" y="30"/>
                    </a:cubicBezTo>
                    <a:cubicBezTo>
                      <a:pt x="37" y="30"/>
                      <a:pt x="37" y="30"/>
                      <a:pt x="37" y="30"/>
                    </a:cubicBezTo>
                    <a:cubicBezTo>
                      <a:pt x="38" y="28"/>
                      <a:pt x="38" y="28"/>
                      <a:pt x="38" y="28"/>
                    </a:cubicBezTo>
                    <a:cubicBezTo>
                      <a:pt x="38" y="31"/>
                      <a:pt x="38" y="31"/>
                      <a:pt x="38" y="31"/>
                    </a:cubicBezTo>
                    <a:cubicBezTo>
                      <a:pt x="38" y="31"/>
                      <a:pt x="38" y="31"/>
                      <a:pt x="38" y="31"/>
                    </a:cubicBezTo>
                    <a:cubicBezTo>
                      <a:pt x="39" y="31"/>
                      <a:pt x="39" y="32"/>
                      <a:pt x="39" y="32"/>
                    </a:cubicBezTo>
                    <a:cubicBezTo>
                      <a:pt x="39" y="32"/>
                      <a:pt x="39" y="32"/>
                      <a:pt x="39" y="32"/>
                    </a:cubicBezTo>
                    <a:cubicBezTo>
                      <a:pt x="39" y="33"/>
                      <a:pt x="39" y="33"/>
                      <a:pt x="39" y="33"/>
                    </a:cubicBezTo>
                    <a:cubicBezTo>
                      <a:pt x="39" y="34"/>
                      <a:pt x="38" y="34"/>
                      <a:pt x="38" y="34"/>
                    </a:cubicBezTo>
                    <a:cubicBezTo>
                      <a:pt x="38" y="34"/>
                      <a:pt x="38" y="34"/>
                      <a:pt x="38" y="34"/>
                    </a:cubicBezTo>
                    <a:cubicBezTo>
                      <a:pt x="38" y="34"/>
                      <a:pt x="38" y="34"/>
                      <a:pt x="38" y="34"/>
                    </a:cubicBezTo>
                    <a:cubicBezTo>
                      <a:pt x="38" y="35"/>
                      <a:pt x="38" y="35"/>
                      <a:pt x="37" y="35"/>
                    </a:cubicBezTo>
                    <a:cubicBezTo>
                      <a:pt x="37" y="35"/>
                      <a:pt x="37" y="35"/>
                      <a:pt x="37" y="35"/>
                    </a:cubicBezTo>
                    <a:cubicBezTo>
                      <a:pt x="36" y="35"/>
                      <a:pt x="36" y="35"/>
                      <a:pt x="36" y="35"/>
                    </a:cubicBezTo>
                    <a:cubicBezTo>
                      <a:pt x="35" y="36"/>
                      <a:pt x="33" y="36"/>
                      <a:pt x="32" y="36"/>
                    </a:cubicBezTo>
                    <a:cubicBezTo>
                      <a:pt x="30" y="35"/>
                      <a:pt x="29" y="35"/>
                      <a:pt x="28" y="34"/>
                    </a:cubicBezTo>
                    <a:cubicBezTo>
                      <a:pt x="27" y="34"/>
                      <a:pt x="26" y="33"/>
                      <a:pt x="25" y="33"/>
                    </a:cubicBezTo>
                    <a:cubicBezTo>
                      <a:pt x="25" y="33"/>
                      <a:pt x="25" y="33"/>
                      <a:pt x="25" y="33"/>
                    </a:cubicBezTo>
                    <a:cubicBezTo>
                      <a:pt x="24" y="33"/>
                      <a:pt x="24" y="33"/>
                      <a:pt x="24" y="34"/>
                    </a:cubicBezTo>
                    <a:cubicBezTo>
                      <a:pt x="23" y="34"/>
                      <a:pt x="22" y="35"/>
                      <a:pt x="20" y="35"/>
                    </a:cubicBezTo>
                    <a:cubicBezTo>
                      <a:pt x="20" y="35"/>
                      <a:pt x="19" y="35"/>
                      <a:pt x="19" y="35"/>
                    </a:cubicBezTo>
                    <a:cubicBezTo>
                      <a:pt x="19" y="35"/>
                      <a:pt x="19" y="35"/>
                      <a:pt x="19" y="35"/>
                    </a:cubicBezTo>
                    <a:cubicBezTo>
                      <a:pt x="19" y="35"/>
                      <a:pt x="19" y="35"/>
                      <a:pt x="19" y="35"/>
                    </a:cubicBezTo>
                    <a:cubicBezTo>
                      <a:pt x="18" y="35"/>
                      <a:pt x="18" y="35"/>
                      <a:pt x="18" y="35"/>
                    </a:cubicBezTo>
                    <a:cubicBezTo>
                      <a:pt x="18" y="36"/>
                      <a:pt x="18" y="36"/>
                      <a:pt x="18" y="36"/>
                    </a:cubicBezTo>
                    <a:cubicBezTo>
                      <a:pt x="18" y="36"/>
                      <a:pt x="17" y="36"/>
                      <a:pt x="16" y="36"/>
                    </a:cubicBezTo>
                    <a:cubicBezTo>
                      <a:pt x="9" y="37"/>
                      <a:pt x="9" y="37"/>
                      <a:pt x="9" y="37"/>
                    </a:cubicBezTo>
                    <a:cubicBezTo>
                      <a:pt x="9" y="37"/>
                      <a:pt x="8" y="37"/>
                      <a:pt x="8" y="37"/>
                    </a:cubicBezTo>
                    <a:cubicBezTo>
                      <a:pt x="8" y="37"/>
                      <a:pt x="8" y="37"/>
                      <a:pt x="8" y="37"/>
                    </a:cubicBezTo>
                    <a:cubicBezTo>
                      <a:pt x="8" y="39"/>
                      <a:pt x="8" y="40"/>
                      <a:pt x="8" y="41"/>
                    </a:cubicBezTo>
                    <a:cubicBezTo>
                      <a:pt x="9" y="41"/>
                      <a:pt x="9" y="40"/>
                      <a:pt x="10" y="41"/>
                    </a:cubicBezTo>
                    <a:cubicBezTo>
                      <a:pt x="11" y="41"/>
                      <a:pt x="12" y="41"/>
                      <a:pt x="13" y="41"/>
                    </a:cubicBezTo>
                    <a:cubicBezTo>
                      <a:pt x="12" y="41"/>
                      <a:pt x="12" y="42"/>
                      <a:pt x="10" y="41"/>
                    </a:cubicBezTo>
                    <a:cubicBezTo>
                      <a:pt x="9" y="41"/>
                      <a:pt x="7" y="41"/>
                      <a:pt x="7" y="43"/>
                    </a:cubicBezTo>
                    <a:cubicBezTo>
                      <a:pt x="7" y="43"/>
                      <a:pt x="7" y="43"/>
                      <a:pt x="7" y="43"/>
                    </a:cubicBezTo>
                    <a:cubicBezTo>
                      <a:pt x="8" y="43"/>
                      <a:pt x="8" y="43"/>
                      <a:pt x="8" y="43"/>
                    </a:cubicBezTo>
                    <a:cubicBezTo>
                      <a:pt x="15" y="42"/>
                      <a:pt x="21" y="40"/>
                      <a:pt x="27" y="39"/>
                    </a:cubicBezTo>
                    <a:cubicBezTo>
                      <a:pt x="27" y="39"/>
                      <a:pt x="27" y="39"/>
                      <a:pt x="27" y="39"/>
                    </a:cubicBezTo>
                    <a:cubicBezTo>
                      <a:pt x="29" y="39"/>
                      <a:pt x="30" y="39"/>
                      <a:pt x="32" y="39"/>
                    </a:cubicBezTo>
                    <a:cubicBezTo>
                      <a:pt x="33" y="39"/>
                      <a:pt x="34" y="39"/>
                      <a:pt x="34" y="39"/>
                    </a:cubicBezTo>
                    <a:cubicBezTo>
                      <a:pt x="35" y="39"/>
                      <a:pt x="35" y="39"/>
                      <a:pt x="35" y="39"/>
                    </a:cubicBezTo>
                    <a:cubicBezTo>
                      <a:pt x="35" y="39"/>
                      <a:pt x="36" y="39"/>
                      <a:pt x="37" y="39"/>
                    </a:cubicBezTo>
                    <a:cubicBezTo>
                      <a:pt x="37" y="39"/>
                      <a:pt x="37" y="39"/>
                      <a:pt x="37" y="39"/>
                    </a:cubicBezTo>
                    <a:cubicBezTo>
                      <a:pt x="37" y="39"/>
                      <a:pt x="37" y="39"/>
                      <a:pt x="37" y="39"/>
                    </a:cubicBezTo>
                    <a:cubicBezTo>
                      <a:pt x="39" y="39"/>
                      <a:pt x="39" y="39"/>
                      <a:pt x="39" y="39"/>
                    </a:cubicBezTo>
                    <a:cubicBezTo>
                      <a:pt x="41" y="39"/>
                      <a:pt x="42" y="39"/>
                      <a:pt x="44" y="39"/>
                    </a:cubicBezTo>
                    <a:cubicBezTo>
                      <a:pt x="44" y="39"/>
                      <a:pt x="44" y="40"/>
                      <a:pt x="44" y="40"/>
                    </a:cubicBezTo>
                    <a:cubicBezTo>
                      <a:pt x="44" y="40"/>
                      <a:pt x="44" y="40"/>
                      <a:pt x="44" y="40"/>
                    </a:cubicBezTo>
                    <a:cubicBezTo>
                      <a:pt x="44" y="40"/>
                      <a:pt x="44" y="40"/>
                      <a:pt x="45" y="40"/>
                    </a:cubicBezTo>
                    <a:cubicBezTo>
                      <a:pt x="45" y="40"/>
                      <a:pt x="46" y="40"/>
                      <a:pt x="47" y="41"/>
                    </a:cubicBezTo>
                    <a:cubicBezTo>
                      <a:pt x="48" y="41"/>
                      <a:pt x="49" y="42"/>
                      <a:pt x="50" y="42"/>
                    </a:cubicBezTo>
                    <a:cubicBezTo>
                      <a:pt x="51" y="42"/>
                      <a:pt x="51" y="42"/>
                      <a:pt x="51" y="42"/>
                    </a:cubicBezTo>
                    <a:cubicBezTo>
                      <a:pt x="52" y="42"/>
                      <a:pt x="54" y="42"/>
                      <a:pt x="55" y="42"/>
                    </a:cubicBezTo>
                    <a:cubicBezTo>
                      <a:pt x="57" y="42"/>
                      <a:pt x="57" y="42"/>
                      <a:pt x="57" y="42"/>
                    </a:cubicBezTo>
                    <a:cubicBezTo>
                      <a:pt x="58" y="42"/>
                      <a:pt x="59" y="42"/>
                      <a:pt x="60" y="42"/>
                    </a:cubicBezTo>
                    <a:cubicBezTo>
                      <a:pt x="62" y="42"/>
                      <a:pt x="62" y="42"/>
                      <a:pt x="62" y="42"/>
                    </a:cubicBezTo>
                    <a:cubicBezTo>
                      <a:pt x="62" y="41"/>
                      <a:pt x="62" y="39"/>
                      <a:pt x="61"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8" name="Freeform 3080">
                <a:extLst>
                  <a:ext uri="{FF2B5EF4-FFF2-40B4-BE49-F238E27FC236}">
                    <a16:creationId xmlns:a16="http://schemas.microsoft.com/office/drawing/2014/main" id="{E030640F-8F1F-4F14-A1F0-87579AE48337}"/>
                  </a:ext>
                </a:extLst>
              </p:cNvPr>
              <p:cNvSpPr>
                <a:spLocks/>
              </p:cNvSpPr>
              <p:nvPr/>
            </p:nvSpPr>
            <p:spPr bwMode="auto">
              <a:xfrm>
                <a:off x="3150" y="2445"/>
                <a:ext cx="59" cy="7"/>
              </a:xfrm>
              <a:custGeom>
                <a:avLst/>
                <a:gdLst>
                  <a:gd name="T0" fmla="*/ 2 w 25"/>
                  <a:gd name="T1" fmla="*/ 3 h 3"/>
                  <a:gd name="T2" fmla="*/ 3 w 25"/>
                  <a:gd name="T3" fmla="*/ 3 h 3"/>
                  <a:gd name="T4" fmla="*/ 12 w 25"/>
                  <a:gd name="T5" fmla="*/ 2 h 3"/>
                  <a:gd name="T6" fmla="*/ 13 w 25"/>
                  <a:gd name="T7" fmla="*/ 1 h 3"/>
                  <a:gd name="T8" fmla="*/ 16 w 25"/>
                  <a:gd name="T9" fmla="*/ 0 h 3"/>
                  <a:gd name="T10" fmla="*/ 19 w 25"/>
                  <a:gd name="T11" fmla="*/ 2 h 3"/>
                  <a:gd name="T12" fmla="*/ 19 w 25"/>
                  <a:gd name="T13" fmla="*/ 2 h 3"/>
                  <a:gd name="T14" fmla="*/ 22 w 25"/>
                  <a:gd name="T15" fmla="*/ 3 h 3"/>
                  <a:gd name="T16" fmla="*/ 25 w 25"/>
                  <a:gd name="T17" fmla="*/ 3 h 3"/>
                  <a:gd name="T18" fmla="*/ 25 w 25"/>
                  <a:gd name="T19" fmla="*/ 3 h 3"/>
                  <a:gd name="T20" fmla="*/ 25 w 25"/>
                  <a:gd name="T21" fmla="*/ 3 h 3"/>
                  <a:gd name="T22" fmla="*/ 24 w 25"/>
                  <a:gd name="T23" fmla="*/ 3 h 3"/>
                  <a:gd name="T24" fmla="*/ 23 w 25"/>
                  <a:gd name="T25" fmla="*/ 3 h 3"/>
                  <a:gd name="T26" fmla="*/ 23 w 25"/>
                  <a:gd name="T27" fmla="*/ 3 h 3"/>
                  <a:gd name="T28" fmla="*/ 22 w 25"/>
                  <a:gd name="T29" fmla="*/ 3 h 3"/>
                  <a:gd name="T30" fmla="*/ 22 w 25"/>
                  <a:gd name="T31" fmla="*/ 3 h 3"/>
                  <a:gd name="T32" fmla="*/ 22 w 25"/>
                  <a:gd name="T33" fmla="*/ 3 h 3"/>
                  <a:gd name="T34" fmla="*/ 21 w 25"/>
                  <a:gd name="T35" fmla="*/ 2 h 3"/>
                  <a:gd name="T36" fmla="*/ 20 w 25"/>
                  <a:gd name="T37" fmla="*/ 2 h 3"/>
                  <a:gd name="T38" fmla="*/ 19 w 25"/>
                  <a:gd name="T39" fmla="*/ 1 h 3"/>
                  <a:gd name="T40" fmla="*/ 17 w 25"/>
                  <a:gd name="T41" fmla="*/ 0 h 3"/>
                  <a:gd name="T42" fmla="*/ 15 w 25"/>
                  <a:gd name="T43" fmla="*/ 0 h 3"/>
                  <a:gd name="T44" fmla="*/ 13 w 25"/>
                  <a:gd name="T45" fmla="*/ 0 h 3"/>
                  <a:gd name="T46" fmla="*/ 12 w 25"/>
                  <a:gd name="T47" fmla="*/ 1 h 3"/>
                  <a:gd name="T48" fmla="*/ 12 w 25"/>
                  <a:gd name="T49" fmla="*/ 1 h 3"/>
                  <a:gd name="T50" fmla="*/ 12 w 25"/>
                  <a:gd name="T51" fmla="*/ 1 h 3"/>
                  <a:gd name="T52" fmla="*/ 11 w 25"/>
                  <a:gd name="T53" fmla="*/ 2 h 3"/>
                  <a:gd name="T54" fmla="*/ 11 w 25"/>
                  <a:gd name="T55" fmla="*/ 1 h 3"/>
                  <a:gd name="T56" fmla="*/ 0 w 25"/>
                  <a:gd name="T57" fmla="*/ 2 h 3"/>
                  <a:gd name="T58" fmla="*/ 2 w 25"/>
                  <a:gd name="T5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
                    <a:moveTo>
                      <a:pt x="2" y="3"/>
                    </a:moveTo>
                    <a:cubicBezTo>
                      <a:pt x="3" y="3"/>
                      <a:pt x="3" y="3"/>
                      <a:pt x="3" y="3"/>
                    </a:cubicBezTo>
                    <a:cubicBezTo>
                      <a:pt x="6" y="2"/>
                      <a:pt x="9" y="2"/>
                      <a:pt x="12" y="2"/>
                    </a:cubicBezTo>
                    <a:cubicBezTo>
                      <a:pt x="12" y="2"/>
                      <a:pt x="12" y="1"/>
                      <a:pt x="13" y="1"/>
                    </a:cubicBezTo>
                    <a:cubicBezTo>
                      <a:pt x="13" y="0"/>
                      <a:pt x="14" y="0"/>
                      <a:pt x="16" y="0"/>
                    </a:cubicBezTo>
                    <a:cubicBezTo>
                      <a:pt x="17" y="1"/>
                      <a:pt x="18" y="1"/>
                      <a:pt x="19" y="2"/>
                    </a:cubicBezTo>
                    <a:cubicBezTo>
                      <a:pt x="19" y="2"/>
                      <a:pt x="19" y="2"/>
                      <a:pt x="19" y="2"/>
                    </a:cubicBezTo>
                    <a:cubicBezTo>
                      <a:pt x="20" y="2"/>
                      <a:pt x="21" y="3"/>
                      <a:pt x="22" y="3"/>
                    </a:cubicBezTo>
                    <a:cubicBezTo>
                      <a:pt x="23" y="3"/>
                      <a:pt x="24" y="3"/>
                      <a:pt x="25" y="3"/>
                    </a:cubicBezTo>
                    <a:cubicBezTo>
                      <a:pt x="25" y="3"/>
                      <a:pt x="25" y="3"/>
                      <a:pt x="25" y="3"/>
                    </a:cubicBezTo>
                    <a:cubicBezTo>
                      <a:pt x="25" y="3"/>
                      <a:pt x="25" y="3"/>
                      <a:pt x="25" y="3"/>
                    </a:cubicBezTo>
                    <a:cubicBezTo>
                      <a:pt x="24" y="3"/>
                      <a:pt x="24" y="3"/>
                      <a:pt x="24" y="3"/>
                    </a:cubicBezTo>
                    <a:cubicBezTo>
                      <a:pt x="23" y="3"/>
                      <a:pt x="23" y="3"/>
                      <a:pt x="23" y="3"/>
                    </a:cubicBezTo>
                    <a:cubicBezTo>
                      <a:pt x="23" y="3"/>
                      <a:pt x="23" y="3"/>
                      <a:pt x="23" y="3"/>
                    </a:cubicBezTo>
                    <a:cubicBezTo>
                      <a:pt x="23" y="3"/>
                      <a:pt x="23" y="3"/>
                      <a:pt x="22" y="3"/>
                    </a:cubicBezTo>
                    <a:cubicBezTo>
                      <a:pt x="22" y="3"/>
                      <a:pt x="22" y="3"/>
                      <a:pt x="22" y="3"/>
                    </a:cubicBezTo>
                    <a:cubicBezTo>
                      <a:pt x="22" y="3"/>
                      <a:pt x="22" y="3"/>
                      <a:pt x="22" y="3"/>
                    </a:cubicBezTo>
                    <a:cubicBezTo>
                      <a:pt x="21" y="3"/>
                      <a:pt x="21" y="3"/>
                      <a:pt x="21" y="2"/>
                    </a:cubicBezTo>
                    <a:cubicBezTo>
                      <a:pt x="21" y="2"/>
                      <a:pt x="20" y="2"/>
                      <a:pt x="20" y="2"/>
                    </a:cubicBezTo>
                    <a:cubicBezTo>
                      <a:pt x="20" y="2"/>
                      <a:pt x="19" y="1"/>
                      <a:pt x="19" y="1"/>
                    </a:cubicBezTo>
                    <a:cubicBezTo>
                      <a:pt x="18" y="1"/>
                      <a:pt x="17" y="0"/>
                      <a:pt x="17" y="0"/>
                    </a:cubicBezTo>
                    <a:cubicBezTo>
                      <a:pt x="16" y="0"/>
                      <a:pt x="16" y="0"/>
                      <a:pt x="15" y="0"/>
                    </a:cubicBezTo>
                    <a:cubicBezTo>
                      <a:pt x="15" y="0"/>
                      <a:pt x="13" y="0"/>
                      <a:pt x="13" y="0"/>
                    </a:cubicBezTo>
                    <a:cubicBezTo>
                      <a:pt x="13" y="0"/>
                      <a:pt x="12" y="0"/>
                      <a:pt x="12" y="1"/>
                    </a:cubicBezTo>
                    <a:cubicBezTo>
                      <a:pt x="12" y="1"/>
                      <a:pt x="12" y="1"/>
                      <a:pt x="12" y="1"/>
                    </a:cubicBezTo>
                    <a:cubicBezTo>
                      <a:pt x="12" y="1"/>
                      <a:pt x="12" y="1"/>
                      <a:pt x="12" y="1"/>
                    </a:cubicBezTo>
                    <a:cubicBezTo>
                      <a:pt x="11" y="2"/>
                      <a:pt x="11" y="2"/>
                      <a:pt x="11" y="2"/>
                    </a:cubicBezTo>
                    <a:cubicBezTo>
                      <a:pt x="11" y="1"/>
                      <a:pt x="11" y="1"/>
                      <a:pt x="11" y="1"/>
                    </a:cubicBezTo>
                    <a:cubicBezTo>
                      <a:pt x="6" y="2"/>
                      <a:pt x="2" y="2"/>
                      <a:pt x="0" y="2"/>
                    </a:cubicBezTo>
                    <a:cubicBezTo>
                      <a:pt x="1" y="3"/>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9" name="Freeform 3081">
                <a:extLst>
                  <a:ext uri="{FF2B5EF4-FFF2-40B4-BE49-F238E27FC236}">
                    <a16:creationId xmlns:a16="http://schemas.microsoft.com/office/drawing/2014/main" id="{4E2E92CC-1114-44AF-A4B3-64C7911C7535}"/>
                  </a:ext>
                </a:extLst>
              </p:cNvPr>
              <p:cNvSpPr>
                <a:spLocks/>
              </p:cNvSpPr>
              <p:nvPr/>
            </p:nvSpPr>
            <p:spPr bwMode="auto">
              <a:xfrm>
                <a:off x="3142" y="2450"/>
                <a:ext cx="36" cy="7"/>
              </a:xfrm>
              <a:custGeom>
                <a:avLst/>
                <a:gdLst>
                  <a:gd name="T0" fmla="*/ 1 w 15"/>
                  <a:gd name="T1" fmla="*/ 3 h 3"/>
                  <a:gd name="T2" fmla="*/ 3 w 15"/>
                  <a:gd name="T3" fmla="*/ 3 h 3"/>
                  <a:gd name="T4" fmla="*/ 9 w 15"/>
                  <a:gd name="T5" fmla="*/ 2 h 3"/>
                  <a:gd name="T6" fmla="*/ 9 w 15"/>
                  <a:gd name="T7" fmla="*/ 2 h 3"/>
                  <a:gd name="T8" fmla="*/ 9 w 15"/>
                  <a:gd name="T9" fmla="*/ 2 h 3"/>
                  <a:gd name="T10" fmla="*/ 10 w 15"/>
                  <a:gd name="T11" fmla="*/ 1 h 3"/>
                  <a:gd name="T12" fmla="*/ 11 w 15"/>
                  <a:gd name="T13" fmla="*/ 1 h 3"/>
                  <a:gd name="T14" fmla="*/ 12 w 15"/>
                  <a:gd name="T15" fmla="*/ 1 h 3"/>
                  <a:gd name="T16" fmla="*/ 12 w 15"/>
                  <a:gd name="T17" fmla="*/ 1 h 3"/>
                  <a:gd name="T18" fmla="*/ 13 w 15"/>
                  <a:gd name="T19" fmla="*/ 1 h 3"/>
                  <a:gd name="T20" fmla="*/ 15 w 15"/>
                  <a:gd name="T21" fmla="*/ 0 h 3"/>
                  <a:gd name="T22" fmla="*/ 15 w 15"/>
                  <a:gd name="T23" fmla="*/ 0 h 3"/>
                  <a:gd name="T24" fmla="*/ 8 w 15"/>
                  <a:gd name="T25" fmla="*/ 0 h 3"/>
                  <a:gd name="T26" fmla="*/ 7 w 15"/>
                  <a:gd name="T27" fmla="*/ 2 h 3"/>
                  <a:gd name="T28" fmla="*/ 3 w 15"/>
                  <a:gd name="T29" fmla="*/ 2 h 3"/>
                  <a:gd name="T30" fmla="*/ 1 w 15"/>
                  <a:gd name="T31" fmla="*/ 0 h 3"/>
                  <a:gd name="T32" fmla="*/ 0 w 15"/>
                  <a:gd name="T33" fmla="*/ 3 h 3"/>
                  <a:gd name="T34" fmla="*/ 0 w 15"/>
                  <a:gd name="T35" fmla="*/ 3 h 3"/>
                  <a:gd name="T36" fmla="*/ 1 w 15"/>
                  <a:gd name="T3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3">
                    <a:moveTo>
                      <a:pt x="1" y="3"/>
                    </a:moveTo>
                    <a:cubicBezTo>
                      <a:pt x="1" y="3"/>
                      <a:pt x="2" y="3"/>
                      <a:pt x="3" y="3"/>
                    </a:cubicBezTo>
                    <a:cubicBezTo>
                      <a:pt x="9" y="2"/>
                      <a:pt x="9" y="2"/>
                      <a:pt x="9" y="2"/>
                    </a:cubicBezTo>
                    <a:cubicBezTo>
                      <a:pt x="9" y="2"/>
                      <a:pt x="9" y="2"/>
                      <a:pt x="9" y="2"/>
                    </a:cubicBezTo>
                    <a:cubicBezTo>
                      <a:pt x="9" y="2"/>
                      <a:pt x="9" y="2"/>
                      <a:pt x="9" y="2"/>
                    </a:cubicBezTo>
                    <a:cubicBezTo>
                      <a:pt x="10" y="1"/>
                      <a:pt x="10" y="1"/>
                      <a:pt x="10" y="1"/>
                    </a:cubicBezTo>
                    <a:cubicBezTo>
                      <a:pt x="11" y="1"/>
                      <a:pt x="11" y="1"/>
                      <a:pt x="11" y="1"/>
                    </a:cubicBezTo>
                    <a:cubicBezTo>
                      <a:pt x="12" y="1"/>
                      <a:pt x="12" y="1"/>
                      <a:pt x="12" y="1"/>
                    </a:cubicBezTo>
                    <a:cubicBezTo>
                      <a:pt x="12" y="1"/>
                      <a:pt x="12" y="1"/>
                      <a:pt x="12" y="1"/>
                    </a:cubicBezTo>
                    <a:cubicBezTo>
                      <a:pt x="12" y="1"/>
                      <a:pt x="12" y="1"/>
                      <a:pt x="13" y="1"/>
                    </a:cubicBezTo>
                    <a:cubicBezTo>
                      <a:pt x="14" y="0"/>
                      <a:pt x="15" y="0"/>
                      <a:pt x="15" y="0"/>
                    </a:cubicBezTo>
                    <a:cubicBezTo>
                      <a:pt x="15" y="0"/>
                      <a:pt x="15" y="0"/>
                      <a:pt x="15" y="0"/>
                    </a:cubicBezTo>
                    <a:cubicBezTo>
                      <a:pt x="13" y="0"/>
                      <a:pt x="11" y="0"/>
                      <a:pt x="8" y="0"/>
                    </a:cubicBezTo>
                    <a:cubicBezTo>
                      <a:pt x="7" y="0"/>
                      <a:pt x="5" y="1"/>
                      <a:pt x="7" y="2"/>
                    </a:cubicBezTo>
                    <a:cubicBezTo>
                      <a:pt x="5" y="2"/>
                      <a:pt x="4" y="3"/>
                      <a:pt x="3" y="2"/>
                    </a:cubicBezTo>
                    <a:cubicBezTo>
                      <a:pt x="2" y="1"/>
                      <a:pt x="2" y="0"/>
                      <a:pt x="1" y="0"/>
                    </a:cubicBezTo>
                    <a:cubicBezTo>
                      <a:pt x="0" y="1"/>
                      <a:pt x="0" y="2"/>
                      <a:pt x="0" y="3"/>
                    </a:cubicBezTo>
                    <a:cubicBezTo>
                      <a:pt x="0" y="3"/>
                      <a:pt x="0" y="3"/>
                      <a:pt x="0" y="3"/>
                    </a:cubicBezTo>
                    <a:lnTo>
                      <a:pt x="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0" name="Freeform 3082">
                <a:extLst>
                  <a:ext uri="{FF2B5EF4-FFF2-40B4-BE49-F238E27FC236}">
                    <a16:creationId xmlns:a16="http://schemas.microsoft.com/office/drawing/2014/main" id="{5EF12804-8F68-4C2C-AA01-A8E91B8CE812}"/>
                  </a:ext>
                </a:extLst>
              </p:cNvPr>
              <p:cNvSpPr>
                <a:spLocks/>
              </p:cNvSpPr>
              <p:nvPr/>
            </p:nvSpPr>
            <p:spPr bwMode="auto">
              <a:xfrm>
                <a:off x="3325" y="1648"/>
                <a:ext cx="305" cy="220"/>
              </a:xfrm>
              <a:custGeom>
                <a:avLst/>
                <a:gdLst>
                  <a:gd name="T0" fmla="*/ 127 w 129"/>
                  <a:gd name="T1" fmla="*/ 17 h 93"/>
                  <a:gd name="T2" fmla="*/ 122 w 129"/>
                  <a:gd name="T3" fmla="*/ 18 h 93"/>
                  <a:gd name="T4" fmla="*/ 114 w 129"/>
                  <a:gd name="T5" fmla="*/ 17 h 93"/>
                  <a:gd name="T6" fmla="*/ 106 w 129"/>
                  <a:gd name="T7" fmla="*/ 14 h 93"/>
                  <a:gd name="T8" fmla="*/ 103 w 129"/>
                  <a:gd name="T9" fmla="*/ 13 h 93"/>
                  <a:gd name="T10" fmla="*/ 97 w 129"/>
                  <a:gd name="T11" fmla="*/ 14 h 93"/>
                  <a:gd name="T12" fmla="*/ 92 w 129"/>
                  <a:gd name="T13" fmla="*/ 13 h 93"/>
                  <a:gd name="T14" fmla="*/ 88 w 129"/>
                  <a:gd name="T15" fmla="*/ 12 h 93"/>
                  <a:gd name="T16" fmla="*/ 84 w 129"/>
                  <a:gd name="T17" fmla="*/ 11 h 93"/>
                  <a:gd name="T18" fmla="*/ 80 w 129"/>
                  <a:gd name="T19" fmla="*/ 10 h 93"/>
                  <a:gd name="T20" fmla="*/ 79 w 129"/>
                  <a:gd name="T21" fmla="*/ 7 h 93"/>
                  <a:gd name="T22" fmla="*/ 76 w 129"/>
                  <a:gd name="T23" fmla="*/ 5 h 93"/>
                  <a:gd name="T24" fmla="*/ 59 w 129"/>
                  <a:gd name="T25" fmla="*/ 3 h 93"/>
                  <a:gd name="T26" fmla="*/ 38 w 129"/>
                  <a:gd name="T27" fmla="*/ 2 h 93"/>
                  <a:gd name="T28" fmla="*/ 23 w 129"/>
                  <a:gd name="T29" fmla="*/ 3 h 93"/>
                  <a:gd name="T30" fmla="*/ 11 w 129"/>
                  <a:gd name="T31" fmla="*/ 1 h 93"/>
                  <a:gd name="T32" fmla="*/ 9 w 129"/>
                  <a:gd name="T33" fmla="*/ 5 h 93"/>
                  <a:gd name="T34" fmla="*/ 2 w 129"/>
                  <a:gd name="T35" fmla="*/ 7 h 93"/>
                  <a:gd name="T36" fmla="*/ 2 w 129"/>
                  <a:gd name="T37" fmla="*/ 12 h 93"/>
                  <a:gd name="T38" fmla="*/ 4 w 129"/>
                  <a:gd name="T39" fmla="*/ 16 h 93"/>
                  <a:gd name="T40" fmla="*/ 4 w 129"/>
                  <a:gd name="T41" fmla="*/ 20 h 93"/>
                  <a:gd name="T42" fmla="*/ 10 w 129"/>
                  <a:gd name="T43" fmla="*/ 19 h 93"/>
                  <a:gd name="T44" fmla="*/ 13 w 129"/>
                  <a:gd name="T45" fmla="*/ 21 h 93"/>
                  <a:gd name="T46" fmla="*/ 17 w 129"/>
                  <a:gd name="T47" fmla="*/ 22 h 93"/>
                  <a:gd name="T48" fmla="*/ 22 w 129"/>
                  <a:gd name="T49" fmla="*/ 21 h 93"/>
                  <a:gd name="T50" fmla="*/ 26 w 129"/>
                  <a:gd name="T51" fmla="*/ 21 h 93"/>
                  <a:gd name="T52" fmla="*/ 27 w 129"/>
                  <a:gd name="T53" fmla="*/ 21 h 93"/>
                  <a:gd name="T54" fmla="*/ 29 w 129"/>
                  <a:gd name="T55" fmla="*/ 24 h 93"/>
                  <a:gd name="T56" fmla="*/ 33 w 129"/>
                  <a:gd name="T57" fmla="*/ 26 h 93"/>
                  <a:gd name="T58" fmla="*/ 28 w 129"/>
                  <a:gd name="T59" fmla="*/ 32 h 93"/>
                  <a:gd name="T60" fmla="*/ 26 w 129"/>
                  <a:gd name="T61" fmla="*/ 34 h 93"/>
                  <a:gd name="T62" fmla="*/ 26 w 129"/>
                  <a:gd name="T63" fmla="*/ 40 h 93"/>
                  <a:gd name="T64" fmla="*/ 24 w 129"/>
                  <a:gd name="T65" fmla="*/ 51 h 93"/>
                  <a:gd name="T66" fmla="*/ 22 w 129"/>
                  <a:gd name="T67" fmla="*/ 54 h 93"/>
                  <a:gd name="T68" fmla="*/ 25 w 129"/>
                  <a:gd name="T69" fmla="*/ 57 h 93"/>
                  <a:gd name="T70" fmla="*/ 23 w 129"/>
                  <a:gd name="T71" fmla="*/ 61 h 93"/>
                  <a:gd name="T72" fmla="*/ 22 w 129"/>
                  <a:gd name="T73" fmla="*/ 63 h 93"/>
                  <a:gd name="T74" fmla="*/ 23 w 129"/>
                  <a:gd name="T75" fmla="*/ 66 h 93"/>
                  <a:gd name="T76" fmla="*/ 25 w 129"/>
                  <a:gd name="T77" fmla="*/ 69 h 93"/>
                  <a:gd name="T78" fmla="*/ 20 w 129"/>
                  <a:gd name="T79" fmla="*/ 73 h 93"/>
                  <a:gd name="T80" fmla="*/ 23 w 129"/>
                  <a:gd name="T81" fmla="*/ 79 h 93"/>
                  <a:gd name="T82" fmla="*/ 29 w 129"/>
                  <a:gd name="T83" fmla="*/ 83 h 93"/>
                  <a:gd name="T84" fmla="*/ 30 w 129"/>
                  <a:gd name="T85" fmla="*/ 87 h 93"/>
                  <a:gd name="T86" fmla="*/ 40 w 129"/>
                  <a:gd name="T87" fmla="*/ 91 h 93"/>
                  <a:gd name="T88" fmla="*/ 50 w 129"/>
                  <a:gd name="T89" fmla="*/ 85 h 93"/>
                  <a:gd name="T90" fmla="*/ 70 w 129"/>
                  <a:gd name="T91" fmla="*/ 84 h 93"/>
                  <a:gd name="T92" fmla="*/ 82 w 129"/>
                  <a:gd name="T93" fmla="*/ 76 h 93"/>
                  <a:gd name="T94" fmla="*/ 86 w 129"/>
                  <a:gd name="T95" fmla="*/ 73 h 93"/>
                  <a:gd name="T96" fmla="*/ 92 w 129"/>
                  <a:gd name="T97" fmla="*/ 53 h 93"/>
                  <a:gd name="T98" fmla="*/ 105 w 129"/>
                  <a:gd name="T99" fmla="*/ 33 h 93"/>
                  <a:gd name="T100" fmla="*/ 117 w 129"/>
                  <a:gd name="T101" fmla="*/ 26 h 93"/>
                  <a:gd name="T102" fmla="*/ 127 w 129"/>
                  <a:gd name="T103" fmla="*/ 2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9" h="93">
                    <a:moveTo>
                      <a:pt x="129" y="18"/>
                    </a:moveTo>
                    <a:cubicBezTo>
                      <a:pt x="129" y="17"/>
                      <a:pt x="128" y="17"/>
                      <a:pt x="128" y="17"/>
                    </a:cubicBezTo>
                    <a:cubicBezTo>
                      <a:pt x="128" y="17"/>
                      <a:pt x="128" y="17"/>
                      <a:pt x="128" y="17"/>
                    </a:cubicBezTo>
                    <a:cubicBezTo>
                      <a:pt x="127" y="17"/>
                      <a:pt x="127" y="17"/>
                      <a:pt x="127" y="17"/>
                    </a:cubicBezTo>
                    <a:cubicBezTo>
                      <a:pt x="127" y="17"/>
                      <a:pt x="127" y="17"/>
                      <a:pt x="127" y="17"/>
                    </a:cubicBezTo>
                    <a:cubicBezTo>
                      <a:pt x="123" y="18"/>
                      <a:pt x="123" y="18"/>
                      <a:pt x="123" y="18"/>
                    </a:cubicBezTo>
                    <a:cubicBezTo>
                      <a:pt x="123" y="18"/>
                      <a:pt x="122" y="18"/>
                      <a:pt x="122" y="18"/>
                    </a:cubicBezTo>
                    <a:cubicBezTo>
                      <a:pt x="122" y="18"/>
                      <a:pt x="122" y="18"/>
                      <a:pt x="122" y="18"/>
                    </a:cubicBezTo>
                    <a:cubicBezTo>
                      <a:pt x="122" y="19"/>
                      <a:pt x="121" y="19"/>
                      <a:pt x="121" y="19"/>
                    </a:cubicBezTo>
                    <a:cubicBezTo>
                      <a:pt x="120" y="19"/>
                      <a:pt x="120" y="18"/>
                      <a:pt x="120" y="18"/>
                    </a:cubicBezTo>
                    <a:cubicBezTo>
                      <a:pt x="118" y="18"/>
                      <a:pt x="116" y="18"/>
                      <a:pt x="115" y="17"/>
                    </a:cubicBezTo>
                    <a:cubicBezTo>
                      <a:pt x="114" y="17"/>
                      <a:pt x="114" y="17"/>
                      <a:pt x="114" y="17"/>
                    </a:cubicBezTo>
                    <a:cubicBezTo>
                      <a:pt x="114" y="17"/>
                      <a:pt x="114" y="17"/>
                      <a:pt x="114" y="17"/>
                    </a:cubicBezTo>
                    <a:cubicBezTo>
                      <a:pt x="113" y="17"/>
                      <a:pt x="112" y="16"/>
                      <a:pt x="112" y="16"/>
                    </a:cubicBezTo>
                    <a:cubicBezTo>
                      <a:pt x="112" y="16"/>
                      <a:pt x="112" y="16"/>
                      <a:pt x="112" y="15"/>
                    </a:cubicBezTo>
                    <a:cubicBezTo>
                      <a:pt x="109" y="15"/>
                      <a:pt x="108" y="14"/>
                      <a:pt x="106" y="14"/>
                    </a:cubicBezTo>
                    <a:cubicBezTo>
                      <a:pt x="105" y="13"/>
                      <a:pt x="105" y="13"/>
                      <a:pt x="105" y="13"/>
                    </a:cubicBezTo>
                    <a:cubicBezTo>
                      <a:pt x="104" y="13"/>
                      <a:pt x="104" y="13"/>
                      <a:pt x="104" y="13"/>
                    </a:cubicBezTo>
                    <a:cubicBezTo>
                      <a:pt x="104" y="13"/>
                      <a:pt x="103" y="13"/>
                      <a:pt x="103" y="12"/>
                    </a:cubicBezTo>
                    <a:cubicBezTo>
                      <a:pt x="103" y="13"/>
                      <a:pt x="103" y="13"/>
                      <a:pt x="103" y="13"/>
                    </a:cubicBezTo>
                    <a:cubicBezTo>
                      <a:pt x="103" y="13"/>
                      <a:pt x="103" y="13"/>
                      <a:pt x="103" y="13"/>
                    </a:cubicBezTo>
                    <a:cubicBezTo>
                      <a:pt x="103" y="14"/>
                      <a:pt x="103" y="14"/>
                      <a:pt x="103" y="14"/>
                    </a:cubicBezTo>
                    <a:cubicBezTo>
                      <a:pt x="102" y="14"/>
                      <a:pt x="102" y="14"/>
                      <a:pt x="102" y="14"/>
                    </a:cubicBezTo>
                    <a:cubicBezTo>
                      <a:pt x="100" y="14"/>
                      <a:pt x="99" y="14"/>
                      <a:pt x="97" y="14"/>
                    </a:cubicBezTo>
                    <a:cubicBezTo>
                      <a:pt x="95" y="14"/>
                      <a:pt x="95" y="14"/>
                      <a:pt x="95" y="14"/>
                    </a:cubicBezTo>
                    <a:cubicBezTo>
                      <a:pt x="95" y="14"/>
                      <a:pt x="95" y="14"/>
                      <a:pt x="95" y="14"/>
                    </a:cubicBezTo>
                    <a:cubicBezTo>
                      <a:pt x="94" y="14"/>
                      <a:pt x="94" y="14"/>
                      <a:pt x="94" y="14"/>
                    </a:cubicBezTo>
                    <a:cubicBezTo>
                      <a:pt x="93" y="14"/>
                      <a:pt x="93" y="13"/>
                      <a:pt x="92" y="13"/>
                    </a:cubicBezTo>
                    <a:cubicBezTo>
                      <a:pt x="92" y="13"/>
                      <a:pt x="92" y="13"/>
                      <a:pt x="92" y="13"/>
                    </a:cubicBezTo>
                    <a:cubicBezTo>
                      <a:pt x="92" y="13"/>
                      <a:pt x="92" y="12"/>
                      <a:pt x="91" y="12"/>
                    </a:cubicBezTo>
                    <a:cubicBezTo>
                      <a:pt x="91" y="12"/>
                      <a:pt x="91" y="12"/>
                      <a:pt x="91" y="13"/>
                    </a:cubicBezTo>
                    <a:cubicBezTo>
                      <a:pt x="89" y="13"/>
                      <a:pt x="89" y="13"/>
                      <a:pt x="88" y="12"/>
                    </a:cubicBezTo>
                    <a:cubicBezTo>
                      <a:pt x="88" y="12"/>
                      <a:pt x="87" y="11"/>
                      <a:pt x="87" y="11"/>
                    </a:cubicBezTo>
                    <a:cubicBezTo>
                      <a:pt x="87" y="11"/>
                      <a:pt x="87" y="11"/>
                      <a:pt x="87" y="11"/>
                    </a:cubicBezTo>
                    <a:cubicBezTo>
                      <a:pt x="87" y="11"/>
                      <a:pt x="86" y="11"/>
                      <a:pt x="86" y="11"/>
                    </a:cubicBezTo>
                    <a:cubicBezTo>
                      <a:pt x="86" y="11"/>
                      <a:pt x="85" y="11"/>
                      <a:pt x="84" y="11"/>
                    </a:cubicBezTo>
                    <a:cubicBezTo>
                      <a:pt x="84" y="10"/>
                      <a:pt x="83" y="10"/>
                      <a:pt x="83" y="10"/>
                    </a:cubicBezTo>
                    <a:cubicBezTo>
                      <a:pt x="82" y="10"/>
                      <a:pt x="82" y="10"/>
                      <a:pt x="82" y="10"/>
                    </a:cubicBezTo>
                    <a:cubicBezTo>
                      <a:pt x="82" y="10"/>
                      <a:pt x="82" y="10"/>
                      <a:pt x="82" y="10"/>
                    </a:cubicBezTo>
                    <a:cubicBezTo>
                      <a:pt x="81" y="10"/>
                      <a:pt x="80" y="10"/>
                      <a:pt x="80" y="10"/>
                    </a:cubicBezTo>
                    <a:cubicBezTo>
                      <a:pt x="79" y="9"/>
                      <a:pt x="79" y="7"/>
                      <a:pt x="79" y="7"/>
                    </a:cubicBezTo>
                    <a:cubicBezTo>
                      <a:pt x="79" y="7"/>
                      <a:pt x="79" y="7"/>
                      <a:pt x="79" y="7"/>
                    </a:cubicBezTo>
                    <a:cubicBezTo>
                      <a:pt x="79" y="7"/>
                      <a:pt x="79" y="7"/>
                      <a:pt x="79" y="7"/>
                    </a:cubicBezTo>
                    <a:cubicBezTo>
                      <a:pt x="79" y="7"/>
                      <a:pt x="79" y="7"/>
                      <a:pt x="79" y="7"/>
                    </a:cubicBezTo>
                    <a:cubicBezTo>
                      <a:pt x="78" y="7"/>
                      <a:pt x="78" y="7"/>
                      <a:pt x="78" y="7"/>
                    </a:cubicBezTo>
                    <a:cubicBezTo>
                      <a:pt x="77" y="7"/>
                      <a:pt x="76" y="6"/>
                      <a:pt x="76" y="6"/>
                    </a:cubicBezTo>
                    <a:cubicBezTo>
                      <a:pt x="75" y="5"/>
                      <a:pt x="75" y="5"/>
                      <a:pt x="75" y="5"/>
                    </a:cubicBezTo>
                    <a:cubicBezTo>
                      <a:pt x="76" y="5"/>
                      <a:pt x="76" y="5"/>
                      <a:pt x="76" y="5"/>
                    </a:cubicBezTo>
                    <a:cubicBezTo>
                      <a:pt x="74" y="4"/>
                      <a:pt x="72" y="5"/>
                      <a:pt x="70" y="5"/>
                    </a:cubicBezTo>
                    <a:cubicBezTo>
                      <a:pt x="68" y="5"/>
                      <a:pt x="67" y="3"/>
                      <a:pt x="65" y="4"/>
                    </a:cubicBezTo>
                    <a:cubicBezTo>
                      <a:pt x="63" y="5"/>
                      <a:pt x="62" y="5"/>
                      <a:pt x="60" y="4"/>
                    </a:cubicBezTo>
                    <a:cubicBezTo>
                      <a:pt x="60" y="3"/>
                      <a:pt x="59" y="3"/>
                      <a:pt x="59" y="3"/>
                    </a:cubicBezTo>
                    <a:cubicBezTo>
                      <a:pt x="57" y="3"/>
                      <a:pt x="55" y="3"/>
                      <a:pt x="53" y="4"/>
                    </a:cubicBezTo>
                    <a:cubicBezTo>
                      <a:pt x="52" y="4"/>
                      <a:pt x="50" y="4"/>
                      <a:pt x="49" y="4"/>
                    </a:cubicBezTo>
                    <a:cubicBezTo>
                      <a:pt x="47" y="4"/>
                      <a:pt x="45" y="3"/>
                      <a:pt x="44" y="3"/>
                    </a:cubicBezTo>
                    <a:cubicBezTo>
                      <a:pt x="42" y="3"/>
                      <a:pt x="40" y="2"/>
                      <a:pt x="38" y="2"/>
                    </a:cubicBezTo>
                    <a:cubicBezTo>
                      <a:pt x="36" y="2"/>
                      <a:pt x="36" y="1"/>
                      <a:pt x="35" y="1"/>
                    </a:cubicBezTo>
                    <a:cubicBezTo>
                      <a:pt x="35" y="1"/>
                      <a:pt x="34" y="1"/>
                      <a:pt x="33" y="1"/>
                    </a:cubicBezTo>
                    <a:cubicBezTo>
                      <a:pt x="31" y="2"/>
                      <a:pt x="29" y="2"/>
                      <a:pt x="27" y="2"/>
                    </a:cubicBezTo>
                    <a:cubicBezTo>
                      <a:pt x="26" y="3"/>
                      <a:pt x="24" y="3"/>
                      <a:pt x="23" y="3"/>
                    </a:cubicBezTo>
                    <a:cubicBezTo>
                      <a:pt x="22" y="3"/>
                      <a:pt x="20" y="1"/>
                      <a:pt x="19" y="0"/>
                    </a:cubicBezTo>
                    <a:cubicBezTo>
                      <a:pt x="18" y="0"/>
                      <a:pt x="16" y="0"/>
                      <a:pt x="15" y="1"/>
                    </a:cubicBezTo>
                    <a:cubicBezTo>
                      <a:pt x="14" y="1"/>
                      <a:pt x="14" y="0"/>
                      <a:pt x="15" y="0"/>
                    </a:cubicBezTo>
                    <a:cubicBezTo>
                      <a:pt x="13" y="0"/>
                      <a:pt x="12" y="1"/>
                      <a:pt x="11" y="1"/>
                    </a:cubicBezTo>
                    <a:cubicBezTo>
                      <a:pt x="11" y="2"/>
                      <a:pt x="11" y="2"/>
                      <a:pt x="10" y="2"/>
                    </a:cubicBezTo>
                    <a:cubicBezTo>
                      <a:pt x="10" y="3"/>
                      <a:pt x="11" y="4"/>
                      <a:pt x="11" y="3"/>
                    </a:cubicBezTo>
                    <a:cubicBezTo>
                      <a:pt x="11" y="3"/>
                      <a:pt x="11" y="4"/>
                      <a:pt x="11" y="4"/>
                    </a:cubicBezTo>
                    <a:cubicBezTo>
                      <a:pt x="11" y="4"/>
                      <a:pt x="10" y="4"/>
                      <a:pt x="9" y="5"/>
                    </a:cubicBezTo>
                    <a:cubicBezTo>
                      <a:pt x="9" y="5"/>
                      <a:pt x="9" y="4"/>
                      <a:pt x="9" y="4"/>
                    </a:cubicBezTo>
                    <a:cubicBezTo>
                      <a:pt x="8" y="5"/>
                      <a:pt x="8" y="5"/>
                      <a:pt x="7" y="5"/>
                    </a:cubicBezTo>
                    <a:cubicBezTo>
                      <a:pt x="6" y="5"/>
                      <a:pt x="6" y="5"/>
                      <a:pt x="5" y="5"/>
                    </a:cubicBezTo>
                    <a:cubicBezTo>
                      <a:pt x="4" y="5"/>
                      <a:pt x="3" y="6"/>
                      <a:pt x="2" y="7"/>
                    </a:cubicBezTo>
                    <a:cubicBezTo>
                      <a:pt x="2" y="7"/>
                      <a:pt x="2" y="7"/>
                      <a:pt x="1" y="7"/>
                    </a:cubicBezTo>
                    <a:cubicBezTo>
                      <a:pt x="1" y="8"/>
                      <a:pt x="1" y="8"/>
                      <a:pt x="0" y="9"/>
                    </a:cubicBezTo>
                    <a:cubicBezTo>
                      <a:pt x="0" y="9"/>
                      <a:pt x="0" y="9"/>
                      <a:pt x="0" y="10"/>
                    </a:cubicBezTo>
                    <a:cubicBezTo>
                      <a:pt x="0" y="11"/>
                      <a:pt x="1" y="11"/>
                      <a:pt x="2" y="12"/>
                    </a:cubicBezTo>
                    <a:cubicBezTo>
                      <a:pt x="3" y="13"/>
                      <a:pt x="3" y="13"/>
                      <a:pt x="2" y="14"/>
                    </a:cubicBezTo>
                    <a:cubicBezTo>
                      <a:pt x="3" y="15"/>
                      <a:pt x="5" y="13"/>
                      <a:pt x="6" y="13"/>
                    </a:cubicBezTo>
                    <a:cubicBezTo>
                      <a:pt x="5" y="14"/>
                      <a:pt x="5" y="15"/>
                      <a:pt x="4" y="16"/>
                    </a:cubicBezTo>
                    <a:cubicBezTo>
                      <a:pt x="4" y="15"/>
                      <a:pt x="4" y="15"/>
                      <a:pt x="4" y="16"/>
                    </a:cubicBezTo>
                    <a:cubicBezTo>
                      <a:pt x="5" y="17"/>
                      <a:pt x="5" y="16"/>
                      <a:pt x="6" y="16"/>
                    </a:cubicBezTo>
                    <a:cubicBezTo>
                      <a:pt x="6" y="17"/>
                      <a:pt x="5" y="17"/>
                      <a:pt x="5" y="18"/>
                    </a:cubicBezTo>
                    <a:cubicBezTo>
                      <a:pt x="4" y="19"/>
                      <a:pt x="6" y="18"/>
                      <a:pt x="6" y="18"/>
                    </a:cubicBezTo>
                    <a:cubicBezTo>
                      <a:pt x="6" y="19"/>
                      <a:pt x="5" y="19"/>
                      <a:pt x="4" y="20"/>
                    </a:cubicBezTo>
                    <a:cubicBezTo>
                      <a:pt x="4" y="20"/>
                      <a:pt x="4" y="21"/>
                      <a:pt x="4" y="22"/>
                    </a:cubicBezTo>
                    <a:cubicBezTo>
                      <a:pt x="5" y="21"/>
                      <a:pt x="7" y="20"/>
                      <a:pt x="8" y="19"/>
                    </a:cubicBezTo>
                    <a:cubicBezTo>
                      <a:pt x="9" y="19"/>
                      <a:pt x="9" y="19"/>
                      <a:pt x="10" y="19"/>
                    </a:cubicBezTo>
                    <a:cubicBezTo>
                      <a:pt x="10" y="19"/>
                      <a:pt x="10" y="19"/>
                      <a:pt x="10" y="19"/>
                    </a:cubicBezTo>
                    <a:cubicBezTo>
                      <a:pt x="10" y="19"/>
                      <a:pt x="11" y="19"/>
                      <a:pt x="11" y="18"/>
                    </a:cubicBezTo>
                    <a:cubicBezTo>
                      <a:pt x="12" y="18"/>
                      <a:pt x="12" y="18"/>
                      <a:pt x="12" y="18"/>
                    </a:cubicBezTo>
                    <a:cubicBezTo>
                      <a:pt x="12" y="19"/>
                      <a:pt x="12" y="19"/>
                      <a:pt x="12" y="19"/>
                    </a:cubicBezTo>
                    <a:cubicBezTo>
                      <a:pt x="13" y="20"/>
                      <a:pt x="14" y="20"/>
                      <a:pt x="13" y="21"/>
                    </a:cubicBezTo>
                    <a:cubicBezTo>
                      <a:pt x="13" y="21"/>
                      <a:pt x="13" y="21"/>
                      <a:pt x="13" y="21"/>
                    </a:cubicBezTo>
                    <a:cubicBezTo>
                      <a:pt x="14" y="21"/>
                      <a:pt x="15" y="21"/>
                      <a:pt x="16" y="22"/>
                    </a:cubicBezTo>
                    <a:cubicBezTo>
                      <a:pt x="17" y="22"/>
                      <a:pt x="17" y="22"/>
                      <a:pt x="17" y="22"/>
                    </a:cubicBezTo>
                    <a:cubicBezTo>
                      <a:pt x="17" y="22"/>
                      <a:pt x="17" y="22"/>
                      <a:pt x="17" y="22"/>
                    </a:cubicBezTo>
                    <a:cubicBezTo>
                      <a:pt x="18" y="22"/>
                      <a:pt x="19" y="22"/>
                      <a:pt x="19" y="22"/>
                    </a:cubicBezTo>
                    <a:cubicBezTo>
                      <a:pt x="20" y="22"/>
                      <a:pt x="20" y="22"/>
                      <a:pt x="20" y="22"/>
                    </a:cubicBezTo>
                    <a:cubicBezTo>
                      <a:pt x="21" y="22"/>
                      <a:pt x="21" y="22"/>
                      <a:pt x="21" y="22"/>
                    </a:cubicBezTo>
                    <a:cubicBezTo>
                      <a:pt x="21" y="21"/>
                      <a:pt x="22" y="21"/>
                      <a:pt x="22" y="21"/>
                    </a:cubicBezTo>
                    <a:cubicBezTo>
                      <a:pt x="23" y="21"/>
                      <a:pt x="23" y="21"/>
                      <a:pt x="24" y="21"/>
                    </a:cubicBezTo>
                    <a:cubicBezTo>
                      <a:pt x="24" y="21"/>
                      <a:pt x="24" y="21"/>
                      <a:pt x="24" y="21"/>
                    </a:cubicBezTo>
                    <a:cubicBezTo>
                      <a:pt x="25" y="21"/>
                      <a:pt x="25" y="21"/>
                      <a:pt x="25" y="21"/>
                    </a:cubicBezTo>
                    <a:cubicBezTo>
                      <a:pt x="25" y="21"/>
                      <a:pt x="25" y="21"/>
                      <a:pt x="26" y="21"/>
                    </a:cubicBezTo>
                    <a:cubicBezTo>
                      <a:pt x="26" y="21"/>
                      <a:pt x="26" y="21"/>
                      <a:pt x="26" y="21"/>
                    </a:cubicBezTo>
                    <a:cubicBezTo>
                      <a:pt x="26" y="21"/>
                      <a:pt x="26" y="21"/>
                      <a:pt x="27" y="21"/>
                    </a:cubicBezTo>
                    <a:cubicBezTo>
                      <a:pt x="27" y="21"/>
                      <a:pt x="27" y="21"/>
                      <a:pt x="27" y="21"/>
                    </a:cubicBezTo>
                    <a:cubicBezTo>
                      <a:pt x="27" y="21"/>
                      <a:pt x="27" y="21"/>
                      <a:pt x="27" y="21"/>
                    </a:cubicBezTo>
                    <a:cubicBezTo>
                      <a:pt x="28" y="21"/>
                      <a:pt x="28" y="21"/>
                      <a:pt x="29" y="21"/>
                    </a:cubicBezTo>
                    <a:cubicBezTo>
                      <a:pt x="29" y="22"/>
                      <a:pt x="29" y="22"/>
                      <a:pt x="29" y="23"/>
                    </a:cubicBezTo>
                    <a:cubicBezTo>
                      <a:pt x="30" y="23"/>
                      <a:pt x="30" y="23"/>
                      <a:pt x="29" y="24"/>
                    </a:cubicBezTo>
                    <a:cubicBezTo>
                      <a:pt x="29" y="24"/>
                      <a:pt x="29" y="24"/>
                      <a:pt x="29" y="24"/>
                    </a:cubicBezTo>
                    <a:cubicBezTo>
                      <a:pt x="29" y="24"/>
                      <a:pt x="30" y="24"/>
                      <a:pt x="30" y="24"/>
                    </a:cubicBezTo>
                    <a:cubicBezTo>
                      <a:pt x="30" y="24"/>
                      <a:pt x="30" y="24"/>
                      <a:pt x="30" y="24"/>
                    </a:cubicBezTo>
                    <a:cubicBezTo>
                      <a:pt x="31" y="25"/>
                      <a:pt x="31" y="25"/>
                      <a:pt x="31" y="25"/>
                    </a:cubicBezTo>
                    <a:cubicBezTo>
                      <a:pt x="32" y="25"/>
                      <a:pt x="32" y="25"/>
                      <a:pt x="33" y="26"/>
                    </a:cubicBezTo>
                    <a:cubicBezTo>
                      <a:pt x="33" y="27"/>
                      <a:pt x="32" y="28"/>
                      <a:pt x="32" y="28"/>
                    </a:cubicBezTo>
                    <a:cubicBezTo>
                      <a:pt x="32" y="29"/>
                      <a:pt x="31" y="30"/>
                      <a:pt x="30" y="30"/>
                    </a:cubicBezTo>
                    <a:cubicBezTo>
                      <a:pt x="30" y="31"/>
                      <a:pt x="30" y="31"/>
                      <a:pt x="30" y="31"/>
                    </a:cubicBezTo>
                    <a:cubicBezTo>
                      <a:pt x="29" y="31"/>
                      <a:pt x="28" y="32"/>
                      <a:pt x="28" y="32"/>
                    </a:cubicBezTo>
                    <a:cubicBezTo>
                      <a:pt x="27" y="32"/>
                      <a:pt x="27" y="33"/>
                      <a:pt x="26" y="33"/>
                    </a:cubicBezTo>
                    <a:cubicBezTo>
                      <a:pt x="26" y="33"/>
                      <a:pt x="26" y="33"/>
                      <a:pt x="26" y="33"/>
                    </a:cubicBezTo>
                    <a:cubicBezTo>
                      <a:pt x="28" y="35"/>
                      <a:pt x="28" y="35"/>
                      <a:pt x="28" y="35"/>
                    </a:cubicBezTo>
                    <a:cubicBezTo>
                      <a:pt x="26" y="34"/>
                      <a:pt x="26" y="34"/>
                      <a:pt x="26" y="34"/>
                    </a:cubicBezTo>
                    <a:cubicBezTo>
                      <a:pt x="26" y="34"/>
                      <a:pt x="26" y="34"/>
                      <a:pt x="26" y="35"/>
                    </a:cubicBezTo>
                    <a:cubicBezTo>
                      <a:pt x="26" y="35"/>
                      <a:pt x="26" y="35"/>
                      <a:pt x="26" y="36"/>
                    </a:cubicBezTo>
                    <a:cubicBezTo>
                      <a:pt x="27" y="37"/>
                      <a:pt x="27" y="38"/>
                      <a:pt x="27" y="39"/>
                    </a:cubicBezTo>
                    <a:cubicBezTo>
                      <a:pt x="26" y="40"/>
                      <a:pt x="26" y="40"/>
                      <a:pt x="26" y="40"/>
                    </a:cubicBezTo>
                    <a:cubicBezTo>
                      <a:pt x="26" y="41"/>
                      <a:pt x="26" y="41"/>
                      <a:pt x="26" y="42"/>
                    </a:cubicBezTo>
                    <a:cubicBezTo>
                      <a:pt x="26" y="43"/>
                      <a:pt x="26" y="43"/>
                      <a:pt x="26" y="43"/>
                    </a:cubicBezTo>
                    <a:cubicBezTo>
                      <a:pt x="26" y="43"/>
                      <a:pt x="26" y="43"/>
                      <a:pt x="25" y="44"/>
                    </a:cubicBezTo>
                    <a:cubicBezTo>
                      <a:pt x="25" y="45"/>
                      <a:pt x="25" y="50"/>
                      <a:pt x="24" y="51"/>
                    </a:cubicBezTo>
                    <a:cubicBezTo>
                      <a:pt x="23" y="51"/>
                      <a:pt x="22" y="51"/>
                      <a:pt x="20" y="51"/>
                    </a:cubicBezTo>
                    <a:cubicBezTo>
                      <a:pt x="21" y="52"/>
                      <a:pt x="21" y="52"/>
                      <a:pt x="21" y="52"/>
                    </a:cubicBezTo>
                    <a:cubicBezTo>
                      <a:pt x="21" y="53"/>
                      <a:pt x="21" y="53"/>
                      <a:pt x="21" y="53"/>
                    </a:cubicBezTo>
                    <a:cubicBezTo>
                      <a:pt x="22" y="53"/>
                      <a:pt x="22" y="54"/>
                      <a:pt x="22" y="54"/>
                    </a:cubicBezTo>
                    <a:cubicBezTo>
                      <a:pt x="22" y="55"/>
                      <a:pt x="22" y="55"/>
                      <a:pt x="22" y="55"/>
                    </a:cubicBezTo>
                    <a:cubicBezTo>
                      <a:pt x="22" y="55"/>
                      <a:pt x="22" y="55"/>
                      <a:pt x="22" y="55"/>
                    </a:cubicBezTo>
                    <a:cubicBezTo>
                      <a:pt x="22" y="55"/>
                      <a:pt x="22" y="55"/>
                      <a:pt x="23" y="55"/>
                    </a:cubicBezTo>
                    <a:cubicBezTo>
                      <a:pt x="24" y="55"/>
                      <a:pt x="25" y="56"/>
                      <a:pt x="25" y="57"/>
                    </a:cubicBezTo>
                    <a:cubicBezTo>
                      <a:pt x="25" y="57"/>
                      <a:pt x="25" y="58"/>
                      <a:pt x="25" y="58"/>
                    </a:cubicBezTo>
                    <a:cubicBezTo>
                      <a:pt x="25" y="58"/>
                      <a:pt x="25" y="59"/>
                      <a:pt x="24" y="59"/>
                    </a:cubicBezTo>
                    <a:cubicBezTo>
                      <a:pt x="24" y="59"/>
                      <a:pt x="24" y="60"/>
                      <a:pt x="23" y="60"/>
                    </a:cubicBezTo>
                    <a:cubicBezTo>
                      <a:pt x="23" y="60"/>
                      <a:pt x="23" y="60"/>
                      <a:pt x="23" y="61"/>
                    </a:cubicBezTo>
                    <a:cubicBezTo>
                      <a:pt x="23" y="61"/>
                      <a:pt x="23" y="61"/>
                      <a:pt x="23" y="61"/>
                    </a:cubicBezTo>
                    <a:cubicBezTo>
                      <a:pt x="23" y="61"/>
                      <a:pt x="23" y="61"/>
                      <a:pt x="23" y="61"/>
                    </a:cubicBezTo>
                    <a:cubicBezTo>
                      <a:pt x="23" y="61"/>
                      <a:pt x="23" y="61"/>
                      <a:pt x="23" y="61"/>
                    </a:cubicBezTo>
                    <a:cubicBezTo>
                      <a:pt x="22" y="62"/>
                      <a:pt x="22" y="62"/>
                      <a:pt x="22" y="63"/>
                    </a:cubicBezTo>
                    <a:cubicBezTo>
                      <a:pt x="22" y="63"/>
                      <a:pt x="22" y="64"/>
                      <a:pt x="22" y="64"/>
                    </a:cubicBezTo>
                    <a:cubicBezTo>
                      <a:pt x="22" y="64"/>
                      <a:pt x="22" y="64"/>
                      <a:pt x="22" y="65"/>
                    </a:cubicBezTo>
                    <a:cubicBezTo>
                      <a:pt x="23" y="65"/>
                      <a:pt x="23" y="66"/>
                      <a:pt x="23" y="66"/>
                    </a:cubicBezTo>
                    <a:cubicBezTo>
                      <a:pt x="23" y="66"/>
                      <a:pt x="23" y="66"/>
                      <a:pt x="23" y="66"/>
                    </a:cubicBezTo>
                    <a:cubicBezTo>
                      <a:pt x="23" y="66"/>
                      <a:pt x="23" y="66"/>
                      <a:pt x="23" y="66"/>
                    </a:cubicBezTo>
                    <a:cubicBezTo>
                      <a:pt x="25" y="66"/>
                      <a:pt x="25" y="66"/>
                      <a:pt x="25" y="66"/>
                    </a:cubicBezTo>
                    <a:cubicBezTo>
                      <a:pt x="25" y="67"/>
                      <a:pt x="25" y="67"/>
                      <a:pt x="25" y="67"/>
                    </a:cubicBezTo>
                    <a:cubicBezTo>
                      <a:pt x="25" y="68"/>
                      <a:pt x="25" y="68"/>
                      <a:pt x="25" y="69"/>
                    </a:cubicBezTo>
                    <a:cubicBezTo>
                      <a:pt x="25" y="69"/>
                      <a:pt x="25" y="69"/>
                      <a:pt x="25" y="69"/>
                    </a:cubicBezTo>
                    <a:cubicBezTo>
                      <a:pt x="24" y="70"/>
                      <a:pt x="23" y="70"/>
                      <a:pt x="22" y="70"/>
                    </a:cubicBezTo>
                    <a:cubicBezTo>
                      <a:pt x="22" y="71"/>
                      <a:pt x="22" y="71"/>
                      <a:pt x="22" y="71"/>
                    </a:cubicBezTo>
                    <a:cubicBezTo>
                      <a:pt x="21" y="71"/>
                      <a:pt x="21" y="72"/>
                      <a:pt x="20" y="73"/>
                    </a:cubicBezTo>
                    <a:cubicBezTo>
                      <a:pt x="20" y="74"/>
                      <a:pt x="19" y="75"/>
                      <a:pt x="20" y="76"/>
                    </a:cubicBezTo>
                    <a:cubicBezTo>
                      <a:pt x="20" y="76"/>
                      <a:pt x="20" y="78"/>
                      <a:pt x="20" y="78"/>
                    </a:cubicBezTo>
                    <a:cubicBezTo>
                      <a:pt x="20" y="79"/>
                      <a:pt x="20" y="79"/>
                      <a:pt x="20" y="79"/>
                    </a:cubicBezTo>
                    <a:cubicBezTo>
                      <a:pt x="21" y="79"/>
                      <a:pt x="22" y="79"/>
                      <a:pt x="23" y="79"/>
                    </a:cubicBezTo>
                    <a:cubicBezTo>
                      <a:pt x="23" y="79"/>
                      <a:pt x="24" y="79"/>
                      <a:pt x="24" y="78"/>
                    </a:cubicBezTo>
                    <a:cubicBezTo>
                      <a:pt x="24" y="78"/>
                      <a:pt x="24" y="78"/>
                      <a:pt x="25" y="78"/>
                    </a:cubicBezTo>
                    <a:cubicBezTo>
                      <a:pt x="23" y="80"/>
                      <a:pt x="26" y="81"/>
                      <a:pt x="27" y="82"/>
                    </a:cubicBezTo>
                    <a:cubicBezTo>
                      <a:pt x="28" y="82"/>
                      <a:pt x="28" y="83"/>
                      <a:pt x="29" y="83"/>
                    </a:cubicBezTo>
                    <a:cubicBezTo>
                      <a:pt x="30" y="84"/>
                      <a:pt x="30" y="82"/>
                      <a:pt x="31" y="83"/>
                    </a:cubicBezTo>
                    <a:cubicBezTo>
                      <a:pt x="30" y="83"/>
                      <a:pt x="30" y="84"/>
                      <a:pt x="30" y="84"/>
                    </a:cubicBezTo>
                    <a:cubicBezTo>
                      <a:pt x="30" y="84"/>
                      <a:pt x="29" y="84"/>
                      <a:pt x="29" y="85"/>
                    </a:cubicBezTo>
                    <a:cubicBezTo>
                      <a:pt x="29" y="85"/>
                      <a:pt x="30" y="86"/>
                      <a:pt x="30" y="87"/>
                    </a:cubicBezTo>
                    <a:cubicBezTo>
                      <a:pt x="32" y="89"/>
                      <a:pt x="34" y="93"/>
                      <a:pt x="37" y="93"/>
                    </a:cubicBezTo>
                    <a:cubicBezTo>
                      <a:pt x="38" y="93"/>
                      <a:pt x="40" y="92"/>
                      <a:pt x="40" y="91"/>
                    </a:cubicBezTo>
                    <a:cubicBezTo>
                      <a:pt x="40" y="92"/>
                      <a:pt x="40" y="92"/>
                      <a:pt x="40" y="92"/>
                    </a:cubicBezTo>
                    <a:cubicBezTo>
                      <a:pt x="40" y="92"/>
                      <a:pt x="40" y="92"/>
                      <a:pt x="40" y="91"/>
                    </a:cubicBezTo>
                    <a:cubicBezTo>
                      <a:pt x="40" y="91"/>
                      <a:pt x="40" y="91"/>
                      <a:pt x="40" y="91"/>
                    </a:cubicBezTo>
                    <a:cubicBezTo>
                      <a:pt x="41" y="90"/>
                      <a:pt x="41" y="90"/>
                      <a:pt x="42" y="89"/>
                    </a:cubicBezTo>
                    <a:cubicBezTo>
                      <a:pt x="44" y="88"/>
                      <a:pt x="45" y="88"/>
                      <a:pt x="47" y="87"/>
                    </a:cubicBezTo>
                    <a:cubicBezTo>
                      <a:pt x="48" y="86"/>
                      <a:pt x="49" y="85"/>
                      <a:pt x="50" y="85"/>
                    </a:cubicBezTo>
                    <a:cubicBezTo>
                      <a:pt x="51" y="84"/>
                      <a:pt x="54" y="85"/>
                      <a:pt x="56" y="85"/>
                    </a:cubicBezTo>
                    <a:cubicBezTo>
                      <a:pt x="58" y="84"/>
                      <a:pt x="61" y="84"/>
                      <a:pt x="64" y="84"/>
                    </a:cubicBezTo>
                    <a:cubicBezTo>
                      <a:pt x="65" y="85"/>
                      <a:pt x="66" y="85"/>
                      <a:pt x="66" y="85"/>
                    </a:cubicBezTo>
                    <a:cubicBezTo>
                      <a:pt x="68" y="85"/>
                      <a:pt x="69" y="84"/>
                      <a:pt x="70" y="84"/>
                    </a:cubicBezTo>
                    <a:cubicBezTo>
                      <a:pt x="72" y="83"/>
                      <a:pt x="71" y="84"/>
                      <a:pt x="72" y="84"/>
                    </a:cubicBezTo>
                    <a:cubicBezTo>
                      <a:pt x="74" y="85"/>
                      <a:pt x="74" y="83"/>
                      <a:pt x="75" y="82"/>
                    </a:cubicBezTo>
                    <a:cubicBezTo>
                      <a:pt x="76" y="80"/>
                      <a:pt x="77" y="79"/>
                      <a:pt x="78" y="77"/>
                    </a:cubicBezTo>
                    <a:cubicBezTo>
                      <a:pt x="79" y="76"/>
                      <a:pt x="81" y="76"/>
                      <a:pt x="82" y="76"/>
                    </a:cubicBezTo>
                    <a:cubicBezTo>
                      <a:pt x="83" y="75"/>
                      <a:pt x="84" y="75"/>
                      <a:pt x="85" y="75"/>
                    </a:cubicBezTo>
                    <a:cubicBezTo>
                      <a:pt x="85" y="75"/>
                      <a:pt x="85" y="75"/>
                      <a:pt x="85" y="75"/>
                    </a:cubicBezTo>
                    <a:cubicBezTo>
                      <a:pt x="86" y="75"/>
                      <a:pt x="87" y="75"/>
                      <a:pt x="87" y="74"/>
                    </a:cubicBezTo>
                    <a:cubicBezTo>
                      <a:pt x="87" y="74"/>
                      <a:pt x="86" y="73"/>
                      <a:pt x="86" y="73"/>
                    </a:cubicBezTo>
                    <a:cubicBezTo>
                      <a:pt x="87" y="72"/>
                      <a:pt x="87" y="71"/>
                      <a:pt x="88" y="70"/>
                    </a:cubicBezTo>
                    <a:cubicBezTo>
                      <a:pt x="88" y="69"/>
                      <a:pt x="88" y="68"/>
                      <a:pt x="89" y="68"/>
                    </a:cubicBezTo>
                    <a:cubicBezTo>
                      <a:pt x="90" y="64"/>
                      <a:pt x="94" y="63"/>
                      <a:pt x="97" y="61"/>
                    </a:cubicBezTo>
                    <a:cubicBezTo>
                      <a:pt x="94" y="59"/>
                      <a:pt x="92" y="57"/>
                      <a:pt x="92" y="53"/>
                    </a:cubicBezTo>
                    <a:cubicBezTo>
                      <a:pt x="91" y="51"/>
                      <a:pt x="94" y="48"/>
                      <a:pt x="96" y="46"/>
                    </a:cubicBezTo>
                    <a:cubicBezTo>
                      <a:pt x="98" y="43"/>
                      <a:pt x="101" y="39"/>
                      <a:pt x="103" y="36"/>
                    </a:cubicBezTo>
                    <a:cubicBezTo>
                      <a:pt x="103" y="36"/>
                      <a:pt x="102" y="36"/>
                      <a:pt x="102" y="36"/>
                    </a:cubicBezTo>
                    <a:cubicBezTo>
                      <a:pt x="103" y="36"/>
                      <a:pt x="104" y="34"/>
                      <a:pt x="105" y="33"/>
                    </a:cubicBezTo>
                    <a:cubicBezTo>
                      <a:pt x="106" y="32"/>
                      <a:pt x="109" y="32"/>
                      <a:pt x="112" y="31"/>
                    </a:cubicBezTo>
                    <a:cubicBezTo>
                      <a:pt x="113" y="31"/>
                      <a:pt x="114" y="31"/>
                      <a:pt x="115" y="30"/>
                    </a:cubicBezTo>
                    <a:cubicBezTo>
                      <a:pt x="114" y="30"/>
                      <a:pt x="114" y="29"/>
                      <a:pt x="114" y="29"/>
                    </a:cubicBezTo>
                    <a:cubicBezTo>
                      <a:pt x="114" y="27"/>
                      <a:pt x="116" y="26"/>
                      <a:pt x="117" y="26"/>
                    </a:cubicBezTo>
                    <a:cubicBezTo>
                      <a:pt x="118" y="26"/>
                      <a:pt x="119" y="27"/>
                      <a:pt x="120" y="28"/>
                    </a:cubicBezTo>
                    <a:cubicBezTo>
                      <a:pt x="120" y="27"/>
                      <a:pt x="120" y="27"/>
                      <a:pt x="120" y="27"/>
                    </a:cubicBezTo>
                    <a:cubicBezTo>
                      <a:pt x="122" y="26"/>
                      <a:pt x="126" y="25"/>
                      <a:pt x="127" y="23"/>
                    </a:cubicBezTo>
                    <a:cubicBezTo>
                      <a:pt x="128" y="22"/>
                      <a:pt x="127" y="21"/>
                      <a:pt x="127" y="20"/>
                    </a:cubicBezTo>
                    <a:cubicBezTo>
                      <a:pt x="127" y="18"/>
                      <a:pt x="128" y="18"/>
                      <a:pt x="12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1" name="Freeform 3083">
                <a:extLst>
                  <a:ext uri="{FF2B5EF4-FFF2-40B4-BE49-F238E27FC236}">
                    <a16:creationId xmlns:a16="http://schemas.microsoft.com/office/drawing/2014/main" id="{6569128C-62A7-4046-B5F2-849F6C900677}"/>
                  </a:ext>
                </a:extLst>
              </p:cNvPr>
              <p:cNvSpPr>
                <a:spLocks/>
              </p:cNvSpPr>
              <p:nvPr/>
            </p:nvSpPr>
            <p:spPr bwMode="auto">
              <a:xfrm>
                <a:off x="3433" y="1423"/>
                <a:ext cx="310" cy="263"/>
              </a:xfrm>
              <a:custGeom>
                <a:avLst/>
                <a:gdLst>
                  <a:gd name="T0" fmla="*/ 126 w 131"/>
                  <a:gd name="T1" fmla="*/ 91 h 111"/>
                  <a:gd name="T2" fmla="*/ 116 w 131"/>
                  <a:gd name="T3" fmla="*/ 76 h 111"/>
                  <a:gd name="T4" fmla="*/ 120 w 131"/>
                  <a:gd name="T5" fmla="*/ 74 h 111"/>
                  <a:gd name="T6" fmla="*/ 119 w 131"/>
                  <a:gd name="T7" fmla="*/ 67 h 111"/>
                  <a:gd name="T8" fmla="*/ 117 w 131"/>
                  <a:gd name="T9" fmla="*/ 62 h 111"/>
                  <a:gd name="T10" fmla="*/ 114 w 131"/>
                  <a:gd name="T11" fmla="*/ 62 h 111"/>
                  <a:gd name="T12" fmla="*/ 110 w 131"/>
                  <a:gd name="T13" fmla="*/ 66 h 111"/>
                  <a:gd name="T14" fmla="*/ 110 w 131"/>
                  <a:gd name="T15" fmla="*/ 62 h 111"/>
                  <a:gd name="T16" fmla="*/ 114 w 131"/>
                  <a:gd name="T17" fmla="*/ 54 h 111"/>
                  <a:gd name="T18" fmla="*/ 119 w 131"/>
                  <a:gd name="T19" fmla="*/ 50 h 111"/>
                  <a:gd name="T20" fmla="*/ 123 w 131"/>
                  <a:gd name="T21" fmla="*/ 47 h 111"/>
                  <a:gd name="T22" fmla="*/ 124 w 131"/>
                  <a:gd name="T23" fmla="*/ 47 h 111"/>
                  <a:gd name="T24" fmla="*/ 125 w 131"/>
                  <a:gd name="T25" fmla="*/ 44 h 111"/>
                  <a:gd name="T26" fmla="*/ 125 w 131"/>
                  <a:gd name="T27" fmla="*/ 40 h 111"/>
                  <a:gd name="T28" fmla="*/ 127 w 131"/>
                  <a:gd name="T29" fmla="*/ 36 h 111"/>
                  <a:gd name="T30" fmla="*/ 128 w 131"/>
                  <a:gd name="T31" fmla="*/ 28 h 111"/>
                  <a:gd name="T32" fmla="*/ 127 w 131"/>
                  <a:gd name="T33" fmla="*/ 28 h 111"/>
                  <a:gd name="T34" fmla="*/ 122 w 131"/>
                  <a:gd name="T35" fmla="*/ 27 h 111"/>
                  <a:gd name="T36" fmla="*/ 116 w 131"/>
                  <a:gd name="T37" fmla="*/ 25 h 111"/>
                  <a:gd name="T38" fmla="*/ 113 w 131"/>
                  <a:gd name="T39" fmla="*/ 22 h 111"/>
                  <a:gd name="T40" fmla="*/ 108 w 131"/>
                  <a:gd name="T41" fmla="*/ 22 h 111"/>
                  <a:gd name="T42" fmla="*/ 105 w 131"/>
                  <a:gd name="T43" fmla="*/ 22 h 111"/>
                  <a:gd name="T44" fmla="*/ 99 w 131"/>
                  <a:gd name="T45" fmla="*/ 18 h 111"/>
                  <a:gd name="T46" fmla="*/ 90 w 131"/>
                  <a:gd name="T47" fmla="*/ 15 h 111"/>
                  <a:gd name="T48" fmla="*/ 91 w 131"/>
                  <a:gd name="T49" fmla="*/ 12 h 111"/>
                  <a:gd name="T50" fmla="*/ 86 w 131"/>
                  <a:gd name="T51" fmla="*/ 12 h 111"/>
                  <a:gd name="T52" fmla="*/ 84 w 131"/>
                  <a:gd name="T53" fmla="*/ 9 h 111"/>
                  <a:gd name="T54" fmla="*/ 81 w 131"/>
                  <a:gd name="T55" fmla="*/ 6 h 111"/>
                  <a:gd name="T56" fmla="*/ 79 w 131"/>
                  <a:gd name="T57" fmla="*/ 6 h 111"/>
                  <a:gd name="T58" fmla="*/ 76 w 131"/>
                  <a:gd name="T59" fmla="*/ 4 h 111"/>
                  <a:gd name="T60" fmla="*/ 65 w 131"/>
                  <a:gd name="T61" fmla="*/ 10 h 111"/>
                  <a:gd name="T62" fmla="*/ 50 w 131"/>
                  <a:gd name="T63" fmla="*/ 20 h 111"/>
                  <a:gd name="T64" fmla="*/ 37 w 131"/>
                  <a:gd name="T65" fmla="*/ 22 h 111"/>
                  <a:gd name="T66" fmla="*/ 32 w 131"/>
                  <a:gd name="T67" fmla="*/ 19 h 111"/>
                  <a:gd name="T68" fmla="*/ 34 w 131"/>
                  <a:gd name="T69" fmla="*/ 30 h 111"/>
                  <a:gd name="T70" fmla="*/ 21 w 131"/>
                  <a:gd name="T71" fmla="*/ 34 h 111"/>
                  <a:gd name="T72" fmla="*/ 0 w 131"/>
                  <a:gd name="T73" fmla="*/ 34 h 111"/>
                  <a:gd name="T74" fmla="*/ 2 w 131"/>
                  <a:gd name="T75" fmla="*/ 37 h 111"/>
                  <a:gd name="T76" fmla="*/ 1 w 131"/>
                  <a:gd name="T77" fmla="*/ 40 h 111"/>
                  <a:gd name="T78" fmla="*/ 17 w 131"/>
                  <a:gd name="T79" fmla="*/ 47 h 111"/>
                  <a:gd name="T80" fmla="*/ 28 w 131"/>
                  <a:gd name="T81" fmla="*/ 50 h 111"/>
                  <a:gd name="T82" fmla="*/ 29 w 131"/>
                  <a:gd name="T83" fmla="*/ 57 h 111"/>
                  <a:gd name="T84" fmla="*/ 37 w 131"/>
                  <a:gd name="T85" fmla="*/ 69 h 111"/>
                  <a:gd name="T86" fmla="*/ 38 w 131"/>
                  <a:gd name="T87" fmla="*/ 82 h 111"/>
                  <a:gd name="T88" fmla="*/ 32 w 131"/>
                  <a:gd name="T89" fmla="*/ 99 h 111"/>
                  <a:gd name="T90" fmla="*/ 37 w 131"/>
                  <a:gd name="T91" fmla="*/ 103 h 111"/>
                  <a:gd name="T92" fmla="*/ 42 w 131"/>
                  <a:gd name="T93" fmla="*/ 104 h 111"/>
                  <a:gd name="T94" fmla="*/ 46 w 131"/>
                  <a:gd name="T95" fmla="*/ 105 h 111"/>
                  <a:gd name="T96" fmla="*/ 51 w 131"/>
                  <a:gd name="T97" fmla="*/ 107 h 111"/>
                  <a:gd name="T98" fmla="*/ 60 w 131"/>
                  <a:gd name="T99" fmla="*/ 106 h 111"/>
                  <a:gd name="T100" fmla="*/ 69 w 131"/>
                  <a:gd name="T101" fmla="*/ 110 h 111"/>
                  <a:gd name="T102" fmla="*/ 76 w 131"/>
                  <a:gd name="T103" fmla="*/ 111 h 111"/>
                  <a:gd name="T104" fmla="*/ 81 w 131"/>
                  <a:gd name="T105" fmla="*/ 103 h 111"/>
                  <a:gd name="T106" fmla="*/ 97 w 131"/>
                  <a:gd name="T107" fmla="*/ 99 h 111"/>
                  <a:gd name="T108" fmla="*/ 108 w 131"/>
                  <a:gd name="T109" fmla="*/ 102 h 111"/>
                  <a:gd name="T110" fmla="*/ 122 w 131"/>
                  <a:gd name="T111" fmla="*/ 9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 h="111">
                    <a:moveTo>
                      <a:pt x="125" y="94"/>
                    </a:moveTo>
                    <a:cubicBezTo>
                      <a:pt x="125" y="94"/>
                      <a:pt x="125" y="94"/>
                      <a:pt x="125" y="94"/>
                    </a:cubicBezTo>
                    <a:cubicBezTo>
                      <a:pt x="125" y="93"/>
                      <a:pt x="125" y="93"/>
                      <a:pt x="126" y="92"/>
                    </a:cubicBezTo>
                    <a:cubicBezTo>
                      <a:pt x="126" y="92"/>
                      <a:pt x="126" y="92"/>
                      <a:pt x="126" y="92"/>
                    </a:cubicBezTo>
                    <a:cubicBezTo>
                      <a:pt x="126" y="92"/>
                      <a:pt x="126" y="91"/>
                      <a:pt x="126" y="91"/>
                    </a:cubicBezTo>
                    <a:cubicBezTo>
                      <a:pt x="120" y="89"/>
                      <a:pt x="120" y="89"/>
                      <a:pt x="120" y="89"/>
                    </a:cubicBezTo>
                    <a:cubicBezTo>
                      <a:pt x="119" y="88"/>
                      <a:pt x="118" y="87"/>
                      <a:pt x="118" y="86"/>
                    </a:cubicBezTo>
                    <a:cubicBezTo>
                      <a:pt x="118" y="85"/>
                      <a:pt x="119" y="84"/>
                      <a:pt x="119" y="83"/>
                    </a:cubicBezTo>
                    <a:cubicBezTo>
                      <a:pt x="114" y="77"/>
                      <a:pt x="114" y="77"/>
                      <a:pt x="114" y="77"/>
                    </a:cubicBezTo>
                    <a:cubicBezTo>
                      <a:pt x="116" y="76"/>
                      <a:pt x="116" y="76"/>
                      <a:pt x="116" y="76"/>
                    </a:cubicBezTo>
                    <a:cubicBezTo>
                      <a:pt x="117" y="76"/>
                      <a:pt x="117" y="76"/>
                      <a:pt x="118" y="76"/>
                    </a:cubicBezTo>
                    <a:cubicBezTo>
                      <a:pt x="119" y="76"/>
                      <a:pt x="120" y="76"/>
                      <a:pt x="120" y="75"/>
                    </a:cubicBezTo>
                    <a:cubicBezTo>
                      <a:pt x="120" y="75"/>
                      <a:pt x="120" y="75"/>
                      <a:pt x="120" y="75"/>
                    </a:cubicBezTo>
                    <a:cubicBezTo>
                      <a:pt x="121" y="74"/>
                      <a:pt x="121" y="74"/>
                      <a:pt x="121" y="74"/>
                    </a:cubicBezTo>
                    <a:cubicBezTo>
                      <a:pt x="120" y="74"/>
                      <a:pt x="120" y="74"/>
                      <a:pt x="120" y="74"/>
                    </a:cubicBezTo>
                    <a:cubicBezTo>
                      <a:pt x="118" y="71"/>
                      <a:pt x="118" y="71"/>
                      <a:pt x="118" y="71"/>
                    </a:cubicBezTo>
                    <a:cubicBezTo>
                      <a:pt x="117" y="70"/>
                      <a:pt x="117" y="70"/>
                      <a:pt x="117" y="69"/>
                    </a:cubicBezTo>
                    <a:cubicBezTo>
                      <a:pt x="118" y="68"/>
                      <a:pt x="118" y="67"/>
                      <a:pt x="119" y="67"/>
                    </a:cubicBezTo>
                    <a:cubicBezTo>
                      <a:pt x="119" y="67"/>
                      <a:pt x="119" y="67"/>
                      <a:pt x="119" y="67"/>
                    </a:cubicBezTo>
                    <a:cubicBezTo>
                      <a:pt x="119" y="67"/>
                      <a:pt x="119" y="67"/>
                      <a:pt x="119" y="67"/>
                    </a:cubicBezTo>
                    <a:cubicBezTo>
                      <a:pt x="119" y="66"/>
                      <a:pt x="119" y="66"/>
                      <a:pt x="119" y="66"/>
                    </a:cubicBezTo>
                    <a:cubicBezTo>
                      <a:pt x="118" y="65"/>
                      <a:pt x="118" y="65"/>
                      <a:pt x="118" y="64"/>
                    </a:cubicBezTo>
                    <a:cubicBezTo>
                      <a:pt x="117" y="64"/>
                      <a:pt x="117" y="64"/>
                      <a:pt x="117" y="64"/>
                    </a:cubicBezTo>
                    <a:cubicBezTo>
                      <a:pt x="117" y="63"/>
                      <a:pt x="117" y="62"/>
                      <a:pt x="117" y="62"/>
                    </a:cubicBezTo>
                    <a:cubicBezTo>
                      <a:pt x="117" y="62"/>
                      <a:pt x="117" y="62"/>
                      <a:pt x="117" y="62"/>
                    </a:cubicBezTo>
                    <a:cubicBezTo>
                      <a:pt x="117" y="62"/>
                      <a:pt x="116" y="62"/>
                      <a:pt x="116" y="62"/>
                    </a:cubicBezTo>
                    <a:cubicBezTo>
                      <a:pt x="116" y="62"/>
                      <a:pt x="116" y="62"/>
                      <a:pt x="115" y="62"/>
                    </a:cubicBezTo>
                    <a:cubicBezTo>
                      <a:pt x="115" y="62"/>
                      <a:pt x="115" y="62"/>
                      <a:pt x="115" y="62"/>
                    </a:cubicBezTo>
                    <a:cubicBezTo>
                      <a:pt x="115" y="62"/>
                      <a:pt x="114" y="62"/>
                      <a:pt x="114" y="63"/>
                    </a:cubicBezTo>
                    <a:cubicBezTo>
                      <a:pt x="114" y="62"/>
                      <a:pt x="114" y="62"/>
                      <a:pt x="114" y="62"/>
                    </a:cubicBezTo>
                    <a:cubicBezTo>
                      <a:pt x="114" y="63"/>
                      <a:pt x="114" y="63"/>
                      <a:pt x="114" y="63"/>
                    </a:cubicBezTo>
                    <a:cubicBezTo>
                      <a:pt x="113" y="63"/>
                      <a:pt x="113" y="64"/>
                      <a:pt x="112" y="64"/>
                    </a:cubicBezTo>
                    <a:cubicBezTo>
                      <a:pt x="112" y="65"/>
                      <a:pt x="112" y="65"/>
                      <a:pt x="112" y="65"/>
                    </a:cubicBezTo>
                    <a:cubicBezTo>
                      <a:pt x="111" y="65"/>
                      <a:pt x="111" y="65"/>
                      <a:pt x="111" y="66"/>
                    </a:cubicBezTo>
                    <a:cubicBezTo>
                      <a:pt x="110" y="66"/>
                      <a:pt x="110" y="66"/>
                      <a:pt x="110" y="66"/>
                    </a:cubicBezTo>
                    <a:cubicBezTo>
                      <a:pt x="109" y="64"/>
                      <a:pt x="109" y="64"/>
                      <a:pt x="109" y="64"/>
                    </a:cubicBezTo>
                    <a:cubicBezTo>
                      <a:pt x="109" y="64"/>
                      <a:pt x="109" y="64"/>
                      <a:pt x="109" y="64"/>
                    </a:cubicBezTo>
                    <a:cubicBezTo>
                      <a:pt x="109" y="64"/>
                      <a:pt x="109" y="64"/>
                      <a:pt x="109" y="63"/>
                    </a:cubicBezTo>
                    <a:cubicBezTo>
                      <a:pt x="109" y="63"/>
                      <a:pt x="109" y="63"/>
                      <a:pt x="109" y="63"/>
                    </a:cubicBezTo>
                    <a:cubicBezTo>
                      <a:pt x="110" y="62"/>
                      <a:pt x="110" y="62"/>
                      <a:pt x="110" y="62"/>
                    </a:cubicBezTo>
                    <a:cubicBezTo>
                      <a:pt x="110" y="62"/>
                      <a:pt x="110" y="62"/>
                      <a:pt x="110" y="62"/>
                    </a:cubicBezTo>
                    <a:cubicBezTo>
                      <a:pt x="110" y="61"/>
                      <a:pt x="110" y="60"/>
                      <a:pt x="110" y="60"/>
                    </a:cubicBezTo>
                    <a:cubicBezTo>
                      <a:pt x="111" y="58"/>
                      <a:pt x="112" y="57"/>
                      <a:pt x="113" y="56"/>
                    </a:cubicBezTo>
                    <a:cubicBezTo>
                      <a:pt x="114" y="55"/>
                      <a:pt x="114" y="55"/>
                      <a:pt x="114" y="55"/>
                    </a:cubicBezTo>
                    <a:cubicBezTo>
                      <a:pt x="114" y="55"/>
                      <a:pt x="114" y="55"/>
                      <a:pt x="114" y="54"/>
                    </a:cubicBezTo>
                    <a:cubicBezTo>
                      <a:pt x="114" y="54"/>
                      <a:pt x="114" y="54"/>
                      <a:pt x="114" y="54"/>
                    </a:cubicBezTo>
                    <a:cubicBezTo>
                      <a:pt x="114" y="53"/>
                      <a:pt x="114" y="53"/>
                      <a:pt x="115" y="53"/>
                    </a:cubicBezTo>
                    <a:cubicBezTo>
                      <a:pt x="115" y="52"/>
                      <a:pt x="116" y="52"/>
                      <a:pt x="116" y="52"/>
                    </a:cubicBezTo>
                    <a:cubicBezTo>
                      <a:pt x="116" y="52"/>
                      <a:pt x="117" y="52"/>
                      <a:pt x="117" y="51"/>
                    </a:cubicBezTo>
                    <a:cubicBezTo>
                      <a:pt x="117" y="51"/>
                      <a:pt x="118" y="51"/>
                      <a:pt x="119" y="50"/>
                    </a:cubicBezTo>
                    <a:cubicBezTo>
                      <a:pt x="117" y="50"/>
                      <a:pt x="117" y="50"/>
                      <a:pt x="117" y="50"/>
                    </a:cubicBezTo>
                    <a:cubicBezTo>
                      <a:pt x="119" y="48"/>
                      <a:pt x="119" y="48"/>
                      <a:pt x="119" y="48"/>
                    </a:cubicBezTo>
                    <a:cubicBezTo>
                      <a:pt x="119" y="47"/>
                      <a:pt x="120" y="46"/>
                      <a:pt x="121" y="46"/>
                    </a:cubicBezTo>
                    <a:cubicBezTo>
                      <a:pt x="121" y="46"/>
                      <a:pt x="121" y="46"/>
                      <a:pt x="121" y="46"/>
                    </a:cubicBezTo>
                    <a:cubicBezTo>
                      <a:pt x="122" y="46"/>
                      <a:pt x="123" y="46"/>
                      <a:pt x="123" y="47"/>
                    </a:cubicBezTo>
                    <a:cubicBezTo>
                      <a:pt x="123" y="47"/>
                      <a:pt x="123" y="47"/>
                      <a:pt x="123" y="47"/>
                    </a:cubicBezTo>
                    <a:cubicBezTo>
                      <a:pt x="123" y="47"/>
                      <a:pt x="123" y="47"/>
                      <a:pt x="123" y="47"/>
                    </a:cubicBezTo>
                    <a:cubicBezTo>
                      <a:pt x="123" y="47"/>
                      <a:pt x="123" y="47"/>
                      <a:pt x="124" y="47"/>
                    </a:cubicBezTo>
                    <a:cubicBezTo>
                      <a:pt x="124" y="47"/>
                      <a:pt x="124" y="47"/>
                      <a:pt x="124" y="47"/>
                    </a:cubicBezTo>
                    <a:cubicBezTo>
                      <a:pt x="124" y="47"/>
                      <a:pt x="124" y="47"/>
                      <a:pt x="124" y="47"/>
                    </a:cubicBezTo>
                    <a:cubicBezTo>
                      <a:pt x="124" y="47"/>
                      <a:pt x="124" y="47"/>
                      <a:pt x="124" y="47"/>
                    </a:cubicBezTo>
                    <a:cubicBezTo>
                      <a:pt x="124" y="46"/>
                      <a:pt x="125" y="46"/>
                      <a:pt x="125" y="46"/>
                    </a:cubicBezTo>
                    <a:cubicBezTo>
                      <a:pt x="125" y="45"/>
                      <a:pt x="125" y="45"/>
                      <a:pt x="125" y="45"/>
                    </a:cubicBezTo>
                    <a:cubicBezTo>
                      <a:pt x="125" y="45"/>
                      <a:pt x="125" y="45"/>
                      <a:pt x="125" y="45"/>
                    </a:cubicBezTo>
                    <a:cubicBezTo>
                      <a:pt x="125" y="45"/>
                      <a:pt x="125" y="45"/>
                      <a:pt x="125" y="44"/>
                    </a:cubicBezTo>
                    <a:cubicBezTo>
                      <a:pt x="125" y="44"/>
                      <a:pt x="125" y="43"/>
                      <a:pt x="125" y="43"/>
                    </a:cubicBezTo>
                    <a:cubicBezTo>
                      <a:pt x="125" y="43"/>
                      <a:pt x="125" y="42"/>
                      <a:pt x="125" y="42"/>
                    </a:cubicBezTo>
                    <a:cubicBezTo>
                      <a:pt x="125" y="41"/>
                      <a:pt x="125" y="41"/>
                      <a:pt x="125" y="41"/>
                    </a:cubicBezTo>
                    <a:cubicBezTo>
                      <a:pt x="125" y="41"/>
                      <a:pt x="125" y="41"/>
                      <a:pt x="125" y="41"/>
                    </a:cubicBezTo>
                    <a:cubicBezTo>
                      <a:pt x="125" y="41"/>
                      <a:pt x="125" y="40"/>
                      <a:pt x="125" y="40"/>
                    </a:cubicBezTo>
                    <a:cubicBezTo>
                      <a:pt x="125" y="40"/>
                      <a:pt x="125" y="40"/>
                      <a:pt x="125" y="40"/>
                    </a:cubicBezTo>
                    <a:cubicBezTo>
                      <a:pt x="125" y="40"/>
                      <a:pt x="125" y="39"/>
                      <a:pt x="125" y="39"/>
                    </a:cubicBezTo>
                    <a:cubicBezTo>
                      <a:pt x="125" y="39"/>
                      <a:pt x="125" y="39"/>
                      <a:pt x="125" y="38"/>
                    </a:cubicBezTo>
                    <a:cubicBezTo>
                      <a:pt x="126" y="38"/>
                      <a:pt x="126" y="37"/>
                      <a:pt x="127" y="36"/>
                    </a:cubicBezTo>
                    <a:cubicBezTo>
                      <a:pt x="127" y="36"/>
                      <a:pt x="127" y="36"/>
                      <a:pt x="127" y="36"/>
                    </a:cubicBezTo>
                    <a:cubicBezTo>
                      <a:pt x="127" y="36"/>
                      <a:pt x="127" y="35"/>
                      <a:pt x="127" y="35"/>
                    </a:cubicBezTo>
                    <a:cubicBezTo>
                      <a:pt x="128" y="33"/>
                      <a:pt x="129" y="31"/>
                      <a:pt x="131" y="29"/>
                    </a:cubicBezTo>
                    <a:cubicBezTo>
                      <a:pt x="130" y="29"/>
                      <a:pt x="130" y="29"/>
                      <a:pt x="130" y="29"/>
                    </a:cubicBezTo>
                    <a:cubicBezTo>
                      <a:pt x="130" y="28"/>
                      <a:pt x="130" y="28"/>
                      <a:pt x="129" y="28"/>
                    </a:cubicBezTo>
                    <a:cubicBezTo>
                      <a:pt x="129" y="28"/>
                      <a:pt x="129" y="28"/>
                      <a:pt x="128" y="28"/>
                    </a:cubicBezTo>
                    <a:cubicBezTo>
                      <a:pt x="128" y="28"/>
                      <a:pt x="128" y="28"/>
                      <a:pt x="128" y="28"/>
                    </a:cubicBezTo>
                    <a:cubicBezTo>
                      <a:pt x="127" y="28"/>
                      <a:pt x="127" y="28"/>
                      <a:pt x="127" y="28"/>
                    </a:cubicBezTo>
                    <a:cubicBezTo>
                      <a:pt x="127" y="28"/>
                      <a:pt x="127" y="28"/>
                      <a:pt x="127" y="28"/>
                    </a:cubicBezTo>
                    <a:cubicBezTo>
                      <a:pt x="127" y="28"/>
                      <a:pt x="127" y="28"/>
                      <a:pt x="127" y="28"/>
                    </a:cubicBezTo>
                    <a:cubicBezTo>
                      <a:pt x="127" y="28"/>
                      <a:pt x="127" y="28"/>
                      <a:pt x="127" y="28"/>
                    </a:cubicBezTo>
                    <a:cubicBezTo>
                      <a:pt x="126" y="28"/>
                      <a:pt x="126" y="28"/>
                      <a:pt x="126" y="28"/>
                    </a:cubicBezTo>
                    <a:cubicBezTo>
                      <a:pt x="126" y="28"/>
                      <a:pt x="126" y="28"/>
                      <a:pt x="125" y="27"/>
                    </a:cubicBezTo>
                    <a:cubicBezTo>
                      <a:pt x="125" y="27"/>
                      <a:pt x="124" y="27"/>
                      <a:pt x="124" y="27"/>
                    </a:cubicBezTo>
                    <a:cubicBezTo>
                      <a:pt x="123" y="27"/>
                      <a:pt x="123" y="27"/>
                      <a:pt x="123" y="27"/>
                    </a:cubicBezTo>
                    <a:cubicBezTo>
                      <a:pt x="123" y="27"/>
                      <a:pt x="122" y="27"/>
                      <a:pt x="122" y="27"/>
                    </a:cubicBezTo>
                    <a:cubicBezTo>
                      <a:pt x="122" y="27"/>
                      <a:pt x="122" y="27"/>
                      <a:pt x="122" y="27"/>
                    </a:cubicBezTo>
                    <a:cubicBezTo>
                      <a:pt x="121" y="27"/>
                      <a:pt x="121" y="27"/>
                      <a:pt x="120" y="27"/>
                    </a:cubicBezTo>
                    <a:cubicBezTo>
                      <a:pt x="120" y="26"/>
                      <a:pt x="119" y="26"/>
                      <a:pt x="119" y="26"/>
                    </a:cubicBezTo>
                    <a:cubicBezTo>
                      <a:pt x="119" y="26"/>
                      <a:pt x="119" y="26"/>
                      <a:pt x="119" y="26"/>
                    </a:cubicBezTo>
                    <a:cubicBezTo>
                      <a:pt x="118" y="26"/>
                      <a:pt x="117" y="26"/>
                      <a:pt x="116" y="25"/>
                    </a:cubicBezTo>
                    <a:cubicBezTo>
                      <a:pt x="116" y="25"/>
                      <a:pt x="116" y="25"/>
                      <a:pt x="116" y="25"/>
                    </a:cubicBezTo>
                    <a:cubicBezTo>
                      <a:pt x="116" y="24"/>
                      <a:pt x="115" y="24"/>
                      <a:pt x="115" y="24"/>
                    </a:cubicBezTo>
                    <a:cubicBezTo>
                      <a:pt x="115" y="24"/>
                      <a:pt x="115" y="24"/>
                      <a:pt x="115" y="24"/>
                    </a:cubicBezTo>
                    <a:cubicBezTo>
                      <a:pt x="115" y="24"/>
                      <a:pt x="115" y="24"/>
                      <a:pt x="115" y="24"/>
                    </a:cubicBezTo>
                    <a:cubicBezTo>
                      <a:pt x="113" y="22"/>
                      <a:pt x="113" y="22"/>
                      <a:pt x="113" y="22"/>
                    </a:cubicBezTo>
                    <a:cubicBezTo>
                      <a:pt x="112" y="22"/>
                      <a:pt x="112" y="22"/>
                      <a:pt x="112" y="22"/>
                    </a:cubicBezTo>
                    <a:cubicBezTo>
                      <a:pt x="111" y="22"/>
                      <a:pt x="111" y="22"/>
                      <a:pt x="111" y="22"/>
                    </a:cubicBezTo>
                    <a:cubicBezTo>
                      <a:pt x="110" y="22"/>
                      <a:pt x="110" y="22"/>
                      <a:pt x="109" y="22"/>
                    </a:cubicBezTo>
                    <a:cubicBezTo>
                      <a:pt x="108" y="22"/>
                      <a:pt x="108" y="22"/>
                      <a:pt x="108" y="22"/>
                    </a:cubicBezTo>
                    <a:cubicBezTo>
                      <a:pt x="108" y="22"/>
                      <a:pt x="108" y="22"/>
                      <a:pt x="108" y="22"/>
                    </a:cubicBezTo>
                    <a:cubicBezTo>
                      <a:pt x="108" y="22"/>
                      <a:pt x="108" y="22"/>
                      <a:pt x="108" y="22"/>
                    </a:cubicBezTo>
                    <a:cubicBezTo>
                      <a:pt x="108" y="22"/>
                      <a:pt x="107" y="22"/>
                      <a:pt x="106" y="22"/>
                    </a:cubicBezTo>
                    <a:cubicBezTo>
                      <a:pt x="106" y="22"/>
                      <a:pt x="106" y="22"/>
                      <a:pt x="106" y="22"/>
                    </a:cubicBezTo>
                    <a:cubicBezTo>
                      <a:pt x="106" y="22"/>
                      <a:pt x="105" y="22"/>
                      <a:pt x="105" y="22"/>
                    </a:cubicBezTo>
                    <a:cubicBezTo>
                      <a:pt x="105" y="22"/>
                      <a:pt x="105" y="22"/>
                      <a:pt x="105" y="22"/>
                    </a:cubicBezTo>
                    <a:cubicBezTo>
                      <a:pt x="104" y="22"/>
                      <a:pt x="104" y="21"/>
                      <a:pt x="103" y="21"/>
                    </a:cubicBezTo>
                    <a:cubicBezTo>
                      <a:pt x="103" y="21"/>
                      <a:pt x="103" y="20"/>
                      <a:pt x="103" y="20"/>
                    </a:cubicBezTo>
                    <a:cubicBezTo>
                      <a:pt x="103" y="20"/>
                      <a:pt x="101" y="19"/>
                      <a:pt x="100" y="18"/>
                    </a:cubicBezTo>
                    <a:cubicBezTo>
                      <a:pt x="99" y="18"/>
                      <a:pt x="99" y="18"/>
                      <a:pt x="99" y="18"/>
                    </a:cubicBezTo>
                    <a:cubicBezTo>
                      <a:pt x="99" y="18"/>
                      <a:pt x="99" y="18"/>
                      <a:pt x="99" y="18"/>
                    </a:cubicBezTo>
                    <a:cubicBezTo>
                      <a:pt x="99" y="18"/>
                      <a:pt x="99" y="18"/>
                      <a:pt x="99" y="18"/>
                    </a:cubicBezTo>
                    <a:cubicBezTo>
                      <a:pt x="99" y="18"/>
                      <a:pt x="98" y="18"/>
                      <a:pt x="98" y="18"/>
                    </a:cubicBezTo>
                    <a:cubicBezTo>
                      <a:pt x="97" y="17"/>
                      <a:pt x="97" y="16"/>
                      <a:pt x="97" y="15"/>
                    </a:cubicBezTo>
                    <a:cubicBezTo>
                      <a:pt x="95" y="16"/>
                      <a:pt x="93" y="17"/>
                      <a:pt x="91" y="16"/>
                    </a:cubicBezTo>
                    <a:cubicBezTo>
                      <a:pt x="90" y="15"/>
                      <a:pt x="90" y="15"/>
                      <a:pt x="90" y="15"/>
                    </a:cubicBezTo>
                    <a:cubicBezTo>
                      <a:pt x="90" y="14"/>
                      <a:pt x="90" y="14"/>
                      <a:pt x="90" y="14"/>
                    </a:cubicBezTo>
                    <a:cubicBezTo>
                      <a:pt x="90" y="14"/>
                      <a:pt x="90" y="14"/>
                      <a:pt x="90" y="13"/>
                    </a:cubicBezTo>
                    <a:cubicBezTo>
                      <a:pt x="91" y="13"/>
                      <a:pt x="91" y="13"/>
                      <a:pt x="91" y="13"/>
                    </a:cubicBezTo>
                    <a:cubicBezTo>
                      <a:pt x="91" y="13"/>
                      <a:pt x="91" y="12"/>
                      <a:pt x="91" y="12"/>
                    </a:cubicBezTo>
                    <a:cubicBezTo>
                      <a:pt x="91" y="12"/>
                      <a:pt x="91" y="12"/>
                      <a:pt x="91" y="12"/>
                    </a:cubicBezTo>
                    <a:cubicBezTo>
                      <a:pt x="90" y="12"/>
                      <a:pt x="90" y="11"/>
                      <a:pt x="90" y="11"/>
                    </a:cubicBezTo>
                    <a:cubicBezTo>
                      <a:pt x="90" y="11"/>
                      <a:pt x="89" y="11"/>
                      <a:pt x="89" y="11"/>
                    </a:cubicBezTo>
                    <a:cubicBezTo>
                      <a:pt x="89" y="11"/>
                      <a:pt x="88" y="11"/>
                      <a:pt x="88" y="11"/>
                    </a:cubicBezTo>
                    <a:cubicBezTo>
                      <a:pt x="88" y="11"/>
                      <a:pt x="88" y="11"/>
                      <a:pt x="88" y="11"/>
                    </a:cubicBezTo>
                    <a:cubicBezTo>
                      <a:pt x="86" y="12"/>
                      <a:pt x="86" y="12"/>
                      <a:pt x="86" y="12"/>
                    </a:cubicBezTo>
                    <a:cubicBezTo>
                      <a:pt x="86" y="11"/>
                      <a:pt x="86" y="11"/>
                      <a:pt x="86" y="11"/>
                    </a:cubicBezTo>
                    <a:cubicBezTo>
                      <a:pt x="86" y="10"/>
                      <a:pt x="85" y="10"/>
                      <a:pt x="85" y="10"/>
                    </a:cubicBezTo>
                    <a:cubicBezTo>
                      <a:pt x="85" y="9"/>
                      <a:pt x="85" y="9"/>
                      <a:pt x="85" y="9"/>
                    </a:cubicBezTo>
                    <a:cubicBezTo>
                      <a:pt x="85" y="9"/>
                      <a:pt x="85" y="9"/>
                      <a:pt x="85" y="9"/>
                    </a:cubicBezTo>
                    <a:cubicBezTo>
                      <a:pt x="85" y="9"/>
                      <a:pt x="85" y="9"/>
                      <a:pt x="84" y="9"/>
                    </a:cubicBezTo>
                    <a:cubicBezTo>
                      <a:pt x="84" y="9"/>
                      <a:pt x="84" y="9"/>
                      <a:pt x="84" y="9"/>
                    </a:cubicBezTo>
                    <a:cubicBezTo>
                      <a:pt x="84" y="9"/>
                      <a:pt x="83" y="9"/>
                      <a:pt x="83" y="9"/>
                    </a:cubicBezTo>
                    <a:cubicBezTo>
                      <a:pt x="83" y="9"/>
                      <a:pt x="83" y="9"/>
                      <a:pt x="83" y="9"/>
                    </a:cubicBezTo>
                    <a:cubicBezTo>
                      <a:pt x="82" y="8"/>
                      <a:pt x="82" y="8"/>
                      <a:pt x="82" y="8"/>
                    </a:cubicBezTo>
                    <a:cubicBezTo>
                      <a:pt x="81" y="8"/>
                      <a:pt x="81" y="7"/>
                      <a:pt x="81" y="6"/>
                    </a:cubicBezTo>
                    <a:cubicBezTo>
                      <a:pt x="81" y="6"/>
                      <a:pt x="81" y="6"/>
                      <a:pt x="81" y="6"/>
                    </a:cubicBezTo>
                    <a:cubicBezTo>
                      <a:pt x="81" y="5"/>
                      <a:pt x="81" y="5"/>
                      <a:pt x="81" y="5"/>
                    </a:cubicBezTo>
                    <a:cubicBezTo>
                      <a:pt x="81" y="5"/>
                      <a:pt x="81" y="5"/>
                      <a:pt x="81" y="5"/>
                    </a:cubicBezTo>
                    <a:cubicBezTo>
                      <a:pt x="80" y="5"/>
                      <a:pt x="80" y="5"/>
                      <a:pt x="80" y="5"/>
                    </a:cubicBezTo>
                    <a:cubicBezTo>
                      <a:pt x="80" y="5"/>
                      <a:pt x="80" y="5"/>
                      <a:pt x="79" y="6"/>
                    </a:cubicBezTo>
                    <a:cubicBezTo>
                      <a:pt x="79" y="6"/>
                      <a:pt x="79" y="6"/>
                      <a:pt x="79" y="6"/>
                    </a:cubicBezTo>
                    <a:cubicBezTo>
                      <a:pt x="79" y="6"/>
                      <a:pt x="78" y="6"/>
                      <a:pt x="77" y="6"/>
                    </a:cubicBezTo>
                    <a:cubicBezTo>
                      <a:pt x="77" y="6"/>
                      <a:pt x="77" y="6"/>
                      <a:pt x="77" y="6"/>
                    </a:cubicBezTo>
                    <a:cubicBezTo>
                      <a:pt x="77" y="5"/>
                      <a:pt x="76" y="5"/>
                      <a:pt x="76" y="4"/>
                    </a:cubicBezTo>
                    <a:cubicBezTo>
                      <a:pt x="76" y="4"/>
                      <a:pt x="76" y="4"/>
                      <a:pt x="76" y="4"/>
                    </a:cubicBezTo>
                    <a:cubicBezTo>
                      <a:pt x="76" y="4"/>
                      <a:pt x="76" y="4"/>
                      <a:pt x="76" y="4"/>
                    </a:cubicBezTo>
                    <a:cubicBezTo>
                      <a:pt x="75" y="4"/>
                      <a:pt x="75" y="3"/>
                      <a:pt x="74" y="2"/>
                    </a:cubicBezTo>
                    <a:cubicBezTo>
                      <a:pt x="74" y="1"/>
                      <a:pt x="74" y="0"/>
                      <a:pt x="74" y="0"/>
                    </a:cubicBezTo>
                    <a:cubicBezTo>
                      <a:pt x="71" y="1"/>
                      <a:pt x="69" y="1"/>
                      <a:pt x="66" y="2"/>
                    </a:cubicBezTo>
                    <a:cubicBezTo>
                      <a:pt x="64" y="3"/>
                      <a:pt x="65" y="8"/>
                      <a:pt x="65" y="10"/>
                    </a:cubicBezTo>
                    <a:cubicBezTo>
                      <a:pt x="65" y="11"/>
                      <a:pt x="66" y="12"/>
                      <a:pt x="65" y="12"/>
                    </a:cubicBezTo>
                    <a:cubicBezTo>
                      <a:pt x="63" y="14"/>
                      <a:pt x="61" y="15"/>
                      <a:pt x="58" y="15"/>
                    </a:cubicBezTo>
                    <a:cubicBezTo>
                      <a:pt x="57" y="16"/>
                      <a:pt x="55" y="16"/>
                      <a:pt x="53" y="17"/>
                    </a:cubicBezTo>
                    <a:cubicBezTo>
                      <a:pt x="53" y="17"/>
                      <a:pt x="51" y="18"/>
                      <a:pt x="51" y="18"/>
                    </a:cubicBezTo>
                    <a:cubicBezTo>
                      <a:pt x="51" y="19"/>
                      <a:pt x="50" y="20"/>
                      <a:pt x="50" y="20"/>
                    </a:cubicBezTo>
                    <a:cubicBezTo>
                      <a:pt x="50" y="22"/>
                      <a:pt x="53" y="21"/>
                      <a:pt x="54" y="21"/>
                    </a:cubicBezTo>
                    <a:cubicBezTo>
                      <a:pt x="52" y="22"/>
                      <a:pt x="49" y="23"/>
                      <a:pt x="47" y="24"/>
                    </a:cubicBezTo>
                    <a:cubicBezTo>
                      <a:pt x="46" y="24"/>
                      <a:pt x="44" y="24"/>
                      <a:pt x="43" y="24"/>
                    </a:cubicBezTo>
                    <a:cubicBezTo>
                      <a:pt x="42" y="23"/>
                      <a:pt x="40" y="23"/>
                      <a:pt x="38" y="23"/>
                    </a:cubicBezTo>
                    <a:cubicBezTo>
                      <a:pt x="37" y="23"/>
                      <a:pt x="38" y="23"/>
                      <a:pt x="37" y="22"/>
                    </a:cubicBezTo>
                    <a:cubicBezTo>
                      <a:pt x="36" y="21"/>
                      <a:pt x="36" y="21"/>
                      <a:pt x="36" y="20"/>
                    </a:cubicBezTo>
                    <a:cubicBezTo>
                      <a:pt x="36" y="19"/>
                      <a:pt x="37" y="19"/>
                      <a:pt x="35" y="18"/>
                    </a:cubicBezTo>
                    <a:cubicBezTo>
                      <a:pt x="35" y="18"/>
                      <a:pt x="34" y="18"/>
                      <a:pt x="34" y="18"/>
                    </a:cubicBezTo>
                    <a:cubicBezTo>
                      <a:pt x="33" y="18"/>
                      <a:pt x="33" y="19"/>
                      <a:pt x="33" y="19"/>
                    </a:cubicBezTo>
                    <a:cubicBezTo>
                      <a:pt x="32" y="19"/>
                      <a:pt x="32" y="19"/>
                      <a:pt x="32" y="19"/>
                    </a:cubicBezTo>
                    <a:cubicBezTo>
                      <a:pt x="31" y="18"/>
                      <a:pt x="30" y="18"/>
                      <a:pt x="29" y="18"/>
                    </a:cubicBezTo>
                    <a:cubicBezTo>
                      <a:pt x="30" y="20"/>
                      <a:pt x="31" y="21"/>
                      <a:pt x="31" y="23"/>
                    </a:cubicBezTo>
                    <a:cubicBezTo>
                      <a:pt x="31" y="23"/>
                      <a:pt x="31" y="23"/>
                      <a:pt x="31" y="23"/>
                    </a:cubicBezTo>
                    <a:cubicBezTo>
                      <a:pt x="32" y="23"/>
                      <a:pt x="32" y="24"/>
                      <a:pt x="32" y="25"/>
                    </a:cubicBezTo>
                    <a:cubicBezTo>
                      <a:pt x="33" y="24"/>
                      <a:pt x="33" y="29"/>
                      <a:pt x="34" y="30"/>
                    </a:cubicBezTo>
                    <a:cubicBezTo>
                      <a:pt x="34" y="31"/>
                      <a:pt x="34" y="32"/>
                      <a:pt x="35" y="32"/>
                    </a:cubicBezTo>
                    <a:cubicBezTo>
                      <a:pt x="33" y="32"/>
                      <a:pt x="32" y="32"/>
                      <a:pt x="30" y="32"/>
                    </a:cubicBezTo>
                    <a:cubicBezTo>
                      <a:pt x="29" y="31"/>
                      <a:pt x="28" y="33"/>
                      <a:pt x="29" y="34"/>
                    </a:cubicBezTo>
                    <a:cubicBezTo>
                      <a:pt x="28" y="32"/>
                      <a:pt x="26" y="33"/>
                      <a:pt x="24" y="33"/>
                    </a:cubicBezTo>
                    <a:cubicBezTo>
                      <a:pt x="23" y="33"/>
                      <a:pt x="22" y="33"/>
                      <a:pt x="21" y="34"/>
                    </a:cubicBezTo>
                    <a:cubicBezTo>
                      <a:pt x="21" y="33"/>
                      <a:pt x="19" y="30"/>
                      <a:pt x="18" y="30"/>
                    </a:cubicBezTo>
                    <a:cubicBezTo>
                      <a:pt x="18" y="30"/>
                      <a:pt x="17" y="30"/>
                      <a:pt x="17" y="29"/>
                    </a:cubicBezTo>
                    <a:cubicBezTo>
                      <a:pt x="16" y="30"/>
                      <a:pt x="14" y="31"/>
                      <a:pt x="12" y="32"/>
                    </a:cubicBezTo>
                    <a:cubicBezTo>
                      <a:pt x="10" y="32"/>
                      <a:pt x="8" y="32"/>
                      <a:pt x="7" y="33"/>
                    </a:cubicBezTo>
                    <a:cubicBezTo>
                      <a:pt x="4" y="33"/>
                      <a:pt x="2" y="34"/>
                      <a:pt x="0" y="34"/>
                    </a:cubicBezTo>
                    <a:cubicBezTo>
                      <a:pt x="0" y="34"/>
                      <a:pt x="0" y="36"/>
                      <a:pt x="0" y="36"/>
                    </a:cubicBezTo>
                    <a:cubicBezTo>
                      <a:pt x="1" y="37"/>
                      <a:pt x="4" y="36"/>
                      <a:pt x="5" y="35"/>
                    </a:cubicBezTo>
                    <a:cubicBezTo>
                      <a:pt x="4" y="35"/>
                      <a:pt x="4" y="36"/>
                      <a:pt x="3" y="36"/>
                    </a:cubicBezTo>
                    <a:cubicBezTo>
                      <a:pt x="4" y="36"/>
                      <a:pt x="5" y="36"/>
                      <a:pt x="5" y="36"/>
                    </a:cubicBezTo>
                    <a:cubicBezTo>
                      <a:pt x="5" y="37"/>
                      <a:pt x="3" y="37"/>
                      <a:pt x="2" y="37"/>
                    </a:cubicBezTo>
                    <a:cubicBezTo>
                      <a:pt x="2" y="37"/>
                      <a:pt x="2" y="37"/>
                      <a:pt x="2" y="38"/>
                    </a:cubicBezTo>
                    <a:cubicBezTo>
                      <a:pt x="3" y="38"/>
                      <a:pt x="3" y="37"/>
                      <a:pt x="4" y="38"/>
                    </a:cubicBezTo>
                    <a:cubicBezTo>
                      <a:pt x="5" y="38"/>
                      <a:pt x="5" y="39"/>
                      <a:pt x="4" y="39"/>
                    </a:cubicBezTo>
                    <a:cubicBezTo>
                      <a:pt x="4" y="39"/>
                      <a:pt x="3" y="39"/>
                      <a:pt x="3" y="39"/>
                    </a:cubicBezTo>
                    <a:cubicBezTo>
                      <a:pt x="2" y="40"/>
                      <a:pt x="1" y="40"/>
                      <a:pt x="1" y="40"/>
                    </a:cubicBezTo>
                    <a:cubicBezTo>
                      <a:pt x="2" y="41"/>
                      <a:pt x="3" y="42"/>
                      <a:pt x="5" y="43"/>
                    </a:cubicBezTo>
                    <a:cubicBezTo>
                      <a:pt x="4" y="43"/>
                      <a:pt x="4" y="43"/>
                      <a:pt x="4" y="43"/>
                    </a:cubicBezTo>
                    <a:cubicBezTo>
                      <a:pt x="5" y="43"/>
                      <a:pt x="6" y="42"/>
                      <a:pt x="7" y="42"/>
                    </a:cubicBezTo>
                    <a:cubicBezTo>
                      <a:pt x="9" y="42"/>
                      <a:pt x="12" y="43"/>
                      <a:pt x="13" y="44"/>
                    </a:cubicBezTo>
                    <a:cubicBezTo>
                      <a:pt x="14" y="45"/>
                      <a:pt x="17" y="46"/>
                      <a:pt x="17" y="47"/>
                    </a:cubicBezTo>
                    <a:cubicBezTo>
                      <a:pt x="17" y="46"/>
                      <a:pt x="17" y="47"/>
                      <a:pt x="18" y="46"/>
                    </a:cubicBezTo>
                    <a:cubicBezTo>
                      <a:pt x="18" y="46"/>
                      <a:pt x="19" y="46"/>
                      <a:pt x="18" y="45"/>
                    </a:cubicBezTo>
                    <a:cubicBezTo>
                      <a:pt x="20" y="46"/>
                      <a:pt x="22" y="47"/>
                      <a:pt x="24" y="48"/>
                    </a:cubicBezTo>
                    <a:cubicBezTo>
                      <a:pt x="22" y="50"/>
                      <a:pt x="25" y="50"/>
                      <a:pt x="26" y="50"/>
                    </a:cubicBezTo>
                    <a:cubicBezTo>
                      <a:pt x="27" y="50"/>
                      <a:pt x="27" y="50"/>
                      <a:pt x="28" y="50"/>
                    </a:cubicBezTo>
                    <a:cubicBezTo>
                      <a:pt x="29" y="49"/>
                      <a:pt x="30" y="50"/>
                      <a:pt x="31" y="51"/>
                    </a:cubicBezTo>
                    <a:cubicBezTo>
                      <a:pt x="30" y="51"/>
                      <a:pt x="29" y="50"/>
                      <a:pt x="28" y="50"/>
                    </a:cubicBezTo>
                    <a:cubicBezTo>
                      <a:pt x="27" y="50"/>
                      <a:pt x="27" y="51"/>
                      <a:pt x="26" y="52"/>
                    </a:cubicBezTo>
                    <a:cubicBezTo>
                      <a:pt x="27" y="52"/>
                      <a:pt x="28" y="53"/>
                      <a:pt x="29" y="53"/>
                    </a:cubicBezTo>
                    <a:cubicBezTo>
                      <a:pt x="27" y="56"/>
                      <a:pt x="26" y="55"/>
                      <a:pt x="29" y="57"/>
                    </a:cubicBezTo>
                    <a:cubicBezTo>
                      <a:pt x="29" y="58"/>
                      <a:pt x="30" y="59"/>
                      <a:pt x="30" y="59"/>
                    </a:cubicBezTo>
                    <a:cubicBezTo>
                      <a:pt x="30" y="60"/>
                      <a:pt x="30" y="60"/>
                      <a:pt x="30" y="60"/>
                    </a:cubicBezTo>
                    <a:cubicBezTo>
                      <a:pt x="32" y="61"/>
                      <a:pt x="36" y="62"/>
                      <a:pt x="38" y="62"/>
                    </a:cubicBezTo>
                    <a:cubicBezTo>
                      <a:pt x="36" y="64"/>
                      <a:pt x="37" y="65"/>
                      <a:pt x="37" y="67"/>
                    </a:cubicBezTo>
                    <a:cubicBezTo>
                      <a:pt x="38" y="68"/>
                      <a:pt x="37" y="68"/>
                      <a:pt x="37" y="69"/>
                    </a:cubicBezTo>
                    <a:cubicBezTo>
                      <a:pt x="37" y="69"/>
                      <a:pt x="37" y="69"/>
                      <a:pt x="36" y="69"/>
                    </a:cubicBezTo>
                    <a:cubicBezTo>
                      <a:pt x="36" y="70"/>
                      <a:pt x="37" y="71"/>
                      <a:pt x="38" y="72"/>
                    </a:cubicBezTo>
                    <a:cubicBezTo>
                      <a:pt x="38" y="72"/>
                      <a:pt x="38" y="72"/>
                      <a:pt x="37" y="73"/>
                    </a:cubicBezTo>
                    <a:cubicBezTo>
                      <a:pt x="37" y="74"/>
                      <a:pt x="37" y="76"/>
                      <a:pt x="37" y="78"/>
                    </a:cubicBezTo>
                    <a:cubicBezTo>
                      <a:pt x="37" y="79"/>
                      <a:pt x="37" y="81"/>
                      <a:pt x="38" y="82"/>
                    </a:cubicBezTo>
                    <a:cubicBezTo>
                      <a:pt x="38" y="82"/>
                      <a:pt x="38" y="83"/>
                      <a:pt x="38" y="83"/>
                    </a:cubicBezTo>
                    <a:cubicBezTo>
                      <a:pt x="38" y="84"/>
                      <a:pt x="37" y="85"/>
                      <a:pt x="36" y="86"/>
                    </a:cubicBezTo>
                    <a:cubicBezTo>
                      <a:pt x="36" y="87"/>
                      <a:pt x="36" y="88"/>
                      <a:pt x="35" y="89"/>
                    </a:cubicBezTo>
                    <a:cubicBezTo>
                      <a:pt x="35" y="92"/>
                      <a:pt x="35" y="96"/>
                      <a:pt x="32" y="98"/>
                    </a:cubicBezTo>
                    <a:cubicBezTo>
                      <a:pt x="32" y="98"/>
                      <a:pt x="32" y="99"/>
                      <a:pt x="32" y="99"/>
                    </a:cubicBezTo>
                    <a:cubicBezTo>
                      <a:pt x="32" y="99"/>
                      <a:pt x="32" y="99"/>
                      <a:pt x="32" y="99"/>
                    </a:cubicBezTo>
                    <a:cubicBezTo>
                      <a:pt x="34" y="99"/>
                      <a:pt x="35" y="100"/>
                      <a:pt x="36" y="101"/>
                    </a:cubicBezTo>
                    <a:cubicBezTo>
                      <a:pt x="36" y="102"/>
                      <a:pt x="36" y="102"/>
                      <a:pt x="36" y="103"/>
                    </a:cubicBezTo>
                    <a:cubicBezTo>
                      <a:pt x="36" y="103"/>
                      <a:pt x="36" y="103"/>
                      <a:pt x="36" y="103"/>
                    </a:cubicBezTo>
                    <a:cubicBezTo>
                      <a:pt x="37" y="103"/>
                      <a:pt x="37" y="103"/>
                      <a:pt x="37" y="103"/>
                    </a:cubicBezTo>
                    <a:cubicBezTo>
                      <a:pt x="37" y="103"/>
                      <a:pt x="38" y="103"/>
                      <a:pt x="38" y="103"/>
                    </a:cubicBezTo>
                    <a:cubicBezTo>
                      <a:pt x="39" y="103"/>
                      <a:pt x="39" y="103"/>
                      <a:pt x="39" y="103"/>
                    </a:cubicBezTo>
                    <a:cubicBezTo>
                      <a:pt x="39" y="103"/>
                      <a:pt x="40" y="103"/>
                      <a:pt x="41" y="104"/>
                    </a:cubicBezTo>
                    <a:cubicBezTo>
                      <a:pt x="41" y="104"/>
                      <a:pt x="42" y="104"/>
                      <a:pt x="42" y="104"/>
                    </a:cubicBezTo>
                    <a:cubicBezTo>
                      <a:pt x="42" y="104"/>
                      <a:pt x="42" y="104"/>
                      <a:pt x="42" y="104"/>
                    </a:cubicBezTo>
                    <a:cubicBezTo>
                      <a:pt x="43" y="104"/>
                      <a:pt x="43" y="105"/>
                      <a:pt x="43" y="105"/>
                    </a:cubicBezTo>
                    <a:cubicBezTo>
                      <a:pt x="44" y="105"/>
                      <a:pt x="44" y="105"/>
                      <a:pt x="44" y="105"/>
                    </a:cubicBezTo>
                    <a:cubicBezTo>
                      <a:pt x="44" y="105"/>
                      <a:pt x="44" y="105"/>
                      <a:pt x="44" y="105"/>
                    </a:cubicBezTo>
                    <a:cubicBezTo>
                      <a:pt x="45" y="105"/>
                      <a:pt x="45" y="105"/>
                      <a:pt x="46" y="105"/>
                    </a:cubicBezTo>
                    <a:cubicBezTo>
                      <a:pt x="46" y="105"/>
                      <a:pt x="46" y="105"/>
                      <a:pt x="46" y="105"/>
                    </a:cubicBezTo>
                    <a:cubicBezTo>
                      <a:pt x="46" y="105"/>
                      <a:pt x="47" y="105"/>
                      <a:pt x="47" y="105"/>
                    </a:cubicBezTo>
                    <a:cubicBezTo>
                      <a:pt x="47" y="105"/>
                      <a:pt x="47" y="106"/>
                      <a:pt x="48" y="106"/>
                    </a:cubicBezTo>
                    <a:cubicBezTo>
                      <a:pt x="48" y="106"/>
                      <a:pt x="48" y="106"/>
                      <a:pt x="49" y="107"/>
                    </a:cubicBezTo>
                    <a:cubicBezTo>
                      <a:pt x="49" y="107"/>
                      <a:pt x="49" y="107"/>
                      <a:pt x="49" y="107"/>
                    </a:cubicBezTo>
                    <a:cubicBezTo>
                      <a:pt x="51" y="107"/>
                      <a:pt x="51" y="107"/>
                      <a:pt x="51" y="107"/>
                    </a:cubicBezTo>
                    <a:cubicBezTo>
                      <a:pt x="52" y="107"/>
                      <a:pt x="53" y="107"/>
                      <a:pt x="54" y="107"/>
                    </a:cubicBezTo>
                    <a:cubicBezTo>
                      <a:pt x="54" y="106"/>
                      <a:pt x="55" y="105"/>
                      <a:pt x="55" y="105"/>
                    </a:cubicBezTo>
                    <a:cubicBezTo>
                      <a:pt x="55" y="105"/>
                      <a:pt x="56" y="104"/>
                      <a:pt x="57" y="105"/>
                    </a:cubicBezTo>
                    <a:cubicBezTo>
                      <a:pt x="57" y="105"/>
                      <a:pt x="58" y="105"/>
                      <a:pt x="59" y="106"/>
                    </a:cubicBezTo>
                    <a:cubicBezTo>
                      <a:pt x="60" y="106"/>
                      <a:pt x="60" y="106"/>
                      <a:pt x="60" y="106"/>
                    </a:cubicBezTo>
                    <a:cubicBezTo>
                      <a:pt x="60" y="106"/>
                      <a:pt x="61" y="106"/>
                      <a:pt x="61" y="106"/>
                    </a:cubicBezTo>
                    <a:cubicBezTo>
                      <a:pt x="63" y="107"/>
                      <a:pt x="65" y="108"/>
                      <a:pt x="67" y="108"/>
                    </a:cubicBezTo>
                    <a:cubicBezTo>
                      <a:pt x="69" y="108"/>
                      <a:pt x="69" y="108"/>
                      <a:pt x="69" y="108"/>
                    </a:cubicBezTo>
                    <a:cubicBezTo>
                      <a:pt x="68" y="110"/>
                      <a:pt x="68" y="110"/>
                      <a:pt x="68" y="110"/>
                    </a:cubicBezTo>
                    <a:cubicBezTo>
                      <a:pt x="68" y="110"/>
                      <a:pt x="69" y="110"/>
                      <a:pt x="69" y="110"/>
                    </a:cubicBezTo>
                    <a:cubicBezTo>
                      <a:pt x="69" y="110"/>
                      <a:pt x="69" y="110"/>
                      <a:pt x="69" y="110"/>
                    </a:cubicBezTo>
                    <a:cubicBezTo>
                      <a:pt x="69" y="110"/>
                      <a:pt x="69" y="110"/>
                      <a:pt x="69" y="110"/>
                    </a:cubicBezTo>
                    <a:cubicBezTo>
                      <a:pt x="70" y="110"/>
                      <a:pt x="72" y="111"/>
                      <a:pt x="74" y="111"/>
                    </a:cubicBezTo>
                    <a:cubicBezTo>
                      <a:pt x="74" y="111"/>
                      <a:pt x="75" y="111"/>
                      <a:pt x="76" y="111"/>
                    </a:cubicBezTo>
                    <a:cubicBezTo>
                      <a:pt x="76" y="111"/>
                      <a:pt x="76" y="111"/>
                      <a:pt x="76" y="111"/>
                    </a:cubicBezTo>
                    <a:cubicBezTo>
                      <a:pt x="76" y="111"/>
                      <a:pt x="76" y="111"/>
                      <a:pt x="77" y="111"/>
                    </a:cubicBezTo>
                    <a:cubicBezTo>
                      <a:pt x="81" y="110"/>
                      <a:pt x="81" y="110"/>
                      <a:pt x="81" y="110"/>
                    </a:cubicBezTo>
                    <a:cubicBezTo>
                      <a:pt x="81" y="109"/>
                      <a:pt x="80" y="108"/>
                      <a:pt x="80" y="106"/>
                    </a:cubicBezTo>
                    <a:cubicBezTo>
                      <a:pt x="80" y="106"/>
                      <a:pt x="79" y="106"/>
                      <a:pt x="80" y="106"/>
                    </a:cubicBezTo>
                    <a:cubicBezTo>
                      <a:pt x="80" y="105"/>
                      <a:pt x="80" y="104"/>
                      <a:pt x="81" y="103"/>
                    </a:cubicBezTo>
                    <a:cubicBezTo>
                      <a:pt x="83" y="100"/>
                      <a:pt x="86" y="100"/>
                      <a:pt x="88" y="98"/>
                    </a:cubicBezTo>
                    <a:cubicBezTo>
                      <a:pt x="90" y="98"/>
                      <a:pt x="90" y="97"/>
                      <a:pt x="91" y="98"/>
                    </a:cubicBezTo>
                    <a:cubicBezTo>
                      <a:pt x="93" y="98"/>
                      <a:pt x="94" y="98"/>
                      <a:pt x="96" y="98"/>
                    </a:cubicBezTo>
                    <a:cubicBezTo>
                      <a:pt x="96" y="98"/>
                      <a:pt x="97" y="98"/>
                      <a:pt x="97" y="98"/>
                    </a:cubicBezTo>
                    <a:cubicBezTo>
                      <a:pt x="97" y="98"/>
                      <a:pt x="97" y="99"/>
                      <a:pt x="97" y="99"/>
                    </a:cubicBezTo>
                    <a:cubicBezTo>
                      <a:pt x="98" y="99"/>
                      <a:pt x="99" y="99"/>
                      <a:pt x="100" y="99"/>
                    </a:cubicBezTo>
                    <a:cubicBezTo>
                      <a:pt x="99" y="100"/>
                      <a:pt x="103" y="99"/>
                      <a:pt x="103" y="100"/>
                    </a:cubicBezTo>
                    <a:cubicBezTo>
                      <a:pt x="104" y="100"/>
                      <a:pt x="103" y="101"/>
                      <a:pt x="104" y="101"/>
                    </a:cubicBezTo>
                    <a:cubicBezTo>
                      <a:pt x="104" y="101"/>
                      <a:pt x="105" y="102"/>
                      <a:pt x="106" y="102"/>
                    </a:cubicBezTo>
                    <a:cubicBezTo>
                      <a:pt x="107" y="102"/>
                      <a:pt x="107" y="102"/>
                      <a:pt x="108" y="102"/>
                    </a:cubicBezTo>
                    <a:cubicBezTo>
                      <a:pt x="108" y="103"/>
                      <a:pt x="108" y="103"/>
                      <a:pt x="108" y="103"/>
                    </a:cubicBezTo>
                    <a:cubicBezTo>
                      <a:pt x="109" y="103"/>
                      <a:pt x="109" y="103"/>
                      <a:pt x="110" y="103"/>
                    </a:cubicBezTo>
                    <a:cubicBezTo>
                      <a:pt x="111" y="103"/>
                      <a:pt x="112" y="103"/>
                      <a:pt x="111" y="103"/>
                    </a:cubicBezTo>
                    <a:cubicBezTo>
                      <a:pt x="114" y="104"/>
                      <a:pt x="117" y="100"/>
                      <a:pt x="119" y="98"/>
                    </a:cubicBezTo>
                    <a:cubicBezTo>
                      <a:pt x="120" y="98"/>
                      <a:pt x="120" y="97"/>
                      <a:pt x="122" y="97"/>
                    </a:cubicBezTo>
                    <a:cubicBezTo>
                      <a:pt x="122" y="97"/>
                      <a:pt x="123" y="96"/>
                      <a:pt x="124" y="95"/>
                    </a:cubicBezTo>
                    <a:cubicBezTo>
                      <a:pt x="124" y="95"/>
                      <a:pt x="125" y="95"/>
                      <a:pt x="125" y="95"/>
                    </a:cubicBezTo>
                    <a:lnTo>
                      <a:pt x="125"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2" name="Freeform 3084">
                <a:extLst>
                  <a:ext uri="{FF2B5EF4-FFF2-40B4-BE49-F238E27FC236}">
                    <a16:creationId xmlns:a16="http://schemas.microsoft.com/office/drawing/2014/main" id="{FD5B761B-48DD-48C7-B1D4-442C9B7774D2}"/>
                  </a:ext>
                </a:extLst>
              </p:cNvPr>
              <p:cNvSpPr>
                <a:spLocks/>
              </p:cNvSpPr>
              <p:nvPr/>
            </p:nvSpPr>
            <p:spPr bwMode="auto">
              <a:xfrm>
                <a:off x="3613" y="1411"/>
                <a:ext cx="87" cy="57"/>
              </a:xfrm>
              <a:custGeom>
                <a:avLst/>
                <a:gdLst>
                  <a:gd name="T0" fmla="*/ 0 w 37"/>
                  <a:gd name="T1" fmla="*/ 6 h 24"/>
                  <a:gd name="T2" fmla="*/ 2 w 37"/>
                  <a:gd name="T3" fmla="*/ 8 h 24"/>
                  <a:gd name="T4" fmla="*/ 4 w 37"/>
                  <a:gd name="T5" fmla="*/ 8 h 24"/>
                  <a:gd name="T6" fmla="*/ 7 w 37"/>
                  <a:gd name="T7" fmla="*/ 9 h 24"/>
                  <a:gd name="T8" fmla="*/ 7 w 37"/>
                  <a:gd name="T9" fmla="*/ 10 h 24"/>
                  <a:gd name="T10" fmla="*/ 8 w 37"/>
                  <a:gd name="T11" fmla="*/ 11 h 24"/>
                  <a:gd name="T12" fmla="*/ 9 w 37"/>
                  <a:gd name="T13" fmla="*/ 11 h 24"/>
                  <a:gd name="T14" fmla="*/ 10 w 37"/>
                  <a:gd name="T15" fmla="*/ 11 h 24"/>
                  <a:gd name="T16" fmla="*/ 12 w 37"/>
                  <a:gd name="T17" fmla="*/ 13 h 24"/>
                  <a:gd name="T18" fmla="*/ 17 w 37"/>
                  <a:gd name="T19" fmla="*/ 15 h 24"/>
                  <a:gd name="T20" fmla="*/ 17 w 37"/>
                  <a:gd name="T21" fmla="*/ 17 h 24"/>
                  <a:gd name="T22" fmla="*/ 17 w 37"/>
                  <a:gd name="T23" fmla="*/ 19 h 24"/>
                  <a:gd name="T24" fmla="*/ 20 w 37"/>
                  <a:gd name="T25" fmla="*/ 17 h 24"/>
                  <a:gd name="T26" fmla="*/ 21 w 37"/>
                  <a:gd name="T27" fmla="*/ 16 h 24"/>
                  <a:gd name="T28" fmla="*/ 23 w 37"/>
                  <a:gd name="T29" fmla="*/ 17 h 24"/>
                  <a:gd name="T30" fmla="*/ 24 w 37"/>
                  <a:gd name="T31" fmla="*/ 21 h 24"/>
                  <a:gd name="T32" fmla="*/ 25 w 37"/>
                  <a:gd name="T33" fmla="*/ 21 h 24"/>
                  <a:gd name="T34" fmla="*/ 30 w 37"/>
                  <a:gd name="T35" fmla="*/ 24 h 24"/>
                  <a:gd name="T36" fmla="*/ 32 w 37"/>
                  <a:gd name="T37" fmla="*/ 24 h 24"/>
                  <a:gd name="T38" fmla="*/ 32 w 37"/>
                  <a:gd name="T39" fmla="*/ 24 h 24"/>
                  <a:gd name="T40" fmla="*/ 31 w 37"/>
                  <a:gd name="T41" fmla="*/ 20 h 24"/>
                  <a:gd name="T42" fmla="*/ 32 w 37"/>
                  <a:gd name="T43" fmla="*/ 17 h 24"/>
                  <a:gd name="T44" fmla="*/ 32 w 37"/>
                  <a:gd name="T45" fmla="*/ 15 h 24"/>
                  <a:gd name="T46" fmla="*/ 34 w 37"/>
                  <a:gd name="T47" fmla="*/ 15 h 24"/>
                  <a:gd name="T48" fmla="*/ 35 w 37"/>
                  <a:gd name="T49" fmla="*/ 16 h 24"/>
                  <a:gd name="T50" fmla="*/ 36 w 37"/>
                  <a:gd name="T51" fmla="*/ 16 h 24"/>
                  <a:gd name="T52" fmla="*/ 36 w 37"/>
                  <a:gd name="T53" fmla="*/ 15 h 24"/>
                  <a:gd name="T54" fmla="*/ 37 w 37"/>
                  <a:gd name="T55" fmla="*/ 15 h 24"/>
                  <a:gd name="T56" fmla="*/ 35 w 37"/>
                  <a:gd name="T57" fmla="*/ 11 h 24"/>
                  <a:gd name="T58" fmla="*/ 34 w 37"/>
                  <a:gd name="T59" fmla="*/ 11 h 24"/>
                  <a:gd name="T60" fmla="*/ 34 w 37"/>
                  <a:gd name="T61" fmla="*/ 11 h 24"/>
                  <a:gd name="T62" fmla="*/ 33 w 37"/>
                  <a:gd name="T63" fmla="*/ 10 h 24"/>
                  <a:gd name="T64" fmla="*/ 31 w 37"/>
                  <a:gd name="T65" fmla="*/ 10 h 24"/>
                  <a:gd name="T66" fmla="*/ 30 w 37"/>
                  <a:gd name="T67" fmla="*/ 9 h 24"/>
                  <a:gd name="T68" fmla="*/ 31 w 37"/>
                  <a:gd name="T69" fmla="*/ 5 h 24"/>
                  <a:gd name="T70" fmla="*/ 30 w 37"/>
                  <a:gd name="T71" fmla="*/ 4 h 24"/>
                  <a:gd name="T72" fmla="*/ 29 w 37"/>
                  <a:gd name="T73" fmla="*/ 3 h 24"/>
                  <a:gd name="T74" fmla="*/ 27 w 37"/>
                  <a:gd name="T75" fmla="*/ 4 h 24"/>
                  <a:gd name="T76" fmla="*/ 24 w 37"/>
                  <a:gd name="T77" fmla="*/ 2 h 24"/>
                  <a:gd name="T78" fmla="*/ 22 w 37"/>
                  <a:gd name="T79" fmla="*/ 1 h 24"/>
                  <a:gd name="T80" fmla="*/ 22 w 37"/>
                  <a:gd name="T81" fmla="*/ 1 h 24"/>
                  <a:gd name="T82" fmla="*/ 19 w 37"/>
                  <a:gd name="T83" fmla="*/ 1 h 24"/>
                  <a:gd name="T84" fmla="*/ 19 w 37"/>
                  <a:gd name="T85" fmla="*/ 1 h 24"/>
                  <a:gd name="T86" fmla="*/ 17 w 37"/>
                  <a:gd name="T87" fmla="*/ 2 h 24"/>
                  <a:gd name="T88" fmla="*/ 17 w 37"/>
                  <a:gd name="T89" fmla="*/ 2 h 24"/>
                  <a:gd name="T90" fmla="*/ 16 w 37"/>
                  <a:gd name="T91" fmla="*/ 2 h 24"/>
                  <a:gd name="T92" fmla="*/ 16 w 37"/>
                  <a:gd name="T93" fmla="*/ 2 h 24"/>
                  <a:gd name="T94" fmla="*/ 16 w 37"/>
                  <a:gd name="T95" fmla="*/ 1 h 24"/>
                  <a:gd name="T96" fmla="*/ 7 w 37"/>
                  <a:gd name="T97" fmla="*/ 1 h 24"/>
                  <a:gd name="T98" fmla="*/ 0 w 37"/>
                  <a:gd name="T9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24">
                    <a:moveTo>
                      <a:pt x="0" y="5"/>
                    </a:moveTo>
                    <a:cubicBezTo>
                      <a:pt x="0" y="5"/>
                      <a:pt x="0" y="6"/>
                      <a:pt x="0" y="6"/>
                    </a:cubicBezTo>
                    <a:cubicBezTo>
                      <a:pt x="1" y="6"/>
                      <a:pt x="1" y="7"/>
                      <a:pt x="2" y="7"/>
                    </a:cubicBezTo>
                    <a:cubicBezTo>
                      <a:pt x="2" y="7"/>
                      <a:pt x="2" y="7"/>
                      <a:pt x="2" y="8"/>
                    </a:cubicBezTo>
                    <a:cubicBezTo>
                      <a:pt x="2" y="8"/>
                      <a:pt x="2" y="8"/>
                      <a:pt x="2" y="8"/>
                    </a:cubicBezTo>
                    <a:cubicBezTo>
                      <a:pt x="3" y="8"/>
                      <a:pt x="3" y="8"/>
                      <a:pt x="4" y="8"/>
                    </a:cubicBezTo>
                    <a:cubicBezTo>
                      <a:pt x="4" y="8"/>
                      <a:pt x="4" y="8"/>
                      <a:pt x="4" y="8"/>
                    </a:cubicBezTo>
                    <a:cubicBezTo>
                      <a:pt x="5" y="7"/>
                      <a:pt x="6" y="8"/>
                      <a:pt x="7" y="9"/>
                    </a:cubicBezTo>
                    <a:cubicBezTo>
                      <a:pt x="7" y="9"/>
                      <a:pt x="7" y="9"/>
                      <a:pt x="7" y="10"/>
                    </a:cubicBezTo>
                    <a:cubicBezTo>
                      <a:pt x="7" y="10"/>
                      <a:pt x="7" y="10"/>
                      <a:pt x="7" y="10"/>
                    </a:cubicBezTo>
                    <a:cubicBezTo>
                      <a:pt x="8" y="11"/>
                      <a:pt x="8" y="11"/>
                      <a:pt x="8" y="11"/>
                    </a:cubicBezTo>
                    <a:cubicBezTo>
                      <a:pt x="8" y="11"/>
                      <a:pt x="8" y="11"/>
                      <a:pt x="8" y="11"/>
                    </a:cubicBezTo>
                    <a:cubicBezTo>
                      <a:pt x="8" y="11"/>
                      <a:pt x="8" y="11"/>
                      <a:pt x="8" y="11"/>
                    </a:cubicBezTo>
                    <a:cubicBezTo>
                      <a:pt x="9" y="11"/>
                      <a:pt x="9" y="11"/>
                      <a:pt x="9" y="11"/>
                    </a:cubicBezTo>
                    <a:cubicBezTo>
                      <a:pt x="9" y="11"/>
                      <a:pt x="9" y="11"/>
                      <a:pt x="9" y="11"/>
                    </a:cubicBezTo>
                    <a:cubicBezTo>
                      <a:pt x="10" y="11"/>
                      <a:pt x="10" y="11"/>
                      <a:pt x="10" y="11"/>
                    </a:cubicBezTo>
                    <a:cubicBezTo>
                      <a:pt x="11" y="12"/>
                      <a:pt x="11" y="13"/>
                      <a:pt x="12" y="13"/>
                    </a:cubicBezTo>
                    <a:cubicBezTo>
                      <a:pt x="12" y="13"/>
                      <a:pt x="12" y="13"/>
                      <a:pt x="12" y="13"/>
                    </a:cubicBezTo>
                    <a:cubicBezTo>
                      <a:pt x="12" y="13"/>
                      <a:pt x="13" y="13"/>
                      <a:pt x="13" y="13"/>
                    </a:cubicBezTo>
                    <a:cubicBezTo>
                      <a:pt x="14" y="13"/>
                      <a:pt x="16" y="14"/>
                      <a:pt x="17" y="15"/>
                    </a:cubicBezTo>
                    <a:cubicBezTo>
                      <a:pt x="18" y="16"/>
                      <a:pt x="18" y="16"/>
                      <a:pt x="18" y="16"/>
                    </a:cubicBezTo>
                    <a:cubicBezTo>
                      <a:pt x="17" y="17"/>
                      <a:pt x="17" y="17"/>
                      <a:pt x="17" y="17"/>
                    </a:cubicBezTo>
                    <a:cubicBezTo>
                      <a:pt x="17" y="17"/>
                      <a:pt x="17" y="18"/>
                      <a:pt x="17" y="18"/>
                    </a:cubicBezTo>
                    <a:cubicBezTo>
                      <a:pt x="17" y="19"/>
                      <a:pt x="17" y="19"/>
                      <a:pt x="17" y="19"/>
                    </a:cubicBezTo>
                    <a:cubicBezTo>
                      <a:pt x="17" y="19"/>
                      <a:pt x="17" y="19"/>
                      <a:pt x="17" y="19"/>
                    </a:cubicBezTo>
                    <a:cubicBezTo>
                      <a:pt x="18" y="19"/>
                      <a:pt x="19" y="18"/>
                      <a:pt x="20" y="17"/>
                    </a:cubicBezTo>
                    <a:cubicBezTo>
                      <a:pt x="20" y="17"/>
                      <a:pt x="20" y="17"/>
                      <a:pt x="20" y="17"/>
                    </a:cubicBezTo>
                    <a:cubicBezTo>
                      <a:pt x="21" y="17"/>
                      <a:pt x="21" y="16"/>
                      <a:pt x="21" y="16"/>
                    </a:cubicBezTo>
                    <a:cubicBezTo>
                      <a:pt x="23" y="15"/>
                      <a:pt x="23" y="15"/>
                      <a:pt x="23" y="15"/>
                    </a:cubicBezTo>
                    <a:cubicBezTo>
                      <a:pt x="23" y="17"/>
                      <a:pt x="23" y="17"/>
                      <a:pt x="23" y="17"/>
                    </a:cubicBezTo>
                    <a:cubicBezTo>
                      <a:pt x="23" y="17"/>
                      <a:pt x="23" y="17"/>
                      <a:pt x="23" y="18"/>
                    </a:cubicBezTo>
                    <a:cubicBezTo>
                      <a:pt x="23" y="19"/>
                      <a:pt x="23" y="20"/>
                      <a:pt x="24" y="21"/>
                    </a:cubicBezTo>
                    <a:cubicBezTo>
                      <a:pt x="24" y="21"/>
                      <a:pt x="24" y="21"/>
                      <a:pt x="25" y="21"/>
                    </a:cubicBezTo>
                    <a:cubicBezTo>
                      <a:pt x="25" y="21"/>
                      <a:pt x="25" y="21"/>
                      <a:pt x="25" y="21"/>
                    </a:cubicBezTo>
                    <a:cubicBezTo>
                      <a:pt x="26" y="22"/>
                      <a:pt x="28" y="23"/>
                      <a:pt x="29" y="23"/>
                    </a:cubicBezTo>
                    <a:cubicBezTo>
                      <a:pt x="29" y="24"/>
                      <a:pt x="29" y="24"/>
                      <a:pt x="30" y="24"/>
                    </a:cubicBezTo>
                    <a:cubicBezTo>
                      <a:pt x="30" y="24"/>
                      <a:pt x="30" y="24"/>
                      <a:pt x="30" y="24"/>
                    </a:cubicBezTo>
                    <a:cubicBezTo>
                      <a:pt x="30" y="24"/>
                      <a:pt x="31" y="24"/>
                      <a:pt x="32" y="24"/>
                    </a:cubicBezTo>
                    <a:cubicBezTo>
                      <a:pt x="32" y="24"/>
                      <a:pt x="32" y="24"/>
                      <a:pt x="32" y="24"/>
                    </a:cubicBezTo>
                    <a:cubicBezTo>
                      <a:pt x="32" y="24"/>
                      <a:pt x="32" y="24"/>
                      <a:pt x="32" y="24"/>
                    </a:cubicBezTo>
                    <a:cubicBezTo>
                      <a:pt x="32" y="24"/>
                      <a:pt x="31" y="23"/>
                      <a:pt x="31" y="23"/>
                    </a:cubicBezTo>
                    <a:cubicBezTo>
                      <a:pt x="31" y="22"/>
                      <a:pt x="30" y="21"/>
                      <a:pt x="31" y="20"/>
                    </a:cubicBezTo>
                    <a:cubicBezTo>
                      <a:pt x="31" y="20"/>
                      <a:pt x="31" y="19"/>
                      <a:pt x="32" y="18"/>
                    </a:cubicBezTo>
                    <a:cubicBezTo>
                      <a:pt x="32" y="18"/>
                      <a:pt x="32" y="18"/>
                      <a:pt x="32" y="17"/>
                    </a:cubicBezTo>
                    <a:cubicBezTo>
                      <a:pt x="32" y="17"/>
                      <a:pt x="33" y="17"/>
                      <a:pt x="33" y="16"/>
                    </a:cubicBezTo>
                    <a:cubicBezTo>
                      <a:pt x="32" y="15"/>
                      <a:pt x="32" y="15"/>
                      <a:pt x="32" y="15"/>
                    </a:cubicBezTo>
                    <a:cubicBezTo>
                      <a:pt x="34" y="16"/>
                      <a:pt x="34" y="16"/>
                      <a:pt x="34" y="16"/>
                    </a:cubicBezTo>
                    <a:cubicBezTo>
                      <a:pt x="34" y="15"/>
                      <a:pt x="34" y="15"/>
                      <a:pt x="34" y="15"/>
                    </a:cubicBezTo>
                    <a:cubicBezTo>
                      <a:pt x="35" y="16"/>
                      <a:pt x="35" y="16"/>
                      <a:pt x="35" y="16"/>
                    </a:cubicBezTo>
                    <a:cubicBezTo>
                      <a:pt x="35" y="16"/>
                      <a:pt x="35" y="16"/>
                      <a:pt x="35" y="16"/>
                    </a:cubicBezTo>
                    <a:cubicBezTo>
                      <a:pt x="35" y="16"/>
                      <a:pt x="35" y="16"/>
                      <a:pt x="35" y="16"/>
                    </a:cubicBezTo>
                    <a:cubicBezTo>
                      <a:pt x="36" y="16"/>
                      <a:pt x="36" y="16"/>
                      <a:pt x="36" y="16"/>
                    </a:cubicBezTo>
                    <a:cubicBezTo>
                      <a:pt x="36" y="16"/>
                      <a:pt x="36" y="16"/>
                      <a:pt x="36" y="16"/>
                    </a:cubicBezTo>
                    <a:cubicBezTo>
                      <a:pt x="36" y="15"/>
                      <a:pt x="36" y="15"/>
                      <a:pt x="36" y="15"/>
                    </a:cubicBezTo>
                    <a:cubicBezTo>
                      <a:pt x="36" y="15"/>
                      <a:pt x="36" y="15"/>
                      <a:pt x="37" y="15"/>
                    </a:cubicBezTo>
                    <a:cubicBezTo>
                      <a:pt x="37" y="15"/>
                      <a:pt x="37" y="15"/>
                      <a:pt x="37" y="15"/>
                    </a:cubicBezTo>
                    <a:cubicBezTo>
                      <a:pt x="37" y="15"/>
                      <a:pt x="37" y="15"/>
                      <a:pt x="37" y="15"/>
                    </a:cubicBezTo>
                    <a:cubicBezTo>
                      <a:pt x="36" y="13"/>
                      <a:pt x="35" y="13"/>
                      <a:pt x="35" y="11"/>
                    </a:cubicBezTo>
                    <a:cubicBezTo>
                      <a:pt x="35" y="11"/>
                      <a:pt x="34" y="11"/>
                      <a:pt x="34" y="11"/>
                    </a:cubicBezTo>
                    <a:cubicBezTo>
                      <a:pt x="34" y="11"/>
                      <a:pt x="34" y="11"/>
                      <a:pt x="34" y="11"/>
                    </a:cubicBezTo>
                    <a:cubicBezTo>
                      <a:pt x="34" y="11"/>
                      <a:pt x="34" y="11"/>
                      <a:pt x="34" y="11"/>
                    </a:cubicBezTo>
                    <a:cubicBezTo>
                      <a:pt x="34" y="11"/>
                      <a:pt x="34" y="11"/>
                      <a:pt x="34" y="11"/>
                    </a:cubicBezTo>
                    <a:cubicBezTo>
                      <a:pt x="34" y="11"/>
                      <a:pt x="34" y="11"/>
                      <a:pt x="34" y="11"/>
                    </a:cubicBezTo>
                    <a:cubicBezTo>
                      <a:pt x="34" y="11"/>
                      <a:pt x="33" y="10"/>
                      <a:pt x="33" y="10"/>
                    </a:cubicBezTo>
                    <a:cubicBezTo>
                      <a:pt x="33" y="10"/>
                      <a:pt x="33" y="10"/>
                      <a:pt x="33" y="10"/>
                    </a:cubicBezTo>
                    <a:cubicBezTo>
                      <a:pt x="32" y="10"/>
                      <a:pt x="32" y="10"/>
                      <a:pt x="31" y="10"/>
                    </a:cubicBezTo>
                    <a:cubicBezTo>
                      <a:pt x="30" y="11"/>
                      <a:pt x="30" y="11"/>
                      <a:pt x="30" y="11"/>
                    </a:cubicBezTo>
                    <a:cubicBezTo>
                      <a:pt x="30" y="9"/>
                      <a:pt x="30" y="9"/>
                      <a:pt x="30" y="9"/>
                    </a:cubicBezTo>
                    <a:cubicBezTo>
                      <a:pt x="30" y="8"/>
                      <a:pt x="30" y="6"/>
                      <a:pt x="31" y="5"/>
                    </a:cubicBezTo>
                    <a:cubicBezTo>
                      <a:pt x="31" y="5"/>
                      <a:pt x="31" y="5"/>
                      <a:pt x="31" y="5"/>
                    </a:cubicBezTo>
                    <a:cubicBezTo>
                      <a:pt x="31" y="5"/>
                      <a:pt x="31" y="5"/>
                      <a:pt x="31" y="5"/>
                    </a:cubicBezTo>
                    <a:cubicBezTo>
                      <a:pt x="30" y="4"/>
                      <a:pt x="30" y="4"/>
                      <a:pt x="30" y="4"/>
                    </a:cubicBezTo>
                    <a:cubicBezTo>
                      <a:pt x="30" y="4"/>
                      <a:pt x="29" y="4"/>
                      <a:pt x="29" y="3"/>
                    </a:cubicBezTo>
                    <a:cubicBezTo>
                      <a:pt x="29" y="3"/>
                      <a:pt x="29" y="3"/>
                      <a:pt x="29" y="3"/>
                    </a:cubicBezTo>
                    <a:cubicBezTo>
                      <a:pt x="28" y="4"/>
                      <a:pt x="28" y="4"/>
                      <a:pt x="27" y="4"/>
                    </a:cubicBezTo>
                    <a:cubicBezTo>
                      <a:pt x="27" y="4"/>
                      <a:pt x="27" y="3"/>
                      <a:pt x="27" y="4"/>
                    </a:cubicBezTo>
                    <a:cubicBezTo>
                      <a:pt x="27" y="4"/>
                      <a:pt x="26" y="4"/>
                      <a:pt x="25" y="3"/>
                    </a:cubicBezTo>
                    <a:cubicBezTo>
                      <a:pt x="25" y="3"/>
                      <a:pt x="24" y="2"/>
                      <a:pt x="24" y="2"/>
                    </a:cubicBezTo>
                    <a:cubicBezTo>
                      <a:pt x="24" y="1"/>
                      <a:pt x="24" y="1"/>
                      <a:pt x="24" y="1"/>
                    </a:cubicBezTo>
                    <a:cubicBezTo>
                      <a:pt x="23" y="1"/>
                      <a:pt x="23" y="1"/>
                      <a:pt x="22" y="1"/>
                    </a:cubicBezTo>
                    <a:cubicBezTo>
                      <a:pt x="22" y="1"/>
                      <a:pt x="22" y="1"/>
                      <a:pt x="22" y="0"/>
                    </a:cubicBezTo>
                    <a:cubicBezTo>
                      <a:pt x="22" y="1"/>
                      <a:pt x="22" y="1"/>
                      <a:pt x="22" y="1"/>
                    </a:cubicBezTo>
                    <a:cubicBezTo>
                      <a:pt x="21" y="2"/>
                      <a:pt x="20" y="1"/>
                      <a:pt x="20" y="1"/>
                    </a:cubicBezTo>
                    <a:cubicBezTo>
                      <a:pt x="19" y="1"/>
                      <a:pt x="19" y="1"/>
                      <a:pt x="19" y="1"/>
                    </a:cubicBezTo>
                    <a:cubicBezTo>
                      <a:pt x="19" y="1"/>
                      <a:pt x="19" y="1"/>
                      <a:pt x="19" y="1"/>
                    </a:cubicBezTo>
                    <a:cubicBezTo>
                      <a:pt x="19" y="1"/>
                      <a:pt x="19" y="1"/>
                      <a:pt x="19" y="1"/>
                    </a:cubicBezTo>
                    <a:cubicBezTo>
                      <a:pt x="19" y="1"/>
                      <a:pt x="18" y="2"/>
                      <a:pt x="17" y="2"/>
                    </a:cubicBezTo>
                    <a:cubicBezTo>
                      <a:pt x="17" y="2"/>
                      <a:pt x="17" y="2"/>
                      <a:pt x="17" y="2"/>
                    </a:cubicBezTo>
                    <a:cubicBezTo>
                      <a:pt x="17" y="2"/>
                      <a:pt x="17" y="2"/>
                      <a:pt x="17" y="2"/>
                    </a:cubicBezTo>
                    <a:cubicBezTo>
                      <a:pt x="17" y="2"/>
                      <a:pt x="17" y="2"/>
                      <a:pt x="17" y="2"/>
                    </a:cubicBezTo>
                    <a:cubicBezTo>
                      <a:pt x="17" y="2"/>
                      <a:pt x="17" y="2"/>
                      <a:pt x="16" y="2"/>
                    </a:cubicBezTo>
                    <a:cubicBezTo>
                      <a:pt x="16" y="2"/>
                      <a:pt x="16" y="2"/>
                      <a:pt x="16" y="2"/>
                    </a:cubicBezTo>
                    <a:cubicBezTo>
                      <a:pt x="16" y="2"/>
                      <a:pt x="16" y="2"/>
                      <a:pt x="16" y="2"/>
                    </a:cubicBezTo>
                    <a:cubicBezTo>
                      <a:pt x="16" y="2"/>
                      <a:pt x="16" y="2"/>
                      <a:pt x="16" y="2"/>
                    </a:cubicBezTo>
                    <a:cubicBezTo>
                      <a:pt x="16" y="1"/>
                      <a:pt x="16" y="1"/>
                      <a:pt x="16" y="1"/>
                    </a:cubicBezTo>
                    <a:cubicBezTo>
                      <a:pt x="16" y="1"/>
                      <a:pt x="16" y="1"/>
                      <a:pt x="16" y="1"/>
                    </a:cubicBezTo>
                    <a:cubicBezTo>
                      <a:pt x="13" y="1"/>
                      <a:pt x="10" y="1"/>
                      <a:pt x="7" y="1"/>
                    </a:cubicBezTo>
                    <a:cubicBezTo>
                      <a:pt x="7" y="1"/>
                      <a:pt x="7" y="1"/>
                      <a:pt x="7" y="1"/>
                    </a:cubicBezTo>
                    <a:cubicBezTo>
                      <a:pt x="7" y="1"/>
                      <a:pt x="7" y="1"/>
                      <a:pt x="7" y="1"/>
                    </a:cubicBezTo>
                    <a:cubicBezTo>
                      <a:pt x="5" y="2"/>
                      <a:pt x="2" y="3"/>
                      <a:pt x="0" y="4"/>
                    </a:cubicBez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3" name="Freeform 3085">
                <a:extLst>
                  <a:ext uri="{FF2B5EF4-FFF2-40B4-BE49-F238E27FC236}">
                    <a16:creationId xmlns:a16="http://schemas.microsoft.com/office/drawing/2014/main" id="{7400C5CE-1B8F-40F0-A725-3F944BFC150A}"/>
                  </a:ext>
                </a:extLst>
              </p:cNvPr>
              <p:cNvSpPr>
                <a:spLocks/>
              </p:cNvSpPr>
              <p:nvPr/>
            </p:nvSpPr>
            <p:spPr bwMode="auto">
              <a:xfrm>
                <a:off x="3698" y="1532"/>
                <a:ext cx="102" cy="47"/>
              </a:xfrm>
              <a:custGeom>
                <a:avLst/>
                <a:gdLst>
                  <a:gd name="T0" fmla="*/ 43 w 43"/>
                  <a:gd name="T1" fmla="*/ 10 h 20"/>
                  <a:gd name="T2" fmla="*/ 40 w 43"/>
                  <a:gd name="T3" fmla="*/ 11 h 20"/>
                  <a:gd name="T4" fmla="*/ 35 w 43"/>
                  <a:gd name="T5" fmla="*/ 8 h 20"/>
                  <a:gd name="T6" fmla="*/ 35 w 43"/>
                  <a:gd name="T7" fmla="*/ 8 h 20"/>
                  <a:gd name="T8" fmla="*/ 34 w 43"/>
                  <a:gd name="T9" fmla="*/ 6 h 20"/>
                  <a:gd name="T10" fmla="*/ 34 w 43"/>
                  <a:gd name="T11" fmla="*/ 6 h 20"/>
                  <a:gd name="T12" fmla="*/ 34 w 43"/>
                  <a:gd name="T13" fmla="*/ 2 h 20"/>
                  <a:gd name="T14" fmla="*/ 34 w 43"/>
                  <a:gd name="T15" fmla="*/ 2 h 20"/>
                  <a:gd name="T16" fmla="*/ 30 w 43"/>
                  <a:gd name="T17" fmla="*/ 0 h 20"/>
                  <a:gd name="T18" fmla="*/ 29 w 43"/>
                  <a:gd name="T19" fmla="*/ 0 h 20"/>
                  <a:gd name="T20" fmla="*/ 26 w 43"/>
                  <a:gd name="T21" fmla="*/ 1 h 20"/>
                  <a:gd name="T22" fmla="*/ 24 w 43"/>
                  <a:gd name="T23" fmla="*/ 1 h 20"/>
                  <a:gd name="T24" fmla="*/ 23 w 43"/>
                  <a:gd name="T25" fmla="*/ 1 h 20"/>
                  <a:gd name="T26" fmla="*/ 21 w 43"/>
                  <a:gd name="T27" fmla="*/ 1 h 20"/>
                  <a:gd name="T28" fmla="*/ 20 w 43"/>
                  <a:gd name="T29" fmla="*/ 1 h 20"/>
                  <a:gd name="T30" fmla="*/ 19 w 43"/>
                  <a:gd name="T31" fmla="*/ 2 h 20"/>
                  <a:gd name="T32" fmla="*/ 17 w 43"/>
                  <a:gd name="T33" fmla="*/ 1 h 20"/>
                  <a:gd name="T34" fmla="*/ 17 w 43"/>
                  <a:gd name="T35" fmla="*/ 1 h 20"/>
                  <a:gd name="T36" fmla="*/ 15 w 43"/>
                  <a:gd name="T37" fmla="*/ 2 h 20"/>
                  <a:gd name="T38" fmla="*/ 13 w 43"/>
                  <a:gd name="T39" fmla="*/ 3 h 20"/>
                  <a:gd name="T40" fmla="*/ 9 w 43"/>
                  <a:gd name="T41" fmla="*/ 5 h 20"/>
                  <a:gd name="T42" fmla="*/ 6 w 43"/>
                  <a:gd name="T43" fmla="*/ 8 h 20"/>
                  <a:gd name="T44" fmla="*/ 4 w 43"/>
                  <a:gd name="T45" fmla="*/ 9 h 20"/>
                  <a:gd name="T46" fmla="*/ 3 w 43"/>
                  <a:gd name="T47" fmla="*/ 11 h 20"/>
                  <a:gd name="T48" fmla="*/ 0 w 43"/>
                  <a:gd name="T49" fmla="*/ 15 h 20"/>
                  <a:gd name="T50" fmla="*/ 5 w 43"/>
                  <a:gd name="T51" fmla="*/ 13 h 20"/>
                  <a:gd name="T52" fmla="*/ 8 w 43"/>
                  <a:gd name="T53" fmla="*/ 17 h 20"/>
                  <a:gd name="T54" fmla="*/ 8 w 43"/>
                  <a:gd name="T55" fmla="*/ 18 h 20"/>
                  <a:gd name="T56" fmla="*/ 9 w 43"/>
                  <a:gd name="T57" fmla="*/ 19 h 20"/>
                  <a:gd name="T58" fmla="*/ 9 w 43"/>
                  <a:gd name="T59" fmla="*/ 20 h 20"/>
                  <a:gd name="T60" fmla="*/ 13 w 43"/>
                  <a:gd name="T61" fmla="*/ 20 h 20"/>
                  <a:gd name="T62" fmla="*/ 16 w 43"/>
                  <a:gd name="T63" fmla="*/ 20 h 20"/>
                  <a:gd name="T64" fmla="*/ 17 w 43"/>
                  <a:gd name="T65" fmla="*/ 20 h 20"/>
                  <a:gd name="T66" fmla="*/ 18 w 43"/>
                  <a:gd name="T67" fmla="*/ 18 h 20"/>
                  <a:gd name="T68" fmla="*/ 24 w 43"/>
                  <a:gd name="T69" fmla="*/ 13 h 20"/>
                  <a:gd name="T70" fmla="*/ 24 w 43"/>
                  <a:gd name="T71" fmla="*/ 16 h 20"/>
                  <a:gd name="T72" fmla="*/ 26 w 43"/>
                  <a:gd name="T73" fmla="*/ 17 h 20"/>
                  <a:gd name="T74" fmla="*/ 27 w 43"/>
                  <a:gd name="T75" fmla="*/ 18 h 20"/>
                  <a:gd name="T76" fmla="*/ 29 w 43"/>
                  <a:gd name="T77" fmla="*/ 18 h 20"/>
                  <a:gd name="T78" fmla="*/ 30 w 43"/>
                  <a:gd name="T79" fmla="*/ 15 h 20"/>
                  <a:gd name="T80" fmla="*/ 31 w 43"/>
                  <a:gd name="T81" fmla="*/ 14 h 20"/>
                  <a:gd name="T82" fmla="*/ 33 w 43"/>
                  <a:gd name="T83" fmla="*/ 13 h 20"/>
                  <a:gd name="T84" fmla="*/ 39 w 43"/>
                  <a:gd name="T85" fmla="*/ 16 h 20"/>
                  <a:gd name="T86" fmla="*/ 38 w 43"/>
                  <a:gd name="T87" fmla="*/ 15 h 20"/>
                  <a:gd name="T88" fmla="*/ 38 w 43"/>
                  <a:gd name="T89" fmla="*/ 13 h 20"/>
                  <a:gd name="T90" fmla="*/ 39 w 43"/>
                  <a:gd name="T91"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20">
                    <a:moveTo>
                      <a:pt x="43" y="12"/>
                    </a:moveTo>
                    <a:cubicBezTo>
                      <a:pt x="43" y="11"/>
                      <a:pt x="43" y="10"/>
                      <a:pt x="43" y="10"/>
                    </a:cubicBezTo>
                    <a:cubicBezTo>
                      <a:pt x="43" y="9"/>
                      <a:pt x="43" y="9"/>
                      <a:pt x="43" y="9"/>
                    </a:cubicBezTo>
                    <a:cubicBezTo>
                      <a:pt x="42" y="10"/>
                      <a:pt x="41" y="11"/>
                      <a:pt x="40" y="11"/>
                    </a:cubicBezTo>
                    <a:cubicBezTo>
                      <a:pt x="40" y="11"/>
                      <a:pt x="40" y="11"/>
                      <a:pt x="39" y="10"/>
                    </a:cubicBezTo>
                    <a:cubicBezTo>
                      <a:pt x="35" y="8"/>
                      <a:pt x="35" y="8"/>
                      <a:pt x="35" y="8"/>
                    </a:cubicBezTo>
                    <a:cubicBezTo>
                      <a:pt x="35" y="8"/>
                      <a:pt x="35" y="8"/>
                      <a:pt x="35" y="8"/>
                    </a:cubicBezTo>
                    <a:cubicBezTo>
                      <a:pt x="35" y="8"/>
                      <a:pt x="35" y="8"/>
                      <a:pt x="35" y="8"/>
                    </a:cubicBezTo>
                    <a:cubicBezTo>
                      <a:pt x="34" y="8"/>
                      <a:pt x="34" y="7"/>
                      <a:pt x="34" y="6"/>
                    </a:cubicBezTo>
                    <a:cubicBezTo>
                      <a:pt x="34" y="6"/>
                      <a:pt x="34" y="6"/>
                      <a:pt x="34" y="6"/>
                    </a:cubicBezTo>
                    <a:cubicBezTo>
                      <a:pt x="34" y="6"/>
                      <a:pt x="34" y="6"/>
                      <a:pt x="34" y="6"/>
                    </a:cubicBezTo>
                    <a:cubicBezTo>
                      <a:pt x="34" y="6"/>
                      <a:pt x="34" y="6"/>
                      <a:pt x="34" y="6"/>
                    </a:cubicBezTo>
                    <a:cubicBezTo>
                      <a:pt x="34" y="6"/>
                      <a:pt x="34" y="5"/>
                      <a:pt x="34" y="5"/>
                    </a:cubicBezTo>
                    <a:cubicBezTo>
                      <a:pt x="33" y="4"/>
                      <a:pt x="33" y="3"/>
                      <a:pt x="34" y="2"/>
                    </a:cubicBezTo>
                    <a:cubicBezTo>
                      <a:pt x="34" y="2"/>
                      <a:pt x="34" y="2"/>
                      <a:pt x="34" y="2"/>
                    </a:cubicBezTo>
                    <a:cubicBezTo>
                      <a:pt x="34" y="2"/>
                      <a:pt x="34" y="2"/>
                      <a:pt x="34" y="2"/>
                    </a:cubicBezTo>
                    <a:cubicBezTo>
                      <a:pt x="34" y="1"/>
                      <a:pt x="34" y="1"/>
                      <a:pt x="34" y="1"/>
                    </a:cubicBezTo>
                    <a:cubicBezTo>
                      <a:pt x="33" y="1"/>
                      <a:pt x="31" y="0"/>
                      <a:pt x="30" y="0"/>
                    </a:cubicBezTo>
                    <a:cubicBezTo>
                      <a:pt x="30" y="0"/>
                      <a:pt x="29" y="0"/>
                      <a:pt x="29" y="0"/>
                    </a:cubicBezTo>
                    <a:cubicBezTo>
                      <a:pt x="29" y="0"/>
                      <a:pt x="29" y="0"/>
                      <a:pt x="29" y="0"/>
                    </a:cubicBezTo>
                    <a:cubicBezTo>
                      <a:pt x="28" y="0"/>
                      <a:pt x="27" y="0"/>
                      <a:pt x="26" y="0"/>
                    </a:cubicBezTo>
                    <a:cubicBezTo>
                      <a:pt x="26" y="0"/>
                      <a:pt x="26" y="0"/>
                      <a:pt x="26" y="1"/>
                    </a:cubicBezTo>
                    <a:cubicBezTo>
                      <a:pt x="25" y="2"/>
                      <a:pt x="25" y="2"/>
                      <a:pt x="25" y="2"/>
                    </a:cubicBezTo>
                    <a:cubicBezTo>
                      <a:pt x="24" y="1"/>
                      <a:pt x="24" y="1"/>
                      <a:pt x="24" y="1"/>
                    </a:cubicBezTo>
                    <a:cubicBezTo>
                      <a:pt x="24" y="1"/>
                      <a:pt x="23" y="1"/>
                      <a:pt x="23" y="1"/>
                    </a:cubicBezTo>
                    <a:cubicBezTo>
                      <a:pt x="23" y="1"/>
                      <a:pt x="23" y="1"/>
                      <a:pt x="23" y="1"/>
                    </a:cubicBezTo>
                    <a:cubicBezTo>
                      <a:pt x="23" y="1"/>
                      <a:pt x="22" y="1"/>
                      <a:pt x="22" y="1"/>
                    </a:cubicBezTo>
                    <a:cubicBezTo>
                      <a:pt x="22" y="1"/>
                      <a:pt x="22" y="1"/>
                      <a:pt x="21" y="1"/>
                    </a:cubicBezTo>
                    <a:cubicBezTo>
                      <a:pt x="21" y="1"/>
                      <a:pt x="21" y="1"/>
                      <a:pt x="21" y="1"/>
                    </a:cubicBezTo>
                    <a:cubicBezTo>
                      <a:pt x="20" y="1"/>
                      <a:pt x="20" y="1"/>
                      <a:pt x="20" y="1"/>
                    </a:cubicBezTo>
                    <a:cubicBezTo>
                      <a:pt x="20" y="1"/>
                      <a:pt x="20" y="1"/>
                      <a:pt x="19" y="1"/>
                    </a:cubicBezTo>
                    <a:cubicBezTo>
                      <a:pt x="19" y="1"/>
                      <a:pt x="19" y="2"/>
                      <a:pt x="19" y="2"/>
                    </a:cubicBezTo>
                    <a:cubicBezTo>
                      <a:pt x="18" y="1"/>
                      <a:pt x="18" y="1"/>
                      <a:pt x="18" y="1"/>
                    </a:cubicBezTo>
                    <a:cubicBezTo>
                      <a:pt x="18" y="1"/>
                      <a:pt x="18" y="1"/>
                      <a:pt x="17" y="1"/>
                    </a:cubicBezTo>
                    <a:cubicBezTo>
                      <a:pt x="17" y="1"/>
                      <a:pt x="17" y="1"/>
                      <a:pt x="17" y="1"/>
                    </a:cubicBezTo>
                    <a:cubicBezTo>
                      <a:pt x="17" y="1"/>
                      <a:pt x="17" y="1"/>
                      <a:pt x="17" y="1"/>
                    </a:cubicBezTo>
                    <a:cubicBezTo>
                      <a:pt x="17" y="1"/>
                      <a:pt x="17" y="1"/>
                      <a:pt x="17" y="1"/>
                    </a:cubicBezTo>
                    <a:cubicBezTo>
                      <a:pt x="16" y="2"/>
                      <a:pt x="16" y="2"/>
                      <a:pt x="15" y="2"/>
                    </a:cubicBezTo>
                    <a:cubicBezTo>
                      <a:pt x="15" y="2"/>
                      <a:pt x="14" y="2"/>
                      <a:pt x="14" y="2"/>
                    </a:cubicBezTo>
                    <a:cubicBezTo>
                      <a:pt x="14" y="2"/>
                      <a:pt x="14" y="3"/>
                      <a:pt x="13" y="3"/>
                    </a:cubicBezTo>
                    <a:cubicBezTo>
                      <a:pt x="12" y="3"/>
                      <a:pt x="11" y="4"/>
                      <a:pt x="11" y="3"/>
                    </a:cubicBezTo>
                    <a:cubicBezTo>
                      <a:pt x="9" y="5"/>
                      <a:pt x="9" y="5"/>
                      <a:pt x="9" y="5"/>
                    </a:cubicBezTo>
                    <a:cubicBezTo>
                      <a:pt x="8" y="6"/>
                      <a:pt x="7" y="7"/>
                      <a:pt x="6" y="8"/>
                    </a:cubicBezTo>
                    <a:cubicBezTo>
                      <a:pt x="6" y="8"/>
                      <a:pt x="6" y="8"/>
                      <a:pt x="6" y="8"/>
                    </a:cubicBezTo>
                    <a:cubicBezTo>
                      <a:pt x="5" y="8"/>
                      <a:pt x="5" y="8"/>
                      <a:pt x="5" y="8"/>
                    </a:cubicBezTo>
                    <a:cubicBezTo>
                      <a:pt x="5" y="8"/>
                      <a:pt x="5" y="8"/>
                      <a:pt x="4" y="9"/>
                    </a:cubicBezTo>
                    <a:cubicBezTo>
                      <a:pt x="4" y="9"/>
                      <a:pt x="4" y="9"/>
                      <a:pt x="4" y="9"/>
                    </a:cubicBezTo>
                    <a:cubicBezTo>
                      <a:pt x="4" y="9"/>
                      <a:pt x="4" y="10"/>
                      <a:pt x="3" y="11"/>
                    </a:cubicBezTo>
                    <a:cubicBezTo>
                      <a:pt x="3" y="12"/>
                      <a:pt x="3" y="12"/>
                      <a:pt x="3" y="12"/>
                    </a:cubicBezTo>
                    <a:cubicBezTo>
                      <a:pt x="2" y="13"/>
                      <a:pt x="1" y="14"/>
                      <a:pt x="0" y="15"/>
                    </a:cubicBezTo>
                    <a:cubicBezTo>
                      <a:pt x="2" y="14"/>
                      <a:pt x="3" y="13"/>
                      <a:pt x="5" y="13"/>
                    </a:cubicBezTo>
                    <a:cubicBezTo>
                      <a:pt x="5" y="13"/>
                      <a:pt x="5" y="13"/>
                      <a:pt x="5" y="13"/>
                    </a:cubicBezTo>
                    <a:cubicBezTo>
                      <a:pt x="6" y="13"/>
                      <a:pt x="7" y="14"/>
                      <a:pt x="7" y="15"/>
                    </a:cubicBezTo>
                    <a:cubicBezTo>
                      <a:pt x="8" y="15"/>
                      <a:pt x="8" y="16"/>
                      <a:pt x="8" y="17"/>
                    </a:cubicBezTo>
                    <a:cubicBezTo>
                      <a:pt x="8" y="18"/>
                      <a:pt x="8" y="18"/>
                      <a:pt x="8" y="18"/>
                    </a:cubicBezTo>
                    <a:cubicBezTo>
                      <a:pt x="8" y="18"/>
                      <a:pt x="8" y="18"/>
                      <a:pt x="8" y="18"/>
                    </a:cubicBezTo>
                    <a:cubicBezTo>
                      <a:pt x="8" y="18"/>
                      <a:pt x="8" y="18"/>
                      <a:pt x="8" y="18"/>
                    </a:cubicBezTo>
                    <a:cubicBezTo>
                      <a:pt x="8" y="18"/>
                      <a:pt x="8" y="19"/>
                      <a:pt x="9" y="19"/>
                    </a:cubicBezTo>
                    <a:cubicBezTo>
                      <a:pt x="9" y="19"/>
                      <a:pt x="9" y="19"/>
                      <a:pt x="9" y="19"/>
                    </a:cubicBezTo>
                    <a:cubicBezTo>
                      <a:pt x="9" y="20"/>
                      <a:pt x="9" y="20"/>
                      <a:pt x="9" y="20"/>
                    </a:cubicBezTo>
                    <a:cubicBezTo>
                      <a:pt x="10" y="20"/>
                      <a:pt x="10" y="20"/>
                      <a:pt x="10" y="20"/>
                    </a:cubicBezTo>
                    <a:cubicBezTo>
                      <a:pt x="11" y="20"/>
                      <a:pt x="12" y="20"/>
                      <a:pt x="13" y="20"/>
                    </a:cubicBezTo>
                    <a:cubicBezTo>
                      <a:pt x="14" y="20"/>
                      <a:pt x="14" y="20"/>
                      <a:pt x="14" y="20"/>
                    </a:cubicBezTo>
                    <a:cubicBezTo>
                      <a:pt x="15" y="20"/>
                      <a:pt x="16" y="20"/>
                      <a:pt x="16" y="20"/>
                    </a:cubicBezTo>
                    <a:cubicBezTo>
                      <a:pt x="17" y="20"/>
                      <a:pt x="17" y="20"/>
                      <a:pt x="17" y="20"/>
                    </a:cubicBezTo>
                    <a:cubicBezTo>
                      <a:pt x="17" y="20"/>
                      <a:pt x="17" y="20"/>
                      <a:pt x="17" y="20"/>
                    </a:cubicBezTo>
                    <a:cubicBezTo>
                      <a:pt x="17" y="20"/>
                      <a:pt x="17" y="20"/>
                      <a:pt x="17" y="20"/>
                    </a:cubicBezTo>
                    <a:cubicBezTo>
                      <a:pt x="18" y="19"/>
                      <a:pt x="18" y="18"/>
                      <a:pt x="18" y="18"/>
                    </a:cubicBezTo>
                    <a:cubicBezTo>
                      <a:pt x="19" y="17"/>
                      <a:pt x="20" y="14"/>
                      <a:pt x="22" y="13"/>
                    </a:cubicBezTo>
                    <a:cubicBezTo>
                      <a:pt x="23" y="13"/>
                      <a:pt x="23" y="13"/>
                      <a:pt x="24" y="13"/>
                    </a:cubicBezTo>
                    <a:cubicBezTo>
                      <a:pt x="25" y="14"/>
                      <a:pt x="25" y="14"/>
                      <a:pt x="25" y="14"/>
                    </a:cubicBezTo>
                    <a:cubicBezTo>
                      <a:pt x="24" y="16"/>
                      <a:pt x="24" y="16"/>
                      <a:pt x="24" y="16"/>
                    </a:cubicBezTo>
                    <a:cubicBezTo>
                      <a:pt x="24" y="16"/>
                      <a:pt x="24" y="17"/>
                      <a:pt x="24" y="17"/>
                    </a:cubicBezTo>
                    <a:cubicBezTo>
                      <a:pt x="25" y="17"/>
                      <a:pt x="25" y="17"/>
                      <a:pt x="26" y="17"/>
                    </a:cubicBezTo>
                    <a:cubicBezTo>
                      <a:pt x="26" y="18"/>
                      <a:pt x="26" y="18"/>
                      <a:pt x="26" y="18"/>
                    </a:cubicBezTo>
                    <a:cubicBezTo>
                      <a:pt x="26" y="18"/>
                      <a:pt x="27" y="18"/>
                      <a:pt x="27" y="18"/>
                    </a:cubicBezTo>
                    <a:cubicBezTo>
                      <a:pt x="27" y="18"/>
                      <a:pt x="28" y="18"/>
                      <a:pt x="28" y="19"/>
                    </a:cubicBezTo>
                    <a:cubicBezTo>
                      <a:pt x="29" y="19"/>
                      <a:pt x="29" y="18"/>
                      <a:pt x="29" y="18"/>
                    </a:cubicBezTo>
                    <a:cubicBezTo>
                      <a:pt x="30" y="17"/>
                      <a:pt x="30" y="17"/>
                      <a:pt x="30" y="17"/>
                    </a:cubicBezTo>
                    <a:cubicBezTo>
                      <a:pt x="30" y="17"/>
                      <a:pt x="30" y="16"/>
                      <a:pt x="30" y="15"/>
                    </a:cubicBezTo>
                    <a:cubicBezTo>
                      <a:pt x="30" y="15"/>
                      <a:pt x="30" y="15"/>
                      <a:pt x="30" y="15"/>
                    </a:cubicBezTo>
                    <a:cubicBezTo>
                      <a:pt x="30" y="14"/>
                      <a:pt x="30" y="14"/>
                      <a:pt x="31" y="14"/>
                    </a:cubicBezTo>
                    <a:cubicBezTo>
                      <a:pt x="31" y="12"/>
                      <a:pt x="31" y="12"/>
                      <a:pt x="31" y="12"/>
                    </a:cubicBezTo>
                    <a:cubicBezTo>
                      <a:pt x="33" y="13"/>
                      <a:pt x="33" y="13"/>
                      <a:pt x="33" y="13"/>
                    </a:cubicBezTo>
                    <a:cubicBezTo>
                      <a:pt x="34" y="14"/>
                      <a:pt x="37" y="15"/>
                      <a:pt x="39" y="16"/>
                    </a:cubicBezTo>
                    <a:cubicBezTo>
                      <a:pt x="39" y="16"/>
                      <a:pt x="39" y="16"/>
                      <a:pt x="39" y="16"/>
                    </a:cubicBezTo>
                    <a:cubicBezTo>
                      <a:pt x="39" y="16"/>
                      <a:pt x="39" y="16"/>
                      <a:pt x="39" y="16"/>
                    </a:cubicBezTo>
                    <a:cubicBezTo>
                      <a:pt x="38" y="15"/>
                      <a:pt x="38" y="15"/>
                      <a:pt x="38" y="15"/>
                    </a:cubicBezTo>
                    <a:cubicBezTo>
                      <a:pt x="38" y="14"/>
                      <a:pt x="38" y="14"/>
                      <a:pt x="38" y="14"/>
                    </a:cubicBezTo>
                    <a:cubicBezTo>
                      <a:pt x="38" y="13"/>
                      <a:pt x="38" y="13"/>
                      <a:pt x="38" y="13"/>
                    </a:cubicBezTo>
                    <a:cubicBezTo>
                      <a:pt x="38" y="13"/>
                      <a:pt x="38" y="13"/>
                      <a:pt x="38" y="13"/>
                    </a:cubicBezTo>
                    <a:cubicBezTo>
                      <a:pt x="39" y="13"/>
                      <a:pt x="39" y="12"/>
                      <a:pt x="39" y="12"/>
                    </a:cubicBezTo>
                    <a:cubicBezTo>
                      <a:pt x="40" y="11"/>
                      <a:pt x="41" y="11"/>
                      <a:pt x="4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4" name="Freeform 3086">
                <a:extLst>
                  <a:ext uri="{FF2B5EF4-FFF2-40B4-BE49-F238E27FC236}">
                    <a16:creationId xmlns:a16="http://schemas.microsoft.com/office/drawing/2014/main" id="{992B8A0D-9F1F-4870-AFBE-80E7E0CB3F74}"/>
                  </a:ext>
                </a:extLst>
              </p:cNvPr>
              <p:cNvSpPr>
                <a:spLocks/>
              </p:cNvSpPr>
              <p:nvPr/>
            </p:nvSpPr>
            <p:spPr bwMode="auto">
              <a:xfrm>
                <a:off x="3715" y="1551"/>
                <a:ext cx="281" cy="265"/>
              </a:xfrm>
              <a:custGeom>
                <a:avLst/>
                <a:gdLst>
                  <a:gd name="T0" fmla="*/ 104 w 119"/>
                  <a:gd name="T1" fmla="*/ 74 h 112"/>
                  <a:gd name="T2" fmla="*/ 95 w 119"/>
                  <a:gd name="T3" fmla="*/ 63 h 112"/>
                  <a:gd name="T4" fmla="*/ 77 w 119"/>
                  <a:gd name="T5" fmla="*/ 58 h 112"/>
                  <a:gd name="T6" fmla="*/ 61 w 119"/>
                  <a:gd name="T7" fmla="*/ 39 h 112"/>
                  <a:gd name="T8" fmla="*/ 58 w 119"/>
                  <a:gd name="T9" fmla="*/ 26 h 112"/>
                  <a:gd name="T10" fmla="*/ 55 w 119"/>
                  <a:gd name="T11" fmla="*/ 19 h 112"/>
                  <a:gd name="T12" fmla="*/ 60 w 119"/>
                  <a:gd name="T13" fmla="*/ 18 h 112"/>
                  <a:gd name="T14" fmla="*/ 68 w 119"/>
                  <a:gd name="T15" fmla="*/ 16 h 112"/>
                  <a:gd name="T16" fmla="*/ 68 w 119"/>
                  <a:gd name="T17" fmla="*/ 15 h 112"/>
                  <a:gd name="T18" fmla="*/ 67 w 119"/>
                  <a:gd name="T19" fmla="*/ 13 h 112"/>
                  <a:gd name="T20" fmla="*/ 67 w 119"/>
                  <a:gd name="T21" fmla="*/ 10 h 112"/>
                  <a:gd name="T22" fmla="*/ 66 w 119"/>
                  <a:gd name="T23" fmla="*/ 7 h 112"/>
                  <a:gd name="T24" fmla="*/ 68 w 119"/>
                  <a:gd name="T25" fmla="*/ 7 h 112"/>
                  <a:gd name="T26" fmla="*/ 59 w 119"/>
                  <a:gd name="T27" fmla="*/ 5 h 112"/>
                  <a:gd name="T28" fmla="*/ 53 w 119"/>
                  <a:gd name="T29" fmla="*/ 2 h 112"/>
                  <a:gd name="T30" fmla="*/ 52 w 119"/>
                  <a:gd name="T31" fmla="*/ 0 h 112"/>
                  <a:gd name="T32" fmla="*/ 45 w 119"/>
                  <a:gd name="T33" fmla="*/ 1 h 112"/>
                  <a:gd name="T34" fmla="*/ 44 w 119"/>
                  <a:gd name="T35" fmla="*/ 3 h 112"/>
                  <a:gd name="T36" fmla="*/ 38 w 119"/>
                  <a:gd name="T37" fmla="*/ 3 h 112"/>
                  <a:gd name="T38" fmla="*/ 38 w 119"/>
                  <a:gd name="T39" fmla="*/ 5 h 112"/>
                  <a:gd name="T40" fmla="*/ 36 w 119"/>
                  <a:gd name="T41" fmla="*/ 7 h 112"/>
                  <a:gd name="T42" fmla="*/ 34 w 119"/>
                  <a:gd name="T43" fmla="*/ 6 h 112"/>
                  <a:gd name="T44" fmla="*/ 35 w 119"/>
                  <a:gd name="T45" fmla="*/ 10 h 112"/>
                  <a:gd name="T46" fmla="*/ 34 w 119"/>
                  <a:gd name="T47" fmla="*/ 11 h 112"/>
                  <a:gd name="T48" fmla="*/ 33 w 119"/>
                  <a:gd name="T49" fmla="*/ 11 h 112"/>
                  <a:gd name="T50" fmla="*/ 24 w 119"/>
                  <a:gd name="T51" fmla="*/ 11 h 112"/>
                  <a:gd name="T52" fmla="*/ 23 w 119"/>
                  <a:gd name="T53" fmla="*/ 13 h 112"/>
                  <a:gd name="T54" fmla="*/ 20 w 119"/>
                  <a:gd name="T55" fmla="*/ 14 h 112"/>
                  <a:gd name="T56" fmla="*/ 19 w 119"/>
                  <a:gd name="T57" fmla="*/ 12 h 112"/>
                  <a:gd name="T58" fmla="*/ 18 w 119"/>
                  <a:gd name="T59" fmla="*/ 12 h 112"/>
                  <a:gd name="T60" fmla="*/ 14 w 119"/>
                  <a:gd name="T61" fmla="*/ 11 h 112"/>
                  <a:gd name="T62" fmla="*/ 10 w 119"/>
                  <a:gd name="T63" fmla="*/ 15 h 112"/>
                  <a:gd name="T64" fmla="*/ 6 w 119"/>
                  <a:gd name="T65" fmla="*/ 14 h 112"/>
                  <a:gd name="T66" fmla="*/ 2 w 119"/>
                  <a:gd name="T67" fmla="*/ 15 h 112"/>
                  <a:gd name="T68" fmla="*/ 3 w 119"/>
                  <a:gd name="T69" fmla="*/ 18 h 112"/>
                  <a:gd name="T70" fmla="*/ 4 w 119"/>
                  <a:gd name="T71" fmla="*/ 21 h 112"/>
                  <a:gd name="T72" fmla="*/ 0 w 119"/>
                  <a:gd name="T73" fmla="*/ 24 h 112"/>
                  <a:gd name="T74" fmla="*/ 2 w 119"/>
                  <a:gd name="T75" fmla="*/ 32 h 112"/>
                  <a:gd name="T76" fmla="*/ 10 w 119"/>
                  <a:gd name="T77" fmla="*/ 37 h 112"/>
                  <a:gd name="T78" fmla="*/ 13 w 119"/>
                  <a:gd name="T79" fmla="*/ 38 h 112"/>
                  <a:gd name="T80" fmla="*/ 31 w 119"/>
                  <a:gd name="T81" fmla="*/ 36 h 112"/>
                  <a:gd name="T82" fmla="*/ 37 w 119"/>
                  <a:gd name="T83" fmla="*/ 50 h 112"/>
                  <a:gd name="T84" fmla="*/ 42 w 119"/>
                  <a:gd name="T85" fmla="*/ 54 h 112"/>
                  <a:gd name="T86" fmla="*/ 43 w 119"/>
                  <a:gd name="T87" fmla="*/ 57 h 112"/>
                  <a:gd name="T88" fmla="*/ 55 w 119"/>
                  <a:gd name="T89" fmla="*/ 65 h 112"/>
                  <a:gd name="T90" fmla="*/ 63 w 119"/>
                  <a:gd name="T91" fmla="*/ 71 h 112"/>
                  <a:gd name="T92" fmla="*/ 74 w 119"/>
                  <a:gd name="T93" fmla="*/ 76 h 112"/>
                  <a:gd name="T94" fmla="*/ 80 w 119"/>
                  <a:gd name="T95" fmla="*/ 79 h 112"/>
                  <a:gd name="T96" fmla="*/ 83 w 119"/>
                  <a:gd name="T97" fmla="*/ 83 h 112"/>
                  <a:gd name="T98" fmla="*/ 91 w 119"/>
                  <a:gd name="T99" fmla="*/ 88 h 112"/>
                  <a:gd name="T100" fmla="*/ 96 w 119"/>
                  <a:gd name="T101" fmla="*/ 100 h 112"/>
                  <a:gd name="T102" fmla="*/ 92 w 119"/>
                  <a:gd name="T103" fmla="*/ 103 h 112"/>
                  <a:gd name="T104" fmla="*/ 91 w 119"/>
                  <a:gd name="T105" fmla="*/ 112 h 112"/>
                  <a:gd name="T106" fmla="*/ 99 w 119"/>
                  <a:gd name="T107" fmla="*/ 105 h 112"/>
                  <a:gd name="T108" fmla="*/ 105 w 119"/>
                  <a:gd name="T109" fmla="*/ 100 h 112"/>
                  <a:gd name="T110" fmla="*/ 102 w 119"/>
                  <a:gd name="T111" fmla="*/ 92 h 112"/>
                  <a:gd name="T112" fmla="*/ 99 w 119"/>
                  <a:gd name="T113" fmla="*/ 88 h 112"/>
                  <a:gd name="T114" fmla="*/ 110 w 119"/>
                  <a:gd name="T115" fmla="*/ 83 h 112"/>
                  <a:gd name="T116" fmla="*/ 119 w 119"/>
                  <a:gd name="T11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9" h="112">
                    <a:moveTo>
                      <a:pt x="115" y="81"/>
                    </a:moveTo>
                    <a:cubicBezTo>
                      <a:pt x="113" y="79"/>
                      <a:pt x="111" y="78"/>
                      <a:pt x="109" y="77"/>
                    </a:cubicBezTo>
                    <a:cubicBezTo>
                      <a:pt x="107" y="76"/>
                      <a:pt x="106" y="75"/>
                      <a:pt x="104" y="74"/>
                    </a:cubicBezTo>
                    <a:cubicBezTo>
                      <a:pt x="100" y="72"/>
                      <a:pt x="95" y="71"/>
                      <a:pt x="93" y="67"/>
                    </a:cubicBezTo>
                    <a:cubicBezTo>
                      <a:pt x="94" y="67"/>
                      <a:pt x="95" y="66"/>
                      <a:pt x="95" y="65"/>
                    </a:cubicBezTo>
                    <a:cubicBezTo>
                      <a:pt x="95" y="64"/>
                      <a:pt x="95" y="63"/>
                      <a:pt x="95" y="63"/>
                    </a:cubicBezTo>
                    <a:cubicBezTo>
                      <a:pt x="91" y="63"/>
                      <a:pt x="88" y="63"/>
                      <a:pt x="85" y="63"/>
                    </a:cubicBezTo>
                    <a:cubicBezTo>
                      <a:pt x="84" y="63"/>
                      <a:pt x="82" y="62"/>
                      <a:pt x="81" y="62"/>
                    </a:cubicBezTo>
                    <a:cubicBezTo>
                      <a:pt x="79" y="61"/>
                      <a:pt x="78" y="59"/>
                      <a:pt x="77" y="58"/>
                    </a:cubicBezTo>
                    <a:cubicBezTo>
                      <a:pt x="75" y="56"/>
                      <a:pt x="74" y="54"/>
                      <a:pt x="72" y="52"/>
                    </a:cubicBezTo>
                    <a:cubicBezTo>
                      <a:pt x="71" y="50"/>
                      <a:pt x="71" y="46"/>
                      <a:pt x="69" y="44"/>
                    </a:cubicBezTo>
                    <a:cubicBezTo>
                      <a:pt x="67" y="42"/>
                      <a:pt x="64" y="41"/>
                      <a:pt x="61" y="39"/>
                    </a:cubicBezTo>
                    <a:cubicBezTo>
                      <a:pt x="59" y="37"/>
                      <a:pt x="57" y="36"/>
                      <a:pt x="56" y="33"/>
                    </a:cubicBezTo>
                    <a:cubicBezTo>
                      <a:pt x="56" y="31"/>
                      <a:pt x="55" y="29"/>
                      <a:pt x="55" y="27"/>
                    </a:cubicBezTo>
                    <a:cubicBezTo>
                      <a:pt x="57" y="28"/>
                      <a:pt x="57" y="27"/>
                      <a:pt x="58" y="26"/>
                    </a:cubicBezTo>
                    <a:cubicBezTo>
                      <a:pt x="58" y="25"/>
                      <a:pt x="58" y="25"/>
                      <a:pt x="57" y="24"/>
                    </a:cubicBezTo>
                    <a:cubicBezTo>
                      <a:pt x="56" y="24"/>
                      <a:pt x="54" y="22"/>
                      <a:pt x="54" y="21"/>
                    </a:cubicBezTo>
                    <a:cubicBezTo>
                      <a:pt x="54" y="21"/>
                      <a:pt x="55" y="20"/>
                      <a:pt x="55" y="19"/>
                    </a:cubicBezTo>
                    <a:cubicBezTo>
                      <a:pt x="56" y="19"/>
                      <a:pt x="57" y="18"/>
                      <a:pt x="57" y="18"/>
                    </a:cubicBezTo>
                    <a:cubicBezTo>
                      <a:pt x="57" y="19"/>
                      <a:pt x="57" y="19"/>
                      <a:pt x="57" y="20"/>
                    </a:cubicBezTo>
                    <a:cubicBezTo>
                      <a:pt x="58" y="19"/>
                      <a:pt x="59" y="19"/>
                      <a:pt x="60" y="18"/>
                    </a:cubicBezTo>
                    <a:cubicBezTo>
                      <a:pt x="61" y="18"/>
                      <a:pt x="63" y="18"/>
                      <a:pt x="64" y="17"/>
                    </a:cubicBezTo>
                    <a:cubicBezTo>
                      <a:pt x="64" y="16"/>
                      <a:pt x="63" y="16"/>
                      <a:pt x="64" y="15"/>
                    </a:cubicBezTo>
                    <a:cubicBezTo>
                      <a:pt x="66" y="15"/>
                      <a:pt x="66" y="16"/>
                      <a:pt x="68" y="16"/>
                    </a:cubicBezTo>
                    <a:cubicBezTo>
                      <a:pt x="68" y="16"/>
                      <a:pt x="68" y="16"/>
                      <a:pt x="68" y="16"/>
                    </a:cubicBezTo>
                    <a:cubicBezTo>
                      <a:pt x="68" y="15"/>
                      <a:pt x="68" y="15"/>
                      <a:pt x="68" y="15"/>
                    </a:cubicBezTo>
                    <a:cubicBezTo>
                      <a:pt x="68" y="15"/>
                      <a:pt x="68" y="15"/>
                      <a:pt x="68" y="15"/>
                    </a:cubicBezTo>
                    <a:cubicBezTo>
                      <a:pt x="68" y="15"/>
                      <a:pt x="68" y="14"/>
                      <a:pt x="68" y="14"/>
                    </a:cubicBezTo>
                    <a:cubicBezTo>
                      <a:pt x="68" y="13"/>
                      <a:pt x="68" y="13"/>
                      <a:pt x="68" y="13"/>
                    </a:cubicBezTo>
                    <a:cubicBezTo>
                      <a:pt x="68" y="13"/>
                      <a:pt x="67" y="13"/>
                      <a:pt x="67" y="13"/>
                    </a:cubicBezTo>
                    <a:cubicBezTo>
                      <a:pt x="65" y="12"/>
                      <a:pt x="65" y="12"/>
                      <a:pt x="65" y="12"/>
                    </a:cubicBezTo>
                    <a:cubicBezTo>
                      <a:pt x="67" y="11"/>
                      <a:pt x="67" y="11"/>
                      <a:pt x="67" y="11"/>
                    </a:cubicBezTo>
                    <a:cubicBezTo>
                      <a:pt x="67" y="11"/>
                      <a:pt x="67" y="10"/>
                      <a:pt x="67" y="10"/>
                    </a:cubicBezTo>
                    <a:cubicBezTo>
                      <a:pt x="67" y="10"/>
                      <a:pt x="67" y="10"/>
                      <a:pt x="67" y="10"/>
                    </a:cubicBezTo>
                    <a:cubicBezTo>
                      <a:pt x="64" y="9"/>
                      <a:pt x="64" y="9"/>
                      <a:pt x="64" y="9"/>
                    </a:cubicBezTo>
                    <a:cubicBezTo>
                      <a:pt x="66" y="7"/>
                      <a:pt x="66" y="7"/>
                      <a:pt x="66" y="7"/>
                    </a:cubicBezTo>
                    <a:cubicBezTo>
                      <a:pt x="66" y="7"/>
                      <a:pt x="66" y="7"/>
                      <a:pt x="67" y="7"/>
                    </a:cubicBezTo>
                    <a:cubicBezTo>
                      <a:pt x="67" y="7"/>
                      <a:pt x="67" y="7"/>
                      <a:pt x="67" y="7"/>
                    </a:cubicBezTo>
                    <a:cubicBezTo>
                      <a:pt x="67" y="7"/>
                      <a:pt x="68" y="7"/>
                      <a:pt x="68" y="7"/>
                    </a:cubicBezTo>
                    <a:cubicBezTo>
                      <a:pt x="68" y="7"/>
                      <a:pt x="68" y="7"/>
                      <a:pt x="68" y="7"/>
                    </a:cubicBezTo>
                    <a:cubicBezTo>
                      <a:pt x="67" y="6"/>
                      <a:pt x="67" y="6"/>
                      <a:pt x="66" y="6"/>
                    </a:cubicBezTo>
                    <a:cubicBezTo>
                      <a:pt x="64" y="6"/>
                      <a:pt x="62" y="6"/>
                      <a:pt x="59" y="5"/>
                    </a:cubicBezTo>
                    <a:cubicBezTo>
                      <a:pt x="59" y="5"/>
                      <a:pt x="59" y="5"/>
                      <a:pt x="59" y="5"/>
                    </a:cubicBezTo>
                    <a:cubicBezTo>
                      <a:pt x="58" y="5"/>
                      <a:pt x="58" y="5"/>
                      <a:pt x="58" y="5"/>
                    </a:cubicBezTo>
                    <a:cubicBezTo>
                      <a:pt x="56" y="5"/>
                      <a:pt x="54" y="3"/>
                      <a:pt x="53" y="2"/>
                    </a:cubicBezTo>
                    <a:cubicBezTo>
                      <a:pt x="53" y="1"/>
                      <a:pt x="53" y="1"/>
                      <a:pt x="53" y="1"/>
                    </a:cubicBezTo>
                    <a:cubicBezTo>
                      <a:pt x="53" y="1"/>
                      <a:pt x="53" y="0"/>
                      <a:pt x="53" y="0"/>
                    </a:cubicBezTo>
                    <a:cubicBezTo>
                      <a:pt x="52" y="0"/>
                      <a:pt x="52" y="0"/>
                      <a:pt x="52" y="0"/>
                    </a:cubicBezTo>
                    <a:cubicBezTo>
                      <a:pt x="51" y="0"/>
                      <a:pt x="50" y="0"/>
                      <a:pt x="49" y="1"/>
                    </a:cubicBezTo>
                    <a:cubicBezTo>
                      <a:pt x="49" y="1"/>
                      <a:pt x="49" y="1"/>
                      <a:pt x="49" y="1"/>
                    </a:cubicBezTo>
                    <a:cubicBezTo>
                      <a:pt x="45" y="1"/>
                      <a:pt x="45" y="1"/>
                      <a:pt x="45" y="1"/>
                    </a:cubicBezTo>
                    <a:cubicBezTo>
                      <a:pt x="45" y="1"/>
                      <a:pt x="45" y="1"/>
                      <a:pt x="44" y="2"/>
                    </a:cubicBezTo>
                    <a:cubicBezTo>
                      <a:pt x="44" y="2"/>
                      <a:pt x="44" y="2"/>
                      <a:pt x="44" y="3"/>
                    </a:cubicBezTo>
                    <a:cubicBezTo>
                      <a:pt x="44" y="3"/>
                      <a:pt x="44" y="3"/>
                      <a:pt x="44" y="3"/>
                    </a:cubicBezTo>
                    <a:cubicBezTo>
                      <a:pt x="43" y="3"/>
                      <a:pt x="43" y="4"/>
                      <a:pt x="43" y="4"/>
                    </a:cubicBezTo>
                    <a:cubicBezTo>
                      <a:pt x="42" y="4"/>
                      <a:pt x="42" y="4"/>
                      <a:pt x="41" y="4"/>
                    </a:cubicBezTo>
                    <a:cubicBezTo>
                      <a:pt x="40" y="3"/>
                      <a:pt x="39" y="3"/>
                      <a:pt x="38" y="3"/>
                    </a:cubicBezTo>
                    <a:cubicBezTo>
                      <a:pt x="38" y="3"/>
                      <a:pt x="38" y="3"/>
                      <a:pt x="38" y="3"/>
                    </a:cubicBezTo>
                    <a:cubicBezTo>
                      <a:pt x="38" y="3"/>
                      <a:pt x="38" y="4"/>
                      <a:pt x="38" y="5"/>
                    </a:cubicBezTo>
                    <a:cubicBezTo>
                      <a:pt x="38" y="5"/>
                      <a:pt x="38" y="5"/>
                      <a:pt x="38" y="5"/>
                    </a:cubicBezTo>
                    <a:cubicBezTo>
                      <a:pt x="38" y="5"/>
                      <a:pt x="38" y="5"/>
                      <a:pt x="38" y="6"/>
                    </a:cubicBezTo>
                    <a:cubicBezTo>
                      <a:pt x="38" y="7"/>
                      <a:pt x="38" y="7"/>
                      <a:pt x="38" y="7"/>
                    </a:cubicBezTo>
                    <a:cubicBezTo>
                      <a:pt x="36" y="7"/>
                      <a:pt x="36" y="7"/>
                      <a:pt x="36" y="7"/>
                    </a:cubicBezTo>
                    <a:cubicBezTo>
                      <a:pt x="36" y="7"/>
                      <a:pt x="36" y="7"/>
                      <a:pt x="36" y="7"/>
                    </a:cubicBezTo>
                    <a:cubicBezTo>
                      <a:pt x="36" y="6"/>
                      <a:pt x="36" y="6"/>
                      <a:pt x="36" y="6"/>
                    </a:cubicBezTo>
                    <a:cubicBezTo>
                      <a:pt x="35" y="6"/>
                      <a:pt x="35" y="6"/>
                      <a:pt x="34" y="6"/>
                    </a:cubicBezTo>
                    <a:cubicBezTo>
                      <a:pt x="35" y="6"/>
                      <a:pt x="35" y="6"/>
                      <a:pt x="35" y="7"/>
                    </a:cubicBezTo>
                    <a:cubicBezTo>
                      <a:pt x="35" y="7"/>
                      <a:pt x="35" y="8"/>
                      <a:pt x="35" y="8"/>
                    </a:cubicBezTo>
                    <a:cubicBezTo>
                      <a:pt x="35" y="8"/>
                      <a:pt x="35" y="9"/>
                      <a:pt x="35" y="10"/>
                    </a:cubicBezTo>
                    <a:cubicBezTo>
                      <a:pt x="35" y="10"/>
                      <a:pt x="35" y="10"/>
                      <a:pt x="35" y="10"/>
                    </a:cubicBezTo>
                    <a:cubicBezTo>
                      <a:pt x="34" y="10"/>
                      <a:pt x="34" y="10"/>
                      <a:pt x="34" y="10"/>
                    </a:cubicBezTo>
                    <a:cubicBezTo>
                      <a:pt x="34" y="10"/>
                      <a:pt x="34" y="11"/>
                      <a:pt x="34" y="11"/>
                    </a:cubicBezTo>
                    <a:cubicBezTo>
                      <a:pt x="34" y="11"/>
                      <a:pt x="34" y="11"/>
                      <a:pt x="34" y="11"/>
                    </a:cubicBezTo>
                    <a:cubicBezTo>
                      <a:pt x="33" y="11"/>
                      <a:pt x="33" y="11"/>
                      <a:pt x="33" y="11"/>
                    </a:cubicBezTo>
                    <a:cubicBezTo>
                      <a:pt x="33" y="11"/>
                      <a:pt x="33" y="11"/>
                      <a:pt x="33" y="11"/>
                    </a:cubicBezTo>
                    <a:cubicBezTo>
                      <a:pt x="31" y="11"/>
                      <a:pt x="28" y="9"/>
                      <a:pt x="26" y="8"/>
                    </a:cubicBezTo>
                    <a:cubicBezTo>
                      <a:pt x="26" y="9"/>
                      <a:pt x="25" y="10"/>
                      <a:pt x="25" y="11"/>
                    </a:cubicBezTo>
                    <a:cubicBezTo>
                      <a:pt x="25" y="11"/>
                      <a:pt x="25" y="11"/>
                      <a:pt x="24" y="11"/>
                    </a:cubicBezTo>
                    <a:cubicBezTo>
                      <a:pt x="24" y="11"/>
                      <a:pt x="24" y="11"/>
                      <a:pt x="24" y="11"/>
                    </a:cubicBezTo>
                    <a:cubicBezTo>
                      <a:pt x="24" y="12"/>
                      <a:pt x="24" y="12"/>
                      <a:pt x="24" y="13"/>
                    </a:cubicBezTo>
                    <a:cubicBezTo>
                      <a:pt x="23" y="13"/>
                      <a:pt x="23" y="13"/>
                      <a:pt x="23" y="13"/>
                    </a:cubicBezTo>
                    <a:cubicBezTo>
                      <a:pt x="23" y="14"/>
                      <a:pt x="23" y="15"/>
                      <a:pt x="22" y="15"/>
                    </a:cubicBezTo>
                    <a:cubicBezTo>
                      <a:pt x="19" y="19"/>
                      <a:pt x="19" y="19"/>
                      <a:pt x="19" y="19"/>
                    </a:cubicBezTo>
                    <a:cubicBezTo>
                      <a:pt x="20" y="14"/>
                      <a:pt x="20" y="14"/>
                      <a:pt x="20" y="14"/>
                    </a:cubicBezTo>
                    <a:cubicBezTo>
                      <a:pt x="20" y="14"/>
                      <a:pt x="20" y="14"/>
                      <a:pt x="20" y="14"/>
                    </a:cubicBezTo>
                    <a:cubicBezTo>
                      <a:pt x="20" y="14"/>
                      <a:pt x="20" y="13"/>
                      <a:pt x="19" y="13"/>
                    </a:cubicBezTo>
                    <a:cubicBezTo>
                      <a:pt x="19" y="12"/>
                      <a:pt x="19" y="12"/>
                      <a:pt x="19" y="12"/>
                    </a:cubicBezTo>
                    <a:cubicBezTo>
                      <a:pt x="19" y="12"/>
                      <a:pt x="19" y="12"/>
                      <a:pt x="19" y="12"/>
                    </a:cubicBezTo>
                    <a:cubicBezTo>
                      <a:pt x="19" y="12"/>
                      <a:pt x="18" y="12"/>
                      <a:pt x="18" y="12"/>
                    </a:cubicBezTo>
                    <a:cubicBezTo>
                      <a:pt x="18" y="12"/>
                      <a:pt x="18" y="12"/>
                      <a:pt x="18" y="12"/>
                    </a:cubicBezTo>
                    <a:cubicBezTo>
                      <a:pt x="16" y="11"/>
                      <a:pt x="15" y="11"/>
                      <a:pt x="15" y="10"/>
                    </a:cubicBezTo>
                    <a:cubicBezTo>
                      <a:pt x="15" y="10"/>
                      <a:pt x="15" y="9"/>
                      <a:pt x="15" y="9"/>
                    </a:cubicBezTo>
                    <a:cubicBezTo>
                      <a:pt x="14" y="9"/>
                      <a:pt x="14" y="10"/>
                      <a:pt x="14" y="11"/>
                    </a:cubicBezTo>
                    <a:cubicBezTo>
                      <a:pt x="13" y="12"/>
                      <a:pt x="13" y="12"/>
                      <a:pt x="12" y="13"/>
                    </a:cubicBezTo>
                    <a:cubicBezTo>
                      <a:pt x="11" y="14"/>
                      <a:pt x="11" y="14"/>
                      <a:pt x="11" y="14"/>
                    </a:cubicBezTo>
                    <a:cubicBezTo>
                      <a:pt x="11" y="14"/>
                      <a:pt x="11" y="15"/>
                      <a:pt x="10" y="15"/>
                    </a:cubicBezTo>
                    <a:cubicBezTo>
                      <a:pt x="9" y="15"/>
                      <a:pt x="9" y="15"/>
                      <a:pt x="9" y="15"/>
                    </a:cubicBezTo>
                    <a:cubicBezTo>
                      <a:pt x="9" y="14"/>
                      <a:pt x="9" y="14"/>
                      <a:pt x="9" y="14"/>
                    </a:cubicBezTo>
                    <a:cubicBezTo>
                      <a:pt x="8" y="14"/>
                      <a:pt x="7" y="14"/>
                      <a:pt x="6" y="14"/>
                    </a:cubicBezTo>
                    <a:cubicBezTo>
                      <a:pt x="6" y="14"/>
                      <a:pt x="4" y="14"/>
                      <a:pt x="3" y="14"/>
                    </a:cubicBezTo>
                    <a:cubicBezTo>
                      <a:pt x="3" y="15"/>
                      <a:pt x="3" y="15"/>
                      <a:pt x="3" y="15"/>
                    </a:cubicBezTo>
                    <a:cubicBezTo>
                      <a:pt x="3" y="15"/>
                      <a:pt x="2" y="15"/>
                      <a:pt x="2" y="15"/>
                    </a:cubicBezTo>
                    <a:cubicBezTo>
                      <a:pt x="2" y="15"/>
                      <a:pt x="2" y="15"/>
                      <a:pt x="1" y="15"/>
                    </a:cubicBezTo>
                    <a:cubicBezTo>
                      <a:pt x="1" y="15"/>
                      <a:pt x="1" y="15"/>
                      <a:pt x="1" y="15"/>
                    </a:cubicBezTo>
                    <a:cubicBezTo>
                      <a:pt x="3" y="18"/>
                      <a:pt x="3" y="18"/>
                      <a:pt x="3" y="18"/>
                    </a:cubicBezTo>
                    <a:cubicBezTo>
                      <a:pt x="3" y="18"/>
                      <a:pt x="3" y="18"/>
                      <a:pt x="3" y="18"/>
                    </a:cubicBezTo>
                    <a:cubicBezTo>
                      <a:pt x="4" y="19"/>
                      <a:pt x="4" y="19"/>
                      <a:pt x="4" y="20"/>
                    </a:cubicBezTo>
                    <a:cubicBezTo>
                      <a:pt x="5" y="20"/>
                      <a:pt x="4" y="21"/>
                      <a:pt x="4" y="21"/>
                    </a:cubicBezTo>
                    <a:cubicBezTo>
                      <a:pt x="4" y="21"/>
                      <a:pt x="4" y="21"/>
                      <a:pt x="4" y="22"/>
                    </a:cubicBezTo>
                    <a:cubicBezTo>
                      <a:pt x="4" y="22"/>
                      <a:pt x="4" y="22"/>
                      <a:pt x="4" y="23"/>
                    </a:cubicBezTo>
                    <a:cubicBezTo>
                      <a:pt x="3" y="23"/>
                      <a:pt x="2" y="24"/>
                      <a:pt x="0" y="24"/>
                    </a:cubicBezTo>
                    <a:cubicBezTo>
                      <a:pt x="4" y="29"/>
                      <a:pt x="4" y="29"/>
                      <a:pt x="4" y="29"/>
                    </a:cubicBezTo>
                    <a:cubicBezTo>
                      <a:pt x="3" y="30"/>
                      <a:pt x="3" y="30"/>
                      <a:pt x="3" y="30"/>
                    </a:cubicBezTo>
                    <a:cubicBezTo>
                      <a:pt x="2" y="30"/>
                      <a:pt x="1" y="31"/>
                      <a:pt x="2" y="32"/>
                    </a:cubicBezTo>
                    <a:cubicBezTo>
                      <a:pt x="2" y="32"/>
                      <a:pt x="2" y="32"/>
                      <a:pt x="2" y="32"/>
                    </a:cubicBezTo>
                    <a:cubicBezTo>
                      <a:pt x="10" y="36"/>
                      <a:pt x="10" y="36"/>
                      <a:pt x="10" y="36"/>
                    </a:cubicBezTo>
                    <a:cubicBezTo>
                      <a:pt x="10" y="37"/>
                      <a:pt x="10" y="37"/>
                      <a:pt x="10" y="37"/>
                    </a:cubicBezTo>
                    <a:cubicBezTo>
                      <a:pt x="9" y="38"/>
                      <a:pt x="9" y="38"/>
                      <a:pt x="9" y="39"/>
                    </a:cubicBezTo>
                    <a:cubicBezTo>
                      <a:pt x="9" y="39"/>
                      <a:pt x="9" y="40"/>
                      <a:pt x="9" y="40"/>
                    </a:cubicBezTo>
                    <a:cubicBezTo>
                      <a:pt x="10" y="40"/>
                      <a:pt x="12" y="39"/>
                      <a:pt x="13" y="38"/>
                    </a:cubicBezTo>
                    <a:cubicBezTo>
                      <a:pt x="15" y="37"/>
                      <a:pt x="16" y="35"/>
                      <a:pt x="18" y="33"/>
                    </a:cubicBezTo>
                    <a:cubicBezTo>
                      <a:pt x="18" y="33"/>
                      <a:pt x="23" y="34"/>
                      <a:pt x="24" y="34"/>
                    </a:cubicBezTo>
                    <a:cubicBezTo>
                      <a:pt x="26" y="35"/>
                      <a:pt x="28" y="36"/>
                      <a:pt x="31" y="36"/>
                    </a:cubicBezTo>
                    <a:cubicBezTo>
                      <a:pt x="32" y="37"/>
                      <a:pt x="35" y="38"/>
                      <a:pt x="35" y="40"/>
                    </a:cubicBezTo>
                    <a:cubicBezTo>
                      <a:pt x="35" y="43"/>
                      <a:pt x="36" y="45"/>
                      <a:pt x="37" y="48"/>
                    </a:cubicBezTo>
                    <a:cubicBezTo>
                      <a:pt x="37" y="48"/>
                      <a:pt x="37" y="49"/>
                      <a:pt x="37" y="50"/>
                    </a:cubicBezTo>
                    <a:cubicBezTo>
                      <a:pt x="37" y="50"/>
                      <a:pt x="37" y="50"/>
                      <a:pt x="37" y="51"/>
                    </a:cubicBezTo>
                    <a:cubicBezTo>
                      <a:pt x="37" y="51"/>
                      <a:pt x="39" y="51"/>
                      <a:pt x="39" y="51"/>
                    </a:cubicBezTo>
                    <a:cubicBezTo>
                      <a:pt x="40" y="51"/>
                      <a:pt x="42" y="54"/>
                      <a:pt x="42" y="54"/>
                    </a:cubicBezTo>
                    <a:cubicBezTo>
                      <a:pt x="43" y="55"/>
                      <a:pt x="44" y="56"/>
                      <a:pt x="44" y="57"/>
                    </a:cubicBezTo>
                    <a:cubicBezTo>
                      <a:pt x="44" y="57"/>
                      <a:pt x="43" y="57"/>
                      <a:pt x="43" y="57"/>
                    </a:cubicBezTo>
                    <a:cubicBezTo>
                      <a:pt x="43" y="57"/>
                      <a:pt x="43" y="57"/>
                      <a:pt x="43" y="57"/>
                    </a:cubicBezTo>
                    <a:cubicBezTo>
                      <a:pt x="44" y="58"/>
                      <a:pt x="45" y="58"/>
                      <a:pt x="46" y="58"/>
                    </a:cubicBezTo>
                    <a:cubicBezTo>
                      <a:pt x="48" y="58"/>
                      <a:pt x="50" y="61"/>
                      <a:pt x="52" y="62"/>
                    </a:cubicBezTo>
                    <a:cubicBezTo>
                      <a:pt x="53" y="63"/>
                      <a:pt x="54" y="64"/>
                      <a:pt x="55" y="65"/>
                    </a:cubicBezTo>
                    <a:cubicBezTo>
                      <a:pt x="57" y="66"/>
                      <a:pt x="57" y="66"/>
                      <a:pt x="57" y="66"/>
                    </a:cubicBezTo>
                    <a:cubicBezTo>
                      <a:pt x="58" y="67"/>
                      <a:pt x="59" y="68"/>
                      <a:pt x="60" y="69"/>
                    </a:cubicBezTo>
                    <a:cubicBezTo>
                      <a:pt x="61" y="70"/>
                      <a:pt x="62" y="71"/>
                      <a:pt x="63" y="71"/>
                    </a:cubicBezTo>
                    <a:cubicBezTo>
                      <a:pt x="63" y="71"/>
                      <a:pt x="63" y="72"/>
                      <a:pt x="63" y="72"/>
                    </a:cubicBezTo>
                    <a:cubicBezTo>
                      <a:pt x="65" y="73"/>
                      <a:pt x="69" y="70"/>
                      <a:pt x="71" y="73"/>
                    </a:cubicBezTo>
                    <a:cubicBezTo>
                      <a:pt x="72" y="74"/>
                      <a:pt x="73" y="75"/>
                      <a:pt x="74" y="76"/>
                    </a:cubicBezTo>
                    <a:cubicBezTo>
                      <a:pt x="75" y="77"/>
                      <a:pt x="76" y="77"/>
                      <a:pt x="77" y="78"/>
                    </a:cubicBezTo>
                    <a:cubicBezTo>
                      <a:pt x="77" y="78"/>
                      <a:pt x="77" y="79"/>
                      <a:pt x="76" y="80"/>
                    </a:cubicBezTo>
                    <a:cubicBezTo>
                      <a:pt x="77" y="79"/>
                      <a:pt x="79" y="79"/>
                      <a:pt x="80" y="79"/>
                    </a:cubicBezTo>
                    <a:cubicBezTo>
                      <a:pt x="80" y="79"/>
                      <a:pt x="80" y="78"/>
                      <a:pt x="81" y="79"/>
                    </a:cubicBezTo>
                    <a:cubicBezTo>
                      <a:pt x="82" y="79"/>
                      <a:pt x="83" y="82"/>
                      <a:pt x="83" y="83"/>
                    </a:cubicBezTo>
                    <a:cubicBezTo>
                      <a:pt x="83" y="83"/>
                      <a:pt x="83" y="83"/>
                      <a:pt x="83" y="83"/>
                    </a:cubicBezTo>
                    <a:cubicBezTo>
                      <a:pt x="82" y="84"/>
                      <a:pt x="82" y="84"/>
                      <a:pt x="83" y="85"/>
                    </a:cubicBezTo>
                    <a:cubicBezTo>
                      <a:pt x="84" y="85"/>
                      <a:pt x="86" y="87"/>
                      <a:pt x="87" y="87"/>
                    </a:cubicBezTo>
                    <a:cubicBezTo>
                      <a:pt x="89" y="86"/>
                      <a:pt x="90" y="86"/>
                      <a:pt x="91" y="88"/>
                    </a:cubicBezTo>
                    <a:cubicBezTo>
                      <a:pt x="91" y="89"/>
                      <a:pt x="92" y="90"/>
                      <a:pt x="92" y="91"/>
                    </a:cubicBezTo>
                    <a:cubicBezTo>
                      <a:pt x="93" y="94"/>
                      <a:pt x="93" y="97"/>
                      <a:pt x="95" y="99"/>
                    </a:cubicBezTo>
                    <a:cubicBezTo>
                      <a:pt x="95" y="100"/>
                      <a:pt x="96" y="99"/>
                      <a:pt x="96" y="100"/>
                    </a:cubicBezTo>
                    <a:cubicBezTo>
                      <a:pt x="96" y="101"/>
                      <a:pt x="94" y="102"/>
                      <a:pt x="93" y="102"/>
                    </a:cubicBezTo>
                    <a:cubicBezTo>
                      <a:pt x="93" y="102"/>
                      <a:pt x="92" y="102"/>
                      <a:pt x="92" y="103"/>
                    </a:cubicBezTo>
                    <a:cubicBezTo>
                      <a:pt x="92" y="103"/>
                      <a:pt x="92" y="103"/>
                      <a:pt x="92" y="103"/>
                    </a:cubicBezTo>
                    <a:cubicBezTo>
                      <a:pt x="92" y="103"/>
                      <a:pt x="93" y="104"/>
                      <a:pt x="93" y="104"/>
                    </a:cubicBezTo>
                    <a:cubicBezTo>
                      <a:pt x="92" y="105"/>
                      <a:pt x="92" y="106"/>
                      <a:pt x="91" y="106"/>
                    </a:cubicBezTo>
                    <a:cubicBezTo>
                      <a:pt x="90" y="108"/>
                      <a:pt x="88" y="111"/>
                      <a:pt x="91" y="112"/>
                    </a:cubicBezTo>
                    <a:cubicBezTo>
                      <a:pt x="92" y="112"/>
                      <a:pt x="93" y="112"/>
                      <a:pt x="94" y="112"/>
                    </a:cubicBezTo>
                    <a:cubicBezTo>
                      <a:pt x="95" y="111"/>
                      <a:pt x="96" y="109"/>
                      <a:pt x="96" y="109"/>
                    </a:cubicBezTo>
                    <a:cubicBezTo>
                      <a:pt x="97" y="108"/>
                      <a:pt x="99" y="106"/>
                      <a:pt x="99" y="105"/>
                    </a:cubicBezTo>
                    <a:cubicBezTo>
                      <a:pt x="99" y="105"/>
                      <a:pt x="99" y="103"/>
                      <a:pt x="99" y="102"/>
                    </a:cubicBezTo>
                    <a:cubicBezTo>
                      <a:pt x="99" y="101"/>
                      <a:pt x="101" y="100"/>
                      <a:pt x="103" y="100"/>
                    </a:cubicBezTo>
                    <a:cubicBezTo>
                      <a:pt x="103" y="99"/>
                      <a:pt x="104" y="100"/>
                      <a:pt x="105" y="100"/>
                    </a:cubicBezTo>
                    <a:cubicBezTo>
                      <a:pt x="105" y="100"/>
                      <a:pt x="105" y="100"/>
                      <a:pt x="105" y="100"/>
                    </a:cubicBezTo>
                    <a:cubicBezTo>
                      <a:pt x="106" y="99"/>
                      <a:pt x="105" y="97"/>
                      <a:pt x="105" y="95"/>
                    </a:cubicBezTo>
                    <a:cubicBezTo>
                      <a:pt x="105" y="94"/>
                      <a:pt x="103" y="93"/>
                      <a:pt x="102" y="92"/>
                    </a:cubicBezTo>
                    <a:cubicBezTo>
                      <a:pt x="101" y="92"/>
                      <a:pt x="101" y="92"/>
                      <a:pt x="101" y="91"/>
                    </a:cubicBezTo>
                    <a:cubicBezTo>
                      <a:pt x="100" y="91"/>
                      <a:pt x="100" y="91"/>
                      <a:pt x="99" y="91"/>
                    </a:cubicBezTo>
                    <a:cubicBezTo>
                      <a:pt x="98" y="91"/>
                      <a:pt x="99" y="90"/>
                      <a:pt x="99" y="88"/>
                    </a:cubicBezTo>
                    <a:cubicBezTo>
                      <a:pt x="100" y="85"/>
                      <a:pt x="101" y="83"/>
                      <a:pt x="103" y="81"/>
                    </a:cubicBezTo>
                    <a:cubicBezTo>
                      <a:pt x="104" y="80"/>
                      <a:pt x="108" y="81"/>
                      <a:pt x="106" y="82"/>
                    </a:cubicBezTo>
                    <a:cubicBezTo>
                      <a:pt x="107" y="82"/>
                      <a:pt x="108" y="83"/>
                      <a:pt x="110" y="83"/>
                    </a:cubicBezTo>
                    <a:cubicBezTo>
                      <a:pt x="112" y="83"/>
                      <a:pt x="112" y="84"/>
                      <a:pt x="113" y="85"/>
                    </a:cubicBezTo>
                    <a:cubicBezTo>
                      <a:pt x="114" y="88"/>
                      <a:pt x="115" y="88"/>
                      <a:pt x="118" y="89"/>
                    </a:cubicBezTo>
                    <a:cubicBezTo>
                      <a:pt x="118" y="88"/>
                      <a:pt x="118" y="87"/>
                      <a:pt x="119" y="86"/>
                    </a:cubicBezTo>
                    <a:cubicBezTo>
                      <a:pt x="119" y="84"/>
                      <a:pt x="116" y="82"/>
                      <a:pt x="115"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5" name="Freeform 3087">
                <a:extLst>
                  <a:ext uri="{FF2B5EF4-FFF2-40B4-BE49-F238E27FC236}">
                    <a16:creationId xmlns:a16="http://schemas.microsoft.com/office/drawing/2014/main" id="{E557475F-615E-4B52-BA39-22F123AE1794}"/>
                  </a:ext>
                </a:extLst>
              </p:cNvPr>
              <p:cNvSpPr>
                <a:spLocks/>
              </p:cNvSpPr>
              <p:nvPr/>
            </p:nvSpPr>
            <p:spPr bwMode="auto">
              <a:xfrm>
                <a:off x="3689" y="1428"/>
                <a:ext cx="2" cy="2"/>
              </a:xfrm>
              <a:custGeom>
                <a:avLst/>
                <a:gdLst>
                  <a:gd name="T0" fmla="*/ 1 w 1"/>
                  <a:gd name="T1" fmla="*/ 0 h 1"/>
                  <a:gd name="T2" fmla="*/ 1 w 1"/>
                  <a:gd name="T3" fmla="*/ 0 h 1"/>
                  <a:gd name="T4" fmla="*/ 0 w 1"/>
                  <a:gd name="T5" fmla="*/ 1 h 1"/>
                  <a:gd name="T6" fmla="*/ 1 w 1"/>
                  <a:gd name="T7" fmla="*/ 1 h 1"/>
                  <a:gd name="T8" fmla="*/ 1 w 1"/>
                  <a:gd name="T9" fmla="*/ 1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0" y="0"/>
                      <a:pt x="0" y="1"/>
                      <a:pt x="0" y="1"/>
                    </a:cubicBezTo>
                    <a:cubicBezTo>
                      <a:pt x="1" y="1"/>
                      <a:pt x="1" y="1"/>
                      <a:pt x="1" y="1"/>
                    </a:cubicBezTo>
                    <a:cubicBezTo>
                      <a:pt x="1" y="1"/>
                      <a:pt x="1" y="1"/>
                      <a:pt x="1" y="1"/>
                    </a:cubicBezTo>
                    <a:cubicBezTo>
                      <a:pt x="1" y="1"/>
                      <a:pt x="1" y="1"/>
                      <a:pt x="1" y="0"/>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6" name="Freeform 3088">
                <a:extLst>
                  <a:ext uri="{FF2B5EF4-FFF2-40B4-BE49-F238E27FC236}">
                    <a16:creationId xmlns:a16="http://schemas.microsoft.com/office/drawing/2014/main" id="{3AC0EC95-36C7-408D-9345-C888BCA24E24}"/>
                  </a:ext>
                </a:extLst>
              </p:cNvPr>
              <p:cNvSpPr>
                <a:spLocks noEditPoints="1"/>
              </p:cNvSpPr>
              <p:nvPr/>
            </p:nvSpPr>
            <p:spPr bwMode="auto">
              <a:xfrm>
                <a:off x="3646" y="1347"/>
                <a:ext cx="73" cy="74"/>
              </a:xfrm>
              <a:custGeom>
                <a:avLst/>
                <a:gdLst>
                  <a:gd name="T0" fmla="*/ 2 w 31"/>
                  <a:gd name="T1" fmla="*/ 25 h 31"/>
                  <a:gd name="T2" fmla="*/ 2 w 31"/>
                  <a:gd name="T3" fmla="*/ 26 h 31"/>
                  <a:gd name="T4" fmla="*/ 3 w 31"/>
                  <a:gd name="T5" fmla="*/ 27 h 31"/>
                  <a:gd name="T6" fmla="*/ 3 w 31"/>
                  <a:gd name="T7" fmla="*/ 26 h 31"/>
                  <a:gd name="T8" fmla="*/ 6 w 31"/>
                  <a:gd name="T9" fmla="*/ 26 h 31"/>
                  <a:gd name="T10" fmla="*/ 7 w 31"/>
                  <a:gd name="T11" fmla="*/ 25 h 31"/>
                  <a:gd name="T12" fmla="*/ 10 w 31"/>
                  <a:gd name="T13" fmla="*/ 25 h 31"/>
                  <a:gd name="T14" fmla="*/ 11 w 31"/>
                  <a:gd name="T15" fmla="*/ 25 h 31"/>
                  <a:gd name="T16" fmla="*/ 12 w 31"/>
                  <a:gd name="T17" fmla="*/ 27 h 31"/>
                  <a:gd name="T18" fmla="*/ 12 w 31"/>
                  <a:gd name="T19" fmla="*/ 27 h 31"/>
                  <a:gd name="T20" fmla="*/ 13 w 31"/>
                  <a:gd name="T21" fmla="*/ 28 h 31"/>
                  <a:gd name="T22" fmla="*/ 14 w 31"/>
                  <a:gd name="T23" fmla="*/ 28 h 31"/>
                  <a:gd name="T24" fmla="*/ 17 w 31"/>
                  <a:gd name="T25" fmla="*/ 29 h 31"/>
                  <a:gd name="T26" fmla="*/ 18 w 31"/>
                  <a:gd name="T27" fmla="*/ 29 h 31"/>
                  <a:gd name="T28" fmla="*/ 19 w 31"/>
                  <a:gd name="T29" fmla="*/ 30 h 31"/>
                  <a:gd name="T30" fmla="*/ 20 w 31"/>
                  <a:gd name="T31" fmla="*/ 31 h 31"/>
                  <a:gd name="T32" fmla="*/ 20 w 31"/>
                  <a:gd name="T33" fmla="*/ 29 h 31"/>
                  <a:gd name="T34" fmla="*/ 20 w 31"/>
                  <a:gd name="T35" fmla="*/ 28 h 31"/>
                  <a:gd name="T36" fmla="*/ 21 w 31"/>
                  <a:gd name="T37" fmla="*/ 28 h 31"/>
                  <a:gd name="T38" fmla="*/ 19 w 31"/>
                  <a:gd name="T39" fmla="*/ 24 h 31"/>
                  <a:gd name="T40" fmla="*/ 18 w 31"/>
                  <a:gd name="T41" fmla="*/ 23 h 31"/>
                  <a:gd name="T42" fmla="*/ 21 w 31"/>
                  <a:gd name="T43" fmla="*/ 20 h 31"/>
                  <a:gd name="T44" fmla="*/ 22 w 31"/>
                  <a:gd name="T45" fmla="*/ 19 h 31"/>
                  <a:gd name="T46" fmla="*/ 24 w 31"/>
                  <a:gd name="T47" fmla="*/ 17 h 31"/>
                  <a:gd name="T48" fmla="*/ 23 w 31"/>
                  <a:gd name="T49" fmla="*/ 20 h 31"/>
                  <a:gd name="T50" fmla="*/ 25 w 31"/>
                  <a:gd name="T51" fmla="*/ 20 h 31"/>
                  <a:gd name="T52" fmla="*/ 25 w 31"/>
                  <a:gd name="T53" fmla="*/ 20 h 31"/>
                  <a:gd name="T54" fmla="*/ 26 w 31"/>
                  <a:gd name="T55" fmla="*/ 19 h 31"/>
                  <a:gd name="T56" fmla="*/ 28 w 31"/>
                  <a:gd name="T57" fmla="*/ 16 h 31"/>
                  <a:gd name="T58" fmla="*/ 30 w 31"/>
                  <a:gd name="T59" fmla="*/ 15 h 31"/>
                  <a:gd name="T60" fmla="*/ 29 w 31"/>
                  <a:gd name="T61" fmla="*/ 14 h 31"/>
                  <a:gd name="T62" fmla="*/ 27 w 31"/>
                  <a:gd name="T63" fmla="*/ 14 h 31"/>
                  <a:gd name="T64" fmla="*/ 26 w 31"/>
                  <a:gd name="T65" fmla="*/ 12 h 31"/>
                  <a:gd name="T66" fmla="*/ 25 w 31"/>
                  <a:gd name="T67" fmla="*/ 10 h 31"/>
                  <a:gd name="T68" fmla="*/ 29 w 31"/>
                  <a:gd name="T69" fmla="*/ 9 h 31"/>
                  <a:gd name="T70" fmla="*/ 30 w 31"/>
                  <a:gd name="T71" fmla="*/ 9 h 31"/>
                  <a:gd name="T72" fmla="*/ 31 w 31"/>
                  <a:gd name="T73" fmla="*/ 6 h 31"/>
                  <a:gd name="T74" fmla="*/ 31 w 31"/>
                  <a:gd name="T75" fmla="*/ 4 h 31"/>
                  <a:gd name="T76" fmla="*/ 31 w 31"/>
                  <a:gd name="T77" fmla="*/ 2 h 31"/>
                  <a:gd name="T78" fmla="*/ 30 w 31"/>
                  <a:gd name="T79" fmla="*/ 1 h 31"/>
                  <a:gd name="T80" fmla="*/ 14 w 31"/>
                  <a:gd name="T81" fmla="*/ 3 h 31"/>
                  <a:gd name="T82" fmla="*/ 10 w 31"/>
                  <a:gd name="T83" fmla="*/ 6 h 31"/>
                  <a:gd name="T84" fmla="*/ 6 w 31"/>
                  <a:gd name="T85" fmla="*/ 10 h 31"/>
                  <a:gd name="T86" fmla="*/ 0 w 31"/>
                  <a:gd name="T87" fmla="*/ 21 h 31"/>
                  <a:gd name="T88" fmla="*/ 8 w 31"/>
                  <a:gd name="T89" fmla="*/ 22 h 31"/>
                  <a:gd name="T90" fmla="*/ 4 w 31"/>
                  <a:gd name="T91" fmla="*/ 24 h 31"/>
                  <a:gd name="T92" fmla="*/ 13 w 31"/>
                  <a:gd name="T93" fmla="*/ 9 h 31"/>
                  <a:gd name="T94" fmla="*/ 12 w 31"/>
                  <a:gd name="T95" fmla="*/ 6 h 31"/>
                  <a:gd name="T96" fmla="*/ 17 w 31"/>
                  <a:gd name="T97" fmla="*/ 8 h 31"/>
                  <a:gd name="T98" fmla="*/ 18 w 31"/>
                  <a:gd name="T99" fmla="*/ 11 h 31"/>
                  <a:gd name="T100" fmla="*/ 16 w 31"/>
                  <a:gd name="T101" fmla="*/ 11 h 31"/>
                  <a:gd name="T102" fmla="*/ 13 w 31"/>
                  <a:gd name="T103" fmla="*/ 15 h 31"/>
                  <a:gd name="T104" fmla="*/ 19 w 31"/>
                  <a:gd name="T105" fmla="*/ 13 h 31"/>
                  <a:gd name="T106" fmla="*/ 16 w 31"/>
                  <a:gd name="T107" fmla="*/ 15 h 31"/>
                  <a:gd name="T108" fmla="*/ 11 w 31"/>
                  <a:gd name="T109"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 h="31">
                    <a:moveTo>
                      <a:pt x="4" y="24"/>
                    </a:moveTo>
                    <a:cubicBezTo>
                      <a:pt x="3" y="24"/>
                      <a:pt x="1" y="24"/>
                      <a:pt x="2" y="25"/>
                    </a:cubicBezTo>
                    <a:cubicBezTo>
                      <a:pt x="1" y="25"/>
                      <a:pt x="0" y="24"/>
                      <a:pt x="0" y="25"/>
                    </a:cubicBezTo>
                    <a:cubicBezTo>
                      <a:pt x="0" y="25"/>
                      <a:pt x="2" y="25"/>
                      <a:pt x="2" y="26"/>
                    </a:cubicBezTo>
                    <a:cubicBezTo>
                      <a:pt x="3" y="26"/>
                      <a:pt x="3" y="26"/>
                      <a:pt x="3" y="27"/>
                    </a:cubicBezTo>
                    <a:cubicBezTo>
                      <a:pt x="3" y="27"/>
                      <a:pt x="3" y="27"/>
                      <a:pt x="3" y="27"/>
                    </a:cubicBezTo>
                    <a:cubicBezTo>
                      <a:pt x="3" y="27"/>
                      <a:pt x="3" y="27"/>
                      <a:pt x="3" y="27"/>
                    </a:cubicBezTo>
                    <a:cubicBezTo>
                      <a:pt x="3" y="27"/>
                      <a:pt x="3" y="26"/>
                      <a:pt x="3" y="26"/>
                    </a:cubicBezTo>
                    <a:cubicBezTo>
                      <a:pt x="3" y="26"/>
                      <a:pt x="3" y="26"/>
                      <a:pt x="4" y="25"/>
                    </a:cubicBezTo>
                    <a:cubicBezTo>
                      <a:pt x="5" y="25"/>
                      <a:pt x="6" y="25"/>
                      <a:pt x="6" y="26"/>
                    </a:cubicBezTo>
                    <a:cubicBezTo>
                      <a:pt x="6" y="25"/>
                      <a:pt x="7" y="25"/>
                      <a:pt x="7" y="25"/>
                    </a:cubicBezTo>
                    <a:cubicBezTo>
                      <a:pt x="7" y="25"/>
                      <a:pt x="7" y="25"/>
                      <a:pt x="7" y="25"/>
                    </a:cubicBezTo>
                    <a:cubicBezTo>
                      <a:pt x="8" y="25"/>
                      <a:pt x="8" y="25"/>
                      <a:pt x="9" y="25"/>
                    </a:cubicBezTo>
                    <a:cubicBezTo>
                      <a:pt x="9" y="25"/>
                      <a:pt x="10" y="25"/>
                      <a:pt x="10" y="25"/>
                    </a:cubicBezTo>
                    <a:cubicBezTo>
                      <a:pt x="10" y="25"/>
                      <a:pt x="10" y="25"/>
                      <a:pt x="10" y="25"/>
                    </a:cubicBezTo>
                    <a:cubicBezTo>
                      <a:pt x="11" y="25"/>
                      <a:pt x="11" y="25"/>
                      <a:pt x="11" y="25"/>
                    </a:cubicBezTo>
                    <a:cubicBezTo>
                      <a:pt x="11" y="26"/>
                      <a:pt x="11" y="26"/>
                      <a:pt x="12" y="27"/>
                    </a:cubicBezTo>
                    <a:cubicBezTo>
                      <a:pt x="12" y="27"/>
                      <a:pt x="12" y="27"/>
                      <a:pt x="12" y="27"/>
                    </a:cubicBezTo>
                    <a:cubicBezTo>
                      <a:pt x="12" y="27"/>
                      <a:pt x="12" y="27"/>
                      <a:pt x="12" y="27"/>
                    </a:cubicBezTo>
                    <a:cubicBezTo>
                      <a:pt x="12" y="27"/>
                      <a:pt x="12" y="27"/>
                      <a:pt x="12" y="27"/>
                    </a:cubicBezTo>
                    <a:cubicBezTo>
                      <a:pt x="12" y="28"/>
                      <a:pt x="13" y="28"/>
                      <a:pt x="13" y="28"/>
                    </a:cubicBezTo>
                    <a:cubicBezTo>
                      <a:pt x="13" y="28"/>
                      <a:pt x="13" y="28"/>
                      <a:pt x="13" y="28"/>
                    </a:cubicBezTo>
                    <a:cubicBezTo>
                      <a:pt x="13" y="28"/>
                      <a:pt x="14" y="28"/>
                      <a:pt x="14" y="28"/>
                    </a:cubicBezTo>
                    <a:cubicBezTo>
                      <a:pt x="14" y="28"/>
                      <a:pt x="14" y="28"/>
                      <a:pt x="14" y="28"/>
                    </a:cubicBezTo>
                    <a:cubicBezTo>
                      <a:pt x="14" y="28"/>
                      <a:pt x="15" y="28"/>
                      <a:pt x="16" y="28"/>
                    </a:cubicBezTo>
                    <a:cubicBezTo>
                      <a:pt x="17" y="29"/>
                      <a:pt x="17" y="29"/>
                      <a:pt x="17" y="29"/>
                    </a:cubicBezTo>
                    <a:cubicBezTo>
                      <a:pt x="17" y="29"/>
                      <a:pt x="17" y="29"/>
                      <a:pt x="17" y="29"/>
                    </a:cubicBezTo>
                    <a:cubicBezTo>
                      <a:pt x="17" y="29"/>
                      <a:pt x="18" y="29"/>
                      <a:pt x="18" y="29"/>
                    </a:cubicBezTo>
                    <a:cubicBezTo>
                      <a:pt x="19" y="30"/>
                      <a:pt x="19" y="30"/>
                      <a:pt x="19" y="30"/>
                    </a:cubicBezTo>
                    <a:cubicBezTo>
                      <a:pt x="19" y="30"/>
                      <a:pt x="19" y="30"/>
                      <a:pt x="19" y="30"/>
                    </a:cubicBezTo>
                    <a:cubicBezTo>
                      <a:pt x="19" y="30"/>
                      <a:pt x="19" y="30"/>
                      <a:pt x="20" y="31"/>
                    </a:cubicBezTo>
                    <a:cubicBezTo>
                      <a:pt x="20" y="31"/>
                      <a:pt x="20" y="31"/>
                      <a:pt x="20" y="31"/>
                    </a:cubicBezTo>
                    <a:cubicBezTo>
                      <a:pt x="20" y="30"/>
                      <a:pt x="20" y="30"/>
                      <a:pt x="20" y="30"/>
                    </a:cubicBezTo>
                    <a:cubicBezTo>
                      <a:pt x="20" y="30"/>
                      <a:pt x="20" y="29"/>
                      <a:pt x="20" y="29"/>
                    </a:cubicBezTo>
                    <a:cubicBezTo>
                      <a:pt x="20" y="29"/>
                      <a:pt x="20" y="29"/>
                      <a:pt x="20" y="29"/>
                    </a:cubicBezTo>
                    <a:cubicBezTo>
                      <a:pt x="20" y="29"/>
                      <a:pt x="20" y="29"/>
                      <a:pt x="20" y="28"/>
                    </a:cubicBezTo>
                    <a:cubicBezTo>
                      <a:pt x="21" y="28"/>
                      <a:pt x="21" y="28"/>
                      <a:pt x="21" y="28"/>
                    </a:cubicBezTo>
                    <a:cubicBezTo>
                      <a:pt x="21" y="28"/>
                      <a:pt x="21" y="28"/>
                      <a:pt x="21" y="28"/>
                    </a:cubicBezTo>
                    <a:cubicBezTo>
                      <a:pt x="21" y="27"/>
                      <a:pt x="21" y="27"/>
                      <a:pt x="21" y="27"/>
                    </a:cubicBezTo>
                    <a:cubicBezTo>
                      <a:pt x="20" y="26"/>
                      <a:pt x="20" y="25"/>
                      <a:pt x="19" y="24"/>
                    </a:cubicBezTo>
                    <a:cubicBezTo>
                      <a:pt x="19" y="23"/>
                      <a:pt x="19" y="23"/>
                      <a:pt x="19" y="23"/>
                    </a:cubicBezTo>
                    <a:cubicBezTo>
                      <a:pt x="18" y="23"/>
                      <a:pt x="18" y="23"/>
                      <a:pt x="18" y="23"/>
                    </a:cubicBezTo>
                    <a:cubicBezTo>
                      <a:pt x="18" y="21"/>
                      <a:pt x="19" y="20"/>
                      <a:pt x="20" y="20"/>
                    </a:cubicBezTo>
                    <a:cubicBezTo>
                      <a:pt x="20" y="20"/>
                      <a:pt x="20" y="20"/>
                      <a:pt x="21" y="20"/>
                    </a:cubicBezTo>
                    <a:cubicBezTo>
                      <a:pt x="21" y="20"/>
                      <a:pt x="21" y="20"/>
                      <a:pt x="21" y="20"/>
                    </a:cubicBezTo>
                    <a:cubicBezTo>
                      <a:pt x="21" y="20"/>
                      <a:pt x="21" y="19"/>
                      <a:pt x="22" y="19"/>
                    </a:cubicBezTo>
                    <a:cubicBezTo>
                      <a:pt x="22" y="19"/>
                      <a:pt x="23" y="19"/>
                      <a:pt x="23" y="19"/>
                    </a:cubicBezTo>
                    <a:cubicBezTo>
                      <a:pt x="24" y="17"/>
                      <a:pt x="24" y="17"/>
                      <a:pt x="24" y="17"/>
                    </a:cubicBezTo>
                    <a:cubicBezTo>
                      <a:pt x="23" y="20"/>
                      <a:pt x="23" y="20"/>
                      <a:pt x="23" y="20"/>
                    </a:cubicBezTo>
                    <a:cubicBezTo>
                      <a:pt x="23" y="20"/>
                      <a:pt x="23" y="20"/>
                      <a:pt x="23" y="20"/>
                    </a:cubicBezTo>
                    <a:cubicBezTo>
                      <a:pt x="24" y="20"/>
                      <a:pt x="24" y="20"/>
                      <a:pt x="25" y="20"/>
                    </a:cubicBezTo>
                    <a:cubicBezTo>
                      <a:pt x="25" y="20"/>
                      <a:pt x="25" y="20"/>
                      <a:pt x="25" y="20"/>
                    </a:cubicBezTo>
                    <a:cubicBezTo>
                      <a:pt x="25" y="20"/>
                      <a:pt x="25" y="20"/>
                      <a:pt x="25" y="20"/>
                    </a:cubicBezTo>
                    <a:cubicBezTo>
                      <a:pt x="25" y="20"/>
                      <a:pt x="25" y="20"/>
                      <a:pt x="25" y="20"/>
                    </a:cubicBezTo>
                    <a:cubicBezTo>
                      <a:pt x="26" y="20"/>
                      <a:pt x="26" y="20"/>
                      <a:pt x="26" y="20"/>
                    </a:cubicBezTo>
                    <a:cubicBezTo>
                      <a:pt x="26" y="19"/>
                      <a:pt x="26" y="19"/>
                      <a:pt x="26" y="19"/>
                    </a:cubicBezTo>
                    <a:cubicBezTo>
                      <a:pt x="26" y="18"/>
                      <a:pt x="26" y="18"/>
                      <a:pt x="26" y="18"/>
                    </a:cubicBezTo>
                    <a:cubicBezTo>
                      <a:pt x="27" y="17"/>
                      <a:pt x="27" y="17"/>
                      <a:pt x="28" y="16"/>
                    </a:cubicBezTo>
                    <a:cubicBezTo>
                      <a:pt x="29" y="16"/>
                      <a:pt x="29" y="16"/>
                      <a:pt x="29" y="16"/>
                    </a:cubicBezTo>
                    <a:cubicBezTo>
                      <a:pt x="29" y="16"/>
                      <a:pt x="30" y="15"/>
                      <a:pt x="30" y="15"/>
                    </a:cubicBezTo>
                    <a:cubicBezTo>
                      <a:pt x="30" y="15"/>
                      <a:pt x="30" y="15"/>
                      <a:pt x="29" y="14"/>
                    </a:cubicBezTo>
                    <a:cubicBezTo>
                      <a:pt x="29" y="14"/>
                      <a:pt x="29" y="14"/>
                      <a:pt x="29" y="14"/>
                    </a:cubicBezTo>
                    <a:cubicBezTo>
                      <a:pt x="29" y="14"/>
                      <a:pt x="29" y="14"/>
                      <a:pt x="28" y="14"/>
                    </a:cubicBezTo>
                    <a:cubicBezTo>
                      <a:pt x="28" y="14"/>
                      <a:pt x="27" y="14"/>
                      <a:pt x="27" y="14"/>
                    </a:cubicBezTo>
                    <a:cubicBezTo>
                      <a:pt x="25" y="13"/>
                      <a:pt x="25" y="13"/>
                      <a:pt x="25" y="13"/>
                    </a:cubicBezTo>
                    <a:cubicBezTo>
                      <a:pt x="26" y="12"/>
                      <a:pt x="26" y="12"/>
                      <a:pt x="26" y="12"/>
                    </a:cubicBezTo>
                    <a:cubicBezTo>
                      <a:pt x="27" y="12"/>
                      <a:pt x="27" y="12"/>
                      <a:pt x="27" y="12"/>
                    </a:cubicBezTo>
                    <a:cubicBezTo>
                      <a:pt x="25" y="10"/>
                      <a:pt x="25" y="10"/>
                      <a:pt x="25" y="10"/>
                    </a:cubicBezTo>
                    <a:cubicBezTo>
                      <a:pt x="27" y="9"/>
                      <a:pt x="27" y="9"/>
                      <a:pt x="27" y="9"/>
                    </a:cubicBezTo>
                    <a:cubicBezTo>
                      <a:pt x="28" y="9"/>
                      <a:pt x="28" y="9"/>
                      <a:pt x="29" y="9"/>
                    </a:cubicBezTo>
                    <a:cubicBezTo>
                      <a:pt x="29" y="9"/>
                      <a:pt x="30" y="9"/>
                      <a:pt x="30" y="9"/>
                    </a:cubicBezTo>
                    <a:cubicBezTo>
                      <a:pt x="30" y="9"/>
                      <a:pt x="30" y="9"/>
                      <a:pt x="30" y="9"/>
                    </a:cubicBezTo>
                    <a:cubicBezTo>
                      <a:pt x="30" y="8"/>
                      <a:pt x="30" y="8"/>
                      <a:pt x="30" y="8"/>
                    </a:cubicBezTo>
                    <a:cubicBezTo>
                      <a:pt x="30" y="8"/>
                      <a:pt x="30" y="7"/>
                      <a:pt x="31" y="6"/>
                    </a:cubicBezTo>
                    <a:cubicBezTo>
                      <a:pt x="31" y="6"/>
                      <a:pt x="31" y="5"/>
                      <a:pt x="31" y="5"/>
                    </a:cubicBezTo>
                    <a:cubicBezTo>
                      <a:pt x="31" y="5"/>
                      <a:pt x="31" y="4"/>
                      <a:pt x="31" y="4"/>
                    </a:cubicBezTo>
                    <a:cubicBezTo>
                      <a:pt x="31" y="3"/>
                      <a:pt x="31" y="3"/>
                      <a:pt x="31" y="2"/>
                    </a:cubicBezTo>
                    <a:cubicBezTo>
                      <a:pt x="31" y="2"/>
                      <a:pt x="31" y="2"/>
                      <a:pt x="31" y="2"/>
                    </a:cubicBezTo>
                    <a:cubicBezTo>
                      <a:pt x="31" y="2"/>
                      <a:pt x="31" y="2"/>
                      <a:pt x="31" y="2"/>
                    </a:cubicBezTo>
                    <a:cubicBezTo>
                      <a:pt x="31" y="1"/>
                      <a:pt x="31" y="1"/>
                      <a:pt x="30" y="1"/>
                    </a:cubicBezTo>
                    <a:cubicBezTo>
                      <a:pt x="29" y="0"/>
                      <a:pt x="28" y="0"/>
                      <a:pt x="26" y="0"/>
                    </a:cubicBezTo>
                    <a:cubicBezTo>
                      <a:pt x="22" y="0"/>
                      <a:pt x="17" y="0"/>
                      <a:pt x="14" y="3"/>
                    </a:cubicBezTo>
                    <a:cubicBezTo>
                      <a:pt x="14" y="3"/>
                      <a:pt x="13" y="4"/>
                      <a:pt x="12" y="5"/>
                    </a:cubicBezTo>
                    <a:cubicBezTo>
                      <a:pt x="12" y="6"/>
                      <a:pt x="11" y="6"/>
                      <a:pt x="10" y="6"/>
                    </a:cubicBezTo>
                    <a:cubicBezTo>
                      <a:pt x="9" y="7"/>
                      <a:pt x="7" y="7"/>
                      <a:pt x="7" y="7"/>
                    </a:cubicBezTo>
                    <a:cubicBezTo>
                      <a:pt x="7" y="8"/>
                      <a:pt x="6" y="9"/>
                      <a:pt x="6" y="10"/>
                    </a:cubicBezTo>
                    <a:cubicBezTo>
                      <a:pt x="6" y="14"/>
                      <a:pt x="4" y="16"/>
                      <a:pt x="1" y="19"/>
                    </a:cubicBezTo>
                    <a:cubicBezTo>
                      <a:pt x="1" y="20"/>
                      <a:pt x="0" y="20"/>
                      <a:pt x="0" y="21"/>
                    </a:cubicBezTo>
                    <a:cubicBezTo>
                      <a:pt x="1" y="22"/>
                      <a:pt x="2" y="22"/>
                      <a:pt x="3" y="22"/>
                    </a:cubicBezTo>
                    <a:cubicBezTo>
                      <a:pt x="5" y="23"/>
                      <a:pt x="6" y="23"/>
                      <a:pt x="8" y="22"/>
                    </a:cubicBezTo>
                    <a:cubicBezTo>
                      <a:pt x="7" y="23"/>
                      <a:pt x="8" y="23"/>
                      <a:pt x="8" y="23"/>
                    </a:cubicBezTo>
                    <a:cubicBezTo>
                      <a:pt x="7" y="23"/>
                      <a:pt x="5" y="23"/>
                      <a:pt x="4" y="24"/>
                    </a:cubicBezTo>
                    <a:close/>
                    <a:moveTo>
                      <a:pt x="10" y="11"/>
                    </a:moveTo>
                    <a:cubicBezTo>
                      <a:pt x="11" y="10"/>
                      <a:pt x="13" y="11"/>
                      <a:pt x="13" y="9"/>
                    </a:cubicBezTo>
                    <a:cubicBezTo>
                      <a:pt x="11" y="9"/>
                      <a:pt x="11" y="8"/>
                      <a:pt x="10" y="7"/>
                    </a:cubicBezTo>
                    <a:cubicBezTo>
                      <a:pt x="11" y="6"/>
                      <a:pt x="11" y="6"/>
                      <a:pt x="12" y="6"/>
                    </a:cubicBezTo>
                    <a:cubicBezTo>
                      <a:pt x="14" y="5"/>
                      <a:pt x="14" y="5"/>
                      <a:pt x="14" y="7"/>
                    </a:cubicBezTo>
                    <a:cubicBezTo>
                      <a:pt x="15" y="8"/>
                      <a:pt x="16" y="7"/>
                      <a:pt x="17" y="8"/>
                    </a:cubicBezTo>
                    <a:cubicBezTo>
                      <a:pt x="17" y="8"/>
                      <a:pt x="16" y="9"/>
                      <a:pt x="16" y="9"/>
                    </a:cubicBezTo>
                    <a:cubicBezTo>
                      <a:pt x="16" y="10"/>
                      <a:pt x="17" y="10"/>
                      <a:pt x="18" y="11"/>
                    </a:cubicBezTo>
                    <a:cubicBezTo>
                      <a:pt x="19" y="11"/>
                      <a:pt x="19" y="12"/>
                      <a:pt x="19" y="12"/>
                    </a:cubicBezTo>
                    <a:cubicBezTo>
                      <a:pt x="19" y="12"/>
                      <a:pt x="16" y="11"/>
                      <a:pt x="16" y="11"/>
                    </a:cubicBezTo>
                    <a:cubicBezTo>
                      <a:pt x="15" y="12"/>
                      <a:pt x="12" y="13"/>
                      <a:pt x="12" y="14"/>
                    </a:cubicBezTo>
                    <a:cubicBezTo>
                      <a:pt x="11" y="15"/>
                      <a:pt x="12" y="15"/>
                      <a:pt x="13" y="15"/>
                    </a:cubicBezTo>
                    <a:cubicBezTo>
                      <a:pt x="15" y="15"/>
                      <a:pt x="17" y="14"/>
                      <a:pt x="18" y="13"/>
                    </a:cubicBezTo>
                    <a:cubicBezTo>
                      <a:pt x="18" y="13"/>
                      <a:pt x="19" y="13"/>
                      <a:pt x="19" y="13"/>
                    </a:cubicBezTo>
                    <a:cubicBezTo>
                      <a:pt x="19" y="13"/>
                      <a:pt x="18" y="13"/>
                      <a:pt x="18" y="13"/>
                    </a:cubicBezTo>
                    <a:cubicBezTo>
                      <a:pt x="18" y="14"/>
                      <a:pt x="16" y="14"/>
                      <a:pt x="16" y="15"/>
                    </a:cubicBezTo>
                    <a:cubicBezTo>
                      <a:pt x="15" y="17"/>
                      <a:pt x="11" y="15"/>
                      <a:pt x="10" y="14"/>
                    </a:cubicBezTo>
                    <a:cubicBezTo>
                      <a:pt x="11" y="14"/>
                      <a:pt x="11" y="13"/>
                      <a:pt x="11" y="12"/>
                    </a:cubicBezTo>
                    <a:cubicBezTo>
                      <a:pt x="11" y="12"/>
                      <a:pt x="10" y="11"/>
                      <a:pt x="1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7" name="Freeform 3089">
                <a:extLst>
                  <a:ext uri="{FF2B5EF4-FFF2-40B4-BE49-F238E27FC236}">
                    <a16:creationId xmlns:a16="http://schemas.microsoft.com/office/drawing/2014/main" id="{E6FF91A1-C70E-4445-B13B-B137570FBEDE}"/>
                  </a:ext>
                </a:extLst>
              </p:cNvPr>
              <p:cNvSpPr>
                <a:spLocks/>
              </p:cNvSpPr>
              <p:nvPr/>
            </p:nvSpPr>
            <p:spPr bwMode="auto">
              <a:xfrm>
                <a:off x="3630" y="1404"/>
                <a:ext cx="21" cy="7"/>
              </a:xfrm>
              <a:custGeom>
                <a:avLst/>
                <a:gdLst>
                  <a:gd name="T0" fmla="*/ 3 w 9"/>
                  <a:gd name="T1" fmla="*/ 3 h 3"/>
                  <a:gd name="T2" fmla="*/ 6 w 9"/>
                  <a:gd name="T3" fmla="*/ 3 h 3"/>
                  <a:gd name="T4" fmla="*/ 8 w 9"/>
                  <a:gd name="T5" fmla="*/ 3 h 3"/>
                  <a:gd name="T6" fmla="*/ 8 w 9"/>
                  <a:gd name="T7" fmla="*/ 3 h 3"/>
                  <a:gd name="T8" fmla="*/ 9 w 9"/>
                  <a:gd name="T9" fmla="*/ 3 h 3"/>
                  <a:gd name="T10" fmla="*/ 8 w 9"/>
                  <a:gd name="T11" fmla="*/ 2 h 3"/>
                  <a:gd name="T12" fmla="*/ 5 w 9"/>
                  <a:gd name="T13" fmla="*/ 1 h 3"/>
                  <a:gd name="T14" fmla="*/ 2 w 9"/>
                  <a:gd name="T15" fmla="*/ 1 h 3"/>
                  <a:gd name="T16" fmla="*/ 3 w 9"/>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
                    <a:moveTo>
                      <a:pt x="3" y="3"/>
                    </a:moveTo>
                    <a:cubicBezTo>
                      <a:pt x="4" y="3"/>
                      <a:pt x="5" y="3"/>
                      <a:pt x="6" y="3"/>
                    </a:cubicBezTo>
                    <a:cubicBezTo>
                      <a:pt x="7" y="3"/>
                      <a:pt x="8" y="3"/>
                      <a:pt x="8" y="3"/>
                    </a:cubicBezTo>
                    <a:cubicBezTo>
                      <a:pt x="8" y="3"/>
                      <a:pt x="8" y="3"/>
                      <a:pt x="8" y="3"/>
                    </a:cubicBezTo>
                    <a:cubicBezTo>
                      <a:pt x="9" y="3"/>
                      <a:pt x="9" y="3"/>
                      <a:pt x="9" y="3"/>
                    </a:cubicBezTo>
                    <a:cubicBezTo>
                      <a:pt x="9" y="2"/>
                      <a:pt x="8" y="2"/>
                      <a:pt x="8" y="2"/>
                    </a:cubicBezTo>
                    <a:cubicBezTo>
                      <a:pt x="7" y="2"/>
                      <a:pt x="6" y="2"/>
                      <a:pt x="5" y="1"/>
                    </a:cubicBezTo>
                    <a:cubicBezTo>
                      <a:pt x="4" y="0"/>
                      <a:pt x="2" y="1"/>
                      <a:pt x="2" y="1"/>
                    </a:cubicBezTo>
                    <a:cubicBezTo>
                      <a:pt x="0" y="2"/>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8" name="Freeform 3090">
                <a:extLst>
                  <a:ext uri="{FF2B5EF4-FFF2-40B4-BE49-F238E27FC236}">
                    <a16:creationId xmlns:a16="http://schemas.microsoft.com/office/drawing/2014/main" id="{679F1289-A9D7-44C7-B7A6-F8DB8B8F4856}"/>
                  </a:ext>
                </a:extLst>
              </p:cNvPr>
              <p:cNvSpPr>
                <a:spLocks/>
              </p:cNvSpPr>
              <p:nvPr/>
            </p:nvSpPr>
            <p:spPr bwMode="auto">
              <a:xfrm>
                <a:off x="3849" y="1428"/>
                <a:ext cx="152" cy="71"/>
              </a:xfrm>
              <a:custGeom>
                <a:avLst/>
                <a:gdLst>
                  <a:gd name="T0" fmla="*/ 6 w 64"/>
                  <a:gd name="T1" fmla="*/ 8 h 30"/>
                  <a:gd name="T2" fmla="*/ 2 w 64"/>
                  <a:gd name="T3" fmla="*/ 8 h 30"/>
                  <a:gd name="T4" fmla="*/ 0 w 64"/>
                  <a:gd name="T5" fmla="*/ 10 h 30"/>
                  <a:gd name="T6" fmla="*/ 0 w 64"/>
                  <a:gd name="T7" fmla="*/ 11 h 30"/>
                  <a:gd name="T8" fmla="*/ 2 w 64"/>
                  <a:gd name="T9" fmla="*/ 13 h 30"/>
                  <a:gd name="T10" fmla="*/ 2 w 64"/>
                  <a:gd name="T11" fmla="*/ 18 h 30"/>
                  <a:gd name="T12" fmla="*/ 4 w 64"/>
                  <a:gd name="T13" fmla="*/ 19 h 30"/>
                  <a:gd name="T14" fmla="*/ 9 w 64"/>
                  <a:gd name="T15" fmla="*/ 23 h 30"/>
                  <a:gd name="T16" fmla="*/ 11 w 64"/>
                  <a:gd name="T17" fmla="*/ 25 h 30"/>
                  <a:gd name="T18" fmla="*/ 15 w 64"/>
                  <a:gd name="T19" fmla="*/ 27 h 30"/>
                  <a:gd name="T20" fmla="*/ 16 w 64"/>
                  <a:gd name="T21" fmla="*/ 28 h 30"/>
                  <a:gd name="T22" fmla="*/ 17 w 64"/>
                  <a:gd name="T23" fmla="*/ 29 h 30"/>
                  <a:gd name="T24" fmla="*/ 23 w 64"/>
                  <a:gd name="T25" fmla="*/ 29 h 30"/>
                  <a:gd name="T26" fmla="*/ 25 w 64"/>
                  <a:gd name="T27" fmla="*/ 26 h 30"/>
                  <a:gd name="T28" fmla="*/ 27 w 64"/>
                  <a:gd name="T29" fmla="*/ 24 h 30"/>
                  <a:gd name="T30" fmla="*/ 29 w 64"/>
                  <a:gd name="T31" fmla="*/ 25 h 30"/>
                  <a:gd name="T32" fmla="*/ 30 w 64"/>
                  <a:gd name="T33" fmla="*/ 25 h 30"/>
                  <a:gd name="T34" fmla="*/ 33 w 64"/>
                  <a:gd name="T35" fmla="*/ 26 h 30"/>
                  <a:gd name="T36" fmla="*/ 39 w 64"/>
                  <a:gd name="T37" fmla="*/ 28 h 30"/>
                  <a:gd name="T38" fmla="*/ 42 w 64"/>
                  <a:gd name="T39" fmla="*/ 27 h 30"/>
                  <a:gd name="T40" fmla="*/ 44 w 64"/>
                  <a:gd name="T41" fmla="*/ 27 h 30"/>
                  <a:gd name="T42" fmla="*/ 45 w 64"/>
                  <a:gd name="T43" fmla="*/ 28 h 30"/>
                  <a:gd name="T44" fmla="*/ 46 w 64"/>
                  <a:gd name="T45" fmla="*/ 28 h 30"/>
                  <a:gd name="T46" fmla="*/ 45 w 64"/>
                  <a:gd name="T47" fmla="*/ 27 h 30"/>
                  <a:gd name="T48" fmla="*/ 48 w 64"/>
                  <a:gd name="T49" fmla="*/ 26 h 30"/>
                  <a:gd name="T50" fmla="*/ 49 w 64"/>
                  <a:gd name="T51" fmla="*/ 26 h 30"/>
                  <a:gd name="T52" fmla="*/ 55 w 64"/>
                  <a:gd name="T53" fmla="*/ 25 h 30"/>
                  <a:gd name="T54" fmla="*/ 57 w 64"/>
                  <a:gd name="T55" fmla="*/ 22 h 30"/>
                  <a:gd name="T56" fmla="*/ 62 w 64"/>
                  <a:gd name="T57" fmla="*/ 19 h 30"/>
                  <a:gd name="T58" fmla="*/ 64 w 64"/>
                  <a:gd name="T59" fmla="*/ 18 h 30"/>
                  <a:gd name="T60" fmla="*/ 59 w 64"/>
                  <a:gd name="T61" fmla="*/ 14 h 30"/>
                  <a:gd name="T62" fmla="*/ 57 w 64"/>
                  <a:gd name="T63" fmla="*/ 13 h 30"/>
                  <a:gd name="T64" fmla="*/ 56 w 64"/>
                  <a:gd name="T65" fmla="*/ 14 h 30"/>
                  <a:gd name="T66" fmla="*/ 55 w 64"/>
                  <a:gd name="T67" fmla="*/ 14 h 30"/>
                  <a:gd name="T68" fmla="*/ 52 w 64"/>
                  <a:gd name="T69" fmla="*/ 9 h 30"/>
                  <a:gd name="T70" fmla="*/ 48 w 64"/>
                  <a:gd name="T71" fmla="*/ 9 h 30"/>
                  <a:gd name="T72" fmla="*/ 46 w 64"/>
                  <a:gd name="T73" fmla="*/ 10 h 30"/>
                  <a:gd name="T74" fmla="*/ 42 w 64"/>
                  <a:gd name="T75" fmla="*/ 12 h 30"/>
                  <a:gd name="T76" fmla="*/ 40 w 64"/>
                  <a:gd name="T77" fmla="*/ 10 h 30"/>
                  <a:gd name="T78" fmla="*/ 38 w 64"/>
                  <a:gd name="T79" fmla="*/ 8 h 30"/>
                  <a:gd name="T80" fmla="*/ 39 w 64"/>
                  <a:gd name="T81" fmla="*/ 5 h 30"/>
                  <a:gd name="T82" fmla="*/ 39 w 64"/>
                  <a:gd name="T83" fmla="*/ 5 h 30"/>
                  <a:gd name="T84" fmla="*/ 37 w 64"/>
                  <a:gd name="T85" fmla="*/ 5 h 30"/>
                  <a:gd name="T86" fmla="*/ 30 w 64"/>
                  <a:gd name="T87" fmla="*/ 3 h 30"/>
                  <a:gd name="T88" fmla="*/ 28 w 64"/>
                  <a:gd name="T89" fmla="*/ 1 h 30"/>
                  <a:gd name="T90" fmla="*/ 27 w 64"/>
                  <a:gd name="T91" fmla="*/ 1 h 30"/>
                  <a:gd name="T92" fmla="*/ 25 w 64"/>
                  <a:gd name="T93" fmla="*/ 2 h 30"/>
                  <a:gd name="T94" fmla="*/ 23 w 64"/>
                  <a:gd name="T95" fmla="*/ 1 h 30"/>
                  <a:gd name="T96" fmla="*/ 22 w 64"/>
                  <a:gd name="T97" fmla="*/ 1 h 30"/>
                  <a:gd name="T98" fmla="*/ 20 w 64"/>
                  <a:gd name="T99" fmla="*/ 1 h 30"/>
                  <a:gd name="T100" fmla="*/ 19 w 64"/>
                  <a:gd name="T101" fmla="*/ 2 h 30"/>
                  <a:gd name="T102" fmla="*/ 16 w 64"/>
                  <a:gd name="T103" fmla="*/ 3 h 30"/>
                  <a:gd name="T104" fmla="*/ 12 w 64"/>
                  <a:gd name="T105"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 h="30">
                    <a:moveTo>
                      <a:pt x="12" y="4"/>
                    </a:moveTo>
                    <a:cubicBezTo>
                      <a:pt x="12" y="4"/>
                      <a:pt x="11" y="5"/>
                      <a:pt x="10" y="5"/>
                    </a:cubicBezTo>
                    <a:cubicBezTo>
                      <a:pt x="9" y="6"/>
                      <a:pt x="8" y="7"/>
                      <a:pt x="6" y="8"/>
                    </a:cubicBezTo>
                    <a:cubicBezTo>
                      <a:pt x="5" y="8"/>
                      <a:pt x="4" y="8"/>
                      <a:pt x="3" y="8"/>
                    </a:cubicBezTo>
                    <a:cubicBezTo>
                      <a:pt x="3" y="8"/>
                      <a:pt x="3" y="8"/>
                      <a:pt x="2" y="8"/>
                    </a:cubicBezTo>
                    <a:cubicBezTo>
                      <a:pt x="2" y="8"/>
                      <a:pt x="2" y="8"/>
                      <a:pt x="2" y="8"/>
                    </a:cubicBezTo>
                    <a:cubicBezTo>
                      <a:pt x="2" y="8"/>
                      <a:pt x="2" y="8"/>
                      <a:pt x="2" y="8"/>
                    </a:cubicBezTo>
                    <a:cubicBezTo>
                      <a:pt x="1" y="8"/>
                      <a:pt x="1" y="9"/>
                      <a:pt x="0" y="9"/>
                    </a:cubicBezTo>
                    <a:cubicBezTo>
                      <a:pt x="0" y="10"/>
                      <a:pt x="0" y="10"/>
                      <a:pt x="0" y="10"/>
                    </a:cubicBezTo>
                    <a:cubicBezTo>
                      <a:pt x="0" y="10"/>
                      <a:pt x="0" y="11"/>
                      <a:pt x="0" y="11"/>
                    </a:cubicBezTo>
                    <a:cubicBezTo>
                      <a:pt x="0" y="11"/>
                      <a:pt x="0" y="11"/>
                      <a:pt x="0" y="11"/>
                    </a:cubicBezTo>
                    <a:cubicBezTo>
                      <a:pt x="0" y="11"/>
                      <a:pt x="0" y="11"/>
                      <a:pt x="0" y="11"/>
                    </a:cubicBezTo>
                    <a:cubicBezTo>
                      <a:pt x="0" y="11"/>
                      <a:pt x="0" y="11"/>
                      <a:pt x="1" y="11"/>
                    </a:cubicBezTo>
                    <a:cubicBezTo>
                      <a:pt x="1" y="12"/>
                      <a:pt x="2" y="12"/>
                      <a:pt x="2" y="13"/>
                    </a:cubicBezTo>
                    <a:cubicBezTo>
                      <a:pt x="2" y="13"/>
                      <a:pt x="2" y="13"/>
                      <a:pt x="2" y="13"/>
                    </a:cubicBezTo>
                    <a:cubicBezTo>
                      <a:pt x="2" y="14"/>
                      <a:pt x="2" y="15"/>
                      <a:pt x="1" y="15"/>
                    </a:cubicBezTo>
                    <a:cubicBezTo>
                      <a:pt x="1" y="15"/>
                      <a:pt x="1" y="16"/>
                      <a:pt x="1" y="16"/>
                    </a:cubicBezTo>
                    <a:cubicBezTo>
                      <a:pt x="1" y="16"/>
                      <a:pt x="1" y="16"/>
                      <a:pt x="2" y="18"/>
                    </a:cubicBezTo>
                    <a:cubicBezTo>
                      <a:pt x="3" y="18"/>
                      <a:pt x="3" y="19"/>
                      <a:pt x="3" y="19"/>
                    </a:cubicBezTo>
                    <a:cubicBezTo>
                      <a:pt x="4" y="19"/>
                      <a:pt x="4" y="19"/>
                      <a:pt x="4" y="19"/>
                    </a:cubicBezTo>
                    <a:cubicBezTo>
                      <a:pt x="4" y="19"/>
                      <a:pt x="4" y="19"/>
                      <a:pt x="4" y="19"/>
                    </a:cubicBezTo>
                    <a:cubicBezTo>
                      <a:pt x="5" y="20"/>
                      <a:pt x="5" y="20"/>
                      <a:pt x="6" y="20"/>
                    </a:cubicBezTo>
                    <a:cubicBezTo>
                      <a:pt x="6" y="21"/>
                      <a:pt x="6" y="21"/>
                      <a:pt x="6" y="21"/>
                    </a:cubicBezTo>
                    <a:cubicBezTo>
                      <a:pt x="7" y="21"/>
                      <a:pt x="8" y="22"/>
                      <a:pt x="9" y="23"/>
                    </a:cubicBezTo>
                    <a:cubicBezTo>
                      <a:pt x="9" y="23"/>
                      <a:pt x="9" y="23"/>
                      <a:pt x="9" y="23"/>
                    </a:cubicBezTo>
                    <a:cubicBezTo>
                      <a:pt x="10" y="24"/>
                      <a:pt x="10" y="24"/>
                      <a:pt x="11" y="25"/>
                    </a:cubicBezTo>
                    <a:cubicBezTo>
                      <a:pt x="11" y="25"/>
                      <a:pt x="11" y="25"/>
                      <a:pt x="11" y="25"/>
                    </a:cubicBezTo>
                    <a:cubicBezTo>
                      <a:pt x="11" y="25"/>
                      <a:pt x="12" y="25"/>
                      <a:pt x="12" y="25"/>
                    </a:cubicBezTo>
                    <a:cubicBezTo>
                      <a:pt x="13" y="26"/>
                      <a:pt x="13" y="26"/>
                      <a:pt x="13" y="26"/>
                    </a:cubicBezTo>
                    <a:cubicBezTo>
                      <a:pt x="14" y="26"/>
                      <a:pt x="14" y="27"/>
                      <a:pt x="15" y="27"/>
                    </a:cubicBezTo>
                    <a:cubicBezTo>
                      <a:pt x="15" y="28"/>
                      <a:pt x="15" y="28"/>
                      <a:pt x="15" y="28"/>
                    </a:cubicBezTo>
                    <a:cubicBezTo>
                      <a:pt x="16" y="28"/>
                      <a:pt x="16" y="28"/>
                      <a:pt x="16" y="28"/>
                    </a:cubicBezTo>
                    <a:cubicBezTo>
                      <a:pt x="16" y="28"/>
                      <a:pt x="16" y="28"/>
                      <a:pt x="16" y="28"/>
                    </a:cubicBezTo>
                    <a:cubicBezTo>
                      <a:pt x="16" y="28"/>
                      <a:pt x="16" y="28"/>
                      <a:pt x="16" y="28"/>
                    </a:cubicBezTo>
                    <a:cubicBezTo>
                      <a:pt x="16" y="28"/>
                      <a:pt x="17" y="29"/>
                      <a:pt x="17" y="29"/>
                    </a:cubicBezTo>
                    <a:cubicBezTo>
                      <a:pt x="17" y="29"/>
                      <a:pt x="17" y="29"/>
                      <a:pt x="17" y="29"/>
                    </a:cubicBezTo>
                    <a:cubicBezTo>
                      <a:pt x="18" y="30"/>
                      <a:pt x="19" y="30"/>
                      <a:pt x="21" y="30"/>
                    </a:cubicBezTo>
                    <a:cubicBezTo>
                      <a:pt x="21" y="30"/>
                      <a:pt x="21" y="30"/>
                      <a:pt x="21" y="30"/>
                    </a:cubicBezTo>
                    <a:cubicBezTo>
                      <a:pt x="22" y="30"/>
                      <a:pt x="22" y="30"/>
                      <a:pt x="23" y="29"/>
                    </a:cubicBezTo>
                    <a:cubicBezTo>
                      <a:pt x="23" y="29"/>
                      <a:pt x="23" y="29"/>
                      <a:pt x="23" y="29"/>
                    </a:cubicBezTo>
                    <a:cubicBezTo>
                      <a:pt x="24" y="28"/>
                      <a:pt x="24" y="28"/>
                      <a:pt x="25" y="27"/>
                    </a:cubicBezTo>
                    <a:cubicBezTo>
                      <a:pt x="25" y="27"/>
                      <a:pt x="25" y="27"/>
                      <a:pt x="25" y="26"/>
                    </a:cubicBezTo>
                    <a:cubicBezTo>
                      <a:pt x="25" y="26"/>
                      <a:pt x="25" y="25"/>
                      <a:pt x="25" y="25"/>
                    </a:cubicBezTo>
                    <a:cubicBezTo>
                      <a:pt x="26" y="24"/>
                      <a:pt x="26" y="24"/>
                      <a:pt x="26" y="24"/>
                    </a:cubicBezTo>
                    <a:cubicBezTo>
                      <a:pt x="26" y="24"/>
                      <a:pt x="26" y="24"/>
                      <a:pt x="27" y="24"/>
                    </a:cubicBezTo>
                    <a:cubicBezTo>
                      <a:pt x="27" y="24"/>
                      <a:pt x="28" y="25"/>
                      <a:pt x="28" y="25"/>
                    </a:cubicBezTo>
                    <a:cubicBezTo>
                      <a:pt x="28" y="25"/>
                      <a:pt x="29" y="25"/>
                      <a:pt x="29" y="25"/>
                    </a:cubicBezTo>
                    <a:cubicBezTo>
                      <a:pt x="29" y="25"/>
                      <a:pt x="29" y="25"/>
                      <a:pt x="29" y="25"/>
                    </a:cubicBezTo>
                    <a:cubicBezTo>
                      <a:pt x="29" y="25"/>
                      <a:pt x="29" y="25"/>
                      <a:pt x="29" y="25"/>
                    </a:cubicBezTo>
                    <a:cubicBezTo>
                      <a:pt x="29" y="25"/>
                      <a:pt x="30" y="25"/>
                      <a:pt x="30" y="25"/>
                    </a:cubicBezTo>
                    <a:cubicBezTo>
                      <a:pt x="30" y="25"/>
                      <a:pt x="30" y="25"/>
                      <a:pt x="30" y="25"/>
                    </a:cubicBezTo>
                    <a:cubicBezTo>
                      <a:pt x="31" y="25"/>
                      <a:pt x="31" y="25"/>
                      <a:pt x="31" y="25"/>
                    </a:cubicBezTo>
                    <a:cubicBezTo>
                      <a:pt x="31" y="25"/>
                      <a:pt x="31" y="25"/>
                      <a:pt x="31" y="25"/>
                    </a:cubicBezTo>
                    <a:cubicBezTo>
                      <a:pt x="32" y="25"/>
                      <a:pt x="33" y="26"/>
                      <a:pt x="33" y="26"/>
                    </a:cubicBezTo>
                    <a:cubicBezTo>
                      <a:pt x="34" y="26"/>
                      <a:pt x="34" y="26"/>
                      <a:pt x="34" y="26"/>
                    </a:cubicBezTo>
                    <a:cubicBezTo>
                      <a:pt x="34" y="26"/>
                      <a:pt x="34" y="26"/>
                      <a:pt x="34" y="26"/>
                    </a:cubicBezTo>
                    <a:cubicBezTo>
                      <a:pt x="39" y="28"/>
                      <a:pt x="39" y="28"/>
                      <a:pt x="39" y="28"/>
                    </a:cubicBezTo>
                    <a:cubicBezTo>
                      <a:pt x="39" y="28"/>
                      <a:pt x="39" y="28"/>
                      <a:pt x="40" y="27"/>
                    </a:cubicBezTo>
                    <a:cubicBezTo>
                      <a:pt x="40" y="27"/>
                      <a:pt x="41" y="27"/>
                      <a:pt x="42" y="27"/>
                    </a:cubicBezTo>
                    <a:cubicBezTo>
                      <a:pt x="42" y="27"/>
                      <a:pt x="42" y="27"/>
                      <a:pt x="42" y="27"/>
                    </a:cubicBezTo>
                    <a:cubicBezTo>
                      <a:pt x="42" y="27"/>
                      <a:pt x="43" y="27"/>
                      <a:pt x="43" y="27"/>
                    </a:cubicBezTo>
                    <a:cubicBezTo>
                      <a:pt x="43" y="27"/>
                      <a:pt x="43" y="27"/>
                      <a:pt x="43" y="27"/>
                    </a:cubicBezTo>
                    <a:cubicBezTo>
                      <a:pt x="44" y="27"/>
                      <a:pt x="44" y="27"/>
                      <a:pt x="44" y="27"/>
                    </a:cubicBezTo>
                    <a:cubicBezTo>
                      <a:pt x="44" y="28"/>
                      <a:pt x="44" y="28"/>
                      <a:pt x="44" y="28"/>
                    </a:cubicBezTo>
                    <a:cubicBezTo>
                      <a:pt x="45" y="28"/>
                      <a:pt x="45" y="28"/>
                      <a:pt x="45" y="28"/>
                    </a:cubicBezTo>
                    <a:cubicBezTo>
                      <a:pt x="45" y="28"/>
                      <a:pt x="45" y="28"/>
                      <a:pt x="45" y="28"/>
                    </a:cubicBezTo>
                    <a:cubicBezTo>
                      <a:pt x="45" y="28"/>
                      <a:pt x="46" y="28"/>
                      <a:pt x="46" y="28"/>
                    </a:cubicBezTo>
                    <a:cubicBezTo>
                      <a:pt x="46" y="28"/>
                      <a:pt x="46" y="28"/>
                      <a:pt x="46" y="28"/>
                    </a:cubicBezTo>
                    <a:cubicBezTo>
                      <a:pt x="46" y="28"/>
                      <a:pt x="46" y="28"/>
                      <a:pt x="46" y="28"/>
                    </a:cubicBezTo>
                    <a:cubicBezTo>
                      <a:pt x="46" y="28"/>
                      <a:pt x="46" y="28"/>
                      <a:pt x="46" y="28"/>
                    </a:cubicBezTo>
                    <a:cubicBezTo>
                      <a:pt x="46" y="28"/>
                      <a:pt x="46" y="28"/>
                      <a:pt x="46" y="28"/>
                    </a:cubicBezTo>
                    <a:cubicBezTo>
                      <a:pt x="45" y="27"/>
                      <a:pt x="45" y="27"/>
                      <a:pt x="45" y="27"/>
                    </a:cubicBezTo>
                    <a:cubicBezTo>
                      <a:pt x="47" y="27"/>
                      <a:pt x="47" y="27"/>
                      <a:pt x="47" y="27"/>
                    </a:cubicBezTo>
                    <a:cubicBezTo>
                      <a:pt x="47" y="27"/>
                      <a:pt x="47" y="27"/>
                      <a:pt x="47" y="27"/>
                    </a:cubicBezTo>
                    <a:cubicBezTo>
                      <a:pt x="47" y="26"/>
                      <a:pt x="48" y="26"/>
                      <a:pt x="48" y="26"/>
                    </a:cubicBezTo>
                    <a:cubicBezTo>
                      <a:pt x="48" y="26"/>
                      <a:pt x="48" y="26"/>
                      <a:pt x="48" y="26"/>
                    </a:cubicBezTo>
                    <a:cubicBezTo>
                      <a:pt x="49" y="26"/>
                      <a:pt x="49" y="26"/>
                      <a:pt x="49" y="26"/>
                    </a:cubicBezTo>
                    <a:cubicBezTo>
                      <a:pt x="49" y="26"/>
                      <a:pt x="49" y="26"/>
                      <a:pt x="49" y="26"/>
                    </a:cubicBezTo>
                    <a:cubicBezTo>
                      <a:pt x="50" y="26"/>
                      <a:pt x="50" y="26"/>
                      <a:pt x="50" y="26"/>
                    </a:cubicBezTo>
                    <a:cubicBezTo>
                      <a:pt x="51" y="26"/>
                      <a:pt x="51" y="27"/>
                      <a:pt x="51" y="27"/>
                    </a:cubicBezTo>
                    <a:cubicBezTo>
                      <a:pt x="52" y="26"/>
                      <a:pt x="53" y="26"/>
                      <a:pt x="55" y="25"/>
                    </a:cubicBezTo>
                    <a:cubicBezTo>
                      <a:pt x="56" y="25"/>
                      <a:pt x="56" y="24"/>
                      <a:pt x="57" y="24"/>
                    </a:cubicBezTo>
                    <a:cubicBezTo>
                      <a:pt x="57" y="24"/>
                      <a:pt x="57" y="24"/>
                      <a:pt x="57" y="24"/>
                    </a:cubicBezTo>
                    <a:cubicBezTo>
                      <a:pt x="57" y="23"/>
                      <a:pt x="57" y="23"/>
                      <a:pt x="57" y="22"/>
                    </a:cubicBezTo>
                    <a:cubicBezTo>
                      <a:pt x="57" y="22"/>
                      <a:pt x="58" y="22"/>
                      <a:pt x="58" y="22"/>
                    </a:cubicBezTo>
                    <a:cubicBezTo>
                      <a:pt x="58" y="21"/>
                      <a:pt x="58" y="21"/>
                      <a:pt x="58" y="21"/>
                    </a:cubicBezTo>
                    <a:cubicBezTo>
                      <a:pt x="59" y="20"/>
                      <a:pt x="61" y="19"/>
                      <a:pt x="62" y="19"/>
                    </a:cubicBezTo>
                    <a:cubicBezTo>
                      <a:pt x="63" y="18"/>
                      <a:pt x="63" y="18"/>
                      <a:pt x="63" y="18"/>
                    </a:cubicBezTo>
                    <a:cubicBezTo>
                      <a:pt x="63" y="18"/>
                      <a:pt x="64" y="18"/>
                      <a:pt x="64" y="18"/>
                    </a:cubicBezTo>
                    <a:cubicBezTo>
                      <a:pt x="64" y="18"/>
                      <a:pt x="64" y="18"/>
                      <a:pt x="64" y="18"/>
                    </a:cubicBezTo>
                    <a:cubicBezTo>
                      <a:pt x="63" y="18"/>
                      <a:pt x="63" y="17"/>
                      <a:pt x="62" y="16"/>
                    </a:cubicBezTo>
                    <a:cubicBezTo>
                      <a:pt x="62" y="15"/>
                      <a:pt x="60" y="15"/>
                      <a:pt x="59" y="14"/>
                    </a:cubicBezTo>
                    <a:cubicBezTo>
                      <a:pt x="59" y="14"/>
                      <a:pt x="59" y="14"/>
                      <a:pt x="59" y="14"/>
                    </a:cubicBezTo>
                    <a:cubicBezTo>
                      <a:pt x="59" y="14"/>
                      <a:pt x="58" y="14"/>
                      <a:pt x="58" y="13"/>
                    </a:cubicBezTo>
                    <a:cubicBezTo>
                      <a:pt x="58" y="13"/>
                      <a:pt x="58" y="13"/>
                      <a:pt x="58" y="13"/>
                    </a:cubicBezTo>
                    <a:cubicBezTo>
                      <a:pt x="58" y="13"/>
                      <a:pt x="58" y="13"/>
                      <a:pt x="57" y="13"/>
                    </a:cubicBezTo>
                    <a:cubicBezTo>
                      <a:pt x="57" y="13"/>
                      <a:pt x="57" y="13"/>
                      <a:pt x="57" y="14"/>
                    </a:cubicBezTo>
                    <a:cubicBezTo>
                      <a:pt x="57" y="14"/>
                      <a:pt x="57" y="14"/>
                      <a:pt x="57" y="14"/>
                    </a:cubicBezTo>
                    <a:cubicBezTo>
                      <a:pt x="56" y="14"/>
                      <a:pt x="56" y="14"/>
                      <a:pt x="56" y="14"/>
                    </a:cubicBezTo>
                    <a:cubicBezTo>
                      <a:pt x="56" y="14"/>
                      <a:pt x="56" y="14"/>
                      <a:pt x="56" y="14"/>
                    </a:cubicBezTo>
                    <a:cubicBezTo>
                      <a:pt x="55" y="14"/>
                      <a:pt x="55" y="14"/>
                      <a:pt x="55" y="14"/>
                    </a:cubicBezTo>
                    <a:cubicBezTo>
                      <a:pt x="55" y="14"/>
                      <a:pt x="55" y="14"/>
                      <a:pt x="55" y="14"/>
                    </a:cubicBezTo>
                    <a:cubicBezTo>
                      <a:pt x="54" y="13"/>
                      <a:pt x="53" y="13"/>
                      <a:pt x="52" y="12"/>
                    </a:cubicBezTo>
                    <a:cubicBezTo>
                      <a:pt x="51" y="11"/>
                      <a:pt x="51" y="10"/>
                      <a:pt x="51" y="10"/>
                    </a:cubicBezTo>
                    <a:cubicBezTo>
                      <a:pt x="52" y="9"/>
                      <a:pt x="52" y="9"/>
                      <a:pt x="52" y="9"/>
                    </a:cubicBezTo>
                    <a:cubicBezTo>
                      <a:pt x="51" y="9"/>
                      <a:pt x="50" y="9"/>
                      <a:pt x="49" y="9"/>
                    </a:cubicBezTo>
                    <a:cubicBezTo>
                      <a:pt x="48" y="9"/>
                      <a:pt x="48" y="8"/>
                      <a:pt x="48" y="8"/>
                    </a:cubicBezTo>
                    <a:cubicBezTo>
                      <a:pt x="48" y="9"/>
                      <a:pt x="48" y="9"/>
                      <a:pt x="48" y="9"/>
                    </a:cubicBezTo>
                    <a:cubicBezTo>
                      <a:pt x="49" y="13"/>
                      <a:pt x="49" y="13"/>
                      <a:pt x="49" y="13"/>
                    </a:cubicBezTo>
                    <a:cubicBezTo>
                      <a:pt x="46" y="10"/>
                      <a:pt x="46" y="10"/>
                      <a:pt x="46" y="10"/>
                    </a:cubicBezTo>
                    <a:cubicBezTo>
                      <a:pt x="46" y="10"/>
                      <a:pt x="46" y="10"/>
                      <a:pt x="46" y="10"/>
                    </a:cubicBezTo>
                    <a:cubicBezTo>
                      <a:pt x="46" y="11"/>
                      <a:pt x="46" y="11"/>
                      <a:pt x="45" y="11"/>
                    </a:cubicBezTo>
                    <a:cubicBezTo>
                      <a:pt x="45" y="11"/>
                      <a:pt x="44" y="12"/>
                      <a:pt x="43" y="12"/>
                    </a:cubicBezTo>
                    <a:cubicBezTo>
                      <a:pt x="42" y="12"/>
                      <a:pt x="42" y="12"/>
                      <a:pt x="42" y="12"/>
                    </a:cubicBezTo>
                    <a:cubicBezTo>
                      <a:pt x="42" y="12"/>
                      <a:pt x="42" y="11"/>
                      <a:pt x="42" y="11"/>
                    </a:cubicBezTo>
                    <a:cubicBezTo>
                      <a:pt x="41" y="11"/>
                      <a:pt x="41" y="10"/>
                      <a:pt x="40" y="10"/>
                    </a:cubicBezTo>
                    <a:cubicBezTo>
                      <a:pt x="40" y="10"/>
                      <a:pt x="40" y="10"/>
                      <a:pt x="40" y="10"/>
                    </a:cubicBezTo>
                    <a:cubicBezTo>
                      <a:pt x="40" y="10"/>
                      <a:pt x="40" y="9"/>
                      <a:pt x="39" y="9"/>
                    </a:cubicBezTo>
                    <a:cubicBezTo>
                      <a:pt x="39" y="9"/>
                      <a:pt x="39" y="9"/>
                      <a:pt x="39" y="9"/>
                    </a:cubicBezTo>
                    <a:cubicBezTo>
                      <a:pt x="39" y="9"/>
                      <a:pt x="39" y="9"/>
                      <a:pt x="38" y="8"/>
                    </a:cubicBezTo>
                    <a:cubicBezTo>
                      <a:pt x="38" y="8"/>
                      <a:pt x="37" y="7"/>
                      <a:pt x="37" y="6"/>
                    </a:cubicBezTo>
                    <a:cubicBezTo>
                      <a:pt x="37" y="6"/>
                      <a:pt x="37" y="6"/>
                      <a:pt x="37" y="6"/>
                    </a:cubicBezTo>
                    <a:cubicBezTo>
                      <a:pt x="38" y="5"/>
                      <a:pt x="38" y="5"/>
                      <a:pt x="39" y="5"/>
                    </a:cubicBezTo>
                    <a:cubicBezTo>
                      <a:pt x="39" y="5"/>
                      <a:pt x="39" y="5"/>
                      <a:pt x="39" y="5"/>
                    </a:cubicBezTo>
                    <a:cubicBezTo>
                      <a:pt x="39" y="5"/>
                      <a:pt x="39" y="5"/>
                      <a:pt x="39" y="5"/>
                    </a:cubicBezTo>
                    <a:cubicBezTo>
                      <a:pt x="39" y="5"/>
                      <a:pt x="39" y="5"/>
                      <a:pt x="39" y="5"/>
                    </a:cubicBezTo>
                    <a:cubicBezTo>
                      <a:pt x="39" y="5"/>
                      <a:pt x="39" y="5"/>
                      <a:pt x="38" y="5"/>
                    </a:cubicBezTo>
                    <a:cubicBezTo>
                      <a:pt x="38" y="5"/>
                      <a:pt x="38" y="5"/>
                      <a:pt x="38" y="5"/>
                    </a:cubicBezTo>
                    <a:cubicBezTo>
                      <a:pt x="37" y="5"/>
                      <a:pt x="37" y="5"/>
                      <a:pt x="37" y="5"/>
                    </a:cubicBezTo>
                    <a:cubicBezTo>
                      <a:pt x="31" y="3"/>
                      <a:pt x="31" y="3"/>
                      <a:pt x="31" y="3"/>
                    </a:cubicBezTo>
                    <a:cubicBezTo>
                      <a:pt x="31" y="3"/>
                      <a:pt x="30" y="3"/>
                      <a:pt x="30" y="3"/>
                    </a:cubicBezTo>
                    <a:cubicBezTo>
                      <a:pt x="30" y="3"/>
                      <a:pt x="30" y="3"/>
                      <a:pt x="30" y="3"/>
                    </a:cubicBezTo>
                    <a:cubicBezTo>
                      <a:pt x="29" y="3"/>
                      <a:pt x="29" y="3"/>
                      <a:pt x="29" y="2"/>
                    </a:cubicBezTo>
                    <a:cubicBezTo>
                      <a:pt x="29" y="2"/>
                      <a:pt x="28" y="2"/>
                      <a:pt x="28" y="1"/>
                    </a:cubicBezTo>
                    <a:cubicBezTo>
                      <a:pt x="28" y="1"/>
                      <a:pt x="28" y="1"/>
                      <a:pt x="28" y="1"/>
                    </a:cubicBezTo>
                    <a:cubicBezTo>
                      <a:pt x="27" y="0"/>
                      <a:pt x="27" y="0"/>
                      <a:pt x="27" y="0"/>
                    </a:cubicBezTo>
                    <a:cubicBezTo>
                      <a:pt x="27" y="0"/>
                      <a:pt x="27" y="0"/>
                      <a:pt x="27" y="0"/>
                    </a:cubicBezTo>
                    <a:cubicBezTo>
                      <a:pt x="27" y="0"/>
                      <a:pt x="27" y="0"/>
                      <a:pt x="27" y="1"/>
                    </a:cubicBezTo>
                    <a:cubicBezTo>
                      <a:pt x="27" y="1"/>
                      <a:pt x="26" y="1"/>
                      <a:pt x="26" y="1"/>
                    </a:cubicBezTo>
                    <a:cubicBezTo>
                      <a:pt x="26" y="2"/>
                      <a:pt x="26" y="2"/>
                      <a:pt x="26" y="2"/>
                    </a:cubicBezTo>
                    <a:cubicBezTo>
                      <a:pt x="25" y="2"/>
                      <a:pt x="25" y="2"/>
                      <a:pt x="25" y="2"/>
                    </a:cubicBezTo>
                    <a:cubicBezTo>
                      <a:pt x="25" y="2"/>
                      <a:pt x="25" y="2"/>
                      <a:pt x="25" y="2"/>
                    </a:cubicBezTo>
                    <a:cubicBezTo>
                      <a:pt x="24" y="2"/>
                      <a:pt x="24" y="2"/>
                      <a:pt x="24" y="2"/>
                    </a:cubicBezTo>
                    <a:cubicBezTo>
                      <a:pt x="23" y="1"/>
                      <a:pt x="23" y="1"/>
                      <a:pt x="23" y="1"/>
                    </a:cubicBezTo>
                    <a:cubicBezTo>
                      <a:pt x="23" y="1"/>
                      <a:pt x="23" y="1"/>
                      <a:pt x="23" y="1"/>
                    </a:cubicBezTo>
                    <a:cubicBezTo>
                      <a:pt x="23" y="1"/>
                      <a:pt x="23" y="1"/>
                      <a:pt x="23" y="1"/>
                    </a:cubicBezTo>
                    <a:cubicBezTo>
                      <a:pt x="22" y="1"/>
                      <a:pt x="22" y="1"/>
                      <a:pt x="22" y="1"/>
                    </a:cubicBezTo>
                    <a:cubicBezTo>
                      <a:pt x="22" y="0"/>
                      <a:pt x="21" y="0"/>
                      <a:pt x="21" y="0"/>
                    </a:cubicBezTo>
                    <a:cubicBezTo>
                      <a:pt x="21" y="0"/>
                      <a:pt x="21" y="0"/>
                      <a:pt x="20" y="0"/>
                    </a:cubicBezTo>
                    <a:cubicBezTo>
                      <a:pt x="20" y="0"/>
                      <a:pt x="20" y="1"/>
                      <a:pt x="20" y="1"/>
                    </a:cubicBezTo>
                    <a:cubicBezTo>
                      <a:pt x="20" y="2"/>
                      <a:pt x="20" y="2"/>
                      <a:pt x="19" y="2"/>
                    </a:cubicBezTo>
                    <a:cubicBezTo>
                      <a:pt x="19" y="2"/>
                      <a:pt x="19" y="2"/>
                      <a:pt x="19" y="2"/>
                    </a:cubicBezTo>
                    <a:cubicBezTo>
                      <a:pt x="19" y="2"/>
                      <a:pt x="19" y="2"/>
                      <a:pt x="19" y="2"/>
                    </a:cubicBezTo>
                    <a:cubicBezTo>
                      <a:pt x="18" y="2"/>
                      <a:pt x="18" y="2"/>
                      <a:pt x="18" y="2"/>
                    </a:cubicBezTo>
                    <a:cubicBezTo>
                      <a:pt x="17" y="2"/>
                      <a:pt x="17" y="3"/>
                      <a:pt x="16" y="3"/>
                    </a:cubicBezTo>
                    <a:cubicBezTo>
                      <a:pt x="16" y="3"/>
                      <a:pt x="16" y="3"/>
                      <a:pt x="16" y="3"/>
                    </a:cubicBezTo>
                    <a:cubicBezTo>
                      <a:pt x="16" y="3"/>
                      <a:pt x="16" y="3"/>
                      <a:pt x="16" y="3"/>
                    </a:cubicBezTo>
                    <a:cubicBezTo>
                      <a:pt x="15" y="3"/>
                      <a:pt x="14" y="3"/>
                      <a:pt x="14" y="4"/>
                    </a:cubicBezTo>
                    <a:cubicBezTo>
                      <a:pt x="13" y="4"/>
                      <a:pt x="13"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9" name="Rectangle 3091">
                <a:extLst>
                  <a:ext uri="{FF2B5EF4-FFF2-40B4-BE49-F238E27FC236}">
                    <a16:creationId xmlns:a16="http://schemas.microsoft.com/office/drawing/2014/main" id="{1D70A8B0-E707-4A93-B0E3-F950AC6C6B2D}"/>
                  </a:ext>
                </a:extLst>
              </p:cNvPr>
              <p:cNvSpPr>
                <a:spLocks noChangeArrowheads="1"/>
              </p:cNvSpPr>
              <p:nvPr/>
            </p:nvSpPr>
            <p:spPr bwMode="auto">
              <a:xfrm>
                <a:off x="3984" y="145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0" name="Freeform 3092">
                <a:extLst>
                  <a:ext uri="{FF2B5EF4-FFF2-40B4-BE49-F238E27FC236}">
                    <a16:creationId xmlns:a16="http://schemas.microsoft.com/office/drawing/2014/main" id="{F59E50C0-1400-4BC4-A78B-DE1152F6743A}"/>
                  </a:ext>
                </a:extLst>
              </p:cNvPr>
              <p:cNvSpPr>
                <a:spLocks/>
              </p:cNvSpPr>
              <p:nvPr/>
            </p:nvSpPr>
            <p:spPr bwMode="auto">
              <a:xfrm>
                <a:off x="3783" y="1537"/>
                <a:ext cx="10" cy="11"/>
              </a:xfrm>
              <a:custGeom>
                <a:avLst/>
                <a:gdLst>
                  <a:gd name="T0" fmla="*/ 1 w 4"/>
                  <a:gd name="T1" fmla="*/ 1 h 5"/>
                  <a:gd name="T2" fmla="*/ 1 w 4"/>
                  <a:gd name="T3" fmla="*/ 1 h 5"/>
                  <a:gd name="T4" fmla="*/ 0 w 4"/>
                  <a:gd name="T5" fmla="*/ 2 h 5"/>
                  <a:gd name="T6" fmla="*/ 0 w 4"/>
                  <a:gd name="T7" fmla="*/ 2 h 5"/>
                  <a:gd name="T8" fmla="*/ 0 w 4"/>
                  <a:gd name="T9" fmla="*/ 2 h 5"/>
                  <a:gd name="T10" fmla="*/ 0 w 4"/>
                  <a:gd name="T11" fmla="*/ 2 h 5"/>
                  <a:gd name="T12" fmla="*/ 0 w 4"/>
                  <a:gd name="T13" fmla="*/ 3 h 5"/>
                  <a:gd name="T14" fmla="*/ 1 w 4"/>
                  <a:gd name="T15" fmla="*/ 2 h 5"/>
                  <a:gd name="T16" fmla="*/ 0 w 4"/>
                  <a:gd name="T17" fmla="*/ 4 h 5"/>
                  <a:gd name="T18" fmla="*/ 1 w 4"/>
                  <a:gd name="T19" fmla="*/ 4 h 5"/>
                  <a:gd name="T20" fmla="*/ 2 w 4"/>
                  <a:gd name="T21" fmla="*/ 5 h 5"/>
                  <a:gd name="T22" fmla="*/ 4 w 4"/>
                  <a:gd name="T23" fmla="*/ 1 h 5"/>
                  <a:gd name="T24" fmla="*/ 4 w 4"/>
                  <a:gd name="T25" fmla="*/ 1 h 5"/>
                  <a:gd name="T26" fmla="*/ 3 w 4"/>
                  <a:gd name="T27" fmla="*/ 1 h 5"/>
                  <a:gd name="T28" fmla="*/ 3 w 4"/>
                  <a:gd name="T29" fmla="*/ 0 h 5"/>
                  <a:gd name="T30" fmla="*/ 2 w 4"/>
                  <a:gd name="T31" fmla="*/ 0 h 5"/>
                  <a:gd name="T32" fmla="*/ 1 w 4"/>
                  <a:gd name="T33" fmla="*/ 0 h 5"/>
                  <a:gd name="T34" fmla="*/ 1 w 4"/>
                  <a:gd name="T35" fmla="*/ 0 h 5"/>
                  <a:gd name="T36" fmla="*/ 1 w 4"/>
                  <a:gd name="T37" fmla="*/ 0 h 5"/>
                  <a:gd name="T38" fmla="*/ 1 w 4"/>
                  <a:gd name="T3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1" y="1"/>
                    </a:moveTo>
                    <a:cubicBezTo>
                      <a:pt x="1" y="1"/>
                      <a:pt x="1" y="1"/>
                      <a:pt x="1" y="1"/>
                    </a:cubicBezTo>
                    <a:cubicBezTo>
                      <a:pt x="0" y="1"/>
                      <a:pt x="0" y="2"/>
                      <a:pt x="0" y="2"/>
                    </a:cubicBezTo>
                    <a:cubicBezTo>
                      <a:pt x="0" y="2"/>
                      <a:pt x="0" y="2"/>
                      <a:pt x="0" y="2"/>
                    </a:cubicBezTo>
                    <a:cubicBezTo>
                      <a:pt x="0" y="2"/>
                      <a:pt x="0" y="2"/>
                      <a:pt x="0" y="2"/>
                    </a:cubicBezTo>
                    <a:cubicBezTo>
                      <a:pt x="0" y="2"/>
                      <a:pt x="0" y="2"/>
                      <a:pt x="0" y="2"/>
                    </a:cubicBezTo>
                    <a:cubicBezTo>
                      <a:pt x="0" y="2"/>
                      <a:pt x="0" y="3"/>
                      <a:pt x="0" y="3"/>
                    </a:cubicBezTo>
                    <a:cubicBezTo>
                      <a:pt x="1" y="2"/>
                      <a:pt x="1" y="2"/>
                      <a:pt x="1" y="2"/>
                    </a:cubicBezTo>
                    <a:cubicBezTo>
                      <a:pt x="0" y="4"/>
                      <a:pt x="0" y="4"/>
                      <a:pt x="0" y="4"/>
                    </a:cubicBezTo>
                    <a:cubicBezTo>
                      <a:pt x="0" y="4"/>
                      <a:pt x="0" y="4"/>
                      <a:pt x="1" y="4"/>
                    </a:cubicBezTo>
                    <a:cubicBezTo>
                      <a:pt x="2" y="5"/>
                      <a:pt x="2" y="5"/>
                      <a:pt x="2" y="5"/>
                    </a:cubicBezTo>
                    <a:cubicBezTo>
                      <a:pt x="4" y="1"/>
                      <a:pt x="4" y="1"/>
                      <a:pt x="4" y="1"/>
                    </a:cubicBezTo>
                    <a:cubicBezTo>
                      <a:pt x="4" y="1"/>
                      <a:pt x="4" y="1"/>
                      <a:pt x="4" y="1"/>
                    </a:cubicBezTo>
                    <a:cubicBezTo>
                      <a:pt x="4" y="1"/>
                      <a:pt x="3" y="1"/>
                      <a:pt x="3" y="1"/>
                    </a:cubicBezTo>
                    <a:cubicBezTo>
                      <a:pt x="3" y="0"/>
                      <a:pt x="3" y="0"/>
                      <a:pt x="3" y="0"/>
                    </a:cubicBezTo>
                    <a:cubicBezTo>
                      <a:pt x="3" y="0"/>
                      <a:pt x="2" y="0"/>
                      <a:pt x="2" y="0"/>
                    </a:cubicBezTo>
                    <a:cubicBezTo>
                      <a:pt x="2" y="0"/>
                      <a:pt x="1" y="0"/>
                      <a:pt x="1" y="0"/>
                    </a:cubicBezTo>
                    <a:cubicBezTo>
                      <a:pt x="1" y="0"/>
                      <a:pt x="1" y="0"/>
                      <a:pt x="1" y="0"/>
                    </a:cubicBezTo>
                    <a:cubicBezTo>
                      <a:pt x="1" y="0"/>
                      <a:pt x="1" y="0"/>
                      <a:pt x="1" y="0"/>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1" name="Freeform 3093">
                <a:extLst>
                  <a:ext uri="{FF2B5EF4-FFF2-40B4-BE49-F238E27FC236}">
                    <a16:creationId xmlns:a16="http://schemas.microsoft.com/office/drawing/2014/main" id="{7F117146-FBCC-42C9-896B-8451FAF9A21A}"/>
                  </a:ext>
                </a:extLst>
              </p:cNvPr>
              <p:cNvSpPr>
                <a:spLocks/>
              </p:cNvSpPr>
              <p:nvPr/>
            </p:nvSpPr>
            <p:spPr bwMode="auto">
              <a:xfrm>
                <a:off x="3788" y="1492"/>
                <a:ext cx="173" cy="73"/>
              </a:xfrm>
              <a:custGeom>
                <a:avLst/>
                <a:gdLst>
                  <a:gd name="T0" fmla="*/ 40 w 73"/>
                  <a:gd name="T1" fmla="*/ 30 h 31"/>
                  <a:gd name="T2" fmla="*/ 43 w 73"/>
                  <a:gd name="T3" fmla="*/ 30 h 31"/>
                  <a:gd name="T4" fmla="*/ 45 w 73"/>
                  <a:gd name="T5" fmla="*/ 31 h 31"/>
                  <a:gd name="T6" fmla="*/ 48 w 73"/>
                  <a:gd name="T7" fmla="*/ 31 h 31"/>
                  <a:gd name="T8" fmla="*/ 49 w 73"/>
                  <a:gd name="T9" fmla="*/ 30 h 31"/>
                  <a:gd name="T10" fmla="*/ 53 w 73"/>
                  <a:gd name="T11" fmla="*/ 28 h 31"/>
                  <a:gd name="T12" fmla="*/ 56 w 73"/>
                  <a:gd name="T13" fmla="*/ 28 h 31"/>
                  <a:gd name="T14" fmla="*/ 57 w 73"/>
                  <a:gd name="T15" fmla="*/ 28 h 31"/>
                  <a:gd name="T16" fmla="*/ 60 w 73"/>
                  <a:gd name="T17" fmla="*/ 27 h 31"/>
                  <a:gd name="T18" fmla="*/ 61 w 73"/>
                  <a:gd name="T19" fmla="*/ 26 h 31"/>
                  <a:gd name="T20" fmla="*/ 63 w 73"/>
                  <a:gd name="T21" fmla="*/ 25 h 31"/>
                  <a:gd name="T22" fmla="*/ 63 w 73"/>
                  <a:gd name="T23" fmla="*/ 25 h 31"/>
                  <a:gd name="T24" fmla="*/ 66 w 73"/>
                  <a:gd name="T25" fmla="*/ 23 h 31"/>
                  <a:gd name="T26" fmla="*/ 66 w 73"/>
                  <a:gd name="T27" fmla="*/ 23 h 31"/>
                  <a:gd name="T28" fmla="*/ 68 w 73"/>
                  <a:gd name="T29" fmla="*/ 18 h 31"/>
                  <a:gd name="T30" fmla="*/ 67 w 73"/>
                  <a:gd name="T31" fmla="*/ 14 h 31"/>
                  <a:gd name="T32" fmla="*/ 71 w 73"/>
                  <a:gd name="T33" fmla="*/ 14 h 31"/>
                  <a:gd name="T34" fmla="*/ 72 w 73"/>
                  <a:gd name="T35" fmla="*/ 14 h 31"/>
                  <a:gd name="T36" fmla="*/ 73 w 73"/>
                  <a:gd name="T37" fmla="*/ 12 h 31"/>
                  <a:gd name="T38" fmla="*/ 71 w 73"/>
                  <a:gd name="T39" fmla="*/ 9 h 31"/>
                  <a:gd name="T40" fmla="*/ 71 w 73"/>
                  <a:gd name="T41" fmla="*/ 5 h 31"/>
                  <a:gd name="T42" fmla="*/ 71 w 73"/>
                  <a:gd name="T43" fmla="*/ 4 h 31"/>
                  <a:gd name="T44" fmla="*/ 64 w 73"/>
                  <a:gd name="T45" fmla="*/ 3 h 31"/>
                  <a:gd name="T46" fmla="*/ 56 w 73"/>
                  <a:gd name="T47" fmla="*/ 1 h 31"/>
                  <a:gd name="T48" fmla="*/ 55 w 73"/>
                  <a:gd name="T49" fmla="*/ 1 h 31"/>
                  <a:gd name="T50" fmla="*/ 47 w 73"/>
                  <a:gd name="T51" fmla="*/ 5 h 31"/>
                  <a:gd name="T52" fmla="*/ 41 w 73"/>
                  <a:gd name="T53" fmla="*/ 3 h 31"/>
                  <a:gd name="T54" fmla="*/ 40 w 73"/>
                  <a:gd name="T55" fmla="*/ 5 h 31"/>
                  <a:gd name="T56" fmla="*/ 37 w 73"/>
                  <a:gd name="T57" fmla="*/ 5 h 31"/>
                  <a:gd name="T58" fmla="*/ 34 w 73"/>
                  <a:gd name="T59" fmla="*/ 9 h 31"/>
                  <a:gd name="T60" fmla="*/ 31 w 73"/>
                  <a:gd name="T61" fmla="*/ 10 h 31"/>
                  <a:gd name="T62" fmla="*/ 33 w 73"/>
                  <a:gd name="T63" fmla="*/ 14 h 31"/>
                  <a:gd name="T64" fmla="*/ 33 w 73"/>
                  <a:gd name="T65" fmla="*/ 19 h 31"/>
                  <a:gd name="T66" fmla="*/ 28 w 73"/>
                  <a:gd name="T67" fmla="*/ 17 h 31"/>
                  <a:gd name="T68" fmla="*/ 25 w 73"/>
                  <a:gd name="T69" fmla="*/ 17 h 31"/>
                  <a:gd name="T70" fmla="*/ 23 w 73"/>
                  <a:gd name="T71" fmla="*/ 18 h 31"/>
                  <a:gd name="T72" fmla="*/ 20 w 73"/>
                  <a:gd name="T73" fmla="*/ 18 h 31"/>
                  <a:gd name="T74" fmla="*/ 12 w 73"/>
                  <a:gd name="T75" fmla="*/ 21 h 31"/>
                  <a:gd name="T76" fmla="*/ 11 w 73"/>
                  <a:gd name="T77" fmla="*/ 21 h 31"/>
                  <a:gd name="T78" fmla="*/ 9 w 73"/>
                  <a:gd name="T79" fmla="*/ 19 h 31"/>
                  <a:gd name="T80" fmla="*/ 0 w 73"/>
                  <a:gd name="T81" fmla="*/ 24 h 31"/>
                  <a:gd name="T82" fmla="*/ 5 w 73"/>
                  <a:gd name="T83" fmla="*/ 24 h 31"/>
                  <a:gd name="T84" fmla="*/ 6 w 73"/>
                  <a:gd name="T85" fmla="*/ 24 h 31"/>
                  <a:gd name="T86" fmla="*/ 7 w 73"/>
                  <a:gd name="T87" fmla="*/ 25 h 31"/>
                  <a:gd name="T88" fmla="*/ 11 w 73"/>
                  <a:gd name="T89" fmla="*/ 26 h 31"/>
                  <a:gd name="T90" fmla="*/ 14 w 73"/>
                  <a:gd name="T91" fmla="*/ 24 h 31"/>
                  <a:gd name="T92" fmla="*/ 23 w 73"/>
                  <a:gd name="T93" fmla="*/ 22 h 31"/>
                  <a:gd name="T94" fmla="*/ 25 w 73"/>
                  <a:gd name="T95" fmla="*/ 25 h 31"/>
                  <a:gd name="T96" fmla="*/ 28 w 73"/>
                  <a:gd name="T97" fmla="*/ 25 h 31"/>
                  <a:gd name="T98" fmla="*/ 38 w 73"/>
                  <a:gd name="T99"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31">
                    <a:moveTo>
                      <a:pt x="39" y="29"/>
                    </a:moveTo>
                    <a:cubicBezTo>
                      <a:pt x="39" y="29"/>
                      <a:pt x="39" y="29"/>
                      <a:pt x="39" y="29"/>
                    </a:cubicBezTo>
                    <a:cubicBezTo>
                      <a:pt x="39" y="30"/>
                      <a:pt x="39" y="30"/>
                      <a:pt x="39" y="30"/>
                    </a:cubicBezTo>
                    <a:cubicBezTo>
                      <a:pt x="40" y="30"/>
                      <a:pt x="40" y="30"/>
                      <a:pt x="40" y="30"/>
                    </a:cubicBezTo>
                    <a:cubicBezTo>
                      <a:pt x="41" y="30"/>
                      <a:pt x="41" y="30"/>
                      <a:pt x="41" y="30"/>
                    </a:cubicBezTo>
                    <a:cubicBezTo>
                      <a:pt x="42" y="30"/>
                      <a:pt x="42" y="30"/>
                      <a:pt x="42" y="30"/>
                    </a:cubicBezTo>
                    <a:cubicBezTo>
                      <a:pt x="43" y="30"/>
                      <a:pt x="43" y="30"/>
                      <a:pt x="43" y="30"/>
                    </a:cubicBezTo>
                    <a:cubicBezTo>
                      <a:pt x="43" y="30"/>
                      <a:pt x="43" y="30"/>
                      <a:pt x="43" y="30"/>
                    </a:cubicBezTo>
                    <a:cubicBezTo>
                      <a:pt x="43" y="30"/>
                      <a:pt x="44" y="30"/>
                      <a:pt x="44" y="31"/>
                    </a:cubicBezTo>
                    <a:cubicBezTo>
                      <a:pt x="44" y="31"/>
                      <a:pt x="44" y="31"/>
                      <a:pt x="44" y="31"/>
                    </a:cubicBezTo>
                    <a:cubicBezTo>
                      <a:pt x="45" y="31"/>
                      <a:pt x="45" y="31"/>
                      <a:pt x="45" y="31"/>
                    </a:cubicBezTo>
                    <a:cubicBezTo>
                      <a:pt x="45" y="31"/>
                      <a:pt x="45" y="31"/>
                      <a:pt x="45" y="31"/>
                    </a:cubicBezTo>
                    <a:cubicBezTo>
                      <a:pt x="46" y="31"/>
                      <a:pt x="46" y="31"/>
                      <a:pt x="46" y="31"/>
                    </a:cubicBezTo>
                    <a:cubicBezTo>
                      <a:pt x="46" y="31"/>
                      <a:pt x="47" y="31"/>
                      <a:pt x="47" y="31"/>
                    </a:cubicBezTo>
                    <a:cubicBezTo>
                      <a:pt x="47" y="31"/>
                      <a:pt x="47" y="31"/>
                      <a:pt x="47" y="31"/>
                    </a:cubicBezTo>
                    <a:cubicBezTo>
                      <a:pt x="47" y="31"/>
                      <a:pt x="47" y="31"/>
                      <a:pt x="48" y="31"/>
                    </a:cubicBezTo>
                    <a:cubicBezTo>
                      <a:pt x="48" y="31"/>
                      <a:pt x="48" y="31"/>
                      <a:pt x="48" y="31"/>
                    </a:cubicBezTo>
                    <a:cubicBezTo>
                      <a:pt x="48" y="31"/>
                      <a:pt x="48" y="31"/>
                      <a:pt x="49" y="30"/>
                    </a:cubicBezTo>
                    <a:cubicBezTo>
                      <a:pt x="49" y="30"/>
                      <a:pt x="49" y="30"/>
                      <a:pt x="49" y="30"/>
                    </a:cubicBezTo>
                    <a:cubicBezTo>
                      <a:pt x="49" y="30"/>
                      <a:pt x="49" y="30"/>
                      <a:pt x="49" y="30"/>
                    </a:cubicBezTo>
                    <a:cubicBezTo>
                      <a:pt x="50" y="30"/>
                      <a:pt x="50" y="30"/>
                      <a:pt x="50" y="29"/>
                    </a:cubicBezTo>
                    <a:cubicBezTo>
                      <a:pt x="50" y="29"/>
                      <a:pt x="51" y="28"/>
                      <a:pt x="52" y="28"/>
                    </a:cubicBezTo>
                    <a:cubicBezTo>
                      <a:pt x="53" y="28"/>
                      <a:pt x="53" y="28"/>
                      <a:pt x="53" y="28"/>
                    </a:cubicBezTo>
                    <a:cubicBezTo>
                      <a:pt x="53" y="28"/>
                      <a:pt x="53" y="28"/>
                      <a:pt x="53" y="28"/>
                    </a:cubicBezTo>
                    <a:cubicBezTo>
                      <a:pt x="53" y="28"/>
                      <a:pt x="54" y="28"/>
                      <a:pt x="54" y="28"/>
                    </a:cubicBezTo>
                    <a:cubicBezTo>
                      <a:pt x="55" y="28"/>
                      <a:pt x="55" y="28"/>
                      <a:pt x="55" y="28"/>
                    </a:cubicBezTo>
                    <a:cubicBezTo>
                      <a:pt x="55" y="28"/>
                      <a:pt x="55" y="28"/>
                      <a:pt x="55" y="28"/>
                    </a:cubicBezTo>
                    <a:cubicBezTo>
                      <a:pt x="56" y="28"/>
                      <a:pt x="56" y="28"/>
                      <a:pt x="56" y="28"/>
                    </a:cubicBezTo>
                    <a:cubicBezTo>
                      <a:pt x="56" y="28"/>
                      <a:pt x="56" y="28"/>
                      <a:pt x="56" y="28"/>
                    </a:cubicBezTo>
                    <a:cubicBezTo>
                      <a:pt x="57" y="28"/>
                      <a:pt x="57" y="28"/>
                      <a:pt x="57" y="28"/>
                    </a:cubicBezTo>
                    <a:cubicBezTo>
                      <a:pt x="57" y="28"/>
                      <a:pt x="57" y="28"/>
                      <a:pt x="57" y="28"/>
                    </a:cubicBezTo>
                    <a:cubicBezTo>
                      <a:pt x="57" y="28"/>
                      <a:pt x="57" y="28"/>
                      <a:pt x="57" y="28"/>
                    </a:cubicBezTo>
                    <a:cubicBezTo>
                      <a:pt x="57" y="28"/>
                      <a:pt x="57" y="28"/>
                      <a:pt x="58" y="28"/>
                    </a:cubicBezTo>
                    <a:cubicBezTo>
                      <a:pt x="58" y="28"/>
                      <a:pt x="58" y="28"/>
                      <a:pt x="58" y="28"/>
                    </a:cubicBezTo>
                    <a:cubicBezTo>
                      <a:pt x="58" y="27"/>
                      <a:pt x="59" y="27"/>
                      <a:pt x="60" y="27"/>
                    </a:cubicBezTo>
                    <a:cubicBezTo>
                      <a:pt x="60" y="27"/>
                      <a:pt x="60" y="27"/>
                      <a:pt x="60" y="27"/>
                    </a:cubicBezTo>
                    <a:cubicBezTo>
                      <a:pt x="60" y="27"/>
                      <a:pt x="60" y="27"/>
                      <a:pt x="60" y="27"/>
                    </a:cubicBezTo>
                    <a:cubicBezTo>
                      <a:pt x="60" y="27"/>
                      <a:pt x="61" y="27"/>
                      <a:pt x="61" y="27"/>
                    </a:cubicBezTo>
                    <a:cubicBezTo>
                      <a:pt x="61" y="27"/>
                      <a:pt x="61" y="27"/>
                      <a:pt x="61" y="27"/>
                    </a:cubicBezTo>
                    <a:cubicBezTo>
                      <a:pt x="61" y="26"/>
                      <a:pt x="61" y="26"/>
                      <a:pt x="61" y="26"/>
                    </a:cubicBezTo>
                    <a:cubicBezTo>
                      <a:pt x="62" y="26"/>
                      <a:pt x="62" y="26"/>
                      <a:pt x="62" y="26"/>
                    </a:cubicBezTo>
                    <a:cubicBezTo>
                      <a:pt x="62" y="26"/>
                      <a:pt x="62" y="26"/>
                      <a:pt x="62" y="26"/>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4" y="24"/>
                      <a:pt x="64" y="24"/>
                      <a:pt x="64" y="24"/>
                    </a:cubicBezTo>
                    <a:cubicBezTo>
                      <a:pt x="65" y="23"/>
                      <a:pt x="65" y="23"/>
                      <a:pt x="66" y="23"/>
                    </a:cubicBezTo>
                    <a:cubicBezTo>
                      <a:pt x="66" y="23"/>
                      <a:pt x="66" y="23"/>
                      <a:pt x="66" y="23"/>
                    </a:cubicBezTo>
                    <a:cubicBezTo>
                      <a:pt x="66" y="23"/>
                      <a:pt x="66" y="23"/>
                      <a:pt x="66" y="23"/>
                    </a:cubicBezTo>
                    <a:cubicBezTo>
                      <a:pt x="66" y="23"/>
                      <a:pt x="66" y="23"/>
                      <a:pt x="66" y="23"/>
                    </a:cubicBezTo>
                    <a:cubicBezTo>
                      <a:pt x="66" y="23"/>
                      <a:pt x="66" y="23"/>
                      <a:pt x="66" y="23"/>
                    </a:cubicBezTo>
                    <a:cubicBezTo>
                      <a:pt x="66" y="23"/>
                      <a:pt x="66" y="23"/>
                      <a:pt x="66" y="23"/>
                    </a:cubicBezTo>
                    <a:cubicBezTo>
                      <a:pt x="66" y="22"/>
                      <a:pt x="66" y="22"/>
                      <a:pt x="66" y="21"/>
                    </a:cubicBezTo>
                    <a:cubicBezTo>
                      <a:pt x="66" y="19"/>
                      <a:pt x="67" y="19"/>
                      <a:pt x="68" y="18"/>
                    </a:cubicBezTo>
                    <a:cubicBezTo>
                      <a:pt x="68" y="18"/>
                      <a:pt x="68" y="18"/>
                      <a:pt x="68" y="18"/>
                    </a:cubicBezTo>
                    <a:cubicBezTo>
                      <a:pt x="68" y="18"/>
                      <a:pt x="67" y="18"/>
                      <a:pt x="67" y="17"/>
                    </a:cubicBezTo>
                    <a:cubicBezTo>
                      <a:pt x="67" y="17"/>
                      <a:pt x="67" y="17"/>
                      <a:pt x="66" y="17"/>
                    </a:cubicBezTo>
                    <a:cubicBezTo>
                      <a:pt x="64" y="16"/>
                      <a:pt x="64" y="16"/>
                      <a:pt x="64" y="16"/>
                    </a:cubicBezTo>
                    <a:cubicBezTo>
                      <a:pt x="67" y="14"/>
                      <a:pt x="67" y="14"/>
                      <a:pt x="67" y="14"/>
                    </a:cubicBezTo>
                    <a:cubicBezTo>
                      <a:pt x="67" y="14"/>
                      <a:pt x="67" y="14"/>
                      <a:pt x="67" y="14"/>
                    </a:cubicBezTo>
                    <a:cubicBezTo>
                      <a:pt x="68" y="14"/>
                      <a:pt x="68" y="14"/>
                      <a:pt x="68" y="14"/>
                    </a:cubicBezTo>
                    <a:cubicBezTo>
                      <a:pt x="68" y="14"/>
                      <a:pt x="69" y="14"/>
                      <a:pt x="70" y="14"/>
                    </a:cubicBezTo>
                    <a:cubicBezTo>
                      <a:pt x="71" y="14"/>
                      <a:pt x="71" y="14"/>
                      <a:pt x="71" y="14"/>
                    </a:cubicBezTo>
                    <a:cubicBezTo>
                      <a:pt x="71" y="15"/>
                      <a:pt x="71" y="15"/>
                      <a:pt x="71" y="15"/>
                    </a:cubicBezTo>
                    <a:cubicBezTo>
                      <a:pt x="71" y="15"/>
                      <a:pt x="71" y="15"/>
                      <a:pt x="71" y="15"/>
                    </a:cubicBezTo>
                    <a:cubicBezTo>
                      <a:pt x="71" y="15"/>
                      <a:pt x="71" y="15"/>
                      <a:pt x="71" y="15"/>
                    </a:cubicBezTo>
                    <a:cubicBezTo>
                      <a:pt x="71" y="15"/>
                      <a:pt x="72" y="14"/>
                      <a:pt x="72" y="14"/>
                    </a:cubicBezTo>
                    <a:cubicBezTo>
                      <a:pt x="72" y="14"/>
                      <a:pt x="72" y="14"/>
                      <a:pt x="72" y="14"/>
                    </a:cubicBezTo>
                    <a:cubicBezTo>
                      <a:pt x="72" y="14"/>
                      <a:pt x="72" y="14"/>
                      <a:pt x="72" y="14"/>
                    </a:cubicBezTo>
                    <a:cubicBezTo>
                      <a:pt x="72" y="13"/>
                      <a:pt x="72" y="13"/>
                      <a:pt x="73" y="13"/>
                    </a:cubicBezTo>
                    <a:cubicBezTo>
                      <a:pt x="73" y="12"/>
                      <a:pt x="73" y="12"/>
                      <a:pt x="73" y="12"/>
                    </a:cubicBezTo>
                    <a:cubicBezTo>
                      <a:pt x="73" y="12"/>
                      <a:pt x="73" y="12"/>
                      <a:pt x="73" y="12"/>
                    </a:cubicBezTo>
                    <a:cubicBezTo>
                      <a:pt x="73" y="11"/>
                      <a:pt x="72" y="11"/>
                      <a:pt x="72" y="11"/>
                    </a:cubicBezTo>
                    <a:cubicBezTo>
                      <a:pt x="72" y="11"/>
                      <a:pt x="72" y="10"/>
                      <a:pt x="71" y="10"/>
                    </a:cubicBezTo>
                    <a:cubicBezTo>
                      <a:pt x="71" y="10"/>
                      <a:pt x="71" y="9"/>
                      <a:pt x="71" y="9"/>
                    </a:cubicBezTo>
                    <a:cubicBezTo>
                      <a:pt x="71" y="9"/>
                      <a:pt x="71" y="9"/>
                      <a:pt x="71" y="9"/>
                    </a:cubicBezTo>
                    <a:cubicBezTo>
                      <a:pt x="71" y="9"/>
                      <a:pt x="71" y="8"/>
                      <a:pt x="70" y="8"/>
                    </a:cubicBezTo>
                    <a:cubicBezTo>
                      <a:pt x="70" y="8"/>
                      <a:pt x="70" y="7"/>
                      <a:pt x="70" y="6"/>
                    </a:cubicBezTo>
                    <a:cubicBezTo>
                      <a:pt x="70" y="6"/>
                      <a:pt x="70" y="5"/>
                      <a:pt x="71" y="5"/>
                    </a:cubicBezTo>
                    <a:cubicBezTo>
                      <a:pt x="71" y="4"/>
                      <a:pt x="71" y="4"/>
                      <a:pt x="71" y="4"/>
                    </a:cubicBezTo>
                    <a:cubicBezTo>
                      <a:pt x="71" y="4"/>
                      <a:pt x="71" y="4"/>
                      <a:pt x="71" y="4"/>
                    </a:cubicBezTo>
                    <a:cubicBezTo>
                      <a:pt x="71" y="4"/>
                      <a:pt x="71" y="4"/>
                      <a:pt x="71" y="4"/>
                    </a:cubicBezTo>
                    <a:cubicBezTo>
                      <a:pt x="71" y="4"/>
                      <a:pt x="71" y="4"/>
                      <a:pt x="71" y="4"/>
                    </a:cubicBezTo>
                    <a:cubicBezTo>
                      <a:pt x="70" y="3"/>
                      <a:pt x="69" y="2"/>
                      <a:pt x="68" y="2"/>
                    </a:cubicBezTo>
                    <a:cubicBezTo>
                      <a:pt x="67" y="2"/>
                      <a:pt x="67" y="2"/>
                      <a:pt x="67" y="2"/>
                    </a:cubicBezTo>
                    <a:cubicBezTo>
                      <a:pt x="67" y="2"/>
                      <a:pt x="67" y="3"/>
                      <a:pt x="67" y="3"/>
                    </a:cubicBezTo>
                    <a:cubicBezTo>
                      <a:pt x="66" y="3"/>
                      <a:pt x="65" y="3"/>
                      <a:pt x="64" y="3"/>
                    </a:cubicBezTo>
                    <a:cubicBezTo>
                      <a:pt x="60" y="2"/>
                      <a:pt x="60" y="2"/>
                      <a:pt x="60" y="2"/>
                    </a:cubicBezTo>
                    <a:cubicBezTo>
                      <a:pt x="59" y="2"/>
                      <a:pt x="59" y="1"/>
                      <a:pt x="59" y="1"/>
                    </a:cubicBezTo>
                    <a:cubicBezTo>
                      <a:pt x="58" y="1"/>
                      <a:pt x="58" y="1"/>
                      <a:pt x="57" y="1"/>
                    </a:cubicBezTo>
                    <a:cubicBezTo>
                      <a:pt x="57" y="1"/>
                      <a:pt x="57" y="1"/>
                      <a:pt x="56" y="1"/>
                    </a:cubicBezTo>
                    <a:cubicBezTo>
                      <a:pt x="56" y="1"/>
                      <a:pt x="56" y="1"/>
                      <a:pt x="56" y="1"/>
                    </a:cubicBezTo>
                    <a:cubicBezTo>
                      <a:pt x="55" y="1"/>
                      <a:pt x="55" y="1"/>
                      <a:pt x="55" y="1"/>
                    </a:cubicBezTo>
                    <a:cubicBezTo>
                      <a:pt x="55" y="1"/>
                      <a:pt x="55" y="1"/>
                      <a:pt x="55" y="1"/>
                    </a:cubicBezTo>
                    <a:cubicBezTo>
                      <a:pt x="55" y="1"/>
                      <a:pt x="55" y="1"/>
                      <a:pt x="55" y="1"/>
                    </a:cubicBezTo>
                    <a:cubicBezTo>
                      <a:pt x="54" y="1"/>
                      <a:pt x="54" y="0"/>
                      <a:pt x="53" y="0"/>
                    </a:cubicBezTo>
                    <a:cubicBezTo>
                      <a:pt x="53" y="2"/>
                      <a:pt x="52" y="3"/>
                      <a:pt x="51" y="4"/>
                    </a:cubicBezTo>
                    <a:cubicBezTo>
                      <a:pt x="50" y="5"/>
                      <a:pt x="50" y="5"/>
                      <a:pt x="50" y="5"/>
                    </a:cubicBezTo>
                    <a:cubicBezTo>
                      <a:pt x="49" y="5"/>
                      <a:pt x="48" y="5"/>
                      <a:pt x="47" y="5"/>
                    </a:cubicBezTo>
                    <a:cubicBezTo>
                      <a:pt x="47" y="5"/>
                      <a:pt x="47" y="5"/>
                      <a:pt x="47" y="5"/>
                    </a:cubicBezTo>
                    <a:cubicBezTo>
                      <a:pt x="45" y="5"/>
                      <a:pt x="44" y="5"/>
                      <a:pt x="42" y="4"/>
                    </a:cubicBezTo>
                    <a:cubicBezTo>
                      <a:pt x="41" y="4"/>
                      <a:pt x="41" y="4"/>
                      <a:pt x="41" y="4"/>
                    </a:cubicBezTo>
                    <a:cubicBezTo>
                      <a:pt x="41" y="3"/>
                      <a:pt x="41" y="3"/>
                      <a:pt x="41" y="3"/>
                    </a:cubicBezTo>
                    <a:cubicBezTo>
                      <a:pt x="40" y="3"/>
                      <a:pt x="40" y="3"/>
                      <a:pt x="40" y="3"/>
                    </a:cubicBezTo>
                    <a:cubicBezTo>
                      <a:pt x="41" y="3"/>
                      <a:pt x="41" y="3"/>
                      <a:pt x="41" y="3"/>
                    </a:cubicBezTo>
                    <a:cubicBezTo>
                      <a:pt x="41" y="4"/>
                      <a:pt x="41" y="4"/>
                      <a:pt x="41" y="4"/>
                    </a:cubicBezTo>
                    <a:cubicBezTo>
                      <a:pt x="40" y="5"/>
                      <a:pt x="40" y="5"/>
                      <a:pt x="40" y="5"/>
                    </a:cubicBezTo>
                    <a:cubicBezTo>
                      <a:pt x="40" y="7"/>
                      <a:pt x="40" y="7"/>
                      <a:pt x="40" y="7"/>
                    </a:cubicBezTo>
                    <a:cubicBezTo>
                      <a:pt x="39" y="6"/>
                      <a:pt x="39" y="6"/>
                      <a:pt x="39" y="6"/>
                    </a:cubicBezTo>
                    <a:cubicBezTo>
                      <a:pt x="38" y="6"/>
                      <a:pt x="38" y="6"/>
                      <a:pt x="38" y="6"/>
                    </a:cubicBezTo>
                    <a:cubicBezTo>
                      <a:pt x="38" y="6"/>
                      <a:pt x="38" y="6"/>
                      <a:pt x="37" y="5"/>
                    </a:cubicBezTo>
                    <a:cubicBezTo>
                      <a:pt x="37" y="5"/>
                      <a:pt x="37" y="5"/>
                      <a:pt x="37" y="5"/>
                    </a:cubicBezTo>
                    <a:cubicBezTo>
                      <a:pt x="37" y="6"/>
                      <a:pt x="37" y="7"/>
                      <a:pt x="37" y="8"/>
                    </a:cubicBezTo>
                    <a:cubicBezTo>
                      <a:pt x="36" y="8"/>
                      <a:pt x="36" y="8"/>
                      <a:pt x="36" y="8"/>
                    </a:cubicBezTo>
                    <a:cubicBezTo>
                      <a:pt x="36" y="8"/>
                      <a:pt x="35" y="8"/>
                      <a:pt x="34" y="9"/>
                    </a:cubicBezTo>
                    <a:cubicBezTo>
                      <a:pt x="34" y="9"/>
                      <a:pt x="34" y="9"/>
                      <a:pt x="34" y="9"/>
                    </a:cubicBezTo>
                    <a:cubicBezTo>
                      <a:pt x="34" y="9"/>
                      <a:pt x="33" y="9"/>
                      <a:pt x="33" y="9"/>
                    </a:cubicBezTo>
                    <a:cubicBezTo>
                      <a:pt x="33" y="9"/>
                      <a:pt x="33" y="9"/>
                      <a:pt x="33" y="9"/>
                    </a:cubicBezTo>
                    <a:cubicBezTo>
                      <a:pt x="32" y="10"/>
                      <a:pt x="31" y="10"/>
                      <a:pt x="31" y="10"/>
                    </a:cubicBezTo>
                    <a:cubicBezTo>
                      <a:pt x="31" y="11"/>
                      <a:pt x="31" y="11"/>
                      <a:pt x="32" y="12"/>
                    </a:cubicBezTo>
                    <a:cubicBezTo>
                      <a:pt x="32" y="12"/>
                      <a:pt x="32" y="12"/>
                      <a:pt x="32" y="12"/>
                    </a:cubicBezTo>
                    <a:cubicBezTo>
                      <a:pt x="32" y="12"/>
                      <a:pt x="32" y="12"/>
                      <a:pt x="32" y="12"/>
                    </a:cubicBezTo>
                    <a:cubicBezTo>
                      <a:pt x="33" y="13"/>
                      <a:pt x="33" y="14"/>
                      <a:pt x="33" y="14"/>
                    </a:cubicBezTo>
                    <a:cubicBezTo>
                      <a:pt x="33" y="14"/>
                      <a:pt x="33" y="14"/>
                      <a:pt x="33" y="14"/>
                    </a:cubicBezTo>
                    <a:cubicBezTo>
                      <a:pt x="33" y="15"/>
                      <a:pt x="33" y="15"/>
                      <a:pt x="33" y="16"/>
                    </a:cubicBezTo>
                    <a:cubicBezTo>
                      <a:pt x="33" y="16"/>
                      <a:pt x="33" y="16"/>
                      <a:pt x="33" y="16"/>
                    </a:cubicBezTo>
                    <a:cubicBezTo>
                      <a:pt x="33" y="17"/>
                      <a:pt x="33" y="18"/>
                      <a:pt x="33" y="19"/>
                    </a:cubicBezTo>
                    <a:cubicBezTo>
                      <a:pt x="32" y="21"/>
                      <a:pt x="32" y="21"/>
                      <a:pt x="32" y="21"/>
                    </a:cubicBezTo>
                    <a:cubicBezTo>
                      <a:pt x="28" y="17"/>
                      <a:pt x="28" y="17"/>
                      <a:pt x="28" y="17"/>
                    </a:cubicBezTo>
                    <a:cubicBezTo>
                      <a:pt x="28" y="17"/>
                      <a:pt x="28" y="17"/>
                      <a:pt x="28" y="17"/>
                    </a:cubicBezTo>
                    <a:cubicBezTo>
                      <a:pt x="28" y="17"/>
                      <a:pt x="28" y="17"/>
                      <a:pt x="28" y="17"/>
                    </a:cubicBezTo>
                    <a:cubicBezTo>
                      <a:pt x="27" y="18"/>
                      <a:pt x="27" y="18"/>
                      <a:pt x="27" y="18"/>
                    </a:cubicBezTo>
                    <a:cubicBezTo>
                      <a:pt x="26" y="17"/>
                      <a:pt x="26" y="17"/>
                      <a:pt x="26" y="17"/>
                    </a:cubicBezTo>
                    <a:cubicBezTo>
                      <a:pt x="26" y="17"/>
                      <a:pt x="26" y="17"/>
                      <a:pt x="26" y="17"/>
                    </a:cubicBezTo>
                    <a:cubicBezTo>
                      <a:pt x="25" y="17"/>
                      <a:pt x="25" y="17"/>
                      <a:pt x="25" y="17"/>
                    </a:cubicBezTo>
                    <a:cubicBezTo>
                      <a:pt x="25" y="17"/>
                      <a:pt x="25" y="17"/>
                      <a:pt x="25" y="17"/>
                    </a:cubicBezTo>
                    <a:cubicBezTo>
                      <a:pt x="25" y="17"/>
                      <a:pt x="25" y="17"/>
                      <a:pt x="25" y="17"/>
                    </a:cubicBezTo>
                    <a:cubicBezTo>
                      <a:pt x="24" y="17"/>
                      <a:pt x="24" y="17"/>
                      <a:pt x="24" y="17"/>
                    </a:cubicBezTo>
                    <a:cubicBezTo>
                      <a:pt x="23" y="17"/>
                      <a:pt x="23" y="18"/>
                      <a:pt x="23" y="18"/>
                    </a:cubicBezTo>
                    <a:cubicBezTo>
                      <a:pt x="22" y="18"/>
                      <a:pt x="22" y="18"/>
                      <a:pt x="22" y="18"/>
                    </a:cubicBezTo>
                    <a:cubicBezTo>
                      <a:pt x="22" y="18"/>
                      <a:pt x="21" y="18"/>
                      <a:pt x="21" y="18"/>
                    </a:cubicBezTo>
                    <a:cubicBezTo>
                      <a:pt x="21" y="18"/>
                      <a:pt x="20" y="18"/>
                      <a:pt x="20" y="18"/>
                    </a:cubicBezTo>
                    <a:cubicBezTo>
                      <a:pt x="20" y="18"/>
                      <a:pt x="20" y="18"/>
                      <a:pt x="20" y="18"/>
                    </a:cubicBezTo>
                    <a:cubicBezTo>
                      <a:pt x="19" y="18"/>
                      <a:pt x="19" y="18"/>
                      <a:pt x="19" y="18"/>
                    </a:cubicBezTo>
                    <a:cubicBezTo>
                      <a:pt x="18" y="18"/>
                      <a:pt x="17" y="19"/>
                      <a:pt x="17" y="19"/>
                    </a:cubicBezTo>
                    <a:cubicBezTo>
                      <a:pt x="16" y="20"/>
                      <a:pt x="14" y="20"/>
                      <a:pt x="13" y="21"/>
                    </a:cubicBezTo>
                    <a:cubicBezTo>
                      <a:pt x="12" y="21"/>
                      <a:pt x="12" y="21"/>
                      <a:pt x="12" y="21"/>
                    </a:cubicBezTo>
                    <a:cubicBezTo>
                      <a:pt x="12" y="21"/>
                      <a:pt x="12" y="21"/>
                      <a:pt x="12" y="21"/>
                    </a:cubicBezTo>
                    <a:cubicBezTo>
                      <a:pt x="11" y="21"/>
                      <a:pt x="11" y="21"/>
                      <a:pt x="11" y="21"/>
                    </a:cubicBezTo>
                    <a:cubicBezTo>
                      <a:pt x="11" y="21"/>
                      <a:pt x="11" y="21"/>
                      <a:pt x="11" y="21"/>
                    </a:cubicBezTo>
                    <a:cubicBezTo>
                      <a:pt x="11" y="21"/>
                      <a:pt x="11" y="21"/>
                      <a:pt x="11" y="21"/>
                    </a:cubicBezTo>
                    <a:cubicBezTo>
                      <a:pt x="11" y="21"/>
                      <a:pt x="11" y="21"/>
                      <a:pt x="11" y="21"/>
                    </a:cubicBezTo>
                    <a:cubicBezTo>
                      <a:pt x="10" y="20"/>
                      <a:pt x="10" y="20"/>
                      <a:pt x="10" y="20"/>
                    </a:cubicBezTo>
                    <a:cubicBezTo>
                      <a:pt x="10" y="20"/>
                      <a:pt x="10" y="20"/>
                      <a:pt x="10" y="20"/>
                    </a:cubicBezTo>
                    <a:cubicBezTo>
                      <a:pt x="10" y="20"/>
                      <a:pt x="9" y="19"/>
                      <a:pt x="9" y="19"/>
                    </a:cubicBezTo>
                    <a:cubicBezTo>
                      <a:pt x="9" y="19"/>
                      <a:pt x="9" y="19"/>
                      <a:pt x="9" y="19"/>
                    </a:cubicBezTo>
                    <a:cubicBezTo>
                      <a:pt x="7" y="18"/>
                      <a:pt x="7" y="18"/>
                      <a:pt x="7" y="18"/>
                    </a:cubicBezTo>
                    <a:cubicBezTo>
                      <a:pt x="7" y="20"/>
                      <a:pt x="6" y="21"/>
                      <a:pt x="4" y="22"/>
                    </a:cubicBezTo>
                    <a:cubicBezTo>
                      <a:pt x="0" y="24"/>
                      <a:pt x="0" y="24"/>
                      <a:pt x="0" y="24"/>
                    </a:cubicBezTo>
                    <a:cubicBezTo>
                      <a:pt x="2" y="25"/>
                      <a:pt x="2" y="25"/>
                      <a:pt x="2" y="25"/>
                    </a:cubicBezTo>
                    <a:cubicBezTo>
                      <a:pt x="2" y="25"/>
                      <a:pt x="2" y="25"/>
                      <a:pt x="3" y="25"/>
                    </a:cubicBezTo>
                    <a:cubicBezTo>
                      <a:pt x="3" y="24"/>
                      <a:pt x="4" y="24"/>
                      <a:pt x="5" y="24"/>
                    </a:cubicBezTo>
                    <a:cubicBezTo>
                      <a:pt x="5" y="24"/>
                      <a:pt x="5" y="24"/>
                      <a:pt x="5" y="24"/>
                    </a:cubicBezTo>
                    <a:cubicBezTo>
                      <a:pt x="5" y="24"/>
                      <a:pt x="6" y="24"/>
                      <a:pt x="6" y="24"/>
                    </a:cubicBezTo>
                    <a:cubicBezTo>
                      <a:pt x="6" y="24"/>
                      <a:pt x="6" y="24"/>
                      <a:pt x="6" y="24"/>
                    </a:cubicBezTo>
                    <a:cubicBezTo>
                      <a:pt x="6" y="24"/>
                      <a:pt x="6" y="24"/>
                      <a:pt x="6" y="24"/>
                    </a:cubicBezTo>
                    <a:cubicBezTo>
                      <a:pt x="6" y="24"/>
                      <a:pt x="6" y="24"/>
                      <a:pt x="6" y="24"/>
                    </a:cubicBezTo>
                    <a:cubicBezTo>
                      <a:pt x="6" y="25"/>
                      <a:pt x="6" y="25"/>
                      <a:pt x="7" y="25"/>
                    </a:cubicBezTo>
                    <a:cubicBezTo>
                      <a:pt x="7" y="25"/>
                      <a:pt x="7" y="25"/>
                      <a:pt x="7" y="25"/>
                    </a:cubicBezTo>
                    <a:cubicBezTo>
                      <a:pt x="7" y="25"/>
                      <a:pt x="7" y="25"/>
                      <a:pt x="7" y="25"/>
                    </a:cubicBezTo>
                    <a:cubicBezTo>
                      <a:pt x="7" y="25"/>
                      <a:pt x="7" y="25"/>
                      <a:pt x="7" y="25"/>
                    </a:cubicBezTo>
                    <a:cubicBezTo>
                      <a:pt x="7" y="25"/>
                      <a:pt x="7" y="25"/>
                      <a:pt x="8" y="25"/>
                    </a:cubicBezTo>
                    <a:cubicBezTo>
                      <a:pt x="9" y="26"/>
                      <a:pt x="10" y="26"/>
                      <a:pt x="10"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2" y="25"/>
                      <a:pt x="12" y="24"/>
                      <a:pt x="14" y="24"/>
                    </a:cubicBezTo>
                    <a:cubicBezTo>
                      <a:pt x="18" y="23"/>
                      <a:pt x="18" y="23"/>
                      <a:pt x="18" y="23"/>
                    </a:cubicBezTo>
                    <a:cubicBezTo>
                      <a:pt x="19" y="23"/>
                      <a:pt x="20" y="23"/>
                      <a:pt x="21" y="23"/>
                    </a:cubicBezTo>
                    <a:cubicBezTo>
                      <a:pt x="23" y="22"/>
                      <a:pt x="23" y="22"/>
                      <a:pt x="23" y="22"/>
                    </a:cubicBezTo>
                    <a:cubicBezTo>
                      <a:pt x="23" y="22"/>
                      <a:pt x="23" y="22"/>
                      <a:pt x="23" y="22"/>
                    </a:cubicBezTo>
                    <a:cubicBezTo>
                      <a:pt x="23" y="22"/>
                      <a:pt x="24" y="22"/>
                      <a:pt x="24" y="22"/>
                    </a:cubicBezTo>
                    <a:cubicBezTo>
                      <a:pt x="26" y="23"/>
                      <a:pt x="26" y="23"/>
                      <a:pt x="26" y="23"/>
                    </a:cubicBezTo>
                    <a:cubicBezTo>
                      <a:pt x="25" y="25"/>
                      <a:pt x="25" y="25"/>
                      <a:pt x="25" y="25"/>
                    </a:cubicBezTo>
                    <a:cubicBezTo>
                      <a:pt x="25" y="25"/>
                      <a:pt x="25" y="25"/>
                      <a:pt x="25" y="25"/>
                    </a:cubicBezTo>
                    <a:cubicBezTo>
                      <a:pt x="25" y="25"/>
                      <a:pt x="25" y="25"/>
                      <a:pt x="25" y="25"/>
                    </a:cubicBezTo>
                    <a:cubicBezTo>
                      <a:pt x="25" y="26"/>
                      <a:pt x="26" y="27"/>
                      <a:pt x="27" y="28"/>
                    </a:cubicBezTo>
                    <a:cubicBezTo>
                      <a:pt x="28" y="28"/>
                      <a:pt x="28" y="28"/>
                      <a:pt x="28" y="28"/>
                    </a:cubicBezTo>
                    <a:cubicBezTo>
                      <a:pt x="28" y="25"/>
                      <a:pt x="28" y="25"/>
                      <a:pt x="28" y="25"/>
                    </a:cubicBezTo>
                    <a:cubicBezTo>
                      <a:pt x="29" y="28"/>
                      <a:pt x="29" y="28"/>
                      <a:pt x="29" y="28"/>
                    </a:cubicBezTo>
                    <a:cubicBezTo>
                      <a:pt x="29" y="28"/>
                      <a:pt x="29" y="28"/>
                      <a:pt x="29" y="28"/>
                    </a:cubicBezTo>
                    <a:cubicBezTo>
                      <a:pt x="31" y="28"/>
                      <a:pt x="33" y="29"/>
                      <a:pt x="35" y="29"/>
                    </a:cubicBezTo>
                    <a:cubicBezTo>
                      <a:pt x="36" y="29"/>
                      <a:pt x="37" y="29"/>
                      <a:pt x="38" y="29"/>
                    </a:cubicBezTo>
                    <a:cubicBezTo>
                      <a:pt x="38" y="29"/>
                      <a:pt x="38" y="29"/>
                      <a:pt x="3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2" name="Freeform 3094">
                <a:extLst>
                  <a:ext uri="{FF2B5EF4-FFF2-40B4-BE49-F238E27FC236}">
                    <a16:creationId xmlns:a16="http://schemas.microsoft.com/office/drawing/2014/main" id="{CDBBB782-9354-4383-9EA6-8FE5B44DACA2}"/>
                  </a:ext>
                </a:extLst>
              </p:cNvPr>
              <p:cNvSpPr>
                <a:spLocks/>
              </p:cNvSpPr>
              <p:nvPr/>
            </p:nvSpPr>
            <p:spPr bwMode="auto">
              <a:xfrm>
                <a:off x="3878" y="1563"/>
                <a:ext cx="61" cy="30"/>
              </a:xfrm>
              <a:custGeom>
                <a:avLst/>
                <a:gdLst>
                  <a:gd name="T0" fmla="*/ 20 w 26"/>
                  <a:gd name="T1" fmla="*/ 8 h 13"/>
                  <a:gd name="T2" fmla="*/ 19 w 26"/>
                  <a:gd name="T3" fmla="*/ 6 h 13"/>
                  <a:gd name="T4" fmla="*/ 20 w 26"/>
                  <a:gd name="T5" fmla="*/ 4 h 13"/>
                  <a:gd name="T6" fmla="*/ 21 w 26"/>
                  <a:gd name="T7" fmla="*/ 3 h 13"/>
                  <a:gd name="T8" fmla="*/ 22 w 26"/>
                  <a:gd name="T9" fmla="*/ 3 h 13"/>
                  <a:gd name="T10" fmla="*/ 23 w 26"/>
                  <a:gd name="T11" fmla="*/ 3 h 13"/>
                  <a:gd name="T12" fmla="*/ 24 w 26"/>
                  <a:gd name="T13" fmla="*/ 2 h 13"/>
                  <a:gd name="T14" fmla="*/ 25 w 26"/>
                  <a:gd name="T15" fmla="*/ 1 h 13"/>
                  <a:gd name="T16" fmla="*/ 26 w 26"/>
                  <a:gd name="T17" fmla="*/ 1 h 13"/>
                  <a:gd name="T18" fmla="*/ 23 w 26"/>
                  <a:gd name="T19" fmla="*/ 0 h 13"/>
                  <a:gd name="T20" fmla="*/ 22 w 26"/>
                  <a:gd name="T21" fmla="*/ 0 h 13"/>
                  <a:gd name="T22" fmla="*/ 21 w 26"/>
                  <a:gd name="T23" fmla="*/ 0 h 13"/>
                  <a:gd name="T24" fmla="*/ 20 w 26"/>
                  <a:gd name="T25" fmla="*/ 1 h 13"/>
                  <a:gd name="T26" fmla="*/ 18 w 26"/>
                  <a:gd name="T27" fmla="*/ 0 h 13"/>
                  <a:gd name="T28" fmla="*/ 16 w 26"/>
                  <a:gd name="T29" fmla="*/ 0 h 13"/>
                  <a:gd name="T30" fmla="*/ 15 w 26"/>
                  <a:gd name="T31" fmla="*/ 0 h 13"/>
                  <a:gd name="T32" fmla="*/ 14 w 26"/>
                  <a:gd name="T33" fmla="*/ 1 h 13"/>
                  <a:gd name="T34" fmla="*/ 12 w 26"/>
                  <a:gd name="T35" fmla="*/ 2 h 13"/>
                  <a:gd name="T36" fmla="*/ 10 w 26"/>
                  <a:gd name="T37" fmla="*/ 4 h 13"/>
                  <a:gd name="T38" fmla="*/ 8 w 26"/>
                  <a:gd name="T39" fmla="*/ 3 h 13"/>
                  <a:gd name="T40" fmla="*/ 7 w 26"/>
                  <a:gd name="T41" fmla="*/ 3 h 13"/>
                  <a:gd name="T42" fmla="*/ 7 w 26"/>
                  <a:gd name="T43" fmla="*/ 3 h 13"/>
                  <a:gd name="T44" fmla="*/ 4 w 26"/>
                  <a:gd name="T45" fmla="*/ 3 h 13"/>
                  <a:gd name="T46" fmla="*/ 4 w 26"/>
                  <a:gd name="T47" fmla="*/ 2 h 13"/>
                  <a:gd name="T48" fmla="*/ 2 w 26"/>
                  <a:gd name="T49" fmla="*/ 2 h 13"/>
                  <a:gd name="T50" fmla="*/ 0 w 26"/>
                  <a:gd name="T51" fmla="*/ 4 h 13"/>
                  <a:gd name="T52" fmla="*/ 3 w 26"/>
                  <a:gd name="T53" fmla="*/ 5 h 13"/>
                  <a:gd name="T54" fmla="*/ 1 w 26"/>
                  <a:gd name="T55" fmla="*/ 6 h 13"/>
                  <a:gd name="T56" fmla="*/ 1 w 26"/>
                  <a:gd name="T57" fmla="*/ 7 h 13"/>
                  <a:gd name="T58" fmla="*/ 1 w 26"/>
                  <a:gd name="T59" fmla="*/ 9 h 13"/>
                  <a:gd name="T60" fmla="*/ 1 w 26"/>
                  <a:gd name="T61" fmla="*/ 9 h 13"/>
                  <a:gd name="T62" fmla="*/ 3 w 26"/>
                  <a:gd name="T63" fmla="*/ 10 h 13"/>
                  <a:gd name="T64" fmla="*/ 4 w 26"/>
                  <a:gd name="T65" fmla="*/ 11 h 13"/>
                  <a:gd name="T66" fmla="*/ 4 w 26"/>
                  <a:gd name="T67" fmla="*/ 12 h 13"/>
                  <a:gd name="T68" fmla="*/ 9 w 26"/>
                  <a:gd name="T69" fmla="*/ 11 h 13"/>
                  <a:gd name="T70" fmla="*/ 11 w 26"/>
                  <a:gd name="T71" fmla="*/ 11 h 13"/>
                  <a:gd name="T72" fmla="*/ 11 w 26"/>
                  <a:gd name="T73" fmla="*/ 12 h 13"/>
                  <a:gd name="T74" fmla="*/ 13 w 26"/>
                  <a:gd name="T75" fmla="*/ 12 h 13"/>
                  <a:gd name="T76" fmla="*/ 13 w 26"/>
                  <a:gd name="T77" fmla="*/ 12 h 13"/>
                  <a:gd name="T78" fmla="*/ 14 w 26"/>
                  <a:gd name="T79" fmla="*/ 13 h 13"/>
                  <a:gd name="T80" fmla="*/ 16 w 26"/>
                  <a:gd name="T81" fmla="*/ 13 h 13"/>
                  <a:gd name="T82" fmla="*/ 16 w 26"/>
                  <a:gd name="T83" fmla="*/ 12 h 13"/>
                  <a:gd name="T84" fmla="*/ 16 w 26"/>
                  <a:gd name="T85"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13">
                    <a:moveTo>
                      <a:pt x="18" y="9"/>
                    </a:moveTo>
                    <a:cubicBezTo>
                      <a:pt x="19" y="9"/>
                      <a:pt x="19" y="8"/>
                      <a:pt x="20" y="8"/>
                    </a:cubicBezTo>
                    <a:cubicBezTo>
                      <a:pt x="20" y="8"/>
                      <a:pt x="20" y="7"/>
                      <a:pt x="20" y="7"/>
                    </a:cubicBezTo>
                    <a:cubicBezTo>
                      <a:pt x="20" y="7"/>
                      <a:pt x="19" y="7"/>
                      <a:pt x="19" y="6"/>
                    </a:cubicBezTo>
                    <a:cubicBezTo>
                      <a:pt x="19" y="6"/>
                      <a:pt x="19" y="5"/>
                      <a:pt x="20" y="4"/>
                    </a:cubicBezTo>
                    <a:cubicBezTo>
                      <a:pt x="20" y="4"/>
                      <a:pt x="20" y="4"/>
                      <a:pt x="20" y="4"/>
                    </a:cubicBezTo>
                    <a:cubicBezTo>
                      <a:pt x="20" y="4"/>
                      <a:pt x="20" y="4"/>
                      <a:pt x="21" y="3"/>
                    </a:cubicBezTo>
                    <a:cubicBezTo>
                      <a:pt x="21" y="3"/>
                      <a:pt x="21" y="3"/>
                      <a:pt x="21" y="3"/>
                    </a:cubicBezTo>
                    <a:cubicBezTo>
                      <a:pt x="21" y="3"/>
                      <a:pt x="21" y="3"/>
                      <a:pt x="22" y="3"/>
                    </a:cubicBezTo>
                    <a:cubicBezTo>
                      <a:pt x="22" y="3"/>
                      <a:pt x="22" y="3"/>
                      <a:pt x="22" y="3"/>
                    </a:cubicBezTo>
                    <a:cubicBezTo>
                      <a:pt x="22" y="3"/>
                      <a:pt x="22" y="3"/>
                      <a:pt x="22" y="3"/>
                    </a:cubicBezTo>
                    <a:cubicBezTo>
                      <a:pt x="23" y="3"/>
                      <a:pt x="23" y="3"/>
                      <a:pt x="23" y="3"/>
                    </a:cubicBezTo>
                    <a:cubicBezTo>
                      <a:pt x="23" y="3"/>
                      <a:pt x="24" y="3"/>
                      <a:pt x="24" y="3"/>
                    </a:cubicBezTo>
                    <a:cubicBezTo>
                      <a:pt x="24" y="3"/>
                      <a:pt x="24" y="2"/>
                      <a:pt x="24" y="2"/>
                    </a:cubicBezTo>
                    <a:cubicBezTo>
                      <a:pt x="24" y="2"/>
                      <a:pt x="24" y="2"/>
                      <a:pt x="24" y="2"/>
                    </a:cubicBezTo>
                    <a:cubicBezTo>
                      <a:pt x="24" y="2"/>
                      <a:pt x="24" y="2"/>
                      <a:pt x="25" y="1"/>
                    </a:cubicBezTo>
                    <a:cubicBezTo>
                      <a:pt x="25" y="1"/>
                      <a:pt x="25" y="1"/>
                      <a:pt x="26" y="1"/>
                    </a:cubicBezTo>
                    <a:cubicBezTo>
                      <a:pt x="26" y="1"/>
                      <a:pt x="26" y="1"/>
                      <a:pt x="26" y="1"/>
                    </a:cubicBezTo>
                    <a:cubicBezTo>
                      <a:pt x="24" y="0"/>
                      <a:pt x="24" y="0"/>
                      <a:pt x="24" y="0"/>
                    </a:cubicBezTo>
                    <a:cubicBezTo>
                      <a:pt x="24" y="0"/>
                      <a:pt x="24" y="0"/>
                      <a:pt x="23" y="0"/>
                    </a:cubicBezTo>
                    <a:cubicBezTo>
                      <a:pt x="23" y="0"/>
                      <a:pt x="23" y="0"/>
                      <a:pt x="23" y="0"/>
                    </a:cubicBezTo>
                    <a:cubicBezTo>
                      <a:pt x="23" y="0"/>
                      <a:pt x="22" y="0"/>
                      <a:pt x="22" y="0"/>
                    </a:cubicBezTo>
                    <a:cubicBezTo>
                      <a:pt x="22" y="0"/>
                      <a:pt x="22" y="0"/>
                      <a:pt x="22" y="0"/>
                    </a:cubicBezTo>
                    <a:cubicBezTo>
                      <a:pt x="21" y="0"/>
                      <a:pt x="21" y="0"/>
                      <a:pt x="21" y="0"/>
                    </a:cubicBezTo>
                    <a:cubicBezTo>
                      <a:pt x="21" y="0"/>
                      <a:pt x="21" y="0"/>
                      <a:pt x="20" y="0"/>
                    </a:cubicBezTo>
                    <a:cubicBezTo>
                      <a:pt x="20" y="1"/>
                      <a:pt x="20" y="1"/>
                      <a:pt x="20" y="1"/>
                    </a:cubicBezTo>
                    <a:cubicBezTo>
                      <a:pt x="19" y="1"/>
                      <a:pt x="19" y="1"/>
                      <a:pt x="19" y="1"/>
                    </a:cubicBezTo>
                    <a:cubicBezTo>
                      <a:pt x="19" y="1"/>
                      <a:pt x="18" y="1"/>
                      <a:pt x="18" y="0"/>
                    </a:cubicBezTo>
                    <a:cubicBezTo>
                      <a:pt x="18" y="0"/>
                      <a:pt x="17" y="0"/>
                      <a:pt x="17" y="0"/>
                    </a:cubicBezTo>
                    <a:cubicBezTo>
                      <a:pt x="17" y="0"/>
                      <a:pt x="16" y="0"/>
                      <a:pt x="16" y="0"/>
                    </a:cubicBezTo>
                    <a:cubicBezTo>
                      <a:pt x="16" y="0"/>
                      <a:pt x="16" y="0"/>
                      <a:pt x="15" y="0"/>
                    </a:cubicBezTo>
                    <a:cubicBezTo>
                      <a:pt x="15" y="0"/>
                      <a:pt x="15" y="0"/>
                      <a:pt x="15" y="0"/>
                    </a:cubicBezTo>
                    <a:cubicBezTo>
                      <a:pt x="14" y="1"/>
                      <a:pt x="14" y="1"/>
                      <a:pt x="14" y="1"/>
                    </a:cubicBezTo>
                    <a:cubicBezTo>
                      <a:pt x="14" y="1"/>
                      <a:pt x="14" y="1"/>
                      <a:pt x="14" y="1"/>
                    </a:cubicBezTo>
                    <a:cubicBezTo>
                      <a:pt x="14" y="1"/>
                      <a:pt x="13" y="1"/>
                      <a:pt x="13" y="2"/>
                    </a:cubicBezTo>
                    <a:cubicBezTo>
                      <a:pt x="13" y="2"/>
                      <a:pt x="13" y="2"/>
                      <a:pt x="12" y="2"/>
                    </a:cubicBezTo>
                    <a:cubicBezTo>
                      <a:pt x="11" y="3"/>
                      <a:pt x="10" y="4"/>
                      <a:pt x="10" y="4"/>
                    </a:cubicBezTo>
                    <a:cubicBezTo>
                      <a:pt x="10" y="4"/>
                      <a:pt x="10" y="4"/>
                      <a:pt x="10" y="4"/>
                    </a:cubicBezTo>
                    <a:cubicBezTo>
                      <a:pt x="10" y="4"/>
                      <a:pt x="9" y="4"/>
                      <a:pt x="9" y="4"/>
                    </a:cubicBezTo>
                    <a:cubicBezTo>
                      <a:pt x="9" y="4"/>
                      <a:pt x="8" y="3"/>
                      <a:pt x="8" y="3"/>
                    </a:cubicBezTo>
                    <a:cubicBezTo>
                      <a:pt x="8" y="3"/>
                      <a:pt x="8" y="3"/>
                      <a:pt x="8" y="3"/>
                    </a:cubicBezTo>
                    <a:cubicBezTo>
                      <a:pt x="7" y="3"/>
                      <a:pt x="7" y="3"/>
                      <a:pt x="7" y="3"/>
                    </a:cubicBezTo>
                    <a:cubicBezTo>
                      <a:pt x="7" y="3"/>
                      <a:pt x="7" y="3"/>
                      <a:pt x="7" y="3"/>
                    </a:cubicBezTo>
                    <a:cubicBezTo>
                      <a:pt x="7" y="3"/>
                      <a:pt x="7" y="3"/>
                      <a:pt x="7" y="3"/>
                    </a:cubicBezTo>
                    <a:cubicBezTo>
                      <a:pt x="6" y="3"/>
                      <a:pt x="6" y="3"/>
                      <a:pt x="5" y="3"/>
                    </a:cubicBezTo>
                    <a:cubicBezTo>
                      <a:pt x="5" y="3"/>
                      <a:pt x="5" y="3"/>
                      <a:pt x="4" y="3"/>
                    </a:cubicBezTo>
                    <a:cubicBezTo>
                      <a:pt x="4" y="3"/>
                      <a:pt x="4" y="3"/>
                      <a:pt x="4" y="3"/>
                    </a:cubicBezTo>
                    <a:cubicBezTo>
                      <a:pt x="4" y="2"/>
                      <a:pt x="4" y="2"/>
                      <a:pt x="4" y="2"/>
                    </a:cubicBezTo>
                    <a:cubicBezTo>
                      <a:pt x="3" y="2"/>
                      <a:pt x="3" y="2"/>
                      <a:pt x="3" y="2"/>
                    </a:cubicBezTo>
                    <a:cubicBezTo>
                      <a:pt x="2" y="2"/>
                      <a:pt x="2" y="2"/>
                      <a:pt x="2" y="2"/>
                    </a:cubicBezTo>
                    <a:cubicBezTo>
                      <a:pt x="2" y="2"/>
                      <a:pt x="2" y="2"/>
                      <a:pt x="2" y="2"/>
                    </a:cubicBezTo>
                    <a:cubicBezTo>
                      <a:pt x="1" y="3"/>
                      <a:pt x="1" y="3"/>
                      <a:pt x="0" y="4"/>
                    </a:cubicBezTo>
                    <a:cubicBezTo>
                      <a:pt x="1" y="4"/>
                      <a:pt x="1" y="4"/>
                      <a:pt x="1" y="4"/>
                    </a:cubicBezTo>
                    <a:cubicBezTo>
                      <a:pt x="3" y="5"/>
                      <a:pt x="3" y="5"/>
                      <a:pt x="3" y="5"/>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8"/>
                      <a:pt x="1" y="8"/>
                      <a:pt x="1" y="9"/>
                    </a:cubicBezTo>
                    <a:cubicBezTo>
                      <a:pt x="1" y="9"/>
                      <a:pt x="1" y="9"/>
                      <a:pt x="1" y="9"/>
                    </a:cubicBezTo>
                    <a:cubicBezTo>
                      <a:pt x="1" y="9"/>
                      <a:pt x="1" y="9"/>
                      <a:pt x="1" y="9"/>
                    </a:cubicBezTo>
                    <a:cubicBezTo>
                      <a:pt x="1" y="9"/>
                      <a:pt x="2" y="9"/>
                      <a:pt x="2" y="10"/>
                    </a:cubicBezTo>
                    <a:cubicBezTo>
                      <a:pt x="2" y="10"/>
                      <a:pt x="3" y="10"/>
                      <a:pt x="3" y="10"/>
                    </a:cubicBezTo>
                    <a:cubicBezTo>
                      <a:pt x="3" y="11"/>
                      <a:pt x="3" y="11"/>
                      <a:pt x="3" y="11"/>
                    </a:cubicBezTo>
                    <a:cubicBezTo>
                      <a:pt x="4" y="11"/>
                      <a:pt x="4" y="11"/>
                      <a:pt x="4" y="11"/>
                    </a:cubicBezTo>
                    <a:cubicBezTo>
                      <a:pt x="4" y="12"/>
                      <a:pt x="4" y="12"/>
                      <a:pt x="4" y="12"/>
                    </a:cubicBezTo>
                    <a:cubicBezTo>
                      <a:pt x="4" y="12"/>
                      <a:pt x="4" y="12"/>
                      <a:pt x="4" y="12"/>
                    </a:cubicBezTo>
                    <a:cubicBezTo>
                      <a:pt x="4" y="13"/>
                      <a:pt x="5" y="13"/>
                      <a:pt x="5" y="13"/>
                    </a:cubicBezTo>
                    <a:cubicBezTo>
                      <a:pt x="6" y="13"/>
                      <a:pt x="8" y="12"/>
                      <a:pt x="9" y="11"/>
                    </a:cubicBezTo>
                    <a:cubicBezTo>
                      <a:pt x="9" y="10"/>
                      <a:pt x="9" y="10"/>
                      <a:pt x="9" y="10"/>
                    </a:cubicBezTo>
                    <a:cubicBezTo>
                      <a:pt x="11" y="11"/>
                      <a:pt x="11" y="11"/>
                      <a:pt x="11" y="11"/>
                    </a:cubicBezTo>
                    <a:cubicBezTo>
                      <a:pt x="11" y="11"/>
                      <a:pt x="11" y="11"/>
                      <a:pt x="11" y="11"/>
                    </a:cubicBezTo>
                    <a:cubicBezTo>
                      <a:pt x="11" y="12"/>
                      <a:pt x="11" y="12"/>
                      <a:pt x="11" y="12"/>
                    </a:cubicBezTo>
                    <a:cubicBezTo>
                      <a:pt x="12" y="12"/>
                      <a:pt x="12" y="12"/>
                      <a:pt x="12" y="12"/>
                    </a:cubicBezTo>
                    <a:cubicBezTo>
                      <a:pt x="13" y="12"/>
                      <a:pt x="13" y="12"/>
                      <a:pt x="13" y="12"/>
                    </a:cubicBezTo>
                    <a:cubicBezTo>
                      <a:pt x="13" y="12"/>
                      <a:pt x="13" y="12"/>
                      <a:pt x="13" y="12"/>
                    </a:cubicBezTo>
                    <a:cubicBezTo>
                      <a:pt x="13" y="12"/>
                      <a:pt x="13" y="12"/>
                      <a:pt x="13" y="12"/>
                    </a:cubicBezTo>
                    <a:cubicBezTo>
                      <a:pt x="14" y="12"/>
                      <a:pt x="14" y="12"/>
                      <a:pt x="14" y="13"/>
                    </a:cubicBezTo>
                    <a:cubicBezTo>
                      <a:pt x="14" y="13"/>
                      <a:pt x="14" y="13"/>
                      <a:pt x="14" y="13"/>
                    </a:cubicBezTo>
                    <a:cubicBezTo>
                      <a:pt x="15" y="13"/>
                      <a:pt x="15" y="13"/>
                      <a:pt x="16" y="13"/>
                    </a:cubicBezTo>
                    <a:cubicBezTo>
                      <a:pt x="16" y="13"/>
                      <a:pt x="16" y="13"/>
                      <a:pt x="16" y="13"/>
                    </a:cubicBezTo>
                    <a:cubicBezTo>
                      <a:pt x="16" y="13"/>
                      <a:pt x="16" y="13"/>
                      <a:pt x="16" y="13"/>
                    </a:cubicBezTo>
                    <a:cubicBezTo>
                      <a:pt x="16" y="12"/>
                      <a:pt x="16" y="12"/>
                      <a:pt x="16" y="12"/>
                    </a:cubicBezTo>
                    <a:cubicBezTo>
                      <a:pt x="14" y="11"/>
                      <a:pt x="14" y="11"/>
                      <a:pt x="14" y="11"/>
                    </a:cubicBezTo>
                    <a:cubicBezTo>
                      <a:pt x="16" y="10"/>
                      <a:pt x="16" y="10"/>
                      <a:pt x="16" y="10"/>
                    </a:cubicBezTo>
                    <a:cubicBezTo>
                      <a:pt x="17" y="10"/>
                      <a:pt x="17" y="9"/>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3" name="Freeform 3095">
                <a:extLst>
                  <a:ext uri="{FF2B5EF4-FFF2-40B4-BE49-F238E27FC236}">
                    <a16:creationId xmlns:a16="http://schemas.microsoft.com/office/drawing/2014/main" id="{3EFEAF36-2387-4B09-9870-4220ACB7E5B8}"/>
                  </a:ext>
                </a:extLst>
              </p:cNvPr>
              <p:cNvSpPr>
                <a:spLocks/>
              </p:cNvSpPr>
              <p:nvPr/>
            </p:nvSpPr>
            <p:spPr bwMode="auto">
              <a:xfrm>
                <a:off x="3939" y="1558"/>
                <a:ext cx="3" cy="5"/>
              </a:xfrm>
              <a:custGeom>
                <a:avLst/>
                <a:gdLst>
                  <a:gd name="T0" fmla="*/ 0 w 1"/>
                  <a:gd name="T1" fmla="*/ 2 h 2"/>
                  <a:gd name="T2" fmla="*/ 1 w 1"/>
                  <a:gd name="T3" fmla="*/ 1 h 2"/>
                  <a:gd name="T4" fmla="*/ 1 w 1"/>
                  <a:gd name="T5" fmla="*/ 1 h 2"/>
                  <a:gd name="T6" fmla="*/ 1 w 1"/>
                  <a:gd name="T7" fmla="*/ 1 h 2"/>
                  <a:gd name="T8" fmla="*/ 0 w 1"/>
                  <a:gd name="T9" fmla="*/ 0 h 2"/>
                  <a:gd name="T10" fmla="*/ 0 w 1"/>
                  <a:gd name="T11" fmla="*/ 0 h 2"/>
                  <a:gd name="T12" fmla="*/ 0 w 1"/>
                  <a:gd name="T13" fmla="*/ 0 h 2"/>
                  <a:gd name="T14" fmla="*/ 0 w 1"/>
                  <a:gd name="T15" fmla="*/ 0 h 2"/>
                  <a:gd name="T16" fmla="*/ 0 w 1"/>
                  <a:gd name="T17" fmla="*/ 0 h 2"/>
                  <a:gd name="T18" fmla="*/ 0 w 1"/>
                  <a:gd name="T19" fmla="*/ 1 h 2"/>
                  <a:gd name="T20" fmla="*/ 0 w 1"/>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
                    <a:moveTo>
                      <a:pt x="0" y="2"/>
                    </a:moveTo>
                    <a:cubicBezTo>
                      <a:pt x="0" y="2"/>
                      <a:pt x="1" y="2"/>
                      <a:pt x="1" y="1"/>
                    </a:cubicBezTo>
                    <a:cubicBezTo>
                      <a:pt x="1" y="1"/>
                      <a:pt x="1" y="1"/>
                      <a:pt x="1" y="1"/>
                    </a:cubicBezTo>
                    <a:cubicBezTo>
                      <a:pt x="1" y="1"/>
                      <a:pt x="1" y="1"/>
                      <a:pt x="1" y="1"/>
                    </a:cubicBezTo>
                    <a:cubicBezTo>
                      <a:pt x="1" y="1"/>
                      <a:pt x="1"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1"/>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4" name="Freeform 3096">
                <a:extLst>
                  <a:ext uri="{FF2B5EF4-FFF2-40B4-BE49-F238E27FC236}">
                    <a16:creationId xmlns:a16="http://schemas.microsoft.com/office/drawing/2014/main" id="{44736E5D-9C4F-4D81-AAE9-7D2E216734BD}"/>
                  </a:ext>
                </a:extLst>
              </p:cNvPr>
              <p:cNvSpPr>
                <a:spLocks/>
              </p:cNvSpPr>
              <p:nvPr/>
            </p:nvSpPr>
            <p:spPr bwMode="auto">
              <a:xfrm>
                <a:off x="4005" y="1608"/>
                <a:ext cx="3" cy="2"/>
              </a:xfrm>
              <a:custGeom>
                <a:avLst/>
                <a:gdLst>
                  <a:gd name="T0" fmla="*/ 0 w 1"/>
                  <a:gd name="T1" fmla="*/ 1 h 1"/>
                  <a:gd name="T2" fmla="*/ 1 w 1"/>
                  <a:gd name="T3" fmla="*/ 1 h 1"/>
                  <a:gd name="T4" fmla="*/ 1 w 1"/>
                  <a:gd name="T5" fmla="*/ 1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1"/>
                      <a:pt x="1" y="1"/>
                      <a:pt x="1" y="1"/>
                    </a:cubicBezTo>
                    <a:cubicBezTo>
                      <a:pt x="1" y="1"/>
                      <a:pt x="1" y="0"/>
                      <a:pt x="1"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5" name="Freeform 3097">
                <a:extLst>
                  <a:ext uri="{FF2B5EF4-FFF2-40B4-BE49-F238E27FC236}">
                    <a16:creationId xmlns:a16="http://schemas.microsoft.com/office/drawing/2014/main" id="{5C954AE5-D526-4C80-8B69-29342D6FA353}"/>
                  </a:ext>
                </a:extLst>
              </p:cNvPr>
              <p:cNvSpPr>
                <a:spLocks/>
              </p:cNvSpPr>
              <p:nvPr/>
            </p:nvSpPr>
            <p:spPr bwMode="auto">
              <a:xfrm>
                <a:off x="4010" y="160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6" name="Freeform 3098">
                <a:extLst>
                  <a:ext uri="{FF2B5EF4-FFF2-40B4-BE49-F238E27FC236}">
                    <a16:creationId xmlns:a16="http://schemas.microsoft.com/office/drawing/2014/main" id="{E865BAED-E62C-47B8-8F00-FFF282CD3563}"/>
                  </a:ext>
                </a:extLst>
              </p:cNvPr>
              <p:cNvSpPr>
                <a:spLocks/>
              </p:cNvSpPr>
              <p:nvPr/>
            </p:nvSpPr>
            <p:spPr bwMode="auto">
              <a:xfrm>
                <a:off x="3875" y="1567"/>
                <a:ext cx="135" cy="102"/>
              </a:xfrm>
              <a:custGeom>
                <a:avLst/>
                <a:gdLst>
                  <a:gd name="T0" fmla="*/ 38 w 57"/>
                  <a:gd name="T1" fmla="*/ 38 h 43"/>
                  <a:gd name="T2" fmla="*/ 31 w 57"/>
                  <a:gd name="T3" fmla="*/ 33 h 43"/>
                  <a:gd name="T4" fmla="*/ 28 w 57"/>
                  <a:gd name="T5" fmla="*/ 30 h 43"/>
                  <a:gd name="T6" fmla="*/ 26 w 57"/>
                  <a:gd name="T7" fmla="*/ 27 h 43"/>
                  <a:gd name="T8" fmla="*/ 25 w 57"/>
                  <a:gd name="T9" fmla="*/ 23 h 43"/>
                  <a:gd name="T10" fmla="*/ 22 w 57"/>
                  <a:gd name="T11" fmla="*/ 22 h 43"/>
                  <a:gd name="T12" fmla="*/ 22 w 57"/>
                  <a:gd name="T13" fmla="*/ 18 h 43"/>
                  <a:gd name="T14" fmla="*/ 24 w 57"/>
                  <a:gd name="T15" fmla="*/ 14 h 43"/>
                  <a:gd name="T16" fmla="*/ 29 w 57"/>
                  <a:gd name="T17" fmla="*/ 16 h 43"/>
                  <a:gd name="T18" fmla="*/ 31 w 57"/>
                  <a:gd name="T19" fmla="*/ 14 h 43"/>
                  <a:gd name="T20" fmla="*/ 34 w 57"/>
                  <a:gd name="T21" fmla="*/ 14 h 43"/>
                  <a:gd name="T22" fmla="*/ 35 w 57"/>
                  <a:gd name="T23" fmla="*/ 14 h 43"/>
                  <a:gd name="T24" fmla="*/ 36 w 57"/>
                  <a:gd name="T25" fmla="*/ 14 h 43"/>
                  <a:gd name="T26" fmla="*/ 50 w 57"/>
                  <a:gd name="T27" fmla="*/ 16 h 43"/>
                  <a:gd name="T28" fmla="*/ 56 w 57"/>
                  <a:gd name="T29" fmla="*/ 17 h 43"/>
                  <a:gd name="T30" fmla="*/ 57 w 57"/>
                  <a:gd name="T31" fmla="*/ 15 h 43"/>
                  <a:gd name="T32" fmla="*/ 54 w 57"/>
                  <a:gd name="T33" fmla="*/ 10 h 43"/>
                  <a:gd name="T34" fmla="*/ 52 w 57"/>
                  <a:gd name="T35" fmla="*/ 9 h 43"/>
                  <a:gd name="T36" fmla="*/ 46 w 57"/>
                  <a:gd name="T37" fmla="*/ 9 h 43"/>
                  <a:gd name="T38" fmla="*/ 40 w 57"/>
                  <a:gd name="T39" fmla="*/ 7 h 43"/>
                  <a:gd name="T40" fmla="*/ 40 w 57"/>
                  <a:gd name="T41" fmla="*/ 7 h 43"/>
                  <a:gd name="T42" fmla="*/ 31 w 57"/>
                  <a:gd name="T43" fmla="*/ 0 h 43"/>
                  <a:gd name="T44" fmla="*/ 29 w 57"/>
                  <a:gd name="T45" fmla="*/ 0 h 43"/>
                  <a:gd name="T46" fmla="*/ 28 w 57"/>
                  <a:gd name="T47" fmla="*/ 2 h 43"/>
                  <a:gd name="T48" fmla="*/ 27 w 57"/>
                  <a:gd name="T49" fmla="*/ 2 h 43"/>
                  <a:gd name="T50" fmla="*/ 24 w 57"/>
                  <a:gd name="T51" fmla="*/ 3 h 43"/>
                  <a:gd name="T52" fmla="*/ 23 w 57"/>
                  <a:gd name="T53" fmla="*/ 4 h 43"/>
                  <a:gd name="T54" fmla="*/ 24 w 57"/>
                  <a:gd name="T55" fmla="*/ 5 h 43"/>
                  <a:gd name="T56" fmla="*/ 20 w 57"/>
                  <a:gd name="T57" fmla="*/ 9 h 43"/>
                  <a:gd name="T58" fmla="*/ 19 w 57"/>
                  <a:gd name="T59" fmla="*/ 11 h 43"/>
                  <a:gd name="T60" fmla="*/ 18 w 57"/>
                  <a:gd name="T61" fmla="*/ 13 h 43"/>
                  <a:gd name="T62" fmla="*/ 17 w 57"/>
                  <a:gd name="T63" fmla="*/ 14 h 43"/>
                  <a:gd name="T64" fmla="*/ 16 w 57"/>
                  <a:gd name="T65" fmla="*/ 13 h 43"/>
                  <a:gd name="T66" fmla="*/ 11 w 57"/>
                  <a:gd name="T67" fmla="*/ 12 h 43"/>
                  <a:gd name="T68" fmla="*/ 1 w 57"/>
                  <a:gd name="T69" fmla="*/ 14 h 43"/>
                  <a:gd name="T70" fmla="*/ 1 w 57"/>
                  <a:gd name="T71" fmla="*/ 15 h 43"/>
                  <a:gd name="T72" fmla="*/ 3 w 57"/>
                  <a:gd name="T73" fmla="*/ 20 h 43"/>
                  <a:gd name="T74" fmla="*/ 8 w 57"/>
                  <a:gd name="T75" fmla="*/ 14 h 43"/>
                  <a:gd name="T76" fmla="*/ 16 w 57"/>
                  <a:gd name="T77" fmla="*/ 25 h 43"/>
                  <a:gd name="T78" fmla="*/ 17 w 57"/>
                  <a:gd name="T79" fmla="*/ 29 h 43"/>
                  <a:gd name="T80" fmla="*/ 27 w 57"/>
                  <a:gd name="T81" fmla="*/ 37 h 43"/>
                  <a:gd name="T82" fmla="*/ 34 w 57"/>
                  <a:gd name="T83" fmla="*/ 39 h 43"/>
                  <a:gd name="T84" fmla="*/ 40 w 57"/>
                  <a:gd name="T8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 h="43">
                    <a:moveTo>
                      <a:pt x="40" y="43"/>
                    </a:moveTo>
                    <a:cubicBezTo>
                      <a:pt x="40" y="43"/>
                      <a:pt x="39" y="42"/>
                      <a:pt x="39" y="42"/>
                    </a:cubicBezTo>
                    <a:cubicBezTo>
                      <a:pt x="38" y="38"/>
                      <a:pt x="38" y="38"/>
                      <a:pt x="38" y="38"/>
                    </a:cubicBezTo>
                    <a:cubicBezTo>
                      <a:pt x="37" y="38"/>
                      <a:pt x="36" y="37"/>
                      <a:pt x="36" y="37"/>
                    </a:cubicBezTo>
                    <a:cubicBezTo>
                      <a:pt x="35" y="36"/>
                      <a:pt x="35" y="36"/>
                      <a:pt x="35" y="36"/>
                    </a:cubicBezTo>
                    <a:cubicBezTo>
                      <a:pt x="34" y="35"/>
                      <a:pt x="32" y="34"/>
                      <a:pt x="31" y="33"/>
                    </a:cubicBezTo>
                    <a:cubicBezTo>
                      <a:pt x="31" y="33"/>
                      <a:pt x="31" y="33"/>
                      <a:pt x="31" y="33"/>
                    </a:cubicBezTo>
                    <a:cubicBezTo>
                      <a:pt x="30" y="32"/>
                      <a:pt x="29" y="31"/>
                      <a:pt x="29" y="31"/>
                    </a:cubicBezTo>
                    <a:cubicBezTo>
                      <a:pt x="28" y="30"/>
                      <a:pt x="28" y="30"/>
                      <a:pt x="28" y="30"/>
                    </a:cubicBezTo>
                    <a:cubicBezTo>
                      <a:pt x="27" y="29"/>
                      <a:pt x="27" y="28"/>
                      <a:pt x="26" y="27"/>
                    </a:cubicBezTo>
                    <a:cubicBezTo>
                      <a:pt x="26" y="27"/>
                      <a:pt x="26" y="27"/>
                      <a:pt x="26" y="27"/>
                    </a:cubicBezTo>
                    <a:cubicBezTo>
                      <a:pt x="26" y="27"/>
                      <a:pt x="26" y="27"/>
                      <a:pt x="26" y="27"/>
                    </a:cubicBezTo>
                    <a:cubicBezTo>
                      <a:pt x="26" y="26"/>
                      <a:pt x="26" y="26"/>
                      <a:pt x="26" y="26"/>
                    </a:cubicBezTo>
                    <a:cubicBezTo>
                      <a:pt x="25" y="25"/>
                      <a:pt x="25" y="24"/>
                      <a:pt x="25" y="24"/>
                    </a:cubicBezTo>
                    <a:cubicBezTo>
                      <a:pt x="25" y="24"/>
                      <a:pt x="25" y="23"/>
                      <a:pt x="25" y="23"/>
                    </a:cubicBezTo>
                    <a:cubicBezTo>
                      <a:pt x="24" y="23"/>
                      <a:pt x="24" y="23"/>
                      <a:pt x="24" y="23"/>
                    </a:cubicBezTo>
                    <a:cubicBezTo>
                      <a:pt x="24" y="23"/>
                      <a:pt x="23" y="23"/>
                      <a:pt x="23" y="23"/>
                    </a:cubicBezTo>
                    <a:cubicBezTo>
                      <a:pt x="23" y="22"/>
                      <a:pt x="22" y="22"/>
                      <a:pt x="22" y="22"/>
                    </a:cubicBezTo>
                    <a:cubicBezTo>
                      <a:pt x="21" y="21"/>
                      <a:pt x="21" y="19"/>
                      <a:pt x="22" y="19"/>
                    </a:cubicBezTo>
                    <a:cubicBezTo>
                      <a:pt x="22" y="19"/>
                      <a:pt x="22" y="18"/>
                      <a:pt x="22" y="18"/>
                    </a:cubicBezTo>
                    <a:cubicBezTo>
                      <a:pt x="22" y="18"/>
                      <a:pt x="22" y="18"/>
                      <a:pt x="22" y="18"/>
                    </a:cubicBezTo>
                    <a:cubicBezTo>
                      <a:pt x="22" y="17"/>
                      <a:pt x="22" y="17"/>
                      <a:pt x="22" y="17"/>
                    </a:cubicBezTo>
                    <a:cubicBezTo>
                      <a:pt x="22" y="15"/>
                      <a:pt x="23" y="15"/>
                      <a:pt x="23" y="14"/>
                    </a:cubicBezTo>
                    <a:cubicBezTo>
                      <a:pt x="24" y="14"/>
                      <a:pt x="24" y="14"/>
                      <a:pt x="24" y="14"/>
                    </a:cubicBezTo>
                    <a:cubicBezTo>
                      <a:pt x="25" y="14"/>
                      <a:pt x="25" y="14"/>
                      <a:pt x="26" y="14"/>
                    </a:cubicBezTo>
                    <a:cubicBezTo>
                      <a:pt x="26" y="14"/>
                      <a:pt x="26" y="14"/>
                      <a:pt x="26" y="14"/>
                    </a:cubicBezTo>
                    <a:cubicBezTo>
                      <a:pt x="27" y="15"/>
                      <a:pt x="28" y="15"/>
                      <a:pt x="29" y="16"/>
                    </a:cubicBezTo>
                    <a:cubicBezTo>
                      <a:pt x="29" y="16"/>
                      <a:pt x="29" y="16"/>
                      <a:pt x="29" y="16"/>
                    </a:cubicBezTo>
                    <a:cubicBezTo>
                      <a:pt x="29" y="15"/>
                      <a:pt x="30" y="14"/>
                      <a:pt x="31" y="14"/>
                    </a:cubicBezTo>
                    <a:cubicBezTo>
                      <a:pt x="31" y="14"/>
                      <a:pt x="31" y="14"/>
                      <a:pt x="31" y="14"/>
                    </a:cubicBezTo>
                    <a:cubicBezTo>
                      <a:pt x="32" y="14"/>
                      <a:pt x="32" y="14"/>
                      <a:pt x="33" y="14"/>
                    </a:cubicBezTo>
                    <a:cubicBezTo>
                      <a:pt x="33" y="14"/>
                      <a:pt x="33" y="14"/>
                      <a:pt x="33" y="14"/>
                    </a:cubicBezTo>
                    <a:cubicBezTo>
                      <a:pt x="33" y="14"/>
                      <a:pt x="33" y="14"/>
                      <a:pt x="34" y="14"/>
                    </a:cubicBezTo>
                    <a:cubicBezTo>
                      <a:pt x="34" y="14"/>
                      <a:pt x="34" y="14"/>
                      <a:pt x="34" y="14"/>
                    </a:cubicBezTo>
                    <a:cubicBezTo>
                      <a:pt x="34" y="13"/>
                      <a:pt x="34" y="13"/>
                      <a:pt x="34" y="13"/>
                    </a:cubicBezTo>
                    <a:cubicBezTo>
                      <a:pt x="35" y="14"/>
                      <a:pt x="35" y="14"/>
                      <a:pt x="35" y="14"/>
                    </a:cubicBezTo>
                    <a:cubicBezTo>
                      <a:pt x="35" y="14"/>
                      <a:pt x="35" y="14"/>
                      <a:pt x="35" y="14"/>
                    </a:cubicBezTo>
                    <a:cubicBezTo>
                      <a:pt x="36" y="14"/>
                      <a:pt x="36" y="14"/>
                      <a:pt x="36" y="14"/>
                    </a:cubicBezTo>
                    <a:cubicBezTo>
                      <a:pt x="36" y="14"/>
                      <a:pt x="36" y="14"/>
                      <a:pt x="36" y="14"/>
                    </a:cubicBezTo>
                    <a:cubicBezTo>
                      <a:pt x="37" y="14"/>
                      <a:pt x="38" y="15"/>
                      <a:pt x="39" y="15"/>
                    </a:cubicBezTo>
                    <a:cubicBezTo>
                      <a:pt x="46" y="16"/>
                      <a:pt x="46" y="16"/>
                      <a:pt x="46" y="16"/>
                    </a:cubicBezTo>
                    <a:cubicBezTo>
                      <a:pt x="47" y="16"/>
                      <a:pt x="49" y="16"/>
                      <a:pt x="50" y="16"/>
                    </a:cubicBezTo>
                    <a:cubicBezTo>
                      <a:pt x="51" y="15"/>
                      <a:pt x="52" y="16"/>
                      <a:pt x="53" y="16"/>
                    </a:cubicBezTo>
                    <a:cubicBezTo>
                      <a:pt x="53" y="17"/>
                      <a:pt x="54" y="17"/>
                      <a:pt x="54" y="17"/>
                    </a:cubicBezTo>
                    <a:cubicBezTo>
                      <a:pt x="56" y="17"/>
                      <a:pt x="56" y="17"/>
                      <a:pt x="56" y="17"/>
                    </a:cubicBezTo>
                    <a:cubicBezTo>
                      <a:pt x="55" y="16"/>
                      <a:pt x="56" y="15"/>
                      <a:pt x="56" y="15"/>
                    </a:cubicBezTo>
                    <a:cubicBezTo>
                      <a:pt x="56" y="15"/>
                      <a:pt x="56" y="15"/>
                      <a:pt x="56" y="15"/>
                    </a:cubicBezTo>
                    <a:cubicBezTo>
                      <a:pt x="57" y="15"/>
                      <a:pt x="57" y="15"/>
                      <a:pt x="57" y="15"/>
                    </a:cubicBezTo>
                    <a:cubicBezTo>
                      <a:pt x="53" y="12"/>
                      <a:pt x="53" y="12"/>
                      <a:pt x="53" y="12"/>
                    </a:cubicBezTo>
                    <a:cubicBezTo>
                      <a:pt x="54" y="12"/>
                      <a:pt x="54" y="12"/>
                      <a:pt x="54" y="12"/>
                    </a:cubicBezTo>
                    <a:cubicBezTo>
                      <a:pt x="54" y="11"/>
                      <a:pt x="54" y="10"/>
                      <a:pt x="54" y="10"/>
                    </a:cubicBezTo>
                    <a:cubicBezTo>
                      <a:pt x="54" y="9"/>
                      <a:pt x="54" y="9"/>
                      <a:pt x="54" y="9"/>
                    </a:cubicBezTo>
                    <a:cubicBezTo>
                      <a:pt x="50" y="12"/>
                      <a:pt x="50" y="12"/>
                      <a:pt x="50" y="12"/>
                    </a:cubicBezTo>
                    <a:cubicBezTo>
                      <a:pt x="52" y="9"/>
                      <a:pt x="52" y="9"/>
                      <a:pt x="52" y="9"/>
                    </a:cubicBezTo>
                    <a:cubicBezTo>
                      <a:pt x="51" y="9"/>
                      <a:pt x="49" y="10"/>
                      <a:pt x="48" y="10"/>
                    </a:cubicBezTo>
                    <a:cubicBezTo>
                      <a:pt x="47" y="10"/>
                      <a:pt x="47" y="10"/>
                      <a:pt x="46" y="10"/>
                    </a:cubicBezTo>
                    <a:cubicBezTo>
                      <a:pt x="46" y="9"/>
                      <a:pt x="46" y="9"/>
                      <a:pt x="46" y="9"/>
                    </a:cubicBezTo>
                    <a:cubicBezTo>
                      <a:pt x="46" y="9"/>
                      <a:pt x="45" y="9"/>
                      <a:pt x="45" y="9"/>
                    </a:cubicBezTo>
                    <a:cubicBezTo>
                      <a:pt x="43" y="9"/>
                      <a:pt x="42" y="8"/>
                      <a:pt x="40" y="8"/>
                    </a:cubicBezTo>
                    <a:cubicBezTo>
                      <a:pt x="40" y="7"/>
                      <a:pt x="40" y="7"/>
                      <a:pt x="40" y="7"/>
                    </a:cubicBezTo>
                    <a:cubicBezTo>
                      <a:pt x="40" y="8"/>
                      <a:pt x="40" y="8"/>
                      <a:pt x="40" y="8"/>
                    </a:cubicBezTo>
                    <a:cubicBezTo>
                      <a:pt x="40" y="8"/>
                      <a:pt x="40" y="8"/>
                      <a:pt x="40" y="8"/>
                    </a:cubicBezTo>
                    <a:cubicBezTo>
                      <a:pt x="40" y="7"/>
                      <a:pt x="40" y="7"/>
                      <a:pt x="40" y="7"/>
                    </a:cubicBezTo>
                    <a:cubicBezTo>
                      <a:pt x="39" y="7"/>
                      <a:pt x="39" y="7"/>
                      <a:pt x="39" y="7"/>
                    </a:cubicBezTo>
                    <a:cubicBezTo>
                      <a:pt x="37" y="6"/>
                      <a:pt x="35" y="4"/>
                      <a:pt x="33" y="2"/>
                    </a:cubicBezTo>
                    <a:cubicBezTo>
                      <a:pt x="32" y="1"/>
                      <a:pt x="32" y="1"/>
                      <a:pt x="31" y="0"/>
                    </a:cubicBezTo>
                    <a:cubicBezTo>
                      <a:pt x="31" y="0"/>
                      <a:pt x="31" y="0"/>
                      <a:pt x="31" y="0"/>
                    </a:cubicBezTo>
                    <a:cubicBezTo>
                      <a:pt x="30" y="0"/>
                      <a:pt x="30" y="0"/>
                      <a:pt x="29" y="0"/>
                    </a:cubicBezTo>
                    <a:cubicBezTo>
                      <a:pt x="29" y="0"/>
                      <a:pt x="29" y="0"/>
                      <a:pt x="29" y="0"/>
                    </a:cubicBezTo>
                    <a:cubicBezTo>
                      <a:pt x="30" y="2"/>
                      <a:pt x="30" y="2"/>
                      <a:pt x="30" y="2"/>
                    </a:cubicBezTo>
                    <a:cubicBezTo>
                      <a:pt x="28" y="2"/>
                      <a:pt x="28" y="2"/>
                      <a:pt x="28" y="2"/>
                    </a:cubicBezTo>
                    <a:cubicBezTo>
                      <a:pt x="28" y="2"/>
                      <a:pt x="28" y="2"/>
                      <a:pt x="28" y="2"/>
                    </a:cubicBezTo>
                    <a:cubicBezTo>
                      <a:pt x="28" y="2"/>
                      <a:pt x="28" y="2"/>
                      <a:pt x="28" y="2"/>
                    </a:cubicBezTo>
                    <a:cubicBezTo>
                      <a:pt x="27" y="2"/>
                      <a:pt x="27" y="2"/>
                      <a:pt x="27" y="2"/>
                    </a:cubicBezTo>
                    <a:cubicBezTo>
                      <a:pt x="27" y="2"/>
                      <a:pt x="27" y="2"/>
                      <a:pt x="27" y="2"/>
                    </a:cubicBezTo>
                    <a:cubicBezTo>
                      <a:pt x="27" y="2"/>
                      <a:pt x="26" y="3"/>
                      <a:pt x="26" y="3"/>
                    </a:cubicBezTo>
                    <a:cubicBezTo>
                      <a:pt x="25" y="3"/>
                      <a:pt x="25" y="3"/>
                      <a:pt x="25" y="3"/>
                    </a:cubicBezTo>
                    <a:cubicBezTo>
                      <a:pt x="25" y="3"/>
                      <a:pt x="24" y="3"/>
                      <a:pt x="24" y="3"/>
                    </a:cubicBezTo>
                    <a:cubicBezTo>
                      <a:pt x="23" y="3"/>
                      <a:pt x="23" y="3"/>
                      <a:pt x="23" y="3"/>
                    </a:cubicBezTo>
                    <a:cubicBezTo>
                      <a:pt x="23" y="4"/>
                      <a:pt x="23" y="4"/>
                      <a:pt x="23" y="4"/>
                    </a:cubicBezTo>
                    <a:cubicBezTo>
                      <a:pt x="23" y="4"/>
                      <a:pt x="23" y="4"/>
                      <a:pt x="23" y="4"/>
                    </a:cubicBezTo>
                    <a:cubicBezTo>
                      <a:pt x="23" y="4"/>
                      <a:pt x="23" y="4"/>
                      <a:pt x="23" y="4"/>
                    </a:cubicBezTo>
                    <a:cubicBezTo>
                      <a:pt x="23" y="4"/>
                      <a:pt x="24" y="4"/>
                      <a:pt x="24" y="5"/>
                    </a:cubicBezTo>
                    <a:cubicBezTo>
                      <a:pt x="24" y="5"/>
                      <a:pt x="24" y="5"/>
                      <a:pt x="24" y="5"/>
                    </a:cubicBezTo>
                    <a:cubicBezTo>
                      <a:pt x="24" y="5"/>
                      <a:pt x="24" y="5"/>
                      <a:pt x="24" y="5"/>
                    </a:cubicBezTo>
                    <a:cubicBezTo>
                      <a:pt x="23" y="6"/>
                      <a:pt x="23" y="7"/>
                      <a:pt x="23" y="7"/>
                    </a:cubicBezTo>
                    <a:cubicBezTo>
                      <a:pt x="22" y="8"/>
                      <a:pt x="21" y="9"/>
                      <a:pt x="20" y="9"/>
                    </a:cubicBezTo>
                    <a:cubicBezTo>
                      <a:pt x="20" y="9"/>
                      <a:pt x="20" y="9"/>
                      <a:pt x="20" y="9"/>
                    </a:cubicBezTo>
                    <a:cubicBezTo>
                      <a:pt x="20" y="9"/>
                      <a:pt x="20" y="9"/>
                      <a:pt x="20" y="9"/>
                    </a:cubicBezTo>
                    <a:cubicBezTo>
                      <a:pt x="20" y="10"/>
                      <a:pt x="20" y="11"/>
                      <a:pt x="19" y="11"/>
                    </a:cubicBezTo>
                    <a:cubicBezTo>
                      <a:pt x="20" y="11"/>
                      <a:pt x="20" y="11"/>
                      <a:pt x="20" y="12"/>
                    </a:cubicBezTo>
                    <a:cubicBezTo>
                      <a:pt x="20" y="12"/>
                      <a:pt x="19" y="13"/>
                      <a:pt x="19" y="13"/>
                    </a:cubicBezTo>
                    <a:cubicBezTo>
                      <a:pt x="19" y="13"/>
                      <a:pt x="18" y="13"/>
                      <a:pt x="18" y="13"/>
                    </a:cubicBezTo>
                    <a:cubicBezTo>
                      <a:pt x="18" y="14"/>
                      <a:pt x="18" y="14"/>
                      <a:pt x="18" y="14"/>
                    </a:cubicBezTo>
                    <a:cubicBezTo>
                      <a:pt x="18" y="14"/>
                      <a:pt x="18" y="14"/>
                      <a:pt x="18" y="14"/>
                    </a:cubicBezTo>
                    <a:cubicBezTo>
                      <a:pt x="17" y="14"/>
                      <a:pt x="17" y="14"/>
                      <a:pt x="17" y="14"/>
                    </a:cubicBezTo>
                    <a:cubicBezTo>
                      <a:pt x="17" y="14"/>
                      <a:pt x="17" y="14"/>
                      <a:pt x="17" y="14"/>
                    </a:cubicBezTo>
                    <a:cubicBezTo>
                      <a:pt x="17" y="14"/>
                      <a:pt x="17" y="13"/>
                      <a:pt x="17" y="13"/>
                    </a:cubicBezTo>
                    <a:cubicBezTo>
                      <a:pt x="16" y="13"/>
                      <a:pt x="16" y="13"/>
                      <a:pt x="16" y="13"/>
                    </a:cubicBezTo>
                    <a:cubicBezTo>
                      <a:pt x="15" y="13"/>
                      <a:pt x="14" y="13"/>
                      <a:pt x="13" y="13"/>
                    </a:cubicBezTo>
                    <a:cubicBezTo>
                      <a:pt x="13" y="13"/>
                      <a:pt x="12" y="13"/>
                      <a:pt x="12" y="13"/>
                    </a:cubicBezTo>
                    <a:cubicBezTo>
                      <a:pt x="12" y="12"/>
                      <a:pt x="11" y="12"/>
                      <a:pt x="11" y="12"/>
                    </a:cubicBezTo>
                    <a:cubicBezTo>
                      <a:pt x="9" y="13"/>
                      <a:pt x="7" y="14"/>
                      <a:pt x="5" y="13"/>
                    </a:cubicBezTo>
                    <a:cubicBezTo>
                      <a:pt x="5" y="13"/>
                      <a:pt x="2" y="13"/>
                      <a:pt x="1" y="13"/>
                    </a:cubicBezTo>
                    <a:cubicBezTo>
                      <a:pt x="1" y="14"/>
                      <a:pt x="1" y="14"/>
                      <a:pt x="1" y="14"/>
                    </a:cubicBezTo>
                    <a:cubicBezTo>
                      <a:pt x="0" y="13"/>
                      <a:pt x="0" y="13"/>
                      <a:pt x="0" y="13"/>
                    </a:cubicBezTo>
                    <a:cubicBezTo>
                      <a:pt x="0" y="13"/>
                      <a:pt x="0" y="13"/>
                      <a:pt x="0" y="13"/>
                    </a:cubicBezTo>
                    <a:cubicBezTo>
                      <a:pt x="0" y="14"/>
                      <a:pt x="1" y="14"/>
                      <a:pt x="1" y="15"/>
                    </a:cubicBezTo>
                    <a:cubicBezTo>
                      <a:pt x="1" y="16"/>
                      <a:pt x="1" y="16"/>
                      <a:pt x="1" y="17"/>
                    </a:cubicBezTo>
                    <a:cubicBezTo>
                      <a:pt x="2" y="18"/>
                      <a:pt x="3" y="19"/>
                      <a:pt x="3" y="20"/>
                    </a:cubicBezTo>
                    <a:cubicBezTo>
                      <a:pt x="3" y="20"/>
                      <a:pt x="3" y="20"/>
                      <a:pt x="3" y="20"/>
                    </a:cubicBezTo>
                    <a:cubicBezTo>
                      <a:pt x="3" y="20"/>
                      <a:pt x="4" y="20"/>
                      <a:pt x="4" y="21"/>
                    </a:cubicBezTo>
                    <a:cubicBezTo>
                      <a:pt x="4" y="20"/>
                      <a:pt x="5" y="17"/>
                      <a:pt x="7" y="18"/>
                    </a:cubicBezTo>
                    <a:cubicBezTo>
                      <a:pt x="7" y="17"/>
                      <a:pt x="7" y="15"/>
                      <a:pt x="8" y="14"/>
                    </a:cubicBezTo>
                    <a:cubicBezTo>
                      <a:pt x="9" y="13"/>
                      <a:pt x="10" y="15"/>
                      <a:pt x="11" y="15"/>
                    </a:cubicBezTo>
                    <a:cubicBezTo>
                      <a:pt x="11" y="15"/>
                      <a:pt x="14" y="17"/>
                      <a:pt x="14" y="18"/>
                    </a:cubicBezTo>
                    <a:cubicBezTo>
                      <a:pt x="15" y="21"/>
                      <a:pt x="14" y="23"/>
                      <a:pt x="16" y="25"/>
                    </a:cubicBezTo>
                    <a:cubicBezTo>
                      <a:pt x="18" y="26"/>
                      <a:pt x="20" y="27"/>
                      <a:pt x="21" y="29"/>
                    </a:cubicBezTo>
                    <a:cubicBezTo>
                      <a:pt x="21" y="29"/>
                      <a:pt x="17" y="26"/>
                      <a:pt x="17" y="28"/>
                    </a:cubicBezTo>
                    <a:cubicBezTo>
                      <a:pt x="16" y="27"/>
                      <a:pt x="17" y="28"/>
                      <a:pt x="17" y="29"/>
                    </a:cubicBezTo>
                    <a:cubicBezTo>
                      <a:pt x="18" y="30"/>
                      <a:pt x="20" y="32"/>
                      <a:pt x="22" y="33"/>
                    </a:cubicBezTo>
                    <a:cubicBezTo>
                      <a:pt x="23" y="33"/>
                      <a:pt x="25" y="34"/>
                      <a:pt x="25" y="35"/>
                    </a:cubicBezTo>
                    <a:cubicBezTo>
                      <a:pt x="25" y="37"/>
                      <a:pt x="25" y="37"/>
                      <a:pt x="27" y="37"/>
                    </a:cubicBezTo>
                    <a:cubicBezTo>
                      <a:pt x="27" y="37"/>
                      <a:pt x="28" y="37"/>
                      <a:pt x="28" y="37"/>
                    </a:cubicBezTo>
                    <a:cubicBezTo>
                      <a:pt x="28" y="37"/>
                      <a:pt x="29" y="36"/>
                      <a:pt x="29" y="36"/>
                    </a:cubicBezTo>
                    <a:cubicBezTo>
                      <a:pt x="31" y="36"/>
                      <a:pt x="33" y="38"/>
                      <a:pt x="34" y="39"/>
                    </a:cubicBezTo>
                    <a:cubicBezTo>
                      <a:pt x="36" y="40"/>
                      <a:pt x="37" y="41"/>
                      <a:pt x="39" y="42"/>
                    </a:cubicBezTo>
                    <a:cubicBezTo>
                      <a:pt x="39" y="42"/>
                      <a:pt x="40" y="43"/>
                      <a:pt x="41" y="43"/>
                    </a:cubicBezTo>
                    <a:lnTo>
                      <a:pt x="4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7" name="Freeform 3099">
                <a:extLst>
                  <a:ext uri="{FF2B5EF4-FFF2-40B4-BE49-F238E27FC236}">
                    <a16:creationId xmlns:a16="http://schemas.microsoft.com/office/drawing/2014/main" id="{724D2C4F-6E08-4004-B87B-90CA0705FFE5}"/>
                  </a:ext>
                </a:extLst>
              </p:cNvPr>
              <p:cNvSpPr>
                <a:spLocks/>
              </p:cNvSpPr>
              <p:nvPr/>
            </p:nvSpPr>
            <p:spPr bwMode="auto">
              <a:xfrm>
                <a:off x="3998" y="16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8" name="Freeform 3100">
                <a:extLst>
                  <a:ext uri="{FF2B5EF4-FFF2-40B4-BE49-F238E27FC236}">
                    <a16:creationId xmlns:a16="http://schemas.microsoft.com/office/drawing/2014/main" id="{E2F428F5-7EC1-4721-B49C-E8180656E4B4}"/>
                  </a:ext>
                </a:extLst>
              </p:cNvPr>
              <p:cNvSpPr>
                <a:spLocks/>
              </p:cNvSpPr>
              <p:nvPr/>
            </p:nvSpPr>
            <p:spPr bwMode="auto">
              <a:xfrm>
                <a:off x="3932" y="1605"/>
                <a:ext cx="85" cy="78"/>
              </a:xfrm>
              <a:custGeom>
                <a:avLst/>
                <a:gdLst>
                  <a:gd name="T0" fmla="*/ 25 w 36"/>
                  <a:gd name="T1" fmla="*/ 32 h 33"/>
                  <a:gd name="T2" fmla="*/ 26 w 36"/>
                  <a:gd name="T3" fmla="*/ 31 h 33"/>
                  <a:gd name="T4" fmla="*/ 26 w 36"/>
                  <a:gd name="T5" fmla="*/ 29 h 33"/>
                  <a:gd name="T6" fmla="*/ 28 w 36"/>
                  <a:gd name="T7" fmla="*/ 24 h 33"/>
                  <a:gd name="T8" fmla="*/ 29 w 36"/>
                  <a:gd name="T9" fmla="*/ 22 h 33"/>
                  <a:gd name="T10" fmla="*/ 30 w 36"/>
                  <a:gd name="T11" fmla="*/ 21 h 33"/>
                  <a:gd name="T12" fmla="*/ 32 w 36"/>
                  <a:gd name="T13" fmla="*/ 19 h 33"/>
                  <a:gd name="T14" fmla="*/ 33 w 36"/>
                  <a:gd name="T15" fmla="*/ 19 h 33"/>
                  <a:gd name="T16" fmla="*/ 34 w 36"/>
                  <a:gd name="T17" fmla="*/ 19 h 33"/>
                  <a:gd name="T18" fmla="*/ 36 w 36"/>
                  <a:gd name="T19" fmla="*/ 18 h 33"/>
                  <a:gd name="T20" fmla="*/ 36 w 36"/>
                  <a:gd name="T21" fmla="*/ 18 h 33"/>
                  <a:gd name="T22" fmla="*/ 33 w 36"/>
                  <a:gd name="T23" fmla="*/ 15 h 33"/>
                  <a:gd name="T24" fmla="*/ 35 w 36"/>
                  <a:gd name="T25" fmla="*/ 13 h 33"/>
                  <a:gd name="T26" fmla="*/ 35 w 36"/>
                  <a:gd name="T27" fmla="*/ 13 h 33"/>
                  <a:gd name="T28" fmla="*/ 34 w 36"/>
                  <a:gd name="T29" fmla="*/ 13 h 33"/>
                  <a:gd name="T30" fmla="*/ 34 w 36"/>
                  <a:gd name="T31" fmla="*/ 12 h 33"/>
                  <a:gd name="T32" fmla="*/ 32 w 36"/>
                  <a:gd name="T33" fmla="*/ 8 h 33"/>
                  <a:gd name="T34" fmla="*/ 33 w 36"/>
                  <a:gd name="T35" fmla="*/ 7 h 33"/>
                  <a:gd name="T36" fmla="*/ 34 w 36"/>
                  <a:gd name="T37" fmla="*/ 5 h 33"/>
                  <a:gd name="T38" fmla="*/ 33 w 36"/>
                  <a:gd name="T39" fmla="*/ 5 h 33"/>
                  <a:gd name="T40" fmla="*/ 33 w 36"/>
                  <a:gd name="T41" fmla="*/ 5 h 33"/>
                  <a:gd name="T42" fmla="*/ 31 w 36"/>
                  <a:gd name="T43" fmla="*/ 5 h 33"/>
                  <a:gd name="T44" fmla="*/ 28 w 36"/>
                  <a:gd name="T45" fmla="*/ 3 h 33"/>
                  <a:gd name="T46" fmla="*/ 28 w 36"/>
                  <a:gd name="T47" fmla="*/ 3 h 33"/>
                  <a:gd name="T48" fmla="*/ 27 w 36"/>
                  <a:gd name="T49" fmla="*/ 2 h 33"/>
                  <a:gd name="T50" fmla="*/ 22 w 36"/>
                  <a:gd name="T51" fmla="*/ 2 h 33"/>
                  <a:gd name="T52" fmla="*/ 11 w 36"/>
                  <a:gd name="T53" fmla="*/ 0 h 33"/>
                  <a:gd name="T54" fmla="*/ 8 w 36"/>
                  <a:gd name="T55" fmla="*/ 0 h 33"/>
                  <a:gd name="T56" fmla="*/ 7 w 36"/>
                  <a:gd name="T57" fmla="*/ 1 h 33"/>
                  <a:gd name="T58" fmla="*/ 6 w 36"/>
                  <a:gd name="T59" fmla="*/ 3 h 33"/>
                  <a:gd name="T60" fmla="*/ 4 w 36"/>
                  <a:gd name="T61" fmla="*/ 3 h 33"/>
                  <a:gd name="T62" fmla="*/ 3 w 36"/>
                  <a:gd name="T63" fmla="*/ 2 h 33"/>
                  <a:gd name="T64" fmla="*/ 1 w 36"/>
                  <a:gd name="T65" fmla="*/ 1 h 33"/>
                  <a:gd name="T66" fmla="*/ 1 w 36"/>
                  <a:gd name="T67" fmla="*/ 1 h 33"/>
                  <a:gd name="T68" fmla="*/ 0 w 36"/>
                  <a:gd name="T69" fmla="*/ 3 h 33"/>
                  <a:gd name="T70" fmla="*/ 0 w 36"/>
                  <a:gd name="T71" fmla="*/ 4 h 33"/>
                  <a:gd name="T72" fmla="*/ 2 w 36"/>
                  <a:gd name="T73" fmla="*/ 5 h 33"/>
                  <a:gd name="T74" fmla="*/ 3 w 36"/>
                  <a:gd name="T75" fmla="*/ 6 h 33"/>
                  <a:gd name="T76" fmla="*/ 4 w 36"/>
                  <a:gd name="T77" fmla="*/ 10 h 33"/>
                  <a:gd name="T78" fmla="*/ 5 w 36"/>
                  <a:gd name="T79" fmla="*/ 10 h 33"/>
                  <a:gd name="T80" fmla="*/ 6 w 36"/>
                  <a:gd name="T81" fmla="*/ 13 h 33"/>
                  <a:gd name="T82" fmla="*/ 9 w 36"/>
                  <a:gd name="T83" fmla="*/ 15 h 33"/>
                  <a:gd name="T84" fmla="*/ 13 w 36"/>
                  <a:gd name="T85" fmla="*/ 18 h 33"/>
                  <a:gd name="T86" fmla="*/ 16 w 36"/>
                  <a:gd name="T87" fmla="*/ 21 h 33"/>
                  <a:gd name="T88" fmla="*/ 18 w 36"/>
                  <a:gd name="T89" fmla="*/ 25 h 33"/>
                  <a:gd name="T90" fmla="*/ 20 w 36"/>
                  <a:gd name="T91" fmla="*/ 27 h 33"/>
                  <a:gd name="T92" fmla="*/ 19 w 36"/>
                  <a:gd name="T93" fmla="*/ 29 h 33"/>
                  <a:gd name="T94" fmla="*/ 18 w 36"/>
                  <a:gd name="T95" fmla="*/ 29 h 33"/>
                  <a:gd name="T96" fmla="*/ 17 w 36"/>
                  <a:gd name="T97"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33">
                    <a:moveTo>
                      <a:pt x="25" y="33"/>
                    </a:moveTo>
                    <a:cubicBezTo>
                      <a:pt x="25" y="32"/>
                      <a:pt x="25" y="32"/>
                      <a:pt x="25" y="32"/>
                    </a:cubicBezTo>
                    <a:cubicBezTo>
                      <a:pt x="26" y="31"/>
                      <a:pt x="26" y="31"/>
                      <a:pt x="26" y="31"/>
                    </a:cubicBezTo>
                    <a:cubicBezTo>
                      <a:pt x="26" y="31"/>
                      <a:pt x="26" y="31"/>
                      <a:pt x="26" y="31"/>
                    </a:cubicBezTo>
                    <a:cubicBezTo>
                      <a:pt x="26" y="31"/>
                      <a:pt x="26" y="31"/>
                      <a:pt x="26" y="30"/>
                    </a:cubicBezTo>
                    <a:cubicBezTo>
                      <a:pt x="26" y="30"/>
                      <a:pt x="26" y="30"/>
                      <a:pt x="26" y="29"/>
                    </a:cubicBezTo>
                    <a:cubicBezTo>
                      <a:pt x="26" y="29"/>
                      <a:pt x="26" y="29"/>
                      <a:pt x="26" y="28"/>
                    </a:cubicBezTo>
                    <a:cubicBezTo>
                      <a:pt x="26" y="27"/>
                      <a:pt x="26" y="25"/>
                      <a:pt x="28" y="24"/>
                    </a:cubicBezTo>
                    <a:cubicBezTo>
                      <a:pt x="28" y="23"/>
                      <a:pt x="28" y="23"/>
                      <a:pt x="29" y="22"/>
                    </a:cubicBezTo>
                    <a:cubicBezTo>
                      <a:pt x="29" y="22"/>
                      <a:pt x="29" y="22"/>
                      <a:pt x="29" y="22"/>
                    </a:cubicBezTo>
                    <a:cubicBezTo>
                      <a:pt x="29" y="22"/>
                      <a:pt x="30" y="22"/>
                      <a:pt x="30" y="22"/>
                    </a:cubicBezTo>
                    <a:cubicBezTo>
                      <a:pt x="30" y="21"/>
                      <a:pt x="30" y="21"/>
                      <a:pt x="30" y="21"/>
                    </a:cubicBezTo>
                    <a:cubicBezTo>
                      <a:pt x="30" y="20"/>
                      <a:pt x="30" y="20"/>
                      <a:pt x="30" y="20"/>
                    </a:cubicBezTo>
                    <a:cubicBezTo>
                      <a:pt x="31" y="19"/>
                      <a:pt x="31" y="19"/>
                      <a:pt x="32" y="19"/>
                    </a:cubicBezTo>
                    <a:cubicBezTo>
                      <a:pt x="32" y="19"/>
                      <a:pt x="33" y="19"/>
                      <a:pt x="33" y="19"/>
                    </a:cubicBezTo>
                    <a:cubicBezTo>
                      <a:pt x="33" y="19"/>
                      <a:pt x="33" y="19"/>
                      <a:pt x="33" y="19"/>
                    </a:cubicBezTo>
                    <a:cubicBezTo>
                      <a:pt x="34" y="19"/>
                      <a:pt x="34" y="19"/>
                      <a:pt x="34" y="19"/>
                    </a:cubicBezTo>
                    <a:cubicBezTo>
                      <a:pt x="34" y="19"/>
                      <a:pt x="34" y="19"/>
                      <a:pt x="34" y="19"/>
                    </a:cubicBezTo>
                    <a:cubicBezTo>
                      <a:pt x="34" y="19"/>
                      <a:pt x="34" y="19"/>
                      <a:pt x="34" y="19"/>
                    </a:cubicBezTo>
                    <a:cubicBezTo>
                      <a:pt x="35" y="19"/>
                      <a:pt x="36" y="19"/>
                      <a:pt x="36" y="18"/>
                    </a:cubicBezTo>
                    <a:cubicBezTo>
                      <a:pt x="36" y="18"/>
                      <a:pt x="36" y="18"/>
                      <a:pt x="36" y="18"/>
                    </a:cubicBezTo>
                    <a:cubicBezTo>
                      <a:pt x="36" y="18"/>
                      <a:pt x="36" y="18"/>
                      <a:pt x="36" y="18"/>
                    </a:cubicBezTo>
                    <a:cubicBezTo>
                      <a:pt x="36" y="18"/>
                      <a:pt x="35" y="17"/>
                      <a:pt x="35" y="17"/>
                    </a:cubicBezTo>
                    <a:cubicBezTo>
                      <a:pt x="34" y="16"/>
                      <a:pt x="34" y="16"/>
                      <a:pt x="33" y="15"/>
                    </a:cubicBezTo>
                    <a:cubicBezTo>
                      <a:pt x="32" y="12"/>
                      <a:pt x="32" y="12"/>
                      <a:pt x="32" y="12"/>
                    </a:cubicBezTo>
                    <a:cubicBezTo>
                      <a:pt x="35" y="13"/>
                      <a:pt x="35" y="13"/>
                      <a:pt x="35" y="13"/>
                    </a:cubicBezTo>
                    <a:cubicBezTo>
                      <a:pt x="35" y="13"/>
                      <a:pt x="35" y="14"/>
                      <a:pt x="36" y="14"/>
                    </a:cubicBezTo>
                    <a:cubicBezTo>
                      <a:pt x="35" y="13"/>
                      <a:pt x="35" y="13"/>
                      <a:pt x="35" y="13"/>
                    </a:cubicBezTo>
                    <a:cubicBezTo>
                      <a:pt x="35" y="13"/>
                      <a:pt x="35" y="13"/>
                      <a:pt x="35" y="13"/>
                    </a:cubicBezTo>
                    <a:cubicBezTo>
                      <a:pt x="35" y="13"/>
                      <a:pt x="35" y="13"/>
                      <a:pt x="34" y="13"/>
                    </a:cubicBezTo>
                    <a:cubicBezTo>
                      <a:pt x="34" y="13"/>
                      <a:pt x="34" y="13"/>
                      <a:pt x="34" y="13"/>
                    </a:cubicBezTo>
                    <a:cubicBezTo>
                      <a:pt x="34" y="12"/>
                      <a:pt x="34" y="12"/>
                      <a:pt x="34" y="12"/>
                    </a:cubicBezTo>
                    <a:cubicBezTo>
                      <a:pt x="33" y="12"/>
                      <a:pt x="33" y="12"/>
                      <a:pt x="33" y="12"/>
                    </a:cubicBezTo>
                    <a:cubicBezTo>
                      <a:pt x="32" y="11"/>
                      <a:pt x="32" y="9"/>
                      <a:pt x="32" y="8"/>
                    </a:cubicBezTo>
                    <a:cubicBezTo>
                      <a:pt x="32" y="8"/>
                      <a:pt x="32" y="8"/>
                      <a:pt x="33" y="7"/>
                    </a:cubicBezTo>
                    <a:cubicBezTo>
                      <a:pt x="33" y="7"/>
                      <a:pt x="33" y="7"/>
                      <a:pt x="33" y="7"/>
                    </a:cubicBezTo>
                    <a:cubicBezTo>
                      <a:pt x="33" y="6"/>
                      <a:pt x="33" y="6"/>
                      <a:pt x="34" y="5"/>
                    </a:cubicBezTo>
                    <a:cubicBezTo>
                      <a:pt x="34" y="5"/>
                      <a:pt x="34" y="5"/>
                      <a:pt x="34" y="5"/>
                    </a:cubicBezTo>
                    <a:cubicBezTo>
                      <a:pt x="34" y="5"/>
                      <a:pt x="33" y="5"/>
                      <a:pt x="33" y="5"/>
                    </a:cubicBezTo>
                    <a:cubicBezTo>
                      <a:pt x="33" y="5"/>
                      <a:pt x="33" y="5"/>
                      <a:pt x="33" y="5"/>
                    </a:cubicBezTo>
                    <a:cubicBezTo>
                      <a:pt x="33" y="5"/>
                      <a:pt x="33" y="5"/>
                      <a:pt x="33" y="5"/>
                    </a:cubicBezTo>
                    <a:cubicBezTo>
                      <a:pt x="33" y="5"/>
                      <a:pt x="33" y="5"/>
                      <a:pt x="33" y="5"/>
                    </a:cubicBezTo>
                    <a:cubicBezTo>
                      <a:pt x="33" y="5"/>
                      <a:pt x="33" y="5"/>
                      <a:pt x="33" y="5"/>
                    </a:cubicBezTo>
                    <a:cubicBezTo>
                      <a:pt x="32" y="5"/>
                      <a:pt x="32" y="5"/>
                      <a:pt x="31" y="5"/>
                    </a:cubicBezTo>
                    <a:cubicBezTo>
                      <a:pt x="30" y="5"/>
                      <a:pt x="29" y="4"/>
                      <a:pt x="29" y="3"/>
                    </a:cubicBezTo>
                    <a:cubicBezTo>
                      <a:pt x="28" y="3"/>
                      <a:pt x="28" y="3"/>
                      <a:pt x="28" y="3"/>
                    </a:cubicBezTo>
                    <a:cubicBezTo>
                      <a:pt x="28" y="3"/>
                      <a:pt x="28" y="3"/>
                      <a:pt x="28" y="3"/>
                    </a:cubicBezTo>
                    <a:cubicBezTo>
                      <a:pt x="28" y="3"/>
                      <a:pt x="28" y="3"/>
                      <a:pt x="28" y="3"/>
                    </a:cubicBezTo>
                    <a:cubicBezTo>
                      <a:pt x="28" y="3"/>
                      <a:pt x="27" y="2"/>
                      <a:pt x="27" y="2"/>
                    </a:cubicBezTo>
                    <a:cubicBezTo>
                      <a:pt x="27" y="2"/>
                      <a:pt x="27" y="2"/>
                      <a:pt x="27" y="2"/>
                    </a:cubicBezTo>
                    <a:cubicBezTo>
                      <a:pt x="27" y="3"/>
                      <a:pt x="27" y="3"/>
                      <a:pt x="27" y="3"/>
                    </a:cubicBezTo>
                    <a:cubicBezTo>
                      <a:pt x="25" y="2"/>
                      <a:pt x="23" y="2"/>
                      <a:pt x="22" y="2"/>
                    </a:cubicBezTo>
                    <a:cubicBezTo>
                      <a:pt x="14" y="1"/>
                      <a:pt x="14" y="1"/>
                      <a:pt x="14" y="1"/>
                    </a:cubicBezTo>
                    <a:cubicBezTo>
                      <a:pt x="13" y="1"/>
                      <a:pt x="12" y="1"/>
                      <a:pt x="11" y="0"/>
                    </a:cubicBezTo>
                    <a:cubicBezTo>
                      <a:pt x="11" y="0"/>
                      <a:pt x="10" y="0"/>
                      <a:pt x="10" y="0"/>
                    </a:cubicBezTo>
                    <a:cubicBezTo>
                      <a:pt x="10" y="1"/>
                      <a:pt x="9" y="1"/>
                      <a:pt x="8" y="0"/>
                    </a:cubicBezTo>
                    <a:cubicBezTo>
                      <a:pt x="8" y="0"/>
                      <a:pt x="8" y="0"/>
                      <a:pt x="8" y="0"/>
                    </a:cubicBezTo>
                    <a:cubicBezTo>
                      <a:pt x="7" y="1"/>
                      <a:pt x="7" y="1"/>
                      <a:pt x="7" y="1"/>
                    </a:cubicBezTo>
                    <a:cubicBezTo>
                      <a:pt x="7" y="1"/>
                      <a:pt x="7" y="2"/>
                      <a:pt x="6" y="2"/>
                    </a:cubicBezTo>
                    <a:cubicBezTo>
                      <a:pt x="6" y="2"/>
                      <a:pt x="6" y="3"/>
                      <a:pt x="6" y="3"/>
                    </a:cubicBezTo>
                    <a:cubicBezTo>
                      <a:pt x="5" y="4"/>
                      <a:pt x="5" y="4"/>
                      <a:pt x="5" y="4"/>
                    </a:cubicBezTo>
                    <a:cubicBezTo>
                      <a:pt x="4" y="3"/>
                      <a:pt x="4" y="3"/>
                      <a:pt x="4" y="3"/>
                    </a:cubicBezTo>
                    <a:cubicBezTo>
                      <a:pt x="4" y="3"/>
                      <a:pt x="4" y="3"/>
                      <a:pt x="3" y="2"/>
                    </a:cubicBezTo>
                    <a:cubicBezTo>
                      <a:pt x="3" y="2"/>
                      <a:pt x="3" y="2"/>
                      <a:pt x="3" y="2"/>
                    </a:cubicBezTo>
                    <a:cubicBezTo>
                      <a:pt x="3" y="2"/>
                      <a:pt x="2" y="1"/>
                      <a:pt x="1" y="1"/>
                    </a:cubicBezTo>
                    <a:cubicBezTo>
                      <a:pt x="1" y="1"/>
                      <a:pt x="1" y="1"/>
                      <a:pt x="1" y="1"/>
                    </a:cubicBezTo>
                    <a:cubicBezTo>
                      <a:pt x="1" y="1"/>
                      <a:pt x="1" y="1"/>
                      <a:pt x="1" y="1"/>
                    </a:cubicBezTo>
                    <a:cubicBezTo>
                      <a:pt x="1" y="1"/>
                      <a:pt x="1" y="1"/>
                      <a:pt x="1" y="1"/>
                    </a:cubicBezTo>
                    <a:cubicBezTo>
                      <a:pt x="0" y="1"/>
                      <a:pt x="0" y="2"/>
                      <a:pt x="0" y="2"/>
                    </a:cubicBezTo>
                    <a:cubicBezTo>
                      <a:pt x="0" y="3"/>
                      <a:pt x="0" y="3"/>
                      <a:pt x="0" y="3"/>
                    </a:cubicBezTo>
                    <a:cubicBezTo>
                      <a:pt x="0" y="4"/>
                      <a:pt x="0" y="4"/>
                      <a:pt x="0" y="4"/>
                    </a:cubicBezTo>
                    <a:cubicBezTo>
                      <a:pt x="0" y="4"/>
                      <a:pt x="0" y="4"/>
                      <a:pt x="0" y="4"/>
                    </a:cubicBezTo>
                    <a:cubicBezTo>
                      <a:pt x="1" y="5"/>
                      <a:pt x="1" y="5"/>
                      <a:pt x="1" y="5"/>
                    </a:cubicBezTo>
                    <a:cubicBezTo>
                      <a:pt x="2" y="5"/>
                      <a:pt x="2" y="5"/>
                      <a:pt x="2" y="5"/>
                    </a:cubicBezTo>
                    <a:cubicBezTo>
                      <a:pt x="2" y="6"/>
                      <a:pt x="2" y="6"/>
                      <a:pt x="3" y="6"/>
                    </a:cubicBezTo>
                    <a:cubicBezTo>
                      <a:pt x="3" y="6"/>
                      <a:pt x="3" y="6"/>
                      <a:pt x="3" y="6"/>
                    </a:cubicBezTo>
                    <a:cubicBezTo>
                      <a:pt x="3" y="7"/>
                      <a:pt x="4" y="8"/>
                      <a:pt x="4" y="9"/>
                    </a:cubicBezTo>
                    <a:cubicBezTo>
                      <a:pt x="4" y="9"/>
                      <a:pt x="4" y="9"/>
                      <a:pt x="4" y="10"/>
                    </a:cubicBezTo>
                    <a:cubicBezTo>
                      <a:pt x="4" y="10"/>
                      <a:pt x="4" y="10"/>
                      <a:pt x="4" y="10"/>
                    </a:cubicBezTo>
                    <a:cubicBezTo>
                      <a:pt x="5" y="10"/>
                      <a:pt x="5" y="10"/>
                      <a:pt x="5" y="10"/>
                    </a:cubicBezTo>
                    <a:cubicBezTo>
                      <a:pt x="5" y="11"/>
                      <a:pt x="5" y="12"/>
                      <a:pt x="6" y="12"/>
                    </a:cubicBezTo>
                    <a:cubicBezTo>
                      <a:pt x="6" y="13"/>
                      <a:pt x="6" y="13"/>
                      <a:pt x="6" y="13"/>
                    </a:cubicBezTo>
                    <a:cubicBezTo>
                      <a:pt x="7" y="13"/>
                      <a:pt x="8" y="14"/>
                      <a:pt x="9" y="15"/>
                    </a:cubicBezTo>
                    <a:cubicBezTo>
                      <a:pt x="9" y="15"/>
                      <a:pt x="9" y="15"/>
                      <a:pt x="9" y="15"/>
                    </a:cubicBezTo>
                    <a:cubicBezTo>
                      <a:pt x="10" y="16"/>
                      <a:pt x="11" y="17"/>
                      <a:pt x="12" y="18"/>
                    </a:cubicBezTo>
                    <a:cubicBezTo>
                      <a:pt x="13" y="18"/>
                      <a:pt x="13" y="18"/>
                      <a:pt x="13" y="18"/>
                    </a:cubicBezTo>
                    <a:cubicBezTo>
                      <a:pt x="13" y="19"/>
                      <a:pt x="13" y="19"/>
                      <a:pt x="13" y="19"/>
                    </a:cubicBezTo>
                    <a:cubicBezTo>
                      <a:pt x="14" y="19"/>
                      <a:pt x="15" y="20"/>
                      <a:pt x="16" y="21"/>
                    </a:cubicBezTo>
                    <a:cubicBezTo>
                      <a:pt x="17" y="25"/>
                      <a:pt x="17" y="25"/>
                      <a:pt x="17" y="25"/>
                    </a:cubicBezTo>
                    <a:cubicBezTo>
                      <a:pt x="17" y="25"/>
                      <a:pt x="18" y="25"/>
                      <a:pt x="18" y="25"/>
                    </a:cubicBezTo>
                    <a:cubicBezTo>
                      <a:pt x="18" y="25"/>
                      <a:pt x="19" y="25"/>
                      <a:pt x="19" y="26"/>
                    </a:cubicBezTo>
                    <a:cubicBezTo>
                      <a:pt x="19" y="26"/>
                      <a:pt x="19" y="26"/>
                      <a:pt x="20" y="27"/>
                    </a:cubicBezTo>
                    <a:cubicBezTo>
                      <a:pt x="20" y="27"/>
                      <a:pt x="20" y="27"/>
                      <a:pt x="20" y="27"/>
                    </a:cubicBezTo>
                    <a:cubicBezTo>
                      <a:pt x="20" y="28"/>
                      <a:pt x="19" y="28"/>
                      <a:pt x="19" y="29"/>
                    </a:cubicBezTo>
                    <a:cubicBezTo>
                      <a:pt x="19" y="29"/>
                      <a:pt x="19" y="29"/>
                      <a:pt x="19" y="29"/>
                    </a:cubicBezTo>
                    <a:cubicBezTo>
                      <a:pt x="19" y="29"/>
                      <a:pt x="19" y="29"/>
                      <a:pt x="18" y="29"/>
                    </a:cubicBezTo>
                    <a:cubicBezTo>
                      <a:pt x="18" y="29"/>
                      <a:pt x="18" y="29"/>
                      <a:pt x="18" y="29"/>
                    </a:cubicBezTo>
                    <a:cubicBezTo>
                      <a:pt x="17" y="29"/>
                      <a:pt x="17" y="29"/>
                      <a:pt x="17" y="29"/>
                    </a:cubicBezTo>
                    <a:cubicBezTo>
                      <a:pt x="20" y="31"/>
                      <a:pt x="23" y="32"/>
                      <a:pt x="2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9" name="Freeform 3101">
                <a:extLst>
                  <a:ext uri="{FF2B5EF4-FFF2-40B4-BE49-F238E27FC236}">
                    <a16:creationId xmlns:a16="http://schemas.microsoft.com/office/drawing/2014/main" id="{F2FF99A0-2B74-40C2-A548-0BDC02249F7A}"/>
                  </a:ext>
                </a:extLst>
              </p:cNvPr>
              <p:cNvSpPr>
                <a:spLocks/>
              </p:cNvSpPr>
              <p:nvPr/>
            </p:nvSpPr>
            <p:spPr bwMode="auto">
              <a:xfrm>
                <a:off x="3965" y="1671"/>
                <a:ext cx="7" cy="3"/>
              </a:xfrm>
              <a:custGeom>
                <a:avLst/>
                <a:gdLst>
                  <a:gd name="T0" fmla="*/ 3 w 3"/>
                  <a:gd name="T1" fmla="*/ 0 h 1"/>
                  <a:gd name="T2" fmla="*/ 0 w 3"/>
                  <a:gd name="T3" fmla="*/ 0 h 1"/>
                  <a:gd name="T4" fmla="*/ 3 w 3"/>
                  <a:gd name="T5" fmla="*/ 1 h 1"/>
                  <a:gd name="T6" fmla="*/ 3 w 3"/>
                  <a:gd name="T7" fmla="*/ 0 h 1"/>
                </a:gdLst>
                <a:ahLst/>
                <a:cxnLst>
                  <a:cxn ang="0">
                    <a:pos x="T0" y="T1"/>
                  </a:cxn>
                  <a:cxn ang="0">
                    <a:pos x="T2" y="T3"/>
                  </a:cxn>
                  <a:cxn ang="0">
                    <a:pos x="T4" y="T5"/>
                  </a:cxn>
                  <a:cxn ang="0">
                    <a:pos x="T6" y="T7"/>
                  </a:cxn>
                </a:cxnLst>
                <a:rect l="0" t="0" r="r" b="b"/>
                <a:pathLst>
                  <a:path w="3" h="1">
                    <a:moveTo>
                      <a:pt x="3" y="0"/>
                    </a:moveTo>
                    <a:cubicBezTo>
                      <a:pt x="2" y="0"/>
                      <a:pt x="1" y="0"/>
                      <a:pt x="0" y="0"/>
                    </a:cubicBezTo>
                    <a:cubicBezTo>
                      <a:pt x="1" y="0"/>
                      <a:pt x="2" y="1"/>
                      <a:pt x="3" y="1"/>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0" name="Freeform 3102">
                <a:extLst>
                  <a:ext uri="{FF2B5EF4-FFF2-40B4-BE49-F238E27FC236}">
                    <a16:creationId xmlns:a16="http://schemas.microsoft.com/office/drawing/2014/main" id="{76AC7FFA-E360-4C0A-BBEA-D2FEC87F1625}"/>
                  </a:ext>
                </a:extLst>
              </p:cNvPr>
              <p:cNvSpPr>
                <a:spLocks/>
              </p:cNvSpPr>
              <p:nvPr/>
            </p:nvSpPr>
            <p:spPr bwMode="auto">
              <a:xfrm>
                <a:off x="3996" y="16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1" name="Freeform 3103">
                <a:extLst>
                  <a:ext uri="{FF2B5EF4-FFF2-40B4-BE49-F238E27FC236}">
                    <a16:creationId xmlns:a16="http://schemas.microsoft.com/office/drawing/2014/main" id="{57526796-0300-46A0-A16B-73B2BF11D9B8}"/>
                  </a:ext>
                </a:extLst>
              </p:cNvPr>
              <p:cNvSpPr>
                <a:spLocks/>
              </p:cNvSpPr>
              <p:nvPr/>
            </p:nvSpPr>
            <p:spPr bwMode="auto">
              <a:xfrm>
                <a:off x="4034" y="16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2" name="Freeform 3104">
                <a:extLst>
                  <a:ext uri="{FF2B5EF4-FFF2-40B4-BE49-F238E27FC236}">
                    <a16:creationId xmlns:a16="http://schemas.microsoft.com/office/drawing/2014/main" id="{417F84D7-E7D8-4FE6-9F3A-6E40CEF97115}"/>
                  </a:ext>
                </a:extLst>
              </p:cNvPr>
              <p:cNvSpPr>
                <a:spLocks/>
              </p:cNvSpPr>
              <p:nvPr/>
            </p:nvSpPr>
            <p:spPr bwMode="auto">
              <a:xfrm>
                <a:off x="3996" y="1657"/>
                <a:ext cx="38" cy="43"/>
              </a:xfrm>
              <a:custGeom>
                <a:avLst/>
                <a:gdLst>
                  <a:gd name="T0" fmla="*/ 0 w 16"/>
                  <a:gd name="T1" fmla="*/ 12 h 18"/>
                  <a:gd name="T2" fmla="*/ 8 w 16"/>
                  <a:gd name="T3" fmla="*/ 18 h 18"/>
                  <a:gd name="T4" fmla="*/ 8 w 16"/>
                  <a:gd name="T5" fmla="*/ 18 h 18"/>
                  <a:gd name="T6" fmla="*/ 7 w 16"/>
                  <a:gd name="T7" fmla="*/ 17 h 18"/>
                  <a:gd name="T8" fmla="*/ 7 w 16"/>
                  <a:gd name="T9" fmla="*/ 15 h 18"/>
                  <a:gd name="T10" fmla="*/ 8 w 16"/>
                  <a:gd name="T11" fmla="*/ 13 h 18"/>
                  <a:gd name="T12" fmla="*/ 8 w 16"/>
                  <a:gd name="T13" fmla="*/ 13 h 18"/>
                  <a:gd name="T14" fmla="*/ 9 w 16"/>
                  <a:gd name="T15" fmla="*/ 12 h 18"/>
                  <a:gd name="T16" fmla="*/ 9 w 16"/>
                  <a:gd name="T17" fmla="*/ 12 h 18"/>
                  <a:gd name="T18" fmla="*/ 11 w 16"/>
                  <a:gd name="T19" fmla="*/ 9 h 18"/>
                  <a:gd name="T20" fmla="*/ 12 w 16"/>
                  <a:gd name="T21" fmla="*/ 8 h 18"/>
                  <a:gd name="T22" fmla="*/ 13 w 16"/>
                  <a:gd name="T23" fmla="*/ 8 h 18"/>
                  <a:gd name="T24" fmla="*/ 13 w 16"/>
                  <a:gd name="T25" fmla="*/ 9 h 18"/>
                  <a:gd name="T26" fmla="*/ 14 w 16"/>
                  <a:gd name="T27" fmla="*/ 10 h 18"/>
                  <a:gd name="T28" fmla="*/ 14 w 16"/>
                  <a:gd name="T29" fmla="*/ 10 h 18"/>
                  <a:gd name="T30" fmla="*/ 14 w 16"/>
                  <a:gd name="T31" fmla="*/ 10 h 18"/>
                  <a:gd name="T32" fmla="*/ 15 w 16"/>
                  <a:gd name="T33" fmla="*/ 10 h 18"/>
                  <a:gd name="T34" fmla="*/ 15 w 16"/>
                  <a:gd name="T35" fmla="*/ 10 h 18"/>
                  <a:gd name="T36" fmla="*/ 14 w 16"/>
                  <a:gd name="T37" fmla="*/ 9 h 18"/>
                  <a:gd name="T38" fmla="*/ 15 w 16"/>
                  <a:gd name="T39" fmla="*/ 7 h 18"/>
                  <a:gd name="T40" fmla="*/ 15 w 16"/>
                  <a:gd name="T41" fmla="*/ 7 h 18"/>
                  <a:gd name="T42" fmla="*/ 16 w 16"/>
                  <a:gd name="T43" fmla="*/ 7 h 18"/>
                  <a:gd name="T44" fmla="*/ 16 w 16"/>
                  <a:gd name="T45" fmla="*/ 7 h 18"/>
                  <a:gd name="T46" fmla="*/ 16 w 16"/>
                  <a:gd name="T47" fmla="*/ 7 h 18"/>
                  <a:gd name="T48" fmla="*/ 7 w 16"/>
                  <a:gd name="T49" fmla="*/ 0 h 18"/>
                  <a:gd name="T50" fmla="*/ 7 w 16"/>
                  <a:gd name="T51" fmla="*/ 0 h 18"/>
                  <a:gd name="T52" fmla="*/ 6 w 16"/>
                  <a:gd name="T53" fmla="*/ 0 h 18"/>
                  <a:gd name="T54" fmla="*/ 7 w 16"/>
                  <a:gd name="T55" fmla="*/ 0 h 18"/>
                  <a:gd name="T56" fmla="*/ 8 w 16"/>
                  <a:gd name="T57" fmla="*/ 1 h 18"/>
                  <a:gd name="T58" fmla="*/ 6 w 16"/>
                  <a:gd name="T59" fmla="*/ 2 h 18"/>
                  <a:gd name="T60" fmla="*/ 5 w 16"/>
                  <a:gd name="T61" fmla="*/ 2 h 18"/>
                  <a:gd name="T62" fmla="*/ 4 w 16"/>
                  <a:gd name="T63" fmla="*/ 2 h 18"/>
                  <a:gd name="T64" fmla="*/ 4 w 16"/>
                  <a:gd name="T65" fmla="*/ 2 h 18"/>
                  <a:gd name="T66" fmla="*/ 4 w 16"/>
                  <a:gd name="T67" fmla="*/ 2 h 18"/>
                  <a:gd name="T68" fmla="*/ 3 w 16"/>
                  <a:gd name="T69" fmla="*/ 2 h 18"/>
                  <a:gd name="T70" fmla="*/ 2 w 16"/>
                  <a:gd name="T71" fmla="*/ 3 h 18"/>
                  <a:gd name="T72" fmla="*/ 1 w 16"/>
                  <a:gd name="T73" fmla="*/ 6 h 18"/>
                  <a:gd name="T74" fmla="*/ 1 w 16"/>
                  <a:gd name="T75" fmla="*/ 7 h 18"/>
                  <a:gd name="T76" fmla="*/ 2 w 16"/>
                  <a:gd name="T77" fmla="*/ 8 h 18"/>
                  <a:gd name="T78" fmla="*/ 2 w 16"/>
                  <a:gd name="T79" fmla="*/ 10 h 18"/>
                  <a:gd name="T80" fmla="*/ 0 w 16"/>
                  <a:gd name="T81" fmla="*/ 11 h 18"/>
                  <a:gd name="T82" fmla="*/ 0 w 16"/>
                  <a:gd name="T83" fmla="*/ 12 h 18"/>
                  <a:gd name="T84" fmla="*/ 2 w 16"/>
                  <a:gd name="T85" fmla="*/ 11 h 18"/>
                  <a:gd name="T86" fmla="*/ 3 w 16"/>
                  <a:gd name="T87" fmla="*/ 11 h 18"/>
                  <a:gd name="T88" fmla="*/ 0 w 16"/>
                  <a:gd name="T8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18">
                    <a:moveTo>
                      <a:pt x="0" y="12"/>
                    </a:moveTo>
                    <a:cubicBezTo>
                      <a:pt x="3" y="14"/>
                      <a:pt x="5" y="16"/>
                      <a:pt x="8" y="18"/>
                    </a:cubicBezTo>
                    <a:cubicBezTo>
                      <a:pt x="8" y="18"/>
                      <a:pt x="8" y="18"/>
                      <a:pt x="8" y="18"/>
                    </a:cubicBezTo>
                    <a:cubicBezTo>
                      <a:pt x="8" y="17"/>
                      <a:pt x="8" y="17"/>
                      <a:pt x="7" y="17"/>
                    </a:cubicBezTo>
                    <a:cubicBezTo>
                      <a:pt x="7" y="16"/>
                      <a:pt x="7" y="15"/>
                      <a:pt x="7" y="15"/>
                    </a:cubicBezTo>
                    <a:cubicBezTo>
                      <a:pt x="7" y="14"/>
                      <a:pt x="7" y="13"/>
                      <a:pt x="8" y="13"/>
                    </a:cubicBezTo>
                    <a:cubicBezTo>
                      <a:pt x="8" y="13"/>
                      <a:pt x="8" y="13"/>
                      <a:pt x="8" y="13"/>
                    </a:cubicBezTo>
                    <a:cubicBezTo>
                      <a:pt x="8" y="12"/>
                      <a:pt x="9" y="12"/>
                      <a:pt x="9" y="12"/>
                    </a:cubicBezTo>
                    <a:cubicBezTo>
                      <a:pt x="9" y="12"/>
                      <a:pt x="9" y="12"/>
                      <a:pt x="9" y="12"/>
                    </a:cubicBezTo>
                    <a:cubicBezTo>
                      <a:pt x="9" y="11"/>
                      <a:pt x="10" y="10"/>
                      <a:pt x="11" y="9"/>
                    </a:cubicBezTo>
                    <a:cubicBezTo>
                      <a:pt x="11" y="9"/>
                      <a:pt x="11" y="9"/>
                      <a:pt x="12" y="8"/>
                    </a:cubicBezTo>
                    <a:cubicBezTo>
                      <a:pt x="13" y="8"/>
                      <a:pt x="13" y="8"/>
                      <a:pt x="13" y="8"/>
                    </a:cubicBezTo>
                    <a:cubicBezTo>
                      <a:pt x="13" y="9"/>
                      <a:pt x="13" y="9"/>
                      <a:pt x="13" y="9"/>
                    </a:cubicBezTo>
                    <a:cubicBezTo>
                      <a:pt x="13" y="9"/>
                      <a:pt x="14" y="9"/>
                      <a:pt x="14" y="10"/>
                    </a:cubicBezTo>
                    <a:cubicBezTo>
                      <a:pt x="14" y="10"/>
                      <a:pt x="14" y="10"/>
                      <a:pt x="14" y="10"/>
                    </a:cubicBezTo>
                    <a:cubicBezTo>
                      <a:pt x="14" y="10"/>
                      <a:pt x="14" y="10"/>
                      <a:pt x="14" y="10"/>
                    </a:cubicBezTo>
                    <a:cubicBezTo>
                      <a:pt x="14" y="10"/>
                      <a:pt x="14" y="10"/>
                      <a:pt x="15" y="10"/>
                    </a:cubicBezTo>
                    <a:cubicBezTo>
                      <a:pt x="15" y="10"/>
                      <a:pt x="15" y="10"/>
                      <a:pt x="15" y="10"/>
                    </a:cubicBezTo>
                    <a:cubicBezTo>
                      <a:pt x="14" y="9"/>
                      <a:pt x="14" y="9"/>
                      <a:pt x="14" y="9"/>
                    </a:cubicBezTo>
                    <a:cubicBezTo>
                      <a:pt x="14" y="8"/>
                      <a:pt x="15" y="7"/>
                      <a:pt x="15" y="7"/>
                    </a:cubicBezTo>
                    <a:cubicBezTo>
                      <a:pt x="15" y="7"/>
                      <a:pt x="15" y="7"/>
                      <a:pt x="15" y="7"/>
                    </a:cubicBezTo>
                    <a:cubicBezTo>
                      <a:pt x="15" y="7"/>
                      <a:pt x="16" y="7"/>
                      <a:pt x="16" y="7"/>
                    </a:cubicBezTo>
                    <a:cubicBezTo>
                      <a:pt x="16" y="7"/>
                      <a:pt x="16" y="7"/>
                      <a:pt x="16" y="7"/>
                    </a:cubicBezTo>
                    <a:cubicBezTo>
                      <a:pt x="16" y="7"/>
                      <a:pt x="16" y="7"/>
                      <a:pt x="16" y="7"/>
                    </a:cubicBezTo>
                    <a:cubicBezTo>
                      <a:pt x="7" y="0"/>
                      <a:pt x="7" y="0"/>
                      <a:pt x="7" y="0"/>
                    </a:cubicBezTo>
                    <a:cubicBezTo>
                      <a:pt x="7" y="0"/>
                      <a:pt x="7" y="0"/>
                      <a:pt x="7" y="0"/>
                    </a:cubicBezTo>
                    <a:cubicBezTo>
                      <a:pt x="6" y="0"/>
                      <a:pt x="6" y="0"/>
                      <a:pt x="6" y="0"/>
                    </a:cubicBezTo>
                    <a:cubicBezTo>
                      <a:pt x="7" y="0"/>
                      <a:pt x="7" y="0"/>
                      <a:pt x="7" y="0"/>
                    </a:cubicBezTo>
                    <a:cubicBezTo>
                      <a:pt x="8" y="1"/>
                      <a:pt x="8" y="1"/>
                      <a:pt x="8" y="1"/>
                    </a:cubicBezTo>
                    <a:cubicBezTo>
                      <a:pt x="6" y="2"/>
                      <a:pt x="6" y="2"/>
                      <a:pt x="6" y="2"/>
                    </a:cubicBezTo>
                    <a:cubicBezTo>
                      <a:pt x="6" y="3"/>
                      <a:pt x="5" y="3"/>
                      <a:pt x="5" y="2"/>
                    </a:cubicBezTo>
                    <a:cubicBezTo>
                      <a:pt x="4" y="2"/>
                      <a:pt x="4" y="2"/>
                      <a:pt x="4" y="2"/>
                    </a:cubicBezTo>
                    <a:cubicBezTo>
                      <a:pt x="4" y="2"/>
                      <a:pt x="4" y="2"/>
                      <a:pt x="4" y="2"/>
                    </a:cubicBezTo>
                    <a:cubicBezTo>
                      <a:pt x="4" y="2"/>
                      <a:pt x="4" y="2"/>
                      <a:pt x="4" y="2"/>
                    </a:cubicBezTo>
                    <a:cubicBezTo>
                      <a:pt x="3" y="2"/>
                      <a:pt x="3" y="2"/>
                      <a:pt x="3" y="2"/>
                    </a:cubicBezTo>
                    <a:cubicBezTo>
                      <a:pt x="3" y="3"/>
                      <a:pt x="3" y="3"/>
                      <a:pt x="2" y="3"/>
                    </a:cubicBezTo>
                    <a:cubicBezTo>
                      <a:pt x="2" y="4"/>
                      <a:pt x="1" y="5"/>
                      <a:pt x="1" y="6"/>
                    </a:cubicBezTo>
                    <a:cubicBezTo>
                      <a:pt x="1" y="6"/>
                      <a:pt x="1" y="6"/>
                      <a:pt x="1" y="7"/>
                    </a:cubicBezTo>
                    <a:cubicBezTo>
                      <a:pt x="1" y="7"/>
                      <a:pt x="2" y="7"/>
                      <a:pt x="2" y="8"/>
                    </a:cubicBezTo>
                    <a:cubicBezTo>
                      <a:pt x="2" y="8"/>
                      <a:pt x="2" y="9"/>
                      <a:pt x="2" y="10"/>
                    </a:cubicBezTo>
                    <a:cubicBezTo>
                      <a:pt x="1" y="11"/>
                      <a:pt x="1" y="11"/>
                      <a:pt x="0" y="11"/>
                    </a:cubicBezTo>
                    <a:cubicBezTo>
                      <a:pt x="0" y="12"/>
                      <a:pt x="0" y="12"/>
                      <a:pt x="0" y="12"/>
                    </a:cubicBezTo>
                    <a:cubicBezTo>
                      <a:pt x="0" y="12"/>
                      <a:pt x="1" y="12"/>
                      <a:pt x="2" y="11"/>
                    </a:cubicBezTo>
                    <a:cubicBezTo>
                      <a:pt x="2" y="12"/>
                      <a:pt x="2" y="11"/>
                      <a:pt x="3" y="11"/>
                    </a:cubicBezTo>
                    <a:cubicBezTo>
                      <a:pt x="2" y="13"/>
                      <a:pt x="2" y="12"/>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3" name="Freeform 3105">
                <a:extLst>
                  <a:ext uri="{FF2B5EF4-FFF2-40B4-BE49-F238E27FC236}">
                    <a16:creationId xmlns:a16="http://schemas.microsoft.com/office/drawing/2014/main" id="{58E074A1-A45E-4583-AD3B-BEB37C696AF5}"/>
                  </a:ext>
                </a:extLst>
              </p:cNvPr>
              <p:cNvSpPr>
                <a:spLocks/>
              </p:cNvSpPr>
              <p:nvPr/>
            </p:nvSpPr>
            <p:spPr bwMode="auto">
              <a:xfrm>
                <a:off x="4015" y="1686"/>
                <a:ext cx="38" cy="78"/>
              </a:xfrm>
              <a:custGeom>
                <a:avLst/>
                <a:gdLst>
                  <a:gd name="T0" fmla="*/ 8 w 16"/>
                  <a:gd name="T1" fmla="*/ 32 h 33"/>
                  <a:gd name="T2" fmla="*/ 9 w 16"/>
                  <a:gd name="T3" fmla="*/ 32 h 33"/>
                  <a:gd name="T4" fmla="*/ 9 w 16"/>
                  <a:gd name="T5" fmla="*/ 31 h 33"/>
                  <a:gd name="T6" fmla="*/ 10 w 16"/>
                  <a:gd name="T7" fmla="*/ 29 h 33"/>
                  <a:gd name="T8" fmla="*/ 11 w 16"/>
                  <a:gd name="T9" fmla="*/ 28 h 33"/>
                  <a:gd name="T10" fmla="*/ 13 w 16"/>
                  <a:gd name="T11" fmla="*/ 28 h 33"/>
                  <a:gd name="T12" fmla="*/ 13 w 16"/>
                  <a:gd name="T13" fmla="*/ 26 h 33"/>
                  <a:gd name="T14" fmla="*/ 16 w 16"/>
                  <a:gd name="T15" fmla="*/ 22 h 33"/>
                  <a:gd name="T16" fmla="*/ 16 w 16"/>
                  <a:gd name="T17" fmla="*/ 22 h 33"/>
                  <a:gd name="T18" fmla="*/ 16 w 16"/>
                  <a:gd name="T19" fmla="*/ 20 h 33"/>
                  <a:gd name="T20" fmla="*/ 15 w 16"/>
                  <a:gd name="T21" fmla="*/ 21 h 33"/>
                  <a:gd name="T22" fmla="*/ 13 w 16"/>
                  <a:gd name="T23" fmla="*/ 18 h 33"/>
                  <a:gd name="T24" fmla="*/ 13 w 16"/>
                  <a:gd name="T25" fmla="*/ 17 h 33"/>
                  <a:gd name="T26" fmla="*/ 11 w 16"/>
                  <a:gd name="T27" fmla="*/ 15 h 33"/>
                  <a:gd name="T28" fmla="*/ 12 w 16"/>
                  <a:gd name="T29" fmla="*/ 13 h 33"/>
                  <a:gd name="T30" fmla="*/ 11 w 16"/>
                  <a:gd name="T31" fmla="*/ 11 h 33"/>
                  <a:gd name="T32" fmla="*/ 12 w 16"/>
                  <a:gd name="T33" fmla="*/ 10 h 33"/>
                  <a:gd name="T34" fmla="*/ 12 w 16"/>
                  <a:gd name="T35" fmla="*/ 9 h 33"/>
                  <a:gd name="T36" fmla="*/ 12 w 16"/>
                  <a:gd name="T37" fmla="*/ 8 h 33"/>
                  <a:gd name="T38" fmla="*/ 12 w 16"/>
                  <a:gd name="T39" fmla="*/ 7 h 33"/>
                  <a:gd name="T40" fmla="*/ 12 w 16"/>
                  <a:gd name="T41" fmla="*/ 6 h 33"/>
                  <a:gd name="T42" fmla="*/ 11 w 16"/>
                  <a:gd name="T43" fmla="*/ 4 h 33"/>
                  <a:gd name="T44" fmla="*/ 11 w 16"/>
                  <a:gd name="T45" fmla="*/ 3 h 33"/>
                  <a:gd name="T46" fmla="*/ 10 w 16"/>
                  <a:gd name="T47" fmla="*/ 2 h 33"/>
                  <a:gd name="T48" fmla="*/ 9 w 16"/>
                  <a:gd name="T49" fmla="*/ 2 h 33"/>
                  <a:gd name="T50" fmla="*/ 9 w 16"/>
                  <a:gd name="T51" fmla="*/ 1 h 33"/>
                  <a:gd name="T52" fmla="*/ 8 w 16"/>
                  <a:gd name="T53" fmla="*/ 0 h 33"/>
                  <a:gd name="T54" fmla="*/ 4 w 16"/>
                  <a:gd name="T55" fmla="*/ 0 h 33"/>
                  <a:gd name="T56" fmla="*/ 3 w 16"/>
                  <a:gd name="T57" fmla="*/ 1 h 33"/>
                  <a:gd name="T58" fmla="*/ 2 w 16"/>
                  <a:gd name="T59" fmla="*/ 3 h 33"/>
                  <a:gd name="T60" fmla="*/ 2 w 16"/>
                  <a:gd name="T61" fmla="*/ 6 h 33"/>
                  <a:gd name="T62" fmla="*/ 2 w 16"/>
                  <a:gd name="T63" fmla="*/ 7 h 33"/>
                  <a:gd name="T64" fmla="*/ 2 w 16"/>
                  <a:gd name="T65" fmla="*/ 7 h 33"/>
                  <a:gd name="T66" fmla="*/ 2 w 16"/>
                  <a:gd name="T67" fmla="*/ 11 h 33"/>
                  <a:gd name="T68" fmla="*/ 1 w 16"/>
                  <a:gd name="T69" fmla="*/ 13 h 33"/>
                  <a:gd name="T70" fmla="*/ 2 w 16"/>
                  <a:gd name="T71" fmla="*/ 19 h 33"/>
                  <a:gd name="T72" fmla="*/ 2 w 16"/>
                  <a:gd name="T73" fmla="*/ 26 h 33"/>
                  <a:gd name="T74" fmla="*/ 4 w 16"/>
                  <a:gd name="T75" fmla="*/ 28 h 33"/>
                  <a:gd name="T76" fmla="*/ 7 w 16"/>
                  <a:gd name="T7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 h="33">
                    <a:moveTo>
                      <a:pt x="8" y="32"/>
                    </a:moveTo>
                    <a:cubicBezTo>
                      <a:pt x="8" y="32"/>
                      <a:pt x="8" y="32"/>
                      <a:pt x="8" y="32"/>
                    </a:cubicBezTo>
                    <a:cubicBezTo>
                      <a:pt x="8" y="32"/>
                      <a:pt x="9" y="32"/>
                      <a:pt x="9" y="33"/>
                    </a:cubicBezTo>
                    <a:cubicBezTo>
                      <a:pt x="9" y="32"/>
                      <a:pt x="9" y="32"/>
                      <a:pt x="9" y="32"/>
                    </a:cubicBezTo>
                    <a:cubicBezTo>
                      <a:pt x="9" y="31"/>
                      <a:pt x="9" y="31"/>
                      <a:pt x="10" y="31"/>
                    </a:cubicBezTo>
                    <a:cubicBezTo>
                      <a:pt x="9" y="31"/>
                      <a:pt x="9" y="31"/>
                      <a:pt x="9" y="31"/>
                    </a:cubicBezTo>
                    <a:cubicBezTo>
                      <a:pt x="9" y="31"/>
                      <a:pt x="9" y="30"/>
                      <a:pt x="9" y="30"/>
                    </a:cubicBezTo>
                    <a:cubicBezTo>
                      <a:pt x="9" y="29"/>
                      <a:pt x="10" y="29"/>
                      <a:pt x="10" y="29"/>
                    </a:cubicBezTo>
                    <a:cubicBezTo>
                      <a:pt x="10" y="29"/>
                      <a:pt x="10" y="29"/>
                      <a:pt x="10" y="28"/>
                    </a:cubicBezTo>
                    <a:cubicBezTo>
                      <a:pt x="11" y="28"/>
                      <a:pt x="11" y="28"/>
                      <a:pt x="11" y="28"/>
                    </a:cubicBezTo>
                    <a:cubicBezTo>
                      <a:pt x="12" y="28"/>
                      <a:pt x="12" y="28"/>
                      <a:pt x="13" y="28"/>
                    </a:cubicBezTo>
                    <a:cubicBezTo>
                      <a:pt x="13" y="28"/>
                      <a:pt x="13" y="28"/>
                      <a:pt x="13" y="28"/>
                    </a:cubicBezTo>
                    <a:cubicBezTo>
                      <a:pt x="13" y="27"/>
                      <a:pt x="13" y="27"/>
                      <a:pt x="13" y="26"/>
                    </a:cubicBezTo>
                    <a:cubicBezTo>
                      <a:pt x="13" y="26"/>
                      <a:pt x="13" y="26"/>
                      <a:pt x="13" y="26"/>
                    </a:cubicBezTo>
                    <a:cubicBezTo>
                      <a:pt x="13" y="25"/>
                      <a:pt x="14" y="24"/>
                      <a:pt x="14" y="24"/>
                    </a:cubicBezTo>
                    <a:cubicBezTo>
                      <a:pt x="15" y="23"/>
                      <a:pt x="16" y="22"/>
                      <a:pt x="16" y="22"/>
                    </a:cubicBezTo>
                    <a:cubicBezTo>
                      <a:pt x="16" y="22"/>
                      <a:pt x="16" y="22"/>
                      <a:pt x="16" y="22"/>
                    </a:cubicBezTo>
                    <a:cubicBezTo>
                      <a:pt x="16" y="22"/>
                      <a:pt x="16" y="22"/>
                      <a:pt x="16" y="22"/>
                    </a:cubicBezTo>
                    <a:cubicBezTo>
                      <a:pt x="16" y="21"/>
                      <a:pt x="16" y="21"/>
                      <a:pt x="16" y="20"/>
                    </a:cubicBezTo>
                    <a:cubicBezTo>
                      <a:pt x="16" y="20"/>
                      <a:pt x="16" y="20"/>
                      <a:pt x="16" y="20"/>
                    </a:cubicBezTo>
                    <a:cubicBezTo>
                      <a:pt x="16" y="20"/>
                      <a:pt x="16" y="20"/>
                      <a:pt x="16" y="20"/>
                    </a:cubicBezTo>
                    <a:cubicBezTo>
                      <a:pt x="15" y="21"/>
                      <a:pt x="15" y="21"/>
                      <a:pt x="15" y="21"/>
                    </a:cubicBezTo>
                    <a:cubicBezTo>
                      <a:pt x="14" y="19"/>
                      <a:pt x="14" y="19"/>
                      <a:pt x="14" y="19"/>
                    </a:cubicBezTo>
                    <a:cubicBezTo>
                      <a:pt x="14" y="18"/>
                      <a:pt x="13" y="18"/>
                      <a:pt x="13" y="18"/>
                    </a:cubicBezTo>
                    <a:cubicBezTo>
                      <a:pt x="13" y="18"/>
                      <a:pt x="13" y="18"/>
                      <a:pt x="13" y="18"/>
                    </a:cubicBezTo>
                    <a:cubicBezTo>
                      <a:pt x="13" y="17"/>
                      <a:pt x="13" y="17"/>
                      <a:pt x="13" y="17"/>
                    </a:cubicBezTo>
                    <a:cubicBezTo>
                      <a:pt x="12" y="17"/>
                      <a:pt x="12" y="16"/>
                      <a:pt x="11" y="15"/>
                    </a:cubicBezTo>
                    <a:cubicBezTo>
                      <a:pt x="11" y="15"/>
                      <a:pt x="11" y="15"/>
                      <a:pt x="11" y="15"/>
                    </a:cubicBezTo>
                    <a:cubicBezTo>
                      <a:pt x="11" y="14"/>
                      <a:pt x="11" y="13"/>
                      <a:pt x="12" y="13"/>
                    </a:cubicBezTo>
                    <a:cubicBezTo>
                      <a:pt x="12" y="13"/>
                      <a:pt x="12" y="13"/>
                      <a:pt x="12" y="13"/>
                    </a:cubicBezTo>
                    <a:cubicBezTo>
                      <a:pt x="12" y="13"/>
                      <a:pt x="11" y="13"/>
                      <a:pt x="11" y="12"/>
                    </a:cubicBezTo>
                    <a:cubicBezTo>
                      <a:pt x="11" y="12"/>
                      <a:pt x="11" y="12"/>
                      <a:pt x="11" y="11"/>
                    </a:cubicBezTo>
                    <a:cubicBezTo>
                      <a:pt x="10" y="10"/>
                      <a:pt x="10" y="10"/>
                      <a:pt x="10" y="10"/>
                    </a:cubicBezTo>
                    <a:cubicBezTo>
                      <a:pt x="12" y="10"/>
                      <a:pt x="12" y="10"/>
                      <a:pt x="12" y="10"/>
                    </a:cubicBezTo>
                    <a:cubicBezTo>
                      <a:pt x="12" y="9"/>
                      <a:pt x="12" y="9"/>
                      <a:pt x="12" y="9"/>
                    </a:cubicBezTo>
                    <a:cubicBezTo>
                      <a:pt x="12" y="9"/>
                      <a:pt x="12" y="9"/>
                      <a:pt x="12" y="9"/>
                    </a:cubicBezTo>
                    <a:cubicBezTo>
                      <a:pt x="12" y="9"/>
                      <a:pt x="12" y="8"/>
                      <a:pt x="12" y="8"/>
                    </a:cubicBezTo>
                    <a:cubicBezTo>
                      <a:pt x="12" y="8"/>
                      <a:pt x="12" y="8"/>
                      <a:pt x="12" y="8"/>
                    </a:cubicBezTo>
                    <a:cubicBezTo>
                      <a:pt x="12" y="8"/>
                      <a:pt x="12" y="8"/>
                      <a:pt x="12" y="8"/>
                    </a:cubicBezTo>
                    <a:cubicBezTo>
                      <a:pt x="12" y="7"/>
                      <a:pt x="12" y="7"/>
                      <a:pt x="12" y="7"/>
                    </a:cubicBezTo>
                    <a:cubicBezTo>
                      <a:pt x="12" y="7"/>
                      <a:pt x="12" y="7"/>
                      <a:pt x="12" y="7"/>
                    </a:cubicBezTo>
                    <a:cubicBezTo>
                      <a:pt x="12" y="6"/>
                      <a:pt x="12" y="6"/>
                      <a:pt x="12" y="6"/>
                    </a:cubicBezTo>
                    <a:cubicBezTo>
                      <a:pt x="12" y="6"/>
                      <a:pt x="12" y="6"/>
                      <a:pt x="12" y="5"/>
                    </a:cubicBezTo>
                    <a:cubicBezTo>
                      <a:pt x="12" y="5"/>
                      <a:pt x="12" y="4"/>
                      <a:pt x="11" y="4"/>
                    </a:cubicBezTo>
                    <a:cubicBezTo>
                      <a:pt x="11" y="4"/>
                      <a:pt x="11" y="4"/>
                      <a:pt x="11" y="4"/>
                    </a:cubicBezTo>
                    <a:cubicBezTo>
                      <a:pt x="11" y="3"/>
                      <a:pt x="11" y="3"/>
                      <a:pt x="11" y="3"/>
                    </a:cubicBezTo>
                    <a:cubicBezTo>
                      <a:pt x="11" y="3"/>
                      <a:pt x="11" y="3"/>
                      <a:pt x="11" y="3"/>
                    </a:cubicBezTo>
                    <a:cubicBezTo>
                      <a:pt x="10" y="3"/>
                      <a:pt x="10" y="3"/>
                      <a:pt x="10" y="2"/>
                    </a:cubicBezTo>
                    <a:cubicBezTo>
                      <a:pt x="10" y="2"/>
                      <a:pt x="10" y="2"/>
                      <a:pt x="9" y="2"/>
                    </a:cubicBezTo>
                    <a:cubicBezTo>
                      <a:pt x="9" y="2"/>
                      <a:pt x="9" y="2"/>
                      <a:pt x="9" y="2"/>
                    </a:cubicBezTo>
                    <a:cubicBezTo>
                      <a:pt x="9" y="2"/>
                      <a:pt x="9" y="2"/>
                      <a:pt x="9" y="2"/>
                    </a:cubicBezTo>
                    <a:cubicBezTo>
                      <a:pt x="9" y="1"/>
                      <a:pt x="9" y="1"/>
                      <a:pt x="9" y="1"/>
                    </a:cubicBezTo>
                    <a:cubicBezTo>
                      <a:pt x="8" y="1"/>
                      <a:pt x="8" y="1"/>
                      <a:pt x="8" y="1"/>
                    </a:cubicBezTo>
                    <a:cubicBezTo>
                      <a:pt x="8" y="0"/>
                      <a:pt x="8" y="0"/>
                      <a:pt x="8" y="0"/>
                    </a:cubicBezTo>
                    <a:cubicBezTo>
                      <a:pt x="8" y="0"/>
                      <a:pt x="8" y="0"/>
                      <a:pt x="8" y="0"/>
                    </a:cubicBezTo>
                    <a:cubicBezTo>
                      <a:pt x="6" y="1"/>
                      <a:pt x="5" y="1"/>
                      <a:pt x="4" y="0"/>
                    </a:cubicBezTo>
                    <a:cubicBezTo>
                      <a:pt x="4" y="0"/>
                      <a:pt x="3" y="1"/>
                      <a:pt x="3" y="1"/>
                    </a:cubicBezTo>
                    <a:cubicBezTo>
                      <a:pt x="3" y="1"/>
                      <a:pt x="3" y="1"/>
                      <a:pt x="3" y="1"/>
                    </a:cubicBezTo>
                    <a:cubicBezTo>
                      <a:pt x="3" y="2"/>
                      <a:pt x="2" y="2"/>
                      <a:pt x="2" y="2"/>
                    </a:cubicBezTo>
                    <a:cubicBezTo>
                      <a:pt x="2" y="2"/>
                      <a:pt x="2" y="3"/>
                      <a:pt x="2" y="3"/>
                    </a:cubicBezTo>
                    <a:cubicBezTo>
                      <a:pt x="2" y="3"/>
                      <a:pt x="2" y="3"/>
                      <a:pt x="1" y="3"/>
                    </a:cubicBezTo>
                    <a:cubicBezTo>
                      <a:pt x="2" y="4"/>
                      <a:pt x="2" y="5"/>
                      <a:pt x="2" y="6"/>
                    </a:cubicBezTo>
                    <a:cubicBezTo>
                      <a:pt x="2" y="6"/>
                      <a:pt x="2" y="6"/>
                      <a:pt x="2" y="7"/>
                    </a:cubicBezTo>
                    <a:cubicBezTo>
                      <a:pt x="2" y="7"/>
                      <a:pt x="2" y="7"/>
                      <a:pt x="2" y="7"/>
                    </a:cubicBezTo>
                    <a:cubicBezTo>
                      <a:pt x="2" y="7"/>
                      <a:pt x="2" y="7"/>
                      <a:pt x="2" y="7"/>
                    </a:cubicBezTo>
                    <a:cubicBezTo>
                      <a:pt x="2" y="7"/>
                      <a:pt x="2" y="7"/>
                      <a:pt x="2" y="7"/>
                    </a:cubicBezTo>
                    <a:cubicBezTo>
                      <a:pt x="2" y="8"/>
                      <a:pt x="2" y="8"/>
                      <a:pt x="3" y="9"/>
                    </a:cubicBezTo>
                    <a:cubicBezTo>
                      <a:pt x="3" y="9"/>
                      <a:pt x="3" y="11"/>
                      <a:pt x="2" y="11"/>
                    </a:cubicBezTo>
                    <a:cubicBezTo>
                      <a:pt x="1" y="11"/>
                      <a:pt x="1" y="12"/>
                      <a:pt x="1" y="13"/>
                    </a:cubicBezTo>
                    <a:cubicBezTo>
                      <a:pt x="1" y="13"/>
                      <a:pt x="1" y="13"/>
                      <a:pt x="1" y="13"/>
                    </a:cubicBezTo>
                    <a:cubicBezTo>
                      <a:pt x="2" y="14"/>
                      <a:pt x="2" y="14"/>
                      <a:pt x="2" y="16"/>
                    </a:cubicBezTo>
                    <a:cubicBezTo>
                      <a:pt x="1" y="17"/>
                      <a:pt x="2" y="18"/>
                      <a:pt x="2" y="19"/>
                    </a:cubicBezTo>
                    <a:cubicBezTo>
                      <a:pt x="1" y="19"/>
                      <a:pt x="0" y="21"/>
                      <a:pt x="0" y="22"/>
                    </a:cubicBezTo>
                    <a:cubicBezTo>
                      <a:pt x="1" y="23"/>
                      <a:pt x="1" y="25"/>
                      <a:pt x="2" y="26"/>
                    </a:cubicBezTo>
                    <a:cubicBezTo>
                      <a:pt x="1" y="26"/>
                      <a:pt x="0" y="24"/>
                      <a:pt x="0" y="25"/>
                    </a:cubicBezTo>
                    <a:cubicBezTo>
                      <a:pt x="1" y="26"/>
                      <a:pt x="2" y="27"/>
                      <a:pt x="4" y="28"/>
                    </a:cubicBezTo>
                    <a:cubicBezTo>
                      <a:pt x="5" y="29"/>
                      <a:pt x="6" y="29"/>
                      <a:pt x="6" y="31"/>
                    </a:cubicBezTo>
                    <a:cubicBezTo>
                      <a:pt x="6" y="31"/>
                      <a:pt x="7" y="32"/>
                      <a:pt x="7" y="32"/>
                    </a:cubicBez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4" name="Freeform 3106">
                <a:extLst>
                  <a:ext uri="{FF2B5EF4-FFF2-40B4-BE49-F238E27FC236}">
                    <a16:creationId xmlns:a16="http://schemas.microsoft.com/office/drawing/2014/main" id="{728AFF41-9D46-4CA6-8239-545711A1A23F}"/>
                  </a:ext>
                </a:extLst>
              </p:cNvPr>
              <p:cNvSpPr>
                <a:spLocks/>
              </p:cNvSpPr>
              <p:nvPr/>
            </p:nvSpPr>
            <p:spPr bwMode="auto">
              <a:xfrm>
                <a:off x="4036" y="1664"/>
                <a:ext cx="36" cy="33"/>
              </a:xfrm>
              <a:custGeom>
                <a:avLst/>
                <a:gdLst>
                  <a:gd name="T0" fmla="*/ 9 w 15"/>
                  <a:gd name="T1" fmla="*/ 11 h 14"/>
                  <a:gd name="T2" fmla="*/ 9 w 15"/>
                  <a:gd name="T3" fmla="*/ 11 h 14"/>
                  <a:gd name="T4" fmla="*/ 11 w 15"/>
                  <a:gd name="T5" fmla="*/ 12 h 14"/>
                  <a:gd name="T6" fmla="*/ 11 w 15"/>
                  <a:gd name="T7" fmla="*/ 12 h 14"/>
                  <a:gd name="T8" fmla="*/ 12 w 15"/>
                  <a:gd name="T9" fmla="*/ 11 h 14"/>
                  <a:gd name="T10" fmla="*/ 13 w 15"/>
                  <a:gd name="T11" fmla="*/ 10 h 14"/>
                  <a:gd name="T12" fmla="*/ 13 w 15"/>
                  <a:gd name="T13" fmla="*/ 10 h 14"/>
                  <a:gd name="T14" fmla="*/ 13 w 15"/>
                  <a:gd name="T15" fmla="*/ 10 h 14"/>
                  <a:gd name="T16" fmla="*/ 14 w 15"/>
                  <a:gd name="T17" fmla="*/ 9 h 14"/>
                  <a:gd name="T18" fmla="*/ 15 w 15"/>
                  <a:gd name="T19" fmla="*/ 7 h 14"/>
                  <a:gd name="T20" fmla="*/ 15 w 15"/>
                  <a:gd name="T21" fmla="*/ 7 h 14"/>
                  <a:gd name="T22" fmla="*/ 12 w 15"/>
                  <a:gd name="T23" fmla="*/ 6 h 14"/>
                  <a:gd name="T24" fmla="*/ 12 w 15"/>
                  <a:gd name="T25" fmla="*/ 4 h 14"/>
                  <a:gd name="T26" fmla="*/ 12 w 15"/>
                  <a:gd name="T27" fmla="*/ 4 h 14"/>
                  <a:gd name="T28" fmla="*/ 12 w 15"/>
                  <a:gd name="T29" fmla="*/ 4 h 14"/>
                  <a:gd name="T30" fmla="*/ 11 w 15"/>
                  <a:gd name="T31" fmla="*/ 4 h 14"/>
                  <a:gd name="T32" fmla="*/ 9 w 15"/>
                  <a:gd name="T33" fmla="*/ 0 h 14"/>
                  <a:gd name="T34" fmla="*/ 8 w 15"/>
                  <a:gd name="T35" fmla="*/ 0 h 14"/>
                  <a:gd name="T36" fmla="*/ 7 w 15"/>
                  <a:gd name="T37" fmla="*/ 0 h 14"/>
                  <a:gd name="T38" fmla="*/ 7 w 15"/>
                  <a:gd name="T39" fmla="*/ 0 h 14"/>
                  <a:gd name="T40" fmla="*/ 6 w 15"/>
                  <a:gd name="T41" fmla="*/ 0 h 14"/>
                  <a:gd name="T42" fmla="*/ 7 w 15"/>
                  <a:gd name="T43" fmla="*/ 2 h 14"/>
                  <a:gd name="T44" fmla="*/ 5 w 15"/>
                  <a:gd name="T45" fmla="*/ 3 h 14"/>
                  <a:gd name="T46" fmla="*/ 4 w 15"/>
                  <a:gd name="T47" fmla="*/ 3 h 14"/>
                  <a:gd name="T48" fmla="*/ 4 w 15"/>
                  <a:gd name="T49" fmla="*/ 4 h 14"/>
                  <a:gd name="T50" fmla="*/ 4 w 15"/>
                  <a:gd name="T51" fmla="*/ 4 h 14"/>
                  <a:gd name="T52" fmla="*/ 4 w 15"/>
                  <a:gd name="T53" fmla="*/ 4 h 14"/>
                  <a:gd name="T54" fmla="*/ 5 w 15"/>
                  <a:gd name="T55" fmla="*/ 5 h 14"/>
                  <a:gd name="T56" fmla="*/ 2 w 15"/>
                  <a:gd name="T57" fmla="*/ 5 h 14"/>
                  <a:gd name="T58" fmla="*/ 1 w 15"/>
                  <a:gd name="T59" fmla="*/ 6 h 14"/>
                  <a:gd name="T60" fmla="*/ 0 w 15"/>
                  <a:gd name="T61" fmla="*/ 6 h 14"/>
                  <a:gd name="T62" fmla="*/ 0 w 15"/>
                  <a:gd name="T63" fmla="*/ 7 h 14"/>
                  <a:gd name="T64" fmla="*/ 0 w 15"/>
                  <a:gd name="T65" fmla="*/ 7 h 14"/>
                  <a:gd name="T66" fmla="*/ 3 w 15"/>
                  <a:gd name="T67" fmla="*/ 10 h 14"/>
                  <a:gd name="T68" fmla="*/ 4 w 15"/>
                  <a:gd name="T69" fmla="*/ 10 h 14"/>
                  <a:gd name="T70" fmla="*/ 4 w 15"/>
                  <a:gd name="T71" fmla="*/ 11 h 14"/>
                  <a:gd name="T72" fmla="*/ 4 w 15"/>
                  <a:gd name="T73" fmla="*/ 11 h 14"/>
                  <a:gd name="T74" fmla="*/ 4 w 15"/>
                  <a:gd name="T75" fmla="*/ 11 h 14"/>
                  <a:gd name="T76" fmla="*/ 5 w 15"/>
                  <a:gd name="T77" fmla="*/ 12 h 14"/>
                  <a:gd name="T78" fmla="*/ 5 w 15"/>
                  <a:gd name="T79" fmla="*/ 14 h 14"/>
                  <a:gd name="T80" fmla="*/ 5 w 15"/>
                  <a:gd name="T81" fmla="*/ 14 h 14"/>
                  <a:gd name="T82" fmla="*/ 6 w 15"/>
                  <a:gd name="T83" fmla="*/ 14 h 14"/>
                  <a:gd name="T84" fmla="*/ 6 w 15"/>
                  <a:gd name="T85" fmla="*/ 12 h 14"/>
                  <a:gd name="T86" fmla="*/ 7 w 15"/>
                  <a:gd name="T87" fmla="*/ 12 h 14"/>
                  <a:gd name="T88" fmla="*/ 8 w 15"/>
                  <a:gd name="T89" fmla="*/ 12 h 14"/>
                  <a:gd name="T90" fmla="*/ 8 w 15"/>
                  <a:gd name="T91" fmla="*/ 12 h 14"/>
                  <a:gd name="T92" fmla="*/ 7 w 15"/>
                  <a:gd name="T93" fmla="*/ 9 h 14"/>
                  <a:gd name="T94" fmla="*/ 9 w 15"/>
                  <a:gd name="T9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 h="14">
                    <a:moveTo>
                      <a:pt x="9" y="11"/>
                    </a:moveTo>
                    <a:cubicBezTo>
                      <a:pt x="9" y="11"/>
                      <a:pt x="9" y="11"/>
                      <a:pt x="9" y="11"/>
                    </a:cubicBezTo>
                    <a:cubicBezTo>
                      <a:pt x="10" y="11"/>
                      <a:pt x="10" y="12"/>
                      <a:pt x="11" y="12"/>
                    </a:cubicBezTo>
                    <a:cubicBezTo>
                      <a:pt x="11" y="12"/>
                      <a:pt x="11" y="12"/>
                      <a:pt x="11" y="12"/>
                    </a:cubicBezTo>
                    <a:cubicBezTo>
                      <a:pt x="11" y="11"/>
                      <a:pt x="11" y="11"/>
                      <a:pt x="12" y="11"/>
                    </a:cubicBezTo>
                    <a:cubicBezTo>
                      <a:pt x="12" y="10"/>
                      <a:pt x="13" y="10"/>
                      <a:pt x="13" y="10"/>
                    </a:cubicBezTo>
                    <a:cubicBezTo>
                      <a:pt x="13" y="10"/>
                      <a:pt x="13" y="10"/>
                      <a:pt x="13" y="10"/>
                    </a:cubicBezTo>
                    <a:cubicBezTo>
                      <a:pt x="13" y="10"/>
                      <a:pt x="13" y="10"/>
                      <a:pt x="13" y="10"/>
                    </a:cubicBezTo>
                    <a:cubicBezTo>
                      <a:pt x="14" y="10"/>
                      <a:pt x="14" y="9"/>
                      <a:pt x="14" y="9"/>
                    </a:cubicBezTo>
                    <a:cubicBezTo>
                      <a:pt x="14" y="8"/>
                      <a:pt x="15" y="8"/>
                      <a:pt x="15" y="7"/>
                    </a:cubicBezTo>
                    <a:cubicBezTo>
                      <a:pt x="15" y="7"/>
                      <a:pt x="15" y="7"/>
                      <a:pt x="15" y="7"/>
                    </a:cubicBezTo>
                    <a:cubicBezTo>
                      <a:pt x="14" y="7"/>
                      <a:pt x="13" y="7"/>
                      <a:pt x="12" y="6"/>
                    </a:cubicBezTo>
                    <a:cubicBezTo>
                      <a:pt x="12" y="5"/>
                      <a:pt x="12" y="5"/>
                      <a:pt x="12" y="4"/>
                    </a:cubicBezTo>
                    <a:cubicBezTo>
                      <a:pt x="12" y="4"/>
                      <a:pt x="12" y="4"/>
                      <a:pt x="12" y="4"/>
                    </a:cubicBezTo>
                    <a:cubicBezTo>
                      <a:pt x="12" y="4"/>
                      <a:pt x="12" y="4"/>
                      <a:pt x="12" y="4"/>
                    </a:cubicBezTo>
                    <a:cubicBezTo>
                      <a:pt x="12" y="4"/>
                      <a:pt x="12" y="4"/>
                      <a:pt x="11" y="4"/>
                    </a:cubicBezTo>
                    <a:cubicBezTo>
                      <a:pt x="10" y="3"/>
                      <a:pt x="9" y="2"/>
                      <a:pt x="9" y="0"/>
                    </a:cubicBezTo>
                    <a:cubicBezTo>
                      <a:pt x="9" y="0"/>
                      <a:pt x="8" y="0"/>
                      <a:pt x="8" y="0"/>
                    </a:cubicBezTo>
                    <a:cubicBezTo>
                      <a:pt x="8" y="0"/>
                      <a:pt x="7" y="0"/>
                      <a:pt x="7" y="0"/>
                    </a:cubicBezTo>
                    <a:cubicBezTo>
                      <a:pt x="7" y="0"/>
                      <a:pt x="7" y="0"/>
                      <a:pt x="7" y="0"/>
                    </a:cubicBezTo>
                    <a:cubicBezTo>
                      <a:pt x="6" y="0"/>
                      <a:pt x="6" y="0"/>
                      <a:pt x="6" y="0"/>
                    </a:cubicBezTo>
                    <a:cubicBezTo>
                      <a:pt x="7" y="0"/>
                      <a:pt x="7" y="1"/>
                      <a:pt x="7" y="2"/>
                    </a:cubicBezTo>
                    <a:cubicBezTo>
                      <a:pt x="6" y="3"/>
                      <a:pt x="6" y="3"/>
                      <a:pt x="5" y="3"/>
                    </a:cubicBezTo>
                    <a:cubicBezTo>
                      <a:pt x="5" y="3"/>
                      <a:pt x="4" y="3"/>
                      <a:pt x="4" y="3"/>
                    </a:cubicBezTo>
                    <a:cubicBezTo>
                      <a:pt x="4" y="3"/>
                      <a:pt x="4" y="3"/>
                      <a:pt x="4" y="4"/>
                    </a:cubicBezTo>
                    <a:cubicBezTo>
                      <a:pt x="4" y="4"/>
                      <a:pt x="4" y="4"/>
                      <a:pt x="4" y="4"/>
                    </a:cubicBezTo>
                    <a:cubicBezTo>
                      <a:pt x="4" y="4"/>
                      <a:pt x="4" y="4"/>
                      <a:pt x="4" y="4"/>
                    </a:cubicBezTo>
                    <a:cubicBezTo>
                      <a:pt x="5" y="5"/>
                      <a:pt x="5" y="5"/>
                      <a:pt x="5" y="5"/>
                    </a:cubicBezTo>
                    <a:cubicBezTo>
                      <a:pt x="2" y="5"/>
                      <a:pt x="2" y="5"/>
                      <a:pt x="2" y="5"/>
                    </a:cubicBezTo>
                    <a:cubicBezTo>
                      <a:pt x="2" y="6"/>
                      <a:pt x="1" y="6"/>
                      <a:pt x="1" y="6"/>
                    </a:cubicBezTo>
                    <a:cubicBezTo>
                      <a:pt x="0" y="6"/>
                      <a:pt x="0" y="6"/>
                      <a:pt x="0" y="6"/>
                    </a:cubicBezTo>
                    <a:cubicBezTo>
                      <a:pt x="0" y="6"/>
                      <a:pt x="0" y="7"/>
                      <a:pt x="0" y="7"/>
                    </a:cubicBezTo>
                    <a:cubicBezTo>
                      <a:pt x="0" y="7"/>
                      <a:pt x="0" y="7"/>
                      <a:pt x="0" y="7"/>
                    </a:cubicBezTo>
                    <a:cubicBezTo>
                      <a:pt x="1" y="8"/>
                      <a:pt x="2" y="9"/>
                      <a:pt x="3" y="10"/>
                    </a:cubicBezTo>
                    <a:cubicBezTo>
                      <a:pt x="3" y="10"/>
                      <a:pt x="3" y="10"/>
                      <a:pt x="4" y="10"/>
                    </a:cubicBezTo>
                    <a:cubicBezTo>
                      <a:pt x="4" y="11"/>
                      <a:pt x="4" y="11"/>
                      <a:pt x="4" y="11"/>
                    </a:cubicBezTo>
                    <a:cubicBezTo>
                      <a:pt x="4" y="11"/>
                      <a:pt x="4" y="11"/>
                      <a:pt x="4" y="11"/>
                    </a:cubicBezTo>
                    <a:cubicBezTo>
                      <a:pt x="4" y="11"/>
                      <a:pt x="4" y="11"/>
                      <a:pt x="4" y="11"/>
                    </a:cubicBezTo>
                    <a:cubicBezTo>
                      <a:pt x="4" y="11"/>
                      <a:pt x="5" y="12"/>
                      <a:pt x="5" y="12"/>
                    </a:cubicBezTo>
                    <a:cubicBezTo>
                      <a:pt x="5" y="12"/>
                      <a:pt x="5" y="13"/>
                      <a:pt x="5" y="14"/>
                    </a:cubicBezTo>
                    <a:cubicBezTo>
                      <a:pt x="5" y="14"/>
                      <a:pt x="5" y="14"/>
                      <a:pt x="5" y="14"/>
                    </a:cubicBezTo>
                    <a:cubicBezTo>
                      <a:pt x="5" y="14"/>
                      <a:pt x="5" y="14"/>
                      <a:pt x="6" y="14"/>
                    </a:cubicBezTo>
                    <a:cubicBezTo>
                      <a:pt x="6" y="13"/>
                      <a:pt x="6" y="13"/>
                      <a:pt x="6" y="12"/>
                    </a:cubicBezTo>
                    <a:cubicBezTo>
                      <a:pt x="7" y="12"/>
                      <a:pt x="7" y="12"/>
                      <a:pt x="7" y="12"/>
                    </a:cubicBezTo>
                    <a:cubicBezTo>
                      <a:pt x="7" y="12"/>
                      <a:pt x="7" y="12"/>
                      <a:pt x="8" y="12"/>
                    </a:cubicBezTo>
                    <a:cubicBezTo>
                      <a:pt x="8" y="12"/>
                      <a:pt x="8" y="12"/>
                      <a:pt x="8" y="12"/>
                    </a:cubicBezTo>
                    <a:cubicBezTo>
                      <a:pt x="7" y="9"/>
                      <a:pt x="7" y="9"/>
                      <a:pt x="7" y="9"/>
                    </a:cubicBezTo>
                    <a:cubicBezTo>
                      <a:pt x="9" y="11"/>
                      <a:pt x="9" y="11"/>
                      <a:pt x="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5" name="Freeform 3107">
                <a:extLst>
                  <a:ext uri="{FF2B5EF4-FFF2-40B4-BE49-F238E27FC236}">
                    <a16:creationId xmlns:a16="http://schemas.microsoft.com/office/drawing/2014/main" id="{CA8E965D-A0AB-443A-B176-A00B9AB0491A}"/>
                  </a:ext>
                </a:extLst>
              </p:cNvPr>
              <p:cNvSpPr>
                <a:spLocks/>
              </p:cNvSpPr>
              <p:nvPr/>
            </p:nvSpPr>
            <p:spPr bwMode="auto">
              <a:xfrm>
                <a:off x="4048" y="1693"/>
                <a:ext cx="54" cy="35"/>
              </a:xfrm>
              <a:custGeom>
                <a:avLst/>
                <a:gdLst>
                  <a:gd name="T0" fmla="*/ 20 w 23"/>
                  <a:gd name="T1" fmla="*/ 3 h 15"/>
                  <a:gd name="T2" fmla="*/ 19 w 23"/>
                  <a:gd name="T3" fmla="*/ 5 h 15"/>
                  <a:gd name="T4" fmla="*/ 19 w 23"/>
                  <a:gd name="T5" fmla="*/ 2 h 15"/>
                  <a:gd name="T6" fmla="*/ 19 w 23"/>
                  <a:gd name="T7" fmla="*/ 2 h 15"/>
                  <a:gd name="T8" fmla="*/ 15 w 23"/>
                  <a:gd name="T9" fmla="*/ 0 h 15"/>
                  <a:gd name="T10" fmla="*/ 12 w 23"/>
                  <a:gd name="T11" fmla="*/ 0 h 15"/>
                  <a:gd name="T12" fmla="*/ 10 w 23"/>
                  <a:gd name="T13" fmla="*/ 1 h 15"/>
                  <a:gd name="T14" fmla="*/ 9 w 23"/>
                  <a:gd name="T15" fmla="*/ 1 h 15"/>
                  <a:gd name="T16" fmla="*/ 8 w 23"/>
                  <a:gd name="T17" fmla="*/ 1 h 15"/>
                  <a:gd name="T18" fmla="*/ 5 w 23"/>
                  <a:gd name="T19" fmla="*/ 2 h 15"/>
                  <a:gd name="T20" fmla="*/ 4 w 23"/>
                  <a:gd name="T21" fmla="*/ 2 h 15"/>
                  <a:gd name="T22" fmla="*/ 3 w 23"/>
                  <a:gd name="T23" fmla="*/ 2 h 15"/>
                  <a:gd name="T24" fmla="*/ 2 w 23"/>
                  <a:gd name="T25" fmla="*/ 4 h 15"/>
                  <a:gd name="T26" fmla="*/ 0 w 23"/>
                  <a:gd name="T27" fmla="*/ 6 h 15"/>
                  <a:gd name="T28" fmla="*/ 0 w 23"/>
                  <a:gd name="T29" fmla="*/ 6 h 15"/>
                  <a:gd name="T30" fmla="*/ 0 w 23"/>
                  <a:gd name="T31" fmla="*/ 8 h 15"/>
                  <a:gd name="T32" fmla="*/ 0 w 23"/>
                  <a:gd name="T33" fmla="*/ 11 h 15"/>
                  <a:gd name="T34" fmla="*/ 0 w 23"/>
                  <a:gd name="T35" fmla="*/ 12 h 15"/>
                  <a:gd name="T36" fmla="*/ 2 w 23"/>
                  <a:gd name="T37" fmla="*/ 14 h 15"/>
                  <a:gd name="T38" fmla="*/ 3 w 23"/>
                  <a:gd name="T39" fmla="*/ 15 h 15"/>
                  <a:gd name="T40" fmla="*/ 4 w 23"/>
                  <a:gd name="T41" fmla="*/ 15 h 15"/>
                  <a:gd name="T42" fmla="*/ 4 w 23"/>
                  <a:gd name="T43" fmla="*/ 15 h 15"/>
                  <a:gd name="T44" fmla="*/ 5 w 23"/>
                  <a:gd name="T45" fmla="*/ 15 h 15"/>
                  <a:gd name="T46" fmla="*/ 6 w 23"/>
                  <a:gd name="T47" fmla="*/ 15 h 15"/>
                  <a:gd name="T48" fmla="*/ 9 w 23"/>
                  <a:gd name="T49" fmla="*/ 14 h 15"/>
                  <a:gd name="T50" fmla="*/ 11 w 23"/>
                  <a:gd name="T51" fmla="*/ 14 h 15"/>
                  <a:gd name="T52" fmla="*/ 11 w 23"/>
                  <a:gd name="T53" fmla="*/ 14 h 15"/>
                  <a:gd name="T54" fmla="*/ 14 w 23"/>
                  <a:gd name="T55" fmla="*/ 12 h 15"/>
                  <a:gd name="T56" fmla="*/ 18 w 23"/>
                  <a:gd name="T57" fmla="*/ 12 h 15"/>
                  <a:gd name="T58" fmla="*/ 19 w 23"/>
                  <a:gd name="T59" fmla="*/ 12 h 15"/>
                  <a:gd name="T60" fmla="*/ 20 w 23"/>
                  <a:gd name="T61" fmla="*/ 11 h 15"/>
                  <a:gd name="T62" fmla="*/ 21 w 23"/>
                  <a:gd name="T63" fmla="*/ 9 h 15"/>
                  <a:gd name="T64" fmla="*/ 22 w 23"/>
                  <a:gd name="T65" fmla="*/ 9 h 15"/>
                  <a:gd name="T66" fmla="*/ 23 w 23"/>
                  <a:gd name="T67" fmla="*/ 6 h 15"/>
                  <a:gd name="T68" fmla="*/ 23 w 23"/>
                  <a:gd name="T6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15">
                    <a:moveTo>
                      <a:pt x="23" y="6"/>
                    </a:moveTo>
                    <a:cubicBezTo>
                      <a:pt x="23" y="6"/>
                      <a:pt x="23" y="5"/>
                      <a:pt x="20" y="3"/>
                    </a:cubicBezTo>
                    <a:cubicBezTo>
                      <a:pt x="20" y="3"/>
                      <a:pt x="20" y="3"/>
                      <a:pt x="20" y="3"/>
                    </a:cubicBezTo>
                    <a:cubicBezTo>
                      <a:pt x="19" y="5"/>
                      <a:pt x="19" y="5"/>
                      <a:pt x="19" y="5"/>
                    </a:cubicBezTo>
                    <a:cubicBezTo>
                      <a:pt x="20" y="3"/>
                      <a:pt x="20" y="3"/>
                      <a:pt x="20" y="3"/>
                    </a:cubicBezTo>
                    <a:cubicBezTo>
                      <a:pt x="19" y="2"/>
                      <a:pt x="19" y="2"/>
                      <a:pt x="19" y="2"/>
                    </a:cubicBezTo>
                    <a:cubicBezTo>
                      <a:pt x="19" y="2"/>
                      <a:pt x="19" y="2"/>
                      <a:pt x="19" y="2"/>
                    </a:cubicBezTo>
                    <a:cubicBezTo>
                      <a:pt x="19" y="2"/>
                      <a:pt x="19" y="2"/>
                      <a:pt x="19" y="2"/>
                    </a:cubicBezTo>
                    <a:cubicBezTo>
                      <a:pt x="18" y="1"/>
                      <a:pt x="18" y="1"/>
                      <a:pt x="17" y="0"/>
                    </a:cubicBezTo>
                    <a:cubicBezTo>
                      <a:pt x="15" y="0"/>
                      <a:pt x="15" y="0"/>
                      <a:pt x="15" y="0"/>
                    </a:cubicBezTo>
                    <a:cubicBezTo>
                      <a:pt x="15" y="0"/>
                      <a:pt x="15" y="0"/>
                      <a:pt x="15" y="0"/>
                    </a:cubicBezTo>
                    <a:cubicBezTo>
                      <a:pt x="14" y="0"/>
                      <a:pt x="13" y="0"/>
                      <a:pt x="12" y="0"/>
                    </a:cubicBezTo>
                    <a:cubicBezTo>
                      <a:pt x="10" y="1"/>
                      <a:pt x="10" y="1"/>
                      <a:pt x="10" y="1"/>
                    </a:cubicBezTo>
                    <a:cubicBezTo>
                      <a:pt x="10" y="1"/>
                      <a:pt x="10" y="1"/>
                      <a:pt x="10" y="1"/>
                    </a:cubicBezTo>
                    <a:cubicBezTo>
                      <a:pt x="10" y="1"/>
                      <a:pt x="10" y="1"/>
                      <a:pt x="10" y="1"/>
                    </a:cubicBezTo>
                    <a:cubicBezTo>
                      <a:pt x="9" y="1"/>
                      <a:pt x="9" y="1"/>
                      <a:pt x="9" y="1"/>
                    </a:cubicBezTo>
                    <a:cubicBezTo>
                      <a:pt x="9" y="1"/>
                      <a:pt x="9" y="1"/>
                      <a:pt x="9" y="1"/>
                    </a:cubicBezTo>
                    <a:cubicBezTo>
                      <a:pt x="9" y="1"/>
                      <a:pt x="8" y="1"/>
                      <a:pt x="8" y="1"/>
                    </a:cubicBezTo>
                    <a:cubicBezTo>
                      <a:pt x="8" y="1"/>
                      <a:pt x="8" y="2"/>
                      <a:pt x="7" y="2"/>
                    </a:cubicBezTo>
                    <a:cubicBezTo>
                      <a:pt x="6" y="3"/>
                      <a:pt x="5" y="2"/>
                      <a:pt x="5" y="2"/>
                    </a:cubicBezTo>
                    <a:cubicBezTo>
                      <a:pt x="4" y="2"/>
                      <a:pt x="4" y="2"/>
                      <a:pt x="4" y="2"/>
                    </a:cubicBezTo>
                    <a:cubicBezTo>
                      <a:pt x="4" y="2"/>
                      <a:pt x="4" y="2"/>
                      <a:pt x="4" y="2"/>
                    </a:cubicBezTo>
                    <a:cubicBezTo>
                      <a:pt x="4" y="2"/>
                      <a:pt x="4" y="2"/>
                      <a:pt x="3" y="2"/>
                    </a:cubicBezTo>
                    <a:cubicBezTo>
                      <a:pt x="3" y="2"/>
                      <a:pt x="3" y="2"/>
                      <a:pt x="3" y="2"/>
                    </a:cubicBezTo>
                    <a:cubicBezTo>
                      <a:pt x="3" y="2"/>
                      <a:pt x="3" y="3"/>
                      <a:pt x="3" y="3"/>
                    </a:cubicBezTo>
                    <a:cubicBezTo>
                      <a:pt x="3" y="3"/>
                      <a:pt x="2" y="4"/>
                      <a:pt x="2" y="4"/>
                    </a:cubicBezTo>
                    <a:cubicBezTo>
                      <a:pt x="2" y="5"/>
                      <a:pt x="2" y="5"/>
                      <a:pt x="1" y="5"/>
                    </a:cubicBezTo>
                    <a:cubicBezTo>
                      <a:pt x="1" y="5"/>
                      <a:pt x="1" y="6"/>
                      <a:pt x="0" y="6"/>
                    </a:cubicBezTo>
                    <a:cubicBezTo>
                      <a:pt x="0" y="6"/>
                      <a:pt x="0" y="6"/>
                      <a:pt x="0" y="6"/>
                    </a:cubicBezTo>
                    <a:cubicBezTo>
                      <a:pt x="0" y="6"/>
                      <a:pt x="0" y="6"/>
                      <a:pt x="0" y="6"/>
                    </a:cubicBezTo>
                    <a:cubicBezTo>
                      <a:pt x="0" y="7"/>
                      <a:pt x="0" y="7"/>
                      <a:pt x="0" y="7"/>
                    </a:cubicBezTo>
                    <a:cubicBezTo>
                      <a:pt x="0" y="8"/>
                      <a:pt x="0" y="8"/>
                      <a:pt x="0" y="8"/>
                    </a:cubicBezTo>
                    <a:cubicBezTo>
                      <a:pt x="0" y="9"/>
                      <a:pt x="0" y="9"/>
                      <a:pt x="0" y="10"/>
                    </a:cubicBezTo>
                    <a:cubicBezTo>
                      <a:pt x="0" y="10"/>
                      <a:pt x="0" y="11"/>
                      <a:pt x="0" y="11"/>
                    </a:cubicBezTo>
                    <a:cubicBezTo>
                      <a:pt x="0" y="11"/>
                      <a:pt x="0" y="11"/>
                      <a:pt x="0" y="11"/>
                    </a:cubicBezTo>
                    <a:cubicBezTo>
                      <a:pt x="0" y="12"/>
                      <a:pt x="0" y="12"/>
                      <a:pt x="0" y="12"/>
                    </a:cubicBezTo>
                    <a:cubicBezTo>
                      <a:pt x="0" y="12"/>
                      <a:pt x="1" y="13"/>
                      <a:pt x="1" y="13"/>
                    </a:cubicBezTo>
                    <a:cubicBezTo>
                      <a:pt x="1" y="13"/>
                      <a:pt x="2" y="14"/>
                      <a:pt x="2" y="14"/>
                    </a:cubicBezTo>
                    <a:cubicBezTo>
                      <a:pt x="2" y="14"/>
                      <a:pt x="2" y="14"/>
                      <a:pt x="2" y="14"/>
                    </a:cubicBezTo>
                    <a:cubicBezTo>
                      <a:pt x="3" y="14"/>
                      <a:pt x="3" y="14"/>
                      <a:pt x="3" y="15"/>
                    </a:cubicBezTo>
                    <a:cubicBezTo>
                      <a:pt x="3" y="15"/>
                      <a:pt x="3" y="15"/>
                      <a:pt x="3" y="15"/>
                    </a:cubicBezTo>
                    <a:cubicBezTo>
                      <a:pt x="4" y="15"/>
                      <a:pt x="4" y="15"/>
                      <a:pt x="4" y="15"/>
                    </a:cubicBezTo>
                    <a:cubicBezTo>
                      <a:pt x="4" y="15"/>
                      <a:pt x="4" y="15"/>
                      <a:pt x="4" y="15"/>
                    </a:cubicBezTo>
                    <a:cubicBezTo>
                      <a:pt x="4" y="15"/>
                      <a:pt x="4" y="15"/>
                      <a:pt x="4" y="15"/>
                    </a:cubicBezTo>
                    <a:cubicBezTo>
                      <a:pt x="4" y="15"/>
                      <a:pt x="4" y="15"/>
                      <a:pt x="4" y="15"/>
                    </a:cubicBezTo>
                    <a:cubicBezTo>
                      <a:pt x="5" y="15"/>
                      <a:pt x="5" y="15"/>
                      <a:pt x="5" y="15"/>
                    </a:cubicBezTo>
                    <a:cubicBezTo>
                      <a:pt x="6" y="15"/>
                      <a:pt x="6" y="15"/>
                      <a:pt x="6" y="15"/>
                    </a:cubicBezTo>
                    <a:cubicBezTo>
                      <a:pt x="6" y="15"/>
                      <a:pt x="6" y="15"/>
                      <a:pt x="6" y="15"/>
                    </a:cubicBezTo>
                    <a:cubicBezTo>
                      <a:pt x="8" y="15"/>
                      <a:pt x="8" y="15"/>
                      <a:pt x="8" y="15"/>
                    </a:cubicBezTo>
                    <a:cubicBezTo>
                      <a:pt x="8" y="15"/>
                      <a:pt x="9" y="14"/>
                      <a:pt x="9" y="14"/>
                    </a:cubicBezTo>
                    <a:cubicBezTo>
                      <a:pt x="9" y="14"/>
                      <a:pt x="10" y="14"/>
                      <a:pt x="10" y="14"/>
                    </a:cubicBezTo>
                    <a:cubicBezTo>
                      <a:pt x="11" y="14"/>
                      <a:pt x="11" y="14"/>
                      <a:pt x="11" y="14"/>
                    </a:cubicBezTo>
                    <a:cubicBezTo>
                      <a:pt x="11" y="14"/>
                      <a:pt x="11" y="14"/>
                      <a:pt x="11" y="14"/>
                    </a:cubicBezTo>
                    <a:cubicBezTo>
                      <a:pt x="11" y="14"/>
                      <a:pt x="11" y="14"/>
                      <a:pt x="11" y="14"/>
                    </a:cubicBezTo>
                    <a:cubicBezTo>
                      <a:pt x="11" y="14"/>
                      <a:pt x="11" y="13"/>
                      <a:pt x="12" y="13"/>
                    </a:cubicBezTo>
                    <a:cubicBezTo>
                      <a:pt x="12" y="12"/>
                      <a:pt x="13" y="12"/>
                      <a:pt x="14" y="12"/>
                    </a:cubicBezTo>
                    <a:cubicBezTo>
                      <a:pt x="14" y="12"/>
                      <a:pt x="15" y="12"/>
                      <a:pt x="15" y="11"/>
                    </a:cubicBezTo>
                    <a:cubicBezTo>
                      <a:pt x="16" y="11"/>
                      <a:pt x="17" y="11"/>
                      <a:pt x="18" y="12"/>
                    </a:cubicBezTo>
                    <a:cubicBezTo>
                      <a:pt x="18" y="12"/>
                      <a:pt x="18" y="12"/>
                      <a:pt x="18" y="12"/>
                    </a:cubicBezTo>
                    <a:cubicBezTo>
                      <a:pt x="19" y="12"/>
                      <a:pt x="19" y="12"/>
                      <a:pt x="19" y="12"/>
                    </a:cubicBezTo>
                    <a:cubicBezTo>
                      <a:pt x="19" y="12"/>
                      <a:pt x="20" y="11"/>
                      <a:pt x="20" y="11"/>
                    </a:cubicBezTo>
                    <a:cubicBezTo>
                      <a:pt x="20" y="11"/>
                      <a:pt x="20" y="11"/>
                      <a:pt x="20" y="11"/>
                    </a:cubicBezTo>
                    <a:cubicBezTo>
                      <a:pt x="20" y="11"/>
                      <a:pt x="20" y="10"/>
                      <a:pt x="20" y="10"/>
                    </a:cubicBezTo>
                    <a:cubicBezTo>
                      <a:pt x="21" y="10"/>
                      <a:pt x="21" y="9"/>
                      <a:pt x="21" y="9"/>
                    </a:cubicBezTo>
                    <a:cubicBezTo>
                      <a:pt x="21" y="9"/>
                      <a:pt x="21" y="9"/>
                      <a:pt x="21" y="9"/>
                    </a:cubicBezTo>
                    <a:cubicBezTo>
                      <a:pt x="22" y="9"/>
                      <a:pt x="22" y="9"/>
                      <a:pt x="22" y="9"/>
                    </a:cubicBezTo>
                    <a:cubicBezTo>
                      <a:pt x="22" y="9"/>
                      <a:pt x="22" y="9"/>
                      <a:pt x="22" y="9"/>
                    </a:cubicBezTo>
                    <a:cubicBezTo>
                      <a:pt x="22" y="8"/>
                      <a:pt x="23" y="7"/>
                      <a:pt x="23" y="6"/>
                    </a:cubicBezTo>
                    <a:cubicBezTo>
                      <a:pt x="23" y="6"/>
                      <a:pt x="23" y="6"/>
                      <a:pt x="23" y="6"/>
                    </a:cubicBezTo>
                    <a:cubicBezTo>
                      <a:pt x="23" y="6"/>
                      <a:pt x="23" y="6"/>
                      <a:pt x="23" y="6"/>
                    </a:cubicBezTo>
                    <a:cubicBezTo>
                      <a:pt x="23" y="6"/>
                      <a:pt x="23"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6" name="Freeform 3108">
                <a:extLst>
                  <a:ext uri="{FF2B5EF4-FFF2-40B4-BE49-F238E27FC236}">
                    <a16:creationId xmlns:a16="http://schemas.microsoft.com/office/drawing/2014/main" id="{58926A86-3A6B-46A4-8C57-A55A52CBDB75}"/>
                  </a:ext>
                </a:extLst>
              </p:cNvPr>
              <p:cNvSpPr>
                <a:spLocks/>
              </p:cNvSpPr>
              <p:nvPr/>
            </p:nvSpPr>
            <p:spPr bwMode="auto">
              <a:xfrm>
                <a:off x="4034" y="1709"/>
                <a:ext cx="156" cy="149"/>
              </a:xfrm>
              <a:custGeom>
                <a:avLst/>
                <a:gdLst>
                  <a:gd name="T0" fmla="*/ 63 w 66"/>
                  <a:gd name="T1" fmla="*/ 7 h 63"/>
                  <a:gd name="T2" fmla="*/ 63 w 66"/>
                  <a:gd name="T3" fmla="*/ 6 h 63"/>
                  <a:gd name="T4" fmla="*/ 65 w 66"/>
                  <a:gd name="T5" fmla="*/ 3 h 63"/>
                  <a:gd name="T6" fmla="*/ 65 w 66"/>
                  <a:gd name="T7" fmla="*/ 1 h 63"/>
                  <a:gd name="T8" fmla="*/ 64 w 66"/>
                  <a:gd name="T9" fmla="*/ 0 h 63"/>
                  <a:gd name="T10" fmla="*/ 63 w 66"/>
                  <a:gd name="T11" fmla="*/ 3 h 63"/>
                  <a:gd name="T12" fmla="*/ 57 w 66"/>
                  <a:gd name="T13" fmla="*/ 5 h 63"/>
                  <a:gd name="T14" fmla="*/ 54 w 66"/>
                  <a:gd name="T15" fmla="*/ 6 h 63"/>
                  <a:gd name="T16" fmla="*/ 52 w 66"/>
                  <a:gd name="T17" fmla="*/ 5 h 63"/>
                  <a:gd name="T18" fmla="*/ 47 w 66"/>
                  <a:gd name="T19" fmla="*/ 4 h 63"/>
                  <a:gd name="T20" fmla="*/ 43 w 66"/>
                  <a:gd name="T21" fmla="*/ 2 h 63"/>
                  <a:gd name="T22" fmla="*/ 37 w 66"/>
                  <a:gd name="T23" fmla="*/ 4 h 63"/>
                  <a:gd name="T24" fmla="*/ 29 w 66"/>
                  <a:gd name="T25" fmla="*/ 5 h 63"/>
                  <a:gd name="T26" fmla="*/ 24 w 66"/>
                  <a:gd name="T27" fmla="*/ 7 h 63"/>
                  <a:gd name="T28" fmla="*/ 20 w 66"/>
                  <a:gd name="T29" fmla="*/ 7 h 63"/>
                  <a:gd name="T30" fmla="*/ 19 w 66"/>
                  <a:gd name="T31" fmla="*/ 9 h 63"/>
                  <a:gd name="T32" fmla="*/ 16 w 66"/>
                  <a:gd name="T33" fmla="*/ 10 h 63"/>
                  <a:gd name="T34" fmla="*/ 12 w 66"/>
                  <a:gd name="T35" fmla="*/ 10 h 63"/>
                  <a:gd name="T36" fmla="*/ 11 w 66"/>
                  <a:gd name="T37" fmla="*/ 11 h 63"/>
                  <a:gd name="T38" fmla="*/ 7 w 66"/>
                  <a:gd name="T39" fmla="*/ 17 h 63"/>
                  <a:gd name="T40" fmla="*/ 4 w 66"/>
                  <a:gd name="T41" fmla="*/ 20 h 63"/>
                  <a:gd name="T42" fmla="*/ 4 w 66"/>
                  <a:gd name="T43" fmla="*/ 22 h 63"/>
                  <a:gd name="T44" fmla="*/ 2 w 66"/>
                  <a:gd name="T45" fmla="*/ 25 h 63"/>
                  <a:gd name="T46" fmla="*/ 2 w 66"/>
                  <a:gd name="T47" fmla="*/ 28 h 63"/>
                  <a:gd name="T48" fmla="*/ 11 w 66"/>
                  <a:gd name="T49" fmla="*/ 32 h 63"/>
                  <a:gd name="T50" fmla="*/ 7 w 66"/>
                  <a:gd name="T51" fmla="*/ 33 h 63"/>
                  <a:gd name="T52" fmla="*/ 10 w 66"/>
                  <a:gd name="T53" fmla="*/ 39 h 63"/>
                  <a:gd name="T54" fmla="*/ 14 w 66"/>
                  <a:gd name="T55" fmla="*/ 40 h 63"/>
                  <a:gd name="T56" fmla="*/ 32 w 66"/>
                  <a:gd name="T57" fmla="*/ 42 h 63"/>
                  <a:gd name="T58" fmla="*/ 19 w 66"/>
                  <a:gd name="T59" fmla="*/ 40 h 63"/>
                  <a:gd name="T60" fmla="*/ 13 w 66"/>
                  <a:gd name="T61" fmla="*/ 48 h 63"/>
                  <a:gd name="T62" fmla="*/ 17 w 66"/>
                  <a:gd name="T63" fmla="*/ 58 h 63"/>
                  <a:gd name="T64" fmla="*/ 25 w 66"/>
                  <a:gd name="T65" fmla="*/ 60 h 63"/>
                  <a:gd name="T66" fmla="*/ 27 w 66"/>
                  <a:gd name="T67" fmla="*/ 49 h 63"/>
                  <a:gd name="T68" fmla="*/ 34 w 66"/>
                  <a:gd name="T69" fmla="*/ 48 h 63"/>
                  <a:gd name="T70" fmla="*/ 34 w 66"/>
                  <a:gd name="T71" fmla="*/ 44 h 63"/>
                  <a:gd name="T72" fmla="*/ 37 w 66"/>
                  <a:gd name="T73" fmla="*/ 44 h 63"/>
                  <a:gd name="T74" fmla="*/ 40 w 66"/>
                  <a:gd name="T75" fmla="*/ 48 h 63"/>
                  <a:gd name="T76" fmla="*/ 29 w 66"/>
                  <a:gd name="T77" fmla="*/ 34 h 63"/>
                  <a:gd name="T78" fmla="*/ 29 w 66"/>
                  <a:gd name="T79" fmla="*/ 30 h 63"/>
                  <a:gd name="T80" fmla="*/ 31 w 66"/>
                  <a:gd name="T81" fmla="*/ 30 h 63"/>
                  <a:gd name="T82" fmla="*/ 33 w 66"/>
                  <a:gd name="T83" fmla="*/ 29 h 63"/>
                  <a:gd name="T84" fmla="*/ 28 w 66"/>
                  <a:gd name="T85" fmla="*/ 13 h 63"/>
                  <a:gd name="T86" fmla="*/ 30 w 66"/>
                  <a:gd name="T87" fmla="*/ 16 h 63"/>
                  <a:gd name="T88" fmla="*/ 37 w 66"/>
                  <a:gd name="T89" fmla="*/ 21 h 63"/>
                  <a:gd name="T90" fmla="*/ 39 w 66"/>
                  <a:gd name="T91" fmla="*/ 20 h 63"/>
                  <a:gd name="T92" fmla="*/ 37 w 66"/>
                  <a:gd name="T93" fmla="*/ 11 h 63"/>
                  <a:gd name="T94" fmla="*/ 57 w 66"/>
                  <a:gd name="T9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63">
                    <a:moveTo>
                      <a:pt x="60" y="10"/>
                    </a:moveTo>
                    <a:cubicBezTo>
                      <a:pt x="61" y="10"/>
                      <a:pt x="62" y="9"/>
                      <a:pt x="62" y="8"/>
                    </a:cubicBezTo>
                    <a:cubicBezTo>
                      <a:pt x="62" y="8"/>
                      <a:pt x="62" y="8"/>
                      <a:pt x="62" y="8"/>
                    </a:cubicBezTo>
                    <a:cubicBezTo>
                      <a:pt x="62" y="8"/>
                      <a:pt x="62" y="7"/>
                      <a:pt x="63" y="7"/>
                    </a:cubicBezTo>
                    <a:cubicBezTo>
                      <a:pt x="63" y="7"/>
                      <a:pt x="63" y="7"/>
                      <a:pt x="63" y="7"/>
                    </a:cubicBezTo>
                    <a:cubicBezTo>
                      <a:pt x="63" y="7"/>
                      <a:pt x="63" y="7"/>
                      <a:pt x="63" y="7"/>
                    </a:cubicBezTo>
                    <a:cubicBezTo>
                      <a:pt x="63" y="6"/>
                      <a:pt x="63" y="6"/>
                      <a:pt x="63" y="6"/>
                    </a:cubicBezTo>
                    <a:cubicBezTo>
                      <a:pt x="63" y="6"/>
                      <a:pt x="63" y="6"/>
                      <a:pt x="63" y="6"/>
                    </a:cubicBezTo>
                    <a:cubicBezTo>
                      <a:pt x="63" y="6"/>
                      <a:pt x="63" y="6"/>
                      <a:pt x="63" y="6"/>
                    </a:cubicBezTo>
                    <a:cubicBezTo>
                      <a:pt x="63" y="6"/>
                      <a:pt x="62" y="5"/>
                      <a:pt x="63" y="4"/>
                    </a:cubicBezTo>
                    <a:cubicBezTo>
                      <a:pt x="63" y="4"/>
                      <a:pt x="63" y="3"/>
                      <a:pt x="64" y="3"/>
                    </a:cubicBezTo>
                    <a:cubicBezTo>
                      <a:pt x="65" y="3"/>
                      <a:pt x="65" y="3"/>
                      <a:pt x="65" y="3"/>
                    </a:cubicBezTo>
                    <a:cubicBezTo>
                      <a:pt x="65" y="2"/>
                      <a:pt x="66" y="2"/>
                      <a:pt x="66" y="2"/>
                    </a:cubicBezTo>
                    <a:cubicBezTo>
                      <a:pt x="66" y="2"/>
                      <a:pt x="66" y="2"/>
                      <a:pt x="66" y="2"/>
                    </a:cubicBezTo>
                    <a:cubicBezTo>
                      <a:pt x="66" y="2"/>
                      <a:pt x="66" y="2"/>
                      <a:pt x="66" y="1"/>
                    </a:cubicBezTo>
                    <a:cubicBezTo>
                      <a:pt x="66" y="1"/>
                      <a:pt x="65" y="1"/>
                      <a:pt x="65" y="1"/>
                    </a:cubicBezTo>
                    <a:cubicBezTo>
                      <a:pt x="65" y="1"/>
                      <a:pt x="65" y="1"/>
                      <a:pt x="65" y="1"/>
                    </a:cubicBezTo>
                    <a:cubicBezTo>
                      <a:pt x="65" y="1"/>
                      <a:pt x="65" y="1"/>
                      <a:pt x="65" y="1"/>
                    </a:cubicBezTo>
                    <a:cubicBezTo>
                      <a:pt x="65" y="1"/>
                      <a:pt x="65" y="1"/>
                      <a:pt x="65" y="1"/>
                    </a:cubicBezTo>
                    <a:cubicBezTo>
                      <a:pt x="64" y="0"/>
                      <a:pt x="64" y="0"/>
                      <a:pt x="64" y="0"/>
                    </a:cubicBezTo>
                    <a:cubicBezTo>
                      <a:pt x="64" y="0"/>
                      <a:pt x="64" y="0"/>
                      <a:pt x="64" y="0"/>
                    </a:cubicBezTo>
                    <a:cubicBezTo>
                      <a:pt x="64" y="0"/>
                      <a:pt x="64" y="0"/>
                      <a:pt x="64" y="0"/>
                    </a:cubicBezTo>
                    <a:cubicBezTo>
                      <a:pt x="63" y="0"/>
                      <a:pt x="63" y="0"/>
                      <a:pt x="63" y="0"/>
                    </a:cubicBezTo>
                    <a:cubicBezTo>
                      <a:pt x="63" y="1"/>
                      <a:pt x="63" y="2"/>
                      <a:pt x="63" y="3"/>
                    </a:cubicBezTo>
                    <a:cubicBezTo>
                      <a:pt x="63" y="3"/>
                      <a:pt x="63" y="3"/>
                      <a:pt x="63" y="3"/>
                    </a:cubicBezTo>
                    <a:cubicBezTo>
                      <a:pt x="63" y="4"/>
                      <a:pt x="63" y="4"/>
                      <a:pt x="63" y="4"/>
                    </a:cubicBezTo>
                    <a:cubicBezTo>
                      <a:pt x="62" y="5"/>
                      <a:pt x="61" y="5"/>
                      <a:pt x="60" y="5"/>
                    </a:cubicBezTo>
                    <a:cubicBezTo>
                      <a:pt x="59" y="5"/>
                      <a:pt x="58" y="5"/>
                      <a:pt x="57" y="5"/>
                    </a:cubicBezTo>
                    <a:cubicBezTo>
                      <a:pt x="56" y="5"/>
                      <a:pt x="56" y="5"/>
                      <a:pt x="56" y="5"/>
                    </a:cubicBezTo>
                    <a:cubicBezTo>
                      <a:pt x="56" y="5"/>
                      <a:pt x="56" y="5"/>
                      <a:pt x="56" y="5"/>
                    </a:cubicBezTo>
                    <a:cubicBezTo>
                      <a:pt x="54" y="6"/>
                      <a:pt x="54" y="6"/>
                      <a:pt x="54" y="6"/>
                    </a:cubicBezTo>
                    <a:cubicBezTo>
                      <a:pt x="54" y="6"/>
                      <a:pt x="54" y="6"/>
                      <a:pt x="54" y="6"/>
                    </a:cubicBezTo>
                    <a:cubicBezTo>
                      <a:pt x="53" y="6"/>
                      <a:pt x="53" y="6"/>
                      <a:pt x="53" y="6"/>
                    </a:cubicBezTo>
                    <a:cubicBezTo>
                      <a:pt x="53" y="6"/>
                      <a:pt x="53" y="6"/>
                      <a:pt x="52" y="6"/>
                    </a:cubicBezTo>
                    <a:cubicBezTo>
                      <a:pt x="52" y="5"/>
                      <a:pt x="52" y="5"/>
                      <a:pt x="52" y="5"/>
                    </a:cubicBezTo>
                    <a:cubicBezTo>
                      <a:pt x="52" y="5"/>
                      <a:pt x="52" y="5"/>
                      <a:pt x="52" y="5"/>
                    </a:cubicBezTo>
                    <a:cubicBezTo>
                      <a:pt x="51" y="5"/>
                      <a:pt x="51" y="5"/>
                      <a:pt x="51" y="5"/>
                    </a:cubicBezTo>
                    <a:cubicBezTo>
                      <a:pt x="50" y="5"/>
                      <a:pt x="50" y="5"/>
                      <a:pt x="50" y="5"/>
                    </a:cubicBezTo>
                    <a:cubicBezTo>
                      <a:pt x="50" y="5"/>
                      <a:pt x="50" y="5"/>
                      <a:pt x="50" y="5"/>
                    </a:cubicBezTo>
                    <a:cubicBezTo>
                      <a:pt x="49" y="5"/>
                      <a:pt x="48" y="4"/>
                      <a:pt x="47" y="4"/>
                    </a:cubicBezTo>
                    <a:cubicBezTo>
                      <a:pt x="46" y="3"/>
                      <a:pt x="46" y="3"/>
                      <a:pt x="46" y="3"/>
                    </a:cubicBezTo>
                    <a:cubicBezTo>
                      <a:pt x="46" y="3"/>
                      <a:pt x="45" y="2"/>
                      <a:pt x="45" y="2"/>
                    </a:cubicBezTo>
                    <a:cubicBezTo>
                      <a:pt x="45" y="2"/>
                      <a:pt x="45" y="2"/>
                      <a:pt x="45" y="2"/>
                    </a:cubicBezTo>
                    <a:cubicBezTo>
                      <a:pt x="45" y="2"/>
                      <a:pt x="44" y="2"/>
                      <a:pt x="43" y="2"/>
                    </a:cubicBezTo>
                    <a:cubicBezTo>
                      <a:pt x="43" y="2"/>
                      <a:pt x="43" y="2"/>
                      <a:pt x="43" y="2"/>
                    </a:cubicBezTo>
                    <a:cubicBezTo>
                      <a:pt x="42" y="2"/>
                      <a:pt x="41" y="3"/>
                      <a:pt x="40" y="3"/>
                    </a:cubicBezTo>
                    <a:cubicBezTo>
                      <a:pt x="38" y="4"/>
                      <a:pt x="38" y="4"/>
                      <a:pt x="38" y="4"/>
                    </a:cubicBezTo>
                    <a:cubicBezTo>
                      <a:pt x="38" y="4"/>
                      <a:pt x="37" y="4"/>
                      <a:pt x="37" y="4"/>
                    </a:cubicBezTo>
                    <a:cubicBezTo>
                      <a:pt x="36" y="4"/>
                      <a:pt x="36" y="4"/>
                      <a:pt x="36" y="4"/>
                    </a:cubicBezTo>
                    <a:cubicBezTo>
                      <a:pt x="35" y="5"/>
                      <a:pt x="33" y="5"/>
                      <a:pt x="31" y="5"/>
                    </a:cubicBezTo>
                    <a:cubicBezTo>
                      <a:pt x="31" y="5"/>
                      <a:pt x="31" y="5"/>
                      <a:pt x="31" y="5"/>
                    </a:cubicBezTo>
                    <a:cubicBezTo>
                      <a:pt x="30" y="5"/>
                      <a:pt x="30" y="5"/>
                      <a:pt x="29" y="5"/>
                    </a:cubicBezTo>
                    <a:cubicBezTo>
                      <a:pt x="28" y="5"/>
                      <a:pt x="28" y="5"/>
                      <a:pt x="28" y="5"/>
                    </a:cubicBezTo>
                    <a:cubicBezTo>
                      <a:pt x="28" y="5"/>
                      <a:pt x="28" y="5"/>
                      <a:pt x="28" y="5"/>
                    </a:cubicBezTo>
                    <a:cubicBezTo>
                      <a:pt x="28" y="6"/>
                      <a:pt x="27" y="6"/>
                      <a:pt x="27" y="6"/>
                    </a:cubicBezTo>
                    <a:cubicBezTo>
                      <a:pt x="26" y="7"/>
                      <a:pt x="25" y="8"/>
                      <a:pt x="24" y="7"/>
                    </a:cubicBezTo>
                    <a:cubicBezTo>
                      <a:pt x="23" y="7"/>
                      <a:pt x="23" y="7"/>
                      <a:pt x="23" y="7"/>
                    </a:cubicBezTo>
                    <a:cubicBezTo>
                      <a:pt x="23" y="7"/>
                      <a:pt x="22" y="7"/>
                      <a:pt x="22" y="7"/>
                    </a:cubicBezTo>
                    <a:cubicBezTo>
                      <a:pt x="21" y="7"/>
                      <a:pt x="21" y="7"/>
                      <a:pt x="21" y="7"/>
                    </a:cubicBezTo>
                    <a:cubicBezTo>
                      <a:pt x="21" y="7"/>
                      <a:pt x="21" y="7"/>
                      <a:pt x="20" y="7"/>
                    </a:cubicBezTo>
                    <a:cubicBezTo>
                      <a:pt x="20" y="7"/>
                      <a:pt x="20" y="7"/>
                      <a:pt x="20" y="7"/>
                    </a:cubicBezTo>
                    <a:cubicBezTo>
                      <a:pt x="20" y="8"/>
                      <a:pt x="20" y="8"/>
                      <a:pt x="20" y="8"/>
                    </a:cubicBezTo>
                    <a:cubicBezTo>
                      <a:pt x="19" y="8"/>
                      <a:pt x="19" y="8"/>
                      <a:pt x="19" y="8"/>
                    </a:cubicBezTo>
                    <a:cubicBezTo>
                      <a:pt x="19" y="8"/>
                      <a:pt x="19" y="9"/>
                      <a:pt x="19" y="9"/>
                    </a:cubicBezTo>
                    <a:cubicBezTo>
                      <a:pt x="19" y="9"/>
                      <a:pt x="19" y="9"/>
                      <a:pt x="19" y="9"/>
                    </a:cubicBezTo>
                    <a:cubicBezTo>
                      <a:pt x="18" y="9"/>
                      <a:pt x="18" y="10"/>
                      <a:pt x="18" y="10"/>
                    </a:cubicBezTo>
                    <a:cubicBezTo>
                      <a:pt x="17" y="10"/>
                      <a:pt x="17" y="10"/>
                      <a:pt x="17" y="10"/>
                    </a:cubicBezTo>
                    <a:cubicBezTo>
                      <a:pt x="16" y="10"/>
                      <a:pt x="16" y="10"/>
                      <a:pt x="16" y="10"/>
                    </a:cubicBezTo>
                    <a:cubicBezTo>
                      <a:pt x="16" y="10"/>
                      <a:pt x="16" y="10"/>
                      <a:pt x="15" y="10"/>
                    </a:cubicBezTo>
                    <a:cubicBezTo>
                      <a:pt x="15" y="10"/>
                      <a:pt x="14" y="10"/>
                      <a:pt x="14" y="10"/>
                    </a:cubicBezTo>
                    <a:cubicBezTo>
                      <a:pt x="13" y="10"/>
                      <a:pt x="13" y="10"/>
                      <a:pt x="13" y="10"/>
                    </a:cubicBezTo>
                    <a:cubicBezTo>
                      <a:pt x="12" y="10"/>
                      <a:pt x="12" y="10"/>
                      <a:pt x="12" y="10"/>
                    </a:cubicBezTo>
                    <a:cubicBezTo>
                      <a:pt x="12" y="10"/>
                      <a:pt x="12" y="10"/>
                      <a:pt x="11" y="10"/>
                    </a:cubicBezTo>
                    <a:cubicBezTo>
                      <a:pt x="11" y="11"/>
                      <a:pt x="11" y="11"/>
                      <a:pt x="11" y="11"/>
                    </a:cubicBezTo>
                    <a:cubicBezTo>
                      <a:pt x="11" y="11"/>
                      <a:pt x="11" y="11"/>
                      <a:pt x="11" y="11"/>
                    </a:cubicBezTo>
                    <a:cubicBezTo>
                      <a:pt x="11" y="11"/>
                      <a:pt x="11" y="11"/>
                      <a:pt x="11" y="11"/>
                    </a:cubicBezTo>
                    <a:cubicBezTo>
                      <a:pt x="11" y="13"/>
                      <a:pt x="10" y="14"/>
                      <a:pt x="9" y="14"/>
                    </a:cubicBezTo>
                    <a:cubicBezTo>
                      <a:pt x="9" y="15"/>
                      <a:pt x="9" y="15"/>
                      <a:pt x="8" y="15"/>
                    </a:cubicBezTo>
                    <a:cubicBezTo>
                      <a:pt x="8" y="16"/>
                      <a:pt x="8" y="17"/>
                      <a:pt x="7" y="17"/>
                    </a:cubicBezTo>
                    <a:cubicBezTo>
                      <a:pt x="7" y="17"/>
                      <a:pt x="7" y="17"/>
                      <a:pt x="7" y="17"/>
                    </a:cubicBezTo>
                    <a:cubicBezTo>
                      <a:pt x="7" y="18"/>
                      <a:pt x="7" y="18"/>
                      <a:pt x="7" y="19"/>
                    </a:cubicBezTo>
                    <a:cubicBezTo>
                      <a:pt x="7" y="19"/>
                      <a:pt x="7" y="19"/>
                      <a:pt x="7" y="19"/>
                    </a:cubicBezTo>
                    <a:cubicBezTo>
                      <a:pt x="6" y="20"/>
                      <a:pt x="5" y="20"/>
                      <a:pt x="5" y="20"/>
                    </a:cubicBezTo>
                    <a:cubicBezTo>
                      <a:pt x="4" y="20"/>
                      <a:pt x="4" y="20"/>
                      <a:pt x="4" y="20"/>
                    </a:cubicBezTo>
                    <a:cubicBezTo>
                      <a:pt x="4" y="20"/>
                      <a:pt x="4" y="20"/>
                      <a:pt x="4" y="20"/>
                    </a:cubicBezTo>
                    <a:cubicBezTo>
                      <a:pt x="4" y="20"/>
                      <a:pt x="4" y="20"/>
                      <a:pt x="4" y="20"/>
                    </a:cubicBezTo>
                    <a:cubicBezTo>
                      <a:pt x="4" y="21"/>
                      <a:pt x="4" y="21"/>
                      <a:pt x="4" y="21"/>
                    </a:cubicBezTo>
                    <a:cubicBezTo>
                      <a:pt x="4" y="21"/>
                      <a:pt x="4" y="21"/>
                      <a:pt x="4" y="22"/>
                    </a:cubicBezTo>
                    <a:cubicBezTo>
                      <a:pt x="5" y="24"/>
                      <a:pt x="5" y="24"/>
                      <a:pt x="5" y="24"/>
                    </a:cubicBezTo>
                    <a:cubicBezTo>
                      <a:pt x="3" y="23"/>
                      <a:pt x="3" y="23"/>
                      <a:pt x="3" y="23"/>
                    </a:cubicBezTo>
                    <a:cubicBezTo>
                      <a:pt x="3" y="23"/>
                      <a:pt x="3" y="24"/>
                      <a:pt x="3" y="24"/>
                    </a:cubicBezTo>
                    <a:cubicBezTo>
                      <a:pt x="3" y="24"/>
                      <a:pt x="3" y="25"/>
                      <a:pt x="2" y="25"/>
                    </a:cubicBezTo>
                    <a:cubicBezTo>
                      <a:pt x="2" y="25"/>
                      <a:pt x="2" y="25"/>
                      <a:pt x="2" y="25"/>
                    </a:cubicBezTo>
                    <a:cubicBezTo>
                      <a:pt x="1" y="25"/>
                      <a:pt x="1" y="25"/>
                      <a:pt x="1" y="25"/>
                    </a:cubicBezTo>
                    <a:cubicBezTo>
                      <a:pt x="1" y="25"/>
                      <a:pt x="1" y="25"/>
                      <a:pt x="0" y="25"/>
                    </a:cubicBezTo>
                    <a:cubicBezTo>
                      <a:pt x="1" y="26"/>
                      <a:pt x="2" y="27"/>
                      <a:pt x="2" y="28"/>
                    </a:cubicBezTo>
                    <a:cubicBezTo>
                      <a:pt x="4" y="29"/>
                      <a:pt x="5" y="30"/>
                      <a:pt x="6" y="31"/>
                    </a:cubicBezTo>
                    <a:cubicBezTo>
                      <a:pt x="7" y="31"/>
                      <a:pt x="7" y="32"/>
                      <a:pt x="7" y="32"/>
                    </a:cubicBezTo>
                    <a:cubicBezTo>
                      <a:pt x="7" y="32"/>
                      <a:pt x="7" y="30"/>
                      <a:pt x="8" y="30"/>
                    </a:cubicBezTo>
                    <a:cubicBezTo>
                      <a:pt x="9" y="31"/>
                      <a:pt x="11" y="31"/>
                      <a:pt x="11" y="32"/>
                    </a:cubicBezTo>
                    <a:cubicBezTo>
                      <a:pt x="10" y="32"/>
                      <a:pt x="10" y="33"/>
                      <a:pt x="10" y="33"/>
                    </a:cubicBezTo>
                    <a:cubicBezTo>
                      <a:pt x="10" y="33"/>
                      <a:pt x="9" y="33"/>
                      <a:pt x="9" y="32"/>
                    </a:cubicBezTo>
                    <a:cubicBezTo>
                      <a:pt x="8" y="32"/>
                      <a:pt x="9" y="33"/>
                      <a:pt x="8" y="33"/>
                    </a:cubicBezTo>
                    <a:cubicBezTo>
                      <a:pt x="7" y="33"/>
                      <a:pt x="6" y="32"/>
                      <a:pt x="7" y="33"/>
                    </a:cubicBezTo>
                    <a:cubicBezTo>
                      <a:pt x="6" y="34"/>
                      <a:pt x="7" y="34"/>
                      <a:pt x="7" y="35"/>
                    </a:cubicBezTo>
                    <a:cubicBezTo>
                      <a:pt x="8" y="36"/>
                      <a:pt x="9" y="36"/>
                      <a:pt x="10" y="37"/>
                    </a:cubicBezTo>
                    <a:cubicBezTo>
                      <a:pt x="10" y="38"/>
                      <a:pt x="10" y="38"/>
                      <a:pt x="10" y="39"/>
                    </a:cubicBezTo>
                    <a:cubicBezTo>
                      <a:pt x="10" y="39"/>
                      <a:pt x="10" y="39"/>
                      <a:pt x="10" y="39"/>
                    </a:cubicBezTo>
                    <a:cubicBezTo>
                      <a:pt x="10" y="39"/>
                      <a:pt x="10" y="39"/>
                      <a:pt x="10" y="40"/>
                    </a:cubicBezTo>
                    <a:cubicBezTo>
                      <a:pt x="11" y="39"/>
                      <a:pt x="12" y="39"/>
                      <a:pt x="13" y="38"/>
                    </a:cubicBezTo>
                    <a:cubicBezTo>
                      <a:pt x="13" y="38"/>
                      <a:pt x="13" y="38"/>
                      <a:pt x="13" y="38"/>
                    </a:cubicBezTo>
                    <a:cubicBezTo>
                      <a:pt x="13" y="38"/>
                      <a:pt x="14" y="40"/>
                      <a:pt x="14" y="40"/>
                    </a:cubicBezTo>
                    <a:cubicBezTo>
                      <a:pt x="15" y="40"/>
                      <a:pt x="17" y="40"/>
                      <a:pt x="18" y="39"/>
                    </a:cubicBezTo>
                    <a:cubicBezTo>
                      <a:pt x="20" y="39"/>
                      <a:pt x="21" y="39"/>
                      <a:pt x="23" y="39"/>
                    </a:cubicBezTo>
                    <a:cubicBezTo>
                      <a:pt x="24" y="39"/>
                      <a:pt x="26" y="39"/>
                      <a:pt x="27" y="40"/>
                    </a:cubicBezTo>
                    <a:cubicBezTo>
                      <a:pt x="29" y="40"/>
                      <a:pt x="30" y="41"/>
                      <a:pt x="32" y="42"/>
                    </a:cubicBezTo>
                    <a:cubicBezTo>
                      <a:pt x="32" y="43"/>
                      <a:pt x="30" y="44"/>
                      <a:pt x="29" y="44"/>
                    </a:cubicBezTo>
                    <a:cubicBezTo>
                      <a:pt x="28" y="44"/>
                      <a:pt x="28" y="44"/>
                      <a:pt x="27" y="44"/>
                    </a:cubicBezTo>
                    <a:cubicBezTo>
                      <a:pt x="25" y="43"/>
                      <a:pt x="23" y="42"/>
                      <a:pt x="22" y="41"/>
                    </a:cubicBezTo>
                    <a:cubicBezTo>
                      <a:pt x="21" y="41"/>
                      <a:pt x="20" y="40"/>
                      <a:pt x="19" y="40"/>
                    </a:cubicBezTo>
                    <a:cubicBezTo>
                      <a:pt x="17" y="40"/>
                      <a:pt x="14" y="42"/>
                      <a:pt x="13" y="43"/>
                    </a:cubicBezTo>
                    <a:cubicBezTo>
                      <a:pt x="12" y="43"/>
                      <a:pt x="12" y="44"/>
                      <a:pt x="12" y="44"/>
                    </a:cubicBezTo>
                    <a:cubicBezTo>
                      <a:pt x="11" y="44"/>
                      <a:pt x="11" y="44"/>
                      <a:pt x="11" y="45"/>
                    </a:cubicBezTo>
                    <a:cubicBezTo>
                      <a:pt x="10" y="46"/>
                      <a:pt x="12" y="47"/>
                      <a:pt x="13" y="48"/>
                    </a:cubicBezTo>
                    <a:cubicBezTo>
                      <a:pt x="14" y="49"/>
                      <a:pt x="17" y="50"/>
                      <a:pt x="16" y="53"/>
                    </a:cubicBezTo>
                    <a:cubicBezTo>
                      <a:pt x="16" y="53"/>
                      <a:pt x="15" y="53"/>
                      <a:pt x="15" y="54"/>
                    </a:cubicBezTo>
                    <a:cubicBezTo>
                      <a:pt x="15" y="55"/>
                      <a:pt x="16" y="56"/>
                      <a:pt x="16" y="56"/>
                    </a:cubicBezTo>
                    <a:cubicBezTo>
                      <a:pt x="16" y="56"/>
                      <a:pt x="16" y="57"/>
                      <a:pt x="17" y="58"/>
                    </a:cubicBezTo>
                    <a:cubicBezTo>
                      <a:pt x="18" y="58"/>
                      <a:pt x="19" y="56"/>
                      <a:pt x="19" y="56"/>
                    </a:cubicBezTo>
                    <a:cubicBezTo>
                      <a:pt x="19" y="56"/>
                      <a:pt x="19" y="56"/>
                      <a:pt x="19" y="55"/>
                    </a:cubicBezTo>
                    <a:cubicBezTo>
                      <a:pt x="22" y="54"/>
                      <a:pt x="24" y="61"/>
                      <a:pt x="25" y="63"/>
                    </a:cubicBezTo>
                    <a:cubicBezTo>
                      <a:pt x="25" y="62"/>
                      <a:pt x="24" y="61"/>
                      <a:pt x="25" y="60"/>
                    </a:cubicBezTo>
                    <a:cubicBezTo>
                      <a:pt x="25" y="60"/>
                      <a:pt x="25" y="59"/>
                      <a:pt x="25" y="59"/>
                    </a:cubicBezTo>
                    <a:cubicBezTo>
                      <a:pt x="25" y="59"/>
                      <a:pt x="25" y="58"/>
                      <a:pt x="25" y="58"/>
                    </a:cubicBezTo>
                    <a:cubicBezTo>
                      <a:pt x="27" y="57"/>
                      <a:pt x="31" y="61"/>
                      <a:pt x="32" y="62"/>
                    </a:cubicBezTo>
                    <a:cubicBezTo>
                      <a:pt x="30" y="58"/>
                      <a:pt x="29" y="54"/>
                      <a:pt x="27" y="49"/>
                    </a:cubicBezTo>
                    <a:cubicBezTo>
                      <a:pt x="28" y="50"/>
                      <a:pt x="31" y="51"/>
                      <a:pt x="31" y="52"/>
                    </a:cubicBezTo>
                    <a:cubicBezTo>
                      <a:pt x="31" y="52"/>
                      <a:pt x="32" y="52"/>
                      <a:pt x="33" y="51"/>
                    </a:cubicBezTo>
                    <a:cubicBezTo>
                      <a:pt x="34" y="51"/>
                      <a:pt x="35" y="51"/>
                      <a:pt x="34" y="49"/>
                    </a:cubicBezTo>
                    <a:cubicBezTo>
                      <a:pt x="34" y="49"/>
                      <a:pt x="34" y="48"/>
                      <a:pt x="34" y="48"/>
                    </a:cubicBezTo>
                    <a:cubicBezTo>
                      <a:pt x="34" y="48"/>
                      <a:pt x="33" y="48"/>
                      <a:pt x="32" y="48"/>
                    </a:cubicBezTo>
                    <a:cubicBezTo>
                      <a:pt x="32" y="49"/>
                      <a:pt x="31" y="46"/>
                      <a:pt x="31" y="46"/>
                    </a:cubicBezTo>
                    <a:cubicBezTo>
                      <a:pt x="30" y="46"/>
                      <a:pt x="30" y="46"/>
                      <a:pt x="30" y="45"/>
                    </a:cubicBezTo>
                    <a:cubicBezTo>
                      <a:pt x="30" y="44"/>
                      <a:pt x="33" y="44"/>
                      <a:pt x="34" y="44"/>
                    </a:cubicBezTo>
                    <a:cubicBezTo>
                      <a:pt x="35" y="44"/>
                      <a:pt x="35" y="43"/>
                      <a:pt x="36" y="43"/>
                    </a:cubicBezTo>
                    <a:cubicBezTo>
                      <a:pt x="36" y="43"/>
                      <a:pt x="35" y="44"/>
                      <a:pt x="36" y="44"/>
                    </a:cubicBezTo>
                    <a:cubicBezTo>
                      <a:pt x="36" y="44"/>
                      <a:pt x="36" y="44"/>
                      <a:pt x="36" y="44"/>
                    </a:cubicBezTo>
                    <a:cubicBezTo>
                      <a:pt x="36" y="44"/>
                      <a:pt x="37" y="44"/>
                      <a:pt x="37" y="44"/>
                    </a:cubicBezTo>
                    <a:cubicBezTo>
                      <a:pt x="37" y="45"/>
                      <a:pt x="37" y="46"/>
                      <a:pt x="38" y="46"/>
                    </a:cubicBezTo>
                    <a:cubicBezTo>
                      <a:pt x="38" y="46"/>
                      <a:pt x="38" y="46"/>
                      <a:pt x="39" y="46"/>
                    </a:cubicBezTo>
                    <a:cubicBezTo>
                      <a:pt x="39" y="46"/>
                      <a:pt x="39" y="47"/>
                      <a:pt x="39" y="47"/>
                    </a:cubicBezTo>
                    <a:cubicBezTo>
                      <a:pt x="39" y="47"/>
                      <a:pt x="39" y="48"/>
                      <a:pt x="40" y="48"/>
                    </a:cubicBezTo>
                    <a:cubicBezTo>
                      <a:pt x="41" y="48"/>
                      <a:pt x="41" y="47"/>
                      <a:pt x="41" y="46"/>
                    </a:cubicBezTo>
                    <a:cubicBezTo>
                      <a:pt x="41" y="45"/>
                      <a:pt x="39" y="42"/>
                      <a:pt x="41" y="42"/>
                    </a:cubicBezTo>
                    <a:cubicBezTo>
                      <a:pt x="41" y="41"/>
                      <a:pt x="33" y="38"/>
                      <a:pt x="32" y="37"/>
                    </a:cubicBezTo>
                    <a:cubicBezTo>
                      <a:pt x="31" y="36"/>
                      <a:pt x="30" y="35"/>
                      <a:pt x="29" y="34"/>
                    </a:cubicBezTo>
                    <a:cubicBezTo>
                      <a:pt x="28" y="34"/>
                      <a:pt x="28" y="34"/>
                      <a:pt x="27" y="34"/>
                    </a:cubicBezTo>
                    <a:cubicBezTo>
                      <a:pt x="27" y="34"/>
                      <a:pt x="26" y="34"/>
                      <a:pt x="25" y="33"/>
                    </a:cubicBezTo>
                    <a:cubicBezTo>
                      <a:pt x="27" y="33"/>
                      <a:pt x="28" y="32"/>
                      <a:pt x="30" y="32"/>
                    </a:cubicBezTo>
                    <a:cubicBezTo>
                      <a:pt x="29" y="31"/>
                      <a:pt x="29" y="30"/>
                      <a:pt x="29" y="30"/>
                    </a:cubicBezTo>
                    <a:cubicBezTo>
                      <a:pt x="28" y="30"/>
                      <a:pt x="28" y="30"/>
                      <a:pt x="28" y="30"/>
                    </a:cubicBezTo>
                    <a:cubicBezTo>
                      <a:pt x="27" y="29"/>
                      <a:pt x="30" y="27"/>
                      <a:pt x="31" y="28"/>
                    </a:cubicBezTo>
                    <a:cubicBezTo>
                      <a:pt x="31" y="28"/>
                      <a:pt x="32" y="28"/>
                      <a:pt x="32" y="29"/>
                    </a:cubicBezTo>
                    <a:cubicBezTo>
                      <a:pt x="32" y="30"/>
                      <a:pt x="32" y="29"/>
                      <a:pt x="31" y="30"/>
                    </a:cubicBezTo>
                    <a:cubicBezTo>
                      <a:pt x="31" y="31"/>
                      <a:pt x="31" y="31"/>
                      <a:pt x="31" y="30"/>
                    </a:cubicBezTo>
                    <a:cubicBezTo>
                      <a:pt x="31" y="30"/>
                      <a:pt x="31" y="30"/>
                      <a:pt x="30" y="31"/>
                    </a:cubicBezTo>
                    <a:cubicBezTo>
                      <a:pt x="31" y="31"/>
                      <a:pt x="32" y="30"/>
                      <a:pt x="32" y="30"/>
                    </a:cubicBezTo>
                    <a:cubicBezTo>
                      <a:pt x="33" y="30"/>
                      <a:pt x="34" y="30"/>
                      <a:pt x="33" y="29"/>
                    </a:cubicBezTo>
                    <a:cubicBezTo>
                      <a:pt x="30" y="26"/>
                      <a:pt x="28" y="23"/>
                      <a:pt x="26" y="20"/>
                    </a:cubicBezTo>
                    <a:cubicBezTo>
                      <a:pt x="26" y="19"/>
                      <a:pt x="25" y="19"/>
                      <a:pt x="25" y="18"/>
                    </a:cubicBezTo>
                    <a:cubicBezTo>
                      <a:pt x="25" y="17"/>
                      <a:pt x="26" y="14"/>
                      <a:pt x="27" y="13"/>
                    </a:cubicBezTo>
                    <a:cubicBezTo>
                      <a:pt x="27" y="13"/>
                      <a:pt x="28" y="13"/>
                      <a:pt x="28" y="13"/>
                    </a:cubicBezTo>
                    <a:cubicBezTo>
                      <a:pt x="28" y="13"/>
                      <a:pt x="28" y="12"/>
                      <a:pt x="28" y="12"/>
                    </a:cubicBezTo>
                    <a:cubicBezTo>
                      <a:pt x="30" y="12"/>
                      <a:pt x="29" y="13"/>
                      <a:pt x="28" y="14"/>
                    </a:cubicBezTo>
                    <a:cubicBezTo>
                      <a:pt x="28" y="14"/>
                      <a:pt x="28" y="14"/>
                      <a:pt x="28" y="14"/>
                    </a:cubicBezTo>
                    <a:cubicBezTo>
                      <a:pt x="28" y="14"/>
                      <a:pt x="30" y="15"/>
                      <a:pt x="30" y="16"/>
                    </a:cubicBezTo>
                    <a:cubicBezTo>
                      <a:pt x="31" y="16"/>
                      <a:pt x="32" y="16"/>
                      <a:pt x="33" y="17"/>
                    </a:cubicBezTo>
                    <a:cubicBezTo>
                      <a:pt x="33" y="17"/>
                      <a:pt x="33" y="18"/>
                      <a:pt x="33" y="19"/>
                    </a:cubicBezTo>
                    <a:cubicBezTo>
                      <a:pt x="33" y="19"/>
                      <a:pt x="34" y="19"/>
                      <a:pt x="34" y="20"/>
                    </a:cubicBezTo>
                    <a:cubicBezTo>
                      <a:pt x="35" y="20"/>
                      <a:pt x="36" y="21"/>
                      <a:pt x="37" y="21"/>
                    </a:cubicBezTo>
                    <a:cubicBezTo>
                      <a:pt x="36" y="19"/>
                      <a:pt x="34" y="19"/>
                      <a:pt x="33" y="17"/>
                    </a:cubicBezTo>
                    <a:cubicBezTo>
                      <a:pt x="35" y="17"/>
                      <a:pt x="37" y="17"/>
                      <a:pt x="38" y="18"/>
                    </a:cubicBezTo>
                    <a:cubicBezTo>
                      <a:pt x="38" y="19"/>
                      <a:pt x="38" y="19"/>
                      <a:pt x="38" y="20"/>
                    </a:cubicBezTo>
                    <a:cubicBezTo>
                      <a:pt x="38" y="20"/>
                      <a:pt x="39" y="20"/>
                      <a:pt x="39" y="20"/>
                    </a:cubicBezTo>
                    <a:cubicBezTo>
                      <a:pt x="39" y="20"/>
                      <a:pt x="39" y="20"/>
                      <a:pt x="40" y="20"/>
                    </a:cubicBezTo>
                    <a:cubicBezTo>
                      <a:pt x="39" y="19"/>
                      <a:pt x="35" y="15"/>
                      <a:pt x="39" y="15"/>
                    </a:cubicBezTo>
                    <a:cubicBezTo>
                      <a:pt x="40" y="15"/>
                      <a:pt x="40" y="16"/>
                      <a:pt x="41" y="16"/>
                    </a:cubicBezTo>
                    <a:cubicBezTo>
                      <a:pt x="39" y="15"/>
                      <a:pt x="38" y="14"/>
                      <a:pt x="37" y="11"/>
                    </a:cubicBezTo>
                    <a:cubicBezTo>
                      <a:pt x="40" y="10"/>
                      <a:pt x="43" y="8"/>
                      <a:pt x="46" y="9"/>
                    </a:cubicBezTo>
                    <a:cubicBezTo>
                      <a:pt x="47" y="9"/>
                      <a:pt x="48" y="9"/>
                      <a:pt x="49" y="9"/>
                    </a:cubicBezTo>
                    <a:cubicBezTo>
                      <a:pt x="50" y="9"/>
                      <a:pt x="51" y="7"/>
                      <a:pt x="52" y="8"/>
                    </a:cubicBezTo>
                    <a:cubicBezTo>
                      <a:pt x="54" y="8"/>
                      <a:pt x="56" y="9"/>
                      <a:pt x="57" y="10"/>
                    </a:cubicBezTo>
                    <a:cubicBezTo>
                      <a:pt x="58" y="10"/>
                      <a:pt x="59"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7" name="Freeform 3109">
                <a:extLst>
                  <a:ext uri="{FF2B5EF4-FFF2-40B4-BE49-F238E27FC236}">
                    <a16:creationId xmlns:a16="http://schemas.microsoft.com/office/drawing/2014/main" id="{7B34FBAF-C021-415F-9C25-B9E6D3CFFA48}"/>
                  </a:ext>
                </a:extLst>
              </p:cNvPr>
              <p:cNvSpPr>
                <a:spLocks/>
              </p:cNvSpPr>
              <p:nvPr/>
            </p:nvSpPr>
            <p:spPr bwMode="auto">
              <a:xfrm>
                <a:off x="4093" y="1636"/>
                <a:ext cx="146" cy="80"/>
              </a:xfrm>
              <a:custGeom>
                <a:avLst/>
                <a:gdLst>
                  <a:gd name="T0" fmla="*/ 50 w 62"/>
                  <a:gd name="T1" fmla="*/ 2 h 34"/>
                  <a:gd name="T2" fmla="*/ 48 w 62"/>
                  <a:gd name="T3" fmla="*/ 1 h 34"/>
                  <a:gd name="T4" fmla="*/ 47 w 62"/>
                  <a:gd name="T5" fmla="*/ 1 h 34"/>
                  <a:gd name="T6" fmla="*/ 39 w 62"/>
                  <a:gd name="T7" fmla="*/ 3 h 34"/>
                  <a:gd name="T8" fmla="*/ 37 w 62"/>
                  <a:gd name="T9" fmla="*/ 5 h 34"/>
                  <a:gd name="T10" fmla="*/ 29 w 62"/>
                  <a:gd name="T11" fmla="*/ 7 h 34"/>
                  <a:gd name="T12" fmla="*/ 24 w 62"/>
                  <a:gd name="T13" fmla="*/ 7 h 34"/>
                  <a:gd name="T14" fmla="*/ 21 w 62"/>
                  <a:gd name="T15" fmla="*/ 6 h 34"/>
                  <a:gd name="T16" fmla="*/ 16 w 62"/>
                  <a:gd name="T17" fmla="*/ 7 h 34"/>
                  <a:gd name="T18" fmla="*/ 11 w 62"/>
                  <a:gd name="T19" fmla="*/ 5 h 34"/>
                  <a:gd name="T20" fmla="*/ 7 w 62"/>
                  <a:gd name="T21" fmla="*/ 5 h 34"/>
                  <a:gd name="T22" fmla="*/ 4 w 62"/>
                  <a:gd name="T23" fmla="*/ 5 h 34"/>
                  <a:gd name="T24" fmla="*/ 3 w 62"/>
                  <a:gd name="T25" fmla="*/ 3 h 34"/>
                  <a:gd name="T26" fmla="*/ 3 w 62"/>
                  <a:gd name="T27" fmla="*/ 1 h 34"/>
                  <a:gd name="T28" fmla="*/ 3 w 62"/>
                  <a:gd name="T29" fmla="*/ 1 h 34"/>
                  <a:gd name="T30" fmla="*/ 2 w 62"/>
                  <a:gd name="T31" fmla="*/ 1 h 34"/>
                  <a:gd name="T32" fmla="*/ 2 w 62"/>
                  <a:gd name="T33" fmla="*/ 1 h 34"/>
                  <a:gd name="T34" fmla="*/ 0 w 62"/>
                  <a:gd name="T35" fmla="*/ 4 h 34"/>
                  <a:gd name="T36" fmla="*/ 0 w 62"/>
                  <a:gd name="T37" fmla="*/ 4 h 34"/>
                  <a:gd name="T38" fmla="*/ 1 w 62"/>
                  <a:gd name="T39" fmla="*/ 7 h 34"/>
                  <a:gd name="T40" fmla="*/ 3 w 62"/>
                  <a:gd name="T41" fmla="*/ 9 h 34"/>
                  <a:gd name="T42" fmla="*/ 4 w 62"/>
                  <a:gd name="T43" fmla="*/ 10 h 34"/>
                  <a:gd name="T44" fmla="*/ 7 w 62"/>
                  <a:gd name="T45" fmla="*/ 12 h 34"/>
                  <a:gd name="T46" fmla="*/ 4 w 62"/>
                  <a:gd name="T47" fmla="*/ 14 h 34"/>
                  <a:gd name="T48" fmla="*/ 1 w 62"/>
                  <a:gd name="T49" fmla="*/ 16 h 34"/>
                  <a:gd name="T50" fmla="*/ 0 w 62"/>
                  <a:gd name="T51" fmla="*/ 17 h 34"/>
                  <a:gd name="T52" fmla="*/ 0 w 62"/>
                  <a:gd name="T53" fmla="*/ 18 h 34"/>
                  <a:gd name="T54" fmla="*/ 1 w 62"/>
                  <a:gd name="T55" fmla="*/ 19 h 34"/>
                  <a:gd name="T56" fmla="*/ 1 w 62"/>
                  <a:gd name="T57" fmla="*/ 20 h 34"/>
                  <a:gd name="T58" fmla="*/ 0 w 62"/>
                  <a:gd name="T59" fmla="*/ 23 h 34"/>
                  <a:gd name="T60" fmla="*/ 2 w 62"/>
                  <a:gd name="T61" fmla="*/ 24 h 34"/>
                  <a:gd name="T62" fmla="*/ 4 w 62"/>
                  <a:gd name="T63" fmla="*/ 22 h 34"/>
                  <a:gd name="T64" fmla="*/ 3 w 62"/>
                  <a:gd name="T65" fmla="*/ 25 h 34"/>
                  <a:gd name="T66" fmla="*/ 3 w 62"/>
                  <a:gd name="T67" fmla="*/ 25 h 34"/>
                  <a:gd name="T68" fmla="*/ 6 w 62"/>
                  <a:gd name="T69" fmla="*/ 33 h 34"/>
                  <a:gd name="T70" fmla="*/ 7 w 62"/>
                  <a:gd name="T71" fmla="*/ 33 h 34"/>
                  <a:gd name="T72" fmla="*/ 12 w 62"/>
                  <a:gd name="T73" fmla="*/ 32 h 34"/>
                  <a:gd name="T74" fmla="*/ 14 w 62"/>
                  <a:gd name="T75" fmla="*/ 32 h 34"/>
                  <a:gd name="T76" fmla="*/ 18 w 62"/>
                  <a:gd name="T77" fmla="*/ 31 h 34"/>
                  <a:gd name="T78" fmla="*/ 21 w 62"/>
                  <a:gd name="T79" fmla="*/ 31 h 34"/>
                  <a:gd name="T80" fmla="*/ 23 w 62"/>
                  <a:gd name="T81" fmla="*/ 32 h 34"/>
                  <a:gd name="T82" fmla="*/ 25 w 62"/>
                  <a:gd name="T83" fmla="*/ 33 h 34"/>
                  <a:gd name="T84" fmla="*/ 28 w 62"/>
                  <a:gd name="T85" fmla="*/ 34 h 34"/>
                  <a:gd name="T86" fmla="*/ 29 w 62"/>
                  <a:gd name="T87" fmla="*/ 34 h 34"/>
                  <a:gd name="T88" fmla="*/ 31 w 62"/>
                  <a:gd name="T89" fmla="*/ 34 h 34"/>
                  <a:gd name="T90" fmla="*/ 34 w 62"/>
                  <a:gd name="T91" fmla="*/ 34 h 34"/>
                  <a:gd name="T92" fmla="*/ 36 w 62"/>
                  <a:gd name="T93" fmla="*/ 32 h 34"/>
                  <a:gd name="T94" fmla="*/ 35 w 62"/>
                  <a:gd name="T95" fmla="*/ 30 h 34"/>
                  <a:gd name="T96" fmla="*/ 38 w 62"/>
                  <a:gd name="T97" fmla="*/ 29 h 34"/>
                  <a:gd name="T98" fmla="*/ 39 w 62"/>
                  <a:gd name="T99" fmla="*/ 28 h 34"/>
                  <a:gd name="T100" fmla="*/ 40 w 62"/>
                  <a:gd name="T101" fmla="*/ 28 h 34"/>
                  <a:gd name="T102" fmla="*/ 41 w 62"/>
                  <a:gd name="T103" fmla="*/ 26 h 34"/>
                  <a:gd name="T104" fmla="*/ 47 w 62"/>
                  <a:gd name="T105" fmla="*/ 25 h 34"/>
                  <a:gd name="T106" fmla="*/ 50 w 62"/>
                  <a:gd name="T107" fmla="*/ 24 h 34"/>
                  <a:gd name="T108" fmla="*/ 50 w 62"/>
                  <a:gd name="T109" fmla="*/ 25 h 34"/>
                  <a:gd name="T110" fmla="*/ 52 w 62"/>
                  <a:gd name="T111" fmla="*/ 26 h 34"/>
                  <a:gd name="T112" fmla="*/ 53 w 62"/>
                  <a:gd name="T113" fmla="*/ 21 h 34"/>
                  <a:gd name="T114" fmla="*/ 51 w 62"/>
                  <a:gd name="T115" fmla="*/ 21 h 34"/>
                  <a:gd name="T116" fmla="*/ 53 w 62"/>
                  <a:gd name="T117" fmla="*/ 19 h 34"/>
                  <a:gd name="T118" fmla="*/ 55 w 62"/>
                  <a:gd name="T119" fmla="*/ 14 h 34"/>
                  <a:gd name="T120" fmla="*/ 61 w 62"/>
                  <a:gd name="T121" fmla="*/ 10 h 34"/>
                  <a:gd name="T122" fmla="*/ 53 w 62"/>
                  <a:gd name="T123"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 h="34">
                    <a:moveTo>
                      <a:pt x="53" y="3"/>
                    </a:moveTo>
                    <a:cubicBezTo>
                      <a:pt x="52" y="3"/>
                      <a:pt x="51" y="2"/>
                      <a:pt x="50" y="2"/>
                    </a:cubicBezTo>
                    <a:cubicBezTo>
                      <a:pt x="49" y="2"/>
                      <a:pt x="49" y="2"/>
                      <a:pt x="49" y="2"/>
                    </a:cubicBezTo>
                    <a:cubicBezTo>
                      <a:pt x="49" y="2"/>
                      <a:pt x="48" y="2"/>
                      <a:pt x="48" y="1"/>
                    </a:cubicBezTo>
                    <a:cubicBezTo>
                      <a:pt x="48" y="1"/>
                      <a:pt x="48" y="1"/>
                      <a:pt x="48" y="1"/>
                    </a:cubicBezTo>
                    <a:cubicBezTo>
                      <a:pt x="48" y="1"/>
                      <a:pt x="48" y="1"/>
                      <a:pt x="47" y="1"/>
                    </a:cubicBezTo>
                    <a:cubicBezTo>
                      <a:pt x="41" y="2"/>
                      <a:pt x="41" y="2"/>
                      <a:pt x="41" y="2"/>
                    </a:cubicBezTo>
                    <a:cubicBezTo>
                      <a:pt x="40" y="2"/>
                      <a:pt x="39" y="3"/>
                      <a:pt x="39" y="3"/>
                    </a:cubicBezTo>
                    <a:cubicBezTo>
                      <a:pt x="39" y="3"/>
                      <a:pt x="38" y="4"/>
                      <a:pt x="38" y="4"/>
                    </a:cubicBezTo>
                    <a:cubicBezTo>
                      <a:pt x="38" y="4"/>
                      <a:pt x="37" y="4"/>
                      <a:pt x="37" y="5"/>
                    </a:cubicBezTo>
                    <a:cubicBezTo>
                      <a:pt x="35" y="6"/>
                      <a:pt x="33" y="7"/>
                      <a:pt x="30" y="7"/>
                    </a:cubicBezTo>
                    <a:cubicBezTo>
                      <a:pt x="30" y="7"/>
                      <a:pt x="30" y="7"/>
                      <a:pt x="29" y="7"/>
                    </a:cubicBezTo>
                    <a:cubicBezTo>
                      <a:pt x="28" y="7"/>
                      <a:pt x="27" y="7"/>
                      <a:pt x="26" y="7"/>
                    </a:cubicBezTo>
                    <a:cubicBezTo>
                      <a:pt x="25" y="7"/>
                      <a:pt x="25" y="7"/>
                      <a:pt x="24" y="7"/>
                    </a:cubicBezTo>
                    <a:cubicBezTo>
                      <a:pt x="24" y="7"/>
                      <a:pt x="23" y="6"/>
                      <a:pt x="23" y="6"/>
                    </a:cubicBezTo>
                    <a:cubicBezTo>
                      <a:pt x="22" y="6"/>
                      <a:pt x="21" y="6"/>
                      <a:pt x="21" y="6"/>
                    </a:cubicBezTo>
                    <a:cubicBezTo>
                      <a:pt x="20" y="6"/>
                      <a:pt x="18" y="7"/>
                      <a:pt x="17" y="7"/>
                    </a:cubicBezTo>
                    <a:cubicBezTo>
                      <a:pt x="17" y="7"/>
                      <a:pt x="17" y="7"/>
                      <a:pt x="16" y="7"/>
                    </a:cubicBezTo>
                    <a:cubicBezTo>
                      <a:pt x="15" y="7"/>
                      <a:pt x="13" y="6"/>
                      <a:pt x="12" y="6"/>
                    </a:cubicBezTo>
                    <a:cubicBezTo>
                      <a:pt x="11" y="5"/>
                      <a:pt x="11" y="5"/>
                      <a:pt x="11" y="5"/>
                    </a:cubicBezTo>
                    <a:cubicBezTo>
                      <a:pt x="10" y="5"/>
                      <a:pt x="9" y="5"/>
                      <a:pt x="8" y="5"/>
                    </a:cubicBezTo>
                    <a:cubicBezTo>
                      <a:pt x="7" y="5"/>
                      <a:pt x="7" y="5"/>
                      <a:pt x="7" y="5"/>
                    </a:cubicBezTo>
                    <a:cubicBezTo>
                      <a:pt x="6" y="5"/>
                      <a:pt x="6" y="5"/>
                      <a:pt x="5" y="5"/>
                    </a:cubicBezTo>
                    <a:cubicBezTo>
                      <a:pt x="5" y="5"/>
                      <a:pt x="5" y="5"/>
                      <a:pt x="4" y="5"/>
                    </a:cubicBezTo>
                    <a:cubicBezTo>
                      <a:pt x="4" y="5"/>
                      <a:pt x="3" y="5"/>
                      <a:pt x="3" y="4"/>
                    </a:cubicBezTo>
                    <a:cubicBezTo>
                      <a:pt x="2" y="4"/>
                      <a:pt x="2" y="3"/>
                      <a:pt x="3" y="3"/>
                    </a:cubicBezTo>
                    <a:cubicBezTo>
                      <a:pt x="3" y="2"/>
                      <a:pt x="3" y="2"/>
                      <a:pt x="3"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2" y="0"/>
                      <a:pt x="2" y="0"/>
                      <a:pt x="2" y="0"/>
                    </a:cubicBezTo>
                    <a:cubicBezTo>
                      <a:pt x="2" y="1"/>
                      <a:pt x="2" y="1"/>
                      <a:pt x="2" y="1"/>
                    </a:cubicBezTo>
                    <a:cubicBezTo>
                      <a:pt x="1" y="2"/>
                      <a:pt x="1" y="2"/>
                      <a:pt x="1" y="2"/>
                    </a:cubicBezTo>
                    <a:cubicBezTo>
                      <a:pt x="0" y="4"/>
                      <a:pt x="0" y="4"/>
                      <a:pt x="0" y="4"/>
                    </a:cubicBezTo>
                    <a:cubicBezTo>
                      <a:pt x="0" y="4"/>
                      <a:pt x="0" y="4"/>
                      <a:pt x="0" y="4"/>
                    </a:cubicBezTo>
                    <a:cubicBezTo>
                      <a:pt x="0" y="4"/>
                      <a:pt x="0" y="4"/>
                      <a:pt x="0" y="4"/>
                    </a:cubicBezTo>
                    <a:cubicBezTo>
                      <a:pt x="0" y="5"/>
                      <a:pt x="0" y="5"/>
                      <a:pt x="0" y="5"/>
                    </a:cubicBezTo>
                    <a:cubicBezTo>
                      <a:pt x="0" y="6"/>
                      <a:pt x="1" y="7"/>
                      <a:pt x="1" y="7"/>
                    </a:cubicBezTo>
                    <a:cubicBezTo>
                      <a:pt x="1" y="7"/>
                      <a:pt x="1" y="8"/>
                      <a:pt x="2" y="8"/>
                    </a:cubicBezTo>
                    <a:cubicBezTo>
                      <a:pt x="2" y="8"/>
                      <a:pt x="2" y="9"/>
                      <a:pt x="3" y="9"/>
                    </a:cubicBezTo>
                    <a:cubicBezTo>
                      <a:pt x="3" y="9"/>
                      <a:pt x="3" y="9"/>
                      <a:pt x="4" y="9"/>
                    </a:cubicBezTo>
                    <a:cubicBezTo>
                      <a:pt x="4" y="10"/>
                      <a:pt x="4" y="10"/>
                      <a:pt x="4" y="10"/>
                    </a:cubicBezTo>
                    <a:cubicBezTo>
                      <a:pt x="5" y="10"/>
                      <a:pt x="5" y="10"/>
                      <a:pt x="6" y="11"/>
                    </a:cubicBezTo>
                    <a:cubicBezTo>
                      <a:pt x="7" y="12"/>
                      <a:pt x="7" y="12"/>
                      <a:pt x="7" y="12"/>
                    </a:cubicBezTo>
                    <a:cubicBezTo>
                      <a:pt x="6" y="13"/>
                      <a:pt x="6" y="13"/>
                      <a:pt x="6" y="13"/>
                    </a:cubicBezTo>
                    <a:cubicBezTo>
                      <a:pt x="5" y="13"/>
                      <a:pt x="5" y="13"/>
                      <a:pt x="4" y="14"/>
                    </a:cubicBezTo>
                    <a:cubicBezTo>
                      <a:pt x="4" y="14"/>
                      <a:pt x="4" y="14"/>
                      <a:pt x="4" y="14"/>
                    </a:cubicBezTo>
                    <a:cubicBezTo>
                      <a:pt x="3" y="15"/>
                      <a:pt x="2" y="16"/>
                      <a:pt x="1" y="16"/>
                    </a:cubicBezTo>
                    <a:cubicBezTo>
                      <a:pt x="1" y="16"/>
                      <a:pt x="1" y="17"/>
                      <a:pt x="1" y="17"/>
                    </a:cubicBezTo>
                    <a:cubicBezTo>
                      <a:pt x="1" y="17"/>
                      <a:pt x="0" y="17"/>
                      <a:pt x="0" y="17"/>
                    </a:cubicBezTo>
                    <a:cubicBezTo>
                      <a:pt x="0" y="17"/>
                      <a:pt x="0" y="17"/>
                      <a:pt x="0" y="17"/>
                    </a:cubicBezTo>
                    <a:cubicBezTo>
                      <a:pt x="0" y="17"/>
                      <a:pt x="0" y="17"/>
                      <a:pt x="0" y="18"/>
                    </a:cubicBezTo>
                    <a:cubicBezTo>
                      <a:pt x="0" y="18"/>
                      <a:pt x="1" y="18"/>
                      <a:pt x="1" y="18"/>
                    </a:cubicBezTo>
                    <a:cubicBezTo>
                      <a:pt x="1" y="19"/>
                      <a:pt x="1" y="19"/>
                      <a:pt x="1" y="19"/>
                    </a:cubicBezTo>
                    <a:cubicBezTo>
                      <a:pt x="1" y="19"/>
                      <a:pt x="1" y="19"/>
                      <a:pt x="1" y="19"/>
                    </a:cubicBezTo>
                    <a:cubicBezTo>
                      <a:pt x="1" y="19"/>
                      <a:pt x="2" y="20"/>
                      <a:pt x="1" y="20"/>
                    </a:cubicBezTo>
                    <a:cubicBezTo>
                      <a:pt x="1" y="21"/>
                      <a:pt x="1" y="22"/>
                      <a:pt x="0" y="23"/>
                    </a:cubicBezTo>
                    <a:cubicBezTo>
                      <a:pt x="0" y="23"/>
                      <a:pt x="0" y="23"/>
                      <a:pt x="0" y="23"/>
                    </a:cubicBezTo>
                    <a:cubicBezTo>
                      <a:pt x="0" y="23"/>
                      <a:pt x="1" y="23"/>
                      <a:pt x="1" y="23"/>
                    </a:cubicBezTo>
                    <a:cubicBezTo>
                      <a:pt x="1" y="24"/>
                      <a:pt x="1" y="24"/>
                      <a:pt x="2" y="24"/>
                    </a:cubicBezTo>
                    <a:cubicBezTo>
                      <a:pt x="2" y="24"/>
                      <a:pt x="2" y="24"/>
                      <a:pt x="2" y="24"/>
                    </a:cubicBezTo>
                    <a:cubicBezTo>
                      <a:pt x="4" y="22"/>
                      <a:pt x="4" y="22"/>
                      <a:pt x="4" y="22"/>
                    </a:cubicBezTo>
                    <a:cubicBezTo>
                      <a:pt x="2" y="25"/>
                      <a:pt x="2" y="25"/>
                      <a:pt x="2" y="25"/>
                    </a:cubicBezTo>
                    <a:cubicBezTo>
                      <a:pt x="3" y="25"/>
                      <a:pt x="3" y="25"/>
                      <a:pt x="3" y="25"/>
                    </a:cubicBezTo>
                    <a:cubicBezTo>
                      <a:pt x="3" y="25"/>
                      <a:pt x="3" y="25"/>
                      <a:pt x="3" y="25"/>
                    </a:cubicBezTo>
                    <a:cubicBezTo>
                      <a:pt x="3" y="25"/>
                      <a:pt x="3" y="25"/>
                      <a:pt x="3" y="25"/>
                    </a:cubicBezTo>
                    <a:cubicBezTo>
                      <a:pt x="5" y="27"/>
                      <a:pt x="7" y="29"/>
                      <a:pt x="6" y="30"/>
                    </a:cubicBezTo>
                    <a:cubicBezTo>
                      <a:pt x="6" y="31"/>
                      <a:pt x="6" y="32"/>
                      <a:pt x="6" y="33"/>
                    </a:cubicBezTo>
                    <a:cubicBezTo>
                      <a:pt x="6" y="33"/>
                      <a:pt x="6" y="33"/>
                      <a:pt x="6" y="33"/>
                    </a:cubicBezTo>
                    <a:cubicBezTo>
                      <a:pt x="7" y="33"/>
                      <a:pt x="7" y="33"/>
                      <a:pt x="7" y="33"/>
                    </a:cubicBezTo>
                    <a:cubicBezTo>
                      <a:pt x="8" y="33"/>
                      <a:pt x="10" y="33"/>
                      <a:pt x="11" y="33"/>
                    </a:cubicBezTo>
                    <a:cubicBezTo>
                      <a:pt x="11" y="33"/>
                      <a:pt x="12" y="33"/>
                      <a:pt x="12" y="32"/>
                    </a:cubicBezTo>
                    <a:cubicBezTo>
                      <a:pt x="13" y="32"/>
                      <a:pt x="13" y="32"/>
                      <a:pt x="13" y="32"/>
                    </a:cubicBezTo>
                    <a:cubicBezTo>
                      <a:pt x="13" y="32"/>
                      <a:pt x="14" y="32"/>
                      <a:pt x="14" y="32"/>
                    </a:cubicBezTo>
                    <a:cubicBezTo>
                      <a:pt x="15" y="31"/>
                      <a:pt x="16" y="31"/>
                      <a:pt x="17" y="31"/>
                    </a:cubicBezTo>
                    <a:cubicBezTo>
                      <a:pt x="18" y="31"/>
                      <a:pt x="18" y="31"/>
                      <a:pt x="18" y="31"/>
                    </a:cubicBezTo>
                    <a:cubicBezTo>
                      <a:pt x="19" y="31"/>
                      <a:pt x="20" y="30"/>
                      <a:pt x="20" y="31"/>
                    </a:cubicBezTo>
                    <a:cubicBezTo>
                      <a:pt x="21" y="31"/>
                      <a:pt x="21" y="31"/>
                      <a:pt x="21" y="31"/>
                    </a:cubicBezTo>
                    <a:cubicBezTo>
                      <a:pt x="21" y="31"/>
                      <a:pt x="21" y="31"/>
                      <a:pt x="21" y="31"/>
                    </a:cubicBezTo>
                    <a:cubicBezTo>
                      <a:pt x="22" y="31"/>
                      <a:pt x="23" y="32"/>
                      <a:pt x="23" y="32"/>
                    </a:cubicBezTo>
                    <a:cubicBezTo>
                      <a:pt x="23" y="33"/>
                      <a:pt x="23" y="33"/>
                      <a:pt x="23" y="33"/>
                    </a:cubicBezTo>
                    <a:cubicBezTo>
                      <a:pt x="24" y="33"/>
                      <a:pt x="24" y="33"/>
                      <a:pt x="25" y="33"/>
                    </a:cubicBezTo>
                    <a:cubicBezTo>
                      <a:pt x="26" y="33"/>
                      <a:pt x="26" y="33"/>
                      <a:pt x="26" y="34"/>
                    </a:cubicBezTo>
                    <a:cubicBezTo>
                      <a:pt x="26" y="34"/>
                      <a:pt x="27" y="34"/>
                      <a:pt x="28" y="34"/>
                    </a:cubicBezTo>
                    <a:cubicBezTo>
                      <a:pt x="28" y="34"/>
                      <a:pt x="28" y="34"/>
                      <a:pt x="28" y="34"/>
                    </a:cubicBezTo>
                    <a:cubicBezTo>
                      <a:pt x="28" y="34"/>
                      <a:pt x="29" y="34"/>
                      <a:pt x="29" y="34"/>
                    </a:cubicBezTo>
                    <a:cubicBezTo>
                      <a:pt x="31" y="34"/>
                      <a:pt x="31" y="34"/>
                      <a:pt x="31" y="34"/>
                    </a:cubicBezTo>
                    <a:cubicBezTo>
                      <a:pt x="31" y="34"/>
                      <a:pt x="31" y="34"/>
                      <a:pt x="31" y="34"/>
                    </a:cubicBezTo>
                    <a:cubicBezTo>
                      <a:pt x="32" y="34"/>
                      <a:pt x="32" y="34"/>
                      <a:pt x="32" y="34"/>
                    </a:cubicBezTo>
                    <a:cubicBezTo>
                      <a:pt x="33" y="34"/>
                      <a:pt x="34" y="34"/>
                      <a:pt x="34" y="34"/>
                    </a:cubicBezTo>
                    <a:cubicBezTo>
                      <a:pt x="34" y="34"/>
                      <a:pt x="35" y="33"/>
                      <a:pt x="36" y="33"/>
                    </a:cubicBezTo>
                    <a:cubicBezTo>
                      <a:pt x="36" y="33"/>
                      <a:pt x="36" y="32"/>
                      <a:pt x="36" y="32"/>
                    </a:cubicBezTo>
                    <a:cubicBezTo>
                      <a:pt x="36" y="32"/>
                      <a:pt x="35" y="32"/>
                      <a:pt x="35" y="32"/>
                    </a:cubicBezTo>
                    <a:cubicBezTo>
                      <a:pt x="35" y="31"/>
                      <a:pt x="35" y="31"/>
                      <a:pt x="35" y="30"/>
                    </a:cubicBezTo>
                    <a:cubicBezTo>
                      <a:pt x="35" y="30"/>
                      <a:pt x="35" y="29"/>
                      <a:pt x="36" y="29"/>
                    </a:cubicBezTo>
                    <a:cubicBezTo>
                      <a:pt x="37" y="29"/>
                      <a:pt x="37" y="29"/>
                      <a:pt x="38" y="29"/>
                    </a:cubicBezTo>
                    <a:cubicBezTo>
                      <a:pt x="39" y="29"/>
                      <a:pt x="39" y="29"/>
                      <a:pt x="39" y="29"/>
                    </a:cubicBezTo>
                    <a:cubicBezTo>
                      <a:pt x="39" y="29"/>
                      <a:pt x="39" y="28"/>
                      <a:pt x="39" y="28"/>
                    </a:cubicBezTo>
                    <a:cubicBezTo>
                      <a:pt x="39" y="28"/>
                      <a:pt x="39" y="28"/>
                      <a:pt x="39" y="28"/>
                    </a:cubicBezTo>
                    <a:cubicBezTo>
                      <a:pt x="40" y="28"/>
                      <a:pt x="40" y="28"/>
                      <a:pt x="40" y="28"/>
                    </a:cubicBezTo>
                    <a:cubicBezTo>
                      <a:pt x="40" y="28"/>
                      <a:pt x="40" y="28"/>
                      <a:pt x="40" y="28"/>
                    </a:cubicBezTo>
                    <a:cubicBezTo>
                      <a:pt x="40" y="27"/>
                      <a:pt x="41" y="27"/>
                      <a:pt x="41" y="26"/>
                    </a:cubicBezTo>
                    <a:cubicBezTo>
                      <a:pt x="44" y="26"/>
                      <a:pt x="44" y="26"/>
                      <a:pt x="44" y="26"/>
                    </a:cubicBezTo>
                    <a:cubicBezTo>
                      <a:pt x="45" y="25"/>
                      <a:pt x="46" y="25"/>
                      <a:pt x="47" y="25"/>
                    </a:cubicBezTo>
                    <a:cubicBezTo>
                      <a:pt x="49" y="24"/>
                      <a:pt x="49" y="24"/>
                      <a:pt x="49" y="24"/>
                    </a:cubicBezTo>
                    <a:cubicBezTo>
                      <a:pt x="50" y="24"/>
                      <a:pt x="50" y="24"/>
                      <a:pt x="50" y="24"/>
                    </a:cubicBezTo>
                    <a:cubicBezTo>
                      <a:pt x="50" y="25"/>
                      <a:pt x="50" y="25"/>
                      <a:pt x="50" y="25"/>
                    </a:cubicBezTo>
                    <a:cubicBezTo>
                      <a:pt x="50" y="25"/>
                      <a:pt x="50" y="25"/>
                      <a:pt x="50" y="25"/>
                    </a:cubicBezTo>
                    <a:cubicBezTo>
                      <a:pt x="50" y="25"/>
                      <a:pt x="51" y="25"/>
                      <a:pt x="51" y="26"/>
                    </a:cubicBezTo>
                    <a:cubicBezTo>
                      <a:pt x="51" y="26"/>
                      <a:pt x="52" y="26"/>
                      <a:pt x="52" y="26"/>
                    </a:cubicBezTo>
                    <a:cubicBezTo>
                      <a:pt x="55" y="25"/>
                      <a:pt x="55" y="25"/>
                      <a:pt x="55" y="25"/>
                    </a:cubicBezTo>
                    <a:cubicBezTo>
                      <a:pt x="54" y="24"/>
                      <a:pt x="53" y="23"/>
                      <a:pt x="53" y="21"/>
                    </a:cubicBezTo>
                    <a:cubicBezTo>
                      <a:pt x="52" y="21"/>
                      <a:pt x="52" y="21"/>
                      <a:pt x="52" y="21"/>
                    </a:cubicBezTo>
                    <a:cubicBezTo>
                      <a:pt x="52" y="21"/>
                      <a:pt x="51" y="21"/>
                      <a:pt x="51" y="21"/>
                    </a:cubicBezTo>
                    <a:cubicBezTo>
                      <a:pt x="50" y="21"/>
                      <a:pt x="50" y="21"/>
                      <a:pt x="50" y="21"/>
                    </a:cubicBezTo>
                    <a:cubicBezTo>
                      <a:pt x="50" y="20"/>
                      <a:pt x="53" y="19"/>
                      <a:pt x="53" y="19"/>
                    </a:cubicBezTo>
                    <a:cubicBezTo>
                      <a:pt x="55" y="18"/>
                      <a:pt x="55" y="18"/>
                      <a:pt x="55" y="16"/>
                    </a:cubicBezTo>
                    <a:cubicBezTo>
                      <a:pt x="55" y="16"/>
                      <a:pt x="55" y="15"/>
                      <a:pt x="55" y="14"/>
                    </a:cubicBezTo>
                    <a:cubicBezTo>
                      <a:pt x="55" y="13"/>
                      <a:pt x="56" y="12"/>
                      <a:pt x="55" y="12"/>
                    </a:cubicBezTo>
                    <a:cubicBezTo>
                      <a:pt x="56" y="11"/>
                      <a:pt x="59" y="8"/>
                      <a:pt x="61" y="10"/>
                    </a:cubicBezTo>
                    <a:cubicBezTo>
                      <a:pt x="61" y="9"/>
                      <a:pt x="61" y="7"/>
                      <a:pt x="62" y="6"/>
                    </a:cubicBezTo>
                    <a:lnTo>
                      <a:pt x="5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8" name="Freeform 3110">
                <a:extLst>
                  <a:ext uri="{FF2B5EF4-FFF2-40B4-BE49-F238E27FC236}">
                    <a16:creationId xmlns:a16="http://schemas.microsoft.com/office/drawing/2014/main" id="{903B7409-8572-4867-BA52-8E20210316FA}"/>
                  </a:ext>
                </a:extLst>
              </p:cNvPr>
              <p:cNvSpPr>
                <a:spLocks/>
              </p:cNvSpPr>
              <p:nvPr/>
            </p:nvSpPr>
            <p:spPr bwMode="auto">
              <a:xfrm>
                <a:off x="4178" y="1700"/>
                <a:ext cx="73" cy="54"/>
              </a:xfrm>
              <a:custGeom>
                <a:avLst/>
                <a:gdLst>
                  <a:gd name="T0" fmla="*/ 22 w 31"/>
                  <a:gd name="T1" fmla="*/ 5 h 23"/>
                  <a:gd name="T2" fmla="*/ 20 w 31"/>
                  <a:gd name="T3" fmla="*/ 1 h 23"/>
                  <a:gd name="T4" fmla="*/ 16 w 31"/>
                  <a:gd name="T5" fmla="*/ 1 h 23"/>
                  <a:gd name="T6" fmla="*/ 13 w 31"/>
                  <a:gd name="T7" fmla="*/ 0 h 23"/>
                  <a:gd name="T8" fmla="*/ 13 w 31"/>
                  <a:gd name="T9" fmla="*/ 0 h 23"/>
                  <a:gd name="T10" fmla="*/ 13 w 31"/>
                  <a:gd name="T11" fmla="*/ 0 h 23"/>
                  <a:gd name="T12" fmla="*/ 12 w 31"/>
                  <a:gd name="T13" fmla="*/ 0 h 23"/>
                  <a:gd name="T14" fmla="*/ 9 w 31"/>
                  <a:gd name="T15" fmla="*/ 1 h 23"/>
                  <a:gd name="T16" fmla="*/ 6 w 31"/>
                  <a:gd name="T17" fmla="*/ 2 h 23"/>
                  <a:gd name="T18" fmla="*/ 6 w 31"/>
                  <a:gd name="T19" fmla="*/ 2 h 23"/>
                  <a:gd name="T20" fmla="*/ 6 w 31"/>
                  <a:gd name="T21" fmla="*/ 2 h 23"/>
                  <a:gd name="T22" fmla="*/ 5 w 31"/>
                  <a:gd name="T23" fmla="*/ 3 h 23"/>
                  <a:gd name="T24" fmla="*/ 6 w 31"/>
                  <a:gd name="T25" fmla="*/ 3 h 23"/>
                  <a:gd name="T26" fmla="*/ 6 w 31"/>
                  <a:gd name="T27" fmla="*/ 3 h 23"/>
                  <a:gd name="T28" fmla="*/ 7 w 31"/>
                  <a:gd name="T29" fmla="*/ 4 h 23"/>
                  <a:gd name="T30" fmla="*/ 7 w 31"/>
                  <a:gd name="T31" fmla="*/ 7 h 23"/>
                  <a:gd name="T32" fmla="*/ 5 w 31"/>
                  <a:gd name="T33" fmla="*/ 9 h 23"/>
                  <a:gd name="T34" fmla="*/ 4 w 31"/>
                  <a:gd name="T35" fmla="*/ 9 h 23"/>
                  <a:gd name="T36" fmla="*/ 4 w 31"/>
                  <a:gd name="T37" fmla="*/ 9 h 23"/>
                  <a:gd name="T38" fmla="*/ 4 w 31"/>
                  <a:gd name="T39" fmla="*/ 10 h 23"/>
                  <a:gd name="T40" fmla="*/ 4 w 31"/>
                  <a:gd name="T41" fmla="*/ 10 h 23"/>
                  <a:gd name="T42" fmla="*/ 4 w 31"/>
                  <a:gd name="T43" fmla="*/ 12 h 23"/>
                  <a:gd name="T44" fmla="*/ 4 w 31"/>
                  <a:gd name="T45" fmla="*/ 12 h 23"/>
                  <a:gd name="T46" fmla="*/ 3 w 31"/>
                  <a:gd name="T47" fmla="*/ 13 h 23"/>
                  <a:gd name="T48" fmla="*/ 3 w 31"/>
                  <a:gd name="T49" fmla="*/ 14 h 23"/>
                  <a:gd name="T50" fmla="*/ 1 w 31"/>
                  <a:gd name="T51" fmla="*/ 16 h 23"/>
                  <a:gd name="T52" fmla="*/ 0 w 31"/>
                  <a:gd name="T53" fmla="*/ 16 h 23"/>
                  <a:gd name="T54" fmla="*/ 5 w 31"/>
                  <a:gd name="T55" fmla="*/ 16 h 23"/>
                  <a:gd name="T56" fmla="*/ 7 w 31"/>
                  <a:gd name="T57" fmla="*/ 17 h 23"/>
                  <a:gd name="T58" fmla="*/ 6 w 31"/>
                  <a:gd name="T59" fmla="*/ 18 h 23"/>
                  <a:gd name="T60" fmla="*/ 2 w 31"/>
                  <a:gd name="T61" fmla="*/ 20 h 23"/>
                  <a:gd name="T62" fmla="*/ 1 w 31"/>
                  <a:gd name="T63" fmla="*/ 23 h 23"/>
                  <a:gd name="T64" fmla="*/ 12 w 31"/>
                  <a:gd name="T65" fmla="*/ 15 h 23"/>
                  <a:gd name="T66" fmla="*/ 17 w 31"/>
                  <a:gd name="T67" fmla="*/ 12 h 23"/>
                  <a:gd name="T68" fmla="*/ 24 w 31"/>
                  <a:gd name="T69" fmla="*/ 11 h 23"/>
                  <a:gd name="T70" fmla="*/ 27 w 31"/>
                  <a:gd name="T71" fmla="*/ 12 h 23"/>
                  <a:gd name="T72" fmla="*/ 27 w 31"/>
                  <a:gd name="T73" fmla="*/ 11 h 23"/>
                  <a:gd name="T74" fmla="*/ 30 w 31"/>
                  <a:gd name="T75" fmla="*/ 9 h 23"/>
                  <a:gd name="T76" fmla="*/ 31 w 31"/>
                  <a:gd name="T77" fmla="*/ 9 h 23"/>
                  <a:gd name="T78" fmla="*/ 31 w 31"/>
                  <a:gd name="T79" fmla="*/ 9 h 23"/>
                  <a:gd name="T80" fmla="*/ 29 w 31"/>
                  <a:gd name="T81" fmla="*/ 8 h 23"/>
                  <a:gd name="T82" fmla="*/ 22 w 31"/>
                  <a:gd name="T83"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23">
                    <a:moveTo>
                      <a:pt x="22" y="5"/>
                    </a:moveTo>
                    <a:cubicBezTo>
                      <a:pt x="20" y="4"/>
                      <a:pt x="20" y="2"/>
                      <a:pt x="20" y="1"/>
                    </a:cubicBezTo>
                    <a:cubicBezTo>
                      <a:pt x="16" y="1"/>
                      <a:pt x="16" y="1"/>
                      <a:pt x="16" y="1"/>
                    </a:cubicBezTo>
                    <a:cubicBezTo>
                      <a:pt x="15" y="2"/>
                      <a:pt x="14" y="1"/>
                      <a:pt x="13" y="0"/>
                    </a:cubicBezTo>
                    <a:cubicBezTo>
                      <a:pt x="13" y="0"/>
                      <a:pt x="13" y="0"/>
                      <a:pt x="13" y="0"/>
                    </a:cubicBezTo>
                    <a:cubicBezTo>
                      <a:pt x="13" y="0"/>
                      <a:pt x="13" y="0"/>
                      <a:pt x="13" y="0"/>
                    </a:cubicBezTo>
                    <a:cubicBezTo>
                      <a:pt x="12" y="0"/>
                      <a:pt x="12" y="0"/>
                      <a:pt x="12" y="0"/>
                    </a:cubicBezTo>
                    <a:cubicBezTo>
                      <a:pt x="11" y="0"/>
                      <a:pt x="10" y="1"/>
                      <a:pt x="9" y="1"/>
                    </a:cubicBezTo>
                    <a:cubicBezTo>
                      <a:pt x="6" y="2"/>
                      <a:pt x="6" y="2"/>
                      <a:pt x="6" y="2"/>
                    </a:cubicBezTo>
                    <a:cubicBezTo>
                      <a:pt x="6" y="2"/>
                      <a:pt x="6" y="2"/>
                      <a:pt x="6" y="2"/>
                    </a:cubicBezTo>
                    <a:cubicBezTo>
                      <a:pt x="6" y="2"/>
                      <a:pt x="6" y="2"/>
                      <a:pt x="6" y="2"/>
                    </a:cubicBezTo>
                    <a:cubicBezTo>
                      <a:pt x="6" y="3"/>
                      <a:pt x="5" y="3"/>
                      <a:pt x="5" y="3"/>
                    </a:cubicBezTo>
                    <a:cubicBezTo>
                      <a:pt x="6" y="3"/>
                      <a:pt x="6" y="3"/>
                      <a:pt x="6" y="3"/>
                    </a:cubicBezTo>
                    <a:cubicBezTo>
                      <a:pt x="6" y="3"/>
                      <a:pt x="6" y="3"/>
                      <a:pt x="6" y="3"/>
                    </a:cubicBezTo>
                    <a:cubicBezTo>
                      <a:pt x="6" y="3"/>
                      <a:pt x="6" y="4"/>
                      <a:pt x="7" y="4"/>
                    </a:cubicBezTo>
                    <a:cubicBezTo>
                      <a:pt x="7" y="5"/>
                      <a:pt x="7" y="6"/>
                      <a:pt x="7" y="7"/>
                    </a:cubicBezTo>
                    <a:cubicBezTo>
                      <a:pt x="6" y="8"/>
                      <a:pt x="5" y="9"/>
                      <a:pt x="5" y="9"/>
                    </a:cubicBezTo>
                    <a:cubicBezTo>
                      <a:pt x="4" y="9"/>
                      <a:pt x="4" y="9"/>
                      <a:pt x="4" y="9"/>
                    </a:cubicBezTo>
                    <a:cubicBezTo>
                      <a:pt x="4" y="9"/>
                      <a:pt x="4" y="9"/>
                      <a:pt x="4" y="9"/>
                    </a:cubicBezTo>
                    <a:cubicBezTo>
                      <a:pt x="4" y="9"/>
                      <a:pt x="4" y="10"/>
                      <a:pt x="4" y="10"/>
                    </a:cubicBezTo>
                    <a:cubicBezTo>
                      <a:pt x="4" y="10"/>
                      <a:pt x="4" y="10"/>
                      <a:pt x="4" y="10"/>
                    </a:cubicBezTo>
                    <a:cubicBezTo>
                      <a:pt x="4" y="10"/>
                      <a:pt x="4" y="11"/>
                      <a:pt x="4" y="12"/>
                    </a:cubicBezTo>
                    <a:cubicBezTo>
                      <a:pt x="4" y="12"/>
                      <a:pt x="4" y="12"/>
                      <a:pt x="4" y="12"/>
                    </a:cubicBezTo>
                    <a:cubicBezTo>
                      <a:pt x="4" y="13"/>
                      <a:pt x="3" y="13"/>
                      <a:pt x="3" y="13"/>
                    </a:cubicBezTo>
                    <a:cubicBezTo>
                      <a:pt x="3" y="14"/>
                      <a:pt x="3" y="14"/>
                      <a:pt x="3" y="14"/>
                    </a:cubicBezTo>
                    <a:cubicBezTo>
                      <a:pt x="2" y="14"/>
                      <a:pt x="1" y="16"/>
                      <a:pt x="1" y="16"/>
                    </a:cubicBezTo>
                    <a:cubicBezTo>
                      <a:pt x="0" y="16"/>
                      <a:pt x="0" y="16"/>
                      <a:pt x="0" y="16"/>
                    </a:cubicBezTo>
                    <a:cubicBezTo>
                      <a:pt x="1" y="17"/>
                      <a:pt x="4" y="16"/>
                      <a:pt x="5" y="16"/>
                    </a:cubicBezTo>
                    <a:cubicBezTo>
                      <a:pt x="6" y="16"/>
                      <a:pt x="7" y="15"/>
                      <a:pt x="7" y="17"/>
                    </a:cubicBezTo>
                    <a:cubicBezTo>
                      <a:pt x="7" y="17"/>
                      <a:pt x="6" y="17"/>
                      <a:pt x="6" y="18"/>
                    </a:cubicBezTo>
                    <a:cubicBezTo>
                      <a:pt x="5" y="18"/>
                      <a:pt x="2" y="19"/>
                      <a:pt x="2" y="20"/>
                    </a:cubicBezTo>
                    <a:cubicBezTo>
                      <a:pt x="1" y="21"/>
                      <a:pt x="1" y="22"/>
                      <a:pt x="1" y="23"/>
                    </a:cubicBezTo>
                    <a:cubicBezTo>
                      <a:pt x="5" y="20"/>
                      <a:pt x="8" y="18"/>
                      <a:pt x="12" y="15"/>
                    </a:cubicBezTo>
                    <a:cubicBezTo>
                      <a:pt x="14" y="14"/>
                      <a:pt x="16" y="12"/>
                      <a:pt x="17" y="12"/>
                    </a:cubicBezTo>
                    <a:cubicBezTo>
                      <a:pt x="19" y="11"/>
                      <a:pt x="22" y="11"/>
                      <a:pt x="24" y="11"/>
                    </a:cubicBezTo>
                    <a:cubicBezTo>
                      <a:pt x="25" y="11"/>
                      <a:pt x="26" y="12"/>
                      <a:pt x="27" y="12"/>
                    </a:cubicBezTo>
                    <a:cubicBezTo>
                      <a:pt x="27" y="12"/>
                      <a:pt x="27" y="12"/>
                      <a:pt x="27" y="11"/>
                    </a:cubicBezTo>
                    <a:cubicBezTo>
                      <a:pt x="27" y="10"/>
                      <a:pt x="28" y="9"/>
                      <a:pt x="30" y="9"/>
                    </a:cubicBezTo>
                    <a:cubicBezTo>
                      <a:pt x="30" y="9"/>
                      <a:pt x="31" y="9"/>
                      <a:pt x="31" y="9"/>
                    </a:cubicBezTo>
                    <a:cubicBezTo>
                      <a:pt x="31" y="9"/>
                      <a:pt x="31" y="9"/>
                      <a:pt x="31" y="9"/>
                    </a:cubicBezTo>
                    <a:cubicBezTo>
                      <a:pt x="31" y="9"/>
                      <a:pt x="29" y="8"/>
                      <a:pt x="29" y="8"/>
                    </a:cubicBezTo>
                    <a:cubicBezTo>
                      <a:pt x="26" y="7"/>
                      <a:pt x="24" y="6"/>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9" name="Freeform 3111">
                <a:extLst>
                  <a:ext uri="{FF2B5EF4-FFF2-40B4-BE49-F238E27FC236}">
                    <a16:creationId xmlns:a16="http://schemas.microsoft.com/office/drawing/2014/main" id="{6DDD89EE-69BA-4836-8D87-6DA04A395839}"/>
                  </a:ext>
                </a:extLst>
              </p:cNvPr>
              <p:cNvSpPr>
                <a:spLocks/>
              </p:cNvSpPr>
              <p:nvPr/>
            </p:nvSpPr>
            <p:spPr bwMode="auto">
              <a:xfrm>
                <a:off x="4008" y="1577"/>
                <a:ext cx="92" cy="111"/>
              </a:xfrm>
              <a:custGeom>
                <a:avLst/>
                <a:gdLst>
                  <a:gd name="T0" fmla="*/ 38 w 39"/>
                  <a:gd name="T1" fmla="*/ 36 h 47"/>
                  <a:gd name="T2" fmla="*/ 35 w 39"/>
                  <a:gd name="T3" fmla="*/ 34 h 47"/>
                  <a:gd name="T4" fmla="*/ 33 w 39"/>
                  <a:gd name="T5" fmla="*/ 30 h 47"/>
                  <a:gd name="T6" fmla="*/ 36 w 39"/>
                  <a:gd name="T7" fmla="*/ 25 h 47"/>
                  <a:gd name="T8" fmla="*/ 35 w 39"/>
                  <a:gd name="T9" fmla="*/ 20 h 47"/>
                  <a:gd name="T10" fmla="*/ 34 w 39"/>
                  <a:gd name="T11" fmla="*/ 21 h 47"/>
                  <a:gd name="T12" fmla="*/ 34 w 39"/>
                  <a:gd name="T13" fmla="*/ 21 h 47"/>
                  <a:gd name="T14" fmla="*/ 33 w 39"/>
                  <a:gd name="T15" fmla="*/ 22 h 47"/>
                  <a:gd name="T16" fmla="*/ 32 w 39"/>
                  <a:gd name="T17" fmla="*/ 22 h 47"/>
                  <a:gd name="T18" fmla="*/ 29 w 39"/>
                  <a:gd name="T19" fmla="*/ 20 h 47"/>
                  <a:gd name="T20" fmla="*/ 25 w 39"/>
                  <a:gd name="T21" fmla="*/ 15 h 47"/>
                  <a:gd name="T22" fmla="*/ 24 w 39"/>
                  <a:gd name="T23" fmla="*/ 13 h 47"/>
                  <a:gd name="T24" fmla="*/ 20 w 39"/>
                  <a:gd name="T25" fmla="*/ 11 h 47"/>
                  <a:gd name="T26" fmla="*/ 19 w 39"/>
                  <a:gd name="T27" fmla="*/ 10 h 47"/>
                  <a:gd name="T28" fmla="*/ 18 w 39"/>
                  <a:gd name="T29" fmla="*/ 9 h 47"/>
                  <a:gd name="T30" fmla="*/ 17 w 39"/>
                  <a:gd name="T31" fmla="*/ 9 h 47"/>
                  <a:gd name="T32" fmla="*/ 17 w 39"/>
                  <a:gd name="T33" fmla="*/ 7 h 47"/>
                  <a:gd name="T34" fmla="*/ 12 w 39"/>
                  <a:gd name="T35" fmla="*/ 1 h 47"/>
                  <a:gd name="T36" fmla="*/ 8 w 39"/>
                  <a:gd name="T37" fmla="*/ 0 h 47"/>
                  <a:gd name="T38" fmla="*/ 0 w 39"/>
                  <a:gd name="T39" fmla="*/ 3 h 47"/>
                  <a:gd name="T40" fmla="*/ 0 w 39"/>
                  <a:gd name="T41" fmla="*/ 6 h 47"/>
                  <a:gd name="T42" fmla="*/ 2 w 39"/>
                  <a:gd name="T43" fmla="*/ 8 h 47"/>
                  <a:gd name="T44" fmla="*/ 4 w 39"/>
                  <a:gd name="T45" fmla="*/ 12 h 47"/>
                  <a:gd name="T46" fmla="*/ 2 w 39"/>
                  <a:gd name="T47" fmla="*/ 13 h 47"/>
                  <a:gd name="T48" fmla="*/ 5 w 39"/>
                  <a:gd name="T49" fmla="*/ 14 h 47"/>
                  <a:gd name="T50" fmla="*/ 4 w 39"/>
                  <a:gd name="T51" fmla="*/ 18 h 47"/>
                  <a:gd name="T52" fmla="*/ 3 w 39"/>
                  <a:gd name="T53" fmla="*/ 20 h 47"/>
                  <a:gd name="T54" fmla="*/ 3 w 39"/>
                  <a:gd name="T55" fmla="*/ 22 h 47"/>
                  <a:gd name="T56" fmla="*/ 5 w 39"/>
                  <a:gd name="T57" fmla="*/ 24 h 47"/>
                  <a:gd name="T58" fmla="*/ 6 w 39"/>
                  <a:gd name="T59" fmla="*/ 24 h 47"/>
                  <a:gd name="T60" fmla="*/ 7 w 39"/>
                  <a:gd name="T61" fmla="*/ 27 h 47"/>
                  <a:gd name="T62" fmla="*/ 6 w 39"/>
                  <a:gd name="T63" fmla="*/ 28 h 47"/>
                  <a:gd name="T64" fmla="*/ 5 w 39"/>
                  <a:gd name="T65" fmla="*/ 28 h 47"/>
                  <a:gd name="T66" fmla="*/ 6 w 39"/>
                  <a:gd name="T67" fmla="*/ 30 h 47"/>
                  <a:gd name="T68" fmla="*/ 6 w 39"/>
                  <a:gd name="T69" fmla="*/ 32 h 47"/>
                  <a:gd name="T70" fmla="*/ 5 w 39"/>
                  <a:gd name="T71" fmla="*/ 33 h 47"/>
                  <a:gd name="T72" fmla="*/ 16 w 39"/>
                  <a:gd name="T73" fmla="*/ 38 h 47"/>
                  <a:gd name="T74" fmla="*/ 16 w 39"/>
                  <a:gd name="T75" fmla="*/ 35 h 47"/>
                  <a:gd name="T76" fmla="*/ 18 w 39"/>
                  <a:gd name="T77" fmla="*/ 34 h 47"/>
                  <a:gd name="T78" fmla="*/ 20 w 39"/>
                  <a:gd name="T79" fmla="*/ 35 h 47"/>
                  <a:gd name="T80" fmla="*/ 26 w 39"/>
                  <a:gd name="T81" fmla="*/ 41 h 47"/>
                  <a:gd name="T82" fmla="*/ 29 w 39"/>
                  <a:gd name="T83" fmla="*/ 42 h 47"/>
                  <a:gd name="T84" fmla="*/ 28 w 39"/>
                  <a:gd name="T85" fmla="*/ 47 h 47"/>
                  <a:gd name="T86" fmla="*/ 34 w 39"/>
                  <a:gd name="T87" fmla="*/ 46 h 47"/>
                  <a:gd name="T88" fmla="*/ 35 w 39"/>
                  <a:gd name="T89" fmla="*/ 45 h 47"/>
                  <a:gd name="T90" fmla="*/ 34 w 39"/>
                  <a:gd name="T91" fmla="*/ 41 h 47"/>
                  <a:gd name="T92" fmla="*/ 36 w 39"/>
                  <a:gd name="T9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 h="47">
                    <a:moveTo>
                      <a:pt x="39" y="37"/>
                    </a:moveTo>
                    <a:cubicBezTo>
                      <a:pt x="38" y="37"/>
                      <a:pt x="38" y="37"/>
                      <a:pt x="38" y="37"/>
                    </a:cubicBezTo>
                    <a:cubicBezTo>
                      <a:pt x="38" y="36"/>
                      <a:pt x="38" y="36"/>
                      <a:pt x="38" y="36"/>
                    </a:cubicBezTo>
                    <a:cubicBezTo>
                      <a:pt x="37" y="36"/>
                      <a:pt x="37" y="36"/>
                      <a:pt x="37" y="36"/>
                    </a:cubicBezTo>
                    <a:cubicBezTo>
                      <a:pt x="37" y="35"/>
                      <a:pt x="36" y="35"/>
                      <a:pt x="36" y="35"/>
                    </a:cubicBezTo>
                    <a:cubicBezTo>
                      <a:pt x="36" y="34"/>
                      <a:pt x="35" y="34"/>
                      <a:pt x="35" y="34"/>
                    </a:cubicBezTo>
                    <a:cubicBezTo>
                      <a:pt x="34" y="33"/>
                      <a:pt x="34" y="32"/>
                      <a:pt x="34" y="31"/>
                    </a:cubicBezTo>
                    <a:cubicBezTo>
                      <a:pt x="34" y="31"/>
                      <a:pt x="34" y="31"/>
                      <a:pt x="34" y="31"/>
                    </a:cubicBezTo>
                    <a:cubicBezTo>
                      <a:pt x="34" y="31"/>
                      <a:pt x="34" y="30"/>
                      <a:pt x="33" y="30"/>
                    </a:cubicBezTo>
                    <a:cubicBezTo>
                      <a:pt x="33" y="30"/>
                      <a:pt x="33" y="29"/>
                      <a:pt x="33" y="29"/>
                    </a:cubicBezTo>
                    <a:cubicBezTo>
                      <a:pt x="34" y="29"/>
                      <a:pt x="34" y="29"/>
                      <a:pt x="34" y="29"/>
                    </a:cubicBezTo>
                    <a:cubicBezTo>
                      <a:pt x="36" y="25"/>
                      <a:pt x="36" y="25"/>
                      <a:pt x="36" y="25"/>
                    </a:cubicBezTo>
                    <a:cubicBezTo>
                      <a:pt x="36" y="24"/>
                      <a:pt x="36" y="24"/>
                      <a:pt x="36" y="24"/>
                    </a:cubicBezTo>
                    <a:cubicBezTo>
                      <a:pt x="35" y="23"/>
                      <a:pt x="35" y="22"/>
                      <a:pt x="35" y="22"/>
                    </a:cubicBezTo>
                    <a:cubicBezTo>
                      <a:pt x="35" y="21"/>
                      <a:pt x="35" y="20"/>
                      <a:pt x="35" y="20"/>
                    </a:cubicBezTo>
                    <a:cubicBezTo>
                      <a:pt x="35" y="20"/>
                      <a:pt x="35" y="20"/>
                      <a:pt x="35" y="20"/>
                    </a:cubicBezTo>
                    <a:cubicBezTo>
                      <a:pt x="35" y="20"/>
                      <a:pt x="35" y="20"/>
                      <a:pt x="35" y="20"/>
                    </a:cubicBezTo>
                    <a:cubicBezTo>
                      <a:pt x="35" y="20"/>
                      <a:pt x="34" y="21"/>
                      <a:pt x="34" y="21"/>
                    </a:cubicBezTo>
                    <a:cubicBezTo>
                      <a:pt x="34" y="21"/>
                      <a:pt x="34" y="21"/>
                      <a:pt x="34" y="21"/>
                    </a:cubicBezTo>
                    <a:cubicBezTo>
                      <a:pt x="33" y="21"/>
                      <a:pt x="33" y="21"/>
                      <a:pt x="33" y="21"/>
                    </a:cubicBezTo>
                    <a:cubicBezTo>
                      <a:pt x="34" y="21"/>
                      <a:pt x="34" y="21"/>
                      <a:pt x="34" y="21"/>
                    </a:cubicBezTo>
                    <a:cubicBezTo>
                      <a:pt x="34" y="21"/>
                      <a:pt x="34" y="21"/>
                      <a:pt x="33" y="21"/>
                    </a:cubicBezTo>
                    <a:cubicBezTo>
                      <a:pt x="33" y="22"/>
                      <a:pt x="33" y="22"/>
                      <a:pt x="33" y="22"/>
                    </a:cubicBezTo>
                    <a:cubicBezTo>
                      <a:pt x="33" y="22"/>
                      <a:pt x="33" y="22"/>
                      <a:pt x="33" y="22"/>
                    </a:cubicBezTo>
                    <a:cubicBezTo>
                      <a:pt x="32" y="22"/>
                      <a:pt x="32" y="22"/>
                      <a:pt x="32" y="22"/>
                    </a:cubicBezTo>
                    <a:cubicBezTo>
                      <a:pt x="32" y="22"/>
                      <a:pt x="32" y="22"/>
                      <a:pt x="32" y="22"/>
                    </a:cubicBezTo>
                    <a:cubicBezTo>
                      <a:pt x="32" y="22"/>
                      <a:pt x="32" y="22"/>
                      <a:pt x="32" y="22"/>
                    </a:cubicBezTo>
                    <a:cubicBezTo>
                      <a:pt x="31" y="22"/>
                      <a:pt x="31" y="22"/>
                      <a:pt x="31" y="22"/>
                    </a:cubicBezTo>
                    <a:cubicBezTo>
                      <a:pt x="31" y="21"/>
                      <a:pt x="31" y="21"/>
                      <a:pt x="31" y="21"/>
                    </a:cubicBezTo>
                    <a:cubicBezTo>
                      <a:pt x="31" y="21"/>
                      <a:pt x="30" y="20"/>
                      <a:pt x="29" y="20"/>
                    </a:cubicBezTo>
                    <a:cubicBezTo>
                      <a:pt x="21" y="16"/>
                      <a:pt x="21" y="16"/>
                      <a:pt x="21" y="16"/>
                    </a:cubicBezTo>
                    <a:cubicBezTo>
                      <a:pt x="24" y="15"/>
                      <a:pt x="24" y="15"/>
                      <a:pt x="24" y="15"/>
                    </a:cubicBezTo>
                    <a:cubicBezTo>
                      <a:pt x="24" y="15"/>
                      <a:pt x="24" y="15"/>
                      <a:pt x="25" y="15"/>
                    </a:cubicBezTo>
                    <a:cubicBezTo>
                      <a:pt x="25" y="15"/>
                      <a:pt x="25" y="15"/>
                      <a:pt x="25" y="15"/>
                    </a:cubicBezTo>
                    <a:cubicBezTo>
                      <a:pt x="25" y="14"/>
                      <a:pt x="24" y="14"/>
                      <a:pt x="24" y="13"/>
                    </a:cubicBezTo>
                    <a:cubicBezTo>
                      <a:pt x="24" y="13"/>
                      <a:pt x="24" y="13"/>
                      <a:pt x="24" y="13"/>
                    </a:cubicBezTo>
                    <a:cubicBezTo>
                      <a:pt x="21" y="11"/>
                      <a:pt x="21" y="11"/>
                      <a:pt x="21" y="11"/>
                    </a:cubicBezTo>
                    <a:cubicBezTo>
                      <a:pt x="21" y="11"/>
                      <a:pt x="21" y="11"/>
                      <a:pt x="20" y="11"/>
                    </a:cubicBezTo>
                    <a:cubicBezTo>
                      <a:pt x="20" y="11"/>
                      <a:pt x="20" y="11"/>
                      <a:pt x="20" y="11"/>
                    </a:cubicBezTo>
                    <a:cubicBezTo>
                      <a:pt x="20" y="11"/>
                      <a:pt x="19" y="10"/>
                      <a:pt x="19" y="10"/>
                    </a:cubicBezTo>
                    <a:cubicBezTo>
                      <a:pt x="19" y="10"/>
                      <a:pt x="19" y="10"/>
                      <a:pt x="19" y="10"/>
                    </a:cubicBezTo>
                    <a:cubicBezTo>
                      <a:pt x="19" y="10"/>
                      <a:pt x="19" y="10"/>
                      <a:pt x="19" y="10"/>
                    </a:cubicBezTo>
                    <a:cubicBezTo>
                      <a:pt x="18" y="10"/>
                      <a:pt x="18" y="10"/>
                      <a:pt x="18" y="10"/>
                    </a:cubicBezTo>
                    <a:cubicBezTo>
                      <a:pt x="18" y="10"/>
                      <a:pt x="18" y="9"/>
                      <a:pt x="18" y="9"/>
                    </a:cubicBezTo>
                    <a:cubicBezTo>
                      <a:pt x="18" y="9"/>
                      <a:pt x="18" y="9"/>
                      <a:pt x="18" y="9"/>
                    </a:cubicBezTo>
                    <a:cubicBezTo>
                      <a:pt x="18" y="9"/>
                      <a:pt x="18" y="9"/>
                      <a:pt x="18" y="9"/>
                    </a:cubicBezTo>
                    <a:cubicBezTo>
                      <a:pt x="17" y="9"/>
                      <a:pt x="17" y="9"/>
                      <a:pt x="17" y="9"/>
                    </a:cubicBezTo>
                    <a:cubicBezTo>
                      <a:pt x="17" y="9"/>
                      <a:pt x="17" y="9"/>
                      <a:pt x="17" y="9"/>
                    </a:cubicBezTo>
                    <a:cubicBezTo>
                      <a:pt x="17" y="8"/>
                      <a:pt x="17" y="8"/>
                      <a:pt x="17" y="8"/>
                    </a:cubicBezTo>
                    <a:cubicBezTo>
                      <a:pt x="17" y="8"/>
                      <a:pt x="17" y="8"/>
                      <a:pt x="17" y="8"/>
                    </a:cubicBezTo>
                    <a:cubicBezTo>
                      <a:pt x="17" y="7"/>
                      <a:pt x="17" y="7"/>
                      <a:pt x="17" y="7"/>
                    </a:cubicBezTo>
                    <a:cubicBezTo>
                      <a:pt x="17" y="7"/>
                      <a:pt x="17" y="7"/>
                      <a:pt x="16" y="6"/>
                    </a:cubicBezTo>
                    <a:cubicBezTo>
                      <a:pt x="16" y="6"/>
                      <a:pt x="16" y="6"/>
                      <a:pt x="16" y="6"/>
                    </a:cubicBezTo>
                    <a:cubicBezTo>
                      <a:pt x="12" y="1"/>
                      <a:pt x="12" y="1"/>
                      <a:pt x="12" y="1"/>
                    </a:cubicBezTo>
                    <a:cubicBezTo>
                      <a:pt x="12" y="1"/>
                      <a:pt x="11" y="1"/>
                      <a:pt x="11" y="1"/>
                    </a:cubicBezTo>
                    <a:cubicBezTo>
                      <a:pt x="10" y="1"/>
                      <a:pt x="10" y="0"/>
                      <a:pt x="10" y="0"/>
                    </a:cubicBezTo>
                    <a:cubicBezTo>
                      <a:pt x="8" y="0"/>
                      <a:pt x="8" y="0"/>
                      <a:pt x="8" y="0"/>
                    </a:cubicBezTo>
                    <a:cubicBezTo>
                      <a:pt x="7" y="0"/>
                      <a:pt x="7" y="0"/>
                      <a:pt x="7" y="0"/>
                    </a:cubicBezTo>
                    <a:cubicBezTo>
                      <a:pt x="7" y="1"/>
                      <a:pt x="7" y="1"/>
                      <a:pt x="7" y="1"/>
                    </a:cubicBezTo>
                    <a:cubicBezTo>
                      <a:pt x="0" y="3"/>
                      <a:pt x="0" y="3"/>
                      <a:pt x="0" y="3"/>
                    </a:cubicBezTo>
                    <a:cubicBezTo>
                      <a:pt x="0" y="3"/>
                      <a:pt x="0" y="4"/>
                      <a:pt x="0" y="4"/>
                    </a:cubicBezTo>
                    <a:cubicBezTo>
                      <a:pt x="1" y="4"/>
                      <a:pt x="1" y="4"/>
                      <a:pt x="1" y="4"/>
                    </a:cubicBezTo>
                    <a:cubicBezTo>
                      <a:pt x="0" y="6"/>
                      <a:pt x="0" y="6"/>
                      <a:pt x="0" y="6"/>
                    </a:cubicBezTo>
                    <a:cubicBezTo>
                      <a:pt x="0" y="6"/>
                      <a:pt x="0" y="6"/>
                      <a:pt x="0" y="6"/>
                    </a:cubicBezTo>
                    <a:cubicBezTo>
                      <a:pt x="1" y="7"/>
                      <a:pt x="1" y="7"/>
                      <a:pt x="1" y="7"/>
                    </a:cubicBezTo>
                    <a:cubicBezTo>
                      <a:pt x="1" y="7"/>
                      <a:pt x="2" y="7"/>
                      <a:pt x="2" y="8"/>
                    </a:cubicBezTo>
                    <a:cubicBezTo>
                      <a:pt x="2" y="8"/>
                      <a:pt x="2" y="8"/>
                      <a:pt x="2" y="8"/>
                    </a:cubicBezTo>
                    <a:cubicBezTo>
                      <a:pt x="7" y="12"/>
                      <a:pt x="7" y="12"/>
                      <a:pt x="7" y="12"/>
                    </a:cubicBezTo>
                    <a:cubicBezTo>
                      <a:pt x="4" y="12"/>
                      <a:pt x="4" y="12"/>
                      <a:pt x="4" y="12"/>
                    </a:cubicBezTo>
                    <a:cubicBezTo>
                      <a:pt x="4" y="12"/>
                      <a:pt x="4" y="12"/>
                      <a:pt x="3" y="12"/>
                    </a:cubicBezTo>
                    <a:cubicBezTo>
                      <a:pt x="3" y="13"/>
                      <a:pt x="2" y="13"/>
                      <a:pt x="2" y="13"/>
                    </a:cubicBezTo>
                    <a:cubicBezTo>
                      <a:pt x="2" y="13"/>
                      <a:pt x="2" y="13"/>
                      <a:pt x="2" y="13"/>
                    </a:cubicBezTo>
                    <a:cubicBezTo>
                      <a:pt x="2" y="13"/>
                      <a:pt x="2" y="14"/>
                      <a:pt x="2" y="14"/>
                    </a:cubicBezTo>
                    <a:cubicBezTo>
                      <a:pt x="2" y="14"/>
                      <a:pt x="3" y="14"/>
                      <a:pt x="3" y="14"/>
                    </a:cubicBezTo>
                    <a:cubicBezTo>
                      <a:pt x="5" y="14"/>
                      <a:pt x="5" y="14"/>
                      <a:pt x="5" y="14"/>
                    </a:cubicBezTo>
                    <a:cubicBezTo>
                      <a:pt x="5" y="17"/>
                      <a:pt x="5" y="17"/>
                      <a:pt x="5" y="17"/>
                    </a:cubicBezTo>
                    <a:cubicBezTo>
                      <a:pt x="4" y="17"/>
                      <a:pt x="4" y="17"/>
                      <a:pt x="4" y="18"/>
                    </a:cubicBezTo>
                    <a:cubicBezTo>
                      <a:pt x="4" y="18"/>
                      <a:pt x="4" y="18"/>
                      <a:pt x="4" y="18"/>
                    </a:cubicBezTo>
                    <a:cubicBezTo>
                      <a:pt x="4" y="18"/>
                      <a:pt x="4" y="18"/>
                      <a:pt x="4" y="18"/>
                    </a:cubicBezTo>
                    <a:cubicBezTo>
                      <a:pt x="4" y="19"/>
                      <a:pt x="3" y="20"/>
                      <a:pt x="3" y="20"/>
                    </a:cubicBezTo>
                    <a:cubicBezTo>
                      <a:pt x="3" y="20"/>
                      <a:pt x="3" y="20"/>
                      <a:pt x="3" y="20"/>
                    </a:cubicBezTo>
                    <a:cubicBezTo>
                      <a:pt x="3" y="21"/>
                      <a:pt x="2" y="21"/>
                      <a:pt x="2" y="21"/>
                    </a:cubicBezTo>
                    <a:cubicBezTo>
                      <a:pt x="2" y="22"/>
                      <a:pt x="2" y="22"/>
                      <a:pt x="3" y="22"/>
                    </a:cubicBezTo>
                    <a:cubicBezTo>
                      <a:pt x="3" y="22"/>
                      <a:pt x="3" y="22"/>
                      <a:pt x="3" y="22"/>
                    </a:cubicBezTo>
                    <a:cubicBezTo>
                      <a:pt x="3" y="22"/>
                      <a:pt x="3" y="22"/>
                      <a:pt x="3" y="22"/>
                    </a:cubicBezTo>
                    <a:cubicBezTo>
                      <a:pt x="4" y="22"/>
                      <a:pt x="4" y="22"/>
                      <a:pt x="4" y="22"/>
                    </a:cubicBezTo>
                    <a:cubicBezTo>
                      <a:pt x="4" y="23"/>
                      <a:pt x="5" y="23"/>
                      <a:pt x="5" y="24"/>
                    </a:cubicBezTo>
                    <a:cubicBezTo>
                      <a:pt x="5" y="24"/>
                      <a:pt x="5" y="24"/>
                      <a:pt x="6" y="24"/>
                    </a:cubicBezTo>
                    <a:cubicBezTo>
                      <a:pt x="6" y="24"/>
                      <a:pt x="6" y="24"/>
                      <a:pt x="6" y="24"/>
                    </a:cubicBezTo>
                    <a:cubicBezTo>
                      <a:pt x="6" y="24"/>
                      <a:pt x="6" y="24"/>
                      <a:pt x="6" y="24"/>
                    </a:cubicBezTo>
                    <a:cubicBezTo>
                      <a:pt x="7" y="25"/>
                      <a:pt x="7" y="25"/>
                      <a:pt x="7" y="25"/>
                    </a:cubicBezTo>
                    <a:cubicBezTo>
                      <a:pt x="7" y="25"/>
                      <a:pt x="8" y="26"/>
                      <a:pt x="7" y="27"/>
                    </a:cubicBezTo>
                    <a:cubicBezTo>
                      <a:pt x="7" y="27"/>
                      <a:pt x="7" y="27"/>
                      <a:pt x="7" y="27"/>
                    </a:cubicBezTo>
                    <a:cubicBezTo>
                      <a:pt x="7" y="27"/>
                      <a:pt x="7" y="27"/>
                      <a:pt x="7" y="27"/>
                    </a:cubicBezTo>
                    <a:cubicBezTo>
                      <a:pt x="7" y="27"/>
                      <a:pt x="7" y="28"/>
                      <a:pt x="7" y="28"/>
                    </a:cubicBezTo>
                    <a:cubicBezTo>
                      <a:pt x="6" y="28"/>
                      <a:pt x="6" y="28"/>
                      <a:pt x="6" y="28"/>
                    </a:cubicBezTo>
                    <a:cubicBezTo>
                      <a:pt x="6" y="28"/>
                      <a:pt x="6" y="28"/>
                      <a:pt x="6" y="28"/>
                    </a:cubicBezTo>
                    <a:cubicBezTo>
                      <a:pt x="6" y="28"/>
                      <a:pt x="6" y="28"/>
                      <a:pt x="6" y="28"/>
                    </a:cubicBezTo>
                    <a:cubicBezTo>
                      <a:pt x="6" y="28"/>
                      <a:pt x="5" y="28"/>
                      <a:pt x="5" y="28"/>
                    </a:cubicBezTo>
                    <a:cubicBezTo>
                      <a:pt x="6" y="29"/>
                      <a:pt x="6" y="29"/>
                      <a:pt x="6" y="29"/>
                    </a:cubicBezTo>
                    <a:cubicBezTo>
                      <a:pt x="6" y="30"/>
                      <a:pt x="6" y="30"/>
                      <a:pt x="6" y="30"/>
                    </a:cubicBezTo>
                    <a:cubicBezTo>
                      <a:pt x="6" y="30"/>
                      <a:pt x="6" y="30"/>
                      <a:pt x="6" y="30"/>
                    </a:cubicBezTo>
                    <a:cubicBezTo>
                      <a:pt x="6" y="30"/>
                      <a:pt x="6" y="30"/>
                      <a:pt x="6" y="30"/>
                    </a:cubicBezTo>
                    <a:cubicBezTo>
                      <a:pt x="6" y="31"/>
                      <a:pt x="6" y="31"/>
                      <a:pt x="6" y="32"/>
                    </a:cubicBezTo>
                    <a:cubicBezTo>
                      <a:pt x="6" y="32"/>
                      <a:pt x="6" y="32"/>
                      <a:pt x="6" y="32"/>
                    </a:cubicBezTo>
                    <a:cubicBezTo>
                      <a:pt x="6" y="32"/>
                      <a:pt x="5" y="32"/>
                      <a:pt x="5" y="32"/>
                    </a:cubicBezTo>
                    <a:cubicBezTo>
                      <a:pt x="5" y="33"/>
                      <a:pt x="5" y="33"/>
                      <a:pt x="5" y="33"/>
                    </a:cubicBezTo>
                    <a:cubicBezTo>
                      <a:pt x="5" y="33"/>
                      <a:pt x="5" y="33"/>
                      <a:pt x="5" y="33"/>
                    </a:cubicBezTo>
                    <a:cubicBezTo>
                      <a:pt x="14" y="39"/>
                      <a:pt x="14" y="39"/>
                      <a:pt x="14" y="39"/>
                    </a:cubicBezTo>
                    <a:cubicBezTo>
                      <a:pt x="14" y="39"/>
                      <a:pt x="14" y="38"/>
                      <a:pt x="16" y="38"/>
                    </a:cubicBezTo>
                    <a:cubicBezTo>
                      <a:pt x="16" y="38"/>
                      <a:pt x="16" y="38"/>
                      <a:pt x="16" y="38"/>
                    </a:cubicBezTo>
                    <a:cubicBezTo>
                      <a:pt x="15" y="37"/>
                      <a:pt x="15" y="37"/>
                      <a:pt x="15" y="36"/>
                    </a:cubicBezTo>
                    <a:cubicBezTo>
                      <a:pt x="16" y="35"/>
                      <a:pt x="16" y="35"/>
                      <a:pt x="16" y="35"/>
                    </a:cubicBezTo>
                    <a:cubicBezTo>
                      <a:pt x="16" y="35"/>
                      <a:pt x="16" y="35"/>
                      <a:pt x="16" y="35"/>
                    </a:cubicBezTo>
                    <a:cubicBezTo>
                      <a:pt x="17" y="35"/>
                      <a:pt x="17" y="35"/>
                      <a:pt x="17" y="35"/>
                    </a:cubicBezTo>
                    <a:cubicBezTo>
                      <a:pt x="17" y="34"/>
                      <a:pt x="17" y="34"/>
                      <a:pt x="18" y="34"/>
                    </a:cubicBezTo>
                    <a:cubicBezTo>
                      <a:pt x="18" y="34"/>
                      <a:pt x="18" y="34"/>
                      <a:pt x="18" y="34"/>
                    </a:cubicBezTo>
                    <a:cubicBezTo>
                      <a:pt x="18" y="34"/>
                      <a:pt x="18" y="34"/>
                      <a:pt x="18" y="34"/>
                    </a:cubicBezTo>
                    <a:cubicBezTo>
                      <a:pt x="19" y="34"/>
                      <a:pt x="19" y="34"/>
                      <a:pt x="19" y="35"/>
                    </a:cubicBezTo>
                    <a:cubicBezTo>
                      <a:pt x="20" y="35"/>
                      <a:pt x="20" y="35"/>
                      <a:pt x="20" y="35"/>
                    </a:cubicBezTo>
                    <a:cubicBezTo>
                      <a:pt x="23" y="35"/>
                      <a:pt x="23" y="36"/>
                      <a:pt x="23" y="37"/>
                    </a:cubicBezTo>
                    <a:cubicBezTo>
                      <a:pt x="23" y="38"/>
                      <a:pt x="23" y="38"/>
                      <a:pt x="24" y="38"/>
                    </a:cubicBezTo>
                    <a:cubicBezTo>
                      <a:pt x="26" y="38"/>
                      <a:pt x="26" y="40"/>
                      <a:pt x="26" y="41"/>
                    </a:cubicBezTo>
                    <a:cubicBezTo>
                      <a:pt x="26" y="41"/>
                      <a:pt x="26" y="41"/>
                      <a:pt x="26" y="41"/>
                    </a:cubicBezTo>
                    <a:cubicBezTo>
                      <a:pt x="27" y="42"/>
                      <a:pt x="27" y="42"/>
                      <a:pt x="27" y="42"/>
                    </a:cubicBezTo>
                    <a:cubicBezTo>
                      <a:pt x="28" y="42"/>
                      <a:pt x="28" y="42"/>
                      <a:pt x="29" y="42"/>
                    </a:cubicBezTo>
                    <a:cubicBezTo>
                      <a:pt x="29" y="43"/>
                      <a:pt x="29" y="43"/>
                      <a:pt x="30" y="44"/>
                    </a:cubicBezTo>
                    <a:cubicBezTo>
                      <a:pt x="30" y="45"/>
                      <a:pt x="29" y="46"/>
                      <a:pt x="28" y="47"/>
                    </a:cubicBezTo>
                    <a:cubicBezTo>
                      <a:pt x="28" y="47"/>
                      <a:pt x="28" y="47"/>
                      <a:pt x="28" y="47"/>
                    </a:cubicBezTo>
                    <a:cubicBezTo>
                      <a:pt x="30" y="47"/>
                      <a:pt x="31" y="47"/>
                      <a:pt x="33" y="46"/>
                    </a:cubicBezTo>
                    <a:cubicBezTo>
                      <a:pt x="33" y="46"/>
                      <a:pt x="33" y="46"/>
                      <a:pt x="33" y="46"/>
                    </a:cubicBezTo>
                    <a:cubicBezTo>
                      <a:pt x="34" y="46"/>
                      <a:pt x="34" y="46"/>
                      <a:pt x="34" y="46"/>
                    </a:cubicBezTo>
                    <a:cubicBezTo>
                      <a:pt x="34" y="46"/>
                      <a:pt x="34" y="46"/>
                      <a:pt x="34" y="46"/>
                    </a:cubicBezTo>
                    <a:cubicBezTo>
                      <a:pt x="34" y="46"/>
                      <a:pt x="34" y="46"/>
                      <a:pt x="34" y="46"/>
                    </a:cubicBezTo>
                    <a:cubicBezTo>
                      <a:pt x="34" y="46"/>
                      <a:pt x="35" y="45"/>
                      <a:pt x="35" y="45"/>
                    </a:cubicBezTo>
                    <a:cubicBezTo>
                      <a:pt x="34" y="45"/>
                      <a:pt x="34" y="45"/>
                      <a:pt x="34" y="45"/>
                    </a:cubicBezTo>
                    <a:cubicBezTo>
                      <a:pt x="34" y="44"/>
                      <a:pt x="34" y="44"/>
                      <a:pt x="34" y="43"/>
                    </a:cubicBezTo>
                    <a:cubicBezTo>
                      <a:pt x="34" y="42"/>
                      <a:pt x="34" y="41"/>
                      <a:pt x="34" y="41"/>
                    </a:cubicBezTo>
                    <a:cubicBezTo>
                      <a:pt x="34" y="40"/>
                      <a:pt x="34" y="40"/>
                      <a:pt x="35" y="40"/>
                    </a:cubicBezTo>
                    <a:cubicBezTo>
                      <a:pt x="35" y="40"/>
                      <a:pt x="35" y="40"/>
                      <a:pt x="36" y="39"/>
                    </a:cubicBezTo>
                    <a:cubicBezTo>
                      <a:pt x="36" y="39"/>
                      <a:pt x="36" y="39"/>
                      <a:pt x="36" y="39"/>
                    </a:cubicBezTo>
                    <a:cubicBezTo>
                      <a:pt x="37" y="39"/>
                      <a:pt x="38" y="38"/>
                      <a:pt x="39"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0" name="Rectangle 3112">
                <a:extLst>
                  <a:ext uri="{FF2B5EF4-FFF2-40B4-BE49-F238E27FC236}">
                    <a16:creationId xmlns:a16="http://schemas.microsoft.com/office/drawing/2014/main" id="{DB0D1D09-76F4-4FA5-8F58-2C5A6FE62B99}"/>
                  </a:ext>
                </a:extLst>
              </p:cNvPr>
              <p:cNvSpPr>
                <a:spLocks noChangeArrowheads="1"/>
              </p:cNvSpPr>
              <p:nvPr/>
            </p:nvSpPr>
            <p:spPr bwMode="auto">
              <a:xfrm>
                <a:off x="4008" y="158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1" name="Freeform 3113">
                <a:extLst>
                  <a:ext uri="{FF2B5EF4-FFF2-40B4-BE49-F238E27FC236}">
                    <a16:creationId xmlns:a16="http://schemas.microsoft.com/office/drawing/2014/main" id="{E4B3DE0E-E7F5-4149-98BF-5A2656E60ADD}"/>
                  </a:ext>
                </a:extLst>
              </p:cNvPr>
              <p:cNvSpPr>
                <a:spLocks/>
              </p:cNvSpPr>
              <p:nvPr/>
            </p:nvSpPr>
            <p:spPr bwMode="auto">
              <a:xfrm>
                <a:off x="4043" y="1515"/>
                <a:ext cx="223" cy="133"/>
              </a:xfrm>
              <a:custGeom>
                <a:avLst/>
                <a:gdLst>
                  <a:gd name="T0" fmla="*/ 93 w 94"/>
                  <a:gd name="T1" fmla="*/ 36 h 56"/>
                  <a:gd name="T2" fmla="*/ 88 w 94"/>
                  <a:gd name="T3" fmla="*/ 37 h 56"/>
                  <a:gd name="T4" fmla="*/ 85 w 94"/>
                  <a:gd name="T5" fmla="*/ 39 h 56"/>
                  <a:gd name="T6" fmla="*/ 81 w 94"/>
                  <a:gd name="T7" fmla="*/ 37 h 56"/>
                  <a:gd name="T8" fmla="*/ 78 w 94"/>
                  <a:gd name="T9" fmla="*/ 36 h 56"/>
                  <a:gd name="T10" fmla="*/ 77 w 94"/>
                  <a:gd name="T11" fmla="*/ 34 h 56"/>
                  <a:gd name="T12" fmla="*/ 76 w 94"/>
                  <a:gd name="T13" fmla="*/ 32 h 56"/>
                  <a:gd name="T14" fmla="*/ 78 w 94"/>
                  <a:gd name="T15" fmla="*/ 22 h 56"/>
                  <a:gd name="T16" fmla="*/ 77 w 94"/>
                  <a:gd name="T17" fmla="*/ 17 h 56"/>
                  <a:gd name="T18" fmla="*/ 74 w 94"/>
                  <a:gd name="T19" fmla="*/ 13 h 56"/>
                  <a:gd name="T20" fmla="*/ 68 w 94"/>
                  <a:gd name="T21" fmla="*/ 5 h 56"/>
                  <a:gd name="T22" fmla="*/ 67 w 94"/>
                  <a:gd name="T23" fmla="*/ 2 h 56"/>
                  <a:gd name="T24" fmla="*/ 66 w 94"/>
                  <a:gd name="T25" fmla="*/ 1 h 56"/>
                  <a:gd name="T26" fmla="*/ 59 w 94"/>
                  <a:gd name="T27" fmla="*/ 3 h 56"/>
                  <a:gd name="T28" fmla="*/ 51 w 94"/>
                  <a:gd name="T29" fmla="*/ 4 h 56"/>
                  <a:gd name="T30" fmla="*/ 49 w 94"/>
                  <a:gd name="T31" fmla="*/ 5 h 56"/>
                  <a:gd name="T32" fmla="*/ 43 w 94"/>
                  <a:gd name="T33" fmla="*/ 5 h 56"/>
                  <a:gd name="T34" fmla="*/ 39 w 94"/>
                  <a:gd name="T35" fmla="*/ 3 h 56"/>
                  <a:gd name="T36" fmla="*/ 35 w 94"/>
                  <a:gd name="T37" fmla="*/ 3 h 56"/>
                  <a:gd name="T38" fmla="*/ 32 w 94"/>
                  <a:gd name="T39" fmla="*/ 3 h 56"/>
                  <a:gd name="T40" fmla="*/ 28 w 94"/>
                  <a:gd name="T41" fmla="*/ 2 h 56"/>
                  <a:gd name="T42" fmla="*/ 27 w 94"/>
                  <a:gd name="T43" fmla="*/ 2 h 56"/>
                  <a:gd name="T44" fmla="*/ 25 w 94"/>
                  <a:gd name="T45" fmla="*/ 3 h 56"/>
                  <a:gd name="T46" fmla="*/ 19 w 94"/>
                  <a:gd name="T47" fmla="*/ 7 h 56"/>
                  <a:gd name="T48" fmla="*/ 16 w 94"/>
                  <a:gd name="T49" fmla="*/ 10 h 56"/>
                  <a:gd name="T50" fmla="*/ 13 w 94"/>
                  <a:gd name="T51" fmla="*/ 15 h 56"/>
                  <a:gd name="T52" fmla="*/ 12 w 94"/>
                  <a:gd name="T53" fmla="*/ 18 h 56"/>
                  <a:gd name="T54" fmla="*/ 6 w 94"/>
                  <a:gd name="T55" fmla="*/ 25 h 56"/>
                  <a:gd name="T56" fmla="*/ 4 w 94"/>
                  <a:gd name="T57" fmla="*/ 25 h 56"/>
                  <a:gd name="T58" fmla="*/ 3 w 94"/>
                  <a:gd name="T59" fmla="*/ 30 h 56"/>
                  <a:gd name="T60" fmla="*/ 5 w 94"/>
                  <a:gd name="T61" fmla="*/ 33 h 56"/>
                  <a:gd name="T62" fmla="*/ 7 w 94"/>
                  <a:gd name="T63" fmla="*/ 35 h 56"/>
                  <a:gd name="T64" fmla="*/ 12 w 94"/>
                  <a:gd name="T65" fmla="*/ 40 h 56"/>
                  <a:gd name="T66" fmla="*/ 15 w 94"/>
                  <a:gd name="T67" fmla="*/ 44 h 56"/>
                  <a:gd name="T68" fmla="*/ 21 w 94"/>
                  <a:gd name="T69" fmla="*/ 43 h 56"/>
                  <a:gd name="T70" fmla="*/ 24 w 94"/>
                  <a:gd name="T71" fmla="*/ 44 h 56"/>
                  <a:gd name="T72" fmla="*/ 24 w 94"/>
                  <a:gd name="T73" fmla="*/ 45 h 56"/>
                  <a:gd name="T74" fmla="*/ 24 w 94"/>
                  <a:gd name="T75" fmla="*/ 46 h 56"/>
                  <a:gd name="T76" fmla="*/ 23 w 94"/>
                  <a:gd name="T77" fmla="*/ 47 h 56"/>
                  <a:gd name="T78" fmla="*/ 22 w 94"/>
                  <a:gd name="T79" fmla="*/ 47 h 56"/>
                  <a:gd name="T80" fmla="*/ 23 w 94"/>
                  <a:gd name="T81" fmla="*/ 48 h 56"/>
                  <a:gd name="T82" fmla="*/ 24 w 94"/>
                  <a:gd name="T83" fmla="*/ 49 h 56"/>
                  <a:gd name="T84" fmla="*/ 27 w 94"/>
                  <a:gd name="T85" fmla="*/ 53 h 56"/>
                  <a:gd name="T86" fmla="*/ 27 w 94"/>
                  <a:gd name="T87" fmla="*/ 54 h 56"/>
                  <a:gd name="T88" fmla="*/ 34 w 94"/>
                  <a:gd name="T89" fmla="*/ 54 h 56"/>
                  <a:gd name="T90" fmla="*/ 45 w 94"/>
                  <a:gd name="T91" fmla="*/ 55 h 56"/>
                  <a:gd name="T92" fmla="*/ 47 w 94"/>
                  <a:gd name="T93" fmla="*/ 56 h 56"/>
                  <a:gd name="T94" fmla="*/ 51 w 94"/>
                  <a:gd name="T95" fmla="*/ 56 h 56"/>
                  <a:gd name="T96" fmla="*/ 58 w 94"/>
                  <a:gd name="T97" fmla="*/ 53 h 56"/>
                  <a:gd name="T98" fmla="*/ 68 w 94"/>
                  <a:gd name="T99" fmla="*/ 50 h 56"/>
                  <a:gd name="T100" fmla="*/ 71 w 94"/>
                  <a:gd name="T101" fmla="*/ 50 h 56"/>
                  <a:gd name="T102" fmla="*/ 83 w 94"/>
                  <a:gd name="T103" fmla="*/ 55 h 56"/>
                  <a:gd name="T104" fmla="*/ 85 w 94"/>
                  <a:gd name="T105" fmla="*/ 45 h 56"/>
                  <a:gd name="T106" fmla="*/ 85 w 94"/>
                  <a:gd name="T107" fmla="*/ 44 h 56"/>
                  <a:gd name="T108" fmla="*/ 93 w 94"/>
                  <a:gd name="T109" fmla="*/ 42 h 56"/>
                  <a:gd name="T110" fmla="*/ 93 w 94"/>
                  <a:gd name="T11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4" h="56">
                    <a:moveTo>
                      <a:pt x="93" y="38"/>
                    </a:moveTo>
                    <a:cubicBezTo>
                      <a:pt x="93" y="38"/>
                      <a:pt x="93" y="38"/>
                      <a:pt x="93" y="38"/>
                    </a:cubicBezTo>
                    <a:cubicBezTo>
                      <a:pt x="93" y="37"/>
                      <a:pt x="93" y="37"/>
                      <a:pt x="93" y="36"/>
                    </a:cubicBezTo>
                    <a:cubicBezTo>
                      <a:pt x="92" y="36"/>
                      <a:pt x="92" y="36"/>
                      <a:pt x="91" y="36"/>
                    </a:cubicBezTo>
                    <a:cubicBezTo>
                      <a:pt x="91" y="36"/>
                      <a:pt x="89" y="37"/>
                      <a:pt x="88" y="37"/>
                    </a:cubicBezTo>
                    <a:cubicBezTo>
                      <a:pt x="88" y="37"/>
                      <a:pt x="88" y="37"/>
                      <a:pt x="88" y="37"/>
                    </a:cubicBezTo>
                    <a:cubicBezTo>
                      <a:pt x="87" y="37"/>
                      <a:pt x="87" y="37"/>
                      <a:pt x="87" y="38"/>
                    </a:cubicBezTo>
                    <a:cubicBezTo>
                      <a:pt x="86" y="38"/>
                      <a:pt x="86" y="38"/>
                      <a:pt x="86" y="38"/>
                    </a:cubicBezTo>
                    <a:cubicBezTo>
                      <a:pt x="85" y="38"/>
                      <a:pt x="85" y="38"/>
                      <a:pt x="85" y="39"/>
                    </a:cubicBezTo>
                    <a:cubicBezTo>
                      <a:pt x="85" y="39"/>
                      <a:pt x="85" y="39"/>
                      <a:pt x="85" y="39"/>
                    </a:cubicBezTo>
                    <a:cubicBezTo>
                      <a:pt x="84" y="39"/>
                      <a:pt x="84" y="38"/>
                      <a:pt x="83" y="38"/>
                    </a:cubicBezTo>
                    <a:cubicBezTo>
                      <a:pt x="83" y="38"/>
                      <a:pt x="82" y="38"/>
                      <a:pt x="81" y="37"/>
                    </a:cubicBezTo>
                    <a:cubicBezTo>
                      <a:pt x="81" y="37"/>
                      <a:pt x="80" y="37"/>
                      <a:pt x="80" y="36"/>
                    </a:cubicBezTo>
                    <a:cubicBezTo>
                      <a:pt x="79" y="36"/>
                      <a:pt x="79" y="36"/>
                      <a:pt x="79" y="36"/>
                    </a:cubicBezTo>
                    <a:cubicBezTo>
                      <a:pt x="79" y="36"/>
                      <a:pt x="79" y="36"/>
                      <a:pt x="78" y="36"/>
                    </a:cubicBezTo>
                    <a:cubicBezTo>
                      <a:pt x="77" y="35"/>
                      <a:pt x="77" y="35"/>
                      <a:pt x="77" y="35"/>
                    </a:cubicBezTo>
                    <a:cubicBezTo>
                      <a:pt x="77" y="34"/>
                      <a:pt x="77" y="34"/>
                      <a:pt x="77" y="34"/>
                    </a:cubicBezTo>
                    <a:cubicBezTo>
                      <a:pt x="77" y="34"/>
                      <a:pt x="77" y="34"/>
                      <a:pt x="77" y="34"/>
                    </a:cubicBezTo>
                    <a:cubicBezTo>
                      <a:pt x="77" y="34"/>
                      <a:pt x="77" y="34"/>
                      <a:pt x="77" y="34"/>
                    </a:cubicBezTo>
                    <a:cubicBezTo>
                      <a:pt x="77" y="34"/>
                      <a:pt x="77" y="34"/>
                      <a:pt x="77" y="33"/>
                    </a:cubicBezTo>
                    <a:cubicBezTo>
                      <a:pt x="76" y="33"/>
                      <a:pt x="76" y="33"/>
                      <a:pt x="76" y="32"/>
                    </a:cubicBezTo>
                    <a:cubicBezTo>
                      <a:pt x="76" y="31"/>
                      <a:pt x="76" y="30"/>
                      <a:pt x="77" y="30"/>
                    </a:cubicBezTo>
                    <a:cubicBezTo>
                      <a:pt x="77" y="29"/>
                      <a:pt x="77" y="29"/>
                      <a:pt x="77" y="29"/>
                    </a:cubicBezTo>
                    <a:cubicBezTo>
                      <a:pt x="77" y="26"/>
                      <a:pt x="77" y="25"/>
                      <a:pt x="78" y="22"/>
                    </a:cubicBezTo>
                    <a:cubicBezTo>
                      <a:pt x="78" y="22"/>
                      <a:pt x="78" y="21"/>
                      <a:pt x="78" y="20"/>
                    </a:cubicBezTo>
                    <a:cubicBezTo>
                      <a:pt x="78" y="19"/>
                      <a:pt x="78" y="19"/>
                      <a:pt x="77" y="18"/>
                    </a:cubicBezTo>
                    <a:cubicBezTo>
                      <a:pt x="77" y="17"/>
                      <a:pt x="77" y="17"/>
                      <a:pt x="77" y="17"/>
                    </a:cubicBezTo>
                    <a:cubicBezTo>
                      <a:pt x="77" y="16"/>
                      <a:pt x="77" y="16"/>
                      <a:pt x="77" y="16"/>
                    </a:cubicBezTo>
                    <a:cubicBezTo>
                      <a:pt x="77" y="16"/>
                      <a:pt x="77" y="15"/>
                      <a:pt x="76" y="15"/>
                    </a:cubicBezTo>
                    <a:cubicBezTo>
                      <a:pt x="76" y="14"/>
                      <a:pt x="75" y="14"/>
                      <a:pt x="74" y="13"/>
                    </a:cubicBezTo>
                    <a:cubicBezTo>
                      <a:pt x="73" y="12"/>
                      <a:pt x="73" y="12"/>
                      <a:pt x="73" y="12"/>
                    </a:cubicBezTo>
                    <a:cubicBezTo>
                      <a:pt x="72" y="11"/>
                      <a:pt x="71" y="10"/>
                      <a:pt x="70" y="8"/>
                    </a:cubicBezTo>
                    <a:cubicBezTo>
                      <a:pt x="69" y="7"/>
                      <a:pt x="69" y="6"/>
                      <a:pt x="68" y="5"/>
                    </a:cubicBezTo>
                    <a:cubicBezTo>
                      <a:pt x="68" y="4"/>
                      <a:pt x="68" y="4"/>
                      <a:pt x="68" y="4"/>
                    </a:cubicBezTo>
                    <a:cubicBezTo>
                      <a:pt x="68" y="4"/>
                      <a:pt x="68" y="3"/>
                      <a:pt x="68" y="3"/>
                    </a:cubicBezTo>
                    <a:cubicBezTo>
                      <a:pt x="67" y="3"/>
                      <a:pt x="67" y="3"/>
                      <a:pt x="67" y="2"/>
                    </a:cubicBezTo>
                    <a:cubicBezTo>
                      <a:pt x="67" y="2"/>
                      <a:pt x="67" y="2"/>
                      <a:pt x="67" y="2"/>
                    </a:cubicBezTo>
                    <a:cubicBezTo>
                      <a:pt x="67" y="2"/>
                      <a:pt x="67" y="1"/>
                      <a:pt x="66" y="1"/>
                    </a:cubicBezTo>
                    <a:cubicBezTo>
                      <a:pt x="66" y="1"/>
                      <a:pt x="66" y="1"/>
                      <a:pt x="66" y="1"/>
                    </a:cubicBezTo>
                    <a:cubicBezTo>
                      <a:pt x="65" y="0"/>
                      <a:pt x="64" y="0"/>
                      <a:pt x="63" y="0"/>
                    </a:cubicBezTo>
                    <a:cubicBezTo>
                      <a:pt x="63" y="0"/>
                      <a:pt x="63" y="0"/>
                      <a:pt x="63" y="0"/>
                    </a:cubicBezTo>
                    <a:cubicBezTo>
                      <a:pt x="59" y="3"/>
                      <a:pt x="59" y="3"/>
                      <a:pt x="59" y="3"/>
                    </a:cubicBezTo>
                    <a:cubicBezTo>
                      <a:pt x="58" y="3"/>
                      <a:pt x="58" y="3"/>
                      <a:pt x="58" y="3"/>
                    </a:cubicBezTo>
                    <a:cubicBezTo>
                      <a:pt x="56" y="4"/>
                      <a:pt x="55" y="4"/>
                      <a:pt x="53" y="4"/>
                    </a:cubicBezTo>
                    <a:cubicBezTo>
                      <a:pt x="53" y="4"/>
                      <a:pt x="52" y="4"/>
                      <a:pt x="51" y="4"/>
                    </a:cubicBezTo>
                    <a:cubicBezTo>
                      <a:pt x="51" y="4"/>
                      <a:pt x="51" y="4"/>
                      <a:pt x="51" y="4"/>
                    </a:cubicBezTo>
                    <a:cubicBezTo>
                      <a:pt x="51" y="4"/>
                      <a:pt x="50" y="4"/>
                      <a:pt x="50" y="4"/>
                    </a:cubicBezTo>
                    <a:cubicBezTo>
                      <a:pt x="50" y="4"/>
                      <a:pt x="49" y="4"/>
                      <a:pt x="49" y="5"/>
                    </a:cubicBezTo>
                    <a:cubicBezTo>
                      <a:pt x="47" y="6"/>
                      <a:pt x="47" y="6"/>
                      <a:pt x="47" y="6"/>
                    </a:cubicBezTo>
                    <a:cubicBezTo>
                      <a:pt x="47" y="6"/>
                      <a:pt x="46" y="6"/>
                      <a:pt x="45" y="6"/>
                    </a:cubicBezTo>
                    <a:cubicBezTo>
                      <a:pt x="44" y="6"/>
                      <a:pt x="44" y="6"/>
                      <a:pt x="43" y="5"/>
                    </a:cubicBezTo>
                    <a:cubicBezTo>
                      <a:pt x="43" y="5"/>
                      <a:pt x="43" y="5"/>
                      <a:pt x="43" y="5"/>
                    </a:cubicBezTo>
                    <a:cubicBezTo>
                      <a:pt x="42" y="4"/>
                      <a:pt x="42" y="4"/>
                      <a:pt x="41" y="3"/>
                    </a:cubicBezTo>
                    <a:cubicBezTo>
                      <a:pt x="41" y="3"/>
                      <a:pt x="40" y="3"/>
                      <a:pt x="39" y="3"/>
                    </a:cubicBezTo>
                    <a:cubicBezTo>
                      <a:pt x="39" y="3"/>
                      <a:pt x="39" y="3"/>
                      <a:pt x="39" y="3"/>
                    </a:cubicBezTo>
                    <a:cubicBezTo>
                      <a:pt x="38" y="3"/>
                      <a:pt x="38" y="3"/>
                      <a:pt x="37" y="3"/>
                    </a:cubicBezTo>
                    <a:cubicBezTo>
                      <a:pt x="35" y="3"/>
                      <a:pt x="35" y="3"/>
                      <a:pt x="35" y="3"/>
                    </a:cubicBezTo>
                    <a:cubicBezTo>
                      <a:pt x="34" y="3"/>
                      <a:pt x="34" y="3"/>
                      <a:pt x="34" y="3"/>
                    </a:cubicBezTo>
                    <a:cubicBezTo>
                      <a:pt x="34" y="3"/>
                      <a:pt x="34" y="3"/>
                      <a:pt x="34" y="3"/>
                    </a:cubicBezTo>
                    <a:cubicBezTo>
                      <a:pt x="33" y="3"/>
                      <a:pt x="32" y="3"/>
                      <a:pt x="32" y="3"/>
                    </a:cubicBezTo>
                    <a:cubicBezTo>
                      <a:pt x="31" y="4"/>
                      <a:pt x="29" y="3"/>
                      <a:pt x="29" y="2"/>
                    </a:cubicBezTo>
                    <a:cubicBezTo>
                      <a:pt x="28" y="2"/>
                      <a:pt x="28" y="2"/>
                      <a:pt x="28" y="2"/>
                    </a:cubicBezTo>
                    <a:cubicBezTo>
                      <a:pt x="28" y="2"/>
                      <a:pt x="28" y="2"/>
                      <a:pt x="28" y="2"/>
                    </a:cubicBezTo>
                    <a:cubicBezTo>
                      <a:pt x="28" y="2"/>
                      <a:pt x="28" y="2"/>
                      <a:pt x="28" y="2"/>
                    </a:cubicBezTo>
                    <a:cubicBezTo>
                      <a:pt x="27" y="2"/>
                      <a:pt x="27" y="2"/>
                      <a:pt x="27" y="2"/>
                    </a:cubicBezTo>
                    <a:cubicBezTo>
                      <a:pt x="27" y="2"/>
                      <a:pt x="27" y="2"/>
                      <a:pt x="27" y="2"/>
                    </a:cubicBezTo>
                    <a:cubicBezTo>
                      <a:pt x="27" y="3"/>
                      <a:pt x="27" y="3"/>
                      <a:pt x="27" y="3"/>
                    </a:cubicBezTo>
                    <a:cubicBezTo>
                      <a:pt x="26" y="3"/>
                      <a:pt x="26" y="3"/>
                      <a:pt x="26" y="3"/>
                    </a:cubicBezTo>
                    <a:cubicBezTo>
                      <a:pt x="25" y="3"/>
                      <a:pt x="25" y="3"/>
                      <a:pt x="25" y="3"/>
                    </a:cubicBezTo>
                    <a:cubicBezTo>
                      <a:pt x="25" y="3"/>
                      <a:pt x="25" y="4"/>
                      <a:pt x="25" y="4"/>
                    </a:cubicBezTo>
                    <a:cubicBezTo>
                      <a:pt x="20" y="7"/>
                      <a:pt x="20" y="7"/>
                      <a:pt x="20" y="7"/>
                    </a:cubicBezTo>
                    <a:cubicBezTo>
                      <a:pt x="19" y="7"/>
                      <a:pt x="19" y="7"/>
                      <a:pt x="19" y="7"/>
                    </a:cubicBezTo>
                    <a:cubicBezTo>
                      <a:pt x="19" y="8"/>
                      <a:pt x="19" y="8"/>
                      <a:pt x="19" y="8"/>
                    </a:cubicBezTo>
                    <a:cubicBezTo>
                      <a:pt x="18" y="8"/>
                      <a:pt x="18" y="8"/>
                      <a:pt x="18" y="8"/>
                    </a:cubicBezTo>
                    <a:cubicBezTo>
                      <a:pt x="17" y="8"/>
                      <a:pt x="17" y="10"/>
                      <a:pt x="16" y="10"/>
                    </a:cubicBezTo>
                    <a:cubicBezTo>
                      <a:pt x="16" y="10"/>
                      <a:pt x="16" y="10"/>
                      <a:pt x="16" y="10"/>
                    </a:cubicBezTo>
                    <a:cubicBezTo>
                      <a:pt x="15" y="12"/>
                      <a:pt x="14" y="13"/>
                      <a:pt x="14" y="14"/>
                    </a:cubicBezTo>
                    <a:cubicBezTo>
                      <a:pt x="13" y="15"/>
                      <a:pt x="13" y="15"/>
                      <a:pt x="13" y="15"/>
                    </a:cubicBezTo>
                    <a:cubicBezTo>
                      <a:pt x="13" y="15"/>
                      <a:pt x="13" y="15"/>
                      <a:pt x="13" y="15"/>
                    </a:cubicBezTo>
                    <a:cubicBezTo>
                      <a:pt x="13" y="16"/>
                      <a:pt x="12" y="17"/>
                      <a:pt x="12" y="17"/>
                    </a:cubicBezTo>
                    <a:cubicBezTo>
                      <a:pt x="12" y="18"/>
                      <a:pt x="12" y="18"/>
                      <a:pt x="12" y="18"/>
                    </a:cubicBezTo>
                    <a:cubicBezTo>
                      <a:pt x="12" y="18"/>
                      <a:pt x="11" y="19"/>
                      <a:pt x="11" y="20"/>
                    </a:cubicBezTo>
                    <a:cubicBezTo>
                      <a:pt x="11" y="21"/>
                      <a:pt x="10" y="22"/>
                      <a:pt x="9" y="23"/>
                    </a:cubicBezTo>
                    <a:cubicBezTo>
                      <a:pt x="9" y="24"/>
                      <a:pt x="8" y="25"/>
                      <a:pt x="6" y="25"/>
                    </a:cubicBezTo>
                    <a:cubicBezTo>
                      <a:pt x="6" y="25"/>
                      <a:pt x="5" y="25"/>
                      <a:pt x="5" y="25"/>
                    </a:cubicBezTo>
                    <a:cubicBezTo>
                      <a:pt x="4" y="25"/>
                      <a:pt x="4" y="25"/>
                      <a:pt x="4" y="25"/>
                    </a:cubicBezTo>
                    <a:cubicBezTo>
                      <a:pt x="4" y="25"/>
                      <a:pt x="4" y="25"/>
                      <a:pt x="4" y="25"/>
                    </a:cubicBezTo>
                    <a:cubicBezTo>
                      <a:pt x="4" y="26"/>
                      <a:pt x="3" y="26"/>
                      <a:pt x="2" y="27"/>
                    </a:cubicBezTo>
                    <a:cubicBezTo>
                      <a:pt x="1" y="27"/>
                      <a:pt x="1" y="27"/>
                      <a:pt x="0" y="27"/>
                    </a:cubicBezTo>
                    <a:cubicBezTo>
                      <a:pt x="3" y="30"/>
                      <a:pt x="3" y="30"/>
                      <a:pt x="3" y="30"/>
                    </a:cubicBezTo>
                    <a:cubicBezTo>
                      <a:pt x="3" y="30"/>
                      <a:pt x="3" y="30"/>
                      <a:pt x="3" y="31"/>
                    </a:cubicBezTo>
                    <a:cubicBezTo>
                      <a:pt x="4" y="31"/>
                      <a:pt x="4" y="32"/>
                      <a:pt x="4" y="32"/>
                    </a:cubicBezTo>
                    <a:cubicBezTo>
                      <a:pt x="4" y="32"/>
                      <a:pt x="4" y="32"/>
                      <a:pt x="5" y="33"/>
                    </a:cubicBezTo>
                    <a:cubicBezTo>
                      <a:pt x="5" y="33"/>
                      <a:pt x="5" y="33"/>
                      <a:pt x="5" y="34"/>
                    </a:cubicBezTo>
                    <a:cubicBezTo>
                      <a:pt x="5" y="34"/>
                      <a:pt x="6" y="34"/>
                      <a:pt x="7" y="35"/>
                    </a:cubicBezTo>
                    <a:cubicBezTo>
                      <a:pt x="7" y="35"/>
                      <a:pt x="7" y="35"/>
                      <a:pt x="7" y="35"/>
                    </a:cubicBezTo>
                    <a:cubicBezTo>
                      <a:pt x="11" y="37"/>
                      <a:pt x="11" y="37"/>
                      <a:pt x="11" y="37"/>
                    </a:cubicBezTo>
                    <a:cubicBezTo>
                      <a:pt x="12" y="38"/>
                      <a:pt x="12" y="38"/>
                      <a:pt x="12" y="39"/>
                    </a:cubicBezTo>
                    <a:cubicBezTo>
                      <a:pt x="12" y="39"/>
                      <a:pt x="12" y="40"/>
                      <a:pt x="12" y="40"/>
                    </a:cubicBezTo>
                    <a:cubicBezTo>
                      <a:pt x="12" y="40"/>
                      <a:pt x="12" y="40"/>
                      <a:pt x="12" y="40"/>
                    </a:cubicBezTo>
                    <a:cubicBezTo>
                      <a:pt x="12" y="41"/>
                      <a:pt x="12" y="42"/>
                      <a:pt x="12" y="42"/>
                    </a:cubicBezTo>
                    <a:cubicBezTo>
                      <a:pt x="15" y="44"/>
                      <a:pt x="15" y="44"/>
                      <a:pt x="15" y="44"/>
                    </a:cubicBezTo>
                    <a:cubicBezTo>
                      <a:pt x="16" y="44"/>
                      <a:pt x="17" y="45"/>
                      <a:pt x="17" y="45"/>
                    </a:cubicBezTo>
                    <a:cubicBezTo>
                      <a:pt x="18" y="45"/>
                      <a:pt x="18" y="44"/>
                      <a:pt x="18" y="44"/>
                    </a:cubicBezTo>
                    <a:cubicBezTo>
                      <a:pt x="19" y="43"/>
                      <a:pt x="20" y="43"/>
                      <a:pt x="21" y="43"/>
                    </a:cubicBezTo>
                    <a:cubicBezTo>
                      <a:pt x="21" y="43"/>
                      <a:pt x="21" y="43"/>
                      <a:pt x="21" y="43"/>
                    </a:cubicBezTo>
                    <a:cubicBezTo>
                      <a:pt x="21" y="43"/>
                      <a:pt x="21" y="43"/>
                      <a:pt x="21" y="43"/>
                    </a:cubicBezTo>
                    <a:cubicBezTo>
                      <a:pt x="22" y="43"/>
                      <a:pt x="23" y="43"/>
                      <a:pt x="24" y="44"/>
                    </a:cubicBezTo>
                    <a:cubicBezTo>
                      <a:pt x="24" y="44"/>
                      <a:pt x="24" y="44"/>
                      <a:pt x="24" y="44"/>
                    </a:cubicBezTo>
                    <a:cubicBezTo>
                      <a:pt x="24" y="45"/>
                      <a:pt x="24" y="45"/>
                      <a:pt x="24" y="45"/>
                    </a:cubicBezTo>
                    <a:cubicBezTo>
                      <a:pt x="24" y="45"/>
                      <a:pt x="24" y="45"/>
                      <a:pt x="24" y="45"/>
                    </a:cubicBezTo>
                    <a:cubicBezTo>
                      <a:pt x="24" y="45"/>
                      <a:pt x="24" y="46"/>
                      <a:pt x="24" y="46"/>
                    </a:cubicBezTo>
                    <a:cubicBezTo>
                      <a:pt x="24" y="46"/>
                      <a:pt x="24" y="46"/>
                      <a:pt x="24" y="46"/>
                    </a:cubicBezTo>
                    <a:cubicBezTo>
                      <a:pt x="24" y="46"/>
                      <a:pt x="24" y="46"/>
                      <a:pt x="24" y="46"/>
                    </a:cubicBezTo>
                    <a:cubicBezTo>
                      <a:pt x="24" y="46"/>
                      <a:pt x="24" y="47"/>
                      <a:pt x="24" y="47"/>
                    </a:cubicBezTo>
                    <a:cubicBezTo>
                      <a:pt x="24" y="47"/>
                      <a:pt x="24" y="47"/>
                      <a:pt x="24" y="47"/>
                    </a:cubicBezTo>
                    <a:cubicBezTo>
                      <a:pt x="23" y="47"/>
                      <a:pt x="23" y="47"/>
                      <a:pt x="23" y="47"/>
                    </a:cubicBezTo>
                    <a:cubicBezTo>
                      <a:pt x="23" y="47"/>
                      <a:pt x="23" y="47"/>
                      <a:pt x="23" y="47"/>
                    </a:cubicBezTo>
                    <a:cubicBezTo>
                      <a:pt x="23" y="47"/>
                      <a:pt x="23" y="47"/>
                      <a:pt x="22" y="47"/>
                    </a:cubicBezTo>
                    <a:cubicBezTo>
                      <a:pt x="22" y="47"/>
                      <a:pt x="22" y="47"/>
                      <a:pt x="22" y="47"/>
                    </a:cubicBezTo>
                    <a:cubicBezTo>
                      <a:pt x="22" y="47"/>
                      <a:pt x="22" y="47"/>
                      <a:pt x="22" y="47"/>
                    </a:cubicBezTo>
                    <a:cubicBezTo>
                      <a:pt x="22" y="47"/>
                      <a:pt x="22" y="47"/>
                      <a:pt x="22" y="47"/>
                    </a:cubicBezTo>
                    <a:cubicBezTo>
                      <a:pt x="22" y="48"/>
                      <a:pt x="22" y="48"/>
                      <a:pt x="23" y="48"/>
                    </a:cubicBezTo>
                    <a:cubicBezTo>
                      <a:pt x="23" y="49"/>
                      <a:pt x="23" y="49"/>
                      <a:pt x="23" y="49"/>
                    </a:cubicBezTo>
                    <a:cubicBezTo>
                      <a:pt x="23" y="49"/>
                      <a:pt x="23" y="49"/>
                      <a:pt x="23" y="49"/>
                    </a:cubicBezTo>
                    <a:cubicBezTo>
                      <a:pt x="24" y="49"/>
                      <a:pt x="24" y="49"/>
                      <a:pt x="24" y="49"/>
                    </a:cubicBezTo>
                    <a:cubicBezTo>
                      <a:pt x="26" y="50"/>
                      <a:pt x="28" y="51"/>
                      <a:pt x="27" y="52"/>
                    </a:cubicBezTo>
                    <a:cubicBezTo>
                      <a:pt x="27" y="52"/>
                      <a:pt x="27" y="52"/>
                      <a:pt x="27" y="53"/>
                    </a:cubicBezTo>
                    <a:cubicBezTo>
                      <a:pt x="27" y="53"/>
                      <a:pt x="27" y="53"/>
                      <a:pt x="27" y="53"/>
                    </a:cubicBezTo>
                    <a:cubicBezTo>
                      <a:pt x="26" y="53"/>
                      <a:pt x="26" y="54"/>
                      <a:pt x="26" y="54"/>
                    </a:cubicBezTo>
                    <a:cubicBezTo>
                      <a:pt x="26" y="54"/>
                      <a:pt x="26" y="54"/>
                      <a:pt x="26" y="54"/>
                    </a:cubicBezTo>
                    <a:cubicBezTo>
                      <a:pt x="27" y="54"/>
                      <a:pt x="27" y="54"/>
                      <a:pt x="27" y="54"/>
                    </a:cubicBezTo>
                    <a:cubicBezTo>
                      <a:pt x="28" y="53"/>
                      <a:pt x="28" y="53"/>
                      <a:pt x="28" y="53"/>
                    </a:cubicBezTo>
                    <a:cubicBezTo>
                      <a:pt x="30" y="53"/>
                      <a:pt x="31" y="54"/>
                      <a:pt x="33" y="54"/>
                    </a:cubicBezTo>
                    <a:cubicBezTo>
                      <a:pt x="34" y="54"/>
                      <a:pt x="34" y="54"/>
                      <a:pt x="34" y="54"/>
                    </a:cubicBezTo>
                    <a:cubicBezTo>
                      <a:pt x="35" y="55"/>
                      <a:pt x="36" y="55"/>
                      <a:pt x="37" y="55"/>
                    </a:cubicBezTo>
                    <a:cubicBezTo>
                      <a:pt x="39" y="55"/>
                      <a:pt x="40" y="55"/>
                      <a:pt x="41" y="55"/>
                    </a:cubicBezTo>
                    <a:cubicBezTo>
                      <a:pt x="42" y="54"/>
                      <a:pt x="43" y="55"/>
                      <a:pt x="45" y="55"/>
                    </a:cubicBezTo>
                    <a:cubicBezTo>
                      <a:pt x="45" y="55"/>
                      <a:pt x="45" y="55"/>
                      <a:pt x="45" y="55"/>
                    </a:cubicBezTo>
                    <a:cubicBezTo>
                      <a:pt x="46" y="55"/>
                      <a:pt x="47" y="55"/>
                      <a:pt x="47" y="55"/>
                    </a:cubicBezTo>
                    <a:cubicBezTo>
                      <a:pt x="47" y="56"/>
                      <a:pt x="47" y="56"/>
                      <a:pt x="47" y="56"/>
                    </a:cubicBezTo>
                    <a:cubicBezTo>
                      <a:pt x="47" y="56"/>
                      <a:pt x="47" y="56"/>
                      <a:pt x="47" y="56"/>
                    </a:cubicBezTo>
                    <a:cubicBezTo>
                      <a:pt x="48" y="56"/>
                      <a:pt x="50" y="56"/>
                      <a:pt x="51" y="56"/>
                    </a:cubicBezTo>
                    <a:cubicBezTo>
                      <a:pt x="51" y="56"/>
                      <a:pt x="51" y="56"/>
                      <a:pt x="51" y="56"/>
                    </a:cubicBezTo>
                    <a:cubicBezTo>
                      <a:pt x="53" y="56"/>
                      <a:pt x="55" y="55"/>
                      <a:pt x="56" y="53"/>
                    </a:cubicBezTo>
                    <a:cubicBezTo>
                      <a:pt x="57" y="53"/>
                      <a:pt x="57" y="53"/>
                      <a:pt x="57" y="53"/>
                    </a:cubicBezTo>
                    <a:cubicBezTo>
                      <a:pt x="57" y="53"/>
                      <a:pt x="57" y="53"/>
                      <a:pt x="58" y="53"/>
                    </a:cubicBezTo>
                    <a:cubicBezTo>
                      <a:pt x="58" y="52"/>
                      <a:pt x="58" y="52"/>
                      <a:pt x="58" y="52"/>
                    </a:cubicBezTo>
                    <a:cubicBezTo>
                      <a:pt x="59" y="52"/>
                      <a:pt x="60" y="51"/>
                      <a:pt x="61" y="51"/>
                    </a:cubicBezTo>
                    <a:cubicBezTo>
                      <a:pt x="68" y="50"/>
                      <a:pt x="68" y="50"/>
                      <a:pt x="68" y="50"/>
                    </a:cubicBezTo>
                    <a:cubicBezTo>
                      <a:pt x="68" y="50"/>
                      <a:pt x="69" y="50"/>
                      <a:pt x="69" y="50"/>
                    </a:cubicBezTo>
                    <a:cubicBezTo>
                      <a:pt x="69" y="50"/>
                      <a:pt x="70" y="50"/>
                      <a:pt x="70" y="50"/>
                    </a:cubicBezTo>
                    <a:cubicBezTo>
                      <a:pt x="70" y="50"/>
                      <a:pt x="70" y="50"/>
                      <a:pt x="71" y="50"/>
                    </a:cubicBezTo>
                    <a:cubicBezTo>
                      <a:pt x="72" y="51"/>
                      <a:pt x="72" y="51"/>
                      <a:pt x="72" y="51"/>
                    </a:cubicBezTo>
                    <a:cubicBezTo>
                      <a:pt x="73" y="51"/>
                      <a:pt x="74" y="51"/>
                      <a:pt x="74" y="52"/>
                    </a:cubicBezTo>
                    <a:cubicBezTo>
                      <a:pt x="83" y="55"/>
                      <a:pt x="83" y="55"/>
                      <a:pt x="83" y="55"/>
                    </a:cubicBezTo>
                    <a:cubicBezTo>
                      <a:pt x="83" y="52"/>
                      <a:pt x="83" y="50"/>
                      <a:pt x="84" y="48"/>
                    </a:cubicBezTo>
                    <a:cubicBezTo>
                      <a:pt x="84" y="47"/>
                      <a:pt x="85" y="46"/>
                      <a:pt x="86" y="45"/>
                    </a:cubicBezTo>
                    <a:cubicBezTo>
                      <a:pt x="85" y="46"/>
                      <a:pt x="84" y="46"/>
                      <a:pt x="85" y="45"/>
                    </a:cubicBezTo>
                    <a:cubicBezTo>
                      <a:pt x="85" y="45"/>
                      <a:pt x="85" y="45"/>
                      <a:pt x="85" y="45"/>
                    </a:cubicBezTo>
                    <a:cubicBezTo>
                      <a:pt x="86" y="45"/>
                      <a:pt x="86" y="44"/>
                      <a:pt x="87" y="44"/>
                    </a:cubicBezTo>
                    <a:cubicBezTo>
                      <a:pt x="86" y="44"/>
                      <a:pt x="86" y="45"/>
                      <a:pt x="85" y="44"/>
                    </a:cubicBezTo>
                    <a:cubicBezTo>
                      <a:pt x="85" y="44"/>
                      <a:pt x="87" y="38"/>
                      <a:pt x="88" y="40"/>
                    </a:cubicBezTo>
                    <a:cubicBezTo>
                      <a:pt x="88" y="41"/>
                      <a:pt x="86" y="41"/>
                      <a:pt x="89" y="42"/>
                    </a:cubicBezTo>
                    <a:cubicBezTo>
                      <a:pt x="90" y="42"/>
                      <a:pt x="93" y="42"/>
                      <a:pt x="93" y="42"/>
                    </a:cubicBezTo>
                    <a:cubicBezTo>
                      <a:pt x="94" y="41"/>
                      <a:pt x="94" y="41"/>
                      <a:pt x="94" y="40"/>
                    </a:cubicBezTo>
                    <a:cubicBezTo>
                      <a:pt x="94" y="40"/>
                      <a:pt x="94" y="39"/>
                      <a:pt x="94" y="38"/>
                    </a:cubicBezTo>
                    <a:lnTo>
                      <a:pt x="93"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2" name="Freeform 3114">
                <a:extLst>
                  <a:ext uri="{FF2B5EF4-FFF2-40B4-BE49-F238E27FC236}">
                    <a16:creationId xmlns:a16="http://schemas.microsoft.com/office/drawing/2014/main" id="{0D2392A8-4D2F-405F-A449-38D26B28392C}"/>
                  </a:ext>
                </a:extLst>
              </p:cNvPr>
              <p:cNvSpPr>
                <a:spLocks/>
              </p:cNvSpPr>
              <p:nvPr/>
            </p:nvSpPr>
            <p:spPr bwMode="auto">
              <a:xfrm>
                <a:off x="3944" y="1503"/>
                <a:ext cx="151" cy="81"/>
              </a:xfrm>
              <a:custGeom>
                <a:avLst/>
                <a:gdLst>
                  <a:gd name="T0" fmla="*/ 12 w 64"/>
                  <a:gd name="T1" fmla="*/ 32 h 34"/>
                  <a:gd name="T2" fmla="*/ 16 w 64"/>
                  <a:gd name="T3" fmla="*/ 34 h 34"/>
                  <a:gd name="T4" fmla="*/ 17 w 64"/>
                  <a:gd name="T5" fmla="*/ 34 h 34"/>
                  <a:gd name="T6" fmla="*/ 19 w 64"/>
                  <a:gd name="T7" fmla="*/ 34 h 34"/>
                  <a:gd name="T8" fmla="*/ 21 w 64"/>
                  <a:gd name="T9" fmla="*/ 34 h 34"/>
                  <a:gd name="T10" fmla="*/ 21 w 64"/>
                  <a:gd name="T11" fmla="*/ 34 h 34"/>
                  <a:gd name="T12" fmla="*/ 23 w 64"/>
                  <a:gd name="T13" fmla="*/ 33 h 34"/>
                  <a:gd name="T14" fmla="*/ 25 w 64"/>
                  <a:gd name="T15" fmla="*/ 32 h 34"/>
                  <a:gd name="T16" fmla="*/ 29 w 64"/>
                  <a:gd name="T17" fmla="*/ 31 h 34"/>
                  <a:gd name="T18" fmla="*/ 35 w 64"/>
                  <a:gd name="T19" fmla="*/ 29 h 34"/>
                  <a:gd name="T20" fmla="*/ 37 w 64"/>
                  <a:gd name="T21" fmla="*/ 29 h 34"/>
                  <a:gd name="T22" fmla="*/ 38 w 64"/>
                  <a:gd name="T23" fmla="*/ 29 h 34"/>
                  <a:gd name="T24" fmla="*/ 40 w 64"/>
                  <a:gd name="T25" fmla="*/ 30 h 34"/>
                  <a:gd name="T26" fmla="*/ 43 w 64"/>
                  <a:gd name="T27" fmla="*/ 29 h 34"/>
                  <a:gd name="T28" fmla="*/ 45 w 64"/>
                  <a:gd name="T29" fmla="*/ 28 h 34"/>
                  <a:gd name="T30" fmla="*/ 47 w 64"/>
                  <a:gd name="T31" fmla="*/ 28 h 34"/>
                  <a:gd name="T32" fmla="*/ 49 w 64"/>
                  <a:gd name="T33" fmla="*/ 26 h 34"/>
                  <a:gd name="T34" fmla="*/ 52 w 64"/>
                  <a:gd name="T35" fmla="*/ 22 h 34"/>
                  <a:gd name="T36" fmla="*/ 53 w 64"/>
                  <a:gd name="T37" fmla="*/ 18 h 34"/>
                  <a:gd name="T38" fmla="*/ 56 w 64"/>
                  <a:gd name="T39" fmla="*/ 14 h 34"/>
                  <a:gd name="T40" fmla="*/ 60 w 64"/>
                  <a:gd name="T41" fmla="*/ 10 h 34"/>
                  <a:gd name="T42" fmla="*/ 64 w 64"/>
                  <a:gd name="T43" fmla="*/ 7 h 34"/>
                  <a:gd name="T44" fmla="*/ 64 w 64"/>
                  <a:gd name="T45" fmla="*/ 7 h 34"/>
                  <a:gd name="T46" fmla="*/ 62 w 64"/>
                  <a:gd name="T47" fmla="*/ 5 h 34"/>
                  <a:gd name="T48" fmla="*/ 61 w 64"/>
                  <a:gd name="T49" fmla="*/ 4 h 34"/>
                  <a:gd name="T50" fmla="*/ 61 w 64"/>
                  <a:gd name="T51" fmla="*/ 4 h 34"/>
                  <a:gd name="T52" fmla="*/ 59 w 64"/>
                  <a:gd name="T53" fmla="*/ 3 h 34"/>
                  <a:gd name="T54" fmla="*/ 56 w 64"/>
                  <a:gd name="T55" fmla="*/ 3 h 34"/>
                  <a:gd name="T56" fmla="*/ 55 w 64"/>
                  <a:gd name="T57" fmla="*/ 3 h 34"/>
                  <a:gd name="T58" fmla="*/ 52 w 64"/>
                  <a:gd name="T59" fmla="*/ 1 h 34"/>
                  <a:gd name="T60" fmla="*/ 52 w 64"/>
                  <a:gd name="T61" fmla="*/ 1 h 34"/>
                  <a:gd name="T62" fmla="*/ 50 w 64"/>
                  <a:gd name="T63" fmla="*/ 1 h 34"/>
                  <a:gd name="T64" fmla="*/ 49 w 64"/>
                  <a:gd name="T65" fmla="*/ 1 h 34"/>
                  <a:gd name="T66" fmla="*/ 41 w 64"/>
                  <a:gd name="T67" fmla="*/ 3 h 34"/>
                  <a:gd name="T68" fmla="*/ 38 w 64"/>
                  <a:gd name="T69" fmla="*/ 5 h 34"/>
                  <a:gd name="T70" fmla="*/ 34 w 64"/>
                  <a:gd name="T71" fmla="*/ 5 h 34"/>
                  <a:gd name="T72" fmla="*/ 30 w 64"/>
                  <a:gd name="T73" fmla="*/ 6 h 34"/>
                  <a:gd name="T74" fmla="*/ 26 w 64"/>
                  <a:gd name="T75" fmla="*/ 8 h 34"/>
                  <a:gd name="T76" fmla="*/ 27 w 64"/>
                  <a:gd name="T77" fmla="*/ 10 h 34"/>
                  <a:gd name="T78" fmla="*/ 23 w 64"/>
                  <a:gd name="T79" fmla="*/ 11 h 34"/>
                  <a:gd name="T80" fmla="*/ 19 w 64"/>
                  <a:gd name="T81" fmla="*/ 11 h 34"/>
                  <a:gd name="T82" fmla="*/ 16 w 64"/>
                  <a:gd name="T83" fmla="*/ 11 h 34"/>
                  <a:gd name="T84" fmla="*/ 9 w 64"/>
                  <a:gd name="T85" fmla="*/ 8 h 34"/>
                  <a:gd name="T86" fmla="*/ 9 w 64"/>
                  <a:gd name="T87" fmla="*/ 9 h 34"/>
                  <a:gd name="T88" fmla="*/ 9 w 64"/>
                  <a:gd name="T89" fmla="*/ 10 h 34"/>
                  <a:gd name="T90" fmla="*/ 8 w 64"/>
                  <a:gd name="T91" fmla="*/ 12 h 34"/>
                  <a:gd name="T92" fmla="*/ 4 w 64"/>
                  <a:gd name="T93" fmla="*/ 13 h 34"/>
                  <a:gd name="T94" fmla="*/ 3 w 64"/>
                  <a:gd name="T95" fmla="*/ 16 h 34"/>
                  <a:gd name="T96" fmla="*/ 2 w 64"/>
                  <a:gd name="T97" fmla="*/ 17 h 34"/>
                  <a:gd name="T98" fmla="*/ 3 w 64"/>
                  <a:gd name="T99" fmla="*/ 19 h 34"/>
                  <a:gd name="T100" fmla="*/ 2 w 64"/>
                  <a:gd name="T101" fmla="*/ 21 h 34"/>
                  <a:gd name="T102" fmla="*/ 0 w 64"/>
                  <a:gd name="T103" fmla="*/ 21 h 34"/>
                  <a:gd name="T104" fmla="*/ 0 w 64"/>
                  <a:gd name="T105" fmla="*/ 21 h 34"/>
                  <a:gd name="T106" fmla="*/ 1 w 64"/>
                  <a:gd name="T107" fmla="*/ 22 h 34"/>
                  <a:gd name="T108" fmla="*/ 2 w 64"/>
                  <a:gd name="T109" fmla="*/ 24 h 34"/>
                  <a:gd name="T110" fmla="*/ 2 w 64"/>
                  <a:gd name="T111" fmla="*/ 24 h 34"/>
                  <a:gd name="T112" fmla="*/ 3 w 64"/>
                  <a:gd name="T113" fmla="*/ 25 h 34"/>
                  <a:gd name="T114" fmla="*/ 5 w 64"/>
                  <a:gd name="T115" fmla="*/ 26 h 34"/>
                  <a:gd name="T116" fmla="*/ 6 w 64"/>
                  <a:gd name="T117" fmla="*/ 27 h 34"/>
                  <a:gd name="T118" fmla="*/ 11 w 64"/>
                  <a:gd name="T119"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34">
                    <a:moveTo>
                      <a:pt x="11" y="32"/>
                    </a:moveTo>
                    <a:cubicBezTo>
                      <a:pt x="11" y="32"/>
                      <a:pt x="12" y="32"/>
                      <a:pt x="12" y="32"/>
                    </a:cubicBezTo>
                    <a:cubicBezTo>
                      <a:pt x="12" y="32"/>
                      <a:pt x="12" y="32"/>
                      <a:pt x="12" y="32"/>
                    </a:cubicBezTo>
                    <a:cubicBezTo>
                      <a:pt x="14" y="33"/>
                      <a:pt x="15" y="34"/>
                      <a:pt x="16" y="34"/>
                    </a:cubicBezTo>
                    <a:cubicBezTo>
                      <a:pt x="16" y="34"/>
                      <a:pt x="16" y="34"/>
                      <a:pt x="16" y="34"/>
                    </a:cubicBezTo>
                    <a:cubicBezTo>
                      <a:pt x="17" y="34"/>
                      <a:pt x="17" y="34"/>
                      <a:pt x="17" y="34"/>
                    </a:cubicBezTo>
                    <a:cubicBezTo>
                      <a:pt x="17" y="34"/>
                      <a:pt x="17" y="34"/>
                      <a:pt x="17" y="34"/>
                    </a:cubicBezTo>
                    <a:cubicBezTo>
                      <a:pt x="18" y="34"/>
                      <a:pt x="18" y="34"/>
                      <a:pt x="19" y="34"/>
                    </a:cubicBezTo>
                    <a:cubicBezTo>
                      <a:pt x="19" y="34"/>
                      <a:pt x="20" y="34"/>
                      <a:pt x="20" y="34"/>
                    </a:cubicBezTo>
                    <a:cubicBezTo>
                      <a:pt x="20" y="34"/>
                      <a:pt x="21" y="34"/>
                      <a:pt x="21" y="34"/>
                    </a:cubicBezTo>
                    <a:cubicBezTo>
                      <a:pt x="21" y="34"/>
                      <a:pt x="21" y="34"/>
                      <a:pt x="21" y="34"/>
                    </a:cubicBezTo>
                    <a:cubicBezTo>
                      <a:pt x="21" y="34"/>
                      <a:pt x="21" y="34"/>
                      <a:pt x="21" y="34"/>
                    </a:cubicBezTo>
                    <a:cubicBezTo>
                      <a:pt x="21" y="34"/>
                      <a:pt x="22" y="34"/>
                      <a:pt x="22" y="33"/>
                    </a:cubicBezTo>
                    <a:cubicBezTo>
                      <a:pt x="23" y="33"/>
                      <a:pt x="23" y="33"/>
                      <a:pt x="23" y="33"/>
                    </a:cubicBezTo>
                    <a:cubicBezTo>
                      <a:pt x="24" y="33"/>
                      <a:pt x="24" y="33"/>
                      <a:pt x="24" y="33"/>
                    </a:cubicBezTo>
                    <a:cubicBezTo>
                      <a:pt x="24" y="33"/>
                      <a:pt x="25" y="32"/>
                      <a:pt x="25" y="32"/>
                    </a:cubicBezTo>
                    <a:cubicBezTo>
                      <a:pt x="31" y="27"/>
                      <a:pt x="31" y="27"/>
                      <a:pt x="31" y="27"/>
                    </a:cubicBezTo>
                    <a:cubicBezTo>
                      <a:pt x="29" y="31"/>
                      <a:pt x="29" y="31"/>
                      <a:pt x="29" y="31"/>
                    </a:cubicBezTo>
                    <a:cubicBezTo>
                      <a:pt x="34" y="29"/>
                      <a:pt x="34" y="29"/>
                      <a:pt x="34" y="29"/>
                    </a:cubicBezTo>
                    <a:cubicBezTo>
                      <a:pt x="35" y="29"/>
                      <a:pt x="35" y="29"/>
                      <a:pt x="35" y="29"/>
                    </a:cubicBezTo>
                    <a:cubicBezTo>
                      <a:pt x="36" y="29"/>
                      <a:pt x="36" y="29"/>
                      <a:pt x="36" y="29"/>
                    </a:cubicBezTo>
                    <a:cubicBezTo>
                      <a:pt x="37" y="29"/>
                      <a:pt x="37" y="29"/>
                      <a:pt x="37" y="29"/>
                    </a:cubicBezTo>
                    <a:cubicBezTo>
                      <a:pt x="37" y="29"/>
                      <a:pt x="38" y="29"/>
                      <a:pt x="38" y="29"/>
                    </a:cubicBezTo>
                    <a:cubicBezTo>
                      <a:pt x="38" y="29"/>
                      <a:pt x="38" y="29"/>
                      <a:pt x="38" y="29"/>
                    </a:cubicBezTo>
                    <a:cubicBezTo>
                      <a:pt x="39" y="29"/>
                      <a:pt x="39" y="29"/>
                      <a:pt x="40" y="30"/>
                    </a:cubicBezTo>
                    <a:cubicBezTo>
                      <a:pt x="40" y="30"/>
                      <a:pt x="40" y="30"/>
                      <a:pt x="40" y="30"/>
                    </a:cubicBezTo>
                    <a:cubicBezTo>
                      <a:pt x="42" y="29"/>
                      <a:pt x="42" y="29"/>
                      <a:pt x="42" y="29"/>
                    </a:cubicBezTo>
                    <a:cubicBezTo>
                      <a:pt x="43" y="29"/>
                      <a:pt x="43" y="29"/>
                      <a:pt x="43" y="29"/>
                    </a:cubicBezTo>
                    <a:cubicBezTo>
                      <a:pt x="43" y="29"/>
                      <a:pt x="44" y="29"/>
                      <a:pt x="44" y="29"/>
                    </a:cubicBezTo>
                    <a:cubicBezTo>
                      <a:pt x="44" y="28"/>
                      <a:pt x="44" y="28"/>
                      <a:pt x="45" y="28"/>
                    </a:cubicBezTo>
                    <a:cubicBezTo>
                      <a:pt x="45" y="28"/>
                      <a:pt x="45" y="28"/>
                      <a:pt x="45" y="28"/>
                    </a:cubicBezTo>
                    <a:cubicBezTo>
                      <a:pt x="45" y="28"/>
                      <a:pt x="46" y="28"/>
                      <a:pt x="47" y="28"/>
                    </a:cubicBezTo>
                    <a:cubicBezTo>
                      <a:pt x="47" y="28"/>
                      <a:pt x="48" y="28"/>
                      <a:pt x="48" y="27"/>
                    </a:cubicBezTo>
                    <a:cubicBezTo>
                      <a:pt x="48" y="27"/>
                      <a:pt x="49" y="27"/>
                      <a:pt x="49" y="26"/>
                    </a:cubicBezTo>
                    <a:cubicBezTo>
                      <a:pt x="50" y="26"/>
                      <a:pt x="50" y="25"/>
                      <a:pt x="51" y="24"/>
                    </a:cubicBezTo>
                    <a:cubicBezTo>
                      <a:pt x="51" y="23"/>
                      <a:pt x="51" y="22"/>
                      <a:pt x="52" y="22"/>
                    </a:cubicBezTo>
                    <a:cubicBezTo>
                      <a:pt x="52" y="21"/>
                      <a:pt x="53" y="20"/>
                      <a:pt x="53" y="19"/>
                    </a:cubicBezTo>
                    <a:cubicBezTo>
                      <a:pt x="53" y="19"/>
                      <a:pt x="53" y="18"/>
                      <a:pt x="53" y="18"/>
                    </a:cubicBezTo>
                    <a:cubicBezTo>
                      <a:pt x="53" y="18"/>
                      <a:pt x="53" y="18"/>
                      <a:pt x="53" y="18"/>
                    </a:cubicBezTo>
                    <a:cubicBezTo>
                      <a:pt x="54" y="17"/>
                      <a:pt x="55" y="15"/>
                      <a:pt x="56" y="14"/>
                    </a:cubicBezTo>
                    <a:cubicBezTo>
                      <a:pt x="57" y="13"/>
                      <a:pt x="57" y="12"/>
                      <a:pt x="58" y="11"/>
                    </a:cubicBezTo>
                    <a:cubicBezTo>
                      <a:pt x="59" y="11"/>
                      <a:pt x="59" y="11"/>
                      <a:pt x="60" y="10"/>
                    </a:cubicBezTo>
                    <a:cubicBezTo>
                      <a:pt x="60" y="10"/>
                      <a:pt x="60" y="10"/>
                      <a:pt x="60" y="10"/>
                    </a:cubicBezTo>
                    <a:cubicBezTo>
                      <a:pt x="64" y="7"/>
                      <a:pt x="64" y="7"/>
                      <a:pt x="64" y="7"/>
                    </a:cubicBezTo>
                    <a:cubicBezTo>
                      <a:pt x="64" y="7"/>
                      <a:pt x="64" y="7"/>
                      <a:pt x="64" y="7"/>
                    </a:cubicBezTo>
                    <a:cubicBezTo>
                      <a:pt x="64" y="7"/>
                      <a:pt x="64" y="7"/>
                      <a:pt x="64" y="7"/>
                    </a:cubicBezTo>
                    <a:cubicBezTo>
                      <a:pt x="63" y="6"/>
                      <a:pt x="63" y="6"/>
                      <a:pt x="63" y="6"/>
                    </a:cubicBezTo>
                    <a:cubicBezTo>
                      <a:pt x="62" y="5"/>
                      <a:pt x="62" y="5"/>
                      <a:pt x="62" y="5"/>
                    </a:cubicBezTo>
                    <a:cubicBezTo>
                      <a:pt x="62" y="5"/>
                      <a:pt x="62" y="5"/>
                      <a:pt x="62" y="5"/>
                    </a:cubicBezTo>
                    <a:cubicBezTo>
                      <a:pt x="62" y="5"/>
                      <a:pt x="61" y="5"/>
                      <a:pt x="61" y="4"/>
                    </a:cubicBezTo>
                    <a:cubicBezTo>
                      <a:pt x="61" y="4"/>
                      <a:pt x="61" y="4"/>
                      <a:pt x="61" y="4"/>
                    </a:cubicBezTo>
                    <a:cubicBezTo>
                      <a:pt x="61" y="4"/>
                      <a:pt x="61" y="4"/>
                      <a:pt x="61" y="4"/>
                    </a:cubicBezTo>
                    <a:cubicBezTo>
                      <a:pt x="60" y="4"/>
                      <a:pt x="59" y="3"/>
                      <a:pt x="59" y="3"/>
                    </a:cubicBezTo>
                    <a:cubicBezTo>
                      <a:pt x="59" y="3"/>
                      <a:pt x="59" y="3"/>
                      <a:pt x="59" y="3"/>
                    </a:cubicBezTo>
                    <a:cubicBezTo>
                      <a:pt x="58" y="3"/>
                      <a:pt x="58" y="3"/>
                      <a:pt x="58" y="3"/>
                    </a:cubicBezTo>
                    <a:cubicBezTo>
                      <a:pt x="58" y="3"/>
                      <a:pt x="57" y="3"/>
                      <a:pt x="56" y="3"/>
                    </a:cubicBezTo>
                    <a:cubicBezTo>
                      <a:pt x="56" y="3"/>
                      <a:pt x="56" y="3"/>
                      <a:pt x="56" y="3"/>
                    </a:cubicBezTo>
                    <a:cubicBezTo>
                      <a:pt x="56" y="3"/>
                      <a:pt x="55" y="3"/>
                      <a:pt x="55" y="3"/>
                    </a:cubicBezTo>
                    <a:cubicBezTo>
                      <a:pt x="55" y="3"/>
                      <a:pt x="54" y="3"/>
                      <a:pt x="54" y="3"/>
                    </a:cubicBezTo>
                    <a:cubicBezTo>
                      <a:pt x="54" y="3"/>
                      <a:pt x="53" y="2"/>
                      <a:pt x="52" y="1"/>
                    </a:cubicBezTo>
                    <a:cubicBezTo>
                      <a:pt x="52" y="1"/>
                      <a:pt x="52" y="1"/>
                      <a:pt x="52" y="1"/>
                    </a:cubicBezTo>
                    <a:cubicBezTo>
                      <a:pt x="52" y="1"/>
                      <a:pt x="52" y="1"/>
                      <a:pt x="52" y="1"/>
                    </a:cubicBezTo>
                    <a:cubicBezTo>
                      <a:pt x="52" y="1"/>
                      <a:pt x="51" y="1"/>
                      <a:pt x="51" y="1"/>
                    </a:cubicBezTo>
                    <a:cubicBezTo>
                      <a:pt x="51" y="1"/>
                      <a:pt x="51" y="1"/>
                      <a:pt x="50" y="1"/>
                    </a:cubicBezTo>
                    <a:cubicBezTo>
                      <a:pt x="49" y="1"/>
                      <a:pt x="49" y="1"/>
                      <a:pt x="49" y="1"/>
                    </a:cubicBezTo>
                    <a:cubicBezTo>
                      <a:pt x="49" y="1"/>
                      <a:pt x="49" y="1"/>
                      <a:pt x="49" y="1"/>
                    </a:cubicBezTo>
                    <a:cubicBezTo>
                      <a:pt x="47" y="1"/>
                      <a:pt x="46" y="0"/>
                      <a:pt x="45" y="1"/>
                    </a:cubicBezTo>
                    <a:cubicBezTo>
                      <a:pt x="44" y="1"/>
                      <a:pt x="42" y="2"/>
                      <a:pt x="41" y="3"/>
                    </a:cubicBezTo>
                    <a:cubicBezTo>
                      <a:pt x="40" y="4"/>
                      <a:pt x="40" y="4"/>
                      <a:pt x="40" y="4"/>
                    </a:cubicBezTo>
                    <a:cubicBezTo>
                      <a:pt x="40" y="5"/>
                      <a:pt x="39" y="5"/>
                      <a:pt x="38" y="5"/>
                    </a:cubicBezTo>
                    <a:cubicBezTo>
                      <a:pt x="38" y="6"/>
                      <a:pt x="37" y="6"/>
                      <a:pt x="36" y="6"/>
                    </a:cubicBezTo>
                    <a:cubicBezTo>
                      <a:pt x="36" y="6"/>
                      <a:pt x="35" y="6"/>
                      <a:pt x="34" y="5"/>
                    </a:cubicBezTo>
                    <a:cubicBezTo>
                      <a:pt x="33" y="5"/>
                      <a:pt x="32" y="5"/>
                      <a:pt x="30" y="6"/>
                    </a:cubicBezTo>
                    <a:cubicBezTo>
                      <a:pt x="30" y="6"/>
                      <a:pt x="30" y="6"/>
                      <a:pt x="30" y="6"/>
                    </a:cubicBezTo>
                    <a:cubicBezTo>
                      <a:pt x="28" y="7"/>
                      <a:pt x="28" y="7"/>
                      <a:pt x="28" y="7"/>
                    </a:cubicBezTo>
                    <a:cubicBezTo>
                      <a:pt x="27" y="7"/>
                      <a:pt x="27" y="7"/>
                      <a:pt x="26" y="8"/>
                    </a:cubicBezTo>
                    <a:cubicBezTo>
                      <a:pt x="26" y="8"/>
                      <a:pt x="26" y="8"/>
                      <a:pt x="27" y="8"/>
                    </a:cubicBezTo>
                    <a:cubicBezTo>
                      <a:pt x="27" y="10"/>
                      <a:pt x="27" y="10"/>
                      <a:pt x="27" y="10"/>
                    </a:cubicBezTo>
                    <a:cubicBezTo>
                      <a:pt x="26" y="10"/>
                      <a:pt x="26" y="10"/>
                      <a:pt x="26" y="10"/>
                    </a:cubicBezTo>
                    <a:cubicBezTo>
                      <a:pt x="25" y="10"/>
                      <a:pt x="24" y="11"/>
                      <a:pt x="23" y="11"/>
                    </a:cubicBezTo>
                    <a:cubicBezTo>
                      <a:pt x="22" y="11"/>
                      <a:pt x="21" y="11"/>
                      <a:pt x="20" y="11"/>
                    </a:cubicBezTo>
                    <a:cubicBezTo>
                      <a:pt x="20" y="11"/>
                      <a:pt x="19" y="11"/>
                      <a:pt x="19" y="11"/>
                    </a:cubicBezTo>
                    <a:cubicBezTo>
                      <a:pt x="18" y="11"/>
                      <a:pt x="18" y="11"/>
                      <a:pt x="18" y="11"/>
                    </a:cubicBezTo>
                    <a:cubicBezTo>
                      <a:pt x="18" y="11"/>
                      <a:pt x="17" y="11"/>
                      <a:pt x="16" y="11"/>
                    </a:cubicBezTo>
                    <a:cubicBezTo>
                      <a:pt x="13" y="11"/>
                      <a:pt x="11" y="10"/>
                      <a:pt x="10" y="8"/>
                    </a:cubicBezTo>
                    <a:cubicBezTo>
                      <a:pt x="10" y="8"/>
                      <a:pt x="9" y="8"/>
                      <a:pt x="9" y="8"/>
                    </a:cubicBezTo>
                    <a:cubicBezTo>
                      <a:pt x="9" y="8"/>
                      <a:pt x="9" y="8"/>
                      <a:pt x="9" y="8"/>
                    </a:cubicBezTo>
                    <a:cubicBezTo>
                      <a:pt x="9" y="9"/>
                      <a:pt x="9" y="9"/>
                      <a:pt x="9" y="9"/>
                    </a:cubicBezTo>
                    <a:cubicBezTo>
                      <a:pt x="9" y="9"/>
                      <a:pt x="9" y="9"/>
                      <a:pt x="9" y="9"/>
                    </a:cubicBezTo>
                    <a:cubicBezTo>
                      <a:pt x="9" y="10"/>
                      <a:pt x="9" y="10"/>
                      <a:pt x="9" y="10"/>
                    </a:cubicBezTo>
                    <a:cubicBezTo>
                      <a:pt x="10" y="11"/>
                      <a:pt x="10" y="11"/>
                      <a:pt x="10" y="11"/>
                    </a:cubicBezTo>
                    <a:cubicBezTo>
                      <a:pt x="8" y="12"/>
                      <a:pt x="8" y="12"/>
                      <a:pt x="8" y="12"/>
                    </a:cubicBezTo>
                    <a:cubicBezTo>
                      <a:pt x="7" y="12"/>
                      <a:pt x="5" y="12"/>
                      <a:pt x="4" y="12"/>
                    </a:cubicBezTo>
                    <a:cubicBezTo>
                      <a:pt x="4" y="12"/>
                      <a:pt x="4" y="13"/>
                      <a:pt x="4" y="13"/>
                    </a:cubicBezTo>
                    <a:cubicBezTo>
                      <a:pt x="4" y="13"/>
                      <a:pt x="4" y="13"/>
                      <a:pt x="4" y="13"/>
                    </a:cubicBezTo>
                    <a:cubicBezTo>
                      <a:pt x="4" y="15"/>
                      <a:pt x="3" y="15"/>
                      <a:pt x="3" y="16"/>
                    </a:cubicBezTo>
                    <a:cubicBezTo>
                      <a:pt x="2" y="16"/>
                      <a:pt x="2" y="16"/>
                      <a:pt x="2" y="16"/>
                    </a:cubicBezTo>
                    <a:cubicBezTo>
                      <a:pt x="2" y="16"/>
                      <a:pt x="2" y="17"/>
                      <a:pt x="2" y="17"/>
                    </a:cubicBezTo>
                    <a:cubicBezTo>
                      <a:pt x="2" y="18"/>
                      <a:pt x="2" y="18"/>
                      <a:pt x="2" y="18"/>
                    </a:cubicBezTo>
                    <a:cubicBezTo>
                      <a:pt x="3" y="18"/>
                      <a:pt x="3" y="19"/>
                      <a:pt x="3" y="19"/>
                    </a:cubicBezTo>
                    <a:cubicBezTo>
                      <a:pt x="3" y="21"/>
                      <a:pt x="3" y="21"/>
                      <a:pt x="3" y="21"/>
                    </a:cubicBezTo>
                    <a:cubicBezTo>
                      <a:pt x="2" y="21"/>
                      <a:pt x="2" y="21"/>
                      <a:pt x="2" y="21"/>
                    </a:cubicBezTo>
                    <a:cubicBezTo>
                      <a:pt x="1" y="21"/>
                      <a:pt x="1" y="21"/>
                      <a:pt x="1" y="21"/>
                    </a:cubicBezTo>
                    <a:cubicBezTo>
                      <a:pt x="0" y="21"/>
                      <a:pt x="0" y="21"/>
                      <a:pt x="0" y="21"/>
                    </a:cubicBezTo>
                    <a:cubicBezTo>
                      <a:pt x="0" y="21"/>
                      <a:pt x="0" y="21"/>
                      <a:pt x="0" y="21"/>
                    </a:cubicBezTo>
                    <a:cubicBezTo>
                      <a:pt x="0" y="21"/>
                      <a:pt x="0" y="21"/>
                      <a:pt x="0" y="21"/>
                    </a:cubicBezTo>
                    <a:cubicBezTo>
                      <a:pt x="0" y="21"/>
                      <a:pt x="0" y="21"/>
                      <a:pt x="0" y="21"/>
                    </a:cubicBezTo>
                    <a:cubicBezTo>
                      <a:pt x="0" y="21"/>
                      <a:pt x="1" y="21"/>
                      <a:pt x="1" y="22"/>
                    </a:cubicBezTo>
                    <a:cubicBezTo>
                      <a:pt x="1" y="22"/>
                      <a:pt x="1" y="23"/>
                      <a:pt x="1" y="23"/>
                    </a:cubicBezTo>
                    <a:cubicBezTo>
                      <a:pt x="2" y="24"/>
                      <a:pt x="2" y="24"/>
                      <a:pt x="2" y="24"/>
                    </a:cubicBezTo>
                    <a:cubicBezTo>
                      <a:pt x="2" y="24"/>
                      <a:pt x="2" y="24"/>
                      <a:pt x="2" y="24"/>
                    </a:cubicBezTo>
                    <a:cubicBezTo>
                      <a:pt x="2" y="24"/>
                      <a:pt x="2" y="24"/>
                      <a:pt x="2" y="24"/>
                    </a:cubicBezTo>
                    <a:cubicBezTo>
                      <a:pt x="2" y="24"/>
                      <a:pt x="2" y="25"/>
                      <a:pt x="3" y="25"/>
                    </a:cubicBezTo>
                    <a:cubicBezTo>
                      <a:pt x="3" y="25"/>
                      <a:pt x="3" y="25"/>
                      <a:pt x="3" y="25"/>
                    </a:cubicBezTo>
                    <a:cubicBezTo>
                      <a:pt x="4" y="26"/>
                      <a:pt x="4" y="26"/>
                      <a:pt x="5" y="26"/>
                    </a:cubicBezTo>
                    <a:cubicBezTo>
                      <a:pt x="5" y="26"/>
                      <a:pt x="5" y="26"/>
                      <a:pt x="5" y="26"/>
                    </a:cubicBezTo>
                    <a:cubicBezTo>
                      <a:pt x="5" y="26"/>
                      <a:pt x="5" y="27"/>
                      <a:pt x="5" y="27"/>
                    </a:cubicBezTo>
                    <a:cubicBezTo>
                      <a:pt x="6" y="27"/>
                      <a:pt x="6" y="27"/>
                      <a:pt x="6" y="27"/>
                    </a:cubicBezTo>
                    <a:cubicBezTo>
                      <a:pt x="6" y="27"/>
                      <a:pt x="6" y="28"/>
                      <a:pt x="6" y="28"/>
                    </a:cubicBezTo>
                    <a:cubicBezTo>
                      <a:pt x="7" y="29"/>
                      <a:pt x="9" y="31"/>
                      <a:pt x="1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3" name="Freeform 3115">
                <a:extLst>
                  <a:ext uri="{FF2B5EF4-FFF2-40B4-BE49-F238E27FC236}">
                    <a16:creationId xmlns:a16="http://schemas.microsoft.com/office/drawing/2014/main" id="{EC23925B-004F-4B89-84BF-7697A6661C6D}"/>
                  </a:ext>
                </a:extLst>
              </p:cNvPr>
              <p:cNvSpPr>
                <a:spLocks/>
              </p:cNvSpPr>
              <p:nvPr/>
            </p:nvSpPr>
            <p:spPr bwMode="auto">
              <a:xfrm>
                <a:off x="3958" y="1475"/>
                <a:ext cx="130" cy="50"/>
              </a:xfrm>
              <a:custGeom>
                <a:avLst/>
                <a:gdLst>
                  <a:gd name="T0" fmla="*/ 14 w 55"/>
                  <a:gd name="T1" fmla="*/ 3 h 21"/>
                  <a:gd name="T2" fmla="*/ 13 w 55"/>
                  <a:gd name="T3" fmla="*/ 4 h 21"/>
                  <a:gd name="T4" fmla="*/ 13 w 55"/>
                  <a:gd name="T5" fmla="*/ 5 h 21"/>
                  <a:gd name="T6" fmla="*/ 5 w 55"/>
                  <a:gd name="T7" fmla="*/ 9 h 21"/>
                  <a:gd name="T8" fmla="*/ 5 w 55"/>
                  <a:gd name="T9" fmla="*/ 9 h 21"/>
                  <a:gd name="T10" fmla="*/ 3 w 55"/>
                  <a:gd name="T11" fmla="*/ 9 h 21"/>
                  <a:gd name="T12" fmla="*/ 2 w 55"/>
                  <a:gd name="T13" fmla="*/ 9 h 21"/>
                  <a:gd name="T14" fmla="*/ 1 w 55"/>
                  <a:gd name="T15" fmla="*/ 11 h 21"/>
                  <a:gd name="T16" fmla="*/ 1 w 55"/>
                  <a:gd name="T17" fmla="*/ 13 h 21"/>
                  <a:gd name="T18" fmla="*/ 0 w 55"/>
                  <a:gd name="T19" fmla="*/ 14 h 21"/>
                  <a:gd name="T20" fmla="*/ 1 w 55"/>
                  <a:gd name="T21" fmla="*/ 14 h 21"/>
                  <a:gd name="T22" fmla="*/ 2 w 55"/>
                  <a:gd name="T23" fmla="*/ 16 h 21"/>
                  <a:gd name="T24" fmla="*/ 3 w 55"/>
                  <a:gd name="T25" fmla="*/ 17 h 21"/>
                  <a:gd name="T26" fmla="*/ 3 w 55"/>
                  <a:gd name="T27" fmla="*/ 17 h 21"/>
                  <a:gd name="T28" fmla="*/ 4 w 55"/>
                  <a:gd name="T29" fmla="*/ 17 h 21"/>
                  <a:gd name="T30" fmla="*/ 5 w 55"/>
                  <a:gd name="T31" fmla="*/ 18 h 21"/>
                  <a:gd name="T32" fmla="*/ 10 w 55"/>
                  <a:gd name="T33" fmla="*/ 21 h 21"/>
                  <a:gd name="T34" fmla="*/ 18 w 55"/>
                  <a:gd name="T35" fmla="*/ 20 h 21"/>
                  <a:gd name="T36" fmla="*/ 19 w 55"/>
                  <a:gd name="T37" fmla="*/ 18 h 21"/>
                  <a:gd name="T38" fmla="*/ 23 w 55"/>
                  <a:gd name="T39" fmla="*/ 16 h 21"/>
                  <a:gd name="T40" fmla="*/ 28 w 55"/>
                  <a:gd name="T41" fmla="*/ 15 h 21"/>
                  <a:gd name="T42" fmla="*/ 28 w 55"/>
                  <a:gd name="T43" fmla="*/ 15 h 21"/>
                  <a:gd name="T44" fmla="*/ 30 w 55"/>
                  <a:gd name="T45" fmla="*/ 15 h 21"/>
                  <a:gd name="T46" fmla="*/ 33 w 55"/>
                  <a:gd name="T47" fmla="*/ 14 h 21"/>
                  <a:gd name="T48" fmla="*/ 38 w 55"/>
                  <a:gd name="T49" fmla="*/ 10 h 21"/>
                  <a:gd name="T50" fmla="*/ 43 w 55"/>
                  <a:gd name="T51" fmla="*/ 10 h 21"/>
                  <a:gd name="T52" fmla="*/ 44 w 55"/>
                  <a:gd name="T53" fmla="*/ 10 h 21"/>
                  <a:gd name="T54" fmla="*/ 48 w 55"/>
                  <a:gd name="T55" fmla="*/ 11 h 21"/>
                  <a:gd name="T56" fmla="*/ 49 w 55"/>
                  <a:gd name="T57" fmla="*/ 13 h 21"/>
                  <a:gd name="T58" fmla="*/ 52 w 55"/>
                  <a:gd name="T59" fmla="*/ 12 h 21"/>
                  <a:gd name="T60" fmla="*/ 52 w 55"/>
                  <a:gd name="T61" fmla="*/ 12 h 21"/>
                  <a:gd name="T62" fmla="*/ 53 w 55"/>
                  <a:gd name="T63" fmla="*/ 10 h 21"/>
                  <a:gd name="T64" fmla="*/ 55 w 55"/>
                  <a:gd name="T65" fmla="*/ 5 h 21"/>
                  <a:gd name="T66" fmla="*/ 54 w 55"/>
                  <a:gd name="T67" fmla="*/ 5 h 21"/>
                  <a:gd name="T68" fmla="*/ 52 w 55"/>
                  <a:gd name="T69" fmla="*/ 4 h 21"/>
                  <a:gd name="T70" fmla="*/ 46 w 55"/>
                  <a:gd name="T71" fmla="*/ 1 h 21"/>
                  <a:gd name="T72" fmla="*/ 42 w 55"/>
                  <a:gd name="T73" fmla="*/ 2 h 21"/>
                  <a:gd name="T74" fmla="*/ 37 w 55"/>
                  <a:gd name="T75" fmla="*/ 2 h 21"/>
                  <a:gd name="T76" fmla="*/ 36 w 55"/>
                  <a:gd name="T77" fmla="*/ 2 h 21"/>
                  <a:gd name="T78" fmla="*/ 33 w 55"/>
                  <a:gd name="T79" fmla="*/ 3 h 21"/>
                  <a:gd name="T80" fmla="*/ 30 w 55"/>
                  <a:gd name="T81" fmla="*/ 4 h 21"/>
                  <a:gd name="T82" fmla="*/ 30 w 55"/>
                  <a:gd name="T83" fmla="*/ 4 h 21"/>
                  <a:gd name="T84" fmla="*/ 29 w 55"/>
                  <a:gd name="T85" fmla="*/ 4 h 21"/>
                  <a:gd name="T86" fmla="*/ 28 w 55"/>
                  <a:gd name="T87" fmla="*/ 4 h 21"/>
                  <a:gd name="T88" fmla="*/ 27 w 55"/>
                  <a:gd name="T89" fmla="*/ 4 h 21"/>
                  <a:gd name="T90" fmla="*/ 28 w 55"/>
                  <a:gd name="T91" fmla="*/ 3 h 21"/>
                  <a:gd name="T92" fmla="*/ 26 w 55"/>
                  <a:gd name="T93" fmla="*/ 0 h 21"/>
                  <a:gd name="T94" fmla="*/ 22 w 55"/>
                  <a:gd name="T95" fmla="*/ 1 h 21"/>
                  <a:gd name="T96" fmla="*/ 21 w 55"/>
                  <a:gd name="T97" fmla="*/ 1 h 21"/>
                  <a:gd name="T98" fmla="*/ 20 w 55"/>
                  <a:gd name="T99" fmla="*/ 1 h 21"/>
                  <a:gd name="T100" fmla="*/ 19 w 55"/>
                  <a:gd name="T101" fmla="*/ 0 h 21"/>
                  <a:gd name="T102" fmla="*/ 18 w 55"/>
                  <a:gd name="T103"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 h="21">
                    <a:moveTo>
                      <a:pt x="17" y="1"/>
                    </a:moveTo>
                    <a:cubicBezTo>
                      <a:pt x="16" y="1"/>
                      <a:pt x="15" y="2"/>
                      <a:pt x="14" y="3"/>
                    </a:cubicBezTo>
                    <a:cubicBezTo>
                      <a:pt x="14" y="3"/>
                      <a:pt x="14" y="3"/>
                      <a:pt x="14" y="3"/>
                    </a:cubicBezTo>
                    <a:cubicBezTo>
                      <a:pt x="13" y="3"/>
                      <a:pt x="13" y="4"/>
                      <a:pt x="13" y="4"/>
                    </a:cubicBezTo>
                    <a:cubicBezTo>
                      <a:pt x="13" y="4"/>
                      <a:pt x="13" y="4"/>
                      <a:pt x="13" y="4"/>
                    </a:cubicBezTo>
                    <a:cubicBezTo>
                      <a:pt x="13" y="4"/>
                      <a:pt x="13" y="5"/>
                      <a:pt x="13" y="5"/>
                    </a:cubicBezTo>
                    <a:cubicBezTo>
                      <a:pt x="12" y="6"/>
                      <a:pt x="11" y="7"/>
                      <a:pt x="10" y="8"/>
                    </a:cubicBezTo>
                    <a:cubicBezTo>
                      <a:pt x="8" y="8"/>
                      <a:pt x="7" y="9"/>
                      <a:pt x="5" y="9"/>
                    </a:cubicBezTo>
                    <a:cubicBezTo>
                      <a:pt x="5" y="9"/>
                      <a:pt x="5" y="9"/>
                      <a:pt x="5" y="9"/>
                    </a:cubicBezTo>
                    <a:cubicBezTo>
                      <a:pt x="5" y="9"/>
                      <a:pt x="5" y="9"/>
                      <a:pt x="5" y="9"/>
                    </a:cubicBezTo>
                    <a:cubicBezTo>
                      <a:pt x="4" y="9"/>
                      <a:pt x="4" y="9"/>
                      <a:pt x="3" y="9"/>
                    </a:cubicBezTo>
                    <a:cubicBezTo>
                      <a:pt x="3" y="9"/>
                      <a:pt x="3" y="9"/>
                      <a:pt x="3" y="9"/>
                    </a:cubicBezTo>
                    <a:cubicBezTo>
                      <a:pt x="3" y="9"/>
                      <a:pt x="3" y="8"/>
                      <a:pt x="3" y="8"/>
                    </a:cubicBezTo>
                    <a:cubicBezTo>
                      <a:pt x="2" y="9"/>
                      <a:pt x="2" y="9"/>
                      <a:pt x="2" y="9"/>
                    </a:cubicBezTo>
                    <a:cubicBezTo>
                      <a:pt x="2" y="10"/>
                      <a:pt x="1" y="10"/>
                      <a:pt x="1" y="11"/>
                    </a:cubicBezTo>
                    <a:cubicBezTo>
                      <a:pt x="1" y="11"/>
                      <a:pt x="1" y="11"/>
                      <a:pt x="1" y="11"/>
                    </a:cubicBezTo>
                    <a:cubicBezTo>
                      <a:pt x="1" y="14"/>
                      <a:pt x="1" y="14"/>
                      <a:pt x="1" y="14"/>
                    </a:cubicBezTo>
                    <a:cubicBezTo>
                      <a:pt x="1" y="13"/>
                      <a:pt x="1" y="13"/>
                      <a:pt x="1" y="13"/>
                    </a:cubicBezTo>
                    <a:cubicBezTo>
                      <a:pt x="0" y="13"/>
                      <a:pt x="0" y="13"/>
                      <a:pt x="0" y="13"/>
                    </a:cubicBezTo>
                    <a:cubicBezTo>
                      <a:pt x="0" y="14"/>
                      <a:pt x="0" y="14"/>
                      <a:pt x="0" y="14"/>
                    </a:cubicBezTo>
                    <a:cubicBezTo>
                      <a:pt x="0" y="14"/>
                      <a:pt x="0" y="14"/>
                      <a:pt x="0" y="14"/>
                    </a:cubicBezTo>
                    <a:cubicBezTo>
                      <a:pt x="1" y="14"/>
                      <a:pt x="1" y="14"/>
                      <a:pt x="1" y="14"/>
                    </a:cubicBezTo>
                    <a:cubicBezTo>
                      <a:pt x="1" y="15"/>
                      <a:pt x="1" y="15"/>
                      <a:pt x="1" y="16"/>
                    </a:cubicBezTo>
                    <a:cubicBezTo>
                      <a:pt x="2" y="16"/>
                      <a:pt x="2" y="16"/>
                      <a:pt x="2" y="16"/>
                    </a:cubicBezTo>
                    <a:cubicBezTo>
                      <a:pt x="2" y="17"/>
                      <a:pt x="3" y="17"/>
                      <a:pt x="3" y="17"/>
                    </a:cubicBezTo>
                    <a:cubicBezTo>
                      <a:pt x="3" y="17"/>
                      <a:pt x="3" y="17"/>
                      <a:pt x="3" y="17"/>
                    </a:cubicBezTo>
                    <a:cubicBezTo>
                      <a:pt x="3" y="17"/>
                      <a:pt x="3" y="17"/>
                      <a:pt x="3" y="17"/>
                    </a:cubicBezTo>
                    <a:cubicBezTo>
                      <a:pt x="3" y="17"/>
                      <a:pt x="3" y="17"/>
                      <a:pt x="3" y="17"/>
                    </a:cubicBezTo>
                    <a:cubicBezTo>
                      <a:pt x="3" y="17"/>
                      <a:pt x="4" y="17"/>
                      <a:pt x="4" y="17"/>
                    </a:cubicBezTo>
                    <a:cubicBezTo>
                      <a:pt x="4" y="17"/>
                      <a:pt x="4" y="17"/>
                      <a:pt x="4" y="17"/>
                    </a:cubicBezTo>
                    <a:cubicBezTo>
                      <a:pt x="4" y="18"/>
                      <a:pt x="5" y="18"/>
                      <a:pt x="5" y="18"/>
                    </a:cubicBezTo>
                    <a:cubicBezTo>
                      <a:pt x="5" y="18"/>
                      <a:pt x="5" y="18"/>
                      <a:pt x="5" y="18"/>
                    </a:cubicBezTo>
                    <a:cubicBezTo>
                      <a:pt x="6" y="19"/>
                      <a:pt x="8" y="20"/>
                      <a:pt x="9" y="20"/>
                    </a:cubicBezTo>
                    <a:cubicBezTo>
                      <a:pt x="9" y="21"/>
                      <a:pt x="9" y="21"/>
                      <a:pt x="10" y="21"/>
                    </a:cubicBezTo>
                    <a:cubicBezTo>
                      <a:pt x="12" y="21"/>
                      <a:pt x="15" y="21"/>
                      <a:pt x="17" y="20"/>
                    </a:cubicBezTo>
                    <a:cubicBezTo>
                      <a:pt x="17" y="20"/>
                      <a:pt x="17" y="20"/>
                      <a:pt x="18" y="20"/>
                    </a:cubicBezTo>
                    <a:cubicBezTo>
                      <a:pt x="18" y="20"/>
                      <a:pt x="18" y="19"/>
                      <a:pt x="18" y="18"/>
                    </a:cubicBezTo>
                    <a:cubicBezTo>
                      <a:pt x="18" y="18"/>
                      <a:pt x="18" y="18"/>
                      <a:pt x="19" y="18"/>
                    </a:cubicBezTo>
                    <a:cubicBezTo>
                      <a:pt x="19" y="17"/>
                      <a:pt x="20" y="17"/>
                      <a:pt x="21" y="16"/>
                    </a:cubicBezTo>
                    <a:cubicBezTo>
                      <a:pt x="23" y="16"/>
                      <a:pt x="23" y="16"/>
                      <a:pt x="23" y="16"/>
                    </a:cubicBezTo>
                    <a:cubicBezTo>
                      <a:pt x="24" y="15"/>
                      <a:pt x="26" y="15"/>
                      <a:pt x="27" y="15"/>
                    </a:cubicBezTo>
                    <a:cubicBezTo>
                      <a:pt x="27" y="15"/>
                      <a:pt x="27" y="15"/>
                      <a:pt x="28" y="15"/>
                    </a:cubicBezTo>
                    <a:cubicBezTo>
                      <a:pt x="28" y="15"/>
                      <a:pt x="28" y="15"/>
                      <a:pt x="28" y="15"/>
                    </a:cubicBezTo>
                    <a:cubicBezTo>
                      <a:pt x="28" y="15"/>
                      <a:pt x="28" y="15"/>
                      <a:pt x="28" y="15"/>
                    </a:cubicBezTo>
                    <a:cubicBezTo>
                      <a:pt x="29" y="15"/>
                      <a:pt x="29" y="15"/>
                      <a:pt x="29" y="15"/>
                    </a:cubicBezTo>
                    <a:cubicBezTo>
                      <a:pt x="30" y="15"/>
                      <a:pt x="30" y="15"/>
                      <a:pt x="30" y="15"/>
                    </a:cubicBezTo>
                    <a:cubicBezTo>
                      <a:pt x="30" y="15"/>
                      <a:pt x="31" y="15"/>
                      <a:pt x="31" y="15"/>
                    </a:cubicBezTo>
                    <a:cubicBezTo>
                      <a:pt x="32" y="15"/>
                      <a:pt x="32" y="14"/>
                      <a:pt x="33" y="14"/>
                    </a:cubicBezTo>
                    <a:cubicBezTo>
                      <a:pt x="33" y="13"/>
                      <a:pt x="33" y="13"/>
                      <a:pt x="33" y="13"/>
                    </a:cubicBezTo>
                    <a:cubicBezTo>
                      <a:pt x="35" y="12"/>
                      <a:pt x="36" y="11"/>
                      <a:pt x="38" y="10"/>
                    </a:cubicBezTo>
                    <a:cubicBezTo>
                      <a:pt x="39" y="10"/>
                      <a:pt x="39" y="10"/>
                      <a:pt x="39" y="10"/>
                    </a:cubicBezTo>
                    <a:cubicBezTo>
                      <a:pt x="40" y="10"/>
                      <a:pt x="41" y="10"/>
                      <a:pt x="43" y="10"/>
                    </a:cubicBezTo>
                    <a:cubicBezTo>
                      <a:pt x="43" y="10"/>
                      <a:pt x="43" y="10"/>
                      <a:pt x="43" y="10"/>
                    </a:cubicBezTo>
                    <a:cubicBezTo>
                      <a:pt x="44" y="10"/>
                      <a:pt x="44" y="10"/>
                      <a:pt x="44" y="10"/>
                    </a:cubicBezTo>
                    <a:cubicBezTo>
                      <a:pt x="45" y="10"/>
                      <a:pt x="46" y="10"/>
                      <a:pt x="46" y="10"/>
                    </a:cubicBezTo>
                    <a:cubicBezTo>
                      <a:pt x="47" y="10"/>
                      <a:pt x="48" y="11"/>
                      <a:pt x="48" y="11"/>
                    </a:cubicBezTo>
                    <a:cubicBezTo>
                      <a:pt x="48" y="12"/>
                      <a:pt x="48" y="12"/>
                      <a:pt x="48" y="12"/>
                    </a:cubicBezTo>
                    <a:cubicBezTo>
                      <a:pt x="49" y="12"/>
                      <a:pt x="49" y="13"/>
                      <a:pt x="49" y="13"/>
                    </a:cubicBezTo>
                    <a:cubicBezTo>
                      <a:pt x="50" y="13"/>
                      <a:pt x="50" y="13"/>
                      <a:pt x="50" y="13"/>
                    </a:cubicBezTo>
                    <a:cubicBezTo>
                      <a:pt x="50" y="13"/>
                      <a:pt x="51" y="13"/>
                      <a:pt x="52" y="12"/>
                    </a:cubicBezTo>
                    <a:cubicBezTo>
                      <a:pt x="52" y="12"/>
                      <a:pt x="52" y="12"/>
                      <a:pt x="52" y="12"/>
                    </a:cubicBezTo>
                    <a:cubicBezTo>
                      <a:pt x="52" y="12"/>
                      <a:pt x="52" y="12"/>
                      <a:pt x="52" y="12"/>
                    </a:cubicBezTo>
                    <a:cubicBezTo>
                      <a:pt x="52" y="12"/>
                      <a:pt x="52" y="11"/>
                      <a:pt x="52" y="11"/>
                    </a:cubicBezTo>
                    <a:cubicBezTo>
                      <a:pt x="52" y="10"/>
                      <a:pt x="52" y="10"/>
                      <a:pt x="53" y="10"/>
                    </a:cubicBezTo>
                    <a:cubicBezTo>
                      <a:pt x="49" y="13"/>
                      <a:pt x="49" y="13"/>
                      <a:pt x="49" y="13"/>
                    </a:cubicBezTo>
                    <a:cubicBezTo>
                      <a:pt x="55" y="5"/>
                      <a:pt x="55" y="5"/>
                      <a:pt x="55" y="5"/>
                    </a:cubicBezTo>
                    <a:cubicBezTo>
                      <a:pt x="55" y="5"/>
                      <a:pt x="55" y="5"/>
                      <a:pt x="54" y="5"/>
                    </a:cubicBezTo>
                    <a:cubicBezTo>
                      <a:pt x="54" y="5"/>
                      <a:pt x="54" y="5"/>
                      <a:pt x="54" y="5"/>
                    </a:cubicBezTo>
                    <a:cubicBezTo>
                      <a:pt x="54" y="5"/>
                      <a:pt x="54" y="5"/>
                      <a:pt x="54" y="5"/>
                    </a:cubicBezTo>
                    <a:cubicBezTo>
                      <a:pt x="53" y="4"/>
                      <a:pt x="52" y="4"/>
                      <a:pt x="52" y="4"/>
                    </a:cubicBezTo>
                    <a:cubicBezTo>
                      <a:pt x="51" y="3"/>
                      <a:pt x="51" y="3"/>
                      <a:pt x="50" y="3"/>
                    </a:cubicBezTo>
                    <a:cubicBezTo>
                      <a:pt x="49" y="2"/>
                      <a:pt x="47" y="1"/>
                      <a:pt x="46" y="1"/>
                    </a:cubicBezTo>
                    <a:cubicBezTo>
                      <a:pt x="45" y="1"/>
                      <a:pt x="45" y="2"/>
                      <a:pt x="44" y="2"/>
                    </a:cubicBezTo>
                    <a:cubicBezTo>
                      <a:pt x="42" y="2"/>
                      <a:pt x="42" y="2"/>
                      <a:pt x="42" y="2"/>
                    </a:cubicBezTo>
                    <a:cubicBezTo>
                      <a:pt x="41" y="3"/>
                      <a:pt x="39" y="3"/>
                      <a:pt x="38" y="2"/>
                    </a:cubicBezTo>
                    <a:cubicBezTo>
                      <a:pt x="37" y="2"/>
                      <a:pt x="37" y="2"/>
                      <a:pt x="37" y="2"/>
                    </a:cubicBezTo>
                    <a:cubicBezTo>
                      <a:pt x="37" y="2"/>
                      <a:pt x="37" y="2"/>
                      <a:pt x="37" y="2"/>
                    </a:cubicBezTo>
                    <a:cubicBezTo>
                      <a:pt x="36" y="2"/>
                      <a:pt x="36" y="2"/>
                      <a:pt x="36" y="2"/>
                    </a:cubicBezTo>
                    <a:cubicBezTo>
                      <a:pt x="35" y="2"/>
                      <a:pt x="35" y="2"/>
                      <a:pt x="35" y="2"/>
                    </a:cubicBezTo>
                    <a:cubicBezTo>
                      <a:pt x="34" y="2"/>
                      <a:pt x="34" y="3"/>
                      <a:pt x="33" y="3"/>
                    </a:cubicBezTo>
                    <a:cubicBezTo>
                      <a:pt x="33" y="3"/>
                      <a:pt x="33" y="3"/>
                      <a:pt x="33" y="3"/>
                    </a:cubicBezTo>
                    <a:cubicBezTo>
                      <a:pt x="32" y="3"/>
                      <a:pt x="31" y="4"/>
                      <a:pt x="30" y="4"/>
                    </a:cubicBezTo>
                    <a:cubicBezTo>
                      <a:pt x="30" y="4"/>
                      <a:pt x="30" y="4"/>
                      <a:pt x="30" y="4"/>
                    </a:cubicBezTo>
                    <a:cubicBezTo>
                      <a:pt x="30" y="4"/>
                      <a:pt x="30" y="4"/>
                      <a:pt x="30" y="4"/>
                    </a:cubicBezTo>
                    <a:cubicBezTo>
                      <a:pt x="29" y="4"/>
                      <a:pt x="29" y="4"/>
                      <a:pt x="29" y="4"/>
                    </a:cubicBezTo>
                    <a:cubicBezTo>
                      <a:pt x="29" y="4"/>
                      <a:pt x="29" y="4"/>
                      <a:pt x="29" y="4"/>
                    </a:cubicBezTo>
                    <a:cubicBezTo>
                      <a:pt x="29" y="4"/>
                      <a:pt x="29" y="4"/>
                      <a:pt x="29" y="4"/>
                    </a:cubicBezTo>
                    <a:cubicBezTo>
                      <a:pt x="28" y="4"/>
                      <a:pt x="28" y="4"/>
                      <a:pt x="28" y="4"/>
                    </a:cubicBezTo>
                    <a:cubicBezTo>
                      <a:pt x="28" y="4"/>
                      <a:pt x="28" y="4"/>
                      <a:pt x="28" y="4"/>
                    </a:cubicBezTo>
                    <a:cubicBezTo>
                      <a:pt x="27" y="4"/>
                      <a:pt x="27" y="4"/>
                      <a:pt x="27" y="4"/>
                    </a:cubicBezTo>
                    <a:cubicBezTo>
                      <a:pt x="28" y="3"/>
                      <a:pt x="28" y="3"/>
                      <a:pt x="28" y="3"/>
                    </a:cubicBezTo>
                    <a:cubicBezTo>
                      <a:pt x="28" y="3"/>
                      <a:pt x="28" y="3"/>
                      <a:pt x="28" y="3"/>
                    </a:cubicBezTo>
                    <a:cubicBezTo>
                      <a:pt x="27" y="2"/>
                      <a:pt x="28" y="2"/>
                      <a:pt x="28" y="1"/>
                    </a:cubicBezTo>
                    <a:cubicBezTo>
                      <a:pt x="27" y="1"/>
                      <a:pt x="26" y="0"/>
                      <a:pt x="26" y="0"/>
                    </a:cubicBezTo>
                    <a:cubicBezTo>
                      <a:pt x="25" y="0"/>
                      <a:pt x="24" y="1"/>
                      <a:pt x="23" y="1"/>
                    </a:cubicBezTo>
                    <a:cubicBezTo>
                      <a:pt x="23" y="1"/>
                      <a:pt x="22" y="1"/>
                      <a:pt x="22" y="1"/>
                    </a:cubicBezTo>
                    <a:cubicBezTo>
                      <a:pt x="22" y="1"/>
                      <a:pt x="22" y="1"/>
                      <a:pt x="22" y="1"/>
                    </a:cubicBezTo>
                    <a:cubicBezTo>
                      <a:pt x="22" y="1"/>
                      <a:pt x="21" y="1"/>
                      <a:pt x="21" y="1"/>
                    </a:cubicBezTo>
                    <a:cubicBezTo>
                      <a:pt x="21" y="1"/>
                      <a:pt x="21" y="1"/>
                      <a:pt x="21" y="1"/>
                    </a:cubicBezTo>
                    <a:cubicBezTo>
                      <a:pt x="21" y="1"/>
                      <a:pt x="20" y="1"/>
                      <a:pt x="20" y="1"/>
                    </a:cubicBezTo>
                    <a:cubicBezTo>
                      <a:pt x="20" y="0"/>
                      <a:pt x="20" y="0"/>
                      <a:pt x="20" y="0"/>
                    </a:cubicBezTo>
                    <a:cubicBezTo>
                      <a:pt x="19" y="0"/>
                      <a:pt x="19" y="0"/>
                      <a:pt x="19" y="0"/>
                    </a:cubicBezTo>
                    <a:cubicBezTo>
                      <a:pt x="19" y="0"/>
                      <a:pt x="19" y="0"/>
                      <a:pt x="19" y="0"/>
                    </a:cubicBezTo>
                    <a:cubicBezTo>
                      <a:pt x="19" y="0"/>
                      <a:pt x="18" y="1"/>
                      <a:pt x="18" y="1"/>
                    </a:cubicBezTo>
                    <a:lnTo>
                      <a:pt x="1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4" name="Freeform 3116">
                <a:extLst>
                  <a:ext uri="{FF2B5EF4-FFF2-40B4-BE49-F238E27FC236}">
                    <a16:creationId xmlns:a16="http://schemas.microsoft.com/office/drawing/2014/main" id="{553F5DB4-E701-40EB-BF27-E6070801596F}"/>
                  </a:ext>
                </a:extLst>
              </p:cNvPr>
              <p:cNvSpPr>
                <a:spLocks/>
              </p:cNvSpPr>
              <p:nvPr/>
            </p:nvSpPr>
            <p:spPr bwMode="auto">
              <a:xfrm>
                <a:off x="3882" y="1298"/>
                <a:ext cx="246" cy="184"/>
              </a:xfrm>
              <a:custGeom>
                <a:avLst/>
                <a:gdLst>
                  <a:gd name="T0" fmla="*/ 8 w 104"/>
                  <a:gd name="T1" fmla="*/ 15 h 78"/>
                  <a:gd name="T2" fmla="*/ 6 w 104"/>
                  <a:gd name="T3" fmla="*/ 18 h 78"/>
                  <a:gd name="T4" fmla="*/ 6 w 104"/>
                  <a:gd name="T5" fmla="*/ 27 h 78"/>
                  <a:gd name="T6" fmla="*/ 6 w 104"/>
                  <a:gd name="T7" fmla="*/ 28 h 78"/>
                  <a:gd name="T8" fmla="*/ 9 w 104"/>
                  <a:gd name="T9" fmla="*/ 32 h 78"/>
                  <a:gd name="T10" fmla="*/ 9 w 104"/>
                  <a:gd name="T11" fmla="*/ 36 h 78"/>
                  <a:gd name="T12" fmla="*/ 9 w 104"/>
                  <a:gd name="T13" fmla="*/ 43 h 78"/>
                  <a:gd name="T14" fmla="*/ 11 w 104"/>
                  <a:gd name="T15" fmla="*/ 46 h 78"/>
                  <a:gd name="T16" fmla="*/ 13 w 104"/>
                  <a:gd name="T17" fmla="*/ 49 h 78"/>
                  <a:gd name="T18" fmla="*/ 13 w 104"/>
                  <a:gd name="T19" fmla="*/ 52 h 78"/>
                  <a:gd name="T20" fmla="*/ 16 w 104"/>
                  <a:gd name="T21" fmla="*/ 54 h 78"/>
                  <a:gd name="T22" fmla="*/ 17 w 104"/>
                  <a:gd name="T23" fmla="*/ 56 h 78"/>
                  <a:gd name="T24" fmla="*/ 25 w 104"/>
                  <a:gd name="T25" fmla="*/ 57 h 78"/>
                  <a:gd name="T26" fmla="*/ 27 w 104"/>
                  <a:gd name="T27" fmla="*/ 61 h 78"/>
                  <a:gd name="T28" fmla="*/ 28 w 104"/>
                  <a:gd name="T29" fmla="*/ 63 h 78"/>
                  <a:gd name="T30" fmla="*/ 30 w 104"/>
                  <a:gd name="T31" fmla="*/ 64 h 78"/>
                  <a:gd name="T32" fmla="*/ 33 w 104"/>
                  <a:gd name="T33" fmla="*/ 61 h 78"/>
                  <a:gd name="T34" fmla="*/ 35 w 104"/>
                  <a:gd name="T35" fmla="*/ 61 h 78"/>
                  <a:gd name="T36" fmla="*/ 39 w 104"/>
                  <a:gd name="T37" fmla="*/ 62 h 78"/>
                  <a:gd name="T38" fmla="*/ 41 w 104"/>
                  <a:gd name="T39" fmla="*/ 66 h 78"/>
                  <a:gd name="T40" fmla="*/ 45 w 104"/>
                  <a:gd name="T41" fmla="*/ 66 h 78"/>
                  <a:gd name="T42" fmla="*/ 50 w 104"/>
                  <a:gd name="T43" fmla="*/ 70 h 78"/>
                  <a:gd name="T44" fmla="*/ 54 w 104"/>
                  <a:gd name="T45" fmla="*/ 74 h 78"/>
                  <a:gd name="T46" fmla="*/ 54 w 104"/>
                  <a:gd name="T47" fmla="*/ 74 h 78"/>
                  <a:gd name="T48" fmla="*/ 59 w 104"/>
                  <a:gd name="T49" fmla="*/ 71 h 78"/>
                  <a:gd name="T50" fmla="*/ 61 w 104"/>
                  <a:gd name="T51" fmla="*/ 74 h 78"/>
                  <a:gd name="T52" fmla="*/ 62 w 104"/>
                  <a:gd name="T53" fmla="*/ 76 h 78"/>
                  <a:gd name="T54" fmla="*/ 66 w 104"/>
                  <a:gd name="T55" fmla="*/ 75 h 78"/>
                  <a:gd name="T56" fmla="*/ 70 w 104"/>
                  <a:gd name="T57" fmla="*/ 75 h 78"/>
                  <a:gd name="T58" fmla="*/ 78 w 104"/>
                  <a:gd name="T59" fmla="*/ 74 h 78"/>
                  <a:gd name="T60" fmla="*/ 89 w 104"/>
                  <a:gd name="T61" fmla="*/ 78 h 78"/>
                  <a:gd name="T62" fmla="*/ 89 w 104"/>
                  <a:gd name="T63" fmla="*/ 76 h 78"/>
                  <a:gd name="T64" fmla="*/ 99 w 104"/>
                  <a:gd name="T65" fmla="*/ 63 h 78"/>
                  <a:gd name="T66" fmla="*/ 104 w 104"/>
                  <a:gd name="T67" fmla="*/ 59 h 78"/>
                  <a:gd name="T68" fmla="*/ 103 w 104"/>
                  <a:gd name="T69" fmla="*/ 55 h 78"/>
                  <a:gd name="T70" fmla="*/ 99 w 104"/>
                  <a:gd name="T71" fmla="*/ 48 h 78"/>
                  <a:gd name="T72" fmla="*/ 96 w 104"/>
                  <a:gd name="T73" fmla="*/ 47 h 78"/>
                  <a:gd name="T74" fmla="*/ 98 w 104"/>
                  <a:gd name="T75" fmla="*/ 45 h 78"/>
                  <a:gd name="T76" fmla="*/ 99 w 104"/>
                  <a:gd name="T77" fmla="*/ 42 h 78"/>
                  <a:gd name="T78" fmla="*/ 97 w 104"/>
                  <a:gd name="T79" fmla="*/ 38 h 78"/>
                  <a:gd name="T80" fmla="*/ 101 w 104"/>
                  <a:gd name="T81" fmla="*/ 30 h 78"/>
                  <a:gd name="T82" fmla="*/ 102 w 104"/>
                  <a:gd name="T83" fmla="*/ 29 h 78"/>
                  <a:gd name="T84" fmla="*/ 98 w 104"/>
                  <a:gd name="T85" fmla="*/ 14 h 78"/>
                  <a:gd name="T86" fmla="*/ 97 w 104"/>
                  <a:gd name="T87" fmla="*/ 11 h 78"/>
                  <a:gd name="T88" fmla="*/ 92 w 104"/>
                  <a:gd name="T89" fmla="*/ 9 h 78"/>
                  <a:gd name="T90" fmla="*/ 61 w 104"/>
                  <a:gd name="T91" fmla="*/ 8 h 78"/>
                  <a:gd name="T92" fmla="*/ 57 w 104"/>
                  <a:gd name="T93" fmla="*/ 9 h 78"/>
                  <a:gd name="T94" fmla="*/ 53 w 104"/>
                  <a:gd name="T95" fmla="*/ 8 h 78"/>
                  <a:gd name="T96" fmla="*/ 51 w 104"/>
                  <a:gd name="T97" fmla="*/ 4 h 78"/>
                  <a:gd name="T98" fmla="*/ 15 w 104"/>
                  <a:gd name="T99" fmla="*/ 11 h 78"/>
                  <a:gd name="T100" fmla="*/ 2 w 104"/>
                  <a:gd name="T101" fmla="*/ 1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78">
                    <a:moveTo>
                      <a:pt x="2" y="15"/>
                    </a:moveTo>
                    <a:cubicBezTo>
                      <a:pt x="2" y="15"/>
                      <a:pt x="2" y="14"/>
                      <a:pt x="3" y="14"/>
                    </a:cubicBezTo>
                    <a:cubicBezTo>
                      <a:pt x="3" y="14"/>
                      <a:pt x="4" y="15"/>
                      <a:pt x="4" y="14"/>
                    </a:cubicBezTo>
                    <a:cubicBezTo>
                      <a:pt x="6" y="15"/>
                      <a:pt x="7" y="15"/>
                      <a:pt x="8" y="15"/>
                    </a:cubicBezTo>
                    <a:cubicBezTo>
                      <a:pt x="8" y="15"/>
                      <a:pt x="8" y="16"/>
                      <a:pt x="8" y="16"/>
                    </a:cubicBezTo>
                    <a:cubicBezTo>
                      <a:pt x="8" y="17"/>
                      <a:pt x="8" y="18"/>
                      <a:pt x="8" y="18"/>
                    </a:cubicBezTo>
                    <a:cubicBezTo>
                      <a:pt x="8" y="18"/>
                      <a:pt x="7" y="17"/>
                      <a:pt x="6" y="17"/>
                    </a:cubicBezTo>
                    <a:cubicBezTo>
                      <a:pt x="6" y="18"/>
                      <a:pt x="6" y="18"/>
                      <a:pt x="6" y="18"/>
                    </a:cubicBezTo>
                    <a:cubicBezTo>
                      <a:pt x="6" y="19"/>
                      <a:pt x="6" y="19"/>
                      <a:pt x="6" y="19"/>
                    </a:cubicBezTo>
                    <a:cubicBezTo>
                      <a:pt x="7" y="19"/>
                      <a:pt x="7" y="19"/>
                      <a:pt x="7" y="19"/>
                    </a:cubicBezTo>
                    <a:cubicBezTo>
                      <a:pt x="7" y="21"/>
                      <a:pt x="7" y="22"/>
                      <a:pt x="7" y="24"/>
                    </a:cubicBezTo>
                    <a:cubicBezTo>
                      <a:pt x="7" y="25"/>
                      <a:pt x="7" y="26"/>
                      <a:pt x="6" y="27"/>
                    </a:cubicBezTo>
                    <a:cubicBezTo>
                      <a:pt x="6" y="27"/>
                      <a:pt x="6" y="27"/>
                      <a:pt x="6" y="27"/>
                    </a:cubicBezTo>
                    <a:cubicBezTo>
                      <a:pt x="5" y="27"/>
                      <a:pt x="5" y="28"/>
                      <a:pt x="5" y="28"/>
                    </a:cubicBezTo>
                    <a:cubicBezTo>
                      <a:pt x="5" y="28"/>
                      <a:pt x="5" y="28"/>
                      <a:pt x="5" y="28"/>
                    </a:cubicBezTo>
                    <a:cubicBezTo>
                      <a:pt x="5" y="28"/>
                      <a:pt x="5" y="28"/>
                      <a:pt x="6" y="28"/>
                    </a:cubicBezTo>
                    <a:cubicBezTo>
                      <a:pt x="6" y="29"/>
                      <a:pt x="6" y="29"/>
                      <a:pt x="6" y="29"/>
                    </a:cubicBezTo>
                    <a:cubicBezTo>
                      <a:pt x="7" y="30"/>
                      <a:pt x="7" y="30"/>
                      <a:pt x="8" y="31"/>
                    </a:cubicBezTo>
                    <a:cubicBezTo>
                      <a:pt x="8" y="31"/>
                      <a:pt x="9" y="31"/>
                      <a:pt x="9" y="31"/>
                    </a:cubicBezTo>
                    <a:cubicBezTo>
                      <a:pt x="9" y="32"/>
                      <a:pt x="9" y="32"/>
                      <a:pt x="9" y="32"/>
                    </a:cubicBezTo>
                    <a:cubicBezTo>
                      <a:pt x="10" y="33"/>
                      <a:pt x="9" y="34"/>
                      <a:pt x="9" y="34"/>
                    </a:cubicBezTo>
                    <a:cubicBezTo>
                      <a:pt x="9" y="35"/>
                      <a:pt x="9" y="35"/>
                      <a:pt x="9" y="35"/>
                    </a:cubicBezTo>
                    <a:cubicBezTo>
                      <a:pt x="9" y="35"/>
                      <a:pt x="9" y="35"/>
                      <a:pt x="9" y="36"/>
                    </a:cubicBezTo>
                    <a:cubicBezTo>
                      <a:pt x="9" y="36"/>
                      <a:pt x="9" y="36"/>
                      <a:pt x="9" y="36"/>
                    </a:cubicBezTo>
                    <a:cubicBezTo>
                      <a:pt x="10" y="37"/>
                      <a:pt x="10" y="37"/>
                      <a:pt x="10" y="37"/>
                    </a:cubicBezTo>
                    <a:cubicBezTo>
                      <a:pt x="10" y="37"/>
                      <a:pt x="10" y="37"/>
                      <a:pt x="10" y="38"/>
                    </a:cubicBezTo>
                    <a:cubicBezTo>
                      <a:pt x="10" y="38"/>
                      <a:pt x="10" y="39"/>
                      <a:pt x="10" y="39"/>
                    </a:cubicBezTo>
                    <a:cubicBezTo>
                      <a:pt x="10" y="41"/>
                      <a:pt x="10" y="41"/>
                      <a:pt x="9" y="43"/>
                    </a:cubicBezTo>
                    <a:cubicBezTo>
                      <a:pt x="9" y="43"/>
                      <a:pt x="10" y="43"/>
                      <a:pt x="10" y="44"/>
                    </a:cubicBezTo>
                    <a:cubicBezTo>
                      <a:pt x="10" y="44"/>
                      <a:pt x="10" y="44"/>
                      <a:pt x="10" y="44"/>
                    </a:cubicBezTo>
                    <a:cubicBezTo>
                      <a:pt x="10" y="45"/>
                      <a:pt x="11" y="45"/>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2" y="47"/>
                      <a:pt x="13" y="48"/>
                      <a:pt x="13" y="49"/>
                    </a:cubicBezTo>
                    <a:cubicBezTo>
                      <a:pt x="13" y="49"/>
                      <a:pt x="14" y="50"/>
                      <a:pt x="14" y="50"/>
                    </a:cubicBezTo>
                    <a:cubicBezTo>
                      <a:pt x="14" y="50"/>
                      <a:pt x="14" y="50"/>
                      <a:pt x="14" y="50"/>
                    </a:cubicBezTo>
                    <a:cubicBezTo>
                      <a:pt x="14" y="51"/>
                      <a:pt x="14" y="51"/>
                      <a:pt x="13" y="51"/>
                    </a:cubicBezTo>
                    <a:cubicBezTo>
                      <a:pt x="13" y="52"/>
                      <a:pt x="13" y="52"/>
                      <a:pt x="13" y="52"/>
                    </a:cubicBezTo>
                    <a:cubicBezTo>
                      <a:pt x="13" y="52"/>
                      <a:pt x="13" y="52"/>
                      <a:pt x="13" y="52"/>
                    </a:cubicBezTo>
                    <a:cubicBezTo>
                      <a:pt x="14" y="52"/>
                      <a:pt x="14" y="52"/>
                      <a:pt x="14" y="52"/>
                    </a:cubicBezTo>
                    <a:cubicBezTo>
                      <a:pt x="15" y="53"/>
                      <a:pt x="15" y="53"/>
                      <a:pt x="16" y="54"/>
                    </a:cubicBezTo>
                    <a:cubicBezTo>
                      <a:pt x="16" y="54"/>
                      <a:pt x="16" y="54"/>
                      <a:pt x="16" y="54"/>
                    </a:cubicBezTo>
                    <a:cubicBezTo>
                      <a:pt x="16" y="55"/>
                      <a:pt x="16" y="55"/>
                      <a:pt x="17" y="56"/>
                    </a:cubicBezTo>
                    <a:cubicBezTo>
                      <a:pt x="17" y="56"/>
                      <a:pt x="17" y="56"/>
                      <a:pt x="17" y="56"/>
                    </a:cubicBezTo>
                    <a:cubicBezTo>
                      <a:pt x="17" y="56"/>
                      <a:pt x="17" y="56"/>
                      <a:pt x="17" y="56"/>
                    </a:cubicBezTo>
                    <a:cubicBezTo>
                      <a:pt x="17" y="56"/>
                      <a:pt x="17" y="56"/>
                      <a:pt x="17" y="56"/>
                    </a:cubicBezTo>
                    <a:cubicBezTo>
                      <a:pt x="18" y="56"/>
                      <a:pt x="18" y="56"/>
                      <a:pt x="18" y="56"/>
                    </a:cubicBezTo>
                    <a:cubicBezTo>
                      <a:pt x="23" y="57"/>
                      <a:pt x="23" y="57"/>
                      <a:pt x="23" y="57"/>
                    </a:cubicBezTo>
                    <a:cubicBezTo>
                      <a:pt x="23" y="57"/>
                      <a:pt x="24" y="57"/>
                      <a:pt x="24" y="57"/>
                    </a:cubicBezTo>
                    <a:cubicBezTo>
                      <a:pt x="24" y="57"/>
                      <a:pt x="25" y="57"/>
                      <a:pt x="25" y="57"/>
                    </a:cubicBezTo>
                    <a:cubicBezTo>
                      <a:pt x="26" y="57"/>
                      <a:pt x="26" y="57"/>
                      <a:pt x="26" y="57"/>
                    </a:cubicBezTo>
                    <a:cubicBezTo>
                      <a:pt x="27" y="58"/>
                      <a:pt x="27" y="58"/>
                      <a:pt x="27" y="59"/>
                    </a:cubicBezTo>
                    <a:cubicBezTo>
                      <a:pt x="27" y="60"/>
                      <a:pt x="27" y="60"/>
                      <a:pt x="27" y="60"/>
                    </a:cubicBezTo>
                    <a:cubicBezTo>
                      <a:pt x="27" y="60"/>
                      <a:pt x="27" y="61"/>
                      <a:pt x="27" y="61"/>
                    </a:cubicBezTo>
                    <a:cubicBezTo>
                      <a:pt x="26" y="62"/>
                      <a:pt x="26" y="62"/>
                      <a:pt x="26" y="62"/>
                    </a:cubicBezTo>
                    <a:cubicBezTo>
                      <a:pt x="27" y="62"/>
                      <a:pt x="27" y="62"/>
                      <a:pt x="27" y="62"/>
                    </a:cubicBezTo>
                    <a:cubicBezTo>
                      <a:pt x="27" y="62"/>
                      <a:pt x="27" y="62"/>
                      <a:pt x="27" y="62"/>
                    </a:cubicBezTo>
                    <a:cubicBezTo>
                      <a:pt x="27" y="63"/>
                      <a:pt x="28" y="63"/>
                      <a:pt x="28" y="63"/>
                    </a:cubicBezTo>
                    <a:cubicBezTo>
                      <a:pt x="28" y="64"/>
                      <a:pt x="29" y="64"/>
                      <a:pt x="29" y="64"/>
                    </a:cubicBezTo>
                    <a:cubicBezTo>
                      <a:pt x="29" y="64"/>
                      <a:pt x="29" y="64"/>
                      <a:pt x="29" y="64"/>
                    </a:cubicBezTo>
                    <a:cubicBezTo>
                      <a:pt x="29" y="64"/>
                      <a:pt x="30" y="64"/>
                      <a:pt x="30" y="64"/>
                    </a:cubicBezTo>
                    <a:cubicBezTo>
                      <a:pt x="30" y="64"/>
                      <a:pt x="30" y="64"/>
                      <a:pt x="30" y="64"/>
                    </a:cubicBezTo>
                    <a:cubicBezTo>
                      <a:pt x="31" y="64"/>
                      <a:pt x="31" y="63"/>
                      <a:pt x="31" y="63"/>
                    </a:cubicBezTo>
                    <a:cubicBezTo>
                      <a:pt x="31" y="63"/>
                      <a:pt x="31" y="63"/>
                      <a:pt x="31" y="63"/>
                    </a:cubicBezTo>
                    <a:cubicBezTo>
                      <a:pt x="29" y="60"/>
                      <a:pt x="29" y="60"/>
                      <a:pt x="29" y="60"/>
                    </a:cubicBezTo>
                    <a:cubicBezTo>
                      <a:pt x="33" y="61"/>
                      <a:pt x="33" y="61"/>
                      <a:pt x="33" y="61"/>
                    </a:cubicBezTo>
                    <a:cubicBezTo>
                      <a:pt x="34" y="61"/>
                      <a:pt x="34" y="61"/>
                      <a:pt x="34" y="61"/>
                    </a:cubicBezTo>
                    <a:cubicBezTo>
                      <a:pt x="34" y="61"/>
                      <a:pt x="34" y="61"/>
                      <a:pt x="34" y="61"/>
                    </a:cubicBezTo>
                    <a:cubicBezTo>
                      <a:pt x="35" y="61"/>
                      <a:pt x="35" y="61"/>
                      <a:pt x="35" y="61"/>
                    </a:cubicBezTo>
                    <a:cubicBezTo>
                      <a:pt x="35" y="61"/>
                      <a:pt x="35" y="61"/>
                      <a:pt x="35" y="61"/>
                    </a:cubicBezTo>
                    <a:cubicBezTo>
                      <a:pt x="35" y="61"/>
                      <a:pt x="36" y="61"/>
                      <a:pt x="36" y="61"/>
                    </a:cubicBezTo>
                    <a:cubicBezTo>
                      <a:pt x="36" y="62"/>
                      <a:pt x="36" y="62"/>
                      <a:pt x="36" y="62"/>
                    </a:cubicBezTo>
                    <a:cubicBezTo>
                      <a:pt x="37" y="62"/>
                      <a:pt x="38" y="62"/>
                      <a:pt x="39" y="62"/>
                    </a:cubicBezTo>
                    <a:cubicBezTo>
                      <a:pt x="39" y="62"/>
                      <a:pt x="39" y="62"/>
                      <a:pt x="39" y="62"/>
                    </a:cubicBezTo>
                    <a:cubicBezTo>
                      <a:pt x="41" y="59"/>
                      <a:pt x="41" y="59"/>
                      <a:pt x="41" y="59"/>
                    </a:cubicBezTo>
                    <a:cubicBezTo>
                      <a:pt x="41" y="63"/>
                      <a:pt x="41" y="63"/>
                      <a:pt x="41" y="63"/>
                    </a:cubicBezTo>
                    <a:cubicBezTo>
                      <a:pt x="41" y="64"/>
                      <a:pt x="41" y="65"/>
                      <a:pt x="41" y="65"/>
                    </a:cubicBezTo>
                    <a:cubicBezTo>
                      <a:pt x="41" y="66"/>
                      <a:pt x="41" y="66"/>
                      <a:pt x="41" y="66"/>
                    </a:cubicBezTo>
                    <a:cubicBezTo>
                      <a:pt x="41" y="66"/>
                      <a:pt x="41" y="66"/>
                      <a:pt x="42" y="66"/>
                    </a:cubicBezTo>
                    <a:cubicBezTo>
                      <a:pt x="42" y="66"/>
                      <a:pt x="42" y="66"/>
                      <a:pt x="42" y="66"/>
                    </a:cubicBezTo>
                    <a:cubicBezTo>
                      <a:pt x="42" y="66"/>
                      <a:pt x="42" y="66"/>
                      <a:pt x="42" y="66"/>
                    </a:cubicBezTo>
                    <a:cubicBezTo>
                      <a:pt x="43" y="66"/>
                      <a:pt x="43" y="65"/>
                      <a:pt x="45" y="66"/>
                    </a:cubicBezTo>
                    <a:cubicBezTo>
                      <a:pt x="46" y="65"/>
                      <a:pt x="46" y="65"/>
                      <a:pt x="46" y="65"/>
                    </a:cubicBezTo>
                    <a:cubicBezTo>
                      <a:pt x="45" y="66"/>
                      <a:pt x="45" y="66"/>
                      <a:pt x="45" y="66"/>
                    </a:cubicBezTo>
                    <a:cubicBezTo>
                      <a:pt x="46" y="67"/>
                      <a:pt x="46" y="67"/>
                      <a:pt x="46" y="67"/>
                    </a:cubicBezTo>
                    <a:cubicBezTo>
                      <a:pt x="48" y="68"/>
                      <a:pt x="49" y="68"/>
                      <a:pt x="50" y="70"/>
                    </a:cubicBezTo>
                    <a:cubicBezTo>
                      <a:pt x="51" y="71"/>
                      <a:pt x="51" y="71"/>
                      <a:pt x="52" y="72"/>
                    </a:cubicBezTo>
                    <a:cubicBezTo>
                      <a:pt x="52" y="72"/>
                      <a:pt x="52" y="72"/>
                      <a:pt x="52" y="72"/>
                    </a:cubicBezTo>
                    <a:cubicBezTo>
                      <a:pt x="52" y="72"/>
                      <a:pt x="52" y="72"/>
                      <a:pt x="52" y="73"/>
                    </a:cubicBezTo>
                    <a:cubicBezTo>
                      <a:pt x="54" y="74"/>
                      <a:pt x="54" y="74"/>
                      <a:pt x="54" y="74"/>
                    </a:cubicBezTo>
                    <a:cubicBezTo>
                      <a:pt x="54" y="74"/>
                      <a:pt x="54" y="74"/>
                      <a:pt x="54" y="74"/>
                    </a:cubicBezTo>
                    <a:cubicBezTo>
                      <a:pt x="54" y="74"/>
                      <a:pt x="54" y="74"/>
                      <a:pt x="54" y="74"/>
                    </a:cubicBezTo>
                    <a:cubicBezTo>
                      <a:pt x="54" y="74"/>
                      <a:pt x="54" y="74"/>
                      <a:pt x="54" y="74"/>
                    </a:cubicBezTo>
                    <a:cubicBezTo>
                      <a:pt x="54" y="74"/>
                      <a:pt x="54" y="74"/>
                      <a:pt x="54" y="74"/>
                    </a:cubicBezTo>
                    <a:cubicBezTo>
                      <a:pt x="55" y="74"/>
                      <a:pt x="56" y="73"/>
                      <a:pt x="57" y="73"/>
                    </a:cubicBezTo>
                    <a:cubicBezTo>
                      <a:pt x="57" y="72"/>
                      <a:pt x="57" y="72"/>
                      <a:pt x="57" y="72"/>
                    </a:cubicBezTo>
                    <a:cubicBezTo>
                      <a:pt x="57" y="72"/>
                      <a:pt x="57" y="72"/>
                      <a:pt x="58" y="72"/>
                    </a:cubicBezTo>
                    <a:cubicBezTo>
                      <a:pt x="59" y="71"/>
                      <a:pt x="59" y="71"/>
                      <a:pt x="59" y="71"/>
                    </a:cubicBezTo>
                    <a:cubicBezTo>
                      <a:pt x="59" y="72"/>
                      <a:pt x="59" y="72"/>
                      <a:pt x="59" y="72"/>
                    </a:cubicBezTo>
                    <a:cubicBezTo>
                      <a:pt x="60" y="73"/>
                      <a:pt x="60" y="74"/>
                      <a:pt x="60" y="74"/>
                    </a:cubicBezTo>
                    <a:cubicBezTo>
                      <a:pt x="60" y="74"/>
                      <a:pt x="60" y="74"/>
                      <a:pt x="61" y="74"/>
                    </a:cubicBezTo>
                    <a:cubicBezTo>
                      <a:pt x="61" y="74"/>
                      <a:pt x="61" y="74"/>
                      <a:pt x="61" y="74"/>
                    </a:cubicBezTo>
                    <a:cubicBezTo>
                      <a:pt x="62" y="74"/>
                      <a:pt x="62" y="74"/>
                      <a:pt x="62" y="74"/>
                    </a:cubicBezTo>
                    <a:cubicBezTo>
                      <a:pt x="62" y="75"/>
                      <a:pt x="62" y="75"/>
                      <a:pt x="62" y="75"/>
                    </a:cubicBezTo>
                    <a:cubicBezTo>
                      <a:pt x="62" y="75"/>
                      <a:pt x="62" y="76"/>
                      <a:pt x="62" y="76"/>
                    </a:cubicBezTo>
                    <a:cubicBezTo>
                      <a:pt x="62" y="76"/>
                      <a:pt x="62" y="76"/>
                      <a:pt x="62" y="76"/>
                    </a:cubicBezTo>
                    <a:cubicBezTo>
                      <a:pt x="62" y="76"/>
                      <a:pt x="62" y="76"/>
                      <a:pt x="62" y="77"/>
                    </a:cubicBezTo>
                    <a:cubicBezTo>
                      <a:pt x="63" y="76"/>
                      <a:pt x="63" y="76"/>
                      <a:pt x="63" y="76"/>
                    </a:cubicBezTo>
                    <a:cubicBezTo>
                      <a:pt x="64" y="76"/>
                      <a:pt x="64" y="76"/>
                      <a:pt x="64" y="76"/>
                    </a:cubicBezTo>
                    <a:cubicBezTo>
                      <a:pt x="65" y="75"/>
                      <a:pt x="65" y="75"/>
                      <a:pt x="66" y="75"/>
                    </a:cubicBezTo>
                    <a:cubicBezTo>
                      <a:pt x="66" y="75"/>
                      <a:pt x="67" y="74"/>
                      <a:pt x="67" y="74"/>
                    </a:cubicBezTo>
                    <a:cubicBezTo>
                      <a:pt x="67" y="74"/>
                      <a:pt x="67" y="74"/>
                      <a:pt x="68" y="74"/>
                    </a:cubicBezTo>
                    <a:cubicBezTo>
                      <a:pt x="68" y="74"/>
                      <a:pt x="69" y="74"/>
                      <a:pt x="69" y="74"/>
                    </a:cubicBezTo>
                    <a:cubicBezTo>
                      <a:pt x="69" y="74"/>
                      <a:pt x="70" y="75"/>
                      <a:pt x="70" y="75"/>
                    </a:cubicBezTo>
                    <a:cubicBezTo>
                      <a:pt x="72" y="75"/>
                      <a:pt x="73" y="75"/>
                      <a:pt x="73" y="75"/>
                    </a:cubicBezTo>
                    <a:cubicBezTo>
                      <a:pt x="75" y="75"/>
                      <a:pt x="75" y="75"/>
                      <a:pt x="75" y="75"/>
                    </a:cubicBezTo>
                    <a:cubicBezTo>
                      <a:pt x="76" y="74"/>
                      <a:pt x="77" y="74"/>
                      <a:pt x="78" y="74"/>
                    </a:cubicBezTo>
                    <a:cubicBezTo>
                      <a:pt x="78" y="74"/>
                      <a:pt x="78" y="74"/>
                      <a:pt x="78" y="74"/>
                    </a:cubicBezTo>
                    <a:cubicBezTo>
                      <a:pt x="80" y="74"/>
                      <a:pt x="83" y="75"/>
                      <a:pt x="85" y="77"/>
                    </a:cubicBezTo>
                    <a:cubicBezTo>
                      <a:pt x="86" y="77"/>
                      <a:pt x="86" y="77"/>
                      <a:pt x="87" y="78"/>
                    </a:cubicBezTo>
                    <a:cubicBezTo>
                      <a:pt x="87" y="78"/>
                      <a:pt x="88" y="78"/>
                      <a:pt x="88" y="78"/>
                    </a:cubicBezTo>
                    <a:cubicBezTo>
                      <a:pt x="88" y="78"/>
                      <a:pt x="89" y="78"/>
                      <a:pt x="89" y="78"/>
                    </a:cubicBezTo>
                    <a:cubicBezTo>
                      <a:pt x="90" y="78"/>
                      <a:pt x="90" y="78"/>
                      <a:pt x="90" y="78"/>
                    </a:cubicBezTo>
                    <a:cubicBezTo>
                      <a:pt x="90" y="78"/>
                      <a:pt x="90" y="78"/>
                      <a:pt x="90" y="77"/>
                    </a:cubicBezTo>
                    <a:cubicBezTo>
                      <a:pt x="90" y="77"/>
                      <a:pt x="90" y="77"/>
                      <a:pt x="89" y="77"/>
                    </a:cubicBezTo>
                    <a:cubicBezTo>
                      <a:pt x="89" y="76"/>
                      <a:pt x="89" y="76"/>
                      <a:pt x="89" y="76"/>
                    </a:cubicBezTo>
                    <a:cubicBezTo>
                      <a:pt x="89" y="74"/>
                      <a:pt x="89" y="73"/>
                      <a:pt x="90" y="72"/>
                    </a:cubicBezTo>
                    <a:cubicBezTo>
                      <a:pt x="95" y="66"/>
                      <a:pt x="95" y="66"/>
                      <a:pt x="95" y="66"/>
                    </a:cubicBezTo>
                    <a:cubicBezTo>
                      <a:pt x="95" y="66"/>
                      <a:pt x="96" y="66"/>
                      <a:pt x="96" y="65"/>
                    </a:cubicBezTo>
                    <a:cubicBezTo>
                      <a:pt x="97" y="64"/>
                      <a:pt x="98" y="63"/>
                      <a:pt x="99" y="63"/>
                    </a:cubicBezTo>
                    <a:cubicBezTo>
                      <a:pt x="99" y="63"/>
                      <a:pt x="100" y="63"/>
                      <a:pt x="100" y="62"/>
                    </a:cubicBezTo>
                    <a:cubicBezTo>
                      <a:pt x="100" y="62"/>
                      <a:pt x="100" y="62"/>
                      <a:pt x="100" y="62"/>
                    </a:cubicBezTo>
                    <a:cubicBezTo>
                      <a:pt x="101" y="62"/>
                      <a:pt x="103" y="61"/>
                      <a:pt x="103" y="61"/>
                    </a:cubicBezTo>
                    <a:cubicBezTo>
                      <a:pt x="103" y="61"/>
                      <a:pt x="104" y="60"/>
                      <a:pt x="104" y="59"/>
                    </a:cubicBezTo>
                    <a:cubicBezTo>
                      <a:pt x="104" y="59"/>
                      <a:pt x="104" y="59"/>
                      <a:pt x="104" y="59"/>
                    </a:cubicBezTo>
                    <a:cubicBezTo>
                      <a:pt x="103" y="58"/>
                      <a:pt x="103" y="58"/>
                      <a:pt x="103" y="58"/>
                    </a:cubicBezTo>
                    <a:cubicBezTo>
                      <a:pt x="102" y="57"/>
                      <a:pt x="102" y="56"/>
                      <a:pt x="103" y="55"/>
                    </a:cubicBezTo>
                    <a:cubicBezTo>
                      <a:pt x="103" y="55"/>
                      <a:pt x="103" y="55"/>
                      <a:pt x="103" y="55"/>
                    </a:cubicBezTo>
                    <a:cubicBezTo>
                      <a:pt x="103" y="55"/>
                      <a:pt x="103" y="55"/>
                      <a:pt x="103" y="55"/>
                    </a:cubicBezTo>
                    <a:cubicBezTo>
                      <a:pt x="103" y="55"/>
                      <a:pt x="103" y="55"/>
                      <a:pt x="103" y="55"/>
                    </a:cubicBezTo>
                    <a:cubicBezTo>
                      <a:pt x="101" y="54"/>
                      <a:pt x="101" y="52"/>
                      <a:pt x="100" y="50"/>
                    </a:cubicBezTo>
                    <a:cubicBezTo>
                      <a:pt x="100" y="49"/>
                      <a:pt x="100" y="49"/>
                      <a:pt x="99" y="48"/>
                    </a:cubicBezTo>
                    <a:cubicBezTo>
                      <a:pt x="99" y="48"/>
                      <a:pt x="99" y="48"/>
                      <a:pt x="99" y="47"/>
                    </a:cubicBezTo>
                    <a:cubicBezTo>
                      <a:pt x="99" y="47"/>
                      <a:pt x="99" y="47"/>
                      <a:pt x="99" y="47"/>
                    </a:cubicBezTo>
                    <a:cubicBezTo>
                      <a:pt x="99" y="47"/>
                      <a:pt x="99" y="47"/>
                      <a:pt x="99" y="47"/>
                    </a:cubicBezTo>
                    <a:cubicBezTo>
                      <a:pt x="96" y="47"/>
                      <a:pt x="96" y="47"/>
                      <a:pt x="96" y="47"/>
                    </a:cubicBezTo>
                    <a:cubicBezTo>
                      <a:pt x="98" y="46"/>
                      <a:pt x="98" y="46"/>
                      <a:pt x="98" y="46"/>
                    </a:cubicBezTo>
                    <a:cubicBezTo>
                      <a:pt x="98" y="46"/>
                      <a:pt x="98" y="46"/>
                      <a:pt x="98" y="46"/>
                    </a:cubicBezTo>
                    <a:cubicBezTo>
                      <a:pt x="98" y="46"/>
                      <a:pt x="98" y="46"/>
                      <a:pt x="98" y="46"/>
                    </a:cubicBezTo>
                    <a:cubicBezTo>
                      <a:pt x="98" y="46"/>
                      <a:pt x="98" y="45"/>
                      <a:pt x="98" y="45"/>
                    </a:cubicBezTo>
                    <a:cubicBezTo>
                      <a:pt x="98" y="45"/>
                      <a:pt x="98" y="45"/>
                      <a:pt x="98" y="45"/>
                    </a:cubicBezTo>
                    <a:cubicBezTo>
                      <a:pt x="98" y="44"/>
                      <a:pt x="98" y="44"/>
                      <a:pt x="98" y="43"/>
                    </a:cubicBezTo>
                    <a:cubicBezTo>
                      <a:pt x="98" y="43"/>
                      <a:pt x="98" y="43"/>
                      <a:pt x="99" y="42"/>
                    </a:cubicBezTo>
                    <a:cubicBezTo>
                      <a:pt x="99" y="42"/>
                      <a:pt x="99" y="42"/>
                      <a:pt x="99" y="42"/>
                    </a:cubicBezTo>
                    <a:cubicBezTo>
                      <a:pt x="99" y="41"/>
                      <a:pt x="99" y="40"/>
                      <a:pt x="99" y="40"/>
                    </a:cubicBezTo>
                    <a:cubicBezTo>
                      <a:pt x="99" y="40"/>
                      <a:pt x="98" y="39"/>
                      <a:pt x="98" y="39"/>
                    </a:cubicBezTo>
                    <a:cubicBezTo>
                      <a:pt x="98" y="39"/>
                      <a:pt x="98" y="39"/>
                      <a:pt x="98" y="39"/>
                    </a:cubicBezTo>
                    <a:cubicBezTo>
                      <a:pt x="97" y="39"/>
                      <a:pt x="97" y="39"/>
                      <a:pt x="97" y="38"/>
                    </a:cubicBezTo>
                    <a:cubicBezTo>
                      <a:pt x="97" y="38"/>
                      <a:pt x="97" y="38"/>
                      <a:pt x="97" y="38"/>
                    </a:cubicBezTo>
                    <a:cubicBezTo>
                      <a:pt x="96" y="38"/>
                      <a:pt x="95" y="38"/>
                      <a:pt x="95" y="38"/>
                    </a:cubicBezTo>
                    <a:cubicBezTo>
                      <a:pt x="93" y="37"/>
                      <a:pt x="93" y="37"/>
                      <a:pt x="93" y="37"/>
                    </a:cubicBezTo>
                    <a:cubicBezTo>
                      <a:pt x="101" y="30"/>
                      <a:pt x="101" y="30"/>
                      <a:pt x="101" y="30"/>
                    </a:cubicBezTo>
                    <a:cubicBezTo>
                      <a:pt x="101" y="30"/>
                      <a:pt x="101" y="30"/>
                      <a:pt x="101" y="30"/>
                    </a:cubicBezTo>
                    <a:cubicBezTo>
                      <a:pt x="101" y="30"/>
                      <a:pt x="102" y="29"/>
                      <a:pt x="102" y="29"/>
                    </a:cubicBezTo>
                    <a:cubicBezTo>
                      <a:pt x="102" y="29"/>
                      <a:pt x="102" y="29"/>
                      <a:pt x="102" y="29"/>
                    </a:cubicBezTo>
                    <a:cubicBezTo>
                      <a:pt x="102" y="29"/>
                      <a:pt x="102" y="29"/>
                      <a:pt x="102" y="29"/>
                    </a:cubicBezTo>
                    <a:cubicBezTo>
                      <a:pt x="102" y="28"/>
                      <a:pt x="102" y="26"/>
                      <a:pt x="102" y="24"/>
                    </a:cubicBezTo>
                    <a:cubicBezTo>
                      <a:pt x="101" y="23"/>
                      <a:pt x="101" y="22"/>
                      <a:pt x="100" y="21"/>
                    </a:cubicBezTo>
                    <a:cubicBezTo>
                      <a:pt x="100" y="20"/>
                      <a:pt x="100" y="20"/>
                      <a:pt x="100" y="20"/>
                    </a:cubicBezTo>
                    <a:cubicBezTo>
                      <a:pt x="99" y="18"/>
                      <a:pt x="98" y="16"/>
                      <a:pt x="98" y="14"/>
                    </a:cubicBezTo>
                    <a:cubicBezTo>
                      <a:pt x="98" y="13"/>
                      <a:pt x="98" y="13"/>
                      <a:pt x="98" y="13"/>
                    </a:cubicBezTo>
                    <a:cubicBezTo>
                      <a:pt x="98" y="13"/>
                      <a:pt x="98" y="13"/>
                      <a:pt x="98" y="13"/>
                    </a:cubicBezTo>
                    <a:cubicBezTo>
                      <a:pt x="97" y="12"/>
                      <a:pt x="97" y="12"/>
                      <a:pt x="97" y="11"/>
                    </a:cubicBezTo>
                    <a:cubicBezTo>
                      <a:pt x="97" y="11"/>
                      <a:pt x="97" y="11"/>
                      <a:pt x="97" y="11"/>
                    </a:cubicBezTo>
                    <a:cubicBezTo>
                      <a:pt x="96" y="11"/>
                      <a:pt x="96" y="10"/>
                      <a:pt x="95" y="10"/>
                    </a:cubicBezTo>
                    <a:cubicBezTo>
                      <a:pt x="95" y="10"/>
                      <a:pt x="94" y="9"/>
                      <a:pt x="94" y="9"/>
                    </a:cubicBezTo>
                    <a:cubicBezTo>
                      <a:pt x="94" y="9"/>
                      <a:pt x="94" y="9"/>
                      <a:pt x="94" y="9"/>
                    </a:cubicBezTo>
                    <a:cubicBezTo>
                      <a:pt x="93" y="9"/>
                      <a:pt x="93" y="9"/>
                      <a:pt x="92" y="9"/>
                    </a:cubicBezTo>
                    <a:cubicBezTo>
                      <a:pt x="92" y="9"/>
                      <a:pt x="92" y="9"/>
                      <a:pt x="92" y="9"/>
                    </a:cubicBezTo>
                    <a:cubicBezTo>
                      <a:pt x="92" y="9"/>
                      <a:pt x="92" y="9"/>
                      <a:pt x="92" y="9"/>
                    </a:cubicBezTo>
                    <a:cubicBezTo>
                      <a:pt x="91" y="9"/>
                      <a:pt x="91" y="9"/>
                      <a:pt x="91" y="9"/>
                    </a:cubicBezTo>
                    <a:cubicBezTo>
                      <a:pt x="82" y="9"/>
                      <a:pt x="72" y="9"/>
                      <a:pt x="61" y="8"/>
                    </a:cubicBezTo>
                    <a:cubicBezTo>
                      <a:pt x="60" y="8"/>
                      <a:pt x="60" y="8"/>
                      <a:pt x="60" y="8"/>
                    </a:cubicBezTo>
                    <a:cubicBezTo>
                      <a:pt x="60" y="7"/>
                      <a:pt x="60" y="7"/>
                      <a:pt x="60" y="7"/>
                    </a:cubicBezTo>
                    <a:cubicBezTo>
                      <a:pt x="60" y="7"/>
                      <a:pt x="60" y="7"/>
                      <a:pt x="60" y="7"/>
                    </a:cubicBezTo>
                    <a:cubicBezTo>
                      <a:pt x="59" y="8"/>
                      <a:pt x="58" y="8"/>
                      <a:pt x="57" y="9"/>
                    </a:cubicBezTo>
                    <a:cubicBezTo>
                      <a:pt x="57" y="9"/>
                      <a:pt x="57" y="9"/>
                      <a:pt x="57" y="9"/>
                    </a:cubicBezTo>
                    <a:cubicBezTo>
                      <a:pt x="56" y="9"/>
                      <a:pt x="55" y="8"/>
                      <a:pt x="55" y="8"/>
                    </a:cubicBezTo>
                    <a:cubicBezTo>
                      <a:pt x="57" y="7"/>
                      <a:pt x="58" y="7"/>
                      <a:pt x="60" y="6"/>
                    </a:cubicBezTo>
                    <a:cubicBezTo>
                      <a:pt x="58" y="6"/>
                      <a:pt x="54" y="7"/>
                      <a:pt x="53" y="8"/>
                    </a:cubicBezTo>
                    <a:cubicBezTo>
                      <a:pt x="52" y="8"/>
                      <a:pt x="49" y="7"/>
                      <a:pt x="49" y="6"/>
                    </a:cubicBezTo>
                    <a:cubicBezTo>
                      <a:pt x="48" y="6"/>
                      <a:pt x="48" y="4"/>
                      <a:pt x="47" y="3"/>
                    </a:cubicBezTo>
                    <a:cubicBezTo>
                      <a:pt x="47" y="3"/>
                      <a:pt x="47" y="2"/>
                      <a:pt x="47" y="2"/>
                    </a:cubicBezTo>
                    <a:cubicBezTo>
                      <a:pt x="48" y="1"/>
                      <a:pt x="51" y="3"/>
                      <a:pt x="51" y="4"/>
                    </a:cubicBezTo>
                    <a:cubicBezTo>
                      <a:pt x="48" y="0"/>
                      <a:pt x="44" y="1"/>
                      <a:pt x="40" y="2"/>
                    </a:cubicBezTo>
                    <a:cubicBezTo>
                      <a:pt x="36" y="3"/>
                      <a:pt x="31" y="4"/>
                      <a:pt x="27" y="5"/>
                    </a:cubicBezTo>
                    <a:cubicBezTo>
                      <a:pt x="26" y="6"/>
                      <a:pt x="25" y="8"/>
                      <a:pt x="25" y="9"/>
                    </a:cubicBezTo>
                    <a:cubicBezTo>
                      <a:pt x="22" y="10"/>
                      <a:pt x="18" y="10"/>
                      <a:pt x="15" y="11"/>
                    </a:cubicBezTo>
                    <a:cubicBezTo>
                      <a:pt x="13" y="11"/>
                      <a:pt x="11" y="12"/>
                      <a:pt x="8" y="13"/>
                    </a:cubicBezTo>
                    <a:cubicBezTo>
                      <a:pt x="7" y="13"/>
                      <a:pt x="5" y="13"/>
                      <a:pt x="4" y="14"/>
                    </a:cubicBezTo>
                    <a:cubicBezTo>
                      <a:pt x="4" y="13"/>
                      <a:pt x="2" y="12"/>
                      <a:pt x="2" y="12"/>
                    </a:cubicBezTo>
                    <a:cubicBezTo>
                      <a:pt x="2" y="12"/>
                      <a:pt x="2" y="12"/>
                      <a:pt x="2" y="12"/>
                    </a:cubicBezTo>
                    <a:cubicBezTo>
                      <a:pt x="0" y="13"/>
                      <a:pt x="0"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5" name="Rectangle 3117">
                <a:extLst>
                  <a:ext uri="{FF2B5EF4-FFF2-40B4-BE49-F238E27FC236}">
                    <a16:creationId xmlns:a16="http://schemas.microsoft.com/office/drawing/2014/main" id="{1D023598-4192-4916-9552-760A1CCF3D11}"/>
                  </a:ext>
                </a:extLst>
              </p:cNvPr>
              <p:cNvSpPr>
                <a:spLocks noChangeArrowheads="1"/>
              </p:cNvSpPr>
              <p:nvPr/>
            </p:nvSpPr>
            <p:spPr bwMode="auto">
              <a:xfrm>
                <a:off x="3906" y="140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6" name="Freeform 3118">
                <a:extLst>
                  <a:ext uri="{FF2B5EF4-FFF2-40B4-BE49-F238E27FC236}">
                    <a16:creationId xmlns:a16="http://schemas.microsoft.com/office/drawing/2014/main" id="{26C7B617-1ECC-4F1E-9651-C8A282338737}"/>
                  </a:ext>
                </a:extLst>
              </p:cNvPr>
              <p:cNvSpPr>
                <a:spLocks/>
              </p:cNvSpPr>
              <p:nvPr/>
            </p:nvSpPr>
            <p:spPr bwMode="auto">
              <a:xfrm>
                <a:off x="4041" y="14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7" name="Freeform 3119">
                <a:extLst>
                  <a:ext uri="{FF2B5EF4-FFF2-40B4-BE49-F238E27FC236}">
                    <a16:creationId xmlns:a16="http://schemas.microsoft.com/office/drawing/2014/main" id="{7459B789-B439-46A7-9CD4-5CAA4D747D9E}"/>
                  </a:ext>
                </a:extLst>
              </p:cNvPr>
              <p:cNvSpPr>
                <a:spLocks/>
              </p:cNvSpPr>
              <p:nvPr/>
            </p:nvSpPr>
            <p:spPr bwMode="auto">
              <a:xfrm>
                <a:off x="4256" y="15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8" name="Freeform 3120">
                <a:extLst>
                  <a:ext uri="{FF2B5EF4-FFF2-40B4-BE49-F238E27FC236}">
                    <a16:creationId xmlns:a16="http://schemas.microsoft.com/office/drawing/2014/main" id="{42A92B15-87CA-41F4-851F-01CD9F06EBE5}"/>
                  </a:ext>
                </a:extLst>
              </p:cNvPr>
              <p:cNvSpPr>
                <a:spLocks/>
              </p:cNvSpPr>
              <p:nvPr/>
            </p:nvSpPr>
            <p:spPr bwMode="auto">
              <a:xfrm>
                <a:off x="4199" y="1508"/>
                <a:ext cx="71" cy="85"/>
              </a:xfrm>
              <a:custGeom>
                <a:avLst/>
                <a:gdLst>
                  <a:gd name="T0" fmla="*/ 30 w 30"/>
                  <a:gd name="T1" fmla="*/ 21 h 36"/>
                  <a:gd name="T2" fmla="*/ 29 w 30"/>
                  <a:gd name="T3" fmla="*/ 20 h 36"/>
                  <a:gd name="T4" fmla="*/ 28 w 30"/>
                  <a:gd name="T5" fmla="*/ 20 h 36"/>
                  <a:gd name="T6" fmla="*/ 25 w 30"/>
                  <a:gd name="T7" fmla="*/ 17 h 36"/>
                  <a:gd name="T8" fmla="*/ 25 w 30"/>
                  <a:gd name="T9" fmla="*/ 15 h 36"/>
                  <a:gd name="T10" fmla="*/ 25 w 30"/>
                  <a:gd name="T11" fmla="*/ 15 h 36"/>
                  <a:gd name="T12" fmla="*/ 23 w 30"/>
                  <a:gd name="T13" fmla="*/ 13 h 36"/>
                  <a:gd name="T14" fmla="*/ 21 w 30"/>
                  <a:gd name="T15" fmla="*/ 10 h 36"/>
                  <a:gd name="T16" fmla="*/ 22 w 30"/>
                  <a:gd name="T17" fmla="*/ 9 h 36"/>
                  <a:gd name="T18" fmla="*/ 22 w 30"/>
                  <a:gd name="T19" fmla="*/ 6 h 36"/>
                  <a:gd name="T20" fmla="*/ 22 w 30"/>
                  <a:gd name="T21" fmla="*/ 6 h 36"/>
                  <a:gd name="T22" fmla="*/ 18 w 30"/>
                  <a:gd name="T23" fmla="*/ 5 h 36"/>
                  <a:gd name="T24" fmla="*/ 17 w 30"/>
                  <a:gd name="T25" fmla="*/ 5 h 36"/>
                  <a:gd name="T26" fmla="*/ 13 w 30"/>
                  <a:gd name="T27" fmla="*/ 3 h 36"/>
                  <a:gd name="T28" fmla="*/ 7 w 30"/>
                  <a:gd name="T29" fmla="*/ 0 h 36"/>
                  <a:gd name="T30" fmla="*/ 6 w 30"/>
                  <a:gd name="T31" fmla="*/ 0 h 36"/>
                  <a:gd name="T32" fmla="*/ 2 w 30"/>
                  <a:gd name="T33" fmla="*/ 1 h 36"/>
                  <a:gd name="T34" fmla="*/ 0 w 30"/>
                  <a:gd name="T35" fmla="*/ 1 h 36"/>
                  <a:gd name="T36" fmla="*/ 0 w 30"/>
                  <a:gd name="T37" fmla="*/ 1 h 36"/>
                  <a:gd name="T38" fmla="*/ 2 w 30"/>
                  <a:gd name="T39" fmla="*/ 2 h 36"/>
                  <a:gd name="T40" fmla="*/ 4 w 30"/>
                  <a:gd name="T41" fmla="*/ 5 h 36"/>
                  <a:gd name="T42" fmla="*/ 4 w 30"/>
                  <a:gd name="T43" fmla="*/ 7 h 36"/>
                  <a:gd name="T44" fmla="*/ 9 w 30"/>
                  <a:gd name="T45" fmla="*/ 13 h 36"/>
                  <a:gd name="T46" fmla="*/ 12 w 30"/>
                  <a:gd name="T47" fmla="*/ 17 h 36"/>
                  <a:gd name="T48" fmla="*/ 14 w 30"/>
                  <a:gd name="T49" fmla="*/ 20 h 36"/>
                  <a:gd name="T50" fmla="*/ 14 w 30"/>
                  <a:gd name="T51" fmla="*/ 26 h 36"/>
                  <a:gd name="T52" fmla="*/ 13 w 30"/>
                  <a:gd name="T53" fmla="*/ 33 h 36"/>
                  <a:gd name="T54" fmla="*/ 13 w 30"/>
                  <a:gd name="T55" fmla="*/ 35 h 36"/>
                  <a:gd name="T56" fmla="*/ 13 w 30"/>
                  <a:gd name="T57" fmla="*/ 36 h 36"/>
                  <a:gd name="T58" fmla="*/ 14 w 30"/>
                  <a:gd name="T59" fmla="*/ 35 h 36"/>
                  <a:gd name="T60" fmla="*/ 15 w 30"/>
                  <a:gd name="T61" fmla="*/ 34 h 36"/>
                  <a:gd name="T62" fmla="*/ 17 w 30"/>
                  <a:gd name="T63" fmla="*/ 32 h 36"/>
                  <a:gd name="T64" fmla="*/ 17 w 30"/>
                  <a:gd name="T65" fmla="*/ 32 h 36"/>
                  <a:gd name="T66" fmla="*/ 18 w 30"/>
                  <a:gd name="T67" fmla="*/ 31 h 36"/>
                  <a:gd name="T68" fmla="*/ 19 w 30"/>
                  <a:gd name="T69" fmla="*/ 29 h 36"/>
                  <a:gd name="T70" fmla="*/ 19 w 30"/>
                  <a:gd name="T71" fmla="*/ 29 h 36"/>
                  <a:gd name="T72" fmla="*/ 20 w 30"/>
                  <a:gd name="T73" fmla="*/ 28 h 36"/>
                  <a:gd name="T74" fmla="*/ 20 w 30"/>
                  <a:gd name="T75" fmla="*/ 27 h 36"/>
                  <a:gd name="T76" fmla="*/ 20 w 30"/>
                  <a:gd name="T77" fmla="*/ 25 h 36"/>
                  <a:gd name="T78" fmla="*/ 22 w 30"/>
                  <a:gd name="T79" fmla="*/ 23 h 36"/>
                  <a:gd name="T80" fmla="*/ 23 w 30"/>
                  <a:gd name="T81" fmla="*/ 23 h 36"/>
                  <a:gd name="T82" fmla="*/ 24 w 30"/>
                  <a:gd name="T83" fmla="*/ 24 h 36"/>
                  <a:gd name="T84" fmla="*/ 24 w 30"/>
                  <a:gd name="T85" fmla="*/ 24 h 36"/>
                  <a:gd name="T86" fmla="*/ 26 w 30"/>
                  <a:gd name="T87" fmla="*/ 23 h 36"/>
                  <a:gd name="T88" fmla="*/ 27 w 30"/>
                  <a:gd name="T89" fmla="*/ 23 h 36"/>
                  <a:gd name="T90" fmla="*/ 27 w 30"/>
                  <a:gd name="T91" fmla="*/ 24 h 36"/>
                  <a:gd name="T92" fmla="*/ 28 w 30"/>
                  <a:gd name="T93" fmla="*/ 24 h 36"/>
                  <a:gd name="T94" fmla="*/ 29 w 30"/>
                  <a:gd name="T95" fmla="*/ 24 h 36"/>
                  <a:gd name="T96" fmla="*/ 30 w 30"/>
                  <a:gd name="T9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36">
                    <a:moveTo>
                      <a:pt x="29" y="22"/>
                    </a:moveTo>
                    <a:cubicBezTo>
                      <a:pt x="30" y="21"/>
                      <a:pt x="30" y="21"/>
                      <a:pt x="30" y="21"/>
                    </a:cubicBezTo>
                    <a:cubicBezTo>
                      <a:pt x="29" y="21"/>
                      <a:pt x="29" y="21"/>
                      <a:pt x="29" y="21"/>
                    </a:cubicBezTo>
                    <a:cubicBezTo>
                      <a:pt x="29" y="21"/>
                      <a:pt x="29" y="21"/>
                      <a:pt x="29" y="20"/>
                    </a:cubicBezTo>
                    <a:cubicBezTo>
                      <a:pt x="27" y="22"/>
                      <a:pt x="27" y="22"/>
                      <a:pt x="27" y="22"/>
                    </a:cubicBezTo>
                    <a:cubicBezTo>
                      <a:pt x="28" y="20"/>
                      <a:pt x="28" y="20"/>
                      <a:pt x="28" y="20"/>
                    </a:cubicBezTo>
                    <a:cubicBezTo>
                      <a:pt x="28" y="20"/>
                      <a:pt x="28" y="20"/>
                      <a:pt x="28" y="20"/>
                    </a:cubicBezTo>
                    <a:cubicBezTo>
                      <a:pt x="27" y="19"/>
                      <a:pt x="26" y="18"/>
                      <a:pt x="25" y="17"/>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4" y="14"/>
                      <a:pt x="23" y="14"/>
                      <a:pt x="23" y="13"/>
                    </a:cubicBezTo>
                    <a:cubicBezTo>
                      <a:pt x="22" y="12"/>
                      <a:pt x="21" y="11"/>
                      <a:pt x="21" y="10"/>
                    </a:cubicBezTo>
                    <a:cubicBezTo>
                      <a:pt x="21" y="10"/>
                      <a:pt x="21" y="10"/>
                      <a:pt x="21" y="10"/>
                    </a:cubicBezTo>
                    <a:cubicBezTo>
                      <a:pt x="22" y="10"/>
                      <a:pt x="22" y="10"/>
                      <a:pt x="22" y="10"/>
                    </a:cubicBezTo>
                    <a:cubicBezTo>
                      <a:pt x="22" y="9"/>
                      <a:pt x="22" y="9"/>
                      <a:pt x="22" y="9"/>
                    </a:cubicBezTo>
                    <a:cubicBezTo>
                      <a:pt x="22" y="9"/>
                      <a:pt x="22" y="9"/>
                      <a:pt x="22" y="9"/>
                    </a:cubicBezTo>
                    <a:cubicBezTo>
                      <a:pt x="22" y="8"/>
                      <a:pt x="22" y="7"/>
                      <a:pt x="22" y="6"/>
                    </a:cubicBezTo>
                    <a:cubicBezTo>
                      <a:pt x="22" y="6"/>
                      <a:pt x="22" y="6"/>
                      <a:pt x="22" y="6"/>
                    </a:cubicBezTo>
                    <a:cubicBezTo>
                      <a:pt x="22" y="6"/>
                      <a:pt x="22" y="6"/>
                      <a:pt x="22" y="6"/>
                    </a:cubicBezTo>
                    <a:cubicBezTo>
                      <a:pt x="22" y="6"/>
                      <a:pt x="22" y="6"/>
                      <a:pt x="22" y="6"/>
                    </a:cubicBezTo>
                    <a:cubicBezTo>
                      <a:pt x="21" y="6"/>
                      <a:pt x="20" y="6"/>
                      <a:pt x="18" y="5"/>
                    </a:cubicBezTo>
                    <a:cubicBezTo>
                      <a:pt x="18" y="5"/>
                      <a:pt x="18" y="5"/>
                      <a:pt x="18" y="5"/>
                    </a:cubicBezTo>
                    <a:cubicBezTo>
                      <a:pt x="18" y="5"/>
                      <a:pt x="17" y="5"/>
                      <a:pt x="17" y="5"/>
                    </a:cubicBezTo>
                    <a:cubicBezTo>
                      <a:pt x="16" y="4"/>
                      <a:pt x="15" y="4"/>
                      <a:pt x="14" y="4"/>
                    </a:cubicBezTo>
                    <a:cubicBezTo>
                      <a:pt x="14" y="3"/>
                      <a:pt x="13" y="3"/>
                      <a:pt x="13" y="3"/>
                    </a:cubicBezTo>
                    <a:cubicBezTo>
                      <a:pt x="11" y="2"/>
                      <a:pt x="9" y="1"/>
                      <a:pt x="8" y="0"/>
                    </a:cubicBezTo>
                    <a:cubicBezTo>
                      <a:pt x="7" y="0"/>
                      <a:pt x="7" y="0"/>
                      <a:pt x="7" y="0"/>
                    </a:cubicBezTo>
                    <a:cubicBezTo>
                      <a:pt x="6" y="0"/>
                      <a:pt x="6" y="0"/>
                      <a:pt x="6" y="0"/>
                    </a:cubicBezTo>
                    <a:cubicBezTo>
                      <a:pt x="6" y="0"/>
                      <a:pt x="6" y="0"/>
                      <a:pt x="6" y="0"/>
                    </a:cubicBezTo>
                    <a:cubicBezTo>
                      <a:pt x="5" y="0"/>
                      <a:pt x="4" y="1"/>
                      <a:pt x="2" y="1"/>
                    </a:cubicBezTo>
                    <a:cubicBezTo>
                      <a:pt x="2" y="1"/>
                      <a:pt x="2" y="1"/>
                      <a:pt x="2" y="1"/>
                    </a:cubicBezTo>
                    <a:cubicBezTo>
                      <a:pt x="1" y="1"/>
                      <a:pt x="1" y="1"/>
                      <a:pt x="1" y="1"/>
                    </a:cubicBezTo>
                    <a:cubicBezTo>
                      <a:pt x="1" y="1"/>
                      <a:pt x="0" y="1"/>
                      <a:pt x="0" y="1"/>
                    </a:cubicBezTo>
                    <a:cubicBezTo>
                      <a:pt x="0" y="1"/>
                      <a:pt x="0" y="1"/>
                      <a:pt x="0" y="1"/>
                    </a:cubicBezTo>
                    <a:cubicBezTo>
                      <a:pt x="0" y="1"/>
                      <a:pt x="0" y="1"/>
                      <a:pt x="0" y="1"/>
                    </a:cubicBezTo>
                    <a:cubicBezTo>
                      <a:pt x="0" y="1"/>
                      <a:pt x="1" y="1"/>
                      <a:pt x="1" y="2"/>
                    </a:cubicBezTo>
                    <a:cubicBezTo>
                      <a:pt x="2" y="2"/>
                      <a:pt x="2" y="2"/>
                      <a:pt x="2" y="2"/>
                    </a:cubicBezTo>
                    <a:cubicBezTo>
                      <a:pt x="3" y="3"/>
                      <a:pt x="3" y="4"/>
                      <a:pt x="3" y="4"/>
                    </a:cubicBezTo>
                    <a:cubicBezTo>
                      <a:pt x="3" y="5"/>
                      <a:pt x="4" y="5"/>
                      <a:pt x="4" y="5"/>
                    </a:cubicBezTo>
                    <a:cubicBezTo>
                      <a:pt x="4" y="5"/>
                      <a:pt x="4" y="5"/>
                      <a:pt x="4" y="6"/>
                    </a:cubicBezTo>
                    <a:cubicBezTo>
                      <a:pt x="4" y="7"/>
                      <a:pt x="4" y="7"/>
                      <a:pt x="4" y="7"/>
                    </a:cubicBezTo>
                    <a:cubicBezTo>
                      <a:pt x="5" y="8"/>
                      <a:pt x="5" y="9"/>
                      <a:pt x="6" y="9"/>
                    </a:cubicBezTo>
                    <a:cubicBezTo>
                      <a:pt x="7" y="11"/>
                      <a:pt x="8" y="12"/>
                      <a:pt x="9" y="13"/>
                    </a:cubicBezTo>
                    <a:cubicBezTo>
                      <a:pt x="10" y="14"/>
                      <a:pt x="10" y="14"/>
                      <a:pt x="10" y="14"/>
                    </a:cubicBezTo>
                    <a:cubicBezTo>
                      <a:pt x="11" y="15"/>
                      <a:pt x="11" y="16"/>
                      <a:pt x="12" y="17"/>
                    </a:cubicBezTo>
                    <a:cubicBezTo>
                      <a:pt x="13" y="17"/>
                      <a:pt x="13" y="18"/>
                      <a:pt x="13" y="19"/>
                    </a:cubicBezTo>
                    <a:cubicBezTo>
                      <a:pt x="13" y="19"/>
                      <a:pt x="13" y="20"/>
                      <a:pt x="14" y="20"/>
                    </a:cubicBezTo>
                    <a:cubicBezTo>
                      <a:pt x="14" y="21"/>
                      <a:pt x="14" y="21"/>
                      <a:pt x="14" y="22"/>
                    </a:cubicBezTo>
                    <a:cubicBezTo>
                      <a:pt x="15" y="24"/>
                      <a:pt x="15" y="25"/>
                      <a:pt x="14" y="26"/>
                    </a:cubicBezTo>
                    <a:cubicBezTo>
                      <a:pt x="14" y="28"/>
                      <a:pt x="13" y="30"/>
                      <a:pt x="13" y="32"/>
                    </a:cubicBezTo>
                    <a:cubicBezTo>
                      <a:pt x="13" y="32"/>
                      <a:pt x="13" y="32"/>
                      <a:pt x="13" y="33"/>
                    </a:cubicBezTo>
                    <a:cubicBezTo>
                      <a:pt x="13" y="33"/>
                      <a:pt x="13" y="33"/>
                      <a:pt x="13" y="33"/>
                    </a:cubicBezTo>
                    <a:cubicBezTo>
                      <a:pt x="13" y="34"/>
                      <a:pt x="13" y="34"/>
                      <a:pt x="13" y="35"/>
                    </a:cubicBezTo>
                    <a:cubicBezTo>
                      <a:pt x="13" y="35"/>
                      <a:pt x="13" y="35"/>
                      <a:pt x="13" y="35"/>
                    </a:cubicBezTo>
                    <a:cubicBezTo>
                      <a:pt x="13" y="36"/>
                      <a:pt x="13" y="36"/>
                      <a:pt x="13" y="36"/>
                    </a:cubicBezTo>
                    <a:cubicBezTo>
                      <a:pt x="13" y="36"/>
                      <a:pt x="14" y="35"/>
                      <a:pt x="14" y="35"/>
                    </a:cubicBezTo>
                    <a:cubicBezTo>
                      <a:pt x="14" y="35"/>
                      <a:pt x="14" y="35"/>
                      <a:pt x="14" y="35"/>
                    </a:cubicBezTo>
                    <a:cubicBezTo>
                      <a:pt x="14" y="35"/>
                      <a:pt x="15" y="35"/>
                      <a:pt x="15" y="35"/>
                    </a:cubicBezTo>
                    <a:cubicBezTo>
                      <a:pt x="15" y="34"/>
                      <a:pt x="15" y="34"/>
                      <a:pt x="15" y="34"/>
                    </a:cubicBezTo>
                    <a:cubicBezTo>
                      <a:pt x="16" y="33"/>
                      <a:pt x="16" y="33"/>
                      <a:pt x="16" y="32"/>
                    </a:cubicBezTo>
                    <a:cubicBezTo>
                      <a:pt x="17" y="32"/>
                      <a:pt x="17" y="32"/>
                      <a:pt x="17" y="32"/>
                    </a:cubicBezTo>
                    <a:cubicBezTo>
                      <a:pt x="17" y="32"/>
                      <a:pt x="17" y="32"/>
                      <a:pt x="17" y="32"/>
                    </a:cubicBezTo>
                    <a:cubicBezTo>
                      <a:pt x="17" y="32"/>
                      <a:pt x="17" y="32"/>
                      <a:pt x="17" y="32"/>
                    </a:cubicBezTo>
                    <a:cubicBezTo>
                      <a:pt x="17" y="32"/>
                      <a:pt x="17" y="32"/>
                      <a:pt x="17" y="31"/>
                    </a:cubicBezTo>
                    <a:cubicBezTo>
                      <a:pt x="18" y="31"/>
                      <a:pt x="18" y="31"/>
                      <a:pt x="18" y="31"/>
                    </a:cubicBezTo>
                    <a:cubicBezTo>
                      <a:pt x="18" y="30"/>
                      <a:pt x="18" y="30"/>
                      <a:pt x="19" y="29"/>
                    </a:cubicBezTo>
                    <a:cubicBezTo>
                      <a:pt x="19" y="29"/>
                      <a:pt x="19" y="29"/>
                      <a:pt x="19" y="29"/>
                    </a:cubicBezTo>
                    <a:cubicBezTo>
                      <a:pt x="19" y="29"/>
                      <a:pt x="19" y="29"/>
                      <a:pt x="19" y="29"/>
                    </a:cubicBezTo>
                    <a:cubicBezTo>
                      <a:pt x="19" y="29"/>
                      <a:pt x="19" y="29"/>
                      <a:pt x="19" y="29"/>
                    </a:cubicBezTo>
                    <a:cubicBezTo>
                      <a:pt x="20" y="28"/>
                      <a:pt x="20" y="28"/>
                      <a:pt x="20" y="28"/>
                    </a:cubicBezTo>
                    <a:cubicBezTo>
                      <a:pt x="20" y="28"/>
                      <a:pt x="20" y="28"/>
                      <a:pt x="20" y="28"/>
                    </a:cubicBezTo>
                    <a:cubicBezTo>
                      <a:pt x="20" y="28"/>
                      <a:pt x="20" y="28"/>
                      <a:pt x="20" y="28"/>
                    </a:cubicBezTo>
                    <a:cubicBezTo>
                      <a:pt x="20" y="27"/>
                      <a:pt x="20" y="27"/>
                      <a:pt x="20" y="27"/>
                    </a:cubicBezTo>
                    <a:cubicBezTo>
                      <a:pt x="20" y="27"/>
                      <a:pt x="20" y="26"/>
                      <a:pt x="20" y="26"/>
                    </a:cubicBezTo>
                    <a:cubicBezTo>
                      <a:pt x="20" y="25"/>
                      <a:pt x="20" y="25"/>
                      <a:pt x="20" y="25"/>
                    </a:cubicBezTo>
                    <a:cubicBezTo>
                      <a:pt x="20" y="25"/>
                      <a:pt x="20" y="23"/>
                      <a:pt x="21" y="23"/>
                    </a:cubicBezTo>
                    <a:cubicBezTo>
                      <a:pt x="22" y="23"/>
                      <a:pt x="22" y="23"/>
                      <a:pt x="22" y="23"/>
                    </a:cubicBezTo>
                    <a:cubicBezTo>
                      <a:pt x="22" y="23"/>
                      <a:pt x="22" y="23"/>
                      <a:pt x="22" y="23"/>
                    </a:cubicBezTo>
                    <a:cubicBezTo>
                      <a:pt x="22" y="23"/>
                      <a:pt x="23" y="23"/>
                      <a:pt x="23" y="23"/>
                    </a:cubicBezTo>
                    <a:cubicBezTo>
                      <a:pt x="23" y="24"/>
                      <a:pt x="23" y="24"/>
                      <a:pt x="23" y="24"/>
                    </a:cubicBezTo>
                    <a:cubicBezTo>
                      <a:pt x="24" y="24"/>
                      <a:pt x="24" y="24"/>
                      <a:pt x="24" y="24"/>
                    </a:cubicBezTo>
                    <a:cubicBezTo>
                      <a:pt x="24" y="24"/>
                      <a:pt x="24" y="24"/>
                      <a:pt x="24" y="24"/>
                    </a:cubicBezTo>
                    <a:cubicBezTo>
                      <a:pt x="24" y="24"/>
                      <a:pt x="24" y="24"/>
                      <a:pt x="24" y="24"/>
                    </a:cubicBezTo>
                    <a:cubicBezTo>
                      <a:pt x="25" y="23"/>
                      <a:pt x="25" y="23"/>
                      <a:pt x="26" y="23"/>
                    </a:cubicBezTo>
                    <a:cubicBezTo>
                      <a:pt x="26" y="23"/>
                      <a:pt x="26" y="23"/>
                      <a:pt x="26" y="23"/>
                    </a:cubicBezTo>
                    <a:cubicBezTo>
                      <a:pt x="26" y="23"/>
                      <a:pt x="26" y="23"/>
                      <a:pt x="26" y="23"/>
                    </a:cubicBezTo>
                    <a:cubicBezTo>
                      <a:pt x="27" y="23"/>
                      <a:pt x="27" y="23"/>
                      <a:pt x="27" y="23"/>
                    </a:cubicBezTo>
                    <a:cubicBezTo>
                      <a:pt x="27" y="24"/>
                      <a:pt x="27" y="24"/>
                      <a:pt x="27" y="24"/>
                    </a:cubicBezTo>
                    <a:cubicBezTo>
                      <a:pt x="27" y="24"/>
                      <a:pt x="27" y="24"/>
                      <a:pt x="27" y="24"/>
                    </a:cubicBezTo>
                    <a:cubicBezTo>
                      <a:pt x="28" y="24"/>
                      <a:pt x="28" y="24"/>
                      <a:pt x="28" y="24"/>
                    </a:cubicBezTo>
                    <a:cubicBezTo>
                      <a:pt x="28" y="24"/>
                      <a:pt x="28" y="24"/>
                      <a:pt x="28" y="24"/>
                    </a:cubicBezTo>
                    <a:cubicBezTo>
                      <a:pt x="28" y="24"/>
                      <a:pt x="28" y="24"/>
                      <a:pt x="29" y="24"/>
                    </a:cubicBezTo>
                    <a:cubicBezTo>
                      <a:pt x="29" y="24"/>
                      <a:pt x="29" y="24"/>
                      <a:pt x="29" y="24"/>
                    </a:cubicBezTo>
                    <a:cubicBezTo>
                      <a:pt x="29" y="24"/>
                      <a:pt x="29" y="24"/>
                      <a:pt x="29" y="24"/>
                    </a:cubicBezTo>
                    <a:cubicBezTo>
                      <a:pt x="30" y="24"/>
                      <a:pt x="30" y="24"/>
                      <a:pt x="30" y="24"/>
                    </a:cubicBezTo>
                    <a:cubicBezTo>
                      <a:pt x="29" y="23"/>
                      <a:pt x="29" y="23"/>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9" name="Freeform 3121">
                <a:extLst>
                  <a:ext uri="{FF2B5EF4-FFF2-40B4-BE49-F238E27FC236}">
                    <a16:creationId xmlns:a16="http://schemas.microsoft.com/office/drawing/2014/main" id="{1B2FFE91-C0C0-4695-B044-AE588F9DCC17}"/>
                  </a:ext>
                </a:extLst>
              </p:cNvPr>
              <p:cNvSpPr>
                <a:spLocks/>
              </p:cNvSpPr>
              <p:nvPr/>
            </p:nvSpPr>
            <p:spPr bwMode="auto">
              <a:xfrm>
                <a:off x="4086" y="1383"/>
                <a:ext cx="430" cy="246"/>
              </a:xfrm>
              <a:custGeom>
                <a:avLst/>
                <a:gdLst>
                  <a:gd name="T0" fmla="*/ 170 w 182"/>
                  <a:gd name="T1" fmla="*/ 59 h 104"/>
                  <a:gd name="T2" fmla="*/ 178 w 182"/>
                  <a:gd name="T3" fmla="*/ 51 h 104"/>
                  <a:gd name="T4" fmla="*/ 178 w 182"/>
                  <a:gd name="T5" fmla="*/ 46 h 104"/>
                  <a:gd name="T6" fmla="*/ 175 w 182"/>
                  <a:gd name="T7" fmla="*/ 36 h 104"/>
                  <a:gd name="T8" fmla="*/ 171 w 182"/>
                  <a:gd name="T9" fmla="*/ 35 h 104"/>
                  <a:gd name="T10" fmla="*/ 164 w 182"/>
                  <a:gd name="T11" fmla="*/ 32 h 104"/>
                  <a:gd name="T12" fmla="*/ 155 w 182"/>
                  <a:gd name="T13" fmla="*/ 27 h 104"/>
                  <a:gd name="T14" fmla="*/ 133 w 182"/>
                  <a:gd name="T15" fmla="*/ 21 h 104"/>
                  <a:gd name="T16" fmla="*/ 122 w 182"/>
                  <a:gd name="T17" fmla="*/ 15 h 104"/>
                  <a:gd name="T18" fmla="*/ 122 w 182"/>
                  <a:gd name="T19" fmla="*/ 7 h 104"/>
                  <a:gd name="T20" fmla="*/ 106 w 182"/>
                  <a:gd name="T21" fmla="*/ 1 h 104"/>
                  <a:gd name="T22" fmla="*/ 96 w 182"/>
                  <a:gd name="T23" fmla="*/ 4 h 104"/>
                  <a:gd name="T24" fmla="*/ 91 w 182"/>
                  <a:gd name="T25" fmla="*/ 5 h 104"/>
                  <a:gd name="T26" fmla="*/ 87 w 182"/>
                  <a:gd name="T27" fmla="*/ 8 h 104"/>
                  <a:gd name="T28" fmla="*/ 86 w 182"/>
                  <a:gd name="T29" fmla="*/ 17 h 104"/>
                  <a:gd name="T30" fmla="*/ 72 w 182"/>
                  <a:gd name="T31" fmla="*/ 13 h 104"/>
                  <a:gd name="T32" fmla="*/ 70 w 182"/>
                  <a:gd name="T33" fmla="*/ 11 h 104"/>
                  <a:gd name="T34" fmla="*/ 66 w 182"/>
                  <a:gd name="T35" fmla="*/ 13 h 104"/>
                  <a:gd name="T36" fmla="*/ 57 w 182"/>
                  <a:gd name="T37" fmla="*/ 12 h 104"/>
                  <a:gd name="T38" fmla="*/ 31 w 182"/>
                  <a:gd name="T39" fmla="*/ 6 h 104"/>
                  <a:gd name="T40" fmla="*/ 25 w 182"/>
                  <a:gd name="T41" fmla="*/ 7 h 104"/>
                  <a:gd name="T42" fmla="*/ 18 w 182"/>
                  <a:gd name="T43" fmla="*/ 11 h 104"/>
                  <a:gd name="T44" fmla="*/ 16 w 182"/>
                  <a:gd name="T45" fmla="*/ 13 h 104"/>
                  <a:gd name="T46" fmla="*/ 20 w 182"/>
                  <a:gd name="T47" fmla="*/ 21 h 104"/>
                  <a:gd name="T48" fmla="*/ 12 w 182"/>
                  <a:gd name="T49" fmla="*/ 31 h 104"/>
                  <a:gd name="T50" fmla="*/ 6 w 182"/>
                  <a:gd name="T51" fmla="*/ 40 h 104"/>
                  <a:gd name="T52" fmla="*/ 6 w 182"/>
                  <a:gd name="T53" fmla="*/ 46 h 104"/>
                  <a:gd name="T54" fmla="*/ 2 w 182"/>
                  <a:gd name="T55" fmla="*/ 48 h 104"/>
                  <a:gd name="T56" fmla="*/ 1 w 182"/>
                  <a:gd name="T57" fmla="*/ 52 h 104"/>
                  <a:gd name="T58" fmla="*/ 7 w 182"/>
                  <a:gd name="T59" fmla="*/ 57 h 104"/>
                  <a:gd name="T60" fmla="*/ 11 w 182"/>
                  <a:gd name="T61" fmla="*/ 55 h 104"/>
                  <a:gd name="T62" fmla="*/ 20 w 182"/>
                  <a:gd name="T63" fmla="*/ 57 h 104"/>
                  <a:gd name="T64" fmla="*/ 29 w 182"/>
                  <a:gd name="T65" fmla="*/ 59 h 104"/>
                  <a:gd name="T66" fmla="*/ 39 w 182"/>
                  <a:gd name="T67" fmla="*/ 57 h 104"/>
                  <a:gd name="T68" fmla="*/ 53 w 182"/>
                  <a:gd name="T69" fmla="*/ 50 h 104"/>
                  <a:gd name="T70" fmla="*/ 66 w 182"/>
                  <a:gd name="T71" fmla="*/ 55 h 104"/>
                  <a:gd name="T72" fmla="*/ 73 w 182"/>
                  <a:gd name="T73" fmla="*/ 59 h 104"/>
                  <a:gd name="T74" fmla="*/ 74 w 182"/>
                  <a:gd name="T75" fmla="*/ 65 h 104"/>
                  <a:gd name="T76" fmla="*/ 78 w 182"/>
                  <a:gd name="T77" fmla="*/ 71 h 104"/>
                  <a:gd name="T78" fmla="*/ 80 w 182"/>
                  <a:gd name="T79" fmla="*/ 76 h 104"/>
                  <a:gd name="T80" fmla="*/ 82 w 182"/>
                  <a:gd name="T81" fmla="*/ 79 h 104"/>
                  <a:gd name="T82" fmla="*/ 96 w 182"/>
                  <a:gd name="T83" fmla="*/ 73 h 104"/>
                  <a:gd name="T84" fmla="*/ 99 w 182"/>
                  <a:gd name="T85" fmla="*/ 71 h 104"/>
                  <a:gd name="T86" fmla="*/ 98 w 182"/>
                  <a:gd name="T87" fmla="*/ 68 h 104"/>
                  <a:gd name="T88" fmla="*/ 100 w 182"/>
                  <a:gd name="T89" fmla="*/ 74 h 104"/>
                  <a:gd name="T90" fmla="*/ 96 w 182"/>
                  <a:gd name="T91" fmla="*/ 77 h 104"/>
                  <a:gd name="T92" fmla="*/ 108 w 182"/>
                  <a:gd name="T93" fmla="*/ 82 h 104"/>
                  <a:gd name="T94" fmla="*/ 112 w 182"/>
                  <a:gd name="T95" fmla="*/ 87 h 104"/>
                  <a:gd name="T96" fmla="*/ 115 w 182"/>
                  <a:gd name="T97" fmla="*/ 99 h 104"/>
                  <a:gd name="T98" fmla="*/ 139 w 182"/>
                  <a:gd name="T99" fmla="*/ 96 h 104"/>
                  <a:gd name="T100" fmla="*/ 146 w 182"/>
                  <a:gd name="T101" fmla="*/ 92 h 104"/>
                  <a:gd name="T102" fmla="*/ 129 w 182"/>
                  <a:gd name="T103" fmla="*/ 81 h 104"/>
                  <a:gd name="T104" fmla="*/ 135 w 182"/>
                  <a:gd name="T105" fmla="*/ 79 h 104"/>
                  <a:gd name="T106" fmla="*/ 155 w 182"/>
                  <a:gd name="T107" fmla="*/ 7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2" h="104">
                    <a:moveTo>
                      <a:pt x="162" y="69"/>
                    </a:moveTo>
                    <a:cubicBezTo>
                      <a:pt x="162" y="69"/>
                      <a:pt x="162" y="69"/>
                      <a:pt x="162" y="69"/>
                    </a:cubicBezTo>
                    <a:cubicBezTo>
                      <a:pt x="162" y="69"/>
                      <a:pt x="162" y="68"/>
                      <a:pt x="162" y="68"/>
                    </a:cubicBezTo>
                    <a:cubicBezTo>
                      <a:pt x="162" y="67"/>
                      <a:pt x="162" y="66"/>
                      <a:pt x="162" y="65"/>
                    </a:cubicBezTo>
                    <a:cubicBezTo>
                      <a:pt x="163" y="63"/>
                      <a:pt x="164" y="61"/>
                      <a:pt x="167" y="60"/>
                    </a:cubicBezTo>
                    <a:cubicBezTo>
                      <a:pt x="168" y="60"/>
                      <a:pt x="169" y="60"/>
                      <a:pt x="170" y="59"/>
                    </a:cubicBezTo>
                    <a:cubicBezTo>
                      <a:pt x="171" y="58"/>
                      <a:pt x="173" y="58"/>
                      <a:pt x="177" y="59"/>
                    </a:cubicBezTo>
                    <a:cubicBezTo>
                      <a:pt x="177" y="59"/>
                      <a:pt x="178" y="59"/>
                      <a:pt x="178" y="59"/>
                    </a:cubicBezTo>
                    <a:cubicBezTo>
                      <a:pt x="178" y="58"/>
                      <a:pt x="178" y="58"/>
                      <a:pt x="178" y="58"/>
                    </a:cubicBezTo>
                    <a:cubicBezTo>
                      <a:pt x="178" y="57"/>
                      <a:pt x="179" y="55"/>
                      <a:pt x="180" y="54"/>
                    </a:cubicBezTo>
                    <a:cubicBezTo>
                      <a:pt x="180" y="54"/>
                      <a:pt x="180" y="54"/>
                      <a:pt x="179" y="52"/>
                    </a:cubicBezTo>
                    <a:cubicBezTo>
                      <a:pt x="179" y="52"/>
                      <a:pt x="179" y="51"/>
                      <a:pt x="178" y="51"/>
                    </a:cubicBezTo>
                    <a:cubicBezTo>
                      <a:pt x="178" y="51"/>
                      <a:pt x="178" y="51"/>
                      <a:pt x="178" y="51"/>
                    </a:cubicBezTo>
                    <a:cubicBezTo>
                      <a:pt x="177" y="51"/>
                      <a:pt x="177" y="51"/>
                      <a:pt x="177" y="51"/>
                    </a:cubicBezTo>
                    <a:cubicBezTo>
                      <a:pt x="177" y="50"/>
                      <a:pt x="176" y="49"/>
                      <a:pt x="177" y="49"/>
                    </a:cubicBezTo>
                    <a:cubicBezTo>
                      <a:pt x="177" y="48"/>
                      <a:pt x="177" y="47"/>
                      <a:pt x="178" y="47"/>
                    </a:cubicBezTo>
                    <a:cubicBezTo>
                      <a:pt x="178" y="47"/>
                      <a:pt x="178" y="46"/>
                      <a:pt x="178" y="46"/>
                    </a:cubicBezTo>
                    <a:cubicBezTo>
                      <a:pt x="178" y="46"/>
                      <a:pt x="178" y="46"/>
                      <a:pt x="178" y="46"/>
                    </a:cubicBezTo>
                    <a:cubicBezTo>
                      <a:pt x="176" y="45"/>
                      <a:pt x="176" y="45"/>
                      <a:pt x="176" y="45"/>
                    </a:cubicBezTo>
                    <a:cubicBezTo>
                      <a:pt x="178" y="44"/>
                      <a:pt x="178" y="44"/>
                      <a:pt x="178" y="44"/>
                    </a:cubicBezTo>
                    <a:cubicBezTo>
                      <a:pt x="179" y="43"/>
                      <a:pt x="181" y="41"/>
                      <a:pt x="181" y="41"/>
                    </a:cubicBezTo>
                    <a:cubicBezTo>
                      <a:pt x="181" y="41"/>
                      <a:pt x="181" y="41"/>
                      <a:pt x="181" y="41"/>
                    </a:cubicBezTo>
                    <a:cubicBezTo>
                      <a:pt x="182" y="40"/>
                      <a:pt x="182" y="39"/>
                      <a:pt x="182" y="38"/>
                    </a:cubicBezTo>
                    <a:cubicBezTo>
                      <a:pt x="178" y="39"/>
                      <a:pt x="177" y="37"/>
                      <a:pt x="175" y="36"/>
                    </a:cubicBezTo>
                    <a:cubicBezTo>
                      <a:pt x="175" y="36"/>
                      <a:pt x="175" y="35"/>
                      <a:pt x="175" y="35"/>
                    </a:cubicBezTo>
                    <a:cubicBezTo>
                      <a:pt x="173" y="34"/>
                      <a:pt x="173" y="34"/>
                      <a:pt x="172" y="35"/>
                    </a:cubicBezTo>
                    <a:cubicBezTo>
                      <a:pt x="172" y="35"/>
                      <a:pt x="172" y="35"/>
                      <a:pt x="171" y="35"/>
                    </a:cubicBezTo>
                    <a:cubicBezTo>
                      <a:pt x="171" y="35"/>
                      <a:pt x="171" y="35"/>
                      <a:pt x="171" y="35"/>
                    </a:cubicBezTo>
                    <a:cubicBezTo>
                      <a:pt x="171" y="35"/>
                      <a:pt x="171" y="35"/>
                      <a:pt x="171" y="35"/>
                    </a:cubicBezTo>
                    <a:cubicBezTo>
                      <a:pt x="171" y="35"/>
                      <a:pt x="171" y="35"/>
                      <a:pt x="171" y="35"/>
                    </a:cubicBezTo>
                    <a:cubicBezTo>
                      <a:pt x="171" y="35"/>
                      <a:pt x="171" y="35"/>
                      <a:pt x="171" y="35"/>
                    </a:cubicBezTo>
                    <a:cubicBezTo>
                      <a:pt x="171" y="35"/>
                      <a:pt x="170" y="35"/>
                      <a:pt x="170" y="35"/>
                    </a:cubicBezTo>
                    <a:cubicBezTo>
                      <a:pt x="169" y="35"/>
                      <a:pt x="169" y="34"/>
                      <a:pt x="168" y="33"/>
                    </a:cubicBezTo>
                    <a:cubicBezTo>
                      <a:pt x="168" y="33"/>
                      <a:pt x="167" y="32"/>
                      <a:pt x="167" y="32"/>
                    </a:cubicBezTo>
                    <a:cubicBezTo>
                      <a:pt x="166" y="32"/>
                      <a:pt x="165" y="32"/>
                      <a:pt x="165" y="32"/>
                    </a:cubicBezTo>
                    <a:cubicBezTo>
                      <a:pt x="164" y="32"/>
                      <a:pt x="164" y="32"/>
                      <a:pt x="164" y="32"/>
                    </a:cubicBezTo>
                    <a:cubicBezTo>
                      <a:pt x="164" y="32"/>
                      <a:pt x="163" y="33"/>
                      <a:pt x="162" y="33"/>
                    </a:cubicBezTo>
                    <a:cubicBezTo>
                      <a:pt x="161" y="34"/>
                      <a:pt x="161" y="34"/>
                      <a:pt x="161" y="34"/>
                    </a:cubicBezTo>
                    <a:cubicBezTo>
                      <a:pt x="160" y="33"/>
                      <a:pt x="160" y="33"/>
                      <a:pt x="160" y="33"/>
                    </a:cubicBezTo>
                    <a:cubicBezTo>
                      <a:pt x="158" y="31"/>
                      <a:pt x="157" y="29"/>
                      <a:pt x="156" y="28"/>
                    </a:cubicBezTo>
                    <a:cubicBezTo>
                      <a:pt x="156" y="27"/>
                      <a:pt x="155" y="27"/>
                      <a:pt x="155" y="27"/>
                    </a:cubicBezTo>
                    <a:cubicBezTo>
                      <a:pt x="155" y="27"/>
                      <a:pt x="155" y="27"/>
                      <a:pt x="155" y="27"/>
                    </a:cubicBezTo>
                    <a:cubicBezTo>
                      <a:pt x="154" y="27"/>
                      <a:pt x="152" y="28"/>
                      <a:pt x="151" y="28"/>
                    </a:cubicBezTo>
                    <a:cubicBezTo>
                      <a:pt x="148" y="29"/>
                      <a:pt x="145" y="29"/>
                      <a:pt x="143" y="28"/>
                    </a:cubicBezTo>
                    <a:cubicBezTo>
                      <a:pt x="142" y="27"/>
                      <a:pt x="141" y="27"/>
                      <a:pt x="140" y="27"/>
                    </a:cubicBezTo>
                    <a:cubicBezTo>
                      <a:pt x="138" y="28"/>
                      <a:pt x="137" y="28"/>
                      <a:pt x="135" y="27"/>
                    </a:cubicBezTo>
                    <a:cubicBezTo>
                      <a:pt x="135" y="26"/>
                      <a:pt x="134" y="25"/>
                      <a:pt x="134" y="24"/>
                    </a:cubicBezTo>
                    <a:cubicBezTo>
                      <a:pt x="134" y="23"/>
                      <a:pt x="134" y="22"/>
                      <a:pt x="133" y="21"/>
                    </a:cubicBezTo>
                    <a:cubicBezTo>
                      <a:pt x="132" y="20"/>
                      <a:pt x="132" y="19"/>
                      <a:pt x="132" y="18"/>
                    </a:cubicBezTo>
                    <a:cubicBezTo>
                      <a:pt x="132" y="18"/>
                      <a:pt x="132" y="17"/>
                      <a:pt x="131" y="17"/>
                    </a:cubicBezTo>
                    <a:cubicBezTo>
                      <a:pt x="130" y="16"/>
                      <a:pt x="130" y="16"/>
                      <a:pt x="130" y="16"/>
                    </a:cubicBezTo>
                    <a:cubicBezTo>
                      <a:pt x="129" y="17"/>
                      <a:pt x="127" y="17"/>
                      <a:pt x="125" y="16"/>
                    </a:cubicBezTo>
                    <a:cubicBezTo>
                      <a:pt x="125" y="16"/>
                      <a:pt x="125" y="16"/>
                      <a:pt x="123" y="16"/>
                    </a:cubicBezTo>
                    <a:cubicBezTo>
                      <a:pt x="122" y="16"/>
                      <a:pt x="122" y="16"/>
                      <a:pt x="122" y="15"/>
                    </a:cubicBezTo>
                    <a:cubicBezTo>
                      <a:pt x="121" y="15"/>
                      <a:pt x="121" y="14"/>
                      <a:pt x="121" y="12"/>
                    </a:cubicBezTo>
                    <a:cubicBezTo>
                      <a:pt x="121" y="11"/>
                      <a:pt x="121" y="10"/>
                      <a:pt x="120" y="10"/>
                    </a:cubicBezTo>
                    <a:cubicBezTo>
                      <a:pt x="120" y="9"/>
                      <a:pt x="120" y="9"/>
                      <a:pt x="120" y="9"/>
                    </a:cubicBezTo>
                    <a:cubicBezTo>
                      <a:pt x="120" y="8"/>
                      <a:pt x="120" y="8"/>
                      <a:pt x="120" y="8"/>
                    </a:cubicBezTo>
                    <a:cubicBezTo>
                      <a:pt x="120" y="8"/>
                      <a:pt x="121" y="7"/>
                      <a:pt x="122" y="7"/>
                    </a:cubicBezTo>
                    <a:cubicBezTo>
                      <a:pt x="122" y="7"/>
                      <a:pt x="122" y="7"/>
                      <a:pt x="122" y="7"/>
                    </a:cubicBezTo>
                    <a:cubicBezTo>
                      <a:pt x="121" y="6"/>
                      <a:pt x="120" y="4"/>
                      <a:pt x="120" y="3"/>
                    </a:cubicBezTo>
                    <a:cubicBezTo>
                      <a:pt x="120" y="3"/>
                      <a:pt x="119" y="2"/>
                      <a:pt x="118" y="1"/>
                    </a:cubicBezTo>
                    <a:cubicBezTo>
                      <a:pt x="117" y="0"/>
                      <a:pt x="117" y="0"/>
                      <a:pt x="117" y="0"/>
                    </a:cubicBezTo>
                    <a:cubicBezTo>
                      <a:pt x="117" y="0"/>
                      <a:pt x="117" y="0"/>
                      <a:pt x="117" y="0"/>
                    </a:cubicBezTo>
                    <a:cubicBezTo>
                      <a:pt x="116" y="0"/>
                      <a:pt x="115" y="0"/>
                      <a:pt x="114" y="1"/>
                    </a:cubicBezTo>
                    <a:cubicBezTo>
                      <a:pt x="111" y="2"/>
                      <a:pt x="109" y="2"/>
                      <a:pt x="106" y="1"/>
                    </a:cubicBezTo>
                    <a:cubicBezTo>
                      <a:pt x="105" y="1"/>
                      <a:pt x="105" y="2"/>
                      <a:pt x="104" y="3"/>
                    </a:cubicBezTo>
                    <a:cubicBezTo>
                      <a:pt x="104" y="3"/>
                      <a:pt x="104" y="3"/>
                      <a:pt x="104" y="3"/>
                    </a:cubicBezTo>
                    <a:cubicBezTo>
                      <a:pt x="102" y="6"/>
                      <a:pt x="98" y="5"/>
                      <a:pt x="97" y="4"/>
                    </a:cubicBezTo>
                    <a:cubicBezTo>
                      <a:pt x="97" y="4"/>
                      <a:pt x="97" y="4"/>
                      <a:pt x="97" y="4"/>
                    </a:cubicBezTo>
                    <a:cubicBezTo>
                      <a:pt x="96" y="4"/>
                      <a:pt x="96" y="4"/>
                      <a:pt x="96" y="4"/>
                    </a:cubicBezTo>
                    <a:cubicBezTo>
                      <a:pt x="96" y="4"/>
                      <a:pt x="96" y="4"/>
                      <a:pt x="96" y="4"/>
                    </a:cubicBezTo>
                    <a:cubicBezTo>
                      <a:pt x="96" y="4"/>
                      <a:pt x="95" y="4"/>
                      <a:pt x="95" y="4"/>
                    </a:cubicBezTo>
                    <a:cubicBezTo>
                      <a:pt x="95" y="4"/>
                      <a:pt x="94" y="4"/>
                      <a:pt x="94" y="4"/>
                    </a:cubicBezTo>
                    <a:cubicBezTo>
                      <a:pt x="94" y="4"/>
                      <a:pt x="94" y="4"/>
                      <a:pt x="93" y="4"/>
                    </a:cubicBezTo>
                    <a:cubicBezTo>
                      <a:pt x="93" y="4"/>
                      <a:pt x="93" y="4"/>
                      <a:pt x="93" y="4"/>
                    </a:cubicBezTo>
                    <a:cubicBezTo>
                      <a:pt x="93" y="4"/>
                      <a:pt x="93" y="5"/>
                      <a:pt x="92" y="5"/>
                    </a:cubicBezTo>
                    <a:cubicBezTo>
                      <a:pt x="92" y="5"/>
                      <a:pt x="91" y="5"/>
                      <a:pt x="91" y="5"/>
                    </a:cubicBezTo>
                    <a:cubicBezTo>
                      <a:pt x="91" y="4"/>
                      <a:pt x="91" y="4"/>
                      <a:pt x="91" y="4"/>
                    </a:cubicBezTo>
                    <a:cubicBezTo>
                      <a:pt x="90" y="5"/>
                      <a:pt x="89" y="5"/>
                      <a:pt x="88" y="6"/>
                    </a:cubicBezTo>
                    <a:cubicBezTo>
                      <a:pt x="87" y="7"/>
                      <a:pt x="87" y="7"/>
                      <a:pt x="87" y="7"/>
                    </a:cubicBezTo>
                    <a:cubicBezTo>
                      <a:pt x="87" y="7"/>
                      <a:pt x="87" y="7"/>
                      <a:pt x="87" y="8"/>
                    </a:cubicBezTo>
                    <a:cubicBezTo>
                      <a:pt x="87" y="8"/>
                      <a:pt x="87" y="8"/>
                      <a:pt x="87" y="8"/>
                    </a:cubicBezTo>
                    <a:cubicBezTo>
                      <a:pt x="87" y="8"/>
                      <a:pt x="87" y="8"/>
                      <a:pt x="87" y="8"/>
                    </a:cubicBezTo>
                    <a:cubicBezTo>
                      <a:pt x="87" y="8"/>
                      <a:pt x="87" y="9"/>
                      <a:pt x="86" y="9"/>
                    </a:cubicBezTo>
                    <a:cubicBezTo>
                      <a:pt x="86" y="9"/>
                      <a:pt x="86" y="10"/>
                      <a:pt x="86" y="10"/>
                    </a:cubicBezTo>
                    <a:cubicBezTo>
                      <a:pt x="86" y="11"/>
                      <a:pt x="86" y="11"/>
                      <a:pt x="86" y="11"/>
                    </a:cubicBezTo>
                    <a:cubicBezTo>
                      <a:pt x="86" y="11"/>
                      <a:pt x="86" y="11"/>
                      <a:pt x="86" y="11"/>
                    </a:cubicBezTo>
                    <a:cubicBezTo>
                      <a:pt x="87" y="12"/>
                      <a:pt x="87" y="13"/>
                      <a:pt x="86" y="15"/>
                    </a:cubicBezTo>
                    <a:cubicBezTo>
                      <a:pt x="86" y="17"/>
                      <a:pt x="86" y="17"/>
                      <a:pt x="86" y="17"/>
                    </a:cubicBezTo>
                    <a:cubicBezTo>
                      <a:pt x="84" y="15"/>
                      <a:pt x="84" y="15"/>
                      <a:pt x="84" y="15"/>
                    </a:cubicBezTo>
                    <a:cubicBezTo>
                      <a:pt x="84" y="15"/>
                      <a:pt x="83" y="15"/>
                      <a:pt x="83" y="14"/>
                    </a:cubicBezTo>
                    <a:cubicBezTo>
                      <a:pt x="82" y="14"/>
                      <a:pt x="82" y="13"/>
                      <a:pt x="81" y="13"/>
                    </a:cubicBezTo>
                    <a:cubicBezTo>
                      <a:pt x="81" y="12"/>
                      <a:pt x="78" y="13"/>
                      <a:pt x="77" y="13"/>
                    </a:cubicBezTo>
                    <a:cubicBezTo>
                      <a:pt x="76" y="14"/>
                      <a:pt x="74" y="14"/>
                      <a:pt x="73" y="14"/>
                    </a:cubicBezTo>
                    <a:cubicBezTo>
                      <a:pt x="72" y="14"/>
                      <a:pt x="72" y="14"/>
                      <a:pt x="72" y="13"/>
                    </a:cubicBezTo>
                    <a:cubicBezTo>
                      <a:pt x="71" y="13"/>
                      <a:pt x="71" y="13"/>
                      <a:pt x="71" y="13"/>
                    </a:cubicBezTo>
                    <a:cubicBezTo>
                      <a:pt x="71" y="13"/>
                      <a:pt x="71" y="13"/>
                      <a:pt x="71" y="13"/>
                    </a:cubicBezTo>
                    <a:cubicBezTo>
                      <a:pt x="71" y="13"/>
                      <a:pt x="71" y="13"/>
                      <a:pt x="71" y="13"/>
                    </a:cubicBezTo>
                    <a:cubicBezTo>
                      <a:pt x="71" y="12"/>
                      <a:pt x="71" y="12"/>
                      <a:pt x="71" y="12"/>
                    </a:cubicBezTo>
                    <a:cubicBezTo>
                      <a:pt x="71" y="12"/>
                      <a:pt x="71" y="12"/>
                      <a:pt x="70" y="12"/>
                    </a:cubicBezTo>
                    <a:cubicBezTo>
                      <a:pt x="70" y="11"/>
                      <a:pt x="70" y="11"/>
                      <a:pt x="70" y="11"/>
                    </a:cubicBezTo>
                    <a:cubicBezTo>
                      <a:pt x="70" y="11"/>
                      <a:pt x="70" y="11"/>
                      <a:pt x="70" y="11"/>
                    </a:cubicBezTo>
                    <a:cubicBezTo>
                      <a:pt x="70" y="11"/>
                      <a:pt x="69" y="11"/>
                      <a:pt x="69" y="11"/>
                    </a:cubicBezTo>
                    <a:cubicBezTo>
                      <a:pt x="69" y="11"/>
                      <a:pt x="69" y="11"/>
                      <a:pt x="69" y="12"/>
                    </a:cubicBezTo>
                    <a:cubicBezTo>
                      <a:pt x="68" y="12"/>
                      <a:pt x="68" y="12"/>
                      <a:pt x="68" y="13"/>
                    </a:cubicBezTo>
                    <a:cubicBezTo>
                      <a:pt x="67" y="14"/>
                      <a:pt x="67" y="14"/>
                      <a:pt x="67" y="14"/>
                    </a:cubicBezTo>
                    <a:cubicBezTo>
                      <a:pt x="66" y="13"/>
                      <a:pt x="66" y="13"/>
                      <a:pt x="66" y="13"/>
                    </a:cubicBezTo>
                    <a:cubicBezTo>
                      <a:pt x="65" y="13"/>
                      <a:pt x="65" y="13"/>
                      <a:pt x="64" y="12"/>
                    </a:cubicBezTo>
                    <a:cubicBezTo>
                      <a:pt x="63" y="12"/>
                      <a:pt x="62" y="12"/>
                      <a:pt x="61" y="11"/>
                    </a:cubicBezTo>
                    <a:cubicBezTo>
                      <a:pt x="61" y="11"/>
                      <a:pt x="61" y="11"/>
                      <a:pt x="61" y="11"/>
                    </a:cubicBezTo>
                    <a:cubicBezTo>
                      <a:pt x="60" y="11"/>
                      <a:pt x="60" y="11"/>
                      <a:pt x="60" y="11"/>
                    </a:cubicBezTo>
                    <a:cubicBezTo>
                      <a:pt x="60" y="11"/>
                      <a:pt x="60" y="11"/>
                      <a:pt x="60" y="11"/>
                    </a:cubicBezTo>
                    <a:cubicBezTo>
                      <a:pt x="58" y="11"/>
                      <a:pt x="58" y="11"/>
                      <a:pt x="57" y="12"/>
                    </a:cubicBezTo>
                    <a:cubicBezTo>
                      <a:pt x="49" y="19"/>
                      <a:pt x="49" y="19"/>
                      <a:pt x="49" y="19"/>
                    </a:cubicBezTo>
                    <a:cubicBezTo>
                      <a:pt x="55" y="11"/>
                      <a:pt x="55" y="11"/>
                      <a:pt x="55" y="11"/>
                    </a:cubicBezTo>
                    <a:cubicBezTo>
                      <a:pt x="54" y="11"/>
                      <a:pt x="54" y="10"/>
                      <a:pt x="52" y="10"/>
                    </a:cubicBezTo>
                    <a:cubicBezTo>
                      <a:pt x="52" y="10"/>
                      <a:pt x="52" y="10"/>
                      <a:pt x="51" y="10"/>
                    </a:cubicBezTo>
                    <a:cubicBezTo>
                      <a:pt x="38" y="7"/>
                      <a:pt x="38" y="7"/>
                      <a:pt x="38" y="7"/>
                    </a:cubicBezTo>
                    <a:cubicBezTo>
                      <a:pt x="36" y="7"/>
                      <a:pt x="34" y="7"/>
                      <a:pt x="31" y="6"/>
                    </a:cubicBezTo>
                    <a:cubicBezTo>
                      <a:pt x="31" y="6"/>
                      <a:pt x="31" y="6"/>
                      <a:pt x="30" y="6"/>
                    </a:cubicBezTo>
                    <a:cubicBezTo>
                      <a:pt x="30" y="6"/>
                      <a:pt x="29" y="6"/>
                      <a:pt x="29" y="7"/>
                    </a:cubicBezTo>
                    <a:cubicBezTo>
                      <a:pt x="29" y="7"/>
                      <a:pt x="29" y="7"/>
                      <a:pt x="29" y="7"/>
                    </a:cubicBezTo>
                    <a:cubicBezTo>
                      <a:pt x="28" y="7"/>
                      <a:pt x="27" y="7"/>
                      <a:pt x="27" y="7"/>
                    </a:cubicBezTo>
                    <a:cubicBezTo>
                      <a:pt x="26" y="7"/>
                      <a:pt x="26" y="7"/>
                      <a:pt x="25" y="7"/>
                    </a:cubicBezTo>
                    <a:cubicBezTo>
                      <a:pt x="25" y="7"/>
                      <a:pt x="25" y="7"/>
                      <a:pt x="25" y="7"/>
                    </a:cubicBezTo>
                    <a:cubicBezTo>
                      <a:pt x="24" y="7"/>
                      <a:pt x="24" y="7"/>
                      <a:pt x="23" y="7"/>
                    </a:cubicBezTo>
                    <a:cubicBezTo>
                      <a:pt x="23" y="7"/>
                      <a:pt x="22" y="8"/>
                      <a:pt x="21" y="8"/>
                    </a:cubicBezTo>
                    <a:cubicBezTo>
                      <a:pt x="21" y="9"/>
                      <a:pt x="20" y="10"/>
                      <a:pt x="20" y="10"/>
                    </a:cubicBezTo>
                    <a:cubicBezTo>
                      <a:pt x="19" y="10"/>
                      <a:pt x="19" y="11"/>
                      <a:pt x="19" y="11"/>
                    </a:cubicBezTo>
                    <a:cubicBezTo>
                      <a:pt x="20" y="13"/>
                      <a:pt x="20" y="13"/>
                      <a:pt x="20" y="13"/>
                    </a:cubicBezTo>
                    <a:cubicBezTo>
                      <a:pt x="18" y="11"/>
                      <a:pt x="18" y="11"/>
                      <a:pt x="18" y="11"/>
                    </a:cubicBezTo>
                    <a:cubicBezTo>
                      <a:pt x="18" y="11"/>
                      <a:pt x="18" y="11"/>
                      <a:pt x="18" y="11"/>
                    </a:cubicBezTo>
                    <a:cubicBezTo>
                      <a:pt x="18" y="11"/>
                      <a:pt x="17" y="11"/>
                      <a:pt x="17" y="11"/>
                    </a:cubicBezTo>
                    <a:cubicBezTo>
                      <a:pt x="17" y="12"/>
                      <a:pt x="17" y="12"/>
                      <a:pt x="17" y="12"/>
                    </a:cubicBezTo>
                    <a:cubicBezTo>
                      <a:pt x="16" y="12"/>
                      <a:pt x="16" y="12"/>
                      <a:pt x="16" y="12"/>
                    </a:cubicBezTo>
                    <a:cubicBezTo>
                      <a:pt x="16" y="12"/>
                      <a:pt x="16" y="12"/>
                      <a:pt x="16" y="13"/>
                    </a:cubicBezTo>
                    <a:cubicBezTo>
                      <a:pt x="16" y="13"/>
                      <a:pt x="16" y="13"/>
                      <a:pt x="16" y="13"/>
                    </a:cubicBezTo>
                    <a:cubicBezTo>
                      <a:pt x="17" y="15"/>
                      <a:pt x="18" y="16"/>
                      <a:pt x="19" y="17"/>
                    </a:cubicBezTo>
                    <a:cubicBezTo>
                      <a:pt x="19" y="18"/>
                      <a:pt x="19" y="18"/>
                      <a:pt x="19" y="18"/>
                    </a:cubicBezTo>
                    <a:cubicBezTo>
                      <a:pt x="19" y="18"/>
                      <a:pt x="19" y="18"/>
                      <a:pt x="19" y="18"/>
                    </a:cubicBezTo>
                    <a:cubicBezTo>
                      <a:pt x="20" y="18"/>
                      <a:pt x="20" y="18"/>
                      <a:pt x="20" y="19"/>
                    </a:cubicBezTo>
                    <a:cubicBezTo>
                      <a:pt x="22" y="20"/>
                      <a:pt x="22" y="20"/>
                      <a:pt x="22" y="20"/>
                    </a:cubicBezTo>
                    <a:cubicBezTo>
                      <a:pt x="20" y="21"/>
                      <a:pt x="20" y="21"/>
                      <a:pt x="20" y="21"/>
                    </a:cubicBezTo>
                    <a:cubicBezTo>
                      <a:pt x="20" y="21"/>
                      <a:pt x="20" y="21"/>
                      <a:pt x="19" y="21"/>
                    </a:cubicBezTo>
                    <a:cubicBezTo>
                      <a:pt x="20" y="22"/>
                      <a:pt x="20" y="22"/>
                      <a:pt x="20" y="23"/>
                    </a:cubicBezTo>
                    <a:cubicBezTo>
                      <a:pt x="21" y="24"/>
                      <a:pt x="20" y="26"/>
                      <a:pt x="19" y="27"/>
                    </a:cubicBezTo>
                    <a:cubicBezTo>
                      <a:pt x="18" y="28"/>
                      <a:pt x="17" y="28"/>
                      <a:pt x="15" y="29"/>
                    </a:cubicBezTo>
                    <a:cubicBezTo>
                      <a:pt x="15" y="29"/>
                      <a:pt x="14" y="29"/>
                      <a:pt x="14" y="29"/>
                    </a:cubicBezTo>
                    <a:cubicBezTo>
                      <a:pt x="13" y="29"/>
                      <a:pt x="13" y="30"/>
                      <a:pt x="12" y="31"/>
                    </a:cubicBezTo>
                    <a:cubicBezTo>
                      <a:pt x="12" y="31"/>
                      <a:pt x="12" y="31"/>
                      <a:pt x="12" y="31"/>
                    </a:cubicBezTo>
                    <a:cubicBezTo>
                      <a:pt x="12" y="32"/>
                      <a:pt x="11" y="32"/>
                      <a:pt x="11" y="32"/>
                    </a:cubicBezTo>
                    <a:cubicBezTo>
                      <a:pt x="6" y="38"/>
                      <a:pt x="6" y="38"/>
                      <a:pt x="6" y="38"/>
                    </a:cubicBezTo>
                    <a:cubicBezTo>
                      <a:pt x="6" y="38"/>
                      <a:pt x="6" y="38"/>
                      <a:pt x="6" y="38"/>
                    </a:cubicBezTo>
                    <a:cubicBezTo>
                      <a:pt x="6" y="38"/>
                      <a:pt x="6" y="38"/>
                      <a:pt x="6" y="40"/>
                    </a:cubicBezTo>
                    <a:cubicBezTo>
                      <a:pt x="6" y="40"/>
                      <a:pt x="6" y="40"/>
                      <a:pt x="6" y="40"/>
                    </a:cubicBezTo>
                    <a:cubicBezTo>
                      <a:pt x="6" y="41"/>
                      <a:pt x="6" y="41"/>
                      <a:pt x="6" y="41"/>
                    </a:cubicBezTo>
                    <a:cubicBezTo>
                      <a:pt x="9" y="40"/>
                      <a:pt x="9" y="40"/>
                      <a:pt x="9" y="40"/>
                    </a:cubicBezTo>
                    <a:cubicBezTo>
                      <a:pt x="7" y="42"/>
                      <a:pt x="7" y="42"/>
                      <a:pt x="7" y="42"/>
                    </a:cubicBezTo>
                    <a:cubicBezTo>
                      <a:pt x="7" y="43"/>
                      <a:pt x="7" y="43"/>
                      <a:pt x="7" y="43"/>
                    </a:cubicBezTo>
                    <a:cubicBezTo>
                      <a:pt x="10" y="47"/>
                      <a:pt x="10" y="47"/>
                      <a:pt x="10" y="47"/>
                    </a:cubicBezTo>
                    <a:cubicBezTo>
                      <a:pt x="6" y="46"/>
                      <a:pt x="6" y="46"/>
                      <a:pt x="6" y="46"/>
                    </a:cubicBezTo>
                    <a:cubicBezTo>
                      <a:pt x="6" y="46"/>
                      <a:pt x="5" y="45"/>
                      <a:pt x="5" y="45"/>
                    </a:cubicBezTo>
                    <a:cubicBezTo>
                      <a:pt x="4" y="45"/>
                      <a:pt x="4" y="45"/>
                      <a:pt x="4" y="45"/>
                    </a:cubicBezTo>
                    <a:cubicBezTo>
                      <a:pt x="3" y="45"/>
                      <a:pt x="3" y="46"/>
                      <a:pt x="3" y="46"/>
                    </a:cubicBezTo>
                    <a:cubicBezTo>
                      <a:pt x="3" y="47"/>
                      <a:pt x="3" y="47"/>
                      <a:pt x="3" y="47"/>
                    </a:cubicBezTo>
                    <a:cubicBezTo>
                      <a:pt x="3" y="47"/>
                      <a:pt x="3" y="47"/>
                      <a:pt x="3" y="47"/>
                    </a:cubicBezTo>
                    <a:cubicBezTo>
                      <a:pt x="2" y="47"/>
                      <a:pt x="2" y="47"/>
                      <a:pt x="2" y="48"/>
                    </a:cubicBezTo>
                    <a:cubicBezTo>
                      <a:pt x="2" y="49"/>
                      <a:pt x="1" y="50"/>
                      <a:pt x="1" y="50"/>
                    </a:cubicBezTo>
                    <a:cubicBezTo>
                      <a:pt x="1" y="51"/>
                      <a:pt x="1" y="51"/>
                      <a:pt x="1" y="51"/>
                    </a:cubicBezTo>
                    <a:cubicBezTo>
                      <a:pt x="1" y="51"/>
                      <a:pt x="1" y="51"/>
                      <a:pt x="1" y="51"/>
                    </a:cubicBezTo>
                    <a:cubicBezTo>
                      <a:pt x="0" y="51"/>
                      <a:pt x="0" y="51"/>
                      <a:pt x="0" y="51"/>
                    </a:cubicBezTo>
                    <a:cubicBezTo>
                      <a:pt x="1" y="51"/>
                      <a:pt x="1" y="51"/>
                      <a:pt x="1" y="51"/>
                    </a:cubicBezTo>
                    <a:cubicBezTo>
                      <a:pt x="1" y="52"/>
                      <a:pt x="1" y="52"/>
                      <a:pt x="1" y="52"/>
                    </a:cubicBezTo>
                    <a:cubicBezTo>
                      <a:pt x="1" y="52"/>
                      <a:pt x="2" y="53"/>
                      <a:pt x="2" y="53"/>
                    </a:cubicBezTo>
                    <a:cubicBezTo>
                      <a:pt x="3" y="53"/>
                      <a:pt x="3" y="53"/>
                      <a:pt x="3" y="53"/>
                    </a:cubicBezTo>
                    <a:cubicBezTo>
                      <a:pt x="3" y="54"/>
                      <a:pt x="3" y="54"/>
                      <a:pt x="3" y="54"/>
                    </a:cubicBezTo>
                    <a:cubicBezTo>
                      <a:pt x="4" y="54"/>
                      <a:pt x="4" y="55"/>
                      <a:pt x="4" y="55"/>
                    </a:cubicBezTo>
                    <a:cubicBezTo>
                      <a:pt x="5" y="56"/>
                      <a:pt x="6" y="56"/>
                      <a:pt x="7" y="57"/>
                    </a:cubicBezTo>
                    <a:cubicBezTo>
                      <a:pt x="7" y="57"/>
                      <a:pt x="7" y="57"/>
                      <a:pt x="7" y="57"/>
                    </a:cubicBezTo>
                    <a:cubicBezTo>
                      <a:pt x="7" y="56"/>
                      <a:pt x="8" y="56"/>
                      <a:pt x="9" y="55"/>
                    </a:cubicBezTo>
                    <a:cubicBezTo>
                      <a:pt x="9" y="55"/>
                      <a:pt x="9" y="55"/>
                      <a:pt x="10" y="55"/>
                    </a:cubicBezTo>
                    <a:cubicBezTo>
                      <a:pt x="10" y="55"/>
                      <a:pt x="10" y="55"/>
                      <a:pt x="10" y="55"/>
                    </a:cubicBezTo>
                    <a:cubicBezTo>
                      <a:pt x="10" y="55"/>
                      <a:pt x="10" y="55"/>
                      <a:pt x="10" y="55"/>
                    </a:cubicBezTo>
                    <a:cubicBezTo>
                      <a:pt x="11" y="55"/>
                      <a:pt x="11" y="55"/>
                      <a:pt x="11" y="55"/>
                    </a:cubicBezTo>
                    <a:cubicBezTo>
                      <a:pt x="11" y="55"/>
                      <a:pt x="11" y="55"/>
                      <a:pt x="11" y="55"/>
                    </a:cubicBezTo>
                    <a:cubicBezTo>
                      <a:pt x="12" y="56"/>
                      <a:pt x="12" y="56"/>
                      <a:pt x="12" y="56"/>
                    </a:cubicBezTo>
                    <a:cubicBezTo>
                      <a:pt x="12" y="56"/>
                      <a:pt x="13" y="56"/>
                      <a:pt x="13" y="56"/>
                    </a:cubicBezTo>
                    <a:cubicBezTo>
                      <a:pt x="14" y="56"/>
                      <a:pt x="15" y="56"/>
                      <a:pt x="16" y="56"/>
                    </a:cubicBezTo>
                    <a:cubicBezTo>
                      <a:pt x="16" y="56"/>
                      <a:pt x="16" y="56"/>
                      <a:pt x="16" y="56"/>
                    </a:cubicBezTo>
                    <a:cubicBezTo>
                      <a:pt x="17" y="56"/>
                      <a:pt x="17" y="56"/>
                      <a:pt x="17" y="57"/>
                    </a:cubicBezTo>
                    <a:cubicBezTo>
                      <a:pt x="20" y="57"/>
                      <a:pt x="20" y="57"/>
                      <a:pt x="20" y="57"/>
                    </a:cubicBezTo>
                    <a:cubicBezTo>
                      <a:pt x="20" y="57"/>
                      <a:pt x="20" y="57"/>
                      <a:pt x="21" y="57"/>
                    </a:cubicBezTo>
                    <a:cubicBezTo>
                      <a:pt x="22" y="57"/>
                      <a:pt x="23" y="57"/>
                      <a:pt x="24" y="57"/>
                    </a:cubicBezTo>
                    <a:cubicBezTo>
                      <a:pt x="25" y="58"/>
                      <a:pt x="26" y="58"/>
                      <a:pt x="27" y="59"/>
                    </a:cubicBezTo>
                    <a:cubicBezTo>
                      <a:pt x="27" y="59"/>
                      <a:pt x="27" y="60"/>
                      <a:pt x="28" y="60"/>
                    </a:cubicBezTo>
                    <a:cubicBezTo>
                      <a:pt x="28" y="60"/>
                      <a:pt x="28" y="60"/>
                      <a:pt x="28" y="60"/>
                    </a:cubicBezTo>
                    <a:cubicBezTo>
                      <a:pt x="29" y="59"/>
                      <a:pt x="29" y="59"/>
                      <a:pt x="29" y="59"/>
                    </a:cubicBezTo>
                    <a:cubicBezTo>
                      <a:pt x="30" y="58"/>
                      <a:pt x="31" y="58"/>
                      <a:pt x="32" y="57"/>
                    </a:cubicBezTo>
                    <a:cubicBezTo>
                      <a:pt x="32" y="57"/>
                      <a:pt x="32" y="57"/>
                      <a:pt x="33" y="57"/>
                    </a:cubicBezTo>
                    <a:cubicBezTo>
                      <a:pt x="33" y="57"/>
                      <a:pt x="33" y="57"/>
                      <a:pt x="33" y="57"/>
                    </a:cubicBezTo>
                    <a:cubicBezTo>
                      <a:pt x="34" y="57"/>
                      <a:pt x="34" y="57"/>
                      <a:pt x="35" y="57"/>
                    </a:cubicBezTo>
                    <a:cubicBezTo>
                      <a:pt x="35" y="57"/>
                      <a:pt x="35" y="57"/>
                      <a:pt x="35" y="57"/>
                    </a:cubicBezTo>
                    <a:cubicBezTo>
                      <a:pt x="36" y="57"/>
                      <a:pt x="38" y="57"/>
                      <a:pt x="39" y="57"/>
                    </a:cubicBezTo>
                    <a:cubicBezTo>
                      <a:pt x="39" y="57"/>
                      <a:pt x="39" y="57"/>
                      <a:pt x="39" y="57"/>
                    </a:cubicBezTo>
                    <a:cubicBezTo>
                      <a:pt x="45" y="53"/>
                      <a:pt x="45" y="53"/>
                      <a:pt x="45" y="53"/>
                    </a:cubicBezTo>
                    <a:cubicBezTo>
                      <a:pt x="45" y="52"/>
                      <a:pt x="46" y="52"/>
                      <a:pt x="47" y="51"/>
                    </a:cubicBezTo>
                    <a:cubicBezTo>
                      <a:pt x="48" y="51"/>
                      <a:pt x="49" y="51"/>
                      <a:pt x="50" y="51"/>
                    </a:cubicBezTo>
                    <a:cubicBezTo>
                      <a:pt x="50" y="51"/>
                      <a:pt x="50" y="51"/>
                      <a:pt x="50" y="51"/>
                    </a:cubicBezTo>
                    <a:cubicBezTo>
                      <a:pt x="51" y="51"/>
                      <a:pt x="52" y="51"/>
                      <a:pt x="53" y="50"/>
                    </a:cubicBezTo>
                    <a:cubicBezTo>
                      <a:pt x="54" y="50"/>
                      <a:pt x="54" y="50"/>
                      <a:pt x="54" y="50"/>
                    </a:cubicBezTo>
                    <a:cubicBezTo>
                      <a:pt x="55" y="51"/>
                      <a:pt x="55" y="51"/>
                      <a:pt x="55" y="51"/>
                    </a:cubicBezTo>
                    <a:cubicBezTo>
                      <a:pt x="56" y="51"/>
                      <a:pt x="56" y="51"/>
                      <a:pt x="56" y="51"/>
                    </a:cubicBezTo>
                    <a:cubicBezTo>
                      <a:pt x="58" y="52"/>
                      <a:pt x="60" y="53"/>
                      <a:pt x="62" y="54"/>
                    </a:cubicBezTo>
                    <a:cubicBezTo>
                      <a:pt x="64" y="54"/>
                      <a:pt x="64" y="54"/>
                      <a:pt x="64" y="54"/>
                    </a:cubicBezTo>
                    <a:cubicBezTo>
                      <a:pt x="65" y="55"/>
                      <a:pt x="65" y="55"/>
                      <a:pt x="66" y="55"/>
                    </a:cubicBezTo>
                    <a:cubicBezTo>
                      <a:pt x="66" y="55"/>
                      <a:pt x="67" y="56"/>
                      <a:pt x="67" y="56"/>
                    </a:cubicBezTo>
                    <a:cubicBezTo>
                      <a:pt x="68" y="56"/>
                      <a:pt x="68" y="56"/>
                      <a:pt x="68" y="56"/>
                    </a:cubicBezTo>
                    <a:cubicBezTo>
                      <a:pt x="68" y="56"/>
                      <a:pt x="69" y="57"/>
                      <a:pt x="69" y="57"/>
                    </a:cubicBezTo>
                    <a:cubicBezTo>
                      <a:pt x="70" y="57"/>
                      <a:pt x="70" y="56"/>
                      <a:pt x="71" y="57"/>
                    </a:cubicBezTo>
                    <a:cubicBezTo>
                      <a:pt x="72" y="57"/>
                      <a:pt x="72" y="58"/>
                      <a:pt x="72" y="58"/>
                    </a:cubicBezTo>
                    <a:cubicBezTo>
                      <a:pt x="73" y="58"/>
                      <a:pt x="73" y="59"/>
                      <a:pt x="73" y="59"/>
                    </a:cubicBezTo>
                    <a:cubicBezTo>
                      <a:pt x="73" y="61"/>
                      <a:pt x="72" y="63"/>
                      <a:pt x="72" y="63"/>
                    </a:cubicBezTo>
                    <a:cubicBezTo>
                      <a:pt x="72" y="63"/>
                      <a:pt x="72" y="63"/>
                      <a:pt x="72" y="64"/>
                    </a:cubicBezTo>
                    <a:cubicBezTo>
                      <a:pt x="72" y="64"/>
                      <a:pt x="72" y="64"/>
                      <a:pt x="72" y="64"/>
                    </a:cubicBezTo>
                    <a:cubicBezTo>
                      <a:pt x="73" y="65"/>
                      <a:pt x="73" y="65"/>
                      <a:pt x="73" y="65"/>
                    </a:cubicBezTo>
                    <a:cubicBezTo>
                      <a:pt x="74" y="65"/>
                      <a:pt x="74" y="65"/>
                      <a:pt x="74" y="65"/>
                    </a:cubicBezTo>
                    <a:cubicBezTo>
                      <a:pt x="74" y="65"/>
                      <a:pt x="74" y="65"/>
                      <a:pt x="74" y="65"/>
                    </a:cubicBezTo>
                    <a:cubicBezTo>
                      <a:pt x="75" y="65"/>
                      <a:pt x="75" y="65"/>
                      <a:pt x="75" y="65"/>
                    </a:cubicBezTo>
                    <a:cubicBezTo>
                      <a:pt x="76" y="65"/>
                      <a:pt x="76" y="66"/>
                      <a:pt x="76" y="67"/>
                    </a:cubicBezTo>
                    <a:cubicBezTo>
                      <a:pt x="76" y="68"/>
                      <a:pt x="76" y="69"/>
                      <a:pt x="76" y="69"/>
                    </a:cubicBezTo>
                    <a:cubicBezTo>
                      <a:pt x="77" y="70"/>
                      <a:pt x="77" y="71"/>
                      <a:pt x="78" y="71"/>
                    </a:cubicBezTo>
                    <a:cubicBezTo>
                      <a:pt x="78" y="71"/>
                      <a:pt x="78" y="71"/>
                      <a:pt x="78" y="71"/>
                    </a:cubicBezTo>
                    <a:cubicBezTo>
                      <a:pt x="78" y="71"/>
                      <a:pt x="78" y="71"/>
                      <a:pt x="78" y="71"/>
                    </a:cubicBezTo>
                    <a:cubicBezTo>
                      <a:pt x="79" y="71"/>
                      <a:pt x="79" y="71"/>
                      <a:pt x="79" y="71"/>
                    </a:cubicBezTo>
                    <a:cubicBezTo>
                      <a:pt x="79" y="71"/>
                      <a:pt x="79" y="71"/>
                      <a:pt x="79" y="71"/>
                    </a:cubicBezTo>
                    <a:cubicBezTo>
                      <a:pt x="79" y="72"/>
                      <a:pt x="79" y="72"/>
                      <a:pt x="79" y="72"/>
                    </a:cubicBezTo>
                    <a:cubicBezTo>
                      <a:pt x="79" y="72"/>
                      <a:pt x="80" y="72"/>
                      <a:pt x="80" y="73"/>
                    </a:cubicBezTo>
                    <a:cubicBezTo>
                      <a:pt x="80" y="74"/>
                      <a:pt x="80" y="75"/>
                      <a:pt x="80" y="76"/>
                    </a:cubicBezTo>
                    <a:cubicBezTo>
                      <a:pt x="80" y="76"/>
                      <a:pt x="80" y="76"/>
                      <a:pt x="80" y="76"/>
                    </a:cubicBezTo>
                    <a:cubicBezTo>
                      <a:pt x="80" y="76"/>
                      <a:pt x="80" y="76"/>
                      <a:pt x="80" y="76"/>
                    </a:cubicBezTo>
                    <a:cubicBezTo>
                      <a:pt x="80" y="76"/>
                      <a:pt x="80" y="76"/>
                      <a:pt x="80" y="76"/>
                    </a:cubicBezTo>
                    <a:cubicBezTo>
                      <a:pt x="81" y="77"/>
                      <a:pt x="81" y="77"/>
                      <a:pt x="81" y="77"/>
                    </a:cubicBezTo>
                    <a:cubicBezTo>
                      <a:pt x="82" y="78"/>
                      <a:pt x="82" y="78"/>
                      <a:pt x="82" y="78"/>
                    </a:cubicBezTo>
                    <a:cubicBezTo>
                      <a:pt x="82" y="78"/>
                      <a:pt x="82" y="78"/>
                      <a:pt x="82" y="78"/>
                    </a:cubicBezTo>
                    <a:cubicBezTo>
                      <a:pt x="82" y="79"/>
                      <a:pt x="82" y="79"/>
                      <a:pt x="82" y="79"/>
                    </a:cubicBezTo>
                    <a:cubicBezTo>
                      <a:pt x="82" y="79"/>
                      <a:pt x="82" y="79"/>
                      <a:pt x="83" y="79"/>
                    </a:cubicBezTo>
                    <a:cubicBezTo>
                      <a:pt x="83" y="80"/>
                      <a:pt x="84" y="80"/>
                      <a:pt x="84" y="81"/>
                    </a:cubicBezTo>
                    <a:cubicBezTo>
                      <a:pt x="85" y="79"/>
                      <a:pt x="86" y="77"/>
                      <a:pt x="89" y="76"/>
                    </a:cubicBezTo>
                    <a:cubicBezTo>
                      <a:pt x="89" y="76"/>
                      <a:pt x="90" y="76"/>
                      <a:pt x="90" y="76"/>
                    </a:cubicBezTo>
                    <a:cubicBezTo>
                      <a:pt x="92" y="75"/>
                      <a:pt x="93" y="76"/>
                      <a:pt x="94" y="75"/>
                    </a:cubicBezTo>
                    <a:cubicBezTo>
                      <a:pt x="94" y="74"/>
                      <a:pt x="95" y="74"/>
                      <a:pt x="96" y="73"/>
                    </a:cubicBezTo>
                    <a:cubicBezTo>
                      <a:pt x="96" y="73"/>
                      <a:pt x="95" y="74"/>
                      <a:pt x="95" y="74"/>
                    </a:cubicBezTo>
                    <a:cubicBezTo>
                      <a:pt x="95" y="74"/>
                      <a:pt x="95" y="74"/>
                      <a:pt x="96" y="74"/>
                    </a:cubicBezTo>
                    <a:cubicBezTo>
                      <a:pt x="97" y="75"/>
                      <a:pt x="98" y="75"/>
                      <a:pt x="99" y="75"/>
                    </a:cubicBezTo>
                    <a:cubicBezTo>
                      <a:pt x="99" y="74"/>
                      <a:pt x="99" y="73"/>
                      <a:pt x="99" y="72"/>
                    </a:cubicBezTo>
                    <a:cubicBezTo>
                      <a:pt x="100" y="72"/>
                      <a:pt x="99" y="72"/>
                      <a:pt x="99" y="72"/>
                    </a:cubicBezTo>
                    <a:cubicBezTo>
                      <a:pt x="99" y="72"/>
                      <a:pt x="99" y="71"/>
                      <a:pt x="99" y="71"/>
                    </a:cubicBezTo>
                    <a:cubicBezTo>
                      <a:pt x="99" y="71"/>
                      <a:pt x="99" y="71"/>
                      <a:pt x="99" y="71"/>
                    </a:cubicBezTo>
                    <a:cubicBezTo>
                      <a:pt x="99" y="70"/>
                      <a:pt x="98" y="71"/>
                      <a:pt x="98" y="71"/>
                    </a:cubicBezTo>
                    <a:cubicBezTo>
                      <a:pt x="98" y="70"/>
                      <a:pt x="99" y="70"/>
                      <a:pt x="98" y="70"/>
                    </a:cubicBezTo>
                    <a:cubicBezTo>
                      <a:pt x="98" y="69"/>
                      <a:pt x="98" y="69"/>
                      <a:pt x="98" y="69"/>
                    </a:cubicBezTo>
                    <a:cubicBezTo>
                      <a:pt x="98" y="69"/>
                      <a:pt x="98" y="69"/>
                      <a:pt x="98" y="68"/>
                    </a:cubicBezTo>
                    <a:cubicBezTo>
                      <a:pt x="98" y="68"/>
                      <a:pt x="98" y="68"/>
                      <a:pt x="98" y="68"/>
                    </a:cubicBezTo>
                    <a:cubicBezTo>
                      <a:pt x="98" y="68"/>
                      <a:pt x="98" y="70"/>
                      <a:pt x="99" y="70"/>
                    </a:cubicBezTo>
                    <a:cubicBezTo>
                      <a:pt x="98" y="70"/>
                      <a:pt x="99" y="71"/>
                      <a:pt x="99" y="70"/>
                    </a:cubicBezTo>
                    <a:cubicBezTo>
                      <a:pt x="99" y="70"/>
                      <a:pt x="99" y="70"/>
                      <a:pt x="99" y="70"/>
                    </a:cubicBezTo>
                    <a:cubicBezTo>
                      <a:pt x="100" y="71"/>
                      <a:pt x="99" y="71"/>
                      <a:pt x="99" y="71"/>
                    </a:cubicBezTo>
                    <a:cubicBezTo>
                      <a:pt x="99" y="72"/>
                      <a:pt x="100" y="71"/>
                      <a:pt x="100" y="72"/>
                    </a:cubicBezTo>
                    <a:cubicBezTo>
                      <a:pt x="100" y="73"/>
                      <a:pt x="99" y="73"/>
                      <a:pt x="100" y="74"/>
                    </a:cubicBezTo>
                    <a:cubicBezTo>
                      <a:pt x="101" y="76"/>
                      <a:pt x="101" y="77"/>
                      <a:pt x="103" y="76"/>
                    </a:cubicBezTo>
                    <a:cubicBezTo>
                      <a:pt x="104" y="76"/>
                      <a:pt x="105" y="75"/>
                      <a:pt x="106" y="75"/>
                    </a:cubicBezTo>
                    <a:cubicBezTo>
                      <a:pt x="105" y="76"/>
                      <a:pt x="104" y="77"/>
                      <a:pt x="102" y="77"/>
                    </a:cubicBezTo>
                    <a:cubicBezTo>
                      <a:pt x="100" y="77"/>
                      <a:pt x="97" y="76"/>
                      <a:pt x="95" y="76"/>
                    </a:cubicBezTo>
                    <a:cubicBezTo>
                      <a:pt x="95" y="76"/>
                      <a:pt x="95" y="77"/>
                      <a:pt x="96" y="77"/>
                    </a:cubicBezTo>
                    <a:cubicBezTo>
                      <a:pt x="96" y="77"/>
                      <a:pt x="96" y="77"/>
                      <a:pt x="96" y="77"/>
                    </a:cubicBezTo>
                    <a:cubicBezTo>
                      <a:pt x="97" y="78"/>
                      <a:pt x="98" y="77"/>
                      <a:pt x="98" y="78"/>
                    </a:cubicBezTo>
                    <a:cubicBezTo>
                      <a:pt x="99" y="78"/>
                      <a:pt x="99" y="78"/>
                      <a:pt x="99" y="79"/>
                    </a:cubicBezTo>
                    <a:cubicBezTo>
                      <a:pt x="99" y="79"/>
                      <a:pt x="97" y="79"/>
                      <a:pt x="97" y="79"/>
                    </a:cubicBezTo>
                    <a:cubicBezTo>
                      <a:pt x="97" y="80"/>
                      <a:pt x="101" y="81"/>
                      <a:pt x="102" y="81"/>
                    </a:cubicBezTo>
                    <a:cubicBezTo>
                      <a:pt x="103" y="81"/>
                      <a:pt x="102" y="82"/>
                      <a:pt x="103" y="82"/>
                    </a:cubicBezTo>
                    <a:cubicBezTo>
                      <a:pt x="104" y="83"/>
                      <a:pt x="106" y="82"/>
                      <a:pt x="108" y="82"/>
                    </a:cubicBezTo>
                    <a:cubicBezTo>
                      <a:pt x="109" y="81"/>
                      <a:pt x="110" y="81"/>
                      <a:pt x="111" y="81"/>
                    </a:cubicBezTo>
                    <a:cubicBezTo>
                      <a:pt x="113" y="81"/>
                      <a:pt x="112" y="82"/>
                      <a:pt x="113" y="82"/>
                    </a:cubicBezTo>
                    <a:cubicBezTo>
                      <a:pt x="114" y="83"/>
                      <a:pt x="115" y="82"/>
                      <a:pt x="116" y="82"/>
                    </a:cubicBezTo>
                    <a:cubicBezTo>
                      <a:pt x="117" y="83"/>
                      <a:pt x="116" y="84"/>
                      <a:pt x="117" y="85"/>
                    </a:cubicBezTo>
                    <a:cubicBezTo>
                      <a:pt x="117" y="86"/>
                      <a:pt x="115" y="85"/>
                      <a:pt x="114" y="86"/>
                    </a:cubicBezTo>
                    <a:cubicBezTo>
                      <a:pt x="113" y="86"/>
                      <a:pt x="113" y="87"/>
                      <a:pt x="112" y="87"/>
                    </a:cubicBezTo>
                    <a:cubicBezTo>
                      <a:pt x="112" y="87"/>
                      <a:pt x="110" y="87"/>
                      <a:pt x="109" y="88"/>
                    </a:cubicBezTo>
                    <a:cubicBezTo>
                      <a:pt x="109" y="88"/>
                      <a:pt x="108" y="89"/>
                      <a:pt x="108" y="89"/>
                    </a:cubicBezTo>
                    <a:cubicBezTo>
                      <a:pt x="107" y="89"/>
                      <a:pt x="106" y="90"/>
                      <a:pt x="106" y="90"/>
                    </a:cubicBezTo>
                    <a:cubicBezTo>
                      <a:pt x="102" y="92"/>
                      <a:pt x="111" y="93"/>
                      <a:pt x="112" y="94"/>
                    </a:cubicBezTo>
                    <a:cubicBezTo>
                      <a:pt x="114" y="94"/>
                      <a:pt x="116" y="94"/>
                      <a:pt x="116" y="97"/>
                    </a:cubicBezTo>
                    <a:cubicBezTo>
                      <a:pt x="116" y="98"/>
                      <a:pt x="116" y="98"/>
                      <a:pt x="115" y="99"/>
                    </a:cubicBezTo>
                    <a:cubicBezTo>
                      <a:pt x="115" y="99"/>
                      <a:pt x="115" y="101"/>
                      <a:pt x="116" y="101"/>
                    </a:cubicBezTo>
                    <a:cubicBezTo>
                      <a:pt x="115" y="101"/>
                      <a:pt x="114" y="101"/>
                      <a:pt x="114" y="101"/>
                    </a:cubicBezTo>
                    <a:cubicBezTo>
                      <a:pt x="114" y="102"/>
                      <a:pt x="115" y="102"/>
                      <a:pt x="115" y="102"/>
                    </a:cubicBezTo>
                    <a:cubicBezTo>
                      <a:pt x="117" y="103"/>
                      <a:pt x="117" y="104"/>
                      <a:pt x="119" y="103"/>
                    </a:cubicBezTo>
                    <a:cubicBezTo>
                      <a:pt x="124" y="101"/>
                      <a:pt x="129" y="98"/>
                      <a:pt x="135" y="95"/>
                    </a:cubicBezTo>
                    <a:cubicBezTo>
                      <a:pt x="136" y="94"/>
                      <a:pt x="137" y="95"/>
                      <a:pt x="139" y="96"/>
                    </a:cubicBezTo>
                    <a:cubicBezTo>
                      <a:pt x="139" y="96"/>
                      <a:pt x="139" y="96"/>
                      <a:pt x="140" y="96"/>
                    </a:cubicBezTo>
                    <a:cubicBezTo>
                      <a:pt x="140" y="96"/>
                      <a:pt x="141" y="96"/>
                      <a:pt x="142" y="96"/>
                    </a:cubicBezTo>
                    <a:cubicBezTo>
                      <a:pt x="143" y="96"/>
                      <a:pt x="143" y="96"/>
                      <a:pt x="144" y="96"/>
                    </a:cubicBezTo>
                    <a:cubicBezTo>
                      <a:pt x="145" y="95"/>
                      <a:pt x="144" y="95"/>
                      <a:pt x="145" y="94"/>
                    </a:cubicBezTo>
                    <a:cubicBezTo>
                      <a:pt x="145" y="92"/>
                      <a:pt x="146" y="92"/>
                      <a:pt x="147" y="92"/>
                    </a:cubicBezTo>
                    <a:cubicBezTo>
                      <a:pt x="147" y="92"/>
                      <a:pt x="146" y="92"/>
                      <a:pt x="146" y="92"/>
                    </a:cubicBezTo>
                    <a:cubicBezTo>
                      <a:pt x="144" y="92"/>
                      <a:pt x="142" y="92"/>
                      <a:pt x="141" y="92"/>
                    </a:cubicBezTo>
                    <a:cubicBezTo>
                      <a:pt x="140" y="92"/>
                      <a:pt x="139" y="91"/>
                      <a:pt x="138" y="91"/>
                    </a:cubicBezTo>
                    <a:cubicBezTo>
                      <a:pt x="137" y="92"/>
                      <a:pt x="137" y="92"/>
                      <a:pt x="136" y="92"/>
                    </a:cubicBezTo>
                    <a:cubicBezTo>
                      <a:pt x="135" y="92"/>
                      <a:pt x="134" y="91"/>
                      <a:pt x="133" y="90"/>
                    </a:cubicBezTo>
                    <a:cubicBezTo>
                      <a:pt x="131" y="88"/>
                      <a:pt x="129" y="86"/>
                      <a:pt x="129" y="82"/>
                    </a:cubicBezTo>
                    <a:cubicBezTo>
                      <a:pt x="129" y="81"/>
                      <a:pt x="128" y="81"/>
                      <a:pt x="129" y="81"/>
                    </a:cubicBezTo>
                    <a:cubicBezTo>
                      <a:pt x="130" y="80"/>
                      <a:pt x="131" y="80"/>
                      <a:pt x="131" y="80"/>
                    </a:cubicBezTo>
                    <a:cubicBezTo>
                      <a:pt x="132" y="79"/>
                      <a:pt x="132" y="78"/>
                      <a:pt x="132" y="77"/>
                    </a:cubicBezTo>
                    <a:cubicBezTo>
                      <a:pt x="132" y="77"/>
                      <a:pt x="133" y="78"/>
                      <a:pt x="133" y="78"/>
                    </a:cubicBezTo>
                    <a:cubicBezTo>
                      <a:pt x="133" y="78"/>
                      <a:pt x="133" y="79"/>
                      <a:pt x="134" y="79"/>
                    </a:cubicBezTo>
                    <a:cubicBezTo>
                      <a:pt x="135" y="79"/>
                      <a:pt x="131" y="82"/>
                      <a:pt x="130" y="82"/>
                    </a:cubicBezTo>
                    <a:cubicBezTo>
                      <a:pt x="132" y="81"/>
                      <a:pt x="133" y="80"/>
                      <a:pt x="135" y="79"/>
                    </a:cubicBezTo>
                    <a:cubicBezTo>
                      <a:pt x="136" y="78"/>
                      <a:pt x="138" y="76"/>
                      <a:pt x="139" y="75"/>
                    </a:cubicBezTo>
                    <a:cubicBezTo>
                      <a:pt x="140" y="75"/>
                      <a:pt x="141" y="75"/>
                      <a:pt x="142" y="75"/>
                    </a:cubicBezTo>
                    <a:cubicBezTo>
                      <a:pt x="143" y="75"/>
                      <a:pt x="146" y="73"/>
                      <a:pt x="147" y="74"/>
                    </a:cubicBezTo>
                    <a:cubicBezTo>
                      <a:pt x="149" y="74"/>
                      <a:pt x="149" y="74"/>
                      <a:pt x="149" y="75"/>
                    </a:cubicBezTo>
                    <a:cubicBezTo>
                      <a:pt x="149" y="74"/>
                      <a:pt x="150" y="74"/>
                      <a:pt x="151" y="73"/>
                    </a:cubicBezTo>
                    <a:cubicBezTo>
                      <a:pt x="152" y="72"/>
                      <a:pt x="154" y="73"/>
                      <a:pt x="155" y="71"/>
                    </a:cubicBezTo>
                    <a:cubicBezTo>
                      <a:pt x="156" y="70"/>
                      <a:pt x="156" y="70"/>
                      <a:pt x="157" y="69"/>
                    </a:cubicBezTo>
                    <a:cubicBezTo>
                      <a:pt x="159" y="69"/>
                      <a:pt x="161" y="69"/>
                      <a:pt x="162" y="69"/>
                    </a:cubicBezTo>
                    <a:cubicBezTo>
                      <a:pt x="162" y="69"/>
                      <a:pt x="162" y="69"/>
                      <a:pt x="162"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0" name="Freeform 3122">
                <a:extLst>
                  <a:ext uri="{FF2B5EF4-FFF2-40B4-BE49-F238E27FC236}">
                    <a16:creationId xmlns:a16="http://schemas.microsoft.com/office/drawing/2014/main" id="{24862A85-68FE-43FC-8636-CE696F61226E}"/>
                  </a:ext>
                </a:extLst>
              </p:cNvPr>
              <p:cNvSpPr>
                <a:spLocks/>
              </p:cNvSpPr>
              <p:nvPr/>
            </p:nvSpPr>
            <p:spPr bwMode="auto">
              <a:xfrm>
                <a:off x="4303" y="139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1" name="Freeform 3123">
                <a:extLst>
                  <a:ext uri="{FF2B5EF4-FFF2-40B4-BE49-F238E27FC236}">
                    <a16:creationId xmlns:a16="http://schemas.microsoft.com/office/drawing/2014/main" id="{043AA70E-3D4B-4FE2-AA33-4792E5FEE81D}"/>
                  </a:ext>
                </a:extLst>
              </p:cNvPr>
              <p:cNvSpPr>
                <a:spLocks/>
              </p:cNvSpPr>
              <p:nvPr/>
            </p:nvSpPr>
            <p:spPr bwMode="auto">
              <a:xfrm>
                <a:off x="4114" y="1257"/>
                <a:ext cx="222" cy="154"/>
              </a:xfrm>
              <a:custGeom>
                <a:avLst/>
                <a:gdLst>
                  <a:gd name="T0" fmla="*/ 82 w 94"/>
                  <a:gd name="T1" fmla="*/ 51 h 65"/>
                  <a:gd name="T2" fmla="*/ 79 w 94"/>
                  <a:gd name="T3" fmla="*/ 43 h 65"/>
                  <a:gd name="T4" fmla="*/ 80 w 94"/>
                  <a:gd name="T5" fmla="*/ 41 h 65"/>
                  <a:gd name="T6" fmla="*/ 85 w 94"/>
                  <a:gd name="T7" fmla="*/ 41 h 65"/>
                  <a:gd name="T8" fmla="*/ 91 w 94"/>
                  <a:gd name="T9" fmla="*/ 35 h 65"/>
                  <a:gd name="T10" fmla="*/ 85 w 94"/>
                  <a:gd name="T11" fmla="*/ 30 h 65"/>
                  <a:gd name="T12" fmla="*/ 74 w 94"/>
                  <a:gd name="T13" fmla="*/ 18 h 65"/>
                  <a:gd name="T14" fmla="*/ 76 w 94"/>
                  <a:gd name="T15" fmla="*/ 9 h 65"/>
                  <a:gd name="T16" fmla="*/ 66 w 94"/>
                  <a:gd name="T17" fmla="*/ 5 h 65"/>
                  <a:gd name="T18" fmla="*/ 62 w 94"/>
                  <a:gd name="T19" fmla="*/ 7 h 65"/>
                  <a:gd name="T20" fmla="*/ 61 w 94"/>
                  <a:gd name="T21" fmla="*/ 6 h 65"/>
                  <a:gd name="T22" fmla="*/ 60 w 94"/>
                  <a:gd name="T23" fmla="*/ 4 h 65"/>
                  <a:gd name="T24" fmla="*/ 58 w 94"/>
                  <a:gd name="T25" fmla="*/ 3 h 65"/>
                  <a:gd name="T26" fmla="*/ 54 w 94"/>
                  <a:gd name="T27" fmla="*/ 3 h 65"/>
                  <a:gd name="T28" fmla="*/ 52 w 94"/>
                  <a:gd name="T29" fmla="*/ 2 h 65"/>
                  <a:gd name="T30" fmla="*/ 50 w 94"/>
                  <a:gd name="T31" fmla="*/ 1 h 65"/>
                  <a:gd name="T32" fmla="*/ 49 w 94"/>
                  <a:gd name="T33" fmla="*/ 1 h 65"/>
                  <a:gd name="T34" fmla="*/ 47 w 94"/>
                  <a:gd name="T35" fmla="*/ 1 h 65"/>
                  <a:gd name="T36" fmla="*/ 43 w 94"/>
                  <a:gd name="T37" fmla="*/ 5 h 65"/>
                  <a:gd name="T38" fmla="*/ 39 w 94"/>
                  <a:gd name="T39" fmla="*/ 5 h 65"/>
                  <a:gd name="T40" fmla="*/ 35 w 94"/>
                  <a:gd name="T41" fmla="*/ 6 h 65"/>
                  <a:gd name="T42" fmla="*/ 34 w 94"/>
                  <a:gd name="T43" fmla="*/ 7 h 65"/>
                  <a:gd name="T44" fmla="*/ 33 w 94"/>
                  <a:gd name="T45" fmla="*/ 10 h 65"/>
                  <a:gd name="T46" fmla="*/ 34 w 94"/>
                  <a:gd name="T47" fmla="*/ 10 h 65"/>
                  <a:gd name="T48" fmla="*/ 32 w 94"/>
                  <a:gd name="T49" fmla="*/ 14 h 65"/>
                  <a:gd name="T50" fmla="*/ 25 w 94"/>
                  <a:gd name="T51" fmla="*/ 19 h 65"/>
                  <a:gd name="T52" fmla="*/ 24 w 94"/>
                  <a:gd name="T53" fmla="*/ 25 h 65"/>
                  <a:gd name="T54" fmla="*/ 23 w 94"/>
                  <a:gd name="T55" fmla="*/ 29 h 65"/>
                  <a:gd name="T56" fmla="*/ 20 w 94"/>
                  <a:gd name="T57" fmla="*/ 27 h 65"/>
                  <a:gd name="T58" fmla="*/ 17 w 94"/>
                  <a:gd name="T59" fmla="*/ 29 h 65"/>
                  <a:gd name="T60" fmla="*/ 15 w 94"/>
                  <a:gd name="T61" fmla="*/ 31 h 65"/>
                  <a:gd name="T62" fmla="*/ 10 w 94"/>
                  <a:gd name="T63" fmla="*/ 32 h 65"/>
                  <a:gd name="T64" fmla="*/ 5 w 94"/>
                  <a:gd name="T65" fmla="*/ 32 h 65"/>
                  <a:gd name="T66" fmla="*/ 3 w 94"/>
                  <a:gd name="T67" fmla="*/ 33 h 65"/>
                  <a:gd name="T68" fmla="*/ 7 w 94"/>
                  <a:gd name="T69" fmla="*/ 46 h 65"/>
                  <a:gd name="T70" fmla="*/ 0 w 94"/>
                  <a:gd name="T71" fmla="*/ 53 h 65"/>
                  <a:gd name="T72" fmla="*/ 3 w 94"/>
                  <a:gd name="T73" fmla="*/ 56 h 65"/>
                  <a:gd name="T74" fmla="*/ 3 w 94"/>
                  <a:gd name="T75" fmla="*/ 62 h 65"/>
                  <a:gd name="T76" fmla="*/ 7 w 94"/>
                  <a:gd name="T77" fmla="*/ 60 h 65"/>
                  <a:gd name="T78" fmla="*/ 14 w 94"/>
                  <a:gd name="T79" fmla="*/ 57 h 65"/>
                  <a:gd name="T80" fmla="*/ 26 w 94"/>
                  <a:gd name="T81" fmla="*/ 58 h 65"/>
                  <a:gd name="T82" fmla="*/ 47 w 94"/>
                  <a:gd name="T83" fmla="*/ 61 h 65"/>
                  <a:gd name="T84" fmla="*/ 50 w 94"/>
                  <a:gd name="T85" fmla="*/ 61 h 65"/>
                  <a:gd name="T86" fmla="*/ 54 w 94"/>
                  <a:gd name="T87" fmla="*/ 64 h 65"/>
                  <a:gd name="T88" fmla="*/ 57 w 94"/>
                  <a:gd name="T89" fmla="*/ 61 h 65"/>
                  <a:gd name="T90" fmla="*/ 61 w 94"/>
                  <a:gd name="T91" fmla="*/ 64 h 65"/>
                  <a:gd name="T92" fmla="*/ 65 w 94"/>
                  <a:gd name="T93" fmla="*/ 64 h 65"/>
                  <a:gd name="T94" fmla="*/ 69 w 94"/>
                  <a:gd name="T95" fmla="*/ 63 h 65"/>
                  <a:gd name="T96" fmla="*/ 72 w 94"/>
                  <a:gd name="T97" fmla="*/ 61 h 65"/>
                  <a:gd name="T98" fmla="*/ 77 w 94"/>
                  <a:gd name="T99" fmla="*/ 55 h 65"/>
                  <a:gd name="T100" fmla="*/ 80 w 94"/>
                  <a:gd name="T101" fmla="*/ 5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65">
                    <a:moveTo>
                      <a:pt x="80" y="55"/>
                    </a:moveTo>
                    <a:cubicBezTo>
                      <a:pt x="80" y="55"/>
                      <a:pt x="80" y="55"/>
                      <a:pt x="80" y="55"/>
                    </a:cubicBezTo>
                    <a:cubicBezTo>
                      <a:pt x="81" y="55"/>
                      <a:pt x="81" y="54"/>
                      <a:pt x="82" y="54"/>
                    </a:cubicBezTo>
                    <a:cubicBezTo>
                      <a:pt x="83" y="54"/>
                      <a:pt x="83" y="54"/>
                      <a:pt x="83" y="54"/>
                    </a:cubicBezTo>
                    <a:cubicBezTo>
                      <a:pt x="83" y="54"/>
                      <a:pt x="82" y="53"/>
                      <a:pt x="82" y="51"/>
                    </a:cubicBezTo>
                    <a:cubicBezTo>
                      <a:pt x="83" y="47"/>
                      <a:pt x="82" y="47"/>
                      <a:pt x="82" y="47"/>
                    </a:cubicBezTo>
                    <a:cubicBezTo>
                      <a:pt x="81" y="46"/>
                      <a:pt x="80" y="45"/>
                      <a:pt x="80" y="44"/>
                    </a:cubicBezTo>
                    <a:cubicBezTo>
                      <a:pt x="80" y="44"/>
                      <a:pt x="80" y="44"/>
                      <a:pt x="79" y="44"/>
                    </a:cubicBezTo>
                    <a:cubicBezTo>
                      <a:pt x="79" y="44"/>
                      <a:pt x="79" y="44"/>
                      <a:pt x="79" y="44"/>
                    </a:cubicBezTo>
                    <a:cubicBezTo>
                      <a:pt x="79" y="43"/>
                      <a:pt x="79" y="43"/>
                      <a:pt x="79" y="43"/>
                    </a:cubicBezTo>
                    <a:cubicBezTo>
                      <a:pt x="79" y="43"/>
                      <a:pt x="79" y="42"/>
                      <a:pt x="79" y="42"/>
                    </a:cubicBezTo>
                    <a:cubicBezTo>
                      <a:pt x="80" y="42"/>
                      <a:pt x="80" y="42"/>
                      <a:pt x="80" y="42"/>
                    </a:cubicBezTo>
                    <a:cubicBezTo>
                      <a:pt x="80" y="42"/>
                      <a:pt x="80" y="42"/>
                      <a:pt x="80" y="42"/>
                    </a:cubicBezTo>
                    <a:cubicBezTo>
                      <a:pt x="80" y="42"/>
                      <a:pt x="80" y="42"/>
                      <a:pt x="80" y="42"/>
                    </a:cubicBezTo>
                    <a:cubicBezTo>
                      <a:pt x="80" y="41"/>
                      <a:pt x="80" y="41"/>
                      <a:pt x="80" y="41"/>
                    </a:cubicBezTo>
                    <a:cubicBezTo>
                      <a:pt x="80" y="41"/>
                      <a:pt x="80" y="41"/>
                      <a:pt x="80" y="41"/>
                    </a:cubicBezTo>
                    <a:cubicBezTo>
                      <a:pt x="81" y="41"/>
                      <a:pt x="81" y="41"/>
                      <a:pt x="81" y="41"/>
                    </a:cubicBezTo>
                    <a:cubicBezTo>
                      <a:pt x="81" y="41"/>
                      <a:pt x="82" y="41"/>
                      <a:pt x="82" y="41"/>
                    </a:cubicBezTo>
                    <a:cubicBezTo>
                      <a:pt x="82" y="41"/>
                      <a:pt x="83" y="40"/>
                      <a:pt x="84" y="40"/>
                    </a:cubicBezTo>
                    <a:cubicBezTo>
                      <a:pt x="84" y="41"/>
                      <a:pt x="85" y="41"/>
                      <a:pt x="85" y="41"/>
                    </a:cubicBezTo>
                    <a:cubicBezTo>
                      <a:pt x="86" y="41"/>
                      <a:pt x="87" y="41"/>
                      <a:pt x="87" y="41"/>
                    </a:cubicBezTo>
                    <a:cubicBezTo>
                      <a:pt x="89" y="41"/>
                      <a:pt x="91" y="40"/>
                      <a:pt x="93" y="39"/>
                    </a:cubicBezTo>
                    <a:cubicBezTo>
                      <a:pt x="93" y="39"/>
                      <a:pt x="94" y="38"/>
                      <a:pt x="94" y="38"/>
                    </a:cubicBezTo>
                    <a:cubicBezTo>
                      <a:pt x="94" y="38"/>
                      <a:pt x="93" y="38"/>
                      <a:pt x="93" y="38"/>
                    </a:cubicBezTo>
                    <a:cubicBezTo>
                      <a:pt x="92" y="37"/>
                      <a:pt x="91" y="36"/>
                      <a:pt x="91" y="35"/>
                    </a:cubicBezTo>
                    <a:cubicBezTo>
                      <a:pt x="91" y="35"/>
                      <a:pt x="91" y="35"/>
                      <a:pt x="91" y="35"/>
                    </a:cubicBezTo>
                    <a:cubicBezTo>
                      <a:pt x="87" y="34"/>
                      <a:pt x="85" y="34"/>
                      <a:pt x="84" y="33"/>
                    </a:cubicBezTo>
                    <a:cubicBezTo>
                      <a:pt x="84" y="32"/>
                      <a:pt x="84" y="32"/>
                      <a:pt x="84" y="32"/>
                    </a:cubicBezTo>
                    <a:cubicBezTo>
                      <a:pt x="84" y="31"/>
                      <a:pt x="84" y="31"/>
                      <a:pt x="84" y="31"/>
                    </a:cubicBezTo>
                    <a:cubicBezTo>
                      <a:pt x="85" y="31"/>
                      <a:pt x="85" y="31"/>
                      <a:pt x="85" y="30"/>
                    </a:cubicBezTo>
                    <a:cubicBezTo>
                      <a:pt x="85" y="29"/>
                      <a:pt x="84" y="29"/>
                      <a:pt x="83" y="28"/>
                    </a:cubicBezTo>
                    <a:cubicBezTo>
                      <a:pt x="79" y="26"/>
                      <a:pt x="78" y="23"/>
                      <a:pt x="78" y="21"/>
                    </a:cubicBezTo>
                    <a:cubicBezTo>
                      <a:pt x="78" y="21"/>
                      <a:pt x="77" y="20"/>
                      <a:pt x="75" y="20"/>
                    </a:cubicBezTo>
                    <a:cubicBezTo>
                      <a:pt x="74" y="19"/>
                      <a:pt x="74" y="19"/>
                      <a:pt x="74" y="19"/>
                    </a:cubicBezTo>
                    <a:cubicBezTo>
                      <a:pt x="74" y="18"/>
                      <a:pt x="74" y="18"/>
                      <a:pt x="74" y="18"/>
                    </a:cubicBezTo>
                    <a:cubicBezTo>
                      <a:pt x="74" y="17"/>
                      <a:pt x="75" y="16"/>
                      <a:pt x="76" y="15"/>
                    </a:cubicBezTo>
                    <a:cubicBezTo>
                      <a:pt x="76" y="14"/>
                      <a:pt x="76" y="14"/>
                      <a:pt x="76" y="14"/>
                    </a:cubicBezTo>
                    <a:cubicBezTo>
                      <a:pt x="75" y="13"/>
                      <a:pt x="75" y="13"/>
                      <a:pt x="74" y="12"/>
                    </a:cubicBezTo>
                    <a:cubicBezTo>
                      <a:pt x="74" y="11"/>
                      <a:pt x="74" y="11"/>
                      <a:pt x="74" y="11"/>
                    </a:cubicBezTo>
                    <a:cubicBezTo>
                      <a:pt x="76" y="9"/>
                      <a:pt x="76" y="9"/>
                      <a:pt x="76" y="9"/>
                    </a:cubicBezTo>
                    <a:cubicBezTo>
                      <a:pt x="75" y="8"/>
                      <a:pt x="75" y="8"/>
                      <a:pt x="75" y="8"/>
                    </a:cubicBezTo>
                    <a:cubicBezTo>
                      <a:pt x="75" y="7"/>
                      <a:pt x="74" y="6"/>
                      <a:pt x="72" y="5"/>
                    </a:cubicBezTo>
                    <a:cubicBezTo>
                      <a:pt x="71" y="5"/>
                      <a:pt x="70" y="5"/>
                      <a:pt x="70" y="5"/>
                    </a:cubicBezTo>
                    <a:cubicBezTo>
                      <a:pt x="70" y="5"/>
                      <a:pt x="70" y="5"/>
                      <a:pt x="70" y="5"/>
                    </a:cubicBezTo>
                    <a:cubicBezTo>
                      <a:pt x="68" y="4"/>
                      <a:pt x="66" y="5"/>
                      <a:pt x="66" y="5"/>
                    </a:cubicBezTo>
                    <a:cubicBezTo>
                      <a:pt x="65" y="5"/>
                      <a:pt x="65" y="6"/>
                      <a:pt x="65" y="6"/>
                    </a:cubicBezTo>
                    <a:cubicBezTo>
                      <a:pt x="64" y="6"/>
                      <a:pt x="64" y="6"/>
                      <a:pt x="64" y="6"/>
                    </a:cubicBezTo>
                    <a:cubicBezTo>
                      <a:pt x="64" y="6"/>
                      <a:pt x="64" y="6"/>
                      <a:pt x="63" y="6"/>
                    </a:cubicBezTo>
                    <a:cubicBezTo>
                      <a:pt x="63" y="7"/>
                      <a:pt x="63" y="7"/>
                      <a:pt x="63" y="7"/>
                    </a:cubicBezTo>
                    <a:cubicBezTo>
                      <a:pt x="62" y="7"/>
                      <a:pt x="62" y="7"/>
                      <a:pt x="62" y="7"/>
                    </a:cubicBezTo>
                    <a:cubicBezTo>
                      <a:pt x="62" y="7"/>
                      <a:pt x="62" y="7"/>
                      <a:pt x="62" y="7"/>
                    </a:cubicBezTo>
                    <a:cubicBezTo>
                      <a:pt x="62" y="7"/>
                      <a:pt x="62" y="7"/>
                      <a:pt x="62" y="7"/>
                    </a:cubicBezTo>
                    <a:cubicBezTo>
                      <a:pt x="61" y="6"/>
                      <a:pt x="61" y="6"/>
                      <a:pt x="61" y="6"/>
                    </a:cubicBezTo>
                    <a:cubicBezTo>
                      <a:pt x="61" y="6"/>
                      <a:pt x="61" y="6"/>
                      <a:pt x="61" y="6"/>
                    </a:cubicBezTo>
                    <a:cubicBezTo>
                      <a:pt x="61" y="6"/>
                      <a:pt x="61" y="6"/>
                      <a:pt x="61" y="6"/>
                    </a:cubicBezTo>
                    <a:cubicBezTo>
                      <a:pt x="60" y="6"/>
                      <a:pt x="60" y="6"/>
                      <a:pt x="60" y="6"/>
                    </a:cubicBezTo>
                    <a:cubicBezTo>
                      <a:pt x="60" y="6"/>
                      <a:pt x="60" y="6"/>
                      <a:pt x="60" y="6"/>
                    </a:cubicBezTo>
                    <a:cubicBezTo>
                      <a:pt x="60" y="5"/>
                      <a:pt x="60" y="5"/>
                      <a:pt x="60" y="5"/>
                    </a:cubicBezTo>
                    <a:cubicBezTo>
                      <a:pt x="60" y="5"/>
                      <a:pt x="60" y="5"/>
                      <a:pt x="60" y="4"/>
                    </a:cubicBezTo>
                    <a:cubicBezTo>
                      <a:pt x="60" y="4"/>
                      <a:pt x="60" y="4"/>
                      <a:pt x="60" y="4"/>
                    </a:cubicBezTo>
                    <a:cubicBezTo>
                      <a:pt x="60" y="4"/>
                      <a:pt x="60" y="4"/>
                      <a:pt x="60" y="4"/>
                    </a:cubicBezTo>
                    <a:cubicBezTo>
                      <a:pt x="60" y="3"/>
                      <a:pt x="60" y="3"/>
                      <a:pt x="60" y="3"/>
                    </a:cubicBezTo>
                    <a:cubicBezTo>
                      <a:pt x="59" y="3"/>
                      <a:pt x="59" y="3"/>
                      <a:pt x="59" y="3"/>
                    </a:cubicBezTo>
                    <a:cubicBezTo>
                      <a:pt x="59" y="3"/>
                      <a:pt x="58" y="3"/>
                      <a:pt x="58" y="3"/>
                    </a:cubicBezTo>
                    <a:cubicBezTo>
                      <a:pt x="58" y="3"/>
                      <a:pt x="58" y="3"/>
                      <a:pt x="58" y="3"/>
                    </a:cubicBezTo>
                    <a:cubicBezTo>
                      <a:pt x="57" y="3"/>
                      <a:pt x="57" y="3"/>
                      <a:pt x="57" y="3"/>
                    </a:cubicBezTo>
                    <a:cubicBezTo>
                      <a:pt x="57" y="3"/>
                      <a:pt x="56" y="3"/>
                      <a:pt x="56" y="3"/>
                    </a:cubicBezTo>
                    <a:cubicBezTo>
                      <a:pt x="56" y="3"/>
                      <a:pt x="56" y="3"/>
                      <a:pt x="56" y="3"/>
                    </a:cubicBezTo>
                    <a:cubicBezTo>
                      <a:pt x="55" y="3"/>
                      <a:pt x="55" y="3"/>
                      <a:pt x="55" y="3"/>
                    </a:cubicBezTo>
                    <a:cubicBezTo>
                      <a:pt x="54" y="3"/>
                      <a:pt x="54" y="3"/>
                      <a:pt x="54" y="3"/>
                    </a:cubicBezTo>
                    <a:cubicBezTo>
                      <a:pt x="54" y="3"/>
                      <a:pt x="53" y="3"/>
                      <a:pt x="53" y="3"/>
                    </a:cubicBezTo>
                    <a:cubicBezTo>
                      <a:pt x="53" y="3"/>
                      <a:pt x="53" y="3"/>
                      <a:pt x="53" y="3"/>
                    </a:cubicBezTo>
                    <a:cubicBezTo>
                      <a:pt x="53" y="2"/>
                      <a:pt x="53" y="2"/>
                      <a:pt x="53" y="2"/>
                    </a:cubicBezTo>
                    <a:cubicBezTo>
                      <a:pt x="53" y="2"/>
                      <a:pt x="53" y="2"/>
                      <a:pt x="53" y="2"/>
                    </a:cubicBezTo>
                    <a:cubicBezTo>
                      <a:pt x="53" y="2"/>
                      <a:pt x="52" y="2"/>
                      <a:pt x="52" y="2"/>
                    </a:cubicBezTo>
                    <a:cubicBezTo>
                      <a:pt x="52" y="2"/>
                      <a:pt x="52" y="2"/>
                      <a:pt x="52" y="2"/>
                    </a:cubicBezTo>
                    <a:cubicBezTo>
                      <a:pt x="52" y="2"/>
                      <a:pt x="52" y="2"/>
                      <a:pt x="51" y="2"/>
                    </a:cubicBezTo>
                    <a:cubicBezTo>
                      <a:pt x="51" y="2"/>
                      <a:pt x="51" y="2"/>
                      <a:pt x="51" y="2"/>
                    </a:cubicBezTo>
                    <a:cubicBezTo>
                      <a:pt x="51" y="2"/>
                      <a:pt x="51" y="2"/>
                      <a:pt x="51" y="1"/>
                    </a:cubicBezTo>
                    <a:cubicBezTo>
                      <a:pt x="50" y="1"/>
                      <a:pt x="50" y="1"/>
                      <a:pt x="50" y="1"/>
                    </a:cubicBezTo>
                    <a:cubicBezTo>
                      <a:pt x="50" y="1"/>
                      <a:pt x="50" y="1"/>
                      <a:pt x="50" y="1"/>
                    </a:cubicBezTo>
                    <a:cubicBezTo>
                      <a:pt x="50" y="1"/>
                      <a:pt x="50" y="1"/>
                      <a:pt x="50" y="1"/>
                    </a:cubicBezTo>
                    <a:cubicBezTo>
                      <a:pt x="49" y="1"/>
                      <a:pt x="49" y="1"/>
                      <a:pt x="49" y="1"/>
                    </a:cubicBezTo>
                    <a:cubicBezTo>
                      <a:pt x="49" y="1"/>
                      <a:pt x="49" y="1"/>
                      <a:pt x="49" y="1"/>
                    </a:cubicBezTo>
                    <a:cubicBezTo>
                      <a:pt x="49" y="1"/>
                      <a:pt x="49" y="1"/>
                      <a:pt x="49" y="1"/>
                    </a:cubicBezTo>
                    <a:cubicBezTo>
                      <a:pt x="49" y="0"/>
                      <a:pt x="49" y="0"/>
                      <a:pt x="49" y="0"/>
                    </a:cubicBezTo>
                    <a:cubicBezTo>
                      <a:pt x="48" y="0"/>
                      <a:pt x="48" y="0"/>
                      <a:pt x="48" y="0"/>
                    </a:cubicBezTo>
                    <a:cubicBezTo>
                      <a:pt x="48" y="0"/>
                      <a:pt x="48" y="0"/>
                      <a:pt x="48" y="0"/>
                    </a:cubicBezTo>
                    <a:cubicBezTo>
                      <a:pt x="48" y="0"/>
                      <a:pt x="48" y="0"/>
                      <a:pt x="48" y="0"/>
                    </a:cubicBezTo>
                    <a:cubicBezTo>
                      <a:pt x="48" y="1"/>
                      <a:pt x="48" y="1"/>
                      <a:pt x="47" y="1"/>
                    </a:cubicBezTo>
                    <a:cubicBezTo>
                      <a:pt x="47" y="1"/>
                      <a:pt x="47" y="1"/>
                      <a:pt x="46" y="2"/>
                    </a:cubicBezTo>
                    <a:cubicBezTo>
                      <a:pt x="46" y="2"/>
                      <a:pt x="45" y="2"/>
                      <a:pt x="45" y="2"/>
                    </a:cubicBezTo>
                    <a:cubicBezTo>
                      <a:pt x="45" y="3"/>
                      <a:pt x="45" y="3"/>
                      <a:pt x="44" y="3"/>
                    </a:cubicBezTo>
                    <a:cubicBezTo>
                      <a:pt x="44" y="3"/>
                      <a:pt x="44" y="3"/>
                      <a:pt x="44" y="3"/>
                    </a:cubicBezTo>
                    <a:cubicBezTo>
                      <a:pt x="44" y="5"/>
                      <a:pt x="44" y="5"/>
                      <a:pt x="43" y="5"/>
                    </a:cubicBezTo>
                    <a:cubicBezTo>
                      <a:pt x="42" y="5"/>
                      <a:pt x="42" y="5"/>
                      <a:pt x="42" y="5"/>
                    </a:cubicBezTo>
                    <a:cubicBezTo>
                      <a:pt x="41" y="5"/>
                      <a:pt x="41" y="5"/>
                      <a:pt x="40" y="5"/>
                    </a:cubicBezTo>
                    <a:cubicBezTo>
                      <a:pt x="40" y="5"/>
                      <a:pt x="40" y="5"/>
                      <a:pt x="40" y="5"/>
                    </a:cubicBezTo>
                    <a:cubicBezTo>
                      <a:pt x="40" y="5"/>
                      <a:pt x="40" y="5"/>
                      <a:pt x="40" y="5"/>
                    </a:cubicBezTo>
                    <a:cubicBezTo>
                      <a:pt x="39" y="5"/>
                      <a:pt x="39" y="5"/>
                      <a:pt x="39" y="5"/>
                    </a:cubicBezTo>
                    <a:cubicBezTo>
                      <a:pt x="38" y="5"/>
                      <a:pt x="38" y="5"/>
                      <a:pt x="38" y="5"/>
                    </a:cubicBezTo>
                    <a:cubicBezTo>
                      <a:pt x="37" y="5"/>
                      <a:pt x="37" y="5"/>
                      <a:pt x="37" y="5"/>
                    </a:cubicBezTo>
                    <a:cubicBezTo>
                      <a:pt x="37" y="5"/>
                      <a:pt x="37" y="5"/>
                      <a:pt x="37" y="5"/>
                    </a:cubicBezTo>
                    <a:cubicBezTo>
                      <a:pt x="39" y="5"/>
                      <a:pt x="39" y="5"/>
                      <a:pt x="39" y="5"/>
                    </a:cubicBezTo>
                    <a:cubicBezTo>
                      <a:pt x="35" y="6"/>
                      <a:pt x="35" y="6"/>
                      <a:pt x="35" y="6"/>
                    </a:cubicBezTo>
                    <a:cubicBezTo>
                      <a:pt x="35" y="7"/>
                      <a:pt x="35" y="7"/>
                      <a:pt x="35" y="7"/>
                    </a:cubicBezTo>
                    <a:cubicBezTo>
                      <a:pt x="35" y="7"/>
                      <a:pt x="35" y="7"/>
                      <a:pt x="35" y="7"/>
                    </a:cubicBezTo>
                    <a:cubicBezTo>
                      <a:pt x="34" y="7"/>
                      <a:pt x="34" y="7"/>
                      <a:pt x="34" y="7"/>
                    </a:cubicBezTo>
                    <a:cubicBezTo>
                      <a:pt x="34" y="7"/>
                      <a:pt x="34" y="7"/>
                      <a:pt x="34" y="7"/>
                    </a:cubicBezTo>
                    <a:cubicBezTo>
                      <a:pt x="34" y="7"/>
                      <a:pt x="34" y="7"/>
                      <a:pt x="34" y="7"/>
                    </a:cubicBezTo>
                    <a:cubicBezTo>
                      <a:pt x="34" y="7"/>
                      <a:pt x="34" y="7"/>
                      <a:pt x="34" y="7"/>
                    </a:cubicBezTo>
                    <a:cubicBezTo>
                      <a:pt x="34" y="8"/>
                      <a:pt x="34" y="8"/>
                      <a:pt x="34" y="8"/>
                    </a:cubicBezTo>
                    <a:cubicBezTo>
                      <a:pt x="34" y="8"/>
                      <a:pt x="33" y="8"/>
                      <a:pt x="33" y="8"/>
                    </a:cubicBezTo>
                    <a:cubicBezTo>
                      <a:pt x="33" y="9"/>
                      <a:pt x="33" y="9"/>
                      <a:pt x="33" y="9"/>
                    </a:cubicBezTo>
                    <a:cubicBezTo>
                      <a:pt x="33" y="10"/>
                      <a:pt x="33" y="10"/>
                      <a:pt x="33" y="10"/>
                    </a:cubicBezTo>
                    <a:cubicBezTo>
                      <a:pt x="33" y="10"/>
                      <a:pt x="33" y="10"/>
                      <a:pt x="33" y="10"/>
                    </a:cubicBezTo>
                    <a:cubicBezTo>
                      <a:pt x="33" y="10"/>
                      <a:pt x="33" y="10"/>
                      <a:pt x="33" y="10"/>
                    </a:cubicBezTo>
                    <a:cubicBezTo>
                      <a:pt x="33" y="10"/>
                      <a:pt x="33" y="10"/>
                      <a:pt x="33" y="10"/>
                    </a:cubicBezTo>
                    <a:cubicBezTo>
                      <a:pt x="33" y="10"/>
                      <a:pt x="33" y="10"/>
                      <a:pt x="33" y="10"/>
                    </a:cubicBezTo>
                    <a:cubicBezTo>
                      <a:pt x="34" y="10"/>
                      <a:pt x="34" y="10"/>
                      <a:pt x="34" y="10"/>
                    </a:cubicBezTo>
                    <a:cubicBezTo>
                      <a:pt x="34" y="11"/>
                      <a:pt x="34" y="11"/>
                      <a:pt x="35" y="11"/>
                    </a:cubicBezTo>
                    <a:cubicBezTo>
                      <a:pt x="36" y="12"/>
                      <a:pt x="36" y="12"/>
                      <a:pt x="36" y="12"/>
                    </a:cubicBezTo>
                    <a:cubicBezTo>
                      <a:pt x="35" y="13"/>
                      <a:pt x="35" y="13"/>
                      <a:pt x="35" y="13"/>
                    </a:cubicBezTo>
                    <a:cubicBezTo>
                      <a:pt x="34" y="13"/>
                      <a:pt x="34" y="14"/>
                      <a:pt x="33" y="14"/>
                    </a:cubicBezTo>
                    <a:cubicBezTo>
                      <a:pt x="32" y="14"/>
                      <a:pt x="32" y="14"/>
                      <a:pt x="32" y="14"/>
                    </a:cubicBezTo>
                    <a:cubicBezTo>
                      <a:pt x="31" y="15"/>
                      <a:pt x="30" y="16"/>
                      <a:pt x="29" y="17"/>
                    </a:cubicBezTo>
                    <a:cubicBezTo>
                      <a:pt x="29" y="17"/>
                      <a:pt x="29" y="17"/>
                      <a:pt x="29" y="17"/>
                    </a:cubicBezTo>
                    <a:cubicBezTo>
                      <a:pt x="28" y="17"/>
                      <a:pt x="28" y="17"/>
                      <a:pt x="27" y="17"/>
                    </a:cubicBezTo>
                    <a:cubicBezTo>
                      <a:pt x="26" y="18"/>
                      <a:pt x="26" y="18"/>
                      <a:pt x="26" y="18"/>
                    </a:cubicBezTo>
                    <a:cubicBezTo>
                      <a:pt x="26" y="18"/>
                      <a:pt x="25" y="19"/>
                      <a:pt x="25" y="19"/>
                    </a:cubicBezTo>
                    <a:cubicBezTo>
                      <a:pt x="25" y="20"/>
                      <a:pt x="25" y="20"/>
                      <a:pt x="25" y="20"/>
                    </a:cubicBezTo>
                    <a:cubicBezTo>
                      <a:pt x="25" y="20"/>
                      <a:pt x="25" y="20"/>
                      <a:pt x="25" y="20"/>
                    </a:cubicBezTo>
                    <a:cubicBezTo>
                      <a:pt x="25" y="21"/>
                      <a:pt x="25" y="21"/>
                      <a:pt x="24" y="22"/>
                    </a:cubicBezTo>
                    <a:cubicBezTo>
                      <a:pt x="24" y="23"/>
                      <a:pt x="24" y="24"/>
                      <a:pt x="23" y="25"/>
                    </a:cubicBezTo>
                    <a:cubicBezTo>
                      <a:pt x="23" y="25"/>
                      <a:pt x="24" y="25"/>
                      <a:pt x="24" y="25"/>
                    </a:cubicBezTo>
                    <a:cubicBezTo>
                      <a:pt x="25" y="26"/>
                      <a:pt x="25" y="26"/>
                      <a:pt x="25" y="26"/>
                    </a:cubicBezTo>
                    <a:cubicBezTo>
                      <a:pt x="25" y="26"/>
                      <a:pt x="25" y="27"/>
                      <a:pt x="25" y="27"/>
                    </a:cubicBezTo>
                    <a:cubicBezTo>
                      <a:pt x="26" y="28"/>
                      <a:pt x="26" y="28"/>
                      <a:pt x="26" y="28"/>
                    </a:cubicBezTo>
                    <a:cubicBezTo>
                      <a:pt x="24" y="29"/>
                      <a:pt x="24" y="29"/>
                      <a:pt x="24" y="29"/>
                    </a:cubicBezTo>
                    <a:cubicBezTo>
                      <a:pt x="24" y="29"/>
                      <a:pt x="24" y="29"/>
                      <a:pt x="23" y="29"/>
                    </a:cubicBezTo>
                    <a:cubicBezTo>
                      <a:pt x="23" y="29"/>
                      <a:pt x="23" y="29"/>
                      <a:pt x="23" y="29"/>
                    </a:cubicBezTo>
                    <a:cubicBezTo>
                      <a:pt x="23" y="29"/>
                      <a:pt x="23" y="29"/>
                      <a:pt x="23" y="29"/>
                    </a:cubicBezTo>
                    <a:cubicBezTo>
                      <a:pt x="23" y="29"/>
                      <a:pt x="23" y="29"/>
                      <a:pt x="23" y="29"/>
                    </a:cubicBezTo>
                    <a:cubicBezTo>
                      <a:pt x="22" y="29"/>
                      <a:pt x="22" y="29"/>
                      <a:pt x="21" y="29"/>
                    </a:cubicBezTo>
                    <a:cubicBezTo>
                      <a:pt x="21" y="29"/>
                      <a:pt x="20" y="28"/>
                      <a:pt x="20" y="27"/>
                    </a:cubicBezTo>
                    <a:cubicBezTo>
                      <a:pt x="20" y="27"/>
                      <a:pt x="20" y="27"/>
                      <a:pt x="20" y="27"/>
                    </a:cubicBezTo>
                    <a:cubicBezTo>
                      <a:pt x="20" y="27"/>
                      <a:pt x="20" y="28"/>
                      <a:pt x="19" y="28"/>
                    </a:cubicBezTo>
                    <a:cubicBezTo>
                      <a:pt x="19" y="28"/>
                      <a:pt x="19" y="28"/>
                      <a:pt x="19" y="28"/>
                    </a:cubicBezTo>
                    <a:cubicBezTo>
                      <a:pt x="19" y="28"/>
                      <a:pt x="18" y="29"/>
                      <a:pt x="18" y="29"/>
                    </a:cubicBezTo>
                    <a:cubicBezTo>
                      <a:pt x="17" y="29"/>
                      <a:pt x="17" y="29"/>
                      <a:pt x="17" y="29"/>
                    </a:cubicBezTo>
                    <a:cubicBezTo>
                      <a:pt x="17" y="29"/>
                      <a:pt x="16" y="29"/>
                      <a:pt x="16" y="29"/>
                    </a:cubicBezTo>
                    <a:cubicBezTo>
                      <a:pt x="16" y="29"/>
                      <a:pt x="16" y="29"/>
                      <a:pt x="16" y="29"/>
                    </a:cubicBezTo>
                    <a:cubicBezTo>
                      <a:pt x="16" y="29"/>
                      <a:pt x="16" y="30"/>
                      <a:pt x="15" y="30"/>
                    </a:cubicBezTo>
                    <a:cubicBezTo>
                      <a:pt x="15" y="30"/>
                      <a:pt x="15" y="31"/>
                      <a:pt x="15" y="31"/>
                    </a:cubicBezTo>
                    <a:cubicBezTo>
                      <a:pt x="15" y="31"/>
                      <a:pt x="15" y="31"/>
                      <a:pt x="15" y="31"/>
                    </a:cubicBezTo>
                    <a:cubicBezTo>
                      <a:pt x="14" y="31"/>
                      <a:pt x="14" y="31"/>
                      <a:pt x="14" y="31"/>
                    </a:cubicBezTo>
                    <a:cubicBezTo>
                      <a:pt x="14" y="32"/>
                      <a:pt x="13" y="32"/>
                      <a:pt x="13" y="32"/>
                    </a:cubicBezTo>
                    <a:cubicBezTo>
                      <a:pt x="12" y="32"/>
                      <a:pt x="11" y="32"/>
                      <a:pt x="10" y="32"/>
                    </a:cubicBezTo>
                    <a:cubicBezTo>
                      <a:pt x="10" y="32"/>
                      <a:pt x="10" y="32"/>
                      <a:pt x="10" y="32"/>
                    </a:cubicBezTo>
                    <a:cubicBezTo>
                      <a:pt x="10" y="32"/>
                      <a:pt x="10" y="32"/>
                      <a:pt x="10" y="32"/>
                    </a:cubicBezTo>
                    <a:cubicBezTo>
                      <a:pt x="9" y="32"/>
                      <a:pt x="9" y="32"/>
                      <a:pt x="9" y="32"/>
                    </a:cubicBezTo>
                    <a:cubicBezTo>
                      <a:pt x="9" y="32"/>
                      <a:pt x="9" y="32"/>
                      <a:pt x="9" y="32"/>
                    </a:cubicBezTo>
                    <a:cubicBezTo>
                      <a:pt x="9" y="32"/>
                      <a:pt x="9" y="32"/>
                      <a:pt x="8" y="32"/>
                    </a:cubicBezTo>
                    <a:cubicBezTo>
                      <a:pt x="8" y="32"/>
                      <a:pt x="8" y="32"/>
                      <a:pt x="8" y="32"/>
                    </a:cubicBezTo>
                    <a:cubicBezTo>
                      <a:pt x="7" y="32"/>
                      <a:pt x="6" y="32"/>
                      <a:pt x="5" y="32"/>
                    </a:cubicBezTo>
                    <a:cubicBezTo>
                      <a:pt x="4" y="32"/>
                      <a:pt x="4" y="32"/>
                      <a:pt x="3" y="32"/>
                    </a:cubicBezTo>
                    <a:cubicBezTo>
                      <a:pt x="3" y="32"/>
                      <a:pt x="3" y="32"/>
                      <a:pt x="3" y="32"/>
                    </a:cubicBezTo>
                    <a:cubicBezTo>
                      <a:pt x="3" y="32"/>
                      <a:pt x="3" y="32"/>
                      <a:pt x="3" y="32"/>
                    </a:cubicBezTo>
                    <a:cubicBezTo>
                      <a:pt x="3" y="32"/>
                      <a:pt x="3" y="33"/>
                      <a:pt x="3" y="33"/>
                    </a:cubicBezTo>
                    <a:cubicBezTo>
                      <a:pt x="3" y="33"/>
                      <a:pt x="3" y="33"/>
                      <a:pt x="3" y="33"/>
                    </a:cubicBezTo>
                    <a:cubicBezTo>
                      <a:pt x="3" y="33"/>
                      <a:pt x="3" y="33"/>
                      <a:pt x="3" y="34"/>
                    </a:cubicBezTo>
                    <a:cubicBezTo>
                      <a:pt x="4" y="34"/>
                      <a:pt x="4" y="35"/>
                      <a:pt x="4" y="36"/>
                    </a:cubicBezTo>
                    <a:cubicBezTo>
                      <a:pt x="4" y="37"/>
                      <a:pt x="4" y="37"/>
                      <a:pt x="4" y="37"/>
                    </a:cubicBezTo>
                    <a:cubicBezTo>
                      <a:pt x="5" y="38"/>
                      <a:pt x="6" y="39"/>
                      <a:pt x="6" y="41"/>
                    </a:cubicBezTo>
                    <a:cubicBezTo>
                      <a:pt x="6" y="42"/>
                      <a:pt x="7" y="44"/>
                      <a:pt x="7" y="46"/>
                    </a:cubicBezTo>
                    <a:cubicBezTo>
                      <a:pt x="7" y="47"/>
                      <a:pt x="7" y="47"/>
                      <a:pt x="7" y="47"/>
                    </a:cubicBezTo>
                    <a:cubicBezTo>
                      <a:pt x="7" y="47"/>
                      <a:pt x="6" y="48"/>
                      <a:pt x="5" y="48"/>
                    </a:cubicBezTo>
                    <a:cubicBezTo>
                      <a:pt x="5" y="49"/>
                      <a:pt x="5" y="49"/>
                      <a:pt x="5" y="49"/>
                    </a:cubicBezTo>
                    <a:cubicBezTo>
                      <a:pt x="4" y="49"/>
                      <a:pt x="4" y="49"/>
                      <a:pt x="4" y="49"/>
                    </a:cubicBezTo>
                    <a:cubicBezTo>
                      <a:pt x="0" y="53"/>
                      <a:pt x="0" y="53"/>
                      <a:pt x="0" y="53"/>
                    </a:cubicBezTo>
                    <a:cubicBezTo>
                      <a:pt x="0" y="53"/>
                      <a:pt x="1" y="54"/>
                      <a:pt x="1" y="54"/>
                    </a:cubicBezTo>
                    <a:cubicBezTo>
                      <a:pt x="1" y="54"/>
                      <a:pt x="1" y="54"/>
                      <a:pt x="1" y="54"/>
                    </a:cubicBezTo>
                    <a:cubicBezTo>
                      <a:pt x="2" y="54"/>
                      <a:pt x="2" y="55"/>
                      <a:pt x="3" y="55"/>
                    </a:cubicBezTo>
                    <a:cubicBezTo>
                      <a:pt x="3" y="55"/>
                      <a:pt x="3" y="55"/>
                      <a:pt x="3" y="55"/>
                    </a:cubicBezTo>
                    <a:cubicBezTo>
                      <a:pt x="3" y="56"/>
                      <a:pt x="3" y="56"/>
                      <a:pt x="3" y="56"/>
                    </a:cubicBezTo>
                    <a:cubicBezTo>
                      <a:pt x="3" y="56"/>
                      <a:pt x="4" y="56"/>
                      <a:pt x="4" y="57"/>
                    </a:cubicBezTo>
                    <a:cubicBezTo>
                      <a:pt x="4" y="57"/>
                      <a:pt x="3" y="58"/>
                      <a:pt x="3" y="60"/>
                    </a:cubicBezTo>
                    <a:cubicBezTo>
                      <a:pt x="3" y="60"/>
                      <a:pt x="3" y="61"/>
                      <a:pt x="3" y="61"/>
                    </a:cubicBezTo>
                    <a:cubicBezTo>
                      <a:pt x="3" y="61"/>
                      <a:pt x="3" y="61"/>
                      <a:pt x="3" y="62"/>
                    </a:cubicBezTo>
                    <a:cubicBezTo>
                      <a:pt x="3" y="62"/>
                      <a:pt x="3" y="62"/>
                      <a:pt x="3" y="62"/>
                    </a:cubicBezTo>
                    <a:cubicBezTo>
                      <a:pt x="3" y="62"/>
                      <a:pt x="3" y="62"/>
                      <a:pt x="3" y="62"/>
                    </a:cubicBezTo>
                    <a:cubicBezTo>
                      <a:pt x="4" y="62"/>
                      <a:pt x="4" y="62"/>
                      <a:pt x="5" y="62"/>
                    </a:cubicBezTo>
                    <a:cubicBezTo>
                      <a:pt x="5" y="62"/>
                      <a:pt x="5" y="62"/>
                      <a:pt x="5" y="62"/>
                    </a:cubicBezTo>
                    <a:cubicBezTo>
                      <a:pt x="6" y="61"/>
                      <a:pt x="6" y="61"/>
                      <a:pt x="6" y="61"/>
                    </a:cubicBezTo>
                    <a:cubicBezTo>
                      <a:pt x="7" y="61"/>
                      <a:pt x="7" y="60"/>
                      <a:pt x="7" y="60"/>
                    </a:cubicBezTo>
                    <a:cubicBezTo>
                      <a:pt x="8" y="59"/>
                      <a:pt x="9" y="58"/>
                      <a:pt x="11" y="58"/>
                    </a:cubicBezTo>
                    <a:cubicBezTo>
                      <a:pt x="11" y="58"/>
                      <a:pt x="11" y="57"/>
                      <a:pt x="12" y="57"/>
                    </a:cubicBezTo>
                    <a:cubicBezTo>
                      <a:pt x="12" y="57"/>
                      <a:pt x="12" y="57"/>
                      <a:pt x="12" y="57"/>
                    </a:cubicBezTo>
                    <a:cubicBezTo>
                      <a:pt x="12" y="57"/>
                      <a:pt x="13" y="57"/>
                      <a:pt x="13" y="57"/>
                    </a:cubicBezTo>
                    <a:cubicBezTo>
                      <a:pt x="14" y="57"/>
                      <a:pt x="14" y="57"/>
                      <a:pt x="14" y="57"/>
                    </a:cubicBezTo>
                    <a:cubicBezTo>
                      <a:pt x="15" y="57"/>
                      <a:pt x="15" y="57"/>
                      <a:pt x="16" y="57"/>
                    </a:cubicBezTo>
                    <a:cubicBezTo>
                      <a:pt x="16" y="57"/>
                      <a:pt x="16" y="57"/>
                      <a:pt x="16" y="57"/>
                    </a:cubicBezTo>
                    <a:cubicBezTo>
                      <a:pt x="17" y="57"/>
                      <a:pt x="17" y="57"/>
                      <a:pt x="18" y="57"/>
                    </a:cubicBezTo>
                    <a:cubicBezTo>
                      <a:pt x="19" y="57"/>
                      <a:pt x="19" y="57"/>
                      <a:pt x="20" y="57"/>
                    </a:cubicBezTo>
                    <a:cubicBezTo>
                      <a:pt x="22" y="57"/>
                      <a:pt x="24" y="58"/>
                      <a:pt x="26" y="58"/>
                    </a:cubicBezTo>
                    <a:cubicBezTo>
                      <a:pt x="27" y="58"/>
                      <a:pt x="27" y="58"/>
                      <a:pt x="27" y="58"/>
                    </a:cubicBezTo>
                    <a:cubicBezTo>
                      <a:pt x="40" y="61"/>
                      <a:pt x="40" y="61"/>
                      <a:pt x="40" y="61"/>
                    </a:cubicBezTo>
                    <a:cubicBezTo>
                      <a:pt x="40" y="61"/>
                      <a:pt x="40" y="61"/>
                      <a:pt x="41" y="61"/>
                    </a:cubicBezTo>
                    <a:cubicBezTo>
                      <a:pt x="42" y="61"/>
                      <a:pt x="43" y="61"/>
                      <a:pt x="44" y="62"/>
                    </a:cubicBezTo>
                    <a:cubicBezTo>
                      <a:pt x="45" y="61"/>
                      <a:pt x="46" y="61"/>
                      <a:pt x="47" y="61"/>
                    </a:cubicBezTo>
                    <a:cubicBezTo>
                      <a:pt x="48" y="61"/>
                      <a:pt x="48" y="61"/>
                      <a:pt x="48" y="61"/>
                    </a:cubicBezTo>
                    <a:cubicBezTo>
                      <a:pt x="48" y="61"/>
                      <a:pt x="48" y="61"/>
                      <a:pt x="48" y="61"/>
                    </a:cubicBezTo>
                    <a:cubicBezTo>
                      <a:pt x="49" y="61"/>
                      <a:pt x="49" y="61"/>
                      <a:pt x="49" y="61"/>
                    </a:cubicBezTo>
                    <a:cubicBezTo>
                      <a:pt x="49" y="61"/>
                      <a:pt x="49" y="61"/>
                      <a:pt x="49" y="61"/>
                    </a:cubicBezTo>
                    <a:cubicBezTo>
                      <a:pt x="50" y="61"/>
                      <a:pt x="50" y="61"/>
                      <a:pt x="50" y="61"/>
                    </a:cubicBezTo>
                    <a:cubicBezTo>
                      <a:pt x="50" y="61"/>
                      <a:pt x="50" y="61"/>
                      <a:pt x="50" y="61"/>
                    </a:cubicBezTo>
                    <a:cubicBezTo>
                      <a:pt x="50" y="61"/>
                      <a:pt x="50" y="61"/>
                      <a:pt x="50" y="61"/>
                    </a:cubicBezTo>
                    <a:cubicBezTo>
                      <a:pt x="51" y="61"/>
                      <a:pt x="51" y="62"/>
                      <a:pt x="51" y="62"/>
                    </a:cubicBezTo>
                    <a:cubicBezTo>
                      <a:pt x="51" y="62"/>
                      <a:pt x="52" y="63"/>
                      <a:pt x="53" y="63"/>
                    </a:cubicBezTo>
                    <a:cubicBezTo>
                      <a:pt x="53" y="63"/>
                      <a:pt x="54" y="63"/>
                      <a:pt x="54" y="64"/>
                    </a:cubicBezTo>
                    <a:cubicBezTo>
                      <a:pt x="54" y="63"/>
                      <a:pt x="55" y="63"/>
                      <a:pt x="56" y="62"/>
                    </a:cubicBezTo>
                    <a:cubicBezTo>
                      <a:pt x="56" y="62"/>
                      <a:pt x="56" y="62"/>
                      <a:pt x="56" y="62"/>
                    </a:cubicBezTo>
                    <a:cubicBezTo>
                      <a:pt x="56" y="62"/>
                      <a:pt x="56" y="62"/>
                      <a:pt x="56" y="62"/>
                    </a:cubicBezTo>
                    <a:cubicBezTo>
                      <a:pt x="56" y="62"/>
                      <a:pt x="56" y="62"/>
                      <a:pt x="56" y="62"/>
                    </a:cubicBezTo>
                    <a:cubicBezTo>
                      <a:pt x="57" y="61"/>
                      <a:pt x="57" y="61"/>
                      <a:pt x="57" y="61"/>
                    </a:cubicBezTo>
                    <a:cubicBezTo>
                      <a:pt x="57" y="61"/>
                      <a:pt x="57" y="61"/>
                      <a:pt x="57" y="61"/>
                    </a:cubicBezTo>
                    <a:cubicBezTo>
                      <a:pt x="59" y="61"/>
                      <a:pt x="60" y="62"/>
                      <a:pt x="61" y="63"/>
                    </a:cubicBezTo>
                    <a:cubicBezTo>
                      <a:pt x="61" y="63"/>
                      <a:pt x="61" y="64"/>
                      <a:pt x="61" y="64"/>
                    </a:cubicBezTo>
                    <a:cubicBezTo>
                      <a:pt x="62" y="63"/>
                      <a:pt x="62" y="63"/>
                      <a:pt x="62" y="63"/>
                    </a:cubicBezTo>
                    <a:cubicBezTo>
                      <a:pt x="61" y="64"/>
                      <a:pt x="61" y="64"/>
                      <a:pt x="61" y="64"/>
                    </a:cubicBezTo>
                    <a:cubicBezTo>
                      <a:pt x="61" y="64"/>
                      <a:pt x="61" y="64"/>
                      <a:pt x="61" y="64"/>
                    </a:cubicBezTo>
                    <a:cubicBezTo>
                      <a:pt x="62" y="65"/>
                      <a:pt x="62" y="65"/>
                      <a:pt x="62" y="65"/>
                    </a:cubicBezTo>
                    <a:cubicBezTo>
                      <a:pt x="62" y="65"/>
                      <a:pt x="63" y="64"/>
                      <a:pt x="63" y="64"/>
                    </a:cubicBezTo>
                    <a:cubicBezTo>
                      <a:pt x="63" y="64"/>
                      <a:pt x="63" y="64"/>
                      <a:pt x="63" y="64"/>
                    </a:cubicBezTo>
                    <a:cubicBezTo>
                      <a:pt x="64" y="64"/>
                      <a:pt x="64" y="64"/>
                      <a:pt x="65" y="64"/>
                    </a:cubicBezTo>
                    <a:cubicBezTo>
                      <a:pt x="65" y="64"/>
                      <a:pt x="66" y="64"/>
                      <a:pt x="66" y="64"/>
                    </a:cubicBezTo>
                    <a:cubicBezTo>
                      <a:pt x="67" y="63"/>
                      <a:pt x="67" y="63"/>
                      <a:pt x="67" y="63"/>
                    </a:cubicBezTo>
                    <a:cubicBezTo>
                      <a:pt x="67" y="63"/>
                      <a:pt x="68" y="63"/>
                      <a:pt x="68" y="63"/>
                    </a:cubicBezTo>
                    <a:cubicBezTo>
                      <a:pt x="68" y="63"/>
                      <a:pt x="69" y="63"/>
                      <a:pt x="69" y="63"/>
                    </a:cubicBezTo>
                    <a:cubicBezTo>
                      <a:pt x="69" y="63"/>
                      <a:pt x="69" y="63"/>
                      <a:pt x="69" y="63"/>
                    </a:cubicBezTo>
                    <a:cubicBezTo>
                      <a:pt x="69" y="63"/>
                      <a:pt x="69" y="63"/>
                      <a:pt x="69" y="63"/>
                    </a:cubicBezTo>
                    <a:cubicBezTo>
                      <a:pt x="70" y="63"/>
                      <a:pt x="70" y="63"/>
                      <a:pt x="70" y="64"/>
                    </a:cubicBezTo>
                    <a:cubicBezTo>
                      <a:pt x="71" y="64"/>
                      <a:pt x="71" y="64"/>
                      <a:pt x="72" y="65"/>
                    </a:cubicBezTo>
                    <a:cubicBezTo>
                      <a:pt x="72" y="64"/>
                      <a:pt x="72" y="64"/>
                      <a:pt x="72" y="64"/>
                    </a:cubicBezTo>
                    <a:cubicBezTo>
                      <a:pt x="71" y="62"/>
                      <a:pt x="72" y="62"/>
                      <a:pt x="72" y="61"/>
                    </a:cubicBezTo>
                    <a:cubicBezTo>
                      <a:pt x="72" y="60"/>
                      <a:pt x="72" y="60"/>
                      <a:pt x="73" y="60"/>
                    </a:cubicBezTo>
                    <a:cubicBezTo>
                      <a:pt x="73" y="60"/>
                      <a:pt x="73" y="60"/>
                      <a:pt x="73" y="60"/>
                    </a:cubicBezTo>
                    <a:cubicBezTo>
                      <a:pt x="73" y="59"/>
                      <a:pt x="73" y="59"/>
                      <a:pt x="73" y="59"/>
                    </a:cubicBezTo>
                    <a:cubicBezTo>
                      <a:pt x="74" y="58"/>
                      <a:pt x="74" y="58"/>
                      <a:pt x="74" y="58"/>
                    </a:cubicBezTo>
                    <a:cubicBezTo>
                      <a:pt x="75" y="56"/>
                      <a:pt x="76" y="56"/>
                      <a:pt x="77" y="55"/>
                    </a:cubicBezTo>
                    <a:cubicBezTo>
                      <a:pt x="78" y="55"/>
                      <a:pt x="78" y="55"/>
                      <a:pt x="79" y="55"/>
                    </a:cubicBezTo>
                    <a:cubicBezTo>
                      <a:pt x="79" y="55"/>
                      <a:pt x="79" y="55"/>
                      <a:pt x="79" y="55"/>
                    </a:cubicBezTo>
                    <a:cubicBezTo>
                      <a:pt x="79" y="55"/>
                      <a:pt x="79" y="55"/>
                      <a:pt x="79" y="55"/>
                    </a:cubicBezTo>
                    <a:cubicBezTo>
                      <a:pt x="79" y="55"/>
                      <a:pt x="80" y="55"/>
                      <a:pt x="80" y="55"/>
                    </a:cubicBezTo>
                    <a:cubicBezTo>
                      <a:pt x="80" y="55"/>
                      <a:pt x="80" y="55"/>
                      <a:pt x="80" y="55"/>
                    </a:cubicBezTo>
                    <a:cubicBezTo>
                      <a:pt x="80" y="55"/>
                      <a:pt x="80" y="55"/>
                      <a:pt x="8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2" name="Freeform 3124">
                <a:extLst>
                  <a:ext uri="{FF2B5EF4-FFF2-40B4-BE49-F238E27FC236}">
                    <a16:creationId xmlns:a16="http://schemas.microsoft.com/office/drawing/2014/main" id="{0456F4C2-60EF-4FE0-AC8A-7C4FD641D9BF}"/>
                  </a:ext>
                </a:extLst>
              </p:cNvPr>
              <p:cNvSpPr>
                <a:spLocks/>
              </p:cNvSpPr>
              <p:nvPr/>
            </p:nvSpPr>
            <p:spPr bwMode="auto">
              <a:xfrm>
                <a:off x="4057" y="1248"/>
                <a:ext cx="130" cy="80"/>
              </a:xfrm>
              <a:custGeom>
                <a:avLst/>
                <a:gdLst>
                  <a:gd name="T0" fmla="*/ 2 w 55"/>
                  <a:gd name="T1" fmla="*/ 14 h 34"/>
                  <a:gd name="T2" fmla="*/ 10 w 55"/>
                  <a:gd name="T3" fmla="*/ 17 h 34"/>
                  <a:gd name="T4" fmla="*/ 11 w 55"/>
                  <a:gd name="T5" fmla="*/ 18 h 34"/>
                  <a:gd name="T6" fmla="*/ 12 w 55"/>
                  <a:gd name="T7" fmla="*/ 17 h 34"/>
                  <a:gd name="T8" fmla="*/ 16 w 55"/>
                  <a:gd name="T9" fmla="*/ 18 h 34"/>
                  <a:gd name="T10" fmla="*/ 20 w 55"/>
                  <a:gd name="T11" fmla="*/ 22 h 34"/>
                  <a:gd name="T12" fmla="*/ 19 w 55"/>
                  <a:gd name="T13" fmla="*/ 23 h 34"/>
                  <a:gd name="T14" fmla="*/ 19 w 55"/>
                  <a:gd name="T15" fmla="*/ 24 h 34"/>
                  <a:gd name="T16" fmla="*/ 20 w 55"/>
                  <a:gd name="T17" fmla="*/ 28 h 34"/>
                  <a:gd name="T18" fmla="*/ 22 w 55"/>
                  <a:gd name="T19" fmla="*/ 28 h 34"/>
                  <a:gd name="T20" fmla="*/ 23 w 55"/>
                  <a:gd name="T21" fmla="*/ 29 h 34"/>
                  <a:gd name="T22" fmla="*/ 25 w 55"/>
                  <a:gd name="T23" fmla="*/ 31 h 34"/>
                  <a:gd name="T24" fmla="*/ 26 w 55"/>
                  <a:gd name="T25" fmla="*/ 32 h 34"/>
                  <a:gd name="T26" fmla="*/ 26 w 55"/>
                  <a:gd name="T27" fmla="*/ 33 h 34"/>
                  <a:gd name="T28" fmla="*/ 28 w 55"/>
                  <a:gd name="T29" fmla="*/ 33 h 34"/>
                  <a:gd name="T30" fmla="*/ 33 w 55"/>
                  <a:gd name="T31" fmla="*/ 34 h 34"/>
                  <a:gd name="T32" fmla="*/ 37 w 55"/>
                  <a:gd name="T33" fmla="*/ 33 h 34"/>
                  <a:gd name="T34" fmla="*/ 37 w 55"/>
                  <a:gd name="T35" fmla="*/ 33 h 34"/>
                  <a:gd name="T36" fmla="*/ 38 w 55"/>
                  <a:gd name="T37" fmla="*/ 31 h 34"/>
                  <a:gd name="T38" fmla="*/ 38 w 55"/>
                  <a:gd name="T39" fmla="*/ 31 h 34"/>
                  <a:gd name="T40" fmla="*/ 40 w 55"/>
                  <a:gd name="T41" fmla="*/ 30 h 34"/>
                  <a:gd name="T42" fmla="*/ 41 w 55"/>
                  <a:gd name="T43" fmla="*/ 30 h 34"/>
                  <a:gd name="T44" fmla="*/ 44 w 55"/>
                  <a:gd name="T45" fmla="*/ 29 h 34"/>
                  <a:gd name="T46" fmla="*/ 46 w 55"/>
                  <a:gd name="T47" fmla="*/ 25 h 34"/>
                  <a:gd name="T48" fmla="*/ 50 w 55"/>
                  <a:gd name="T49" fmla="*/ 19 h 34"/>
                  <a:gd name="T50" fmla="*/ 51 w 55"/>
                  <a:gd name="T51" fmla="*/ 17 h 34"/>
                  <a:gd name="T52" fmla="*/ 55 w 55"/>
                  <a:gd name="T53" fmla="*/ 16 h 34"/>
                  <a:gd name="T54" fmla="*/ 55 w 55"/>
                  <a:gd name="T55" fmla="*/ 12 h 34"/>
                  <a:gd name="T56" fmla="*/ 53 w 55"/>
                  <a:gd name="T57" fmla="*/ 10 h 34"/>
                  <a:gd name="T58" fmla="*/ 51 w 55"/>
                  <a:gd name="T59" fmla="*/ 8 h 34"/>
                  <a:gd name="T60" fmla="*/ 47 w 55"/>
                  <a:gd name="T61" fmla="*/ 5 h 34"/>
                  <a:gd name="T62" fmla="*/ 45 w 55"/>
                  <a:gd name="T63" fmla="*/ 4 h 34"/>
                  <a:gd name="T64" fmla="*/ 43 w 55"/>
                  <a:gd name="T65" fmla="*/ 4 h 34"/>
                  <a:gd name="T66" fmla="*/ 39 w 55"/>
                  <a:gd name="T67" fmla="*/ 0 h 34"/>
                  <a:gd name="T68" fmla="*/ 37 w 55"/>
                  <a:gd name="T69" fmla="*/ 1 h 34"/>
                  <a:gd name="T70" fmla="*/ 36 w 55"/>
                  <a:gd name="T71" fmla="*/ 2 h 34"/>
                  <a:gd name="T72" fmla="*/ 32 w 55"/>
                  <a:gd name="T73" fmla="*/ 2 h 34"/>
                  <a:gd name="T74" fmla="*/ 28 w 55"/>
                  <a:gd name="T75" fmla="*/ 1 h 34"/>
                  <a:gd name="T76" fmla="*/ 27 w 55"/>
                  <a:gd name="T77" fmla="*/ 1 h 34"/>
                  <a:gd name="T78" fmla="*/ 23 w 55"/>
                  <a:gd name="T79" fmla="*/ 1 h 34"/>
                  <a:gd name="T80" fmla="*/ 22 w 55"/>
                  <a:gd name="T81" fmla="*/ 2 h 34"/>
                  <a:gd name="T82" fmla="*/ 19 w 55"/>
                  <a:gd name="T83" fmla="*/ 1 h 34"/>
                  <a:gd name="T84" fmla="*/ 15 w 55"/>
                  <a:gd name="T85" fmla="*/ 1 h 34"/>
                  <a:gd name="T86" fmla="*/ 12 w 55"/>
                  <a:gd name="T87" fmla="*/ 1 h 34"/>
                  <a:gd name="T88" fmla="*/ 4 w 55"/>
                  <a:gd name="T89" fmla="*/ 3 h 34"/>
                  <a:gd name="T90" fmla="*/ 2 w 55"/>
                  <a:gd name="T91" fmla="*/ 4 h 34"/>
                  <a:gd name="T92" fmla="*/ 0 w 55"/>
                  <a:gd name="T9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34">
                    <a:moveTo>
                      <a:pt x="1" y="12"/>
                    </a:moveTo>
                    <a:cubicBezTo>
                      <a:pt x="2" y="13"/>
                      <a:pt x="2" y="14"/>
                      <a:pt x="2" y="15"/>
                    </a:cubicBezTo>
                    <a:cubicBezTo>
                      <a:pt x="2" y="14"/>
                      <a:pt x="2" y="14"/>
                      <a:pt x="2" y="14"/>
                    </a:cubicBezTo>
                    <a:cubicBezTo>
                      <a:pt x="3" y="15"/>
                      <a:pt x="3" y="15"/>
                      <a:pt x="3" y="15"/>
                    </a:cubicBezTo>
                    <a:cubicBezTo>
                      <a:pt x="3" y="15"/>
                      <a:pt x="3" y="15"/>
                      <a:pt x="3" y="15"/>
                    </a:cubicBezTo>
                    <a:cubicBezTo>
                      <a:pt x="5" y="16"/>
                      <a:pt x="8" y="17"/>
                      <a:pt x="10" y="17"/>
                    </a:cubicBezTo>
                    <a:cubicBezTo>
                      <a:pt x="10" y="18"/>
                      <a:pt x="10" y="18"/>
                      <a:pt x="10" y="18"/>
                    </a:cubicBezTo>
                    <a:cubicBezTo>
                      <a:pt x="11" y="18"/>
                      <a:pt x="11" y="18"/>
                      <a:pt x="11" y="18"/>
                    </a:cubicBezTo>
                    <a:cubicBezTo>
                      <a:pt x="11" y="18"/>
                      <a:pt x="11" y="18"/>
                      <a:pt x="11" y="18"/>
                    </a:cubicBezTo>
                    <a:cubicBezTo>
                      <a:pt x="11" y="18"/>
                      <a:pt x="11" y="18"/>
                      <a:pt x="11" y="18"/>
                    </a:cubicBezTo>
                    <a:cubicBezTo>
                      <a:pt x="11" y="18"/>
                      <a:pt x="12" y="18"/>
                      <a:pt x="12" y="17"/>
                    </a:cubicBezTo>
                    <a:cubicBezTo>
                      <a:pt x="12" y="17"/>
                      <a:pt x="12" y="17"/>
                      <a:pt x="12" y="17"/>
                    </a:cubicBezTo>
                    <a:cubicBezTo>
                      <a:pt x="13" y="17"/>
                      <a:pt x="13" y="17"/>
                      <a:pt x="14" y="17"/>
                    </a:cubicBezTo>
                    <a:cubicBezTo>
                      <a:pt x="15" y="17"/>
                      <a:pt x="16" y="17"/>
                      <a:pt x="16" y="18"/>
                    </a:cubicBezTo>
                    <a:cubicBezTo>
                      <a:pt x="16" y="18"/>
                      <a:pt x="16" y="18"/>
                      <a:pt x="16" y="18"/>
                    </a:cubicBezTo>
                    <a:cubicBezTo>
                      <a:pt x="17" y="18"/>
                      <a:pt x="17" y="18"/>
                      <a:pt x="17" y="18"/>
                    </a:cubicBezTo>
                    <a:cubicBezTo>
                      <a:pt x="17" y="18"/>
                      <a:pt x="17" y="19"/>
                      <a:pt x="17" y="19"/>
                    </a:cubicBezTo>
                    <a:cubicBezTo>
                      <a:pt x="20" y="22"/>
                      <a:pt x="20" y="22"/>
                      <a:pt x="20" y="22"/>
                    </a:cubicBezTo>
                    <a:cubicBezTo>
                      <a:pt x="19" y="23"/>
                      <a:pt x="19" y="23"/>
                      <a:pt x="19" y="23"/>
                    </a:cubicBezTo>
                    <a:cubicBezTo>
                      <a:pt x="19" y="23"/>
                      <a:pt x="19" y="23"/>
                      <a:pt x="19" y="23"/>
                    </a:cubicBezTo>
                    <a:cubicBezTo>
                      <a:pt x="19" y="23"/>
                      <a:pt x="19" y="23"/>
                      <a:pt x="19" y="23"/>
                    </a:cubicBezTo>
                    <a:cubicBezTo>
                      <a:pt x="19" y="23"/>
                      <a:pt x="19" y="23"/>
                      <a:pt x="19" y="24"/>
                    </a:cubicBezTo>
                    <a:cubicBezTo>
                      <a:pt x="19" y="24"/>
                      <a:pt x="19" y="24"/>
                      <a:pt x="19" y="24"/>
                    </a:cubicBezTo>
                    <a:cubicBezTo>
                      <a:pt x="19" y="24"/>
                      <a:pt x="19" y="24"/>
                      <a:pt x="19" y="24"/>
                    </a:cubicBezTo>
                    <a:cubicBezTo>
                      <a:pt x="19" y="27"/>
                      <a:pt x="19" y="27"/>
                      <a:pt x="19" y="27"/>
                    </a:cubicBezTo>
                    <a:cubicBezTo>
                      <a:pt x="19" y="27"/>
                      <a:pt x="19" y="27"/>
                      <a:pt x="19" y="27"/>
                    </a:cubicBezTo>
                    <a:cubicBezTo>
                      <a:pt x="20" y="27"/>
                      <a:pt x="20" y="27"/>
                      <a:pt x="20" y="28"/>
                    </a:cubicBezTo>
                    <a:cubicBezTo>
                      <a:pt x="20" y="28"/>
                      <a:pt x="21" y="28"/>
                      <a:pt x="21" y="28"/>
                    </a:cubicBezTo>
                    <a:cubicBezTo>
                      <a:pt x="21" y="28"/>
                      <a:pt x="21" y="28"/>
                      <a:pt x="21" y="28"/>
                    </a:cubicBezTo>
                    <a:cubicBezTo>
                      <a:pt x="22" y="28"/>
                      <a:pt x="22" y="28"/>
                      <a:pt x="22" y="28"/>
                    </a:cubicBezTo>
                    <a:cubicBezTo>
                      <a:pt x="22" y="28"/>
                      <a:pt x="22" y="28"/>
                      <a:pt x="22" y="28"/>
                    </a:cubicBezTo>
                    <a:cubicBezTo>
                      <a:pt x="22" y="28"/>
                      <a:pt x="22" y="29"/>
                      <a:pt x="23" y="29"/>
                    </a:cubicBezTo>
                    <a:cubicBezTo>
                      <a:pt x="23" y="29"/>
                      <a:pt x="23" y="29"/>
                      <a:pt x="23" y="29"/>
                    </a:cubicBezTo>
                    <a:cubicBezTo>
                      <a:pt x="23" y="29"/>
                      <a:pt x="24" y="30"/>
                      <a:pt x="24" y="30"/>
                    </a:cubicBezTo>
                    <a:cubicBezTo>
                      <a:pt x="24" y="30"/>
                      <a:pt x="24" y="30"/>
                      <a:pt x="24" y="30"/>
                    </a:cubicBezTo>
                    <a:cubicBezTo>
                      <a:pt x="24" y="30"/>
                      <a:pt x="25" y="31"/>
                      <a:pt x="25" y="31"/>
                    </a:cubicBezTo>
                    <a:cubicBezTo>
                      <a:pt x="25" y="31"/>
                      <a:pt x="25" y="31"/>
                      <a:pt x="25" y="31"/>
                    </a:cubicBezTo>
                    <a:cubicBezTo>
                      <a:pt x="25"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7" y="33"/>
                      <a:pt x="27" y="33"/>
                    </a:cubicBezTo>
                    <a:cubicBezTo>
                      <a:pt x="27" y="33"/>
                      <a:pt x="27" y="33"/>
                      <a:pt x="27" y="33"/>
                    </a:cubicBezTo>
                    <a:cubicBezTo>
                      <a:pt x="28" y="33"/>
                      <a:pt x="28" y="33"/>
                      <a:pt x="28" y="33"/>
                    </a:cubicBezTo>
                    <a:cubicBezTo>
                      <a:pt x="30" y="33"/>
                      <a:pt x="31" y="33"/>
                      <a:pt x="32" y="33"/>
                    </a:cubicBezTo>
                    <a:cubicBezTo>
                      <a:pt x="33" y="34"/>
                      <a:pt x="33" y="34"/>
                      <a:pt x="33" y="34"/>
                    </a:cubicBezTo>
                    <a:cubicBezTo>
                      <a:pt x="33" y="34"/>
                      <a:pt x="33" y="34"/>
                      <a:pt x="33" y="34"/>
                    </a:cubicBezTo>
                    <a:cubicBezTo>
                      <a:pt x="34" y="34"/>
                      <a:pt x="34" y="34"/>
                      <a:pt x="34" y="34"/>
                    </a:cubicBezTo>
                    <a:cubicBezTo>
                      <a:pt x="34" y="34"/>
                      <a:pt x="35" y="34"/>
                      <a:pt x="36" y="33"/>
                    </a:cubicBezTo>
                    <a:cubicBezTo>
                      <a:pt x="36" y="33"/>
                      <a:pt x="37" y="33"/>
                      <a:pt x="37" y="33"/>
                    </a:cubicBezTo>
                    <a:cubicBezTo>
                      <a:pt x="37" y="33"/>
                      <a:pt x="37" y="33"/>
                      <a:pt x="37" y="33"/>
                    </a:cubicBezTo>
                    <a:cubicBezTo>
                      <a:pt x="37" y="33"/>
                      <a:pt x="37" y="33"/>
                      <a:pt x="37" y="33"/>
                    </a:cubicBezTo>
                    <a:cubicBezTo>
                      <a:pt x="37" y="33"/>
                      <a:pt x="37" y="33"/>
                      <a:pt x="37" y="33"/>
                    </a:cubicBezTo>
                    <a:cubicBezTo>
                      <a:pt x="37" y="33"/>
                      <a:pt x="37" y="32"/>
                      <a:pt x="37" y="32"/>
                    </a:cubicBezTo>
                    <a:cubicBezTo>
                      <a:pt x="37" y="32"/>
                      <a:pt x="37" y="32"/>
                      <a:pt x="37" y="32"/>
                    </a:cubicBezTo>
                    <a:cubicBezTo>
                      <a:pt x="37" y="31"/>
                      <a:pt x="38" y="31"/>
                      <a:pt x="38" y="31"/>
                    </a:cubicBezTo>
                    <a:cubicBezTo>
                      <a:pt x="38" y="31"/>
                      <a:pt x="38" y="31"/>
                      <a:pt x="38" y="31"/>
                    </a:cubicBezTo>
                    <a:cubicBezTo>
                      <a:pt x="38" y="31"/>
                      <a:pt x="38" y="31"/>
                      <a:pt x="38" y="31"/>
                    </a:cubicBezTo>
                    <a:cubicBezTo>
                      <a:pt x="38" y="31"/>
                      <a:pt x="38" y="31"/>
                      <a:pt x="38" y="31"/>
                    </a:cubicBezTo>
                    <a:cubicBezTo>
                      <a:pt x="38" y="31"/>
                      <a:pt x="38" y="30"/>
                      <a:pt x="38" y="30"/>
                    </a:cubicBezTo>
                    <a:cubicBezTo>
                      <a:pt x="39" y="30"/>
                      <a:pt x="39" y="30"/>
                      <a:pt x="39" y="30"/>
                    </a:cubicBezTo>
                    <a:cubicBezTo>
                      <a:pt x="39" y="30"/>
                      <a:pt x="40" y="30"/>
                      <a:pt x="40" y="30"/>
                    </a:cubicBezTo>
                    <a:cubicBezTo>
                      <a:pt x="40" y="30"/>
                      <a:pt x="40" y="30"/>
                      <a:pt x="40" y="30"/>
                    </a:cubicBezTo>
                    <a:cubicBezTo>
                      <a:pt x="41" y="30"/>
                      <a:pt x="41" y="30"/>
                      <a:pt x="41" y="30"/>
                    </a:cubicBezTo>
                    <a:cubicBezTo>
                      <a:pt x="41" y="30"/>
                      <a:pt x="41" y="30"/>
                      <a:pt x="41" y="30"/>
                    </a:cubicBezTo>
                    <a:cubicBezTo>
                      <a:pt x="41" y="30"/>
                      <a:pt x="42" y="30"/>
                      <a:pt x="42" y="30"/>
                    </a:cubicBezTo>
                    <a:cubicBezTo>
                      <a:pt x="42" y="30"/>
                      <a:pt x="42" y="30"/>
                      <a:pt x="42" y="30"/>
                    </a:cubicBezTo>
                    <a:cubicBezTo>
                      <a:pt x="43" y="29"/>
                      <a:pt x="43" y="29"/>
                      <a:pt x="44" y="29"/>
                    </a:cubicBezTo>
                    <a:cubicBezTo>
                      <a:pt x="44" y="29"/>
                      <a:pt x="44" y="29"/>
                      <a:pt x="44" y="29"/>
                    </a:cubicBezTo>
                    <a:cubicBezTo>
                      <a:pt x="44" y="29"/>
                      <a:pt x="45" y="28"/>
                      <a:pt x="45" y="28"/>
                    </a:cubicBezTo>
                    <a:cubicBezTo>
                      <a:pt x="45" y="27"/>
                      <a:pt x="45" y="26"/>
                      <a:pt x="46" y="25"/>
                    </a:cubicBezTo>
                    <a:cubicBezTo>
                      <a:pt x="47" y="23"/>
                      <a:pt x="47" y="23"/>
                      <a:pt x="47" y="23"/>
                    </a:cubicBezTo>
                    <a:cubicBezTo>
                      <a:pt x="47" y="21"/>
                      <a:pt x="48" y="21"/>
                      <a:pt x="49" y="20"/>
                    </a:cubicBezTo>
                    <a:cubicBezTo>
                      <a:pt x="49" y="20"/>
                      <a:pt x="49" y="20"/>
                      <a:pt x="50" y="19"/>
                    </a:cubicBezTo>
                    <a:cubicBezTo>
                      <a:pt x="50" y="19"/>
                      <a:pt x="50" y="19"/>
                      <a:pt x="50" y="19"/>
                    </a:cubicBezTo>
                    <a:cubicBezTo>
                      <a:pt x="51" y="19"/>
                      <a:pt x="51" y="19"/>
                      <a:pt x="51" y="19"/>
                    </a:cubicBezTo>
                    <a:cubicBezTo>
                      <a:pt x="51" y="17"/>
                      <a:pt x="51" y="17"/>
                      <a:pt x="51" y="17"/>
                    </a:cubicBezTo>
                    <a:cubicBezTo>
                      <a:pt x="52" y="18"/>
                      <a:pt x="52" y="18"/>
                      <a:pt x="52" y="18"/>
                    </a:cubicBezTo>
                    <a:cubicBezTo>
                      <a:pt x="53" y="18"/>
                      <a:pt x="54" y="17"/>
                      <a:pt x="55" y="16"/>
                    </a:cubicBezTo>
                    <a:cubicBezTo>
                      <a:pt x="55" y="16"/>
                      <a:pt x="55" y="16"/>
                      <a:pt x="55" y="16"/>
                    </a:cubicBezTo>
                    <a:cubicBezTo>
                      <a:pt x="55" y="16"/>
                      <a:pt x="55" y="16"/>
                      <a:pt x="54" y="16"/>
                    </a:cubicBezTo>
                    <a:cubicBezTo>
                      <a:pt x="54" y="15"/>
                      <a:pt x="54" y="13"/>
                      <a:pt x="55" y="13"/>
                    </a:cubicBezTo>
                    <a:cubicBezTo>
                      <a:pt x="55" y="12"/>
                      <a:pt x="55" y="12"/>
                      <a:pt x="55" y="12"/>
                    </a:cubicBezTo>
                    <a:cubicBezTo>
                      <a:pt x="55" y="11"/>
                      <a:pt x="55" y="11"/>
                      <a:pt x="55" y="11"/>
                    </a:cubicBezTo>
                    <a:cubicBezTo>
                      <a:pt x="55" y="11"/>
                      <a:pt x="55" y="11"/>
                      <a:pt x="55" y="11"/>
                    </a:cubicBezTo>
                    <a:cubicBezTo>
                      <a:pt x="54" y="11"/>
                      <a:pt x="54" y="10"/>
                      <a:pt x="53" y="10"/>
                    </a:cubicBezTo>
                    <a:cubicBezTo>
                      <a:pt x="53" y="9"/>
                      <a:pt x="53" y="9"/>
                      <a:pt x="53" y="9"/>
                    </a:cubicBezTo>
                    <a:cubicBezTo>
                      <a:pt x="52" y="9"/>
                      <a:pt x="52" y="9"/>
                      <a:pt x="52" y="8"/>
                    </a:cubicBezTo>
                    <a:cubicBezTo>
                      <a:pt x="51" y="8"/>
                      <a:pt x="51" y="8"/>
                      <a:pt x="51" y="8"/>
                    </a:cubicBezTo>
                    <a:cubicBezTo>
                      <a:pt x="50" y="7"/>
                      <a:pt x="50" y="7"/>
                      <a:pt x="49" y="7"/>
                    </a:cubicBezTo>
                    <a:cubicBezTo>
                      <a:pt x="49" y="6"/>
                      <a:pt x="49" y="6"/>
                      <a:pt x="48" y="6"/>
                    </a:cubicBezTo>
                    <a:cubicBezTo>
                      <a:pt x="48" y="6"/>
                      <a:pt x="48" y="5"/>
                      <a:pt x="47" y="5"/>
                    </a:cubicBezTo>
                    <a:cubicBezTo>
                      <a:pt x="47" y="5"/>
                      <a:pt x="46" y="4"/>
                      <a:pt x="46" y="4"/>
                    </a:cubicBezTo>
                    <a:cubicBezTo>
                      <a:pt x="46" y="4"/>
                      <a:pt x="46" y="4"/>
                      <a:pt x="45" y="4"/>
                    </a:cubicBezTo>
                    <a:cubicBezTo>
                      <a:pt x="45" y="4"/>
                      <a:pt x="45" y="4"/>
                      <a:pt x="45" y="4"/>
                    </a:cubicBezTo>
                    <a:cubicBezTo>
                      <a:pt x="45" y="4"/>
                      <a:pt x="45" y="4"/>
                      <a:pt x="45" y="4"/>
                    </a:cubicBezTo>
                    <a:cubicBezTo>
                      <a:pt x="44" y="4"/>
                      <a:pt x="44" y="4"/>
                      <a:pt x="43" y="4"/>
                    </a:cubicBezTo>
                    <a:cubicBezTo>
                      <a:pt x="43" y="4"/>
                      <a:pt x="43" y="4"/>
                      <a:pt x="43" y="4"/>
                    </a:cubicBezTo>
                    <a:cubicBezTo>
                      <a:pt x="41" y="4"/>
                      <a:pt x="40" y="3"/>
                      <a:pt x="39" y="2"/>
                    </a:cubicBezTo>
                    <a:cubicBezTo>
                      <a:pt x="39" y="1"/>
                      <a:pt x="39" y="1"/>
                      <a:pt x="39" y="1"/>
                    </a:cubicBezTo>
                    <a:cubicBezTo>
                      <a:pt x="39" y="1"/>
                      <a:pt x="39" y="0"/>
                      <a:pt x="39" y="0"/>
                    </a:cubicBezTo>
                    <a:cubicBezTo>
                      <a:pt x="39" y="0"/>
                      <a:pt x="38" y="0"/>
                      <a:pt x="38" y="1"/>
                    </a:cubicBezTo>
                    <a:cubicBezTo>
                      <a:pt x="38" y="1"/>
                      <a:pt x="38" y="1"/>
                      <a:pt x="37" y="1"/>
                    </a:cubicBezTo>
                    <a:cubicBezTo>
                      <a:pt x="37" y="1"/>
                      <a:pt x="37" y="1"/>
                      <a:pt x="37" y="1"/>
                    </a:cubicBezTo>
                    <a:cubicBezTo>
                      <a:pt x="37" y="2"/>
                      <a:pt x="37" y="2"/>
                      <a:pt x="37" y="2"/>
                    </a:cubicBezTo>
                    <a:cubicBezTo>
                      <a:pt x="36" y="2"/>
                      <a:pt x="36" y="2"/>
                      <a:pt x="36" y="2"/>
                    </a:cubicBezTo>
                    <a:cubicBezTo>
                      <a:pt x="36" y="2"/>
                      <a:pt x="36" y="2"/>
                      <a:pt x="36" y="2"/>
                    </a:cubicBezTo>
                    <a:cubicBezTo>
                      <a:pt x="35" y="2"/>
                      <a:pt x="35" y="2"/>
                      <a:pt x="34" y="2"/>
                    </a:cubicBezTo>
                    <a:cubicBezTo>
                      <a:pt x="34" y="2"/>
                      <a:pt x="34" y="2"/>
                      <a:pt x="33" y="2"/>
                    </a:cubicBezTo>
                    <a:cubicBezTo>
                      <a:pt x="33" y="2"/>
                      <a:pt x="32" y="2"/>
                      <a:pt x="32" y="2"/>
                    </a:cubicBezTo>
                    <a:cubicBezTo>
                      <a:pt x="31" y="3"/>
                      <a:pt x="31" y="2"/>
                      <a:pt x="30" y="2"/>
                    </a:cubicBezTo>
                    <a:cubicBezTo>
                      <a:pt x="29" y="2"/>
                      <a:pt x="29" y="2"/>
                      <a:pt x="28" y="2"/>
                    </a:cubicBezTo>
                    <a:cubicBezTo>
                      <a:pt x="28" y="1"/>
                      <a:pt x="28" y="1"/>
                      <a:pt x="28" y="1"/>
                    </a:cubicBezTo>
                    <a:cubicBezTo>
                      <a:pt x="28" y="3"/>
                      <a:pt x="28" y="3"/>
                      <a:pt x="28" y="3"/>
                    </a:cubicBezTo>
                    <a:cubicBezTo>
                      <a:pt x="28" y="1"/>
                      <a:pt x="28" y="1"/>
                      <a:pt x="28" y="1"/>
                    </a:cubicBezTo>
                    <a:cubicBezTo>
                      <a:pt x="27" y="1"/>
                      <a:pt x="27" y="1"/>
                      <a:pt x="27" y="1"/>
                    </a:cubicBezTo>
                    <a:cubicBezTo>
                      <a:pt x="27" y="1"/>
                      <a:pt x="27" y="1"/>
                      <a:pt x="26" y="1"/>
                    </a:cubicBezTo>
                    <a:cubicBezTo>
                      <a:pt x="25" y="1"/>
                      <a:pt x="25" y="1"/>
                      <a:pt x="25" y="1"/>
                    </a:cubicBezTo>
                    <a:cubicBezTo>
                      <a:pt x="24" y="1"/>
                      <a:pt x="23" y="1"/>
                      <a:pt x="23" y="1"/>
                    </a:cubicBezTo>
                    <a:cubicBezTo>
                      <a:pt x="22" y="1"/>
                      <a:pt x="22" y="1"/>
                      <a:pt x="22" y="1"/>
                    </a:cubicBezTo>
                    <a:cubicBezTo>
                      <a:pt x="22" y="1"/>
                      <a:pt x="22" y="1"/>
                      <a:pt x="22" y="1"/>
                    </a:cubicBezTo>
                    <a:cubicBezTo>
                      <a:pt x="22" y="2"/>
                      <a:pt x="22" y="2"/>
                      <a:pt x="22" y="2"/>
                    </a:cubicBezTo>
                    <a:cubicBezTo>
                      <a:pt x="20" y="2"/>
                      <a:pt x="19" y="1"/>
                      <a:pt x="19" y="1"/>
                    </a:cubicBezTo>
                    <a:cubicBezTo>
                      <a:pt x="19" y="1"/>
                      <a:pt x="19" y="1"/>
                      <a:pt x="19" y="1"/>
                    </a:cubicBezTo>
                    <a:cubicBezTo>
                      <a:pt x="19" y="1"/>
                      <a:pt x="19" y="1"/>
                      <a:pt x="19" y="1"/>
                    </a:cubicBezTo>
                    <a:cubicBezTo>
                      <a:pt x="18" y="1"/>
                      <a:pt x="18" y="1"/>
                      <a:pt x="18" y="1"/>
                    </a:cubicBezTo>
                    <a:cubicBezTo>
                      <a:pt x="17" y="1"/>
                      <a:pt x="16" y="1"/>
                      <a:pt x="16" y="1"/>
                    </a:cubicBezTo>
                    <a:cubicBezTo>
                      <a:pt x="16" y="1"/>
                      <a:pt x="16" y="1"/>
                      <a:pt x="15" y="1"/>
                    </a:cubicBezTo>
                    <a:cubicBezTo>
                      <a:pt x="15" y="1"/>
                      <a:pt x="15" y="1"/>
                      <a:pt x="15" y="1"/>
                    </a:cubicBezTo>
                    <a:cubicBezTo>
                      <a:pt x="14" y="1"/>
                      <a:pt x="13" y="1"/>
                      <a:pt x="13" y="1"/>
                    </a:cubicBezTo>
                    <a:cubicBezTo>
                      <a:pt x="12" y="1"/>
                      <a:pt x="12" y="1"/>
                      <a:pt x="12" y="1"/>
                    </a:cubicBezTo>
                    <a:cubicBezTo>
                      <a:pt x="12" y="1"/>
                      <a:pt x="12" y="1"/>
                      <a:pt x="12" y="1"/>
                    </a:cubicBezTo>
                    <a:cubicBezTo>
                      <a:pt x="10" y="1"/>
                      <a:pt x="7" y="1"/>
                      <a:pt x="5" y="2"/>
                    </a:cubicBezTo>
                    <a:cubicBezTo>
                      <a:pt x="5" y="3"/>
                      <a:pt x="4" y="3"/>
                      <a:pt x="4" y="3"/>
                    </a:cubicBezTo>
                    <a:cubicBezTo>
                      <a:pt x="3" y="3"/>
                      <a:pt x="3" y="3"/>
                      <a:pt x="3" y="3"/>
                    </a:cubicBezTo>
                    <a:cubicBezTo>
                      <a:pt x="3" y="4"/>
                      <a:pt x="3" y="4"/>
                      <a:pt x="3" y="4"/>
                    </a:cubicBezTo>
                    <a:cubicBezTo>
                      <a:pt x="3" y="4"/>
                      <a:pt x="2" y="4"/>
                      <a:pt x="2" y="4"/>
                    </a:cubicBezTo>
                    <a:cubicBezTo>
                      <a:pt x="2" y="5"/>
                      <a:pt x="1" y="5"/>
                      <a:pt x="1" y="5"/>
                    </a:cubicBezTo>
                    <a:cubicBezTo>
                      <a:pt x="0" y="6"/>
                      <a:pt x="0" y="6"/>
                      <a:pt x="0" y="6"/>
                    </a:cubicBezTo>
                    <a:cubicBezTo>
                      <a:pt x="0" y="5"/>
                      <a:pt x="0" y="5"/>
                      <a:pt x="0" y="5"/>
                    </a:cubicBezTo>
                    <a:cubicBezTo>
                      <a:pt x="0" y="6"/>
                      <a:pt x="0" y="6"/>
                      <a:pt x="0" y="7"/>
                    </a:cubicBezTo>
                    <a:cubicBezTo>
                      <a:pt x="0" y="9"/>
                      <a:pt x="1" y="10"/>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3" name="Freeform 3125">
                <a:extLst>
                  <a:ext uri="{FF2B5EF4-FFF2-40B4-BE49-F238E27FC236}">
                    <a16:creationId xmlns:a16="http://schemas.microsoft.com/office/drawing/2014/main" id="{0F919556-748E-48CF-81D6-34FDA956B061}"/>
                  </a:ext>
                </a:extLst>
              </p:cNvPr>
              <p:cNvSpPr>
                <a:spLocks/>
              </p:cNvSpPr>
              <p:nvPr/>
            </p:nvSpPr>
            <p:spPr bwMode="auto">
              <a:xfrm>
                <a:off x="4024" y="1281"/>
                <a:ext cx="74" cy="33"/>
              </a:xfrm>
              <a:custGeom>
                <a:avLst/>
                <a:gdLst>
                  <a:gd name="T0" fmla="*/ 1 w 31"/>
                  <a:gd name="T1" fmla="*/ 12 h 14"/>
                  <a:gd name="T2" fmla="*/ 3 w 31"/>
                  <a:gd name="T3" fmla="*/ 10 h 14"/>
                  <a:gd name="T4" fmla="*/ 4 w 31"/>
                  <a:gd name="T5" fmla="*/ 10 h 14"/>
                  <a:gd name="T6" fmla="*/ 5 w 31"/>
                  <a:gd name="T7" fmla="*/ 10 h 14"/>
                  <a:gd name="T8" fmla="*/ 7 w 31"/>
                  <a:gd name="T9" fmla="*/ 10 h 14"/>
                  <a:gd name="T10" fmla="*/ 3 w 31"/>
                  <a:gd name="T11" fmla="*/ 13 h 14"/>
                  <a:gd name="T12" fmla="*/ 30 w 31"/>
                  <a:gd name="T13" fmla="*/ 13 h 14"/>
                  <a:gd name="T14" fmla="*/ 30 w 31"/>
                  <a:gd name="T15" fmla="*/ 10 h 14"/>
                  <a:gd name="T16" fmla="*/ 31 w 31"/>
                  <a:gd name="T17" fmla="*/ 8 h 14"/>
                  <a:gd name="T18" fmla="*/ 30 w 31"/>
                  <a:gd name="T19" fmla="*/ 7 h 14"/>
                  <a:gd name="T20" fmla="*/ 29 w 31"/>
                  <a:gd name="T21" fmla="*/ 7 h 14"/>
                  <a:gd name="T22" fmla="*/ 29 w 31"/>
                  <a:gd name="T23" fmla="*/ 7 h 14"/>
                  <a:gd name="T24" fmla="*/ 29 w 31"/>
                  <a:gd name="T25" fmla="*/ 6 h 14"/>
                  <a:gd name="T26" fmla="*/ 29 w 31"/>
                  <a:gd name="T27" fmla="*/ 6 h 14"/>
                  <a:gd name="T28" fmla="*/ 28 w 31"/>
                  <a:gd name="T29" fmla="*/ 6 h 14"/>
                  <a:gd name="T30" fmla="*/ 27 w 31"/>
                  <a:gd name="T31" fmla="*/ 6 h 14"/>
                  <a:gd name="T32" fmla="*/ 26 w 31"/>
                  <a:gd name="T33" fmla="*/ 6 h 14"/>
                  <a:gd name="T34" fmla="*/ 26 w 31"/>
                  <a:gd name="T35" fmla="*/ 9 h 14"/>
                  <a:gd name="T36" fmla="*/ 25 w 31"/>
                  <a:gd name="T37" fmla="*/ 6 h 14"/>
                  <a:gd name="T38" fmla="*/ 23 w 31"/>
                  <a:gd name="T39" fmla="*/ 6 h 14"/>
                  <a:gd name="T40" fmla="*/ 16 w 31"/>
                  <a:gd name="T41" fmla="*/ 3 h 14"/>
                  <a:gd name="T42" fmla="*/ 16 w 31"/>
                  <a:gd name="T43" fmla="*/ 3 h 14"/>
                  <a:gd name="T44" fmla="*/ 16 w 31"/>
                  <a:gd name="T45" fmla="*/ 5 h 14"/>
                  <a:gd name="T46" fmla="*/ 13 w 31"/>
                  <a:gd name="T47" fmla="*/ 6 h 14"/>
                  <a:gd name="T48" fmla="*/ 9 w 31"/>
                  <a:gd name="T49" fmla="*/ 6 h 14"/>
                  <a:gd name="T50" fmla="*/ 13 w 31"/>
                  <a:gd name="T51" fmla="*/ 2 h 14"/>
                  <a:gd name="T52" fmla="*/ 13 w 31"/>
                  <a:gd name="T53" fmla="*/ 0 h 14"/>
                  <a:gd name="T54" fmla="*/ 13 w 31"/>
                  <a:gd name="T55" fmla="*/ 1 h 14"/>
                  <a:gd name="T56" fmla="*/ 4 w 31"/>
                  <a:gd name="T57" fmla="*/ 6 h 14"/>
                  <a:gd name="T58" fmla="*/ 3 w 31"/>
                  <a:gd name="T59" fmla="*/ 9 h 14"/>
                  <a:gd name="T60" fmla="*/ 0 w 31"/>
                  <a:gd name="T61" fmla="*/ 12 h 14"/>
                  <a:gd name="T62" fmla="*/ 1 w 31"/>
                  <a:gd name="T6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14">
                    <a:moveTo>
                      <a:pt x="1" y="12"/>
                    </a:moveTo>
                    <a:cubicBezTo>
                      <a:pt x="1" y="12"/>
                      <a:pt x="2" y="10"/>
                      <a:pt x="3" y="10"/>
                    </a:cubicBezTo>
                    <a:cubicBezTo>
                      <a:pt x="4" y="9"/>
                      <a:pt x="4" y="10"/>
                      <a:pt x="4" y="10"/>
                    </a:cubicBezTo>
                    <a:cubicBezTo>
                      <a:pt x="4" y="10"/>
                      <a:pt x="5" y="10"/>
                      <a:pt x="5" y="10"/>
                    </a:cubicBezTo>
                    <a:cubicBezTo>
                      <a:pt x="6" y="10"/>
                      <a:pt x="7" y="10"/>
                      <a:pt x="7" y="10"/>
                    </a:cubicBezTo>
                    <a:cubicBezTo>
                      <a:pt x="6" y="11"/>
                      <a:pt x="4" y="12"/>
                      <a:pt x="3" y="13"/>
                    </a:cubicBezTo>
                    <a:cubicBezTo>
                      <a:pt x="13" y="14"/>
                      <a:pt x="22" y="14"/>
                      <a:pt x="30" y="13"/>
                    </a:cubicBezTo>
                    <a:cubicBezTo>
                      <a:pt x="30" y="10"/>
                      <a:pt x="30" y="10"/>
                      <a:pt x="30" y="10"/>
                    </a:cubicBezTo>
                    <a:cubicBezTo>
                      <a:pt x="30" y="9"/>
                      <a:pt x="30" y="9"/>
                      <a:pt x="31" y="8"/>
                    </a:cubicBezTo>
                    <a:cubicBezTo>
                      <a:pt x="30" y="7"/>
                      <a:pt x="30" y="7"/>
                      <a:pt x="30" y="7"/>
                    </a:cubicBezTo>
                    <a:cubicBezTo>
                      <a:pt x="29" y="7"/>
                      <a:pt x="29" y="7"/>
                      <a:pt x="29" y="7"/>
                    </a:cubicBezTo>
                    <a:cubicBezTo>
                      <a:pt x="29" y="7"/>
                      <a:pt x="29" y="7"/>
                      <a:pt x="29" y="7"/>
                    </a:cubicBezTo>
                    <a:cubicBezTo>
                      <a:pt x="29" y="6"/>
                      <a:pt x="29" y="6"/>
                      <a:pt x="29" y="6"/>
                    </a:cubicBezTo>
                    <a:cubicBezTo>
                      <a:pt x="29" y="6"/>
                      <a:pt x="29" y="6"/>
                      <a:pt x="29" y="6"/>
                    </a:cubicBezTo>
                    <a:cubicBezTo>
                      <a:pt x="29" y="6"/>
                      <a:pt x="28" y="6"/>
                      <a:pt x="28" y="6"/>
                    </a:cubicBezTo>
                    <a:cubicBezTo>
                      <a:pt x="28" y="6"/>
                      <a:pt x="27" y="6"/>
                      <a:pt x="27" y="6"/>
                    </a:cubicBezTo>
                    <a:cubicBezTo>
                      <a:pt x="26" y="6"/>
                      <a:pt x="26" y="6"/>
                      <a:pt x="26" y="6"/>
                    </a:cubicBezTo>
                    <a:cubicBezTo>
                      <a:pt x="26" y="9"/>
                      <a:pt x="26" y="9"/>
                      <a:pt x="26" y="9"/>
                    </a:cubicBezTo>
                    <a:cubicBezTo>
                      <a:pt x="25" y="6"/>
                      <a:pt x="25" y="6"/>
                      <a:pt x="25" y="6"/>
                    </a:cubicBezTo>
                    <a:cubicBezTo>
                      <a:pt x="24" y="6"/>
                      <a:pt x="23" y="6"/>
                      <a:pt x="23" y="6"/>
                    </a:cubicBezTo>
                    <a:cubicBezTo>
                      <a:pt x="21" y="5"/>
                      <a:pt x="18" y="4"/>
                      <a:pt x="16" y="3"/>
                    </a:cubicBezTo>
                    <a:cubicBezTo>
                      <a:pt x="16" y="3"/>
                      <a:pt x="16" y="3"/>
                      <a:pt x="16" y="3"/>
                    </a:cubicBezTo>
                    <a:cubicBezTo>
                      <a:pt x="16" y="4"/>
                      <a:pt x="16" y="4"/>
                      <a:pt x="16" y="5"/>
                    </a:cubicBezTo>
                    <a:cubicBezTo>
                      <a:pt x="16" y="5"/>
                      <a:pt x="14" y="6"/>
                      <a:pt x="13" y="6"/>
                    </a:cubicBezTo>
                    <a:cubicBezTo>
                      <a:pt x="12" y="7"/>
                      <a:pt x="10" y="7"/>
                      <a:pt x="9" y="6"/>
                    </a:cubicBezTo>
                    <a:cubicBezTo>
                      <a:pt x="10" y="4"/>
                      <a:pt x="12" y="3"/>
                      <a:pt x="13" y="2"/>
                    </a:cubicBezTo>
                    <a:cubicBezTo>
                      <a:pt x="13" y="1"/>
                      <a:pt x="13" y="1"/>
                      <a:pt x="13" y="0"/>
                    </a:cubicBezTo>
                    <a:cubicBezTo>
                      <a:pt x="13" y="1"/>
                      <a:pt x="13" y="1"/>
                      <a:pt x="13" y="1"/>
                    </a:cubicBezTo>
                    <a:cubicBezTo>
                      <a:pt x="10" y="3"/>
                      <a:pt x="7" y="6"/>
                      <a:pt x="4" y="6"/>
                    </a:cubicBezTo>
                    <a:cubicBezTo>
                      <a:pt x="2" y="6"/>
                      <a:pt x="3" y="8"/>
                      <a:pt x="3" y="9"/>
                    </a:cubicBezTo>
                    <a:cubicBezTo>
                      <a:pt x="2" y="10"/>
                      <a:pt x="1" y="11"/>
                      <a:pt x="0" y="12"/>
                    </a:cubicBezTo>
                    <a:lnTo>
                      <a:pt x="1"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4" name="Freeform 3126">
                <a:extLst>
                  <a:ext uri="{FF2B5EF4-FFF2-40B4-BE49-F238E27FC236}">
                    <a16:creationId xmlns:a16="http://schemas.microsoft.com/office/drawing/2014/main" id="{3FB571D3-91BE-4992-AC83-C2E77A6467E3}"/>
                  </a:ext>
                </a:extLst>
              </p:cNvPr>
              <p:cNvSpPr>
                <a:spLocks/>
              </p:cNvSpPr>
              <p:nvPr/>
            </p:nvSpPr>
            <p:spPr bwMode="auto">
              <a:xfrm>
                <a:off x="4098" y="13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5" name="Freeform 3127">
                <a:extLst>
                  <a:ext uri="{FF2B5EF4-FFF2-40B4-BE49-F238E27FC236}">
                    <a16:creationId xmlns:a16="http://schemas.microsoft.com/office/drawing/2014/main" id="{6905BCA8-540F-45A9-81FE-C036A06A598A}"/>
                  </a:ext>
                </a:extLst>
              </p:cNvPr>
              <p:cNvSpPr>
                <a:spLocks/>
              </p:cNvSpPr>
              <p:nvPr/>
            </p:nvSpPr>
            <p:spPr bwMode="auto">
              <a:xfrm>
                <a:off x="4022" y="1312"/>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6" name="Freeform 3128">
                <a:extLst>
                  <a:ext uri="{FF2B5EF4-FFF2-40B4-BE49-F238E27FC236}">
                    <a16:creationId xmlns:a16="http://schemas.microsoft.com/office/drawing/2014/main" id="{1195DE0D-BE77-40CC-A782-484E2DEE6D16}"/>
                  </a:ext>
                </a:extLst>
              </p:cNvPr>
              <p:cNvSpPr>
                <a:spLocks/>
              </p:cNvSpPr>
              <p:nvPr/>
            </p:nvSpPr>
            <p:spPr bwMode="auto">
              <a:xfrm>
                <a:off x="4055" y="1191"/>
                <a:ext cx="173" cy="78"/>
              </a:xfrm>
              <a:custGeom>
                <a:avLst/>
                <a:gdLst>
                  <a:gd name="T0" fmla="*/ 3 w 73"/>
                  <a:gd name="T1" fmla="*/ 25 h 33"/>
                  <a:gd name="T2" fmla="*/ 13 w 73"/>
                  <a:gd name="T3" fmla="*/ 22 h 33"/>
                  <a:gd name="T4" fmla="*/ 16 w 73"/>
                  <a:gd name="T5" fmla="*/ 22 h 33"/>
                  <a:gd name="T6" fmla="*/ 18 w 73"/>
                  <a:gd name="T7" fmla="*/ 23 h 33"/>
                  <a:gd name="T8" fmla="*/ 20 w 73"/>
                  <a:gd name="T9" fmla="*/ 22 h 33"/>
                  <a:gd name="T10" fmla="*/ 22 w 73"/>
                  <a:gd name="T11" fmla="*/ 23 h 33"/>
                  <a:gd name="T12" fmla="*/ 27 w 73"/>
                  <a:gd name="T13" fmla="*/ 23 h 33"/>
                  <a:gd name="T14" fmla="*/ 29 w 73"/>
                  <a:gd name="T15" fmla="*/ 23 h 33"/>
                  <a:gd name="T16" fmla="*/ 33 w 73"/>
                  <a:gd name="T17" fmla="*/ 24 h 33"/>
                  <a:gd name="T18" fmla="*/ 35 w 73"/>
                  <a:gd name="T19" fmla="*/ 24 h 33"/>
                  <a:gd name="T20" fmla="*/ 36 w 73"/>
                  <a:gd name="T21" fmla="*/ 24 h 33"/>
                  <a:gd name="T22" fmla="*/ 39 w 73"/>
                  <a:gd name="T23" fmla="*/ 22 h 33"/>
                  <a:gd name="T24" fmla="*/ 41 w 73"/>
                  <a:gd name="T25" fmla="*/ 21 h 33"/>
                  <a:gd name="T26" fmla="*/ 42 w 73"/>
                  <a:gd name="T27" fmla="*/ 24 h 33"/>
                  <a:gd name="T28" fmla="*/ 45 w 73"/>
                  <a:gd name="T29" fmla="*/ 25 h 33"/>
                  <a:gd name="T30" fmla="*/ 48 w 73"/>
                  <a:gd name="T31" fmla="*/ 26 h 33"/>
                  <a:gd name="T32" fmla="*/ 51 w 73"/>
                  <a:gd name="T33" fmla="*/ 28 h 33"/>
                  <a:gd name="T34" fmla="*/ 54 w 73"/>
                  <a:gd name="T35" fmla="*/ 30 h 33"/>
                  <a:gd name="T36" fmla="*/ 56 w 73"/>
                  <a:gd name="T37" fmla="*/ 32 h 33"/>
                  <a:gd name="T38" fmla="*/ 58 w 73"/>
                  <a:gd name="T39" fmla="*/ 33 h 33"/>
                  <a:gd name="T40" fmla="*/ 58 w 73"/>
                  <a:gd name="T41" fmla="*/ 33 h 33"/>
                  <a:gd name="T42" fmla="*/ 59 w 73"/>
                  <a:gd name="T43" fmla="*/ 32 h 33"/>
                  <a:gd name="T44" fmla="*/ 64 w 73"/>
                  <a:gd name="T45" fmla="*/ 30 h 33"/>
                  <a:gd name="T46" fmla="*/ 67 w 73"/>
                  <a:gd name="T47" fmla="*/ 30 h 33"/>
                  <a:gd name="T48" fmla="*/ 68 w 73"/>
                  <a:gd name="T49" fmla="*/ 29 h 33"/>
                  <a:gd name="T50" fmla="*/ 72 w 73"/>
                  <a:gd name="T51" fmla="*/ 26 h 33"/>
                  <a:gd name="T52" fmla="*/ 73 w 73"/>
                  <a:gd name="T53" fmla="*/ 25 h 33"/>
                  <a:gd name="T54" fmla="*/ 72 w 73"/>
                  <a:gd name="T55" fmla="*/ 24 h 33"/>
                  <a:gd name="T56" fmla="*/ 72 w 73"/>
                  <a:gd name="T57" fmla="*/ 23 h 33"/>
                  <a:gd name="T58" fmla="*/ 70 w 73"/>
                  <a:gd name="T59" fmla="*/ 18 h 33"/>
                  <a:gd name="T60" fmla="*/ 67 w 73"/>
                  <a:gd name="T61" fmla="*/ 16 h 33"/>
                  <a:gd name="T62" fmla="*/ 68 w 73"/>
                  <a:gd name="T63" fmla="*/ 14 h 33"/>
                  <a:gd name="T64" fmla="*/ 68 w 73"/>
                  <a:gd name="T65" fmla="*/ 11 h 33"/>
                  <a:gd name="T66" fmla="*/ 67 w 73"/>
                  <a:gd name="T67" fmla="*/ 10 h 33"/>
                  <a:gd name="T68" fmla="*/ 66 w 73"/>
                  <a:gd name="T69" fmla="*/ 9 h 33"/>
                  <a:gd name="T70" fmla="*/ 64 w 73"/>
                  <a:gd name="T71" fmla="*/ 10 h 33"/>
                  <a:gd name="T72" fmla="*/ 62 w 73"/>
                  <a:gd name="T73" fmla="*/ 7 h 33"/>
                  <a:gd name="T74" fmla="*/ 60 w 73"/>
                  <a:gd name="T75" fmla="*/ 7 h 33"/>
                  <a:gd name="T76" fmla="*/ 56 w 73"/>
                  <a:gd name="T77" fmla="*/ 8 h 33"/>
                  <a:gd name="T78" fmla="*/ 51 w 73"/>
                  <a:gd name="T79" fmla="*/ 4 h 33"/>
                  <a:gd name="T80" fmla="*/ 48 w 73"/>
                  <a:gd name="T81" fmla="*/ 2 h 33"/>
                  <a:gd name="T82" fmla="*/ 46 w 73"/>
                  <a:gd name="T83" fmla="*/ 2 h 33"/>
                  <a:gd name="T84" fmla="*/ 45 w 73"/>
                  <a:gd name="T85" fmla="*/ 1 h 33"/>
                  <a:gd name="T86" fmla="*/ 42 w 73"/>
                  <a:gd name="T87" fmla="*/ 1 h 33"/>
                  <a:gd name="T88" fmla="*/ 38 w 73"/>
                  <a:gd name="T89" fmla="*/ 2 h 33"/>
                  <a:gd name="T90" fmla="*/ 35 w 73"/>
                  <a:gd name="T91" fmla="*/ 10 h 33"/>
                  <a:gd name="T92" fmla="*/ 23 w 73"/>
                  <a:gd name="T93" fmla="*/ 10 h 33"/>
                  <a:gd name="T94" fmla="*/ 13 w 73"/>
                  <a:gd name="T95" fmla="*/ 5 h 33"/>
                  <a:gd name="T96" fmla="*/ 5 w 73"/>
                  <a:gd name="T97" fmla="*/ 14 h 33"/>
                  <a:gd name="T98" fmla="*/ 1 w 73"/>
                  <a:gd name="T99" fmla="*/ 22 h 33"/>
                  <a:gd name="T100" fmla="*/ 2 w 73"/>
                  <a:gd name="T101"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33">
                    <a:moveTo>
                      <a:pt x="2" y="26"/>
                    </a:moveTo>
                    <a:cubicBezTo>
                      <a:pt x="2" y="26"/>
                      <a:pt x="2" y="26"/>
                      <a:pt x="2" y="26"/>
                    </a:cubicBezTo>
                    <a:cubicBezTo>
                      <a:pt x="2" y="26"/>
                      <a:pt x="2" y="25"/>
                      <a:pt x="3" y="25"/>
                    </a:cubicBezTo>
                    <a:cubicBezTo>
                      <a:pt x="3" y="25"/>
                      <a:pt x="3" y="25"/>
                      <a:pt x="3" y="25"/>
                    </a:cubicBezTo>
                    <a:cubicBezTo>
                      <a:pt x="4" y="25"/>
                      <a:pt x="5" y="24"/>
                      <a:pt x="5" y="24"/>
                    </a:cubicBezTo>
                    <a:cubicBezTo>
                      <a:pt x="7" y="23"/>
                      <a:pt x="10" y="22"/>
                      <a:pt x="13" y="22"/>
                    </a:cubicBezTo>
                    <a:cubicBezTo>
                      <a:pt x="13" y="22"/>
                      <a:pt x="13" y="22"/>
                      <a:pt x="13" y="22"/>
                    </a:cubicBezTo>
                    <a:cubicBezTo>
                      <a:pt x="14" y="22"/>
                      <a:pt x="14" y="22"/>
                      <a:pt x="14" y="22"/>
                    </a:cubicBezTo>
                    <a:cubicBezTo>
                      <a:pt x="15" y="22"/>
                      <a:pt x="15" y="22"/>
                      <a:pt x="16" y="22"/>
                    </a:cubicBezTo>
                    <a:cubicBezTo>
                      <a:pt x="17" y="22"/>
                      <a:pt x="17" y="22"/>
                      <a:pt x="17" y="22"/>
                    </a:cubicBezTo>
                    <a:cubicBezTo>
                      <a:pt x="17" y="22"/>
                      <a:pt x="18" y="23"/>
                      <a:pt x="18" y="23"/>
                    </a:cubicBezTo>
                    <a:cubicBezTo>
                      <a:pt x="18" y="23"/>
                      <a:pt x="18" y="23"/>
                      <a:pt x="18" y="23"/>
                    </a:cubicBezTo>
                    <a:cubicBezTo>
                      <a:pt x="18" y="22"/>
                      <a:pt x="19" y="22"/>
                      <a:pt x="19" y="22"/>
                    </a:cubicBezTo>
                    <a:cubicBezTo>
                      <a:pt x="19" y="22"/>
                      <a:pt x="20" y="22"/>
                      <a:pt x="20" y="22"/>
                    </a:cubicBezTo>
                    <a:cubicBezTo>
                      <a:pt x="20" y="22"/>
                      <a:pt x="20" y="22"/>
                      <a:pt x="20" y="22"/>
                    </a:cubicBezTo>
                    <a:cubicBezTo>
                      <a:pt x="21" y="22"/>
                      <a:pt x="21" y="22"/>
                      <a:pt x="22" y="23"/>
                    </a:cubicBezTo>
                    <a:cubicBezTo>
                      <a:pt x="22" y="23"/>
                      <a:pt x="22" y="23"/>
                      <a:pt x="22" y="23"/>
                    </a:cubicBezTo>
                    <a:cubicBezTo>
                      <a:pt x="22" y="23"/>
                      <a:pt x="22" y="23"/>
                      <a:pt x="22" y="23"/>
                    </a:cubicBezTo>
                    <a:cubicBezTo>
                      <a:pt x="23" y="23"/>
                      <a:pt x="23" y="23"/>
                      <a:pt x="24" y="23"/>
                    </a:cubicBezTo>
                    <a:cubicBezTo>
                      <a:pt x="25" y="23"/>
                      <a:pt x="25" y="23"/>
                      <a:pt x="26" y="23"/>
                    </a:cubicBezTo>
                    <a:cubicBezTo>
                      <a:pt x="27" y="23"/>
                      <a:pt x="27" y="23"/>
                      <a:pt x="27" y="23"/>
                    </a:cubicBezTo>
                    <a:cubicBezTo>
                      <a:pt x="27" y="23"/>
                      <a:pt x="27" y="23"/>
                      <a:pt x="27" y="23"/>
                    </a:cubicBezTo>
                    <a:cubicBezTo>
                      <a:pt x="28" y="23"/>
                      <a:pt x="28" y="23"/>
                      <a:pt x="29" y="23"/>
                    </a:cubicBezTo>
                    <a:cubicBezTo>
                      <a:pt x="29" y="23"/>
                      <a:pt x="29" y="23"/>
                      <a:pt x="29" y="23"/>
                    </a:cubicBezTo>
                    <a:cubicBezTo>
                      <a:pt x="29" y="23"/>
                      <a:pt x="30" y="23"/>
                      <a:pt x="30" y="23"/>
                    </a:cubicBezTo>
                    <a:cubicBezTo>
                      <a:pt x="30" y="23"/>
                      <a:pt x="31" y="23"/>
                      <a:pt x="32" y="24"/>
                    </a:cubicBezTo>
                    <a:cubicBezTo>
                      <a:pt x="33" y="24"/>
                      <a:pt x="33" y="24"/>
                      <a:pt x="33" y="24"/>
                    </a:cubicBezTo>
                    <a:cubicBezTo>
                      <a:pt x="33" y="24"/>
                      <a:pt x="33" y="24"/>
                      <a:pt x="34" y="24"/>
                    </a:cubicBezTo>
                    <a:cubicBezTo>
                      <a:pt x="34" y="24"/>
                      <a:pt x="35" y="24"/>
                      <a:pt x="35" y="24"/>
                    </a:cubicBezTo>
                    <a:cubicBezTo>
                      <a:pt x="35" y="24"/>
                      <a:pt x="35" y="24"/>
                      <a:pt x="35" y="24"/>
                    </a:cubicBezTo>
                    <a:cubicBezTo>
                      <a:pt x="36" y="24"/>
                      <a:pt x="36" y="24"/>
                      <a:pt x="36" y="24"/>
                    </a:cubicBezTo>
                    <a:cubicBezTo>
                      <a:pt x="36" y="24"/>
                      <a:pt x="36" y="24"/>
                      <a:pt x="36" y="24"/>
                    </a:cubicBezTo>
                    <a:cubicBezTo>
                      <a:pt x="36" y="24"/>
                      <a:pt x="36" y="24"/>
                      <a:pt x="36" y="24"/>
                    </a:cubicBezTo>
                    <a:cubicBezTo>
                      <a:pt x="36" y="24"/>
                      <a:pt x="36" y="23"/>
                      <a:pt x="37" y="23"/>
                    </a:cubicBezTo>
                    <a:cubicBezTo>
                      <a:pt x="37" y="23"/>
                      <a:pt x="37" y="23"/>
                      <a:pt x="38" y="23"/>
                    </a:cubicBezTo>
                    <a:cubicBezTo>
                      <a:pt x="38" y="22"/>
                      <a:pt x="39" y="22"/>
                      <a:pt x="39" y="22"/>
                    </a:cubicBezTo>
                    <a:cubicBezTo>
                      <a:pt x="39" y="22"/>
                      <a:pt x="39" y="22"/>
                      <a:pt x="39" y="22"/>
                    </a:cubicBezTo>
                    <a:cubicBezTo>
                      <a:pt x="39" y="22"/>
                      <a:pt x="39" y="22"/>
                      <a:pt x="40" y="22"/>
                    </a:cubicBezTo>
                    <a:cubicBezTo>
                      <a:pt x="41" y="21"/>
                      <a:pt x="41" y="21"/>
                      <a:pt x="41" y="21"/>
                    </a:cubicBezTo>
                    <a:cubicBezTo>
                      <a:pt x="41" y="22"/>
                      <a:pt x="41" y="22"/>
                      <a:pt x="41" y="22"/>
                    </a:cubicBezTo>
                    <a:cubicBezTo>
                      <a:pt x="41" y="22"/>
                      <a:pt x="41" y="22"/>
                      <a:pt x="41" y="22"/>
                    </a:cubicBezTo>
                    <a:cubicBezTo>
                      <a:pt x="42" y="23"/>
                      <a:pt x="42" y="23"/>
                      <a:pt x="42" y="24"/>
                    </a:cubicBezTo>
                    <a:cubicBezTo>
                      <a:pt x="43" y="24"/>
                      <a:pt x="43" y="24"/>
                      <a:pt x="43" y="24"/>
                    </a:cubicBezTo>
                    <a:cubicBezTo>
                      <a:pt x="43" y="25"/>
                      <a:pt x="43" y="25"/>
                      <a:pt x="44" y="25"/>
                    </a:cubicBezTo>
                    <a:cubicBezTo>
                      <a:pt x="45" y="25"/>
                      <a:pt x="45" y="25"/>
                      <a:pt x="45" y="25"/>
                    </a:cubicBezTo>
                    <a:cubicBezTo>
                      <a:pt x="45" y="26"/>
                      <a:pt x="45" y="26"/>
                      <a:pt x="46" y="26"/>
                    </a:cubicBezTo>
                    <a:cubicBezTo>
                      <a:pt x="46" y="26"/>
                      <a:pt x="46" y="26"/>
                      <a:pt x="46" y="26"/>
                    </a:cubicBezTo>
                    <a:cubicBezTo>
                      <a:pt x="47" y="26"/>
                      <a:pt x="48" y="26"/>
                      <a:pt x="48" y="26"/>
                    </a:cubicBezTo>
                    <a:cubicBezTo>
                      <a:pt x="49" y="26"/>
                      <a:pt x="49" y="27"/>
                      <a:pt x="50" y="27"/>
                    </a:cubicBezTo>
                    <a:cubicBezTo>
                      <a:pt x="50" y="28"/>
                      <a:pt x="50" y="28"/>
                      <a:pt x="50" y="28"/>
                    </a:cubicBezTo>
                    <a:cubicBezTo>
                      <a:pt x="50" y="28"/>
                      <a:pt x="51" y="28"/>
                      <a:pt x="51" y="28"/>
                    </a:cubicBezTo>
                    <a:cubicBezTo>
                      <a:pt x="51" y="28"/>
                      <a:pt x="51" y="28"/>
                      <a:pt x="52" y="28"/>
                    </a:cubicBezTo>
                    <a:cubicBezTo>
                      <a:pt x="52" y="29"/>
                      <a:pt x="53" y="29"/>
                      <a:pt x="53" y="30"/>
                    </a:cubicBezTo>
                    <a:cubicBezTo>
                      <a:pt x="53" y="30"/>
                      <a:pt x="54" y="30"/>
                      <a:pt x="54" y="30"/>
                    </a:cubicBezTo>
                    <a:cubicBezTo>
                      <a:pt x="54" y="31"/>
                      <a:pt x="54" y="31"/>
                      <a:pt x="54" y="31"/>
                    </a:cubicBezTo>
                    <a:cubicBezTo>
                      <a:pt x="55" y="31"/>
                      <a:pt x="55" y="31"/>
                      <a:pt x="55" y="31"/>
                    </a:cubicBezTo>
                    <a:cubicBezTo>
                      <a:pt x="56" y="32"/>
                      <a:pt x="56" y="32"/>
                      <a:pt x="56" y="32"/>
                    </a:cubicBezTo>
                    <a:cubicBezTo>
                      <a:pt x="56" y="32"/>
                      <a:pt x="57" y="32"/>
                      <a:pt x="57" y="32"/>
                    </a:cubicBezTo>
                    <a:cubicBezTo>
                      <a:pt x="57" y="32"/>
                      <a:pt x="57" y="32"/>
                      <a:pt x="57" y="33"/>
                    </a:cubicBezTo>
                    <a:cubicBezTo>
                      <a:pt x="58" y="33"/>
                      <a:pt x="58" y="33"/>
                      <a:pt x="58" y="33"/>
                    </a:cubicBezTo>
                    <a:cubicBezTo>
                      <a:pt x="58" y="33"/>
                      <a:pt x="58" y="33"/>
                      <a:pt x="58" y="33"/>
                    </a:cubicBezTo>
                    <a:cubicBezTo>
                      <a:pt x="58" y="33"/>
                      <a:pt x="58" y="33"/>
                      <a:pt x="58" y="33"/>
                    </a:cubicBezTo>
                    <a:cubicBezTo>
                      <a:pt x="58" y="33"/>
                      <a:pt x="58" y="33"/>
                      <a:pt x="58" y="33"/>
                    </a:cubicBezTo>
                    <a:cubicBezTo>
                      <a:pt x="58" y="33"/>
                      <a:pt x="58" y="33"/>
                      <a:pt x="58" y="33"/>
                    </a:cubicBezTo>
                    <a:cubicBezTo>
                      <a:pt x="58" y="33"/>
                      <a:pt x="59" y="33"/>
                      <a:pt x="59" y="32"/>
                    </a:cubicBezTo>
                    <a:cubicBezTo>
                      <a:pt x="59" y="32"/>
                      <a:pt x="59" y="32"/>
                      <a:pt x="59" y="32"/>
                    </a:cubicBezTo>
                    <a:cubicBezTo>
                      <a:pt x="59" y="32"/>
                      <a:pt x="60" y="32"/>
                      <a:pt x="60" y="32"/>
                    </a:cubicBezTo>
                    <a:cubicBezTo>
                      <a:pt x="60" y="31"/>
                      <a:pt x="61" y="30"/>
                      <a:pt x="63" y="30"/>
                    </a:cubicBezTo>
                    <a:cubicBezTo>
                      <a:pt x="63" y="30"/>
                      <a:pt x="63" y="30"/>
                      <a:pt x="64" y="30"/>
                    </a:cubicBezTo>
                    <a:cubicBezTo>
                      <a:pt x="65" y="30"/>
                      <a:pt x="65" y="30"/>
                      <a:pt x="65" y="30"/>
                    </a:cubicBezTo>
                    <a:cubicBezTo>
                      <a:pt x="65" y="30"/>
                      <a:pt x="65" y="30"/>
                      <a:pt x="65" y="30"/>
                    </a:cubicBezTo>
                    <a:cubicBezTo>
                      <a:pt x="66" y="30"/>
                      <a:pt x="66" y="30"/>
                      <a:pt x="67" y="30"/>
                    </a:cubicBezTo>
                    <a:cubicBezTo>
                      <a:pt x="67" y="30"/>
                      <a:pt x="67" y="30"/>
                      <a:pt x="67" y="30"/>
                    </a:cubicBezTo>
                    <a:cubicBezTo>
                      <a:pt x="67" y="30"/>
                      <a:pt x="67" y="30"/>
                      <a:pt x="68" y="29"/>
                    </a:cubicBezTo>
                    <a:cubicBezTo>
                      <a:pt x="68" y="29"/>
                      <a:pt x="68" y="29"/>
                      <a:pt x="68" y="29"/>
                    </a:cubicBezTo>
                    <a:cubicBezTo>
                      <a:pt x="69" y="28"/>
                      <a:pt x="69" y="28"/>
                      <a:pt x="69" y="28"/>
                    </a:cubicBezTo>
                    <a:cubicBezTo>
                      <a:pt x="69" y="28"/>
                      <a:pt x="69" y="28"/>
                      <a:pt x="69" y="28"/>
                    </a:cubicBezTo>
                    <a:cubicBezTo>
                      <a:pt x="70" y="27"/>
                      <a:pt x="71" y="26"/>
                      <a:pt x="72" y="26"/>
                    </a:cubicBezTo>
                    <a:cubicBezTo>
                      <a:pt x="72" y="26"/>
                      <a:pt x="72" y="26"/>
                      <a:pt x="73" y="26"/>
                    </a:cubicBezTo>
                    <a:cubicBezTo>
                      <a:pt x="73" y="26"/>
                      <a:pt x="73" y="26"/>
                      <a:pt x="73" y="26"/>
                    </a:cubicBezTo>
                    <a:cubicBezTo>
                      <a:pt x="73" y="25"/>
                      <a:pt x="73" y="25"/>
                      <a:pt x="73" y="25"/>
                    </a:cubicBezTo>
                    <a:cubicBezTo>
                      <a:pt x="73" y="25"/>
                      <a:pt x="72" y="25"/>
                      <a:pt x="72" y="24"/>
                    </a:cubicBezTo>
                    <a:cubicBezTo>
                      <a:pt x="73" y="24"/>
                      <a:pt x="73" y="24"/>
                      <a:pt x="73" y="24"/>
                    </a:cubicBezTo>
                    <a:cubicBezTo>
                      <a:pt x="72" y="24"/>
                      <a:pt x="72" y="24"/>
                      <a:pt x="72" y="24"/>
                    </a:cubicBezTo>
                    <a:cubicBezTo>
                      <a:pt x="72" y="24"/>
                      <a:pt x="72" y="24"/>
                      <a:pt x="72" y="24"/>
                    </a:cubicBezTo>
                    <a:cubicBezTo>
                      <a:pt x="72" y="24"/>
                      <a:pt x="72" y="24"/>
                      <a:pt x="72" y="24"/>
                    </a:cubicBezTo>
                    <a:cubicBezTo>
                      <a:pt x="72" y="23"/>
                      <a:pt x="72" y="23"/>
                      <a:pt x="72" y="23"/>
                    </a:cubicBezTo>
                    <a:cubicBezTo>
                      <a:pt x="72" y="23"/>
                      <a:pt x="72" y="23"/>
                      <a:pt x="72" y="23"/>
                    </a:cubicBezTo>
                    <a:cubicBezTo>
                      <a:pt x="72" y="22"/>
                      <a:pt x="72" y="22"/>
                      <a:pt x="71" y="20"/>
                    </a:cubicBezTo>
                    <a:cubicBezTo>
                      <a:pt x="71" y="19"/>
                      <a:pt x="70" y="18"/>
                      <a:pt x="70" y="18"/>
                    </a:cubicBezTo>
                    <a:cubicBezTo>
                      <a:pt x="69" y="18"/>
                      <a:pt x="69" y="18"/>
                      <a:pt x="69" y="18"/>
                    </a:cubicBezTo>
                    <a:cubicBezTo>
                      <a:pt x="66" y="20"/>
                      <a:pt x="66" y="20"/>
                      <a:pt x="66" y="20"/>
                    </a:cubicBezTo>
                    <a:cubicBezTo>
                      <a:pt x="67" y="16"/>
                      <a:pt x="67" y="16"/>
                      <a:pt x="67" y="16"/>
                    </a:cubicBezTo>
                    <a:cubicBezTo>
                      <a:pt x="67" y="16"/>
                      <a:pt x="68" y="15"/>
                      <a:pt x="68" y="14"/>
                    </a:cubicBezTo>
                    <a:cubicBezTo>
                      <a:pt x="68" y="14"/>
                      <a:pt x="68" y="14"/>
                      <a:pt x="68" y="14"/>
                    </a:cubicBezTo>
                    <a:cubicBezTo>
                      <a:pt x="68" y="14"/>
                      <a:pt x="68" y="14"/>
                      <a:pt x="68" y="14"/>
                    </a:cubicBezTo>
                    <a:cubicBezTo>
                      <a:pt x="68" y="13"/>
                      <a:pt x="68" y="13"/>
                      <a:pt x="68" y="12"/>
                    </a:cubicBezTo>
                    <a:cubicBezTo>
                      <a:pt x="69" y="11"/>
                      <a:pt x="69" y="11"/>
                      <a:pt x="69" y="11"/>
                    </a:cubicBezTo>
                    <a:cubicBezTo>
                      <a:pt x="69" y="11"/>
                      <a:pt x="69" y="11"/>
                      <a:pt x="68" y="11"/>
                    </a:cubicBezTo>
                    <a:cubicBezTo>
                      <a:pt x="68" y="10"/>
                      <a:pt x="68" y="10"/>
                      <a:pt x="68" y="10"/>
                    </a:cubicBezTo>
                    <a:cubicBezTo>
                      <a:pt x="68" y="10"/>
                      <a:pt x="67" y="10"/>
                      <a:pt x="67" y="10"/>
                    </a:cubicBezTo>
                    <a:cubicBezTo>
                      <a:pt x="67" y="10"/>
                      <a:pt x="67" y="10"/>
                      <a:pt x="67" y="10"/>
                    </a:cubicBezTo>
                    <a:cubicBezTo>
                      <a:pt x="67" y="10"/>
                      <a:pt x="67" y="10"/>
                      <a:pt x="67" y="10"/>
                    </a:cubicBezTo>
                    <a:cubicBezTo>
                      <a:pt x="66" y="9"/>
                      <a:pt x="66" y="9"/>
                      <a:pt x="66" y="9"/>
                    </a:cubicBezTo>
                    <a:cubicBezTo>
                      <a:pt x="66" y="9"/>
                      <a:pt x="66" y="9"/>
                      <a:pt x="66" y="9"/>
                    </a:cubicBezTo>
                    <a:cubicBezTo>
                      <a:pt x="65" y="9"/>
                      <a:pt x="65" y="9"/>
                      <a:pt x="65" y="9"/>
                    </a:cubicBezTo>
                    <a:cubicBezTo>
                      <a:pt x="65" y="9"/>
                      <a:pt x="65" y="9"/>
                      <a:pt x="65" y="9"/>
                    </a:cubicBezTo>
                    <a:cubicBezTo>
                      <a:pt x="64" y="10"/>
                      <a:pt x="64" y="10"/>
                      <a:pt x="64" y="10"/>
                    </a:cubicBezTo>
                    <a:cubicBezTo>
                      <a:pt x="64" y="8"/>
                      <a:pt x="64" y="8"/>
                      <a:pt x="64" y="8"/>
                    </a:cubicBezTo>
                    <a:cubicBezTo>
                      <a:pt x="63" y="8"/>
                      <a:pt x="63" y="8"/>
                      <a:pt x="63" y="8"/>
                    </a:cubicBezTo>
                    <a:cubicBezTo>
                      <a:pt x="63" y="8"/>
                      <a:pt x="62" y="7"/>
                      <a:pt x="62" y="7"/>
                    </a:cubicBezTo>
                    <a:cubicBezTo>
                      <a:pt x="61" y="7"/>
                      <a:pt x="61" y="7"/>
                      <a:pt x="61" y="7"/>
                    </a:cubicBezTo>
                    <a:cubicBezTo>
                      <a:pt x="61" y="7"/>
                      <a:pt x="61" y="7"/>
                      <a:pt x="61" y="7"/>
                    </a:cubicBezTo>
                    <a:cubicBezTo>
                      <a:pt x="61" y="7"/>
                      <a:pt x="61" y="7"/>
                      <a:pt x="60" y="7"/>
                    </a:cubicBezTo>
                    <a:cubicBezTo>
                      <a:pt x="60" y="7"/>
                      <a:pt x="60" y="7"/>
                      <a:pt x="59" y="7"/>
                    </a:cubicBezTo>
                    <a:cubicBezTo>
                      <a:pt x="59" y="7"/>
                      <a:pt x="59" y="7"/>
                      <a:pt x="59" y="7"/>
                    </a:cubicBezTo>
                    <a:cubicBezTo>
                      <a:pt x="58" y="8"/>
                      <a:pt x="57" y="8"/>
                      <a:pt x="56" y="8"/>
                    </a:cubicBezTo>
                    <a:cubicBezTo>
                      <a:pt x="55" y="8"/>
                      <a:pt x="54" y="7"/>
                      <a:pt x="54" y="7"/>
                    </a:cubicBezTo>
                    <a:cubicBezTo>
                      <a:pt x="53" y="6"/>
                      <a:pt x="53" y="6"/>
                      <a:pt x="53" y="6"/>
                    </a:cubicBezTo>
                    <a:cubicBezTo>
                      <a:pt x="53" y="5"/>
                      <a:pt x="52" y="5"/>
                      <a:pt x="51" y="4"/>
                    </a:cubicBezTo>
                    <a:cubicBezTo>
                      <a:pt x="51" y="4"/>
                      <a:pt x="51" y="4"/>
                      <a:pt x="51" y="4"/>
                    </a:cubicBezTo>
                    <a:cubicBezTo>
                      <a:pt x="51" y="4"/>
                      <a:pt x="51" y="4"/>
                      <a:pt x="51" y="3"/>
                    </a:cubicBezTo>
                    <a:cubicBezTo>
                      <a:pt x="50" y="3"/>
                      <a:pt x="49" y="3"/>
                      <a:pt x="48" y="2"/>
                    </a:cubicBezTo>
                    <a:cubicBezTo>
                      <a:pt x="48" y="2"/>
                      <a:pt x="48" y="2"/>
                      <a:pt x="48" y="2"/>
                    </a:cubicBezTo>
                    <a:cubicBezTo>
                      <a:pt x="48" y="2"/>
                      <a:pt x="47" y="2"/>
                      <a:pt x="47" y="2"/>
                    </a:cubicBezTo>
                    <a:cubicBezTo>
                      <a:pt x="46" y="2"/>
                      <a:pt x="46" y="2"/>
                      <a:pt x="46" y="2"/>
                    </a:cubicBezTo>
                    <a:cubicBezTo>
                      <a:pt x="46" y="1"/>
                      <a:pt x="46" y="1"/>
                      <a:pt x="45" y="1"/>
                    </a:cubicBezTo>
                    <a:cubicBezTo>
                      <a:pt x="45" y="1"/>
                      <a:pt x="45" y="1"/>
                      <a:pt x="45" y="1"/>
                    </a:cubicBezTo>
                    <a:cubicBezTo>
                      <a:pt x="45" y="1"/>
                      <a:pt x="45" y="1"/>
                      <a:pt x="45" y="1"/>
                    </a:cubicBezTo>
                    <a:cubicBezTo>
                      <a:pt x="45" y="1"/>
                      <a:pt x="45" y="1"/>
                      <a:pt x="44" y="1"/>
                    </a:cubicBezTo>
                    <a:cubicBezTo>
                      <a:pt x="43" y="1"/>
                      <a:pt x="43" y="1"/>
                      <a:pt x="42" y="0"/>
                    </a:cubicBezTo>
                    <a:cubicBezTo>
                      <a:pt x="42" y="1"/>
                      <a:pt x="42" y="1"/>
                      <a:pt x="42" y="1"/>
                    </a:cubicBezTo>
                    <a:cubicBezTo>
                      <a:pt x="42" y="1"/>
                      <a:pt x="41" y="1"/>
                      <a:pt x="41" y="1"/>
                    </a:cubicBezTo>
                    <a:cubicBezTo>
                      <a:pt x="41" y="1"/>
                      <a:pt x="41" y="1"/>
                      <a:pt x="41" y="1"/>
                    </a:cubicBezTo>
                    <a:cubicBezTo>
                      <a:pt x="40" y="2"/>
                      <a:pt x="39" y="2"/>
                      <a:pt x="38" y="2"/>
                    </a:cubicBezTo>
                    <a:cubicBezTo>
                      <a:pt x="34" y="3"/>
                      <a:pt x="34" y="3"/>
                      <a:pt x="34" y="3"/>
                    </a:cubicBezTo>
                    <a:cubicBezTo>
                      <a:pt x="34" y="4"/>
                      <a:pt x="34" y="5"/>
                      <a:pt x="35" y="6"/>
                    </a:cubicBezTo>
                    <a:cubicBezTo>
                      <a:pt x="35" y="7"/>
                      <a:pt x="35" y="9"/>
                      <a:pt x="35" y="10"/>
                    </a:cubicBezTo>
                    <a:cubicBezTo>
                      <a:pt x="35" y="11"/>
                      <a:pt x="33" y="12"/>
                      <a:pt x="32" y="13"/>
                    </a:cubicBezTo>
                    <a:cubicBezTo>
                      <a:pt x="31" y="15"/>
                      <a:pt x="27" y="15"/>
                      <a:pt x="25" y="14"/>
                    </a:cubicBezTo>
                    <a:cubicBezTo>
                      <a:pt x="24" y="14"/>
                      <a:pt x="23" y="11"/>
                      <a:pt x="23" y="10"/>
                    </a:cubicBezTo>
                    <a:cubicBezTo>
                      <a:pt x="22" y="9"/>
                      <a:pt x="21" y="9"/>
                      <a:pt x="20" y="8"/>
                    </a:cubicBezTo>
                    <a:cubicBezTo>
                      <a:pt x="19" y="7"/>
                      <a:pt x="18" y="5"/>
                      <a:pt x="17" y="5"/>
                    </a:cubicBezTo>
                    <a:cubicBezTo>
                      <a:pt x="16" y="5"/>
                      <a:pt x="13" y="5"/>
                      <a:pt x="13" y="5"/>
                    </a:cubicBezTo>
                    <a:cubicBezTo>
                      <a:pt x="11" y="5"/>
                      <a:pt x="9" y="6"/>
                      <a:pt x="8" y="6"/>
                    </a:cubicBezTo>
                    <a:cubicBezTo>
                      <a:pt x="7" y="7"/>
                      <a:pt x="6" y="9"/>
                      <a:pt x="6" y="9"/>
                    </a:cubicBezTo>
                    <a:cubicBezTo>
                      <a:pt x="4" y="11"/>
                      <a:pt x="5" y="12"/>
                      <a:pt x="5" y="14"/>
                    </a:cubicBezTo>
                    <a:cubicBezTo>
                      <a:pt x="4" y="15"/>
                      <a:pt x="3" y="16"/>
                      <a:pt x="2" y="16"/>
                    </a:cubicBezTo>
                    <a:cubicBezTo>
                      <a:pt x="0" y="18"/>
                      <a:pt x="2" y="21"/>
                      <a:pt x="1" y="23"/>
                    </a:cubicBezTo>
                    <a:cubicBezTo>
                      <a:pt x="1" y="23"/>
                      <a:pt x="1" y="23"/>
                      <a:pt x="1" y="22"/>
                    </a:cubicBezTo>
                    <a:cubicBezTo>
                      <a:pt x="1" y="22"/>
                      <a:pt x="1" y="22"/>
                      <a:pt x="0" y="22"/>
                    </a:cubicBezTo>
                    <a:cubicBezTo>
                      <a:pt x="0" y="24"/>
                      <a:pt x="0" y="25"/>
                      <a:pt x="1" y="27"/>
                    </a:cubicBezTo>
                    <a:cubicBezTo>
                      <a:pt x="1" y="27"/>
                      <a:pt x="1" y="27"/>
                      <a:pt x="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7" name="Freeform 3129">
                <a:extLst>
                  <a:ext uri="{FF2B5EF4-FFF2-40B4-BE49-F238E27FC236}">
                    <a16:creationId xmlns:a16="http://schemas.microsoft.com/office/drawing/2014/main" id="{1C0CDDA0-3F5E-4DC6-81ED-A91ED16D3B03}"/>
                  </a:ext>
                </a:extLst>
              </p:cNvPr>
              <p:cNvSpPr>
                <a:spLocks/>
              </p:cNvSpPr>
              <p:nvPr/>
            </p:nvSpPr>
            <p:spPr bwMode="auto">
              <a:xfrm>
                <a:off x="4114" y="1132"/>
                <a:ext cx="109" cy="73"/>
              </a:xfrm>
              <a:custGeom>
                <a:avLst/>
                <a:gdLst>
                  <a:gd name="T0" fmla="*/ 1 w 46"/>
                  <a:gd name="T1" fmla="*/ 10 h 31"/>
                  <a:gd name="T2" fmla="*/ 2 w 46"/>
                  <a:gd name="T3" fmla="*/ 10 h 31"/>
                  <a:gd name="T4" fmla="*/ 1 w 46"/>
                  <a:gd name="T5" fmla="*/ 12 h 31"/>
                  <a:gd name="T6" fmla="*/ 5 w 46"/>
                  <a:gd name="T7" fmla="*/ 14 h 31"/>
                  <a:gd name="T8" fmla="*/ 1 w 46"/>
                  <a:gd name="T9" fmla="*/ 16 h 31"/>
                  <a:gd name="T10" fmla="*/ 7 w 46"/>
                  <a:gd name="T11" fmla="*/ 21 h 31"/>
                  <a:gd name="T12" fmla="*/ 11 w 46"/>
                  <a:gd name="T13" fmla="*/ 20 h 31"/>
                  <a:gd name="T14" fmla="*/ 13 w 46"/>
                  <a:gd name="T15" fmla="*/ 24 h 31"/>
                  <a:gd name="T16" fmla="*/ 15 w 46"/>
                  <a:gd name="T17" fmla="*/ 24 h 31"/>
                  <a:gd name="T18" fmla="*/ 16 w 46"/>
                  <a:gd name="T19" fmla="*/ 23 h 31"/>
                  <a:gd name="T20" fmla="*/ 17 w 46"/>
                  <a:gd name="T21" fmla="*/ 22 h 31"/>
                  <a:gd name="T22" fmla="*/ 19 w 46"/>
                  <a:gd name="T23" fmla="*/ 24 h 31"/>
                  <a:gd name="T24" fmla="*/ 21 w 46"/>
                  <a:gd name="T25" fmla="*/ 24 h 31"/>
                  <a:gd name="T26" fmla="*/ 23 w 46"/>
                  <a:gd name="T27" fmla="*/ 24 h 31"/>
                  <a:gd name="T28" fmla="*/ 24 w 46"/>
                  <a:gd name="T29" fmla="*/ 25 h 31"/>
                  <a:gd name="T30" fmla="*/ 29 w 46"/>
                  <a:gd name="T31" fmla="*/ 26 h 31"/>
                  <a:gd name="T32" fmla="*/ 30 w 46"/>
                  <a:gd name="T33" fmla="*/ 29 h 31"/>
                  <a:gd name="T34" fmla="*/ 32 w 46"/>
                  <a:gd name="T35" fmla="*/ 31 h 31"/>
                  <a:gd name="T36" fmla="*/ 33 w 46"/>
                  <a:gd name="T37" fmla="*/ 30 h 31"/>
                  <a:gd name="T38" fmla="*/ 35 w 46"/>
                  <a:gd name="T39" fmla="*/ 29 h 31"/>
                  <a:gd name="T40" fmla="*/ 38 w 46"/>
                  <a:gd name="T41" fmla="*/ 30 h 31"/>
                  <a:gd name="T42" fmla="*/ 40 w 46"/>
                  <a:gd name="T43" fmla="*/ 31 h 31"/>
                  <a:gd name="T44" fmla="*/ 40 w 46"/>
                  <a:gd name="T45" fmla="*/ 30 h 31"/>
                  <a:gd name="T46" fmla="*/ 40 w 46"/>
                  <a:gd name="T47" fmla="*/ 29 h 31"/>
                  <a:gd name="T48" fmla="*/ 41 w 46"/>
                  <a:gd name="T49" fmla="*/ 28 h 31"/>
                  <a:gd name="T50" fmla="*/ 42 w 46"/>
                  <a:gd name="T51" fmla="*/ 27 h 31"/>
                  <a:gd name="T52" fmla="*/ 42 w 46"/>
                  <a:gd name="T53" fmla="*/ 27 h 31"/>
                  <a:gd name="T54" fmla="*/ 43 w 46"/>
                  <a:gd name="T55" fmla="*/ 26 h 31"/>
                  <a:gd name="T56" fmla="*/ 42 w 46"/>
                  <a:gd name="T57" fmla="*/ 25 h 31"/>
                  <a:gd name="T58" fmla="*/ 40 w 46"/>
                  <a:gd name="T59" fmla="*/ 19 h 31"/>
                  <a:gd name="T60" fmla="*/ 40 w 46"/>
                  <a:gd name="T61" fmla="*/ 15 h 31"/>
                  <a:gd name="T62" fmla="*/ 44 w 46"/>
                  <a:gd name="T63" fmla="*/ 8 h 31"/>
                  <a:gd name="T64" fmla="*/ 45 w 46"/>
                  <a:gd name="T65" fmla="*/ 5 h 31"/>
                  <a:gd name="T66" fmla="*/ 46 w 46"/>
                  <a:gd name="T67" fmla="*/ 4 h 31"/>
                  <a:gd name="T68" fmla="*/ 37 w 46"/>
                  <a:gd name="T69" fmla="*/ 3 h 31"/>
                  <a:gd name="T70" fmla="*/ 25 w 46"/>
                  <a:gd name="T71" fmla="*/ 1 h 31"/>
                  <a:gd name="T72" fmla="*/ 22 w 46"/>
                  <a:gd name="T73" fmla="*/ 2 h 31"/>
                  <a:gd name="T74" fmla="*/ 10 w 46"/>
                  <a:gd name="T75" fmla="*/ 4 h 31"/>
                  <a:gd name="T76" fmla="*/ 7 w 46"/>
                  <a:gd name="T77" fmla="*/ 6 h 31"/>
                  <a:gd name="T78" fmla="*/ 0 w 46"/>
                  <a:gd name="T79"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 h="31">
                    <a:moveTo>
                      <a:pt x="2" y="10"/>
                    </a:moveTo>
                    <a:cubicBezTo>
                      <a:pt x="1" y="10"/>
                      <a:pt x="1" y="10"/>
                      <a:pt x="1" y="10"/>
                    </a:cubicBezTo>
                    <a:cubicBezTo>
                      <a:pt x="1" y="10"/>
                      <a:pt x="1" y="10"/>
                      <a:pt x="1" y="10"/>
                    </a:cubicBezTo>
                    <a:cubicBezTo>
                      <a:pt x="2" y="10"/>
                      <a:pt x="2" y="10"/>
                      <a:pt x="2" y="10"/>
                    </a:cubicBezTo>
                    <a:cubicBezTo>
                      <a:pt x="2" y="10"/>
                      <a:pt x="2" y="10"/>
                      <a:pt x="2" y="11"/>
                    </a:cubicBezTo>
                    <a:cubicBezTo>
                      <a:pt x="1" y="11"/>
                      <a:pt x="1" y="11"/>
                      <a:pt x="1" y="12"/>
                    </a:cubicBezTo>
                    <a:cubicBezTo>
                      <a:pt x="1" y="13"/>
                      <a:pt x="1" y="13"/>
                      <a:pt x="0" y="13"/>
                    </a:cubicBezTo>
                    <a:cubicBezTo>
                      <a:pt x="2" y="14"/>
                      <a:pt x="3" y="13"/>
                      <a:pt x="5" y="14"/>
                    </a:cubicBezTo>
                    <a:cubicBezTo>
                      <a:pt x="4" y="14"/>
                      <a:pt x="2" y="14"/>
                      <a:pt x="1" y="14"/>
                    </a:cubicBezTo>
                    <a:cubicBezTo>
                      <a:pt x="1" y="15"/>
                      <a:pt x="1" y="16"/>
                      <a:pt x="1" y="16"/>
                    </a:cubicBezTo>
                    <a:cubicBezTo>
                      <a:pt x="1" y="17"/>
                      <a:pt x="2" y="17"/>
                      <a:pt x="2" y="17"/>
                    </a:cubicBezTo>
                    <a:cubicBezTo>
                      <a:pt x="4" y="19"/>
                      <a:pt x="4" y="20"/>
                      <a:pt x="7" y="21"/>
                    </a:cubicBezTo>
                    <a:cubicBezTo>
                      <a:pt x="8" y="21"/>
                      <a:pt x="8" y="21"/>
                      <a:pt x="10" y="20"/>
                    </a:cubicBezTo>
                    <a:cubicBezTo>
                      <a:pt x="11" y="19"/>
                      <a:pt x="12" y="19"/>
                      <a:pt x="11" y="20"/>
                    </a:cubicBezTo>
                    <a:cubicBezTo>
                      <a:pt x="11" y="22"/>
                      <a:pt x="10" y="24"/>
                      <a:pt x="10" y="25"/>
                    </a:cubicBezTo>
                    <a:cubicBezTo>
                      <a:pt x="13" y="24"/>
                      <a:pt x="13" y="24"/>
                      <a:pt x="13" y="24"/>
                    </a:cubicBezTo>
                    <a:cubicBezTo>
                      <a:pt x="13" y="24"/>
                      <a:pt x="14" y="24"/>
                      <a:pt x="15" y="24"/>
                    </a:cubicBezTo>
                    <a:cubicBezTo>
                      <a:pt x="15" y="24"/>
                      <a:pt x="15" y="24"/>
                      <a:pt x="15" y="24"/>
                    </a:cubicBezTo>
                    <a:cubicBezTo>
                      <a:pt x="15" y="24"/>
                      <a:pt x="16" y="23"/>
                      <a:pt x="16" y="23"/>
                    </a:cubicBezTo>
                    <a:cubicBezTo>
                      <a:pt x="16" y="23"/>
                      <a:pt x="16" y="23"/>
                      <a:pt x="16" y="23"/>
                    </a:cubicBezTo>
                    <a:cubicBezTo>
                      <a:pt x="16" y="23"/>
                      <a:pt x="16" y="23"/>
                      <a:pt x="17" y="23"/>
                    </a:cubicBezTo>
                    <a:cubicBezTo>
                      <a:pt x="17" y="22"/>
                      <a:pt x="17" y="22"/>
                      <a:pt x="17" y="22"/>
                    </a:cubicBezTo>
                    <a:cubicBezTo>
                      <a:pt x="18" y="23"/>
                      <a:pt x="18" y="23"/>
                      <a:pt x="18" y="23"/>
                    </a:cubicBezTo>
                    <a:cubicBezTo>
                      <a:pt x="19" y="24"/>
                      <a:pt x="19" y="24"/>
                      <a:pt x="19" y="24"/>
                    </a:cubicBezTo>
                    <a:cubicBezTo>
                      <a:pt x="20" y="24"/>
                      <a:pt x="20" y="24"/>
                      <a:pt x="20" y="24"/>
                    </a:cubicBezTo>
                    <a:cubicBezTo>
                      <a:pt x="20" y="23"/>
                      <a:pt x="21" y="23"/>
                      <a:pt x="21" y="24"/>
                    </a:cubicBezTo>
                    <a:cubicBezTo>
                      <a:pt x="21" y="24"/>
                      <a:pt x="22" y="24"/>
                      <a:pt x="23" y="24"/>
                    </a:cubicBezTo>
                    <a:cubicBezTo>
                      <a:pt x="23" y="24"/>
                      <a:pt x="23" y="24"/>
                      <a:pt x="23" y="24"/>
                    </a:cubicBezTo>
                    <a:cubicBezTo>
                      <a:pt x="23" y="25"/>
                      <a:pt x="24" y="25"/>
                      <a:pt x="24" y="25"/>
                    </a:cubicBezTo>
                    <a:cubicBezTo>
                      <a:pt x="24" y="25"/>
                      <a:pt x="24" y="25"/>
                      <a:pt x="24" y="25"/>
                    </a:cubicBezTo>
                    <a:cubicBezTo>
                      <a:pt x="25" y="26"/>
                      <a:pt x="26" y="26"/>
                      <a:pt x="27" y="26"/>
                    </a:cubicBezTo>
                    <a:cubicBezTo>
                      <a:pt x="29" y="26"/>
                      <a:pt x="29" y="26"/>
                      <a:pt x="29" y="26"/>
                    </a:cubicBezTo>
                    <a:cubicBezTo>
                      <a:pt x="28" y="28"/>
                      <a:pt x="28" y="28"/>
                      <a:pt x="28" y="28"/>
                    </a:cubicBezTo>
                    <a:cubicBezTo>
                      <a:pt x="29" y="28"/>
                      <a:pt x="29" y="29"/>
                      <a:pt x="30" y="29"/>
                    </a:cubicBezTo>
                    <a:cubicBezTo>
                      <a:pt x="30" y="30"/>
                      <a:pt x="30" y="30"/>
                      <a:pt x="30" y="30"/>
                    </a:cubicBezTo>
                    <a:cubicBezTo>
                      <a:pt x="31" y="30"/>
                      <a:pt x="31" y="30"/>
                      <a:pt x="32" y="31"/>
                    </a:cubicBezTo>
                    <a:cubicBezTo>
                      <a:pt x="32" y="31"/>
                      <a:pt x="33" y="31"/>
                      <a:pt x="33" y="30"/>
                    </a:cubicBezTo>
                    <a:cubicBezTo>
                      <a:pt x="33" y="30"/>
                      <a:pt x="33" y="30"/>
                      <a:pt x="33" y="30"/>
                    </a:cubicBezTo>
                    <a:cubicBezTo>
                      <a:pt x="34" y="30"/>
                      <a:pt x="34" y="30"/>
                      <a:pt x="34" y="30"/>
                    </a:cubicBezTo>
                    <a:cubicBezTo>
                      <a:pt x="34" y="30"/>
                      <a:pt x="35" y="29"/>
                      <a:pt x="35" y="29"/>
                    </a:cubicBezTo>
                    <a:cubicBezTo>
                      <a:pt x="36" y="29"/>
                      <a:pt x="36" y="29"/>
                      <a:pt x="36" y="29"/>
                    </a:cubicBezTo>
                    <a:cubicBezTo>
                      <a:pt x="37" y="29"/>
                      <a:pt x="37" y="30"/>
                      <a:pt x="38" y="30"/>
                    </a:cubicBezTo>
                    <a:cubicBezTo>
                      <a:pt x="38" y="30"/>
                      <a:pt x="38" y="30"/>
                      <a:pt x="39" y="30"/>
                    </a:cubicBezTo>
                    <a:cubicBezTo>
                      <a:pt x="40" y="31"/>
                      <a:pt x="40" y="31"/>
                      <a:pt x="40" y="31"/>
                    </a:cubicBezTo>
                    <a:cubicBezTo>
                      <a:pt x="40" y="31"/>
                      <a:pt x="40" y="30"/>
                      <a:pt x="40" y="30"/>
                    </a:cubicBezTo>
                    <a:cubicBezTo>
                      <a:pt x="40" y="30"/>
                      <a:pt x="40" y="30"/>
                      <a:pt x="40" y="30"/>
                    </a:cubicBezTo>
                    <a:cubicBezTo>
                      <a:pt x="40" y="30"/>
                      <a:pt x="40" y="30"/>
                      <a:pt x="40" y="30"/>
                    </a:cubicBezTo>
                    <a:cubicBezTo>
                      <a:pt x="40" y="30"/>
                      <a:pt x="40" y="29"/>
                      <a:pt x="40" y="29"/>
                    </a:cubicBezTo>
                    <a:cubicBezTo>
                      <a:pt x="40" y="29"/>
                      <a:pt x="40" y="29"/>
                      <a:pt x="40" y="28"/>
                    </a:cubicBezTo>
                    <a:cubicBezTo>
                      <a:pt x="41" y="28"/>
                      <a:pt x="41" y="28"/>
                      <a:pt x="41" y="28"/>
                    </a:cubicBezTo>
                    <a:cubicBezTo>
                      <a:pt x="41" y="28"/>
                      <a:pt x="41" y="28"/>
                      <a:pt x="41" y="28"/>
                    </a:cubicBezTo>
                    <a:cubicBezTo>
                      <a:pt x="41" y="27"/>
                      <a:pt x="41" y="27"/>
                      <a:pt x="42" y="27"/>
                    </a:cubicBezTo>
                    <a:cubicBezTo>
                      <a:pt x="42" y="27"/>
                      <a:pt x="42" y="27"/>
                      <a:pt x="42" y="27"/>
                    </a:cubicBezTo>
                    <a:cubicBezTo>
                      <a:pt x="42" y="27"/>
                      <a:pt x="42" y="27"/>
                      <a:pt x="42" y="27"/>
                    </a:cubicBezTo>
                    <a:cubicBezTo>
                      <a:pt x="42" y="27"/>
                      <a:pt x="42" y="27"/>
                      <a:pt x="42" y="27"/>
                    </a:cubicBezTo>
                    <a:cubicBezTo>
                      <a:pt x="43" y="26"/>
                      <a:pt x="43" y="26"/>
                      <a:pt x="43" y="26"/>
                    </a:cubicBezTo>
                    <a:cubicBezTo>
                      <a:pt x="43" y="26"/>
                      <a:pt x="43" y="26"/>
                      <a:pt x="43" y="25"/>
                    </a:cubicBezTo>
                    <a:cubicBezTo>
                      <a:pt x="43" y="25"/>
                      <a:pt x="42" y="25"/>
                      <a:pt x="42" y="25"/>
                    </a:cubicBezTo>
                    <a:cubicBezTo>
                      <a:pt x="40" y="23"/>
                      <a:pt x="40" y="20"/>
                      <a:pt x="40" y="20"/>
                    </a:cubicBezTo>
                    <a:cubicBezTo>
                      <a:pt x="40" y="19"/>
                      <a:pt x="40" y="19"/>
                      <a:pt x="40" y="19"/>
                    </a:cubicBezTo>
                    <a:cubicBezTo>
                      <a:pt x="40" y="19"/>
                      <a:pt x="40" y="19"/>
                      <a:pt x="40" y="19"/>
                    </a:cubicBezTo>
                    <a:cubicBezTo>
                      <a:pt x="40" y="18"/>
                      <a:pt x="40" y="16"/>
                      <a:pt x="40" y="15"/>
                    </a:cubicBezTo>
                    <a:cubicBezTo>
                      <a:pt x="40" y="14"/>
                      <a:pt x="40" y="12"/>
                      <a:pt x="41" y="11"/>
                    </a:cubicBezTo>
                    <a:cubicBezTo>
                      <a:pt x="42" y="11"/>
                      <a:pt x="43" y="9"/>
                      <a:pt x="44" y="8"/>
                    </a:cubicBezTo>
                    <a:cubicBezTo>
                      <a:pt x="44" y="7"/>
                      <a:pt x="45" y="6"/>
                      <a:pt x="45" y="5"/>
                    </a:cubicBezTo>
                    <a:cubicBezTo>
                      <a:pt x="45" y="5"/>
                      <a:pt x="45" y="5"/>
                      <a:pt x="45" y="5"/>
                    </a:cubicBezTo>
                    <a:cubicBezTo>
                      <a:pt x="46" y="4"/>
                      <a:pt x="46" y="4"/>
                      <a:pt x="46" y="4"/>
                    </a:cubicBezTo>
                    <a:cubicBezTo>
                      <a:pt x="46" y="4"/>
                      <a:pt x="46" y="4"/>
                      <a:pt x="46" y="4"/>
                    </a:cubicBezTo>
                    <a:cubicBezTo>
                      <a:pt x="44" y="4"/>
                      <a:pt x="42" y="3"/>
                      <a:pt x="41" y="3"/>
                    </a:cubicBezTo>
                    <a:cubicBezTo>
                      <a:pt x="39" y="3"/>
                      <a:pt x="38" y="3"/>
                      <a:pt x="37" y="3"/>
                    </a:cubicBezTo>
                    <a:cubicBezTo>
                      <a:pt x="36" y="3"/>
                      <a:pt x="35" y="3"/>
                      <a:pt x="34" y="2"/>
                    </a:cubicBezTo>
                    <a:cubicBezTo>
                      <a:pt x="31" y="2"/>
                      <a:pt x="28" y="2"/>
                      <a:pt x="25" y="1"/>
                    </a:cubicBezTo>
                    <a:cubicBezTo>
                      <a:pt x="24" y="1"/>
                      <a:pt x="23" y="1"/>
                      <a:pt x="21" y="0"/>
                    </a:cubicBezTo>
                    <a:cubicBezTo>
                      <a:pt x="21" y="1"/>
                      <a:pt x="22" y="1"/>
                      <a:pt x="22" y="2"/>
                    </a:cubicBezTo>
                    <a:cubicBezTo>
                      <a:pt x="19" y="3"/>
                      <a:pt x="17" y="2"/>
                      <a:pt x="14" y="3"/>
                    </a:cubicBezTo>
                    <a:cubicBezTo>
                      <a:pt x="13" y="3"/>
                      <a:pt x="11" y="3"/>
                      <a:pt x="10" y="4"/>
                    </a:cubicBezTo>
                    <a:cubicBezTo>
                      <a:pt x="9" y="4"/>
                      <a:pt x="8" y="5"/>
                      <a:pt x="7" y="5"/>
                    </a:cubicBezTo>
                    <a:cubicBezTo>
                      <a:pt x="7" y="5"/>
                      <a:pt x="7" y="5"/>
                      <a:pt x="7" y="6"/>
                    </a:cubicBezTo>
                    <a:cubicBezTo>
                      <a:pt x="6" y="6"/>
                      <a:pt x="1" y="7"/>
                      <a:pt x="1" y="7"/>
                    </a:cubicBezTo>
                    <a:cubicBezTo>
                      <a:pt x="0" y="8"/>
                      <a:pt x="0" y="9"/>
                      <a:pt x="0" y="10"/>
                    </a:cubicBezTo>
                    <a:cubicBezTo>
                      <a:pt x="0" y="10"/>
                      <a:pt x="1"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8" name="Rectangle 3130">
                <a:extLst>
                  <a:ext uri="{FF2B5EF4-FFF2-40B4-BE49-F238E27FC236}">
                    <a16:creationId xmlns:a16="http://schemas.microsoft.com/office/drawing/2014/main" id="{BCDFC4A5-F20D-4374-93AE-E06A9236698C}"/>
                  </a:ext>
                </a:extLst>
              </p:cNvPr>
              <p:cNvSpPr>
                <a:spLocks noChangeArrowheads="1"/>
              </p:cNvSpPr>
              <p:nvPr/>
            </p:nvSpPr>
            <p:spPr bwMode="auto">
              <a:xfrm>
                <a:off x="5601" y="146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9" name="Freeform 3131">
                <a:extLst>
                  <a:ext uri="{FF2B5EF4-FFF2-40B4-BE49-F238E27FC236}">
                    <a16:creationId xmlns:a16="http://schemas.microsoft.com/office/drawing/2014/main" id="{11B0E643-965D-4EAC-85C0-D024B966901C}"/>
                  </a:ext>
                </a:extLst>
              </p:cNvPr>
              <p:cNvSpPr>
                <a:spLocks/>
              </p:cNvSpPr>
              <p:nvPr/>
            </p:nvSpPr>
            <p:spPr bwMode="auto">
              <a:xfrm>
                <a:off x="5190" y="12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0" name="Freeform 3132">
                <a:extLst>
                  <a:ext uri="{FF2B5EF4-FFF2-40B4-BE49-F238E27FC236}">
                    <a16:creationId xmlns:a16="http://schemas.microsoft.com/office/drawing/2014/main" id="{F411BEB8-D06B-4CF9-A3F3-97D5F62572F0}"/>
                  </a:ext>
                </a:extLst>
              </p:cNvPr>
              <p:cNvSpPr>
                <a:spLocks/>
              </p:cNvSpPr>
              <p:nvPr/>
            </p:nvSpPr>
            <p:spPr bwMode="auto">
              <a:xfrm>
                <a:off x="4675" y="1286"/>
                <a:ext cx="974" cy="449"/>
              </a:xfrm>
              <a:custGeom>
                <a:avLst/>
                <a:gdLst>
                  <a:gd name="T0" fmla="*/ 83 w 412"/>
                  <a:gd name="T1" fmla="*/ 173 h 190"/>
                  <a:gd name="T2" fmla="*/ 100 w 412"/>
                  <a:gd name="T3" fmla="*/ 135 h 190"/>
                  <a:gd name="T4" fmla="*/ 126 w 412"/>
                  <a:gd name="T5" fmla="*/ 125 h 190"/>
                  <a:gd name="T6" fmla="*/ 134 w 412"/>
                  <a:gd name="T7" fmla="*/ 125 h 190"/>
                  <a:gd name="T8" fmla="*/ 138 w 412"/>
                  <a:gd name="T9" fmla="*/ 131 h 190"/>
                  <a:gd name="T10" fmla="*/ 179 w 412"/>
                  <a:gd name="T11" fmla="*/ 153 h 190"/>
                  <a:gd name="T12" fmla="*/ 200 w 412"/>
                  <a:gd name="T13" fmla="*/ 162 h 190"/>
                  <a:gd name="T14" fmla="*/ 205 w 412"/>
                  <a:gd name="T15" fmla="*/ 177 h 190"/>
                  <a:gd name="T16" fmla="*/ 221 w 412"/>
                  <a:gd name="T17" fmla="*/ 186 h 190"/>
                  <a:gd name="T18" fmla="*/ 238 w 412"/>
                  <a:gd name="T19" fmla="*/ 176 h 190"/>
                  <a:gd name="T20" fmla="*/ 273 w 412"/>
                  <a:gd name="T21" fmla="*/ 167 h 190"/>
                  <a:gd name="T22" fmla="*/ 293 w 412"/>
                  <a:gd name="T23" fmla="*/ 163 h 190"/>
                  <a:gd name="T24" fmla="*/ 317 w 412"/>
                  <a:gd name="T25" fmla="*/ 162 h 190"/>
                  <a:gd name="T26" fmla="*/ 339 w 412"/>
                  <a:gd name="T27" fmla="*/ 168 h 190"/>
                  <a:gd name="T28" fmla="*/ 347 w 412"/>
                  <a:gd name="T29" fmla="*/ 156 h 190"/>
                  <a:gd name="T30" fmla="*/ 355 w 412"/>
                  <a:gd name="T31" fmla="*/ 132 h 190"/>
                  <a:gd name="T32" fmla="*/ 374 w 412"/>
                  <a:gd name="T33" fmla="*/ 108 h 190"/>
                  <a:gd name="T34" fmla="*/ 409 w 412"/>
                  <a:gd name="T35" fmla="*/ 88 h 190"/>
                  <a:gd name="T36" fmla="*/ 401 w 412"/>
                  <a:gd name="T37" fmla="*/ 80 h 190"/>
                  <a:gd name="T38" fmla="*/ 391 w 412"/>
                  <a:gd name="T39" fmla="*/ 73 h 190"/>
                  <a:gd name="T40" fmla="*/ 378 w 412"/>
                  <a:gd name="T41" fmla="*/ 61 h 190"/>
                  <a:gd name="T42" fmla="*/ 357 w 412"/>
                  <a:gd name="T43" fmla="*/ 64 h 190"/>
                  <a:gd name="T44" fmla="*/ 347 w 412"/>
                  <a:gd name="T45" fmla="*/ 59 h 190"/>
                  <a:gd name="T46" fmla="*/ 340 w 412"/>
                  <a:gd name="T47" fmla="*/ 62 h 190"/>
                  <a:gd name="T48" fmla="*/ 290 w 412"/>
                  <a:gd name="T49" fmla="*/ 21 h 190"/>
                  <a:gd name="T50" fmla="*/ 271 w 412"/>
                  <a:gd name="T51" fmla="*/ 19 h 190"/>
                  <a:gd name="T52" fmla="*/ 259 w 412"/>
                  <a:gd name="T53" fmla="*/ 16 h 190"/>
                  <a:gd name="T54" fmla="*/ 248 w 412"/>
                  <a:gd name="T55" fmla="*/ 12 h 190"/>
                  <a:gd name="T56" fmla="*/ 238 w 412"/>
                  <a:gd name="T57" fmla="*/ 2 h 190"/>
                  <a:gd name="T58" fmla="*/ 227 w 412"/>
                  <a:gd name="T59" fmla="*/ 0 h 190"/>
                  <a:gd name="T60" fmla="*/ 212 w 412"/>
                  <a:gd name="T61" fmla="*/ 9 h 190"/>
                  <a:gd name="T62" fmla="*/ 203 w 412"/>
                  <a:gd name="T63" fmla="*/ 9 h 190"/>
                  <a:gd name="T64" fmla="*/ 189 w 412"/>
                  <a:gd name="T65" fmla="*/ 14 h 190"/>
                  <a:gd name="T66" fmla="*/ 181 w 412"/>
                  <a:gd name="T67" fmla="*/ 14 h 190"/>
                  <a:gd name="T68" fmla="*/ 164 w 412"/>
                  <a:gd name="T69" fmla="*/ 18 h 190"/>
                  <a:gd name="T70" fmla="*/ 157 w 412"/>
                  <a:gd name="T71" fmla="*/ 19 h 190"/>
                  <a:gd name="T72" fmla="*/ 151 w 412"/>
                  <a:gd name="T73" fmla="*/ 22 h 190"/>
                  <a:gd name="T74" fmla="*/ 152 w 412"/>
                  <a:gd name="T75" fmla="*/ 27 h 190"/>
                  <a:gd name="T76" fmla="*/ 158 w 412"/>
                  <a:gd name="T77" fmla="*/ 33 h 190"/>
                  <a:gd name="T78" fmla="*/ 152 w 412"/>
                  <a:gd name="T79" fmla="*/ 33 h 190"/>
                  <a:gd name="T80" fmla="*/ 148 w 412"/>
                  <a:gd name="T81" fmla="*/ 42 h 190"/>
                  <a:gd name="T82" fmla="*/ 142 w 412"/>
                  <a:gd name="T83" fmla="*/ 47 h 190"/>
                  <a:gd name="T84" fmla="*/ 153 w 412"/>
                  <a:gd name="T85" fmla="*/ 54 h 190"/>
                  <a:gd name="T86" fmla="*/ 151 w 412"/>
                  <a:gd name="T87" fmla="*/ 63 h 190"/>
                  <a:gd name="T88" fmla="*/ 131 w 412"/>
                  <a:gd name="T89" fmla="*/ 66 h 190"/>
                  <a:gd name="T90" fmla="*/ 115 w 412"/>
                  <a:gd name="T91" fmla="*/ 60 h 190"/>
                  <a:gd name="T92" fmla="*/ 95 w 412"/>
                  <a:gd name="T93" fmla="*/ 65 h 190"/>
                  <a:gd name="T94" fmla="*/ 80 w 412"/>
                  <a:gd name="T95" fmla="*/ 65 h 190"/>
                  <a:gd name="T96" fmla="*/ 60 w 412"/>
                  <a:gd name="T97" fmla="*/ 53 h 190"/>
                  <a:gd name="T98" fmla="*/ 49 w 412"/>
                  <a:gd name="T99" fmla="*/ 54 h 190"/>
                  <a:gd name="T100" fmla="*/ 37 w 412"/>
                  <a:gd name="T101" fmla="*/ 57 h 190"/>
                  <a:gd name="T102" fmla="*/ 23 w 412"/>
                  <a:gd name="T103" fmla="*/ 67 h 190"/>
                  <a:gd name="T104" fmla="*/ 14 w 412"/>
                  <a:gd name="T105" fmla="*/ 72 h 190"/>
                  <a:gd name="T106" fmla="*/ 4 w 412"/>
                  <a:gd name="T107" fmla="*/ 79 h 190"/>
                  <a:gd name="T108" fmla="*/ 7 w 412"/>
                  <a:gd name="T109" fmla="*/ 99 h 190"/>
                  <a:gd name="T110" fmla="*/ 26 w 412"/>
                  <a:gd name="T111" fmla="*/ 115 h 190"/>
                  <a:gd name="T112" fmla="*/ 28 w 412"/>
                  <a:gd name="T113" fmla="*/ 118 h 190"/>
                  <a:gd name="T114" fmla="*/ 62 w 412"/>
                  <a:gd name="T115" fmla="*/ 112 h 190"/>
                  <a:gd name="T116" fmla="*/ 68 w 412"/>
                  <a:gd name="T117" fmla="*/ 143 h 190"/>
                  <a:gd name="T118" fmla="*/ 48 w 412"/>
                  <a:gd name="T119" fmla="*/ 142 h 190"/>
                  <a:gd name="T120" fmla="*/ 47 w 412"/>
                  <a:gd name="T1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2" h="190">
                    <a:moveTo>
                      <a:pt x="58" y="164"/>
                    </a:moveTo>
                    <a:cubicBezTo>
                      <a:pt x="59" y="164"/>
                      <a:pt x="60" y="164"/>
                      <a:pt x="60" y="164"/>
                    </a:cubicBezTo>
                    <a:cubicBezTo>
                      <a:pt x="61" y="165"/>
                      <a:pt x="62" y="165"/>
                      <a:pt x="62" y="166"/>
                    </a:cubicBezTo>
                    <a:cubicBezTo>
                      <a:pt x="62" y="166"/>
                      <a:pt x="62" y="166"/>
                      <a:pt x="61" y="166"/>
                    </a:cubicBezTo>
                    <a:cubicBezTo>
                      <a:pt x="62" y="168"/>
                      <a:pt x="62" y="168"/>
                      <a:pt x="61" y="170"/>
                    </a:cubicBezTo>
                    <a:cubicBezTo>
                      <a:pt x="60" y="171"/>
                      <a:pt x="59" y="172"/>
                      <a:pt x="59" y="173"/>
                    </a:cubicBezTo>
                    <a:cubicBezTo>
                      <a:pt x="59" y="174"/>
                      <a:pt x="59" y="175"/>
                      <a:pt x="59" y="176"/>
                    </a:cubicBezTo>
                    <a:cubicBezTo>
                      <a:pt x="60" y="176"/>
                      <a:pt x="60" y="176"/>
                      <a:pt x="60" y="175"/>
                    </a:cubicBezTo>
                    <a:cubicBezTo>
                      <a:pt x="61" y="175"/>
                      <a:pt x="61" y="174"/>
                      <a:pt x="62" y="174"/>
                    </a:cubicBezTo>
                    <a:cubicBezTo>
                      <a:pt x="63" y="173"/>
                      <a:pt x="63" y="172"/>
                      <a:pt x="64" y="172"/>
                    </a:cubicBezTo>
                    <a:cubicBezTo>
                      <a:pt x="66" y="171"/>
                      <a:pt x="69" y="170"/>
                      <a:pt x="71" y="170"/>
                    </a:cubicBezTo>
                    <a:cubicBezTo>
                      <a:pt x="72" y="170"/>
                      <a:pt x="73" y="169"/>
                      <a:pt x="74" y="169"/>
                    </a:cubicBezTo>
                    <a:cubicBezTo>
                      <a:pt x="75" y="169"/>
                      <a:pt x="75" y="169"/>
                      <a:pt x="75" y="169"/>
                    </a:cubicBezTo>
                    <a:cubicBezTo>
                      <a:pt x="76" y="169"/>
                      <a:pt x="76" y="169"/>
                      <a:pt x="77" y="169"/>
                    </a:cubicBezTo>
                    <a:cubicBezTo>
                      <a:pt x="78" y="169"/>
                      <a:pt x="78" y="170"/>
                      <a:pt x="79" y="170"/>
                    </a:cubicBezTo>
                    <a:cubicBezTo>
                      <a:pt x="80" y="171"/>
                      <a:pt x="82" y="172"/>
                      <a:pt x="83" y="173"/>
                    </a:cubicBezTo>
                    <a:cubicBezTo>
                      <a:pt x="83" y="173"/>
                      <a:pt x="83" y="173"/>
                      <a:pt x="83" y="173"/>
                    </a:cubicBezTo>
                    <a:cubicBezTo>
                      <a:pt x="84" y="174"/>
                      <a:pt x="84" y="174"/>
                      <a:pt x="85" y="175"/>
                    </a:cubicBezTo>
                    <a:cubicBezTo>
                      <a:pt x="85" y="175"/>
                      <a:pt x="85" y="175"/>
                      <a:pt x="85" y="175"/>
                    </a:cubicBezTo>
                    <a:cubicBezTo>
                      <a:pt x="86" y="176"/>
                      <a:pt x="87" y="177"/>
                      <a:pt x="88" y="177"/>
                    </a:cubicBezTo>
                    <a:cubicBezTo>
                      <a:pt x="88" y="178"/>
                      <a:pt x="88" y="178"/>
                      <a:pt x="89" y="179"/>
                    </a:cubicBezTo>
                    <a:cubicBezTo>
                      <a:pt x="89" y="179"/>
                      <a:pt x="89" y="179"/>
                      <a:pt x="89" y="179"/>
                    </a:cubicBezTo>
                    <a:cubicBezTo>
                      <a:pt x="89" y="180"/>
                      <a:pt x="90" y="181"/>
                      <a:pt x="91" y="181"/>
                    </a:cubicBezTo>
                    <a:cubicBezTo>
                      <a:pt x="91" y="181"/>
                      <a:pt x="91" y="182"/>
                      <a:pt x="91" y="182"/>
                    </a:cubicBezTo>
                    <a:cubicBezTo>
                      <a:pt x="92" y="182"/>
                      <a:pt x="92" y="182"/>
                      <a:pt x="93" y="182"/>
                    </a:cubicBezTo>
                    <a:cubicBezTo>
                      <a:pt x="93" y="182"/>
                      <a:pt x="94" y="181"/>
                      <a:pt x="95" y="181"/>
                    </a:cubicBezTo>
                    <a:cubicBezTo>
                      <a:pt x="95" y="159"/>
                      <a:pt x="95" y="159"/>
                      <a:pt x="95" y="159"/>
                    </a:cubicBezTo>
                    <a:cubicBezTo>
                      <a:pt x="95" y="152"/>
                      <a:pt x="95" y="145"/>
                      <a:pt x="95" y="138"/>
                    </a:cubicBezTo>
                    <a:cubicBezTo>
                      <a:pt x="95" y="137"/>
                      <a:pt x="95" y="137"/>
                      <a:pt x="95" y="137"/>
                    </a:cubicBezTo>
                    <a:cubicBezTo>
                      <a:pt x="95" y="137"/>
                      <a:pt x="95" y="136"/>
                      <a:pt x="96" y="136"/>
                    </a:cubicBezTo>
                    <a:cubicBezTo>
                      <a:pt x="97" y="135"/>
                      <a:pt x="98" y="135"/>
                      <a:pt x="99" y="135"/>
                    </a:cubicBezTo>
                    <a:cubicBezTo>
                      <a:pt x="99" y="135"/>
                      <a:pt x="100" y="135"/>
                      <a:pt x="100" y="135"/>
                    </a:cubicBezTo>
                    <a:cubicBezTo>
                      <a:pt x="104" y="133"/>
                      <a:pt x="109" y="132"/>
                      <a:pt x="113" y="131"/>
                    </a:cubicBezTo>
                    <a:cubicBezTo>
                      <a:pt x="118" y="130"/>
                      <a:pt x="118" y="130"/>
                      <a:pt x="118" y="130"/>
                    </a:cubicBezTo>
                    <a:cubicBezTo>
                      <a:pt x="119" y="129"/>
                      <a:pt x="120" y="129"/>
                      <a:pt x="120" y="129"/>
                    </a:cubicBezTo>
                    <a:cubicBezTo>
                      <a:pt x="121" y="129"/>
                      <a:pt x="121" y="129"/>
                      <a:pt x="121" y="129"/>
                    </a:cubicBezTo>
                    <a:cubicBezTo>
                      <a:pt x="122" y="129"/>
                      <a:pt x="122" y="129"/>
                      <a:pt x="123" y="129"/>
                    </a:cubicBezTo>
                    <a:cubicBezTo>
                      <a:pt x="123" y="128"/>
                      <a:pt x="123" y="128"/>
                      <a:pt x="123" y="127"/>
                    </a:cubicBezTo>
                    <a:cubicBezTo>
                      <a:pt x="124" y="127"/>
                      <a:pt x="124" y="126"/>
                      <a:pt x="125" y="126"/>
                    </a:cubicBezTo>
                    <a:cubicBezTo>
                      <a:pt x="125" y="126"/>
                      <a:pt x="126" y="126"/>
                      <a:pt x="126" y="126"/>
                    </a:cubicBezTo>
                    <a:cubicBezTo>
                      <a:pt x="126" y="125"/>
                      <a:pt x="126" y="125"/>
                      <a:pt x="126" y="125"/>
                    </a:cubicBezTo>
                    <a:cubicBezTo>
                      <a:pt x="126" y="125"/>
                      <a:pt x="126" y="125"/>
                      <a:pt x="126" y="125"/>
                    </a:cubicBezTo>
                    <a:cubicBezTo>
                      <a:pt x="126" y="125"/>
                      <a:pt x="126" y="125"/>
                      <a:pt x="126" y="126"/>
                    </a:cubicBezTo>
                    <a:cubicBezTo>
                      <a:pt x="126" y="126"/>
                      <a:pt x="126" y="126"/>
                      <a:pt x="126" y="126"/>
                    </a:cubicBezTo>
                    <a:cubicBezTo>
                      <a:pt x="126" y="126"/>
                      <a:pt x="126" y="126"/>
                      <a:pt x="126" y="126"/>
                    </a:cubicBezTo>
                    <a:cubicBezTo>
                      <a:pt x="126" y="126"/>
                      <a:pt x="126" y="126"/>
                      <a:pt x="126" y="126"/>
                    </a:cubicBezTo>
                    <a:cubicBezTo>
                      <a:pt x="127" y="126"/>
                      <a:pt x="126" y="126"/>
                      <a:pt x="126" y="126"/>
                    </a:cubicBezTo>
                    <a:cubicBezTo>
                      <a:pt x="126" y="126"/>
                      <a:pt x="126" y="125"/>
                      <a:pt x="126" y="125"/>
                    </a:cubicBezTo>
                    <a:cubicBezTo>
                      <a:pt x="127" y="126"/>
                      <a:pt x="127" y="126"/>
                      <a:pt x="127" y="126"/>
                    </a:cubicBezTo>
                    <a:cubicBezTo>
                      <a:pt x="127" y="126"/>
                      <a:pt x="128" y="126"/>
                      <a:pt x="128" y="126"/>
                    </a:cubicBezTo>
                    <a:cubicBezTo>
                      <a:pt x="129" y="126"/>
                      <a:pt x="129" y="125"/>
                      <a:pt x="129" y="125"/>
                    </a:cubicBezTo>
                    <a:cubicBezTo>
                      <a:pt x="131" y="125"/>
                      <a:pt x="129" y="126"/>
                      <a:pt x="129" y="127"/>
                    </a:cubicBezTo>
                    <a:cubicBezTo>
                      <a:pt x="129" y="127"/>
                      <a:pt x="128" y="128"/>
                      <a:pt x="129" y="129"/>
                    </a:cubicBezTo>
                    <a:cubicBezTo>
                      <a:pt x="130" y="129"/>
                      <a:pt x="131" y="127"/>
                      <a:pt x="131" y="129"/>
                    </a:cubicBezTo>
                    <a:cubicBezTo>
                      <a:pt x="131" y="129"/>
                      <a:pt x="131" y="128"/>
                      <a:pt x="132" y="128"/>
                    </a:cubicBezTo>
                    <a:cubicBezTo>
                      <a:pt x="132" y="128"/>
                      <a:pt x="133" y="128"/>
                      <a:pt x="133" y="128"/>
                    </a:cubicBezTo>
                    <a:cubicBezTo>
                      <a:pt x="133" y="128"/>
                      <a:pt x="133" y="127"/>
                      <a:pt x="133" y="127"/>
                    </a:cubicBezTo>
                    <a:cubicBezTo>
                      <a:pt x="133" y="127"/>
                      <a:pt x="133" y="126"/>
                      <a:pt x="134" y="126"/>
                    </a:cubicBezTo>
                    <a:cubicBezTo>
                      <a:pt x="134" y="124"/>
                      <a:pt x="134" y="124"/>
                      <a:pt x="133" y="123"/>
                    </a:cubicBezTo>
                    <a:cubicBezTo>
                      <a:pt x="133" y="122"/>
                      <a:pt x="132" y="122"/>
                      <a:pt x="132" y="121"/>
                    </a:cubicBezTo>
                    <a:cubicBezTo>
                      <a:pt x="132" y="120"/>
                      <a:pt x="132" y="121"/>
                      <a:pt x="133" y="121"/>
                    </a:cubicBezTo>
                    <a:cubicBezTo>
                      <a:pt x="134" y="121"/>
                      <a:pt x="134" y="121"/>
                      <a:pt x="135" y="122"/>
                    </a:cubicBezTo>
                    <a:cubicBezTo>
                      <a:pt x="135" y="122"/>
                      <a:pt x="135" y="123"/>
                      <a:pt x="135" y="123"/>
                    </a:cubicBezTo>
                    <a:cubicBezTo>
                      <a:pt x="135" y="124"/>
                      <a:pt x="133" y="124"/>
                      <a:pt x="134" y="125"/>
                    </a:cubicBezTo>
                    <a:cubicBezTo>
                      <a:pt x="135" y="125"/>
                      <a:pt x="136" y="124"/>
                      <a:pt x="136" y="124"/>
                    </a:cubicBezTo>
                    <a:cubicBezTo>
                      <a:pt x="137" y="124"/>
                      <a:pt x="137" y="124"/>
                      <a:pt x="138" y="124"/>
                    </a:cubicBezTo>
                    <a:cubicBezTo>
                      <a:pt x="139" y="124"/>
                      <a:pt x="139" y="124"/>
                      <a:pt x="140" y="124"/>
                    </a:cubicBezTo>
                    <a:cubicBezTo>
                      <a:pt x="141" y="124"/>
                      <a:pt x="143" y="124"/>
                      <a:pt x="144" y="124"/>
                    </a:cubicBezTo>
                    <a:cubicBezTo>
                      <a:pt x="144" y="125"/>
                      <a:pt x="143" y="125"/>
                      <a:pt x="142" y="126"/>
                    </a:cubicBezTo>
                    <a:cubicBezTo>
                      <a:pt x="141" y="127"/>
                      <a:pt x="141" y="127"/>
                      <a:pt x="140" y="127"/>
                    </a:cubicBezTo>
                    <a:cubicBezTo>
                      <a:pt x="139" y="127"/>
                      <a:pt x="139" y="126"/>
                      <a:pt x="138" y="126"/>
                    </a:cubicBezTo>
                    <a:cubicBezTo>
                      <a:pt x="137" y="126"/>
                      <a:pt x="136" y="126"/>
                      <a:pt x="135" y="126"/>
                    </a:cubicBezTo>
                    <a:cubicBezTo>
                      <a:pt x="135" y="126"/>
                      <a:pt x="136" y="126"/>
                      <a:pt x="136" y="126"/>
                    </a:cubicBezTo>
                    <a:cubicBezTo>
                      <a:pt x="135" y="126"/>
                      <a:pt x="135" y="126"/>
                      <a:pt x="134" y="126"/>
                    </a:cubicBezTo>
                    <a:cubicBezTo>
                      <a:pt x="135" y="126"/>
                      <a:pt x="135" y="126"/>
                      <a:pt x="134" y="126"/>
                    </a:cubicBezTo>
                    <a:cubicBezTo>
                      <a:pt x="135" y="127"/>
                      <a:pt x="135" y="127"/>
                      <a:pt x="135" y="127"/>
                    </a:cubicBezTo>
                    <a:cubicBezTo>
                      <a:pt x="135" y="127"/>
                      <a:pt x="134" y="127"/>
                      <a:pt x="134" y="127"/>
                    </a:cubicBezTo>
                    <a:cubicBezTo>
                      <a:pt x="134" y="127"/>
                      <a:pt x="135" y="128"/>
                      <a:pt x="134" y="128"/>
                    </a:cubicBezTo>
                    <a:cubicBezTo>
                      <a:pt x="135" y="128"/>
                      <a:pt x="133" y="130"/>
                      <a:pt x="134" y="130"/>
                    </a:cubicBezTo>
                    <a:cubicBezTo>
                      <a:pt x="135" y="131"/>
                      <a:pt x="137" y="129"/>
                      <a:pt x="138" y="131"/>
                    </a:cubicBezTo>
                    <a:cubicBezTo>
                      <a:pt x="139" y="133"/>
                      <a:pt x="138" y="136"/>
                      <a:pt x="138" y="138"/>
                    </a:cubicBezTo>
                    <a:cubicBezTo>
                      <a:pt x="139" y="138"/>
                      <a:pt x="139" y="138"/>
                      <a:pt x="139" y="138"/>
                    </a:cubicBezTo>
                    <a:cubicBezTo>
                      <a:pt x="139" y="138"/>
                      <a:pt x="140" y="139"/>
                      <a:pt x="140" y="139"/>
                    </a:cubicBezTo>
                    <a:cubicBezTo>
                      <a:pt x="145" y="141"/>
                      <a:pt x="148" y="144"/>
                      <a:pt x="149" y="145"/>
                    </a:cubicBezTo>
                    <a:cubicBezTo>
                      <a:pt x="150" y="147"/>
                      <a:pt x="152" y="149"/>
                      <a:pt x="152" y="149"/>
                    </a:cubicBezTo>
                    <a:cubicBezTo>
                      <a:pt x="153" y="150"/>
                      <a:pt x="154" y="151"/>
                      <a:pt x="156" y="152"/>
                    </a:cubicBezTo>
                    <a:cubicBezTo>
                      <a:pt x="156" y="153"/>
                      <a:pt x="156" y="153"/>
                      <a:pt x="156" y="153"/>
                    </a:cubicBezTo>
                    <a:cubicBezTo>
                      <a:pt x="157" y="153"/>
                      <a:pt x="157" y="153"/>
                      <a:pt x="157" y="153"/>
                    </a:cubicBezTo>
                    <a:cubicBezTo>
                      <a:pt x="157" y="154"/>
                      <a:pt x="157" y="154"/>
                      <a:pt x="157" y="154"/>
                    </a:cubicBezTo>
                    <a:cubicBezTo>
                      <a:pt x="158" y="154"/>
                      <a:pt x="158" y="155"/>
                      <a:pt x="158" y="155"/>
                    </a:cubicBezTo>
                    <a:cubicBezTo>
                      <a:pt x="158" y="155"/>
                      <a:pt x="158" y="155"/>
                      <a:pt x="159" y="155"/>
                    </a:cubicBezTo>
                    <a:cubicBezTo>
                      <a:pt x="160" y="154"/>
                      <a:pt x="162" y="154"/>
                      <a:pt x="163" y="154"/>
                    </a:cubicBezTo>
                    <a:cubicBezTo>
                      <a:pt x="165" y="154"/>
                      <a:pt x="167" y="153"/>
                      <a:pt x="169" y="153"/>
                    </a:cubicBezTo>
                    <a:cubicBezTo>
                      <a:pt x="171" y="153"/>
                      <a:pt x="173" y="153"/>
                      <a:pt x="176" y="153"/>
                    </a:cubicBezTo>
                    <a:cubicBezTo>
                      <a:pt x="176" y="153"/>
                      <a:pt x="176" y="153"/>
                      <a:pt x="176" y="153"/>
                    </a:cubicBezTo>
                    <a:cubicBezTo>
                      <a:pt x="177" y="153"/>
                      <a:pt x="178" y="153"/>
                      <a:pt x="179" y="153"/>
                    </a:cubicBezTo>
                    <a:cubicBezTo>
                      <a:pt x="182" y="154"/>
                      <a:pt x="182" y="154"/>
                      <a:pt x="182" y="154"/>
                    </a:cubicBezTo>
                    <a:cubicBezTo>
                      <a:pt x="183" y="154"/>
                      <a:pt x="183" y="153"/>
                      <a:pt x="184" y="153"/>
                    </a:cubicBezTo>
                    <a:cubicBezTo>
                      <a:pt x="184" y="153"/>
                      <a:pt x="184" y="153"/>
                      <a:pt x="184" y="153"/>
                    </a:cubicBezTo>
                    <a:cubicBezTo>
                      <a:pt x="184" y="153"/>
                      <a:pt x="184" y="153"/>
                      <a:pt x="184" y="153"/>
                    </a:cubicBezTo>
                    <a:cubicBezTo>
                      <a:pt x="185" y="152"/>
                      <a:pt x="186" y="152"/>
                      <a:pt x="187" y="152"/>
                    </a:cubicBezTo>
                    <a:cubicBezTo>
                      <a:pt x="188" y="152"/>
                      <a:pt x="188" y="152"/>
                      <a:pt x="189" y="153"/>
                    </a:cubicBezTo>
                    <a:cubicBezTo>
                      <a:pt x="189" y="153"/>
                      <a:pt x="190" y="154"/>
                      <a:pt x="191" y="155"/>
                    </a:cubicBezTo>
                    <a:cubicBezTo>
                      <a:pt x="192" y="156"/>
                      <a:pt x="192" y="156"/>
                      <a:pt x="192" y="156"/>
                    </a:cubicBezTo>
                    <a:cubicBezTo>
                      <a:pt x="192" y="156"/>
                      <a:pt x="192" y="156"/>
                      <a:pt x="192" y="156"/>
                    </a:cubicBezTo>
                    <a:cubicBezTo>
                      <a:pt x="193" y="156"/>
                      <a:pt x="193" y="156"/>
                      <a:pt x="193" y="156"/>
                    </a:cubicBezTo>
                    <a:cubicBezTo>
                      <a:pt x="194" y="157"/>
                      <a:pt x="195" y="158"/>
                      <a:pt x="196" y="160"/>
                    </a:cubicBezTo>
                    <a:cubicBezTo>
                      <a:pt x="197" y="161"/>
                      <a:pt x="197" y="161"/>
                      <a:pt x="197" y="161"/>
                    </a:cubicBezTo>
                    <a:cubicBezTo>
                      <a:pt x="197" y="161"/>
                      <a:pt x="197" y="161"/>
                      <a:pt x="197" y="161"/>
                    </a:cubicBezTo>
                    <a:cubicBezTo>
                      <a:pt x="197" y="161"/>
                      <a:pt x="197" y="161"/>
                      <a:pt x="198" y="162"/>
                    </a:cubicBezTo>
                    <a:cubicBezTo>
                      <a:pt x="199" y="161"/>
                      <a:pt x="199" y="161"/>
                      <a:pt x="199" y="161"/>
                    </a:cubicBezTo>
                    <a:cubicBezTo>
                      <a:pt x="199" y="161"/>
                      <a:pt x="200" y="161"/>
                      <a:pt x="200" y="162"/>
                    </a:cubicBezTo>
                    <a:cubicBezTo>
                      <a:pt x="201" y="162"/>
                      <a:pt x="201" y="164"/>
                      <a:pt x="200" y="166"/>
                    </a:cubicBezTo>
                    <a:cubicBezTo>
                      <a:pt x="200" y="166"/>
                      <a:pt x="200" y="166"/>
                      <a:pt x="200" y="166"/>
                    </a:cubicBezTo>
                    <a:cubicBezTo>
                      <a:pt x="200" y="167"/>
                      <a:pt x="200" y="167"/>
                      <a:pt x="200" y="168"/>
                    </a:cubicBezTo>
                    <a:cubicBezTo>
                      <a:pt x="200" y="169"/>
                      <a:pt x="200" y="170"/>
                      <a:pt x="200" y="170"/>
                    </a:cubicBezTo>
                    <a:cubicBezTo>
                      <a:pt x="200" y="171"/>
                      <a:pt x="200" y="171"/>
                      <a:pt x="200" y="171"/>
                    </a:cubicBezTo>
                    <a:cubicBezTo>
                      <a:pt x="200" y="171"/>
                      <a:pt x="200" y="171"/>
                      <a:pt x="200" y="171"/>
                    </a:cubicBezTo>
                    <a:cubicBezTo>
                      <a:pt x="200" y="172"/>
                      <a:pt x="200" y="172"/>
                      <a:pt x="200" y="172"/>
                    </a:cubicBezTo>
                    <a:cubicBezTo>
                      <a:pt x="200" y="173"/>
                      <a:pt x="200" y="173"/>
                      <a:pt x="200" y="173"/>
                    </a:cubicBezTo>
                    <a:cubicBezTo>
                      <a:pt x="200" y="173"/>
                      <a:pt x="200" y="173"/>
                      <a:pt x="200" y="173"/>
                    </a:cubicBezTo>
                    <a:cubicBezTo>
                      <a:pt x="200" y="173"/>
                      <a:pt x="200" y="173"/>
                      <a:pt x="201" y="173"/>
                    </a:cubicBezTo>
                    <a:cubicBezTo>
                      <a:pt x="201" y="173"/>
                      <a:pt x="201" y="173"/>
                      <a:pt x="201" y="173"/>
                    </a:cubicBezTo>
                    <a:cubicBezTo>
                      <a:pt x="202" y="173"/>
                      <a:pt x="203" y="173"/>
                      <a:pt x="204" y="174"/>
                    </a:cubicBezTo>
                    <a:cubicBezTo>
                      <a:pt x="205" y="174"/>
                      <a:pt x="205" y="174"/>
                      <a:pt x="205" y="175"/>
                    </a:cubicBezTo>
                    <a:cubicBezTo>
                      <a:pt x="205" y="175"/>
                      <a:pt x="205" y="176"/>
                      <a:pt x="205" y="176"/>
                    </a:cubicBezTo>
                    <a:cubicBezTo>
                      <a:pt x="205" y="176"/>
                      <a:pt x="205" y="176"/>
                      <a:pt x="205" y="176"/>
                    </a:cubicBezTo>
                    <a:cubicBezTo>
                      <a:pt x="205" y="176"/>
                      <a:pt x="205" y="176"/>
                      <a:pt x="205" y="177"/>
                    </a:cubicBezTo>
                    <a:cubicBezTo>
                      <a:pt x="205" y="178"/>
                      <a:pt x="205" y="179"/>
                      <a:pt x="206" y="180"/>
                    </a:cubicBezTo>
                    <a:cubicBezTo>
                      <a:pt x="206" y="182"/>
                      <a:pt x="206" y="182"/>
                      <a:pt x="206" y="182"/>
                    </a:cubicBezTo>
                    <a:cubicBezTo>
                      <a:pt x="206" y="182"/>
                      <a:pt x="206" y="182"/>
                      <a:pt x="206" y="182"/>
                    </a:cubicBezTo>
                    <a:cubicBezTo>
                      <a:pt x="207" y="183"/>
                      <a:pt x="207" y="183"/>
                      <a:pt x="207" y="183"/>
                    </a:cubicBezTo>
                    <a:cubicBezTo>
                      <a:pt x="215" y="183"/>
                      <a:pt x="215" y="183"/>
                      <a:pt x="215" y="183"/>
                    </a:cubicBezTo>
                    <a:cubicBezTo>
                      <a:pt x="215" y="183"/>
                      <a:pt x="215" y="183"/>
                      <a:pt x="215" y="183"/>
                    </a:cubicBezTo>
                    <a:cubicBezTo>
                      <a:pt x="216" y="183"/>
                      <a:pt x="217" y="183"/>
                      <a:pt x="218" y="183"/>
                    </a:cubicBezTo>
                    <a:cubicBezTo>
                      <a:pt x="218" y="183"/>
                      <a:pt x="218" y="183"/>
                      <a:pt x="218" y="183"/>
                    </a:cubicBezTo>
                    <a:cubicBezTo>
                      <a:pt x="218" y="183"/>
                      <a:pt x="218" y="183"/>
                      <a:pt x="218" y="183"/>
                    </a:cubicBezTo>
                    <a:cubicBezTo>
                      <a:pt x="219" y="183"/>
                      <a:pt x="219" y="183"/>
                      <a:pt x="219" y="183"/>
                    </a:cubicBezTo>
                    <a:cubicBezTo>
                      <a:pt x="219" y="184"/>
                      <a:pt x="219" y="184"/>
                      <a:pt x="219" y="184"/>
                    </a:cubicBezTo>
                    <a:cubicBezTo>
                      <a:pt x="219" y="184"/>
                      <a:pt x="219" y="184"/>
                      <a:pt x="219" y="184"/>
                    </a:cubicBezTo>
                    <a:cubicBezTo>
                      <a:pt x="219" y="184"/>
                      <a:pt x="219" y="184"/>
                      <a:pt x="219" y="184"/>
                    </a:cubicBezTo>
                    <a:cubicBezTo>
                      <a:pt x="219" y="184"/>
                      <a:pt x="219" y="184"/>
                      <a:pt x="219" y="184"/>
                    </a:cubicBezTo>
                    <a:cubicBezTo>
                      <a:pt x="220" y="184"/>
                      <a:pt x="220" y="185"/>
                      <a:pt x="220" y="185"/>
                    </a:cubicBezTo>
                    <a:cubicBezTo>
                      <a:pt x="221" y="185"/>
                      <a:pt x="221" y="185"/>
                      <a:pt x="221" y="186"/>
                    </a:cubicBezTo>
                    <a:cubicBezTo>
                      <a:pt x="221" y="186"/>
                      <a:pt x="221" y="186"/>
                      <a:pt x="221" y="186"/>
                    </a:cubicBezTo>
                    <a:cubicBezTo>
                      <a:pt x="221" y="187"/>
                      <a:pt x="221" y="188"/>
                      <a:pt x="221" y="189"/>
                    </a:cubicBezTo>
                    <a:cubicBezTo>
                      <a:pt x="221" y="189"/>
                      <a:pt x="222" y="190"/>
                      <a:pt x="224" y="190"/>
                    </a:cubicBezTo>
                    <a:cubicBezTo>
                      <a:pt x="224" y="190"/>
                      <a:pt x="224" y="190"/>
                      <a:pt x="224" y="190"/>
                    </a:cubicBezTo>
                    <a:cubicBezTo>
                      <a:pt x="224" y="190"/>
                      <a:pt x="224" y="190"/>
                      <a:pt x="224" y="189"/>
                    </a:cubicBezTo>
                    <a:cubicBezTo>
                      <a:pt x="224" y="188"/>
                      <a:pt x="224" y="188"/>
                      <a:pt x="224" y="188"/>
                    </a:cubicBezTo>
                    <a:cubicBezTo>
                      <a:pt x="224" y="186"/>
                      <a:pt x="225" y="185"/>
                      <a:pt x="227" y="184"/>
                    </a:cubicBezTo>
                    <a:cubicBezTo>
                      <a:pt x="227" y="184"/>
                      <a:pt x="227" y="184"/>
                      <a:pt x="228" y="184"/>
                    </a:cubicBezTo>
                    <a:cubicBezTo>
                      <a:pt x="228" y="183"/>
                      <a:pt x="228" y="183"/>
                      <a:pt x="228" y="183"/>
                    </a:cubicBezTo>
                    <a:cubicBezTo>
                      <a:pt x="228" y="183"/>
                      <a:pt x="228" y="183"/>
                      <a:pt x="228" y="183"/>
                    </a:cubicBezTo>
                    <a:cubicBezTo>
                      <a:pt x="228" y="183"/>
                      <a:pt x="228" y="183"/>
                      <a:pt x="228" y="183"/>
                    </a:cubicBezTo>
                    <a:cubicBezTo>
                      <a:pt x="229" y="182"/>
                      <a:pt x="229" y="182"/>
                      <a:pt x="230" y="181"/>
                    </a:cubicBezTo>
                    <a:cubicBezTo>
                      <a:pt x="230" y="181"/>
                      <a:pt x="230" y="181"/>
                      <a:pt x="230" y="181"/>
                    </a:cubicBezTo>
                    <a:cubicBezTo>
                      <a:pt x="231" y="181"/>
                      <a:pt x="231" y="181"/>
                      <a:pt x="231" y="181"/>
                    </a:cubicBezTo>
                    <a:cubicBezTo>
                      <a:pt x="232" y="180"/>
                      <a:pt x="233" y="180"/>
                      <a:pt x="233" y="179"/>
                    </a:cubicBezTo>
                    <a:cubicBezTo>
                      <a:pt x="235" y="178"/>
                      <a:pt x="236" y="177"/>
                      <a:pt x="238" y="176"/>
                    </a:cubicBezTo>
                    <a:cubicBezTo>
                      <a:pt x="247" y="171"/>
                      <a:pt x="247" y="171"/>
                      <a:pt x="247" y="171"/>
                    </a:cubicBezTo>
                    <a:cubicBezTo>
                      <a:pt x="247" y="171"/>
                      <a:pt x="247" y="170"/>
                      <a:pt x="247" y="170"/>
                    </a:cubicBezTo>
                    <a:cubicBezTo>
                      <a:pt x="247" y="169"/>
                      <a:pt x="247" y="169"/>
                      <a:pt x="248" y="169"/>
                    </a:cubicBezTo>
                    <a:cubicBezTo>
                      <a:pt x="248" y="168"/>
                      <a:pt x="249" y="168"/>
                      <a:pt x="249" y="167"/>
                    </a:cubicBezTo>
                    <a:cubicBezTo>
                      <a:pt x="250" y="167"/>
                      <a:pt x="250" y="167"/>
                      <a:pt x="250" y="167"/>
                    </a:cubicBezTo>
                    <a:cubicBezTo>
                      <a:pt x="250" y="167"/>
                      <a:pt x="250" y="166"/>
                      <a:pt x="250" y="166"/>
                    </a:cubicBezTo>
                    <a:cubicBezTo>
                      <a:pt x="251" y="166"/>
                      <a:pt x="251" y="165"/>
                      <a:pt x="252" y="164"/>
                    </a:cubicBezTo>
                    <a:cubicBezTo>
                      <a:pt x="252" y="164"/>
                      <a:pt x="252" y="164"/>
                      <a:pt x="252" y="164"/>
                    </a:cubicBezTo>
                    <a:cubicBezTo>
                      <a:pt x="253" y="164"/>
                      <a:pt x="254" y="164"/>
                      <a:pt x="255" y="164"/>
                    </a:cubicBezTo>
                    <a:cubicBezTo>
                      <a:pt x="255" y="164"/>
                      <a:pt x="255" y="164"/>
                      <a:pt x="255" y="164"/>
                    </a:cubicBezTo>
                    <a:cubicBezTo>
                      <a:pt x="255" y="164"/>
                      <a:pt x="255" y="164"/>
                      <a:pt x="255" y="164"/>
                    </a:cubicBezTo>
                    <a:cubicBezTo>
                      <a:pt x="260" y="164"/>
                      <a:pt x="260" y="164"/>
                      <a:pt x="260" y="164"/>
                    </a:cubicBezTo>
                    <a:cubicBezTo>
                      <a:pt x="262" y="164"/>
                      <a:pt x="263" y="164"/>
                      <a:pt x="264" y="165"/>
                    </a:cubicBezTo>
                    <a:cubicBezTo>
                      <a:pt x="266" y="165"/>
                      <a:pt x="269" y="166"/>
                      <a:pt x="271" y="167"/>
                    </a:cubicBezTo>
                    <a:cubicBezTo>
                      <a:pt x="272" y="167"/>
                      <a:pt x="272" y="167"/>
                      <a:pt x="272" y="167"/>
                    </a:cubicBezTo>
                    <a:cubicBezTo>
                      <a:pt x="273" y="167"/>
                      <a:pt x="273" y="167"/>
                      <a:pt x="273" y="167"/>
                    </a:cubicBezTo>
                    <a:cubicBezTo>
                      <a:pt x="273" y="165"/>
                      <a:pt x="274" y="161"/>
                      <a:pt x="277" y="160"/>
                    </a:cubicBezTo>
                    <a:cubicBezTo>
                      <a:pt x="276" y="157"/>
                      <a:pt x="276" y="157"/>
                      <a:pt x="276" y="157"/>
                    </a:cubicBezTo>
                    <a:cubicBezTo>
                      <a:pt x="277" y="159"/>
                      <a:pt x="277" y="159"/>
                      <a:pt x="277" y="159"/>
                    </a:cubicBezTo>
                    <a:cubicBezTo>
                      <a:pt x="279" y="159"/>
                      <a:pt x="280" y="158"/>
                      <a:pt x="281" y="158"/>
                    </a:cubicBezTo>
                    <a:cubicBezTo>
                      <a:pt x="282" y="158"/>
                      <a:pt x="282" y="158"/>
                      <a:pt x="282" y="158"/>
                    </a:cubicBezTo>
                    <a:cubicBezTo>
                      <a:pt x="282" y="159"/>
                      <a:pt x="282" y="159"/>
                      <a:pt x="282" y="159"/>
                    </a:cubicBezTo>
                    <a:cubicBezTo>
                      <a:pt x="283" y="159"/>
                      <a:pt x="284" y="159"/>
                      <a:pt x="285" y="159"/>
                    </a:cubicBezTo>
                    <a:cubicBezTo>
                      <a:pt x="286" y="160"/>
                      <a:pt x="287" y="160"/>
                      <a:pt x="287" y="160"/>
                    </a:cubicBezTo>
                    <a:cubicBezTo>
                      <a:pt x="287" y="160"/>
                      <a:pt x="287" y="161"/>
                      <a:pt x="287" y="161"/>
                    </a:cubicBezTo>
                    <a:cubicBezTo>
                      <a:pt x="288" y="161"/>
                      <a:pt x="288" y="161"/>
                      <a:pt x="288" y="161"/>
                    </a:cubicBezTo>
                    <a:cubicBezTo>
                      <a:pt x="288" y="161"/>
                      <a:pt x="289" y="161"/>
                      <a:pt x="289" y="161"/>
                    </a:cubicBezTo>
                    <a:cubicBezTo>
                      <a:pt x="290" y="162"/>
                      <a:pt x="290" y="162"/>
                      <a:pt x="290" y="162"/>
                    </a:cubicBezTo>
                    <a:cubicBezTo>
                      <a:pt x="290" y="162"/>
                      <a:pt x="291" y="162"/>
                      <a:pt x="291" y="162"/>
                    </a:cubicBezTo>
                    <a:cubicBezTo>
                      <a:pt x="292" y="162"/>
                      <a:pt x="292" y="162"/>
                      <a:pt x="292" y="162"/>
                    </a:cubicBezTo>
                    <a:cubicBezTo>
                      <a:pt x="292" y="162"/>
                      <a:pt x="292" y="162"/>
                      <a:pt x="293" y="162"/>
                    </a:cubicBezTo>
                    <a:cubicBezTo>
                      <a:pt x="293" y="163"/>
                      <a:pt x="293" y="163"/>
                      <a:pt x="293" y="163"/>
                    </a:cubicBezTo>
                    <a:cubicBezTo>
                      <a:pt x="294" y="163"/>
                      <a:pt x="294" y="163"/>
                      <a:pt x="294" y="163"/>
                    </a:cubicBezTo>
                    <a:cubicBezTo>
                      <a:pt x="294" y="163"/>
                      <a:pt x="295" y="163"/>
                      <a:pt x="295" y="163"/>
                    </a:cubicBezTo>
                    <a:cubicBezTo>
                      <a:pt x="295" y="162"/>
                      <a:pt x="295" y="162"/>
                      <a:pt x="295" y="162"/>
                    </a:cubicBezTo>
                    <a:cubicBezTo>
                      <a:pt x="296" y="162"/>
                      <a:pt x="296" y="162"/>
                      <a:pt x="296" y="162"/>
                    </a:cubicBezTo>
                    <a:cubicBezTo>
                      <a:pt x="297" y="162"/>
                      <a:pt x="297" y="162"/>
                      <a:pt x="298" y="162"/>
                    </a:cubicBezTo>
                    <a:cubicBezTo>
                      <a:pt x="298" y="162"/>
                      <a:pt x="298" y="162"/>
                      <a:pt x="298" y="162"/>
                    </a:cubicBezTo>
                    <a:cubicBezTo>
                      <a:pt x="298" y="162"/>
                      <a:pt x="299" y="162"/>
                      <a:pt x="299" y="162"/>
                    </a:cubicBezTo>
                    <a:cubicBezTo>
                      <a:pt x="301" y="161"/>
                      <a:pt x="302" y="161"/>
                      <a:pt x="304" y="162"/>
                    </a:cubicBezTo>
                    <a:cubicBezTo>
                      <a:pt x="304" y="162"/>
                      <a:pt x="304" y="162"/>
                      <a:pt x="304" y="162"/>
                    </a:cubicBezTo>
                    <a:cubicBezTo>
                      <a:pt x="305" y="162"/>
                      <a:pt x="306" y="162"/>
                      <a:pt x="307" y="162"/>
                    </a:cubicBezTo>
                    <a:cubicBezTo>
                      <a:pt x="308" y="162"/>
                      <a:pt x="308" y="162"/>
                      <a:pt x="308" y="162"/>
                    </a:cubicBezTo>
                    <a:cubicBezTo>
                      <a:pt x="310" y="162"/>
                      <a:pt x="312" y="162"/>
                      <a:pt x="314" y="162"/>
                    </a:cubicBezTo>
                    <a:cubicBezTo>
                      <a:pt x="314" y="160"/>
                      <a:pt x="314" y="160"/>
                      <a:pt x="314" y="160"/>
                    </a:cubicBezTo>
                    <a:cubicBezTo>
                      <a:pt x="315" y="162"/>
                      <a:pt x="315" y="162"/>
                      <a:pt x="315" y="162"/>
                    </a:cubicBezTo>
                    <a:cubicBezTo>
                      <a:pt x="315" y="162"/>
                      <a:pt x="315" y="162"/>
                      <a:pt x="315" y="162"/>
                    </a:cubicBezTo>
                    <a:cubicBezTo>
                      <a:pt x="316" y="162"/>
                      <a:pt x="317" y="162"/>
                      <a:pt x="317" y="162"/>
                    </a:cubicBezTo>
                    <a:cubicBezTo>
                      <a:pt x="319" y="162"/>
                      <a:pt x="322" y="162"/>
                      <a:pt x="324" y="162"/>
                    </a:cubicBezTo>
                    <a:cubicBezTo>
                      <a:pt x="324" y="162"/>
                      <a:pt x="324" y="162"/>
                      <a:pt x="324" y="162"/>
                    </a:cubicBezTo>
                    <a:cubicBezTo>
                      <a:pt x="325" y="162"/>
                      <a:pt x="325" y="162"/>
                      <a:pt x="326" y="162"/>
                    </a:cubicBezTo>
                    <a:cubicBezTo>
                      <a:pt x="326" y="162"/>
                      <a:pt x="327" y="162"/>
                      <a:pt x="327" y="163"/>
                    </a:cubicBezTo>
                    <a:cubicBezTo>
                      <a:pt x="327" y="163"/>
                      <a:pt x="328" y="163"/>
                      <a:pt x="328" y="163"/>
                    </a:cubicBezTo>
                    <a:cubicBezTo>
                      <a:pt x="329" y="163"/>
                      <a:pt x="329" y="163"/>
                      <a:pt x="329" y="163"/>
                    </a:cubicBezTo>
                    <a:cubicBezTo>
                      <a:pt x="330" y="163"/>
                      <a:pt x="330" y="164"/>
                      <a:pt x="331" y="164"/>
                    </a:cubicBezTo>
                    <a:cubicBezTo>
                      <a:pt x="331" y="164"/>
                      <a:pt x="331" y="164"/>
                      <a:pt x="331" y="164"/>
                    </a:cubicBezTo>
                    <a:cubicBezTo>
                      <a:pt x="331" y="163"/>
                      <a:pt x="332" y="163"/>
                      <a:pt x="332" y="163"/>
                    </a:cubicBezTo>
                    <a:cubicBezTo>
                      <a:pt x="332" y="163"/>
                      <a:pt x="332" y="163"/>
                      <a:pt x="332" y="163"/>
                    </a:cubicBezTo>
                    <a:cubicBezTo>
                      <a:pt x="333" y="163"/>
                      <a:pt x="333" y="163"/>
                      <a:pt x="333" y="163"/>
                    </a:cubicBezTo>
                    <a:cubicBezTo>
                      <a:pt x="334" y="164"/>
                      <a:pt x="335" y="165"/>
                      <a:pt x="335" y="166"/>
                    </a:cubicBezTo>
                    <a:cubicBezTo>
                      <a:pt x="335" y="167"/>
                      <a:pt x="335" y="167"/>
                      <a:pt x="335" y="167"/>
                    </a:cubicBezTo>
                    <a:cubicBezTo>
                      <a:pt x="336" y="167"/>
                      <a:pt x="336" y="167"/>
                      <a:pt x="338" y="168"/>
                    </a:cubicBezTo>
                    <a:cubicBezTo>
                      <a:pt x="338" y="168"/>
                      <a:pt x="338" y="168"/>
                      <a:pt x="338" y="168"/>
                    </a:cubicBezTo>
                    <a:cubicBezTo>
                      <a:pt x="338" y="168"/>
                      <a:pt x="338" y="168"/>
                      <a:pt x="339" y="168"/>
                    </a:cubicBezTo>
                    <a:cubicBezTo>
                      <a:pt x="339" y="168"/>
                      <a:pt x="339" y="168"/>
                      <a:pt x="339" y="168"/>
                    </a:cubicBezTo>
                    <a:cubicBezTo>
                      <a:pt x="340" y="168"/>
                      <a:pt x="340" y="168"/>
                      <a:pt x="341" y="168"/>
                    </a:cubicBezTo>
                    <a:cubicBezTo>
                      <a:pt x="341" y="168"/>
                      <a:pt x="341" y="169"/>
                      <a:pt x="342" y="169"/>
                    </a:cubicBezTo>
                    <a:cubicBezTo>
                      <a:pt x="342" y="169"/>
                      <a:pt x="342" y="169"/>
                      <a:pt x="342" y="169"/>
                    </a:cubicBezTo>
                    <a:cubicBezTo>
                      <a:pt x="342" y="169"/>
                      <a:pt x="342" y="169"/>
                      <a:pt x="342" y="169"/>
                    </a:cubicBezTo>
                    <a:cubicBezTo>
                      <a:pt x="342" y="168"/>
                      <a:pt x="342" y="168"/>
                      <a:pt x="342" y="168"/>
                    </a:cubicBezTo>
                    <a:cubicBezTo>
                      <a:pt x="342" y="167"/>
                      <a:pt x="342" y="166"/>
                      <a:pt x="342" y="164"/>
                    </a:cubicBezTo>
                    <a:cubicBezTo>
                      <a:pt x="343" y="163"/>
                      <a:pt x="344" y="163"/>
                      <a:pt x="344" y="163"/>
                    </a:cubicBezTo>
                    <a:cubicBezTo>
                      <a:pt x="344" y="163"/>
                      <a:pt x="344" y="163"/>
                      <a:pt x="344" y="163"/>
                    </a:cubicBezTo>
                    <a:cubicBezTo>
                      <a:pt x="344" y="162"/>
                      <a:pt x="344" y="162"/>
                      <a:pt x="344" y="161"/>
                    </a:cubicBezTo>
                    <a:cubicBezTo>
                      <a:pt x="344" y="160"/>
                      <a:pt x="346" y="160"/>
                      <a:pt x="347" y="159"/>
                    </a:cubicBezTo>
                    <a:cubicBezTo>
                      <a:pt x="347" y="159"/>
                      <a:pt x="348" y="159"/>
                      <a:pt x="348" y="159"/>
                    </a:cubicBezTo>
                    <a:cubicBezTo>
                      <a:pt x="348" y="159"/>
                      <a:pt x="348" y="158"/>
                      <a:pt x="348" y="157"/>
                    </a:cubicBezTo>
                    <a:cubicBezTo>
                      <a:pt x="347" y="157"/>
                      <a:pt x="347" y="157"/>
                      <a:pt x="347" y="157"/>
                    </a:cubicBezTo>
                    <a:cubicBezTo>
                      <a:pt x="347" y="157"/>
                      <a:pt x="347" y="157"/>
                      <a:pt x="347" y="157"/>
                    </a:cubicBezTo>
                    <a:cubicBezTo>
                      <a:pt x="347" y="156"/>
                      <a:pt x="347" y="156"/>
                      <a:pt x="347" y="156"/>
                    </a:cubicBezTo>
                    <a:cubicBezTo>
                      <a:pt x="347" y="156"/>
                      <a:pt x="347" y="156"/>
                      <a:pt x="347" y="156"/>
                    </a:cubicBezTo>
                    <a:cubicBezTo>
                      <a:pt x="346" y="155"/>
                      <a:pt x="346" y="154"/>
                      <a:pt x="346" y="153"/>
                    </a:cubicBezTo>
                    <a:cubicBezTo>
                      <a:pt x="345" y="152"/>
                      <a:pt x="345" y="152"/>
                      <a:pt x="345" y="151"/>
                    </a:cubicBezTo>
                    <a:cubicBezTo>
                      <a:pt x="344" y="150"/>
                      <a:pt x="344" y="148"/>
                      <a:pt x="344" y="147"/>
                    </a:cubicBezTo>
                    <a:cubicBezTo>
                      <a:pt x="344" y="146"/>
                      <a:pt x="344" y="146"/>
                      <a:pt x="344" y="146"/>
                    </a:cubicBezTo>
                    <a:cubicBezTo>
                      <a:pt x="343" y="145"/>
                      <a:pt x="343" y="143"/>
                      <a:pt x="344" y="142"/>
                    </a:cubicBezTo>
                    <a:cubicBezTo>
                      <a:pt x="344" y="141"/>
                      <a:pt x="344" y="141"/>
                      <a:pt x="344" y="141"/>
                    </a:cubicBezTo>
                    <a:cubicBezTo>
                      <a:pt x="344" y="141"/>
                      <a:pt x="343" y="141"/>
                      <a:pt x="343" y="141"/>
                    </a:cubicBezTo>
                    <a:cubicBezTo>
                      <a:pt x="343" y="141"/>
                      <a:pt x="343" y="141"/>
                      <a:pt x="343" y="141"/>
                    </a:cubicBezTo>
                    <a:cubicBezTo>
                      <a:pt x="342" y="141"/>
                      <a:pt x="341" y="141"/>
                      <a:pt x="340" y="140"/>
                    </a:cubicBezTo>
                    <a:cubicBezTo>
                      <a:pt x="339" y="140"/>
                      <a:pt x="339" y="140"/>
                      <a:pt x="339" y="140"/>
                    </a:cubicBezTo>
                    <a:cubicBezTo>
                      <a:pt x="339" y="140"/>
                      <a:pt x="338" y="139"/>
                      <a:pt x="339" y="138"/>
                    </a:cubicBezTo>
                    <a:cubicBezTo>
                      <a:pt x="340" y="136"/>
                      <a:pt x="341" y="136"/>
                      <a:pt x="342" y="136"/>
                    </a:cubicBezTo>
                    <a:cubicBezTo>
                      <a:pt x="343" y="135"/>
                      <a:pt x="343" y="135"/>
                      <a:pt x="343" y="135"/>
                    </a:cubicBezTo>
                    <a:cubicBezTo>
                      <a:pt x="345" y="135"/>
                      <a:pt x="347" y="134"/>
                      <a:pt x="349" y="134"/>
                    </a:cubicBezTo>
                    <a:cubicBezTo>
                      <a:pt x="355" y="132"/>
                      <a:pt x="355" y="132"/>
                      <a:pt x="355" y="132"/>
                    </a:cubicBezTo>
                    <a:cubicBezTo>
                      <a:pt x="355" y="132"/>
                      <a:pt x="356" y="132"/>
                      <a:pt x="356" y="132"/>
                    </a:cubicBezTo>
                    <a:cubicBezTo>
                      <a:pt x="356" y="132"/>
                      <a:pt x="356" y="132"/>
                      <a:pt x="356" y="132"/>
                    </a:cubicBezTo>
                    <a:cubicBezTo>
                      <a:pt x="357" y="132"/>
                      <a:pt x="358" y="131"/>
                      <a:pt x="359" y="131"/>
                    </a:cubicBezTo>
                    <a:cubicBezTo>
                      <a:pt x="360" y="132"/>
                      <a:pt x="360" y="133"/>
                      <a:pt x="361" y="133"/>
                    </a:cubicBezTo>
                    <a:cubicBezTo>
                      <a:pt x="361" y="133"/>
                      <a:pt x="361" y="133"/>
                      <a:pt x="361" y="133"/>
                    </a:cubicBezTo>
                    <a:cubicBezTo>
                      <a:pt x="361" y="134"/>
                      <a:pt x="362" y="133"/>
                      <a:pt x="362" y="133"/>
                    </a:cubicBezTo>
                    <a:cubicBezTo>
                      <a:pt x="363" y="133"/>
                      <a:pt x="363" y="133"/>
                      <a:pt x="364" y="133"/>
                    </a:cubicBezTo>
                    <a:cubicBezTo>
                      <a:pt x="364" y="133"/>
                      <a:pt x="364" y="133"/>
                      <a:pt x="364" y="133"/>
                    </a:cubicBezTo>
                    <a:cubicBezTo>
                      <a:pt x="365" y="133"/>
                      <a:pt x="366" y="133"/>
                      <a:pt x="367" y="133"/>
                    </a:cubicBezTo>
                    <a:cubicBezTo>
                      <a:pt x="367" y="133"/>
                      <a:pt x="367" y="132"/>
                      <a:pt x="367" y="132"/>
                    </a:cubicBezTo>
                    <a:cubicBezTo>
                      <a:pt x="367" y="132"/>
                      <a:pt x="366" y="132"/>
                      <a:pt x="366" y="132"/>
                    </a:cubicBezTo>
                    <a:cubicBezTo>
                      <a:pt x="366" y="132"/>
                      <a:pt x="366" y="132"/>
                      <a:pt x="366" y="132"/>
                    </a:cubicBezTo>
                    <a:cubicBezTo>
                      <a:pt x="365" y="132"/>
                      <a:pt x="364" y="132"/>
                      <a:pt x="364" y="131"/>
                    </a:cubicBezTo>
                    <a:cubicBezTo>
                      <a:pt x="363" y="131"/>
                      <a:pt x="363" y="130"/>
                      <a:pt x="364" y="130"/>
                    </a:cubicBezTo>
                    <a:cubicBezTo>
                      <a:pt x="370" y="110"/>
                      <a:pt x="370" y="110"/>
                      <a:pt x="370" y="110"/>
                    </a:cubicBezTo>
                    <a:cubicBezTo>
                      <a:pt x="371" y="109"/>
                      <a:pt x="371" y="107"/>
                      <a:pt x="374" y="108"/>
                    </a:cubicBezTo>
                    <a:cubicBezTo>
                      <a:pt x="375" y="108"/>
                      <a:pt x="376" y="108"/>
                      <a:pt x="377" y="109"/>
                    </a:cubicBezTo>
                    <a:cubicBezTo>
                      <a:pt x="377" y="109"/>
                      <a:pt x="377" y="109"/>
                      <a:pt x="377" y="109"/>
                    </a:cubicBezTo>
                    <a:cubicBezTo>
                      <a:pt x="379" y="110"/>
                      <a:pt x="382" y="111"/>
                      <a:pt x="383" y="111"/>
                    </a:cubicBezTo>
                    <a:cubicBezTo>
                      <a:pt x="385" y="110"/>
                      <a:pt x="389" y="111"/>
                      <a:pt x="390" y="111"/>
                    </a:cubicBezTo>
                    <a:cubicBezTo>
                      <a:pt x="392" y="112"/>
                      <a:pt x="392" y="111"/>
                      <a:pt x="394" y="110"/>
                    </a:cubicBezTo>
                    <a:cubicBezTo>
                      <a:pt x="395" y="110"/>
                      <a:pt x="395" y="110"/>
                      <a:pt x="395" y="110"/>
                    </a:cubicBezTo>
                    <a:cubicBezTo>
                      <a:pt x="397" y="109"/>
                      <a:pt x="398" y="108"/>
                      <a:pt x="398" y="107"/>
                    </a:cubicBezTo>
                    <a:cubicBezTo>
                      <a:pt x="398" y="105"/>
                      <a:pt x="398" y="104"/>
                      <a:pt x="397" y="103"/>
                    </a:cubicBezTo>
                    <a:cubicBezTo>
                      <a:pt x="397" y="101"/>
                      <a:pt x="397" y="100"/>
                      <a:pt x="397" y="99"/>
                    </a:cubicBezTo>
                    <a:cubicBezTo>
                      <a:pt x="397" y="97"/>
                      <a:pt x="398" y="93"/>
                      <a:pt x="400" y="92"/>
                    </a:cubicBezTo>
                    <a:cubicBezTo>
                      <a:pt x="401" y="92"/>
                      <a:pt x="402" y="92"/>
                      <a:pt x="402" y="92"/>
                    </a:cubicBezTo>
                    <a:cubicBezTo>
                      <a:pt x="402" y="92"/>
                      <a:pt x="403" y="92"/>
                      <a:pt x="403" y="92"/>
                    </a:cubicBezTo>
                    <a:cubicBezTo>
                      <a:pt x="404" y="92"/>
                      <a:pt x="406" y="91"/>
                      <a:pt x="407" y="91"/>
                    </a:cubicBezTo>
                    <a:cubicBezTo>
                      <a:pt x="408" y="90"/>
                      <a:pt x="409" y="89"/>
                      <a:pt x="409" y="89"/>
                    </a:cubicBezTo>
                    <a:cubicBezTo>
                      <a:pt x="409" y="89"/>
                      <a:pt x="409" y="89"/>
                      <a:pt x="409" y="89"/>
                    </a:cubicBezTo>
                    <a:cubicBezTo>
                      <a:pt x="409" y="88"/>
                      <a:pt x="409" y="88"/>
                      <a:pt x="409" y="88"/>
                    </a:cubicBezTo>
                    <a:cubicBezTo>
                      <a:pt x="409" y="88"/>
                      <a:pt x="409" y="87"/>
                      <a:pt x="409" y="87"/>
                    </a:cubicBezTo>
                    <a:cubicBezTo>
                      <a:pt x="409" y="87"/>
                      <a:pt x="409" y="86"/>
                      <a:pt x="409" y="86"/>
                    </a:cubicBezTo>
                    <a:cubicBezTo>
                      <a:pt x="409" y="86"/>
                      <a:pt x="409" y="86"/>
                      <a:pt x="409" y="86"/>
                    </a:cubicBezTo>
                    <a:cubicBezTo>
                      <a:pt x="410" y="84"/>
                      <a:pt x="410" y="83"/>
                      <a:pt x="411" y="83"/>
                    </a:cubicBezTo>
                    <a:cubicBezTo>
                      <a:pt x="411" y="83"/>
                      <a:pt x="412" y="83"/>
                      <a:pt x="412" y="83"/>
                    </a:cubicBezTo>
                    <a:cubicBezTo>
                      <a:pt x="412" y="83"/>
                      <a:pt x="412" y="83"/>
                      <a:pt x="412" y="83"/>
                    </a:cubicBezTo>
                    <a:cubicBezTo>
                      <a:pt x="411" y="82"/>
                      <a:pt x="410" y="81"/>
                      <a:pt x="409" y="80"/>
                    </a:cubicBezTo>
                    <a:cubicBezTo>
                      <a:pt x="408" y="79"/>
                      <a:pt x="408" y="79"/>
                      <a:pt x="408" y="79"/>
                    </a:cubicBezTo>
                    <a:cubicBezTo>
                      <a:pt x="408" y="79"/>
                      <a:pt x="407" y="78"/>
                      <a:pt x="407" y="78"/>
                    </a:cubicBezTo>
                    <a:cubicBezTo>
                      <a:pt x="407" y="78"/>
                      <a:pt x="407" y="78"/>
                      <a:pt x="407" y="79"/>
                    </a:cubicBezTo>
                    <a:cubicBezTo>
                      <a:pt x="404" y="81"/>
                      <a:pt x="404" y="81"/>
                      <a:pt x="404" y="81"/>
                    </a:cubicBezTo>
                    <a:cubicBezTo>
                      <a:pt x="403" y="80"/>
                      <a:pt x="403" y="80"/>
                      <a:pt x="403" y="80"/>
                    </a:cubicBezTo>
                    <a:cubicBezTo>
                      <a:pt x="403" y="80"/>
                      <a:pt x="403" y="80"/>
                      <a:pt x="403" y="80"/>
                    </a:cubicBezTo>
                    <a:cubicBezTo>
                      <a:pt x="402" y="80"/>
                      <a:pt x="402" y="80"/>
                      <a:pt x="402" y="80"/>
                    </a:cubicBezTo>
                    <a:cubicBezTo>
                      <a:pt x="401" y="80"/>
                      <a:pt x="401" y="80"/>
                      <a:pt x="401" y="80"/>
                    </a:cubicBezTo>
                    <a:cubicBezTo>
                      <a:pt x="401" y="80"/>
                      <a:pt x="401" y="80"/>
                      <a:pt x="401" y="80"/>
                    </a:cubicBezTo>
                    <a:cubicBezTo>
                      <a:pt x="401" y="80"/>
                      <a:pt x="401" y="80"/>
                      <a:pt x="401" y="80"/>
                    </a:cubicBezTo>
                    <a:cubicBezTo>
                      <a:pt x="400" y="80"/>
                      <a:pt x="400" y="80"/>
                      <a:pt x="400" y="80"/>
                    </a:cubicBezTo>
                    <a:cubicBezTo>
                      <a:pt x="400" y="79"/>
                      <a:pt x="400" y="79"/>
                      <a:pt x="400" y="79"/>
                    </a:cubicBezTo>
                    <a:cubicBezTo>
                      <a:pt x="394" y="79"/>
                      <a:pt x="394" y="79"/>
                      <a:pt x="394" y="79"/>
                    </a:cubicBezTo>
                    <a:cubicBezTo>
                      <a:pt x="393" y="78"/>
                      <a:pt x="393" y="78"/>
                      <a:pt x="393" y="78"/>
                    </a:cubicBezTo>
                    <a:cubicBezTo>
                      <a:pt x="393" y="78"/>
                      <a:pt x="393" y="78"/>
                      <a:pt x="393" y="78"/>
                    </a:cubicBezTo>
                    <a:cubicBezTo>
                      <a:pt x="393" y="77"/>
                      <a:pt x="393" y="77"/>
                      <a:pt x="393" y="77"/>
                    </a:cubicBezTo>
                    <a:cubicBezTo>
                      <a:pt x="393" y="77"/>
                      <a:pt x="393" y="77"/>
                      <a:pt x="393" y="77"/>
                    </a:cubicBezTo>
                    <a:cubicBezTo>
                      <a:pt x="393" y="77"/>
                      <a:pt x="393" y="77"/>
                      <a:pt x="393" y="77"/>
                    </a:cubicBezTo>
                    <a:cubicBezTo>
                      <a:pt x="393" y="77"/>
                      <a:pt x="393" y="77"/>
                      <a:pt x="393" y="76"/>
                    </a:cubicBezTo>
                    <a:cubicBezTo>
                      <a:pt x="393" y="76"/>
                      <a:pt x="392" y="76"/>
                      <a:pt x="392" y="76"/>
                    </a:cubicBezTo>
                    <a:cubicBezTo>
                      <a:pt x="392" y="76"/>
                      <a:pt x="392" y="75"/>
                      <a:pt x="392" y="75"/>
                    </a:cubicBezTo>
                    <a:cubicBezTo>
                      <a:pt x="392" y="75"/>
                      <a:pt x="392" y="75"/>
                      <a:pt x="392" y="75"/>
                    </a:cubicBezTo>
                    <a:cubicBezTo>
                      <a:pt x="392" y="75"/>
                      <a:pt x="391" y="75"/>
                      <a:pt x="391" y="74"/>
                    </a:cubicBezTo>
                    <a:cubicBezTo>
                      <a:pt x="391" y="74"/>
                      <a:pt x="391" y="74"/>
                      <a:pt x="391" y="74"/>
                    </a:cubicBezTo>
                    <a:cubicBezTo>
                      <a:pt x="391" y="73"/>
                      <a:pt x="391" y="73"/>
                      <a:pt x="391" y="73"/>
                    </a:cubicBezTo>
                    <a:cubicBezTo>
                      <a:pt x="391" y="72"/>
                      <a:pt x="391" y="72"/>
                      <a:pt x="391" y="72"/>
                    </a:cubicBezTo>
                    <a:cubicBezTo>
                      <a:pt x="386" y="70"/>
                      <a:pt x="386" y="70"/>
                      <a:pt x="386" y="70"/>
                    </a:cubicBezTo>
                    <a:cubicBezTo>
                      <a:pt x="386" y="70"/>
                      <a:pt x="386" y="70"/>
                      <a:pt x="386" y="70"/>
                    </a:cubicBezTo>
                    <a:cubicBezTo>
                      <a:pt x="386" y="70"/>
                      <a:pt x="386" y="70"/>
                      <a:pt x="386" y="70"/>
                    </a:cubicBezTo>
                    <a:cubicBezTo>
                      <a:pt x="385" y="70"/>
                      <a:pt x="385" y="70"/>
                      <a:pt x="385" y="70"/>
                    </a:cubicBezTo>
                    <a:cubicBezTo>
                      <a:pt x="384" y="70"/>
                      <a:pt x="384" y="70"/>
                      <a:pt x="384" y="70"/>
                    </a:cubicBezTo>
                    <a:cubicBezTo>
                      <a:pt x="383" y="69"/>
                      <a:pt x="383" y="69"/>
                      <a:pt x="383" y="69"/>
                    </a:cubicBezTo>
                    <a:cubicBezTo>
                      <a:pt x="383" y="69"/>
                      <a:pt x="383" y="68"/>
                      <a:pt x="383" y="67"/>
                    </a:cubicBezTo>
                    <a:cubicBezTo>
                      <a:pt x="383" y="67"/>
                      <a:pt x="383" y="67"/>
                      <a:pt x="383" y="67"/>
                    </a:cubicBezTo>
                    <a:cubicBezTo>
                      <a:pt x="383" y="67"/>
                      <a:pt x="383" y="67"/>
                      <a:pt x="383" y="67"/>
                    </a:cubicBezTo>
                    <a:cubicBezTo>
                      <a:pt x="383" y="66"/>
                      <a:pt x="383" y="66"/>
                      <a:pt x="383" y="66"/>
                    </a:cubicBezTo>
                    <a:cubicBezTo>
                      <a:pt x="382" y="65"/>
                      <a:pt x="382" y="65"/>
                      <a:pt x="382" y="64"/>
                    </a:cubicBezTo>
                    <a:cubicBezTo>
                      <a:pt x="381" y="62"/>
                      <a:pt x="381" y="62"/>
                      <a:pt x="381" y="62"/>
                    </a:cubicBezTo>
                    <a:cubicBezTo>
                      <a:pt x="380" y="62"/>
                      <a:pt x="380" y="62"/>
                      <a:pt x="380" y="62"/>
                    </a:cubicBezTo>
                    <a:cubicBezTo>
                      <a:pt x="380" y="62"/>
                      <a:pt x="379" y="62"/>
                      <a:pt x="379" y="62"/>
                    </a:cubicBezTo>
                    <a:cubicBezTo>
                      <a:pt x="379" y="61"/>
                      <a:pt x="378" y="61"/>
                      <a:pt x="378" y="61"/>
                    </a:cubicBezTo>
                    <a:cubicBezTo>
                      <a:pt x="373" y="60"/>
                      <a:pt x="373" y="60"/>
                      <a:pt x="373" y="60"/>
                    </a:cubicBezTo>
                    <a:cubicBezTo>
                      <a:pt x="370" y="61"/>
                      <a:pt x="370" y="61"/>
                      <a:pt x="370" y="61"/>
                    </a:cubicBezTo>
                    <a:cubicBezTo>
                      <a:pt x="370" y="61"/>
                      <a:pt x="370" y="61"/>
                      <a:pt x="370" y="61"/>
                    </a:cubicBezTo>
                    <a:cubicBezTo>
                      <a:pt x="369" y="63"/>
                      <a:pt x="369" y="63"/>
                      <a:pt x="369" y="63"/>
                    </a:cubicBezTo>
                    <a:cubicBezTo>
                      <a:pt x="369" y="63"/>
                      <a:pt x="369" y="63"/>
                      <a:pt x="369" y="63"/>
                    </a:cubicBezTo>
                    <a:cubicBezTo>
                      <a:pt x="369" y="63"/>
                      <a:pt x="369" y="63"/>
                      <a:pt x="369" y="63"/>
                    </a:cubicBezTo>
                    <a:cubicBezTo>
                      <a:pt x="368" y="63"/>
                      <a:pt x="368" y="63"/>
                      <a:pt x="368" y="63"/>
                    </a:cubicBezTo>
                    <a:cubicBezTo>
                      <a:pt x="368" y="63"/>
                      <a:pt x="368" y="63"/>
                      <a:pt x="368" y="63"/>
                    </a:cubicBezTo>
                    <a:cubicBezTo>
                      <a:pt x="367" y="64"/>
                      <a:pt x="367" y="64"/>
                      <a:pt x="367" y="64"/>
                    </a:cubicBezTo>
                    <a:cubicBezTo>
                      <a:pt x="367" y="64"/>
                      <a:pt x="367" y="64"/>
                      <a:pt x="367" y="64"/>
                    </a:cubicBezTo>
                    <a:cubicBezTo>
                      <a:pt x="365" y="64"/>
                      <a:pt x="365" y="64"/>
                      <a:pt x="365" y="64"/>
                    </a:cubicBezTo>
                    <a:cubicBezTo>
                      <a:pt x="361" y="63"/>
                      <a:pt x="361" y="63"/>
                      <a:pt x="361" y="63"/>
                    </a:cubicBezTo>
                    <a:cubicBezTo>
                      <a:pt x="360" y="63"/>
                      <a:pt x="360" y="63"/>
                      <a:pt x="359" y="63"/>
                    </a:cubicBezTo>
                    <a:cubicBezTo>
                      <a:pt x="359" y="63"/>
                      <a:pt x="359" y="64"/>
                      <a:pt x="358" y="64"/>
                    </a:cubicBezTo>
                    <a:cubicBezTo>
                      <a:pt x="358" y="64"/>
                      <a:pt x="358" y="64"/>
                      <a:pt x="358" y="64"/>
                    </a:cubicBezTo>
                    <a:cubicBezTo>
                      <a:pt x="358" y="64"/>
                      <a:pt x="357" y="64"/>
                      <a:pt x="357" y="64"/>
                    </a:cubicBezTo>
                    <a:cubicBezTo>
                      <a:pt x="356" y="64"/>
                      <a:pt x="356" y="64"/>
                      <a:pt x="356" y="64"/>
                    </a:cubicBezTo>
                    <a:cubicBezTo>
                      <a:pt x="355" y="63"/>
                      <a:pt x="355" y="63"/>
                      <a:pt x="355" y="63"/>
                    </a:cubicBezTo>
                    <a:cubicBezTo>
                      <a:pt x="355" y="63"/>
                      <a:pt x="355" y="63"/>
                      <a:pt x="355" y="63"/>
                    </a:cubicBezTo>
                    <a:cubicBezTo>
                      <a:pt x="354" y="63"/>
                      <a:pt x="354" y="62"/>
                      <a:pt x="353" y="62"/>
                    </a:cubicBezTo>
                    <a:cubicBezTo>
                      <a:pt x="353" y="61"/>
                      <a:pt x="353" y="61"/>
                      <a:pt x="353" y="61"/>
                    </a:cubicBezTo>
                    <a:cubicBezTo>
                      <a:pt x="351" y="61"/>
                      <a:pt x="351" y="61"/>
                      <a:pt x="351" y="61"/>
                    </a:cubicBezTo>
                    <a:cubicBezTo>
                      <a:pt x="351" y="60"/>
                      <a:pt x="351" y="60"/>
                      <a:pt x="351" y="60"/>
                    </a:cubicBezTo>
                    <a:cubicBezTo>
                      <a:pt x="351" y="59"/>
                      <a:pt x="351" y="59"/>
                      <a:pt x="351" y="59"/>
                    </a:cubicBezTo>
                    <a:cubicBezTo>
                      <a:pt x="351" y="59"/>
                      <a:pt x="351" y="59"/>
                      <a:pt x="351" y="58"/>
                    </a:cubicBezTo>
                    <a:cubicBezTo>
                      <a:pt x="351" y="58"/>
                      <a:pt x="351" y="57"/>
                      <a:pt x="351" y="57"/>
                    </a:cubicBezTo>
                    <a:cubicBezTo>
                      <a:pt x="349" y="56"/>
                      <a:pt x="349" y="56"/>
                      <a:pt x="349" y="56"/>
                    </a:cubicBezTo>
                    <a:cubicBezTo>
                      <a:pt x="348" y="57"/>
                      <a:pt x="348" y="57"/>
                      <a:pt x="348" y="57"/>
                    </a:cubicBezTo>
                    <a:cubicBezTo>
                      <a:pt x="348" y="57"/>
                      <a:pt x="348" y="57"/>
                      <a:pt x="348" y="57"/>
                    </a:cubicBezTo>
                    <a:cubicBezTo>
                      <a:pt x="347" y="57"/>
                      <a:pt x="347" y="57"/>
                      <a:pt x="347" y="57"/>
                    </a:cubicBezTo>
                    <a:cubicBezTo>
                      <a:pt x="347" y="57"/>
                      <a:pt x="347" y="57"/>
                      <a:pt x="347" y="57"/>
                    </a:cubicBezTo>
                    <a:cubicBezTo>
                      <a:pt x="347" y="58"/>
                      <a:pt x="347" y="58"/>
                      <a:pt x="347" y="59"/>
                    </a:cubicBezTo>
                    <a:cubicBezTo>
                      <a:pt x="347" y="59"/>
                      <a:pt x="347" y="59"/>
                      <a:pt x="347" y="59"/>
                    </a:cubicBezTo>
                    <a:cubicBezTo>
                      <a:pt x="347" y="59"/>
                      <a:pt x="347" y="60"/>
                      <a:pt x="347" y="60"/>
                    </a:cubicBezTo>
                    <a:cubicBezTo>
                      <a:pt x="350" y="62"/>
                      <a:pt x="350" y="62"/>
                      <a:pt x="350" y="62"/>
                    </a:cubicBezTo>
                    <a:cubicBezTo>
                      <a:pt x="347" y="60"/>
                      <a:pt x="347" y="60"/>
                      <a:pt x="347" y="60"/>
                    </a:cubicBezTo>
                    <a:cubicBezTo>
                      <a:pt x="347" y="60"/>
                      <a:pt x="346" y="60"/>
                      <a:pt x="346" y="61"/>
                    </a:cubicBezTo>
                    <a:cubicBezTo>
                      <a:pt x="345" y="61"/>
                      <a:pt x="345" y="61"/>
                      <a:pt x="345" y="61"/>
                    </a:cubicBezTo>
                    <a:cubicBezTo>
                      <a:pt x="345" y="61"/>
                      <a:pt x="345" y="61"/>
                      <a:pt x="345" y="61"/>
                    </a:cubicBezTo>
                    <a:cubicBezTo>
                      <a:pt x="344" y="61"/>
                      <a:pt x="344" y="61"/>
                      <a:pt x="344" y="61"/>
                    </a:cubicBezTo>
                    <a:cubicBezTo>
                      <a:pt x="344" y="61"/>
                      <a:pt x="344" y="61"/>
                      <a:pt x="344" y="61"/>
                    </a:cubicBezTo>
                    <a:cubicBezTo>
                      <a:pt x="344" y="61"/>
                      <a:pt x="344" y="61"/>
                      <a:pt x="344" y="61"/>
                    </a:cubicBezTo>
                    <a:cubicBezTo>
                      <a:pt x="344" y="62"/>
                      <a:pt x="344" y="62"/>
                      <a:pt x="343" y="62"/>
                    </a:cubicBezTo>
                    <a:cubicBezTo>
                      <a:pt x="343" y="63"/>
                      <a:pt x="343" y="63"/>
                      <a:pt x="343" y="63"/>
                    </a:cubicBezTo>
                    <a:cubicBezTo>
                      <a:pt x="342" y="63"/>
                      <a:pt x="342" y="63"/>
                      <a:pt x="342" y="63"/>
                    </a:cubicBezTo>
                    <a:cubicBezTo>
                      <a:pt x="342" y="63"/>
                      <a:pt x="342" y="63"/>
                      <a:pt x="342" y="63"/>
                    </a:cubicBezTo>
                    <a:cubicBezTo>
                      <a:pt x="341" y="63"/>
                      <a:pt x="341" y="63"/>
                      <a:pt x="341" y="63"/>
                    </a:cubicBezTo>
                    <a:cubicBezTo>
                      <a:pt x="340" y="62"/>
                      <a:pt x="340" y="62"/>
                      <a:pt x="340" y="62"/>
                    </a:cubicBezTo>
                    <a:cubicBezTo>
                      <a:pt x="339" y="60"/>
                      <a:pt x="339" y="60"/>
                      <a:pt x="339" y="60"/>
                    </a:cubicBezTo>
                    <a:cubicBezTo>
                      <a:pt x="339" y="60"/>
                      <a:pt x="339" y="60"/>
                      <a:pt x="339" y="60"/>
                    </a:cubicBezTo>
                    <a:cubicBezTo>
                      <a:pt x="337" y="57"/>
                      <a:pt x="335" y="54"/>
                      <a:pt x="333" y="51"/>
                    </a:cubicBezTo>
                    <a:cubicBezTo>
                      <a:pt x="332" y="49"/>
                      <a:pt x="332" y="49"/>
                      <a:pt x="332" y="49"/>
                    </a:cubicBezTo>
                    <a:cubicBezTo>
                      <a:pt x="330" y="45"/>
                      <a:pt x="328" y="42"/>
                      <a:pt x="325" y="38"/>
                    </a:cubicBezTo>
                    <a:cubicBezTo>
                      <a:pt x="323" y="35"/>
                      <a:pt x="323" y="35"/>
                      <a:pt x="323" y="35"/>
                    </a:cubicBezTo>
                    <a:cubicBezTo>
                      <a:pt x="319" y="30"/>
                      <a:pt x="319" y="30"/>
                      <a:pt x="319" y="30"/>
                    </a:cubicBezTo>
                    <a:cubicBezTo>
                      <a:pt x="318" y="28"/>
                      <a:pt x="317" y="27"/>
                      <a:pt x="315" y="26"/>
                    </a:cubicBezTo>
                    <a:cubicBezTo>
                      <a:pt x="310" y="22"/>
                      <a:pt x="310" y="22"/>
                      <a:pt x="310" y="22"/>
                    </a:cubicBezTo>
                    <a:cubicBezTo>
                      <a:pt x="307" y="20"/>
                      <a:pt x="307" y="20"/>
                      <a:pt x="307" y="20"/>
                    </a:cubicBezTo>
                    <a:cubicBezTo>
                      <a:pt x="307" y="19"/>
                      <a:pt x="306" y="19"/>
                      <a:pt x="305" y="18"/>
                    </a:cubicBezTo>
                    <a:cubicBezTo>
                      <a:pt x="302" y="15"/>
                      <a:pt x="302" y="15"/>
                      <a:pt x="302" y="15"/>
                    </a:cubicBezTo>
                    <a:cubicBezTo>
                      <a:pt x="298" y="17"/>
                      <a:pt x="298" y="17"/>
                      <a:pt x="298" y="17"/>
                    </a:cubicBezTo>
                    <a:cubicBezTo>
                      <a:pt x="297" y="17"/>
                      <a:pt x="296" y="18"/>
                      <a:pt x="294" y="19"/>
                    </a:cubicBezTo>
                    <a:cubicBezTo>
                      <a:pt x="294" y="19"/>
                      <a:pt x="294" y="19"/>
                      <a:pt x="294" y="19"/>
                    </a:cubicBezTo>
                    <a:cubicBezTo>
                      <a:pt x="293" y="20"/>
                      <a:pt x="291" y="20"/>
                      <a:pt x="290" y="21"/>
                    </a:cubicBezTo>
                    <a:cubicBezTo>
                      <a:pt x="286" y="23"/>
                      <a:pt x="286" y="23"/>
                      <a:pt x="286" y="23"/>
                    </a:cubicBezTo>
                    <a:cubicBezTo>
                      <a:pt x="286" y="23"/>
                      <a:pt x="286" y="23"/>
                      <a:pt x="286" y="23"/>
                    </a:cubicBezTo>
                    <a:cubicBezTo>
                      <a:pt x="286" y="23"/>
                      <a:pt x="285" y="24"/>
                      <a:pt x="285" y="24"/>
                    </a:cubicBezTo>
                    <a:cubicBezTo>
                      <a:pt x="285" y="25"/>
                      <a:pt x="285" y="25"/>
                      <a:pt x="285" y="25"/>
                    </a:cubicBezTo>
                    <a:cubicBezTo>
                      <a:pt x="284" y="26"/>
                      <a:pt x="284" y="26"/>
                      <a:pt x="284" y="26"/>
                    </a:cubicBezTo>
                    <a:cubicBezTo>
                      <a:pt x="282" y="25"/>
                      <a:pt x="282" y="25"/>
                      <a:pt x="282" y="25"/>
                    </a:cubicBezTo>
                    <a:cubicBezTo>
                      <a:pt x="282" y="25"/>
                      <a:pt x="282" y="25"/>
                      <a:pt x="282" y="25"/>
                    </a:cubicBezTo>
                    <a:cubicBezTo>
                      <a:pt x="281" y="25"/>
                      <a:pt x="281" y="25"/>
                      <a:pt x="281" y="25"/>
                    </a:cubicBezTo>
                    <a:cubicBezTo>
                      <a:pt x="278" y="25"/>
                      <a:pt x="278" y="25"/>
                      <a:pt x="278" y="25"/>
                    </a:cubicBezTo>
                    <a:cubicBezTo>
                      <a:pt x="278" y="25"/>
                      <a:pt x="277" y="25"/>
                      <a:pt x="277" y="25"/>
                    </a:cubicBezTo>
                    <a:cubicBezTo>
                      <a:pt x="274" y="27"/>
                      <a:pt x="274" y="27"/>
                      <a:pt x="274" y="27"/>
                    </a:cubicBezTo>
                    <a:cubicBezTo>
                      <a:pt x="271" y="22"/>
                      <a:pt x="271" y="22"/>
                      <a:pt x="271" y="22"/>
                    </a:cubicBezTo>
                    <a:cubicBezTo>
                      <a:pt x="271" y="21"/>
                      <a:pt x="271" y="21"/>
                      <a:pt x="271" y="21"/>
                    </a:cubicBezTo>
                    <a:cubicBezTo>
                      <a:pt x="272" y="20"/>
                      <a:pt x="272" y="20"/>
                      <a:pt x="273" y="19"/>
                    </a:cubicBezTo>
                    <a:cubicBezTo>
                      <a:pt x="273" y="19"/>
                      <a:pt x="273" y="19"/>
                      <a:pt x="273" y="19"/>
                    </a:cubicBezTo>
                    <a:cubicBezTo>
                      <a:pt x="271" y="19"/>
                      <a:pt x="271" y="19"/>
                      <a:pt x="271" y="19"/>
                    </a:cubicBezTo>
                    <a:cubicBezTo>
                      <a:pt x="270" y="19"/>
                      <a:pt x="270" y="19"/>
                      <a:pt x="270" y="19"/>
                    </a:cubicBezTo>
                    <a:cubicBezTo>
                      <a:pt x="269" y="19"/>
                      <a:pt x="268" y="18"/>
                      <a:pt x="267" y="18"/>
                    </a:cubicBezTo>
                    <a:cubicBezTo>
                      <a:pt x="267" y="18"/>
                      <a:pt x="267" y="18"/>
                      <a:pt x="267" y="18"/>
                    </a:cubicBezTo>
                    <a:cubicBezTo>
                      <a:pt x="267" y="18"/>
                      <a:pt x="267" y="18"/>
                      <a:pt x="267" y="18"/>
                    </a:cubicBezTo>
                    <a:cubicBezTo>
                      <a:pt x="266" y="19"/>
                      <a:pt x="266" y="19"/>
                      <a:pt x="266" y="19"/>
                    </a:cubicBezTo>
                    <a:cubicBezTo>
                      <a:pt x="266" y="19"/>
                      <a:pt x="265" y="19"/>
                      <a:pt x="265" y="19"/>
                    </a:cubicBezTo>
                    <a:cubicBezTo>
                      <a:pt x="264" y="20"/>
                      <a:pt x="264" y="20"/>
                      <a:pt x="264" y="20"/>
                    </a:cubicBezTo>
                    <a:cubicBezTo>
                      <a:pt x="261" y="21"/>
                      <a:pt x="261" y="21"/>
                      <a:pt x="261" y="21"/>
                    </a:cubicBezTo>
                    <a:cubicBezTo>
                      <a:pt x="262" y="18"/>
                      <a:pt x="262" y="18"/>
                      <a:pt x="262" y="18"/>
                    </a:cubicBezTo>
                    <a:cubicBezTo>
                      <a:pt x="262" y="18"/>
                      <a:pt x="262" y="18"/>
                      <a:pt x="262" y="18"/>
                    </a:cubicBezTo>
                    <a:cubicBezTo>
                      <a:pt x="262" y="17"/>
                      <a:pt x="262" y="17"/>
                      <a:pt x="262" y="17"/>
                    </a:cubicBezTo>
                    <a:cubicBezTo>
                      <a:pt x="262" y="17"/>
                      <a:pt x="262" y="17"/>
                      <a:pt x="262" y="17"/>
                    </a:cubicBezTo>
                    <a:cubicBezTo>
                      <a:pt x="262" y="17"/>
                      <a:pt x="262" y="16"/>
                      <a:pt x="262" y="16"/>
                    </a:cubicBezTo>
                    <a:cubicBezTo>
                      <a:pt x="261" y="17"/>
                      <a:pt x="261" y="17"/>
                      <a:pt x="261" y="17"/>
                    </a:cubicBezTo>
                    <a:cubicBezTo>
                      <a:pt x="260" y="16"/>
                      <a:pt x="260" y="16"/>
                      <a:pt x="260" y="16"/>
                    </a:cubicBezTo>
                    <a:cubicBezTo>
                      <a:pt x="259" y="16"/>
                      <a:pt x="259" y="16"/>
                      <a:pt x="259" y="16"/>
                    </a:cubicBezTo>
                    <a:cubicBezTo>
                      <a:pt x="259" y="16"/>
                      <a:pt x="259" y="16"/>
                      <a:pt x="259" y="16"/>
                    </a:cubicBezTo>
                    <a:cubicBezTo>
                      <a:pt x="257" y="17"/>
                      <a:pt x="257" y="17"/>
                      <a:pt x="257" y="17"/>
                    </a:cubicBezTo>
                    <a:cubicBezTo>
                      <a:pt x="255" y="17"/>
                      <a:pt x="255" y="17"/>
                      <a:pt x="255" y="17"/>
                    </a:cubicBezTo>
                    <a:cubicBezTo>
                      <a:pt x="254" y="17"/>
                      <a:pt x="253" y="17"/>
                      <a:pt x="252" y="17"/>
                    </a:cubicBezTo>
                    <a:cubicBezTo>
                      <a:pt x="252" y="17"/>
                      <a:pt x="252" y="17"/>
                      <a:pt x="252" y="17"/>
                    </a:cubicBezTo>
                    <a:cubicBezTo>
                      <a:pt x="251" y="17"/>
                      <a:pt x="251" y="17"/>
                      <a:pt x="251" y="17"/>
                    </a:cubicBezTo>
                    <a:cubicBezTo>
                      <a:pt x="250" y="17"/>
                      <a:pt x="250" y="17"/>
                      <a:pt x="250" y="17"/>
                    </a:cubicBezTo>
                    <a:cubicBezTo>
                      <a:pt x="250" y="16"/>
                      <a:pt x="250" y="16"/>
                      <a:pt x="250" y="16"/>
                    </a:cubicBezTo>
                    <a:cubicBezTo>
                      <a:pt x="249" y="16"/>
                      <a:pt x="249" y="16"/>
                      <a:pt x="249" y="16"/>
                    </a:cubicBezTo>
                    <a:cubicBezTo>
                      <a:pt x="249" y="16"/>
                      <a:pt x="249" y="16"/>
                      <a:pt x="249" y="16"/>
                    </a:cubicBezTo>
                    <a:cubicBezTo>
                      <a:pt x="249" y="15"/>
                      <a:pt x="249" y="15"/>
                      <a:pt x="249" y="15"/>
                    </a:cubicBezTo>
                    <a:cubicBezTo>
                      <a:pt x="248" y="15"/>
                      <a:pt x="248" y="15"/>
                      <a:pt x="248" y="14"/>
                    </a:cubicBezTo>
                    <a:cubicBezTo>
                      <a:pt x="248" y="14"/>
                      <a:pt x="248" y="14"/>
                      <a:pt x="248" y="13"/>
                    </a:cubicBezTo>
                    <a:cubicBezTo>
                      <a:pt x="248" y="13"/>
                      <a:pt x="248" y="13"/>
                      <a:pt x="248" y="13"/>
                    </a:cubicBezTo>
                    <a:cubicBezTo>
                      <a:pt x="248" y="12"/>
                      <a:pt x="248" y="12"/>
                      <a:pt x="248" y="12"/>
                    </a:cubicBezTo>
                    <a:cubicBezTo>
                      <a:pt x="248" y="12"/>
                      <a:pt x="248" y="12"/>
                      <a:pt x="248" y="12"/>
                    </a:cubicBezTo>
                    <a:cubicBezTo>
                      <a:pt x="249" y="12"/>
                      <a:pt x="249" y="12"/>
                      <a:pt x="249" y="12"/>
                    </a:cubicBezTo>
                    <a:cubicBezTo>
                      <a:pt x="249" y="12"/>
                      <a:pt x="249" y="12"/>
                      <a:pt x="249" y="12"/>
                    </a:cubicBezTo>
                    <a:cubicBezTo>
                      <a:pt x="250" y="12"/>
                      <a:pt x="250" y="12"/>
                      <a:pt x="250" y="12"/>
                    </a:cubicBezTo>
                    <a:cubicBezTo>
                      <a:pt x="250" y="11"/>
                      <a:pt x="250" y="11"/>
                      <a:pt x="250" y="11"/>
                    </a:cubicBezTo>
                    <a:cubicBezTo>
                      <a:pt x="249" y="9"/>
                      <a:pt x="249" y="9"/>
                      <a:pt x="249" y="9"/>
                    </a:cubicBezTo>
                    <a:cubicBezTo>
                      <a:pt x="250" y="8"/>
                      <a:pt x="250" y="8"/>
                      <a:pt x="250" y="8"/>
                    </a:cubicBezTo>
                    <a:cubicBezTo>
                      <a:pt x="250" y="7"/>
                      <a:pt x="250" y="7"/>
                      <a:pt x="250" y="7"/>
                    </a:cubicBezTo>
                    <a:cubicBezTo>
                      <a:pt x="249" y="5"/>
                      <a:pt x="249" y="5"/>
                      <a:pt x="249" y="5"/>
                    </a:cubicBezTo>
                    <a:cubicBezTo>
                      <a:pt x="248" y="3"/>
                      <a:pt x="247" y="2"/>
                      <a:pt x="246" y="0"/>
                    </a:cubicBezTo>
                    <a:cubicBezTo>
                      <a:pt x="246" y="0"/>
                      <a:pt x="246" y="0"/>
                      <a:pt x="246" y="0"/>
                    </a:cubicBezTo>
                    <a:cubicBezTo>
                      <a:pt x="245" y="0"/>
                      <a:pt x="245" y="0"/>
                      <a:pt x="245" y="0"/>
                    </a:cubicBezTo>
                    <a:cubicBezTo>
                      <a:pt x="244" y="1"/>
                      <a:pt x="243" y="2"/>
                      <a:pt x="243" y="2"/>
                    </a:cubicBezTo>
                    <a:cubicBezTo>
                      <a:pt x="242" y="2"/>
                      <a:pt x="242" y="2"/>
                      <a:pt x="242" y="2"/>
                    </a:cubicBezTo>
                    <a:cubicBezTo>
                      <a:pt x="241" y="3"/>
                      <a:pt x="241" y="3"/>
                      <a:pt x="241" y="3"/>
                    </a:cubicBezTo>
                    <a:cubicBezTo>
                      <a:pt x="240" y="2"/>
                      <a:pt x="240" y="2"/>
                      <a:pt x="240" y="2"/>
                    </a:cubicBezTo>
                    <a:cubicBezTo>
                      <a:pt x="239" y="2"/>
                      <a:pt x="239" y="2"/>
                      <a:pt x="238" y="2"/>
                    </a:cubicBezTo>
                    <a:cubicBezTo>
                      <a:pt x="238" y="2"/>
                      <a:pt x="238" y="2"/>
                      <a:pt x="238" y="2"/>
                    </a:cubicBezTo>
                    <a:cubicBezTo>
                      <a:pt x="237" y="1"/>
                      <a:pt x="236" y="1"/>
                      <a:pt x="236" y="0"/>
                    </a:cubicBezTo>
                    <a:cubicBezTo>
                      <a:pt x="235" y="0"/>
                      <a:pt x="235" y="0"/>
                      <a:pt x="235" y="0"/>
                    </a:cubicBezTo>
                    <a:cubicBezTo>
                      <a:pt x="235" y="0"/>
                      <a:pt x="235" y="0"/>
                      <a:pt x="235" y="0"/>
                    </a:cubicBezTo>
                    <a:cubicBezTo>
                      <a:pt x="232" y="0"/>
                      <a:pt x="232" y="0"/>
                      <a:pt x="232" y="0"/>
                    </a:cubicBezTo>
                    <a:cubicBezTo>
                      <a:pt x="232" y="0"/>
                      <a:pt x="232" y="0"/>
                      <a:pt x="232" y="0"/>
                    </a:cubicBezTo>
                    <a:cubicBezTo>
                      <a:pt x="232" y="0"/>
                      <a:pt x="232" y="0"/>
                      <a:pt x="231" y="0"/>
                    </a:cubicBezTo>
                    <a:cubicBezTo>
                      <a:pt x="231" y="0"/>
                      <a:pt x="231" y="0"/>
                      <a:pt x="231" y="0"/>
                    </a:cubicBezTo>
                    <a:cubicBezTo>
                      <a:pt x="231" y="0"/>
                      <a:pt x="231" y="0"/>
                      <a:pt x="231" y="0"/>
                    </a:cubicBezTo>
                    <a:cubicBezTo>
                      <a:pt x="231" y="0"/>
                      <a:pt x="231" y="0"/>
                      <a:pt x="231" y="0"/>
                    </a:cubicBezTo>
                    <a:cubicBezTo>
                      <a:pt x="230" y="0"/>
                      <a:pt x="230" y="0"/>
                      <a:pt x="230" y="0"/>
                    </a:cubicBezTo>
                    <a:cubicBezTo>
                      <a:pt x="230" y="0"/>
                      <a:pt x="230" y="0"/>
                      <a:pt x="230" y="0"/>
                    </a:cubicBezTo>
                    <a:cubicBezTo>
                      <a:pt x="230" y="0"/>
                      <a:pt x="230" y="0"/>
                      <a:pt x="229" y="0"/>
                    </a:cubicBezTo>
                    <a:cubicBezTo>
                      <a:pt x="229" y="1"/>
                      <a:pt x="228" y="0"/>
                      <a:pt x="227" y="0"/>
                    </a:cubicBezTo>
                    <a:cubicBezTo>
                      <a:pt x="227" y="0"/>
                      <a:pt x="227" y="0"/>
                      <a:pt x="227" y="0"/>
                    </a:cubicBezTo>
                    <a:cubicBezTo>
                      <a:pt x="227" y="0"/>
                      <a:pt x="227" y="0"/>
                      <a:pt x="227" y="0"/>
                    </a:cubicBezTo>
                    <a:cubicBezTo>
                      <a:pt x="227" y="0"/>
                      <a:pt x="226" y="1"/>
                      <a:pt x="226" y="1"/>
                    </a:cubicBezTo>
                    <a:cubicBezTo>
                      <a:pt x="226" y="2"/>
                      <a:pt x="225" y="2"/>
                      <a:pt x="223" y="3"/>
                    </a:cubicBezTo>
                    <a:cubicBezTo>
                      <a:pt x="223" y="3"/>
                      <a:pt x="223" y="4"/>
                      <a:pt x="222" y="4"/>
                    </a:cubicBezTo>
                    <a:cubicBezTo>
                      <a:pt x="222" y="4"/>
                      <a:pt x="222" y="4"/>
                      <a:pt x="222" y="4"/>
                    </a:cubicBezTo>
                    <a:cubicBezTo>
                      <a:pt x="222" y="4"/>
                      <a:pt x="221" y="5"/>
                      <a:pt x="221" y="5"/>
                    </a:cubicBezTo>
                    <a:cubicBezTo>
                      <a:pt x="220" y="5"/>
                      <a:pt x="220" y="5"/>
                      <a:pt x="219" y="5"/>
                    </a:cubicBezTo>
                    <a:cubicBezTo>
                      <a:pt x="219" y="5"/>
                      <a:pt x="219" y="5"/>
                      <a:pt x="219" y="5"/>
                    </a:cubicBezTo>
                    <a:cubicBezTo>
                      <a:pt x="219" y="5"/>
                      <a:pt x="218" y="5"/>
                      <a:pt x="218" y="5"/>
                    </a:cubicBezTo>
                    <a:cubicBezTo>
                      <a:pt x="218" y="5"/>
                      <a:pt x="218" y="5"/>
                      <a:pt x="218" y="5"/>
                    </a:cubicBezTo>
                    <a:cubicBezTo>
                      <a:pt x="218" y="5"/>
                      <a:pt x="218" y="5"/>
                      <a:pt x="218" y="5"/>
                    </a:cubicBezTo>
                    <a:cubicBezTo>
                      <a:pt x="217" y="5"/>
                      <a:pt x="217" y="5"/>
                      <a:pt x="217" y="5"/>
                    </a:cubicBezTo>
                    <a:cubicBezTo>
                      <a:pt x="217" y="5"/>
                      <a:pt x="217" y="5"/>
                      <a:pt x="217" y="5"/>
                    </a:cubicBezTo>
                    <a:cubicBezTo>
                      <a:pt x="217" y="6"/>
                      <a:pt x="217" y="6"/>
                      <a:pt x="217" y="6"/>
                    </a:cubicBezTo>
                    <a:cubicBezTo>
                      <a:pt x="211" y="7"/>
                      <a:pt x="211" y="7"/>
                      <a:pt x="211" y="7"/>
                    </a:cubicBezTo>
                    <a:cubicBezTo>
                      <a:pt x="211" y="7"/>
                      <a:pt x="210" y="7"/>
                      <a:pt x="210" y="7"/>
                    </a:cubicBezTo>
                    <a:cubicBezTo>
                      <a:pt x="212" y="9"/>
                      <a:pt x="212" y="9"/>
                      <a:pt x="212" y="9"/>
                    </a:cubicBezTo>
                    <a:cubicBezTo>
                      <a:pt x="207" y="8"/>
                      <a:pt x="207" y="8"/>
                      <a:pt x="207" y="8"/>
                    </a:cubicBezTo>
                    <a:cubicBezTo>
                      <a:pt x="207" y="8"/>
                      <a:pt x="207" y="8"/>
                      <a:pt x="207" y="8"/>
                    </a:cubicBezTo>
                    <a:cubicBezTo>
                      <a:pt x="207" y="8"/>
                      <a:pt x="207" y="8"/>
                      <a:pt x="207" y="8"/>
                    </a:cubicBezTo>
                    <a:cubicBezTo>
                      <a:pt x="207" y="8"/>
                      <a:pt x="207" y="8"/>
                      <a:pt x="207" y="8"/>
                    </a:cubicBezTo>
                    <a:cubicBezTo>
                      <a:pt x="207" y="8"/>
                      <a:pt x="207" y="8"/>
                      <a:pt x="207" y="8"/>
                    </a:cubicBezTo>
                    <a:cubicBezTo>
                      <a:pt x="206" y="8"/>
                      <a:pt x="206" y="8"/>
                      <a:pt x="206" y="8"/>
                    </a:cubicBezTo>
                    <a:cubicBezTo>
                      <a:pt x="206" y="9"/>
                      <a:pt x="206" y="9"/>
                      <a:pt x="205" y="9"/>
                    </a:cubicBezTo>
                    <a:cubicBezTo>
                      <a:pt x="205" y="9"/>
                      <a:pt x="205" y="9"/>
                      <a:pt x="205" y="9"/>
                    </a:cubicBezTo>
                    <a:cubicBezTo>
                      <a:pt x="205" y="9"/>
                      <a:pt x="205" y="9"/>
                      <a:pt x="205" y="9"/>
                    </a:cubicBezTo>
                    <a:cubicBezTo>
                      <a:pt x="205" y="9"/>
                      <a:pt x="205" y="9"/>
                      <a:pt x="205" y="9"/>
                    </a:cubicBezTo>
                    <a:cubicBezTo>
                      <a:pt x="205" y="9"/>
                      <a:pt x="205" y="9"/>
                      <a:pt x="205" y="9"/>
                    </a:cubicBezTo>
                    <a:cubicBezTo>
                      <a:pt x="205" y="9"/>
                      <a:pt x="205" y="9"/>
                      <a:pt x="205" y="9"/>
                    </a:cubicBezTo>
                    <a:cubicBezTo>
                      <a:pt x="205" y="9"/>
                      <a:pt x="205" y="9"/>
                      <a:pt x="205" y="9"/>
                    </a:cubicBezTo>
                    <a:cubicBezTo>
                      <a:pt x="204" y="9"/>
                      <a:pt x="204" y="9"/>
                      <a:pt x="204" y="9"/>
                    </a:cubicBezTo>
                    <a:cubicBezTo>
                      <a:pt x="204" y="9"/>
                      <a:pt x="204" y="9"/>
                      <a:pt x="203" y="9"/>
                    </a:cubicBezTo>
                    <a:cubicBezTo>
                      <a:pt x="203" y="9"/>
                      <a:pt x="203" y="9"/>
                      <a:pt x="203" y="9"/>
                    </a:cubicBezTo>
                    <a:cubicBezTo>
                      <a:pt x="202" y="9"/>
                      <a:pt x="202" y="9"/>
                      <a:pt x="202" y="9"/>
                    </a:cubicBezTo>
                    <a:cubicBezTo>
                      <a:pt x="202" y="9"/>
                      <a:pt x="201" y="9"/>
                      <a:pt x="201" y="9"/>
                    </a:cubicBezTo>
                    <a:cubicBezTo>
                      <a:pt x="199" y="10"/>
                      <a:pt x="199" y="10"/>
                      <a:pt x="199" y="10"/>
                    </a:cubicBezTo>
                    <a:cubicBezTo>
                      <a:pt x="199" y="10"/>
                      <a:pt x="199" y="10"/>
                      <a:pt x="199" y="10"/>
                    </a:cubicBezTo>
                    <a:cubicBezTo>
                      <a:pt x="197" y="10"/>
                      <a:pt x="197" y="10"/>
                      <a:pt x="197" y="10"/>
                    </a:cubicBezTo>
                    <a:cubicBezTo>
                      <a:pt x="197" y="10"/>
                      <a:pt x="197" y="10"/>
                      <a:pt x="197" y="10"/>
                    </a:cubicBezTo>
                    <a:cubicBezTo>
                      <a:pt x="197" y="10"/>
                      <a:pt x="197" y="10"/>
                      <a:pt x="197" y="10"/>
                    </a:cubicBezTo>
                    <a:cubicBezTo>
                      <a:pt x="194" y="10"/>
                      <a:pt x="194" y="10"/>
                      <a:pt x="194" y="10"/>
                    </a:cubicBezTo>
                    <a:cubicBezTo>
                      <a:pt x="193" y="10"/>
                      <a:pt x="193" y="10"/>
                      <a:pt x="193" y="10"/>
                    </a:cubicBezTo>
                    <a:cubicBezTo>
                      <a:pt x="193" y="10"/>
                      <a:pt x="193" y="10"/>
                      <a:pt x="193" y="10"/>
                    </a:cubicBezTo>
                    <a:cubicBezTo>
                      <a:pt x="191" y="11"/>
                      <a:pt x="191" y="11"/>
                      <a:pt x="191" y="11"/>
                    </a:cubicBezTo>
                    <a:cubicBezTo>
                      <a:pt x="193" y="13"/>
                      <a:pt x="193" y="13"/>
                      <a:pt x="193" y="13"/>
                    </a:cubicBezTo>
                    <a:cubicBezTo>
                      <a:pt x="191" y="12"/>
                      <a:pt x="191" y="12"/>
                      <a:pt x="191" y="12"/>
                    </a:cubicBezTo>
                    <a:cubicBezTo>
                      <a:pt x="191" y="12"/>
                      <a:pt x="191" y="12"/>
                      <a:pt x="191" y="12"/>
                    </a:cubicBezTo>
                    <a:cubicBezTo>
                      <a:pt x="190" y="12"/>
                      <a:pt x="190" y="12"/>
                      <a:pt x="190" y="13"/>
                    </a:cubicBezTo>
                    <a:cubicBezTo>
                      <a:pt x="189" y="14"/>
                      <a:pt x="189" y="14"/>
                      <a:pt x="189" y="14"/>
                    </a:cubicBezTo>
                    <a:cubicBezTo>
                      <a:pt x="188" y="14"/>
                      <a:pt x="188" y="14"/>
                      <a:pt x="188" y="14"/>
                    </a:cubicBezTo>
                    <a:cubicBezTo>
                      <a:pt x="187" y="13"/>
                      <a:pt x="187" y="13"/>
                      <a:pt x="187" y="13"/>
                    </a:cubicBezTo>
                    <a:cubicBezTo>
                      <a:pt x="187" y="13"/>
                      <a:pt x="187" y="13"/>
                      <a:pt x="187" y="13"/>
                    </a:cubicBezTo>
                    <a:cubicBezTo>
                      <a:pt x="186" y="14"/>
                      <a:pt x="186" y="14"/>
                      <a:pt x="186" y="14"/>
                    </a:cubicBezTo>
                    <a:cubicBezTo>
                      <a:pt x="186" y="14"/>
                      <a:pt x="186" y="14"/>
                      <a:pt x="186" y="14"/>
                    </a:cubicBezTo>
                    <a:cubicBezTo>
                      <a:pt x="185" y="14"/>
                      <a:pt x="185" y="14"/>
                      <a:pt x="185" y="14"/>
                    </a:cubicBezTo>
                    <a:cubicBezTo>
                      <a:pt x="184" y="14"/>
                      <a:pt x="184" y="14"/>
                      <a:pt x="184" y="14"/>
                    </a:cubicBezTo>
                    <a:cubicBezTo>
                      <a:pt x="184" y="14"/>
                      <a:pt x="184" y="14"/>
                      <a:pt x="184" y="14"/>
                    </a:cubicBezTo>
                    <a:cubicBezTo>
                      <a:pt x="184" y="14"/>
                      <a:pt x="184" y="14"/>
                      <a:pt x="184" y="14"/>
                    </a:cubicBezTo>
                    <a:cubicBezTo>
                      <a:pt x="183" y="14"/>
                      <a:pt x="183" y="14"/>
                      <a:pt x="183" y="14"/>
                    </a:cubicBezTo>
                    <a:cubicBezTo>
                      <a:pt x="183" y="14"/>
                      <a:pt x="183" y="14"/>
                      <a:pt x="183" y="14"/>
                    </a:cubicBezTo>
                    <a:cubicBezTo>
                      <a:pt x="182" y="14"/>
                      <a:pt x="182" y="14"/>
                      <a:pt x="182" y="14"/>
                    </a:cubicBezTo>
                    <a:cubicBezTo>
                      <a:pt x="182" y="14"/>
                      <a:pt x="182" y="14"/>
                      <a:pt x="182" y="14"/>
                    </a:cubicBezTo>
                    <a:cubicBezTo>
                      <a:pt x="181" y="14"/>
                      <a:pt x="181" y="14"/>
                      <a:pt x="181" y="14"/>
                    </a:cubicBezTo>
                    <a:cubicBezTo>
                      <a:pt x="181" y="14"/>
                      <a:pt x="181" y="14"/>
                      <a:pt x="181" y="14"/>
                    </a:cubicBezTo>
                    <a:cubicBezTo>
                      <a:pt x="181" y="14"/>
                      <a:pt x="181" y="14"/>
                      <a:pt x="181" y="14"/>
                    </a:cubicBezTo>
                    <a:cubicBezTo>
                      <a:pt x="175" y="15"/>
                      <a:pt x="175" y="15"/>
                      <a:pt x="175" y="15"/>
                    </a:cubicBezTo>
                    <a:cubicBezTo>
                      <a:pt x="175" y="15"/>
                      <a:pt x="175" y="15"/>
                      <a:pt x="175" y="15"/>
                    </a:cubicBezTo>
                    <a:cubicBezTo>
                      <a:pt x="175" y="15"/>
                      <a:pt x="175" y="15"/>
                      <a:pt x="175" y="15"/>
                    </a:cubicBezTo>
                    <a:cubicBezTo>
                      <a:pt x="175" y="15"/>
                      <a:pt x="175" y="15"/>
                      <a:pt x="175" y="15"/>
                    </a:cubicBezTo>
                    <a:cubicBezTo>
                      <a:pt x="171" y="16"/>
                      <a:pt x="171" y="16"/>
                      <a:pt x="171" y="16"/>
                    </a:cubicBezTo>
                    <a:cubicBezTo>
                      <a:pt x="170" y="16"/>
                      <a:pt x="170" y="16"/>
                      <a:pt x="170" y="16"/>
                    </a:cubicBezTo>
                    <a:cubicBezTo>
                      <a:pt x="170" y="16"/>
                      <a:pt x="170" y="16"/>
                      <a:pt x="170" y="16"/>
                    </a:cubicBezTo>
                    <a:cubicBezTo>
                      <a:pt x="169" y="16"/>
                      <a:pt x="169" y="16"/>
                      <a:pt x="169" y="16"/>
                    </a:cubicBezTo>
                    <a:cubicBezTo>
                      <a:pt x="169" y="17"/>
                      <a:pt x="169" y="17"/>
                      <a:pt x="169" y="17"/>
                    </a:cubicBezTo>
                    <a:cubicBezTo>
                      <a:pt x="169" y="17"/>
                      <a:pt x="169" y="17"/>
                      <a:pt x="169" y="17"/>
                    </a:cubicBezTo>
                    <a:cubicBezTo>
                      <a:pt x="166" y="17"/>
                      <a:pt x="166" y="17"/>
                      <a:pt x="166" y="17"/>
                    </a:cubicBezTo>
                    <a:cubicBezTo>
                      <a:pt x="166" y="17"/>
                      <a:pt x="166" y="17"/>
                      <a:pt x="166" y="17"/>
                    </a:cubicBezTo>
                    <a:cubicBezTo>
                      <a:pt x="166" y="17"/>
                      <a:pt x="166" y="17"/>
                      <a:pt x="166" y="17"/>
                    </a:cubicBezTo>
                    <a:cubicBezTo>
                      <a:pt x="165" y="18"/>
                      <a:pt x="165" y="18"/>
                      <a:pt x="165" y="18"/>
                    </a:cubicBezTo>
                    <a:cubicBezTo>
                      <a:pt x="164" y="18"/>
                      <a:pt x="164" y="18"/>
                      <a:pt x="164" y="18"/>
                    </a:cubicBezTo>
                    <a:cubicBezTo>
                      <a:pt x="164" y="18"/>
                      <a:pt x="164" y="18"/>
                      <a:pt x="164" y="18"/>
                    </a:cubicBezTo>
                    <a:cubicBezTo>
                      <a:pt x="164" y="18"/>
                      <a:pt x="164" y="18"/>
                      <a:pt x="164" y="18"/>
                    </a:cubicBezTo>
                    <a:cubicBezTo>
                      <a:pt x="163" y="19"/>
                      <a:pt x="163" y="19"/>
                      <a:pt x="163" y="19"/>
                    </a:cubicBezTo>
                    <a:cubicBezTo>
                      <a:pt x="163" y="19"/>
                      <a:pt x="163" y="20"/>
                      <a:pt x="163" y="20"/>
                    </a:cubicBezTo>
                    <a:cubicBezTo>
                      <a:pt x="162" y="20"/>
                      <a:pt x="162" y="20"/>
                      <a:pt x="162" y="20"/>
                    </a:cubicBezTo>
                    <a:cubicBezTo>
                      <a:pt x="162" y="20"/>
                      <a:pt x="162" y="20"/>
                      <a:pt x="162" y="20"/>
                    </a:cubicBezTo>
                    <a:cubicBezTo>
                      <a:pt x="159" y="22"/>
                      <a:pt x="159" y="22"/>
                      <a:pt x="159" y="22"/>
                    </a:cubicBezTo>
                    <a:cubicBezTo>
                      <a:pt x="161" y="19"/>
                      <a:pt x="161" y="19"/>
                      <a:pt x="161" y="19"/>
                    </a:cubicBezTo>
                    <a:cubicBezTo>
                      <a:pt x="161" y="19"/>
                      <a:pt x="161" y="19"/>
                      <a:pt x="161" y="19"/>
                    </a:cubicBezTo>
                    <a:cubicBezTo>
                      <a:pt x="161" y="19"/>
                      <a:pt x="160" y="19"/>
                      <a:pt x="160" y="19"/>
                    </a:cubicBezTo>
                    <a:cubicBezTo>
                      <a:pt x="160" y="19"/>
                      <a:pt x="160" y="19"/>
                      <a:pt x="160" y="19"/>
                    </a:cubicBezTo>
                    <a:cubicBezTo>
                      <a:pt x="160" y="19"/>
                      <a:pt x="160" y="19"/>
                      <a:pt x="160" y="19"/>
                    </a:cubicBezTo>
                    <a:cubicBezTo>
                      <a:pt x="159" y="19"/>
                      <a:pt x="159" y="19"/>
                      <a:pt x="159" y="19"/>
                    </a:cubicBezTo>
                    <a:cubicBezTo>
                      <a:pt x="158" y="21"/>
                      <a:pt x="158" y="21"/>
                      <a:pt x="158" y="21"/>
                    </a:cubicBezTo>
                    <a:cubicBezTo>
                      <a:pt x="158" y="18"/>
                      <a:pt x="158" y="18"/>
                      <a:pt x="158" y="18"/>
                    </a:cubicBezTo>
                    <a:cubicBezTo>
                      <a:pt x="158" y="19"/>
                      <a:pt x="158" y="19"/>
                      <a:pt x="158" y="19"/>
                    </a:cubicBezTo>
                    <a:cubicBezTo>
                      <a:pt x="157" y="19"/>
                      <a:pt x="157" y="19"/>
                      <a:pt x="157" y="19"/>
                    </a:cubicBezTo>
                    <a:cubicBezTo>
                      <a:pt x="155" y="19"/>
                      <a:pt x="155" y="19"/>
                      <a:pt x="155" y="19"/>
                    </a:cubicBezTo>
                    <a:cubicBezTo>
                      <a:pt x="154" y="19"/>
                      <a:pt x="153" y="19"/>
                      <a:pt x="151" y="18"/>
                    </a:cubicBezTo>
                    <a:cubicBezTo>
                      <a:pt x="151" y="18"/>
                      <a:pt x="151" y="18"/>
                      <a:pt x="151" y="18"/>
                    </a:cubicBezTo>
                    <a:cubicBezTo>
                      <a:pt x="151" y="18"/>
                      <a:pt x="151" y="18"/>
                      <a:pt x="151" y="18"/>
                    </a:cubicBezTo>
                    <a:cubicBezTo>
                      <a:pt x="151" y="18"/>
                      <a:pt x="151" y="18"/>
                      <a:pt x="151" y="18"/>
                    </a:cubicBezTo>
                    <a:cubicBezTo>
                      <a:pt x="150" y="18"/>
                      <a:pt x="150" y="19"/>
                      <a:pt x="149" y="19"/>
                    </a:cubicBezTo>
                    <a:cubicBezTo>
                      <a:pt x="149" y="19"/>
                      <a:pt x="149" y="19"/>
                      <a:pt x="149" y="19"/>
                    </a:cubicBezTo>
                    <a:cubicBezTo>
                      <a:pt x="150" y="20"/>
                      <a:pt x="150" y="20"/>
                      <a:pt x="150" y="20"/>
                    </a:cubicBezTo>
                    <a:cubicBezTo>
                      <a:pt x="150" y="20"/>
                      <a:pt x="150" y="20"/>
                      <a:pt x="150" y="20"/>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49" y="22"/>
                      <a:pt x="149" y="22"/>
                      <a:pt x="149" y="22"/>
                    </a:cubicBezTo>
                    <a:cubicBezTo>
                      <a:pt x="150" y="23"/>
                      <a:pt x="150" y="23"/>
                      <a:pt x="150" y="23"/>
                    </a:cubicBezTo>
                    <a:cubicBezTo>
                      <a:pt x="150" y="22"/>
                      <a:pt x="151" y="22"/>
                      <a:pt x="151" y="22"/>
                    </a:cubicBezTo>
                    <a:cubicBezTo>
                      <a:pt x="151" y="22"/>
                      <a:pt x="151" y="22"/>
                      <a:pt x="151" y="22"/>
                    </a:cubicBezTo>
                    <a:cubicBezTo>
                      <a:pt x="151" y="22"/>
                      <a:pt x="151" y="22"/>
                      <a:pt x="152" y="22"/>
                    </a:cubicBezTo>
                    <a:cubicBezTo>
                      <a:pt x="152" y="22"/>
                      <a:pt x="152" y="22"/>
                      <a:pt x="152" y="22"/>
                    </a:cubicBezTo>
                    <a:cubicBezTo>
                      <a:pt x="152" y="22"/>
                      <a:pt x="152" y="22"/>
                      <a:pt x="152" y="22"/>
                    </a:cubicBezTo>
                    <a:cubicBezTo>
                      <a:pt x="153" y="22"/>
                      <a:pt x="153" y="22"/>
                      <a:pt x="153" y="22"/>
                    </a:cubicBezTo>
                    <a:cubicBezTo>
                      <a:pt x="153" y="22"/>
                      <a:pt x="153" y="22"/>
                      <a:pt x="153" y="22"/>
                    </a:cubicBezTo>
                    <a:cubicBezTo>
                      <a:pt x="154" y="23"/>
                      <a:pt x="154" y="23"/>
                      <a:pt x="154" y="23"/>
                    </a:cubicBezTo>
                    <a:cubicBezTo>
                      <a:pt x="154" y="23"/>
                      <a:pt x="154" y="23"/>
                      <a:pt x="154" y="23"/>
                    </a:cubicBezTo>
                    <a:cubicBezTo>
                      <a:pt x="156" y="23"/>
                      <a:pt x="156" y="23"/>
                      <a:pt x="156" y="23"/>
                    </a:cubicBezTo>
                    <a:cubicBezTo>
                      <a:pt x="154" y="25"/>
                      <a:pt x="154" y="25"/>
                      <a:pt x="154" y="25"/>
                    </a:cubicBezTo>
                    <a:cubicBezTo>
                      <a:pt x="154" y="25"/>
                      <a:pt x="154" y="25"/>
                      <a:pt x="154" y="25"/>
                    </a:cubicBezTo>
                    <a:cubicBezTo>
                      <a:pt x="153" y="25"/>
                      <a:pt x="153" y="25"/>
                      <a:pt x="153" y="25"/>
                    </a:cubicBezTo>
                    <a:cubicBezTo>
                      <a:pt x="153" y="26"/>
                      <a:pt x="153" y="26"/>
                      <a:pt x="153" y="26"/>
                    </a:cubicBezTo>
                    <a:cubicBezTo>
                      <a:pt x="153" y="26"/>
                      <a:pt x="153" y="26"/>
                      <a:pt x="153" y="26"/>
                    </a:cubicBezTo>
                    <a:cubicBezTo>
                      <a:pt x="152" y="27"/>
                      <a:pt x="152" y="27"/>
                      <a:pt x="152" y="27"/>
                    </a:cubicBezTo>
                    <a:cubicBezTo>
                      <a:pt x="152" y="27"/>
                      <a:pt x="152" y="27"/>
                      <a:pt x="152" y="27"/>
                    </a:cubicBezTo>
                    <a:cubicBezTo>
                      <a:pt x="152" y="27"/>
                      <a:pt x="152" y="27"/>
                      <a:pt x="151" y="27"/>
                    </a:cubicBezTo>
                    <a:cubicBezTo>
                      <a:pt x="151" y="27"/>
                      <a:pt x="151" y="27"/>
                      <a:pt x="151" y="27"/>
                    </a:cubicBezTo>
                    <a:cubicBezTo>
                      <a:pt x="151" y="27"/>
                      <a:pt x="152" y="27"/>
                      <a:pt x="152" y="27"/>
                    </a:cubicBezTo>
                    <a:cubicBezTo>
                      <a:pt x="153" y="27"/>
                      <a:pt x="153" y="27"/>
                      <a:pt x="153" y="27"/>
                    </a:cubicBezTo>
                    <a:cubicBezTo>
                      <a:pt x="153" y="27"/>
                      <a:pt x="153" y="27"/>
                      <a:pt x="153" y="27"/>
                    </a:cubicBezTo>
                    <a:cubicBezTo>
                      <a:pt x="153" y="27"/>
                      <a:pt x="153" y="27"/>
                      <a:pt x="153" y="27"/>
                    </a:cubicBezTo>
                    <a:cubicBezTo>
                      <a:pt x="154" y="27"/>
                      <a:pt x="154" y="28"/>
                      <a:pt x="155" y="28"/>
                    </a:cubicBezTo>
                    <a:cubicBezTo>
                      <a:pt x="157" y="29"/>
                      <a:pt x="157" y="29"/>
                      <a:pt x="157" y="29"/>
                    </a:cubicBezTo>
                    <a:cubicBezTo>
                      <a:pt x="158" y="29"/>
                      <a:pt x="158" y="29"/>
                      <a:pt x="159" y="29"/>
                    </a:cubicBezTo>
                    <a:cubicBezTo>
                      <a:pt x="160" y="30"/>
                      <a:pt x="160" y="30"/>
                      <a:pt x="160" y="30"/>
                    </a:cubicBezTo>
                    <a:cubicBezTo>
                      <a:pt x="160" y="31"/>
                      <a:pt x="160" y="31"/>
                      <a:pt x="160" y="31"/>
                    </a:cubicBezTo>
                    <a:cubicBezTo>
                      <a:pt x="160" y="31"/>
                      <a:pt x="159" y="31"/>
                      <a:pt x="159" y="32"/>
                    </a:cubicBezTo>
                    <a:cubicBezTo>
                      <a:pt x="159" y="32"/>
                      <a:pt x="159" y="32"/>
                      <a:pt x="159" y="32"/>
                    </a:cubicBezTo>
                    <a:cubicBezTo>
                      <a:pt x="159" y="32"/>
                      <a:pt x="159" y="32"/>
                      <a:pt x="159" y="32"/>
                    </a:cubicBezTo>
                    <a:cubicBezTo>
                      <a:pt x="159" y="33"/>
                      <a:pt x="159" y="33"/>
                      <a:pt x="159" y="33"/>
                    </a:cubicBezTo>
                    <a:cubicBezTo>
                      <a:pt x="158" y="33"/>
                      <a:pt x="158" y="33"/>
                      <a:pt x="158" y="33"/>
                    </a:cubicBezTo>
                    <a:cubicBezTo>
                      <a:pt x="158" y="33"/>
                      <a:pt x="158" y="33"/>
                      <a:pt x="158" y="33"/>
                    </a:cubicBezTo>
                    <a:cubicBezTo>
                      <a:pt x="158" y="33"/>
                      <a:pt x="158" y="33"/>
                      <a:pt x="158" y="33"/>
                    </a:cubicBezTo>
                    <a:cubicBezTo>
                      <a:pt x="158" y="33"/>
                      <a:pt x="158" y="33"/>
                      <a:pt x="158" y="33"/>
                    </a:cubicBezTo>
                    <a:cubicBezTo>
                      <a:pt x="157" y="33"/>
                      <a:pt x="157" y="33"/>
                      <a:pt x="157" y="33"/>
                    </a:cubicBezTo>
                    <a:cubicBezTo>
                      <a:pt x="157" y="34"/>
                      <a:pt x="156" y="33"/>
                      <a:pt x="156" y="33"/>
                    </a:cubicBezTo>
                    <a:cubicBezTo>
                      <a:pt x="156" y="33"/>
                      <a:pt x="156" y="33"/>
                      <a:pt x="156" y="33"/>
                    </a:cubicBezTo>
                    <a:cubicBezTo>
                      <a:pt x="156" y="33"/>
                      <a:pt x="156" y="33"/>
                      <a:pt x="156" y="33"/>
                    </a:cubicBezTo>
                    <a:cubicBezTo>
                      <a:pt x="156" y="33"/>
                      <a:pt x="156" y="33"/>
                      <a:pt x="156" y="33"/>
                    </a:cubicBezTo>
                    <a:cubicBezTo>
                      <a:pt x="156" y="33"/>
                      <a:pt x="156" y="33"/>
                      <a:pt x="156" y="33"/>
                    </a:cubicBezTo>
                    <a:cubicBezTo>
                      <a:pt x="156" y="36"/>
                      <a:pt x="156" y="36"/>
                      <a:pt x="156" y="36"/>
                    </a:cubicBezTo>
                    <a:cubicBezTo>
                      <a:pt x="155" y="33"/>
                      <a:pt x="155" y="33"/>
                      <a:pt x="155" y="33"/>
                    </a:cubicBezTo>
                    <a:cubicBezTo>
                      <a:pt x="155" y="33"/>
                      <a:pt x="154" y="33"/>
                      <a:pt x="154" y="33"/>
                    </a:cubicBezTo>
                    <a:cubicBezTo>
                      <a:pt x="154" y="33"/>
                      <a:pt x="154" y="33"/>
                      <a:pt x="154" y="33"/>
                    </a:cubicBezTo>
                    <a:cubicBezTo>
                      <a:pt x="154" y="33"/>
                      <a:pt x="154" y="33"/>
                      <a:pt x="154" y="33"/>
                    </a:cubicBezTo>
                    <a:cubicBezTo>
                      <a:pt x="154" y="33"/>
                      <a:pt x="153" y="33"/>
                      <a:pt x="153" y="33"/>
                    </a:cubicBezTo>
                    <a:cubicBezTo>
                      <a:pt x="152" y="33"/>
                      <a:pt x="152" y="33"/>
                      <a:pt x="152" y="33"/>
                    </a:cubicBezTo>
                    <a:cubicBezTo>
                      <a:pt x="152" y="33"/>
                      <a:pt x="152" y="33"/>
                      <a:pt x="152" y="33"/>
                    </a:cubicBezTo>
                    <a:cubicBezTo>
                      <a:pt x="152" y="33"/>
                      <a:pt x="152" y="33"/>
                      <a:pt x="152" y="33"/>
                    </a:cubicBezTo>
                    <a:cubicBezTo>
                      <a:pt x="151" y="35"/>
                      <a:pt x="151" y="35"/>
                      <a:pt x="151" y="35"/>
                    </a:cubicBezTo>
                    <a:cubicBezTo>
                      <a:pt x="151" y="33"/>
                      <a:pt x="151" y="33"/>
                      <a:pt x="151" y="33"/>
                    </a:cubicBezTo>
                    <a:cubicBezTo>
                      <a:pt x="151" y="33"/>
                      <a:pt x="151" y="33"/>
                      <a:pt x="151" y="33"/>
                    </a:cubicBezTo>
                    <a:cubicBezTo>
                      <a:pt x="151" y="33"/>
                      <a:pt x="150" y="33"/>
                      <a:pt x="150" y="33"/>
                    </a:cubicBezTo>
                    <a:cubicBezTo>
                      <a:pt x="149" y="33"/>
                      <a:pt x="149" y="33"/>
                      <a:pt x="149" y="33"/>
                    </a:cubicBezTo>
                    <a:cubicBezTo>
                      <a:pt x="149" y="33"/>
                      <a:pt x="149" y="33"/>
                      <a:pt x="149" y="33"/>
                    </a:cubicBezTo>
                    <a:cubicBezTo>
                      <a:pt x="148" y="33"/>
                      <a:pt x="148" y="33"/>
                      <a:pt x="148" y="33"/>
                    </a:cubicBezTo>
                    <a:cubicBezTo>
                      <a:pt x="147" y="34"/>
                      <a:pt x="147" y="34"/>
                      <a:pt x="147" y="34"/>
                    </a:cubicBezTo>
                    <a:cubicBezTo>
                      <a:pt x="147" y="35"/>
                      <a:pt x="146" y="35"/>
                      <a:pt x="146" y="36"/>
                    </a:cubicBezTo>
                    <a:cubicBezTo>
                      <a:pt x="145" y="36"/>
                      <a:pt x="145" y="36"/>
                      <a:pt x="145" y="36"/>
                    </a:cubicBezTo>
                    <a:cubicBezTo>
                      <a:pt x="148" y="38"/>
                      <a:pt x="148" y="38"/>
                      <a:pt x="148" y="38"/>
                    </a:cubicBezTo>
                    <a:cubicBezTo>
                      <a:pt x="148" y="39"/>
                      <a:pt x="148" y="39"/>
                      <a:pt x="148" y="39"/>
                    </a:cubicBezTo>
                    <a:cubicBezTo>
                      <a:pt x="148" y="40"/>
                      <a:pt x="148" y="40"/>
                      <a:pt x="148" y="40"/>
                    </a:cubicBezTo>
                    <a:cubicBezTo>
                      <a:pt x="149" y="41"/>
                      <a:pt x="149" y="41"/>
                      <a:pt x="148" y="42"/>
                    </a:cubicBezTo>
                    <a:cubicBezTo>
                      <a:pt x="148" y="42"/>
                      <a:pt x="148" y="42"/>
                      <a:pt x="148" y="42"/>
                    </a:cubicBezTo>
                    <a:cubicBezTo>
                      <a:pt x="148" y="42"/>
                      <a:pt x="148" y="42"/>
                      <a:pt x="148" y="42"/>
                    </a:cubicBezTo>
                    <a:cubicBezTo>
                      <a:pt x="147" y="42"/>
                      <a:pt x="147" y="42"/>
                      <a:pt x="147" y="42"/>
                    </a:cubicBezTo>
                    <a:cubicBezTo>
                      <a:pt x="147" y="42"/>
                      <a:pt x="147" y="43"/>
                      <a:pt x="146" y="43"/>
                    </a:cubicBezTo>
                    <a:cubicBezTo>
                      <a:pt x="146" y="43"/>
                      <a:pt x="146" y="43"/>
                      <a:pt x="146" y="43"/>
                    </a:cubicBezTo>
                    <a:cubicBezTo>
                      <a:pt x="146" y="43"/>
                      <a:pt x="146" y="43"/>
                      <a:pt x="146" y="43"/>
                    </a:cubicBezTo>
                    <a:cubicBezTo>
                      <a:pt x="146" y="43"/>
                      <a:pt x="146" y="43"/>
                      <a:pt x="146" y="43"/>
                    </a:cubicBezTo>
                    <a:cubicBezTo>
                      <a:pt x="145" y="44"/>
                      <a:pt x="145" y="44"/>
                      <a:pt x="145" y="44"/>
                    </a:cubicBezTo>
                    <a:cubicBezTo>
                      <a:pt x="144" y="44"/>
                      <a:pt x="144" y="44"/>
                      <a:pt x="143" y="44"/>
                    </a:cubicBezTo>
                    <a:cubicBezTo>
                      <a:pt x="143" y="44"/>
                      <a:pt x="143" y="44"/>
                      <a:pt x="143" y="44"/>
                    </a:cubicBezTo>
                    <a:cubicBezTo>
                      <a:pt x="142" y="44"/>
                      <a:pt x="142" y="44"/>
                      <a:pt x="142" y="44"/>
                    </a:cubicBezTo>
                    <a:cubicBezTo>
                      <a:pt x="142" y="44"/>
                      <a:pt x="142" y="44"/>
                      <a:pt x="142" y="44"/>
                    </a:cubicBezTo>
                    <a:cubicBezTo>
                      <a:pt x="142" y="45"/>
                      <a:pt x="142" y="45"/>
                      <a:pt x="142" y="45"/>
                    </a:cubicBezTo>
                    <a:cubicBezTo>
                      <a:pt x="141" y="45"/>
                      <a:pt x="141" y="45"/>
                      <a:pt x="141" y="45"/>
                    </a:cubicBezTo>
                    <a:cubicBezTo>
                      <a:pt x="144" y="47"/>
                      <a:pt x="144" y="47"/>
                      <a:pt x="144" y="47"/>
                    </a:cubicBezTo>
                    <a:cubicBezTo>
                      <a:pt x="142" y="47"/>
                      <a:pt x="142" y="47"/>
                      <a:pt x="142" y="47"/>
                    </a:cubicBezTo>
                    <a:cubicBezTo>
                      <a:pt x="142" y="47"/>
                      <a:pt x="142" y="47"/>
                      <a:pt x="142" y="47"/>
                    </a:cubicBezTo>
                    <a:cubicBezTo>
                      <a:pt x="142" y="47"/>
                      <a:pt x="142" y="47"/>
                      <a:pt x="142" y="47"/>
                    </a:cubicBezTo>
                    <a:cubicBezTo>
                      <a:pt x="139" y="47"/>
                      <a:pt x="139" y="47"/>
                      <a:pt x="139" y="47"/>
                    </a:cubicBezTo>
                    <a:cubicBezTo>
                      <a:pt x="140" y="47"/>
                      <a:pt x="140" y="47"/>
                      <a:pt x="141" y="47"/>
                    </a:cubicBezTo>
                    <a:cubicBezTo>
                      <a:pt x="141" y="47"/>
                      <a:pt x="141" y="47"/>
                      <a:pt x="141" y="47"/>
                    </a:cubicBezTo>
                    <a:cubicBezTo>
                      <a:pt x="141" y="48"/>
                      <a:pt x="141" y="48"/>
                      <a:pt x="142" y="48"/>
                    </a:cubicBezTo>
                    <a:cubicBezTo>
                      <a:pt x="143" y="48"/>
                      <a:pt x="143" y="48"/>
                      <a:pt x="143" y="48"/>
                    </a:cubicBezTo>
                    <a:cubicBezTo>
                      <a:pt x="143" y="49"/>
                      <a:pt x="143" y="49"/>
                      <a:pt x="143" y="49"/>
                    </a:cubicBezTo>
                    <a:cubicBezTo>
                      <a:pt x="143" y="49"/>
                      <a:pt x="143" y="49"/>
                      <a:pt x="143" y="49"/>
                    </a:cubicBezTo>
                    <a:cubicBezTo>
                      <a:pt x="143" y="49"/>
                      <a:pt x="143" y="49"/>
                      <a:pt x="143" y="49"/>
                    </a:cubicBezTo>
                    <a:cubicBezTo>
                      <a:pt x="143" y="49"/>
                      <a:pt x="143" y="49"/>
                      <a:pt x="143" y="49"/>
                    </a:cubicBezTo>
                    <a:cubicBezTo>
                      <a:pt x="145" y="49"/>
                      <a:pt x="145" y="49"/>
                      <a:pt x="145" y="49"/>
                    </a:cubicBezTo>
                    <a:cubicBezTo>
                      <a:pt x="148" y="51"/>
                      <a:pt x="148" y="51"/>
                      <a:pt x="148" y="51"/>
                    </a:cubicBezTo>
                    <a:cubicBezTo>
                      <a:pt x="149" y="51"/>
                      <a:pt x="149" y="51"/>
                      <a:pt x="149" y="51"/>
                    </a:cubicBezTo>
                    <a:cubicBezTo>
                      <a:pt x="149" y="52"/>
                      <a:pt x="149" y="52"/>
                      <a:pt x="149" y="52"/>
                    </a:cubicBezTo>
                    <a:cubicBezTo>
                      <a:pt x="153" y="54"/>
                      <a:pt x="153" y="54"/>
                      <a:pt x="153" y="54"/>
                    </a:cubicBezTo>
                    <a:cubicBezTo>
                      <a:pt x="154" y="52"/>
                      <a:pt x="154" y="52"/>
                      <a:pt x="154" y="52"/>
                    </a:cubicBezTo>
                    <a:cubicBezTo>
                      <a:pt x="154" y="54"/>
                      <a:pt x="154" y="54"/>
                      <a:pt x="154" y="54"/>
                    </a:cubicBezTo>
                    <a:cubicBezTo>
                      <a:pt x="156" y="55"/>
                      <a:pt x="156" y="55"/>
                      <a:pt x="156" y="55"/>
                    </a:cubicBezTo>
                    <a:cubicBezTo>
                      <a:pt x="156" y="55"/>
                      <a:pt x="156" y="55"/>
                      <a:pt x="156" y="55"/>
                    </a:cubicBezTo>
                    <a:cubicBezTo>
                      <a:pt x="158" y="57"/>
                      <a:pt x="158" y="57"/>
                      <a:pt x="158" y="57"/>
                    </a:cubicBezTo>
                    <a:cubicBezTo>
                      <a:pt x="155" y="57"/>
                      <a:pt x="155" y="57"/>
                      <a:pt x="155" y="57"/>
                    </a:cubicBezTo>
                    <a:cubicBezTo>
                      <a:pt x="154" y="57"/>
                      <a:pt x="154" y="57"/>
                      <a:pt x="154" y="57"/>
                    </a:cubicBezTo>
                    <a:cubicBezTo>
                      <a:pt x="154" y="57"/>
                      <a:pt x="154" y="58"/>
                      <a:pt x="153" y="59"/>
                    </a:cubicBezTo>
                    <a:cubicBezTo>
                      <a:pt x="153" y="59"/>
                      <a:pt x="153" y="59"/>
                      <a:pt x="153" y="59"/>
                    </a:cubicBezTo>
                    <a:cubicBezTo>
                      <a:pt x="153" y="59"/>
                      <a:pt x="153" y="59"/>
                      <a:pt x="153" y="59"/>
                    </a:cubicBezTo>
                    <a:cubicBezTo>
                      <a:pt x="153" y="59"/>
                      <a:pt x="153" y="60"/>
                      <a:pt x="153" y="60"/>
                    </a:cubicBezTo>
                    <a:cubicBezTo>
                      <a:pt x="153" y="60"/>
                      <a:pt x="153" y="60"/>
                      <a:pt x="153" y="60"/>
                    </a:cubicBezTo>
                    <a:cubicBezTo>
                      <a:pt x="153" y="61"/>
                      <a:pt x="153" y="61"/>
                      <a:pt x="153" y="61"/>
                    </a:cubicBezTo>
                    <a:cubicBezTo>
                      <a:pt x="153" y="61"/>
                      <a:pt x="153" y="61"/>
                      <a:pt x="153" y="62"/>
                    </a:cubicBezTo>
                    <a:cubicBezTo>
                      <a:pt x="152" y="63"/>
                      <a:pt x="152" y="63"/>
                      <a:pt x="152" y="63"/>
                    </a:cubicBezTo>
                    <a:cubicBezTo>
                      <a:pt x="151" y="63"/>
                      <a:pt x="151" y="63"/>
                      <a:pt x="151" y="63"/>
                    </a:cubicBezTo>
                    <a:cubicBezTo>
                      <a:pt x="150" y="64"/>
                      <a:pt x="147" y="64"/>
                      <a:pt x="145" y="65"/>
                    </a:cubicBezTo>
                    <a:cubicBezTo>
                      <a:pt x="145" y="65"/>
                      <a:pt x="145" y="65"/>
                      <a:pt x="145" y="65"/>
                    </a:cubicBezTo>
                    <a:cubicBezTo>
                      <a:pt x="145" y="65"/>
                      <a:pt x="145" y="65"/>
                      <a:pt x="145" y="65"/>
                    </a:cubicBezTo>
                    <a:cubicBezTo>
                      <a:pt x="144" y="65"/>
                      <a:pt x="144" y="65"/>
                      <a:pt x="144" y="65"/>
                    </a:cubicBezTo>
                    <a:cubicBezTo>
                      <a:pt x="142" y="64"/>
                      <a:pt x="141" y="64"/>
                      <a:pt x="139" y="63"/>
                    </a:cubicBezTo>
                    <a:cubicBezTo>
                      <a:pt x="138" y="63"/>
                      <a:pt x="138" y="63"/>
                      <a:pt x="138" y="63"/>
                    </a:cubicBezTo>
                    <a:cubicBezTo>
                      <a:pt x="137" y="63"/>
                      <a:pt x="137" y="63"/>
                      <a:pt x="137" y="63"/>
                    </a:cubicBezTo>
                    <a:cubicBezTo>
                      <a:pt x="137" y="63"/>
                      <a:pt x="137" y="63"/>
                      <a:pt x="137" y="64"/>
                    </a:cubicBezTo>
                    <a:cubicBezTo>
                      <a:pt x="137" y="64"/>
                      <a:pt x="136" y="65"/>
                      <a:pt x="136" y="65"/>
                    </a:cubicBezTo>
                    <a:cubicBezTo>
                      <a:pt x="136" y="66"/>
                      <a:pt x="136" y="66"/>
                      <a:pt x="136" y="66"/>
                    </a:cubicBezTo>
                    <a:cubicBezTo>
                      <a:pt x="135" y="66"/>
                      <a:pt x="135" y="66"/>
                      <a:pt x="134" y="66"/>
                    </a:cubicBezTo>
                    <a:cubicBezTo>
                      <a:pt x="134" y="66"/>
                      <a:pt x="134" y="66"/>
                      <a:pt x="134" y="67"/>
                    </a:cubicBezTo>
                    <a:cubicBezTo>
                      <a:pt x="133" y="67"/>
                      <a:pt x="133" y="67"/>
                      <a:pt x="133" y="67"/>
                    </a:cubicBezTo>
                    <a:cubicBezTo>
                      <a:pt x="133" y="67"/>
                      <a:pt x="133" y="67"/>
                      <a:pt x="133" y="67"/>
                    </a:cubicBezTo>
                    <a:cubicBezTo>
                      <a:pt x="131" y="69"/>
                      <a:pt x="131" y="69"/>
                      <a:pt x="131" y="69"/>
                    </a:cubicBezTo>
                    <a:cubicBezTo>
                      <a:pt x="131" y="66"/>
                      <a:pt x="131" y="66"/>
                      <a:pt x="131" y="66"/>
                    </a:cubicBezTo>
                    <a:cubicBezTo>
                      <a:pt x="131" y="66"/>
                      <a:pt x="131" y="65"/>
                      <a:pt x="131" y="65"/>
                    </a:cubicBezTo>
                    <a:cubicBezTo>
                      <a:pt x="130" y="65"/>
                      <a:pt x="129" y="65"/>
                      <a:pt x="128" y="65"/>
                    </a:cubicBezTo>
                    <a:cubicBezTo>
                      <a:pt x="128" y="65"/>
                      <a:pt x="128" y="65"/>
                      <a:pt x="127" y="65"/>
                    </a:cubicBezTo>
                    <a:cubicBezTo>
                      <a:pt x="127" y="65"/>
                      <a:pt x="126" y="65"/>
                      <a:pt x="126" y="64"/>
                    </a:cubicBezTo>
                    <a:cubicBezTo>
                      <a:pt x="125" y="66"/>
                      <a:pt x="125" y="66"/>
                      <a:pt x="125" y="66"/>
                    </a:cubicBezTo>
                    <a:cubicBezTo>
                      <a:pt x="125" y="64"/>
                      <a:pt x="125" y="64"/>
                      <a:pt x="125" y="64"/>
                    </a:cubicBezTo>
                    <a:cubicBezTo>
                      <a:pt x="125" y="64"/>
                      <a:pt x="125" y="64"/>
                      <a:pt x="125" y="64"/>
                    </a:cubicBezTo>
                    <a:cubicBezTo>
                      <a:pt x="125" y="64"/>
                      <a:pt x="124" y="64"/>
                      <a:pt x="124" y="64"/>
                    </a:cubicBezTo>
                    <a:cubicBezTo>
                      <a:pt x="123" y="63"/>
                      <a:pt x="122" y="63"/>
                      <a:pt x="122" y="62"/>
                    </a:cubicBezTo>
                    <a:cubicBezTo>
                      <a:pt x="122" y="62"/>
                      <a:pt x="122" y="61"/>
                      <a:pt x="122" y="60"/>
                    </a:cubicBezTo>
                    <a:cubicBezTo>
                      <a:pt x="122" y="60"/>
                      <a:pt x="121" y="59"/>
                      <a:pt x="121" y="59"/>
                    </a:cubicBezTo>
                    <a:cubicBezTo>
                      <a:pt x="120" y="58"/>
                      <a:pt x="118" y="58"/>
                      <a:pt x="116" y="58"/>
                    </a:cubicBezTo>
                    <a:cubicBezTo>
                      <a:pt x="116" y="58"/>
                      <a:pt x="116" y="58"/>
                      <a:pt x="116" y="58"/>
                    </a:cubicBezTo>
                    <a:cubicBezTo>
                      <a:pt x="116" y="58"/>
                      <a:pt x="115" y="58"/>
                      <a:pt x="115" y="58"/>
                    </a:cubicBezTo>
                    <a:cubicBezTo>
                      <a:pt x="115" y="59"/>
                      <a:pt x="115" y="60"/>
                      <a:pt x="115" y="60"/>
                    </a:cubicBezTo>
                    <a:cubicBezTo>
                      <a:pt x="115" y="60"/>
                      <a:pt x="115" y="60"/>
                      <a:pt x="115" y="60"/>
                    </a:cubicBezTo>
                    <a:cubicBezTo>
                      <a:pt x="115" y="61"/>
                      <a:pt x="114" y="61"/>
                      <a:pt x="114" y="61"/>
                    </a:cubicBezTo>
                    <a:cubicBezTo>
                      <a:pt x="113" y="62"/>
                      <a:pt x="113" y="62"/>
                      <a:pt x="112" y="62"/>
                    </a:cubicBezTo>
                    <a:cubicBezTo>
                      <a:pt x="112" y="62"/>
                      <a:pt x="111" y="62"/>
                      <a:pt x="111" y="62"/>
                    </a:cubicBezTo>
                    <a:cubicBezTo>
                      <a:pt x="110" y="62"/>
                      <a:pt x="109" y="61"/>
                      <a:pt x="108" y="60"/>
                    </a:cubicBezTo>
                    <a:cubicBezTo>
                      <a:pt x="108" y="60"/>
                      <a:pt x="108" y="59"/>
                      <a:pt x="107" y="59"/>
                    </a:cubicBezTo>
                    <a:cubicBezTo>
                      <a:pt x="107" y="59"/>
                      <a:pt x="107" y="59"/>
                      <a:pt x="107" y="59"/>
                    </a:cubicBezTo>
                    <a:cubicBezTo>
                      <a:pt x="107" y="59"/>
                      <a:pt x="107" y="59"/>
                      <a:pt x="107" y="59"/>
                    </a:cubicBezTo>
                    <a:cubicBezTo>
                      <a:pt x="105" y="59"/>
                      <a:pt x="105" y="59"/>
                      <a:pt x="105" y="59"/>
                    </a:cubicBezTo>
                    <a:cubicBezTo>
                      <a:pt x="104" y="59"/>
                      <a:pt x="103" y="59"/>
                      <a:pt x="102" y="59"/>
                    </a:cubicBezTo>
                    <a:cubicBezTo>
                      <a:pt x="102" y="60"/>
                      <a:pt x="101" y="60"/>
                      <a:pt x="101" y="60"/>
                    </a:cubicBezTo>
                    <a:cubicBezTo>
                      <a:pt x="101" y="60"/>
                      <a:pt x="101" y="60"/>
                      <a:pt x="100" y="61"/>
                    </a:cubicBezTo>
                    <a:cubicBezTo>
                      <a:pt x="100" y="61"/>
                      <a:pt x="99" y="62"/>
                      <a:pt x="99" y="62"/>
                    </a:cubicBezTo>
                    <a:cubicBezTo>
                      <a:pt x="99" y="62"/>
                      <a:pt x="98" y="62"/>
                      <a:pt x="98" y="62"/>
                    </a:cubicBezTo>
                    <a:cubicBezTo>
                      <a:pt x="98" y="62"/>
                      <a:pt x="98" y="63"/>
                      <a:pt x="98" y="63"/>
                    </a:cubicBezTo>
                    <a:cubicBezTo>
                      <a:pt x="97" y="64"/>
                      <a:pt x="97" y="64"/>
                      <a:pt x="96" y="65"/>
                    </a:cubicBezTo>
                    <a:cubicBezTo>
                      <a:pt x="96" y="65"/>
                      <a:pt x="96" y="65"/>
                      <a:pt x="95" y="65"/>
                    </a:cubicBezTo>
                    <a:cubicBezTo>
                      <a:pt x="95" y="65"/>
                      <a:pt x="95" y="65"/>
                      <a:pt x="95" y="65"/>
                    </a:cubicBezTo>
                    <a:cubicBezTo>
                      <a:pt x="95" y="65"/>
                      <a:pt x="95" y="65"/>
                      <a:pt x="95" y="65"/>
                    </a:cubicBezTo>
                    <a:cubicBezTo>
                      <a:pt x="94" y="66"/>
                      <a:pt x="94" y="66"/>
                      <a:pt x="93" y="66"/>
                    </a:cubicBezTo>
                    <a:cubicBezTo>
                      <a:pt x="92" y="66"/>
                      <a:pt x="91" y="66"/>
                      <a:pt x="89" y="65"/>
                    </a:cubicBezTo>
                    <a:cubicBezTo>
                      <a:pt x="88" y="64"/>
                      <a:pt x="86" y="63"/>
                      <a:pt x="85" y="62"/>
                    </a:cubicBezTo>
                    <a:cubicBezTo>
                      <a:pt x="84" y="61"/>
                      <a:pt x="84" y="61"/>
                      <a:pt x="84" y="61"/>
                    </a:cubicBezTo>
                    <a:cubicBezTo>
                      <a:pt x="84" y="61"/>
                      <a:pt x="84" y="61"/>
                      <a:pt x="84" y="61"/>
                    </a:cubicBezTo>
                    <a:cubicBezTo>
                      <a:pt x="84" y="61"/>
                      <a:pt x="83" y="60"/>
                      <a:pt x="83" y="60"/>
                    </a:cubicBezTo>
                    <a:cubicBezTo>
                      <a:pt x="83" y="61"/>
                      <a:pt x="83" y="61"/>
                      <a:pt x="83" y="61"/>
                    </a:cubicBezTo>
                    <a:cubicBezTo>
                      <a:pt x="84" y="61"/>
                      <a:pt x="84" y="61"/>
                      <a:pt x="84" y="61"/>
                    </a:cubicBezTo>
                    <a:cubicBezTo>
                      <a:pt x="84" y="62"/>
                      <a:pt x="84" y="62"/>
                      <a:pt x="84" y="62"/>
                    </a:cubicBezTo>
                    <a:cubicBezTo>
                      <a:pt x="84" y="63"/>
                      <a:pt x="84" y="63"/>
                      <a:pt x="84" y="63"/>
                    </a:cubicBezTo>
                    <a:cubicBezTo>
                      <a:pt x="84" y="63"/>
                      <a:pt x="84" y="64"/>
                      <a:pt x="83" y="65"/>
                    </a:cubicBezTo>
                    <a:cubicBezTo>
                      <a:pt x="83" y="65"/>
                      <a:pt x="83" y="65"/>
                      <a:pt x="81" y="66"/>
                    </a:cubicBezTo>
                    <a:cubicBezTo>
                      <a:pt x="80" y="67"/>
                      <a:pt x="80" y="67"/>
                      <a:pt x="80" y="67"/>
                    </a:cubicBezTo>
                    <a:cubicBezTo>
                      <a:pt x="80" y="65"/>
                      <a:pt x="80" y="65"/>
                      <a:pt x="80" y="65"/>
                    </a:cubicBezTo>
                    <a:cubicBezTo>
                      <a:pt x="79" y="64"/>
                      <a:pt x="79" y="63"/>
                      <a:pt x="79" y="62"/>
                    </a:cubicBezTo>
                    <a:cubicBezTo>
                      <a:pt x="79" y="61"/>
                      <a:pt x="79" y="61"/>
                      <a:pt x="79" y="61"/>
                    </a:cubicBezTo>
                    <a:cubicBezTo>
                      <a:pt x="79" y="61"/>
                      <a:pt x="79" y="61"/>
                      <a:pt x="78" y="60"/>
                    </a:cubicBezTo>
                    <a:cubicBezTo>
                      <a:pt x="78" y="60"/>
                      <a:pt x="77" y="59"/>
                      <a:pt x="76" y="59"/>
                    </a:cubicBezTo>
                    <a:cubicBezTo>
                      <a:pt x="76" y="59"/>
                      <a:pt x="76" y="59"/>
                      <a:pt x="76" y="59"/>
                    </a:cubicBezTo>
                    <a:cubicBezTo>
                      <a:pt x="74" y="57"/>
                      <a:pt x="72" y="55"/>
                      <a:pt x="69" y="54"/>
                    </a:cubicBezTo>
                    <a:cubicBezTo>
                      <a:pt x="69" y="53"/>
                      <a:pt x="67" y="53"/>
                      <a:pt x="66" y="53"/>
                    </a:cubicBezTo>
                    <a:cubicBezTo>
                      <a:pt x="65" y="53"/>
                      <a:pt x="64" y="53"/>
                      <a:pt x="63" y="54"/>
                    </a:cubicBezTo>
                    <a:cubicBezTo>
                      <a:pt x="63" y="54"/>
                      <a:pt x="63" y="54"/>
                      <a:pt x="63" y="54"/>
                    </a:cubicBezTo>
                    <a:cubicBezTo>
                      <a:pt x="63" y="54"/>
                      <a:pt x="63" y="54"/>
                      <a:pt x="63" y="54"/>
                    </a:cubicBezTo>
                    <a:cubicBezTo>
                      <a:pt x="62" y="54"/>
                      <a:pt x="62" y="54"/>
                      <a:pt x="61" y="54"/>
                    </a:cubicBezTo>
                    <a:cubicBezTo>
                      <a:pt x="61" y="54"/>
                      <a:pt x="61" y="54"/>
                      <a:pt x="61" y="54"/>
                    </a:cubicBezTo>
                    <a:cubicBezTo>
                      <a:pt x="61" y="54"/>
                      <a:pt x="61" y="54"/>
                      <a:pt x="61" y="54"/>
                    </a:cubicBezTo>
                    <a:cubicBezTo>
                      <a:pt x="60" y="54"/>
                      <a:pt x="60" y="54"/>
                      <a:pt x="60" y="54"/>
                    </a:cubicBezTo>
                    <a:cubicBezTo>
                      <a:pt x="60" y="54"/>
                      <a:pt x="60" y="54"/>
                      <a:pt x="60" y="53"/>
                    </a:cubicBezTo>
                    <a:cubicBezTo>
                      <a:pt x="60" y="53"/>
                      <a:pt x="60" y="53"/>
                      <a:pt x="60" y="53"/>
                    </a:cubicBezTo>
                    <a:cubicBezTo>
                      <a:pt x="60" y="53"/>
                      <a:pt x="59" y="53"/>
                      <a:pt x="59" y="53"/>
                    </a:cubicBezTo>
                    <a:cubicBezTo>
                      <a:pt x="59" y="52"/>
                      <a:pt x="59" y="52"/>
                      <a:pt x="59" y="52"/>
                    </a:cubicBezTo>
                    <a:cubicBezTo>
                      <a:pt x="59" y="52"/>
                      <a:pt x="59" y="52"/>
                      <a:pt x="59" y="52"/>
                    </a:cubicBezTo>
                    <a:cubicBezTo>
                      <a:pt x="58" y="51"/>
                      <a:pt x="58" y="51"/>
                      <a:pt x="58" y="50"/>
                    </a:cubicBezTo>
                    <a:cubicBezTo>
                      <a:pt x="57" y="51"/>
                      <a:pt x="56" y="51"/>
                      <a:pt x="54" y="51"/>
                    </a:cubicBezTo>
                    <a:cubicBezTo>
                      <a:pt x="54" y="51"/>
                      <a:pt x="54" y="51"/>
                      <a:pt x="54" y="51"/>
                    </a:cubicBezTo>
                    <a:cubicBezTo>
                      <a:pt x="54" y="51"/>
                      <a:pt x="54" y="51"/>
                      <a:pt x="54" y="51"/>
                    </a:cubicBezTo>
                    <a:cubicBezTo>
                      <a:pt x="54" y="52"/>
                      <a:pt x="54" y="52"/>
                      <a:pt x="54" y="52"/>
                    </a:cubicBezTo>
                    <a:cubicBezTo>
                      <a:pt x="54" y="52"/>
                      <a:pt x="54" y="53"/>
                      <a:pt x="54" y="53"/>
                    </a:cubicBezTo>
                    <a:cubicBezTo>
                      <a:pt x="54" y="53"/>
                      <a:pt x="53" y="53"/>
                      <a:pt x="53" y="53"/>
                    </a:cubicBezTo>
                    <a:cubicBezTo>
                      <a:pt x="53" y="54"/>
                      <a:pt x="52" y="54"/>
                      <a:pt x="52" y="54"/>
                    </a:cubicBezTo>
                    <a:cubicBezTo>
                      <a:pt x="51" y="54"/>
                      <a:pt x="51" y="54"/>
                      <a:pt x="51" y="54"/>
                    </a:cubicBezTo>
                    <a:cubicBezTo>
                      <a:pt x="51" y="54"/>
                      <a:pt x="51" y="54"/>
                      <a:pt x="51" y="54"/>
                    </a:cubicBezTo>
                    <a:cubicBezTo>
                      <a:pt x="51" y="54"/>
                      <a:pt x="50" y="54"/>
                      <a:pt x="50" y="54"/>
                    </a:cubicBezTo>
                    <a:cubicBezTo>
                      <a:pt x="49" y="56"/>
                      <a:pt x="49" y="56"/>
                      <a:pt x="49" y="56"/>
                    </a:cubicBezTo>
                    <a:cubicBezTo>
                      <a:pt x="49" y="54"/>
                      <a:pt x="49" y="54"/>
                      <a:pt x="49" y="54"/>
                    </a:cubicBezTo>
                    <a:cubicBezTo>
                      <a:pt x="49" y="54"/>
                      <a:pt x="49" y="54"/>
                      <a:pt x="49" y="54"/>
                    </a:cubicBezTo>
                    <a:cubicBezTo>
                      <a:pt x="48" y="53"/>
                      <a:pt x="48" y="53"/>
                      <a:pt x="47" y="52"/>
                    </a:cubicBezTo>
                    <a:cubicBezTo>
                      <a:pt x="47" y="51"/>
                      <a:pt x="47" y="51"/>
                      <a:pt x="47" y="51"/>
                    </a:cubicBezTo>
                    <a:cubicBezTo>
                      <a:pt x="47" y="51"/>
                      <a:pt x="47" y="51"/>
                      <a:pt x="47" y="51"/>
                    </a:cubicBezTo>
                    <a:cubicBezTo>
                      <a:pt x="47" y="51"/>
                      <a:pt x="46" y="51"/>
                      <a:pt x="46" y="51"/>
                    </a:cubicBezTo>
                    <a:cubicBezTo>
                      <a:pt x="45" y="50"/>
                      <a:pt x="45" y="50"/>
                      <a:pt x="45" y="50"/>
                    </a:cubicBezTo>
                    <a:cubicBezTo>
                      <a:pt x="45" y="50"/>
                      <a:pt x="44" y="50"/>
                      <a:pt x="44" y="50"/>
                    </a:cubicBezTo>
                    <a:cubicBezTo>
                      <a:pt x="44" y="50"/>
                      <a:pt x="44" y="50"/>
                      <a:pt x="44" y="51"/>
                    </a:cubicBezTo>
                    <a:cubicBezTo>
                      <a:pt x="44" y="51"/>
                      <a:pt x="44" y="51"/>
                      <a:pt x="44" y="51"/>
                    </a:cubicBezTo>
                    <a:cubicBezTo>
                      <a:pt x="44" y="52"/>
                      <a:pt x="43" y="52"/>
                      <a:pt x="42" y="52"/>
                    </a:cubicBezTo>
                    <a:cubicBezTo>
                      <a:pt x="42" y="52"/>
                      <a:pt x="42" y="52"/>
                      <a:pt x="42" y="52"/>
                    </a:cubicBezTo>
                    <a:cubicBezTo>
                      <a:pt x="42" y="52"/>
                      <a:pt x="42" y="52"/>
                      <a:pt x="42" y="52"/>
                    </a:cubicBezTo>
                    <a:cubicBezTo>
                      <a:pt x="41" y="52"/>
                      <a:pt x="41" y="52"/>
                      <a:pt x="40" y="53"/>
                    </a:cubicBezTo>
                    <a:cubicBezTo>
                      <a:pt x="40" y="54"/>
                      <a:pt x="40" y="54"/>
                      <a:pt x="40" y="54"/>
                    </a:cubicBezTo>
                    <a:cubicBezTo>
                      <a:pt x="40" y="55"/>
                      <a:pt x="40" y="55"/>
                      <a:pt x="39" y="55"/>
                    </a:cubicBezTo>
                    <a:cubicBezTo>
                      <a:pt x="39" y="56"/>
                      <a:pt x="38" y="56"/>
                      <a:pt x="37" y="57"/>
                    </a:cubicBezTo>
                    <a:cubicBezTo>
                      <a:pt x="37" y="57"/>
                      <a:pt x="37" y="57"/>
                      <a:pt x="37" y="57"/>
                    </a:cubicBezTo>
                    <a:cubicBezTo>
                      <a:pt x="36" y="57"/>
                      <a:pt x="36" y="57"/>
                      <a:pt x="36" y="57"/>
                    </a:cubicBezTo>
                    <a:cubicBezTo>
                      <a:pt x="30" y="60"/>
                      <a:pt x="30" y="60"/>
                      <a:pt x="30" y="60"/>
                    </a:cubicBezTo>
                    <a:cubicBezTo>
                      <a:pt x="30" y="60"/>
                      <a:pt x="30" y="61"/>
                      <a:pt x="30" y="61"/>
                    </a:cubicBezTo>
                    <a:cubicBezTo>
                      <a:pt x="30" y="61"/>
                      <a:pt x="30" y="61"/>
                      <a:pt x="30" y="61"/>
                    </a:cubicBezTo>
                    <a:cubicBezTo>
                      <a:pt x="29" y="62"/>
                      <a:pt x="28" y="62"/>
                      <a:pt x="27" y="63"/>
                    </a:cubicBezTo>
                    <a:cubicBezTo>
                      <a:pt x="26" y="63"/>
                      <a:pt x="26" y="63"/>
                      <a:pt x="26" y="63"/>
                    </a:cubicBezTo>
                    <a:cubicBezTo>
                      <a:pt x="26" y="63"/>
                      <a:pt x="26" y="63"/>
                      <a:pt x="26" y="63"/>
                    </a:cubicBezTo>
                    <a:cubicBezTo>
                      <a:pt x="26" y="63"/>
                      <a:pt x="26" y="63"/>
                      <a:pt x="26" y="63"/>
                    </a:cubicBezTo>
                    <a:cubicBezTo>
                      <a:pt x="25" y="63"/>
                      <a:pt x="25" y="63"/>
                      <a:pt x="25" y="63"/>
                    </a:cubicBezTo>
                    <a:cubicBezTo>
                      <a:pt x="25" y="63"/>
                      <a:pt x="25" y="63"/>
                      <a:pt x="25" y="63"/>
                    </a:cubicBezTo>
                    <a:cubicBezTo>
                      <a:pt x="25" y="64"/>
                      <a:pt x="25" y="64"/>
                      <a:pt x="25" y="64"/>
                    </a:cubicBezTo>
                    <a:cubicBezTo>
                      <a:pt x="25" y="64"/>
                      <a:pt x="25" y="64"/>
                      <a:pt x="25" y="64"/>
                    </a:cubicBezTo>
                    <a:cubicBezTo>
                      <a:pt x="24" y="64"/>
                      <a:pt x="23" y="65"/>
                      <a:pt x="22" y="65"/>
                    </a:cubicBezTo>
                    <a:cubicBezTo>
                      <a:pt x="22" y="65"/>
                      <a:pt x="22" y="65"/>
                      <a:pt x="22" y="65"/>
                    </a:cubicBezTo>
                    <a:cubicBezTo>
                      <a:pt x="23" y="66"/>
                      <a:pt x="23" y="67"/>
                      <a:pt x="23" y="67"/>
                    </a:cubicBezTo>
                    <a:cubicBezTo>
                      <a:pt x="23" y="68"/>
                      <a:pt x="23" y="68"/>
                      <a:pt x="23" y="68"/>
                    </a:cubicBezTo>
                    <a:cubicBezTo>
                      <a:pt x="23" y="68"/>
                      <a:pt x="23" y="68"/>
                      <a:pt x="23" y="68"/>
                    </a:cubicBezTo>
                    <a:cubicBezTo>
                      <a:pt x="23" y="69"/>
                      <a:pt x="23" y="69"/>
                      <a:pt x="23" y="69"/>
                    </a:cubicBezTo>
                    <a:cubicBezTo>
                      <a:pt x="23" y="69"/>
                      <a:pt x="24" y="69"/>
                      <a:pt x="24" y="69"/>
                    </a:cubicBezTo>
                    <a:cubicBezTo>
                      <a:pt x="24" y="70"/>
                      <a:pt x="24" y="70"/>
                      <a:pt x="24" y="70"/>
                    </a:cubicBezTo>
                    <a:cubicBezTo>
                      <a:pt x="24" y="70"/>
                      <a:pt x="24" y="70"/>
                      <a:pt x="24" y="70"/>
                    </a:cubicBezTo>
                    <a:cubicBezTo>
                      <a:pt x="24" y="70"/>
                      <a:pt x="24" y="70"/>
                      <a:pt x="24" y="70"/>
                    </a:cubicBezTo>
                    <a:cubicBezTo>
                      <a:pt x="24" y="70"/>
                      <a:pt x="24" y="70"/>
                      <a:pt x="24" y="70"/>
                    </a:cubicBezTo>
                    <a:cubicBezTo>
                      <a:pt x="25" y="71"/>
                      <a:pt x="25" y="71"/>
                      <a:pt x="25" y="72"/>
                    </a:cubicBezTo>
                    <a:cubicBezTo>
                      <a:pt x="25" y="73"/>
                      <a:pt x="24" y="73"/>
                      <a:pt x="23" y="74"/>
                    </a:cubicBezTo>
                    <a:cubicBezTo>
                      <a:pt x="23" y="74"/>
                      <a:pt x="22" y="75"/>
                      <a:pt x="21" y="75"/>
                    </a:cubicBezTo>
                    <a:cubicBezTo>
                      <a:pt x="20" y="75"/>
                      <a:pt x="20" y="75"/>
                      <a:pt x="20" y="76"/>
                    </a:cubicBezTo>
                    <a:cubicBezTo>
                      <a:pt x="19" y="76"/>
                      <a:pt x="17" y="75"/>
                      <a:pt x="17" y="75"/>
                    </a:cubicBezTo>
                    <a:cubicBezTo>
                      <a:pt x="16" y="74"/>
                      <a:pt x="15" y="73"/>
                      <a:pt x="15" y="72"/>
                    </a:cubicBezTo>
                    <a:cubicBezTo>
                      <a:pt x="14" y="72"/>
                      <a:pt x="14" y="72"/>
                      <a:pt x="14" y="72"/>
                    </a:cubicBezTo>
                    <a:cubicBezTo>
                      <a:pt x="14" y="72"/>
                      <a:pt x="14" y="72"/>
                      <a:pt x="14" y="72"/>
                    </a:cubicBezTo>
                    <a:cubicBezTo>
                      <a:pt x="13" y="71"/>
                      <a:pt x="13" y="71"/>
                      <a:pt x="13" y="71"/>
                    </a:cubicBezTo>
                    <a:cubicBezTo>
                      <a:pt x="13" y="70"/>
                      <a:pt x="11" y="69"/>
                      <a:pt x="10" y="68"/>
                    </a:cubicBezTo>
                    <a:cubicBezTo>
                      <a:pt x="10" y="68"/>
                      <a:pt x="10" y="68"/>
                      <a:pt x="10" y="68"/>
                    </a:cubicBezTo>
                    <a:cubicBezTo>
                      <a:pt x="10" y="68"/>
                      <a:pt x="10" y="68"/>
                      <a:pt x="9" y="68"/>
                    </a:cubicBezTo>
                    <a:cubicBezTo>
                      <a:pt x="9" y="69"/>
                      <a:pt x="9" y="69"/>
                      <a:pt x="9" y="69"/>
                    </a:cubicBezTo>
                    <a:cubicBezTo>
                      <a:pt x="9" y="69"/>
                      <a:pt x="9" y="69"/>
                      <a:pt x="9" y="70"/>
                    </a:cubicBezTo>
                    <a:cubicBezTo>
                      <a:pt x="9" y="70"/>
                      <a:pt x="9" y="71"/>
                      <a:pt x="8" y="72"/>
                    </a:cubicBezTo>
                    <a:cubicBezTo>
                      <a:pt x="8" y="73"/>
                      <a:pt x="8" y="73"/>
                      <a:pt x="8" y="73"/>
                    </a:cubicBezTo>
                    <a:cubicBezTo>
                      <a:pt x="8" y="73"/>
                      <a:pt x="8" y="73"/>
                      <a:pt x="8" y="73"/>
                    </a:cubicBezTo>
                    <a:cubicBezTo>
                      <a:pt x="7" y="73"/>
                      <a:pt x="7" y="73"/>
                      <a:pt x="7" y="74"/>
                    </a:cubicBezTo>
                    <a:cubicBezTo>
                      <a:pt x="7" y="74"/>
                      <a:pt x="7" y="74"/>
                      <a:pt x="7" y="74"/>
                    </a:cubicBezTo>
                    <a:cubicBezTo>
                      <a:pt x="6" y="74"/>
                      <a:pt x="6" y="74"/>
                      <a:pt x="5" y="75"/>
                    </a:cubicBezTo>
                    <a:cubicBezTo>
                      <a:pt x="5" y="75"/>
                      <a:pt x="4" y="75"/>
                      <a:pt x="4" y="75"/>
                    </a:cubicBezTo>
                    <a:cubicBezTo>
                      <a:pt x="4" y="76"/>
                      <a:pt x="4" y="76"/>
                      <a:pt x="4" y="76"/>
                    </a:cubicBezTo>
                    <a:cubicBezTo>
                      <a:pt x="4" y="76"/>
                      <a:pt x="4" y="77"/>
                      <a:pt x="4" y="77"/>
                    </a:cubicBezTo>
                    <a:cubicBezTo>
                      <a:pt x="4" y="79"/>
                      <a:pt x="4" y="79"/>
                      <a:pt x="4" y="79"/>
                    </a:cubicBezTo>
                    <a:cubicBezTo>
                      <a:pt x="4" y="79"/>
                      <a:pt x="3" y="80"/>
                      <a:pt x="3" y="80"/>
                    </a:cubicBezTo>
                    <a:cubicBezTo>
                      <a:pt x="3" y="80"/>
                      <a:pt x="3" y="80"/>
                      <a:pt x="3" y="80"/>
                    </a:cubicBezTo>
                    <a:cubicBezTo>
                      <a:pt x="3" y="80"/>
                      <a:pt x="4" y="80"/>
                      <a:pt x="4" y="81"/>
                    </a:cubicBezTo>
                    <a:cubicBezTo>
                      <a:pt x="4" y="81"/>
                      <a:pt x="4" y="81"/>
                      <a:pt x="4" y="81"/>
                    </a:cubicBezTo>
                    <a:cubicBezTo>
                      <a:pt x="4" y="81"/>
                      <a:pt x="4" y="81"/>
                      <a:pt x="4" y="81"/>
                    </a:cubicBezTo>
                    <a:cubicBezTo>
                      <a:pt x="7" y="83"/>
                      <a:pt x="5" y="85"/>
                      <a:pt x="5" y="86"/>
                    </a:cubicBezTo>
                    <a:cubicBezTo>
                      <a:pt x="5" y="86"/>
                      <a:pt x="5" y="86"/>
                      <a:pt x="4" y="86"/>
                    </a:cubicBezTo>
                    <a:cubicBezTo>
                      <a:pt x="3" y="88"/>
                      <a:pt x="2" y="89"/>
                      <a:pt x="1" y="91"/>
                    </a:cubicBezTo>
                    <a:cubicBezTo>
                      <a:pt x="1" y="91"/>
                      <a:pt x="1" y="92"/>
                      <a:pt x="0" y="92"/>
                    </a:cubicBezTo>
                    <a:cubicBezTo>
                      <a:pt x="1" y="92"/>
                      <a:pt x="1" y="92"/>
                      <a:pt x="1" y="92"/>
                    </a:cubicBezTo>
                    <a:cubicBezTo>
                      <a:pt x="2" y="93"/>
                      <a:pt x="2" y="93"/>
                      <a:pt x="2" y="93"/>
                    </a:cubicBezTo>
                    <a:cubicBezTo>
                      <a:pt x="2" y="93"/>
                      <a:pt x="3" y="93"/>
                      <a:pt x="4" y="93"/>
                    </a:cubicBezTo>
                    <a:cubicBezTo>
                      <a:pt x="5" y="94"/>
                      <a:pt x="5" y="94"/>
                      <a:pt x="5" y="94"/>
                    </a:cubicBezTo>
                    <a:cubicBezTo>
                      <a:pt x="5" y="94"/>
                      <a:pt x="5" y="94"/>
                      <a:pt x="5" y="94"/>
                    </a:cubicBezTo>
                    <a:cubicBezTo>
                      <a:pt x="7" y="95"/>
                      <a:pt x="7" y="97"/>
                      <a:pt x="7" y="98"/>
                    </a:cubicBezTo>
                    <a:cubicBezTo>
                      <a:pt x="7" y="98"/>
                      <a:pt x="7" y="99"/>
                      <a:pt x="7" y="99"/>
                    </a:cubicBezTo>
                    <a:cubicBezTo>
                      <a:pt x="7" y="100"/>
                      <a:pt x="7" y="100"/>
                      <a:pt x="7" y="101"/>
                    </a:cubicBezTo>
                    <a:cubicBezTo>
                      <a:pt x="8" y="101"/>
                      <a:pt x="9" y="101"/>
                      <a:pt x="10" y="101"/>
                    </a:cubicBezTo>
                    <a:cubicBezTo>
                      <a:pt x="10" y="101"/>
                      <a:pt x="10" y="101"/>
                      <a:pt x="11" y="101"/>
                    </a:cubicBezTo>
                    <a:cubicBezTo>
                      <a:pt x="11" y="101"/>
                      <a:pt x="11" y="101"/>
                      <a:pt x="11" y="101"/>
                    </a:cubicBezTo>
                    <a:cubicBezTo>
                      <a:pt x="12" y="101"/>
                      <a:pt x="12" y="101"/>
                      <a:pt x="13" y="100"/>
                    </a:cubicBezTo>
                    <a:cubicBezTo>
                      <a:pt x="14" y="100"/>
                      <a:pt x="15" y="100"/>
                      <a:pt x="16" y="100"/>
                    </a:cubicBezTo>
                    <a:cubicBezTo>
                      <a:pt x="16" y="101"/>
                      <a:pt x="16" y="101"/>
                      <a:pt x="16" y="101"/>
                    </a:cubicBezTo>
                    <a:cubicBezTo>
                      <a:pt x="17" y="101"/>
                      <a:pt x="18" y="102"/>
                      <a:pt x="18" y="103"/>
                    </a:cubicBezTo>
                    <a:cubicBezTo>
                      <a:pt x="19" y="104"/>
                      <a:pt x="19" y="104"/>
                      <a:pt x="19" y="105"/>
                    </a:cubicBezTo>
                    <a:cubicBezTo>
                      <a:pt x="21" y="107"/>
                      <a:pt x="21" y="107"/>
                      <a:pt x="21" y="107"/>
                    </a:cubicBezTo>
                    <a:cubicBezTo>
                      <a:pt x="22" y="108"/>
                      <a:pt x="22" y="109"/>
                      <a:pt x="23" y="110"/>
                    </a:cubicBezTo>
                    <a:cubicBezTo>
                      <a:pt x="23" y="110"/>
                      <a:pt x="23" y="110"/>
                      <a:pt x="23" y="110"/>
                    </a:cubicBezTo>
                    <a:cubicBezTo>
                      <a:pt x="24" y="111"/>
                      <a:pt x="24" y="111"/>
                      <a:pt x="24" y="111"/>
                    </a:cubicBezTo>
                    <a:cubicBezTo>
                      <a:pt x="25" y="112"/>
                      <a:pt x="26" y="113"/>
                      <a:pt x="26" y="114"/>
                    </a:cubicBezTo>
                    <a:cubicBezTo>
                      <a:pt x="26" y="114"/>
                      <a:pt x="26" y="114"/>
                      <a:pt x="26" y="114"/>
                    </a:cubicBezTo>
                    <a:cubicBezTo>
                      <a:pt x="26" y="115"/>
                      <a:pt x="26" y="115"/>
                      <a:pt x="26" y="115"/>
                    </a:cubicBezTo>
                    <a:cubicBezTo>
                      <a:pt x="26" y="115"/>
                      <a:pt x="26" y="115"/>
                      <a:pt x="26" y="115"/>
                    </a:cubicBezTo>
                    <a:cubicBezTo>
                      <a:pt x="26" y="115"/>
                      <a:pt x="26" y="115"/>
                      <a:pt x="26" y="115"/>
                    </a:cubicBezTo>
                    <a:cubicBezTo>
                      <a:pt x="25" y="116"/>
                      <a:pt x="25" y="116"/>
                      <a:pt x="25" y="116"/>
                    </a:cubicBezTo>
                    <a:cubicBezTo>
                      <a:pt x="24" y="117"/>
                      <a:pt x="24" y="117"/>
                      <a:pt x="24" y="117"/>
                    </a:cubicBezTo>
                    <a:cubicBezTo>
                      <a:pt x="24" y="117"/>
                      <a:pt x="24" y="117"/>
                      <a:pt x="24" y="117"/>
                    </a:cubicBezTo>
                    <a:cubicBezTo>
                      <a:pt x="24" y="117"/>
                      <a:pt x="24" y="117"/>
                      <a:pt x="24" y="117"/>
                    </a:cubicBezTo>
                    <a:cubicBezTo>
                      <a:pt x="24" y="117"/>
                      <a:pt x="24" y="117"/>
                      <a:pt x="24" y="117"/>
                    </a:cubicBezTo>
                    <a:cubicBezTo>
                      <a:pt x="24" y="117"/>
                      <a:pt x="23" y="117"/>
                      <a:pt x="23" y="117"/>
                    </a:cubicBezTo>
                    <a:cubicBezTo>
                      <a:pt x="23" y="117"/>
                      <a:pt x="23" y="117"/>
                      <a:pt x="23" y="117"/>
                    </a:cubicBezTo>
                    <a:cubicBezTo>
                      <a:pt x="24" y="117"/>
                      <a:pt x="24" y="117"/>
                      <a:pt x="24" y="117"/>
                    </a:cubicBezTo>
                    <a:cubicBezTo>
                      <a:pt x="25" y="118"/>
                      <a:pt x="25" y="118"/>
                      <a:pt x="26" y="118"/>
                    </a:cubicBezTo>
                    <a:cubicBezTo>
                      <a:pt x="26" y="118"/>
                      <a:pt x="26" y="118"/>
                      <a:pt x="27" y="119"/>
                    </a:cubicBezTo>
                    <a:cubicBezTo>
                      <a:pt x="27" y="119"/>
                      <a:pt x="27" y="119"/>
                      <a:pt x="27" y="119"/>
                    </a:cubicBezTo>
                    <a:cubicBezTo>
                      <a:pt x="27" y="119"/>
                      <a:pt x="27" y="119"/>
                      <a:pt x="27" y="118"/>
                    </a:cubicBezTo>
                    <a:cubicBezTo>
                      <a:pt x="27" y="119"/>
                      <a:pt x="28" y="118"/>
                      <a:pt x="27" y="118"/>
                    </a:cubicBezTo>
                    <a:cubicBezTo>
                      <a:pt x="27" y="118"/>
                      <a:pt x="28" y="118"/>
                      <a:pt x="28" y="118"/>
                    </a:cubicBezTo>
                    <a:cubicBezTo>
                      <a:pt x="28" y="118"/>
                      <a:pt x="28" y="117"/>
                      <a:pt x="27" y="117"/>
                    </a:cubicBezTo>
                    <a:cubicBezTo>
                      <a:pt x="30" y="117"/>
                      <a:pt x="32" y="117"/>
                      <a:pt x="34" y="117"/>
                    </a:cubicBezTo>
                    <a:cubicBezTo>
                      <a:pt x="35" y="117"/>
                      <a:pt x="35" y="116"/>
                      <a:pt x="36" y="116"/>
                    </a:cubicBezTo>
                    <a:cubicBezTo>
                      <a:pt x="36" y="115"/>
                      <a:pt x="37" y="115"/>
                      <a:pt x="38" y="114"/>
                    </a:cubicBezTo>
                    <a:cubicBezTo>
                      <a:pt x="38" y="114"/>
                      <a:pt x="38" y="114"/>
                      <a:pt x="39" y="113"/>
                    </a:cubicBezTo>
                    <a:cubicBezTo>
                      <a:pt x="39" y="113"/>
                      <a:pt x="40" y="113"/>
                      <a:pt x="41" y="113"/>
                    </a:cubicBezTo>
                    <a:cubicBezTo>
                      <a:pt x="41" y="113"/>
                      <a:pt x="43" y="112"/>
                      <a:pt x="43" y="112"/>
                    </a:cubicBezTo>
                    <a:cubicBezTo>
                      <a:pt x="43" y="112"/>
                      <a:pt x="43" y="111"/>
                      <a:pt x="43" y="111"/>
                    </a:cubicBezTo>
                    <a:cubicBezTo>
                      <a:pt x="44" y="111"/>
                      <a:pt x="44" y="111"/>
                      <a:pt x="44" y="111"/>
                    </a:cubicBezTo>
                    <a:cubicBezTo>
                      <a:pt x="45" y="111"/>
                      <a:pt x="45" y="111"/>
                      <a:pt x="46" y="111"/>
                    </a:cubicBezTo>
                    <a:cubicBezTo>
                      <a:pt x="46" y="111"/>
                      <a:pt x="46" y="110"/>
                      <a:pt x="47" y="110"/>
                    </a:cubicBezTo>
                    <a:cubicBezTo>
                      <a:pt x="48" y="110"/>
                      <a:pt x="50" y="111"/>
                      <a:pt x="51" y="111"/>
                    </a:cubicBezTo>
                    <a:cubicBezTo>
                      <a:pt x="53" y="111"/>
                      <a:pt x="55" y="113"/>
                      <a:pt x="57" y="114"/>
                    </a:cubicBezTo>
                    <a:cubicBezTo>
                      <a:pt x="57" y="114"/>
                      <a:pt x="57" y="113"/>
                      <a:pt x="57" y="113"/>
                    </a:cubicBezTo>
                    <a:cubicBezTo>
                      <a:pt x="59" y="114"/>
                      <a:pt x="59" y="112"/>
                      <a:pt x="60" y="112"/>
                    </a:cubicBezTo>
                    <a:cubicBezTo>
                      <a:pt x="60" y="111"/>
                      <a:pt x="62" y="112"/>
                      <a:pt x="62" y="112"/>
                    </a:cubicBezTo>
                    <a:cubicBezTo>
                      <a:pt x="64" y="112"/>
                      <a:pt x="65" y="113"/>
                      <a:pt x="66" y="114"/>
                    </a:cubicBezTo>
                    <a:cubicBezTo>
                      <a:pt x="67" y="117"/>
                      <a:pt x="68" y="120"/>
                      <a:pt x="68" y="123"/>
                    </a:cubicBezTo>
                    <a:cubicBezTo>
                      <a:pt x="68" y="125"/>
                      <a:pt x="66" y="127"/>
                      <a:pt x="66" y="129"/>
                    </a:cubicBezTo>
                    <a:cubicBezTo>
                      <a:pt x="66" y="130"/>
                      <a:pt x="66" y="130"/>
                      <a:pt x="66" y="131"/>
                    </a:cubicBezTo>
                    <a:cubicBezTo>
                      <a:pt x="67" y="132"/>
                      <a:pt x="67" y="132"/>
                      <a:pt x="68" y="132"/>
                    </a:cubicBezTo>
                    <a:cubicBezTo>
                      <a:pt x="69" y="133"/>
                      <a:pt x="70" y="133"/>
                      <a:pt x="72" y="133"/>
                    </a:cubicBezTo>
                    <a:cubicBezTo>
                      <a:pt x="73" y="133"/>
                      <a:pt x="74" y="132"/>
                      <a:pt x="75" y="132"/>
                    </a:cubicBezTo>
                    <a:cubicBezTo>
                      <a:pt x="75" y="131"/>
                      <a:pt x="75" y="131"/>
                      <a:pt x="76" y="131"/>
                    </a:cubicBezTo>
                    <a:cubicBezTo>
                      <a:pt x="79" y="130"/>
                      <a:pt x="77" y="133"/>
                      <a:pt x="78" y="135"/>
                    </a:cubicBezTo>
                    <a:cubicBezTo>
                      <a:pt x="78" y="135"/>
                      <a:pt x="79" y="136"/>
                      <a:pt x="79" y="136"/>
                    </a:cubicBezTo>
                    <a:cubicBezTo>
                      <a:pt x="79" y="137"/>
                      <a:pt x="77" y="137"/>
                      <a:pt x="77" y="137"/>
                    </a:cubicBezTo>
                    <a:cubicBezTo>
                      <a:pt x="76" y="137"/>
                      <a:pt x="76" y="137"/>
                      <a:pt x="75" y="138"/>
                    </a:cubicBezTo>
                    <a:cubicBezTo>
                      <a:pt x="74" y="138"/>
                      <a:pt x="74" y="138"/>
                      <a:pt x="73" y="138"/>
                    </a:cubicBezTo>
                    <a:cubicBezTo>
                      <a:pt x="71" y="138"/>
                      <a:pt x="71" y="140"/>
                      <a:pt x="70" y="141"/>
                    </a:cubicBezTo>
                    <a:cubicBezTo>
                      <a:pt x="70" y="141"/>
                      <a:pt x="68" y="144"/>
                      <a:pt x="68" y="144"/>
                    </a:cubicBezTo>
                    <a:cubicBezTo>
                      <a:pt x="67" y="144"/>
                      <a:pt x="67" y="143"/>
                      <a:pt x="68" y="143"/>
                    </a:cubicBezTo>
                    <a:cubicBezTo>
                      <a:pt x="68" y="141"/>
                      <a:pt x="69" y="139"/>
                      <a:pt x="71" y="138"/>
                    </a:cubicBezTo>
                    <a:cubicBezTo>
                      <a:pt x="72" y="137"/>
                      <a:pt x="73" y="137"/>
                      <a:pt x="74" y="137"/>
                    </a:cubicBezTo>
                    <a:cubicBezTo>
                      <a:pt x="76" y="136"/>
                      <a:pt x="76" y="133"/>
                      <a:pt x="74" y="134"/>
                    </a:cubicBezTo>
                    <a:cubicBezTo>
                      <a:pt x="73" y="135"/>
                      <a:pt x="72" y="135"/>
                      <a:pt x="70" y="134"/>
                    </a:cubicBezTo>
                    <a:cubicBezTo>
                      <a:pt x="69" y="134"/>
                      <a:pt x="68" y="134"/>
                      <a:pt x="66" y="134"/>
                    </a:cubicBezTo>
                    <a:cubicBezTo>
                      <a:pt x="64" y="134"/>
                      <a:pt x="62" y="133"/>
                      <a:pt x="61" y="133"/>
                    </a:cubicBezTo>
                    <a:cubicBezTo>
                      <a:pt x="58" y="133"/>
                      <a:pt x="55" y="133"/>
                      <a:pt x="53" y="132"/>
                    </a:cubicBezTo>
                    <a:cubicBezTo>
                      <a:pt x="53" y="132"/>
                      <a:pt x="52" y="131"/>
                      <a:pt x="52" y="132"/>
                    </a:cubicBezTo>
                    <a:cubicBezTo>
                      <a:pt x="52" y="132"/>
                      <a:pt x="51" y="133"/>
                      <a:pt x="51" y="133"/>
                    </a:cubicBezTo>
                    <a:cubicBezTo>
                      <a:pt x="50" y="133"/>
                      <a:pt x="49" y="132"/>
                      <a:pt x="49" y="132"/>
                    </a:cubicBezTo>
                    <a:cubicBezTo>
                      <a:pt x="49" y="132"/>
                      <a:pt x="48" y="133"/>
                      <a:pt x="48" y="134"/>
                    </a:cubicBezTo>
                    <a:cubicBezTo>
                      <a:pt x="48" y="135"/>
                      <a:pt x="47" y="136"/>
                      <a:pt x="47" y="136"/>
                    </a:cubicBezTo>
                    <a:cubicBezTo>
                      <a:pt x="47" y="136"/>
                      <a:pt x="46" y="137"/>
                      <a:pt x="46" y="137"/>
                    </a:cubicBezTo>
                    <a:cubicBezTo>
                      <a:pt x="45" y="137"/>
                      <a:pt x="44" y="137"/>
                      <a:pt x="45" y="138"/>
                    </a:cubicBezTo>
                    <a:cubicBezTo>
                      <a:pt x="45" y="139"/>
                      <a:pt x="47" y="140"/>
                      <a:pt x="47" y="141"/>
                    </a:cubicBezTo>
                    <a:cubicBezTo>
                      <a:pt x="47" y="141"/>
                      <a:pt x="48" y="142"/>
                      <a:pt x="48" y="142"/>
                    </a:cubicBezTo>
                    <a:cubicBezTo>
                      <a:pt x="48" y="142"/>
                      <a:pt x="49" y="142"/>
                      <a:pt x="49" y="142"/>
                    </a:cubicBezTo>
                    <a:cubicBezTo>
                      <a:pt x="49" y="142"/>
                      <a:pt x="50" y="142"/>
                      <a:pt x="50" y="143"/>
                    </a:cubicBezTo>
                    <a:cubicBezTo>
                      <a:pt x="50" y="143"/>
                      <a:pt x="51" y="143"/>
                      <a:pt x="51" y="143"/>
                    </a:cubicBezTo>
                    <a:cubicBezTo>
                      <a:pt x="50" y="143"/>
                      <a:pt x="49" y="144"/>
                      <a:pt x="48" y="143"/>
                    </a:cubicBezTo>
                    <a:cubicBezTo>
                      <a:pt x="48" y="142"/>
                      <a:pt x="47" y="143"/>
                      <a:pt x="47" y="143"/>
                    </a:cubicBezTo>
                    <a:cubicBezTo>
                      <a:pt x="46" y="144"/>
                      <a:pt x="45" y="143"/>
                      <a:pt x="44" y="142"/>
                    </a:cubicBezTo>
                    <a:cubicBezTo>
                      <a:pt x="43" y="142"/>
                      <a:pt x="43" y="142"/>
                      <a:pt x="41" y="142"/>
                    </a:cubicBezTo>
                    <a:cubicBezTo>
                      <a:pt x="41" y="142"/>
                      <a:pt x="39" y="141"/>
                      <a:pt x="38" y="142"/>
                    </a:cubicBezTo>
                    <a:cubicBezTo>
                      <a:pt x="38" y="142"/>
                      <a:pt x="37" y="142"/>
                      <a:pt x="37" y="143"/>
                    </a:cubicBezTo>
                    <a:cubicBezTo>
                      <a:pt x="37" y="143"/>
                      <a:pt x="37" y="142"/>
                      <a:pt x="37" y="142"/>
                    </a:cubicBezTo>
                    <a:cubicBezTo>
                      <a:pt x="37" y="145"/>
                      <a:pt x="37" y="146"/>
                      <a:pt x="39" y="146"/>
                    </a:cubicBezTo>
                    <a:cubicBezTo>
                      <a:pt x="40" y="146"/>
                      <a:pt x="40" y="146"/>
                      <a:pt x="41" y="146"/>
                    </a:cubicBezTo>
                    <a:cubicBezTo>
                      <a:pt x="44" y="147"/>
                      <a:pt x="45" y="151"/>
                      <a:pt x="46" y="154"/>
                    </a:cubicBezTo>
                    <a:cubicBezTo>
                      <a:pt x="47" y="155"/>
                      <a:pt x="47" y="157"/>
                      <a:pt x="48" y="158"/>
                    </a:cubicBezTo>
                    <a:cubicBezTo>
                      <a:pt x="48" y="159"/>
                      <a:pt x="48" y="159"/>
                      <a:pt x="48" y="159"/>
                    </a:cubicBezTo>
                    <a:cubicBezTo>
                      <a:pt x="48" y="159"/>
                      <a:pt x="47" y="160"/>
                      <a:pt x="47" y="160"/>
                    </a:cubicBezTo>
                    <a:cubicBezTo>
                      <a:pt x="48" y="160"/>
                      <a:pt x="49" y="160"/>
                      <a:pt x="49" y="160"/>
                    </a:cubicBezTo>
                    <a:cubicBezTo>
                      <a:pt x="50" y="160"/>
                      <a:pt x="50" y="160"/>
                      <a:pt x="51" y="160"/>
                    </a:cubicBezTo>
                    <a:cubicBezTo>
                      <a:pt x="53" y="160"/>
                      <a:pt x="53" y="163"/>
                      <a:pt x="54" y="164"/>
                    </a:cubicBezTo>
                    <a:cubicBezTo>
                      <a:pt x="55" y="164"/>
                      <a:pt x="55" y="164"/>
                      <a:pt x="56" y="164"/>
                    </a:cubicBezTo>
                    <a:cubicBezTo>
                      <a:pt x="57" y="164"/>
                      <a:pt x="57" y="164"/>
                      <a:pt x="57" y="164"/>
                    </a:cubicBezTo>
                    <a:cubicBezTo>
                      <a:pt x="57" y="164"/>
                      <a:pt x="58" y="164"/>
                      <a:pt x="58" y="165"/>
                    </a:cubicBezTo>
                    <a:cubicBezTo>
                      <a:pt x="58" y="165"/>
                      <a:pt x="58" y="164"/>
                      <a:pt x="58"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1" name="Freeform 3133">
                <a:extLst>
                  <a:ext uri="{FF2B5EF4-FFF2-40B4-BE49-F238E27FC236}">
                    <a16:creationId xmlns:a16="http://schemas.microsoft.com/office/drawing/2014/main" id="{CC5D52C5-E3B4-4909-A96C-CF6F156BB243}"/>
                  </a:ext>
                </a:extLst>
              </p:cNvPr>
              <p:cNvSpPr>
                <a:spLocks/>
              </p:cNvSpPr>
              <p:nvPr/>
            </p:nvSpPr>
            <p:spPr bwMode="auto">
              <a:xfrm>
                <a:off x="5398" y="1316"/>
                <a:ext cx="2" cy="3"/>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0"/>
                      <a:pt x="1" y="0"/>
                      <a:pt x="1" y="0"/>
                    </a:cubicBezTo>
                    <a:cubicBezTo>
                      <a:pt x="0" y="1"/>
                      <a:pt x="0" y="1"/>
                      <a:pt x="0" y="1"/>
                    </a:cubicBezTo>
                    <a:cubicBezTo>
                      <a:pt x="0" y="1"/>
                      <a:pt x="0"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2" name="Freeform 3134">
                <a:extLst>
                  <a:ext uri="{FF2B5EF4-FFF2-40B4-BE49-F238E27FC236}">
                    <a16:creationId xmlns:a16="http://schemas.microsoft.com/office/drawing/2014/main" id="{51337FE8-9068-4B49-B258-8035D95877A7}"/>
                  </a:ext>
                </a:extLst>
              </p:cNvPr>
              <p:cNvSpPr>
                <a:spLocks/>
              </p:cNvSpPr>
              <p:nvPr/>
            </p:nvSpPr>
            <p:spPr bwMode="auto">
              <a:xfrm>
                <a:off x="4779" y="14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3" name="Rectangle 3135">
                <a:extLst>
                  <a:ext uri="{FF2B5EF4-FFF2-40B4-BE49-F238E27FC236}">
                    <a16:creationId xmlns:a16="http://schemas.microsoft.com/office/drawing/2014/main" id="{1310FA4F-9B6A-43C2-A998-882C813ED327}"/>
                  </a:ext>
                </a:extLst>
              </p:cNvPr>
              <p:cNvSpPr>
                <a:spLocks noChangeArrowheads="1"/>
              </p:cNvSpPr>
              <p:nvPr/>
            </p:nvSpPr>
            <p:spPr bwMode="auto">
              <a:xfrm>
                <a:off x="6348" y="152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4" name="Freeform 3136">
                <a:extLst>
                  <a:ext uri="{FF2B5EF4-FFF2-40B4-BE49-F238E27FC236}">
                    <a16:creationId xmlns:a16="http://schemas.microsoft.com/office/drawing/2014/main" id="{7E9DC91B-73F9-43D5-8D50-F2D907E16724}"/>
                  </a:ext>
                </a:extLst>
              </p:cNvPr>
              <p:cNvSpPr>
                <a:spLocks/>
              </p:cNvSpPr>
              <p:nvPr/>
            </p:nvSpPr>
            <p:spPr bwMode="auto">
              <a:xfrm>
                <a:off x="5665" y="1487"/>
                <a:ext cx="3" cy="2"/>
              </a:xfrm>
              <a:custGeom>
                <a:avLst/>
                <a:gdLst>
                  <a:gd name="T0" fmla="*/ 1 w 1"/>
                  <a:gd name="T1" fmla="*/ 1 h 1"/>
                  <a:gd name="T2" fmla="*/ 1 w 1"/>
                  <a:gd name="T3" fmla="*/ 0 h 1"/>
                  <a:gd name="T4" fmla="*/ 1 w 1"/>
                  <a:gd name="T5" fmla="*/ 0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0"/>
                      <a:pt x="1" y="0"/>
                      <a:pt x="1" y="0"/>
                    </a:cubicBezTo>
                    <a:cubicBezTo>
                      <a:pt x="1" y="0"/>
                      <a:pt x="1" y="0"/>
                      <a:pt x="1" y="0"/>
                    </a:cubicBezTo>
                    <a:cubicBezTo>
                      <a:pt x="0" y="0"/>
                      <a:pt x="0" y="0"/>
                      <a:pt x="0" y="0"/>
                    </a:cubicBezTo>
                    <a:cubicBezTo>
                      <a:pt x="0"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5" name="Freeform 3137">
                <a:extLst>
                  <a:ext uri="{FF2B5EF4-FFF2-40B4-BE49-F238E27FC236}">
                    <a16:creationId xmlns:a16="http://schemas.microsoft.com/office/drawing/2014/main" id="{30D672EE-C091-40C8-B29F-E8825DE2388C}"/>
                  </a:ext>
                </a:extLst>
              </p:cNvPr>
              <p:cNvSpPr>
                <a:spLocks/>
              </p:cNvSpPr>
              <p:nvPr/>
            </p:nvSpPr>
            <p:spPr bwMode="auto">
              <a:xfrm>
                <a:off x="5329" y="1345"/>
                <a:ext cx="1471" cy="939"/>
              </a:xfrm>
              <a:custGeom>
                <a:avLst/>
                <a:gdLst>
                  <a:gd name="T0" fmla="*/ 547 w 622"/>
                  <a:gd name="T1" fmla="*/ 154 h 397"/>
                  <a:gd name="T2" fmla="*/ 573 w 622"/>
                  <a:gd name="T3" fmla="*/ 136 h 397"/>
                  <a:gd name="T4" fmla="*/ 599 w 622"/>
                  <a:gd name="T5" fmla="*/ 109 h 397"/>
                  <a:gd name="T6" fmla="*/ 614 w 622"/>
                  <a:gd name="T7" fmla="*/ 91 h 397"/>
                  <a:gd name="T8" fmla="*/ 621 w 622"/>
                  <a:gd name="T9" fmla="*/ 70 h 397"/>
                  <a:gd name="T10" fmla="*/ 581 w 622"/>
                  <a:gd name="T11" fmla="*/ 70 h 397"/>
                  <a:gd name="T12" fmla="*/ 559 w 622"/>
                  <a:gd name="T13" fmla="*/ 54 h 397"/>
                  <a:gd name="T14" fmla="*/ 538 w 622"/>
                  <a:gd name="T15" fmla="*/ 19 h 397"/>
                  <a:gd name="T16" fmla="*/ 522 w 622"/>
                  <a:gd name="T17" fmla="*/ 5 h 397"/>
                  <a:gd name="T18" fmla="*/ 477 w 622"/>
                  <a:gd name="T19" fmla="*/ 8 h 397"/>
                  <a:gd name="T20" fmla="*/ 473 w 622"/>
                  <a:gd name="T21" fmla="*/ 29 h 397"/>
                  <a:gd name="T22" fmla="*/ 437 w 622"/>
                  <a:gd name="T23" fmla="*/ 55 h 397"/>
                  <a:gd name="T24" fmla="*/ 452 w 622"/>
                  <a:gd name="T25" fmla="*/ 73 h 397"/>
                  <a:gd name="T26" fmla="*/ 444 w 622"/>
                  <a:gd name="T27" fmla="*/ 96 h 397"/>
                  <a:gd name="T28" fmla="*/ 417 w 622"/>
                  <a:gd name="T29" fmla="*/ 109 h 397"/>
                  <a:gd name="T30" fmla="*/ 389 w 622"/>
                  <a:gd name="T31" fmla="*/ 124 h 397"/>
                  <a:gd name="T32" fmla="*/ 338 w 622"/>
                  <a:gd name="T33" fmla="*/ 147 h 397"/>
                  <a:gd name="T34" fmla="*/ 313 w 622"/>
                  <a:gd name="T35" fmla="*/ 152 h 397"/>
                  <a:gd name="T36" fmla="*/ 251 w 622"/>
                  <a:gd name="T37" fmla="*/ 143 h 397"/>
                  <a:gd name="T38" fmla="*/ 221 w 622"/>
                  <a:gd name="T39" fmla="*/ 126 h 397"/>
                  <a:gd name="T40" fmla="*/ 174 w 622"/>
                  <a:gd name="T41" fmla="*/ 101 h 397"/>
                  <a:gd name="T42" fmla="*/ 156 w 622"/>
                  <a:gd name="T43" fmla="*/ 75 h 397"/>
                  <a:gd name="T44" fmla="*/ 135 w 622"/>
                  <a:gd name="T45" fmla="*/ 60 h 397"/>
                  <a:gd name="T46" fmla="*/ 89 w 622"/>
                  <a:gd name="T47" fmla="*/ 105 h 397"/>
                  <a:gd name="T48" fmla="*/ 71 w 622"/>
                  <a:gd name="T49" fmla="*/ 127 h 397"/>
                  <a:gd name="T50" fmla="*/ 52 w 622"/>
                  <a:gd name="T51" fmla="*/ 156 h 397"/>
                  <a:gd name="T52" fmla="*/ 27 w 622"/>
                  <a:gd name="T53" fmla="*/ 170 h 397"/>
                  <a:gd name="T54" fmla="*/ 4 w 622"/>
                  <a:gd name="T55" fmla="*/ 174 h 397"/>
                  <a:gd name="T56" fmla="*/ 1 w 622"/>
                  <a:gd name="T57" fmla="*/ 188 h 397"/>
                  <a:gd name="T58" fmla="*/ 19 w 622"/>
                  <a:gd name="T59" fmla="*/ 210 h 397"/>
                  <a:gd name="T60" fmla="*/ 42 w 622"/>
                  <a:gd name="T61" fmla="*/ 225 h 397"/>
                  <a:gd name="T62" fmla="*/ 67 w 622"/>
                  <a:gd name="T63" fmla="*/ 231 h 397"/>
                  <a:gd name="T64" fmla="*/ 59 w 622"/>
                  <a:gd name="T65" fmla="*/ 256 h 397"/>
                  <a:gd name="T66" fmla="*/ 59 w 622"/>
                  <a:gd name="T67" fmla="*/ 273 h 397"/>
                  <a:gd name="T68" fmla="*/ 88 w 622"/>
                  <a:gd name="T69" fmla="*/ 288 h 397"/>
                  <a:gd name="T70" fmla="*/ 106 w 622"/>
                  <a:gd name="T71" fmla="*/ 297 h 397"/>
                  <a:gd name="T72" fmla="*/ 124 w 622"/>
                  <a:gd name="T73" fmla="*/ 308 h 397"/>
                  <a:gd name="T74" fmla="*/ 155 w 622"/>
                  <a:gd name="T75" fmla="*/ 311 h 397"/>
                  <a:gd name="T76" fmla="*/ 172 w 622"/>
                  <a:gd name="T77" fmla="*/ 310 h 397"/>
                  <a:gd name="T78" fmla="*/ 196 w 622"/>
                  <a:gd name="T79" fmla="*/ 307 h 397"/>
                  <a:gd name="T80" fmla="*/ 218 w 622"/>
                  <a:gd name="T81" fmla="*/ 298 h 397"/>
                  <a:gd name="T82" fmla="*/ 233 w 622"/>
                  <a:gd name="T83" fmla="*/ 306 h 397"/>
                  <a:gd name="T84" fmla="*/ 256 w 622"/>
                  <a:gd name="T85" fmla="*/ 315 h 397"/>
                  <a:gd name="T86" fmla="*/ 247 w 622"/>
                  <a:gd name="T87" fmla="*/ 345 h 397"/>
                  <a:gd name="T88" fmla="*/ 257 w 622"/>
                  <a:gd name="T89" fmla="*/ 358 h 397"/>
                  <a:gd name="T90" fmla="*/ 268 w 622"/>
                  <a:gd name="T91" fmla="*/ 375 h 397"/>
                  <a:gd name="T92" fmla="*/ 283 w 622"/>
                  <a:gd name="T93" fmla="*/ 384 h 397"/>
                  <a:gd name="T94" fmla="*/ 296 w 622"/>
                  <a:gd name="T95" fmla="*/ 368 h 397"/>
                  <a:gd name="T96" fmla="*/ 315 w 622"/>
                  <a:gd name="T97" fmla="*/ 368 h 397"/>
                  <a:gd name="T98" fmla="*/ 339 w 622"/>
                  <a:gd name="T99" fmla="*/ 369 h 397"/>
                  <a:gd name="T100" fmla="*/ 355 w 622"/>
                  <a:gd name="T101" fmla="*/ 381 h 397"/>
                  <a:gd name="T102" fmla="*/ 369 w 622"/>
                  <a:gd name="T103" fmla="*/ 392 h 397"/>
                  <a:gd name="T104" fmla="*/ 400 w 622"/>
                  <a:gd name="T105" fmla="*/ 378 h 397"/>
                  <a:gd name="T106" fmla="*/ 407 w 622"/>
                  <a:gd name="T107" fmla="*/ 368 h 397"/>
                  <a:gd name="T108" fmla="*/ 431 w 622"/>
                  <a:gd name="T109" fmla="*/ 368 h 397"/>
                  <a:gd name="T110" fmla="*/ 462 w 622"/>
                  <a:gd name="T111" fmla="*/ 346 h 397"/>
                  <a:gd name="T112" fmla="*/ 475 w 622"/>
                  <a:gd name="T113" fmla="*/ 323 h 397"/>
                  <a:gd name="T114" fmla="*/ 490 w 622"/>
                  <a:gd name="T115" fmla="*/ 295 h 397"/>
                  <a:gd name="T116" fmla="*/ 492 w 622"/>
                  <a:gd name="T117" fmla="*/ 270 h 397"/>
                  <a:gd name="T118" fmla="*/ 482 w 622"/>
                  <a:gd name="T119" fmla="*/ 215 h 397"/>
                  <a:gd name="T120" fmla="*/ 458 w 622"/>
                  <a:gd name="T121" fmla="*/ 198 h 397"/>
                  <a:gd name="T122" fmla="*/ 486 w 622"/>
                  <a:gd name="T123" fmla="*/ 17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397">
                    <a:moveTo>
                      <a:pt x="516" y="173"/>
                    </a:moveTo>
                    <a:cubicBezTo>
                      <a:pt x="516" y="173"/>
                      <a:pt x="516" y="173"/>
                      <a:pt x="516" y="173"/>
                    </a:cubicBezTo>
                    <a:cubicBezTo>
                      <a:pt x="516" y="172"/>
                      <a:pt x="517" y="171"/>
                      <a:pt x="517" y="171"/>
                    </a:cubicBezTo>
                    <a:cubicBezTo>
                      <a:pt x="517" y="171"/>
                      <a:pt x="517" y="171"/>
                      <a:pt x="517" y="171"/>
                    </a:cubicBezTo>
                    <a:cubicBezTo>
                      <a:pt x="519" y="170"/>
                      <a:pt x="519" y="170"/>
                      <a:pt x="519" y="170"/>
                    </a:cubicBezTo>
                    <a:cubicBezTo>
                      <a:pt x="522" y="168"/>
                      <a:pt x="524" y="167"/>
                      <a:pt x="527" y="165"/>
                    </a:cubicBezTo>
                    <a:cubicBezTo>
                      <a:pt x="527" y="165"/>
                      <a:pt x="528" y="164"/>
                      <a:pt x="529" y="164"/>
                    </a:cubicBezTo>
                    <a:cubicBezTo>
                      <a:pt x="529" y="163"/>
                      <a:pt x="529" y="163"/>
                      <a:pt x="529" y="163"/>
                    </a:cubicBezTo>
                    <a:cubicBezTo>
                      <a:pt x="530" y="162"/>
                      <a:pt x="531" y="162"/>
                      <a:pt x="532" y="162"/>
                    </a:cubicBezTo>
                    <a:cubicBezTo>
                      <a:pt x="532" y="162"/>
                      <a:pt x="533" y="162"/>
                      <a:pt x="533" y="162"/>
                    </a:cubicBezTo>
                    <a:cubicBezTo>
                      <a:pt x="533" y="162"/>
                      <a:pt x="533" y="162"/>
                      <a:pt x="533" y="162"/>
                    </a:cubicBezTo>
                    <a:cubicBezTo>
                      <a:pt x="533" y="162"/>
                      <a:pt x="534" y="161"/>
                      <a:pt x="534" y="161"/>
                    </a:cubicBezTo>
                    <a:cubicBezTo>
                      <a:pt x="534" y="161"/>
                      <a:pt x="534" y="160"/>
                      <a:pt x="535" y="160"/>
                    </a:cubicBezTo>
                    <a:cubicBezTo>
                      <a:pt x="536" y="158"/>
                      <a:pt x="538" y="156"/>
                      <a:pt x="539" y="154"/>
                    </a:cubicBezTo>
                    <a:cubicBezTo>
                      <a:pt x="539" y="153"/>
                      <a:pt x="540" y="152"/>
                      <a:pt x="540" y="152"/>
                    </a:cubicBezTo>
                    <a:cubicBezTo>
                      <a:pt x="539" y="150"/>
                      <a:pt x="539" y="150"/>
                      <a:pt x="539" y="150"/>
                    </a:cubicBezTo>
                    <a:cubicBezTo>
                      <a:pt x="541" y="151"/>
                      <a:pt x="541" y="151"/>
                      <a:pt x="541" y="151"/>
                    </a:cubicBezTo>
                    <a:cubicBezTo>
                      <a:pt x="541" y="151"/>
                      <a:pt x="541" y="151"/>
                      <a:pt x="541" y="151"/>
                    </a:cubicBezTo>
                    <a:cubicBezTo>
                      <a:pt x="541" y="151"/>
                      <a:pt x="541" y="151"/>
                      <a:pt x="541" y="151"/>
                    </a:cubicBezTo>
                    <a:cubicBezTo>
                      <a:pt x="542" y="151"/>
                      <a:pt x="542" y="151"/>
                      <a:pt x="543" y="151"/>
                    </a:cubicBezTo>
                    <a:cubicBezTo>
                      <a:pt x="543" y="151"/>
                      <a:pt x="543" y="151"/>
                      <a:pt x="543" y="151"/>
                    </a:cubicBezTo>
                    <a:cubicBezTo>
                      <a:pt x="543" y="151"/>
                      <a:pt x="543" y="151"/>
                      <a:pt x="543" y="151"/>
                    </a:cubicBezTo>
                    <a:cubicBezTo>
                      <a:pt x="544" y="151"/>
                      <a:pt x="544" y="151"/>
                      <a:pt x="544" y="151"/>
                    </a:cubicBezTo>
                    <a:cubicBezTo>
                      <a:pt x="544" y="151"/>
                      <a:pt x="544" y="151"/>
                      <a:pt x="544" y="151"/>
                    </a:cubicBezTo>
                    <a:cubicBezTo>
                      <a:pt x="545" y="152"/>
                      <a:pt x="546" y="153"/>
                      <a:pt x="546" y="153"/>
                    </a:cubicBezTo>
                    <a:cubicBezTo>
                      <a:pt x="546" y="154"/>
                      <a:pt x="547" y="154"/>
                      <a:pt x="547" y="154"/>
                    </a:cubicBezTo>
                    <a:cubicBezTo>
                      <a:pt x="548" y="155"/>
                      <a:pt x="548" y="155"/>
                      <a:pt x="548" y="155"/>
                    </a:cubicBezTo>
                    <a:cubicBezTo>
                      <a:pt x="548" y="155"/>
                      <a:pt x="550" y="155"/>
                      <a:pt x="552" y="155"/>
                    </a:cubicBezTo>
                    <a:cubicBezTo>
                      <a:pt x="552" y="155"/>
                      <a:pt x="552" y="155"/>
                      <a:pt x="552" y="155"/>
                    </a:cubicBezTo>
                    <a:cubicBezTo>
                      <a:pt x="554" y="156"/>
                      <a:pt x="554" y="156"/>
                      <a:pt x="555" y="156"/>
                    </a:cubicBezTo>
                    <a:cubicBezTo>
                      <a:pt x="555" y="156"/>
                      <a:pt x="555" y="156"/>
                      <a:pt x="555" y="156"/>
                    </a:cubicBezTo>
                    <a:cubicBezTo>
                      <a:pt x="556" y="156"/>
                      <a:pt x="556" y="156"/>
                      <a:pt x="556" y="156"/>
                    </a:cubicBezTo>
                    <a:cubicBezTo>
                      <a:pt x="556" y="155"/>
                      <a:pt x="556" y="155"/>
                      <a:pt x="556" y="155"/>
                    </a:cubicBezTo>
                    <a:cubicBezTo>
                      <a:pt x="556" y="155"/>
                      <a:pt x="556" y="155"/>
                      <a:pt x="556" y="155"/>
                    </a:cubicBezTo>
                    <a:cubicBezTo>
                      <a:pt x="556" y="155"/>
                      <a:pt x="556" y="155"/>
                      <a:pt x="556" y="155"/>
                    </a:cubicBezTo>
                    <a:cubicBezTo>
                      <a:pt x="555" y="154"/>
                      <a:pt x="555" y="154"/>
                      <a:pt x="555" y="154"/>
                    </a:cubicBezTo>
                    <a:cubicBezTo>
                      <a:pt x="554" y="153"/>
                      <a:pt x="554" y="151"/>
                      <a:pt x="554" y="150"/>
                    </a:cubicBezTo>
                    <a:cubicBezTo>
                      <a:pt x="553" y="149"/>
                      <a:pt x="553" y="149"/>
                      <a:pt x="553" y="149"/>
                    </a:cubicBezTo>
                    <a:cubicBezTo>
                      <a:pt x="560" y="148"/>
                      <a:pt x="560" y="148"/>
                      <a:pt x="560" y="148"/>
                    </a:cubicBezTo>
                    <a:cubicBezTo>
                      <a:pt x="560" y="148"/>
                      <a:pt x="561" y="148"/>
                      <a:pt x="561" y="148"/>
                    </a:cubicBezTo>
                    <a:cubicBezTo>
                      <a:pt x="562" y="148"/>
                      <a:pt x="563" y="147"/>
                      <a:pt x="564" y="147"/>
                    </a:cubicBezTo>
                    <a:cubicBezTo>
                      <a:pt x="564" y="147"/>
                      <a:pt x="565" y="147"/>
                      <a:pt x="565" y="146"/>
                    </a:cubicBezTo>
                    <a:cubicBezTo>
                      <a:pt x="565" y="146"/>
                      <a:pt x="565" y="146"/>
                      <a:pt x="565" y="146"/>
                    </a:cubicBezTo>
                    <a:cubicBezTo>
                      <a:pt x="565" y="145"/>
                      <a:pt x="565" y="145"/>
                      <a:pt x="565" y="145"/>
                    </a:cubicBezTo>
                    <a:cubicBezTo>
                      <a:pt x="566" y="144"/>
                      <a:pt x="567" y="143"/>
                      <a:pt x="568" y="143"/>
                    </a:cubicBezTo>
                    <a:cubicBezTo>
                      <a:pt x="569" y="143"/>
                      <a:pt x="569" y="142"/>
                      <a:pt x="569" y="142"/>
                    </a:cubicBezTo>
                    <a:cubicBezTo>
                      <a:pt x="570" y="142"/>
                      <a:pt x="570" y="142"/>
                      <a:pt x="571" y="142"/>
                    </a:cubicBezTo>
                    <a:cubicBezTo>
                      <a:pt x="571" y="142"/>
                      <a:pt x="571" y="142"/>
                      <a:pt x="571" y="142"/>
                    </a:cubicBezTo>
                    <a:cubicBezTo>
                      <a:pt x="571" y="141"/>
                      <a:pt x="571" y="141"/>
                      <a:pt x="571" y="141"/>
                    </a:cubicBezTo>
                    <a:cubicBezTo>
                      <a:pt x="571" y="141"/>
                      <a:pt x="571" y="141"/>
                      <a:pt x="571" y="141"/>
                    </a:cubicBezTo>
                    <a:cubicBezTo>
                      <a:pt x="571" y="139"/>
                      <a:pt x="572" y="138"/>
                      <a:pt x="573" y="137"/>
                    </a:cubicBezTo>
                    <a:cubicBezTo>
                      <a:pt x="573" y="136"/>
                      <a:pt x="573" y="136"/>
                      <a:pt x="573" y="136"/>
                    </a:cubicBezTo>
                    <a:cubicBezTo>
                      <a:pt x="573" y="136"/>
                      <a:pt x="574" y="136"/>
                      <a:pt x="575" y="136"/>
                    </a:cubicBezTo>
                    <a:cubicBezTo>
                      <a:pt x="576" y="136"/>
                      <a:pt x="577" y="137"/>
                      <a:pt x="578" y="138"/>
                    </a:cubicBezTo>
                    <a:cubicBezTo>
                      <a:pt x="578" y="138"/>
                      <a:pt x="578" y="139"/>
                      <a:pt x="579" y="139"/>
                    </a:cubicBezTo>
                    <a:cubicBezTo>
                      <a:pt x="579" y="139"/>
                      <a:pt x="579" y="139"/>
                      <a:pt x="579" y="139"/>
                    </a:cubicBezTo>
                    <a:cubicBezTo>
                      <a:pt x="580" y="138"/>
                      <a:pt x="582" y="138"/>
                      <a:pt x="584" y="138"/>
                    </a:cubicBezTo>
                    <a:cubicBezTo>
                      <a:pt x="585" y="138"/>
                      <a:pt x="585" y="138"/>
                      <a:pt x="586" y="136"/>
                    </a:cubicBezTo>
                    <a:cubicBezTo>
                      <a:pt x="586" y="135"/>
                      <a:pt x="586" y="135"/>
                      <a:pt x="586" y="135"/>
                    </a:cubicBezTo>
                    <a:cubicBezTo>
                      <a:pt x="586" y="134"/>
                      <a:pt x="587" y="132"/>
                      <a:pt x="587" y="131"/>
                    </a:cubicBezTo>
                    <a:cubicBezTo>
                      <a:pt x="587" y="130"/>
                      <a:pt x="586" y="130"/>
                      <a:pt x="586" y="129"/>
                    </a:cubicBezTo>
                    <a:cubicBezTo>
                      <a:pt x="586" y="129"/>
                      <a:pt x="586" y="129"/>
                      <a:pt x="586" y="129"/>
                    </a:cubicBezTo>
                    <a:cubicBezTo>
                      <a:pt x="586" y="127"/>
                      <a:pt x="586" y="126"/>
                      <a:pt x="586" y="125"/>
                    </a:cubicBezTo>
                    <a:cubicBezTo>
                      <a:pt x="586" y="121"/>
                      <a:pt x="585" y="118"/>
                      <a:pt x="584" y="114"/>
                    </a:cubicBezTo>
                    <a:cubicBezTo>
                      <a:pt x="583" y="113"/>
                      <a:pt x="583" y="113"/>
                      <a:pt x="583" y="113"/>
                    </a:cubicBezTo>
                    <a:cubicBezTo>
                      <a:pt x="584" y="113"/>
                      <a:pt x="584" y="113"/>
                      <a:pt x="584" y="113"/>
                    </a:cubicBezTo>
                    <a:cubicBezTo>
                      <a:pt x="585" y="113"/>
                      <a:pt x="585" y="112"/>
                      <a:pt x="586" y="112"/>
                    </a:cubicBezTo>
                    <a:cubicBezTo>
                      <a:pt x="587" y="112"/>
                      <a:pt x="589" y="112"/>
                      <a:pt x="589" y="111"/>
                    </a:cubicBezTo>
                    <a:cubicBezTo>
                      <a:pt x="590" y="111"/>
                      <a:pt x="590" y="111"/>
                      <a:pt x="590" y="111"/>
                    </a:cubicBezTo>
                    <a:cubicBezTo>
                      <a:pt x="590" y="110"/>
                      <a:pt x="591" y="110"/>
                      <a:pt x="592" y="109"/>
                    </a:cubicBezTo>
                    <a:cubicBezTo>
                      <a:pt x="592" y="108"/>
                      <a:pt x="592" y="108"/>
                      <a:pt x="592" y="108"/>
                    </a:cubicBezTo>
                    <a:cubicBezTo>
                      <a:pt x="592" y="108"/>
                      <a:pt x="593" y="107"/>
                      <a:pt x="594" y="107"/>
                    </a:cubicBezTo>
                    <a:cubicBezTo>
                      <a:pt x="594" y="107"/>
                      <a:pt x="594" y="107"/>
                      <a:pt x="594" y="107"/>
                    </a:cubicBezTo>
                    <a:cubicBezTo>
                      <a:pt x="594" y="107"/>
                      <a:pt x="594" y="107"/>
                      <a:pt x="594" y="107"/>
                    </a:cubicBezTo>
                    <a:cubicBezTo>
                      <a:pt x="594" y="107"/>
                      <a:pt x="594" y="107"/>
                      <a:pt x="595" y="107"/>
                    </a:cubicBezTo>
                    <a:cubicBezTo>
                      <a:pt x="595" y="107"/>
                      <a:pt x="595" y="107"/>
                      <a:pt x="596" y="108"/>
                    </a:cubicBezTo>
                    <a:cubicBezTo>
                      <a:pt x="596" y="108"/>
                      <a:pt x="596" y="108"/>
                      <a:pt x="596" y="108"/>
                    </a:cubicBezTo>
                    <a:cubicBezTo>
                      <a:pt x="596" y="108"/>
                      <a:pt x="598" y="109"/>
                      <a:pt x="599" y="109"/>
                    </a:cubicBezTo>
                    <a:cubicBezTo>
                      <a:pt x="599" y="109"/>
                      <a:pt x="599" y="109"/>
                      <a:pt x="599" y="109"/>
                    </a:cubicBezTo>
                    <a:cubicBezTo>
                      <a:pt x="599" y="109"/>
                      <a:pt x="600" y="109"/>
                      <a:pt x="600" y="109"/>
                    </a:cubicBezTo>
                    <a:cubicBezTo>
                      <a:pt x="600" y="109"/>
                      <a:pt x="600" y="109"/>
                      <a:pt x="600" y="109"/>
                    </a:cubicBezTo>
                    <a:cubicBezTo>
                      <a:pt x="600" y="109"/>
                      <a:pt x="601" y="109"/>
                      <a:pt x="601" y="109"/>
                    </a:cubicBezTo>
                    <a:cubicBezTo>
                      <a:pt x="603" y="110"/>
                      <a:pt x="603" y="110"/>
                      <a:pt x="603" y="110"/>
                    </a:cubicBezTo>
                    <a:cubicBezTo>
                      <a:pt x="604" y="110"/>
                      <a:pt x="604" y="110"/>
                      <a:pt x="604" y="110"/>
                    </a:cubicBezTo>
                    <a:cubicBezTo>
                      <a:pt x="604" y="110"/>
                      <a:pt x="604" y="110"/>
                      <a:pt x="604" y="110"/>
                    </a:cubicBezTo>
                    <a:cubicBezTo>
                      <a:pt x="604" y="110"/>
                      <a:pt x="605" y="110"/>
                      <a:pt x="605" y="110"/>
                    </a:cubicBezTo>
                    <a:cubicBezTo>
                      <a:pt x="605" y="109"/>
                      <a:pt x="605" y="109"/>
                      <a:pt x="605" y="109"/>
                    </a:cubicBezTo>
                    <a:cubicBezTo>
                      <a:pt x="605" y="109"/>
                      <a:pt x="605" y="108"/>
                      <a:pt x="605" y="108"/>
                    </a:cubicBezTo>
                    <a:cubicBezTo>
                      <a:pt x="605" y="107"/>
                      <a:pt x="605" y="107"/>
                      <a:pt x="605" y="107"/>
                    </a:cubicBezTo>
                    <a:cubicBezTo>
                      <a:pt x="606" y="106"/>
                      <a:pt x="606" y="106"/>
                      <a:pt x="607" y="105"/>
                    </a:cubicBezTo>
                    <a:cubicBezTo>
                      <a:pt x="607" y="105"/>
                      <a:pt x="607" y="105"/>
                      <a:pt x="607" y="105"/>
                    </a:cubicBezTo>
                    <a:cubicBezTo>
                      <a:pt x="608" y="104"/>
                      <a:pt x="609" y="104"/>
                      <a:pt x="609" y="104"/>
                    </a:cubicBezTo>
                    <a:cubicBezTo>
                      <a:pt x="609" y="104"/>
                      <a:pt x="609" y="103"/>
                      <a:pt x="609" y="103"/>
                    </a:cubicBezTo>
                    <a:cubicBezTo>
                      <a:pt x="609" y="103"/>
                      <a:pt x="609" y="103"/>
                      <a:pt x="609" y="103"/>
                    </a:cubicBezTo>
                    <a:cubicBezTo>
                      <a:pt x="609" y="103"/>
                      <a:pt x="609" y="103"/>
                      <a:pt x="609" y="103"/>
                    </a:cubicBezTo>
                    <a:cubicBezTo>
                      <a:pt x="609" y="102"/>
                      <a:pt x="609" y="101"/>
                      <a:pt x="610" y="100"/>
                    </a:cubicBezTo>
                    <a:cubicBezTo>
                      <a:pt x="610" y="99"/>
                      <a:pt x="611" y="99"/>
                      <a:pt x="611" y="99"/>
                    </a:cubicBezTo>
                    <a:cubicBezTo>
                      <a:pt x="612" y="98"/>
                      <a:pt x="613" y="97"/>
                      <a:pt x="613" y="97"/>
                    </a:cubicBezTo>
                    <a:cubicBezTo>
                      <a:pt x="613" y="96"/>
                      <a:pt x="613" y="96"/>
                      <a:pt x="613" y="96"/>
                    </a:cubicBezTo>
                    <a:cubicBezTo>
                      <a:pt x="613" y="96"/>
                      <a:pt x="613" y="95"/>
                      <a:pt x="613" y="94"/>
                    </a:cubicBezTo>
                    <a:cubicBezTo>
                      <a:pt x="613" y="94"/>
                      <a:pt x="613" y="94"/>
                      <a:pt x="613" y="94"/>
                    </a:cubicBezTo>
                    <a:cubicBezTo>
                      <a:pt x="613" y="93"/>
                      <a:pt x="613" y="93"/>
                      <a:pt x="613" y="93"/>
                    </a:cubicBezTo>
                    <a:cubicBezTo>
                      <a:pt x="613" y="93"/>
                      <a:pt x="613" y="93"/>
                      <a:pt x="613" y="93"/>
                    </a:cubicBezTo>
                    <a:cubicBezTo>
                      <a:pt x="613" y="92"/>
                      <a:pt x="614" y="92"/>
                      <a:pt x="614" y="91"/>
                    </a:cubicBezTo>
                    <a:cubicBezTo>
                      <a:pt x="614" y="91"/>
                      <a:pt x="614" y="91"/>
                      <a:pt x="614" y="91"/>
                    </a:cubicBezTo>
                    <a:cubicBezTo>
                      <a:pt x="614" y="91"/>
                      <a:pt x="614" y="91"/>
                      <a:pt x="614" y="91"/>
                    </a:cubicBezTo>
                    <a:cubicBezTo>
                      <a:pt x="614" y="91"/>
                      <a:pt x="614" y="91"/>
                      <a:pt x="614" y="91"/>
                    </a:cubicBezTo>
                    <a:cubicBezTo>
                      <a:pt x="614" y="91"/>
                      <a:pt x="615" y="90"/>
                      <a:pt x="615" y="90"/>
                    </a:cubicBezTo>
                    <a:cubicBezTo>
                      <a:pt x="615" y="90"/>
                      <a:pt x="615" y="89"/>
                      <a:pt x="615" y="89"/>
                    </a:cubicBezTo>
                    <a:cubicBezTo>
                      <a:pt x="615" y="88"/>
                      <a:pt x="615" y="88"/>
                      <a:pt x="615" y="88"/>
                    </a:cubicBezTo>
                    <a:cubicBezTo>
                      <a:pt x="615" y="87"/>
                      <a:pt x="615" y="87"/>
                      <a:pt x="616" y="87"/>
                    </a:cubicBezTo>
                    <a:cubicBezTo>
                      <a:pt x="616" y="87"/>
                      <a:pt x="616" y="87"/>
                      <a:pt x="616" y="87"/>
                    </a:cubicBezTo>
                    <a:cubicBezTo>
                      <a:pt x="616" y="86"/>
                      <a:pt x="616" y="86"/>
                      <a:pt x="616" y="85"/>
                    </a:cubicBezTo>
                    <a:cubicBezTo>
                      <a:pt x="614" y="85"/>
                      <a:pt x="614" y="85"/>
                      <a:pt x="614" y="85"/>
                    </a:cubicBezTo>
                    <a:cubicBezTo>
                      <a:pt x="616" y="84"/>
                      <a:pt x="616" y="84"/>
                      <a:pt x="616" y="84"/>
                    </a:cubicBezTo>
                    <a:cubicBezTo>
                      <a:pt x="616" y="84"/>
                      <a:pt x="616" y="84"/>
                      <a:pt x="616" y="84"/>
                    </a:cubicBezTo>
                    <a:cubicBezTo>
                      <a:pt x="616" y="84"/>
                      <a:pt x="616" y="83"/>
                      <a:pt x="616" y="83"/>
                    </a:cubicBezTo>
                    <a:cubicBezTo>
                      <a:pt x="616" y="83"/>
                      <a:pt x="617" y="82"/>
                      <a:pt x="617" y="82"/>
                    </a:cubicBezTo>
                    <a:cubicBezTo>
                      <a:pt x="617" y="81"/>
                      <a:pt x="617" y="81"/>
                      <a:pt x="618" y="80"/>
                    </a:cubicBezTo>
                    <a:cubicBezTo>
                      <a:pt x="618" y="80"/>
                      <a:pt x="619" y="80"/>
                      <a:pt x="619" y="80"/>
                    </a:cubicBezTo>
                    <a:cubicBezTo>
                      <a:pt x="619" y="80"/>
                      <a:pt x="619" y="80"/>
                      <a:pt x="619" y="79"/>
                    </a:cubicBezTo>
                    <a:cubicBezTo>
                      <a:pt x="620" y="79"/>
                      <a:pt x="620" y="79"/>
                      <a:pt x="620" y="79"/>
                    </a:cubicBezTo>
                    <a:cubicBezTo>
                      <a:pt x="620" y="79"/>
                      <a:pt x="622" y="78"/>
                      <a:pt x="622" y="77"/>
                    </a:cubicBezTo>
                    <a:cubicBezTo>
                      <a:pt x="622" y="77"/>
                      <a:pt x="622" y="77"/>
                      <a:pt x="622" y="77"/>
                    </a:cubicBezTo>
                    <a:cubicBezTo>
                      <a:pt x="622" y="77"/>
                      <a:pt x="622" y="77"/>
                      <a:pt x="621" y="76"/>
                    </a:cubicBezTo>
                    <a:cubicBezTo>
                      <a:pt x="621" y="76"/>
                      <a:pt x="621" y="76"/>
                      <a:pt x="621" y="76"/>
                    </a:cubicBezTo>
                    <a:cubicBezTo>
                      <a:pt x="621" y="76"/>
                      <a:pt x="620" y="75"/>
                      <a:pt x="620" y="74"/>
                    </a:cubicBezTo>
                    <a:cubicBezTo>
                      <a:pt x="620" y="72"/>
                      <a:pt x="621" y="71"/>
                      <a:pt x="622" y="70"/>
                    </a:cubicBezTo>
                    <a:cubicBezTo>
                      <a:pt x="622" y="70"/>
                      <a:pt x="622" y="70"/>
                      <a:pt x="622" y="70"/>
                    </a:cubicBezTo>
                    <a:cubicBezTo>
                      <a:pt x="622" y="70"/>
                      <a:pt x="621" y="70"/>
                      <a:pt x="621" y="70"/>
                    </a:cubicBezTo>
                    <a:cubicBezTo>
                      <a:pt x="620" y="70"/>
                      <a:pt x="620" y="70"/>
                      <a:pt x="620" y="70"/>
                    </a:cubicBezTo>
                    <a:cubicBezTo>
                      <a:pt x="620" y="70"/>
                      <a:pt x="620" y="70"/>
                      <a:pt x="620" y="70"/>
                    </a:cubicBezTo>
                    <a:cubicBezTo>
                      <a:pt x="619" y="70"/>
                      <a:pt x="619" y="70"/>
                      <a:pt x="618" y="70"/>
                    </a:cubicBezTo>
                    <a:cubicBezTo>
                      <a:pt x="618" y="70"/>
                      <a:pt x="618" y="70"/>
                      <a:pt x="618" y="70"/>
                    </a:cubicBezTo>
                    <a:cubicBezTo>
                      <a:pt x="618" y="70"/>
                      <a:pt x="618" y="70"/>
                      <a:pt x="618" y="70"/>
                    </a:cubicBezTo>
                    <a:cubicBezTo>
                      <a:pt x="616" y="71"/>
                      <a:pt x="615" y="71"/>
                      <a:pt x="613" y="72"/>
                    </a:cubicBezTo>
                    <a:cubicBezTo>
                      <a:pt x="613" y="72"/>
                      <a:pt x="613" y="72"/>
                      <a:pt x="613" y="72"/>
                    </a:cubicBezTo>
                    <a:cubicBezTo>
                      <a:pt x="612" y="72"/>
                      <a:pt x="612" y="72"/>
                      <a:pt x="612" y="72"/>
                    </a:cubicBezTo>
                    <a:cubicBezTo>
                      <a:pt x="610" y="73"/>
                      <a:pt x="610" y="73"/>
                      <a:pt x="610" y="73"/>
                    </a:cubicBezTo>
                    <a:cubicBezTo>
                      <a:pt x="609" y="74"/>
                      <a:pt x="608" y="74"/>
                      <a:pt x="607" y="74"/>
                    </a:cubicBezTo>
                    <a:cubicBezTo>
                      <a:pt x="606" y="74"/>
                      <a:pt x="605" y="74"/>
                      <a:pt x="605" y="74"/>
                    </a:cubicBezTo>
                    <a:cubicBezTo>
                      <a:pt x="604" y="75"/>
                      <a:pt x="603" y="75"/>
                      <a:pt x="603" y="76"/>
                    </a:cubicBezTo>
                    <a:cubicBezTo>
                      <a:pt x="602" y="76"/>
                      <a:pt x="602" y="76"/>
                      <a:pt x="602" y="77"/>
                    </a:cubicBezTo>
                    <a:cubicBezTo>
                      <a:pt x="602" y="78"/>
                      <a:pt x="601" y="79"/>
                      <a:pt x="599" y="79"/>
                    </a:cubicBezTo>
                    <a:cubicBezTo>
                      <a:pt x="596" y="79"/>
                      <a:pt x="593" y="79"/>
                      <a:pt x="590" y="79"/>
                    </a:cubicBezTo>
                    <a:cubicBezTo>
                      <a:pt x="588" y="79"/>
                      <a:pt x="587" y="79"/>
                      <a:pt x="585" y="79"/>
                    </a:cubicBezTo>
                    <a:cubicBezTo>
                      <a:pt x="584" y="79"/>
                      <a:pt x="584" y="78"/>
                      <a:pt x="584" y="78"/>
                    </a:cubicBezTo>
                    <a:cubicBezTo>
                      <a:pt x="583" y="78"/>
                      <a:pt x="583" y="78"/>
                      <a:pt x="583" y="78"/>
                    </a:cubicBezTo>
                    <a:cubicBezTo>
                      <a:pt x="583" y="77"/>
                      <a:pt x="583" y="77"/>
                      <a:pt x="583" y="77"/>
                    </a:cubicBezTo>
                    <a:cubicBezTo>
                      <a:pt x="583" y="77"/>
                      <a:pt x="583" y="77"/>
                      <a:pt x="583" y="77"/>
                    </a:cubicBezTo>
                    <a:cubicBezTo>
                      <a:pt x="583" y="77"/>
                      <a:pt x="583" y="76"/>
                      <a:pt x="583" y="76"/>
                    </a:cubicBezTo>
                    <a:cubicBezTo>
                      <a:pt x="583" y="76"/>
                      <a:pt x="583" y="76"/>
                      <a:pt x="583" y="76"/>
                    </a:cubicBezTo>
                    <a:cubicBezTo>
                      <a:pt x="583" y="76"/>
                      <a:pt x="583" y="76"/>
                      <a:pt x="582" y="75"/>
                    </a:cubicBezTo>
                    <a:cubicBezTo>
                      <a:pt x="582" y="75"/>
                      <a:pt x="582" y="75"/>
                      <a:pt x="582" y="75"/>
                    </a:cubicBezTo>
                    <a:cubicBezTo>
                      <a:pt x="582" y="75"/>
                      <a:pt x="582" y="75"/>
                      <a:pt x="582" y="75"/>
                    </a:cubicBezTo>
                    <a:cubicBezTo>
                      <a:pt x="580" y="73"/>
                      <a:pt x="580" y="72"/>
                      <a:pt x="581" y="70"/>
                    </a:cubicBezTo>
                    <a:cubicBezTo>
                      <a:pt x="581" y="70"/>
                      <a:pt x="581" y="70"/>
                      <a:pt x="582" y="70"/>
                    </a:cubicBezTo>
                    <a:cubicBezTo>
                      <a:pt x="582" y="70"/>
                      <a:pt x="582" y="70"/>
                      <a:pt x="582" y="70"/>
                    </a:cubicBezTo>
                    <a:cubicBezTo>
                      <a:pt x="582" y="70"/>
                      <a:pt x="582" y="70"/>
                      <a:pt x="582" y="70"/>
                    </a:cubicBezTo>
                    <a:cubicBezTo>
                      <a:pt x="582" y="69"/>
                      <a:pt x="582" y="69"/>
                      <a:pt x="582" y="69"/>
                    </a:cubicBezTo>
                    <a:cubicBezTo>
                      <a:pt x="582" y="69"/>
                      <a:pt x="582" y="69"/>
                      <a:pt x="582" y="69"/>
                    </a:cubicBezTo>
                    <a:cubicBezTo>
                      <a:pt x="582" y="69"/>
                      <a:pt x="582" y="68"/>
                      <a:pt x="581" y="68"/>
                    </a:cubicBezTo>
                    <a:cubicBezTo>
                      <a:pt x="581" y="68"/>
                      <a:pt x="581" y="68"/>
                      <a:pt x="581" y="68"/>
                    </a:cubicBezTo>
                    <a:cubicBezTo>
                      <a:pt x="581" y="68"/>
                      <a:pt x="580" y="67"/>
                      <a:pt x="579" y="67"/>
                    </a:cubicBezTo>
                    <a:cubicBezTo>
                      <a:pt x="579" y="66"/>
                      <a:pt x="579" y="66"/>
                      <a:pt x="579" y="65"/>
                    </a:cubicBezTo>
                    <a:cubicBezTo>
                      <a:pt x="579" y="65"/>
                      <a:pt x="579" y="65"/>
                      <a:pt x="579" y="65"/>
                    </a:cubicBezTo>
                    <a:cubicBezTo>
                      <a:pt x="579" y="65"/>
                      <a:pt x="579" y="65"/>
                      <a:pt x="579" y="64"/>
                    </a:cubicBezTo>
                    <a:cubicBezTo>
                      <a:pt x="580" y="63"/>
                      <a:pt x="580" y="63"/>
                      <a:pt x="580" y="63"/>
                    </a:cubicBezTo>
                    <a:cubicBezTo>
                      <a:pt x="579" y="63"/>
                      <a:pt x="579" y="63"/>
                      <a:pt x="579" y="63"/>
                    </a:cubicBezTo>
                    <a:cubicBezTo>
                      <a:pt x="578" y="63"/>
                      <a:pt x="578" y="63"/>
                      <a:pt x="578" y="63"/>
                    </a:cubicBezTo>
                    <a:cubicBezTo>
                      <a:pt x="578" y="63"/>
                      <a:pt x="578" y="64"/>
                      <a:pt x="578" y="64"/>
                    </a:cubicBezTo>
                    <a:cubicBezTo>
                      <a:pt x="578" y="64"/>
                      <a:pt x="578" y="64"/>
                      <a:pt x="578" y="64"/>
                    </a:cubicBezTo>
                    <a:cubicBezTo>
                      <a:pt x="578" y="64"/>
                      <a:pt x="577" y="64"/>
                      <a:pt x="577" y="64"/>
                    </a:cubicBezTo>
                    <a:cubicBezTo>
                      <a:pt x="576" y="63"/>
                      <a:pt x="576" y="63"/>
                      <a:pt x="576" y="63"/>
                    </a:cubicBezTo>
                    <a:cubicBezTo>
                      <a:pt x="569" y="56"/>
                      <a:pt x="569" y="56"/>
                      <a:pt x="569" y="56"/>
                    </a:cubicBezTo>
                    <a:cubicBezTo>
                      <a:pt x="568" y="57"/>
                      <a:pt x="568" y="57"/>
                      <a:pt x="568" y="57"/>
                    </a:cubicBezTo>
                    <a:cubicBezTo>
                      <a:pt x="568" y="57"/>
                      <a:pt x="567" y="57"/>
                      <a:pt x="567" y="57"/>
                    </a:cubicBezTo>
                    <a:cubicBezTo>
                      <a:pt x="567" y="57"/>
                      <a:pt x="567" y="57"/>
                      <a:pt x="567" y="57"/>
                    </a:cubicBezTo>
                    <a:cubicBezTo>
                      <a:pt x="563" y="56"/>
                      <a:pt x="563" y="56"/>
                      <a:pt x="563" y="56"/>
                    </a:cubicBezTo>
                    <a:cubicBezTo>
                      <a:pt x="563" y="55"/>
                      <a:pt x="562" y="55"/>
                      <a:pt x="562" y="55"/>
                    </a:cubicBezTo>
                    <a:cubicBezTo>
                      <a:pt x="562" y="55"/>
                      <a:pt x="562" y="55"/>
                      <a:pt x="562" y="55"/>
                    </a:cubicBezTo>
                    <a:cubicBezTo>
                      <a:pt x="561" y="55"/>
                      <a:pt x="560" y="54"/>
                      <a:pt x="559" y="54"/>
                    </a:cubicBezTo>
                    <a:cubicBezTo>
                      <a:pt x="559" y="54"/>
                      <a:pt x="559" y="54"/>
                      <a:pt x="559" y="54"/>
                    </a:cubicBezTo>
                    <a:cubicBezTo>
                      <a:pt x="554" y="54"/>
                      <a:pt x="554" y="54"/>
                      <a:pt x="554" y="54"/>
                    </a:cubicBezTo>
                    <a:cubicBezTo>
                      <a:pt x="553" y="54"/>
                      <a:pt x="552" y="54"/>
                      <a:pt x="551" y="53"/>
                    </a:cubicBezTo>
                    <a:cubicBezTo>
                      <a:pt x="550" y="51"/>
                      <a:pt x="550" y="51"/>
                      <a:pt x="550" y="51"/>
                    </a:cubicBezTo>
                    <a:cubicBezTo>
                      <a:pt x="549" y="49"/>
                      <a:pt x="549" y="49"/>
                      <a:pt x="549" y="49"/>
                    </a:cubicBezTo>
                    <a:cubicBezTo>
                      <a:pt x="548" y="48"/>
                      <a:pt x="548" y="47"/>
                      <a:pt x="548" y="46"/>
                    </a:cubicBezTo>
                    <a:cubicBezTo>
                      <a:pt x="548" y="46"/>
                      <a:pt x="548" y="46"/>
                      <a:pt x="548" y="46"/>
                    </a:cubicBezTo>
                    <a:cubicBezTo>
                      <a:pt x="549" y="46"/>
                      <a:pt x="549" y="45"/>
                      <a:pt x="549" y="45"/>
                    </a:cubicBezTo>
                    <a:cubicBezTo>
                      <a:pt x="549" y="45"/>
                      <a:pt x="549" y="45"/>
                      <a:pt x="549" y="45"/>
                    </a:cubicBezTo>
                    <a:cubicBezTo>
                      <a:pt x="549" y="45"/>
                      <a:pt x="549" y="45"/>
                      <a:pt x="549" y="45"/>
                    </a:cubicBezTo>
                    <a:cubicBezTo>
                      <a:pt x="549" y="45"/>
                      <a:pt x="548" y="45"/>
                      <a:pt x="548" y="44"/>
                    </a:cubicBezTo>
                    <a:cubicBezTo>
                      <a:pt x="548" y="44"/>
                      <a:pt x="548" y="43"/>
                      <a:pt x="547" y="43"/>
                    </a:cubicBezTo>
                    <a:cubicBezTo>
                      <a:pt x="544" y="36"/>
                      <a:pt x="544" y="36"/>
                      <a:pt x="544" y="36"/>
                    </a:cubicBezTo>
                    <a:cubicBezTo>
                      <a:pt x="543" y="35"/>
                      <a:pt x="543" y="35"/>
                      <a:pt x="543" y="35"/>
                    </a:cubicBezTo>
                    <a:cubicBezTo>
                      <a:pt x="543" y="35"/>
                      <a:pt x="543" y="35"/>
                      <a:pt x="543" y="35"/>
                    </a:cubicBezTo>
                    <a:cubicBezTo>
                      <a:pt x="543" y="31"/>
                      <a:pt x="543" y="31"/>
                      <a:pt x="543" y="31"/>
                    </a:cubicBezTo>
                    <a:cubicBezTo>
                      <a:pt x="543" y="31"/>
                      <a:pt x="543" y="31"/>
                      <a:pt x="543" y="31"/>
                    </a:cubicBezTo>
                    <a:cubicBezTo>
                      <a:pt x="542" y="31"/>
                      <a:pt x="541" y="31"/>
                      <a:pt x="541" y="30"/>
                    </a:cubicBezTo>
                    <a:cubicBezTo>
                      <a:pt x="541" y="30"/>
                      <a:pt x="541" y="30"/>
                      <a:pt x="541" y="30"/>
                    </a:cubicBezTo>
                    <a:cubicBezTo>
                      <a:pt x="541" y="30"/>
                      <a:pt x="541" y="30"/>
                      <a:pt x="541" y="30"/>
                    </a:cubicBezTo>
                    <a:cubicBezTo>
                      <a:pt x="540" y="28"/>
                      <a:pt x="540" y="28"/>
                      <a:pt x="540" y="28"/>
                    </a:cubicBezTo>
                    <a:cubicBezTo>
                      <a:pt x="539" y="26"/>
                      <a:pt x="539" y="24"/>
                      <a:pt x="538" y="22"/>
                    </a:cubicBezTo>
                    <a:cubicBezTo>
                      <a:pt x="537" y="22"/>
                      <a:pt x="537" y="22"/>
                      <a:pt x="537" y="22"/>
                    </a:cubicBezTo>
                    <a:cubicBezTo>
                      <a:pt x="537" y="21"/>
                      <a:pt x="537" y="20"/>
                      <a:pt x="537" y="20"/>
                    </a:cubicBezTo>
                    <a:cubicBezTo>
                      <a:pt x="538" y="19"/>
                      <a:pt x="538" y="19"/>
                      <a:pt x="538" y="19"/>
                    </a:cubicBezTo>
                    <a:cubicBezTo>
                      <a:pt x="538" y="19"/>
                      <a:pt x="538" y="19"/>
                      <a:pt x="538" y="19"/>
                    </a:cubicBezTo>
                    <a:cubicBezTo>
                      <a:pt x="538" y="19"/>
                      <a:pt x="538" y="19"/>
                      <a:pt x="538" y="19"/>
                    </a:cubicBezTo>
                    <a:cubicBezTo>
                      <a:pt x="538" y="19"/>
                      <a:pt x="538" y="19"/>
                      <a:pt x="538" y="19"/>
                    </a:cubicBezTo>
                    <a:cubicBezTo>
                      <a:pt x="537" y="18"/>
                      <a:pt x="536" y="16"/>
                      <a:pt x="535" y="15"/>
                    </a:cubicBezTo>
                    <a:cubicBezTo>
                      <a:pt x="534" y="15"/>
                      <a:pt x="534" y="15"/>
                      <a:pt x="534" y="15"/>
                    </a:cubicBezTo>
                    <a:cubicBezTo>
                      <a:pt x="534" y="15"/>
                      <a:pt x="534" y="14"/>
                      <a:pt x="534" y="14"/>
                    </a:cubicBezTo>
                    <a:cubicBezTo>
                      <a:pt x="533" y="13"/>
                      <a:pt x="533" y="13"/>
                      <a:pt x="533" y="13"/>
                    </a:cubicBezTo>
                    <a:cubicBezTo>
                      <a:pt x="532" y="12"/>
                      <a:pt x="532" y="11"/>
                      <a:pt x="533" y="10"/>
                    </a:cubicBezTo>
                    <a:cubicBezTo>
                      <a:pt x="533" y="10"/>
                      <a:pt x="533" y="10"/>
                      <a:pt x="533" y="10"/>
                    </a:cubicBezTo>
                    <a:cubicBezTo>
                      <a:pt x="533" y="10"/>
                      <a:pt x="533" y="10"/>
                      <a:pt x="533" y="10"/>
                    </a:cubicBezTo>
                    <a:cubicBezTo>
                      <a:pt x="533" y="10"/>
                      <a:pt x="532" y="10"/>
                      <a:pt x="532" y="9"/>
                    </a:cubicBezTo>
                    <a:cubicBezTo>
                      <a:pt x="532" y="9"/>
                      <a:pt x="532" y="9"/>
                      <a:pt x="532" y="9"/>
                    </a:cubicBezTo>
                    <a:cubicBezTo>
                      <a:pt x="529" y="7"/>
                      <a:pt x="529" y="7"/>
                      <a:pt x="529" y="7"/>
                    </a:cubicBezTo>
                    <a:cubicBezTo>
                      <a:pt x="529" y="7"/>
                      <a:pt x="529" y="7"/>
                      <a:pt x="529" y="7"/>
                    </a:cubicBezTo>
                    <a:cubicBezTo>
                      <a:pt x="529" y="7"/>
                      <a:pt x="529" y="7"/>
                      <a:pt x="529" y="7"/>
                    </a:cubicBezTo>
                    <a:cubicBezTo>
                      <a:pt x="527" y="6"/>
                      <a:pt x="527" y="6"/>
                      <a:pt x="527" y="6"/>
                    </a:cubicBezTo>
                    <a:cubicBezTo>
                      <a:pt x="527" y="6"/>
                      <a:pt x="527" y="6"/>
                      <a:pt x="527" y="6"/>
                    </a:cubicBezTo>
                    <a:cubicBezTo>
                      <a:pt x="527" y="6"/>
                      <a:pt x="527" y="6"/>
                      <a:pt x="527" y="6"/>
                    </a:cubicBezTo>
                    <a:cubicBezTo>
                      <a:pt x="527" y="6"/>
                      <a:pt x="526" y="6"/>
                      <a:pt x="526" y="6"/>
                    </a:cubicBezTo>
                    <a:cubicBezTo>
                      <a:pt x="526" y="6"/>
                      <a:pt x="526" y="6"/>
                      <a:pt x="526" y="6"/>
                    </a:cubicBezTo>
                    <a:cubicBezTo>
                      <a:pt x="526" y="5"/>
                      <a:pt x="526" y="5"/>
                      <a:pt x="526" y="5"/>
                    </a:cubicBezTo>
                    <a:cubicBezTo>
                      <a:pt x="525" y="5"/>
                      <a:pt x="525" y="5"/>
                      <a:pt x="525" y="5"/>
                    </a:cubicBezTo>
                    <a:cubicBezTo>
                      <a:pt x="525" y="5"/>
                      <a:pt x="525" y="5"/>
                      <a:pt x="525" y="5"/>
                    </a:cubicBezTo>
                    <a:cubicBezTo>
                      <a:pt x="525" y="5"/>
                      <a:pt x="524" y="5"/>
                      <a:pt x="523" y="5"/>
                    </a:cubicBezTo>
                    <a:cubicBezTo>
                      <a:pt x="523" y="5"/>
                      <a:pt x="523" y="5"/>
                      <a:pt x="523" y="5"/>
                    </a:cubicBezTo>
                    <a:cubicBezTo>
                      <a:pt x="523" y="5"/>
                      <a:pt x="523" y="5"/>
                      <a:pt x="523" y="5"/>
                    </a:cubicBezTo>
                    <a:cubicBezTo>
                      <a:pt x="523" y="5"/>
                      <a:pt x="522" y="5"/>
                      <a:pt x="522" y="5"/>
                    </a:cubicBezTo>
                    <a:cubicBezTo>
                      <a:pt x="520" y="5"/>
                      <a:pt x="520" y="5"/>
                      <a:pt x="520" y="5"/>
                    </a:cubicBezTo>
                    <a:cubicBezTo>
                      <a:pt x="520" y="5"/>
                      <a:pt x="520" y="5"/>
                      <a:pt x="519" y="5"/>
                    </a:cubicBezTo>
                    <a:cubicBezTo>
                      <a:pt x="519" y="5"/>
                      <a:pt x="519" y="5"/>
                      <a:pt x="519" y="5"/>
                    </a:cubicBezTo>
                    <a:cubicBezTo>
                      <a:pt x="514" y="3"/>
                      <a:pt x="514" y="3"/>
                      <a:pt x="514" y="3"/>
                    </a:cubicBezTo>
                    <a:cubicBezTo>
                      <a:pt x="513" y="2"/>
                      <a:pt x="511" y="1"/>
                      <a:pt x="510" y="1"/>
                    </a:cubicBezTo>
                    <a:cubicBezTo>
                      <a:pt x="509" y="0"/>
                      <a:pt x="509" y="0"/>
                      <a:pt x="509" y="0"/>
                    </a:cubicBezTo>
                    <a:cubicBezTo>
                      <a:pt x="509" y="0"/>
                      <a:pt x="509" y="0"/>
                      <a:pt x="509" y="0"/>
                    </a:cubicBezTo>
                    <a:cubicBezTo>
                      <a:pt x="508" y="0"/>
                      <a:pt x="508" y="0"/>
                      <a:pt x="508" y="0"/>
                    </a:cubicBezTo>
                    <a:cubicBezTo>
                      <a:pt x="506" y="0"/>
                      <a:pt x="506" y="0"/>
                      <a:pt x="506" y="0"/>
                    </a:cubicBezTo>
                    <a:cubicBezTo>
                      <a:pt x="506" y="0"/>
                      <a:pt x="506" y="0"/>
                      <a:pt x="506" y="0"/>
                    </a:cubicBezTo>
                    <a:cubicBezTo>
                      <a:pt x="505" y="0"/>
                      <a:pt x="505" y="0"/>
                      <a:pt x="505" y="0"/>
                    </a:cubicBezTo>
                    <a:cubicBezTo>
                      <a:pt x="505" y="1"/>
                      <a:pt x="505" y="1"/>
                      <a:pt x="505" y="1"/>
                    </a:cubicBezTo>
                    <a:cubicBezTo>
                      <a:pt x="503" y="1"/>
                      <a:pt x="503" y="1"/>
                      <a:pt x="503" y="1"/>
                    </a:cubicBezTo>
                    <a:cubicBezTo>
                      <a:pt x="502" y="1"/>
                      <a:pt x="500" y="1"/>
                      <a:pt x="498" y="2"/>
                    </a:cubicBezTo>
                    <a:cubicBezTo>
                      <a:pt x="493" y="2"/>
                      <a:pt x="493" y="2"/>
                      <a:pt x="493" y="2"/>
                    </a:cubicBezTo>
                    <a:cubicBezTo>
                      <a:pt x="492" y="2"/>
                      <a:pt x="492" y="2"/>
                      <a:pt x="492" y="2"/>
                    </a:cubicBezTo>
                    <a:cubicBezTo>
                      <a:pt x="490" y="3"/>
                      <a:pt x="487" y="3"/>
                      <a:pt x="485" y="4"/>
                    </a:cubicBezTo>
                    <a:cubicBezTo>
                      <a:pt x="485" y="4"/>
                      <a:pt x="484" y="4"/>
                      <a:pt x="484" y="4"/>
                    </a:cubicBezTo>
                    <a:cubicBezTo>
                      <a:pt x="484" y="4"/>
                      <a:pt x="484" y="4"/>
                      <a:pt x="484" y="4"/>
                    </a:cubicBezTo>
                    <a:cubicBezTo>
                      <a:pt x="483" y="4"/>
                      <a:pt x="483" y="4"/>
                      <a:pt x="483" y="4"/>
                    </a:cubicBezTo>
                    <a:cubicBezTo>
                      <a:pt x="482" y="4"/>
                      <a:pt x="482" y="4"/>
                      <a:pt x="482" y="4"/>
                    </a:cubicBezTo>
                    <a:cubicBezTo>
                      <a:pt x="482" y="4"/>
                      <a:pt x="482" y="4"/>
                      <a:pt x="482" y="4"/>
                    </a:cubicBezTo>
                    <a:cubicBezTo>
                      <a:pt x="481" y="5"/>
                      <a:pt x="481" y="5"/>
                      <a:pt x="481" y="5"/>
                    </a:cubicBezTo>
                    <a:cubicBezTo>
                      <a:pt x="480" y="5"/>
                      <a:pt x="480" y="6"/>
                      <a:pt x="479" y="7"/>
                    </a:cubicBezTo>
                    <a:cubicBezTo>
                      <a:pt x="478" y="7"/>
                      <a:pt x="478" y="7"/>
                      <a:pt x="478" y="7"/>
                    </a:cubicBezTo>
                    <a:cubicBezTo>
                      <a:pt x="478" y="8"/>
                      <a:pt x="477" y="8"/>
                      <a:pt x="477" y="8"/>
                    </a:cubicBezTo>
                    <a:cubicBezTo>
                      <a:pt x="477" y="8"/>
                      <a:pt x="477" y="8"/>
                      <a:pt x="477" y="8"/>
                    </a:cubicBezTo>
                    <a:cubicBezTo>
                      <a:pt x="477" y="9"/>
                      <a:pt x="476" y="9"/>
                      <a:pt x="476" y="9"/>
                    </a:cubicBezTo>
                    <a:cubicBezTo>
                      <a:pt x="475" y="10"/>
                      <a:pt x="475" y="10"/>
                      <a:pt x="474" y="10"/>
                    </a:cubicBezTo>
                    <a:cubicBezTo>
                      <a:pt x="474" y="11"/>
                      <a:pt x="474" y="11"/>
                      <a:pt x="474" y="11"/>
                    </a:cubicBezTo>
                    <a:cubicBezTo>
                      <a:pt x="474" y="11"/>
                      <a:pt x="474" y="11"/>
                      <a:pt x="474" y="11"/>
                    </a:cubicBezTo>
                    <a:cubicBezTo>
                      <a:pt x="475" y="11"/>
                      <a:pt x="475" y="11"/>
                      <a:pt x="476" y="11"/>
                    </a:cubicBezTo>
                    <a:cubicBezTo>
                      <a:pt x="476" y="11"/>
                      <a:pt x="477" y="10"/>
                      <a:pt x="478" y="11"/>
                    </a:cubicBezTo>
                    <a:cubicBezTo>
                      <a:pt x="478" y="11"/>
                      <a:pt x="478" y="11"/>
                      <a:pt x="478" y="11"/>
                    </a:cubicBezTo>
                    <a:cubicBezTo>
                      <a:pt x="479" y="11"/>
                      <a:pt x="479" y="11"/>
                      <a:pt x="479" y="11"/>
                    </a:cubicBezTo>
                    <a:cubicBezTo>
                      <a:pt x="479" y="11"/>
                      <a:pt x="479" y="11"/>
                      <a:pt x="479" y="11"/>
                    </a:cubicBezTo>
                    <a:cubicBezTo>
                      <a:pt x="479" y="11"/>
                      <a:pt x="480" y="11"/>
                      <a:pt x="480" y="11"/>
                    </a:cubicBezTo>
                    <a:cubicBezTo>
                      <a:pt x="480" y="12"/>
                      <a:pt x="480" y="12"/>
                      <a:pt x="480" y="12"/>
                    </a:cubicBezTo>
                    <a:cubicBezTo>
                      <a:pt x="480" y="12"/>
                      <a:pt x="480" y="12"/>
                      <a:pt x="480" y="12"/>
                    </a:cubicBezTo>
                    <a:cubicBezTo>
                      <a:pt x="481" y="12"/>
                      <a:pt x="481" y="13"/>
                      <a:pt x="481" y="14"/>
                    </a:cubicBezTo>
                    <a:cubicBezTo>
                      <a:pt x="481" y="14"/>
                      <a:pt x="481" y="14"/>
                      <a:pt x="481" y="14"/>
                    </a:cubicBezTo>
                    <a:cubicBezTo>
                      <a:pt x="481" y="16"/>
                      <a:pt x="481" y="16"/>
                      <a:pt x="481" y="16"/>
                    </a:cubicBezTo>
                    <a:cubicBezTo>
                      <a:pt x="481" y="16"/>
                      <a:pt x="481" y="16"/>
                      <a:pt x="481" y="16"/>
                    </a:cubicBezTo>
                    <a:cubicBezTo>
                      <a:pt x="481" y="16"/>
                      <a:pt x="481" y="17"/>
                      <a:pt x="481" y="17"/>
                    </a:cubicBezTo>
                    <a:cubicBezTo>
                      <a:pt x="482" y="17"/>
                      <a:pt x="482" y="17"/>
                      <a:pt x="482" y="17"/>
                    </a:cubicBezTo>
                    <a:cubicBezTo>
                      <a:pt x="482" y="17"/>
                      <a:pt x="482" y="17"/>
                      <a:pt x="482" y="17"/>
                    </a:cubicBezTo>
                    <a:cubicBezTo>
                      <a:pt x="482" y="18"/>
                      <a:pt x="482" y="18"/>
                      <a:pt x="482" y="18"/>
                    </a:cubicBezTo>
                    <a:cubicBezTo>
                      <a:pt x="482" y="18"/>
                      <a:pt x="482" y="18"/>
                      <a:pt x="482" y="18"/>
                    </a:cubicBezTo>
                    <a:cubicBezTo>
                      <a:pt x="482" y="18"/>
                      <a:pt x="482" y="19"/>
                      <a:pt x="481" y="19"/>
                    </a:cubicBezTo>
                    <a:cubicBezTo>
                      <a:pt x="481" y="20"/>
                      <a:pt x="480" y="21"/>
                      <a:pt x="479" y="22"/>
                    </a:cubicBezTo>
                    <a:cubicBezTo>
                      <a:pt x="474" y="28"/>
                      <a:pt x="474" y="28"/>
                      <a:pt x="474" y="28"/>
                    </a:cubicBezTo>
                    <a:cubicBezTo>
                      <a:pt x="473" y="29"/>
                      <a:pt x="473" y="29"/>
                      <a:pt x="473" y="29"/>
                    </a:cubicBezTo>
                    <a:cubicBezTo>
                      <a:pt x="472" y="30"/>
                      <a:pt x="472" y="31"/>
                      <a:pt x="471" y="32"/>
                    </a:cubicBezTo>
                    <a:cubicBezTo>
                      <a:pt x="469" y="36"/>
                      <a:pt x="469" y="36"/>
                      <a:pt x="469" y="36"/>
                    </a:cubicBezTo>
                    <a:cubicBezTo>
                      <a:pt x="468" y="39"/>
                      <a:pt x="468" y="39"/>
                      <a:pt x="468" y="39"/>
                    </a:cubicBezTo>
                    <a:cubicBezTo>
                      <a:pt x="467" y="42"/>
                      <a:pt x="467" y="42"/>
                      <a:pt x="467" y="42"/>
                    </a:cubicBezTo>
                    <a:cubicBezTo>
                      <a:pt x="467" y="43"/>
                      <a:pt x="467" y="43"/>
                      <a:pt x="467" y="43"/>
                    </a:cubicBezTo>
                    <a:cubicBezTo>
                      <a:pt x="467" y="43"/>
                      <a:pt x="467" y="43"/>
                      <a:pt x="467" y="43"/>
                    </a:cubicBezTo>
                    <a:cubicBezTo>
                      <a:pt x="467" y="43"/>
                      <a:pt x="467" y="44"/>
                      <a:pt x="467" y="44"/>
                    </a:cubicBezTo>
                    <a:cubicBezTo>
                      <a:pt x="467" y="44"/>
                      <a:pt x="467" y="44"/>
                      <a:pt x="467" y="44"/>
                    </a:cubicBezTo>
                    <a:cubicBezTo>
                      <a:pt x="467" y="44"/>
                      <a:pt x="467" y="44"/>
                      <a:pt x="467" y="44"/>
                    </a:cubicBezTo>
                    <a:cubicBezTo>
                      <a:pt x="467" y="45"/>
                      <a:pt x="467" y="45"/>
                      <a:pt x="467" y="45"/>
                    </a:cubicBezTo>
                    <a:cubicBezTo>
                      <a:pt x="467" y="45"/>
                      <a:pt x="467" y="45"/>
                      <a:pt x="467" y="45"/>
                    </a:cubicBezTo>
                    <a:cubicBezTo>
                      <a:pt x="467" y="46"/>
                      <a:pt x="467" y="46"/>
                      <a:pt x="467" y="46"/>
                    </a:cubicBezTo>
                    <a:cubicBezTo>
                      <a:pt x="467" y="46"/>
                      <a:pt x="467" y="46"/>
                      <a:pt x="467" y="46"/>
                    </a:cubicBezTo>
                    <a:cubicBezTo>
                      <a:pt x="466" y="47"/>
                      <a:pt x="466" y="47"/>
                      <a:pt x="466" y="47"/>
                    </a:cubicBezTo>
                    <a:cubicBezTo>
                      <a:pt x="466" y="47"/>
                      <a:pt x="466" y="47"/>
                      <a:pt x="466" y="47"/>
                    </a:cubicBezTo>
                    <a:cubicBezTo>
                      <a:pt x="462" y="49"/>
                      <a:pt x="462" y="49"/>
                      <a:pt x="462" y="49"/>
                    </a:cubicBezTo>
                    <a:cubicBezTo>
                      <a:pt x="458" y="50"/>
                      <a:pt x="458" y="50"/>
                      <a:pt x="458" y="50"/>
                    </a:cubicBezTo>
                    <a:cubicBezTo>
                      <a:pt x="457" y="50"/>
                      <a:pt x="456" y="51"/>
                      <a:pt x="455" y="52"/>
                    </a:cubicBezTo>
                    <a:cubicBezTo>
                      <a:pt x="455" y="52"/>
                      <a:pt x="455" y="52"/>
                      <a:pt x="455" y="52"/>
                    </a:cubicBezTo>
                    <a:cubicBezTo>
                      <a:pt x="451" y="55"/>
                      <a:pt x="451" y="55"/>
                      <a:pt x="451" y="55"/>
                    </a:cubicBezTo>
                    <a:cubicBezTo>
                      <a:pt x="447" y="54"/>
                      <a:pt x="447" y="54"/>
                      <a:pt x="447" y="54"/>
                    </a:cubicBezTo>
                    <a:cubicBezTo>
                      <a:pt x="447" y="55"/>
                      <a:pt x="447" y="55"/>
                      <a:pt x="447" y="55"/>
                    </a:cubicBezTo>
                    <a:cubicBezTo>
                      <a:pt x="447" y="53"/>
                      <a:pt x="447" y="53"/>
                      <a:pt x="447" y="53"/>
                    </a:cubicBezTo>
                    <a:cubicBezTo>
                      <a:pt x="441" y="51"/>
                      <a:pt x="441" y="51"/>
                      <a:pt x="441" y="51"/>
                    </a:cubicBezTo>
                    <a:cubicBezTo>
                      <a:pt x="441" y="51"/>
                      <a:pt x="440" y="51"/>
                      <a:pt x="440" y="51"/>
                    </a:cubicBezTo>
                    <a:cubicBezTo>
                      <a:pt x="437" y="55"/>
                      <a:pt x="437" y="55"/>
                      <a:pt x="437" y="55"/>
                    </a:cubicBezTo>
                    <a:cubicBezTo>
                      <a:pt x="436" y="58"/>
                      <a:pt x="435" y="60"/>
                      <a:pt x="434" y="62"/>
                    </a:cubicBezTo>
                    <a:cubicBezTo>
                      <a:pt x="431" y="68"/>
                      <a:pt x="431" y="68"/>
                      <a:pt x="431" y="68"/>
                    </a:cubicBezTo>
                    <a:cubicBezTo>
                      <a:pt x="431" y="68"/>
                      <a:pt x="431" y="68"/>
                      <a:pt x="431" y="68"/>
                    </a:cubicBezTo>
                    <a:cubicBezTo>
                      <a:pt x="431" y="69"/>
                      <a:pt x="431" y="69"/>
                      <a:pt x="431" y="69"/>
                    </a:cubicBezTo>
                    <a:cubicBezTo>
                      <a:pt x="431" y="70"/>
                      <a:pt x="431" y="70"/>
                      <a:pt x="430" y="71"/>
                    </a:cubicBezTo>
                    <a:cubicBezTo>
                      <a:pt x="430" y="72"/>
                      <a:pt x="429" y="72"/>
                      <a:pt x="429" y="72"/>
                    </a:cubicBezTo>
                    <a:cubicBezTo>
                      <a:pt x="429" y="72"/>
                      <a:pt x="429" y="72"/>
                      <a:pt x="428" y="72"/>
                    </a:cubicBezTo>
                    <a:cubicBezTo>
                      <a:pt x="428" y="73"/>
                      <a:pt x="429" y="73"/>
                      <a:pt x="429" y="73"/>
                    </a:cubicBezTo>
                    <a:cubicBezTo>
                      <a:pt x="429" y="73"/>
                      <a:pt x="429" y="73"/>
                      <a:pt x="429" y="73"/>
                    </a:cubicBezTo>
                    <a:cubicBezTo>
                      <a:pt x="429" y="73"/>
                      <a:pt x="429" y="74"/>
                      <a:pt x="429" y="74"/>
                    </a:cubicBezTo>
                    <a:cubicBezTo>
                      <a:pt x="429" y="74"/>
                      <a:pt x="429" y="74"/>
                      <a:pt x="429" y="74"/>
                    </a:cubicBezTo>
                    <a:cubicBezTo>
                      <a:pt x="429" y="74"/>
                      <a:pt x="429" y="75"/>
                      <a:pt x="430" y="75"/>
                    </a:cubicBezTo>
                    <a:cubicBezTo>
                      <a:pt x="430" y="76"/>
                      <a:pt x="431" y="76"/>
                      <a:pt x="431" y="76"/>
                    </a:cubicBezTo>
                    <a:cubicBezTo>
                      <a:pt x="431" y="76"/>
                      <a:pt x="432" y="75"/>
                      <a:pt x="432" y="75"/>
                    </a:cubicBezTo>
                    <a:cubicBezTo>
                      <a:pt x="433" y="75"/>
                      <a:pt x="434" y="75"/>
                      <a:pt x="436" y="75"/>
                    </a:cubicBezTo>
                    <a:cubicBezTo>
                      <a:pt x="440" y="74"/>
                      <a:pt x="440" y="74"/>
                      <a:pt x="440" y="74"/>
                    </a:cubicBezTo>
                    <a:cubicBezTo>
                      <a:pt x="441" y="74"/>
                      <a:pt x="441" y="74"/>
                      <a:pt x="441" y="74"/>
                    </a:cubicBezTo>
                    <a:cubicBezTo>
                      <a:pt x="441" y="74"/>
                      <a:pt x="442" y="75"/>
                      <a:pt x="443" y="75"/>
                    </a:cubicBezTo>
                    <a:cubicBezTo>
                      <a:pt x="443" y="75"/>
                      <a:pt x="443" y="75"/>
                      <a:pt x="444" y="75"/>
                    </a:cubicBezTo>
                    <a:cubicBezTo>
                      <a:pt x="444" y="75"/>
                      <a:pt x="444" y="75"/>
                      <a:pt x="444" y="75"/>
                    </a:cubicBezTo>
                    <a:cubicBezTo>
                      <a:pt x="445" y="76"/>
                      <a:pt x="445" y="77"/>
                      <a:pt x="446" y="77"/>
                    </a:cubicBezTo>
                    <a:cubicBezTo>
                      <a:pt x="446" y="77"/>
                      <a:pt x="446" y="77"/>
                      <a:pt x="446" y="77"/>
                    </a:cubicBezTo>
                    <a:cubicBezTo>
                      <a:pt x="446" y="76"/>
                      <a:pt x="446" y="76"/>
                      <a:pt x="446" y="76"/>
                    </a:cubicBezTo>
                    <a:cubicBezTo>
                      <a:pt x="446" y="76"/>
                      <a:pt x="446" y="76"/>
                      <a:pt x="446" y="76"/>
                    </a:cubicBezTo>
                    <a:cubicBezTo>
                      <a:pt x="447" y="75"/>
                      <a:pt x="448" y="74"/>
                      <a:pt x="450" y="73"/>
                    </a:cubicBezTo>
                    <a:cubicBezTo>
                      <a:pt x="451" y="73"/>
                      <a:pt x="451" y="73"/>
                      <a:pt x="452" y="73"/>
                    </a:cubicBezTo>
                    <a:cubicBezTo>
                      <a:pt x="452" y="73"/>
                      <a:pt x="452" y="73"/>
                      <a:pt x="452" y="73"/>
                    </a:cubicBezTo>
                    <a:cubicBezTo>
                      <a:pt x="453" y="73"/>
                      <a:pt x="453" y="73"/>
                      <a:pt x="454" y="73"/>
                    </a:cubicBezTo>
                    <a:cubicBezTo>
                      <a:pt x="455" y="73"/>
                      <a:pt x="456" y="73"/>
                      <a:pt x="457" y="73"/>
                    </a:cubicBezTo>
                    <a:cubicBezTo>
                      <a:pt x="458" y="73"/>
                      <a:pt x="458" y="73"/>
                      <a:pt x="458" y="73"/>
                    </a:cubicBezTo>
                    <a:cubicBezTo>
                      <a:pt x="459" y="73"/>
                      <a:pt x="459" y="73"/>
                      <a:pt x="459" y="74"/>
                    </a:cubicBezTo>
                    <a:cubicBezTo>
                      <a:pt x="460" y="74"/>
                      <a:pt x="460" y="74"/>
                      <a:pt x="460" y="75"/>
                    </a:cubicBezTo>
                    <a:cubicBezTo>
                      <a:pt x="460" y="75"/>
                      <a:pt x="460" y="75"/>
                      <a:pt x="460" y="75"/>
                    </a:cubicBezTo>
                    <a:cubicBezTo>
                      <a:pt x="461" y="75"/>
                      <a:pt x="461" y="76"/>
                      <a:pt x="462" y="76"/>
                    </a:cubicBezTo>
                    <a:cubicBezTo>
                      <a:pt x="463" y="76"/>
                      <a:pt x="464" y="77"/>
                      <a:pt x="464" y="78"/>
                    </a:cubicBezTo>
                    <a:cubicBezTo>
                      <a:pt x="465" y="78"/>
                      <a:pt x="465" y="78"/>
                      <a:pt x="465" y="78"/>
                    </a:cubicBezTo>
                    <a:cubicBezTo>
                      <a:pt x="465" y="78"/>
                      <a:pt x="465" y="78"/>
                      <a:pt x="465" y="79"/>
                    </a:cubicBezTo>
                    <a:cubicBezTo>
                      <a:pt x="465" y="79"/>
                      <a:pt x="466" y="79"/>
                      <a:pt x="466" y="79"/>
                    </a:cubicBezTo>
                    <a:cubicBezTo>
                      <a:pt x="467" y="80"/>
                      <a:pt x="467" y="80"/>
                      <a:pt x="468" y="81"/>
                    </a:cubicBezTo>
                    <a:cubicBezTo>
                      <a:pt x="468" y="82"/>
                      <a:pt x="469" y="82"/>
                      <a:pt x="469" y="82"/>
                    </a:cubicBezTo>
                    <a:cubicBezTo>
                      <a:pt x="470" y="83"/>
                      <a:pt x="471" y="84"/>
                      <a:pt x="471" y="84"/>
                    </a:cubicBezTo>
                    <a:cubicBezTo>
                      <a:pt x="473" y="86"/>
                      <a:pt x="473" y="88"/>
                      <a:pt x="473" y="90"/>
                    </a:cubicBezTo>
                    <a:cubicBezTo>
                      <a:pt x="473" y="91"/>
                      <a:pt x="473" y="91"/>
                      <a:pt x="473" y="91"/>
                    </a:cubicBezTo>
                    <a:cubicBezTo>
                      <a:pt x="473" y="91"/>
                      <a:pt x="473" y="91"/>
                      <a:pt x="473" y="91"/>
                    </a:cubicBezTo>
                    <a:cubicBezTo>
                      <a:pt x="472" y="92"/>
                      <a:pt x="471" y="92"/>
                      <a:pt x="471" y="92"/>
                    </a:cubicBezTo>
                    <a:cubicBezTo>
                      <a:pt x="465" y="92"/>
                      <a:pt x="465" y="92"/>
                      <a:pt x="465" y="92"/>
                    </a:cubicBezTo>
                    <a:cubicBezTo>
                      <a:pt x="464" y="92"/>
                      <a:pt x="464" y="92"/>
                      <a:pt x="463" y="92"/>
                    </a:cubicBezTo>
                    <a:cubicBezTo>
                      <a:pt x="461" y="92"/>
                      <a:pt x="458" y="91"/>
                      <a:pt x="457" y="92"/>
                    </a:cubicBezTo>
                    <a:cubicBezTo>
                      <a:pt x="455" y="93"/>
                      <a:pt x="452" y="94"/>
                      <a:pt x="450" y="95"/>
                    </a:cubicBezTo>
                    <a:cubicBezTo>
                      <a:pt x="447" y="96"/>
                      <a:pt x="447" y="96"/>
                      <a:pt x="447" y="96"/>
                    </a:cubicBezTo>
                    <a:cubicBezTo>
                      <a:pt x="446" y="96"/>
                      <a:pt x="446" y="96"/>
                      <a:pt x="445" y="96"/>
                    </a:cubicBezTo>
                    <a:cubicBezTo>
                      <a:pt x="444" y="96"/>
                      <a:pt x="444" y="96"/>
                      <a:pt x="444" y="96"/>
                    </a:cubicBezTo>
                    <a:cubicBezTo>
                      <a:pt x="443" y="96"/>
                      <a:pt x="443" y="96"/>
                      <a:pt x="442" y="96"/>
                    </a:cubicBezTo>
                    <a:cubicBezTo>
                      <a:pt x="440" y="96"/>
                      <a:pt x="439" y="96"/>
                      <a:pt x="438" y="97"/>
                    </a:cubicBezTo>
                    <a:cubicBezTo>
                      <a:pt x="436" y="99"/>
                      <a:pt x="435" y="100"/>
                      <a:pt x="435" y="101"/>
                    </a:cubicBezTo>
                    <a:cubicBezTo>
                      <a:pt x="435" y="101"/>
                      <a:pt x="435" y="101"/>
                      <a:pt x="435" y="101"/>
                    </a:cubicBezTo>
                    <a:cubicBezTo>
                      <a:pt x="436" y="102"/>
                      <a:pt x="436" y="102"/>
                      <a:pt x="435" y="103"/>
                    </a:cubicBezTo>
                    <a:cubicBezTo>
                      <a:pt x="435" y="103"/>
                      <a:pt x="435" y="104"/>
                      <a:pt x="434" y="104"/>
                    </a:cubicBezTo>
                    <a:cubicBezTo>
                      <a:pt x="434" y="104"/>
                      <a:pt x="434" y="105"/>
                      <a:pt x="433" y="105"/>
                    </a:cubicBezTo>
                    <a:cubicBezTo>
                      <a:pt x="433" y="105"/>
                      <a:pt x="433" y="105"/>
                      <a:pt x="433" y="105"/>
                    </a:cubicBezTo>
                    <a:cubicBezTo>
                      <a:pt x="433" y="105"/>
                      <a:pt x="433" y="105"/>
                      <a:pt x="432" y="105"/>
                    </a:cubicBezTo>
                    <a:cubicBezTo>
                      <a:pt x="432" y="106"/>
                      <a:pt x="432" y="106"/>
                      <a:pt x="432" y="106"/>
                    </a:cubicBezTo>
                    <a:cubicBezTo>
                      <a:pt x="432" y="106"/>
                      <a:pt x="431" y="106"/>
                      <a:pt x="431" y="106"/>
                    </a:cubicBezTo>
                    <a:cubicBezTo>
                      <a:pt x="431" y="106"/>
                      <a:pt x="431" y="106"/>
                      <a:pt x="431" y="106"/>
                    </a:cubicBezTo>
                    <a:cubicBezTo>
                      <a:pt x="430" y="106"/>
                      <a:pt x="430" y="106"/>
                      <a:pt x="430" y="106"/>
                    </a:cubicBezTo>
                    <a:cubicBezTo>
                      <a:pt x="430" y="107"/>
                      <a:pt x="430" y="107"/>
                      <a:pt x="430" y="107"/>
                    </a:cubicBezTo>
                    <a:cubicBezTo>
                      <a:pt x="429" y="107"/>
                      <a:pt x="428" y="108"/>
                      <a:pt x="428" y="108"/>
                    </a:cubicBezTo>
                    <a:cubicBezTo>
                      <a:pt x="421" y="108"/>
                      <a:pt x="421" y="108"/>
                      <a:pt x="421" y="108"/>
                    </a:cubicBezTo>
                    <a:cubicBezTo>
                      <a:pt x="421" y="108"/>
                      <a:pt x="421" y="108"/>
                      <a:pt x="421" y="108"/>
                    </a:cubicBezTo>
                    <a:cubicBezTo>
                      <a:pt x="421" y="108"/>
                      <a:pt x="421" y="108"/>
                      <a:pt x="421" y="108"/>
                    </a:cubicBezTo>
                    <a:cubicBezTo>
                      <a:pt x="420" y="108"/>
                      <a:pt x="420" y="108"/>
                      <a:pt x="420" y="108"/>
                    </a:cubicBezTo>
                    <a:cubicBezTo>
                      <a:pt x="419" y="108"/>
                      <a:pt x="419" y="108"/>
                      <a:pt x="419" y="108"/>
                    </a:cubicBezTo>
                    <a:cubicBezTo>
                      <a:pt x="419" y="108"/>
                      <a:pt x="419" y="108"/>
                      <a:pt x="419" y="108"/>
                    </a:cubicBezTo>
                    <a:cubicBezTo>
                      <a:pt x="419" y="108"/>
                      <a:pt x="418" y="108"/>
                      <a:pt x="418" y="109"/>
                    </a:cubicBezTo>
                    <a:cubicBezTo>
                      <a:pt x="418" y="109"/>
                      <a:pt x="418" y="109"/>
                      <a:pt x="418" y="109"/>
                    </a:cubicBezTo>
                    <a:cubicBezTo>
                      <a:pt x="418" y="109"/>
                      <a:pt x="418" y="109"/>
                      <a:pt x="418" y="109"/>
                    </a:cubicBezTo>
                    <a:cubicBezTo>
                      <a:pt x="419" y="110"/>
                      <a:pt x="419" y="110"/>
                      <a:pt x="419" y="110"/>
                    </a:cubicBezTo>
                    <a:cubicBezTo>
                      <a:pt x="417" y="109"/>
                      <a:pt x="417" y="109"/>
                      <a:pt x="417" y="109"/>
                    </a:cubicBezTo>
                    <a:cubicBezTo>
                      <a:pt x="417" y="110"/>
                      <a:pt x="417" y="110"/>
                      <a:pt x="417" y="110"/>
                    </a:cubicBezTo>
                    <a:cubicBezTo>
                      <a:pt x="415" y="111"/>
                      <a:pt x="414" y="113"/>
                      <a:pt x="411" y="114"/>
                    </a:cubicBezTo>
                    <a:cubicBezTo>
                      <a:pt x="411" y="114"/>
                      <a:pt x="411" y="115"/>
                      <a:pt x="411" y="115"/>
                    </a:cubicBezTo>
                    <a:cubicBezTo>
                      <a:pt x="410" y="115"/>
                      <a:pt x="410" y="115"/>
                      <a:pt x="410" y="115"/>
                    </a:cubicBezTo>
                    <a:cubicBezTo>
                      <a:pt x="409" y="116"/>
                      <a:pt x="408" y="116"/>
                      <a:pt x="407" y="116"/>
                    </a:cubicBezTo>
                    <a:cubicBezTo>
                      <a:pt x="406" y="116"/>
                      <a:pt x="406" y="116"/>
                      <a:pt x="405" y="116"/>
                    </a:cubicBezTo>
                    <a:cubicBezTo>
                      <a:pt x="405" y="116"/>
                      <a:pt x="405" y="116"/>
                      <a:pt x="405" y="116"/>
                    </a:cubicBezTo>
                    <a:cubicBezTo>
                      <a:pt x="404" y="116"/>
                      <a:pt x="403" y="116"/>
                      <a:pt x="402" y="116"/>
                    </a:cubicBezTo>
                    <a:cubicBezTo>
                      <a:pt x="401" y="115"/>
                      <a:pt x="401" y="115"/>
                      <a:pt x="400" y="115"/>
                    </a:cubicBezTo>
                    <a:cubicBezTo>
                      <a:pt x="400" y="115"/>
                      <a:pt x="400" y="115"/>
                      <a:pt x="400" y="115"/>
                    </a:cubicBezTo>
                    <a:cubicBezTo>
                      <a:pt x="399" y="114"/>
                      <a:pt x="397" y="113"/>
                      <a:pt x="396" y="113"/>
                    </a:cubicBezTo>
                    <a:cubicBezTo>
                      <a:pt x="395" y="113"/>
                      <a:pt x="395" y="113"/>
                      <a:pt x="395" y="113"/>
                    </a:cubicBezTo>
                    <a:cubicBezTo>
                      <a:pt x="395" y="112"/>
                      <a:pt x="394" y="112"/>
                      <a:pt x="393" y="112"/>
                    </a:cubicBezTo>
                    <a:cubicBezTo>
                      <a:pt x="393" y="112"/>
                      <a:pt x="392" y="112"/>
                      <a:pt x="392" y="112"/>
                    </a:cubicBezTo>
                    <a:cubicBezTo>
                      <a:pt x="391" y="112"/>
                      <a:pt x="391" y="112"/>
                      <a:pt x="391" y="112"/>
                    </a:cubicBezTo>
                    <a:cubicBezTo>
                      <a:pt x="391" y="112"/>
                      <a:pt x="391" y="112"/>
                      <a:pt x="391" y="112"/>
                    </a:cubicBezTo>
                    <a:cubicBezTo>
                      <a:pt x="391" y="112"/>
                      <a:pt x="390" y="113"/>
                      <a:pt x="390" y="113"/>
                    </a:cubicBezTo>
                    <a:cubicBezTo>
                      <a:pt x="390" y="113"/>
                      <a:pt x="390" y="113"/>
                      <a:pt x="390" y="113"/>
                    </a:cubicBezTo>
                    <a:cubicBezTo>
                      <a:pt x="390" y="114"/>
                      <a:pt x="389" y="114"/>
                      <a:pt x="389" y="115"/>
                    </a:cubicBezTo>
                    <a:cubicBezTo>
                      <a:pt x="388" y="116"/>
                      <a:pt x="388" y="117"/>
                      <a:pt x="387" y="118"/>
                    </a:cubicBezTo>
                    <a:cubicBezTo>
                      <a:pt x="387" y="119"/>
                      <a:pt x="387" y="119"/>
                      <a:pt x="387" y="119"/>
                    </a:cubicBezTo>
                    <a:cubicBezTo>
                      <a:pt x="386" y="120"/>
                      <a:pt x="386" y="120"/>
                      <a:pt x="386" y="120"/>
                    </a:cubicBezTo>
                    <a:cubicBezTo>
                      <a:pt x="386" y="120"/>
                      <a:pt x="386" y="120"/>
                      <a:pt x="386" y="120"/>
                    </a:cubicBezTo>
                    <a:cubicBezTo>
                      <a:pt x="387" y="121"/>
                      <a:pt x="387" y="122"/>
                      <a:pt x="388" y="122"/>
                    </a:cubicBezTo>
                    <a:cubicBezTo>
                      <a:pt x="388" y="123"/>
                      <a:pt x="388" y="123"/>
                      <a:pt x="388" y="123"/>
                    </a:cubicBezTo>
                    <a:cubicBezTo>
                      <a:pt x="389" y="123"/>
                      <a:pt x="389" y="123"/>
                      <a:pt x="389" y="124"/>
                    </a:cubicBezTo>
                    <a:cubicBezTo>
                      <a:pt x="390" y="124"/>
                      <a:pt x="390" y="124"/>
                      <a:pt x="391" y="125"/>
                    </a:cubicBezTo>
                    <a:cubicBezTo>
                      <a:pt x="391" y="126"/>
                      <a:pt x="391" y="126"/>
                      <a:pt x="391" y="126"/>
                    </a:cubicBezTo>
                    <a:cubicBezTo>
                      <a:pt x="392" y="127"/>
                      <a:pt x="391" y="129"/>
                      <a:pt x="390" y="130"/>
                    </a:cubicBezTo>
                    <a:cubicBezTo>
                      <a:pt x="389" y="130"/>
                      <a:pt x="387" y="131"/>
                      <a:pt x="385" y="132"/>
                    </a:cubicBezTo>
                    <a:cubicBezTo>
                      <a:pt x="385" y="133"/>
                      <a:pt x="385" y="133"/>
                      <a:pt x="385" y="133"/>
                    </a:cubicBezTo>
                    <a:cubicBezTo>
                      <a:pt x="383" y="133"/>
                      <a:pt x="382" y="134"/>
                      <a:pt x="381" y="134"/>
                    </a:cubicBezTo>
                    <a:cubicBezTo>
                      <a:pt x="380" y="135"/>
                      <a:pt x="379" y="136"/>
                      <a:pt x="379" y="137"/>
                    </a:cubicBezTo>
                    <a:cubicBezTo>
                      <a:pt x="379" y="137"/>
                      <a:pt x="379" y="137"/>
                      <a:pt x="379" y="137"/>
                    </a:cubicBezTo>
                    <a:cubicBezTo>
                      <a:pt x="378" y="138"/>
                      <a:pt x="378" y="139"/>
                      <a:pt x="377" y="139"/>
                    </a:cubicBezTo>
                    <a:cubicBezTo>
                      <a:pt x="376" y="140"/>
                      <a:pt x="375" y="141"/>
                      <a:pt x="375" y="141"/>
                    </a:cubicBezTo>
                    <a:cubicBezTo>
                      <a:pt x="374" y="141"/>
                      <a:pt x="373" y="142"/>
                      <a:pt x="372" y="142"/>
                    </a:cubicBezTo>
                    <a:cubicBezTo>
                      <a:pt x="370" y="143"/>
                      <a:pt x="370" y="143"/>
                      <a:pt x="370" y="143"/>
                    </a:cubicBezTo>
                    <a:cubicBezTo>
                      <a:pt x="369" y="144"/>
                      <a:pt x="369" y="144"/>
                      <a:pt x="369" y="144"/>
                    </a:cubicBezTo>
                    <a:cubicBezTo>
                      <a:pt x="368" y="144"/>
                      <a:pt x="367" y="144"/>
                      <a:pt x="366" y="145"/>
                    </a:cubicBezTo>
                    <a:cubicBezTo>
                      <a:pt x="365" y="145"/>
                      <a:pt x="363" y="145"/>
                      <a:pt x="362" y="145"/>
                    </a:cubicBezTo>
                    <a:cubicBezTo>
                      <a:pt x="361" y="145"/>
                      <a:pt x="361" y="145"/>
                      <a:pt x="360" y="145"/>
                    </a:cubicBezTo>
                    <a:cubicBezTo>
                      <a:pt x="360" y="145"/>
                      <a:pt x="360" y="145"/>
                      <a:pt x="360" y="145"/>
                    </a:cubicBezTo>
                    <a:cubicBezTo>
                      <a:pt x="359" y="145"/>
                      <a:pt x="359" y="145"/>
                      <a:pt x="358" y="145"/>
                    </a:cubicBezTo>
                    <a:cubicBezTo>
                      <a:pt x="358" y="145"/>
                      <a:pt x="358" y="145"/>
                      <a:pt x="358" y="145"/>
                    </a:cubicBezTo>
                    <a:cubicBezTo>
                      <a:pt x="357" y="145"/>
                      <a:pt x="357" y="145"/>
                      <a:pt x="357" y="145"/>
                    </a:cubicBezTo>
                    <a:cubicBezTo>
                      <a:pt x="354" y="145"/>
                      <a:pt x="354" y="145"/>
                      <a:pt x="354" y="145"/>
                    </a:cubicBezTo>
                    <a:cubicBezTo>
                      <a:pt x="353" y="145"/>
                      <a:pt x="352" y="145"/>
                      <a:pt x="350" y="145"/>
                    </a:cubicBezTo>
                    <a:cubicBezTo>
                      <a:pt x="348" y="146"/>
                      <a:pt x="348" y="146"/>
                      <a:pt x="348" y="146"/>
                    </a:cubicBezTo>
                    <a:cubicBezTo>
                      <a:pt x="347" y="146"/>
                      <a:pt x="346" y="146"/>
                      <a:pt x="345" y="146"/>
                    </a:cubicBezTo>
                    <a:cubicBezTo>
                      <a:pt x="344" y="146"/>
                      <a:pt x="344" y="146"/>
                      <a:pt x="344" y="146"/>
                    </a:cubicBezTo>
                    <a:cubicBezTo>
                      <a:pt x="342" y="146"/>
                      <a:pt x="340" y="147"/>
                      <a:pt x="338" y="147"/>
                    </a:cubicBezTo>
                    <a:cubicBezTo>
                      <a:pt x="338" y="147"/>
                      <a:pt x="337" y="147"/>
                      <a:pt x="337" y="147"/>
                    </a:cubicBezTo>
                    <a:cubicBezTo>
                      <a:pt x="337" y="147"/>
                      <a:pt x="337" y="147"/>
                      <a:pt x="337" y="147"/>
                    </a:cubicBezTo>
                    <a:cubicBezTo>
                      <a:pt x="338" y="149"/>
                      <a:pt x="338" y="149"/>
                      <a:pt x="338" y="149"/>
                    </a:cubicBezTo>
                    <a:cubicBezTo>
                      <a:pt x="337" y="147"/>
                      <a:pt x="337" y="147"/>
                      <a:pt x="337" y="147"/>
                    </a:cubicBezTo>
                    <a:cubicBezTo>
                      <a:pt x="336" y="147"/>
                      <a:pt x="336" y="147"/>
                      <a:pt x="336" y="147"/>
                    </a:cubicBezTo>
                    <a:cubicBezTo>
                      <a:pt x="336" y="147"/>
                      <a:pt x="336" y="147"/>
                      <a:pt x="336" y="147"/>
                    </a:cubicBezTo>
                    <a:cubicBezTo>
                      <a:pt x="335" y="148"/>
                      <a:pt x="333" y="149"/>
                      <a:pt x="331" y="150"/>
                    </a:cubicBezTo>
                    <a:cubicBezTo>
                      <a:pt x="330" y="150"/>
                      <a:pt x="330" y="150"/>
                      <a:pt x="330" y="150"/>
                    </a:cubicBezTo>
                    <a:cubicBezTo>
                      <a:pt x="329" y="151"/>
                      <a:pt x="328" y="151"/>
                      <a:pt x="328" y="151"/>
                    </a:cubicBezTo>
                    <a:cubicBezTo>
                      <a:pt x="326" y="152"/>
                      <a:pt x="324" y="152"/>
                      <a:pt x="323" y="153"/>
                    </a:cubicBezTo>
                    <a:cubicBezTo>
                      <a:pt x="323" y="153"/>
                      <a:pt x="323" y="153"/>
                      <a:pt x="323" y="153"/>
                    </a:cubicBezTo>
                    <a:cubicBezTo>
                      <a:pt x="322" y="154"/>
                      <a:pt x="321" y="154"/>
                      <a:pt x="321" y="155"/>
                    </a:cubicBezTo>
                    <a:cubicBezTo>
                      <a:pt x="321" y="155"/>
                      <a:pt x="321" y="155"/>
                      <a:pt x="321" y="155"/>
                    </a:cubicBezTo>
                    <a:cubicBezTo>
                      <a:pt x="320" y="155"/>
                      <a:pt x="319" y="156"/>
                      <a:pt x="319" y="156"/>
                    </a:cubicBezTo>
                    <a:cubicBezTo>
                      <a:pt x="319" y="156"/>
                      <a:pt x="319" y="156"/>
                      <a:pt x="319" y="156"/>
                    </a:cubicBezTo>
                    <a:cubicBezTo>
                      <a:pt x="318" y="155"/>
                      <a:pt x="317" y="155"/>
                      <a:pt x="316" y="155"/>
                    </a:cubicBezTo>
                    <a:cubicBezTo>
                      <a:pt x="316" y="155"/>
                      <a:pt x="315" y="155"/>
                      <a:pt x="315" y="155"/>
                    </a:cubicBezTo>
                    <a:cubicBezTo>
                      <a:pt x="315" y="155"/>
                      <a:pt x="315" y="155"/>
                      <a:pt x="314" y="155"/>
                    </a:cubicBezTo>
                    <a:cubicBezTo>
                      <a:pt x="314" y="155"/>
                      <a:pt x="314" y="155"/>
                      <a:pt x="314" y="154"/>
                    </a:cubicBezTo>
                    <a:cubicBezTo>
                      <a:pt x="313" y="156"/>
                      <a:pt x="313" y="156"/>
                      <a:pt x="313" y="156"/>
                    </a:cubicBezTo>
                    <a:cubicBezTo>
                      <a:pt x="314" y="154"/>
                      <a:pt x="314" y="154"/>
                      <a:pt x="314" y="154"/>
                    </a:cubicBezTo>
                    <a:cubicBezTo>
                      <a:pt x="314" y="154"/>
                      <a:pt x="313" y="154"/>
                      <a:pt x="313" y="154"/>
                    </a:cubicBezTo>
                    <a:cubicBezTo>
                      <a:pt x="313" y="154"/>
                      <a:pt x="313" y="153"/>
                      <a:pt x="313" y="153"/>
                    </a:cubicBezTo>
                    <a:cubicBezTo>
                      <a:pt x="311" y="154"/>
                      <a:pt x="311" y="154"/>
                      <a:pt x="311" y="154"/>
                    </a:cubicBezTo>
                    <a:cubicBezTo>
                      <a:pt x="313" y="153"/>
                      <a:pt x="313" y="153"/>
                      <a:pt x="313" y="153"/>
                    </a:cubicBezTo>
                    <a:cubicBezTo>
                      <a:pt x="313" y="152"/>
                      <a:pt x="313" y="152"/>
                      <a:pt x="313" y="152"/>
                    </a:cubicBezTo>
                    <a:cubicBezTo>
                      <a:pt x="313" y="152"/>
                      <a:pt x="312" y="152"/>
                      <a:pt x="312" y="152"/>
                    </a:cubicBezTo>
                    <a:cubicBezTo>
                      <a:pt x="312" y="152"/>
                      <a:pt x="311" y="153"/>
                      <a:pt x="310" y="153"/>
                    </a:cubicBezTo>
                    <a:cubicBezTo>
                      <a:pt x="310" y="153"/>
                      <a:pt x="310" y="153"/>
                      <a:pt x="310" y="153"/>
                    </a:cubicBezTo>
                    <a:cubicBezTo>
                      <a:pt x="310" y="153"/>
                      <a:pt x="309" y="153"/>
                      <a:pt x="309" y="153"/>
                    </a:cubicBezTo>
                    <a:cubicBezTo>
                      <a:pt x="308" y="153"/>
                      <a:pt x="307" y="153"/>
                      <a:pt x="306" y="153"/>
                    </a:cubicBezTo>
                    <a:cubicBezTo>
                      <a:pt x="304" y="153"/>
                      <a:pt x="303" y="152"/>
                      <a:pt x="302" y="152"/>
                    </a:cubicBezTo>
                    <a:cubicBezTo>
                      <a:pt x="300" y="151"/>
                      <a:pt x="299" y="151"/>
                      <a:pt x="298" y="150"/>
                    </a:cubicBezTo>
                    <a:cubicBezTo>
                      <a:pt x="297" y="150"/>
                      <a:pt x="295" y="150"/>
                      <a:pt x="293" y="149"/>
                    </a:cubicBezTo>
                    <a:cubicBezTo>
                      <a:pt x="288" y="148"/>
                      <a:pt x="288" y="148"/>
                      <a:pt x="288" y="148"/>
                    </a:cubicBezTo>
                    <a:cubicBezTo>
                      <a:pt x="288" y="148"/>
                      <a:pt x="288" y="148"/>
                      <a:pt x="288" y="148"/>
                    </a:cubicBezTo>
                    <a:cubicBezTo>
                      <a:pt x="288" y="148"/>
                      <a:pt x="288" y="148"/>
                      <a:pt x="288" y="148"/>
                    </a:cubicBezTo>
                    <a:cubicBezTo>
                      <a:pt x="287" y="147"/>
                      <a:pt x="287" y="147"/>
                      <a:pt x="287" y="147"/>
                    </a:cubicBezTo>
                    <a:cubicBezTo>
                      <a:pt x="287" y="146"/>
                      <a:pt x="286" y="146"/>
                      <a:pt x="286" y="145"/>
                    </a:cubicBezTo>
                    <a:cubicBezTo>
                      <a:pt x="286" y="145"/>
                      <a:pt x="286" y="145"/>
                      <a:pt x="286" y="145"/>
                    </a:cubicBezTo>
                    <a:cubicBezTo>
                      <a:pt x="286" y="145"/>
                      <a:pt x="285" y="145"/>
                      <a:pt x="284" y="145"/>
                    </a:cubicBezTo>
                    <a:cubicBezTo>
                      <a:pt x="284" y="145"/>
                      <a:pt x="284" y="145"/>
                      <a:pt x="283" y="145"/>
                    </a:cubicBezTo>
                    <a:cubicBezTo>
                      <a:pt x="269" y="142"/>
                      <a:pt x="269" y="142"/>
                      <a:pt x="269" y="142"/>
                    </a:cubicBezTo>
                    <a:cubicBezTo>
                      <a:pt x="269" y="142"/>
                      <a:pt x="269" y="142"/>
                      <a:pt x="269" y="142"/>
                    </a:cubicBezTo>
                    <a:cubicBezTo>
                      <a:pt x="268" y="142"/>
                      <a:pt x="268" y="142"/>
                      <a:pt x="268" y="142"/>
                    </a:cubicBezTo>
                    <a:cubicBezTo>
                      <a:pt x="268" y="142"/>
                      <a:pt x="267" y="142"/>
                      <a:pt x="267" y="143"/>
                    </a:cubicBezTo>
                    <a:cubicBezTo>
                      <a:pt x="267" y="143"/>
                      <a:pt x="267" y="143"/>
                      <a:pt x="267" y="143"/>
                    </a:cubicBezTo>
                    <a:cubicBezTo>
                      <a:pt x="266" y="143"/>
                      <a:pt x="266" y="143"/>
                      <a:pt x="265" y="143"/>
                    </a:cubicBezTo>
                    <a:cubicBezTo>
                      <a:pt x="265" y="143"/>
                      <a:pt x="265" y="143"/>
                      <a:pt x="265" y="143"/>
                    </a:cubicBezTo>
                    <a:cubicBezTo>
                      <a:pt x="265" y="143"/>
                      <a:pt x="264" y="143"/>
                      <a:pt x="264" y="143"/>
                    </a:cubicBezTo>
                    <a:cubicBezTo>
                      <a:pt x="264" y="143"/>
                      <a:pt x="264" y="143"/>
                      <a:pt x="264" y="143"/>
                    </a:cubicBezTo>
                    <a:cubicBezTo>
                      <a:pt x="259" y="143"/>
                      <a:pt x="255" y="143"/>
                      <a:pt x="251" y="143"/>
                    </a:cubicBezTo>
                    <a:cubicBezTo>
                      <a:pt x="250" y="143"/>
                      <a:pt x="250" y="143"/>
                      <a:pt x="249" y="142"/>
                    </a:cubicBezTo>
                    <a:cubicBezTo>
                      <a:pt x="247" y="142"/>
                      <a:pt x="247" y="142"/>
                      <a:pt x="247" y="142"/>
                    </a:cubicBezTo>
                    <a:cubicBezTo>
                      <a:pt x="247" y="142"/>
                      <a:pt x="246" y="142"/>
                      <a:pt x="246" y="142"/>
                    </a:cubicBezTo>
                    <a:cubicBezTo>
                      <a:pt x="244" y="142"/>
                      <a:pt x="244" y="142"/>
                      <a:pt x="244" y="142"/>
                    </a:cubicBezTo>
                    <a:cubicBezTo>
                      <a:pt x="242" y="141"/>
                      <a:pt x="240" y="141"/>
                      <a:pt x="238" y="141"/>
                    </a:cubicBezTo>
                    <a:cubicBezTo>
                      <a:pt x="237" y="141"/>
                      <a:pt x="236" y="141"/>
                      <a:pt x="235" y="141"/>
                    </a:cubicBezTo>
                    <a:cubicBezTo>
                      <a:pt x="230" y="142"/>
                      <a:pt x="230" y="142"/>
                      <a:pt x="230" y="142"/>
                    </a:cubicBezTo>
                    <a:cubicBezTo>
                      <a:pt x="230" y="140"/>
                      <a:pt x="230" y="140"/>
                      <a:pt x="230" y="140"/>
                    </a:cubicBezTo>
                    <a:cubicBezTo>
                      <a:pt x="230" y="140"/>
                      <a:pt x="230" y="140"/>
                      <a:pt x="230" y="140"/>
                    </a:cubicBezTo>
                    <a:cubicBezTo>
                      <a:pt x="230" y="140"/>
                      <a:pt x="230" y="140"/>
                      <a:pt x="230" y="140"/>
                    </a:cubicBezTo>
                    <a:cubicBezTo>
                      <a:pt x="230" y="140"/>
                      <a:pt x="230" y="140"/>
                      <a:pt x="230" y="140"/>
                    </a:cubicBezTo>
                    <a:cubicBezTo>
                      <a:pt x="230" y="140"/>
                      <a:pt x="230" y="140"/>
                      <a:pt x="230" y="140"/>
                    </a:cubicBezTo>
                    <a:cubicBezTo>
                      <a:pt x="230" y="139"/>
                      <a:pt x="230" y="139"/>
                      <a:pt x="229" y="139"/>
                    </a:cubicBezTo>
                    <a:cubicBezTo>
                      <a:pt x="229" y="139"/>
                      <a:pt x="229" y="139"/>
                      <a:pt x="229" y="139"/>
                    </a:cubicBezTo>
                    <a:cubicBezTo>
                      <a:pt x="229" y="139"/>
                      <a:pt x="229" y="139"/>
                      <a:pt x="229" y="139"/>
                    </a:cubicBezTo>
                    <a:cubicBezTo>
                      <a:pt x="229" y="138"/>
                      <a:pt x="229" y="138"/>
                      <a:pt x="228" y="138"/>
                    </a:cubicBezTo>
                    <a:cubicBezTo>
                      <a:pt x="228" y="138"/>
                      <a:pt x="228" y="138"/>
                      <a:pt x="228" y="138"/>
                    </a:cubicBezTo>
                    <a:cubicBezTo>
                      <a:pt x="227" y="136"/>
                      <a:pt x="226" y="135"/>
                      <a:pt x="225" y="133"/>
                    </a:cubicBezTo>
                    <a:cubicBezTo>
                      <a:pt x="223" y="128"/>
                      <a:pt x="223" y="128"/>
                      <a:pt x="223" y="128"/>
                    </a:cubicBezTo>
                    <a:cubicBezTo>
                      <a:pt x="223" y="128"/>
                      <a:pt x="222" y="127"/>
                      <a:pt x="222" y="127"/>
                    </a:cubicBezTo>
                    <a:cubicBezTo>
                      <a:pt x="222" y="126"/>
                      <a:pt x="222" y="126"/>
                      <a:pt x="222" y="126"/>
                    </a:cubicBezTo>
                    <a:cubicBezTo>
                      <a:pt x="222" y="126"/>
                      <a:pt x="222" y="126"/>
                      <a:pt x="222" y="126"/>
                    </a:cubicBezTo>
                    <a:cubicBezTo>
                      <a:pt x="222" y="126"/>
                      <a:pt x="222" y="126"/>
                      <a:pt x="222" y="126"/>
                    </a:cubicBezTo>
                    <a:cubicBezTo>
                      <a:pt x="222" y="126"/>
                      <a:pt x="222" y="126"/>
                      <a:pt x="222" y="126"/>
                    </a:cubicBezTo>
                    <a:cubicBezTo>
                      <a:pt x="222" y="126"/>
                      <a:pt x="222" y="126"/>
                      <a:pt x="222" y="126"/>
                    </a:cubicBezTo>
                    <a:cubicBezTo>
                      <a:pt x="221" y="126"/>
                      <a:pt x="221" y="126"/>
                      <a:pt x="221" y="126"/>
                    </a:cubicBezTo>
                    <a:cubicBezTo>
                      <a:pt x="221" y="126"/>
                      <a:pt x="221" y="126"/>
                      <a:pt x="221" y="126"/>
                    </a:cubicBezTo>
                    <a:cubicBezTo>
                      <a:pt x="221" y="126"/>
                      <a:pt x="221" y="126"/>
                      <a:pt x="221" y="126"/>
                    </a:cubicBezTo>
                    <a:cubicBezTo>
                      <a:pt x="220" y="125"/>
                      <a:pt x="220" y="125"/>
                      <a:pt x="220" y="124"/>
                    </a:cubicBezTo>
                    <a:cubicBezTo>
                      <a:pt x="220" y="124"/>
                      <a:pt x="220" y="124"/>
                      <a:pt x="220" y="124"/>
                    </a:cubicBezTo>
                    <a:cubicBezTo>
                      <a:pt x="220" y="123"/>
                      <a:pt x="220" y="123"/>
                      <a:pt x="220" y="122"/>
                    </a:cubicBezTo>
                    <a:cubicBezTo>
                      <a:pt x="219" y="123"/>
                      <a:pt x="217" y="123"/>
                      <a:pt x="216" y="122"/>
                    </a:cubicBezTo>
                    <a:cubicBezTo>
                      <a:pt x="214" y="121"/>
                      <a:pt x="212" y="120"/>
                      <a:pt x="211" y="119"/>
                    </a:cubicBezTo>
                    <a:cubicBezTo>
                      <a:pt x="210" y="119"/>
                      <a:pt x="210" y="119"/>
                      <a:pt x="210" y="119"/>
                    </a:cubicBezTo>
                    <a:cubicBezTo>
                      <a:pt x="210" y="119"/>
                      <a:pt x="210" y="118"/>
                      <a:pt x="209" y="118"/>
                    </a:cubicBezTo>
                    <a:cubicBezTo>
                      <a:pt x="202" y="114"/>
                      <a:pt x="202" y="114"/>
                      <a:pt x="202" y="114"/>
                    </a:cubicBezTo>
                    <a:cubicBezTo>
                      <a:pt x="202" y="114"/>
                      <a:pt x="201" y="114"/>
                      <a:pt x="200" y="114"/>
                    </a:cubicBezTo>
                    <a:cubicBezTo>
                      <a:pt x="200" y="113"/>
                      <a:pt x="200" y="113"/>
                      <a:pt x="200" y="113"/>
                    </a:cubicBezTo>
                    <a:cubicBezTo>
                      <a:pt x="199" y="113"/>
                      <a:pt x="199" y="113"/>
                      <a:pt x="198" y="113"/>
                    </a:cubicBezTo>
                    <a:cubicBezTo>
                      <a:pt x="195" y="113"/>
                      <a:pt x="191" y="113"/>
                      <a:pt x="187" y="112"/>
                    </a:cubicBezTo>
                    <a:cubicBezTo>
                      <a:pt x="186" y="112"/>
                      <a:pt x="186" y="112"/>
                      <a:pt x="186" y="112"/>
                    </a:cubicBezTo>
                    <a:cubicBezTo>
                      <a:pt x="184" y="112"/>
                      <a:pt x="182" y="112"/>
                      <a:pt x="181" y="112"/>
                    </a:cubicBezTo>
                    <a:cubicBezTo>
                      <a:pt x="179" y="112"/>
                      <a:pt x="178" y="111"/>
                      <a:pt x="176" y="111"/>
                    </a:cubicBezTo>
                    <a:cubicBezTo>
                      <a:pt x="176" y="111"/>
                      <a:pt x="176" y="111"/>
                      <a:pt x="176" y="111"/>
                    </a:cubicBezTo>
                    <a:cubicBezTo>
                      <a:pt x="176" y="111"/>
                      <a:pt x="176" y="111"/>
                      <a:pt x="176" y="111"/>
                    </a:cubicBezTo>
                    <a:cubicBezTo>
                      <a:pt x="175" y="111"/>
                      <a:pt x="174" y="110"/>
                      <a:pt x="174" y="110"/>
                    </a:cubicBezTo>
                    <a:cubicBezTo>
                      <a:pt x="174" y="109"/>
                      <a:pt x="173" y="108"/>
                      <a:pt x="172" y="107"/>
                    </a:cubicBezTo>
                    <a:cubicBezTo>
                      <a:pt x="172" y="105"/>
                      <a:pt x="172" y="104"/>
                      <a:pt x="173" y="103"/>
                    </a:cubicBezTo>
                    <a:cubicBezTo>
                      <a:pt x="173" y="103"/>
                      <a:pt x="173" y="103"/>
                      <a:pt x="173" y="103"/>
                    </a:cubicBezTo>
                    <a:cubicBezTo>
                      <a:pt x="173" y="102"/>
                      <a:pt x="174" y="102"/>
                      <a:pt x="174" y="102"/>
                    </a:cubicBezTo>
                    <a:cubicBezTo>
                      <a:pt x="174" y="102"/>
                      <a:pt x="174" y="102"/>
                      <a:pt x="174" y="101"/>
                    </a:cubicBezTo>
                    <a:cubicBezTo>
                      <a:pt x="174" y="101"/>
                      <a:pt x="174" y="101"/>
                      <a:pt x="174" y="101"/>
                    </a:cubicBezTo>
                    <a:cubicBezTo>
                      <a:pt x="174" y="101"/>
                      <a:pt x="175" y="100"/>
                      <a:pt x="175" y="100"/>
                    </a:cubicBezTo>
                    <a:cubicBezTo>
                      <a:pt x="175" y="100"/>
                      <a:pt x="175" y="100"/>
                      <a:pt x="175" y="100"/>
                    </a:cubicBezTo>
                    <a:cubicBezTo>
                      <a:pt x="175" y="99"/>
                      <a:pt x="175" y="99"/>
                      <a:pt x="175" y="99"/>
                    </a:cubicBezTo>
                    <a:cubicBezTo>
                      <a:pt x="175" y="99"/>
                      <a:pt x="175" y="98"/>
                      <a:pt x="175" y="98"/>
                    </a:cubicBezTo>
                    <a:cubicBezTo>
                      <a:pt x="175" y="98"/>
                      <a:pt x="175" y="98"/>
                      <a:pt x="175" y="98"/>
                    </a:cubicBezTo>
                    <a:cubicBezTo>
                      <a:pt x="175" y="98"/>
                      <a:pt x="175" y="98"/>
                      <a:pt x="175" y="98"/>
                    </a:cubicBezTo>
                    <a:cubicBezTo>
                      <a:pt x="175" y="96"/>
                      <a:pt x="175" y="95"/>
                      <a:pt x="175" y="93"/>
                    </a:cubicBezTo>
                    <a:cubicBezTo>
                      <a:pt x="175" y="92"/>
                      <a:pt x="175" y="92"/>
                      <a:pt x="175" y="92"/>
                    </a:cubicBezTo>
                    <a:cubicBezTo>
                      <a:pt x="176" y="92"/>
                      <a:pt x="176" y="91"/>
                      <a:pt x="175" y="91"/>
                    </a:cubicBezTo>
                    <a:cubicBezTo>
                      <a:pt x="175" y="90"/>
                      <a:pt x="175" y="90"/>
                      <a:pt x="175" y="90"/>
                    </a:cubicBezTo>
                    <a:cubicBezTo>
                      <a:pt x="174" y="89"/>
                      <a:pt x="174" y="88"/>
                      <a:pt x="173" y="87"/>
                    </a:cubicBezTo>
                    <a:cubicBezTo>
                      <a:pt x="172" y="85"/>
                      <a:pt x="172" y="85"/>
                      <a:pt x="172" y="85"/>
                    </a:cubicBezTo>
                    <a:cubicBezTo>
                      <a:pt x="171" y="84"/>
                      <a:pt x="170" y="83"/>
                      <a:pt x="170" y="82"/>
                    </a:cubicBezTo>
                    <a:cubicBezTo>
                      <a:pt x="170" y="82"/>
                      <a:pt x="170" y="82"/>
                      <a:pt x="170" y="81"/>
                    </a:cubicBezTo>
                    <a:cubicBezTo>
                      <a:pt x="170" y="81"/>
                      <a:pt x="170" y="81"/>
                      <a:pt x="170" y="81"/>
                    </a:cubicBezTo>
                    <a:cubicBezTo>
                      <a:pt x="169" y="80"/>
                      <a:pt x="169" y="79"/>
                      <a:pt x="169" y="79"/>
                    </a:cubicBezTo>
                    <a:cubicBezTo>
                      <a:pt x="168" y="79"/>
                      <a:pt x="168" y="78"/>
                      <a:pt x="168" y="78"/>
                    </a:cubicBezTo>
                    <a:cubicBezTo>
                      <a:pt x="167" y="77"/>
                      <a:pt x="167" y="77"/>
                      <a:pt x="166" y="77"/>
                    </a:cubicBezTo>
                    <a:cubicBezTo>
                      <a:pt x="166" y="77"/>
                      <a:pt x="166" y="77"/>
                      <a:pt x="166" y="77"/>
                    </a:cubicBezTo>
                    <a:cubicBezTo>
                      <a:pt x="166" y="77"/>
                      <a:pt x="166" y="77"/>
                      <a:pt x="165" y="77"/>
                    </a:cubicBezTo>
                    <a:cubicBezTo>
                      <a:pt x="164" y="77"/>
                      <a:pt x="163" y="76"/>
                      <a:pt x="161" y="75"/>
                    </a:cubicBezTo>
                    <a:cubicBezTo>
                      <a:pt x="161" y="75"/>
                      <a:pt x="161" y="75"/>
                      <a:pt x="161" y="75"/>
                    </a:cubicBezTo>
                    <a:cubicBezTo>
                      <a:pt x="161" y="75"/>
                      <a:pt x="160" y="75"/>
                      <a:pt x="160" y="75"/>
                    </a:cubicBezTo>
                    <a:cubicBezTo>
                      <a:pt x="159" y="75"/>
                      <a:pt x="159" y="75"/>
                      <a:pt x="158" y="75"/>
                    </a:cubicBezTo>
                    <a:cubicBezTo>
                      <a:pt x="158" y="75"/>
                      <a:pt x="158" y="75"/>
                      <a:pt x="158" y="75"/>
                    </a:cubicBezTo>
                    <a:cubicBezTo>
                      <a:pt x="157" y="75"/>
                      <a:pt x="157" y="75"/>
                      <a:pt x="156" y="75"/>
                    </a:cubicBezTo>
                    <a:cubicBezTo>
                      <a:pt x="156" y="75"/>
                      <a:pt x="156" y="75"/>
                      <a:pt x="155" y="74"/>
                    </a:cubicBezTo>
                    <a:cubicBezTo>
                      <a:pt x="155" y="74"/>
                      <a:pt x="155" y="74"/>
                      <a:pt x="155" y="74"/>
                    </a:cubicBezTo>
                    <a:cubicBezTo>
                      <a:pt x="155" y="74"/>
                      <a:pt x="155" y="74"/>
                      <a:pt x="155" y="74"/>
                    </a:cubicBezTo>
                    <a:cubicBezTo>
                      <a:pt x="153" y="73"/>
                      <a:pt x="152" y="72"/>
                      <a:pt x="151" y="70"/>
                    </a:cubicBezTo>
                    <a:cubicBezTo>
                      <a:pt x="151" y="70"/>
                      <a:pt x="150" y="69"/>
                      <a:pt x="149" y="69"/>
                    </a:cubicBezTo>
                    <a:cubicBezTo>
                      <a:pt x="148" y="68"/>
                      <a:pt x="148" y="68"/>
                      <a:pt x="148" y="68"/>
                    </a:cubicBezTo>
                    <a:cubicBezTo>
                      <a:pt x="147" y="68"/>
                      <a:pt x="147" y="68"/>
                      <a:pt x="147" y="68"/>
                    </a:cubicBezTo>
                    <a:cubicBezTo>
                      <a:pt x="147" y="68"/>
                      <a:pt x="146" y="68"/>
                      <a:pt x="146" y="68"/>
                    </a:cubicBezTo>
                    <a:cubicBezTo>
                      <a:pt x="146" y="68"/>
                      <a:pt x="146" y="68"/>
                      <a:pt x="146" y="68"/>
                    </a:cubicBezTo>
                    <a:cubicBezTo>
                      <a:pt x="145" y="68"/>
                      <a:pt x="145" y="67"/>
                      <a:pt x="145" y="67"/>
                    </a:cubicBezTo>
                    <a:cubicBezTo>
                      <a:pt x="144" y="66"/>
                      <a:pt x="144" y="65"/>
                      <a:pt x="145" y="65"/>
                    </a:cubicBezTo>
                    <a:cubicBezTo>
                      <a:pt x="145" y="65"/>
                      <a:pt x="145" y="65"/>
                      <a:pt x="145" y="65"/>
                    </a:cubicBezTo>
                    <a:cubicBezTo>
                      <a:pt x="144" y="65"/>
                      <a:pt x="144" y="65"/>
                      <a:pt x="143" y="64"/>
                    </a:cubicBezTo>
                    <a:cubicBezTo>
                      <a:pt x="143" y="64"/>
                      <a:pt x="143" y="64"/>
                      <a:pt x="142" y="63"/>
                    </a:cubicBezTo>
                    <a:cubicBezTo>
                      <a:pt x="142" y="62"/>
                      <a:pt x="142" y="62"/>
                      <a:pt x="142" y="61"/>
                    </a:cubicBezTo>
                    <a:cubicBezTo>
                      <a:pt x="139" y="60"/>
                      <a:pt x="139" y="60"/>
                      <a:pt x="139" y="60"/>
                    </a:cubicBezTo>
                    <a:cubicBezTo>
                      <a:pt x="139" y="60"/>
                      <a:pt x="139" y="60"/>
                      <a:pt x="139" y="60"/>
                    </a:cubicBezTo>
                    <a:cubicBezTo>
                      <a:pt x="138" y="60"/>
                      <a:pt x="138" y="60"/>
                      <a:pt x="138" y="60"/>
                    </a:cubicBezTo>
                    <a:cubicBezTo>
                      <a:pt x="138" y="60"/>
                      <a:pt x="138" y="60"/>
                      <a:pt x="138" y="60"/>
                    </a:cubicBezTo>
                    <a:cubicBezTo>
                      <a:pt x="138" y="60"/>
                      <a:pt x="138" y="60"/>
                      <a:pt x="138" y="60"/>
                    </a:cubicBezTo>
                    <a:cubicBezTo>
                      <a:pt x="137" y="60"/>
                      <a:pt x="137" y="60"/>
                      <a:pt x="137" y="60"/>
                    </a:cubicBezTo>
                    <a:cubicBezTo>
                      <a:pt x="136" y="60"/>
                      <a:pt x="136" y="60"/>
                      <a:pt x="136" y="60"/>
                    </a:cubicBezTo>
                    <a:cubicBezTo>
                      <a:pt x="136" y="60"/>
                      <a:pt x="136" y="60"/>
                      <a:pt x="136" y="60"/>
                    </a:cubicBezTo>
                    <a:cubicBezTo>
                      <a:pt x="136" y="60"/>
                      <a:pt x="136" y="60"/>
                      <a:pt x="136" y="60"/>
                    </a:cubicBezTo>
                    <a:cubicBezTo>
                      <a:pt x="135" y="60"/>
                      <a:pt x="135" y="60"/>
                      <a:pt x="135" y="60"/>
                    </a:cubicBezTo>
                    <a:cubicBezTo>
                      <a:pt x="135" y="60"/>
                      <a:pt x="135" y="60"/>
                      <a:pt x="135" y="60"/>
                    </a:cubicBezTo>
                    <a:cubicBezTo>
                      <a:pt x="135" y="60"/>
                      <a:pt x="135" y="61"/>
                      <a:pt x="135" y="61"/>
                    </a:cubicBezTo>
                    <a:cubicBezTo>
                      <a:pt x="135" y="61"/>
                      <a:pt x="135" y="62"/>
                      <a:pt x="135" y="62"/>
                    </a:cubicBezTo>
                    <a:cubicBezTo>
                      <a:pt x="135" y="62"/>
                      <a:pt x="135" y="62"/>
                      <a:pt x="135" y="63"/>
                    </a:cubicBezTo>
                    <a:cubicBezTo>
                      <a:pt x="135" y="64"/>
                      <a:pt x="135" y="64"/>
                      <a:pt x="135" y="64"/>
                    </a:cubicBezTo>
                    <a:cubicBezTo>
                      <a:pt x="135" y="64"/>
                      <a:pt x="135" y="64"/>
                      <a:pt x="135" y="64"/>
                    </a:cubicBezTo>
                    <a:cubicBezTo>
                      <a:pt x="135" y="64"/>
                      <a:pt x="135" y="64"/>
                      <a:pt x="135" y="64"/>
                    </a:cubicBezTo>
                    <a:cubicBezTo>
                      <a:pt x="135" y="64"/>
                      <a:pt x="135" y="64"/>
                      <a:pt x="135" y="64"/>
                    </a:cubicBezTo>
                    <a:cubicBezTo>
                      <a:pt x="134" y="65"/>
                      <a:pt x="134" y="65"/>
                      <a:pt x="134" y="65"/>
                    </a:cubicBezTo>
                    <a:cubicBezTo>
                      <a:pt x="134" y="65"/>
                      <a:pt x="133" y="67"/>
                      <a:pt x="131" y="68"/>
                    </a:cubicBezTo>
                    <a:cubicBezTo>
                      <a:pt x="129" y="69"/>
                      <a:pt x="128" y="69"/>
                      <a:pt x="126" y="69"/>
                    </a:cubicBezTo>
                    <a:cubicBezTo>
                      <a:pt x="126" y="69"/>
                      <a:pt x="126" y="69"/>
                      <a:pt x="125" y="69"/>
                    </a:cubicBezTo>
                    <a:cubicBezTo>
                      <a:pt x="125" y="69"/>
                      <a:pt x="124" y="69"/>
                      <a:pt x="124" y="69"/>
                    </a:cubicBezTo>
                    <a:cubicBezTo>
                      <a:pt x="124" y="70"/>
                      <a:pt x="122" y="73"/>
                      <a:pt x="122" y="74"/>
                    </a:cubicBezTo>
                    <a:cubicBezTo>
                      <a:pt x="122" y="75"/>
                      <a:pt x="123" y="76"/>
                      <a:pt x="123" y="77"/>
                    </a:cubicBezTo>
                    <a:cubicBezTo>
                      <a:pt x="123" y="77"/>
                      <a:pt x="123" y="77"/>
                      <a:pt x="123" y="77"/>
                    </a:cubicBezTo>
                    <a:cubicBezTo>
                      <a:pt x="123" y="79"/>
                      <a:pt x="123" y="80"/>
                      <a:pt x="123" y="81"/>
                    </a:cubicBezTo>
                    <a:cubicBezTo>
                      <a:pt x="124" y="85"/>
                      <a:pt x="121" y="86"/>
                      <a:pt x="119" y="87"/>
                    </a:cubicBezTo>
                    <a:cubicBezTo>
                      <a:pt x="118" y="88"/>
                      <a:pt x="118" y="88"/>
                      <a:pt x="118" y="88"/>
                    </a:cubicBezTo>
                    <a:cubicBezTo>
                      <a:pt x="116" y="89"/>
                      <a:pt x="115" y="89"/>
                      <a:pt x="112" y="88"/>
                    </a:cubicBezTo>
                    <a:cubicBezTo>
                      <a:pt x="111" y="88"/>
                      <a:pt x="108" y="87"/>
                      <a:pt x="107" y="88"/>
                    </a:cubicBezTo>
                    <a:cubicBezTo>
                      <a:pt x="104" y="89"/>
                      <a:pt x="99" y="86"/>
                      <a:pt x="99" y="86"/>
                    </a:cubicBezTo>
                    <a:cubicBezTo>
                      <a:pt x="98" y="86"/>
                      <a:pt x="98" y="86"/>
                      <a:pt x="98" y="86"/>
                    </a:cubicBezTo>
                    <a:cubicBezTo>
                      <a:pt x="98" y="86"/>
                      <a:pt x="97" y="85"/>
                      <a:pt x="96" y="85"/>
                    </a:cubicBezTo>
                    <a:cubicBezTo>
                      <a:pt x="96" y="85"/>
                      <a:pt x="96" y="85"/>
                      <a:pt x="96" y="85"/>
                    </a:cubicBezTo>
                    <a:cubicBezTo>
                      <a:pt x="96" y="85"/>
                      <a:pt x="96" y="85"/>
                      <a:pt x="96" y="85"/>
                    </a:cubicBezTo>
                    <a:cubicBezTo>
                      <a:pt x="89" y="105"/>
                      <a:pt x="89" y="105"/>
                      <a:pt x="89" y="105"/>
                    </a:cubicBezTo>
                    <a:cubicBezTo>
                      <a:pt x="89" y="105"/>
                      <a:pt x="89" y="105"/>
                      <a:pt x="90" y="105"/>
                    </a:cubicBezTo>
                    <a:cubicBezTo>
                      <a:pt x="91" y="105"/>
                      <a:pt x="91" y="105"/>
                      <a:pt x="92" y="106"/>
                    </a:cubicBezTo>
                    <a:cubicBezTo>
                      <a:pt x="92" y="106"/>
                      <a:pt x="92" y="108"/>
                      <a:pt x="92" y="109"/>
                    </a:cubicBezTo>
                    <a:cubicBezTo>
                      <a:pt x="92" y="109"/>
                      <a:pt x="92" y="109"/>
                      <a:pt x="92" y="109"/>
                    </a:cubicBezTo>
                    <a:cubicBezTo>
                      <a:pt x="92" y="111"/>
                      <a:pt x="91" y="111"/>
                      <a:pt x="87" y="111"/>
                    </a:cubicBezTo>
                    <a:cubicBezTo>
                      <a:pt x="87" y="111"/>
                      <a:pt x="87" y="111"/>
                      <a:pt x="87" y="111"/>
                    </a:cubicBezTo>
                    <a:cubicBezTo>
                      <a:pt x="86" y="111"/>
                      <a:pt x="86" y="111"/>
                      <a:pt x="86" y="111"/>
                    </a:cubicBezTo>
                    <a:cubicBezTo>
                      <a:pt x="84" y="111"/>
                      <a:pt x="83" y="111"/>
                      <a:pt x="82" y="110"/>
                    </a:cubicBezTo>
                    <a:cubicBezTo>
                      <a:pt x="81" y="110"/>
                      <a:pt x="81" y="109"/>
                      <a:pt x="81" y="109"/>
                    </a:cubicBezTo>
                    <a:cubicBezTo>
                      <a:pt x="81" y="109"/>
                      <a:pt x="80" y="109"/>
                      <a:pt x="80" y="109"/>
                    </a:cubicBezTo>
                    <a:cubicBezTo>
                      <a:pt x="79" y="109"/>
                      <a:pt x="79" y="110"/>
                      <a:pt x="79" y="110"/>
                    </a:cubicBezTo>
                    <a:cubicBezTo>
                      <a:pt x="73" y="111"/>
                      <a:pt x="73" y="111"/>
                      <a:pt x="73" y="111"/>
                    </a:cubicBezTo>
                    <a:cubicBezTo>
                      <a:pt x="71" y="112"/>
                      <a:pt x="69" y="112"/>
                      <a:pt x="66" y="113"/>
                    </a:cubicBezTo>
                    <a:cubicBezTo>
                      <a:pt x="66" y="113"/>
                      <a:pt x="66" y="113"/>
                      <a:pt x="66" y="113"/>
                    </a:cubicBezTo>
                    <a:cubicBezTo>
                      <a:pt x="66" y="113"/>
                      <a:pt x="65" y="113"/>
                      <a:pt x="65" y="113"/>
                    </a:cubicBezTo>
                    <a:cubicBezTo>
                      <a:pt x="65" y="113"/>
                      <a:pt x="65" y="113"/>
                      <a:pt x="65" y="113"/>
                    </a:cubicBezTo>
                    <a:cubicBezTo>
                      <a:pt x="65" y="113"/>
                      <a:pt x="66" y="113"/>
                      <a:pt x="66" y="113"/>
                    </a:cubicBezTo>
                    <a:cubicBezTo>
                      <a:pt x="67" y="113"/>
                      <a:pt x="69" y="114"/>
                      <a:pt x="70" y="114"/>
                    </a:cubicBezTo>
                    <a:cubicBezTo>
                      <a:pt x="71" y="115"/>
                      <a:pt x="71" y="115"/>
                      <a:pt x="71" y="115"/>
                    </a:cubicBezTo>
                    <a:cubicBezTo>
                      <a:pt x="70" y="116"/>
                      <a:pt x="70" y="116"/>
                      <a:pt x="70" y="116"/>
                    </a:cubicBezTo>
                    <a:cubicBezTo>
                      <a:pt x="70" y="117"/>
                      <a:pt x="70" y="117"/>
                      <a:pt x="69" y="117"/>
                    </a:cubicBezTo>
                    <a:cubicBezTo>
                      <a:pt x="69" y="117"/>
                      <a:pt x="69" y="117"/>
                      <a:pt x="69" y="117"/>
                    </a:cubicBezTo>
                    <a:cubicBezTo>
                      <a:pt x="69" y="118"/>
                      <a:pt x="69" y="120"/>
                      <a:pt x="69" y="120"/>
                    </a:cubicBezTo>
                    <a:cubicBezTo>
                      <a:pt x="69" y="121"/>
                      <a:pt x="69" y="121"/>
                      <a:pt x="69" y="121"/>
                    </a:cubicBezTo>
                    <a:cubicBezTo>
                      <a:pt x="69" y="123"/>
                      <a:pt x="70" y="124"/>
                      <a:pt x="70" y="125"/>
                    </a:cubicBezTo>
                    <a:cubicBezTo>
                      <a:pt x="70" y="126"/>
                      <a:pt x="71" y="126"/>
                      <a:pt x="71" y="127"/>
                    </a:cubicBezTo>
                    <a:cubicBezTo>
                      <a:pt x="71" y="127"/>
                      <a:pt x="71" y="127"/>
                      <a:pt x="71" y="127"/>
                    </a:cubicBezTo>
                    <a:cubicBezTo>
                      <a:pt x="71" y="128"/>
                      <a:pt x="72" y="129"/>
                      <a:pt x="72" y="129"/>
                    </a:cubicBezTo>
                    <a:cubicBezTo>
                      <a:pt x="72" y="130"/>
                      <a:pt x="73" y="131"/>
                      <a:pt x="73" y="131"/>
                    </a:cubicBezTo>
                    <a:cubicBezTo>
                      <a:pt x="73" y="131"/>
                      <a:pt x="73" y="131"/>
                      <a:pt x="73" y="131"/>
                    </a:cubicBezTo>
                    <a:cubicBezTo>
                      <a:pt x="73" y="131"/>
                      <a:pt x="73" y="132"/>
                      <a:pt x="73" y="132"/>
                    </a:cubicBezTo>
                    <a:cubicBezTo>
                      <a:pt x="74" y="135"/>
                      <a:pt x="74" y="135"/>
                      <a:pt x="73" y="136"/>
                    </a:cubicBezTo>
                    <a:cubicBezTo>
                      <a:pt x="73" y="136"/>
                      <a:pt x="72" y="137"/>
                      <a:pt x="71" y="137"/>
                    </a:cubicBezTo>
                    <a:cubicBezTo>
                      <a:pt x="71" y="137"/>
                      <a:pt x="70" y="137"/>
                      <a:pt x="70" y="137"/>
                    </a:cubicBezTo>
                    <a:cubicBezTo>
                      <a:pt x="71" y="137"/>
                      <a:pt x="71" y="138"/>
                      <a:pt x="71" y="139"/>
                    </a:cubicBezTo>
                    <a:cubicBezTo>
                      <a:pt x="71" y="140"/>
                      <a:pt x="70" y="140"/>
                      <a:pt x="68" y="140"/>
                    </a:cubicBezTo>
                    <a:cubicBezTo>
                      <a:pt x="68" y="141"/>
                      <a:pt x="68" y="141"/>
                      <a:pt x="68" y="141"/>
                    </a:cubicBezTo>
                    <a:cubicBezTo>
                      <a:pt x="67" y="141"/>
                      <a:pt x="67" y="142"/>
                      <a:pt x="67" y="142"/>
                    </a:cubicBezTo>
                    <a:cubicBezTo>
                      <a:pt x="68" y="143"/>
                      <a:pt x="68" y="143"/>
                      <a:pt x="68" y="143"/>
                    </a:cubicBezTo>
                    <a:cubicBezTo>
                      <a:pt x="68" y="144"/>
                      <a:pt x="68" y="145"/>
                      <a:pt x="68" y="147"/>
                    </a:cubicBezTo>
                    <a:cubicBezTo>
                      <a:pt x="68" y="147"/>
                      <a:pt x="68" y="147"/>
                      <a:pt x="68" y="147"/>
                    </a:cubicBezTo>
                    <a:cubicBezTo>
                      <a:pt x="68" y="147"/>
                      <a:pt x="68" y="147"/>
                      <a:pt x="68" y="147"/>
                    </a:cubicBezTo>
                    <a:cubicBezTo>
                      <a:pt x="68" y="148"/>
                      <a:pt x="68" y="148"/>
                      <a:pt x="68" y="148"/>
                    </a:cubicBezTo>
                    <a:cubicBezTo>
                      <a:pt x="68" y="149"/>
                      <a:pt x="68" y="149"/>
                      <a:pt x="67" y="150"/>
                    </a:cubicBezTo>
                    <a:cubicBezTo>
                      <a:pt x="67" y="151"/>
                      <a:pt x="67" y="151"/>
                      <a:pt x="67" y="151"/>
                    </a:cubicBezTo>
                    <a:cubicBezTo>
                      <a:pt x="67" y="150"/>
                      <a:pt x="67" y="150"/>
                      <a:pt x="67" y="150"/>
                    </a:cubicBezTo>
                    <a:cubicBezTo>
                      <a:pt x="66" y="150"/>
                      <a:pt x="66" y="151"/>
                      <a:pt x="66" y="151"/>
                    </a:cubicBezTo>
                    <a:cubicBezTo>
                      <a:pt x="64" y="151"/>
                      <a:pt x="64" y="151"/>
                      <a:pt x="64" y="151"/>
                    </a:cubicBezTo>
                    <a:cubicBezTo>
                      <a:pt x="62" y="152"/>
                      <a:pt x="60" y="153"/>
                      <a:pt x="58" y="153"/>
                    </a:cubicBezTo>
                    <a:cubicBezTo>
                      <a:pt x="57" y="154"/>
                      <a:pt x="57" y="154"/>
                      <a:pt x="56" y="154"/>
                    </a:cubicBezTo>
                    <a:cubicBezTo>
                      <a:pt x="56" y="154"/>
                      <a:pt x="56" y="154"/>
                      <a:pt x="56" y="154"/>
                    </a:cubicBezTo>
                    <a:cubicBezTo>
                      <a:pt x="54" y="155"/>
                      <a:pt x="53" y="155"/>
                      <a:pt x="52" y="156"/>
                    </a:cubicBezTo>
                    <a:cubicBezTo>
                      <a:pt x="51" y="156"/>
                      <a:pt x="51" y="156"/>
                      <a:pt x="51" y="156"/>
                    </a:cubicBezTo>
                    <a:cubicBezTo>
                      <a:pt x="51" y="156"/>
                      <a:pt x="50" y="157"/>
                      <a:pt x="50" y="158"/>
                    </a:cubicBezTo>
                    <a:cubicBezTo>
                      <a:pt x="50" y="158"/>
                      <a:pt x="50" y="158"/>
                      <a:pt x="50" y="158"/>
                    </a:cubicBezTo>
                    <a:cubicBezTo>
                      <a:pt x="49" y="158"/>
                      <a:pt x="49" y="158"/>
                      <a:pt x="49" y="158"/>
                    </a:cubicBezTo>
                    <a:cubicBezTo>
                      <a:pt x="49" y="159"/>
                      <a:pt x="49" y="159"/>
                      <a:pt x="49" y="159"/>
                    </a:cubicBezTo>
                    <a:cubicBezTo>
                      <a:pt x="48" y="159"/>
                      <a:pt x="48" y="159"/>
                      <a:pt x="48" y="159"/>
                    </a:cubicBezTo>
                    <a:cubicBezTo>
                      <a:pt x="48" y="160"/>
                      <a:pt x="48" y="160"/>
                      <a:pt x="47" y="160"/>
                    </a:cubicBezTo>
                    <a:cubicBezTo>
                      <a:pt x="47" y="160"/>
                      <a:pt x="47" y="161"/>
                      <a:pt x="47" y="161"/>
                    </a:cubicBezTo>
                    <a:cubicBezTo>
                      <a:pt x="46" y="161"/>
                      <a:pt x="46" y="161"/>
                      <a:pt x="46" y="161"/>
                    </a:cubicBezTo>
                    <a:cubicBezTo>
                      <a:pt x="43" y="161"/>
                      <a:pt x="43" y="161"/>
                      <a:pt x="43" y="161"/>
                    </a:cubicBezTo>
                    <a:cubicBezTo>
                      <a:pt x="42" y="161"/>
                      <a:pt x="41" y="161"/>
                      <a:pt x="40" y="162"/>
                    </a:cubicBezTo>
                    <a:cubicBezTo>
                      <a:pt x="39" y="162"/>
                      <a:pt x="39" y="162"/>
                      <a:pt x="39" y="162"/>
                    </a:cubicBezTo>
                    <a:cubicBezTo>
                      <a:pt x="39" y="162"/>
                      <a:pt x="38" y="162"/>
                      <a:pt x="37" y="162"/>
                    </a:cubicBezTo>
                    <a:cubicBezTo>
                      <a:pt x="36" y="162"/>
                      <a:pt x="35" y="162"/>
                      <a:pt x="34" y="162"/>
                    </a:cubicBezTo>
                    <a:cubicBezTo>
                      <a:pt x="34" y="162"/>
                      <a:pt x="33" y="163"/>
                      <a:pt x="33" y="164"/>
                    </a:cubicBezTo>
                    <a:cubicBezTo>
                      <a:pt x="32" y="164"/>
                      <a:pt x="32" y="164"/>
                      <a:pt x="32" y="164"/>
                    </a:cubicBezTo>
                    <a:cubicBezTo>
                      <a:pt x="32" y="164"/>
                      <a:pt x="32" y="164"/>
                      <a:pt x="32" y="165"/>
                    </a:cubicBezTo>
                    <a:cubicBezTo>
                      <a:pt x="32" y="165"/>
                      <a:pt x="32" y="165"/>
                      <a:pt x="31" y="165"/>
                    </a:cubicBezTo>
                    <a:cubicBezTo>
                      <a:pt x="31" y="165"/>
                      <a:pt x="31" y="165"/>
                      <a:pt x="31" y="165"/>
                    </a:cubicBezTo>
                    <a:cubicBezTo>
                      <a:pt x="31" y="165"/>
                      <a:pt x="31" y="165"/>
                      <a:pt x="31" y="165"/>
                    </a:cubicBezTo>
                    <a:cubicBezTo>
                      <a:pt x="31" y="165"/>
                      <a:pt x="31" y="165"/>
                      <a:pt x="31" y="166"/>
                    </a:cubicBezTo>
                    <a:cubicBezTo>
                      <a:pt x="31" y="166"/>
                      <a:pt x="31" y="166"/>
                      <a:pt x="31" y="167"/>
                    </a:cubicBezTo>
                    <a:cubicBezTo>
                      <a:pt x="31" y="167"/>
                      <a:pt x="30" y="168"/>
                      <a:pt x="30" y="168"/>
                    </a:cubicBezTo>
                    <a:cubicBezTo>
                      <a:pt x="29" y="169"/>
                      <a:pt x="29" y="169"/>
                      <a:pt x="29" y="170"/>
                    </a:cubicBezTo>
                    <a:cubicBezTo>
                      <a:pt x="28" y="170"/>
                      <a:pt x="28" y="170"/>
                      <a:pt x="28" y="170"/>
                    </a:cubicBezTo>
                    <a:cubicBezTo>
                      <a:pt x="27" y="170"/>
                      <a:pt x="27" y="170"/>
                      <a:pt x="27" y="170"/>
                    </a:cubicBezTo>
                    <a:cubicBezTo>
                      <a:pt x="27" y="171"/>
                      <a:pt x="27" y="171"/>
                      <a:pt x="27" y="171"/>
                    </a:cubicBezTo>
                    <a:cubicBezTo>
                      <a:pt x="27" y="171"/>
                      <a:pt x="27" y="171"/>
                      <a:pt x="27" y="171"/>
                    </a:cubicBezTo>
                    <a:cubicBezTo>
                      <a:pt x="27" y="171"/>
                      <a:pt x="26" y="170"/>
                      <a:pt x="26" y="170"/>
                    </a:cubicBezTo>
                    <a:cubicBezTo>
                      <a:pt x="26" y="170"/>
                      <a:pt x="25" y="170"/>
                      <a:pt x="25" y="170"/>
                    </a:cubicBezTo>
                    <a:cubicBezTo>
                      <a:pt x="25" y="170"/>
                      <a:pt x="25" y="170"/>
                      <a:pt x="25" y="170"/>
                    </a:cubicBezTo>
                    <a:cubicBezTo>
                      <a:pt x="24" y="170"/>
                      <a:pt x="24" y="170"/>
                      <a:pt x="24" y="170"/>
                    </a:cubicBezTo>
                    <a:cubicBezTo>
                      <a:pt x="24" y="170"/>
                      <a:pt x="24" y="170"/>
                      <a:pt x="24" y="170"/>
                    </a:cubicBezTo>
                    <a:cubicBezTo>
                      <a:pt x="24" y="170"/>
                      <a:pt x="24" y="170"/>
                      <a:pt x="24" y="170"/>
                    </a:cubicBezTo>
                    <a:cubicBezTo>
                      <a:pt x="23" y="170"/>
                      <a:pt x="23" y="170"/>
                      <a:pt x="23" y="170"/>
                    </a:cubicBezTo>
                    <a:cubicBezTo>
                      <a:pt x="23" y="170"/>
                      <a:pt x="23" y="170"/>
                      <a:pt x="23" y="170"/>
                    </a:cubicBezTo>
                    <a:cubicBezTo>
                      <a:pt x="24" y="170"/>
                      <a:pt x="24" y="170"/>
                      <a:pt x="24" y="170"/>
                    </a:cubicBezTo>
                    <a:cubicBezTo>
                      <a:pt x="23" y="171"/>
                      <a:pt x="23" y="171"/>
                      <a:pt x="23" y="171"/>
                    </a:cubicBezTo>
                    <a:cubicBezTo>
                      <a:pt x="23" y="171"/>
                      <a:pt x="23" y="171"/>
                      <a:pt x="22" y="171"/>
                    </a:cubicBezTo>
                    <a:cubicBezTo>
                      <a:pt x="22" y="171"/>
                      <a:pt x="22" y="171"/>
                      <a:pt x="22" y="171"/>
                    </a:cubicBezTo>
                    <a:cubicBezTo>
                      <a:pt x="20" y="171"/>
                      <a:pt x="19" y="171"/>
                      <a:pt x="19" y="170"/>
                    </a:cubicBezTo>
                    <a:cubicBezTo>
                      <a:pt x="19" y="169"/>
                      <a:pt x="19" y="169"/>
                      <a:pt x="19" y="169"/>
                    </a:cubicBezTo>
                    <a:cubicBezTo>
                      <a:pt x="19" y="168"/>
                      <a:pt x="18" y="168"/>
                      <a:pt x="18" y="168"/>
                    </a:cubicBezTo>
                    <a:cubicBezTo>
                      <a:pt x="18" y="168"/>
                      <a:pt x="18" y="168"/>
                      <a:pt x="18" y="168"/>
                    </a:cubicBezTo>
                    <a:cubicBezTo>
                      <a:pt x="18" y="168"/>
                      <a:pt x="18" y="168"/>
                      <a:pt x="18" y="168"/>
                    </a:cubicBezTo>
                    <a:cubicBezTo>
                      <a:pt x="16" y="169"/>
                      <a:pt x="15" y="169"/>
                      <a:pt x="13" y="169"/>
                    </a:cubicBezTo>
                    <a:cubicBezTo>
                      <a:pt x="13" y="170"/>
                      <a:pt x="13" y="170"/>
                      <a:pt x="13" y="170"/>
                    </a:cubicBezTo>
                    <a:cubicBezTo>
                      <a:pt x="13" y="171"/>
                      <a:pt x="12" y="171"/>
                      <a:pt x="12" y="171"/>
                    </a:cubicBezTo>
                    <a:cubicBezTo>
                      <a:pt x="11" y="172"/>
                      <a:pt x="10" y="172"/>
                      <a:pt x="8" y="173"/>
                    </a:cubicBezTo>
                    <a:cubicBezTo>
                      <a:pt x="7" y="173"/>
                      <a:pt x="7" y="173"/>
                      <a:pt x="7" y="173"/>
                    </a:cubicBezTo>
                    <a:cubicBezTo>
                      <a:pt x="7" y="173"/>
                      <a:pt x="7" y="173"/>
                      <a:pt x="7" y="173"/>
                    </a:cubicBezTo>
                    <a:cubicBezTo>
                      <a:pt x="4" y="174"/>
                      <a:pt x="4" y="174"/>
                      <a:pt x="4" y="174"/>
                    </a:cubicBezTo>
                    <a:cubicBezTo>
                      <a:pt x="4" y="174"/>
                      <a:pt x="4" y="174"/>
                      <a:pt x="4" y="175"/>
                    </a:cubicBezTo>
                    <a:cubicBezTo>
                      <a:pt x="4" y="175"/>
                      <a:pt x="4" y="175"/>
                      <a:pt x="4" y="175"/>
                    </a:cubicBezTo>
                    <a:cubicBezTo>
                      <a:pt x="4" y="176"/>
                      <a:pt x="4" y="176"/>
                      <a:pt x="4" y="176"/>
                    </a:cubicBezTo>
                    <a:cubicBezTo>
                      <a:pt x="4" y="176"/>
                      <a:pt x="4" y="176"/>
                      <a:pt x="4" y="176"/>
                    </a:cubicBezTo>
                    <a:cubicBezTo>
                      <a:pt x="3" y="178"/>
                      <a:pt x="3" y="178"/>
                      <a:pt x="3" y="178"/>
                    </a:cubicBezTo>
                    <a:cubicBezTo>
                      <a:pt x="3" y="179"/>
                      <a:pt x="3" y="179"/>
                      <a:pt x="3" y="180"/>
                    </a:cubicBezTo>
                    <a:cubicBezTo>
                      <a:pt x="2" y="180"/>
                      <a:pt x="2" y="180"/>
                      <a:pt x="2" y="180"/>
                    </a:cubicBezTo>
                    <a:cubicBezTo>
                      <a:pt x="1" y="181"/>
                      <a:pt x="1" y="181"/>
                      <a:pt x="1" y="181"/>
                    </a:cubicBezTo>
                    <a:cubicBezTo>
                      <a:pt x="1" y="181"/>
                      <a:pt x="1" y="181"/>
                      <a:pt x="1" y="181"/>
                    </a:cubicBezTo>
                    <a:cubicBezTo>
                      <a:pt x="1" y="181"/>
                      <a:pt x="1" y="181"/>
                      <a:pt x="1" y="181"/>
                    </a:cubicBezTo>
                    <a:cubicBezTo>
                      <a:pt x="1" y="181"/>
                      <a:pt x="1" y="181"/>
                      <a:pt x="1" y="181"/>
                    </a:cubicBezTo>
                    <a:cubicBezTo>
                      <a:pt x="0" y="183"/>
                      <a:pt x="0" y="183"/>
                      <a:pt x="0" y="183"/>
                    </a:cubicBezTo>
                    <a:cubicBezTo>
                      <a:pt x="0" y="183"/>
                      <a:pt x="0" y="183"/>
                      <a:pt x="1" y="183"/>
                    </a:cubicBezTo>
                    <a:cubicBezTo>
                      <a:pt x="1" y="183"/>
                      <a:pt x="1" y="183"/>
                      <a:pt x="1" y="183"/>
                    </a:cubicBezTo>
                    <a:cubicBezTo>
                      <a:pt x="1" y="184"/>
                      <a:pt x="1" y="184"/>
                      <a:pt x="1" y="184"/>
                    </a:cubicBezTo>
                    <a:cubicBezTo>
                      <a:pt x="1" y="184"/>
                      <a:pt x="1" y="184"/>
                      <a:pt x="1" y="184"/>
                    </a:cubicBezTo>
                    <a:cubicBezTo>
                      <a:pt x="1" y="184"/>
                      <a:pt x="1" y="184"/>
                      <a:pt x="1" y="184"/>
                    </a:cubicBezTo>
                    <a:cubicBezTo>
                      <a:pt x="1" y="184"/>
                      <a:pt x="1" y="184"/>
                      <a:pt x="1" y="184"/>
                    </a:cubicBezTo>
                    <a:cubicBezTo>
                      <a:pt x="1" y="184"/>
                      <a:pt x="1" y="184"/>
                      <a:pt x="1" y="184"/>
                    </a:cubicBezTo>
                    <a:cubicBezTo>
                      <a:pt x="2" y="185"/>
                      <a:pt x="2" y="185"/>
                      <a:pt x="2" y="185"/>
                    </a:cubicBezTo>
                    <a:cubicBezTo>
                      <a:pt x="2" y="185"/>
                      <a:pt x="2" y="185"/>
                      <a:pt x="2" y="185"/>
                    </a:cubicBezTo>
                    <a:cubicBezTo>
                      <a:pt x="2" y="186"/>
                      <a:pt x="2" y="186"/>
                      <a:pt x="2" y="187"/>
                    </a:cubicBezTo>
                    <a:cubicBezTo>
                      <a:pt x="2" y="188"/>
                      <a:pt x="2" y="188"/>
                      <a:pt x="2" y="188"/>
                    </a:cubicBezTo>
                    <a:cubicBezTo>
                      <a:pt x="1" y="188"/>
                      <a:pt x="1" y="188"/>
                      <a:pt x="1" y="188"/>
                    </a:cubicBezTo>
                    <a:cubicBezTo>
                      <a:pt x="1" y="188"/>
                      <a:pt x="1" y="188"/>
                      <a:pt x="1" y="188"/>
                    </a:cubicBezTo>
                    <a:cubicBezTo>
                      <a:pt x="1" y="188"/>
                      <a:pt x="1" y="188"/>
                      <a:pt x="1" y="188"/>
                    </a:cubicBezTo>
                    <a:cubicBezTo>
                      <a:pt x="1" y="189"/>
                      <a:pt x="2" y="189"/>
                      <a:pt x="2" y="189"/>
                    </a:cubicBezTo>
                    <a:cubicBezTo>
                      <a:pt x="2" y="189"/>
                      <a:pt x="2" y="189"/>
                      <a:pt x="2" y="189"/>
                    </a:cubicBezTo>
                    <a:cubicBezTo>
                      <a:pt x="3" y="189"/>
                      <a:pt x="3" y="189"/>
                      <a:pt x="3" y="189"/>
                    </a:cubicBezTo>
                    <a:cubicBezTo>
                      <a:pt x="3" y="189"/>
                      <a:pt x="4" y="188"/>
                      <a:pt x="5" y="188"/>
                    </a:cubicBezTo>
                    <a:cubicBezTo>
                      <a:pt x="5" y="188"/>
                      <a:pt x="5" y="188"/>
                      <a:pt x="5" y="188"/>
                    </a:cubicBezTo>
                    <a:cubicBezTo>
                      <a:pt x="5" y="188"/>
                      <a:pt x="5" y="188"/>
                      <a:pt x="5" y="188"/>
                    </a:cubicBezTo>
                    <a:cubicBezTo>
                      <a:pt x="6" y="188"/>
                      <a:pt x="6" y="188"/>
                      <a:pt x="6" y="188"/>
                    </a:cubicBezTo>
                    <a:cubicBezTo>
                      <a:pt x="7" y="189"/>
                      <a:pt x="7" y="189"/>
                      <a:pt x="8" y="189"/>
                    </a:cubicBezTo>
                    <a:cubicBezTo>
                      <a:pt x="9" y="189"/>
                      <a:pt x="9" y="190"/>
                      <a:pt x="9" y="190"/>
                    </a:cubicBezTo>
                    <a:cubicBezTo>
                      <a:pt x="10" y="190"/>
                      <a:pt x="10" y="190"/>
                      <a:pt x="10" y="190"/>
                    </a:cubicBezTo>
                    <a:cubicBezTo>
                      <a:pt x="10" y="190"/>
                      <a:pt x="10" y="191"/>
                      <a:pt x="10" y="191"/>
                    </a:cubicBezTo>
                    <a:cubicBezTo>
                      <a:pt x="11" y="191"/>
                      <a:pt x="11" y="191"/>
                      <a:pt x="11" y="191"/>
                    </a:cubicBezTo>
                    <a:cubicBezTo>
                      <a:pt x="12" y="192"/>
                      <a:pt x="13" y="192"/>
                      <a:pt x="13" y="194"/>
                    </a:cubicBezTo>
                    <a:cubicBezTo>
                      <a:pt x="13" y="196"/>
                      <a:pt x="13" y="197"/>
                      <a:pt x="14" y="199"/>
                    </a:cubicBezTo>
                    <a:cubicBezTo>
                      <a:pt x="14" y="200"/>
                      <a:pt x="14" y="200"/>
                      <a:pt x="14" y="200"/>
                    </a:cubicBezTo>
                    <a:cubicBezTo>
                      <a:pt x="14" y="200"/>
                      <a:pt x="14" y="201"/>
                      <a:pt x="14" y="201"/>
                    </a:cubicBezTo>
                    <a:cubicBezTo>
                      <a:pt x="14" y="202"/>
                      <a:pt x="14" y="202"/>
                      <a:pt x="14" y="202"/>
                    </a:cubicBezTo>
                    <a:cubicBezTo>
                      <a:pt x="14" y="202"/>
                      <a:pt x="15" y="203"/>
                      <a:pt x="15" y="204"/>
                    </a:cubicBezTo>
                    <a:cubicBezTo>
                      <a:pt x="17" y="204"/>
                      <a:pt x="17" y="204"/>
                      <a:pt x="17" y="204"/>
                    </a:cubicBezTo>
                    <a:cubicBezTo>
                      <a:pt x="16" y="205"/>
                      <a:pt x="16" y="205"/>
                      <a:pt x="16" y="205"/>
                    </a:cubicBezTo>
                    <a:cubicBezTo>
                      <a:pt x="15" y="206"/>
                      <a:pt x="15" y="206"/>
                      <a:pt x="14" y="207"/>
                    </a:cubicBezTo>
                    <a:cubicBezTo>
                      <a:pt x="19" y="206"/>
                      <a:pt x="19" y="206"/>
                      <a:pt x="19" y="206"/>
                    </a:cubicBezTo>
                    <a:cubicBezTo>
                      <a:pt x="13" y="208"/>
                      <a:pt x="13" y="208"/>
                      <a:pt x="13" y="208"/>
                    </a:cubicBezTo>
                    <a:cubicBezTo>
                      <a:pt x="13" y="208"/>
                      <a:pt x="13" y="208"/>
                      <a:pt x="13" y="208"/>
                    </a:cubicBezTo>
                    <a:cubicBezTo>
                      <a:pt x="14" y="208"/>
                      <a:pt x="15" y="208"/>
                      <a:pt x="17" y="209"/>
                    </a:cubicBezTo>
                    <a:cubicBezTo>
                      <a:pt x="17" y="209"/>
                      <a:pt x="18" y="210"/>
                      <a:pt x="19" y="210"/>
                    </a:cubicBezTo>
                    <a:cubicBezTo>
                      <a:pt x="19" y="211"/>
                      <a:pt x="20" y="211"/>
                      <a:pt x="20" y="211"/>
                    </a:cubicBezTo>
                    <a:cubicBezTo>
                      <a:pt x="20" y="211"/>
                      <a:pt x="20" y="211"/>
                      <a:pt x="20" y="211"/>
                    </a:cubicBezTo>
                    <a:cubicBezTo>
                      <a:pt x="21" y="211"/>
                      <a:pt x="21" y="211"/>
                      <a:pt x="21" y="211"/>
                    </a:cubicBezTo>
                    <a:cubicBezTo>
                      <a:pt x="22" y="212"/>
                      <a:pt x="23" y="213"/>
                      <a:pt x="24" y="214"/>
                    </a:cubicBezTo>
                    <a:cubicBezTo>
                      <a:pt x="24" y="215"/>
                      <a:pt x="24" y="216"/>
                      <a:pt x="25" y="216"/>
                    </a:cubicBezTo>
                    <a:cubicBezTo>
                      <a:pt x="25" y="217"/>
                      <a:pt x="25" y="218"/>
                      <a:pt x="25" y="218"/>
                    </a:cubicBezTo>
                    <a:cubicBezTo>
                      <a:pt x="25" y="219"/>
                      <a:pt x="24" y="219"/>
                      <a:pt x="24" y="220"/>
                    </a:cubicBezTo>
                    <a:cubicBezTo>
                      <a:pt x="24" y="220"/>
                      <a:pt x="24" y="220"/>
                      <a:pt x="24" y="220"/>
                    </a:cubicBezTo>
                    <a:cubicBezTo>
                      <a:pt x="24" y="220"/>
                      <a:pt x="24" y="220"/>
                      <a:pt x="24" y="220"/>
                    </a:cubicBezTo>
                    <a:cubicBezTo>
                      <a:pt x="25" y="221"/>
                      <a:pt x="25" y="221"/>
                      <a:pt x="25" y="221"/>
                    </a:cubicBezTo>
                    <a:cubicBezTo>
                      <a:pt x="25" y="222"/>
                      <a:pt x="25" y="222"/>
                      <a:pt x="26" y="222"/>
                    </a:cubicBezTo>
                    <a:cubicBezTo>
                      <a:pt x="26" y="222"/>
                      <a:pt x="26" y="222"/>
                      <a:pt x="26" y="222"/>
                    </a:cubicBezTo>
                    <a:cubicBezTo>
                      <a:pt x="26" y="222"/>
                      <a:pt x="26" y="222"/>
                      <a:pt x="26" y="222"/>
                    </a:cubicBezTo>
                    <a:cubicBezTo>
                      <a:pt x="26" y="222"/>
                      <a:pt x="26" y="222"/>
                      <a:pt x="26" y="222"/>
                    </a:cubicBezTo>
                    <a:cubicBezTo>
                      <a:pt x="27" y="222"/>
                      <a:pt x="28" y="222"/>
                      <a:pt x="28" y="221"/>
                    </a:cubicBezTo>
                    <a:cubicBezTo>
                      <a:pt x="29" y="219"/>
                      <a:pt x="29" y="219"/>
                      <a:pt x="29" y="219"/>
                    </a:cubicBezTo>
                    <a:cubicBezTo>
                      <a:pt x="30" y="222"/>
                      <a:pt x="30" y="222"/>
                      <a:pt x="30" y="222"/>
                    </a:cubicBezTo>
                    <a:cubicBezTo>
                      <a:pt x="30" y="222"/>
                      <a:pt x="30" y="222"/>
                      <a:pt x="30" y="222"/>
                    </a:cubicBezTo>
                    <a:cubicBezTo>
                      <a:pt x="30" y="223"/>
                      <a:pt x="30" y="223"/>
                      <a:pt x="30" y="223"/>
                    </a:cubicBezTo>
                    <a:cubicBezTo>
                      <a:pt x="30" y="223"/>
                      <a:pt x="30" y="223"/>
                      <a:pt x="30" y="223"/>
                    </a:cubicBezTo>
                    <a:cubicBezTo>
                      <a:pt x="30" y="223"/>
                      <a:pt x="30" y="223"/>
                      <a:pt x="30" y="223"/>
                    </a:cubicBezTo>
                    <a:cubicBezTo>
                      <a:pt x="31" y="223"/>
                      <a:pt x="31" y="224"/>
                      <a:pt x="32" y="224"/>
                    </a:cubicBezTo>
                    <a:cubicBezTo>
                      <a:pt x="34" y="225"/>
                      <a:pt x="36" y="225"/>
                      <a:pt x="39" y="225"/>
                    </a:cubicBezTo>
                    <a:cubicBezTo>
                      <a:pt x="40" y="225"/>
                      <a:pt x="41" y="226"/>
                      <a:pt x="42" y="226"/>
                    </a:cubicBezTo>
                    <a:cubicBezTo>
                      <a:pt x="42" y="226"/>
                      <a:pt x="42" y="226"/>
                      <a:pt x="42" y="226"/>
                    </a:cubicBezTo>
                    <a:cubicBezTo>
                      <a:pt x="42" y="225"/>
                      <a:pt x="42" y="225"/>
                      <a:pt x="42" y="225"/>
                    </a:cubicBezTo>
                    <a:cubicBezTo>
                      <a:pt x="43" y="225"/>
                      <a:pt x="44" y="225"/>
                      <a:pt x="45" y="225"/>
                    </a:cubicBezTo>
                    <a:cubicBezTo>
                      <a:pt x="45" y="224"/>
                      <a:pt x="45" y="224"/>
                      <a:pt x="45" y="224"/>
                    </a:cubicBezTo>
                    <a:cubicBezTo>
                      <a:pt x="45" y="226"/>
                      <a:pt x="45" y="226"/>
                      <a:pt x="45" y="226"/>
                    </a:cubicBezTo>
                    <a:cubicBezTo>
                      <a:pt x="45" y="226"/>
                      <a:pt x="45" y="225"/>
                      <a:pt x="45" y="225"/>
                    </a:cubicBezTo>
                    <a:cubicBezTo>
                      <a:pt x="46" y="225"/>
                      <a:pt x="46" y="225"/>
                      <a:pt x="46" y="225"/>
                    </a:cubicBezTo>
                    <a:cubicBezTo>
                      <a:pt x="47" y="225"/>
                      <a:pt x="49" y="224"/>
                      <a:pt x="51" y="223"/>
                    </a:cubicBezTo>
                    <a:cubicBezTo>
                      <a:pt x="51" y="222"/>
                      <a:pt x="52" y="222"/>
                      <a:pt x="53" y="222"/>
                    </a:cubicBezTo>
                    <a:cubicBezTo>
                      <a:pt x="53" y="222"/>
                      <a:pt x="53" y="222"/>
                      <a:pt x="53" y="222"/>
                    </a:cubicBezTo>
                    <a:cubicBezTo>
                      <a:pt x="54" y="222"/>
                      <a:pt x="55" y="222"/>
                      <a:pt x="56" y="222"/>
                    </a:cubicBezTo>
                    <a:cubicBezTo>
                      <a:pt x="56" y="222"/>
                      <a:pt x="56" y="222"/>
                      <a:pt x="57" y="222"/>
                    </a:cubicBezTo>
                    <a:cubicBezTo>
                      <a:pt x="57" y="222"/>
                      <a:pt x="57" y="222"/>
                      <a:pt x="57" y="222"/>
                    </a:cubicBezTo>
                    <a:cubicBezTo>
                      <a:pt x="57" y="222"/>
                      <a:pt x="57" y="222"/>
                      <a:pt x="57" y="222"/>
                    </a:cubicBezTo>
                    <a:cubicBezTo>
                      <a:pt x="57" y="222"/>
                      <a:pt x="58" y="222"/>
                      <a:pt x="58" y="222"/>
                    </a:cubicBezTo>
                    <a:cubicBezTo>
                      <a:pt x="58" y="222"/>
                      <a:pt x="59" y="223"/>
                      <a:pt x="59" y="223"/>
                    </a:cubicBezTo>
                    <a:cubicBezTo>
                      <a:pt x="59" y="223"/>
                      <a:pt x="59" y="223"/>
                      <a:pt x="60" y="223"/>
                    </a:cubicBezTo>
                    <a:cubicBezTo>
                      <a:pt x="60" y="224"/>
                      <a:pt x="61" y="224"/>
                      <a:pt x="62" y="225"/>
                    </a:cubicBezTo>
                    <a:cubicBezTo>
                      <a:pt x="62" y="225"/>
                      <a:pt x="62" y="226"/>
                      <a:pt x="63" y="226"/>
                    </a:cubicBezTo>
                    <a:cubicBezTo>
                      <a:pt x="63" y="226"/>
                      <a:pt x="63" y="226"/>
                      <a:pt x="63" y="226"/>
                    </a:cubicBezTo>
                    <a:cubicBezTo>
                      <a:pt x="63" y="226"/>
                      <a:pt x="63" y="226"/>
                      <a:pt x="64" y="227"/>
                    </a:cubicBezTo>
                    <a:cubicBezTo>
                      <a:pt x="64" y="227"/>
                      <a:pt x="64" y="228"/>
                      <a:pt x="65" y="228"/>
                    </a:cubicBezTo>
                    <a:cubicBezTo>
                      <a:pt x="65" y="228"/>
                      <a:pt x="65" y="228"/>
                      <a:pt x="65" y="228"/>
                    </a:cubicBezTo>
                    <a:cubicBezTo>
                      <a:pt x="65" y="228"/>
                      <a:pt x="65" y="228"/>
                      <a:pt x="65" y="228"/>
                    </a:cubicBezTo>
                    <a:cubicBezTo>
                      <a:pt x="65" y="228"/>
                      <a:pt x="66" y="227"/>
                      <a:pt x="66" y="227"/>
                    </a:cubicBezTo>
                    <a:cubicBezTo>
                      <a:pt x="67" y="227"/>
                      <a:pt x="67" y="227"/>
                      <a:pt x="68" y="227"/>
                    </a:cubicBezTo>
                    <a:cubicBezTo>
                      <a:pt x="68" y="227"/>
                      <a:pt x="68" y="228"/>
                      <a:pt x="68" y="228"/>
                    </a:cubicBezTo>
                    <a:cubicBezTo>
                      <a:pt x="67" y="229"/>
                      <a:pt x="67" y="230"/>
                      <a:pt x="67" y="231"/>
                    </a:cubicBezTo>
                    <a:cubicBezTo>
                      <a:pt x="67" y="231"/>
                      <a:pt x="67" y="231"/>
                      <a:pt x="67" y="231"/>
                    </a:cubicBezTo>
                    <a:cubicBezTo>
                      <a:pt x="66" y="232"/>
                      <a:pt x="66" y="232"/>
                      <a:pt x="66" y="232"/>
                    </a:cubicBezTo>
                    <a:cubicBezTo>
                      <a:pt x="66" y="233"/>
                      <a:pt x="66" y="233"/>
                      <a:pt x="65" y="234"/>
                    </a:cubicBezTo>
                    <a:cubicBezTo>
                      <a:pt x="65" y="235"/>
                      <a:pt x="64" y="236"/>
                      <a:pt x="63" y="237"/>
                    </a:cubicBezTo>
                    <a:cubicBezTo>
                      <a:pt x="62" y="238"/>
                      <a:pt x="62" y="238"/>
                      <a:pt x="61" y="239"/>
                    </a:cubicBezTo>
                    <a:cubicBezTo>
                      <a:pt x="61" y="240"/>
                      <a:pt x="61" y="239"/>
                      <a:pt x="60" y="239"/>
                    </a:cubicBezTo>
                    <a:cubicBezTo>
                      <a:pt x="60" y="239"/>
                      <a:pt x="59" y="239"/>
                      <a:pt x="59" y="240"/>
                    </a:cubicBezTo>
                    <a:cubicBezTo>
                      <a:pt x="59" y="240"/>
                      <a:pt x="60" y="241"/>
                      <a:pt x="60" y="242"/>
                    </a:cubicBezTo>
                    <a:cubicBezTo>
                      <a:pt x="59" y="243"/>
                      <a:pt x="57" y="244"/>
                      <a:pt x="56" y="244"/>
                    </a:cubicBezTo>
                    <a:cubicBezTo>
                      <a:pt x="56" y="244"/>
                      <a:pt x="56" y="244"/>
                      <a:pt x="55" y="244"/>
                    </a:cubicBezTo>
                    <a:cubicBezTo>
                      <a:pt x="55" y="244"/>
                      <a:pt x="55" y="244"/>
                      <a:pt x="55" y="244"/>
                    </a:cubicBezTo>
                    <a:cubicBezTo>
                      <a:pt x="53" y="245"/>
                      <a:pt x="53" y="245"/>
                      <a:pt x="53" y="245"/>
                    </a:cubicBezTo>
                    <a:cubicBezTo>
                      <a:pt x="53" y="245"/>
                      <a:pt x="53" y="245"/>
                      <a:pt x="53" y="245"/>
                    </a:cubicBezTo>
                    <a:cubicBezTo>
                      <a:pt x="53" y="246"/>
                      <a:pt x="53" y="246"/>
                      <a:pt x="53" y="246"/>
                    </a:cubicBezTo>
                    <a:cubicBezTo>
                      <a:pt x="53" y="246"/>
                      <a:pt x="53" y="246"/>
                      <a:pt x="53" y="246"/>
                    </a:cubicBezTo>
                    <a:cubicBezTo>
                      <a:pt x="53" y="248"/>
                      <a:pt x="53" y="248"/>
                      <a:pt x="53" y="248"/>
                    </a:cubicBezTo>
                    <a:cubicBezTo>
                      <a:pt x="53" y="248"/>
                      <a:pt x="53" y="248"/>
                      <a:pt x="53" y="248"/>
                    </a:cubicBezTo>
                    <a:cubicBezTo>
                      <a:pt x="54" y="249"/>
                      <a:pt x="54" y="249"/>
                      <a:pt x="54" y="249"/>
                    </a:cubicBezTo>
                    <a:cubicBezTo>
                      <a:pt x="54" y="250"/>
                      <a:pt x="54" y="250"/>
                      <a:pt x="54" y="250"/>
                    </a:cubicBezTo>
                    <a:cubicBezTo>
                      <a:pt x="54" y="250"/>
                      <a:pt x="54" y="250"/>
                      <a:pt x="54" y="250"/>
                    </a:cubicBezTo>
                    <a:cubicBezTo>
                      <a:pt x="55" y="251"/>
                      <a:pt x="55" y="251"/>
                      <a:pt x="55" y="251"/>
                    </a:cubicBezTo>
                    <a:cubicBezTo>
                      <a:pt x="55" y="251"/>
                      <a:pt x="56" y="252"/>
                      <a:pt x="57" y="252"/>
                    </a:cubicBezTo>
                    <a:cubicBezTo>
                      <a:pt x="57" y="252"/>
                      <a:pt x="57" y="252"/>
                      <a:pt x="57" y="252"/>
                    </a:cubicBezTo>
                    <a:cubicBezTo>
                      <a:pt x="58" y="252"/>
                      <a:pt x="59" y="253"/>
                      <a:pt x="59" y="254"/>
                    </a:cubicBezTo>
                    <a:cubicBezTo>
                      <a:pt x="59" y="254"/>
                      <a:pt x="59" y="254"/>
                      <a:pt x="59" y="255"/>
                    </a:cubicBezTo>
                    <a:cubicBezTo>
                      <a:pt x="59" y="256"/>
                      <a:pt x="59" y="256"/>
                      <a:pt x="59" y="256"/>
                    </a:cubicBezTo>
                    <a:cubicBezTo>
                      <a:pt x="59" y="256"/>
                      <a:pt x="60" y="256"/>
                      <a:pt x="60" y="257"/>
                    </a:cubicBezTo>
                    <a:cubicBezTo>
                      <a:pt x="60" y="257"/>
                      <a:pt x="60" y="257"/>
                      <a:pt x="60" y="257"/>
                    </a:cubicBezTo>
                    <a:cubicBezTo>
                      <a:pt x="60" y="257"/>
                      <a:pt x="60" y="257"/>
                      <a:pt x="60" y="257"/>
                    </a:cubicBezTo>
                    <a:cubicBezTo>
                      <a:pt x="60" y="257"/>
                      <a:pt x="60" y="257"/>
                      <a:pt x="60" y="257"/>
                    </a:cubicBezTo>
                    <a:cubicBezTo>
                      <a:pt x="61" y="258"/>
                      <a:pt x="61" y="258"/>
                      <a:pt x="61" y="258"/>
                    </a:cubicBezTo>
                    <a:cubicBezTo>
                      <a:pt x="60" y="259"/>
                      <a:pt x="60" y="259"/>
                      <a:pt x="60" y="259"/>
                    </a:cubicBezTo>
                    <a:cubicBezTo>
                      <a:pt x="58" y="261"/>
                      <a:pt x="56" y="264"/>
                      <a:pt x="54" y="264"/>
                    </a:cubicBezTo>
                    <a:cubicBezTo>
                      <a:pt x="54" y="264"/>
                      <a:pt x="54" y="264"/>
                      <a:pt x="54" y="264"/>
                    </a:cubicBezTo>
                    <a:cubicBezTo>
                      <a:pt x="53" y="264"/>
                      <a:pt x="53" y="264"/>
                      <a:pt x="53" y="264"/>
                    </a:cubicBezTo>
                    <a:cubicBezTo>
                      <a:pt x="52" y="264"/>
                      <a:pt x="51" y="262"/>
                      <a:pt x="50" y="262"/>
                    </a:cubicBezTo>
                    <a:cubicBezTo>
                      <a:pt x="50" y="262"/>
                      <a:pt x="50" y="262"/>
                      <a:pt x="50" y="261"/>
                    </a:cubicBezTo>
                    <a:cubicBezTo>
                      <a:pt x="50" y="262"/>
                      <a:pt x="50" y="262"/>
                      <a:pt x="50" y="262"/>
                    </a:cubicBezTo>
                    <a:cubicBezTo>
                      <a:pt x="50" y="262"/>
                      <a:pt x="49" y="262"/>
                      <a:pt x="49" y="262"/>
                    </a:cubicBezTo>
                    <a:cubicBezTo>
                      <a:pt x="49" y="263"/>
                      <a:pt x="50" y="264"/>
                      <a:pt x="50" y="265"/>
                    </a:cubicBezTo>
                    <a:cubicBezTo>
                      <a:pt x="51" y="265"/>
                      <a:pt x="52" y="266"/>
                      <a:pt x="52" y="267"/>
                    </a:cubicBezTo>
                    <a:cubicBezTo>
                      <a:pt x="52" y="267"/>
                      <a:pt x="52" y="268"/>
                      <a:pt x="52" y="268"/>
                    </a:cubicBezTo>
                    <a:cubicBezTo>
                      <a:pt x="52" y="269"/>
                      <a:pt x="52" y="269"/>
                      <a:pt x="52" y="269"/>
                    </a:cubicBezTo>
                    <a:cubicBezTo>
                      <a:pt x="52" y="270"/>
                      <a:pt x="52" y="271"/>
                      <a:pt x="52" y="272"/>
                    </a:cubicBezTo>
                    <a:cubicBezTo>
                      <a:pt x="52" y="272"/>
                      <a:pt x="52" y="272"/>
                      <a:pt x="52" y="272"/>
                    </a:cubicBezTo>
                    <a:cubicBezTo>
                      <a:pt x="52" y="272"/>
                      <a:pt x="52" y="272"/>
                      <a:pt x="52" y="272"/>
                    </a:cubicBezTo>
                    <a:cubicBezTo>
                      <a:pt x="52" y="272"/>
                      <a:pt x="52" y="273"/>
                      <a:pt x="53" y="273"/>
                    </a:cubicBezTo>
                    <a:cubicBezTo>
                      <a:pt x="53" y="273"/>
                      <a:pt x="53" y="273"/>
                      <a:pt x="53" y="273"/>
                    </a:cubicBezTo>
                    <a:cubicBezTo>
                      <a:pt x="53" y="273"/>
                      <a:pt x="54" y="272"/>
                      <a:pt x="55" y="272"/>
                    </a:cubicBezTo>
                    <a:cubicBezTo>
                      <a:pt x="56" y="273"/>
                      <a:pt x="56" y="273"/>
                      <a:pt x="56" y="273"/>
                    </a:cubicBezTo>
                    <a:cubicBezTo>
                      <a:pt x="57" y="273"/>
                      <a:pt x="57" y="274"/>
                      <a:pt x="57" y="274"/>
                    </a:cubicBezTo>
                    <a:cubicBezTo>
                      <a:pt x="59" y="273"/>
                      <a:pt x="59" y="273"/>
                      <a:pt x="59" y="273"/>
                    </a:cubicBezTo>
                    <a:cubicBezTo>
                      <a:pt x="57" y="274"/>
                      <a:pt x="57" y="274"/>
                      <a:pt x="57" y="274"/>
                    </a:cubicBezTo>
                    <a:cubicBezTo>
                      <a:pt x="58" y="275"/>
                      <a:pt x="58" y="275"/>
                      <a:pt x="58" y="276"/>
                    </a:cubicBezTo>
                    <a:cubicBezTo>
                      <a:pt x="58" y="276"/>
                      <a:pt x="58" y="276"/>
                      <a:pt x="58" y="276"/>
                    </a:cubicBezTo>
                    <a:cubicBezTo>
                      <a:pt x="58" y="276"/>
                      <a:pt x="59" y="276"/>
                      <a:pt x="59" y="276"/>
                    </a:cubicBezTo>
                    <a:cubicBezTo>
                      <a:pt x="59" y="276"/>
                      <a:pt x="59" y="277"/>
                      <a:pt x="59" y="277"/>
                    </a:cubicBezTo>
                    <a:cubicBezTo>
                      <a:pt x="59" y="277"/>
                      <a:pt x="60" y="277"/>
                      <a:pt x="60" y="277"/>
                    </a:cubicBezTo>
                    <a:cubicBezTo>
                      <a:pt x="60" y="277"/>
                      <a:pt x="60" y="277"/>
                      <a:pt x="61" y="277"/>
                    </a:cubicBezTo>
                    <a:cubicBezTo>
                      <a:pt x="62" y="278"/>
                      <a:pt x="64" y="278"/>
                      <a:pt x="66" y="279"/>
                    </a:cubicBezTo>
                    <a:cubicBezTo>
                      <a:pt x="66" y="280"/>
                      <a:pt x="67" y="280"/>
                      <a:pt x="67" y="280"/>
                    </a:cubicBezTo>
                    <a:cubicBezTo>
                      <a:pt x="68" y="280"/>
                      <a:pt x="68" y="280"/>
                      <a:pt x="68" y="280"/>
                    </a:cubicBezTo>
                    <a:cubicBezTo>
                      <a:pt x="67" y="280"/>
                      <a:pt x="67" y="280"/>
                      <a:pt x="67" y="280"/>
                    </a:cubicBezTo>
                    <a:cubicBezTo>
                      <a:pt x="68" y="281"/>
                      <a:pt x="68" y="281"/>
                      <a:pt x="68" y="281"/>
                    </a:cubicBezTo>
                    <a:cubicBezTo>
                      <a:pt x="68" y="281"/>
                      <a:pt x="68" y="282"/>
                      <a:pt x="68" y="282"/>
                    </a:cubicBezTo>
                    <a:cubicBezTo>
                      <a:pt x="74" y="286"/>
                      <a:pt x="74" y="286"/>
                      <a:pt x="74" y="286"/>
                    </a:cubicBezTo>
                    <a:cubicBezTo>
                      <a:pt x="75" y="286"/>
                      <a:pt x="75" y="286"/>
                      <a:pt x="75" y="286"/>
                    </a:cubicBezTo>
                    <a:cubicBezTo>
                      <a:pt x="76" y="287"/>
                      <a:pt x="76" y="287"/>
                      <a:pt x="76" y="287"/>
                    </a:cubicBezTo>
                    <a:cubicBezTo>
                      <a:pt x="77" y="287"/>
                      <a:pt x="77" y="286"/>
                      <a:pt x="77" y="286"/>
                    </a:cubicBezTo>
                    <a:cubicBezTo>
                      <a:pt x="77" y="285"/>
                      <a:pt x="77" y="285"/>
                      <a:pt x="77" y="285"/>
                    </a:cubicBezTo>
                    <a:cubicBezTo>
                      <a:pt x="77" y="285"/>
                      <a:pt x="78" y="285"/>
                      <a:pt x="78" y="285"/>
                    </a:cubicBezTo>
                    <a:cubicBezTo>
                      <a:pt x="78" y="285"/>
                      <a:pt x="78" y="285"/>
                      <a:pt x="78" y="284"/>
                    </a:cubicBezTo>
                    <a:cubicBezTo>
                      <a:pt x="78" y="284"/>
                      <a:pt x="78" y="284"/>
                      <a:pt x="78" y="284"/>
                    </a:cubicBezTo>
                    <a:cubicBezTo>
                      <a:pt x="79" y="284"/>
                      <a:pt x="80" y="284"/>
                      <a:pt x="81" y="284"/>
                    </a:cubicBezTo>
                    <a:cubicBezTo>
                      <a:pt x="83" y="284"/>
                      <a:pt x="85" y="284"/>
                      <a:pt x="86" y="285"/>
                    </a:cubicBezTo>
                    <a:cubicBezTo>
                      <a:pt x="86" y="285"/>
                      <a:pt x="87" y="286"/>
                      <a:pt x="87" y="287"/>
                    </a:cubicBezTo>
                    <a:cubicBezTo>
                      <a:pt x="87" y="287"/>
                      <a:pt x="87" y="287"/>
                      <a:pt x="87" y="288"/>
                    </a:cubicBezTo>
                    <a:cubicBezTo>
                      <a:pt x="87" y="288"/>
                      <a:pt x="88" y="288"/>
                      <a:pt x="88" y="288"/>
                    </a:cubicBezTo>
                    <a:cubicBezTo>
                      <a:pt x="88" y="288"/>
                      <a:pt x="88" y="288"/>
                      <a:pt x="88" y="288"/>
                    </a:cubicBezTo>
                    <a:cubicBezTo>
                      <a:pt x="89" y="288"/>
                      <a:pt x="89" y="289"/>
                      <a:pt x="89" y="289"/>
                    </a:cubicBezTo>
                    <a:cubicBezTo>
                      <a:pt x="90" y="289"/>
                      <a:pt x="90" y="289"/>
                      <a:pt x="90" y="289"/>
                    </a:cubicBezTo>
                    <a:cubicBezTo>
                      <a:pt x="91" y="289"/>
                      <a:pt x="91" y="290"/>
                      <a:pt x="92" y="290"/>
                    </a:cubicBezTo>
                    <a:cubicBezTo>
                      <a:pt x="92" y="290"/>
                      <a:pt x="92" y="291"/>
                      <a:pt x="93" y="291"/>
                    </a:cubicBezTo>
                    <a:cubicBezTo>
                      <a:pt x="93" y="292"/>
                      <a:pt x="93" y="292"/>
                      <a:pt x="93" y="292"/>
                    </a:cubicBezTo>
                    <a:cubicBezTo>
                      <a:pt x="94" y="292"/>
                      <a:pt x="94" y="292"/>
                      <a:pt x="95" y="292"/>
                    </a:cubicBezTo>
                    <a:cubicBezTo>
                      <a:pt x="95" y="292"/>
                      <a:pt x="96" y="292"/>
                      <a:pt x="96" y="292"/>
                    </a:cubicBezTo>
                    <a:cubicBezTo>
                      <a:pt x="96" y="292"/>
                      <a:pt x="96" y="292"/>
                      <a:pt x="96" y="292"/>
                    </a:cubicBezTo>
                    <a:cubicBezTo>
                      <a:pt x="96" y="293"/>
                      <a:pt x="96" y="293"/>
                      <a:pt x="96" y="293"/>
                    </a:cubicBezTo>
                    <a:cubicBezTo>
                      <a:pt x="97" y="293"/>
                      <a:pt x="97" y="293"/>
                      <a:pt x="97" y="293"/>
                    </a:cubicBezTo>
                    <a:cubicBezTo>
                      <a:pt x="97" y="293"/>
                      <a:pt x="97" y="293"/>
                      <a:pt x="98" y="293"/>
                    </a:cubicBezTo>
                    <a:cubicBezTo>
                      <a:pt x="98" y="293"/>
                      <a:pt x="98" y="293"/>
                      <a:pt x="98" y="293"/>
                    </a:cubicBezTo>
                    <a:cubicBezTo>
                      <a:pt x="98" y="293"/>
                      <a:pt x="98" y="293"/>
                      <a:pt x="98" y="293"/>
                    </a:cubicBezTo>
                    <a:cubicBezTo>
                      <a:pt x="98" y="294"/>
                      <a:pt x="98" y="294"/>
                      <a:pt x="99" y="294"/>
                    </a:cubicBezTo>
                    <a:cubicBezTo>
                      <a:pt x="100" y="293"/>
                      <a:pt x="100" y="293"/>
                      <a:pt x="100" y="293"/>
                    </a:cubicBezTo>
                    <a:cubicBezTo>
                      <a:pt x="99" y="294"/>
                      <a:pt x="99" y="294"/>
                      <a:pt x="99" y="294"/>
                    </a:cubicBezTo>
                    <a:cubicBezTo>
                      <a:pt x="99" y="294"/>
                      <a:pt x="99" y="294"/>
                      <a:pt x="99" y="294"/>
                    </a:cubicBezTo>
                    <a:cubicBezTo>
                      <a:pt x="100" y="295"/>
                      <a:pt x="100" y="296"/>
                      <a:pt x="101" y="296"/>
                    </a:cubicBezTo>
                    <a:cubicBezTo>
                      <a:pt x="101" y="296"/>
                      <a:pt x="101" y="297"/>
                      <a:pt x="101" y="297"/>
                    </a:cubicBezTo>
                    <a:cubicBezTo>
                      <a:pt x="101" y="297"/>
                      <a:pt x="101" y="297"/>
                      <a:pt x="101" y="297"/>
                    </a:cubicBezTo>
                    <a:cubicBezTo>
                      <a:pt x="101" y="297"/>
                      <a:pt x="102" y="297"/>
                      <a:pt x="102" y="297"/>
                    </a:cubicBezTo>
                    <a:cubicBezTo>
                      <a:pt x="102" y="297"/>
                      <a:pt x="102" y="297"/>
                      <a:pt x="102" y="297"/>
                    </a:cubicBezTo>
                    <a:cubicBezTo>
                      <a:pt x="102" y="297"/>
                      <a:pt x="102" y="297"/>
                      <a:pt x="102" y="297"/>
                    </a:cubicBezTo>
                    <a:cubicBezTo>
                      <a:pt x="103" y="297"/>
                      <a:pt x="104" y="297"/>
                      <a:pt x="105" y="297"/>
                    </a:cubicBezTo>
                    <a:cubicBezTo>
                      <a:pt x="105" y="297"/>
                      <a:pt x="105" y="297"/>
                      <a:pt x="106" y="297"/>
                    </a:cubicBezTo>
                    <a:cubicBezTo>
                      <a:pt x="106" y="297"/>
                      <a:pt x="107" y="297"/>
                      <a:pt x="107" y="297"/>
                    </a:cubicBezTo>
                    <a:cubicBezTo>
                      <a:pt x="108" y="298"/>
                      <a:pt x="108" y="299"/>
                      <a:pt x="108" y="299"/>
                    </a:cubicBezTo>
                    <a:cubicBezTo>
                      <a:pt x="108" y="299"/>
                      <a:pt x="108" y="299"/>
                      <a:pt x="108" y="299"/>
                    </a:cubicBezTo>
                    <a:cubicBezTo>
                      <a:pt x="108" y="299"/>
                      <a:pt x="108" y="299"/>
                      <a:pt x="108" y="299"/>
                    </a:cubicBezTo>
                    <a:cubicBezTo>
                      <a:pt x="109" y="300"/>
                      <a:pt x="109" y="300"/>
                      <a:pt x="109" y="301"/>
                    </a:cubicBezTo>
                    <a:cubicBezTo>
                      <a:pt x="109" y="301"/>
                      <a:pt x="109" y="302"/>
                      <a:pt x="109" y="302"/>
                    </a:cubicBezTo>
                    <a:cubicBezTo>
                      <a:pt x="109" y="302"/>
                      <a:pt x="109" y="302"/>
                      <a:pt x="109" y="302"/>
                    </a:cubicBezTo>
                    <a:cubicBezTo>
                      <a:pt x="110" y="302"/>
                      <a:pt x="110" y="302"/>
                      <a:pt x="110" y="302"/>
                    </a:cubicBezTo>
                    <a:cubicBezTo>
                      <a:pt x="111" y="303"/>
                      <a:pt x="111" y="303"/>
                      <a:pt x="111" y="303"/>
                    </a:cubicBezTo>
                    <a:cubicBezTo>
                      <a:pt x="111" y="303"/>
                      <a:pt x="111" y="303"/>
                      <a:pt x="111" y="303"/>
                    </a:cubicBezTo>
                    <a:cubicBezTo>
                      <a:pt x="112" y="303"/>
                      <a:pt x="112" y="303"/>
                      <a:pt x="112" y="303"/>
                    </a:cubicBezTo>
                    <a:cubicBezTo>
                      <a:pt x="112" y="304"/>
                      <a:pt x="113" y="304"/>
                      <a:pt x="113" y="304"/>
                    </a:cubicBezTo>
                    <a:cubicBezTo>
                      <a:pt x="113" y="304"/>
                      <a:pt x="114" y="304"/>
                      <a:pt x="114" y="304"/>
                    </a:cubicBezTo>
                    <a:cubicBezTo>
                      <a:pt x="114" y="304"/>
                      <a:pt x="115" y="304"/>
                      <a:pt x="115" y="304"/>
                    </a:cubicBezTo>
                    <a:cubicBezTo>
                      <a:pt x="116" y="304"/>
                      <a:pt x="116" y="304"/>
                      <a:pt x="116" y="304"/>
                    </a:cubicBezTo>
                    <a:cubicBezTo>
                      <a:pt x="116" y="304"/>
                      <a:pt x="117" y="304"/>
                      <a:pt x="117" y="304"/>
                    </a:cubicBezTo>
                    <a:cubicBezTo>
                      <a:pt x="119" y="304"/>
                      <a:pt x="119" y="304"/>
                      <a:pt x="119" y="304"/>
                    </a:cubicBezTo>
                    <a:cubicBezTo>
                      <a:pt x="118" y="306"/>
                      <a:pt x="118" y="306"/>
                      <a:pt x="118" y="306"/>
                    </a:cubicBezTo>
                    <a:cubicBezTo>
                      <a:pt x="118" y="307"/>
                      <a:pt x="118" y="307"/>
                      <a:pt x="118" y="307"/>
                    </a:cubicBezTo>
                    <a:cubicBezTo>
                      <a:pt x="118" y="307"/>
                      <a:pt x="118" y="307"/>
                      <a:pt x="118" y="307"/>
                    </a:cubicBezTo>
                    <a:cubicBezTo>
                      <a:pt x="118" y="307"/>
                      <a:pt x="118" y="307"/>
                      <a:pt x="118" y="307"/>
                    </a:cubicBezTo>
                    <a:cubicBezTo>
                      <a:pt x="118" y="307"/>
                      <a:pt x="118" y="307"/>
                      <a:pt x="118" y="307"/>
                    </a:cubicBezTo>
                    <a:cubicBezTo>
                      <a:pt x="119" y="307"/>
                      <a:pt x="119" y="307"/>
                      <a:pt x="119" y="307"/>
                    </a:cubicBezTo>
                    <a:cubicBezTo>
                      <a:pt x="120" y="307"/>
                      <a:pt x="120" y="307"/>
                      <a:pt x="121" y="307"/>
                    </a:cubicBezTo>
                    <a:cubicBezTo>
                      <a:pt x="122" y="307"/>
                      <a:pt x="123" y="307"/>
                      <a:pt x="123" y="308"/>
                    </a:cubicBezTo>
                    <a:cubicBezTo>
                      <a:pt x="124" y="308"/>
                      <a:pt x="124" y="308"/>
                      <a:pt x="124" y="308"/>
                    </a:cubicBezTo>
                    <a:cubicBezTo>
                      <a:pt x="125" y="309"/>
                      <a:pt x="125" y="309"/>
                      <a:pt x="125" y="309"/>
                    </a:cubicBezTo>
                    <a:cubicBezTo>
                      <a:pt x="125" y="310"/>
                      <a:pt x="125" y="310"/>
                      <a:pt x="126" y="310"/>
                    </a:cubicBezTo>
                    <a:cubicBezTo>
                      <a:pt x="126" y="310"/>
                      <a:pt x="126" y="310"/>
                      <a:pt x="126" y="309"/>
                    </a:cubicBezTo>
                    <a:cubicBezTo>
                      <a:pt x="129" y="306"/>
                      <a:pt x="129" y="306"/>
                      <a:pt x="129" y="306"/>
                    </a:cubicBezTo>
                    <a:cubicBezTo>
                      <a:pt x="129" y="310"/>
                      <a:pt x="129" y="310"/>
                      <a:pt x="129" y="310"/>
                    </a:cubicBezTo>
                    <a:cubicBezTo>
                      <a:pt x="129" y="310"/>
                      <a:pt x="129" y="310"/>
                      <a:pt x="129" y="310"/>
                    </a:cubicBezTo>
                    <a:cubicBezTo>
                      <a:pt x="129" y="310"/>
                      <a:pt x="129" y="311"/>
                      <a:pt x="130" y="311"/>
                    </a:cubicBezTo>
                    <a:cubicBezTo>
                      <a:pt x="130" y="311"/>
                      <a:pt x="130" y="311"/>
                      <a:pt x="130" y="311"/>
                    </a:cubicBezTo>
                    <a:cubicBezTo>
                      <a:pt x="130" y="311"/>
                      <a:pt x="130" y="311"/>
                      <a:pt x="130" y="311"/>
                    </a:cubicBezTo>
                    <a:cubicBezTo>
                      <a:pt x="130" y="310"/>
                      <a:pt x="131" y="310"/>
                      <a:pt x="132" y="310"/>
                    </a:cubicBezTo>
                    <a:cubicBezTo>
                      <a:pt x="132" y="310"/>
                      <a:pt x="132" y="310"/>
                      <a:pt x="133" y="310"/>
                    </a:cubicBezTo>
                    <a:cubicBezTo>
                      <a:pt x="133" y="310"/>
                      <a:pt x="133" y="310"/>
                      <a:pt x="133" y="310"/>
                    </a:cubicBezTo>
                    <a:cubicBezTo>
                      <a:pt x="133" y="310"/>
                      <a:pt x="133" y="310"/>
                      <a:pt x="133" y="310"/>
                    </a:cubicBezTo>
                    <a:cubicBezTo>
                      <a:pt x="133" y="310"/>
                      <a:pt x="133" y="310"/>
                      <a:pt x="133" y="310"/>
                    </a:cubicBezTo>
                    <a:cubicBezTo>
                      <a:pt x="134" y="310"/>
                      <a:pt x="134" y="310"/>
                      <a:pt x="134" y="310"/>
                    </a:cubicBezTo>
                    <a:cubicBezTo>
                      <a:pt x="135" y="311"/>
                      <a:pt x="136" y="311"/>
                      <a:pt x="137" y="311"/>
                    </a:cubicBezTo>
                    <a:cubicBezTo>
                      <a:pt x="138" y="312"/>
                      <a:pt x="139" y="312"/>
                      <a:pt x="140" y="312"/>
                    </a:cubicBezTo>
                    <a:cubicBezTo>
                      <a:pt x="141" y="312"/>
                      <a:pt x="142" y="312"/>
                      <a:pt x="144" y="312"/>
                    </a:cubicBezTo>
                    <a:cubicBezTo>
                      <a:pt x="145" y="312"/>
                      <a:pt x="146" y="312"/>
                      <a:pt x="147" y="312"/>
                    </a:cubicBezTo>
                    <a:cubicBezTo>
                      <a:pt x="147" y="312"/>
                      <a:pt x="147" y="312"/>
                      <a:pt x="147" y="312"/>
                    </a:cubicBezTo>
                    <a:cubicBezTo>
                      <a:pt x="148" y="311"/>
                      <a:pt x="148" y="311"/>
                      <a:pt x="148" y="311"/>
                    </a:cubicBezTo>
                    <a:cubicBezTo>
                      <a:pt x="149" y="311"/>
                      <a:pt x="150" y="310"/>
                      <a:pt x="151" y="310"/>
                    </a:cubicBezTo>
                    <a:cubicBezTo>
                      <a:pt x="151" y="310"/>
                      <a:pt x="151" y="310"/>
                      <a:pt x="151" y="310"/>
                    </a:cubicBezTo>
                    <a:cubicBezTo>
                      <a:pt x="151" y="310"/>
                      <a:pt x="151" y="310"/>
                      <a:pt x="151" y="310"/>
                    </a:cubicBezTo>
                    <a:cubicBezTo>
                      <a:pt x="152" y="309"/>
                      <a:pt x="153" y="309"/>
                      <a:pt x="153" y="310"/>
                    </a:cubicBezTo>
                    <a:cubicBezTo>
                      <a:pt x="154" y="310"/>
                      <a:pt x="155" y="310"/>
                      <a:pt x="155" y="311"/>
                    </a:cubicBezTo>
                    <a:cubicBezTo>
                      <a:pt x="155" y="311"/>
                      <a:pt x="155" y="311"/>
                      <a:pt x="155" y="311"/>
                    </a:cubicBezTo>
                    <a:cubicBezTo>
                      <a:pt x="156" y="311"/>
                      <a:pt x="156" y="311"/>
                      <a:pt x="156" y="311"/>
                    </a:cubicBezTo>
                    <a:cubicBezTo>
                      <a:pt x="156" y="312"/>
                      <a:pt x="156" y="312"/>
                      <a:pt x="156" y="312"/>
                    </a:cubicBezTo>
                    <a:cubicBezTo>
                      <a:pt x="156" y="312"/>
                      <a:pt x="156" y="312"/>
                      <a:pt x="156" y="312"/>
                    </a:cubicBezTo>
                    <a:cubicBezTo>
                      <a:pt x="156" y="313"/>
                      <a:pt x="156" y="313"/>
                      <a:pt x="156" y="313"/>
                    </a:cubicBezTo>
                    <a:cubicBezTo>
                      <a:pt x="156" y="313"/>
                      <a:pt x="156" y="313"/>
                      <a:pt x="156" y="313"/>
                    </a:cubicBezTo>
                    <a:cubicBezTo>
                      <a:pt x="156" y="314"/>
                      <a:pt x="156" y="314"/>
                      <a:pt x="156" y="314"/>
                    </a:cubicBezTo>
                    <a:cubicBezTo>
                      <a:pt x="156" y="314"/>
                      <a:pt x="156" y="314"/>
                      <a:pt x="156" y="315"/>
                    </a:cubicBezTo>
                    <a:cubicBezTo>
                      <a:pt x="156" y="315"/>
                      <a:pt x="156" y="315"/>
                      <a:pt x="156" y="315"/>
                    </a:cubicBezTo>
                    <a:cubicBezTo>
                      <a:pt x="155" y="316"/>
                      <a:pt x="155" y="316"/>
                      <a:pt x="155" y="316"/>
                    </a:cubicBezTo>
                    <a:cubicBezTo>
                      <a:pt x="155" y="316"/>
                      <a:pt x="155" y="316"/>
                      <a:pt x="155" y="316"/>
                    </a:cubicBezTo>
                    <a:cubicBezTo>
                      <a:pt x="155" y="316"/>
                      <a:pt x="155" y="317"/>
                      <a:pt x="155" y="317"/>
                    </a:cubicBezTo>
                    <a:cubicBezTo>
                      <a:pt x="155" y="316"/>
                      <a:pt x="155" y="316"/>
                      <a:pt x="156" y="316"/>
                    </a:cubicBezTo>
                    <a:cubicBezTo>
                      <a:pt x="156" y="315"/>
                      <a:pt x="156" y="315"/>
                      <a:pt x="157" y="314"/>
                    </a:cubicBezTo>
                    <a:cubicBezTo>
                      <a:pt x="157" y="313"/>
                      <a:pt x="158" y="312"/>
                      <a:pt x="159" y="311"/>
                    </a:cubicBezTo>
                    <a:cubicBezTo>
                      <a:pt x="160" y="311"/>
                      <a:pt x="160" y="311"/>
                      <a:pt x="160" y="310"/>
                    </a:cubicBezTo>
                    <a:cubicBezTo>
                      <a:pt x="161" y="309"/>
                      <a:pt x="163" y="308"/>
                      <a:pt x="166" y="307"/>
                    </a:cubicBezTo>
                    <a:cubicBezTo>
                      <a:pt x="167" y="307"/>
                      <a:pt x="167" y="307"/>
                      <a:pt x="167" y="307"/>
                    </a:cubicBezTo>
                    <a:cubicBezTo>
                      <a:pt x="168" y="307"/>
                      <a:pt x="168" y="307"/>
                      <a:pt x="168" y="307"/>
                    </a:cubicBezTo>
                    <a:cubicBezTo>
                      <a:pt x="168" y="307"/>
                      <a:pt x="168" y="307"/>
                      <a:pt x="168" y="307"/>
                    </a:cubicBezTo>
                    <a:cubicBezTo>
                      <a:pt x="168" y="307"/>
                      <a:pt x="168" y="307"/>
                      <a:pt x="168" y="307"/>
                    </a:cubicBezTo>
                    <a:cubicBezTo>
                      <a:pt x="169" y="307"/>
                      <a:pt x="170" y="308"/>
                      <a:pt x="171" y="308"/>
                    </a:cubicBezTo>
                    <a:cubicBezTo>
                      <a:pt x="171" y="308"/>
                      <a:pt x="171" y="308"/>
                      <a:pt x="171" y="308"/>
                    </a:cubicBezTo>
                    <a:cubicBezTo>
                      <a:pt x="171" y="309"/>
                      <a:pt x="171" y="309"/>
                      <a:pt x="171" y="309"/>
                    </a:cubicBezTo>
                    <a:cubicBezTo>
                      <a:pt x="171" y="309"/>
                      <a:pt x="171" y="309"/>
                      <a:pt x="172" y="310"/>
                    </a:cubicBezTo>
                    <a:cubicBezTo>
                      <a:pt x="172" y="310"/>
                      <a:pt x="172" y="310"/>
                      <a:pt x="172" y="310"/>
                    </a:cubicBezTo>
                    <a:cubicBezTo>
                      <a:pt x="172" y="310"/>
                      <a:pt x="172" y="310"/>
                      <a:pt x="172" y="310"/>
                    </a:cubicBezTo>
                    <a:cubicBezTo>
                      <a:pt x="173" y="310"/>
                      <a:pt x="174" y="310"/>
                      <a:pt x="175" y="310"/>
                    </a:cubicBezTo>
                    <a:cubicBezTo>
                      <a:pt x="175" y="310"/>
                      <a:pt x="175" y="310"/>
                      <a:pt x="175" y="310"/>
                    </a:cubicBezTo>
                    <a:cubicBezTo>
                      <a:pt x="175" y="310"/>
                      <a:pt x="175" y="310"/>
                      <a:pt x="175" y="310"/>
                    </a:cubicBezTo>
                    <a:cubicBezTo>
                      <a:pt x="176" y="310"/>
                      <a:pt x="176" y="310"/>
                      <a:pt x="176" y="310"/>
                    </a:cubicBezTo>
                    <a:cubicBezTo>
                      <a:pt x="176" y="310"/>
                      <a:pt x="176" y="310"/>
                      <a:pt x="176" y="311"/>
                    </a:cubicBezTo>
                    <a:cubicBezTo>
                      <a:pt x="176" y="311"/>
                      <a:pt x="176" y="311"/>
                      <a:pt x="176" y="311"/>
                    </a:cubicBezTo>
                    <a:cubicBezTo>
                      <a:pt x="177" y="311"/>
                      <a:pt x="177" y="311"/>
                      <a:pt x="177" y="311"/>
                    </a:cubicBezTo>
                    <a:cubicBezTo>
                      <a:pt x="177" y="310"/>
                      <a:pt x="178" y="310"/>
                      <a:pt x="179" y="310"/>
                    </a:cubicBezTo>
                    <a:cubicBezTo>
                      <a:pt x="180" y="310"/>
                      <a:pt x="181" y="310"/>
                      <a:pt x="182" y="310"/>
                    </a:cubicBezTo>
                    <a:cubicBezTo>
                      <a:pt x="182" y="311"/>
                      <a:pt x="183" y="311"/>
                      <a:pt x="184" y="311"/>
                    </a:cubicBezTo>
                    <a:cubicBezTo>
                      <a:pt x="184" y="311"/>
                      <a:pt x="184" y="312"/>
                      <a:pt x="184" y="312"/>
                    </a:cubicBezTo>
                    <a:cubicBezTo>
                      <a:pt x="184" y="312"/>
                      <a:pt x="184" y="312"/>
                      <a:pt x="184" y="312"/>
                    </a:cubicBezTo>
                    <a:cubicBezTo>
                      <a:pt x="184" y="313"/>
                      <a:pt x="185" y="313"/>
                      <a:pt x="185" y="313"/>
                    </a:cubicBezTo>
                    <a:cubicBezTo>
                      <a:pt x="185" y="313"/>
                      <a:pt x="185" y="313"/>
                      <a:pt x="185" y="313"/>
                    </a:cubicBezTo>
                    <a:cubicBezTo>
                      <a:pt x="185" y="313"/>
                      <a:pt x="185" y="313"/>
                      <a:pt x="185" y="313"/>
                    </a:cubicBezTo>
                    <a:cubicBezTo>
                      <a:pt x="185" y="313"/>
                      <a:pt x="186" y="313"/>
                      <a:pt x="186" y="313"/>
                    </a:cubicBezTo>
                    <a:cubicBezTo>
                      <a:pt x="191" y="312"/>
                      <a:pt x="191" y="312"/>
                      <a:pt x="191" y="312"/>
                    </a:cubicBezTo>
                    <a:cubicBezTo>
                      <a:pt x="191" y="312"/>
                      <a:pt x="191" y="312"/>
                      <a:pt x="191" y="312"/>
                    </a:cubicBezTo>
                    <a:cubicBezTo>
                      <a:pt x="192" y="312"/>
                      <a:pt x="192" y="312"/>
                      <a:pt x="193" y="311"/>
                    </a:cubicBezTo>
                    <a:cubicBezTo>
                      <a:pt x="193" y="311"/>
                      <a:pt x="193" y="311"/>
                      <a:pt x="193" y="311"/>
                    </a:cubicBezTo>
                    <a:cubicBezTo>
                      <a:pt x="192" y="310"/>
                      <a:pt x="193" y="310"/>
                      <a:pt x="193" y="310"/>
                    </a:cubicBezTo>
                    <a:cubicBezTo>
                      <a:pt x="193" y="309"/>
                      <a:pt x="193" y="309"/>
                      <a:pt x="194" y="309"/>
                    </a:cubicBezTo>
                    <a:cubicBezTo>
                      <a:pt x="194" y="308"/>
                      <a:pt x="195" y="308"/>
                      <a:pt x="195" y="308"/>
                    </a:cubicBezTo>
                    <a:cubicBezTo>
                      <a:pt x="196" y="308"/>
                      <a:pt x="196" y="308"/>
                      <a:pt x="196" y="308"/>
                    </a:cubicBezTo>
                    <a:cubicBezTo>
                      <a:pt x="196" y="307"/>
                      <a:pt x="196" y="307"/>
                      <a:pt x="196" y="307"/>
                    </a:cubicBezTo>
                    <a:cubicBezTo>
                      <a:pt x="195" y="306"/>
                      <a:pt x="195" y="306"/>
                      <a:pt x="195" y="306"/>
                    </a:cubicBezTo>
                    <a:cubicBezTo>
                      <a:pt x="197" y="307"/>
                      <a:pt x="197" y="307"/>
                      <a:pt x="197" y="307"/>
                    </a:cubicBezTo>
                    <a:cubicBezTo>
                      <a:pt x="197" y="307"/>
                      <a:pt x="197" y="307"/>
                      <a:pt x="197" y="307"/>
                    </a:cubicBezTo>
                    <a:cubicBezTo>
                      <a:pt x="197" y="307"/>
                      <a:pt x="197" y="307"/>
                      <a:pt x="197" y="306"/>
                    </a:cubicBezTo>
                    <a:cubicBezTo>
                      <a:pt x="197" y="306"/>
                      <a:pt x="197" y="306"/>
                      <a:pt x="197" y="306"/>
                    </a:cubicBezTo>
                    <a:cubicBezTo>
                      <a:pt x="198" y="305"/>
                      <a:pt x="198" y="304"/>
                      <a:pt x="199" y="304"/>
                    </a:cubicBezTo>
                    <a:cubicBezTo>
                      <a:pt x="199" y="303"/>
                      <a:pt x="200" y="303"/>
                      <a:pt x="200" y="303"/>
                    </a:cubicBezTo>
                    <a:cubicBezTo>
                      <a:pt x="201" y="303"/>
                      <a:pt x="201" y="303"/>
                      <a:pt x="201" y="303"/>
                    </a:cubicBezTo>
                    <a:cubicBezTo>
                      <a:pt x="202" y="303"/>
                      <a:pt x="203" y="303"/>
                      <a:pt x="204" y="302"/>
                    </a:cubicBezTo>
                    <a:cubicBezTo>
                      <a:pt x="205" y="302"/>
                      <a:pt x="205" y="302"/>
                      <a:pt x="205" y="302"/>
                    </a:cubicBezTo>
                    <a:cubicBezTo>
                      <a:pt x="206" y="302"/>
                      <a:pt x="207" y="301"/>
                      <a:pt x="207" y="300"/>
                    </a:cubicBezTo>
                    <a:cubicBezTo>
                      <a:pt x="207" y="300"/>
                      <a:pt x="207" y="300"/>
                      <a:pt x="207" y="300"/>
                    </a:cubicBezTo>
                    <a:cubicBezTo>
                      <a:pt x="208" y="300"/>
                      <a:pt x="208" y="300"/>
                      <a:pt x="208" y="300"/>
                    </a:cubicBezTo>
                    <a:cubicBezTo>
                      <a:pt x="208" y="300"/>
                      <a:pt x="208" y="300"/>
                      <a:pt x="208" y="300"/>
                    </a:cubicBezTo>
                    <a:cubicBezTo>
                      <a:pt x="209" y="299"/>
                      <a:pt x="210" y="298"/>
                      <a:pt x="211" y="298"/>
                    </a:cubicBezTo>
                    <a:cubicBezTo>
                      <a:pt x="211" y="297"/>
                      <a:pt x="211" y="297"/>
                      <a:pt x="212" y="297"/>
                    </a:cubicBezTo>
                    <a:cubicBezTo>
                      <a:pt x="212" y="297"/>
                      <a:pt x="212" y="296"/>
                      <a:pt x="213" y="296"/>
                    </a:cubicBezTo>
                    <a:cubicBezTo>
                      <a:pt x="213" y="296"/>
                      <a:pt x="214" y="296"/>
                      <a:pt x="215" y="296"/>
                    </a:cubicBezTo>
                    <a:cubicBezTo>
                      <a:pt x="215" y="296"/>
                      <a:pt x="215" y="296"/>
                      <a:pt x="215" y="296"/>
                    </a:cubicBezTo>
                    <a:cubicBezTo>
                      <a:pt x="215" y="296"/>
                      <a:pt x="215" y="297"/>
                      <a:pt x="215" y="297"/>
                    </a:cubicBezTo>
                    <a:cubicBezTo>
                      <a:pt x="216" y="297"/>
                      <a:pt x="216" y="297"/>
                      <a:pt x="216" y="297"/>
                    </a:cubicBezTo>
                    <a:cubicBezTo>
                      <a:pt x="216" y="297"/>
                      <a:pt x="216" y="297"/>
                      <a:pt x="216" y="297"/>
                    </a:cubicBezTo>
                    <a:cubicBezTo>
                      <a:pt x="216" y="297"/>
                      <a:pt x="216" y="297"/>
                      <a:pt x="216" y="298"/>
                    </a:cubicBezTo>
                    <a:cubicBezTo>
                      <a:pt x="216" y="298"/>
                      <a:pt x="217" y="298"/>
                      <a:pt x="217" y="298"/>
                    </a:cubicBezTo>
                    <a:cubicBezTo>
                      <a:pt x="217" y="298"/>
                      <a:pt x="217" y="298"/>
                      <a:pt x="217" y="298"/>
                    </a:cubicBezTo>
                    <a:cubicBezTo>
                      <a:pt x="217" y="298"/>
                      <a:pt x="218" y="298"/>
                      <a:pt x="218" y="298"/>
                    </a:cubicBezTo>
                    <a:cubicBezTo>
                      <a:pt x="218" y="298"/>
                      <a:pt x="218" y="298"/>
                      <a:pt x="218" y="298"/>
                    </a:cubicBezTo>
                    <a:cubicBezTo>
                      <a:pt x="219" y="298"/>
                      <a:pt x="219" y="298"/>
                      <a:pt x="220" y="298"/>
                    </a:cubicBezTo>
                    <a:cubicBezTo>
                      <a:pt x="220" y="299"/>
                      <a:pt x="220" y="299"/>
                      <a:pt x="221" y="299"/>
                    </a:cubicBezTo>
                    <a:cubicBezTo>
                      <a:pt x="221" y="299"/>
                      <a:pt x="221" y="299"/>
                      <a:pt x="221" y="299"/>
                    </a:cubicBezTo>
                    <a:cubicBezTo>
                      <a:pt x="221" y="299"/>
                      <a:pt x="222" y="298"/>
                      <a:pt x="222" y="298"/>
                    </a:cubicBezTo>
                    <a:cubicBezTo>
                      <a:pt x="226" y="295"/>
                      <a:pt x="227" y="294"/>
                      <a:pt x="229" y="295"/>
                    </a:cubicBezTo>
                    <a:cubicBezTo>
                      <a:pt x="229" y="295"/>
                      <a:pt x="230" y="295"/>
                      <a:pt x="230" y="296"/>
                    </a:cubicBezTo>
                    <a:cubicBezTo>
                      <a:pt x="230" y="296"/>
                      <a:pt x="230" y="296"/>
                      <a:pt x="230" y="296"/>
                    </a:cubicBezTo>
                    <a:cubicBezTo>
                      <a:pt x="230" y="296"/>
                      <a:pt x="230" y="296"/>
                      <a:pt x="231" y="296"/>
                    </a:cubicBezTo>
                    <a:cubicBezTo>
                      <a:pt x="231" y="296"/>
                      <a:pt x="231" y="296"/>
                      <a:pt x="231" y="296"/>
                    </a:cubicBezTo>
                    <a:cubicBezTo>
                      <a:pt x="231" y="296"/>
                      <a:pt x="232" y="297"/>
                      <a:pt x="233" y="298"/>
                    </a:cubicBezTo>
                    <a:cubicBezTo>
                      <a:pt x="233" y="298"/>
                      <a:pt x="233" y="298"/>
                      <a:pt x="233" y="298"/>
                    </a:cubicBezTo>
                    <a:cubicBezTo>
                      <a:pt x="233" y="298"/>
                      <a:pt x="233" y="298"/>
                      <a:pt x="233" y="298"/>
                    </a:cubicBezTo>
                    <a:cubicBezTo>
                      <a:pt x="233" y="298"/>
                      <a:pt x="232" y="298"/>
                      <a:pt x="232" y="299"/>
                    </a:cubicBezTo>
                    <a:cubicBezTo>
                      <a:pt x="232" y="299"/>
                      <a:pt x="232" y="299"/>
                      <a:pt x="232" y="299"/>
                    </a:cubicBezTo>
                    <a:cubicBezTo>
                      <a:pt x="236" y="297"/>
                      <a:pt x="236" y="297"/>
                      <a:pt x="236" y="297"/>
                    </a:cubicBezTo>
                    <a:cubicBezTo>
                      <a:pt x="234" y="301"/>
                      <a:pt x="234" y="301"/>
                      <a:pt x="234" y="301"/>
                    </a:cubicBezTo>
                    <a:cubicBezTo>
                      <a:pt x="234" y="301"/>
                      <a:pt x="234" y="301"/>
                      <a:pt x="234" y="301"/>
                    </a:cubicBezTo>
                    <a:cubicBezTo>
                      <a:pt x="234" y="301"/>
                      <a:pt x="234" y="301"/>
                      <a:pt x="234" y="301"/>
                    </a:cubicBezTo>
                    <a:cubicBezTo>
                      <a:pt x="234" y="301"/>
                      <a:pt x="234" y="301"/>
                      <a:pt x="234" y="301"/>
                    </a:cubicBezTo>
                    <a:cubicBezTo>
                      <a:pt x="234" y="302"/>
                      <a:pt x="235" y="302"/>
                      <a:pt x="235" y="303"/>
                    </a:cubicBezTo>
                    <a:cubicBezTo>
                      <a:pt x="235" y="304"/>
                      <a:pt x="235" y="305"/>
                      <a:pt x="234" y="305"/>
                    </a:cubicBezTo>
                    <a:cubicBezTo>
                      <a:pt x="234" y="305"/>
                      <a:pt x="234" y="305"/>
                      <a:pt x="234" y="305"/>
                    </a:cubicBezTo>
                    <a:cubicBezTo>
                      <a:pt x="233" y="305"/>
                      <a:pt x="233" y="305"/>
                      <a:pt x="233" y="305"/>
                    </a:cubicBezTo>
                    <a:cubicBezTo>
                      <a:pt x="233" y="305"/>
                      <a:pt x="233" y="306"/>
                      <a:pt x="233" y="306"/>
                    </a:cubicBezTo>
                    <a:cubicBezTo>
                      <a:pt x="233" y="306"/>
                      <a:pt x="233" y="306"/>
                      <a:pt x="233" y="306"/>
                    </a:cubicBezTo>
                    <a:cubicBezTo>
                      <a:pt x="234" y="306"/>
                      <a:pt x="234" y="306"/>
                      <a:pt x="234" y="306"/>
                    </a:cubicBezTo>
                    <a:cubicBezTo>
                      <a:pt x="235" y="306"/>
                      <a:pt x="235" y="306"/>
                      <a:pt x="235" y="306"/>
                    </a:cubicBezTo>
                    <a:cubicBezTo>
                      <a:pt x="236" y="306"/>
                      <a:pt x="236" y="306"/>
                      <a:pt x="237" y="306"/>
                    </a:cubicBezTo>
                    <a:cubicBezTo>
                      <a:pt x="238" y="306"/>
                      <a:pt x="238" y="306"/>
                      <a:pt x="238" y="306"/>
                    </a:cubicBezTo>
                    <a:cubicBezTo>
                      <a:pt x="238" y="306"/>
                      <a:pt x="238" y="306"/>
                      <a:pt x="239" y="307"/>
                    </a:cubicBezTo>
                    <a:cubicBezTo>
                      <a:pt x="239" y="307"/>
                      <a:pt x="239" y="307"/>
                      <a:pt x="239" y="307"/>
                    </a:cubicBezTo>
                    <a:cubicBezTo>
                      <a:pt x="240" y="307"/>
                      <a:pt x="240" y="307"/>
                      <a:pt x="241" y="308"/>
                    </a:cubicBezTo>
                    <a:cubicBezTo>
                      <a:pt x="241" y="308"/>
                      <a:pt x="241" y="308"/>
                      <a:pt x="241" y="308"/>
                    </a:cubicBezTo>
                    <a:cubicBezTo>
                      <a:pt x="241" y="307"/>
                      <a:pt x="242" y="306"/>
                      <a:pt x="242" y="306"/>
                    </a:cubicBezTo>
                    <a:cubicBezTo>
                      <a:pt x="243" y="305"/>
                      <a:pt x="243" y="305"/>
                      <a:pt x="244" y="305"/>
                    </a:cubicBezTo>
                    <a:cubicBezTo>
                      <a:pt x="245" y="304"/>
                      <a:pt x="245" y="305"/>
                      <a:pt x="246" y="305"/>
                    </a:cubicBezTo>
                    <a:cubicBezTo>
                      <a:pt x="246" y="305"/>
                      <a:pt x="246" y="305"/>
                      <a:pt x="246" y="305"/>
                    </a:cubicBezTo>
                    <a:cubicBezTo>
                      <a:pt x="246" y="306"/>
                      <a:pt x="246" y="306"/>
                      <a:pt x="246" y="306"/>
                    </a:cubicBezTo>
                    <a:cubicBezTo>
                      <a:pt x="246" y="306"/>
                      <a:pt x="246" y="306"/>
                      <a:pt x="247" y="306"/>
                    </a:cubicBezTo>
                    <a:cubicBezTo>
                      <a:pt x="247" y="306"/>
                      <a:pt x="247" y="306"/>
                      <a:pt x="248" y="307"/>
                    </a:cubicBezTo>
                    <a:cubicBezTo>
                      <a:pt x="248" y="307"/>
                      <a:pt x="248" y="307"/>
                      <a:pt x="249" y="307"/>
                    </a:cubicBezTo>
                    <a:cubicBezTo>
                      <a:pt x="249" y="308"/>
                      <a:pt x="249" y="308"/>
                      <a:pt x="249" y="308"/>
                    </a:cubicBezTo>
                    <a:cubicBezTo>
                      <a:pt x="249" y="308"/>
                      <a:pt x="249" y="308"/>
                      <a:pt x="249" y="308"/>
                    </a:cubicBezTo>
                    <a:cubicBezTo>
                      <a:pt x="251" y="310"/>
                      <a:pt x="251" y="311"/>
                      <a:pt x="251" y="312"/>
                    </a:cubicBezTo>
                    <a:cubicBezTo>
                      <a:pt x="251" y="313"/>
                      <a:pt x="251" y="314"/>
                      <a:pt x="252" y="314"/>
                    </a:cubicBezTo>
                    <a:cubicBezTo>
                      <a:pt x="252" y="314"/>
                      <a:pt x="252" y="314"/>
                      <a:pt x="252" y="314"/>
                    </a:cubicBezTo>
                    <a:cubicBezTo>
                      <a:pt x="252" y="314"/>
                      <a:pt x="252" y="314"/>
                      <a:pt x="253" y="314"/>
                    </a:cubicBezTo>
                    <a:cubicBezTo>
                      <a:pt x="253" y="314"/>
                      <a:pt x="254" y="314"/>
                      <a:pt x="254" y="314"/>
                    </a:cubicBezTo>
                    <a:cubicBezTo>
                      <a:pt x="254" y="314"/>
                      <a:pt x="254" y="314"/>
                      <a:pt x="254" y="314"/>
                    </a:cubicBezTo>
                    <a:cubicBezTo>
                      <a:pt x="254" y="314"/>
                      <a:pt x="254" y="314"/>
                      <a:pt x="254" y="314"/>
                    </a:cubicBezTo>
                    <a:cubicBezTo>
                      <a:pt x="256" y="315"/>
                      <a:pt x="256" y="315"/>
                      <a:pt x="256" y="315"/>
                    </a:cubicBezTo>
                    <a:cubicBezTo>
                      <a:pt x="256" y="316"/>
                      <a:pt x="256" y="316"/>
                      <a:pt x="256" y="316"/>
                    </a:cubicBezTo>
                    <a:cubicBezTo>
                      <a:pt x="256" y="317"/>
                      <a:pt x="256" y="317"/>
                      <a:pt x="256" y="317"/>
                    </a:cubicBezTo>
                    <a:cubicBezTo>
                      <a:pt x="257" y="318"/>
                      <a:pt x="257" y="320"/>
                      <a:pt x="257" y="322"/>
                    </a:cubicBezTo>
                    <a:cubicBezTo>
                      <a:pt x="257" y="323"/>
                      <a:pt x="257" y="323"/>
                      <a:pt x="257" y="323"/>
                    </a:cubicBezTo>
                    <a:cubicBezTo>
                      <a:pt x="257" y="323"/>
                      <a:pt x="257" y="323"/>
                      <a:pt x="257" y="324"/>
                    </a:cubicBezTo>
                    <a:cubicBezTo>
                      <a:pt x="257" y="324"/>
                      <a:pt x="257" y="324"/>
                      <a:pt x="257" y="324"/>
                    </a:cubicBezTo>
                    <a:cubicBezTo>
                      <a:pt x="257" y="326"/>
                      <a:pt x="257" y="327"/>
                      <a:pt x="257" y="328"/>
                    </a:cubicBezTo>
                    <a:cubicBezTo>
                      <a:pt x="257" y="329"/>
                      <a:pt x="257" y="329"/>
                      <a:pt x="257" y="330"/>
                    </a:cubicBezTo>
                    <a:cubicBezTo>
                      <a:pt x="256" y="330"/>
                      <a:pt x="256" y="330"/>
                      <a:pt x="256" y="331"/>
                    </a:cubicBezTo>
                    <a:cubicBezTo>
                      <a:pt x="256" y="331"/>
                      <a:pt x="256" y="332"/>
                      <a:pt x="255" y="332"/>
                    </a:cubicBezTo>
                    <a:cubicBezTo>
                      <a:pt x="255" y="333"/>
                      <a:pt x="255" y="333"/>
                      <a:pt x="255" y="333"/>
                    </a:cubicBezTo>
                    <a:cubicBezTo>
                      <a:pt x="255" y="333"/>
                      <a:pt x="255" y="333"/>
                      <a:pt x="255" y="333"/>
                    </a:cubicBezTo>
                    <a:cubicBezTo>
                      <a:pt x="256" y="334"/>
                      <a:pt x="256" y="334"/>
                      <a:pt x="256" y="334"/>
                    </a:cubicBezTo>
                    <a:cubicBezTo>
                      <a:pt x="256" y="334"/>
                      <a:pt x="256" y="335"/>
                      <a:pt x="256" y="336"/>
                    </a:cubicBezTo>
                    <a:cubicBezTo>
                      <a:pt x="256" y="337"/>
                      <a:pt x="256" y="337"/>
                      <a:pt x="256" y="337"/>
                    </a:cubicBezTo>
                    <a:cubicBezTo>
                      <a:pt x="256" y="337"/>
                      <a:pt x="255" y="337"/>
                      <a:pt x="255" y="337"/>
                    </a:cubicBezTo>
                    <a:cubicBezTo>
                      <a:pt x="255" y="337"/>
                      <a:pt x="255" y="338"/>
                      <a:pt x="254" y="338"/>
                    </a:cubicBezTo>
                    <a:cubicBezTo>
                      <a:pt x="254" y="339"/>
                      <a:pt x="253" y="339"/>
                      <a:pt x="252" y="340"/>
                    </a:cubicBezTo>
                    <a:cubicBezTo>
                      <a:pt x="251" y="340"/>
                      <a:pt x="251" y="340"/>
                      <a:pt x="250" y="340"/>
                    </a:cubicBezTo>
                    <a:cubicBezTo>
                      <a:pt x="250" y="340"/>
                      <a:pt x="250" y="340"/>
                      <a:pt x="250" y="340"/>
                    </a:cubicBezTo>
                    <a:cubicBezTo>
                      <a:pt x="250" y="340"/>
                      <a:pt x="250" y="341"/>
                      <a:pt x="250" y="341"/>
                    </a:cubicBezTo>
                    <a:cubicBezTo>
                      <a:pt x="250" y="342"/>
                      <a:pt x="249" y="342"/>
                      <a:pt x="248" y="342"/>
                    </a:cubicBezTo>
                    <a:cubicBezTo>
                      <a:pt x="248" y="343"/>
                      <a:pt x="248" y="343"/>
                      <a:pt x="248" y="343"/>
                    </a:cubicBezTo>
                    <a:cubicBezTo>
                      <a:pt x="247" y="343"/>
                      <a:pt x="247" y="343"/>
                      <a:pt x="247" y="344"/>
                    </a:cubicBezTo>
                    <a:cubicBezTo>
                      <a:pt x="247" y="344"/>
                      <a:pt x="247" y="345"/>
                      <a:pt x="247" y="345"/>
                    </a:cubicBezTo>
                    <a:cubicBezTo>
                      <a:pt x="247" y="345"/>
                      <a:pt x="247" y="345"/>
                      <a:pt x="247" y="345"/>
                    </a:cubicBezTo>
                    <a:cubicBezTo>
                      <a:pt x="248" y="345"/>
                      <a:pt x="248" y="345"/>
                      <a:pt x="248" y="345"/>
                    </a:cubicBezTo>
                    <a:cubicBezTo>
                      <a:pt x="247" y="347"/>
                      <a:pt x="247" y="347"/>
                      <a:pt x="247" y="347"/>
                    </a:cubicBezTo>
                    <a:cubicBezTo>
                      <a:pt x="247" y="347"/>
                      <a:pt x="246" y="348"/>
                      <a:pt x="246" y="348"/>
                    </a:cubicBezTo>
                    <a:cubicBezTo>
                      <a:pt x="245" y="348"/>
                      <a:pt x="245" y="348"/>
                      <a:pt x="245" y="348"/>
                    </a:cubicBezTo>
                    <a:cubicBezTo>
                      <a:pt x="245" y="348"/>
                      <a:pt x="245" y="348"/>
                      <a:pt x="245" y="348"/>
                    </a:cubicBezTo>
                    <a:cubicBezTo>
                      <a:pt x="244" y="348"/>
                      <a:pt x="244" y="348"/>
                      <a:pt x="244" y="349"/>
                    </a:cubicBezTo>
                    <a:cubicBezTo>
                      <a:pt x="244" y="350"/>
                      <a:pt x="244" y="350"/>
                      <a:pt x="244" y="350"/>
                    </a:cubicBezTo>
                    <a:cubicBezTo>
                      <a:pt x="245" y="350"/>
                      <a:pt x="246" y="350"/>
                      <a:pt x="246" y="351"/>
                    </a:cubicBezTo>
                    <a:cubicBezTo>
                      <a:pt x="246" y="352"/>
                      <a:pt x="246" y="353"/>
                      <a:pt x="246" y="354"/>
                    </a:cubicBezTo>
                    <a:cubicBezTo>
                      <a:pt x="246" y="354"/>
                      <a:pt x="246" y="354"/>
                      <a:pt x="246" y="354"/>
                    </a:cubicBezTo>
                    <a:cubicBezTo>
                      <a:pt x="246" y="354"/>
                      <a:pt x="246" y="355"/>
                      <a:pt x="245" y="355"/>
                    </a:cubicBezTo>
                    <a:cubicBezTo>
                      <a:pt x="245" y="355"/>
                      <a:pt x="245" y="355"/>
                      <a:pt x="245" y="355"/>
                    </a:cubicBezTo>
                    <a:cubicBezTo>
                      <a:pt x="246" y="355"/>
                      <a:pt x="247" y="355"/>
                      <a:pt x="247" y="354"/>
                    </a:cubicBezTo>
                    <a:cubicBezTo>
                      <a:pt x="247" y="354"/>
                      <a:pt x="247" y="354"/>
                      <a:pt x="247" y="354"/>
                    </a:cubicBezTo>
                    <a:cubicBezTo>
                      <a:pt x="248" y="354"/>
                      <a:pt x="248" y="354"/>
                      <a:pt x="249" y="353"/>
                    </a:cubicBezTo>
                    <a:cubicBezTo>
                      <a:pt x="249" y="353"/>
                      <a:pt x="249" y="353"/>
                      <a:pt x="249" y="353"/>
                    </a:cubicBezTo>
                    <a:cubicBezTo>
                      <a:pt x="249" y="353"/>
                      <a:pt x="249" y="353"/>
                      <a:pt x="249" y="353"/>
                    </a:cubicBezTo>
                    <a:cubicBezTo>
                      <a:pt x="250" y="353"/>
                      <a:pt x="252" y="353"/>
                      <a:pt x="252" y="353"/>
                    </a:cubicBezTo>
                    <a:cubicBezTo>
                      <a:pt x="253" y="353"/>
                      <a:pt x="253" y="353"/>
                      <a:pt x="253" y="353"/>
                    </a:cubicBezTo>
                    <a:cubicBezTo>
                      <a:pt x="253" y="353"/>
                      <a:pt x="253" y="353"/>
                      <a:pt x="253" y="353"/>
                    </a:cubicBezTo>
                    <a:cubicBezTo>
                      <a:pt x="254" y="353"/>
                      <a:pt x="255" y="353"/>
                      <a:pt x="257" y="353"/>
                    </a:cubicBezTo>
                    <a:cubicBezTo>
                      <a:pt x="260" y="352"/>
                      <a:pt x="260" y="352"/>
                      <a:pt x="260" y="352"/>
                    </a:cubicBezTo>
                    <a:cubicBezTo>
                      <a:pt x="256" y="357"/>
                      <a:pt x="256" y="357"/>
                      <a:pt x="256" y="357"/>
                    </a:cubicBezTo>
                    <a:cubicBezTo>
                      <a:pt x="256" y="357"/>
                      <a:pt x="256" y="358"/>
                      <a:pt x="256" y="358"/>
                    </a:cubicBezTo>
                    <a:cubicBezTo>
                      <a:pt x="256" y="358"/>
                      <a:pt x="256" y="358"/>
                      <a:pt x="256" y="358"/>
                    </a:cubicBezTo>
                    <a:cubicBezTo>
                      <a:pt x="256" y="358"/>
                      <a:pt x="256" y="358"/>
                      <a:pt x="257" y="358"/>
                    </a:cubicBezTo>
                    <a:cubicBezTo>
                      <a:pt x="257" y="359"/>
                      <a:pt x="257" y="359"/>
                      <a:pt x="257" y="359"/>
                    </a:cubicBezTo>
                    <a:cubicBezTo>
                      <a:pt x="257" y="360"/>
                      <a:pt x="257" y="360"/>
                      <a:pt x="257" y="360"/>
                    </a:cubicBezTo>
                    <a:cubicBezTo>
                      <a:pt x="257" y="361"/>
                      <a:pt x="258" y="361"/>
                      <a:pt x="258" y="362"/>
                    </a:cubicBezTo>
                    <a:cubicBezTo>
                      <a:pt x="258" y="363"/>
                      <a:pt x="258" y="363"/>
                      <a:pt x="258" y="363"/>
                    </a:cubicBezTo>
                    <a:cubicBezTo>
                      <a:pt x="258" y="363"/>
                      <a:pt x="259" y="364"/>
                      <a:pt x="260" y="364"/>
                    </a:cubicBezTo>
                    <a:cubicBezTo>
                      <a:pt x="260" y="364"/>
                      <a:pt x="260" y="364"/>
                      <a:pt x="260" y="364"/>
                    </a:cubicBezTo>
                    <a:cubicBezTo>
                      <a:pt x="260" y="364"/>
                      <a:pt x="260" y="364"/>
                      <a:pt x="260" y="364"/>
                    </a:cubicBezTo>
                    <a:cubicBezTo>
                      <a:pt x="261" y="362"/>
                      <a:pt x="261" y="362"/>
                      <a:pt x="261" y="362"/>
                    </a:cubicBezTo>
                    <a:cubicBezTo>
                      <a:pt x="261" y="364"/>
                      <a:pt x="261" y="364"/>
                      <a:pt x="261" y="364"/>
                    </a:cubicBezTo>
                    <a:cubicBezTo>
                      <a:pt x="261" y="364"/>
                      <a:pt x="261" y="364"/>
                      <a:pt x="261" y="364"/>
                    </a:cubicBezTo>
                    <a:cubicBezTo>
                      <a:pt x="262" y="364"/>
                      <a:pt x="262" y="364"/>
                      <a:pt x="262" y="364"/>
                    </a:cubicBezTo>
                    <a:cubicBezTo>
                      <a:pt x="263" y="364"/>
                      <a:pt x="264" y="364"/>
                      <a:pt x="265" y="365"/>
                    </a:cubicBezTo>
                    <a:cubicBezTo>
                      <a:pt x="265" y="365"/>
                      <a:pt x="265" y="366"/>
                      <a:pt x="265" y="366"/>
                    </a:cubicBezTo>
                    <a:cubicBezTo>
                      <a:pt x="265" y="366"/>
                      <a:pt x="265" y="366"/>
                      <a:pt x="265" y="366"/>
                    </a:cubicBezTo>
                    <a:cubicBezTo>
                      <a:pt x="265" y="367"/>
                      <a:pt x="265" y="368"/>
                      <a:pt x="264" y="369"/>
                    </a:cubicBezTo>
                    <a:cubicBezTo>
                      <a:pt x="264" y="369"/>
                      <a:pt x="264" y="369"/>
                      <a:pt x="263" y="369"/>
                    </a:cubicBezTo>
                    <a:cubicBezTo>
                      <a:pt x="263" y="369"/>
                      <a:pt x="263" y="369"/>
                      <a:pt x="263" y="369"/>
                    </a:cubicBezTo>
                    <a:cubicBezTo>
                      <a:pt x="263" y="369"/>
                      <a:pt x="263" y="369"/>
                      <a:pt x="263" y="369"/>
                    </a:cubicBezTo>
                    <a:cubicBezTo>
                      <a:pt x="263" y="370"/>
                      <a:pt x="263" y="370"/>
                      <a:pt x="263" y="370"/>
                    </a:cubicBezTo>
                    <a:cubicBezTo>
                      <a:pt x="263" y="370"/>
                      <a:pt x="263" y="370"/>
                      <a:pt x="263" y="370"/>
                    </a:cubicBezTo>
                    <a:cubicBezTo>
                      <a:pt x="263" y="371"/>
                      <a:pt x="263" y="371"/>
                      <a:pt x="262" y="371"/>
                    </a:cubicBezTo>
                    <a:cubicBezTo>
                      <a:pt x="262" y="372"/>
                      <a:pt x="262" y="372"/>
                      <a:pt x="262" y="373"/>
                    </a:cubicBezTo>
                    <a:cubicBezTo>
                      <a:pt x="262" y="373"/>
                      <a:pt x="262" y="373"/>
                      <a:pt x="262" y="373"/>
                    </a:cubicBezTo>
                    <a:cubicBezTo>
                      <a:pt x="262" y="373"/>
                      <a:pt x="262" y="374"/>
                      <a:pt x="262" y="374"/>
                    </a:cubicBezTo>
                    <a:cubicBezTo>
                      <a:pt x="267" y="375"/>
                      <a:pt x="267" y="375"/>
                      <a:pt x="267" y="375"/>
                    </a:cubicBezTo>
                    <a:cubicBezTo>
                      <a:pt x="268" y="375"/>
                      <a:pt x="268" y="375"/>
                      <a:pt x="268" y="375"/>
                    </a:cubicBezTo>
                    <a:cubicBezTo>
                      <a:pt x="268" y="375"/>
                      <a:pt x="268" y="375"/>
                      <a:pt x="269" y="376"/>
                    </a:cubicBezTo>
                    <a:cubicBezTo>
                      <a:pt x="269" y="376"/>
                      <a:pt x="269" y="376"/>
                      <a:pt x="269" y="376"/>
                    </a:cubicBezTo>
                    <a:cubicBezTo>
                      <a:pt x="269" y="376"/>
                      <a:pt x="269" y="376"/>
                      <a:pt x="269" y="377"/>
                    </a:cubicBezTo>
                    <a:cubicBezTo>
                      <a:pt x="269" y="377"/>
                      <a:pt x="269" y="377"/>
                      <a:pt x="269" y="378"/>
                    </a:cubicBezTo>
                    <a:cubicBezTo>
                      <a:pt x="269" y="378"/>
                      <a:pt x="269" y="378"/>
                      <a:pt x="269" y="378"/>
                    </a:cubicBezTo>
                    <a:cubicBezTo>
                      <a:pt x="269" y="379"/>
                      <a:pt x="269" y="379"/>
                      <a:pt x="269" y="379"/>
                    </a:cubicBezTo>
                    <a:cubicBezTo>
                      <a:pt x="269" y="379"/>
                      <a:pt x="269" y="379"/>
                      <a:pt x="269" y="379"/>
                    </a:cubicBezTo>
                    <a:cubicBezTo>
                      <a:pt x="269" y="379"/>
                      <a:pt x="269" y="379"/>
                      <a:pt x="270" y="380"/>
                    </a:cubicBezTo>
                    <a:cubicBezTo>
                      <a:pt x="270" y="380"/>
                      <a:pt x="270" y="380"/>
                      <a:pt x="270" y="380"/>
                    </a:cubicBezTo>
                    <a:cubicBezTo>
                      <a:pt x="270" y="380"/>
                      <a:pt x="270" y="381"/>
                      <a:pt x="270" y="381"/>
                    </a:cubicBezTo>
                    <a:cubicBezTo>
                      <a:pt x="271" y="381"/>
                      <a:pt x="271" y="381"/>
                      <a:pt x="271" y="381"/>
                    </a:cubicBezTo>
                    <a:cubicBezTo>
                      <a:pt x="271" y="381"/>
                      <a:pt x="271" y="381"/>
                      <a:pt x="271" y="382"/>
                    </a:cubicBezTo>
                    <a:cubicBezTo>
                      <a:pt x="274" y="381"/>
                      <a:pt x="274" y="381"/>
                      <a:pt x="274" y="381"/>
                    </a:cubicBezTo>
                    <a:cubicBezTo>
                      <a:pt x="275" y="380"/>
                      <a:pt x="275" y="380"/>
                      <a:pt x="276" y="380"/>
                    </a:cubicBezTo>
                    <a:cubicBezTo>
                      <a:pt x="277" y="380"/>
                      <a:pt x="277" y="379"/>
                      <a:pt x="277" y="379"/>
                    </a:cubicBezTo>
                    <a:cubicBezTo>
                      <a:pt x="278" y="379"/>
                      <a:pt x="278" y="379"/>
                      <a:pt x="278" y="379"/>
                    </a:cubicBezTo>
                    <a:cubicBezTo>
                      <a:pt x="278" y="379"/>
                      <a:pt x="278" y="379"/>
                      <a:pt x="279" y="379"/>
                    </a:cubicBezTo>
                    <a:cubicBezTo>
                      <a:pt x="280" y="377"/>
                      <a:pt x="280" y="377"/>
                      <a:pt x="280" y="377"/>
                    </a:cubicBezTo>
                    <a:cubicBezTo>
                      <a:pt x="281" y="379"/>
                      <a:pt x="281" y="379"/>
                      <a:pt x="281" y="379"/>
                    </a:cubicBezTo>
                    <a:cubicBezTo>
                      <a:pt x="281" y="380"/>
                      <a:pt x="281" y="380"/>
                      <a:pt x="281" y="381"/>
                    </a:cubicBezTo>
                    <a:cubicBezTo>
                      <a:pt x="281" y="381"/>
                      <a:pt x="281" y="381"/>
                      <a:pt x="281" y="381"/>
                    </a:cubicBezTo>
                    <a:cubicBezTo>
                      <a:pt x="281" y="381"/>
                      <a:pt x="281" y="381"/>
                      <a:pt x="281" y="381"/>
                    </a:cubicBezTo>
                    <a:cubicBezTo>
                      <a:pt x="281" y="382"/>
                      <a:pt x="281" y="382"/>
                      <a:pt x="281" y="382"/>
                    </a:cubicBezTo>
                    <a:cubicBezTo>
                      <a:pt x="282" y="383"/>
                      <a:pt x="282" y="384"/>
                      <a:pt x="282" y="384"/>
                    </a:cubicBezTo>
                    <a:cubicBezTo>
                      <a:pt x="283" y="384"/>
                      <a:pt x="283" y="384"/>
                      <a:pt x="283" y="384"/>
                    </a:cubicBezTo>
                    <a:cubicBezTo>
                      <a:pt x="283" y="384"/>
                      <a:pt x="283" y="384"/>
                      <a:pt x="283" y="384"/>
                    </a:cubicBezTo>
                    <a:cubicBezTo>
                      <a:pt x="283" y="384"/>
                      <a:pt x="283" y="384"/>
                      <a:pt x="283" y="384"/>
                    </a:cubicBezTo>
                    <a:cubicBezTo>
                      <a:pt x="284" y="384"/>
                      <a:pt x="284" y="384"/>
                      <a:pt x="285" y="384"/>
                    </a:cubicBezTo>
                    <a:cubicBezTo>
                      <a:pt x="285" y="385"/>
                      <a:pt x="285" y="385"/>
                      <a:pt x="285" y="385"/>
                    </a:cubicBezTo>
                    <a:cubicBezTo>
                      <a:pt x="285" y="385"/>
                      <a:pt x="285" y="385"/>
                      <a:pt x="285" y="385"/>
                    </a:cubicBezTo>
                    <a:cubicBezTo>
                      <a:pt x="285" y="384"/>
                      <a:pt x="285" y="382"/>
                      <a:pt x="285" y="381"/>
                    </a:cubicBezTo>
                    <a:cubicBezTo>
                      <a:pt x="285" y="381"/>
                      <a:pt x="285" y="381"/>
                      <a:pt x="285" y="381"/>
                    </a:cubicBezTo>
                    <a:cubicBezTo>
                      <a:pt x="285" y="379"/>
                      <a:pt x="285" y="379"/>
                      <a:pt x="285" y="378"/>
                    </a:cubicBezTo>
                    <a:cubicBezTo>
                      <a:pt x="284" y="378"/>
                      <a:pt x="284" y="378"/>
                      <a:pt x="284" y="377"/>
                    </a:cubicBezTo>
                    <a:cubicBezTo>
                      <a:pt x="284" y="377"/>
                      <a:pt x="284" y="377"/>
                      <a:pt x="284" y="377"/>
                    </a:cubicBezTo>
                    <a:cubicBezTo>
                      <a:pt x="283" y="376"/>
                      <a:pt x="283" y="375"/>
                      <a:pt x="283" y="374"/>
                    </a:cubicBezTo>
                    <a:cubicBezTo>
                      <a:pt x="283" y="374"/>
                      <a:pt x="283" y="374"/>
                      <a:pt x="283" y="374"/>
                    </a:cubicBezTo>
                    <a:cubicBezTo>
                      <a:pt x="283" y="373"/>
                      <a:pt x="283" y="373"/>
                      <a:pt x="283" y="373"/>
                    </a:cubicBezTo>
                    <a:cubicBezTo>
                      <a:pt x="283" y="373"/>
                      <a:pt x="283" y="373"/>
                      <a:pt x="283" y="373"/>
                    </a:cubicBezTo>
                    <a:cubicBezTo>
                      <a:pt x="284" y="373"/>
                      <a:pt x="284" y="372"/>
                      <a:pt x="284" y="372"/>
                    </a:cubicBezTo>
                    <a:cubicBezTo>
                      <a:pt x="284" y="372"/>
                      <a:pt x="284" y="372"/>
                      <a:pt x="284" y="372"/>
                    </a:cubicBezTo>
                    <a:cubicBezTo>
                      <a:pt x="285" y="371"/>
                      <a:pt x="285" y="371"/>
                      <a:pt x="285" y="371"/>
                    </a:cubicBezTo>
                    <a:cubicBezTo>
                      <a:pt x="285" y="371"/>
                      <a:pt x="285" y="371"/>
                      <a:pt x="286" y="371"/>
                    </a:cubicBezTo>
                    <a:cubicBezTo>
                      <a:pt x="287" y="370"/>
                      <a:pt x="288" y="371"/>
                      <a:pt x="289" y="371"/>
                    </a:cubicBezTo>
                    <a:cubicBezTo>
                      <a:pt x="289" y="371"/>
                      <a:pt x="289" y="371"/>
                      <a:pt x="289" y="371"/>
                    </a:cubicBezTo>
                    <a:cubicBezTo>
                      <a:pt x="289" y="371"/>
                      <a:pt x="290" y="371"/>
                      <a:pt x="290" y="371"/>
                    </a:cubicBezTo>
                    <a:cubicBezTo>
                      <a:pt x="290" y="371"/>
                      <a:pt x="290" y="371"/>
                      <a:pt x="290" y="371"/>
                    </a:cubicBezTo>
                    <a:cubicBezTo>
                      <a:pt x="291" y="371"/>
                      <a:pt x="291" y="370"/>
                      <a:pt x="292" y="369"/>
                    </a:cubicBezTo>
                    <a:cubicBezTo>
                      <a:pt x="292" y="369"/>
                      <a:pt x="292" y="369"/>
                      <a:pt x="292" y="369"/>
                    </a:cubicBezTo>
                    <a:cubicBezTo>
                      <a:pt x="292" y="369"/>
                      <a:pt x="293" y="368"/>
                      <a:pt x="294" y="368"/>
                    </a:cubicBezTo>
                    <a:cubicBezTo>
                      <a:pt x="294" y="368"/>
                      <a:pt x="295" y="368"/>
                      <a:pt x="295" y="368"/>
                    </a:cubicBezTo>
                    <a:cubicBezTo>
                      <a:pt x="295" y="368"/>
                      <a:pt x="296" y="368"/>
                      <a:pt x="296" y="368"/>
                    </a:cubicBezTo>
                    <a:cubicBezTo>
                      <a:pt x="297" y="369"/>
                      <a:pt x="297" y="369"/>
                      <a:pt x="297" y="369"/>
                    </a:cubicBezTo>
                    <a:cubicBezTo>
                      <a:pt x="297" y="369"/>
                      <a:pt x="298" y="369"/>
                      <a:pt x="298" y="370"/>
                    </a:cubicBezTo>
                    <a:cubicBezTo>
                      <a:pt x="299" y="370"/>
                      <a:pt x="299" y="370"/>
                      <a:pt x="299" y="370"/>
                    </a:cubicBezTo>
                    <a:cubicBezTo>
                      <a:pt x="299" y="371"/>
                      <a:pt x="299" y="371"/>
                      <a:pt x="299" y="371"/>
                    </a:cubicBezTo>
                    <a:cubicBezTo>
                      <a:pt x="299" y="370"/>
                      <a:pt x="299" y="370"/>
                      <a:pt x="300" y="370"/>
                    </a:cubicBezTo>
                    <a:cubicBezTo>
                      <a:pt x="300" y="370"/>
                      <a:pt x="300" y="370"/>
                      <a:pt x="300" y="370"/>
                    </a:cubicBezTo>
                    <a:cubicBezTo>
                      <a:pt x="300" y="369"/>
                      <a:pt x="300" y="369"/>
                      <a:pt x="300" y="369"/>
                    </a:cubicBezTo>
                    <a:cubicBezTo>
                      <a:pt x="300" y="369"/>
                      <a:pt x="300" y="369"/>
                      <a:pt x="300" y="369"/>
                    </a:cubicBezTo>
                    <a:cubicBezTo>
                      <a:pt x="301" y="369"/>
                      <a:pt x="301" y="369"/>
                      <a:pt x="301" y="369"/>
                    </a:cubicBezTo>
                    <a:cubicBezTo>
                      <a:pt x="301" y="368"/>
                      <a:pt x="302" y="368"/>
                      <a:pt x="302" y="367"/>
                    </a:cubicBezTo>
                    <a:cubicBezTo>
                      <a:pt x="302" y="367"/>
                      <a:pt x="302" y="367"/>
                      <a:pt x="302" y="367"/>
                    </a:cubicBezTo>
                    <a:cubicBezTo>
                      <a:pt x="303" y="367"/>
                      <a:pt x="303" y="367"/>
                      <a:pt x="303" y="367"/>
                    </a:cubicBezTo>
                    <a:cubicBezTo>
                      <a:pt x="304" y="368"/>
                      <a:pt x="304" y="368"/>
                      <a:pt x="304" y="368"/>
                    </a:cubicBezTo>
                    <a:cubicBezTo>
                      <a:pt x="304" y="368"/>
                      <a:pt x="304" y="368"/>
                      <a:pt x="304" y="368"/>
                    </a:cubicBezTo>
                    <a:cubicBezTo>
                      <a:pt x="304" y="368"/>
                      <a:pt x="304" y="368"/>
                      <a:pt x="304" y="368"/>
                    </a:cubicBezTo>
                    <a:cubicBezTo>
                      <a:pt x="304" y="368"/>
                      <a:pt x="305" y="368"/>
                      <a:pt x="305" y="368"/>
                    </a:cubicBezTo>
                    <a:cubicBezTo>
                      <a:pt x="306" y="367"/>
                      <a:pt x="306" y="367"/>
                      <a:pt x="306" y="367"/>
                    </a:cubicBezTo>
                    <a:cubicBezTo>
                      <a:pt x="307" y="368"/>
                      <a:pt x="307" y="368"/>
                      <a:pt x="307" y="368"/>
                    </a:cubicBezTo>
                    <a:cubicBezTo>
                      <a:pt x="307" y="368"/>
                      <a:pt x="307" y="368"/>
                      <a:pt x="307" y="368"/>
                    </a:cubicBezTo>
                    <a:cubicBezTo>
                      <a:pt x="307" y="369"/>
                      <a:pt x="308" y="369"/>
                      <a:pt x="308" y="369"/>
                    </a:cubicBezTo>
                    <a:cubicBezTo>
                      <a:pt x="308" y="369"/>
                      <a:pt x="308" y="370"/>
                      <a:pt x="309" y="370"/>
                    </a:cubicBezTo>
                    <a:cubicBezTo>
                      <a:pt x="309" y="370"/>
                      <a:pt x="309" y="370"/>
                      <a:pt x="309" y="370"/>
                    </a:cubicBezTo>
                    <a:cubicBezTo>
                      <a:pt x="312" y="366"/>
                      <a:pt x="312" y="366"/>
                      <a:pt x="312" y="366"/>
                    </a:cubicBezTo>
                    <a:cubicBezTo>
                      <a:pt x="313" y="367"/>
                      <a:pt x="313" y="367"/>
                      <a:pt x="313" y="367"/>
                    </a:cubicBezTo>
                    <a:cubicBezTo>
                      <a:pt x="313" y="368"/>
                      <a:pt x="313" y="368"/>
                      <a:pt x="313" y="368"/>
                    </a:cubicBezTo>
                    <a:cubicBezTo>
                      <a:pt x="315" y="368"/>
                      <a:pt x="315" y="368"/>
                      <a:pt x="315" y="368"/>
                    </a:cubicBezTo>
                    <a:cubicBezTo>
                      <a:pt x="315" y="367"/>
                      <a:pt x="316" y="367"/>
                      <a:pt x="316" y="367"/>
                    </a:cubicBezTo>
                    <a:cubicBezTo>
                      <a:pt x="316" y="367"/>
                      <a:pt x="316" y="367"/>
                      <a:pt x="316" y="367"/>
                    </a:cubicBezTo>
                    <a:cubicBezTo>
                      <a:pt x="316" y="367"/>
                      <a:pt x="317" y="366"/>
                      <a:pt x="317" y="366"/>
                    </a:cubicBezTo>
                    <a:cubicBezTo>
                      <a:pt x="317" y="366"/>
                      <a:pt x="317" y="365"/>
                      <a:pt x="318" y="365"/>
                    </a:cubicBezTo>
                    <a:cubicBezTo>
                      <a:pt x="318" y="363"/>
                      <a:pt x="318" y="363"/>
                      <a:pt x="318" y="363"/>
                    </a:cubicBezTo>
                    <a:cubicBezTo>
                      <a:pt x="319" y="363"/>
                      <a:pt x="319" y="363"/>
                      <a:pt x="319" y="363"/>
                    </a:cubicBezTo>
                    <a:cubicBezTo>
                      <a:pt x="319" y="363"/>
                      <a:pt x="319" y="363"/>
                      <a:pt x="319" y="363"/>
                    </a:cubicBezTo>
                    <a:cubicBezTo>
                      <a:pt x="319" y="363"/>
                      <a:pt x="319" y="363"/>
                      <a:pt x="319" y="363"/>
                    </a:cubicBezTo>
                    <a:cubicBezTo>
                      <a:pt x="321" y="362"/>
                      <a:pt x="322" y="361"/>
                      <a:pt x="323" y="361"/>
                    </a:cubicBezTo>
                    <a:cubicBezTo>
                      <a:pt x="323" y="361"/>
                      <a:pt x="324" y="361"/>
                      <a:pt x="324" y="362"/>
                    </a:cubicBezTo>
                    <a:cubicBezTo>
                      <a:pt x="324" y="362"/>
                      <a:pt x="324" y="362"/>
                      <a:pt x="325" y="362"/>
                    </a:cubicBezTo>
                    <a:cubicBezTo>
                      <a:pt x="325" y="363"/>
                      <a:pt x="325" y="363"/>
                      <a:pt x="326" y="363"/>
                    </a:cubicBezTo>
                    <a:cubicBezTo>
                      <a:pt x="326" y="364"/>
                      <a:pt x="326" y="364"/>
                      <a:pt x="326" y="364"/>
                    </a:cubicBezTo>
                    <a:cubicBezTo>
                      <a:pt x="326" y="364"/>
                      <a:pt x="327" y="365"/>
                      <a:pt x="327" y="365"/>
                    </a:cubicBezTo>
                    <a:cubicBezTo>
                      <a:pt x="328" y="365"/>
                      <a:pt x="328" y="365"/>
                      <a:pt x="328" y="365"/>
                    </a:cubicBezTo>
                    <a:cubicBezTo>
                      <a:pt x="329" y="366"/>
                      <a:pt x="330" y="366"/>
                      <a:pt x="332" y="366"/>
                    </a:cubicBezTo>
                    <a:cubicBezTo>
                      <a:pt x="332" y="366"/>
                      <a:pt x="332" y="366"/>
                      <a:pt x="332" y="366"/>
                    </a:cubicBezTo>
                    <a:cubicBezTo>
                      <a:pt x="333" y="366"/>
                      <a:pt x="333" y="366"/>
                      <a:pt x="333" y="366"/>
                    </a:cubicBezTo>
                    <a:cubicBezTo>
                      <a:pt x="334" y="366"/>
                      <a:pt x="335" y="366"/>
                      <a:pt x="336" y="366"/>
                    </a:cubicBezTo>
                    <a:cubicBezTo>
                      <a:pt x="337" y="364"/>
                      <a:pt x="337" y="364"/>
                      <a:pt x="337" y="364"/>
                    </a:cubicBezTo>
                    <a:cubicBezTo>
                      <a:pt x="337" y="367"/>
                      <a:pt x="337" y="367"/>
                      <a:pt x="337" y="367"/>
                    </a:cubicBezTo>
                    <a:cubicBezTo>
                      <a:pt x="337" y="367"/>
                      <a:pt x="337" y="367"/>
                      <a:pt x="337" y="367"/>
                    </a:cubicBezTo>
                    <a:cubicBezTo>
                      <a:pt x="337" y="367"/>
                      <a:pt x="338" y="367"/>
                      <a:pt x="338" y="367"/>
                    </a:cubicBezTo>
                    <a:cubicBezTo>
                      <a:pt x="338" y="367"/>
                      <a:pt x="339" y="367"/>
                      <a:pt x="339" y="368"/>
                    </a:cubicBezTo>
                    <a:cubicBezTo>
                      <a:pt x="340" y="368"/>
                      <a:pt x="340" y="368"/>
                      <a:pt x="340" y="368"/>
                    </a:cubicBezTo>
                    <a:cubicBezTo>
                      <a:pt x="339" y="369"/>
                      <a:pt x="339" y="369"/>
                      <a:pt x="339" y="369"/>
                    </a:cubicBezTo>
                    <a:cubicBezTo>
                      <a:pt x="339" y="370"/>
                      <a:pt x="338" y="371"/>
                      <a:pt x="338" y="371"/>
                    </a:cubicBezTo>
                    <a:cubicBezTo>
                      <a:pt x="337" y="372"/>
                      <a:pt x="337" y="372"/>
                      <a:pt x="337" y="372"/>
                    </a:cubicBezTo>
                    <a:cubicBezTo>
                      <a:pt x="337" y="372"/>
                      <a:pt x="337" y="373"/>
                      <a:pt x="337" y="373"/>
                    </a:cubicBezTo>
                    <a:cubicBezTo>
                      <a:pt x="337" y="373"/>
                      <a:pt x="337" y="373"/>
                      <a:pt x="337" y="373"/>
                    </a:cubicBezTo>
                    <a:cubicBezTo>
                      <a:pt x="337" y="373"/>
                      <a:pt x="337" y="373"/>
                      <a:pt x="337" y="373"/>
                    </a:cubicBezTo>
                    <a:cubicBezTo>
                      <a:pt x="337" y="374"/>
                      <a:pt x="337" y="374"/>
                      <a:pt x="338" y="375"/>
                    </a:cubicBezTo>
                    <a:cubicBezTo>
                      <a:pt x="338" y="375"/>
                      <a:pt x="338" y="376"/>
                      <a:pt x="338" y="376"/>
                    </a:cubicBezTo>
                    <a:cubicBezTo>
                      <a:pt x="338" y="376"/>
                      <a:pt x="338" y="376"/>
                      <a:pt x="338" y="376"/>
                    </a:cubicBezTo>
                    <a:cubicBezTo>
                      <a:pt x="338" y="376"/>
                      <a:pt x="338" y="376"/>
                      <a:pt x="338" y="376"/>
                    </a:cubicBezTo>
                    <a:cubicBezTo>
                      <a:pt x="339" y="376"/>
                      <a:pt x="340" y="376"/>
                      <a:pt x="341" y="377"/>
                    </a:cubicBezTo>
                    <a:cubicBezTo>
                      <a:pt x="341" y="377"/>
                      <a:pt x="342" y="377"/>
                      <a:pt x="342" y="378"/>
                    </a:cubicBezTo>
                    <a:cubicBezTo>
                      <a:pt x="343" y="379"/>
                      <a:pt x="343" y="379"/>
                      <a:pt x="343" y="379"/>
                    </a:cubicBezTo>
                    <a:cubicBezTo>
                      <a:pt x="343" y="379"/>
                      <a:pt x="343" y="379"/>
                      <a:pt x="343" y="379"/>
                    </a:cubicBezTo>
                    <a:cubicBezTo>
                      <a:pt x="343" y="379"/>
                      <a:pt x="343" y="379"/>
                      <a:pt x="343" y="379"/>
                    </a:cubicBezTo>
                    <a:cubicBezTo>
                      <a:pt x="343" y="379"/>
                      <a:pt x="344" y="380"/>
                      <a:pt x="344" y="380"/>
                    </a:cubicBezTo>
                    <a:cubicBezTo>
                      <a:pt x="345" y="379"/>
                      <a:pt x="345" y="380"/>
                      <a:pt x="346" y="380"/>
                    </a:cubicBezTo>
                    <a:cubicBezTo>
                      <a:pt x="347" y="380"/>
                      <a:pt x="348" y="380"/>
                      <a:pt x="349" y="380"/>
                    </a:cubicBezTo>
                    <a:cubicBezTo>
                      <a:pt x="349" y="380"/>
                      <a:pt x="350" y="381"/>
                      <a:pt x="350" y="381"/>
                    </a:cubicBezTo>
                    <a:cubicBezTo>
                      <a:pt x="350" y="381"/>
                      <a:pt x="350" y="381"/>
                      <a:pt x="350" y="381"/>
                    </a:cubicBezTo>
                    <a:cubicBezTo>
                      <a:pt x="351" y="381"/>
                      <a:pt x="351" y="381"/>
                      <a:pt x="351" y="381"/>
                    </a:cubicBezTo>
                    <a:cubicBezTo>
                      <a:pt x="351" y="381"/>
                      <a:pt x="351" y="381"/>
                      <a:pt x="351" y="381"/>
                    </a:cubicBezTo>
                    <a:cubicBezTo>
                      <a:pt x="352" y="381"/>
                      <a:pt x="352" y="381"/>
                      <a:pt x="352" y="381"/>
                    </a:cubicBezTo>
                    <a:cubicBezTo>
                      <a:pt x="353" y="381"/>
                      <a:pt x="353" y="382"/>
                      <a:pt x="352" y="382"/>
                    </a:cubicBezTo>
                    <a:cubicBezTo>
                      <a:pt x="353" y="382"/>
                      <a:pt x="353" y="382"/>
                      <a:pt x="353" y="381"/>
                    </a:cubicBezTo>
                    <a:cubicBezTo>
                      <a:pt x="353" y="381"/>
                      <a:pt x="353" y="381"/>
                      <a:pt x="353" y="380"/>
                    </a:cubicBezTo>
                    <a:cubicBezTo>
                      <a:pt x="353" y="380"/>
                      <a:pt x="355" y="381"/>
                      <a:pt x="355" y="381"/>
                    </a:cubicBezTo>
                    <a:cubicBezTo>
                      <a:pt x="356" y="381"/>
                      <a:pt x="356" y="381"/>
                      <a:pt x="356" y="380"/>
                    </a:cubicBezTo>
                    <a:cubicBezTo>
                      <a:pt x="355" y="381"/>
                      <a:pt x="355" y="380"/>
                      <a:pt x="355" y="380"/>
                    </a:cubicBezTo>
                    <a:cubicBezTo>
                      <a:pt x="355" y="379"/>
                      <a:pt x="355" y="377"/>
                      <a:pt x="356" y="378"/>
                    </a:cubicBezTo>
                    <a:cubicBezTo>
                      <a:pt x="356" y="378"/>
                      <a:pt x="356" y="378"/>
                      <a:pt x="356" y="378"/>
                    </a:cubicBezTo>
                    <a:cubicBezTo>
                      <a:pt x="356" y="378"/>
                      <a:pt x="356" y="378"/>
                      <a:pt x="356" y="378"/>
                    </a:cubicBezTo>
                    <a:cubicBezTo>
                      <a:pt x="356" y="379"/>
                      <a:pt x="356" y="379"/>
                      <a:pt x="356" y="379"/>
                    </a:cubicBezTo>
                    <a:cubicBezTo>
                      <a:pt x="357" y="379"/>
                      <a:pt x="357" y="379"/>
                      <a:pt x="357" y="380"/>
                    </a:cubicBezTo>
                    <a:cubicBezTo>
                      <a:pt x="357" y="380"/>
                      <a:pt x="357" y="380"/>
                      <a:pt x="357" y="380"/>
                    </a:cubicBezTo>
                    <a:cubicBezTo>
                      <a:pt x="357" y="380"/>
                      <a:pt x="358" y="381"/>
                      <a:pt x="359" y="381"/>
                    </a:cubicBezTo>
                    <a:cubicBezTo>
                      <a:pt x="359" y="381"/>
                      <a:pt x="359" y="380"/>
                      <a:pt x="359" y="380"/>
                    </a:cubicBezTo>
                    <a:cubicBezTo>
                      <a:pt x="359" y="381"/>
                      <a:pt x="359" y="381"/>
                      <a:pt x="360" y="381"/>
                    </a:cubicBezTo>
                    <a:cubicBezTo>
                      <a:pt x="360" y="382"/>
                      <a:pt x="361" y="381"/>
                      <a:pt x="361" y="382"/>
                    </a:cubicBezTo>
                    <a:cubicBezTo>
                      <a:pt x="362" y="382"/>
                      <a:pt x="362" y="383"/>
                      <a:pt x="362" y="383"/>
                    </a:cubicBezTo>
                    <a:cubicBezTo>
                      <a:pt x="363" y="383"/>
                      <a:pt x="364" y="383"/>
                      <a:pt x="365" y="383"/>
                    </a:cubicBezTo>
                    <a:cubicBezTo>
                      <a:pt x="366" y="382"/>
                      <a:pt x="366" y="381"/>
                      <a:pt x="365" y="381"/>
                    </a:cubicBezTo>
                    <a:cubicBezTo>
                      <a:pt x="366" y="381"/>
                      <a:pt x="366" y="380"/>
                      <a:pt x="366" y="380"/>
                    </a:cubicBezTo>
                    <a:cubicBezTo>
                      <a:pt x="366" y="380"/>
                      <a:pt x="366" y="380"/>
                      <a:pt x="366" y="380"/>
                    </a:cubicBezTo>
                    <a:cubicBezTo>
                      <a:pt x="366" y="380"/>
                      <a:pt x="366" y="380"/>
                      <a:pt x="366" y="380"/>
                    </a:cubicBezTo>
                    <a:cubicBezTo>
                      <a:pt x="366" y="381"/>
                      <a:pt x="367" y="381"/>
                      <a:pt x="367" y="381"/>
                    </a:cubicBezTo>
                    <a:cubicBezTo>
                      <a:pt x="367" y="381"/>
                      <a:pt x="368" y="382"/>
                      <a:pt x="368" y="383"/>
                    </a:cubicBezTo>
                    <a:cubicBezTo>
                      <a:pt x="368" y="382"/>
                      <a:pt x="368" y="382"/>
                      <a:pt x="368" y="382"/>
                    </a:cubicBezTo>
                    <a:cubicBezTo>
                      <a:pt x="369" y="382"/>
                      <a:pt x="369" y="383"/>
                      <a:pt x="370" y="383"/>
                    </a:cubicBezTo>
                    <a:cubicBezTo>
                      <a:pt x="369" y="383"/>
                      <a:pt x="369" y="384"/>
                      <a:pt x="368" y="384"/>
                    </a:cubicBezTo>
                    <a:cubicBezTo>
                      <a:pt x="368" y="385"/>
                      <a:pt x="368" y="385"/>
                      <a:pt x="368" y="386"/>
                    </a:cubicBezTo>
                    <a:cubicBezTo>
                      <a:pt x="367" y="385"/>
                      <a:pt x="367" y="387"/>
                      <a:pt x="367" y="388"/>
                    </a:cubicBezTo>
                    <a:cubicBezTo>
                      <a:pt x="367" y="389"/>
                      <a:pt x="368" y="390"/>
                      <a:pt x="369" y="392"/>
                    </a:cubicBezTo>
                    <a:cubicBezTo>
                      <a:pt x="369" y="393"/>
                      <a:pt x="369" y="395"/>
                      <a:pt x="370" y="396"/>
                    </a:cubicBezTo>
                    <a:cubicBezTo>
                      <a:pt x="371" y="397"/>
                      <a:pt x="374" y="396"/>
                      <a:pt x="375" y="395"/>
                    </a:cubicBezTo>
                    <a:cubicBezTo>
                      <a:pt x="376" y="394"/>
                      <a:pt x="376" y="393"/>
                      <a:pt x="375" y="392"/>
                    </a:cubicBezTo>
                    <a:cubicBezTo>
                      <a:pt x="374" y="392"/>
                      <a:pt x="374" y="392"/>
                      <a:pt x="374" y="391"/>
                    </a:cubicBezTo>
                    <a:cubicBezTo>
                      <a:pt x="374" y="391"/>
                      <a:pt x="374" y="391"/>
                      <a:pt x="374" y="391"/>
                    </a:cubicBezTo>
                    <a:cubicBezTo>
                      <a:pt x="374" y="391"/>
                      <a:pt x="374" y="391"/>
                      <a:pt x="374" y="390"/>
                    </a:cubicBezTo>
                    <a:cubicBezTo>
                      <a:pt x="374" y="390"/>
                      <a:pt x="374" y="391"/>
                      <a:pt x="374" y="391"/>
                    </a:cubicBezTo>
                    <a:cubicBezTo>
                      <a:pt x="374" y="388"/>
                      <a:pt x="372" y="391"/>
                      <a:pt x="372" y="389"/>
                    </a:cubicBezTo>
                    <a:cubicBezTo>
                      <a:pt x="372" y="387"/>
                      <a:pt x="374" y="386"/>
                      <a:pt x="374" y="385"/>
                    </a:cubicBezTo>
                    <a:cubicBezTo>
                      <a:pt x="374" y="384"/>
                      <a:pt x="374" y="384"/>
                      <a:pt x="374" y="383"/>
                    </a:cubicBezTo>
                    <a:cubicBezTo>
                      <a:pt x="375" y="384"/>
                      <a:pt x="375" y="384"/>
                      <a:pt x="375" y="385"/>
                    </a:cubicBezTo>
                    <a:cubicBezTo>
                      <a:pt x="375" y="385"/>
                      <a:pt x="375" y="385"/>
                      <a:pt x="375" y="385"/>
                    </a:cubicBezTo>
                    <a:cubicBezTo>
                      <a:pt x="375" y="385"/>
                      <a:pt x="375" y="385"/>
                      <a:pt x="375" y="386"/>
                    </a:cubicBezTo>
                    <a:cubicBezTo>
                      <a:pt x="377" y="385"/>
                      <a:pt x="379" y="384"/>
                      <a:pt x="382" y="383"/>
                    </a:cubicBezTo>
                    <a:cubicBezTo>
                      <a:pt x="384" y="382"/>
                      <a:pt x="386" y="382"/>
                      <a:pt x="389" y="381"/>
                    </a:cubicBezTo>
                    <a:cubicBezTo>
                      <a:pt x="389" y="380"/>
                      <a:pt x="388" y="380"/>
                      <a:pt x="388" y="379"/>
                    </a:cubicBezTo>
                    <a:cubicBezTo>
                      <a:pt x="389" y="380"/>
                      <a:pt x="390" y="381"/>
                      <a:pt x="391" y="379"/>
                    </a:cubicBezTo>
                    <a:cubicBezTo>
                      <a:pt x="390" y="379"/>
                      <a:pt x="390" y="379"/>
                      <a:pt x="390" y="378"/>
                    </a:cubicBezTo>
                    <a:cubicBezTo>
                      <a:pt x="390" y="378"/>
                      <a:pt x="391" y="379"/>
                      <a:pt x="391" y="378"/>
                    </a:cubicBezTo>
                    <a:cubicBezTo>
                      <a:pt x="391" y="379"/>
                      <a:pt x="391" y="379"/>
                      <a:pt x="391" y="379"/>
                    </a:cubicBezTo>
                    <a:cubicBezTo>
                      <a:pt x="392" y="379"/>
                      <a:pt x="392" y="379"/>
                      <a:pt x="393" y="379"/>
                    </a:cubicBezTo>
                    <a:cubicBezTo>
                      <a:pt x="393" y="379"/>
                      <a:pt x="394" y="380"/>
                      <a:pt x="394" y="380"/>
                    </a:cubicBezTo>
                    <a:cubicBezTo>
                      <a:pt x="394" y="379"/>
                      <a:pt x="394" y="378"/>
                      <a:pt x="395" y="376"/>
                    </a:cubicBezTo>
                    <a:cubicBezTo>
                      <a:pt x="394" y="377"/>
                      <a:pt x="395" y="378"/>
                      <a:pt x="396" y="378"/>
                    </a:cubicBezTo>
                    <a:cubicBezTo>
                      <a:pt x="396" y="378"/>
                      <a:pt x="395" y="378"/>
                      <a:pt x="395" y="378"/>
                    </a:cubicBezTo>
                    <a:cubicBezTo>
                      <a:pt x="396" y="379"/>
                      <a:pt x="399" y="377"/>
                      <a:pt x="400" y="378"/>
                    </a:cubicBezTo>
                    <a:cubicBezTo>
                      <a:pt x="401" y="378"/>
                      <a:pt x="401" y="379"/>
                      <a:pt x="401" y="377"/>
                    </a:cubicBezTo>
                    <a:cubicBezTo>
                      <a:pt x="401" y="377"/>
                      <a:pt x="401" y="377"/>
                      <a:pt x="401" y="377"/>
                    </a:cubicBezTo>
                    <a:cubicBezTo>
                      <a:pt x="401" y="377"/>
                      <a:pt x="401" y="376"/>
                      <a:pt x="401" y="376"/>
                    </a:cubicBezTo>
                    <a:cubicBezTo>
                      <a:pt x="402" y="375"/>
                      <a:pt x="402" y="375"/>
                      <a:pt x="402" y="375"/>
                    </a:cubicBezTo>
                    <a:cubicBezTo>
                      <a:pt x="402" y="375"/>
                      <a:pt x="402" y="375"/>
                      <a:pt x="402" y="375"/>
                    </a:cubicBezTo>
                    <a:cubicBezTo>
                      <a:pt x="403" y="375"/>
                      <a:pt x="403" y="376"/>
                      <a:pt x="403" y="376"/>
                    </a:cubicBezTo>
                    <a:cubicBezTo>
                      <a:pt x="403" y="376"/>
                      <a:pt x="403" y="376"/>
                      <a:pt x="403" y="376"/>
                    </a:cubicBezTo>
                    <a:cubicBezTo>
                      <a:pt x="404" y="376"/>
                      <a:pt x="404" y="376"/>
                      <a:pt x="404" y="376"/>
                    </a:cubicBezTo>
                    <a:cubicBezTo>
                      <a:pt x="405" y="375"/>
                      <a:pt x="405" y="375"/>
                      <a:pt x="405" y="375"/>
                    </a:cubicBezTo>
                    <a:cubicBezTo>
                      <a:pt x="405" y="375"/>
                      <a:pt x="404" y="374"/>
                      <a:pt x="404" y="374"/>
                    </a:cubicBezTo>
                    <a:cubicBezTo>
                      <a:pt x="406" y="374"/>
                      <a:pt x="406" y="374"/>
                      <a:pt x="406" y="374"/>
                    </a:cubicBezTo>
                    <a:cubicBezTo>
                      <a:pt x="406" y="374"/>
                      <a:pt x="406" y="374"/>
                      <a:pt x="406" y="374"/>
                    </a:cubicBezTo>
                    <a:cubicBezTo>
                      <a:pt x="406" y="375"/>
                      <a:pt x="406" y="375"/>
                      <a:pt x="406" y="375"/>
                    </a:cubicBezTo>
                    <a:cubicBezTo>
                      <a:pt x="406" y="375"/>
                      <a:pt x="407" y="374"/>
                      <a:pt x="407" y="374"/>
                    </a:cubicBezTo>
                    <a:cubicBezTo>
                      <a:pt x="406" y="371"/>
                      <a:pt x="406" y="369"/>
                      <a:pt x="404" y="368"/>
                    </a:cubicBezTo>
                    <a:cubicBezTo>
                      <a:pt x="404" y="368"/>
                      <a:pt x="403" y="368"/>
                      <a:pt x="403" y="368"/>
                    </a:cubicBezTo>
                    <a:cubicBezTo>
                      <a:pt x="404" y="367"/>
                      <a:pt x="405" y="367"/>
                      <a:pt x="405" y="366"/>
                    </a:cubicBezTo>
                    <a:cubicBezTo>
                      <a:pt x="405" y="366"/>
                      <a:pt x="407" y="365"/>
                      <a:pt x="407" y="365"/>
                    </a:cubicBezTo>
                    <a:cubicBezTo>
                      <a:pt x="408" y="365"/>
                      <a:pt x="409" y="365"/>
                      <a:pt x="410" y="365"/>
                    </a:cubicBezTo>
                    <a:cubicBezTo>
                      <a:pt x="408" y="365"/>
                      <a:pt x="407" y="365"/>
                      <a:pt x="407" y="366"/>
                    </a:cubicBezTo>
                    <a:cubicBezTo>
                      <a:pt x="406" y="367"/>
                      <a:pt x="407" y="366"/>
                      <a:pt x="407" y="366"/>
                    </a:cubicBezTo>
                    <a:cubicBezTo>
                      <a:pt x="407" y="366"/>
                      <a:pt x="407" y="367"/>
                      <a:pt x="407" y="367"/>
                    </a:cubicBezTo>
                    <a:cubicBezTo>
                      <a:pt x="407" y="367"/>
                      <a:pt x="407" y="366"/>
                      <a:pt x="407" y="366"/>
                    </a:cubicBezTo>
                    <a:cubicBezTo>
                      <a:pt x="407" y="366"/>
                      <a:pt x="407" y="367"/>
                      <a:pt x="407" y="367"/>
                    </a:cubicBezTo>
                    <a:cubicBezTo>
                      <a:pt x="407" y="367"/>
                      <a:pt x="407" y="367"/>
                      <a:pt x="407" y="366"/>
                    </a:cubicBezTo>
                    <a:cubicBezTo>
                      <a:pt x="407" y="367"/>
                      <a:pt x="407" y="367"/>
                      <a:pt x="407" y="368"/>
                    </a:cubicBezTo>
                    <a:cubicBezTo>
                      <a:pt x="407" y="368"/>
                      <a:pt x="407" y="367"/>
                      <a:pt x="407" y="368"/>
                    </a:cubicBezTo>
                    <a:cubicBezTo>
                      <a:pt x="407" y="368"/>
                      <a:pt x="407" y="368"/>
                      <a:pt x="407" y="368"/>
                    </a:cubicBezTo>
                    <a:cubicBezTo>
                      <a:pt x="407" y="368"/>
                      <a:pt x="407" y="368"/>
                      <a:pt x="407" y="368"/>
                    </a:cubicBezTo>
                    <a:cubicBezTo>
                      <a:pt x="408" y="368"/>
                      <a:pt x="408" y="368"/>
                      <a:pt x="408" y="369"/>
                    </a:cubicBezTo>
                    <a:cubicBezTo>
                      <a:pt x="408" y="369"/>
                      <a:pt x="409" y="369"/>
                      <a:pt x="409" y="369"/>
                    </a:cubicBezTo>
                    <a:cubicBezTo>
                      <a:pt x="409" y="369"/>
                      <a:pt x="409" y="370"/>
                      <a:pt x="409" y="371"/>
                    </a:cubicBezTo>
                    <a:cubicBezTo>
                      <a:pt x="410" y="372"/>
                      <a:pt x="410" y="372"/>
                      <a:pt x="412" y="372"/>
                    </a:cubicBezTo>
                    <a:cubicBezTo>
                      <a:pt x="412" y="371"/>
                      <a:pt x="413" y="371"/>
                      <a:pt x="414" y="371"/>
                    </a:cubicBezTo>
                    <a:cubicBezTo>
                      <a:pt x="414" y="371"/>
                      <a:pt x="414" y="371"/>
                      <a:pt x="414" y="371"/>
                    </a:cubicBezTo>
                    <a:cubicBezTo>
                      <a:pt x="415" y="370"/>
                      <a:pt x="416" y="371"/>
                      <a:pt x="416" y="372"/>
                    </a:cubicBezTo>
                    <a:cubicBezTo>
                      <a:pt x="416" y="372"/>
                      <a:pt x="417" y="372"/>
                      <a:pt x="418" y="371"/>
                    </a:cubicBezTo>
                    <a:cubicBezTo>
                      <a:pt x="418" y="371"/>
                      <a:pt x="417" y="370"/>
                      <a:pt x="416" y="370"/>
                    </a:cubicBezTo>
                    <a:cubicBezTo>
                      <a:pt x="417" y="370"/>
                      <a:pt x="420" y="368"/>
                      <a:pt x="420" y="369"/>
                    </a:cubicBezTo>
                    <a:cubicBezTo>
                      <a:pt x="420" y="369"/>
                      <a:pt x="419" y="369"/>
                      <a:pt x="419" y="369"/>
                    </a:cubicBezTo>
                    <a:cubicBezTo>
                      <a:pt x="419" y="370"/>
                      <a:pt x="420" y="371"/>
                      <a:pt x="420" y="371"/>
                    </a:cubicBezTo>
                    <a:cubicBezTo>
                      <a:pt x="421" y="371"/>
                      <a:pt x="420" y="371"/>
                      <a:pt x="420" y="371"/>
                    </a:cubicBezTo>
                    <a:cubicBezTo>
                      <a:pt x="421" y="371"/>
                      <a:pt x="422" y="370"/>
                      <a:pt x="422" y="369"/>
                    </a:cubicBezTo>
                    <a:cubicBezTo>
                      <a:pt x="423" y="369"/>
                      <a:pt x="424" y="368"/>
                      <a:pt x="425" y="367"/>
                    </a:cubicBezTo>
                    <a:cubicBezTo>
                      <a:pt x="425" y="368"/>
                      <a:pt x="425" y="368"/>
                      <a:pt x="424" y="368"/>
                    </a:cubicBezTo>
                    <a:cubicBezTo>
                      <a:pt x="426" y="369"/>
                      <a:pt x="426" y="369"/>
                      <a:pt x="427" y="370"/>
                    </a:cubicBezTo>
                    <a:cubicBezTo>
                      <a:pt x="427" y="370"/>
                      <a:pt x="427" y="370"/>
                      <a:pt x="428" y="369"/>
                    </a:cubicBezTo>
                    <a:cubicBezTo>
                      <a:pt x="426" y="370"/>
                      <a:pt x="427" y="369"/>
                      <a:pt x="427" y="368"/>
                    </a:cubicBezTo>
                    <a:cubicBezTo>
                      <a:pt x="427" y="368"/>
                      <a:pt x="426" y="368"/>
                      <a:pt x="426" y="367"/>
                    </a:cubicBezTo>
                    <a:cubicBezTo>
                      <a:pt x="427" y="367"/>
                      <a:pt x="428" y="367"/>
                      <a:pt x="429" y="367"/>
                    </a:cubicBezTo>
                    <a:cubicBezTo>
                      <a:pt x="428" y="368"/>
                      <a:pt x="429" y="368"/>
                      <a:pt x="430" y="369"/>
                    </a:cubicBezTo>
                    <a:cubicBezTo>
                      <a:pt x="430" y="369"/>
                      <a:pt x="430" y="369"/>
                      <a:pt x="431" y="368"/>
                    </a:cubicBezTo>
                    <a:cubicBezTo>
                      <a:pt x="431" y="368"/>
                      <a:pt x="431" y="368"/>
                      <a:pt x="432" y="367"/>
                    </a:cubicBezTo>
                    <a:cubicBezTo>
                      <a:pt x="432" y="367"/>
                      <a:pt x="433" y="367"/>
                      <a:pt x="433" y="367"/>
                    </a:cubicBezTo>
                    <a:cubicBezTo>
                      <a:pt x="434" y="367"/>
                      <a:pt x="437" y="368"/>
                      <a:pt x="437" y="366"/>
                    </a:cubicBezTo>
                    <a:cubicBezTo>
                      <a:pt x="437" y="366"/>
                      <a:pt x="437" y="364"/>
                      <a:pt x="437" y="364"/>
                    </a:cubicBezTo>
                    <a:cubicBezTo>
                      <a:pt x="438" y="363"/>
                      <a:pt x="439" y="364"/>
                      <a:pt x="440" y="364"/>
                    </a:cubicBezTo>
                    <a:cubicBezTo>
                      <a:pt x="439" y="362"/>
                      <a:pt x="438" y="364"/>
                      <a:pt x="437" y="362"/>
                    </a:cubicBezTo>
                    <a:cubicBezTo>
                      <a:pt x="438" y="362"/>
                      <a:pt x="438" y="362"/>
                      <a:pt x="439" y="362"/>
                    </a:cubicBezTo>
                    <a:cubicBezTo>
                      <a:pt x="441" y="362"/>
                      <a:pt x="440" y="360"/>
                      <a:pt x="441" y="359"/>
                    </a:cubicBezTo>
                    <a:cubicBezTo>
                      <a:pt x="441" y="359"/>
                      <a:pt x="441" y="359"/>
                      <a:pt x="441" y="360"/>
                    </a:cubicBezTo>
                    <a:cubicBezTo>
                      <a:pt x="442" y="359"/>
                      <a:pt x="443" y="359"/>
                      <a:pt x="443" y="360"/>
                    </a:cubicBezTo>
                    <a:cubicBezTo>
                      <a:pt x="444" y="359"/>
                      <a:pt x="448" y="358"/>
                      <a:pt x="446" y="356"/>
                    </a:cubicBezTo>
                    <a:cubicBezTo>
                      <a:pt x="448" y="357"/>
                      <a:pt x="448" y="356"/>
                      <a:pt x="448" y="359"/>
                    </a:cubicBezTo>
                    <a:cubicBezTo>
                      <a:pt x="449" y="357"/>
                      <a:pt x="451" y="355"/>
                      <a:pt x="453" y="353"/>
                    </a:cubicBezTo>
                    <a:cubicBezTo>
                      <a:pt x="453" y="353"/>
                      <a:pt x="453" y="351"/>
                      <a:pt x="452" y="352"/>
                    </a:cubicBezTo>
                    <a:cubicBezTo>
                      <a:pt x="453" y="351"/>
                      <a:pt x="452" y="351"/>
                      <a:pt x="452" y="351"/>
                    </a:cubicBezTo>
                    <a:cubicBezTo>
                      <a:pt x="451" y="351"/>
                      <a:pt x="451" y="351"/>
                      <a:pt x="451" y="351"/>
                    </a:cubicBezTo>
                    <a:cubicBezTo>
                      <a:pt x="449" y="350"/>
                      <a:pt x="451" y="351"/>
                      <a:pt x="452" y="351"/>
                    </a:cubicBezTo>
                    <a:cubicBezTo>
                      <a:pt x="452" y="350"/>
                      <a:pt x="454" y="348"/>
                      <a:pt x="454" y="349"/>
                    </a:cubicBezTo>
                    <a:cubicBezTo>
                      <a:pt x="455" y="349"/>
                      <a:pt x="456" y="349"/>
                      <a:pt x="456" y="349"/>
                    </a:cubicBezTo>
                    <a:cubicBezTo>
                      <a:pt x="456" y="349"/>
                      <a:pt x="456" y="348"/>
                      <a:pt x="457" y="348"/>
                    </a:cubicBezTo>
                    <a:cubicBezTo>
                      <a:pt x="458" y="348"/>
                      <a:pt x="458" y="350"/>
                      <a:pt x="459" y="349"/>
                    </a:cubicBezTo>
                    <a:cubicBezTo>
                      <a:pt x="459" y="349"/>
                      <a:pt x="459" y="349"/>
                      <a:pt x="459" y="349"/>
                    </a:cubicBezTo>
                    <a:cubicBezTo>
                      <a:pt x="459" y="349"/>
                      <a:pt x="460" y="348"/>
                      <a:pt x="460" y="348"/>
                    </a:cubicBezTo>
                    <a:cubicBezTo>
                      <a:pt x="460" y="347"/>
                      <a:pt x="459" y="347"/>
                      <a:pt x="459" y="347"/>
                    </a:cubicBezTo>
                    <a:cubicBezTo>
                      <a:pt x="460" y="347"/>
                      <a:pt x="460" y="346"/>
                      <a:pt x="461" y="346"/>
                    </a:cubicBezTo>
                    <a:cubicBezTo>
                      <a:pt x="461" y="346"/>
                      <a:pt x="462" y="346"/>
                      <a:pt x="462" y="346"/>
                    </a:cubicBezTo>
                    <a:cubicBezTo>
                      <a:pt x="463" y="346"/>
                      <a:pt x="461" y="343"/>
                      <a:pt x="461" y="342"/>
                    </a:cubicBezTo>
                    <a:cubicBezTo>
                      <a:pt x="461" y="342"/>
                      <a:pt x="467" y="343"/>
                      <a:pt x="466" y="342"/>
                    </a:cubicBezTo>
                    <a:cubicBezTo>
                      <a:pt x="465" y="341"/>
                      <a:pt x="465" y="342"/>
                      <a:pt x="464" y="342"/>
                    </a:cubicBezTo>
                    <a:cubicBezTo>
                      <a:pt x="464" y="341"/>
                      <a:pt x="465" y="338"/>
                      <a:pt x="466" y="338"/>
                    </a:cubicBezTo>
                    <a:cubicBezTo>
                      <a:pt x="466" y="338"/>
                      <a:pt x="468" y="340"/>
                      <a:pt x="469" y="341"/>
                    </a:cubicBezTo>
                    <a:cubicBezTo>
                      <a:pt x="469" y="340"/>
                      <a:pt x="468" y="339"/>
                      <a:pt x="468" y="338"/>
                    </a:cubicBezTo>
                    <a:cubicBezTo>
                      <a:pt x="467" y="339"/>
                      <a:pt x="469" y="334"/>
                      <a:pt x="470" y="334"/>
                    </a:cubicBezTo>
                    <a:cubicBezTo>
                      <a:pt x="468" y="334"/>
                      <a:pt x="466" y="334"/>
                      <a:pt x="465" y="334"/>
                    </a:cubicBezTo>
                    <a:cubicBezTo>
                      <a:pt x="465" y="333"/>
                      <a:pt x="464" y="333"/>
                      <a:pt x="463" y="332"/>
                    </a:cubicBezTo>
                    <a:cubicBezTo>
                      <a:pt x="464" y="333"/>
                      <a:pt x="466" y="334"/>
                      <a:pt x="467" y="334"/>
                    </a:cubicBezTo>
                    <a:cubicBezTo>
                      <a:pt x="467" y="334"/>
                      <a:pt x="467" y="334"/>
                      <a:pt x="468" y="333"/>
                    </a:cubicBezTo>
                    <a:cubicBezTo>
                      <a:pt x="469" y="330"/>
                      <a:pt x="470" y="331"/>
                      <a:pt x="472" y="330"/>
                    </a:cubicBezTo>
                    <a:cubicBezTo>
                      <a:pt x="471" y="330"/>
                      <a:pt x="471" y="329"/>
                      <a:pt x="471" y="329"/>
                    </a:cubicBezTo>
                    <a:cubicBezTo>
                      <a:pt x="470" y="329"/>
                      <a:pt x="470" y="330"/>
                      <a:pt x="470" y="330"/>
                    </a:cubicBezTo>
                    <a:cubicBezTo>
                      <a:pt x="470" y="330"/>
                      <a:pt x="470" y="330"/>
                      <a:pt x="470" y="330"/>
                    </a:cubicBezTo>
                    <a:cubicBezTo>
                      <a:pt x="469" y="330"/>
                      <a:pt x="469" y="329"/>
                      <a:pt x="468" y="329"/>
                    </a:cubicBezTo>
                    <a:cubicBezTo>
                      <a:pt x="468" y="329"/>
                      <a:pt x="470" y="328"/>
                      <a:pt x="470" y="328"/>
                    </a:cubicBezTo>
                    <a:cubicBezTo>
                      <a:pt x="469" y="327"/>
                      <a:pt x="468" y="327"/>
                      <a:pt x="468" y="326"/>
                    </a:cubicBezTo>
                    <a:cubicBezTo>
                      <a:pt x="468" y="326"/>
                      <a:pt x="468" y="325"/>
                      <a:pt x="469" y="325"/>
                    </a:cubicBezTo>
                    <a:cubicBezTo>
                      <a:pt x="469" y="325"/>
                      <a:pt x="470" y="325"/>
                      <a:pt x="470" y="325"/>
                    </a:cubicBezTo>
                    <a:cubicBezTo>
                      <a:pt x="470" y="325"/>
                      <a:pt x="470" y="325"/>
                      <a:pt x="470" y="325"/>
                    </a:cubicBezTo>
                    <a:cubicBezTo>
                      <a:pt x="471" y="325"/>
                      <a:pt x="471" y="325"/>
                      <a:pt x="470" y="325"/>
                    </a:cubicBezTo>
                    <a:cubicBezTo>
                      <a:pt x="471" y="325"/>
                      <a:pt x="474" y="325"/>
                      <a:pt x="473" y="326"/>
                    </a:cubicBezTo>
                    <a:cubicBezTo>
                      <a:pt x="473" y="326"/>
                      <a:pt x="473" y="326"/>
                      <a:pt x="474" y="327"/>
                    </a:cubicBezTo>
                    <a:cubicBezTo>
                      <a:pt x="474" y="326"/>
                      <a:pt x="473" y="325"/>
                      <a:pt x="474" y="325"/>
                    </a:cubicBezTo>
                    <a:cubicBezTo>
                      <a:pt x="474" y="324"/>
                      <a:pt x="475" y="324"/>
                      <a:pt x="475" y="323"/>
                    </a:cubicBezTo>
                    <a:cubicBezTo>
                      <a:pt x="475" y="322"/>
                      <a:pt x="476" y="321"/>
                      <a:pt x="477" y="321"/>
                    </a:cubicBezTo>
                    <a:cubicBezTo>
                      <a:pt x="476" y="321"/>
                      <a:pt x="476" y="321"/>
                      <a:pt x="476" y="320"/>
                    </a:cubicBezTo>
                    <a:cubicBezTo>
                      <a:pt x="477" y="321"/>
                      <a:pt x="479" y="319"/>
                      <a:pt x="479" y="319"/>
                    </a:cubicBezTo>
                    <a:cubicBezTo>
                      <a:pt x="480" y="318"/>
                      <a:pt x="479" y="316"/>
                      <a:pt x="480" y="315"/>
                    </a:cubicBezTo>
                    <a:cubicBezTo>
                      <a:pt x="480" y="315"/>
                      <a:pt x="481" y="313"/>
                      <a:pt x="481" y="312"/>
                    </a:cubicBezTo>
                    <a:cubicBezTo>
                      <a:pt x="481" y="312"/>
                      <a:pt x="480" y="312"/>
                      <a:pt x="479" y="311"/>
                    </a:cubicBezTo>
                    <a:cubicBezTo>
                      <a:pt x="481" y="312"/>
                      <a:pt x="481" y="311"/>
                      <a:pt x="483" y="310"/>
                    </a:cubicBezTo>
                    <a:cubicBezTo>
                      <a:pt x="483" y="310"/>
                      <a:pt x="484" y="310"/>
                      <a:pt x="484" y="309"/>
                    </a:cubicBezTo>
                    <a:cubicBezTo>
                      <a:pt x="484" y="309"/>
                      <a:pt x="483" y="309"/>
                      <a:pt x="484" y="308"/>
                    </a:cubicBezTo>
                    <a:cubicBezTo>
                      <a:pt x="486" y="308"/>
                      <a:pt x="485" y="309"/>
                      <a:pt x="486" y="310"/>
                    </a:cubicBezTo>
                    <a:cubicBezTo>
                      <a:pt x="487" y="309"/>
                      <a:pt x="488" y="309"/>
                      <a:pt x="489" y="308"/>
                    </a:cubicBezTo>
                    <a:cubicBezTo>
                      <a:pt x="488" y="308"/>
                      <a:pt x="489" y="306"/>
                      <a:pt x="488" y="305"/>
                    </a:cubicBezTo>
                    <a:cubicBezTo>
                      <a:pt x="487" y="304"/>
                      <a:pt x="487" y="304"/>
                      <a:pt x="487" y="304"/>
                    </a:cubicBezTo>
                    <a:cubicBezTo>
                      <a:pt x="486" y="304"/>
                      <a:pt x="486" y="304"/>
                      <a:pt x="485" y="303"/>
                    </a:cubicBezTo>
                    <a:cubicBezTo>
                      <a:pt x="487" y="304"/>
                      <a:pt x="487" y="304"/>
                      <a:pt x="489" y="303"/>
                    </a:cubicBezTo>
                    <a:cubicBezTo>
                      <a:pt x="490" y="303"/>
                      <a:pt x="488" y="302"/>
                      <a:pt x="488" y="301"/>
                    </a:cubicBezTo>
                    <a:cubicBezTo>
                      <a:pt x="489" y="301"/>
                      <a:pt x="489" y="301"/>
                      <a:pt x="490" y="301"/>
                    </a:cubicBezTo>
                    <a:cubicBezTo>
                      <a:pt x="490" y="301"/>
                      <a:pt x="489" y="300"/>
                      <a:pt x="489" y="300"/>
                    </a:cubicBezTo>
                    <a:cubicBezTo>
                      <a:pt x="489" y="299"/>
                      <a:pt x="488" y="299"/>
                      <a:pt x="487" y="299"/>
                    </a:cubicBezTo>
                    <a:cubicBezTo>
                      <a:pt x="488" y="299"/>
                      <a:pt x="488" y="297"/>
                      <a:pt x="489" y="297"/>
                    </a:cubicBezTo>
                    <a:cubicBezTo>
                      <a:pt x="490" y="297"/>
                      <a:pt x="490" y="298"/>
                      <a:pt x="490" y="298"/>
                    </a:cubicBezTo>
                    <a:cubicBezTo>
                      <a:pt x="491" y="298"/>
                      <a:pt x="491" y="297"/>
                      <a:pt x="491" y="297"/>
                    </a:cubicBezTo>
                    <a:cubicBezTo>
                      <a:pt x="491" y="297"/>
                      <a:pt x="492" y="297"/>
                      <a:pt x="492" y="298"/>
                    </a:cubicBezTo>
                    <a:cubicBezTo>
                      <a:pt x="492" y="297"/>
                      <a:pt x="493" y="294"/>
                      <a:pt x="492" y="294"/>
                    </a:cubicBezTo>
                    <a:cubicBezTo>
                      <a:pt x="492" y="293"/>
                      <a:pt x="490" y="294"/>
                      <a:pt x="491" y="295"/>
                    </a:cubicBezTo>
                    <a:cubicBezTo>
                      <a:pt x="491" y="296"/>
                      <a:pt x="490" y="295"/>
                      <a:pt x="490" y="295"/>
                    </a:cubicBezTo>
                    <a:cubicBezTo>
                      <a:pt x="489" y="295"/>
                      <a:pt x="488" y="296"/>
                      <a:pt x="487" y="295"/>
                    </a:cubicBezTo>
                    <a:cubicBezTo>
                      <a:pt x="490" y="294"/>
                      <a:pt x="492" y="293"/>
                      <a:pt x="494" y="291"/>
                    </a:cubicBezTo>
                    <a:cubicBezTo>
                      <a:pt x="493" y="291"/>
                      <a:pt x="491" y="291"/>
                      <a:pt x="490" y="290"/>
                    </a:cubicBezTo>
                    <a:cubicBezTo>
                      <a:pt x="488" y="289"/>
                      <a:pt x="487" y="286"/>
                      <a:pt x="484" y="286"/>
                    </a:cubicBezTo>
                    <a:cubicBezTo>
                      <a:pt x="483" y="286"/>
                      <a:pt x="483" y="288"/>
                      <a:pt x="482" y="288"/>
                    </a:cubicBezTo>
                    <a:cubicBezTo>
                      <a:pt x="481" y="288"/>
                      <a:pt x="479" y="289"/>
                      <a:pt x="479" y="288"/>
                    </a:cubicBezTo>
                    <a:cubicBezTo>
                      <a:pt x="479" y="287"/>
                      <a:pt x="479" y="286"/>
                      <a:pt x="478" y="286"/>
                    </a:cubicBezTo>
                    <a:cubicBezTo>
                      <a:pt x="479" y="286"/>
                      <a:pt x="481" y="286"/>
                      <a:pt x="481" y="285"/>
                    </a:cubicBezTo>
                    <a:cubicBezTo>
                      <a:pt x="483" y="284"/>
                      <a:pt x="484" y="283"/>
                      <a:pt x="485" y="282"/>
                    </a:cubicBezTo>
                    <a:cubicBezTo>
                      <a:pt x="486" y="281"/>
                      <a:pt x="488" y="281"/>
                      <a:pt x="489" y="281"/>
                    </a:cubicBezTo>
                    <a:cubicBezTo>
                      <a:pt x="489" y="280"/>
                      <a:pt x="492" y="280"/>
                      <a:pt x="492" y="279"/>
                    </a:cubicBezTo>
                    <a:cubicBezTo>
                      <a:pt x="492" y="278"/>
                      <a:pt x="491" y="277"/>
                      <a:pt x="490" y="276"/>
                    </a:cubicBezTo>
                    <a:cubicBezTo>
                      <a:pt x="490" y="276"/>
                      <a:pt x="490" y="276"/>
                      <a:pt x="490" y="276"/>
                    </a:cubicBezTo>
                    <a:cubicBezTo>
                      <a:pt x="490" y="277"/>
                      <a:pt x="489" y="279"/>
                      <a:pt x="487" y="279"/>
                    </a:cubicBezTo>
                    <a:cubicBezTo>
                      <a:pt x="486" y="279"/>
                      <a:pt x="485" y="277"/>
                      <a:pt x="485" y="276"/>
                    </a:cubicBezTo>
                    <a:cubicBezTo>
                      <a:pt x="485" y="275"/>
                      <a:pt x="486" y="273"/>
                      <a:pt x="487" y="273"/>
                    </a:cubicBezTo>
                    <a:cubicBezTo>
                      <a:pt x="486" y="272"/>
                      <a:pt x="485" y="271"/>
                      <a:pt x="483" y="270"/>
                    </a:cubicBezTo>
                    <a:cubicBezTo>
                      <a:pt x="482" y="270"/>
                      <a:pt x="481" y="270"/>
                      <a:pt x="480" y="269"/>
                    </a:cubicBezTo>
                    <a:cubicBezTo>
                      <a:pt x="480" y="269"/>
                      <a:pt x="480" y="268"/>
                      <a:pt x="480" y="268"/>
                    </a:cubicBezTo>
                    <a:cubicBezTo>
                      <a:pt x="479" y="267"/>
                      <a:pt x="480" y="267"/>
                      <a:pt x="479" y="267"/>
                    </a:cubicBezTo>
                    <a:cubicBezTo>
                      <a:pt x="477" y="266"/>
                      <a:pt x="477" y="268"/>
                      <a:pt x="475" y="268"/>
                    </a:cubicBezTo>
                    <a:cubicBezTo>
                      <a:pt x="476" y="267"/>
                      <a:pt x="476" y="267"/>
                      <a:pt x="476" y="267"/>
                    </a:cubicBezTo>
                    <a:cubicBezTo>
                      <a:pt x="478" y="265"/>
                      <a:pt x="480" y="266"/>
                      <a:pt x="481" y="268"/>
                    </a:cubicBezTo>
                    <a:cubicBezTo>
                      <a:pt x="482" y="268"/>
                      <a:pt x="482" y="269"/>
                      <a:pt x="483" y="269"/>
                    </a:cubicBezTo>
                    <a:cubicBezTo>
                      <a:pt x="484" y="269"/>
                      <a:pt x="485" y="269"/>
                      <a:pt x="486" y="269"/>
                    </a:cubicBezTo>
                    <a:cubicBezTo>
                      <a:pt x="488" y="269"/>
                      <a:pt x="490" y="270"/>
                      <a:pt x="492" y="270"/>
                    </a:cubicBezTo>
                    <a:cubicBezTo>
                      <a:pt x="492" y="269"/>
                      <a:pt x="491" y="268"/>
                      <a:pt x="491" y="267"/>
                    </a:cubicBezTo>
                    <a:cubicBezTo>
                      <a:pt x="490" y="266"/>
                      <a:pt x="488" y="266"/>
                      <a:pt x="487" y="265"/>
                    </a:cubicBezTo>
                    <a:cubicBezTo>
                      <a:pt x="486" y="264"/>
                      <a:pt x="487" y="263"/>
                      <a:pt x="486" y="262"/>
                    </a:cubicBezTo>
                    <a:cubicBezTo>
                      <a:pt x="486" y="262"/>
                      <a:pt x="485" y="261"/>
                      <a:pt x="484" y="261"/>
                    </a:cubicBezTo>
                    <a:cubicBezTo>
                      <a:pt x="482" y="260"/>
                      <a:pt x="482" y="260"/>
                      <a:pt x="482" y="258"/>
                    </a:cubicBezTo>
                    <a:cubicBezTo>
                      <a:pt x="482" y="256"/>
                      <a:pt x="481" y="255"/>
                      <a:pt x="481" y="254"/>
                    </a:cubicBezTo>
                    <a:cubicBezTo>
                      <a:pt x="479" y="251"/>
                      <a:pt x="478" y="248"/>
                      <a:pt x="477" y="245"/>
                    </a:cubicBezTo>
                    <a:cubicBezTo>
                      <a:pt x="476" y="244"/>
                      <a:pt x="476" y="241"/>
                      <a:pt x="475" y="240"/>
                    </a:cubicBezTo>
                    <a:cubicBezTo>
                      <a:pt x="474" y="240"/>
                      <a:pt x="473" y="240"/>
                      <a:pt x="473" y="240"/>
                    </a:cubicBezTo>
                    <a:cubicBezTo>
                      <a:pt x="472" y="239"/>
                      <a:pt x="471" y="239"/>
                      <a:pt x="470" y="239"/>
                    </a:cubicBezTo>
                    <a:cubicBezTo>
                      <a:pt x="470" y="238"/>
                      <a:pt x="467" y="235"/>
                      <a:pt x="466" y="235"/>
                    </a:cubicBezTo>
                    <a:cubicBezTo>
                      <a:pt x="464" y="236"/>
                      <a:pt x="465" y="236"/>
                      <a:pt x="464" y="235"/>
                    </a:cubicBezTo>
                    <a:cubicBezTo>
                      <a:pt x="464" y="234"/>
                      <a:pt x="464" y="234"/>
                      <a:pt x="464" y="233"/>
                    </a:cubicBezTo>
                    <a:cubicBezTo>
                      <a:pt x="464" y="233"/>
                      <a:pt x="464" y="233"/>
                      <a:pt x="464" y="233"/>
                    </a:cubicBezTo>
                    <a:cubicBezTo>
                      <a:pt x="464" y="233"/>
                      <a:pt x="465" y="233"/>
                      <a:pt x="465" y="232"/>
                    </a:cubicBezTo>
                    <a:cubicBezTo>
                      <a:pt x="467" y="231"/>
                      <a:pt x="467" y="226"/>
                      <a:pt x="470" y="226"/>
                    </a:cubicBezTo>
                    <a:cubicBezTo>
                      <a:pt x="472" y="226"/>
                      <a:pt x="472" y="225"/>
                      <a:pt x="473" y="224"/>
                    </a:cubicBezTo>
                    <a:cubicBezTo>
                      <a:pt x="474" y="223"/>
                      <a:pt x="475" y="222"/>
                      <a:pt x="476" y="221"/>
                    </a:cubicBezTo>
                    <a:cubicBezTo>
                      <a:pt x="475" y="221"/>
                      <a:pt x="474" y="220"/>
                      <a:pt x="474" y="220"/>
                    </a:cubicBezTo>
                    <a:cubicBezTo>
                      <a:pt x="473" y="218"/>
                      <a:pt x="475" y="218"/>
                      <a:pt x="476" y="218"/>
                    </a:cubicBezTo>
                    <a:cubicBezTo>
                      <a:pt x="476" y="219"/>
                      <a:pt x="476" y="219"/>
                      <a:pt x="476" y="219"/>
                    </a:cubicBezTo>
                    <a:cubicBezTo>
                      <a:pt x="476" y="221"/>
                      <a:pt x="476" y="220"/>
                      <a:pt x="477" y="220"/>
                    </a:cubicBezTo>
                    <a:cubicBezTo>
                      <a:pt x="479" y="220"/>
                      <a:pt x="479" y="220"/>
                      <a:pt x="480" y="219"/>
                    </a:cubicBezTo>
                    <a:cubicBezTo>
                      <a:pt x="480" y="219"/>
                      <a:pt x="479" y="218"/>
                      <a:pt x="479" y="218"/>
                    </a:cubicBezTo>
                    <a:cubicBezTo>
                      <a:pt x="479" y="217"/>
                      <a:pt x="480" y="217"/>
                      <a:pt x="481" y="216"/>
                    </a:cubicBezTo>
                    <a:cubicBezTo>
                      <a:pt x="482" y="216"/>
                      <a:pt x="482" y="216"/>
                      <a:pt x="482" y="215"/>
                    </a:cubicBezTo>
                    <a:cubicBezTo>
                      <a:pt x="482" y="215"/>
                      <a:pt x="481" y="214"/>
                      <a:pt x="480" y="214"/>
                    </a:cubicBezTo>
                    <a:cubicBezTo>
                      <a:pt x="481" y="213"/>
                      <a:pt x="483" y="214"/>
                      <a:pt x="484" y="214"/>
                    </a:cubicBezTo>
                    <a:cubicBezTo>
                      <a:pt x="485" y="213"/>
                      <a:pt x="486" y="212"/>
                      <a:pt x="488" y="212"/>
                    </a:cubicBezTo>
                    <a:cubicBezTo>
                      <a:pt x="490" y="211"/>
                      <a:pt x="492" y="210"/>
                      <a:pt x="495" y="209"/>
                    </a:cubicBezTo>
                    <a:cubicBezTo>
                      <a:pt x="495" y="211"/>
                      <a:pt x="495" y="212"/>
                      <a:pt x="497" y="211"/>
                    </a:cubicBezTo>
                    <a:cubicBezTo>
                      <a:pt x="498" y="211"/>
                      <a:pt x="498" y="210"/>
                      <a:pt x="499" y="209"/>
                    </a:cubicBezTo>
                    <a:cubicBezTo>
                      <a:pt x="498" y="209"/>
                      <a:pt x="497" y="210"/>
                      <a:pt x="497" y="209"/>
                    </a:cubicBezTo>
                    <a:cubicBezTo>
                      <a:pt x="498" y="208"/>
                      <a:pt x="501" y="206"/>
                      <a:pt x="500" y="205"/>
                    </a:cubicBezTo>
                    <a:cubicBezTo>
                      <a:pt x="500" y="204"/>
                      <a:pt x="498" y="205"/>
                      <a:pt x="498" y="205"/>
                    </a:cubicBezTo>
                    <a:cubicBezTo>
                      <a:pt x="498" y="205"/>
                      <a:pt x="497" y="205"/>
                      <a:pt x="497" y="205"/>
                    </a:cubicBezTo>
                    <a:cubicBezTo>
                      <a:pt x="496" y="204"/>
                      <a:pt x="495" y="204"/>
                      <a:pt x="494" y="203"/>
                    </a:cubicBezTo>
                    <a:cubicBezTo>
                      <a:pt x="493" y="203"/>
                      <a:pt x="493" y="204"/>
                      <a:pt x="493" y="204"/>
                    </a:cubicBezTo>
                    <a:cubicBezTo>
                      <a:pt x="492" y="203"/>
                      <a:pt x="490" y="205"/>
                      <a:pt x="489" y="204"/>
                    </a:cubicBezTo>
                    <a:cubicBezTo>
                      <a:pt x="487" y="204"/>
                      <a:pt x="485" y="203"/>
                      <a:pt x="484" y="202"/>
                    </a:cubicBezTo>
                    <a:cubicBezTo>
                      <a:pt x="483" y="202"/>
                      <a:pt x="482" y="201"/>
                      <a:pt x="481" y="200"/>
                    </a:cubicBezTo>
                    <a:cubicBezTo>
                      <a:pt x="480" y="199"/>
                      <a:pt x="479" y="200"/>
                      <a:pt x="478" y="201"/>
                    </a:cubicBezTo>
                    <a:cubicBezTo>
                      <a:pt x="476" y="201"/>
                      <a:pt x="475" y="201"/>
                      <a:pt x="475" y="203"/>
                    </a:cubicBezTo>
                    <a:cubicBezTo>
                      <a:pt x="475" y="203"/>
                      <a:pt x="473" y="204"/>
                      <a:pt x="472" y="205"/>
                    </a:cubicBezTo>
                    <a:cubicBezTo>
                      <a:pt x="471" y="206"/>
                      <a:pt x="469" y="208"/>
                      <a:pt x="468" y="208"/>
                    </a:cubicBezTo>
                    <a:cubicBezTo>
                      <a:pt x="467" y="208"/>
                      <a:pt x="465" y="207"/>
                      <a:pt x="464" y="206"/>
                    </a:cubicBezTo>
                    <a:cubicBezTo>
                      <a:pt x="462" y="206"/>
                      <a:pt x="462" y="206"/>
                      <a:pt x="462" y="204"/>
                    </a:cubicBezTo>
                    <a:cubicBezTo>
                      <a:pt x="463" y="203"/>
                      <a:pt x="463" y="201"/>
                      <a:pt x="463" y="200"/>
                    </a:cubicBezTo>
                    <a:cubicBezTo>
                      <a:pt x="463" y="198"/>
                      <a:pt x="462" y="196"/>
                      <a:pt x="461" y="196"/>
                    </a:cubicBezTo>
                    <a:cubicBezTo>
                      <a:pt x="460" y="196"/>
                      <a:pt x="459" y="196"/>
                      <a:pt x="459" y="196"/>
                    </a:cubicBezTo>
                    <a:cubicBezTo>
                      <a:pt x="458" y="196"/>
                      <a:pt x="459" y="196"/>
                      <a:pt x="459" y="197"/>
                    </a:cubicBezTo>
                    <a:cubicBezTo>
                      <a:pt x="459" y="197"/>
                      <a:pt x="458" y="197"/>
                      <a:pt x="458" y="198"/>
                    </a:cubicBezTo>
                    <a:cubicBezTo>
                      <a:pt x="457" y="197"/>
                      <a:pt x="457" y="196"/>
                      <a:pt x="456" y="196"/>
                    </a:cubicBezTo>
                    <a:cubicBezTo>
                      <a:pt x="456" y="196"/>
                      <a:pt x="455" y="196"/>
                      <a:pt x="455" y="196"/>
                    </a:cubicBezTo>
                    <a:cubicBezTo>
                      <a:pt x="454" y="196"/>
                      <a:pt x="453" y="195"/>
                      <a:pt x="451" y="195"/>
                    </a:cubicBezTo>
                    <a:cubicBezTo>
                      <a:pt x="450" y="194"/>
                      <a:pt x="447" y="191"/>
                      <a:pt x="448" y="190"/>
                    </a:cubicBezTo>
                    <a:cubicBezTo>
                      <a:pt x="448" y="188"/>
                      <a:pt x="448" y="186"/>
                      <a:pt x="450" y="184"/>
                    </a:cubicBezTo>
                    <a:cubicBezTo>
                      <a:pt x="450" y="184"/>
                      <a:pt x="450" y="184"/>
                      <a:pt x="451" y="184"/>
                    </a:cubicBezTo>
                    <a:cubicBezTo>
                      <a:pt x="453" y="183"/>
                      <a:pt x="453" y="185"/>
                      <a:pt x="456" y="185"/>
                    </a:cubicBezTo>
                    <a:cubicBezTo>
                      <a:pt x="456" y="185"/>
                      <a:pt x="458" y="185"/>
                      <a:pt x="459" y="185"/>
                    </a:cubicBezTo>
                    <a:cubicBezTo>
                      <a:pt x="460" y="184"/>
                      <a:pt x="461" y="185"/>
                      <a:pt x="462" y="184"/>
                    </a:cubicBezTo>
                    <a:cubicBezTo>
                      <a:pt x="462" y="184"/>
                      <a:pt x="463" y="183"/>
                      <a:pt x="463" y="183"/>
                    </a:cubicBezTo>
                    <a:cubicBezTo>
                      <a:pt x="464" y="182"/>
                      <a:pt x="465" y="181"/>
                      <a:pt x="465" y="180"/>
                    </a:cubicBezTo>
                    <a:cubicBezTo>
                      <a:pt x="466" y="177"/>
                      <a:pt x="467" y="175"/>
                      <a:pt x="469" y="175"/>
                    </a:cubicBezTo>
                    <a:cubicBezTo>
                      <a:pt x="472" y="174"/>
                      <a:pt x="474" y="172"/>
                      <a:pt x="477" y="171"/>
                    </a:cubicBezTo>
                    <a:cubicBezTo>
                      <a:pt x="479" y="169"/>
                      <a:pt x="480" y="167"/>
                      <a:pt x="482" y="165"/>
                    </a:cubicBezTo>
                    <a:cubicBezTo>
                      <a:pt x="484" y="163"/>
                      <a:pt x="484" y="163"/>
                      <a:pt x="486" y="163"/>
                    </a:cubicBezTo>
                    <a:cubicBezTo>
                      <a:pt x="488" y="164"/>
                      <a:pt x="489" y="164"/>
                      <a:pt x="490" y="163"/>
                    </a:cubicBezTo>
                    <a:cubicBezTo>
                      <a:pt x="491" y="163"/>
                      <a:pt x="491" y="162"/>
                      <a:pt x="492" y="162"/>
                    </a:cubicBezTo>
                    <a:cubicBezTo>
                      <a:pt x="491" y="163"/>
                      <a:pt x="491" y="164"/>
                      <a:pt x="493" y="164"/>
                    </a:cubicBezTo>
                    <a:cubicBezTo>
                      <a:pt x="494" y="165"/>
                      <a:pt x="495" y="165"/>
                      <a:pt x="496" y="167"/>
                    </a:cubicBezTo>
                    <a:cubicBezTo>
                      <a:pt x="496" y="167"/>
                      <a:pt x="496" y="167"/>
                      <a:pt x="496" y="168"/>
                    </a:cubicBezTo>
                    <a:cubicBezTo>
                      <a:pt x="496" y="168"/>
                      <a:pt x="495" y="169"/>
                      <a:pt x="495" y="169"/>
                    </a:cubicBezTo>
                    <a:cubicBezTo>
                      <a:pt x="494" y="171"/>
                      <a:pt x="493" y="172"/>
                      <a:pt x="492" y="173"/>
                    </a:cubicBezTo>
                    <a:cubicBezTo>
                      <a:pt x="491" y="174"/>
                      <a:pt x="491" y="174"/>
                      <a:pt x="490" y="175"/>
                    </a:cubicBezTo>
                    <a:cubicBezTo>
                      <a:pt x="490" y="175"/>
                      <a:pt x="488" y="175"/>
                      <a:pt x="488" y="176"/>
                    </a:cubicBezTo>
                    <a:cubicBezTo>
                      <a:pt x="487" y="177"/>
                      <a:pt x="488" y="178"/>
                      <a:pt x="487" y="178"/>
                    </a:cubicBezTo>
                    <a:cubicBezTo>
                      <a:pt x="487" y="179"/>
                      <a:pt x="487" y="178"/>
                      <a:pt x="486" y="179"/>
                    </a:cubicBezTo>
                    <a:cubicBezTo>
                      <a:pt x="486" y="179"/>
                      <a:pt x="486" y="179"/>
                      <a:pt x="485" y="179"/>
                    </a:cubicBezTo>
                    <a:cubicBezTo>
                      <a:pt x="488" y="182"/>
                      <a:pt x="489" y="181"/>
                      <a:pt x="492" y="181"/>
                    </a:cubicBezTo>
                    <a:cubicBezTo>
                      <a:pt x="492" y="181"/>
                      <a:pt x="489" y="182"/>
                      <a:pt x="489" y="183"/>
                    </a:cubicBezTo>
                    <a:cubicBezTo>
                      <a:pt x="489" y="183"/>
                      <a:pt x="490" y="184"/>
                      <a:pt x="490" y="184"/>
                    </a:cubicBezTo>
                    <a:cubicBezTo>
                      <a:pt x="490" y="185"/>
                      <a:pt x="488" y="185"/>
                      <a:pt x="487" y="185"/>
                    </a:cubicBezTo>
                    <a:cubicBezTo>
                      <a:pt x="486" y="186"/>
                      <a:pt x="485" y="186"/>
                      <a:pt x="485" y="186"/>
                    </a:cubicBezTo>
                    <a:cubicBezTo>
                      <a:pt x="485" y="187"/>
                      <a:pt x="484" y="186"/>
                      <a:pt x="484" y="186"/>
                    </a:cubicBezTo>
                    <a:cubicBezTo>
                      <a:pt x="484" y="187"/>
                      <a:pt x="485" y="189"/>
                      <a:pt x="485" y="189"/>
                    </a:cubicBezTo>
                    <a:cubicBezTo>
                      <a:pt x="489" y="187"/>
                      <a:pt x="492" y="184"/>
                      <a:pt x="496" y="181"/>
                    </a:cubicBezTo>
                    <a:cubicBezTo>
                      <a:pt x="498" y="180"/>
                      <a:pt x="499" y="180"/>
                      <a:pt x="501" y="179"/>
                    </a:cubicBezTo>
                    <a:cubicBezTo>
                      <a:pt x="502" y="178"/>
                      <a:pt x="504" y="177"/>
                      <a:pt x="505" y="176"/>
                    </a:cubicBezTo>
                    <a:cubicBezTo>
                      <a:pt x="507" y="176"/>
                      <a:pt x="508" y="176"/>
                      <a:pt x="509" y="176"/>
                    </a:cubicBezTo>
                    <a:cubicBezTo>
                      <a:pt x="511" y="176"/>
                      <a:pt x="512" y="176"/>
                      <a:pt x="514" y="176"/>
                    </a:cubicBezTo>
                    <a:cubicBezTo>
                      <a:pt x="515" y="176"/>
                      <a:pt x="516" y="175"/>
                      <a:pt x="516" y="174"/>
                    </a:cubicBezTo>
                    <a:lnTo>
                      <a:pt x="516"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6" name="Freeform 3138">
                <a:extLst>
                  <a:ext uri="{FF2B5EF4-FFF2-40B4-BE49-F238E27FC236}">
                    <a16:creationId xmlns:a16="http://schemas.microsoft.com/office/drawing/2014/main" id="{7C7D02B0-92C5-4382-A952-1E297A2F0DAA}"/>
                  </a:ext>
                </a:extLst>
              </p:cNvPr>
              <p:cNvSpPr>
                <a:spLocks/>
              </p:cNvSpPr>
              <p:nvPr/>
            </p:nvSpPr>
            <p:spPr bwMode="auto">
              <a:xfrm>
                <a:off x="5455" y="1922"/>
                <a:ext cx="4" cy="0"/>
              </a:xfrm>
              <a:custGeom>
                <a:avLst/>
                <a:gdLst>
                  <a:gd name="T0" fmla="*/ 2 w 2"/>
                  <a:gd name="T1" fmla="*/ 0 w 2"/>
                  <a:gd name="T2" fmla="*/ 0 w 2"/>
                  <a:gd name="T3" fmla="*/ 0 w 2"/>
                  <a:gd name="T4" fmla="*/ 0 w 2"/>
                  <a:gd name="T5" fmla="*/ 0 w 2"/>
                  <a:gd name="T6" fmla="*/ 2 w 2"/>
                  <a:gd name="T7" fmla="*/ 2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2" y="0"/>
                    </a:move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2" y="0"/>
                      <a:pt x="2"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7" name="Freeform 3139">
                <a:extLst>
                  <a:ext uri="{FF2B5EF4-FFF2-40B4-BE49-F238E27FC236}">
                    <a16:creationId xmlns:a16="http://schemas.microsoft.com/office/drawing/2014/main" id="{14B24BE0-6211-430C-A147-180C9710BA9B}"/>
                  </a:ext>
                </a:extLst>
              </p:cNvPr>
              <p:cNvSpPr>
                <a:spLocks/>
              </p:cNvSpPr>
              <p:nvPr/>
            </p:nvSpPr>
            <p:spPr bwMode="auto">
              <a:xfrm>
                <a:off x="5694" y="2123"/>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8" name="Freeform 3140">
                <a:extLst>
                  <a:ext uri="{FF2B5EF4-FFF2-40B4-BE49-F238E27FC236}">
                    <a16:creationId xmlns:a16="http://schemas.microsoft.com/office/drawing/2014/main" id="{DC551477-D8D8-41AE-A154-B866D6F6BDE6}"/>
                  </a:ext>
                </a:extLst>
              </p:cNvPr>
              <p:cNvSpPr>
                <a:spLocks/>
              </p:cNvSpPr>
              <p:nvPr/>
            </p:nvSpPr>
            <p:spPr bwMode="auto">
              <a:xfrm>
                <a:off x="5677" y="2048"/>
                <a:ext cx="220" cy="186"/>
              </a:xfrm>
              <a:custGeom>
                <a:avLst/>
                <a:gdLst>
                  <a:gd name="T0" fmla="*/ 6 w 93"/>
                  <a:gd name="T1" fmla="*/ 32 h 79"/>
                  <a:gd name="T2" fmla="*/ 10 w 93"/>
                  <a:gd name="T3" fmla="*/ 31 h 79"/>
                  <a:gd name="T4" fmla="*/ 13 w 93"/>
                  <a:gd name="T5" fmla="*/ 36 h 79"/>
                  <a:gd name="T6" fmla="*/ 17 w 93"/>
                  <a:gd name="T7" fmla="*/ 34 h 79"/>
                  <a:gd name="T8" fmla="*/ 19 w 93"/>
                  <a:gd name="T9" fmla="*/ 43 h 79"/>
                  <a:gd name="T10" fmla="*/ 20 w 93"/>
                  <a:gd name="T11" fmla="*/ 44 h 79"/>
                  <a:gd name="T12" fmla="*/ 24 w 93"/>
                  <a:gd name="T13" fmla="*/ 45 h 79"/>
                  <a:gd name="T14" fmla="*/ 27 w 93"/>
                  <a:gd name="T15" fmla="*/ 45 h 79"/>
                  <a:gd name="T16" fmla="*/ 36 w 93"/>
                  <a:gd name="T17" fmla="*/ 45 h 79"/>
                  <a:gd name="T18" fmla="*/ 43 w 93"/>
                  <a:gd name="T19" fmla="*/ 46 h 79"/>
                  <a:gd name="T20" fmla="*/ 44 w 93"/>
                  <a:gd name="T21" fmla="*/ 50 h 79"/>
                  <a:gd name="T22" fmla="*/ 41 w 93"/>
                  <a:gd name="T23" fmla="*/ 55 h 79"/>
                  <a:gd name="T24" fmla="*/ 40 w 93"/>
                  <a:gd name="T25" fmla="*/ 55 h 79"/>
                  <a:gd name="T26" fmla="*/ 38 w 93"/>
                  <a:gd name="T27" fmla="*/ 58 h 79"/>
                  <a:gd name="T28" fmla="*/ 33 w 93"/>
                  <a:gd name="T29" fmla="*/ 61 h 79"/>
                  <a:gd name="T30" fmla="*/ 33 w 93"/>
                  <a:gd name="T31" fmla="*/ 64 h 79"/>
                  <a:gd name="T32" fmla="*/ 36 w 93"/>
                  <a:gd name="T33" fmla="*/ 68 h 79"/>
                  <a:gd name="T34" fmla="*/ 38 w 93"/>
                  <a:gd name="T35" fmla="*/ 63 h 79"/>
                  <a:gd name="T36" fmla="*/ 43 w 93"/>
                  <a:gd name="T37" fmla="*/ 60 h 79"/>
                  <a:gd name="T38" fmla="*/ 47 w 93"/>
                  <a:gd name="T39" fmla="*/ 68 h 79"/>
                  <a:gd name="T40" fmla="*/ 46 w 93"/>
                  <a:gd name="T41" fmla="*/ 75 h 79"/>
                  <a:gd name="T42" fmla="*/ 50 w 93"/>
                  <a:gd name="T43" fmla="*/ 74 h 79"/>
                  <a:gd name="T44" fmla="*/ 53 w 93"/>
                  <a:gd name="T45" fmla="*/ 61 h 79"/>
                  <a:gd name="T46" fmla="*/ 62 w 93"/>
                  <a:gd name="T47" fmla="*/ 57 h 79"/>
                  <a:gd name="T48" fmla="*/ 70 w 93"/>
                  <a:gd name="T49" fmla="*/ 37 h 79"/>
                  <a:gd name="T50" fmla="*/ 76 w 93"/>
                  <a:gd name="T51" fmla="*/ 26 h 79"/>
                  <a:gd name="T52" fmla="*/ 89 w 93"/>
                  <a:gd name="T53" fmla="*/ 21 h 79"/>
                  <a:gd name="T54" fmla="*/ 93 w 93"/>
                  <a:gd name="T55" fmla="*/ 13 h 79"/>
                  <a:gd name="T56" fmla="*/ 91 w 93"/>
                  <a:gd name="T57" fmla="*/ 12 h 79"/>
                  <a:gd name="T58" fmla="*/ 86 w 93"/>
                  <a:gd name="T59" fmla="*/ 11 h 79"/>
                  <a:gd name="T60" fmla="*/ 82 w 93"/>
                  <a:gd name="T61" fmla="*/ 10 h 79"/>
                  <a:gd name="T62" fmla="*/ 84 w 93"/>
                  <a:gd name="T63" fmla="*/ 7 h 79"/>
                  <a:gd name="T64" fmla="*/ 85 w 93"/>
                  <a:gd name="T65" fmla="*/ 6 h 79"/>
                  <a:gd name="T66" fmla="*/ 81 w 93"/>
                  <a:gd name="T67" fmla="*/ 7 h 79"/>
                  <a:gd name="T68" fmla="*/ 82 w 93"/>
                  <a:gd name="T69" fmla="*/ 2 h 79"/>
                  <a:gd name="T70" fmla="*/ 81 w 93"/>
                  <a:gd name="T71" fmla="*/ 0 h 79"/>
                  <a:gd name="T72" fmla="*/ 72 w 93"/>
                  <a:gd name="T73" fmla="*/ 4 h 79"/>
                  <a:gd name="T74" fmla="*/ 69 w 93"/>
                  <a:gd name="T75" fmla="*/ 3 h 79"/>
                  <a:gd name="T76" fmla="*/ 65 w 93"/>
                  <a:gd name="T77" fmla="*/ 3 h 79"/>
                  <a:gd name="T78" fmla="*/ 58 w 93"/>
                  <a:gd name="T79" fmla="*/ 8 h 79"/>
                  <a:gd name="T80" fmla="*/ 52 w 93"/>
                  <a:gd name="T81" fmla="*/ 11 h 79"/>
                  <a:gd name="T82" fmla="*/ 51 w 93"/>
                  <a:gd name="T83" fmla="*/ 12 h 79"/>
                  <a:gd name="T84" fmla="*/ 48 w 93"/>
                  <a:gd name="T85" fmla="*/ 14 h 79"/>
                  <a:gd name="T86" fmla="*/ 48 w 93"/>
                  <a:gd name="T87" fmla="*/ 16 h 79"/>
                  <a:gd name="T88" fmla="*/ 39 w 93"/>
                  <a:gd name="T89" fmla="*/ 18 h 79"/>
                  <a:gd name="T90" fmla="*/ 37 w 93"/>
                  <a:gd name="T91" fmla="*/ 19 h 79"/>
                  <a:gd name="T92" fmla="*/ 41 w 93"/>
                  <a:gd name="T93" fmla="*/ 21 h 79"/>
                  <a:gd name="T94" fmla="*/ 41 w 93"/>
                  <a:gd name="T95" fmla="*/ 25 h 79"/>
                  <a:gd name="T96" fmla="*/ 38 w 93"/>
                  <a:gd name="T97" fmla="*/ 29 h 79"/>
                  <a:gd name="T98" fmla="*/ 37 w 93"/>
                  <a:gd name="T99" fmla="*/ 29 h 79"/>
                  <a:gd name="T100" fmla="*/ 33 w 93"/>
                  <a:gd name="T101" fmla="*/ 29 h 79"/>
                  <a:gd name="T102" fmla="*/ 27 w 93"/>
                  <a:gd name="T103" fmla="*/ 29 h 79"/>
                  <a:gd name="T104" fmla="*/ 23 w 93"/>
                  <a:gd name="T105" fmla="*/ 28 h 79"/>
                  <a:gd name="T106" fmla="*/ 17 w 93"/>
                  <a:gd name="T107" fmla="*/ 30 h 79"/>
                  <a:gd name="T108" fmla="*/ 13 w 93"/>
                  <a:gd name="T109" fmla="*/ 29 h 79"/>
                  <a:gd name="T110" fmla="*/ 9 w 93"/>
                  <a:gd name="T111" fmla="*/ 28 h 79"/>
                  <a:gd name="T112" fmla="*/ 4 w 93"/>
                  <a:gd name="T113" fmla="*/ 25 h 79"/>
                  <a:gd name="T114" fmla="*/ 6 w 93"/>
                  <a:gd name="T115" fmla="*/ 22 h 79"/>
                  <a:gd name="T116" fmla="*/ 6 w 93"/>
                  <a:gd name="T117" fmla="*/ 18 h 79"/>
                  <a:gd name="T118" fmla="*/ 6 w 93"/>
                  <a:gd name="T119" fmla="*/ 15 h 79"/>
                  <a:gd name="T120" fmla="*/ 2 w 93"/>
                  <a:gd name="T121" fmla="*/ 17 h 79"/>
                  <a:gd name="T122" fmla="*/ 0 w 93"/>
                  <a:gd name="T123" fmla="*/ 25 h 79"/>
                  <a:gd name="T124" fmla="*/ 2 w 93"/>
                  <a:gd name="T125" fmla="*/ 2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 h="79">
                    <a:moveTo>
                      <a:pt x="2" y="30"/>
                    </a:moveTo>
                    <a:cubicBezTo>
                      <a:pt x="2" y="30"/>
                      <a:pt x="2" y="30"/>
                      <a:pt x="2" y="30"/>
                    </a:cubicBezTo>
                    <a:cubicBezTo>
                      <a:pt x="2" y="30"/>
                      <a:pt x="3" y="29"/>
                      <a:pt x="3" y="29"/>
                    </a:cubicBezTo>
                    <a:cubicBezTo>
                      <a:pt x="4" y="29"/>
                      <a:pt x="5" y="30"/>
                      <a:pt x="6" y="31"/>
                    </a:cubicBezTo>
                    <a:cubicBezTo>
                      <a:pt x="6" y="31"/>
                      <a:pt x="6" y="32"/>
                      <a:pt x="6" y="32"/>
                    </a:cubicBezTo>
                    <a:cubicBezTo>
                      <a:pt x="6" y="32"/>
                      <a:pt x="6" y="32"/>
                      <a:pt x="6" y="32"/>
                    </a:cubicBezTo>
                    <a:cubicBezTo>
                      <a:pt x="7" y="32"/>
                      <a:pt x="7" y="32"/>
                      <a:pt x="7" y="32"/>
                    </a:cubicBezTo>
                    <a:cubicBezTo>
                      <a:pt x="7" y="31"/>
                      <a:pt x="7" y="31"/>
                      <a:pt x="7" y="31"/>
                    </a:cubicBezTo>
                    <a:cubicBezTo>
                      <a:pt x="7" y="29"/>
                      <a:pt x="7" y="29"/>
                      <a:pt x="7" y="29"/>
                    </a:cubicBezTo>
                    <a:cubicBezTo>
                      <a:pt x="10" y="31"/>
                      <a:pt x="10" y="31"/>
                      <a:pt x="10" y="31"/>
                    </a:cubicBezTo>
                    <a:cubicBezTo>
                      <a:pt x="10" y="32"/>
                      <a:pt x="11" y="32"/>
                      <a:pt x="11" y="32"/>
                    </a:cubicBezTo>
                    <a:cubicBezTo>
                      <a:pt x="11" y="33"/>
                      <a:pt x="11" y="33"/>
                      <a:pt x="11" y="33"/>
                    </a:cubicBezTo>
                    <a:cubicBezTo>
                      <a:pt x="12" y="34"/>
                      <a:pt x="12" y="34"/>
                      <a:pt x="12" y="34"/>
                    </a:cubicBezTo>
                    <a:cubicBezTo>
                      <a:pt x="12" y="35"/>
                      <a:pt x="13" y="35"/>
                      <a:pt x="13" y="35"/>
                    </a:cubicBezTo>
                    <a:cubicBezTo>
                      <a:pt x="13" y="36"/>
                      <a:pt x="13" y="36"/>
                      <a:pt x="13" y="36"/>
                    </a:cubicBezTo>
                    <a:cubicBezTo>
                      <a:pt x="13" y="36"/>
                      <a:pt x="14" y="36"/>
                      <a:pt x="14" y="35"/>
                    </a:cubicBezTo>
                    <a:cubicBezTo>
                      <a:pt x="14" y="35"/>
                      <a:pt x="14" y="35"/>
                      <a:pt x="14" y="35"/>
                    </a:cubicBezTo>
                    <a:cubicBezTo>
                      <a:pt x="15" y="35"/>
                      <a:pt x="15" y="34"/>
                      <a:pt x="15" y="34"/>
                    </a:cubicBezTo>
                    <a:cubicBezTo>
                      <a:pt x="16" y="32"/>
                      <a:pt x="16" y="32"/>
                      <a:pt x="16" y="32"/>
                    </a:cubicBezTo>
                    <a:cubicBezTo>
                      <a:pt x="17" y="34"/>
                      <a:pt x="17" y="34"/>
                      <a:pt x="17" y="34"/>
                    </a:cubicBezTo>
                    <a:cubicBezTo>
                      <a:pt x="17" y="35"/>
                      <a:pt x="18" y="35"/>
                      <a:pt x="18" y="36"/>
                    </a:cubicBezTo>
                    <a:cubicBezTo>
                      <a:pt x="18" y="37"/>
                      <a:pt x="18" y="38"/>
                      <a:pt x="19" y="39"/>
                    </a:cubicBezTo>
                    <a:cubicBezTo>
                      <a:pt x="19" y="40"/>
                      <a:pt x="19" y="40"/>
                      <a:pt x="19" y="41"/>
                    </a:cubicBezTo>
                    <a:cubicBezTo>
                      <a:pt x="19" y="41"/>
                      <a:pt x="19" y="41"/>
                      <a:pt x="19" y="41"/>
                    </a:cubicBezTo>
                    <a:cubicBezTo>
                      <a:pt x="19" y="42"/>
                      <a:pt x="19" y="42"/>
                      <a:pt x="19" y="43"/>
                    </a:cubicBezTo>
                    <a:cubicBezTo>
                      <a:pt x="19" y="43"/>
                      <a:pt x="19" y="43"/>
                      <a:pt x="19" y="43"/>
                    </a:cubicBezTo>
                    <a:cubicBezTo>
                      <a:pt x="19" y="43"/>
                      <a:pt x="19" y="43"/>
                      <a:pt x="19" y="43"/>
                    </a:cubicBezTo>
                    <a:cubicBezTo>
                      <a:pt x="19" y="43"/>
                      <a:pt x="19" y="43"/>
                      <a:pt x="19" y="43"/>
                    </a:cubicBezTo>
                    <a:cubicBezTo>
                      <a:pt x="19" y="43"/>
                      <a:pt x="19" y="43"/>
                      <a:pt x="20" y="43"/>
                    </a:cubicBezTo>
                    <a:cubicBezTo>
                      <a:pt x="20" y="44"/>
                      <a:pt x="20" y="44"/>
                      <a:pt x="20" y="44"/>
                    </a:cubicBezTo>
                    <a:cubicBezTo>
                      <a:pt x="20" y="44"/>
                      <a:pt x="21" y="44"/>
                      <a:pt x="22" y="44"/>
                    </a:cubicBezTo>
                    <a:cubicBezTo>
                      <a:pt x="22" y="44"/>
                      <a:pt x="22" y="44"/>
                      <a:pt x="23" y="45"/>
                    </a:cubicBezTo>
                    <a:cubicBezTo>
                      <a:pt x="23" y="45"/>
                      <a:pt x="23" y="45"/>
                      <a:pt x="23" y="45"/>
                    </a:cubicBezTo>
                    <a:cubicBezTo>
                      <a:pt x="23" y="45"/>
                      <a:pt x="23" y="45"/>
                      <a:pt x="24" y="45"/>
                    </a:cubicBezTo>
                    <a:cubicBezTo>
                      <a:pt x="24" y="45"/>
                      <a:pt x="24" y="45"/>
                      <a:pt x="24" y="45"/>
                    </a:cubicBezTo>
                    <a:cubicBezTo>
                      <a:pt x="24" y="45"/>
                      <a:pt x="24" y="45"/>
                      <a:pt x="25" y="45"/>
                    </a:cubicBezTo>
                    <a:cubicBezTo>
                      <a:pt x="25" y="45"/>
                      <a:pt x="25" y="45"/>
                      <a:pt x="25" y="45"/>
                    </a:cubicBezTo>
                    <a:cubicBezTo>
                      <a:pt x="25" y="45"/>
                      <a:pt x="26" y="45"/>
                      <a:pt x="26" y="45"/>
                    </a:cubicBezTo>
                    <a:cubicBezTo>
                      <a:pt x="27" y="45"/>
                      <a:pt x="27" y="45"/>
                      <a:pt x="27" y="45"/>
                    </a:cubicBezTo>
                    <a:cubicBezTo>
                      <a:pt x="27" y="45"/>
                      <a:pt x="27" y="45"/>
                      <a:pt x="27" y="45"/>
                    </a:cubicBezTo>
                    <a:cubicBezTo>
                      <a:pt x="28" y="45"/>
                      <a:pt x="28" y="44"/>
                      <a:pt x="28" y="44"/>
                    </a:cubicBezTo>
                    <a:cubicBezTo>
                      <a:pt x="28" y="44"/>
                      <a:pt x="28" y="44"/>
                      <a:pt x="28" y="44"/>
                    </a:cubicBezTo>
                    <a:cubicBezTo>
                      <a:pt x="29" y="44"/>
                      <a:pt x="30" y="44"/>
                      <a:pt x="31" y="44"/>
                    </a:cubicBezTo>
                    <a:cubicBezTo>
                      <a:pt x="31" y="44"/>
                      <a:pt x="31" y="44"/>
                      <a:pt x="31" y="44"/>
                    </a:cubicBezTo>
                    <a:cubicBezTo>
                      <a:pt x="33" y="45"/>
                      <a:pt x="35" y="45"/>
                      <a:pt x="36" y="45"/>
                    </a:cubicBezTo>
                    <a:cubicBezTo>
                      <a:pt x="37" y="45"/>
                      <a:pt x="37" y="45"/>
                      <a:pt x="38" y="45"/>
                    </a:cubicBezTo>
                    <a:cubicBezTo>
                      <a:pt x="38" y="45"/>
                      <a:pt x="38" y="45"/>
                      <a:pt x="38" y="45"/>
                    </a:cubicBezTo>
                    <a:cubicBezTo>
                      <a:pt x="39" y="45"/>
                      <a:pt x="40" y="44"/>
                      <a:pt x="42" y="45"/>
                    </a:cubicBezTo>
                    <a:cubicBezTo>
                      <a:pt x="42" y="45"/>
                      <a:pt x="42" y="45"/>
                      <a:pt x="43" y="46"/>
                    </a:cubicBezTo>
                    <a:cubicBezTo>
                      <a:pt x="43" y="46"/>
                      <a:pt x="43" y="46"/>
                      <a:pt x="43" y="46"/>
                    </a:cubicBezTo>
                    <a:cubicBezTo>
                      <a:pt x="43" y="46"/>
                      <a:pt x="44" y="46"/>
                      <a:pt x="44" y="46"/>
                    </a:cubicBezTo>
                    <a:cubicBezTo>
                      <a:pt x="45" y="46"/>
                      <a:pt x="45" y="47"/>
                      <a:pt x="45" y="47"/>
                    </a:cubicBezTo>
                    <a:cubicBezTo>
                      <a:pt x="45" y="48"/>
                      <a:pt x="45" y="48"/>
                      <a:pt x="45" y="48"/>
                    </a:cubicBezTo>
                    <a:cubicBezTo>
                      <a:pt x="47" y="50"/>
                      <a:pt x="47" y="50"/>
                      <a:pt x="47" y="50"/>
                    </a:cubicBezTo>
                    <a:cubicBezTo>
                      <a:pt x="44" y="50"/>
                      <a:pt x="44" y="50"/>
                      <a:pt x="44" y="50"/>
                    </a:cubicBezTo>
                    <a:cubicBezTo>
                      <a:pt x="43" y="51"/>
                      <a:pt x="43" y="51"/>
                      <a:pt x="43" y="51"/>
                    </a:cubicBezTo>
                    <a:cubicBezTo>
                      <a:pt x="43" y="52"/>
                      <a:pt x="43" y="53"/>
                      <a:pt x="42" y="53"/>
                    </a:cubicBezTo>
                    <a:cubicBezTo>
                      <a:pt x="42" y="53"/>
                      <a:pt x="42" y="53"/>
                      <a:pt x="42" y="53"/>
                    </a:cubicBezTo>
                    <a:cubicBezTo>
                      <a:pt x="42" y="54"/>
                      <a:pt x="42" y="54"/>
                      <a:pt x="42" y="54"/>
                    </a:cubicBezTo>
                    <a:cubicBezTo>
                      <a:pt x="42" y="54"/>
                      <a:pt x="41" y="55"/>
                      <a:pt x="41" y="55"/>
                    </a:cubicBezTo>
                    <a:cubicBezTo>
                      <a:pt x="41" y="55"/>
                      <a:pt x="41" y="55"/>
                      <a:pt x="41" y="55"/>
                    </a:cubicBezTo>
                    <a:cubicBezTo>
                      <a:pt x="40" y="55"/>
                      <a:pt x="40" y="55"/>
                      <a:pt x="40" y="55"/>
                    </a:cubicBezTo>
                    <a:cubicBezTo>
                      <a:pt x="40" y="55"/>
                      <a:pt x="40" y="55"/>
                      <a:pt x="40" y="55"/>
                    </a:cubicBezTo>
                    <a:cubicBezTo>
                      <a:pt x="40" y="55"/>
                      <a:pt x="40" y="55"/>
                      <a:pt x="40" y="55"/>
                    </a:cubicBezTo>
                    <a:cubicBezTo>
                      <a:pt x="40" y="55"/>
                      <a:pt x="40" y="55"/>
                      <a:pt x="40" y="55"/>
                    </a:cubicBezTo>
                    <a:cubicBezTo>
                      <a:pt x="40" y="56"/>
                      <a:pt x="40" y="56"/>
                      <a:pt x="40" y="56"/>
                    </a:cubicBezTo>
                    <a:cubicBezTo>
                      <a:pt x="40" y="56"/>
                      <a:pt x="40" y="56"/>
                      <a:pt x="40" y="56"/>
                    </a:cubicBezTo>
                    <a:cubicBezTo>
                      <a:pt x="40" y="57"/>
                      <a:pt x="40" y="57"/>
                      <a:pt x="40" y="57"/>
                    </a:cubicBezTo>
                    <a:cubicBezTo>
                      <a:pt x="39" y="59"/>
                      <a:pt x="39" y="59"/>
                      <a:pt x="39" y="59"/>
                    </a:cubicBezTo>
                    <a:cubicBezTo>
                      <a:pt x="38" y="58"/>
                      <a:pt x="38" y="58"/>
                      <a:pt x="38" y="58"/>
                    </a:cubicBezTo>
                    <a:cubicBezTo>
                      <a:pt x="37" y="58"/>
                      <a:pt x="37" y="58"/>
                      <a:pt x="37" y="58"/>
                    </a:cubicBezTo>
                    <a:cubicBezTo>
                      <a:pt x="37" y="58"/>
                      <a:pt x="37" y="58"/>
                      <a:pt x="37" y="58"/>
                    </a:cubicBezTo>
                    <a:cubicBezTo>
                      <a:pt x="37" y="58"/>
                      <a:pt x="37" y="58"/>
                      <a:pt x="37" y="58"/>
                    </a:cubicBezTo>
                    <a:cubicBezTo>
                      <a:pt x="36" y="58"/>
                      <a:pt x="36" y="58"/>
                      <a:pt x="36" y="58"/>
                    </a:cubicBezTo>
                    <a:cubicBezTo>
                      <a:pt x="33" y="61"/>
                      <a:pt x="33" y="61"/>
                      <a:pt x="33" y="61"/>
                    </a:cubicBezTo>
                    <a:cubicBezTo>
                      <a:pt x="33" y="61"/>
                      <a:pt x="33" y="62"/>
                      <a:pt x="33" y="62"/>
                    </a:cubicBezTo>
                    <a:cubicBezTo>
                      <a:pt x="32" y="62"/>
                      <a:pt x="32" y="62"/>
                      <a:pt x="32" y="62"/>
                    </a:cubicBezTo>
                    <a:cubicBezTo>
                      <a:pt x="32" y="62"/>
                      <a:pt x="32" y="62"/>
                      <a:pt x="32" y="62"/>
                    </a:cubicBezTo>
                    <a:cubicBezTo>
                      <a:pt x="33" y="63"/>
                      <a:pt x="33" y="63"/>
                      <a:pt x="33" y="63"/>
                    </a:cubicBezTo>
                    <a:cubicBezTo>
                      <a:pt x="33" y="63"/>
                      <a:pt x="33" y="64"/>
                      <a:pt x="33" y="64"/>
                    </a:cubicBezTo>
                    <a:cubicBezTo>
                      <a:pt x="33" y="64"/>
                      <a:pt x="33" y="64"/>
                      <a:pt x="33" y="64"/>
                    </a:cubicBezTo>
                    <a:cubicBezTo>
                      <a:pt x="33" y="64"/>
                      <a:pt x="33" y="64"/>
                      <a:pt x="33" y="65"/>
                    </a:cubicBezTo>
                    <a:cubicBezTo>
                      <a:pt x="35" y="66"/>
                      <a:pt x="35" y="66"/>
                      <a:pt x="35" y="66"/>
                    </a:cubicBezTo>
                    <a:cubicBezTo>
                      <a:pt x="35" y="66"/>
                      <a:pt x="35" y="67"/>
                      <a:pt x="36" y="68"/>
                    </a:cubicBezTo>
                    <a:cubicBezTo>
                      <a:pt x="36" y="68"/>
                      <a:pt x="36" y="68"/>
                      <a:pt x="36" y="68"/>
                    </a:cubicBezTo>
                    <a:cubicBezTo>
                      <a:pt x="36" y="68"/>
                      <a:pt x="36" y="68"/>
                      <a:pt x="36" y="68"/>
                    </a:cubicBezTo>
                    <a:cubicBezTo>
                      <a:pt x="36" y="67"/>
                      <a:pt x="37" y="67"/>
                      <a:pt x="37" y="66"/>
                    </a:cubicBezTo>
                    <a:cubicBezTo>
                      <a:pt x="37" y="66"/>
                      <a:pt x="37" y="66"/>
                      <a:pt x="37" y="65"/>
                    </a:cubicBezTo>
                    <a:cubicBezTo>
                      <a:pt x="37" y="65"/>
                      <a:pt x="37" y="65"/>
                      <a:pt x="37" y="65"/>
                    </a:cubicBezTo>
                    <a:cubicBezTo>
                      <a:pt x="38" y="64"/>
                      <a:pt x="38" y="64"/>
                      <a:pt x="38" y="63"/>
                    </a:cubicBezTo>
                    <a:cubicBezTo>
                      <a:pt x="38" y="62"/>
                      <a:pt x="38" y="62"/>
                      <a:pt x="38" y="61"/>
                    </a:cubicBezTo>
                    <a:cubicBezTo>
                      <a:pt x="39" y="59"/>
                      <a:pt x="39" y="59"/>
                      <a:pt x="39" y="59"/>
                    </a:cubicBezTo>
                    <a:cubicBezTo>
                      <a:pt x="40" y="61"/>
                      <a:pt x="40" y="61"/>
                      <a:pt x="40" y="61"/>
                    </a:cubicBezTo>
                    <a:cubicBezTo>
                      <a:pt x="41" y="60"/>
                      <a:pt x="41" y="60"/>
                      <a:pt x="42" y="60"/>
                    </a:cubicBezTo>
                    <a:cubicBezTo>
                      <a:pt x="43" y="60"/>
                      <a:pt x="43" y="60"/>
                      <a:pt x="43" y="60"/>
                    </a:cubicBezTo>
                    <a:cubicBezTo>
                      <a:pt x="43" y="60"/>
                      <a:pt x="43" y="60"/>
                      <a:pt x="43" y="60"/>
                    </a:cubicBezTo>
                    <a:cubicBezTo>
                      <a:pt x="43" y="61"/>
                      <a:pt x="43" y="61"/>
                      <a:pt x="44" y="62"/>
                    </a:cubicBezTo>
                    <a:cubicBezTo>
                      <a:pt x="44" y="63"/>
                      <a:pt x="44" y="64"/>
                      <a:pt x="44" y="65"/>
                    </a:cubicBezTo>
                    <a:cubicBezTo>
                      <a:pt x="45" y="66"/>
                      <a:pt x="45" y="67"/>
                      <a:pt x="45" y="68"/>
                    </a:cubicBezTo>
                    <a:cubicBezTo>
                      <a:pt x="47" y="68"/>
                      <a:pt x="47" y="68"/>
                      <a:pt x="47" y="68"/>
                    </a:cubicBezTo>
                    <a:cubicBezTo>
                      <a:pt x="45" y="69"/>
                      <a:pt x="45" y="69"/>
                      <a:pt x="45" y="69"/>
                    </a:cubicBezTo>
                    <a:cubicBezTo>
                      <a:pt x="45" y="69"/>
                      <a:pt x="45" y="69"/>
                      <a:pt x="45" y="69"/>
                    </a:cubicBezTo>
                    <a:cubicBezTo>
                      <a:pt x="45" y="69"/>
                      <a:pt x="45" y="70"/>
                      <a:pt x="45" y="71"/>
                    </a:cubicBezTo>
                    <a:cubicBezTo>
                      <a:pt x="46" y="71"/>
                      <a:pt x="46" y="71"/>
                      <a:pt x="46" y="71"/>
                    </a:cubicBezTo>
                    <a:cubicBezTo>
                      <a:pt x="46" y="73"/>
                      <a:pt x="46" y="74"/>
                      <a:pt x="46" y="75"/>
                    </a:cubicBezTo>
                    <a:cubicBezTo>
                      <a:pt x="47" y="79"/>
                      <a:pt x="47" y="79"/>
                      <a:pt x="47" y="79"/>
                    </a:cubicBezTo>
                    <a:cubicBezTo>
                      <a:pt x="48" y="78"/>
                      <a:pt x="48" y="78"/>
                      <a:pt x="48" y="78"/>
                    </a:cubicBezTo>
                    <a:cubicBezTo>
                      <a:pt x="49" y="78"/>
                      <a:pt x="49" y="78"/>
                      <a:pt x="49" y="78"/>
                    </a:cubicBezTo>
                    <a:cubicBezTo>
                      <a:pt x="50" y="77"/>
                      <a:pt x="50" y="77"/>
                      <a:pt x="50" y="77"/>
                    </a:cubicBezTo>
                    <a:cubicBezTo>
                      <a:pt x="50" y="74"/>
                      <a:pt x="50" y="74"/>
                      <a:pt x="50" y="74"/>
                    </a:cubicBezTo>
                    <a:cubicBezTo>
                      <a:pt x="50" y="72"/>
                      <a:pt x="50" y="72"/>
                      <a:pt x="50" y="72"/>
                    </a:cubicBezTo>
                    <a:cubicBezTo>
                      <a:pt x="50" y="68"/>
                      <a:pt x="50" y="68"/>
                      <a:pt x="50" y="68"/>
                    </a:cubicBezTo>
                    <a:cubicBezTo>
                      <a:pt x="52" y="67"/>
                      <a:pt x="52" y="67"/>
                      <a:pt x="52" y="67"/>
                    </a:cubicBezTo>
                    <a:cubicBezTo>
                      <a:pt x="52" y="67"/>
                      <a:pt x="52" y="67"/>
                      <a:pt x="52" y="67"/>
                    </a:cubicBezTo>
                    <a:cubicBezTo>
                      <a:pt x="53" y="64"/>
                      <a:pt x="53" y="62"/>
                      <a:pt x="53" y="61"/>
                    </a:cubicBezTo>
                    <a:cubicBezTo>
                      <a:pt x="52" y="59"/>
                      <a:pt x="52" y="58"/>
                      <a:pt x="52" y="58"/>
                    </a:cubicBezTo>
                    <a:cubicBezTo>
                      <a:pt x="52" y="57"/>
                      <a:pt x="52" y="57"/>
                      <a:pt x="52" y="57"/>
                    </a:cubicBezTo>
                    <a:cubicBezTo>
                      <a:pt x="53" y="57"/>
                      <a:pt x="53" y="57"/>
                      <a:pt x="53" y="57"/>
                    </a:cubicBezTo>
                    <a:cubicBezTo>
                      <a:pt x="53" y="57"/>
                      <a:pt x="57" y="57"/>
                      <a:pt x="60" y="58"/>
                    </a:cubicBezTo>
                    <a:cubicBezTo>
                      <a:pt x="61" y="57"/>
                      <a:pt x="61" y="57"/>
                      <a:pt x="62" y="57"/>
                    </a:cubicBezTo>
                    <a:cubicBezTo>
                      <a:pt x="62" y="56"/>
                      <a:pt x="63" y="53"/>
                      <a:pt x="64" y="52"/>
                    </a:cubicBezTo>
                    <a:cubicBezTo>
                      <a:pt x="65" y="50"/>
                      <a:pt x="67" y="47"/>
                      <a:pt x="66" y="45"/>
                    </a:cubicBezTo>
                    <a:cubicBezTo>
                      <a:pt x="65" y="43"/>
                      <a:pt x="65" y="42"/>
                      <a:pt x="68" y="40"/>
                    </a:cubicBezTo>
                    <a:cubicBezTo>
                      <a:pt x="69" y="40"/>
                      <a:pt x="69" y="39"/>
                      <a:pt x="69" y="39"/>
                    </a:cubicBezTo>
                    <a:cubicBezTo>
                      <a:pt x="69" y="38"/>
                      <a:pt x="70" y="37"/>
                      <a:pt x="70" y="37"/>
                    </a:cubicBezTo>
                    <a:cubicBezTo>
                      <a:pt x="71" y="36"/>
                      <a:pt x="71" y="36"/>
                      <a:pt x="71" y="36"/>
                    </a:cubicBezTo>
                    <a:cubicBezTo>
                      <a:pt x="71" y="36"/>
                      <a:pt x="70" y="34"/>
                      <a:pt x="70" y="34"/>
                    </a:cubicBezTo>
                    <a:cubicBezTo>
                      <a:pt x="70" y="33"/>
                      <a:pt x="70" y="33"/>
                      <a:pt x="70" y="32"/>
                    </a:cubicBezTo>
                    <a:cubicBezTo>
                      <a:pt x="70" y="29"/>
                      <a:pt x="72" y="29"/>
                      <a:pt x="73" y="28"/>
                    </a:cubicBezTo>
                    <a:cubicBezTo>
                      <a:pt x="74" y="28"/>
                      <a:pt x="75" y="27"/>
                      <a:pt x="76" y="26"/>
                    </a:cubicBezTo>
                    <a:cubicBezTo>
                      <a:pt x="77" y="26"/>
                      <a:pt x="78" y="25"/>
                      <a:pt x="79" y="24"/>
                    </a:cubicBezTo>
                    <a:cubicBezTo>
                      <a:pt x="80" y="24"/>
                      <a:pt x="80" y="23"/>
                      <a:pt x="81" y="23"/>
                    </a:cubicBezTo>
                    <a:cubicBezTo>
                      <a:pt x="81" y="23"/>
                      <a:pt x="81" y="23"/>
                      <a:pt x="81" y="23"/>
                    </a:cubicBezTo>
                    <a:cubicBezTo>
                      <a:pt x="84" y="22"/>
                      <a:pt x="87" y="20"/>
                      <a:pt x="89" y="21"/>
                    </a:cubicBezTo>
                    <a:cubicBezTo>
                      <a:pt x="89" y="21"/>
                      <a:pt x="89" y="21"/>
                      <a:pt x="89" y="21"/>
                    </a:cubicBezTo>
                    <a:cubicBezTo>
                      <a:pt x="88" y="20"/>
                      <a:pt x="88" y="18"/>
                      <a:pt x="91" y="16"/>
                    </a:cubicBezTo>
                    <a:cubicBezTo>
                      <a:pt x="91" y="16"/>
                      <a:pt x="92" y="16"/>
                      <a:pt x="92" y="16"/>
                    </a:cubicBezTo>
                    <a:cubicBezTo>
                      <a:pt x="92" y="15"/>
                      <a:pt x="92" y="15"/>
                      <a:pt x="92" y="15"/>
                    </a:cubicBezTo>
                    <a:cubicBezTo>
                      <a:pt x="92" y="15"/>
                      <a:pt x="93" y="15"/>
                      <a:pt x="93" y="15"/>
                    </a:cubicBezTo>
                    <a:cubicBezTo>
                      <a:pt x="93" y="13"/>
                      <a:pt x="93" y="13"/>
                      <a:pt x="93" y="13"/>
                    </a:cubicBezTo>
                    <a:cubicBezTo>
                      <a:pt x="93" y="13"/>
                      <a:pt x="93" y="13"/>
                      <a:pt x="93" y="13"/>
                    </a:cubicBezTo>
                    <a:cubicBezTo>
                      <a:pt x="93" y="13"/>
                      <a:pt x="93" y="13"/>
                      <a:pt x="93" y="13"/>
                    </a:cubicBezTo>
                    <a:cubicBezTo>
                      <a:pt x="93" y="13"/>
                      <a:pt x="92" y="13"/>
                      <a:pt x="92" y="13"/>
                    </a:cubicBezTo>
                    <a:cubicBezTo>
                      <a:pt x="92" y="12"/>
                      <a:pt x="92" y="12"/>
                      <a:pt x="91" y="12"/>
                    </a:cubicBezTo>
                    <a:cubicBezTo>
                      <a:pt x="91" y="12"/>
                      <a:pt x="91" y="12"/>
                      <a:pt x="91" y="12"/>
                    </a:cubicBezTo>
                    <a:cubicBezTo>
                      <a:pt x="91" y="12"/>
                      <a:pt x="91" y="12"/>
                      <a:pt x="90" y="12"/>
                    </a:cubicBezTo>
                    <a:cubicBezTo>
                      <a:pt x="89" y="12"/>
                      <a:pt x="89" y="12"/>
                      <a:pt x="89" y="12"/>
                    </a:cubicBezTo>
                    <a:cubicBezTo>
                      <a:pt x="89" y="12"/>
                      <a:pt x="88" y="12"/>
                      <a:pt x="88" y="12"/>
                    </a:cubicBezTo>
                    <a:cubicBezTo>
                      <a:pt x="87" y="11"/>
                      <a:pt x="87" y="11"/>
                      <a:pt x="87" y="11"/>
                    </a:cubicBezTo>
                    <a:cubicBezTo>
                      <a:pt x="87" y="11"/>
                      <a:pt x="86" y="11"/>
                      <a:pt x="86" y="11"/>
                    </a:cubicBezTo>
                    <a:cubicBezTo>
                      <a:pt x="86" y="11"/>
                      <a:pt x="86" y="11"/>
                      <a:pt x="86" y="11"/>
                    </a:cubicBezTo>
                    <a:cubicBezTo>
                      <a:pt x="86" y="11"/>
                      <a:pt x="86" y="12"/>
                      <a:pt x="86" y="12"/>
                    </a:cubicBezTo>
                    <a:cubicBezTo>
                      <a:pt x="86" y="12"/>
                      <a:pt x="86" y="12"/>
                      <a:pt x="86" y="12"/>
                    </a:cubicBezTo>
                    <a:cubicBezTo>
                      <a:pt x="85" y="12"/>
                      <a:pt x="85" y="12"/>
                      <a:pt x="84" y="12"/>
                    </a:cubicBezTo>
                    <a:cubicBezTo>
                      <a:pt x="83" y="12"/>
                      <a:pt x="82" y="11"/>
                      <a:pt x="82" y="10"/>
                    </a:cubicBezTo>
                    <a:cubicBezTo>
                      <a:pt x="82" y="10"/>
                      <a:pt x="82" y="10"/>
                      <a:pt x="82" y="10"/>
                    </a:cubicBezTo>
                    <a:cubicBezTo>
                      <a:pt x="83" y="10"/>
                      <a:pt x="83" y="9"/>
                      <a:pt x="83" y="9"/>
                    </a:cubicBezTo>
                    <a:cubicBezTo>
                      <a:pt x="83" y="9"/>
                      <a:pt x="83" y="9"/>
                      <a:pt x="83" y="9"/>
                    </a:cubicBezTo>
                    <a:cubicBezTo>
                      <a:pt x="83" y="9"/>
                      <a:pt x="83" y="9"/>
                      <a:pt x="83" y="9"/>
                    </a:cubicBezTo>
                    <a:cubicBezTo>
                      <a:pt x="83" y="8"/>
                      <a:pt x="84" y="8"/>
                      <a:pt x="84" y="7"/>
                    </a:cubicBezTo>
                    <a:cubicBezTo>
                      <a:pt x="84" y="7"/>
                      <a:pt x="84" y="7"/>
                      <a:pt x="84" y="7"/>
                    </a:cubicBezTo>
                    <a:cubicBezTo>
                      <a:pt x="83" y="7"/>
                      <a:pt x="83" y="7"/>
                      <a:pt x="83" y="7"/>
                    </a:cubicBezTo>
                    <a:cubicBezTo>
                      <a:pt x="85" y="6"/>
                      <a:pt x="85" y="6"/>
                      <a:pt x="85" y="6"/>
                    </a:cubicBezTo>
                    <a:cubicBezTo>
                      <a:pt x="85" y="6"/>
                      <a:pt x="85" y="6"/>
                      <a:pt x="85" y="6"/>
                    </a:cubicBezTo>
                    <a:cubicBezTo>
                      <a:pt x="85" y="6"/>
                      <a:pt x="85" y="6"/>
                      <a:pt x="85" y="6"/>
                    </a:cubicBezTo>
                    <a:cubicBezTo>
                      <a:pt x="85" y="6"/>
                      <a:pt x="85" y="6"/>
                      <a:pt x="85" y="6"/>
                    </a:cubicBezTo>
                    <a:cubicBezTo>
                      <a:pt x="85" y="5"/>
                      <a:pt x="85" y="5"/>
                      <a:pt x="85" y="5"/>
                    </a:cubicBezTo>
                    <a:cubicBezTo>
                      <a:pt x="85" y="5"/>
                      <a:pt x="85" y="5"/>
                      <a:pt x="85" y="5"/>
                    </a:cubicBezTo>
                    <a:cubicBezTo>
                      <a:pt x="84" y="5"/>
                      <a:pt x="84" y="5"/>
                      <a:pt x="83" y="6"/>
                    </a:cubicBezTo>
                    <a:cubicBezTo>
                      <a:pt x="81" y="7"/>
                      <a:pt x="81" y="7"/>
                      <a:pt x="81" y="7"/>
                    </a:cubicBezTo>
                    <a:cubicBezTo>
                      <a:pt x="81" y="5"/>
                      <a:pt x="81" y="5"/>
                      <a:pt x="81" y="5"/>
                    </a:cubicBezTo>
                    <a:cubicBezTo>
                      <a:pt x="81" y="4"/>
                      <a:pt x="81" y="4"/>
                      <a:pt x="81" y="4"/>
                    </a:cubicBezTo>
                    <a:cubicBezTo>
                      <a:pt x="79" y="2"/>
                      <a:pt x="79" y="2"/>
                      <a:pt x="79" y="2"/>
                    </a:cubicBezTo>
                    <a:cubicBezTo>
                      <a:pt x="81" y="2"/>
                      <a:pt x="81" y="2"/>
                      <a:pt x="81" y="2"/>
                    </a:cubicBezTo>
                    <a:cubicBezTo>
                      <a:pt x="82" y="2"/>
                      <a:pt x="82" y="2"/>
                      <a:pt x="82" y="2"/>
                    </a:cubicBezTo>
                    <a:cubicBezTo>
                      <a:pt x="82" y="1"/>
                      <a:pt x="82" y="1"/>
                      <a:pt x="82" y="1"/>
                    </a:cubicBezTo>
                    <a:cubicBezTo>
                      <a:pt x="82" y="1"/>
                      <a:pt x="82" y="1"/>
                      <a:pt x="82" y="1"/>
                    </a:cubicBezTo>
                    <a:cubicBezTo>
                      <a:pt x="82" y="1"/>
                      <a:pt x="82" y="1"/>
                      <a:pt x="81" y="1"/>
                    </a:cubicBezTo>
                    <a:cubicBezTo>
                      <a:pt x="81" y="0"/>
                      <a:pt x="81" y="0"/>
                      <a:pt x="81" y="0"/>
                    </a:cubicBezTo>
                    <a:cubicBezTo>
                      <a:pt x="81" y="0"/>
                      <a:pt x="81" y="0"/>
                      <a:pt x="81" y="0"/>
                    </a:cubicBezTo>
                    <a:cubicBezTo>
                      <a:pt x="80" y="0"/>
                      <a:pt x="79" y="1"/>
                      <a:pt x="77" y="3"/>
                    </a:cubicBezTo>
                    <a:cubicBezTo>
                      <a:pt x="76" y="3"/>
                      <a:pt x="76" y="3"/>
                      <a:pt x="76" y="3"/>
                    </a:cubicBezTo>
                    <a:cubicBezTo>
                      <a:pt x="76" y="4"/>
                      <a:pt x="76" y="4"/>
                      <a:pt x="76" y="4"/>
                    </a:cubicBezTo>
                    <a:cubicBezTo>
                      <a:pt x="74" y="5"/>
                      <a:pt x="73" y="4"/>
                      <a:pt x="73" y="4"/>
                    </a:cubicBezTo>
                    <a:cubicBezTo>
                      <a:pt x="72" y="4"/>
                      <a:pt x="72" y="4"/>
                      <a:pt x="72" y="4"/>
                    </a:cubicBezTo>
                    <a:cubicBezTo>
                      <a:pt x="72" y="4"/>
                      <a:pt x="72" y="4"/>
                      <a:pt x="72" y="4"/>
                    </a:cubicBezTo>
                    <a:cubicBezTo>
                      <a:pt x="71" y="4"/>
                      <a:pt x="71" y="3"/>
                      <a:pt x="71" y="3"/>
                    </a:cubicBezTo>
                    <a:cubicBezTo>
                      <a:pt x="70" y="3"/>
                      <a:pt x="70" y="3"/>
                      <a:pt x="70" y="3"/>
                    </a:cubicBezTo>
                    <a:cubicBezTo>
                      <a:pt x="70" y="3"/>
                      <a:pt x="70" y="3"/>
                      <a:pt x="70" y="3"/>
                    </a:cubicBezTo>
                    <a:cubicBezTo>
                      <a:pt x="69" y="3"/>
                      <a:pt x="69" y="3"/>
                      <a:pt x="69" y="3"/>
                    </a:cubicBezTo>
                    <a:cubicBezTo>
                      <a:pt x="68" y="3"/>
                      <a:pt x="67" y="2"/>
                      <a:pt x="67" y="2"/>
                    </a:cubicBezTo>
                    <a:cubicBezTo>
                      <a:pt x="67" y="2"/>
                      <a:pt x="67" y="2"/>
                      <a:pt x="67" y="2"/>
                    </a:cubicBezTo>
                    <a:cubicBezTo>
                      <a:pt x="67" y="2"/>
                      <a:pt x="67" y="2"/>
                      <a:pt x="67" y="2"/>
                    </a:cubicBezTo>
                    <a:cubicBezTo>
                      <a:pt x="67" y="2"/>
                      <a:pt x="66" y="2"/>
                      <a:pt x="66" y="2"/>
                    </a:cubicBezTo>
                    <a:cubicBezTo>
                      <a:pt x="66" y="2"/>
                      <a:pt x="65" y="2"/>
                      <a:pt x="65" y="3"/>
                    </a:cubicBezTo>
                    <a:cubicBezTo>
                      <a:pt x="64" y="3"/>
                      <a:pt x="63" y="4"/>
                      <a:pt x="63" y="4"/>
                    </a:cubicBezTo>
                    <a:cubicBezTo>
                      <a:pt x="63" y="5"/>
                      <a:pt x="63" y="5"/>
                      <a:pt x="63" y="5"/>
                    </a:cubicBezTo>
                    <a:cubicBezTo>
                      <a:pt x="62" y="5"/>
                      <a:pt x="62" y="5"/>
                      <a:pt x="62" y="5"/>
                    </a:cubicBezTo>
                    <a:cubicBezTo>
                      <a:pt x="61" y="6"/>
                      <a:pt x="60" y="7"/>
                      <a:pt x="59" y="7"/>
                    </a:cubicBezTo>
                    <a:cubicBezTo>
                      <a:pt x="58" y="8"/>
                      <a:pt x="58" y="8"/>
                      <a:pt x="58" y="8"/>
                    </a:cubicBezTo>
                    <a:cubicBezTo>
                      <a:pt x="57" y="8"/>
                      <a:pt x="56" y="8"/>
                      <a:pt x="54" y="9"/>
                    </a:cubicBezTo>
                    <a:cubicBezTo>
                      <a:pt x="54" y="9"/>
                      <a:pt x="54" y="9"/>
                      <a:pt x="54" y="9"/>
                    </a:cubicBezTo>
                    <a:cubicBezTo>
                      <a:pt x="53" y="9"/>
                      <a:pt x="53" y="9"/>
                      <a:pt x="53" y="9"/>
                    </a:cubicBezTo>
                    <a:cubicBezTo>
                      <a:pt x="53" y="9"/>
                      <a:pt x="53" y="9"/>
                      <a:pt x="53" y="9"/>
                    </a:cubicBezTo>
                    <a:cubicBezTo>
                      <a:pt x="52" y="11"/>
                      <a:pt x="52" y="11"/>
                      <a:pt x="52" y="11"/>
                    </a:cubicBezTo>
                    <a:cubicBezTo>
                      <a:pt x="52" y="11"/>
                      <a:pt x="52" y="11"/>
                      <a:pt x="52" y="11"/>
                    </a:cubicBezTo>
                    <a:cubicBezTo>
                      <a:pt x="52" y="11"/>
                      <a:pt x="52" y="12"/>
                      <a:pt x="52" y="12"/>
                    </a:cubicBezTo>
                    <a:cubicBezTo>
                      <a:pt x="52" y="12"/>
                      <a:pt x="52" y="12"/>
                      <a:pt x="52" y="12"/>
                    </a:cubicBezTo>
                    <a:cubicBezTo>
                      <a:pt x="51" y="12"/>
                      <a:pt x="51" y="12"/>
                      <a:pt x="51" y="12"/>
                    </a:cubicBezTo>
                    <a:cubicBezTo>
                      <a:pt x="51" y="12"/>
                      <a:pt x="51" y="12"/>
                      <a:pt x="51" y="12"/>
                    </a:cubicBezTo>
                    <a:cubicBezTo>
                      <a:pt x="51" y="12"/>
                      <a:pt x="51" y="12"/>
                      <a:pt x="51" y="12"/>
                    </a:cubicBezTo>
                    <a:cubicBezTo>
                      <a:pt x="51" y="12"/>
                      <a:pt x="51" y="12"/>
                      <a:pt x="51" y="12"/>
                    </a:cubicBezTo>
                    <a:cubicBezTo>
                      <a:pt x="50" y="13"/>
                      <a:pt x="50" y="13"/>
                      <a:pt x="50" y="13"/>
                    </a:cubicBezTo>
                    <a:cubicBezTo>
                      <a:pt x="49" y="13"/>
                      <a:pt x="49" y="13"/>
                      <a:pt x="49" y="13"/>
                    </a:cubicBezTo>
                    <a:cubicBezTo>
                      <a:pt x="49" y="13"/>
                      <a:pt x="49" y="13"/>
                      <a:pt x="48" y="14"/>
                    </a:cubicBezTo>
                    <a:cubicBezTo>
                      <a:pt x="48" y="14"/>
                      <a:pt x="48" y="14"/>
                      <a:pt x="48" y="14"/>
                    </a:cubicBezTo>
                    <a:cubicBezTo>
                      <a:pt x="48" y="14"/>
                      <a:pt x="48" y="14"/>
                      <a:pt x="48" y="14"/>
                    </a:cubicBezTo>
                    <a:cubicBezTo>
                      <a:pt x="48" y="15"/>
                      <a:pt x="48" y="15"/>
                      <a:pt x="48" y="15"/>
                    </a:cubicBezTo>
                    <a:cubicBezTo>
                      <a:pt x="48" y="15"/>
                      <a:pt x="48" y="15"/>
                      <a:pt x="48" y="15"/>
                    </a:cubicBezTo>
                    <a:cubicBezTo>
                      <a:pt x="48" y="15"/>
                      <a:pt x="48" y="16"/>
                      <a:pt x="48" y="16"/>
                    </a:cubicBezTo>
                    <a:cubicBezTo>
                      <a:pt x="48" y="16"/>
                      <a:pt x="48" y="16"/>
                      <a:pt x="48" y="16"/>
                    </a:cubicBezTo>
                    <a:cubicBezTo>
                      <a:pt x="47" y="16"/>
                      <a:pt x="46" y="17"/>
                      <a:pt x="45" y="18"/>
                    </a:cubicBezTo>
                    <a:cubicBezTo>
                      <a:pt x="45" y="18"/>
                      <a:pt x="45" y="18"/>
                      <a:pt x="45" y="18"/>
                    </a:cubicBezTo>
                    <a:cubicBezTo>
                      <a:pt x="45" y="18"/>
                      <a:pt x="45" y="18"/>
                      <a:pt x="44" y="18"/>
                    </a:cubicBezTo>
                    <a:cubicBezTo>
                      <a:pt x="39" y="18"/>
                      <a:pt x="39" y="18"/>
                      <a:pt x="39" y="18"/>
                    </a:cubicBezTo>
                    <a:cubicBezTo>
                      <a:pt x="39" y="18"/>
                      <a:pt x="38" y="18"/>
                      <a:pt x="38" y="18"/>
                    </a:cubicBezTo>
                    <a:cubicBezTo>
                      <a:pt x="38" y="18"/>
                      <a:pt x="37" y="18"/>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8" y="20"/>
                      <a:pt x="38" y="20"/>
                    </a:cubicBezTo>
                    <a:cubicBezTo>
                      <a:pt x="38" y="20"/>
                      <a:pt x="38" y="20"/>
                      <a:pt x="39" y="20"/>
                    </a:cubicBezTo>
                    <a:cubicBezTo>
                      <a:pt x="40" y="20"/>
                      <a:pt x="40" y="20"/>
                      <a:pt x="41" y="21"/>
                    </a:cubicBezTo>
                    <a:cubicBezTo>
                      <a:pt x="41" y="21"/>
                      <a:pt x="41" y="21"/>
                      <a:pt x="42" y="22"/>
                    </a:cubicBezTo>
                    <a:cubicBezTo>
                      <a:pt x="42" y="23"/>
                      <a:pt x="41" y="24"/>
                      <a:pt x="41" y="24"/>
                    </a:cubicBezTo>
                    <a:cubicBezTo>
                      <a:pt x="41" y="24"/>
                      <a:pt x="41" y="24"/>
                      <a:pt x="41" y="24"/>
                    </a:cubicBezTo>
                    <a:cubicBezTo>
                      <a:pt x="41" y="24"/>
                      <a:pt x="41" y="25"/>
                      <a:pt x="41" y="25"/>
                    </a:cubicBezTo>
                    <a:cubicBezTo>
                      <a:pt x="41" y="25"/>
                      <a:pt x="41" y="25"/>
                      <a:pt x="41" y="25"/>
                    </a:cubicBezTo>
                    <a:cubicBezTo>
                      <a:pt x="42" y="26"/>
                      <a:pt x="42" y="27"/>
                      <a:pt x="41" y="28"/>
                    </a:cubicBezTo>
                    <a:cubicBezTo>
                      <a:pt x="40" y="29"/>
                      <a:pt x="40" y="29"/>
                      <a:pt x="40" y="29"/>
                    </a:cubicBezTo>
                    <a:cubicBezTo>
                      <a:pt x="39" y="29"/>
                      <a:pt x="39" y="29"/>
                      <a:pt x="39" y="29"/>
                    </a:cubicBezTo>
                    <a:cubicBezTo>
                      <a:pt x="39" y="29"/>
                      <a:pt x="39" y="29"/>
                      <a:pt x="39" y="29"/>
                    </a:cubicBezTo>
                    <a:cubicBezTo>
                      <a:pt x="38" y="29"/>
                      <a:pt x="38" y="29"/>
                      <a:pt x="38" y="29"/>
                    </a:cubicBezTo>
                    <a:cubicBezTo>
                      <a:pt x="38" y="29"/>
                      <a:pt x="38" y="29"/>
                      <a:pt x="38" y="29"/>
                    </a:cubicBezTo>
                    <a:cubicBezTo>
                      <a:pt x="38" y="29"/>
                      <a:pt x="38" y="29"/>
                      <a:pt x="38" y="29"/>
                    </a:cubicBezTo>
                    <a:cubicBezTo>
                      <a:pt x="38" y="29"/>
                      <a:pt x="38" y="29"/>
                      <a:pt x="38" y="29"/>
                    </a:cubicBezTo>
                    <a:cubicBezTo>
                      <a:pt x="38" y="29"/>
                      <a:pt x="38" y="29"/>
                      <a:pt x="38" y="29"/>
                    </a:cubicBezTo>
                    <a:cubicBezTo>
                      <a:pt x="37" y="29"/>
                      <a:pt x="37" y="29"/>
                      <a:pt x="37" y="29"/>
                    </a:cubicBezTo>
                    <a:cubicBezTo>
                      <a:pt x="37" y="29"/>
                      <a:pt x="36" y="29"/>
                      <a:pt x="36" y="29"/>
                    </a:cubicBezTo>
                    <a:cubicBezTo>
                      <a:pt x="36" y="29"/>
                      <a:pt x="35" y="29"/>
                      <a:pt x="35" y="29"/>
                    </a:cubicBezTo>
                    <a:cubicBezTo>
                      <a:pt x="35" y="29"/>
                      <a:pt x="35" y="29"/>
                      <a:pt x="35" y="29"/>
                    </a:cubicBezTo>
                    <a:cubicBezTo>
                      <a:pt x="35" y="29"/>
                      <a:pt x="34" y="29"/>
                      <a:pt x="34" y="29"/>
                    </a:cubicBezTo>
                    <a:cubicBezTo>
                      <a:pt x="33" y="29"/>
                      <a:pt x="33" y="29"/>
                      <a:pt x="33" y="29"/>
                    </a:cubicBezTo>
                    <a:cubicBezTo>
                      <a:pt x="33" y="29"/>
                      <a:pt x="32" y="29"/>
                      <a:pt x="31" y="29"/>
                    </a:cubicBezTo>
                    <a:cubicBezTo>
                      <a:pt x="31" y="29"/>
                      <a:pt x="31" y="29"/>
                      <a:pt x="31" y="29"/>
                    </a:cubicBezTo>
                    <a:cubicBezTo>
                      <a:pt x="30" y="29"/>
                      <a:pt x="29" y="29"/>
                      <a:pt x="28" y="29"/>
                    </a:cubicBezTo>
                    <a:cubicBezTo>
                      <a:pt x="28" y="29"/>
                      <a:pt x="28" y="29"/>
                      <a:pt x="28" y="29"/>
                    </a:cubicBezTo>
                    <a:cubicBezTo>
                      <a:pt x="28" y="29"/>
                      <a:pt x="27" y="29"/>
                      <a:pt x="27" y="29"/>
                    </a:cubicBezTo>
                    <a:cubicBezTo>
                      <a:pt x="27" y="29"/>
                      <a:pt x="27" y="29"/>
                      <a:pt x="27" y="29"/>
                    </a:cubicBezTo>
                    <a:cubicBezTo>
                      <a:pt x="27" y="29"/>
                      <a:pt x="26" y="29"/>
                      <a:pt x="26" y="29"/>
                    </a:cubicBezTo>
                    <a:cubicBezTo>
                      <a:pt x="26" y="29"/>
                      <a:pt x="25" y="29"/>
                      <a:pt x="25" y="29"/>
                    </a:cubicBezTo>
                    <a:cubicBezTo>
                      <a:pt x="24" y="29"/>
                      <a:pt x="24" y="29"/>
                      <a:pt x="24" y="29"/>
                    </a:cubicBezTo>
                    <a:cubicBezTo>
                      <a:pt x="23" y="29"/>
                      <a:pt x="23" y="28"/>
                      <a:pt x="23" y="28"/>
                    </a:cubicBezTo>
                    <a:cubicBezTo>
                      <a:pt x="23" y="28"/>
                      <a:pt x="23" y="28"/>
                      <a:pt x="23" y="28"/>
                    </a:cubicBezTo>
                    <a:cubicBezTo>
                      <a:pt x="23" y="28"/>
                      <a:pt x="22" y="28"/>
                      <a:pt x="22" y="29"/>
                    </a:cubicBezTo>
                    <a:cubicBezTo>
                      <a:pt x="21" y="29"/>
                      <a:pt x="21" y="29"/>
                      <a:pt x="21" y="29"/>
                    </a:cubicBezTo>
                    <a:cubicBezTo>
                      <a:pt x="20" y="30"/>
                      <a:pt x="19" y="30"/>
                      <a:pt x="18" y="30"/>
                    </a:cubicBezTo>
                    <a:cubicBezTo>
                      <a:pt x="17" y="30"/>
                      <a:pt x="17" y="30"/>
                      <a:pt x="17" y="30"/>
                    </a:cubicBezTo>
                    <a:cubicBezTo>
                      <a:pt x="17" y="30"/>
                      <a:pt x="16" y="30"/>
                      <a:pt x="16" y="30"/>
                    </a:cubicBezTo>
                    <a:cubicBezTo>
                      <a:pt x="15" y="30"/>
                      <a:pt x="15" y="30"/>
                      <a:pt x="15" y="30"/>
                    </a:cubicBezTo>
                    <a:cubicBezTo>
                      <a:pt x="15" y="30"/>
                      <a:pt x="15" y="30"/>
                      <a:pt x="15" y="30"/>
                    </a:cubicBezTo>
                    <a:cubicBezTo>
                      <a:pt x="15" y="29"/>
                      <a:pt x="15" y="29"/>
                      <a:pt x="15" y="29"/>
                    </a:cubicBezTo>
                    <a:cubicBezTo>
                      <a:pt x="14" y="29"/>
                      <a:pt x="14" y="29"/>
                      <a:pt x="13" y="29"/>
                    </a:cubicBezTo>
                    <a:cubicBezTo>
                      <a:pt x="13" y="29"/>
                      <a:pt x="13" y="29"/>
                      <a:pt x="13" y="29"/>
                    </a:cubicBezTo>
                    <a:cubicBezTo>
                      <a:pt x="13" y="29"/>
                      <a:pt x="12" y="29"/>
                      <a:pt x="12" y="29"/>
                    </a:cubicBezTo>
                    <a:cubicBezTo>
                      <a:pt x="11" y="29"/>
                      <a:pt x="11" y="29"/>
                      <a:pt x="11" y="29"/>
                    </a:cubicBezTo>
                    <a:cubicBezTo>
                      <a:pt x="11" y="29"/>
                      <a:pt x="11" y="29"/>
                      <a:pt x="10" y="29"/>
                    </a:cubicBezTo>
                    <a:cubicBezTo>
                      <a:pt x="10" y="29"/>
                      <a:pt x="9" y="28"/>
                      <a:pt x="9" y="28"/>
                    </a:cubicBezTo>
                    <a:cubicBezTo>
                      <a:pt x="8" y="28"/>
                      <a:pt x="8" y="27"/>
                      <a:pt x="8" y="27"/>
                    </a:cubicBezTo>
                    <a:cubicBezTo>
                      <a:pt x="7" y="27"/>
                      <a:pt x="7" y="27"/>
                      <a:pt x="7" y="27"/>
                    </a:cubicBezTo>
                    <a:cubicBezTo>
                      <a:pt x="7" y="26"/>
                      <a:pt x="7" y="26"/>
                      <a:pt x="6" y="26"/>
                    </a:cubicBezTo>
                    <a:cubicBezTo>
                      <a:pt x="6" y="25"/>
                      <a:pt x="6" y="25"/>
                      <a:pt x="6" y="25"/>
                    </a:cubicBezTo>
                    <a:cubicBezTo>
                      <a:pt x="4" y="25"/>
                      <a:pt x="4" y="25"/>
                      <a:pt x="4" y="25"/>
                    </a:cubicBezTo>
                    <a:cubicBezTo>
                      <a:pt x="6" y="23"/>
                      <a:pt x="6" y="23"/>
                      <a:pt x="6" y="23"/>
                    </a:cubicBezTo>
                    <a:cubicBezTo>
                      <a:pt x="6" y="23"/>
                      <a:pt x="6" y="23"/>
                      <a:pt x="6" y="22"/>
                    </a:cubicBezTo>
                    <a:cubicBezTo>
                      <a:pt x="6" y="22"/>
                      <a:pt x="6" y="22"/>
                      <a:pt x="6" y="22"/>
                    </a:cubicBezTo>
                    <a:cubicBezTo>
                      <a:pt x="6" y="22"/>
                      <a:pt x="6" y="22"/>
                      <a:pt x="6" y="22"/>
                    </a:cubicBezTo>
                    <a:cubicBezTo>
                      <a:pt x="6" y="22"/>
                      <a:pt x="6" y="22"/>
                      <a:pt x="6" y="22"/>
                    </a:cubicBezTo>
                    <a:cubicBezTo>
                      <a:pt x="6" y="22"/>
                      <a:pt x="6" y="22"/>
                      <a:pt x="6" y="22"/>
                    </a:cubicBezTo>
                    <a:cubicBezTo>
                      <a:pt x="6" y="21"/>
                      <a:pt x="6" y="21"/>
                      <a:pt x="6" y="21"/>
                    </a:cubicBezTo>
                    <a:cubicBezTo>
                      <a:pt x="6" y="20"/>
                      <a:pt x="6" y="20"/>
                      <a:pt x="6" y="20"/>
                    </a:cubicBezTo>
                    <a:cubicBezTo>
                      <a:pt x="6" y="20"/>
                      <a:pt x="6" y="19"/>
                      <a:pt x="6" y="18"/>
                    </a:cubicBezTo>
                    <a:cubicBezTo>
                      <a:pt x="6" y="18"/>
                      <a:pt x="6" y="18"/>
                      <a:pt x="6" y="18"/>
                    </a:cubicBezTo>
                    <a:cubicBezTo>
                      <a:pt x="6" y="17"/>
                      <a:pt x="6" y="17"/>
                      <a:pt x="6" y="17"/>
                    </a:cubicBezTo>
                    <a:cubicBezTo>
                      <a:pt x="6" y="17"/>
                      <a:pt x="6" y="17"/>
                      <a:pt x="6" y="17"/>
                    </a:cubicBezTo>
                    <a:cubicBezTo>
                      <a:pt x="4" y="16"/>
                      <a:pt x="4" y="16"/>
                      <a:pt x="4" y="16"/>
                    </a:cubicBezTo>
                    <a:cubicBezTo>
                      <a:pt x="6" y="16"/>
                      <a:pt x="6" y="16"/>
                      <a:pt x="6" y="16"/>
                    </a:cubicBezTo>
                    <a:cubicBezTo>
                      <a:pt x="6" y="16"/>
                      <a:pt x="6" y="16"/>
                      <a:pt x="6" y="15"/>
                    </a:cubicBezTo>
                    <a:cubicBezTo>
                      <a:pt x="6" y="15"/>
                      <a:pt x="6" y="15"/>
                      <a:pt x="6" y="15"/>
                    </a:cubicBezTo>
                    <a:cubicBezTo>
                      <a:pt x="6" y="15"/>
                      <a:pt x="6" y="15"/>
                      <a:pt x="6" y="15"/>
                    </a:cubicBezTo>
                    <a:cubicBezTo>
                      <a:pt x="5" y="15"/>
                      <a:pt x="5" y="15"/>
                      <a:pt x="5" y="15"/>
                    </a:cubicBezTo>
                    <a:cubicBezTo>
                      <a:pt x="5" y="15"/>
                      <a:pt x="5" y="15"/>
                      <a:pt x="5" y="15"/>
                    </a:cubicBezTo>
                    <a:cubicBezTo>
                      <a:pt x="4" y="15"/>
                      <a:pt x="3" y="16"/>
                      <a:pt x="2" y="17"/>
                    </a:cubicBezTo>
                    <a:cubicBezTo>
                      <a:pt x="2" y="17"/>
                      <a:pt x="2" y="17"/>
                      <a:pt x="1" y="17"/>
                    </a:cubicBezTo>
                    <a:cubicBezTo>
                      <a:pt x="1" y="19"/>
                      <a:pt x="1" y="19"/>
                      <a:pt x="1" y="19"/>
                    </a:cubicBezTo>
                    <a:cubicBezTo>
                      <a:pt x="1" y="20"/>
                      <a:pt x="0" y="21"/>
                      <a:pt x="0" y="22"/>
                    </a:cubicBezTo>
                    <a:cubicBezTo>
                      <a:pt x="0" y="23"/>
                      <a:pt x="0" y="24"/>
                      <a:pt x="0" y="25"/>
                    </a:cubicBezTo>
                    <a:cubicBezTo>
                      <a:pt x="0" y="25"/>
                      <a:pt x="0" y="25"/>
                      <a:pt x="0" y="25"/>
                    </a:cubicBezTo>
                    <a:cubicBezTo>
                      <a:pt x="0" y="25"/>
                      <a:pt x="0" y="25"/>
                      <a:pt x="0" y="25"/>
                    </a:cubicBezTo>
                    <a:cubicBezTo>
                      <a:pt x="1" y="26"/>
                      <a:pt x="1" y="26"/>
                      <a:pt x="1" y="26"/>
                    </a:cubicBezTo>
                    <a:cubicBezTo>
                      <a:pt x="1" y="27"/>
                      <a:pt x="1" y="27"/>
                      <a:pt x="1" y="27"/>
                    </a:cubicBezTo>
                    <a:cubicBezTo>
                      <a:pt x="1" y="27"/>
                      <a:pt x="1" y="27"/>
                      <a:pt x="2" y="27"/>
                    </a:cubicBezTo>
                    <a:cubicBezTo>
                      <a:pt x="2" y="28"/>
                      <a:pt x="2" y="28"/>
                      <a:pt x="2" y="28"/>
                    </a:cubicBezTo>
                    <a:cubicBezTo>
                      <a:pt x="2" y="28"/>
                      <a:pt x="2" y="29"/>
                      <a:pt x="2" y="29"/>
                    </a:cubicBezTo>
                    <a:cubicBezTo>
                      <a:pt x="2" y="29"/>
                      <a:pt x="2" y="30"/>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9" name="Freeform 3141">
                <a:extLst>
                  <a:ext uri="{FF2B5EF4-FFF2-40B4-BE49-F238E27FC236}">
                    <a16:creationId xmlns:a16="http://schemas.microsoft.com/office/drawing/2014/main" id="{71801240-4AAD-4C85-90C4-F65EBCD26837}"/>
                  </a:ext>
                </a:extLst>
              </p:cNvPr>
              <p:cNvSpPr>
                <a:spLocks/>
              </p:cNvSpPr>
              <p:nvPr/>
            </p:nvSpPr>
            <p:spPr bwMode="auto">
              <a:xfrm>
                <a:off x="5195" y="1884"/>
                <a:ext cx="506" cy="698"/>
              </a:xfrm>
              <a:custGeom>
                <a:avLst/>
                <a:gdLst>
                  <a:gd name="T0" fmla="*/ 211 w 214"/>
                  <a:gd name="T1" fmla="*/ 137 h 295"/>
                  <a:gd name="T2" fmla="*/ 208 w 214"/>
                  <a:gd name="T3" fmla="*/ 125 h 295"/>
                  <a:gd name="T4" fmla="*/ 205 w 214"/>
                  <a:gd name="T5" fmla="*/ 116 h 295"/>
                  <a:gd name="T6" fmla="*/ 203 w 214"/>
                  <a:gd name="T7" fmla="*/ 105 h 295"/>
                  <a:gd name="T8" fmla="*/ 202 w 214"/>
                  <a:gd name="T9" fmla="*/ 103 h 295"/>
                  <a:gd name="T10" fmla="*/ 189 w 214"/>
                  <a:gd name="T11" fmla="*/ 102 h 295"/>
                  <a:gd name="T12" fmla="*/ 180 w 214"/>
                  <a:gd name="T13" fmla="*/ 100 h 295"/>
                  <a:gd name="T14" fmla="*/ 171 w 214"/>
                  <a:gd name="T15" fmla="*/ 96 h 295"/>
                  <a:gd name="T16" fmla="*/ 162 w 214"/>
                  <a:gd name="T17" fmla="*/ 91 h 295"/>
                  <a:gd name="T18" fmla="*/ 156 w 214"/>
                  <a:gd name="T19" fmla="*/ 92 h 295"/>
                  <a:gd name="T20" fmla="*/ 144 w 214"/>
                  <a:gd name="T21" fmla="*/ 89 h 295"/>
                  <a:gd name="T22" fmla="*/ 133 w 214"/>
                  <a:gd name="T23" fmla="*/ 82 h 295"/>
                  <a:gd name="T24" fmla="*/ 123 w 214"/>
                  <a:gd name="T25" fmla="*/ 68 h 295"/>
                  <a:gd name="T26" fmla="*/ 122 w 214"/>
                  <a:gd name="T27" fmla="*/ 53 h 295"/>
                  <a:gd name="T28" fmla="*/ 112 w 214"/>
                  <a:gd name="T29" fmla="*/ 47 h 295"/>
                  <a:gd name="T30" fmla="*/ 107 w 214"/>
                  <a:gd name="T31" fmla="*/ 41 h 295"/>
                  <a:gd name="T32" fmla="*/ 110 w 214"/>
                  <a:gd name="T33" fmla="*/ 32 h 295"/>
                  <a:gd name="T34" fmla="*/ 110 w 214"/>
                  <a:gd name="T35" fmla="*/ 25 h 295"/>
                  <a:gd name="T36" fmla="*/ 107 w 214"/>
                  <a:gd name="T37" fmla="*/ 14 h 295"/>
                  <a:gd name="T38" fmla="*/ 99 w 214"/>
                  <a:gd name="T39" fmla="*/ 0 h 295"/>
                  <a:gd name="T40" fmla="*/ 83 w 214"/>
                  <a:gd name="T41" fmla="*/ 10 h 295"/>
                  <a:gd name="T42" fmla="*/ 64 w 214"/>
                  <a:gd name="T43" fmla="*/ 9 h 295"/>
                  <a:gd name="T44" fmla="*/ 63 w 214"/>
                  <a:gd name="T45" fmla="*/ 18 h 295"/>
                  <a:gd name="T46" fmla="*/ 64 w 214"/>
                  <a:gd name="T47" fmla="*/ 29 h 295"/>
                  <a:gd name="T48" fmla="*/ 72 w 214"/>
                  <a:gd name="T49" fmla="*/ 33 h 295"/>
                  <a:gd name="T50" fmla="*/ 66 w 214"/>
                  <a:gd name="T51" fmla="*/ 42 h 295"/>
                  <a:gd name="T52" fmla="*/ 60 w 214"/>
                  <a:gd name="T53" fmla="*/ 57 h 295"/>
                  <a:gd name="T54" fmla="*/ 54 w 214"/>
                  <a:gd name="T55" fmla="*/ 66 h 295"/>
                  <a:gd name="T56" fmla="*/ 36 w 214"/>
                  <a:gd name="T57" fmla="*/ 86 h 295"/>
                  <a:gd name="T58" fmla="*/ 24 w 214"/>
                  <a:gd name="T59" fmla="*/ 85 h 295"/>
                  <a:gd name="T60" fmla="*/ 20 w 214"/>
                  <a:gd name="T61" fmla="*/ 88 h 295"/>
                  <a:gd name="T62" fmla="*/ 22 w 214"/>
                  <a:gd name="T63" fmla="*/ 105 h 295"/>
                  <a:gd name="T64" fmla="*/ 28 w 214"/>
                  <a:gd name="T65" fmla="*/ 112 h 295"/>
                  <a:gd name="T66" fmla="*/ 29 w 214"/>
                  <a:gd name="T67" fmla="*/ 125 h 295"/>
                  <a:gd name="T68" fmla="*/ 21 w 214"/>
                  <a:gd name="T69" fmla="*/ 125 h 295"/>
                  <a:gd name="T70" fmla="*/ 5 w 214"/>
                  <a:gd name="T71" fmla="*/ 129 h 295"/>
                  <a:gd name="T72" fmla="*/ 4 w 214"/>
                  <a:gd name="T73" fmla="*/ 135 h 295"/>
                  <a:gd name="T74" fmla="*/ 22 w 214"/>
                  <a:gd name="T75" fmla="*/ 141 h 295"/>
                  <a:gd name="T76" fmla="*/ 16 w 214"/>
                  <a:gd name="T77" fmla="*/ 155 h 295"/>
                  <a:gd name="T78" fmla="*/ 42 w 214"/>
                  <a:gd name="T79" fmla="*/ 153 h 295"/>
                  <a:gd name="T80" fmla="*/ 49 w 214"/>
                  <a:gd name="T81" fmla="*/ 146 h 295"/>
                  <a:gd name="T82" fmla="*/ 47 w 214"/>
                  <a:gd name="T83" fmla="*/ 159 h 295"/>
                  <a:gd name="T84" fmla="*/ 47 w 214"/>
                  <a:gd name="T85" fmla="*/ 179 h 295"/>
                  <a:gd name="T86" fmla="*/ 49 w 214"/>
                  <a:gd name="T87" fmla="*/ 189 h 295"/>
                  <a:gd name="T88" fmla="*/ 57 w 214"/>
                  <a:gd name="T89" fmla="*/ 217 h 295"/>
                  <a:gd name="T90" fmla="*/ 61 w 214"/>
                  <a:gd name="T91" fmla="*/ 225 h 295"/>
                  <a:gd name="T92" fmla="*/ 70 w 214"/>
                  <a:gd name="T93" fmla="*/ 250 h 295"/>
                  <a:gd name="T94" fmla="*/ 83 w 214"/>
                  <a:gd name="T95" fmla="*/ 274 h 295"/>
                  <a:gd name="T96" fmla="*/ 88 w 214"/>
                  <a:gd name="T97" fmla="*/ 289 h 295"/>
                  <a:gd name="T98" fmla="*/ 114 w 214"/>
                  <a:gd name="T99" fmla="*/ 283 h 295"/>
                  <a:gd name="T100" fmla="*/ 120 w 214"/>
                  <a:gd name="T101" fmla="*/ 272 h 295"/>
                  <a:gd name="T102" fmla="*/ 124 w 214"/>
                  <a:gd name="T103" fmla="*/ 241 h 295"/>
                  <a:gd name="T104" fmla="*/ 122 w 214"/>
                  <a:gd name="T105" fmla="*/ 220 h 295"/>
                  <a:gd name="T106" fmla="*/ 137 w 214"/>
                  <a:gd name="T107" fmla="*/ 209 h 295"/>
                  <a:gd name="T108" fmla="*/ 165 w 214"/>
                  <a:gd name="T109" fmla="*/ 186 h 295"/>
                  <a:gd name="T110" fmla="*/ 178 w 214"/>
                  <a:gd name="T111" fmla="*/ 172 h 295"/>
                  <a:gd name="T112" fmla="*/ 202 w 214"/>
                  <a:gd name="T113" fmla="*/ 150 h 295"/>
                  <a:gd name="T114" fmla="*/ 208 w 214"/>
                  <a:gd name="T115" fmla="*/ 154 h 295"/>
                  <a:gd name="T116" fmla="*/ 211 w 214"/>
                  <a:gd name="T117" fmla="*/ 15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4" h="295">
                    <a:moveTo>
                      <a:pt x="213" y="152"/>
                    </a:moveTo>
                    <a:cubicBezTo>
                      <a:pt x="213" y="151"/>
                      <a:pt x="213" y="150"/>
                      <a:pt x="213" y="150"/>
                    </a:cubicBezTo>
                    <a:cubicBezTo>
                      <a:pt x="213" y="150"/>
                      <a:pt x="213" y="150"/>
                      <a:pt x="213" y="150"/>
                    </a:cubicBezTo>
                    <a:cubicBezTo>
                      <a:pt x="212" y="149"/>
                      <a:pt x="212" y="149"/>
                      <a:pt x="212" y="149"/>
                    </a:cubicBezTo>
                    <a:cubicBezTo>
                      <a:pt x="212" y="149"/>
                      <a:pt x="212" y="148"/>
                      <a:pt x="212" y="148"/>
                    </a:cubicBezTo>
                    <a:cubicBezTo>
                      <a:pt x="212" y="147"/>
                      <a:pt x="212" y="146"/>
                      <a:pt x="212" y="146"/>
                    </a:cubicBezTo>
                    <a:cubicBezTo>
                      <a:pt x="211" y="142"/>
                      <a:pt x="211" y="142"/>
                      <a:pt x="211" y="142"/>
                    </a:cubicBezTo>
                    <a:cubicBezTo>
                      <a:pt x="211" y="141"/>
                      <a:pt x="211" y="141"/>
                      <a:pt x="211" y="141"/>
                    </a:cubicBezTo>
                    <a:cubicBezTo>
                      <a:pt x="211" y="141"/>
                      <a:pt x="211" y="140"/>
                      <a:pt x="211" y="140"/>
                    </a:cubicBezTo>
                    <a:cubicBezTo>
                      <a:pt x="211" y="139"/>
                      <a:pt x="211" y="138"/>
                      <a:pt x="211" y="137"/>
                    </a:cubicBezTo>
                    <a:cubicBezTo>
                      <a:pt x="211" y="137"/>
                      <a:pt x="211" y="137"/>
                      <a:pt x="211" y="137"/>
                    </a:cubicBezTo>
                    <a:cubicBezTo>
                      <a:pt x="211" y="137"/>
                      <a:pt x="211" y="137"/>
                      <a:pt x="211" y="137"/>
                    </a:cubicBezTo>
                    <a:cubicBezTo>
                      <a:pt x="211" y="137"/>
                      <a:pt x="211" y="137"/>
                      <a:pt x="211" y="137"/>
                    </a:cubicBezTo>
                    <a:cubicBezTo>
                      <a:pt x="211" y="136"/>
                      <a:pt x="210" y="136"/>
                      <a:pt x="210" y="136"/>
                    </a:cubicBezTo>
                    <a:cubicBezTo>
                      <a:pt x="210" y="135"/>
                      <a:pt x="210" y="135"/>
                      <a:pt x="210" y="135"/>
                    </a:cubicBezTo>
                    <a:cubicBezTo>
                      <a:pt x="209" y="135"/>
                      <a:pt x="209" y="134"/>
                      <a:pt x="209" y="134"/>
                    </a:cubicBezTo>
                    <a:cubicBezTo>
                      <a:pt x="209" y="134"/>
                      <a:pt x="209" y="134"/>
                      <a:pt x="209" y="134"/>
                    </a:cubicBezTo>
                    <a:cubicBezTo>
                      <a:pt x="208" y="132"/>
                      <a:pt x="208" y="131"/>
                      <a:pt x="208" y="130"/>
                    </a:cubicBezTo>
                    <a:cubicBezTo>
                      <a:pt x="208" y="129"/>
                      <a:pt x="208" y="129"/>
                      <a:pt x="208" y="129"/>
                    </a:cubicBezTo>
                    <a:cubicBezTo>
                      <a:pt x="208" y="128"/>
                      <a:pt x="209" y="128"/>
                      <a:pt x="209" y="128"/>
                    </a:cubicBezTo>
                    <a:cubicBezTo>
                      <a:pt x="209" y="128"/>
                      <a:pt x="209" y="127"/>
                      <a:pt x="209" y="127"/>
                    </a:cubicBezTo>
                    <a:cubicBezTo>
                      <a:pt x="209" y="127"/>
                      <a:pt x="209" y="127"/>
                      <a:pt x="209" y="126"/>
                    </a:cubicBezTo>
                    <a:cubicBezTo>
                      <a:pt x="209" y="125"/>
                      <a:pt x="209" y="125"/>
                      <a:pt x="209" y="125"/>
                    </a:cubicBezTo>
                    <a:cubicBezTo>
                      <a:pt x="209" y="125"/>
                      <a:pt x="209" y="125"/>
                      <a:pt x="209" y="125"/>
                    </a:cubicBezTo>
                    <a:cubicBezTo>
                      <a:pt x="209" y="125"/>
                      <a:pt x="209" y="125"/>
                      <a:pt x="208" y="125"/>
                    </a:cubicBezTo>
                    <a:cubicBezTo>
                      <a:pt x="208" y="125"/>
                      <a:pt x="208" y="125"/>
                      <a:pt x="208" y="125"/>
                    </a:cubicBezTo>
                    <a:cubicBezTo>
                      <a:pt x="208" y="125"/>
                      <a:pt x="208" y="125"/>
                      <a:pt x="208" y="125"/>
                    </a:cubicBezTo>
                    <a:cubicBezTo>
                      <a:pt x="207" y="125"/>
                      <a:pt x="207" y="125"/>
                      <a:pt x="207" y="125"/>
                    </a:cubicBezTo>
                    <a:cubicBezTo>
                      <a:pt x="206" y="125"/>
                      <a:pt x="206" y="125"/>
                      <a:pt x="206" y="124"/>
                    </a:cubicBezTo>
                    <a:cubicBezTo>
                      <a:pt x="205" y="124"/>
                      <a:pt x="205" y="124"/>
                      <a:pt x="205" y="124"/>
                    </a:cubicBezTo>
                    <a:cubicBezTo>
                      <a:pt x="205" y="124"/>
                      <a:pt x="205" y="124"/>
                      <a:pt x="205" y="124"/>
                    </a:cubicBezTo>
                    <a:cubicBezTo>
                      <a:pt x="204" y="123"/>
                      <a:pt x="204" y="123"/>
                      <a:pt x="204" y="123"/>
                    </a:cubicBezTo>
                    <a:cubicBezTo>
                      <a:pt x="203" y="123"/>
                      <a:pt x="203" y="123"/>
                      <a:pt x="203" y="122"/>
                    </a:cubicBezTo>
                    <a:cubicBezTo>
                      <a:pt x="203" y="122"/>
                      <a:pt x="203" y="122"/>
                      <a:pt x="203" y="121"/>
                    </a:cubicBezTo>
                    <a:cubicBezTo>
                      <a:pt x="203" y="121"/>
                      <a:pt x="203" y="120"/>
                      <a:pt x="203" y="119"/>
                    </a:cubicBezTo>
                    <a:cubicBezTo>
                      <a:pt x="203" y="119"/>
                      <a:pt x="203" y="119"/>
                      <a:pt x="203" y="119"/>
                    </a:cubicBezTo>
                    <a:cubicBezTo>
                      <a:pt x="204" y="118"/>
                      <a:pt x="204" y="117"/>
                      <a:pt x="205" y="117"/>
                    </a:cubicBezTo>
                    <a:cubicBezTo>
                      <a:pt x="205" y="117"/>
                      <a:pt x="205" y="117"/>
                      <a:pt x="205" y="117"/>
                    </a:cubicBezTo>
                    <a:cubicBezTo>
                      <a:pt x="205" y="116"/>
                      <a:pt x="205" y="116"/>
                      <a:pt x="205" y="116"/>
                    </a:cubicBezTo>
                    <a:cubicBezTo>
                      <a:pt x="206" y="116"/>
                      <a:pt x="206" y="116"/>
                      <a:pt x="206" y="116"/>
                    </a:cubicBezTo>
                    <a:cubicBezTo>
                      <a:pt x="207" y="114"/>
                      <a:pt x="209" y="113"/>
                      <a:pt x="210" y="113"/>
                    </a:cubicBezTo>
                    <a:cubicBezTo>
                      <a:pt x="210" y="113"/>
                      <a:pt x="210" y="113"/>
                      <a:pt x="210" y="112"/>
                    </a:cubicBezTo>
                    <a:cubicBezTo>
                      <a:pt x="210" y="112"/>
                      <a:pt x="210" y="112"/>
                      <a:pt x="210" y="112"/>
                    </a:cubicBezTo>
                    <a:cubicBezTo>
                      <a:pt x="210" y="112"/>
                      <a:pt x="210" y="112"/>
                      <a:pt x="210" y="112"/>
                    </a:cubicBezTo>
                    <a:cubicBezTo>
                      <a:pt x="210" y="112"/>
                      <a:pt x="210" y="112"/>
                      <a:pt x="210" y="112"/>
                    </a:cubicBezTo>
                    <a:cubicBezTo>
                      <a:pt x="209" y="112"/>
                      <a:pt x="209" y="112"/>
                      <a:pt x="209" y="112"/>
                    </a:cubicBezTo>
                    <a:cubicBezTo>
                      <a:pt x="208" y="112"/>
                      <a:pt x="207" y="112"/>
                      <a:pt x="207" y="111"/>
                    </a:cubicBezTo>
                    <a:cubicBezTo>
                      <a:pt x="206" y="110"/>
                      <a:pt x="206" y="110"/>
                      <a:pt x="206" y="110"/>
                    </a:cubicBezTo>
                    <a:cubicBezTo>
                      <a:pt x="206" y="110"/>
                      <a:pt x="205" y="109"/>
                      <a:pt x="205" y="109"/>
                    </a:cubicBezTo>
                    <a:cubicBezTo>
                      <a:pt x="205" y="109"/>
                      <a:pt x="205" y="109"/>
                      <a:pt x="205" y="109"/>
                    </a:cubicBezTo>
                    <a:cubicBezTo>
                      <a:pt x="204" y="109"/>
                      <a:pt x="203" y="109"/>
                      <a:pt x="203" y="108"/>
                    </a:cubicBezTo>
                    <a:cubicBezTo>
                      <a:pt x="202" y="107"/>
                      <a:pt x="203" y="106"/>
                      <a:pt x="203" y="105"/>
                    </a:cubicBezTo>
                    <a:cubicBezTo>
                      <a:pt x="203" y="105"/>
                      <a:pt x="203" y="105"/>
                      <a:pt x="203" y="105"/>
                    </a:cubicBezTo>
                    <a:cubicBezTo>
                      <a:pt x="204" y="104"/>
                      <a:pt x="204" y="104"/>
                      <a:pt x="204" y="104"/>
                    </a:cubicBezTo>
                    <a:cubicBezTo>
                      <a:pt x="204" y="103"/>
                      <a:pt x="205" y="102"/>
                      <a:pt x="206" y="102"/>
                    </a:cubicBezTo>
                    <a:cubicBezTo>
                      <a:pt x="206" y="102"/>
                      <a:pt x="206" y="102"/>
                      <a:pt x="206" y="102"/>
                    </a:cubicBezTo>
                    <a:cubicBezTo>
                      <a:pt x="205" y="101"/>
                      <a:pt x="205" y="101"/>
                      <a:pt x="205" y="101"/>
                    </a:cubicBezTo>
                    <a:cubicBezTo>
                      <a:pt x="205" y="101"/>
                      <a:pt x="205" y="101"/>
                      <a:pt x="205" y="101"/>
                    </a:cubicBezTo>
                    <a:cubicBezTo>
                      <a:pt x="205" y="100"/>
                      <a:pt x="205" y="100"/>
                      <a:pt x="205" y="100"/>
                    </a:cubicBezTo>
                    <a:cubicBezTo>
                      <a:pt x="205" y="100"/>
                      <a:pt x="205" y="100"/>
                      <a:pt x="205" y="100"/>
                    </a:cubicBezTo>
                    <a:cubicBezTo>
                      <a:pt x="205" y="100"/>
                      <a:pt x="205" y="101"/>
                      <a:pt x="205" y="101"/>
                    </a:cubicBezTo>
                    <a:cubicBezTo>
                      <a:pt x="205" y="101"/>
                      <a:pt x="205" y="101"/>
                      <a:pt x="205" y="101"/>
                    </a:cubicBezTo>
                    <a:cubicBezTo>
                      <a:pt x="204" y="102"/>
                      <a:pt x="204" y="102"/>
                      <a:pt x="203" y="103"/>
                    </a:cubicBezTo>
                    <a:cubicBezTo>
                      <a:pt x="203" y="103"/>
                      <a:pt x="202" y="103"/>
                      <a:pt x="202" y="103"/>
                    </a:cubicBezTo>
                    <a:cubicBezTo>
                      <a:pt x="202" y="103"/>
                      <a:pt x="202" y="103"/>
                      <a:pt x="202" y="103"/>
                    </a:cubicBezTo>
                    <a:cubicBezTo>
                      <a:pt x="201" y="103"/>
                      <a:pt x="201" y="103"/>
                      <a:pt x="200" y="103"/>
                    </a:cubicBezTo>
                    <a:cubicBezTo>
                      <a:pt x="200" y="103"/>
                      <a:pt x="199" y="103"/>
                      <a:pt x="199" y="103"/>
                    </a:cubicBezTo>
                    <a:cubicBezTo>
                      <a:pt x="198" y="103"/>
                      <a:pt x="198" y="103"/>
                      <a:pt x="198" y="103"/>
                    </a:cubicBezTo>
                    <a:cubicBezTo>
                      <a:pt x="197" y="103"/>
                      <a:pt x="197" y="103"/>
                      <a:pt x="196" y="103"/>
                    </a:cubicBezTo>
                    <a:cubicBezTo>
                      <a:pt x="195" y="103"/>
                      <a:pt x="194" y="102"/>
                      <a:pt x="194" y="102"/>
                    </a:cubicBezTo>
                    <a:cubicBezTo>
                      <a:pt x="193" y="102"/>
                      <a:pt x="193" y="102"/>
                      <a:pt x="192" y="101"/>
                    </a:cubicBezTo>
                    <a:cubicBezTo>
                      <a:pt x="192" y="101"/>
                      <a:pt x="192" y="101"/>
                      <a:pt x="192" y="101"/>
                    </a:cubicBezTo>
                    <a:cubicBezTo>
                      <a:pt x="192" y="102"/>
                      <a:pt x="191" y="102"/>
                      <a:pt x="191" y="102"/>
                    </a:cubicBezTo>
                    <a:cubicBezTo>
                      <a:pt x="191" y="102"/>
                      <a:pt x="191" y="102"/>
                      <a:pt x="191" y="102"/>
                    </a:cubicBezTo>
                    <a:cubicBezTo>
                      <a:pt x="191" y="102"/>
                      <a:pt x="191" y="102"/>
                      <a:pt x="190" y="102"/>
                    </a:cubicBezTo>
                    <a:cubicBezTo>
                      <a:pt x="190" y="102"/>
                      <a:pt x="190" y="102"/>
                      <a:pt x="190" y="102"/>
                    </a:cubicBezTo>
                    <a:cubicBezTo>
                      <a:pt x="190" y="102"/>
                      <a:pt x="190" y="102"/>
                      <a:pt x="190" y="102"/>
                    </a:cubicBezTo>
                    <a:cubicBezTo>
                      <a:pt x="189" y="102"/>
                      <a:pt x="189" y="102"/>
                      <a:pt x="189" y="102"/>
                    </a:cubicBezTo>
                    <a:cubicBezTo>
                      <a:pt x="189" y="102"/>
                      <a:pt x="189" y="102"/>
                      <a:pt x="189" y="102"/>
                    </a:cubicBezTo>
                    <a:cubicBezTo>
                      <a:pt x="189" y="102"/>
                      <a:pt x="189" y="102"/>
                      <a:pt x="189" y="102"/>
                    </a:cubicBezTo>
                    <a:cubicBezTo>
                      <a:pt x="189" y="102"/>
                      <a:pt x="188" y="102"/>
                      <a:pt x="188" y="102"/>
                    </a:cubicBezTo>
                    <a:cubicBezTo>
                      <a:pt x="187" y="101"/>
                      <a:pt x="187" y="101"/>
                      <a:pt x="187" y="101"/>
                    </a:cubicBezTo>
                    <a:cubicBezTo>
                      <a:pt x="187" y="101"/>
                      <a:pt x="186" y="101"/>
                      <a:pt x="186" y="101"/>
                    </a:cubicBezTo>
                    <a:cubicBezTo>
                      <a:pt x="186" y="101"/>
                      <a:pt x="185" y="101"/>
                      <a:pt x="185" y="101"/>
                    </a:cubicBezTo>
                    <a:cubicBezTo>
                      <a:pt x="185" y="100"/>
                      <a:pt x="185" y="100"/>
                      <a:pt x="185" y="100"/>
                    </a:cubicBezTo>
                    <a:cubicBezTo>
                      <a:pt x="184" y="100"/>
                      <a:pt x="184" y="100"/>
                      <a:pt x="184" y="100"/>
                    </a:cubicBezTo>
                    <a:cubicBezTo>
                      <a:pt x="184" y="100"/>
                      <a:pt x="184" y="100"/>
                      <a:pt x="183" y="101"/>
                    </a:cubicBezTo>
                    <a:cubicBezTo>
                      <a:pt x="183" y="101"/>
                      <a:pt x="183" y="101"/>
                      <a:pt x="183" y="101"/>
                    </a:cubicBezTo>
                    <a:cubicBezTo>
                      <a:pt x="182" y="101"/>
                      <a:pt x="182" y="101"/>
                      <a:pt x="181" y="101"/>
                    </a:cubicBezTo>
                    <a:cubicBezTo>
                      <a:pt x="181" y="101"/>
                      <a:pt x="181" y="100"/>
                      <a:pt x="180" y="100"/>
                    </a:cubicBezTo>
                    <a:cubicBezTo>
                      <a:pt x="180" y="100"/>
                      <a:pt x="180" y="100"/>
                      <a:pt x="180" y="100"/>
                    </a:cubicBezTo>
                    <a:cubicBezTo>
                      <a:pt x="179" y="99"/>
                      <a:pt x="179" y="99"/>
                      <a:pt x="179" y="99"/>
                    </a:cubicBezTo>
                    <a:cubicBezTo>
                      <a:pt x="179" y="99"/>
                      <a:pt x="179" y="98"/>
                      <a:pt x="178" y="98"/>
                    </a:cubicBezTo>
                    <a:cubicBezTo>
                      <a:pt x="178" y="98"/>
                      <a:pt x="178" y="98"/>
                      <a:pt x="178" y="98"/>
                    </a:cubicBezTo>
                    <a:cubicBezTo>
                      <a:pt x="178" y="98"/>
                      <a:pt x="178" y="98"/>
                      <a:pt x="177" y="98"/>
                    </a:cubicBezTo>
                    <a:cubicBezTo>
                      <a:pt x="177" y="98"/>
                      <a:pt x="177" y="98"/>
                      <a:pt x="177" y="98"/>
                    </a:cubicBezTo>
                    <a:cubicBezTo>
                      <a:pt x="176" y="99"/>
                      <a:pt x="176" y="99"/>
                      <a:pt x="176" y="99"/>
                    </a:cubicBezTo>
                    <a:cubicBezTo>
                      <a:pt x="175" y="99"/>
                      <a:pt x="175" y="99"/>
                      <a:pt x="175" y="99"/>
                    </a:cubicBezTo>
                    <a:cubicBezTo>
                      <a:pt x="175" y="99"/>
                      <a:pt x="175" y="99"/>
                      <a:pt x="174" y="98"/>
                    </a:cubicBezTo>
                    <a:cubicBezTo>
                      <a:pt x="174" y="98"/>
                      <a:pt x="174" y="98"/>
                      <a:pt x="174" y="98"/>
                    </a:cubicBezTo>
                    <a:cubicBezTo>
                      <a:pt x="174" y="98"/>
                      <a:pt x="174" y="98"/>
                      <a:pt x="174" y="98"/>
                    </a:cubicBezTo>
                    <a:cubicBezTo>
                      <a:pt x="173" y="98"/>
                      <a:pt x="173" y="98"/>
                      <a:pt x="173" y="97"/>
                    </a:cubicBezTo>
                    <a:cubicBezTo>
                      <a:pt x="173" y="97"/>
                      <a:pt x="173" y="97"/>
                      <a:pt x="173" y="97"/>
                    </a:cubicBezTo>
                    <a:cubicBezTo>
                      <a:pt x="172" y="97"/>
                      <a:pt x="172" y="97"/>
                      <a:pt x="171" y="96"/>
                    </a:cubicBezTo>
                    <a:cubicBezTo>
                      <a:pt x="170" y="96"/>
                      <a:pt x="170" y="96"/>
                      <a:pt x="170" y="96"/>
                    </a:cubicBezTo>
                    <a:cubicBezTo>
                      <a:pt x="170" y="96"/>
                      <a:pt x="169" y="96"/>
                      <a:pt x="169" y="96"/>
                    </a:cubicBezTo>
                    <a:cubicBezTo>
                      <a:pt x="168" y="95"/>
                      <a:pt x="168" y="95"/>
                      <a:pt x="167" y="94"/>
                    </a:cubicBezTo>
                    <a:cubicBezTo>
                      <a:pt x="167" y="94"/>
                      <a:pt x="167" y="94"/>
                      <a:pt x="167" y="93"/>
                    </a:cubicBezTo>
                    <a:cubicBezTo>
                      <a:pt x="167" y="93"/>
                      <a:pt x="167" y="93"/>
                      <a:pt x="167" y="93"/>
                    </a:cubicBezTo>
                    <a:cubicBezTo>
                      <a:pt x="167" y="92"/>
                      <a:pt x="167" y="92"/>
                      <a:pt x="167" y="92"/>
                    </a:cubicBezTo>
                    <a:cubicBezTo>
                      <a:pt x="167" y="92"/>
                      <a:pt x="167" y="92"/>
                      <a:pt x="167" y="92"/>
                    </a:cubicBezTo>
                    <a:cubicBezTo>
                      <a:pt x="167" y="92"/>
                      <a:pt x="167" y="92"/>
                      <a:pt x="167" y="92"/>
                    </a:cubicBezTo>
                    <a:cubicBezTo>
                      <a:pt x="166" y="91"/>
                      <a:pt x="165" y="91"/>
                      <a:pt x="165" y="91"/>
                    </a:cubicBezTo>
                    <a:cubicBezTo>
                      <a:pt x="164" y="91"/>
                      <a:pt x="164" y="91"/>
                      <a:pt x="164" y="91"/>
                    </a:cubicBezTo>
                    <a:cubicBezTo>
                      <a:pt x="164" y="91"/>
                      <a:pt x="164" y="91"/>
                      <a:pt x="164" y="91"/>
                    </a:cubicBezTo>
                    <a:cubicBezTo>
                      <a:pt x="164" y="91"/>
                      <a:pt x="163" y="90"/>
                      <a:pt x="163" y="91"/>
                    </a:cubicBezTo>
                    <a:cubicBezTo>
                      <a:pt x="163" y="91"/>
                      <a:pt x="163" y="91"/>
                      <a:pt x="162" y="91"/>
                    </a:cubicBezTo>
                    <a:cubicBezTo>
                      <a:pt x="163" y="93"/>
                      <a:pt x="163" y="93"/>
                      <a:pt x="163" y="93"/>
                    </a:cubicBezTo>
                    <a:cubicBezTo>
                      <a:pt x="162" y="91"/>
                      <a:pt x="162" y="91"/>
                      <a:pt x="162" y="91"/>
                    </a:cubicBezTo>
                    <a:cubicBezTo>
                      <a:pt x="161" y="91"/>
                      <a:pt x="161" y="92"/>
                      <a:pt x="161" y="92"/>
                    </a:cubicBezTo>
                    <a:cubicBezTo>
                      <a:pt x="161" y="92"/>
                      <a:pt x="161" y="92"/>
                      <a:pt x="161" y="92"/>
                    </a:cubicBezTo>
                    <a:cubicBezTo>
                      <a:pt x="161" y="92"/>
                      <a:pt x="161" y="92"/>
                      <a:pt x="161" y="92"/>
                    </a:cubicBezTo>
                    <a:cubicBezTo>
                      <a:pt x="160" y="92"/>
                      <a:pt x="160" y="92"/>
                      <a:pt x="160" y="92"/>
                    </a:cubicBezTo>
                    <a:cubicBezTo>
                      <a:pt x="160" y="92"/>
                      <a:pt x="160" y="92"/>
                      <a:pt x="160" y="92"/>
                    </a:cubicBezTo>
                    <a:cubicBezTo>
                      <a:pt x="157" y="91"/>
                      <a:pt x="157" y="91"/>
                      <a:pt x="157" y="91"/>
                    </a:cubicBezTo>
                    <a:cubicBezTo>
                      <a:pt x="157" y="91"/>
                      <a:pt x="157" y="91"/>
                      <a:pt x="157" y="91"/>
                    </a:cubicBezTo>
                    <a:cubicBezTo>
                      <a:pt x="156" y="92"/>
                      <a:pt x="156" y="92"/>
                      <a:pt x="156" y="92"/>
                    </a:cubicBezTo>
                    <a:cubicBezTo>
                      <a:pt x="156" y="92"/>
                      <a:pt x="156" y="92"/>
                      <a:pt x="156" y="92"/>
                    </a:cubicBezTo>
                    <a:cubicBezTo>
                      <a:pt x="156" y="92"/>
                      <a:pt x="156" y="92"/>
                      <a:pt x="156" y="92"/>
                    </a:cubicBezTo>
                    <a:cubicBezTo>
                      <a:pt x="156" y="92"/>
                      <a:pt x="156" y="92"/>
                      <a:pt x="156" y="92"/>
                    </a:cubicBezTo>
                    <a:cubicBezTo>
                      <a:pt x="155" y="92"/>
                      <a:pt x="155" y="92"/>
                      <a:pt x="155" y="92"/>
                    </a:cubicBezTo>
                    <a:cubicBezTo>
                      <a:pt x="155" y="92"/>
                      <a:pt x="155" y="92"/>
                      <a:pt x="155" y="92"/>
                    </a:cubicBezTo>
                    <a:cubicBezTo>
                      <a:pt x="155" y="92"/>
                      <a:pt x="155" y="92"/>
                      <a:pt x="155" y="92"/>
                    </a:cubicBezTo>
                    <a:cubicBezTo>
                      <a:pt x="154" y="92"/>
                      <a:pt x="154" y="92"/>
                      <a:pt x="154" y="92"/>
                    </a:cubicBezTo>
                    <a:cubicBezTo>
                      <a:pt x="153" y="92"/>
                      <a:pt x="153" y="91"/>
                      <a:pt x="152" y="91"/>
                    </a:cubicBezTo>
                    <a:cubicBezTo>
                      <a:pt x="152" y="91"/>
                      <a:pt x="151" y="91"/>
                      <a:pt x="151" y="91"/>
                    </a:cubicBezTo>
                    <a:cubicBezTo>
                      <a:pt x="150" y="91"/>
                      <a:pt x="150" y="91"/>
                      <a:pt x="150" y="91"/>
                    </a:cubicBezTo>
                    <a:cubicBezTo>
                      <a:pt x="149" y="91"/>
                      <a:pt x="149" y="90"/>
                      <a:pt x="148" y="90"/>
                    </a:cubicBezTo>
                    <a:cubicBezTo>
                      <a:pt x="148" y="90"/>
                      <a:pt x="148" y="89"/>
                      <a:pt x="148" y="88"/>
                    </a:cubicBezTo>
                    <a:cubicBezTo>
                      <a:pt x="148" y="88"/>
                      <a:pt x="148" y="88"/>
                      <a:pt x="148" y="88"/>
                    </a:cubicBezTo>
                    <a:cubicBezTo>
                      <a:pt x="148" y="88"/>
                      <a:pt x="148" y="88"/>
                      <a:pt x="148" y="88"/>
                    </a:cubicBezTo>
                    <a:cubicBezTo>
                      <a:pt x="145" y="87"/>
                      <a:pt x="145" y="87"/>
                      <a:pt x="145" y="87"/>
                    </a:cubicBezTo>
                    <a:cubicBezTo>
                      <a:pt x="144" y="89"/>
                      <a:pt x="144" y="89"/>
                      <a:pt x="144" y="89"/>
                    </a:cubicBezTo>
                    <a:cubicBezTo>
                      <a:pt x="144" y="87"/>
                      <a:pt x="144" y="87"/>
                      <a:pt x="144" y="87"/>
                    </a:cubicBezTo>
                    <a:cubicBezTo>
                      <a:pt x="144" y="87"/>
                      <a:pt x="144" y="87"/>
                      <a:pt x="144" y="87"/>
                    </a:cubicBezTo>
                    <a:cubicBezTo>
                      <a:pt x="143" y="87"/>
                      <a:pt x="143" y="86"/>
                      <a:pt x="142" y="86"/>
                    </a:cubicBezTo>
                    <a:cubicBezTo>
                      <a:pt x="142" y="86"/>
                      <a:pt x="142" y="86"/>
                      <a:pt x="142" y="86"/>
                    </a:cubicBezTo>
                    <a:cubicBezTo>
                      <a:pt x="141" y="86"/>
                      <a:pt x="141" y="86"/>
                      <a:pt x="141" y="87"/>
                    </a:cubicBezTo>
                    <a:cubicBezTo>
                      <a:pt x="140" y="87"/>
                      <a:pt x="140" y="87"/>
                      <a:pt x="140" y="87"/>
                    </a:cubicBezTo>
                    <a:cubicBezTo>
                      <a:pt x="140" y="87"/>
                      <a:pt x="140" y="87"/>
                      <a:pt x="140" y="87"/>
                    </a:cubicBezTo>
                    <a:cubicBezTo>
                      <a:pt x="139" y="86"/>
                      <a:pt x="139" y="86"/>
                      <a:pt x="138" y="85"/>
                    </a:cubicBezTo>
                    <a:cubicBezTo>
                      <a:pt x="137" y="85"/>
                      <a:pt x="137" y="85"/>
                      <a:pt x="137" y="85"/>
                    </a:cubicBezTo>
                    <a:cubicBezTo>
                      <a:pt x="137" y="85"/>
                      <a:pt x="136" y="85"/>
                      <a:pt x="136" y="84"/>
                    </a:cubicBezTo>
                    <a:cubicBezTo>
                      <a:pt x="136" y="84"/>
                      <a:pt x="136" y="84"/>
                      <a:pt x="135" y="84"/>
                    </a:cubicBezTo>
                    <a:cubicBezTo>
                      <a:pt x="135" y="84"/>
                      <a:pt x="135" y="84"/>
                      <a:pt x="135" y="84"/>
                    </a:cubicBezTo>
                    <a:cubicBezTo>
                      <a:pt x="134" y="83"/>
                      <a:pt x="134" y="82"/>
                      <a:pt x="133" y="82"/>
                    </a:cubicBezTo>
                    <a:cubicBezTo>
                      <a:pt x="133" y="81"/>
                      <a:pt x="133" y="81"/>
                      <a:pt x="133" y="81"/>
                    </a:cubicBezTo>
                    <a:cubicBezTo>
                      <a:pt x="132" y="81"/>
                      <a:pt x="132" y="80"/>
                      <a:pt x="131" y="80"/>
                    </a:cubicBezTo>
                    <a:cubicBezTo>
                      <a:pt x="130" y="80"/>
                      <a:pt x="129" y="79"/>
                      <a:pt x="129" y="79"/>
                    </a:cubicBezTo>
                    <a:cubicBezTo>
                      <a:pt x="127" y="78"/>
                      <a:pt x="127" y="78"/>
                      <a:pt x="127" y="78"/>
                    </a:cubicBezTo>
                    <a:cubicBezTo>
                      <a:pt x="127" y="79"/>
                      <a:pt x="127" y="79"/>
                      <a:pt x="127" y="79"/>
                    </a:cubicBezTo>
                    <a:cubicBezTo>
                      <a:pt x="126" y="79"/>
                      <a:pt x="126" y="79"/>
                      <a:pt x="126" y="79"/>
                    </a:cubicBezTo>
                    <a:cubicBezTo>
                      <a:pt x="125" y="78"/>
                      <a:pt x="123" y="77"/>
                      <a:pt x="122" y="77"/>
                    </a:cubicBezTo>
                    <a:cubicBezTo>
                      <a:pt x="121" y="76"/>
                      <a:pt x="120" y="75"/>
                      <a:pt x="121" y="73"/>
                    </a:cubicBezTo>
                    <a:cubicBezTo>
                      <a:pt x="121" y="73"/>
                      <a:pt x="121" y="73"/>
                      <a:pt x="121" y="72"/>
                    </a:cubicBezTo>
                    <a:cubicBezTo>
                      <a:pt x="121" y="71"/>
                      <a:pt x="122" y="71"/>
                      <a:pt x="122" y="70"/>
                    </a:cubicBezTo>
                    <a:cubicBezTo>
                      <a:pt x="122" y="70"/>
                      <a:pt x="122" y="70"/>
                      <a:pt x="122" y="70"/>
                    </a:cubicBezTo>
                    <a:cubicBezTo>
                      <a:pt x="123" y="69"/>
                      <a:pt x="123" y="69"/>
                      <a:pt x="123" y="69"/>
                    </a:cubicBezTo>
                    <a:cubicBezTo>
                      <a:pt x="123" y="69"/>
                      <a:pt x="123" y="69"/>
                      <a:pt x="123" y="68"/>
                    </a:cubicBezTo>
                    <a:cubicBezTo>
                      <a:pt x="122" y="68"/>
                      <a:pt x="122" y="68"/>
                      <a:pt x="123" y="67"/>
                    </a:cubicBezTo>
                    <a:cubicBezTo>
                      <a:pt x="123" y="67"/>
                      <a:pt x="123" y="67"/>
                      <a:pt x="123" y="66"/>
                    </a:cubicBezTo>
                    <a:cubicBezTo>
                      <a:pt x="124" y="66"/>
                      <a:pt x="124" y="66"/>
                      <a:pt x="124" y="66"/>
                    </a:cubicBezTo>
                    <a:cubicBezTo>
                      <a:pt x="124" y="66"/>
                      <a:pt x="124" y="65"/>
                      <a:pt x="124" y="65"/>
                    </a:cubicBezTo>
                    <a:cubicBezTo>
                      <a:pt x="124" y="65"/>
                      <a:pt x="124" y="65"/>
                      <a:pt x="124" y="65"/>
                    </a:cubicBezTo>
                    <a:cubicBezTo>
                      <a:pt x="124" y="65"/>
                      <a:pt x="124" y="65"/>
                      <a:pt x="124" y="65"/>
                    </a:cubicBezTo>
                    <a:cubicBezTo>
                      <a:pt x="130" y="60"/>
                      <a:pt x="130" y="60"/>
                      <a:pt x="130" y="60"/>
                    </a:cubicBezTo>
                    <a:cubicBezTo>
                      <a:pt x="123" y="56"/>
                      <a:pt x="123" y="56"/>
                      <a:pt x="123" y="56"/>
                    </a:cubicBezTo>
                    <a:cubicBezTo>
                      <a:pt x="122" y="56"/>
                      <a:pt x="122" y="56"/>
                      <a:pt x="122" y="55"/>
                    </a:cubicBezTo>
                    <a:cubicBezTo>
                      <a:pt x="122" y="55"/>
                      <a:pt x="122" y="55"/>
                      <a:pt x="122" y="55"/>
                    </a:cubicBezTo>
                    <a:cubicBezTo>
                      <a:pt x="122" y="54"/>
                      <a:pt x="122" y="54"/>
                      <a:pt x="122" y="54"/>
                    </a:cubicBezTo>
                    <a:cubicBezTo>
                      <a:pt x="122" y="54"/>
                      <a:pt x="122" y="54"/>
                      <a:pt x="122" y="54"/>
                    </a:cubicBezTo>
                    <a:cubicBezTo>
                      <a:pt x="122" y="54"/>
                      <a:pt x="122" y="54"/>
                      <a:pt x="122" y="53"/>
                    </a:cubicBezTo>
                    <a:cubicBezTo>
                      <a:pt x="120" y="53"/>
                      <a:pt x="119" y="52"/>
                      <a:pt x="117" y="52"/>
                    </a:cubicBezTo>
                    <a:cubicBezTo>
                      <a:pt x="117" y="52"/>
                      <a:pt x="117" y="52"/>
                      <a:pt x="117" y="52"/>
                    </a:cubicBezTo>
                    <a:cubicBezTo>
                      <a:pt x="117" y="52"/>
                      <a:pt x="116" y="52"/>
                      <a:pt x="116" y="52"/>
                    </a:cubicBezTo>
                    <a:cubicBezTo>
                      <a:pt x="115" y="51"/>
                      <a:pt x="115" y="51"/>
                      <a:pt x="114" y="51"/>
                    </a:cubicBezTo>
                    <a:cubicBezTo>
                      <a:pt x="114" y="50"/>
                      <a:pt x="114" y="50"/>
                      <a:pt x="114" y="50"/>
                    </a:cubicBezTo>
                    <a:cubicBezTo>
                      <a:pt x="114" y="50"/>
                      <a:pt x="113" y="49"/>
                      <a:pt x="113" y="49"/>
                    </a:cubicBezTo>
                    <a:cubicBezTo>
                      <a:pt x="113" y="49"/>
                      <a:pt x="113" y="49"/>
                      <a:pt x="113" y="49"/>
                    </a:cubicBezTo>
                    <a:cubicBezTo>
                      <a:pt x="113" y="48"/>
                      <a:pt x="112" y="48"/>
                      <a:pt x="112" y="48"/>
                    </a:cubicBezTo>
                    <a:cubicBezTo>
                      <a:pt x="112" y="48"/>
                      <a:pt x="112" y="48"/>
                      <a:pt x="112" y="48"/>
                    </a:cubicBezTo>
                    <a:cubicBezTo>
                      <a:pt x="112" y="48"/>
                      <a:pt x="112" y="48"/>
                      <a:pt x="112" y="48"/>
                    </a:cubicBezTo>
                    <a:cubicBezTo>
                      <a:pt x="112" y="47"/>
                      <a:pt x="112" y="47"/>
                      <a:pt x="112" y="47"/>
                    </a:cubicBezTo>
                    <a:cubicBezTo>
                      <a:pt x="112" y="47"/>
                      <a:pt x="112" y="47"/>
                      <a:pt x="112" y="47"/>
                    </a:cubicBezTo>
                    <a:cubicBezTo>
                      <a:pt x="112" y="47"/>
                      <a:pt x="112" y="47"/>
                      <a:pt x="112" y="47"/>
                    </a:cubicBezTo>
                    <a:cubicBezTo>
                      <a:pt x="112" y="47"/>
                      <a:pt x="112" y="47"/>
                      <a:pt x="112" y="47"/>
                    </a:cubicBezTo>
                    <a:cubicBezTo>
                      <a:pt x="111" y="47"/>
                      <a:pt x="111" y="47"/>
                      <a:pt x="111" y="48"/>
                    </a:cubicBezTo>
                    <a:cubicBezTo>
                      <a:pt x="111" y="48"/>
                      <a:pt x="111" y="48"/>
                      <a:pt x="111" y="48"/>
                    </a:cubicBezTo>
                    <a:cubicBezTo>
                      <a:pt x="111" y="48"/>
                      <a:pt x="110" y="48"/>
                      <a:pt x="110" y="48"/>
                    </a:cubicBezTo>
                    <a:cubicBezTo>
                      <a:pt x="109" y="49"/>
                      <a:pt x="109" y="49"/>
                      <a:pt x="109" y="49"/>
                    </a:cubicBezTo>
                    <a:cubicBezTo>
                      <a:pt x="109" y="48"/>
                      <a:pt x="109" y="48"/>
                      <a:pt x="109" y="48"/>
                    </a:cubicBezTo>
                    <a:cubicBezTo>
                      <a:pt x="108" y="48"/>
                      <a:pt x="108" y="47"/>
                      <a:pt x="108" y="47"/>
                    </a:cubicBezTo>
                    <a:cubicBezTo>
                      <a:pt x="108" y="47"/>
                      <a:pt x="108" y="47"/>
                      <a:pt x="108" y="47"/>
                    </a:cubicBezTo>
                    <a:cubicBezTo>
                      <a:pt x="107" y="46"/>
                      <a:pt x="107" y="46"/>
                      <a:pt x="107" y="45"/>
                    </a:cubicBezTo>
                    <a:cubicBezTo>
                      <a:pt x="107" y="45"/>
                      <a:pt x="107" y="45"/>
                      <a:pt x="107" y="45"/>
                    </a:cubicBezTo>
                    <a:cubicBezTo>
                      <a:pt x="107" y="45"/>
                      <a:pt x="107" y="45"/>
                      <a:pt x="107" y="44"/>
                    </a:cubicBezTo>
                    <a:cubicBezTo>
                      <a:pt x="107" y="44"/>
                      <a:pt x="107" y="44"/>
                      <a:pt x="107" y="44"/>
                    </a:cubicBezTo>
                    <a:cubicBezTo>
                      <a:pt x="107" y="43"/>
                      <a:pt x="107" y="42"/>
                      <a:pt x="107" y="41"/>
                    </a:cubicBezTo>
                    <a:cubicBezTo>
                      <a:pt x="107" y="41"/>
                      <a:pt x="107" y="41"/>
                      <a:pt x="107" y="41"/>
                    </a:cubicBezTo>
                    <a:cubicBezTo>
                      <a:pt x="107" y="41"/>
                      <a:pt x="107" y="40"/>
                      <a:pt x="107" y="40"/>
                    </a:cubicBezTo>
                    <a:cubicBezTo>
                      <a:pt x="107" y="40"/>
                      <a:pt x="107" y="40"/>
                      <a:pt x="107" y="40"/>
                    </a:cubicBezTo>
                    <a:cubicBezTo>
                      <a:pt x="106" y="40"/>
                      <a:pt x="106" y="39"/>
                      <a:pt x="105" y="38"/>
                    </a:cubicBezTo>
                    <a:cubicBezTo>
                      <a:pt x="105" y="38"/>
                      <a:pt x="105" y="38"/>
                      <a:pt x="105" y="38"/>
                    </a:cubicBezTo>
                    <a:cubicBezTo>
                      <a:pt x="105" y="37"/>
                      <a:pt x="104" y="36"/>
                      <a:pt x="104" y="34"/>
                    </a:cubicBezTo>
                    <a:cubicBezTo>
                      <a:pt x="104" y="34"/>
                      <a:pt x="103" y="33"/>
                      <a:pt x="104" y="32"/>
                    </a:cubicBezTo>
                    <a:cubicBezTo>
                      <a:pt x="104" y="32"/>
                      <a:pt x="105" y="31"/>
                      <a:pt x="105" y="31"/>
                    </a:cubicBezTo>
                    <a:cubicBezTo>
                      <a:pt x="106" y="31"/>
                      <a:pt x="106" y="31"/>
                      <a:pt x="106" y="31"/>
                    </a:cubicBezTo>
                    <a:cubicBezTo>
                      <a:pt x="106" y="31"/>
                      <a:pt x="106" y="31"/>
                      <a:pt x="106" y="31"/>
                    </a:cubicBezTo>
                    <a:cubicBezTo>
                      <a:pt x="106" y="31"/>
                      <a:pt x="107" y="31"/>
                      <a:pt x="107" y="31"/>
                    </a:cubicBezTo>
                    <a:cubicBezTo>
                      <a:pt x="111" y="30"/>
                      <a:pt x="111" y="30"/>
                      <a:pt x="111" y="30"/>
                    </a:cubicBezTo>
                    <a:cubicBezTo>
                      <a:pt x="110" y="32"/>
                      <a:pt x="110" y="32"/>
                      <a:pt x="110" y="32"/>
                    </a:cubicBezTo>
                    <a:cubicBezTo>
                      <a:pt x="110" y="32"/>
                      <a:pt x="110" y="32"/>
                      <a:pt x="110" y="32"/>
                    </a:cubicBezTo>
                    <a:cubicBezTo>
                      <a:pt x="110" y="33"/>
                      <a:pt x="110" y="33"/>
                      <a:pt x="110" y="33"/>
                    </a:cubicBezTo>
                    <a:cubicBezTo>
                      <a:pt x="110" y="33"/>
                      <a:pt x="111" y="34"/>
                      <a:pt x="111" y="34"/>
                    </a:cubicBezTo>
                    <a:cubicBezTo>
                      <a:pt x="111" y="34"/>
                      <a:pt x="111" y="34"/>
                      <a:pt x="111" y="34"/>
                    </a:cubicBezTo>
                    <a:cubicBezTo>
                      <a:pt x="112" y="34"/>
                      <a:pt x="113" y="33"/>
                      <a:pt x="115" y="30"/>
                    </a:cubicBezTo>
                    <a:cubicBezTo>
                      <a:pt x="114" y="30"/>
                      <a:pt x="114" y="30"/>
                      <a:pt x="114" y="30"/>
                    </a:cubicBezTo>
                    <a:cubicBezTo>
                      <a:pt x="114" y="30"/>
                      <a:pt x="114" y="30"/>
                      <a:pt x="114" y="29"/>
                    </a:cubicBezTo>
                    <a:cubicBezTo>
                      <a:pt x="114" y="29"/>
                      <a:pt x="114" y="28"/>
                      <a:pt x="114" y="28"/>
                    </a:cubicBezTo>
                    <a:cubicBezTo>
                      <a:pt x="114" y="27"/>
                      <a:pt x="114" y="27"/>
                      <a:pt x="114" y="27"/>
                    </a:cubicBezTo>
                    <a:cubicBezTo>
                      <a:pt x="114" y="27"/>
                      <a:pt x="114" y="27"/>
                      <a:pt x="114" y="27"/>
                    </a:cubicBezTo>
                    <a:cubicBezTo>
                      <a:pt x="114" y="27"/>
                      <a:pt x="114" y="27"/>
                      <a:pt x="114" y="27"/>
                    </a:cubicBezTo>
                    <a:cubicBezTo>
                      <a:pt x="113" y="27"/>
                      <a:pt x="113" y="27"/>
                      <a:pt x="113" y="27"/>
                    </a:cubicBezTo>
                    <a:cubicBezTo>
                      <a:pt x="112" y="26"/>
                      <a:pt x="111" y="25"/>
                      <a:pt x="110" y="25"/>
                    </a:cubicBezTo>
                    <a:cubicBezTo>
                      <a:pt x="110" y="24"/>
                      <a:pt x="110" y="24"/>
                      <a:pt x="110" y="24"/>
                    </a:cubicBezTo>
                    <a:cubicBezTo>
                      <a:pt x="109" y="24"/>
                      <a:pt x="109" y="24"/>
                      <a:pt x="109" y="24"/>
                    </a:cubicBezTo>
                    <a:cubicBezTo>
                      <a:pt x="109" y="23"/>
                      <a:pt x="109" y="23"/>
                      <a:pt x="109" y="23"/>
                    </a:cubicBezTo>
                    <a:cubicBezTo>
                      <a:pt x="109" y="23"/>
                      <a:pt x="109" y="23"/>
                      <a:pt x="109" y="23"/>
                    </a:cubicBezTo>
                    <a:cubicBezTo>
                      <a:pt x="109" y="22"/>
                      <a:pt x="109" y="22"/>
                      <a:pt x="109" y="22"/>
                    </a:cubicBezTo>
                    <a:cubicBezTo>
                      <a:pt x="108" y="21"/>
                      <a:pt x="108" y="21"/>
                      <a:pt x="108" y="21"/>
                    </a:cubicBezTo>
                    <a:cubicBezTo>
                      <a:pt x="106" y="21"/>
                      <a:pt x="106" y="21"/>
                      <a:pt x="106" y="21"/>
                    </a:cubicBezTo>
                    <a:cubicBezTo>
                      <a:pt x="108" y="20"/>
                      <a:pt x="108" y="20"/>
                      <a:pt x="108" y="20"/>
                    </a:cubicBezTo>
                    <a:cubicBezTo>
                      <a:pt x="107" y="18"/>
                      <a:pt x="107" y="18"/>
                      <a:pt x="107" y="18"/>
                    </a:cubicBezTo>
                    <a:cubicBezTo>
                      <a:pt x="107" y="18"/>
                      <a:pt x="107" y="17"/>
                      <a:pt x="107" y="17"/>
                    </a:cubicBezTo>
                    <a:cubicBezTo>
                      <a:pt x="107" y="17"/>
                      <a:pt x="107" y="17"/>
                      <a:pt x="107" y="17"/>
                    </a:cubicBezTo>
                    <a:cubicBezTo>
                      <a:pt x="107" y="17"/>
                      <a:pt x="107" y="17"/>
                      <a:pt x="107" y="17"/>
                    </a:cubicBezTo>
                    <a:cubicBezTo>
                      <a:pt x="107" y="16"/>
                      <a:pt x="107" y="15"/>
                      <a:pt x="107" y="14"/>
                    </a:cubicBezTo>
                    <a:cubicBezTo>
                      <a:pt x="108" y="14"/>
                      <a:pt x="108" y="14"/>
                      <a:pt x="108" y="14"/>
                    </a:cubicBezTo>
                    <a:cubicBezTo>
                      <a:pt x="109" y="13"/>
                      <a:pt x="109" y="13"/>
                      <a:pt x="109" y="13"/>
                    </a:cubicBezTo>
                    <a:cubicBezTo>
                      <a:pt x="109" y="13"/>
                      <a:pt x="108" y="13"/>
                      <a:pt x="108" y="13"/>
                    </a:cubicBezTo>
                    <a:cubicBezTo>
                      <a:pt x="108" y="12"/>
                      <a:pt x="108" y="12"/>
                      <a:pt x="108" y="12"/>
                    </a:cubicBezTo>
                    <a:cubicBezTo>
                      <a:pt x="107" y="12"/>
                      <a:pt x="106" y="12"/>
                      <a:pt x="105" y="11"/>
                    </a:cubicBezTo>
                    <a:cubicBezTo>
                      <a:pt x="104" y="10"/>
                      <a:pt x="103" y="10"/>
                      <a:pt x="102" y="9"/>
                    </a:cubicBezTo>
                    <a:cubicBezTo>
                      <a:pt x="102" y="9"/>
                      <a:pt x="102" y="8"/>
                      <a:pt x="102" y="8"/>
                    </a:cubicBezTo>
                    <a:cubicBezTo>
                      <a:pt x="101" y="5"/>
                      <a:pt x="101" y="5"/>
                      <a:pt x="101" y="5"/>
                    </a:cubicBezTo>
                    <a:cubicBezTo>
                      <a:pt x="101" y="5"/>
                      <a:pt x="101" y="4"/>
                      <a:pt x="101" y="4"/>
                    </a:cubicBezTo>
                    <a:cubicBezTo>
                      <a:pt x="100" y="4"/>
                      <a:pt x="100" y="3"/>
                      <a:pt x="100" y="3"/>
                    </a:cubicBezTo>
                    <a:cubicBezTo>
                      <a:pt x="100" y="3"/>
                      <a:pt x="100" y="2"/>
                      <a:pt x="100" y="1"/>
                    </a:cubicBezTo>
                    <a:cubicBezTo>
                      <a:pt x="100" y="1"/>
                      <a:pt x="100" y="1"/>
                      <a:pt x="100" y="0"/>
                    </a:cubicBezTo>
                    <a:cubicBezTo>
                      <a:pt x="100" y="0"/>
                      <a:pt x="99" y="0"/>
                      <a:pt x="99" y="0"/>
                    </a:cubicBezTo>
                    <a:cubicBezTo>
                      <a:pt x="99" y="1"/>
                      <a:pt x="98" y="1"/>
                      <a:pt x="97" y="1"/>
                    </a:cubicBezTo>
                    <a:cubicBezTo>
                      <a:pt x="97" y="2"/>
                      <a:pt x="96" y="2"/>
                      <a:pt x="95" y="2"/>
                    </a:cubicBezTo>
                    <a:cubicBezTo>
                      <a:pt x="95" y="3"/>
                      <a:pt x="94" y="3"/>
                      <a:pt x="94" y="3"/>
                    </a:cubicBezTo>
                    <a:cubicBezTo>
                      <a:pt x="91" y="5"/>
                      <a:pt x="91" y="5"/>
                      <a:pt x="91" y="5"/>
                    </a:cubicBezTo>
                    <a:cubicBezTo>
                      <a:pt x="91" y="5"/>
                      <a:pt x="90" y="6"/>
                      <a:pt x="90" y="6"/>
                    </a:cubicBezTo>
                    <a:cubicBezTo>
                      <a:pt x="90" y="7"/>
                      <a:pt x="90" y="7"/>
                      <a:pt x="90" y="7"/>
                    </a:cubicBezTo>
                    <a:cubicBezTo>
                      <a:pt x="89" y="8"/>
                      <a:pt x="88" y="9"/>
                      <a:pt x="86" y="9"/>
                    </a:cubicBezTo>
                    <a:cubicBezTo>
                      <a:pt x="86" y="9"/>
                      <a:pt x="86" y="9"/>
                      <a:pt x="86" y="9"/>
                    </a:cubicBezTo>
                    <a:cubicBezTo>
                      <a:pt x="86" y="9"/>
                      <a:pt x="85" y="9"/>
                      <a:pt x="85" y="9"/>
                    </a:cubicBezTo>
                    <a:cubicBezTo>
                      <a:pt x="85" y="9"/>
                      <a:pt x="85" y="9"/>
                      <a:pt x="85" y="9"/>
                    </a:cubicBezTo>
                    <a:cubicBezTo>
                      <a:pt x="85" y="9"/>
                      <a:pt x="84" y="9"/>
                      <a:pt x="84" y="9"/>
                    </a:cubicBezTo>
                    <a:cubicBezTo>
                      <a:pt x="84" y="9"/>
                      <a:pt x="83" y="9"/>
                      <a:pt x="83" y="10"/>
                    </a:cubicBezTo>
                    <a:cubicBezTo>
                      <a:pt x="83" y="10"/>
                      <a:pt x="83" y="10"/>
                      <a:pt x="83" y="10"/>
                    </a:cubicBezTo>
                    <a:cubicBezTo>
                      <a:pt x="83" y="10"/>
                      <a:pt x="83" y="10"/>
                      <a:pt x="83" y="10"/>
                    </a:cubicBezTo>
                    <a:cubicBezTo>
                      <a:pt x="82" y="10"/>
                      <a:pt x="82" y="10"/>
                      <a:pt x="81" y="10"/>
                    </a:cubicBezTo>
                    <a:cubicBezTo>
                      <a:pt x="80" y="11"/>
                      <a:pt x="78" y="11"/>
                      <a:pt x="77" y="12"/>
                    </a:cubicBezTo>
                    <a:cubicBezTo>
                      <a:pt x="77" y="12"/>
                      <a:pt x="76" y="11"/>
                      <a:pt x="76" y="11"/>
                    </a:cubicBezTo>
                    <a:cubicBezTo>
                      <a:pt x="75" y="11"/>
                      <a:pt x="75" y="11"/>
                      <a:pt x="75" y="11"/>
                    </a:cubicBezTo>
                    <a:cubicBezTo>
                      <a:pt x="75" y="11"/>
                      <a:pt x="74" y="11"/>
                      <a:pt x="74" y="11"/>
                    </a:cubicBezTo>
                    <a:cubicBezTo>
                      <a:pt x="73" y="11"/>
                      <a:pt x="73" y="11"/>
                      <a:pt x="73" y="10"/>
                    </a:cubicBezTo>
                    <a:cubicBezTo>
                      <a:pt x="73" y="10"/>
                      <a:pt x="73" y="10"/>
                      <a:pt x="73" y="10"/>
                    </a:cubicBezTo>
                    <a:cubicBezTo>
                      <a:pt x="72" y="10"/>
                      <a:pt x="72" y="10"/>
                      <a:pt x="72" y="10"/>
                    </a:cubicBezTo>
                    <a:cubicBezTo>
                      <a:pt x="71" y="10"/>
                      <a:pt x="71" y="10"/>
                      <a:pt x="71" y="10"/>
                    </a:cubicBezTo>
                    <a:cubicBezTo>
                      <a:pt x="70" y="10"/>
                      <a:pt x="69" y="10"/>
                      <a:pt x="69" y="10"/>
                    </a:cubicBezTo>
                    <a:cubicBezTo>
                      <a:pt x="68" y="9"/>
                      <a:pt x="67" y="9"/>
                      <a:pt x="66" y="9"/>
                    </a:cubicBezTo>
                    <a:cubicBezTo>
                      <a:pt x="66" y="9"/>
                      <a:pt x="65" y="9"/>
                      <a:pt x="64" y="9"/>
                    </a:cubicBezTo>
                    <a:cubicBezTo>
                      <a:pt x="64" y="9"/>
                      <a:pt x="64" y="9"/>
                      <a:pt x="64" y="9"/>
                    </a:cubicBezTo>
                    <a:cubicBezTo>
                      <a:pt x="63" y="9"/>
                      <a:pt x="62" y="10"/>
                      <a:pt x="61" y="10"/>
                    </a:cubicBezTo>
                    <a:cubicBezTo>
                      <a:pt x="60" y="10"/>
                      <a:pt x="60" y="10"/>
                      <a:pt x="60" y="10"/>
                    </a:cubicBezTo>
                    <a:cubicBezTo>
                      <a:pt x="60" y="10"/>
                      <a:pt x="60" y="10"/>
                      <a:pt x="60" y="10"/>
                    </a:cubicBezTo>
                    <a:cubicBezTo>
                      <a:pt x="60" y="10"/>
                      <a:pt x="59" y="11"/>
                      <a:pt x="59" y="11"/>
                    </a:cubicBezTo>
                    <a:cubicBezTo>
                      <a:pt x="59" y="11"/>
                      <a:pt x="59" y="11"/>
                      <a:pt x="59" y="11"/>
                    </a:cubicBezTo>
                    <a:cubicBezTo>
                      <a:pt x="59" y="12"/>
                      <a:pt x="59" y="12"/>
                      <a:pt x="59" y="12"/>
                    </a:cubicBezTo>
                    <a:cubicBezTo>
                      <a:pt x="59" y="12"/>
                      <a:pt x="60" y="12"/>
                      <a:pt x="60" y="12"/>
                    </a:cubicBezTo>
                    <a:cubicBezTo>
                      <a:pt x="60" y="12"/>
                      <a:pt x="60" y="12"/>
                      <a:pt x="60" y="12"/>
                    </a:cubicBezTo>
                    <a:cubicBezTo>
                      <a:pt x="61" y="12"/>
                      <a:pt x="61" y="12"/>
                      <a:pt x="61" y="12"/>
                    </a:cubicBezTo>
                    <a:cubicBezTo>
                      <a:pt x="61" y="13"/>
                      <a:pt x="61" y="14"/>
                      <a:pt x="61" y="15"/>
                    </a:cubicBezTo>
                    <a:cubicBezTo>
                      <a:pt x="62" y="15"/>
                      <a:pt x="63" y="15"/>
                      <a:pt x="64" y="16"/>
                    </a:cubicBezTo>
                    <a:cubicBezTo>
                      <a:pt x="64" y="17"/>
                      <a:pt x="64" y="18"/>
                      <a:pt x="63" y="18"/>
                    </a:cubicBezTo>
                    <a:cubicBezTo>
                      <a:pt x="63" y="19"/>
                      <a:pt x="63" y="19"/>
                      <a:pt x="63" y="19"/>
                    </a:cubicBezTo>
                    <a:cubicBezTo>
                      <a:pt x="62" y="19"/>
                      <a:pt x="62" y="19"/>
                      <a:pt x="62" y="19"/>
                    </a:cubicBezTo>
                    <a:cubicBezTo>
                      <a:pt x="62" y="19"/>
                      <a:pt x="62" y="19"/>
                      <a:pt x="62" y="19"/>
                    </a:cubicBezTo>
                    <a:cubicBezTo>
                      <a:pt x="62" y="19"/>
                      <a:pt x="62" y="19"/>
                      <a:pt x="62" y="19"/>
                    </a:cubicBezTo>
                    <a:cubicBezTo>
                      <a:pt x="61" y="19"/>
                      <a:pt x="61" y="19"/>
                      <a:pt x="61" y="19"/>
                    </a:cubicBezTo>
                    <a:cubicBezTo>
                      <a:pt x="61" y="20"/>
                      <a:pt x="62" y="20"/>
                      <a:pt x="62" y="20"/>
                    </a:cubicBezTo>
                    <a:cubicBezTo>
                      <a:pt x="62" y="20"/>
                      <a:pt x="62" y="20"/>
                      <a:pt x="62" y="20"/>
                    </a:cubicBezTo>
                    <a:cubicBezTo>
                      <a:pt x="63" y="22"/>
                      <a:pt x="62" y="24"/>
                      <a:pt x="62" y="24"/>
                    </a:cubicBezTo>
                    <a:cubicBezTo>
                      <a:pt x="62" y="25"/>
                      <a:pt x="62" y="25"/>
                      <a:pt x="62" y="25"/>
                    </a:cubicBezTo>
                    <a:cubicBezTo>
                      <a:pt x="62" y="26"/>
                      <a:pt x="62" y="26"/>
                      <a:pt x="62" y="26"/>
                    </a:cubicBezTo>
                    <a:cubicBezTo>
                      <a:pt x="62" y="26"/>
                      <a:pt x="62" y="27"/>
                      <a:pt x="63" y="27"/>
                    </a:cubicBezTo>
                    <a:cubicBezTo>
                      <a:pt x="64" y="29"/>
                      <a:pt x="64" y="29"/>
                      <a:pt x="64" y="29"/>
                    </a:cubicBezTo>
                    <a:cubicBezTo>
                      <a:pt x="64" y="29"/>
                      <a:pt x="64" y="29"/>
                      <a:pt x="64" y="29"/>
                    </a:cubicBezTo>
                    <a:cubicBezTo>
                      <a:pt x="64" y="29"/>
                      <a:pt x="64" y="29"/>
                      <a:pt x="65" y="29"/>
                    </a:cubicBezTo>
                    <a:cubicBezTo>
                      <a:pt x="66" y="29"/>
                      <a:pt x="66" y="28"/>
                      <a:pt x="67" y="28"/>
                    </a:cubicBezTo>
                    <a:cubicBezTo>
                      <a:pt x="69" y="28"/>
                      <a:pt x="69" y="28"/>
                      <a:pt x="69" y="28"/>
                    </a:cubicBezTo>
                    <a:cubicBezTo>
                      <a:pt x="68" y="31"/>
                      <a:pt x="68" y="31"/>
                      <a:pt x="68" y="31"/>
                    </a:cubicBezTo>
                    <a:cubicBezTo>
                      <a:pt x="68" y="31"/>
                      <a:pt x="68" y="31"/>
                      <a:pt x="68" y="31"/>
                    </a:cubicBezTo>
                    <a:cubicBezTo>
                      <a:pt x="68" y="31"/>
                      <a:pt x="68" y="31"/>
                      <a:pt x="68" y="31"/>
                    </a:cubicBezTo>
                    <a:cubicBezTo>
                      <a:pt x="68" y="31"/>
                      <a:pt x="68" y="31"/>
                      <a:pt x="68" y="31"/>
                    </a:cubicBezTo>
                    <a:cubicBezTo>
                      <a:pt x="68" y="32"/>
                      <a:pt x="68" y="32"/>
                      <a:pt x="68" y="32"/>
                    </a:cubicBezTo>
                    <a:cubicBezTo>
                      <a:pt x="68" y="32"/>
                      <a:pt x="68" y="32"/>
                      <a:pt x="68" y="32"/>
                    </a:cubicBezTo>
                    <a:cubicBezTo>
                      <a:pt x="68" y="32"/>
                      <a:pt x="68" y="33"/>
                      <a:pt x="69" y="33"/>
                    </a:cubicBezTo>
                    <a:cubicBezTo>
                      <a:pt x="70" y="33"/>
                      <a:pt x="70" y="33"/>
                      <a:pt x="70" y="33"/>
                    </a:cubicBezTo>
                    <a:cubicBezTo>
                      <a:pt x="71" y="33"/>
                      <a:pt x="71" y="33"/>
                      <a:pt x="72" y="33"/>
                    </a:cubicBezTo>
                    <a:cubicBezTo>
                      <a:pt x="72" y="33"/>
                      <a:pt x="72" y="33"/>
                      <a:pt x="72" y="33"/>
                    </a:cubicBezTo>
                    <a:cubicBezTo>
                      <a:pt x="73" y="33"/>
                      <a:pt x="73" y="33"/>
                      <a:pt x="73" y="33"/>
                    </a:cubicBezTo>
                    <a:cubicBezTo>
                      <a:pt x="73" y="34"/>
                      <a:pt x="73" y="34"/>
                      <a:pt x="74" y="34"/>
                    </a:cubicBezTo>
                    <a:cubicBezTo>
                      <a:pt x="74" y="35"/>
                      <a:pt x="75" y="36"/>
                      <a:pt x="74" y="37"/>
                    </a:cubicBezTo>
                    <a:cubicBezTo>
                      <a:pt x="74" y="39"/>
                      <a:pt x="72" y="39"/>
                      <a:pt x="71" y="40"/>
                    </a:cubicBezTo>
                    <a:cubicBezTo>
                      <a:pt x="71" y="40"/>
                      <a:pt x="71" y="40"/>
                      <a:pt x="71" y="40"/>
                    </a:cubicBezTo>
                    <a:cubicBezTo>
                      <a:pt x="71" y="40"/>
                      <a:pt x="70" y="40"/>
                      <a:pt x="70" y="40"/>
                    </a:cubicBezTo>
                    <a:cubicBezTo>
                      <a:pt x="69" y="40"/>
                      <a:pt x="69" y="40"/>
                      <a:pt x="69" y="40"/>
                    </a:cubicBezTo>
                    <a:cubicBezTo>
                      <a:pt x="69" y="40"/>
                      <a:pt x="69" y="40"/>
                      <a:pt x="69" y="41"/>
                    </a:cubicBezTo>
                    <a:cubicBezTo>
                      <a:pt x="69" y="41"/>
                      <a:pt x="68" y="41"/>
                      <a:pt x="68" y="41"/>
                    </a:cubicBezTo>
                    <a:cubicBezTo>
                      <a:pt x="68" y="41"/>
                      <a:pt x="68" y="41"/>
                      <a:pt x="68" y="41"/>
                    </a:cubicBezTo>
                    <a:cubicBezTo>
                      <a:pt x="68" y="41"/>
                      <a:pt x="68" y="41"/>
                      <a:pt x="67" y="41"/>
                    </a:cubicBezTo>
                    <a:cubicBezTo>
                      <a:pt x="67" y="41"/>
                      <a:pt x="67" y="41"/>
                      <a:pt x="67" y="41"/>
                    </a:cubicBezTo>
                    <a:cubicBezTo>
                      <a:pt x="67" y="42"/>
                      <a:pt x="66" y="42"/>
                      <a:pt x="66" y="42"/>
                    </a:cubicBezTo>
                    <a:cubicBezTo>
                      <a:pt x="66" y="42"/>
                      <a:pt x="66" y="42"/>
                      <a:pt x="66" y="42"/>
                    </a:cubicBezTo>
                    <a:cubicBezTo>
                      <a:pt x="66" y="43"/>
                      <a:pt x="66" y="43"/>
                      <a:pt x="66" y="43"/>
                    </a:cubicBezTo>
                    <a:cubicBezTo>
                      <a:pt x="67" y="44"/>
                      <a:pt x="67" y="45"/>
                      <a:pt x="67" y="46"/>
                    </a:cubicBezTo>
                    <a:cubicBezTo>
                      <a:pt x="67" y="46"/>
                      <a:pt x="67" y="46"/>
                      <a:pt x="67" y="46"/>
                    </a:cubicBezTo>
                    <a:cubicBezTo>
                      <a:pt x="67" y="46"/>
                      <a:pt x="67" y="47"/>
                      <a:pt x="67" y="47"/>
                    </a:cubicBezTo>
                    <a:cubicBezTo>
                      <a:pt x="67" y="48"/>
                      <a:pt x="67" y="48"/>
                      <a:pt x="67" y="48"/>
                    </a:cubicBezTo>
                    <a:cubicBezTo>
                      <a:pt x="67" y="49"/>
                      <a:pt x="67" y="49"/>
                      <a:pt x="67" y="49"/>
                    </a:cubicBezTo>
                    <a:cubicBezTo>
                      <a:pt x="68" y="51"/>
                      <a:pt x="67" y="52"/>
                      <a:pt x="66" y="52"/>
                    </a:cubicBezTo>
                    <a:cubicBezTo>
                      <a:pt x="65" y="53"/>
                      <a:pt x="64" y="54"/>
                      <a:pt x="63" y="54"/>
                    </a:cubicBezTo>
                    <a:cubicBezTo>
                      <a:pt x="63" y="54"/>
                      <a:pt x="63" y="54"/>
                      <a:pt x="63" y="54"/>
                    </a:cubicBezTo>
                    <a:cubicBezTo>
                      <a:pt x="63" y="55"/>
                      <a:pt x="62" y="55"/>
                      <a:pt x="62" y="55"/>
                    </a:cubicBezTo>
                    <a:cubicBezTo>
                      <a:pt x="62" y="55"/>
                      <a:pt x="62" y="55"/>
                      <a:pt x="62" y="55"/>
                    </a:cubicBezTo>
                    <a:cubicBezTo>
                      <a:pt x="61" y="56"/>
                      <a:pt x="61" y="56"/>
                      <a:pt x="60" y="57"/>
                    </a:cubicBezTo>
                    <a:cubicBezTo>
                      <a:pt x="60" y="57"/>
                      <a:pt x="60" y="57"/>
                      <a:pt x="60" y="57"/>
                    </a:cubicBezTo>
                    <a:cubicBezTo>
                      <a:pt x="60" y="57"/>
                      <a:pt x="60" y="57"/>
                      <a:pt x="60" y="58"/>
                    </a:cubicBezTo>
                    <a:cubicBezTo>
                      <a:pt x="60" y="58"/>
                      <a:pt x="60" y="58"/>
                      <a:pt x="60" y="58"/>
                    </a:cubicBezTo>
                    <a:cubicBezTo>
                      <a:pt x="60" y="58"/>
                      <a:pt x="60" y="58"/>
                      <a:pt x="60" y="58"/>
                    </a:cubicBezTo>
                    <a:cubicBezTo>
                      <a:pt x="60" y="58"/>
                      <a:pt x="60" y="59"/>
                      <a:pt x="60" y="59"/>
                    </a:cubicBezTo>
                    <a:cubicBezTo>
                      <a:pt x="61" y="60"/>
                      <a:pt x="61" y="60"/>
                      <a:pt x="61" y="60"/>
                    </a:cubicBezTo>
                    <a:cubicBezTo>
                      <a:pt x="60" y="60"/>
                      <a:pt x="60" y="60"/>
                      <a:pt x="60" y="60"/>
                    </a:cubicBezTo>
                    <a:cubicBezTo>
                      <a:pt x="59" y="61"/>
                      <a:pt x="59" y="61"/>
                      <a:pt x="58" y="61"/>
                    </a:cubicBezTo>
                    <a:cubicBezTo>
                      <a:pt x="58" y="62"/>
                      <a:pt x="58" y="62"/>
                      <a:pt x="58" y="62"/>
                    </a:cubicBezTo>
                    <a:cubicBezTo>
                      <a:pt x="57" y="62"/>
                      <a:pt x="56" y="62"/>
                      <a:pt x="55" y="63"/>
                    </a:cubicBezTo>
                    <a:cubicBezTo>
                      <a:pt x="55" y="63"/>
                      <a:pt x="55" y="63"/>
                      <a:pt x="55" y="63"/>
                    </a:cubicBezTo>
                    <a:cubicBezTo>
                      <a:pt x="54" y="64"/>
                      <a:pt x="54" y="65"/>
                      <a:pt x="54" y="65"/>
                    </a:cubicBezTo>
                    <a:cubicBezTo>
                      <a:pt x="54" y="66"/>
                      <a:pt x="54" y="66"/>
                      <a:pt x="54" y="66"/>
                    </a:cubicBezTo>
                    <a:cubicBezTo>
                      <a:pt x="54" y="67"/>
                      <a:pt x="54" y="67"/>
                      <a:pt x="54" y="67"/>
                    </a:cubicBezTo>
                    <a:cubicBezTo>
                      <a:pt x="53" y="67"/>
                      <a:pt x="53" y="67"/>
                      <a:pt x="53" y="67"/>
                    </a:cubicBezTo>
                    <a:cubicBezTo>
                      <a:pt x="53" y="68"/>
                      <a:pt x="52" y="69"/>
                      <a:pt x="52" y="69"/>
                    </a:cubicBezTo>
                    <a:cubicBezTo>
                      <a:pt x="52" y="70"/>
                      <a:pt x="52" y="70"/>
                      <a:pt x="52" y="70"/>
                    </a:cubicBezTo>
                    <a:cubicBezTo>
                      <a:pt x="52" y="70"/>
                      <a:pt x="51" y="71"/>
                      <a:pt x="51" y="71"/>
                    </a:cubicBezTo>
                    <a:cubicBezTo>
                      <a:pt x="50" y="73"/>
                      <a:pt x="49" y="74"/>
                      <a:pt x="47" y="75"/>
                    </a:cubicBezTo>
                    <a:cubicBezTo>
                      <a:pt x="47" y="75"/>
                      <a:pt x="47" y="75"/>
                      <a:pt x="47" y="75"/>
                    </a:cubicBezTo>
                    <a:cubicBezTo>
                      <a:pt x="47" y="75"/>
                      <a:pt x="47" y="75"/>
                      <a:pt x="46" y="75"/>
                    </a:cubicBezTo>
                    <a:cubicBezTo>
                      <a:pt x="45" y="76"/>
                      <a:pt x="45" y="76"/>
                      <a:pt x="44" y="77"/>
                    </a:cubicBezTo>
                    <a:cubicBezTo>
                      <a:pt x="45" y="77"/>
                      <a:pt x="45" y="77"/>
                      <a:pt x="45" y="77"/>
                    </a:cubicBezTo>
                    <a:cubicBezTo>
                      <a:pt x="44" y="77"/>
                      <a:pt x="44" y="77"/>
                      <a:pt x="44" y="77"/>
                    </a:cubicBezTo>
                    <a:cubicBezTo>
                      <a:pt x="38" y="86"/>
                      <a:pt x="38" y="86"/>
                      <a:pt x="38" y="86"/>
                    </a:cubicBezTo>
                    <a:cubicBezTo>
                      <a:pt x="37" y="86"/>
                      <a:pt x="37" y="86"/>
                      <a:pt x="36" y="86"/>
                    </a:cubicBezTo>
                    <a:cubicBezTo>
                      <a:pt x="36" y="86"/>
                      <a:pt x="35" y="87"/>
                      <a:pt x="34" y="87"/>
                    </a:cubicBezTo>
                    <a:cubicBezTo>
                      <a:pt x="33" y="87"/>
                      <a:pt x="33" y="87"/>
                      <a:pt x="33" y="87"/>
                    </a:cubicBezTo>
                    <a:cubicBezTo>
                      <a:pt x="33" y="87"/>
                      <a:pt x="33" y="87"/>
                      <a:pt x="33" y="87"/>
                    </a:cubicBezTo>
                    <a:cubicBezTo>
                      <a:pt x="33" y="87"/>
                      <a:pt x="32" y="87"/>
                      <a:pt x="32" y="87"/>
                    </a:cubicBezTo>
                    <a:cubicBezTo>
                      <a:pt x="32" y="87"/>
                      <a:pt x="32" y="87"/>
                      <a:pt x="32" y="87"/>
                    </a:cubicBezTo>
                    <a:cubicBezTo>
                      <a:pt x="32" y="87"/>
                      <a:pt x="32" y="87"/>
                      <a:pt x="32" y="87"/>
                    </a:cubicBezTo>
                    <a:cubicBezTo>
                      <a:pt x="31" y="87"/>
                      <a:pt x="30" y="87"/>
                      <a:pt x="29" y="88"/>
                    </a:cubicBezTo>
                    <a:cubicBezTo>
                      <a:pt x="29" y="88"/>
                      <a:pt x="29" y="88"/>
                      <a:pt x="29" y="88"/>
                    </a:cubicBezTo>
                    <a:cubicBezTo>
                      <a:pt x="28" y="88"/>
                      <a:pt x="27" y="88"/>
                      <a:pt x="26" y="88"/>
                    </a:cubicBezTo>
                    <a:cubicBezTo>
                      <a:pt x="26" y="87"/>
                      <a:pt x="26" y="87"/>
                      <a:pt x="26" y="87"/>
                    </a:cubicBezTo>
                    <a:cubicBezTo>
                      <a:pt x="26" y="87"/>
                      <a:pt x="26" y="87"/>
                      <a:pt x="26" y="87"/>
                    </a:cubicBezTo>
                    <a:cubicBezTo>
                      <a:pt x="25" y="87"/>
                      <a:pt x="25" y="86"/>
                      <a:pt x="25" y="86"/>
                    </a:cubicBezTo>
                    <a:cubicBezTo>
                      <a:pt x="25" y="86"/>
                      <a:pt x="24" y="85"/>
                      <a:pt x="24" y="85"/>
                    </a:cubicBezTo>
                    <a:cubicBezTo>
                      <a:pt x="24" y="85"/>
                      <a:pt x="24" y="85"/>
                      <a:pt x="24" y="85"/>
                    </a:cubicBezTo>
                    <a:cubicBezTo>
                      <a:pt x="24" y="85"/>
                      <a:pt x="24" y="85"/>
                      <a:pt x="24" y="85"/>
                    </a:cubicBezTo>
                    <a:cubicBezTo>
                      <a:pt x="24" y="85"/>
                      <a:pt x="24" y="85"/>
                      <a:pt x="24" y="85"/>
                    </a:cubicBezTo>
                    <a:cubicBezTo>
                      <a:pt x="24" y="85"/>
                      <a:pt x="24" y="85"/>
                      <a:pt x="24" y="85"/>
                    </a:cubicBezTo>
                    <a:cubicBezTo>
                      <a:pt x="24" y="85"/>
                      <a:pt x="24" y="85"/>
                      <a:pt x="23" y="85"/>
                    </a:cubicBezTo>
                    <a:cubicBezTo>
                      <a:pt x="23" y="85"/>
                      <a:pt x="23" y="85"/>
                      <a:pt x="23" y="85"/>
                    </a:cubicBezTo>
                    <a:cubicBezTo>
                      <a:pt x="23" y="85"/>
                      <a:pt x="23" y="85"/>
                      <a:pt x="23" y="85"/>
                    </a:cubicBezTo>
                    <a:cubicBezTo>
                      <a:pt x="23" y="85"/>
                      <a:pt x="23" y="85"/>
                      <a:pt x="22" y="86"/>
                    </a:cubicBezTo>
                    <a:cubicBezTo>
                      <a:pt x="22" y="86"/>
                      <a:pt x="22" y="86"/>
                      <a:pt x="22" y="86"/>
                    </a:cubicBezTo>
                    <a:cubicBezTo>
                      <a:pt x="21" y="87"/>
                      <a:pt x="21" y="87"/>
                      <a:pt x="21" y="87"/>
                    </a:cubicBezTo>
                    <a:cubicBezTo>
                      <a:pt x="21" y="87"/>
                      <a:pt x="21" y="87"/>
                      <a:pt x="21" y="87"/>
                    </a:cubicBezTo>
                    <a:cubicBezTo>
                      <a:pt x="21" y="87"/>
                      <a:pt x="21" y="87"/>
                      <a:pt x="21" y="87"/>
                    </a:cubicBezTo>
                    <a:cubicBezTo>
                      <a:pt x="21" y="87"/>
                      <a:pt x="20" y="88"/>
                      <a:pt x="20" y="88"/>
                    </a:cubicBezTo>
                    <a:cubicBezTo>
                      <a:pt x="20" y="89"/>
                      <a:pt x="19" y="89"/>
                      <a:pt x="19" y="90"/>
                    </a:cubicBezTo>
                    <a:cubicBezTo>
                      <a:pt x="18" y="91"/>
                      <a:pt x="17" y="92"/>
                      <a:pt x="16" y="94"/>
                    </a:cubicBezTo>
                    <a:cubicBezTo>
                      <a:pt x="15" y="95"/>
                      <a:pt x="15" y="96"/>
                      <a:pt x="15" y="97"/>
                    </a:cubicBezTo>
                    <a:cubicBezTo>
                      <a:pt x="15" y="97"/>
                      <a:pt x="15" y="97"/>
                      <a:pt x="15" y="97"/>
                    </a:cubicBezTo>
                    <a:cubicBezTo>
                      <a:pt x="15" y="97"/>
                      <a:pt x="16" y="98"/>
                      <a:pt x="17" y="98"/>
                    </a:cubicBezTo>
                    <a:cubicBezTo>
                      <a:pt x="17" y="98"/>
                      <a:pt x="17" y="98"/>
                      <a:pt x="17" y="98"/>
                    </a:cubicBezTo>
                    <a:cubicBezTo>
                      <a:pt x="18" y="98"/>
                      <a:pt x="18" y="98"/>
                      <a:pt x="19" y="98"/>
                    </a:cubicBezTo>
                    <a:cubicBezTo>
                      <a:pt x="19" y="98"/>
                      <a:pt x="19" y="98"/>
                      <a:pt x="20" y="98"/>
                    </a:cubicBezTo>
                    <a:cubicBezTo>
                      <a:pt x="20" y="98"/>
                      <a:pt x="20" y="98"/>
                      <a:pt x="21" y="99"/>
                    </a:cubicBezTo>
                    <a:cubicBezTo>
                      <a:pt x="21" y="99"/>
                      <a:pt x="22" y="100"/>
                      <a:pt x="22" y="100"/>
                    </a:cubicBezTo>
                    <a:cubicBezTo>
                      <a:pt x="22" y="101"/>
                      <a:pt x="22" y="102"/>
                      <a:pt x="22" y="103"/>
                    </a:cubicBezTo>
                    <a:cubicBezTo>
                      <a:pt x="22" y="103"/>
                      <a:pt x="22" y="104"/>
                      <a:pt x="22" y="105"/>
                    </a:cubicBezTo>
                    <a:cubicBezTo>
                      <a:pt x="22" y="105"/>
                      <a:pt x="22" y="105"/>
                      <a:pt x="22" y="105"/>
                    </a:cubicBezTo>
                    <a:cubicBezTo>
                      <a:pt x="22" y="106"/>
                      <a:pt x="22" y="106"/>
                      <a:pt x="22" y="106"/>
                    </a:cubicBezTo>
                    <a:cubicBezTo>
                      <a:pt x="22" y="107"/>
                      <a:pt x="22" y="107"/>
                      <a:pt x="23" y="108"/>
                    </a:cubicBezTo>
                    <a:cubicBezTo>
                      <a:pt x="23" y="108"/>
                      <a:pt x="23" y="108"/>
                      <a:pt x="23" y="108"/>
                    </a:cubicBezTo>
                    <a:cubicBezTo>
                      <a:pt x="23" y="108"/>
                      <a:pt x="23" y="108"/>
                      <a:pt x="23" y="108"/>
                    </a:cubicBezTo>
                    <a:cubicBezTo>
                      <a:pt x="24" y="108"/>
                      <a:pt x="24" y="108"/>
                      <a:pt x="24" y="108"/>
                    </a:cubicBezTo>
                    <a:cubicBezTo>
                      <a:pt x="24" y="108"/>
                      <a:pt x="24" y="108"/>
                      <a:pt x="24" y="108"/>
                    </a:cubicBezTo>
                    <a:cubicBezTo>
                      <a:pt x="24" y="108"/>
                      <a:pt x="24" y="108"/>
                      <a:pt x="24" y="108"/>
                    </a:cubicBezTo>
                    <a:cubicBezTo>
                      <a:pt x="24" y="108"/>
                      <a:pt x="24" y="108"/>
                      <a:pt x="24" y="108"/>
                    </a:cubicBezTo>
                    <a:cubicBezTo>
                      <a:pt x="24" y="108"/>
                      <a:pt x="24" y="108"/>
                      <a:pt x="25" y="108"/>
                    </a:cubicBezTo>
                    <a:cubicBezTo>
                      <a:pt x="25" y="108"/>
                      <a:pt x="25" y="108"/>
                      <a:pt x="25" y="108"/>
                    </a:cubicBezTo>
                    <a:cubicBezTo>
                      <a:pt x="26" y="108"/>
                      <a:pt x="27" y="109"/>
                      <a:pt x="27" y="109"/>
                    </a:cubicBezTo>
                    <a:cubicBezTo>
                      <a:pt x="27" y="110"/>
                      <a:pt x="27" y="110"/>
                      <a:pt x="27" y="110"/>
                    </a:cubicBezTo>
                    <a:cubicBezTo>
                      <a:pt x="27" y="111"/>
                      <a:pt x="28" y="112"/>
                      <a:pt x="28" y="112"/>
                    </a:cubicBezTo>
                    <a:cubicBezTo>
                      <a:pt x="28" y="113"/>
                      <a:pt x="28" y="113"/>
                      <a:pt x="28" y="113"/>
                    </a:cubicBezTo>
                    <a:cubicBezTo>
                      <a:pt x="28" y="114"/>
                      <a:pt x="28" y="114"/>
                      <a:pt x="28" y="114"/>
                    </a:cubicBezTo>
                    <a:cubicBezTo>
                      <a:pt x="28" y="114"/>
                      <a:pt x="28" y="114"/>
                      <a:pt x="28" y="114"/>
                    </a:cubicBezTo>
                    <a:cubicBezTo>
                      <a:pt x="31" y="118"/>
                      <a:pt x="31" y="118"/>
                      <a:pt x="31" y="118"/>
                    </a:cubicBezTo>
                    <a:cubicBezTo>
                      <a:pt x="31" y="119"/>
                      <a:pt x="31" y="120"/>
                      <a:pt x="31" y="120"/>
                    </a:cubicBezTo>
                    <a:cubicBezTo>
                      <a:pt x="31" y="121"/>
                      <a:pt x="31" y="121"/>
                      <a:pt x="30" y="121"/>
                    </a:cubicBezTo>
                    <a:cubicBezTo>
                      <a:pt x="30" y="121"/>
                      <a:pt x="30" y="121"/>
                      <a:pt x="30" y="122"/>
                    </a:cubicBezTo>
                    <a:cubicBezTo>
                      <a:pt x="30" y="122"/>
                      <a:pt x="31" y="122"/>
                      <a:pt x="31" y="122"/>
                    </a:cubicBezTo>
                    <a:cubicBezTo>
                      <a:pt x="31" y="122"/>
                      <a:pt x="31" y="122"/>
                      <a:pt x="31" y="122"/>
                    </a:cubicBezTo>
                    <a:cubicBezTo>
                      <a:pt x="31" y="123"/>
                      <a:pt x="31" y="123"/>
                      <a:pt x="31" y="123"/>
                    </a:cubicBezTo>
                    <a:cubicBezTo>
                      <a:pt x="31" y="123"/>
                      <a:pt x="31" y="123"/>
                      <a:pt x="31" y="123"/>
                    </a:cubicBezTo>
                    <a:cubicBezTo>
                      <a:pt x="31" y="123"/>
                      <a:pt x="31" y="124"/>
                      <a:pt x="30" y="124"/>
                    </a:cubicBezTo>
                    <a:cubicBezTo>
                      <a:pt x="30" y="125"/>
                      <a:pt x="30" y="125"/>
                      <a:pt x="29" y="125"/>
                    </a:cubicBezTo>
                    <a:cubicBezTo>
                      <a:pt x="29" y="125"/>
                      <a:pt x="29" y="125"/>
                      <a:pt x="29" y="125"/>
                    </a:cubicBezTo>
                    <a:cubicBezTo>
                      <a:pt x="29" y="125"/>
                      <a:pt x="29" y="125"/>
                      <a:pt x="29" y="125"/>
                    </a:cubicBezTo>
                    <a:cubicBezTo>
                      <a:pt x="29" y="125"/>
                      <a:pt x="29" y="125"/>
                      <a:pt x="29" y="125"/>
                    </a:cubicBezTo>
                    <a:cubicBezTo>
                      <a:pt x="29" y="126"/>
                      <a:pt x="29" y="126"/>
                      <a:pt x="29" y="126"/>
                    </a:cubicBezTo>
                    <a:cubicBezTo>
                      <a:pt x="28" y="126"/>
                      <a:pt x="28" y="126"/>
                      <a:pt x="28" y="126"/>
                    </a:cubicBezTo>
                    <a:cubicBezTo>
                      <a:pt x="28" y="126"/>
                      <a:pt x="27" y="126"/>
                      <a:pt x="26" y="126"/>
                    </a:cubicBezTo>
                    <a:cubicBezTo>
                      <a:pt x="26" y="126"/>
                      <a:pt x="25" y="125"/>
                      <a:pt x="25" y="125"/>
                    </a:cubicBezTo>
                    <a:cubicBezTo>
                      <a:pt x="24" y="125"/>
                      <a:pt x="24" y="125"/>
                      <a:pt x="24" y="125"/>
                    </a:cubicBezTo>
                    <a:cubicBezTo>
                      <a:pt x="24" y="124"/>
                      <a:pt x="24" y="124"/>
                      <a:pt x="24" y="124"/>
                    </a:cubicBezTo>
                    <a:cubicBezTo>
                      <a:pt x="24" y="124"/>
                      <a:pt x="24" y="124"/>
                      <a:pt x="24" y="124"/>
                    </a:cubicBezTo>
                    <a:cubicBezTo>
                      <a:pt x="23" y="125"/>
                      <a:pt x="23" y="125"/>
                      <a:pt x="23" y="125"/>
                    </a:cubicBezTo>
                    <a:cubicBezTo>
                      <a:pt x="22" y="125"/>
                      <a:pt x="21" y="125"/>
                      <a:pt x="21" y="125"/>
                    </a:cubicBezTo>
                    <a:cubicBezTo>
                      <a:pt x="21" y="125"/>
                      <a:pt x="21" y="125"/>
                      <a:pt x="21" y="125"/>
                    </a:cubicBezTo>
                    <a:cubicBezTo>
                      <a:pt x="20" y="126"/>
                      <a:pt x="20" y="126"/>
                      <a:pt x="20" y="126"/>
                    </a:cubicBezTo>
                    <a:cubicBezTo>
                      <a:pt x="20" y="127"/>
                      <a:pt x="20" y="127"/>
                      <a:pt x="20" y="127"/>
                    </a:cubicBezTo>
                    <a:cubicBezTo>
                      <a:pt x="19" y="127"/>
                      <a:pt x="19" y="127"/>
                      <a:pt x="18" y="127"/>
                    </a:cubicBezTo>
                    <a:cubicBezTo>
                      <a:pt x="17" y="127"/>
                      <a:pt x="17" y="127"/>
                      <a:pt x="16" y="127"/>
                    </a:cubicBezTo>
                    <a:cubicBezTo>
                      <a:pt x="16" y="127"/>
                      <a:pt x="16" y="126"/>
                      <a:pt x="15" y="126"/>
                    </a:cubicBezTo>
                    <a:cubicBezTo>
                      <a:pt x="12" y="126"/>
                      <a:pt x="12" y="126"/>
                      <a:pt x="12" y="126"/>
                    </a:cubicBezTo>
                    <a:cubicBezTo>
                      <a:pt x="11" y="126"/>
                      <a:pt x="9" y="126"/>
                      <a:pt x="7" y="125"/>
                    </a:cubicBezTo>
                    <a:cubicBezTo>
                      <a:pt x="7" y="126"/>
                      <a:pt x="7" y="127"/>
                      <a:pt x="7" y="127"/>
                    </a:cubicBezTo>
                    <a:cubicBezTo>
                      <a:pt x="7" y="127"/>
                      <a:pt x="7" y="127"/>
                      <a:pt x="7" y="127"/>
                    </a:cubicBezTo>
                    <a:cubicBezTo>
                      <a:pt x="7" y="128"/>
                      <a:pt x="7" y="128"/>
                      <a:pt x="7" y="128"/>
                    </a:cubicBezTo>
                    <a:cubicBezTo>
                      <a:pt x="7" y="128"/>
                      <a:pt x="7" y="128"/>
                      <a:pt x="7" y="128"/>
                    </a:cubicBezTo>
                    <a:cubicBezTo>
                      <a:pt x="7" y="129"/>
                      <a:pt x="6" y="129"/>
                      <a:pt x="6" y="129"/>
                    </a:cubicBezTo>
                    <a:cubicBezTo>
                      <a:pt x="6" y="129"/>
                      <a:pt x="5" y="129"/>
                      <a:pt x="5" y="129"/>
                    </a:cubicBezTo>
                    <a:cubicBezTo>
                      <a:pt x="5" y="129"/>
                      <a:pt x="5" y="129"/>
                      <a:pt x="5" y="129"/>
                    </a:cubicBezTo>
                    <a:cubicBezTo>
                      <a:pt x="5" y="129"/>
                      <a:pt x="5" y="129"/>
                      <a:pt x="4" y="129"/>
                    </a:cubicBezTo>
                    <a:cubicBezTo>
                      <a:pt x="4" y="129"/>
                      <a:pt x="4" y="129"/>
                      <a:pt x="4" y="129"/>
                    </a:cubicBezTo>
                    <a:cubicBezTo>
                      <a:pt x="0" y="132"/>
                      <a:pt x="0" y="132"/>
                      <a:pt x="0" y="132"/>
                    </a:cubicBezTo>
                    <a:cubicBezTo>
                      <a:pt x="1" y="132"/>
                      <a:pt x="2" y="132"/>
                      <a:pt x="2" y="131"/>
                    </a:cubicBezTo>
                    <a:cubicBezTo>
                      <a:pt x="3" y="131"/>
                      <a:pt x="5" y="130"/>
                      <a:pt x="6" y="129"/>
                    </a:cubicBezTo>
                    <a:cubicBezTo>
                      <a:pt x="6" y="129"/>
                      <a:pt x="6" y="129"/>
                      <a:pt x="6" y="129"/>
                    </a:cubicBezTo>
                    <a:cubicBezTo>
                      <a:pt x="6" y="129"/>
                      <a:pt x="6" y="129"/>
                      <a:pt x="6" y="129"/>
                    </a:cubicBezTo>
                    <a:cubicBezTo>
                      <a:pt x="6" y="130"/>
                      <a:pt x="5" y="130"/>
                      <a:pt x="5" y="130"/>
                    </a:cubicBezTo>
                    <a:cubicBezTo>
                      <a:pt x="4" y="131"/>
                      <a:pt x="3" y="132"/>
                      <a:pt x="3" y="132"/>
                    </a:cubicBezTo>
                    <a:cubicBezTo>
                      <a:pt x="3" y="132"/>
                      <a:pt x="3" y="132"/>
                      <a:pt x="3" y="132"/>
                    </a:cubicBezTo>
                    <a:cubicBezTo>
                      <a:pt x="3" y="132"/>
                      <a:pt x="3" y="132"/>
                      <a:pt x="3" y="132"/>
                    </a:cubicBezTo>
                    <a:cubicBezTo>
                      <a:pt x="4" y="133"/>
                      <a:pt x="4" y="134"/>
                      <a:pt x="4" y="135"/>
                    </a:cubicBezTo>
                    <a:cubicBezTo>
                      <a:pt x="5" y="136"/>
                      <a:pt x="5" y="137"/>
                      <a:pt x="6" y="137"/>
                    </a:cubicBezTo>
                    <a:cubicBezTo>
                      <a:pt x="7" y="137"/>
                      <a:pt x="7" y="138"/>
                      <a:pt x="7" y="138"/>
                    </a:cubicBezTo>
                    <a:cubicBezTo>
                      <a:pt x="8" y="138"/>
                      <a:pt x="8" y="138"/>
                      <a:pt x="9" y="139"/>
                    </a:cubicBezTo>
                    <a:cubicBezTo>
                      <a:pt x="9" y="139"/>
                      <a:pt x="10" y="140"/>
                      <a:pt x="11" y="140"/>
                    </a:cubicBezTo>
                    <a:cubicBezTo>
                      <a:pt x="12" y="140"/>
                      <a:pt x="12" y="140"/>
                      <a:pt x="12" y="140"/>
                    </a:cubicBezTo>
                    <a:cubicBezTo>
                      <a:pt x="13" y="140"/>
                      <a:pt x="13" y="141"/>
                      <a:pt x="14" y="141"/>
                    </a:cubicBezTo>
                    <a:cubicBezTo>
                      <a:pt x="15" y="141"/>
                      <a:pt x="16" y="141"/>
                      <a:pt x="16" y="141"/>
                    </a:cubicBezTo>
                    <a:cubicBezTo>
                      <a:pt x="17" y="141"/>
                      <a:pt x="17" y="140"/>
                      <a:pt x="18" y="140"/>
                    </a:cubicBezTo>
                    <a:cubicBezTo>
                      <a:pt x="19" y="139"/>
                      <a:pt x="20" y="139"/>
                      <a:pt x="20" y="139"/>
                    </a:cubicBezTo>
                    <a:cubicBezTo>
                      <a:pt x="20" y="139"/>
                      <a:pt x="20" y="139"/>
                      <a:pt x="20" y="139"/>
                    </a:cubicBezTo>
                    <a:cubicBezTo>
                      <a:pt x="21" y="139"/>
                      <a:pt x="22" y="139"/>
                      <a:pt x="23" y="139"/>
                    </a:cubicBezTo>
                    <a:cubicBezTo>
                      <a:pt x="23" y="139"/>
                      <a:pt x="23" y="137"/>
                      <a:pt x="24" y="137"/>
                    </a:cubicBezTo>
                    <a:cubicBezTo>
                      <a:pt x="23" y="138"/>
                      <a:pt x="23" y="140"/>
                      <a:pt x="22" y="141"/>
                    </a:cubicBezTo>
                    <a:cubicBezTo>
                      <a:pt x="21" y="142"/>
                      <a:pt x="21" y="143"/>
                      <a:pt x="20" y="143"/>
                    </a:cubicBezTo>
                    <a:cubicBezTo>
                      <a:pt x="20" y="143"/>
                      <a:pt x="20" y="143"/>
                      <a:pt x="20" y="144"/>
                    </a:cubicBezTo>
                    <a:cubicBezTo>
                      <a:pt x="18" y="144"/>
                      <a:pt x="16" y="145"/>
                      <a:pt x="14" y="145"/>
                    </a:cubicBezTo>
                    <a:cubicBezTo>
                      <a:pt x="14" y="145"/>
                      <a:pt x="14" y="145"/>
                      <a:pt x="14" y="145"/>
                    </a:cubicBezTo>
                    <a:cubicBezTo>
                      <a:pt x="13" y="146"/>
                      <a:pt x="9" y="147"/>
                      <a:pt x="11" y="145"/>
                    </a:cubicBezTo>
                    <a:cubicBezTo>
                      <a:pt x="11" y="145"/>
                      <a:pt x="11" y="145"/>
                      <a:pt x="10" y="145"/>
                    </a:cubicBezTo>
                    <a:cubicBezTo>
                      <a:pt x="8" y="144"/>
                      <a:pt x="8" y="145"/>
                      <a:pt x="9" y="147"/>
                    </a:cubicBezTo>
                    <a:cubicBezTo>
                      <a:pt x="9" y="147"/>
                      <a:pt x="9" y="147"/>
                      <a:pt x="9" y="147"/>
                    </a:cubicBezTo>
                    <a:cubicBezTo>
                      <a:pt x="10" y="148"/>
                      <a:pt x="10" y="148"/>
                      <a:pt x="10" y="149"/>
                    </a:cubicBezTo>
                    <a:cubicBezTo>
                      <a:pt x="11" y="149"/>
                      <a:pt x="11" y="150"/>
                      <a:pt x="12" y="150"/>
                    </a:cubicBezTo>
                    <a:cubicBezTo>
                      <a:pt x="12" y="150"/>
                      <a:pt x="12" y="151"/>
                      <a:pt x="12" y="151"/>
                    </a:cubicBezTo>
                    <a:cubicBezTo>
                      <a:pt x="13" y="151"/>
                      <a:pt x="14" y="152"/>
                      <a:pt x="15" y="153"/>
                    </a:cubicBezTo>
                    <a:cubicBezTo>
                      <a:pt x="15" y="153"/>
                      <a:pt x="16" y="154"/>
                      <a:pt x="16" y="155"/>
                    </a:cubicBezTo>
                    <a:cubicBezTo>
                      <a:pt x="17" y="155"/>
                      <a:pt x="18" y="156"/>
                      <a:pt x="18" y="156"/>
                    </a:cubicBezTo>
                    <a:cubicBezTo>
                      <a:pt x="18" y="156"/>
                      <a:pt x="18" y="157"/>
                      <a:pt x="18" y="157"/>
                    </a:cubicBezTo>
                    <a:cubicBezTo>
                      <a:pt x="19" y="157"/>
                      <a:pt x="20" y="158"/>
                      <a:pt x="20" y="159"/>
                    </a:cubicBezTo>
                    <a:cubicBezTo>
                      <a:pt x="21" y="159"/>
                      <a:pt x="22" y="160"/>
                      <a:pt x="22" y="161"/>
                    </a:cubicBezTo>
                    <a:cubicBezTo>
                      <a:pt x="23" y="161"/>
                      <a:pt x="24" y="162"/>
                      <a:pt x="24" y="162"/>
                    </a:cubicBezTo>
                    <a:cubicBezTo>
                      <a:pt x="25" y="162"/>
                      <a:pt x="25" y="162"/>
                      <a:pt x="25" y="162"/>
                    </a:cubicBezTo>
                    <a:cubicBezTo>
                      <a:pt x="26" y="162"/>
                      <a:pt x="27" y="163"/>
                      <a:pt x="28" y="163"/>
                    </a:cubicBezTo>
                    <a:cubicBezTo>
                      <a:pt x="28" y="163"/>
                      <a:pt x="29" y="163"/>
                      <a:pt x="29" y="163"/>
                    </a:cubicBezTo>
                    <a:cubicBezTo>
                      <a:pt x="30" y="162"/>
                      <a:pt x="32" y="161"/>
                      <a:pt x="34" y="161"/>
                    </a:cubicBezTo>
                    <a:cubicBezTo>
                      <a:pt x="34" y="161"/>
                      <a:pt x="34" y="161"/>
                      <a:pt x="34" y="160"/>
                    </a:cubicBezTo>
                    <a:cubicBezTo>
                      <a:pt x="36" y="160"/>
                      <a:pt x="39" y="159"/>
                      <a:pt x="40" y="157"/>
                    </a:cubicBezTo>
                    <a:cubicBezTo>
                      <a:pt x="41" y="157"/>
                      <a:pt x="42" y="155"/>
                      <a:pt x="42" y="154"/>
                    </a:cubicBezTo>
                    <a:cubicBezTo>
                      <a:pt x="42" y="153"/>
                      <a:pt x="42" y="153"/>
                      <a:pt x="42" y="153"/>
                    </a:cubicBezTo>
                    <a:cubicBezTo>
                      <a:pt x="42" y="153"/>
                      <a:pt x="42" y="153"/>
                      <a:pt x="42" y="152"/>
                    </a:cubicBezTo>
                    <a:cubicBezTo>
                      <a:pt x="41" y="151"/>
                      <a:pt x="41" y="152"/>
                      <a:pt x="40" y="151"/>
                    </a:cubicBezTo>
                    <a:cubicBezTo>
                      <a:pt x="40" y="151"/>
                      <a:pt x="40" y="151"/>
                      <a:pt x="39" y="151"/>
                    </a:cubicBezTo>
                    <a:cubicBezTo>
                      <a:pt x="40" y="150"/>
                      <a:pt x="40" y="150"/>
                      <a:pt x="41" y="150"/>
                    </a:cubicBezTo>
                    <a:cubicBezTo>
                      <a:pt x="41" y="150"/>
                      <a:pt x="41" y="150"/>
                      <a:pt x="41" y="150"/>
                    </a:cubicBezTo>
                    <a:cubicBezTo>
                      <a:pt x="41" y="150"/>
                      <a:pt x="40" y="150"/>
                      <a:pt x="40" y="149"/>
                    </a:cubicBezTo>
                    <a:cubicBezTo>
                      <a:pt x="41" y="149"/>
                      <a:pt x="43" y="148"/>
                      <a:pt x="43" y="147"/>
                    </a:cubicBezTo>
                    <a:cubicBezTo>
                      <a:pt x="42" y="146"/>
                      <a:pt x="41" y="146"/>
                      <a:pt x="41" y="146"/>
                    </a:cubicBezTo>
                    <a:cubicBezTo>
                      <a:pt x="41" y="146"/>
                      <a:pt x="41" y="146"/>
                      <a:pt x="41" y="146"/>
                    </a:cubicBezTo>
                    <a:cubicBezTo>
                      <a:pt x="41" y="146"/>
                      <a:pt x="41" y="146"/>
                      <a:pt x="41" y="146"/>
                    </a:cubicBezTo>
                    <a:cubicBezTo>
                      <a:pt x="42" y="146"/>
                      <a:pt x="44" y="146"/>
                      <a:pt x="45" y="146"/>
                    </a:cubicBezTo>
                    <a:cubicBezTo>
                      <a:pt x="46" y="146"/>
                      <a:pt x="47" y="146"/>
                      <a:pt x="49" y="146"/>
                    </a:cubicBezTo>
                    <a:cubicBezTo>
                      <a:pt x="49" y="146"/>
                      <a:pt x="49" y="146"/>
                      <a:pt x="49" y="146"/>
                    </a:cubicBezTo>
                    <a:cubicBezTo>
                      <a:pt x="49" y="146"/>
                      <a:pt x="49" y="146"/>
                      <a:pt x="48" y="147"/>
                    </a:cubicBezTo>
                    <a:cubicBezTo>
                      <a:pt x="48" y="147"/>
                      <a:pt x="48" y="147"/>
                      <a:pt x="48" y="146"/>
                    </a:cubicBezTo>
                    <a:cubicBezTo>
                      <a:pt x="47" y="147"/>
                      <a:pt x="45" y="147"/>
                      <a:pt x="45" y="148"/>
                    </a:cubicBezTo>
                    <a:cubicBezTo>
                      <a:pt x="44" y="149"/>
                      <a:pt x="44" y="150"/>
                      <a:pt x="44" y="150"/>
                    </a:cubicBezTo>
                    <a:cubicBezTo>
                      <a:pt x="44" y="151"/>
                      <a:pt x="45" y="152"/>
                      <a:pt x="45" y="152"/>
                    </a:cubicBezTo>
                    <a:cubicBezTo>
                      <a:pt x="45" y="153"/>
                      <a:pt x="46" y="153"/>
                      <a:pt x="46" y="153"/>
                    </a:cubicBezTo>
                    <a:cubicBezTo>
                      <a:pt x="48" y="153"/>
                      <a:pt x="50" y="152"/>
                      <a:pt x="51" y="152"/>
                    </a:cubicBezTo>
                    <a:cubicBezTo>
                      <a:pt x="49" y="153"/>
                      <a:pt x="47" y="153"/>
                      <a:pt x="45" y="155"/>
                    </a:cubicBezTo>
                    <a:cubicBezTo>
                      <a:pt x="46" y="155"/>
                      <a:pt x="46" y="155"/>
                      <a:pt x="47" y="155"/>
                    </a:cubicBezTo>
                    <a:cubicBezTo>
                      <a:pt x="45" y="156"/>
                      <a:pt x="45" y="156"/>
                      <a:pt x="45" y="157"/>
                    </a:cubicBezTo>
                    <a:cubicBezTo>
                      <a:pt x="45" y="158"/>
                      <a:pt x="46" y="158"/>
                      <a:pt x="46" y="159"/>
                    </a:cubicBezTo>
                    <a:cubicBezTo>
                      <a:pt x="46" y="159"/>
                      <a:pt x="46" y="159"/>
                      <a:pt x="46" y="158"/>
                    </a:cubicBezTo>
                    <a:cubicBezTo>
                      <a:pt x="46" y="159"/>
                      <a:pt x="46" y="159"/>
                      <a:pt x="47" y="159"/>
                    </a:cubicBezTo>
                    <a:cubicBezTo>
                      <a:pt x="47" y="159"/>
                      <a:pt x="47" y="159"/>
                      <a:pt x="47" y="159"/>
                    </a:cubicBezTo>
                    <a:cubicBezTo>
                      <a:pt x="48" y="160"/>
                      <a:pt x="48" y="160"/>
                      <a:pt x="48" y="160"/>
                    </a:cubicBezTo>
                    <a:cubicBezTo>
                      <a:pt x="48" y="161"/>
                      <a:pt x="48" y="162"/>
                      <a:pt x="48" y="163"/>
                    </a:cubicBezTo>
                    <a:cubicBezTo>
                      <a:pt x="48" y="163"/>
                      <a:pt x="48" y="164"/>
                      <a:pt x="48" y="165"/>
                    </a:cubicBezTo>
                    <a:cubicBezTo>
                      <a:pt x="48" y="166"/>
                      <a:pt x="47" y="167"/>
                      <a:pt x="47" y="168"/>
                    </a:cubicBezTo>
                    <a:cubicBezTo>
                      <a:pt x="47" y="168"/>
                      <a:pt x="47" y="168"/>
                      <a:pt x="47" y="169"/>
                    </a:cubicBezTo>
                    <a:cubicBezTo>
                      <a:pt x="47" y="170"/>
                      <a:pt x="46" y="171"/>
                      <a:pt x="46" y="172"/>
                    </a:cubicBezTo>
                    <a:cubicBezTo>
                      <a:pt x="46" y="172"/>
                      <a:pt x="46" y="172"/>
                      <a:pt x="46" y="172"/>
                    </a:cubicBezTo>
                    <a:cubicBezTo>
                      <a:pt x="46" y="173"/>
                      <a:pt x="46" y="173"/>
                      <a:pt x="46" y="174"/>
                    </a:cubicBezTo>
                    <a:cubicBezTo>
                      <a:pt x="47" y="175"/>
                      <a:pt x="47" y="175"/>
                      <a:pt x="47" y="175"/>
                    </a:cubicBezTo>
                    <a:cubicBezTo>
                      <a:pt x="48" y="175"/>
                      <a:pt x="48" y="175"/>
                      <a:pt x="48" y="175"/>
                    </a:cubicBezTo>
                    <a:cubicBezTo>
                      <a:pt x="47" y="176"/>
                      <a:pt x="46" y="177"/>
                      <a:pt x="48" y="178"/>
                    </a:cubicBezTo>
                    <a:cubicBezTo>
                      <a:pt x="47" y="178"/>
                      <a:pt x="47" y="178"/>
                      <a:pt x="47" y="179"/>
                    </a:cubicBezTo>
                    <a:cubicBezTo>
                      <a:pt x="47" y="179"/>
                      <a:pt x="48" y="178"/>
                      <a:pt x="48" y="178"/>
                    </a:cubicBezTo>
                    <a:cubicBezTo>
                      <a:pt x="48" y="178"/>
                      <a:pt x="48" y="179"/>
                      <a:pt x="48" y="179"/>
                    </a:cubicBezTo>
                    <a:cubicBezTo>
                      <a:pt x="49" y="179"/>
                      <a:pt x="50" y="179"/>
                      <a:pt x="50" y="180"/>
                    </a:cubicBezTo>
                    <a:cubicBezTo>
                      <a:pt x="50" y="181"/>
                      <a:pt x="51" y="181"/>
                      <a:pt x="51" y="181"/>
                    </a:cubicBezTo>
                    <a:cubicBezTo>
                      <a:pt x="51" y="183"/>
                      <a:pt x="49" y="184"/>
                      <a:pt x="48" y="184"/>
                    </a:cubicBezTo>
                    <a:cubicBezTo>
                      <a:pt x="48" y="184"/>
                      <a:pt x="49" y="185"/>
                      <a:pt x="49" y="185"/>
                    </a:cubicBezTo>
                    <a:cubicBezTo>
                      <a:pt x="49" y="186"/>
                      <a:pt x="49" y="186"/>
                      <a:pt x="49" y="186"/>
                    </a:cubicBezTo>
                    <a:cubicBezTo>
                      <a:pt x="49" y="186"/>
                      <a:pt x="49" y="186"/>
                      <a:pt x="48" y="186"/>
                    </a:cubicBezTo>
                    <a:cubicBezTo>
                      <a:pt x="48" y="187"/>
                      <a:pt x="49" y="188"/>
                      <a:pt x="50" y="188"/>
                    </a:cubicBezTo>
                    <a:cubicBezTo>
                      <a:pt x="50" y="188"/>
                      <a:pt x="50" y="188"/>
                      <a:pt x="50" y="189"/>
                    </a:cubicBezTo>
                    <a:cubicBezTo>
                      <a:pt x="50" y="189"/>
                      <a:pt x="50" y="189"/>
                      <a:pt x="50" y="189"/>
                    </a:cubicBezTo>
                    <a:cubicBezTo>
                      <a:pt x="49" y="189"/>
                      <a:pt x="49" y="189"/>
                      <a:pt x="49" y="189"/>
                    </a:cubicBezTo>
                    <a:cubicBezTo>
                      <a:pt x="49" y="189"/>
                      <a:pt x="49" y="189"/>
                      <a:pt x="49" y="189"/>
                    </a:cubicBezTo>
                    <a:cubicBezTo>
                      <a:pt x="49" y="191"/>
                      <a:pt x="49" y="192"/>
                      <a:pt x="50" y="193"/>
                    </a:cubicBezTo>
                    <a:cubicBezTo>
                      <a:pt x="50" y="194"/>
                      <a:pt x="50" y="195"/>
                      <a:pt x="51" y="196"/>
                    </a:cubicBezTo>
                    <a:cubicBezTo>
                      <a:pt x="51" y="196"/>
                      <a:pt x="51" y="196"/>
                      <a:pt x="51" y="196"/>
                    </a:cubicBezTo>
                    <a:cubicBezTo>
                      <a:pt x="51" y="197"/>
                      <a:pt x="51" y="198"/>
                      <a:pt x="51" y="199"/>
                    </a:cubicBezTo>
                    <a:cubicBezTo>
                      <a:pt x="51" y="200"/>
                      <a:pt x="52" y="201"/>
                      <a:pt x="52" y="202"/>
                    </a:cubicBezTo>
                    <a:cubicBezTo>
                      <a:pt x="52" y="203"/>
                      <a:pt x="52" y="204"/>
                      <a:pt x="53" y="206"/>
                    </a:cubicBezTo>
                    <a:cubicBezTo>
                      <a:pt x="53" y="206"/>
                      <a:pt x="53" y="206"/>
                      <a:pt x="53" y="206"/>
                    </a:cubicBezTo>
                    <a:cubicBezTo>
                      <a:pt x="53" y="207"/>
                      <a:pt x="53" y="208"/>
                      <a:pt x="53" y="209"/>
                    </a:cubicBezTo>
                    <a:cubicBezTo>
                      <a:pt x="53" y="210"/>
                      <a:pt x="54" y="211"/>
                      <a:pt x="54" y="212"/>
                    </a:cubicBezTo>
                    <a:cubicBezTo>
                      <a:pt x="54" y="212"/>
                      <a:pt x="54" y="212"/>
                      <a:pt x="54" y="212"/>
                    </a:cubicBezTo>
                    <a:cubicBezTo>
                      <a:pt x="55" y="213"/>
                      <a:pt x="55" y="214"/>
                      <a:pt x="56" y="214"/>
                    </a:cubicBezTo>
                    <a:cubicBezTo>
                      <a:pt x="56" y="215"/>
                      <a:pt x="56" y="215"/>
                      <a:pt x="57" y="216"/>
                    </a:cubicBezTo>
                    <a:cubicBezTo>
                      <a:pt x="57" y="216"/>
                      <a:pt x="57" y="216"/>
                      <a:pt x="57" y="217"/>
                    </a:cubicBezTo>
                    <a:cubicBezTo>
                      <a:pt x="58" y="217"/>
                      <a:pt x="59" y="218"/>
                      <a:pt x="59" y="219"/>
                    </a:cubicBezTo>
                    <a:cubicBezTo>
                      <a:pt x="59" y="219"/>
                      <a:pt x="59" y="219"/>
                      <a:pt x="59" y="219"/>
                    </a:cubicBezTo>
                    <a:cubicBezTo>
                      <a:pt x="59" y="219"/>
                      <a:pt x="59" y="219"/>
                      <a:pt x="59" y="219"/>
                    </a:cubicBezTo>
                    <a:cubicBezTo>
                      <a:pt x="59" y="219"/>
                      <a:pt x="58" y="219"/>
                      <a:pt x="58" y="219"/>
                    </a:cubicBezTo>
                    <a:cubicBezTo>
                      <a:pt x="58" y="219"/>
                      <a:pt x="58" y="220"/>
                      <a:pt x="58" y="220"/>
                    </a:cubicBezTo>
                    <a:cubicBezTo>
                      <a:pt x="59" y="221"/>
                      <a:pt x="59" y="222"/>
                      <a:pt x="60" y="222"/>
                    </a:cubicBezTo>
                    <a:cubicBezTo>
                      <a:pt x="60" y="222"/>
                      <a:pt x="60" y="223"/>
                      <a:pt x="60" y="223"/>
                    </a:cubicBezTo>
                    <a:cubicBezTo>
                      <a:pt x="60" y="223"/>
                      <a:pt x="60" y="224"/>
                      <a:pt x="61" y="224"/>
                    </a:cubicBezTo>
                    <a:cubicBezTo>
                      <a:pt x="61" y="224"/>
                      <a:pt x="62" y="224"/>
                      <a:pt x="62" y="224"/>
                    </a:cubicBezTo>
                    <a:cubicBezTo>
                      <a:pt x="62" y="224"/>
                      <a:pt x="62" y="224"/>
                      <a:pt x="62" y="224"/>
                    </a:cubicBezTo>
                    <a:cubicBezTo>
                      <a:pt x="62" y="224"/>
                      <a:pt x="62" y="224"/>
                      <a:pt x="61" y="225"/>
                    </a:cubicBezTo>
                    <a:cubicBezTo>
                      <a:pt x="61" y="225"/>
                      <a:pt x="61" y="225"/>
                      <a:pt x="61" y="225"/>
                    </a:cubicBezTo>
                    <a:cubicBezTo>
                      <a:pt x="61" y="225"/>
                      <a:pt x="61" y="225"/>
                      <a:pt x="61" y="225"/>
                    </a:cubicBezTo>
                    <a:cubicBezTo>
                      <a:pt x="62" y="226"/>
                      <a:pt x="62" y="226"/>
                      <a:pt x="63" y="227"/>
                    </a:cubicBezTo>
                    <a:cubicBezTo>
                      <a:pt x="63" y="227"/>
                      <a:pt x="63" y="228"/>
                      <a:pt x="64" y="228"/>
                    </a:cubicBezTo>
                    <a:cubicBezTo>
                      <a:pt x="64" y="228"/>
                      <a:pt x="64" y="229"/>
                      <a:pt x="64" y="230"/>
                    </a:cubicBezTo>
                    <a:cubicBezTo>
                      <a:pt x="65" y="231"/>
                      <a:pt x="65" y="232"/>
                      <a:pt x="65" y="233"/>
                    </a:cubicBezTo>
                    <a:cubicBezTo>
                      <a:pt x="65" y="233"/>
                      <a:pt x="65" y="234"/>
                      <a:pt x="65" y="234"/>
                    </a:cubicBezTo>
                    <a:cubicBezTo>
                      <a:pt x="66" y="235"/>
                      <a:pt x="66" y="235"/>
                      <a:pt x="66" y="236"/>
                    </a:cubicBezTo>
                    <a:cubicBezTo>
                      <a:pt x="66" y="237"/>
                      <a:pt x="67" y="238"/>
                      <a:pt x="67" y="239"/>
                    </a:cubicBezTo>
                    <a:cubicBezTo>
                      <a:pt x="67" y="240"/>
                      <a:pt x="68" y="241"/>
                      <a:pt x="68" y="242"/>
                    </a:cubicBezTo>
                    <a:cubicBezTo>
                      <a:pt x="68" y="242"/>
                      <a:pt x="68" y="243"/>
                      <a:pt x="69" y="243"/>
                    </a:cubicBezTo>
                    <a:cubicBezTo>
                      <a:pt x="69" y="244"/>
                      <a:pt x="69" y="245"/>
                      <a:pt x="68" y="245"/>
                    </a:cubicBezTo>
                    <a:cubicBezTo>
                      <a:pt x="68" y="246"/>
                      <a:pt x="68" y="246"/>
                      <a:pt x="68" y="246"/>
                    </a:cubicBezTo>
                    <a:cubicBezTo>
                      <a:pt x="69" y="247"/>
                      <a:pt x="69" y="248"/>
                      <a:pt x="69" y="248"/>
                    </a:cubicBezTo>
                    <a:cubicBezTo>
                      <a:pt x="70" y="249"/>
                      <a:pt x="70" y="250"/>
                      <a:pt x="70" y="250"/>
                    </a:cubicBezTo>
                    <a:cubicBezTo>
                      <a:pt x="70" y="251"/>
                      <a:pt x="71" y="251"/>
                      <a:pt x="71" y="251"/>
                    </a:cubicBezTo>
                    <a:cubicBezTo>
                      <a:pt x="71" y="252"/>
                      <a:pt x="72" y="253"/>
                      <a:pt x="72" y="253"/>
                    </a:cubicBezTo>
                    <a:cubicBezTo>
                      <a:pt x="73" y="254"/>
                      <a:pt x="73" y="255"/>
                      <a:pt x="74" y="256"/>
                    </a:cubicBezTo>
                    <a:cubicBezTo>
                      <a:pt x="74" y="256"/>
                      <a:pt x="75" y="257"/>
                      <a:pt x="76" y="258"/>
                    </a:cubicBezTo>
                    <a:cubicBezTo>
                      <a:pt x="76" y="258"/>
                      <a:pt x="76" y="258"/>
                      <a:pt x="76" y="258"/>
                    </a:cubicBezTo>
                    <a:cubicBezTo>
                      <a:pt x="76" y="259"/>
                      <a:pt x="77" y="260"/>
                      <a:pt x="77" y="260"/>
                    </a:cubicBezTo>
                    <a:cubicBezTo>
                      <a:pt x="78" y="261"/>
                      <a:pt x="78" y="262"/>
                      <a:pt x="78" y="263"/>
                    </a:cubicBezTo>
                    <a:cubicBezTo>
                      <a:pt x="79" y="264"/>
                      <a:pt x="79" y="264"/>
                      <a:pt x="79" y="265"/>
                    </a:cubicBezTo>
                    <a:cubicBezTo>
                      <a:pt x="79" y="265"/>
                      <a:pt x="79" y="266"/>
                      <a:pt x="79" y="266"/>
                    </a:cubicBezTo>
                    <a:cubicBezTo>
                      <a:pt x="80" y="267"/>
                      <a:pt x="80" y="268"/>
                      <a:pt x="80" y="269"/>
                    </a:cubicBezTo>
                    <a:cubicBezTo>
                      <a:pt x="81" y="270"/>
                      <a:pt x="81" y="271"/>
                      <a:pt x="82" y="272"/>
                    </a:cubicBezTo>
                    <a:cubicBezTo>
                      <a:pt x="82" y="272"/>
                      <a:pt x="82" y="272"/>
                      <a:pt x="82" y="273"/>
                    </a:cubicBezTo>
                    <a:cubicBezTo>
                      <a:pt x="82" y="273"/>
                      <a:pt x="83" y="274"/>
                      <a:pt x="83" y="274"/>
                    </a:cubicBezTo>
                    <a:cubicBezTo>
                      <a:pt x="83" y="275"/>
                      <a:pt x="84" y="276"/>
                      <a:pt x="84" y="277"/>
                    </a:cubicBezTo>
                    <a:cubicBezTo>
                      <a:pt x="85" y="278"/>
                      <a:pt x="85" y="280"/>
                      <a:pt x="84" y="280"/>
                    </a:cubicBezTo>
                    <a:cubicBezTo>
                      <a:pt x="84" y="279"/>
                      <a:pt x="84" y="279"/>
                      <a:pt x="83" y="278"/>
                    </a:cubicBezTo>
                    <a:cubicBezTo>
                      <a:pt x="83" y="277"/>
                      <a:pt x="83" y="277"/>
                      <a:pt x="83" y="276"/>
                    </a:cubicBezTo>
                    <a:cubicBezTo>
                      <a:pt x="83" y="277"/>
                      <a:pt x="83" y="277"/>
                      <a:pt x="83" y="278"/>
                    </a:cubicBezTo>
                    <a:cubicBezTo>
                      <a:pt x="83" y="279"/>
                      <a:pt x="84" y="280"/>
                      <a:pt x="84" y="281"/>
                    </a:cubicBezTo>
                    <a:cubicBezTo>
                      <a:pt x="84" y="282"/>
                      <a:pt x="84" y="282"/>
                      <a:pt x="85" y="282"/>
                    </a:cubicBezTo>
                    <a:cubicBezTo>
                      <a:pt x="85" y="283"/>
                      <a:pt x="85" y="283"/>
                      <a:pt x="85" y="284"/>
                    </a:cubicBezTo>
                    <a:cubicBezTo>
                      <a:pt x="86" y="284"/>
                      <a:pt x="86" y="284"/>
                      <a:pt x="86" y="284"/>
                    </a:cubicBezTo>
                    <a:cubicBezTo>
                      <a:pt x="86" y="285"/>
                      <a:pt x="87" y="285"/>
                      <a:pt x="87" y="285"/>
                    </a:cubicBezTo>
                    <a:cubicBezTo>
                      <a:pt x="87" y="285"/>
                      <a:pt x="86" y="286"/>
                      <a:pt x="86" y="286"/>
                    </a:cubicBezTo>
                    <a:cubicBezTo>
                      <a:pt x="86" y="286"/>
                      <a:pt x="87" y="286"/>
                      <a:pt x="87" y="287"/>
                    </a:cubicBezTo>
                    <a:cubicBezTo>
                      <a:pt x="87" y="287"/>
                      <a:pt x="88" y="288"/>
                      <a:pt x="88" y="289"/>
                    </a:cubicBezTo>
                    <a:cubicBezTo>
                      <a:pt x="89" y="289"/>
                      <a:pt x="90" y="290"/>
                      <a:pt x="90" y="291"/>
                    </a:cubicBezTo>
                    <a:cubicBezTo>
                      <a:pt x="90" y="291"/>
                      <a:pt x="91" y="292"/>
                      <a:pt x="91" y="292"/>
                    </a:cubicBezTo>
                    <a:cubicBezTo>
                      <a:pt x="91" y="292"/>
                      <a:pt x="92" y="293"/>
                      <a:pt x="92" y="293"/>
                    </a:cubicBezTo>
                    <a:cubicBezTo>
                      <a:pt x="93" y="293"/>
                      <a:pt x="94" y="294"/>
                      <a:pt x="95" y="294"/>
                    </a:cubicBezTo>
                    <a:cubicBezTo>
                      <a:pt x="95" y="294"/>
                      <a:pt x="96" y="295"/>
                      <a:pt x="96" y="295"/>
                    </a:cubicBezTo>
                    <a:cubicBezTo>
                      <a:pt x="96" y="294"/>
                      <a:pt x="98" y="293"/>
                      <a:pt x="99" y="292"/>
                    </a:cubicBezTo>
                    <a:cubicBezTo>
                      <a:pt x="101" y="291"/>
                      <a:pt x="102" y="291"/>
                      <a:pt x="102" y="289"/>
                    </a:cubicBezTo>
                    <a:cubicBezTo>
                      <a:pt x="102" y="288"/>
                      <a:pt x="102" y="287"/>
                      <a:pt x="103" y="286"/>
                    </a:cubicBezTo>
                    <a:cubicBezTo>
                      <a:pt x="103" y="285"/>
                      <a:pt x="104" y="285"/>
                      <a:pt x="105" y="284"/>
                    </a:cubicBezTo>
                    <a:cubicBezTo>
                      <a:pt x="105" y="284"/>
                      <a:pt x="105" y="284"/>
                      <a:pt x="105" y="284"/>
                    </a:cubicBezTo>
                    <a:cubicBezTo>
                      <a:pt x="106" y="284"/>
                      <a:pt x="108" y="283"/>
                      <a:pt x="109" y="283"/>
                    </a:cubicBezTo>
                    <a:cubicBezTo>
                      <a:pt x="110" y="283"/>
                      <a:pt x="110" y="283"/>
                      <a:pt x="110" y="283"/>
                    </a:cubicBezTo>
                    <a:cubicBezTo>
                      <a:pt x="111" y="283"/>
                      <a:pt x="113" y="283"/>
                      <a:pt x="114" y="283"/>
                    </a:cubicBezTo>
                    <a:cubicBezTo>
                      <a:pt x="114" y="283"/>
                      <a:pt x="115" y="284"/>
                      <a:pt x="115" y="284"/>
                    </a:cubicBezTo>
                    <a:cubicBezTo>
                      <a:pt x="115" y="283"/>
                      <a:pt x="115" y="283"/>
                      <a:pt x="114" y="283"/>
                    </a:cubicBezTo>
                    <a:cubicBezTo>
                      <a:pt x="114" y="282"/>
                      <a:pt x="114" y="282"/>
                      <a:pt x="113" y="282"/>
                    </a:cubicBezTo>
                    <a:cubicBezTo>
                      <a:pt x="112" y="282"/>
                      <a:pt x="112" y="282"/>
                      <a:pt x="111" y="282"/>
                    </a:cubicBezTo>
                    <a:cubicBezTo>
                      <a:pt x="111" y="282"/>
                      <a:pt x="111" y="282"/>
                      <a:pt x="111" y="282"/>
                    </a:cubicBezTo>
                    <a:cubicBezTo>
                      <a:pt x="110" y="281"/>
                      <a:pt x="110" y="281"/>
                      <a:pt x="110" y="280"/>
                    </a:cubicBezTo>
                    <a:cubicBezTo>
                      <a:pt x="110" y="279"/>
                      <a:pt x="111" y="278"/>
                      <a:pt x="111" y="278"/>
                    </a:cubicBezTo>
                    <a:cubicBezTo>
                      <a:pt x="112" y="277"/>
                      <a:pt x="112" y="277"/>
                      <a:pt x="112" y="276"/>
                    </a:cubicBezTo>
                    <a:cubicBezTo>
                      <a:pt x="113" y="276"/>
                      <a:pt x="113" y="273"/>
                      <a:pt x="113" y="273"/>
                    </a:cubicBezTo>
                    <a:cubicBezTo>
                      <a:pt x="114" y="273"/>
                      <a:pt x="116" y="271"/>
                      <a:pt x="117" y="271"/>
                    </a:cubicBezTo>
                    <a:cubicBezTo>
                      <a:pt x="117" y="271"/>
                      <a:pt x="117" y="272"/>
                      <a:pt x="117" y="272"/>
                    </a:cubicBezTo>
                    <a:cubicBezTo>
                      <a:pt x="117" y="272"/>
                      <a:pt x="117" y="272"/>
                      <a:pt x="117" y="272"/>
                    </a:cubicBezTo>
                    <a:cubicBezTo>
                      <a:pt x="118" y="272"/>
                      <a:pt x="119" y="272"/>
                      <a:pt x="120" y="272"/>
                    </a:cubicBezTo>
                    <a:cubicBezTo>
                      <a:pt x="120" y="271"/>
                      <a:pt x="120" y="270"/>
                      <a:pt x="120" y="269"/>
                    </a:cubicBezTo>
                    <a:cubicBezTo>
                      <a:pt x="120" y="268"/>
                      <a:pt x="120" y="267"/>
                      <a:pt x="119" y="266"/>
                    </a:cubicBezTo>
                    <a:cubicBezTo>
                      <a:pt x="119" y="265"/>
                      <a:pt x="119" y="264"/>
                      <a:pt x="119" y="263"/>
                    </a:cubicBezTo>
                    <a:cubicBezTo>
                      <a:pt x="118" y="262"/>
                      <a:pt x="118" y="262"/>
                      <a:pt x="118" y="262"/>
                    </a:cubicBezTo>
                    <a:cubicBezTo>
                      <a:pt x="119" y="261"/>
                      <a:pt x="119" y="261"/>
                      <a:pt x="119" y="259"/>
                    </a:cubicBezTo>
                    <a:cubicBezTo>
                      <a:pt x="119" y="259"/>
                      <a:pt x="119" y="259"/>
                      <a:pt x="119" y="259"/>
                    </a:cubicBezTo>
                    <a:cubicBezTo>
                      <a:pt x="119" y="257"/>
                      <a:pt x="119" y="256"/>
                      <a:pt x="119" y="255"/>
                    </a:cubicBezTo>
                    <a:cubicBezTo>
                      <a:pt x="119" y="255"/>
                      <a:pt x="120" y="254"/>
                      <a:pt x="120" y="254"/>
                    </a:cubicBezTo>
                    <a:cubicBezTo>
                      <a:pt x="120" y="254"/>
                      <a:pt x="120" y="253"/>
                      <a:pt x="120" y="253"/>
                    </a:cubicBezTo>
                    <a:cubicBezTo>
                      <a:pt x="121" y="251"/>
                      <a:pt x="122" y="249"/>
                      <a:pt x="123" y="248"/>
                    </a:cubicBezTo>
                    <a:cubicBezTo>
                      <a:pt x="123" y="247"/>
                      <a:pt x="124" y="246"/>
                      <a:pt x="124" y="246"/>
                    </a:cubicBezTo>
                    <a:cubicBezTo>
                      <a:pt x="124" y="245"/>
                      <a:pt x="124" y="244"/>
                      <a:pt x="124" y="244"/>
                    </a:cubicBezTo>
                    <a:cubicBezTo>
                      <a:pt x="124" y="243"/>
                      <a:pt x="124" y="242"/>
                      <a:pt x="124" y="241"/>
                    </a:cubicBezTo>
                    <a:cubicBezTo>
                      <a:pt x="124" y="240"/>
                      <a:pt x="124" y="239"/>
                      <a:pt x="123" y="239"/>
                    </a:cubicBezTo>
                    <a:cubicBezTo>
                      <a:pt x="123" y="239"/>
                      <a:pt x="123" y="239"/>
                      <a:pt x="123" y="239"/>
                    </a:cubicBezTo>
                    <a:cubicBezTo>
                      <a:pt x="122" y="238"/>
                      <a:pt x="121" y="237"/>
                      <a:pt x="123" y="236"/>
                    </a:cubicBezTo>
                    <a:cubicBezTo>
                      <a:pt x="123" y="237"/>
                      <a:pt x="123" y="237"/>
                      <a:pt x="123" y="238"/>
                    </a:cubicBezTo>
                    <a:cubicBezTo>
                      <a:pt x="124" y="238"/>
                      <a:pt x="124" y="238"/>
                      <a:pt x="124" y="239"/>
                    </a:cubicBezTo>
                    <a:cubicBezTo>
                      <a:pt x="124" y="238"/>
                      <a:pt x="124" y="238"/>
                      <a:pt x="124" y="238"/>
                    </a:cubicBezTo>
                    <a:cubicBezTo>
                      <a:pt x="124" y="237"/>
                      <a:pt x="123" y="236"/>
                      <a:pt x="123" y="235"/>
                    </a:cubicBezTo>
                    <a:cubicBezTo>
                      <a:pt x="122" y="234"/>
                      <a:pt x="122" y="233"/>
                      <a:pt x="122" y="233"/>
                    </a:cubicBezTo>
                    <a:cubicBezTo>
                      <a:pt x="122" y="232"/>
                      <a:pt x="122" y="232"/>
                      <a:pt x="122" y="232"/>
                    </a:cubicBezTo>
                    <a:cubicBezTo>
                      <a:pt x="122" y="231"/>
                      <a:pt x="122" y="231"/>
                      <a:pt x="122" y="231"/>
                    </a:cubicBezTo>
                    <a:cubicBezTo>
                      <a:pt x="122" y="230"/>
                      <a:pt x="122" y="229"/>
                      <a:pt x="122" y="228"/>
                    </a:cubicBezTo>
                    <a:cubicBezTo>
                      <a:pt x="122" y="226"/>
                      <a:pt x="122" y="225"/>
                      <a:pt x="122" y="224"/>
                    </a:cubicBezTo>
                    <a:cubicBezTo>
                      <a:pt x="122" y="223"/>
                      <a:pt x="122" y="221"/>
                      <a:pt x="122" y="220"/>
                    </a:cubicBezTo>
                    <a:cubicBezTo>
                      <a:pt x="122" y="220"/>
                      <a:pt x="122" y="219"/>
                      <a:pt x="123" y="219"/>
                    </a:cubicBezTo>
                    <a:cubicBezTo>
                      <a:pt x="123" y="218"/>
                      <a:pt x="123" y="217"/>
                      <a:pt x="124" y="216"/>
                    </a:cubicBezTo>
                    <a:cubicBezTo>
                      <a:pt x="124" y="215"/>
                      <a:pt x="124" y="215"/>
                      <a:pt x="125" y="215"/>
                    </a:cubicBezTo>
                    <a:cubicBezTo>
                      <a:pt x="126" y="214"/>
                      <a:pt x="127" y="214"/>
                      <a:pt x="128" y="214"/>
                    </a:cubicBezTo>
                    <a:cubicBezTo>
                      <a:pt x="129" y="214"/>
                      <a:pt x="129" y="214"/>
                      <a:pt x="129" y="215"/>
                    </a:cubicBezTo>
                    <a:cubicBezTo>
                      <a:pt x="130" y="214"/>
                      <a:pt x="130" y="214"/>
                      <a:pt x="130" y="212"/>
                    </a:cubicBezTo>
                    <a:cubicBezTo>
                      <a:pt x="130" y="213"/>
                      <a:pt x="131" y="214"/>
                      <a:pt x="131" y="214"/>
                    </a:cubicBezTo>
                    <a:cubicBezTo>
                      <a:pt x="131" y="214"/>
                      <a:pt x="131" y="215"/>
                      <a:pt x="131" y="215"/>
                    </a:cubicBezTo>
                    <a:cubicBezTo>
                      <a:pt x="131" y="214"/>
                      <a:pt x="132" y="214"/>
                      <a:pt x="132" y="213"/>
                    </a:cubicBezTo>
                    <a:cubicBezTo>
                      <a:pt x="132" y="213"/>
                      <a:pt x="133" y="213"/>
                      <a:pt x="133" y="213"/>
                    </a:cubicBezTo>
                    <a:cubicBezTo>
                      <a:pt x="133" y="212"/>
                      <a:pt x="133" y="212"/>
                      <a:pt x="133" y="211"/>
                    </a:cubicBezTo>
                    <a:cubicBezTo>
                      <a:pt x="134" y="210"/>
                      <a:pt x="134" y="209"/>
                      <a:pt x="136" y="209"/>
                    </a:cubicBezTo>
                    <a:cubicBezTo>
                      <a:pt x="136" y="209"/>
                      <a:pt x="136" y="209"/>
                      <a:pt x="137" y="209"/>
                    </a:cubicBezTo>
                    <a:cubicBezTo>
                      <a:pt x="137" y="209"/>
                      <a:pt x="138" y="209"/>
                      <a:pt x="138" y="209"/>
                    </a:cubicBezTo>
                    <a:cubicBezTo>
                      <a:pt x="140" y="209"/>
                      <a:pt x="140" y="208"/>
                      <a:pt x="141" y="208"/>
                    </a:cubicBezTo>
                    <a:cubicBezTo>
                      <a:pt x="142" y="208"/>
                      <a:pt x="142" y="208"/>
                      <a:pt x="143" y="207"/>
                    </a:cubicBezTo>
                    <a:cubicBezTo>
                      <a:pt x="145" y="207"/>
                      <a:pt x="145" y="206"/>
                      <a:pt x="145" y="204"/>
                    </a:cubicBezTo>
                    <a:cubicBezTo>
                      <a:pt x="145" y="204"/>
                      <a:pt x="145" y="204"/>
                      <a:pt x="145" y="204"/>
                    </a:cubicBezTo>
                    <a:cubicBezTo>
                      <a:pt x="145" y="204"/>
                      <a:pt x="144" y="203"/>
                      <a:pt x="144" y="202"/>
                    </a:cubicBezTo>
                    <a:cubicBezTo>
                      <a:pt x="144" y="202"/>
                      <a:pt x="144" y="202"/>
                      <a:pt x="145" y="202"/>
                    </a:cubicBezTo>
                    <a:cubicBezTo>
                      <a:pt x="147" y="199"/>
                      <a:pt x="151" y="198"/>
                      <a:pt x="153" y="196"/>
                    </a:cubicBezTo>
                    <a:cubicBezTo>
                      <a:pt x="154" y="196"/>
                      <a:pt x="154" y="195"/>
                      <a:pt x="155" y="195"/>
                    </a:cubicBezTo>
                    <a:cubicBezTo>
                      <a:pt x="155" y="194"/>
                      <a:pt x="156" y="194"/>
                      <a:pt x="156" y="193"/>
                    </a:cubicBezTo>
                    <a:cubicBezTo>
                      <a:pt x="157" y="193"/>
                      <a:pt x="157" y="192"/>
                      <a:pt x="158" y="191"/>
                    </a:cubicBezTo>
                    <a:cubicBezTo>
                      <a:pt x="159" y="191"/>
                      <a:pt x="160" y="190"/>
                      <a:pt x="161" y="189"/>
                    </a:cubicBezTo>
                    <a:cubicBezTo>
                      <a:pt x="163" y="188"/>
                      <a:pt x="164" y="187"/>
                      <a:pt x="165" y="186"/>
                    </a:cubicBezTo>
                    <a:cubicBezTo>
                      <a:pt x="165" y="186"/>
                      <a:pt x="165" y="186"/>
                      <a:pt x="165" y="186"/>
                    </a:cubicBezTo>
                    <a:cubicBezTo>
                      <a:pt x="166" y="185"/>
                      <a:pt x="166" y="185"/>
                      <a:pt x="167" y="184"/>
                    </a:cubicBezTo>
                    <a:cubicBezTo>
                      <a:pt x="168" y="183"/>
                      <a:pt x="169" y="181"/>
                      <a:pt x="170" y="180"/>
                    </a:cubicBezTo>
                    <a:cubicBezTo>
                      <a:pt x="173" y="178"/>
                      <a:pt x="175" y="176"/>
                      <a:pt x="178" y="174"/>
                    </a:cubicBezTo>
                    <a:cubicBezTo>
                      <a:pt x="177" y="174"/>
                      <a:pt x="177" y="174"/>
                      <a:pt x="176" y="175"/>
                    </a:cubicBezTo>
                    <a:cubicBezTo>
                      <a:pt x="176" y="174"/>
                      <a:pt x="176" y="174"/>
                      <a:pt x="176" y="174"/>
                    </a:cubicBezTo>
                    <a:cubicBezTo>
                      <a:pt x="176" y="174"/>
                      <a:pt x="175" y="174"/>
                      <a:pt x="175" y="174"/>
                    </a:cubicBezTo>
                    <a:cubicBezTo>
                      <a:pt x="175" y="175"/>
                      <a:pt x="175" y="175"/>
                      <a:pt x="175" y="175"/>
                    </a:cubicBezTo>
                    <a:cubicBezTo>
                      <a:pt x="174" y="175"/>
                      <a:pt x="174" y="175"/>
                      <a:pt x="174" y="176"/>
                    </a:cubicBezTo>
                    <a:cubicBezTo>
                      <a:pt x="174" y="176"/>
                      <a:pt x="174" y="175"/>
                      <a:pt x="174" y="175"/>
                    </a:cubicBezTo>
                    <a:cubicBezTo>
                      <a:pt x="174" y="174"/>
                      <a:pt x="175" y="173"/>
                      <a:pt x="176" y="172"/>
                    </a:cubicBezTo>
                    <a:cubicBezTo>
                      <a:pt x="177" y="172"/>
                      <a:pt x="177" y="172"/>
                      <a:pt x="178" y="172"/>
                    </a:cubicBezTo>
                    <a:cubicBezTo>
                      <a:pt x="178" y="172"/>
                      <a:pt x="178" y="172"/>
                      <a:pt x="178" y="172"/>
                    </a:cubicBezTo>
                    <a:cubicBezTo>
                      <a:pt x="178" y="173"/>
                      <a:pt x="177" y="174"/>
                      <a:pt x="177" y="174"/>
                    </a:cubicBezTo>
                    <a:cubicBezTo>
                      <a:pt x="178" y="174"/>
                      <a:pt x="179" y="173"/>
                      <a:pt x="180" y="173"/>
                    </a:cubicBezTo>
                    <a:cubicBezTo>
                      <a:pt x="180" y="173"/>
                      <a:pt x="180" y="173"/>
                      <a:pt x="181" y="173"/>
                    </a:cubicBezTo>
                    <a:cubicBezTo>
                      <a:pt x="182" y="172"/>
                      <a:pt x="185" y="172"/>
                      <a:pt x="186" y="171"/>
                    </a:cubicBezTo>
                    <a:cubicBezTo>
                      <a:pt x="186" y="171"/>
                      <a:pt x="184" y="170"/>
                      <a:pt x="184" y="169"/>
                    </a:cubicBezTo>
                    <a:cubicBezTo>
                      <a:pt x="187" y="170"/>
                      <a:pt x="187" y="170"/>
                      <a:pt x="189" y="168"/>
                    </a:cubicBezTo>
                    <a:cubicBezTo>
                      <a:pt x="190" y="166"/>
                      <a:pt x="191" y="165"/>
                      <a:pt x="193" y="163"/>
                    </a:cubicBezTo>
                    <a:cubicBezTo>
                      <a:pt x="192" y="163"/>
                      <a:pt x="192" y="162"/>
                      <a:pt x="192" y="161"/>
                    </a:cubicBezTo>
                    <a:cubicBezTo>
                      <a:pt x="192" y="160"/>
                      <a:pt x="191" y="159"/>
                      <a:pt x="191" y="158"/>
                    </a:cubicBezTo>
                    <a:cubicBezTo>
                      <a:pt x="191" y="157"/>
                      <a:pt x="191" y="157"/>
                      <a:pt x="192" y="156"/>
                    </a:cubicBezTo>
                    <a:cubicBezTo>
                      <a:pt x="192" y="155"/>
                      <a:pt x="194" y="154"/>
                      <a:pt x="196" y="154"/>
                    </a:cubicBezTo>
                    <a:cubicBezTo>
                      <a:pt x="197" y="153"/>
                      <a:pt x="197" y="153"/>
                      <a:pt x="198" y="153"/>
                    </a:cubicBezTo>
                    <a:cubicBezTo>
                      <a:pt x="200" y="152"/>
                      <a:pt x="201" y="152"/>
                      <a:pt x="202" y="150"/>
                    </a:cubicBezTo>
                    <a:cubicBezTo>
                      <a:pt x="203" y="150"/>
                      <a:pt x="205" y="148"/>
                      <a:pt x="204" y="147"/>
                    </a:cubicBezTo>
                    <a:cubicBezTo>
                      <a:pt x="204" y="147"/>
                      <a:pt x="203" y="147"/>
                      <a:pt x="203" y="147"/>
                    </a:cubicBezTo>
                    <a:cubicBezTo>
                      <a:pt x="203" y="147"/>
                      <a:pt x="203" y="147"/>
                      <a:pt x="203" y="147"/>
                    </a:cubicBezTo>
                    <a:cubicBezTo>
                      <a:pt x="202" y="146"/>
                      <a:pt x="202" y="145"/>
                      <a:pt x="202" y="145"/>
                    </a:cubicBezTo>
                    <a:cubicBezTo>
                      <a:pt x="203" y="145"/>
                      <a:pt x="202" y="146"/>
                      <a:pt x="203" y="146"/>
                    </a:cubicBezTo>
                    <a:cubicBezTo>
                      <a:pt x="203" y="147"/>
                      <a:pt x="203" y="147"/>
                      <a:pt x="204" y="147"/>
                    </a:cubicBezTo>
                    <a:cubicBezTo>
                      <a:pt x="205" y="147"/>
                      <a:pt x="205" y="148"/>
                      <a:pt x="205" y="148"/>
                    </a:cubicBezTo>
                    <a:cubicBezTo>
                      <a:pt x="205" y="150"/>
                      <a:pt x="204" y="151"/>
                      <a:pt x="205" y="153"/>
                    </a:cubicBezTo>
                    <a:cubicBezTo>
                      <a:pt x="205" y="153"/>
                      <a:pt x="205" y="153"/>
                      <a:pt x="205" y="153"/>
                    </a:cubicBezTo>
                    <a:cubicBezTo>
                      <a:pt x="205" y="154"/>
                      <a:pt x="206" y="154"/>
                      <a:pt x="206" y="153"/>
                    </a:cubicBezTo>
                    <a:cubicBezTo>
                      <a:pt x="208" y="154"/>
                      <a:pt x="207" y="152"/>
                      <a:pt x="208" y="150"/>
                    </a:cubicBezTo>
                    <a:cubicBezTo>
                      <a:pt x="208" y="150"/>
                      <a:pt x="208" y="152"/>
                      <a:pt x="208" y="153"/>
                    </a:cubicBezTo>
                    <a:cubicBezTo>
                      <a:pt x="208" y="154"/>
                      <a:pt x="208" y="154"/>
                      <a:pt x="208" y="154"/>
                    </a:cubicBezTo>
                    <a:cubicBezTo>
                      <a:pt x="209" y="154"/>
                      <a:pt x="209" y="153"/>
                      <a:pt x="209" y="152"/>
                    </a:cubicBezTo>
                    <a:cubicBezTo>
                      <a:pt x="209" y="152"/>
                      <a:pt x="209" y="152"/>
                      <a:pt x="209" y="152"/>
                    </a:cubicBezTo>
                    <a:cubicBezTo>
                      <a:pt x="209" y="151"/>
                      <a:pt x="209" y="152"/>
                      <a:pt x="208" y="151"/>
                    </a:cubicBezTo>
                    <a:cubicBezTo>
                      <a:pt x="208" y="151"/>
                      <a:pt x="209" y="150"/>
                      <a:pt x="209" y="150"/>
                    </a:cubicBezTo>
                    <a:cubicBezTo>
                      <a:pt x="209" y="149"/>
                      <a:pt x="209" y="149"/>
                      <a:pt x="209" y="148"/>
                    </a:cubicBezTo>
                    <a:cubicBezTo>
                      <a:pt x="209" y="148"/>
                      <a:pt x="209" y="147"/>
                      <a:pt x="210" y="147"/>
                    </a:cubicBezTo>
                    <a:cubicBezTo>
                      <a:pt x="210" y="147"/>
                      <a:pt x="209" y="148"/>
                      <a:pt x="209" y="148"/>
                    </a:cubicBezTo>
                    <a:cubicBezTo>
                      <a:pt x="209" y="148"/>
                      <a:pt x="209" y="149"/>
                      <a:pt x="210" y="150"/>
                    </a:cubicBezTo>
                    <a:cubicBezTo>
                      <a:pt x="210" y="149"/>
                      <a:pt x="210" y="149"/>
                      <a:pt x="210" y="148"/>
                    </a:cubicBezTo>
                    <a:cubicBezTo>
                      <a:pt x="211" y="149"/>
                      <a:pt x="210" y="150"/>
                      <a:pt x="210" y="151"/>
                    </a:cubicBezTo>
                    <a:cubicBezTo>
                      <a:pt x="210" y="151"/>
                      <a:pt x="210" y="151"/>
                      <a:pt x="210" y="151"/>
                    </a:cubicBezTo>
                    <a:cubicBezTo>
                      <a:pt x="210" y="152"/>
                      <a:pt x="210" y="152"/>
                      <a:pt x="210" y="152"/>
                    </a:cubicBezTo>
                    <a:cubicBezTo>
                      <a:pt x="210" y="153"/>
                      <a:pt x="211" y="154"/>
                      <a:pt x="211" y="153"/>
                    </a:cubicBezTo>
                    <a:cubicBezTo>
                      <a:pt x="211" y="153"/>
                      <a:pt x="211" y="153"/>
                      <a:pt x="212" y="153"/>
                    </a:cubicBezTo>
                    <a:cubicBezTo>
                      <a:pt x="213" y="153"/>
                      <a:pt x="214" y="153"/>
                      <a:pt x="214" y="153"/>
                    </a:cubicBezTo>
                    <a:cubicBezTo>
                      <a:pt x="214" y="153"/>
                      <a:pt x="214" y="152"/>
                      <a:pt x="214" y="152"/>
                    </a:cubicBezTo>
                    <a:cubicBezTo>
                      <a:pt x="214" y="152"/>
                      <a:pt x="213" y="152"/>
                      <a:pt x="213"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0" name="Freeform 3142">
                <a:extLst>
                  <a:ext uri="{FF2B5EF4-FFF2-40B4-BE49-F238E27FC236}">
                    <a16:creationId xmlns:a16="http://schemas.microsoft.com/office/drawing/2014/main" id="{D93FFF41-D2A2-4139-B128-6A797E6CA698}"/>
                  </a:ext>
                </a:extLst>
              </p:cNvPr>
              <p:cNvSpPr>
                <a:spLocks/>
              </p:cNvSpPr>
              <p:nvPr/>
            </p:nvSpPr>
            <p:spPr bwMode="auto">
              <a:xfrm>
                <a:off x="5195" y="21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1" name="Freeform 3143">
                <a:extLst>
                  <a:ext uri="{FF2B5EF4-FFF2-40B4-BE49-F238E27FC236}">
                    <a16:creationId xmlns:a16="http://schemas.microsoft.com/office/drawing/2014/main" id="{4FC86B83-30EF-4075-AD73-E430A924553D}"/>
                  </a:ext>
                </a:extLst>
              </p:cNvPr>
              <p:cNvSpPr>
                <a:spLocks/>
              </p:cNvSpPr>
              <p:nvPr/>
            </p:nvSpPr>
            <p:spPr bwMode="auto">
              <a:xfrm>
                <a:off x="5211" y="19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2" name="Freeform 3144">
                <a:extLst>
                  <a:ext uri="{FF2B5EF4-FFF2-40B4-BE49-F238E27FC236}">
                    <a16:creationId xmlns:a16="http://schemas.microsoft.com/office/drawing/2014/main" id="{68109487-00AC-4295-A4FC-ABE865C1448E}"/>
                  </a:ext>
                </a:extLst>
              </p:cNvPr>
              <p:cNvSpPr>
                <a:spLocks/>
              </p:cNvSpPr>
              <p:nvPr/>
            </p:nvSpPr>
            <p:spPr bwMode="auto">
              <a:xfrm>
                <a:off x="5027" y="1842"/>
                <a:ext cx="388" cy="350"/>
              </a:xfrm>
              <a:custGeom>
                <a:avLst/>
                <a:gdLst>
                  <a:gd name="T0" fmla="*/ 75 w 164"/>
                  <a:gd name="T1" fmla="*/ 145 h 148"/>
                  <a:gd name="T2" fmla="*/ 84 w 164"/>
                  <a:gd name="T3" fmla="*/ 142 h 148"/>
                  <a:gd name="T4" fmla="*/ 94 w 164"/>
                  <a:gd name="T5" fmla="*/ 140 h 148"/>
                  <a:gd name="T6" fmla="*/ 99 w 164"/>
                  <a:gd name="T7" fmla="*/ 141 h 148"/>
                  <a:gd name="T8" fmla="*/ 97 w 164"/>
                  <a:gd name="T9" fmla="*/ 132 h 148"/>
                  <a:gd name="T10" fmla="*/ 93 w 164"/>
                  <a:gd name="T11" fmla="*/ 128 h 148"/>
                  <a:gd name="T12" fmla="*/ 90 w 164"/>
                  <a:gd name="T13" fmla="*/ 120 h 148"/>
                  <a:gd name="T14" fmla="*/ 87 w 164"/>
                  <a:gd name="T15" fmla="*/ 118 h 148"/>
                  <a:gd name="T16" fmla="*/ 90 w 164"/>
                  <a:gd name="T17" fmla="*/ 104 h 148"/>
                  <a:gd name="T18" fmla="*/ 92 w 164"/>
                  <a:gd name="T19" fmla="*/ 101 h 148"/>
                  <a:gd name="T20" fmla="*/ 97 w 164"/>
                  <a:gd name="T21" fmla="*/ 101 h 148"/>
                  <a:gd name="T22" fmla="*/ 102 w 164"/>
                  <a:gd name="T23" fmla="*/ 102 h 148"/>
                  <a:gd name="T24" fmla="*/ 113 w 164"/>
                  <a:gd name="T25" fmla="*/ 94 h 148"/>
                  <a:gd name="T26" fmla="*/ 122 w 164"/>
                  <a:gd name="T27" fmla="*/ 84 h 148"/>
                  <a:gd name="T28" fmla="*/ 129 w 164"/>
                  <a:gd name="T29" fmla="*/ 74 h 148"/>
                  <a:gd name="T30" fmla="*/ 136 w 164"/>
                  <a:gd name="T31" fmla="*/ 67 h 148"/>
                  <a:gd name="T32" fmla="*/ 137 w 164"/>
                  <a:gd name="T33" fmla="*/ 57 h 148"/>
                  <a:gd name="T34" fmla="*/ 143 w 164"/>
                  <a:gd name="T35" fmla="*/ 54 h 148"/>
                  <a:gd name="T36" fmla="*/ 137 w 164"/>
                  <a:gd name="T37" fmla="*/ 52 h 148"/>
                  <a:gd name="T38" fmla="*/ 127 w 164"/>
                  <a:gd name="T39" fmla="*/ 45 h 148"/>
                  <a:gd name="T40" fmla="*/ 130 w 164"/>
                  <a:gd name="T41" fmla="*/ 37 h 148"/>
                  <a:gd name="T42" fmla="*/ 130 w 164"/>
                  <a:gd name="T43" fmla="*/ 35 h 148"/>
                  <a:gd name="T44" fmla="*/ 127 w 164"/>
                  <a:gd name="T45" fmla="*/ 30 h 148"/>
                  <a:gd name="T46" fmla="*/ 140 w 164"/>
                  <a:gd name="T47" fmla="*/ 25 h 148"/>
                  <a:gd name="T48" fmla="*/ 148 w 164"/>
                  <a:gd name="T49" fmla="*/ 27 h 148"/>
                  <a:gd name="T50" fmla="*/ 157 w 164"/>
                  <a:gd name="T51" fmla="*/ 25 h 148"/>
                  <a:gd name="T52" fmla="*/ 159 w 164"/>
                  <a:gd name="T53" fmla="*/ 16 h 148"/>
                  <a:gd name="T54" fmla="*/ 151 w 164"/>
                  <a:gd name="T55" fmla="*/ 13 h 148"/>
                  <a:gd name="T56" fmla="*/ 148 w 164"/>
                  <a:gd name="T57" fmla="*/ 4 h 148"/>
                  <a:gd name="T58" fmla="*/ 138 w 164"/>
                  <a:gd name="T59" fmla="*/ 0 h 148"/>
                  <a:gd name="T60" fmla="*/ 129 w 164"/>
                  <a:gd name="T61" fmla="*/ 2 h 148"/>
                  <a:gd name="T62" fmla="*/ 116 w 164"/>
                  <a:gd name="T63" fmla="*/ 3 h 148"/>
                  <a:gd name="T64" fmla="*/ 104 w 164"/>
                  <a:gd name="T65" fmla="*/ 11 h 148"/>
                  <a:gd name="T66" fmla="*/ 107 w 164"/>
                  <a:gd name="T67" fmla="*/ 16 h 148"/>
                  <a:gd name="T68" fmla="*/ 107 w 164"/>
                  <a:gd name="T69" fmla="*/ 22 h 148"/>
                  <a:gd name="T70" fmla="*/ 102 w 164"/>
                  <a:gd name="T71" fmla="*/ 29 h 148"/>
                  <a:gd name="T72" fmla="*/ 100 w 164"/>
                  <a:gd name="T73" fmla="*/ 35 h 148"/>
                  <a:gd name="T74" fmla="*/ 94 w 164"/>
                  <a:gd name="T75" fmla="*/ 43 h 148"/>
                  <a:gd name="T76" fmla="*/ 88 w 164"/>
                  <a:gd name="T77" fmla="*/ 46 h 148"/>
                  <a:gd name="T78" fmla="*/ 86 w 164"/>
                  <a:gd name="T79" fmla="*/ 46 h 148"/>
                  <a:gd name="T80" fmla="*/ 84 w 164"/>
                  <a:gd name="T81" fmla="*/ 55 h 148"/>
                  <a:gd name="T82" fmla="*/ 78 w 164"/>
                  <a:gd name="T83" fmla="*/ 62 h 148"/>
                  <a:gd name="T84" fmla="*/ 73 w 164"/>
                  <a:gd name="T85" fmla="*/ 61 h 148"/>
                  <a:gd name="T86" fmla="*/ 70 w 164"/>
                  <a:gd name="T87" fmla="*/ 65 h 148"/>
                  <a:gd name="T88" fmla="*/ 59 w 164"/>
                  <a:gd name="T89" fmla="*/ 66 h 148"/>
                  <a:gd name="T90" fmla="*/ 54 w 164"/>
                  <a:gd name="T91" fmla="*/ 71 h 148"/>
                  <a:gd name="T92" fmla="*/ 53 w 164"/>
                  <a:gd name="T93" fmla="*/ 82 h 148"/>
                  <a:gd name="T94" fmla="*/ 33 w 164"/>
                  <a:gd name="T95" fmla="*/ 86 h 148"/>
                  <a:gd name="T96" fmla="*/ 29 w 164"/>
                  <a:gd name="T97" fmla="*/ 87 h 148"/>
                  <a:gd name="T98" fmla="*/ 20 w 164"/>
                  <a:gd name="T99" fmla="*/ 89 h 148"/>
                  <a:gd name="T100" fmla="*/ 0 w 164"/>
                  <a:gd name="T101" fmla="*/ 83 h 148"/>
                  <a:gd name="T102" fmla="*/ 11 w 164"/>
                  <a:gd name="T103" fmla="*/ 96 h 148"/>
                  <a:gd name="T104" fmla="*/ 19 w 164"/>
                  <a:gd name="T105" fmla="*/ 103 h 148"/>
                  <a:gd name="T106" fmla="*/ 22 w 164"/>
                  <a:gd name="T107" fmla="*/ 109 h 148"/>
                  <a:gd name="T108" fmla="*/ 17 w 164"/>
                  <a:gd name="T109" fmla="*/ 119 h 148"/>
                  <a:gd name="T110" fmla="*/ 6 w 164"/>
                  <a:gd name="T111" fmla="*/ 129 h 148"/>
                  <a:gd name="T112" fmla="*/ 17 w 164"/>
                  <a:gd name="T113" fmla="*/ 132 h 148"/>
                  <a:gd name="T114" fmla="*/ 36 w 164"/>
                  <a:gd name="T115" fmla="*/ 133 h 148"/>
                  <a:gd name="T116" fmla="*/ 56 w 164"/>
                  <a:gd name="T117" fmla="*/ 133 h 148"/>
                  <a:gd name="T118" fmla="*/ 70 w 164"/>
                  <a:gd name="T11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4" h="148">
                    <a:moveTo>
                      <a:pt x="71" y="148"/>
                    </a:moveTo>
                    <a:cubicBezTo>
                      <a:pt x="70" y="147"/>
                      <a:pt x="70" y="147"/>
                      <a:pt x="70" y="147"/>
                    </a:cubicBezTo>
                    <a:cubicBezTo>
                      <a:pt x="71" y="147"/>
                      <a:pt x="71" y="147"/>
                      <a:pt x="71" y="147"/>
                    </a:cubicBezTo>
                    <a:cubicBezTo>
                      <a:pt x="71" y="147"/>
                      <a:pt x="71" y="147"/>
                      <a:pt x="71" y="147"/>
                    </a:cubicBezTo>
                    <a:cubicBezTo>
                      <a:pt x="71" y="147"/>
                      <a:pt x="71" y="147"/>
                      <a:pt x="71" y="147"/>
                    </a:cubicBezTo>
                    <a:cubicBezTo>
                      <a:pt x="74" y="145"/>
                      <a:pt x="74" y="145"/>
                      <a:pt x="74" y="145"/>
                    </a:cubicBezTo>
                    <a:cubicBezTo>
                      <a:pt x="75" y="145"/>
                      <a:pt x="75" y="145"/>
                      <a:pt x="75" y="145"/>
                    </a:cubicBezTo>
                    <a:cubicBezTo>
                      <a:pt x="75" y="145"/>
                      <a:pt x="75" y="145"/>
                      <a:pt x="75" y="145"/>
                    </a:cubicBezTo>
                    <a:cubicBezTo>
                      <a:pt x="76" y="145"/>
                      <a:pt x="76" y="145"/>
                      <a:pt x="76" y="145"/>
                    </a:cubicBezTo>
                    <a:cubicBezTo>
                      <a:pt x="76" y="144"/>
                      <a:pt x="76" y="144"/>
                      <a:pt x="76" y="143"/>
                    </a:cubicBezTo>
                    <a:cubicBezTo>
                      <a:pt x="76" y="143"/>
                      <a:pt x="76" y="142"/>
                      <a:pt x="76" y="142"/>
                    </a:cubicBezTo>
                    <a:cubicBezTo>
                      <a:pt x="76" y="141"/>
                      <a:pt x="76" y="141"/>
                      <a:pt x="76" y="141"/>
                    </a:cubicBezTo>
                    <a:cubicBezTo>
                      <a:pt x="77" y="141"/>
                      <a:pt x="77" y="141"/>
                      <a:pt x="77" y="141"/>
                    </a:cubicBezTo>
                    <a:cubicBezTo>
                      <a:pt x="79" y="141"/>
                      <a:pt x="81" y="141"/>
                      <a:pt x="83" y="141"/>
                    </a:cubicBezTo>
                    <a:cubicBezTo>
                      <a:pt x="84" y="140"/>
                      <a:pt x="84" y="140"/>
                      <a:pt x="84" y="140"/>
                    </a:cubicBezTo>
                    <a:cubicBezTo>
                      <a:pt x="84" y="142"/>
                      <a:pt x="84" y="142"/>
                      <a:pt x="84" y="142"/>
                    </a:cubicBezTo>
                    <a:cubicBezTo>
                      <a:pt x="87" y="142"/>
                      <a:pt x="87" y="142"/>
                      <a:pt x="87" y="142"/>
                    </a:cubicBezTo>
                    <a:cubicBezTo>
                      <a:pt x="87" y="142"/>
                      <a:pt x="87" y="142"/>
                      <a:pt x="88" y="142"/>
                    </a:cubicBezTo>
                    <a:cubicBezTo>
                      <a:pt x="88" y="142"/>
                      <a:pt x="89" y="142"/>
                      <a:pt x="89" y="142"/>
                    </a:cubicBezTo>
                    <a:cubicBezTo>
                      <a:pt x="89" y="142"/>
                      <a:pt x="89" y="142"/>
                      <a:pt x="90" y="142"/>
                    </a:cubicBezTo>
                    <a:cubicBezTo>
                      <a:pt x="90" y="142"/>
                      <a:pt x="90" y="142"/>
                      <a:pt x="90" y="142"/>
                    </a:cubicBezTo>
                    <a:cubicBezTo>
                      <a:pt x="90" y="142"/>
                      <a:pt x="90" y="142"/>
                      <a:pt x="90" y="142"/>
                    </a:cubicBezTo>
                    <a:cubicBezTo>
                      <a:pt x="91" y="141"/>
                      <a:pt x="92" y="140"/>
                      <a:pt x="93" y="140"/>
                    </a:cubicBezTo>
                    <a:cubicBezTo>
                      <a:pt x="94" y="140"/>
                      <a:pt x="94" y="140"/>
                      <a:pt x="94" y="140"/>
                    </a:cubicBezTo>
                    <a:cubicBezTo>
                      <a:pt x="94" y="140"/>
                      <a:pt x="94" y="140"/>
                      <a:pt x="94" y="140"/>
                    </a:cubicBezTo>
                    <a:cubicBezTo>
                      <a:pt x="95" y="140"/>
                      <a:pt x="95" y="140"/>
                      <a:pt x="95" y="140"/>
                    </a:cubicBezTo>
                    <a:cubicBezTo>
                      <a:pt x="95" y="140"/>
                      <a:pt x="96" y="139"/>
                      <a:pt x="97" y="140"/>
                    </a:cubicBezTo>
                    <a:cubicBezTo>
                      <a:pt x="97" y="140"/>
                      <a:pt x="97" y="141"/>
                      <a:pt x="97" y="141"/>
                    </a:cubicBezTo>
                    <a:cubicBezTo>
                      <a:pt x="97" y="141"/>
                      <a:pt x="98" y="141"/>
                      <a:pt x="98" y="141"/>
                    </a:cubicBezTo>
                    <a:cubicBezTo>
                      <a:pt x="98" y="141"/>
                      <a:pt x="98" y="141"/>
                      <a:pt x="98" y="141"/>
                    </a:cubicBezTo>
                    <a:cubicBezTo>
                      <a:pt x="98" y="141"/>
                      <a:pt x="98" y="141"/>
                      <a:pt x="98" y="141"/>
                    </a:cubicBezTo>
                    <a:cubicBezTo>
                      <a:pt x="98" y="141"/>
                      <a:pt x="99" y="141"/>
                      <a:pt x="99" y="141"/>
                    </a:cubicBezTo>
                    <a:cubicBezTo>
                      <a:pt x="99" y="140"/>
                      <a:pt x="99" y="140"/>
                      <a:pt x="99" y="139"/>
                    </a:cubicBezTo>
                    <a:cubicBezTo>
                      <a:pt x="99" y="139"/>
                      <a:pt x="99" y="139"/>
                      <a:pt x="99" y="139"/>
                    </a:cubicBezTo>
                    <a:cubicBezTo>
                      <a:pt x="99" y="138"/>
                      <a:pt x="99" y="138"/>
                      <a:pt x="99" y="138"/>
                    </a:cubicBezTo>
                    <a:cubicBezTo>
                      <a:pt x="99" y="138"/>
                      <a:pt x="99" y="138"/>
                      <a:pt x="99" y="137"/>
                    </a:cubicBezTo>
                    <a:cubicBezTo>
                      <a:pt x="98" y="134"/>
                      <a:pt x="98" y="134"/>
                      <a:pt x="98" y="134"/>
                    </a:cubicBezTo>
                    <a:cubicBezTo>
                      <a:pt x="97" y="134"/>
                      <a:pt x="97" y="133"/>
                      <a:pt x="97" y="133"/>
                    </a:cubicBezTo>
                    <a:cubicBezTo>
                      <a:pt x="96" y="134"/>
                      <a:pt x="96" y="134"/>
                      <a:pt x="96" y="134"/>
                    </a:cubicBezTo>
                    <a:cubicBezTo>
                      <a:pt x="97" y="132"/>
                      <a:pt x="97" y="132"/>
                      <a:pt x="97" y="132"/>
                    </a:cubicBezTo>
                    <a:cubicBezTo>
                      <a:pt x="97" y="132"/>
                      <a:pt x="97" y="132"/>
                      <a:pt x="97" y="132"/>
                    </a:cubicBezTo>
                    <a:cubicBezTo>
                      <a:pt x="97" y="132"/>
                      <a:pt x="97" y="132"/>
                      <a:pt x="96" y="131"/>
                    </a:cubicBezTo>
                    <a:cubicBezTo>
                      <a:pt x="96" y="130"/>
                      <a:pt x="96" y="130"/>
                      <a:pt x="96" y="129"/>
                    </a:cubicBezTo>
                    <a:cubicBezTo>
                      <a:pt x="96" y="129"/>
                      <a:pt x="96" y="128"/>
                      <a:pt x="96" y="128"/>
                    </a:cubicBezTo>
                    <a:cubicBezTo>
                      <a:pt x="96" y="128"/>
                      <a:pt x="95" y="128"/>
                      <a:pt x="95" y="128"/>
                    </a:cubicBezTo>
                    <a:cubicBezTo>
                      <a:pt x="95" y="129"/>
                      <a:pt x="95" y="129"/>
                      <a:pt x="95" y="129"/>
                    </a:cubicBezTo>
                    <a:cubicBezTo>
                      <a:pt x="94" y="128"/>
                      <a:pt x="94" y="128"/>
                      <a:pt x="94" y="128"/>
                    </a:cubicBezTo>
                    <a:cubicBezTo>
                      <a:pt x="93" y="128"/>
                      <a:pt x="93" y="128"/>
                      <a:pt x="93" y="128"/>
                    </a:cubicBezTo>
                    <a:cubicBezTo>
                      <a:pt x="93" y="128"/>
                      <a:pt x="93" y="128"/>
                      <a:pt x="93" y="128"/>
                    </a:cubicBezTo>
                    <a:cubicBezTo>
                      <a:pt x="93" y="128"/>
                      <a:pt x="93" y="128"/>
                      <a:pt x="93" y="128"/>
                    </a:cubicBezTo>
                    <a:cubicBezTo>
                      <a:pt x="93" y="128"/>
                      <a:pt x="93" y="128"/>
                      <a:pt x="92" y="128"/>
                    </a:cubicBezTo>
                    <a:cubicBezTo>
                      <a:pt x="92" y="128"/>
                      <a:pt x="92" y="128"/>
                      <a:pt x="92" y="128"/>
                    </a:cubicBezTo>
                    <a:cubicBezTo>
                      <a:pt x="92" y="128"/>
                      <a:pt x="92" y="128"/>
                      <a:pt x="92" y="128"/>
                    </a:cubicBezTo>
                    <a:cubicBezTo>
                      <a:pt x="91" y="127"/>
                      <a:pt x="91" y="126"/>
                      <a:pt x="91" y="124"/>
                    </a:cubicBezTo>
                    <a:cubicBezTo>
                      <a:pt x="90" y="124"/>
                      <a:pt x="90" y="124"/>
                      <a:pt x="90" y="123"/>
                    </a:cubicBezTo>
                    <a:cubicBezTo>
                      <a:pt x="90" y="122"/>
                      <a:pt x="90" y="121"/>
                      <a:pt x="90" y="120"/>
                    </a:cubicBezTo>
                    <a:cubicBezTo>
                      <a:pt x="90" y="120"/>
                      <a:pt x="90" y="120"/>
                      <a:pt x="90" y="120"/>
                    </a:cubicBezTo>
                    <a:cubicBezTo>
                      <a:pt x="90" y="120"/>
                      <a:pt x="90" y="119"/>
                      <a:pt x="90" y="119"/>
                    </a:cubicBezTo>
                    <a:cubicBezTo>
                      <a:pt x="90" y="119"/>
                      <a:pt x="90" y="119"/>
                      <a:pt x="90" y="119"/>
                    </a:cubicBezTo>
                    <a:cubicBezTo>
                      <a:pt x="90" y="119"/>
                      <a:pt x="90" y="119"/>
                      <a:pt x="90" y="119"/>
                    </a:cubicBezTo>
                    <a:cubicBezTo>
                      <a:pt x="90" y="119"/>
                      <a:pt x="90" y="119"/>
                      <a:pt x="90" y="119"/>
                    </a:cubicBezTo>
                    <a:cubicBezTo>
                      <a:pt x="89" y="119"/>
                      <a:pt x="89" y="118"/>
                      <a:pt x="88" y="118"/>
                    </a:cubicBezTo>
                    <a:cubicBezTo>
                      <a:pt x="88" y="120"/>
                      <a:pt x="88" y="120"/>
                      <a:pt x="88" y="120"/>
                    </a:cubicBezTo>
                    <a:cubicBezTo>
                      <a:pt x="87" y="118"/>
                      <a:pt x="87" y="118"/>
                      <a:pt x="87" y="118"/>
                    </a:cubicBezTo>
                    <a:cubicBezTo>
                      <a:pt x="87" y="118"/>
                      <a:pt x="87" y="118"/>
                      <a:pt x="87" y="118"/>
                    </a:cubicBezTo>
                    <a:cubicBezTo>
                      <a:pt x="86" y="118"/>
                      <a:pt x="85" y="117"/>
                      <a:pt x="84" y="116"/>
                    </a:cubicBezTo>
                    <a:cubicBezTo>
                      <a:pt x="84" y="116"/>
                      <a:pt x="84" y="116"/>
                      <a:pt x="83" y="115"/>
                    </a:cubicBezTo>
                    <a:cubicBezTo>
                      <a:pt x="83" y="114"/>
                      <a:pt x="83" y="112"/>
                      <a:pt x="85" y="110"/>
                    </a:cubicBezTo>
                    <a:cubicBezTo>
                      <a:pt x="86" y="109"/>
                      <a:pt x="87" y="107"/>
                      <a:pt x="88" y="106"/>
                    </a:cubicBezTo>
                    <a:cubicBezTo>
                      <a:pt x="88" y="106"/>
                      <a:pt x="88" y="106"/>
                      <a:pt x="88" y="106"/>
                    </a:cubicBezTo>
                    <a:cubicBezTo>
                      <a:pt x="89" y="105"/>
                      <a:pt x="89" y="105"/>
                      <a:pt x="89" y="105"/>
                    </a:cubicBezTo>
                    <a:cubicBezTo>
                      <a:pt x="89" y="104"/>
                      <a:pt x="90" y="104"/>
                      <a:pt x="90" y="104"/>
                    </a:cubicBezTo>
                    <a:cubicBezTo>
                      <a:pt x="90" y="103"/>
                      <a:pt x="90" y="103"/>
                      <a:pt x="90" y="103"/>
                    </a:cubicBezTo>
                    <a:cubicBezTo>
                      <a:pt x="90" y="103"/>
                      <a:pt x="90" y="103"/>
                      <a:pt x="91" y="103"/>
                    </a:cubicBezTo>
                    <a:cubicBezTo>
                      <a:pt x="91" y="102"/>
                      <a:pt x="91" y="102"/>
                      <a:pt x="91" y="102"/>
                    </a:cubicBezTo>
                    <a:cubicBezTo>
                      <a:pt x="92" y="102"/>
                      <a:pt x="92" y="102"/>
                      <a:pt x="92" y="102"/>
                    </a:cubicBezTo>
                    <a:cubicBezTo>
                      <a:pt x="92" y="102"/>
                      <a:pt x="92" y="102"/>
                      <a:pt x="92" y="102"/>
                    </a:cubicBezTo>
                    <a:cubicBezTo>
                      <a:pt x="91" y="100"/>
                      <a:pt x="91" y="100"/>
                      <a:pt x="91" y="100"/>
                    </a:cubicBezTo>
                    <a:cubicBezTo>
                      <a:pt x="92" y="101"/>
                      <a:pt x="92" y="101"/>
                      <a:pt x="92" y="101"/>
                    </a:cubicBezTo>
                    <a:cubicBezTo>
                      <a:pt x="92" y="101"/>
                      <a:pt x="92" y="101"/>
                      <a:pt x="92" y="101"/>
                    </a:cubicBezTo>
                    <a:cubicBezTo>
                      <a:pt x="93" y="101"/>
                      <a:pt x="93" y="101"/>
                      <a:pt x="93" y="101"/>
                    </a:cubicBezTo>
                    <a:cubicBezTo>
                      <a:pt x="94" y="100"/>
                      <a:pt x="94" y="100"/>
                      <a:pt x="94" y="100"/>
                    </a:cubicBezTo>
                    <a:cubicBezTo>
                      <a:pt x="94" y="100"/>
                      <a:pt x="94" y="100"/>
                      <a:pt x="95" y="100"/>
                    </a:cubicBezTo>
                    <a:cubicBezTo>
                      <a:pt x="95" y="99"/>
                      <a:pt x="95" y="99"/>
                      <a:pt x="95" y="99"/>
                    </a:cubicBezTo>
                    <a:cubicBezTo>
                      <a:pt x="95" y="100"/>
                      <a:pt x="95" y="100"/>
                      <a:pt x="95" y="100"/>
                    </a:cubicBezTo>
                    <a:cubicBezTo>
                      <a:pt x="95" y="100"/>
                      <a:pt x="95" y="100"/>
                      <a:pt x="95" y="100"/>
                    </a:cubicBezTo>
                    <a:cubicBezTo>
                      <a:pt x="96" y="100"/>
                      <a:pt x="96" y="100"/>
                      <a:pt x="96" y="100"/>
                    </a:cubicBezTo>
                    <a:cubicBezTo>
                      <a:pt x="96" y="101"/>
                      <a:pt x="96" y="101"/>
                      <a:pt x="97" y="101"/>
                    </a:cubicBezTo>
                    <a:cubicBezTo>
                      <a:pt x="97" y="101"/>
                      <a:pt x="97" y="101"/>
                      <a:pt x="97" y="101"/>
                    </a:cubicBezTo>
                    <a:cubicBezTo>
                      <a:pt x="98" y="102"/>
                      <a:pt x="98" y="102"/>
                      <a:pt x="98" y="103"/>
                    </a:cubicBezTo>
                    <a:cubicBezTo>
                      <a:pt x="98" y="103"/>
                      <a:pt x="98" y="103"/>
                      <a:pt x="98" y="103"/>
                    </a:cubicBezTo>
                    <a:cubicBezTo>
                      <a:pt x="98" y="103"/>
                      <a:pt x="98" y="103"/>
                      <a:pt x="99" y="103"/>
                    </a:cubicBezTo>
                    <a:cubicBezTo>
                      <a:pt x="99" y="104"/>
                      <a:pt x="99" y="104"/>
                      <a:pt x="99" y="104"/>
                    </a:cubicBezTo>
                    <a:cubicBezTo>
                      <a:pt x="99" y="103"/>
                      <a:pt x="99" y="103"/>
                      <a:pt x="99" y="103"/>
                    </a:cubicBezTo>
                    <a:cubicBezTo>
                      <a:pt x="100" y="103"/>
                      <a:pt x="101" y="103"/>
                      <a:pt x="102" y="103"/>
                    </a:cubicBezTo>
                    <a:cubicBezTo>
                      <a:pt x="102" y="102"/>
                      <a:pt x="102" y="102"/>
                      <a:pt x="102" y="102"/>
                    </a:cubicBezTo>
                    <a:cubicBezTo>
                      <a:pt x="102" y="100"/>
                      <a:pt x="102" y="100"/>
                      <a:pt x="102" y="100"/>
                    </a:cubicBezTo>
                    <a:cubicBezTo>
                      <a:pt x="103" y="102"/>
                      <a:pt x="103" y="102"/>
                      <a:pt x="103" y="102"/>
                    </a:cubicBezTo>
                    <a:cubicBezTo>
                      <a:pt x="103" y="102"/>
                      <a:pt x="103" y="102"/>
                      <a:pt x="103" y="102"/>
                    </a:cubicBezTo>
                    <a:cubicBezTo>
                      <a:pt x="104" y="102"/>
                      <a:pt x="104" y="102"/>
                      <a:pt x="104" y="102"/>
                    </a:cubicBezTo>
                    <a:cubicBezTo>
                      <a:pt x="104" y="102"/>
                      <a:pt x="104" y="102"/>
                      <a:pt x="104" y="102"/>
                    </a:cubicBezTo>
                    <a:cubicBezTo>
                      <a:pt x="105" y="102"/>
                      <a:pt x="106" y="102"/>
                      <a:pt x="107" y="102"/>
                    </a:cubicBezTo>
                    <a:cubicBezTo>
                      <a:pt x="107" y="102"/>
                      <a:pt x="107" y="102"/>
                      <a:pt x="107" y="102"/>
                    </a:cubicBezTo>
                    <a:cubicBezTo>
                      <a:pt x="113" y="94"/>
                      <a:pt x="113" y="94"/>
                      <a:pt x="113" y="94"/>
                    </a:cubicBezTo>
                    <a:cubicBezTo>
                      <a:pt x="113" y="93"/>
                      <a:pt x="113" y="93"/>
                      <a:pt x="113" y="93"/>
                    </a:cubicBezTo>
                    <a:cubicBezTo>
                      <a:pt x="114" y="92"/>
                      <a:pt x="115" y="92"/>
                      <a:pt x="116" y="91"/>
                    </a:cubicBezTo>
                    <a:cubicBezTo>
                      <a:pt x="116" y="91"/>
                      <a:pt x="117" y="90"/>
                      <a:pt x="117" y="90"/>
                    </a:cubicBezTo>
                    <a:cubicBezTo>
                      <a:pt x="119" y="90"/>
                      <a:pt x="119" y="89"/>
                      <a:pt x="120" y="88"/>
                    </a:cubicBezTo>
                    <a:cubicBezTo>
                      <a:pt x="120" y="87"/>
                      <a:pt x="120" y="87"/>
                      <a:pt x="121" y="87"/>
                    </a:cubicBezTo>
                    <a:cubicBezTo>
                      <a:pt x="121" y="86"/>
                      <a:pt x="121" y="86"/>
                      <a:pt x="121" y="86"/>
                    </a:cubicBezTo>
                    <a:cubicBezTo>
                      <a:pt x="121" y="86"/>
                      <a:pt x="122" y="85"/>
                      <a:pt x="122" y="84"/>
                    </a:cubicBezTo>
                    <a:cubicBezTo>
                      <a:pt x="122" y="84"/>
                      <a:pt x="122" y="84"/>
                      <a:pt x="122" y="84"/>
                    </a:cubicBezTo>
                    <a:cubicBezTo>
                      <a:pt x="122" y="84"/>
                      <a:pt x="122" y="84"/>
                      <a:pt x="122" y="84"/>
                    </a:cubicBezTo>
                    <a:cubicBezTo>
                      <a:pt x="122" y="83"/>
                      <a:pt x="122" y="83"/>
                      <a:pt x="122" y="83"/>
                    </a:cubicBezTo>
                    <a:cubicBezTo>
                      <a:pt x="123" y="82"/>
                      <a:pt x="123" y="81"/>
                      <a:pt x="124" y="80"/>
                    </a:cubicBezTo>
                    <a:cubicBezTo>
                      <a:pt x="124" y="79"/>
                      <a:pt x="125" y="79"/>
                      <a:pt x="125" y="79"/>
                    </a:cubicBezTo>
                    <a:cubicBezTo>
                      <a:pt x="126" y="78"/>
                      <a:pt x="127" y="78"/>
                      <a:pt x="128" y="77"/>
                    </a:cubicBezTo>
                    <a:cubicBezTo>
                      <a:pt x="128" y="77"/>
                      <a:pt x="128" y="77"/>
                      <a:pt x="129" y="77"/>
                    </a:cubicBezTo>
                    <a:cubicBezTo>
                      <a:pt x="129" y="77"/>
                      <a:pt x="129" y="77"/>
                      <a:pt x="129" y="77"/>
                    </a:cubicBezTo>
                    <a:cubicBezTo>
                      <a:pt x="128" y="76"/>
                      <a:pt x="128" y="75"/>
                      <a:pt x="129" y="74"/>
                    </a:cubicBezTo>
                    <a:cubicBezTo>
                      <a:pt x="129" y="74"/>
                      <a:pt x="129" y="74"/>
                      <a:pt x="129" y="74"/>
                    </a:cubicBezTo>
                    <a:cubicBezTo>
                      <a:pt x="129" y="74"/>
                      <a:pt x="129" y="74"/>
                      <a:pt x="129" y="73"/>
                    </a:cubicBezTo>
                    <a:cubicBezTo>
                      <a:pt x="130" y="73"/>
                      <a:pt x="130" y="72"/>
                      <a:pt x="131" y="72"/>
                    </a:cubicBezTo>
                    <a:cubicBezTo>
                      <a:pt x="131" y="71"/>
                      <a:pt x="132" y="71"/>
                      <a:pt x="133" y="70"/>
                    </a:cubicBezTo>
                    <a:cubicBezTo>
                      <a:pt x="133" y="70"/>
                      <a:pt x="133" y="70"/>
                      <a:pt x="133" y="70"/>
                    </a:cubicBezTo>
                    <a:cubicBezTo>
                      <a:pt x="134" y="69"/>
                      <a:pt x="134" y="69"/>
                      <a:pt x="135" y="68"/>
                    </a:cubicBezTo>
                    <a:cubicBezTo>
                      <a:pt x="136" y="68"/>
                      <a:pt x="136" y="68"/>
                      <a:pt x="136" y="68"/>
                    </a:cubicBezTo>
                    <a:cubicBezTo>
                      <a:pt x="136" y="67"/>
                      <a:pt x="136" y="67"/>
                      <a:pt x="136" y="67"/>
                    </a:cubicBezTo>
                    <a:cubicBezTo>
                      <a:pt x="135" y="64"/>
                      <a:pt x="135" y="64"/>
                      <a:pt x="135" y="64"/>
                    </a:cubicBezTo>
                    <a:cubicBezTo>
                      <a:pt x="135" y="64"/>
                      <a:pt x="135" y="63"/>
                      <a:pt x="135" y="62"/>
                    </a:cubicBezTo>
                    <a:cubicBezTo>
                      <a:pt x="135" y="61"/>
                      <a:pt x="135" y="61"/>
                      <a:pt x="135" y="61"/>
                    </a:cubicBezTo>
                    <a:cubicBezTo>
                      <a:pt x="133" y="61"/>
                      <a:pt x="133" y="61"/>
                      <a:pt x="133" y="61"/>
                    </a:cubicBezTo>
                    <a:cubicBezTo>
                      <a:pt x="135" y="61"/>
                      <a:pt x="135" y="61"/>
                      <a:pt x="135" y="61"/>
                    </a:cubicBezTo>
                    <a:cubicBezTo>
                      <a:pt x="135" y="60"/>
                      <a:pt x="135" y="60"/>
                      <a:pt x="135" y="60"/>
                    </a:cubicBezTo>
                    <a:cubicBezTo>
                      <a:pt x="135" y="60"/>
                      <a:pt x="135" y="60"/>
                      <a:pt x="135" y="59"/>
                    </a:cubicBezTo>
                    <a:cubicBezTo>
                      <a:pt x="135" y="59"/>
                      <a:pt x="136" y="58"/>
                      <a:pt x="137" y="57"/>
                    </a:cubicBezTo>
                    <a:cubicBezTo>
                      <a:pt x="137" y="57"/>
                      <a:pt x="137" y="57"/>
                      <a:pt x="138" y="57"/>
                    </a:cubicBezTo>
                    <a:cubicBezTo>
                      <a:pt x="138" y="57"/>
                      <a:pt x="138" y="57"/>
                      <a:pt x="138" y="57"/>
                    </a:cubicBezTo>
                    <a:cubicBezTo>
                      <a:pt x="138" y="56"/>
                      <a:pt x="138" y="56"/>
                      <a:pt x="138" y="56"/>
                    </a:cubicBezTo>
                    <a:cubicBezTo>
                      <a:pt x="138" y="56"/>
                      <a:pt x="139" y="56"/>
                      <a:pt x="139" y="56"/>
                    </a:cubicBezTo>
                    <a:cubicBezTo>
                      <a:pt x="139" y="56"/>
                      <a:pt x="140" y="56"/>
                      <a:pt x="140" y="56"/>
                    </a:cubicBezTo>
                    <a:cubicBezTo>
                      <a:pt x="140" y="56"/>
                      <a:pt x="141" y="56"/>
                      <a:pt x="141" y="56"/>
                    </a:cubicBezTo>
                    <a:cubicBezTo>
                      <a:pt x="141" y="55"/>
                      <a:pt x="141" y="55"/>
                      <a:pt x="141" y="55"/>
                    </a:cubicBezTo>
                    <a:cubicBezTo>
                      <a:pt x="142" y="55"/>
                      <a:pt x="143" y="55"/>
                      <a:pt x="143" y="54"/>
                    </a:cubicBezTo>
                    <a:cubicBezTo>
                      <a:pt x="143" y="54"/>
                      <a:pt x="143" y="54"/>
                      <a:pt x="143" y="54"/>
                    </a:cubicBezTo>
                    <a:cubicBezTo>
                      <a:pt x="143" y="54"/>
                      <a:pt x="143" y="54"/>
                      <a:pt x="143" y="54"/>
                    </a:cubicBezTo>
                    <a:cubicBezTo>
                      <a:pt x="142" y="54"/>
                      <a:pt x="142" y="54"/>
                      <a:pt x="142" y="54"/>
                    </a:cubicBezTo>
                    <a:cubicBezTo>
                      <a:pt x="142" y="54"/>
                      <a:pt x="142" y="54"/>
                      <a:pt x="142" y="54"/>
                    </a:cubicBezTo>
                    <a:cubicBezTo>
                      <a:pt x="142" y="53"/>
                      <a:pt x="141" y="53"/>
                      <a:pt x="141" y="53"/>
                    </a:cubicBezTo>
                    <a:cubicBezTo>
                      <a:pt x="141" y="53"/>
                      <a:pt x="141" y="53"/>
                      <a:pt x="141" y="53"/>
                    </a:cubicBezTo>
                    <a:cubicBezTo>
                      <a:pt x="140" y="53"/>
                      <a:pt x="140" y="53"/>
                      <a:pt x="140" y="53"/>
                    </a:cubicBezTo>
                    <a:cubicBezTo>
                      <a:pt x="138" y="53"/>
                      <a:pt x="138" y="53"/>
                      <a:pt x="137" y="52"/>
                    </a:cubicBezTo>
                    <a:cubicBezTo>
                      <a:pt x="137" y="52"/>
                      <a:pt x="137" y="52"/>
                      <a:pt x="137" y="51"/>
                    </a:cubicBezTo>
                    <a:cubicBezTo>
                      <a:pt x="136" y="51"/>
                      <a:pt x="136" y="50"/>
                      <a:pt x="136" y="50"/>
                    </a:cubicBezTo>
                    <a:cubicBezTo>
                      <a:pt x="135" y="50"/>
                      <a:pt x="134" y="50"/>
                      <a:pt x="133" y="48"/>
                    </a:cubicBezTo>
                    <a:cubicBezTo>
                      <a:pt x="133" y="48"/>
                      <a:pt x="133" y="48"/>
                      <a:pt x="133" y="48"/>
                    </a:cubicBezTo>
                    <a:cubicBezTo>
                      <a:pt x="133" y="48"/>
                      <a:pt x="132" y="47"/>
                      <a:pt x="132" y="47"/>
                    </a:cubicBezTo>
                    <a:cubicBezTo>
                      <a:pt x="132" y="47"/>
                      <a:pt x="132" y="47"/>
                      <a:pt x="132" y="47"/>
                    </a:cubicBezTo>
                    <a:cubicBezTo>
                      <a:pt x="131" y="46"/>
                      <a:pt x="131" y="45"/>
                      <a:pt x="130" y="45"/>
                    </a:cubicBezTo>
                    <a:cubicBezTo>
                      <a:pt x="127" y="45"/>
                      <a:pt x="127" y="45"/>
                      <a:pt x="127" y="45"/>
                    </a:cubicBezTo>
                    <a:cubicBezTo>
                      <a:pt x="130" y="44"/>
                      <a:pt x="130" y="44"/>
                      <a:pt x="130" y="44"/>
                    </a:cubicBezTo>
                    <a:cubicBezTo>
                      <a:pt x="130" y="44"/>
                      <a:pt x="130" y="44"/>
                      <a:pt x="130" y="44"/>
                    </a:cubicBezTo>
                    <a:cubicBezTo>
                      <a:pt x="130" y="43"/>
                      <a:pt x="130" y="43"/>
                      <a:pt x="130" y="42"/>
                    </a:cubicBezTo>
                    <a:cubicBezTo>
                      <a:pt x="130" y="42"/>
                      <a:pt x="130" y="42"/>
                      <a:pt x="131" y="41"/>
                    </a:cubicBezTo>
                    <a:cubicBezTo>
                      <a:pt x="131" y="40"/>
                      <a:pt x="131" y="40"/>
                      <a:pt x="131" y="40"/>
                    </a:cubicBezTo>
                    <a:cubicBezTo>
                      <a:pt x="131" y="40"/>
                      <a:pt x="131" y="40"/>
                      <a:pt x="131" y="40"/>
                    </a:cubicBezTo>
                    <a:cubicBezTo>
                      <a:pt x="130" y="39"/>
                      <a:pt x="130" y="39"/>
                      <a:pt x="130" y="39"/>
                    </a:cubicBezTo>
                    <a:cubicBezTo>
                      <a:pt x="130" y="38"/>
                      <a:pt x="130" y="38"/>
                      <a:pt x="130" y="37"/>
                    </a:cubicBezTo>
                    <a:cubicBezTo>
                      <a:pt x="130" y="37"/>
                      <a:pt x="130" y="37"/>
                      <a:pt x="130" y="37"/>
                    </a:cubicBezTo>
                    <a:cubicBezTo>
                      <a:pt x="130" y="37"/>
                      <a:pt x="130" y="37"/>
                      <a:pt x="130" y="37"/>
                    </a:cubicBezTo>
                    <a:cubicBezTo>
                      <a:pt x="130" y="37"/>
                      <a:pt x="130" y="37"/>
                      <a:pt x="130" y="37"/>
                    </a:cubicBezTo>
                    <a:cubicBezTo>
                      <a:pt x="130" y="36"/>
                      <a:pt x="130" y="36"/>
                      <a:pt x="130" y="36"/>
                    </a:cubicBezTo>
                    <a:cubicBezTo>
                      <a:pt x="130" y="36"/>
                      <a:pt x="130" y="36"/>
                      <a:pt x="131" y="35"/>
                    </a:cubicBezTo>
                    <a:cubicBezTo>
                      <a:pt x="131" y="35"/>
                      <a:pt x="131" y="35"/>
                      <a:pt x="131" y="35"/>
                    </a:cubicBezTo>
                    <a:cubicBezTo>
                      <a:pt x="131" y="35"/>
                      <a:pt x="131" y="35"/>
                      <a:pt x="131" y="35"/>
                    </a:cubicBezTo>
                    <a:cubicBezTo>
                      <a:pt x="130" y="35"/>
                      <a:pt x="130" y="35"/>
                      <a:pt x="130" y="35"/>
                    </a:cubicBezTo>
                    <a:cubicBezTo>
                      <a:pt x="128" y="35"/>
                      <a:pt x="128" y="35"/>
                      <a:pt x="128" y="35"/>
                    </a:cubicBezTo>
                    <a:cubicBezTo>
                      <a:pt x="129" y="33"/>
                      <a:pt x="129" y="33"/>
                      <a:pt x="129" y="33"/>
                    </a:cubicBezTo>
                    <a:cubicBezTo>
                      <a:pt x="129" y="33"/>
                      <a:pt x="129" y="33"/>
                      <a:pt x="129" y="33"/>
                    </a:cubicBezTo>
                    <a:cubicBezTo>
                      <a:pt x="129" y="33"/>
                      <a:pt x="129" y="33"/>
                      <a:pt x="129" y="33"/>
                    </a:cubicBezTo>
                    <a:cubicBezTo>
                      <a:pt x="129" y="32"/>
                      <a:pt x="129" y="32"/>
                      <a:pt x="129" y="32"/>
                    </a:cubicBezTo>
                    <a:cubicBezTo>
                      <a:pt x="129" y="32"/>
                      <a:pt x="129" y="32"/>
                      <a:pt x="128" y="32"/>
                    </a:cubicBezTo>
                    <a:cubicBezTo>
                      <a:pt x="128" y="31"/>
                      <a:pt x="128" y="31"/>
                      <a:pt x="128" y="31"/>
                    </a:cubicBezTo>
                    <a:cubicBezTo>
                      <a:pt x="128" y="31"/>
                      <a:pt x="128" y="31"/>
                      <a:pt x="127" y="30"/>
                    </a:cubicBezTo>
                    <a:cubicBezTo>
                      <a:pt x="127" y="30"/>
                      <a:pt x="128" y="29"/>
                      <a:pt x="128" y="28"/>
                    </a:cubicBezTo>
                    <a:cubicBezTo>
                      <a:pt x="128" y="28"/>
                      <a:pt x="129" y="27"/>
                      <a:pt x="129" y="27"/>
                    </a:cubicBezTo>
                    <a:cubicBezTo>
                      <a:pt x="129" y="27"/>
                      <a:pt x="129" y="26"/>
                      <a:pt x="129" y="26"/>
                    </a:cubicBezTo>
                    <a:cubicBezTo>
                      <a:pt x="130" y="26"/>
                      <a:pt x="130" y="25"/>
                      <a:pt x="131" y="25"/>
                    </a:cubicBezTo>
                    <a:cubicBezTo>
                      <a:pt x="132" y="25"/>
                      <a:pt x="134" y="25"/>
                      <a:pt x="135" y="25"/>
                    </a:cubicBezTo>
                    <a:cubicBezTo>
                      <a:pt x="135" y="25"/>
                      <a:pt x="135" y="25"/>
                      <a:pt x="135" y="25"/>
                    </a:cubicBezTo>
                    <a:cubicBezTo>
                      <a:pt x="136" y="25"/>
                      <a:pt x="136" y="25"/>
                      <a:pt x="137" y="25"/>
                    </a:cubicBezTo>
                    <a:cubicBezTo>
                      <a:pt x="138" y="25"/>
                      <a:pt x="139" y="25"/>
                      <a:pt x="140" y="25"/>
                    </a:cubicBezTo>
                    <a:cubicBezTo>
                      <a:pt x="141" y="25"/>
                      <a:pt x="141" y="25"/>
                      <a:pt x="141" y="25"/>
                    </a:cubicBezTo>
                    <a:cubicBezTo>
                      <a:pt x="141" y="25"/>
                      <a:pt x="141" y="25"/>
                      <a:pt x="142" y="25"/>
                    </a:cubicBezTo>
                    <a:cubicBezTo>
                      <a:pt x="143" y="26"/>
                      <a:pt x="143" y="26"/>
                      <a:pt x="143" y="26"/>
                    </a:cubicBezTo>
                    <a:cubicBezTo>
                      <a:pt x="144" y="26"/>
                      <a:pt x="145" y="26"/>
                      <a:pt x="145" y="26"/>
                    </a:cubicBezTo>
                    <a:cubicBezTo>
                      <a:pt x="145" y="26"/>
                      <a:pt x="146" y="26"/>
                      <a:pt x="146" y="27"/>
                    </a:cubicBezTo>
                    <a:cubicBezTo>
                      <a:pt x="146" y="27"/>
                      <a:pt x="146" y="27"/>
                      <a:pt x="146" y="27"/>
                    </a:cubicBezTo>
                    <a:cubicBezTo>
                      <a:pt x="147" y="27"/>
                      <a:pt x="147" y="27"/>
                      <a:pt x="147" y="27"/>
                    </a:cubicBezTo>
                    <a:cubicBezTo>
                      <a:pt x="147" y="27"/>
                      <a:pt x="148" y="27"/>
                      <a:pt x="148" y="27"/>
                    </a:cubicBezTo>
                    <a:cubicBezTo>
                      <a:pt x="149" y="27"/>
                      <a:pt x="150" y="27"/>
                      <a:pt x="151" y="26"/>
                    </a:cubicBezTo>
                    <a:cubicBezTo>
                      <a:pt x="152" y="26"/>
                      <a:pt x="152" y="26"/>
                      <a:pt x="152" y="26"/>
                    </a:cubicBezTo>
                    <a:cubicBezTo>
                      <a:pt x="153" y="25"/>
                      <a:pt x="153" y="25"/>
                      <a:pt x="153" y="25"/>
                    </a:cubicBezTo>
                    <a:cubicBezTo>
                      <a:pt x="154" y="25"/>
                      <a:pt x="154" y="25"/>
                      <a:pt x="155" y="25"/>
                    </a:cubicBezTo>
                    <a:cubicBezTo>
                      <a:pt x="155" y="25"/>
                      <a:pt x="155" y="25"/>
                      <a:pt x="156" y="25"/>
                    </a:cubicBezTo>
                    <a:cubicBezTo>
                      <a:pt x="156" y="25"/>
                      <a:pt x="156" y="25"/>
                      <a:pt x="156" y="25"/>
                    </a:cubicBezTo>
                    <a:cubicBezTo>
                      <a:pt x="156" y="25"/>
                      <a:pt x="156" y="25"/>
                      <a:pt x="156" y="25"/>
                    </a:cubicBezTo>
                    <a:cubicBezTo>
                      <a:pt x="157" y="25"/>
                      <a:pt x="157" y="25"/>
                      <a:pt x="157" y="25"/>
                    </a:cubicBezTo>
                    <a:cubicBezTo>
                      <a:pt x="158" y="24"/>
                      <a:pt x="158" y="24"/>
                      <a:pt x="159" y="23"/>
                    </a:cubicBezTo>
                    <a:cubicBezTo>
                      <a:pt x="159" y="23"/>
                      <a:pt x="159" y="23"/>
                      <a:pt x="159" y="23"/>
                    </a:cubicBezTo>
                    <a:cubicBezTo>
                      <a:pt x="160" y="22"/>
                      <a:pt x="160" y="21"/>
                      <a:pt x="161" y="20"/>
                    </a:cubicBezTo>
                    <a:cubicBezTo>
                      <a:pt x="163" y="19"/>
                      <a:pt x="163" y="19"/>
                      <a:pt x="163" y="19"/>
                    </a:cubicBezTo>
                    <a:cubicBezTo>
                      <a:pt x="164" y="19"/>
                      <a:pt x="164" y="19"/>
                      <a:pt x="164" y="19"/>
                    </a:cubicBezTo>
                    <a:cubicBezTo>
                      <a:pt x="161" y="19"/>
                      <a:pt x="161" y="19"/>
                      <a:pt x="161" y="19"/>
                    </a:cubicBezTo>
                    <a:cubicBezTo>
                      <a:pt x="164" y="18"/>
                      <a:pt x="164" y="18"/>
                      <a:pt x="164" y="18"/>
                    </a:cubicBezTo>
                    <a:cubicBezTo>
                      <a:pt x="162" y="18"/>
                      <a:pt x="160" y="17"/>
                      <a:pt x="159" y="16"/>
                    </a:cubicBezTo>
                    <a:cubicBezTo>
                      <a:pt x="158" y="16"/>
                      <a:pt x="157" y="15"/>
                      <a:pt x="157" y="15"/>
                    </a:cubicBezTo>
                    <a:cubicBezTo>
                      <a:pt x="156" y="15"/>
                      <a:pt x="156" y="14"/>
                      <a:pt x="156" y="14"/>
                    </a:cubicBezTo>
                    <a:cubicBezTo>
                      <a:pt x="155" y="14"/>
                      <a:pt x="155" y="14"/>
                      <a:pt x="154" y="14"/>
                    </a:cubicBezTo>
                    <a:cubicBezTo>
                      <a:pt x="154" y="14"/>
                      <a:pt x="154" y="14"/>
                      <a:pt x="154" y="14"/>
                    </a:cubicBezTo>
                    <a:cubicBezTo>
                      <a:pt x="154" y="14"/>
                      <a:pt x="154" y="14"/>
                      <a:pt x="154" y="14"/>
                    </a:cubicBezTo>
                    <a:cubicBezTo>
                      <a:pt x="153" y="14"/>
                      <a:pt x="152" y="14"/>
                      <a:pt x="152" y="14"/>
                    </a:cubicBezTo>
                    <a:cubicBezTo>
                      <a:pt x="152" y="14"/>
                      <a:pt x="152" y="13"/>
                      <a:pt x="151" y="13"/>
                    </a:cubicBezTo>
                    <a:cubicBezTo>
                      <a:pt x="151" y="13"/>
                      <a:pt x="151" y="13"/>
                      <a:pt x="151" y="13"/>
                    </a:cubicBezTo>
                    <a:cubicBezTo>
                      <a:pt x="151" y="13"/>
                      <a:pt x="151" y="13"/>
                      <a:pt x="151" y="13"/>
                    </a:cubicBezTo>
                    <a:cubicBezTo>
                      <a:pt x="151" y="13"/>
                      <a:pt x="151" y="12"/>
                      <a:pt x="151" y="12"/>
                    </a:cubicBezTo>
                    <a:cubicBezTo>
                      <a:pt x="150" y="11"/>
                      <a:pt x="150" y="11"/>
                      <a:pt x="150" y="11"/>
                    </a:cubicBezTo>
                    <a:cubicBezTo>
                      <a:pt x="149" y="10"/>
                      <a:pt x="150" y="9"/>
                      <a:pt x="150" y="8"/>
                    </a:cubicBezTo>
                    <a:cubicBezTo>
                      <a:pt x="150" y="8"/>
                      <a:pt x="150" y="8"/>
                      <a:pt x="150" y="8"/>
                    </a:cubicBezTo>
                    <a:cubicBezTo>
                      <a:pt x="150" y="8"/>
                      <a:pt x="150" y="7"/>
                      <a:pt x="150" y="7"/>
                    </a:cubicBezTo>
                    <a:cubicBezTo>
                      <a:pt x="150" y="6"/>
                      <a:pt x="150" y="6"/>
                      <a:pt x="150" y="6"/>
                    </a:cubicBezTo>
                    <a:cubicBezTo>
                      <a:pt x="149" y="5"/>
                      <a:pt x="148" y="4"/>
                      <a:pt x="148" y="4"/>
                    </a:cubicBezTo>
                    <a:cubicBezTo>
                      <a:pt x="147" y="4"/>
                      <a:pt x="147" y="3"/>
                      <a:pt x="147" y="3"/>
                    </a:cubicBezTo>
                    <a:cubicBezTo>
                      <a:pt x="146" y="3"/>
                      <a:pt x="146" y="3"/>
                      <a:pt x="145" y="2"/>
                    </a:cubicBezTo>
                    <a:cubicBezTo>
                      <a:pt x="145" y="2"/>
                      <a:pt x="144" y="1"/>
                      <a:pt x="144" y="1"/>
                    </a:cubicBezTo>
                    <a:cubicBezTo>
                      <a:pt x="143" y="1"/>
                      <a:pt x="142" y="1"/>
                      <a:pt x="141" y="1"/>
                    </a:cubicBezTo>
                    <a:cubicBezTo>
                      <a:pt x="141" y="1"/>
                      <a:pt x="141" y="1"/>
                      <a:pt x="141" y="1"/>
                    </a:cubicBezTo>
                    <a:cubicBezTo>
                      <a:pt x="141" y="1"/>
                      <a:pt x="140" y="1"/>
                      <a:pt x="140" y="1"/>
                    </a:cubicBezTo>
                    <a:cubicBezTo>
                      <a:pt x="139" y="1"/>
                      <a:pt x="139" y="1"/>
                      <a:pt x="138" y="0"/>
                    </a:cubicBezTo>
                    <a:cubicBezTo>
                      <a:pt x="138" y="0"/>
                      <a:pt x="138" y="0"/>
                      <a:pt x="138" y="0"/>
                    </a:cubicBezTo>
                    <a:cubicBezTo>
                      <a:pt x="138" y="0"/>
                      <a:pt x="138" y="0"/>
                      <a:pt x="138" y="0"/>
                    </a:cubicBezTo>
                    <a:cubicBezTo>
                      <a:pt x="138" y="0"/>
                      <a:pt x="137" y="0"/>
                      <a:pt x="137" y="0"/>
                    </a:cubicBezTo>
                    <a:cubicBezTo>
                      <a:pt x="137" y="0"/>
                      <a:pt x="137" y="0"/>
                      <a:pt x="137" y="0"/>
                    </a:cubicBezTo>
                    <a:cubicBezTo>
                      <a:pt x="136" y="1"/>
                      <a:pt x="136" y="1"/>
                      <a:pt x="135" y="1"/>
                    </a:cubicBezTo>
                    <a:cubicBezTo>
                      <a:pt x="135" y="1"/>
                      <a:pt x="135" y="1"/>
                      <a:pt x="135" y="1"/>
                    </a:cubicBezTo>
                    <a:cubicBezTo>
                      <a:pt x="134" y="2"/>
                      <a:pt x="133" y="2"/>
                      <a:pt x="132" y="2"/>
                    </a:cubicBezTo>
                    <a:cubicBezTo>
                      <a:pt x="132" y="3"/>
                      <a:pt x="132" y="3"/>
                      <a:pt x="132" y="3"/>
                    </a:cubicBezTo>
                    <a:cubicBezTo>
                      <a:pt x="131" y="3"/>
                      <a:pt x="130" y="3"/>
                      <a:pt x="129" y="2"/>
                    </a:cubicBezTo>
                    <a:cubicBezTo>
                      <a:pt x="129" y="2"/>
                      <a:pt x="129" y="2"/>
                      <a:pt x="129" y="2"/>
                    </a:cubicBezTo>
                    <a:cubicBezTo>
                      <a:pt x="129" y="2"/>
                      <a:pt x="128" y="2"/>
                      <a:pt x="128" y="2"/>
                    </a:cubicBezTo>
                    <a:cubicBezTo>
                      <a:pt x="128" y="2"/>
                      <a:pt x="128" y="2"/>
                      <a:pt x="127" y="2"/>
                    </a:cubicBezTo>
                    <a:cubicBezTo>
                      <a:pt x="127" y="2"/>
                      <a:pt x="126" y="2"/>
                      <a:pt x="125" y="2"/>
                    </a:cubicBezTo>
                    <a:cubicBezTo>
                      <a:pt x="124" y="2"/>
                      <a:pt x="124" y="2"/>
                      <a:pt x="124" y="2"/>
                    </a:cubicBezTo>
                    <a:cubicBezTo>
                      <a:pt x="123" y="2"/>
                      <a:pt x="122" y="2"/>
                      <a:pt x="120" y="2"/>
                    </a:cubicBezTo>
                    <a:cubicBezTo>
                      <a:pt x="118" y="3"/>
                      <a:pt x="118" y="3"/>
                      <a:pt x="118" y="3"/>
                    </a:cubicBezTo>
                    <a:cubicBezTo>
                      <a:pt x="118" y="3"/>
                      <a:pt x="117" y="3"/>
                      <a:pt x="116" y="3"/>
                    </a:cubicBezTo>
                    <a:cubicBezTo>
                      <a:pt x="115" y="4"/>
                      <a:pt x="114" y="4"/>
                      <a:pt x="113" y="5"/>
                    </a:cubicBezTo>
                    <a:cubicBezTo>
                      <a:pt x="112" y="5"/>
                      <a:pt x="112" y="5"/>
                      <a:pt x="112" y="5"/>
                    </a:cubicBezTo>
                    <a:cubicBezTo>
                      <a:pt x="111" y="6"/>
                      <a:pt x="110" y="7"/>
                      <a:pt x="110" y="7"/>
                    </a:cubicBezTo>
                    <a:cubicBezTo>
                      <a:pt x="109" y="7"/>
                      <a:pt x="109" y="7"/>
                      <a:pt x="109" y="7"/>
                    </a:cubicBezTo>
                    <a:cubicBezTo>
                      <a:pt x="108" y="7"/>
                      <a:pt x="108" y="7"/>
                      <a:pt x="108" y="7"/>
                    </a:cubicBezTo>
                    <a:cubicBezTo>
                      <a:pt x="108" y="7"/>
                      <a:pt x="107" y="7"/>
                      <a:pt x="107" y="7"/>
                    </a:cubicBezTo>
                    <a:cubicBezTo>
                      <a:pt x="107" y="7"/>
                      <a:pt x="107" y="7"/>
                      <a:pt x="107" y="7"/>
                    </a:cubicBezTo>
                    <a:cubicBezTo>
                      <a:pt x="106" y="8"/>
                      <a:pt x="105" y="9"/>
                      <a:pt x="104" y="11"/>
                    </a:cubicBezTo>
                    <a:cubicBezTo>
                      <a:pt x="104" y="11"/>
                      <a:pt x="105" y="12"/>
                      <a:pt x="105" y="13"/>
                    </a:cubicBezTo>
                    <a:cubicBezTo>
                      <a:pt x="105" y="13"/>
                      <a:pt x="105" y="13"/>
                      <a:pt x="106" y="13"/>
                    </a:cubicBezTo>
                    <a:cubicBezTo>
                      <a:pt x="106" y="13"/>
                      <a:pt x="106" y="14"/>
                      <a:pt x="106" y="14"/>
                    </a:cubicBezTo>
                    <a:cubicBezTo>
                      <a:pt x="106" y="14"/>
                      <a:pt x="106" y="14"/>
                      <a:pt x="106" y="15"/>
                    </a:cubicBezTo>
                    <a:cubicBezTo>
                      <a:pt x="107" y="15"/>
                      <a:pt x="107" y="15"/>
                      <a:pt x="107" y="15"/>
                    </a:cubicBezTo>
                    <a:cubicBezTo>
                      <a:pt x="108" y="14"/>
                      <a:pt x="108" y="14"/>
                      <a:pt x="108" y="14"/>
                    </a:cubicBezTo>
                    <a:cubicBezTo>
                      <a:pt x="107" y="15"/>
                      <a:pt x="107" y="15"/>
                      <a:pt x="107" y="15"/>
                    </a:cubicBezTo>
                    <a:cubicBezTo>
                      <a:pt x="107" y="16"/>
                      <a:pt x="107" y="16"/>
                      <a:pt x="107" y="16"/>
                    </a:cubicBezTo>
                    <a:cubicBezTo>
                      <a:pt x="107" y="17"/>
                      <a:pt x="107" y="17"/>
                      <a:pt x="107" y="18"/>
                    </a:cubicBezTo>
                    <a:cubicBezTo>
                      <a:pt x="107" y="19"/>
                      <a:pt x="107" y="19"/>
                      <a:pt x="107" y="19"/>
                    </a:cubicBezTo>
                    <a:cubicBezTo>
                      <a:pt x="107" y="19"/>
                      <a:pt x="107" y="19"/>
                      <a:pt x="107" y="19"/>
                    </a:cubicBezTo>
                    <a:cubicBezTo>
                      <a:pt x="108" y="19"/>
                      <a:pt x="108" y="19"/>
                      <a:pt x="108" y="19"/>
                    </a:cubicBezTo>
                    <a:cubicBezTo>
                      <a:pt x="108" y="20"/>
                      <a:pt x="108" y="20"/>
                      <a:pt x="108" y="21"/>
                    </a:cubicBezTo>
                    <a:cubicBezTo>
                      <a:pt x="108" y="21"/>
                      <a:pt x="108" y="21"/>
                      <a:pt x="108" y="21"/>
                    </a:cubicBezTo>
                    <a:cubicBezTo>
                      <a:pt x="108" y="21"/>
                      <a:pt x="108" y="21"/>
                      <a:pt x="107" y="22"/>
                    </a:cubicBezTo>
                    <a:cubicBezTo>
                      <a:pt x="107" y="22"/>
                      <a:pt x="107" y="22"/>
                      <a:pt x="107" y="22"/>
                    </a:cubicBezTo>
                    <a:cubicBezTo>
                      <a:pt x="107" y="22"/>
                      <a:pt x="107" y="22"/>
                      <a:pt x="107" y="22"/>
                    </a:cubicBezTo>
                    <a:cubicBezTo>
                      <a:pt x="106" y="24"/>
                      <a:pt x="105" y="24"/>
                      <a:pt x="105" y="25"/>
                    </a:cubicBezTo>
                    <a:cubicBezTo>
                      <a:pt x="105" y="25"/>
                      <a:pt x="104" y="25"/>
                      <a:pt x="104" y="25"/>
                    </a:cubicBezTo>
                    <a:cubicBezTo>
                      <a:pt x="104" y="25"/>
                      <a:pt x="104" y="25"/>
                      <a:pt x="104" y="26"/>
                    </a:cubicBezTo>
                    <a:cubicBezTo>
                      <a:pt x="103" y="26"/>
                      <a:pt x="103" y="27"/>
                      <a:pt x="102" y="27"/>
                    </a:cubicBezTo>
                    <a:cubicBezTo>
                      <a:pt x="102" y="28"/>
                      <a:pt x="102" y="28"/>
                      <a:pt x="102" y="28"/>
                    </a:cubicBezTo>
                    <a:cubicBezTo>
                      <a:pt x="101" y="28"/>
                      <a:pt x="101" y="28"/>
                      <a:pt x="101" y="29"/>
                    </a:cubicBezTo>
                    <a:cubicBezTo>
                      <a:pt x="102" y="29"/>
                      <a:pt x="102" y="29"/>
                      <a:pt x="102" y="29"/>
                    </a:cubicBezTo>
                    <a:cubicBezTo>
                      <a:pt x="102" y="29"/>
                      <a:pt x="102" y="29"/>
                      <a:pt x="102" y="29"/>
                    </a:cubicBezTo>
                    <a:cubicBezTo>
                      <a:pt x="102" y="29"/>
                      <a:pt x="102" y="30"/>
                      <a:pt x="103" y="30"/>
                    </a:cubicBezTo>
                    <a:cubicBezTo>
                      <a:pt x="103" y="31"/>
                      <a:pt x="103" y="31"/>
                      <a:pt x="103" y="31"/>
                    </a:cubicBezTo>
                    <a:cubicBezTo>
                      <a:pt x="103" y="32"/>
                      <a:pt x="103" y="32"/>
                      <a:pt x="103" y="32"/>
                    </a:cubicBezTo>
                    <a:cubicBezTo>
                      <a:pt x="102" y="32"/>
                      <a:pt x="102" y="33"/>
                      <a:pt x="102" y="33"/>
                    </a:cubicBezTo>
                    <a:cubicBezTo>
                      <a:pt x="102" y="33"/>
                      <a:pt x="102" y="33"/>
                      <a:pt x="102" y="33"/>
                    </a:cubicBezTo>
                    <a:cubicBezTo>
                      <a:pt x="102" y="33"/>
                      <a:pt x="102" y="33"/>
                      <a:pt x="102" y="33"/>
                    </a:cubicBezTo>
                    <a:cubicBezTo>
                      <a:pt x="102" y="34"/>
                      <a:pt x="101" y="34"/>
                      <a:pt x="100" y="35"/>
                    </a:cubicBezTo>
                    <a:cubicBezTo>
                      <a:pt x="99" y="36"/>
                      <a:pt x="96" y="36"/>
                      <a:pt x="94" y="36"/>
                    </a:cubicBezTo>
                    <a:cubicBezTo>
                      <a:pt x="94" y="36"/>
                      <a:pt x="94" y="36"/>
                      <a:pt x="94" y="36"/>
                    </a:cubicBezTo>
                    <a:cubicBezTo>
                      <a:pt x="94" y="36"/>
                      <a:pt x="93" y="36"/>
                      <a:pt x="93" y="36"/>
                    </a:cubicBezTo>
                    <a:cubicBezTo>
                      <a:pt x="92" y="35"/>
                      <a:pt x="91" y="35"/>
                      <a:pt x="90" y="35"/>
                    </a:cubicBezTo>
                    <a:cubicBezTo>
                      <a:pt x="91" y="36"/>
                      <a:pt x="91" y="36"/>
                      <a:pt x="91" y="36"/>
                    </a:cubicBezTo>
                    <a:cubicBezTo>
                      <a:pt x="91" y="36"/>
                      <a:pt x="91" y="36"/>
                      <a:pt x="92" y="37"/>
                    </a:cubicBezTo>
                    <a:cubicBezTo>
                      <a:pt x="92" y="38"/>
                      <a:pt x="92" y="38"/>
                      <a:pt x="92" y="38"/>
                    </a:cubicBezTo>
                    <a:cubicBezTo>
                      <a:pt x="94" y="41"/>
                      <a:pt x="95" y="42"/>
                      <a:pt x="94" y="43"/>
                    </a:cubicBezTo>
                    <a:cubicBezTo>
                      <a:pt x="94" y="43"/>
                      <a:pt x="94" y="43"/>
                      <a:pt x="94" y="43"/>
                    </a:cubicBezTo>
                    <a:cubicBezTo>
                      <a:pt x="94" y="43"/>
                      <a:pt x="94" y="43"/>
                      <a:pt x="93" y="43"/>
                    </a:cubicBezTo>
                    <a:cubicBezTo>
                      <a:pt x="93" y="44"/>
                      <a:pt x="93" y="44"/>
                      <a:pt x="93" y="44"/>
                    </a:cubicBezTo>
                    <a:cubicBezTo>
                      <a:pt x="93" y="44"/>
                      <a:pt x="91" y="45"/>
                      <a:pt x="90" y="46"/>
                    </a:cubicBezTo>
                    <a:cubicBezTo>
                      <a:pt x="90" y="48"/>
                      <a:pt x="90" y="48"/>
                      <a:pt x="90" y="48"/>
                    </a:cubicBezTo>
                    <a:cubicBezTo>
                      <a:pt x="89" y="46"/>
                      <a:pt x="89" y="46"/>
                      <a:pt x="89" y="46"/>
                    </a:cubicBezTo>
                    <a:cubicBezTo>
                      <a:pt x="89" y="46"/>
                      <a:pt x="89" y="46"/>
                      <a:pt x="89" y="46"/>
                    </a:cubicBezTo>
                    <a:cubicBezTo>
                      <a:pt x="89" y="46"/>
                      <a:pt x="88" y="46"/>
                      <a:pt x="88" y="46"/>
                    </a:cubicBezTo>
                    <a:cubicBezTo>
                      <a:pt x="88" y="46"/>
                      <a:pt x="88" y="46"/>
                      <a:pt x="88" y="46"/>
                    </a:cubicBezTo>
                    <a:cubicBezTo>
                      <a:pt x="88" y="46"/>
                      <a:pt x="88" y="46"/>
                      <a:pt x="88" y="46"/>
                    </a:cubicBezTo>
                    <a:cubicBezTo>
                      <a:pt x="87" y="46"/>
                      <a:pt x="87" y="46"/>
                      <a:pt x="87" y="46"/>
                    </a:cubicBezTo>
                    <a:cubicBezTo>
                      <a:pt x="87" y="46"/>
                      <a:pt x="87" y="46"/>
                      <a:pt x="87" y="46"/>
                    </a:cubicBezTo>
                    <a:cubicBezTo>
                      <a:pt x="87" y="46"/>
                      <a:pt x="87" y="46"/>
                      <a:pt x="87" y="46"/>
                    </a:cubicBezTo>
                    <a:cubicBezTo>
                      <a:pt x="86" y="46"/>
                      <a:pt x="86" y="46"/>
                      <a:pt x="86" y="46"/>
                    </a:cubicBezTo>
                    <a:cubicBezTo>
                      <a:pt x="86" y="46"/>
                      <a:pt x="86" y="46"/>
                      <a:pt x="86" y="46"/>
                    </a:cubicBezTo>
                    <a:cubicBezTo>
                      <a:pt x="86" y="46"/>
                      <a:pt x="86" y="46"/>
                      <a:pt x="86" y="46"/>
                    </a:cubicBezTo>
                    <a:cubicBezTo>
                      <a:pt x="86" y="47"/>
                      <a:pt x="86" y="47"/>
                      <a:pt x="86" y="48"/>
                    </a:cubicBezTo>
                    <a:cubicBezTo>
                      <a:pt x="86" y="48"/>
                      <a:pt x="86" y="49"/>
                      <a:pt x="85" y="49"/>
                    </a:cubicBezTo>
                    <a:cubicBezTo>
                      <a:pt x="85" y="50"/>
                      <a:pt x="85" y="50"/>
                      <a:pt x="85" y="50"/>
                    </a:cubicBezTo>
                    <a:cubicBezTo>
                      <a:pt x="85" y="50"/>
                      <a:pt x="85" y="50"/>
                      <a:pt x="85" y="50"/>
                    </a:cubicBezTo>
                    <a:cubicBezTo>
                      <a:pt x="85" y="51"/>
                      <a:pt x="84" y="51"/>
                      <a:pt x="84" y="52"/>
                    </a:cubicBezTo>
                    <a:cubicBezTo>
                      <a:pt x="84" y="52"/>
                      <a:pt x="84" y="52"/>
                      <a:pt x="84" y="52"/>
                    </a:cubicBezTo>
                    <a:cubicBezTo>
                      <a:pt x="84" y="55"/>
                      <a:pt x="84" y="55"/>
                      <a:pt x="84" y="55"/>
                    </a:cubicBezTo>
                    <a:cubicBezTo>
                      <a:pt x="84" y="55"/>
                      <a:pt x="84" y="55"/>
                      <a:pt x="84" y="55"/>
                    </a:cubicBezTo>
                    <a:cubicBezTo>
                      <a:pt x="84" y="57"/>
                      <a:pt x="84" y="57"/>
                      <a:pt x="84" y="57"/>
                    </a:cubicBezTo>
                    <a:cubicBezTo>
                      <a:pt x="84" y="58"/>
                      <a:pt x="84" y="59"/>
                      <a:pt x="83" y="59"/>
                    </a:cubicBezTo>
                    <a:cubicBezTo>
                      <a:pt x="82" y="60"/>
                      <a:pt x="81" y="61"/>
                      <a:pt x="80" y="62"/>
                    </a:cubicBezTo>
                    <a:cubicBezTo>
                      <a:pt x="80" y="62"/>
                      <a:pt x="80" y="62"/>
                      <a:pt x="80" y="62"/>
                    </a:cubicBezTo>
                    <a:cubicBezTo>
                      <a:pt x="79" y="62"/>
                      <a:pt x="79" y="62"/>
                      <a:pt x="79" y="62"/>
                    </a:cubicBezTo>
                    <a:cubicBezTo>
                      <a:pt x="79" y="62"/>
                      <a:pt x="79" y="62"/>
                      <a:pt x="79" y="62"/>
                    </a:cubicBezTo>
                    <a:cubicBezTo>
                      <a:pt x="79" y="62"/>
                      <a:pt x="79" y="62"/>
                      <a:pt x="79" y="62"/>
                    </a:cubicBezTo>
                    <a:cubicBezTo>
                      <a:pt x="78" y="62"/>
                      <a:pt x="78" y="62"/>
                      <a:pt x="78" y="62"/>
                    </a:cubicBezTo>
                    <a:cubicBezTo>
                      <a:pt x="78" y="62"/>
                      <a:pt x="78" y="62"/>
                      <a:pt x="78" y="62"/>
                    </a:cubicBezTo>
                    <a:cubicBezTo>
                      <a:pt x="77" y="62"/>
                      <a:pt x="77" y="62"/>
                      <a:pt x="77" y="62"/>
                    </a:cubicBezTo>
                    <a:cubicBezTo>
                      <a:pt x="77" y="62"/>
                      <a:pt x="77" y="62"/>
                      <a:pt x="76" y="62"/>
                    </a:cubicBezTo>
                    <a:cubicBezTo>
                      <a:pt x="76" y="61"/>
                      <a:pt x="76" y="61"/>
                      <a:pt x="76" y="61"/>
                    </a:cubicBezTo>
                    <a:cubicBezTo>
                      <a:pt x="76" y="61"/>
                      <a:pt x="75" y="61"/>
                      <a:pt x="75" y="61"/>
                    </a:cubicBezTo>
                    <a:cubicBezTo>
                      <a:pt x="75" y="60"/>
                      <a:pt x="75" y="60"/>
                      <a:pt x="75" y="60"/>
                    </a:cubicBezTo>
                    <a:cubicBezTo>
                      <a:pt x="75" y="60"/>
                      <a:pt x="75" y="60"/>
                      <a:pt x="74" y="60"/>
                    </a:cubicBezTo>
                    <a:cubicBezTo>
                      <a:pt x="74" y="60"/>
                      <a:pt x="74" y="60"/>
                      <a:pt x="73" y="61"/>
                    </a:cubicBezTo>
                    <a:cubicBezTo>
                      <a:pt x="73" y="61"/>
                      <a:pt x="73" y="61"/>
                      <a:pt x="73" y="61"/>
                    </a:cubicBezTo>
                    <a:cubicBezTo>
                      <a:pt x="73" y="61"/>
                      <a:pt x="73" y="61"/>
                      <a:pt x="72" y="61"/>
                    </a:cubicBezTo>
                    <a:cubicBezTo>
                      <a:pt x="72" y="61"/>
                      <a:pt x="72" y="61"/>
                      <a:pt x="72" y="61"/>
                    </a:cubicBezTo>
                    <a:cubicBezTo>
                      <a:pt x="71" y="61"/>
                      <a:pt x="71" y="61"/>
                      <a:pt x="71" y="61"/>
                    </a:cubicBezTo>
                    <a:cubicBezTo>
                      <a:pt x="71" y="61"/>
                      <a:pt x="71" y="61"/>
                      <a:pt x="70" y="62"/>
                    </a:cubicBezTo>
                    <a:cubicBezTo>
                      <a:pt x="70" y="62"/>
                      <a:pt x="70" y="62"/>
                      <a:pt x="70" y="62"/>
                    </a:cubicBezTo>
                    <a:cubicBezTo>
                      <a:pt x="69" y="62"/>
                      <a:pt x="68" y="63"/>
                      <a:pt x="68" y="63"/>
                    </a:cubicBezTo>
                    <a:cubicBezTo>
                      <a:pt x="70" y="65"/>
                      <a:pt x="70" y="65"/>
                      <a:pt x="70" y="65"/>
                    </a:cubicBezTo>
                    <a:cubicBezTo>
                      <a:pt x="68" y="65"/>
                      <a:pt x="68" y="65"/>
                      <a:pt x="68" y="65"/>
                    </a:cubicBezTo>
                    <a:cubicBezTo>
                      <a:pt x="68" y="66"/>
                      <a:pt x="67" y="66"/>
                      <a:pt x="67" y="66"/>
                    </a:cubicBezTo>
                    <a:cubicBezTo>
                      <a:pt x="66" y="66"/>
                      <a:pt x="65" y="67"/>
                      <a:pt x="64" y="67"/>
                    </a:cubicBezTo>
                    <a:cubicBezTo>
                      <a:pt x="64" y="67"/>
                      <a:pt x="64" y="67"/>
                      <a:pt x="64" y="67"/>
                    </a:cubicBezTo>
                    <a:cubicBezTo>
                      <a:pt x="63" y="67"/>
                      <a:pt x="61" y="67"/>
                      <a:pt x="60" y="66"/>
                    </a:cubicBezTo>
                    <a:cubicBezTo>
                      <a:pt x="59" y="66"/>
                      <a:pt x="59" y="66"/>
                      <a:pt x="59" y="66"/>
                    </a:cubicBezTo>
                    <a:cubicBezTo>
                      <a:pt x="59" y="66"/>
                      <a:pt x="59" y="66"/>
                      <a:pt x="59" y="66"/>
                    </a:cubicBezTo>
                    <a:cubicBezTo>
                      <a:pt x="59" y="66"/>
                      <a:pt x="59" y="66"/>
                      <a:pt x="59" y="66"/>
                    </a:cubicBezTo>
                    <a:cubicBezTo>
                      <a:pt x="58" y="66"/>
                      <a:pt x="58" y="66"/>
                      <a:pt x="58" y="67"/>
                    </a:cubicBezTo>
                    <a:cubicBezTo>
                      <a:pt x="58" y="67"/>
                      <a:pt x="58" y="67"/>
                      <a:pt x="58" y="67"/>
                    </a:cubicBezTo>
                    <a:cubicBezTo>
                      <a:pt x="57" y="67"/>
                      <a:pt x="57" y="67"/>
                      <a:pt x="57" y="67"/>
                    </a:cubicBezTo>
                    <a:cubicBezTo>
                      <a:pt x="57" y="67"/>
                      <a:pt x="57" y="68"/>
                      <a:pt x="56" y="68"/>
                    </a:cubicBezTo>
                    <a:cubicBezTo>
                      <a:pt x="56" y="69"/>
                      <a:pt x="55" y="69"/>
                      <a:pt x="55" y="70"/>
                    </a:cubicBezTo>
                    <a:cubicBezTo>
                      <a:pt x="55" y="70"/>
                      <a:pt x="55" y="70"/>
                      <a:pt x="55" y="70"/>
                    </a:cubicBezTo>
                    <a:cubicBezTo>
                      <a:pt x="54" y="70"/>
                      <a:pt x="54" y="70"/>
                      <a:pt x="54" y="70"/>
                    </a:cubicBezTo>
                    <a:cubicBezTo>
                      <a:pt x="54" y="70"/>
                      <a:pt x="54" y="71"/>
                      <a:pt x="54" y="71"/>
                    </a:cubicBezTo>
                    <a:cubicBezTo>
                      <a:pt x="54" y="71"/>
                      <a:pt x="54" y="71"/>
                      <a:pt x="54" y="71"/>
                    </a:cubicBezTo>
                    <a:cubicBezTo>
                      <a:pt x="54" y="73"/>
                      <a:pt x="53" y="74"/>
                      <a:pt x="54" y="75"/>
                    </a:cubicBezTo>
                    <a:cubicBezTo>
                      <a:pt x="54" y="75"/>
                      <a:pt x="53" y="76"/>
                      <a:pt x="53" y="76"/>
                    </a:cubicBezTo>
                    <a:cubicBezTo>
                      <a:pt x="53" y="77"/>
                      <a:pt x="53" y="77"/>
                      <a:pt x="53" y="78"/>
                    </a:cubicBezTo>
                    <a:cubicBezTo>
                      <a:pt x="53" y="78"/>
                      <a:pt x="53" y="78"/>
                      <a:pt x="53" y="78"/>
                    </a:cubicBezTo>
                    <a:cubicBezTo>
                      <a:pt x="53" y="78"/>
                      <a:pt x="53" y="78"/>
                      <a:pt x="53" y="78"/>
                    </a:cubicBezTo>
                    <a:cubicBezTo>
                      <a:pt x="53" y="79"/>
                      <a:pt x="53" y="79"/>
                      <a:pt x="53" y="80"/>
                    </a:cubicBezTo>
                    <a:cubicBezTo>
                      <a:pt x="54" y="80"/>
                      <a:pt x="53" y="81"/>
                      <a:pt x="53" y="82"/>
                    </a:cubicBezTo>
                    <a:cubicBezTo>
                      <a:pt x="52" y="82"/>
                      <a:pt x="51" y="83"/>
                      <a:pt x="51" y="83"/>
                    </a:cubicBezTo>
                    <a:cubicBezTo>
                      <a:pt x="50" y="83"/>
                      <a:pt x="50" y="83"/>
                      <a:pt x="50" y="83"/>
                    </a:cubicBezTo>
                    <a:cubicBezTo>
                      <a:pt x="49" y="83"/>
                      <a:pt x="48" y="84"/>
                      <a:pt x="47" y="84"/>
                    </a:cubicBezTo>
                    <a:cubicBezTo>
                      <a:pt x="46" y="84"/>
                      <a:pt x="45" y="84"/>
                      <a:pt x="44" y="85"/>
                    </a:cubicBezTo>
                    <a:cubicBezTo>
                      <a:pt x="41" y="85"/>
                      <a:pt x="41" y="85"/>
                      <a:pt x="41" y="85"/>
                    </a:cubicBezTo>
                    <a:cubicBezTo>
                      <a:pt x="40" y="85"/>
                      <a:pt x="39" y="85"/>
                      <a:pt x="38" y="85"/>
                    </a:cubicBezTo>
                    <a:cubicBezTo>
                      <a:pt x="37" y="85"/>
                      <a:pt x="35" y="85"/>
                      <a:pt x="34" y="86"/>
                    </a:cubicBezTo>
                    <a:cubicBezTo>
                      <a:pt x="34" y="86"/>
                      <a:pt x="34" y="86"/>
                      <a:pt x="33" y="86"/>
                    </a:cubicBezTo>
                    <a:cubicBezTo>
                      <a:pt x="33" y="86"/>
                      <a:pt x="33" y="86"/>
                      <a:pt x="32" y="86"/>
                    </a:cubicBezTo>
                    <a:cubicBezTo>
                      <a:pt x="32" y="87"/>
                      <a:pt x="32" y="87"/>
                      <a:pt x="32" y="87"/>
                    </a:cubicBezTo>
                    <a:cubicBezTo>
                      <a:pt x="31" y="87"/>
                      <a:pt x="31" y="87"/>
                      <a:pt x="31" y="87"/>
                    </a:cubicBezTo>
                    <a:cubicBezTo>
                      <a:pt x="31" y="87"/>
                      <a:pt x="31" y="87"/>
                      <a:pt x="31" y="87"/>
                    </a:cubicBezTo>
                    <a:cubicBezTo>
                      <a:pt x="31" y="87"/>
                      <a:pt x="31" y="87"/>
                      <a:pt x="30" y="87"/>
                    </a:cubicBezTo>
                    <a:cubicBezTo>
                      <a:pt x="30" y="87"/>
                      <a:pt x="30" y="87"/>
                      <a:pt x="30" y="87"/>
                    </a:cubicBezTo>
                    <a:cubicBezTo>
                      <a:pt x="30" y="87"/>
                      <a:pt x="30" y="87"/>
                      <a:pt x="29" y="87"/>
                    </a:cubicBezTo>
                    <a:cubicBezTo>
                      <a:pt x="29" y="87"/>
                      <a:pt x="29" y="87"/>
                      <a:pt x="29" y="87"/>
                    </a:cubicBezTo>
                    <a:cubicBezTo>
                      <a:pt x="29" y="87"/>
                      <a:pt x="29" y="87"/>
                      <a:pt x="28" y="87"/>
                    </a:cubicBezTo>
                    <a:cubicBezTo>
                      <a:pt x="28" y="87"/>
                      <a:pt x="28" y="87"/>
                      <a:pt x="28" y="87"/>
                    </a:cubicBezTo>
                    <a:cubicBezTo>
                      <a:pt x="27" y="87"/>
                      <a:pt x="27" y="87"/>
                      <a:pt x="27" y="87"/>
                    </a:cubicBezTo>
                    <a:cubicBezTo>
                      <a:pt x="26" y="87"/>
                      <a:pt x="26" y="87"/>
                      <a:pt x="25" y="87"/>
                    </a:cubicBezTo>
                    <a:cubicBezTo>
                      <a:pt x="25" y="87"/>
                      <a:pt x="25" y="87"/>
                      <a:pt x="25" y="87"/>
                    </a:cubicBezTo>
                    <a:cubicBezTo>
                      <a:pt x="25" y="87"/>
                      <a:pt x="25" y="87"/>
                      <a:pt x="24" y="87"/>
                    </a:cubicBezTo>
                    <a:cubicBezTo>
                      <a:pt x="20" y="87"/>
                      <a:pt x="20" y="87"/>
                      <a:pt x="20" y="87"/>
                    </a:cubicBezTo>
                    <a:cubicBezTo>
                      <a:pt x="20" y="89"/>
                      <a:pt x="20" y="89"/>
                      <a:pt x="20" y="89"/>
                    </a:cubicBezTo>
                    <a:cubicBezTo>
                      <a:pt x="19" y="87"/>
                      <a:pt x="19" y="87"/>
                      <a:pt x="19" y="87"/>
                    </a:cubicBezTo>
                    <a:cubicBezTo>
                      <a:pt x="18" y="87"/>
                      <a:pt x="18" y="87"/>
                      <a:pt x="18" y="87"/>
                    </a:cubicBezTo>
                    <a:cubicBezTo>
                      <a:pt x="17" y="87"/>
                      <a:pt x="17" y="87"/>
                      <a:pt x="17" y="87"/>
                    </a:cubicBezTo>
                    <a:cubicBezTo>
                      <a:pt x="17" y="87"/>
                      <a:pt x="17" y="87"/>
                      <a:pt x="17" y="87"/>
                    </a:cubicBezTo>
                    <a:cubicBezTo>
                      <a:pt x="16" y="87"/>
                      <a:pt x="16" y="87"/>
                      <a:pt x="16" y="87"/>
                    </a:cubicBezTo>
                    <a:cubicBezTo>
                      <a:pt x="15" y="87"/>
                      <a:pt x="15" y="87"/>
                      <a:pt x="15" y="87"/>
                    </a:cubicBezTo>
                    <a:cubicBezTo>
                      <a:pt x="15" y="87"/>
                      <a:pt x="14" y="87"/>
                      <a:pt x="14" y="87"/>
                    </a:cubicBezTo>
                    <a:cubicBezTo>
                      <a:pt x="0" y="83"/>
                      <a:pt x="0" y="83"/>
                      <a:pt x="0" y="83"/>
                    </a:cubicBezTo>
                    <a:cubicBezTo>
                      <a:pt x="0" y="84"/>
                      <a:pt x="0" y="84"/>
                      <a:pt x="1" y="85"/>
                    </a:cubicBezTo>
                    <a:cubicBezTo>
                      <a:pt x="1" y="85"/>
                      <a:pt x="1" y="85"/>
                      <a:pt x="1" y="85"/>
                    </a:cubicBezTo>
                    <a:cubicBezTo>
                      <a:pt x="1" y="85"/>
                      <a:pt x="1" y="86"/>
                      <a:pt x="2" y="86"/>
                    </a:cubicBezTo>
                    <a:cubicBezTo>
                      <a:pt x="3" y="87"/>
                      <a:pt x="4" y="89"/>
                      <a:pt x="4" y="90"/>
                    </a:cubicBezTo>
                    <a:cubicBezTo>
                      <a:pt x="6" y="91"/>
                      <a:pt x="7" y="93"/>
                      <a:pt x="8" y="94"/>
                    </a:cubicBezTo>
                    <a:cubicBezTo>
                      <a:pt x="8" y="95"/>
                      <a:pt x="9" y="95"/>
                      <a:pt x="10" y="96"/>
                    </a:cubicBezTo>
                    <a:cubicBezTo>
                      <a:pt x="10" y="96"/>
                      <a:pt x="11" y="96"/>
                      <a:pt x="11" y="96"/>
                    </a:cubicBezTo>
                    <a:cubicBezTo>
                      <a:pt x="11" y="96"/>
                      <a:pt x="11" y="96"/>
                      <a:pt x="11" y="96"/>
                    </a:cubicBezTo>
                    <a:cubicBezTo>
                      <a:pt x="12" y="96"/>
                      <a:pt x="12" y="96"/>
                      <a:pt x="12" y="97"/>
                    </a:cubicBezTo>
                    <a:cubicBezTo>
                      <a:pt x="12" y="97"/>
                      <a:pt x="12" y="97"/>
                      <a:pt x="12" y="97"/>
                    </a:cubicBezTo>
                    <a:cubicBezTo>
                      <a:pt x="13" y="97"/>
                      <a:pt x="13" y="97"/>
                      <a:pt x="13" y="97"/>
                    </a:cubicBezTo>
                    <a:cubicBezTo>
                      <a:pt x="14" y="97"/>
                      <a:pt x="15" y="97"/>
                      <a:pt x="15" y="98"/>
                    </a:cubicBezTo>
                    <a:cubicBezTo>
                      <a:pt x="16" y="98"/>
                      <a:pt x="17" y="99"/>
                      <a:pt x="17" y="99"/>
                    </a:cubicBezTo>
                    <a:cubicBezTo>
                      <a:pt x="18" y="100"/>
                      <a:pt x="18" y="101"/>
                      <a:pt x="17" y="102"/>
                    </a:cubicBezTo>
                    <a:cubicBezTo>
                      <a:pt x="17" y="102"/>
                      <a:pt x="17" y="102"/>
                      <a:pt x="17" y="103"/>
                    </a:cubicBezTo>
                    <a:cubicBezTo>
                      <a:pt x="19" y="103"/>
                      <a:pt x="19" y="103"/>
                      <a:pt x="19" y="103"/>
                    </a:cubicBezTo>
                    <a:cubicBezTo>
                      <a:pt x="17" y="103"/>
                      <a:pt x="17" y="103"/>
                      <a:pt x="17" y="103"/>
                    </a:cubicBezTo>
                    <a:cubicBezTo>
                      <a:pt x="17" y="107"/>
                      <a:pt x="17" y="107"/>
                      <a:pt x="17" y="107"/>
                    </a:cubicBezTo>
                    <a:cubicBezTo>
                      <a:pt x="17" y="107"/>
                      <a:pt x="17" y="107"/>
                      <a:pt x="17" y="107"/>
                    </a:cubicBezTo>
                    <a:cubicBezTo>
                      <a:pt x="17" y="108"/>
                      <a:pt x="17" y="109"/>
                      <a:pt x="17" y="109"/>
                    </a:cubicBezTo>
                    <a:cubicBezTo>
                      <a:pt x="17" y="109"/>
                      <a:pt x="17" y="109"/>
                      <a:pt x="17" y="109"/>
                    </a:cubicBezTo>
                    <a:cubicBezTo>
                      <a:pt x="17" y="109"/>
                      <a:pt x="18" y="109"/>
                      <a:pt x="18" y="109"/>
                    </a:cubicBezTo>
                    <a:cubicBezTo>
                      <a:pt x="19" y="109"/>
                      <a:pt x="19" y="109"/>
                      <a:pt x="19" y="109"/>
                    </a:cubicBezTo>
                    <a:cubicBezTo>
                      <a:pt x="20" y="109"/>
                      <a:pt x="21" y="109"/>
                      <a:pt x="22" y="109"/>
                    </a:cubicBezTo>
                    <a:cubicBezTo>
                      <a:pt x="23" y="110"/>
                      <a:pt x="23" y="110"/>
                      <a:pt x="23" y="110"/>
                    </a:cubicBezTo>
                    <a:cubicBezTo>
                      <a:pt x="23" y="111"/>
                      <a:pt x="23" y="111"/>
                      <a:pt x="23" y="111"/>
                    </a:cubicBezTo>
                    <a:cubicBezTo>
                      <a:pt x="22" y="112"/>
                      <a:pt x="22" y="114"/>
                      <a:pt x="21" y="115"/>
                    </a:cubicBezTo>
                    <a:cubicBezTo>
                      <a:pt x="21" y="117"/>
                      <a:pt x="21" y="117"/>
                      <a:pt x="21" y="117"/>
                    </a:cubicBezTo>
                    <a:cubicBezTo>
                      <a:pt x="21" y="117"/>
                      <a:pt x="21" y="117"/>
                      <a:pt x="20" y="118"/>
                    </a:cubicBezTo>
                    <a:cubicBezTo>
                      <a:pt x="20" y="118"/>
                      <a:pt x="19" y="118"/>
                      <a:pt x="18" y="118"/>
                    </a:cubicBezTo>
                    <a:cubicBezTo>
                      <a:pt x="17" y="118"/>
                      <a:pt x="17" y="118"/>
                      <a:pt x="17" y="118"/>
                    </a:cubicBezTo>
                    <a:cubicBezTo>
                      <a:pt x="17" y="119"/>
                      <a:pt x="17" y="119"/>
                      <a:pt x="17" y="119"/>
                    </a:cubicBezTo>
                    <a:cubicBezTo>
                      <a:pt x="13" y="119"/>
                      <a:pt x="13" y="119"/>
                      <a:pt x="13" y="119"/>
                    </a:cubicBezTo>
                    <a:cubicBezTo>
                      <a:pt x="12" y="119"/>
                      <a:pt x="12" y="119"/>
                      <a:pt x="11" y="120"/>
                    </a:cubicBezTo>
                    <a:cubicBezTo>
                      <a:pt x="11" y="120"/>
                      <a:pt x="11" y="120"/>
                      <a:pt x="10" y="121"/>
                    </a:cubicBezTo>
                    <a:cubicBezTo>
                      <a:pt x="10" y="121"/>
                      <a:pt x="10" y="121"/>
                      <a:pt x="10" y="121"/>
                    </a:cubicBezTo>
                    <a:cubicBezTo>
                      <a:pt x="10" y="121"/>
                      <a:pt x="9" y="121"/>
                      <a:pt x="9" y="122"/>
                    </a:cubicBezTo>
                    <a:cubicBezTo>
                      <a:pt x="8" y="122"/>
                      <a:pt x="8" y="122"/>
                      <a:pt x="8" y="122"/>
                    </a:cubicBezTo>
                    <a:cubicBezTo>
                      <a:pt x="8" y="122"/>
                      <a:pt x="8" y="122"/>
                      <a:pt x="8" y="123"/>
                    </a:cubicBezTo>
                    <a:cubicBezTo>
                      <a:pt x="7" y="125"/>
                      <a:pt x="7" y="127"/>
                      <a:pt x="6" y="129"/>
                    </a:cubicBezTo>
                    <a:cubicBezTo>
                      <a:pt x="6" y="130"/>
                      <a:pt x="6" y="130"/>
                      <a:pt x="6" y="130"/>
                    </a:cubicBezTo>
                    <a:cubicBezTo>
                      <a:pt x="6" y="130"/>
                      <a:pt x="6" y="130"/>
                      <a:pt x="6" y="131"/>
                    </a:cubicBezTo>
                    <a:cubicBezTo>
                      <a:pt x="6" y="131"/>
                      <a:pt x="6" y="132"/>
                      <a:pt x="6" y="132"/>
                    </a:cubicBezTo>
                    <a:cubicBezTo>
                      <a:pt x="6" y="133"/>
                      <a:pt x="6" y="133"/>
                      <a:pt x="6" y="133"/>
                    </a:cubicBezTo>
                    <a:cubicBezTo>
                      <a:pt x="6" y="133"/>
                      <a:pt x="6" y="133"/>
                      <a:pt x="6" y="134"/>
                    </a:cubicBezTo>
                    <a:cubicBezTo>
                      <a:pt x="7" y="134"/>
                      <a:pt x="7" y="134"/>
                      <a:pt x="8" y="134"/>
                    </a:cubicBezTo>
                    <a:cubicBezTo>
                      <a:pt x="10" y="133"/>
                      <a:pt x="11" y="131"/>
                      <a:pt x="12" y="134"/>
                    </a:cubicBezTo>
                    <a:cubicBezTo>
                      <a:pt x="14" y="132"/>
                      <a:pt x="14" y="132"/>
                      <a:pt x="17" y="132"/>
                    </a:cubicBezTo>
                    <a:cubicBezTo>
                      <a:pt x="18" y="132"/>
                      <a:pt x="20" y="132"/>
                      <a:pt x="21" y="132"/>
                    </a:cubicBezTo>
                    <a:cubicBezTo>
                      <a:pt x="22" y="132"/>
                      <a:pt x="24" y="133"/>
                      <a:pt x="23" y="132"/>
                    </a:cubicBezTo>
                    <a:cubicBezTo>
                      <a:pt x="25" y="131"/>
                      <a:pt x="27" y="131"/>
                      <a:pt x="29" y="131"/>
                    </a:cubicBezTo>
                    <a:cubicBezTo>
                      <a:pt x="29" y="130"/>
                      <a:pt x="29" y="130"/>
                      <a:pt x="30" y="130"/>
                    </a:cubicBezTo>
                    <a:cubicBezTo>
                      <a:pt x="29" y="130"/>
                      <a:pt x="29" y="130"/>
                      <a:pt x="30" y="131"/>
                    </a:cubicBezTo>
                    <a:cubicBezTo>
                      <a:pt x="30" y="131"/>
                      <a:pt x="31" y="131"/>
                      <a:pt x="31" y="131"/>
                    </a:cubicBezTo>
                    <a:cubicBezTo>
                      <a:pt x="32" y="132"/>
                      <a:pt x="33" y="132"/>
                      <a:pt x="34" y="132"/>
                    </a:cubicBezTo>
                    <a:cubicBezTo>
                      <a:pt x="34" y="132"/>
                      <a:pt x="35" y="133"/>
                      <a:pt x="36" y="133"/>
                    </a:cubicBezTo>
                    <a:cubicBezTo>
                      <a:pt x="36" y="133"/>
                      <a:pt x="36" y="133"/>
                      <a:pt x="35" y="132"/>
                    </a:cubicBezTo>
                    <a:cubicBezTo>
                      <a:pt x="40" y="131"/>
                      <a:pt x="45" y="131"/>
                      <a:pt x="50" y="130"/>
                    </a:cubicBezTo>
                    <a:cubicBezTo>
                      <a:pt x="51" y="130"/>
                      <a:pt x="54" y="131"/>
                      <a:pt x="54" y="130"/>
                    </a:cubicBezTo>
                    <a:cubicBezTo>
                      <a:pt x="54" y="130"/>
                      <a:pt x="54" y="130"/>
                      <a:pt x="54" y="129"/>
                    </a:cubicBezTo>
                    <a:cubicBezTo>
                      <a:pt x="53" y="130"/>
                      <a:pt x="53" y="128"/>
                      <a:pt x="54" y="128"/>
                    </a:cubicBezTo>
                    <a:cubicBezTo>
                      <a:pt x="54" y="128"/>
                      <a:pt x="54" y="129"/>
                      <a:pt x="55" y="129"/>
                    </a:cubicBezTo>
                    <a:cubicBezTo>
                      <a:pt x="55" y="131"/>
                      <a:pt x="55" y="130"/>
                      <a:pt x="55" y="131"/>
                    </a:cubicBezTo>
                    <a:cubicBezTo>
                      <a:pt x="56" y="132"/>
                      <a:pt x="56" y="132"/>
                      <a:pt x="56" y="133"/>
                    </a:cubicBezTo>
                    <a:cubicBezTo>
                      <a:pt x="56" y="134"/>
                      <a:pt x="56" y="136"/>
                      <a:pt x="56" y="136"/>
                    </a:cubicBezTo>
                    <a:cubicBezTo>
                      <a:pt x="56" y="136"/>
                      <a:pt x="57" y="136"/>
                      <a:pt x="57" y="136"/>
                    </a:cubicBezTo>
                    <a:cubicBezTo>
                      <a:pt x="60" y="136"/>
                      <a:pt x="60" y="136"/>
                      <a:pt x="60" y="136"/>
                    </a:cubicBezTo>
                    <a:cubicBezTo>
                      <a:pt x="60" y="137"/>
                      <a:pt x="60" y="137"/>
                      <a:pt x="60" y="137"/>
                    </a:cubicBezTo>
                    <a:cubicBezTo>
                      <a:pt x="61" y="138"/>
                      <a:pt x="61" y="138"/>
                      <a:pt x="61" y="138"/>
                    </a:cubicBezTo>
                    <a:cubicBezTo>
                      <a:pt x="62" y="139"/>
                      <a:pt x="62" y="141"/>
                      <a:pt x="62" y="141"/>
                    </a:cubicBezTo>
                    <a:cubicBezTo>
                      <a:pt x="62" y="144"/>
                      <a:pt x="62" y="145"/>
                      <a:pt x="65" y="145"/>
                    </a:cubicBezTo>
                    <a:cubicBezTo>
                      <a:pt x="68" y="144"/>
                      <a:pt x="71" y="145"/>
                      <a:pt x="70" y="148"/>
                    </a:cubicBezTo>
                    <a:cubicBezTo>
                      <a:pt x="70" y="148"/>
                      <a:pt x="70" y="148"/>
                      <a:pt x="71"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3" name="Freeform 3145">
                <a:extLst>
                  <a:ext uri="{FF2B5EF4-FFF2-40B4-BE49-F238E27FC236}">
                    <a16:creationId xmlns:a16="http://schemas.microsoft.com/office/drawing/2014/main" id="{D0DEB437-B93C-49CD-8918-5286DB91A9BA}"/>
                  </a:ext>
                </a:extLst>
              </p:cNvPr>
              <p:cNvSpPr>
                <a:spLocks/>
              </p:cNvSpPr>
              <p:nvPr/>
            </p:nvSpPr>
            <p:spPr bwMode="auto">
              <a:xfrm>
                <a:off x="5306" y="1830"/>
                <a:ext cx="40" cy="12"/>
              </a:xfrm>
              <a:custGeom>
                <a:avLst/>
                <a:gdLst>
                  <a:gd name="T0" fmla="*/ 2 w 17"/>
                  <a:gd name="T1" fmla="*/ 5 h 5"/>
                  <a:gd name="T2" fmla="*/ 6 w 17"/>
                  <a:gd name="T3" fmla="*/ 5 h 5"/>
                  <a:gd name="T4" fmla="*/ 7 w 17"/>
                  <a:gd name="T5" fmla="*/ 5 h 5"/>
                  <a:gd name="T6" fmla="*/ 9 w 17"/>
                  <a:gd name="T7" fmla="*/ 4 h 5"/>
                  <a:gd name="T8" fmla="*/ 9 w 17"/>
                  <a:gd name="T9" fmla="*/ 4 h 5"/>
                  <a:gd name="T10" fmla="*/ 10 w 17"/>
                  <a:gd name="T11" fmla="*/ 4 h 5"/>
                  <a:gd name="T12" fmla="*/ 11 w 17"/>
                  <a:gd name="T13" fmla="*/ 5 h 5"/>
                  <a:gd name="T14" fmla="*/ 11 w 17"/>
                  <a:gd name="T15" fmla="*/ 5 h 5"/>
                  <a:gd name="T16" fmla="*/ 12 w 17"/>
                  <a:gd name="T17" fmla="*/ 5 h 5"/>
                  <a:gd name="T18" fmla="*/ 13 w 17"/>
                  <a:gd name="T19" fmla="*/ 5 h 5"/>
                  <a:gd name="T20" fmla="*/ 14 w 17"/>
                  <a:gd name="T21" fmla="*/ 5 h 5"/>
                  <a:gd name="T22" fmla="*/ 16 w 17"/>
                  <a:gd name="T23" fmla="*/ 4 h 5"/>
                  <a:gd name="T24" fmla="*/ 16 w 17"/>
                  <a:gd name="T25" fmla="*/ 3 h 5"/>
                  <a:gd name="T26" fmla="*/ 16 w 17"/>
                  <a:gd name="T27" fmla="*/ 1 h 5"/>
                  <a:gd name="T28" fmla="*/ 17 w 17"/>
                  <a:gd name="T29" fmla="*/ 1 h 5"/>
                  <a:gd name="T30" fmla="*/ 17 w 17"/>
                  <a:gd name="T31" fmla="*/ 1 h 5"/>
                  <a:gd name="T32" fmla="*/ 17 w 17"/>
                  <a:gd name="T33" fmla="*/ 1 h 5"/>
                  <a:gd name="T34" fmla="*/ 16 w 17"/>
                  <a:gd name="T35" fmla="*/ 1 h 5"/>
                  <a:gd name="T36" fmla="*/ 16 w 17"/>
                  <a:gd name="T37" fmla="*/ 1 h 5"/>
                  <a:gd name="T38" fmla="*/ 15 w 17"/>
                  <a:gd name="T39" fmla="*/ 1 h 5"/>
                  <a:gd name="T40" fmla="*/ 15 w 17"/>
                  <a:gd name="T41" fmla="*/ 2 h 5"/>
                  <a:gd name="T42" fmla="*/ 15 w 17"/>
                  <a:gd name="T43" fmla="*/ 2 h 5"/>
                  <a:gd name="T44" fmla="*/ 14 w 17"/>
                  <a:gd name="T45" fmla="*/ 2 h 5"/>
                  <a:gd name="T46" fmla="*/ 12 w 17"/>
                  <a:gd name="T47" fmla="*/ 2 h 5"/>
                  <a:gd name="T48" fmla="*/ 11 w 17"/>
                  <a:gd name="T49" fmla="*/ 3 h 5"/>
                  <a:gd name="T50" fmla="*/ 9 w 17"/>
                  <a:gd name="T51" fmla="*/ 3 h 5"/>
                  <a:gd name="T52" fmla="*/ 9 w 17"/>
                  <a:gd name="T53" fmla="*/ 3 h 5"/>
                  <a:gd name="T54" fmla="*/ 8 w 17"/>
                  <a:gd name="T55" fmla="*/ 2 h 5"/>
                  <a:gd name="T56" fmla="*/ 8 w 17"/>
                  <a:gd name="T57" fmla="*/ 1 h 5"/>
                  <a:gd name="T58" fmla="*/ 8 w 17"/>
                  <a:gd name="T59" fmla="*/ 1 h 5"/>
                  <a:gd name="T60" fmla="*/ 6 w 17"/>
                  <a:gd name="T61" fmla="*/ 0 h 5"/>
                  <a:gd name="T62" fmla="*/ 5 w 17"/>
                  <a:gd name="T63" fmla="*/ 1 h 5"/>
                  <a:gd name="T64" fmla="*/ 0 w 17"/>
                  <a:gd name="T65" fmla="*/ 4 h 5"/>
                  <a:gd name="T66" fmla="*/ 0 w 17"/>
                  <a:gd name="T67" fmla="*/ 5 h 5"/>
                  <a:gd name="T68" fmla="*/ 0 w 17"/>
                  <a:gd name="T69" fmla="*/ 5 h 5"/>
                  <a:gd name="T70" fmla="*/ 2 w 17"/>
                  <a:gd name="T7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 h="5">
                    <a:moveTo>
                      <a:pt x="2" y="5"/>
                    </a:moveTo>
                    <a:cubicBezTo>
                      <a:pt x="4" y="5"/>
                      <a:pt x="5" y="5"/>
                      <a:pt x="6" y="5"/>
                    </a:cubicBezTo>
                    <a:cubicBezTo>
                      <a:pt x="7" y="5"/>
                      <a:pt x="7" y="5"/>
                      <a:pt x="7" y="5"/>
                    </a:cubicBezTo>
                    <a:cubicBezTo>
                      <a:pt x="8" y="4"/>
                      <a:pt x="9" y="4"/>
                      <a:pt x="9" y="4"/>
                    </a:cubicBezTo>
                    <a:cubicBezTo>
                      <a:pt x="9" y="4"/>
                      <a:pt x="9" y="4"/>
                      <a:pt x="9" y="4"/>
                    </a:cubicBezTo>
                    <a:cubicBezTo>
                      <a:pt x="10" y="4"/>
                      <a:pt x="10" y="4"/>
                      <a:pt x="10" y="4"/>
                    </a:cubicBezTo>
                    <a:cubicBezTo>
                      <a:pt x="10" y="5"/>
                      <a:pt x="11" y="5"/>
                      <a:pt x="11" y="5"/>
                    </a:cubicBezTo>
                    <a:cubicBezTo>
                      <a:pt x="11" y="5"/>
                      <a:pt x="11" y="5"/>
                      <a:pt x="11" y="5"/>
                    </a:cubicBezTo>
                    <a:cubicBezTo>
                      <a:pt x="12" y="5"/>
                      <a:pt x="12" y="5"/>
                      <a:pt x="12" y="5"/>
                    </a:cubicBezTo>
                    <a:cubicBezTo>
                      <a:pt x="12" y="5"/>
                      <a:pt x="13" y="5"/>
                      <a:pt x="13" y="5"/>
                    </a:cubicBezTo>
                    <a:cubicBezTo>
                      <a:pt x="14" y="5"/>
                      <a:pt x="14" y="5"/>
                      <a:pt x="14" y="5"/>
                    </a:cubicBezTo>
                    <a:cubicBezTo>
                      <a:pt x="14" y="5"/>
                      <a:pt x="15" y="4"/>
                      <a:pt x="16" y="4"/>
                    </a:cubicBezTo>
                    <a:cubicBezTo>
                      <a:pt x="16" y="4"/>
                      <a:pt x="16" y="3"/>
                      <a:pt x="16" y="3"/>
                    </a:cubicBezTo>
                    <a:cubicBezTo>
                      <a:pt x="16" y="2"/>
                      <a:pt x="16" y="2"/>
                      <a:pt x="16"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5" y="1"/>
                    </a:cubicBezTo>
                    <a:cubicBezTo>
                      <a:pt x="15" y="2"/>
                      <a:pt x="15" y="2"/>
                      <a:pt x="15" y="2"/>
                    </a:cubicBezTo>
                    <a:cubicBezTo>
                      <a:pt x="15" y="2"/>
                      <a:pt x="15" y="2"/>
                      <a:pt x="15" y="2"/>
                    </a:cubicBezTo>
                    <a:cubicBezTo>
                      <a:pt x="14" y="2"/>
                      <a:pt x="14" y="2"/>
                      <a:pt x="14" y="2"/>
                    </a:cubicBezTo>
                    <a:cubicBezTo>
                      <a:pt x="14" y="2"/>
                      <a:pt x="13" y="2"/>
                      <a:pt x="12" y="2"/>
                    </a:cubicBezTo>
                    <a:cubicBezTo>
                      <a:pt x="12" y="3"/>
                      <a:pt x="11" y="3"/>
                      <a:pt x="11" y="3"/>
                    </a:cubicBezTo>
                    <a:cubicBezTo>
                      <a:pt x="10" y="3"/>
                      <a:pt x="9" y="3"/>
                      <a:pt x="9" y="3"/>
                    </a:cubicBezTo>
                    <a:cubicBezTo>
                      <a:pt x="9" y="3"/>
                      <a:pt x="9" y="3"/>
                      <a:pt x="9" y="3"/>
                    </a:cubicBezTo>
                    <a:cubicBezTo>
                      <a:pt x="8" y="2"/>
                      <a:pt x="8" y="2"/>
                      <a:pt x="8" y="2"/>
                    </a:cubicBezTo>
                    <a:cubicBezTo>
                      <a:pt x="8" y="2"/>
                      <a:pt x="8" y="1"/>
                      <a:pt x="8" y="1"/>
                    </a:cubicBezTo>
                    <a:cubicBezTo>
                      <a:pt x="8" y="1"/>
                      <a:pt x="8" y="1"/>
                      <a:pt x="8" y="1"/>
                    </a:cubicBezTo>
                    <a:cubicBezTo>
                      <a:pt x="7" y="0"/>
                      <a:pt x="6" y="0"/>
                      <a:pt x="6" y="0"/>
                    </a:cubicBezTo>
                    <a:cubicBezTo>
                      <a:pt x="5" y="1"/>
                      <a:pt x="5" y="1"/>
                      <a:pt x="5" y="1"/>
                    </a:cubicBezTo>
                    <a:cubicBezTo>
                      <a:pt x="3" y="2"/>
                      <a:pt x="2" y="3"/>
                      <a:pt x="0" y="4"/>
                    </a:cubicBezTo>
                    <a:cubicBezTo>
                      <a:pt x="0" y="5"/>
                      <a:pt x="0" y="5"/>
                      <a:pt x="0" y="5"/>
                    </a:cubicBezTo>
                    <a:cubicBezTo>
                      <a:pt x="0" y="5"/>
                      <a:pt x="0" y="5"/>
                      <a:pt x="0" y="5"/>
                    </a:cubicBez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4" name="Freeform 3146">
                <a:extLst>
                  <a:ext uri="{FF2B5EF4-FFF2-40B4-BE49-F238E27FC236}">
                    <a16:creationId xmlns:a16="http://schemas.microsoft.com/office/drawing/2014/main" id="{57ECADF3-F326-49C9-A67C-7DB379FE0C59}"/>
                  </a:ext>
                </a:extLst>
              </p:cNvPr>
              <p:cNvSpPr>
                <a:spLocks/>
              </p:cNvSpPr>
              <p:nvPr/>
            </p:nvSpPr>
            <p:spPr bwMode="auto">
              <a:xfrm>
                <a:off x="5013" y="1802"/>
                <a:ext cx="281" cy="241"/>
              </a:xfrm>
              <a:custGeom>
                <a:avLst/>
                <a:gdLst>
                  <a:gd name="T0" fmla="*/ 78 w 119"/>
                  <a:gd name="T1" fmla="*/ 75 h 102"/>
                  <a:gd name="T2" fmla="*/ 82 w 119"/>
                  <a:gd name="T3" fmla="*/ 75 h 102"/>
                  <a:gd name="T4" fmla="*/ 85 w 119"/>
                  <a:gd name="T5" fmla="*/ 76 h 102"/>
                  <a:gd name="T6" fmla="*/ 87 w 119"/>
                  <a:gd name="T7" fmla="*/ 68 h 102"/>
                  <a:gd name="T8" fmla="*/ 89 w 119"/>
                  <a:gd name="T9" fmla="*/ 65 h 102"/>
                  <a:gd name="T10" fmla="*/ 93 w 119"/>
                  <a:gd name="T11" fmla="*/ 61 h 102"/>
                  <a:gd name="T12" fmla="*/ 95 w 119"/>
                  <a:gd name="T13" fmla="*/ 55 h 102"/>
                  <a:gd name="T14" fmla="*/ 94 w 119"/>
                  <a:gd name="T15" fmla="*/ 50 h 102"/>
                  <a:gd name="T16" fmla="*/ 105 w 119"/>
                  <a:gd name="T17" fmla="*/ 50 h 102"/>
                  <a:gd name="T18" fmla="*/ 105 w 119"/>
                  <a:gd name="T19" fmla="*/ 47 h 102"/>
                  <a:gd name="T20" fmla="*/ 110 w 119"/>
                  <a:gd name="T21" fmla="*/ 39 h 102"/>
                  <a:gd name="T22" fmla="*/ 111 w 119"/>
                  <a:gd name="T23" fmla="*/ 34 h 102"/>
                  <a:gd name="T24" fmla="*/ 109 w 119"/>
                  <a:gd name="T25" fmla="*/ 31 h 102"/>
                  <a:gd name="T26" fmla="*/ 107 w 119"/>
                  <a:gd name="T27" fmla="*/ 27 h 102"/>
                  <a:gd name="T28" fmla="*/ 114 w 119"/>
                  <a:gd name="T29" fmla="*/ 22 h 102"/>
                  <a:gd name="T30" fmla="*/ 115 w 119"/>
                  <a:gd name="T31" fmla="*/ 21 h 102"/>
                  <a:gd name="T32" fmla="*/ 110 w 119"/>
                  <a:gd name="T33" fmla="*/ 18 h 102"/>
                  <a:gd name="T34" fmla="*/ 110 w 119"/>
                  <a:gd name="T35" fmla="*/ 9 h 102"/>
                  <a:gd name="T36" fmla="*/ 108 w 119"/>
                  <a:gd name="T37" fmla="*/ 4 h 102"/>
                  <a:gd name="T38" fmla="*/ 107 w 119"/>
                  <a:gd name="T39" fmla="*/ 2 h 102"/>
                  <a:gd name="T40" fmla="*/ 101 w 119"/>
                  <a:gd name="T41" fmla="*/ 5 h 102"/>
                  <a:gd name="T42" fmla="*/ 100 w 119"/>
                  <a:gd name="T43" fmla="*/ 9 h 102"/>
                  <a:gd name="T44" fmla="*/ 98 w 119"/>
                  <a:gd name="T45" fmla="*/ 11 h 102"/>
                  <a:gd name="T46" fmla="*/ 92 w 119"/>
                  <a:gd name="T47" fmla="*/ 11 h 102"/>
                  <a:gd name="T48" fmla="*/ 93 w 119"/>
                  <a:gd name="T49" fmla="*/ 17 h 102"/>
                  <a:gd name="T50" fmla="*/ 85 w 119"/>
                  <a:gd name="T51" fmla="*/ 14 h 102"/>
                  <a:gd name="T52" fmla="*/ 80 w 119"/>
                  <a:gd name="T53" fmla="*/ 16 h 102"/>
                  <a:gd name="T54" fmla="*/ 76 w 119"/>
                  <a:gd name="T55" fmla="*/ 18 h 102"/>
                  <a:gd name="T56" fmla="*/ 72 w 119"/>
                  <a:gd name="T57" fmla="*/ 15 h 102"/>
                  <a:gd name="T58" fmla="*/ 68 w 119"/>
                  <a:gd name="T59" fmla="*/ 16 h 102"/>
                  <a:gd name="T60" fmla="*/ 62 w 119"/>
                  <a:gd name="T61" fmla="*/ 14 h 102"/>
                  <a:gd name="T62" fmla="*/ 60 w 119"/>
                  <a:gd name="T63" fmla="*/ 14 h 102"/>
                  <a:gd name="T64" fmla="*/ 54 w 119"/>
                  <a:gd name="T65" fmla="*/ 12 h 102"/>
                  <a:gd name="T66" fmla="*/ 42 w 119"/>
                  <a:gd name="T67" fmla="*/ 21 h 102"/>
                  <a:gd name="T68" fmla="*/ 34 w 119"/>
                  <a:gd name="T69" fmla="*/ 29 h 102"/>
                  <a:gd name="T70" fmla="*/ 27 w 119"/>
                  <a:gd name="T71" fmla="*/ 34 h 102"/>
                  <a:gd name="T72" fmla="*/ 21 w 119"/>
                  <a:gd name="T73" fmla="*/ 37 h 102"/>
                  <a:gd name="T74" fmla="*/ 15 w 119"/>
                  <a:gd name="T75" fmla="*/ 38 h 102"/>
                  <a:gd name="T76" fmla="*/ 12 w 119"/>
                  <a:gd name="T77" fmla="*/ 35 h 102"/>
                  <a:gd name="T78" fmla="*/ 7 w 119"/>
                  <a:gd name="T79" fmla="*/ 36 h 102"/>
                  <a:gd name="T80" fmla="*/ 4 w 119"/>
                  <a:gd name="T81" fmla="*/ 44 h 102"/>
                  <a:gd name="T82" fmla="*/ 0 w 119"/>
                  <a:gd name="T83" fmla="*/ 53 h 102"/>
                  <a:gd name="T84" fmla="*/ 2 w 119"/>
                  <a:gd name="T85" fmla="*/ 55 h 102"/>
                  <a:gd name="T86" fmla="*/ 3 w 119"/>
                  <a:gd name="T87" fmla="*/ 59 h 102"/>
                  <a:gd name="T88" fmla="*/ 3 w 119"/>
                  <a:gd name="T89" fmla="*/ 73 h 102"/>
                  <a:gd name="T90" fmla="*/ 3 w 119"/>
                  <a:gd name="T91" fmla="*/ 77 h 102"/>
                  <a:gd name="T92" fmla="*/ 12 w 119"/>
                  <a:gd name="T93" fmla="*/ 81 h 102"/>
                  <a:gd name="T94" fmla="*/ 10 w 119"/>
                  <a:gd name="T95" fmla="*/ 92 h 102"/>
                  <a:gd name="T96" fmla="*/ 21 w 119"/>
                  <a:gd name="T97" fmla="*/ 102 h 102"/>
                  <a:gd name="T98" fmla="*/ 30 w 119"/>
                  <a:gd name="T99" fmla="*/ 101 h 102"/>
                  <a:gd name="T100" fmla="*/ 33 w 119"/>
                  <a:gd name="T101" fmla="*/ 102 h 102"/>
                  <a:gd name="T102" fmla="*/ 39 w 119"/>
                  <a:gd name="T103" fmla="*/ 100 h 102"/>
                  <a:gd name="T104" fmla="*/ 55 w 119"/>
                  <a:gd name="T105" fmla="*/ 98 h 102"/>
                  <a:gd name="T106" fmla="*/ 57 w 119"/>
                  <a:gd name="T107" fmla="*/ 93 h 102"/>
                  <a:gd name="T108" fmla="*/ 59 w 119"/>
                  <a:gd name="T109" fmla="*/ 85 h 102"/>
                  <a:gd name="T110" fmla="*/ 63 w 119"/>
                  <a:gd name="T111" fmla="*/ 81 h 102"/>
                  <a:gd name="T112" fmla="*/ 68 w 119"/>
                  <a:gd name="T113" fmla="*/ 81 h 102"/>
                  <a:gd name="T114" fmla="*/ 68 w 119"/>
                  <a:gd name="T11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 h="102">
                    <a:moveTo>
                      <a:pt x="74" y="77"/>
                    </a:moveTo>
                    <a:cubicBezTo>
                      <a:pt x="75" y="77"/>
                      <a:pt x="75" y="77"/>
                      <a:pt x="75" y="77"/>
                    </a:cubicBezTo>
                    <a:cubicBezTo>
                      <a:pt x="75" y="77"/>
                      <a:pt x="75" y="77"/>
                      <a:pt x="75" y="77"/>
                    </a:cubicBezTo>
                    <a:cubicBezTo>
                      <a:pt x="75" y="76"/>
                      <a:pt x="76" y="76"/>
                      <a:pt x="76" y="76"/>
                    </a:cubicBezTo>
                    <a:cubicBezTo>
                      <a:pt x="76" y="76"/>
                      <a:pt x="77" y="76"/>
                      <a:pt x="77" y="76"/>
                    </a:cubicBezTo>
                    <a:cubicBezTo>
                      <a:pt x="77" y="75"/>
                      <a:pt x="78" y="75"/>
                      <a:pt x="78" y="75"/>
                    </a:cubicBezTo>
                    <a:cubicBezTo>
                      <a:pt x="78" y="75"/>
                      <a:pt x="78" y="75"/>
                      <a:pt x="78" y="75"/>
                    </a:cubicBezTo>
                    <a:cubicBezTo>
                      <a:pt x="79" y="75"/>
                      <a:pt x="79" y="75"/>
                      <a:pt x="79" y="75"/>
                    </a:cubicBezTo>
                    <a:cubicBezTo>
                      <a:pt x="79" y="75"/>
                      <a:pt x="80" y="75"/>
                      <a:pt x="80" y="75"/>
                    </a:cubicBezTo>
                    <a:cubicBezTo>
                      <a:pt x="80" y="75"/>
                      <a:pt x="81" y="75"/>
                      <a:pt x="81" y="75"/>
                    </a:cubicBezTo>
                    <a:cubicBezTo>
                      <a:pt x="81" y="75"/>
                      <a:pt x="81" y="75"/>
                      <a:pt x="81" y="75"/>
                    </a:cubicBezTo>
                    <a:cubicBezTo>
                      <a:pt x="82" y="75"/>
                      <a:pt x="82" y="75"/>
                      <a:pt x="82" y="75"/>
                    </a:cubicBezTo>
                    <a:cubicBezTo>
                      <a:pt x="83" y="76"/>
                      <a:pt x="83" y="76"/>
                      <a:pt x="83" y="76"/>
                    </a:cubicBezTo>
                    <a:cubicBezTo>
                      <a:pt x="83" y="76"/>
                      <a:pt x="83" y="76"/>
                      <a:pt x="84" y="76"/>
                    </a:cubicBezTo>
                    <a:cubicBezTo>
                      <a:pt x="84" y="76"/>
                      <a:pt x="84" y="76"/>
                      <a:pt x="84" y="76"/>
                    </a:cubicBezTo>
                    <a:cubicBezTo>
                      <a:pt x="84" y="77"/>
                      <a:pt x="84" y="77"/>
                      <a:pt x="84" y="77"/>
                    </a:cubicBezTo>
                    <a:cubicBezTo>
                      <a:pt x="84" y="77"/>
                      <a:pt x="84" y="77"/>
                      <a:pt x="84" y="77"/>
                    </a:cubicBezTo>
                    <a:cubicBezTo>
                      <a:pt x="85" y="76"/>
                      <a:pt x="85" y="76"/>
                      <a:pt x="85" y="76"/>
                    </a:cubicBezTo>
                    <a:cubicBezTo>
                      <a:pt x="86" y="76"/>
                      <a:pt x="87" y="75"/>
                      <a:pt x="87" y="74"/>
                    </a:cubicBezTo>
                    <a:cubicBezTo>
                      <a:pt x="88" y="74"/>
                      <a:pt x="88" y="74"/>
                      <a:pt x="88" y="74"/>
                    </a:cubicBezTo>
                    <a:cubicBezTo>
                      <a:pt x="87" y="71"/>
                      <a:pt x="87" y="71"/>
                      <a:pt x="87" y="71"/>
                    </a:cubicBezTo>
                    <a:cubicBezTo>
                      <a:pt x="87" y="71"/>
                      <a:pt x="87" y="71"/>
                      <a:pt x="87" y="71"/>
                    </a:cubicBezTo>
                    <a:cubicBezTo>
                      <a:pt x="87" y="69"/>
                      <a:pt x="87" y="69"/>
                      <a:pt x="87" y="69"/>
                    </a:cubicBezTo>
                    <a:cubicBezTo>
                      <a:pt x="87" y="68"/>
                      <a:pt x="87" y="68"/>
                      <a:pt x="87" y="68"/>
                    </a:cubicBezTo>
                    <a:cubicBezTo>
                      <a:pt x="87" y="68"/>
                      <a:pt x="88" y="68"/>
                      <a:pt x="88" y="67"/>
                    </a:cubicBezTo>
                    <a:cubicBezTo>
                      <a:pt x="88" y="67"/>
                      <a:pt x="88" y="67"/>
                      <a:pt x="88" y="67"/>
                    </a:cubicBezTo>
                    <a:cubicBezTo>
                      <a:pt x="88" y="67"/>
                      <a:pt x="89" y="67"/>
                      <a:pt x="89" y="66"/>
                    </a:cubicBezTo>
                    <a:cubicBezTo>
                      <a:pt x="89" y="66"/>
                      <a:pt x="89" y="66"/>
                      <a:pt x="89" y="66"/>
                    </a:cubicBezTo>
                    <a:cubicBezTo>
                      <a:pt x="89" y="66"/>
                      <a:pt x="89" y="66"/>
                      <a:pt x="89" y="66"/>
                    </a:cubicBezTo>
                    <a:cubicBezTo>
                      <a:pt x="89" y="65"/>
                      <a:pt x="89" y="65"/>
                      <a:pt x="89" y="65"/>
                    </a:cubicBezTo>
                    <a:cubicBezTo>
                      <a:pt x="89" y="63"/>
                      <a:pt x="90" y="62"/>
                      <a:pt x="90" y="61"/>
                    </a:cubicBezTo>
                    <a:cubicBezTo>
                      <a:pt x="91" y="61"/>
                      <a:pt x="91" y="61"/>
                      <a:pt x="91" y="61"/>
                    </a:cubicBezTo>
                    <a:cubicBezTo>
                      <a:pt x="91" y="61"/>
                      <a:pt x="91" y="61"/>
                      <a:pt x="92" y="61"/>
                    </a:cubicBezTo>
                    <a:cubicBezTo>
                      <a:pt x="92" y="61"/>
                      <a:pt x="92" y="61"/>
                      <a:pt x="92" y="61"/>
                    </a:cubicBezTo>
                    <a:cubicBezTo>
                      <a:pt x="92" y="61"/>
                      <a:pt x="92" y="61"/>
                      <a:pt x="93" y="61"/>
                    </a:cubicBezTo>
                    <a:cubicBezTo>
                      <a:pt x="93" y="61"/>
                      <a:pt x="93" y="61"/>
                      <a:pt x="93" y="61"/>
                    </a:cubicBezTo>
                    <a:cubicBezTo>
                      <a:pt x="94" y="61"/>
                      <a:pt x="94" y="61"/>
                      <a:pt x="94" y="60"/>
                    </a:cubicBezTo>
                    <a:cubicBezTo>
                      <a:pt x="95" y="60"/>
                      <a:pt x="95" y="60"/>
                      <a:pt x="95" y="60"/>
                    </a:cubicBezTo>
                    <a:cubicBezTo>
                      <a:pt x="95" y="60"/>
                      <a:pt x="97" y="59"/>
                      <a:pt x="98" y="59"/>
                    </a:cubicBezTo>
                    <a:cubicBezTo>
                      <a:pt x="98" y="59"/>
                      <a:pt x="98" y="59"/>
                      <a:pt x="98" y="59"/>
                    </a:cubicBezTo>
                    <a:cubicBezTo>
                      <a:pt x="97" y="58"/>
                      <a:pt x="97" y="58"/>
                      <a:pt x="96" y="57"/>
                    </a:cubicBezTo>
                    <a:cubicBezTo>
                      <a:pt x="95" y="55"/>
                      <a:pt x="95" y="55"/>
                      <a:pt x="95" y="55"/>
                    </a:cubicBezTo>
                    <a:cubicBezTo>
                      <a:pt x="95" y="55"/>
                      <a:pt x="95" y="55"/>
                      <a:pt x="95" y="55"/>
                    </a:cubicBezTo>
                    <a:cubicBezTo>
                      <a:pt x="95" y="55"/>
                      <a:pt x="95" y="55"/>
                      <a:pt x="95" y="55"/>
                    </a:cubicBezTo>
                    <a:cubicBezTo>
                      <a:pt x="95" y="55"/>
                      <a:pt x="95" y="55"/>
                      <a:pt x="95" y="55"/>
                    </a:cubicBezTo>
                    <a:cubicBezTo>
                      <a:pt x="94" y="53"/>
                      <a:pt x="94" y="53"/>
                      <a:pt x="94" y="53"/>
                    </a:cubicBezTo>
                    <a:cubicBezTo>
                      <a:pt x="93" y="52"/>
                      <a:pt x="94" y="51"/>
                      <a:pt x="94" y="50"/>
                    </a:cubicBezTo>
                    <a:cubicBezTo>
                      <a:pt x="94" y="50"/>
                      <a:pt x="94" y="50"/>
                      <a:pt x="94" y="50"/>
                    </a:cubicBezTo>
                    <a:cubicBezTo>
                      <a:pt x="95" y="49"/>
                      <a:pt x="97" y="50"/>
                      <a:pt x="100" y="50"/>
                    </a:cubicBezTo>
                    <a:cubicBezTo>
                      <a:pt x="100" y="50"/>
                      <a:pt x="100" y="50"/>
                      <a:pt x="100" y="50"/>
                    </a:cubicBezTo>
                    <a:cubicBezTo>
                      <a:pt x="100" y="50"/>
                      <a:pt x="100" y="50"/>
                      <a:pt x="101" y="51"/>
                    </a:cubicBezTo>
                    <a:cubicBezTo>
                      <a:pt x="101" y="51"/>
                      <a:pt x="101" y="51"/>
                      <a:pt x="101" y="51"/>
                    </a:cubicBezTo>
                    <a:cubicBezTo>
                      <a:pt x="101" y="51"/>
                      <a:pt x="102" y="51"/>
                      <a:pt x="102" y="51"/>
                    </a:cubicBezTo>
                    <a:cubicBezTo>
                      <a:pt x="103" y="51"/>
                      <a:pt x="104" y="50"/>
                      <a:pt x="105" y="50"/>
                    </a:cubicBezTo>
                    <a:cubicBezTo>
                      <a:pt x="105" y="49"/>
                      <a:pt x="106" y="49"/>
                      <a:pt x="106" y="49"/>
                    </a:cubicBezTo>
                    <a:cubicBezTo>
                      <a:pt x="106" y="49"/>
                      <a:pt x="106" y="49"/>
                      <a:pt x="106" y="49"/>
                    </a:cubicBezTo>
                    <a:cubicBezTo>
                      <a:pt x="106" y="49"/>
                      <a:pt x="106" y="49"/>
                      <a:pt x="106" y="49"/>
                    </a:cubicBezTo>
                    <a:cubicBezTo>
                      <a:pt x="106" y="48"/>
                      <a:pt x="106" y="48"/>
                      <a:pt x="106" y="48"/>
                    </a:cubicBezTo>
                    <a:cubicBezTo>
                      <a:pt x="106" y="48"/>
                      <a:pt x="106" y="48"/>
                      <a:pt x="106" y="48"/>
                    </a:cubicBezTo>
                    <a:cubicBezTo>
                      <a:pt x="106" y="48"/>
                      <a:pt x="106" y="47"/>
                      <a:pt x="105" y="47"/>
                    </a:cubicBezTo>
                    <a:cubicBezTo>
                      <a:pt x="105" y="46"/>
                      <a:pt x="105" y="44"/>
                      <a:pt x="106" y="43"/>
                    </a:cubicBezTo>
                    <a:cubicBezTo>
                      <a:pt x="106" y="43"/>
                      <a:pt x="106" y="43"/>
                      <a:pt x="107" y="42"/>
                    </a:cubicBezTo>
                    <a:cubicBezTo>
                      <a:pt x="107" y="42"/>
                      <a:pt x="107" y="42"/>
                      <a:pt x="107" y="42"/>
                    </a:cubicBezTo>
                    <a:cubicBezTo>
                      <a:pt x="108" y="41"/>
                      <a:pt x="108" y="41"/>
                      <a:pt x="108" y="40"/>
                    </a:cubicBezTo>
                    <a:cubicBezTo>
                      <a:pt x="109" y="40"/>
                      <a:pt x="109" y="39"/>
                      <a:pt x="110" y="39"/>
                    </a:cubicBezTo>
                    <a:cubicBezTo>
                      <a:pt x="110" y="39"/>
                      <a:pt x="110" y="39"/>
                      <a:pt x="110" y="39"/>
                    </a:cubicBezTo>
                    <a:cubicBezTo>
                      <a:pt x="110" y="39"/>
                      <a:pt x="110" y="39"/>
                      <a:pt x="110" y="39"/>
                    </a:cubicBezTo>
                    <a:cubicBezTo>
                      <a:pt x="110" y="38"/>
                      <a:pt x="111" y="38"/>
                      <a:pt x="111" y="37"/>
                    </a:cubicBezTo>
                    <a:cubicBezTo>
                      <a:pt x="111" y="37"/>
                      <a:pt x="111" y="37"/>
                      <a:pt x="111" y="37"/>
                    </a:cubicBezTo>
                    <a:cubicBezTo>
                      <a:pt x="111" y="37"/>
                      <a:pt x="111" y="37"/>
                      <a:pt x="111" y="37"/>
                    </a:cubicBezTo>
                    <a:cubicBezTo>
                      <a:pt x="111" y="36"/>
                      <a:pt x="111" y="36"/>
                      <a:pt x="111" y="35"/>
                    </a:cubicBezTo>
                    <a:cubicBezTo>
                      <a:pt x="111" y="35"/>
                      <a:pt x="111" y="34"/>
                      <a:pt x="111" y="34"/>
                    </a:cubicBezTo>
                    <a:cubicBezTo>
                      <a:pt x="110" y="33"/>
                      <a:pt x="110" y="33"/>
                      <a:pt x="110" y="33"/>
                    </a:cubicBezTo>
                    <a:cubicBezTo>
                      <a:pt x="110" y="33"/>
                      <a:pt x="110" y="33"/>
                      <a:pt x="110" y="33"/>
                    </a:cubicBezTo>
                    <a:cubicBezTo>
                      <a:pt x="110" y="33"/>
                      <a:pt x="110" y="33"/>
                      <a:pt x="110" y="33"/>
                    </a:cubicBezTo>
                    <a:cubicBezTo>
                      <a:pt x="110" y="32"/>
                      <a:pt x="110" y="32"/>
                      <a:pt x="110" y="32"/>
                    </a:cubicBezTo>
                    <a:cubicBezTo>
                      <a:pt x="110" y="32"/>
                      <a:pt x="110" y="32"/>
                      <a:pt x="109" y="32"/>
                    </a:cubicBezTo>
                    <a:cubicBezTo>
                      <a:pt x="109" y="31"/>
                      <a:pt x="109" y="31"/>
                      <a:pt x="109" y="31"/>
                    </a:cubicBezTo>
                    <a:cubicBezTo>
                      <a:pt x="109" y="31"/>
                      <a:pt x="109" y="31"/>
                      <a:pt x="109" y="31"/>
                    </a:cubicBezTo>
                    <a:cubicBezTo>
                      <a:pt x="109" y="30"/>
                      <a:pt x="108" y="29"/>
                      <a:pt x="108" y="29"/>
                    </a:cubicBezTo>
                    <a:cubicBezTo>
                      <a:pt x="108" y="29"/>
                      <a:pt x="108" y="29"/>
                      <a:pt x="108" y="29"/>
                    </a:cubicBezTo>
                    <a:cubicBezTo>
                      <a:pt x="108" y="29"/>
                      <a:pt x="107" y="29"/>
                      <a:pt x="107" y="29"/>
                    </a:cubicBezTo>
                    <a:cubicBezTo>
                      <a:pt x="106" y="28"/>
                      <a:pt x="106" y="28"/>
                      <a:pt x="106" y="28"/>
                    </a:cubicBezTo>
                    <a:cubicBezTo>
                      <a:pt x="107" y="27"/>
                      <a:pt x="107" y="27"/>
                      <a:pt x="107" y="27"/>
                    </a:cubicBezTo>
                    <a:cubicBezTo>
                      <a:pt x="109" y="25"/>
                      <a:pt x="110" y="23"/>
                      <a:pt x="112" y="22"/>
                    </a:cubicBezTo>
                    <a:cubicBezTo>
                      <a:pt x="112" y="21"/>
                      <a:pt x="112" y="21"/>
                      <a:pt x="112" y="21"/>
                    </a:cubicBezTo>
                    <a:cubicBezTo>
                      <a:pt x="113" y="21"/>
                      <a:pt x="113" y="21"/>
                      <a:pt x="113" y="21"/>
                    </a:cubicBezTo>
                    <a:cubicBezTo>
                      <a:pt x="113" y="21"/>
                      <a:pt x="113" y="21"/>
                      <a:pt x="113" y="21"/>
                    </a:cubicBezTo>
                    <a:cubicBezTo>
                      <a:pt x="113" y="21"/>
                      <a:pt x="113" y="22"/>
                      <a:pt x="114" y="22"/>
                    </a:cubicBezTo>
                    <a:cubicBezTo>
                      <a:pt x="114" y="22"/>
                      <a:pt x="114" y="22"/>
                      <a:pt x="114" y="22"/>
                    </a:cubicBezTo>
                    <a:cubicBezTo>
                      <a:pt x="114" y="22"/>
                      <a:pt x="114" y="22"/>
                      <a:pt x="114" y="22"/>
                    </a:cubicBezTo>
                    <a:cubicBezTo>
                      <a:pt x="115" y="21"/>
                      <a:pt x="116" y="21"/>
                      <a:pt x="116" y="21"/>
                    </a:cubicBezTo>
                    <a:cubicBezTo>
                      <a:pt x="118" y="20"/>
                      <a:pt x="118" y="20"/>
                      <a:pt x="118" y="20"/>
                    </a:cubicBezTo>
                    <a:cubicBezTo>
                      <a:pt x="118" y="20"/>
                      <a:pt x="118" y="19"/>
                      <a:pt x="119" y="19"/>
                    </a:cubicBezTo>
                    <a:cubicBezTo>
                      <a:pt x="119" y="19"/>
                      <a:pt x="119" y="19"/>
                      <a:pt x="119" y="19"/>
                    </a:cubicBezTo>
                    <a:cubicBezTo>
                      <a:pt x="117" y="20"/>
                      <a:pt x="116" y="20"/>
                      <a:pt x="115" y="21"/>
                    </a:cubicBezTo>
                    <a:cubicBezTo>
                      <a:pt x="114" y="21"/>
                      <a:pt x="114" y="21"/>
                      <a:pt x="114" y="21"/>
                    </a:cubicBezTo>
                    <a:cubicBezTo>
                      <a:pt x="114" y="21"/>
                      <a:pt x="113" y="21"/>
                      <a:pt x="113" y="21"/>
                    </a:cubicBezTo>
                    <a:cubicBezTo>
                      <a:pt x="113" y="21"/>
                      <a:pt x="113" y="21"/>
                      <a:pt x="113" y="21"/>
                    </a:cubicBezTo>
                    <a:cubicBezTo>
                      <a:pt x="113" y="21"/>
                      <a:pt x="112" y="21"/>
                      <a:pt x="112" y="21"/>
                    </a:cubicBezTo>
                    <a:cubicBezTo>
                      <a:pt x="111" y="21"/>
                      <a:pt x="111" y="20"/>
                      <a:pt x="110" y="19"/>
                    </a:cubicBezTo>
                    <a:cubicBezTo>
                      <a:pt x="110" y="19"/>
                      <a:pt x="110" y="18"/>
                      <a:pt x="110" y="18"/>
                    </a:cubicBezTo>
                    <a:cubicBezTo>
                      <a:pt x="110" y="18"/>
                      <a:pt x="110" y="18"/>
                      <a:pt x="110" y="18"/>
                    </a:cubicBezTo>
                    <a:cubicBezTo>
                      <a:pt x="110" y="17"/>
                      <a:pt x="109" y="17"/>
                      <a:pt x="109" y="16"/>
                    </a:cubicBezTo>
                    <a:cubicBezTo>
                      <a:pt x="109" y="15"/>
                      <a:pt x="109" y="15"/>
                      <a:pt x="109" y="15"/>
                    </a:cubicBezTo>
                    <a:cubicBezTo>
                      <a:pt x="110" y="14"/>
                      <a:pt x="110" y="14"/>
                      <a:pt x="110" y="14"/>
                    </a:cubicBezTo>
                    <a:cubicBezTo>
                      <a:pt x="110" y="13"/>
                      <a:pt x="110" y="13"/>
                      <a:pt x="110" y="13"/>
                    </a:cubicBezTo>
                    <a:cubicBezTo>
                      <a:pt x="110" y="12"/>
                      <a:pt x="110" y="11"/>
                      <a:pt x="110" y="9"/>
                    </a:cubicBezTo>
                    <a:cubicBezTo>
                      <a:pt x="110" y="8"/>
                      <a:pt x="111" y="7"/>
                      <a:pt x="111" y="6"/>
                    </a:cubicBezTo>
                    <a:cubicBezTo>
                      <a:pt x="110" y="6"/>
                      <a:pt x="110" y="6"/>
                      <a:pt x="110" y="6"/>
                    </a:cubicBezTo>
                    <a:cubicBezTo>
                      <a:pt x="109" y="6"/>
                      <a:pt x="109" y="6"/>
                      <a:pt x="109" y="6"/>
                    </a:cubicBezTo>
                    <a:cubicBezTo>
                      <a:pt x="109" y="6"/>
                      <a:pt x="109" y="6"/>
                      <a:pt x="109" y="6"/>
                    </a:cubicBezTo>
                    <a:cubicBezTo>
                      <a:pt x="107" y="6"/>
                      <a:pt x="107" y="6"/>
                      <a:pt x="107" y="6"/>
                    </a:cubicBezTo>
                    <a:cubicBezTo>
                      <a:pt x="108" y="4"/>
                      <a:pt x="108" y="4"/>
                      <a:pt x="108" y="4"/>
                    </a:cubicBezTo>
                    <a:cubicBezTo>
                      <a:pt x="108" y="4"/>
                      <a:pt x="108" y="3"/>
                      <a:pt x="108" y="3"/>
                    </a:cubicBezTo>
                    <a:cubicBezTo>
                      <a:pt x="108" y="3"/>
                      <a:pt x="108" y="3"/>
                      <a:pt x="108" y="3"/>
                    </a:cubicBezTo>
                    <a:cubicBezTo>
                      <a:pt x="108" y="3"/>
                      <a:pt x="108" y="3"/>
                      <a:pt x="108" y="2"/>
                    </a:cubicBezTo>
                    <a:cubicBezTo>
                      <a:pt x="107" y="2"/>
                      <a:pt x="107" y="2"/>
                      <a:pt x="107" y="2"/>
                    </a:cubicBezTo>
                    <a:cubicBezTo>
                      <a:pt x="105" y="4"/>
                      <a:pt x="105" y="4"/>
                      <a:pt x="105" y="4"/>
                    </a:cubicBezTo>
                    <a:cubicBezTo>
                      <a:pt x="107" y="2"/>
                      <a:pt x="107" y="2"/>
                      <a:pt x="107" y="2"/>
                    </a:cubicBezTo>
                    <a:cubicBezTo>
                      <a:pt x="107" y="1"/>
                      <a:pt x="106" y="1"/>
                      <a:pt x="106" y="1"/>
                    </a:cubicBezTo>
                    <a:cubicBezTo>
                      <a:pt x="106" y="1"/>
                      <a:pt x="106" y="1"/>
                      <a:pt x="106" y="0"/>
                    </a:cubicBezTo>
                    <a:cubicBezTo>
                      <a:pt x="106" y="0"/>
                      <a:pt x="106" y="0"/>
                      <a:pt x="106" y="0"/>
                    </a:cubicBezTo>
                    <a:cubicBezTo>
                      <a:pt x="105" y="1"/>
                      <a:pt x="105" y="1"/>
                      <a:pt x="104" y="1"/>
                    </a:cubicBezTo>
                    <a:cubicBezTo>
                      <a:pt x="103" y="1"/>
                      <a:pt x="103" y="2"/>
                      <a:pt x="102" y="3"/>
                    </a:cubicBezTo>
                    <a:cubicBezTo>
                      <a:pt x="102" y="4"/>
                      <a:pt x="101" y="4"/>
                      <a:pt x="101" y="5"/>
                    </a:cubicBezTo>
                    <a:cubicBezTo>
                      <a:pt x="100" y="5"/>
                      <a:pt x="100" y="5"/>
                      <a:pt x="100" y="5"/>
                    </a:cubicBezTo>
                    <a:cubicBezTo>
                      <a:pt x="100" y="5"/>
                      <a:pt x="99" y="6"/>
                      <a:pt x="99" y="6"/>
                    </a:cubicBezTo>
                    <a:cubicBezTo>
                      <a:pt x="99" y="6"/>
                      <a:pt x="99" y="6"/>
                      <a:pt x="99" y="6"/>
                    </a:cubicBezTo>
                    <a:cubicBezTo>
                      <a:pt x="99" y="6"/>
                      <a:pt x="99" y="6"/>
                      <a:pt x="99" y="6"/>
                    </a:cubicBezTo>
                    <a:cubicBezTo>
                      <a:pt x="99" y="7"/>
                      <a:pt x="100" y="7"/>
                      <a:pt x="100" y="8"/>
                    </a:cubicBezTo>
                    <a:cubicBezTo>
                      <a:pt x="100" y="8"/>
                      <a:pt x="100" y="8"/>
                      <a:pt x="100" y="9"/>
                    </a:cubicBezTo>
                    <a:cubicBezTo>
                      <a:pt x="100" y="9"/>
                      <a:pt x="100" y="9"/>
                      <a:pt x="99" y="10"/>
                    </a:cubicBezTo>
                    <a:cubicBezTo>
                      <a:pt x="99" y="10"/>
                      <a:pt x="99" y="11"/>
                      <a:pt x="98" y="11"/>
                    </a:cubicBezTo>
                    <a:cubicBezTo>
                      <a:pt x="98" y="11"/>
                      <a:pt x="98" y="11"/>
                      <a:pt x="98" y="11"/>
                    </a:cubicBezTo>
                    <a:cubicBezTo>
                      <a:pt x="99" y="13"/>
                      <a:pt x="99" y="13"/>
                      <a:pt x="99" y="13"/>
                    </a:cubicBezTo>
                    <a:cubicBezTo>
                      <a:pt x="98" y="11"/>
                      <a:pt x="98" y="11"/>
                      <a:pt x="98" y="11"/>
                    </a:cubicBezTo>
                    <a:cubicBezTo>
                      <a:pt x="98" y="11"/>
                      <a:pt x="98" y="11"/>
                      <a:pt x="98" y="11"/>
                    </a:cubicBezTo>
                    <a:cubicBezTo>
                      <a:pt x="97" y="11"/>
                      <a:pt x="97" y="11"/>
                      <a:pt x="97" y="11"/>
                    </a:cubicBezTo>
                    <a:cubicBezTo>
                      <a:pt x="97" y="11"/>
                      <a:pt x="97" y="11"/>
                      <a:pt x="97" y="11"/>
                    </a:cubicBezTo>
                    <a:cubicBezTo>
                      <a:pt x="96" y="11"/>
                      <a:pt x="95" y="11"/>
                      <a:pt x="95" y="11"/>
                    </a:cubicBezTo>
                    <a:cubicBezTo>
                      <a:pt x="95" y="11"/>
                      <a:pt x="94" y="11"/>
                      <a:pt x="94" y="11"/>
                    </a:cubicBezTo>
                    <a:cubicBezTo>
                      <a:pt x="94" y="11"/>
                      <a:pt x="93" y="11"/>
                      <a:pt x="92" y="11"/>
                    </a:cubicBezTo>
                    <a:cubicBezTo>
                      <a:pt x="92" y="11"/>
                      <a:pt x="92" y="11"/>
                      <a:pt x="92" y="11"/>
                    </a:cubicBezTo>
                    <a:cubicBezTo>
                      <a:pt x="92" y="11"/>
                      <a:pt x="92" y="11"/>
                      <a:pt x="92" y="12"/>
                    </a:cubicBezTo>
                    <a:cubicBezTo>
                      <a:pt x="91" y="13"/>
                      <a:pt x="91" y="13"/>
                      <a:pt x="91" y="13"/>
                    </a:cubicBezTo>
                    <a:cubicBezTo>
                      <a:pt x="91" y="13"/>
                      <a:pt x="91" y="13"/>
                      <a:pt x="91" y="14"/>
                    </a:cubicBezTo>
                    <a:cubicBezTo>
                      <a:pt x="91" y="14"/>
                      <a:pt x="91" y="14"/>
                      <a:pt x="91" y="14"/>
                    </a:cubicBezTo>
                    <a:cubicBezTo>
                      <a:pt x="91" y="15"/>
                      <a:pt x="91" y="15"/>
                      <a:pt x="91" y="15"/>
                    </a:cubicBezTo>
                    <a:cubicBezTo>
                      <a:pt x="93" y="17"/>
                      <a:pt x="93" y="17"/>
                      <a:pt x="93" y="17"/>
                    </a:cubicBezTo>
                    <a:cubicBezTo>
                      <a:pt x="90" y="16"/>
                      <a:pt x="90" y="16"/>
                      <a:pt x="90" y="16"/>
                    </a:cubicBezTo>
                    <a:cubicBezTo>
                      <a:pt x="90" y="16"/>
                      <a:pt x="90" y="16"/>
                      <a:pt x="89" y="16"/>
                    </a:cubicBezTo>
                    <a:cubicBezTo>
                      <a:pt x="89" y="16"/>
                      <a:pt x="88" y="16"/>
                      <a:pt x="88" y="16"/>
                    </a:cubicBezTo>
                    <a:cubicBezTo>
                      <a:pt x="87" y="16"/>
                      <a:pt x="87" y="16"/>
                      <a:pt x="86" y="15"/>
                    </a:cubicBezTo>
                    <a:cubicBezTo>
                      <a:pt x="85" y="14"/>
                      <a:pt x="85" y="14"/>
                      <a:pt x="85" y="14"/>
                    </a:cubicBezTo>
                    <a:cubicBezTo>
                      <a:pt x="85" y="14"/>
                      <a:pt x="85" y="14"/>
                      <a:pt x="85" y="14"/>
                    </a:cubicBezTo>
                    <a:cubicBezTo>
                      <a:pt x="85" y="14"/>
                      <a:pt x="85" y="14"/>
                      <a:pt x="84" y="14"/>
                    </a:cubicBezTo>
                    <a:cubicBezTo>
                      <a:pt x="84" y="14"/>
                      <a:pt x="84" y="14"/>
                      <a:pt x="84" y="14"/>
                    </a:cubicBezTo>
                    <a:cubicBezTo>
                      <a:pt x="84" y="14"/>
                      <a:pt x="84" y="14"/>
                      <a:pt x="84" y="14"/>
                    </a:cubicBezTo>
                    <a:cubicBezTo>
                      <a:pt x="84" y="15"/>
                      <a:pt x="83" y="15"/>
                      <a:pt x="83" y="15"/>
                    </a:cubicBezTo>
                    <a:cubicBezTo>
                      <a:pt x="82" y="15"/>
                      <a:pt x="81" y="16"/>
                      <a:pt x="80" y="16"/>
                    </a:cubicBezTo>
                    <a:cubicBezTo>
                      <a:pt x="80" y="16"/>
                      <a:pt x="80" y="16"/>
                      <a:pt x="80" y="16"/>
                    </a:cubicBezTo>
                    <a:cubicBezTo>
                      <a:pt x="80" y="16"/>
                      <a:pt x="80" y="16"/>
                      <a:pt x="79" y="16"/>
                    </a:cubicBezTo>
                    <a:cubicBezTo>
                      <a:pt x="79" y="17"/>
                      <a:pt x="78" y="17"/>
                      <a:pt x="78" y="17"/>
                    </a:cubicBezTo>
                    <a:cubicBezTo>
                      <a:pt x="78" y="17"/>
                      <a:pt x="78" y="17"/>
                      <a:pt x="78" y="17"/>
                    </a:cubicBezTo>
                    <a:cubicBezTo>
                      <a:pt x="78" y="18"/>
                      <a:pt x="78" y="18"/>
                      <a:pt x="78" y="18"/>
                    </a:cubicBezTo>
                    <a:cubicBezTo>
                      <a:pt x="78" y="18"/>
                      <a:pt x="78" y="18"/>
                      <a:pt x="78" y="18"/>
                    </a:cubicBezTo>
                    <a:cubicBezTo>
                      <a:pt x="77" y="18"/>
                      <a:pt x="77" y="18"/>
                      <a:pt x="76" y="18"/>
                    </a:cubicBezTo>
                    <a:cubicBezTo>
                      <a:pt x="76" y="18"/>
                      <a:pt x="76" y="18"/>
                      <a:pt x="76" y="18"/>
                    </a:cubicBezTo>
                    <a:cubicBezTo>
                      <a:pt x="75" y="18"/>
                      <a:pt x="75" y="18"/>
                      <a:pt x="74" y="18"/>
                    </a:cubicBezTo>
                    <a:cubicBezTo>
                      <a:pt x="73" y="17"/>
                      <a:pt x="73" y="17"/>
                      <a:pt x="73" y="17"/>
                    </a:cubicBezTo>
                    <a:cubicBezTo>
                      <a:pt x="72" y="16"/>
                      <a:pt x="72" y="16"/>
                      <a:pt x="72" y="16"/>
                    </a:cubicBezTo>
                    <a:cubicBezTo>
                      <a:pt x="72" y="16"/>
                      <a:pt x="72" y="16"/>
                      <a:pt x="72" y="16"/>
                    </a:cubicBezTo>
                    <a:cubicBezTo>
                      <a:pt x="72" y="16"/>
                      <a:pt x="72" y="16"/>
                      <a:pt x="72" y="15"/>
                    </a:cubicBezTo>
                    <a:cubicBezTo>
                      <a:pt x="72" y="15"/>
                      <a:pt x="72" y="15"/>
                      <a:pt x="72" y="15"/>
                    </a:cubicBezTo>
                    <a:cubicBezTo>
                      <a:pt x="72" y="15"/>
                      <a:pt x="71" y="15"/>
                      <a:pt x="71" y="16"/>
                    </a:cubicBezTo>
                    <a:cubicBezTo>
                      <a:pt x="70" y="16"/>
                      <a:pt x="70" y="16"/>
                      <a:pt x="70" y="16"/>
                    </a:cubicBezTo>
                    <a:cubicBezTo>
                      <a:pt x="70" y="16"/>
                      <a:pt x="70" y="16"/>
                      <a:pt x="70" y="16"/>
                    </a:cubicBezTo>
                    <a:cubicBezTo>
                      <a:pt x="69" y="16"/>
                      <a:pt x="69" y="16"/>
                      <a:pt x="68" y="15"/>
                    </a:cubicBezTo>
                    <a:cubicBezTo>
                      <a:pt x="68" y="15"/>
                      <a:pt x="68" y="16"/>
                      <a:pt x="68" y="16"/>
                    </a:cubicBezTo>
                    <a:cubicBezTo>
                      <a:pt x="67" y="16"/>
                      <a:pt x="67" y="15"/>
                      <a:pt x="66" y="15"/>
                    </a:cubicBezTo>
                    <a:cubicBezTo>
                      <a:pt x="66" y="14"/>
                      <a:pt x="66" y="14"/>
                      <a:pt x="66" y="14"/>
                    </a:cubicBezTo>
                    <a:cubicBezTo>
                      <a:pt x="65" y="14"/>
                      <a:pt x="65" y="14"/>
                      <a:pt x="65" y="13"/>
                    </a:cubicBezTo>
                    <a:cubicBezTo>
                      <a:pt x="64" y="13"/>
                      <a:pt x="64" y="13"/>
                      <a:pt x="64" y="13"/>
                    </a:cubicBezTo>
                    <a:cubicBezTo>
                      <a:pt x="62" y="13"/>
                      <a:pt x="62" y="13"/>
                      <a:pt x="62" y="13"/>
                    </a:cubicBezTo>
                    <a:cubicBezTo>
                      <a:pt x="62" y="14"/>
                      <a:pt x="62" y="14"/>
                      <a:pt x="62" y="14"/>
                    </a:cubicBezTo>
                    <a:cubicBezTo>
                      <a:pt x="61" y="13"/>
                      <a:pt x="61" y="13"/>
                      <a:pt x="61" y="13"/>
                    </a:cubicBezTo>
                    <a:cubicBezTo>
                      <a:pt x="61" y="13"/>
                      <a:pt x="61" y="13"/>
                      <a:pt x="61" y="13"/>
                    </a:cubicBezTo>
                    <a:cubicBezTo>
                      <a:pt x="60" y="14"/>
                      <a:pt x="60" y="14"/>
                      <a:pt x="60" y="14"/>
                    </a:cubicBezTo>
                    <a:cubicBezTo>
                      <a:pt x="60" y="14"/>
                      <a:pt x="60" y="14"/>
                      <a:pt x="60" y="14"/>
                    </a:cubicBezTo>
                    <a:cubicBezTo>
                      <a:pt x="60" y="14"/>
                      <a:pt x="60" y="14"/>
                      <a:pt x="60" y="14"/>
                    </a:cubicBezTo>
                    <a:cubicBezTo>
                      <a:pt x="60" y="14"/>
                      <a:pt x="60" y="14"/>
                      <a:pt x="60" y="14"/>
                    </a:cubicBezTo>
                    <a:cubicBezTo>
                      <a:pt x="59" y="14"/>
                      <a:pt x="59" y="14"/>
                      <a:pt x="58" y="14"/>
                    </a:cubicBezTo>
                    <a:cubicBezTo>
                      <a:pt x="58" y="14"/>
                      <a:pt x="57" y="13"/>
                      <a:pt x="57" y="13"/>
                    </a:cubicBezTo>
                    <a:cubicBezTo>
                      <a:pt x="57" y="13"/>
                      <a:pt x="57" y="13"/>
                      <a:pt x="57" y="13"/>
                    </a:cubicBezTo>
                    <a:cubicBezTo>
                      <a:pt x="56" y="13"/>
                      <a:pt x="56" y="13"/>
                      <a:pt x="55" y="13"/>
                    </a:cubicBezTo>
                    <a:cubicBezTo>
                      <a:pt x="55" y="12"/>
                      <a:pt x="55" y="12"/>
                      <a:pt x="55" y="12"/>
                    </a:cubicBezTo>
                    <a:cubicBezTo>
                      <a:pt x="54" y="12"/>
                      <a:pt x="54" y="12"/>
                      <a:pt x="54" y="12"/>
                    </a:cubicBezTo>
                    <a:cubicBezTo>
                      <a:pt x="53" y="12"/>
                      <a:pt x="53" y="12"/>
                      <a:pt x="53" y="12"/>
                    </a:cubicBezTo>
                    <a:cubicBezTo>
                      <a:pt x="53" y="12"/>
                      <a:pt x="53" y="12"/>
                      <a:pt x="53" y="12"/>
                    </a:cubicBezTo>
                    <a:cubicBezTo>
                      <a:pt x="52" y="13"/>
                      <a:pt x="51" y="14"/>
                      <a:pt x="50" y="15"/>
                    </a:cubicBezTo>
                    <a:cubicBezTo>
                      <a:pt x="50" y="15"/>
                      <a:pt x="50" y="15"/>
                      <a:pt x="49" y="15"/>
                    </a:cubicBezTo>
                    <a:cubicBezTo>
                      <a:pt x="49" y="15"/>
                      <a:pt x="48" y="15"/>
                      <a:pt x="48" y="15"/>
                    </a:cubicBezTo>
                    <a:cubicBezTo>
                      <a:pt x="42" y="21"/>
                      <a:pt x="42" y="21"/>
                      <a:pt x="42" y="21"/>
                    </a:cubicBezTo>
                    <a:cubicBezTo>
                      <a:pt x="42" y="21"/>
                      <a:pt x="42" y="21"/>
                      <a:pt x="42" y="21"/>
                    </a:cubicBezTo>
                    <a:cubicBezTo>
                      <a:pt x="42" y="21"/>
                      <a:pt x="42" y="21"/>
                      <a:pt x="42" y="22"/>
                    </a:cubicBezTo>
                    <a:cubicBezTo>
                      <a:pt x="42" y="23"/>
                      <a:pt x="42" y="24"/>
                      <a:pt x="41" y="25"/>
                    </a:cubicBezTo>
                    <a:cubicBezTo>
                      <a:pt x="40" y="26"/>
                      <a:pt x="40" y="26"/>
                      <a:pt x="40" y="26"/>
                    </a:cubicBezTo>
                    <a:cubicBezTo>
                      <a:pt x="39" y="26"/>
                      <a:pt x="38" y="27"/>
                      <a:pt x="37" y="28"/>
                    </a:cubicBezTo>
                    <a:cubicBezTo>
                      <a:pt x="36" y="28"/>
                      <a:pt x="35" y="29"/>
                      <a:pt x="34" y="29"/>
                    </a:cubicBezTo>
                    <a:cubicBezTo>
                      <a:pt x="33" y="29"/>
                      <a:pt x="33" y="29"/>
                      <a:pt x="33" y="29"/>
                    </a:cubicBezTo>
                    <a:cubicBezTo>
                      <a:pt x="32" y="30"/>
                      <a:pt x="31" y="30"/>
                      <a:pt x="30" y="30"/>
                    </a:cubicBezTo>
                    <a:cubicBezTo>
                      <a:pt x="30" y="31"/>
                      <a:pt x="29" y="31"/>
                      <a:pt x="28" y="31"/>
                    </a:cubicBezTo>
                    <a:cubicBezTo>
                      <a:pt x="28" y="31"/>
                      <a:pt x="28" y="31"/>
                      <a:pt x="28" y="31"/>
                    </a:cubicBezTo>
                    <a:cubicBezTo>
                      <a:pt x="28" y="31"/>
                      <a:pt x="28" y="31"/>
                      <a:pt x="28" y="31"/>
                    </a:cubicBezTo>
                    <a:cubicBezTo>
                      <a:pt x="28" y="32"/>
                      <a:pt x="27" y="33"/>
                      <a:pt x="27" y="34"/>
                    </a:cubicBezTo>
                    <a:cubicBezTo>
                      <a:pt x="26" y="34"/>
                      <a:pt x="26" y="34"/>
                      <a:pt x="26" y="34"/>
                    </a:cubicBezTo>
                    <a:cubicBezTo>
                      <a:pt x="26" y="35"/>
                      <a:pt x="25" y="36"/>
                      <a:pt x="24" y="37"/>
                    </a:cubicBezTo>
                    <a:cubicBezTo>
                      <a:pt x="24" y="37"/>
                      <a:pt x="24" y="37"/>
                      <a:pt x="24" y="37"/>
                    </a:cubicBezTo>
                    <a:cubicBezTo>
                      <a:pt x="24" y="37"/>
                      <a:pt x="24" y="37"/>
                      <a:pt x="24" y="37"/>
                    </a:cubicBezTo>
                    <a:cubicBezTo>
                      <a:pt x="23" y="37"/>
                      <a:pt x="23" y="37"/>
                      <a:pt x="23" y="37"/>
                    </a:cubicBezTo>
                    <a:cubicBezTo>
                      <a:pt x="22" y="37"/>
                      <a:pt x="22" y="37"/>
                      <a:pt x="21" y="37"/>
                    </a:cubicBezTo>
                    <a:cubicBezTo>
                      <a:pt x="21" y="37"/>
                      <a:pt x="21" y="37"/>
                      <a:pt x="21" y="37"/>
                    </a:cubicBezTo>
                    <a:cubicBezTo>
                      <a:pt x="20" y="38"/>
                      <a:pt x="20" y="38"/>
                      <a:pt x="19" y="38"/>
                    </a:cubicBezTo>
                    <a:cubicBezTo>
                      <a:pt x="19" y="38"/>
                      <a:pt x="19" y="38"/>
                      <a:pt x="19" y="38"/>
                    </a:cubicBezTo>
                    <a:cubicBezTo>
                      <a:pt x="19" y="39"/>
                      <a:pt x="18" y="39"/>
                      <a:pt x="18" y="39"/>
                    </a:cubicBezTo>
                    <a:cubicBezTo>
                      <a:pt x="17" y="39"/>
                      <a:pt x="17" y="39"/>
                      <a:pt x="17" y="39"/>
                    </a:cubicBezTo>
                    <a:cubicBezTo>
                      <a:pt x="17" y="39"/>
                      <a:pt x="16" y="39"/>
                      <a:pt x="15" y="38"/>
                    </a:cubicBezTo>
                    <a:cubicBezTo>
                      <a:pt x="15" y="38"/>
                      <a:pt x="15" y="38"/>
                      <a:pt x="15" y="37"/>
                    </a:cubicBezTo>
                    <a:cubicBezTo>
                      <a:pt x="15" y="37"/>
                      <a:pt x="14" y="37"/>
                      <a:pt x="14" y="37"/>
                    </a:cubicBezTo>
                    <a:cubicBezTo>
                      <a:pt x="14" y="37"/>
                      <a:pt x="14" y="37"/>
                      <a:pt x="14" y="37"/>
                    </a:cubicBezTo>
                    <a:cubicBezTo>
                      <a:pt x="14" y="37"/>
                      <a:pt x="14" y="36"/>
                      <a:pt x="14" y="36"/>
                    </a:cubicBezTo>
                    <a:cubicBezTo>
                      <a:pt x="14" y="36"/>
                      <a:pt x="14" y="36"/>
                      <a:pt x="14" y="36"/>
                    </a:cubicBezTo>
                    <a:cubicBezTo>
                      <a:pt x="13" y="36"/>
                      <a:pt x="13" y="36"/>
                      <a:pt x="12" y="35"/>
                    </a:cubicBezTo>
                    <a:cubicBezTo>
                      <a:pt x="12" y="35"/>
                      <a:pt x="12" y="35"/>
                      <a:pt x="12" y="35"/>
                    </a:cubicBezTo>
                    <a:cubicBezTo>
                      <a:pt x="12" y="35"/>
                      <a:pt x="12" y="35"/>
                      <a:pt x="11" y="35"/>
                    </a:cubicBezTo>
                    <a:cubicBezTo>
                      <a:pt x="11" y="35"/>
                      <a:pt x="10" y="35"/>
                      <a:pt x="10" y="35"/>
                    </a:cubicBezTo>
                    <a:cubicBezTo>
                      <a:pt x="9" y="35"/>
                      <a:pt x="9" y="35"/>
                      <a:pt x="9" y="35"/>
                    </a:cubicBezTo>
                    <a:cubicBezTo>
                      <a:pt x="9" y="35"/>
                      <a:pt x="9" y="35"/>
                      <a:pt x="9" y="35"/>
                    </a:cubicBezTo>
                    <a:cubicBezTo>
                      <a:pt x="7" y="36"/>
                      <a:pt x="7" y="36"/>
                      <a:pt x="7" y="36"/>
                    </a:cubicBezTo>
                    <a:cubicBezTo>
                      <a:pt x="6" y="39"/>
                      <a:pt x="6" y="39"/>
                      <a:pt x="6" y="39"/>
                    </a:cubicBezTo>
                    <a:cubicBezTo>
                      <a:pt x="6" y="39"/>
                      <a:pt x="6" y="40"/>
                      <a:pt x="6" y="40"/>
                    </a:cubicBezTo>
                    <a:cubicBezTo>
                      <a:pt x="6" y="41"/>
                      <a:pt x="6" y="41"/>
                      <a:pt x="6" y="41"/>
                    </a:cubicBezTo>
                    <a:cubicBezTo>
                      <a:pt x="6" y="41"/>
                      <a:pt x="6" y="41"/>
                      <a:pt x="6" y="41"/>
                    </a:cubicBezTo>
                    <a:cubicBezTo>
                      <a:pt x="6" y="42"/>
                      <a:pt x="6" y="42"/>
                      <a:pt x="6" y="42"/>
                    </a:cubicBezTo>
                    <a:cubicBezTo>
                      <a:pt x="6" y="43"/>
                      <a:pt x="5" y="43"/>
                      <a:pt x="4" y="44"/>
                    </a:cubicBezTo>
                    <a:cubicBezTo>
                      <a:pt x="4" y="45"/>
                      <a:pt x="4" y="45"/>
                      <a:pt x="4" y="45"/>
                    </a:cubicBezTo>
                    <a:cubicBezTo>
                      <a:pt x="3" y="45"/>
                      <a:pt x="3" y="45"/>
                      <a:pt x="3" y="45"/>
                    </a:cubicBezTo>
                    <a:cubicBezTo>
                      <a:pt x="3" y="46"/>
                      <a:pt x="3" y="46"/>
                      <a:pt x="4" y="46"/>
                    </a:cubicBezTo>
                    <a:cubicBezTo>
                      <a:pt x="4" y="47"/>
                      <a:pt x="4" y="47"/>
                      <a:pt x="4" y="47"/>
                    </a:cubicBezTo>
                    <a:cubicBezTo>
                      <a:pt x="0" y="51"/>
                      <a:pt x="0" y="51"/>
                      <a:pt x="0" y="51"/>
                    </a:cubicBezTo>
                    <a:cubicBezTo>
                      <a:pt x="0" y="51"/>
                      <a:pt x="0" y="52"/>
                      <a:pt x="0" y="53"/>
                    </a:cubicBezTo>
                    <a:cubicBezTo>
                      <a:pt x="0" y="53"/>
                      <a:pt x="0" y="54"/>
                      <a:pt x="0" y="54"/>
                    </a:cubicBezTo>
                    <a:cubicBezTo>
                      <a:pt x="0" y="54"/>
                      <a:pt x="0" y="54"/>
                      <a:pt x="0" y="54"/>
                    </a:cubicBezTo>
                    <a:cubicBezTo>
                      <a:pt x="0" y="55"/>
                      <a:pt x="0" y="55"/>
                      <a:pt x="0" y="55"/>
                    </a:cubicBezTo>
                    <a:cubicBezTo>
                      <a:pt x="0" y="55"/>
                      <a:pt x="1" y="55"/>
                      <a:pt x="1" y="55"/>
                    </a:cubicBezTo>
                    <a:cubicBezTo>
                      <a:pt x="1" y="55"/>
                      <a:pt x="1" y="55"/>
                      <a:pt x="1" y="55"/>
                    </a:cubicBezTo>
                    <a:cubicBezTo>
                      <a:pt x="2" y="55"/>
                      <a:pt x="2" y="55"/>
                      <a:pt x="2" y="55"/>
                    </a:cubicBezTo>
                    <a:cubicBezTo>
                      <a:pt x="3" y="55"/>
                      <a:pt x="3" y="55"/>
                      <a:pt x="3" y="55"/>
                    </a:cubicBezTo>
                    <a:cubicBezTo>
                      <a:pt x="3" y="55"/>
                      <a:pt x="3" y="56"/>
                      <a:pt x="4" y="56"/>
                    </a:cubicBezTo>
                    <a:cubicBezTo>
                      <a:pt x="6" y="56"/>
                      <a:pt x="6" y="56"/>
                      <a:pt x="6" y="56"/>
                    </a:cubicBezTo>
                    <a:cubicBezTo>
                      <a:pt x="4" y="58"/>
                      <a:pt x="4" y="58"/>
                      <a:pt x="4" y="58"/>
                    </a:cubicBezTo>
                    <a:cubicBezTo>
                      <a:pt x="4" y="58"/>
                      <a:pt x="4" y="58"/>
                      <a:pt x="3" y="59"/>
                    </a:cubicBezTo>
                    <a:cubicBezTo>
                      <a:pt x="3" y="59"/>
                      <a:pt x="3" y="59"/>
                      <a:pt x="3" y="59"/>
                    </a:cubicBezTo>
                    <a:cubicBezTo>
                      <a:pt x="2" y="60"/>
                      <a:pt x="1" y="61"/>
                      <a:pt x="1" y="61"/>
                    </a:cubicBezTo>
                    <a:cubicBezTo>
                      <a:pt x="3" y="68"/>
                      <a:pt x="3" y="68"/>
                      <a:pt x="3" y="68"/>
                    </a:cubicBezTo>
                    <a:cubicBezTo>
                      <a:pt x="3" y="68"/>
                      <a:pt x="3" y="68"/>
                      <a:pt x="3" y="69"/>
                    </a:cubicBezTo>
                    <a:cubicBezTo>
                      <a:pt x="3" y="70"/>
                      <a:pt x="3" y="70"/>
                      <a:pt x="3" y="70"/>
                    </a:cubicBezTo>
                    <a:cubicBezTo>
                      <a:pt x="3" y="70"/>
                      <a:pt x="4" y="70"/>
                      <a:pt x="4" y="71"/>
                    </a:cubicBezTo>
                    <a:cubicBezTo>
                      <a:pt x="4" y="72"/>
                      <a:pt x="4" y="72"/>
                      <a:pt x="3" y="73"/>
                    </a:cubicBezTo>
                    <a:cubicBezTo>
                      <a:pt x="3" y="74"/>
                      <a:pt x="3" y="74"/>
                      <a:pt x="3" y="75"/>
                    </a:cubicBezTo>
                    <a:cubicBezTo>
                      <a:pt x="3" y="75"/>
                      <a:pt x="3" y="75"/>
                      <a:pt x="3" y="75"/>
                    </a:cubicBezTo>
                    <a:cubicBezTo>
                      <a:pt x="3" y="75"/>
                      <a:pt x="3" y="76"/>
                      <a:pt x="3" y="76"/>
                    </a:cubicBezTo>
                    <a:cubicBezTo>
                      <a:pt x="3" y="76"/>
                      <a:pt x="3" y="76"/>
                      <a:pt x="3" y="76"/>
                    </a:cubicBezTo>
                    <a:cubicBezTo>
                      <a:pt x="5" y="76"/>
                      <a:pt x="5" y="76"/>
                      <a:pt x="5" y="76"/>
                    </a:cubicBezTo>
                    <a:cubicBezTo>
                      <a:pt x="3" y="77"/>
                      <a:pt x="3" y="77"/>
                      <a:pt x="3" y="77"/>
                    </a:cubicBezTo>
                    <a:cubicBezTo>
                      <a:pt x="3" y="77"/>
                      <a:pt x="3" y="77"/>
                      <a:pt x="3" y="77"/>
                    </a:cubicBezTo>
                    <a:cubicBezTo>
                      <a:pt x="3" y="77"/>
                      <a:pt x="3" y="78"/>
                      <a:pt x="3" y="78"/>
                    </a:cubicBezTo>
                    <a:cubicBezTo>
                      <a:pt x="3" y="78"/>
                      <a:pt x="3" y="78"/>
                      <a:pt x="3" y="79"/>
                    </a:cubicBezTo>
                    <a:cubicBezTo>
                      <a:pt x="4" y="79"/>
                      <a:pt x="4" y="79"/>
                      <a:pt x="4" y="79"/>
                    </a:cubicBezTo>
                    <a:cubicBezTo>
                      <a:pt x="9" y="79"/>
                      <a:pt x="9" y="79"/>
                      <a:pt x="9" y="79"/>
                    </a:cubicBezTo>
                    <a:cubicBezTo>
                      <a:pt x="10" y="80"/>
                      <a:pt x="11" y="80"/>
                      <a:pt x="12" y="81"/>
                    </a:cubicBezTo>
                    <a:cubicBezTo>
                      <a:pt x="13" y="82"/>
                      <a:pt x="13" y="82"/>
                      <a:pt x="13" y="82"/>
                    </a:cubicBezTo>
                    <a:cubicBezTo>
                      <a:pt x="13" y="82"/>
                      <a:pt x="13" y="83"/>
                      <a:pt x="13" y="83"/>
                    </a:cubicBezTo>
                    <a:cubicBezTo>
                      <a:pt x="13" y="83"/>
                      <a:pt x="13" y="84"/>
                      <a:pt x="14" y="84"/>
                    </a:cubicBezTo>
                    <a:cubicBezTo>
                      <a:pt x="14" y="86"/>
                      <a:pt x="14" y="87"/>
                      <a:pt x="13" y="88"/>
                    </a:cubicBezTo>
                    <a:cubicBezTo>
                      <a:pt x="12" y="89"/>
                      <a:pt x="11" y="90"/>
                      <a:pt x="11" y="91"/>
                    </a:cubicBezTo>
                    <a:cubicBezTo>
                      <a:pt x="10" y="91"/>
                      <a:pt x="10" y="91"/>
                      <a:pt x="10" y="92"/>
                    </a:cubicBezTo>
                    <a:cubicBezTo>
                      <a:pt x="9" y="93"/>
                      <a:pt x="9" y="93"/>
                      <a:pt x="9" y="93"/>
                    </a:cubicBezTo>
                    <a:cubicBezTo>
                      <a:pt x="8" y="94"/>
                      <a:pt x="8" y="94"/>
                      <a:pt x="7" y="95"/>
                    </a:cubicBezTo>
                    <a:cubicBezTo>
                      <a:pt x="5" y="97"/>
                      <a:pt x="5" y="97"/>
                      <a:pt x="5" y="97"/>
                    </a:cubicBezTo>
                    <a:cubicBezTo>
                      <a:pt x="21" y="102"/>
                      <a:pt x="21" y="102"/>
                      <a:pt x="21" y="102"/>
                    </a:cubicBezTo>
                    <a:cubicBezTo>
                      <a:pt x="21" y="102"/>
                      <a:pt x="21" y="102"/>
                      <a:pt x="21" y="102"/>
                    </a:cubicBezTo>
                    <a:cubicBezTo>
                      <a:pt x="21" y="102"/>
                      <a:pt x="21" y="102"/>
                      <a:pt x="21" y="102"/>
                    </a:cubicBezTo>
                    <a:cubicBezTo>
                      <a:pt x="22" y="102"/>
                      <a:pt x="22" y="102"/>
                      <a:pt x="22" y="102"/>
                    </a:cubicBezTo>
                    <a:cubicBezTo>
                      <a:pt x="22" y="102"/>
                      <a:pt x="22" y="102"/>
                      <a:pt x="22" y="102"/>
                    </a:cubicBezTo>
                    <a:cubicBezTo>
                      <a:pt x="23" y="102"/>
                      <a:pt x="23" y="102"/>
                      <a:pt x="24" y="102"/>
                    </a:cubicBezTo>
                    <a:cubicBezTo>
                      <a:pt x="25" y="101"/>
                      <a:pt x="25" y="101"/>
                      <a:pt x="25" y="101"/>
                    </a:cubicBezTo>
                    <a:cubicBezTo>
                      <a:pt x="25" y="101"/>
                      <a:pt x="25" y="101"/>
                      <a:pt x="25" y="101"/>
                    </a:cubicBezTo>
                    <a:cubicBezTo>
                      <a:pt x="30" y="101"/>
                      <a:pt x="30" y="101"/>
                      <a:pt x="30" y="101"/>
                    </a:cubicBezTo>
                    <a:cubicBezTo>
                      <a:pt x="30" y="101"/>
                      <a:pt x="30" y="101"/>
                      <a:pt x="30" y="101"/>
                    </a:cubicBezTo>
                    <a:cubicBezTo>
                      <a:pt x="31" y="101"/>
                      <a:pt x="31" y="101"/>
                      <a:pt x="31" y="101"/>
                    </a:cubicBezTo>
                    <a:cubicBezTo>
                      <a:pt x="31" y="101"/>
                      <a:pt x="31" y="101"/>
                      <a:pt x="31" y="101"/>
                    </a:cubicBezTo>
                    <a:cubicBezTo>
                      <a:pt x="31" y="101"/>
                      <a:pt x="32" y="101"/>
                      <a:pt x="32" y="101"/>
                    </a:cubicBezTo>
                    <a:cubicBezTo>
                      <a:pt x="32" y="101"/>
                      <a:pt x="32" y="101"/>
                      <a:pt x="32" y="101"/>
                    </a:cubicBezTo>
                    <a:cubicBezTo>
                      <a:pt x="32" y="101"/>
                      <a:pt x="33" y="101"/>
                      <a:pt x="33" y="102"/>
                    </a:cubicBezTo>
                    <a:cubicBezTo>
                      <a:pt x="33" y="102"/>
                      <a:pt x="34" y="102"/>
                      <a:pt x="34" y="102"/>
                    </a:cubicBezTo>
                    <a:cubicBezTo>
                      <a:pt x="34" y="102"/>
                      <a:pt x="34" y="102"/>
                      <a:pt x="34" y="102"/>
                    </a:cubicBezTo>
                    <a:cubicBezTo>
                      <a:pt x="34" y="102"/>
                      <a:pt x="35" y="102"/>
                      <a:pt x="35" y="102"/>
                    </a:cubicBezTo>
                    <a:cubicBezTo>
                      <a:pt x="36" y="102"/>
                      <a:pt x="36" y="102"/>
                      <a:pt x="37" y="101"/>
                    </a:cubicBezTo>
                    <a:cubicBezTo>
                      <a:pt x="37" y="101"/>
                      <a:pt x="38" y="101"/>
                      <a:pt x="38" y="101"/>
                    </a:cubicBezTo>
                    <a:cubicBezTo>
                      <a:pt x="39" y="100"/>
                      <a:pt x="39" y="100"/>
                      <a:pt x="39" y="100"/>
                    </a:cubicBezTo>
                    <a:cubicBezTo>
                      <a:pt x="41" y="100"/>
                      <a:pt x="42" y="100"/>
                      <a:pt x="44" y="99"/>
                    </a:cubicBezTo>
                    <a:cubicBezTo>
                      <a:pt x="45" y="99"/>
                      <a:pt x="46" y="99"/>
                      <a:pt x="47" y="99"/>
                    </a:cubicBezTo>
                    <a:cubicBezTo>
                      <a:pt x="49" y="99"/>
                      <a:pt x="49" y="99"/>
                      <a:pt x="49" y="99"/>
                    </a:cubicBezTo>
                    <a:cubicBezTo>
                      <a:pt x="49" y="99"/>
                      <a:pt x="49" y="99"/>
                      <a:pt x="49" y="99"/>
                    </a:cubicBezTo>
                    <a:cubicBezTo>
                      <a:pt x="50" y="99"/>
                      <a:pt x="52" y="99"/>
                      <a:pt x="52" y="98"/>
                    </a:cubicBezTo>
                    <a:cubicBezTo>
                      <a:pt x="53" y="98"/>
                      <a:pt x="54" y="98"/>
                      <a:pt x="55" y="98"/>
                    </a:cubicBezTo>
                    <a:cubicBezTo>
                      <a:pt x="56" y="97"/>
                      <a:pt x="56" y="97"/>
                      <a:pt x="56" y="97"/>
                    </a:cubicBezTo>
                    <a:cubicBezTo>
                      <a:pt x="56" y="97"/>
                      <a:pt x="57" y="97"/>
                      <a:pt x="57" y="97"/>
                    </a:cubicBezTo>
                    <a:cubicBezTo>
                      <a:pt x="57" y="97"/>
                      <a:pt x="57" y="97"/>
                      <a:pt x="57" y="97"/>
                    </a:cubicBezTo>
                    <a:cubicBezTo>
                      <a:pt x="56" y="96"/>
                      <a:pt x="56" y="95"/>
                      <a:pt x="57" y="95"/>
                    </a:cubicBezTo>
                    <a:cubicBezTo>
                      <a:pt x="57" y="94"/>
                      <a:pt x="57" y="94"/>
                      <a:pt x="57" y="94"/>
                    </a:cubicBezTo>
                    <a:cubicBezTo>
                      <a:pt x="57" y="94"/>
                      <a:pt x="57" y="93"/>
                      <a:pt x="57" y="93"/>
                    </a:cubicBezTo>
                    <a:cubicBezTo>
                      <a:pt x="57" y="92"/>
                      <a:pt x="57" y="92"/>
                      <a:pt x="57" y="92"/>
                    </a:cubicBezTo>
                    <a:cubicBezTo>
                      <a:pt x="57" y="90"/>
                      <a:pt x="57" y="89"/>
                      <a:pt x="57" y="88"/>
                    </a:cubicBezTo>
                    <a:cubicBezTo>
                      <a:pt x="58" y="87"/>
                      <a:pt x="58" y="87"/>
                      <a:pt x="58" y="87"/>
                    </a:cubicBezTo>
                    <a:cubicBezTo>
                      <a:pt x="58" y="87"/>
                      <a:pt x="58" y="86"/>
                      <a:pt x="58" y="86"/>
                    </a:cubicBezTo>
                    <a:cubicBezTo>
                      <a:pt x="58" y="86"/>
                      <a:pt x="58" y="85"/>
                      <a:pt x="59" y="85"/>
                    </a:cubicBezTo>
                    <a:cubicBezTo>
                      <a:pt x="59" y="85"/>
                      <a:pt x="59" y="85"/>
                      <a:pt x="59" y="85"/>
                    </a:cubicBezTo>
                    <a:cubicBezTo>
                      <a:pt x="59" y="84"/>
                      <a:pt x="60" y="84"/>
                      <a:pt x="60" y="83"/>
                    </a:cubicBezTo>
                    <a:cubicBezTo>
                      <a:pt x="61" y="83"/>
                      <a:pt x="61" y="82"/>
                      <a:pt x="62" y="82"/>
                    </a:cubicBezTo>
                    <a:cubicBezTo>
                      <a:pt x="62" y="82"/>
                      <a:pt x="62" y="82"/>
                      <a:pt x="62" y="82"/>
                    </a:cubicBezTo>
                    <a:cubicBezTo>
                      <a:pt x="62" y="82"/>
                      <a:pt x="62" y="82"/>
                      <a:pt x="63" y="82"/>
                    </a:cubicBezTo>
                    <a:cubicBezTo>
                      <a:pt x="61" y="81"/>
                      <a:pt x="61" y="81"/>
                      <a:pt x="61" y="81"/>
                    </a:cubicBezTo>
                    <a:cubicBezTo>
                      <a:pt x="63" y="81"/>
                      <a:pt x="63" y="81"/>
                      <a:pt x="63" y="81"/>
                    </a:cubicBezTo>
                    <a:cubicBezTo>
                      <a:pt x="63" y="81"/>
                      <a:pt x="63" y="81"/>
                      <a:pt x="63" y="81"/>
                    </a:cubicBezTo>
                    <a:cubicBezTo>
                      <a:pt x="64" y="81"/>
                      <a:pt x="64" y="81"/>
                      <a:pt x="65" y="81"/>
                    </a:cubicBezTo>
                    <a:cubicBezTo>
                      <a:pt x="65" y="81"/>
                      <a:pt x="65" y="81"/>
                      <a:pt x="66" y="81"/>
                    </a:cubicBezTo>
                    <a:cubicBezTo>
                      <a:pt x="67" y="81"/>
                      <a:pt x="67" y="81"/>
                      <a:pt x="67" y="81"/>
                    </a:cubicBezTo>
                    <a:cubicBezTo>
                      <a:pt x="67" y="81"/>
                      <a:pt x="67" y="81"/>
                      <a:pt x="67" y="81"/>
                    </a:cubicBezTo>
                    <a:cubicBezTo>
                      <a:pt x="68" y="81"/>
                      <a:pt x="68" y="81"/>
                      <a:pt x="68" y="81"/>
                    </a:cubicBezTo>
                    <a:cubicBezTo>
                      <a:pt x="68" y="81"/>
                      <a:pt x="68" y="81"/>
                      <a:pt x="68" y="81"/>
                    </a:cubicBezTo>
                    <a:cubicBezTo>
                      <a:pt x="68" y="82"/>
                      <a:pt x="69" y="82"/>
                      <a:pt x="69" y="82"/>
                    </a:cubicBezTo>
                    <a:cubicBezTo>
                      <a:pt x="69" y="82"/>
                      <a:pt x="69" y="82"/>
                      <a:pt x="69" y="82"/>
                    </a:cubicBezTo>
                    <a:cubicBezTo>
                      <a:pt x="70" y="81"/>
                      <a:pt x="70" y="81"/>
                      <a:pt x="70" y="81"/>
                    </a:cubicBezTo>
                    <a:cubicBezTo>
                      <a:pt x="70" y="81"/>
                      <a:pt x="71" y="81"/>
                      <a:pt x="71" y="81"/>
                    </a:cubicBezTo>
                    <a:cubicBezTo>
                      <a:pt x="68" y="78"/>
                      <a:pt x="68" y="78"/>
                      <a:pt x="68" y="78"/>
                    </a:cubicBezTo>
                    <a:cubicBezTo>
                      <a:pt x="71" y="78"/>
                      <a:pt x="71" y="78"/>
                      <a:pt x="71" y="78"/>
                    </a:cubicBezTo>
                    <a:cubicBezTo>
                      <a:pt x="73" y="78"/>
                      <a:pt x="73" y="78"/>
                      <a:pt x="74"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5" name="Freeform 3147">
                <a:extLst>
                  <a:ext uri="{FF2B5EF4-FFF2-40B4-BE49-F238E27FC236}">
                    <a16:creationId xmlns:a16="http://schemas.microsoft.com/office/drawing/2014/main" id="{A74776EF-3623-4AA5-8956-4B5718B5D6D9}"/>
                  </a:ext>
                </a:extLst>
              </p:cNvPr>
              <p:cNvSpPr>
                <a:spLocks noEditPoints="1"/>
              </p:cNvSpPr>
              <p:nvPr/>
            </p:nvSpPr>
            <p:spPr bwMode="auto">
              <a:xfrm>
                <a:off x="4615" y="1766"/>
                <a:ext cx="459" cy="390"/>
              </a:xfrm>
              <a:custGeom>
                <a:avLst/>
                <a:gdLst>
                  <a:gd name="T0" fmla="*/ 179 w 194"/>
                  <a:gd name="T1" fmla="*/ 155 h 165"/>
                  <a:gd name="T2" fmla="*/ 192 w 194"/>
                  <a:gd name="T3" fmla="*/ 148 h 165"/>
                  <a:gd name="T4" fmla="*/ 189 w 194"/>
                  <a:gd name="T5" fmla="*/ 142 h 165"/>
                  <a:gd name="T6" fmla="*/ 187 w 194"/>
                  <a:gd name="T7" fmla="*/ 131 h 165"/>
                  <a:gd name="T8" fmla="*/ 170 w 194"/>
                  <a:gd name="T9" fmla="*/ 114 h 165"/>
                  <a:gd name="T10" fmla="*/ 175 w 194"/>
                  <a:gd name="T11" fmla="*/ 106 h 165"/>
                  <a:gd name="T12" fmla="*/ 178 w 194"/>
                  <a:gd name="T13" fmla="*/ 97 h 165"/>
                  <a:gd name="T14" fmla="*/ 169 w 194"/>
                  <a:gd name="T15" fmla="*/ 92 h 165"/>
                  <a:gd name="T16" fmla="*/ 167 w 194"/>
                  <a:gd name="T17" fmla="*/ 79 h 165"/>
                  <a:gd name="T18" fmla="*/ 166 w 194"/>
                  <a:gd name="T19" fmla="*/ 65 h 165"/>
                  <a:gd name="T20" fmla="*/ 171 w 194"/>
                  <a:gd name="T21" fmla="*/ 57 h 165"/>
                  <a:gd name="T22" fmla="*/ 174 w 194"/>
                  <a:gd name="T23" fmla="*/ 48 h 165"/>
                  <a:gd name="T24" fmla="*/ 173 w 194"/>
                  <a:gd name="T25" fmla="*/ 40 h 165"/>
                  <a:gd name="T26" fmla="*/ 167 w 194"/>
                  <a:gd name="T27" fmla="*/ 37 h 165"/>
                  <a:gd name="T28" fmla="*/ 162 w 194"/>
                  <a:gd name="T29" fmla="*/ 33 h 165"/>
                  <a:gd name="T30" fmla="*/ 157 w 194"/>
                  <a:gd name="T31" fmla="*/ 30 h 165"/>
                  <a:gd name="T32" fmla="*/ 146 w 194"/>
                  <a:gd name="T33" fmla="*/ 25 h 165"/>
                  <a:gd name="T34" fmla="*/ 139 w 194"/>
                  <a:gd name="T35" fmla="*/ 22 h 165"/>
                  <a:gd name="T36" fmla="*/ 133 w 194"/>
                  <a:gd name="T37" fmla="*/ 19 h 165"/>
                  <a:gd name="T38" fmla="*/ 126 w 194"/>
                  <a:gd name="T39" fmla="*/ 18 h 165"/>
                  <a:gd name="T40" fmla="*/ 101 w 194"/>
                  <a:gd name="T41" fmla="*/ 34 h 165"/>
                  <a:gd name="T42" fmla="*/ 84 w 194"/>
                  <a:gd name="T43" fmla="*/ 35 h 165"/>
                  <a:gd name="T44" fmla="*/ 66 w 194"/>
                  <a:gd name="T45" fmla="*/ 32 h 165"/>
                  <a:gd name="T46" fmla="*/ 50 w 194"/>
                  <a:gd name="T47" fmla="*/ 24 h 165"/>
                  <a:gd name="T48" fmla="*/ 46 w 194"/>
                  <a:gd name="T49" fmla="*/ 16 h 165"/>
                  <a:gd name="T50" fmla="*/ 43 w 194"/>
                  <a:gd name="T51" fmla="*/ 14 h 165"/>
                  <a:gd name="T52" fmla="*/ 41 w 194"/>
                  <a:gd name="T53" fmla="*/ 3 h 165"/>
                  <a:gd name="T54" fmla="*/ 32 w 194"/>
                  <a:gd name="T55" fmla="*/ 5 h 165"/>
                  <a:gd name="T56" fmla="*/ 24 w 194"/>
                  <a:gd name="T57" fmla="*/ 13 h 165"/>
                  <a:gd name="T58" fmla="*/ 22 w 194"/>
                  <a:gd name="T59" fmla="*/ 11 h 165"/>
                  <a:gd name="T60" fmla="*/ 6 w 194"/>
                  <a:gd name="T61" fmla="*/ 2 h 165"/>
                  <a:gd name="T62" fmla="*/ 4 w 194"/>
                  <a:gd name="T63" fmla="*/ 0 h 165"/>
                  <a:gd name="T64" fmla="*/ 3 w 194"/>
                  <a:gd name="T65" fmla="*/ 14 h 165"/>
                  <a:gd name="T66" fmla="*/ 5 w 194"/>
                  <a:gd name="T67" fmla="*/ 22 h 165"/>
                  <a:gd name="T68" fmla="*/ 8 w 194"/>
                  <a:gd name="T69" fmla="*/ 27 h 165"/>
                  <a:gd name="T70" fmla="*/ 9 w 194"/>
                  <a:gd name="T71" fmla="*/ 33 h 165"/>
                  <a:gd name="T72" fmla="*/ 10 w 194"/>
                  <a:gd name="T73" fmla="*/ 36 h 165"/>
                  <a:gd name="T74" fmla="*/ 14 w 194"/>
                  <a:gd name="T75" fmla="*/ 42 h 165"/>
                  <a:gd name="T76" fmla="*/ 21 w 194"/>
                  <a:gd name="T77" fmla="*/ 44 h 165"/>
                  <a:gd name="T78" fmla="*/ 20 w 194"/>
                  <a:gd name="T79" fmla="*/ 49 h 165"/>
                  <a:gd name="T80" fmla="*/ 21 w 194"/>
                  <a:gd name="T81" fmla="*/ 55 h 165"/>
                  <a:gd name="T82" fmla="*/ 15 w 194"/>
                  <a:gd name="T83" fmla="*/ 61 h 165"/>
                  <a:gd name="T84" fmla="*/ 16 w 194"/>
                  <a:gd name="T85" fmla="*/ 68 h 165"/>
                  <a:gd name="T86" fmla="*/ 19 w 194"/>
                  <a:gd name="T87" fmla="*/ 71 h 165"/>
                  <a:gd name="T88" fmla="*/ 22 w 194"/>
                  <a:gd name="T89" fmla="*/ 77 h 165"/>
                  <a:gd name="T90" fmla="*/ 36 w 194"/>
                  <a:gd name="T91" fmla="*/ 86 h 165"/>
                  <a:gd name="T92" fmla="*/ 39 w 194"/>
                  <a:gd name="T93" fmla="*/ 93 h 165"/>
                  <a:gd name="T94" fmla="*/ 40 w 194"/>
                  <a:gd name="T95" fmla="*/ 100 h 165"/>
                  <a:gd name="T96" fmla="*/ 44 w 194"/>
                  <a:gd name="T97" fmla="*/ 109 h 165"/>
                  <a:gd name="T98" fmla="*/ 50 w 194"/>
                  <a:gd name="T99" fmla="*/ 107 h 165"/>
                  <a:gd name="T100" fmla="*/ 60 w 194"/>
                  <a:gd name="T101" fmla="*/ 110 h 165"/>
                  <a:gd name="T102" fmla="*/ 69 w 194"/>
                  <a:gd name="T103" fmla="*/ 123 h 165"/>
                  <a:gd name="T104" fmla="*/ 77 w 194"/>
                  <a:gd name="T105" fmla="*/ 135 h 165"/>
                  <a:gd name="T106" fmla="*/ 87 w 194"/>
                  <a:gd name="T107" fmla="*/ 141 h 165"/>
                  <a:gd name="T108" fmla="*/ 97 w 194"/>
                  <a:gd name="T109" fmla="*/ 148 h 165"/>
                  <a:gd name="T110" fmla="*/ 116 w 194"/>
                  <a:gd name="T111" fmla="*/ 147 h 165"/>
                  <a:gd name="T112" fmla="*/ 132 w 194"/>
                  <a:gd name="T113" fmla="*/ 148 h 165"/>
                  <a:gd name="T114" fmla="*/ 140 w 194"/>
                  <a:gd name="T115" fmla="*/ 159 h 165"/>
                  <a:gd name="T116" fmla="*/ 158 w 194"/>
                  <a:gd name="T117" fmla="*/ 162 h 165"/>
                  <a:gd name="T118" fmla="*/ 171 w 194"/>
                  <a:gd name="T119" fmla="*/ 165 h 165"/>
                  <a:gd name="T120" fmla="*/ 51 w 194"/>
                  <a:gd name="T121"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165">
                    <a:moveTo>
                      <a:pt x="177" y="164"/>
                    </a:moveTo>
                    <a:cubicBezTo>
                      <a:pt x="177" y="164"/>
                      <a:pt x="177" y="164"/>
                      <a:pt x="177" y="164"/>
                    </a:cubicBezTo>
                    <a:cubicBezTo>
                      <a:pt x="177" y="163"/>
                      <a:pt x="177" y="163"/>
                      <a:pt x="177" y="163"/>
                    </a:cubicBezTo>
                    <a:cubicBezTo>
                      <a:pt x="177" y="163"/>
                      <a:pt x="177" y="163"/>
                      <a:pt x="178" y="162"/>
                    </a:cubicBezTo>
                    <a:cubicBezTo>
                      <a:pt x="178" y="162"/>
                      <a:pt x="178" y="162"/>
                      <a:pt x="178" y="162"/>
                    </a:cubicBezTo>
                    <a:cubicBezTo>
                      <a:pt x="178" y="162"/>
                      <a:pt x="178" y="161"/>
                      <a:pt x="178" y="161"/>
                    </a:cubicBezTo>
                    <a:cubicBezTo>
                      <a:pt x="178" y="160"/>
                      <a:pt x="178" y="160"/>
                      <a:pt x="178" y="160"/>
                    </a:cubicBezTo>
                    <a:cubicBezTo>
                      <a:pt x="178" y="159"/>
                      <a:pt x="179" y="157"/>
                      <a:pt x="179" y="155"/>
                    </a:cubicBezTo>
                    <a:cubicBezTo>
                      <a:pt x="180" y="153"/>
                      <a:pt x="180" y="152"/>
                      <a:pt x="181" y="152"/>
                    </a:cubicBezTo>
                    <a:cubicBezTo>
                      <a:pt x="182" y="151"/>
                      <a:pt x="182" y="151"/>
                      <a:pt x="182" y="151"/>
                    </a:cubicBezTo>
                    <a:cubicBezTo>
                      <a:pt x="182" y="151"/>
                      <a:pt x="182" y="151"/>
                      <a:pt x="182" y="151"/>
                    </a:cubicBezTo>
                    <a:cubicBezTo>
                      <a:pt x="183" y="151"/>
                      <a:pt x="183" y="151"/>
                      <a:pt x="183" y="151"/>
                    </a:cubicBezTo>
                    <a:cubicBezTo>
                      <a:pt x="183" y="150"/>
                      <a:pt x="184" y="150"/>
                      <a:pt x="184" y="150"/>
                    </a:cubicBezTo>
                    <a:cubicBezTo>
                      <a:pt x="185" y="149"/>
                      <a:pt x="185" y="149"/>
                      <a:pt x="186" y="149"/>
                    </a:cubicBezTo>
                    <a:cubicBezTo>
                      <a:pt x="191" y="148"/>
                      <a:pt x="191" y="148"/>
                      <a:pt x="191" y="148"/>
                    </a:cubicBezTo>
                    <a:cubicBezTo>
                      <a:pt x="191" y="148"/>
                      <a:pt x="191" y="148"/>
                      <a:pt x="192" y="148"/>
                    </a:cubicBezTo>
                    <a:cubicBezTo>
                      <a:pt x="192" y="148"/>
                      <a:pt x="193" y="148"/>
                      <a:pt x="193" y="148"/>
                    </a:cubicBezTo>
                    <a:cubicBezTo>
                      <a:pt x="193" y="145"/>
                      <a:pt x="193" y="145"/>
                      <a:pt x="193" y="145"/>
                    </a:cubicBezTo>
                    <a:cubicBezTo>
                      <a:pt x="194" y="145"/>
                      <a:pt x="194" y="144"/>
                      <a:pt x="194" y="144"/>
                    </a:cubicBezTo>
                    <a:cubicBezTo>
                      <a:pt x="194" y="144"/>
                      <a:pt x="193" y="144"/>
                      <a:pt x="193" y="144"/>
                    </a:cubicBezTo>
                    <a:cubicBezTo>
                      <a:pt x="193" y="144"/>
                      <a:pt x="193" y="144"/>
                      <a:pt x="192" y="144"/>
                    </a:cubicBezTo>
                    <a:cubicBezTo>
                      <a:pt x="192" y="144"/>
                      <a:pt x="192" y="144"/>
                      <a:pt x="192" y="144"/>
                    </a:cubicBezTo>
                    <a:cubicBezTo>
                      <a:pt x="192" y="144"/>
                      <a:pt x="191" y="144"/>
                      <a:pt x="191" y="144"/>
                    </a:cubicBezTo>
                    <a:cubicBezTo>
                      <a:pt x="190" y="143"/>
                      <a:pt x="189" y="143"/>
                      <a:pt x="189" y="142"/>
                    </a:cubicBezTo>
                    <a:cubicBezTo>
                      <a:pt x="189" y="141"/>
                      <a:pt x="189" y="140"/>
                      <a:pt x="189" y="139"/>
                    </a:cubicBezTo>
                    <a:cubicBezTo>
                      <a:pt x="189" y="139"/>
                      <a:pt x="189" y="139"/>
                      <a:pt x="189" y="139"/>
                    </a:cubicBezTo>
                    <a:cubicBezTo>
                      <a:pt x="189" y="135"/>
                      <a:pt x="189" y="135"/>
                      <a:pt x="189" y="135"/>
                    </a:cubicBezTo>
                    <a:cubicBezTo>
                      <a:pt x="189" y="135"/>
                      <a:pt x="189" y="134"/>
                      <a:pt x="189" y="134"/>
                    </a:cubicBezTo>
                    <a:cubicBezTo>
                      <a:pt x="189" y="133"/>
                      <a:pt x="189" y="133"/>
                      <a:pt x="189" y="132"/>
                    </a:cubicBezTo>
                    <a:cubicBezTo>
                      <a:pt x="189" y="132"/>
                      <a:pt x="189" y="132"/>
                      <a:pt x="188" y="132"/>
                    </a:cubicBezTo>
                    <a:cubicBezTo>
                      <a:pt x="188" y="132"/>
                      <a:pt x="188" y="132"/>
                      <a:pt x="188" y="132"/>
                    </a:cubicBezTo>
                    <a:cubicBezTo>
                      <a:pt x="188" y="132"/>
                      <a:pt x="187" y="132"/>
                      <a:pt x="187" y="131"/>
                    </a:cubicBezTo>
                    <a:cubicBezTo>
                      <a:pt x="186" y="131"/>
                      <a:pt x="186" y="131"/>
                      <a:pt x="185" y="131"/>
                    </a:cubicBezTo>
                    <a:cubicBezTo>
                      <a:pt x="185" y="131"/>
                      <a:pt x="185" y="131"/>
                      <a:pt x="185" y="131"/>
                    </a:cubicBezTo>
                    <a:cubicBezTo>
                      <a:pt x="184" y="131"/>
                      <a:pt x="184" y="131"/>
                      <a:pt x="184" y="131"/>
                    </a:cubicBezTo>
                    <a:cubicBezTo>
                      <a:pt x="184" y="130"/>
                      <a:pt x="183" y="130"/>
                      <a:pt x="183" y="130"/>
                    </a:cubicBezTo>
                    <a:cubicBezTo>
                      <a:pt x="182" y="130"/>
                      <a:pt x="181" y="129"/>
                      <a:pt x="180" y="128"/>
                    </a:cubicBezTo>
                    <a:cubicBezTo>
                      <a:pt x="179" y="126"/>
                      <a:pt x="178" y="125"/>
                      <a:pt x="177" y="124"/>
                    </a:cubicBezTo>
                    <a:cubicBezTo>
                      <a:pt x="176" y="123"/>
                      <a:pt x="176" y="123"/>
                      <a:pt x="176" y="123"/>
                    </a:cubicBezTo>
                    <a:cubicBezTo>
                      <a:pt x="174" y="121"/>
                      <a:pt x="172" y="118"/>
                      <a:pt x="170" y="114"/>
                    </a:cubicBezTo>
                    <a:cubicBezTo>
                      <a:pt x="170" y="114"/>
                      <a:pt x="170" y="114"/>
                      <a:pt x="170" y="114"/>
                    </a:cubicBezTo>
                    <a:cubicBezTo>
                      <a:pt x="168" y="114"/>
                      <a:pt x="168" y="114"/>
                      <a:pt x="168" y="114"/>
                    </a:cubicBezTo>
                    <a:cubicBezTo>
                      <a:pt x="169" y="113"/>
                      <a:pt x="169" y="113"/>
                      <a:pt x="169" y="113"/>
                    </a:cubicBezTo>
                    <a:cubicBezTo>
                      <a:pt x="169" y="112"/>
                      <a:pt x="169" y="112"/>
                      <a:pt x="169" y="112"/>
                    </a:cubicBezTo>
                    <a:cubicBezTo>
                      <a:pt x="170" y="112"/>
                      <a:pt x="170" y="112"/>
                      <a:pt x="170" y="112"/>
                    </a:cubicBezTo>
                    <a:cubicBezTo>
                      <a:pt x="170" y="111"/>
                      <a:pt x="171" y="111"/>
                      <a:pt x="171" y="110"/>
                    </a:cubicBezTo>
                    <a:cubicBezTo>
                      <a:pt x="174" y="108"/>
                      <a:pt x="174" y="108"/>
                      <a:pt x="174" y="108"/>
                    </a:cubicBezTo>
                    <a:cubicBezTo>
                      <a:pt x="174" y="107"/>
                      <a:pt x="174" y="107"/>
                      <a:pt x="175" y="106"/>
                    </a:cubicBezTo>
                    <a:cubicBezTo>
                      <a:pt x="175" y="106"/>
                      <a:pt x="175" y="106"/>
                      <a:pt x="175" y="106"/>
                    </a:cubicBezTo>
                    <a:cubicBezTo>
                      <a:pt x="175" y="105"/>
                      <a:pt x="176" y="105"/>
                      <a:pt x="176" y="105"/>
                    </a:cubicBezTo>
                    <a:cubicBezTo>
                      <a:pt x="176" y="105"/>
                      <a:pt x="176" y="104"/>
                      <a:pt x="177" y="104"/>
                    </a:cubicBezTo>
                    <a:cubicBezTo>
                      <a:pt x="178" y="103"/>
                      <a:pt x="178" y="102"/>
                      <a:pt x="179" y="102"/>
                    </a:cubicBezTo>
                    <a:cubicBezTo>
                      <a:pt x="179" y="101"/>
                      <a:pt x="179" y="100"/>
                      <a:pt x="179" y="100"/>
                    </a:cubicBezTo>
                    <a:cubicBezTo>
                      <a:pt x="179" y="100"/>
                      <a:pt x="179" y="99"/>
                      <a:pt x="179" y="99"/>
                    </a:cubicBezTo>
                    <a:cubicBezTo>
                      <a:pt x="179" y="99"/>
                      <a:pt x="179" y="99"/>
                      <a:pt x="178" y="99"/>
                    </a:cubicBezTo>
                    <a:cubicBezTo>
                      <a:pt x="178" y="97"/>
                      <a:pt x="178" y="97"/>
                      <a:pt x="178" y="97"/>
                    </a:cubicBezTo>
                    <a:cubicBezTo>
                      <a:pt x="177" y="97"/>
                      <a:pt x="177" y="97"/>
                      <a:pt x="177" y="97"/>
                    </a:cubicBezTo>
                    <a:cubicBezTo>
                      <a:pt x="172" y="96"/>
                      <a:pt x="172" y="96"/>
                      <a:pt x="172" y="96"/>
                    </a:cubicBezTo>
                    <a:cubicBezTo>
                      <a:pt x="171" y="96"/>
                      <a:pt x="171" y="96"/>
                      <a:pt x="171" y="96"/>
                    </a:cubicBezTo>
                    <a:cubicBezTo>
                      <a:pt x="171" y="96"/>
                      <a:pt x="170" y="96"/>
                      <a:pt x="169" y="95"/>
                    </a:cubicBezTo>
                    <a:cubicBezTo>
                      <a:pt x="169" y="95"/>
                      <a:pt x="169" y="94"/>
                      <a:pt x="169" y="94"/>
                    </a:cubicBezTo>
                    <a:cubicBezTo>
                      <a:pt x="169" y="94"/>
                      <a:pt x="169" y="93"/>
                      <a:pt x="169" y="93"/>
                    </a:cubicBezTo>
                    <a:cubicBezTo>
                      <a:pt x="169" y="93"/>
                      <a:pt x="169" y="93"/>
                      <a:pt x="169" y="93"/>
                    </a:cubicBezTo>
                    <a:cubicBezTo>
                      <a:pt x="169" y="92"/>
                      <a:pt x="169" y="92"/>
                      <a:pt x="169" y="92"/>
                    </a:cubicBezTo>
                    <a:cubicBezTo>
                      <a:pt x="169" y="90"/>
                      <a:pt x="169" y="90"/>
                      <a:pt x="169" y="90"/>
                    </a:cubicBezTo>
                    <a:cubicBezTo>
                      <a:pt x="169" y="89"/>
                      <a:pt x="169" y="88"/>
                      <a:pt x="169" y="87"/>
                    </a:cubicBezTo>
                    <a:cubicBezTo>
                      <a:pt x="169" y="87"/>
                      <a:pt x="169" y="87"/>
                      <a:pt x="169" y="86"/>
                    </a:cubicBezTo>
                    <a:cubicBezTo>
                      <a:pt x="169" y="86"/>
                      <a:pt x="169" y="85"/>
                      <a:pt x="169" y="85"/>
                    </a:cubicBezTo>
                    <a:cubicBezTo>
                      <a:pt x="169" y="84"/>
                      <a:pt x="169" y="84"/>
                      <a:pt x="169" y="84"/>
                    </a:cubicBezTo>
                    <a:cubicBezTo>
                      <a:pt x="169" y="84"/>
                      <a:pt x="168" y="84"/>
                      <a:pt x="168" y="84"/>
                    </a:cubicBezTo>
                    <a:cubicBezTo>
                      <a:pt x="167" y="80"/>
                      <a:pt x="167" y="80"/>
                      <a:pt x="167" y="80"/>
                    </a:cubicBezTo>
                    <a:cubicBezTo>
                      <a:pt x="167" y="80"/>
                      <a:pt x="167" y="79"/>
                      <a:pt x="167" y="79"/>
                    </a:cubicBezTo>
                    <a:cubicBezTo>
                      <a:pt x="167" y="76"/>
                      <a:pt x="167" y="76"/>
                      <a:pt x="167" y="76"/>
                    </a:cubicBezTo>
                    <a:cubicBezTo>
                      <a:pt x="167" y="75"/>
                      <a:pt x="168" y="74"/>
                      <a:pt x="169" y="73"/>
                    </a:cubicBezTo>
                    <a:cubicBezTo>
                      <a:pt x="169" y="73"/>
                      <a:pt x="169" y="73"/>
                      <a:pt x="169" y="73"/>
                    </a:cubicBezTo>
                    <a:cubicBezTo>
                      <a:pt x="168" y="72"/>
                      <a:pt x="167" y="72"/>
                      <a:pt x="166" y="71"/>
                    </a:cubicBezTo>
                    <a:cubicBezTo>
                      <a:pt x="166" y="71"/>
                      <a:pt x="166" y="70"/>
                      <a:pt x="166" y="70"/>
                    </a:cubicBezTo>
                    <a:cubicBezTo>
                      <a:pt x="166" y="69"/>
                      <a:pt x="166" y="69"/>
                      <a:pt x="166" y="69"/>
                    </a:cubicBezTo>
                    <a:cubicBezTo>
                      <a:pt x="166" y="69"/>
                      <a:pt x="166" y="68"/>
                      <a:pt x="166" y="68"/>
                    </a:cubicBezTo>
                    <a:cubicBezTo>
                      <a:pt x="166" y="66"/>
                      <a:pt x="166" y="65"/>
                      <a:pt x="166" y="65"/>
                    </a:cubicBezTo>
                    <a:cubicBezTo>
                      <a:pt x="166" y="65"/>
                      <a:pt x="166" y="65"/>
                      <a:pt x="166" y="65"/>
                    </a:cubicBezTo>
                    <a:cubicBezTo>
                      <a:pt x="165" y="65"/>
                      <a:pt x="165" y="65"/>
                      <a:pt x="165" y="65"/>
                    </a:cubicBezTo>
                    <a:cubicBezTo>
                      <a:pt x="169" y="62"/>
                      <a:pt x="169" y="62"/>
                      <a:pt x="169" y="62"/>
                    </a:cubicBezTo>
                    <a:cubicBezTo>
                      <a:pt x="169" y="62"/>
                      <a:pt x="168" y="61"/>
                      <a:pt x="168" y="61"/>
                    </a:cubicBezTo>
                    <a:cubicBezTo>
                      <a:pt x="167" y="60"/>
                      <a:pt x="167" y="60"/>
                      <a:pt x="167" y="60"/>
                    </a:cubicBezTo>
                    <a:cubicBezTo>
                      <a:pt x="168" y="59"/>
                      <a:pt x="168" y="59"/>
                      <a:pt x="168" y="59"/>
                    </a:cubicBezTo>
                    <a:cubicBezTo>
                      <a:pt x="169" y="59"/>
                      <a:pt x="169" y="58"/>
                      <a:pt x="170" y="58"/>
                    </a:cubicBezTo>
                    <a:cubicBezTo>
                      <a:pt x="171" y="57"/>
                      <a:pt x="171" y="57"/>
                      <a:pt x="171" y="57"/>
                    </a:cubicBezTo>
                    <a:cubicBezTo>
                      <a:pt x="171" y="57"/>
                      <a:pt x="171" y="57"/>
                      <a:pt x="171" y="56"/>
                    </a:cubicBezTo>
                    <a:cubicBezTo>
                      <a:pt x="171" y="55"/>
                      <a:pt x="171" y="55"/>
                      <a:pt x="171" y="55"/>
                    </a:cubicBezTo>
                    <a:cubicBezTo>
                      <a:pt x="172" y="55"/>
                      <a:pt x="172" y="55"/>
                      <a:pt x="172" y="55"/>
                    </a:cubicBezTo>
                    <a:cubicBezTo>
                      <a:pt x="172" y="55"/>
                      <a:pt x="172" y="55"/>
                      <a:pt x="172" y="55"/>
                    </a:cubicBezTo>
                    <a:cubicBezTo>
                      <a:pt x="172" y="54"/>
                      <a:pt x="172" y="54"/>
                      <a:pt x="172" y="53"/>
                    </a:cubicBezTo>
                    <a:cubicBezTo>
                      <a:pt x="173" y="50"/>
                      <a:pt x="173" y="50"/>
                      <a:pt x="173" y="50"/>
                    </a:cubicBezTo>
                    <a:cubicBezTo>
                      <a:pt x="174" y="48"/>
                      <a:pt x="174" y="48"/>
                      <a:pt x="174" y="48"/>
                    </a:cubicBezTo>
                    <a:cubicBezTo>
                      <a:pt x="174" y="48"/>
                      <a:pt x="174" y="48"/>
                      <a:pt x="174" y="48"/>
                    </a:cubicBezTo>
                    <a:cubicBezTo>
                      <a:pt x="174" y="48"/>
                      <a:pt x="174" y="48"/>
                      <a:pt x="174" y="48"/>
                    </a:cubicBezTo>
                    <a:cubicBezTo>
                      <a:pt x="174" y="47"/>
                      <a:pt x="174" y="47"/>
                      <a:pt x="174" y="47"/>
                    </a:cubicBezTo>
                    <a:cubicBezTo>
                      <a:pt x="173" y="47"/>
                      <a:pt x="173" y="47"/>
                      <a:pt x="173" y="46"/>
                    </a:cubicBezTo>
                    <a:cubicBezTo>
                      <a:pt x="173" y="46"/>
                      <a:pt x="173" y="46"/>
                      <a:pt x="173" y="46"/>
                    </a:cubicBezTo>
                    <a:cubicBezTo>
                      <a:pt x="173" y="45"/>
                      <a:pt x="173" y="45"/>
                      <a:pt x="173" y="45"/>
                    </a:cubicBezTo>
                    <a:cubicBezTo>
                      <a:pt x="173" y="43"/>
                      <a:pt x="173" y="42"/>
                      <a:pt x="173" y="41"/>
                    </a:cubicBezTo>
                    <a:cubicBezTo>
                      <a:pt x="172" y="41"/>
                      <a:pt x="172" y="41"/>
                      <a:pt x="172" y="41"/>
                    </a:cubicBezTo>
                    <a:cubicBezTo>
                      <a:pt x="172" y="40"/>
                      <a:pt x="172" y="40"/>
                      <a:pt x="173" y="40"/>
                    </a:cubicBezTo>
                    <a:cubicBezTo>
                      <a:pt x="173" y="39"/>
                      <a:pt x="173" y="39"/>
                      <a:pt x="173" y="39"/>
                    </a:cubicBezTo>
                    <a:cubicBezTo>
                      <a:pt x="173" y="38"/>
                      <a:pt x="173" y="37"/>
                      <a:pt x="172" y="37"/>
                    </a:cubicBezTo>
                    <a:cubicBezTo>
                      <a:pt x="172" y="37"/>
                      <a:pt x="172" y="37"/>
                      <a:pt x="172" y="37"/>
                    </a:cubicBezTo>
                    <a:cubicBezTo>
                      <a:pt x="172" y="37"/>
                      <a:pt x="171" y="37"/>
                      <a:pt x="170" y="37"/>
                    </a:cubicBezTo>
                    <a:cubicBezTo>
                      <a:pt x="169" y="37"/>
                      <a:pt x="169" y="37"/>
                      <a:pt x="169" y="37"/>
                    </a:cubicBezTo>
                    <a:cubicBezTo>
                      <a:pt x="168" y="37"/>
                      <a:pt x="168" y="37"/>
                      <a:pt x="167" y="37"/>
                    </a:cubicBezTo>
                    <a:cubicBezTo>
                      <a:pt x="167" y="38"/>
                      <a:pt x="167" y="38"/>
                      <a:pt x="167" y="38"/>
                    </a:cubicBezTo>
                    <a:cubicBezTo>
                      <a:pt x="167" y="37"/>
                      <a:pt x="167" y="37"/>
                      <a:pt x="167" y="37"/>
                    </a:cubicBezTo>
                    <a:cubicBezTo>
                      <a:pt x="167" y="37"/>
                      <a:pt x="167" y="37"/>
                      <a:pt x="167" y="37"/>
                    </a:cubicBezTo>
                    <a:cubicBezTo>
                      <a:pt x="166" y="37"/>
                      <a:pt x="165" y="37"/>
                      <a:pt x="165" y="36"/>
                    </a:cubicBezTo>
                    <a:cubicBezTo>
                      <a:pt x="165" y="36"/>
                      <a:pt x="164" y="36"/>
                      <a:pt x="164" y="36"/>
                    </a:cubicBezTo>
                    <a:cubicBezTo>
                      <a:pt x="164" y="36"/>
                      <a:pt x="164" y="36"/>
                      <a:pt x="164" y="36"/>
                    </a:cubicBezTo>
                    <a:cubicBezTo>
                      <a:pt x="164" y="35"/>
                      <a:pt x="163" y="35"/>
                      <a:pt x="163" y="35"/>
                    </a:cubicBezTo>
                    <a:cubicBezTo>
                      <a:pt x="163" y="34"/>
                      <a:pt x="163" y="34"/>
                      <a:pt x="163" y="34"/>
                    </a:cubicBezTo>
                    <a:cubicBezTo>
                      <a:pt x="162" y="34"/>
                      <a:pt x="162" y="33"/>
                      <a:pt x="162" y="33"/>
                    </a:cubicBezTo>
                    <a:cubicBezTo>
                      <a:pt x="162" y="33"/>
                      <a:pt x="162" y="33"/>
                      <a:pt x="162" y="33"/>
                    </a:cubicBezTo>
                    <a:cubicBezTo>
                      <a:pt x="162" y="33"/>
                      <a:pt x="161" y="32"/>
                      <a:pt x="161" y="32"/>
                    </a:cubicBezTo>
                    <a:cubicBezTo>
                      <a:pt x="161" y="32"/>
                      <a:pt x="161" y="32"/>
                      <a:pt x="161" y="32"/>
                    </a:cubicBezTo>
                    <a:cubicBezTo>
                      <a:pt x="160" y="32"/>
                      <a:pt x="160" y="31"/>
                      <a:pt x="159" y="31"/>
                    </a:cubicBezTo>
                    <a:cubicBezTo>
                      <a:pt x="159" y="31"/>
                      <a:pt x="159" y="31"/>
                      <a:pt x="159" y="31"/>
                    </a:cubicBezTo>
                    <a:cubicBezTo>
                      <a:pt x="158" y="31"/>
                      <a:pt x="158" y="31"/>
                      <a:pt x="158" y="31"/>
                    </a:cubicBezTo>
                    <a:cubicBezTo>
                      <a:pt x="157" y="31"/>
                      <a:pt x="157" y="31"/>
                      <a:pt x="157" y="31"/>
                    </a:cubicBezTo>
                    <a:cubicBezTo>
                      <a:pt x="157" y="31"/>
                      <a:pt x="157" y="31"/>
                      <a:pt x="157" y="31"/>
                    </a:cubicBezTo>
                    <a:cubicBezTo>
                      <a:pt x="157" y="30"/>
                      <a:pt x="157" y="30"/>
                      <a:pt x="157" y="30"/>
                    </a:cubicBezTo>
                    <a:cubicBezTo>
                      <a:pt x="157" y="30"/>
                      <a:pt x="156" y="30"/>
                      <a:pt x="156" y="30"/>
                    </a:cubicBezTo>
                    <a:cubicBezTo>
                      <a:pt x="156" y="29"/>
                      <a:pt x="156" y="29"/>
                      <a:pt x="156" y="29"/>
                    </a:cubicBezTo>
                    <a:cubicBezTo>
                      <a:pt x="155" y="28"/>
                      <a:pt x="155" y="27"/>
                      <a:pt x="155" y="27"/>
                    </a:cubicBezTo>
                    <a:cubicBezTo>
                      <a:pt x="154" y="27"/>
                      <a:pt x="154" y="27"/>
                      <a:pt x="154" y="27"/>
                    </a:cubicBezTo>
                    <a:cubicBezTo>
                      <a:pt x="154" y="26"/>
                      <a:pt x="153" y="25"/>
                      <a:pt x="151" y="25"/>
                    </a:cubicBezTo>
                    <a:cubicBezTo>
                      <a:pt x="150" y="25"/>
                      <a:pt x="150" y="25"/>
                      <a:pt x="149" y="25"/>
                    </a:cubicBezTo>
                    <a:cubicBezTo>
                      <a:pt x="147" y="25"/>
                      <a:pt x="147" y="25"/>
                      <a:pt x="147" y="25"/>
                    </a:cubicBezTo>
                    <a:cubicBezTo>
                      <a:pt x="146" y="25"/>
                      <a:pt x="146" y="25"/>
                      <a:pt x="146" y="25"/>
                    </a:cubicBezTo>
                    <a:cubicBezTo>
                      <a:pt x="145" y="25"/>
                      <a:pt x="145" y="25"/>
                      <a:pt x="145" y="25"/>
                    </a:cubicBezTo>
                    <a:cubicBezTo>
                      <a:pt x="145" y="25"/>
                      <a:pt x="145" y="25"/>
                      <a:pt x="145" y="25"/>
                    </a:cubicBezTo>
                    <a:cubicBezTo>
                      <a:pt x="145" y="25"/>
                      <a:pt x="145" y="25"/>
                      <a:pt x="145" y="25"/>
                    </a:cubicBezTo>
                    <a:cubicBezTo>
                      <a:pt x="144" y="25"/>
                      <a:pt x="144" y="25"/>
                      <a:pt x="143" y="25"/>
                    </a:cubicBezTo>
                    <a:cubicBezTo>
                      <a:pt x="143" y="25"/>
                      <a:pt x="143" y="25"/>
                      <a:pt x="143" y="24"/>
                    </a:cubicBezTo>
                    <a:cubicBezTo>
                      <a:pt x="141" y="23"/>
                      <a:pt x="141" y="23"/>
                      <a:pt x="141" y="23"/>
                    </a:cubicBezTo>
                    <a:cubicBezTo>
                      <a:pt x="141" y="23"/>
                      <a:pt x="141" y="23"/>
                      <a:pt x="140" y="22"/>
                    </a:cubicBezTo>
                    <a:cubicBezTo>
                      <a:pt x="139" y="22"/>
                      <a:pt x="139" y="22"/>
                      <a:pt x="139" y="22"/>
                    </a:cubicBezTo>
                    <a:cubicBezTo>
                      <a:pt x="139" y="22"/>
                      <a:pt x="139" y="22"/>
                      <a:pt x="138" y="22"/>
                    </a:cubicBezTo>
                    <a:cubicBezTo>
                      <a:pt x="138" y="22"/>
                      <a:pt x="137" y="22"/>
                      <a:pt x="136" y="22"/>
                    </a:cubicBezTo>
                    <a:cubicBezTo>
                      <a:pt x="136" y="22"/>
                      <a:pt x="136" y="22"/>
                      <a:pt x="136" y="22"/>
                    </a:cubicBezTo>
                    <a:cubicBezTo>
                      <a:pt x="135" y="21"/>
                      <a:pt x="134" y="21"/>
                      <a:pt x="134" y="20"/>
                    </a:cubicBezTo>
                    <a:cubicBezTo>
                      <a:pt x="134" y="20"/>
                      <a:pt x="134" y="20"/>
                      <a:pt x="134" y="20"/>
                    </a:cubicBezTo>
                    <a:cubicBezTo>
                      <a:pt x="131" y="21"/>
                      <a:pt x="131" y="21"/>
                      <a:pt x="131" y="21"/>
                    </a:cubicBezTo>
                    <a:cubicBezTo>
                      <a:pt x="133" y="19"/>
                      <a:pt x="133" y="19"/>
                      <a:pt x="133" y="19"/>
                    </a:cubicBezTo>
                    <a:cubicBezTo>
                      <a:pt x="133" y="19"/>
                      <a:pt x="133" y="19"/>
                      <a:pt x="133" y="19"/>
                    </a:cubicBezTo>
                    <a:cubicBezTo>
                      <a:pt x="133" y="18"/>
                      <a:pt x="133" y="18"/>
                      <a:pt x="132" y="18"/>
                    </a:cubicBezTo>
                    <a:cubicBezTo>
                      <a:pt x="132" y="18"/>
                      <a:pt x="131" y="18"/>
                      <a:pt x="131" y="18"/>
                    </a:cubicBezTo>
                    <a:cubicBezTo>
                      <a:pt x="131" y="18"/>
                      <a:pt x="131" y="18"/>
                      <a:pt x="131" y="18"/>
                    </a:cubicBezTo>
                    <a:cubicBezTo>
                      <a:pt x="130" y="18"/>
                      <a:pt x="130" y="18"/>
                      <a:pt x="129" y="18"/>
                    </a:cubicBezTo>
                    <a:cubicBezTo>
                      <a:pt x="129" y="18"/>
                      <a:pt x="129" y="18"/>
                      <a:pt x="129" y="18"/>
                    </a:cubicBezTo>
                    <a:cubicBezTo>
                      <a:pt x="128" y="18"/>
                      <a:pt x="127" y="18"/>
                      <a:pt x="126" y="18"/>
                    </a:cubicBezTo>
                    <a:cubicBezTo>
                      <a:pt x="126" y="18"/>
                      <a:pt x="126" y="18"/>
                      <a:pt x="126" y="18"/>
                    </a:cubicBezTo>
                    <a:cubicBezTo>
                      <a:pt x="126" y="18"/>
                      <a:pt x="126" y="18"/>
                      <a:pt x="126" y="18"/>
                    </a:cubicBezTo>
                    <a:cubicBezTo>
                      <a:pt x="126" y="18"/>
                      <a:pt x="126" y="18"/>
                      <a:pt x="126" y="18"/>
                    </a:cubicBezTo>
                    <a:cubicBezTo>
                      <a:pt x="125" y="19"/>
                      <a:pt x="124" y="20"/>
                      <a:pt x="123" y="20"/>
                    </a:cubicBezTo>
                    <a:cubicBezTo>
                      <a:pt x="123" y="20"/>
                      <a:pt x="122" y="20"/>
                      <a:pt x="122" y="20"/>
                    </a:cubicBezTo>
                    <a:cubicBezTo>
                      <a:pt x="122" y="22"/>
                      <a:pt x="122" y="22"/>
                      <a:pt x="122" y="22"/>
                    </a:cubicBezTo>
                    <a:cubicBezTo>
                      <a:pt x="122" y="20"/>
                      <a:pt x="122" y="20"/>
                      <a:pt x="122" y="20"/>
                    </a:cubicBezTo>
                    <a:cubicBezTo>
                      <a:pt x="121" y="20"/>
                      <a:pt x="120" y="20"/>
                      <a:pt x="119" y="20"/>
                    </a:cubicBezTo>
                    <a:cubicBezTo>
                      <a:pt x="117" y="20"/>
                      <a:pt x="116" y="20"/>
                      <a:pt x="114" y="21"/>
                    </a:cubicBezTo>
                    <a:cubicBezTo>
                      <a:pt x="101" y="34"/>
                      <a:pt x="101" y="34"/>
                      <a:pt x="101" y="34"/>
                    </a:cubicBezTo>
                    <a:cubicBezTo>
                      <a:pt x="101" y="33"/>
                      <a:pt x="101" y="33"/>
                      <a:pt x="101" y="33"/>
                    </a:cubicBezTo>
                    <a:cubicBezTo>
                      <a:pt x="100" y="34"/>
                      <a:pt x="100" y="34"/>
                      <a:pt x="100" y="34"/>
                    </a:cubicBezTo>
                    <a:cubicBezTo>
                      <a:pt x="99" y="34"/>
                      <a:pt x="98" y="34"/>
                      <a:pt x="97" y="33"/>
                    </a:cubicBezTo>
                    <a:cubicBezTo>
                      <a:pt x="97" y="33"/>
                      <a:pt x="98" y="33"/>
                      <a:pt x="99" y="33"/>
                    </a:cubicBezTo>
                    <a:cubicBezTo>
                      <a:pt x="98" y="33"/>
                      <a:pt x="97" y="33"/>
                      <a:pt x="97" y="33"/>
                    </a:cubicBezTo>
                    <a:cubicBezTo>
                      <a:pt x="95" y="33"/>
                      <a:pt x="93" y="33"/>
                      <a:pt x="92" y="33"/>
                    </a:cubicBezTo>
                    <a:cubicBezTo>
                      <a:pt x="90" y="34"/>
                      <a:pt x="89" y="34"/>
                      <a:pt x="87" y="35"/>
                    </a:cubicBezTo>
                    <a:cubicBezTo>
                      <a:pt x="86" y="35"/>
                      <a:pt x="85" y="35"/>
                      <a:pt x="84" y="35"/>
                    </a:cubicBezTo>
                    <a:cubicBezTo>
                      <a:pt x="83" y="35"/>
                      <a:pt x="83" y="36"/>
                      <a:pt x="82" y="36"/>
                    </a:cubicBezTo>
                    <a:cubicBezTo>
                      <a:pt x="80" y="36"/>
                      <a:pt x="79" y="36"/>
                      <a:pt x="78" y="36"/>
                    </a:cubicBezTo>
                    <a:cubicBezTo>
                      <a:pt x="77" y="36"/>
                      <a:pt x="77" y="36"/>
                      <a:pt x="76" y="36"/>
                    </a:cubicBezTo>
                    <a:cubicBezTo>
                      <a:pt x="76" y="36"/>
                      <a:pt x="75" y="35"/>
                      <a:pt x="74" y="35"/>
                    </a:cubicBezTo>
                    <a:cubicBezTo>
                      <a:pt x="73" y="35"/>
                      <a:pt x="72" y="35"/>
                      <a:pt x="71" y="34"/>
                    </a:cubicBezTo>
                    <a:cubicBezTo>
                      <a:pt x="70" y="34"/>
                      <a:pt x="69" y="34"/>
                      <a:pt x="68" y="33"/>
                    </a:cubicBezTo>
                    <a:cubicBezTo>
                      <a:pt x="68" y="33"/>
                      <a:pt x="68" y="33"/>
                      <a:pt x="68" y="33"/>
                    </a:cubicBezTo>
                    <a:cubicBezTo>
                      <a:pt x="68" y="33"/>
                      <a:pt x="67" y="32"/>
                      <a:pt x="66" y="32"/>
                    </a:cubicBezTo>
                    <a:cubicBezTo>
                      <a:pt x="65" y="31"/>
                      <a:pt x="64" y="31"/>
                      <a:pt x="63" y="30"/>
                    </a:cubicBezTo>
                    <a:cubicBezTo>
                      <a:pt x="63" y="30"/>
                      <a:pt x="63" y="29"/>
                      <a:pt x="62" y="29"/>
                    </a:cubicBezTo>
                    <a:cubicBezTo>
                      <a:pt x="62" y="28"/>
                      <a:pt x="62" y="28"/>
                      <a:pt x="62" y="28"/>
                    </a:cubicBezTo>
                    <a:cubicBezTo>
                      <a:pt x="61" y="27"/>
                      <a:pt x="60" y="27"/>
                      <a:pt x="59" y="27"/>
                    </a:cubicBezTo>
                    <a:cubicBezTo>
                      <a:pt x="58" y="26"/>
                      <a:pt x="57" y="26"/>
                      <a:pt x="56" y="26"/>
                    </a:cubicBezTo>
                    <a:cubicBezTo>
                      <a:pt x="56" y="26"/>
                      <a:pt x="56" y="26"/>
                      <a:pt x="56" y="26"/>
                    </a:cubicBezTo>
                    <a:cubicBezTo>
                      <a:pt x="55" y="26"/>
                      <a:pt x="54" y="25"/>
                      <a:pt x="53" y="25"/>
                    </a:cubicBezTo>
                    <a:cubicBezTo>
                      <a:pt x="52" y="25"/>
                      <a:pt x="51" y="24"/>
                      <a:pt x="50" y="24"/>
                    </a:cubicBezTo>
                    <a:cubicBezTo>
                      <a:pt x="50" y="23"/>
                      <a:pt x="50" y="23"/>
                      <a:pt x="50" y="22"/>
                    </a:cubicBezTo>
                    <a:cubicBezTo>
                      <a:pt x="50" y="22"/>
                      <a:pt x="49" y="21"/>
                      <a:pt x="49" y="21"/>
                    </a:cubicBezTo>
                    <a:cubicBezTo>
                      <a:pt x="49" y="20"/>
                      <a:pt x="49" y="19"/>
                      <a:pt x="48" y="17"/>
                    </a:cubicBezTo>
                    <a:cubicBezTo>
                      <a:pt x="48" y="17"/>
                      <a:pt x="48" y="16"/>
                      <a:pt x="48" y="16"/>
                    </a:cubicBezTo>
                    <a:cubicBezTo>
                      <a:pt x="48" y="16"/>
                      <a:pt x="48" y="16"/>
                      <a:pt x="48" y="16"/>
                    </a:cubicBezTo>
                    <a:cubicBezTo>
                      <a:pt x="48" y="16"/>
                      <a:pt x="47" y="16"/>
                      <a:pt x="47" y="16"/>
                    </a:cubicBezTo>
                    <a:cubicBezTo>
                      <a:pt x="47" y="16"/>
                      <a:pt x="47" y="16"/>
                      <a:pt x="47" y="16"/>
                    </a:cubicBezTo>
                    <a:cubicBezTo>
                      <a:pt x="47" y="16"/>
                      <a:pt x="46" y="16"/>
                      <a:pt x="46" y="16"/>
                    </a:cubicBezTo>
                    <a:cubicBezTo>
                      <a:pt x="46" y="16"/>
                      <a:pt x="46" y="16"/>
                      <a:pt x="46" y="16"/>
                    </a:cubicBezTo>
                    <a:cubicBezTo>
                      <a:pt x="46" y="16"/>
                      <a:pt x="46" y="16"/>
                      <a:pt x="46" y="16"/>
                    </a:cubicBezTo>
                    <a:cubicBezTo>
                      <a:pt x="46" y="16"/>
                      <a:pt x="46" y="16"/>
                      <a:pt x="45" y="16"/>
                    </a:cubicBezTo>
                    <a:cubicBezTo>
                      <a:pt x="45" y="16"/>
                      <a:pt x="45" y="16"/>
                      <a:pt x="45" y="16"/>
                    </a:cubicBezTo>
                    <a:cubicBezTo>
                      <a:pt x="45" y="16"/>
                      <a:pt x="45" y="16"/>
                      <a:pt x="45" y="16"/>
                    </a:cubicBezTo>
                    <a:cubicBezTo>
                      <a:pt x="44" y="15"/>
                      <a:pt x="44" y="15"/>
                      <a:pt x="44" y="14"/>
                    </a:cubicBezTo>
                    <a:cubicBezTo>
                      <a:pt x="43" y="14"/>
                      <a:pt x="43" y="14"/>
                      <a:pt x="43" y="14"/>
                    </a:cubicBezTo>
                    <a:cubicBezTo>
                      <a:pt x="43" y="14"/>
                      <a:pt x="43" y="14"/>
                      <a:pt x="43" y="14"/>
                    </a:cubicBezTo>
                    <a:cubicBezTo>
                      <a:pt x="42" y="13"/>
                      <a:pt x="42" y="13"/>
                      <a:pt x="41" y="13"/>
                    </a:cubicBezTo>
                    <a:cubicBezTo>
                      <a:pt x="41" y="13"/>
                      <a:pt x="41" y="12"/>
                      <a:pt x="41" y="12"/>
                    </a:cubicBezTo>
                    <a:cubicBezTo>
                      <a:pt x="41" y="12"/>
                      <a:pt x="41" y="12"/>
                      <a:pt x="41" y="12"/>
                    </a:cubicBezTo>
                    <a:cubicBezTo>
                      <a:pt x="41" y="12"/>
                      <a:pt x="41" y="12"/>
                      <a:pt x="41" y="12"/>
                    </a:cubicBezTo>
                    <a:cubicBezTo>
                      <a:pt x="37" y="9"/>
                      <a:pt x="37" y="9"/>
                      <a:pt x="37" y="9"/>
                    </a:cubicBezTo>
                    <a:cubicBezTo>
                      <a:pt x="40" y="7"/>
                      <a:pt x="40" y="7"/>
                      <a:pt x="40" y="7"/>
                    </a:cubicBezTo>
                    <a:cubicBezTo>
                      <a:pt x="40" y="6"/>
                      <a:pt x="39" y="6"/>
                      <a:pt x="40" y="5"/>
                    </a:cubicBezTo>
                    <a:cubicBezTo>
                      <a:pt x="40" y="4"/>
                      <a:pt x="40" y="4"/>
                      <a:pt x="41" y="3"/>
                    </a:cubicBezTo>
                    <a:cubicBezTo>
                      <a:pt x="41" y="3"/>
                      <a:pt x="41" y="3"/>
                      <a:pt x="41" y="3"/>
                    </a:cubicBezTo>
                    <a:cubicBezTo>
                      <a:pt x="41" y="3"/>
                      <a:pt x="41" y="3"/>
                      <a:pt x="41" y="3"/>
                    </a:cubicBezTo>
                    <a:cubicBezTo>
                      <a:pt x="40" y="2"/>
                      <a:pt x="40" y="2"/>
                      <a:pt x="40" y="2"/>
                    </a:cubicBezTo>
                    <a:cubicBezTo>
                      <a:pt x="39" y="1"/>
                      <a:pt x="39" y="1"/>
                      <a:pt x="39" y="0"/>
                    </a:cubicBezTo>
                    <a:cubicBezTo>
                      <a:pt x="39" y="0"/>
                      <a:pt x="38" y="1"/>
                      <a:pt x="37" y="1"/>
                    </a:cubicBezTo>
                    <a:cubicBezTo>
                      <a:pt x="37" y="2"/>
                      <a:pt x="37" y="2"/>
                      <a:pt x="37" y="2"/>
                    </a:cubicBezTo>
                    <a:cubicBezTo>
                      <a:pt x="35" y="3"/>
                      <a:pt x="34" y="3"/>
                      <a:pt x="33" y="4"/>
                    </a:cubicBezTo>
                    <a:cubicBezTo>
                      <a:pt x="32" y="5"/>
                      <a:pt x="32" y="5"/>
                      <a:pt x="32" y="5"/>
                    </a:cubicBezTo>
                    <a:cubicBezTo>
                      <a:pt x="31" y="5"/>
                      <a:pt x="31" y="5"/>
                      <a:pt x="30" y="6"/>
                    </a:cubicBezTo>
                    <a:cubicBezTo>
                      <a:pt x="29" y="6"/>
                      <a:pt x="29" y="7"/>
                      <a:pt x="28" y="7"/>
                    </a:cubicBezTo>
                    <a:cubicBezTo>
                      <a:pt x="28" y="8"/>
                      <a:pt x="28" y="8"/>
                      <a:pt x="27" y="8"/>
                    </a:cubicBezTo>
                    <a:cubicBezTo>
                      <a:pt x="27" y="8"/>
                      <a:pt x="27" y="8"/>
                      <a:pt x="27" y="8"/>
                    </a:cubicBezTo>
                    <a:cubicBezTo>
                      <a:pt x="27" y="9"/>
                      <a:pt x="27" y="9"/>
                      <a:pt x="27" y="9"/>
                    </a:cubicBezTo>
                    <a:cubicBezTo>
                      <a:pt x="26" y="9"/>
                      <a:pt x="26" y="10"/>
                      <a:pt x="25" y="10"/>
                    </a:cubicBezTo>
                    <a:cubicBezTo>
                      <a:pt x="25" y="10"/>
                      <a:pt x="25" y="10"/>
                      <a:pt x="25" y="10"/>
                    </a:cubicBezTo>
                    <a:cubicBezTo>
                      <a:pt x="24" y="13"/>
                      <a:pt x="24" y="13"/>
                      <a:pt x="24" y="13"/>
                    </a:cubicBezTo>
                    <a:cubicBezTo>
                      <a:pt x="24" y="12"/>
                      <a:pt x="24" y="12"/>
                      <a:pt x="24" y="12"/>
                    </a:cubicBezTo>
                    <a:cubicBezTo>
                      <a:pt x="24" y="12"/>
                      <a:pt x="24" y="12"/>
                      <a:pt x="24" y="12"/>
                    </a:cubicBezTo>
                    <a:cubicBezTo>
                      <a:pt x="23" y="10"/>
                      <a:pt x="23" y="10"/>
                      <a:pt x="23" y="10"/>
                    </a:cubicBezTo>
                    <a:cubicBezTo>
                      <a:pt x="23" y="10"/>
                      <a:pt x="23" y="10"/>
                      <a:pt x="23" y="10"/>
                    </a:cubicBezTo>
                    <a:cubicBezTo>
                      <a:pt x="23" y="10"/>
                      <a:pt x="23" y="10"/>
                      <a:pt x="23" y="10"/>
                    </a:cubicBezTo>
                    <a:cubicBezTo>
                      <a:pt x="23" y="10"/>
                      <a:pt x="23" y="10"/>
                      <a:pt x="23" y="10"/>
                    </a:cubicBezTo>
                    <a:cubicBezTo>
                      <a:pt x="23" y="10"/>
                      <a:pt x="23" y="10"/>
                      <a:pt x="22" y="10"/>
                    </a:cubicBezTo>
                    <a:cubicBezTo>
                      <a:pt x="22" y="11"/>
                      <a:pt x="22" y="11"/>
                      <a:pt x="22" y="11"/>
                    </a:cubicBezTo>
                    <a:cubicBezTo>
                      <a:pt x="22" y="11"/>
                      <a:pt x="22" y="11"/>
                      <a:pt x="22" y="11"/>
                    </a:cubicBezTo>
                    <a:cubicBezTo>
                      <a:pt x="21" y="11"/>
                      <a:pt x="21" y="11"/>
                      <a:pt x="21" y="11"/>
                    </a:cubicBezTo>
                    <a:cubicBezTo>
                      <a:pt x="21" y="11"/>
                      <a:pt x="19" y="11"/>
                      <a:pt x="18" y="10"/>
                    </a:cubicBezTo>
                    <a:cubicBezTo>
                      <a:pt x="16" y="10"/>
                      <a:pt x="13" y="9"/>
                      <a:pt x="12" y="8"/>
                    </a:cubicBezTo>
                    <a:cubicBezTo>
                      <a:pt x="11" y="8"/>
                      <a:pt x="11" y="7"/>
                      <a:pt x="10" y="7"/>
                    </a:cubicBezTo>
                    <a:cubicBezTo>
                      <a:pt x="10" y="6"/>
                      <a:pt x="10" y="6"/>
                      <a:pt x="10" y="6"/>
                    </a:cubicBezTo>
                    <a:cubicBezTo>
                      <a:pt x="10" y="6"/>
                      <a:pt x="9" y="6"/>
                      <a:pt x="9" y="6"/>
                    </a:cubicBezTo>
                    <a:cubicBezTo>
                      <a:pt x="7" y="4"/>
                      <a:pt x="6" y="3"/>
                      <a:pt x="6" y="2"/>
                    </a:cubicBezTo>
                    <a:cubicBezTo>
                      <a:pt x="6" y="2"/>
                      <a:pt x="6" y="2"/>
                      <a:pt x="6" y="2"/>
                    </a:cubicBezTo>
                    <a:cubicBezTo>
                      <a:pt x="6" y="2"/>
                      <a:pt x="6" y="2"/>
                      <a:pt x="6" y="2"/>
                    </a:cubicBezTo>
                    <a:cubicBezTo>
                      <a:pt x="5" y="1"/>
                      <a:pt x="5" y="1"/>
                      <a:pt x="5" y="1"/>
                    </a:cubicBezTo>
                    <a:cubicBezTo>
                      <a:pt x="5" y="1"/>
                      <a:pt x="5" y="1"/>
                      <a:pt x="5" y="1"/>
                    </a:cubicBezTo>
                    <a:cubicBezTo>
                      <a:pt x="5" y="1"/>
                      <a:pt x="5" y="1"/>
                      <a:pt x="5" y="1"/>
                    </a:cubicBezTo>
                    <a:cubicBezTo>
                      <a:pt x="5" y="1"/>
                      <a:pt x="5" y="1"/>
                      <a:pt x="5" y="1"/>
                    </a:cubicBezTo>
                    <a:cubicBezTo>
                      <a:pt x="5" y="0"/>
                      <a:pt x="5" y="0"/>
                      <a:pt x="5" y="0"/>
                    </a:cubicBezTo>
                    <a:cubicBezTo>
                      <a:pt x="4" y="0"/>
                      <a:pt x="4" y="0"/>
                      <a:pt x="4" y="0"/>
                    </a:cubicBezTo>
                    <a:cubicBezTo>
                      <a:pt x="4" y="0"/>
                      <a:pt x="4" y="0"/>
                      <a:pt x="4" y="0"/>
                    </a:cubicBezTo>
                    <a:cubicBezTo>
                      <a:pt x="4" y="0"/>
                      <a:pt x="4" y="0"/>
                      <a:pt x="4" y="0"/>
                    </a:cubicBezTo>
                    <a:cubicBezTo>
                      <a:pt x="4" y="3"/>
                      <a:pt x="3" y="4"/>
                      <a:pt x="3" y="4"/>
                    </a:cubicBezTo>
                    <a:cubicBezTo>
                      <a:pt x="2" y="4"/>
                      <a:pt x="1" y="4"/>
                      <a:pt x="0" y="4"/>
                    </a:cubicBezTo>
                    <a:cubicBezTo>
                      <a:pt x="0" y="5"/>
                      <a:pt x="0" y="5"/>
                      <a:pt x="0" y="5"/>
                    </a:cubicBezTo>
                    <a:cubicBezTo>
                      <a:pt x="1" y="5"/>
                      <a:pt x="1" y="6"/>
                      <a:pt x="1" y="6"/>
                    </a:cubicBezTo>
                    <a:cubicBezTo>
                      <a:pt x="1" y="7"/>
                      <a:pt x="2" y="8"/>
                      <a:pt x="2" y="9"/>
                    </a:cubicBezTo>
                    <a:cubicBezTo>
                      <a:pt x="3" y="10"/>
                      <a:pt x="3" y="12"/>
                      <a:pt x="3" y="14"/>
                    </a:cubicBezTo>
                    <a:cubicBezTo>
                      <a:pt x="4" y="14"/>
                      <a:pt x="4" y="14"/>
                      <a:pt x="4" y="15"/>
                    </a:cubicBezTo>
                    <a:cubicBezTo>
                      <a:pt x="5" y="16"/>
                      <a:pt x="4" y="17"/>
                      <a:pt x="4" y="18"/>
                    </a:cubicBezTo>
                    <a:cubicBezTo>
                      <a:pt x="3" y="18"/>
                      <a:pt x="2" y="20"/>
                      <a:pt x="2" y="20"/>
                    </a:cubicBezTo>
                    <a:cubicBezTo>
                      <a:pt x="2" y="20"/>
                      <a:pt x="2" y="20"/>
                      <a:pt x="2" y="20"/>
                    </a:cubicBezTo>
                    <a:cubicBezTo>
                      <a:pt x="2" y="20"/>
                      <a:pt x="2" y="20"/>
                      <a:pt x="2" y="20"/>
                    </a:cubicBezTo>
                    <a:cubicBezTo>
                      <a:pt x="3" y="20"/>
                      <a:pt x="3" y="20"/>
                      <a:pt x="3" y="21"/>
                    </a:cubicBezTo>
                    <a:cubicBezTo>
                      <a:pt x="4" y="21"/>
                      <a:pt x="4" y="21"/>
                      <a:pt x="5" y="21"/>
                    </a:cubicBezTo>
                    <a:cubicBezTo>
                      <a:pt x="5" y="21"/>
                      <a:pt x="5" y="22"/>
                      <a:pt x="5" y="22"/>
                    </a:cubicBezTo>
                    <a:cubicBezTo>
                      <a:pt x="5" y="22"/>
                      <a:pt x="5" y="22"/>
                      <a:pt x="6" y="22"/>
                    </a:cubicBezTo>
                    <a:cubicBezTo>
                      <a:pt x="6" y="23"/>
                      <a:pt x="6" y="23"/>
                      <a:pt x="6" y="23"/>
                    </a:cubicBezTo>
                    <a:cubicBezTo>
                      <a:pt x="6" y="24"/>
                      <a:pt x="6" y="24"/>
                      <a:pt x="6" y="24"/>
                    </a:cubicBezTo>
                    <a:cubicBezTo>
                      <a:pt x="6" y="25"/>
                      <a:pt x="6" y="25"/>
                      <a:pt x="6" y="25"/>
                    </a:cubicBezTo>
                    <a:cubicBezTo>
                      <a:pt x="6" y="25"/>
                      <a:pt x="6" y="25"/>
                      <a:pt x="6" y="25"/>
                    </a:cubicBezTo>
                    <a:cubicBezTo>
                      <a:pt x="6" y="25"/>
                      <a:pt x="6" y="26"/>
                      <a:pt x="6" y="26"/>
                    </a:cubicBezTo>
                    <a:cubicBezTo>
                      <a:pt x="7" y="26"/>
                      <a:pt x="7" y="26"/>
                      <a:pt x="8" y="27"/>
                    </a:cubicBezTo>
                    <a:cubicBezTo>
                      <a:pt x="8" y="27"/>
                      <a:pt x="8" y="27"/>
                      <a:pt x="8" y="27"/>
                    </a:cubicBezTo>
                    <a:cubicBezTo>
                      <a:pt x="8" y="28"/>
                      <a:pt x="8" y="29"/>
                      <a:pt x="8" y="29"/>
                    </a:cubicBezTo>
                    <a:cubicBezTo>
                      <a:pt x="8" y="29"/>
                      <a:pt x="8" y="29"/>
                      <a:pt x="8" y="29"/>
                    </a:cubicBezTo>
                    <a:cubicBezTo>
                      <a:pt x="8" y="30"/>
                      <a:pt x="8" y="30"/>
                      <a:pt x="8" y="31"/>
                    </a:cubicBezTo>
                    <a:cubicBezTo>
                      <a:pt x="9" y="32"/>
                      <a:pt x="9" y="32"/>
                      <a:pt x="9" y="32"/>
                    </a:cubicBezTo>
                    <a:cubicBezTo>
                      <a:pt x="9" y="32"/>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10" y="34"/>
                      <a:pt x="10" y="35"/>
                      <a:pt x="10" y="35"/>
                    </a:cubicBezTo>
                    <a:cubicBezTo>
                      <a:pt x="10" y="36"/>
                      <a:pt x="10" y="36"/>
                      <a:pt x="10" y="36"/>
                    </a:cubicBezTo>
                    <a:cubicBezTo>
                      <a:pt x="10" y="36"/>
                      <a:pt x="10" y="36"/>
                      <a:pt x="10" y="36"/>
                    </a:cubicBezTo>
                    <a:cubicBezTo>
                      <a:pt x="10" y="36"/>
                      <a:pt x="10" y="36"/>
                      <a:pt x="10" y="36"/>
                    </a:cubicBezTo>
                    <a:cubicBezTo>
                      <a:pt x="10" y="36"/>
                      <a:pt x="10" y="36"/>
                      <a:pt x="10" y="36"/>
                    </a:cubicBezTo>
                    <a:cubicBezTo>
                      <a:pt x="11" y="37"/>
                      <a:pt x="11" y="37"/>
                      <a:pt x="12" y="37"/>
                    </a:cubicBezTo>
                    <a:cubicBezTo>
                      <a:pt x="14" y="37"/>
                      <a:pt x="14" y="37"/>
                      <a:pt x="14" y="37"/>
                    </a:cubicBezTo>
                    <a:cubicBezTo>
                      <a:pt x="12" y="38"/>
                      <a:pt x="12" y="38"/>
                      <a:pt x="12" y="38"/>
                    </a:cubicBezTo>
                    <a:cubicBezTo>
                      <a:pt x="12" y="38"/>
                      <a:pt x="12" y="38"/>
                      <a:pt x="12" y="38"/>
                    </a:cubicBezTo>
                    <a:cubicBezTo>
                      <a:pt x="12" y="38"/>
                      <a:pt x="12" y="38"/>
                      <a:pt x="12" y="38"/>
                    </a:cubicBezTo>
                    <a:cubicBezTo>
                      <a:pt x="13" y="39"/>
                      <a:pt x="13" y="40"/>
                      <a:pt x="13" y="41"/>
                    </a:cubicBezTo>
                    <a:cubicBezTo>
                      <a:pt x="13" y="42"/>
                      <a:pt x="13" y="42"/>
                      <a:pt x="13" y="42"/>
                    </a:cubicBezTo>
                    <a:cubicBezTo>
                      <a:pt x="13" y="42"/>
                      <a:pt x="14" y="42"/>
                      <a:pt x="14" y="42"/>
                    </a:cubicBezTo>
                    <a:cubicBezTo>
                      <a:pt x="15" y="42"/>
                      <a:pt x="15" y="42"/>
                      <a:pt x="15" y="43"/>
                    </a:cubicBezTo>
                    <a:cubicBezTo>
                      <a:pt x="16" y="43"/>
                      <a:pt x="16" y="43"/>
                      <a:pt x="17" y="44"/>
                    </a:cubicBezTo>
                    <a:cubicBezTo>
                      <a:pt x="17" y="44"/>
                      <a:pt x="17" y="44"/>
                      <a:pt x="17" y="44"/>
                    </a:cubicBezTo>
                    <a:cubicBezTo>
                      <a:pt x="17" y="44"/>
                      <a:pt x="18" y="44"/>
                      <a:pt x="18" y="44"/>
                    </a:cubicBezTo>
                    <a:cubicBezTo>
                      <a:pt x="18" y="44"/>
                      <a:pt x="19" y="44"/>
                      <a:pt x="19" y="44"/>
                    </a:cubicBezTo>
                    <a:cubicBezTo>
                      <a:pt x="19" y="44"/>
                      <a:pt x="19" y="44"/>
                      <a:pt x="19" y="44"/>
                    </a:cubicBezTo>
                    <a:cubicBezTo>
                      <a:pt x="19" y="44"/>
                      <a:pt x="19" y="44"/>
                      <a:pt x="19" y="44"/>
                    </a:cubicBezTo>
                    <a:cubicBezTo>
                      <a:pt x="20" y="44"/>
                      <a:pt x="21" y="44"/>
                      <a:pt x="21" y="44"/>
                    </a:cubicBezTo>
                    <a:cubicBezTo>
                      <a:pt x="21" y="44"/>
                      <a:pt x="22" y="44"/>
                      <a:pt x="22" y="44"/>
                    </a:cubicBezTo>
                    <a:cubicBezTo>
                      <a:pt x="26" y="45"/>
                      <a:pt x="26" y="45"/>
                      <a:pt x="26" y="45"/>
                    </a:cubicBezTo>
                    <a:cubicBezTo>
                      <a:pt x="23" y="47"/>
                      <a:pt x="23" y="47"/>
                      <a:pt x="23" y="47"/>
                    </a:cubicBezTo>
                    <a:cubicBezTo>
                      <a:pt x="23" y="47"/>
                      <a:pt x="22" y="47"/>
                      <a:pt x="22" y="47"/>
                    </a:cubicBezTo>
                    <a:cubicBezTo>
                      <a:pt x="21" y="47"/>
                      <a:pt x="20" y="48"/>
                      <a:pt x="20" y="48"/>
                    </a:cubicBezTo>
                    <a:cubicBezTo>
                      <a:pt x="20" y="48"/>
                      <a:pt x="20" y="48"/>
                      <a:pt x="20" y="48"/>
                    </a:cubicBezTo>
                    <a:cubicBezTo>
                      <a:pt x="20" y="48"/>
                      <a:pt x="20" y="48"/>
                      <a:pt x="20" y="48"/>
                    </a:cubicBezTo>
                    <a:cubicBezTo>
                      <a:pt x="20" y="49"/>
                      <a:pt x="20" y="49"/>
                      <a:pt x="20" y="49"/>
                    </a:cubicBezTo>
                    <a:cubicBezTo>
                      <a:pt x="20" y="49"/>
                      <a:pt x="20" y="49"/>
                      <a:pt x="20" y="49"/>
                    </a:cubicBezTo>
                    <a:cubicBezTo>
                      <a:pt x="20" y="49"/>
                      <a:pt x="20" y="49"/>
                      <a:pt x="21" y="50"/>
                    </a:cubicBezTo>
                    <a:cubicBezTo>
                      <a:pt x="21" y="50"/>
                      <a:pt x="21" y="50"/>
                      <a:pt x="21" y="50"/>
                    </a:cubicBezTo>
                    <a:cubicBezTo>
                      <a:pt x="21" y="50"/>
                      <a:pt x="22" y="51"/>
                      <a:pt x="22" y="52"/>
                    </a:cubicBezTo>
                    <a:cubicBezTo>
                      <a:pt x="22" y="53"/>
                      <a:pt x="22" y="53"/>
                      <a:pt x="22" y="53"/>
                    </a:cubicBezTo>
                    <a:cubicBezTo>
                      <a:pt x="22" y="53"/>
                      <a:pt x="22" y="53"/>
                      <a:pt x="22" y="53"/>
                    </a:cubicBezTo>
                    <a:cubicBezTo>
                      <a:pt x="22" y="54"/>
                      <a:pt x="22" y="54"/>
                      <a:pt x="22" y="54"/>
                    </a:cubicBezTo>
                    <a:cubicBezTo>
                      <a:pt x="21" y="55"/>
                      <a:pt x="21" y="55"/>
                      <a:pt x="21" y="55"/>
                    </a:cubicBezTo>
                    <a:cubicBezTo>
                      <a:pt x="20" y="55"/>
                      <a:pt x="20" y="55"/>
                      <a:pt x="20" y="55"/>
                    </a:cubicBezTo>
                    <a:cubicBezTo>
                      <a:pt x="19" y="55"/>
                      <a:pt x="19" y="55"/>
                      <a:pt x="19" y="55"/>
                    </a:cubicBezTo>
                    <a:cubicBezTo>
                      <a:pt x="18" y="56"/>
                      <a:pt x="18" y="57"/>
                      <a:pt x="17" y="58"/>
                    </a:cubicBezTo>
                    <a:cubicBezTo>
                      <a:pt x="17" y="59"/>
                      <a:pt x="17" y="59"/>
                      <a:pt x="17" y="59"/>
                    </a:cubicBezTo>
                    <a:cubicBezTo>
                      <a:pt x="17" y="59"/>
                      <a:pt x="17" y="60"/>
                      <a:pt x="17" y="60"/>
                    </a:cubicBezTo>
                    <a:cubicBezTo>
                      <a:pt x="17" y="60"/>
                      <a:pt x="16" y="61"/>
                      <a:pt x="15" y="61"/>
                    </a:cubicBezTo>
                    <a:cubicBezTo>
                      <a:pt x="15" y="61"/>
                      <a:pt x="15" y="61"/>
                      <a:pt x="15" y="61"/>
                    </a:cubicBezTo>
                    <a:cubicBezTo>
                      <a:pt x="15" y="61"/>
                      <a:pt x="15" y="61"/>
                      <a:pt x="15" y="61"/>
                    </a:cubicBezTo>
                    <a:cubicBezTo>
                      <a:pt x="15" y="61"/>
                      <a:pt x="15" y="61"/>
                      <a:pt x="15" y="62"/>
                    </a:cubicBezTo>
                    <a:cubicBezTo>
                      <a:pt x="16" y="62"/>
                      <a:pt x="16" y="63"/>
                      <a:pt x="16" y="63"/>
                    </a:cubicBezTo>
                    <a:cubicBezTo>
                      <a:pt x="15" y="64"/>
                      <a:pt x="15" y="64"/>
                      <a:pt x="15" y="64"/>
                    </a:cubicBezTo>
                    <a:cubicBezTo>
                      <a:pt x="15" y="64"/>
                      <a:pt x="15" y="64"/>
                      <a:pt x="15" y="64"/>
                    </a:cubicBezTo>
                    <a:cubicBezTo>
                      <a:pt x="15" y="65"/>
                      <a:pt x="14" y="66"/>
                      <a:pt x="14" y="66"/>
                    </a:cubicBezTo>
                    <a:cubicBezTo>
                      <a:pt x="14" y="66"/>
                      <a:pt x="14" y="66"/>
                      <a:pt x="14" y="66"/>
                    </a:cubicBezTo>
                    <a:cubicBezTo>
                      <a:pt x="17" y="66"/>
                      <a:pt x="17" y="66"/>
                      <a:pt x="17" y="66"/>
                    </a:cubicBezTo>
                    <a:cubicBezTo>
                      <a:pt x="16" y="68"/>
                      <a:pt x="16" y="68"/>
                      <a:pt x="16" y="68"/>
                    </a:cubicBezTo>
                    <a:cubicBezTo>
                      <a:pt x="16" y="69"/>
                      <a:pt x="16" y="69"/>
                      <a:pt x="16" y="69"/>
                    </a:cubicBezTo>
                    <a:cubicBezTo>
                      <a:pt x="18" y="67"/>
                      <a:pt x="18" y="67"/>
                      <a:pt x="18" y="67"/>
                    </a:cubicBezTo>
                    <a:cubicBezTo>
                      <a:pt x="17" y="69"/>
                      <a:pt x="17" y="69"/>
                      <a:pt x="17" y="69"/>
                    </a:cubicBezTo>
                    <a:cubicBezTo>
                      <a:pt x="17" y="69"/>
                      <a:pt x="17" y="69"/>
                      <a:pt x="17" y="69"/>
                    </a:cubicBezTo>
                    <a:cubicBezTo>
                      <a:pt x="17" y="69"/>
                      <a:pt x="17" y="70"/>
                      <a:pt x="17" y="70"/>
                    </a:cubicBezTo>
                    <a:cubicBezTo>
                      <a:pt x="17" y="70"/>
                      <a:pt x="17" y="70"/>
                      <a:pt x="17" y="70"/>
                    </a:cubicBezTo>
                    <a:cubicBezTo>
                      <a:pt x="18" y="70"/>
                      <a:pt x="19" y="70"/>
                      <a:pt x="19" y="70"/>
                    </a:cubicBezTo>
                    <a:cubicBezTo>
                      <a:pt x="19" y="71"/>
                      <a:pt x="19" y="71"/>
                      <a:pt x="19" y="71"/>
                    </a:cubicBezTo>
                    <a:cubicBezTo>
                      <a:pt x="20" y="72"/>
                      <a:pt x="20" y="72"/>
                      <a:pt x="20" y="72"/>
                    </a:cubicBezTo>
                    <a:cubicBezTo>
                      <a:pt x="20" y="73"/>
                      <a:pt x="20" y="73"/>
                      <a:pt x="20" y="73"/>
                    </a:cubicBezTo>
                    <a:cubicBezTo>
                      <a:pt x="20" y="73"/>
                      <a:pt x="20" y="74"/>
                      <a:pt x="20" y="74"/>
                    </a:cubicBezTo>
                    <a:cubicBezTo>
                      <a:pt x="20" y="75"/>
                      <a:pt x="20" y="75"/>
                      <a:pt x="20" y="75"/>
                    </a:cubicBezTo>
                    <a:cubicBezTo>
                      <a:pt x="20" y="75"/>
                      <a:pt x="20" y="76"/>
                      <a:pt x="20" y="77"/>
                    </a:cubicBezTo>
                    <a:cubicBezTo>
                      <a:pt x="20" y="77"/>
                      <a:pt x="21" y="77"/>
                      <a:pt x="21" y="77"/>
                    </a:cubicBezTo>
                    <a:cubicBezTo>
                      <a:pt x="21" y="77"/>
                      <a:pt x="21" y="77"/>
                      <a:pt x="21" y="77"/>
                    </a:cubicBezTo>
                    <a:cubicBezTo>
                      <a:pt x="21" y="77"/>
                      <a:pt x="22" y="77"/>
                      <a:pt x="22" y="77"/>
                    </a:cubicBezTo>
                    <a:cubicBezTo>
                      <a:pt x="22" y="77"/>
                      <a:pt x="23" y="77"/>
                      <a:pt x="23" y="77"/>
                    </a:cubicBezTo>
                    <a:cubicBezTo>
                      <a:pt x="24" y="78"/>
                      <a:pt x="25" y="78"/>
                      <a:pt x="26" y="79"/>
                    </a:cubicBezTo>
                    <a:cubicBezTo>
                      <a:pt x="30" y="82"/>
                      <a:pt x="30" y="82"/>
                      <a:pt x="30" y="82"/>
                    </a:cubicBezTo>
                    <a:cubicBezTo>
                      <a:pt x="30" y="82"/>
                      <a:pt x="31" y="82"/>
                      <a:pt x="31" y="82"/>
                    </a:cubicBezTo>
                    <a:cubicBezTo>
                      <a:pt x="31" y="82"/>
                      <a:pt x="31" y="82"/>
                      <a:pt x="31" y="82"/>
                    </a:cubicBezTo>
                    <a:cubicBezTo>
                      <a:pt x="31" y="82"/>
                      <a:pt x="31" y="82"/>
                      <a:pt x="32" y="82"/>
                    </a:cubicBezTo>
                    <a:cubicBezTo>
                      <a:pt x="33" y="82"/>
                      <a:pt x="33" y="83"/>
                      <a:pt x="34" y="83"/>
                    </a:cubicBezTo>
                    <a:cubicBezTo>
                      <a:pt x="35" y="84"/>
                      <a:pt x="35" y="85"/>
                      <a:pt x="36" y="86"/>
                    </a:cubicBezTo>
                    <a:cubicBezTo>
                      <a:pt x="36" y="87"/>
                      <a:pt x="36" y="87"/>
                      <a:pt x="36" y="87"/>
                    </a:cubicBezTo>
                    <a:cubicBezTo>
                      <a:pt x="37" y="87"/>
                      <a:pt x="37" y="88"/>
                      <a:pt x="37" y="88"/>
                    </a:cubicBezTo>
                    <a:cubicBezTo>
                      <a:pt x="38" y="90"/>
                      <a:pt x="39" y="91"/>
                      <a:pt x="39" y="91"/>
                    </a:cubicBezTo>
                    <a:cubicBezTo>
                      <a:pt x="39" y="92"/>
                      <a:pt x="39" y="92"/>
                      <a:pt x="39" y="92"/>
                    </a:cubicBezTo>
                    <a:cubicBezTo>
                      <a:pt x="39" y="92"/>
                      <a:pt x="39" y="92"/>
                      <a:pt x="39" y="92"/>
                    </a:cubicBezTo>
                    <a:cubicBezTo>
                      <a:pt x="39" y="92"/>
                      <a:pt x="39" y="92"/>
                      <a:pt x="39" y="93"/>
                    </a:cubicBezTo>
                    <a:cubicBezTo>
                      <a:pt x="39" y="93"/>
                      <a:pt x="39" y="93"/>
                      <a:pt x="39" y="93"/>
                    </a:cubicBezTo>
                    <a:cubicBezTo>
                      <a:pt x="39" y="93"/>
                      <a:pt x="39" y="93"/>
                      <a:pt x="39" y="93"/>
                    </a:cubicBezTo>
                    <a:cubicBezTo>
                      <a:pt x="38" y="94"/>
                      <a:pt x="38" y="94"/>
                      <a:pt x="38" y="95"/>
                    </a:cubicBezTo>
                    <a:cubicBezTo>
                      <a:pt x="38" y="95"/>
                      <a:pt x="38" y="95"/>
                      <a:pt x="38" y="95"/>
                    </a:cubicBezTo>
                    <a:cubicBezTo>
                      <a:pt x="38" y="95"/>
                      <a:pt x="38" y="95"/>
                      <a:pt x="38" y="95"/>
                    </a:cubicBezTo>
                    <a:cubicBezTo>
                      <a:pt x="38" y="96"/>
                      <a:pt x="37" y="97"/>
                      <a:pt x="37" y="97"/>
                    </a:cubicBezTo>
                    <a:cubicBezTo>
                      <a:pt x="37" y="98"/>
                      <a:pt x="37" y="98"/>
                      <a:pt x="37" y="99"/>
                    </a:cubicBezTo>
                    <a:cubicBezTo>
                      <a:pt x="39" y="99"/>
                      <a:pt x="39" y="99"/>
                      <a:pt x="40" y="99"/>
                    </a:cubicBezTo>
                    <a:cubicBezTo>
                      <a:pt x="40" y="99"/>
                      <a:pt x="40" y="99"/>
                      <a:pt x="40" y="99"/>
                    </a:cubicBezTo>
                    <a:cubicBezTo>
                      <a:pt x="40" y="100"/>
                      <a:pt x="40" y="100"/>
                      <a:pt x="40" y="100"/>
                    </a:cubicBezTo>
                    <a:cubicBezTo>
                      <a:pt x="41" y="100"/>
                      <a:pt x="41" y="100"/>
                      <a:pt x="41" y="101"/>
                    </a:cubicBezTo>
                    <a:cubicBezTo>
                      <a:pt x="41" y="101"/>
                      <a:pt x="41" y="101"/>
                      <a:pt x="41" y="101"/>
                    </a:cubicBezTo>
                    <a:cubicBezTo>
                      <a:pt x="41" y="102"/>
                      <a:pt x="41" y="103"/>
                      <a:pt x="41" y="104"/>
                    </a:cubicBezTo>
                    <a:cubicBezTo>
                      <a:pt x="41" y="105"/>
                      <a:pt x="41" y="105"/>
                      <a:pt x="41" y="105"/>
                    </a:cubicBezTo>
                    <a:cubicBezTo>
                      <a:pt x="41" y="105"/>
                      <a:pt x="41" y="105"/>
                      <a:pt x="41" y="106"/>
                    </a:cubicBezTo>
                    <a:cubicBezTo>
                      <a:pt x="41" y="106"/>
                      <a:pt x="42" y="106"/>
                      <a:pt x="42" y="107"/>
                    </a:cubicBezTo>
                    <a:cubicBezTo>
                      <a:pt x="43" y="107"/>
                      <a:pt x="43" y="108"/>
                      <a:pt x="44" y="108"/>
                    </a:cubicBezTo>
                    <a:cubicBezTo>
                      <a:pt x="44" y="108"/>
                      <a:pt x="44" y="109"/>
                      <a:pt x="44" y="109"/>
                    </a:cubicBezTo>
                    <a:cubicBezTo>
                      <a:pt x="44" y="109"/>
                      <a:pt x="44" y="109"/>
                      <a:pt x="44" y="109"/>
                    </a:cubicBezTo>
                    <a:cubicBezTo>
                      <a:pt x="45" y="109"/>
                      <a:pt x="45" y="110"/>
                      <a:pt x="46" y="111"/>
                    </a:cubicBezTo>
                    <a:cubicBezTo>
                      <a:pt x="47" y="112"/>
                      <a:pt x="47" y="112"/>
                      <a:pt x="47" y="112"/>
                    </a:cubicBezTo>
                    <a:cubicBezTo>
                      <a:pt x="48" y="111"/>
                      <a:pt x="48" y="111"/>
                      <a:pt x="49" y="111"/>
                    </a:cubicBezTo>
                    <a:cubicBezTo>
                      <a:pt x="49" y="111"/>
                      <a:pt x="49" y="110"/>
                      <a:pt x="49" y="109"/>
                    </a:cubicBezTo>
                    <a:cubicBezTo>
                      <a:pt x="49" y="109"/>
                      <a:pt x="49" y="109"/>
                      <a:pt x="48" y="109"/>
                    </a:cubicBezTo>
                    <a:cubicBezTo>
                      <a:pt x="48" y="108"/>
                      <a:pt x="48" y="108"/>
                      <a:pt x="48" y="108"/>
                    </a:cubicBezTo>
                    <a:cubicBezTo>
                      <a:pt x="49" y="107"/>
                      <a:pt x="49" y="107"/>
                      <a:pt x="50" y="107"/>
                    </a:cubicBezTo>
                    <a:cubicBezTo>
                      <a:pt x="50" y="108"/>
                      <a:pt x="51" y="108"/>
                      <a:pt x="52" y="108"/>
                    </a:cubicBezTo>
                    <a:cubicBezTo>
                      <a:pt x="52" y="109"/>
                      <a:pt x="52" y="109"/>
                      <a:pt x="52" y="109"/>
                    </a:cubicBezTo>
                    <a:cubicBezTo>
                      <a:pt x="53" y="109"/>
                      <a:pt x="54" y="110"/>
                      <a:pt x="55" y="110"/>
                    </a:cubicBezTo>
                    <a:cubicBezTo>
                      <a:pt x="55" y="111"/>
                      <a:pt x="55" y="111"/>
                      <a:pt x="55" y="111"/>
                    </a:cubicBezTo>
                    <a:cubicBezTo>
                      <a:pt x="55" y="112"/>
                      <a:pt x="55" y="111"/>
                      <a:pt x="56" y="111"/>
                    </a:cubicBezTo>
                    <a:cubicBezTo>
                      <a:pt x="56" y="111"/>
                      <a:pt x="56" y="111"/>
                      <a:pt x="57" y="111"/>
                    </a:cubicBezTo>
                    <a:cubicBezTo>
                      <a:pt x="57" y="110"/>
                      <a:pt x="58" y="110"/>
                      <a:pt x="59" y="110"/>
                    </a:cubicBezTo>
                    <a:cubicBezTo>
                      <a:pt x="59" y="110"/>
                      <a:pt x="59" y="110"/>
                      <a:pt x="60" y="110"/>
                    </a:cubicBezTo>
                    <a:cubicBezTo>
                      <a:pt x="61" y="110"/>
                      <a:pt x="61" y="110"/>
                      <a:pt x="61" y="111"/>
                    </a:cubicBezTo>
                    <a:cubicBezTo>
                      <a:pt x="62" y="112"/>
                      <a:pt x="62" y="113"/>
                      <a:pt x="62" y="113"/>
                    </a:cubicBezTo>
                    <a:cubicBezTo>
                      <a:pt x="62" y="113"/>
                      <a:pt x="63" y="114"/>
                      <a:pt x="63" y="114"/>
                    </a:cubicBezTo>
                    <a:cubicBezTo>
                      <a:pt x="63" y="115"/>
                      <a:pt x="64" y="115"/>
                      <a:pt x="65" y="116"/>
                    </a:cubicBezTo>
                    <a:cubicBezTo>
                      <a:pt x="66" y="117"/>
                      <a:pt x="66" y="118"/>
                      <a:pt x="66" y="118"/>
                    </a:cubicBezTo>
                    <a:cubicBezTo>
                      <a:pt x="67" y="119"/>
                      <a:pt x="67" y="120"/>
                      <a:pt x="66" y="121"/>
                    </a:cubicBezTo>
                    <a:cubicBezTo>
                      <a:pt x="67" y="121"/>
                      <a:pt x="67" y="121"/>
                      <a:pt x="67" y="121"/>
                    </a:cubicBezTo>
                    <a:cubicBezTo>
                      <a:pt x="68" y="122"/>
                      <a:pt x="69" y="122"/>
                      <a:pt x="69" y="123"/>
                    </a:cubicBezTo>
                    <a:cubicBezTo>
                      <a:pt x="69" y="123"/>
                      <a:pt x="69" y="123"/>
                      <a:pt x="69" y="124"/>
                    </a:cubicBezTo>
                    <a:cubicBezTo>
                      <a:pt x="69" y="125"/>
                      <a:pt x="70" y="126"/>
                      <a:pt x="70" y="127"/>
                    </a:cubicBezTo>
                    <a:cubicBezTo>
                      <a:pt x="70" y="128"/>
                      <a:pt x="71" y="128"/>
                      <a:pt x="71" y="129"/>
                    </a:cubicBezTo>
                    <a:cubicBezTo>
                      <a:pt x="72" y="130"/>
                      <a:pt x="72" y="131"/>
                      <a:pt x="73" y="132"/>
                    </a:cubicBezTo>
                    <a:cubicBezTo>
                      <a:pt x="73" y="132"/>
                      <a:pt x="73" y="132"/>
                      <a:pt x="73" y="132"/>
                    </a:cubicBezTo>
                    <a:cubicBezTo>
                      <a:pt x="73" y="133"/>
                      <a:pt x="74" y="134"/>
                      <a:pt x="74" y="134"/>
                    </a:cubicBezTo>
                    <a:cubicBezTo>
                      <a:pt x="75" y="135"/>
                      <a:pt x="75" y="135"/>
                      <a:pt x="76" y="135"/>
                    </a:cubicBezTo>
                    <a:cubicBezTo>
                      <a:pt x="76" y="135"/>
                      <a:pt x="77" y="135"/>
                      <a:pt x="77" y="135"/>
                    </a:cubicBezTo>
                    <a:cubicBezTo>
                      <a:pt x="78" y="135"/>
                      <a:pt x="79" y="135"/>
                      <a:pt x="80" y="136"/>
                    </a:cubicBezTo>
                    <a:cubicBezTo>
                      <a:pt x="80" y="136"/>
                      <a:pt x="80" y="136"/>
                      <a:pt x="81" y="136"/>
                    </a:cubicBezTo>
                    <a:cubicBezTo>
                      <a:pt x="81" y="136"/>
                      <a:pt x="82" y="137"/>
                      <a:pt x="83" y="137"/>
                    </a:cubicBezTo>
                    <a:cubicBezTo>
                      <a:pt x="83" y="137"/>
                      <a:pt x="84" y="137"/>
                      <a:pt x="84" y="137"/>
                    </a:cubicBezTo>
                    <a:cubicBezTo>
                      <a:pt x="84" y="137"/>
                      <a:pt x="84" y="138"/>
                      <a:pt x="84" y="138"/>
                    </a:cubicBezTo>
                    <a:cubicBezTo>
                      <a:pt x="84" y="138"/>
                      <a:pt x="85" y="138"/>
                      <a:pt x="85" y="138"/>
                    </a:cubicBezTo>
                    <a:cubicBezTo>
                      <a:pt x="85" y="138"/>
                      <a:pt x="85" y="139"/>
                      <a:pt x="86" y="139"/>
                    </a:cubicBezTo>
                    <a:cubicBezTo>
                      <a:pt x="86" y="140"/>
                      <a:pt x="87" y="140"/>
                      <a:pt x="87" y="141"/>
                    </a:cubicBezTo>
                    <a:cubicBezTo>
                      <a:pt x="88" y="142"/>
                      <a:pt x="89" y="142"/>
                      <a:pt x="89" y="143"/>
                    </a:cubicBezTo>
                    <a:cubicBezTo>
                      <a:pt x="89" y="143"/>
                      <a:pt x="89" y="143"/>
                      <a:pt x="90" y="143"/>
                    </a:cubicBezTo>
                    <a:cubicBezTo>
                      <a:pt x="90" y="143"/>
                      <a:pt x="91" y="144"/>
                      <a:pt x="92" y="144"/>
                    </a:cubicBezTo>
                    <a:cubicBezTo>
                      <a:pt x="92" y="144"/>
                      <a:pt x="92" y="144"/>
                      <a:pt x="92" y="144"/>
                    </a:cubicBezTo>
                    <a:cubicBezTo>
                      <a:pt x="93" y="145"/>
                      <a:pt x="94" y="145"/>
                      <a:pt x="95" y="146"/>
                    </a:cubicBezTo>
                    <a:cubicBezTo>
                      <a:pt x="95" y="146"/>
                      <a:pt x="95" y="146"/>
                      <a:pt x="95" y="146"/>
                    </a:cubicBezTo>
                    <a:cubicBezTo>
                      <a:pt x="96" y="146"/>
                      <a:pt x="96" y="147"/>
                      <a:pt x="97" y="147"/>
                    </a:cubicBezTo>
                    <a:cubicBezTo>
                      <a:pt x="97" y="148"/>
                      <a:pt x="97" y="148"/>
                      <a:pt x="97" y="148"/>
                    </a:cubicBezTo>
                    <a:cubicBezTo>
                      <a:pt x="98" y="148"/>
                      <a:pt x="99" y="148"/>
                      <a:pt x="100" y="148"/>
                    </a:cubicBezTo>
                    <a:cubicBezTo>
                      <a:pt x="101" y="149"/>
                      <a:pt x="102" y="149"/>
                      <a:pt x="103" y="149"/>
                    </a:cubicBezTo>
                    <a:cubicBezTo>
                      <a:pt x="104" y="149"/>
                      <a:pt x="104" y="149"/>
                      <a:pt x="104" y="149"/>
                    </a:cubicBezTo>
                    <a:cubicBezTo>
                      <a:pt x="105" y="149"/>
                      <a:pt x="106" y="149"/>
                      <a:pt x="106" y="150"/>
                    </a:cubicBezTo>
                    <a:cubicBezTo>
                      <a:pt x="107" y="150"/>
                      <a:pt x="107" y="150"/>
                      <a:pt x="107" y="150"/>
                    </a:cubicBezTo>
                    <a:cubicBezTo>
                      <a:pt x="108" y="150"/>
                      <a:pt x="110" y="149"/>
                      <a:pt x="111" y="149"/>
                    </a:cubicBezTo>
                    <a:cubicBezTo>
                      <a:pt x="112" y="149"/>
                      <a:pt x="112" y="149"/>
                      <a:pt x="113" y="148"/>
                    </a:cubicBezTo>
                    <a:cubicBezTo>
                      <a:pt x="114" y="148"/>
                      <a:pt x="115" y="148"/>
                      <a:pt x="116" y="147"/>
                    </a:cubicBezTo>
                    <a:cubicBezTo>
                      <a:pt x="116" y="147"/>
                      <a:pt x="116" y="146"/>
                      <a:pt x="116" y="146"/>
                    </a:cubicBezTo>
                    <a:cubicBezTo>
                      <a:pt x="117" y="145"/>
                      <a:pt x="119" y="144"/>
                      <a:pt x="120" y="144"/>
                    </a:cubicBezTo>
                    <a:cubicBezTo>
                      <a:pt x="122" y="143"/>
                      <a:pt x="124" y="143"/>
                      <a:pt x="125" y="143"/>
                    </a:cubicBezTo>
                    <a:cubicBezTo>
                      <a:pt x="125" y="143"/>
                      <a:pt x="125" y="143"/>
                      <a:pt x="125" y="143"/>
                    </a:cubicBezTo>
                    <a:cubicBezTo>
                      <a:pt x="126" y="143"/>
                      <a:pt x="127" y="143"/>
                      <a:pt x="128" y="144"/>
                    </a:cubicBezTo>
                    <a:cubicBezTo>
                      <a:pt x="129" y="144"/>
                      <a:pt x="130" y="144"/>
                      <a:pt x="131" y="145"/>
                    </a:cubicBezTo>
                    <a:cubicBezTo>
                      <a:pt x="131" y="145"/>
                      <a:pt x="131" y="145"/>
                      <a:pt x="131" y="145"/>
                    </a:cubicBezTo>
                    <a:cubicBezTo>
                      <a:pt x="131" y="146"/>
                      <a:pt x="131" y="147"/>
                      <a:pt x="132" y="148"/>
                    </a:cubicBezTo>
                    <a:cubicBezTo>
                      <a:pt x="132" y="149"/>
                      <a:pt x="132" y="151"/>
                      <a:pt x="132" y="152"/>
                    </a:cubicBezTo>
                    <a:cubicBezTo>
                      <a:pt x="132" y="152"/>
                      <a:pt x="132" y="152"/>
                      <a:pt x="132" y="152"/>
                    </a:cubicBezTo>
                    <a:cubicBezTo>
                      <a:pt x="133" y="153"/>
                      <a:pt x="133" y="154"/>
                      <a:pt x="133" y="155"/>
                    </a:cubicBezTo>
                    <a:cubicBezTo>
                      <a:pt x="133" y="156"/>
                      <a:pt x="134" y="157"/>
                      <a:pt x="134" y="158"/>
                    </a:cubicBezTo>
                    <a:cubicBezTo>
                      <a:pt x="134" y="158"/>
                      <a:pt x="134" y="158"/>
                      <a:pt x="134" y="158"/>
                    </a:cubicBezTo>
                    <a:cubicBezTo>
                      <a:pt x="135" y="159"/>
                      <a:pt x="136" y="159"/>
                      <a:pt x="137" y="159"/>
                    </a:cubicBezTo>
                    <a:cubicBezTo>
                      <a:pt x="137" y="159"/>
                      <a:pt x="137" y="159"/>
                      <a:pt x="137" y="159"/>
                    </a:cubicBezTo>
                    <a:cubicBezTo>
                      <a:pt x="138" y="159"/>
                      <a:pt x="139" y="159"/>
                      <a:pt x="140" y="159"/>
                    </a:cubicBezTo>
                    <a:cubicBezTo>
                      <a:pt x="142" y="159"/>
                      <a:pt x="143" y="160"/>
                      <a:pt x="144" y="160"/>
                    </a:cubicBezTo>
                    <a:cubicBezTo>
                      <a:pt x="145" y="160"/>
                      <a:pt x="146" y="160"/>
                      <a:pt x="147" y="160"/>
                    </a:cubicBezTo>
                    <a:cubicBezTo>
                      <a:pt x="148" y="160"/>
                      <a:pt x="148" y="160"/>
                      <a:pt x="149" y="160"/>
                    </a:cubicBezTo>
                    <a:cubicBezTo>
                      <a:pt x="149" y="161"/>
                      <a:pt x="150" y="161"/>
                      <a:pt x="150" y="161"/>
                    </a:cubicBezTo>
                    <a:cubicBezTo>
                      <a:pt x="150" y="161"/>
                      <a:pt x="150" y="161"/>
                      <a:pt x="150" y="161"/>
                    </a:cubicBezTo>
                    <a:cubicBezTo>
                      <a:pt x="152" y="162"/>
                      <a:pt x="152" y="162"/>
                      <a:pt x="153" y="162"/>
                    </a:cubicBezTo>
                    <a:cubicBezTo>
                      <a:pt x="154" y="162"/>
                      <a:pt x="154" y="162"/>
                      <a:pt x="154" y="162"/>
                    </a:cubicBezTo>
                    <a:cubicBezTo>
                      <a:pt x="155" y="162"/>
                      <a:pt x="157" y="162"/>
                      <a:pt x="158" y="162"/>
                    </a:cubicBezTo>
                    <a:cubicBezTo>
                      <a:pt x="159" y="162"/>
                      <a:pt x="159" y="162"/>
                      <a:pt x="160" y="162"/>
                    </a:cubicBezTo>
                    <a:cubicBezTo>
                      <a:pt x="160" y="162"/>
                      <a:pt x="161" y="162"/>
                      <a:pt x="162" y="162"/>
                    </a:cubicBezTo>
                    <a:cubicBezTo>
                      <a:pt x="163" y="162"/>
                      <a:pt x="164" y="162"/>
                      <a:pt x="166" y="162"/>
                    </a:cubicBezTo>
                    <a:cubicBezTo>
                      <a:pt x="166" y="162"/>
                      <a:pt x="166" y="162"/>
                      <a:pt x="166" y="162"/>
                    </a:cubicBezTo>
                    <a:cubicBezTo>
                      <a:pt x="167" y="162"/>
                      <a:pt x="167" y="162"/>
                      <a:pt x="167" y="162"/>
                    </a:cubicBezTo>
                    <a:cubicBezTo>
                      <a:pt x="167" y="162"/>
                      <a:pt x="167" y="163"/>
                      <a:pt x="168" y="163"/>
                    </a:cubicBezTo>
                    <a:cubicBezTo>
                      <a:pt x="168" y="163"/>
                      <a:pt x="168" y="163"/>
                      <a:pt x="168" y="163"/>
                    </a:cubicBezTo>
                    <a:cubicBezTo>
                      <a:pt x="169" y="164"/>
                      <a:pt x="170" y="164"/>
                      <a:pt x="171" y="165"/>
                    </a:cubicBezTo>
                    <a:cubicBezTo>
                      <a:pt x="172" y="165"/>
                      <a:pt x="173" y="165"/>
                      <a:pt x="174" y="165"/>
                    </a:cubicBezTo>
                    <a:cubicBezTo>
                      <a:pt x="174" y="165"/>
                      <a:pt x="174" y="165"/>
                      <a:pt x="174" y="165"/>
                    </a:cubicBezTo>
                    <a:cubicBezTo>
                      <a:pt x="175" y="165"/>
                      <a:pt x="176" y="165"/>
                      <a:pt x="177" y="165"/>
                    </a:cubicBezTo>
                    <a:cubicBezTo>
                      <a:pt x="177" y="164"/>
                      <a:pt x="177" y="164"/>
                      <a:pt x="177" y="164"/>
                    </a:cubicBezTo>
                    <a:close/>
                    <a:moveTo>
                      <a:pt x="50" y="107"/>
                    </a:moveTo>
                    <a:cubicBezTo>
                      <a:pt x="50" y="107"/>
                      <a:pt x="49" y="107"/>
                      <a:pt x="49" y="107"/>
                    </a:cubicBezTo>
                    <a:cubicBezTo>
                      <a:pt x="50" y="107"/>
                      <a:pt x="50" y="106"/>
                      <a:pt x="49" y="106"/>
                    </a:cubicBezTo>
                    <a:cubicBezTo>
                      <a:pt x="49" y="106"/>
                      <a:pt x="50" y="106"/>
                      <a:pt x="51" y="106"/>
                    </a:cubicBezTo>
                    <a:cubicBezTo>
                      <a:pt x="52" y="106"/>
                      <a:pt x="52" y="106"/>
                      <a:pt x="52" y="107"/>
                    </a:cubicBezTo>
                    <a:cubicBezTo>
                      <a:pt x="52" y="108"/>
                      <a:pt x="51" y="107"/>
                      <a:pt x="5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6" name="Freeform 3148">
                <a:extLst>
                  <a:ext uri="{FF2B5EF4-FFF2-40B4-BE49-F238E27FC236}">
                    <a16:creationId xmlns:a16="http://schemas.microsoft.com/office/drawing/2014/main" id="{1DBA7761-A03F-4233-A5C7-FEC6CA0C137A}"/>
                  </a:ext>
                </a:extLst>
              </p:cNvPr>
              <p:cNvSpPr>
                <a:spLocks/>
              </p:cNvSpPr>
              <p:nvPr/>
            </p:nvSpPr>
            <p:spPr bwMode="auto">
              <a:xfrm>
                <a:off x="4816" y="1697"/>
                <a:ext cx="15" cy="29"/>
              </a:xfrm>
              <a:custGeom>
                <a:avLst/>
                <a:gdLst>
                  <a:gd name="T0" fmla="*/ 5 w 6"/>
                  <a:gd name="T1" fmla="*/ 0 h 12"/>
                  <a:gd name="T2" fmla="*/ 6 w 6"/>
                  <a:gd name="T3" fmla="*/ 0 h 12"/>
                  <a:gd name="T4" fmla="*/ 5 w 6"/>
                  <a:gd name="T5" fmla="*/ 0 h 12"/>
                  <a:gd name="T6" fmla="*/ 4 w 6"/>
                  <a:gd name="T7" fmla="*/ 1 h 12"/>
                  <a:gd name="T8" fmla="*/ 2 w 6"/>
                  <a:gd name="T9" fmla="*/ 3 h 12"/>
                  <a:gd name="T10" fmla="*/ 1 w 6"/>
                  <a:gd name="T11" fmla="*/ 4 h 12"/>
                  <a:gd name="T12" fmla="*/ 0 w 6"/>
                  <a:gd name="T13" fmla="*/ 5 h 12"/>
                  <a:gd name="T14" fmla="*/ 4 w 6"/>
                  <a:gd name="T15" fmla="*/ 12 h 12"/>
                  <a:gd name="T16" fmla="*/ 3 w 6"/>
                  <a:gd name="T17" fmla="*/ 9 h 12"/>
                  <a:gd name="T18" fmla="*/ 4 w 6"/>
                  <a:gd name="T19" fmla="*/ 5 h 12"/>
                  <a:gd name="T20" fmla="*/ 3 w 6"/>
                  <a:gd name="T21" fmla="*/ 4 h 12"/>
                  <a:gd name="T22" fmla="*/ 4 w 6"/>
                  <a:gd name="T23" fmla="*/ 3 h 12"/>
                  <a:gd name="T24" fmla="*/ 5 w 6"/>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2">
                    <a:moveTo>
                      <a:pt x="5" y="0"/>
                    </a:moveTo>
                    <a:cubicBezTo>
                      <a:pt x="6" y="0"/>
                      <a:pt x="6" y="0"/>
                      <a:pt x="6" y="0"/>
                    </a:cubicBezTo>
                    <a:cubicBezTo>
                      <a:pt x="6" y="0"/>
                      <a:pt x="6" y="0"/>
                      <a:pt x="5" y="0"/>
                    </a:cubicBezTo>
                    <a:cubicBezTo>
                      <a:pt x="5" y="0"/>
                      <a:pt x="4" y="1"/>
                      <a:pt x="4" y="1"/>
                    </a:cubicBezTo>
                    <a:cubicBezTo>
                      <a:pt x="3" y="2"/>
                      <a:pt x="2" y="3"/>
                      <a:pt x="2" y="3"/>
                    </a:cubicBezTo>
                    <a:cubicBezTo>
                      <a:pt x="1" y="4"/>
                      <a:pt x="1" y="4"/>
                      <a:pt x="1" y="4"/>
                    </a:cubicBezTo>
                    <a:cubicBezTo>
                      <a:pt x="1" y="4"/>
                      <a:pt x="0" y="5"/>
                      <a:pt x="0" y="5"/>
                    </a:cubicBezTo>
                    <a:cubicBezTo>
                      <a:pt x="1" y="7"/>
                      <a:pt x="3" y="10"/>
                      <a:pt x="4" y="12"/>
                    </a:cubicBezTo>
                    <a:cubicBezTo>
                      <a:pt x="4" y="11"/>
                      <a:pt x="3" y="10"/>
                      <a:pt x="3" y="9"/>
                    </a:cubicBezTo>
                    <a:cubicBezTo>
                      <a:pt x="3" y="7"/>
                      <a:pt x="4" y="6"/>
                      <a:pt x="4" y="5"/>
                    </a:cubicBezTo>
                    <a:cubicBezTo>
                      <a:pt x="4" y="5"/>
                      <a:pt x="4" y="4"/>
                      <a:pt x="3" y="4"/>
                    </a:cubicBezTo>
                    <a:cubicBezTo>
                      <a:pt x="2" y="5"/>
                      <a:pt x="4" y="3"/>
                      <a:pt x="4" y="3"/>
                    </a:cubicBezTo>
                    <a:cubicBezTo>
                      <a:pt x="4" y="2"/>
                      <a:pt x="5" y="1"/>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7" name="Freeform 3149">
                <a:extLst>
                  <a:ext uri="{FF2B5EF4-FFF2-40B4-BE49-F238E27FC236}">
                    <a16:creationId xmlns:a16="http://schemas.microsoft.com/office/drawing/2014/main" id="{46FD34BA-F2B2-410F-83BE-726540AF1711}"/>
                  </a:ext>
                </a:extLst>
              </p:cNvPr>
              <p:cNvSpPr>
                <a:spLocks/>
              </p:cNvSpPr>
              <p:nvPr/>
            </p:nvSpPr>
            <p:spPr bwMode="auto">
              <a:xfrm>
                <a:off x="4821" y="1678"/>
                <a:ext cx="336" cy="209"/>
              </a:xfrm>
              <a:custGeom>
                <a:avLst/>
                <a:gdLst>
                  <a:gd name="T0" fmla="*/ 35 w 142"/>
                  <a:gd name="T1" fmla="*/ 54 h 88"/>
                  <a:gd name="T2" fmla="*/ 38 w 142"/>
                  <a:gd name="T3" fmla="*/ 53 h 88"/>
                  <a:gd name="T4" fmla="*/ 44 w 142"/>
                  <a:gd name="T5" fmla="*/ 52 h 88"/>
                  <a:gd name="T6" fmla="*/ 49 w 142"/>
                  <a:gd name="T7" fmla="*/ 56 h 88"/>
                  <a:gd name="T8" fmla="*/ 56 w 142"/>
                  <a:gd name="T9" fmla="*/ 58 h 88"/>
                  <a:gd name="T10" fmla="*/ 58 w 142"/>
                  <a:gd name="T11" fmla="*/ 60 h 88"/>
                  <a:gd name="T12" fmla="*/ 62 w 142"/>
                  <a:gd name="T13" fmla="*/ 60 h 88"/>
                  <a:gd name="T14" fmla="*/ 69 w 142"/>
                  <a:gd name="T15" fmla="*/ 62 h 88"/>
                  <a:gd name="T16" fmla="*/ 72 w 142"/>
                  <a:gd name="T17" fmla="*/ 66 h 88"/>
                  <a:gd name="T18" fmla="*/ 78 w 142"/>
                  <a:gd name="T19" fmla="*/ 70 h 88"/>
                  <a:gd name="T20" fmla="*/ 82 w 142"/>
                  <a:gd name="T21" fmla="*/ 71 h 88"/>
                  <a:gd name="T22" fmla="*/ 87 w 142"/>
                  <a:gd name="T23" fmla="*/ 72 h 88"/>
                  <a:gd name="T24" fmla="*/ 88 w 142"/>
                  <a:gd name="T25" fmla="*/ 78 h 88"/>
                  <a:gd name="T26" fmla="*/ 89 w 142"/>
                  <a:gd name="T27" fmla="*/ 84 h 88"/>
                  <a:gd name="T28" fmla="*/ 94 w 142"/>
                  <a:gd name="T29" fmla="*/ 85 h 88"/>
                  <a:gd name="T30" fmla="*/ 98 w 142"/>
                  <a:gd name="T31" fmla="*/ 88 h 88"/>
                  <a:gd name="T32" fmla="*/ 103 w 142"/>
                  <a:gd name="T33" fmla="*/ 87 h 88"/>
                  <a:gd name="T34" fmla="*/ 108 w 142"/>
                  <a:gd name="T35" fmla="*/ 80 h 88"/>
                  <a:gd name="T36" fmla="*/ 117 w 142"/>
                  <a:gd name="T37" fmla="*/ 77 h 88"/>
                  <a:gd name="T38" fmla="*/ 121 w 142"/>
                  <a:gd name="T39" fmla="*/ 72 h 88"/>
                  <a:gd name="T40" fmla="*/ 129 w 142"/>
                  <a:gd name="T41" fmla="*/ 65 h 88"/>
                  <a:gd name="T42" fmla="*/ 133 w 142"/>
                  <a:gd name="T43" fmla="*/ 61 h 88"/>
                  <a:gd name="T44" fmla="*/ 136 w 142"/>
                  <a:gd name="T45" fmla="*/ 62 h 88"/>
                  <a:gd name="T46" fmla="*/ 138 w 142"/>
                  <a:gd name="T47" fmla="*/ 63 h 88"/>
                  <a:gd name="T48" fmla="*/ 140 w 142"/>
                  <a:gd name="T49" fmla="*/ 63 h 88"/>
                  <a:gd name="T50" fmla="*/ 141 w 142"/>
                  <a:gd name="T51" fmla="*/ 60 h 88"/>
                  <a:gd name="T52" fmla="*/ 138 w 142"/>
                  <a:gd name="T53" fmla="*/ 56 h 88"/>
                  <a:gd name="T54" fmla="*/ 130 w 142"/>
                  <a:gd name="T55" fmla="*/ 54 h 88"/>
                  <a:gd name="T56" fmla="*/ 124 w 142"/>
                  <a:gd name="T57" fmla="*/ 50 h 88"/>
                  <a:gd name="T58" fmla="*/ 106 w 142"/>
                  <a:gd name="T59" fmla="*/ 39 h 88"/>
                  <a:gd name="T60" fmla="*/ 102 w 142"/>
                  <a:gd name="T61" fmla="*/ 36 h 88"/>
                  <a:gd name="T62" fmla="*/ 98 w 142"/>
                  <a:gd name="T63" fmla="*/ 31 h 88"/>
                  <a:gd name="T64" fmla="*/ 95 w 142"/>
                  <a:gd name="T65" fmla="*/ 25 h 88"/>
                  <a:gd name="T66" fmla="*/ 86 w 142"/>
                  <a:gd name="T67" fmla="*/ 20 h 88"/>
                  <a:gd name="T68" fmla="*/ 77 w 142"/>
                  <a:gd name="T69" fmla="*/ 18 h 88"/>
                  <a:gd name="T70" fmla="*/ 75 w 142"/>
                  <a:gd name="T71" fmla="*/ 13 h 88"/>
                  <a:gd name="T72" fmla="*/ 74 w 142"/>
                  <a:gd name="T73" fmla="*/ 10 h 88"/>
                  <a:gd name="T74" fmla="*/ 74 w 142"/>
                  <a:gd name="T75" fmla="*/ 7 h 88"/>
                  <a:gd name="T76" fmla="*/ 68 w 142"/>
                  <a:gd name="T77" fmla="*/ 6 h 88"/>
                  <a:gd name="T78" fmla="*/ 65 w 142"/>
                  <a:gd name="T79" fmla="*/ 3 h 88"/>
                  <a:gd name="T80" fmla="*/ 61 w 142"/>
                  <a:gd name="T81" fmla="*/ 1 h 88"/>
                  <a:gd name="T82" fmla="*/ 66 w 142"/>
                  <a:gd name="T83" fmla="*/ 10 h 88"/>
                  <a:gd name="T84" fmla="*/ 56 w 142"/>
                  <a:gd name="T85" fmla="*/ 4 h 88"/>
                  <a:gd name="T86" fmla="*/ 51 w 142"/>
                  <a:gd name="T87" fmla="*/ 8 h 88"/>
                  <a:gd name="T88" fmla="*/ 46 w 142"/>
                  <a:gd name="T89" fmla="*/ 11 h 88"/>
                  <a:gd name="T90" fmla="*/ 46 w 142"/>
                  <a:gd name="T91" fmla="*/ 14 h 88"/>
                  <a:gd name="T92" fmla="*/ 34 w 142"/>
                  <a:gd name="T93" fmla="*/ 18 h 88"/>
                  <a:gd name="T94" fmla="*/ 31 w 142"/>
                  <a:gd name="T95" fmla="*/ 18 h 88"/>
                  <a:gd name="T96" fmla="*/ 27 w 142"/>
                  <a:gd name="T97" fmla="*/ 18 h 88"/>
                  <a:gd name="T98" fmla="*/ 22 w 142"/>
                  <a:gd name="T99" fmla="*/ 11 h 88"/>
                  <a:gd name="T100" fmla="*/ 15 w 142"/>
                  <a:gd name="T101" fmla="*/ 6 h 88"/>
                  <a:gd name="T102" fmla="*/ 5 w 142"/>
                  <a:gd name="T103" fmla="*/ 8 h 88"/>
                  <a:gd name="T104" fmla="*/ 15 w 142"/>
                  <a:gd name="T105" fmla="*/ 15 h 88"/>
                  <a:gd name="T106" fmla="*/ 17 w 142"/>
                  <a:gd name="T107" fmla="*/ 24 h 88"/>
                  <a:gd name="T108" fmla="*/ 9 w 142"/>
                  <a:gd name="T109" fmla="*/ 23 h 88"/>
                  <a:gd name="T110" fmla="*/ 0 w 142"/>
                  <a:gd name="T111" fmla="*/ 29 h 88"/>
                  <a:gd name="T112" fmla="*/ 7 w 142"/>
                  <a:gd name="T113" fmla="*/ 33 h 88"/>
                  <a:gd name="T114" fmla="*/ 8 w 142"/>
                  <a:gd name="T115" fmla="*/ 37 h 88"/>
                  <a:gd name="T116" fmla="*/ 5 w 142"/>
                  <a:gd name="T117" fmla="*/ 40 h 88"/>
                  <a:gd name="T118" fmla="*/ 12 w 142"/>
                  <a:gd name="T119" fmla="*/ 6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88">
                    <a:moveTo>
                      <a:pt x="13" y="66"/>
                    </a:moveTo>
                    <a:cubicBezTo>
                      <a:pt x="13" y="67"/>
                      <a:pt x="13" y="68"/>
                      <a:pt x="13" y="68"/>
                    </a:cubicBezTo>
                    <a:cubicBezTo>
                      <a:pt x="26" y="56"/>
                      <a:pt x="26" y="56"/>
                      <a:pt x="26" y="56"/>
                    </a:cubicBezTo>
                    <a:cubicBezTo>
                      <a:pt x="28" y="55"/>
                      <a:pt x="30" y="54"/>
                      <a:pt x="32" y="54"/>
                    </a:cubicBezTo>
                    <a:cubicBezTo>
                      <a:pt x="33" y="54"/>
                      <a:pt x="34" y="54"/>
                      <a:pt x="35" y="54"/>
                    </a:cubicBezTo>
                    <a:cubicBezTo>
                      <a:pt x="35" y="54"/>
                      <a:pt x="35" y="54"/>
                      <a:pt x="35" y="54"/>
                    </a:cubicBezTo>
                    <a:cubicBezTo>
                      <a:pt x="35" y="54"/>
                      <a:pt x="35" y="54"/>
                      <a:pt x="36" y="54"/>
                    </a:cubicBezTo>
                    <a:cubicBezTo>
                      <a:pt x="36" y="54"/>
                      <a:pt x="36" y="54"/>
                      <a:pt x="37" y="53"/>
                    </a:cubicBezTo>
                    <a:cubicBezTo>
                      <a:pt x="37" y="53"/>
                      <a:pt x="37" y="53"/>
                      <a:pt x="37" y="53"/>
                    </a:cubicBezTo>
                    <a:cubicBezTo>
                      <a:pt x="38" y="53"/>
                      <a:pt x="38" y="53"/>
                      <a:pt x="38" y="53"/>
                    </a:cubicBezTo>
                    <a:cubicBezTo>
                      <a:pt x="38" y="52"/>
                      <a:pt x="38" y="52"/>
                      <a:pt x="39" y="52"/>
                    </a:cubicBezTo>
                    <a:cubicBezTo>
                      <a:pt x="39" y="52"/>
                      <a:pt x="39" y="52"/>
                      <a:pt x="39" y="52"/>
                    </a:cubicBezTo>
                    <a:cubicBezTo>
                      <a:pt x="40" y="52"/>
                      <a:pt x="40" y="52"/>
                      <a:pt x="41" y="52"/>
                    </a:cubicBezTo>
                    <a:cubicBezTo>
                      <a:pt x="42" y="52"/>
                      <a:pt x="42" y="52"/>
                      <a:pt x="42" y="52"/>
                    </a:cubicBezTo>
                    <a:cubicBezTo>
                      <a:pt x="43" y="52"/>
                      <a:pt x="43" y="52"/>
                      <a:pt x="44" y="52"/>
                    </a:cubicBezTo>
                    <a:cubicBezTo>
                      <a:pt x="44" y="52"/>
                      <a:pt x="44" y="52"/>
                      <a:pt x="44" y="52"/>
                    </a:cubicBezTo>
                    <a:cubicBezTo>
                      <a:pt x="45" y="52"/>
                      <a:pt x="45" y="52"/>
                      <a:pt x="46" y="52"/>
                    </a:cubicBezTo>
                    <a:cubicBezTo>
                      <a:pt x="48" y="52"/>
                      <a:pt x="48" y="54"/>
                      <a:pt x="49" y="55"/>
                    </a:cubicBezTo>
                    <a:cubicBezTo>
                      <a:pt x="49" y="55"/>
                      <a:pt x="49" y="55"/>
                      <a:pt x="49" y="55"/>
                    </a:cubicBezTo>
                    <a:cubicBezTo>
                      <a:pt x="49" y="56"/>
                      <a:pt x="49" y="56"/>
                      <a:pt x="49" y="56"/>
                    </a:cubicBezTo>
                    <a:cubicBezTo>
                      <a:pt x="50" y="56"/>
                      <a:pt x="51" y="56"/>
                      <a:pt x="52" y="56"/>
                    </a:cubicBezTo>
                    <a:cubicBezTo>
                      <a:pt x="52" y="57"/>
                      <a:pt x="53" y="57"/>
                      <a:pt x="53" y="57"/>
                    </a:cubicBezTo>
                    <a:cubicBezTo>
                      <a:pt x="54" y="57"/>
                      <a:pt x="54" y="57"/>
                      <a:pt x="54" y="57"/>
                    </a:cubicBezTo>
                    <a:cubicBezTo>
                      <a:pt x="54" y="57"/>
                      <a:pt x="54" y="57"/>
                      <a:pt x="54" y="57"/>
                    </a:cubicBezTo>
                    <a:cubicBezTo>
                      <a:pt x="55" y="57"/>
                      <a:pt x="55" y="58"/>
                      <a:pt x="56" y="58"/>
                    </a:cubicBezTo>
                    <a:cubicBezTo>
                      <a:pt x="56" y="58"/>
                      <a:pt x="56" y="58"/>
                      <a:pt x="56" y="58"/>
                    </a:cubicBezTo>
                    <a:cubicBezTo>
                      <a:pt x="56" y="59"/>
                      <a:pt x="57" y="59"/>
                      <a:pt x="57" y="59"/>
                    </a:cubicBezTo>
                    <a:cubicBezTo>
                      <a:pt x="57" y="59"/>
                      <a:pt x="57" y="59"/>
                      <a:pt x="57" y="59"/>
                    </a:cubicBezTo>
                    <a:cubicBezTo>
                      <a:pt x="57" y="59"/>
                      <a:pt x="57" y="59"/>
                      <a:pt x="57" y="59"/>
                    </a:cubicBezTo>
                    <a:cubicBezTo>
                      <a:pt x="58" y="59"/>
                      <a:pt x="58" y="59"/>
                      <a:pt x="58" y="60"/>
                    </a:cubicBezTo>
                    <a:cubicBezTo>
                      <a:pt x="58" y="60"/>
                      <a:pt x="58" y="60"/>
                      <a:pt x="58" y="60"/>
                    </a:cubicBezTo>
                    <a:cubicBezTo>
                      <a:pt x="59" y="60"/>
                      <a:pt x="59" y="60"/>
                      <a:pt x="59" y="60"/>
                    </a:cubicBezTo>
                    <a:cubicBezTo>
                      <a:pt x="59" y="60"/>
                      <a:pt x="59" y="60"/>
                      <a:pt x="59" y="60"/>
                    </a:cubicBezTo>
                    <a:cubicBezTo>
                      <a:pt x="59" y="60"/>
                      <a:pt x="60" y="59"/>
                      <a:pt x="60" y="60"/>
                    </a:cubicBezTo>
                    <a:cubicBezTo>
                      <a:pt x="62" y="60"/>
                      <a:pt x="62" y="60"/>
                      <a:pt x="62" y="60"/>
                    </a:cubicBezTo>
                    <a:cubicBezTo>
                      <a:pt x="64" y="60"/>
                      <a:pt x="65" y="60"/>
                      <a:pt x="67" y="60"/>
                    </a:cubicBezTo>
                    <a:cubicBezTo>
                      <a:pt x="67" y="60"/>
                      <a:pt x="67" y="60"/>
                      <a:pt x="67" y="60"/>
                    </a:cubicBezTo>
                    <a:cubicBezTo>
                      <a:pt x="67" y="60"/>
                      <a:pt x="67" y="60"/>
                      <a:pt x="67" y="60"/>
                    </a:cubicBezTo>
                    <a:cubicBezTo>
                      <a:pt x="68" y="60"/>
                      <a:pt x="68" y="61"/>
                      <a:pt x="68" y="61"/>
                    </a:cubicBezTo>
                    <a:cubicBezTo>
                      <a:pt x="68" y="61"/>
                      <a:pt x="69" y="61"/>
                      <a:pt x="69" y="62"/>
                    </a:cubicBezTo>
                    <a:cubicBezTo>
                      <a:pt x="70" y="62"/>
                      <a:pt x="70" y="62"/>
                      <a:pt x="70" y="62"/>
                    </a:cubicBezTo>
                    <a:cubicBezTo>
                      <a:pt x="70" y="63"/>
                      <a:pt x="71" y="64"/>
                      <a:pt x="71" y="64"/>
                    </a:cubicBezTo>
                    <a:cubicBezTo>
                      <a:pt x="71" y="65"/>
                      <a:pt x="71" y="65"/>
                      <a:pt x="71" y="65"/>
                    </a:cubicBezTo>
                    <a:cubicBezTo>
                      <a:pt x="71" y="65"/>
                      <a:pt x="71" y="65"/>
                      <a:pt x="72" y="66"/>
                    </a:cubicBezTo>
                    <a:cubicBezTo>
                      <a:pt x="72" y="66"/>
                      <a:pt x="72" y="66"/>
                      <a:pt x="72" y="66"/>
                    </a:cubicBezTo>
                    <a:cubicBezTo>
                      <a:pt x="73" y="66"/>
                      <a:pt x="74" y="66"/>
                      <a:pt x="75" y="67"/>
                    </a:cubicBezTo>
                    <a:cubicBezTo>
                      <a:pt x="76" y="67"/>
                      <a:pt x="76" y="67"/>
                      <a:pt x="76" y="68"/>
                    </a:cubicBezTo>
                    <a:cubicBezTo>
                      <a:pt x="77" y="68"/>
                      <a:pt x="77" y="68"/>
                      <a:pt x="77" y="68"/>
                    </a:cubicBezTo>
                    <a:cubicBezTo>
                      <a:pt x="77" y="69"/>
                      <a:pt x="77" y="69"/>
                      <a:pt x="78" y="69"/>
                    </a:cubicBezTo>
                    <a:cubicBezTo>
                      <a:pt x="78" y="70"/>
                      <a:pt x="78" y="70"/>
                      <a:pt x="78" y="70"/>
                    </a:cubicBezTo>
                    <a:cubicBezTo>
                      <a:pt x="78" y="71"/>
                      <a:pt x="79" y="71"/>
                      <a:pt x="79" y="71"/>
                    </a:cubicBezTo>
                    <a:cubicBezTo>
                      <a:pt x="79" y="71"/>
                      <a:pt x="79" y="71"/>
                      <a:pt x="79" y="71"/>
                    </a:cubicBezTo>
                    <a:cubicBezTo>
                      <a:pt x="79" y="71"/>
                      <a:pt x="79" y="71"/>
                      <a:pt x="80" y="71"/>
                    </a:cubicBezTo>
                    <a:cubicBezTo>
                      <a:pt x="80" y="71"/>
                      <a:pt x="80" y="71"/>
                      <a:pt x="80" y="71"/>
                    </a:cubicBezTo>
                    <a:cubicBezTo>
                      <a:pt x="81" y="71"/>
                      <a:pt x="81" y="71"/>
                      <a:pt x="82" y="71"/>
                    </a:cubicBezTo>
                    <a:cubicBezTo>
                      <a:pt x="82" y="71"/>
                      <a:pt x="82" y="71"/>
                      <a:pt x="82" y="71"/>
                    </a:cubicBezTo>
                    <a:cubicBezTo>
                      <a:pt x="82" y="71"/>
                      <a:pt x="83" y="71"/>
                      <a:pt x="83" y="71"/>
                    </a:cubicBezTo>
                    <a:cubicBezTo>
                      <a:pt x="84" y="71"/>
                      <a:pt x="85" y="71"/>
                      <a:pt x="86" y="71"/>
                    </a:cubicBezTo>
                    <a:cubicBezTo>
                      <a:pt x="86" y="71"/>
                      <a:pt x="86" y="71"/>
                      <a:pt x="86" y="71"/>
                    </a:cubicBezTo>
                    <a:cubicBezTo>
                      <a:pt x="87" y="71"/>
                      <a:pt x="87" y="71"/>
                      <a:pt x="87" y="72"/>
                    </a:cubicBezTo>
                    <a:cubicBezTo>
                      <a:pt x="88" y="72"/>
                      <a:pt x="88" y="72"/>
                      <a:pt x="88" y="73"/>
                    </a:cubicBezTo>
                    <a:cubicBezTo>
                      <a:pt x="88" y="73"/>
                      <a:pt x="88" y="73"/>
                      <a:pt x="88" y="73"/>
                    </a:cubicBezTo>
                    <a:cubicBezTo>
                      <a:pt x="88" y="74"/>
                      <a:pt x="88" y="75"/>
                      <a:pt x="88" y="76"/>
                    </a:cubicBezTo>
                    <a:cubicBezTo>
                      <a:pt x="88" y="77"/>
                      <a:pt x="88" y="77"/>
                      <a:pt x="88" y="78"/>
                    </a:cubicBezTo>
                    <a:cubicBezTo>
                      <a:pt x="88" y="78"/>
                      <a:pt x="88" y="78"/>
                      <a:pt x="88" y="78"/>
                    </a:cubicBezTo>
                    <a:cubicBezTo>
                      <a:pt x="88" y="79"/>
                      <a:pt x="88" y="80"/>
                      <a:pt x="88" y="81"/>
                    </a:cubicBezTo>
                    <a:cubicBezTo>
                      <a:pt x="89" y="83"/>
                      <a:pt x="89" y="83"/>
                      <a:pt x="89" y="83"/>
                    </a:cubicBezTo>
                    <a:cubicBezTo>
                      <a:pt x="89" y="83"/>
                      <a:pt x="89" y="83"/>
                      <a:pt x="89" y="84"/>
                    </a:cubicBezTo>
                    <a:cubicBezTo>
                      <a:pt x="89" y="84"/>
                      <a:pt x="89" y="84"/>
                      <a:pt x="89" y="84"/>
                    </a:cubicBezTo>
                    <a:cubicBezTo>
                      <a:pt x="89" y="84"/>
                      <a:pt x="89" y="84"/>
                      <a:pt x="89" y="84"/>
                    </a:cubicBezTo>
                    <a:cubicBezTo>
                      <a:pt x="91" y="84"/>
                      <a:pt x="91" y="84"/>
                      <a:pt x="91" y="84"/>
                    </a:cubicBezTo>
                    <a:cubicBezTo>
                      <a:pt x="91" y="84"/>
                      <a:pt x="91" y="84"/>
                      <a:pt x="91" y="84"/>
                    </a:cubicBezTo>
                    <a:cubicBezTo>
                      <a:pt x="91" y="84"/>
                      <a:pt x="92" y="85"/>
                      <a:pt x="93" y="85"/>
                    </a:cubicBezTo>
                    <a:cubicBezTo>
                      <a:pt x="93" y="85"/>
                      <a:pt x="93" y="85"/>
                      <a:pt x="93" y="85"/>
                    </a:cubicBezTo>
                    <a:cubicBezTo>
                      <a:pt x="93" y="85"/>
                      <a:pt x="93" y="85"/>
                      <a:pt x="94" y="85"/>
                    </a:cubicBezTo>
                    <a:cubicBezTo>
                      <a:pt x="95" y="85"/>
                      <a:pt x="95" y="86"/>
                      <a:pt x="96" y="86"/>
                    </a:cubicBezTo>
                    <a:cubicBezTo>
                      <a:pt x="96" y="86"/>
                      <a:pt x="97" y="86"/>
                      <a:pt x="97" y="87"/>
                    </a:cubicBezTo>
                    <a:cubicBezTo>
                      <a:pt x="97" y="87"/>
                      <a:pt x="97" y="87"/>
                      <a:pt x="97" y="87"/>
                    </a:cubicBezTo>
                    <a:cubicBezTo>
                      <a:pt x="98" y="88"/>
                      <a:pt x="98" y="88"/>
                      <a:pt x="98" y="88"/>
                    </a:cubicBezTo>
                    <a:cubicBezTo>
                      <a:pt x="98" y="88"/>
                      <a:pt x="98" y="88"/>
                      <a:pt x="98" y="88"/>
                    </a:cubicBezTo>
                    <a:cubicBezTo>
                      <a:pt x="98" y="88"/>
                      <a:pt x="98" y="88"/>
                      <a:pt x="98" y="88"/>
                    </a:cubicBezTo>
                    <a:cubicBezTo>
                      <a:pt x="100" y="87"/>
                      <a:pt x="101" y="87"/>
                      <a:pt x="102" y="87"/>
                    </a:cubicBezTo>
                    <a:cubicBezTo>
                      <a:pt x="102" y="87"/>
                      <a:pt x="102" y="87"/>
                      <a:pt x="102" y="87"/>
                    </a:cubicBezTo>
                    <a:cubicBezTo>
                      <a:pt x="103" y="87"/>
                      <a:pt x="103" y="87"/>
                      <a:pt x="103" y="87"/>
                    </a:cubicBezTo>
                    <a:cubicBezTo>
                      <a:pt x="103" y="87"/>
                      <a:pt x="103" y="87"/>
                      <a:pt x="103" y="87"/>
                    </a:cubicBezTo>
                    <a:cubicBezTo>
                      <a:pt x="104" y="87"/>
                      <a:pt x="104" y="86"/>
                      <a:pt x="105" y="85"/>
                    </a:cubicBezTo>
                    <a:cubicBezTo>
                      <a:pt x="106" y="85"/>
                      <a:pt x="106" y="85"/>
                      <a:pt x="106" y="85"/>
                    </a:cubicBezTo>
                    <a:cubicBezTo>
                      <a:pt x="106" y="84"/>
                      <a:pt x="106" y="84"/>
                      <a:pt x="106" y="84"/>
                    </a:cubicBezTo>
                    <a:cubicBezTo>
                      <a:pt x="106" y="83"/>
                      <a:pt x="106" y="83"/>
                      <a:pt x="106" y="83"/>
                    </a:cubicBezTo>
                    <a:cubicBezTo>
                      <a:pt x="108" y="80"/>
                      <a:pt x="108" y="80"/>
                      <a:pt x="108" y="80"/>
                    </a:cubicBezTo>
                    <a:cubicBezTo>
                      <a:pt x="109" y="80"/>
                      <a:pt x="109" y="80"/>
                      <a:pt x="109" y="80"/>
                    </a:cubicBezTo>
                    <a:cubicBezTo>
                      <a:pt x="109" y="80"/>
                      <a:pt x="110" y="80"/>
                      <a:pt x="110" y="80"/>
                    </a:cubicBezTo>
                    <a:cubicBezTo>
                      <a:pt x="111" y="80"/>
                      <a:pt x="111" y="80"/>
                      <a:pt x="112" y="79"/>
                    </a:cubicBezTo>
                    <a:cubicBezTo>
                      <a:pt x="114" y="79"/>
                      <a:pt x="114" y="79"/>
                      <a:pt x="114" y="79"/>
                    </a:cubicBezTo>
                    <a:cubicBezTo>
                      <a:pt x="115" y="78"/>
                      <a:pt x="116" y="78"/>
                      <a:pt x="117" y="77"/>
                    </a:cubicBezTo>
                    <a:cubicBezTo>
                      <a:pt x="118" y="77"/>
                      <a:pt x="119" y="76"/>
                      <a:pt x="120" y="76"/>
                    </a:cubicBezTo>
                    <a:cubicBezTo>
                      <a:pt x="120" y="75"/>
                      <a:pt x="120" y="75"/>
                      <a:pt x="120" y="75"/>
                    </a:cubicBezTo>
                    <a:cubicBezTo>
                      <a:pt x="121" y="75"/>
                      <a:pt x="121" y="75"/>
                      <a:pt x="121" y="74"/>
                    </a:cubicBezTo>
                    <a:cubicBezTo>
                      <a:pt x="121" y="73"/>
                      <a:pt x="121" y="73"/>
                      <a:pt x="121" y="73"/>
                    </a:cubicBezTo>
                    <a:cubicBezTo>
                      <a:pt x="121" y="72"/>
                      <a:pt x="121" y="72"/>
                      <a:pt x="121" y="72"/>
                    </a:cubicBezTo>
                    <a:cubicBezTo>
                      <a:pt x="121" y="72"/>
                      <a:pt x="121" y="72"/>
                      <a:pt x="121" y="72"/>
                    </a:cubicBezTo>
                    <a:cubicBezTo>
                      <a:pt x="121" y="71"/>
                      <a:pt x="121" y="71"/>
                      <a:pt x="121" y="71"/>
                    </a:cubicBezTo>
                    <a:cubicBezTo>
                      <a:pt x="128" y="65"/>
                      <a:pt x="128" y="65"/>
                      <a:pt x="128" y="65"/>
                    </a:cubicBezTo>
                    <a:cubicBezTo>
                      <a:pt x="128" y="65"/>
                      <a:pt x="128" y="65"/>
                      <a:pt x="128" y="65"/>
                    </a:cubicBezTo>
                    <a:cubicBezTo>
                      <a:pt x="129" y="65"/>
                      <a:pt x="129" y="65"/>
                      <a:pt x="129" y="65"/>
                    </a:cubicBezTo>
                    <a:cubicBezTo>
                      <a:pt x="129" y="65"/>
                      <a:pt x="130" y="65"/>
                      <a:pt x="130" y="65"/>
                    </a:cubicBezTo>
                    <a:cubicBezTo>
                      <a:pt x="130" y="65"/>
                      <a:pt x="130" y="64"/>
                      <a:pt x="130" y="64"/>
                    </a:cubicBezTo>
                    <a:cubicBezTo>
                      <a:pt x="131" y="64"/>
                      <a:pt x="131" y="63"/>
                      <a:pt x="132" y="62"/>
                    </a:cubicBezTo>
                    <a:cubicBezTo>
                      <a:pt x="132" y="62"/>
                      <a:pt x="132" y="62"/>
                      <a:pt x="132" y="62"/>
                    </a:cubicBezTo>
                    <a:cubicBezTo>
                      <a:pt x="133" y="62"/>
                      <a:pt x="133" y="61"/>
                      <a:pt x="133" y="61"/>
                    </a:cubicBezTo>
                    <a:cubicBezTo>
                      <a:pt x="133" y="61"/>
                      <a:pt x="133" y="61"/>
                      <a:pt x="133" y="61"/>
                    </a:cubicBezTo>
                    <a:cubicBezTo>
                      <a:pt x="133" y="61"/>
                      <a:pt x="134" y="61"/>
                      <a:pt x="134" y="61"/>
                    </a:cubicBezTo>
                    <a:cubicBezTo>
                      <a:pt x="134" y="61"/>
                      <a:pt x="134" y="61"/>
                      <a:pt x="134" y="61"/>
                    </a:cubicBezTo>
                    <a:cubicBezTo>
                      <a:pt x="135" y="61"/>
                      <a:pt x="135" y="61"/>
                      <a:pt x="135" y="61"/>
                    </a:cubicBezTo>
                    <a:cubicBezTo>
                      <a:pt x="135" y="61"/>
                      <a:pt x="135" y="61"/>
                      <a:pt x="136" y="62"/>
                    </a:cubicBezTo>
                    <a:cubicBezTo>
                      <a:pt x="136" y="62"/>
                      <a:pt x="136" y="62"/>
                      <a:pt x="136" y="62"/>
                    </a:cubicBezTo>
                    <a:cubicBezTo>
                      <a:pt x="136" y="62"/>
                      <a:pt x="136" y="62"/>
                      <a:pt x="137" y="62"/>
                    </a:cubicBezTo>
                    <a:cubicBezTo>
                      <a:pt x="137" y="62"/>
                      <a:pt x="137" y="62"/>
                      <a:pt x="137" y="62"/>
                    </a:cubicBezTo>
                    <a:cubicBezTo>
                      <a:pt x="138" y="63"/>
                      <a:pt x="138" y="63"/>
                      <a:pt x="138" y="63"/>
                    </a:cubicBezTo>
                    <a:cubicBezTo>
                      <a:pt x="138" y="63"/>
                      <a:pt x="138" y="63"/>
                      <a:pt x="138" y="63"/>
                    </a:cubicBezTo>
                    <a:cubicBezTo>
                      <a:pt x="139" y="63"/>
                      <a:pt x="139" y="63"/>
                      <a:pt x="139" y="63"/>
                    </a:cubicBezTo>
                    <a:cubicBezTo>
                      <a:pt x="139" y="63"/>
                      <a:pt x="139" y="63"/>
                      <a:pt x="139" y="63"/>
                    </a:cubicBezTo>
                    <a:cubicBezTo>
                      <a:pt x="139" y="63"/>
                      <a:pt x="139" y="63"/>
                      <a:pt x="140" y="63"/>
                    </a:cubicBezTo>
                    <a:cubicBezTo>
                      <a:pt x="140" y="63"/>
                      <a:pt x="140" y="63"/>
                      <a:pt x="140" y="63"/>
                    </a:cubicBezTo>
                    <a:cubicBezTo>
                      <a:pt x="140" y="63"/>
                      <a:pt x="140" y="63"/>
                      <a:pt x="140" y="63"/>
                    </a:cubicBezTo>
                    <a:cubicBezTo>
                      <a:pt x="141" y="63"/>
                      <a:pt x="141" y="63"/>
                      <a:pt x="141" y="63"/>
                    </a:cubicBezTo>
                    <a:cubicBezTo>
                      <a:pt x="141" y="63"/>
                      <a:pt x="141" y="62"/>
                      <a:pt x="141" y="62"/>
                    </a:cubicBezTo>
                    <a:cubicBezTo>
                      <a:pt x="141" y="62"/>
                      <a:pt x="141" y="62"/>
                      <a:pt x="141" y="62"/>
                    </a:cubicBezTo>
                    <a:cubicBezTo>
                      <a:pt x="141" y="62"/>
                      <a:pt x="141" y="61"/>
                      <a:pt x="141" y="61"/>
                    </a:cubicBezTo>
                    <a:cubicBezTo>
                      <a:pt x="141" y="60"/>
                      <a:pt x="141" y="60"/>
                      <a:pt x="141" y="60"/>
                    </a:cubicBezTo>
                    <a:cubicBezTo>
                      <a:pt x="141" y="59"/>
                      <a:pt x="141" y="59"/>
                      <a:pt x="141" y="59"/>
                    </a:cubicBezTo>
                    <a:cubicBezTo>
                      <a:pt x="141" y="58"/>
                      <a:pt x="141" y="58"/>
                      <a:pt x="141" y="58"/>
                    </a:cubicBezTo>
                    <a:cubicBezTo>
                      <a:pt x="141" y="58"/>
                      <a:pt x="141" y="58"/>
                      <a:pt x="142" y="58"/>
                    </a:cubicBezTo>
                    <a:cubicBezTo>
                      <a:pt x="140" y="57"/>
                      <a:pt x="140" y="57"/>
                      <a:pt x="140" y="57"/>
                    </a:cubicBezTo>
                    <a:cubicBezTo>
                      <a:pt x="139" y="56"/>
                      <a:pt x="138" y="56"/>
                      <a:pt x="138" y="56"/>
                    </a:cubicBezTo>
                    <a:cubicBezTo>
                      <a:pt x="137" y="55"/>
                      <a:pt x="137" y="55"/>
                      <a:pt x="137" y="55"/>
                    </a:cubicBezTo>
                    <a:cubicBezTo>
                      <a:pt x="136" y="55"/>
                      <a:pt x="135" y="55"/>
                      <a:pt x="135" y="55"/>
                    </a:cubicBezTo>
                    <a:cubicBezTo>
                      <a:pt x="135" y="55"/>
                      <a:pt x="135" y="55"/>
                      <a:pt x="135" y="55"/>
                    </a:cubicBezTo>
                    <a:cubicBezTo>
                      <a:pt x="135" y="55"/>
                      <a:pt x="134" y="55"/>
                      <a:pt x="134" y="55"/>
                    </a:cubicBezTo>
                    <a:cubicBezTo>
                      <a:pt x="132" y="55"/>
                      <a:pt x="131" y="55"/>
                      <a:pt x="130" y="54"/>
                    </a:cubicBezTo>
                    <a:cubicBezTo>
                      <a:pt x="130" y="54"/>
                      <a:pt x="130" y="54"/>
                      <a:pt x="130" y="54"/>
                    </a:cubicBezTo>
                    <a:cubicBezTo>
                      <a:pt x="129" y="53"/>
                      <a:pt x="129" y="53"/>
                      <a:pt x="128" y="53"/>
                    </a:cubicBezTo>
                    <a:cubicBezTo>
                      <a:pt x="128" y="52"/>
                      <a:pt x="127" y="52"/>
                      <a:pt x="126" y="51"/>
                    </a:cubicBezTo>
                    <a:cubicBezTo>
                      <a:pt x="126" y="51"/>
                      <a:pt x="125" y="51"/>
                      <a:pt x="125" y="50"/>
                    </a:cubicBezTo>
                    <a:cubicBezTo>
                      <a:pt x="124" y="50"/>
                      <a:pt x="124" y="50"/>
                      <a:pt x="124" y="50"/>
                    </a:cubicBezTo>
                    <a:cubicBezTo>
                      <a:pt x="122" y="49"/>
                      <a:pt x="121" y="48"/>
                      <a:pt x="119" y="47"/>
                    </a:cubicBezTo>
                    <a:cubicBezTo>
                      <a:pt x="118" y="46"/>
                      <a:pt x="116" y="45"/>
                      <a:pt x="114" y="44"/>
                    </a:cubicBezTo>
                    <a:cubicBezTo>
                      <a:pt x="113" y="43"/>
                      <a:pt x="113" y="43"/>
                      <a:pt x="113" y="43"/>
                    </a:cubicBezTo>
                    <a:cubicBezTo>
                      <a:pt x="112" y="43"/>
                      <a:pt x="112" y="43"/>
                      <a:pt x="111" y="42"/>
                    </a:cubicBezTo>
                    <a:cubicBezTo>
                      <a:pt x="110" y="41"/>
                      <a:pt x="108" y="40"/>
                      <a:pt x="106" y="39"/>
                    </a:cubicBezTo>
                    <a:cubicBezTo>
                      <a:pt x="106" y="38"/>
                      <a:pt x="106" y="38"/>
                      <a:pt x="106" y="38"/>
                    </a:cubicBezTo>
                    <a:cubicBezTo>
                      <a:pt x="105" y="38"/>
                      <a:pt x="105" y="38"/>
                      <a:pt x="105" y="38"/>
                    </a:cubicBezTo>
                    <a:cubicBezTo>
                      <a:pt x="103" y="36"/>
                      <a:pt x="103" y="36"/>
                      <a:pt x="103" y="36"/>
                    </a:cubicBezTo>
                    <a:cubicBezTo>
                      <a:pt x="103" y="36"/>
                      <a:pt x="102" y="36"/>
                      <a:pt x="102" y="36"/>
                    </a:cubicBezTo>
                    <a:cubicBezTo>
                      <a:pt x="102" y="36"/>
                      <a:pt x="102" y="36"/>
                      <a:pt x="102" y="36"/>
                    </a:cubicBezTo>
                    <a:cubicBezTo>
                      <a:pt x="101" y="35"/>
                      <a:pt x="100" y="35"/>
                      <a:pt x="100" y="34"/>
                    </a:cubicBezTo>
                    <a:cubicBezTo>
                      <a:pt x="99" y="34"/>
                      <a:pt x="99" y="34"/>
                      <a:pt x="99" y="34"/>
                    </a:cubicBezTo>
                    <a:cubicBezTo>
                      <a:pt x="99" y="33"/>
                      <a:pt x="99" y="33"/>
                      <a:pt x="99" y="33"/>
                    </a:cubicBezTo>
                    <a:cubicBezTo>
                      <a:pt x="99" y="33"/>
                      <a:pt x="99" y="33"/>
                      <a:pt x="99" y="33"/>
                    </a:cubicBezTo>
                    <a:cubicBezTo>
                      <a:pt x="99" y="32"/>
                      <a:pt x="99" y="32"/>
                      <a:pt x="98" y="31"/>
                    </a:cubicBezTo>
                    <a:cubicBezTo>
                      <a:pt x="98" y="31"/>
                      <a:pt x="98" y="30"/>
                      <a:pt x="98" y="30"/>
                    </a:cubicBezTo>
                    <a:cubicBezTo>
                      <a:pt x="98" y="30"/>
                      <a:pt x="98" y="30"/>
                      <a:pt x="98" y="30"/>
                    </a:cubicBezTo>
                    <a:cubicBezTo>
                      <a:pt x="98" y="29"/>
                      <a:pt x="97" y="29"/>
                      <a:pt x="97" y="29"/>
                    </a:cubicBezTo>
                    <a:cubicBezTo>
                      <a:pt x="97" y="28"/>
                      <a:pt x="96" y="28"/>
                      <a:pt x="96" y="27"/>
                    </a:cubicBezTo>
                    <a:cubicBezTo>
                      <a:pt x="95" y="26"/>
                      <a:pt x="95" y="26"/>
                      <a:pt x="95" y="25"/>
                    </a:cubicBezTo>
                    <a:cubicBezTo>
                      <a:pt x="94" y="23"/>
                      <a:pt x="93" y="20"/>
                      <a:pt x="92" y="19"/>
                    </a:cubicBezTo>
                    <a:cubicBezTo>
                      <a:pt x="91" y="18"/>
                      <a:pt x="90" y="18"/>
                      <a:pt x="90" y="18"/>
                    </a:cubicBezTo>
                    <a:cubicBezTo>
                      <a:pt x="90" y="18"/>
                      <a:pt x="90" y="19"/>
                      <a:pt x="90" y="19"/>
                    </a:cubicBezTo>
                    <a:cubicBezTo>
                      <a:pt x="89" y="19"/>
                      <a:pt x="88" y="20"/>
                      <a:pt x="87" y="20"/>
                    </a:cubicBezTo>
                    <a:cubicBezTo>
                      <a:pt x="86" y="20"/>
                      <a:pt x="86" y="20"/>
                      <a:pt x="86" y="20"/>
                    </a:cubicBezTo>
                    <a:cubicBezTo>
                      <a:pt x="86" y="20"/>
                      <a:pt x="85" y="19"/>
                      <a:pt x="85" y="19"/>
                    </a:cubicBezTo>
                    <a:cubicBezTo>
                      <a:pt x="84" y="19"/>
                      <a:pt x="83" y="19"/>
                      <a:pt x="82" y="19"/>
                    </a:cubicBezTo>
                    <a:cubicBezTo>
                      <a:pt x="81" y="19"/>
                      <a:pt x="81" y="19"/>
                      <a:pt x="81" y="19"/>
                    </a:cubicBezTo>
                    <a:cubicBezTo>
                      <a:pt x="80" y="19"/>
                      <a:pt x="79" y="19"/>
                      <a:pt x="77" y="18"/>
                    </a:cubicBezTo>
                    <a:cubicBezTo>
                      <a:pt x="77" y="18"/>
                      <a:pt x="77" y="18"/>
                      <a:pt x="77" y="18"/>
                    </a:cubicBezTo>
                    <a:cubicBezTo>
                      <a:pt x="77" y="18"/>
                      <a:pt x="77" y="18"/>
                      <a:pt x="76" y="17"/>
                    </a:cubicBezTo>
                    <a:cubicBezTo>
                      <a:pt x="76" y="17"/>
                      <a:pt x="76" y="17"/>
                      <a:pt x="76" y="17"/>
                    </a:cubicBezTo>
                    <a:cubicBezTo>
                      <a:pt x="76" y="17"/>
                      <a:pt x="76" y="17"/>
                      <a:pt x="76" y="17"/>
                    </a:cubicBezTo>
                    <a:cubicBezTo>
                      <a:pt x="75" y="17"/>
                      <a:pt x="74" y="16"/>
                      <a:pt x="75" y="14"/>
                    </a:cubicBezTo>
                    <a:cubicBezTo>
                      <a:pt x="75" y="13"/>
                      <a:pt x="75" y="13"/>
                      <a:pt x="75" y="13"/>
                    </a:cubicBezTo>
                    <a:cubicBezTo>
                      <a:pt x="75" y="13"/>
                      <a:pt x="75" y="13"/>
                      <a:pt x="75" y="13"/>
                    </a:cubicBezTo>
                    <a:cubicBezTo>
                      <a:pt x="75" y="13"/>
                      <a:pt x="75" y="13"/>
                      <a:pt x="75" y="13"/>
                    </a:cubicBezTo>
                    <a:cubicBezTo>
                      <a:pt x="74" y="11"/>
                      <a:pt x="74" y="11"/>
                      <a:pt x="74" y="11"/>
                    </a:cubicBezTo>
                    <a:cubicBezTo>
                      <a:pt x="75" y="11"/>
                      <a:pt x="75" y="11"/>
                      <a:pt x="75" y="11"/>
                    </a:cubicBezTo>
                    <a:cubicBezTo>
                      <a:pt x="75" y="11"/>
                      <a:pt x="74" y="10"/>
                      <a:pt x="74" y="10"/>
                    </a:cubicBezTo>
                    <a:cubicBezTo>
                      <a:pt x="71" y="9"/>
                      <a:pt x="71" y="9"/>
                      <a:pt x="71" y="9"/>
                    </a:cubicBezTo>
                    <a:cubicBezTo>
                      <a:pt x="74" y="8"/>
                      <a:pt x="74" y="8"/>
                      <a:pt x="74" y="8"/>
                    </a:cubicBezTo>
                    <a:cubicBezTo>
                      <a:pt x="74" y="8"/>
                      <a:pt x="74" y="8"/>
                      <a:pt x="74" y="8"/>
                    </a:cubicBezTo>
                    <a:cubicBezTo>
                      <a:pt x="74" y="8"/>
                      <a:pt x="74" y="8"/>
                      <a:pt x="74" y="8"/>
                    </a:cubicBezTo>
                    <a:cubicBezTo>
                      <a:pt x="74" y="7"/>
                      <a:pt x="74" y="7"/>
                      <a:pt x="74" y="7"/>
                    </a:cubicBezTo>
                    <a:cubicBezTo>
                      <a:pt x="73" y="6"/>
                      <a:pt x="72" y="6"/>
                      <a:pt x="71" y="6"/>
                    </a:cubicBezTo>
                    <a:cubicBezTo>
                      <a:pt x="71" y="6"/>
                      <a:pt x="71" y="6"/>
                      <a:pt x="71" y="6"/>
                    </a:cubicBezTo>
                    <a:cubicBezTo>
                      <a:pt x="71" y="6"/>
                      <a:pt x="69" y="6"/>
                      <a:pt x="68" y="6"/>
                    </a:cubicBezTo>
                    <a:cubicBezTo>
                      <a:pt x="68" y="6"/>
                      <a:pt x="68" y="6"/>
                      <a:pt x="68" y="6"/>
                    </a:cubicBezTo>
                    <a:cubicBezTo>
                      <a:pt x="68" y="6"/>
                      <a:pt x="68" y="6"/>
                      <a:pt x="68" y="6"/>
                    </a:cubicBezTo>
                    <a:cubicBezTo>
                      <a:pt x="67" y="6"/>
                      <a:pt x="67" y="5"/>
                      <a:pt x="67" y="5"/>
                    </a:cubicBezTo>
                    <a:cubicBezTo>
                      <a:pt x="66" y="5"/>
                      <a:pt x="66" y="4"/>
                      <a:pt x="66" y="4"/>
                    </a:cubicBezTo>
                    <a:cubicBezTo>
                      <a:pt x="66" y="4"/>
                      <a:pt x="66" y="4"/>
                      <a:pt x="66" y="4"/>
                    </a:cubicBezTo>
                    <a:cubicBezTo>
                      <a:pt x="66" y="4"/>
                      <a:pt x="65" y="3"/>
                      <a:pt x="65" y="3"/>
                    </a:cubicBezTo>
                    <a:cubicBezTo>
                      <a:pt x="65" y="3"/>
                      <a:pt x="65" y="3"/>
                      <a:pt x="65" y="3"/>
                    </a:cubicBezTo>
                    <a:cubicBezTo>
                      <a:pt x="65" y="3"/>
                      <a:pt x="65" y="3"/>
                      <a:pt x="65" y="3"/>
                    </a:cubicBezTo>
                    <a:cubicBezTo>
                      <a:pt x="65" y="3"/>
                      <a:pt x="65" y="3"/>
                      <a:pt x="65" y="3"/>
                    </a:cubicBezTo>
                    <a:cubicBezTo>
                      <a:pt x="64" y="3"/>
                      <a:pt x="64" y="3"/>
                      <a:pt x="64" y="3"/>
                    </a:cubicBezTo>
                    <a:cubicBezTo>
                      <a:pt x="63" y="3"/>
                      <a:pt x="63" y="3"/>
                      <a:pt x="63" y="2"/>
                    </a:cubicBezTo>
                    <a:cubicBezTo>
                      <a:pt x="62" y="2"/>
                      <a:pt x="61" y="1"/>
                      <a:pt x="61" y="1"/>
                    </a:cubicBezTo>
                    <a:cubicBezTo>
                      <a:pt x="61" y="0"/>
                      <a:pt x="61" y="0"/>
                      <a:pt x="61" y="0"/>
                    </a:cubicBezTo>
                    <a:cubicBezTo>
                      <a:pt x="61" y="1"/>
                      <a:pt x="61" y="1"/>
                      <a:pt x="61" y="1"/>
                    </a:cubicBezTo>
                    <a:cubicBezTo>
                      <a:pt x="59" y="2"/>
                      <a:pt x="59" y="2"/>
                      <a:pt x="59" y="2"/>
                    </a:cubicBezTo>
                    <a:cubicBezTo>
                      <a:pt x="60" y="3"/>
                      <a:pt x="60" y="3"/>
                      <a:pt x="60" y="4"/>
                    </a:cubicBezTo>
                    <a:cubicBezTo>
                      <a:pt x="66" y="10"/>
                      <a:pt x="66" y="10"/>
                      <a:pt x="66" y="10"/>
                    </a:cubicBezTo>
                    <a:cubicBezTo>
                      <a:pt x="59" y="6"/>
                      <a:pt x="59" y="6"/>
                      <a:pt x="59" y="6"/>
                    </a:cubicBezTo>
                    <a:cubicBezTo>
                      <a:pt x="58" y="5"/>
                      <a:pt x="58" y="5"/>
                      <a:pt x="58" y="5"/>
                    </a:cubicBezTo>
                    <a:cubicBezTo>
                      <a:pt x="58" y="5"/>
                      <a:pt x="58" y="5"/>
                      <a:pt x="58" y="4"/>
                    </a:cubicBezTo>
                    <a:cubicBezTo>
                      <a:pt x="57" y="4"/>
                      <a:pt x="57" y="4"/>
                      <a:pt x="57" y="4"/>
                    </a:cubicBezTo>
                    <a:cubicBezTo>
                      <a:pt x="56" y="4"/>
                      <a:pt x="56" y="4"/>
                      <a:pt x="56" y="4"/>
                    </a:cubicBezTo>
                    <a:cubicBezTo>
                      <a:pt x="56" y="4"/>
                      <a:pt x="56" y="4"/>
                      <a:pt x="56" y="4"/>
                    </a:cubicBezTo>
                    <a:cubicBezTo>
                      <a:pt x="55" y="4"/>
                      <a:pt x="55" y="4"/>
                      <a:pt x="55" y="4"/>
                    </a:cubicBezTo>
                    <a:cubicBezTo>
                      <a:pt x="55" y="4"/>
                      <a:pt x="55" y="4"/>
                      <a:pt x="55" y="5"/>
                    </a:cubicBezTo>
                    <a:cubicBezTo>
                      <a:pt x="55" y="5"/>
                      <a:pt x="55" y="5"/>
                      <a:pt x="55" y="5"/>
                    </a:cubicBezTo>
                    <a:cubicBezTo>
                      <a:pt x="54" y="7"/>
                      <a:pt x="53" y="7"/>
                      <a:pt x="51" y="8"/>
                    </a:cubicBezTo>
                    <a:cubicBezTo>
                      <a:pt x="51" y="8"/>
                      <a:pt x="50" y="8"/>
                      <a:pt x="50" y="8"/>
                    </a:cubicBezTo>
                    <a:cubicBezTo>
                      <a:pt x="49" y="8"/>
                      <a:pt x="48" y="8"/>
                      <a:pt x="47" y="9"/>
                    </a:cubicBezTo>
                    <a:cubicBezTo>
                      <a:pt x="47" y="9"/>
                      <a:pt x="47" y="9"/>
                      <a:pt x="47" y="9"/>
                    </a:cubicBezTo>
                    <a:cubicBezTo>
                      <a:pt x="47" y="9"/>
                      <a:pt x="47" y="9"/>
                      <a:pt x="47" y="9"/>
                    </a:cubicBezTo>
                    <a:cubicBezTo>
                      <a:pt x="47" y="9"/>
                      <a:pt x="46" y="10"/>
                      <a:pt x="46" y="11"/>
                    </a:cubicBezTo>
                    <a:cubicBezTo>
                      <a:pt x="46" y="12"/>
                      <a:pt x="46" y="12"/>
                      <a:pt x="45" y="12"/>
                    </a:cubicBezTo>
                    <a:cubicBezTo>
                      <a:pt x="45" y="13"/>
                      <a:pt x="45" y="13"/>
                      <a:pt x="45" y="13"/>
                    </a:cubicBezTo>
                    <a:cubicBezTo>
                      <a:pt x="46" y="13"/>
                      <a:pt x="46" y="13"/>
                      <a:pt x="46" y="13"/>
                    </a:cubicBezTo>
                    <a:cubicBezTo>
                      <a:pt x="45" y="13"/>
                      <a:pt x="45" y="13"/>
                      <a:pt x="45" y="13"/>
                    </a:cubicBezTo>
                    <a:cubicBezTo>
                      <a:pt x="46" y="14"/>
                      <a:pt x="46" y="14"/>
                      <a:pt x="46" y="14"/>
                    </a:cubicBezTo>
                    <a:cubicBezTo>
                      <a:pt x="46" y="15"/>
                      <a:pt x="46" y="15"/>
                      <a:pt x="46" y="15"/>
                    </a:cubicBezTo>
                    <a:cubicBezTo>
                      <a:pt x="46" y="15"/>
                      <a:pt x="46" y="15"/>
                      <a:pt x="46" y="15"/>
                    </a:cubicBezTo>
                    <a:cubicBezTo>
                      <a:pt x="53" y="16"/>
                      <a:pt x="53" y="16"/>
                      <a:pt x="53" y="16"/>
                    </a:cubicBezTo>
                    <a:cubicBezTo>
                      <a:pt x="46" y="17"/>
                      <a:pt x="46" y="17"/>
                      <a:pt x="46" y="17"/>
                    </a:cubicBezTo>
                    <a:cubicBezTo>
                      <a:pt x="42" y="18"/>
                      <a:pt x="38" y="18"/>
                      <a:pt x="34" y="18"/>
                    </a:cubicBezTo>
                    <a:cubicBezTo>
                      <a:pt x="34" y="18"/>
                      <a:pt x="34" y="18"/>
                      <a:pt x="34" y="18"/>
                    </a:cubicBezTo>
                    <a:cubicBezTo>
                      <a:pt x="33" y="18"/>
                      <a:pt x="33" y="18"/>
                      <a:pt x="33" y="18"/>
                    </a:cubicBezTo>
                    <a:cubicBezTo>
                      <a:pt x="33" y="18"/>
                      <a:pt x="33" y="18"/>
                      <a:pt x="33" y="18"/>
                    </a:cubicBezTo>
                    <a:cubicBezTo>
                      <a:pt x="33" y="18"/>
                      <a:pt x="33" y="18"/>
                      <a:pt x="33" y="18"/>
                    </a:cubicBezTo>
                    <a:cubicBezTo>
                      <a:pt x="32" y="18"/>
                      <a:pt x="32" y="18"/>
                      <a:pt x="31" y="18"/>
                    </a:cubicBezTo>
                    <a:cubicBezTo>
                      <a:pt x="30" y="18"/>
                      <a:pt x="29" y="18"/>
                      <a:pt x="29" y="18"/>
                    </a:cubicBezTo>
                    <a:cubicBezTo>
                      <a:pt x="29" y="18"/>
                      <a:pt x="29" y="18"/>
                      <a:pt x="29" y="18"/>
                    </a:cubicBezTo>
                    <a:cubicBezTo>
                      <a:pt x="28" y="18"/>
                      <a:pt x="28" y="18"/>
                      <a:pt x="28" y="18"/>
                    </a:cubicBezTo>
                    <a:cubicBezTo>
                      <a:pt x="28" y="18"/>
                      <a:pt x="28" y="18"/>
                      <a:pt x="28" y="18"/>
                    </a:cubicBezTo>
                    <a:cubicBezTo>
                      <a:pt x="27" y="18"/>
                      <a:pt x="27" y="18"/>
                      <a:pt x="27" y="18"/>
                    </a:cubicBezTo>
                    <a:cubicBezTo>
                      <a:pt x="27" y="18"/>
                      <a:pt x="27" y="17"/>
                      <a:pt x="27" y="17"/>
                    </a:cubicBezTo>
                    <a:cubicBezTo>
                      <a:pt x="26" y="16"/>
                      <a:pt x="25" y="15"/>
                      <a:pt x="25" y="15"/>
                    </a:cubicBezTo>
                    <a:cubicBezTo>
                      <a:pt x="24" y="14"/>
                      <a:pt x="24" y="14"/>
                      <a:pt x="24" y="14"/>
                    </a:cubicBezTo>
                    <a:cubicBezTo>
                      <a:pt x="24" y="14"/>
                      <a:pt x="24" y="13"/>
                      <a:pt x="24" y="13"/>
                    </a:cubicBezTo>
                    <a:cubicBezTo>
                      <a:pt x="23" y="12"/>
                      <a:pt x="22" y="12"/>
                      <a:pt x="22" y="11"/>
                    </a:cubicBezTo>
                    <a:cubicBezTo>
                      <a:pt x="21" y="11"/>
                      <a:pt x="21" y="11"/>
                      <a:pt x="21" y="11"/>
                    </a:cubicBezTo>
                    <a:cubicBezTo>
                      <a:pt x="20" y="10"/>
                      <a:pt x="20" y="10"/>
                      <a:pt x="19" y="9"/>
                    </a:cubicBezTo>
                    <a:cubicBezTo>
                      <a:pt x="18" y="8"/>
                      <a:pt x="17" y="7"/>
                      <a:pt x="16" y="6"/>
                    </a:cubicBezTo>
                    <a:cubicBezTo>
                      <a:pt x="15" y="6"/>
                      <a:pt x="15" y="6"/>
                      <a:pt x="15" y="6"/>
                    </a:cubicBezTo>
                    <a:cubicBezTo>
                      <a:pt x="15" y="6"/>
                      <a:pt x="15" y="6"/>
                      <a:pt x="15" y="6"/>
                    </a:cubicBezTo>
                    <a:cubicBezTo>
                      <a:pt x="15" y="5"/>
                      <a:pt x="14" y="5"/>
                      <a:pt x="14" y="5"/>
                    </a:cubicBezTo>
                    <a:cubicBezTo>
                      <a:pt x="14" y="6"/>
                      <a:pt x="13" y="6"/>
                      <a:pt x="13" y="6"/>
                    </a:cubicBezTo>
                    <a:cubicBezTo>
                      <a:pt x="13" y="6"/>
                      <a:pt x="13" y="6"/>
                      <a:pt x="13" y="6"/>
                    </a:cubicBezTo>
                    <a:cubicBezTo>
                      <a:pt x="12" y="6"/>
                      <a:pt x="10" y="6"/>
                      <a:pt x="9" y="6"/>
                    </a:cubicBezTo>
                    <a:cubicBezTo>
                      <a:pt x="8" y="6"/>
                      <a:pt x="6" y="7"/>
                      <a:pt x="5" y="8"/>
                    </a:cubicBezTo>
                    <a:cubicBezTo>
                      <a:pt x="5" y="7"/>
                      <a:pt x="6" y="7"/>
                      <a:pt x="7" y="7"/>
                    </a:cubicBezTo>
                    <a:cubicBezTo>
                      <a:pt x="8" y="7"/>
                      <a:pt x="10" y="7"/>
                      <a:pt x="11" y="7"/>
                    </a:cubicBezTo>
                    <a:cubicBezTo>
                      <a:pt x="13" y="7"/>
                      <a:pt x="12" y="8"/>
                      <a:pt x="12" y="10"/>
                    </a:cubicBezTo>
                    <a:cubicBezTo>
                      <a:pt x="13" y="11"/>
                      <a:pt x="14" y="11"/>
                      <a:pt x="14" y="12"/>
                    </a:cubicBezTo>
                    <a:cubicBezTo>
                      <a:pt x="14" y="14"/>
                      <a:pt x="14" y="14"/>
                      <a:pt x="15" y="15"/>
                    </a:cubicBezTo>
                    <a:cubicBezTo>
                      <a:pt x="16" y="17"/>
                      <a:pt x="18" y="17"/>
                      <a:pt x="20" y="19"/>
                    </a:cubicBezTo>
                    <a:cubicBezTo>
                      <a:pt x="21" y="19"/>
                      <a:pt x="22" y="20"/>
                      <a:pt x="21" y="21"/>
                    </a:cubicBezTo>
                    <a:cubicBezTo>
                      <a:pt x="20" y="23"/>
                      <a:pt x="16" y="21"/>
                      <a:pt x="16" y="23"/>
                    </a:cubicBezTo>
                    <a:cubicBezTo>
                      <a:pt x="16" y="24"/>
                      <a:pt x="17" y="24"/>
                      <a:pt x="18" y="24"/>
                    </a:cubicBezTo>
                    <a:cubicBezTo>
                      <a:pt x="18" y="24"/>
                      <a:pt x="17" y="24"/>
                      <a:pt x="17" y="24"/>
                    </a:cubicBezTo>
                    <a:cubicBezTo>
                      <a:pt x="17" y="24"/>
                      <a:pt x="17" y="25"/>
                      <a:pt x="18" y="25"/>
                    </a:cubicBezTo>
                    <a:cubicBezTo>
                      <a:pt x="16" y="25"/>
                      <a:pt x="14" y="25"/>
                      <a:pt x="13" y="25"/>
                    </a:cubicBezTo>
                    <a:cubicBezTo>
                      <a:pt x="12" y="25"/>
                      <a:pt x="11" y="26"/>
                      <a:pt x="11" y="25"/>
                    </a:cubicBezTo>
                    <a:cubicBezTo>
                      <a:pt x="10" y="25"/>
                      <a:pt x="10" y="23"/>
                      <a:pt x="10" y="23"/>
                    </a:cubicBezTo>
                    <a:cubicBezTo>
                      <a:pt x="9" y="22"/>
                      <a:pt x="10" y="23"/>
                      <a:pt x="9" y="23"/>
                    </a:cubicBezTo>
                    <a:cubicBezTo>
                      <a:pt x="9" y="24"/>
                      <a:pt x="8" y="24"/>
                      <a:pt x="8" y="24"/>
                    </a:cubicBezTo>
                    <a:cubicBezTo>
                      <a:pt x="7" y="24"/>
                      <a:pt x="6" y="24"/>
                      <a:pt x="5" y="24"/>
                    </a:cubicBezTo>
                    <a:cubicBezTo>
                      <a:pt x="4" y="23"/>
                      <a:pt x="3" y="21"/>
                      <a:pt x="2" y="20"/>
                    </a:cubicBezTo>
                    <a:cubicBezTo>
                      <a:pt x="2" y="22"/>
                      <a:pt x="2" y="24"/>
                      <a:pt x="1" y="26"/>
                    </a:cubicBezTo>
                    <a:cubicBezTo>
                      <a:pt x="1" y="27"/>
                      <a:pt x="0" y="28"/>
                      <a:pt x="0" y="29"/>
                    </a:cubicBezTo>
                    <a:cubicBezTo>
                      <a:pt x="0" y="30"/>
                      <a:pt x="1" y="30"/>
                      <a:pt x="1" y="31"/>
                    </a:cubicBezTo>
                    <a:cubicBezTo>
                      <a:pt x="1" y="33"/>
                      <a:pt x="0" y="32"/>
                      <a:pt x="3" y="33"/>
                    </a:cubicBezTo>
                    <a:cubicBezTo>
                      <a:pt x="3" y="33"/>
                      <a:pt x="4" y="33"/>
                      <a:pt x="5" y="33"/>
                    </a:cubicBezTo>
                    <a:cubicBezTo>
                      <a:pt x="5" y="33"/>
                      <a:pt x="5" y="33"/>
                      <a:pt x="6" y="33"/>
                    </a:cubicBezTo>
                    <a:cubicBezTo>
                      <a:pt x="6" y="33"/>
                      <a:pt x="7" y="33"/>
                      <a:pt x="7" y="33"/>
                    </a:cubicBezTo>
                    <a:cubicBezTo>
                      <a:pt x="7" y="33"/>
                      <a:pt x="7" y="33"/>
                      <a:pt x="8" y="33"/>
                    </a:cubicBezTo>
                    <a:cubicBezTo>
                      <a:pt x="8" y="33"/>
                      <a:pt x="7" y="35"/>
                      <a:pt x="7" y="35"/>
                    </a:cubicBezTo>
                    <a:cubicBezTo>
                      <a:pt x="8" y="37"/>
                      <a:pt x="9" y="37"/>
                      <a:pt x="10" y="38"/>
                    </a:cubicBezTo>
                    <a:cubicBezTo>
                      <a:pt x="10" y="38"/>
                      <a:pt x="9" y="38"/>
                      <a:pt x="9" y="39"/>
                    </a:cubicBezTo>
                    <a:cubicBezTo>
                      <a:pt x="8" y="38"/>
                      <a:pt x="8" y="38"/>
                      <a:pt x="8" y="37"/>
                    </a:cubicBezTo>
                    <a:cubicBezTo>
                      <a:pt x="8" y="38"/>
                      <a:pt x="6" y="39"/>
                      <a:pt x="6" y="38"/>
                    </a:cubicBezTo>
                    <a:cubicBezTo>
                      <a:pt x="5" y="38"/>
                      <a:pt x="6" y="37"/>
                      <a:pt x="6" y="36"/>
                    </a:cubicBezTo>
                    <a:cubicBezTo>
                      <a:pt x="6" y="36"/>
                      <a:pt x="5" y="38"/>
                      <a:pt x="4" y="39"/>
                    </a:cubicBezTo>
                    <a:cubicBezTo>
                      <a:pt x="4" y="40"/>
                      <a:pt x="5" y="41"/>
                      <a:pt x="5" y="42"/>
                    </a:cubicBezTo>
                    <a:cubicBezTo>
                      <a:pt x="5" y="41"/>
                      <a:pt x="5" y="41"/>
                      <a:pt x="5" y="40"/>
                    </a:cubicBezTo>
                    <a:cubicBezTo>
                      <a:pt x="8" y="40"/>
                      <a:pt x="10" y="43"/>
                      <a:pt x="12" y="44"/>
                    </a:cubicBezTo>
                    <a:cubicBezTo>
                      <a:pt x="13" y="45"/>
                      <a:pt x="13" y="45"/>
                      <a:pt x="13" y="47"/>
                    </a:cubicBezTo>
                    <a:cubicBezTo>
                      <a:pt x="12" y="48"/>
                      <a:pt x="12" y="48"/>
                      <a:pt x="12" y="49"/>
                    </a:cubicBezTo>
                    <a:cubicBezTo>
                      <a:pt x="11" y="53"/>
                      <a:pt x="11" y="57"/>
                      <a:pt x="12" y="60"/>
                    </a:cubicBezTo>
                    <a:cubicBezTo>
                      <a:pt x="12" y="61"/>
                      <a:pt x="12" y="64"/>
                      <a:pt x="12" y="64"/>
                    </a:cubicBezTo>
                    <a:cubicBezTo>
                      <a:pt x="13" y="65"/>
                      <a:pt x="13" y="66"/>
                      <a:pt x="1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8" name="Freeform 3150">
                <a:extLst>
                  <a:ext uri="{FF2B5EF4-FFF2-40B4-BE49-F238E27FC236}">
                    <a16:creationId xmlns:a16="http://schemas.microsoft.com/office/drawing/2014/main" id="{AFB03836-2722-4F16-9E9D-A7D182207B8D}"/>
                  </a:ext>
                </a:extLst>
              </p:cNvPr>
              <p:cNvSpPr>
                <a:spLocks/>
              </p:cNvSpPr>
              <p:nvPr/>
            </p:nvSpPr>
            <p:spPr bwMode="auto">
              <a:xfrm>
                <a:off x="5223" y="1752"/>
                <a:ext cx="2" cy="2"/>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1" y="1"/>
                      <a:pt x="1" y="1"/>
                      <a:pt x="1" y="1"/>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9" name="Freeform 3151">
                <a:extLst>
                  <a:ext uri="{FF2B5EF4-FFF2-40B4-BE49-F238E27FC236}">
                    <a16:creationId xmlns:a16="http://schemas.microsoft.com/office/drawing/2014/main" id="{2884C187-F8FF-4E72-9166-EA5062A80A47}"/>
                  </a:ext>
                </a:extLst>
              </p:cNvPr>
              <p:cNvSpPr>
                <a:spLocks/>
              </p:cNvSpPr>
              <p:nvPr/>
            </p:nvSpPr>
            <p:spPr bwMode="auto">
              <a:xfrm>
                <a:off x="5178" y="1752"/>
                <a:ext cx="182" cy="94"/>
              </a:xfrm>
              <a:custGeom>
                <a:avLst/>
                <a:gdLst>
                  <a:gd name="T0" fmla="*/ 59 w 77"/>
                  <a:gd name="T1" fmla="*/ 31 h 40"/>
                  <a:gd name="T2" fmla="*/ 65 w 77"/>
                  <a:gd name="T3" fmla="*/ 33 h 40"/>
                  <a:gd name="T4" fmla="*/ 69 w 77"/>
                  <a:gd name="T5" fmla="*/ 31 h 40"/>
                  <a:gd name="T6" fmla="*/ 71 w 77"/>
                  <a:gd name="T7" fmla="*/ 31 h 40"/>
                  <a:gd name="T8" fmla="*/ 77 w 77"/>
                  <a:gd name="T9" fmla="*/ 33 h 40"/>
                  <a:gd name="T10" fmla="*/ 75 w 77"/>
                  <a:gd name="T11" fmla="*/ 28 h 40"/>
                  <a:gd name="T12" fmla="*/ 74 w 77"/>
                  <a:gd name="T13" fmla="*/ 21 h 40"/>
                  <a:gd name="T14" fmla="*/ 72 w 77"/>
                  <a:gd name="T15" fmla="*/ 20 h 40"/>
                  <a:gd name="T16" fmla="*/ 69 w 77"/>
                  <a:gd name="T17" fmla="*/ 19 h 40"/>
                  <a:gd name="T18" fmla="*/ 67 w 77"/>
                  <a:gd name="T19" fmla="*/ 19 h 40"/>
                  <a:gd name="T20" fmla="*/ 63 w 77"/>
                  <a:gd name="T21" fmla="*/ 17 h 40"/>
                  <a:gd name="T22" fmla="*/ 63 w 77"/>
                  <a:gd name="T23" fmla="*/ 13 h 40"/>
                  <a:gd name="T24" fmla="*/ 62 w 77"/>
                  <a:gd name="T25" fmla="*/ 11 h 40"/>
                  <a:gd name="T26" fmla="*/ 61 w 77"/>
                  <a:gd name="T27" fmla="*/ 10 h 40"/>
                  <a:gd name="T28" fmla="*/ 55 w 77"/>
                  <a:gd name="T29" fmla="*/ 11 h 40"/>
                  <a:gd name="T30" fmla="*/ 49 w 77"/>
                  <a:gd name="T31" fmla="*/ 13 h 40"/>
                  <a:gd name="T32" fmla="*/ 45 w 77"/>
                  <a:gd name="T33" fmla="*/ 12 h 40"/>
                  <a:gd name="T34" fmla="*/ 43 w 77"/>
                  <a:gd name="T35" fmla="*/ 10 h 40"/>
                  <a:gd name="T36" fmla="*/ 41 w 77"/>
                  <a:gd name="T37" fmla="*/ 9 h 40"/>
                  <a:gd name="T38" fmla="*/ 36 w 77"/>
                  <a:gd name="T39" fmla="*/ 10 h 40"/>
                  <a:gd name="T40" fmla="*/ 36 w 77"/>
                  <a:gd name="T41" fmla="*/ 10 h 40"/>
                  <a:gd name="T42" fmla="*/ 19 w 77"/>
                  <a:gd name="T43" fmla="*/ 9 h 40"/>
                  <a:gd name="T44" fmla="*/ 18 w 77"/>
                  <a:gd name="T45" fmla="*/ 4 h 40"/>
                  <a:gd name="T46" fmla="*/ 17 w 77"/>
                  <a:gd name="T47" fmla="*/ 0 h 40"/>
                  <a:gd name="T48" fmla="*/ 16 w 77"/>
                  <a:gd name="T49" fmla="*/ 2 h 40"/>
                  <a:gd name="T50" fmla="*/ 15 w 77"/>
                  <a:gd name="T51" fmla="*/ 3 h 40"/>
                  <a:gd name="T52" fmla="*/ 13 w 77"/>
                  <a:gd name="T53" fmla="*/ 4 h 40"/>
                  <a:gd name="T54" fmla="*/ 11 w 77"/>
                  <a:gd name="T55" fmla="*/ 8 h 40"/>
                  <a:gd name="T56" fmla="*/ 9 w 77"/>
                  <a:gd name="T57" fmla="*/ 8 h 40"/>
                  <a:gd name="T58" fmla="*/ 3 w 77"/>
                  <a:gd name="T59" fmla="*/ 8 h 40"/>
                  <a:gd name="T60" fmla="*/ 2 w 77"/>
                  <a:gd name="T61" fmla="*/ 8 h 40"/>
                  <a:gd name="T62" fmla="*/ 1 w 77"/>
                  <a:gd name="T63" fmla="*/ 10 h 40"/>
                  <a:gd name="T64" fmla="*/ 2 w 77"/>
                  <a:gd name="T65" fmla="*/ 11 h 40"/>
                  <a:gd name="T66" fmla="*/ 8 w 77"/>
                  <a:gd name="T67" fmla="*/ 14 h 40"/>
                  <a:gd name="T68" fmla="*/ 8 w 77"/>
                  <a:gd name="T69" fmla="*/ 19 h 40"/>
                  <a:gd name="T70" fmla="*/ 9 w 77"/>
                  <a:gd name="T71" fmla="*/ 21 h 40"/>
                  <a:gd name="T72" fmla="*/ 7 w 77"/>
                  <a:gd name="T73" fmla="*/ 30 h 40"/>
                  <a:gd name="T74" fmla="*/ 5 w 77"/>
                  <a:gd name="T75" fmla="*/ 33 h 40"/>
                  <a:gd name="T76" fmla="*/ 6 w 77"/>
                  <a:gd name="T77" fmla="*/ 37 h 40"/>
                  <a:gd name="T78" fmla="*/ 8 w 77"/>
                  <a:gd name="T79" fmla="*/ 35 h 40"/>
                  <a:gd name="T80" fmla="*/ 13 w 77"/>
                  <a:gd name="T81" fmla="*/ 33 h 40"/>
                  <a:gd name="T82" fmla="*/ 13 w 77"/>
                  <a:gd name="T83" fmla="*/ 33 h 40"/>
                  <a:gd name="T84" fmla="*/ 18 w 77"/>
                  <a:gd name="T85" fmla="*/ 34 h 40"/>
                  <a:gd name="T86" fmla="*/ 19 w 77"/>
                  <a:gd name="T87" fmla="*/ 34 h 40"/>
                  <a:gd name="T88" fmla="*/ 19 w 77"/>
                  <a:gd name="T89" fmla="*/ 33 h 40"/>
                  <a:gd name="T90" fmla="*/ 22 w 77"/>
                  <a:gd name="T91" fmla="*/ 29 h 40"/>
                  <a:gd name="T92" fmla="*/ 27 w 77"/>
                  <a:gd name="T93" fmla="*/ 30 h 40"/>
                  <a:gd name="T94" fmla="*/ 27 w 77"/>
                  <a:gd name="T95" fmla="*/ 30 h 40"/>
                  <a:gd name="T96" fmla="*/ 27 w 77"/>
                  <a:gd name="T97" fmla="*/ 29 h 40"/>
                  <a:gd name="T98" fmla="*/ 29 w 77"/>
                  <a:gd name="T99" fmla="*/ 24 h 40"/>
                  <a:gd name="T100" fmla="*/ 30 w 77"/>
                  <a:gd name="T101" fmla="*/ 22 h 40"/>
                  <a:gd name="T102" fmla="*/ 36 w 77"/>
                  <a:gd name="T103" fmla="*/ 19 h 40"/>
                  <a:gd name="T104" fmla="*/ 39 w 77"/>
                  <a:gd name="T105" fmla="*/ 21 h 40"/>
                  <a:gd name="T106" fmla="*/ 40 w 77"/>
                  <a:gd name="T107" fmla="*/ 20 h 40"/>
                  <a:gd name="T108" fmla="*/ 40 w 77"/>
                  <a:gd name="T109" fmla="*/ 23 h 40"/>
                  <a:gd name="T110" fmla="*/ 43 w 77"/>
                  <a:gd name="T111" fmla="*/ 27 h 40"/>
                  <a:gd name="T112" fmla="*/ 45 w 77"/>
                  <a:gd name="T113" fmla="*/ 35 h 40"/>
                  <a:gd name="T114" fmla="*/ 42 w 77"/>
                  <a:gd name="T115" fmla="*/ 36 h 40"/>
                  <a:gd name="T116" fmla="*/ 43 w 77"/>
                  <a:gd name="T117" fmla="*/ 39 h 40"/>
                  <a:gd name="T118" fmla="*/ 48 w 77"/>
                  <a:gd name="T119" fmla="*/ 38 h 40"/>
                  <a:gd name="T120" fmla="*/ 53 w 77"/>
                  <a:gd name="T121"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 h="40">
                    <a:moveTo>
                      <a:pt x="53" y="36"/>
                    </a:moveTo>
                    <a:cubicBezTo>
                      <a:pt x="54" y="34"/>
                      <a:pt x="56" y="33"/>
                      <a:pt x="58" y="32"/>
                    </a:cubicBezTo>
                    <a:cubicBezTo>
                      <a:pt x="58" y="31"/>
                      <a:pt x="58" y="31"/>
                      <a:pt x="59" y="31"/>
                    </a:cubicBezTo>
                    <a:cubicBezTo>
                      <a:pt x="60" y="31"/>
                      <a:pt x="62" y="31"/>
                      <a:pt x="63" y="32"/>
                    </a:cubicBezTo>
                    <a:cubicBezTo>
                      <a:pt x="64" y="32"/>
                      <a:pt x="64" y="32"/>
                      <a:pt x="65" y="33"/>
                    </a:cubicBezTo>
                    <a:cubicBezTo>
                      <a:pt x="65" y="33"/>
                      <a:pt x="65" y="33"/>
                      <a:pt x="65" y="33"/>
                    </a:cubicBezTo>
                    <a:cubicBezTo>
                      <a:pt x="66" y="33"/>
                      <a:pt x="67" y="32"/>
                      <a:pt x="68" y="32"/>
                    </a:cubicBezTo>
                    <a:cubicBezTo>
                      <a:pt x="68" y="32"/>
                      <a:pt x="68" y="32"/>
                      <a:pt x="68" y="32"/>
                    </a:cubicBezTo>
                    <a:cubicBezTo>
                      <a:pt x="68" y="32"/>
                      <a:pt x="68" y="32"/>
                      <a:pt x="69" y="31"/>
                    </a:cubicBezTo>
                    <a:cubicBezTo>
                      <a:pt x="69" y="31"/>
                      <a:pt x="69" y="31"/>
                      <a:pt x="70" y="31"/>
                    </a:cubicBezTo>
                    <a:cubicBezTo>
                      <a:pt x="70" y="31"/>
                      <a:pt x="70" y="31"/>
                      <a:pt x="70" y="31"/>
                    </a:cubicBezTo>
                    <a:cubicBezTo>
                      <a:pt x="71" y="31"/>
                      <a:pt x="71" y="31"/>
                      <a:pt x="71" y="31"/>
                    </a:cubicBezTo>
                    <a:cubicBezTo>
                      <a:pt x="72" y="32"/>
                      <a:pt x="73" y="32"/>
                      <a:pt x="74" y="32"/>
                    </a:cubicBezTo>
                    <a:cubicBezTo>
                      <a:pt x="76" y="33"/>
                      <a:pt x="76" y="33"/>
                      <a:pt x="76" y="33"/>
                    </a:cubicBezTo>
                    <a:cubicBezTo>
                      <a:pt x="76" y="33"/>
                      <a:pt x="77" y="33"/>
                      <a:pt x="77" y="33"/>
                    </a:cubicBezTo>
                    <a:cubicBezTo>
                      <a:pt x="76" y="32"/>
                      <a:pt x="76" y="31"/>
                      <a:pt x="76" y="31"/>
                    </a:cubicBezTo>
                    <a:cubicBezTo>
                      <a:pt x="76" y="30"/>
                      <a:pt x="76" y="30"/>
                      <a:pt x="76" y="30"/>
                    </a:cubicBezTo>
                    <a:cubicBezTo>
                      <a:pt x="75" y="29"/>
                      <a:pt x="75" y="29"/>
                      <a:pt x="75" y="28"/>
                    </a:cubicBezTo>
                    <a:cubicBezTo>
                      <a:pt x="75" y="27"/>
                      <a:pt x="75" y="27"/>
                      <a:pt x="75" y="27"/>
                    </a:cubicBezTo>
                    <a:cubicBezTo>
                      <a:pt x="75" y="26"/>
                      <a:pt x="75" y="24"/>
                      <a:pt x="75" y="22"/>
                    </a:cubicBezTo>
                    <a:cubicBezTo>
                      <a:pt x="74" y="22"/>
                      <a:pt x="74" y="22"/>
                      <a:pt x="74" y="21"/>
                    </a:cubicBezTo>
                    <a:cubicBezTo>
                      <a:pt x="73" y="21"/>
                      <a:pt x="73" y="21"/>
                      <a:pt x="73" y="21"/>
                    </a:cubicBezTo>
                    <a:cubicBezTo>
                      <a:pt x="73" y="21"/>
                      <a:pt x="72" y="20"/>
                      <a:pt x="72" y="20"/>
                    </a:cubicBezTo>
                    <a:cubicBezTo>
                      <a:pt x="72" y="20"/>
                      <a:pt x="72" y="20"/>
                      <a:pt x="72" y="20"/>
                    </a:cubicBezTo>
                    <a:cubicBezTo>
                      <a:pt x="71" y="20"/>
                      <a:pt x="71" y="19"/>
                      <a:pt x="71" y="19"/>
                    </a:cubicBezTo>
                    <a:cubicBezTo>
                      <a:pt x="70" y="19"/>
                      <a:pt x="70" y="19"/>
                      <a:pt x="70" y="19"/>
                    </a:cubicBezTo>
                    <a:cubicBezTo>
                      <a:pt x="70" y="19"/>
                      <a:pt x="69" y="19"/>
                      <a:pt x="69" y="19"/>
                    </a:cubicBezTo>
                    <a:cubicBezTo>
                      <a:pt x="69" y="19"/>
                      <a:pt x="69" y="19"/>
                      <a:pt x="69" y="19"/>
                    </a:cubicBezTo>
                    <a:cubicBezTo>
                      <a:pt x="68" y="19"/>
                      <a:pt x="68" y="19"/>
                      <a:pt x="67" y="19"/>
                    </a:cubicBezTo>
                    <a:cubicBezTo>
                      <a:pt x="67" y="19"/>
                      <a:pt x="67" y="19"/>
                      <a:pt x="67" y="19"/>
                    </a:cubicBezTo>
                    <a:cubicBezTo>
                      <a:pt x="66" y="20"/>
                      <a:pt x="66" y="20"/>
                      <a:pt x="65" y="19"/>
                    </a:cubicBezTo>
                    <a:cubicBezTo>
                      <a:pt x="64" y="19"/>
                      <a:pt x="64" y="19"/>
                      <a:pt x="64" y="18"/>
                    </a:cubicBezTo>
                    <a:cubicBezTo>
                      <a:pt x="63" y="18"/>
                      <a:pt x="63" y="18"/>
                      <a:pt x="63" y="17"/>
                    </a:cubicBezTo>
                    <a:cubicBezTo>
                      <a:pt x="63" y="16"/>
                      <a:pt x="62" y="15"/>
                      <a:pt x="63" y="14"/>
                    </a:cubicBezTo>
                    <a:cubicBezTo>
                      <a:pt x="63" y="14"/>
                      <a:pt x="63" y="14"/>
                      <a:pt x="63" y="14"/>
                    </a:cubicBezTo>
                    <a:cubicBezTo>
                      <a:pt x="63" y="14"/>
                      <a:pt x="63" y="14"/>
                      <a:pt x="63" y="13"/>
                    </a:cubicBezTo>
                    <a:cubicBezTo>
                      <a:pt x="61" y="15"/>
                      <a:pt x="61" y="15"/>
                      <a:pt x="61" y="15"/>
                    </a:cubicBezTo>
                    <a:cubicBezTo>
                      <a:pt x="63" y="13"/>
                      <a:pt x="63" y="13"/>
                      <a:pt x="63" y="13"/>
                    </a:cubicBezTo>
                    <a:cubicBezTo>
                      <a:pt x="62" y="13"/>
                      <a:pt x="62" y="12"/>
                      <a:pt x="62" y="11"/>
                    </a:cubicBezTo>
                    <a:cubicBezTo>
                      <a:pt x="62" y="11"/>
                      <a:pt x="62" y="11"/>
                      <a:pt x="62" y="11"/>
                    </a:cubicBezTo>
                    <a:cubicBezTo>
                      <a:pt x="62" y="10"/>
                      <a:pt x="62" y="10"/>
                      <a:pt x="62" y="10"/>
                    </a:cubicBezTo>
                    <a:cubicBezTo>
                      <a:pt x="61" y="10"/>
                      <a:pt x="61" y="10"/>
                      <a:pt x="61" y="10"/>
                    </a:cubicBezTo>
                    <a:cubicBezTo>
                      <a:pt x="60" y="10"/>
                      <a:pt x="60" y="10"/>
                      <a:pt x="60" y="10"/>
                    </a:cubicBezTo>
                    <a:cubicBezTo>
                      <a:pt x="59" y="10"/>
                      <a:pt x="58" y="10"/>
                      <a:pt x="58" y="10"/>
                    </a:cubicBezTo>
                    <a:cubicBezTo>
                      <a:pt x="57" y="10"/>
                      <a:pt x="56" y="11"/>
                      <a:pt x="55" y="11"/>
                    </a:cubicBezTo>
                    <a:cubicBezTo>
                      <a:pt x="52" y="10"/>
                      <a:pt x="52" y="10"/>
                      <a:pt x="52" y="10"/>
                    </a:cubicBezTo>
                    <a:cubicBezTo>
                      <a:pt x="51" y="10"/>
                      <a:pt x="51" y="11"/>
                      <a:pt x="50" y="12"/>
                    </a:cubicBezTo>
                    <a:cubicBezTo>
                      <a:pt x="49" y="13"/>
                      <a:pt x="49" y="13"/>
                      <a:pt x="49" y="13"/>
                    </a:cubicBezTo>
                    <a:cubicBezTo>
                      <a:pt x="48" y="12"/>
                      <a:pt x="48" y="12"/>
                      <a:pt x="48" y="12"/>
                    </a:cubicBezTo>
                    <a:cubicBezTo>
                      <a:pt x="48" y="12"/>
                      <a:pt x="46" y="12"/>
                      <a:pt x="46" y="12"/>
                    </a:cubicBezTo>
                    <a:cubicBezTo>
                      <a:pt x="45" y="12"/>
                      <a:pt x="45" y="12"/>
                      <a:pt x="45" y="12"/>
                    </a:cubicBezTo>
                    <a:cubicBezTo>
                      <a:pt x="44" y="12"/>
                      <a:pt x="44" y="12"/>
                      <a:pt x="44" y="12"/>
                    </a:cubicBezTo>
                    <a:cubicBezTo>
                      <a:pt x="43" y="11"/>
                      <a:pt x="43" y="11"/>
                      <a:pt x="43" y="11"/>
                    </a:cubicBezTo>
                    <a:cubicBezTo>
                      <a:pt x="43" y="11"/>
                      <a:pt x="43" y="10"/>
                      <a:pt x="43" y="10"/>
                    </a:cubicBezTo>
                    <a:cubicBezTo>
                      <a:pt x="42" y="10"/>
                      <a:pt x="42" y="10"/>
                      <a:pt x="42" y="10"/>
                    </a:cubicBezTo>
                    <a:cubicBezTo>
                      <a:pt x="42" y="10"/>
                      <a:pt x="42" y="9"/>
                      <a:pt x="42" y="9"/>
                    </a:cubicBezTo>
                    <a:cubicBezTo>
                      <a:pt x="41" y="9"/>
                      <a:pt x="41" y="9"/>
                      <a:pt x="41" y="9"/>
                    </a:cubicBezTo>
                    <a:cubicBezTo>
                      <a:pt x="41" y="9"/>
                      <a:pt x="41" y="9"/>
                      <a:pt x="41" y="9"/>
                    </a:cubicBezTo>
                    <a:cubicBezTo>
                      <a:pt x="41" y="9"/>
                      <a:pt x="41" y="9"/>
                      <a:pt x="40" y="8"/>
                    </a:cubicBezTo>
                    <a:cubicBezTo>
                      <a:pt x="39" y="9"/>
                      <a:pt x="37" y="10"/>
                      <a:pt x="36" y="10"/>
                    </a:cubicBezTo>
                    <a:cubicBezTo>
                      <a:pt x="36" y="10"/>
                      <a:pt x="36" y="10"/>
                      <a:pt x="36" y="10"/>
                    </a:cubicBezTo>
                    <a:cubicBezTo>
                      <a:pt x="36" y="10"/>
                      <a:pt x="36" y="10"/>
                      <a:pt x="36" y="10"/>
                    </a:cubicBezTo>
                    <a:cubicBezTo>
                      <a:pt x="36" y="10"/>
                      <a:pt x="36" y="10"/>
                      <a:pt x="36" y="10"/>
                    </a:cubicBezTo>
                    <a:cubicBezTo>
                      <a:pt x="36" y="10"/>
                      <a:pt x="36" y="10"/>
                      <a:pt x="36" y="10"/>
                    </a:cubicBezTo>
                    <a:cubicBezTo>
                      <a:pt x="34" y="9"/>
                      <a:pt x="32" y="9"/>
                      <a:pt x="30" y="9"/>
                    </a:cubicBezTo>
                    <a:cubicBezTo>
                      <a:pt x="27" y="8"/>
                      <a:pt x="24" y="8"/>
                      <a:pt x="19" y="9"/>
                    </a:cubicBezTo>
                    <a:cubicBezTo>
                      <a:pt x="17" y="9"/>
                      <a:pt x="17" y="9"/>
                      <a:pt x="17" y="9"/>
                    </a:cubicBezTo>
                    <a:cubicBezTo>
                      <a:pt x="18" y="7"/>
                      <a:pt x="18" y="7"/>
                      <a:pt x="18" y="7"/>
                    </a:cubicBezTo>
                    <a:cubicBezTo>
                      <a:pt x="18" y="6"/>
                      <a:pt x="18" y="5"/>
                      <a:pt x="18" y="4"/>
                    </a:cubicBezTo>
                    <a:cubicBezTo>
                      <a:pt x="18" y="1"/>
                      <a:pt x="18" y="1"/>
                      <a:pt x="18" y="1"/>
                    </a:cubicBezTo>
                    <a:cubicBezTo>
                      <a:pt x="18" y="1"/>
                      <a:pt x="18" y="1"/>
                      <a:pt x="18" y="1"/>
                    </a:cubicBezTo>
                    <a:cubicBezTo>
                      <a:pt x="17" y="1"/>
                      <a:pt x="17" y="1"/>
                      <a:pt x="17" y="0"/>
                    </a:cubicBezTo>
                    <a:cubicBezTo>
                      <a:pt x="17" y="1"/>
                      <a:pt x="17" y="1"/>
                      <a:pt x="17" y="2"/>
                    </a:cubicBezTo>
                    <a:cubicBezTo>
                      <a:pt x="16" y="2"/>
                      <a:pt x="16" y="2"/>
                      <a:pt x="16" y="2"/>
                    </a:cubicBezTo>
                    <a:cubicBezTo>
                      <a:pt x="16" y="2"/>
                      <a:pt x="16" y="2"/>
                      <a:pt x="16" y="2"/>
                    </a:cubicBezTo>
                    <a:cubicBezTo>
                      <a:pt x="16" y="2"/>
                      <a:pt x="16" y="2"/>
                      <a:pt x="15" y="2"/>
                    </a:cubicBezTo>
                    <a:cubicBezTo>
                      <a:pt x="15" y="2"/>
                      <a:pt x="15" y="2"/>
                      <a:pt x="15" y="2"/>
                    </a:cubicBezTo>
                    <a:cubicBezTo>
                      <a:pt x="15" y="2"/>
                      <a:pt x="15" y="2"/>
                      <a:pt x="15" y="3"/>
                    </a:cubicBezTo>
                    <a:cubicBezTo>
                      <a:pt x="15" y="3"/>
                      <a:pt x="15" y="3"/>
                      <a:pt x="15" y="3"/>
                    </a:cubicBezTo>
                    <a:cubicBezTo>
                      <a:pt x="15" y="9"/>
                      <a:pt x="15" y="9"/>
                      <a:pt x="15" y="9"/>
                    </a:cubicBezTo>
                    <a:cubicBezTo>
                      <a:pt x="13" y="4"/>
                      <a:pt x="13" y="4"/>
                      <a:pt x="13" y="4"/>
                    </a:cubicBezTo>
                    <a:cubicBezTo>
                      <a:pt x="13" y="4"/>
                      <a:pt x="13" y="4"/>
                      <a:pt x="13" y="4"/>
                    </a:cubicBezTo>
                    <a:cubicBezTo>
                      <a:pt x="13" y="5"/>
                      <a:pt x="13" y="5"/>
                      <a:pt x="13" y="5"/>
                    </a:cubicBezTo>
                    <a:cubicBezTo>
                      <a:pt x="12" y="7"/>
                      <a:pt x="12" y="8"/>
                      <a:pt x="11" y="8"/>
                    </a:cubicBezTo>
                    <a:cubicBezTo>
                      <a:pt x="11" y="8"/>
                      <a:pt x="11" y="8"/>
                      <a:pt x="11" y="8"/>
                    </a:cubicBezTo>
                    <a:cubicBezTo>
                      <a:pt x="10" y="9"/>
                      <a:pt x="10" y="8"/>
                      <a:pt x="9" y="8"/>
                    </a:cubicBezTo>
                    <a:cubicBezTo>
                      <a:pt x="9" y="8"/>
                      <a:pt x="9" y="8"/>
                      <a:pt x="9" y="8"/>
                    </a:cubicBezTo>
                    <a:cubicBezTo>
                      <a:pt x="9" y="8"/>
                      <a:pt x="8" y="8"/>
                      <a:pt x="7" y="8"/>
                    </a:cubicBezTo>
                    <a:cubicBezTo>
                      <a:pt x="6" y="8"/>
                      <a:pt x="5" y="8"/>
                      <a:pt x="4" y="8"/>
                    </a:cubicBezTo>
                    <a:cubicBezTo>
                      <a:pt x="3" y="8"/>
                      <a:pt x="3" y="8"/>
                      <a:pt x="3" y="8"/>
                    </a:cubicBezTo>
                    <a:cubicBezTo>
                      <a:pt x="3" y="8"/>
                      <a:pt x="3" y="8"/>
                      <a:pt x="3" y="8"/>
                    </a:cubicBezTo>
                    <a:cubicBezTo>
                      <a:pt x="2" y="8"/>
                      <a:pt x="2" y="8"/>
                      <a:pt x="2" y="8"/>
                    </a:cubicBezTo>
                    <a:cubicBezTo>
                      <a:pt x="2" y="8"/>
                      <a:pt x="2" y="8"/>
                      <a:pt x="2" y="8"/>
                    </a:cubicBezTo>
                    <a:cubicBezTo>
                      <a:pt x="2" y="8"/>
                      <a:pt x="2" y="8"/>
                      <a:pt x="2" y="8"/>
                    </a:cubicBezTo>
                    <a:cubicBezTo>
                      <a:pt x="1" y="9"/>
                      <a:pt x="1" y="9"/>
                      <a:pt x="0" y="10"/>
                    </a:cubicBezTo>
                    <a:cubicBezTo>
                      <a:pt x="0" y="10"/>
                      <a:pt x="1" y="10"/>
                      <a:pt x="1" y="10"/>
                    </a:cubicBezTo>
                    <a:cubicBezTo>
                      <a:pt x="1" y="10"/>
                      <a:pt x="1" y="11"/>
                      <a:pt x="1" y="11"/>
                    </a:cubicBezTo>
                    <a:cubicBezTo>
                      <a:pt x="1" y="11"/>
                      <a:pt x="1" y="11"/>
                      <a:pt x="1" y="11"/>
                    </a:cubicBezTo>
                    <a:cubicBezTo>
                      <a:pt x="2" y="11"/>
                      <a:pt x="2" y="11"/>
                      <a:pt x="2" y="11"/>
                    </a:cubicBezTo>
                    <a:cubicBezTo>
                      <a:pt x="3" y="12"/>
                      <a:pt x="3" y="12"/>
                      <a:pt x="4" y="12"/>
                    </a:cubicBezTo>
                    <a:cubicBezTo>
                      <a:pt x="5" y="12"/>
                      <a:pt x="5" y="12"/>
                      <a:pt x="6" y="13"/>
                    </a:cubicBezTo>
                    <a:cubicBezTo>
                      <a:pt x="7" y="13"/>
                      <a:pt x="8" y="13"/>
                      <a:pt x="8" y="14"/>
                    </a:cubicBezTo>
                    <a:cubicBezTo>
                      <a:pt x="9" y="15"/>
                      <a:pt x="9" y="15"/>
                      <a:pt x="9" y="15"/>
                    </a:cubicBezTo>
                    <a:cubicBezTo>
                      <a:pt x="9" y="16"/>
                      <a:pt x="9" y="17"/>
                      <a:pt x="8" y="18"/>
                    </a:cubicBezTo>
                    <a:cubicBezTo>
                      <a:pt x="8" y="19"/>
                      <a:pt x="8" y="19"/>
                      <a:pt x="8" y="19"/>
                    </a:cubicBezTo>
                    <a:cubicBezTo>
                      <a:pt x="8" y="20"/>
                      <a:pt x="8" y="20"/>
                      <a:pt x="8" y="20"/>
                    </a:cubicBezTo>
                    <a:cubicBezTo>
                      <a:pt x="8" y="20"/>
                      <a:pt x="8" y="20"/>
                      <a:pt x="8" y="20"/>
                    </a:cubicBezTo>
                    <a:cubicBezTo>
                      <a:pt x="9" y="21"/>
                      <a:pt x="9" y="21"/>
                      <a:pt x="9" y="21"/>
                    </a:cubicBezTo>
                    <a:cubicBezTo>
                      <a:pt x="9" y="21"/>
                      <a:pt x="10" y="22"/>
                      <a:pt x="10" y="22"/>
                    </a:cubicBezTo>
                    <a:cubicBezTo>
                      <a:pt x="12" y="24"/>
                      <a:pt x="9" y="27"/>
                      <a:pt x="7" y="29"/>
                    </a:cubicBezTo>
                    <a:cubicBezTo>
                      <a:pt x="7" y="29"/>
                      <a:pt x="7" y="30"/>
                      <a:pt x="7" y="30"/>
                    </a:cubicBezTo>
                    <a:cubicBezTo>
                      <a:pt x="6" y="31"/>
                      <a:pt x="6" y="31"/>
                      <a:pt x="6" y="31"/>
                    </a:cubicBezTo>
                    <a:cubicBezTo>
                      <a:pt x="6" y="31"/>
                      <a:pt x="5" y="32"/>
                      <a:pt x="5" y="32"/>
                    </a:cubicBezTo>
                    <a:cubicBezTo>
                      <a:pt x="5" y="33"/>
                      <a:pt x="5" y="33"/>
                      <a:pt x="5" y="33"/>
                    </a:cubicBezTo>
                    <a:cubicBezTo>
                      <a:pt x="5" y="34"/>
                      <a:pt x="5" y="35"/>
                      <a:pt x="5" y="35"/>
                    </a:cubicBezTo>
                    <a:cubicBezTo>
                      <a:pt x="5" y="35"/>
                      <a:pt x="5" y="36"/>
                      <a:pt x="5" y="36"/>
                    </a:cubicBezTo>
                    <a:cubicBezTo>
                      <a:pt x="6" y="37"/>
                      <a:pt x="6" y="37"/>
                      <a:pt x="6" y="37"/>
                    </a:cubicBezTo>
                    <a:cubicBezTo>
                      <a:pt x="6" y="37"/>
                      <a:pt x="6" y="37"/>
                      <a:pt x="6" y="37"/>
                    </a:cubicBezTo>
                    <a:cubicBezTo>
                      <a:pt x="6" y="37"/>
                      <a:pt x="6" y="37"/>
                      <a:pt x="6" y="36"/>
                    </a:cubicBezTo>
                    <a:cubicBezTo>
                      <a:pt x="7" y="36"/>
                      <a:pt x="8" y="35"/>
                      <a:pt x="8" y="35"/>
                    </a:cubicBezTo>
                    <a:cubicBezTo>
                      <a:pt x="8" y="35"/>
                      <a:pt x="9" y="35"/>
                      <a:pt x="9" y="35"/>
                    </a:cubicBezTo>
                    <a:cubicBezTo>
                      <a:pt x="10" y="34"/>
                      <a:pt x="11" y="34"/>
                      <a:pt x="12" y="34"/>
                    </a:cubicBezTo>
                    <a:cubicBezTo>
                      <a:pt x="12" y="33"/>
                      <a:pt x="12" y="33"/>
                      <a:pt x="13" y="33"/>
                    </a:cubicBezTo>
                    <a:cubicBezTo>
                      <a:pt x="13" y="34"/>
                      <a:pt x="13" y="34"/>
                      <a:pt x="13" y="34"/>
                    </a:cubicBezTo>
                    <a:cubicBezTo>
                      <a:pt x="13" y="33"/>
                      <a:pt x="13" y="33"/>
                      <a:pt x="13" y="33"/>
                    </a:cubicBezTo>
                    <a:cubicBezTo>
                      <a:pt x="13" y="33"/>
                      <a:pt x="13" y="33"/>
                      <a:pt x="13" y="33"/>
                    </a:cubicBezTo>
                    <a:cubicBezTo>
                      <a:pt x="15" y="32"/>
                      <a:pt x="16" y="32"/>
                      <a:pt x="16" y="33"/>
                    </a:cubicBezTo>
                    <a:cubicBezTo>
                      <a:pt x="17" y="33"/>
                      <a:pt x="17" y="33"/>
                      <a:pt x="17" y="34"/>
                    </a:cubicBezTo>
                    <a:cubicBezTo>
                      <a:pt x="18" y="34"/>
                      <a:pt x="18" y="34"/>
                      <a:pt x="18" y="34"/>
                    </a:cubicBezTo>
                    <a:cubicBezTo>
                      <a:pt x="18" y="34"/>
                      <a:pt x="18" y="35"/>
                      <a:pt x="19" y="35"/>
                    </a:cubicBezTo>
                    <a:cubicBezTo>
                      <a:pt x="19" y="35"/>
                      <a:pt x="19" y="35"/>
                      <a:pt x="19" y="35"/>
                    </a:cubicBezTo>
                    <a:cubicBezTo>
                      <a:pt x="19" y="35"/>
                      <a:pt x="19" y="34"/>
                      <a:pt x="19" y="34"/>
                    </a:cubicBezTo>
                    <a:cubicBezTo>
                      <a:pt x="19" y="34"/>
                      <a:pt x="19" y="34"/>
                      <a:pt x="19" y="34"/>
                    </a:cubicBezTo>
                    <a:cubicBezTo>
                      <a:pt x="19" y="34"/>
                      <a:pt x="19" y="34"/>
                      <a:pt x="19" y="33"/>
                    </a:cubicBezTo>
                    <a:cubicBezTo>
                      <a:pt x="19" y="33"/>
                      <a:pt x="19" y="33"/>
                      <a:pt x="19" y="33"/>
                    </a:cubicBezTo>
                    <a:cubicBezTo>
                      <a:pt x="19" y="32"/>
                      <a:pt x="19" y="31"/>
                      <a:pt x="20" y="31"/>
                    </a:cubicBezTo>
                    <a:cubicBezTo>
                      <a:pt x="20" y="30"/>
                      <a:pt x="20" y="30"/>
                      <a:pt x="20" y="30"/>
                    </a:cubicBezTo>
                    <a:cubicBezTo>
                      <a:pt x="20" y="30"/>
                      <a:pt x="21" y="29"/>
                      <a:pt x="22" y="29"/>
                    </a:cubicBezTo>
                    <a:cubicBezTo>
                      <a:pt x="23" y="29"/>
                      <a:pt x="24" y="29"/>
                      <a:pt x="24" y="29"/>
                    </a:cubicBezTo>
                    <a:cubicBezTo>
                      <a:pt x="25" y="29"/>
                      <a:pt x="25" y="30"/>
                      <a:pt x="25" y="30"/>
                    </a:cubicBezTo>
                    <a:cubicBezTo>
                      <a:pt x="26" y="30"/>
                      <a:pt x="26" y="30"/>
                      <a:pt x="27" y="30"/>
                    </a:cubicBezTo>
                    <a:cubicBezTo>
                      <a:pt x="27" y="30"/>
                      <a:pt x="27" y="30"/>
                      <a:pt x="27" y="30"/>
                    </a:cubicBezTo>
                    <a:cubicBezTo>
                      <a:pt x="27" y="30"/>
                      <a:pt x="27" y="30"/>
                      <a:pt x="27" y="30"/>
                    </a:cubicBezTo>
                    <a:cubicBezTo>
                      <a:pt x="27" y="30"/>
                      <a:pt x="27" y="30"/>
                      <a:pt x="27" y="30"/>
                    </a:cubicBezTo>
                    <a:cubicBezTo>
                      <a:pt x="27" y="29"/>
                      <a:pt x="27" y="29"/>
                      <a:pt x="27" y="29"/>
                    </a:cubicBezTo>
                    <a:cubicBezTo>
                      <a:pt x="27" y="29"/>
                      <a:pt x="27" y="29"/>
                      <a:pt x="27" y="29"/>
                    </a:cubicBezTo>
                    <a:cubicBezTo>
                      <a:pt x="27" y="29"/>
                      <a:pt x="27" y="29"/>
                      <a:pt x="27" y="29"/>
                    </a:cubicBezTo>
                    <a:cubicBezTo>
                      <a:pt x="27" y="28"/>
                      <a:pt x="26" y="28"/>
                      <a:pt x="26" y="27"/>
                    </a:cubicBezTo>
                    <a:cubicBezTo>
                      <a:pt x="26" y="27"/>
                      <a:pt x="26" y="26"/>
                      <a:pt x="27" y="25"/>
                    </a:cubicBezTo>
                    <a:cubicBezTo>
                      <a:pt x="28" y="25"/>
                      <a:pt x="28" y="24"/>
                      <a:pt x="29" y="24"/>
                    </a:cubicBezTo>
                    <a:cubicBezTo>
                      <a:pt x="29" y="24"/>
                      <a:pt x="30" y="23"/>
                      <a:pt x="30" y="23"/>
                    </a:cubicBezTo>
                    <a:cubicBezTo>
                      <a:pt x="31" y="23"/>
                      <a:pt x="31" y="23"/>
                      <a:pt x="31" y="23"/>
                    </a:cubicBezTo>
                    <a:cubicBezTo>
                      <a:pt x="30" y="22"/>
                      <a:pt x="30" y="22"/>
                      <a:pt x="30" y="22"/>
                    </a:cubicBezTo>
                    <a:cubicBezTo>
                      <a:pt x="31" y="21"/>
                      <a:pt x="32" y="20"/>
                      <a:pt x="33" y="20"/>
                    </a:cubicBezTo>
                    <a:cubicBezTo>
                      <a:pt x="34" y="19"/>
                      <a:pt x="34" y="19"/>
                      <a:pt x="35" y="19"/>
                    </a:cubicBezTo>
                    <a:cubicBezTo>
                      <a:pt x="36" y="19"/>
                      <a:pt x="36" y="19"/>
                      <a:pt x="36" y="19"/>
                    </a:cubicBezTo>
                    <a:cubicBezTo>
                      <a:pt x="37" y="19"/>
                      <a:pt x="37" y="19"/>
                      <a:pt x="37" y="19"/>
                    </a:cubicBezTo>
                    <a:cubicBezTo>
                      <a:pt x="37" y="19"/>
                      <a:pt x="38" y="20"/>
                      <a:pt x="38" y="20"/>
                    </a:cubicBezTo>
                    <a:cubicBezTo>
                      <a:pt x="38" y="20"/>
                      <a:pt x="38" y="20"/>
                      <a:pt x="39" y="21"/>
                    </a:cubicBezTo>
                    <a:cubicBezTo>
                      <a:pt x="40" y="19"/>
                      <a:pt x="40" y="19"/>
                      <a:pt x="40" y="19"/>
                    </a:cubicBezTo>
                    <a:cubicBezTo>
                      <a:pt x="40" y="20"/>
                      <a:pt x="40" y="20"/>
                      <a:pt x="40" y="20"/>
                    </a:cubicBezTo>
                    <a:cubicBezTo>
                      <a:pt x="40" y="20"/>
                      <a:pt x="40" y="20"/>
                      <a:pt x="40" y="20"/>
                    </a:cubicBezTo>
                    <a:cubicBezTo>
                      <a:pt x="39" y="21"/>
                      <a:pt x="39" y="21"/>
                      <a:pt x="39" y="21"/>
                    </a:cubicBezTo>
                    <a:cubicBezTo>
                      <a:pt x="40" y="22"/>
                      <a:pt x="40" y="22"/>
                      <a:pt x="40" y="22"/>
                    </a:cubicBezTo>
                    <a:cubicBezTo>
                      <a:pt x="40" y="22"/>
                      <a:pt x="40" y="22"/>
                      <a:pt x="40" y="23"/>
                    </a:cubicBezTo>
                    <a:cubicBezTo>
                      <a:pt x="40" y="23"/>
                      <a:pt x="41" y="24"/>
                      <a:pt x="41" y="25"/>
                    </a:cubicBezTo>
                    <a:cubicBezTo>
                      <a:pt x="41" y="25"/>
                      <a:pt x="42" y="25"/>
                      <a:pt x="42" y="25"/>
                    </a:cubicBezTo>
                    <a:cubicBezTo>
                      <a:pt x="43" y="26"/>
                      <a:pt x="43" y="26"/>
                      <a:pt x="43" y="27"/>
                    </a:cubicBezTo>
                    <a:cubicBezTo>
                      <a:pt x="43" y="28"/>
                      <a:pt x="43" y="29"/>
                      <a:pt x="43" y="30"/>
                    </a:cubicBezTo>
                    <a:cubicBezTo>
                      <a:pt x="43" y="32"/>
                      <a:pt x="43" y="33"/>
                      <a:pt x="42" y="34"/>
                    </a:cubicBezTo>
                    <a:cubicBezTo>
                      <a:pt x="45" y="35"/>
                      <a:pt x="45" y="35"/>
                      <a:pt x="45" y="35"/>
                    </a:cubicBezTo>
                    <a:cubicBezTo>
                      <a:pt x="42" y="35"/>
                      <a:pt x="42" y="35"/>
                      <a:pt x="42" y="35"/>
                    </a:cubicBezTo>
                    <a:cubicBezTo>
                      <a:pt x="42" y="35"/>
                      <a:pt x="42" y="35"/>
                      <a:pt x="42" y="35"/>
                    </a:cubicBezTo>
                    <a:cubicBezTo>
                      <a:pt x="42" y="36"/>
                      <a:pt x="42" y="36"/>
                      <a:pt x="42" y="36"/>
                    </a:cubicBezTo>
                    <a:cubicBezTo>
                      <a:pt x="42" y="36"/>
                      <a:pt x="42" y="37"/>
                      <a:pt x="42" y="37"/>
                    </a:cubicBezTo>
                    <a:cubicBezTo>
                      <a:pt x="42" y="37"/>
                      <a:pt x="42" y="37"/>
                      <a:pt x="42" y="38"/>
                    </a:cubicBezTo>
                    <a:cubicBezTo>
                      <a:pt x="42" y="38"/>
                      <a:pt x="42" y="38"/>
                      <a:pt x="43" y="39"/>
                    </a:cubicBezTo>
                    <a:cubicBezTo>
                      <a:pt x="43" y="39"/>
                      <a:pt x="43" y="39"/>
                      <a:pt x="43" y="39"/>
                    </a:cubicBezTo>
                    <a:cubicBezTo>
                      <a:pt x="43" y="39"/>
                      <a:pt x="43" y="39"/>
                      <a:pt x="43" y="40"/>
                    </a:cubicBezTo>
                    <a:cubicBezTo>
                      <a:pt x="48" y="38"/>
                      <a:pt x="48" y="38"/>
                      <a:pt x="48" y="38"/>
                    </a:cubicBezTo>
                    <a:cubicBezTo>
                      <a:pt x="48" y="38"/>
                      <a:pt x="48" y="38"/>
                      <a:pt x="48" y="38"/>
                    </a:cubicBezTo>
                    <a:cubicBezTo>
                      <a:pt x="49" y="37"/>
                      <a:pt x="49" y="37"/>
                      <a:pt x="49" y="37"/>
                    </a:cubicBezTo>
                    <a:cubicBezTo>
                      <a:pt x="51" y="37"/>
                      <a:pt x="52" y="36"/>
                      <a:pt x="5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0" name="Freeform 3152">
                <a:extLst>
                  <a:ext uri="{FF2B5EF4-FFF2-40B4-BE49-F238E27FC236}">
                    <a16:creationId xmlns:a16="http://schemas.microsoft.com/office/drawing/2014/main" id="{FD19D2B7-D7CA-447B-AEB3-96A77BE7088B}"/>
                  </a:ext>
                </a:extLst>
              </p:cNvPr>
              <p:cNvSpPr>
                <a:spLocks/>
              </p:cNvSpPr>
              <p:nvPr/>
            </p:nvSpPr>
            <p:spPr bwMode="auto">
              <a:xfrm>
                <a:off x="5223" y="1731"/>
                <a:ext cx="31" cy="21"/>
              </a:xfrm>
              <a:custGeom>
                <a:avLst/>
                <a:gdLst>
                  <a:gd name="T0" fmla="*/ 8 w 13"/>
                  <a:gd name="T1" fmla="*/ 3 h 9"/>
                  <a:gd name="T2" fmla="*/ 8 w 13"/>
                  <a:gd name="T3" fmla="*/ 3 h 9"/>
                  <a:gd name="T4" fmla="*/ 7 w 13"/>
                  <a:gd name="T5" fmla="*/ 3 h 9"/>
                  <a:gd name="T6" fmla="*/ 6 w 13"/>
                  <a:gd name="T7" fmla="*/ 3 h 9"/>
                  <a:gd name="T8" fmla="*/ 3 w 13"/>
                  <a:gd name="T9" fmla="*/ 4 h 9"/>
                  <a:gd name="T10" fmla="*/ 2 w 13"/>
                  <a:gd name="T11" fmla="*/ 4 h 9"/>
                  <a:gd name="T12" fmla="*/ 2 w 13"/>
                  <a:gd name="T13" fmla="*/ 4 h 9"/>
                  <a:gd name="T14" fmla="*/ 1 w 13"/>
                  <a:gd name="T15" fmla="*/ 3 h 9"/>
                  <a:gd name="T16" fmla="*/ 1 w 13"/>
                  <a:gd name="T17" fmla="*/ 3 h 9"/>
                  <a:gd name="T18" fmla="*/ 0 w 13"/>
                  <a:gd name="T19" fmla="*/ 4 h 9"/>
                  <a:gd name="T20" fmla="*/ 1 w 13"/>
                  <a:gd name="T21" fmla="*/ 7 h 9"/>
                  <a:gd name="T22" fmla="*/ 1 w 13"/>
                  <a:gd name="T23" fmla="*/ 7 h 9"/>
                  <a:gd name="T24" fmla="*/ 1 w 13"/>
                  <a:gd name="T25" fmla="*/ 8 h 9"/>
                  <a:gd name="T26" fmla="*/ 1 w 13"/>
                  <a:gd name="T27" fmla="*/ 9 h 9"/>
                  <a:gd name="T28" fmla="*/ 2 w 13"/>
                  <a:gd name="T29" fmla="*/ 8 h 9"/>
                  <a:gd name="T30" fmla="*/ 3 w 13"/>
                  <a:gd name="T31" fmla="*/ 8 h 9"/>
                  <a:gd name="T32" fmla="*/ 3 w 13"/>
                  <a:gd name="T33" fmla="*/ 8 h 9"/>
                  <a:gd name="T34" fmla="*/ 6 w 13"/>
                  <a:gd name="T35" fmla="*/ 7 h 9"/>
                  <a:gd name="T36" fmla="*/ 13 w 13"/>
                  <a:gd name="T37" fmla="*/ 9 h 9"/>
                  <a:gd name="T38" fmla="*/ 13 w 13"/>
                  <a:gd name="T39" fmla="*/ 9 h 9"/>
                  <a:gd name="T40" fmla="*/ 13 w 13"/>
                  <a:gd name="T41" fmla="*/ 9 h 9"/>
                  <a:gd name="T42" fmla="*/ 13 w 13"/>
                  <a:gd name="T43" fmla="*/ 9 h 9"/>
                  <a:gd name="T44" fmla="*/ 10 w 13"/>
                  <a:gd name="T45" fmla="*/ 7 h 9"/>
                  <a:gd name="T46" fmla="*/ 8 w 13"/>
                  <a:gd name="T47" fmla="*/ 6 h 9"/>
                  <a:gd name="T48" fmla="*/ 10 w 13"/>
                  <a:gd name="T49" fmla="*/ 5 h 9"/>
                  <a:gd name="T50" fmla="*/ 13 w 13"/>
                  <a:gd name="T51" fmla="*/ 2 h 9"/>
                  <a:gd name="T52" fmla="*/ 11 w 13"/>
                  <a:gd name="T53" fmla="*/ 0 h 9"/>
                  <a:gd name="T54" fmla="*/ 11 w 13"/>
                  <a:gd name="T55" fmla="*/ 0 h 9"/>
                  <a:gd name="T56" fmla="*/ 11 w 13"/>
                  <a:gd name="T57" fmla="*/ 0 h 9"/>
                  <a:gd name="T58" fmla="*/ 11 w 13"/>
                  <a:gd name="T59" fmla="*/ 0 h 9"/>
                  <a:gd name="T60" fmla="*/ 10 w 13"/>
                  <a:gd name="T61" fmla="*/ 1 h 9"/>
                  <a:gd name="T62" fmla="*/ 10 w 13"/>
                  <a:gd name="T63" fmla="*/ 1 h 9"/>
                  <a:gd name="T64" fmla="*/ 8 w 13"/>
                  <a:gd name="T6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9">
                    <a:moveTo>
                      <a:pt x="8" y="3"/>
                    </a:moveTo>
                    <a:cubicBezTo>
                      <a:pt x="8" y="3"/>
                      <a:pt x="8" y="3"/>
                      <a:pt x="8" y="3"/>
                    </a:cubicBezTo>
                    <a:cubicBezTo>
                      <a:pt x="7" y="3"/>
                      <a:pt x="7" y="3"/>
                      <a:pt x="7" y="3"/>
                    </a:cubicBezTo>
                    <a:cubicBezTo>
                      <a:pt x="7" y="3"/>
                      <a:pt x="6" y="3"/>
                      <a:pt x="6" y="3"/>
                    </a:cubicBezTo>
                    <a:cubicBezTo>
                      <a:pt x="5" y="4"/>
                      <a:pt x="4" y="4"/>
                      <a:pt x="3" y="4"/>
                    </a:cubicBezTo>
                    <a:cubicBezTo>
                      <a:pt x="2" y="4"/>
                      <a:pt x="2" y="4"/>
                      <a:pt x="2" y="4"/>
                    </a:cubicBezTo>
                    <a:cubicBezTo>
                      <a:pt x="2" y="4"/>
                      <a:pt x="2" y="4"/>
                      <a:pt x="2" y="4"/>
                    </a:cubicBezTo>
                    <a:cubicBezTo>
                      <a:pt x="2" y="3"/>
                      <a:pt x="1" y="3"/>
                      <a:pt x="1" y="3"/>
                    </a:cubicBezTo>
                    <a:cubicBezTo>
                      <a:pt x="1" y="3"/>
                      <a:pt x="1" y="3"/>
                      <a:pt x="1" y="3"/>
                    </a:cubicBezTo>
                    <a:cubicBezTo>
                      <a:pt x="0" y="4"/>
                      <a:pt x="0" y="4"/>
                      <a:pt x="0" y="4"/>
                    </a:cubicBezTo>
                    <a:cubicBezTo>
                      <a:pt x="0" y="5"/>
                      <a:pt x="0" y="6"/>
                      <a:pt x="1" y="7"/>
                    </a:cubicBezTo>
                    <a:cubicBezTo>
                      <a:pt x="1" y="7"/>
                      <a:pt x="1" y="7"/>
                      <a:pt x="1" y="7"/>
                    </a:cubicBezTo>
                    <a:cubicBezTo>
                      <a:pt x="1" y="7"/>
                      <a:pt x="1" y="8"/>
                      <a:pt x="1" y="8"/>
                    </a:cubicBezTo>
                    <a:cubicBezTo>
                      <a:pt x="1" y="9"/>
                      <a:pt x="1" y="9"/>
                      <a:pt x="1" y="9"/>
                    </a:cubicBezTo>
                    <a:cubicBezTo>
                      <a:pt x="1" y="8"/>
                      <a:pt x="2" y="8"/>
                      <a:pt x="2" y="8"/>
                    </a:cubicBezTo>
                    <a:cubicBezTo>
                      <a:pt x="3" y="8"/>
                      <a:pt x="3" y="8"/>
                      <a:pt x="3" y="8"/>
                    </a:cubicBezTo>
                    <a:cubicBezTo>
                      <a:pt x="3" y="8"/>
                      <a:pt x="3" y="8"/>
                      <a:pt x="3" y="8"/>
                    </a:cubicBezTo>
                    <a:cubicBezTo>
                      <a:pt x="4" y="7"/>
                      <a:pt x="5" y="7"/>
                      <a:pt x="6" y="7"/>
                    </a:cubicBezTo>
                    <a:cubicBezTo>
                      <a:pt x="8" y="7"/>
                      <a:pt x="11" y="8"/>
                      <a:pt x="13" y="9"/>
                    </a:cubicBezTo>
                    <a:cubicBezTo>
                      <a:pt x="13" y="9"/>
                      <a:pt x="13" y="9"/>
                      <a:pt x="13" y="9"/>
                    </a:cubicBezTo>
                    <a:cubicBezTo>
                      <a:pt x="13" y="9"/>
                      <a:pt x="13" y="9"/>
                      <a:pt x="13" y="9"/>
                    </a:cubicBezTo>
                    <a:cubicBezTo>
                      <a:pt x="13" y="9"/>
                      <a:pt x="13" y="9"/>
                      <a:pt x="13" y="9"/>
                    </a:cubicBezTo>
                    <a:cubicBezTo>
                      <a:pt x="12" y="8"/>
                      <a:pt x="11" y="8"/>
                      <a:pt x="10" y="7"/>
                    </a:cubicBezTo>
                    <a:cubicBezTo>
                      <a:pt x="8" y="6"/>
                      <a:pt x="8" y="6"/>
                      <a:pt x="8" y="6"/>
                    </a:cubicBezTo>
                    <a:cubicBezTo>
                      <a:pt x="10" y="5"/>
                      <a:pt x="10" y="5"/>
                      <a:pt x="10" y="5"/>
                    </a:cubicBezTo>
                    <a:cubicBezTo>
                      <a:pt x="11" y="4"/>
                      <a:pt x="12" y="3"/>
                      <a:pt x="13" y="2"/>
                    </a:cubicBezTo>
                    <a:cubicBezTo>
                      <a:pt x="11" y="0"/>
                      <a:pt x="11" y="0"/>
                      <a:pt x="11" y="0"/>
                    </a:cubicBezTo>
                    <a:cubicBezTo>
                      <a:pt x="11" y="0"/>
                      <a:pt x="11" y="0"/>
                      <a:pt x="11" y="0"/>
                    </a:cubicBezTo>
                    <a:cubicBezTo>
                      <a:pt x="11" y="0"/>
                      <a:pt x="11" y="0"/>
                      <a:pt x="11" y="0"/>
                    </a:cubicBezTo>
                    <a:cubicBezTo>
                      <a:pt x="11" y="0"/>
                      <a:pt x="11" y="0"/>
                      <a:pt x="11" y="0"/>
                    </a:cubicBezTo>
                    <a:cubicBezTo>
                      <a:pt x="10" y="1"/>
                      <a:pt x="10" y="1"/>
                      <a:pt x="10" y="1"/>
                    </a:cubicBezTo>
                    <a:cubicBezTo>
                      <a:pt x="10" y="1"/>
                      <a:pt x="10" y="1"/>
                      <a:pt x="10" y="1"/>
                    </a:cubicBezTo>
                    <a:cubicBezTo>
                      <a:pt x="9" y="2"/>
                      <a:pt x="9" y="2"/>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1" name="Freeform 3153">
                <a:extLst>
                  <a:ext uri="{FF2B5EF4-FFF2-40B4-BE49-F238E27FC236}">
                    <a16:creationId xmlns:a16="http://schemas.microsoft.com/office/drawing/2014/main" id="{68B13EA1-A62A-48DA-A12C-800E61F1B790}"/>
                  </a:ext>
                </a:extLst>
              </p:cNvPr>
              <p:cNvSpPr>
                <a:spLocks/>
              </p:cNvSpPr>
              <p:nvPr/>
            </p:nvSpPr>
            <p:spPr bwMode="auto">
              <a:xfrm>
                <a:off x="5485" y="2022"/>
                <a:ext cx="190" cy="99"/>
              </a:xfrm>
              <a:custGeom>
                <a:avLst/>
                <a:gdLst>
                  <a:gd name="T0" fmla="*/ 80 w 80"/>
                  <a:gd name="T1" fmla="*/ 41 h 42"/>
                  <a:gd name="T2" fmla="*/ 79 w 80"/>
                  <a:gd name="T3" fmla="*/ 37 h 42"/>
                  <a:gd name="T4" fmla="*/ 79 w 80"/>
                  <a:gd name="T5" fmla="*/ 29 h 42"/>
                  <a:gd name="T6" fmla="*/ 67 w 80"/>
                  <a:gd name="T7" fmla="*/ 27 h 42"/>
                  <a:gd name="T8" fmla="*/ 64 w 80"/>
                  <a:gd name="T9" fmla="*/ 27 h 42"/>
                  <a:gd name="T10" fmla="*/ 60 w 80"/>
                  <a:gd name="T11" fmla="*/ 29 h 42"/>
                  <a:gd name="T12" fmla="*/ 56 w 80"/>
                  <a:gd name="T13" fmla="*/ 24 h 42"/>
                  <a:gd name="T14" fmla="*/ 54 w 80"/>
                  <a:gd name="T15" fmla="*/ 23 h 42"/>
                  <a:gd name="T16" fmla="*/ 49 w 80"/>
                  <a:gd name="T17" fmla="*/ 23 h 42"/>
                  <a:gd name="T18" fmla="*/ 44 w 80"/>
                  <a:gd name="T19" fmla="*/ 19 h 42"/>
                  <a:gd name="T20" fmla="*/ 42 w 80"/>
                  <a:gd name="T21" fmla="*/ 18 h 42"/>
                  <a:gd name="T22" fmla="*/ 39 w 80"/>
                  <a:gd name="T23" fmla="*/ 13 h 42"/>
                  <a:gd name="T24" fmla="*/ 36 w 80"/>
                  <a:gd name="T25" fmla="*/ 14 h 42"/>
                  <a:gd name="T26" fmla="*/ 33 w 80"/>
                  <a:gd name="T27" fmla="*/ 12 h 42"/>
                  <a:gd name="T28" fmla="*/ 31 w 80"/>
                  <a:gd name="T29" fmla="*/ 10 h 42"/>
                  <a:gd name="T30" fmla="*/ 30 w 80"/>
                  <a:gd name="T31" fmla="*/ 9 h 42"/>
                  <a:gd name="T32" fmla="*/ 26 w 80"/>
                  <a:gd name="T33" fmla="*/ 8 h 42"/>
                  <a:gd name="T34" fmla="*/ 22 w 80"/>
                  <a:gd name="T35" fmla="*/ 5 h 42"/>
                  <a:gd name="T36" fmla="*/ 18 w 80"/>
                  <a:gd name="T37" fmla="*/ 2 h 42"/>
                  <a:gd name="T38" fmla="*/ 14 w 80"/>
                  <a:gd name="T39" fmla="*/ 0 h 42"/>
                  <a:gd name="T40" fmla="*/ 14 w 80"/>
                  <a:gd name="T41" fmla="*/ 1 h 42"/>
                  <a:gd name="T42" fmla="*/ 11 w 80"/>
                  <a:gd name="T43" fmla="*/ 4 h 42"/>
                  <a:gd name="T44" fmla="*/ 3 w 80"/>
                  <a:gd name="T45" fmla="*/ 8 h 42"/>
                  <a:gd name="T46" fmla="*/ 2 w 80"/>
                  <a:gd name="T47" fmla="*/ 10 h 42"/>
                  <a:gd name="T48" fmla="*/ 1 w 80"/>
                  <a:gd name="T49" fmla="*/ 14 h 42"/>
                  <a:gd name="T50" fmla="*/ 2 w 80"/>
                  <a:gd name="T51" fmla="*/ 18 h 42"/>
                  <a:gd name="T52" fmla="*/ 7 w 80"/>
                  <a:gd name="T53" fmla="*/ 19 h 42"/>
                  <a:gd name="T54" fmla="*/ 12 w 80"/>
                  <a:gd name="T55" fmla="*/ 22 h 42"/>
                  <a:gd name="T56" fmla="*/ 15 w 80"/>
                  <a:gd name="T57" fmla="*/ 24 h 42"/>
                  <a:gd name="T58" fmla="*/ 17 w 80"/>
                  <a:gd name="T59" fmla="*/ 26 h 42"/>
                  <a:gd name="T60" fmla="*/ 19 w 80"/>
                  <a:gd name="T61" fmla="*/ 26 h 42"/>
                  <a:gd name="T62" fmla="*/ 26 w 80"/>
                  <a:gd name="T63" fmla="*/ 28 h 42"/>
                  <a:gd name="T64" fmla="*/ 27 w 80"/>
                  <a:gd name="T65" fmla="*/ 30 h 42"/>
                  <a:gd name="T66" fmla="*/ 33 w 80"/>
                  <a:gd name="T67" fmla="*/ 31 h 42"/>
                  <a:gd name="T68" fmla="*/ 34 w 80"/>
                  <a:gd name="T69" fmla="*/ 30 h 42"/>
                  <a:gd name="T70" fmla="*/ 37 w 80"/>
                  <a:gd name="T71" fmla="*/ 31 h 42"/>
                  <a:gd name="T72" fmla="*/ 39 w 80"/>
                  <a:gd name="T73" fmla="*/ 30 h 42"/>
                  <a:gd name="T74" fmla="*/ 42 w 80"/>
                  <a:gd name="T75" fmla="*/ 31 h 42"/>
                  <a:gd name="T76" fmla="*/ 47 w 80"/>
                  <a:gd name="T77" fmla="*/ 35 h 42"/>
                  <a:gd name="T78" fmla="*/ 48 w 80"/>
                  <a:gd name="T79" fmla="*/ 36 h 42"/>
                  <a:gd name="T80" fmla="*/ 52 w 80"/>
                  <a:gd name="T81" fmla="*/ 37 h 42"/>
                  <a:gd name="T82" fmla="*/ 53 w 80"/>
                  <a:gd name="T83" fmla="*/ 38 h 42"/>
                  <a:gd name="T84" fmla="*/ 55 w 80"/>
                  <a:gd name="T85" fmla="*/ 37 h 42"/>
                  <a:gd name="T86" fmla="*/ 57 w 80"/>
                  <a:gd name="T87" fmla="*/ 38 h 42"/>
                  <a:gd name="T88" fmla="*/ 58 w 80"/>
                  <a:gd name="T89" fmla="*/ 39 h 42"/>
                  <a:gd name="T90" fmla="*/ 61 w 80"/>
                  <a:gd name="T91" fmla="*/ 40 h 42"/>
                  <a:gd name="T92" fmla="*/ 65 w 80"/>
                  <a:gd name="T93" fmla="*/ 41 h 42"/>
                  <a:gd name="T94" fmla="*/ 70 w 80"/>
                  <a:gd name="T95" fmla="*/ 40 h 42"/>
                  <a:gd name="T96" fmla="*/ 71 w 80"/>
                  <a:gd name="T97" fmla="*/ 41 h 42"/>
                  <a:gd name="T98" fmla="*/ 72 w 80"/>
                  <a:gd name="T99" fmla="*/ 42 h 42"/>
                  <a:gd name="T100" fmla="*/ 76 w 80"/>
                  <a:gd name="T101" fmla="*/ 42 h 42"/>
                  <a:gd name="T102" fmla="*/ 79 w 80"/>
                  <a:gd name="T10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42">
                    <a:moveTo>
                      <a:pt x="79" y="42"/>
                    </a:moveTo>
                    <a:cubicBezTo>
                      <a:pt x="79" y="42"/>
                      <a:pt x="79" y="42"/>
                      <a:pt x="79" y="42"/>
                    </a:cubicBezTo>
                    <a:cubicBezTo>
                      <a:pt x="79" y="42"/>
                      <a:pt x="79" y="42"/>
                      <a:pt x="79" y="42"/>
                    </a:cubicBezTo>
                    <a:cubicBezTo>
                      <a:pt x="80" y="41"/>
                      <a:pt x="80" y="41"/>
                      <a:pt x="80" y="41"/>
                    </a:cubicBezTo>
                    <a:cubicBezTo>
                      <a:pt x="80" y="41"/>
                      <a:pt x="80" y="40"/>
                      <a:pt x="80" y="40"/>
                    </a:cubicBezTo>
                    <a:cubicBezTo>
                      <a:pt x="80" y="39"/>
                      <a:pt x="80" y="39"/>
                      <a:pt x="80" y="39"/>
                    </a:cubicBezTo>
                    <a:cubicBezTo>
                      <a:pt x="80" y="39"/>
                      <a:pt x="80" y="39"/>
                      <a:pt x="80" y="39"/>
                    </a:cubicBezTo>
                    <a:cubicBezTo>
                      <a:pt x="80" y="38"/>
                      <a:pt x="79" y="38"/>
                      <a:pt x="79" y="37"/>
                    </a:cubicBezTo>
                    <a:cubicBezTo>
                      <a:pt x="79" y="37"/>
                      <a:pt x="79" y="37"/>
                      <a:pt x="79" y="37"/>
                    </a:cubicBezTo>
                    <a:cubicBezTo>
                      <a:pt x="79" y="37"/>
                      <a:pt x="79" y="36"/>
                      <a:pt x="79" y="36"/>
                    </a:cubicBezTo>
                    <a:cubicBezTo>
                      <a:pt x="78" y="35"/>
                      <a:pt x="78" y="34"/>
                      <a:pt x="79" y="33"/>
                    </a:cubicBezTo>
                    <a:cubicBezTo>
                      <a:pt x="79" y="32"/>
                      <a:pt x="79" y="30"/>
                      <a:pt x="79" y="29"/>
                    </a:cubicBezTo>
                    <a:cubicBezTo>
                      <a:pt x="80" y="29"/>
                      <a:pt x="80" y="29"/>
                      <a:pt x="80" y="29"/>
                    </a:cubicBezTo>
                    <a:cubicBezTo>
                      <a:pt x="77" y="29"/>
                      <a:pt x="76" y="29"/>
                      <a:pt x="74" y="28"/>
                    </a:cubicBezTo>
                    <a:cubicBezTo>
                      <a:pt x="72" y="28"/>
                      <a:pt x="71" y="28"/>
                      <a:pt x="70" y="28"/>
                    </a:cubicBezTo>
                    <a:cubicBezTo>
                      <a:pt x="69" y="27"/>
                      <a:pt x="68" y="27"/>
                      <a:pt x="67" y="27"/>
                    </a:cubicBezTo>
                    <a:cubicBezTo>
                      <a:pt x="67" y="26"/>
                      <a:pt x="67" y="26"/>
                      <a:pt x="67" y="26"/>
                    </a:cubicBezTo>
                    <a:cubicBezTo>
                      <a:pt x="67" y="26"/>
                      <a:pt x="67" y="26"/>
                      <a:pt x="66" y="26"/>
                    </a:cubicBezTo>
                    <a:cubicBezTo>
                      <a:pt x="66" y="26"/>
                      <a:pt x="66" y="26"/>
                      <a:pt x="66" y="26"/>
                    </a:cubicBezTo>
                    <a:cubicBezTo>
                      <a:pt x="66" y="27"/>
                      <a:pt x="65" y="28"/>
                      <a:pt x="64" y="27"/>
                    </a:cubicBezTo>
                    <a:cubicBezTo>
                      <a:pt x="63" y="27"/>
                      <a:pt x="63" y="27"/>
                      <a:pt x="63" y="27"/>
                    </a:cubicBezTo>
                    <a:cubicBezTo>
                      <a:pt x="63" y="27"/>
                      <a:pt x="62" y="27"/>
                      <a:pt x="61" y="27"/>
                    </a:cubicBezTo>
                    <a:cubicBezTo>
                      <a:pt x="61" y="27"/>
                      <a:pt x="61" y="27"/>
                      <a:pt x="61" y="27"/>
                    </a:cubicBezTo>
                    <a:cubicBezTo>
                      <a:pt x="60" y="29"/>
                      <a:pt x="60" y="29"/>
                      <a:pt x="60" y="29"/>
                    </a:cubicBezTo>
                    <a:cubicBezTo>
                      <a:pt x="58" y="27"/>
                      <a:pt x="58" y="27"/>
                      <a:pt x="58" y="27"/>
                    </a:cubicBezTo>
                    <a:cubicBezTo>
                      <a:pt x="58" y="26"/>
                      <a:pt x="57" y="25"/>
                      <a:pt x="56" y="24"/>
                    </a:cubicBezTo>
                    <a:cubicBezTo>
                      <a:pt x="56" y="24"/>
                      <a:pt x="56" y="24"/>
                      <a:pt x="56" y="24"/>
                    </a:cubicBezTo>
                    <a:cubicBezTo>
                      <a:pt x="56" y="24"/>
                      <a:pt x="56" y="24"/>
                      <a:pt x="56" y="24"/>
                    </a:cubicBezTo>
                    <a:cubicBezTo>
                      <a:pt x="56" y="24"/>
                      <a:pt x="56" y="24"/>
                      <a:pt x="56" y="24"/>
                    </a:cubicBezTo>
                    <a:cubicBezTo>
                      <a:pt x="56" y="24"/>
                      <a:pt x="55" y="23"/>
                      <a:pt x="55" y="23"/>
                    </a:cubicBezTo>
                    <a:cubicBezTo>
                      <a:pt x="55" y="23"/>
                      <a:pt x="55" y="23"/>
                      <a:pt x="55" y="23"/>
                    </a:cubicBezTo>
                    <a:cubicBezTo>
                      <a:pt x="54" y="23"/>
                      <a:pt x="54" y="23"/>
                      <a:pt x="54" y="23"/>
                    </a:cubicBezTo>
                    <a:cubicBezTo>
                      <a:pt x="53" y="23"/>
                      <a:pt x="53" y="23"/>
                      <a:pt x="53" y="23"/>
                    </a:cubicBezTo>
                    <a:cubicBezTo>
                      <a:pt x="53" y="24"/>
                      <a:pt x="53" y="24"/>
                      <a:pt x="52" y="24"/>
                    </a:cubicBezTo>
                    <a:cubicBezTo>
                      <a:pt x="52" y="24"/>
                      <a:pt x="51" y="24"/>
                      <a:pt x="51" y="24"/>
                    </a:cubicBezTo>
                    <a:cubicBezTo>
                      <a:pt x="50" y="23"/>
                      <a:pt x="50" y="23"/>
                      <a:pt x="49" y="23"/>
                    </a:cubicBezTo>
                    <a:cubicBezTo>
                      <a:pt x="49" y="22"/>
                      <a:pt x="49" y="21"/>
                      <a:pt x="49" y="21"/>
                    </a:cubicBezTo>
                    <a:cubicBezTo>
                      <a:pt x="49" y="21"/>
                      <a:pt x="48" y="21"/>
                      <a:pt x="48" y="21"/>
                    </a:cubicBezTo>
                    <a:cubicBezTo>
                      <a:pt x="47" y="21"/>
                      <a:pt x="46" y="20"/>
                      <a:pt x="46" y="20"/>
                    </a:cubicBezTo>
                    <a:cubicBezTo>
                      <a:pt x="45" y="20"/>
                      <a:pt x="45" y="20"/>
                      <a:pt x="44" y="19"/>
                    </a:cubicBezTo>
                    <a:cubicBezTo>
                      <a:pt x="44" y="19"/>
                      <a:pt x="44" y="19"/>
                      <a:pt x="44" y="19"/>
                    </a:cubicBezTo>
                    <a:cubicBezTo>
                      <a:pt x="44" y="19"/>
                      <a:pt x="44" y="19"/>
                      <a:pt x="43" y="19"/>
                    </a:cubicBezTo>
                    <a:cubicBezTo>
                      <a:pt x="43" y="18"/>
                      <a:pt x="43" y="18"/>
                      <a:pt x="43" y="18"/>
                    </a:cubicBezTo>
                    <a:cubicBezTo>
                      <a:pt x="43" y="18"/>
                      <a:pt x="42" y="18"/>
                      <a:pt x="42" y="18"/>
                    </a:cubicBezTo>
                    <a:cubicBezTo>
                      <a:pt x="42" y="18"/>
                      <a:pt x="42" y="18"/>
                      <a:pt x="42" y="18"/>
                    </a:cubicBezTo>
                    <a:cubicBezTo>
                      <a:pt x="41" y="17"/>
                      <a:pt x="40" y="16"/>
                      <a:pt x="40" y="15"/>
                    </a:cubicBezTo>
                    <a:cubicBezTo>
                      <a:pt x="40" y="14"/>
                      <a:pt x="40" y="14"/>
                      <a:pt x="40" y="14"/>
                    </a:cubicBezTo>
                    <a:cubicBezTo>
                      <a:pt x="40" y="14"/>
                      <a:pt x="39" y="14"/>
                      <a:pt x="39" y="13"/>
                    </a:cubicBezTo>
                    <a:cubicBezTo>
                      <a:pt x="39" y="13"/>
                      <a:pt x="39" y="13"/>
                      <a:pt x="39" y="13"/>
                    </a:cubicBezTo>
                    <a:cubicBezTo>
                      <a:pt x="39" y="13"/>
                      <a:pt x="38" y="14"/>
                      <a:pt x="37" y="14"/>
                    </a:cubicBezTo>
                    <a:cubicBezTo>
                      <a:pt x="36" y="14"/>
                      <a:pt x="36" y="14"/>
                      <a:pt x="36" y="14"/>
                    </a:cubicBezTo>
                    <a:cubicBezTo>
                      <a:pt x="36" y="14"/>
                      <a:pt x="36" y="14"/>
                      <a:pt x="36" y="14"/>
                    </a:cubicBezTo>
                    <a:cubicBezTo>
                      <a:pt x="34" y="14"/>
                      <a:pt x="34" y="13"/>
                      <a:pt x="33" y="12"/>
                    </a:cubicBezTo>
                    <a:cubicBezTo>
                      <a:pt x="33" y="12"/>
                      <a:pt x="33" y="12"/>
                      <a:pt x="33" y="12"/>
                    </a:cubicBezTo>
                    <a:cubicBezTo>
                      <a:pt x="33" y="12"/>
                      <a:pt x="33" y="12"/>
                      <a:pt x="33" y="12"/>
                    </a:cubicBezTo>
                    <a:cubicBezTo>
                      <a:pt x="33" y="12"/>
                      <a:pt x="33" y="12"/>
                      <a:pt x="33" y="12"/>
                    </a:cubicBezTo>
                    <a:cubicBezTo>
                      <a:pt x="32" y="11"/>
                      <a:pt x="32" y="11"/>
                      <a:pt x="31" y="10"/>
                    </a:cubicBezTo>
                    <a:cubicBezTo>
                      <a:pt x="31" y="10"/>
                      <a:pt x="31" y="10"/>
                      <a:pt x="31" y="10"/>
                    </a:cubicBezTo>
                    <a:cubicBezTo>
                      <a:pt x="31" y="10"/>
                      <a:pt x="31" y="10"/>
                      <a:pt x="31" y="10"/>
                    </a:cubicBezTo>
                    <a:cubicBezTo>
                      <a:pt x="31" y="10"/>
                      <a:pt x="31" y="10"/>
                      <a:pt x="31" y="10"/>
                    </a:cubicBezTo>
                    <a:cubicBezTo>
                      <a:pt x="31" y="10"/>
                      <a:pt x="31" y="9"/>
                      <a:pt x="31" y="9"/>
                    </a:cubicBezTo>
                    <a:cubicBezTo>
                      <a:pt x="30" y="9"/>
                      <a:pt x="30" y="9"/>
                      <a:pt x="30" y="9"/>
                    </a:cubicBezTo>
                    <a:cubicBezTo>
                      <a:pt x="30" y="12"/>
                      <a:pt x="30" y="12"/>
                      <a:pt x="30" y="12"/>
                    </a:cubicBezTo>
                    <a:cubicBezTo>
                      <a:pt x="30" y="9"/>
                      <a:pt x="30" y="9"/>
                      <a:pt x="30" y="9"/>
                    </a:cubicBezTo>
                    <a:cubicBezTo>
                      <a:pt x="29" y="9"/>
                      <a:pt x="29" y="9"/>
                      <a:pt x="29" y="9"/>
                    </a:cubicBezTo>
                    <a:cubicBezTo>
                      <a:pt x="29" y="9"/>
                      <a:pt x="29" y="9"/>
                      <a:pt x="29" y="9"/>
                    </a:cubicBezTo>
                    <a:cubicBezTo>
                      <a:pt x="29" y="9"/>
                      <a:pt x="29" y="9"/>
                      <a:pt x="29" y="9"/>
                    </a:cubicBezTo>
                    <a:cubicBezTo>
                      <a:pt x="28" y="9"/>
                      <a:pt x="27" y="8"/>
                      <a:pt x="26" y="8"/>
                    </a:cubicBezTo>
                    <a:cubicBezTo>
                      <a:pt x="25" y="7"/>
                      <a:pt x="25" y="7"/>
                      <a:pt x="25" y="7"/>
                    </a:cubicBezTo>
                    <a:cubicBezTo>
                      <a:pt x="25" y="7"/>
                      <a:pt x="24" y="6"/>
                      <a:pt x="24" y="6"/>
                    </a:cubicBezTo>
                    <a:cubicBezTo>
                      <a:pt x="24" y="6"/>
                      <a:pt x="23" y="5"/>
                      <a:pt x="23" y="5"/>
                    </a:cubicBezTo>
                    <a:cubicBezTo>
                      <a:pt x="22" y="5"/>
                      <a:pt x="22" y="5"/>
                      <a:pt x="22" y="5"/>
                    </a:cubicBezTo>
                    <a:cubicBezTo>
                      <a:pt x="22" y="5"/>
                      <a:pt x="22" y="5"/>
                      <a:pt x="21" y="5"/>
                    </a:cubicBezTo>
                    <a:cubicBezTo>
                      <a:pt x="21" y="4"/>
                      <a:pt x="20" y="4"/>
                      <a:pt x="19" y="3"/>
                    </a:cubicBezTo>
                    <a:cubicBezTo>
                      <a:pt x="19" y="3"/>
                      <a:pt x="19" y="3"/>
                      <a:pt x="19" y="3"/>
                    </a:cubicBezTo>
                    <a:cubicBezTo>
                      <a:pt x="19" y="3"/>
                      <a:pt x="19" y="2"/>
                      <a:pt x="18" y="2"/>
                    </a:cubicBezTo>
                    <a:cubicBezTo>
                      <a:pt x="18" y="1"/>
                      <a:pt x="18" y="1"/>
                      <a:pt x="18" y="1"/>
                    </a:cubicBezTo>
                    <a:cubicBezTo>
                      <a:pt x="18" y="1"/>
                      <a:pt x="17" y="0"/>
                      <a:pt x="15" y="0"/>
                    </a:cubicBezTo>
                    <a:cubicBezTo>
                      <a:pt x="15" y="0"/>
                      <a:pt x="15" y="0"/>
                      <a:pt x="15" y="0"/>
                    </a:cubicBezTo>
                    <a:cubicBezTo>
                      <a:pt x="15" y="0"/>
                      <a:pt x="14" y="0"/>
                      <a:pt x="14" y="0"/>
                    </a:cubicBezTo>
                    <a:cubicBezTo>
                      <a:pt x="14" y="0"/>
                      <a:pt x="14" y="0"/>
                      <a:pt x="14" y="0"/>
                    </a:cubicBezTo>
                    <a:cubicBezTo>
                      <a:pt x="14" y="0"/>
                      <a:pt x="14" y="0"/>
                      <a:pt x="14" y="0"/>
                    </a:cubicBezTo>
                    <a:cubicBezTo>
                      <a:pt x="14" y="0"/>
                      <a:pt x="14" y="0"/>
                      <a:pt x="14" y="0"/>
                    </a:cubicBezTo>
                    <a:cubicBezTo>
                      <a:pt x="14" y="1"/>
                      <a:pt x="14" y="1"/>
                      <a:pt x="14" y="1"/>
                    </a:cubicBezTo>
                    <a:cubicBezTo>
                      <a:pt x="14" y="1"/>
                      <a:pt x="13" y="1"/>
                      <a:pt x="13" y="1"/>
                    </a:cubicBezTo>
                    <a:cubicBezTo>
                      <a:pt x="13" y="1"/>
                      <a:pt x="13" y="2"/>
                      <a:pt x="12" y="3"/>
                    </a:cubicBezTo>
                    <a:cubicBezTo>
                      <a:pt x="12" y="4"/>
                      <a:pt x="12" y="4"/>
                      <a:pt x="12" y="4"/>
                    </a:cubicBezTo>
                    <a:cubicBezTo>
                      <a:pt x="11" y="4"/>
                      <a:pt x="11" y="4"/>
                      <a:pt x="11" y="4"/>
                    </a:cubicBezTo>
                    <a:cubicBezTo>
                      <a:pt x="10" y="4"/>
                      <a:pt x="9" y="4"/>
                      <a:pt x="9" y="4"/>
                    </a:cubicBezTo>
                    <a:cubicBezTo>
                      <a:pt x="8" y="4"/>
                      <a:pt x="8" y="4"/>
                      <a:pt x="8" y="4"/>
                    </a:cubicBezTo>
                    <a:cubicBezTo>
                      <a:pt x="8" y="4"/>
                      <a:pt x="8" y="4"/>
                      <a:pt x="8" y="3"/>
                    </a:cubicBezTo>
                    <a:cubicBezTo>
                      <a:pt x="3" y="8"/>
                      <a:pt x="3" y="8"/>
                      <a:pt x="3" y="8"/>
                    </a:cubicBezTo>
                    <a:cubicBezTo>
                      <a:pt x="3" y="9"/>
                      <a:pt x="3" y="9"/>
                      <a:pt x="3" y="9"/>
                    </a:cubicBezTo>
                    <a:cubicBezTo>
                      <a:pt x="3" y="9"/>
                      <a:pt x="3" y="9"/>
                      <a:pt x="3" y="9"/>
                    </a:cubicBezTo>
                    <a:cubicBezTo>
                      <a:pt x="2" y="10"/>
                      <a:pt x="2" y="10"/>
                      <a:pt x="2" y="10"/>
                    </a:cubicBezTo>
                    <a:cubicBezTo>
                      <a:pt x="2" y="10"/>
                      <a:pt x="2" y="10"/>
                      <a:pt x="2" y="10"/>
                    </a:cubicBezTo>
                    <a:cubicBezTo>
                      <a:pt x="2" y="10"/>
                      <a:pt x="2" y="10"/>
                      <a:pt x="2" y="10"/>
                    </a:cubicBezTo>
                    <a:cubicBezTo>
                      <a:pt x="2" y="10"/>
                      <a:pt x="2" y="11"/>
                      <a:pt x="2" y="11"/>
                    </a:cubicBezTo>
                    <a:cubicBezTo>
                      <a:pt x="2" y="12"/>
                      <a:pt x="2" y="13"/>
                      <a:pt x="1" y="13"/>
                    </a:cubicBezTo>
                    <a:cubicBezTo>
                      <a:pt x="1" y="14"/>
                      <a:pt x="1" y="14"/>
                      <a:pt x="1" y="14"/>
                    </a:cubicBezTo>
                    <a:cubicBezTo>
                      <a:pt x="1" y="14"/>
                      <a:pt x="1" y="14"/>
                      <a:pt x="1" y="15"/>
                    </a:cubicBezTo>
                    <a:cubicBezTo>
                      <a:pt x="0" y="15"/>
                      <a:pt x="0" y="16"/>
                      <a:pt x="0" y="16"/>
                    </a:cubicBezTo>
                    <a:cubicBezTo>
                      <a:pt x="0" y="16"/>
                      <a:pt x="1" y="17"/>
                      <a:pt x="1" y="17"/>
                    </a:cubicBezTo>
                    <a:cubicBezTo>
                      <a:pt x="1" y="17"/>
                      <a:pt x="2" y="17"/>
                      <a:pt x="2" y="18"/>
                    </a:cubicBezTo>
                    <a:cubicBezTo>
                      <a:pt x="2" y="16"/>
                      <a:pt x="2" y="16"/>
                      <a:pt x="2" y="16"/>
                    </a:cubicBezTo>
                    <a:cubicBezTo>
                      <a:pt x="4" y="17"/>
                      <a:pt x="4" y="17"/>
                      <a:pt x="4" y="17"/>
                    </a:cubicBezTo>
                    <a:cubicBezTo>
                      <a:pt x="5" y="18"/>
                      <a:pt x="6" y="18"/>
                      <a:pt x="6" y="18"/>
                    </a:cubicBezTo>
                    <a:cubicBezTo>
                      <a:pt x="7" y="19"/>
                      <a:pt x="7" y="19"/>
                      <a:pt x="7" y="19"/>
                    </a:cubicBezTo>
                    <a:cubicBezTo>
                      <a:pt x="8" y="19"/>
                      <a:pt x="8" y="19"/>
                      <a:pt x="9" y="20"/>
                    </a:cubicBezTo>
                    <a:cubicBezTo>
                      <a:pt x="10" y="20"/>
                      <a:pt x="11" y="21"/>
                      <a:pt x="11" y="21"/>
                    </a:cubicBezTo>
                    <a:cubicBezTo>
                      <a:pt x="12" y="20"/>
                      <a:pt x="12" y="20"/>
                      <a:pt x="12" y="20"/>
                    </a:cubicBezTo>
                    <a:cubicBezTo>
                      <a:pt x="12" y="22"/>
                      <a:pt x="12" y="22"/>
                      <a:pt x="12" y="22"/>
                    </a:cubicBezTo>
                    <a:cubicBezTo>
                      <a:pt x="12" y="22"/>
                      <a:pt x="12" y="22"/>
                      <a:pt x="12" y="22"/>
                    </a:cubicBezTo>
                    <a:cubicBezTo>
                      <a:pt x="12" y="22"/>
                      <a:pt x="13" y="23"/>
                      <a:pt x="14" y="24"/>
                    </a:cubicBezTo>
                    <a:cubicBezTo>
                      <a:pt x="14" y="24"/>
                      <a:pt x="14" y="24"/>
                      <a:pt x="14" y="24"/>
                    </a:cubicBezTo>
                    <a:cubicBezTo>
                      <a:pt x="14" y="24"/>
                      <a:pt x="14" y="24"/>
                      <a:pt x="15" y="24"/>
                    </a:cubicBezTo>
                    <a:cubicBezTo>
                      <a:pt x="15" y="24"/>
                      <a:pt x="15" y="25"/>
                      <a:pt x="15" y="25"/>
                    </a:cubicBezTo>
                    <a:cubicBezTo>
                      <a:pt x="16" y="25"/>
                      <a:pt x="16" y="25"/>
                      <a:pt x="16" y="25"/>
                    </a:cubicBezTo>
                    <a:cubicBezTo>
                      <a:pt x="17" y="26"/>
                      <a:pt x="17" y="26"/>
                      <a:pt x="17" y="26"/>
                    </a:cubicBezTo>
                    <a:cubicBezTo>
                      <a:pt x="17" y="26"/>
                      <a:pt x="17" y="26"/>
                      <a:pt x="17" y="26"/>
                    </a:cubicBezTo>
                    <a:cubicBezTo>
                      <a:pt x="17" y="26"/>
                      <a:pt x="17" y="26"/>
                      <a:pt x="17" y="26"/>
                    </a:cubicBezTo>
                    <a:cubicBezTo>
                      <a:pt x="18" y="26"/>
                      <a:pt x="18" y="26"/>
                      <a:pt x="19" y="26"/>
                    </a:cubicBezTo>
                    <a:cubicBezTo>
                      <a:pt x="19" y="25"/>
                      <a:pt x="19" y="25"/>
                      <a:pt x="19" y="25"/>
                    </a:cubicBezTo>
                    <a:cubicBezTo>
                      <a:pt x="19" y="26"/>
                      <a:pt x="19" y="26"/>
                      <a:pt x="19" y="26"/>
                    </a:cubicBezTo>
                    <a:cubicBezTo>
                      <a:pt x="19" y="26"/>
                      <a:pt x="20" y="26"/>
                      <a:pt x="20" y="26"/>
                    </a:cubicBezTo>
                    <a:cubicBezTo>
                      <a:pt x="20" y="26"/>
                      <a:pt x="21" y="26"/>
                      <a:pt x="22" y="27"/>
                    </a:cubicBezTo>
                    <a:cubicBezTo>
                      <a:pt x="26" y="28"/>
                      <a:pt x="26" y="28"/>
                      <a:pt x="26" y="28"/>
                    </a:cubicBezTo>
                    <a:cubicBezTo>
                      <a:pt x="26" y="28"/>
                      <a:pt x="26" y="28"/>
                      <a:pt x="26" y="28"/>
                    </a:cubicBezTo>
                    <a:cubicBezTo>
                      <a:pt x="26" y="28"/>
                      <a:pt x="26" y="28"/>
                      <a:pt x="27" y="29"/>
                    </a:cubicBezTo>
                    <a:cubicBezTo>
                      <a:pt x="27" y="29"/>
                      <a:pt x="27" y="29"/>
                      <a:pt x="27" y="29"/>
                    </a:cubicBezTo>
                    <a:cubicBezTo>
                      <a:pt x="27" y="29"/>
                      <a:pt x="27" y="29"/>
                      <a:pt x="27" y="30"/>
                    </a:cubicBezTo>
                    <a:cubicBezTo>
                      <a:pt x="27" y="30"/>
                      <a:pt x="27" y="30"/>
                      <a:pt x="27" y="30"/>
                    </a:cubicBezTo>
                    <a:cubicBezTo>
                      <a:pt x="28" y="30"/>
                      <a:pt x="28" y="30"/>
                      <a:pt x="28" y="30"/>
                    </a:cubicBezTo>
                    <a:cubicBezTo>
                      <a:pt x="29" y="30"/>
                      <a:pt x="29" y="31"/>
                      <a:pt x="30" y="31"/>
                    </a:cubicBezTo>
                    <a:cubicBezTo>
                      <a:pt x="30" y="31"/>
                      <a:pt x="31" y="31"/>
                      <a:pt x="32" y="32"/>
                    </a:cubicBezTo>
                    <a:cubicBezTo>
                      <a:pt x="33" y="31"/>
                      <a:pt x="33" y="31"/>
                      <a:pt x="33" y="31"/>
                    </a:cubicBezTo>
                    <a:cubicBezTo>
                      <a:pt x="33" y="31"/>
                      <a:pt x="33" y="31"/>
                      <a:pt x="33" y="31"/>
                    </a:cubicBezTo>
                    <a:cubicBezTo>
                      <a:pt x="33" y="31"/>
                      <a:pt x="33" y="31"/>
                      <a:pt x="33" y="31"/>
                    </a:cubicBezTo>
                    <a:cubicBezTo>
                      <a:pt x="34" y="31"/>
                      <a:pt x="34" y="30"/>
                      <a:pt x="34" y="30"/>
                    </a:cubicBezTo>
                    <a:cubicBezTo>
                      <a:pt x="34" y="30"/>
                      <a:pt x="34" y="30"/>
                      <a:pt x="34" y="30"/>
                    </a:cubicBezTo>
                    <a:cubicBezTo>
                      <a:pt x="34" y="30"/>
                      <a:pt x="34" y="30"/>
                      <a:pt x="34" y="30"/>
                    </a:cubicBezTo>
                    <a:cubicBezTo>
                      <a:pt x="34" y="30"/>
                      <a:pt x="34" y="30"/>
                      <a:pt x="34" y="30"/>
                    </a:cubicBezTo>
                    <a:cubicBezTo>
                      <a:pt x="35" y="30"/>
                      <a:pt x="35" y="30"/>
                      <a:pt x="35" y="30"/>
                    </a:cubicBezTo>
                    <a:cubicBezTo>
                      <a:pt x="37" y="31"/>
                      <a:pt x="37" y="31"/>
                      <a:pt x="37" y="31"/>
                    </a:cubicBezTo>
                    <a:cubicBezTo>
                      <a:pt x="37" y="31"/>
                      <a:pt x="37" y="31"/>
                      <a:pt x="37" y="31"/>
                    </a:cubicBezTo>
                    <a:cubicBezTo>
                      <a:pt x="37" y="31"/>
                      <a:pt x="38" y="31"/>
                      <a:pt x="38" y="31"/>
                    </a:cubicBezTo>
                    <a:cubicBezTo>
                      <a:pt x="38" y="28"/>
                      <a:pt x="38" y="28"/>
                      <a:pt x="38" y="28"/>
                    </a:cubicBezTo>
                    <a:cubicBezTo>
                      <a:pt x="39" y="30"/>
                      <a:pt x="39" y="30"/>
                      <a:pt x="39" y="30"/>
                    </a:cubicBezTo>
                    <a:cubicBezTo>
                      <a:pt x="39" y="30"/>
                      <a:pt x="41" y="30"/>
                      <a:pt x="42" y="30"/>
                    </a:cubicBezTo>
                    <a:cubicBezTo>
                      <a:pt x="42" y="30"/>
                      <a:pt x="42" y="30"/>
                      <a:pt x="42" y="30"/>
                    </a:cubicBezTo>
                    <a:cubicBezTo>
                      <a:pt x="42" y="30"/>
                      <a:pt x="42" y="30"/>
                      <a:pt x="42" y="30"/>
                    </a:cubicBezTo>
                    <a:cubicBezTo>
                      <a:pt x="42" y="31"/>
                      <a:pt x="42" y="31"/>
                      <a:pt x="42" y="31"/>
                    </a:cubicBezTo>
                    <a:cubicBezTo>
                      <a:pt x="43" y="31"/>
                      <a:pt x="44" y="31"/>
                      <a:pt x="45" y="32"/>
                    </a:cubicBezTo>
                    <a:cubicBezTo>
                      <a:pt x="45" y="32"/>
                      <a:pt x="46" y="32"/>
                      <a:pt x="46" y="33"/>
                    </a:cubicBezTo>
                    <a:cubicBezTo>
                      <a:pt x="46" y="34"/>
                      <a:pt x="46" y="34"/>
                      <a:pt x="46" y="34"/>
                    </a:cubicBezTo>
                    <a:cubicBezTo>
                      <a:pt x="46" y="34"/>
                      <a:pt x="47" y="35"/>
                      <a:pt x="47" y="35"/>
                    </a:cubicBezTo>
                    <a:cubicBezTo>
                      <a:pt x="47" y="35"/>
                      <a:pt x="47" y="35"/>
                      <a:pt x="47" y="35"/>
                    </a:cubicBezTo>
                    <a:cubicBezTo>
                      <a:pt x="47" y="35"/>
                      <a:pt x="47" y="35"/>
                      <a:pt x="47" y="35"/>
                    </a:cubicBezTo>
                    <a:cubicBezTo>
                      <a:pt x="47" y="36"/>
                      <a:pt x="48" y="36"/>
                      <a:pt x="48" y="36"/>
                    </a:cubicBezTo>
                    <a:cubicBezTo>
                      <a:pt x="48" y="36"/>
                      <a:pt x="48" y="36"/>
                      <a:pt x="48" y="36"/>
                    </a:cubicBezTo>
                    <a:cubicBezTo>
                      <a:pt x="49" y="36"/>
                      <a:pt x="50" y="36"/>
                      <a:pt x="51" y="37"/>
                    </a:cubicBezTo>
                    <a:cubicBezTo>
                      <a:pt x="52" y="34"/>
                      <a:pt x="52" y="34"/>
                      <a:pt x="52" y="34"/>
                    </a:cubicBezTo>
                    <a:cubicBezTo>
                      <a:pt x="51" y="37"/>
                      <a:pt x="51" y="37"/>
                      <a:pt x="51" y="37"/>
                    </a:cubicBezTo>
                    <a:cubicBezTo>
                      <a:pt x="52" y="37"/>
                      <a:pt x="52" y="37"/>
                      <a:pt x="52" y="37"/>
                    </a:cubicBezTo>
                    <a:cubicBezTo>
                      <a:pt x="52" y="38"/>
                      <a:pt x="52" y="38"/>
                      <a:pt x="52" y="38"/>
                    </a:cubicBezTo>
                    <a:cubicBezTo>
                      <a:pt x="52" y="38"/>
                      <a:pt x="52" y="38"/>
                      <a:pt x="52" y="38"/>
                    </a:cubicBezTo>
                    <a:cubicBezTo>
                      <a:pt x="53" y="38"/>
                      <a:pt x="53" y="38"/>
                      <a:pt x="53" y="38"/>
                    </a:cubicBezTo>
                    <a:cubicBezTo>
                      <a:pt x="53" y="38"/>
                      <a:pt x="53" y="38"/>
                      <a:pt x="53" y="38"/>
                    </a:cubicBezTo>
                    <a:cubicBezTo>
                      <a:pt x="53" y="38"/>
                      <a:pt x="53" y="38"/>
                      <a:pt x="53" y="38"/>
                    </a:cubicBezTo>
                    <a:cubicBezTo>
                      <a:pt x="53" y="38"/>
                      <a:pt x="53" y="38"/>
                      <a:pt x="53" y="38"/>
                    </a:cubicBezTo>
                    <a:cubicBezTo>
                      <a:pt x="54" y="38"/>
                      <a:pt x="54" y="38"/>
                      <a:pt x="55" y="38"/>
                    </a:cubicBezTo>
                    <a:cubicBezTo>
                      <a:pt x="55" y="38"/>
                      <a:pt x="55" y="38"/>
                      <a:pt x="55" y="37"/>
                    </a:cubicBezTo>
                    <a:cubicBezTo>
                      <a:pt x="55" y="37"/>
                      <a:pt x="55" y="37"/>
                      <a:pt x="56" y="37"/>
                    </a:cubicBezTo>
                    <a:cubicBezTo>
                      <a:pt x="56" y="37"/>
                      <a:pt x="56" y="37"/>
                      <a:pt x="56" y="37"/>
                    </a:cubicBezTo>
                    <a:cubicBezTo>
                      <a:pt x="56" y="37"/>
                      <a:pt x="56" y="37"/>
                      <a:pt x="56" y="37"/>
                    </a:cubicBezTo>
                    <a:cubicBezTo>
                      <a:pt x="57" y="38"/>
                      <a:pt x="57" y="38"/>
                      <a:pt x="57" y="38"/>
                    </a:cubicBezTo>
                    <a:cubicBezTo>
                      <a:pt x="57" y="38"/>
                      <a:pt x="57" y="38"/>
                      <a:pt x="57" y="38"/>
                    </a:cubicBezTo>
                    <a:cubicBezTo>
                      <a:pt x="57" y="38"/>
                      <a:pt x="57" y="38"/>
                      <a:pt x="57" y="38"/>
                    </a:cubicBezTo>
                    <a:cubicBezTo>
                      <a:pt x="57" y="38"/>
                      <a:pt x="57" y="38"/>
                      <a:pt x="57" y="38"/>
                    </a:cubicBezTo>
                    <a:cubicBezTo>
                      <a:pt x="58" y="39"/>
                      <a:pt x="58" y="39"/>
                      <a:pt x="58" y="39"/>
                    </a:cubicBezTo>
                    <a:cubicBezTo>
                      <a:pt x="58" y="40"/>
                      <a:pt x="58" y="40"/>
                      <a:pt x="58" y="40"/>
                    </a:cubicBezTo>
                    <a:cubicBezTo>
                      <a:pt x="59" y="40"/>
                      <a:pt x="59" y="40"/>
                      <a:pt x="59" y="40"/>
                    </a:cubicBezTo>
                    <a:cubicBezTo>
                      <a:pt x="60" y="40"/>
                      <a:pt x="60" y="40"/>
                      <a:pt x="60" y="40"/>
                    </a:cubicBezTo>
                    <a:cubicBezTo>
                      <a:pt x="60" y="40"/>
                      <a:pt x="60" y="40"/>
                      <a:pt x="61" y="40"/>
                    </a:cubicBezTo>
                    <a:cubicBezTo>
                      <a:pt x="61" y="40"/>
                      <a:pt x="62" y="40"/>
                      <a:pt x="62" y="40"/>
                    </a:cubicBezTo>
                    <a:cubicBezTo>
                      <a:pt x="62" y="40"/>
                      <a:pt x="62" y="40"/>
                      <a:pt x="62" y="40"/>
                    </a:cubicBezTo>
                    <a:cubicBezTo>
                      <a:pt x="63" y="40"/>
                      <a:pt x="63" y="40"/>
                      <a:pt x="64" y="40"/>
                    </a:cubicBezTo>
                    <a:cubicBezTo>
                      <a:pt x="64" y="40"/>
                      <a:pt x="65" y="41"/>
                      <a:pt x="65" y="41"/>
                    </a:cubicBezTo>
                    <a:cubicBezTo>
                      <a:pt x="67" y="42"/>
                      <a:pt x="67" y="42"/>
                      <a:pt x="67" y="42"/>
                    </a:cubicBezTo>
                    <a:cubicBezTo>
                      <a:pt x="67" y="42"/>
                      <a:pt x="68" y="41"/>
                      <a:pt x="68" y="41"/>
                    </a:cubicBezTo>
                    <a:cubicBezTo>
                      <a:pt x="68" y="41"/>
                      <a:pt x="68" y="41"/>
                      <a:pt x="68" y="41"/>
                    </a:cubicBezTo>
                    <a:cubicBezTo>
                      <a:pt x="69" y="41"/>
                      <a:pt x="69" y="40"/>
                      <a:pt x="70" y="40"/>
                    </a:cubicBezTo>
                    <a:cubicBezTo>
                      <a:pt x="70" y="40"/>
                      <a:pt x="70" y="40"/>
                      <a:pt x="70" y="40"/>
                    </a:cubicBezTo>
                    <a:cubicBezTo>
                      <a:pt x="70" y="40"/>
                      <a:pt x="70" y="40"/>
                      <a:pt x="70" y="40"/>
                    </a:cubicBezTo>
                    <a:cubicBezTo>
                      <a:pt x="70" y="40"/>
                      <a:pt x="71" y="40"/>
                      <a:pt x="71" y="40"/>
                    </a:cubicBezTo>
                    <a:cubicBezTo>
                      <a:pt x="71" y="41"/>
                      <a:pt x="71" y="41"/>
                      <a:pt x="71" y="41"/>
                    </a:cubicBezTo>
                    <a:cubicBezTo>
                      <a:pt x="71" y="41"/>
                      <a:pt x="71" y="41"/>
                      <a:pt x="71" y="41"/>
                    </a:cubicBezTo>
                    <a:cubicBezTo>
                      <a:pt x="71" y="41"/>
                      <a:pt x="71" y="41"/>
                      <a:pt x="72" y="41"/>
                    </a:cubicBezTo>
                    <a:cubicBezTo>
                      <a:pt x="72" y="41"/>
                      <a:pt x="72" y="42"/>
                      <a:pt x="72" y="42"/>
                    </a:cubicBezTo>
                    <a:cubicBezTo>
                      <a:pt x="72" y="42"/>
                      <a:pt x="72" y="42"/>
                      <a:pt x="72" y="42"/>
                    </a:cubicBezTo>
                    <a:cubicBezTo>
                      <a:pt x="72" y="42"/>
                      <a:pt x="72" y="42"/>
                      <a:pt x="72" y="42"/>
                    </a:cubicBezTo>
                    <a:cubicBezTo>
                      <a:pt x="72" y="42"/>
                      <a:pt x="73" y="42"/>
                      <a:pt x="74" y="42"/>
                    </a:cubicBezTo>
                    <a:cubicBezTo>
                      <a:pt x="76" y="42"/>
                      <a:pt x="76" y="42"/>
                      <a:pt x="76" y="42"/>
                    </a:cubicBezTo>
                    <a:cubicBezTo>
                      <a:pt x="76" y="42"/>
                      <a:pt x="76" y="42"/>
                      <a:pt x="76" y="42"/>
                    </a:cubicBezTo>
                    <a:cubicBezTo>
                      <a:pt x="76" y="42"/>
                      <a:pt x="76" y="42"/>
                      <a:pt x="76" y="42"/>
                    </a:cubicBezTo>
                    <a:cubicBezTo>
                      <a:pt x="77" y="42"/>
                      <a:pt x="77" y="42"/>
                      <a:pt x="77" y="42"/>
                    </a:cubicBezTo>
                    <a:cubicBezTo>
                      <a:pt x="78" y="42"/>
                      <a:pt x="78" y="42"/>
                      <a:pt x="78" y="42"/>
                    </a:cubicBezTo>
                    <a:cubicBezTo>
                      <a:pt x="78" y="42"/>
                      <a:pt x="78" y="42"/>
                      <a:pt x="79" y="42"/>
                    </a:cubicBezTo>
                    <a:cubicBezTo>
                      <a:pt x="79" y="42"/>
                      <a:pt x="79" y="42"/>
                      <a:pt x="7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2" name="Freeform 3154">
                <a:extLst>
                  <a:ext uri="{FF2B5EF4-FFF2-40B4-BE49-F238E27FC236}">
                    <a16:creationId xmlns:a16="http://schemas.microsoft.com/office/drawing/2014/main" id="{CB05AF81-F556-4AF4-8C2C-05325F37075B}"/>
                  </a:ext>
                </a:extLst>
              </p:cNvPr>
              <p:cNvSpPr>
                <a:spLocks/>
              </p:cNvSpPr>
              <p:nvPr/>
            </p:nvSpPr>
            <p:spPr bwMode="auto">
              <a:xfrm>
                <a:off x="5516" y="202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3" name="Freeform 3155">
                <a:extLst>
                  <a:ext uri="{FF2B5EF4-FFF2-40B4-BE49-F238E27FC236}">
                    <a16:creationId xmlns:a16="http://schemas.microsoft.com/office/drawing/2014/main" id="{E5663E5A-9333-46FE-A56F-13135E8F2981}"/>
                  </a:ext>
                </a:extLst>
              </p:cNvPr>
              <p:cNvSpPr>
                <a:spLocks/>
              </p:cNvSpPr>
              <p:nvPr/>
            </p:nvSpPr>
            <p:spPr bwMode="auto">
              <a:xfrm>
                <a:off x="5757" y="2197"/>
                <a:ext cx="26" cy="61"/>
              </a:xfrm>
              <a:custGeom>
                <a:avLst/>
                <a:gdLst>
                  <a:gd name="T0" fmla="*/ 6 w 11"/>
                  <a:gd name="T1" fmla="*/ 26 h 26"/>
                  <a:gd name="T2" fmla="*/ 6 w 11"/>
                  <a:gd name="T3" fmla="*/ 26 h 26"/>
                  <a:gd name="T4" fmla="*/ 6 w 11"/>
                  <a:gd name="T5" fmla="*/ 25 h 26"/>
                  <a:gd name="T6" fmla="*/ 6 w 11"/>
                  <a:gd name="T7" fmla="*/ 25 h 26"/>
                  <a:gd name="T8" fmla="*/ 8 w 11"/>
                  <a:gd name="T9" fmla="*/ 23 h 26"/>
                  <a:gd name="T10" fmla="*/ 8 w 11"/>
                  <a:gd name="T11" fmla="*/ 22 h 26"/>
                  <a:gd name="T12" fmla="*/ 10 w 11"/>
                  <a:gd name="T13" fmla="*/ 20 h 26"/>
                  <a:gd name="T14" fmla="*/ 11 w 11"/>
                  <a:gd name="T15" fmla="*/ 22 h 26"/>
                  <a:gd name="T16" fmla="*/ 11 w 11"/>
                  <a:gd name="T17" fmla="*/ 23 h 26"/>
                  <a:gd name="T18" fmla="*/ 11 w 11"/>
                  <a:gd name="T19" fmla="*/ 19 h 26"/>
                  <a:gd name="T20" fmla="*/ 10 w 11"/>
                  <a:gd name="T21" fmla="*/ 17 h 26"/>
                  <a:gd name="T22" fmla="*/ 10 w 11"/>
                  <a:gd name="T23" fmla="*/ 12 h 26"/>
                  <a:gd name="T24" fmla="*/ 9 w 11"/>
                  <a:gd name="T25" fmla="*/ 9 h 26"/>
                  <a:gd name="T26" fmla="*/ 9 w 11"/>
                  <a:gd name="T27" fmla="*/ 9 h 26"/>
                  <a:gd name="T28" fmla="*/ 8 w 11"/>
                  <a:gd name="T29" fmla="*/ 6 h 26"/>
                  <a:gd name="T30" fmla="*/ 8 w 11"/>
                  <a:gd name="T31" fmla="*/ 6 h 26"/>
                  <a:gd name="T32" fmla="*/ 8 w 11"/>
                  <a:gd name="T33" fmla="*/ 6 h 26"/>
                  <a:gd name="T34" fmla="*/ 8 w 11"/>
                  <a:gd name="T35" fmla="*/ 2 h 26"/>
                  <a:gd name="T36" fmla="*/ 7 w 11"/>
                  <a:gd name="T37" fmla="*/ 0 h 26"/>
                  <a:gd name="T38" fmla="*/ 7 w 11"/>
                  <a:gd name="T39" fmla="*/ 0 h 26"/>
                  <a:gd name="T40" fmla="*/ 6 w 11"/>
                  <a:gd name="T41" fmla="*/ 1 h 26"/>
                  <a:gd name="T42" fmla="*/ 6 w 11"/>
                  <a:gd name="T43" fmla="*/ 1 h 26"/>
                  <a:gd name="T44" fmla="*/ 5 w 11"/>
                  <a:gd name="T45" fmla="*/ 3 h 26"/>
                  <a:gd name="T46" fmla="*/ 5 w 11"/>
                  <a:gd name="T47" fmla="*/ 4 h 26"/>
                  <a:gd name="T48" fmla="*/ 4 w 11"/>
                  <a:gd name="T49" fmla="*/ 6 h 26"/>
                  <a:gd name="T50" fmla="*/ 4 w 11"/>
                  <a:gd name="T51" fmla="*/ 7 h 26"/>
                  <a:gd name="T52" fmla="*/ 1 w 11"/>
                  <a:gd name="T53" fmla="*/ 8 h 26"/>
                  <a:gd name="T54" fmla="*/ 1 w 11"/>
                  <a:gd name="T55" fmla="*/ 8 h 26"/>
                  <a:gd name="T56" fmla="*/ 0 w 11"/>
                  <a:gd name="T57" fmla="*/ 8 h 26"/>
                  <a:gd name="T58" fmla="*/ 4 w 11"/>
                  <a:gd name="T59" fmla="*/ 15 h 26"/>
                  <a:gd name="T60" fmla="*/ 5 w 11"/>
                  <a:gd name="T61" fmla="*/ 13 h 26"/>
                  <a:gd name="T62" fmla="*/ 4 w 11"/>
                  <a:gd name="T63" fmla="*/ 15 h 26"/>
                  <a:gd name="T64" fmla="*/ 5 w 11"/>
                  <a:gd name="T65" fmla="*/ 18 h 26"/>
                  <a:gd name="T66" fmla="*/ 5 w 11"/>
                  <a:gd name="T67" fmla="*/ 20 h 26"/>
                  <a:gd name="T68" fmla="*/ 5 w 11"/>
                  <a:gd name="T69" fmla="*/ 21 h 26"/>
                  <a:gd name="T70" fmla="*/ 5 w 11"/>
                  <a:gd name="T71" fmla="*/ 23 h 26"/>
                  <a:gd name="T72" fmla="*/ 6 w 11"/>
                  <a:gd name="T7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26">
                    <a:moveTo>
                      <a:pt x="6" y="26"/>
                    </a:moveTo>
                    <a:cubicBezTo>
                      <a:pt x="6" y="26"/>
                      <a:pt x="6" y="26"/>
                      <a:pt x="6" y="26"/>
                    </a:cubicBezTo>
                    <a:cubicBezTo>
                      <a:pt x="6" y="25"/>
                      <a:pt x="6" y="25"/>
                      <a:pt x="6" y="25"/>
                    </a:cubicBezTo>
                    <a:cubicBezTo>
                      <a:pt x="6" y="25"/>
                      <a:pt x="6" y="25"/>
                      <a:pt x="6" y="25"/>
                    </a:cubicBezTo>
                    <a:cubicBezTo>
                      <a:pt x="7" y="25"/>
                      <a:pt x="7" y="24"/>
                      <a:pt x="8" y="23"/>
                    </a:cubicBezTo>
                    <a:cubicBezTo>
                      <a:pt x="8" y="23"/>
                      <a:pt x="8" y="22"/>
                      <a:pt x="8" y="22"/>
                    </a:cubicBezTo>
                    <a:cubicBezTo>
                      <a:pt x="10" y="20"/>
                      <a:pt x="10" y="20"/>
                      <a:pt x="10" y="20"/>
                    </a:cubicBezTo>
                    <a:cubicBezTo>
                      <a:pt x="11" y="22"/>
                      <a:pt x="11" y="22"/>
                      <a:pt x="11" y="22"/>
                    </a:cubicBezTo>
                    <a:cubicBezTo>
                      <a:pt x="11" y="22"/>
                      <a:pt x="11" y="23"/>
                      <a:pt x="11" y="23"/>
                    </a:cubicBezTo>
                    <a:cubicBezTo>
                      <a:pt x="11" y="19"/>
                      <a:pt x="11" y="19"/>
                      <a:pt x="11" y="19"/>
                    </a:cubicBezTo>
                    <a:cubicBezTo>
                      <a:pt x="10" y="17"/>
                      <a:pt x="10" y="17"/>
                      <a:pt x="10" y="17"/>
                    </a:cubicBezTo>
                    <a:cubicBezTo>
                      <a:pt x="10" y="12"/>
                      <a:pt x="10" y="12"/>
                      <a:pt x="10" y="12"/>
                    </a:cubicBezTo>
                    <a:cubicBezTo>
                      <a:pt x="10" y="11"/>
                      <a:pt x="10" y="10"/>
                      <a:pt x="9" y="9"/>
                    </a:cubicBezTo>
                    <a:cubicBezTo>
                      <a:pt x="9" y="9"/>
                      <a:pt x="9" y="9"/>
                      <a:pt x="9" y="9"/>
                    </a:cubicBezTo>
                    <a:cubicBezTo>
                      <a:pt x="9" y="8"/>
                      <a:pt x="8" y="7"/>
                      <a:pt x="8" y="6"/>
                    </a:cubicBezTo>
                    <a:cubicBezTo>
                      <a:pt x="8" y="6"/>
                      <a:pt x="8" y="6"/>
                      <a:pt x="8" y="6"/>
                    </a:cubicBezTo>
                    <a:cubicBezTo>
                      <a:pt x="8" y="6"/>
                      <a:pt x="8" y="6"/>
                      <a:pt x="8" y="6"/>
                    </a:cubicBezTo>
                    <a:cubicBezTo>
                      <a:pt x="8" y="4"/>
                      <a:pt x="8" y="3"/>
                      <a:pt x="8" y="2"/>
                    </a:cubicBezTo>
                    <a:cubicBezTo>
                      <a:pt x="8" y="2"/>
                      <a:pt x="8" y="1"/>
                      <a:pt x="7" y="0"/>
                    </a:cubicBezTo>
                    <a:cubicBezTo>
                      <a:pt x="7" y="0"/>
                      <a:pt x="7" y="0"/>
                      <a:pt x="7" y="0"/>
                    </a:cubicBezTo>
                    <a:cubicBezTo>
                      <a:pt x="7" y="0"/>
                      <a:pt x="7" y="1"/>
                      <a:pt x="6" y="1"/>
                    </a:cubicBezTo>
                    <a:cubicBezTo>
                      <a:pt x="6" y="1"/>
                      <a:pt x="6" y="1"/>
                      <a:pt x="6" y="1"/>
                    </a:cubicBezTo>
                    <a:cubicBezTo>
                      <a:pt x="6" y="1"/>
                      <a:pt x="6" y="2"/>
                      <a:pt x="5" y="3"/>
                    </a:cubicBezTo>
                    <a:cubicBezTo>
                      <a:pt x="5" y="3"/>
                      <a:pt x="5" y="4"/>
                      <a:pt x="5" y="4"/>
                    </a:cubicBezTo>
                    <a:cubicBezTo>
                      <a:pt x="5" y="5"/>
                      <a:pt x="5" y="5"/>
                      <a:pt x="4" y="6"/>
                    </a:cubicBezTo>
                    <a:cubicBezTo>
                      <a:pt x="4" y="7"/>
                      <a:pt x="4" y="7"/>
                      <a:pt x="4" y="7"/>
                    </a:cubicBezTo>
                    <a:cubicBezTo>
                      <a:pt x="3" y="8"/>
                      <a:pt x="2" y="8"/>
                      <a:pt x="1" y="8"/>
                    </a:cubicBezTo>
                    <a:cubicBezTo>
                      <a:pt x="1" y="8"/>
                      <a:pt x="1" y="8"/>
                      <a:pt x="1" y="8"/>
                    </a:cubicBezTo>
                    <a:cubicBezTo>
                      <a:pt x="0" y="8"/>
                      <a:pt x="0" y="8"/>
                      <a:pt x="0" y="8"/>
                    </a:cubicBezTo>
                    <a:cubicBezTo>
                      <a:pt x="1" y="10"/>
                      <a:pt x="2" y="12"/>
                      <a:pt x="4" y="15"/>
                    </a:cubicBezTo>
                    <a:cubicBezTo>
                      <a:pt x="4" y="14"/>
                      <a:pt x="4" y="14"/>
                      <a:pt x="5" y="13"/>
                    </a:cubicBezTo>
                    <a:cubicBezTo>
                      <a:pt x="4" y="14"/>
                      <a:pt x="4" y="14"/>
                      <a:pt x="4" y="15"/>
                    </a:cubicBezTo>
                    <a:cubicBezTo>
                      <a:pt x="4" y="16"/>
                      <a:pt x="4" y="17"/>
                      <a:pt x="5" y="18"/>
                    </a:cubicBezTo>
                    <a:cubicBezTo>
                      <a:pt x="5" y="19"/>
                      <a:pt x="5" y="19"/>
                      <a:pt x="5" y="20"/>
                    </a:cubicBezTo>
                    <a:cubicBezTo>
                      <a:pt x="5" y="20"/>
                      <a:pt x="5" y="20"/>
                      <a:pt x="5" y="21"/>
                    </a:cubicBezTo>
                    <a:cubicBezTo>
                      <a:pt x="6" y="22"/>
                      <a:pt x="5" y="23"/>
                      <a:pt x="5" y="23"/>
                    </a:cubicBezTo>
                    <a:cubicBezTo>
                      <a:pt x="6" y="24"/>
                      <a:pt x="6" y="25"/>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4" name="Freeform 3156">
                <a:extLst>
                  <a:ext uri="{FF2B5EF4-FFF2-40B4-BE49-F238E27FC236}">
                    <a16:creationId xmlns:a16="http://schemas.microsoft.com/office/drawing/2014/main" id="{5F977057-06F8-4AFB-B650-3D006E19E50F}"/>
                  </a:ext>
                </a:extLst>
              </p:cNvPr>
              <p:cNvSpPr>
                <a:spLocks/>
              </p:cNvSpPr>
              <p:nvPr/>
            </p:nvSpPr>
            <p:spPr bwMode="auto">
              <a:xfrm>
                <a:off x="5679" y="2128"/>
                <a:ext cx="97" cy="118"/>
              </a:xfrm>
              <a:custGeom>
                <a:avLst/>
                <a:gdLst>
                  <a:gd name="T0" fmla="*/ 30 w 41"/>
                  <a:gd name="T1" fmla="*/ 34 h 50"/>
                  <a:gd name="T2" fmla="*/ 30 w 41"/>
                  <a:gd name="T3" fmla="*/ 31 h 50"/>
                  <a:gd name="T4" fmla="*/ 29 w 41"/>
                  <a:gd name="T5" fmla="*/ 29 h 50"/>
                  <a:gd name="T6" fmla="*/ 29 w 41"/>
                  <a:gd name="T7" fmla="*/ 26 h 50"/>
                  <a:gd name="T8" fmla="*/ 34 w 41"/>
                  <a:gd name="T9" fmla="*/ 22 h 50"/>
                  <a:gd name="T10" fmla="*/ 34 w 41"/>
                  <a:gd name="T11" fmla="*/ 21 h 50"/>
                  <a:gd name="T12" fmla="*/ 36 w 41"/>
                  <a:gd name="T13" fmla="*/ 21 h 50"/>
                  <a:gd name="T14" fmla="*/ 38 w 41"/>
                  <a:gd name="T15" fmla="*/ 19 h 50"/>
                  <a:gd name="T16" fmla="*/ 39 w 41"/>
                  <a:gd name="T17" fmla="*/ 18 h 50"/>
                  <a:gd name="T18" fmla="*/ 40 w 41"/>
                  <a:gd name="T19" fmla="*/ 16 h 50"/>
                  <a:gd name="T20" fmla="*/ 41 w 41"/>
                  <a:gd name="T21" fmla="*/ 14 h 50"/>
                  <a:gd name="T22" fmla="*/ 37 w 41"/>
                  <a:gd name="T23" fmla="*/ 13 h 50"/>
                  <a:gd name="T24" fmla="*/ 30 w 41"/>
                  <a:gd name="T25" fmla="*/ 13 h 50"/>
                  <a:gd name="T26" fmla="*/ 26 w 41"/>
                  <a:gd name="T27" fmla="*/ 13 h 50"/>
                  <a:gd name="T28" fmla="*/ 25 w 41"/>
                  <a:gd name="T29" fmla="*/ 13 h 50"/>
                  <a:gd name="T30" fmla="*/ 22 w 41"/>
                  <a:gd name="T31" fmla="*/ 13 h 50"/>
                  <a:gd name="T32" fmla="*/ 21 w 41"/>
                  <a:gd name="T33" fmla="*/ 13 h 50"/>
                  <a:gd name="T34" fmla="*/ 18 w 41"/>
                  <a:gd name="T35" fmla="*/ 12 h 50"/>
                  <a:gd name="T36" fmla="*/ 15 w 41"/>
                  <a:gd name="T37" fmla="*/ 10 h 50"/>
                  <a:gd name="T38" fmla="*/ 15 w 41"/>
                  <a:gd name="T39" fmla="*/ 9 h 50"/>
                  <a:gd name="T40" fmla="*/ 15 w 41"/>
                  <a:gd name="T41" fmla="*/ 5 h 50"/>
                  <a:gd name="T42" fmla="*/ 10 w 41"/>
                  <a:gd name="T43" fmla="*/ 4 h 50"/>
                  <a:gd name="T44" fmla="*/ 6 w 41"/>
                  <a:gd name="T45" fmla="*/ 1 h 50"/>
                  <a:gd name="T46" fmla="*/ 3 w 41"/>
                  <a:gd name="T47" fmla="*/ 0 h 50"/>
                  <a:gd name="T48" fmla="*/ 1 w 41"/>
                  <a:gd name="T49" fmla="*/ 3 h 50"/>
                  <a:gd name="T50" fmla="*/ 1 w 41"/>
                  <a:gd name="T51" fmla="*/ 4 h 50"/>
                  <a:gd name="T52" fmla="*/ 3 w 41"/>
                  <a:gd name="T53" fmla="*/ 6 h 50"/>
                  <a:gd name="T54" fmla="*/ 5 w 41"/>
                  <a:gd name="T55" fmla="*/ 7 h 50"/>
                  <a:gd name="T56" fmla="*/ 8 w 41"/>
                  <a:gd name="T57" fmla="*/ 9 h 50"/>
                  <a:gd name="T58" fmla="*/ 9 w 41"/>
                  <a:gd name="T59" fmla="*/ 12 h 50"/>
                  <a:gd name="T60" fmla="*/ 7 w 41"/>
                  <a:gd name="T61" fmla="*/ 13 h 50"/>
                  <a:gd name="T62" fmla="*/ 2 w 41"/>
                  <a:gd name="T63" fmla="*/ 16 h 50"/>
                  <a:gd name="T64" fmla="*/ 0 w 41"/>
                  <a:gd name="T65" fmla="*/ 17 h 50"/>
                  <a:gd name="T66" fmla="*/ 1 w 41"/>
                  <a:gd name="T67" fmla="*/ 19 h 50"/>
                  <a:gd name="T68" fmla="*/ 3 w 41"/>
                  <a:gd name="T69" fmla="*/ 20 h 50"/>
                  <a:gd name="T70" fmla="*/ 4 w 41"/>
                  <a:gd name="T71" fmla="*/ 20 h 50"/>
                  <a:gd name="T72" fmla="*/ 7 w 41"/>
                  <a:gd name="T73" fmla="*/ 21 h 50"/>
                  <a:gd name="T74" fmla="*/ 6 w 41"/>
                  <a:gd name="T75" fmla="*/ 26 h 50"/>
                  <a:gd name="T76" fmla="*/ 6 w 41"/>
                  <a:gd name="T77" fmla="*/ 28 h 50"/>
                  <a:gd name="T78" fmla="*/ 7 w 41"/>
                  <a:gd name="T79" fmla="*/ 30 h 50"/>
                  <a:gd name="T80" fmla="*/ 6 w 41"/>
                  <a:gd name="T81" fmla="*/ 31 h 50"/>
                  <a:gd name="T82" fmla="*/ 7 w 41"/>
                  <a:gd name="T83" fmla="*/ 31 h 50"/>
                  <a:gd name="T84" fmla="*/ 9 w 41"/>
                  <a:gd name="T85" fmla="*/ 34 h 50"/>
                  <a:gd name="T86" fmla="*/ 8 w 41"/>
                  <a:gd name="T87" fmla="*/ 35 h 50"/>
                  <a:gd name="T88" fmla="*/ 9 w 41"/>
                  <a:gd name="T89" fmla="*/ 38 h 50"/>
                  <a:gd name="T90" fmla="*/ 9 w 41"/>
                  <a:gd name="T91" fmla="*/ 39 h 50"/>
                  <a:gd name="T92" fmla="*/ 10 w 41"/>
                  <a:gd name="T93" fmla="*/ 46 h 50"/>
                  <a:gd name="T94" fmla="*/ 11 w 41"/>
                  <a:gd name="T95" fmla="*/ 50 h 50"/>
                  <a:gd name="T96" fmla="*/ 13 w 41"/>
                  <a:gd name="T97" fmla="*/ 43 h 50"/>
                  <a:gd name="T98" fmla="*/ 14 w 41"/>
                  <a:gd name="T99" fmla="*/ 49 h 50"/>
                  <a:gd name="T100" fmla="*/ 18 w 41"/>
                  <a:gd name="T101" fmla="*/ 41 h 50"/>
                  <a:gd name="T102" fmla="*/ 19 w 41"/>
                  <a:gd name="T103" fmla="*/ 46 h 50"/>
                  <a:gd name="T104" fmla="*/ 21 w 41"/>
                  <a:gd name="T105" fmla="*/ 48 h 50"/>
                  <a:gd name="T106" fmla="*/ 22 w 41"/>
                  <a:gd name="T107" fmla="*/ 38 h 50"/>
                  <a:gd name="T108" fmla="*/ 21 w 41"/>
                  <a:gd name="T109" fmla="*/ 31 h 50"/>
                  <a:gd name="T110" fmla="*/ 23 w 41"/>
                  <a:gd name="T111" fmla="*/ 30 h 50"/>
                  <a:gd name="T112" fmla="*/ 24 w 41"/>
                  <a:gd name="T113" fmla="*/ 30 h 50"/>
                  <a:gd name="T114" fmla="*/ 25 w 41"/>
                  <a:gd name="T115" fmla="*/ 35 h 50"/>
                  <a:gd name="T116" fmla="*/ 33 w 41"/>
                  <a:gd name="T117"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 h="50">
                    <a:moveTo>
                      <a:pt x="33" y="36"/>
                    </a:moveTo>
                    <a:cubicBezTo>
                      <a:pt x="32" y="36"/>
                      <a:pt x="32" y="36"/>
                      <a:pt x="32" y="36"/>
                    </a:cubicBezTo>
                    <a:cubicBezTo>
                      <a:pt x="31" y="36"/>
                      <a:pt x="31" y="35"/>
                      <a:pt x="30" y="34"/>
                    </a:cubicBezTo>
                    <a:cubicBezTo>
                      <a:pt x="30" y="33"/>
                      <a:pt x="30" y="33"/>
                      <a:pt x="30" y="32"/>
                    </a:cubicBezTo>
                    <a:cubicBezTo>
                      <a:pt x="30" y="32"/>
                      <a:pt x="30" y="31"/>
                      <a:pt x="30" y="31"/>
                    </a:cubicBezTo>
                    <a:cubicBezTo>
                      <a:pt x="30" y="31"/>
                      <a:pt x="30" y="31"/>
                      <a:pt x="30" y="31"/>
                    </a:cubicBezTo>
                    <a:cubicBezTo>
                      <a:pt x="30" y="31"/>
                      <a:pt x="30" y="30"/>
                      <a:pt x="29" y="30"/>
                    </a:cubicBezTo>
                    <a:cubicBezTo>
                      <a:pt x="29" y="30"/>
                      <a:pt x="29" y="30"/>
                      <a:pt x="29" y="30"/>
                    </a:cubicBezTo>
                    <a:cubicBezTo>
                      <a:pt x="29" y="30"/>
                      <a:pt x="29" y="29"/>
                      <a:pt x="29" y="29"/>
                    </a:cubicBezTo>
                    <a:cubicBezTo>
                      <a:pt x="29" y="29"/>
                      <a:pt x="29" y="29"/>
                      <a:pt x="29" y="29"/>
                    </a:cubicBezTo>
                    <a:cubicBezTo>
                      <a:pt x="29" y="28"/>
                      <a:pt x="29" y="27"/>
                      <a:pt x="29" y="27"/>
                    </a:cubicBezTo>
                    <a:cubicBezTo>
                      <a:pt x="29" y="26"/>
                      <a:pt x="29" y="26"/>
                      <a:pt x="29" y="26"/>
                    </a:cubicBezTo>
                    <a:cubicBezTo>
                      <a:pt x="29" y="25"/>
                      <a:pt x="29" y="25"/>
                      <a:pt x="29" y="25"/>
                    </a:cubicBezTo>
                    <a:cubicBezTo>
                      <a:pt x="30" y="25"/>
                      <a:pt x="30" y="25"/>
                      <a:pt x="30" y="25"/>
                    </a:cubicBezTo>
                    <a:cubicBezTo>
                      <a:pt x="34" y="22"/>
                      <a:pt x="34" y="22"/>
                      <a:pt x="34" y="22"/>
                    </a:cubicBezTo>
                    <a:cubicBezTo>
                      <a:pt x="34" y="21"/>
                      <a:pt x="34" y="21"/>
                      <a:pt x="34" y="21"/>
                    </a:cubicBezTo>
                    <a:cubicBezTo>
                      <a:pt x="34" y="21"/>
                      <a:pt x="34" y="21"/>
                      <a:pt x="34" y="21"/>
                    </a:cubicBezTo>
                    <a:cubicBezTo>
                      <a:pt x="34" y="21"/>
                      <a:pt x="34" y="21"/>
                      <a:pt x="34" y="21"/>
                    </a:cubicBezTo>
                    <a:cubicBezTo>
                      <a:pt x="34" y="21"/>
                      <a:pt x="34" y="21"/>
                      <a:pt x="34" y="21"/>
                    </a:cubicBezTo>
                    <a:cubicBezTo>
                      <a:pt x="35" y="21"/>
                      <a:pt x="35" y="21"/>
                      <a:pt x="36" y="21"/>
                    </a:cubicBezTo>
                    <a:cubicBezTo>
                      <a:pt x="36" y="21"/>
                      <a:pt x="36" y="21"/>
                      <a:pt x="36" y="21"/>
                    </a:cubicBezTo>
                    <a:cubicBezTo>
                      <a:pt x="37" y="20"/>
                      <a:pt x="37" y="20"/>
                      <a:pt x="37" y="20"/>
                    </a:cubicBezTo>
                    <a:cubicBezTo>
                      <a:pt x="36" y="17"/>
                      <a:pt x="36" y="17"/>
                      <a:pt x="36" y="17"/>
                    </a:cubicBezTo>
                    <a:cubicBezTo>
                      <a:pt x="38" y="19"/>
                      <a:pt x="38" y="19"/>
                      <a:pt x="38" y="19"/>
                    </a:cubicBezTo>
                    <a:cubicBezTo>
                      <a:pt x="38" y="19"/>
                      <a:pt x="38" y="19"/>
                      <a:pt x="38" y="19"/>
                    </a:cubicBezTo>
                    <a:cubicBezTo>
                      <a:pt x="38" y="19"/>
                      <a:pt x="39" y="18"/>
                      <a:pt x="39" y="18"/>
                    </a:cubicBezTo>
                    <a:cubicBezTo>
                      <a:pt x="39" y="18"/>
                      <a:pt x="39" y="18"/>
                      <a:pt x="39" y="18"/>
                    </a:cubicBezTo>
                    <a:cubicBezTo>
                      <a:pt x="39" y="18"/>
                      <a:pt x="39" y="18"/>
                      <a:pt x="39" y="18"/>
                    </a:cubicBezTo>
                    <a:cubicBezTo>
                      <a:pt x="39" y="18"/>
                      <a:pt x="40" y="17"/>
                      <a:pt x="40" y="16"/>
                    </a:cubicBezTo>
                    <a:cubicBezTo>
                      <a:pt x="40" y="16"/>
                      <a:pt x="40" y="16"/>
                      <a:pt x="40" y="16"/>
                    </a:cubicBezTo>
                    <a:cubicBezTo>
                      <a:pt x="41" y="14"/>
                      <a:pt x="41" y="14"/>
                      <a:pt x="41" y="14"/>
                    </a:cubicBezTo>
                    <a:cubicBezTo>
                      <a:pt x="41" y="14"/>
                      <a:pt x="41" y="14"/>
                      <a:pt x="41" y="14"/>
                    </a:cubicBezTo>
                    <a:cubicBezTo>
                      <a:pt x="41" y="14"/>
                      <a:pt x="41" y="14"/>
                      <a:pt x="41" y="14"/>
                    </a:cubicBezTo>
                    <a:cubicBezTo>
                      <a:pt x="40" y="14"/>
                      <a:pt x="40" y="13"/>
                      <a:pt x="40" y="13"/>
                    </a:cubicBezTo>
                    <a:cubicBezTo>
                      <a:pt x="39" y="13"/>
                      <a:pt x="38" y="13"/>
                      <a:pt x="38" y="13"/>
                    </a:cubicBezTo>
                    <a:cubicBezTo>
                      <a:pt x="37" y="13"/>
                      <a:pt x="37" y="13"/>
                      <a:pt x="37" y="13"/>
                    </a:cubicBezTo>
                    <a:cubicBezTo>
                      <a:pt x="37" y="13"/>
                      <a:pt x="36" y="13"/>
                      <a:pt x="35" y="13"/>
                    </a:cubicBezTo>
                    <a:cubicBezTo>
                      <a:pt x="34" y="13"/>
                      <a:pt x="32" y="13"/>
                      <a:pt x="30" y="13"/>
                    </a:cubicBezTo>
                    <a:cubicBezTo>
                      <a:pt x="30" y="13"/>
                      <a:pt x="30" y="13"/>
                      <a:pt x="30" y="13"/>
                    </a:cubicBezTo>
                    <a:cubicBezTo>
                      <a:pt x="29" y="13"/>
                      <a:pt x="28" y="13"/>
                      <a:pt x="27" y="13"/>
                    </a:cubicBezTo>
                    <a:cubicBezTo>
                      <a:pt x="27" y="13"/>
                      <a:pt x="27" y="13"/>
                      <a:pt x="27" y="13"/>
                    </a:cubicBezTo>
                    <a:cubicBezTo>
                      <a:pt x="27" y="13"/>
                      <a:pt x="27" y="13"/>
                      <a:pt x="26" y="13"/>
                    </a:cubicBezTo>
                    <a:cubicBezTo>
                      <a:pt x="26" y="13"/>
                      <a:pt x="26" y="13"/>
                      <a:pt x="26" y="13"/>
                    </a:cubicBezTo>
                    <a:cubicBezTo>
                      <a:pt x="25" y="13"/>
                      <a:pt x="25" y="13"/>
                      <a:pt x="25" y="13"/>
                    </a:cubicBezTo>
                    <a:cubicBezTo>
                      <a:pt x="25" y="13"/>
                      <a:pt x="25" y="13"/>
                      <a:pt x="25" y="13"/>
                    </a:cubicBezTo>
                    <a:cubicBezTo>
                      <a:pt x="25" y="13"/>
                      <a:pt x="25" y="13"/>
                      <a:pt x="24" y="13"/>
                    </a:cubicBezTo>
                    <a:cubicBezTo>
                      <a:pt x="24" y="13"/>
                      <a:pt x="24" y="13"/>
                      <a:pt x="24" y="13"/>
                    </a:cubicBezTo>
                    <a:cubicBezTo>
                      <a:pt x="24" y="13"/>
                      <a:pt x="23" y="13"/>
                      <a:pt x="22" y="13"/>
                    </a:cubicBezTo>
                    <a:cubicBezTo>
                      <a:pt x="22" y="13"/>
                      <a:pt x="22" y="13"/>
                      <a:pt x="22" y="13"/>
                    </a:cubicBezTo>
                    <a:cubicBezTo>
                      <a:pt x="22" y="13"/>
                      <a:pt x="22" y="13"/>
                      <a:pt x="21" y="13"/>
                    </a:cubicBezTo>
                    <a:cubicBezTo>
                      <a:pt x="21" y="13"/>
                      <a:pt x="21" y="13"/>
                      <a:pt x="21" y="13"/>
                    </a:cubicBezTo>
                    <a:cubicBezTo>
                      <a:pt x="21" y="13"/>
                      <a:pt x="20" y="13"/>
                      <a:pt x="20" y="13"/>
                    </a:cubicBezTo>
                    <a:cubicBezTo>
                      <a:pt x="19" y="13"/>
                      <a:pt x="19" y="12"/>
                      <a:pt x="18" y="12"/>
                    </a:cubicBezTo>
                    <a:cubicBezTo>
                      <a:pt x="18" y="12"/>
                      <a:pt x="18" y="12"/>
                      <a:pt x="18" y="12"/>
                    </a:cubicBezTo>
                    <a:cubicBezTo>
                      <a:pt x="18" y="12"/>
                      <a:pt x="17" y="12"/>
                      <a:pt x="17" y="12"/>
                    </a:cubicBezTo>
                    <a:cubicBezTo>
                      <a:pt x="17" y="12"/>
                      <a:pt x="17" y="12"/>
                      <a:pt x="16" y="11"/>
                    </a:cubicBezTo>
                    <a:cubicBezTo>
                      <a:pt x="16" y="11"/>
                      <a:pt x="15" y="11"/>
                      <a:pt x="15" y="10"/>
                    </a:cubicBezTo>
                    <a:cubicBezTo>
                      <a:pt x="14" y="10"/>
                      <a:pt x="14" y="10"/>
                      <a:pt x="14" y="10"/>
                    </a:cubicBezTo>
                    <a:cubicBezTo>
                      <a:pt x="15" y="10"/>
                      <a:pt x="15" y="10"/>
                      <a:pt x="15" y="10"/>
                    </a:cubicBezTo>
                    <a:cubicBezTo>
                      <a:pt x="15" y="9"/>
                      <a:pt x="15" y="9"/>
                      <a:pt x="15" y="9"/>
                    </a:cubicBezTo>
                    <a:cubicBezTo>
                      <a:pt x="15" y="9"/>
                      <a:pt x="15" y="8"/>
                      <a:pt x="15" y="7"/>
                    </a:cubicBezTo>
                    <a:cubicBezTo>
                      <a:pt x="15" y="6"/>
                      <a:pt x="15" y="6"/>
                      <a:pt x="15" y="6"/>
                    </a:cubicBezTo>
                    <a:cubicBezTo>
                      <a:pt x="15" y="6"/>
                      <a:pt x="15" y="6"/>
                      <a:pt x="15" y="5"/>
                    </a:cubicBezTo>
                    <a:cubicBezTo>
                      <a:pt x="15" y="5"/>
                      <a:pt x="15" y="4"/>
                      <a:pt x="15" y="3"/>
                    </a:cubicBezTo>
                    <a:cubicBezTo>
                      <a:pt x="14" y="4"/>
                      <a:pt x="12" y="4"/>
                      <a:pt x="11" y="4"/>
                    </a:cubicBezTo>
                    <a:cubicBezTo>
                      <a:pt x="10" y="4"/>
                      <a:pt x="10" y="4"/>
                      <a:pt x="10" y="4"/>
                    </a:cubicBezTo>
                    <a:cubicBezTo>
                      <a:pt x="10" y="3"/>
                      <a:pt x="9" y="2"/>
                      <a:pt x="9" y="1"/>
                    </a:cubicBezTo>
                    <a:cubicBezTo>
                      <a:pt x="8" y="1"/>
                      <a:pt x="8" y="1"/>
                      <a:pt x="8" y="1"/>
                    </a:cubicBezTo>
                    <a:cubicBezTo>
                      <a:pt x="7" y="1"/>
                      <a:pt x="7" y="1"/>
                      <a:pt x="6" y="1"/>
                    </a:cubicBezTo>
                    <a:cubicBezTo>
                      <a:pt x="5" y="1"/>
                      <a:pt x="5" y="1"/>
                      <a:pt x="5" y="1"/>
                    </a:cubicBezTo>
                    <a:cubicBezTo>
                      <a:pt x="5" y="1"/>
                      <a:pt x="4" y="1"/>
                      <a:pt x="4" y="0"/>
                    </a:cubicBezTo>
                    <a:cubicBezTo>
                      <a:pt x="3" y="0"/>
                      <a:pt x="3" y="0"/>
                      <a:pt x="3" y="0"/>
                    </a:cubicBezTo>
                    <a:cubicBezTo>
                      <a:pt x="3" y="0"/>
                      <a:pt x="2" y="1"/>
                      <a:pt x="1" y="3"/>
                    </a:cubicBezTo>
                    <a:cubicBezTo>
                      <a:pt x="1" y="3"/>
                      <a:pt x="1" y="3"/>
                      <a:pt x="1" y="3"/>
                    </a:cubicBezTo>
                    <a:cubicBezTo>
                      <a:pt x="1" y="3"/>
                      <a:pt x="1" y="3"/>
                      <a:pt x="1" y="3"/>
                    </a:cubicBezTo>
                    <a:cubicBezTo>
                      <a:pt x="0" y="3"/>
                      <a:pt x="0" y="3"/>
                      <a:pt x="0" y="3"/>
                    </a:cubicBezTo>
                    <a:cubicBezTo>
                      <a:pt x="0" y="3"/>
                      <a:pt x="0" y="3"/>
                      <a:pt x="0" y="4"/>
                    </a:cubicBezTo>
                    <a:cubicBezTo>
                      <a:pt x="1" y="4"/>
                      <a:pt x="1" y="4"/>
                      <a:pt x="1" y="4"/>
                    </a:cubicBezTo>
                    <a:cubicBezTo>
                      <a:pt x="1" y="4"/>
                      <a:pt x="1" y="4"/>
                      <a:pt x="1" y="4"/>
                    </a:cubicBezTo>
                    <a:cubicBezTo>
                      <a:pt x="2" y="4"/>
                      <a:pt x="3" y="5"/>
                      <a:pt x="3" y="6"/>
                    </a:cubicBezTo>
                    <a:cubicBezTo>
                      <a:pt x="3" y="6"/>
                      <a:pt x="3" y="6"/>
                      <a:pt x="3" y="6"/>
                    </a:cubicBezTo>
                    <a:cubicBezTo>
                      <a:pt x="3" y="6"/>
                      <a:pt x="3" y="6"/>
                      <a:pt x="4" y="6"/>
                    </a:cubicBezTo>
                    <a:cubicBezTo>
                      <a:pt x="4" y="7"/>
                      <a:pt x="4" y="7"/>
                      <a:pt x="4" y="7"/>
                    </a:cubicBezTo>
                    <a:cubicBezTo>
                      <a:pt x="5" y="7"/>
                      <a:pt x="5" y="7"/>
                      <a:pt x="5" y="7"/>
                    </a:cubicBezTo>
                    <a:cubicBezTo>
                      <a:pt x="5" y="7"/>
                      <a:pt x="5" y="7"/>
                      <a:pt x="6" y="7"/>
                    </a:cubicBezTo>
                    <a:cubicBezTo>
                      <a:pt x="7" y="7"/>
                      <a:pt x="7" y="8"/>
                      <a:pt x="7" y="9"/>
                    </a:cubicBezTo>
                    <a:cubicBezTo>
                      <a:pt x="7" y="9"/>
                      <a:pt x="7" y="9"/>
                      <a:pt x="8" y="9"/>
                    </a:cubicBezTo>
                    <a:cubicBezTo>
                      <a:pt x="8" y="9"/>
                      <a:pt x="8" y="9"/>
                      <a:pt x="8" y="9"/>
                    </a:cubicBezTo>
                    <a:cubicBezTo>
                      <a:pt x="11" y="10"/>
                      <a:pt x="11" y="10"/>
                      <a:pt x="11" y="10"/>
                    </a:cubicBezTo>
                    <a:cubicBezTo>
                      <a:pt x="9" y="12"/>
                      <a:pt x="9" y="12"/>
                      <a:pt x="9" y="12"/>
                    </a:cubicBezTo>
                    <a:cubicBezTo>
                      <a:pt x="9" y="12"/>
                      <a:pt x="9" y="12"/>
                      <a:pt x="9" y="12"/>
                    </a:cubicBezTo>
                    <a:cubicBezTo>
                      <a:pt x="9" y="13"/>
                      <a:pt x="9" y="13"/>
                      <a:pt x="9" y="13"/>
                    </a:cubicBezTo>
                    <a:cubicBezTo>
                      <a:pt x="7" y="13"/>
                      <a:pt x="7" y="13"/>
                      <a:pt x="7" y="13"/>
                    </a:cubicBezTo>
                    <a:cubicBezTo>
                      <a:pt x="7" y="13"/>
                      <a:pt x="6" y="13"/>
                      <a:pt x="6" y="13"/>
                    </a:cubicBezTo>
                    <a:cubicBezTo>
                      <a:pt x="4" y="13"/>
                      <a:pt x="3" y="13"/>
                      <a:pt x="3" y="14"/>
                    </a:cubicBezTo>
                    <a:cubicBezTo>
                      <a:pt x="3" y="15"/>
                      <a:pt x="2" y="16"/>
                      <a:pt x="2" y="16"/>
                    </a:cubicBezTo>
                    <a:cubicBezTo>
                      <a:pt x="1" y="16"/>
                      <a:pt x="1" y="16"/>
                      <a:pt x="1" y="16"/>
                    </a:cubicBezTo>
                    <a:cubicBezTo>
                      <a:pt x="1" y="16"/>
                      <a:pt x="1" y="16"/>
                      <a:pt x="0" y="16"/>
                    </a:cubicBezTo>
                    <a:cubicBezTo>
                      <a:pt x="0" y="17"/>
                      <a:pt x="0" y="17"/>
                      <a:pt x="0" y="17"/>
                    </a:cubicBezTo>
                    <a:cubicBezTo>
                      <a:pt x="0" y="17"/>
                      <a:pt x="0" y="18"/>
                      <a:pt x="0" y="18"/>
                    </a:cubicBezTo>
                    <a:cubicBezTo>
                      <a:pt x="0" y="18"/>
                      <a:pt x="1" y="18"/>
                      <a:pt x="1" y="18"/>
                    </a:cubicBezTo>
                    <a:cubicBezTo>
                      <a:pt x="1" y="19"/>
                      <a:pt x="1" y="19"/>
                      <a:pt x="1" y="19"/>
                    </a:cubicBezTo>
                    <a:cubicBezTo>
                      <a:pt x="1" y="19"/>
                      <a:pt x="2" y="19"/>
                      <a:pt x="2" y="19"/>
                    </a:cubicBezTo>
                    <a:cubicBezTo>
                      <a:pt x="2" y="19"/>
                      <a:pt x="3" y="19"/>
                      <a:pt x="3" y="19"/>
                    </a:cubicBezTo>
                    <a:cubicBezTo>
                      <a:pt x="3" y="20"/>
                      <a:pt x="3" y="20"/>
                      <a:pt x="3" y="20"/>
                    </a:cubicBezTo>
                    <a:cubicBezTo>
                      <a:pt x="3" y="20"/>
                      <a:pt x="3" y="20"/>
                      <a:pt x="3" y="20"/>
                    </a:cubicBezTo>
                    <a:cubicBezTo>
                      <a:pt x="4" y="18"/>
                      <a:pt x="4" y="18"/>
                      <a:pt x="4" y="18"/>
                    </a:cubicBezTo>
                    <a:cubicBezTo>
                      <a:pt x="4" y="20"/>
                      <a:pt x="4" y="20"/>
                      <a:pt x="4" y="20"/>
                    </a:cubicBezTo>
                    <a:cubicBezTo>
                      <a:pt x="4" y="20"/>
                      <a:pt x="4" y="20"/>
                      <a:pt x="4" y="20"/>
                    </a:cubicBezTo>
                    <a:cubicBezTo>
                      <a:pt x="4" y="20"/>
                      <a:pt x="5" y="20"/>
                      <a:pt x="5" y="20"/>
                    </a:cubicBezTo>
                    <a:cubicBezTo>
                      <a:pt x="6" y="20"/>
                      <a:pt x="6" y="21"/>
                      <a:pt x="7" y="21"/>
                    </a:cubicBezTo>
                    <a:cubicBezTo>
                      <a:pt x="7" y="22"/>
                      <a:pt x="7" y="22"/>
                      <a:pt x="7" y="23"/>
                    </a:cubicBezTo>
                    <a:cubicBezTo>
                      <a:pt x="7" y="25"/>
                      <a:pt x="7" y="25"/>
                      <a:pt x="6" y="25"/>
                    </a:cubicBezTo>
                    <a:cubicBezTo>
                      <a:pt x="6" y="26"/>
                      <a:pt x="6" y="26"/>
                      <a:pt x="6" y="26"/>
                    </a:cubicBezTo>
                    <a:cubicBezTo>
                      <a:pt x="6" y="26"/>
                      <a:pt x="6" y="26"/>
                      <a:pt x="6" y="26"/>
                    </a:cubicBezTo>
                    <a:cubicBezTo>
                      <a:pt x="6" y="27"/>
                      <a:pt x="6" y="27"/>
                      <a:pt x="6" y="27"/>
                    </a:cubicBezTo>
                    <a:cubicBezTo>
                      <a:pt x="5" y="28"/>
                      <a:pt x="5" y="28"/>
                      <a:pt x="6" y="28"/>
                    </a:cubicBezTo>
                    <a:cubicBezTo>
                      <a:pt x="6" y="29"/>
                      <a:pt x="6" y="29"/>
                      <a:pt x="7" y="29"/>
                    </a:cubicBezTo>
                    <a:cubicBezTo>
                      <a:pt x="7" y="29"/>
                      <a:pt x="7" y="29"/>
                      <a:pt x="7" y="29"/>
                    </a:cubicBezTo>
                    <a:cubicBezTo>
                      <a:pt x="7" y="30"/>
                      <a:pt x="7" y="30"/>
                      <a:pt x="7" y="30"/>
                    </a:cubicBezTo>
                    <a:cubicBezTo>
                      <a:pt x="7" y="30"/>
                      <a:pt x="7" y="30"/>
                      <a:pt x="7" y="30"/>
                    </a:cubicBezTo>
                    <a:cubicBezTo>
                      <a:pt x="7" y="31"/>
                      <a:pt x="7" y="31"/>
                      <a:pt x="7" y="31"/>
                    </a:cubicBezTo>
                    <a:cubicBezTo>
                      <a:pt x="6" y="31"/>
                      <a:pt x="6" y="31"/>
                      <a:pt x="6" y="31"/>
                    </a:cubicBezTo>
                    <a:cubicBezTo>
                      <a:pt x="7" y="31"/>
                      <a:pt x="7" y="31"/>
                      <a:pt x="7" y="31"/>
                    </a:cubicBezTo>
                    <a:cubicBezTo>
                      <a:pt x="7" y="31"/>
                      <a:pt x="7" y="31"/>
                      <a:pt x="7" y="31"/>
                    </a:cubicBezTo>
                    <a:cubicBezTo>
                      <a:pt x="7" y="31"/>
                      <a:pt x="7" y="31"/>
                      <a:pt x="7" y="31"/>
                    </a:cubicBezTo>
                    <a:cubicBezTo>
                      <a:pt x="8" y="32"/>
                      <a:pt x="8" y="32"/>
                      <a:pt x="8" y="32"/>
                    </a:cubicBezTo>
                    <a:cubicBezTo>
                      <a:pt x="8" y="32"/>
                      <a:pt x="8" y="33"/>
                      <a:pt x="9" y="33"/>
                    </a:cubicBezTo>
                    <a:cubicBezTo>
                      <a:pt x="9" y="33"/>
                      <a:pt x="9" y="34"/>
                      <a:pt x="9" y="34"/>
                    </a:cubicBezTo>
                    <a:cubicBezTo>
                      <a:pt x="9" y="34"/>
                      <a:pt x="9" y="34"/>
                      <a:pt x="9" y="34"/>
                    </a:cubicBezTo>
                    <a:cubicBezTo>
                      <a:pt x="9" y="35"/>
                      <a:pt x="9" y="35"/>
                      <a:pt x="9" y="35"/>
                    </a:cubicBezTo>
                    <a:cubicBezTo>
                      <a:pt x="9" y="35"/>
                      <a:pt x="8" y="35"/>
                      <a:pt x="8" y="35"/>
                    </a:cubicBezTo>
                    <a:cubicBezTo>
                      <a:pt x="8" y="36"/>
                      <a:pt x="8" y="36"/>
                      <a:pt x="9" y="36"/>
                    </a:cubicBezTo>
                    <a:cubicBezTo>
                      <a:pt x="9" y="37"/>
                      <a:pt x="9" y="37"/>
                      <a:pt x="9" y="38"/>
                    </a:cubicBezTo>
                    <a:cubicBezTo>
                      <a:pt x="9" y="38"/>
                      <a:pt x="9" y="38"/>
                      <a:pt x="9" y="38"/>
                    </a:cubicBezTo>
                    <a:cubicBezTo>
                      <a:pt x="9" y="38"/>
                      <a:pt x="9" y="38"/>
                      <a:pt x="9" y="38"/>
                    </a:cubicBezTo>
                    <a:cubicBezTo>
                      <a:pt x="9" y="38"/>
                      <a:pt x="9" y="38"/>
                      <a:pt x="9" y="38"/>
                    </a:cubicBezTo>
                    <a:cubicBezTo>
                      <a:pt x="9" y="39"/>
                      <a:pt x="9" y="39"/>
                      <a:pt x="9" y="39"/>
                    </a:cubicBezTo>
                    <a:cubicBezTo>
                      <a:pt x="9" y="42"/>
                      <a:pt x="9" y="42"/>
                      <a:pt x="9" y="42"/>
                    </a:cubicBezTo>
                    <a:cubicBezTo>
                      <a:pt x="10" y="43"/>
                      <a:pt x="10" y="44"/>
                      <a:pt x="10" y="44"/>
                    </a:cubicBezTo>
                    <a:cubicBezTo>
                      <a:pt x="10" y="45"/>
                      <a:pt x="10" y="45"/>
                      <a:pt x="10" y="46"/>
                    </a:cubicBezTo>
                    <a:cubicBezTo>
                      <a:pt x="10" y="47"/>
                      <a:pt x="10" y="47"/>
                      <a:pt x="10" y="47"/>
                    </a:cubicBezTo>
                    <a:cubicBezTo>
                      <a:pt x="9" y="47"/>
                      <a:pt x="9" y="47"/>
                      <a:pt x="9" y="47"/>
                    </a:cubicBezTo>
                    <a:cubicBezTo>
                      <a:pt x="9" y="49"/>
                      <a:pt x="10" y="50"/>
                      <a:pt x="11" y="50"/>
                    </a:cubicBezTo>
                    <a:cubicBezTo>
                      <a:pt x="11" y="50"/>
                      <a:pt x="11" y="47"/>
                      <a:pt x="12" y="46"/>
                    </a:cubicBezTo>
                    <a:cubicBezTo>
                      <a:pt x="12" y="47"/>
                      <a:pt x="12" y="48"/>
                      <a:pt x="12" y="49"/>
                    </a:cubicBezTo>
                    <a:cubicBezTo>
                      <a:pt x="14" y="48"/>
                      <a:pt x="13" y="45"/>
                      <a:pt x="13" y="43"/>
                    </a:cubicBezTo>
                    <a:cubicBezTo>
                      <a:pt x="13" y="44"/>
                      <a:pt x="13" y="45"/>
                      <a:pt x="14" y="46"/>
                    </a:cubicBezTo>
                    <a:cubicBezTo>
                      <a:pt x="14" y="45"/>
                      <a:pt x="14" y="44"/>
                      <a:pt x="14" y="42"/>
                    </a:cubicBezTo>
                    <a:cubicBezTo>
                      <a:pt x="14" y="44"/>
                      <a:pt x="13" y="47"/>
                      <a:pt x="14" y="49"/>
                    </a:cubicBezTo>
                    <a:cubicBezTo>
                      <a:pt x="14" y="48"/>
                      <a:pt x="14" y="47"/>
                      <a:pt x="15" y="47"/>
                    </a:cubicBezTo>
                    <a:cubicBezTo>
                      <a:pt x="16" y="48"/>
                      <a:pt x="17" y="48"/>
                      <a:pt x="17" y="46"/>
                    </a:cubicBezTo>
                    <a:cubicBezTo>
                      <a:pt x="17" y="44"/>
                      <a:pt x="17" y="43"/>
                      <a:pt x="18" y="41"/>
                    </a:cubicBezTo>
                    <a:cubicBezTo>
                      <a:pt x="17" y="43"/>
                      <a:pt x="17" y="45"/>
                      <a:pt x="18" y="46"/>
                    </a:cubicBezTo>
                    <a:cubicBezTo>
                      <a:pt x="18" y="45"/>
                      <a:pt x="18" y="45"/>
                      <a:pt x="19" y="44"/>
                    </a:cubicBezTo>
                    <a:cubicBezTo>
                      <a:pt x="19" y="45"/>
                      <a:pt x="19" y="46"/>
                      <a:pt x="19" y="46"/>
                    </a:cubicBezTo>
                    <a:cubicBezTo>
                      <a:pt x="19" y="45"/>
                      <a:pt x="20" y="45"/>
                      <a:pt x="21" y="44"/>
                    </a:cubicBezTo>
                    <a:cubicBezTo>
                      <a:pt x="20" y="45"/>
                      <a:pt x="19" y="46"/>
                      <a:pt x="20" y="47"/>
                    </a:cubicBezTo>
                    <a:cubicBezTo>
                      <a:pt x="20" y="48"/>
                      <a:pt x="20" y="48"/>
                      <a:pt x="21" y="48"/>
                    </a:cubicBezTo>
                    <a:cubicBezTo>
                      <a:pt x="22" y="47"/>
                      <a:pt x="22" y="44"/>
                      <a:pt x="22" y="43"/>
                    </a:cubicBezTo>
                    <a:cubicBezTo>
                      <a:pt x="25" y="47"/>
                      <a:pt x="24" y="38"/>
                      <a:pt x="23" y="40"/>
                    </a:cubicBezTo>
                    <a:cubicBezTo>
                      <a:pt x="23" y="39"/>
                      <a:pt x="23" y="39"/>
                      <a:pt x="22" y="38"/>
                    </a:cubicBezTo>
                    <a:cubicBezTo>
                      <a:pt x="22" y="38"/>
                      <a:pt x="24" y="37"/>
                      <a:pt x="24" y="36"/>
                    </a:cubicBezTo>
                    <a:cubicBezTo>
                      <a:pt x="23" y="35"/>
                      <a:pt x="23" y="35"/>
                      <a:pt x="24" y="34"/>
                    </a:cubicBezTo>
                    <a:cubicBezTo>
                      <a:pt x="25" y="33"/>
                      <a:pt x="21" y="31"/>
                      <a:pt x="21" y="31"/>
                    </a:cubicBezTo>
                    <a:cubicBezTo>
                      <a:pt x="21" y="30"/>
                      <a:pt x="21" y="30"/>
                      <a:pt x="21" y="30"/>
                    </a:cubicBezTo>
                    <a:cubicBezTo>
                      <a:pt x="21" y="31"/>
                      <a:pt x="22" y="31"/>
                      <a:pt x="23" y="31"/>
                    </a:cubicBezTo>
                    <a:cubicBezTo>
                      <a:pt x="23" y="31"/>
                      <a:pt x="23" y="30"/>
                      <a:pt x="23" y="30"/>
                    </a:cubicBezTo>
                    <a:cubicBezTo>
                      <a:pt x="23" y="29"/>
                      <a:pt x="23" y="29"/>
                      <a:pt x="23" y="29"/>
                    </a:cubicBezTo>
                    <a:cubicBezTo>
                      <a:pt x="25" y="29"/>
                      <a:pt x="25" y="29"/>
                      <a:pt x="25" y="29"/>
                    </a:cubicBezTo>
                    <a:cubicBezTo>
                      <a:pt x="25" y="29"/>
                      <a:pt x="25" y="30"/>
                      <a:pt x="24" y="30"/>
                    </a:cubicBezTo>
                    <a:cubicBezTo>
                      <a:pt x="25" y="30"/>
                      <a:pt x="25" y="30"/>
                      <a:pt x="25" y="29"/>
                    </a:cubicBezTo>
                    <a:cubicBezTo>
                      <a:pt x="25" y="30"/>
                      <a:pt x="25" y="31"/>
                      <a:pt x="24" y="32"/>
                    </a:cubicBezTo>
                    <a:cubicBezTo>
                      <a:pt x="25" y="32"/>
                      <a:pt x="25" y="34"/>
                      <a:pt x="25" y="35"/>
                    </a:cubicBezTo>
                    <a:cubicBezTo>
                      <a:pt x="25" y="36"/>
                      <a:pt x="26" y="37"/>
                      <a:pt x="27" y="37"/>
                    </a:cubicBezTo>
                    <a:cubicBezTo>
                      <a:pt x="29" y="37"/>
                      <a:pt x="33" y="39"/>
                      <a:pt x="33" y="36"/>
                    </a:cubicBezTo>
                    <a:cubicBezTo>
                      <a:pt x="33" y="36"/>
                      <a:pt x="33" y="36"/>
                      <a:pt x="3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5" name="Freeform 3157">
                <a:extLst>
                  <a:ext uri="{FF2B5EF4-FFF2-40B4-BE49-F238E27FC236}">
                    <a16:creationId xmlns:a16="http://schemas.microsoft.com/office/drawing/2014/main" id="{01224FBA-9711-474F-B449-A750BABEE100}"/>
                  </a:ext>
                </a:extLst>
              </p:cNvPr>
              <p:cNvSpPr>
                <a:spLocks/>
              </p:cNvSpPr>
              <p:nvPr/>
            </p:nvSpPr>
            <p:spPr bwMode="auto">
              <a:xfrm>
                <a:off x="5772" y="2258"/>
                <a:ext cx="2" cy="3"/>
              </a:xfrm>
              <a:custGeom>
                <a:avLst/>
                <a:gdLst>
                  <a:gd name="T0" fmla="*/ 1 w 1"/>
                  <a:gd name="T1" fmla="*/ 1 h 1"/>
                  <a:gd name="T2" fmla="*/ 0 w 1"/>
                  <a:gd name="T3" fmla="*/ 0 h 1"/>
                  <a:gd name="T4" fmla="*/ 0 w 1"/>
                  <a:gd name="T5" fmla="*/ 0 h 1"/>
                  <a:gd name="T6" fmla="*/ 0 w 1"/>
                  <a:gd name="T7" fmla="*/ 0 h 1"/>
                  <a:gd name="T8" fmla="*/ 0 w 1"/>
                  <a:gd name="T9" fmla="*/ 1 h 1"/>
                  <a:gd name="T10" fmla="*/ 0 w 1"/>
                  <a:gd name="T11" fmla="*/ 1 h 1"/>
                  <a:gd name="T12" fmla="*/ 1 w 1"/>
                  <a:gd name="T13" fmla="*/ 1 h 1"/>
                  <a:gd name="T14" fmla="*/ 1 w 1"/>
                  <a:gd name="T15" fmla="*/ 1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cubicBezTo>
                      <a:pt x="0" y="1"/>
                      <a:pt x="0" y="0"/>
                      <a:pt x="0" y="0"/>
                    </a:cubicBezTo>
                    <a:cubicBezTo>
                      <a:pt x="0" y="0"/>
                      <a:pt x="0" y="0"/>
                      <a:pt x="0" y="0"/>
                    </a:cubicBezTo>
                    <a:cubicBezTo>
                      <a:pt x="0" y="0"/>
                      <a:pt x="0" y="0"/>
                      <a:pt x="0" y="0"/>
                    </a:cubicBezTo>
                    <a:cubicBezTo>
                      <a:pt x="0" y="0"/>
                      <a:pt x="0" y="0"/>
                      <a:pt x="0" y="1"/>
                    </a:cubicBezTo>
                    <a:cubicBezTo>
                      <a:pt x="0" y="1"/>
                      <a:pt x="0" y="1"/>
                      <a:pt x="0" y="1"/>
                    </a:cubicBezTo>
                    <a:cubicBezTo>
                      <a:pt x="1" y="1"/>
                      <a:pt x="1" y="1"/>
                      <a:pt x="1" y="1"/>
                    </a:cubicBezTo>
                    <a:cubicBezTo>
                      <a:pt x="1" y="1"/>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6" name="Freeform 3158">
                <a:extLst>
                  <a:ext uri="{FF2B5EF4-FFF2-40B4-BE49-F238E27FC236}">
                    <a16:creationId xmlns:a16="http://schemas.microsoft.com/office/drawing/2014/main" id="{04FD7700-CDFE-4883-A1BA-7B3F2292E04C}"/>
                  </a:ext>
                </a:extLst>
              </p:cNvPr>
              <p:cNvSpPr>
                <a:spLocks/>
              </p:cNvSpPr>
              <p:nvPr/>
            </p:nvSpPr>
            <p:spPr bwMode="auto">
              <a:xfrm>
                <a:off x="5774" y="2263"/>
                <a:ext cx="5" cy="7"/>
              </a:xfrm>
              <a:custGeom>
                <a:avLst/>
                <a:gdLst>
                  <a:gd name="T0" fmla="*/ 1 w 2"/>
                  <a:gd name="T1" fmla="*/ 0 h 3"/>
                  <a:gd name="T2" fmla="*/ 1 w 2"/>
                  <a:gd name="T3" fmla="*/ 0 h 3"/>
                  <a:gd name="T4" fmla="*/ 1 w 2"/>
                  <a:gd name="T5" fmla="*/ 0 h 3"/>
                  <a:gd name="T6" fmla="*/ 0 w 2"/>
                  <a:gd name="T7" fmla="*/ 0 h 3"/>
                  <a:gd name="T8" fmla="*/ 2 w 2"/>
                  <a:gd name="T9" fmla="*/ 3 h 3"/>
                  <a:gd name="T10" fmla="*/ 2 w 2"/>
                  <a:gd name="T11" fmla="*/ 1 h 3"/>
                  <a:gd name="T12" fmla="*/ 1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0"/>
                    </a:moveTo>
                    <a:cubicBezTo>
                      <a:pt x="1" y="0"/>
                      <a:pt x="1" y="0"/>
                      <a:pt x="1" y="0"/>
                    </a:cubicBezTo>
                    <a:cubicBezTo>
                      <a:pt x="1" y="0"/>
                      <a:pt x="1" y="0"/>
                      <a:pt x="1" y="0"/>
                    </a:cubicBezTo>
                    <a:cubicBezTo>
                      <a:pt x="0" y="0"/>
                      <a:pt x="0" y="0"/>
                      <a:pt x="0" y="0"/>
                    </a:cubicBezTo>
                    <a:cubicBezTo>
                      <a:pt x="1" y="1"/>
                      <a:pt x="1" y="2"/>
                      <a:pt x="2" y="3"/>
                    </a:cubicBezTo>
                    <a:cubicBezTo>
                      <a:pt x="2" y="2"/>
                      <a:pt x="2" y="2"/>
                      <a:pt x="2"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7" name="Freeform 3159">
                <a:extLst>
                  <a:ext uri="{FF2B5EF4-FFF2-40B4-BE49-F238E27FC236}">
                    <a16:creationId xmlns:a16="http://schemas.microsoft.com/office/drawing/2014/main" id="{7EA6FE20-1FF0-42C3-9642-C121EAA426E2}"/>
                  </a:ext>
                </a:extLst>
              </p:cNvPr>
              <p:cNvSpPr>
                <a:spLocks/>
              </p:cNvSpPr>
              <p:nvPr/>
            </p:nvSpPr>
            <p:spPr bwMode="auto">
              <a:xfrm>
                <a:off x="5779" y="2071"/>
                <a:ext cx="205" cy="459"/>
              </a:xfrm>
              <a:custGeom>
                <a:avLst/>
                <a:gdLst>
                  <a:gd name="T0" fmla="*/ 65 w 87"/>
                  <a:gd name="T1" fmla="*/ 173 h 194"/>
                  <a:gd name="T2" fmla="*/ 64 w 87"/>
                  <a:gd name="T3" fmla="*/ 176 h 194"/>
                  <a:gd name="T4" fmla="*/ 65 w 87"/>
                  <a:gd name="T5" fmla="*/ 184 h 194"/>
                  <a:gd name="T6" fmla="*/ 68 w 87"/>
                  <a:gd name="T7" fmla="*/ 185 h 194"/>
                  <a:gd name="T8" fmla="*/ 72 w 87"/>
                  <a:gd name="T9" fmla="*/ 171 h 194"/>
                  <a:gd name="T10" fmla="*/ 69 w 87"/>
                  <a:gd name="T11" fmla="*/ 162 h 194"/>
                  <a:gd name="T12" fmla="*/ 68 w 87"/>
                  <a:gd name="T13" fmla="*/ 156 h 194"/>
                  <a:gd name="T14" fmla="*/ 62 w 87"/>
                  <a:gd name="T15" fmla="*/ 140 h 194"/>
                  <a:gd name="T16" fmla="*/ 64 w 87"/>
                  <a:gd name="T17" fmla="*/ 131 h 194"/>
                  <a:gd name="T18" fmla="*/ 62 w 87"/>
                  <a:gd name="T19" fmla="*/ 124 h 194"/>
                  <a:gd name="T20" fmla="*/ 54 w 87"/>
                  <a:gd name="T21" fmla="*/ 113 h 194"/>
                  <a:gd name="T22" fmla="*/ 53 w 87"/>
                  <a:gd name="T23" fmla="*/ 105 h 194"/>
                  <a:gd name="T24" fmla="*/ 57 w 87"/>
                  <a:gd name="T25" fmla="*/ 93 h 194"/>
                  <a:gd name="T26" fmla="*/ 63 w 87"/>
                  <a:gd name="T27" fmla="*/ 91 h 194"/>
                  <a:gd name="T28" fmla="*/ 68 w 87"/>
                  <a:gd name="T29" fmla="*/ 92 h 194"/>
                  <a:gd name="T30" fmla="*/ 73 w 87"/>
                  <a:gd name="T31" fmla="*/ 86 h 194"/>
                  <a:gd name="T32" fmla="*/ 75 w 87"/>
                  <a:gd name="T33" fmla="*/ 79 h 194"/>
                  <a:gd name="T34" fmla="*/ 84 w 87"/>
                  <a:gd name="T35" fmla="*/ 78 h 194"/>
                  <a:gd name="T36" fmla="*/ 78 w 87"/>
                  <a:gd name="T37" fmla="*/ 75 h 194"/>
                  <a:gd name="T38" fmla="*/ 68 w 87"/>
                  <a:gd name="T39" fmla="*/ 69 h 194"/>
                  <a:gd name="T40" fmla="*/ 71 w 87"/>
                  <a:gd name="T41" fmla="*/ 61 h 194"/>
                  <a:gd name="T42" fmla="*/ 71 w 87"/>
                  <a:gd name="T43" fmla="*/ 60 h 194"/>
                  <a:gd name="T44" fmla="*/ 65 w 87"/>
                  <a:gd name="T45" fmla="*/ 53 h 194"/>
                  <a:gd name="T46" fmla="*/ 64 w 87"/>
                  <a:gd name="T47" fmla="*/ 49 h 194"/>
                  <a:gd name="T48" fmla="*/ 60 w 87"/>
                  <a:gd name="T49" fmla="*/ 49 h 194"/>
                  <a:gd name="T50" fmla="*/ 54 w 87"/>
                  <a:gd name="T51" fmla="*/ 46 h 194"/>
                  <a:gd name="T52" fmla="*/ 54 w 87"/>
                  <a:gd name="T53" fmla="*/ 39 h 194"/>
                  <a:gd name="T54" fmla="*/ 56 w 87"/>
                  <a:gd name="T55" fmla="*/ 33 h 194"/>
                  <a:gd name="T56" fmla="*/ 58 w 87"/>
                  <a:gd name="T57" fmla="*/ 32 h 194"/>
                  <a:gd name="T58" fmla="*/ 63 w 87"/>
                  <a:gd name="T59" fmla="*/ 27 h 194"/>
                  <a:gd name="T60" fmla="*/ 64 w 87"/>
                  <a:gd name="T61" fmla="*/ 21 h 194"/>
                  <a:gd name="T62" fmla="*/ 62 w 87"/>
                  <a:gd name="T63" fmla="*/ 10 h 194"/>
                  <a:gd name="T64" fmla="*/ 56 w 87"/>
                  <a:gd name="T65" fmla="*/ 2 h 194"/>
                  <a:gd name="T66" fmla="*/ 53 w 87"/>
                  <a:gd name="T67" fmla="*/ 4 h 194"/>
                  <a:gd name="T68" fmla="*/ 45 w 87"/>
                  <a:gd name="T69" fmla="*/ 13 h 194"/>
                  <a:gd name="T70" fmla="*/ 30 w 87"/>
                  <a:gd name="T71" fmla="*/ 23 h 194"/>
                  <a:gd name="T72" fmla="*/ 21 w 87"/>
                  <a:gd name="T73" fmla="*/ 48 h 194"/>
                  <a:gd name="T74" fmla="*/ 12 w 87"/>
                  <a:gd name="T75" fmla="*/ 58 h 194"/>
                  <a:gd name="T76" fmla="*/ 4 w 87"/>
                  <a:gd name="T77" fmla="*/ 72 h 194"/>
                  <a:gd name="T78" fmla="*/ 0 w 87"/>
                  <a:gd name="T79" fmla="*/ 79 h 194"/>
                  <a:gd name="T80" fmla="*/ 1 w 87"/>
                  <a:gd name="T81" fmla="*/ 82 h 194"/>
                  <a:gd name="T82" fmla="*/ 5 w 87"/>
                  <a:gd name="T83" fmla="*/ 89 h 194"/>
                  <a:gd name="T84" fmla="*/ 7 w 87"/>
                  <a:gd name="T85" fmla="*/ 91 h 194"/>
                  <a:gd name="T86" fmla="*/ 14 w 87"/>
                  <a:gd name="T87" fmla="*/ 93 h 194"/>
                  <a:gd name="T88" fmla="*/ 16 w 87"/>
                  <a:gd name="T89" fmla="*/ 100 h 194"/>
                  <a:gd name="T90" fmla="*/ 14 w 87"/>
                  <a:gd name="T91" fmla="*/ 101 h 194"/>
                  <a:gd name="T92" fmla="*/ 18 w 87"/>
                  <a:gd name="T93" fmla="*/ 101 h 194"/>
                  <a:gd name="T94" fmla="*/ 23 w 87"/>
                  <a:gd name="T95" fmla="*/ 116 h 194"/>
                  <a:gd name="T96" fmla="*/ 23 w 87"/>
                  <a:gd name="T97" fmla="*/ 131 h 194"/>
                  <a:gd name="T98" fmla="*/ 25 w 87"/>
                  <a:gd name="T99" fmla="*/ 133 h 194"/>
                  <a:gd name="T100" fmla="*/ 27 w 87"/>
                  <a:gd name="T101" fmla="*/ 136 h 194"/>
                  <a:gd name="T102" fmla="*/ 31 w 87"/>
                  <a:gd name="T103" fmla="*/ 133 h 194"/>
                  <a:gd name="T104" fmla="*/ 40 w 87"/>
                  <a:gd name="T105" fmla="*/ 128 h 194"/>
                  <a:gd name="T106" fmla="*/ 46 w 87"/>
                  <a:gd name="T107" fmla="*/ 118 h 194"/>
                  <a:gd name="T108" fmla="*/ 55 w 87"/>
                  <a:gd name="T109" fmla="*/ 128 h 194"/>
                  <a:gd name="T110" fmla="*/ 56 w 87"/>
                  <a:gd name="T111" fmla="*/ 145 h 194"/>
                  <a:gd name="T112" fmla="*/ 59 w 87"/>
                  <a:gd name="T113" fmla="*/ 155 h 194"/>
                  <a:gd name="T114" fmla="*/ 62 w 87"/>
                  <a:gd name="T115" fmla="*/ 15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 h="194">
                    <a:moveTo>
                      <a:pt x="63" y="162"/>
                    </a:moveTo>
                    <a:cubicBezTo>
                      <a:pt x="64" y="163"/>
                      <a:pt x="64" y="164"/>
                      <a:pt x="64" y="165"/>
                    </a:cubicBezTo>
                    <a:cubicBezTo>
                      <a:pt x="65" y="166"/>
                      <a:pt x="65" y="167"/>
                      <a:pt x="65" y="168"/>
                    </a:cubicBezTo>
                    <a:cubicBezTo>
                      <a:pt x="65" y="168"/>
                      <a:pt x="65" y="168"/>
                      <a:pt x="65" y="169"/>
                    </a:cubicBezTo>
                    <a:cubicBezTo>
                      <a:pt x="65" y="169"/>
                      <a:pt x="64" y="170"/>
                      <a:pt x="64" y="171"/>
                    </a:cubicBezTo>
                    <a:cubicBezTo>
                      <a:pt x="64" y="172"/>
                      <a:pt x="64" y="172"/>
                      <a:pt x="63" y="173"/>
                    </a:cubicBezTo>
                    <a:cubicBezTo>
                      <a:pt x="64" y="173"/>
                      <a:pt x="64" y="173"/>
                      <a:pt x="65" y="173"/>
                    </a:cubicBezTo>
                    <a:cubicBezTo>
                      <a:pt x="65" y="173"/>
                      <a:pt x="65" y="173"/>
                      <a:pt x="65" y="173"/>
                    </a:cubicBezTo>
                    <a:cubicBezTo>
                      <a:pt x="65" y="173"/>
                      <a:pt x="64" y="174"/>
                      <a:pt x="64" y="175"/>
                    </a:cubicBezTo>
                    <a:cubicBezTo>
                      <a:pt x="64" y="175"/>
                      <a:pt x="65" y="176"/>
                      <a:pt x="65" y="176"/>
                    </a:cubicBezTo>
                    <a:cubicBezTo>
                      <a:pt x="64" y="175"/>
                      <a:pt x="63" y="175"/>
                      <a:pt x="63" y="175"/>
                    </a:cubicBezTo>
                    <a:cubicBezTo>
                      <a:pt x="63" y="175"/>
                      <a:pt x="63" y="175"/>
                      <a:pt x="63" y="174"/>
                    </a:cubicBezTo>
                    <a:cubicBezTo>
                      <a:pt x="63" y="175"/>
                      <a:pt x="63" y="175"/>
                      <a:pt x="62" y="175"/>
                    </a:cubicBezTo>
                    <a:cubicBezTo>
                      <a:pt x="62" y="175"/>
                      <a:pt x="62" y="175"/>
                      <a:pt x="62" y="175"/>
                    </a:cubicBezTo>
                    <a:cubicBezTo>
                      <a:pt x="62" y="177"/>
                      <a:pt x="63" y="176"/>
                      <a:pt x="65" y="176"/>
                    </a:cubicBezTo>
                    <a:cubicBezTo>
                      <a:pt x="65" y="176"/>
                      <a:pt x="65" y="176"/>
                      <a:pt x="64" y="176"/>
                    </a:cubicBezTo>
                    <a:cubicBezTo>
                      <a:pt x="64" y="176"/>
                      <a:pt x="64" y="176"/>
                      <a:pt x="64" y="176"/>
                    </a:cubicBezTo>
                    <a:cubicBezTo>
                      <a:pt x="64" y="176"/>
                      <a:pt x="64" y="177"/>
                      <a:pt x="64" y="177"/>
                    </a:cubicBezTo>
                    <a:cubicBezTo>
                      <a:pt x="64" y="178"/>
                      <a:pt x="64" y="178"/>
                      <a:pt x="64" y="178"/>
                    </a:cubicBezTo>
                    <a:cubicBezTo>
                      <a:pt x="65" y="179"/>
                      <a:pt x="65" y="178"/>
                      <a:pt x="66" y="177"/>
                    </a:cubicBezTo>
                    <a:cubicBezTo>
                      <a:pt x="67" y="179"/>
                      <a:pt x="66" y="178"/>
                      <a:pt x="66" y="179"/>
                    </a:cubicBezTo>
                    <a:cubicBezTo>
                      <a:pt x="66" y="179"/>
                      <a:pt x="66" y="179"/>
                      <a:pt x="65" y="180"/>
                    </a:cubicBezTo>
                    <a:cubicBezTo>
                      <a:pt x="65" y="180"/>
                      <a:pt x="65" y="180"/>
                      <a:pt x="65" y="180"/>
                    </a:cubicBezTo>
                    <a:cubicBezTo>
                      <a:pt x="65" y="181"/>
                      <a:pt x="65" y="183"/>
                      <a:pt x="65" y="184"/>
                    </a:cubicBezTo>
                    <a:cubicBezTo>
                      <a:pt x="65" y="184"/>
                      <a:pt x="65" y="185"/>
                      <a:pt x="65" y="185"/>
                    </a:cubicBezTo>
                    <a:cubicBezTo>
                      <a:pt x="65" y="187"/>
                      <a:pt x="64" y="187"/>
                      <a:pt x="63" y="188"/>
                    </a:cubicBezTo>
                    <a:cubicBezTo>
                      <a:pt x="62" y="189"/>
                      <a:pt x="63" y="189"/>
                      <a:pt x="63" y="190"/>
                    </a:cubicBezTo>
                    <a:cubicBezTo>
                      <a:pt x="63" y="191"/>
                      <a:pt x="63" y="192"/>
                      <a:pt x="63" y="192"/>
                    </a:cubicBezTo>
                    <a:cubicBezTo>
                      <a:pt x="63" y="193"/>
                      <a:pt x="63" y="193"/>
                      <a:pt x="63" y="194"/>
                    </a:cubicBezTo>
                    <a:cubicBezTo>
                      <a:pt x="63" y="194"/>
                      <a:pt x="63" y="194"/>
                      <a:pt x="63" y="194"/>
                    </a:cubicBezTo>
                    <a:cubicBezTo>
                      <a:pt x="65" y="190"/>
                      <a:pt x="65" y="190"/>
                      <a:pt x="65" y="190"/>
                    </a:cubicBezTo>
                    <a:cubicBezTo>
                      <a:pt x="66" y="188"/>
                      <a:pt x="66" y="187"/>
                      <a:pt x="68" y="185"/>
                    </a:cubicBezTo>
                    <a:cubicBezTo>
                      <a:pt x="68" y="185"/>
                      <a:pt x="69" y="184"/>
                      <a:pt x="70" y="183"/>
                    </a:cubicBezTo>
                    <a:cubicBezTo>
                      <a:pt x="71" y="182"/>
                      <a:pt x="71" y="181"/>
                      <a:pt x="72" y="180"/>
                    </a:cubicBezTo>
                    <a:cubicBezTo>
                      <a:pt x="72" y="179"/>
                      <a:pt x="73" y="178"/>
                      <a:pt x="73" y="177"/>
                    </a:cubicBezTo>
                    <a:cubicBezTo>
                      <a:pt x="73" y="177"/>
                      <a:pt x="73" y="176"/>
                      <a:pt x="73" y="175"/>
                    </a:cubicBezTo>
                    <a:cubicBezTo>
                      <a:pt x="73" y="175"/>
                      <a:pt x="73" y="175"/>
                      <a:pt x="73" y="175"/>
                    </a:cubicBezTo>
                    <a:cubicBezTo>
                      <a:pt x="73" y="175"/>
                      <a:pt x="73" y="175"/>
                      <a:pt x="73" y="175"/>
                    </a:cubicBezTo>
                    <a:cubicBezTo>
                      <a:pt x="72" y="174"/>
                      <a:pt x="72" y="174"/>
                      <a:pt x="72" y="174"/>
                    </a:cubicBezTo>
                    <a:cubicBezTo>
                      <a:pt x="72" y="173"/>
                      <a:pt x="72" y="172"/>
                      <a:pt x="72" y="171"/>
                    </a:cubicBezTo>
                    <a:cubicBezTo>
                      <a:pt x="71" y="171"/>
                      <a:pt x="71" y="171"/>
                      <a:pt x="71" y="171"/>
                    </a:cubicBezTo>
                    <a:cubicBezTo>
                      <a:pt x="71" y="171"/>
                      <a:pt x="71" y="170"/>
                      <a:pt x="71" y="170"/>
                    </a:cubicBezTo>
                    <a:cubicBezTo>
                      <a:pt x="71" y="169"/>
                      <a:pt x="71" y="168"/>
                      <a:pt x="70" y="168"/>
                    </a:cubicBezTo>
                    <a:cubicBezTo>
                      <a:pt x="70" y="167"/>
                      <a:pt x="69" y="167"/>
                      <a:pt x="69" y="167"/>
                    </a:cubicBezTo>
                    <a:cubicBezTo>
                      <a:pt x="69" y="166"/>
                      <a:pt x="69" y="166"/>
                      <a:pt x="69" y="166"/>
                    </a:cubicBezTo>
                    <a:cubicBezTo>
                      <a:pt x="69" y="166"/>
                      <a:pt x="68" y="165"/>
                      <a:pt x="68" y="164"/>
                    </a:cubicBezTo>
                    <a:cubicBezTo>
                      <a:pt x="68" y="163"/>
                      <a:pt x="69" y="163"/>
                      <a:pt x="69" y="162"/>
                    </a:cubicBezTo>
                    <a:cubicBezTo>
                      <a:pt x="69" y="162"/>
                      <a:pt x="69" y="162"/>
                      <a:pt x="69" y="162"/>
                    </a:cubicBezTo>
                    <a:cubicBezTo>
                      <a:pt x="69" y="162"/>
                      <a:pt x="69" y="162"/>
                      <a:pt x="69" y="162"/>
                    </a:cubicBezTo>
                    <a:cubicBezTo>
                      <a:pt x="69" y="162"/>
                      <a:pt x="69" y="162"/>
                      <a:pt x="69" y="161"/>
                    </a:cubicBezTo>
                    <a:cubicBezTo>
                      <a:pt x="69" y="161"/>
                      <a:pt x="69" y="161"/>
                      <a:pt x="69" y="160"/>
                    </a:cubicBezTo>
                    <a:cubicBezTo>
                      <a:pt x="69" y="159"/>
                      <a:pt x="69" y="158"/>
                      <a:pt x="69" y="158"/>
                    </a:cubicBezTo>
                    <a:cubicBezTo>
                      <a:pt x="69" y="158"/>
                      <a:pt x="69" y="158"/>
                      <a:pt x="69" y="158"/>
                    </a:cubicBezTo>
                    <a:cubicBezTo>
                      <a:pt x="69" y="157"/>
                      <a:pt x="68" y="157"/>
                      <a:pt x="68" y="157"/>
                    </a:cubicBezTo>
                    <a:cubicBezTo>
                      <a:pt x="68" y="157"/>
                      <a:pt x="68" y="157"/>
                      <a:pt x="68" y="157"/>
                    </a:cubicBezTo>
                    <a:cubicBezTo>
                      <a:pt x="68" y="156"/>
                      <a:pt x="68" y="156"/>
                      <a:pt x="68" y="156"/>
                    </a:cubicBezTo>
                    <a:cubicBezTo>
                      <a:pt x="67" y="156"/>
                      <a:pt x="67" y="156"/>
                      <a:pt x="67" y="156"/>
                    </a:cubicBezTo>
                    <a:cubicBezTo>
                      <a:pt x="66" y="154"/>
                      <a:pt x="66" y="154"/>
                      <a:pt x="66" y="154"/>
                    </a:cubicBezTo>
                    <a:cubicBezTo>
                      <a:pt x="65" y="154"/>
                      <a:pt x="65" y="154"/>
                      <a:pt x="65" y="153"/>
                    </a:cubicBezTo>
                    <a:cubicBezTo>
                      <a:pt x="64" y="153"/>
                      <a:pt x="64" y="153"/>
                      <a:pt x="64" y="153"/>
                    </a:cubicBezTo>
                    <a:cubicBezTo>
                      <a:pt x="63" y="151"/>
                      <a:pt x="61" y="149"/>
                      <a:pt x="60" y="146"/>
                    </a:cubicBezTo>
                    <a:cubicBezTo>
                      <a:pt x="59" y="145"/>
                      <a:pt x="59" y="144"/>
                      <a:pt x="59" y="143"/>
                    </a:cubicBezTo>
                    <a:cubicBezTo>
                      <a:pt x="59" y="141"/>
                      <a:pt x="60" y="140"/>
                      <a:pt x="61" y="140"/>
                    </a:cubicBezTo>
                    <a:cubicBezTo>
                      <a:pt x="62" y="140"/>
                      <a:pt x="62" y="140"/>
                      <a:pt x="62" y="140"/>
                    </a:cubicBezTo>
                    <a:cubicBezTo>
                      <a:pt x="62" y="140"/>
                      <a:pt x="62" y="140"/>
                      <a:pt x="63" y="140"/>
                    </a:cubicBezTo>
                    <a:cubicBezTo>
                      <a:pt x="63" y="140"/>
                      <a:pt x="63" y="140"/>
                      <a:pt x="63" y="139"/>
                    </a:cubicBezTo>
                    <a:cubicBezTo>
                      <a:pt x="63" y="139"/>
                      <a:pt x="63" y="139"/>
                      <a:pt x="63" y="139"/>
                    </a:cubicBezTo>
                    <a:cubicBezTo>
                      <a:pt x="63" y="139"/>
                      <a:pt x="63" y="138"/>
                      <a:pt x="63" y="138"/>
                    </a:cubicBezTo>
                    <a:cubicBezTo>
                      <a:pt x="63" y="136"/>
                      <a:pt x="63" y="136"/>
                      <a:pt x="63" y="136"/>
                    </a:cubicBezTo>
                    <a:cubicBezTo>
                      <a:pt x="63" y="135"/>
                      <a:pt x="63" y="134"/>
                      <a:pt x="63" y="134"/>
                    </a:cubicBezTo>
                    <a:cubicBezTo>
                      <a:pt x="63" y="132"/>
                      <a:pt x="63" y="132"/>
                      <a:pt x="64" y="131"/>
                    </a:cubicBezTo>
                    <a:cubicBezTo>
                      <a:pt x="64" y="131"/>
                      <a:pt x="64" y="131"/>
                      <a:pt x="64" y="131"/>
                    </a:cubicBezTo>
                    <a:cubicBezTo>
                      <a:pt x="64" y="130"/>
                      <a:pt x="64" y="130"/>
                      <a:pt x="63" y="129"/>
                    </a:cubicBezTo>
                    <a:cubicBezTo>
                      <a:pt x="63" y="129"/>
                      <a:pt x="63" y="128"/>
                      <a:pt x="63" y="128"/>
                    </a:cubicBezTo>
                    <a:cubicBezTo>
                      <a:pt x="63" y="127"/>
                      <a:pt x="63" y="127"/>
                      <a:pt x="63" y="126"/>
                    </a:cubicBezTo>
                    <a:cubicBezTo>
                      <a:pt x="63" y="126"/>
                      <a:pt x="62" y="125"/>
                      <a:pt x="62" y="125"/>
                    </a:cubicBezTo>
                    <a:cubicBezTo>
                      <a:pt x="62" y="125"/>
                      <a:pt x="62" y="125"/>
                      <a:pt x="62" y="125"/>
                    </a:cubicBezTo>
                    <a:cubicBezTo>
                      <a:pt x="62" y="124"/>
                      <a:pt x="62" y="124"/>
                      <a:pt x="62" y="124"/>
                    </a:cubicBezTo>
                    <a:cubicBezTo>
                      <a:pt x="62" y="124"/>
                      <a:pt x="62" y="124"/>
                      <a:pt x="62" y="124"/>
                    </a:cubicBezTo>
                    <a:cubicBezTo>
                      <a:pt x="62" y="124"/>
                      <a:pt x="62" y="124"/>
                      <a:pt x="62" y="124"/>
                    </a:cubicBezTo>
                    <a:cubicBezTo>
                      <a:pt x="62" y="124"/>
                      <a:pt x="61" y="124"/>
                      <a:pt x="61" y="124"/>
                    </a:cubicBezTo>
                    <a:cubicBezTo>
                      <a:pt x="61" y="123"/>
                      <a:pt x="60" y="123"/>
                      <a:pt x="60" y="123"/>
                    </a:cubicBezTo>
                    <a:cubicBezTo>
                      <a:pt x="59" y="122"/>
                      <a:pt x="59" y="122"/>
                      <a:pt x="59" y="122"/>
                    </a:cubicBezTo>
                    <a:cubicBezTo>
                      <a:pt x="59" y="121"/>
                      <a:pt x="58" y="120"/>
                      <a:pt x="57" y="120"/>
                    </a:cubicBezTo>
                    <a:cubicBezTo>
                      <a:pt x="56" y="118"/>
                      <a:pt x="55" y="117"/>
                      <a:pt x="54" y="115"/>
                    </a:cubicBezTo>
                    <a:cubicBezTo>
                      <a:pt x="53" y="114"/>
                      <a:pt x="54" y="114"/>
                      <a:pt x="54" y="113"/>
                    </a:cubicBezTo>
                    <a:cubicBezTo>
                      <a:pt x="54" y="113"/>
                      <a:pt x="54" y="113"/>
                      <a:pt x="54" y="113"/>
                    </a:cubicBezTo>
                    <a:cubicBezTo>
                      <a:pt x="54" y="113"/>
                      <a:pt x="54" y="113"/>
                      <a:pt x="54" y="113"/>
                    </a:cubicBezTo>
                    <a:cubicBezTo>
                      <a:pt x="54" y="112"/>
                      <a:pt x="54" y="112"/>
                      <a:pt x="54" y="112"/>
                    </a:cubicBezTo>
                    <a:cubicBezTo>
                      <a:pt x="53" y="111"/>
                      <a:pt x="53" y="111"/>
                      <a:pt x="53" y="111"/>
                    </a:cubicBezTo>
                    <a:cubicBezTo>
                      <a:pt x="53" y="111"/>
                      <a:pt x="53" y="111"/>
                      <a:pt x="53" y="111"/>
                    </a:cubicBezTo>
                    <a:cubicBezTo>
                      <a:pt x="53" y="111"/>
                      <a:pt x="53" y="111"/>
                      <a:pt x="53" y="111"/>
                    </a:cubicBezTo>
                    <a:cubicBezTo>
                      <a:pt x="51" y="110"/>
                      <a:pt x="51" y="109"/>
                      <a:pt x="51" y="108"/>
                    </a:cubicBezTo>
                    <a:cubicBezTo>
                      <a:pt x="50" y="105"/>
                      <a:pt x="50" y="105"/>
                      <a:pt x="50" y="105"/>
                    </a:cubicBezTo>
                    <a:cubicBezTo>
                      <a:pt x="51" y="105"/>
                      <a:pt x="51" y="105"/>
                      <a:pt x="51" y="105"/>
                    </a:cubicBezTo>
                    <a:cubicBezTo>
                      <a:pt x="52" y="105"/>
                      <a:pt x="52" y="105"/>
                      <a:pt x="53" y="105"/>
                    </a:cubicBezTo>
                    <a:cubicBezTo>
                      <a:pt x="53" y="105"/>
                      <a:pt x="54" y="105"/>
                      <a:pt x="54" y="105"/>
                    </a:cubicBezTo>
                    <a:cubicBezTo>
                      <a:pt x="54" y="105"/>
                      <a:pt x="54" y="105"/>
                      <a:pt x="54" y="105"/>
                    </a:cubicBezTo>
                    <a:cubicBezTo>
                      <a:pt x="54" y="105"/>
                      <a:pt x="54" y="105"/>
                      <a:pt x="54" y="105"/>
                    </a:cubicBezTo>
                    <a:cubicBezTo>
                      <a:pt x="54" y="105"/>
                      <a:pt x="54" y="105"/>
                      <a:pt x="54" y="104"/>
                    </a:cubicBezTo>
                    <a:cubicBezTo>
                      <a:pt x="54" y="104"/>
                      <a:pt x="54" y="103"/>
                      <a:pt x="54" y="103"/>
                    </a:cubicBezTo>
                    <a:cubicBezTo>
                      <a:pt x="54" y="102"/>
                      <a:pt x="54" y="102"/>
                      <a:pt x="54" y="102"/>
                    </a:cubicBezTo>
                    <a:cubicBezTo>
                      <a:pt x="55" y="101"/>
                      <a:pt x="55" y="100"/>
                      <a:pt x="55" y="99"/>
                    </a:cubicBezTo>
                    <a:cubicBezTo>
                      <a:pt x="55" y="96"/>
                      <a:pt x="55" y="95"/>
                      <a:pt x="57" y="93"/>
                    </a:cubicBezTo>
                    <a:cubicBezTo>
                      <a:pt x="57" y="93"/>
                      <a:pt x="57" y="93"/>
                      <a:pt x="58" y="93"/>
                    </a:cubicBezTo>
                    <a:cubicBezTo>
                      <a:pt x="58" y="92"/>
                      <a:pt x="59" y="92"/>
                      <a:pt x="60" y="93"/>
                    </a:cubicBezTo>
                    <a:cubicBezTo>
                      <a:pt x="60" y="93"/>
                      <a:pt x="60" y="93"/>
                      <a:pt x="60" y="93"/>
                    </a:cubicBezTo>
                    <a:cubicBezTo>
                      <a:pt x="61" y="93"/>
                      <a:pt x="62" y="93"/>
                      <a:pt x="62" y="93"/>
                    </a:cubicBezTo>
                    <a:cubicBezTo>
                      <a:pt x="63" y="93"/>
                      <a:pt x="63" y="93"/>
                      <a:pt x="63" y="93"/>
                    </a:cubicBezTo>
                    <a:cubicBezTo>
                      <a:pt x="63" y="93"/>
                      <a:pt x="63" y="93"/>
                      <a:pt x="63" y="93"/>
                    </a:cubicBezTo>
                    <a:cubicBezTo>
                      <a:pt x="63" y="93"/>
                      <a:pt x="64" y="93"/>
                      <a:pt x="64" y="93"/>
                    </a:cubicBezTo>
                    <a:cubicBezTo>
                      <a:pt x="63" y="91"/>
                      <a:pt x="63" y="91"/>
                      <a:pt x="63" y="91"/>
                    </a:cubicBezTo>
                    <a:cubicBezTo>
                      <a:pt x="64" y="93"/>
                      <a:pt x="64" y="93"/>
                      <a:pt x="64" y="93"/>
                    </a:cubicBezTo>
                    <a:cubicBezTo>
                      <a:pt x="65" y="93"/>
                      <a:pt x="65" y="93"/>
                      <a:pt x="65" y="93"/>
                    </a:cubicBezTo>
                    <a:cubicBezTo>
                      <a:pt x="65" y="93"/>
                      <a:pt x="65" y="93"/>
                      <a:pt x="65" y="93"/>
                    </a:cubicBezTo>
                    <a:cubicBezTo>
                      <a:pt x="66" y="93"/>
                      <a:pt x="66" y="93"/>
                      <a:pt x="66" y="93"/>
                    </a:cubicBezTo>
                    <a:cubicBezTo>
                      <a:pt x="66" y="93"/>
                      <a:pt x="67" y="93"/>
                      <a:pt x="67" y="93"/>
                    </a:cubicBezTo>
                    <a:cubicBezTo>
                      <a:pt x="67" y="93"/>
                      <a:pt x="67" y="93"/>
                      <a:pt x="67" y="93"/>
                    </a:cubicBezTo>
                    <a:cubicBezTo>
                      <a:pt x="67" y="92"/>
                      <a:pt x="67" y="92"/>
                      <a:pt x="67" y="92"/>
                    </a:cubicBezTo>
                    <a:cubicBezTo>
                      <a:pt x="68" y="92"/>
                      <a:pt x="68" y="92"/>
                      <a:pt x="68" y="92"/>
                    </a:cubicBezTo>
                    <a:cubicBezTo>
                      <a:pt x="67" y="92"/>
                      <a:pt x="67" y="92"/>
                      <a:pt x="67" y="92"/>
                    </a:cubicBezTo>
                    <a:cubicBezTo>
                      <a:pt x="67" y="92"/>
                      <a:pt x="68" y="92"/>
                      <a:pt x="68" y="91"/>
                    </a:cubicBezTo>
                    <a:cubicBezTo>
                      <a:pt x="68" y="91"/>
                      <a:pt x="68" y="90"/>
                      <a:pt x="68" y="90"/>
                    </a:cubicBezTo>
                    <a:cubicBezTo>
                      <a:pt x="69" y="89"/>
                      <a:pt x="70" y="89"/>
                      <a:pt x="71" y="89"/>
                    </a:cubicBezTo>
                    <a:cubicBezTo>
                      <a:pt x="71" y="89"/>
                      <a:pt x="71" y="89"/>
                      <a:pt x="72" y="89"/>
                    </a:cubicBezTo>
                    <a:cubicBezTo>
                      <a:pt x="72" y="88"/>
                      <a:pt x="72" y="88"/>
                      <a:pt x="71" y="87"/>
                    </a:cubicBezTo>
                    <a:cubicBezTo>
                      <a:pt x="71" y="85"/>
                      <a:pt x="71" y="85"/>
                      <a:pt x="71" y="85"/>
                    </a:cubicBezTo>
                    <a:cubicBezTo>
                      <a:pt x="73" y="86"/>
                      <a:pt x="73" y="86"/>
                      <a:pt x="73" y="86"/>
                    </a:cubicBezTo>
                    <a:cubicBezTo>
                      <a:pt x="74" y="86"/>
                      <a:pt x="74" y="86"/>
                      <a:pt x="74" y="86"/>
                    </a:cubicBezTo>
                    <a:cubicBezTo>
                      <a:pt x="74" y="86"/>
                      <a:pt x="74" y="86"/>
                      <a:pt x="74" y="86"/>
                    </a:cubicBezTo>
                    <a:cubicBezTo>
                      <a:pt x="74" y="87"/>
                      <a:pt x="74" y="87"/>
                      <a:pt x="75" y="87"/>
                    </a:cubicBezTo>
                    <a:cubicBezTo>
                      <a:pt x="75" y="87"/>
                      <a:pt x="75" y="87"/>
                      <a:pt x="75" y="86"/>
                    </a:cubicBezTo>
                    <a:cubicBezTo>
                      <a:pt x="75" y="86"/>
                      <a:pt x="75" y="86"/>
                      <a:pt x="75" y="86"/>
                    </a:cubicBezTo>
                    <a:cubicBezTo>
                      <a:pt x="76" y="86"/>
                      <a:pt x="76" y="86"/>
                      <a:pt x="77" y="86"/>
                    </a:cubicBezTo>
                    <a:cubicBezTo>
                      <a:pt x="77" y="86"/>
                      <a:pt x="77" y="86"/>
                      <a:pt x="77" y="85"/>
                    </a:cubicBezTo>
                    <a:cubicBezTo>
                      <a:pt x="75" y="79"/>
                      <a:pt x="75" y="79"/>
                      <a:pt x="75" y="79"/>
                    </a:cubicBezTo>
                    <a:cubicBezTo>
                      <a:pt x="79" y="85"/>
                      <a:pt x="79" y="85"/>
                      <a:pt x="79" y="85"/>
                    </a:cubicBezTo>
                    <a:cubicBezTo>
                      <a:pt x="79" y="84"/>
                      <a:pt x="80" y="83"/>
                      <a:pt x="81" y="82"/>
                    </a:cubicBezTo>
                    <a:cubicBezTo>
                      <a:pt x="81" y="82"/>
                      <a:pt x="81" y="82"/>
                      <a:pt x="81" y="82"/>
                    </a:cubicBezTo>
                    <a:cubicBezTo>
                      <a:pt x="82" y="82"/>
                      <a:pt x="82" y="81"/>
                      <a:pt x="83" y="81"/>
                    </a:cubicBezTo>
                    <a:cubicBezTo>
                      <a:pt x="83" y="81"/>
                      <a:pt x="83" y="80"/>
                      <a:pt x="83" y="80"/>
                    </a:cubicBezTo>
                    <a:cubicBezTo>
                      <a:pt x="83" y="80"/>
                      <a:pt x="83" y="80"/>
                      <a:pt x="83" y="80"/>
                    </a:cubicBezTo>
                    <a:cubicBezTo>
                      <a:pt x="83" y="80"/>
                      <a:pt x="83" y="80"/>
                      <a:pt x="83" y="79"/>
                    </a:cubicBezTo>
                    <a:cubicBezTo>
                      <a:pt x="84" y="78"/>
                      <a:pt x="84" y="78"/>
                      <a:pt x="84" y="78"/>
                    </a:cubicBezTo>
                    <a:cubicBezTo>
                      <a:pt x="84" y="77"/>
                      <a:pt x="85" y="77"/>
                      <a:pt x="85" y="76"/>
                    </a:cubicBezTo>
                    <a:cubicBezTo>
                      <a:pt x="86" y="76"/>
                      <a:pt x="86" y="76"/>
                      <a:pt x="87" y="75"/>
                    </a:cubicBezTo>
                    <a:cubicBezTo>
                      <a:pt x="86" y="76"/>
                      <a:pt x="85" y="76"/>
                      <a:pt x="85" y="76"/>
                    </a:cubicBezTo>
                    <a:cubicBezTo>
                      <a:pt x="81" y="77"/>
                      <a:pt x="81" y="77"/>
                      <a:pt x="81" y="77"/>
                    </a:cubicBezTo>
                    <a:cubicBezTo>
                      <a:pt x="80" y="77"/>
                      <a:pt x="80" y="77"/>
                      <a:pt x="79" y="77"/>
                    </a:cubicBezTo>
                    <a:cubicBezTo>
                      <a:pt x="79" y="76"/>
                      <a:pt x="79" y="76"/>
                      <a:pt x="78" y="75"/>
                    </a:cubicBezTo>
                    <a:cubicBezTo>
                      <a:pt x="78" y="75"/>
                      <a:pt x="78" y="75"/>
                      <a:pt x="78" y="75"/>
                    </a:cubicBezTo>
                    <a:cubicBezTo>
                      <a:pt x="78" y="75"/>
                      <a:pt x="78" y="75"/>
                      <a:pt x="78" y="75"/>
                    </a:cubicBezTo>
                    <a:cubicBezTo>
                      <a:pt x="78" y="74"/>
                      <a:pt x="78" y="74"/>
                      <a:pt x="78" y="74"/>
                    </a:cubicBezTo>
                    <a:cubicBezTo>
                      <a:pt x="77" y="74"/>
                      <a:pt x="77" y="73"/>
                      <a:pt x="77" y="73"/>
                    </a:cubicBezTo>
                    <a:cubicBezTo>
                      <a:pt x="77" y="72"/>
                      <a:pt x="77" y="72"/>
                      <a:pt x="77" y="72"/>
                    </a:cubicBezTo>
                    <a:cubicBezTo>
                      <a:pt x="77" y="72"/>
                      <a:pt x="77" y="72"/>
                      <a:pt x="77" y="72"/>
                    </a:cubicBezTo>
                    <a:cubicBezTo>
                      <a:pt x="77" y="72"/>
                      <a:pt x="77" y="71"/>
                      <a:pt x="77" y="71"/>
                    </a:cubicBezTo>
                    <a:cubicBezTo>
                      <a:pt x="77" y="71"/>
                      <a:pt x="77" y="71"/>
                      <a:pt x="77" y="71"/>
                    </a:cubicBezTo>
                    <a:cubicBezTo>
                      <a:pt x="77" y="71"/>
                      <a:pt x="77" y="71"/>
                      <a:pt x="77" y="71"/>
                    </a:cubicBezTo>
                    <a:cubicBezTo>
                      <a:pt x="68" y="69"/>
                      <a:pt x="68" y="69"/>
                      <a:pt x="68" y="69"/>
                    </a:cubicBezTo>
                    <a:cubicBezTo>
                      <a:pt x="69" y="68"/>
                      <a:pt x="69" y="68"/>
                      <a:pt x="69" y="68"/>
                    </a:cubicBezTo>
                    <a:cubicBezTo>
                      <a:pt x="69" y="67"/>
                      <a:pt x="69" y="66"/>
                      <a:pt x="70" y="65"/>
                    </a:cubicBezTo>
                    <a:cubicBezTo>
                      <a:pt x="70" y="65"/>
                      <a:pt x="70" y="65"/>
                      <a:pt x="70" y="65"/>
                    </a:cubicBezTo>
                    <a:cubicBezTo>
                      <a:pt x="70" y="65"/>
                      <a:pt x="70" y="64"/>
                      <a:pt x="70" y="64"/>
                    </a:cubicBezTo>
                    <a:cubicBezTo>
                      <a:pt x="70" y="64"/>
                      <a:pt x="70" y="64"/>
                      <a:pt x="70" y="64"/>
                    </a:cubicBezTo>
                    <a:cubicBezTo>
                      <a:pt x="70" y="63"/>
                      <a:pt x="70" y="63"/>
                      <a:pt x="70" y="63"/>
                    </a:cubicBezTo>
                    <a:cubicBezTo>
                      <a:pt x="70" y="62"/>
                      <a:pt x="70" y="62"/>
                      <a:pt x="71" y="62"/>
                    </a:cubicBezTo>
                    <a:cubicBezTo>
                      <a:pt x="71" y="61"/>
                      <a:pt x="71" y="61"/>
                      <a:pt x="71" y="61"/>
                    </a:cubicBezTo>
                    <a:cubicBezTo>
                      <a:pt x="71" y="61"/>
                      <a:pt x="71" y="61"/>
                      <a:pt x="71" y="61"/>
                    </a:cubicBezTo>
                    <a:cubicBezTo>
                      <a:pt x="71" y="61"/>
                      <a:pt x="71" y="60"/>
                      <a:pt x="72" y="60"/>
                    </a:cubicBezTo>
                    <a:cubicBezTo>
                      <a:pt x="72" y="60"/>
                      <a:pt x="72" y="60"/>
                      <a:pt x="72" y="60"/>
                    </a:cubicBezTo>
                    <a:cubicBezTo>
                      <a:pt x="72" y="60"/>
                      <a:pt x="72" y="60"/>
                      <a:pt x="72" y="60"/>
                    </a:cubicBezTo>
                    <a:cubicBezTo>
                      <a:pt x="72" y="60"/>
                      <a:pt x="72" y="60"/>
                      <a:pt x="72" y="60"/>
                    </a:cubicBezTo>
                    <a:cubicBezTo>
                      <a:pt x="72" y="60"/>
                      <a:pt x="72" y="60"/>
                      <a:pt x="72" y="60"/>
                    </a:cubicBezTo>
                    <a:cubicBezTo>
                      <a:pt x="72" y="60"/>
                      <a:pt x="72" y="60"/>
                      <a:pt x="72" y="60"/>
                    </a:cubicBezTo>
                    <a:cubicBezTo>
                      <a:pt x="72" y="60"/>
                      <a:pt x="71" y="60"/>
                      <a:pt x="71" y="60"/>
                    </a:cubicBezTo>
                    <a:cubicBezTo>
                      <a:pt x="70" y="59"/>
                      <a:pt x="70" y="59"/>
                      <a:pt x="70" y="59"/>
                    </a:cubicBezTo>
                    <a:cubicBezTo>
                      <a:pt x="70" y="59"/>
                      <a:pt x="70" y="59"/>
                      <a:pt x="70" y="59"/>
                    </a:cubicBezTo>
                    <a:cubicBezTo>
                      <a:pt x="69" y="59"/>
                      <a:pt x="69" y="59"/>
                      <a:pt x="69" y="59"/>
                    </a:cubicBezTo>
                    <a:cubicBezTo>
                      <a:pt x="67" y="59"/>
                      <a:pt x="66" y="58"/>
                      <a:pt x="66" y="57"/>
                    </a:cubicBezTo>
                    <a:cubicBezTo>
                      <a:pt x="66" y="56"/>
                      <a:pt x="66" y="56"/>
                      <a:pt x="66" y="56"/>
                    </a:cubicBezTo>
                    <a:cubicBezTo>
                      <a:pt x="65" y="55"/>
                      <a:pt x="65" y="54"/>
                      <a:pt x="65" y="54"/>
                    </a:cubicBezTo>
                    <a:cubicBezTo>
                      <a:pt x="65" y="54"/>
                      <a:pt x="65" y="54"/>
                      <a:pt x="65" y="53"/>
                    </a:cubicBezTo>
                    <a:cubicBezTo>
                      <a:pt x="65" y="53"/>
                      <a:pt x="65" y="53"/>
                      <a:pt x="65" y="53"/>
                    </a:cubicBezTo>
                    <a:cubicBezTo>
                      <a:pt x="65" y="53"/>
                      <a:pt x="64" y="53"/>
                      <a:pt x="64" y="52"/>
                    </a:cubicBezTo>
                    <a:cubicBezTo>
                      <a:pt x="64" y="53"/>
                      <a:pt x="64" y="53"/>
                      <a:pt x="64" y="53"/>
                    </a:cubicBezTo>
                    <a:cubicBezTo>
                      <a:pt x="64" y="52"/>
                      <a:pt x="64" y="52"/>
                      <a:pt x="64" y="52"/>
                    </a:cubicBezTo>
                    <a:cubicBezTo>
                      <a:pt x="64" y="52"/>
                      <a:pt x="64" y="52"/>
                      <a:pt x="64" y="52"/>
                    </a:cubicBezTo>
                    <a:cubicBezTo>
                      <a:pt x="64" y="52"/>
                      <a:pt x="64" y="52"/>
                      <a:pt x="64" y="51"/>
                    </a:cubicBezTo>
                    <a:cubicBezTo>
                      <a:pt x="64" y="51"/>
                      <a:pt x="64" y="51"/>
                      <a:pt x="64" y="51"/>
                    </a:cubicBezTo>
                    <a:cubicBezTo>
                      <a:pt x="64" y="51"/>
                      <a:pt x="64" y="50"/>
                      <a:pt x="64" y="50"/>
                    </a:cubicBezTo>
                    <a:cubicBezTo>
                      <a:pt x="64" y="50"/>
                      <a:pt x="64" y="50"/>
                      <a:pt x="64" y="49"/>
                    </a:cubicBezTo>
                    <a:cubicBezTo>
                      <a:pt x="64" y="49"/>
                      <a:pt x="64" y="49"/>
                      <a:pt x="64" y="49"/>
                    </a:cubicBezTo>
                    <a:cubicBezTo>
                      <a:pt x="64" y="49"/>
                      <a:pt x="64" y="49"/>
                      <a:pt x="63" y="49"/>
                    </a:cubicBezTo>
                    <a:cubicBezTo>
                      <a:pt x="63" y="49"/>
                      <a:pt x="63" y="49"/>
                      <a:pt x="63" y="49"/>
                    </a:cubicBezTo>
                    <a:cubicBezTo>
                      <a:pt x="63" y="49"/>
                      <a:pt x="62" y="49"/>
                      <a:pt x="62" y="49"/>
                    </a:cubicBezTo>
                    <a:cubicBezTo>
                      <a:pt x="62" y="49"/>
                      <a:pt x="62" y="49"/>
                      <a:pt x="62" y="49"/>
                    </a:cubicBezTo>
                    <a:cubicBezTo>
                      <a:pt x="61" y="49"/>
                      <a:pt x="60" y="48"/>
                      <a:pt x="60" y="48"/>
                    </a:cubicBezTo>
                    <a:cubicBezTo>
                      <a:pt x="60" y="49"/>
                      <a:pt x="60" y="49"/>
                      <a:pt x="60" y="49"/>
                    </a:cubicBezTo>
                    <a:cubicBezTo>
                      <a:pt x="60" y="49"/>
                      <a:pt x="60" y="49"/>
                      <a:pt x="60" y="49"/>
                    </a:cubicBezTo>
                    <a:cubicBezTo>
                      <a:pt x="59" y="49"/>
                      <a:pt x="59" y="49"/>
                      <a:pt x="59" y="49"/>
                    </a:cubicBezTo>
                    <a:cubicBezTo>
                      <a:pt x="57" y="50"/>
                      <a:pt x="55" y="51"/>
                      <a:pt x="54" y="51"/>
                    </a:cubicBezTo>
                    <a:cubicBezTo>
                      <a:pt x="53" y="51"/>
                      <a:pt x="53" y="51"/>
                      <a:pt x="53" y="51"/>
                    </a:cubicBezTo>
                    <a:cubicBezTo>
                      <a:pt x="53" y="51"/>
                      <a:pt x="53" y="51"/>
                      <a:pt x="53" y="51"/>
                    </a:cubicBezTo>
                    <a:cubicBezTo>
                      <a:pt x="52" y="50"/>
                      <a:pt x="52" y="50"/>
                      <a:pt x="52" y="49"/>
                    </a:cubicBezTo>
                    <a:cubicBezTo>
                      <a:pt x="52" y="48"/>
                      <a:pt x="52" y="48"/>
                      <a:pt x="52" y="48"/>
                    </a:cubicBezTo>
                    <a:cubicBezTo>
                      <a:pt x="52" y="48"/>
                      <a:pt x="53" y="48"/>
                      <a:pt x="53" y="47"/>
                    </a:cubicBezTo>
                    <a:cubicBezTo>
                      <a:pt x="54" y="46"/>
                      <a:pt x="54" y="46"/>
                      <a:pt x="54" y="46"/>
                    </a:cubicBezTo>
                    <a:cubicBezTo>
                      <a:pt x="54" y="46"/>
                      <a:pt x="54" y="46"/>
                      <a:pt x="54" y="45"/>
                    </a:cubicBezTo>
                    <a:cubicBezTo>
                      <a:pt x="53" y="45"/>
                      <a:pt x="53" y="45"/>
                      <a:pt x="53" y="45"/>
                    </a:cubicBezTo>
                    <a:cubicBezTo>
                      <a:pt x="53" y="45"/>
                      <a:pt x="53" y="45"/>
                      <a:pt x="53" y="45"/>
                    </a:cubicBezTo>
                    <a:cubicBezTo>
                      <a:pt x="53" y="45"/>
                      <a:pt x="52" y="44"/>
                      <a:pt x="52" y="43"/>
                    </a:cubicBezTo>
                    <a:cubicBezTo>
                      <a:pt x="52" y="43"/>
                      <a:pt x="52" y="43"/>
                      <a:pt x="52" y="43"/>
                    </a:cubicBezTo>
                    <a:cubicBezTo>
                      <a:pt x="52" y="43"/>
                      <a:pt x="52" y="43"/>
                      <a:pt x="52" y="42"/>
                    </a:cubicBezTo>
                    <a:cubicBezTo>
                      <a:pt x="52" y="41"/>
                      <a:pt x="52" y="40"/>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8"/>
                      <a:pt x="54" y="38"/>
                      <a:pt x="54" y="38"/>
                    </a:cubicBezTo>
                    <a:cubicBezTo>
                      <a:pt x="54" y="38"/>
                      <a:pt x="54" y="37"/>
                      <a:pt x="55" y="36"/>
                    </a:cubicBezTo>
                    <a:cubicBezTo>
                      <a:pt x="55" y="35"/>
                      <a:pt x="55" y="35"/>
                      <a:pt x="56" y="34"/>
                    </a:cubicBezTo>
                    <a:cubicBezTo>
                      <a:pt x="56" y="34"/>
                      <a:pt x="56" y="34"/>
                      <a:pt x="56" y="33"/>
                    </a:cubicBezTo>
                    <a:cubicBezTo>
                      <a:pt x="56" y="33"/>
                      <a:pt x="56" y="33"/>
                      <a:pt x="56" y="33"/>
                    </a:cubicBezTo>
                    <a:cubicBezTo>
                      <a:pt x="57" y="33"/>
                      <a:pt x="57" y="33"/>
                      <a:pt x="57" y="33"/>
                    </a:cubicBezTo>
                    <a:cubicBezTo>
                      <a:pt x="57" y="33"/>
                      <a:pt x="57" y="33"/>
                      <a:pt x="57" y="33"/>
                    </a:cubicBezTo>
                    <a:cubicBezTo>
                      <a:pt x="57" y="33"/>
                      <a:pt x="57" y="33"/>
                      <a:pt x="57" y="33"/>
                    </a:cubicBezTo>
                    <a:cubicBezTo>
                      <a:pt x="57" y="33"/>
                      <a:pt x="58" y="33"/>
                      <a:pt x="58" y="33"/>
                    </a:cubicBezTo>
                    <a:cubicBezTo>
                      <a:pt x="58" y="33"/>
                      <a:pt x="58" y="33"/>
                      <a:pt x="58" y="33"/>
                    </a:cubicBezTo>
                    <a:cubicBezTo>
                      <a:pt x="58" y="32"/>
                      <a:pt x="58" y="32"/>
                      <a:pt x="58" y="32"/>
                    </a:cubicBezTo>
                    <a:cubicBezTo>
                      <a:pt x="58" y="32"/>
                      <a:pt x="58" y="32"/>
                      <a:pt x="58" y="32"/>
                    </a:cubicBezTo>
                    <a:cubicBezTo>
                      <a:pt x="58" y="31"/>
                      <a:pt x="58" y="31"/>
                      <a:pt x="59" y="30"/>
                    </a:cubicBezTo>
                    <a:cubicBezTo>
                      <a:pt x="60" y="30"/>
                      <a:pt x="60" y="30"/>
                      <a:pt x="61" y="30"/>
                    </a:cubicBezTo>
                    <a:cubicBezTo>
                      <a:pt x="61" y="30"/>
                      <a:pt x="61" y="30"/>
                      <a:pt x="61" y="30"/>
                    </a:cubicBezTo>
                    <a:cubicBezTo>
                      <a:pt x="61" y="30"/>
                      <a:pt x="62" y="29"/>
                      <a:pt x="62" y="29"/>
                    </a:cubicBezTo>
                    <a:cubicBezTo>
                      <a:pt x="63" y="29"/>
                      <a:pt x="63" y="29"/>
                      <a:pt x="63" y="28"/>
                    </a:cubicBezTo>
                    <a:cubicBezTo>
                      <a:pt x="63" y="28"/>
                      <a:pt x="63" y="28"/>
                      <a:pt x="63" y="28"/>
                    </a:cubicBezTo>
                    <a:cubicBezTo>
                      <a:pt x="63" y="28"/>
                      <a:pt x="63" y="28"/>
                      <a:pt x="63" y="28"/>
                    </a:cubicBezTo>
                    <a:cubicBezTo>
                      <a:pt x="63" y="28"/>
                      <a:pt x="63" y="28"/>
                      <a:pt x="63" y="27"/>
                    </a:cubicBezTo>
                    <a:cubicBezTo>
                      <a:pt x="63" y="27"/>
                      <a:pt x="63" y="27"/>
                      <a:pt x="63" y="27"/>
                    </a:cubicBezTo>
                    <a:cubicBezTo>
                      <a:pt x="63" y="26"/>
                      <a:pt x="63" y="26"/>
                      <a:pt x="63" y="25"/>
                    </a:cubicBezTo>
                    <a:cubicBezTo>
                      <a:pt x="63" y="25"/>
                      <a:pt x="63" y="25"/>
                      <a:pt x="63" y="25"/>
                    </a:cubicBezTo>
                    <a:cubicBezTo>
                      <a:pt x="63" y="24"/>
                      <a:pt x="63" y="24"/>
                      <a:pt x="63" y="24"/>
                    </a:cubicBezTo>
                    <a:cubicBezTo>
                      <a:pt x="63" y="24"/>
                      <a:pt x="64" y="23"/>
                      <a:pt x="64" y="23"/>
                    </a:cubicBezTo>
                    <a:cubicBezTo>
                      <a:pt x="64" y="23"/>
                      <a:pt x="64" y="23"/>
                      <a:pt x="64" y="23"/>
                    </a:cubicBezTo>
                    <a:cubicBezTo>
                      <a:pt x="64" y="22"/>
                      <a:pt x="64" y="22"/>
                      <a:pt x="64" y="22"/>
                    </a:cubicBezTo>
                    <a:cubicBezTo>
                      <a:pt x="64" y="21"/>
                      <a:pt x="64" y="21"/>
                      <a:pt x="64" y="21"/>
                    </a:cubicBezTo>
                    <a:cubicBezTo>
                      <a:pt x="65" y="20"/>
                      <a:pt x="65" y="19"/>
                      <a:pt x="65" y="17"/>
                    </a:cubicBezTo>
                    <a:cubicBezTo>
                      <a:pt x="64" y="17"/>
                      <a:pt x="64" y="16"/>
                      <a:pt x="64" y="16"/>
                    </a:cubicBezTo>
                    <a:cubicBezTo>
                      <a:pt x="64" y="15"/>
                      <a:pt x="64" y="15"/>
                      <a:pt x="64" y="15"/>
                    </a:cubicBezTo>
                    <a:cubicBezTo>
                      <a:pt x="64" y="14"/>
                      <a:pt x="64" y="12"/>
                      <a:pt x="64" y="11"/>
                    </a:cubicBezTo>
                    <a:cubicBezTo>
                      <a:pt x="64" y="10"/>
                      <a:pt x="64" y="10"/>
                      <a:pt x="64" y="10"/>
                    </a:cubicBezTo>
                    <a:cubicBezTo>
                      <a:pt x="64" y="10"/>
                      <a:pt x="64" y="10"/>
                      <a:pt x="64" y="10"/>
                    </a:cubicBezTo>
                    <a:cubicBezTo>
                      <a:pt x="64" y="10"/>
                      <a:pt x="64" y="10"/>
                      <a:pt x="64" y="10"/>
                    </a:cubicBezTo>
                    <a:cubicBezTo>
                      <a:pt x="62" y="10"/>
                      <a:pt x="62" y="10"/>
                      <a:pt x="62" y="10"/>
                    </a:cubicBezTo>
                    <a:cubicBezTo>
                      <a:pt x="61" y="10"/>
                      <a:pt x="60" y="9"/>
                      <a:pt x="60" y="8"/>
                    </a:cubicBezTo>
                    <a:cubicBezTo>
                      <a:pt x="59" y="8"/>
                      <a:pt x="59" y="7"/>
                      <a:pt x="59" y="6"/>
                    </a:cubicBezTo>
                    <a:cubicBezTo>
                      <a:pt x="58" y="5"/>
                      <a:pt x="58" y="4"/>
                      <a:pt x="58" y="3"/>
                    </a:cubicBezTo>
                    <a:cubicBezTo>
                      <a:pt x="58" y="3"/>
                      <a:pt x="58" y="3"/>
                      <a:pt x="58" y="3"/>
                    </a:cubicBezTo>
                    <a:cubicBezTo>
                      <a:pt x="57" y="3"/>
                      <a:pt x="57" y="2"/>
                      <a:pt x="57" y="2"/>
                    </a:cubicBezTo>
                    <a:cubicBezTo>
                      <a:pt x="56" y="2"/>
                      <a:pt x="56" y="2"/>
                      <a:pt x="56" y="2"/>
                    </a:cubicBezTo>
                    <a:cubicBezTo>
                      <a:pt x="56" y="2"/>
                      <a:pt x="56" y="2"/>
                      <a:pt x="56" y="2"/>
                    </a:cubicBezTo>
                    <a:cubicBezTo>
                      <a:pt x="56" y="2"/>
                      <a:pt x="56" y="2"/>
                      <a:pt x="56" y="2"/>
                    </a:cubicBezTo>
                    <a:cubicBezTo>
                      <a:pt x="55" y="1"/>
                      <a:pt x="55" y="1"/>
                      <a:pt x="54" y="1"/>
                    </a:cubicBezTo>
                    <a:cubicBezTo>
                      <a:pt x="54" y="1"/>
                      <a:pt x="54" y="1"/>
                      <a:pt x="54" y="1"/>
                    </a:cubicBezTo>
                    <a:cubicBezTo>
                      <a:pt x="54" y="0"/>
                      <a:pt x="54" y="0"/>
                      <a:pt x="54" y="0"/>
                    </a:cubicBezTo>
                    <a:cubicBezTo>
                      <a:pt x="53" y="1"/>
                      <a:pt x="53" y="2"/>
                      <a:pt x="53" y="2"/>
                    </a:cubicBezTo>
                    <a:cubicBezTo>
                      <a:pt x="53" y="2"/>
                      <a:pt x="52" y="3"/>
                      <a:pt x="52" y="3"/>
                    </a:cubicBezTo>
                    <a:cubicBezTo>
                      <a:pt x="52" y="3"/>
                      <a:pt x="52" y="3"/>
                      <a:pt x="52" y="3"/>
                    </a:cubicBezTo>
                    <a:cubicBezTo>
                      <a:pt x="52" y="3"/>
                      <a:pt x="53" y="3"/>
                      <a:pt x="53" y="3"/>
                    </a:cubicBezTo>
                    <a:cubicBezTo>
                      <a:pt x="53" y="4"/>
                      <a:pt x="53" y="4"/>
                      <a:pt x="53" y="4"/>
                    </a:cubicBezTo>
                    <a:cubicBezTo>
                      <a:pt x="53" y="6"/>
                      <a:pt x="52" y="7"/>
                      <a:pt x="50" y="8"/>
                    </a:cubicBezTo>
                    <a:cubicBezTo>
                      <a:pt x="50" y="8"/>
                      <a:pt x="50" y="8"/>
                      <a:pt x="50" y="8"/>
                    </a:cubicBezTo>
                    <a:cubicBezTo>
                      <a:pt x="50" y="8"/>
                      <a:pt x="50" y="8"/>
                      <a:pt x="49" y="8"/>
                    </a:cubicBezTo>
                    <a:cubicBezTo>
                      <a:pt x="48" y="9"/>
                      <a:pt x="48" y="9"/>
                      <a:pt x="48" y="10"/>
                    </a:cubicBezTo>
                    <a:cubicBezTo>
                      <a:pt x="48" y="10"/>
                      <a:pt x="49" y="11"/>
                      <a:pt x="49" y="11"/>
                    </a:cubicBezTo>
                    <a:cubicBezTo>
                      <a:pt x="49" y="12"/>
                      <a:pt x="49" y="12"/>
                      <a:pt x="49" y="12"/>
                    </a:cubicBezTo>
                    <a:cubicBezTo>
                      <a:pt x="46" y="17"/>
                      <a:pt x="46" y="17"/>
                      <a:pt x="46" y="17"/>
                    </a:cubicBezTo>
                    <a:cubicBezTo>
                      <a:pt x="45" y="13"/>
                      <a:pt x="45" y="13"/>
                      <a:pt x="45" y="13"/>
                    </a:cubicBezTo>
                    <a:cubicBezTo>
                      <a:pt x="44" y="13"/>
                      <a:pt x="42" y="14"/>
                      <a:pt x="40" y="15"/>
                    </a:cubicBezTo>
                    <a:cubicBezTo>
                      <a:pt x="39" y="16"/>
                      <a:pt x="38" y="16"/>
                      <a:pt x="37" y="16"/>
                    </a:cubicBezTo>
                    <a:cubicBezTo>
                      <a:pt x="36" y="17"/>
                      <a:pt x="35" y="18"/>
                      <a:pt x="34" y="18"/>
                    </a:cubicBezTo>
                    <a:cubicBezTo>
                      <a:pt x="33" y="19"/>
                      <a:pt x="33" y="20"/>
                      <a:pt x="32" y="20"/>
                    </a:cubicBezTo>
                    <a:cubicBezTo>
                      <a:pt x="31" y="20"/>
                      <a:pt x="31" y="20"/>
                      <a:pt x="31" y="20"/>
                    </a:cubicBezTo>
                    <a:cubicBezTo>
                      <a:pt x="29" y="21"/>
                      <a:pt x="29" y="21"/>
                      <a:pt x="30" y="22"/>
                    </a:cubicBezTo>
                    <a:cubicBezTo>
                      <a:pt x="30" y="22"/>
                      <a:pt x="30" y="23"/>
                      <a:pt x="30" y="23"/>
                    </a:cubicBezTo>
                    <a:cubicBezTo>
                      <a:pt x="30" y="23"/>
                      <a:pt x="30" y="23"/>
                      <a:pt x="30" y="23"/>
                    </a:cubicBezTo>
                    <a:cubicBezTo>
                      <a:pt x="30" y="24"/>
                      <a:pt x="30" y="26"/>
                      <a:pt x="30" y="27"/>
                    </a:cubicBezTo>
                    <a:cubicBezTo>
                      <a:pt x="30" y="27"/>
                      <a:pt x="30" y="27"/>
                      <a:pt x="30" y="28"/>
                    </a:cubicBezTo>
                    <a:cubicBezTo>
                      <a:pt x="29" y="28"/>
                      <a:pt x="29" y="28"/>
                      <a:pt x="29" y="28"/>
                    </a:cubicBezTo>
                    <a:cubicBezTo>
                      <a:pt x="29" y="28"/>
                      <a:pt x="29" y="29"/>
                      <a:pt x="29" y="29"/>
                    </a:cubicBezTo>
                    <a:cubicBezTo>
                      <a:pt x="29" y="30"/>
                      <a:pt x="28" y="31"/>
                      <a:pt x="27" y="32"/>
                    </a:cubicBezTo>
                    <a:cubicBezTo>
                      <a:pt x="25" y="34"/>
                      <a:pt x="25" y="34"/>
                      <a:pt x="25" y="34"/>
                    </a:cubicBezTo>
                    <a:cubicBezTo>
                      <a:pt x="26" y="37"/>
                      <a:pt x="25" y="40"/>
                      <a:pt x="23" y="43"/>
                    </a:cubicBezTo>
                    <a:cubicBezTo>
                      <a:pt x="22" y="45"/>
                      <a:pt x="21" y="48"/>
                      <a:pt x="21" y="48"/>
                    </a:cubicBezTo>
                    <a:cubicBezTo>
                      <a:pt x="21" y="48"/>
                      <a:pt x="21" y="48"/>
                      <a:pt x="21" y="48"/>
                    </a:cubicBezTo>
                    <a:cubicBezTo>
                      <a:pt x="21" y="48"/>
                      <a:pt x="21" y="48"/>
                      <a:pt x="21" y="48"/>
                    </a:cubicBezTo>
                    <a:cubicBezTo>
                      <a:pt x="21" y="48"/>
                      <a:pt x="20" y="49"/>
                      <a:pt x="18" y="51"/>
                    </a:cubicBezTo>
                    <a:cubicBezTo>
                      <a:pt x="18" y="51"/>
                      <a:pt x="18" y="51"/>
                      <a:pt x="18" y="51"/>
                    </a:cubicBezTo>
                    <a:cubicBezTo>
                      <a:pt x="17" y="51"/>
                      <a:pt x="17" y="51"/>
                      <a:pt x="17" y="51"/>
                    </a:cubicBezTo>
                    <a:cubicBezTo>
                      <a:pt x="15" y="50"/>
                      <a:pt x="13" y="50"/>
                      <a:pt x="12" y="50"/>
                    </a:cubicBezTo>
                    <a:cubicBezTo>
                      <a:pt x="12" y="50"/>
                      <a:pt x="12" y="50"/>
                      <a:pt x="12" y="50"/>
                    </a:cubicBezTo>
                    <a:cubicBezTo>
                      <a:pt x="13" y="52"/>
                      <a:pt x="12" y="55"/>
                      <a:pt x="12" y="58"/>
                    </a:cubicBezTo>
                    <a:cubicBezTo>
                      <a:pt x="12" y="59"/>
                      <a:pt x="11" y="60"/>
                      <a:pt x="10" y="60"/>
                    </a:cubicBezTo>
                    <a:cubicBezTo>
                      <a:pt x="10" y="60"/>
                      <a:pt x="10" y="60"/>
                      <a:pt x="9" y="60"/>
                    </a:cubicBezTo>
                    <a:cubicBezTo>
                      <a:pt x="9" y="62"/>
                      <a:pt x="9" y="62"/>
                      <a:pt x="9" y="62"/>
                    </a:cubicBezTo>
                    <a:cubicBezTo>
                      <a:pt x="9" y="64"/>
                      <a:pt x="9" y="64"/>
                      <a:pt x="9" y="64"/>
                    </a:cubicBezTo>
                    <a:cubicBezTo>
                      <a:pt x="10" y="68"/>
                      <a:pt x="10" y="68"/>
                      <a:pt x="10" y="68"/>
                    </a:cubicBezTo>
                    <a:cubicBezTo>
                      <a:pt x="7" y="71"/>
                      <a:pt x="7" y="71"/>
                      <a:pt x="7" y="71"/>
                    </a:cubicBezTo>
                    <a:cubicBezTo>
                      <a:pt x="6" y="71"/>
                      <a:pt x="6" y="71"/>
                      <a:pt x="6" y="71"/>
                    </a:cubicBezTo>
                    <a:cubicBezTo>
                      <a:pt x="4" y="72"/>
                      <a:pt x="4" y="72"/>
                      <a:pt x="4" y="72"/>
                    </a:cubicBezTo>
                    <a:cubicBezTo>
                      <a:pt x="5" y="76"/>
                      <a:pt x="5" y="76"/>
                      <a:pt x="5" y="76"/>
                    </a:cubicBezTo>
                    <a:cubicBezTo>
                      <a:pt x="5" y="76"/>
                      <a:pt x="5" y="77"/>
                      <a:pt x="5" y="77"/>
                    </a:cubicBezTo>
                    <a:cubicBezTo>
                      <a:pt x="5" y="77"/>
                      <a:pt x="5" y="77"/>
                      <a:pt x="5" y="77"/>
                    </a:cubicBezTo>
                    <a:cubicBezTo>
                      <a:pt x="5" y="80"/>
                      <a:pt x="5" y="80"/>
                      <a:pt x="5" y="80"/>
                    </a:cubicBezTo>
                    <a:cubicBezTo>
                      <a:pt x="3" y="79"/>
                      <a:pt x="3" y="79"/>
                      <a:pt x="3" y="79"/>
                    </a:cubicBezTo>
                    <a:cubicBezTo>
                      <a:pt x="2" y="78"/>
                      <a:pt x="2" y="78"/>
                      <a:pt x="2" y="78"/>
                    </a:cubicBezTo>
                    <a:cubicBezTo>
                      <a:pt x="1" y="78"/>
                      <a:pt x="1" y="78"/>
                      <a:pt x="1" y="78"/>
                    </a:cubicBezTo>
                    <a:cubicBezTo>
                      <a:pt x="0" y="78"/>
                      <a:pt x="0" y="79"/>
                      <a:pt x="0" y="79"/>
                    </a:cubicBezTo>
                    <a:cubicBezTo>
                      <a:pt x="0" y="79"/>
                      <a:pt x="0" y="79"/>
                      <a:pt x="0" y="79"/>
                    </a:cubicBezTo>
                    <a:cubicBezTo>
                      <a:pt x="0" y="79"/>
                      <a:pt x="0" y="79"/>
                      <a:pt x="0" y="79"/>
                    </a:cubicBezTo>
                    <a:cubicBezTo>
                      <a:pt x="0" y="80"/>
                      <a:pt x="0" y="80"/>
                      <a:pt x="0" y="80"/>
                    </a:cubicBezTo>
                    <a:cubicBezTo>
                      <a:pt x="0" y="80"/>
                      <a:pt x="0" y="80"/>
                      <a:pt x="0" y="80"/>
                    </a:cubicBezTo>
                    <a:cubicBezTo>
                      <a:pt x="1" y="80"/>
                      <a:pt x="1" y="80"/>
                      <a:pt x="1" y="80"/>
                    </a:cubicBezTo>
                    <a:cubicBezTo>
                      <a:pt x="0" y="81"/>
                      <a:pt x="0" y="81"/>
                      <a:pt x="0" y="81"/>
                    </a:cubicBezTo>
                    <a:cubicBezTo>
                      <a:pt x="0" y="81"/>
                      <a:pt x="0" y="82"/>
                      <a:pt x="0" y="82"/>
                    </a:cubicBezTo>
                    <a:cubicBezTo>
                      <a:pt x="0" y="82"/>
                      <a:pt x="1" y="82"/>
                      <a:pt x="1" y="82"/>
                    </a:cubicBezTo>
                    <a:cubicBezTo>
                      <a:pt x="1" y="83"/>
                      <a:pt x="1" y="84"/>
                      <a:pt x="2" y="85"/>
                    </a:cubicBezTo>
                    <a:cubicBezTo>
                      <a:pt x="2" y="86"/>
                      <a:pt x="3" y="87"/>
                      <a:pt x="3" y="87"/>
                    </a:cubicBezTo>
                    <a:cubicBezTo>
                      <a:pt x="4" y="88"/>
                      <a:pt x="4" y="88"/>
                      <a:pt x="4" y="89"/>
                    </a:cubicBezTo>
                    <a:cubicBezTo>
                      <a:pt x="4" y="88"/>
                      <a:pt x="4" y="87"/>
                      <a:pt x="4" y="87"/>
                    </a:cubicBezTo>
                    <a:cubicBezTo>
                      <a:pt x="4" y="86"/>
                      <a:pt x="4" y="85"/>
                      <a:pt x="4" y="85"/>
                    </a:cubicBezTo>
                    <a:cubicBezTo>
                      <a:pt x="4" y="85"/>
                      <a:pt x="4" y="86"/>
                      <a:pt x="5" y="86"/>
                    </a:cubicBezTo>
                    <a:cubicBezTo>
                      <a:pt x="5" y="87"/>
                      <a:pt x="5" y="87"/>
                      <a:pt x="5" y="88"/>
                    </a:cubicBezTo>
                    <a:cubicBezTo>
                      <a:pt x="6" y="88"/>
                      <a:pt x="5" y="88"/>
                      <a:pt x="5" y="89"/>
                    </a:cubicBezTo>
                    <a:cubicBezTo>
                      <a:pt x="5" y="89"/>
                      <a:pt x="5" y="89"/>
                      <a:pt x="6" y="89"/>
                    </a:cubicBezTo>
                    <a:cubicBezTo>
                      <a:pt x="6" y="89"/>
                      <a:pt x="6" y="89"/>
                      <a:pt x="6" y="90"/>
                    </a:cubicBezTo>
                    <a:cubicBezTo>
                      <a:pt x="6" y="89"/>
                      <a:pt x="6" y="89"/>
                      <a:pt x="6" y="88"/>
                    </a:cubicBezTo>
                    <a:cubicBezTo>
                      <a:pt x="7" y="88"/>
                      <a:pt x="7" y="87"/>
                      <a:pt x="7" y="86"/>
                    </a:cubicBezTo>
                    <a:cubicBezTo>
                      <a:pt x="7" y="87"/>
                      <a:pt x="7" y="87"/>
                      <a:pt x="7" y="87"/>
                    </a:cubicBezTo>
                    <a:cubicBezTo>
                      <a:pt x="7" y="87"/>
                      <a:pt x="7" y="88"/>
                      <a:pt x="7" y="88"/>
                    </a:cubicBezTo>
                    <a:cubicBezTo>
                      <a:pt x="8" y="87"/>
                      <a:pt x="8" y="87"/>
                      <a:pt x="8" y="87"/>
                    </a:cubicBezTo>
                    <a:cubicBezTo>
                      <a:pt x="7" y="88"/>
                      <a:pt x="7" y="90"/>
                      <a:pt x="7" y="91"/>
                    </a:cubicBezTo>
                    <a:cubicBezTo>
                      <a:pt x="7" y="91"/>
                      <a:pt x="7" y="91"/>
                      <a:pt x="7" y="91"/>
                    </a:cubicBezTo>
                    <a:cubicBezTo>
                      <a:pt x="7" y="91"/>
                      <a:pt x="7" y="91"/>
                      <a:pt x="7" y="91"/>
                    </a:cubicBezTo>
                    <a:cubicBezTo>
                      <a:pt x="7" y="92"/>
                      <a:pt x="8" y="93"/>
                      <a:pt x="8" y="93"/>
                    </a:cubicBezTo>
                    <a:cubicBezTo>
                      <a:pt x="8" y="91"/>
                      <a:pt x="8" y="90"/>
                      <a:pt x="10" y="91"/>
                    </a:cubicBezTo>
                    <a:cubicBezTo>
                      <a:pt x="11" y="91"/>
                      <a:pt x="11" y="91"/>
                      <a:pt x="11" y="91"/>
                    </a:cubicBezTo>
                    <a:cubicBezTo>
                      <a:pt x="12" y="91"/>
                      <a:pt x="14" y="92"/>
                      <a:pt x="14" y="92"/>
                    </a:cubicBezTo>
                    <a:cubicBezTo>
                      <a:pt x="14" y="92"/>
                      <a:pt x="14" y="93"/>
                      <a:pt x="14" y="93"/>
                    </a:cubicBezTo>
                    <a:cubicBezTo>
                      <a:pt x="14" y="93"/>
                      <a:pt x="14" y="93"/>
                      <a:pt x="14" y="93"/>
                    </a:cubicBezTo>
                    <a:cubicBezTo>
                      <a:pt x="14" y="93"/>
                      <a:pt x="14" y="93"/>
                      <a:pt x="13" y="93"/>
                    </a:cubicBezTo>
                    <a:cubicBezTo>
                      <a:pt x="13" y="93"/>
                      <a:pt x="13" y="93"/>
                      <a:pt x="13" y="93"/>
                    </a:cubicBezTo>
                    <a:cubicBezTo>
                      <a:pt x="13" y="94"/>
                      <a:pt x="14" y="94"/>
                      <a:pt x="15" y="94"/>
                    </a:cubicBezTo>
                    <a:cubicBezTo>
                      <a:pt x="14" y="95"/>
                      <a:pt x="14" y="95"/>
                      <a:pt x="15" y="96"/>
                    </a:cubicBezTo>
                    <a:cubicBezTo>
                      <a:pt x="15" y="96"/>
                      <a:pt x="15" y="96"/>
                      <a:pt x="15" y="96"/>
                    </a:cubicBezTo>
                    <a:cubicBezTo>
                      <a:pt x="15" y="97"/>
                      <a:pt x="16" y="97"/>
                      <a:pt x="17" y="98"/>
                    </a:cubicBezTo>
                    <a:cubicBezTo>
                      <a:pt x="17" y="98"/>
                      <a:pt x="17" y="98"/>
                      <a:pt x="17" y="98"/>
                    </a:cubicBezTo>
                    <a:cubicBezTo>
                      <a:pt x="16" y="99"/>
                      <a:pt x="16" y="99"/>
                      <a:pt x="16" y="100"/>
                    </a:cubicBezTo>
                    <a:cubicBezTo>
                      <a:pt x="16" y="99"/>
                      <a:pt x="15" y="99"/>
                      <a:pt x="15" y="99"/>
                    </a:cubicBezTo>
                    <a:cubicBezTo>
                      <a:pt x="15" y="99"/>
                      <a:pt x="15" y="99"/>
                      <a:pt x="14" y="99"/>
                    </a:cubicBezTo>
                    <a:cubicBezTo>
                      <a:pt x="14" y="99"/>
                      <a:pt x="14" y="98"/>
                      <a:pt x="13" y="98"/>
                    </a:cubicBezTo>
                    <a:cubicBezTo>
                      <a:pt x="13" y="98"/>
                      <a:pt x="13" y="98"/>
                      <a:pt x="13" y="98"/>
                    </a:cubicBezTo>
                    <a:cubicBezTo>
                      <a:pt x="13" y="98"/>
                      <a:pt x="13" y="97"/>
                      <a:pt x="12" y="97"/>
                    </a:cubicBezTo>
                    <a:cubicBezTo>
                      <a:pt x="12" y="97"/>
                      <a:pt x="12" y="98"/>
                      <a:pt x="12" y="98"/>
                    </a:cubicBezTo>
                    <a:cubicBezTo>
                      <a:pt x="12" y="99"/>
                      <a:pt x="13" y="101"/>
                      <a:pt x="14" y="101"/>
                    </a:cubicBezTo>
                    <a:cubicBezTo>
                      <a:pt x="14" y="101"/>
                      <a:pt x="14" y="101"/>
                      <a:pt x="14" y="101"/>
                    </a:cubicBezTo>
                    <a:cubicBezTo>
                      <a:pt x="14" y="102"/>
                      <a:pt x="15" y="102"/>
                      <a:pt x="16" y="103"/>
                    </a:cubicBezTo>
                    <a:cubicBezTo>
                      <a:pt x="16" y="103"/>
                      <a:pt x="16" y="103"/>
                      <a:pt x="16" y="104"/>
                    </a:cubicBezTo>
                    <a:cubicBezTo>
                      <a:pt x="16" y="103"/>
                      <a:pt x="16" y="103"/>
                      <a:pt x="16" y="102"/>
                    </a:cubicBezTo>
                    <a:cubicBezTo>
                      <a:pt x="16" y="102"/>
                      <a:pt x="16" y="101"/>
                      <a:pt x="16" y="100"/>
                    </a:cubicBezTo>
                    <a:cubicBezTo>
                      <a:pt x="16" y="100"/>
                      <a:pt x="16" y="100"/>
                      <a:pt x="16" y="100"/>
                    </a:cubicBezTo>
                    <a:cubicBezTo>
                      <a:pt x="16" y="100"/>
                      <a:pt x="16" y="100"/>
                      <a:pt x="16" y="100"/>
                    </a:cubicBezTo>
                    <a:cubicBezTo>
                      <a:pt x="17" y="99"/>
                      <a:pt x="17" y="99"/>
                      <a:pt x="17" y="98"/>
                    </a:cubicBezTo>
                    <a:cubicBezTo>
                      <a:pt x="18" y="99"/>
                      <a:pt x="18" y="100"/>
                      <a:pt x="18" y="101"/>
                    </a:cubicBezTo>
                    <a:cubicBezTo>
                      <a:pt x="18" y="102"/>
                      <a:pt x="17" y="102"/>
                      <a:pt x="17" y="103"/>
                    </a:cubicBezTo>
                    <a:cubicBezTo>
                      <a:pt x="17" y="104"/>
                      <a:pt x="18" y="103"/>
                      <a:pt x="18" y="104"/>
                    </a:cubicBezTo>
                    <a:cubicBezTo>
                      <a:pt x="18" y="104"/>
                      <a:pt x="18" y="104"/>
                      <a:pt x="18" y="104"/>
                    </a:cubicBezTo>
                    <a:cubicBezTo>
                      <a:pt x="19" y="105"/>
                      <a:pt x="19" y="106"/>
                      <a:pt x="20" y="107"/>
                    </a:cubicBezTo>
                    <a:cubicBezTo>
                      <a:pt x="20" y="108"/>
                      <a:pt x="21" y="108"/>
                      <a:pt x="21" y="109"/>
                    </a:cubicBezTo>
                    <a:cubicBezTo>
                      <a:pt x="21" y="110"/>
                      <a:pt x="22" y="112"/>
                      <a:pt x="22" y="113"/>
                    </a:cubicBezTo>
                    <a:cubicBezTo>
                      <a:pt x="22" y="113"/>
                      <a:pt x="22" y="113"/>
                      <a:pt x="22" y="113"/>
                    </a:cubicBezTo>
                    <a:cubicBezTo>
                      <a:pt x="22" y="114"/>
                      <a:pt x="22" y="115"/>
                      <a:pt x="23" y="116"/>
                    </a:cubicBezTo>
                    <a:cubicBezTo>
                      <a:pt x="23" y="117"/>
                      <a:pt x="23" y="118"/>
                      <a:pt x="23" y="118"/>
                    </a:cubicBezTo>
                    <a:cubicBezTo>
                      <a:pt x="23" y="119"/>
                      <a:pt x="22" y="120"/>
                      <a:pt x="22" y="120"/>
                    </a:cubicBezTo>
                    <a:cubicBezTo>
                      <a:pt x="22" y="121"/>
                      <a:pt x="22" y="122"/>
                      <a:pt x="21" y="124"/>
                    </a:cubicBezTo>
                    <a:cubicBezTo>
                      <a:pt x="21" y="124"/>
                      <a:pt x="21" y="125"/>
                      <a:pt x="21" y="125"/>
                    </a:cubicBezTo>
                    <a:cubicBezTo>
                      <a:pt x="21" y="127"/>
                      <a:pt x="21" y="128"/>
                      <a:pt x="20" y="130"/>
                    </a:cubicBezTo>
                    <a:cubicBezTo>
                      <a:pt x="20" y="131"/>
                      <a:pt x="20" y="133"/>
                      <a:pt x="20" y="134"/>
                    </a:cubicBezTo>
                    <a:cubicBezTo>
                      <a:pt x="21" y="133"/>
                      <a:pt x="22" y="132"/>
                      <a:pt x="23" y="132"/>
                    </a:cubicBezTo>
                    <a:cubicBezTo>
                      <a:pt x="23" y="131"/>
                      <a:pt x="23" y="131"/>
                      <a:pt x="23" y="131"/>
                    </a:cubicBezTo>
                    <a:cubicBezTo>
                      <a:pt x="23" y="131"/>
                      <a:pt x="23" y="131"/>
                      <a:pt x="23" y="131"/>
                    </a:cubicBezTo>
                    <a:cubicBezTo>
                      <a:pt x="24" y="130"/>
                      <a:pt x="24" y="129"/>
                      <a:pt x="24" y="128"/>
                    </a:cubicBezTo>
                    <a:cubicBezTo>
                      <a:pt x="24" y="129"/>
                      <a:pt x="24" y="129"/>
                      <a:pt x="24" y="130"/>
                    </a:cubicBezTo>
                    <a:cubicBezTo>
                      <a:pt x="24" y="130"/>
                      <a:pt x="24" y="131"/>
                      <a:pt x="24" y="131"/>
                    </a:cubicBezTo>
                    <a:cubicBezTo>
                      <a:pt x="24" y="132"/>
                      <a:pt x="23" y="133"/>
                      <a:pt x="23" y="134"/>
                    </a:cubicBezTo>
                    <a:cubicBezTo>
                      <a:pt x="23" y="134"/>
                      <a:pt x="23" y="134"/>
                      <a:pt x="24" y="134"/>
                    </a:cubicBezTo>
                    <a:cubicBezTo>
                      <a:pt x="24" y="134"/>
                      <a:pt x="24" y="133"/>
                      <a:pt x="25" y="132"/>
                    </a:cubicBezTo>
                    <a:cubicBezTo>
                      <a:pt x="25" y="133"/>
                      <a:pt x="25" y="133"/>
                      <a:pt x="25" y="133"/>
                    </a:cubicBezTo>
                    <a:cubicBezTo>
                      <a:pt x="24" y="134"/>
                      <a:pt x="24" y="135"/>
                      <a:pt x="24" y="135"/>
                    </a:cubicBezTo>
                    <a:cubicBezTo>
                      <a:pt x="25" y="135"/>
                      <a:pt x="25" y="134"/>
                      <a:pt x="25" y="134"/>
                    </a:cubicBezTo>
                    <a:cubicBezTo>
                      <a:pt x="25" y="134"/>
                      <a:pt x="26" y="133"/>
                      <a:pt x="26" y="133"/>
                    </a:cubicBezTo>
                    <a:cubicBezTo>
                      <a:pt x="26" y="133"/>
                      <a:pt x="26" y="133"/>
                      <a:pt x="26" y="132"/>
                    </a:cubicBezTo>
                    <a:cubicBezTo>
                      <a:pt x="26" y="132"/>
                      <a:pt x="26" y="132"/>
                      <a:pt x="26" y="132"/>
                    </a:cubicBezTo>
                    <a:cubicBezTo>
                      <a:pt x="26" y="132"/>
                      <a:pt x="26" y="132"/>
                      <a:pt x="26" y="132"/>
                    </a:cubicBezTo>
                    <a:cubicBezTo>
                      <a:pt x="26" y="133"/>
                      <a:pt x="26" y="134"/>
                      <a:pt x="27" y="135"/>
                    </a:cubicBezTo>
                    <a:cubicBezTo>
                      <a:pt x="27" y="136"/>
                      <a:pt x="27" y="136"/>
                      <a:pt x="27" y="136"/>
                    </a:cubicBezTo>
                    <a:cubicBezTo>
                      <a:pt x="28" y="136"/>
                      <a:pt x="28" y="135"/>
                      <a:pt x="28" y="135"/>
                    </a:cubicBezTo>
                    <a:cubicBezTo>
                      <a:pt x="28" y="134"/>
                      <a:pt x="28" y="134"/>
                      <a:pt x="28" y="134"/>
                    </a:cubicBezTo>
                    <a:cubicBezTo>
                      <a:pt x="28" y="134"/>
                      <a:pt x="28" y="134"/>
                      <a:pt x="28" y="134"/>
                    </a:cubicBezTo>
                    <a:cubicBezTo>
                      <a:pt x="28" y="133"/>
                      <a:pt x="29" y="131"/>
                      <a:pt x="29" y="133"/>
                    </a:cubicBezTo>
                    <a:cubicBezTo>
                      <a:pt x="29" y="133"/>
                      <a:pt x="29" y="133"/>
                      <a:pt x="29" y="133"/>
                    </a:cubicBezTo>
                    <a:cubicBezTo>
                      <a:pt x="29" y="134"/>
                      <a:pt x="28" y="136"/>
                      <a:pt x="29" y="136"/>
                    </a:cubicBezTo>
                    <a:cubicBezTo>
                      <a:pt x="29" y="136"/>
                      <a:pt x="30" y="135"/>
                      <a:pt x="30" y="135"/>
                    </a:cubicBezTo>
                    <a:cubicBezTo>
                      <a:pt x="30" y="134"/>
                      <a:pt x="31" y="134"/>
                      <a:pt x="31" y="133"/>
                    </a:cubicBezTo>
                    <a:cubicBezTo>
                      <a:pt x="31" y="133"/>
                      <a:pt x="31" y="135"/>
                      <a:pt x="30" y="136"/>
                    </a:cubicBezTo>
                    <a:cubicBezTo>
                      <a:pt x="30" y="136"/>
                      <a:pt x="30" y="137"/>
                      <a:pt x="31" y="136"/>
                    </a:cubicBezTo>
                    <a:cubicBezTo>
                      <a:pt x="33" y="136"/>
                      <a:pt x="34" y="133"/>
                      <a:pt x="34" y="132"/>
                    </a:cubicBezTo>
                    <a:cubicBezTo>
                      <a:pt x="35" y="131"/>
                      <a:pt x="36" y="132"/>
                      <a:pt x="37" y="131"/>
                    </a:cubicBezTo>
                    <a:cubicBezTo>
                      <a:pt x="38" y="131"/>
                      <a:pt x="38" y="130"/>
                      <a:pt x="38" y="130"/>
                    </a:cubicBezTo>
                    <a:cubicBezTo>
                      <a:pt x="38" y="130"/>
                      <a:pt x="41" y="130"/>
                      <a:pt x="41" y="129"/>
                    </a:cubicBezTo>
                    <a:cubicBezTo>
                      <a:pt x="41" y="129"/>
                      <a:pt x="41" y="129"/>
                      <a:pt x="41" y="129"/>
                    </a:cubicBezTo>
                    <a:cubicBezTo>
                      <a:pt x="40" y="128"/>
                      <a:pt x="40" y="128"/>
                      <a:pt x="40" y="128"/>
                    </a:cubicBezTo>
                    <a:cubicBezTo>
                      <a:pt x="41" y="128"/>
                      <a:pt x="41" y="128"/>
                      <a:pt x="41" y="128"/>
                    </a:cubicBezTo>
                    <a:cubicBezTo>
                      <a:pt x="41" y="128"/>
                      <a:pt x="41" y="128"/>
                      <a:pt x="42" y="128"/>
                    </a:cubicBezTo>
                    <a:cubicBezTo>
                      <a:pt x="42" y="128"/>
                      <a:pt x="42" y="128"/>
                      <a:pt x="43" y="128"/>
                    </a:cubicBezTo>
                    <a:cubicBezTo>
                      <a:pt x="44" y="128"/>
                      <a:pt x="44" y="127"/>
                      <a:pt x="45" y="126"/>
                    </a:cubicBezTo>
                    <a:cubicBezTo>
                      <a:pt x="46" y="125"/>
                      <a:pt x="46" y="125"/>
                      <a:pt x="46" y="124"/>
                    </a:cubicBezTo>
                    <a:cubicBezTo>
                      <a:pt x="46" y="124"/>
                      <a:pt x="46" y="124"/>
                      <a:pt x="46" y="124"/>
                    </a:cubicBezTo>
                    <a:cubicBezTo>
                      <a:pt x="46" y="123"/>
                      <a:pt x="47" y="121"/>
                      <a:pt x="47" y="120"/>
                    </a:cubicBezTo>
                    <a:cubicBezTo>
                      <a:pt x="47" y="119"/>
                      <a:pt x="46" y="119"/>
                      <a:pt x="46" y="118"/>
                    </a:cubicBezTo>
                    <a:cubicBezTo>
                      <a:pt x="47" y="119"/>
                      <a:pt x="47" y="119"/>
                      <a:pt x="47" y="119"/>
                    </a:cubicBezTo>
                    <a:cubicBezTo>
                      <a:pt x="48" y="120"/>
                      <a:pt x="48" y="120"/>
                      <a:pt x="49" y="121"/>
                    </a:cubicBezTo>
                    <a:cubicBezTo>
                      <a:pt x="49" y="122"/>
                      <a:pt x="50" y="123"/>
                      <a:pt x="50" y="123"/>
                    </a:cubicBezTo>
                    <a:cubicBezTo>
                      <a:pt x="50" y="124"/>
                      <a:pt x="50" y="124"/>
                      <a:pt x="50" y="124"/>
                    </a:cubicBezTo>
                    <a:cubicBezTo>
                      <a:pt x="50" y="125"/>
                      <a:pt x="50" y="126"/>
                      <a:pt x="51" y="127"/>
                    </a:cubicBezTo>
                    <a:cubicBezTo>
                      <a:pt x="51" y="127"/>
                      <a:pt x="51" y="128"/>
                      <a:pt x="52" y="128"/>
                    </a:cubicBezTo>
                    <a:cubicBezTo>
                      <a:pt x="52" y="128"/>
                      <a:pt x="53" y="128"/>
                      <a:pt x="54" y="128"/>
                    </a:cubicBezTo>
                    <a:cubicBezTo>
                      <a:pt x="55" y="128"/>
                      <a:pt x="55" y="128"/>
                      <a:pt x="55" y="128"/>
                    </a:cubicBezTo>
                    <a:cubicBezTo>
                      <a:pt x="54" y="128"/>
                      <a:pt x="54" y="131"/>
                      <a:pt x="54" y="132"/>
                    </a:cubicBezTo>
                    <a:cubicBezTo>
                      <a:pt x="54" y="132"/>
                      <a:pt x="54" y="132"/>
                      <a:pt x="54" y="133"/>
                    </a:cubicBezTo>
                    <a:cubicBezTo>
                      <a:pt x="54" y="133"/>
                      <a:pt x="54" y="134"/>
                      <a:pt x="55" y="135"/>
                    </a:cubicBezTo>
                    <a:cubicBezTo>
                      <a:pt x="55" y="136"/>
                      <a:pt x="55" y="136"/>
                      <a:pt x="55" y="137"/>
                    </a:cubicBezTo>
                    <a:cubicBezTo>
                      <a:pt x="55" y="137"/>
                      <a:pt x="55" y="137"/>
                      <a:pt x="55" y="138"/>
                    </a:cubicBezTo>
                    <a:cubicBezTo>
                      <a:pt x="55" y="138"/>
                      <a:pt x="55" y="138"/>
                      <a:pt x="55" y="138"/>
                    </a:cubicBezTo>
                    <a:cubicBezTo>
                      <a:pt x="55" y="140"/>
                      <a:pt x="56" y="141"/>
                      <a:pt x="56" y="142"/>
                    </a:cubicBezTo>
                    <a:cubicBezTo>
                      <a:pt x="56" y="143"/>
                      <a:pt x="56" y="144"/>
                      <a:pt x="56" y="145"/>
                    </a:cubicBezTo>
                    <a:cubicBezTo>
                      <a:pt x="56" y="145"/>
                      <a:pt x="56" y="145"/>
                      <a:pt x="56" y="146"/>
                    </a:cubicBezTo>
                    <a:cubicBezTo>
                      <a:pt x="57" y="146"/>
                      <a:pt x="57" y="147"/>
                      <a:pt x="58" y="148"/>
                    </a:cubicBezTo>
                    <a:cubicBezTo>
                      <a:pt x="58" y="148"/>
                      <a:pt x="58" y="148"/>
                      <a:pt x="58" y="148"/>
                    </a:cubicBezTo>
                    <a:cubicBezTo>
                      <a:pt x="58" y="148"/>
                      <a:pt x="58" y="148"/>
                      <a:pt x="58" y="148"/>
                    </a:cubicBezTo>
                    <a:cubicBezTo>
                      <a:pt x="58" y="148"/>
                      <a:pt x="58" y="148"/>
                      <a:pt x="58" y="148"/>
                    </a:cubicBezTo>
                    <a:cubicBezTo>
                      <a:pt x="58" y="148"/>
                      <a:pt x="58" y="148"/>
                      <a:pt x="58" y="148"/>
                    </a:cubicBezTo>
                    <a:cubicBezTo>
                      <a:pt x="58" y="149"/>
                      <a:pt x="58" y="150"/>
                      <a:pt x="58" y="151"/>
                    </a:cubicBezTo>
                    <a:cubicBezTo>
                      <a:pt x="58" y="153"/>
                      <a:pt x="58" y="154"/>
                      <a:pt x="59" y="155"/>
                    </a:cubicBezTo>
                    <a:cubicBezTo>
                      <a:pt x="59" y="156"/>
                      <a:pt x="59" y="157"/>
                      <a:pt x="59" y="158"/>
                    </a:cubicBezTo>
                    <a:cubicBezTo>
                      <a:pt x="59" y="159"/>
                      <a:pt x="59" y="159"/>
                      <a:pt x="59" y="159"/>
                    </a:cubicBezTo>
                    <a:cubicBezTo>
                      <a:pt x="59" y="159"/>
                      <a:pt x="60" y="159"/>
                      <a:pt x="60" y="159"/>
                    </a:cubicBezTo>
                    <a:cubicBezTo>
                      <a:pt x="59" y="159"/>
                      <a:pt x="60" y="158"/>
                      <a:pt x="60" y="158"/>
                    </a:cubicBezTo>
                    <a:cubicBezTo>
                      <a:pt x="60" y="158"/>
                      <a:pt x="60" y="158"/>
                      <a:pt x="60" y="158"/>
                    </a:cubicBezTo>
                    <a:cubicBezTo>
                      <a:pt x="60" y="157"/>
                      <a:pt x="60" y="155"/>
                      <a:pt x="60" y="154"/>
                    </a:cubicBezTo>
                    <a:cubicBezTo>
                      <a:pt x="60" y="154"/>
                      <a:pt x="61" y="155"/>
                      <a:pt x="61" y="156"/>
                    </a:cubicBezTo>
                    <a:cubicBezTo>
                      <a:pt x="62" y="157"/>
                      <a:pt x="62" y="158"/>
                      <a:pt x="62" y="159"/>
                    </a:cubicBezTo>
                    <a:cubicBezTo>
                      <a:pt x="62" y="160"/>
                      <a:pt x="63" y="161"/>
                      <a:pt x="63" y="161"/>
                    </a:cubicBezTo>
                    <a:cubicBezTo>
                      <a:pt x="63" y="162"/>
                      <a:pt x="63" y="162"/>
                      <a:pt x="63"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8" name="Freeform 3160">
                <a:extLst>
                  <a:ext uri="{FF2B5EF4-FFF2-40B4-BE49-F238E27FC236}">
                    <a16:creationId xmlns:a16="http://schemas.microsoft.com/office/drawing/2014/main" id="{E0168598-82D7-4C8D-8415-8016585E0E83}"/>
                  </a:ext>
                </a:extLst>
              </p:cNvPr>
              <p:cNvSpPr>
                <a:spLocks/>
              </p:cNvSpPr>
              <p:nvPr/>
            </p:nvSpPr>
            <p:spPr bwMode="auto">
              <a:xfrm>
                <a:off x="5970" y="2282"/>
                <a:ext cx="5" cy="7"/>
              </a:xfrm>
              <a:custGeom>
                <a:avLst/>
                <a:gdLst>
                  <a:gd name="T0" fmla="*/ 2 w 2"/>
                  <a:gd name="T1" fmla="*/ 2 h 3"/>
                  <a:gd name="T2" fmla="*/ 2 w 2"/>
                  <a:gd name="T3" fmla="*/ 1 h 3"/>
                  <a:gd name="T4" fmla="*/ 1 w 2"/>
                  <a:gd name="T5" fmla="*/ 1 h 3"/>
                  <a:gd name="T6" fmla="*/ 1 w 2"/>
                  <a:gd name="T7" fmla="*/ 0 h 3"/>
                  <a:gd name="T8" fmla="*/ 1 w 2"/>
                  <a:gd name="T9" fmla="*/ 0 h 3"/>
                  <a:gd name="T10" fmla="*/ 1 w 2"/>
                  <a:gd name="T11" fmla="*/ 0 h 3"/>
                  <a:gd name="T12" fmla="*/ 1 w 2"/>
                  <a:gd name="T13" fmla="*/ 0 h 3"/>
                  <a:gd name="T14" fmla="*/ 0 w 2"/>
                  <a:gd name="T15" fmla="*/ 0 h 3"/>
                  <a:gd name="T16" fmla="*/ 0 w 2"/>
                  <a:gd name="T17" fmla="*/ 0 h 3"/>
                  <a:gd name="T18" fmla="*/ 1 w 2"/>
                  <a:gd name="T19" fmla="*/ 3 h 3"/>
                  <a:gd name="T20" fmla="*/ 2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2" y="2"/>
                    </a:moveTo>
                    <a:cubicBezTo>
                      <a:pt x="2" y="1"/>
                      <a:pt x="2" y="1"/>
                      <a:pt x="2" y="1"/>
                    </a:cubicBezTo>
                    <a:cubicBezTo>
                      <a:pt x="2" y="1"/>
                      <a:pt x="1" y="1"/>
                      <a:pt x="1" y="1"/>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0"/>
                      <a:pt x="0" y="0"/>
                    </a:cubicBezTo>
                    <a:cubicBezTo>
                      <a:pt x="1" y="3"/>
                      <a:pt x="1" y="3"/>
                      <a:pt x="1" y="3"/>
                    </a:cubicBezTo>
                    <a:cubicBezTo>
                      <a:pt x="2"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9" name="Freeform 3161">
                <a:extLst>
                  <a:ext uri="{FF2B5EF4-FFF2-40B4-BE49-F238E27FC236}">
                    <a16:creationId xmlns:a16="http://schemas.microsoft.com/office/drawing/2014/main" id="{865B6540-1324-414E-8A95-A2A741115211}"/>
                  </a:ext>
                </a:extLst>
              </p:cNvPr>
              <p:cNvSpPr>
                <a:spLocks/>
              </p:cNvSpPr>
              <p:nvPr/>
            </p:nvSpPr>
            <p:spPr bwMode="auto">
              <a:xfrm>
                <a:off x="5991" y="23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0" name="Freeform 3162">
                <a:extLst>
                  <a:ext uri="{FF2B5EF4-FFF2-40B4-BE49-F238E27FC236}">
                    <a16:creationId xmlns:a16="http://schemas.microsoft.com/office/drawing/2014/main" id="{2446D07A-1FB5-42CD-B9C1-A1FBD9E62FA9}"/>
                  </a:ext>
                </a:extLst>
              </p:cNvPr>
              <p:cNvSpPr>
                <a:spLocks/>
              </p:cNvSpPr>
              <p:nvPr/>
            </p:nvSpPr>
            <p:spPr bwMode="auto">
              <a:xfrm>
                <a:off x="5904" y="2279"/>
                <a:ext cx="191" cy="358"/>
              </a:xfrm>
              <a:custGeom>
                <a:avLst/>
                <a:gdLst>
                  <a:gd name="T0" fmla="*/ 77 w 81"/>
                  <a:gd name="T1" fmla="*/ 46 h 151"/>
                  <a:gd name="T2" fmla="*/ 73 w 81"/>
                  <a:gd name="T3" fmla="*/ 41 h 151"/>
                  <a:gd name="T4" fmla="*/ 73 w 81"/>
                  <a:gd name="T5" fmla="*/ 33 h 151"/>
                  <a:gd name="T6" fmla="*/ 72 w 81"/>
                  <a:gd name="T7" fmla="*/ 30 h 151"/>
                  <a:gd name="T8" fmla="*/ 64 w 81"/>
                  <a:gd name="T9" fmla="*/ 22 h 151"/>
                  <a:gd name="T10" fmla="*/ 60 w 81"/>
                  <a:gd name="T11" fmla="*/ 22 h 151"/>
                  <a:gd name="T12" fmla="*/ 55 w 81"/>
                  <a:gd name="T13" fmla="*/ 26 h 151"/>
                  <a:gd name="T14" fmla="*/ 47 w 81"/>
                  <a:gd name="T15" fmla="*/ 24 h 151"/>
                  <a:gd name="T16" fmla="*/ 38 w 81"/>
                  <a:gd name="T17" fmla="*/ 31 h 151"/>
                  <a:gd name="T18" fmla="*/ 36 w 81"/>
                  <a:gd name="T19" fmla="*/ 31 h 151"/>
                  <a:gd name="T20" fmla="*/ 34 w 81"/>
                  <a:gd name="T21" fmla="*/ 29 h 151"/>
                  <a:gd name="T22" fmla="*/ 36 w 81"/>
                  <a:gd name="T23" fmla="*/ 24 h 151"/>
                  <a:gd name="T24" fmla="*/ 37 w 81"/>
                  <a:gd name="T25" fmla="*/ 16 h 151"/>
                  <a:gd name="T26" fmla="*/ 37 w 81"/>
                  <a:gd name="T27" fmla="*/ 12 h 151"/>
                  <a:gd name="T28" fmla="*/ 31 w 81"/>
                  <a:gd name="T29" fmla="*/ 10 h 151"/>
                  <a:gd name="T30" fmla="*/ 29 w 81"/>
                  <a:gd name="T31" fmla="*/ 7 h 151"/>
                  <a:gd name="T32" fmla="*/ 25 w 81"/>
                  <a:gd name="T33" fmla="*/ 1 h 151"/>
                  <a:gd name="T34" fmla="*/ 22 w 81"/>
                  <a:gd name="T35" fmla="*/ 1 h 151"/>
                  <a:gd name="T36" fmla="*/ 20 w 81"/>
                  <a:gd name="T37" fmla="*/ 3 h 151"/>
                  <a:gd name="T38" fmla="*/ 17 w 81"/>
                  <a:gd name="T39" fmla="*/ 5 h 151"/>
                  <a:gd name="T40" fmla="*/ 13 w 81"/>
                  <a:gd name="T41" fmla="*/ 7 h 151"/>
                  <a:gd name="T42" fmla="*/ 10 w 81"/>
                  <a:gd name="T43" fmla="*/ 8 h 151"/>
                  <a:gd name="T44" fmla="*/ 5 w 81"/>
                  <a:gd name="T45" fmla="*/ 11 h 151"/>
                  <a:gd name="T46" fmla="*/ 4 w 81"/>
                  <a:gd name="T47" fmla="*/ 17 h 151"/>
                  <a:gd name="T48" fmla="*/ 0 w 81"/>
                  <a:gd name="T49" fmla="*/ 20 h 151"/>
                  <a:gd name="T50" fmla="*/ 3 w 81"/>
                  <a:gd name="T51" fmla="*/ 23 h 151"/>
                  <a:gd name="T52" fmla="*/ 9 w 81"/>
                  <a:gd name="T53" fmla="*/ 33 h 151"/>
                  <a:gd name="T54" fmla="*/ 11 w 81"/>
                  <a:gd name="T55" fmla="*/ 35 h 151"/>
                  <a:gd name="T56" fmla="*/ 14 w 81"/>
                  <a:gd name="T57" fmla="*/ 38 h 151"/>
                  <a:gd name="T58" fmla="*/ 14 w 81"/>
                  <a:gd name="T59" fmla="*/ 45 h 151"/>
                  <a:gd name="T60" fmla="*/ 12 w 81"/>
                  <a:gd name="T61" fmla="*/ 51 h 151"/>
                  <a:gd name="T62" fmla="*/ 13 w 81"/>
                  <a:gd name="T63" fmla="*/ 63 h 151"/>
                  <a:gd name="T64" fmla="*/ 17 w 81"/>
                  <a:gd name="T65" fmla="*/ 67 h 151"/>
                  <a:gd name="T66" fmla="*/ 18 w 81"/>
                  <a:gd name="T67" fmla="*/ 76 h 151"/>
                  <a:gd name="T68" fmla="*/ 19 w 81"/>
                  <a:gd name="T69" fmla="*/ 78 h 151"/>
                  <a:gd name="T70" fmla="*/ 22 w 81"/>
                  <a:gd name="T71" fmla="*/ 88 h 151"/>
                  <a:gd name="T72" fmla="*/ 14 w 81"/>
                  <a:gd name="T73" fmla="*/ 103 h 151"/>
                  <a:gd name="T74" fmla="*/ 8 w 81"/>
                  <a:gd name="T75" fmla="*/ 117 h 151"/>
                  <a:gd name="T76" fmla="*/ 8 w 81"/>
                  <a:gd name="T77" fmla="*/ 126 h 151"/>
                  <a:gd name="T78" fmla="*/ 19 w 81"/>
                  <a:gd name="T79" fmla="*/ 135 h 151"/>
                  <a:gd name="T80" fmla="*/ 26 w 81"/>
                  <a:gd name="T81" fmla="*/ 142 h 151"/>
                  <a:gd name="T82" fmla="*/ 34 w 81"/>
                  <a:gd name="T83" fmla="*/ 143 h 151"/>
                  <a:gd name="T84" fmla="*/ 37 w 81"/>
                  <a:gd name="T85" fmla="*/ 150 h 151"/>
                  <a:gd name="T86" fmla="*/ 43 w 81"/>
                  <a:gd name="T87" fmla="*/ 150 h 151"/>
                  <a:gd name="T88" fmla="*/ 42 w 81"/>
                  <a:gd name="T89" fmla="*/ 143 h 151"/>
                  <a:gd name="T90" fmla="*/ 29 w 81"/>
                  <a:gd name="T91" fmla="*/ 135 h 151"/>
                  <a:gd name="T92" fmla="*/ 25 w 81"/>
                  <a:gd name="T93" fmla="*/ 120 h 151"/>
                  <a:gd name="T94" fmla="*/ 17 w 81"/>
                  <a:gd name="T95" fmla="*/ 110 h 151"/>
                  <a:gd name="T96" fmla="*/ 25 w 81"/>
                  <a:gd name="T97" fmla="*/ 81 h 151"/>
                  <a:gd name="T98" fmla="*/ 31 w 81"/>
                  <a:gd name="T99" fmla="*/ 66 h 151"/>
                  <a:gd name="T100" fmla="*/ 41 w 81"/>
                  <a:gd name="T101" fmla="*/ 80 h 151"/>
                  <a:gd name="T102" fmla="*/ 52 w 81"/>
                  <a:gd name="T103" fmla="*/ 84 h 151"/>
                  <a:gd name="T104" fmla="*/ 50 w 81"/>
                  <a:gd name="T105" fmla="*/ 81 h 151"/>
                  <a:gd name="T106" fmla="*/ 49 w 81"/>
                  <a:gd name="T107" fmla="*/ 70 h 151"/>
                  <a:gd name="T108" fmla="*/ 61 w 81"/>
                  <a:gd name="T109" fmla="*/ 61 h 151"/>
                  <a:gd name="T110" fmla="*/ 75 w 81"/>
                  <a:gd name="T111" fmla="*/ 61 h 151"/>
                  <a:gd name="T112" fmla="*/ 80 w 81"/>
                  <a:gd name="T113" fmla="*/ 60 h 151"/>
                  <a:gd name="T114" fmla="*/ 81 w 81"/>
                  <a:gd name="T115" fmla="*/ 5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 h="151">
                    <a:moveTo>
                      <a:pt x="81" y="50"/>
                    </a:moveTo>
                    <a:cubicBezTo>
                      <a:pt x="81" y="50"/>
                      <a:pt x="81" y="50"/>
                      <a:pt x="81" y="50"/>
                    </a:cubicBezTo>
                    <a:cubicBezTo>
                      <a:pt x="81" y="49"/>
                      <a:pt x="80" y="49"/>
                      <a:pt x="80" y="49"/>
                    </a:cubicBezTo>
                    <a:cubicBezTo>
                      <a:pt x="79" y="48"/>
                      <a:pt x="79" y="47"/>
                      <a:pt x="79" y="47"/>
                    </a:cubicBezTo>
                    <a:cubicBezTo>
                      <a:pt x="79" y="47"/>
                      <a:pt x="79" y="47"/>
                      <a:pt x="79" y="46"/>
                    </a:cubicBezTo>
                    <a:cubicBezTo>
                      <a:pt x="78" y="46"/>
                      <a:pt x="77" y="46"/>
                      <a:pt x="77" y="46"/>
                    </a:cubicBezTo>
                    <a:cubicBezTo>
                      <a:pt x="76" y="45"/>
                      <a:pt x="76" y="44"/>
                      <a:pt x="76" y="44"/>
                    </a:cubicBezTo>
                    <a:cubicBezTo>
                      <a:pt x="75" y="44"/>
                      <a:pt x="75" y="43"/>
                      <a:pt x="75" y="43"/>
                    </a:cubicBezTo>
                    <a:cubicBezTo>
                      <a:pt x="75" y="43"/>
                      <a:pt x="75" y="43"/>
                      <a:pt x="75" y="43"/>
                    </a:cubicBezTo>
                    <a:cubicBezTo>
                      <a:pt x="74" y="43"/>
                      <a:pt x="74" y="42"/>
                      <a:pt x="74" y="42"/>
                    </a:cubicBezTo>
                    <a:cubicBezTo>
                      <a:pt x="73" y="41"/>
                      <a:pt x="73" y="41"/>
                      <a:pt x="73" y="41"/>
                    </a:cubicBezTo>
                    <a:cubicBezTo>
                      <a:pt x="73" y="41"/>
                      <a:pt x="73" y="41"/>
                      <a:pt x="73" y="41"/>
                    </a:cubicBezTo>
                    <a:cubicBezTo>
                      <a:pt x="73" y="41"/>
                      <a:pt x="73" y="40"/>
                      <a:pt x="73" y="40"/>
                    </a:cubicBezTo>
                    <a:cubicBezTo>
                      <a:pt x="73" y="40"/>
                      <a:pt x="73" y="39"/>
                      <a:pt x="73" y="39"/>
                    </a:cubicBezTo>
                    <a:cubicBezTo>
                      <a:pt x="73" y="39"/>
                      <a:pt x="73" y="39"/>
                      <a:pt x="73" y="39"/>
                    </a:cubicBezTo>
                    <a:cubicBezTo>
                      <a:pt x="72" y="37"/>
                      <a:pt x="72" y="36"/>
                      <a:pt x="73" y="35"/>
                    </a:cubicBezTo>
                    <a:cubicBezTo>
                      <a:pt x="73" y="34"/>
                      <a:pt x="73" y="34"/>
                      <a:pt x="73" y="34"/>
                    </a:cubicBezTo>
                    <a:cubicBezTo>
                      <a:pt x="73" y="34"/>
                      <a:pt x="73" y="34"/>
                      <a:pt x="73" y="33"/>
                    </a:cubicBezTo>
                    <a:cubicBezTo>
                      <a:pt x="73" y="33"/>
                      <a:pt x="73" y="33"/>
                      <a:pt x="73" y="33"/>
                    </a:cubicBezTo>
                    <a:cubicBezTo>
                      <a:pt x="73" y="33"/>
                      <a:pt x="73" y="33"/>
                      <a:pt x="73" y="33"/>
                    </a:cubicBezTo>
                    <a:cubicBezTo>
                      <a:pt x="73" y="32"/>
                      <a:pt x="73" y="32"/>
                      <a:pt x="73" y="32"/>
                    </a:cubicBezTo>
                    <a:cubicBezTo>
                      <a:pt x="73" y="32"/>
                      <a:pt x="73" y="32"/>
                      <a:pt x="73" y="32"/>
                    </a:cubicBezTo>
                    <a:cubicBezTo>
                      <a:pt x="73" y="32"/>
                      <a:pt x="73" y="32"/>
                      <a:pt x="73" y="32"/>
                    </a:cubicBezTo>
                    <a:cubicBezTo>
                      <a:pt x="73" y="31"/>
                      <a:pt x="72" y="31"/>
                      <a:pt x="72" y="30"/>
                    </a:cubicBezTo>
                    <a:cubicBezTo>
                      <a:pt x="71" y="30"/>
                      <a:pt x="71" y="30"/>
                      <a:pt x="71" y="30"/>
                    </a:cubicBezTo>
                    <a:cubicBezTo>
                      <a:pt x="70" y="29"/>
                      <a:pt x="68" y="27"/>
                      <a:pt x="67" y="25"/>
                    </a:cubicBezTo>
                    <a:cubicBezTo>
                      <a:pt x="67" y="25"/>
                      <a:pt x="67" y="25"/>
                      <a:pt x="67" y="25"/>
                    </a:cubicBezTo>
                    <a:cubicBezTo>
                      <a:pt x="66" y="24"/>
                      <a:pt x="66" y="24"/>
                      <a:pt x="66" y="24"/>
                    </a:cubicBezTo>
                    <a:cubicBezTo>
                      <a:pt x="66" y="24"/>
                      <a:pt x="66" y="24"/>
                      <a:pt x="66" y="23"/>
                    </a:cubicBezTo>
                    <a:cubicBezTo>
                      <a:pt x="65" y="22"/>
                      <a:pt x="65" y="22"/>
                      <a:pt x="64" y="22"/>
                    </a:cubicBezTo>
                    <a:cubicBezTo>
                      <a:pt x="63" y="22"/>
                      <a:pt x="63" y="22"/>
                      <a:pt x="62" y="22"/>
                    </a:cubicBezTo>
                    <a:cubicBezTo>
                      <a:pt x="62" y="22"/>
                      <a:pt x="62" y="22"/>
                      <a:pt x="61" y="21"/>
                    </a:cubicBezTo>
                    <a:cubicBezTo>
                      <a:pt x="61" y="21"/>
                      <a:pt x="61" y="21"/>
                      <a:pt x="61" y="21"/>
                    </a:cubicBezTo>
                    <a:cubicBezTo>
                      <a:pt x="61" y="21"/>
                      <a:pt x="61" y="21"/>
                      <a:pt x="60" y="21"/>
                    </a:cubicBezTo>
                    <a:cubicBezTo>
                      <a:pt x="60" y="22"/>
                      <a:pt x="60" y="22"/>
                      <a:pt x="60" y="22"/>
                    </a:cubicBezTo>
                    <a:cubicBezTo>
                      <a:pt x="60" y="22"/>
                      <a:pt x="60" y="22"/>
                      <a:pt x="60" y="22"/>
                    </a:cubicBezTo>
                    <a:cubicBezTo>
                      <a:pt x="58" y="24"/>
                      <a:pt x="58" y="24"/>
                      <a:pt x="58" y="24"/>
                    </a:cubicBezTo>
                    <a:cubicBezTo>
                      <a:pt x="58" y="24"/>
                      <a:pt x="58" y="24"/>
                      <a:pt x="58" y="25"/>
                    </a:cubicBezTo>
                    <a:cubicBezTo>
                      <a:pt x="58" y="25"/>
                      <a:pt x="58" y="25"/>
                      <a:pt x="58" y="25"/>
                    </a:cubicBezTo>
                    <a:cubicBezTo>
                      <a:pt x="57" y="26"/>
                      <a:pt x="56" y="26"/>
                      <a:pt x="55" y="26"/>
                    </a:cubicBezTo>
                    <a:cubicBezTo>
                      <a:pt x="55" y="26"/>
                      <a:pt x="55" y="26"/>
                      <a:pt x="55" y="26"/>
                    </a:cubicBezTo>
                    <a:cubicBezTo>
                      <a:pt x="55" y="26"/>
                      <a:pt x="55" y="26"/>
                      <a:pt x="55" y="26"/>
                    </a:cubicBezTo>
                    <a:cubicBezTo>
                      <a:pt x="55" y="26"/>
                      <a:pt x="54" y="26"/>
                      <a:pt x="54" y="27"/>
                    </a:cubicBezTo>
                    <a:cubicBezTo>
                      <a:pt x="54" y="27"/>
                      <a:pt x="54" y="27"/>
                      <a:pt x="54" y="27"/>
                    </a:cubicBezTo>
                    <a:cubicBezTo>
                      <a:pt x="56" y="30"/>
                      <a:pt x="56" y="30"/>
                      <a:pt x="56" y="30"/>
                    </a:cubicBezTo>
                    <a:cubicBezTo>
                      <a:pt x="52" y="28"/>
                      <a:pt x="52" y="28"/>
                      <a:pt x="52" y="28"/>
                    </a:cubicBezTo>
                    <a:cubicBezTo>
                      <a:pt x="50" y="27"/>
                      <a:pt x="49" y="26"/>
                      <a:pt x="48" y="24"/>
                    </a:cubicBezTo>
                    <a:cubicBezTo>
                      <a:pt x="47" y="24"/>
                      <a:pt x="47" y="24"/>
                      <a:pt x="47" y="24"/>
                    </a:cubicBezTo>
                    <a:cubicBezTo>
                      <a:pt x="47" y="24"/>
                      <a:pt x="47" y="24"/>
                      <a:pt x="47" y="24"/>
                    </a:cubicBezTo>
                    <a:cubicBezTo>
                      <a:pt x="46" y="25"/>
                      <a:pt x="45" y="25"/>
                      <a:pt x="45" y="26"/>
                    </a:cubicBezTo>
                    <a:cubicBezTo>
                      <a:pt x="44" y="26"/>
                      <a:pt x="44" y="26"/>
                      <a:pt x="44" y="26"/>
                    </a:cubicBezTo>
                    <a:cubicBezTo>
                      <a:pt x="43" y="26"/>
                      <a:pt x="43" y="27"/>
                      <a:pt x="43" y="27"/>
                    </a:cubicBezTo>
                    <a:cubicBezTo>
                      <a:pt x="42" y="28"/>
                      <a:pt x="40" y="29"/>
                      <a:pt x="39" y="30"/>
                    </a:cubicBezTo>
                    <a:cubicBezTo>
                      <a:pt x="38" y="31"/>
                      <a:pt x="38" y="31"/>
                      <a:pt x="38" y="31"/>
                    </a:cubicBezTo>
                    <a:cubicBezTo>
                      <a:pt x="37" y="31"/>
                      <a:pt x="37" y="31"/>
                      <a:pt x="37" y="31"/>
                    </a:cubicBezTo>
                    <a:cubicBezTo>
                      <a:pt x="37" y="31"/>
                      <a:pt x="37" y="31"/>
                      <a:pt x="37" y="31"/>
                    </a:cubicBezTo>
                    <a:cubicBezTo>
                      <a:pt x="37" y="31"/>
                      <a:pt x="37" y="31"/>
                      <a:pt x="37" y="31"/>
                    </a:cubicBezTo>
                    <a:cubicBezTo>
                      <a:pt x="37" y="31"/>
                      <a:pt x="37" y="31"/>
                      <a:pt x="37" y="31"/>
                    </a:cubicBezTo>
                    <a:cubicBezTo>
                      <a:pt x="37" y="31"/>
                      <a:pt x="37" y="31"/>
                      <a:pt x="37" y="31"/>
                    </a:cubicBezTo>
                    <a:cubicBezTo>
                      <a:pt x="36" y="31"/>
                      <a:pt x="36" y="31"/>
                      <a:pt x="36" y="31"/>
                    </a:cubicBezTo>
                    <a:cubicBezTo>
                      <a:pt x="35" y="31"/>
                      <a:pt x="35" y="31"/>
                      <a:pt x="35" y="31"/>
                    </a:cubicBezTo>
                    <a:cubicBezTo>
                      <a:pt x="35" y="30"/>
                      <a:pt x="35" y="30"/>
                      <a:pt x="35" y="30"/>
                    </a:cubicBezTo>
                    <a:cubicBezTo>
                      <a:pt x="35" y="30"/>
                      <a:pt x="35" y="30"/>
                      <a:pt x="34" y="30"/>
                    </a:cubicBezTo>
                    <a:cubicBezTo>
                      <a:pt x="34" y="30"/>
                      <a:pt x="34" y="30"/>
                      <a:pt x="34" y="30"/>
                    </a:cubicBezTo>
                    <a:cubicBezTo>
                      <a:pt x="34" y="30"/>
                      <a:pt x="34" y="30"/>
                      <a:pt x="34" y="30"/>
                    </a:cubicBezTo>
                    <a:cubicBezTo>
                      <a:pt x="34" y="29"/>
                      <a:pt x="34" y="29"/>
                      <a:pt x="34" y="29"/>
                    </a:cubicBezTo>
                    <a:cubicBezTo>
                      <a:pt x="34" y="28"/>
                      <a:pt x="34" y="27"/>
                      <a:pt x="35" y="26"/>
                    </a:cubicBezTo>
                    <a:cubicBezTo>
                      <a:pt x="35" y="25"/>
                      <a:pt x="35" y="25"/>
                      <a:pt x="35" y="25"/>
                    </a:cubicBezTo>
                    <a:cubicBezTo>
                      <a:pt x="35" y="25"/>
                      <a:pt x="35" y="25"/>
                      <a:pt x="35" y="25"/>
                    </a:cubicBezTo>
                    <a:cubicBezTo>
                      <a:pt x="35" y="25"/>
                      <a:pt x="35" y="25"/>
                      <a:pt x="35" y="25"/>
                    </a:cubicBezTo>
                    <a:cubicBezTo>
                      <a:pt x="36" y="24"/>
                      <a:pt x="36" y="24"/>
                      <a:pt x="36" y="24"/>
                    </a:cubicBezTo>
                    <a:cubicBezTo>
                      <a:pt x="36" y="24"/>
                      <a:pt x="36" y="24"/>
                      <a:pt x="36" y="24"/>
                    </a:cubicBezTo>
                    <a:cubicBezTo>
                      <a:pt x="36" y="24"/>
                      <a:pt x="36" y="23"/>
                      <a:pt x="36" y="23"/>
                    </a:cubicBezTo>
                    <a:cubicBezTo>
                      <a:pt x="35" y="22"/>
                      <a:pt x="35" y="21"/>
                      <a:pt x="35" y="20"/>
                    </a:cubicBezTo>
                    <a:cubicBezTo>
                      <a:pt x="35" y="19"/>
                      <a:pt x="36" y="19"/>
                      <a:pt x="36" y="18"/>
                    </a:cubicBezTo>
                    <a:cubicBezTo>
                      <a:pt x="37" y="17"/>
                      <a:pt x="37" y="17"/>
                      <a:pt x="37" y="17"/>
                    </a:cubicBezTo>
                    <a:cubicBezTo>
                      <a:pt x="37" y="17"/>
                      <a:pt x="37" y="17"/>
                      <a:pt x="37" y="17"/>
                    </a:cubicBezTo>
                    <a:cubicBezTo>
                      <a:pt x="37" y="16"/>
                      <a:pt x="37" y="16"/>
                      <a:pt x="37" y="16"/>
                    </a:cubicBezTo>
                    <a:cubicBezTo>
                      <a:pt x="37" y="15"/>
                      <a:pt x="37" y="15"/>
                      <a:pt x="37" y="15"/>
                    </a:cubicBezTo>
                    <a:cubicBezTo>
                      <a:pt x="37" y="14"/>
                      <a:pt x="37" y="14"/>
                      <a:pt x="37" y="14"/>
                    </a:cubicBezTo>
                    <a:cubicBezTo>
                      <a:pt x="37" y="14"/>
                      <a:pt x="38" y="14"/>
                      <a:pt x="38" y="13"/>
                    </a:cubicBezTo>
                    <a:cubicBezTo>
                      <a:pt x="38" y="13"/>
                      <a:pt x="38" y="13"/>
                      <a:pt x="37" y="13"/>
                    </a:cubicBezTo>
                    <a:cubicBezTo>
                      <a:pt x="37" y="13"/>
                      <a:pt x="37" y="13"/>
                      <a:pt x="37" y="13"/>
                    </a:cubicBezTo>
                    <a:cubicBezTo>
                      <a:pt x="37" y="13"/>
                      <a:pt x="37" y="12"/>
                      <a:pt x="37" y="12"/>
                    </a:cubicBezTo>
                    <a:cubicBezTo>
                      <a:pt x="37" y="12"/>
                      <a:pt x="37" y="12"/>
                      <a:pt x="37" y="12"/>
                    </a:cubicBezTo>
                    <a:cubicBezTo>
                      <a:pt x="37" y="11"/>
                      <a:pt x="36" y="10"/>
                      <a:pt x="36" y="10"/>
                    </a:cubicBezTo>
                    <a:cubicBezTo>
                      <a:pt x="36" y="10"/>
                      <a:pt x="36" y="10"/>
                      <a:pt x="36" y="10"/>
                    </a:cubicBezTo>
                    <a:cubicBezTo>
                      <a:pt x="36" y="10"/>
                      <a:pt x="35" y="10"/>
                      <a:pt x="34" y="10"/>
                    </a:cubicBezTo>
                    <a:cubicBezTo>
                      <a:pt x="34" y="10"/>
                      <a:pt x="33" y="10"/>
                      <a:pt x="32" y="10"/>
                    </a:cubicBezTo>
                    <a:cubicBezTo>
                      <a:pt x="32" y="10"/>
                      <a:pt x="32" y="10"/>
                      <a:pt x="31" y="10"/>
                    </a:cubicBezTo>
                    <a:cubicBezTo>
                      <a:pt x="31" y="9"/>
                      <a:pt x="31" y="9"/>
                      <a:pt x="31" y="9"/>
                    </a:cubicBezTo>
                    <a:cubicBezTo>
                      <a:pt x="31" y="10"/>
                      <a:pt x="31" y="10"/>
                      <a:pt x="31" y="10"/>
                    </a:cubicBezTo>
                    <a:cubicBezTo>
                      <a:pt x="31" y="10"/>
                      <a:pt x="30" y="9"/>
                      <a:pt x="30" y="9"/>
                    </a:cubicBezTo>
                    <a:cubicBezTo>
                      <a:pt x="30" y="9"/>
                      <a:pt x="30" y="9"/>
                      <a:pt x="30" y="9"/>
                    </a:cubicBezTo>
                    <a:cubicBezTo>
                      <a:pt x="29" y="8"/>
                      <a:pt x="29" y="8"/>
                      <a:pt x="29" y="8"/>
                    </a:cubicBezTo>
                    <a:cubicBezTo>
                      <a:pt x="29" y="8"/>
                      <a:pt x="29" y="8"/>
                      <a:pt x="29" y="7"/>
                    </a:cubicBezTo>
                    <a:cubicBezTo>
                      <a:pt x="29" y="7"/>
                      <a:pt x="29" y="7"/>
                      <a:pt x="29" y="7"/>
                    </a:cubicBezTo>
                    <a:cubicBezTo>
                      <a:pt x="28" y="6"/>
                      <a:pt x="28" y="6"/>
                      <a:pt x="28" y="5"/>
                    </a:cubicBezTo>
                    <a:cubicBezTo>
                      <a:pt x="26" y="2"/>
                      <a:pt x="26" y="2"/>
                      <a:pt x="26" y="2"/>
                    </a:cubicBezTo>
                    <a:cubicBezTo>
                      <a:pt x="26" y="2"/>
                      <a:pt x="26" y="2"/>
                      <a:pt x="26" y="2"/>
                    </a:cubicBezTo>
                    <a:cubicBezTo>
                      <a:pt x="26" y="2"/>
                      <a:pt x="26" y="1"/>
                      <a:pt x="26" y="1"/>
                    </a:cubicBezTo>
                    <a:cubicBezTo>
                      <a:pt x="25" y="1"/>
                      <a:pt x="25" y="1"/>
                      <a:pt x="25" y="1"/>
                    </a:cubicBezTo>
                    <a:cubicBezTo>
                      <a:pt x="25" y="1"/>
                      <a:pt x="25" y="1"/>
                      <a:pt x="25" y="0"/>
                    </a:cubicBezTo>
                    <a:cubicBezTo>
                      <a:pt x="25" y="0"/>
                      <a:pt x="25" y="0"/>
                      <a:pt x="25" y="0"/>
                    </a:cubicBezTo>
                    <a:cubicBezTo>
                      <a:pt x="25" y="0"/>
                      <a:pt x="25" y="0"/>
                      <a:pt x="25" y="0"/>
                    </a:cubicBezTo>
                    <a:cubicBezTo>
                      <a:pt x="25" y="0"/>
                      <a:pt x="25" y="0"/>
                      <a:pt x="25" y="0"/>
                    </a:cubicBezTo>
                    <a:cubicBezTo>
                      <a:pt x="24" y="0"/>
                      <a:pt x="24" y="1"/>
                      <a:pt x="23" y="1"/>
                    </a:cubicBezTo>
                    <a:cubicBezTo>
                      <a:pt x="23" y="1"/>
                      <a:pt x="23" y="1"/>
                      <a:pt x="22" y="1"/>
                    </a:cubicBezTo>
                    <a:cubicBezTo>
                      <a:pt x="22" y="1"/>
                      <a:pt x="22" y="1"/>
                      <a:pt x="22" y="1"/>
                    </a:cubicBezTo>
                    <a:cubicBezTo>
                      <a:pt x="22" y="1"/>
                      <a:pt x="22" y="1"/>
                      <a:pt x="22" y="1"/>
                    </a:cubicBezTo>
                    <a:cubicBezTo>
                      <a:pt x="22" y="1"/>
                      <a:pt x="21" y="1"/>
                      <a:pt x="21" y="1"/>
                    </a:cubicBezTo>
                    <a:cubicBezTo>
                      <a:pt x="22" y="3"/>
                      <a:pt x="22" y="3"/>
                      <a:pt x="22" y="3"/>
                    </a:cubicBezTo>
                    <a:cubicBezTo>
                      <a:pt x="20" y="3"/>
                      <a:pt x="20" y="3"/>
                      <a:pt x="20" y="3"/>
                    </a:cubicBezTo>
                    <a:cubicBezTo>
                      <a:pt x="20" y="3"/>
                      <a:pt x="20" y="3"/>
                      <a:pt x="20" y="3"/>
                    </a:cubicBezTo>
                    <a:cubicBezTo>
                      <a:pt x="19" y="3"/>
                      <a:pt x="19" y="3"/>
                      <a:pt x="19" y="3"/>
                    </a:cubicBezTo>
                    <a:cubicBezTo>
                      <a:pt x="19" y="3"/>
                      <a:pt x="18" y="3"/>
                      <a:pt x="18" y="3"/>
                    </a:cubicBezTo>
                    <a:cubicBezTo>
                      <a:pt x="18" y="3"/>
                      <a:pt x="18" y="3"/>
                      <a:pt x="18" y="3"/>
                    </a:cubicBezTo>
                    <a:cubicBezTo>
                      <a:pt x="17" y="3"/>
                      <a:pt x="17" y="3"/>
                      <a:pt x="17" y="3"/>
                    </a:cubicBezTo>
                    <a:cubicBezTo>
                      <a:pt x="17" y="4"/>
                      <a:pt x="17" y="4"/>
                      <a:pt x="17" y="4"/>
                    </a:cubicBezTo>
                    <a:cubicBezTo>
                      <a:pt x="17" y="5"/>
                      <a:pt x="17" y="5"/>
                      <a:pt x="17" y="5"/>
                    </a:cubicBezTo>
                    <a:cubicBezTo>
                      <a:pt x="16" y="6"/>
                      <a:pt x="16" y="6"/>
                      <a:pt x="16" y="6"/>
                    </a:cubicBezTo>
                    <a:cubicBezTo>
                      <a:pt x="16" y="6"/>
                      <a:pt x="16" y="6"/>
                      <a:pt x="16" y="6"/>
                    </a:cubicBezTo>
                    <a:cubicBezTo>
                      <a:pt x="16" y="6"/>
                      <a:pt x="16" y="6"/>
                      <a:pt x="16" y="6"/>
                    </a:cubicBezTo>
                    <a:cubicBezTo>
                      <a:pt x="15" y="7"/>
                      <a:pt x="15" y="7"/>
                      <a:pt x="15" y="7"/>
                    </a:cubicBezTo>
                    <a:cubicBezTo>
                      <a:pt x="15" y="7"/>
                      <a:pt x="14" y="7"/>
                      <a:pt x="14" y="7"/>
                    </a:cubicBezTo>
                    <a:cubicBezTo>
                      <a:pt x="13" y="7"/>
                      <a:pt x="13" y="7"/>
                      <a:pt x="13" y="7"/>
                    </a:cubicBezTo>
                    <a:cubicBezTo>
                      <a:pt x="13" y="7"/>
                      <a:pt x="12" y="7"/>
                      <a:pt x="12" y="7"/>
                    </a:cubicBezTo>
                    <a:cubicBezTo>
                      <a:pt x="13" y="10"/>
                      <a:pt x="13" y="10"/>
                      <a:pt x="13" y="10"/>
                    </a:cubicBezTo>
                    <a:cubicBezTo>
                      <a:pt x="12" y="8"/>
                      <a:pt x="12" y="8"/>
                      <a:pt x="12" y="8"/>
                    </a:cubicBezTo>
                    <a:cubicBezTo>
                      <a:pt x="12" y="8"/>
                      <a:pt x="12" y="8"/>
                      <a:pt x="12" y="8"/>
                    </a:cubicBezTo>
                    <a:cubicBezTo>
                      <a:pt x="11" y="8"/>
                      <a:pt x="11" y="8"/>
                      <a:pt x="10" y="8"/>
                    </a:cubicBezTo>
                    <a:cubicBezTo>
                      <a:pt x="10" y="8"/>
                      <a:pt x="10" y="8"/>
                      <a:pt x="10" y="8"/>
                    </a:cubicBezTo>
                    <a:cubicBezTo>
                      <a:pt x="10" y="8"/>
                      <a:pt x="9" y="8"/>
                      <a:pt x="9" y="8"/>
                    </a:cubicBezTo>
                    <a:cubicBezTo>
                      <a:pt x="8" y="8"/>
                      <a:pt x="8" y="7"/>
                      <a:pt x="7" y="7"/>
                    </a:cubicBezTo>
                    <a:cubicBezTo>
                      <a:pt x="6" y="9"/>
                      <a:pt x="6" y="9"/>
                      <a:pt x="6" y="9"/>
                    </a:cubicBezTo>
                    <a:cubicBezTo>
                      <a:pt x="6" y="7"/>
                      <a:pt x="6" y="7"/>
                      <a:pt x="6" y="7"/>
                    </a:cubicBezTo>
                    <a:cubicBezTo>
                      <a:pt x="6" y="7"/>
                      <a:pt x="6" y="7"/>
                      <a:pt x="6" y="7"/>
                    </a:cubicBezTo>
                    <a:cubicBezTo>
                      <a:pt x="5" y="8"/>
                      <a:pt x="5" y="9"/>
                      <a:pt x="5" y="11"/>
                    </a:cubicBezTo>
                    <a:cubicBezTo>
                      <a:pt x="4" y="12"/>
                      <a:pt x="4" y="13"/>
                      <a:pt x="4" y="15"/>
                    </a:cubicBezTo>
                    <a:cubicBezTo>
                      <a:pt x="4" y="15"/>
                      <a:pt x="4" y="15"/>
                      <a:pt x="4" y="15"/>
                    </a:cubicBezTo>
                    <a:cubicBezTo>
                      <a:pt x="4" y="15"/>
                      <a:pt x="4" y="15"/>
                      <a:pt x="4" y="16"/>
                    </a:cubicBezTo>
                    <a:cubicBezTo>
                      <a:pt x="4" y="16"/>
                      <a:pt x="4" y="16"/>
                      <a:pt x="4" y="16"/>
                    </a:cubicBezTo>
                    <a:cubicBezTo>
                      <a:pt x="4" y="17"/>
                      <a:pt x="4" y="17"/>
                      <a:pt x="4" y="17"/>
                    </a:cubicBezTo>
                    <a:cubicBezTo>
                      <a:pt x="4" y="17"/>
                      <a:pt x="4" y="17"/>
                      <a:pt x="4" y="17"/>
                    </a:cubicBezTo>
                    <a:cubicBezTo>
                      <a:pt x="4" y="18"/>
                      <a:pt x="4" y="18"/>
                      <a:pt x="4" y="18"/>
                    </a:cubicBezTo>
                    <a:cubicBezTo>
                      <a:pt x="4" y="18"/>
                      <a:pt x="4" y="18"/>
                      <a:pt x="4" y="18"/>
                    </a:cubicBezTo>
                    <a:cubicBezTo>
                      <a:pt x="4" y="18"/>
                      <a:pt x="4" y="18"/>
                      <a:pt x="4" y="18"/>
                    </a:cubicBezTo>
                    <a:cubicBezTo>
                      <a:pt x="4" y="19"/>
                      <a:pt x="3" y="20"/>
                      <a:pt x="3" y="20"/>
                    </a:cubicBezTo>
                    <a:cubicBezTo>
                      <a:pt x="2" y="20"/>
                      <a:pt x="2" y="20"/>
                      <a:pt x="2" y="20"/>
                    </a:cubicBezTo>
                    <a:cubicBezTo>
                      <a:pt x="2" y="20"/>
                      <a:pt x="1" y="20"/>
                      <a:pt x="0" y="20"/>
                    </a:cubicBezTo>
                    <a:cubicBezTo>
                      <a:pt x="1" y="20"/>
                      <a:pt x="1" y="20"/>
                      <a:pt x="1" y="20"/>
                    </a:cubicBezTo>
                    <a:cubicBezTo>
                      <a:pt x="1" y="20"/>
                      <a:pt x="1" y="20"/>
                      <a:pt x="2" y="21"/>
                    </a:cubicBezTo>
                    <a:cubicBezTo>
                      <a:pt x="2" y="21"/>
                      <a:pt x="2" y="21"/>
                      <a:pt x="2" y="21"/>
                    </a:cubicBezTo>
                    <a:cubicBezTo>
                      <a:pt x="3" y="22"/>
                      <a:pt x="3" y="22"/>
                      <a:pt x="3" y="22"/>
                    </a:cubicBezTo>
                    <a:cubicBezTo>
                      <a:pt x="3" y="22"/>
                      <a:pt x="3" y="22"/>
                      <a:pt x="3" y="22"/>
                    </a:cubicBezTo>
                    <a:cubicBezTo>
                      <a:pt x="3" y="22"/>
                      <a:pt x="3" y="23"/>
                      <a:pt x="3" y="23"/>
                    </a:cubicBezTo>
                    <a:cubicBezTo>
                      <a:pt x="3" y="23"/>
                      <a:pt x="3" y="23"/>
                      <a:pt x="3" y="23"/>
                    </a:cubicBezTo>
                    <a:cubicBezTo>
                      <a:pt x="3" y="24"/>
                      <a:pt x="4" y="24"/>
                      <a:pt x="4" y="25"/>
                    </a:cubicBezTo>
                    <a:cubicBezTo>
                      <a:pt x="4" y="25"/>
                      <a:pt x="3" y="26"/>
                      <a:pt x="3" y="26"/>
                    </a:cubicBezTo>
                    <a:cubicBezTo>
                      <a:pt x="3" y="26"/>
                      <a:pt x="3" y="26"/>
                      <a:pt x="3" y="26"/>
                    </a:cubicBezTo>
                    <a:cubicBezTo>
                      <a:pt x="4" y="28"/>
                      <a:pt x="6" y="29"/>
                      <a:pt x="6" y="30"/>
                    </a:cubicBezTo>
                    <a:cubicBezTo>
                      <a:pt x="7" y="31"/>
                      <a:pt x="8" y="32"/>
                      <a:pt x="9" y="33"/>
                    </a:cubicBezTo>
                    <a:cubicBezTo>
                      <a:pt x="9" y="33"/>
                      <a:pt x="9" y="33"/>
                      <a:pt x="9" y="33"/>
                    </a:cubicBezTo>
                    <a:cubicBezTo>
                      <a:pt x="9" y="33"/>
                      <a:pt x="10" y="33"/>
                      <a:pt x="10" y="34"/>
                    </a:cubicBezTo>
                    <a:cubicBezTo>
                      <a:pt x="10" y="34"/>
                      <a:pt x="11" y="34"/>
                      <a:pt x="11" y="34"/>
                    </a:cubicBezTo>
                    <a:cubicBezTo>
                      <a:pt x="11" y="35"/>
                      <a:pt x="11" y="35"/>
                      <a:pt x="11" y="35"/>
                    </a:cubicBezTo>
                    <a:cubicBezTo>
                      <a:pt x="11" y="35"/>
                      <a:pt x="11" y="35"/>
                      <a:pt x="11" y="35"/>
                    </a:cubicBezTo>
                    <a:cubicBezTo>
                      <a:pt x="11" y="35"/>
                      <a:pt x="11" y="35"/>
                      <a:pt x="11" y="35"/>
                    </a:cubicBezTo>
                    <a:cubicBezTo>
                      <a:pt x="11" y="35"/>
                      <a:pt x="11" y="35"/>
                      <a:pt x="11" y="36"/>
                    </a:cubicBezTo>
                    <a:cubicBezTo>
                      <a:pt x="12" y="36"/>
                      <a:pt x="12" y="37"/>
                      <a:pt x="12" y="38"/>
                    </a:cubicBezTo>
                    <a:cubicBezTo>
                      <a:pt x="12" y="38"/>
                      <a:pt x="12" y="39"/>
                      <a:pt x="13" y="39"/>
                    </a:cubicBezTo>
                    <a:cubicBezTo>
                      <a:pt x="13" y="39"/>
                      <a:pt x="13" y="39"/>
                      <a:pt x="13" y="39"/>
                    </a:cubicBezTo>
                    <a:cubicBezTo>
                      <a:pt x="13" y="40"/>
                      <a:pt x="13" y="40"/>
                      <a:pt x="13" y="40"/>
                    </a:cubicBezTo>
                    <a:cubicBezTo>
                      <a:pt x="14" y="38"/>
                      <a:pt x="14" y="38"/>
                      <a:pt x="14" y="38"/>
                    </a:cubicBezTo>
                    <a:cubicBezTo>
                      <a:pt x="15" y="40"/>
                      <a:pt x="15" y="40"/>
                      <a:pt x="15" y="40"/>
                    </a:cubicBezTo>
                    <a:cubicBezTo>
                      <a:pt x="15" y="40"/>
                      <a:pt x="15" y="41"/>
                      <a:pt x="15" y="42"/>
                    </a:cubicBezTo>
                    <a:cubicBezTo>
                      <a:pt x="16" y="42"/>
                      <a:pt x="15" y="43"/>
                      <a:pt x="15" y="43"/>
                    </a:cubicBezTo>
                    <a:cubicBezTo>
                      <a:pt x="15" y="43"/>
                      <a:pt x="15" y="44"/>
                      <a:pt x="15" y="44"/>
                    </a:cubicBezTo>
                    <a:cubicBezTo>
                      <a:pt x="15" y="45"/>
                      <a:pt x="15" y="45"/>
                      <a:pt x="15" y="45"/>
                    </a:cubicBezTo>
                    <a:cubicBezTo>
                      <a:pt x="15" y="45"/>
                      <a:pt x="15" y="45"/>
                      <a:pt x="14" y="45"/>
                    </a:cubicBezTo>
                    <a:cubicBezTo>
                      <a:pt x="14" y="45"/>
                      <a:pt x="14" y="45"/>
                      <a:pt x="14" y="45"/>
                    </a:cubicBezTo>
                    <a:cubicBezTo>
                      <a:pt x="14" y="46"/>
                      <a:pt x="13" y="46"/>
                      <a:pt x="12" y="46"/>
                    </a:cubicBezTo>
                    <a:cubicBezTo>
                      <a:pt x="12" y="46"/>
                      <a:pt x="12" y="46"/>
                      <a:pt x="12" y="46"/>
                    </a:cubicBezTo>
                    <a:cubicBezTo>
                      <a:pt x="12" y="47"/>
                      <a:pt x="12" y="48"/>
                      <a:pt x="12" y="48"/>
                    </a:cubicBezTo>
                    <a:cubicBezTo>
                      <a:pt x="12" y="50"/>
                      <a:pt x="12" y="50"/>
                      <a:pt x="12" y="50"/>
                    </a:cubicBezTo>
                    <a:cubicBezTo>
                      <a:pt x="12" y="50"/>
                      <a:pt x="12" y="51"/>
                      <a:pt x="12" y="51"/>
                    </a:cubicBezTo>
                    <a:cubicBezTo>
                      <a:pt x="12" y="52"/>
                      <a:pt x="12" y="53"/>
                      <a:pt x="11" y="54"/>
                    </a:cubicBezTo>
                    <a:cubicBezTo>
                      <a:pt x="11" y="54"/>
                      <a:pt x="10" y="54"/>
                      <a:pt x="9" y="54"/>
                    </a:cubicBezTo>
                    <a:cubicBezTo>
                      <a:pt x="9" y="54"/>
                      <a:pt x="8" y="54"/>
                      <a:pt x="8" y="55"/>
                    </a:cubicBezTo>
                    <a:cubicBezTo>
                      <a:pt x="8" y="55"/>
                      <a:pt x="8" y="55"/>
                      <a:pt x="8" y="55"/>
                    </a:cubicBezTo>
                    <a:cubicBezTo>
                      <a:pt x="8" y="56"/>
                      <a:pt x="9" y="56"/>
                      <a:pt x="9" y="57"/>
                    </a:cubicBezTo>
                    <a:cubicBezTo>
                      <a:pt x="10" y="59"/>
                      <a:pt x="12" y="61"/>
                      <a:pt x="13" y="63"/>
                    </a:cubicBezTo>
                    <a:cubicBezTo>
                      <a:pt x="14" y="64"/>
                      <a:pt x="14" y="64"/>
                      <a:pt x="14" y="64"/>
                    </a:cubicBezTo>
                    <a:cubicBezTo>
                      <a:pt x="14" y="64"/>
                      <a:pt x="14" y="64"/>
                      <a:pt x="15" y="65"/>
                    </a:cubicBezTo>
                    <a:cubicBezTo>
                      <a:pt x="16" y="66"/>
                      <a:pt x="16" y="66"/>
                      <a:pt x="16" y="66"/>
                    </a:cubicBezTo>
                    <a:cubicBezTo>
                      <a:pt x="16" y="66"/>
                      <a:pt x="16" y="66"/>
                      <a:pt x="16" y="66"/>
                    </a:cubicBezTo>
                    <a:cubicBezTo>
                      <a:pt x="16" y="67"/>
                      <a:pt x="16" y="67"/>
                      <a:pt x="16" y="67"/>
                    </a:cubicBezTo>
                    <a:cubicBezTo>
                      <a:pt x="17" y="67"/>
                      <a:pt x="17" y="67"/>
                      <a:pt x="17" y="67"/>
                    </a:cubicBezTo>
                    <a:cubicBezTo>
                      <a:pt x="18" y="68"/>
                      <a:pt x="18" y="68"/>
                      <a:pt x="18" y="69"/>
                    </a:cubicBezTo>
                    <a:cubicBezTo>
                      <a:pt x="18" y="69"/>
                      <a:pt x="18" y="71"/>
                      <a:pt x="18" y="72"/>
                    </a:cubicBezTo>
                    <a:cubicBezTo>
                      <a:pt x="18" y="73"/>
                      <a:pt x="18" y="73"/>
                      <a:pt x="18" y="73"/>
                    </a:cubicBezTo>
                    <a:cubicBezTo>
                      <a:pt x="18" y="73"/>
                      <a:pt x="18" y="73"/>
                      <a:pt x="18" y="73"/>
                    </a:cubicBezTo>
                    <a:cubicBezTo>
                      <a:pt x="18" y="74"/>
                      <a:pt x="18" y="74"/>
                      <a:pt x="18" y="74"/>
                    </a:cubicBezTo>
                    <a:cubicBezTo>
                      <a:pt x="18" y="74"/>
                      <a:pt x="19" y="75"/>
                      <a:pt x="18" y="76"/>
                    </a:cubicBezTo>
                    <a:cubicBezTo>
                      <a:pt x="18" y="76"/>
                      <a:pt x="18" y="76"/>
                      <a:pt x="18" y="76"/>
                    </a:cubicBezTo>
                    <a:cubicBezTo>
                      <a:pt x="18" y="76"/>
                      <a:pt x="18" y="76"/>
                      <a:pt x="18" y="76"/>
                    </a:cubicBezTo>
                    <a:cubicBezTo>
                      <a:pt x="18" y="76"/>
                      <a:pt x="18" y="77"/>
                      <a:pt x="18" y="77"/>
                    </a:cubicBezTo>
                    <a:cubicBezTo>
                      <a:pt x="18" y="77"/>
                      <a:pt x="18" y="77"/>
                      <a:pt x="18" y="77"/>
                    </a:cubicBezTo>
                    <a:cubicBezTo>
                      <a:pt x="18" y="77"/>
                      <a:pt x="18" y="77"/>
                      <a:pt x="18" y="77"/>
                    </a:cubicBezTo>
                    <a:cubicBezTo>
                      <a:pt x="19" y="78"/>
                      <a:pt x="19" y="78"/>
                      <a:pt x="19" y="78"/>
                    </a:cubicBezTo>
                    <a:cubicBezTo>
                      <a:pt x="20" y="79"/>
                      <a:pt x="21" y="80"/>
                      <a:pt x="21" y="82"/>
                    </a:cubicBezTo>
                    <a:cubicBezTo>
                      <a:pt x="21" y="82"/>
                      <a:pt x="21" y="82"/>
                      <a:pt x="21" y="83"/>
                    </a:cubicBezTo>
                    <a:cubicBezTo>
                      <a:pt x="21" y="83"/>
                      <a:pt x="21" y="83"/>
                      <a:pt x="21" y="83"/>
                    </a:cubicBezTo>
                    <a:cubicBezTo>
                      <a:pt x="21" y="84"/>
                      <a:pt x="21" y="84"/>
                      <a:pt x="21" y="85"/>
                    </a:cubicBezTo>
                    <a:cubicBezTo>
                      <a:pt x="22" y="85"/>
                      <a:pt x="22" y="86"/>
                      <a:pt x="22" y="87"/>
                    </a:cubicBezTo>
                    <a:cubicBezTo>
                      <a:pt x="22" y="87"/>
                      <a:pt x="22" y="88"/>
                      <a:pt x="22" y="88"/>
                    </a:cubicBezTo>
                    <a:cubicBezTo>
                      <a:pt x="24" y="88"/>
                      <a:pt x="24" y="88"/>
                      <a:pt x="24" y="88"/>
                    </a:cubicBezTo>
                    <a:cubicBezTo>
                      <a:pt x="23" y="90"/>
                      <a:pt x="23" y="90"/>
                      <a:pt x="23" y="90"/>
                    </a:cubicBezTo>
                    <a:cubicBezTo>
                      <a:pt x="22" y="91"/>
                      <a:pt x="22" y="92"/>
                      <a:pt x="21" y="93"/>
                    </a:cubicBezTo>
                    <a:cubicBezTo>
                      <a:pt x="20" y="94"/>
                      <a:pt x="20" y="95"/>
                      <a:pt x="19" y="96"/>
                    </a:cubicBezTo>
                    <a:cubicBezTo>
                      <a:pt x="18" y="97"/>
                      <a:pt x="17" y="98"/>
                      <a:pt x="17" y="99"/>
                    </a:cubicBezTo>
                    <a:cubicBezTo>
                      <a:pt x="16" y="100"/>
                      <a:pt x="15" y="101"/>
                      <a:pt x="14" y="103"/>
                    </a:cubicBezTo>
                    <a:cubicBezTo>
                      <a:pt x="12" y="109"/>
                      <a:pt x="12" y="109"/>
                      <a:pt x="12" y="109"/>
                    </a:cubicBezTo>
                    <a:cubicBezTo>
                      <a:pt x="11" y="109"/>
                      <a:pt x="11" y="109"/>
                      <a:pt x="11" y="109"/>
                    </a:cubicBezTo>
                    <a:cubicBezTo>
                      <a:pt x="11" y="109"/>
                      <a:pt x="11" y="109"/>
                      <a:pt x="11" y="109"/>
                    </a:cubicBezTo>
                    <a:cubicBezTo>
                      <a:pt x="10" y="111"/>
                      <a:pt x="9" y="114"/>
                      <a:pt x="8" y="116"/>
                    </a:cubicBezTo>
                    <a:cubicBezTo>
                      <a:pt x="8" y="117"/>
                      <a:pt x="8" y="117"/>
                      <a:pt x="8" y="117"/>
                    </a:cubicBezTo>
                    <a:cubicBezTo>
                      <a:pt x="8" y="117"/>
                      <a:pt x="8" y="117"/>
                      <a:pt x="8" y="117"/>
                    </a:cubicBezTo>
                    <a:cubicBezTo>
                      <a:pt x="8" y="117"/>
                      <a:pt x="8" y="117"/>
                      <a:pt x="8" y="117"/>
                    </a:cubicBezTo>
                    <a:cubicBezTo>
                      <a:pt x="8" y="117"/>
                      <a:pt x="8" y="117"/>
                      <a:pt x="8" y="117"/>
                    </a:cubicBezTo>
                    <a:cubicBezTo>
                      <a:pt x="8" y="118"/>
                      <a:pt x="8" y="119"/>
                      <a:pt x="8" y="120"/>
                    </a:cubicBezTo>
                    <a:cubicBezTo>
                      <a:pt x="7" y="121"/>
                      <a:pt x="7" y="122"/>
                      <a:pt x="7" y="123"/>
                    </a:cubicBezTo>
                    <a:cubicBezTo>
                      <a:pt x="7" y="123"/>
                      <a:pt x="7" y="123"/>
                      <a:pt x="7" y="123"/>
                    </a:cubicBezTo>
                    <a:cubicBezTo>
                      <a:pt x="7" y="123"/>
                      <a:pt x="7" y="125"/>
                      <a:pt x="8" y="126"/>
                    </a:cubicBezTo>
                    <a:cubicBezTo>
                      <a:pt x="8" y="127"/>
                      <a:pt x="10" y="127"/>
                      <a:pt x="9" y="125"/>
                    </a:cubicBezTo>
                    <a:cubicBezTo>
                      <a:pt x="11" y="124"/>
                      <a:pt x="12" y="125"/>
                      <a:pt x="13" y="127"/>
                    </a:cubicBezTo>
                    <a:cubicBezTo>
                      <a:pt x="14" y="127"/>
                      <a:pt x="15" y="129"/>
                      <a:pt x="16" y="129"/>
                    </a:cubicBezTo>
                    <a:cubicBezTo>
                      <a:pt x="16" y="130"/>
                      <a:pt x="15" y="131"/>
                      <a:pt x="16" y="131"/>
                    </a:cubicBezTo>
                    <a:cubicBezTo>
                      <a:pt x="16" y="132"/>
                      <a:pt x="18" y="132"/>
                      <a:pt x="18" y="132"/>
                    </a:cubicBezTo>
                    <a:cubicBezTo>
                      <a:pt x="18" y="133"/>
                      <a:pt x="18" y="135"/>
                      <a:pt x="19" y="135"/>
                    </a:cubicBezTo>
                    <a:cubicBezTo>
                      <a:pt x="19" y="136"/>
                      <a:pt x="20" y="135"/>
                      <a:pt x="21" y="135"/>
                    </a:cubicBezTo>
                    <a:cubicBezTo>
                      <a:pt x="20" y="137"/>
                      <a:pt x="21" y="137"/>
                      <a:pt x="23" y="137"/>
                    </a:cubicBezTo>
                    <a:cubicBezTo>
                      <a:pt x="22" y="138"/>
                      <a:pt x="22" y="139"/>
                      <a:pt x="22" y="140"/>
                    </a:cubicBezTo>
                    <a:cubicBezTo>
                      <a:pt x="22" y="141"/>
                      <a:pt x="24" y="142"/>
                      <a:pt x="26" y="144"/>
                    </a:cubicBezTo>
                    <a:cubicBezTo>
                      <a:pt x="26" y="143"/>
                      <a:pt x="26" y="143"/>
                      <a:pt x="26" y="143"/>
                    </a:cubicBezTo>
                    <a:cubicBezTo>
                      <a:pt x="26" y="143"/>
                      <a:pt x="26" y="142"/>
                      <a:pt x="26" y="142"/>
                    </a:cubicBezTo>
                    <a:cubicBezTo>
                      <a:pt x="27" y="139"/>
                      <a:pt x="27" y="139"/>
                      <a:pt x="27" y="139"/>
                    </a:cubicBezTo>
                    <a:cubicBezTo>
                      <a:pt x="28" y="141"/>
                      <a:pt x="28" y="141"/>
                      <a:pt x="28" y="141"/>
                    </a:cubicBezTo>
                    <a:cubicBezTo>
                      <a:pt x="29" y="142"/>
                      <a:pt x="30" y="142"/>
                      <a:pt x="31" y="142"/>
                    </a:cubicBezTo>
                    <a:cubicBezTo>
                      <a:pt x="31" y="142"/>
                      <a:pt x="32" y="142"/>
                      <a:pt x="33" y="143"/>
                    </a:cubicBezTo>
                    <a:cubicBezTo>
                      <a:pt x="33" y="143"/>
                      <a:pt x="33" y="143"/>
                      <a:pt x="33" y="143"/>
                    </a:cubicBezTo>
                    <a:cubicBezTo>
                      <a:pt x="34" y="143"/>
                      <a:pt x="34" y="143"/>
                      <a:pt x="34" y="143"/>
                    </a:cubicBezTo>
                    <a:cubicBezTo>
                      <a:pt x="34" y="143"/>
                      <a:pt x="34" y="143"/>
                      <a:pt x="34" y="143"/>
                    </a:cubicBezTo>
                    <a:cubicBezTo>
                      <a:pt x="35" y="144"/>
                      <a:pt x="35" y="145"/>
                      <a:pt x="35" y="145"/>
                    </a:cubicBezTo>
                    <a:cubicBezTo>
                      <a:pt x="35" y="145"/>
                      <a:pt x="35" y="145"/>
                      <a:pt x="35" y="145"/>
                    </a:cubicBezTo>
                    <a:cubicBezTo>
                      <a:pt x="36" y="145"/>
                      <a:pt x="37" y="145"/>
                      <a:pt x="38" y="146"/>
                    </a:cubicBezTo>
                    <a:cubicBezTo>
                      <a:pt x="38" y="146"/>
                      <a:pt x="38" y="147"/>
                      <a:pt x="38" y="148"/>
                    </a:cubicBezTo>
                    <a:cubicBezTo>
                      <a:pt x="38" y="149"/>
                      <a:pt x="38" y="149"/>
                      <a:pt x="37" y="150"/>
                    </a:cubicBezTo>
                    <a:cubicBezTo>
                      <a:pt x="37" y="150"/>
                      <a:pt x="37" y="151"/>
                      <a:pt x="37" y="151"/>
                    </a:cubicBezTo>
                    <a:cubicBezTo>
                      <a:pt x="37" y="151"/>
                      <a:pt x="37" y="151"/>
                      <a:pt x="37" y="151"/>
                    </a:cubicBezTo>
                    <a:cubicBezTo>
                      <a:pt x="37" y="151"/>
                      <a:pt x="37" y="151"/>
                      <a:pt x="38" y="151"/>
                    </a:cubicBezTo>
                    <a:cubicBezTo>
                      <a:pt x="38" y="150"/>
                      <a:pt x="38" y="150"/>
                      <a:pt x="38" y="150"/>
                    </a:cubicBezTo>
                    <a:cubicBezTo>
                      <a:pt x="39" y="150"/>
                      <a:pt x="40" y="149"/>
                      <a:pt x="41" y="149"/>
                    </a:cubicBezTo>
                    <a:cubicBezTo>
                      <a:pt x="42" y="149"/>
                      <a:pt x="42" y="149"/>
                      <a:pt x="43" y="150"/>
                    </a:cubicBezTo>
                    <a:cubicBezTo>
                      <a:pt x="43" y="150"/>
                      <a:pt x="43" y="150"/>
                      <a:pt x="43" y="150"/>
                    </a:cubicBezTo>
                    <a:cubicBezTo>
                      <a:pt x="44" y="150"/>
                      <a:pt x="44" y="149"/>
                      <a:pt x="45" y="148"/>
                    </a:cubicBezTo>
                    <a:cubicBezTo>
                      <a:pt x="45" y="148"/>
                      <a:pt x="45" y="147"/>
                      <a:pt x="46" y="146"/>
                    </a:cubicBezTo>
                    <a:cubicBezTo>
                      <a:pt x="46" y="146"/>
                      <a:pt x="46" y="146"/>
                      <a:pt x="46" y="146"/>
                    </a:cubicBezTo>
                    <a:cubicBezTo>
                      <a:pt x="45" y="145"/>
                      <a:pt x="45" y="145"/>
                      <a:pt x="45" y="145"/>
                    </a:cubicBezTo>
                    <a:cubicBezTo>
                      <a:pt x="44" y="144"/>
                      <a:pt x="43" y="143"/>
                      <a:pt x="42" y="143"/>
                    </a:cubicBezTo>
                    <a:cubicBezTo>
                      <a:pt x="41" y="141"/>
                      <a:pt x="40" y="139"/>
                      <a:pt x="38" y="139"/>
                    </a:cubicBezTo>
                    <a:cubicBezTo>
                      <a:pt x="39" y="139"/>
                      <a:pt x="39" y="140"/>
                      <a:pt x="39" y="140"/>
                    </a:cubicBezTo>
                    <a:cubicBezTo>
                      <a:pt x="38" y="140"/>
                      <a:pt x="37" y="140"/>
                      <a:pt x="36" y="140"/>
                    </a:cubicBezTo>
                    <a:cubicBezTo>
                      <a:pt x="35" y="140"/>
                      <a:pt x="32" y="136"/>
                      <a:pt x="31" y="137"/>
                    </a:cubicBezTo>
                    <a:cubicBezTo>
                      <a:pt x="31" y="137"/>
                      <a:pt x="30" y="137"/>
                      <a:pt x="30" y="137"/>
                    </a:cubicBezTo>
                    <a:cubicBezTo>
                      <a:pt x="29" y="137"/>
                      <a:pt x="29" y="136"/>
                      <a:pt x="29" y="135"/>
                    </a:cubicBezTo>
                    <a:cubicBezTo>
                      <a:pt x="29" y="135"/>
                      <a:pt x="28" y="134"/>
                      <a:pt x="28" y="134"/>
                    </a:cubicBezTo>
                    <a:cubicBezTo>
                      <a:pt x="27" y="133"/>
                      <a:pt x="27" y="132"/>
                      <a:pt x="27" y="131"/>
                    </a:cubicBezTo>
                    <a:cubicBezTo>
                      <a:pt x="29" y="133"/>
                      <a:pt x="30" y="135"/>
                      <a:pt x="31" y="137"/>
                    </a:cubicBezTo>
                    <a:cubicBezTo>
                      <a:pt x="31" y="136"/>
                      <a:pt x="31" y="136"/>
                      <a:pt x="31" y="136"/>
                    </a:cubicBezTo>
                    <a:cubicBezTo>
                      <a:pt x="29" y="134"/>
                      <a:pt x="29" y="131"/>
                      <a:pt x="29" y="129"/>
                    </a:cubicBezTo>
                    <a:cubicBezTo>
                      <a:pt x="28" y="126"/>
                      <a:pt x="26" y="123"/>
                      <a:pt x="25" y="120"/>
                    </a:cubicBezTo>
                    <a:cubicBezTo>
                      <a:pt x="24" y="118"/>
                      <a:pt x="24" y="117"/>
                      <a:pt x="23" y="115"/>
                    </a:cubicBezTo>
                    <a:cubicBezTo>
                      <a:pt x="23" y="115"/>
                      <a:pt x="21" y="115"/>
                      <a:pt x="20" y="115"/>
                    </a:cubicBezTo>
                    <a:cubicBezTo>
                      <a:pt x="19" y="116"/>
                      <a:pt x="17" y="116"/>
                      <a:pt x="17" y="115"/>
                    </a:cubicBezTo>
                    <a:cubicBezTo>
                      <a:pt x="17" y="115"/>
                      <a:pt x="18" y="114"/>
                      <a:pt x="18" y="114"/>
                    </a:cubicBezTo>
                    <a:cubicBezTo>
                      <a:pt x="18" y="114"/>
                      <a:pt x="18" y="113"/>
                      <a:pt x="17" y="112"/>
                    </a:cubicBezTo>
                    <a:cubicBezTo>
                      <a:pt x="17" y="112"/>
                      <a:pt x="16" y="111"/>
                      <a:pt x="17" y="110"/>
                    </a:cubicBezTo>
                    <a:cubicBezTo>
                      <a:pt x="17" y="108"/>
                      <a:pt x="18" y="106"/>
                      <a:pt x="17" y="104"/>
                    </a:cubicBezTo>
                    <a:cubicBezTo>
                      <a:pt x="17" y="104"/>
                      <a:pt x="18" y="102"/>
                      <a:pt x="18" y="102"/>
                    </a:cubicBezTo>
                    <a:cubicBezTo>
                      <a:pt x="19" y="100"/>
                      <a:pt x="20" y="98"/>
                      <a:pt x="21" y="96"/>
                    </a:cubicBezTo>
                    <a:cubicBezTo>
                      <a:pt x="22" y="93"/>
                      <a:pt x="24" y="90"/>
                      <a:pt x="25" y="86"/>
                    </a:cubicBezTo>
                    <a:cubicBezTo>
                      <a:pt x="26" y="85"/>
                      <a:pt x="25" y="85"/>
                      <a:pt x="25" y="84"/>
                    </a:cubicBezTo>
                    <a:cubicBezTo>
                      <a:pt x="25" y="83"/>
                      <a:pt x="25" y="82"/>
                      <a:pt x="25" y="81"/>
                    </a:cubicBezTo>
                    <a:cubicBezTo>
                      <a:pt x="25" y="79"/>
                      <a:pt x="26" y="78"/>
                      <a:pt x="26" y="76"/>
                    </a:cubicBezTo>
                    <a:cubicBezTo>
                      <a:pt x="26" y="75"/>
                      <a:pt x="25" y="74"/>
                      <a:pt x="25" y="73"/>
                    </a:cubicBezTo>
                    <a:cubicBezTo>
                      <a:pt x="26" y="72"/>
                      <a:pt x="27" y="72"/>
                      <a:pt x="29" y="72"/>
                    </a:cubicBezTo>
                    <a:cubicBezTo>
                      <a:pt x="29" y="72"/>
                      <a:pt x="30" y="72"/>
                      <a:pt x="30" y="72"/>
                    </a:cubicBezTo>
                    <a:cubicBezTo>
                      <a:pt x="29" y="71"/>
                      <a:pt x="28" y="70"/>
                      <a:pt x="28" y="69"/>
                    </a:cubicBezTo>
                    <a:cubicBezTo>
                      <a:pt x="28" y="68"/>
                      <a:pt x="29" y="66"/>
                      <a:pt x="31" y="66"/>
                    </a:cubicBezTo>
                    <a:cubicBezTo>
                      <a:pt x="32" y="66"/>
                      <a:pt x="34" y="68"/>
                      <a:pt x="34" y="69"/>
                    </a:cubicBezTo>
                    <a:cubicBezTo>
                      <a:pt x="34" y="70"/>
                      <a:pt x="33" y="71"/>
                      <a:pt x="32" y="71"/>
                    </a:cubicBezTo>
                    <a:cubicBezTo>
                      <a:pt x="33" y="72"/>
                      <a:pt x="34" y="72"/>
                      <a:pt x="35" y="72"/>
                    </a:cubicBezTo>
                    <a:cubicBezTo>
                      <a:pt x="35" y="75"/>
                      <a:pt x="34" y="77"/>
                      <a:pt x="34" y="79"/>
                    </a:cubicBezTo>
                    <a:cubicBezTo>
                      <a:pt x="34" y="81"/>
                      <a:pt x="35" y="81"/>
                      <a:pt x="36" y="81"/>
                    </a:cubicBezTo>
                    <a:cubicBezTo>
                      <a:pt x="38" y="80"/>
                      <a:pt x="39" y="80"/>
                      <a:pt x="41" y="80"/>
                    </a:cubicBezTo>
                    <a:cubicBezTo>
                      <a:pt x="42" y="80"/>
                      <a:pt x="43" y="80"/>
                      <a:pt x="44" y="80"/>
                    </a:cubicBezTo>
                    <a:cubicBezTo>
                      <a:pt x="45" y="81"/>
                      <a:pt x="48" y="85"/>
                      <a:pt x="49" y="84"/>
                    </a:cubicBezTo>
                    <a:cubicBezTo>
                      <a:pt x="48" y="86"/>
                      <a:pt x="49" y="85"/>
                      <a:pt x="50" y="86"/>
                    </a:cubicBezTo>
                    <a:cubicBezTo>
                      <a:pt x="50" y="86"/>
                      <a:pt x="51" y="86"/>
                      <a:pt x="52" y="87"/>
                    </a:cubicBezTo>
                    <a:cubicBezTo>
                      <a:pt x="52" y="87"/>
                      <a:pt x="52" y="87"/>
                      <a:pt x="53" y="87"/>
                    </a:cubicBezTo>
                    <a:cubicBezTo>
                      <a:pt x="53" y="86"/>
                      <a:pt x="52" y="85"/>
                      <a:pt x="52" y="84"/>
                    </a:cubicBezTo>
                    <a:cubicBezTo>
                      <a:pt x="53" y="84"/>
                      <a:pt x="52" y="84"/>
                      <a:pt x="52" y="84"/>
                    </a:cubicBezTo>
                    <a:cubicBezTo>
                      <a:pt x="52" y="83"/>
                      <a:pt x="52" y="83"/>
                      <a:pt x="52" y="83"/>
                    </a:cubicBezTo>
                    <a:cubicBezTo>
                      <a:pt x="52" y="83"/>
                      <a:pt x="52" y="83"/>
                      <a:pt x="52" y="83"/>
                    </a:cubicBezTo>
                    <a:cubicBezTo>
                      <a:pt x="52" y="83"/>
                      <a:pt x="52" y="83"/>
                      <a:pt x="52" y="83"/>
                    </a:cubicBezTo>
                    <a:cubicBezTo>
                      <a:pt x="51" y="82"/>
                      <a:pt x="51" y="82"/>
                      <a:pt x="51" y="82"/>
                    </a:cubicBezTo>
                    <a:cubicBezTo>
                      <a:pt x="50" y="81"/>
                      <a:pt x="50" y="81"/>
                      <a:pt x="50" y="81"/>
                    </a:cubicBezTo>
                    <a:cubicBezTo>
                      <a:pt x="50" y="80"/>
                      <a:pt x="50" y="79"/>
                      <a:pt x="50" y="78"/>
                    </a:cubicBezTo>
                    <a:cubicBezTo>
                      <a:pt x="50" y="78"/>
                      <a:pt x="50" y="78"/>
                      <a:pt x="50" y="78"/>
                    </a:cubicBezTo>
                    <a:cubicBezTo>
                      <a:pt x="50" y="78"/>
                      <a:pt x="50" y="77"/>
                      <a:pt x="49" y="77"/>
                    </a:cubicBezTo>
                    <a:cubicBezTo>
                      <a:pt x="49" y="76"/>
                      <a:pt x="49" y="76"/>
                      <a:pt x="49" y="76"/>
                    </a:cubicBezTo>
                    <a:cubicBezTo>
                      <a:pt x="48" y="75"/>
                      <a:pt x="47" y="72"/>
                      <a:pt x="49" y="71"/>
                    </a:cubicBezTo>
                    <a:cubicBezTo>
                      <a:pt x="49" y="70"/>
                      <a:pt x="49" y="70"/>
                      <a:pt x="49" y="70"/>
                    </a:cubicBezTo>
                    <a:cubicBezTo>
                      <a:pt x="50" y="70"/>
                      <a:pt x="50" y="70"/>
                      <a:pt x="50" y="70"/>
                    </a:cubicBezTo>
                    <a:cubicBezTo>
                      <a:pt x="51" y="68"/>
                      <a:pt x="52" y="67"/>
                      <a:pt x="53" y="66"/>
                    </a:cubicBezTo>
                    <a:cubicBezTo>
                      <a:pt x="53" y="65"/>
                      <a:pt x="54" y="64"/>
                      <a:pt x="54" y="64"/>
                    </a:cubicBezTo>
                    <a:cubicBezTo>
                      <a:pt x="55" y="64"/>
                      <a:pt x="55" y="63"/>
                      <a:pt x="55" y="63"/>
                    </a:cubicBezTo>
                    <a:cubicBezTo>
                      <a:pt x="56" y="62"/>
                      <a:pt x="58" y="62"/>
                      <a:pt x="60" y="61"/>
                    </a:cubicBezTo>
                    <a:cubicBezTo>
                      <a:pt x="60" y="61"/>
                      <a:pt x="61" y="61"/>
                      <a:pt x="61" y="61"/>
                    </a:cubicBezTo>
                    <a:cubicBezTo>
                      <a:pt x="63" y="61"/>
                      <a:pt x="64" y="61"/>
                      <a:pt x="66" y="61"/>
                    </a:cubicBezTo>
                    <a:cubicBezTo>
                      <a:pt x="66" y="61"/>
                      <a:pt x="66" y="61"/>
                      <a:pt x="66" y="61"/>
                    </a:cubicBezTo>
                    <a:cubicBezTo>
                      <a:pt x="67" y="61"/>
                      <a:pt x="68" y="61"/>
                      <a:pt x="69" y="61"/>
                    </a:cubicBezTo>
                    <a:cubicBezTo>
                      <a:pt x="70" y="61"/>
                      <a:pt x="71" y="61"/>
                      <a:pt x="72" y="61"/>
                    </a:cubicBezTo>
                    <a:cubicBezTo>
                      <a:pt x="72" y="61"/>
                      <a:pt x="72" y="61"/>
                      <a:pt x="72" y="61"/>
                    </a:cubicBezTo>
                    <a:cubicBezTo>
                      <a:pt x="73" y="61"/>
                      <a:pt x="74" y="61"/>
                      <a:pt x="75" y="61"/>
                    </a:cubicBezTo>
                    <a:cubicBezTo>
                      <a:pt x="76" y="61"/>
                      <a:pt x="76" y="61"/>
                      <a:pt x="77" y="61"/>
                    </a:cubicBezTo>
                    <a:cubicBezTo>
                      <a:pt x="77" y="62"/>
                      <a:pt x="77" y="62"/>
                      <a:pt x="78" y="62"/>
                    </a:cubicBezTo>
                    <a:cubicBezTo>
                      <a:pt x="79" y="61"/>
                      <a:pt x="79" y="61"/>
                      <a:pt x="79" y="61"/>
                    </a:cubicBezTo>
                    <a:cubicBezTo>
                      <a:pt x="79" y="61"/>
                      <a:pt x="79" y="61"/>
                      <a:pt x="79" y="61"/>
                    </a:cubicBezTo>
                    <a:cubicBezTo>
                      <a:pt x="79" y="61"/>
                      <a:pt x="80" y="61"/>
                      <a:pt x="80" y="61"/>
                    </a:cubicBezTo>
                    <a:cubicBezTo>
                      <a:pt x="80" y="61"/>
                      <a:pt x="80" y="61"/>
                      <a:pt x="80" y="60"/>
                    </a:cubicBezTo>
                    <a:cubicBezTo>
                      <a:pt x="81" y="60"/>
                      <a:pt x="81" y="58"/>
                      <a:pt x="80" y="57"/>
                    </a:cubicBezTo>
                    <a:cubicBezTo>
                      <a:pt x="80" y="56"/>
                      <a:pt x="80" y="55"/>
                      <a:pt x="80" y="54"/>
                    </a:cubicBezTo>
                    <a:cubicBezTo>
                      <a:pt x="80" y="53"/>
                      <a:pt x="80" y="52"/>
                      <a:pt x="80" y="52"/>
                    </a:cubicBezTo>
                    <a:cubicBezTo>
                      <a:pt x="80" y="51"/>
                      <a:pt x="81" y="51"/>
                      <a:pt x="81" y="51"/>
                    </a:cubicBezTo>
                    <a:cubicBezTo>
                      <a:pt x="81" y="51"/>
                      <a:pt x="81" y="51"/>
                      <a:pt x="81" y="50"/>
                    </a:cubicBezTo>
                    <a:cubicBezTo>
                      <a:pt x="81" y="50"/>
                      <a:pt x="81" y="50"/>
                      <a:pt x="8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1" name="Freeform 3163">
                <a:extLst>
                  <a:ext uri="{FF2B5EF4-FFF2-40B4-BE49-F238E27FC236}">
                    <a16:creationId xmlns:a16="http://schemas.microsoft.com/office/drawing/2014/main" id="{96684D05-2985-4E4D-906B-ED546677CB1E}"/>
                  </a:ext>
                </a:extLst>
              </p:cNvPr>
              <p:cNvSpPr>
                <a:spLocks/>
              </p:cNvSpPr>
              <p:nvPr/>
            </p:nvSpPr>
            <p:spPr bwMode="auto">
              <a:xfrm>
                <a:off x="6034" y="22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2" name="Freeform 3164">
                <a:extLst>
                  <a:ext uri="{FF2B5EF4-FFF2-40B4-BE49-F238E27FC236}">
                    <a16:creationId xmlns:a16="http://schemas.microsoft.com/office/drawing/2014/main" id="{29EF65FF-3E7B-462A-8113-074891F178F8}"/>
                  </a:ext>
                </a:extLst>
              </p:cNvPr>
              <p:cNvSpPr>
                <a:spLocks/>
              </p:cNvSpPr>
              <p:nvPr/>
            </p:nvSpPr>
            <p:spPr bwMode="auto">
              <a:xfrm>
                <a:off x="5970" y="2227"/>
                <a:ext cx="175" cy="209"/>
              </a:xfrm>
              <a:custGeom>
                <a:avLst/>
                <a:gdLst>
                  <a:gd name="T0" fmla="*/ 18 w 74"/>
                  <a:gd name="T1" fmla="*/ 43 h 88"/>
                  <a:gd name="T2" fmla="*/ 25 w 74"/>
                  <a:gd name="T3" fmla="*/ 47 h 88"/>
                  <a:gd name="T4" fmla="*/ 30 w 74"/>
                  <a:gd name="T5" fmla="*/ 42 h 88"/>
                  <a:gd name="T6" fmla="*/ 36 w 74"/>
                  <a:gd name="T7" fmla="*/ 42 h 88"/>
                  <a:gd name="T8" fmla="*/ 42 w 74"/>
                  <a:gd name="T9" fmla="*/ 46 h 88"/>
                  <a:gd name="T10" fmla="*/ 48 w 74"/>
                  <a:gd name="T11" fmla="*/ 54 h 88"/>
                  <a:gd name="T12" fmla="*/ 47 w 74"/>
                  <a:gd name="T13" fmla="*/ 60 h 88"/>
                  <a:gd name="T14" fmla="*/ 50 w 74"/>
                  <a:gd name="T15" fmla="*/ 65 h 88"/>
                  <a:gd name="T16" fmla="*/ 56 w 74"/>
                  <a:gd name="T17" fmla="*/ 67 h 88"/>
                  <a:gd name="T18" fmla="*/ 55 w 74"/>
                  <a:gd name="T19" fmla="*/ 70 h 88"/>
                  <a:gd name="T20" fmla="*/ 55 w 74"/>
                  <a:gd name="T21" fmla="*/ 79 h 88"/>
                  <a:gd name="T22" fmla="*/ 53 w 74"/>
                  <a:gd name="T23" fmla="*/ 86 h 88"/>
                  <a:gd name="T24" fmla="*/ 58 w 74"/>
                  <a:gd name="T25" fmla="*/ 87 h 88"/>
                  <a:gd name="T26" fmla="*/ 59 w 74"/>
                  <a:gd name="T27" fmla="*/ 88 h 88"/>
                  <a:gd name="T28" fmla="*/ 60 w 74"/>
                  <a:gd name="T29" fmla="*/ 83 h 88"/>
                  <a:gd name="T30" fmla="*/ 64 w 74"/>
                  <a:gd name="T31" fmla="*/ 81 h 88"/>
                  <a:gd name="T32" fmla="*/ 69 w 74"/>
                  <a:gd name="T33" fmla="*/ 83 h 88"/>
                  <a:gd name="T34" fmla="*/ 73 w 74"/>
                  <a:gd name="T35" fmla="*/ 80 h 88"/>
                  <a:gd name="T36" fmla="*/ 73 w 74"/>
                  <a:gd name="T37" fmla="*/ 74 h 88"/>
                  <a:gd name="T38" fmla="*/ 72 w 74"/>
                  <a:gd name="T39" fmla="*/ 67 h 88"/>
                  <a:gd name="T40" fmla="*/ 69 w 74"/>
                  <a:gd name="T41" fmla="*/ 66 h 88"/>
                  <a:gd name="T42" fmla="*/ 67 w 74"/>
                  <a:gd name="T43" fmla="*/ 64 h 88"/>
                  <a:gd name="T44" fmla="*/ 64 w 74"/>
                  <a:gd name="T45" fmla="*/ 63 h 88"/>
                  <a:gd name="T46" fmla="*/ 63 w 74"/>
                  <a:gd name="T47" fmla="*/ 60 h 88"/>
                  <a:gd name="T48" fmla="*/ 61 w 74"/>
                  <a:gd name="T49" fmla="*/ 57 h 88"/>
                  <a:gd name="T50" fmla="*/ 58 w 74"/>
                  <a:gd name="T51" fmla="*/ 53 h 88"/>
                  <a:gd name="T52" fmla="*/ 53 w 74"/>
                  <a:gd name="T53" fmla="*/ 47 h 88"/>
                  <a:gd name="T54" fmla="*/ 47 w 74"/>
                  <a:gd name="T55" fmla="*/ 39 h 88"/>
                  <a:gd name="T56" fmla="*/ 37 w 74"/>
                  <a:gd name="T57" fmla="*/ 31 h 88"/>
                  <a:gd name="T58" fmla="*/ 38 w 74"/>
                  <a:gd name="T59" fmla="*/ 28 h 88"/>
                  <a:gd name="T60" fmla="*/ 43 w 74"/>
                  <a:gd name="T61" fmla="*/ 28 h 88"/>
                  <a:gd name="T62" fmla="*/ 45 w 74"/>
                  <a:gd name="T63" fmla="*/ 27 h 88"/>
                  <a:gd name="T64" fmla="*/ 43 w 74"/>
                  <a:gd name="T65" fmla="*/ 22 h 88"/>
                  <a:gd name="T66" fmla="*/ 43 w 74"/>
                  <a:gd name="T67" fmla="*/ 19 h 88"/>
                  <a:gd name="T68" fmla="*/ 40 w 74"/>
                  <a:gd name="T69" fmla="*/ 19 h 88"/>
                  <a:gd name="T70" fmla="*/ 39 w 74"/>
                  <a:gd name="T71" fmla="*/ 17 h 88"/>
                  <a:gd name="T72" fmla="*/ 36 w 74"/>
                  <a:gd name="T73" fmla="*/ 19 h 88"/>
                  <a:gd name="T74" fmla="*/ 34 w 74"/>
                  <a:gd name="T75" fmla="*/ 19 h 88"/>
                  <a:gd name="T76" fmla="*/ 31 w 74"/>
                  <a:gd name="T77" fmla="*/ 18 h 88"/>
                  <a:gd name="T78" fmla="*/ 26 w 74"/>
                  <a:gd name="T79" fmla="*/ 13 h 88"/>
                  <a:gd name="T80" fmla="*/ 26 w 74"/>
                  <a:gd name="T81" fmla="*/ 9 h 88"/>
                  <a:gd name="T82" fmla="*/ 25 w 74"/>
                  <a:gd name="T83" fmla="*/ 9 h 88"/>
                  <a:gd name="T84" fmla="*/ 22 w 74"/>
                  <a:gd name="T85" fmla="*/ 4 h 88"/>
                  <a:gd name="T86" fmla="*/ 16 w 74"/>
                  <a:gd name="T87" fmla="*/ 0 h 88"/>
                  <a:gd name="T88" fmla="*/ 15 w 74"/>
                  <a:gd name="T89" fmla="*/ 3 h 88"/>
                  <a:gd name="T90" fmla="*/ 17 w 74"/>
                  <a:gd name="T91" fmla="*/ 11 h 88"/>
                  <a:gd name="T92" fmla="*/ 12 w 74"/>
                  <a:gd name="T93" fmla="*/ 14 h 88"/>
                  <a:gd name="T94" fmla="*/ 8 w 74"/>
                  <a:gd name="T95" fmla="*/ 11 h 88"/>
                  <a:gd name="T96" fmla="*/ 5 w 74"/>
                  <a:gd name="T97" fmla="*/ 16 h 88"/>
                  <a:gd name="T98" fmla="*/ 0 w 74"/>
                  <a:gd name="T99" fmla="*/ 20 h 88"/>
                  <a:gd name="T100" fmla="*/ 4 w 74"/>
                  <a:gd name="T101" fmla="*/ 25 h 88"/>
                  <a:gd name="T102" fmla="*/ 3 w 74"/>
                  <a:gd name="T103" fmla="*/ 28 h 88"/>
                  <a:gd name="T104" fmla="*/ 11 w 74"/>
                  <a:gd name="T105" fmla="*/ 29 h 88"/>
                  <a:gd name="T106" fmla="*/ 11 w 74"/>
                  <a:gd name="T107" fmla="*/ 33 h 88"/>
                  <a:gd name="T108" fmla="*/ 11 w 74"/>
                  <a:gd name="T109" fmla="*/ 38 h 88"/>
                  <a:gd name="T110" fmla="*/ 10 w 74"/>
                  <a:gd name="T111" fmla="*/ 43 h 88"/>
                  <a:gd name="T112" fmla="*/ 9 w 74"/>
                  <a:gd name="T113" fmla="*/ 4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88">
                    <a:moveTo>
                      <a:pt x="9" y="50"/>
                    </a:moveTo>
                    <a:cubicBezTo>
                      <a:pt x="11" y="49"/>
                      <a:pt x="12" y="48"/>
                      <a:pt x="13" y="47"/>
                    </a:cubicBezTo>
                    <a:cubicBezTo>
                      <a:pt x="14" y="47"/>
                      <a:pt x="14" y="46"/>
                      <a:pt x="14" y="46"/>
                    </a:cubicBezTo>
                    <a:cubicBezTo>
                      <a:pt x="15" y="45"/>
                      <a:pt x="15" y="45"/>
                      <a:pt x="15" y="45"/>
                    </a:cubicBezTo>
                    <a:cubicBezTo>
                      <a:pt x="16" y="45"/>
                      <a:pt x="17" y="44"/>
                      <a:pt x="17" y="44"/>
                    </a:cubicBezTo>
                    <a:cubicBezTo>
                      <a:pt x="18" y="44"/>
                      <a:pt x="18" y="43"/>
                      <a:pt x="18" y="43"/>
                    </a:cubicBezTo>
                    <a:cubicBezTo>
                      <a:pt x="19" y="43"/>
                      <a:pt x="19" y="43"/>
                      <a:pt x="19" y="43"/>
                    </a:cubicBezTo>
                    <a:cubicBezTo>
                      <a:pt x="19" y="43"/>
                      <a:pt x="20" y="44"/>
                      <a:pt x="20" y="44"/>
                    </a:cubicBezTo>
                    <a:cubicBezTo>
                      <a:pt x="20" y="44"/>
                      <a:pt x="20" y="44"/>
                      <a:pt x="20" y="44"/>
                    </a:cubicBezTo>
                    <a:cubicBezTo>
                      <a:pt x="21" y="44"/>
                      <a:pt x="21" y="44"/>
                      <a:pt x="21" y="44"/>
                    </a:cubicBezTo>
                    <a:cubicBezTo>
                      <a:pt x="22" y="45"/>
                      <a:pt x="23" y="46"/>
                      <a:pt x="24" y="47"/>
                    </a:cubicBezTo>
                    <a:cubicBezTo>
                      <a:pt x="25" y="47"/>
                      <a:pt x="25" y="47"/>
                      <a:pt x="25" y="47"/>
                    </a:cubicBezTo>
                    <a:cubicBezTo>
                      <a:pt x="25" y="46"/>
                      <a:pt x="25" y="46"/>
                      <a:pt x="26" y="46"/>
                    </a:cubicBezTo>
                    <a:cubicBezTo>
                      <a:pt x="26" y="46"/>
                      <a:pt x="27" y="46"/>
                      <a:pt x="27" y="46"/>
                    </a:cubicBezTo>
                    <a:cubicBezTo>
                      <a:pt x="27" y="46"/>
                      <a:pt x="27" y="46"/>
                      <a:pt x="28" y="46"/>
                    </a:cubicBezTo>
                    <a:cubicBezTo>
                      <a:pt x="28" y="45"/>
                      <a:pt x="28" y="45"/>
                      <a:pt x="28" y="45"/>
                    </a:cubicBezTo>
                    <a:cubicBezTo>
                      <a:pt x="28" y="45"/>
                      <a:pt x="28" y="44"/>
                      <a:pt x="28" y="44"/>
                    </a:cubicBezTo>
                    <a:cubicBezTo>
                      <a:pt x="29" y="43"/>
                      <a:pt x="29" y="43"/>
                      <a:pt x="30" y="42"/>
                    </a:cubicBezTo>
                    <a:cubicBezTo>
                      <a:pt x="30" y="42"/>
                      <a:pt x="30" y="42"/>
                      <a:pt x="30" y="42"/>
                    </a:cubicBezTo>
                    <a:cubicBezTo>
                      <a:pt x="31" y="41"/>
                      <a:pt x="32" y="41"/>
                      <a:pt x="33" y="41"/>
                    </a:cubicBezTo>
                    <a:cubicBezTo>
                      <a:pt x="33" y="41"/>
                      <a:pt x="33" y="41"/>
                      <a:pt x="33" y="41"/>
                    </a:cubicBezTo>
                    <a:cubicBezTo>
                      <a:pt x="33" y="41"/>
                      <a:pt x="33" y="41"/>
                      <a:pt x="34" y="41"/>
                    </a:cubicBezTo>
                    <a:cubicBezTo>
                      <a:pt x="35" y="41"/>
                      <a:pt x="35" y="41"/>
                      <a:pt x="35" y="41"/>
                    </a:cubicBezTo>
                    <a:cubicBezTo>
                      <a:pt x="35" y="41"/>
                      <a:pt x="36" y="41"/>
                      <a:pt x="36" y="42"/>
                    </a:cubicBezTo>
                    <a:cubicBezTo>
                      <a:pt x="38" y="42"/>
                      <a:pt x="39" y="42"/>
                      <a:pt x="40" y="44"/>
                    </a:cubicBezTo>
                    <a:cubicBezTo>
                      <a:pt x="40" y="44"/>
                      <a:pt x="40" y="44"/>
                      <a:pt x="40" y="44"/>
                    </a:cubicBezTo>
                    <a:cubicBezTo>
                      <a:pt x="42" y="43"/>
                      <a:pt x="42" y="43"/>
                      <a:pt x="42" y="43"/>
                    </a:cubicBezTo>
                    <a:cubicBezTo>
                      <a:pt x="41" y="45"/>
                      <a:pt x="41" y="45"/>
                      <a:pt x="41" y="45"/>
                    </a:cubicBezTo>
                    <a:cubicBezTo>
                      <a:pt x="41" y="46"/>
                      <a:pt x="41" y="46"/>
                      <a:pt x="41" y="46"/>
                    </a:cubicBezTo>
                    <a:cubicBezTo>
                      <a:pt x="41" y="46"/>
                      <a:pt x="41" y="46"/>
                      <a:pt x="42" y="46"/>
                    </a:cubicBezTo>
                    <a:cubicBezTo>
                      <a:pt x="42" y="48"/>
                      <a:pt x="44" y="49"/>
                      <a:pt x="45" y="50"/>
                    </a:cubicBezTo>
                    <a:cubicBezTo>
                      <a:pt x="46" y="51"/>
                      <a:pt x="46" y="51"/>
                      <a:pt x="47" y="52"/>
                    </a:cubicBezTo>
                    <a:cubicBezTo>
                      <a:pt x="47" y="53"/>
                      <a:pt x="48" y="53"/>
                      <a:pt x="48" y="53"/>
                    </a:cubicBezTo>
                    <a:cubicBezTo>
                      <a:pt x="50" y="53"/>
                      <a:pt x="50" y="53"/>
                      <a:pt x="50" y="53"/>
                    </a:cubicBezTo>
                    <a:cubicBezTo>
                      <a:pt x="48" y="54"/>
                      <a:pt x="48" y="54"/>
                      <a:pt x="48" y="54"/>
                    </a:cubicBezTo>
                    <a:cubicBezTo>
                      <a:pt x="48" y="54"/>
                      <a:pt x="48" y="54"/>
                      <a:pt x="48" y="54"/>
                    </a:cubicBezTo>
                    <a:cubicBezTo>
                      <a:pt x="48" y="55"/>
                      <a:pt x="48" y="55"/>
                      <a:pt x="48" y="55"/>
                    </a:cubicBezTo>
                    <a:cubicBezTo>
                      <a:pt x="48" y="55"/>
                      <a:pt x="48" y="55"/>
                      <a:pt x="48" y="56"/>
                    </a:cubicBezTo>
                    <a:cubicBezTo>
                      <a:pt x="48" y="56"/>
                      <a:pt x="48" y="56"/>
                      <a:pt x="48" y="56"/>
                    </a:cubicBezTo>
                    <a:cubicBezTo>
                      <a:pt x="47" y="56"/>
                      <a:pt x="47" y="57"/>
                      <a:pt x="47" y="57"/>
                    </a:cubicBezTo>
                    <a:cubicBezTo>
                      <a:pt x="47" y="57"/>
                      <a:pt x="47" y="57"/>
                      <a:pt x="47" y="57"/>
                    </a:cubicBezTo>
                    <a:cubicBezTo>
                      <a:pt x="47" y="58"/>
                      <a:pt x="47" y="59"/>
                      <a:pt x="47" y="60"/>
                    </a:cubicBezTo>
                    <a:cubicBezTo>
                      <a:pt x="47" y="61"/>
                      <a:pt x="47" y="61"/>
                      <a:pt x="47" y="61"/>
                    </a:cubicBezTo>
                    <a:cubicBezTo>
                      <a:pt x="47" y="61"/>
                      <a:pt x="47" y="61"/>
                      <a:pt x="47" y="61"/>
                    </a:cubicBezTo>
                    <a:cubicBezTo>
                      <a:pt x="47" y="61"/>
                      <a:pt x="47" y="62"/>
                      <a:pt x="47" y="62"/>
                    </a:cubicBezTo>
                    <a:cubicBezTo>
                      <a:pt x="48" y="62"/>
                      <a:pt x="48" y="62"/>
                      <a:pt x="48" y="62"/>
                    </a:cubicBezTo>
                    <a:cubicBezTo>
                      <a:pt x="48" y="63"/>
                      <a:pt x="48" y="63"/>
                      <a:pt x="49" y="63"/>
                    </a:cubicBezTo>
                    <a:cubicBezTo>
                      <a:pt x="49" y="64"/>
                      <a:pt x="49" y="64"/>
                      <a:pt x="50" y="65"/>
                    </a:cubicBezTo>
                    <a:cubicBezTo>
                      <a:pt x="50" y="65"/>
                      <a:pt x="50" y="65"/>
                      <a:pt x="50" y="65"/>
                    </a:cubicBezTo>
                    <a:cubicBezTo>
                      <a:pt x="50" y="65"/>
                      <a:pt x="50" y="66"/>
                      <a:pt x="50" y="66"/>
                    </a:cubicBezTo>
                    <a:cubicBezTo>
                      <a:pt x="50" y="66"/>
                      <a:pt x="51" y="66"/>
                      <a:pt x="52" y="66"/>
                    </a:cubicBezTo>
                    <a:cubicBezTo>
                      <a:pt x="52" y="66"/>
                      <a:pt x="52" y="66"/>
                      <a:pt x="52" y="66"/>
                    </a:cubicBezTo>
                    <a:cubicBezTo>
                      <a:pt x="52" y="66"/>
                      <a:pt x="53" y="66"/>
                      <a:pt x="53" y="66"/>
                    </a:cubicBezTo>
                    <a:cubicBezTo>
                      <a:pt x="56" y="67"/>
                      <a:pt x="56" y="67"/>
                      <a:pt x="56" y="67"/>
                    </a:cubicBezTo>
                    <a:cubicBezTo>
                      <a:pt x="53" y="69"/>
                      <a:pt x="53" y="69"/>
                      <a:pt x="53" y="69"/>
                    </a:cubicBezTo>
                    <a:cubicBezTo>
                      <a:pt x="53" y="69"/>
                      <a:pt x="53" y="69"/>
                      <a:pt x="53" y="69"/>
                    </a:cubicBezTo>
                    <a:cubicBezTo>
                      <a:pt x="53" y="69"/>
                      <a:pt x="53" y="69"/>
                      <a:pt x="54" y="69"/>
                    </a:cubicBezTo>
                    <a:cubicBezTo>
                      <a:pt x="54" y="69"/>
                      <a:pt x="54" y="69"/>
                      <a:pt x="54" y="69"/>
                    </a:cubicBezTo>
                    <a:cubicBezTo>
                      <a:pt x="54" y="70"/>
                      <a:pt x="54" y="70"/>
                      <a:pt x="54" y="70"/>
                    </a:cubicBezTo>
                    <a:cubicBezTo>
                      <a:pt x="55" y="70"/>
                      <a:pt x="55" y="70"/>
                      <a:pt x="55" y="70"/>
                    </a:cubicBezTo>
                    <a:cubicBezTo>
                      <a:pt x="55" y="70"/>
                      <a:pt x="56" y="71"/>
                      <a:pt x="56" y="71"/>
                    </a:cubicBezTo>
                    <a:cubicBezTo>
                      <a:pt x="56" y="71"/>
                      <a:pt x="56" y="72"/>
                      <a:pt x="56" y="73"/>
                    </a:cubicBezTo>
                    <a:cubicBezTo>
                      <a:pt x="56" y="74"/>
                      <a:pt x="55" y="74"/>
                      <a:pt x="55" y="75"/>
                    </a:cubicBezTo>
                    <a:cubicBezTo>
                      <a:pt x="54" y="75"/>
                      <a:pt x="54" y="75"/>
                      <a:pt x="54" y="75"/>
                    </a:cubicBezTo>
                    <a:cubicBezTo>
                      <a:pt x="54" y="75"/>
                      <a:pt x="54" y="75"/>
                      <a:pt x="54" y="76"/>
                    </a:cubicBezTo>
                    <a:cubicBezTo>
                      <a:pt x="54" y="77"/>
                      <a:pt x="55" y="78"/>
                      <a:pt x="55" y="79"/>
                    </a:cubicBezTo>
                    <a:cubicBezTo>
                      <a:pt x="55" y="80"/>
                      <a:pt x="55" y="82"/>
                      <a:pt x="55" y="83"/>
                    </a:cubicBezTo>
                    <a:cubicBezTo>
                      <a:pt x="55" y="83"/>
                      <a:pt x="55" y="84"/>
                      <a:pt x="55" y="84"/>
                    </a:cubicBezTo>
                    <a:cubicBezTo>
                      <a:pt x="54" y="84"/>
                      <a:pt x="54" y="84"/>
                      <a:pt x="54" y="85"/>
                    </a:cubicBezTo>
                    <a:cubicBezTo>
                      <a:pt x="53" y="85"/>
                      <a:pt x="53" y="85"/>
                      <a:pt x="53" y="85"/>
                    </a:cubicBezTo>
                    <a:cubicBezTo>
                      <a:pt x="53" y="85"/>
                      <a:pt x="53" y="85"/>
                      <a:pt x="53" y="85"/>
                    </a:cubicBezTo>
                    <a:cubicBezTo>
                      <a:pt x="53" y="86"/>
                      <a:pt x="53" y="86"/>
                      <a:pt x="53" y="86"/>
                    </a:cubicBezTo>
                    <a:cubicBezTo>
                      <a:pt x="53" y="86"/>
                      <a:pt x="53" y="86"/>
                      <a:pt x="53" y="86"/>
                    </a:cubicBezTo>
                    <a:cubicBezTo>
                      <a:pt x="53" y="86"/>
                      <a:pt x="54" y="86"/>
                      <a:pt x="54" y="86"/>
                    </a:cubicBezTo>
                    <a:cubicBezTo>
                      <a:pt x="54" y="86"/>
                      <a:pt x="55" y="86"/>
                      <a:pt x="55" y="86"/>
                    </a:cubicBezTo>
                    <a:cubicBezTo>
                      <a:pt x="55" y="86"/>
                      <a:pt x="55" y="86"/>
                      <a:pt x="56" y="86"/>
                    </a:cubicBezTo>
                    <a:cubicBezTo>
                      <a:pt x="56" y="86"/>
                      <a:pt x="57" y="86"/>
                      <a:pt x="57" y="87"/>
                    </a:cubicBezTo>
                    <a:cubicBezTo>
                      <a:pt x="58" y="87"/>
                      <a:pt x="58" y="87"/>
                      <a:pt x="58" y="87"/>
                    </a:cubicBezTo>
                    <a:cubicBezTo>
                      <a:pt x="58" y="88"/>
                      <a:pt x="58" y="88"/>
                      <a:pt x="58" y="88"/>
                    </a:cubicBezTo>
                    <a:cubicBezTo>
                      <a:pt x="58" y="88"/>
                      <a:pt x="58" y="88"/>
                      <a:pt x="58" y="88"/>
                    </a:cubicBezTo>
                    <a:cubicBezTo>
                      <a:pt x="58" y="88"/>
                      <a:pt x="58" y="88"/>
                      <a:pt x="58" y="88"/>
                    </a:cubicBezTo>
                    <a:cubicBezTo>
                      <a:pt x="59" y="88"/>
                      <a:pt x="59" y="88"/>
                      <a:pt x="59" y="88"/>
                    </a:cubicBezTo>
                    <a:cubicBezTo>
                      <a:pt x="59" y="88"/>
                      <a:pt x="59" y="88"/>
                      <a:pt x="59" y="88"/>
                    </a:cubicBezTo>
                    <a:cubicBezTo>
                      <a:pt x="59" y="88"/>
                      <a:pt x="59" y="88"/>
                      <a:pt x="59" y="88"/>
                    </a:cubicBezTo>
                    <a:cubicBezTo>
                      <a:pt x="59" y="88"/>
                      <a:pt x="59" y="88"/>
                      <a:pt x="59" y="88"/>
                    </a:cubicBezTo>
                    <a:cubicBezTo>
                      <a:pt x="59" y="88"/>
                      <a:pt x="59" y="87"/>
                      <a:pt x="58" y="86"/>
                    </a:cubicBezTo>
                    <a:cubicBezTo>
                      <a:pt x="58" y="86"/>
                      <a:pt x="58" y="86"/>
                      <a:pt x="57" y="85"/>
                    </a:cubicBezTo>
                    <a:cubicBezTo>
                      <a:pt x="56" y="82"/>
                      <a:pt x="56" y="82"/>
                      <a:pt x="56" y="82"/>
                    </a:cubicBezTo>
                    <a:cubicBezTo>
                      <a:pt x="59" y="83"/>
                      <a:pt x="59" y="83"/>
                      <a:pt x="59" y="83"/>
                    </a:cubicBezTo>
                    <a:cubicBezTo>
                      <a:pt x="59" y="84"/>
                      <a:pt x="59" y="83"/>
                      <a:pt x="60" y="83"/>
                    </a:cubicBezTo>
                    <a:cubicBezTo>
                      <a:pt x="61" y="83"/>
                      <a:pt x="61" y="83"/>
                      <a:pt x="61" y="83"/>
                    </a:cubicBezTo>
                    <a:cubicBezTo>
                      <a:pt x="61" y="82"/>
                      <a:pt x="62" y="82"/>
                      <a:pt x="63" y="81"/>
                    </a:cubicBezTo>
                    <a:cubicBezTo>
                      <a:pt x="63" y="81"/>
                      <a:pt x="63" y="81"/>
                      <a:pt x="63" y="81"/>
                    </a:cubicBezTo>
                    <a:cubicBezTo>
                      <a:pt x="64" y="81"/>
                      <a:pt x="64" y="81"/>
                      <a:pt x="64" y="81"/>
                    </a:cubicBezTo>
                    <a:cubicBezTo>
                      <a:pt x="64" y="81"/>
                      <a:pt x="64" y="81"/>
                      <a:pt x="64" y="81"/>
                    </a:cubicBezTo>
                    <a:cubicBezTo>
                      <a:pt x="64" y="81"/>
                      <a:pt x="64" y="81"/>
                      <a:pt x="64" y="81"/>
                    </a:cubicBezTo>
                    <a:cubicBezTo>
                      <a:pt x="65" y="81"/>
                      <a:pt x="65" y="82"/>
                      <a:pt x="66" y="82"/>
                    </a:cubicBezTo>
                    <a:cubicBezTo>
                      <a:pt x="66" y="82"/>
                      <a:pt x="66" y="82"/>
                      <a:pt x="66" y="83"/>
                    </a:cubicBezTo>
                    <a:cubicBezTo>
                      <a:pt x="68" y="83"/>
                      <a:pt x="68" y="83"/>
                      <a:pt x="68" y="83"/>
                    </a:cubicBezTo>
                    <a:cubicBezTo>
                      <a:pt x="68" y="83"/>
                      <a:pt x="68" y="83"/>
                      <a:pt x="68" y="83"/>
                    </a:cubicBezTo>
                    <a:cubicBezTo>
                      <a:pt x="69" y="83"/>
                      <a:pt x="69" y="83"/>
                      <a:pt x="69" y="83"/>
                    </a:cubicBezTo>
                    <a:cubicBezTo>
                      <a:pt x="69" y="83"/>
                      <a:pt x="69" y="83"/>
                      <a:pt x="69" y="83"/>
                    </a:cubicBezTo>
                    <a:cubicBezTo>
                      <a:pt x="69" y="83"/>
                      <a:pt x="70" y="82"/>
                      <a:pt x="71" y="82"/>
                    </a:cubicBezTo>
                    <a:cubicBezTo>
                      <a:pt x="72" y="81"/>
                      <a:pt x="72" y="81"/>
                      <a:pt x="72" y="81"/>
                    </a:cubicBezTo>
                    <a:cubicBezTo>
                      <a:pt x="72" y="81"/>
                      <a:pt x="73" y="81"/>
                      <a:pt x="73" y="81"/>
                    </a:cubicBezTo>
                    <a:cubicBezTo>
                      <a:pt x="73" y="80"/>
                      <a:pt x="73" y="80"/>
                      <a:pt x="73" y="80"/>
                    </a:cubicBezTo>
                    <a:cubicBezTo>
                      <a:pt x="73" y="80"/>
                      <a:pt x="73" y="80"/>
                      <a:pt x="73" y="80"/>
                    </a:cubicBezTo>
                    <a:cubicBezTo>
                      <a:pt x="73" y="80"/>
                      <a:pt x="73" y="80"/>
                      <a:pt x="73" y="80"/>
                    </a:cubicBezTo>
                    <a:cubicBezTo>
                      <a:pt x="73" y="79"/>
                      <a:pt x="73" y="79"/>
                      <a:pt x="73" y="79"/>
                    </a:cubicBezTo>
                    <a:cubicBezTo>
                      <a:pt x="73" y="79"/>
                      <a:pt x="73" y="79"/>
                      <a:pt x="73" y="79"/>
                    </a:cubicBezTo>
                    <a:cubicBezTo>
                      <a:pt x="72" y="77"/>
                      <a:pt x="73" y="76"/>
                      <a:pt x="74" y="76"/>
                    </a:cubicBezTo>
                    <a:cubicBezTo>
                      <a:pt x="74" y="75"/>
                      <a:pt x="74" y="75"/>
                      <a:pt x="74" y="75"/>
                    </a:cubicBezTo>
                    <a:cubicBezTo>
                      <a:pt x="74" y="75"/>
                      <a:pt x="74" y="74"/>
                      <a:pt x="73" y="74"/>
                    </a:cubicBezTo>
                    <a:cubicBezTo>
                      <a:pt x="73" y="74"/>
                      <a:pt x="73" y="74"/>
                      <a:pt x="73" y="74"/>
                    </a:cubicBezTo>
                    <a:cubicBezTo>
                      <a:pt x="72" y="73"/>
                      <a:pt x="71" y="72"/>
                      <a:pt x="70" y="71"/>
                    </a:cubicBezTo>
                    <a:cubicBezTo>
                      <a:pt x="70" y="71"/>
                      <a:pt x="69" y="70"/>
                      <a:pt x="69" y="69"/>
                    </a:cubicBezTo>
                    <a:cubicBezTo>
                      <a:pt x="69" y="69"/>
                      <a:pt x="70" y="68"/>
                      <a:pt x="71" y="68"/>
                    </a:cubicBezTo>
                    <a:cubicBezTo>
                      <a:pt x="71" y="68"/>
                      <a:pt x="71" y="68"/>
                      <a:pt x="71" y="68"/>
                    </a:cubicBezTo>
                    <a:cubicBezTo>
                      <a:pt x="71" y="68"/>
                      <a:pt x="71" y="68"/>
                      <a:pt x="71" y="68"/>
                    </a:cubicBezTo>
                    <a:cubicBezTo>
                      <a:pt x="71" y="68"/>
                      <a:pt x="72" y="68"/>
                      <a:pt x="72" y="67"/>
                    </a:cubicBezTo>
                    <a:cubicBezTo>
                      <a:pt x="72" y="67"/>
                      <a:pt x="72" y="67"/>
                      <a:pt x="72" y="67"/>
                    </a:cubicBezTo>
                    <a:cubicBezTo>
                      <a:pt x="72" y="67"/>
                      <a:pt x="71" y="67"/>
                      <a:pt x="71" y="67"/>
                    </a:cubicBezTo>
                    <a:cubicBezTo>
                      <a:pt x="71" y="67"/>
                      <a:pt x="70" y="67"/>
                      <a:pt x="70" y="66"/>
                    </a:cubicBezTo>
                    <a:cubicBezTo>
                      <a:pt x="70" y="66"/>
                      <a:pt x="70" y="66"/>
                      <a:pt x="69" y="66"/>
                    </a:cubicBezTo>
                    <a:cubicBezTo>
                      <a:pt x="69" y="66"/>
                      <a:pt x="69" y="66"/>
                      <a:pt x="69" y="66"/>
                    </a:cubicBezTo>
                    <a:cubicBezTo>
                      <a:pt x="69" y="66"/>
                      <a:pt x="69" y="66"/>
                      <a:pt x="69" y="66"/>
                    </a:cubicBezTo>
                    <a:cubicBezTo>
                      <a:pt x="69" y="66"/>
                      <a:pt x="69" y="66"/>
                      <a:pt x="68" y="66"/>
                    </a:cubicBezTo>
                    <a:cubicBezTo>
                      <a:pt x="68" y="65"/>
                      <a:pt x="68" y="65"/>
                      <a:pt x="68" y="65"/>
                    </a:cubicBezTo>
                    <a:cubicBezTo>
                      <a:pt x="68" y="65"/>
                      <a:pt x="68" y="65"/>
                      <a:pt x="68" y="65"/>
                    </a:cubicBezTo>
                    <a:cubicBezTo>
                      <a:pt x="68" y="65"/>
                      <a:pt x="67" y="65"/>
                      <a:pt x="67" y="65"/>
                    </a:cubicBezTo>
                    <a:cubicBezTo>
                      <a:pt x="67" y="64"/>
                      <a:pt x="67" y="64"/>
                      <a:pt x="67" y="64"/>
                    </a:cubicBezTo>
                    <a:cubicBezTo>
                      <a:pt x="67" y="64"/>
                      <a:pt x="67" y="64"/>
                      <a:pt x="67" y="64"/>
                    </a:cubicBezTo>
                    <a:cubicBezTo>
                      <a:pt x="67" y="64"/>
                      <a:pt x="67" y="64"/>
                      <a:pt x="67" y="64"/>
                    </a:cubicBezTo>
                    <a:cubicBezTo>
                      <a:pt x="67" y="64"/>
                      <a:pt x="66" y="64"/>
                      <a:pt x="66" y="64"/>
                    </a:cubicBezTo>
                    <a:cubicBezTo>
                      <a:pt x="66" y="64"/>
                      <a:pt x="66" y="64"/>
                      <a:pt x="66" y="64"/>
                    </a:cubicBezTo>
                    <a:cubicBezTo>
                      <a:pt x="65" y="64"/>
                      <a:pt x="64" y="64"/>
                      <a:pt x="64" y="63"/>
                    </a:cubicBezTo>
                    <a:cubicBezTo>
                      <a:pt x="64" y="63"/>
                      <a:pt x="64" y="63"/>
                      <a:pt x="64" y="63"/>
                    </a:cubicBezTo>
                    <a:cubicBezTo>
                      <a:pt x="64" y="63"/>
                      <a:pt x="64" y="63"/>
                      <a:pt x="64" y="63"/>
                    </a:cubicBezTo>
                    <a:cubicBezTo>
                      <a:pt x="64" y="63"/>
                      <a:pt x="64" y="62"/>
                      <a:pt x="63" y="62"/>
                    </a:cubicBezTo>
                    <a:cubicBezTo>
                      <a:pt x="64" y="61"/>
                      <a:pt x="64" y="61"/>
                      <a:pt x="64" y="61"/>
                    </a:cubicBezTo>
                    <a:cubicBezTo>
                      <a:pt x="64" y="61"/>
                      <a:pt x="64" y="61"/>
                      <a:pt x="64" y="61"/>
                    </a:cubicBezTo>
                    <a:cubicBezTo>
                      <a:pt x="63" y="62"/>
                      <a:pt x="63" y="62"/>
                      <a:pt x="63" y="62"/>
                    </a:cubicBezTo>
                    <a:cubicBezTo>
                      <a:pt x="63" y="61"/>
                      <a:pt x="63" y="61"/>
                      <a:pt x="63" y="60"/>
                    </a:cubicBezTo>
                    <a:cubicBezTo>
                      <a:pt x="63" y="60"/>
                      <a:pt x="63" y="60"/>
                      <a:pt x="63" y="60"/>
                    </a:cubicBezTo>
                    <a:cubicBezTo>
                      <a:pt x="63" y="59"/>
                      <a:pt x="63" y="59"/>
                      <a:pt x="63" y="59"/>
                    </a:cubicBezTo>
                    <a:cubicBezTo>
                      <a:pt x="63" y="59"/>
                      <a:pt x="63" y="59"/>
                      <a:pt x="63" y="58"/>
                    </a:cubicBezTo>
                    <a:cubicBezTo>
                      <a:pt x="63" y="58"/>
                      <a:pt x="62" y="58"/>
                      <a:pt x="62" y="57"/>
                    </a:cubicBezTo>
                    <a:cubicBezTo>
                      <a:pt x="62" y="57"/>
                      <a:pt x="62" y="57"/>
                      <a:pt x="62" y="57"/>
                    </a:cubicBezTo>
                    <a:cubicBezTo>
                      <a:pt x="62" y="57"/>
                      <a:pt x="62" y="57"/>
                      <a:pt x="62" y="57"/>
                    </a:cubicBezTo>
                    <a:cubicBezTo>
                      <a:pt x="62" y="57"/>
                      <a:pt x="62" y="57"/>
                      <a:pt x="61" y="57"/>
                    </a:cubicBezTo>
                    <a:cubicBezTo>
                      <a:pt x="61" y="56"/>
                      <a:pt x="61" y="56"/>
                      <a:pt x="61" y="56"/>
                    </a:cubicBezTo>
                    <a:cubicBezTo>
                      <a:pt x="61" y="55"/>
                      <a:pt x="61" y="55"/>
                      <a:pt x="61" y="55"/>
                    </a:cubicBezTo>
                    <a:cubicBezTo>
                      <a:pt x="61" y="55"/>
                      <a:pt x="60" y="55"/>
                      <a:pt x="60" y="54"/>
                    </a:cubicBezTo>
                    <a:cubicBezTo>
                      <a:pt x="59" y="54"/>
                      <a:pt x="59" y="54"/>
                      <a:pt x="59" y="54"/>
                    </a:cubicBezTo>
                    <a:cubicBezTo>
                      <a:pt x="59" y="54"/>
                      <a:pt x="59" y="54"/>
                      <a:pt x="59" y="53"/>
                    </a:cubicBezTo>
                    <a:cubicBezTo>
                      <a:pt x="58" y="53"/>
                      <a:pt x="58" y="53"/>
                      <a:pt x="58" y="53"/>
                    </a:cubicBezTo>
                    <a:cubicBezTo>
                      <a:pt x="57" y="53"/>
                      <a:pt x="56" y="52"/>
                      <a:pt x="56" y="51"/>
                    </a:cubicBezTo>
                    <a:cubicBezTo>
                      <a:pt x="56" y="51"/>
                      <a:pt x="56" y="51"/>
                      <a:pt x="56" y="51"/>
                    </a:cubicBezTo>
                    <a:cubicBezTo>
                      <a:pt x="55" y="51"/>
                      <a:pt x="55" y="50"/>
                      <a:pt x="55" y="50"/>
                    </a:cubicBezTo>
                    <a:cubicBezTo>
                      <a:pt x="55" y="50"/>
                      <a:pt x="55" y="50"/>
                      <a:pt x="55" y="50"/>
                    </a:cubicBezTo>
                    <a:cubicBezTo>
                      <a:pt x="54" y="48"/>
                      <a:pt x="54" y="48"/>
                      <a:pt x="53" y="47"/>
                    </a:cubicBezTo>
                    <a:cubicBezTo>
                      <a:pt x="53" y="47"/>
                      <a:pt x="53" y="47"/>
                      <a:pt x="53" y="47"/>
                    </a:cubicBezTo>
                    <a:cubicBezTo>
                      <a:pt x="51" y="46"/>
                      <a:pt x="50" y="45"/>
                      <a:pt x="49" y="43"/>
                    </a:cubicBezTo>
                    <a:cubicBezTo>
                      <a:pt x="49" y="43"/>
                      <a:pt x="48" y="42"/>
                      <a:pt x="48" y="42"/>
                    </a:cubicBezTo>
                    <a:cubicBezTo>
                      <a:pt x="48" y="42"/>
                      <a:pt x="48" y="42"/>
                      <a:pt x="48" y="42"/>
                    </a:cubicBezTo>
                    <a:cubicBezTo>
                      <a:pt x="48" y="41"/>
                      <a:pt x="48" y="41"/>
                      <a:pt x="49" y="41"/>
                    </a:cubicBezTo>
                    <a:cubicBezTo>
                      <a:pt x="49" y="41"/>
                      <a:pt x="49" y="41"/>
                      <a:pt x="49" y="41"/>
                    </a:cubicBezTo>
                    <a:cubicBezTo>
                      <a:pt x="48" y="40"/>
                      <a:pt x="47" y="40"/>
                      <a:pt x="47" y="39"/>
                    </a:cubicBezTo>
                    <a:cubicBezTo>
                      <a:pt x="46" y="39"/>
                      <a:pt x="46" y="39"/>
                      <a:pt x="46" y="39"/>
                    </a:cubicBezTo>
                    <a:cubicBezTo>
                      <a:pt x="43" y="38"/>
                      <a:pt x="39" y="36"/>
                      <a:pt x="36" y="34"/>
                    </a:cubicBezTo>
                    <a:cubicBezTo>
                      <a:pt x="34" y="32"/>
                      <a:pt x="34" y="32"/>
                      <a:pt x="34" y="32"/>
                    </a:cubicBezTo>
                    <a:cubicBezTo>
                      <a:pt x="36" y="31"/>
                      <a:pt x="36" y="31"/>
                      <a:pt x="36" y="31"/>
                    </a:cubicBezTo>
                    <a:cubicBezTo>
                      <a:pt x="37" y="31"/>
                      <a:pt x="37" y="31"/>
                      <a:pt x="37" y="31"/>
                    </a:cubicBezTo>
                    <a:cubicBezTo>
                      <a:pt x="37" y="31"/>
                      <a:pt x="37" y="31"/>
                      <a:pt x="37" y="31"/>
                    </a:cubicBezTo>
                    <a:cubicBezTo>
                      <a:pt x="37" y="31"/>
                      <a:pt x="37" y="31"/>
                      <a:pt x="37" y="31"/>
                    </a:cubicBezTo>
                    <a:cubicBezTo>
                      <a:pt x="37" y="30"/>
                      <a:pt x="37" y="30"/>
                      <a:pt x="37" y="30"/>
                    </a:cubicBezTo>
                    <a:cubicBezTo>
                      <a:pt x="37" y="30"/>
                      <a:pt x="37" y="30"/>
                      <a:pt x="37" y="29"/>
                    </a:cubicBezTo>
                    <a:cubicBezTo>
                      <a:pt x="37" y="29"/>
                      <a:pt x="37" y="28"/>
                      <a:pt x="37" y="28"/>
                    </a:cubicBezTo>
                    <a:cubicBezTo>
                      <a:pt x="38" y="28"/>
                      <a:pt x="38" y="28"/>
                      <a:pt x="38" y="28"/>
                    </a:cubicBezTo>
                    <a:cubicBezTo>
                      <a:pt x="38" y="28"/>
                      <a:pt x="38" y="28"/>
                      <a:pt x="38" y="28"/>
                    </a:cubicBezTo>
                    <a:cubicBezTo>
                      <a:pt x="39" y="28"/>
                      <a:pt x="39" y="27"/>
                      <a:pt x="39" y="27"/>
                    </a:cubicBezTo>
                    <a:cubicBezTo>
                      <a:pt x="39" y="27"/>
                      <a:pt x="39" y="27"/>
                      <a:pt x="40" y="27"/>
                    </a:cubicBezTo>
                    <a:cubicBezTo>
                      <a:pt x="40" y="27"/>
                      <a:pt x="40" y="27"/>
                      <a:pt x="41" y="28"/>
                    </a:cubicBezTo>
                    <a:cubicBezTo>
                      <a:pt x="41" y="28"/>
                      <a:pt x="41" y="28"/>
                      <a:pt x="41" y="28"/>
                    </a:cubicBezTo>
                    <a:cubicBezTo>
                      <a:pt x="42" y="28"/>
                      <a:pt x="42" y="28"/>
                      <a:pt x="42" y="28"/>
                    </a:cubicBezTo>
                    <a:cubicBezTo>
                      <a:pt x="43" y="28"/>
                      <a:pt x="43" y="28"/>
                      <a:pt x="43" y="28"/>
                    </a:cubicBezTo>
                    <a:cubicBezTo>
                      <a:pt x="43" y="28"/>
                      <a:pt x="44" y="28"/>
                      <a:pt x="44" y="28"/>
                    </a:cubicBezTo>
                    <a:cubicBezTo>
                      <a:pt x="44" y="28"/>
                      <a:pt x="44" y="28"/>
                      <a:pt x="44" y="28"/>
                    </a:cubicBezTo>
                    <a:cubicBezTo>
                      <a:pt x="44" y="28"/>
                      <a:pt x="44" y="28"/>
                      <a:pt x="44" y="28"/>
                    </a:cubicBezTo>
                    <a:cubicBezTo>
                      <a:pt x="44" y="28"/>
                      <a:pt x="44" y="28"/>
                      <a:pt x="44" y="28"/>
                    </a:cubicBezTo>
                    <a:cubicBezTo>
                      <a:pt x="45" y="27"/>
                      <a:pt x="45" y="27"/>
                      <a:pt x="45" y="27"/>
                    </a:cubicBezTo>
                    <a:cubicBezTo>
                      <a:pt x="45" y="27"/>
                      <a:pt x="45" y="27"/>
                      <a:pt x="45" y="27"/>
                    </a:cubicBezTo>
                    <a:cubicBezTo>
                      <a:pt x="46" y="26"/>
                      <a:pt x="46" y="26"/>
                      <a:pt x="46" y="26"/>
                    </a:cubicBezTo>
                    <a:cubicBezTo>
                      <a:pt x="46" y="26"/>
                      <a:pt x="47" y="25"/>
                      <a:pt x="47" y="24"/>
                    </a:cubicBezTo>
                    <a:cubicBezTo>
                      <a:pt x="47" y="24"/>
                      <a:pt x="46" y="24"/>
                      <a:pt x="46" y="23"/>
                    </a:cubicBezTo>
                    <a:cubicBezTo>
                      <a:pt x="45" y="23"/>
                      <a:pt x="45" y="23"/>
                      <a:pt x="45" y="23"/>
                    </a:cubicBezTo>
                    <a:cubicBezTo>
                      <a:pt x="45" y="23"/>
                      <a:pt x="45" y="23"/>
                      <a:pt x="45" y="23"/>
                    </a:cubicBezTo>
                    <a:cubicBezTo>
                      <a:pt x="44" y="22"/>
                      <a:pt x="44" y="22"/>
                      <a:pt x="43" y="22"/>
                    </a:cubicBezTo>
                    <a:cubicBezTo>
                      <a:pt x="43" y="22"/>
                      <a:pt x="42" y="22"/>
                      <a:pt x="42" y="22"/>
                    </a:cubicBezTo>
                    <a:cubicBezTo>
                      <a:pt x="40" y="21"/>
                      <a:pt x="40" y="21"/>
                      <a:pt x="40" y="21"/>
                    </a:cubicBezTo>
                    <a:cubicBezTo>
                      <a:pt x="41" y="20"/>
                      <a:pt x="41" y="20"/>
                      <a:pt x="41" y="20"/>
                    </a:cubicBezTo>
                    <a:cubicBezTo>
                      <a:pt x="41" y="20"/>
                      <a:pt x="41" y="19"/>
                      <a:pt x="42" y="19"/>
                    </a:cubicBezTo>
                    <a:cubicBezTo>
                      <a:pt x="42" y="19"/>
                      <a:pt x="43" y="19"/>
                      <a:pt x="43" y="19"/>
                    </a:cubicBezTo>
                    <a:cubicBezTo>
                      <a:pt x="43" y="19"/>
                      <a:pt x="43" y="19"/>
                      <a:pt x="43" y="19"/>
                    </a:cubicBezTo>
                    <a:cubicBezTo>
                      <a:pt x="43" y="19"/>
                      <a:pt x="43" y="19"/>
                      <a:pt x="43" y="19"/>
                    </a:cubicBezTo>
                    <a:cubicBezTo>
                      <a:pt x="43" y="19"/>
                      <a:pt x="43" y="18"/>
                      <a:pt x="42" y="18"/>
                    </a:cubicBezTo>
                    <a:cubicBezTo>
                      <a:pt x="42" y="18"/>
                      <a:pt x="42" y="18"/>
                      <a:pt x="42" y="18"/>
                    </a:cubicBezTo>
                    <a:cubicBezTo>
                      <a:pt x="41" y="20"/>
                      <a:pt x="41" y="20"/>
                      <a:pt x="41" y="20"/>
                    </a:cubicBezTo>
                    <a:cubicBezTo>
                      <a:pt x="41" y="18"/>
                      <a:pt x="41" y="18"/>
                      <a:pt x="41" y="18"/>
                    </a:cubicBezTo>
                    <a:cubicBezTo>
                      <a:pt x="40" y="19"/>
                      <a:pt x="40" y="19"/>
                      <a:pt x="40" y="19"/>
                    </a:cubicBezTo>
                    <a:cubicBezTo>
                      <a:pt x="41" y="18"/>
                      <a:pt x="41" y="18"/>
                      <a:pt x="41" y="18"/>
                    </a:cubicBezTo>
                    <a:cubicBezTo>
                      <a:pt x="41" y="18"/>
                      <a:pt x="41" y="18"/>
                      <a:pt x="41" y="17"/>
                    </a:cubicBezTo>
                    <a:cubicBezTo>
                      <a:pt x="41" y="17"/>
                      <a:pt x="41" y="17"/>
                      <a:pt x="40" y="17"/>
                    </a:cubicBezTo>
                    <a:cubicBezTo>
                      <a:pt x="40" y="17"/>
                      <a:pt x="40" y="17"/>
                      <a:pt x="40" y="17"/>
                    </a:cubicBezTo>
                    <a:cubicBezTo>
                      <a:pt x="40" y="17"/>
                      <a:pt x="40" y="17"/>
                      <a:pt x="40" y="17"/>
                    </a:cubicBezTo>
                    <a:cubicBezTo>
                      <a:pt x="40" y="16"/>
                      <a:pt x="39" y="16"/>
                      <a:pt x="39" y="17"/>
                    </a:cubicBezTo>
                    <a:cubicBezTo>
                      <a:pt x="38" y="17"/>
                      <a:pt x="38" y="17"/>
                      <a:pt x="38" y="17"/>
                    </a:cubicBezTo>
                    <a:cubicBezTo>
                      <a:pt x="38" y="17"/>
                      <a:pt x="38" y="17"/>
                      <a:pt x="37" y="18"/>
                    </a:cubicBezTo>
                    <a:cubicBezTo>
                      <a:pt x="37" y="18"/>
                      <a:pt x="37" y="18"/>
                      <a:pt x="37" y="18"/>
                    </a:cubicBezTo>
                    <a:cubicBezTo>
                      <a:pt x="37" y="19"/>
                      <a:pt x="37" y="19"/>
                      <a:pt x="37" y="19"/>
                    </a:cubicBezTo>
                    <a:cubicBezTo>
                      <a:pt x="36" y="19"/>
                      <a:pt x="36" y="19"/>
                      <a:pt x="36" y="19"/>
                    </a:cubicBezTo>
                    <a:cubicBezTo>
                      <a:pt x="36" y="19"/>
                      <a:pt x="36" y="19"/>
                      <a:pt x="36" y="19"/>
                    </a:cubicBezTo>
                    <a:cubicBezTo>
                      <a:pt x="36" y="19"/>
                      <a:pt x="36" y="19"/>
                      <a:pt x="36" y="19"/>
                    </a:cubicBezTo>
                    <a:cubicBezTo>
                      <a:pt x="36" y="19"/>
                      <a:pt x="36" y="20"/>
                      <a:pt x="35" y="20"/>
                    </a:cubicBezTo>
                    <a:cubicBezTo>
                      <a:pt x="35" y="20"/>
                      <a:pt x="35" y="20"/>
                      <a:pt x="35" y="20"/>
                    </a:cubicBezTo>
                    <a:cubicBezTo>
                      <a:pt x="35" y="20"/>
                      <a:pt x="35" y="20"/>
                      <a:pt x="35" y="20"/>
                    </a:cubicBezTo>
                    <a:cubicBezTo>
                      <a:pt x="35" y="20"/>
                      <a:pt x="34" y="20"/>
                      <a:pt x="34" y="20"/>
                    </a:cubicBezTo>
                    <a:cubicBezTo>
                      <a:pt x="34" y="19"/>
                      <a:pt x="34" y="19"/>
                      <a:pt x="34" y="19"/>
                    </a:cubicBezTo>
                    <a:cubicBezTo>
                      <a:pt x="34" y="19"/>
                      <a:pt x="34" y="19"/>
                      <a:pt x="33" y="19"/>
                    </a:cubicBezTo>
                    <a:cubicBezTo>
                      <a:pt x="33" y="19"/>
                      <a:pt x="33" y="19"/>
                      <a:pt x="33" y="19"/>
                    </a:cubicBezTo>
                    <a:cubicBezTo>
                      <a:pt x="33" y="19"/>
                      <a:pt x="33" y="19"/>
                      <a:pt x="33" y="19"/>
                    </a:cubicBezTo>
                    <a:cubicBezTo>
                      <a:pt x="32" y="19"/>
                      <a:pt x="32" y="19"/>
                      <a:pt x="32" y="18"/>
                    </a:cubicBezTo>
                    <a:cubicBezTo>
                      <a:pt x="32" y="18"/>
                      <a:pt x="32" y="18"/>
                      <a:pt x="32" y="18"/>
                    </a:cubicBezTo>
                    <a:cubicBezTo>
                      <a:pt x="32" y="18"/>
                      <a:pt x="31" y="18"/>
                      <a:pt x="31" y="18"/>
                    </a:cubicBezTo>
                    <a:cubicBezTo>
                      <a:pt x="31" y="18"/>
                      <a:pt x="31" y="18"/>
                      <a:pt x="31" y="18"/>
                    </a:cubicBezTo>
                    <a:cubicBezTo>
                      <a:pt x="30" y="18"/>
                      <a:pt x="30" y="18"/>
                      <a:pt x="30" y="18"/>
                    </a:cubicBezTo>
                    <a:cubicBezTo>
                      <a:pt x="28" y="17"/>
                      <a:pt x="27" y="15"/>
                      <a:pt x="26" y="13"/>
                    </a:cubicBezTo>
                    <a:cubicBezTo>
                      <a:pt x="26" y="13"/>
                      <a:pt x="26" y="13"/>
                      <a:pt x="26" y="13"/>
                    </a:cubicBezTo>
                    <a:cubicBezTo>
                      <a:pt x="25" y="14"/>
                      <a:pt x="25" y="14"/>
                      <a:pt x="25" y="14"/>
                    </a:cubicBezTo>
                    <a:cubicBezTo>
                      <a:pt x="26" y="13"/>
                      <a:pt x="26" y="13"/>
                      <a:pt x="26" y="13"/>
                    </a:cubicBezTo>
                    <a:cubicBezTo>
                      <a:pt x="26" y="13"/>
                      <a:pt x="26" y="13"/>
                      <a:pt x="26" y="12"/>
                    </a:cubicBezTo>
                    <a:cubicBezTo>
                      <a:pt x="26" y="12"/>
                      <a:pt x="26" y="12"/>
                      <a:pt x="26" y="11"/>
                    </a:cubicBezTo>
                    <a:cubicBezTo>
                      <a:pt x="26" y="11"/>
                      <a:pt x="26" y="11"/>
                      <a:pt x="26" y="11"/>
                    </a:cubicBezTo>
                    <a:cubicBezTo>
                      <a:pt x="26" y="11"/>
                      <a:pt x="26" y="11"/>
                      <a:pt x="26" y="11"/>
                    </a:cubicBezTo>
                    <a:cubicBezTo>
                      <a:pt x="26" y="10"/>
                      <a:pt x="26" y="10"/>
                      <a:pt x="26" y="10"/>
                    </a:cubicBezTo>
                    <a:cubicBezTo>
                      <a:pt x="26" y="10"/>
                      <a:pt x="26" y="9"/>
                      <a:pt x="26" y="9"/>
                    </a:cubicBezTo>
                    <a:cubicBezTo>
                      <a:pt x="26" y="9"/>
                      <a:pt x="26" y="9"/>
                      <a:pt x="26" y="9"/>
                    </a:cubicBezTo>
                    <a:cubicBezTo>
                      <a:pt x="26" y="9"/>
                      <a:pt x="26" y="9"/>
                      <a:pt x="26" y="9"/>
                    </a:cubicBezTo>
                    <a:cubicBezTo>
                      <a:pt x="26" y="9"/>
                      <a:pt x="26" y="9"/>
                      <a:pt x="26" y="9"/>
                    </a:cubicBezTo>
                    <a:cubicBezTo>
                      <a:pt x="26" y="9"/>
                      <a:pt x="26" y="9"/>
                      <a:pt x="25" y="9"/>
                    </a:cubicBezTo>
                    <a:cubicBezTo>
                      <a:pt x="25" y="9"/>
                      <a:pt x="25" y="9"/>
                      <a:pt x="25" y="9"/>
                    </a:cubicBezTo>
                    <a:cubicBezTo>
                      <a:pt x="25" y="9"/>
                      <a:pt x="25" y="9"/>
                      <a:pt x="25" y="9"/>
                    </a:cubicBezTo>
                    <a:cubicBezTo>
                      <a:pt x="24" y="9"/>
                      <a:pt x="24" y="9"/>
                      <a:pt x="24" y="9"/>
                    </a:cubicBezTo>
                    <a:cubicBezTo>
                      <a:pt x="24" y="8"/>
                      <a:pt x="24" y="8"/>
                      <a:pt x="24" y="8"/>
                    </a:cubicBezTo>
                    <a:cubicBezTo>
                      <a:pt x="23" y="8"/>
                      <a:pt x="23" y="8"/>
                      <a:pt x="23" y="7"/>
                    </a:cubicBezTo>
                    <a:cubicBezTo>
                      <a:pt x="23" y="7"/>
                      <a:pt x="23" y="7"/>
                      <a:pt x="23" y="7"/>
                    </a:cubicBezTo>
                    <a:cubicBezTo>
                      <a:pt x="23" y="6"/>
                      <a:pt x="23" y="5"/>
                      <a:pt x="22" y="5"/>
                    </a:cubicBezTo>
                    <a:cubicBezTo>
                      <a:pt x="22" y="5"/>
                      <a:pt x="22" y="4"/>
                      <a:pt x="22" y="4"/>
                    </a:cubicBezTo>
                    <a:cubicBezTo>
                      <a:pt x="21" y="4"/>
                      <a:pt x="21" y="4"/>
                      <a:pt x="21" y="4"/>
                    </a:cubicBezTo>
                    <a:cubicBezTo>
                      <a:pt x="21" y="3"/>
                      <a:pt x="20" y="3"/>
                      <a:pt x="20" y="2"/>
                    </a:cubicBezTo>
                    <a:cubicBezTo>
                      <a:pt x="19" y="1"/>
                      <a:pt x="19" y="1"/>
                      <a:pt x="19" y="1"/>
                    </a:cubicBezTo>
                    <a:cubicBezTo>
                      <a:pt x="18" y="1"/>
                      <a:pt x="18" y="1"/>
                      <a:pt x="18" y="1"/>
                    </a:cubicBezTo>
                    <a:cubicBezTo>
                      <a:pt x="18" y="1"/>
                      <a:pt x="18" y="1"/>
                      <a:pt x="17" y="1"/>
                    </a:cubicBezTo>
                    <a:cubicBezTo>
                      <a:pt x="17" y="0"/>
                      <a:pt x="16" y="0"/>
                      <a:pt x="16" y="0"/>
                    </a:cubicBezTo>
                    <a:cubicBezTo>
                      <a:pt x="16" y="0"/>
                      <a:pt x="15" y="0"/>
                      <a:pt x="15" y="0"/>
                    </a:cubicBezTo>
                    <a:cubicBezTo>
                      <a:pt x="15" y="0"/>
                      <a:pt x="15" y="1"/>
                      <a:pt x="15" y="1"/>
                    </a:cubicBezTo>
                    <a:cubicBezTo>
                      <a:pt x="15" y="1"/>
                      <a:pt x="15" y="1"/>
                      <a:pt x="15" y="2"/>
                    </a:cubicBezTo>
                    <a:cubicBezTo>
                      <a:pt x="14" y="2"/>
                      <a:pt x="14" y="2"/>
                      <a:pt x="14" y="2"/>
                    </a:cubicBezTo>
                    <a:cubicBezTo>
                      <a:pt x="15" y="2"/>
                      <a:pt x="15" y="2"/>
                      <a:pt x="15" y="3"/>
                    </a:cubicBezTo>
                    <a:cubicBezTo>
                      <a:pt x="15" y="3"/>
                      <a:pt x="15" y="3"/>
                      <a:pt x="15" y="3"/>
                    </a:cubicBezTo>
                    <a:cubicBezTo>
                      <a:pt x="15" y="3"/>
                      <a:pt x="16" y="4"/>
                      <a:pt x="16" y="4"/>
                    </a:cubicBezTo>
                    <a:cubicBezTo>
                      <a:pt x="17" y="5"/>
                      <a:pt x="17" y="6"/>
                      <a:pt x="17" y="8"/>
                    </a:cubicBezTo>
                    <a:cubicBezTo>
                      <a:pt x="17" y="8"/>
                      <a:pt x="17" y="8"/>
                      <a:pt x="17" y="8"/>
                    </a:cubicBezTo>
                    <a:cubicBezTo>
                      <a:pt x="16" y="10"/>
                      <a:pt x="16" y="11"/>
                      <a:pt x="16" y="11"/>
                    </a:cubicBezTo>
                    <a:cubicBezTo>
                      <a:pt x="16" y="11"/>
                      <a:pt x="16" y="11"/>
                      <a:pt x="16" y="11"/>
                    </a:cubicBezTo>
                    <a:cubicBezTo>
                      <a:pt x="17" y="11"/>
                      <a:pt x="17" y="11"/>
                      <a:pt x="17" y="11"/>
                    </a:cubicBezTo>
                    <a:cubicBezTo>
                      <a:pt x="18" y="12"/>
                      <a:pt x="18" y="12"/>
                      <a:pt x="18" y="12"/>
                    </a:cubicBezTo>
                    <a:cubicBezTo>
                      <a:pt x="17" y="13"/>
                      <a:pt x="17" y="13"/>
                      <a:pt x="17" y="13"/>
                    </a:cubicBezTo>
                    <a:cubicBezTo>
                      <a:pt x="16" y="14"/>
                      <a:pt x="15" y="15"/>
                      <a:pt x="13" y="14"/>
                    </a:cubicBezTo>
                    <a:cubicBezTo>
                      <a:pt x="13" y="14"/>
                      <a:pt x="13" y="14"/>
                      <a:pt x="13" y="14"/>
                    </a:cubicBezTo>
                    <a:cubicBezTo>
                      <a:pt x="12" y="14"/>
                      <a:pt x="12" y="14"/>
                      <a:pt x="12" y="14"/>
                    </a:cubicBezTo>
                    <a:cubicBezTo>
                      <a:pt x="12" y="14"/>
                      <a:pt x="12" y="14"/>
                      <a:pt x="12" y="14"/>
                    </a:cubicBezTo>
                    <a:cubicBezTo>
                      <a:pt x="12" y="14"/>
                      <a:pt x="12" y="14"/>
                      <a:pt x="12" y="14"/>
                    </a:cubicBezTo>
                    <a:cubicBezTo>
                      <a:pt x="11" y="14"/>
                      <a:pt x="11" y="14"/>
                      <a:pt x="11" y="14"/>
                    </a:cubicBezTo>
                    <a:cubicBezTo>
                      <a:pt x="11" y="14"/>
                      <a:pt x="11" y="14"/>
                      <a:pt x="11" y="14"/>
                    </a:cubicBezTo>
                    <a:cubicBezTo>
                      <a:pt x="10" y="14"/>
                      <a:pt x="10" y="14"/>
                      <a:pt x="10" y="14"/>
                    </a:cubicBezTo>
                    <a:cubicBezTo>
                      <a:pt x="9" y="14"/>
                      <a:pt x="9" y="12"/>
                      <a:pt x="8" y="11"/>
                    </a:cubicBezTo>
                    <a:cubicBezTo>
                      <a:pt x="8" y="11"/>
                      <a:pt x="8" y="11"/>
                      <a:pt x="8" y="11"/>
                    </a:cubicBezTo>
                    <a:cubicBezTo>
                      <a:pt x="7" y="11"/>
                      <a:pt x="7" y="12"/>
                      <a:pt x="6" y="12"/>
                    </a:cubicBezTo>
                    <a:cubicBezTo>
                      <a:pt x="6" y="12"/>
                      <a:pt x="5" y="13"/>
                      <a:pt x="5" y="13"/>
                    </a:cubicBezTo>
                    <a:cubicBezTo>
                      <a:pt x="4" y="15"/>
                      <a:pt x="4" y="15"/>
                      <a:pt x="4" y="15"/>
                    </a:cubicBezTo>
                    <a:cubicBezTo>
                      <a:pt x="4" y="15"/>
                      <a:pt x="4" y="15"/>
                      <a:pt x="4" y="15"/>
                    </a:cubicBezTo>
                    <a:cubicBezTo>
                      <a:pt x="5" y="15"/>
                      <a:pt x="5" y="15"/>
                      <a:pt x="5" y="15"/>
                    </a:cubicBezTo>
                    <a:cubicBezTo>
                      <a:pt x="5" y="16"/>
                      <a:pt x="5" y="16"/>
                      <a:pt x="5" y="16"/>
                    </a:cubicBezTo>
                    <a:cubicBezTo>
                      <a:pt x="6" y="17"/>
                      <a:pt x="6" y="17"/>
                      <a:pt x="6" y="17"/>
                    </a:cubicBezTo>
                    <a:cubicBezTo>
                      <a:pt x="4" y="18"/>
                      <a:pt x="4" y="18"/>
                      <a:pt x="4" y="18"/>
                    </a:cubicBezTo>
                    <a:cubicBezTo>
                      <a:pt x="3" y="18"/>
                      <a:pt x="3" y="18"/>
                      <a:pt x="3" y="18"/>
                    </a:cubicBezTo>
                    <a:cubicBezTo>
                      <a:pt x="2" y="18"/>
                      <a:pt x="2" y="18"/>
                      <a:pt x="1" y="18"/>
                    </a:cubicBezTo>
                    <a:cubicBezTo>
                      <a:pt x="1" y="18"/>
                      <a:pt x="1" y="18"/>
                      <a:pt x="1" y="18"/>
                    </a:cubicBezTo>
                    <a:cubicBezTo>
                      <a:pt x="1" y="19"/>
                      <a:pt x="0" y="20"/>
                      <a:pt x="0" y="20"/>
                    </a:cubicBezTo>
                    <a:cubicBezTo>
                      <a:pt x="0" y="20"/>
                      <a:pt x="0" y="20"/>
                      <a:pt x="0" y="20"/>
                    </a:cubicBezTo>
                    <a:cubicBezTo>
                      <a:pt x="0" y="20"/>
                      <a:pt x="0" y="20"/>
                      <a:pt x="0" y="20"/>
                    </a:cubicBezTo>
                    <a:cubicBezTo>
                      <a:pt x="1" y="20"/>
                      <a:pt x="2" y="21"/>
                      <a:pt x="3" y="21"/>
                    </a:cubicBezTo>
                    <a:cubicBezTo>
                      <a:pt x="3" y="22"/>
                      <a:pt x="3" y="22"/>
                      <a:pt x="3" y="22"/>
                    </a:cubicBezTo>
                    <a:cubicBezTo>
                      <a:pt x="3" y="22"/>
                      <a:pt x="4" y="22"/>
                      <a:pt x="4" y="22"/>
                    </a:cubicBezTo>
                    <a:cubicBezTo>
                      <a:pt x="4" y="23"/>
                      <a:pt x="4" y="24"/>
                      <a:pt x="4" y="25"/>
                    </a:cubicBezTo>
                    <a:cubicBezTo>
                      <a:pt x="4" y="26"/>
                      <a:pt x="4" y="26"/>
                      <a:pt x="4" y="27"/>
                    </a:cubicBezTo>
                    <a:cubicBezTo>
                      <a:pt x="4" y="27"/>
                      <a:pt x="4" y="27"/>
                      <a:pt x="4" y="27"/>
                    </a:cubicBezTo>
                    <a:cubicBezTo>
                      <a:pt x="3" y="27"/>
                      <a:pt x="3" y="27"/>
                      <a:pt x="3" y="27"/>
                    </a:cubicBezTo>
                    <a:cubicBezTo>
                      <a:pt x="3" y="28"/>
                      <a:pt x="3" y="28"/>
                      <a:pt x="3" y="28"/>
                    </a:cubicBezTo>
                    <a:cubicBezTo>
                      <a:pt x="3" y="28"/>
                      <a:pt x="3" y="28"/>
                      <a:pt x="3" y="28"/>
                    </a:cubicBezTo>
                    <a:cubicBezTo>
                      <a:pt x="3" y="28"/>
                      <a:pt x="3" y="28"/>
                      <a:pt x="3" y="28"/>
                    </a:cubicBezTo>
                    <a:cubicBezTo>
                      <a:pt x="3" y="28"/>
                      <a:pt x="3" y="29"/>
                      <a:pt x="3" y="29"/>
                    </a:cubicBezTo>
                    <a:cubicBezTo>
                      <a:pt x="4" y="29"/>
                      <a:pt x="4" y="29"/>
                      <a:pt x="4" y="30"/>
                    </a:cubicBezTo>
                    <a:cubicBezTo>
                      <a:pt x="4" y="30"/>
                      <a:pt x="4" y="30"/>
                      <a:pt x="4" y="30"/>
                    </a:cubicBezTo>
                    <a:cubicBezTo>
                      <a:pt x="5" y="30"/>
                      <a:pt x="7" y="29"/>
                      <a:pt x="8" y="29"/>
                    </a:cubicBezTo>
                    <a:cubicBezTo>
                      <a:pt x="9" y="29"/>
                      <a:pt x="10" y="29"/>
                      <a:pt x="10" y="29"/>
                    </a:cubicBezTo>
                    <a:cubicBezTo>
                      <a:pt x="11" y="29"/>
                      <a:pt x="11" y="29"/>
                      <a:pt x="11" y="29"/>
                    </a:cubicBezTo>
                    <a:cubicBezTo>
                      <a:pt x="12" y="30"/>
                      <a:pt x="12" y="30"/>
                      <a:pt x="12" y="30"/>
                    </a:cubicBezTo>
                    <a:cubicBezTo>
                      <a:pt x="12" y="30"/>
                      <a:pt x="12" y="30"/>
                      <a:pt x="12" y="31"/>
                    </a:cubicBezTo>
                    <a:cubicBezTo>
                      <a:pt x="12" y="31"/>
                      <a:pt x="11" y="31"/>
                      <a:pt x="11" y="31"/>
                    </a:cubicBezTo>
                    <a:cubicBezTo>
                      <a:pt x="11" y="32"/>
                      <a:pt x="11" y="32"/>
                      <a:pt x="11" y="32"/>
                    </a:cubicBezTo>
                    <a:cubicBezTo>
                      <a:pt x="11" y="32"/>
                      <a:pt x="11" y="32"/>
                      <a:pt x="11" y="32"/>
                    </a:cubicBezTo>
                    <a:cubicBezTo>
                      <a:pt x="11" y="32"/>
                      <a:pt x="11" y="32"/>
                      <a:pt x="11" y="33"/>
                    </a:cubicBezTo>
                    <a:cubicBezTo>
                      <a:pt x="11" y="33"/>
                      <a:pt x="11" y="33"/>
                      <a:pt x="11" y="33"/>
                    </a:cubicBezTo>
                    <a:cubicBezTo>
                      <a:pt x="11" y="33"/>
                      <a:pt x="11" y="33"/>
                      <a:pt x="12" y="34"/>
                    </a:cubicBezTo>
                    <a:cubicBezTo>
                      <a:pt x="12" y="34"/>
                      <a:pt x="12" y="35"/>
                      <a:pt x="12" y="36"/>
                    </a:cubicBezTo>
                    <a:cubicBezTo>
                      <a:pt x="12" y="37"/>
                      <a:pt x="12" y="37"/>
                      <a:pt x="12" y="37"/>
                    </a:cubicBezTo>
                    <a:cubicBezTo>
                      <a:pt x="11" y="37"/>
                      <a:pt x="11" y="37"/>
                      <a:pt x="11" y="37"/>
                    </a:cubicBezTo>
                    <a:cubicBezTo>
                      <a:pt x="11" y="38"/>
                      <a:pt x="11" y="38"/>
                      <a:pt x="11" y="38"/>
                    </a:cubicBezTo>
                    <a:cubicBezTo>
                      <a:pt x="11" y="38"/>
                      <a:pt x="11" y="38"/>
                      <a:pt x="11" y="38"/>
                    </a:cubicBezTo>
                    <a:cubicBezTo>
                      <a:pt x="11" y="39"/>
                      <a:pt x="11" y="39"/>
                      <a:pt x="11" y="39"/>
                    </a:cubicBezTo>
                    <a:cubicBezTo>
                      <a:pt x="11" y="39"/>
                      <a:pt x="11" y="40"/>
                      <a:pt x="11" y="41"/>
                    </a:cubicBezTo>
                    <a:cubicBezTo>
                      <a:pt x="11" y="41"/>
                      <a:pt x="11" y="41"/>
                      <a:pt x="10" y="41"/>
                    </a:cubicBezTo>
                    <a:cubicBezTo>
                      <a:pt x="10" y="42"/>
                      <a:pt x="10" y="42"/>
                      <a:pt x="10" y="42"/>
                    </a:cubicBezTo>
                    <a:cubicBezTo>
                      <a:pt x="10" y="42"/>
                      <a:pt x="10" y="42"/>
                      <a:pt x="10" y="43"/>
                    </a:cubicBezTo>
                    <a:cubicBezTo>
                      <a:pt x="10" y="43"/>
                      <a:pt x="10" y="43"/>
                      <a:pt x="10" y="44"/>
                    </a:cubicBezTo>
                    <a:cubicBezTo>
                      <a:pt x="10" y="45"/>
                      <a:pt x="10" y="45"/>
                      <a:pt x="10" y="46"/>
                    </a:cubicBezTo>
                    <a:cubicBezTo>
                      <a:pt x="10" y="47"/>
                      <a:pt x="10" y="47"/>
                      <a:pt x="10" y="47"/>
                    </a:cubicBezTo>
                    <a:cubicBezTo>
                      <a:pt x="11" y="48"/>
                      <a:pt x="11" y="48"/>
                      <a:pt x="11" y="48"/>
                    </a:cubicBezTo>
                    <a:cubicBezTo>
                      <a:pt x="10" y="48"/>
                      <a:pt x="10" y="48"/>
                      <a:pt x="10" y="48"/>
                    </a:cubicBezTo>
                    <a:cubicBezTo>
                      <a:pt x="9" y="49"/>
                      <a:pt x="9" y="49"/>
                      <a:pt x="9" y="49"/>
                    </a:cubicBezTo>
                    <a:cubicBezTo>
                      <a:pt x="9" y="50"/>
                      <a:pt x="8" y="50"/>
                      <a:pt x="8" y="50"/>
                    </a:cubicBezTo>
                    <a:cubicBezTo>
                      <a:pt x="8" y="51"/>
                      <a:pt x="9" y="51"/>
                      <a:pt x="9" y="51"/>
                    </a:cubicBezTo>
                    <a:cubicBezTo>
                      <a:pt x="9" y="51"/>
                      <a:pt x="9" y="50"/>
                      <a:pt x="9"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3" name="Rectangle 3165">
                <a:extLst>
                  <a:ext uri="{FF2B5EF4-FFF2-40B4-BE49-F238E27FC236}">
                    <a16:creationId xmlns:a16="http://schemas.microsoft.com/office/drawing/2014/main" id="{ECF89D11-9927-4AA1-BD85-187F45BDA65C}"/>
                  </a:ext>
                </a:extLst>
              </p:cNvPr>
              <p:cNvSpPr>
                <a:spLocks noChangeArrowheads="1"/>
              </p:cNvSpPr>
              <p:nvPr/>
            </p:nvSpPr>
            <p:spPr bwMode="auto">
              <a:xfrm>
                <a:off x="6121" y="236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4" name="Rectangle 3166">
                <a:extLst>
                  <a:ext uri="{FF2B5EF4-FFF2-40B4-BE49-F238E27FC236}">
                    <a16:creationId xmlns:a16="http://schemas.microsoft.com/office/drawing/2014/main" id="{95420A4C-2E65-46FB-A241-F545FF3D2CEE}"/>
                  </a:ext>
                </a:extLst>
              </p:cNvPr>
              <p:cNvSpPr>
                <a:spLocks noChangeArrowheads="1"/>
              </p:cNvSpPr>
              <p:nvPr/>
            </p:nvSpPr>
            <p:spPr bwMode="auto">
              <a:xfrm>
                <a:off x="6036" y="22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5" name="Freeform 3167">
                <a:extLst>
                  <a:ext uri="{FF2B5EF4-FFF2-40B4-BE49-F238E27FC236}">
                    <a16:creationId xmlns:a16="http://schemas.microsoft.com/office/drawing/2014/main" id="{0D57CCE2-C295-41F4-9C9E-982A42B10288}"/>
                  </a:ext>
                </a:extLst>
              </p:cNvPr>
              <p:cNvSpPr>
                <a:spLocks/>
              </p:cNvSpPr>
              <p:nvPr/>
            </p:nvSpPr>
            <p:spPr bwMode="auto">
              <a:xfrm>
                <a:off x="6020" y="2206"/>
                <a:ext cx="172" cy="322"/>
              </a:xfrm>
              <a:custGeom>
                <a:avLst/>
                <a:gdLst>
                  <a:gd name="T0" fmla="*/ 69 w 73"/>
                  <a:gd name="T1" fmla="*/ 90 h 136"/>
                  <a:gd name="T2" fmla="*/ 60 w 73"/>
                  <a:gd name="T3" fmla="*/ 74 h 136"/>
                  <a:gd name="T4" fmla="*/ 41 w 73"/>
                  <a:gd name="T5" fmla="*/ 58 h 136"/>
                  <a:gd name="T6" fmla="*/ 36 w 73"/>
                  <a:gd name="T7" fmla="*/ 42 h 136"/>
                  <a:gd name="T8" fmla="*/ 46 w 73"/>
                  <a:gd name="T9" fmla="*/ 27 h 136"/>
                  <a:gd name="T10" fmla="*/ 50 w 73"/>
                  <a:gd name="T11" fmla="*/ 24 h 136"/>
                  <a:gd name="T12" fmla="*/ 54 w 73"/>
                  <a:gd name="T13" fmla="*/ 22 h 136"/>
                  <a:gd name="T14" fmla="*/ 53 w 73"/>
                  <a:gd name="T15" fmla="*/ 18 h 136"/>
                  <a:gd name="T16" fmla="*/ 46 w 73"/>
                  <a:gd name="T17" fmla="*/ 15 h 136"/>
                  <a:gd name="T18" fmla="*/ 43 w 73"/>
                  <a:gd name="T19" fmla="*/ 13 h 136"/>
                  <a:gd name="T20" fmla="*/ 43 w 73"/>
                  <a:gd name="T21" fmla="*/ 6 h 136"/>
                  <a:gd name="T22" fmla="*/ 40 w 73"/>
                  <a:gd name="T23" fmla="*/ 5 h 136"/>
                  <a:gd name="T24" fmla="*/ 31 w 73"/>
                  <a:gd name="T25" fmla="*/ 0 h 136"/>
                  <a:gd name="T26" fmla="*/ 28 w 73"/>
                  <a:gd name="T27" fmla="*/ 2 h 136"/>
                  <a:gd name="T28" fmla="*/ 22 w 73"/>
                  <a:gd name="T29" fmla="*/ 7 h 136"/>
                  <a:gd name="T30" fmla="*/ 14 w 73"/>
                  <a:gd name="T31" fmla="*/ 7 h 136"/>
                  <a:gd name="T32" fmla="*/ 11 w 73"/>
                  <a:gd name="T33" fmla="*/ 7 h 136"/>
                  <a:gd name="T34" fmla="*/ 8 w 73"/>
                  <a:gd name="T35" fmla="*/ 10 h 136"/>
                  <a:gd name="T36" fmla="*/ 2 w 73"/>
                  <a:gd name="T37" fmla="*/ 6 h 136"/>
                  <a:gd name="T38" fmla="*/ 5 w 73"/>
                  <a:gd name="T39" fmla="*/ 15 h 136"/>
                  <a:gd name="T40" fmla="*/ 8 w 73"/>
                  <a:gd name="T41" fmla="*/ 16 h 136"/>
                  <a:gd name="T42" fmla="*/ 7 w 73"/>
                  <a:gd name="T43" fmla="*/ 20 h 136"/>
                  <a:gd name="T44" fmla="*/ 10 w 73"/>
                  <a:gd name="T45" fmla="*/ 24 h 136"/>
                  <a:gd name="T46" fmla="*/ 13 w 73"/>
                  <a:gd name="T47" fmla="*/ 26 h 136"/>
                  <a:gd name="T48" fmla="*/ 17 w 73"/>
                  <a:gd name="T49" fmla="*/ 23 h 136"/>
                  <a:gd name="T50" fmla="*/ 21 w 73"/>
                  <a:gd name="T51" fmla="*/ 24 h 136"/>
                  <a:gd name="T52" fmla="*/ 24 w 73"/>
                  <a:gd name="T53" fmla="*/ 26 h 136"/>
                  <a:gd name="T54" fmla="*/ 24 w 73"/>
                  <a:gd name="T55" fmla="*/ 29 h 136"/>
                  <a:gd name="T56" fmla="*/ 28 w 73"/>
                  <a:gd name="T57" fmla="*/ 33 h 136"/>
                  <a:gd name="T58" fmla="*/ 24 w 73"/>
                  <a:gd name="T59" fmla="*/ 40 h 136"/>
                  <a:gd name="T60" fmla="*/ 21 w 73"/>
                  <a:gd name="T61" fmla="*/ 39 h 136"/>
                  <a:gd name="T62" fmla="*/ 18 w 73"/>
                  <a:gd name="T63" fmla="*/ 42 h 136"/>
                  <a:gd name="T64" fmla="*/ 30 w 73"/>
                  <a:gd name="T65" fmla="*/ 50 h 136"/>
                  <a:gd name="T66" fmla="*/ 36 w 73"/>
                  <a:gd name="T67" fmla="*/ 58 h 136"/>
                  <a:gd name="T68" fmla="*/ 42 w 73"/>
                  <a:gd name="T69" fmla="*/ 64 h 136"/>
                  <a:gd name="T70" fmla="*/ 45 w 73"/>
                  <a:gd name="T71" fmla="*/ 68 h 136"/>
                  <a:gd name="T72" fmla="*/ 45 w 73"/>
                  <a:gd name="T73" fmla="*/ 70 h 136"/>
                  <a:gd name="T74" fmla="*/ 48 w 73"/>
                  <a:gd name="T75" fmla="*/ 72 h 136"/>
                  <a:gd name="T76" fmla="*/ 50 w 73"/>
                  <a:gd name="T77" fmla="*/ 73 h 136"/>
                  <a:gd name="T78" fmla="*/ 53 w 73"/>
                  <a:gd name="T79" fmla="*/ 78 h 136"/>
                  <a:gd name="T80" fmla="*/ 56 w 73"/>
                  <a:gd name="T81" fmla="*/ 84 h 136"/>
                  <a:gd name="T82" fmla="*/ 54 w 73"/>
                  <a:gd name="T83" fmla="*/ 88 h 136"/>
                  <a:gd name="T84" fmla="*/ 53 w 73"/>
                  <a:gd name="T85" fmla="*/ 95 h 136"/>
                  <a:gd name="T86" fmla="*/ 54 w 73"/>
                  <a:gd name="T87" fmla="*/ 101 h 136"/>
                  <a:gd name="T88" fmla="*/ 55 w 73"/>
                  <a:gd name="T89" fmla="*/ 110 h 136"/>
                  <a:gd name="T90" fmla="*/ 53 w 73"/>
                  <a:gd name="T91" fmla="*/ 117 h 136"/>
                  <a:gd name="T92" fmla="*/ 46 w 73"/>
                  <a:gd name="T93" fmla="*/ 119 h 136"/>
                  <a:gd name="T94" fmla="*/ 38 w 73"/>
                  <a:gd name="T95" fmla="*/ 122 h 136"/>
                  <a:gd name="T96" fmla="*/ 43 w 73"/>
                  <a:gd name="T97" fmla="*/ 131 h 136"/>
                  <a:gd name="T98" fmla="*/ 35 w 73"/>
                  <a:gd name="T99" fmla="*/ 130 h 136"/>
                  <a:gd name="T100" fmla="*/ 31 w 73"/>
                  <a:gd name="T101" fmla="*/ 131 h 136"/>
                  <a:gd name="T102" fmla="*/ 44 w 73"/>
                  <a:gd name="T103" fmla="*/ 134 h 136"/>
                  <a:gd name="T104" fmla="*/ 47 w 73"/>
                  <a:gd name="T105" fmla="*/ 133 h 136"/>
                  <a:gd name="T106" fmla="*/ 60 w 73"/>
                  <a:gd name="T107" fmla="*/ 129 h 136"/>
                  <a:gd name="T108" fmla="*/ 71 w 73"/>
                  <a:gd name="T109" fmla="*/ 115 h 136"/>
                  <a:gd name="T110" fmla="*/ 72 w 73"/>
                  <a:gd name="T111" fmla="*/ 11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 h="136">
                    <a:moveTo>
                      <a:pt x="73" y="109"/>
                    </a:moveTo>
                    <a:cubicBezTo>
                      <a:pt x="73" y="108"/>
                      <a:pt x="72" y="106"/>
                      <a:pt x="72" y="105"/>
                    </a:cubicBezTo>
                    <a:cubicBezTo>
                      <a:pt x="71" y="104"/>
                      <a:pt x="71" y="102"/>
                      <a:pt x="71" y="101"/>
                    </a:cubicBezTo>
                    <a:cubicBezTo>
                      <a:pt x="71" y="100"/>
                      <a:pt x="71" y="99"/>
                      <a:pt x="71" y="99"/>
                    </a:cubicBezTo>
                    <a:cubicBezTo>
                      <a:pt x="71" y="99"/>
                      <a:pt x="71" y="98"/>
                      <a:pt x="71" y="97"/>
                    </a:cubicBezTo>
                    <a:cubicBezTo>
                      <a:pt x="71" y="95"/>
                      <a:pt x="70" y="92"/>
                      <a:pt x="69" y="90"/>
                    </a:cubicBezTo>
                    <a:cubicBezTo>
                      <a:pt x="68" y="88"/>
                      <a:pt x="68" y="87"/>
                      <a:pt x="68" y="85"/>
                    </a:cubicBezTo>
                    <a:cubicBezTo>
                      <a:pt x="68" y="84"/>
                      <a:pt x="68" y="84"/>
                      <a:pt x="67" y="84"/>
                    </a:cubicBezTo>
                    <a:cubicBezTo>
                      <a:pt x="65" y="82"/>
                      <a:pt x="63" y="80"/>
                      <a:pt x="61" y="77"/>
                    </a:cubicBezTo>
                    <a:cubicBezTo>
                      <a:pt x="61" y="76"/>
                      <a:pt x="62" y="75"/>
                      <a:pt x="61" y="75"/>
                    </a:cubicBezTo>
                    <a:cubicBezTo>
                      <a:pt x="61" y="74"/>
                      <a:pt x="60" y="76"/>
                      <a:pt x="60" y="76"/>
                    </a:cubicBezTo>
                    <a:cubicBezTo>
                      <a:pt x="60" y="76"/>
                      <a:pt x="59" y="75"/>
                      <a:pt x="60" y="74"/>
                    </a:cubicBezTo>
                    <a:cubicBezTo>
                      <a:pt x="58" y="73"/>
                      <a:pt x="56" y="73"/>
                      <a:pt x="54" y="71"/>
                    </a:cubicBezTo>
                    <a:cubicBezTo>
                      <a:pt x="54" y="70"/>
                      <a:pt x="53" y="69"/>
                      <a:pt x="52" y="69"/>
                    </a:cubicBezTo>
                    <a:cubicBezTo>
                      <a:pt x="51" y="68"/>
                      <a:pt x="50" y="68"/>
                      <a:pt x="49" y="67"/>
                    </a:cubicBezTo>
                    <a:cubicBezTo>
                      <a:pt x="48" y="66"/>
                      <a:pt x="49" y="65"/>
                      <a:pt x="48" y="64"/>
                    </a:cubicBezTo>
                    <a:cubicBezTo>
                      <a:pt x="47" y="64"/>
                      <a:pt x="46" y="63"/>
                      <a:pt x="45" y="62"/>
                    </a:cubicBezTo>
                    <a:cubicBezTo>
                      <a:pt x="44" y="61"/>
                      <a:pt x="42" y="59"/>
                      <a:pt x="41" y="58"/>
                    </a:cubicBezTo>
                    <a:cubicBezTo>
                      <a:pt x="41" y="58"/>
                      <a:pt x="42" y="58"/>
                      <a:pt x="43" y="59"/>
                    </a:cubicBezTo>
                    <a:cubicBezTo>
                      <a:pt x="42" y="58"/>
                      <a:pt x="42" y="57"/>
                      <a:pt x="43" y="56"/>
                    </a:cubicBezTo>
                    <a:cubicBezTo>
                      <a:pt x="43" y="56"/>
                      <a:pt x="37" y="51"/>
                      <a:pt x="37" y="50"/>
                    </a:cubicBezTo>
                    <a:cubicBezTo>
                      <a:pt x="35" y="49"/>
                      <a:pt x="34" y="47"/>
                      <a:pt x="34" y="45"/>
                    </a:cubicBezTo>
                    <a:cubicBezTo>
                      <a:pt x="34" y="45"/>
                      <a:pt x="34" y="45"/>
                      <a:pt x="34" y="45"/>
                    </a:cubicBezTo>
                    <a:cubicBezTo>
                      <a:pt x="34" y="44"/>
                      <a:pt x="35" y="43"/>
                      <a:pt x="36" y="42"/>
                    </a:cubicBezTo>
                    <a:cubicBezTo>
                      <a:pt x="36" y="41"/>
                      <a:pt x="35" y="40"/>
                      <a:pt x="35" y="39"/>
                    </a:cubicBezTo>
                    <a:cubicBezTo>
                      <a:pt x="36" y="38"/>
                      <a:pt x="37" y="37"/>
                      <a:pt x="37" y="36"/>
                    </a:cubicBezTo>
                    <a:cubicBezTo>
                      <a:pt x="38" y="35"/>
                      <a:pt x="38" y="34"/>
                      <a:pt x="40" y="33"/>
                    </a:cubicBezTo>
                    <a:cubicBezTo>
                      <a:pt x="41" y="33"/>
                      <a:pt x="42" y="31"/>
                      <a:pt x="43" y="31"/>
                    </a:cubicBezTo>
                    <a:cubicBezTo>
                      <a:pt x="43" y="30"/>
                      <a:pt x="44" y="29"/>
                      <a:pt x="44" y="28"/>
                    </a:cubicBezTo>
                    <a:cubicBezTo>
                      <a:pt x="44" y="27"/>
                      <a:pt x="45" y="27"/>
                      <a:pt x="46" y="27"/>
                    </a:cubicBezTo>
                    <a:cubicBezTo>
                      <a:pt x="46" y="27"/>
                      <a:pt x="45" y="26"/>
                      <a:pt x="45" y="26"/>
                    </a:cubicBezTo>
                    <a:cubicBezTo>
                      <a:pt x="45" y="25"/>
                      <a:pt x="45" y="25"/>
                      <a:pt x="44" y="24"/>
                    </a:cubicBezTo>
                    <a:cubicBezTo>
                      <a:pt x="45" y="24"/>
                      <a:pt x="46" y="25"/>
                      <a:pt x="47" y="25"/>
                    </a:cubicBezTo>
                    <a:cubicBezTo>
                      <a:pt x="47" y="25"/>
                      <a:pt x="47" y="25"/>
                      <a:pt x="47" y="25"/>
                    </a:cubicBezTo>
                    <a:cubicBezTo>
                      <a:pt x="47" y="24"/>
                      <a:pt x="48" y="24"/>
                      <a:pt x="48" y="24"/>
                    </a:cubicBezTo>
                    <a:cubicBezTo>
                      <a:pt x="49" y="24"/>
                      <a:pt x="49" y="24"/>
                      <a:pt x="50" y="24"/>
                    </a:cubicBezTo>
                    <a:cubicBezTo>
                      <a:pt x="50" y="24"/>
                      <a:pt x="51" y="24"/>
                      <a:pt x="51" y="24"/>
                    </a:cubicBezTo>
                    <a:cubicBezTo>
                      <a:pt x="52" y="23"/>
                      <a:pt x="51" y="23"/>
                      <a:pt x="51" y="23"/>
                    </a:cubicBezTo>
                    <a:cubicBezTo>
                      <a:pt x="52" y="23"/>
                      <a:pt x="52" y="22"/>
                      <a:pt x="51" y="22"/>
                    </a:cubicBezTo>
                    <a:cubicBezTo>
                      <a:pt x="52" y="22"/>
                      <a:pt x="52" y="21"/>
                      <a:pt x="53" y="21"/>
                    </a:cubicBezTo>
                    <a:cubicBezTo>
                      <a:pt x="52" y="22"/>
                      <a:pt x="52" y="22"/>
                      <a:pt x="52" y="23"/>
                    </a:cubicBezTo>
                    <a:cubicBezTo>
                      <a:pt x="52" y="23"/>
                      <a:pt x="53" y="22"/>
                      <a:pt x="54" y="22"/>
                    </a:cubicBezTo>
                    <a:cubicBezTo>
                      <a:pt x="54" y="21"/>
                      <a:pt x="53" y="21"/>
                      <a:pt x="53" y="21"/>
                    </a:cubicBezTo>
                    <a:cubicBezTo>
                      <a:pt x="54" y="20"/>
                      <a:pt x="55" y="20"/>
                      <a:pt x="56" y="19"/>
                    </a:cubicBezTo>
                    <a:cubicBezTo>
                      <a:pt x="56" y="19"/>
                      <a:pt x="56" y="19"/>
                      <a:pt x="56" y="19"/>
                    </a:cubicBezTo>
                    <a:cubicBezTo>
                      <a:pt x="56" y="19"/>
                      <a:pt x="56" y="19"/>
                      <a:pt x="56" y="19"/>
                    </a:cubicBezTo>
                    <a:cubicBezTo>
                      <a:pt x="55" y="18"/>
                      <a:pt x="54" y="18"/>
                      <a:pt x="53" y="18"/>
                    </a:cubicBezTo>
                    <a:cubicBezTo>
                      <a:pt x="53" y="18"/>
                      <a:pt x="53" y="18"/>
                      <a:pt x="53" y="18"/>
                    </a:cubicBezTo>
                    <a:cubicBezTo>
                      <a:pt x="51" y="19"/>
                      <a:pt x="50" y="18"/>
                      <a:pt x="49" y="17"/>
                    </a:cubicBezTo>
                    <a:cubicBezTo>
                      <a:pt x="49" y="17"/>
                      <a:pt x="49" y="17"/>
                      <a:pt x="49" y="16"/>
                    </a:cubicBezTo>
                    <a:cubicBezTo>
                      <a:pt x="48" y="16"/>
                      <a:pt x="48" y="16"/>
                      <a:pt x="48" y="16"/>
                    </a:cubicBezTo>
                    <a:cubicBezTo>
                      <a:pt x="48" y="15"/>
                      <a:pt x="47" y="15"/>
                      <a:pt x="47" y="15"/>
                    </a:cubicBezTo>
                    <a:cubicBezTo>
                      <a:pt x="47" y="15"/>
                      <a:pt x="47" y="15"/>
                      <a:pt x="47" y="15"/>
                    </a:cubicBezTo>
                    <a:cubicBezTo>
                      <a:pt x="46" y="15"/>
                      <a:pt x="46" y="15"/>
                      <a:pt x="46" y="15"/>
                    </a:cubicBezTo>
                    <a:cubicBezTo>
                      <a:pt x="46" y="15"/>
                      <a:pt x="45" y="15"/>
                      <a:pt x="44" y="14"/>
                    </a:cubicBezTo>
                    <a:cubicBezTo>
                      <a:pt x="44" y="14"/>
                      <a:pt x="44" y="14"/>
                      <a:pt x="44" y="14"/>
                    </a:cubicBezTo>
                    <a:cubicBezTo>
                      <a:pt x="44" y="14"/>
                      <a:pt x="44" y="14"/>
                      <a:pt x="44" y="14"/>
                    </a:cubicBezTo>
                    <a:cubicBezTo>
                      <a:pt x="43" y="13"/>
                      <a:pt x="43" y="13"/>
                      <a:pt x="43" y="13"/>
                    </a:cubicBezTo>
                    <a:cubicBezTo>
                      <a:pt x="43" y="13"/>
                      <a:pt x="43" y="13"/>
                      <a:pt x="43" y="13"/>
                    </a:cubicBezTo>
                    <a:cubicBezTo>
                      <a:pt x="43" y="13"/>
                      <a:pt x="43" y="13"/>
                      <a:pt x="43" y="13"/>
                    </a:cubicBezTo>
                    <a:cubicBezTo>
                      <a:pt x="43" y="12"/>
                      <a:pt x="43" y="12"/>
                      <a:pt x="43" y="12"/>
                    </a:cubicBezTo>
                    <a:cubicBezTo>
                      <a:pt x="43" y="12"/>
                      <a:pt x="43" y="12"/>
                      <a:pt x="43" y="12"/>
                    </a:cubicBezTo>
                    <a:cubicBezTo>
                      <a:pt x="43" y="12"/>
                      <a:pt x="43" y="12"/>
                      <a:pt x="43" y="12"/>
                    </a:cubicBezTo>
                    <a:cubicBezTo>
                      <a:pt x="43" y="11"/>
                      <a:pt x="43" y="11"/>
                      <a:pt x="43" y="10"/>
                    </a:cubicBezTo>
                    <a:cubicBezTo>
                      <a:pt x="42" y="10"/>
                      <a:pt x="42" y="10"/>
                      <a:pt x="42" y="10"/>
                    </a:cubicBezTo>
                    <a:cubicBezTo>
                      <a:pt x="42" y="8"/>
                      <a:pt x="42" y="8"/>
                      <a:pt x="43" y="6"/>
                    </a:cubicBezTo>
                    <a:cubicBezTo>
                      <a:pt x="44" y="6"/>
                      <a:pt x="44" y="6"/>
                      <a:pt x="44" y="6"/>
                    </a:cubicBezTo>
                    <a:cubicBezTo>
                      <a:pt x="44" y="6"/>
                      <a:pt x="44" y="5"/>
                      <a:pt x="44" y="5"/>
                    </a:cubicBezTo>
                    <a:cubicBezTo>
                      <a:pt x="44" y="5"/>
                      <a:pt x="44" y="5"/>
                      <a:pt x="44" y="5"/>
                    </a:cubicBezTo>
                    <a:cubicBezTo>
                      <a:pt x="44" y="5"/>
                      <a:pt x="44" y="5"/>
                      <a:pt x="44" y="5"/>
                    </a:cubicBezTo>
                    <a:cubicBezTo>
                      <a:pt x="43" y="5"/>
                      <a:pt x="42" y="5"/>
                      <a:pt x="42" y="5"/>
                    </a:cubicBezTo>
                    <a:cubicBezTo>
                      <a:pt x="41" y="5"/>
                      <a:pt x="41" y="5"/>
                      <a:pt x="40" y="5"/>
                    </a:cubicBezTo>
                    <a:cubicBezTo>
                      <a:pt x="40" y="5"/>
                      <a:pt x="40" y="5"/>
                      <a:pt x="40" y="5"/>
                    </a:cubicBezTo>
                    <a:cubicBezTo>
                      <a:pt x="38" y="5"/>
                      <a:pt x="36" y="5"/>
                      <a:pt x="34" y="3"/>
                    </a:cubicBezTo>
                    <a:cubicBezTo>
                      <a:pt x="34" y="3"/>
                      <a:pt x="34" y="3"/>
                      <a:pt x="34" y="3"/>
                    </a:cubicBezTo>
                    <a:cubicBezTo>
                      <a:pt x="33" y="3"/>
                      <a:pt x="32" y="2"/>
                      <a:pt x="32" y="1"/>
                    </a:cubicBezTo>
                    <a:cubicBezTo>
                      <a:pt x="31" y="1"/>
                      <a:pt x="31" y="1"/>
                      <a:pt x="31" y="1"/>
                    </a:cubicBezTo>
                    <a:cubicBezTo>
                      <a:pt x="31" y="1"/>
                      <a:pt x="31" y="0"/>
                      <a:pt x="31" y="0"/>
                    </a:cubicBezTo>
                    <a:cubicBezTo>
                      <a:pt x="31" y="0"/>
                      <a:pt x="31" y="0"/>
                      <a:pt x="31" y="0"/>
                    </a:cubicBezTo>
                    <a:cubicBezTo>
                      <a:pt x="31" y="0"/>
                      <a:pt x="31" y="0"/>
                      <a:pt x="30" y="0"/>
                    </a:cubicBezTo>
                    <a:cubicBezTo>
                      <a:pt x="30" y="0"/>
                      <a:pt x="30" y="0"/>
                      <a:pt x="30" y="0"/>
                    </a:cubicBezTo>
                    <a:cubicBezTo>
                      <a:pt x="30" y="0"/>
                      <a:pt x="29" y="1"/>
                      <a:pt x="29" y="1"/>
                    </a:cubicBezTo>
                    <a:cubicBezTo>
                      <a:pt x="28" y="1"/>
                      <a:pt x="28" y="1"/>
                      <a:pt x="28" y="1"/>
                    </a:cubicBezTo>
                    <a:cubicBezTo>
                      <a:pt x="28" y="1"/>
                      <a:pt x="28" y="1"/>
                      <a:pt x="28" y="2"/>
                    </a:cubicBezTo>
                    <a:cubicBezTo>
                      <a:pt x="28" y="2"/>
                      <a:pt x="27" y="3"/>
                      <a:pt x="27" y="4"/>
                    </a:cubicBezTo>
                    <a:cubicBezTo>
                      <a:pt x="26" y="4"/>
                      <a:pt x="26" y="4"/>
                      <a:pt x="26" y="5"/>
                    </a:cubicBezTo>
                    <a:cubicBezTo>
                      <a:pt x="26" y="5"/>
                      <a:pt x="26" y="5"/>
                      <a:pt x="26" y="5"/>
                    </a:cubicBezTo>
                    <a:cubicBezTo>
                      <a:pt x="25" y="5"/>
                      <a:pt x="25" y="6"/>
                      <a:pt x="24" y="6"/>
                    </a:cubicBezTo>
                    <a:cubicBezTo>
                      <a:pt x="24" y="6"/>
                      <a:pt x="24" y="6"/>
                      <a:pt x="24" y="6"/>
                    </a:cubicBezTo>
                    <a:cubicBezTo>
                      <a:pt x="22" y="7"/>
                      <a:pt x="22" y="7"/>
                      <a:pt x="22" y="7"/>
                    </a:cubicBezTo>
                    <a:cubicBezTo>
                      <a:pt x="21" y="7"/>
                      <a:pt x="20" y="7"/>
                      <a:pt x="20" y="6"/>
                    </a:cubicBezTo>
                    <a:cubicBezTo>
                      <a:pt x="18" y="8"/>
                      <a:pt x="18" y="8"/>
                      <a:pt x="18" y="8"/>
                    </a:cubicBezTo>
                    <a:cubicBezTo>
                      <a:pt x="18" y="9"/>
                      <a:pt x="17" y="9"/>
                      <a:pt x="17" y="9"/>
                    </a:cubicBezTo>
                    <a:cubicBezTo>
                      <a:pt x="16" y="9"/>
                      <a:pt x="15" y="8"/>
                      <a:pt x="15" y="8"/>
                    </a:cubicBezTo>
                    <a:cubicBezTo>
                      <a:pt x="15" y="7"/>
                      <a:pt x="15" y="7"/>
                      <a:pt x="15" y="7"/>
                    </a:cubicBezTo>
                    <a:cubicBezTo>
                      <a:pt x="15" y="7"/>
                      <a:pt x="14" y="7"/>
                      <a:pt x="14" y="7"/>
                    </a:cubicBezTo>
                    <a:cubicBezTo>
                      <a:pt x="14" y="7"/>
                      <a:pt x="14" y="7"/>
                      <a:pt x="14" y="7"/>
                    </a:cubicBezTo>
                    <a:cubicBezTo>
                      <a:pt x="14" y="7"/>
                      <a:pt x="14" y="7"/>
                      <a:pt x="14" y="7"/>
                    </a:cubicBezTo>
                    <a:cubicBezTo>
                      <a:pt x="14" y="7"/>
                      <a:pt x="13" y="7"/>
                      <a:pt x="13" y="8"/>
                    </a:cubicBezTo>
                    <a:cubicBezTo>
                      <a:pt x="12" y="9"/>
                      <a:pt x="12" y="9"/>
                      <a:pt x="12" y="9"/>
                    </a:cubicBezTo>
                    <a:cubicBezTo>
                      <a:pt x="11" y="8"/>
                      <a:pt x="11" y="8"/>
                      <a:pt x="11" y="8"/>
                    </a:cubicBezTo>
                    <a:cubicBezTo>
                      <a:pt x="11" y="7"/>
                      <a:pt x="11" y="7"/>
                      <a:pt x="11" y="7"/>
                    </a:cubicBezTo>
                    <a:cubicBezTo>
                      <a:pt x="11" y="7"/>
                      <a:pt x="11" y="7"/>
                      <a:pt x="11" y="7"/>
                    </a:cubicBezTo>
                    <a:cubicBezTo>
                      <a:pt x="11" y="7"/>
                      <a:pt x="11" y="6"/>
                      <a:pt x="11" y="6"/>
                    </a:cubicBezTo>
                    <a:cubicBezTo>
                      <a:pt x="10" y="8"/>
                      <a:pt x="10" y="8"/>
                      <a:pt x="10" y="8"/>
                    </a:cubicBezTo>
                    <a:cubicBezTo>
                      <a:pt x="9" y="8"/>
                      <a:pt x="9" y="8"/>
                      <a:pt x="9" y="8"/>
                    </a:cubicBezTo>
                    <a:cubicBezTo>
                      <a:pt x="8" y="9"/>
                      <a:pt x="8" y="9"/>
                      <a:pt x="8" y="9"/>
                    </a:cubicBezTo>
                    <a:cubicBezTo>
                      <a:pt x="8" y="10"/>
                      <a:pt x="8" y="10"/>
                      <a:pt x="8" y="10"/>
                    </a:cubicBezTo>
                    <a:cubicBezTo>
                      <a:pt x="7" y="10"/>
                      <a:pt x="6" y="9"/>
                      <a:pt x="6" y="8"/>
                    </a:cubicBezTo>
                    <a:cubicBezTo>
                      <a:pt x="5" y="8"/>
                      <a:pt x="5" y="8"/>
                      <a:pt x="5" y="8"/>
                    </a:cubicBezTo>
                    <a:cubicBezTo>
                      <a:pt x="5" y="8"/>
                      <a:pt x="5" y="8"/>
                      <a:pt x="5" y="8"/>
                    </a:cubicBezTo>
                    <a:cubicBezTo>
                      <a:pt x="5" y="7"/>
                      <a:pt x="4" y="7"/>
                      <a:pt x="4" y="7"/>
                    </a:cubicBezTo>
                    <a:cubicBezTo>
                      <a:pt x="3" y="7"/>
                      <a:pt x="3" y="7"/>
                      <a:pt x="3" y="7"/>
                    </a:cubicBezTo>
                    <a:cubicBezTo>
                      <a:pt x="3" y="7"/>
                      <a:pt x="2" y="6"/>
                      <a:pt x="2" y="6"/>
                    </a:cubicBezTo>
                    <a:cubicBezTo>
                      <a:pt x="2" y="7"/>
                      <a:pt x="2" y="7"/>
                      <a:pt x="2" y="7"/>
                    </a:cubicBezTo>
                    <a:cubicBezTo>
                      <a:pt x="1" y="7"/>
                      <a:pt x="1" y="8"/>
                      <a:pt x="0" y="9"/>
                    </a:cubicBezTo>
                    <a:cubicBezTo>
                      <a:pt x="0" y="9"/>
                      <a:pt x="0" y="9"/>
                      <a:pt x="0" y="9"/>
                    </a:cubicBezTo>
                    <a:cubicBezTo>
                      <a:pt x="1" y="10"/>
                      <a:pt x="2" y="11"/>
                      <a:pt x="2" y="11"/>
                    </a:cubicBezTo>
                    <a:cubicBezTo>
                      <a:pt x="3" y="12"/>
                      <a:pt x="3" y="12"/>
                      <a:pt x="3" y="12"/>
                    </a:cubicBezTo>
                    <a:cubicBezTo>
                      <a:pt x="4" y="13"/>
                      <a:pt x="4" y="14"/>
                      <a:pt x="5" y="15"/>
                    </a:cubicBezTo>
                    <a:cubicBezTo>
                      <a:pt x="5" y="15"/>
                      <a:pt x="5" y="15"/>
                      <a:pt x="5" y="15"/>
                    </a:cubicBezTo>
                    <a:cubicBezTo>
                      <a:pt x="5" y="15"/>
                      <a:pt x="5" y="15"/>
                      <a:pt x="5" y="15"/>
                    </a:cubicBezTo>
                    <a:cubicBezTo>
                      <a:pt x="6" y="15"/>
                      <a:pt x="6" y="15"/>
                      <a:pt x="6" y="15"/>
                    </a:cubicBezTo>
                    <a:cubicBezTo>
                      <a:pt x="6" y="15"/>
                      <a:pt x="7" y="15"/>
                      <a:pt x="7" y="15"/>
                    </a:cubicBezTo>
                    <a:cubicBezTo>
                      <a:pt x="7" y="15"/>
                      <a:pt x="7" y="15"/>
                      <a:pt x="7" y="15"/>
                    </a:cubicBezTo>
                    <a:cubicBezTo>
                      <a:pt x="7" y="15"/>
                      <a:pt x="8" y="16"/>
                      <a:pt x="8" y="16"/>
                    </a:cubicBezTo>
                    <a:cubicBezTo>
                      <a:pt x="8" y="17"/>
                      <a:pt x="8" y="18"/>
                      <a:pt x="8" y="18"/>
                    </a:cubicBezTo>
                    <a:cubicBezTo>
                      <a:pt x="8" y="19"/>
                      <a:pt x="8" y="19"/>
                      <a:pt x="8" y="19"/>
                    </a:cubicBezTo>
                    <a:cubicBezTo>
                      <a:pt x="7" y="19"/>
                      <a:pt x="7" y="19"/>
                      <a:pt x="7" y="20"/>
                    </a:cubicBezTo>
                    <a:cubicBezTo>
                      <a:pt x="7" y="20"/>
                      <a:pt x="7" y="20"/>
                      <a:pt x="7" y="20"/>
                    </a:cubicBezTo>
                    <a:cubicBezTo>
                      <a:pt x="7" y="20"/>
                      <a:pt x="7" y="20"/>
                      <a:pt x="7" y="20"/>
                    </a:cubicBezTo>
                    <a:cubicBezTo>
                      <a:pt x="7" y="20"/>
                      <a:pt x="7" y="20"/>
                      <a:pt x="7" y="20"/>
                    </a:cubicBezTo>
                    <a:cubicBezTo>
                      <a:pt x="7" y="21"/>
                      <a:pt x="7" y="21"/>
                      <a:pt x="7" y="21"/>
                    </a:cubicBezTo>
                    <a:cubicBezTo>
                      <a:pt x="7" y="21"/>
                      <a:pt x="7" y="21"/>
                      <a:pt x="7" y="21"/>
                    </a:cubicBezTo>
                    <a:cubicBezTo>
                      <a:pt x="7" y="21"/>
                      <a:pt x="8" y="21"/>
                      <a:pt x="8" y="22"/>
                    </a:cubicBezTo>
                    <a:cubicBezTo>
                      <a:pt x="8" y="23"/>
                      <a:pt x="9" y="24"/>
                      <a:pt x="10" y="24"/>
                    </a:cubicBezTo>
                    <a:cubicBezTo>
                      <a:pt x="10" y="24"/>
                      <a:pt x="10" y="24"/>
                      <a:pt x="10" y="24"/>
                    </a:cubicBezTo>
                    <a:cubicBezTo>
                      <a:pt x="10" y="24"/>
                      <a:pt x="10" y="24"/>
                      <a:pt x="10" y="24"/>
                    </a:cubicBezTo>
                    <a:cubicBezTo>
                      <a:pt x="11" y="25"/>
                      <a:pt x="11" y="25"/>
                      <a:pt x="11" y="25"/>
                    </a:cubicBezTo>
                    <a:cubicBezTo>
                      <a:pt x="11" y="25"/>
                      <a:pt x="12" y="25"/>
                      <a:pt x="12" y="25"/>
                    </a:cubicBezTo>
                    <a:cubicBezTo>
                      <a:pt x="12" y="25"/>
                      <a:pt x="12" y="25"/>
                      <a:pt x="12" y="25"/>
                    </a:cubicBezTo>
                    <a:cubicBezTo>
                      <a:pt x="13" y="25"/>
                      <a:pt x="13" y="25"/>
                      <a:pt x="13" y="25"/>
                    </a:cubicBezTo>
                    <a:cubicBezTo>
                      <a:pt x="13" y="26"/>
                      <a:pt x="13" y="26"/>
                      <a:pt x="13" y="26"/>
                    </a:cubicBezTo>
                    <a:cubicBezTo>
                      <a:pt x="13" y="26"/>
                      <a:pt x="13" y="26"/>
                      <a:pt x="13" y="26"/>
                    </a:cubicBezTo>
                    <a:cubicBezTo>
                      <a:pt x="14" y="26"/>
                      <a:pt x="14" y="26"/>
                      <a:pt x="14" y="26"/>
                    </a:cubicBezTo>
                    <a:cubicBezTo>
                      <a:pt x="14" y="26"/>
                      <a:pt x="14" y="26"/>
                      <a:pt x="14" y="26"/>
                    </a:cubicBezTo>
                    <a:cubicBezTo>
                      <a:pt x="14" y="26"/>
                      <a:pt x="14" y="26"/>
                      <a:pt x="14" y="26"/>
                    </a:cubicBezTo>
                    <a:cubicBezTo>
                      <a:pt x="14" y="25"/>
                      <a:pt x="14" y="25"/>
                      <a:pt x="14" y="25"/>
                    </a:cubicBezTo>
                    <a:cubicBezTo>
                      <a:pt x="15" y="25"/>
                      <a:pt x="16" y="24"/>
                      <a:pt x="16" y="24"/>
                    </a:cubicBezTo>
                    <a:cubicBezTo>
                      <a:pt x="17" y="23"/>
                      <a:pt x="17" y="23"/>
                      <a:pt x="17" y="23"/>
                    </a:cubicBezTo>
                    <a:cubicBezTo>
                      <a:pt x="17" y="23"/>
                      <a:pt x="17" y="23"/>
                      <a:pt x="17" y="23"/>
                    </a:cubicBezTo>
                    <a:cubicBezTo>
                      <a:pt x="17" y="23"/>
                      <a:pt x="17" y="23"/>
                      <a:pt x="17" y="23"/>
                    </a:cubicBezTo>
                    <a:cubicBezTo>
                      <a:pt x="18" y="23"/>
                      <a:pt x="19" y="23"/>
                      <a:pt x="19" y="23"/>
                    </a:cubicBezTo>
                    <a:cubicBezTo>
                      <a:pt x="20" y="23"/>
                      <a:pt x="20" y="23"/>
                      <a:pt x="20" y="23"/>
                    </a:cubicBezTo>
                    <a:cubicBezTo>
                      <a:pt x="20" y="23"/>
                      <a:pt x="21" y="24"/>
                      <a:pt x="21" y="24"/>
                    </a:cubicBezTo>
                    <a:cubicBezTo>
                      <a:pt x="21" y="24"/>
                      <a:pt x="21" y="24"/>
                      <a:pt x="21" y="24"/>
                    </a:cubicBezTo>
                    <a:cubicBezTo>
                      <a:pt x="21" y="24"/>
                      <a:pt x="21" y="24"/>
                      <a:pt x="21" y="24"/>
                    </a:cubicBezTo>
                    <a:cubicBezTo>
                      <a:pt x="22" y="25"/>
                      <a:pt x="22" y="25"/>
                      <a:pt x="22" y="25"/>
                    </a:cubicBezTo>
                    <a:cubicBezTo>
                      <a:pt x="22" y="25"/>
                      <a:pt x="22" y="25"/>
                      <a:pt x="22" y="25"/>
                    </a:cubicBezTo>
                    <a:cubicBezTo>
                      <a:pt x="22" y="25"/>
                      <a:pt x="22" y="25"/>
                      <a:pt x="22" y="25"/>
                    </a:cubicBezTo>
                    <a:cubicBezTo>
                      <a:pt x="23" y="25"/>
                      <a:pt x="23" y="25"/>
                      <a:pt x="23" y="26"/>
                    </a:cubicBezTo>
                    <a:cubicBezTo>
                      <a:pt x="23" y="26"/>
                      <a:pt x="24" y="26"/>
                      <a:pt x="24" y="26"/>
                    </a:cubicBezTo>
                    <a:cubicBezTo>
                      <a:pt x="24" y="26"/>
                      <a:pt x="24" y="26"/>
                      <a:pt x="24" y="26"/>
                    </a:cubicBezTo>
                    <a:cubicBezTo>
                      <a:pt x="24" y="26"/>
                      <a:pt x="24" y="26"/>
                      <a:pt x="24" y="26"/>
                    </a:cubicBezTo>
                    <a:cubicBezTo>
                      <a:pt x="25" y="27"/>
                      <a:pt x="25" y="27"/>
                      <a:pt x="25" y="27"/>
                    </a:cubicBezTo>
                    <a:cubicBezTo>
                      <a:pt x="25" y="27"/>
                      <a:pt x="25" y="27"/>
                      <a:pt x="25" y="28"/>
                    </a:cubicBezTo>
                    <a:cubicBezTo>
                      <a:pt x="25" y="28"/>
                      <a:pt x="25" y="28"/>
                      <a:pt x="24" y="29"/>
                    </a:cubicBezTo>
                    <a:cubicBezTo>
                      <a:pt x="24" y="29"/>
                      <a:pt x="24" y="29"/>
                      <a:pt x="24" y="29"/>
                    </a:cubicBezTo>
                    <a:cubicBezTo>
                      <a:pt x="24" y="29"/>
                      <a:pt x="24" y="29"/>
                      <a:pt x="24" y="29"/>
                    </a:cubicBezTo>
                    <a:cubicBezTo>
                      <a:pt x="25" y="29"/>
                      <a:pt x="25" y="30"/>
                      <a:pt x="25" y="30"/>
                    </a:cubicBezTo>
                    <a:cubicBezTo>
                      <a:pt x="26" y="30"/>
                      <a:pt x="26" y="30"/>
                      <a:pt x="26" y="30"/>
                    </a:cubicBezTo>
                    <a:cubicBezTo>
                      <a:pt x="26" y="30"/>
                      <a:pt x="26" y="30"/>
                      <a:pt x="26" y="30"/>
                    </a:cubicBezTo>
                    <a:cubicBezTo>
                      <a:pt x="27" y="31"/>
                      <a:pt x="28" y="32"/>
                      <a:pt x="28" y="33"/>
                    </a:cubicBezTo>
                    <a:cubicBezTo>
                      <a:pt x="28" y="33"/>
                      <a:pt x="28" y="33"/>
                      <a:pt x="28" y="33"/>
                    </a:cubicBezTo>
                    <a:cubicBezTo>
                      <a:pt x="28" y="34"/>
                      <a:pt x="28" y="35"/>
                      <a:pt x="27" y="36"/>
                    </a:cubicBezTo>
                    <a:cubicBezTo>
                      <a:pt x="27" y="37"/>
                      <a:pt x="26" y="37"/>
                      <a:pt x="26" y="38"/>
                    </a:cubicBezTo>
                    <a:cubicBezTo>
                      <a:pt x="26" y="38"/>
                      <a:pt x="25" y="38"/>
                      <a:pt x="25" y="38"/>
                    </a:cubicBezTo>
                    <a:cubicBezTo>
                      <a:pt x="25" y="38"/>
                      <a:pt x="25" y="38"/>
                      <a:pt x="25" y="38"/>
                    </a:cubicBezTo>
                    <a:cubicBezTo>
                      <a:pt x="25" y="39"/>
                      <a:pt x="25" y="39"/>
                      <a:pt x="24" y="39"/>
                    </a:cubicBezTo>
                    <a:cubicBezTo>
                      <a:pt x="24" y="39"/>
                      <a:pt x="24" y="39"/>
                      <a:pt x="24" y="40"/>
                    </a:cubicBezTo>
                    <a:cubicBezTo>
                      <a:pt x="24" y="40"/>
                      <a:pt x="24" y="40"/>
                      <a:pt x="24" y="40"/>
                    </a:cubicBezTo>
                    <a:cubicBezTo>
                      <a:pt x="23" y="40"/>
                      <a:pt x="23" y="40"/>
                      <a:pt x="23" y="40"/>
                    </a:cubicBezTo>
                    <a:cubicBezTo>
                      <a:pt x="22" y="40"/>
                      <a:pt x="22" y="40"/>
                      <a:pt x="22" y="40"/>
                    </a:cubicBezTo>
                    <a:cubicBezTo>
                      <a:pt x="22" y="40"/>
                      <a:pt x="22" y="40"/>
                      <a:pt x="22" y="40"/>
                    </a:cubicBezTo>
                    <a:cubicBezTo>
                      <a:pt x="22" y="40"/>
                      <a:pt x="22" y="40"/>
                      <a:pt x="22" y="40"/>
                    </a:cubicBezTo>
                    <a:cubicBezTo>
                      <a:pt x="21" y="39"/>
                      <a:pt x="21" y="39"/>
                      <a:pt x="21" y="39"/>
                    </a:cubicBezTo>
                    <a:cubicBezTo>
                      <a:pt x="21" y="39"/>
                      <a:pt x="21" y="39"/>
                      <a:pt x="21" y="39"/>
                    </a:cubicBezTo>
                    <a:cubicBezTo>
                      <a:pt x="20" y="39"/>
                      <a:pt x="19" y="39"/>
                      <a:pt x="19" y="39"/>
                    </a:cubicBezTo>
                    <a:cubicBezTo>
                      <a:pt x="19" y="39"/>
                      <a:pt x="19" y="39"/>
                      <a:pt x="19" y="39"/>
                    </a:cubicBezTo>
                    <a:cubicBezTo>
                      <a:pt x="19" y="39"/>
                      <a:pt x="19" y="40"/>
                      <a:pt x="18" y="41"/>
                    </a:cubicBezTo>
                    <a:cubicBezTo>
                      <a:pt x="18" y="41"/>
                      <a:pt x="18" y="41"/>
                      <a:pt x="18" y="42"/>
                    </a:cubicBezTo>
                    <a:cubicBezTo>
                      <a:pt x="18" y="42"/>
                      <a:pt x="18" y="42"/>
                      <a:pt x="18" y="42"/>
                    </a:cubicBezTo>
                    <a:cubicBezTo>
                      <a:pt x="21" y="43"/>
                      <a:pt x="24" y="45"/>
                      <a:pt x="26" y="46"/>
                    </a:cubicBezTo>
                    <a:cubicBezTo>
                      <a:pt x="27" y="46"/>
                      <a:pt x="27" y="46"/>
                      <a:pt x="27" y="46"/>
                    </a:cubicBezTo>
                    <a:cubicBezTo>
                      <a:pt x="28" y="47"/>
                      <a:pt x="29" y="47"/>
                      <a:pt x="30" y="48"/>
                    </a:cubicBezTo>
                    <a:cubicBezTo>
                      <a:pt x="31" y="49"/>
                      <a:pt x="31" y="49"/>
                      <a:pt x="31" y="49"/>
                    </a:cubicBezTo>
                    <a:cubicBezTo>
                      <a:pt x="30" y="50"/>
                      <a:pt x="30" y="50"/>
                      <a:pt x="30" y="50"/>
                    </a:cubicBezTo>
                    <a:cubicBezTo>
                      <a:pt x="30" y="50"/>
                      <a:pt x="30" y="50"/>
                      <a:pt x="30" y="50"/>
                    </a:cubicBezTo>
                    <a:cubicBezTo>
                      <a:pt x="30" y="51"/>
                      <a:pt x="30" y="51"/>
                      <a:pt x="30" y="51"/>
                    </a:cubicBezTo>
                    <a:cubicBezTo>
                      <a:pt x="30" y="51"/>
                      <a:pt x="30" y="51"/>
                      <a:pt x="30" y="51"/>
                    </a:cubicBezTo>
                    <a:cubicBezTo>
                      <a:pt x="30" y="52"/>
                      <a:pt x="32" y="53"/>
                      <a:pt x="33" y="54"/>
                    </a:cubicBezTo>
                    <a:cubicBezTo>
                      <a:pt x="34" y="54"/>
                      <a:pt x="34" y="54"/>
                      <a:pt x="34" y="54"/>
                    </a:cubicBezTo>
                    <a:cubicBezTo>
                      <a:pt x="35" y="55"/>
                      <a:pt x="35" y="56"/>
                      <a:pt x="36" y="58"/>
                    </a:cubicBezTo>
                    <a:cubicBezTo>
                      <a:pt x="36" y="58"/>
                      <a:pt x="36" y="58"/>
                      <a:pt x="36" y="58"/>
                    </a:cubicBezTo>
                    <a:cubicBezTo>
                      <a:pt x="36" y="58"/>
                      <a:pt x="36" y="58"/>
                      <a:pt x="36" y="58"/>
                    </a:cubicBezTo>
                    <a:cubicBezTo>
                      <a:pt x="37" y="59"/>
                      <a:pt x="37" y="59"/>
                      <a:pt x="37" y="59"/>
                    </a:cubicBezTo>
                    <a:cubicBezTo>
                      <a:pt x="37" y="59"/>
                      <a:pt x="38" y="60"/>
                      <a:pt x="39" y="60"/>
                    </a:cubicBezTo>
                    <a:cubicBezTo>
                      <a:pt x="40" y="61"/>
                      <a:pt x="40" y="61"/>
                      <a:pt x="40" y="61"/>
                    </a:cubicBezTo>
                    <a:cubicBezTo>
                      <a:pt x="41" y="62"/>
                      <a:pt x="41" y="62"/>
                      <a:pt x="42" y="63"/>
                    </a:cubicBezTo>
                    <a:cubicBezTo>
                      <a:pt x="42" y="63"/>
                      <a:pt x="42" y="63"/>
                      <a:pt x="42" y="64"/>
                    </a:cubicBezTo>
                    <a:cubicBezTo>
                      <a:pt x="43" y="64"/>
                      <a:pt x="43" y="64"/>
                      <a:pt x="43" y="64"/>
                    </a:cubicBezTo>
                    <a:cubicBezTo>
                      <a:pt x="43" y="65"/>
                      <a:pt x="43" y="65"/>
                      <a:pt x="43" y="65"/>
                    </a:cubicBezTo>
                    <a:cubicBezTo>
                      <a:pt x="43" y="65"/>
                      <a:pt x="43" y="65"/>
                      <a:pt x="43" y="65"/>
                    </a:cubicBezTo>
                    <a:cubicBezTo>
                      <a:pt x="44" y="65"/>
                      <a:pt x="45" y="66"/>
                      <a:pt x="45" y="67"/>
                    </a:cubicBezTo>
                    <a:cubicBezTo>
                      <a:pt x="45" y="67"/>
                      <a:pt x="45" y="67"/>
                      <a:pt x="45" y="67"/>
                    </a:cubicBezTo>
                    <a:cubicBezTo>
                      <a:pt x="45" y="67"/>
                      <a:pt x="45" y="68"/>
                      <a:pt x="45" y="68"/>
                    </a:cubicBezTo>
                    <a:cubicBezTo>
                      <a:pt x="45" y="68"/>
                      <a:pt x="45" y="68"/>
                      <a:pt x="45" y="69"/>
                    </a:cubicBezTo>
                    <a:cubicBezTo>
                      <a:pt x="45" y="69"/>
                      <a:pt x="45" y="69"/>
                      <a:pt x="45" y="69"/>
                    </a:cubicBezTo>
                    <a:cubicBezTo>
                      <a:pt x="45" y="69"/>
                      <a:pt x="45" y="69"/>
                      <a:pt x="45" y="70"/>
                    </a:cubicBezTo>
                    <a:cubicBezTo>
                      <a:pt x="45" y="70"/>
                      <a:pt x="45" y="70"/>
                      <a:pt x="45" y="70"/>
                    </a:cubicBezTo>
                    <a:cubicBezTo>
                      <a:pt x="45" y="70"/>
                      <a:pt x="45" y="70"/>
                      <a:pt x="45" y="70"/>
                    </a:cubicBezTo>
                    <a:cubicBezTo>
                      <a:pt x="45" y="70"/>
                      <a:pt x="45" y="70"/>
                      <a:pt x="45" y="70"/>
                    </a:cubicBezTo>
                    <a:cubicBezTo>
                      <a:pt x="45" y="70"/>
                      <a:pt x="45" y="70"/>
                      <a:pt x="45" y="70"/>
                    </a:cubicBezTo>
                    <a:cubicBezTo>
                      <a:pt x="46" y="70"/>
                      <a:pt x="46" y="70"/>
                      <a:pt x="46" y="70"/>
                    </a:cubicBezTo>
                    <a:cubicBezTo>
                      <a:pt x="47" y="70"/>
                      <a:pt x="47" y="70"/>
                      <a:pt x="47" y="70"/>
                    </a:cubicBezTo>
                    <a:cubicBezTo>
                      <a:pt x="47" y="70"/>
                      <a:pt x="47" y="70"/>
                      <a:pt x="47" y="70"/>
                    </a:cubicBezTo>
                    <a:cubicBezTo>
                      <a:pt x="48" y="70"/>
                      <a:pt x="48" y="70"/>
                      <a:pt x="48" y="70"/>
                    </a:cubicBezTo>
                    <a:cubicBezTo>
                      <a:pt x="48" y="71"/>
                      <a:pt x="48" y="71"/>
                      <a:pt x="48" y="72"/>
                    </a:cubicBezTo>
                    <a:cubicBezTo>
                      <a:pt x="48" y="72"/>
                      <a:pt x="48" y="72"/>
                      <a:pt x="48" y="72"/>
                    </a:cubicBezTo>
                    <a:cubicBezTo>
                      <a:pt x="48" y="72"/>
                      <a:pt x="48" y="72"/>
                      <a:pt x="48" y="72"/>
                    </a:cubicBezTo>
                    <a:cubicBezTo>
                      <a:pt x="49" y="72"/>
                      <a:pt x="49" y="72"/>
                      <a:pt x="49" y="72"/>
                    </a:cubicBezTo>
                    <a:cubicBezTo>
                      <a:pt x="49" y="73"/>
                      <a:pt x="49" y="73"/>
                      <a:pt x="49" y="73"/>
                    </a:cubicBezTo>
                    <a:cubicBezTo>
                      <a:pt x="49" y="73"/>
                      <a:pt x="50" y="73"/>
                      <a:pt x="50" y="73"/>
                    </a:cubicBezTo>
                    <a:cubicBezTo>
                      <a:pt x="50" y="73"/>
                      <a:pt x="50" y="73"/>
                      <a:pt x="50" y="73"/>
                    </a:cubicBezTo>
                    <a:cubicBezTo>
                      <a:pt x="50" y="73"/>
                      <a:pt x="50" y="73"/>
                      <a:pt x="50" y="73"/>
                    </a:cubicBezTo>
                    <a:cubicBezTo>
                      <a:pt x="51" y="73"/>
                      <a:pt x="51" y="73"/>
                      <a:pt x="51" y="74"/>
                    </a:cubicBezTo>
                    <a:cubicBezTo>
                      <a:pt x="51" y="74"/>
                      <a:pt x="51" y="74"/>
                      <a:pt x="51" y="74"/>
                    </a:cubicBezTo>
                    <a:cubicBezTo>
                      <a:pt x="52" y="74"/>
                      <a:pt x="53" y="75"/>
                      <a:pt x="53" y="75"/>
                    </a:cubicBezTo>
                    <a:cubicBezTo>
                      <a:pt x="54" y="76"/>
                      <a:pt x="54" y="77"/>
                      <a:pt x="53" y="77"/>
                    </a:cubicBezTo>
                    <a:cubicBezTo>
                      <a:pt x="53" y="77"/>
                      <a:pt x="53" y="78"/>
                      <a:pt x="53" y="78"/>
                    </a:cubicBezTo>
                    <a:cubicBezTo>
                      <a:pt x="53" y="78"/>
                      <a:pt x="52" y="78"/>
                      <a:pt x="52" y="79"/>
                    </a:cubicBezTo>
                    <a:cubicBezTo>
                      <a:pt x="52" y="79"/>
                      <a:pt x="52" y="79"/>
                      <a:pt x="52" y="79"/>
                    </a:cubicBezTo>
                    <a:cubicBezTo>
                      <a:pt x="52" y="79"/>
                      <a:pt x="51" y="79"/>
                      <a:pt x="51" y="79"/>
                    </a:cubicBezTo>
                    <a:cubicBezTo>
                      <a:pt x="52" y="80"/>
                      <a:pt x="53" y="80"/>
                      <a:pt x="54" y="81"/>
                    </a:cubicBezTo>
                    <a:cubicBezTo>
                      <a:pt x="54" y="81"/>
                      <a:pt x="54" y="81"/>
                      <a:pt x="54" y="81"/>
                    </a:cubicBezTo>
                    <a:cubicBezTo>
                      <a:pt x="55" y="82"/>
                      <a:pt x="55" y="83"/>
                      <a:pt x="56" y="84"/>
                    </a:cubicBezTo>
                    <a:cubicBezTo>
                      <a:pt x="56" y="84"/>
                      <a:pt x="56" y="84"/>
                      <a:pt x="56" y="84"/>
                    </a:cubicBezTo>
                    <a:cubicBezTo>
                      <a:pt x="56" y="85"/>
                      <a:pt x="56" y="86"/>
                      <a:pt x="55" y="86"/>
                    </a:cubicBezTo>
                    <a:cubicBezTo>
                      <a:pt x="55" y="87"/>
                      <a:pt x="55" y="87"/>
                      <a:pt x="55" y="87"/>
                    </a:cubicBezTo>
                    <a:cubicBezTo>
                      <a:pt x="54" y="87"/>
                      <a:pt x="54" y="87"/>
                      <a:pt x="54" y="87"/>
                    </a:cubicBezTo>
                    <a:cubicBezTo>
                      <a:pt x="54" y="87"/>
                      <a:pt x="54" y="88"/>
                      <a:pt x="54" y="88"/>
                    </a:cubicBezTo>
                    <a:cubicBezTo>
                      <a:pt x="54" y="88"/>
                      <a:pt x="54" y="88"/>
                      <a:pt x="54" y="88"/>
                    </a:cubicBezTo>
                    <a:cubicBezTo>
                      <a:pt x="54" y="88"/>
                      <a:pt x="54" y="88"/>
                      <a:pt x="54" y="88"/>
                    </a:cubicBezTo>
                    <a:cubicBezTo>
                      <a:pt x="55" y="90"/>
                      <a:pt x="55" y="90"/>
                      <a:pt x="55" y="90"/>
                    </a:cubicBezTo>
                    <a:cubicBezTo>
                      <a:pt x="55" y="90"/>
                      <a:pt x="55" y="90"/>
                      <a:pt x="55" y="90"/>
                    </a:cubicBezTo>
                    <a:cubicBezTo>
                      <a:pt x="54" y="91"/>
                      <a:pt x="54" y="91"/>
                      <a:pt x="54" y="91"/>
                    </a:cubicBezTo>
                    <a:cubicBezTo>
                      <a:pt x="54" y="91"/>
                      <a:pt x="54" y="91"/>
                      <a:pt x="54" y="91"/>
                    </a:cubicBezTo>
                    <a:cubicBezTo>
                      <a:pt x="54" y="93"/>
                      <a:pt x="54" y="94"/>
                      <a:pt x="53" y="95"/>
                    </a:cubicBezTo>
                    <a:cubicBezTo>
                      <a:pt x="53" y="96"/>
                      <a:pt x="53" y="96"/>
                      <a:pt x="53" y="96"/>
                    </a:cubicBezTo>
                    <a:cubicBezTo>
                      <a:pt x="53" y="96"/>
                      <a:pt x="53" y="97"/>
                      <a:pt x="53" y="97"/>
                    </a:cubicBezTo>
                    <a:cubicBezTo>
                      <a:pt x="53" y="97"/>
                      <a:pt x="53" y="97"/>
                      <a:pt x="53" y="97"/>
                    </a:cubicBezTo>
                    <a:cubicBezTo>
                      <a:pt x="54" y="98"/>
                      <a:pt x="54" y="98"/>
                      <a:pt x="54" y="99"/>
                    </a:cubicBezTo>
                    <a:cubicBezTo>
                      <a:pt x="54" y="99"/>
                      <a:pt x="54" y="100"/>
                      <a:pt x="54" y="100"/>
                    </a:cubicBezTo>
                    <a:cubicBezTo>
                      <a:pt x="54" y="101"/>
                      <a:pt x="54" y="101"/>
                      <a:pt x="54" y="101"/>
                    </a:cubicBezTo>
                    <a:cubicBezTo>
                      <a:pt x="55" y="102"/>
                      <a:pt x="56" y="103"/>
                      <a:pt x="55" y="104"/>
                    </a:cubicBezTo>
                    <a:cubicBezTo>
                      <a:pt x="55" y="105"/>
                      <a:pt x="55" y="105"/>
                      <a:pt x="55" y="105"/>
                    </a:cubicBezTo>
                    <a:cubicBezTo>
                      <a:pt x="55" y="106"/>
                      <a:pt x="55" y="107"/>
                      <a:pt x="55" y="108"/>
                    </a:cubicBezTo>
                    <a:cubicBezTo>
                      <a:pt x="54" y="108"/>
                      <a:pt x="54" y="108"/>
                      <a:pt x="54" y="108"/>
                    </a:cubicBezTo>
                    <a:cubicBezTo>
                      <a:pt x="54" y="108"/>
                      <a:pt x="55" y="110"/>
                      <a:pt x="55" y="110"/>
                    </a:cubicBezTo>
                    <a:cubicBezTo>
                      <a:pt x="55" y="110"/>
                      <a:pt x="55" y="110"/>
                      <a:pt x="55" y="110"/>
                    </a:cubicBezTo>
                    <a:cubicBezTo>
                      <a:pt x="55" y="111"/>
                      <a:pt x="55" y="112"/>
                      <a:pt x="55" y="113"/>
                    </a:cubicBezTo>
                    <a:cubicBezTo>
                      <a:pt x="55" y="113"/>
                      <a:pt x="55" y="113"/>
                      <a:pt x="55" y="113"/>
                    </a:cubicBezTo>
                    <a:cubicBezTo>
                      <a:pt x="58" y="113"/>
                      <a:pt x="58" y="113"/>
                      <a:pt x="58" y="113"/>
                    </a:cubicBezTo>
                    <a:cubicBezTo>
                      <a:pt x="55" y="114"/>
                      <a:pt x="55" y="114"/>
                      <a:pt x="55" y="114"/>
                    </a:cubicBezTo>
                    <a:cubicBezTo>
                      <a:pt x="55" y="114"/>
                      <a:pt x="55" y="114"/>
                      <a:pt x="55" y="114"/>
                    </a:cubicBezTo>
                    <a:cubicBezTo>
                      <a:pt x="55" y="116"/>
                      <a:pt x="54" y="117"/>
                      <a:pt x="53" y="117"/>
                    </a:cubicBezTo>
                    <a:cubicBezTo>
                      <a:pt x="52" y="117"/>
                      <a:pt x="51" y="117"/>
                      <a:pt x="51" y="117"/>
                    </a:cubicBezTo>
                    <a:cubicBezTo>
                      <a:pt x="51" y="116"/>
                      <a:pt x="50" y="116"/>
                      <a:pt x="50" y="116"/>
                    </a:cubicBezTo>
                    <a:cubicBezTo>
                      <a:pt x="50" y="117"/>
                      <a:pt x="50" y="117"/>
                      <a:pt x="50" y="117"/>
                    </a:cubicBezTo>
                    <a:cubicBezTo>
                      <a:pt x="49" y="118"/>
                      <a:pt x="49" y="118"/>
                      <a:pt x="49" y="118"/>
                    </a:cubicBezTo>
                    <a:cubicBezTo>
                      <a:pt x="49" y="118"/>
                      <a:pt x="48" y="118"/>
                      <a:pt x="47" y="119"/>
                    </a:cubicBezTo>
                    <a:cubicBezTo>
                      <a:pt x="46" y="119"/>
                      <a:pt x="46" y="119"/>
                      <a:pt x="46" y="119"/>
                    </a:cubicBezTo>
                    <a:cubicBezTo>
                      <a:pt x="45" y="119"/>
                      <a:pt x="44" y="119"/>
                      <a:pt x="43" y="120"/>
                    </a:cubicBezTo>
                    <a:cubicBezTo>
                      <a:pt x="43" y="120"/>
                      <a:pt x="43" y="120"/>
                      <a:pt x="43" y="121"/>
                    </a:cubicBezTo>
                    <a:cubicBezTo>
                      <a:pt x="43" y="121"/>
                      <a:pt x="43" y="121"/>
                      <a:pt x="43" y="121"/>
                    </a:cubicBezTo>
                    <a:cubicBezTo>
                      <a:pt x="43" y="121"/>
                      <a:pt x="44" y="121"/>
                      <a:pt x="44" y="122"/>
                    </a:cubicBezTo>
                    <a:cubicBezTo>
                      <a:pt x="44" y="123"/>
                      <a:pt x="44" y="123"/>
                      <a:pt x="44" y="123"/>
                    </a:cubicBezTo>
                    <a:cubicBezTo>
                      <a:pt x="38" y="122"/>
                      <a:pt x="38" y="122"/>
                      <a:pt x="38" y="122"/>
                    </a:cubicBezTo>
                    <a:cubicBezTo>
                      <a:pt x="38" y="122"/>
                      <a:pt x="37" y="122"/>
                      <a:pt x="37" y="123"/>
                    </a:cubicBezTo>
                    <a:cubicBezTo>
                      <a:pt x="37" y="123"/>
                      <a:pt x="37" y="123"/>
                      <a:pt x="37" y="123"/>
                    </a:cubicBezTo>
                    <a:cubicBezTo>
                      <a:pt x="37" y="124"/>
                      <a:pt x="37" y="125"/>
                      <a:pt x="38" y="126"/>
                    </a:cubicBezTo>
                    <a:cubicBezTo>
                      <a:pt x="38" y="126"/>
                      <a:pt x="39" y="126"/>
                      <a:pt x="39" y="127"/>
                    </a:cubicBezTo>
                    <a:cubicBezTo>
                      <a:pt x="40" y="127"/>
                      <a:pt x="40" y="128"/>
                      <a:pt x="41" y="128"/>
                    </a:cubicBezTo>
                    <a:cubicBezTo>
                      <a:pt x="43" y="131"/>
                      <a:pt x="43" y="131"/>
                      <a:pt x="43" y="131"/>
                    </a:cubicBezTo>
                    <a:cubicBezTo>
                      <a:pt x="41" y="130"/>
                      <a:pt x="41" y="130"/>
                      <a:pt x="41" y="130"/>
                    </a:cubicBezTo>
                    <a:cubicBezTo>
                      <a:pt x="41" y="130"/>
                      <a:pt x="41" y="130"/>
                      <a:pt x="41" y="131"/>
                    </a:cubicBezTo>
                    <a:cubicBezTo>
                      <a:pt x="41" y="133"/>
                      <a:pt x="41" y="133"/>
                      <a:pt x="41" y="133"/>
                    </a:cubicBezTo>
                    <a:cubicBezTo>
                      <a:pt x="39" y="132"/>
                      <a:pt x="39" y="132"/>
                      <a:pt x="39" y="132"/>
                    </a:cubicBezTo>
                    <a:cubicBezTo>
                      <a:pt x="38" y="132"/>
                      <a:pt x="37" y="131"/>
                      <a:pt x="36" y="130"/>
                    </a:cubicBezTo>
                    <a:cubicBezTo>
                      <a:pt x="35" y="130"/>
                      <a:pt x="35" y="130"/>
                      <a:pt x="35" y="130"/>
                    </a:cubicBezTo>
                    <a:cubicBezTo>
                      <a:pt x="35" y="130"/>
                      <a:pt x="35" y="130"/>
                      <a:pt x="35" y="130"/>
                    </a:cubicBezTo>
                    <a:cubicBezTo>
                      <a:pt x="35" y="130"/>
                      <a:pt x="35" y="130"/>
                      <a:pt x="35" y="130"/>
                    </a:cubicBezTo>
                    <a:cubicBezTo>
                      <a:pt x="35" y="130"/>
                      <a:pt x="35" y="130"/>
                      <a:pt x="34" y="130"/>
                    </a:cubicBezTo>
                    <a:cubicBezTo>
                      <a:pt x="34" y="130"/>
                      <a:pt x="33" y="130"/>
                      <a:pt x="32" y="130"/>
                    </a:cubicBezTo>
                    <a:cubicBezTo>
                      <a:pt x="32" y="130"/>
                      <a:pt x="32" y="130"/>
                      <a:pt x="32" y="130"/>
                    </a:cubicBezTo>
                    <a:cubicBezTo>
                      <a:pt x="32" y="130"/>
                      <a:pt x="31" y="131"/>
                      <a:pt x="31" y="131"/>
                    </a:cubicBezTo>
                    <a:cubicBezTo>
                      <a:pt x="32" y="132"/>
                      <a:pt x="34" y="134"/>
                      <a:pt x="35" y="135"/>
                    </a:cubicBezTo>
                    <a:cubicBezTo>
                      <a:pt x="37" y="136"/>
                      <a:pt x="39" y="136"/>
                      <a:pt x="41" y="136"/>
                    </a:cubicBezTo>
                    <a:cubicBezTo>
                      <a:pt x="42" y="135"/>
                      <a:pt x="43" y="136"/>
                      <a:pt x="44" y="136"/>
                    </a:cubicBezTo>
                    <a:cubicBezTo>
                      <a:pt x="47" y="136"/>
                      <a:pt x="46" y="135"/>
                      <a:pt x="44" y="135"/>
                    </a:cubicBezTo>
                    <a:cubicBezTo>
                      <a:pt x="44" y="134"/>
                      <a:pt x="44" y="134"/>
                      <a:pt x="45" y="134"/>
                    </a:cubicBezTo>
                    <a:cubicBezTo>
                      <a:pt x="45" y="134"/>
                      <a:pt x="44" y="134"/>
                      <a:pt x="44" y="134"/>
                    </a:cubicBezTo>
                    <a:cubicBezTo>
                      <a:pt x="44" y="133"/>
                      <a:pt x="44" y="133"/>
                      <a:pt x="44" y="133"/>
                    </a:cubicBezTo>
                    <a:cubicBezTo>
                      <a:pt x="44" y="132"/>
                      <a:pt x="44" y="132"/>
                      <a:pt x="44" y="132"/>
                    </a:cubicBezTo>
                    <a:cubicBezTo>
                      <a:pt x="45" y="131"/>
                      <a:pt x="45" y="131"/>
                      <a:pt x="45" y="131"/>
                    </a:cubicBezTo>
                    <a:cubicBezTo>
                      <a:pt x="46" y="132"/>
                      <a:pt x="46" y="132"/>
                      <a:pt x="46" y="132"/>
                    </a:cubicBezTo>
                    <a:cubicBezTo>
                      <a:pt x="47" y="131"/>
                      <a:pt x="47" y="131"/>
                      <a:pt x="47" y="131"/>
                    </a:cubicBezTo>
                    <a:cubicBezTo>
                      <a:pt x="47" y="132"/>
                      <a:pt x="47" y="132"/>
                      <a:pt x="47" y="133"/>
                    </a:cubicBezTo>
                    <a:cubicBezTo>
                      <a:pt x="47" y="133"/>
                      <a:pt x="48" y="134"/>
                      <a:pt x="48" y="134"/>
                    </a:cubicBezTo>
                    <a:cubicBezTo>
                      <a:pt x="48" y="133"/>
                      <a:pt x="48" y="133"/>
                      <a:pt x="48" y="132"/>
                    </a:cubicBezTo>
                    <a:cubicBezTo>
                      <a:pt x="48" y="134"/>
                      <a:pt x="48" y="134"/>
                      <a:pt x="49" y="135"/>
                    </a:cubicBezTo>
                    <a:cubicBezTo>
                      <a:pt x="49" y="135"/>
                      <a:pt x="48" y="135"/>
                      <a:pt x="49" y="135"/>
                    </a:cubicBezTo>
                    <a:cubicBezTo>
                      <a:pt x="49" y="136"/>
                      <a:pt x="52" y="134"/>
                      <a:pt x="52" y="134"/>
                    </a:cubicBezTo>
                    <a:cubicBezTo>
                      <a:pt x="55" y="132"/>
                      <a:pt x="58" y="131"/>
                      <a:pt x="60" y="129"/>
                    </a:cubicBezTo>
                    <a:cubicBezTo>
                      <a:pt x="63" y="128"/>
                      <a:pt x="67" y="127"/>
                      <a:pt x="68" y="124"/>
                    </a:cubicBezTo>
                    <a:cubicBezTo>
                      <a:pt x="68" y="123"/>
                      <a:pt x="71" y="121"/>
                      <a:pt x="70" y="120"/>
                    </a:cubicBezTo>
                    <a:cubicBezTo>
                      <a:pt x="69" y="120"/>
                      <a:pt x="70" y="118"/>
                      <a:pt x="70" y="117"/>
                    </a:cubicBezTo>
                    <a:cubicBezTo>
                      <a:pt x="70" y="118"/>
                      <a:pt x="70" y="119"/>
                      <a:pt x="71" y="119"/>
                    </a:cubicBezTo>
                    <a:cubicBezTo>
                      <a:pt x="71" y="119"/>
                      <a:pt x="71" y="119"/>
                      <a:pt x="71" y="118"/>
                    </a:cubicBezTo>
                    <a:cubicBezTo>
                      <a:pt x="71" y="117"/>
                      <a:pt x="71" y="116"/>
                      <a:pt x="71" y="115"/>
                    </a:cubicBezTo>
                    <a:cubicBezTo>
                      <a:pt x="71" y="115"/>
                      <a:pt x="70" y="114"/>
                      <a:pt x="70" y="114"/>
                    </a:cubicBezTo>
                    <a:cubicBezTo>
                      <a:pt x="70" y="113"/>
                      <a:pt x="71" y="114"/>
                      <a:pt x="72" y="114"/>
                    </a:cubicBezTo>
                    <a:cubicBezTo>
                      <a:pt x="72" y="114"/>
                      <a:pt x="71" y="114"/>
                      <a:pt x="71" y="114"/>
                    </a:cubicBezTo>
                    <a:cubicBezTo>
                      <a:pt x="71" y="112"/>
                      <a:pt x="70" y="111"/>
                      <a:pt x="72" y="110"/>
                    </a:cubicBezTo>
                    <a:cubicBezTo>
                      <a:pt x="72" y="111"/>
                      <a:pt x="72" y="112"/>
                      <a:pt x="73" y="112"/>
                    </a:cubicBezTo>
                    <a:cubicBezTo>
                      <a:pt x="73" y="111"/>
                      <a:pt x="73" y="112"/>
                      <a:pt x="72" y="111"/>
                    </a:cubicBezTo>
                    <a:cubicBezTo>
                      <a:pt x="72" y="111"/>
                      <a:pt x="72" y="111"/>
                      <a:pt x="72" y="110"/>
                    </a:cubicBezTo>
                    <a:cubicBezTo>
                      <a:pt x="72" y="110"/>
                      <a:pt x="72" y="110"/>
                      <a:pt x="72" y="109"/>
                    </a:cubicBezTo>
                    <a:cubicBezTo>
                      <a:pt x="72" y="109"/>
                      <a:pt x="73" y="109"/>
                      <a:pt x="7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6" name="Freeform 3168">
                <a:extLst>
                  <a:ext uri="{FF2B5EF4-FFF2-40B4-BE49-F238E27FC236}">
                    <a16:creationId xmlns:a16="http://schemas.microsoft.com/office/drawing/2014/main" id="{918C52C9-A4D4-4244-8513-732D251E4299}"/>
                  </a:ext>
                </a:extLst>
              </p:cNvPr>
              <p:cNvSpPr>
                <a:spLocks/>
              </p:cNvSpPr>
              <p:nvPr/>
            </p:nvSpPr>
            <p:spPr bwMode="auto">
              <a:xfrm>
                <a:off x="6072" y="2516"/>
                <a:ext cx="40" cy="52"/>
              </a:xfrm>
              <a:custGeom>
                <a:avLst/>
                <a:gdLst>
                  <a:gd name="T0" fmla="*/ 15 w 17"/>
                  <a:gd name="T1" fmla="*/ 9 h 22"/>
                  <a:gd name="T2" fmla="*/ 14 w 17"/>
                  <a:gd name="T3" fmla="*/ 7 h 22"/>
                  <a:gd name="T4" fmla="*/ 12 w 17"/>
                  <a:gd name="T5" fmla="*/ 6 h 22"/>
                  <a:gd name="T6" fmla="*/ 9 w 17"/>
                  <a:gd name="T7" fmla="*/ 4 h 22"/>
                  <a:gd name="T8" fmla="*/ 8 w 17"/>
                  <a:gd name="T9" fmla="*/ 2 h 22"/>
                  <a:gd name="T10" fmla="*/ 9 w 17"/>
                  <a:gd name="T11" fmla="*/ 2 h 22"/>
                  <a:gd name="T12" fmla="*/ 8 w 17"/>
                  <a:gd name="T13" fmla="*/ 0 h 22"/>
                  <a:gd name="T14" fmla="*/ 7 w 17"/>
                  <a:gd name="T15" fmla="*/ 0 h 22"/>
                  <a:gd name="T16" fmla="*/ 7 w 17"/>
                  <a:gd name="T17" fmla="*/ 0 h 22"/>
                  <a:gd name="T18" fmla="*/ 3 w 17"/>
                  <a:gd name="T19" fmla="*/ 4 h 22"/>
                  <a:gd name="T20" fmla="*/ 0 w 17"/>
                  <a:gd name="T21" fmla="*/ 5 h 22"/>
                  <a:gd name="T22" fmla="*/ 2 w 17"/>
                  <a:gd name="T23" fmla="*/ 6 h 22"/>
                  <a:gd name="T24" fmla="*/ 7 w 17"/>
                  <a:gd name="T25" fmla="*/ 9 h 22"/>
                  <a:gd name="T26" fmla="*/ 4 w 17"/>
                  <a:gd name="T27" fmla="*/ 10 h 22"/>
                  <a:gd name="T28" fmla="*/ 4 w 17"/>
                  <a:gd name="T29" fmla="*/ 16 h 22"/>
                  <a:gd name="T30" fmla="*/ 5 w 17"/>
                  <a:gd name="T31" fmla="*/ 21 h 22"/>
                  <a:gd name="T32" fmla="*/ 3 w 17"/>
                  <a:gd name="T33" fmla="*/ 22 h 22"/>
                  <a:gd name="T34" fmla="*/ 8 w 17"/>
                  <a:gd name="T35" fmla="*/ 21 h 22"/>
                  <a:gd name="T36" fmla="*/ 9 w 17"/>
                  <a:gd name="T37" fmla="*/ 19 h 22"/>
                  <a:gd name="T38" fmla="*/ 15 w 17"/>
                  <a:gd name="T39" fmla="*/ 15 h 22"/>
                  <a:gd name="T40" fmla="*/ 17 w 17"/>
                  <a:gd name="T41" fmla="*/ 13 h 22"/>
                  <a:gd name="T42" fmla="*/ 15 w 17"/>
                  <a:gd name="T43"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2">
                    <a:moveTo>
                      <a:pt x="15" y="9"/>
                    </a:moveTo>
                    <a:cubicBezTo>
                      <a:pt x="14" y="8"/>
                      <a:pt x="14" y="8"/>
                      <a:pt x="14" y="7"/>
                    </a:cubicBezTo>
                    <a:cubicBezTo>
                      <a:pt x="13" y="7"/>
                      <a:pt x="13" y="6"/>
                      <a:pt x="12" y="6"/>
                    </a:cubicBezTo>
                    <a:cubicBezTo>
                      <a:pt x="11" y="5"/>
                      <a:pt x="10" y="4"/>
                      <a:pt x="9" y="4"/>
                    </a:cubicBezTo>
                    <a:cubicBezTo>
                      <a:pt x="9" y="3"/>
                      <a:pt x="8" y="3"/>
                      <a:pt x="8" y="2"/>
                    </a:cubicBezTo>
                    <a:cubicBezTo>
                      <a:pt x="8" y="2"/>
                      <a:pt x="8" y="2"/>
                      <a:pt x="9" y="2"/>
                    </a:cubicBezTo>
                    <a:cubicBezTo>
                      <a:pt x="9" y="2"/>
                      <a:pt x="9" y="1"/>
                      <a:pt x="8" y="0"/>
                    </a:cubicBezTo>
                    <a:cubicBezTo>
                      <a:pt x="8" y="0"/>
                      <a:pt x="7" y="0"/>
                      <a:pt x="7" y="0"/>
                    </a:cubicBezTo>
                    <a:cubicBezTo>
                      <a:pt x="7" y="0"/>
                      <a:pt x="7" y="0"/>
                      <a:pt x="7" y="0"/>
                    </a:cubicBezTo>
                    <a:cubicBezTo>
                      <a:pt x="7" y="2"/>
                      <a:pt x="5" y="3"/>
                      <a:pt x="3" y="4"/>
                    </a:cubicBezTo>
                    <a:cubicBezTo>
                      <a:pt x="2" y="4"/>
                      <a:pt x="1" y="4"/>
                      <a:pt x="0" y="5"/>
                    </a:cubicBezTo>
                    <a:cubicBezTo>
                      <a:pt x="1" y="5"/>
                      <a:pt x="1" y="6"/>
                      <a:pt x="2" y="6"/>
                    </a:cubicBezTo>
                    <a:cubicBezTo>
                      <a:pt x="3" y="7"/>
                      <a:pt x="7" y="7"/>
                      <a:pt x="7" y="9"/>
                    </a:cubicBezTo>
                    <a:cubicBezTo>
                      <a:pt x="6" y="8"/>
                      <a:pt x="5" y="9"/>
                      <a:pt x="4" y="10"/>
                    </a:cubicBezTo>
                    <a:cubicBezTo>
                      <a:pt x="3" y="12"/>
                      <a:pt x="4" y="15"/>
                      <a:pt x="4" y="16"/>
                    </a:cubicBezTo>
                    <a:cubicBezTo>
                      <a:pt x="3" y="17"/>
                      <a:pt x="3" y="22"/>
                      <a:pt x="5" y="21"/>
                    </a:cubicBezTo>
                    <a:cubicBezTo>
                      <a:pt x="4" y="22"/>
                      <a:pt x="4" y="22"/>
                      <a:pt x="3" y="22"/>
                    </a:cubicBezTo>
                    <a:cubicBezTo>
                      <a:pt x="5" y="22"/>
                      <a:pt x="6" y="22"/>
                      <a:pt x="8" y="21"/>
                    </a:cubicBezTo>
                    <a:cubicBezTo>
                      <a:pt x="9" y="20"/>
                      <a:pt x="9" y="20"/>
                      <a:pt x="9" y="19"/>
                    </a:cubicBezTo>
                    <a:cubicBezTo>
                      <a:pt x="10" y="17"/>
                      <a:pt x="13" y="16"/>
                      <a:pt x="15" y="15"/>
                    </a:cubicBezTo>
                    <a:cubicBezTo>
                      <a:pt x="17" y="14"/>
                      <a:pt x="17" y="14"/>
                      <a:pt x="17" y="13"/>
                    </a:cubicBezTo>
                    <a:cubicBezTo>
                      <a:pt x="16" y="12"/>
                      <a:pt x="15" y="10"/>
                      <a:pt x="1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7" name="Freeform 3169">
                <a:extLst>
                  <a:ext uri="{FF2B5EF4-FFF2-40B4-BE49-F238E27FC236}">
                    <a16:creationId xmlns:a16="http://schemas.microsoft.com/office/drawing/2014/main" id="{7A99ACFC-F9FC-44A9-8DAF-952A69F2DCC3}"/>
                  </a:ext>
                </a:extLst>
              </p:cNvPr>
              <p:cNvSpPr>
                <a:spLocks/>
              </p:cNvSpPr>
              <p:nvPr/>
            </p:nvSpPr>
            <p:spPr bwMode="auto">
              <a:xfrm>
                <a:off x="6034" y="2492"/>
                <a:ext cx="0" cy="3"/>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8" name="Freeform 3170">
                <a:extLst>
                  <a:ext uri="{FF2B5EF4-FFF2-40B4-BE49-F238E27FC236}">
                    <a16:creationId xmlns:a16="http://schemas.microsoft.com/office/drawing/2014/main" id="{27B991DA-5872-445E-AC5A-BAE30F383040}"/>
                  </a:ext>
                </a:extLst>
              </p:cNvPr>
              <p:cNvSpPr>
                <a:spLocks/>
              </p:cNvSpPr>
              <p:nvPr/>
            </p:nvSpPr>
            <p:spPr bwMode="auto">
              <a:xfrm>
                <a:off x="6022" y="2426"/>
                <a:ext cx="123" cy="97"/>
              </a:xfrm>
              <a:custGeom>
                <a:avLst/>
                <a:gdLst>
                  <a:gd name="T0" fmla="*/ 20 w 52"/>
                  <a:gd name="T1" fmla="*/ 40 h 41"/>
                  <a:gd name="T2" fmla="*/ 25 w 52"/>
                  <a:gd name="T3" fmla="*/ 38 h 41"/>
                  <a:gd name="T4" fmla="*/ 27 w 52"/>
                  <a:gd name="T5" fmla="*/ 35 h 41"/>
                  <a:gd name="T6" fmla="*/ 31 w 52"/>
                  <a:gd name="T7" fmla="*/ 35 h 41"/>
                  <a:gd name="T8" fmla="*/ 34 w 52"/>
                  <a:gd name="T9" fmla="*/ 34 h 41"/>
                  <a:gd name="T10" fmla="*/ 35 w 52"/>
                  <a:gd name="T11" fmla="*/ 34 h 41"/>
                  <a:gd name="T12" fmla="*/ 34 w 52"/>
                  <a:gd name="T13" fmla="*/ 30 h 41"/>
                  <a:gd name="T14" fmla="*/ 36 w 52"/>
                  <a:gd name="T15" fmla="*/ 27 h 41"/>
                  <a:gd name="T16" fmla="*/ 40 w 52"/>
                  <a:gd name="T17" fmla="*/ 27 h 41"/>
                  <a:gd name="T18" fmla="*/ 45 w 52"/>
                  <a:gd name="T19" fmla="*/ 23 h 41"/>
                  <a:gd name="T20" fmla="*/ 46 w 52"/>
                  <a:gd name="T21" fmla="*/ 23 h 41"/>
                  <a:gd name="T22" fmla="*/ 48 w 52"/>
                  <a:gd name="T23" fmla="*/ 21 h 41"/>
                  <a:gd name="T24" fmla="*/ 51 w 52"/>
                  <a:gd name="T25" fmla="*/ 21 h 41"/>
                  <a:gd name="T26" fmla="*/ 51 w 52"/>
                  <a:gd name="T27" fmla="*/ 21 h 41"/>
                  <a:gd name="T28" fmla="*/ 51 w 52"/>
                  <a:gd name="T29" fmla="*/ 20 h 41"/>
                  <a:gd name="T30" fmla="*/ 51 w 52"/>
                  <a:gd name="T31" fmla="*/ 20 h 41"/>
                  <a:gd name="T32" fmla="*/ 51 w 52"/>
                  <a:gd name="T33" fmla="*/ 15 h 41"/>
                  <a:gd name="T34" fmla="*/ 52 w 52"/>
                  <a:gd name="T35" fmla="*/ 11 h 41"/>
                  <a:gd name="T36" fmla="*/ 51 w 52"/>
                  <a:gd name="T37" fmla="*/ 9 h 41"/>
                  <a:gd name="T38" fmla="*/ 50 w 52"/>
                  <a:gd name="T39" fmla="*/ 6 h 41"/>
                  <a:gd name="T40" fmla="*/ 50 w 52"/>
                  <a:gd name="T41" fmla="*/ 6 h 41"/>
                  <a:gd name="T42" fmla="*/ 50 w 52"/>
                  <a:gd name="T43" fmla="*/ 1 h 41"/>
                  <a:gd name="T44" fmla="*/ 49 w 52"/>
                  <a:gd name="T45" fmla="*/ 1 h 41"/>
                  <a:gd name="T46" fmla="*/ 48 w 52"/>
                  <a:gd name="T47" fmla="*/ 2 h 41"/>
                  <a:gd name="T48" fmla="*/ 42 w 52"/>
                  <a:gd name="T49" fmla="*/ 1 h 41"/>
                  <a:gd name="T50" fmla="*/ 42 w 52"/>
                  <a:gd name="T51" fmla="*/ 0 h 41"/>
                  <a:gd name="T52" fmla="*/ 40 w 52"/>
                  <a:gd name="T53" fmla="*/ 1 h 41"/>
                  <a:gd name="T54" fmla="*/ 39 w 52"/>
                  <a:gd name="T55" fmla="*/ 2 h 41"/>
                  <a:gd name="T56" fmla="*/ 39 w 52"/>
                  <a:gd name="T57" fmla="*/ 5 h 41"/>
                  <a:gd name="T58" fmla="*/ 37 w 52"/>
                  <a:gd name="T59" fmla="*/ 8 h 41"/>
                  <a:gd name="T60" fmla="*/ 36 w 52"/>
                  <a:gd name="T61" fmla="*/ 6 h 41"/>
                  <a:gd name="T62" fmla="*/ 35 w 52"/>
                  <a:gd name="T63" fmla="*/ 6 h 41"/>
                  <a:gd name="T64" fmla="*/ 35 w 52"/>
                  <a:gd name="T65" fmla="*/ 6 h 41"/>
                  <a:gd name="T66" fmla="*/ 34 w 52"/>
                  <a:gd name="T67" fmla="*/ 5 h 41"/>
                  <a:gd name="T68" fmla="*/ 33 w 52"/>
                  <a:gd name="T69" fmla="*/ 5 h 41"/>
                  <a:gd name="T70" fmla="*/ 32 w 52"/>
                  <a:gd name="T71" fmla="*/ 5 h 41"/>
                  <a:gd name="T72" fmla="*/ 31 w 52"/>
                  <a:gd name="T73" fmla="*/ 5 h 41"/>
                  <a:gd name="T74" fmla="*/ 31 w 52"/>
                  <a:gd name="T75" fmla="*/ 5 h 41"/>
                  <a:gd name="T76" fmla="*/ 29 w 52"/>
                  <a:gd name="T77" fmla="*/ 3 h 41"/>
                  <a:gd name="T78" fmla="*/ 26 w 52"/>
                  <a:gd name="T79" fmla="*/ 3 h 41"/>
                  <a:gd name="T80" fmla="*/ 25 w 52"/>
                  <a:gd name="T81" fmla="*/ 2 h 41"/>
                  <a:gd name="T82" fmla="*/ 25 w 52"/>
                  <a:gd name="T83" fmla="*/ 1 h 41"/>
                  <a:gd name="T84" fmla="*/ 22 w 52"/>
                  <a:gd name="T85" fmla="*/ 2 h 41"/>
                  <a:gd name="T86" fmla="*/ 16 w 52"/>
                  <a:gd name="T87" fmla="*/ 2 h 41"/>
                  <a:gd name="T88" fmla="*/ 11 w 52"/>
                  <a:gd name="T89" fmla="*/ 2 h 41"/>
                  <a:gd name="T90" fmla="*/ 7 w 52"/>
                  <a:gd name="T91" fmla="*/ 3 h 41"/>
                  <a:gd name="T92" fmla="*/ 5 w 52"/>
                  <a:gd name="T93" fmla="*/ 5 h 41"/>
                  <a:gd name="T94" fmla="*/ 1 w 52"/>
                  <a:gd name="T95" fmla="*/ 10 h 41"/>
                  <a:gd name="T96" fmla="*/ 1 w 52"/>
                  <a:gd name="T97" fmla="*/ 13 h 41"/>
                  <a:gd name="T98" fmla="*/ 2 w 52"/>
                  <a:gd name="T99" fmla="*/ 16 h 41"/>
                  <a:gd name="T100" fmla="*/ 2 w 52"/>
                  <a:gd name="T101" fmla="*/ 18 h 41"/>
                  <a:gd name="T102" fmla="*/ 3 w 52"/>
                  <a:gd name="T103" fmla="*/ 19 h 41"/>
                  <a:gd name="T104" fmla="*/ 5 w 52"/>
                  <a:gd name="T105" fmla="*/ 20 h 41"/>
                  <a:gd name="T106" fmla="*/ 5 w 52"/>
                  <a:gd name="T107" fmla="*/ 21 h 41"/>
                  <a:gd name="T108" fmla="*/ 5 w 52"/>
                  <a:gd name="T109" fmla="*/ 22 h 41"/>
                  <a:gd name="T110" fmla="*/ 6 w 52"/>
                  <a:gd name="T111" fmla="*/ 28 h 41"/>
                  <a:gd name="T112" fmla="*/ 6 w 52"/>
                  <a:gd name="T113" fmla="*/ 30 h 41"/>
                  <a:gd name="T114" fmla="*/ 8 w 52"/>
                  <a:gd name="T115" fmla="*/ 37 h 41"/>
                  <a:gd name="T116" fmla="*/ 12 w 52"/>
                  <a:gd name="T117" fmla="*/ 34 h 41"/>
                  <a:gd name="T118" fmla="*/ 12 w 52"/>
                  <a:gd name="T119" fmla="*/ 39 h 41"/>
                  <a:gd name="T120" fmla="*/ 20 w 52"/>
                  <a:gd name="T1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 h="41">
                    <a:moveTo>
                      <a:pt x="20" y="41"/>
                    </a:moveTo>
                    <a:cubicBezTo>
                      <a:pt x="20" y="40"/>
                      <a:pt x="20" y="40"/>
                      <a:pt x="20" y="40"/>
                    </a:cubicBezTo>
                    <a:cubicBezTo>
                      <a:pt x="21" y="40"/>
                      <a:pt x="22" y="39"/>
                      <a:pt x="23" y="39"/>
                    </a:cubicBezTo>
                    <a:cubicBezTo>
                      <a:pt x="24" y="39"/>
                      <a:pt x="25" y="38"/>
                      <a:pt x="25" y="38"/>
                    </a:cubicBezTo>
                    <a:cubicBezTo>
                      <a:pt x="25" y="37"/>
                      <a:pt x="25" y="36"/>
                      <a:pt x="26" y="35"/>
                    </a:cubicBezTo>
                    <a:cubicBezTo>
                      <a:pt x="26" y="35"/>
                      <a:pt x="27" y="35"/>
                      <a:pt x="27" y="35"/>
                    </a:cubicBezTo>
                    <a:cubicBezTo>
                      <a:pt x="27" y="35"/>
                      <a:pt x="28" y="35"/>
                      <a:pt x="28" y="35"/>
                    </a:cubicBezTo>
                    <a:cubicBezTo>
                      <a:pt x="29" y="35"/>
                      <a:pt x="30" y="35"/>
                      <a:pt x="31" y="35"/>
                    </a:cubicBezTo>
                    <a:cubicBezTo>
                      <a:pt x="31" y="35"/>
                      <a:pt x="31" y="35"/>
                      <a:pt x="31" y="35"/>
                    </a:cubicBezTo>
                    <a:cubicBezTo>
                      <a:pt x="32" y="35"/>
                      <a:pt x="34" y="34"/>
                      <a:pt x="34" y="34"/>
                    </a:cubicBezTo>
                    <a:cubicBezTo>
                      <a:pt x="34" y="34"/>
                      <a:pt x="35" y="34"/>
                      <a:pt x="36" y="35"/>
                    </a:cubicBezTo>
                    <a:cubicBezTo>
                      <a:pt x="35" y="35"/>
                      <a:pt x="35" y="34"/>
                      <a:pt x="35" y="34"/>
                    </a:cubicBezTo>
                    <a:cubicBezTo>
                      <a:pt x="34" y="33"/>
                      <a:pt x="34" y="32"/>
                      <a:pt x="34" y="31"/>
                    </a:cubicBezTo>
                    <a:cubicBezTo>
                      <a:pt x="34" y="30"/>
                      <a:pt x="34" y="30"/>
                      <a:pt x="34" y="30"/>
                    </a:cubicBezTo>
                    <a:cubicBezTo>
                      <a:pt x="34" y="30"/>
                      <a:pt x="34" y="30"/>
                      <a:pt x="34" y="30"/>
                    </a:cubicBezTo>
                    <a:cubicBezTo>
                      <a:pt x="33" y="28"/>
                      <a:pt x="35" y="27"/>
                      <a:pt x="36" y="27"/>
                    </a:cubicBezTo>
                    <a:cubicBezTo>
                      <a:pt x="36" y="26"/>
                      <a:pt x="37" y="26"/>
                      <a:pt x="37" y="26"/>
                    </a:cubicBezTo>
                    <a:cubicBezTo>
                      <a:pt x="40" y="27"/>
                      <a:pt x="40" y="27"/>
                      <a:pt x="40" y="27"/>
                    </a:cubicBezTo>
                    <a:cubicBezTo>
                      <a:pt x="40" y="26"/>
                      <a:pt x="40" y="25"/>
                      <a:pt x="41" y="24"/>
                    </a:cubicBezTo>
                    <a:cubicBezTo>
                      <a:pt x="42" y="24"/>
                      <a:pt x="43" y="24"/>
                      <a:pt x="45" y="23"/>
                    </a:cubicBezTo>
                    <a:cubicBezTo>
                      <a:pt x="45" y="23"/>
                      <a:pt x="45" y="23"/>
                      <a:pt x="45" y="23"/>
                    </a:cubicBezTo>
                    <a:cubicBezTo>
                      <a:pt x="46" y="23"/>
                      <a:pt x="46" y="23"/>
                      <a:pt x="46" y="23"/>
                    </a:cubicBezTo>
                    <a:cubicBezTo>
                      <a:pt x="47" y="23"/>
                      <a:pt x="47" y="23"/>
                      <a:pt x="47" y="23"/>
                    </a:cubicBezTo>
                    <a:cubicBezTo>
                      <a:pt x="47" y="22"/>
                      <a:pt x="47" y="22"/>
                      <a:pt x="48" y="21"/>
                    </a:cubicBezTo>
                    <a:cubicBezTo>
                      <a:pt x="48" y="21"/>
                      <a:pt x="48" y="21"/>
                      <a:pt x="48" y="21"/>
                    </a:cubicBezTo>
                    <a:cubicBezTo>
                      <a:pt x="50" y="21"/>
                      <a:pt x="50" y="21"/>
                      <a:pt x="51" y="21"/>
                    </a:cubicBezTo>
                    <a:cubicBezTo>
                      <a:pt x="51" y="21"/>
                      <a:pt x="51" y="21"/>
                      <a:pt x="51" y="21"/>
                    </a:cubicBezTo>
                    <a:cubicBezTo>
                      <a:pt x="51" y="21"/>
                      <a:pt x="51" y="21"/>
                      <a:pt x="51" y="21"/>
                    </a:cubicBezTo>
                    <a:cubicBezTo>
                      <a:pt x="51" y="21"/>
                      <a:pt x="51" y="21"/>
                      <a:pt x="51" y="21"/>
                    </a:cubicBezTo>
                    <a:cubicBezTo>
                      <a:pt x="51" y="20"/>
                      <a:pt x="51" y="20"/>
                      <a:pt x="51" y="20"/>
                    </a:cubicBezTo>
                    <a:cubicBezTo>
                      <a:pt x="51" y="20"/>
                      <a:pt x="51" y="20"/>
                      <a:pt x="51" y="20"/>
                    </a:cubicBezTo>
                    <a:cubicBezTo>
                      <a:pt x="51" y="20"/>
                      <a:pt x="51" y="20"/>
                      <a:pt x="51" y="20"/>
                    </a:cubicBezTo>
                    <a:cubicBezTo>
                      <a:pt x="51" y="19"/>
                      <a:pt x="51" y="18"/>
                      <a:pt x="51" y="17"/>
                    </a:cubicBezTo>
                    <a:cubicBezTo>
                      <a:pt x="51" y="16"/>
                      <a:pt x="51" y="15"/>
                      <a:pt x="51" y="15"/>
                    </a:cubicBezTo>
                    <a:cubicBezTo>
                      <a:pt x="51" y="14"/>
                      <a:pt x="51" y="14"/>
                      <a:pt x="51" y="14"/>
                    </a:cubicBezTo>
                    <a:cubicBezTo>
                      <a:pt x="51" y="13"/>
                      <a:pt x="52" y="12"/>
                      <a:pt x="52" y="11"/>
                    </a:cubicBezTo>
                    <a:cubicBezTo>
                      <a:pt x="52" y="10"/>
                      <a:pt x="52" y="10"/>
                      <a:pt x="52" y="10"/>
                    </a:cubicBezTo>
                    <a:cubicBezTo>
                      <a:pt x="52" y="10"/>
                      <a:pt x="51" y="9"/>
                      <a:pt x="51" y="9"/>
                    </a:cubicBezTo>
                    <a:cubicBezTo>
                      <a:pt x="51" y="9"/>
                      <a:pt x="51" y="8"/>
                      <a:pt x="51" y="8"/>
                    </a:cubicBezTo>
                    <a:cubicBezTo>
                      <a:pt x="51" y="7"/>
                      <a:pt x="50" y="7"/>
                      <a:pt x="50" y="6"/>
                    </a:cubicBezTo>
                    <a:cubicBezTo>
                      <a:pt x="50" y="6"/>
                      <a:pt x="50" y="6"/>
                      <a:pt x="50" y="6"/>
                    </a:cubicBezTo>
                    <a:cubicBezTo>
                      <a:pt x="50" y="6"/>
                      <a:pt x="50" y="6"/>
                      <a:pt x="50" y="6"/>
                    </a:cubicBezTo>
                    <a:cubicBezTo>
                      <a:pt x="49" y="4"/>
                      <a:pt x="49" y="4"/>
                      <a:pt x="49" y="3"/>
                    </a:cubicBezTo>
                    <a:cubicBezTo>
                      <a:pt x="50" y="1"/>
                      <a:pt x="50" y="1"/>
                      <a:pt x="50" y="1"/>
                    </a:cubicBezTo>
                    <a:cubicBezTo>
                      <a:pt x="50" y="1"/>
                      <a:pt x="50" y="1"/>
                      <a:pt x="50" y="0"/>
                    </a:cubicBezTo>
                    <a:cubicBezTo>
                      <a:pt x="50" y="0"/>
                      <a:pt x="50" y="0"/>
                      <a:pt x="49" y="1"/>
                    </a:cubicBezTo>
                    <a:cubicBezTo>
                      <a:pt x="49" y="1"/>
                      <a:pt x="48" y="1"/>
                      <a:pt x="48" y="2"/>
                    </a:cubicBezTo>
                    <a:cubicBezTo>
                      <a:pt x="48" y="2"/>
                      <a:pt x="48" y="2"/>
                      <a:pt x="48" y="2"/>
                    </a:cubicBezTo>
                    <a:cubicBezTo>
                      <a:pt x="47" y="2"/>
                      <a:pt x="46" y="2"/>
                      <a:pt x="45" y="2"/>
                    </a:cubicBezTo>
                    <a:cubicBezTo>
                      <a:pt x="42" y="1"/>
                      <a:pt x="42" y="1"/>
                      <a:pt x="42" y="1"/>
                    </a:cubicBezTo>
                    <a:cubicBezTo>
                      <a:pt x="42" y="0"/>
                      <a:pt x="42" y="0"/>
                      <a:pt x="42" y="0"/>
                    </a:cubicBezTo>
                    <a:cubicBezTo>
                      <a:pt x="42" y="0"/>
                      <a:pt x="42" y="0"/>
                      <a:pt x="42" y="0"/>
                    </a:cubicBezTo>
                    <a:cubicBezTo>
                      <a:pt x="41" y="0"/>
                      <a:pt x="41" y="0"/>
                      <a:pt x="40" y="1"/>
                    </a:cubicBezTo>
                    <a:cubicBezTo>
                      <a:pt x="40" y="1"/>
                      <a:pt x="40" y="1"/>
                      <a:pt x="40" y="1"/>
                    </a:cubicBezTo>
                    <a:cubicBezTo>
                      <a:pt x="40" y="1"/>
                      <a:pt x="39" y="1"/>
                      <a:pt x="39" y="1"/>
                    </a:cubicBezTo>
                    <a:cubicBezTo>
                      <a:pt x="39" y="1"/>
                      <a:pt x="39" y="1"/>
                      <a:pt x="39" y="2"/>
                    </a:cubicBezTo>
                    <a:cubicBezTo>
                      <a:pt x="39" y="2"/>
                      <a:pt x="40" y="3"/>
                      <a:pt x="40" y="4"/>
                    </a:cubicBezTo>
                    <a:cubicBezTo>
                      <a:pt x="40" y="4"/>
                      <a:pt x="39" y="5"/>
                      <a:pt x="39" y="5"/>
                    </a:cubicBezTo>
                    <a:cubicBezTo>
                      <a:pt x="39" y="6"/>
                      <a:pt x="38" y="6"/>
                      <a:pt x="37" y="6"/>
                    </a:cubicBezTo>
                    <a:cubicBezTo>
                      <a:pt x="37" y="8"/>
                      <a:pt x="37" y="8"/>
                      <a:pt x="37" y="8"/>
                    </a:cubicBezTo>
                    <a:cubicBezTo>
                      <a:pt x="37" y="6"/>
                      <a:pt x="37" y="6"/>
                      <a:pt x="37" y="6"/>
                    </a:cubicBezTo>
                    <a:cubicBezTo>
                      <a:pt x="36" y="6"/>
                      <a:pt x="36" y="6"/>
                      <a:pt x="36" y="6"/>
                    </a:cubicBezTo>
                    <a:cubicBezTo>
                      <a:pt x="36" y="6"/>
                      <a:pt x="36" y="6"/>
                      <a:pt x="36" y="6"/>
                    </a:cubicBezTo>
                    <a:cubicBezTo>
                      <a:pt x="36" y="6"/>
                      <a:pt x="36" y="6"/>
                      <a:pt x="35" y="6"/>
                    </a:cubicBezTo>
                    <a:cubicBezTo>
                      <a:pt x="35" y="6"/>
                      <a:pt x="35" y="6"/>
                      <a:pt x="35" y="6"/>
                    </a:cubicBezTo>
                    <a:cubicBezTo>
                      <a:pt x="35" y="6"/>
                      <a:pt x="35" y="6"/>
                      <a:pt x="35" y="6"/>
                    </a:cubicBezTo>
                    <a:cubicBezTo>
                      <a:pt x="34" y="5"/>
                      <a:pt x="34" y="5"/>
                      <a:pt x="34" y="5"/>
                    </a:cubicBezTo>
                    <a:cubicBezTo>
                      <a:pt x="34" y="5"/>
                      <a:pt x="34" y="5"/>
                      <a:pt x="34" y="5"/>
                    </a:cubicBezTo>
                    <a:cubicBezTo>
                      <a:pt x="34" y="5"/>
                      <a:pt x="33" y="5"/>
                      <a:pt x="33" y="5"/>
                    </a:cubicBezTo>
                    <a:cubicBezTo>
                      <a:pt x="33" y="5"/>
                      <a:pt x="33" y="5"/>
                      <a:pt x="33" y="5"/>
                    </a:cubicBezTo>
                    <a:cubicBezTo>
                      <a:pt x="33" y="5"/>
                      <a:pt x="33" y="5"/>
                      <a:pt x="33" y="5"/>
                    </a:cubicBezTo>
                    <a:cubicBezTo>
                      <a:pt x="33" y="5"/>
                      <a:pt x="33" y="5"/>
                      <a:pt x="32" y="5"/>
                    </a:cubicBezTo>
                    <a:cubicBezTo>
                      <a:pt x="32" y="5"/>
                      <a:pt x="32" y="5"/>
                      <a:pt x="32" y="5"/>
                    </a:cubicBezTo>
                    <a:cubicBezTo>
                      <a:pt x="32" y="5"/>
                      <a:pt x="32" y="5"/>
                      <a:pt x="31" y="5"/>
                    </a:cubicBezTo>
                    <a:cubicBezTo>
                      <a:pt x="31" y="5"/>
                      <a:pt x="31" y="5"/>
                      <a:pt x="31" y="5"/>
                    </a:cubicBezTo>
                    <a:cubicBezTo>
                      <a:pt x="31" y="5"/>
                      <a:pt x="31" y="5"/>
                      <a:pt x="31" y="5"/>
                    </a:cubicBezTo>
                    <a:cubicBezTo>
                      <a:pt x="30" y="5"/>
                      <a:pt x="30" y="4"/>
                      <a:pt x="29" y="4"/>
                    </a:cubicBezTo>
                    <a:cubicBezTo>
                      <a:pt x="29" y="4"/>
                      <a:pt x="29" y="3"/>
                      <a:pt x="29" y="3"/>
                    </a:cubicBezTo>
                    <a:cubicBezTo>
                      <a:pt x="28" y="3"/>
                      <a:pt x="28" y="3"/>
                      <a:pt x="27" y="3"/>
                    </a:cubicBezTo>
                    <a:cubicBezTo>
                      <a:pt x="27" y="3"/>
                      <a:pt x="26" y="3"/>
                      <a:pt x="26" y="3"/>
                    </a:cubicBezTo>
                    <a:cubicBezTo>
                      <a:pt x="26" y="2"/>
                      <a:pt x="26" y="2"/>
                      <a:pt x="26" y="2"/>
                    </a:cubicBezTo>
                    <a:cubicBezTo>
                      <a:pt x="25" y="2"/>
                      <a:pt x="25" y="2"/>
                      <a:pt x="25" y="2"/>
                    </a:cubicBezTo>
                    <a:cubicBezTo>
                      <a:pt x="25" y="2"/>
                      <a:pt x="25" y="2"/>
                      <a:pt x="25" y="1"/>
                    </a:cubicBezTo>
                    <a:cubicBezTo>
                      <a:pt x="25" y="1"/>
                      <a:pt x="25" y="1"/>
                      <a:pt x="25" y="1"/>
                    </a:cubicBezTo>
                    <a:cubicBezTo>
                      <a:pt x="24" y="1"/>
                      <a:pt x="24" y="2"/>
                      <a:pt x="23" y="2"/>
                    </a:cubicBezTo>
                    <a:cubicBezTo>
                      <a:pt x="22" y="2"/>
                      <a:pt x="22" y="2"/>
                      <a:pt x="22" y="2"/>
                    </a:cubicBezTo>
                    <a:cubicBezTo>
                      <a:pt x="21" y="2"/>
                      <a:pt x="20" y="2"/>
                      <a:pt x="19" y="2"/>
                    </a:cubicBezTo>
                    <a:cubicBezTo>
                      <a:pt x="18" y="2"/>
                      <a:pt x="17" y="2"/>
                      <a:pt x="16" y="2"/>
                    </a:cubicBezTo>
                    <a:cubicBezTo>
                      <a:pt x="15" y="2"/>
                      <a:pt x="15" y="2"/>
                      <a:pt x="15" y="2"/>
                    </a:cubicBezTo>
                    <a:cubicBezTo>
                      <a:pt x="14" y="2"/>
                      <a:pt x="13" y="2"/>
                      <a:pt x="11" y="2"/>
                    </a:cubicBezTo>
                    <a:cubicBezTo>
                      <a:pt x="11" y="2"/>
                      <a:pt x="10" y="2"/>
                      <a:pt x="10" y="2"/>
                    </a:cubicBezTo>
                    <a:cubicBezTo>
                      <a:pt x="9" y="2"/>
                      <a:pt x="7" y="2"/>
                      <a:pt x="7" y="3"/>
                    </a:cubicBezTo>
                    <a:cubicBezTo>
                      <a:pt x="6" y="3"/>
                      <a:pt x="6" y="3"/>
                      <a:pt x="6" y="4"/>
                    </a:cubicBezTo>
                    <a:cubicBezTo>
                      <a:pt x="6" y="4"/>
                      <a:pt x="6" y="5"/>
                      <a:pt x="5" y="5"/>
                    </a:cubicBezTo>
                    <a:cubicBezTo>
                      <a:pt x="4" y="7"/>
                      <a:pt x="3" y="8"/>
                      <a:pt x="2" y="9"/>
                    </a:cubicBezTo>
                    <a:cubicBezTo>
                      <a:pt x="1" y="10"/>
                      <a:pt x="1" y="10"/>
                      <a:pt x="1" y="10"/>
                    </a:cubicBezTo>
                    <a:cubicBezTo>
                      <a:pt x="0" y="11"/>
                      <a:pt x="0" y="11"/>
                      <a:pt x="0" y="11"/>
                    </a:cubicBezTo>
                    <a:cubicBezTo>
                      <a:pt x="0" y="11"/>
                      <a:pt x="1" y="12"/>
                      <a:pt x="1" y="13"/>
                    </a:cubicBezTo>
                    <a:cubicBezTo>
                      <a:pt x="2" y="13"/>
                      <a:pt x="2" y="13"/>
                      <a:pt x="2" y="13"/>
                    </a:cubicBezTo>
                    <a:cubicBezTo>
                      <a:pt x="2" y="14"/>
                      <a:pt x="2" y="15"/>
                      <a:pt x="2" y="16"/>
                    </a:cubicBezTo>
                    <a:cubicBezTo>
                      <a:pt x="2" y="16"/>
                      <a:pt x="2" y="16"/>
                      <a:pt x="2" y="16"/>
                    </a:cubicBezTo>
                    <a:cubicBezTo>
                      <a:pt x="2" y="17"/>
                      <a:pt x="2" y="17"/>
                      <a:pt x="2" y="18"/>
                    </a:cubicBezTo>
                    <a:cubicBezTo>
                      <a:pt x="2" y="18"/>
                      <a:pt x="2" y="18"/>
                      <a:pt x="2" y="18"/>
                    </a:cubicBezTo>
                    <a:cubicBezTo>
                      <a:pt x="3" y="19"/>
                      <a:pt x="3" y="19"/>
                      <a:pt x="3" y="19"/>
                    </a:cubicBezTo>
                    <a:cubicBezTo>
                      <a:pt x="4" y="19"/>
                      <a:pt x="4" y="19"/>
                      <a:pt x="5" y="20"/>
                    </a:cubicBezTo>
                    <a:cubicBezTo>
                      <a:pt x="5" y="20"/>
                      <a:pt x="5" y="20"/>
                      <a:pt x="5" y="20"/>
                    </a:cubicBezTo>
                    <a:cubicBezTo>
                      <a:pt x="5" y="20"/>
                      <a:pt x="5" y="20"/>
                      <a:pt x="5" y="21"/>
                    </a:cubicBezTo>
                    <a:cubicBezTo>
                      <a:pt x="5" y="21"/>
                      <a:pt x="5" y="21"/>
                      <a:pt x="5" y="21"/>
                    </a:cubicBezTo>
                    <a:cubicBezTo>
                      <a:pt x="5" y="21"/>
                      <a:pt x="5" y="21"/>
                      <a:pt x="5" y="21"/>
                    </a:cubicBezTo>
                    <a:cubicBezTo>
                      <a:pt x="5" y="22"/>
                      <a:pt x="5" y="22"/>
                      <a:pt x="5" y="22"/>
                    </a:cubicBezTo>
                    <a:cubicBezTo>
                      <a:pt x="5" y="24"/>
                      <a:pt x="5" y="25"/>
                      <a:pt x="6" y="27"/>
                    </a:cubicBezTo>
                    <a:cubicBezTo>
                      <a:pt x="6" y="28"/>
                      <a:pt x="6" y="28"/>
                      <a:pt x="6" y="28"/>
                    </a:cubicBezTo>
                    <a:cubicBezTo>
                      <a:pt x="5" y="28"/>
                      <a:pt x="5" y="28"/>
                      <a:pt x="5" y="28"/>
                    </a:cubicBezTo>
                    <a:cubicBezTo>
                      <a:pt x="6" y="28"/>
                      <a:pt x="7" y="29"/>
                      <a:pt x="6" y="30"/>
                    </a:cubicBezTo>
                    <a:cubicBezTo>
                      <a:pt x="7" y="29"/>
                      <a:pt x="8" y="32"/>
                      <a:pt x="7" y="33"/>
                    </a:cubicBezTo>
                    <a:cubicBezTo>
                      <a:pt x="6" y="34"/>
                      <a:pt x="7" y="36"/>
                      <a:pt x="8" y="37"/>
                    </a:cubicBezTo>
                    <a:cubicBezTo>
                      <a:pt x="8" y="37"/>
                      <a:pt x="10" y="37"/>
                      <a:pt x="10" y="37"/>
                    </a:cubicBezTo>
                    <a:cubicBezTo>
                      <a:pt x="11" y="36"/>
                      <a:pt x="11" y="35"/>
                      <a:pt x="12" y="34"/>
                    </a:cubicBezTo>
                    <a:cubicBezTo>
                      <a:pt x="12" y="35"/>
                      <a:pt x="12" y="37"/>
                      <a:pt x="13" y="38"/>
                    </a:cubicBezTo>
                    <a:cubicBezTo>
                      <a:pt x="13" y="39"/>
                      <a:pt x="12" y="38"/>
                      <a:pt x="12" y="39"/>
                    </a:cubicBezTo>
                    <a:cubicBezTo>
                      <a:pt x="11" y="39"/>
                      <a:pt x="12" y="40"/>
                      <a:pt x="12" y="40"/>
                    </a:cubicBezTo>
                    <a:cubicBezTo>
                      <a:pt x="15" y="40"/>
                      <a:pt x="17" y="39"/>
                      <a:pt x="2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9" name="Freeform 3171">
                <a:extLst>
                  <a:ext uri="{FF2B5EF4-FFF2-40B4-BE49-F238E27FC236}">
                    <a16:creationId xmlns:a16="http://schemas.microsoft.com/office/drawing/2014/main" id="{7EDC985E-7322-41B7-A1B7-B4FD4C5F0298}"/>
                  </a:ext>
                </a:extLst>
              </p:cNvPr>
              <p:cNvSpPr>
                <a:spLocks/>
              </p:cNvSpPr>
              <p:nvPr/>
            </p:nvSpPr>
            <p:spPr bwMode="auto">
              <a:xfrm>
                <a:off x="5696" y="2078"/>
                <a:ext cx="73" cy="36"/>
              </a:xfrm>
              <a:custGeom>
                <a:avLst/>
                <a:gdLst>
                  <a:gd name="T0" fmla="*/ 10 w 31"/>
                  <a:gd name="T1" fmla="*/ 15 h 15"/>
                  <a:gd name="T2" fmla="*/ 12 w 31"/>
                  <a:gd name="T3" fmla="*/ 14 h 15"/>
                  <a:gd name="T4" fmla="*/ 13 w 31"/>
                  <a:gd name="T5" fmla="*/ 13 h 15"/>
                  <a:gd name="T6" fmla="*/ 16 w 31"/>
                  <a:gd name="T7" fmla="*/ 13 h 15"/>
                  <a:gd name="T8" fmla="*/ 17 w 31"/>
                  <a:gd name="T9" fmla="*/ 14 h 15"/>
                  <a:gd name="T10" fmla="*/ 19 w 31"/>
                  <a:gd name="T11" fmla="*/ 14 h 15"/>
                  <a:gd name="T12" fmla="*/ 20 w 31"/>
                  <a:gd name="T13" fmla="*/ 14 h 15"/>
                  <a:gd name="T14" fmla="*/ 23 w 31"/>
                  <a:gd name="T15" fmla="*/ 14 h 15"/>
                  <a:gd name="T16" fmla="*/ 27 w 31"/>
                  <a:gd name="T17" fmla="*/ 14 h 15"/>
                  <a:gd name="T18" fmla="*/ 28 w 31"/>
                  <a:gd name="T19" fmla="*/ 14 h 15"/>
                  <a:gd name="T20" fmla="*/ 30 w 31"/>
                  <a:gd name="T21" fmla="*/ 13 h 15"/>
                  <a:gd name="T22" fmla="*/ 30 w 31"/>
                  <a:gd name="T23" fmla="*/ 13 h 15"/>
                  <a:gd name="T24" fmla="*/ 31 w 31"/>
                  <a:gd name="T25" fmla="*/ 14 h 15"/>
                  <a:gd name="T26" fmla="*/ 31 w 31"/>
                  <a:gd name="T27" fmla="*/ 12 h 15"/>
                  <a:gd name="T28" fmla="*/ 31 w 31"/>
                  <a:gd name="T29" fmla="*/ 10 h 15"/>
                  <a:gd name="T30" fmla="*/ 29 w 31"/>
                  <a:gd name="T31" fmla="*/ 9 h 15"/>
                  <a:gd name="T32" fmla="*/ 27 w 31"/>
                  <a:gd name="T33" fmla="*/ 8 h 15"/>
                  <a:gd name="T34" fmla="*/ 26 w 31"/>
                  <a:gd name="T35" fmla="*/ 7 h 15"/>
                  <a:gd name="T36" fmla="*/ 26 w 31"/>
                  <a:gd name="T37" fmla="*/ 6 h 15"/>
                  <a:gd name="T38" fmla="*/ 26 w 31"/>
                  <a:gd name="T39" fmla="*/ 5 h 15"/>
                  <a:gd name="T40" fmla="*/ 27 w 31"/>
                  <a:gd name="T41" fmla="*/ 5 h 15"/>
                  <a:gd name="T42" fmla="*/ 27 w 31"/>
                  <a:gd name="T43" fmla="*/ 4 h 15"/>
                  <a:gd name="T44" fmla="*/ 27 w 31"/>
                  <a:gd name="T45" fmla="*/ 4 h 15"/>
                  <a:gd name="T46" fmla="*/ 27 w 31"/>
                  <a:gd name="T47" fmla="*/ 3 h 15"/>
                  <a:gd name="T48" fmla="*/ 24 w 31"/>
                  <a:gd name="T49" fmla="*/ 2 h 15"/>
                  <a:gd name="T50" fmla="*/ 22 w 31"/>
                  <a:gd name="T51" fmla="*/ 3 h 15"/>
                  <a:gd name="T52" fmla="*/ 20 w 31"/>
                  <a:gd name="T53" fmla="*/ 3 h 15"/>
                  <a:gd name="T54" fmla="*/ 19 w 31"/>
                  <a:gd name="T55" fmla="*/ 3 h 15"/>
                  <a:gd name="T56" fmla="*/ 17 w 31"/>
                  <a:gd name="T57" fmla="*/ 2 h 15"/>
                  <a:gd name="T58" fmla="*/ 17 w 31"/>
                  <a:gd name="T59" fmla="*/ 2 h 15"/>
                  <a:gd name="T60" fmla="*/ 15 w 31"/>
                  <a:gd name="T61" fmla="*/ 2 h 15"/>
                  <a:gd name="T62" fmla="*/ 14 w 31"/>
                  <a:gd name="T63" fmla="*/ 0 h 15"/>
                  <a:gd name="T64" fmla="*/ 13 w 31"/>
                  <a:gd name="T65" fmla="*/ 0 h 15"/>
                  <a:gd name="T66" fmla="*/ 12 w 31"/>
                  <a:gd name="T67" fmla="*/ 0 h 15"/>
                  <a:gd name="T68" fmla="*/ 6 w 31"/>
                  <a:gd name="T69" fmla="*/ 3 h 15"/>
                  <a:gd name="T70" fmla="*/ 4 w 31"/>
                  <a:gd name="T71" fmla="*/ 6 h 15"/>
                  <a:gd name="T72" fmla="*/ 1 w 31"/>
                  <a:gd name="T73" fmla="*/ 9 h 15"/>
                  <a:gd name="T74" fmla="*/ 1 w 31"/>
                  <a:gd name="T75" fmla="*/ 10 h 15"/>
                  <a:gd name="T76" fmla="*/ 0 w 31"/>
                  <a:gd name="T77" fmla="*/ 11 h 15"/>
                  <a:gd name="T78" fmla="*/ 1 w 31"/>
                  <a:gd name="T79" fmla="*/ 12 h 15"/>
                  <a:gd name="T80" fmla="*/ 3 w 31"/>
                  <a:gd name="T81" fmla="*/ 13 h 15"/>
                  <a:gd name="T82" fmla="*/ 3 w 31"/>
                  <a:gd name="T83" fmla="*/ 13 h 15"/>
                  <a:gd name="T84" fmla="*/ 4 w 31"/>
                  <a:gd name="T85" fmla="*/ 13 h 15"/>
                  <a:gd name="T86" fmla="*/ 5 w 31"/>
                  <a:gd name="T87" fmla="*/ 13 h 15"/>
                  <a:gd name="T88" fmla="*/ 6 w 31"/>
                  <a:gd name="T89" fmla="*/ 14 h 15"/>
                  <a:gd name="T90" fmla="*/ 8 w 31"/>
                  <a:gd name="T91" fmla="*/ 14 h 15"/>
                  <a:gd name="T92" fmla="*/ 8 w 31"/>
                  <a:gd name="T9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15">
                    <a:moveTo>
                      <a:pt x="9" y="14"/>
                    </a:moveTo>
                    <a:cubicBezTo>
                      <a:pt x="9" y="15"/>
                      <a:pt x="9" y="15"/>
                      <a:pt x="10" y="15"/>
                    </a:cubicBezTo>
                    <a:cubicBezTo>
                      <a:pt x="10" y="15"/>
                      <a:pt x="10" y="15"/>
                      <a:pt x="10" y="15"/>
                    </a:cubicBezTo>
                    <a:cubicBezTo>
                      <a:pt x="10" y="15"/>
                      <a:pt x="12" y="14"/>
                      <a:pt x="12" y="14"/>
                    </a:cubicBezTo>
                    <a:cubicBezTo>
                      <a:pt x="13" y="13"/>
                      <a:pt x="13" y="13"/>
                      <a:pt x="13" y="13"/>
                    </a:cubicBezTo>
                    <a:cubicBezTo>
                      <a:pt x="13" y="13"/>
                      <a:pt x="13" y="13"/>
                      <a:pt x="13" y="13"/>
                    </a:cubicBezTo>
                    <a:cubicBezTo>
                      <a:pt x="13" y="13"/>
                      <a:pt x="14" y="13"/>
                      <a:pt x="14" y="13"/>
                    </a:cubicBezTo>
                    <a:cubicBezTo>
                      <a:pt x="15" y="13"/>
                      <a:pt x="16" y="13"/>
                      <a:pt x="16" y="13"/>
                    </a:cubicBezTo>
                    <a:cubicBezTo>
                      <a:pt x="16" y="13"/>
                      <a:pt x="17" y="13"/>
                      <a:pt x="17" y="13"/>
                    </a:cubicBezTo>
                    <a:cubicBezTo>
                      <a:pt x="17" y="14"/>
                      <a:pt x="17" y="14"/>
                      <a:pt x="17" y="14"/>
                    </a:cubicBezTo>
                    <a:cubicBezTo>
                      <a:pt x="18" y="14"/>
                      <a:pt x="18" y="14"/>
                      <a:pt x="19" y="14"/>
                    </a:cubicBezTo>
                    <a:cubicBezTo>
                      <a:pt x="19" y="14"/>
                      <a:pt x="19" y="14"/>
                      <a:pt x="19" y="14"/>
                    </a:cubicBezTo>
                    <a:cubicBezTo>
                      <a:pt x="19" y="14"/>
                      <a:pt x="19" y="14"/>
                      <a:pt x="19" y="14"/>
                    </a:cubicBezTo>
                    <a:cubicBezTo>
                      <a:pt x="19" y="14"/>
                      <a:pt x="20" y="14"/>
                      <a:pt x="20" y="14"/>
                    </a:cubicBezTo>
                    <a:cubicBezTo>
                      <a:pt x="21" y="14"/>
                      <a:pt x="22" y="14"/>
                      <a:pt x="23" y="14"/>
                    </a:cubicBezTo>
                    <a:cubicBezTo>
                      <a:pt x="23" y="14"/>
                      <a:pt x="23" y="14"/>
                      <a:pt x="23" y="14"/>
                    </a:cubicBezTo>
                    <a:cubicBezTo>
                      <a:pt x="24" y="14"/>
                      <a:pt x="25" y="14"/>
                      <a:pt x="25" y="14"/>
                    </a:cubicBezTo>
                    <a:cubicBezTo>
                      <a:pt x="26" y="14"/>
                      <a:pt x="26" y="14"/>
                      <a:pt x="27" y="14"/>
                    </a:cubicBezTo>
                    <a:cubicBezTo>
                      <a:pt x="27" y="14"/>
                      <a:pt x="27" y="14"/>
                      <a:pt x="27" y="14"/>
                    </a:cubicBezTo>
                    <a:cubicBezTo>
                      <a:pt x="27" y="14"/>
                      <a:pt x="28" y="14"/>
                      <a:pt x="28" y="14"/>
                    </a:cubicBezTo>
                    <a:cubicBezTo>
                      <a:pt x="28" y="13"/>
                      <a:pt x="29" y="13"/>
                      <a:pt x="30" y="13"/>
                    </a:cubicBezTo>
                    <a:cubicBezTo>
                      <a:pt x="30" y="13"/>
                      <a:pt x="30" y="13"/>
                      <a:pt x="30" y="13"/>
                    </a:cubicBezTo>
                    <a:cubicBezTo>
                      <a:pt x="30" y="13"/>
                      <a:pt x="30" y="13"/>
                      <a:pt x="30" y="13"/>
                    </a:cubicBezTo>
                    <a:cubicBezTo>
                      <a:pt x="30" y="13"/>
                      <a:pt x="30" y="13"/>
                      <a:pt x="30" y="13"/>
                    </a:cubicBezTo>
                    <a:cubicBezTo>
                      <a:pt x="30" y="13"/>
                      <a:pt x="31" y="13"/>
                      <a:pt x="31" y="13"/>
                    </a:cubicBezTo>
                    <a:cubicBezTo>
                      <a:pt x="31" y="13"/>
                      <a:pt x="31" y="13"/>
                      <a:pt x="31" y="14"/>
                    </a:cubicBezTo>
                    <a:cubicBezTo>
                      <a:pt x="31" y="13"/>
                      <a:pt x="31" y="13"/>
                      <a:pt x="31" y="13"/>
                    </a:cubicBezTo>
                    <a:cubicBezTo>
                      <a:pt x="31" y="13"/>
                      <a:pt x="31" y="13"/>
                      <a:pt x="31" y="12"/>
                    </a:cubicBezTo>
                    <a:cubicBezTo>
                      <a:pt x="30" y="12"/>
                      <a:pt x="30" y="11"/>
                      <a:pt x="30" y="11"/>
                    </a:cubicBezTo>
                    <a:cubicBezTo>
                      <a:pt x="31" y="10"/>
                      <a:pt x="31" y="10"/>
                      <a:pt x="31" y="10"/>
                    </a:cubicBezTo>
                    <a:cubicBezTo>
                      <a:pt x="31" y="10"/>
                      <a:pt x="31" y="9"/>
                      <a:pt x="30" y="9"/>
                    </a:cubicBezTo>
                    <a:cubicBezTo>
                      <a:pt x="30" y="9"/>
                      <a:pt x="29" y="9"/>
                      <a:pt x="29" y="9"/>
                    </a:cubicBezTo>
                    <a:cubicBezTo>
                      <a:pt x="28" y="9"/>
                      <a:pt x="28" y="9"/>
                      <a:pt x="28" y="8"/>
                    </a:cubicBezTo>
                    <a:cubicBezTo>
                      <a:pt x="27" y="8"/>
                      <a:pt x="27" y="8"/>
                      <a:pt x="27" y="8"/>
                    </a:cubicBezTo>
                    <a:cubicBezTo>
                      <a:pt x="27" y="8"/>
                      <a:pt x="27" y="8"/>
                      <a:pt x="27" y="7"/>
                    </a:cubicBezTo>
                    <a:cubicBezTo>
                      <a:pt x="27" y="7"/>
                      <a:pt x="27" y="7"/>
                      <a:pt x="26" y="7"/>
                    </a:cubicBezTo>
                    <a:cubicBezTo>
                      <a:pt x="26" y="6"/>
                      <a:pt x="26" y="6"/>
                      <a:pt x="26" y="6"/>
                    </a:cubicBezTo>
                    <a:cubicBezTo>
                      <a:pt x="26" y="6"/>
                      <a:pt x="26" y="6"/>
                      <a:pt x="26" y="6"/>
                    </a:cubicBezTo>
                    <a:cubicBezTo>
                      <a:pt x="26" y="6"/>
                      <a:pt x="26" y="5"/>
                      <a:pt x="26" y="5"/>
                    </a:cubicBezTo>
                    <a:cubicBezTo>
                      <a:pt x="26" y="5"/>
                      <a:pt x="26" y="5"/>
                      <a:pt x="26" y="5"/>
                    </a:cubicBezTo>
                    <a:cubicBezTo>
                      <a:pt x="27" y="5"/>
                      <a:pt x="27" y="5"/>
                      <a:pt x="27" y="5"/>
                    </a:cubicBezTo>
                    <a:cubicBezTo>
                      <a:pt x="27" y="5"/>
                      <a:pt x="27" y="5"/>
                      <a:pt x="27" y="5"/>
                    </a:cubicBezTo>
                    <a:cubicBezTo>
                      <a:pt x="27" y="4"/>
                      <a:pt x="27" y="4"/>
                      <a:pt x="27" y="4"/>
                    </a:cubicBezTo>
                    <a:cubicBezTo>
                      <a:pt x="27" y="4"/>
                      <a:pt x="27" y="4"/>
                      <a:pt x="27" y="4"/>
                    </a:cubicBezTo>
                    <a:cubicBezTo>
                      <a:pt x="27" y="4"/>
                      <a:pt x="27" y="4"/>
                      <a:pt x="27" y="4"/>
                    </a:cubicBezTo>
                    <a:cubicBezTo>
                      <a:pt x="27" y="4"/>
                      <a:pt x="27" y="4"/>
                      <a:pt x="27" y="4"/>
                    </a:cubicBezTo>
                    <a:cubicBezTo>
                      <a:pt x="27" y="4"/>
                      <a:pt x="27" y="3"/>
                      <a:pt x="27" y="3"/>
                    </a:cubicBezTo>
                    <a:cubicBezTo>
                      <a:pt x="27" y="3"/>
                      <a:pt x="27" y="3"/>
                      <a:pt x="27" y="3"/>
                    </a:cubicBezTo>
                    <a:cubicBezTo>
                      <a:pt x="27" y="3"/>
                      <a:pt x="27" y="3"/>
                      <a:pt x="26" y="3"/>
                    </a:cubicBezTo>
                    <a:cubicBezTo>
                      <a:pt x="25" y="2"/>
                      <a:pt x="24" y="2"/>
                      <a:pt x="24" y="2"/>
                    </a:cubicBezTo>
                    <a:cubicBezTo>
                      <a:pt x="24" y="2"/>
                      <a:pt x="23" y="2"/>
                      <a:pt x="23" y="3"/>
                    </a:cubicBezTo>
                    <a:cubicBezTo>
                      <a:pt x="22" y="3"/>
                      <a:pt x="22" y="3"/>
                      <a:pt x="22" y="3"/>
                    </a:cubicBezTo>
                    <a:cubicBezTo>
                      <a:pt x="22" y="3"/>
                      <a:pt x="22" y="3"/>
                      <a:pt x="21" y="3"/>
                    </a:cubicBezTo>
                    <a:cubicBezTo>
                      <a:pt x="21" y="3"/>
                      <a:pt x="21" y="3"/>
                      <a:pt x="20" y="3"/>
                    </a:cubicBezTo>
                    <a:cubicBezTo>
                      <a:pt x="20" y="3"/>
                      <a:pt x="20" y="3"/>
                      <a:pt x="20" y="3"/>
                    </a:cubicBezTo>
                    <a:cubicBezTo>
                      <a:pt x="19" y="3"/>
                      <a:pt x="19" y="3"/>
                      <a:pt x="19" y="3"/>
                    </a:cubicBezTo>
                    <a:cubicBezTo>
                      <a:pt x="19" y="3"/>
                      <a:pt x="19" y="3"/>
                      <a:pt x="19" y="3"/>
                    </a:cubicBezTo>
                    <a:cubicBezTo>
                      <a:pt x="18" y="2"/>
                      <a:pt x="18" y="2"/>
                      <a:pt x="17" y="2"/>
                    </a:cubicBezTo>
                    <a:cubicBezTo>
                      <a:pt x="17" y="2"/>
                      <a:pt x="17" y="2"/>
                      <a:pt x="17" y="2"/>
                    </a:cubicBezTo>
                    <a:cubicBezTo>
                      <a:pt x="17" y="2"/>
                      <a:pt x="17" y="2"/>
                      <a:pt x="17" y="2"/>
                    </a:cubicBezTo>
                    <a:cubicBezTo>
                      <a:pt x="16" y="2"/>
                      <a:pt x="16" y="2"/>
                      <a:pt x="16" y="2"/>
                    </a:cubicBezTo>
                    <a:cubicBezTo>
                      <a:pt x="15" y="2"/>
                      <a:pt x="15" y="2"/>
                      <a:pt x="15" y="2"/>
                    </a:cubicBezTo>
                    <a:cubicBezTo>
                      <a:pt x="14" y="1"/>
                      <a:pt x="14" y="1"/>
                      <a:pt x="14" y="0"/>
                    </a:cubicBezTo>
                    <a:cubicBezTo>
                      <a:pt x="14" y="0"/>
                      <a:pt x="14" y="0"/>
                      <a:pt x="14" y="0"/>
                    </a:cubicBezTo>
                    <a:cubicBezTo>
                      <a:pt x="14" y="0"/>
                      <a:pt x="13" y="0"/>
                      <a:pt x="13" y="0"/>
                    </a:cubicBezTo>
                    <a:cubicBezTo>
                      <a:pt x="13" y="0"/>
                      <a:pt x="13" y="0"/>
                      <a:pt x="13" y="0"/>
                    </a:cubicBezTo>
                    <a:cubicBezTo>
                      <a:pt x="13" y="0"/>
                      <a:pt x="12" y="0"/>
                      <a:pt x="12" y="0"/>
                    </a:cubicBezTo>
                    <a:cubicBezTo>
                      <a:pt x="12" y="0"/>
                      <a:pt x="12" y="0"/>
                      <a:pt x="12" y="0"/>
                    </a:cubicBezTo>
                    <a:cubicBezTo>
                      <a:pt x="10" y="0"/>
                      <a:pt x="8" y="1"/>
                      <a:pt x="7" y="2"/>
                    </a:cubicBezTo>
                    <a:cubicBezTo>
                      <a:pt x="7" y="2"/>
                      <a:pt x="7" y="3"/>
                      <a:pt x="6" y="3"/>
                    </a:cubicBezTo>
                    <a:cubicBezTo>
                      <a:pt x="6" y="3"/>
                      <a:pt x="6" y="3"/>
                      <a:pt x="6" y="3"/>
                    </a:cubicBezTo>
                    <a:cubicBezTo>
                      <a:pt x="5" y="4"/>
                      <a:pt x="4" y="5"/>
                      <a:pt x="4" y="6"/>
                    </a:cubicBezTo>
                    <a:cubicBezTo>
                      <a:pt x="3" y="6"/>
                      <a:pt x="3" y="7"/>
                      <a:pt x="3" y="7"/>
                    </a:cubicBezTo>
                    <a:cubicBezTo>
                      <a:pt x="2" y="8"/>
                      <a:pt x="2" y="9"/>
                      <a:pt x="1" y="9"/>
                    </a:cubicBezTo>
                    <a:cubicBezTo>
                      <a:pt x="1" y="10"/>
                      <a:pt x="1" y="10"/>
                      <a:pt x="1" y="10"/>
                    </a:cubicBezTo>
                    <a:cubicBezTo>
                      <a:pt x="1" y="10"/>
                      <a:pt x="1" y="10"/>
                      <a:pt x="1" y="10"/>
                    </a:cubicBezTo>
                    <a:cubicBezTo>
                      <a:pt x="1" y="11"/>
                      <a:pt x="1" y="11"/>
                      <a:pt x="1" y="11"/>
                    </a:cubicBezTo>
                    <a:cubicBezTo>
                      <a:pt x="0" y="11"/>
                      <a:pt x="0" y="11"/>
                      <a:pt x="0" y="11"/>
                    </a:cubicBezTo>
                    <a:cubicBezTo>
                      <a:pt x="1" y="11"/>
                      <a:pt x="1" y="12"/>
                      <a:pt x="1" y="12"/>
                    </a:cubicBezTo>
                    <a:cubicBezTo>
                      <a:pt x="1" y="12"/>
                      <a:pt x="1" y="12"/>
                      <a:pt x="1" y="12"/>
                    </a:cubicBezTo>
                    <a:cubicBezTo>
                      <a:pt x="2" y="13"/>
                      <a:pt x="2" y="13"/>
                      <a:pt x="2" y="13"/>
                    </a:cubicBezTo>
                    <a:cubicBezTo>
                      <a:pt x="2" y="13"/>
                      <a:pt x="3" y="13"/>
                      <a:pt x="3" y="13"/>
                    </a:cubicBezTo>
                    <a:cubicBezTo>
                      <a:pt x="3" y="13"/>
                      <a:pt x="3" y="13"/>
                      <a:pt x="3" y="13"/>
                    </a:cubicBezTo>
                    <a:cubicBezTo>
                      <a:pt x="3" y="13"/>
                      <a:pt x="3" y="13"/>
                      <a:pt x="3" y="13"/>
                    </a:cubicBezTo>
                    <a:cubicBezTo>
                      <a:pt x="3" y="13"/>
                      <a:pt x="4" y="13"/>
                      <a:pt x="4" y="13"/>
                    </a:cubicBezTo>
                    <a:cubicBezTo>
                      <a:pt x="4" y="13"/>
                      <a:pt x="4" y="13"/>
                      <a:pt x="4" y="13"/>
                    </a:cubicBezTo>
                    <a:cubicBezTo>
                      <a:pt x="4" y="13"/>
                      <a:pt x="4" y="13"/>
                      <a:pt x="4" y="13"/>
                    </a:cubicBezTo>
                    <a:cubicBezTo>
                      <a:pt x="5" y="13"/>
                      <a:pt x="5" y="13"/>
                      <a:pt x="5" y="13"/>
                    </a:cubicBezTo>
                    <a:cubicBezTo>
                      <a:pt x="5" y="13"/>
                      <a:pt x="5" y="13"/>
                      <a:pt x="5" y="13"/>
                    </a:cubicBezTo>
                    <a:cubicBezTo>
                      <a:pt x="5" y="13"/>
                      <a:pt x="6" y="13"/>
                      <a:pt x="6" y="14"/>
                    </a:cubicBezTo>
                    <a:cubicBezTo>
                      <a:pt x="7" y="14"/>
                      <a:pt x="7" y="14"/>
                      <a:pt x="8" y="14"/>
                    </a:cubicBezTo>
                    <a:cubicBezTo>
                      <a:pt x="8" y="14"/>
                      <a:pt x="8" y="14"/>
                      <a:pt x="8" y="14"/>
                    </a:cubicBezTo>
                    <a:cubicBezTo>
                      <a:pt x="9" y="12"/>
                      <a:pt x="9" y="12"/>
                      <a:pt x="9" y="12"/>
                    </a:cubicBezTo>
                    <a:cubicBezTo>
                      <a:pt x="8" y="14"/>
                      <a:pt x="8" y="14"/>
                      <a:pt x="8" y="14"/>
                    </a:cubicBezTo>
                    <a:lnTo>
                      <a:pt x="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0" name="Freeform 3172">
                <a:extLst>
                  <a:ext uri="{FF2B5EF4-FFF2-40B4-BE49-F238E27FC236}">
                    <a16:creationId xmlns:a16="http://schemas.microsoft.com/office/drawing/2014/main" id="{989DAF7C-D1A4-46C2-87F7-3F0C54540301}"/>
                  </a:ext>
                </a:extLst>
              </p:cNvPr>
              <p:cNvSpPr>
                <a:spLocks/>
              </p:cNvSpPr>
              <p:nvPr/>
            </p:nvSpPr>
            <p:spPr bwMode="auto">
              <a:xfrm>
                <a:off x="5225" y="1667"/>
                <a:ext cx="258" cy="108"/>
              </a:xfrm>
              <a:custGeom>
                <a:avLst/>
                <a:gdLst>
                  <a:gd name="T0" fmla="*/ 87 w 109"/>
                  <a:gd name="T1" fmla="*/ 23 h 46"/>
                  <a:gd name="T2" fmla="*/ 91 w 109"/>
                  <a:gd name="T3" fmla="*/ 21 h 46"/>
                  <a:gd name="T4" fmla="*/ 99 w 109"/>
                  <a:gd name="T5" fmla="*/ 16 h 46"/>
                  <a:gd name="T6" fmla="*/ 109 w 109"/>
                  <a:gd name="T7" fmla="*/ 12 h 46"/>
                  <a:gd name="T8" fmla="*/ 107 w 109"/>
                  <a:gd name="T9" fmla="*/ 10 h 46"/>
                  <a:gd name="T10" fmla="*/ 100 w 109"/>
                  <a:gd name="T11" fmla="*/ 7 h 46"/>
                  <a:gd name="T12" fmla="*/ 98 w 109"/>
                  <a:gd name="T13" fmla="*/ 5 h 46"/>
                  <a:gd name="T14" fmla="*/ 91 w 109"/>
                  <a:gd name="T15" fmla="*/ 4 h 46"/>
                  <a:gd name="T16" fmla="*/ 82 w 109"/>
                  <a:gd name="T17" fmla="*/ 5 h 46"/>
                  <a:gd name="T18" fmla="*/ 71 w 109"/>
                  <a:gd name="T19" fmla="*/ 3 h 46"/>
                  <a:gd name="T20" fmla="*/ 60 w 109"/>
                  <a:gd name="T21" fmla="*/ 4 h 46"/>
                  <a:gd name="T22" fmla="*/ 55 w 109"/>
                  <a:gd name="T23" fmla="*/ 3 h 46"/>
                  <a:gd name="T24" fmla="*/ 49 w 109"/>
                  <a:gd name="T25" fmla="*/ 0 h 46"/>
                  <a:gd name="T26" fmla="*/ 45 w 109"/>
                  <a:gd name="T27" fmla="*/ 1 h 46"/>
                  <a:gd name="T28" fmla="*/ 42 w 109"/>
                  <a:gd name="T29" fmla="*/ 9 h 46"/>
                  <a:gd name="T30" fmla="*/ 28 w 109"/>
                  <a:gd name="T31" fmla="*/ 5 h 46"/>
                  <a:gd name="T32" fmla="*/ 21 w 109"/>
                  <a:gd name="T33" fmla="*/ 5 h 46"/>
                  <a:gd name="T34" fmla="*/ 19 w 109"/>
                  <a:gd name="T35" fmla="*/ 6 h 46"/>
                  <a:gd name="T36" fmla="*/ 17 w 109"/>
                  <a:gd name="T37" fmla="*/ 9 h 46"/>
                  <a:gd name="T38" fmla="*/ 18 w 109"/>
                  <a:gd name="T39" fmla="*/ 13 h 46"/>
                  <a:gd name="T40" fmla="*/ 11 w 109"/>
                  <a:gd name="T41" fmla="*/ 19 h 46"/>
                  <a:gd name="T42" fmla="*/ 15 w 109"/>
                  <a:gd name="T43" fmla="*/ 22 h 46"/>
                  <a:gd name="T44" fmla="*/ 21 w 109"/>
                  <a:gd name="T45" fmla="*/ 18 h 46"/>
                  <a:gd name="T46" fmla="*/ 29 w 109"/>
                  <a:gd name="T47" fmla="*/ 22 h 46"/>
                  <a:gd name="T48" fmla="*/ 32 w 109"/>
                  <a:gd name="T49" fmla="*/ 25 h 46"/>
                  <a:gd name="T50" fmla="*/ 40 w 109"/>
                  <a:gd name="T51" fmla="*/ 26 h 46"/>
                  <a:gd name="T52" fmla="*/ 36 w 109"/>
                  <a:gd name="T53" fmla="*/ 30 h 46"/>
                  <a:gd name="T54" fmla="*/ 33 w 109"/>
                  <a:gd name="T55" fmla="*/ 33 h 46"/>
                  <a:gd name="T56" fmla="*/ 30 w 109"/>
                  <a:gd name="T57" fmla="*/ 34 h 46"/>
                  <a:gd name="T58" fmla="*/ 26 w 109"/>
                  <a:gd name="T59" fmla="*/ 36 h 46"/>
                  <a:gd name="T60" fmla="*/ 20 w 109"/>
                  <a:gd name="T61" fmla="*/ 35 h 46"/>
                  <a:gd name="T62" fmla="*/ 17 w 109"/>
                  <a:gd name="T63" fmla="*/ 36 h 46"/>
                  <a:gd name="T64" fmla="*/ 14 w 109"/>
                  <a:gd name="T65" fmla="*/ 38 h 46"/>
                  <a:gd name="T66" fmla="*/ 13 w 109"/>
                  <a:gd name="T67" fmla="*/ 39 h 46"/>
                  <a:gd name="T68" fmla="*/ 12 w 109"/>
                  <a:gd name="T69" fmla="*/ 40 h 46"/>
                  <a:gd name="T70" fmla="*/ 5 w 109"/>
                  <a:gd name="T71" fmla="*/ 36 h 46"/>
                  <a:gd name="T72" fmla="*/ 1 w 109"/>
                  <a:gd name="T73" fmla="*/ 38 h 46"/>
                  <a:gd name="T74" fmla="*/ 16 w 109"/>
                  <a:gd name="T75" fmla="*/ 43 h 46"/>
                  <a:gd name="T76" fmla="*/ 21 w 109"/>
                  <a:gd name="T77" fmla="*/ 41 h 46"/>
                  <a:gd name="T78" fmla="*/ 25 w 109"/>
                  <a:gd name="T79" fmla="*/ 45 h 46"/>
                  <a:gd name="T80" fmla="*/ 35 w 109"/>
                  <a:gd name="T81" fmla="*/ 44 h 46"/>
                  <a:gd name="T82" fmla="*/ 42 w 109"/>
                  <a:gd name="T83" fmla="*/ 43 h 46"/>
                  <a:gd name="T84" fmla="*/ 45 w 109"/>
                  <a:gd name="T85" fmla="*/ 42 h 46"/>
                  <a:gd name="T86" fmla="*/ 45 w 109"/>
                  <a:gd name="T87" fmla="*/ 38 h 46"/>
                  <a:gd name="T88" fmla="*/ 54 w 109"/>
                  <a:gd name="T89" fmla="*/ 33 h 46"/>
                  <a:gd name="T90" fmla="*/ 56 w 109"/>
                  <a:gd name="T91" fmla="*/ 30 h 46"/>
                  <a:gd name="T92" fmla="*/ 60 w 109"/>
                  <a:gd name="T93" fmla="*/ 30 h 46"/>
                  <a:gd name="T94" fmla="*/ 64 w 109"/>
                  <a:gd name="T95" fmla="*/ 29 h 46"/>
                  <a:gd name="T96" fmla="*/ 66 w 109"/>
                  <a:gd name="T97" fmla="*/ 33 h 46"/>
                  <a:gd name="T98" fmla="*/ 71 w 109"/>
                  <a:gd name="T99" fmla="*/ 32 h 46"/>
                  <a:gd name="T100" fmla="*/ 72 w 109"/>
                  <a:gd name="T101" fmla="*/ 30 h 46"/>
                  <a:gd name="T102" fmla="*/ 77 w 109"/>
                  <a:gd name="T10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9" h="46">
                    <a:moveTo>
                      <a:pt x="77" y="24"/>
                    </a:moveTo>
                    <a:cubicBezTo>
                      <a:pt x="78" y="23"/>
                      <a:pt x="80" y="23"/>
                      <a:pt x="81" y="23"/>
                    </a:cubicBezTo>
                    <a:cubicBezTo>
                      <a:pt x="82" y="23"/>
                      <a:pt x="82" y="23"/>
                      <a:pt x="83" y="23"/>
                    </a:cubicBezTo>
                    <a:cubicBezTo>
                      <a:pt x="84" y="23"/>
                      <a:pt x="84" y="23"/>
                      <a:pt x="84" y="23"/>
                    </a:cubicBezTo>
                    <a:cubicBezTo>
                      <a:pt x="85" y="23"/>
                      <a:pt x="86" y="23"/>
                      <a:pt x="87" y="23"/>
                    </a:cubicBezTo>
                    <a:cubicBezTo>
                      <a:pt x="90" y="22"/>
                      <a:pt x="90" y="22"/>
                      <a:pt x="90" y="22"/>
                    </a:cubicBezTo>
                    <a:cubicBezTo>
                      <a:pt x="90" y="22"/>
                      <a:pt x="90" y="22"/>
                      <a:pt x="90" y="22"/>
                    </a:cubicBezTo>
                    <a:cubicBezTo>
                      <a:pt x="90" y="22"/>
                      <a:pt x="90" y="22"/>
                      <a:pt x="90" y="22"/>
                    </a:cubicBezTo>
                    <a:cubicBezTo>
                      <a:pt x="91" y="21"/>
                      <a:pt x="91" y="21"/>
                      <a:pt x="91" y="21"/>
                    </a:cubicBezTo>
                    <a:cubicBezTo>
                      <a:pt x="91" y="21"/>
                      <a:pt x="91" y="21"/>
                      <a:pt x="91" y="21"/>
                    </a:cubicBezTo>
                    <a:cubicBezTo>
                      <a:pt x="91" y="20"/>
                      <a:pt x="92" y="20"/>
                      <a:pt x="92" y="20"/>
                    </a:cubicBezTo>
                    <a:cubicBezTo>
                      <a:pt x="93" y="19"/>
                      <a:pt x="93" y="18"/>
                      <a:pt x="94" y="18"/>
                    </a:cubicBezTo>
                    <a:cubicBezTo>
                      <a:pt x="95" y="18"/>
                      <a:pt x="95" y="18"/>
                      <a:pt x="95" y="18"/>
                    </a:cubicBezTo>
                    <a:cubicBezTo>
                      <a:pt x="96" y="17"/>
                      <a:pt x="97" y="16"/>
                      <a:pt x="99" y="16"/>
                    </a:cubicBezTo>
                    <a:cubicBezTo>
                      <a:pt x="99" y="16"/>
                      <a:pt x="99" y="16"/>
                      <a:pt x="99" y="16"/>
                    </a:cubicBezTo>
                    <a:cubicBezTo>
                      <a:pt x="100" y="16"/>
                      <a:pt x="100" y="15"/>
                      <a:pt x="101" y="15"/>
                    </a:cubicBezTo>
                    <a:cubicBezTo>
                      <a:pt x="103" y="14"/>
                      <a:pt x="105" y="14"/>
                      <a:pt x="107" y="13"/>
                    </a:cubicBezTo>
                    <a:cubicBezTo>
                      <a:pt x="109" y="12"/>
                      <a:pt x="109" y="12"/>
                      <a:pt x="109" y="12"/>
                    </a:cubicBezTo>
                    <a:cubicBezTo>
                      <a:pt x="109" y="12"/>
                      <a:pt x="109" y="12"/>
                      <a:pt x="109" y="12"/>
                    </a:cubicBezTo>
                    <a:cubicBezTo>
                      <a:pt x="109" y="12"/>
                      <a:pt x="109" y="12"/>
                      <a:pt x="109" y="12"/>
                    </a:cubicBezTo>
                    <a:cubicBezTo>
                      <a:pt x="109" y="12"/>
                      <a:pt x="109" y="12"/>
                      <a:pt x="109" y="12"/>
                    </a:cubicBezTo>
                    <a:cubicBezTo>
                      <a:pt x="109" y="12"/>
                      <a:pt x="109" y="12"/>
                      <a:pt x="109" y="12"/>
                    </a:cubicBezTo>
                    <a:cubicBezTo>
                      <a:pt x="109" y="11"/>
                      <a:pt x="109" y="11"/>
                      <a:pt x="109" y="11"/>
                    </a:cubicBezTo>
                    <a:cubicBezTo>
                      <a:pt x="109" y="11"/>
                      <a:pt x="109" y="11"/>
                      <a:pt x="108" y="11"/>
                    </a:cubicBezTo>
                    <a:cubicBezTo>
                      <a:pt x="108" y="10"/>
                      <a:pt x="108" y="10"/>
                      <a:pt x="107" y="10"/>
                    </a:cubicBezTo>
                    <a:cubicBezTo>
                      <a:pt x="107" y="10"/>
                      <a:pt x="107" y="9"/>
                      <a:pt x="107" y="9"/>
                    </a:cubicBezTo>
                    <a:cubicBezTo>
                      <a:pt x="106" y="9"/>
                      <a:pt x="106" y="9"/>
                      <a:pt x="106" y="9"/>
                    </a:cubicBezTo>
                    <a:cubicBezTo>
                      <a:pt x="105" y="9"/>
                      <a:pt x="105" y="9"/>
                      <a:pt x="105" y="9"/>
                    </a:cubicBezTo>
                    <a:cubicBezTo>
                      <a:pt x="103" y="9"/>
                      <a:pt x="102" y="9"/>
                      <a:pt x="100" y="7"/>
                    </a:cubicBezTo>
                    <a:cubicBezTo>
                      <a:pt x="100" y="7"/>
                      <a:pt x="100" y="7"/>
                      <a:pt x="100" y="7"/>
                    </a:cubicBezTo>
                    <a:cubicBezTo>
                      <a:pt x="100" y="6"/>
                      <a:pt x="100" y="6"/>
                      <a:pt x="99" y="5"/>
                    </a:cubicBezTo>
                    <a:cubicBezTo>
                      <a:pt x="99" y="5"/>
                      <a:pt x="99" y="5"/>
                      <a:pt x="99" y="5"/>
                    </a:cubicBezTo>
                    <a:cubicBezTo>
                      <a:pt x="99" y="5"/>
                      <a:pt x="99" y="5"/>
                      <a:pt x="99" y="5"/>
                    </a:cubicBezTo>
                    <a:cubicBezTo>
                      <a:pt x="99" y="5"/>
                      <a:pt x="99" y="5"/>
                      <a:pt x="99" y="5"/>
                    </a:cubicBezTo>
                    <a:cubicBezTo>
                      <a:pt x="98" y="5"/>
                      <a:pt x="98" y="5"/>
                      <a:pt x="98" y="5"/>
                    </a:cubicBezTo>
                    <a:cubicBezTo>
                      <a:pt x="97" y="5"/>
                      <a:pt x="96" y="5"/>
                      <a:pt x="95" y="5"/>
                    </a:cubicBezTo>
                    <a:cubicBezTo>
                      <a:pt x="94" y="4"/>
                      <a:pt x="94" y="4"/>
                      <a:pt x="94" y="4"/>
                    </a:cubicBezTo>
                    <a:cubicBezTo>
                      <a:pt x="94" y="4"/>
                      <a:pt x="94" y="4"/>
                      <a:pt x="93" y="4"/>
                    </a:cubicBezTo>
                    <a:cubicBezTo>
                      <a:pt x="93" y="4"/>
                      <a:pt x="93" y="4"/>
                      <a:pt x="92" y="4"/>
                    </a:cubicBezTo>
                    <a:cubicBezTo>
                      <a:pt x="92" y="4"/>
                      <a:pt x="92" y="4"/>
                      <a:pt x="91" y="4"/>
                    </a:cubicBezTo>
                    <a:cubicBezTo>
                      <a:pt x="91" y="4"/>
                      <a:pt x="91" y="4"/>
                      <a:pt x="91" y="4"/>
                    </a:cubicBezTo>
                    <a:cubicBezTo>
                      <a:pt x="89" y="4"/>
                      <a:pt x="86" y="4"/>
                      <a:pt x="84" y="4"/>
                    </a:cubicBezTo>
                    <a:cubicBezTo>
                      <a:pt x="84" y="4"/>
                      <a:pt x="84" y="4"/>
                      <a:pt x="84" y="4"/>
                    </a:cubicBezTo>
                    <a:cubicBezTo>
                      <a:pt x="83" y="4"/>
                      <a:pt x="83" y="4"/>
                      <a:pt x="82" y="4"/>
                    </a:cubicBezTo>
                    <a:cubicBezTo>
                      <a:pt x="82" y="5"/>
                      <a:pt x="82" y="5"/>
                      <a:pt x="82" y="5"/>
                    </a:cubicBezTo>
                    <a:cubicBezTo>
                      <a:pt x="82" y="4"/>
                      <a:pt x="82" y="4"/>
                      <a:pt x="82" y="4"/>
                    </a:cubicBezTo>
                    <a:cubicBezTo>
                      <a:pt x="82" y="4"/>
                      <a:pt x="82" y="4"/>
                      <a:pt x="82" y="4"/>
                    </a:cubicBezTo>
                    <a:cubicBezTo>
                      <a:pt x="79" y="3"/>
                      <a:pt x="77" y="3"/>
                      <a:pt x="74" y="3"/>
                    </a:cubicBezTo>
                    <a:cubicBezTo>
                      <a:pt x="74" y="3"/>
                      <a:pt x="74" y="3"/>
                      <a:pt x="74" y="3"/>
                    </a:cubicBezTo>
                    <a:cubicBezTo>
                      <a:pt x="73" y="3"/>
                      <a:pt x="72" y="3"/>
                      <a:pt x="71" y="3"/>
                    </a:cubicBezTo>
                    <a:cubicBezTo>
                      <a:pt x="71" y="3"/>
                      <a:pt x="71" y="3"/>
                      <a:pt x="71" y="3"/>
                    </a:cubicBezTo>
                    <a:cubicBezTo>
                      <a:pt x="69" y="3"/>
                      <a:pt x="67" y="3"/>
                      <a:pt x="66" y="3"/>
                    </a:cubicBezTo>
                    <a:cubicBezTo>
                      <a:pt x="65" y="3"/>
                      <a:pt x="65" y="3"/>
                      <a:pt x="65" y="3"/>
                    </a:cubicBezTo>
                    <a:cubicBezTo>
                      <a:pt x="65" y="3"/>
                      <a:pt x="65" y="3"/>
                      <a:pt x="64" y="3"/>
                    </a:cubicBezTo>
                    <a:cubicBezTo>
                      <a:pt x="63" y="4"/>
                      <a:pt x="62" y="4"/>
                      <a:pt x="60" y="4"/>
                    </a:cubicBezTo>
                    <a:cubicBezTo>
                      <a:pt x="59" y="4"/>
                      <a:pt x="59" y="4"/>
                      <a:pt x="59" y="4"/>
                    </a:cubicBezTo>
                    <a:cubicBezTo>
                      <a:pt x="59" y="4"/>
                      <a:pt x="59" y="4"/>
                      <a:pt x="58" y="4"/>
                    </a:cubicBezTo>
                    <a:cubicBezTo>
                      <a:pt x="57" y="4"/>
                      <a:pt x="57" y="4"/>
                      <a:pt x="57" y="4"/>
                    </a:cubicBezTo>
                    <a:cubicBezTo>
                      <a:pt x="57" y="3"/>
                      <a:pt x="57" y="3"/>
                      <a:pt x="56" y="3"/>
                    </a:cubicBezTo>
                    <a:cubicBezTo>
                      <a:pt x="55" y="3"/>
                      <a:pt x="55" y="3"/>
                      <a:pt x="55" y="3"/>
                    </a:cubicBezTo>
                    <a:cubicBezTo>
                      <a:pt x="55" y="3"/>
                      <a:pt x="54" y="2"/>
                      <a:pt x="54" y="2"/>
                    </a:cubicBezTo>
                    <a:cubicBezTo>
                      <a:pt x="53" y="2"/>
                      <a:pt x="53" y="2"/>
                      <a:pt x="53" y="2"/>
                    </a:cubicBezTo>
                    <a:cubicBezTo>
                      <a:pt x="53" y="2"/>
                      <a:pt x="53" y="2"/>
                      <a:pt x="53" y="2"/>
                    </a:cubicBezTo>
                    <a:cubicBezTo>
                      <a:pt x="52" y="1"/>
                      <a:pt x="52" y="1"/>
                      <a:pt x="51" y="1"/>
                    </a:cubicBezTo>
                    <a:cubicBezTo>
                      <a:pt x="51" y="0"/>
                      <a:pt x="50" y="0"/>
                      <a:pt x="49" y="0"/>
                    </a:cubicBezTo>
                    <a:cubicBezTo>
                      <a:pt x="49" y="0"/>
                      <a:pt x="48" y="0"/>
                      <a:pt x="48" y="0"/>
                    </a:cubicBezTo>
                    <a:cubicBezTo>
                      <a:pt x="47" y="0"/>
                      <a:pt x="46" y="0"/>
                      <a:pt x="45" y="1"/>
                    </a:cubicBezTo>
                    <a:cubicBezTo>
                      <a:pt x="46" y="1"/>
                      <a:pt x="46" y="1"/>
                      <a:pt x="46" y="1"/>
                    </a:cubicBezTo>
                    <a:cubicBezTo>
                      <a:pt x="45" y="1"/>
                      <a:pt x="45" y="1"/>
                      <a:pt x="45" y="1"/>
                    </a:cubicBezTo>
                    <a:cubicBezTo>
                      <a:pt x="45" y="1"/>
                      <a:pt x="45" y="1"/>
                      <a:pt x="45" y="1"/>
                    </a:cubicBezTo>
                    <a:cubicBezTo>
                      <a:pt x="43" y="2"/>
                      <a:pt x="42" y="4"/>
                      <a:pt x="43" y="6"/>
                    </a:cubicBezTo>
                    <a:cubicBezTo>
                      <a:pt x="43" y="6"/>
                      <a:pt x="43" y="6"/>
                      <a:pt x="43" y="6"/>
                    </a:cubicBezTo>
                    <a:cubicBezTo>
                      <a:pt x="43" y="7"/>
                      <a:pt x="43" y="7"/>
                      <a:pt x="43" y="8"/>
                    </a:cubicBezTo>
                    <a:cubicBezTo>
                      <a:pt x="45" y="10"/>
                      <a:pt x="45" y="10"/>
                      <a:pt x="45" y="10"/>
                    </a:cubicBezTo>
                    <a:cubicBezTo>
                      <a:pt x="42" y="9"/>
                      <a:pt x="42" y="9"/>
                      <a:pt x="42" y="9"/>
                    </a:cubicBezTo>
                    <a:cubicBezTo>
                      <a:pt x="40" y="9"/>
                      <a:pt x="39" y="9"/>
                      <a:pt x="37" y="8"/>
                    </a:cubicBezTo>
                    <a:cubicBezTo>
                      <a:pt x="35" y="7"/>
                      <a:pt x="33" y="6"/>
                      <a:pt x="30" y="6"/>
                    </a:cubicBezTo>
                    <a:cubicBezTo>
                      <a:pt x="30" y="6"/>
                      <a:pt x="29" y="6"/>
                      <a:pt x="29" y="6"/>
                    </a:cubicBezTo>
                    <a:cubicBezTo>
                      <a:pt x="29" y="6"/>
                      <a:pt x="29" y="6"/>
                      <a:pt x="29" y="6"/>
                    </a:cubicBezTo>
                    <a:cubicBezTo>
                      <a:pt x="28" y="5"/>
                      <a:pt x="28" y="5"/>
                      <a:pt x="28" y="5"/>
                    </a:cubicBezTo>
                    <a:cubicBezTo>
                      <a:pt x="28" y="5"/>
                      <a:pt x="28" y="5"/>
                      <a:pt x="28" y="5"/>
                    </a:cubicBezTo>
                    <a:cubicBezTo>
                      <a:pt x="22" y="5"/>
                      <a:pt x="22" y="5"/>
                      <a:pt x="22" y="5"/>
                    </a:cubicBezTo>
                    <a:cubicBezTo>
                      <a:pt x="22" y="5"/>
                      <a:pt x="22" y="5"/>
                      <a:pt x="22" y="5"/>
                    </a:cubicBezTo>
                    <a:cubicBezTo>
                      <a:pt x="22" y="5"/>
                      <a:pt x="22" y="5"/>
                      <a:pt x="22" y="5"/>
                    </a:cubicBezTo>
                    <a:cubicBezTo>
                      <a:pt x="21" y="5"/>
                      <a:pt x="21" y="5"/>
                      <a:pt x="21" y="5"/>
                    </a:cubicBezTo>
                    <a:cubicBezTo>
                      <a:pt x="21" y="5"/>
                      <a:pt x="20" y="5"/>
                      <a:pt x="20" y="5"/>
                    </a:cubicBezTo>
                    <a:cubicBezTo>
                      <a:pt x="20" y="5"/>
                      <a:pt x="20" y="5"/>
                      <a:pt x="20" y="5"/>
                    </a:cubicBezTo>
                    <a:cubicBezTo>
                      <a:pt x="20" y="6"/>
                      <a:pt x="20" y="6"/>
                      <a:pt x="20" y="6"/>
                    </a:cubicBezTo>
                    <a:cubicBezTo>
                      <a:pt x="20" y="6"/>
                      <a:pt x="19" y="6"/>
                      <a:pt x="19" y="7"/>
                    </a:cubicBezTo>
                    <a:cubicBezTo>
                      <a:pt x="19" y="6"/>
                      <a:pt x="19" y="6"/>
                      <a:pt x="19" y="6"/>
                    </a:cubicBezTo>
                    <a:cubicBezTo>
                      <a:pt x="19" y="7"/>
                      <a:pt x="19" y="7"/>
                      <a:pt x="19" y="7"/>
                    </a:cubicBezTo>
                    <a:cubicBezTo>
                      <a:pt x="19" y="7"/>
                      <a:pt x="19" y="7"/>
                      <a:pt x="19" y="7"/>
                    </a:cubicBezTo>
                    <a:cubicBezTo>
                      <a:pt x="18" y="8"/>
                      <a:pt x="18" y="8"/>
                      <a:pt x="18" y="8"/>
                    </a:cubicBezTo>
                    <a:cubicBezTo>
                      <a:pt x="18" y="8"/>
                      <a:pt x="17" y="9"/>
                      <a:pt x="17" y="9"/>
                    </a:cubicBezTo>
                    <a:cubicBezTo>
                      <a:pt x="17" y="9"/>
                      <a:pt x="17" y="9"/>
                      <a:pt x="17" y="9"/>
                    </a:cubicBezTo>
                    <a:cubicBezTo>
                      <a:pt x="17" y="9"/>
                      <a:pt x="17" y="9"/>
                      <a:pt x="17" y="9"/>
                    </a:cubicBezTo>
                    <a:cubicBezTo>
                      <a:pt x="17" y="9"/>
                      <a:pt x="18" y="9"/>
                      <a:pt x="18" y="10"/>
                    </a:cubicBezTo>
                    <a:cubicBezTo>
                      <a:pt x="19" y="10"/>
                      <a:pt x="19" y="10"/>
                      <a:pt x="19" y="10"/>
                    </a:cubicBezTo>
                    <a:cubicBezTo>
                      <a:pt x="22" y="10"/>
                      <a:pt x="22" y="10"/>
                      <a:pt x="22" y="10"/>
                    </a:cubicBezTo>
                    <a:cubicBezTo>
                      <a:pt x="18" y="13"/>
                      <a:pt x="18" y="13"/>
                      <a:pt x="18" y="13"/>
                    </a:cubicBezTo>
                    <a:cubicBezTo>
                      <a:pt x="16" y="14"/>
                      <a:pt x="12" y="17"/>
                      <a:pt x="10" y="18"/>
                    </a:cubicBezTo>
                    <a:cubicBezTo>
                      <a:pt x="10" y="18"/>
                      <a:pt x="10" y="18"/>
                      <a:pt x="10" y="18"/>
                    </a:cubicBezTo>
                    <a:cubicBezTo>
                      <a:pt x="10" y="18"/>
                      <a:pt x="10" y="18"/>
                      <a:pt x="10" y="19"/>
                    </a:cubicBezTo>
                    <a:cubicBezTo>
                      <a:pt x="11" y="19"/>
                      <a:pt x="11" y="19"/>
                      <a:pt x="11" y="19"/>
                    </a:cubicBezTo>
                    <a:cubicBezTo>
                      <a:pt x="11" y="19"/>
                      <a:pt x="11" y="19"/>
                      <a:pt x="11" y="19"/>
                    </a:cubicBezTo>
                    <a:cubicBezTo>
                      <a:pt x="14" y="18"/>
                      <a:pt x="14" y="18"/>
                      <a:pt x="14" y="18"/>
                    </a:cubicBezTo>
                    <a:cubicBezTo>
                      <a:pt x="14" y="19"/>
                      <a:pt x="14" y="19"/>
                      <a:pt x="14" y="19"/>
                    </a:cubicBezTo>
                    <a:cubicBezTo>
                      <a:pt x="14" y="20"/>
                      <a:pt x="14" y="20"/>
                      <a:pt x="14" y="20"/>
                    </a:cubicBezTo>
                    <a:cubicBezTo>
                      <a:pt x="15" y="21"/>
                      <a:pt x="15" y="21"/>
                      <a:pt x="15" y="21"/>
                    </a:cubicBezTo>
                    <a:cubicBezTo>
                      <a:pt x="15" y="21"/>
                      <a:pt x="15" y="22"/>
                      <a:pt x="15" y="22"/>
                    </a:cubicBezTo>
                    <a:cubicBezTo>
                      <a:pt x="16" y="22"/>
                      <a:pt x="18" y="22"/>
                      <a:pt x="19" y="23"/>
                    </a:cubicBezTo>
                    <a:cubicBezTo>
                      <a:pt x="19" y="22"/>
                      <a:pt x="19" y="22"/>
                      <a:pt x="20" y="21"/>
                    </a:cubicBezTo>
                    <a:cubicBezTo>
                      <a:pt x="20" y="20"/>
                      <a:pt x="20" y="20"/>
                      <a:pt x="20" y="20"/>
                    </a:cubicBezTo>
                    <a:cubicBezTo>
                      <a:pt x="21" y="20"/>
                      <a:pt x="21" y="20"/>
                      <a:pt x="21" y="20"/>
                    </a:cubicBezTo>
                    <a:cubicBezTo>
                      <a:pt x="21" y="18"/>
                      <a:pt x="21" y="18"/>
                      <a:pt x="21" y="18"/>
                    </a:cubicBezTo>
                    <a:cubicBezTo>
                      <a:pt x="23" y="18"/>
                      <a:pt x="23" y="18"/>
                      <a:pt x="23" y="18"/>
                    </a:cubicBezTo>
                    <a:cubicBezTo>
                      <a:pt x="25" y="19"/>
                      <a:pt x="26" y="20"/>
                      <a:pt x="27" y="22"/>
                    </a:cubicBezTo>
                    <a:cubicBezTo>
                      <a:pt x="27" y="22"/>
                      <a:pt x="27" y="22"/>
                      <a:pt x="27" y="22"/>
                    </a:cubicBezTo>
                    <a:cubicBezTo>
                      <a:pt x="27" y="22"/>
                      <a:pt x="27" y="22"/>
                      <a:pt x="27" y="22"/>
                    </a:cubicBezTo>
                    <a:cubicBezTo>
                      <a:pt x="27" y="22"/>
                      <a:pt x="28" y="22"/>
                      <a:pt x="29" y="22"/>
                    </a:cubicBezTo>
                    <a:cubicBezTo>
                      <a:pt x="29" y="23"/>
                      <a:pt x="29" y="23"/>
                      <a:pt x="30" y="24"/>
                    </a:cubicBezTo>
                    <a:cubicBezTo>
                      <a:pt x="30" y="24"/>
                      <a:pt x="30" y="24"/>
                      <a:pt x="30" y="24"/>
                    </a:cubicBezTo>
                    <a:cubicBezTo>
                      <a:pt x="31" y="22"/>
                      <a:pt x="31" y="22"/>
                      <a:pt x="31" y="22"/>
                    </a:cubicBezTo>
                    <a:cubicBezTo>
                      <a:pt x="31" y="24"/>
                      <a:pt x="31" y="24"/>
                      <a:pt x="31" y="24"/>
                    </a:cubicBezTo>
                    <a:cubicBezTo>
                      <a:pt x="32" y="25"/>
                      <a:pt x="32" y="25"/>
                      <a:pt x="32" y="25"/>
                    </a:cubicBezTo>
                    <a:cubicBezTo>
                      <a:pt x="32" y="25"/>
                      <a:pt x="32" y="25"/>
                      <a:pt x="33" y="25"/>
                    </a:cubicBezTo>
                    <a:cubicBezTo>
                      <a:pt x="33" y="25"/>
                      <a:pt x="33" y="26"/>
                      <a:pt x="33" y="26"/>
                    </a:cubicBezTo>
                    <a:cubicBezTo>
                      <a:pt x="34" y="26"/>
                      <a:pt x="35" y="26"/>
                      <a:pt x="36" y="26"/>
                    </a:cubicBezTo>
                    <a:cubicBezTo>
                      <a:pt x="37" y="26"/>
                      <a:pt x="38" y="26"/>
                      <a:pt x="38" y="26"/>
                    </a:cubicBezTo>
                    <a:cubicBezTo>
                      <a:pt x="40" y="26"/>
                      <a:pt x="40" y="26"/>
                      <a:pt x="40" y="26"/>
                    </a:cubicBezTo>
                    <a:cubicBezTo>
                      <a:pt x="39" y="28"/>
                      <a:pt x="39" y="28"/>
                      <a:pt x="39" y="28"/>
                    </a:cubicBezTo>
                    <a:cubicBezTo>
                      <a:pt x="39" y="28"/>
                      <a:pt x="39" y="29"/>
                      <a:pt x="38" y="29"/>
                    </a:cubicBezTo>
                    <a:cubicBezTo>
                      <a:pt x="38" y="29"/>
                      <a:pt x="38" y="29"/>
                      <a:pt x="38" y="29"/>
                    </a:cubicBezTo>
                    <a:cubicBezTo>
                      <a:pt x="38" y="30"/>
                      <a:pt x="38" y="30"/>
                      <a:pt x="37" y="30"/>
                    </a:cubicBezTo>
                    <a:cubicBezTo>
                      <a:pt x="37" y="30"/>
                      <a:pt x="37" y="30"/>
                      <a:pt x="36" y="30"/>
                    </a:cubicBezTo>
                    <a:cubicBezTo>
                      <a:pt x="36" y="30"/>
                      <a:pt x="36" y="30"/>
                      <a:pt x="36" y="30"/>
                    </a:cubicBezTo>
                    <a:cubicBezTo>
                      <a:pt x="36" y="30"/>
                      <a:pt x="36" y="31"/>
                      <a:pt x="36" y="31"/>
                    </a:cubicBezTo>
                    <a:cubicBezTo>
                      <a:pt x="35" y="31"/>
                      <a:pt x="35" y="31"/>
                      <a:pt x="35" y="31"/>
                    </a:cubicBezTo>
                    <a:cubicBezTo>
                      <a:pt x="35" y="31"/>
                      <a:pt x="35" y="31"/>
                      <a:pt x="35" y="31"/>
                    </a:cubicBezTo>
                    <a:cubicBezTo>
                      <a:pt x="35" y="32"/>
                      <a:pt x="34" y="32"/>
                      <a:pt x="33" y="33"/>
                    </a:cubicBezTo>
                    <a:cubicBezTo>
                      <a:pt x="33" y="33"/>
                      <a:pt x="33" y="33"/>
                      <a:pt x="33" y="33"/>
                    </a:cubicBezTo>
                    <a:cubicBezTo>
                      <a:pt x="33" y="33"/>
                      <a:pt x="32" y="33"/>
                      <a:pt x="32" y="33"/>
                    </a:cubicBezTo>
                    <a:cubicBezTo>
                      <a:pt x="32" y="33"/>
                      <a:pt x="32" y="33"/>
                      <a:pt x="32" y="33"/>
                    </a:cubicBezTo>
                    <a:cubicBezTo>
                      <a:pt x="32" y="35"/>
                      <a:pt x="32" y="35"/>
                      <a:pt x="32" y="35"/>
                    </a:cubicBezTo>
                    <a:cubicBezTo>
                      <a:pt x="30" y="34"/>
                      <a:pt x="30" y="34"/>
                      <a:pt x="30" y="34"/>
                    </a:cubicBezTo>
                    <a:cubicBezTo>
                      <a:pt x="30" y="34"/>
                      <a:pt x="29" y="34"/>
                      <a:pt x="28" y="34"/>
                    </a:cubicBezTo>
                    <a:cubicBezTo>
                      <a:pt x="28" y="34"/>
                      <a:pt x="28" y="34"/>
                      <a:pt x="28" y="34"/>
                    </a:cubicBezTo>
                    <a:cubicBezTo>
                      <a:pt x="28" y="34"/>
                      <a:pt x="28" y="34"/>
                      <a:pt x="28" y="34"/>
                    </a:cubicBezTo>
                    <a:cubicBezTo>
                      <a:pt x="28" y="35"/>
                      <a:pt x="27" y="35"/>
                      <a:pt x="27" y="36"/>
                    </a:cubicBezTo>
                    <a:cubicBezTo>
                      <a:pt x="26" y="36"/>
                      <a:pt x="26" y="36"/>
                      <a:pt x="26" y="36"/>
                    </a:cubicBezTo>
                    <a:cubicBezTo>
                      <a:pt x="25" y="37"/>
                      <a:pt x="24" y="37"/>
                      <a:pt x="22" y="36"/>
                    </a:cubicBezTo>
                    <a:cubicBezTo>
                      <a:pt x="21" y="36"/>
                      <a:pt x="21" y="36"/>
                      <a:pt x="21" y="36"/>
                    </a:cubicBezTo>
                    <a:cubicBezTo>
                      <a:pt x="20" y="36"/>
                      <a:pt x="20" y="36"/>
                      <a:pt x="20" y="36"/>
                    </a:cubicBezTo>
                    <a:cubicBezTo>
                      <a:pt x="20" y="36"/>
                      <a:pt x="20" y="35"/>
                      <a:pt x="20" y="35"/>
                    </a:cubicBezTo>
                    <a:cubicBezTo>
                      <a:pt x="20" y="35"/>
                      <a:pt x="20" y="35"/>
                      <a:pt x="20" y="35"/>
                    </a:cubicBezTo>
                    <a:cubicBezTo>
                      <a:pt x="20" y="35"/>
                      <a:pt x="19" y="35"/>
                      <a:pt x="19" y="35"/>
                    </a:cubicBezTo>
                    <a:cubicBezTo>
                      <a:pt x="19" y="35"/>
                      <a:pt x="19" y="35"/>
                      <a:pt x="18" y="35"/>
                    </a:cubicBezTo>
                    <a:cubicBezTo>
                      <a:pt x="18" y="35"/>
                      <a:pt x="18" y="35"/>
                      <a:pt x="17" y="36"/>
                    </a:cubicBezTo>
                    <a:cubicBezTo>
                      <a:pt x="17" y="36"/>
                      <a:pt x="17" y="36"/>
                      <a:pt x="17" y="36"/>
                    </a:cubicBezTo>
                    <a:cubicBezTo>
                      <a:pt x="17" y="36"/>
                      <a:pt x="17" y="36"/>
                      <a:pt x="17" y="36"/>
                    </a:cubicBezTo>
                    <a:cubicBezTo>
                      <a:pt x="16" y="36"/>
                      <a:pt x="16" y="36"/>
                      <a:pt x="16" y="36"/>
                    </a:cubicBezTo>
                    <a:cubicBezTo>
                      <a:pt x="15" y="37"/>
                      <a:pt x="15" y="37"/>
                      <a:pt x="15" y="37"/>
                    </a:cubicBezTo>
                    <a:cubicBezTo>
                      <a:pt x="15" y="37"/>
                      <a:pt x="15" y="37"/>
                      <a:pt x="15" y="37"/>
                    </a:cubicBezTo>
                    <a:cubicBezTo>
                      <a:pt x="15" y="37"/>
                      <a:pt x="15" y="37"/>
                      <a:pt x="15" y="37"/>
                    </a:cubicBezTo>
                    <a:cubicBezTo>
                      <a:pt x="15" y="37"/>
                      <a:pt x="14" y="38"/>
                      <a:pt x="14" y="38"/>
                    </a:cubicBezTo>
                    <a:cubicBezTo>
                      <a:pt x="14" y="38"/>
                      <a:pt x="14" y="38"/>
                      <a:pt x="14" y="38"/>
                    </a:cubicBezTo>
                    <a:cubicBezTo>
                      <a:pt x="14" y="38"/>
                      <a:pt x="14" y="38"/>
                      <a:pt x="14" y="38"/>
                    </a:cubicBezTo>
                    <a:cubicBezTo>
                      <a:pt x="14" y="38"/>
                      <a:pt x="13" y="38"/>
                      <a:pt x="13" y="38"/>
                    </a:cubicBezTo>
                    <a:cubicBezTo>
                      <a:pt x="13" y="39"/>
                      <a:pt x="13" y="39"/>
                      <a:pt x="13" y="39"/>
                    </a:cubicBezTo>
                    <a:cubicBezTo>
                      <a:pt x="13" y="39"/>
                      <a:pt x="13" y="39"/>
                      <a:pt x="13"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40"/>
                    </a:cubicBezTo>
                    <a:cubicBezTo>
                      <a:pt x="11" y="40"/>
                      <a:pt x="11" y="40"/>
                      <a:pt x="11" y="40"/>
                    </a:cubicBezTo>
                    <a:cubicBezTo>
                      <a:pt x="10" y="40"/>
                      <a:pt x="10" y="40"/>
                      <a:pt x="10" y="40"/>
                    </a:cubicBezTo>
                    <a:cubicBezTo>
                      <a:pt x="9" y="39"/>
                      <a:pt x="9" y="39"/>
                      <a:pt x="9" y="39"/>
                    </a:cubicBezTo>
                    <a:cubicBezTo>
                      <a:pt x="9" y="38"/>
                      <a:pt x="9" y="38"/>
                      <a:pt x="10" y="38"/>
                    </a:cubicBezTo>
                    <a:cubicBezTo>
                      <a:pt x="8" y="37"/>
                      <a:pt x="6" y="37"/>
                      <a:pt x="5" y="36"/>
                    </a:cubicBezTo>
                    <a:cubicBezTo>
                      <a:pt x="5" y="36"/>
                      <a:pt x="4" y="37"/>
                      <a:pt x="3" y="37"/>
                    </a:cubicBezTo>
                    <a:cubicBezTo>
                      <a:pt x="3" y="37"/>
                      <a:pt x="3" y="37"/>
                      <a:pt x="3" y="37"/>
                    </a:cubicBezTo>
                    <a:cubicBezTo>
                      <a:pt x="3" y="37"/>
                      <a:pt x="2" y="37"/>
                      <a:pt x="2" y="37"/>
                    </a:cubicBezTo>
                    <a:cubicBezTo>
                      <a:pt x="2" y="37"/>
                      <a:pt x="2" y="37"/>
                      <a:pt x="2" y="37"/>
                    </a:cubicBezTo>
                    <a:cubicBezTo>
                      <a:pt x="2" y="37"/>
                      <a:pt x="2" y="38"/>
                      <a:pt x="1" y="38"/>
                    </a:cubicBezTo>
                    <a:cubicBezTo>
                      <a:pt x="1" y="39"/>
                      <a:pt x="1" y="39"/>
                      <a:pt x="1" y="39"/>
                    </a:cubicBezTo>
                    <a:cubicBezTo>
                      <a:pt x="0" y="40"/>
                      <a:pt x="0" y="40"/>
                      <a:pt x="0" y="40"/>
                    </a:cubicBezTo>
                    <a:cubicBezTo>
                      <a:pt x="0" y="42"/>
                      <a:pt x="0" y="42"/>
                      <a:pt x="0" y="42"/>
                    </a:cubicBezTo>
                    <a:cubicBezTo>
                      <a:pt x="4" y="42"/>
                      <a:pt x="7" y="42"/>
                      <a:pt x="11" y="42"/>
                    </a:cubicBezTo>
                    <a:cubicBezTo>
                      <a:pt x="13" y="42"/>
                      <a:pt x="14" y="43"/>
                      <a:pt x="16" y="43"/>
                    </a:cubicBezTo>
                    <a:cubicBezTo>
                      <a:pt x="17" y="41"/>
                      <a:pt x="17" y="41"/>
                      <a:pt x="17" y="41"/>
                    </a:cubicBezTo>
                    <a:cubicBezTo>
                      <a:pt x="17" y="43"/>
                      <a:pt x="17" y="43"/>
                      <a:pt x="17" y="43"/>
                    </a:cubicBezTo>
                    <a:cubicBezTo>
                      <a:pt x="17" y="43"/>
                      <a:pt x="19" y="43"/>
                      <a:pt x="19" y="42"/>
                    </a:cubicBezTo>
                    <a:cubicBezTo>
                      <a:pt x="20" y="42"/>
                      <a:pt x="20" y="42"/>
                      <a:pt x="20" y="42"/>
                    </a:cubicBezTo>
                    <a:cubicBezTo>
                      <a:pt x="20" y="42"/>
                      <a:pt x="21" y="42"/>
                      <a:pt x="21" y="41"/>
                    </a:cubicBezTo>
                    <a:cubicBezTo>
                      <a:pt x="22" y="41"/>
                      <a:pt x="22" y="41"/>
                      <a:pt x="22" y="41"/>
                    </a:cubicBezTo>
                    <a:cubicBezTo>
                      <a:pt x="23" y="43"/>
                      <a:pt x="23" y="43"/>
                      <a:pt x="23" y="43"/>
                    </a:cubicBezTo>
                    <a:cubicBezTo>
                      <a:pt x="23" y="43"/>
                      <a:pt x="23" y="43"/>
                      <a:pt x="23" y="43"/>
                    </a:cubicBezTo>
                    <a:cubicBezTo>
                      <a:pt x="25" y="43"/>
                      <a:pt x="25" y="45"/>
                      <a:pt x="25" y="45"/>
                    </a:cubicBezTo>
                    <a:cubicBezTo>
                      <a:pt x="25" y="45"/>
                      <a:pt x="25" y="45"/>
                      <a:pt x="25" y="45"/>
                    </a:cubicBezTo>
                    <a:cubicBezTo>
                      <a:pt x="26" y="45"/>
                      <a:pt x="26" y="45"/>
                      <a:pt x="26" y="45"/>
                    </a:cubicBezTo>
                    <a:cubicBezTo>
                      <a:pt x="27" y="45"/>
                      <a:pt x="28" y="45"/>
                      <a:pt x="29" y="46"/>
                    </a:cubicBezTo>
                    <a:cubicBezTo>
                      <a:pt x="29" y="45"/>
                      <a:pt x="30" y="44"/>
                      <a:pt x="32" y="44"/>
                    </a:cubicBezTo>
                    <a:cubicBezTo>
                      <a:pt x="33" y="44"/>
                      <a:pt x="33" y="44"/>
                      <a:pt x="33" y="44"/>
                    </a:cubicBezTo>
                    <a:cubicBezTo>
                      <a:pt x="35" y="44"/>
                      <a:pt x="35" y="44"/>
                      <a:pt x="35" y="44"/>
                    </a:cubicBezTo>
                    <a:cubicBezTo>
                      <a:pt x="36" y="44"/>
                      <a:pt x="36" y="44"/>
                      <a:pt x="38" y="44"/>
                    </a:cubicBezTo>
                    <a:cubicBezTo>
                      <a:pt x="38" y="44"/>
                      <a:pt x="38" y="44"/>
                      <a:pt x="39" y="44"/>
                    </a:cubicBezTo>
                    <a:cubicBezTo>
                      <a:pt x="40" y="44"/>
                      <a:pt x="40" y="44"/>
                      <a:pt x="40" y="44"/>
                    </a:cubicBezTo>
                    <a:cubicBezTo>
                      <a:pt x="41" y="43"/>
                      <a:pt x="42" y="43"/>
                      <a:pt x="42" y="43"/>
                    </a:cubicBezTo>
                    <a:cubicBezTo>
                      <a:pt x="42" y="43"/>
                      <a:pt x="42" y="43"/>
                      <a:pt x="42" y="43"/>
                    </a:cubicBezTo>
                    <a:cubicBezTo>
                      <a:pt x="43" y="43"/>
                      <a:pt x="43" y="43"/>
                      <a:pt x="43" y="43"/>
                    </a:cubicBezTo>
                    <a:cubicBezTo>
                      <a:pt x="44" y="43"/>
                      <a:pt x="44" y="43"/>
                      <a:pt x="44" y="43"/>
                    </a:cubicBezTo>
                    <a:cubicBezTo>
                      <a:pt x="44" y="43"/>
                      <a:pt x="44" y="42"/>
                      <a:pt x="44" y="42"/>
                    </a:cubicBezTo>
                    <a:cubicBezTo>
                      <a:pt x="45" y="42"/>
                      <a:pt x="45" y="42"/>
                      <a:pt x="45" y="42"/>
                    </a:cubicBezTo>
                    <a:cubicBezTo>
                      <a:pt x="45" y="42"/>
                      <a:pt x="45" y="42"/>
                      <a:pt x="45" y="42"/>
                    </a:cubicBezTo>
                    <a:cubicBezTo>
                      <a:pt x="45" y="41"/>
                      <a:pt x="45" y="41"/>
                      <a:pt x="45" y="41"/>
                    </a:cubicBezTo>
                    <a:cubicBezTo>
                      <a:pt x="45" y="40"/>
                      <a:pt x="45" y="40"/>
                      <a:pt x="45" y="40"/>
                    </a:cubicBezTo>
                    <a:cubicBezTo>
                      <a:pt x="45" y="40"/>
                      <a:pt x="45" y="39"/>
                      <a:pt x="45" y="39"/>
                    </a:cubicBezTo>
                    <a:cubicBezTo>
                      <a:pt x="45" y="39"/>
                      <a:pt x="45" y="39"/>
                      <a:pt x="45" y="39"/>
                    </a:cubicBezTo>
                    <a:cubicBezTo>
                      <a:pt x="45" y="39"/>
                      <a:pt x="45" y="38"/>
                      <a:pt x="45" y="38"/>
                    </a:cubicBezTo>
                    <a:cubicBezTo>
                      <a:pt x="46" y="37"/>
                      <a:pt x="46" y="36"/>
                      <a:pt x="47" y="36"/>
                    </a:cubicBezTo>
                    <a:cubicBezTo>
                      <a:pt x="50" y="35"/>
                      <a:pt x="50" y="35"/>
                      <a:pt x="50" y="35"/>
                    </a:cubicBezTo>
                    <a:cubicBezTo>
                      <a:pt x="50" y="34"/>
                      <a:pt x="50" y="34"/>
                      <a:pt x="51" y="34"/>
                    </a:cubicBezTo>
                    <a:cubicBezTo>
                      <a:pt x="51" y="34"/>
                      <a:pt x="51" y="34"/>
                      <a:pt x="51" y="34"/>
                    </a:cubicBezTo>
                    <a:cubicBezTo>
                      <a:pt x="52" y="34"/>
                      <a:pt x="54" y="34"/>
                      <a:pt x="54" y="33"/>
                    </a:cubicBezTo>
                    <a:cubicBezTo>
                      <a:pt x="54" y="33"/>
                      <a:pt x="54" y="33"/>
                      <a:pt x="54" y="33"/>
                    </a:cubicBezTo>
                    <a:cubicBezTo>
                      <a:pt x="54" y="33"/>
                      <a:pt x="54" y="33"/>
                      <a:pt x="54" y="33"/>
                    </a:cubicBezTo>
                    <a:cubicBezTo>
                      <a:pt x="54" y="32"/>
                      <a:pt x="54" y="32"/>
                      <a:pt x="54" y="32"/>
                    </a:cubicBezTo>
                    <a:cubicBezTo>
                      <a:pt x="54" y="30"/>
                      <a:pt x="54" y="30"/>
                      <a:pt x="54" y="30"/>
                    </a:cubicBezTo>
                    <a:cubicBezTo>
                      <a:pt x="56" y="30"/>
                      <a:pt x="56" y="30"/>
                      <a:pt x="56" y="30"/>
                    </a:cubicBezTo>
                    <a:cubicBezTo>
                      <a:pt x="56" y="31"/>
                      <a:pt x="56" y="31"/>
                      <a:pt x="57" y="31"/>
                    </a:cubicBezTo>
                    <a:cubicBezTo>
                      <a:pt x="57" y="31"/>
                      <a:pt x="57" y="31"/>
                      <a:pt x="57" y="31"/>
                    </a:cubicBezTo>
                    <a:cubicBezTo>
                      <a:pt x="58" y="31"/>
                      <a:pt x="59" y="31"/>
                      <a:pt x="60" y="30"/>
                    </a:cubicBezTo>
                    <a:cubicBezTo>
                      <a:pt x="60" y="30"/>
                      <a:pt x="60" y="30"/>
                      <a:pt x="60" y="30"/>
                    </a:cubicBezTo>
                    <a:cubicBezTo>
                      <a:pt x="60" y="30"/>
                      <a:pt x="60" y="30"/>
                      <a:pt x="60" y="30"/>
                    </a:cubicBezTo>
                    <a:cubicBezTo>
                      <a:pt x="61" y="30"/>
                      <a:pt x="62" y="29"/>
                      <a:pt x="62" y="29"/>
                    </a:cubicBezTo>
                    <a:cubicBezTo>
                      <a:pt x="63" y="29"/>
                      <a:pt x="63" y="29"/>
                      <a:pt x="63" y="29"/>
                    </a:cubicBezTo>
                    <a:cubicBezTo>
                      <a:pt x="63" y="29"/>
                      <a:pt x="63" y="29"/>
                      <a:pt x="63" y="29"/>
                    </a:cubicBezTo>
                    <a:cubicBezTo>
                      <a:pt x="63" y="29"/>
                      <a:pt x="63" y="29"/>
                      <a:pt x="63" y="29"/>
                    </a:cubicBezTo>
                    <a:cubicBezTo>
                      <a:pt x="64" y="29"/>
                      <a:pt x="64" y="29"/>
                      <a:pt x="64" y="29"/>
                    </a:cubicBezTo>
                    <a:cubicBezTo>
                      <a:pt x="64" y="30"/>
                      <a:pt x="65" y="30"/>
                      <a:pt x="65" y="31"/>
                    </a:cubicBezTo>
                    <a:cubicBezTo>
                      <a:pt x="65" y="31"/>
                      <a:pt x="65" y="32"/>
                      <a:pt x="65" y="32"/>
                    </a:cubicBezTo>
                    <a:cubicBezTo>
                      <a:pt x="65" y="32"/>
                      <a:pt x="65" y="33"/>
                      <a:pt x="65" y="33"/>
                    </a:cubicBezTo>
                    <a:cubicBezTo>
                      <a:pt x="65" y="33"/>
                      <a:pt x="65" y="33"/>
                      <a:pt x="65" y="33"/>
                    </a:cubicBezTo>
                    <a:cubicBezTo>
                      <a:pt x="66" y="33"/>
                      <a:pt x="66" y="33"/>
                      <a:pt x="66" y="33"/>
                    </a:cubicBezTo>
                    <a:cubicBezTo>
                      <a:pt x="66" y="33"/>
                      <a:pt x="66" y="33"/>
                      <a:pt x="66" y="33"/>
                    </a:cubicBezTo>
                    <a:cubicBezTo>
                      <a:pt x="66" y="33"/>
                      <a:pt x="66" y="32"/>
                      <a:pt x="67" y="32"/>
                    </a:cubicBezTo>
                    <a:cubicBezTo>
                      <a:pt x="67" y="32"/>
                      <a:pt x="68" y="32"/>
                      <a:pt x="68" y="32"/>
                    </a:cubicBezTo>
                    <a:cubicBezTo>
                      <a:pt x="68" y="32"/>
                      <a:pt x="69" y="32"/>
                      <a:pt x="70" y="32"/>
                    </a:cubicBezTo>
                    <a:cubicBezTo>
                      <a:pt x="70" y="32"/>
                      <a:pt x="70" y="32"/>
                      <a:pt x="71" y="32"/>
                    </a:cubicBezTo>
                    <a:cubicBezTo>
                      <a:pt x="71" y="32"/>
                      <a:pt x="71" y="32"/>
                      <a:pt x="71" y="32"/>
                    </a:cubicBezTo>
                    <a:cubicBezTo>
                      <a:pt x="71" y="32"/>
                      <a:pt x="71" y="32"/>
                      <a:pt x="71" y="32"/>
                    </a:cubicBezTo>
                    <a:cubicBezTo>
                      <a:pt x="71" y="32"/>
                      <a:pt x="72" y="31"/>
                      <a:pt x="72" y="31"/>
                    </a:cubicBezTo>
                    <a:cubicBezTo>
                      <a:pt x="72" y="31"/>
                      <a:pt x="72" y="30"/>
                      <a:pt x="72" y="30"/>
                    </a:cubicBezTo>
                    <a:cubicBezTo>
                      <a:pt x="72" y="30"/>
                      <a:pt x="72" y="30"/>
                      <a:pt x="72" y="30"/>
                    </a:cubicBezTo>
                    <a:cubicBezTo>
                      <a:pt x="72" y="29"/>
                      <a:pt x="72" y="29"/>
                      <a:pt x="73" y="28"/>
                    </a:cubicBezTo>
                    <a:cubicBezTo>
                      <a:pt x="73" y="28"/>
                      <a:pt x="73" y="28"/>
                      <a:pt x="73" y="28"/>
                    </a:cubicBezTo>
                    <a:cubicBezTo>
                      <a:pt x="73" y="27"/>
                      <a:pt x="74" y="27"/>
                      <a:pt x="74" y="27"/>
                    </a:cubicBezTo>
                    <a:cubicBezTo>
                      <a:pt x="74" y="27"/>
                      <a:pt x="74" y="26"/>
                      <a:pt x="75" y="26"/>
                    </a:cubicBezTo>
                    <a:cubicBezTo>
                      <a:pt x="75" y="25"/>
                      <a:pt x="76" y="24"/>
                      <a:pt x="7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1" name="Freeform 3173">
                <a:extLst>
                  <a:ext uri="{FF2B5EF4-FFF2-40B4-BE49-F238E27FC236}">
                    <a16:creationId xmlns:a16="http://schemas.microsoft.com/office/drawing/2014/main" id="{4BD176CE-9785-4B71-862B-9C261B85D5AF}"/>
                  </a:ext>
                </a:extLst>
              </p:cNvPr>
              <p:cNvSpPr>
                <a:spLocks/>
              </p:cNvSpPr>
              <p:nvPr/>
            </p:nvSpPr>
            <p:spPr bwMode="auto">
              <a:xfrm>
                <a:off x="5273" y="167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2" name="Freeform 3174">
                <a:extLst>
                  <a:ext uri="{FF2B5EF4-FFF2-40B4-BE49-F238E27FC236}">
                    <a16:creationId xmlns:a16="http://schemas.microsoft.com/office/drawing/2014/main" id="{C36C489C-376E-4368-8757-40067F827C00}"/>
                  </a:ext>
                </a:extLst>
              </p:cNvPr>
              <p:cNvSpPr>
                <a:spLocks noEditPoints="1"/>
              </p:cNvSpPr>
              <p:nvPr/>
            </p:nvSpPr>
            <p:spPr bwMode="auto">
              <a:xfrm>
                <a:off x="4904" y="1584"/>
                <a:ext cx="402" cy="248"/>
              </a:xfrm>
              <a:custGeom>
                <a:avLst/>
                <a:gdLst>
                  <a:gd name="T0" fmla="*/ 27 w 170"/>
                  <a:gd name="T1" fmla="*/ 12 h 105"/>
                  <a:gd name="T2" fmla="*/ 22 w 170"/>
                  <a:gd name="T3" fmla="*/ 16 h 105"/>
                  <a:gd name="T4" fmla="*/ 25 w 170"/>
                  <a:gd name="T5" fmla="*/ 5 h 105"/>
                  <a:gd name="T6" fmla="*/ 0 w 170"/>
                  <a:gd name="T7" fmla="*/ 12 h 105"/>
                  <a:gd name="T8" fmla="*/ 2 w 170"/>
                  <a:gd name="T9" fmla="*/ 56 h 105"/>
                  <a:gd name="T10" fmla="*/ 8 w 170"/>
                  <a:gd name="T11" fmla="*/ 53 h 105"/>
                  <a:gd name="T12" fmla="*/ 15 w 170"/>
                  <a:gd name="T13" fmla="*/ 46 h 105"/>
                  <a:gd name="T14" fmla="*/ 22 w 170"/>
                  <a:gd name="T15" fmla="*/ 41 h 105"/>
                  <a:gd name="T16" fmla="*/ 29 w 170"/>
                  <a:gd name="T17" fmla="*/ 40 h 105"/>
                  <a:gd name="T18" fmla="*/ 34 w 170"/>
                  <a:gd name="T19" fmla="*/ 43 h 105"/>
                  <a:gd name="T20" fmla="*/ 43 w 170"/>
                  <a:gd name="T21" fmla="*/ 50 h 105"/>
                  <a:gd name="T22" fmla="*/ 42 w 170"/>
                  <a:gd name="T23" fmla="*/ 55 h 105"/>
                  <a:gd name="T24" fmla="*/ 50 w 170"/>
                  <a:gd name="T25" fmla="*/ 57 h 105"/>
                  <a:gd name="T26" fmla="*/ 62 w 170"/>
                  <a:gd name="T27" fmla="*/ 64 h 105"/>
                  <a:gd name="T28" fmla="*/ 66 w 170"/>
                  <a:gd name="T29" fmla="*/ 70 h 105"/>
                  <a:gd name="T30" fmla="*/ 78 w 170"/>
                  <a:gd name="T31" fmla="*/ 80 h 105"/>
                  <a:gd name="T32" fmla="*/ 95 w 170"/>
                  <a:gd name="T33" fmla="*/ 91 h 105"/>
                  <a:gd name="T34" fmla="*/ 103 w 170"/>
                  <a:gd name="T35" fmla="*/ 93 h 105"/>
                  <a:gd name="T36" fmla="*/ 109 w 170"/>
                  <a:gd name="T37" fmla="*/ 99 h 105"/>
                  <a:gd name="T38" fmla="*/ 114 w 170"/>
                  <a:gd name="T39" fmla="*/ 105 h 105"/>
                  <a:gd name="T40" fmla="*/ 118 w 170"/>
                  <a:gd name="T41" fmla="*/ 104 h 105"/>
                  <a:gd name="T42" fmla="*/ 119 w 170"/>
                  <a:gd name="T43" fmla="*/ 102 h 105"/>
                  <a:gd name="T44" fmla="*/ 123 w 170"/>
                  <a:gd name="T45" fmla="*/ 94 h 105"/>
                  <a:gd name="T46" fmla="*/ 122 w 170"/>
                  <a:gd name="T47" fmla="*/ 86 h 105"/>
                  <a:gd name="T48" fmla="*/ 114 w 170"/>
                  <a:gd name="T49" fmla="*/ 80 h 105"/>
                  <a:gd name="T50" fmla="*/ 124 w 170"/>
                  <a:gd name="T51" fmla="*/ 77 h 105"/>
                  <a:gd name="T52" fmla="*/ 128 w 170"/>
                  <a:gd name="T53" fmla="*/ 73 h 105"/>
                  <a:gd name="T54" fmla="*/ 134 w 170"/>
                  <a:gd name="T55" fmla="*/ 64 h 105"/>
                  <a:gd name="T56" fmla="*/ 136 w 170"/>
                  <a:gd name="T57" fmla="*/ 62 h 105"/>
                  <a:gd name="T58" fmla="*/ 139 w 170"/>
                  <a:gd name="T59" fmla="*/ 64 h 105"/>
                  <a:gd name="T60" fmla="*/ 144 w 170"/>
                  <a:gd name="T61" fmla="*/ 60 h 105"/>
                  <a:gd name="T62" fmla="*/ 148 w 170"/>
                  <a:gd name="T63" fmla="*/ 68 h 105"/>
                  <a:gd name="T64" fmla="*/ 153 w 170"/>
                  <a:gd name="T65" fmla="*/ 68 h 105"/>
                  <a:gd name="T66" fmla="*/ 161 w 170"/>
                  <a:gd name="T67" fmla="*/ 69 h 105"/>
                  <a:gd name="T68" fmla="*/ 164 w 170"/>
                  <a:gd name="T69" fmla="*/ 66 h 105"/>
                  <a:gd name="T70" fmla="*/ 165 w 170"/>
                  <a:gd name="T71" fmla="*/ 66 h 105"/>
                  <a:gd name="T72" fmla="*/ 169 w 170"/>
                  <a:gd name="T73" fmla="*/ 65 h 105"/>
                  <a:gd name="T74" fmla="*/ 168 w 170"/>
                  <a:gd name="T75" fmla="*/ 63 h 105"/>
                  <a:gd name="T76" fmla="*/ 166 w 170"/>
                  <a:gd name="T77" fmla="*/ 62 h 105"/>
                  <a:gd name="T78" fmla="*/ 163 w 170"/>
                  <a:gd name="T79" fmla="*/ 60 h 105"/>
                  <a:gd name="T80" fmla="*/ 158 w 170"/>
                  <a:gd name="T81" fmla="*/ 58 h 105"/>
                  <a:gd name="T82" fmla="*/ 155 w 170"/>
                  <a:gd name="T83" fmla="*/ 60 h 105"/>
                  <a:gd name="T84" fmla="*/ 145 w 170"/>
                  <a:gd name="T85" fmla="*/ 56 h 105"/>
                  <a:gd name="T86" fmla="*/ 144 w 170"/>
                  <a:gd name="T87" fmla="*/ 52 h 105"/>
                  <a:gd name="T88" fmla="*/ 135 w 170"/>
                  <a:gd name="T89" fmla="*/ 57 h 105"/>
                  <a:gd name="T90" fmla="*/ 129 w 170"/>
                  <a:gd name="T91" fmla="*/ 63 h 105"/>
                  <a:gd name="T92" fmla="*/ 127 w 170"/>
                  <a:gd name="T93" fmla="*/ 67 h 105"/>
                  <a:gd name="T94" fmla="*/ 120 w 170"/>
                  <a:gd name="T95" fmla="*/ 63 h 105"/>
                  <a:gd name="T96" fmla="*/ 120 w 170"/>
                  <a:gd name="T97" fmla="*/ 59 h 105"/>
                  <a:gd name="T98" fmla="*/ 107 w 170"/>
                  <a:gd name="T99" fmla="*/ 57 h 105"/>
                  <a:gd name="T100" fmla="*/ 105 w 170"/>
                  <a:gd name="T101" fmla="*/ 50 h 105"/>
                  <a:gd name="T102" fmla="*/ 100 w 170"/>
                  <a:gd name="T103" fmla="*/ 46 h 105"/>
                  <a:gd name="T104" fmla="*/ 98 w 170"/>
                  <a:gd name="T105" fmla="*/ 37 h 105"/>
                  <a:gd name="T106" fmla="*/ 93 w 170"/>
                  <a:gd name="T107" fmla="*/ 31 h 105"/>
                  <a:gd name="T108" fmla="*/ 88 w 170"/>
                  <a:gd name="T109" fmla="*/ 29 h 105"/>
                  <a:gd name="T110" fmla="*/ 66 w 170"/>
                  <a:gd name="T111" fmla="*/ 30 h 105"/>
                  <a:gd name="T112" fmla="*/ 57 w 170"/>
                  <a:gd name="T113" fmla="*/ 29 h 105"/>
                  <a:gd name="T114" fmla="*/ 40 w 170"/>
                  <a:gd name="T115" fmla="*/ 21 h 105"/>
                  <a:gd name="T116" fmla="*/ 34 w 170"/>
                  <a:gd name="T117" fmla="*/ 10 h 105"/>
                  <a:gd name="T118" fmla="*/ 35 w 170"/>
                  <a:gd name="T119" fmla="*/ 8 h 105"/>
                  <a:gd name="T120" fmla="*/ 32 w 170"/>
                  <a:gd name="T121" fmla="*/ 3 h 105"/>
                  <a:gd name="T122" fmla="*/ 27 w 170"/>
                  <a:gd name="T123" fmla="*/ 5 h 105"/>
                  <a:gd name="T124" fmla="*/ 27 w 170"/>
                  <a:gd name="T125"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05">
                    <a:moveTo>
                      <a:pt x="27" y="6"/>
                    </a:moveTo>
                    <a:cubicBezTo>
                      <a:pt x="26" y="6"/>
                      <a:pt x="26" y="7"/>
                      <a:pt x="26" y="8"/>
                    </a:cubicBezTo>
                    <a:cubicBezTo>
                      <a:pt x="27" y="8"/>
                      <a:pt x="27" y="9"/>
                      <a:pt x="27" y="9"/>
                    </a:cubicBezTo>
                    <a:cubicBezTo>
                      <a:pt x="27" y="10"/>
                      <a:pt x="26" y="10"/>
                      <a:pt x="26" y="11"/>
                    </a:cubicBezTo>
                    <a:cubicBezTo>
                      <a:pt x="26" y="11"/>
                      <a:pt x="26" y="12"/>
                      <a:pt x="26" y="12"/>
                    </a:cubicBezTo>
                    <a:cubicBezTo>
                      <a:pt x="27" y="11"/>
                      <a:pt x="28" y="11"/>
                      <a:pt x="27" y="11"/>
                    </a:cubicBezTo>
                    <a:cubicBezTo>
                      <a:pt x="28" y="12"/>
                      <a:pt x="27" y="12"/>
                      <a:pt x="27" y="12"/>
                    </a:cubicBezTo>
                    <a:cubicBezTo>
                      <a:pt x="27" y="13"/>
                      <a:pt x="27" y="13"/>
                      <a:pt x="27" y="13"/>
                    </a:cubicBezTo>
                    <a:cubicBezTo>
                      <a:pt x="27" y="15"/>
                      <a:pt x="28" y="14"/>
                      <a:pt x="28" y="15"/>
                    </a:cubicBezTo>
                    <a:cubicBezTo>
                      <a:pt x="27" y="15"/>
                      <a:pt x="27" y="15"/>
                      <a:pt x="26" y="15"/>
                    </a:cubicBezTo>
                    <a:cubicBezTo>
                      <a:pt x="26" y="15"/>
                      <a:pt x="26" y="14"/>
                      <a:pt x="25" y="15"/>
                    </a:cubicBezTo>
                    <a:cubicBezTo>
                      <a:pt x="25" y="16"/>
                      <a:pt x="26" y="15"/>
                      <a:pt x="26" y="16"/>
                    </a:cubicBezTo>
                    <a:cubicBezTo>
                      <a:pt x="25" y="19"/>
                      <a:pt x="21" y="20"/>
                      <a:pt x="22" y="17"/>
                    </a:cubicBezTo>
                    <a:cubicBezTo>
                      <a:pt x="22" y="17"/>
                      <a:pt x="22" y="17"/>
                      <a:pt x="22" y="16"/>
                    </a:cubicBezTo>
                    <a:cubicBezTo>
                      <a:pt x="22" y="15"/>
                      <a:pt x="22" y="15"/>
                      <a:pt x="22" y="14"/>
                    </a:cubicBezTo>
                    <a:cubicBezTo>
                      <a:pt x="21" y="13"/>
                      <a:pt x="22" y="13"/>
                      <a:pt x="22" y="11"/>
                    </a:cubicBezTo>
                    <a:cubicBezTo>
                      <a:pt x="22" y="11"/>
                      <a:pt x="23" y="9"/>
                      <a:pt x="23" y="9"/>
                    </a:cubicBezTo>
                    <a:cubicBezTo>
                      <a:pt x="23" y="8"/>
                      <a:pt x="23" y="8"/>
                      <a:pt x="24" y="7"/>
                    </a:cubicBezTo>
                    <a:cubicBezTo>
                      <a:pt x="24" y="7"/>
                      <a:pt x="25" y="7"/>
                      <a:pt x="25" y="6"/>
                    </a:cubicBezTo>
                    <a:cubicBezTo>
                      <a:pt x="25" y="6"/>
                      <a:pt x="25" y="6"/>
                      <a:pt x="25" y="5"/>
                    </a:cubicBezTo>
                    <a:cubicBezTo>
                      <a:pt x="25" y="5"/>
                      <a:pt x="25" y="5"/>
                      <a:pt x="25" y="5"/>
                    </a:cubicBezTo>
                    <a:cubicBezTo>
                      <a:pt x="24" y="6"/>
                      <a:pt x="24" y="6"/>
                      <a:pt x="24" y="6"/>
                    </a:cubicBezTo>
                    <a:cubicBezTo>
                      <a:pt x="23" y="6"/>
                      <a:pt x="22" y="6"/>
                      <a:pt x="22" y="6"/>
                    </a:cubicBezTo>
                    <a:cubicBezTo>
                      <a:pt x="21" y="6"/>
                      <a:pt x="21" y="6"/>
                      <a:pt x="21" y="6"/>
                    </a:cubicBezTo>
                    <a:cubicBezTo>
                      <a:pt x="18" y="7"/>
                      <a:pt x="18" y="7"/>
                      <a:pt x="18" y="7"/>
                    </a:cubicBezTo>
                    <a:cubicBezTo>
                      <a:pt x="13" y="8"/>
                      <a:pt x="8" y="10"/>
                      <a:pt x="4" y="11"/>
                    </a:cubicBezTo>
                    <a:cubicBezTo>
                      <a:pt x="3" y="11"/>
                      <a:pt x="3" y="11"/>
                      <a:pt x="2" y="11"/>
                    </a:cubicBezTo>
                    <a:cubicBezTo>
                      <a:pt x="2" y="11"/>
                      <a:pt x="1" y="12"/>
                      <a:pt x="0" y="12"/>
                    </a:cubicBezTo>
                    <a:cubicBezTo>
                      <a:pt x="0" y="12"/>
                      <a:pt x="0" y="12"/>
                      <a:pt x="0" y="12"/>
                    </a:cubicBezTo>
                    <a:cubicBezTo>
                      <a:pt x="0" y="12"/>
                      <a:pt x="0" y="12"/>
                      <a:pt x="0" y="12"/>
                    </a:cubicBezTo>
                    <a:cubicBezTo>
                      <a:pt x="0" y="19"/>
                      <a:pt x="0" y="26"/>
                      <a:pt x="0" y="33"/>
                    </a:cubicBezTo>
                    <a:cubicBezTo>
                      <a:pt x="0" y="55"/>
                      <a:pt x="0" y="55"/>
                      <a:pt x="0" y="55"/>
                    </a:cubicBezTo>
                    <a:cubicBezTo>
                      <a:pt x="3" y="55"/>
                      <a:pt x="3" y="55"/>
                      <a:pt x="3" y="55"/>
                    </a:cubicBezTo>
                    <a:cubicBezTo>
                      <a:pt x="2" y="56"/>
                      <a:pt x="2" y="56"/>
                      <a:pt x="2" y="56"/>
                    </a:cubicBezTo>
                    <a:cubicBezTo>
                      <a:pt x="2" y="56"/>
                      <a:pt x="2" y="56"/>
                      <a:pt x="2" y="56"/>
                    </a:cubicBezTo>
                    <a:cubicBezTo>
                      <a:pt x="3" y="56"/>
                      <a:pt x="4" y="56"/>
                      <a:pt x="4" y="56"/>
                    </a:cubicBezTo>
                    <a:cubicBezTo>
                      <a:pt x="4" y="56"/>
                      <a:pt x="5" y="56"/>
                      <a:pt x="5" y="56"/>
                    </a:cubicBezTo>
                    <a:cubicBezTo>
                      <a:pt x="5" y="56"/>
                      <a:pt x="6" y="56"/>
                      <a:pt x="6" y="56"/>
                    </a:cubicBezTo>
                    <a:cubicBezTo>
                      <a:pt x="7" y="55"/>
                      <a:pt x="7" y="55"/>
                      <a:pt x="7" y="55"/>
                    </a:cubicBezTo>
                    <a:cubicBezTo>
                      <a:pt x="8" y="55"/>
                      <a:pt x="8" y="55"/>
                      <a:pt x="8" y="55"/>
                    </a:cubicBezTo>
                    <a:cubicBezTo>
                      <a:pt x="8" y="55"/>
                      <a:pt x="8" y="55"/>
                      <a:pt x="8" y="55"/>
                    </a:cubicBezTo>
                    <a:cubicBezTo>
                      <a:pt x="8" y="55"/>
                      <a:pt x="8" y="54"/>
                      <a:pt x="8" y="53"/>
                    </a:cubicBezTo>
                    <a:cubicBezTo>
                      <a:pt x="8" y="53"/>
                      <a:pt x="8" y="52"/>
                      <a:pt x="8" y="51"/>
                    </a:cubicBezTo>
                    <a:cubicBezTo>
                      <a:pt x="8" y="51"/>
                      <a:pt x="8" y="51"/>
                      <a:pt x="9" y="50"/>
                    </a:cubicBezTo>
                    <a:cubicBezTo>
                      <a:pt x="9" y="49"/>
                      <a:pt x="9" y="48"/>
                      <a:pt x="10" y="47"/>
                    </a:cubicBezTo>
                    <a:cubicBezTo>
                      <a:pt x="11" y="47"/>
                      <a:pt x="11" y="47"/>
                      <a:pt x="11" y="47"/>
                    </a:cubicBezTo>
                    <a:cubicBezTo>
                      <a:pt x="11" y="47"/>
                      <a:pt x="11" y="46"/>
                      <a:pt x="12" y="46"/>
                    </a:cubicBezTo>
                    <a:cubicBezTo>
                      <a:pt x="12" y="46"/>
                      <a:pt x="13" y="46"/>
                      <a:pt x="14" y="46"/>
                    </a:cubicBezTo>
                    <a:cubicBezTo>
                      <a:pt x="15" y="46"/>
                      <a:pt x="15" y="46"/>
                      <a:pt x="15" y="46"/>
                    </a:cubicBezTo>
                    <a:cubicBezTo>
                      <a:pt x="15" y="46"/>
                      <a:pt x="15" y="45"/>
                      <a:pt x="16" y="45"/>
                    </a:cubicBezTo>
                    <a:cubicBezTo>
                      <a:pt x="17" y="45"/>
                      <a:pt x="17" y="45"/>
                      <a:pt x="17" y="44"/>
                    </a:cubicBezTo>
                    <a:cubicBezTo>
                      <a:pt x="17" y="44"/>
                      <a:pt x="18" y="44"/>
                      <a:pt x="18" y="44"/>
                    </a:cubicBezTo>
                    <a:cubicBezTo>
                      <a:pt x="18" y="43"/>
                      <a:pt x="18" y="41"/>
                      <a:pt x="20" y="41"/>
                    </a:cubicBezTo>
                    <a:cubicBezTo>
                      <a:pt x="20" y="41"/>
                      <a:pt x="21" y="41"/>
                      <a:pt x="21" y="41"/>
                    </a:cubicBezTo>
                    <a:cubicBezTo>
                      <a:pt x="21" y="41"/>
                      <a:pt x="21" y="41"/>
                      <a:pt x="22" y="41"/>
                    </a:cubicBezTo>
                    <a:cubicBezTo>
                      <a:pt x="22" y="41"/>
                      <a:pt x="22" y="41"/>
                      <a:pt x="22" y="41"/>
                    </a:cubicBezTo>
                    <a:cubicBezTo>
                      <a:pt x="22" y="40"/>
                      <a:pt x="23" y="39"/>
                      <a:pt x="24" y="39"/>
                    </a:cubicBezTo>
                    <a:cubicBezTo>
                      <a:pt x="24" y="38"/>
                      <a:pt x="24" y="38"/>
                      <a:pt x="25" y="38"/>
                    </a:cubicBezTo>
                    <a:cubicBezTo>
                      <a:pt x="26" y="37"/>
                      <a:pt x="26" y="37"/>
                      <a:pt x="26" y="37"/>
                    </a:cubicBezTo>
                    <a:cubicBezTo>
                      <a:pt x="27" y="38"/>
                      <a:pt x="27" y="38"/>
                      <a:pt x="27" y="38"/>
                    </a:cubicBezTo>
                    <a:cubicBezTo>
                      <a:pt x="27" y="38"/>
                      <a:pt x="27" y="38"/>
                      <a:pt x="27" y="38"/>
                    </a:cubicBezTo>
                    <a:cubicBezTo>
                      <a:pt x="28" y="39"/>
                      <a:pt x="28" y="39"/>
                      <a:pt x="28" y="39"/>
                    </a:cubicBezTo>
                    <a:cubicBezTo>
                      <a:pt x="28" y="39"/>
                      <a:pt x="29" y="40"/>
                      <a:pt x="29" y="40"/>
                    </a:cubicBezTo>
                    <a:cubicBezTo>
                      <a:pt x="29" y="41"/>
                      <a:pt x="29" y="41"/>
                      <a:pt x="30" y="41"/>
                    </a:cubicBezTo>
                    <a:cubicBezTo>
                      <a:pt x="30" y="41"/>
                      <a:pt x="30" y="41"/>
                      <a:pt x="30" y="41"/>
                    </a:cubicBezTo>
                    <a:cubicBezTo>
                      <a:pt x="31" y="40"/>
                      <a:pt x="32" y="41"/>
                      <a:pt x="32" y="41"/>
                    </a:cubicBezTo>
                    <a:cubicBezTo>
                      <a:pt x="33" y="43"/>
                      <a:pt x="33" y="43"/>
                      <a:pt x="33" y="43"/>
                    </a:cubicBezTo>
                    <a:cubicBezTo>
                      <a:pt x="33" y="43"/>
                      <a:pt x="33" y="43"/>
                      <a:pt x="33" y="43"/>
                    </a:cubicBezTo>
                    <a:cubicBezTo>
                      <a:pt x="33" y="43"/>
                      <a:pt x="33" y="43"/>
                      <a:pt x="33" y="43"/>
                    </a:cubicBezTo>
                    <a:cubicBezTo>
                      <a:pt x="34" y="43"/>
                      <a:pt x="34" y="43"/>
                      <a:pt x="34" y="43"/>
                    </a:cubicBezTo>
                    <a:cubicBezTo>
                      <a:pt x="34" y="43"/>
                      <a:pt x="36" y="43"/>
                      <a:pt x="37" y="43"/>
                    </a:cubicBezTo>
                    <a:cubicBezTo>
                      <a:pt x="37" y="43"/>
                      <a:pt x="37" y="43"/>
                      <a:pt x="37" y="43"/>
                    </a:cubicBezTo>
                    <a:cubicBezTo>
                      <a:pt x="38" y="44"/>
                      <a:pt x="40" y="44"/>
                      <a:pt x="41" y="45"/>
                    </a:cubicBezTo>
                    <a:cubicBezTo>
                      <a:pt x="43" y="46"/>
                      <a:pt x="43" y="46"/>
                      <a:pt x="43" y="46"/>
                    </a:cubicBezTo>
                    <a:cubicBezTo>
                      <a:pt x="41" y="47"/>
                      <a:pt x="41" y="47"/>
                      <a:pt x="41" y="47"/>
                    </a:cubicBezTo>
                    <a:cubicBezTo>
                      <a:pt x="41" y="47"/>
                      <a:pt x="41" y="48"/>
                      <a:pt x="41" y="48"/>
                    </a:cubicBezTo>
                    <a:cubicBezTo>
                      <a:pt x="42" y="49"/>
                      <a:pt x="43" y="49"/>
                      <a:pt x="43" y="50"/>
                    </a:cubicBezTo>
                    <a:cubicBezTo>
                      <a:pt x="45" y="51"/>
                      <a:pt x="45" y="51"/>
                      <a:pt x="45" y="51"/>
                    </a:cubicBezTo>
                    <a:cubicBezTo>
                      <a:pt x="43" y="52"/>
                      <a:pt x="43" y="52"/>
                      <a:pt x="43" y="52"/>
                    </a:cubicBezTo>
                    <a:cubicBezTo>
                      <a:pt x="43" y="52"/>
                      <a:pt x="43" y="52"/>
                      <a:pt x="42" y="53"/>
                    </a:cubicBezTo>
                    <a:cubicBezTo>
                      <a:pt x="42" y="53"/>
                      <a:pt x="43" y="53"/>
                      <a:pt x="42" y="54"/>
                    </a:cubicBezTo>
                    <a:cubicBezTo>
                      <a:pt x="42" y="54"/>
                      <a:pt x="42" y="54"/>
                      <a:pt x="42" y="54"/>
                    </a:cubicBezTo>
                    <a:cubicBezTo>
                      <a:pt x="42" y="54"/>
                      <a:pt x="42" y="54"/>
                      <a:pt x="42" y="54"/>
                    </a:cubicBezTo>
                    <a:cubicBezTo>
                      <a:pt x="42" y="55"/>
                      <a:pt x="42" y="55"/>
                      <a:pt x="42" y="55"/>
                    </a:cubicBezTo>
                    <a:cubicBezTo>
                      <a:pt x="42" y="55"/>
                      <a:pt x="42" y="55"/>
                      <a:pt x="42" y="55"/>
                    </a:cubicBezTo>
                    <a:cubicBezTo>
                      <a:pt x="43" y="55"/>
                      <a:pt x="43" y="55"/>
                      <a:pt x="43" y="55"/>
                    </a:cubicBezTo>
                    <a:cubicBezTo>
                      <a:pt x="43" y="55"/>
                      <a:pt x="43" y="56"/>
                      <a:pt x="43" y="56"/>
                    </a:cubicBezTo>
                    <a:cubicBezTo>
                      <a:pt x="44" y="56"/>
                      <a:pt x="44" y="56"/>
                      <a:pt x="44" y="56"/>
                    </a:cubicBezTo>
                    <a:cubicBezTo>
                      <a:pt x="44" y="56"/>
                      <a:pt x="45" y="56"/>
                      <a:pt x="46" y="56"/>
                    </a:cubicBezTo>
                    <a:cubicBezTo>
                      <a:pt x="46" y="56"/>
                      <a:pt x="46" y="56"/>
                      <a:pt x="47" y="56"/>
                    </a:cubicBezTo>
                    <a:cubicBezTo>
                      <a:pt x="48" y="56"/>
                      <a:pt x="49" y="57"/>
                      <a:pt x="50" y="57"/>
                    </a:cubicBezTo>
                    <a:cubicBezTo>
                      <a:pt x="51" y="57"/>
                      <a:pt x="51" y="57"/>
                      <a:pt x="52" y="57"/>
                    </a:cubicBezTo>
                    <a:cubicBezTo>
                      <a:pt x="52" y="57"/>
                      <a:pt x="52" y="57"/>
                      <a:pt x="52" y="57"/>
                    </a:cubicBezTo>
                    <a:cubicBezTo>
                      <a:pt x="53" y="57"/>
                      <a:pt x="53" y="57"/>
                      <a:pt x="53" y="57"/>
                    </a:cubicBezTo>
                    <a:cubicBezTo>
                      <a:pt x="53" y="57"/>
                      <a:pt x="53" y="57"/>
                      <a:pt x="53" y="56"/>
                    </a:cubicBezTo>
                    <a:cubicBezTo>
                      <a:pt x="54" y="56"/>
                      <a:pt x="54" y="56"/>
                      <a:pt x="54" y="56"/>
                    </a:cubicBezTo>
                    <a:cubicBezTo>
                      <a:pt x="56" y="55"/>
                      <a:pt x="57" y="56"/>
                      <a:pt x="58" y="57"/>
                    </a:cubicBezTo>
                    <a:cubicBezTo>
                      <a:pt x="60" y="59"/>
                      <a:pt x="61" y="62"/>
                      <a:pt x="62" y="64"/>
                    </a:cubicBezTo>
                    <a:cubicBezTo>
                      <a:pt x="62" y="64"/>
                      <a:pt x="62" y="64"/>
                      <a:pt x="62" y="64"/>
                    </a:cubicBezTo>
                    <a:cubicBezTo>
                      <a:pt x="63" y="65"/>
                      <a:pt x="63" y="65"/>
                      <a:pt x="63" y="66"/>
                    </a:cubicBezTo>
                    <a:cubicBezTo>
                      <a:pt x="63" y="66"/>
                      <a:pt x="63" y="66"/>
                      <a:pt x="64" y="67"/>
                    </a:cubicBezTo>
                    <a:cubicBezTo>
                      <a:pt x="64" y="67"/>
                      <a:pt x="65" y="68"/>
                      <a:pt x="65" y="69"/>
                    </a:cubicBezTo>
                    <a:cubicBezTo>
                      <a:pt x="65" y="69"/>
                      <a:pt x="65" y="69"/>
                      <a:pt x="65" y="69"/>
                    </a:cubicBezTo>
                    <a:cubicBezTo>
                      <a:pt x="66" y="70"/>
                      <a:pt x="66" y="70"/>
                      <a:pt x="66" y="70"/>
                    </a:cubicBezTo>
                    <a:cubicBezTo>
                      <a:pt x="66" y="70"/>
                      <a:pt x="66" y="70"/>
                      <a:pt x="66" y="70"/>
                    </a:cubicBezTo>
                    <a:cubicBezTo>
                      <a:pt x="66" y="71"/>
                      <a:pt x="66" y="72"/>
                      <a:pt x="66" y="72"/>
                    </a:cubicBezTo>
                    <a:cubicBezTo>
                      <a:pt x="67" y="72"/>
                      <a:pt x="67" y="72"/>
                      <a:pt x="67" y="72"/>
                    </a:cubicBezTo>
                    <a:cubicBezTo>
                      <a:pt x="67" y="73"/>
                      <a:pt x="68" y="73"/>
                      <a:pt x="68" y="74"/>
                    </a:cubicBezTo>
                    <a:cubicBezTo>
                      <a:pt x="69" y="74"/>
                      <a:pt x="69" y="74"/>
                      <a:pt x="69" y="74"/>
                    </a:cubicBezTo>
                    <a:cubicBezTo>
                      <a:pt x="71" y="76"/>
                      <a:pt x="71" y="76"/>
                      <a:pt x="71" y="76"/>
                    </a:cubicBezTo>
                    <a:cubicBezTo>
                      <a:pt x="72" y="76"/>
                      <a:pt x="72" y="76"/>
                      <a:pt x="73" y="77"/>
                    </a:cubicBezTo>
                    <a:cubicBezTo>
                      <a:pt x="74" y="78"/>
                      <a:pt x="76" y="79"/>
                      <a:pt x="78" y="80"/>
                    </a:cubicBezTo>
                    <a:cubicBezTo>
                      <a:pt x="78" y="80"/>
                      <a:pt x="79" y="81"/>
                      <a:pt x="79" y="81"/>
                    </a:cubicBezTo>
                    <a:cubicBezTo>
                      <a:pt x="80" y="81"/>
                      <a:pt x="80" y="81"/>
                      <a:pt x="80" y="81"/>
                    </a:cubicBezTo>
                    <a:cubicBezTo>
                      <a:pt x="82" y="82"/>
                      <a:pt x="84" y="83"/>
                      <a:pt x="86" y="85"/>
                    </a:cubicBezTo>
                    <a:cubicBezTo>
                      <a:pt x="87" y="86"/>
                      <a:pt x="88" y="87"/>
                      <a:pt x="90" y="87"/>
                    </a:cubicBezTo>
                    <a:cubicBezTo>
                      <a:pt x="91" y="88"/>
                      <a:pt x="91" y="88"/>
                      <a:pt x="91" y="88"/>
                    </a:cubicBezTo>
                    <a:cubicBezTo>
                      <a:pt x="91" y="88"/>
                      <a:pt x="92" y="89"/>
                      <a:pt x="92" y="89"/>
                    </a:cubicBezTo>
                    <a:cubicBezTo>
                      <a:pt x="93" y="90"/>
                      <a:pt x="94" y="90"/>
                      <a:pt x="95" y="91"/>
                    </a:cubicBezTo>
                    <a:cubicBezTo>
                      <a:pt x="95" y="91"/>
                      <a:pt x="95" y="91"/>
                      <a:pt x="95" y="91"/>
                    </a:cubicBezTo>
                    <a:cubicBezTo>
                      <a:pt x="96" y="91"/>
                      <a:pt x="96" y="91"/>
                      <a:pt x="96" y="91"/>
                    </a:cubicBezTo>
                    <a:cubicBezTo>
                      <a:pt x="96" y="92"/>
                      <a:pt x="96" y="92"/>
                      <a:pt x="96" y="92"/>
                    </a:cubicBezTo>
                    <a:cubicBezTo>
                      <a:pt x="97" y="92"/>
                      <a:pt x="98" y="93"/>
                      <a:pt x="98" y="93"/>
                    </a:cubicBezTo>
                    <a:cubicBezTo>
                      <a:pt x="98" y="93"/>
                      <a:pt x="99" y="93"/>
                      <a:pt x="99" y="92"/>
                    </a:cubicBezTo>
                    <a:cubicBezTo>
                      <a:pt x="99" y="92"/>
                      <a:pt x="99" y="92"/>
                      <a:pt x="99" y="92"/>
                    </a:cubicBezTo>
                    <a:cubicBezTo>
                      <a:pt x="101" y="92"/>
                      <a:pt x="102" y="93"/>
                      <a:pt x="103" y="93"/>
                    </a:cubicBezTo>
                    <a:cubicBezTo>
                      <a:pt x="104" y="94"/>
                      <a:pt x="104" y="94"/>
                      <a:pt x="104" y="94"/>
                    </a:cubicBezTo>
                    <a:cubicBezTo>
                      <a:pt x="104" y="94"/>
                      <a:pt x="105" y="94"/>
                      <a:pt x="106" y="94"/>
                    </a:cubicBezTo>
                    <a:cubicBezTo>
                      <a:pt x="108" y="96"/>
                      <a:pt x="108" y="96"/>
                      <a:pt x="108" y="96"/>
                    </a:cubicBezTo>
                    <a:cubicBezTo>
                      <a:pt x="109" y="96"/>
                      <a:pt x="109" y="97"/>
                      <a:pt x="109" y="97"/>
                    </a:cubicBezTo>
                    <a:cubicBezTo>
                      <a:pt x="109" y="98"/>
                      <a:pt x="109" y="98"/>
                      <a:pt x="109" y="98"/>
                    </a:cubicBezTo>
                    <a:cubicBezTo>
                      <a:pt x="109" y="98"/>
                      <a:pt x="109" y="98"/>
                      <a:pt x="109" y="99"/>
                    </a:cubicBezTo>
                    <a:cubicBezTo>
                      <a:pt x="109" y="99"/>
                      <a:pt x="109" y="99"/>
                      <a:pt x="109" y="99"/>
                    </a:cubicBezTo>
                    <a:cubicBezTo>
                      <a:pt x="109" y="100"/>
                      <a:pt x="109" y="100"/>
                      <a:pt x="109" y="100"/>
                    </a:cubicBezTo>
                    <a:cubicBezTo>
                      <a:pt x="108" y="102"/>
                      <a:pt x="108" y="102"/>
                      <a:pt x="108" y="102"/>
                    </a:cubicBezTo>
                    <a:cubicBezTo>
                      <a:pt x="108" y="102"/>
                      <a:pt x="108" y="103"/>
                      <a:pt x="108" y="103"/>
                    </a:cubicBezTo>
                    <a:cubicBezTo>
                      <a:pt x="110" y="103"/>
                      <a:pt x="110" y="103"/>
                      <a:pt x="110" y="103"/>
                    </a:cubicBezTo>
                    <a:cubicBezTo>
                      <a:pt x="110" y="103"/>
                      <a:pt x="111" y="103"/>
                      <a:pt x="111" y="103"/>
                    </a:cubicBezTo>
                    <a:cubicBezTo>
                      <a:pt x="112" y="103"/>
                      <a:pt x="113" y="103"/>
                      <a:pt x="114" y="104"/>
                    </a:cubicBezTo>
                    <a:cubicBezTo>
                      <a:pt x="114" y="105"/>
                      <a:pt x="114" y="105"/>
                      <a:pt x="114" y="105"/>
                    </a:cubicBezTo>
                    <a:cubicBezTo>
                      <a:pt x="114" y="105"/>
                      <a:pt x="114" y="105"/>
                      <a:pt x="114" y="105"/>
                    </a:cubicBezTo>
                    <a:cubicBezTo>
                      <a:pt x="114" y="105"/>
                      <a:pt x="114" y="105"/>
                      <a:pt x="114" y="105"/>
                    </a:cubicBezTo>
                    <a:cubicBezTo>
                      <a:pt x="114" y="105"/>
                      <a:pt x="114" y="105"/>
                      <a:pt x="114" y="105"/>
                    </a:cubicBezTo>
                    <a:cubicBezTo>
                      <a:pt x="115" y="105"/>
                      <a:pt x="115" y="105"/>
                      <a:pt x="115" y="105"/>
                    </a:cubicBezTo>
                    <a:cubicBezTo>
                      <a:pt x="115" y="105"/>
                      <a:pt x="116" y="105"/>
                      <a:pt x="117" y="105"/>
                    </a:cubicBezTo>
                    <a:cubicBezTo>
                      <a:pt x="117" y="105"/>
                      <a:pt x="118" y="105"/>
                      <a:pt x="118" y="105"/>
                    </a:cubicBezTo>
                    <a:cubicBezTo>
                      <a:pt x="118" y="104"/>
                      <a:pt x="118" y="104"/>
                      <a:pt x="118" y="104"/>
                    </a:cubicBezTo>
                    <a:cubicBezTo>
                      <a:pt x="118" y="104"/>
                      <a:pt x="118" y="104"/>
                      <a:pt x="118" y="104"/>
                    </a:cubicBezTo>
                    <a:cubicBezTo>
                      <a:pt x="118" y="104"/>
                      <a:pt x="119" y="104"/>
                      <a:pt x="119" y="104"/>
                    </a:cubicBezTo>
                    <a:cubicBezTo>
                      <a:pt x="119" y="104"/>
                      <a:pt x="119" y="104"/>
                      <a:pt x="119" y="104"/>
                    </a:cubicBezTo>
                    <a:cubicBezTo>
                      <a:pt x="119" y="104"/>
                      <a:pt x="118" y="103"/>
                      <a:pt x="118" y="103"/>
                    </a:cubicBezTo>
                    <a:cubicBezTo>
                      <a:pt x="119" y="103"/>
                      <a:pt x="119" y="103"/>
                      <a:pt x="119" y="103"/>
                    </a:cubicBezTo>
                    <a:cubicBezTo>
                      <a:pt x="119" y="102"/>
                      <a:pt x="119" y="102"/>
                      <a:pt x="119" y="102"/>
                    </a:cubicBezTo>
                    <a:cubicBezTo>
                      <a:pt x="119" y="102"/>
                      <a:pt x="119" y="102"/>
                      <a:pt x="119" y="102"/>
                    </a:cubicBezTo>
                    <a:cubicBezTo>
                      <a:pt x="119" y="101"/>
                      <a:pt x="120" y="101"/>
                      <a:pt x="120" y="100"/>
                    </a:cubicBezTo>
                    <a:cubicBezTo>
                      <a:pt x="121" y="100"/>
                      <a:pt x="121" y="100"/>
                      <a:pt x="121" y="100"/>
                    </a:cubicBezTo>
                    <a:cubicBezTo>
                      <a:pt x="121" y="99"/>
                      <a:pt x="121" y="99"/>
                      <a:pt x="121" y="99"/>
                    </a:cubicBezTo>
                    <a:cubicBezTo>
                      <a:pt x="121" y="99"/>
                      <a:pt x="121" y="99"/>
                      <a:pt x="121" y="99"/>
                    </a:cubicBezTo>
                    <a:cubicBezTo>
                      <a:pt x="124" y="96"/>
                      <a:pt x="124" y="95"/>
                      <a:pt x="124" y="94"/>
                    </a:cubicBezTo>
                    <a:cubicBezTo>
                      <a:pt x="124" y="94"/>
                      <a:pt x="124" y="94"/>
                      <a:pt x="124" y="94"/>
                    </a:cubicBezTo>
                    <a:cubicBezTo>
                      <a:pt x="124" y="94"/>
                      <a:pt x="124" y="94"/>
                      <a:pt x="123" y="94"/>
                    </a:cubicBezTo>
                    <a:cubicBezTo>
                      <a:pt x="123" y="94"/>
                      <a:pt x="123" y="93"/>
                      <a:pt x="123" y="93"/>
                    </a:cubicBezTo>
                    <a:cubicBezTo>
                      <a:pt x="123" y="93"/>
                      <a:pt x="123" y="93"/>
                      <a:pt x="123" y="93"/>
                    </a:cubicBezTo>
                    <a:cubicBezTo>
                      <a:pt x="123" y="93"/>
                      <a:pt x="122" y="93"/>
                      <a:pt x="122" y="93"/>
                    </a:cubicBezTo>
                    <a:cubicBezTo>
                      <a:pt x="122" y="92"/>
                      <a:pt x="122" y="92"/>
                      <a:pt x="122" y="91"/>
                    </a:cubicBezTo>
                    <a:cubicBezTo>
                      <a:pt x="122" y="91"/>
                      <a:pt x="122" y="90"/>
                      <a:pt x="122" y="90"/>
                    </a:cubicBezTo>
                    <a:cubicBezTo>
                      <a:pt x="122" y="89"/>
                      <a:pt x="122" y="89"/>
                      <a:pt x="122" y="89"/>
                    </a:cubicBezTo>
                    <a:cubicBezTo>
                      <a:pt x="122" y="87"/>
                      <a:pt x="122" y="86"/>
                      <a:pt x="122" y="86"/>
                    </a:cubicBezTo>
                    <a:cubicBezTo>
                      <a:pt x="122" y="86"/>
                      <a:pt x="121" y="86"/>
                      <a:pt x="120" y="86"/>
                    </a:cubicBezTo>
                    <a:cubicBezTo>
                      <a:pt x="118" y="86"/>
                      <a:pt x="118" y="86"/>
                      <a:pt x="116" y="84"/>
                    </a:cubicBezTo>
                    <a:cubicBezTo>
                      <a:pt x="116" y="84"/>
                      <a:pt x="116" y="84"/>
                      <a:pt x="116" y="84"/>
                    </a:cubicBezTo>
                    <a:cubicBezTo>
                      <a:pt x="115" y="84"/>
                      <a:pt x="115" y="84"/>
                      <a:pt x="115" y="84"/>
                    </a:cubicBezTo>
                    <a:cubicBezTo>
                      <a:pt x="115" y="83"/>
                      <a:pt x="115" y="83"/>
                      <a:pt x="115" y="83"/>
                    </a:cubicBezTo>
                    <a:cubicBezTo>
                      <a:pt x="114" y="82"/>
                      <a:pt x="114" y="81"/>
                      <a:pt x="114" y="81"/>
                    </a:cubicBezTo>
                    <a:cubicBezTo>
                      <a:pt x="114" y="80"/>
                      <a:pt x="114" y="80"/>
                      <a:pt x="114" y="80"/>
                    </a:cubicBezTo>
                    <a:cubicBezTo>
                      <a:pt x="114" y="79"/>
                      <a:pt x="115" y="78"/>
                      <a:pt x="116" y="77"/>
                    </a:cubicBezTo>
                    <a:cubicBezTo>
                      <a:pt x="116" y="77"/>
                      <a:pt x="116" y="77"/>
                      <a:pt x="116" y="77"/>
                    </a:cubicBezTo>
                    <a:cubicBezTo>
                      <a:pt x="117" y="77"/>
                      <a:pt x="117" y="76"/>
                      <a:pt x="118" y="76"/>
                    </a:cubicBezTo>
                    <a:cubicBezTo>
                      <a:pt x="118" y="76"/>
                      <a:pt x="118" y="76"/>
                      <a:pt x="118" y="76"/>
                    </a:cubicBezTo>
                    <a:cubicBezTo>
                      <a:pt x="118" y="76"/>
                      <a:pt x="119" y="76"/>
                      <a:pt x="119" y="76"/>
                    </a:cubicBezTo>
                    <a:cubicBezTo>
                      <a:pt x="119" y="76"/>
                      <a:pt x="120" y="76"/>
                      <a:pt x="120" y="76"/>
                    </a:cubicBezTo>
                    <a:cubicBezTo>
                      <a:pt x="121" y="76"/>
                      <a:pt x="122" y="77"/>
                      <a:pt x="124" y="77"/>
                    </a:cubicBezTo>
                    <a:cubicBezTo>
                      <a:pt x="124" y="77"/>
                      <a:pt x="125" y="77"/>
                      <a:pt x="125" y="77"/>
                    </a:cubicBezTo>
                    <a:cubicBezTo>
                      <a:pt x="125" y="77"/>
                      <a:pt x="125" y="77"/>
                      <a:pt x="126" y="77"/>
                    </a:cubicBezTo>
                    <a:cubicBezTo>
                      <a:pt x="126" y="77"/>
                      <a:pt x="126" y="77"/>
                      <a:pt x="126" y="77"/>
                    </a:cubicBezTo>
                    <a:cubicBezTo>
                      <a:pt x="126" y="77"/>
                      <a:pt x="126" y="77"/>
                      <a:pt x="126" y="77"/>
                    </a:cubicBezTo>
                    <a:cubicBezTo>
                      <a:pt x="126" y="77"/>
                      <a:pt x="126" y="76"/>
                      <a:pt x="127" y="75"/>
                    </a:cubicBezTo>
                    <a:cubicBezTo>
                      <a:pt x="127" y="75"/>
                      <a:pt x="127" y="75"/>
                      <a:pt x="127" y="75"/>
                    </a:cubicBezTo>
                    <a:cubicBezTo>
                      <a:pt x="127" y="74"/>
                      <a:pt x="127" y="73"/>
                      <a:pt x="128" y="73"/>
                    </a:cubicBezTo>
                    <a:cubicBezTo>
                      <a:pt x="128" y="73"/>
                      <a:pt x="128" y="72"/>
                      <a:pt x="128" y="72"/>
                    </a:cubicBezTo>
                    <a:cubicBezTo>
                      <a:pt x="128" y="72"/>
                      <a:pt x="127" y="72"/>
                      <a:pt x="127" y="71"/>
                    </a:cubicBezTo>
                    <a:cubicBezTo>
                      <a:pt x="126" y="69"/>
                      <a:pt x="126" y="69"/>
                      <a:pt x="126" y="69"/>
                    </a:cubicBezTo>
                    <a:cubicBezTo>
                      <a:pt x="132" y="69"/>
                      <a:pt x="132" y="69"/>
                      <a:pt x="132" y="69"/>
                    </a:cubicBezTo>
                    <a:cubicBezTo>
                      <a:pt x="132" y="69"/>
                      <a:pt x="133" y="69"/>
                      <a:pt x="133" y="69"/>
                    </a:cubicBezTo>
                    <a:cubicBezTo>
                      <a:pt x="133" y="68"/>
                      <a:pt x="132" y="67"/>
                      <a:pt x="133" y="66"/>
                    </a:cubicBezTo>
                    <a:cubicBezTo>
                      <a:pt x="133" y="65"/>
                      <a:pt x="133" y="64"/>
                      <a:pt x="134" y="64"/>
                    </a:cubicBezTo>
                    <a:cubicBezTo>
                      <a:pt x="134" y="63"/>
                      <a:pt x="134" y="63"/>
                      <a:pt x="134" y="63"/>
                    </a:cubicBezTo>
                    <a:cubicBezTo>
                      <a:pt x="134" y="63"/>
                      <a:pt x="134" y="63"/>
                      <a:pt x="134" y="63"/>
                    </a:cubicBezTo>
                    <a:cubicBezTo>
                      <a:pt x="134" y="62"/>
                      <a:pt x="134" y="62"/>
                      <a:pt x="134" y="62"/>
                    </a:cubicBezTo>
                    <a:cubicBezTo>
                      <a:pt x="135" y="62"/>
                      <a:pt x="135" y="62"/>
                      <a:pt x="135" y="62"/>
                    </a:cubicBezTo>
                    <a:cubicBezTo>
                      <a:pt x="135" y="62"/>
                      <a:pt x="135" y="62"/>
                      <a:pt x="135" y="62"/>
                    </a:cubicBezTo>
                    <a:cubicBezTo>
                      <a:pt x="135" y="62"/>
                      <a:pt x="136" y="62"/>
                      <a:pt x="136" y="62"/>
                    </a:cubicBezTo>
                    <a:cubicBezTo>
                      <a:pt x="136" y="62"/>
                      <a:pt x="136" y="62"/>
                      <a:pt x="136" y="62"/>
                    </a:cubicBezTo>
                    <a:cubicBezTo>
                      <a:pt x="136" y="62"/>
                      <a:pt x="136" y="63"/>
                      <a:pt x="137" y="63"/>
                    </a:cubicBezTo>
                    <a:cubicBezTo>
                      <a:pt x="137" y="63"/>
                      <a:pt x="137" y="63"/>
                      <a:pt x="137" y="63"/>
                    </a:cubicBezTo>
                    <a:cubicBezTo>
                      <a:pt x="137" y="63"/>
                      <a:pt x="137" y="63"/>
                      <a:pt x="137" y="63"/>
                    </a:cubicBezTo>
                    <a:cubicBezTo>
                      <a:pt x="138" y="63"/>
                      <a:pt x="138" y="63"/>
                      <a:pt x="138" y="63"/>
                    </a:cubicBezTo>
                    <a:cubicBezTo>
                      <a:pt x="138" y="63"/>
                      <a:pt x="138" y="63"/>
                      <a:pt x="139" y="63"/>
                    </a:cubicBezTo>
                    <a:cubicBezTo>
                      <a:pt x="139" y="64"/>
                      <a:pt x="139" y="64"/>
                      <a:pt x="139" y="64"/>
                    </a:cubicBezTo>
                    <a:cubicBezTo>
                      <a:pt x="139" y="64"/>
                      <a:pt x="139" y="64"/>
                      <a:pt x="139" y="64"/>
                    </a:cubicBezTo>
                    <a:cubicBezTo>
                      <a:pt x="139" y="63"/>
                      <a:pt x="139" y="63"/>
                      <a:pt x="140" y="63"/>
                    </a:cubicBezTo>
                    <a:cubicBezTo>
                      <a:pt x="140" y="63"/>
                      <a:pt x="141" y="63"/>
                      <a:pt x="141" y="62"/>
                    </a:cubicBezTo>
                    <a:cubicBezTo>
                      <a:pt x="141" y="62"/>
                      <a:pt x="141" y="62"/>
                      <a:pt x="141" y="62"/>
                    </a:cubicBezTo>
                    <a:cubicBezTo>
                      <a:pt x="142" y="62"/>
                      <a:pt x="142" y="62"/>
                      <a:pt x="142" y="62"/>
                    </a:cubicBezTo>
                    <a:cubicBezTo>
                      <a:pt x="142" y="62"/>
                      <a:pt x="143" y="62"/>
                      <a:pt x="143" y="61"/>
                    </a:cubicBezTo>
                    <a:cubicBezTo>
                      <a:pt x="144" y="61"/>
                      <a:pt x="144" y="61"/>
                      <a:pt x="144" y="61"/>
                    </a:cubicBezTo>
                    <a:cubicBezTo>
                      <a:pt x="144" y="61"/>
                      <a:pt x="144" y="61"/>
                      <a:pt x="144" y="60"/>
                    </a:cubicBezTo>
                    <a:cubicBezTo>
                      <a:pt x="144" y="60"/>
                      <a:pt x="145" y="60"/>
                      <a:pt x="145" y="60"/>
                    </a:cubicBezTo>
                    <a:cubicBezTo>
                      <a:pt x="145" y="60"/>
                      <a:pt x="145" y="59"/>
                      <a:pt x="146" y="59"/>
                    </a:cubicBezTo>
                    <a:cubicBezTo>
                      <a:pt x="146" y="59"/>
                      <a:pt x="146" y="59"/>
                      <a:pt x="146" y="59"/>
                    </a:cubicBezTo>
                    <a:cubicBezTo>
                      <a:pt x="147" y="59"/>
                      <a:pt x="147" y="59"/>
                      <a:pt x="147" y="59"/>
                    </a:cubicBezTo>
                    <a:cubicBezTo>
                      <a:pt x="152" y="64"/>
                      <a:pt x="152" y="64"/>
                      <a:pt x="152" y="64"/>
                    </a:cubicBezTo>
                    <a:cubicBezTo>
                      <a:pt x="151" y="65"/>
                      <a:pt x="151" y="65"/>
                      <a:pt x="151" y="65"/>
                    </a:cubicBezTo>
                    <a:cubicBezTo>
                      <a:pt x="150" y="66"/>
                      <a:pt x="149" y="67"/>
                      <a:pt x="148" y="68"/>
                    </a:cubicBezTo>
                    <a:cubicBezTo>
                      <a:pt x="148" y="68"/>
                      <a:pt x="149" y="68"/>
                      <a:pt x="149" y="69"/>
                    </a:cubicBezTo>
                    <a:cubicBezTo>
                      <a:pt x="149" y="69"/>
                      <a:pt x="150" y="69"/>
                      <a:pt x="150" y="69"/>
                    </a:cubicBezTo>
                    <a:cubicBezTo>
                      <a:pt x="150" y="69"/>
                      <a:pt x="150" y="69"/>
                      <a:pt x="150" y="69"/>
                    </a:cubicBezTo>
                    <a:cubicBezTo>
                      <a:pt x="151" y="69"/>
                      <a:pt x="151" y="69"/>
                      <a:pt x="151" y="69"/>
                    </a:cubicBezTo>
                    <a:cubicBezTo>
                      <a:pt x="152" y="68"/>
                      <a:pt x="152" y="68"/>
                      <a:pt x="152" y="68"/>
                    </a:cubicBezTo>
                    <a:cubicBezTo>
                      <a:pt x="152" y="68"/>
                      <a:pt x="152" y="68"/>
                      <a:pt x="152" y="68"/>
                    </a:cubicBezTo>
                    <a:cubicBezTo>
                      <a:pt x="152" y="68"/>
                      <a:pt x="152" y="68"/>
                      <a:pt x="153" y="68"/>
                    </a:cubicBezTo>
                    <a:cubicBezTo>
                      <a:pt x="153" y="68"/>
                      <a:pt x="153" y="68"/>
                      <a:pt x="153" y="68"/>
                    </a:cubicBezTo>
                    <a:cubicBezTo>
                      <a:pt x="154" y="68"/>
                      <a:pt x="154" y="68"/>
                      <a:pt x="155" y="68"/>
                    </a:cubicBezTo>
                    <a:cubicBezTo>
                      <a:pt x="156" y="68"/>
                      <a:pt x="156" y="68"/>
                      <a:pt x="156" y="68"/>
                    </a:cubicBezTo>
                    <a:cubicBezTo>
                      <a:pt x="156" y="68"/>
                      <a:pt x="156" y="68"/>
                      <a:pt x="157" y="68"/>
                    </a:cubicBezTo>
                    <a:cubicBezTo>
                      <a:pt x="157" y="68"/>
                      <a:pt x="157" y="68"/>
                      <a:pt x="158" y="69"/>
                    </a:cubicBezTo>
                    <a:cubicBezTo>
                      <a:pt x="158" y="69"/>
                      <a:pt x="158" y="69"/>
                      <a:pt x="159" y="69"/>
                    </a:cubicBezTo>
                    <a:cubicBezTo>
                      <a:pt x="160" y="70"/>
                      <a:pt x="160" y="69"/>
                      <a:pt x="161" y="69"/>
                    </a:cubicBezTo>
                    <a:cubicBezTo>
                      <a:pt x="161" y="69"/>
                      <a:pt x="161" y="69"/>
                      <a:pt x="161" y="69"/>
                    </a:cubicBezTo>
                    <a:cubicBezTo>
                      <a:pt x="161" y="69"/>
                      <a:pt x="161" y="69"/>
                      <a:pt x="161" y="69"/>
                    </a:cubicBezTo>
                    <a:cubicBezTo>
                      <a:pt x="162" y="69"/>
                      <a:pt x="162" y="69"/>
                      <a:pt x="162" y="68"/>
                    </a:cubicBezTo>
                    <a:cubicBezTo>
                      <a:pt x="162" y="68"/>
                      <a:pt x="162" y="68"/>
                      <a:pt x="162" y="68"/>
                    </a:cubicBezTo>
                    <a:cubicBezTo>
                      <a:pt x="162" y="67"/>
                      <a:pt x="162" y="67"/>
                      <a:pt x="163" y="67"/>
                    </a:cubicBezTo>
                    <a:cubicBezTo>
                      <a:pt x="163" y="66"/>
                      <a:pt x="163" y="66"/>
                      <a:pt x="163" y="66"/>
                    </a:cubicBezTo>
                    <a:cubicBezTo>
                      <a:pt x="163" y="66"/>
                      <a:pt x="163" y="66"/>
                      <a:pt x="164" y="66"/>
                    </a:cubicBezTo>
                    <a:cubicBezTo>
                      <a:pt x="164" y="66"/>
                      <a:pt x="164" y="66"/>
                      <a:pt x="164" y="66"/>
                    </a:cubicBezTo>
                    <a:cubicBezTo>
                      <a:pt x="164" y="67"/>
                      <a:pt x="164" y="67"/>
                      <a:pt x="164" y="67"/>
                    </a:cubicBezTo>
                    <a:cubicBezTo>
                      <a:pt x="164" y="66"/>
                      <a:pt x="164" y="66"/>
                      <a:pt x="164" y="66"/>
                    </a:cubicBezTo>
                    <a:cubicBezTo>
                      <a:pt x="164" y="66"/>
                      <a:pt x="164" y="66"/>
                      <a:pt x="164" y="66"/>
                    </a:cubicBezTo>
                    <a:cubicBezTo>
                      <a:pt x="164" y="66"/>
                      <a:pt x="164" y="66"/>
                      <a:pt x="164" y="66"/>
                    </a:cubicBezTo>
                    <a:cubicBezTo>
                      <a:pt x="165" y="66"/>
                      <a:pt x="165" y="66"/>
                      <a:pt x="165" y="66"/>
                    </a:cubicBezTo>
                    <a:cubicBezTo>
                      <a:pt x="165" y="66"/>
                      <a:pt x="165" y="66"/>
                      <a:pt x="165" y="66"/>
                    </a:cubicBezTo>
                    <a:cubicBezTo>
                      <a:pt x="165" y="66"/>
                      <a:pt x="165" y="66"/>
                      <a:pt x="165" y="66"/>
                    </a:cubicBezTo>
                    <a:cubicBezTo>
                      <a:pt x="165" y="65"/>
                      <a:pt x="165" y="64"/>
                      <a:pt x="166" y="64"/>
                    </a:cubicBezTo>
                    <a:cubicBezTo>
                      <a:pt x="166" y="64"/>
                      <a:pt x="166" y="64"/>
                      <a:pt x="166" y="64"/>
                    </a:cubicBezTo>
                    <a:cubicBezTo>
                      <a:pt x="167" y="64"/>
                      <a:pt x="167" y="64"/>
                      <a:pt x="167" y="64"/>
                    </a:cubicBezTo>
                    <a:cubicBezTo>
                      <a:pt x="168" y="64"/>
                      <a:pt x="168" y="64"/>
                      <a:pt x="168" y="64"/>
                    </a:cubicBezTo>
                    <a:cubicBezTo>
                      <a:pt x="168" y="65"/>
                      <a:pt x="168" y="65"/>
                      <a:pt x="168" y="65"/>
                    </a:cubicBezTo>
                    <a:cubicBezTo>
                      <a:pt x="168" y="65"/>
                      <a:pt x="169" y="65"/>
                      <a:pt x="169" y="65"/>
                    </a:cubicBezTo>
                    <a:cubicBezTo>
                      <a:pt x="169" y="65"/>
                      <a:pt x="169" y="65"/>
                      <a:pt x="169" y="65"/>
                    </a:cubicBezTo>
                    <a:cubicBezTo>
                      <a:pt x="169" y="65"/>
                      <a:pt x="169" y="65"/>
                      <a:pt x="169" y="65"/>
                    </a:cubicBezTo>
                    <a:cubicBezTo>
                      <a:pt x="169" y="64"/>
                      <a:pt x="169" y="64"/>
                      <a:pt x="169" y="64"/>
                    </a:cubicBezTo>
                    <a:cubicBezTo>
                      <a:pt x="170" y="64"/>
                      <a:pt x="170" y="64"/>
                      <a:pt x="170" y="64"/>
                    </a:cubicBezTo>
                    <a:cubicBezTo>
                      <a:pt x="170" y="64"/>
                      <a:pt x="170" y="64"/>
                      <a:pt x="170" y="64"/>
                    </a:cubicBezTo>
                    <a:cubicBezTo>
                      <a:pt x="169" y="63"/>
                      <a:pt x="169" y="63"/>
                      <a:pt x="168" y="63"/>
                    </a:cubicBezTo>
                    <a:cubicBezTo>
                      <a:pt x="168" y="63"/>
                      <a:pt x="168" y="63"/>
                      <a:pt x="168" y="63"/>
                    </a:cubicBezTo>
                    <a:cubicBezTo>
                      <a:pt x="168" y="63"/>
                      <a:pt x="168" y="63"/>
                      <a:pt x="168" y="63"/>
                    </a:cubicBezTo>
                    <a:cubicBezTo>
                      <a:pt x="167" y="62"/>
                      <a:pt x="167" y="62"/>
                      <a:pt x="167" y="62"/>
                    </a:cubicBezTo>
                    <a:cubicBezTo>
                      <a:pt x="167" y="62"/>
                      <a:pt x="167" y="62"/>
                      <a:pt x="167" y="62"/>
                    </a:cubicBezTo>
                    <a:cubicBezTo>
                      <a:pt x="166" y="62"/>
                      <a:pt x="166" y="62"/>
                      <a:pt x="166" y="62"/>
                    </a:cubicBezTo>
                    <a:cubicBezTo>
                      <a:pt x="166" y="63"/>
                      <a:pt x="166" y="63"/>
                      <a:pt x="166" y="63"/>
                    </a:cubicBezTo>
                    <a:cubicBezTo>
                      <a:pt x="166" y="62"/>
                      <a:pt x="166" y="62"/>
                      <a:pt x="166" y="62"/>
                    </a:cubicBezTo>
                    <a:cubicBezTo>
                      <a:pt x="166" y="62"/>
                      <a:pt x="166" y="62"/>
                      <a:pt x="166" y="62"/>
                    </a:cubicBezTo>
                    <a:cubicBezTo>
                      <a:pt x="166" y="62"/>
                      <a:pt x="165" y="62"/>
                      <a:pt x="165" y="62"/>
                    </a:cubicBezTo>
                    <a:cubicBezTo>
                      <a:pt x="165" y="62"/>
                      <a:pt x="165" y="62"/>
                      <a:pt x="165" y="62"/>
                    </a:cubicBezTo>
                    <a:cubicBezTo>
                      <a:pt x="163" y="62"/>
                      <a:pt x="163" y="62"/>
                      <a:pt x="163" y="62"/>
                    </a:cubicBezTo>
                    <a:cubicBezTo>
                      <a:pt x="163" y="61"/>
                      <a:pt x="163" y="61"/>
                      <a:pt x="163" y="61"/>
                    </a:cubicBezTo>
                    <a:cubicBezTo>
                      <a:pt x="163" y="61"/>
                      <a:pt x="163" y="60"/>
                      <a:pt x="163" y="60"/>
                    </a:cubicBezTo>
                    <a:cubicBezTo>
                      <a:pt x="163" y="60"/>
                      <a:pt x="163" y="60"/>
                      <a:pt x="163" y="59"/>
                    </a:cubicBezTo>
                    <a:cubicBezTo>
                      <a:pt x="163" y="59"/>
                      <a:pt x="163" y="60"/>
                      <a:pt x="163" y="60"/>
                    </a:cubicBezTo>
                    <a:cubicBezTo>
                      <a:pt x="162" y="60"/>
                      <a:pt x="162" y="60"/>
                      <a:pt x="162" y="60"/>
                    </a:cubicBezTo>
                    <a:cubicBezTo>
                      <a:pt x="162" y="60"/>
                      <a:pt x="162" y="60"/>
                      <a:pt x="162" y="60"/>
                    </a:cubicBezTo>
                    <a:cubicBezTo>
                      <a:pt x="162" y="59"/>
                      <a:pt x="161" y="59"/>
                      <a:pt x="161" y="59"/>
                    </a:cubicBezTo>
                    <a:cubicBezTo>
                      <a:pt x="161" y="59"/>
                      <a:pt x="161" y="58"/>
                      <a:pt x="160" y="58"/>
                    </a:cubicBezTo>
                    <a:cubicBezTo>
                      <a:pt x="160" y="57"/>
                      <a:pt x="160" y="57"/>
                      <a:pt x="160" y="57"/>
                    </a:cubicBezTo>
                    <a:cubicBezTo>
                      <a:pt x="160" y="58"/>
                      <a:pt x="160" y="58"/>
                      <a:pt x="160" y="58"/>
                    </a:cubicBezTo>
                    <a:cubicBezTo>
                      <a:pt x="158" y="58"/>
                      <a:pt x="158" y="58"/>
                      <a:pt x="158" y="58"/>
                    </a:cubicBezTo>
                    <a:cubicBezTo>
                      <a:pt x="158" y="58"/>
                      <a:pt x="158" y="58"/>
                      <a:pt x="158" y="58"/>
                    </a:cubicBezTo>
                    <a:cubicBezTo>
                      <a:pt x="158" y="58"/>
                      <a:pt x="158" y="58"/>
                      <a:pt x="158" y="58"/>
                    </a:cubicBezTo>
                    <a:cubicBezTo>
                      <a:pt x="158" y="59"/>
                      <a:pt x="158" y="59"/>
                      <a:pt x="158" y="59"/>
                    </a:cubicBezTo>
                    <a:cubicBezTo>
                      <a:pt x="158" y="60"/>
                      <a:pt x="158" y="60"/>
                      <a:pt x="158" y="60"/>
                    </a:cubicBezTo>
                    <a:cubicBezTo>
                      <a:pt x="156" y="60"/>
                      <a:pt x="156" y="60"/>
                      <a:pt x="156" y="60"/>
                    </a:cubicBezTo>
                    <a:cubicBezTo>
                      <a:pt x="156" y="60"/>
                      <a:pt x="156" y="60"/>
                      <a:pt x="156" y="60"/>
                    </a:cubicBezTo>
                    <a:cubicBezTo>
                      <a:pt x="156" y="60"/>
                      <a:pt x="155" y="60"/>
                      <a:pt x="155" y="60"/>
                    </a:cubicBezTo>
                    <a:cubicBezTo>
                      <a:pt x="155" y="60"/>
                      <a:pt x="155" y="60"/>
                      <a:pt x="155" y="60"/>
                    </a:cubicBezTo>
                    <a:cubicBezTo>
                      <a:pt x="154" y="60"/>
                      <a:pt x="154" y="60"/>
                      <a:pt x="154" y="60"/>
                    </a:cubicBezTo>
                    <a:cubicBezTo>
                      <a:pt x="153" y="60"/>
                      <a:pt x="151" y="59"/>
                      <a:pt x="150" y="59"/>
                    </a:cubicBezTo>
                    <a:cubicBezTo>
                      <a:pt x="149" y="58"/>
                      <a:pt x="149" y="58"/>
                      <a:pt x="148" y="57"/>
                    </a:cubicBezTo>
                    <a:cubicBezTo>
                      <a:pt x="148" y="57"/>
                      <a:pt x="148" y="57"/>
                      <a:pt x="148" y="56"/>
                    </a:cubicBezTo>
                    <a:cubicBezTo>
                      <a:pt x="148" y="57"/>
                      <a:pt x="148" y="57"/>
                      <a:pt x="148" y="57"/>
                    </a:cubicBezTo>
                    <a:cubicBezTo>
                      <a:pt x="147" y="57"/>
                      <a:pt x="146" y="57"/>
                      <a:pt x="145" y="56"/>
                    </a:cubicBezTo>
                    <a:cubicBezTo>
                      <a:pt x="145" y="56"/>
                      <a:pt x="145" y="56"/>
                      <a:pt x="145" y="56"/>
                    </a:cubicBezTo>
                    <a:cubicBezTo>
                      <a:pt x="145" y="56"/>
                      <a:pt x="145" y="56"/>
                      <a:pt x="145" y="56"/>
                    </a:cubicBezTo>
                    <a:cubicBezTo>
                      <a:pt x="145" y="56"/>
                      <a:pt x="145" y="56"/>
                      <a:pt x="145" y="56"/>
                    </a:cubicBezTo>
                    <a:cubicBezTo>
                      <a:pt x="144" y="56"/>
                      <a:pt x="144" y="56"/>
                      <a:pt x="144" y="56"/>
                    </a:cubicBezTo>
                    <a:cubicBezTo>
                      <a:pt x="143" y="55"/>
                      <a:pt x="143" y="55"/>
                      <a:pt x="143" y="55"/>
                    </a:cubicBezTo>
                    <a:cubicBezTo>
                      <a:pt x="143" y="55"/>
                      <a:pt x="143" y="55"/>
                      <a:pt x="143" y="55"/>
                    </a:cubicBezTo>
                    <a:cubicBezTo>
                      <a:pt x="142" y="53"/>
                      <a:pt x="143" y="53"/>
                      <a:pt x="144" y="52"/>
                    </a:cubicBezTo>
                    <a:cubicBezTo>
                      <a:pt x="145" y="51"/>
                      <a:pt x="146" y="50"/>
                      <a:pt x="148" y="49"/>
                    </a:cubicBezTo>
                    <a:cubicBezTo>
                      <a:pt x="142" y="52"/>
                      <a:pt x="142" y="52"/>
                      <a:pt x="142" y="52"/>
                    </a:cubicBezTo>
                    <a:cubicBezTo>
                      <a:pt x="141" y="53"/>
                      <a:pt x="139" y="54"/>
                      <a:pt x="138" y="55"/>
                    </a:cubicBezTo>
                    <a:cubicBezTo>
                      <a:pt x="138" y="55"/>
                      <a:pt x="138" y="55"/>
                      <a:pt x="138" y="55"/>
                    </a:cubicBezTo>
                    <a:cubicBezTo>
                      <a:pt x="137" y="56"/>
                      <a:pt x="136" y="56"/>
                      <a:pt x="135" y="57"/>
                    </a:cubicBezTo>
                    <a:cubicBezTo>
                      <a:pt x="137" y="59"/>
                      <a:pt x="137" y="59"/>
                      <a:pt x="137" y="59"/>
                    </a:cubicBezTo>
                    <a:cubicBezTo>
                      <a:pt x="135" y="57"/>
                      <a:pt x="135" y="57"/>
                      <a:pt x="135" y="57"/>
                    </a:cubicBezTo>
                    <a:cubicBezTo>
                      <a:pt x="135" y="57"/>
                      <a:pt x="135" y="57"/>
                      <a:pt x="135" y="57"/>
                    </a:cubicBezTo>
                    <a:cubicBezTo>
                      <a:pt x="134" y="57"/>
                      <a:pt x="134" y="58"/>
                      <a:pt x="133" y="58"/>
                    </a:cubicBezTo>
                    <a:cubicBezTo>
                      <a:pt x="133" y="59"/>
                      <a:pt x="133" y="59"/>
                      <a:pt x="132" y="59"/>
                    </a:cubicBezTo>
                    <a:cubicBezTo>
                      <a:pt x="131" y="60"/>
                      <a:pt x="131" y="60"/>
                      <a:pt x="131" y="60"/>
                    </a:cubicBezTo>
                    <a:cubicBezTo>
                      <a:pt x="130" y="61"/>
                      <a:pt x="129" y="62"/>
                      <a:pt x="129" y="62"/>
                    </a:cubicBezTo>
                    <a:cubicBezTo>
                      <a:pt x="129" y="63"/>
                      <a:pt x="129" y="63"/>
                      <a:pt x="129" y="63"/>
                    </a:cubicBezTo>
                    <a:cubicBezTo>
                      <a:pt x="129" y="63"/>
                      <a:pt x="129" y="63"/>
                      <a:pt x="129" y="63"/>
                    </a:cubicBezTo>
                    <a:cubicBezTo>
                      <a:pt x="129" y="64"/>
                      <a:pt x="129" y="65"/>
                      <a:pt x="128" y="66"/>
                    </a:cubicBezTo>
                    <a:cubicBezTo>
                      <a:pt x="128" y="66"/>
                      <a:pt x="128" y="67"/>
                      <a:pt x="128" y="67"/>
                    </a:cubicBezTo>
                    <a:cubicBezTo>
                      <a:pt x="128" y="67"/>
                      <a:pt x="128" y="67"/>
                      <a:pt x="128" y="67"/>
                    </a:cubicBezTo>
                    <a:cubicBezTo>
                      <a:pt x="127" y="66"/>
                      <a:pt x="127" y="66"/>
                      <a:pt x="127" y="66"/>
                    </a:cubicBezTo>
                    <a:cubicBezTo>
                      <a:pt x="127" y="67"/>
                      <a:pt x="127" y="67"/>
                      <a:pt x="127" y="67"/>
                    </a:cubicBezTo>
                    <a:cubicBezTo>
                      <a:pt x="127" y="67"/>
                      <a:pt x="127" y="67"/>
                      <a:pt x="127" y="67"/>
                    </a:cubicBezTo>
                    <a:cubicBezTo>
                      <a:pt x="127" y="67"/>
                      <a:pt x="127" y="67"/>
                      <a:pt x="127" y="67"/>
                    </a:cubicBezTo>
                    <a:cubicBezTo>
                      <a:pt x="127" y="67"/>
                      <a:pt x="127" y="67"/>
                      <a:pt x="127" y="67"/>
                    </a:cubicBezTo>
                    <a:cubicBezTo>
                      <a:pt x="126" y="66"/>
                      <a:pt x="126" y="66"/>
                      <a:pt x="126" y="66"/>
                    </a:cubicBezTo>
                    <a:cubicBezTo>
                      <a:pt x="126" y="66"/>
                      <a:pt x="126" y="66"/>
                      <a:pt x="126" y="66"/>
                    </a:cubicBezTo>
                    <a:cubicBezTo>
                      <a:pt x="126" y="67"/>
                      <a:pt x="126" y="67"/>
                      <a:pt x="126" y="67"/>
                    </a:cubicBezTo>
                    <a:cubicBezTo>
                      <a:pt x="126" y="67"/>
                      <a:pt x="126" y="66"/>
                      <a:pt x="126" y="66"/>
                    </a:cubicBezTo>
                    <a:cubicBezTo>
                      <a:pt x="124" y="66"/>
                      <a:pt x="123" y="65"/>
                      <a:pt x="121" y="64"/>
                    </a:cubicBezTo>
                    <a:cubicBezTo>
                      <a:pt x="120" y="63"/>
                      <a:pt x="120" y="63"/>
                      <a:pt x="120" y="63"/>
                    </a:cubicBezTo>
                    <a:cubicBezTo>
                      <a:pt x="121" y="62"/>
                      <a:pt x="121" y="62"/>
                      <a:pt x="121" y="62"/>
                    </a:cubicBezTo>
                    <a:cubicBezTo>
                      <a:pt x="121" y="62"/>
                      <a:pt x="121" y="61"/>
                      <a:pt x="122" y="61"/>
                    </a:cubicBezTo>
                    <a:cubicBezTo>
                      <a:pt x="121" y="60"/>
                      <a:pt x="121" y="60"/>
                      <a:pt x="121" y="60"/>
                    </a:cubicBezTo>
                    <a:cubicBezTo>
                      <a:pt x="121" y="60"/>
                      <a:pt x="121" y="60"/>
                      <a:pt x="121" y="60"/>
                    </a:cubicBezTo>
                    <a:cubicBezTo>
                      <a:pt x="121" y="60"/>
                      <a:pt x="121" y="60"/>
                      <a:pt x="121" y="60"/>
                    </a:cubicBezTo>
                    <a:cubicBezTo>
                      <a:pt x="121" y="60"/>
                      <a:pt x="121" y="60"/>
                      <a:pt x="121" y="60"/>
                    </a:cubicBezTo>
                    <a:cubicBezTo>
                      <a:pt x="120" y="60"/>
                      <a:pt x="120" y="60"/>
                      <a:pt x="120" y="59"/>
                    </a:cubicBezTo>
                    <a:cubicBezTo>
                      <a:pt x="120" y="59"/>
                      <a:pt x="119" y="60"/>
                      <a:pt x="119" y="60"/>
                    </a:cubicBezTo>
                    <a:cubicBezTo>
                      <a:pt x="118" y="60"/>
                      <a:pt x="118" y="60"/>
                      <a:pt x="118" y="60"/>
                    </a:cubicBezTo>
                    <a:cubicBezTo>
                      <a:pt x="118" y="60"/>
                      <a:pt x="118" y="60"/>
                      <a:pt x="118" y="60"/>
                    </a:cubicBezTo>
                    <a:cubicBezTo>
                      <a:pt x="109" y="60"/>
                      <a:pt x="109" y="60"/>
                      <a:pt x="109" y="60"/>
                    </a:cubicBezTo>
                    <a:cubicBezTo>
                      <a:pt x="109" y="60"/>
                      <a:pt x="109" y="60"/>
                      <a:pt x="109" y="60"/>
                    </a:cubicBezTo>
                    <a:cubicBezTo>
                      <a:pt x="108" y="60"/>
                      <a:pt x="108" y="59"/>
                      <a:pt x="108" y="59"/>
                    </a:cubicBezTo>
                    <a:cubicBezTo>
                      <a:pt x="107" y="58"/>
                      <a:pt x="107" y="58"/>
                      <a:pt x="107" y="57"/>
                    </a:cubicBezTo>
                    <a:cubicBezTo>
                      <a:pt x="107" y="57"/>
                      <a:pt x="107" y="57"/>
                      <a:pt x="107" y="57"/>
                    </a:cubicBezTo>
                    <a:cubicBezTo>
                      <a:pt x="107" y="56"/>
                      <a:pt x="107" y="56"/>
                      <a:pt x="107" y="56"/>
                    </a:cubicBezTo>
                    <a:cubicBezTo>
                      <a:pt x="106" y="55"/>
                      <a:pt x="106" y="55"/>
                      <a:pt x="106" y="55"/>
                    </a:cubicBezTo>
                    <a:cubicBezTo>
                      <a:pt x="106" y="54"/>
                      <a:pt x="106" y="52"/>
                      <a:pt x="105" y="51"/>
                    </a:cubicBezTo>
                    <a:cubicBezTo>
                      <a:pt x="105" y="51"/>
                      <a:pt x="105" y="50"/>
                      <a:pt x="105" y="50"/>
                    </a:cubicBezTo>
                    <a:cubicBezTo>
                      <a:pt x="105" y="50"/>
                      <a:pt x="105" y="50"/>
                      <a:pt x="105" y="50"/>
                    </a:cubicBezTo>
                    <a:cubicBezTo>
                      <a:pt x="105" y="50"/>
                      <a:pt x="105" y="50"/>
                      <a:pt x="105" y="50"/>
                    </a:cubicBezTo>
                    <a:cubicBezTo>
                      <a:pt x="105" y="50"/>
                      <a:pt x="105" y="50"/>
                      <a:pt x="105" y="50"/>
                    </a:cubicBezTo>
                    <a:cubicBezTo>
                      <a:pt x="105" y="50"/>
                      <a:pt x="104" y="50"/>
                      <a:pt x="104" y="50"/>
                    </a:cubicBezTo>
                    <a:cubicBezTo>
                      <a:pt x="104" y="50"/>
                      <a:pt x="103" y="50"/>
                      <a:pt x="103" y="50"/>
                    </a:cubicBezTo>
                    <a:cubicBezTo>
                      <a:pt x="103" y="50"/>
                      <a:pt x="103" y="50"/>
                      <a:pt x="103" y="50"/>
                    </a:cubicBezTo>
                    <a:cubicBezTo>
                      <a:pt x="102" y="50"/>
                      <a:pt x="102" y="50"/>
                      <a:pt x="102" y="50"/>
                    </a:cubicBezTo>
                    <a:cubicBezTo>
                      <a:pt x="101" y="50"/>
                      <a:pt x="101" y="49"/>
                      <a:pt x="100" y="48"/>
                    </a:cubicBezTo>
                    <a:cubicBezTo>
                      <a:pt x="100" y="48"/>
                      <a:pt x="100" y="47"/>
                      <a:pt x="100" y="46"/>
                    </a:cubicBezTo>
                    <a:cubicBezTo>
                      <a:pt x="100" y="46"/>
                      <a:pt x="100" y="45"/>
                      <a:pt x="100" y="45"/>
                    </a:cubicBezTo>
                    <a:cubicBezTo>
                      <a:pt x="100" y="45"/>
                      <a:pt x="100" y="44"/>
                      <a:pt x="100" y="44"/>
                    </a:cubicBezTo>
                    <a:cubicBezTo>
                      <a:pt x="100" y="43"/>
                      <a:pt x="101" y="43"/>
                      <a:pt x="101" y="42"/>
                    </a:cubicBezTo>
                    <a:cubicBezTo>
                      <a:pt x="101" y="41"/>
                      <a:pt x="101" y="40"/>
                      <a:pt x="101" y="40"/>
                    </a:cubicBezTo>
                    <a:cubicBezTo>
                      <a:pt x="101" y="39"/>
                      <a:pt x="101" y="39"/>
                      <a:pt x="101" y="39"/>
                    </a:cubicBezTo>
                    <a:cubicBezTo>
                      <a:pt x="101" y="39"/>
                      <a:pt x="101" y="38"/>
                      <a:pt x="101" y="38"/>
                    </a:cubicBezTo>
                    <a:cubicBezTo>
                      <a:pt x="100" y="39"/>
                      <a:pt x="99" y="37"/>
                      <a:pt x="98" y="37"/>
                    </a:cubicBezTo>
                    <a:cubicBezTo>
                      <a:pt x="98" y="36"/>
                      <a:pt x="98" y="36"/>
                      <a:pt x="98" y="36"/>
                    </a:cubicBezTo>
                    <a:cubicBezTo>
                      <a:pt x="98" y="36"/>
                      <a:pt x="98" y="36"/>
                      <a:pt x="98" y="36"/>
                    </a:cubicBezTo>
                    <a:cubicBezTo>
                      <a:pt x="98" y="36"/>
                      <a:pt x="98" y="36"/>
                      <a:pt x="97" y="36"/>
                    </a:cubicBezTo>
                    <a:cubicBezTo>
                      <a:pt x="97" y="35"/>
                      <a:pt x="97" y="35"/>
                      <a:pt x="97" y="35"/>
                    </a:cubicBezTo>
                    <a:cubicBezTo>
                      <a:pt x="96" y="34"/>
                      <a:pt x="95" y="33"/>
                      <a:pt x="94" y="32"/>
                    </a:cubicBezTo>
                    <a:cubicBezTo>
                      <a:pt x="93" y="32"/>
                      <a:pt x="93" y="32"/>
                      <a:pt x="93" y="32"/>
                    </a:cubicBezTo>
                    <a:cubicBezTo>
                      <a:pt x="93" y="32"/>
                      <a:pt x="93" y="31"/>
                      <a:pt x="93" y="31"/>
                    </a:cubicBezTo>
                    <a:cubicBezTo>
                      <a:pt x="92" y="30"/>
                      <a:pt x="92" y="30"/>
                      <a:pt x="92" y="30"/>
                    </a:cubicBezTo>
                    <a:cubicBezTo>
                      <a:pt x="91" y="30"/>
                      <a:pt x="91" y="29"/>
                      <a:pt x="90" y="29"/>
                    </a:cubicBezTo>
                    <a:cubicBezTo>
                      <a:pt x="90" y="29"/>
                      <a:pt x="90" y="28"/>
                      <a:pt x="90" y="28"/>
                    </a:cubicBezTo>
                    <a:cubicBezTo>
                      <a:pt x="89" y="29"/>
                      <a:pt x="89" y="29"/>
                      <a:pt x="89" y="29"/>
                    </a:cubicBezTo>
                    <a:cubicBezTo>
                      <a:pt x="89" y="29"/>
                      <a:pt x="89" y="29"/>
                      <a:pt x="89" y="29"/>
                    </a:cubicBezTo>
                    <a:cubicBezTo>
                      <a:pt x="90" y="31"/>
                      <a:pt x="90" y="31"/>
                      <a:pt x="90" y="31"/>
                    </a:cubicBezTo>
                    <a:cubicBezTo>
                      <a:pt x="88" y="29"/>
                      <a:pt x="88" y="29"/>
                      <a:pt x="88" y="29"/>
                    </a:cubicBezTo>
                    <a:cubicBezTo>
                      <a:pt x="88" y="29"/>
                      <a:pt x="88" y="29"/>
                      <a:pt x="88" y="29"/>
                    </a:cubicBezTo>
                    <a:cubicBezTo>
                      <a:pt x="87" y="30"/>
                      <a:pt x="86" y="30"/>
                      <a:pt x="85" y="30"/>
                    </a:cubicBezTo>
                    <a:cubicBezTo>
                      <a:pt x="85" y="30"/>
                      <a:pt x="85" y="30"/>
                      <a:pt x="85" y="30"/>
                    </a:cubicBezTo>
                    <a:cubicBezTo>
                      <a:pt x="82" y="30"/>
                      <a:pt x="82" y="30"/>
                      <a:pt x="82" y="30"/>
                    </a:cubicBezTo>
                    <a:cubicBezTo>
                      <a:pt x="81" y="30"/>
                      <a:pt x="80" y="30"/>
                      <a:pt x="79" y="30"/>
                    </a:cubicBezTo>
                    <a:cubicBezTo>
                      <a:pt x="77" y="30"/>
                      <a:pt x="75" y="29"/>
                      <a:pt x="72" y="29"/>
                    </a:cubicBezTo>
                    <a:cubicBezTo>
                      <a:pt x="71" y="30"/>
                      <a:pt x="69" y="30"/>
                      <a:pt x="66" y="30"/>
                    </a:cubicBezTo>
                    <a:cubicBezTo>
                      <a:pt x="65" y="31"/>
                      <a:pt x="63" y="31"/>
                      <a:pt x="62" y="31"/>
                    </a:cubicBezTo>
                    <a:cubicBezTo>
                      <a:pt x="61" y="31"/>
                      <a:pt x="61" y="31"/>
                      <a:pt x="60" y="31"/>
                    </a:cubicBezTo>
                    <a:cubicBezTo>
                      <a:pt x="60" y="31"/>
                      <a:pt x="60" y="31"/>
                      <a:pt x="60" y="31"/>
                    </a:cubicBezTo>
                    <a:cubicBezTo>
                      <a:pt x="60" y="31"/>
                      <a:pt x="59" y="31"/>
                      <a:pt x="59" y="30"/>
                    </a:cubicBezTo>
                    <a:cubicBezTo>
                      <a:pt x="59" y="30"/>
                      <a:pt x="59" y="30"/>
                      <a:pt x="59" y="30"/>
                    </a:cubicBezTo>
                    <a:cubicBezTo>
                      <a:pt x="58" y="30"/>
                      <a:pt x="58" y="29"/>
                      <a:pt x="58" y="29"/>
                    </a:cubicBezTo>
                    <a:cubicBezTo>
                      <a:pt x="57" y="29"/>
                      <a:pt x="57" y="29"/>
                      <a:pt x="57" y="29"/>
                    </a:cubicBezTo>
                    <a:cubicBezTo>
                      <a:pt x="57" y="29"/>
                      <a:pt x="57" y="28"/>
                      <a:pt x="57" y="28"/>
                    </a:cubicBezTo>
                    <a:cubicBezTo>
                      <a:pt x="56" y="27"/>
                      <a:pt x="54" y="26"/>
                      <a:pt x="53" y="25"/>
                    </a:cubicBezTo>
                    <a:cubicBezTo>
                      <a:pt x="53" y="25"/>
                      <a:pt x="51" y="22"/>
                      <a:pt x="50" y="20"/>
                    </a:cubicBezTo>
                    <a:cubicBezTo>
                      <a:pt x="49" y="19"/>
                      <a:pt x="44" y="16"/>
                      <a:pt x="42" y="15"/>
                    </a:cubicBezTo>
                    <a:cubicBezTo>
                      <a:pt x="41" y="15"/>
                      <a:pt x="41" y="15"/>
                      <a:pt x="41" y="15"/>
                    </a:cubicBezTo>
                    <a:cubicBezTo>
                      <a:pt x="41" y="16"/>
                      <a:pt x="41" y="18"/>
                      <a:pt x="41" y="19"/>
                    </a:cubicBezTo>
                    <a:cubicBezTo>
                      <a:pt x="41" y="20"/>
                      <a:pt x="41" y="20"/>
                      <a:pt x="40" y="21"/>
                    </a:cubicBezTo>
                    <a:cubicBezTo>
                      <a:pt x="40" y="21"/>
                      <a:pt x="39" y="21"/>
                      <a:pt x="38" y="22"/>
                    </a:cubicBezTo>
                    <a:cubicBezTo>
                      <a:pt x="38" y="22"/>
                      <a:pt x="39" y="23"/>
                      <a:pt x="39" y="23"/>
                    </a:cubicBezTo>
                    <a:cubicBezTo>
                      <a:pt x="38" y="24"/>
                      <a:pt x="38" y="23"/>
                      <a:pt x="38" y="22"/>
                    </a:cubicBezTo>
                    <a:cubicBezTo>
                      <a:pt x="37" y="22"/>
                      <a:pt x="36" y="23"/>
                      <a:pt x="36" y="23"/>
                    </a:cubicBezTo>
                    <a:cubicBezTo>
                      <a:pt x="34" y="23"/>
                      <a:pt x="35" y="22"/>
                      <a:pt x="34" y="21"/>
                    </a:cubicBezTo>
                    <a:cubicBezTo>
                      <a:pt x="33" y="20"/>
                      <a:pt x="32" y="18"/>
                      <a:pt x="31" y="16"/>
                    </a:cubicBezTo>
                    <a:cubicBezTo>
                      <a:pt x="31" y="14"/>
                      <a:pt x="33" y="12"/>
                      <a:pt x="34" y="10"/>
                    </a:cubicBezTo>
                    <a:cubicBezTo>
                      <a:pt x="34" y="10"/>
                      <a:pt x="34" y="10"/>
                      <a:pt x="34" y="10"/>
                    </a:cubicBezTo>
                    <a:cubicBezTo>
                      <a:pt x="34" y="9"/>
                      <a:pt x="34" y="9"/>
                      <a:pt x="34" y="9"/>
                    </a:cubicBezTo>
                    <a:cubicBezTo>
                      <a:pt x="34" y="9"/>
                      <a:pt x="34" y="9"/>
                      <a:pt x="34" y="9"/>
                    </a:cubicBezTo>
                    <a:cubicBezTo>
                      <a:pt x="36" y="10"/>
                      <a:pt x="38" y="11"/>
                      <a:pt x="40" y="12"/>
                    </a:cubicBezTo>
                    <a:cubicBezTo>
                      <a:pt x="38" y="11"/>
                      <a:pt x="36" y="10"/>
                      <a:pt x="34" y="9"/>
                    </a:cubicBezTo>
                    <a:cubicBezTo>
                      <a:pt x="34" y="9"/>
                      <a:pt x="34" y="9"/>
                      <a:pt x="34" y="9"/>
                    </a:cubicBezTo>
                    <a:cubicBezTo>
                      <a:pt x="35" y="8"/>
                      <a:pt x="35" y="8"/>
                      <a:pt x="35" y="8"/>
                    </a:cubicBezTo>
                    <a:cubicBezTo>
                      <a:pt x="34" y="8"/>
                      <a:pt x="34" y="8"/>
                      <a:pt x="34" y="8"/>
                    </a:cubicBezTo>
                    <a:cubicBezTo>
                      <a:pt x="34" y="8"/>
                      <a:pt x="34" y="8"/>
                      <a:pt x="34" y="8"/>
                    </a:cubicBezTo>
                    <a:cubicBezTo>
                      <a:pt x="34" y="8"/>
                      <a:pt x="34" y="8"/>
                      <a:pt x="34" y="8"/>
                    </a:cubicBezTo>
                    <a:cubicBezTo>
                      <a:pt x="34" y="7"/>
                      <a:pt x="34" y="6"/>
                      <a:pt x="34" y="6"/>
                    </a:cubicBezTo>
                    <a:cubicBezTo>
                      <a:pt x="34" y="5"/>
                      <a:pt x="34" y="4"/>
                      <a:pt x="33" y="4"/>
                    </a:cubicBezTo>
                    <a:cubicBezTo>
                      <a:pt x="33" y="4"/>
                      <a:pt x="33" y="4"/>
                      <a:pt x="33" y="3"/>
                    </a:cubicBezTo>
                    <a:cubicBezTo>
                      <a:pt x="32" y="3"/>
                      <a:pt x="32" y="3"/>
                      <a:pt x="32" y="3"/>
                    </a:cubicBezTo>
                    <a:cubicBezTo>
                      <a:pt x="31" y="2"/>
                      <a:pt x="32" y="2"/>
                      <a:pt x="31" y="1"/>
                    </a:cubicBezTo>
                    <a:cubicBezTo>
                      <a:pt x="30" y="0"/>
                      <a:pt x="31" y="4"/>
                      <a:pt x="30" y="3"/>
                    </a:cubicBezTo>
                    <a:cubicBezTo>
                      <a:pt x="29" y="2"/>
                      <a:pt x="30" y="2"/>
                      <a:pt x="30" y="2"/>
                    </a:cubicBezTo>
                    <a:cubicBezTo>
                      <a:pt x="29" y="1"/>
                      <a:pt x="29" y="3"/>
                      <a:pt x="29" y="3"/>
                    </a:cubicBezTo>
                    <a:cubicBezTo>
                      <a:pt x="29" y="4"/>
                      <a:pt x="29" y="4"/>
                      <a:pt x="28" y="5"/>
                    </a:cubicBezTo>
                    <a:cubicBezTo>
                      <a:pt x="28" y="5"/>
                      <a:pt x="28" y="5"/>
                      <a:pt x="28"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6"/>
                      <a:pt x="27" y="6"/>
                      <a:pt x="27" y="6"/>
                    </a:cubicBezTo>
                    <a:cubicBezTo>
                      <a:pt x="27" y="6"/>
                      <a:pt x="27" y="6"/>
                      <a:pt x="27" y="6"/>
                    </a:cubicBezTo>
                    <a:close/>
                    <a:moveTo>
                      <a:pt x="33" y="4"/>
                    </a:moveTo>
                    <a:cubicBezTo>
                      <a:pt x="34" y="5"/>
                      <a:pt x="33" y="5"/>
                      <a:pt x="33" y="6"/>
                    </a:cubicBezTo>
                    <a:cubicBezTo>
                      <a:pt x="33" y="6"/>
                      <a:pt x="33" y="7"/>
                      <a:pt x="33" y="7"/>
                    </a:cubicBezTo>
                    <a:cubicBezTo>
                      <a:pt x="33" y="6"/>
                      <a:pt x="33" y="5"/>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3" name="Freeform 3175">
                <a:extLst>
                  <a:ext uri="{FF2B5EF4-FFF2-40B4-BE49-F238E27FC236}">
                    <a16:creationId xmlns:a16="http://schemas.microsoft.com/office/drawing/2014/main" id="{3DFFFCEB-4FFF-4147-818F-95FD67E7D43F}"/>
                  </a:ext>
                </a:extLst>
              </p:cNvPr>
              <p:cNvSpPr>
                <a:spLocks/>
              </p:cNvSpPr>
              <p:nvPr/>
            </p:nvSpPr>
            <p:spPr bwMode="auto">
              <a:xfrm>
                <a:off x="5672" y="1392"/>
                <a:ext cx="769" cy="315"/>
              </a:xfrm>
              <a:custGeom>
                <a:avLst/>
                <a:gdLst>
                  <a:gd name="T0" fmla="*/ 316 w 325"/>
                  <a:gd name="T1" fmla="*/ 58 h 133"/>
                  <a:gd name="T2" fmla="*/ 309 w 325"/>
                  <a:gd name="T3" fmla="*/ 55 h 133"/>
                  <a:gd name="T4" fmla="*/ 301 w 325"/>
                  <a:gd name="T5" fmla="*/ 59 h 133"/>
                  <a:gd name="T6" fmla="*/ 288 w 325"/>
                  <a:gd name="T7" fmla="*/ 58 h 133"/>
                  <a:gd name="T8" fmla="*/ 281 w 325"/>
                  <a:gd name="T9" fmla="*/ 54 h 133"/>
                  <a:gd name="T10" fmla="*/ 290 w 325"/>
                  <a:gd name="T11" fmla="*/ 34 h 133"/>
                  <a:gd name="T12" fmla="*/ 282 w 325"/>
                  <a:gd name="T13" fmla="*/ 30 h 133"/>
                  <a:gd name="T14" fmla="*/ 270 w 325"/>
                  <a:gd name="T15" fmla="*/ 25 h 133"/>
                  <a:gd name="T16" fmla="*/ 261 w 325"/>
                  <a:gd name="T17" fmla="*/ 30 h 133"/>
                  <a:gd name="T18" fmla="*/ 219 w 325"/>
                  <a:gd name="T19" fmla="*/ 38 h 133"/>
                  <a:gd name="T20" fmla="*/ 210 w 325"/>
                  <a:gd name="T21" fmla="*/ 37 h 133"/>
                  <a:gd name="T22" fmla="*/ 201 w 325"/>
                  <a:gd name="T23" fmla="*/ 29 h 133"/>
                  <a:gd name="T24" fmla="*/ 189 w 325"/>
                  <a:gd name="T25" fmla="*/ 24 h 133"/>
                  <a:gd name="T26" fmla="*/ 174 w 325"/>
                  <a:gd name="T27" fmla="*/ 23 h 133"/>
                  <a:gd name="T28" fmla="*/ 151 w 325"/>
                  <a:gd name="T29" fmla="*/ 23 h 133"/>
                  <a:gd name="T30" fmla="*/ 145 w 325"/>
                  <a:gd name="T31" fmla="*/ 15 h 133"/>
                  <a:gd name="T32" fmla="*/ 140 w 325"/>
                  <a:gd name="T33" fmla="*/ 9 h 133"/>
                  <a:gd name="T34" fmla="*/ 128 w 325"/>
                  <a:gd name="T35" fmla="*/ 5 h 133"/>
                  <a:gd name="T36" fmla="*/ 108 w 325"/>
                  <a:gd name="T37" fmla="*/ 4 h 133"/>
                  <a:gd name="T38" fmla="*/ 107 w 325"/>
                  <a:gd name="T39" fmla="*/ 5 h 133"/>
                  <a:gd name="T40" fmla="*/ 103 w 325"/>
                  <a:gd name="T41" fmla="*/ 12 h 133"/>
                  <a:gd name="T42" fmla="*/ 107 w 325"/>
                  <a:gd name="T43" fmla="*/ 23 h 133"/>
                  <a:gd name="T44" fmla="*/ 100 w 325"/>
                  <a:gd name="T45" fmla="*/ 29 h 133"/>
                  <a:gd name="T46" fmla="*/ 88 w 325"/>
                  <a:gd name="T47" fmla="*/ 30 h 133"/>
                  <a:gd name="T48" fmla="*/ 82 w 325"/>
                  <a:gd name="T49" fmla="*/ 28 h 133"/>
                  <a:gd name="T50" fmla="*/ 70 w 325"/>
                  <a:gd name="T51" fmla="*/ 28 h 133"/>
                  <a:gd name="T52" fmla="*/ 63 w 325"/>
                  <a:gd name="T53" fmla="*/ 21 h 133"/>
                  <a:gd name="T54" fmla="*/ 51 w 325"/>
                  <a:gd name="T55" fmla="*/ 18 h 133"/>
                  <a:gd name="T56" fmla="*/ 45 w 325"/>
                  <a:gd name="T57" fmla="*/ 19 h 133"/>
                  <a:gd name="T58" fmla="*/ 34 w 325"/>
                  <a:gd name="T59" fmla="*/ 22 h 133"/>
                  <a:gd name="T60" fmla="*/ 19 w 325"/>
                  <a:gd name="T61" fmla="*/ 31 h 133"/>
                  <a:gd name="T62" fmla="*/ 4 w 325"/>
                  <a:gd name="T63" fmla="*/ 35 h 133"/>
                  <a:gd name="T64" fmla="*/ 4 w 325"/>
                  <a:gd name="T65" fmla="*/ 37 h 133"/>
                  <a:gd name="T66" fmla="*/ 0 w 325"/>
                  <a:gd name="T67" fmla="*/ 42 h 133"/>
                  <a:gd name="T68" fmla="*/ 3 w 325"/>
                  <a:gd name="T69" fmla="*/ 46 h 133"/>
                  <a:gd name="T70" fmla="*/ 12 w 325"/>
                  <a:gd name="T71" fmla="*/ 52 h 133"/>
                  <a:gd name="T72" fmla="*/ 25 w 325"/>
                  <a:gd name="T73" fmla="*/ 56 h 133"/>
                  <a:gd name="T74" fmla="*/ 33 w 325"/>
                  <a:gd name="T75" fmla="*/ 73 h 133"/>
                  <a:gd name="T76" fmla="*/ 31 w 325"/>
                  <a:gd name="T77" fmla="*/ 82 h 133"/>
                  <a:gd name="T78" fmla="*/ 36 w 325"/>
                  <a:gd name="T79" fmla="*/ 89 h 133"/>
                  <a:gd name="T80" fmla="*/ 72 w 325"/>
                  <a:gd name="T81" fmla="*/ 100 h 133"/>
                  <a:gd name="T82" fmla="*/ 78 w 325"/>
                  <a:gd name="T83" fmla="*/ 104 h 133"/>
                  <a:gd name="T84" fmla="*/ 86 w 325"/>
                  <a:gd name="T85" fmla="*/ 117 h 133"/>
                  <a:gd name="T86" fmla="*/ 92 w 325"/>
                  <a:gd name="T87" fmla="*/ 119 h 133"/>
                  <a:gd name="T88" fmla="*/ 119 w 325"/>
                  <a:gd name="T89" fmla="*/ 121 h 133"/>
                  <a:gd name="T90" fmla="*/ 140 w 325"/>
                  <a:gd name="T91" fmla="*/ 122 h 133"/>
                  <a:gd name="T92" fmla="*/ 153 w 325"/>
                  <a:gd name="T93" fmla="*/ 128 h 133"/>
                  <a:gd name="T94" fmla="*/ 170 w 325"/>
                  <a:gd name="T95" fmla="*/ 131 h 133"/>
                  <a:gd name="T96" fmla="*/ 171 w 325"/>
                  <a:gd name="T97" fmla="*/ 133 h 133"/>
                  <a:gd name="T98" fmla="*/ 185 w 325"/>
                  <a:gd name="T99" fmla="*/ 127 h 133"/>
                  <a:gd name="T100" fmla="*/ 202 w 325"/>
                  <a:gd name="T101" fmla="*/ 123 h 133"/>
                  <a:gd name="T102" fmla="*/ 217 w 325"/>
                  <a:gd name="T103" fmla="*/ 123 h 133"/>
                  <a:gd name="T104" fmla="*/ 231 w 325"/>
                  <a:gd name="T105" fmla="*/ 116 h 133"/>
                  <a:gd name="T106" fmla="*/ 244 w 325"/>
                  <a:gd name="T107" fmla="*/ 107 h 133"/>
                  <a:gd name="T108" fmla="*/ 240 w 325"/>
                  <a:gd name="T109" fmla="*/ 98 h 133"/>
                  <a:gd name="T110" fmla="*/ 256 w 325"/>
                  <a:gd name="T111" fmla="*/ 92 h 133"/>
                  <a:gd name="T112" fmla="*/ 264 w 325"/>
                  <a:gd name="T113" fmla="*/ 93 h 133"/>
                  <a:gd name="T114" fmla="*/ 271 w 325"/>
                  <a:gd name="T115" fmla="*/ 87 h 133"/>
                  <a:gd name="T116" fmla="*/ 276 w 325"/>
                  <a:gd name="T117" fmla="*/ 85 h 133"/>
                  <a:gd name="T118" fmla="*/ 287 w 325"/>
                  <a:gd name="T119" fmla="*/ 83 h 133"/>
                  <a:gd name="T120" fmla="*/ 299 w 325"/>
                  <a:gd name="T121" fmla="*/ 73 h 133"/>
                  <a:gd name="T122" fmla="*/ 320 w 325"/>
                  <a:gd name="T123" fmla="*/ 6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5" h="133">
                    <a:moveTo>
                      <a:pt x="323" y="65"/>
                    </a:moveTo>
                    <a:cubicBezTo>
                      <a:pt x="323" y="64"/>
                      <a:pt x="323" y="64"/>
                      <a:pt x="323" y="64"/>
                    </a:cubicBezTo>
                    <a:cubicBezTo>
                      <a:pt x="322" y="64"/>
                      <a:pt x="321" y="63"/>
                      <a:pt x="321" y="63"/>
                    </a:cubicBezTo>
                    <a:cubicBezTo>
                      <a:pt x="321" y="62"/>
                      <a:pt x="320" y="62"/>
                      <a:pt x="320" y="61"/>
                    </a:cubicBezTo>
                    <a:cubicBezTo>
                      <a:pt x="319" y="61"/>
                      <a:pt x="319" y="61"/>
                      <a:pt x="318" y="60"/>
                    </a:cubicBezTo>
                    <a:cubicBezTo>
                      <a:pt x="318" y="60"/>
                      <a:pt x="318" y="59"/>
                      <a:pt x="317" y="59"/>
                    </a:cubicBezTo>
                    <a:cubicBezTo>
                      <a:pt x="317" y="59"/>
                      <a:pt x="317" y="59"/>
                      <a:pt x="316" y="58"/>
                    </a:cubicBezTo>
                    <a:cubicBezTo>
                      <a:pt x="315" y="58"/>
                      <a:pt x="314" y="57"/>
                      <a:pt x="314" y="57"/>
                    </a:cubicBezTo>
                    <a:cubicBezTo>
                      <a:pt x="313" y="57"/>
                      <a:pt x="313" y="56"/>
                      <a:pt x="313" y="56"/>
                    </a:cubicBezTo>
                    <a:cubicBezTo>
                      <a:pt x="313" y="56"/>
                      <a:pt x="313" y="56"/>
                      <a:pt x="313" y="56"/>
                    </a:cubicBezTo>
                    <a:cubicBezTo>
                      <a:pt x="313" y="56"/>
                      <a:pt x="313" y="56"/>
                      <a:pt x="313" y="55"/>
                    </a:cubicBezTo>
                    <a:cubicBezTo>
                      <a:pt x="313" y="55"/>
                      <a:pt x="312" y="55"/>
                      <a:pt x="312" y="55"/>
                    </a:cubicBezTo>
                    <a:cubicBezTo>
                      <a:pt x="312" y="55"/>
                      <a:pt x="312" y="55"/>
                      <a:pt x="312" y="55"/>
                    </a:cubicBezTo>
                    <a:cubicBezTo>
                      <a:pt x="311" y="55"/>
                      <a:pt x="310" y="55"/>
                      <a:pt x="309" y="55"/>
                    </a:cubicBezTo>
                    <a:cubicBezTo>
                      <a:pt x="309" y="56"/>
                      <a:pt x="308" y="56"/>
                      <a:pt x="307" y="56"/>
                    </a:cubicBezTo>
                    <a:cubicBezTo>
                      <a:pt x="307" y="56"/>
                      <a:pt x="306" y="56"/>
                      <a:pt x="306" y="56"/>
                    </a:cubicBezTo>
                    <a:cubicBezTo>
                      <a:pt x="304" y="56"/>
                      <a:pt x="304" y="57"/>
                      <a:pt x="303" y="58"/>
                    </a:cubicBezTo>
                    <a:cubicBezTo>
                      <a:pt x="303" y="58"/>
                      <a:pt x="303" y="58"/>
                      <a:pt x="303" y="58"/>
                    </a:cubicBezTo>
                    <a:cubicBezTo>
                      <a:pt x="302" y="58"/>
                      <a:pt x="302" y="59"/>
                      <a:pt x="301" y="59"/>
                    </a:cubicBezTo>
                    <a:cubicBezTo>
                      <a:pt x="301" y="59"/>
                      <a:pt x="301" y="59"/>
                      <a:pt x="301" y="59"/>
                    </a:cubicBezTo>
                    <a:cubicBezTo>
                      <a:pt x="301" y="59"/>
                      <a:pt x="301" y="59"/>
                      <a:pt x="301" y="59"/>
                    </a:cubicBezTo>
                    <a:cubicBezTo>
                      <a:pt x="300" y="59"/>
                      <a:pt x="299" y="59"/>
                      <a:pt x="297" y="58"/>
                    </a:cubicBezTo>
                    <a:cubicBezTo>
                      <a:pt x="297" y="57"/>
                      <a:pt x="297" y="57"/>
                      <a:pt x="297" y="57"/>
                    </a:cubicBezTo>
                    <a:cubicBezTo>
                      <a:pt x="296" y="57"/>
                      <a:pt x="296" y="57"/>
                      <a:pt x="296" y="57"/>
                    </a:cubicBezTo>
                    <a:cubicBezTo>
                      <a:pt x="295" y="57"/>
                      <a:pt x="295" y="57"/>
                      <a:pt x="295" y="57"/>
                    </a:cubicBezTo>
                    <a:cubicBezTo>
                      <a:pt x="291" y="57"/>
                      <a:pt x="291" y="57"/>
                      <a:pt x="291" y="57"/>
                    </a:cubicBezTo>
                    <a:cubicBezTo>
                      <a:pt x="290" y="57"/>
                      <a:pt x="289" y="58"/>
                      <a:pt x="288" y="58"/>
                    </a:cubicBezTo>
                    <a:cubicBezTo>
                      <a:pt x="288" y="58"/>
                      <a:pt x="288" y="58"/>
                      <a:pt x="288" y="58"/>
                    </a:cubicBezTo>
                    <a:cubicBezTo>
                      <a:pt x="288" y="58"/>
                      <a:pt x="287" y="59"/>
                      <a:pt x="287" y="59"/>
                    </a:cubicBezTo>
                    <a:cubicBezTo>
                      <a:pt x="287" y="59"/>
                      <a:pt x="287" y="59"/>
                      <a:pt x="287" y="59"/>
                    </a:cubicBezTo>
                    <a:cubicBezTo>
                      <a:pt x="285" y="59"/>
                      <a:pt x="284" y="58"/>
                      <a:pt x="283" y="57"/>
                    </a:cubicBezTo>
                    <a:cubicBezTo>
                      <a:pt x="282" y="56"/>
                      <a:pt x="282" y="56"/>
                      <a:pt x="282" y="55"/>
                    </a:cubicBezTo>
                    <a:cubicBezTo>
                      <a:pt x="281" y="55"/>
                      <a:pt x="281" y="55"/>
                      <a:pt x="281" y="54"/>
                    </a:cubicBezTo>
                    <a:cubicBezTo>
                      <a:pt x="281" y="54"/>
                      <a:pt x="281" y="54"/>
                      <a:pt x="281" y="54"/>
                    </a:cubicBezTo>
                    <a:cubicBezTo>
                      <a:pt x="281" y="54"/>
                      <a:pt x="281" y="54"/>
                      <a:pt x="281" y="54"/>
                    </a:cubicBezTo>
                    <a:cubicBezTo>
                      <a:pt x="281" y="54"/>
                      <a:pt x="281" y="53"/>
                      <a:pt x="281" y="53"/>
                    </a:cubicBezTo>
                    <a:cubicBezTo>
                      <a:pt x="281" y="51"/>
                      <a:pt x="282" y="50"/>
                      <a:pt x="283" y="50"/>
                    </a:cubicBezTo>
                    <a:cubicBezTo>
                      <a:pt x="283" y="50"/>
                      <a:pt x="283" y="50"/>
                      <a:pt x="284" y="50"/>
                    </a:cubicBezTo>
                    <a:cubicBezTo>
                      <a:pt x="284" y="50"/>
                      <a:pt x="284" y="49"/>
                      <a:pt x="284" y="49"/>
                    </a:cubicBezTo>
                    <a:cubicBezTo>
                      <a:pt x="284" y="48"/>
                      <a:pt x="283" y="47"/>
                      <a:pt x="284" y="47"/>
                    </a:cubicBezTo>
                    <a:cubicBezTo>
                      <a:pt x="288" y="39"/>
                      <a:pt x="288" y="39"/>
                      <a:pt x="288" y="39"/>
                    </a:cubicBezTo>
                    <a:cubicBezTo>
                      <a:pt x="288" y="37"/>
                      <a:pt x="289" y="36"/>
                      <a:pt x="290" y="34"/>
                    </a:cubicBezTo>
                    <a:cubicBezTo>
                      <a:pt x="292" y="30"/>
                      <a:pt x="292" y="30"/>
                      <a:pt x="292" y="30"/>
                    </a:cubicBezTo>
                    <a:cubicBezTo>
                      <a:pt x="292" y="30"/>
                      <a:pt x="292" y="30"/>
                      <a:pt x="292" y="30"/>
                    </a:cubicBezTo>
                    <a:cubicBezTo>
                      <a:pt x="292" y="30"/>
                      <a:pt x="292" y="30"/>
                      <a:pt x="292" y="30"/>
                    </a:cubicBezTo>
                    <a:cubicBezTo>
                      <a:pt x="290" y="28"/>
                      <a:pt x="289" y="28"/>
                      <a:pt x="289" y="28"/>
                    </a:cubicBezTo>
                    <a:cubicBezTo>
                      <a:pt x="289" y="28"/>
                      <a:pt x="289" y="28"/>
                      <a:pt x="289" y="28"/>
                    </a:cubicBezTo>
                    <a:cubicBezTo>
                      <a:pt x="283" y="30"/>
                      <a:pt x="283" y="30"/>
                      <a:pt x="283" y="30"/>
                    </a:cubicBezTo>
                    <a:cubicBezTo>
                      <a:pt x="283" y="30"/>
                      <a:pt x="282" y="30"/>
                      <a:pt x="282" y="30"/>
                    </a:cubicBezTo>
                    <a:cubicBezTo>
                      <a:pt x="282" y="30"/>
                      <a:pt x="282" y="30"/>
                      <a:pt x="282" y="30"/>
                    </a:cubicBezTo>
                    <a:cubicBezTo>
                      <a:pt x="282" y="30"/>
                      <a:pt x="282" y="30"/>
                      <a:pt x="282" y="30"/>
                    </a:cubicBezTo>
                    <a:cubicBezTo>
                      <a:pt x="282" y="30"/>
                      <a:pt x="282" y="30"/>
                      <a:pt x="281" y="30"/>
                    </a:cubicBezTo>
                    <a:cubicBezTo>
                      <a:pt x="281" y="30"/>
                      <a:pt x="281" y="29"/>
                      <a:pt x="280" y="29"/>
                    </a:cubicBezTo>
                    <a:cubicBezTo>
                      <a:pt x="274" y="25"/>
                      <a:pt x="274" y="25"/>
                      <a:pt x="274" y="25"/>
                    </a:cubicBezTo>
                    <a:cubicBezTo>
                      <a:pt x="273" y="25"/>
                      <a:pt x="273" y="25"/>
                      <a:pt x="273" y="25"/>
                    </a:cubicBezTo>
                    <a:cubicBezTo>
                      <a:pt x="272" y="25"/>
                      <a:pt x="271" y="25"/>
                      <a:pt x="270" y="25"/>
                    </a:cubicBezTo>
                    <a:cubicBezTo>
                      <a:pt x="269" y="25"/>
                      <a:pt x="269" y="25"/>
                      <a:pt x="268" y="25"/>
                    </a:cubicBezTo>
                    <a:cubicBezTo>
                      <a:pt x="268" y="25"/>
                      <a:pt x="268" y="25"/>
                      <a:pt x="268" y="25"/>
                    </a:cubicBezTo>
                    <a:cubicBezTo>
                      <a:pt x="267" y="25"/>
                      <a:pt x="266" y="26"/>
                      <a:pt x="266" y="27"/>
                    </a:cubicBezTo>
                    <a:cubicBezTo>
                      <a:pt x="265" y="27"/>
                      <a:pt x="265" y="27"/>
                      <a:pt x="265" y="27"/>
                    </a:cubicBezTo>
                    <a:cubicBezTo>
                      <a:pt x="265" y="27"/>
                      <a:pt x="264" y="27"/>
                      <a:pt x="264" y="27"/>
                    </a:cubicBezTo>
                    <a:cubicBezTo>
                      <a:pt x="263" y="28"/>
                      <a:pt x="263" y="28"/>
                      <a:pt x="263" y="28"/>
                    </a:cubicBezTo>
                    <a:cubicBezTo>
                      <a:pt x="261" y="30"/>
                      <a:pt x="261" y="30"/>
                      <a:pt x="261" y="30"/>
                    </a:cubicBezTo>
                    <a:cubicBezTo>
                      <a:pt x="256" y="34"/>
                      <a:pt x="256" y="34"/>
                      <a:pt x="256" y="34"/>
                    </a:cubicBezTo>
                    <a:cubicBezTo>
                      <a:pt x="255" y="35"/>
                      <a:pt x="255" y="35"/>
                      <a:pt x="255" y="35"/>
                    </a:cubicBezTo>
                    <a:cubicBezTo>
                      <a:pt x="247" y="36"/>
                      <a:pt x="247" y="36"/>
                      <a:pt x="247" y="36"/>
                    </a:cubicBezTo>
                    <a:cubicBezTo>
                      <a:pt x="235" y="39"/>
                      <a:pt x="235" y="39"/>
                      <a:pt x="235" y="39"/>
                    </a:cubicBezTo>
                    <a:cubicBezTo>
                      <a:pt x="235" y="40"/>
                      <a:pt x="234" y="40"/>
                      <a:pt x="233" y="40"/>
                    </a:cubicBezTo>
                    <a:cubicBezTo>
                      <a:pt x="228" y="39"/>
                      <a:pt x="228" y="39"/>
                      <a:pt x="228" y="39"/>
                    </a:cubicBezTo>
                    <a:cubicBezTo>
                      <a:pt x="219" y="38"/>
                      <a:pt x="219" y="38"/>
                      <a:pt x="219" y="38"/>
                    </a:cubicBezTo>
                    <a:cubicBezTo>
                      <a:pt x="219" y="38"/>
                      <a:pt x="219" y="37"/>
                      <a:pt x="218" y="37"/>
                    </a:cubicBezTo>
                    <a:cubicBezTo>
                      <a:pt x="217" y="37"/>
                      <a:pt x="217" y="37"/>
                      <a:pt x="217" y="37"/>
                    </a:cubicBezTo>
                    <a:cubicBezTo>
                      <a:pt x="211" y="37"/>
                      <a:pt x="211" y="37"/>
                      <a:pt x="211" y="37"/>
                    </a:cubicBezTo>
                    <a:cubicBezTo>
                      <a:pt x="211" y="37"/>
                      <a:pt x="211" y="37"/>
                      <a:pt x="211" y="37"/>
                    </a:cubicBezTo>
                    <a:cubicBezTo>
                      <a:pt x="211" y="37"/>
                      <a:pt x="211" y="37"/>
                      <a:pt x="211" y="37"/>
                    </a:cubicBezTo>
                    <a:cubicBezTo>
                      <a:pt x="210" y="37"/>
                      <a:pt x="210" y="37"/>
                      <a:pt x="210" y="37"/>
                    </a:cubicBezTo>
                    <a:cubicBezTo>
                      <a:pt x="210" y="37"/>
                      <a:pt x="210" y="37"/>
                      <a:pt x="210" y="37"/>
                    </a:cubicBezTo>
                    <a:cubicBezTo>
                      <a:pt x="205" y="34"/>
                      <a:pt x="205" y="34"/>
                      <a:pt x="205" y="34"/>
                    </a:cubicBezTo>
                    <a:cubicBezTo>
                      <a:pt x="205" y="33"/>
                      <a:pt x="204" y="33"/>
                      <a:pt x="204" y="33"/>
                    </a:cubicBezTo>
                    <a:cubicBezTo>
                      <a:pt x="204" y="33"/>
                      <a:pt x="204" y="33"/>
                      <a:pt x="204" y="33"/>
                    </a:cubicBezTo>
                    <a:cubicBezTo>
                      <a:pt x="204" y="29"/>
                      <a:pt x="204" y="29"/>
                      <a:pt x="204" y="29"/>
                    </a:cubicBezTo>
                    <a:cubicBezTo>
                      <a:pt x="204" y="29"/>
                      <a:pt x="203" y="29"/>
                      <a:pt x="203" y="29"/>
                    </a:cubicBezTo>
                    <a:cubicBezTo>
                      <a:pt x="203" y="29"/>
                      <a:pt x="203" y="29"/>
                      <a:pt x="203" y="29"/>
                    </a:cubicBezTo>
                    <a:cubicBezTo>
                      <a:pt x="202" y="29"/>
                      <a:pt x="201" y="29"/>
                      <a:pt x="201" y="29"/>
                    </a:cubicBezTo>
                    <a:cubicBezTo>
                      <a:pt x="200" y="29"/>
                      <a:pt x="200" y="29"/>
                      <a:pt x="200" y="29"/>
                    </a:cubicBezTo>
                    <a:cubicBezTo>
                      <a:pt x="198" y="28"/>
                      <a:pt x="196" y="27"/>
                      <a:pt x="195" y="26"/>
                    </a:cubicBezTo>
                    <a:cubicBezTo>
                      <a:pt x="194" y="25"/>
                      <a:pt x="193" y="25"/>
                      <a:pt x="192" y="24"/>
                    </a:cubicBezTo>
                    <a:cubicBezTo>
                      <a:pt x="192" y="24"/>
                      <a:pt x="192" y="24"/>
                      <a:pt x="191" y="24"/>
                    </a:cubicBezTo>
                    <a:cubicBezTo>
                      <a:pt x="191" y="24"/>
                      <a:pt x="191" y="24"/>
                      <a:pt x="190" y="24"/>
                    </a:cubicBezTo>
                    <a:cubicBezTo>
                      <a:pt x="190" y="24"/>
                      <a:pt x="190" y="24"/>
                      <a:pt x="190" y="24"/>
                    </a:cubicBezTo>
                    <a:cubicBezTo>
                      <a:pt x="189" y="24"/>
                      <a:pt x="189" y="24"/>
                      <a:pt x="189" y="24"/>
                    </a:cubicBezTo>
                    <a:cubicBezTo>
                      <a:pt x="186" y="24"/>
                      <a:pt x="186" y="24"/>
                      <a:pt x="186" y="24"/>
                    </a:cubicBezTo>
                    <a:cubicBezTo>
                      <a:pt x="186" y="24"/>
                      <a:pt x="185" y="24"/>
                      <a:pt x="185" y="23"/>
                    </a:cubicBezTo>
                    <a:cubicBezTo>
                      <a:pt x="184" y="23"/>
                      <a:pt x="184" y="23"/>
                      <a:pt x="184" y="23"/>
                    </a:cubicBezTo>
                    <a:cubicBezTo>
                      <a:pt x="184" y="23"/>
                      <a:pt x="182" y="23"/>
                      <a:pt x="181" y="23"/>
                    </a:cubicBezTo>
                    <a:cubicBezTo>
                      <a:pt x="180" y="22"/>
                      <a:pt x="179" y="22"/>
                      <a:pt x="178" y="22"/>
                    </a:cubicBezTo>
                    <a:cubicBezTo>
                      <a:pt x="177" y="22"/>
                      <a:pt x="176" y="22"/>
                      <a:pt x="174" y="23"/>
                    </a:cubicBezTo>
                    <a:cubicBezTo>
                      <a:pt x="174" y="23"/>
                      <a:pt x="174" y="23"/>
                      <a:pt x="174" y="23"/>
                    </a:cubicBezTo>
                    <a:cubicBezTo>
                      <a:pt x="172" y="23"/>
                      <a:pt x="171" y="24"/>
                      <a:pt x="169" y="24"/>
                    </a:cubicBezTo>
                    <a:cubicBezTo>
                      <a:pt x="169" y="24"/>
                      <a:pt x="169" y="25"/>
                      <a:pt x="169" y="25"/>
                    </a:cubicBezTo>
                    <a:cubicBezTo>
                      <a:pt x="168" y="25"/>
                      <a:pt x="168" y="25"/>
                      <a:pt x="168" y="25"/>
                    </a:cubicBezTo>
                    <a:cubicBezTo>
                      <a:pt x="168" y="25"/>
                      <a:pt x="168" y="25"/>
                      <a:pt x="168" y="25"/>
                    </a:cubicBezTo>
                    <a:cubicBezTo>
                      <a:pt x="167" y="25"/>
                      <a:pt x="167" y="25"/>
                      <a:pt x="167" y="25"/>
                    </a:cubicBezTo>
                    <a:cubicBezTo>
                      <a:pt x="166" y="26"/>
                      <a:pt x="165" y="27"/>
                      <a:pt x="163" y="26"/>
                    </a:cubicBezTo>
                    <a:cubicBezTo>
                      <a:pt x="151" y="23"/>
                      <a:pt x="151" y="23"/>
                      <a:pt x="151" y="23"/>
                    </a:cubicBezTo>
                    <a:cubicBezTo>
                      <a:pt x="150" y="23"/>
                      <a:pt x="149" y="23"/>
                      <a:pt x="148" y="22"/>
                    </a:cubicBezTo>
                    <a:cubicBezTo>
                      <a:pt x="147" y="21"/>
                      <a:pt x="147" y="21"/>
                      <a:pt x="147" y="21"/>
                    </a:cubicBezTo>
                    <a:cubicBezTo>
                      <a:pt x="146" y="20"/>
                      <a:pt x="146" y="20"/>
                      <a:pt x="146" y="20"/>
                    </a:cubicBezTo>
                    <a:cubicBezTo>
                      <a:pt x="146" y="19"/>
                      <a:pt x="145" y="19"/>
                      <a:pt x="145" y="18"/>
                    </a:cubicBezTo>
                    <a:cubicBezTo>
                      <a:pt x="145" y="18"/>
                      <a:pt x="145" y="17"/>
                      <a:pt x="145" y="17"/>
                    </a:cubicBezTo>
                    <a:cubicBezTo>
                      <a:pt x="145" y="16"/>
                      <a:pt x="145" y="16"/>
                      <a:pt x="145" y="16"/>
                    </a:cubicBezTo>
                    <a:cubicBezTo>
                      <a:pt x="145" y="15"/>
                      <a:pt x="145" y="15"/>
                      <a:pt x="145" y="15"/>
                    </a:cubicBezTo>
                    <a:cubicBezTo>
                      <a:pt x="145" y="15"/>
                      <a:pt x="145" y="15"/>
                      <a:pt x="145" y="14"/>
                    </a:cubicBezTo>
                    <a:cubicBezTo>
                      <a:pt x="145" y="14"/>
                      <a:pt x="144" y="13"/>
                      <a:pt x="144" y="13"/>
                    </a:cubicBezTo>
                    <a:cubicBezTo>
                      <a:pt x="144" y="12"/>
                      <a:pt x="144" y="12"/>
                      <a:pt x="144" y="11"/>
                    </a:cubicBezTo>
                    <a:cubicBezTo>
                      <a:pt x="144" y="11"/>
                      <a:pt x="144" y="10"/>
                      <a:pt x="144" y="10"/>
                    </a:cubicBezTo>
                    <a:cubicBezTo>
                      <a:pt x="144" y="10"/>
                      <a:pt x="143" y="10"/>
                      <a:pt x="143" y="10"/>
                    </a:cubicBezTo>
                    <a:cubicBezTo>
                      <a:pt x="142" y="10"/>
                      <a:pt x="142" y="10"/>
                      <a:pt x="142" y="10"/>
                    </a:cubicBezTo>
                    <a:cubicBezTo>
                      <a:pt x="141" y="9"/>
                      <a:pt x="140" y="9"/>
                      <a:pt x="140" y="9"/>
                    </a:cubicBezTo>
                    <a:cubicBezTo>
                      <a:pt x="137" y="8"/>
                      <a:pt x="137" y="8"/>
                      <a:pt x="137" y="8"/>
                    </a:cubicBezTo>
                    <a:cubicBezTo>
                      <a:pt x="136" y="8"/>
                      <a:pt x="134" y="7"/>
                      <a:pt x="133" y="7"/>
                    </a:cubicBezTo>
                    <a:cubicBezTo>
                      <a:pt x="132" y="6"/>
                      <a:pt x="131" y="6"/>
                      <a:pt x="130" y="6"/>
                    </a:cubicBezTo>
                    <a:cubicBezTo>
                      <a:pt x="129" y="6"/>
                      <a:pt x="129" y="6"/>
                      <a:pt x="129" y="5"/>
                    </a:cubicBezTo>
                    <a:cubicBezTo>
                      <a:pt x="128" y="5"/>
                      <a:pt x="128" y="5"/>
                      <a:pt x="128" y="5"/>
                    </a:cubicBezTo>
                    <a:cubicBezTo>
                      <a:pt x="128" y="5"/>
                      <a:pt x="128" y="5"/>
                      <a:pt x="128" y="5"/>
                    </a:cubicBezTo>
                    <a:cubicBezTo>
                      <a:pt x="128" y="5"/>
                      <a:pt x="128" y="5"/>
                      <a:pt x="128" y="5"/>
                    </a:cubicBezTo>
                    <a:cubicBezTo>
                      <a:pt x="128" y="5"/>
                      <a:pt x="128" y="5"/>
                      <a:pt x="128" y="5"/>
                    </a:cubicBezTo>
                    <a:cubicBezTo>
                      <a:pt x="124" y="5"/>
                      <a:pt x="122" y="5"/>
                      <a:pt x="119" y="3"/>
                    </a:cubicBezTo>
                    <a:cubicBezTo>
                      <a:pt x="113" y="0"/>
                      <a:pt x="113" y="0"/>
                      <a:pt x="113" y="0"/>
                    </a:cubicBezTo>
                    <a:cubicBezTo>
                      <a:pt x="113" y="0"/>
                      <a:pt x="113" y="0"/>
                      <a:pt x="113" y="0"/>
                    </a:cubicBezTo>
                    <a:cubicBezTo>
                      <a:pt x="113" y="0"/>
                      <a:pt x="113" y="0"/>
                      <a:pt x="113" y="0"/>
                    </a:cubicBezTo>
                    <a:cubicBezTo>
                      <a:pt x="111" y="2"/>
                      <a:pt x="111" y="2"/>
                      <a:pt x="111" y="2"/>
                    </a:cubicBezTo>
                    <a:cubicBezTo>
                      <a:pt x="110" y="2"/>
                      <a:pt x="109" y="3"/>
                      <a:pt x="108" y="4"/>
                    </a:cubicBezTo>
                    <a:cubicBezTo>
                      <a:pt x="108" y="4"/>
                      <a:pt x="108" y="4"/>
                      <a:pt x="108" y="4"/>
                    </a:cubicBezTo>
                    <a:cubicBezTo>
                      <a:pt x="108" y="4"/>
                      <a:pt x="108" y="5"/>
                      <a:pt x="108" y="5"/>
                    </a:cubicBezTo>
                    <a:cubicBezTo>
                      <a:pt x="108" y="5"/>
                      <a:pt x="108" y="5"/>
                      <a:pt x="108" y="5"/>
                    </a:cubicBezTo>
                    <a:cubicBezTo>
                      <a:pt x="107" y="5"/>
                      <a:pt x="107" y="5"/>
                      <a:pt x="107" y="5"/>
                    </a:cubicBezTo>
                    <a:cubicBezTo>
                      <a:pt x="107" y="5"/>
                      <a:pt x="107" y="5"/>
                      <a:pt x="107" y="5"/>
                    </a:cubicBezTo>
                    <a:cubicBezTo>
                      <a:pt x="107" y="5"/>
                      <a:pt x="107" y="5"/>
                      <a:pt x="107" y="5"/>
                    </a:cubicBezTo>
                    <a:cubicBezTo>
                      <a:pt x="107" y="5"/>
                      <a:pt x="107" y="5"/>
                      <a:pt x="107" y="5"/>
                    </a:cubicBezTo>
                    <a:cubicBezTo>
                      <a:pt x="107" y="6"/>
                      <a:pt x="107" y="6"/>
                      <a:pt x="107" y="6"/>
                    </a:cubicBezTo>
                    <a:cubicBezTo>
                      <a:pt x="107" y="7"/>
                      <a:pt x="106" y="8"/>
                      <a:pt x="104" y="9"/>
                    </a:cubicBezTo>
                    <a:cubicBezTo>
                      <a:pt x="104" y="9"/>
                      <a:pt x="104" y="9"/>
                      <a:pt x="104" y="9"/>
                    </a:cubicBezTo>
                    <a:cubicBezTo>
                      <a:pt x="104" y="9"/>
                      <a:pt x="104" y="10"/>
                      <a:pt x="104" y="11"/>
                    </a:cubicBezTo>
                    <a:cubicBezTo>
                      <a:pt x="104" y="11"/>
                      <a:pt x="104" y="11"/>
                      <a:pt x="104" y="11"/>
                    </a:cubicBezTo>
                    <a:cubicBezTo>
                      <a:pt x="104" y="11"/>
                      <a:pt x="103" y="11"/>
                      <a:pt x="103" y="12"/>
                    </a:cubicBezTo>
                    <a:cubicBezTo>
                      <a:pt x="103" y="12"/>
                      <a:pt x="103" y="12"/>
                      <a:pt x="103" y="12"/>
                    </a:cubicBezTo>
                    <a:cubicBezTo>
                      <a:pt x="103" y="13"/>
                      <a:pt x="103" y="13"/>
                      <a:pt x="103" y="13"/>
                    </a:cubicBezTo>
                    <a:cubicBezTo>
                      <a:pt x="103" y="13"/>
                      <a:pt x="103" y="13"/>
                      <a:pt x="103" y="13"/>
                    </a:cubicBezTo>
                    <a:cubicBezTo>
                      <a:pt x="103" y="14"/>
                      <a:pt x="103" y="15"/>
                      <a:pt x="104" y="16"/>
                    </a:cubicBezTo>
                    <a:cubicBezTo>
                      <a:pt x="104" y="17"/>
                      <a:pt x="104" y="18"/>
                      <a:pt x="105" y="18"/>
                    </a:cubicBezTo>
                    <a:cubicBezTo>
                      <a:pt x="105" y="18"/>
                      <a:pt x="105" y="18"/>
                      <a:pt x="106" y="19"/>
                    </a:cubicBezTo>
                    <a:cubicBezTo>
                      <a:pt x="107" y="19"/>
                      <a:pt x="108" y="20"/>
                      <a:pt x="107" y="22"/>
                    </a:cubicBezTo>
                    <a:cubicBezTo>
                      <a:pt x="107" y="22"/>
                      <a:pt x="107" y="23"/>
                      <a:pt x="107" y="23"/>
                    </a:cubicBezTo>
                    <a:cubicBezTo>
                      <a:pt x="106" y="26"/>
                      <a:pt x="106" y="26"/>
                      <a:pt x="106" y="26"/>
                    </a:cubicBezTo>
                    <a:cubicBezTo>
                      <a:pt x="106" y="26"/>
                      <a:pt x="106" y="26"/>
                      <a:pt x="106" y="26"/>
                    </a:cubicBezTo>
                    <a:cubicBezTo>
                      <a:pt x="105" y="28"/>
                      <a:pt x="103" y="28"/>
                      <a:pt x="102" y="29"/>
                    </a:cubicBezTo>
                    <a:cubicBezTo>
                      <a:pt x="101" y="29"/>
                      <a:pt x="101" y="29"/>
                      <a:pt x="101" y="29"/>
                    </a:cubicBezTo>
                    <a:cubicBezTo>
                      <a:pt x="101" y="29"/>
                      <a:pt x="100" y="29"/>
                      <a:pt x="100" y="29"/>
                    </a:cubicBezTo>
                    <a:cubicBezTo>
                      <a:pt x="100" y="29"/>
                      <a:pt x="100" y="29"/>
                      <a:pt x="100" y="29"/>
                    </a:cubicBezTo>
                    <a:cubicBezTo>
                      <a:pt x="100" y="29"/>
                      <a:pt x="100" y="29"/>
                      <a:pt x="100" y="29"/>
                    </a:cubicBezTo>
                    <a:cubicBezTo>
                      <a:pt x="100" y="29"/>
                      <a:pt x="100" y="29"/>
                      <a:pt x="100" y="29"/>
                    </a:cubicBezTo>
                    <a:cubicBezTo>
                      <a:pt x="100" y="30"/>
                      <a:pt x="99" y="30"/>
                      <a:pt x="99" y="30"/>
                    </a:cubicBezTo>
                    <a:cubicBezTo>
                      <a:pt x="99" y="30"/>
                      <a:pt x="98" y="31"/>
                      <a:pt x="97" y="32"/>
                    </a:cubicBezTo>
                    <a:cubicBezTo>
                      <a:pt x="96" y="32"/>
                      <a:pt x="95" y="32"/>
                      <a:pt x="94" y="31"/>
                    </a:cubicBezTo>
                    <a:cubicBezTo>
                      <a:pt x="93" y="31"/>
                      <a:pt x="93" y="31"/>
                      <a:pt x="92" y="31"/>
                    </a:cubicBezTo>
                    <a:cubicBezTo>
                      <a:pt x="92" y="31"/>
                      <a:pt x="91" y="30"/>
                      <a:pt x="90" y="30"/>
                    </a:cubicBezTo>
                    <a:cubicBezTo>
                      <a:pt x="88" y="30"/>
                      <a:pt x="88" y="30"/>
                      <a:pt x="88" y="30"/>
                    </a:cubicBezTo>
                    <a:cubicBezTo>
                      <a:pt x="88" y="30"/>
                      <a:pt x="88" y="30"/>
                      <a:pt x="88" y="30"/>
                    </a:cubicBezTo>
                    <a:cubicBezTo>
                      <a:pt x="87" y="30"/>
                      <a:pt x="87" y="30"/>
                      <a:pt x="87" y="30"/>
                    </a:cubicBezTo>
                    <a:cubicBezTo>
                      <a:pt x="87" y="29"/>
                      <a:pt x="86" y="29"/>
                      <a:pt x="86" y="29"/>
                    </a:cubicBezTo>
                    <a:cubicBezTo>
                      <a:pt x="85" y="29"/>
                      <a:pt x="85" y="29"/>
                      <a:pt x="85" y="29"/>
                    </a:cubicBezTo>
                    <a:cubicBezTo>
                      <a:pt x="85" y="29"/>
                      <a:pt x="84" y="29"/>
                      <a:pt x="83" y="29"/>
                    </a:cubicBezTo>
                    <a:cubicBezTo>
                      <a:pt x="83" y="28"/>
                      <a:pt x="83" y="28"/>
                      <a:pt x="82" y="28"/>
                    </a:cubicBezTo>
                    <a:cubicBezTo>
                      <a:pt x="82" y="28"/>
                      <a:pt x="82" y="28"/>
                      <a:pt x="82" y="28"/>
                    </a:cubicBezTo>
                    <a:cubicBezTo>
                      <a:pt x="81" y="28"/>
                      <a:pt x="80" y="29"/>
                      <a:pt x="79" y="29"/>
                    </a:cubicBezTo>
                    <a:cubicBezTo>
                      <a:pt x="79" y="29"/>
                      <a:pt x="79" y="29"/>
                      <a:pt x="79" y="29"/>
                    </a:cubicBezTo>
                    <a:cubicBezTo>
                      <a:pt x="78" y="29"/>
                      <a:pt x="78" y="29"/>
                      <a:pt x="78" y="29"/>
                    </a:cubicBezTo>
                    <a:cubicBezTo>
                      <a:pt x="78" y="30"/>
                      <a:pt x="77" y="30"/>
                      <a:pt x="77" y="30"/>
                    </a:cubicBezTo>
                    <a:cubicBezTo>
                      <a:pt x="77" y="30"/>
                      <a:pt x="77" y="30"/>
                      <a:pt x="76" y="30"/>
                    </a:cubicBezTo>
                    <a:cubicBezTo>
                      <a:pt x="76" y="30"/>
                      <a:pt x="76" y="30"/>
                      <a:pt x="76" y="29"/>
                    </a:cubicBezTo>
                    <a:cubicBezTo>
                      <a:pt x="70" y="28"/>
                      <a:pt x="70" y="28"/>
                      <a:pt x="70" y="28"/>
                    </a:cubicBezTo>
                    <a:cubicBezTo>
                      <a:pt x="68" y="28"/>
                      <a:pt x="67" y="28"/>
                      <a:pt x="66" y="26"/>
                    </a:cubicBezTo>
                    <a:cubicBezTo>
                      <a:pt x="66" y="25"/>
                      <a:pt x="66" y="25"/>
                      <a:pt x="66" y="25"/>
                    </a:cubicBezTo>
                    <a:cubicBezTo>
                      <a:pt x="66" y="25"/>
                      <a:pt x="65" y="24"/>
                      <a:pt x="65" y="24"/>
                    </a:cubicBezTo>
                    <a:cubicBezTo>
                      <a:pt x="65" y="23"/>
                      <a:pt x="65" y="23"/>
                      <a:pt x="65" y="23"/>
                    </a:cubicBezTo>
                    <a:cubicBezTo>
                      <a:pt x="65" y="22"/>
                      <a:pt x="65" y="22"/>
                      <a:pt x="64" y="21"/>
                    </a:cubicBezTo>
                    <a:cubicBezTo>
                      <a:pt x="64" y="21"/>
                      <a:pt x="64" y="21"/>
                      <a:pt x="64" y="21"/>
                    </a:cubicBezTo>
                    <a:cubicBezTo>
                      <a:pt x="64" y="21"/>
                      <a:pt x="64" y="21"/>
                      <a:pt x="63" y="21"/>
                    </a:cubicBezTo>
                    <a:cubicBezTo>
                      <a:pt x="59" y="20"/>
                      <a:pt x="59" y="20"/>
                      <a:pt x="59" y="20"/>
                    </a:cubicBezTo>
                    <a:cubicBezTo>
                      <a:pt x="58" y="20"/>
                      <a:pt x="57" y="20"/>
                      <a:pt x="55" y="20"/>
                    </a:cubicBezTo>
                    <a:cubicBezTo>
                      <a:pt x="55" y="20"/>
                      <a:pt x="55" y="20"/>
                      <a:pt x="55" y="20"/>
                    </a:cubicBezTo>
                    <a:cubicBezTo>
                      <a:pt x="54" y="20"/>
                      <a:pt x="54" y="19"/>
                      <a:pt x="53" y="19"/>
                    </a:cubicBezTo>
                    <a:cubicBezTo>
                      <a:pt x="53" y="19"/>
                      <a:pt x="52" y="19"/>
                      <a:pt x="52" y="18"/>
                    </a:cubicBezTo>
                    <a:cubicBezTo>
                      <a:pt x="52" y="18"/>
                      <a:pt x="51" y="18"/>
                      <a:pt x="51" y="18"/>
                    </a:cubicBezTo>
                    <a:cubicBezTo>
                      <a:pt x="51" y="18"/>
                      <a:pt x="51" y="18"/>
                      <a:pt x="51" y="18"/>
                    </a:cubicBezTo>
                    <a:cubicBezTo>
                      <a:pt x="50" y="18"/>
                      <a:pt x="50" y="18"/>
                      <a:pt x="50" y="18"/>
                    </a:cubicBezTo>
                    <a:cubicBezTo>
                      <a:pt x="49" y="18"/>
                      <a:pt x="49" y="18"/>
                      <a:pt x="48" y="18"/>
                    </a:cubicBezTo>
                    <a:cubicBezTo>
                      <a:pt x="48" y="18"/>
                      <a:pt x="48" y="18"/>
                      <a:pt x="48" y="18"/>
                    </a:cubicBezTo>
                    <a:cubicBezTo>
                      <a:pt x="47" y="18"/>
                      <a:pt x="47" y="18"/>
                      <a:pt x="47" y="18"/>
                    </a:cubicBezTo>
                    <a:cubicBezTo>
                      <a:pt x="47" y="17"/>
                      <a:pt x="46" y="17"/>
                      <a:pt x="46" y="17"/>
                    </a:cubicBezTo>
                    <a:cubicBezTo>
                      <a:pt x="46" y="17"/>
                      <a:pt x="46" y="17"/>
                      <a:pt x="46" y="17"/>
                    </a:cubicBezTo>
                    <a:cubicBezTo>
                      <a:pt x="46" y="18"/>
                      <a:pt x="45" y="18"/>
                      <a:pt x="45" y="19"/>
                    </a:cubicBezTo>
                    <a:cubicBezTo>
                      <a:pt x="45" y="19"/>
                      <a:pt x="44" y="19"/>
                      <a:pt x="44" y="19"/>
                    </a:cubicBezTo>
                    <a:cubicBezTo>
                      <a:pt x="44" y="19"/>
                      <a:pt x="43" y="19"/>
                      <a:pt x="43" y="19"/>
                    </a:cubicBezTo>
                    <a:cubicBezTo>
                      <a:pt x="43" y="19"/>
                      <a:pt x="42" y="19"/>
                      <a:pt x="42" y="19"/>
                    </a:cubicBezTo>
                    <a:cubicBezTo>
                      <a:pt x="41" y="19"/>
                      <a:pt x="41" y="19"/>
                      <a:pt x="41" y="19"/>
                    </a:cubicBezTo>
                    <a:cubicBezTo>
                      <a:pt x="40" y="19"/>
                      <a:pt x="39" y="19"/>
                      <a:pt x="39" y="20"/>
                    </a:cubicBezTo>
                    <a:cubicBezTo>
                      <a:pt x="37" y="20"/>
                      <a:pt x="37" y="20"/>
                      <a:pt x="37" y="20"/>
                    </a:cubicBezTo>
                    <a:cubicBezTo>
                      <a:pt x="36" y="21"/>
                      <a:pt x="35" y="21"/>
                      <a:pt x="34" y="22"/>
                    </a:cubicBezTo>
                    <a:cubicBezTo>
                      <a:pt x="31" y="24"/>
                      <a:pt x="31" y="24"/>
                      <a:pt x="31" y="24"/>
                    </a:cubicBezTo>
                    <a:cubicBezTo>
                      <a:pt x="29" y="24"/>
                      <a:pt x="27" y="25"/>
                      <a:pt x="25" y="26"/>
                    </a:cubicBezTo>
                    <a:cubicBezTo>
                      <a:pt x="25" y="27"/>
                      <a:pt x="25" y="27"/>
                      <a:pt x="25" y="27"/>
                    </a:cubicBezTo>
                    <a:cubicBezTo>
                      <a:pt x="23" y="28"/>
                      <a:pt x="23" y="28"/>
                      <a:pt x="23" y="28"/>
                    </a:cubicBezTo>
                    <a:cubicBezTo>
                      <a:pt x="23" y="28"/>
                      <a:pt x="23" y="28"/>
                      <a:pt x="22" y="28"/>
                    </a:cubicBezTo>
                    <a:cubicBezTo>
                      <a:pt x="19" y="30"/>
                      <a:pt x="19" y="30"/>
                      <a:pt x="19" y="30"/>
                    </a:cubicBezTo>
                    <a:cubicBezTo>
                      <a:pt x="19" y="30"/>
                      <a:pt x="20" y="31"/>
                      <a:pt x="19" y="31"/>
                    </a:cubicBezTo>
                    <a:cubicBezTo>
                      <a:pt x="19" y="32"/>
                      <a:pt x="18" y="32"/>
                      <a:pt x="18" y="33"/>
                    </a:cubicBezTo>
                    <a:cubicBezTo>
                      <a:pt x="15" y="34"/>
                      <a:pt x="13" y="35"/>
                      <a:pt x="11" y="35"/>
                    </a:cubicBezTo>
                    <a:cubicBezTo>
                      <a:pt x="8" y="35"/>
                      <a:pt x="8" y="35"/>
                      <a:pt x="8" y="35"/>
                    </a:cubicBezTo>
                    <a:cubicBezTo>
                      <a:pt x="8" y="35"/>
                      <a:pt x="8" y="35"/>
                      <a:pt x="7" y="35"/>
                    </a:cubicBezTo>
                    <a:cubicBezTo>
                      <a:pt x="7" y="35"/>
                      <a:pt x="6" y="36"/>
                      <a:pt x="6" y="36"/>
                    </a:cubicBezTo>
                    <a:cubicBezTo>
                      <a:pt x="5" y="36"/>
                      <a:pt x="5" y="36"/>
                      <a:pt x="5" y="35"/>
                    </a:cubicBezTo>
                    <a:cubicBezTo>
                      <a:pt x="4" y="35"/>
                      <a:pt x="4" y="35"/>
                      <a:pt x="4" y="35"/>
                    </a:cubicBezTo>
                    <a:cubicBezTo>
                      <a:pt x="4" y="36"/>
                      <a:pt x="4" y="36"/>
                      <a:pt x="4" y="36"/>
                    </a:cubicBezTo>
                    <a:cubicBezTo>
                      <a:pt x="4" y="36"/>
                      <a:pt x="4" y="36"/>
                      <a:pt x="4" y="36"/>
                    </a:cubicBezTo>
                    <a:cubicBezTo>
                      <a:pt x="4" y="36"/>
                      <a:pt x="4" y="36"/>
                      <a:pt x="4" y="36"/>
                    </a:cubicBezTo>
                    <a:cubicBezTo>
                      <a:pt x="4" y="36"/>
                      <a:pt x="4" y="36"/>
                      <a:pt x="4" y="36"/>
                    </a:cubicBezTo>
                    <a:cubicBezTo>
                      <a:pt x="4" y="38"/>
                      <a:pt x="4" y="38"/>
                      <a:pt x="4" y="38"/>
                    </a:cubicBezTo>
                    <a:cubicBezTo>
                      <a:pt x="4" y="37"/>
                      <a:pt x="4" y="37"/>
                      <a:pt x="4" y="37"/>
                    </a:cubicBezTo>
                    <a:cubicBezTo>
                      <a:pt x="4" y="37"/>
                      <a:pt x="4" y="37"/>
                      <a:pt x="4" y="37"/>
                    </a:cubicBezTo>
                    <a:cubicBezTo>
                      <a:pt x="3" y="38"/>
                      <a:pt x="3" y="38"/>
                      <a:pt x="3" y="38"/>
                    </a:cubicBezTo>
                    <a:cubicBezTo>
                      <a:pt x="2" y="38"/>
                      <a:pt x="2" y="38"/>
                      <a:pt x="2" y="38"/>
                    </a:cubicBezTo>
                    <a:cubicBezTo>
                      <a:pt x="1" y="39"/>
                      <a:pt x="1" y="39"/>
                      <a:pt x="1" y="39"/>
                    </a:cubicBezTo>
                    <a:cubicBezTo>
                      <a:pt x="1" y="40"/>
                      <a:pt x="1" y="40"/>
                      <a:pt x="1" y="40"/>
                    </a:cubicBezTo>
                    <a:cubicBezTo>
                      <a:pt x="1" y="40"/>
                      <a:pt x="1" y="40"/>
                      <a:pt x="1" y="40"/>
                    </a:cubicBezTo>
                    <a:cubicBezTo>
                      <a:pt x="0" y="40"/>
                      <a:pt x="0" y="41"/>
                      <a:pt x="0" y="41"/>
                    </a:cubicBezTo>
                    <a:cubicBezTo>
                      <a:pt x="0" y="41"/>
                      <a:pt x="0" y="42"/>
                      <a:pt x="0" y="42"/>
                    </a:cubicBezTo>
                    <a:cubicBezTo>
                      <a:pt x="0" y="42"/>
                      <a:pt x="0" y="42"/>
                      <a:pt x="0" y="42"/>
                    </a:cubicBezTo>
                    <a:cubicBezTo>
                      <a:pt x="0" y="42"/>
                      <a:pt x="0" y="42"/>
                      <a:pt x="1" y="42"/>
                    </a:cubicBezTo>
                    <a:cubicBezTo>
                      <a:pt x="1" y="43"/>
                      <a:pt x="3" y="43"/>
                      <a:pt x="3" y="45"/>
                    </a:cubicBezTo>
                    <a:cubicBezTo>
                      <a:pt x="3" y="45"/>
                      <a:pt x="3" y="45"/>
                      <a:pt x="3" y="46"/>
                    </a:cubicBezTo>
                    <a:cubicBezTo>
                      <a:pt x="3" y="46"/>
                      <a:pt x="3" y="46"/>
                      <a:pt x="3" y="46"/>
                    </a:cubicBezTo>
                    <a:cubicBezTo>
                      <a:pt x="3" y="46"/>
                      <a:pt x="3" y="46"/>
                      <a:pt x="3" y="46"/>
                    </a:cubicBezTo>
                    <a:cubicBezTo>
                      <a:pt x="3" y="46"/>
                      <a:pt x="3" y="46"/>
                      <a:pt x="3" y="46"/>
                    </a:cubicBezTo>
                    <a:cubicBezTo>
                      <a:pt x="3" y="46"/>
                      <a:pt x="3" y="46"/>
                      <a:pt x="3" y="46"/>
                    </a:cubicBezTo>
                    <a:cubicBezTo>
                      <a:pt x="4" y="46"/>
                      <a:pt x="4" y="46"/>
                      <a:pt x="5" y="46"/>
                    </a:cubicBezTo>
                    <a:cubicBezTo>
                      <a:pt x="6" y="47"/>
                      <a:pt x="7" y="48"/>
                      <a:pt x="8" y="49"/>
                    </a:cubicBezTo>
                    <a:cubicBezTo>
                      <a:pt x="9" y="50"/>
                      <a:pt x="10" y="51"/>
                      <a:pt x="11" y="52"/>
                    </a:cubicBezTo>
                    <a:cubicBezTo>
                      <a:pt x="11" y="52"/>
                      <a:pt x="11" y="52"/>
                      <a:pt x="11" y="52"/>
                    </a:cubicBezTo>
                    <a:cubicBezTo>
                      <a:pt x="11" y="52"/>
                      <a:pt x="12" y="52"/>
                      <a:pt x="12" y="52"/>
                    </a:cubicBezTo>
                    <a:cubicBezTo>
                      <a:pt x="12" y="52"/>
                      <a:pt x="12" y="52"/>
                      <a:pt x="12" y="52"/>
                    </a:cubicBezTo>
                    <a:cubicBezTo>
                      <a:pt x="12" y="52"/>
                      <a:pt x="13" y="52"/>
                      <a:pt x="13" y="52"/>
                    </a:cubicBezTo>
                    <a:cubicBezTo>
                      <a:pt x="13" y="52"/>
                      <a:pt x="14" y="52"/>
                      <a:pt x="14" y="52"/>
                    </a:cubicBezTo>
                    <a:cubicBezTo>
                      <a:pt x="16" y="52"/>
                      <a:pt x="17" y="52"/>
                      <a:pt x="18" y="53"/>
                    </a:cubicBezTo>
                    <a:cubicBezTo>
                      <a:pt x="18" y="53"/>
                      <a:pt x="18" y="53"/>
                      <a:pt x="18" y="53"/>
                    </a:cubicBezTo>
                    <a:cubicBezTo>
                      <a:pt x="19" y="54"/>
                      <a:pt x="20" y="55"/>
                      <a:pt x="21" y="55"/>
                    </a:cubicBezTo>
                    <a:cubicBezTo>
                      <a:pt x="21" y="54"/>
                      <a:pt x="21" y="54"/>
                      <a:pt x="21" y="54"/>
                    </a:cubicBezTo>
                    <a:cubicBezTo>
                      <a:pt x="23" y="54"/>
                      <a:pt x="24" y="56"/>
                      <a:pt x="25" y="56"/>
                    </a:cubicBezTo>
                    <a:cubicBezTo>
                      <a:pt x="25" y="57"/>
                      <a:pt x="25" y="57"/>
                      <a:pt x="25" y="57"/>
                    </a:cubicBezTo>
                    <a:cubicBezTo>
                      <a:pt x="25" y="57"/>
                      <a:pt x="25" y="57"/>
                      <a:pt x="25" y="57"/>
                    </a:cubicBezTo>
                    <a:cubicBezTo>
                      <a:pt x="26" y="58"/>
                      <a:pt x="27" y="59"/>
                      <a:pt x="27" y="60"/>
                    </a:cubicBezTo>
                    <a:cubicBezTo>
                      <a:pt x="27" y="61"/>
                      <a:pt x="27" y="61"/>
                      <a:pt x="27" y="61"/>
                    </a:cubicBezTo>
                    <a:cubicBezTo>
                      <a:pt x="28" y="62"/>
                      <a:pt x="28" y="63"/>
                      <a:pt x="29" y="63"/>
                    </a:cubicBezTo>
                    <a:cubicBezTo>
                      <a:pt x="33" y="69"/>
                      <a:pt x="33" y="69"/>
                      <a:pt x="33" y="69"/>
                    </a:cubicBezTo>
                    <a:cubicBezTo>
                      <a:pt x="33" y="71"/>
                      <a:pt x="33" y="72"/>
                      <a:pt x="33" y="73"/>
                    </a:cubicBezTo>
                    <a:cubicBezTo>
                      <a:pt x="33" y="73"/>
                      <a:pt x="33" y="73"/>
                      <a:pt x="33" y="73"/>
                    </a:cubicBezTo>
                    <a:cubicBezTo>
                      <a:pt x="33" y="75"/>
                      <a:pt x="33" y="76"/>
                      <a:pt x="33" y="78"/>
                    </a:cubicBezTo>
                    <a:cubicBezTo>
                      <a:pt x="33" y="78"/>
                      <a:pt x="33" y="78"/>
                      <a:pt x="33" y="78"/>
                    </a:cubicBezTo>
                    <a:cubicBezTo>
                      <a:pt x="33" y="78"/>
                      <a:pt x="33" y="78"/>
                      <a:pt x="33" y="79"/>
                    </a:cubicBezTo>
                    <a:cubicBezTo>
                      <a:pt x="33" y="79"/>
                      <a:pt x="33" y="79"/>
                      <a:pt x="33" y="80"/>
                    </a:cubicBezTo>
                    <a:cubicBezTo>
                      <a:pt x="33" y="80"/>
                      <a:pt x="33" y="80"/>
                      <a:pt x="32" y="81"/>
                    </a:cubicBezTo>
                    <a:cubicBezTo>
                      <a:pt x="32" y="81"/>
                      <a:pt x="32" y="82"/>
                      <a:pt x="31" y="82"/>
                    </a:cubicBezTo>
                    <a:cubicBezTo>
                      <a:pt x="31" y="83"/>
                      <a:pt x="31" y="83"/>
                      <a:pt x="31" y="83"/>
                    </a:cubicBezTo>
                    <a:cubicBezTo>
                      <a:pt x="31" y="84"/>
                      <a:pt x="31" y="84"/>
                      <a:pt x="30" y="84"/>
                    </a:cubicBezTo>
                    <a:cubicBezTo>
                      <a:pt x="30" y="85"/>
                      <a:pt x="29" y="86"/>
                      <a:pt x="30" y="86"/>
                    </a:cubicBezTo>
                    <a:cubicBezTo>
                      <a:pt x="30" y="87"/>
                      <a:pt x="31" y="88"/>
                      <a:pt x="31" y="88"/>
                    </a:cubicBezTo>
                    <a:cubicBezTo>
                      <a:pt x="31" y="88"/>
                      <a:pt x="31" y="88"/>
                      <a:pt x="31" y="89"/>
                    </a:cubicBezTo>
                    <a:cubicBezTo>
                      <a:pt x="32" y="89"/>
                      <a:pt x="32" y="89"/>
                      <a:pt x="32" y="89"/>
                    </a:cubicBezTo>
                    <a:cubicBezTo>
                      <a:pt x="33" y="89"/>
                      <a:pt x="34" y="89"/>
                      <a:pt x="36" y="89"/>
                    </a:cubicBezTo>
                    <a:cubicBezTo>
                      <a:pt x="38" y="89"/>
                      <a:pt x="40" y="90"/>
                      <a:pt x="42" y="90"/>
                    </a:cubicBezTo>
                    <a:cubicBezTo>
                      <a:pt x="46" y="90"/>
                      <a:pt x="50" y="90"/>
                      <a:pt x="54" y="91"/>
                    </a:cubicBezTo>
                    <a:cubicBezTo>
                      <a:pt x="55" y="91"/>
                      <a:pt x="55" y="91"/>
                      <a:pt x="55" y="91"/>
                    </a:cubicBezTo>
                    <a:cubicBezTo>
                      <a:pt x="56" y="91"/>
                      <a:pt x="57" y="91"/>
                      <a:pt x="59" y="92"/>
                    </a:cubicBezTo>
                    <a:cubicBezTo>
                      <a:pt x="66" y="96"/>
                      <a:pt x="66" y="96"/>
                      <a:pt x="66" y="96"/>
                    </a:cubicBezTo>
                    <a:cubicBezTo>
                      <a:pt x="66" y="96"/>
                      <a:pt x="67" y="97"/>
                      <a:pt x="67" y="97"/>
                    </a:cubicBezTo>
                    <a:cubicBezTo>
                      <a:pt x="69" y="98"/>
                      <a:pt x="70" y="99"/>
                      <a:pt x="72" y="100"/>
                    </a:cubicBezTo>
                    <a:cubicBezTo>
                      <a:pt x="73" y="100"/>
                      <a:pt x="74" y="100"/>
                      <a:pt x="75" y="100"/>
                    </a:cubicBezTo>
                    <a:cubicBezTo>
                      <a:pt x="78" y="100"/>
                      <a:pt x="78" y="100"/>
                      <a:pt x="78" y="100"/>
                    </a:cubicBezTo>
                    <a:cubicBezTo>
                      <a:pt x="78" y="101"/>
                      <a:pt x="78" y="101"/>
                      <a:pt x="78" y="101"/>
                    </a:cubicBezTo>
                    <a:cubicBezTo>
                      <a:pt x="78" y="102"/>
                      <a:pt x="77" y="102"/>
                      <a:pt x="77" y="102"/>
                    </a:cubicBezTo>
                    <a:cubicBezTo>
                      <a:pt x="77" y="103"/>
                      <a:pt x="77" y="103"/>
                      <a:pt x="77" y="103"/>
                    </a:cubicBezTo>
                    <a:cubicBezTo>
                      <a:pt x="78" y="102"/>
                      <a:pt x="78" y="102"/>
                      <a:pt x="78" y="102"/>
                    </a:cubicBezTo>
                    <a:cubicBezTo>
                      <a:pt x="78" y="104"/>
                      <a:pt x="78" y="104"/>
                      <a:pt x="78" y="104"/>
                    </a:cubicBezTo>
                    <a:cubicBezTo>
                      <a:pt x="78" y="104"/>
                      <a:pt x="78" y="104"/>
                      <a:pt x="78" y="104"/>
                    </a:cubicBezTo>
                    <a:cubicBezTo>
                      <a:pt x="78" y="104"/>
                      <a:pt x="79" y="105"/>
                      <a:pt x="79" y="105"/>
                    </a:cubicBezTo>
                    <a:cubicBezTo>
                      <a:pt x="80" y="106"/>
                      <a:pt x="80" y="106"/>
                      <a:pt x="80" y="106"/>
                    </a:cubicBezTo>
                    <a:cubicBezTo>
                      <a:pt x="80" y="107"/>
                      <a:pt x="80" y="107"/>
                      <a:pt x="80" y="107"/>
                    </a:cubicBezTo>
                    <a:cubicBezTo>
                      <a:pt x="82" y="112"/>
                      <a:pt x="82" y="112"/>
                      <a:pt x="82" y="112"/>
                    </a:cubicBezTo>
                    <a:cubicBezTo>
                      <a:pt x="83" y="114"/>
                      <a:pt x="84" y="115"/>
                      <a:pt x="85" y="116"/>
                    </a:cubicBezTo>
                    <a:cubicBezTo>
                      <a:pt x="85" y="116"/>
                      <a:pt x="86" y="117"/>
                      <a:pt x="86" y="117"/>
                    </a:cubicBezTo>
                    <a:cubicBezTo>
                      <a:pt x="86" y="117"/>
                      <a:pt x="86" y="117"/>
                      <a:pt x="86" y="117"/>
                    </a:cubicBezTo>
                    <a:cubicBezTo>
                      <a:pt x="86" y="117"/>
                      <a:pt x="86" y="117"/>
                      <a:pt x="86" y="117"/>
                    </a:cubicBezTo>
                    <a:cubicBezTo>
                      <a:pt x="86" y="118"/>
                      <a:pt x="87" y="118"/>
                      <a:pt x="87" y="118"/>
                    </a:cubicBezTo>
                    <a:cubicBezTo>
                      <a:pt x="87" y="118"/>
                      <a:pt x="87" y="119"/>
                      <a:pt x="87" y="119"/>
                    </a:cubicBezTo>
                    <a:cubicBezTo>
                      <a:pt x="87" y="119"/>
                      <a:pt x="87" y="119"/>
                      <a:pt x="87" y="119"/>
                    </a:cubicBezTo>
                    <a:cubicBezTo>
                      <a:pt x="89" y="119"/>
                      <a:pt x="89" y="119"/>
                      <a:pt x="89" y="119"/>
                    </a:cubicBezTo>
                    <a:cubicBezTo>
                      <a:pt x="90" y="119"/>
                      <a:pt x="91" y="119"/>
                      <a:pt x="92" y="119"/>
                    </a:cubicBezTo>
                    <a:cubicBezTo>
                      <a:pt x="95" y="118"/>
                      <a:pt x="97" y="119"/>
                      <a:pt x="99" y="119"/>
                    </a:cubicBezTo>
                    <a:cubicBezTo>
                      <a:pt x="101" y="120"/>
                      <a:pt x="101" y="120"/>
                      <a:pt x="101" y="120"/>
                    </a:cubicBezTo>
                    <a:cubicBezTo>
                      <a:pt x="102" y="120"/>
                      <a:pt x="102" y="120"/>
                      <a:pt x="103" y="120"/>
                    </a:cubicBezTo>
                    <a:cubicBezTo>
                      <a:pt x="104" y="120"/>
                      <a:pt x="104" y="120"/>
                      <a:pt x="104" y="120"/>
                    </a:cubicBezTo>
                    <a:cubicBezTo>
                      <a:pt x="105" y="120"/>
                      <a:pt x="105" y="120"/>
                      <a:pt x="106" y="120"/>
                    </a:cubicBezTo>
                    <a:cubicBezTo>
                      <a:pt x="110" y="121"/>
                      <a:pt x="114" y="121"/>
                      <a:pt x="119" y="121"/>
                    </a:cubicBezTo>
                    <a:cubicBezTo>
                      <a:pt x="119" y="121"/>
                      <a:pt x="119" y="121"/>
                      <a:pt x="119" y="121"/>
                    </a:cubicBezTo>
                    <a:cubicBezTo>
                      <a:pt x="119" y="121"/>
                      <a:pt x="119" y="121"/>
                      <a:pt x="119" y="121"/>
                    </a:cubicBezTo>
                    <a:cubicBezTo>
                      <a:pt x="120" y="121"/>
                      <a:pt x="120" y="121"/>
                      <a:pt x="121" y="120"/>
                    </a:cubicBezTo>
                    <a:cubicBezTo>
                      <a:pt x="121" y="120"/>
                      <a:pt x="123" y="120"/>
                      <a:pt x="124" y="120"/>
                    </a:cubicBezTo>
                    <a:cubicBezTo>
                      <a:pt x="124" y="120"/>
                      <a:pt x="124" y="120"/>
                      <a:pt x="124" y="120"/>
                    </a:cubicBezTo>
                    <a:cubicBezTo>
                      <a:pt x="124" y="120"/>
                      <a:pt x="124" y="120"/>
                      <a:pt x="125" y="120"/>
                    </a:cubicBezTo>
                    <a:cubicBezTo>
                      <a:pt x="139" y="122"/>
                      <a:pt x="139" y="122"/>
                      <a:pt x="139" y="122"/>
                    </a:cubicBezTo>
                    <a:cubicBezTo>
                      <a:pt x="139" y="122"/>
                      <a:pt x="139" y="122"/>
                      <a:pt x="140" y="122"/>
                    </a:cubicBezTo>
                    <a:cubicBezTo>
                      <a:pt x="140" y="122"/>
                      <a:pt x="141" y="123"/>
                      <a:pt x="142" y="123"/>
                    </a:cubicBezTo>
                    <a:cubicBezTo>
                      <a:pt x="143" y="123"/>
                      <a:pt x="143" y="124"/>
                      <a:pt x="143" y="124"/>
                    </a:cubicBezTo>
                    <a:cubicBezTo>
                      <a:pt x="143" y="124"/>
                      <a:pt x="144" y="125"/>
                      <a:pt x="144" y="125"/>
                    </a:cubicBezTo>
                    <a:cubicBezTo>
                      <a:pt x="144" y="125"/>
                      <a:pt x="144" y="125"/>
                      <a:pt x="144" y="125"/>
                    </a:cubicBezTo>
                    <a:cubicBezTo>
                      <a:pt x="144" y="126"/>
                      <a:pt x="144" y="126"/>
                      <a:pt x="144" y="126"/>
                    </a:cubicBezTo>
                    <a:cubicBezTo>
                      <a:pt x="149" y="127"/>
                      <a:pt x="149" y="127"/>
                      <a:pt x="149" y="127"/>
                    </a:cubicBezTo>
                    <a:cubicBezTo>
                      <a:pt x="151" y="127"/>
                      <a:pt x="152" y="128"/>
                      <a:pt x="153" y="128"/>
                    </a:cubicBezTo>
                    <a:cubicBezTo>
                      <a:pt x="155" y="128"/>
                      <a:pt x="156" y="129"/>
                      <a:pt x="158" y="129"/>
                    </a:cubicBezTo>
                    <a:cubicBezTo>
                      <a:pt x="159" y="130"/>
                      <a:pt x="160" y="130"/>
                      <a:pt x="161" y="130"/>
                    </a:cubicBezTo>
                    <a:cubicBezTo>
                      <a:pt x="162" y="131"/>
                      <a:pt x="163" y="131"/>
                      <a:pt x="164" y="131"/>
                    </a:cubicBezTo>
                    <a:cubicBezTo>
                      <a:pt x="164" y="131"/>
                      <a:pt x="164" y="130"/>
                      <a:pt x="164" y="130"/>
                    </a:cubicBezTo>
                    <a:cubicBezTo>
                      <a:pt x="165" y="130"/>
                      <a:pt x="165" y="130"/>
                      <a:pt x="165" y="130"/>
                    </a:cubicBezTo>
                    <a:cubicBezTo>
                      <a:pt x="165" y="130"/>
                      <a:pt x="166" y="130"/>
                      <a:pt x="167" y="130"/>
                    </a:cubicBezTo>
                    <a:cubicBezTo>
                      <a:pt x="169" y="130"/>
                      <a:pt x="169" y="131"/>
                      <a:pt x="170" y="131"/>
                    </a:cubicBezTo>
                    <a:cubicBezTo>
                      <a:pt x="170" y="131"/>
                      <a:pt x="170" y="131"/>
                      <a:pt x="170" y="131"/>
                    </a:cubicBezTo>
                    <a:cubicBezTo>
                      <a:pt x="170" y="131"/>
                      <a:pt x="170" y="131"/>
                      <a:pt x="170" y="131"/>
                    </a:cubicBezTo>
                    <a:cubicBezTo>
                      <a:pt x="170" y="132"/>
                      <a:pt x="170" y="132"/>
                      <a:pt x="170" y="132"/>
                    </a:cubicBezTo>
                    <a:cubicBezTo>
                      <a:pt x="170" y="132"/>
                      <a:pt x="170" y="132"/>
                      <a:pt x="170" y="132"/>
                    </a:cubicBezTo>
                    <a:cubicBezTo>
                      <a:pt x="171" y="132"/>
                      <a:pt x="171" y="132"/>
                      <a:pt x="171" y="132"/>
                    </a:cubicBezTo>
                    <a:cubicBezTo>
                      <a:pt x="171" y="132"/>
                      <a:pt x="171" y="132"/>
                      <a:pt x="171" y="132"/>
                    </a:cubicBezTo>
                    <a:cubicBezTo>
                      <a:pt x="171" y="133"/>
                      <a:pt x="171" y="133"/>
                      <a:pt x="171" y="133"/>
                    </a:cubicBezTo>
                    <a:cubicBezTo>
                      <a:pt x="172" y="133"/>
                      <a:pt x="173" y="133"/>
                      <a:pt x="174" y="133"/>
                    </a:cubicBezTo>
                    <a:cubicBezTo>
                      <a:pt x="174" y="133"/>
                      <a:pt x="174" y="133"/>
                      <a:pt x="174" y="133"/>
                    </a:cubicBezTo>
                    <a:cubicBezTo>
                      <a:pt x="174" y="133"/>
                      <a:pt x="174" y="133"/>
                      <a:pt x="174" y="133"/>
                    </a:cubicBezTo>
                    <a:cubicBezTo>
                      <a:pt x="175" y="132"/>
                      <a:pt x="176" y="132"/>
                      <a:pt x="177" y="131"/>
                    </a:cubicBezTo>
                    <a:cubicBezTo>
                      <a:pt x="178" y="130"/>
                      <a:pt x="180" y="130"/>
                      <a:pt x="182" y="129"/>
                    </a:cubicBezTo>
                    <a:cubicBezTo>
                      <a:pt x="182" y="129"/>
                      <a:pt x="183" y="128"/>
                      <a:pt x="184" y="128"/>
                    </a:cubicBezTo>
                    <a:cubicBezTo>
                      <a:pt x="185" y="127"/>
                      <a:pt x="185" y="127"/>
                      <a:pt x="185" y="127"/>
                    </a:cubicBezTo>
                    <a:cubicBezTo>
                      <a:pt x="187" y="127"/>
                      <a:pt x="189" y="126"/>
                      <a:pt x="190" y="125"/>
                    </a:cubicBezTo>
                    <a:cubicBezTo>
                      <a:pt x="190" y="124"/>
                      <a:pt x="190" y="124"/>
                      <a:pt x="190" y="124"/>
                    </a:cubicBezTo>
                    <a:cubicBezTo>
                      <a:pt x="191" y="125"/>
                      <a:pt x="191" y="125"/>
                      <a:pt x="191" y="125"/>
                    </a:cubicBezTo>
                    <a:cubicBezTo>
                      <a:pt x="191" y="125"/>
                      <a:pt x="191" y="125"/>
                      <a:pt x="191" y="125"/>
                    </a:cubicBezTo>
                    <a:cubicBezTo>
                      <a:pt x="192" y="125"/>
                      <a:pt x="192" y="125"/>
                      <a:pt x="192" y="125"/>
                    </a:cubicBezTo>
                    <a:cubicBezTo>
                      <a:pt x="194" y="124"/>
                      <a:pt x="197" y="124"/>
                      <a:pt x="199" y="124"/>
                    </a:cubicBezTo>
                    <a:cubicBezTo>
                      <a:pt x="200" y="124"/>
                      <a:pt x="201" y="123"/>
                      <a:pt x="202" y="123"/>
                    </a:cubicBezTo>
                    <a:cubicBezTo>
                      <a:pt x="205" y="123"/>
                      <a:pt x="205" y="123"/>
                      <a:pt x="205" y="123"/>
                    </a:cubicBezTo>
                    <a:cubicBezTo>
                      <a:pt x="206" y="123"/>
                      <a:pt x="208" y="123"/>
                      <a:pt x="209" y="123"/>
                    </a:cubicBezTo>
                    <a:cubicBezTo>
                      <a:pt x="212" y="123"/>
                      <a:pt x="212" y="123"/>
                      <a:pt x="212" y="123"/>
                    </a:cubicBezTo>
                    <a:cubicBezTo>
                      <a:pt x="212" y="123"/>
                      <a:pt x="212" y="123"/>
                      <a:pt x="213" y="123"/>
                    </a:cubicBezTo>
                    <a:cubicBezTo>
                      <a:pt x="213" y="123"/>
                      <a:pt x="213" y="123"/>
                      <a:pt x="213" y="123"/>
                    </a:cubicBezTo>
                    <a:cubicBezTo>
                      <a:pt x="214" y="123"/>
                      <a:pt x="214" y="123"/>
                      <a:pt x="215" y="123"/>
                    </a:cubicBezTo>
                    <a:cubicBezTo>
                      <a:pt x="216" y="123"/>
                      <a:pt x="216" y="123"/>
                      <a:pt x="217" y="123"/>
                    </a:cubicBezTo>
                    <a:cubicBezTo>
                      <a:pt x="218" y="123"/>
                      <a:pt x="219" y="123"/>
                      <a:pt x="220" y="122"/>
                    </a:cubicBezTo>
                    <a:cubicBezTo>
                      <a:pt x="221" y="122"/>
                      <a:pt x="222" y="122"/>
                      <a:pt x="223" y="121"/>
                    </a:cubicBezTo>
                    <a:cubicBezTo>
                      <a:pt x="224" y="121"/>
                      <a:pt x="224" y="121"/>
                      <a:pt x="224" y="121"/>
                    </a:cubicBezTo>
                    <a:cubicBezTo>
                      <a:pt x="226" y="120"/>
                      <a:pt x="226" y="120"/>
                      <a:pt x="226" y="120"/>
                    </a:cubicBezTo>
                    <a:cubicBezTo>
                      <a:pt x="227" y="120"/>
                      <a:pt x="228" y="119"/>
                      <a:pt x="229" y="119"/>
                    </a:cubicBezTo>
                    <a:cubicBezTo>
                      <a:pt x="229" y="119"/>
                      <a:pt x="230" y="118"/>
                      <a:pt x="230" y="118"/>
                    </a:cubicBezTo>
                    <a:cubicBezTo>
                      <a:pt x="231" y="117"/>
                      <a:pt x="231" y="117"/>
                      <a:pt x="231" y="116"/>
                    </a:cubicBezTo>
                    <a:cubicBezTo>
                      <a:pt x="232" y="116"/>
                      <a:pt x="232" y="116"/>
                      <a:pt x="232" y="116"/>
                    </a:cubicBezTo>
                    <a:cubicBezTo>
                      <a:pt x="232" y="115"/>
                      <a:pt x="233" y="113"/>
                      <a:pt x="235" y="112"/>
                    </a:cubicBezTo>
                    <a:cubicBezTo>
                      <a:pt x="236" y="111"/>
                      <a:pt x="237" y="111"/>
                      <a:pt x="239" y="110"/>
                    </a:cubicBezTo>
                    <a:cubicBezTo>
                      <a:pt x="239" y="110"/>
                      <a:pt x="239" y="110"/>
                      <a:pt x="239" y="110"/>
                    </a:cubicBezTo>
                    <a:cubicBezTo>
                      <a:pt x="241" y="109"/>
                      <a:pt x="242" y="108"/>
                      <a:pt x="244" y="107"/>
                    </a:cubicBezTo>
                    <a:cubicBezTo>
                      <a:pt x="244" y="107"/>
                      <a:pt x="244" y="107"/>
                      <a:pt x="244" y="107"/>
                    </a:cubicBezTo>
                    <a:cubicBezTo>
                      <a:pt x="244" y="107"/>
                      <a:pt x="244" y="107"/>
                      <a:pt x="244" y="107"/>
                    </a:cubicBezTo>
                    <a:cubicBezTo>
                      <a:pt x="244" y="107"/>
                      <a:pt x="244" y="107"/>
                      <a:pt x="244" y="107"/>
                    </a:cubicBezTo>
                    <a:cubicBezTo>
                      <a:pt x="244" y="106"/>
                      <a:pt x="243" y="106"/>
                      <a:pt x="243" y="106"/>
                    </a:cubicBezTo>
                    <a:cubicBezTo>
                      <a:pt x="242" y="106"/>
                      <a:pt x="242" y="105"/>
                      <a:pt x="242" y="105"/>
                    </a:cubicBezTo>
                    <a:cubicBezTo>
                      <a:pt x="241" y="105"/>
                      <a:pt x="241" y="104"/>
                      <a:pt x="241" y="103"/>
                    </a:cubicBezTo>
                    <a:cubicBezTo>
                      <a:pt x="240" y="103"/>
                      <a:pt x="239" y="102"/>
                      <a:pt x="239" y="101"/>
                    </a:cubicBezTo>
                    <a:cubicBezTo>
                      <a:pt x="239" y="99"/>
                      <a:pt x="239" y="99"/>
                      <a:pt x="239" y="98"/>
                    </a:cubicBezTo>
                    <a:cubicBezTo>
                      <a:pt x="240" y="98"/>
                      <a:pt x="240" y="98"/>
                      <a:pt x="240" y="98"/>
                    </a:cubicBezTo>
                    <a:cubicBezTo>
                      <a:pt x="240" y="97"/>
                      <a:pt x="241" y="95"/>
                      <a:pt x="241" y="94"/>
                    </a:cubicBezTo>
                    <a:cubicBezTo>
                      <a:pt x="242" y="93"/>
                      <a:pt x="242" y="92"/>
                      <a:pt x="244" y="91"/>
                    </a:cubicBezTo>
                    <a:cubicBezTo>
                      <a:pt x="244" y="91"/>
                      <a:pt x="244" y="90"/>
                      <a:pt x="245" y="90"/>
                    </a:cubicBezTo>
                    <a:cubicBezTo>
                      <a:pt x="245" y="90"/>
                      <a:pt x="246" y="90"/>
                      <a:pt x="247" y="90"/>
                    </a:cubicBezTo>
                    <a:cubicBezTo>
                      <a:pt x="247" y="90"/>
                      <a:pt x="248" y="90"/>
                      <a:pt x="248" y="90"/>
                    </a:cubicBezTo>
                    <a:cubicBezTo>
                      <a:pt x="249" y="90"/>
                      <a:pt x="250" y="90"/>
                      <a:pt x="251" y="90"/>
                    </a:cubicBezTo>
                    <a:cubicBezTo>
                      <a:pt x="253" y="91"/>
                      <a:pt x="255" y="92"/>
                      <a:pt x="256" y="92"/>
                    </a:cubicBezTo>
                    <a:cubicBezTo>
                      <a:pt x="257" y="93"/>
                      <a:pt x="257" y="93"/>
                      <a:pt x="258" y="93"/>
                    </a:cubicBezTo>
                    <a:cubicBezTo>
                      <a:pt x="259" y="93"/>
                      <a:pt x="259" y="94"/>
                      <a:pt x="260" y="94"/>
                    </a:cubicBezTo>
                    <a:cubicBezTo>
                      <a:pt x="260" y="94"/>
                      <a:pt x="260" y="94"/>
                      <a:pt x="261" y="94"/>
                    </a:cubicBezTo>
                    <a:cubicBezTo>
                      <a:pt x="261" y="94"/>
                      <a:pt x="261" y="94"/>
                      <a:pt x="261" y="94"/>
                    </a:cubicBezTo>
                    <a:cubicBezTo>
                      <a:pt x="261" y="94"/>
                      <a:pt x="261" y="94"/>
                      <a:pt x="262" y="94"/>
                    </a:cubicBezTo>
                    <a:cubicBezTo>
                      <a:pt x="262" y="94"/>
                      <a:pt x="263" y="94"/>
                      <a:pt x="264" y="93"/>
                    </a:cubicBezTo>
                    <a:cubicBezTo>
                      <a:pt x="264" y="93"/>
                      <a:pt x="264" y="93"/>
                      <a:pt x="264" y="93"/>
                    </a:cubicBezTo>
                    <a:cubicBezTo>
                      <a:pt x="264" y="93"/>
                      <a:pt x="265" y="92"/>
                      <a:pt x="265" y="92"/>
                    </a:cubicBezTo>
                    <a:cubicBezTo>
                      <a:pt x="267" y="91"/>
                      <a:pt x="269" y="89"/>
                      <a:pt x="270" y="88"/>
                    </a:cubicBezTo>
                    <a:cubicBezTo>
                      <a:pt x="269" y="87"/>
                      <a:pt x="269" y="87"/>
                      <a:pt x="269" y="87"/>
                    </a:cubicBezTo>
                    <a:cubicBezTo>
                      <a:pt x="271" y="88"/>
                      <a:pt x="271" y="88"/>
                      <a:pt x="271" y="88"/>
                    </a:cubicBezTo>
                    <a:cubicBezTo>
                      <a:pt x="271" y="87"/>
                      <a:pt x="271" y="87"/>
                      <a:pt x="271" y="87"/>
                    </a:cubicBezTo>
                    <a:cubicBezTo>
                      <a:pt x="271" y="87"/>
                      <a:pt x="271" y="87"/>
                      <a:pt x="271" y="87"/>
                    </a:cubicBezTo>
                    <a:cubicBezTo>
                      <a:pt x="271" y="87"/>
                      <a:pt x="271" y="87"/>
                      <a:pt x="271" y="87"/>
                    </a:cubicBezTo>
                    <a:cubicBezTo>
                      <a:pt x="271" y="87"/>
                      <a:pt x="271" y="87"/>
                      <a:pt x="271" y="87"/>
                    </a:cubicBezTo>
                    <a:cubicBezTo>
                      <a:pt x="271" y="87"/>
                      <a:pt x="272" y="86"/>
                      <a:pt x="272" y="86"/>
                    </a:cubicBezTo>
                    <a:cubicBezTo>
                      <a:pt x="272" y="86"/>
                      <a:pt x="272" y="86"/>
                      <a:pt x="272" y="86"/>
                    </a:cubicBezTo>
                    <a:cubicBezTo>
                      <a:pt x="273" y="85"/>
                      <a:pt x="274" y="85"/>
                      <a:pt x="275" y="85"/>
                    </a:cubicBezTo>
                    <a:cubicBezTo>
                      <a:pt x="275" y="85"/>
                      <a:pt x="275" y="85"/>
                      <a:pt x="276" y="85"/>
                    </a:cubicBezTo>
                    <a:cubicBezTo>
                      <a:pt x="276" y="85"/>
                      <a:pt x="276" y="85"/>
                      <a:pt x="276" y="85"/>
                    </a:cubicBezTo>
                    <a:cubicBezTo>
                      <a:pt x="276" y="85"/>
                      <a:pt x="276" y="85"/>
                      <a:pt x="276" y="85"/>
                    </a:cubicBezTo>
                    <a:cubicBezTo>
                      <a:pt x="283" y="85"/>
                      <a:pt x="283" y="85"/>
                      <a:pt x="283" y="85"/>
                    </a:cubicBezTo>
                    <a:cubicBezTo>
                      <a:pt x="283" y="85"/>
                      <a:pt x="283" y="85"/>
                      <a:pt x="283" y="85"/>
                    </a:cubicBezTo>
                    <a:cubicBezTo>
                      <a:pt x="284" y="85"/>
                      <a:pt x="284" y="85"/>
                      <a:pt x="284" y="85"/>
                    </a:cubicBezTo>
                    <a:cubicBezTo>
                      <a:pt x="284" y="84"/>
                      <a:pt x="284" y="84"/>
                      <a:pt x="285" y="84"/>
                    </a:cubicBezTo>
                    <a:cubicBezTo>
                      <a:pt x="285" y="84"/>
                      <a:pt x="286" y="83"/>
                      <a:pt x="286" y="83"/>
                    </a:cubicBezTo>
                    <a:cubicBezTo>
                      <a:pt x="286" y="83"/>
                      <a:pt x="286" y="83"/>
                      <a:pt x="287" y="83"/>
                    </a:cubicBezTo>
                    <a:cubicBezTo>
                      <a:pt x="287" y="83"/>
                      <a:pt x="287" y="83"/>
                      <a:pt x="287" y="83"/>
                    </a:cubicBezTo>
                    <a:cubicBezTo>
                      <a:pt x="287" y="83"/>
                      <a:pt x="288" y="82"/>
                      <a:pt x="288" y="82"/>
                    </a:cubicBezTo>
                    <a:cubicBezTo>
                      <a:pt x="288" y="82"/>
                      <a:pt x="288" y="82"/>
                      <a:pt x="288" y="82"/>
                    </a:cubicBezTo>
                    <a:cubicBezTo>
                      <a:pt x="288" y="82"/>
                      <a:pt x="288" y="81"/>
                      <a:pt x="288" y="81"/>
                    </a:cubicBezTo>
                    <a:cubicBezTo>
                      <a:pt x="288" y="81"/>
                      <a:pt x="288" y="81"/>
                      <a:pt x="288" y="81"/>
                    </a:cubicBezTo>
                    <a:cubicBezTo>
                      <a:pt x="288" y="78"/>
                      <a:pt x="291" y="76"/>
                      <a:pt x="291" y="75"/>
                    </a:cubicBezTo>
                    <a:cubicBezTo>
                      <a:pt x="293" y="74"/>
                      <a:pt x="295" y="73"/>
                      <a:pt x="297" y="73"/>
                    </a:cubicBezTo>
                    <a:cubicBezTo>
                      <a:pt x="298" y="73"/>
                      <a:pt x="299" y="73"/>
                      <a:pt x="299" y="73"/>
                    </a:cubicBezTo>
                    <a:cubicBezTo>
                      <a:pt x="300" y="73"/>
                      <a:pt x="300" y="73"/>
                      <a:pt x="300" y="73"/>
                    </a:cubicBezTo>
                    <a:cubicBezTo>
                      <a:pt x="301" y="73"/>
                      <a:pt x="301" y="73"/>
                      <a:pt x="301" y="73"/>
                    </a:cubicBezTo>
                    <a:cubicBezTo>
                      <a:pt x="304" y="72"/>
                      <a:pt x="308" y="71"/>
                      <a:pt x="311" y="70"/>
                    </a:cubicBezTo>
                    <a:cubicBezTo>
                      <a:pt x="312" y="69"/>
                      <a:pt x="313" y="69"/>
                      <a:pt x="315" y="69"/>
                    </a:cubicBezTo>
                    <a:cubicBezTo>
                      <a:pt x="316" y="69"/>
                      <a:pt x="317" y="69"/>
                      <a:pt x="318" y="69"/>
                    </a:cubicBezTo>
                    <a:cubicBezTo>
                      <a:pt x="318" y="69"/>
                      <a:pt x="318" y="69"/>
                      <a:pt x="318" y="69"/>
                    </a:cubicBezTo>
                    <a:cubicBezTo>
                      <a:pt x="319" y="69"/>
                      <a:pt x="320" y="69"/>
                      <a:pt x="320" y="69"/>
                    </a:cubicBezTo>
                    <a:cubicBezTo>
                      <a:pt x="325" y="70"/>
                      <a:pt x="325" y="70"/>
                      <a:pt x="325" y="70"/>
                    </a:cubicBezTo>
                    <a:cubicBezTo>
                      <a:pt x="325" y="68"/>
                      <a:pt x="325" y="67"/>
                      <a:pt x="324" y="66"/>
                    </a:cubicBezTo>
                    <a:cubicBezTo>
                      <a:pt x="324" y="65"/>
                      <a:pt x="323" y="65"/>
                      <a:pt x="32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4" name="Freeform 3176">
                <a:extLst>
                  <a:ext uri="{FF2B5EF4-FFF2-40B4-BE49-F238E27FC236}">
                    <a16:creationId xmlns:a16="http://schemas.microsoft.com/office/drawing/2014/main" id="{433A4A4D-00B1-4E28-91AC-99258DFDF242}"/>
                  </a:ext>
                </a:extLst>
              </p:cNvPr>
              <p:cNvSpPr>
                <a:spLocks/>
              </p:cNvSpPr>
              <p:nvPr/>
            </p:nvSpPr>
            <p:spPr bwMode="auto">
              <a:xfrm>
                <a:off x="6552" y="1671"/>
                <a:ext cx="149" cy="149"/>
              </a:xfrm>
              <a:custGeom>
                <a:avLst/>
                <a:gdLst>
                  <a:gd name="T0" fmla="*/ 62 w 63"/>
                  <a:gd name="T1" fmla="*/ 6 h 63"/>
                  <a:gd name="T2" fmla="*/ 58 w 63"/>
                  <a:gd name="T3" fmla="*/ 3 h 63"/>
                  <a:gd name="T4" fmla="*/ 59 w 63"/>
                  <a:gd name="T5" fmla="*/ 2 h 63"/>
                  <a:gd name="T6" fmla="*/ 58 w 63"/>
                  <a:gd name="T7" fmla="*/ 0 h 63"/>
                  <a:gd name="T8" fmla="*/ 57 w 63"/>
                  <a:gd name="T9" fmla="*/ 0 h 63"/>
                  <a:gd name="T10" fmla="*/ 57 w 63"/>
                  <a:gd name="T11" fmla="*/ 4 h 63"/>
                  <a:gd name="T12" fmla="*/ 55 w 63"/>
                  <a:gd name="T13" fmla="*/ 6 h 63"/>
                  <a:gd name="T14" fmla="*/ 51 w 63"/>
                  <a:gd name="T15" fmla="*/ 8 h 63"/>
                  <a:gd name="T16" fmla="*/ 48 w 63"/>
                  <a:gd name="T17" fmla="*/ 11 h 63"/>
                  <a:gd name="T18" fmla="*/ 43 w 63"/>
                  <a:gd name="T19" fmla="*/ 12 h 63"/>
                  <a:gd name="T20" fmla="*/ 40 w 63"/>
                  <a:gd name="T21" fmla="*/ 15 h 63"/>
                  <a:gd name="T22" fmla="*/ 41 w 63"/>
                  <a:gd name="T23" fmla="*/ 17 h 63"/>
                  <a:gd name="T24" fmla="*/ 38 w 63"/>
                  <a:gd name="T25" fmla="*/ 20 h 63"/>
                  <a:gd name="T26" fmla="*/ 35 w 63"/>
                  <a:gd name="T27" fmla="*/ 20 h 63"/>
                  <a:gd name="T28" fmla="*/ 29 w 63"/>
                  <a:gd name="T29" fmla="*/ 19 h 63"/>
                  <a:gd name="T30" fmla="*/ 26 w 63"/>
                  <a:gd name="T31" fmla="*/ 15 h 63"/>
                  <a:gd name="T32" fmla="*/ 26 w 63"/>
                  <a:gd name="T33" fmla="*/ 15 h 63"/>
                  <a:gd name="T34" fmla="*/ 25 w 63"/>
                  <a:gd name="T35" fmla="*/ 16 h 63"/>
                  <a:gd name="T36" fmla="*/ 20 w 63"/>
                  <a:gd name="T37" fmla="*/ 24 h 63"/>
                  <a:gd name="T38" fmla="*/ 17 w 63"/>
                  <a:gd name="T39" fmla="*/ 26 h 63"/>
                  <a:gd name="T40" fmla="*/ 15 w 63"/>
                  <a:gd name="T41" fmla="*/ 27 h 63"/>
                  <a:gd name="T42" fmla="*/ 13 w 63"/>
                  <a:gd name="T43" fmla="*/ 27 h 63"/>
                  <a:gd name="T44" fmla="*/ 2 w 63"/>
                  <a:gd name="T45" fmla="*/ 35 h 63"/>
                  <a:gd name="T46" fmla="*/ 1 w 63"/>
                  <a:gd name="T47" fmla="*/ 37 h 63"/>
                  <a:gd name="T48" fmla="*/ 0 w 63"/>
                  <a:gd name="T49" fmla="*/ 36 h 63"/>
                  <a:gd name="T50" fmla="*/ 3 w 63"/>
                  <a:gd name="T51" fmla="*/ 40 h 63"/>
                  <a:gd name="T52" fmla="*/ 7 w 63"/>
                  <a:gd name="T53" fmla="*/ 40 h 63"/>
                  <a:gd name="T54" fmla="*/ 10 w 63"/>
                  <a:gd name="T55" fmla="*/ 46 h 63"/>
                  <a:gd name="T56" fmla="*/ 13 w 63"/>
                  <a:gd name="T57" fmla="*/ 52 h 63"/>
                  <a:gd name="T58" fmla="*/ 9 w 63"/>
                  <a:gd name="T59" fmla="*/ 52 h 63"/>
                  <a:gd name="T60" fmla="*/ 6 w 63"/>
                  <a:gd name="T61" fmla="*/ 55 h 63"/>
                  <a:gd name="T62" fmla="*/ 3 w 63"/>
                  <a:gd name="T63" fmla="*/ 58 h 63"/>
                  <a:gd name="T64" fmla="*/ 7 w 63"/>
                  <a:gd name="T65" fmla="*/ 61 h 63"/>
                  <a:gd name="T66" fmla="*/ 9 w 63"/>
                  <a:gd name="T67" fmla="*/ 62 h 63"/>
                  <a:gd name="T68" fmla="*/ 11 w 63"/>
                  <a:gd name="T69" fmla="*/ 62 h 63"/>
                  <a:gd name="T70" fmla="*/ 10 w 63"/>
                  <a:gd name="T71" fmla="*/ 63 h 63"/>
                  <a:gd name="T72" fmla="*/ 14 w 63"/>
                  <a:gd name="T73" fmla="*/ 60 h 63"/>
                  <a:gd name="T74" fmla="*/ 17 w 63"/>
                  <a:gd name="T75" fmla="*/ 62 h 63"/>
                  <a:gd name="T76" fmla="*/ 23 w 63"/>
                  <a:gd name="T77" fmla="*/ 61 h 63"/>
                  <a:gd name="T78" fmla="*/ 23 w 63"/>
                  <a:gd name="T79" fmla="*/ 61 h 63"/>
                  <a:gd name="T80" fmla="*/ 25 w 63"/>
                  <a:gd name="T81" fmla="*/ 58 h 63"/>
                  <a:gd name="T82" fmla="*/ 27 w 63"/>
                  <a:gd name="T83" fmla="*/ 56 h 63"/>
                  <a:gd name="T84" fmla="*/ 31 w 63"/>
                  <a:gd name="T85" fmla="*/ 55 h 63"/>
                  <a:gd name="T86" fmla="*/ 38 w 63"/>
                  <a:gd name="T87" fmla="*/ 55 h 63"/>
                  <a:gd name="T88" fmla="*/ 39 w 63"/>
                  <a:gd name="T89" fmla="*/ 54 h 63"/>
                  <a:gd name="T90" fmla="*/ 40 w 63"/>
                  <a:gd name="T91" fmla="*/ 52 h 63"/>
                  <a:gd name="T92" fmla="*/ 40 w 63"/>
                  <a:gd name="T93" fmla="*/ 51 h 63"/>
                  <a:gd name="T94" fmla="*/ 38 w 63"/>
                  <a:gd name="T95" fmla="*/ 49 h 63"/>
                  <a:gd name="T96" fmla="*/ 32 w 63"/>
                  <a:gd name="T97" fmla="*/ 45 h 63"/>
                  <a:gd name="T98" fmla="*/ 33 w 63"/>
                  <a:gd name="T99" fmla="*/ 44 h 63"/>
                  <a:gd name="T100" fmla="*/ 33 w 63"/>
                  <a:gd name="T101" fmla="*/ 41 h 63"/>
                  <a:gd name="T102" fmla="*/ 40 w 63"/>
                  <a:gd name="T103" fmla="*/ 35 h 63"/>
                  <a:gd name="T104" fmla="*/ 55 w 63"/>
                  <a:gd name="T105" fmla="*/ 25 h 63"/>
                  <a:gd name="T106" fmla="*/ 55 w 63"/>
                  <a:gd name="T107" fmla="*/ 21 h 63"/>
                  <a:gd name="T108" fmla="*/ 55 w 63"/>
                  <a:gd name="T109" fmla="*/ 19 h 63"/>
                  <a:gd name="T110" fmla="*/ 62 w 63"/>
                  <a:gd name="T111" fmla="*/ 8 h 63"/>
                  <a:gd name="T112" fmla="*/ 62 w 63"/>
                  <a:gd name="T11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63">
                    <a:moveTo>
                      <a:pt x="62" y="6"/>
                    </a:moveTo>
                    <a:cubicBezTo>
                      <a:pt x="62" y="6"/>
                      <a:pt x="62" y="6"/>
                      <a:pt x="62" y="6"/>
                    </a:cubicBezTo>
                    <a:cubicBezTo>
                      <a:pt x="61" y="6"/>
                      <a:pt x="60" y="5"/>
                      <a:pt x="60" y="4"/>
                    </a:cubicBezTo>
                    <a:cubicBezTo>
                      <a:pt x="58" y="3"/>
                      <a:pt x="58" y="3"/>
                      <a:pt x="58" y="3"/>
                    </a:cubicBezTo>
                    <a:cubicBezTo>
                      <a:pt x="59" y="3"/>
                      <a:pt x="59" y="3"/>
                      <a:pt x="59" y="3"/>
                    </a:cubicBezTo>
                    <a:cubicBezTo>
                      <a:pt x="59" y="3"/>
                      <a:pt x="59" y="2"/>
                      <a:pt x="59" y="2"/>
                    </a:cubicBezTo>
                    <a:cubicBezTo>
                      <a:pt x="59" y="1"/>
                      <a:pt x="59" y="1"/>
                      <a:pt x="59" y="1"/>
                    </a:cubicBezTo>
                    <a:cubicBezTo>
                      <a:pt x="59" y="1"/>
                      <a:pt x="58" y="1"/>
                      <a:pt x="58" y="0"/>
                    </a:cubicBezTo>
                    <a:cubicBezTo>
                      <a:pt x="58" y="0"/>
                      <a:pt x="57" y="0"/>
                      <a:pt x="57" y="0"/>
                    </a:cubicBezTo>
                    <a:cubicBezTo>
                      <a:pt x="57" y="0"/>
                      <a:pt x="57" y="0"/>
                      <a:pt x="57" y="0"/>
                    </a:cubicBezTo>
                    <a:cubicBezTo>
                      <a:pt x="57" y="1"/>
                      <a:pt x="57" y="1"/>
                      <a:pt x="57" y="3"/>
                    </a:cubicBezTo>
                    <a:cubicBezTo>
                      <a:pt x="57" y="3"/>
                      <a:pt x="57" y="3"/>
                      <a:pt x="57" y="4"/>
                    </a:cubicBezTo>
                    <a:cubicBezTo>
                      <a:pt x="57" y="4"/>
                      <a:pt x="56" y="4"/>
                      <a:pt x="56" y="5"/>
                    </a:cubicBezTo>
                    <a:cubicBezTo>
                      <a:pt x="56" y="5"/>
                      <a:pt x="56" y="6"/>
                      <a:pt x="55" y="6"/>
                    </a:cubicBezTo>
                    <a:cubicBezTo>
                      <a:pt x="55" y="6"/>
                      <a:pt x="54" y="7"/>
                      <a:pt x="53" y="7"/>
                    </a:cubicBezTo>
                    <a:cubicBezTo>
                      <a:pt x="52" y="7"/>
                      <a:pt x="51" y="7"/>
                      <a:pt x="51" y="8"/>
                    </a:cubicBezTo>
                    <a:cubicBezTo>
                      <a:pt x="51" y="8"/>
                      <a:pt x="51" y="8"/>
                      <a:pt x="51" y="8"/>
                    </a:cubicBezTo>
                    <a:cubicBezTo>
                      <a:pt x="51" y="9"/>
                      <a:pt x="49" y="11"/>
                      <a:pt x="48" y="11"/>
                    </a:cubicBezTo>
                    <a:cubicBezTo>
                      <a:pt x="47" y="12"/>
                      <a:pt x="46" y="12"/>
                      <a:pt x="44" y="12"/>
                    </a:cubicBezTo>
                    <a:cubicBezTo>
                      <a:pt x="44" y="12"/>
                      <a:pt x="43" y="12"/>
                      <a:pt x="43" y="12"/>
                    </a:cubicBezTo>
                    <a:cubicBezTo>
                      <a:pt x="39" y="13"/>
                      <a:pt x="39" y="13"/>
                      <a:pt x="39" y="13"/>
                    </a:cubicBezTo>
                    <a:cubicBezTo>
                      <a:pt x="40" y="13"/>
                      <a:pt x="40" y="14"/>
                      <a:pt x="40" y="15"/>
                    </a:cubicBezTo>
                    <a:cubicBezTo>
                      <a:pt x="40" y="15"/>
                      <a:pt x="40" y="15"/>
                      <a:pt x="40" y="15"/>
                    </a:cubicBezTo>
                    <a:cubicBezTo>
                      <a:pt x="41" y="15"/>
                      <a:pt x="42" y="16"/>
                      <a:pt x="41" y="17"/>
                    </a:cubicBezTo>
                    <a:cubicBezTo>
                      <a:pt x="41" y="18"/>
                      <a:pt x="41" y="19"/>
                      <a:pt x="40" y="20"/>
                    </a:cubicBezTo>
                    <a:cubicBezTo>
                      <a:pt x="40" y="20"/>
                      <a:pt x="39" y="20"/>
                      <a:pt x="38" y="20"/>
                    </a:cubicBezTo>
                    <a:cubicBezTo>
                      <a:pt x="37" y="20"/>
                      <a:pt x="36" y="20"/>
                      <a:pt x="35" y="20"/>
                    </a:cubicBezTo>
                    <a:cubicBezTo>
                      <a:pt x="35" y="20"/>
                      <a:pt x="35" y="20"/>
                      <a:pt x="35" y="20"/>
                    </a:cubicBezTo>
                    <a:cubicBezTo>
                      <a:pt x="33" y="20"/>
                      <a:pt x="30" y="20"/>
                      <a:pt x="29" y="19"/>
                    </a:cubicBezTo>
                    <a:cubicBezTo>
                      <a:pt x="29" y="19"/>
                      <a:pt x="29" y="19"/>
                      <a:pt x="29" y="19"/>
                    </a:cubicBezTo>
                    <a:cubicBezTo>
                      <a:pt x="28" y="18"/>
                      <a:pt x="28" y="17"/>
                      <a:pt x="27" y="17"/>
                    </a:cubicBezTo>
                    <a:cubicBezTo>
                      <a:pt x="27" y="16"/>
                      <a:pt x="26" y="16"/>
                      <a:pt x="26" y="15"/>
                    </a:cubicBezTo>
                    <a:cubicBezTo>
                      <a:pt x="26" y="15"/>
                      <a:pt x="26" y="15"/>
                      <a:pt x="26" y="15"/>
                    </a:cubicBezTo>
                    <a:cubicBezTo>
                      <a:pt x="26" y="15"/>
                      <a:pt x="26" y="15"/>
                      <a:pt x="26" y="15"/>
                    </a:cubicBezTo>
                    <a:cubicBezTo>
                      <a:pt x="25" y="16"/>
                      <a:pt x="25" y="16"/>
                      <a:pt x="25" y="16"/>
                    </a:cubicBezTo>
                    <a:cubicBezTo>
                      <a:pt x="25" y="16"/>
                      <a:pt x="25" y="16"/>
                      <a:pt x="25" y="16"/>
                    </a:cubicBezTo>
                    <a:cubicBezTo>
                      <a:pt x="25" y="16"/>
                      <a:pt x="25" y="16"/>
                      <a:pt x="24" y="17"/>
                    </a:cubicBezTo>
                    <a:cubicBezTo>
                      <a:pt x="23" y="19"/>
                      <a:pt x="21" y="22"/>
                      <a:pt x="20" y="24"/>
                    </a:cubicBezTo>
                    <a:cubicBezTo>
                      <a:pt x="19" y="24"/>
                      <a:pt x="19" y="24"/>
                      <a:pt x="19" y="24"/>
                    </a:cubicBezTo>
                    <a:cubicBezTo>
                      <a:pt x="18" y="25"/>
                      <a:pt x="18" y="26"/>
                      <a:pt x="17" y="26"/>
                    </a:cubicBezTo>
                    <a:cubicBezTo>
                      <a:pt x="17" y="26"/>
                      <a:pt x="17" y="26"/>
                      <a:pt x="17" y="26"/>
                    </a:cubicBezTo>
                    <a:cubicBezTo>
                      <a:pt x="16" y="26"/>
                      <a:pt x="16" y="27"/>
                      <a:pt x="15" y="27"/>
                    </a:cubicBezTo>
                    <a:cubicBezTo>
                      <a:pt x="15" y="27"/>
                      <a:pt x="14" y="27"/>
                      <a:pt x="14" y="27"/>
                    </a:cubicBezTo>
                    <a:cubicBezTo>
                      <a:pt x="13" y="27"/>
                      <a:pt x="13" y="27"/>
                      <a:pt x="13" y="27"/>
                    </a:cubicBezTo>
                    <a:cubicBezTo>
                      <a:pt x="12" y="28"/>
                      <a:pt x="12" y="29"/>
                      <a:pt x="11" y="29"/>
                    </a:cubicBezTo>
                    <a:cubicBezTo>
                      <a:pt x="8" y="31"/>
                      <a:pt x="5" y="33"/>
                      <a:pt x="2" y="35"/>
                    </a:cubicBezTo>
                    <a:cubicBezTo>
                      <a:pt x="1" y="35"/>
                      <a:pt x="1" y="36"/>
                      <a:pt x="1" y="36"/>
                    </a:cubicBezTo>
                    <a:cubicBezTo>
                      <a:pt x="1" y="37"/>
                      <a:pt x="1" y="37"/>
                      <a:pt x="1" y="37"/>
                    </a:cubicBezTo>
                    <a:cubicBezTo>
                      <a:pt x="0" y="36"/>
                      <a:pt x="0" y="36"/>
                      <a:pt x="0" y="36"/>
                    </a:cubicBezTo>
                    <a:cubicBezTo>
                      <a:pt x="0" y="36"/>
                      <a:pt x="0" y="36"/>
                      <a:pt x="0" y="36"/>
                    </a:cubicBezTo>
                    <a:cubicBezTo>
                      <a:pt x="0" y="37"/>
                      <a:pt x="0" y="37"/>
                      <a:pt x="0" y="37"/>
                    </a:cubicBezTo>
                    <a:cubicBezTo>
                      <a:pt x="0" y="38"/>
                      <a:pt x="4" y="39"/>
                      <a:pt x="3" y="40"/>
                    </a:cubicBezTo>
                    <a:cubicBezTo>
                      <a:pt x="3" y="40"/>
                      <a:pt x="4" y="39"/>
                      <a:pt x="4" y="39"/>
                    </a:cubicBezTo>
                    <a:cubicBezTo>
                      <a:pt x="5" y="39"/>
                      <a:pt x="6" y="40"/>
                      <a:pt x="7" y="40"/>
                    </a:cubicBezTo>
                    <a:cubicBezTo>
                      <a:pt x="9" y="41"/>
                      <a:pt x="10" y="41"/>
                      <a:pt x="11" y="41"/>
                    </a:cubicBezTo>
                    <a:cubicBezTo>
                      <a:pt x="11" y="42"/>
                      <a:pt x="10" y="44"/>
                      <a:pt x="10" y="46"/>
                    </a:cubicBezTo>
                    <a:cubicBezTo>
                      <a:pt x="9" y="47"/>
                      <a:pt x="8" y="48"/>
                      <a:pt x="8" y="49"/>
                    </a:cubicBezTo>
                    <a:cubicBezTo>
                      <a:pt x="8" y="51"/>
                      <a:pt x="12" y="50"/>
                      <a:pt x="13" y="52"/>
                    </a:cubicBezTo>
                    <a:cubicBezTo>
                      <a:pt x="12" y="52"/>
                      <a:pt x="12" y="51"/>
                      <a:pt x="11" y="51"/>
                    </a:cubicBezTo>
                    <a:cubicBezTo>
                      <a:pt x="10" y="51"/>
                      <a:pt x="9" y="52"/>
                      <a:pt x="9" y="52"/>
                    </a:cubicBezTo>
                    <a:cubicBezTo>
                      <a:pt x="8" y="52"/>
                      <a:pt x="8" y="52"/>
                      <a:pt x="8" y="52"/>
                    </a:cubicBezTo>
                    <a:cubicBezTo>
                      <a:pt x="7" y="53"/>
                      <a:pt x="7" y="55"/>
                      <a:pt x="6" y="55"/>
                    </a:cubicBezTo>
                    <a:cubicBezTo>
                      <a:pt x="6" y="56"/>
                      <a:pt x="5" y="57"/>
                      <a:pt x="6" y="57"/>
                    </a:cubicBezTo>
                    <a:cubicBezTo>
                      <a:pt x="5" y="57"/>
                      <a:pt x="4" y="58"/>
                      <a:pt x="3" y="58"/>
                    </a:cubicBezTo>
                    <a:cubicBezTo>
                      <a:pt x="5" y="59"/>
                      <a:pt x="7" y="59"/>
                      <a:pt x="8" y="60"/>
                    </a:cubicBezTo>
                    <a:cubicBezTo>
                      <a:pt x="7" y="60"/>
                      <a:pt x="6" y="60"/>
                      <a:pt x="7" y="61"/>
                    </a:cubicBezTo>
                    <a:cubicBezTo>
                      <a:pt x="7" y="61"/>
                      <a:pt x="9" y="61"/>
                      <a:pt x="9" y="62"/>
                    </a:cubicBezTo>
                    <a:cubicBezTo>
                      <a:pt x="9" y="62"/>
                      <a:pt x="9" y="62"/>
                      <a:pt x="9" y="62"/>
                    </a:cubicBezTo>
                    <a:cubicBezTo>
                      <a:pt x="10" y="62"/>
                      <a:pt x="11" y="60"/>
                      <a:pt x="12" y="62"/>
                    </a:cubicBezTo>
                    <a:cubicBezTo>
                      <a:pt x="12" y="62"/>
                      <a:pt x="11" y="62"/>
                      <a:pt x="11" y="62"/>
                    </a:cubicBezTo>
                    <a:cubicBezTo>
                      <a:pt x="11" y="62"/>
                      <a:pt x="11" y="62"/>
                      <a:pt x="11" y="62"/>
                    </a:cubicBezTo>
                    <a:cubicBezTo>
                      <a:pt x="10" y="62"/>
                      <a:pt x="10" y="63"/>
                      <a:pt x="10" y="63"/>
                    </a:cubicBezTo>
                    <a:cubicBezTo>
                      <a:pt x="11" y="63"/>
                      <a:pt x="12" y="62"/>
                      <a:pt x="13" y="61"/>
                    </a:cubicBezTo>
                    <a:cubicBezTo>
                      <a:pt x="13" y="61"/>
                      <a:pt x="13" y="60"/>
                      <a:pt x="14" y="60"/>
                    </a:cubicBezTo>
                    <a:cubicBezTo>
                      <a:pt x="14" y="60"/>
                      <a:pt x="13" y="60"/>
                      <a:pt x="13" y="59"/>
                    </a:cubicBezTo>
                    <a:cubicBezTo>
                      <a:pt x="14" y="60"/>
                      <a:pt x="15" y="61"/>
                      <a:pt x="17" y="62"/>
                    </a:cubicBezTo>
                    <a:cubicBezTo>
                      <a:pt x="18" y="62"/>
                      <a:pt x="18" y="63"/>
                      <a:pt x="19" y="62"/>
                    </a:cubicBezTo>
                    <a:cubicBezTo>
                      <a:pt x="21" y="61"/>
                      <a:pt x="21" y="61"/>
                      <a:pt x="23" y="61"/>
                    </a:cubicBezTo>
                    <a:cubicBezTo>
                      <a:pt x="22" y="61"/>
                      <a:pt x="22" y="61"/>
                      <a:pt x="22" y="61"/>
                    </a:cubicBezTo>
                    <a:cubicBezTo>
                      <a:pt x="23" y="61"/>
                      <a:pt x="23" y="61"/>
                      <a:pt x="23" y="61"/>
                    </a:cubicBezTo>
                    <a:cubicBezTo>
                      <a:pt x="23" y="60"/>
                      <a:pt x="24" y="59"/>
                      <a:pt x="24" y="59"/>
                    </a:cubicBezTo>
                    <a:cubicBezTo>
                      <a:pt x="25" y="58"/>
                      <a:pt x="25" y="58"/>
                      <a:pt x="25" y="58"/>
                    </a:cubicBezTo>
                    <a:cubicBezTo>
                      <a:pt x="25" y="58"/>
                      <a:pt x="25" y="58"/>
                      <a:pt x="25" y="58"/>
                    </a:cubicBezTo>
                    <a:cubicBezTo>
                      <a:pt x="26" y="57"/>
                      <a:pt x="26" y="56"/>
                      <a:pt x="27" y="56"/>
                    </a:cubicBezTo>
                    <a:cubicBezTo>
                      <a:pt x="28" y="55"/>
                      <a:pt x="29" y="55"/>
                      <a:pt x="30" y="55"/>
                    </a:cubicBezTo>
                    <a:cubicBezTo>
                      <a:pt x="30" y="55"/>
                      <a:pt x="31" y="55"/>
                      <a:pt x="31" y="55"/>
                    </a:cubicBezTo>
                    <a:cubicBezTo>
                      <a:pt x="37" y="55"/>
                      <a:pt x="37" y="55"/>
                      <a:pt x="37" y="55"/>
                    </a:cubicBezTo>
                    <a:cubicBezTo>
                      <a:pt x="37" y="55"/>
                      <a:pt x="37" y="55"/>
                      <a:pt x="38" y="55"/>
                    </a:cubicBezTo>
                    <a:cubicBezTo>
                      <a:pt x="38" y="55"/>
                      <a:pt x="38" y="54"/>
                      <a:pt x="38" y="54"/>
                    </a:cubicBezTo>
                    <a:cubicBezTo>
                      <a:pt x="38" y="54"/>
                      <a:pt x="38" y="54"/>
                      <a:pt x="39" y="54"/>
                    </a:cubicBezTo>
                    <a:cubicBezTo>
                      <a:pt x="40" y="52"/>
                      <a:pt x="40" y="52"/>
                      <a:pt x="40" y="52"/>
                    </a:cubicBezTo>
                    <a:cubicBezTo>
                      <a:pt x="40" y="52"/>
                      <a:pt x="40" y="52"/>
                      <a:pt x="40" y="52"/>
                    </a:cubicBezTo>
                    <a:cubicBezTo>
                      <a:pt x="40" y="51"/>
                      <a:pt x="40" y="51"/>
                      <a:pt x="40" y="51"/>
                    </a:cubicBezTo>
                    <a:cubicBezTo>
                      <a:pt x="40" y="51"/>
                      <a:pt x="40" y="51"/>
                      <a:pt x="40" y="51"/>
                    </a:cubicBezTo>
                    <a:cubicBezTo>
                      <a:pt x="40" y="51"/>
                      <a:pt x="40" y="51"/>
                      <a:pt x="40" y="51"/>
                    </a:cubicBezTo>
                    <a:cubicBezTo>
                      <a:pt x="39" y="50"/>
                      <a:pt x="38" y="49"/>
                      <a:pt x="38" y="49"/>
                    </a:cubicBezTo>
                    <a:cubicBezTo>
                      <a:pt x="37" y="48"/>
                      <a:pt x="36" y="47"/>
                      <a:pt x="35" y="46"/>
                    </a:cubicBezTo>
                    <a:cubicBezTo>
                      <a:pt x="34" y="46"/>
                      <a:pt x="33" y="46"/>
                      <a:pt x="32" y="45"/>
                    </a:cubicBezTo>
                    <a:cubicBezTo>
                      <a:pt x="30" y="45"/>
                      <a:pt x="31" y="44"/>
                      <a:pt x="32" y="43"/>
                    </a:cubicBezTo>
                    <a:cubicBezTo>
                      <a:pt x="32" y="43"/>
                      <a:pt x="32" y="44"/>
                      <a:pt x="33" y="44"/>
                    </a:cubicBezTo>
                    <a:cubicBezTo>
                      <a:pt x="33" y="43"/>
                      <a:pt x="32" y="43"/>
                      <a:pt x="32" y="42"/>
                    </a:cubicBezTo>
                    <a:cubicBezTo>
                      <a:pt x="33" y="42"/>
                      <a:pt x="33" y="41"/>
                      <a:pt x="33" y="41"/>
                    </a:cubicBezTo>
                    <a:cubicBezTo>
                      <a:pt x="33" y="40"/>
                      <a:pt x="32" y="40"/>
                      <a:pt x="32" y="39"/>
                    </a:cubicBezTo>
                    <a:cubicBezTo>
                      <a:pt x="32" y="37"/>
                      <a:pt x="39" y="36"/>
                      <a:pt x="40" y="35"/>
                    </a:cubicBezTo>
                    <a:cubicBezTo>
                      <a:pt x="44" y="34"/>
                      <a:pt x="46" y="31"/>
                      <a:pt x="49" y="29"/>
                    </a:cubicBezTo>
                    <a:cubicBezTo>
                      <a:pt x="51" y="28"/>
                      <a:pt x="55" y="26"/>
                      <a:pt x="55" y="25"/>
                    </a:cubicBezTo>
                    <a:cubicBezTo>
                      <a:pt x="55" y="24"/>
                      <a:pt x="55" y="24"/>
                      <a:pt x="55" y="23"/>
                    </a:cubicBezTo>
                    <a:cubicBezTo>
                      <a:pt x="55" y="23"/>
                      <a:pt x="55" y="22"/>
                      <a:pt x="55" y="21"/>
                    </a:cubicBezTo>
                    <a:cubicBezTo>
                      <a:pt x="55" y="21"/>
                      <a:pt x="55" y="20"/>
                      <a:pt x="56" y="20"/>
                    </a:cubicBezTo>
                    <a:cubicBezTo>
                      <a:pt x="56" y="19"/>
                      <a:pt x="55" y="19"/>
                      <a:pt x="55" y="19"/>
                    </a:cubicBezTo>
                    <a:cubicBezTo>
                      <a:pt x="56" y="15"/>
                      <a:pt x="57" y="12"/>
                      <a:pt x="60" y="9"/>
                    </a:cubicBezTo>
                    <a:cubicBezTo>
                      <a:pt x="61" y="9"/>
                      <a:pt x="62" y="8"/>
                      <a:pt x="62" y="8"/>
                    </a:cubicBezTo>
                    <a:cubicBezTo>
                      <a:pt x="62" y="8"/>
                      <a:pt x="63" y="8"/>
                      <a:pt x="63" y="8"/>
                    </a:cubicBezTo>
                    <a:cubicBezTo>
                      <a:pt x="63" y="7"/>
                      <a:pt x="62" y="7"/>
                      <a:pt x="6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5" name="Freeform 3177">
                <a:extLst>
                  <a:ext uri="{FF2B5EF4-FFF2-40B4-BE49-F238E27FC236}">
                    <a16:creationId xmlns:a16="http://schemas.microsoft.com/office/drawing/2014/main" id="{74C825A9-B591-4260-85A8-908B1A969A8E}"/>
                  </a:ext>
                </a:extLst>
              </p:cNvPr>
              <p:cNvSpPr>
                <a:spLocks/>
              </p:cNvSpPr>
              <p:nvPr/>
            </p:nvSpPr>
            <p:spPr bwMode="auto">
              <a:xfrm>
                <a:off x="6594" y="1799"/>
                <a:ext cx="83" cy="116"/>
              </a:xfrm>
              <a:custGeom>
                <a:avLst/>
                <a:gdLst>
                  <a:gd name="T0" fmla="*/ 33 w 35"/>
                  <a:gd name="T1" fmla="*/ 16 h 49"/>
                  <a:gd name="T2" fmla="*/ 29 w 35"/>
                  <a:gd name="T3" fmla="*/ 8 h 49"/>
                  <a:gd name="T4" fmla="*/ 24 w 35"/>
                  <a:gd name="T5" fmla="*/ 0 h 49"/>
                  <a:gd name="T6" fmla="*/ 22 w 35"/>
                  <a:gd name="T7" fmla="*/ 2 h 49"/>
                  <a:gd name="T8" fmla="*/ 21 w 35"/>
                  <a:gd name="T9" fmla="*/ 3 h 49"/>
                  <a:gd name="T10" fmla="*/ 13 w 35"/>
                  <a:gd name="T11" fmla="*/ 4 h 49"/>
                  <a:gd name="T12" fmla="*/ 10 w 35"/>
                  <a:gd name="T13" fmla="*/ 4 h 49"/>
                  <a:gd name="T14" fmla="*/ 9 w 35"/>
                  <a:gd name="T15" fmla="*/ 5 h 49"/>
                  <a:gd name="T16" fmla="*/ 8 w 35"/>
                  <a:gd name="T17" fmla="*/ 6 h 49"/>
                  <a:gd name="T18" fmla="*/ 7 w 35"/>
                  <a:gd name="T19" fmla="*/ 8 h 49"/>
                  <a:gd name="T20" fmla="*/ 6 w 35"/>
                  <a:gd name="T21" fmla="*/ 9 h 49"/>
                  <a:gd name="T22" fmla="*/ 5 w 35"/>
                  <a:gd name="T23" fmla="*/ 9 h 49"/>
                  <a:gd name="T24" fmla="*/ 5 w 35"/>
                  <a:gd name="T25" fmla="*/ 9 h 49"/>
                  <a:gd name="T26" fmla="*/ 5 w 35"/>
                  <a:gd name="T27" fmla="*/ 11 h 49"/>
                  <a:gd name="T28" fmla="*/ 8 w 35"/>
                  <a:gd name="T29" fmla="*/ 14 h 49"/>
                  <a:gd name="T30" fmla="*/ 8 w 35"/>
                  <a:gd name="T31" fmla="*/ 16 h 49"/>
                  <a:gd name="T32" fmla="*/ 8 w 35"/>
                  <a:gd name="T33" fmla="*/ 17 h 49"/>
                  <a:gd name="T34" fmla="*/ 7 w 35"/>
                  <a:gd name="T35" fmla="*/ 20 h 49"/>
                  <a:gd name="T36" fmla="*/ 6 w 35"/>
                  <a:gd name="T37" fmla="*/ 18 h 49"/>
                  <a:gd name="T38" fmla="*/ 5 w 35"/>
                  <a:gd name="T39" fmla="*/ 18 h 49"/>
                  <a:gd name="T40" fmla="*/ 4 w 35"/>
                  <a:gd name="T41" fmla="*/ 19 h 49"/>
                  <a:gd name="T42" fmla="*/ 2 w 35"/>
                  <a:gd name="T43" fmla="*/ 20 h 49"/>
                  <a:gd name="T44" fmla="*/ 1 w 35"/>
                  <a:gd name="T45" fmla="*/ 20 h 49"/>
                  <a:gd name="T46" fmla="*/ 0 w 35"/>
                  <a:gd name="T47" fmla="*/ 20 h 49"/>
                  <a:gd name="T48" fmla="*/ 4 w 35"/>
                  <a:gd name="T49" fmla="*/ 22 h 49"/>
                  <a:gd name="T50" fmla="*/ 4 w 35"/>
                  <a:gd name="T51" fmla="*/ 28 h 49"/>
                  <a:gd name="T52" fmla="*/ 5 w 35"/>
                  <a:gd name="T53" fmla="*/ 30 h 49"/>
                  <a:gd name="T54" fmla="*/ 7 w 35"/>
                  <a:gd name="T55" fmla="*/ 32 h 49"/>
                  <a:gd name="T56" fmla="*/ 6 w 35"/>
                  <a:gd name="T57" fmla="*/ 34 h 49"/>
                  <a:gd name="T58" fmla="*/ 3 w 35"/>
                  <a:gd name="T59" fmla="*/ 41 h 49"/>
                  <a:gd name="T60" fmla="*/ 2 w 35"/>
                  <a:gd name="T61" fmla="*/ 42 h 49"/>
                  <a:gd name="T62" fmla="*/ 5 w 35"/>
                  <a:gd name="T63" fmla="*/ 43 h 49"/>
                  <a:gd name="T64" fmla="*/ 3 w 35"/>
                  <a:gd name="T65" fmla="*/ 44 h 49"/>
                  <a:gd name="T66" fmla="*/ 4 w 35"/>
                  <a:gd name="T67" fmla="*/ 45 h 49"/>
                  <a:gd name="T68" fmla="*/ 2 w 35"/>
                  <a:gd name="T69" fmla="*/ 45 h 49"/>
                  <a:gd name="T70" fmla="*/ 4 w 35"/>
                  <a:gd name="T71" fmla="*/ 49 h 49"/>
                  <a:gd name="T72" fmla="*/ 13 w 35"/>
                  <a:gd name="T73" fmla="*/ 44 h 49"/>
                  <a:gd name="T74" fmla="*/ 13 w 35"/>
                  <a:gd name="T75" fmla="*/ 47 h 49"/>
                  <a:gd name="T76" fmla="*/ 14 w 35"/>
                  <a:gd name="T77" fmla="*/ 45 h 49"/>
                  <a:gd name="T78" fmla="*/ 16 w 35"/>
                  <a:gd name="T79" fmla="*/ 45 h 49"/>
                  <a:gd name="T80" fmla="*/ 17 w 35"/>
                  <a:gd name="T81" fmla="*/ 41 h 49"/>
                  <a:gd name="T82" fmla="*/ 22 w 35"/>
                  <a:gd name="T83" fmla="*/ 42 h 49"/>
                  <a:gd name="T84" fmla="*/ 24 w 35"/>
                  <a:gd name="T85" fmla="*/ 41 h 49"/>
                  <a:gd name="T86" fmla="*/ 26 w 35"/>
                  <a:gd name="T87" fmla="*/ 38 h 49"/>
                  <a:gd name="T88" fmla="*/ 30 w 35"/>
                  <a:gd name="T89" fmla="*/ 40 h 49"/>
                  <a:gd name="T90" fmla="*/ 35 w 35"/>
                  <a:gd name="T91" fmla="*/ 2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 h="49">
                    <a:moveTo>
                      <a:pt x="33" y="29"/>
                    </a:moveTo>
                    <a:cubicBezTo>
                      <a:pt x="34" y="25"/>
                      <a:pt x="33" y="20"/>
                      <a:pt x="33" y="16"/>
                    </a:cubicBezTo>
                    <a:cubicBezTo>
                      <a:pt x="33" y="15"/>
                      <a:pt x="32" y="14"/>
                      <a:pt x="32" y="14"/>
                    </a:cubicBezTo>
                    <a:cubicBezTo>
                      <a:pt x="31" y="12"/>
                      <a:pt x="30" y="10"/>
                      <a:pt x="29" y="8"/>
                    </a:cubicBezTo>
                    <a:cubicBezTo>
                      <a:pt x="27" y="5"/>
                      <a:pt x="25" y="2"/>
                      <a:pt x="24" y="0"/>
                    </a:cubicBezTo>
                    <a:cubicBezTo>
                      <a:pt x="24" y="0"/>
                      <a:pt x="24" y="0"/>
                      <a:pt x="24" y="0"/>
                    </a:cubicBezTo>
                    <a:cubicBezTo>
                      <a:pt x="23" y="0"/>
                      <a:pt x="23" y="0"/>
                      <a:pt x="23" y="1"/>
                    </a:cubicBezTo>
                    <a:cubicBezTo>
                      <a:pt x="22" y="2"/>
                      <a:pt x="22" y="2"/>
                      <a:pt x="22" y="2"/>
                    </a:cubicBezTo>
                    <a:cubicBezTo>
                      <a:pt x="22" y="2"/>
                      <a:pt x="22" y="2"/>
                      <a:pt x="22" y="2"/>
                    </a:cubicBezTo>
                    <a:cubicBezTo>
                      <a:pt x="22" y="2"/>
                      <a:pt x="21" y="3"/>
                      <a:pt x="21" y="3"/>
                    </a:cubicBezTo>
                    <a:cubicBezTo>
                      <a:pt x="20" y="3"/>
                      <a:pt x="20" y="3"/>
                      <a:pt x="20" y="3"/>
                    </a:cubicBezTo>
                    <a:cubicBezTo>
                      <a:pt x="13" y="4"/>
                      <a:pt x="13" y="4"/>
                      <a:pt x="13" y="4"/>
                    </a:cubicBezTo>
                    <a:cubicBezTo>
                      <a:pt x="13" y="4"/>
                      <a:pt x="12" y="4"/>
                      <a:pt x="12" y="4"/>
                    </a:cubicBezTo>
                    <a:cubicBezTo>
                      <a:pt x="11" y="4"/>
                      <a:pt x="10" y="4"/>
                      <a:pt x="10" y="4"/>
                    </a:cubicBezTo>
                    <a:cubicBezTo>
                      <a:pt x="10" y="4"/>
                      <a:pt x="10" y="4"/>
                      <a:pt x="9" y="5"/>
                    </a:cubicBezTo>
                    <a:cubicBezTo>
                      <a:pt x="9" y="5"/>
                      <a:pt x="9" y="5"/>
                      <a:pt x="9" y="5"/>
                    </a:cubicBezTo>
                    <a:cubicBezTo>
                      <a:pt x="9" y="6"/>
                      <a:pt x="9" y="6"/>
                      <a:pt x="8" y="6"/>
                    </a:cubicBezTo>
                    <a:cubicBezTo>
                      <a:pt x="8" y="6"/>
                      <a:pt x="8" y="6"/>
                      <a:pt x="8" y="6"/>
                    </a:cubicBezTo>
                    <a:cubicBezTo>
                      <a:pt x="8" y="7"/>
                      <a:pt x="7" y="7"/>
                      <a:pt x="7" y="8"/>
                    </a:cubicBezTo>
                    <a:cubicBezTo>
                      <a:pt x="7" y="8"/>
                      <a:pt x="7" y="8"/>
                      <a:pt x="7" y="8"/>
                    </a:cubicBezTo>
                    <a:cubicBezTo>
                      <a:pt x="7" y="8"/>
                      <a:pt x="7" y="8"/>
                      <a:pt x="7" y="8"/>
                    </a:cubicBezTo>
                    <a:cubicBezTo>
                      <a:pt x="7" y="9"/>
                      <a:pt x="6" y="9"/>
                      <a:pt x="6" y="9"/>
                    </a:cubicBezTo>
                    <a:cubicBezTo>
                      <a:pt x="6" y="9"/>
                      <a:pt x="6" y="10"/>
                      <a:pt x="6" y="10"/>
                    </a:cubicBezTo>
                    <a:cubicBezTo>
                      <a:pt x="6" y="10"/>
                      <a:pt x="6" y="9"/>
                      <a:pt x="5" y="9"/>
                    </a:cubicBezTo>
                    <a:cubicBezTo>
                      <a:pt x="5" y="9"/>
                      <a:pt x="5" y="9"/>
                      <a:pt x="5" y="9"/>
                    </a:cubicBezTo>
                    <a:cubicBezTo>
                      <a:pt x="5" y="9"/>
                      <a:pt x="5" y="9"/>
                      <a:pt x="5" y="9"/>
                    </a:cubicBezTo>
                    <a:cubicBezTo>
                      <a:pt x="5" y="9"/>
                      <a:pt x="4" y="9"/>
                      <a:pt x="4" y="9"/>
                    </a:cubicBezTo>
                    <a:cubicBezTo>
                      <a:pt x="4" y="10"/>
                      <a:pt x="5" y="10"/>
                      <a:pt x="5" y="11"/>
                    </a:cubicBezTo>
                    <a:cubicBezTo>
                      <a:pt x="6" y="11"/>
                      <a:pt x="6" y="12"/>
                      <a:pt x="6" y="13"/>
                    </a:cubicBezTo>
                    <a:cubicBezTo>
                      <a:pt x="7" y="13"/>
                      <a:pt x="7" y="14"/>
                      <a:pt x="8" y="14"/>
                    </a:cubicBezTo>
                    <a:cubicBezTo>
                      <a:pt x="7" y="14"/>
                      <a:pt x="6" y="15"/>
                      <a:pt x="6" y="16"/>
                    </a:cubicBezTo>
                    <a:cubicBezTo>
                      <a:pt x="6" y="16"/>
                      <a:pt x="7" y="15"/>
                      <a:pt x="8" y="16"/>
                    </a:cubicBezTo>
                    <a:cubicBezTo>
                      <a:pt x="7" y="16"/>
                      <a:pt x="7" y="16"/>
                      <a:pt x="7" y="17"/>
                    </a:cubicBezTo>
                    <a:cubicBezTo>
                      <a:pt x="7" y="17"/>
                      <a:pt x="7" y="17"/>
                      <a:pt x="8" y="17"/>
                    </a:cubicBezTo>
                    <a:cubicBezTo>
                      <a:pt x="7" y="18"/>
                      <a:pt x="8" y="18"/>
                      <a:pt x="9" y="18"/>
                    </a:cubicBezTo>
                    <a:cubicBezTo>
                      <a:pt x="8" y="19"/>
                      <a:pt x="8" y="19"/>
                      <a:pt x="7" y="20"/>
                    </a:cubicBezTo>
                    <a:cubicBezTo>
                      <a:pt x="7" y="20"/>
                      <a:pt x="8" y="18"/>
                      <a:pt x="7" y="19"/>
                    </a:cubicBezTo>
                    <a:cubicBezTo>
                      <a:pt x="7" y="18"/>
                      <a:pt x="7" y="18"/>
                      <a:pt x="6" y="18"/>
                    </a:cubicBezTo>
                    <a:cubicBezTo>
                      <a:pt x="6" y="18"/>
                      <a:pt x="6" y="18"/>
                      <a:pt x="6" y="18"/>
                    </a:cubicBezTo>
                    <a:cubicBezTo>
                      <a:pt x="6" y="18"/>
                      <a:pt x="5" y="18"/>
                      <a:pt x="5" y="18"/>
                    </a:cubicBezTo>
                    <a:cubicBezTo>
                      <a:pt x="5" y="18"/>
                      <a:pt x="5" y="17"/>
                      <a:pt x="5" y="17"/>
                    </a:cubicBezTo>
                    <a:cubicBezTo>
                      <a:pt x="4" y="16"/>
                      <a:pt x="4" y="18"/>
                      <a:pt x="4" y="19"/>
                    </a:cubicBezTo>
                    <a:cubicBezTo>
                      <a:pt x="4" y="19"/>
                      <a:pt x="3" y="17"/>
                      <a:pt x="3" y="17"/>
                    </a:cubicBezTo>
                    <a:cubicBezTo>
                      <a:pt x="2" y="17"/>
                      <a:pt x="2" y="19"/>
                      <a:pt x="2" y="20"/>
                    </a:cubicBezTo>
                    <a:cubicBezTo>
                      <a:pt x="2" y="19"/>
                      <a:pt x="2" y="19"/>
                      <a:pt x="2" y="18"/>
                    </a:cubicBezTo>
                    <a:cubicBezTo>
                      <a:pt x="1" y="20"/>
                      <a:pt x="1" y="18"/>
                      <a:pt x="1" y="20"/>
                    </a:cubicBezTo>
                    <a:cubicBezTo>
                      <a:pt x="1" y="20"/>
                      <a:pt x="1" y="19"/>
                      <a:pt x="1" y="19"/>
                    </a:cubicBezTo>
                    <a:cubicBezTo>
                      <a:pt x="0" y="20"/>
                      <a:pt x="0" y="20"/>
                      <a:pt x="0" y="20"/>
                    </a:cubicBezTo>
                    <a:cubicBezTo>
                      <a:pt x="1" y="21"/>
                      <a:pt x="3" y="20"/>
                      <a:pt x="3" y="21"/>
                    </a:cubicBezTo>
                    <a:cubicBezTo>
                      <a:pt x="4" y="20"/>
                      <a:pt x="4" y="21"/>
                      <a:pt x="4" y="22"/>
                    </a:cubicBezTo>
                    <a:cubicBezTo>
                      <a:pt x="4" y="23"/>
                      <a:pt x="4" y="23"/>
                      <a:pt x="4" y="24"/>
                    </a:cubicBezTo>
                    <a:cubicBezTo>
                      <a:pt x="4" y="25"/>
                      <a:pt x="5" y="27"/>
                      <a:pt x="4" y="28"/>
                    </a:cubicBezTo>
                    <a:cubicBezTo>
                      <a:pt x="5" y="28"/>
                      <a:pt x="6" y="28"/>
                      <a:pt x="8" y="28"/>
                    </a:cubicBezTo>
                    <a:cubicBezTo>
                      <a:pt x="7" y="29"/>
                      <a:pt x="5" y="30"/>
                      <a:pt x="5" y="30"/>
                    </a:cubicBezTo>
                    <a:cubicBezTo>
                      <a:pt x="5" y="31"/>
                      <a:pt x="5" y="30"/>
                      <a:pt x="5" y="30"/>
                    </a:cubicBezTo>
                    <a:cubicBezTo>
                      <a:pt x="5" y="30"/>
                      <a:pt x="7" y="32"/>
                      <a:pt x="7" y="32"/>
                    </a:cubicBezTo>
                    <a:cubicBezTo>
                      <a:pt x="6" y="32"/>
                      <a:pt x="3" y="33"/>
                      <a:pt x="4" y="34"/>
                    </a:cubicBezTo>
                    <a:cubicBezTo>
                      <a:pt x="4" y="34"/>
                      <a:pt x="5" y="34"/>
                      <a:pt x="6" y="34"/>
                    </a:cubicBezTo>
                    <a:cubicBezTo>
                      <a:pt x="4" y="35"/>
                      <a:pt x="3" y="36"/>
                      <a:pt x="2" y="38"/>
                    </a:cubicBezTo>
                    <a:cubicBezTo>
                      <a:pt x="2" y="39"/>
                      <a:pt x="3" y="40"/>
                      <a:pt x="3" y="41"/>
                    </a:cubicBezTo>
                    <a:cubicBezTo>
                      <a:pt x="3" y="40"/>
                      <a:pt x="2" y="40"/>
                      <a:pt x="1" y="40"/>
                    </a:cubicBezTo>
                    <a:cubicBezTo>
                      <a:pt x="2" y="40"/>
                      <a:pt x="2" y="41"/>
                      <a:pt x="2" y="42"/>
                    </a:cubicBezTo>
                    <a:cubicBezTo>
                      <a:pt x="3" y="43"/>
                      <a:pt x="3" y="43"/>
                      <a:pt x="3" y="43"/>
                    </a:cubicBezTo>
                    <a:cubicBezTo>
                      <a:pt x="4" y="43"/>
                      <a:pt x="5" y="42"/>
                      <a:pt x="5" y="43"/>
                    </a:cubicBezTo>
                    <a:cubicBezTo>
                      <a:pt x="5" y="43"/>
                      <a:pt x="4" y="43"/>
                      <a:pt x="4" y="43"/>
                    </a:cubicBezTo>
                    <a:cubicBezTo>
                      <a:pt x="4" y="44"/>
                      <a:pt x="3" y="44"/>
                      <a:pt x="3" y="44"/>
                    </a:cubicBezTo>
                    <a:cubicBezTo>
                      <a:pt x="4" y="44"/>
                      <a:pt x="5" y="44"/>
                      <a:pt x="5" y="45"/>
                    </a:cubicBezTo>
                    <a:cubicBezTo>
                      <a:pt x="5" y="45"/>
                      <a:pt x="5" y="45"/>
                      <a:pt x="4" y="45"/>
                    </a:cubicBezTo>
                    <a:cubicBezTo>
                      <a:pt x="4" y="45"/>
                      <a:pt x="3" y="46"/>
                      <a:pt x="4" y="46"/>
                    </a:cubicBezTo>
                    <a:cubicBezTo>
                      <a:pt x="3" y="46"/>
                      <a:pt x="2" y="45"/>
                      <a:pt x="2" y="45"/>
                    </a:cubicBezTo>
                    <a:cubicBezTo>
                      <a:pt x="2" y="46"/>
                      <a:pt x="2" y="45"/>
                      <a:pt x="3" y="46"/>
                    </a:cubicBezTo>
                    <a:cubicBezTo>
                      <a:pt x="3" y="47"/>
                      <a:pt x="4" y="48"/>
                      <a:pt x="4" y="49"/>
                    </a:cubicBezTo>
                    <a:cubicBezTo>
                      <a:pt x="6" y="47"/>
                      <a:pt x="6" y="46"/>
                      <a:pt x="9" y="45"/>
                    </a:cubicBezTo>
                    <a:cubicBezTo>
                      <a:pt x="9" y="45"/>
                      <a:pt x="12" y="43"/>
                      <a:pt x="13" y="44"/>
                    </a:cubicBezTo>
                    <a:cubicBezTo>
                      <a:pt x="13" y="44"/>
                      <a:pt x="10" y="45"/>
                      <a:pt x="10" y="46"/>
                    </a:cubicBezTo>
                    <a:cubicBezTo>
                      <a:pt x="10" y="46"/>
                      <a:pt x="13" y="47"/>
                      <a:pt x="13" y="47"/>
                    </a:cubicBezTo>
                    <a:cubicBezTo>
                      <a:pt x="13" y="47"/>
                      <a:pt x="14" y="45"/>
                      <a:pt x="14" y="45"/>
                    </a:cubicBezTo>
                    <a:cubicBezTo>
                      <a:pt x="14" y="45"/>
                      <a:pt x="14" y="45"/>
                      <a:pt x="14" y="45"/>
                    </a:cubicBezTo>
                    <a:cubicBezTo>
                      <a:pt x="13" y="44"/>
                      <a:pt x="14" y="43"/>
                      <a:pt x="14" y="42"/>
                    </a:cubicBezTo>
                    <a:cubicBezTo>
                      <a:pt x="14" y="43"/>
                      <a:pt x="15" y="45"/>
                      <a:pt x="16" y="45"/>
                    </a:cubicBezTo>
                    <a:cubicBezTo>
                      <a:pt x="16" y="44"/>
                      <a:pt x="17" y="44"/>
                      <a:pt x="17" y="43"/>
                    </a:cubicBezTo>
                    <a:cubicBezTo>
                      <a:pt x="17" y="43"/>
                      <a:pt x="17" y="42"/>
                      <a:pt x="17" y="41"/>
                    </a:cubicBezTo>
                    <a:cubicBezTo>
                      <a:pt x="17" y="41"/>
                      <a:pt x="19" y="40"/>
                      <a:pt x="20" y="40"/>
                    </a:cubicBezTo>
                    <a:cubicBezTo>
                      <a:pt x="20" y="41"/>
                      <a:pt x="21" y="41"/>
                      <a:pt x="22" y="42"/>
                    </a:cubicBezTo>
                    <a:cubicBezTo>
                      <a:pt x="23" y="42"/>
                      <a:pt x="24" y="43"/>
                      <a:pt x="24" y="42"/>
                    </a:cubicBezTo>
                    <a:cubicBezTo>
                      <a:pt x="24" y="42"/>
                      <a:pt x="24" y="41"/>
                      <a:pt x="24" y="41"/>
                    </a:cubicBezTo>
                    <a:cubicBezTo>
                      <a:pt x="24" y="41"/>
                      <a:pt x="25" y="40"/>
                      <a:pt x="26" y="40"/>
                    </a:cubicBezTo>
                    <a:cubicBezTo>
                      <a:pt x="26" y="40"/>
                      <a:pt x="25" y="39"/>
                      <a:pt x="26" y="38"/>
                    </a:cubicBezTo>
                    <a:cubicBezTo>
                      <a:pt x="26" y="39"/>
                      <a:pt x="28" y="39"/>
                      <a:pt x="29" y="39"/>
                    </a:cubicBezTo>
                    <a:cubicBezTo>
                      <a:pt x="30" y="39"/>
                      <a:pt x="29" y="40"/>
                      <a:pt x="30" y="40"/>
                    </a:cubicBezTo>
                    <a:cubicBezTo>
                      <a:pt x="30" y="40"/>
                      <a:pt x="32" y="39"/>
                      <a:pt x="32" y="38"/>
                    </a:cubicBezTo>
                    <a:cubicBezTo>
                      <a:pt x="34" y="35"/>
                      <a:pt x="35" y="32"/>
                      <a:pt x="35" y="28"/>
                    </a:cubicBezTo>
                    <a:cubicBezTo>
                      <a:pt x="35" y="28"/>
                      <a:pt x="34" y="29"/>
                      <a:pt x="3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6" name="Freeform 3178">
                <a:extLst>
                  <a:ext uri="{FF2B5EF4-FFF2-40B4-BE49-F238E27FC236}">
                    <a16:creationId xmlns:a16="http://schemas.microsoft.com/office/drawing/2014/main" id="{3738BFAC-EF71-4749-9DE7-F01F2042217E}"/>
                  </a:ext>
                </a:extLst>
              </p:cNvPr>
              <p:cNvSpPr>
                <a:spLocks/>
              </p:cNvSpPr>
              <p:nvPr/>
            </p:nvSpPr>
            <p:spPr bwMode="auto">
              <a:xfrm>
                <a:off x="6568" y="2980"/>
                <a:ext cx="55" cy="26"/>
              </a:xfrm>
              <a:custGeom>
                <a:avLst/>
                <a:gdLst>
                  <a:gd name="T0" fmla="*/ 22 w 23"/>
                  <a:gd name="T1" fmla="*/ 0 h 11"/>
                  <a:gd name="T2" fmla="*/ 7 w 23"/>
                  <a:gd name="T3" fmla="*/ 2 h 11"/>
                  <a:gd name="T4" fmla="*/ 3 w 23"/>
                  <a:gd name="T5" fmla="*/ 2 h 11"/>
                  <a:gd name="T6" fmla="*/ 0 w 23"/>
                  <a:gd name="T7" fmla="*/ 5 h 11"/>
                  <a:gd name="T8" fmla="*/ 0 w 23"/>
                  <a:gd name="T9" fmla="*/ 5 h 11"/>
                  <a:gd name="T10" fmla="*/ 0 w 23"/>
                  <a:gd name="T11" fmla="*/ 5 h 11"/>
                  <a:gd name="T12" fmla="*/ 1 w 23"/>
                  <a:gd name="T13" fmla="*/ 5 h 11"/>
                  <a:gd name="T14" fmla="*/ 2 w 23"/>
                  <a:gd name="T15" fmla="*/ 6 h 11"/>
                  <a:gd name="T16" fmla="*/ 2 w 23"/>
                  <a:gd name="T17" fmla="*/ 6 h 11"/>
                  <a:gd name="T18" fmla="*/ 2 w 23"/>
                  <a:gd name="T19" fmla="*/ 6 h 11"/>
                  <a:gd name="T20" fmla="*/ 2 w 23"/>
                  <a:gd name="T21" fmla="*/ 6 h 11"/>
                  <a:gd name="T22" fmla="*/ 2 w 23"/>
                  <a:gd name="T23" fmla="*/ 7 h 11"/>
                  <a:gd name="T24" fmla="*/ 3 w 23"/>
                  <a:gd name="T25" fmla="*/ 8 h 11"/>
                  <a:gd name="T26" fmla="*/ 2 w 23"/>
                  <a:gd name="T27" fmla="*/ 8 h 11"/>
                  <a:gd name="T28" fmla="*/ 2 w 23"/>
                  <a:gd name="T29" fmla="*/ 9 h 11"/>
                  <a:gd name="T30" fmla="*/ 2 w 23"/>
                  <a:gd name="T31" fmla="*/ 9 h 11"/>
                  <a:gd name="T32" fmla="*/ 2 w 23"/>
                  <a:gd name="T33" fmla="*/ 10 h 11"/>
                  <a:gd name="T34" fmla="*/ 2 w 23"/>
                  <a:gd name="T35" fmla="*/ 11 h 11"/>
                  <a:gd name="T36" fmla="*/ 14 w 23"/>
                  <a:gd name="T37" fmla="*/ 6 h 11"/>
                  <a:gd name="T38" fmla="*/ 20 w 23"/>
                  <a:gd name="T39" fmla="*/ 3 h 11"/>
                  <a:gd name="T40" fmla="*/ 23 w 23"/>
                  <a:gd name="T41" fmla="*/ 1 h 11"/>
                  <a:gd name="T42" fmla="*/ 22 w 23"/>
                  <a:gd name="T4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1">
                    <a:moveTo>
                      <a:pt x="22" y="0"/>
                    </a:moveTo>
                    <a:cubicBezTo>
                      <a:pt x="17" y="0"/>
                      <a:pt x="12" y="1"/>
                      <a:pt x="7" y="2"/>
                    </a:cubicBezTo>
                    <a:cubicBezTo>
                      <a:pt x="6" y="2"/>
                      <a:pt x="4" y="2"/>
                      <a:pt x="3" y="2"/>
                    </a:cubicBezTo>
                    <a:cubicBezTo>
                      <a:pt x="1" y="3"/>
                      <a:pt x="0" y="4"/>
                      <a:pt x="0" y="5"/>
                    </a:cubicBezTo>
                    <a:cubicBezTo>
                      <a:pt x="0" y="5"/>
                      <a:pt x="0" y="5"/>
                      <a:pt x="0" y="5"/>
                    </a:cubicBezTo>
                    <a:cubicBezTo>
                      <a:pt x="0" y="5"/>
                      <a:pt x="0" y="5"/>
                      <a:pt x="0" y="5"/>
                    </a:cubicBezTo>
                    <a:cubicBezTo>
                      <a:pt x="1" y="5"/>
                      <a:pt x="1" y="5"/>
                      <a:pt x="1" y="5"/>
                    </a:cubicBezTo>
                    <a:cubicBezTo>
                      <a:pt x="2" y="6"/>
                      <a:pt x="2" y="6"/>
                      <a:pt x="2" y="6"/>
                    </a:cubicBezTo>
                    <a:cubicBezTo>
                      <a:pt x="2" y="6"/>
                      <a:pt x="2" y="6"/>
                      <a:pt x="2" y="6"/>
                    </a:cubicBezTo>
                    <a:cubicBezTo>
                      <a:pt x="2" y="6"/>
                      <a:pt x="2" y="6"/>
                      <a:pt x="2" y="6"/>
                    </a:cubicBezTo>
                    <a:cubicBezTo>
                      <a:pt x="2" y="6"/>
                      <a:pt x="2" y="6"/>
                      <a:pt x="2" y="6"/>
                    </a:cubicBezTo>
                    <a:cubicBezTo>
                      <a:pt x="2" y="7"/>
                      <a:pt x="2" y="7"/>
                      <a:pt x="2" y="7"/>
                    </a:cubicBezTo>
                    <a:cubicBezTo>
                      <a:pt x="3" y="7"/>
                      <a:pt x="3" y="7"/>
                      <a:pt x="3" y="8"/>
                    </a:cubicBezTo>
                    <a:cubicBezTo>
                      <a:pt x="2" y="8"/>
                      <a:pt x="2" y="8"/>
                      <a:pt x="2" y="8"/>
                    </a:cubicBezTo>
                    <a:cubicBezTo>
                      <a:pt x="2" y="8"/>
                      <a:pt x="2" y="8"/>
                      <a:pt x="2" y="9"/>
                    </a:cubicBezTo>
                    <a:cubicBezTo>
                      <a:pt x="2" y="9"/>
                      <a:pt x="2" y="9"/>
                      <a:pt x="2" y="9"/>
                    </a:cubicBezTo>
                    <a:cubicBezTo>
                      <a:pt x="2" y="9"/>
                      <a:pt x="2" y="10"/>
                      <a:pt x="2" y="10"/>
                    </a:cubicBezTo>
                    <a:cubicBezTo>
                      <a:pt x="2" y="11"/>
                      <a:pt x="2" y="11"/>
                      <a:pt x="2" y="11"/>
                    </a:cubicBezTo>
                    <a:cubicBezTo>
                      <a:pt x="6" y="9"/>
                      <a:pt x="10" y="7"/>
                      <a:pt x="14" y="6"/>
                    </a:cubicBezTo>
                    <a:cubicBezTo>
                      <a:pt x="16" y="6"/>
                      <a:pt x="18" y="4"/>
                      <a:pt x="20" y="3"/>
                    </a:cubicBezTo>
                    <a:cubicBezTo>
                      <a:pt x="21" y="3"/>
                      <a:pt x="22" y="2"/>
                      <a:pt x="23" y="1"/>
                    </a:cubicBezTo>
                    <a:cubicBezTo>
                      <a:pt x="23" y="0"/>
                      <a:pt x="23" y="1"/>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7" name="Freeform 3179">
                <a:extLst>
                  <a:ext uri="{FF2B5EF4-FFF2-40B4-BE49-F238E27FC236}">
                    <a16:creationId xmlns:a16="http://schemas.microsoft.com/office/drawing/2014/main" id="{1FC1A132-9378-4752-B3FA-883F8EC23549}"/>
                  </a:ext>
                </a:extLst>
              </p:cNvPr>
              <p:cNvSpPr>
                <a:spLocks/>
              </p:cNvSpPr>
              <p:nvPr/>
            </p:nvSpPr>
            <p:spPr bwMode="auto">
              <a:xfrm>
                <a:off x="6531" y="2994"/>
                <a:ext cx="37" cy="35"/>
              </a:xfrm>
              <a:custGeom>
                <a:avLst/>
                <a:gdLst>
                  <a:gd name="T0" fmla="*/ 15 w 16"/>
                  <a:gd name="T1" fmla="*/ 6 h 15"/>
                  <a:gd name="T2" fmla="*/ 15 w 16"/>
                  <a:gd name="T3" fmla="*/ 5 h 15"/>
                  <a:gd name="T4" fmla="*/ 15 w 16"/>
                  <a:gd name="T5" fmla="*/ 5 h 15"/>
                  <a:gd name="T6" fmla="*/ 16 w 16"/>
                  <a:gd name="T7" fmla="*/ 4 h 15"/>
                  <a:gd name="T8" fmla="*/ 16 w 16"/>
                  <a:gd name="T9" fmla="*/ 2 h 15"/>
                  <a:gd name="T10" fmla="*/ 16 w 16"/>
                  <a:gd name="T11" fmla="*/ 2 h 15"/>
                  <a:gd name="T12" fmla="*/ 16 w 16"/>
                  <a:gd name="T13" fmla="*/ 2 h 15"/>
                  <a:gd name="T14" fmla="*/ 16 w 16"/>
                  <a:gd name="T15" fmla="*/ 1 h 15"/>
                  <a:gd name="T16" fmla="*/ 16 w 16"/>
                  <a:gd name="T17" fmla="*/ 1 h 15"/>
                  <a:gd name="T18" fmla="*/ 16 w 16"/>
                  <a:gd name="T19" fmla="*/ 1 h 15"/>
                  <a:gd name="T20" fmla="*/ 15 w 16"/>
                  <a:gd name="T21" fmla="*/ 1 h 15"/>
                  <a:gd name="T22" fmla="*/ 15 w 16"/>
                  <a:gd name="T23" fmla="*/ 1 h 15"/>
                  <a:gd name="T24" fmla="*/ 14 w 16"/>
                  <a:gd name="T25" fmla="*/ 1 h 15"/>
                  <a:gd name="T26" fmla="*/ 15 w 16"/>
                  <a:gd name="T27" fmla="*/ 0 h 15"/>
                  <a:gd name="T28" fmla="*/ 12 w 16"/>
                  <a:gd name="T29" fmla="*/ 2 h 15"/>
                  <a:gd name="T30" fmla="*/ 12 w 16"/>
                  <a:gd name="T31" fmla="*/ 2 h 15"/>
                  <a:gd name="T32" fmla="*/ 12 w 16"/>
                  <a:gd name="T33" fmla="*/ 2 h 15"/>
                  <a:gd name="T34" fmla="*/ 11 w 16"/>
                  <a:gd name="T35" fmla="*/ 5 h 15"/>
                  <a:gd name="T36" fmla="*/ 10 w 16"/>
                  <a:gd name="T37" fmla="*/ 6 h 15"/>
                  <a:gd name="T38" fmla="*/ 9 w 16"/>
                  <a:gd name="T39" fmla="*/ 7 h 15"/>
                  <a:gd name="T40" fmla="*/ 3 w 16"/>
                  <a:gd name="T41" fmla="*/ 6 h 15"/>
                  <a:gd name="T42" fmla="*/ 3 w 16"/>
                  <a:gd name="T43" fmla="*/ 6 h 15"/>
                  <a:gd name="T44" fmla="*/ 2 w 16"/>
                  <a:gd name="T45" fmla="*/ 7 h 15"/>
                  <a:gd name="T46" fmla="*/ 2 w 16"/>
                  <a:gd name="T47" fmla="*/ 10 h 15"/>
                  <a:gd name="T48" fmla="*/ 3 w 16"/>
                  <a:gd name="T49" fmla="*/ 11 h 15"/>
                  <a:gd name="T50" fmla="*/ 3 w 16"/>
                  <a:gd name="T51" fmla="*/ 12 h 15"/>
                  <a:gd name="T52" fmla="*/ 0 w 16"/>
                  <a:gd name="T53" fmla="*/ 15 h 15"/>
                  <a:gd name="T54" fmla="*/ 6 w 16"/>
                  <a:gd name="T55" fmla="*/ 13 h 15"/>
                  <a:gd name="T56" fmla="*/ 10 w 16"/>
                  <a:gd name="T57" fmla="*/ 12 h 15"/>
                  <a:gd name="T58" fmla="*/ 16 w 16"/>
                  <a:gd name="T59" fmla="*/ 6 h 15"/>
                  <a:gd name="T60" fmla="*/ 15 w 16"/>
                  <a:gd name="T61"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15">
                    <a:moveTo>
                      <a:pt x="15" y="6"/>
                    </a:moveTo>
                    <a:cubicBezTo>
                      <a:pt x="15" y="5"/>
                      <a:pt x="15" y="5"/>
                      <a:pt x="15" y="5"/>
                    </a:cubicBezTo>
                    <a:cubicBezTo>
                      <a:pt x="15" y="5"/>
                      <a:pt x="15" y="5"/>
                      <a:pt x="15" y="5"/>
                    </a:cubicBezTo>
                    <a:cubicBezTo>
                      <a:pt x="16" y="4"/>
                      <a:pt x="16" y="4"/>
                      <a:pt x="16" y="4"/>
                    </a:cubicBezTo>
                    <a:cubicBezTo>
                      <a:pt x="16" y="3"/>
                      <a:pt x="16" y="3"/>
                      <a:pt x="16" y="2"/>
                    </a:cubicBezTo>
                    <a:cubicBezTo>
                      <a:pt x="16" y="2"/>
                      <a:pt x="16" y="2"/>
                      <a:pt x="16" y="2"/>
                    </a:cubicBezTo>
                    <a:cubicBezTo>
                      <a:pt x="16" y="2"/>
                      <a:pt x="16" y="2"/>
                      <a:pt x="16" y="2"/>
                    </a:cubicBezTo>
                    <a:cubicBezTo>
                      <a:pt x="16" y="1"/>
                      <a:pt x="16" y="1"/>
                      <a:pt x="16" y="1"/>
                    </a:cubicBezTo>
                    <a:cubicBezTo>
                      <a:pt x="16" y="1"/>
                      <a:pt x="16" y="1"/>
                      <a:pt x="16" y="1"/>
                    </a:cubicBezTo>
                    <a:cubicBezTo>
                      <a:pt x="16" y="1"/>
                      <a:pt x="16" y="1"/>
                      <a:pt x="16" y="1"/>
                    </a:cubicBezTo>
                    <a:cubicBezTo>
                      <a:pt x="15" y="1"/>
                      <a:pt x="15" y="1"/>
                      <a:pt x="15" y="1"/>
                    </a:cubicBezTo>
                    <a:cubicBezTo>
                      <a:pt x="15" y="1"/>
                      <a:pt x="15" y="1"/>
                      <a:pt x="15" y="1"/>
                    </a:cubicBezTo>
                    <a:cubicBezTo>
                      <a:pt x="14" y="1"/>
                      <a:pt x="14" y="1"/>
                      <a:pt x="14" y="1"/>
                    </a:cubicBezTo>
                    <a:cubicBezTo>
                      <a:pt x="15" y="0"/>
                      <a:pt x="15" y="0"/>
                      <a:pt x="15" y="0"/>
                    </a:cubicBezTo>
                    <a:cubicBezTo>
                      <a:pt x="14" y="1"/>
                      <a:pt x="13" y="1"/>
                      <a:pt x="12" y="2"/>
                    </a:cubicBezTo>
                    <a:cubicBezTo>
                      <a:pt x="12" y="2"/>
                      <a:pt x="12" y="2"/>
                      <a:pt x="12" y="2"/>
                    </a:cubicBezTo>
                    <a:cubicBezTo>
                      <a:pt x="12" y="2"/>
                      <a:pt x="12" y="2"/>
                      <a:pt x="12" y="2"/>
                    </a:cubicBezTo>
                    <a:cubicBezTo>
                      <a:pt x="12" y="2"/>
                      <a:pt x="11" y="4"/>
                      <a:pt x="11" y="5"/>
                    </a:cubicBezTo>
                    <a:cubicBezTo>
                      <a:pt x="11" y="5"/>
                      <a:pt x="10" y="6"/>
                      <a:pt x="10" y="6"/>
                    </a:cubicBezTo>
                    <a:cubicBezTo>
                      <a:pt x="9" y="7"/>
                      <a:pt x="9" y="7"/>
                      <a:pt x="9" y="7"/>
                    </a:cubicBezTo>
                    <a:cubicBezTo>
                      <a:pt x="3" y="6"/>
                      <a:pt x="3" y="6"/>
                      <a:pt x="3" y="6"/>
                    </a:cubicBezTo>
                    <a:cubicBezTo>
                      <a:pt x="3" y="6"/>
                      <a:pt x="3" y="6"/>
                      <a:pt x="3" y="6"/>
                    </a:cubicBezTo>
                    <a:cubicBezTo>
                      <a:pt x="3" y="6"/>
                      <a:pt x="2" y="7"/>
                      <a:pt x="2" y="7"/>
                    </a:cubicBezTo>
                    <a:cubicBezTo>
                      <a:pt x="2" y="8"/>
                      <a:pt x="2" y="9"/>
                      <a:pt x="2" y="10"/>
                    </a:cubicBezTo>
                    <a:cubicBezTo>
                      <a:pt x="2" y="10"/>
                      <a:pt x="2" y="11"/>
                      <a:pt x="3" y="11"/>
                    </a:cubicBezTo>
                    <a:cubicBezTo>
                      <a:pt x="3" y="12"/>
                      <a:pt x="3" y="11"/>
                      <a:pt x="3" y="12"/>
                    </a:cubicBezTo>
                    <a:cubicBezTo>
                      <a:pt x="2" y="13"/>
                      <a:pt x="1" y="14"/>
                      <a:pt x="0" y="15"/>
                    </a:cubicBezTo>
                    <a:cubicBezTo>
                      <a:pt x="2" y="14"/>
                      <a:pt x="4" y="14"/>
                      <a:pt x="6" y="13"/>
                    </a:cubicBezTo>
                    <a:cubicBezTo>
                      <a:pt x="7" y="13"/>
                      <a:pt x="9" y="13"/>
                      <a:pt x="10" y="12"/>
                    </a:cubicBezTo>
                    <a:cubicBezTo>
                      <a:pt x="12" y="11"/>
                      <a:pt x="15" y="8"/>
                      <a:pt x="16" y="6"/>
                    </a:cubicBezTo>
                    <a:lnTo>
                      <a:pt x="15"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8" name="Freeform 3180">
                <a:extLst>
                  <a:ext uri="{FF2B5EF4-FFF2-40B4-BE49-F238E27FC236}">
                    <a16:creationId xmlns:a16="http://schemas.microsoft.com/office/drawing/2014/main" id="{C9789B72-D3AA-4E5E-A97C-A2D8E839C195}"/>
                  </a:ext>
                </a:extLst>
              </p:cNvPr>
              <p:cNvSpPr>
                <a:spLocks/>
              </p:cNvSpPr>
              <p:nvPr/>
            </p:nvSpPr>
            <p:spPr bwMode="auto">
              <a:xfrm>
                <a:off x="4809" y="2164"/>
                <a:ext cx="185" cy="205"/>
              </a:xfrm>
              <a:custGeom>
                <a:avLst/>
                <a:gdLst>
                  <a:gd name="T0" fmla="*/ 74 w 78"/>
                  <a:gd name="T1" fmla="*/ 24 h 87"/>
                  <a:gd name="T2" fmla="*/ 70 w 78"/>
                  <a:gd name="T3" fmla="*/ 20 h 87"/>
                  <a:gd name="T4" fmla="*/ 65 w 78"/>
                  <a:gd name="T5" fmla="*/ 13 h 87"/>
                  <a:gd name="T6" fmla="*/ 61 w 78"/>
                  <a:gd name="T7" fmla="*/ 13 h 87"/>
                  <a:gd name="T8" fmla="*/ 49 w 78"/>
                  <a:gd name="T9" fmla="*/ 9 h 87"/>
                  <a:gd name="T10" fmla="*/ 45 w 78"/>
                  <a:gd name="T11" fmla="*/ 4 h 87"/>
                  <a:gd name="T12" fmla="*/ 43 w 78"/>
                  <a:gd name="T13" fmla="*/ 1 h 87"/>
                  <a:gd name="T14" fmla="*/ 42 w 78"/>
                  <a:gd name="T15" fmla="*/ 2 h 87"/>
                  <a:gd name="T16" fmla="*/ 39 w 78"/>
                  <a:gd name="T17" fmla="*/ 4 h 87"/>
                  <a:gd name="T18" fmla="*/ 38 w 78"/>
                  <a:gd name="T19" fmla="*/ 3 h 87"/>
                  <a:gd name="T20" fmla="*/ 38 w 78"/>
                  <a:gd name="T21" fmla="*/ 6 h 87"/>
                  <a:gd name="T22" fmla="*/ 40 w 78"/>
                  <a:gd name="T23" fmla="*/ 8 h 87"/>
                  <a:gd name="T24" fmla="*/ 39 w 78"/>
                  <a:gd name="T25" fmla="*/ 10 h 87"/>
                  <a:gd name="T26" fmla="*/ 36 w 78"/>
                  <a:gd name="T27" fmla="*/ 10 h 87"/>
                  <a:gd name="T28" fmla="*/ 36 w 78"/>
                  <a:gd name="T29" fmla="*/ 10 h 87"/>
                  <a:gd name="T30" fmla="*/ 34 w 78"/>
                  <a:gd name="T31" fmla="*/ 12 h 87"/>
                  <a:gd name="T32" fmla="*/ 34 w 78"/>
                  <a:gd name="T33" fmla="*/ 14 h 87"/>
                  <a:gd name="T34" fmla="*/ 33 w 78"/>
                  <a:gd name="T35" fmla="*/ 21 h 87"/>
                  <a:gd name="T36" fmla="*/ 32 w 78"/>
                  <a:gd name="T37" fmla="*/ 22 h 87"/>
                  <a:gd name="T38" fmla="*/ 33 w 78"/>
                  <a:gd name="T39" fmla="*/ 25 h 87"/>
                  <a:gd name="T40" fmla="*/ 34 w 78"/>
                  <a:gd name="T41" fmla="*/ 27 h 87"/>
                  <a:gd name="T42" fmla="*/ 35 w 78"/>
                  <a:gd name="T43" fmla="*/ 29 h 87"/>
                  <a:gd name="T44" fmla="*/ 36 w 78"/>
                  <a:gd name="T45" fmla="*/ 32 h 87"/>
                  <a:gd name="T46" fmla="*/ 35 w 78"/>
                  <a:gd name="T47" fmla="*/ 38 h 87"/>
                  <a:gd name="T48" fmla="*/ 32 w 78"/>
                  <a:gd name="T49" fmla="*/ 46 h 87"/>
                  <a:gd name="T50" fmla="*/ 32 w 78"/>
                  <a:gd name="T51" fmla="*/ 47 h 87"/>
                  <a:gd name="T52" fmla="*/ 32 w 78"/>
                  <a:gd name="T53" fmla="*/ 48 h 87"/>
                  <a:gd name="T54" fmla="*/ 31 w 78"/>
                  <a:gd name="T55" fmla="*/ 49 h 87"/>
                  <a:gd name="T56" fmla="*/ 30 w 78"/>
                  <a:gd name="T57" fmla="*/ 52 h 87"/>
                  <a:gd name="T58" fmla="*/ 30 w 78"/>
                  <a:gd name="T59" fmla="*/ 55 h 87"/>
                  <a:gd name="T60" fmla="*/ 27 w 78"/>
                  <a:gd name="T61" fmla="*/ 54 h 87"/>
                  <a:gd name="T62" fmla="*/ 1 w 78"/>
                  <a:gd name="T63" fmla="*/ 63 h 87"/>
                  <a:gd name="T64" fmla="*/ 3 w 78"/>
                  <a:gd name="T65" fmla="*/ 71 h 87"/>
                  <a:gd name="T66" fmla="*/ 15 w 78"/>
                  <a:gd name="T67" fmla="*/ 86 h 87"/>
                  <a:gd name="T68" fmla="*/ 29 w 78"/>
                  <a:gd name="T69" fmla="*/ 84 h 87"/>
                  <a:gd name="T70" fmla="*/ 34 w 78"/>
                  <a:gd name="T71" fmla="*/ 75 h 87"/>
                  <a:gd name="T72" fmla="*/ 40 w 78"/>
                  <a:gd name="T73" fmla="*/ 74 h 87"/>
                  <a:gd name="T74" fmla="*/ 45 w 78"/>
                  <a:gd name="T75" fmla="*/ 71 h 87"/>
                  <a:gd name="T76" fmla="*/ 47 w 78"/>
                  <a:gd name="T77" fmla="*/ 66 h 87"/>
                  <a:gd name="T78" fmla="*/ 58 w 78"/>
                  <a:gd name="T79" fmla="*/ 63 h 87"/>
                  <a:gd name="T80" fmla="*/ 57 w 78"/>
                  <a:gd name="T81" fmla="*/ 60 h 87"/>
                  <a:gd name="T82" fmla="*/ 56 w 78"/>
                  <a:gd name="T83" fmla="*/ 56 h 87"/>
                  <a:gd name="T84" fmla="*/ 61 w 78"/>
                  <a:gd name="T85" fmla="*/ 46 h 87"/>
                  <a:gd name="T86" fmla="*/ 63 w 78"/>
                  <a:gd name="T87" fmla="*/ 48 h 87"/>
                  <a:gd name="T88" fmla="*/ 67 w 78"/>
                  <a:gd name="T89" fmla="*/ 44 h 87"/>
                  <a:gd name="T90" fmla="*/ 74 w 78"/>
                  <a:gd name="T91" fmla="*/ 36 h 87"/>
                  <a:gd name="T92" fmla="*/ 78 w 78"/>
                  <a:gd name="T93" fmla="*/ 2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 h="87">
                    <a:moveTo>
                      <a:pt x="76" y="25"/>
                    </a:moveTo>
                    <a:cubicBezTo>
                      <a:pt x="75" y="25"/>
                      <a:pt x="75" y="25"/>
                      <a:pt x="74" y="24"/>
                    </a:cubicBezTo>
                    <a:cubicBezTo>
                      <a:pt x="73" y="23"/>
                      <a:pt x="73" y="23"/>
                      <a:pt x="72" y="22"/>
                    </a:cubicBezTo>
                    <a:cubicBezTo>
                      <a:pt x="72" y="21"/>
                      <a:pt x="71" y="20"/>
                      <a:pt x="70" y="20"/>
                    </a:cubicBezTo>
                    <a:cubicBezTo>
                      <a:pt x="69" y="18"/>
                      <a:pt x="68" y="17"/>
                      <a:pt x="67" y="16"/>
                    </a:cubicBezTo>
                    <a:cubicBezTo>
                      <a:pt x="67" y="15"/>
                      <a:pt x="66" y="14"/>
                      <a:pt x="65" y="13"/>
                    </a:cubicBezTo>
                    <a:cubicBezTo>
                      <a:pt x="65" y="13"/>
                      <a:pt x="64" y="14"/>
                      <a:pt x="64" y="14"/>
                    </a:cubicBezTo>
                    <a:cubicBezTo>
                      <a:pt x="63" y="14"/>
                      <a:pt x="62" y="13"/>
                      <a:pt x="61" y="13"/>
                    </a:cubicBezTo>
                    <a:cubicBezTo>
                      <a:pt x="60" y="12"/>
                      <a:pt x="59" y="13"/>
                      <a:pt x="57" y="12"/>
                    </a:cubicBezTo>
                    <a:cubicBezTo>
                      <a:pt x="55" y="11"/>
                      <a:pt x="52" y="11"/>
                      <a:pt x="49" y="9"/>
                    </a:cubicBezTo>
                    <a:cubicBezTo>
                      <a:pt x="48" y="8"/>
                      <a:pt x="48" y="8"/>
                      <a:pt x="47" y="7"/>
                    </a:cubicBezTo>
                    <a:cubicBezTo>
                      <a:pt x="47" y="6"/>
                      <a:pt x="46" y="5"/>
                      <a:pt x="45" y="4"/>
                    </a:cubicBezTo>
                    <a:cubicBezTo>
                      <a:pt x="45" y="3"/>
                      <a:pt x="44" y="3"/>
                      <a:pt x="44" y="2"/>
                    </a:cubicBezTo>
                    <a:cubicBezTo>
                      <a:pt x="44" y="2"/>
                      <a:pt x="44" y="1"/>
                      <a:pt x="43" y="1"/>
                    </a:cubicBezTo>
                    <a:cubicBezTo>
                      <a:pt x="43" y="1"/>
                      <a:pt x="43" y="0"/>
                      <a:pt x="43" y="0"/>
                    </a:cubicBezTo>
                    <a:cubicBezTo>
                      <a:pt x="43" y="1"/>
                      <a:pt x="42" y="1"/>
                      <a:pt x="42" y="2"/>
                    </a:cubicBezTo>
                    <a:cubicBezTo>
                      <a:pt x="42" y="2"/>
                      <a:pt x="41" y="2"/>
                      <a:pt x="41" y="2"/>
                    </a:cubicBezTo>
                    <a:cubicBezTo>
                      <a:pt x="39" y="4"/>
                      <a:pt x="39" y="4"/>
                      <a:pt x="39" y="4"/>
                    </a:cubicBezTo>
                    <a:cubicBezTo>
                      <a:pt x="39" y="3"/>
                      <a:pt x="39" y="3"/>
                      <a:pt x="39" y="3"/>
                    </a:cubicBezTo>
                    <a:cubicBezTo>
                      <a:pt x="38" y="3"/>
                      <a:pt x="38" y="3"/>
                      <a:pt x="38" y="3"/>
                    </a:cubicBezTo>
                    <a:cubicBezTo>
                      <a:pt x="38" y="4"/>
                      <a:pt x="38" y="5"/>
                      <a:pt x="38" y="6"/>
                    </a:cubicBezTo>
                    <a:cubicBezTo>
                      <a:pt x="38" y="6"/>
                      <a:pt x="38" y="6"/>
                      <a:pt x="38" y="6"/>
                    </a:cubicBezTo>
                    <a:cubicBezTo>
                      <a:pt x="38" y="7"/>
                      <a:pt x="38" y="7"/>
                      <a:pt x="38" y="7"/>
                    </a:cubicBezTo>
                    <a:cubicBezTo>
                      <a:pt x="39" y="7"/>
                      <a:pt x="40" y="8"/>
                      <a:pt x="40" y="8"/>
                    </a:cubicBezTo>
                    <a:cubicBezTo>
                      <a:pt x="41" y="10"/>
                      <a:pt x="41" y="10"/>
                      <a:pt x="41" y="10"/>
                    </a:cubicBezTo>
                    <a:cubicBezTo>
                      <a:pt x="39" y="10"/>
                      <a:pt x="39" y="10"/>
                      <a:pt x="39" y="10"/>
                    </a:cubicBezTo>
                    <a:cubicBezTo>
                      <a:pt x="38" y="10"/>
                      <a:pt x="37" y="10"/>
                      <a:pt x="37" y="10"/>
                    </a:cubicBezTo>
                    <a:cubicBezTo>
                      <a:pt x="36" y="10"/>
                      <a:pt x="36" y="10"/>
                      <a:pt x="36" y="10"/>
                    </a:cubicBezTo>
                    <a:cubicBezTo>
                      <a:pt x="36" y="12"/>
                      <a:pt x="36" y="12"/>
                      <a:pt x="36" y="12"/>
                    </a:cubicBezTo>
                    <a:cubicBezTo>
                      <a:pt x="36" y="10"/>
                      <a:pt x="36" y="10"/>
                      <a:pt x="36" y="10"/>
                    </a:cubicBezTo>
                    <a:cubicBezTo>
                      <a:pt x="35" y="10"/>
                      <a:pt x="35" y="10"/>
                      <a:pt x="35" y="10"/>
                    </a:cubicBezTo>
                    <a:cubicBezTo>
                      <a:pt x="35" y="11"/>
                      <a:pt x="34" y="11"/>
                      <a:pt x="34" y="12"/>
                    </a:cubicBezTo>
                    <a:cubicBezTo>
                      <a:pt x="34" y="13"/>
                      <a:pt x="34" y="13"/>
                      <a:pt x="34" y="13"/>
                    </a:cubicBezTo>
                    <a:cubicBezTo>
                      <a:pt x="34" y="13"/>
                      <a:pt x="34" y="14"/>
                      <a:pt x="34" y="14"/>
                    </a:cubicBezTo>
                    <a:cubicBezTo>
                      <a:pt x="34" y="15"/>
                      <a:pt x="34" y="17"/>
                      <a:pt x="33" y="18"/>
                    </a:cubicBezTo>
                    <a:cubicBezTo>
                      <a:pt x="33" y="21"/>
                      <a:pt x="33" y="21"/>
                      <a:pt x="33" y="21"/>
                    </a:cubicBezTo>
                    <a:cubicBezTo>
                      <a:pt x="33" y="21"/>
                      <a:pt x="32" y="21"/>
                      <a:pt x="32" y="22"/>
                    </a:cubicBezTo>
                    <a:cubicBezTo>
                      <a:pt x="32" y="22"/>
                      <a:pt x="32" y="22"/>
                      <a:pt x="32" y="22"/>
                    </a:cubicBezTo>
                    <a:cubicBezTo>
                      <a:pt x="32" y="22"/>
                      <a:pt x="32" y="23"/>
                      <a:pt x="32" y="23"/>
                    </a:cubicBezTo>
                    <a:cubicBezTo>
                      <a:pt x="32" y="24"/>
                      <a:pt x="33" y="24"/>
                      <a:pt x="33" y="25"/>
                    </a:cubicBezTo>
                    <a:cubicBezTo>
                      <a:pt x="33" y="25"/>
                      <a:pt x="33" y="25"/>
                      <a:pt x="33" y="25"/>
                    </a:cubicBezTo>
                    <a:cubicBezTo>
                      <a:pt x="33" y="26"/>
                      <a:pt x="34" y="26"/>
                      <a:pt x="34" y="27"/>
                    </a:cubicBezTo>
                    <a:cubicBezTo>
                      <a:pt x="34" y="27"/>
                      <a:pt x="34" y="27"/>
                      <a:pt x="34" y="27"/>
                    </a:cubicBezTo>
                    <a:cubicBezTo>
                      <a:pt x="35" y="28"/>
                      <a:pt x="35" y="29"/>
                      <a:pt x="35" y="29"/>
                    </a:cubicBezTo>
                    <a:cubicBezTo>
                      <a:pt x="35" y="29"/>
                      <a:pt x="35" y="29"/>
                      <a:pt x="35" y="29"/>
                    </a:cubicBezTo>
                    <a:cubicBezTo>
                      <a:pt x="36" y="30"/>
                      <a:pt x="36" y="31"/>
                      <a:pt x="36" y="32"/>
                    </a:cubicBezTo>
                    <a:cubicBezTo>
                      <a:pt x="36" y="33"/>
                      <a:pt x="36" y="33"/>
                      <a:pt x="36" y="34"/>
                    </a:cubicBezTo>
                    <a:cubicBezTo>
                      <a:pt x="35" y="35"/>
                      <a:pt x="35" y="37"/>
                      <a:pt x="35" y="38"/>
                    </a:cubicBezTo>
                    <a:cubicBezTo>
                      <a:pt x="33" y="42"/>
                      <a:pt x="33" y="42"/>
                      <a:pt x="33" y="42"/>
                    </a:cubicBezTo>
                    <a:cubicBezTo>
                      <a:pt x="33" y="43"/>
                      <a:pt x="33" y="44"/>
                      <a:pt x="32" y="46"/>
                    </a:cubicBezTo>
                    <a:cubicBezTo>
                      <a:pt x="32" y="46"/>
                      <a:pt x="32" y="46"/>
                      <a:pt x="32" y="46"/>
                    </a:cubicBezTo>
                    <a:cubicBezTo>
                      <a:pt x="32" y="46"/>
                      <a:pt x="32" y="46"/>
                      <a:pt x="32" y="47"/>
                    </a:cubicBezTo>
                    <a:cubicBezTo>
                      <a:pt x="32" y="47"/>
                      <a:pt x="32" y="47"/>
                      <a:pt x="32" y="47"/>
                    </a:cubicBezTo>
                    <a:cubicBezTo>
                      <a:pt x="32" y="48"/>
                      <a:pt x="32" y="48"/>
                      <a:pt x="32" y="48"/>
                    </a:cubicBezTo>
                    <a:cubicBezTo>
                      <a:pt x="31" y="48"/>
                      <a:pt x="31" y="48"/>
                      <a:pt x="31" y="49"/>
                    </a:cubicBezTo>
                    <a:cubicBezTo>
                      <a:pt x="31" y="49"/>
                      <a:pt x="31" y="49"/>
                      <a:pt x="31" y="49"/>
                    </a:cubicBezTo>
                    <a:cubicBezTo>
                      <a:pt x="31" y="50"/>
                      <a:pt x="31" y="50"/>
                      <a:pt x="31" y="50"/>
                    </a:cubicBezTo>
                    <a:cubicBezTo>
                      <a:pt x="31" y="50"/>
                      <a:pt x="30" y="51"/>
                      <a:pt x="30" y="52"/>
                    </a:cubicBezTo>
                    <a:cubicBezTo>
                      <a:pt x="30" y="53"/>
                      <a:pt x="30" y="53"/>
                      <a:pt x="29" y="53"/>
                    </a:cubicBezTo>
                    <a:cubicBezTo>
                      <a:pt x="30" y="55"/>
                      <a:pt x="30" y="55"/>
                      <a:pt x="30" y="55"/>
                    </a:cubicBezTo>
                    <a:cubicBezTo>
                      <a:pt x="29" y="54"/>
                      <a:pt x="29" y="54"/>
                      <a:pt x="29" y="54"/>
                    </a:cubicBezTo>
                    <a:cubicBezTo>
                      <a:pt x="27" y="54"/>
                      <a:pt x="27" y="54"/>
                      <a:pt x="27" y="54"/>
                    </a:cubicBezTo>
                    <a:cubicBezTo>
                      <a:pt x="24" y="55"/>
                      <a:pt x="21" y="56"/>
                      <a:pt x="17" y="58"/>
                    </a:cubicBezTo>
                    <a:cubicBezTo>
                      <a:pt x="1" y="63"/>
                      <a:pt x="1" y="63"/>
                      <a:pt x="1" y="63"/>
                    </a:cubicBezTo>
                    <a:cubicBezTo>
                      <a:pt x="1" y="63"/>
                      <a:pt x="0" y="64"/>
                      <a:pt x="0" y="64"/>
                    </a:cubicBezTo>
                    <a:cubicBezTo>
                      <a:pt x="3" y="71"/>
                      <a:pt x="3" y="71"/>
                      <a:pt x="3" y="71"/>
                    </a:cubicBezTo>
                    <a:cubicBezTo>
                      <a:pt x="6" y="76"/>
                      <a:pt x="8" y="82"/>
                      <a:pt x="11" y="87"/>
                    </a:cubicBezTo>
                    <a:cubicBezTo>
                      <a:pt x="12" y="87"/>
                      <a:pt x="14" y="86"/>
                      <a:pt x="15" y="86"/>
                    </a:cubicBezTo>
                    <a:cubicBezTo>
                      <a:pt x="18" y="85"/>
                      <a:pt x="20" y="84"/>
                      <a:pt x="22" y="84"/>
                    </a:cubicBezTo>
                    <a:cubicBezTo>
                      <a:pt x="24" y="84"/>
                      <a:pt x="27" y="85"/>
                      <a:pt x="29" y="84"/>
                    </a:cubicBezTo>
                    <a:cubicBezTo>
                      <a:pt x="29" y="84"/>
                      <a:pt x="29" y="84"/>
                      <a:pt x="29" y="84"/>
                    </a:cubicBezTo>
                    <a:cubicBezTo>
                      <a:pt x="32" y="82"/>
                      <a:pt x="30" y="76"/>
                      <a:pt x="34" y="75"/>
                    </a:cubicBezTo>
                    <a:cubicBezTo>
                      <a:pt x="35" y="75"/>
                      <a:pt x="36" y="75"/>
                      <a:pt x="37" y="75"/>
                    </a:cubicBezTo>
                    <a:cubicBezTo>
                      <a:pt x="38" y="75"/>
                      <a:pt x="39" y="75"/>
                      <a:pt x="40" y="74"/>
                    </a:cubicBezTo>
                    <a:cubicBezTo>
                      <a:pt x="41" y="74"/>
                      <a:pt x="43" y="73"/>
                      <a:pt x="44" y="72"/>
                    </a:cubicBezTo>
                    <a:cubicBezTo>
                      <a:pt x="45" y="72"/>
                      <a:pt x="44" y="72"/>
                      <a:pt x="45" y="71"/>
                    </a:cubicBezTo>
                    <a:cubicBezTo>
                      <a:pt x="45" y="71"/>
                      <a:pt x="45" y="70"/>
                      <a:pt x="45" y="70"/>
                    </a:cubicBezTo>
                    <a:cubicBezTo>
                      <a:pt x="46" y="68"/>
                      <a:pt x="47" y="67"/>
                      <a:pt x="47" y="66"/>
                    </a:cubicBezTo>
                    <a:cubicBezTo>
                      <a:pt x="47" y="65"/>
                      <a:pt x="50" y="65"/>
                      <a:pt x="50" y="65"/>
                    </a:cubicBezTo>
                    <a:cubicBezTo>
                      <a:pt x="52" y="64"/>
                      <a:pt x="57" y="64"/>
                      <a:pt x="58" y="63"/>
                    </a:cubicBezTo>
                    <a:cubicBezTo>
                      <a:pt x="58" y="63"/>
                      <a:pt x="57" y="61"/>
                      <a:pt x="57" y="61"/>
                    </a:cubicBezTo>
                    <a:cubicBezTo>
                      <a:pt x="57" y="61"/>
                      <a:pt x="57" y="61"/>
                      <a:pt x="57" y="60"/>
                    </a:cubicBezTo>
                    <a:cubicBezTo>
                      <a:pt x="57" y="60"/>
                      <a:pt x="57" y="59"/>
                      <a:pt x="57" y="59"/>
                    </a:cubicBezTo>
                    <a:cubicBezTo>
                      <a:pt x="57" y="58"/>
                      <a:pt x="56" y="57"/>
                      <a:pt x="56" y="56"/>
                    </a:cubicBezTo>
                    <a:cubicBezTo>
                      <a:pt x="56" y="55"/>
                      <a:pt x="57" y="54"/>
                      <a:pt x="57" y="52"/>
                    </a:cubicBezTo>
                    <a:cubicBezTo>
                      <a:pt x="58" y="51"/>
                      <a:pt x="59" y="46"/>
                      <a:pt x="61" y="46"/>
                    </a:cubicBezTo>
                    <a:cubicBezTo>
                      <a:pt x="62" y="46"/>
                      <a:pt x="62" y="46"/>
                      <a:pt x="62" y="47"/>
                    </a:cubicBezTo>
                    <a:cubicBezTo>
                      <a:pt x="61" y="48"/>
                      <a:pt x="62" y="48"/>
                      <a:pt x="63" y="48"/>
                    </a:cubicBezTo>
                    <a:cubicBezTo>
                      <a:pt x="65" y="48"/>
                      <a:pt x="64" y="48"/>
                      <a:pt x="65" y="47"/>
                    </a:cubicBezTo>
                    <a:cubicBezTo>
                      <a:pt x="65" y="46"/>
                      <a:pt x="66" y="45"/>
                      <a:pt x="67" y="44"/>
                    </a:cubicBezTo>
                    <a:cubicBezTo>
                      <a:pt x="68" y="42"/>
                      <a:pt x="68" y="41"/>
                      <a:pt x="70" y="39"/>
                    </a:cubicBezTo>
                    <a:cubicBezTo>
                      <a:pt x="72" y="38"/>
                      <a:pt x="73" y="37"/>
                      <a:pt x="74" y="36"/>
                    </a:cubicBezTo>
                    <a:cubicBezTo>
                      <a:pt x="75" y="34"/>
                      <a:pt x="76" y="32"/>
                      <a:pt x="76" y="31"/>
                    </a:cubicBezTo>
                    <a:cubicBezTo>
                      <a:pt x="77" y="30"/>
                      <a:pt x="78" y="29"/>
                      <a:pt x="78" y="27"/>
                    </a:cubicBezTo>
                    <a:cubicBezTo>
                      <a:pt x="78" y="25"/>
                      <a:pt x="78" y="25"/>
                      <a:pt x="7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9" name="Freeform 3181">
                <a:extLst>
                  <a:ext uri="{FF2B5EF4-FFF2-40B4-BE49-F238E27FC236}">
                    <a16:creationId xmlns:a16="http://schemas.microsoft.com/office/drawing/2014/main" id="{C0BA3E0E-E78E-4B6E-8824-27949C64B6C1}"/>
                  </a:ext>
                </a:extLst>
              </p:cNvPr>
              <p:cNvSpPr>
                <a:spLocks/>
              </p:cNvSpPr>
              <p:nvPr/>
            </p:nvSpPr>
            <p:spPr bwMode="auto">
              <a:xfrm>
                <a:off x="4578" y="2315"/>
                <a:ext cx="250" cy="156"/>
              </a:xfrm>
              <a:custGeom>
                <a:avLst/>
                <a:gdLst>
                  <a:gd name="T0" fmla="*/ 95 w 106"/>
                  <a:gd name="T1" fmla="*/ 0 h 66"/>
                  <a:gd name="T2" fmla="*/ 78 w 106"/>
                  <a:gd name="T3" fmla="*/ 3 h 66"/>
                  <a:gd name="T4" fmla="*/ 65 w 106"/>
                  <a:gd name="T5" fmla="*/ 5 h 66"/>
                  <a:gd name="T6" fmla="*/ 58 w 106"/>
                  <a:gd name="T7" fmla="*/ 9 h 66"/>
                  <a:gd name="T8" fmla="*/ 51 w 106"/>
                  <a:gd name="T9" fmla="*/ 19 h 66"/>
                  <a:gd name="T10" fmla="*/ 47 w 106"/>
                  <a:gd name="T11" fmla="*/ 21 h 66"/>
                  <a:gd name="T12" fmla="*/ 46 w 106"/>
                  <a:gd name="T13" fmla="*/ 22 h 66"/>
                  <a:gd name="T14" fmla="*/ 45 w 106"/>
                  <a:gd name="T15" fmla="*/ 22 h 66"/>
                  <a:gd name="T16" fmla="*/ 43 w 106"/>
                  <a:gd name="T17" fmla="*/ 20 h 66"/>
                  <a:gd name="T18" fmla="*/ 41 w 106"/>
                  <a:gd name="T19" fmla="*/ 18 h 66"/>
                  <a:gd name="T20" fmla="*/ 36 w 106"/>
                  <a:gd name="T21" fmla="*/ 18 h 66"/>
                  <a:gd name="T22" fmla="*/ 24 w 106"/>
                  <a:gd name="T23" fmla="*/ 17 h 66"/>
                  <a:gd name="T24" fmla="*/ 19 w 106"/>
                  <a:gd name="T25" fmla="*/ 17 h 66"/>
                  <a:gd name="T26" fmla="*/ 17 w 106"/>
                  <a:gd name="T27" fmla="*/ 18 h 66"/>
                  <a:gd name="T28" fmla="*/ 15 w 106"/>
                  <a:gd name="T29" fmla="*/ 18 h 66"/>
                  <a:gd name="T30" fmla="*/ 12 w 106"/>
                  <a:gd name="T31" fmla="*/ 18 h 66"/>
                  <a:gd name="T32" fmla="*/ 10 w 106"/>
                  <a:gd name="T33" fmla="*/ 16 h 66"/>
                  <a:gd name="T34" fmla="*/ 8 w 106"/>
                  <a:gd name="T35" fmla="*/ 16 h 66"/>
                  <a:gd name="T36" fmla="*/ 7 w 106"/>
                  <a:gd name="T37" fmla="*/ 18 h 66"/>
                  <a:gd name="T38" fmla="*/ 7 w 106"/>
                  <a:gd name="T39" fmla="*/ 20 h 66"/>
                  <a:gd name="T40" fmla="*/ 7 w 106"/>
                  <a:gd name="T41" fmla="*/ 20 h 66"/>
                  <a:gd name="T42" fmla="*/ 7 w 106"/>
                  <a:gd name="T43" fmla="*/ 21 h 66"/>
                  <a:gd name="T44" fmla="*/ 7 w 106"/>
                  <a:gd name="T45" fmla="*/ 25 h 66"/>
                  <a:gd name="T46" fmla="*/ 6 w 106"/>
                  <a:gd name="T47" fmla="*/ 25 h 66"/>
                  <a:gd name="T48" fmla="*/ 3 w 106"/>
                  <a:gd name="T49" fmla="*/ 27 h 66"/>
                  <a:gd name="T50" fmla="*/ 2 w 106"/>
                  <a:gd name="T51" fmla="*/ 28 h 66"/>
                  <a:gd name="T52" fmla="*/ 2 w 106"/>
                  <a:gd name="T53" fmla="*/ 33 h 66"/>
                  <a:gd name="T54" fmla="*/ 2 w 106"/>
                  <a:gd name="T55" fmla="*/ 39 h 66"/>
                  <a:gd name="T56" fmla="*/ 1 w 106"/>
                  <a:gd name="T57" fmla="*/ 39 h 66"/>
                  <a:gd name="T58" fmla="*/ 3 w 106"/>
                  <a:gd name="T59" fmla="*/ 44 h 66"/>
                  <a:gd name="T60" fmla="*/ 6 w 106"/>
                  <a:gd name="T61" fmla="*/ 53 h 66"/>
                  <a:gd name="T62" fmla="*/ 7 w 106"/>
                  <a:gd name="T63" fmla="*/ 59 h 66"/>
                  <a:gd name="T64" fmla="*/ 18 w 106"/>
                  <a:gd name="T65" fmla="*/ 65 h 66"/>
                  <a:gd name="T66" fmla="*/ 25 w 106"/>
                  <a:gd name="T67" fmla="*/ 64 h 66"/>
                  <a:gd name="T68" fmla="*/ 34 w 106"/>
                  <a:gd name="T69" fmla="*/ 58 h 66"/>
                  <a:gd name="T70" fmla="*/ 53 w 106"/>
                  <a:gd name="T71" fmla="*/ 52 h 66"/>
                  <a:gd name="T72" fmla="*/ 62 w 106"/>
                  <a:gd name="T73" fmla="*/ 51 h 66"/>
                  <a:gd name="T74" fmla="*/ 70 w 106"/>
                  <a:gd name="T75" fmla="*/ 45 h 66"/>
                  <a:gd name="T76" fmla="*/ 82 w 106"/>
                  <a:gd name="T77" fmla="*/ 41 h 66"/>
                  <a:gd name="T78" fmla="*/ 95 w 106"/>
                  <a:gd name="T79" fmla="*/ 36 h 66"/>
                  <a:gd name="T80" fmla="*/ 98 w 106"/>
                  <a:gd name="T81" fmla="*/ 33 h 66"/>
                  <a:gd name="T82" fmla="*/ 98 w 106"/>
                  <a:gd name="T83" fmla="*/ 32 h 66"/>
                  <a:gd name="T84" fmla="*/ 103 w 106"/>
                  <a:gd name="T85" fmla="*/ 25 h 66"/>
                  <a:gd name="T86" fmla="*/ 98 w 106"/>
                  <a:gd name="T87" fmla="*/ 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66">
                    <a:moveTo>
                      <a:pt x="98" y="7"/>
                    </a:moveTo>
                    <a:cubicBezTo>
                      <a:pt x="95" y="0"/>
                      <a:pt x="95" y="0"/>
                      <a:pt x="95" y="0"/>
                    </a:cubicBezTo>
                    <a:cubicBezTo>
                      <a:pt x="94" y="1"/>
                      <a:pt x="92" y="1"/>
                      <a:pt x="91" y="1"/>
                    </a:cubicBezTo>
                    <a:cubicBezTo>
                      <a:pt x="86" y="2"/>
                      <a:pt x="82" y="3"/>
                      <a:pt x="78" y="3"/>
                    </a:cubicBezTo>
                    <a:cubicBezTo>
                      <a:pt x="76" y="3"/>
                      <a:pt x="76" y="3"/>
                      <a:pt x="76" y="3"/>
                    </a:cubicBezTo>
                    <a:cubicBezTo>
                      <a:pt x="72" y="3"/>
                      <a:pt x="68" y="4"/>
                      <a:pt x="65" y="5"/>
                    </a:cubicBezTo>
                    <a:cubicBezTo>
                      <a:pt x="64" y="6"/>
                      <a:pt x="64" y="6"/>
                      <a:pt x="63" y="6"/>
                    </a:cubicBezTo>
                    <a:cubicBezTo>
                      <a:pt x="61" y="7"/>
                      <a:pt x="59" y="8"/>
                      <a:pt x="58" y="9"/>
                    </a:cubicBezTo>
                    <a:cubicBezTo>
                      <a:pt x="58" y="9"/>
                      <a:pt x="58" y="9"/>
                      <a:pt x="58" y="9"/>
                    </a:cubicBezTo>
                    <a:cubicBezTo>
                      <a:pt x="51" y="19"/>
                      <a:pt x="51" y="19"/>
                      <a:pt x="51" y="19"/>
                    </a:cubicBezTo>
                    <a:cubicBezTo>
                      <a:pt x="51" y="19"/>
                      <a:pt x="50" y="20"/>
                      <a:pt x="49" y="21"/>
                    </a:cubicBezTo>
                    <a:cubicBezTo>
                      <a:pt x="48" y="21"/>
                      <a:pt x="47" y="21"/>
                      <a:pt x="47" y="21"/>
                    </a:cubicBezTo>
                    <a:cubicBezTo>
                      <a:pt x="47" y="21"/>
                      <a:pt x="47" y="21"/>
                      <a:pt x="47" y="21"/>
                    </a:cubicBezTo>
                    <a:cubicBezTo>
                      <a:pt x="46" y="21"/>
                      <a:pt x="46" y="22"/>
                      <a:pt x="46" y="22"/>
                    </a:cubicBezTo>
                    <a:cubicBezTo>
                      <a:pt x="46" y="22"/>
                      <a:pt x="46" y="22"/>
                      <a:pt x="46" y="22"/>
                    </a:cubicBezTo>
                    <a:cubicBezTo>
                      <a:pt x="45" y="22"/>
                      <a:pt x="45" y="22"/>
                      <a:pt x="45" y="22"/>
                    </a:cubicBezTo>
                    <a:cubicBezTo>
                      <a:pt x="45" y="22"/>
                      <a:pt x="44" y="21"/>
                      <a:pt x="43" y="20"/>
                    </a:cubicBezTo>
                    <a:cubicBezTo>
                      <a:pt x="43" y="20"/>
                      <a:pt x="43" y="20"/>
                      <a:pt x="43" y="20"/>
                    </a:cubicBezTo>
                    <a:cubicBezTo>
                      <a:pt x="42" y="19"/>
                      <a:pt x="42" y="18"/>
                      <a:pt x="42" y="18"/>
                    </a:cubicBezTo>
                    <a:cubicBezTo>
                      <a:pt x="42" y="18"/>
                      <a:pt x="42" y="18"/>
                      <a:pt x="41" y="18"/>
                    </a:cubicBezTo>
                    <a:cubicBezTo>
                      <a:pt x="41" y="18"/>
                      <a:pt x="41" y="18"/>
                      <a:pt x="41" y="18"/>
                    </a:cubicBezTo>
                    <a:cubicBezTo>
                      <a:pt x="39" y="18"/>
                      <a:pt x="38" y="18"/>
                      <a:pt x="36" y="18"/>
                    </a:cubicBezTo>
                    <a:cubicBezTo>
                      <a:pt x="35" y="18"/>
                      <a:pt x="35" y="18"/>
                      <a:pt x="35" y="18"/>
                    </a:cubicBezTo>
                    <a:cubicBezTo>
                      <a:pt x="32" y="17"/>
                      <a:pt x="28" y="17"/>
                      <a:pt x="24" y="17"/>
                    </a:cubicBezTo>
                    <a:cubicBezTo>
                      <a:pt x="23" y="17"/>
                      <a:pt x="21" y="17"/>
                      <a:pt x="20" y="17"/>
                    </a:cubicBezTo>
                    <a:cubicBezTo>
                      <a:pt x="19" y="17"/>
                      <a:pt x="19" y="17"/>
                      <a:pt x="19" y="17"/>
                    </a:cubicBezTo>
                    <a:cubicBezTo>
                      <a:pt x="19" y="18"/>
                      <a:pt x="18" y="18"/>
                      <a:pt x="18" y="18"/>
                    </a:cubicBezTo>
                    <a:cubicBezTo>
                      <a:pt x="18" y="18"/>
                      <a:pt x="17" y="18"/>
                      <a:pt x="17" y="18"/>
                    </a:cubicBezTo>
                    <a:cubicBezTo>
                      <a:pt x="16" y="18"/>
                      <a:pt x="16" y="18"/>
                      <a:pt x="16" y="18"/>
                    </a:cubicBezTo>
                    <a:cubicBezTo>
                      <a:pt x="16" y="18"/>
                      <a:pt x="15" y="18"/>
                      <a:pt x="15" y="18"/>
                    </a:cubicBezTo>
                    <a:cubicBezTo>
                      <a:pt x="14" y="18"/>
                      <a:pt x="13" y="18"/>
                      <a:pt x="13" y="18"/>
                    </a:cubicBezTo>
                    <a:cubicBezTo>
                      <a:pt x="12" y="18"/>
                      <a:pt x="12" y="18"/>
                      <a:pt x="12" y="18"/>
                    </a:cubicBezTo>
                    <a:cubicBezTo>
                      <a:pt x="11" y="17"/>
                      <a:pt x="11" y="17"/>
                      <a:pt x="10" y="16"/>
                    </a:cubicBezTo>
                    <a:cubicBezTo>
                      <a:pt x="10" y="16"/>
                      <a:pt x="10" y="16"/>
                      <a:pt x="10" y="16"/>
                    </a:cubicBezTo>
                    <a:cubicBezTo>
                      <a:pt x="10" y="16"/>
                      <a:pt x="9" y="16"/>
                      <a:pt x="9" y="16"/>
                    </a:cubicBezTo>
                    <a:cubicBezTo>
                      <a:pt x="8" y="16"/>
                      <a:pt x="8" y="16"/>
                      <a:pt x="8" y="16"/>
                    </a:cubicBezTo>
                    <a:cubicBezTo>
                      <a:pt x="8" y="16"/>
                      <a:pt x="8" y="16"/>
                      <a:pt x="8" y="16"/>
                    </a:cubicBezTo>
                    <a:cubicBezTo>
                      <a:pt x="8" y="17"/>
                      <a:pt x="8" y="17"/>
                      <a:pt x="7" y="18"/>
                    </a:cubicBezTo>
                    <a:cubicBezTo>
                      <a:pt x="7" y="19"/>
                      <a:pt x="7" y="19"/>
                      <a:pt x="7" y="20"/>
                    </a:cubicBezTo>
                    <a:cubicBezTo>
                      <a:pt x="7" y="20"/>
                      <a:pt x="7" y="20"/>
                      <a:pt x="7" y="20"/>
                    </a:cubicBezTo>
                    <a:cubicBezTo>
                      <a:pt x="7" y="20"/>
                      <a:pt x="7" y="20"/>
                      <a:pt x="7" y="20"/>
                    </a:cubicBezTo>
                    <a:cubicBezTo>
                      <a:pt x="7" y="20"/>
                      <a:pt x="7" y="20"/>
                      <a:pt x="7" y="20"/>
                    </a:cubicBezTo>
                    <a:cubicBezTo>
                      <a:pt x="7" y="21"/>
                      <a:pt x="7" y="21"/>
                      <a:pt x="7" y="21"/>
                    </a:cubicBezTo>
                    <a:cubicBezTo>
                      <a:pt x="7" y="21"/>
                      <a:pt x="7" y="21"/>
                      <a:pt x="7" y="21"/>
                    </a:cubicBezTo>
                    <a:cubicBezTo>
                      <a:pt x="7" y="22"/>
                      <a:pt x="7" y="22"/>
                      <a:pt x="7" y="22"/>
                    </a:cubicBezTo>
                    <a:cubicBezTo>
                      <a:pt x="7" y="23"/>
                      <a:pt x="8" y="24"/>
                      <a:pt x="7" y="25"/>
                    </a:cubicBezTo>
                    <a:cubicBezTo>
                      <a:pt x="6" y="25"/>
                      <a:pt x="6" y="25"/>
                      <a:pt x="6" y="25"/>
                    </a:cubicBezTo>
                    <a:cubicBezTo>
                      <a:pt x="6" y="25"/>
                      <a:pt x="6" y="25"/>
                      <a:pt x="6" y="25"/>
                    </a:cubicBezTo>
                    <a:cubicBezTo>
                      <a:pt x="4" y="26"/>
                      <a:pt x="4" y="27"/>
                      <a:pt x="3" y="27"/>
                    </a:cubicBezTo>
                    <a:cubicBezTo>
                      <a:pt x="3" y="27"/>
                      <a:pt x="3" y="27"/>
                      <a:pt x="3" y="27"/>
                    </a:cubicBezTo>
                    <a:cubicBezTo>
                      <a:pt x="2" y="28"/>
                      <a:pt x="2" y="28"/>
                      <a:pt x="2" y="28"/>
                    </a:cubicBezTo>
                    <a:cubicBezTo>
                      <a:pt x="2" y="28"/>
                      <a:pt x="2" y="28"/>
                      <a:pt x="2" y="28"/>
                    </a:cubicBezTo>
                    <a:cubicBezTo>
                      <a:pt x="2" y="29"/>
                      <a:pt x="2" y="30"/>
                      <a:pt x="2" y="31"/>
                    </a:cubicBezTo>
                    <a:cubicBezTo>
                      <a:pt x="2" y="32"/>
                      <a:pt x="2" y="32"/>
                      <a:pt x="2" y="33"/>
                    </a:cubicBezTo>
                    <a:cubicBezTo>
                      <a:pt x="2" y="34"/>
                      <a:pt x="2" y="35"/>
                      <a:pt x="2" y="36"/>
                    </a:cubicBezTo>
                    <a:cubicBezTo>
                      <a:pt x="2" y="37"/>
                      <a:pt x="2" y="38"/>
                      <a:pt x="2" y="39"/>
                    </a:cubicBezTo>
                    <a:cubicBezTo>
                      <a:pt x="2" y="39"/>
                      <a:pt x="2" y="38"/>
                      <a:pt x="2" y="38"/>
                    </a:cubicBezTo>
                    <a:cubicBezTo>
                      <a:pt x="0" y="38"/>
                      <a:pt x="0" y="39"/>
                      <a:pt x="1" y="39"/>
                    </a:cubicBezTo>
                    <a:cubicBezTo>
                      <a:pt x="1" y="39"/>
                      <a:pt x="2" y="39"/>
                      <a:pt x="2" y="39"/>
                    </a:cubicBezTo>
                    <a:cubicBezTo>
                      <a:pt x="3" y="40"/>
                      <a:pt x="3" y="43"/>
                      <a:pt x="3" y="44"/>
                    </a:cubicBezTo>
                    <a:cubicBezTo>
                      <a:pt x="3" y="45"/>
                      <a:pt x="4" y="46"/>
                      <a:pt x="4" y="47"/>
                    </a:cubicBezTo>
                    <a:cubicBezTo>
                      <a:pt x="5" y="50"/>
                      <a:pt x="5" y="51"/>
                      <a:pt x="6" y="53"/>
                    </a:cubicBezTo>
                    <a:cubicBezTo>
                      <a:pt x="7" y="55"/>
                      <a:pt x="7" y="56"/>
                      <a:pt x="7" y="58"/>
                    </a:cubicBezTo>
                    <a:cubicBezTo>
                      <a:pt x="7" y="58"/>
                      <a:pt x="6" y="59"/>
                      <a:pt x="7" y="59"/>
                    </a:cubicBezTo>
                    <a:cubicBezTo>
                      <a:pt x="7" y="61"/>
                      <a:pt x="8" y="63"/>
                      <a:pt x="9" y="65"/>
                    </a:cubicBezTo>
                    <a:cubicBezTo>
                      <a:pt x="9" y="66"/>
                      <a:pt x="17" y="65"/>
                      <a:pt x="18" y="65"/>
                    </a:cubicBezTo>
                    <a:cubicBezTo>
                      <a:pt x="19" y="65"/>
                      <a:pt x="21" y="64"/>
                      <a:pt x="22" y="64"/>
                    </a:cubicBezTo>
                    <a:cubicBezTo>
                      <a:pt x="23" y="64"/>
                      <a:pt x="24" y="64"/>
                      <a:pt x="25" y="64"/>
                    </a:cubicBezTo>
                    <a:cubicBezTo>
                      <a:pt x="25" y="62"/>
                      <a:pt x="29" y="61"/>
                      <a:pt x="30" y="59"/>
                    </a:cubicBezTo>
                    <a:cubicBezTo>
                      <a:pt x="31" y="58"/>
                      <a:pt x="32" y="58"/>
                      <a:pt x="34" y="58"/>
                    </a:cubicBezTo>
                    <a:cubicBezTo>
                      <a:pt x="38" y="57"/>
                      <a:pt x="42" y="56"/>
                      <a:pt x="46" y="56"/>
                    </a:cubicBezTo>
                    <a:cubicBezTo>
                      <a:pt x="49" y="55"/>
                      <a:pt x="51" y="54"/>
                      <a:pt x="53" y="52"/>
                    </a:cubicBezTo>
                    <a:cubicBezTo>
                      <a:pt x="55" y="51"/>
                      <a:pt x="56" y="51"/>
                      <a:pt x="58" y="51"/>
                    </a:cubicBezTo>
                    <a:cubicBezTo>
                      <a:pt x="59" y="51"/>
                      <a:pt x="62" y="51"/>
                      <a:pt x="62" y="51"/>
                    </a:cubicBezTo>
                    <a:cubicBezTo>
                      <a:pt x="63" y="50"/>
                      <a:pt x="64" y="49"/>
                      <a:pt x="65" y="47"/>
                    </a:cubicBezTo>
                    <a:cubicBezTo>
                      <a:pt x="67" y="46"/>
                      <a:pt x="68" y="45"/>
                      <a:pt x="70" y="45"/>
                    </a:cubicBezTo>
                    <a:cubicBezTo>
                      <a:pt x="71" y="44"/>
                      <a:pt x="72" y="44"/>
                      <a:pt x="74" y="43"/>
                    </a:cubicBezTo>
                    <a:cubicBezTo>
                      <a:pt x="77" y="42"/>
                      <a:pt x="79" y="42"/>
                      <a:pt x="82" y="41"/>
                    </a:cubicBezTo>
                    <a:cubicBezTo>
                      <a:pt x="85" y="40"/>
                      <a:pt x="87" y="40"/>
                      <a:pt x="89" y="39"/>
                    </a:cubicBezTo>
                    <a:cubicBezTo>
                      <a:pt x="91" y="38"/>
                      <a:pt x="93" y="37"/>
                      <a:pt x="95" y="36"/>
                    </a:cubicBezTo>
                    <a:cubicBezTo>
                      <a:pt x="96" y="36"/>
                      <a:pt x="98" y="35"/>
                      <a:pt x="98" y="35"/>
                    </a:cubicBezTo>
                    <a:cubicBezTo>
                      <a:pt x="99" y="34"/>
                      <a:pt x="98" y="34"/>
                      <a:pt x="98" y="33"/>
                    </a:cubicBezTo>
                    <a:cubicBezTo>
                      <a:pt x="98" y="33"/>
                      <a:pt x="98" y="33"/>
                      <a:pt x="98" y="32"/>
                    </a:cubicBezTo>
                    <a:cubicBezTo>
                      <a:pt x="98" y="32"/>
                      <a:pt x="98" y="32"/>
                      <a:pt x="98" y="32"/>
                    </a:cubicBezTo>
                    <a:cubicBezTo>
                      <a:pt x="98" y="30"/>
                      <a:pt x="99" y="29"/>
                      <a:pt x="100" y="28"/>
                    </a:cubicBezTo>
                    <a:cubicBezTo>
                      <a:pt x="101" y="26"/>
                      <a:pt x="101" y="26"/>
                      <a:pt x="103" y="25"/>
                    </a:cubicBezTo>
                    <a:cubicBezTo>
                      <a:pt x="104" y="25"/>
                      <a:pt x="105" y="25"/>
                      <a:pt x="106" y="24"/>
                    </a:cubicBezTo>
                    <a:cubicBezTo>
                      <a:pt x="104" y="19"/>
                      <a:pt x="101" y="13"/>
                      <a:pt x="9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0" name="Freeform 3182">
                <a:extLst>
                  <a:ext uri="{FF2B5EF4-FFF2-40B4-BE49-F238E27FC236}">
                    <a16:creationId xmlns:a16="http://schemas.microsoft.com/office/drawing/2014/main" id="{B7E37694-17E4-415B-83EC-81D1B8A96FF9}"/>
                  </a:ext>
                </a:extLst>
              </p:cNvPr>
              <p:cNvSpPr>
                <a:spLocks/>
              </p:cNvSpPr>
              <p:nvPr/>
            </p:nvSpPr>
            <p:spPr bwMode="auto">
              <a:xfrm>
                <a:off x="4800" y="2135"/>
                <a:ext cx="111" cy="81"/>
              </a:xfrm>
              <a:custGeom>
                <a:avLst/>
                <a:gdLst>
                  <a:gd name="T0" fmla="*/ 46 w 47"/>
                  <a:gd name="T1" fmla="*/ 5 h 34"/>
                  <a:gd name="T2" fmla="*/ 45 w 47"/>
                  <a:gd name="T3" fmla="*/ 5 h 34"/>
                  <a:gd name="T4" fmla="*/ 44 w 47"/>
                  <a:gd name="T5" fmla="*/ 5 h 34"/>
                  <a:gd name="T6" fmla="*/ 43 w 47"/>
                  <a:gd name="T7" fmla="*/ 0 h 34"/>
                  <a:gd name="T8" fmla="*/ 43 w 47"/>
                  <a:gd name="T9" fmla="*/ 0 h 34"/>
                  <a:gd name="T10" fmla="*/ 40 w 47"/>
                  <a:gd name="T11" fmla="*/ 3 h 34"/>
                  <a:gd name="T12" fmla="*/ 38 w 47"/>
                  <a:gd name="T13" fmla="*/ 6 h 34"/>
                  <a:gd name="T14" fmla="*/ 31 w 47"/>
                  <a:gd name="T15" fmla="*/ 12 h 34"/>
                  <a:gd name="T16" fmla="*/ 28 w 47"/>
                  <a:gd name="T17" fmla="*/ 15 h 34"/>
                  <a:gd name="T18" fmla="*/ 26 w 47"/>
                  <a:gd name="T19" fmla="*/ 19 h 34"/>
                  <a:gd name="T20" fmla="*/ 23 w 47"/>
                  <a:gd name="T21" fmla="*/ 18 h 34"/>
                  <a:gd name="T22" fmla="*/ 20 w 47"/>
                  <a:gd name="T23" fmla="*/ 21 h 34"/>
                  <a:gd name="T24" fmla="*/ 17 w 47"/>
                  <a:gd name="T25" fmla="*/ 21 h 34"/>
                  <a:gd name="T26" fmla="*/ 10 w 47"/>
                  <a:gd name="T27" fmla="*/ 21 h 34"/>
                  <a:gd name="T28" fmla="*/ 0 w 47"/>
                  <a:gd name="T29" fmla="*/ 22 h 34"/>
                  <a:gd name="T30" fmla="*/ 2 w 47"/>
                  <a:gd name="T31" fmla="*/ 23 h 34"/>
                  <a:gd name="T32" fmla="*/ 2 w 47"/>
                  <a:gd name="T33" fmla="*/ 24 h 34"/>
                  <a:gd name="T34" fmla="*/ 4 w 47"/>
                  <a:gd name="T35" fmla="*/ 25 h 34"/>
                  <a:gd name="T36" fmla="*/ 5 w 47"/>
                  <a:gd name="T37" fmla="*/ 27 h 34"/>
                  <a:gd name="T38" fmla="*/ 9 w 47"/>
                  <a:gd name="T39" fmla="*/ 32 h 34"/>
                  <a:gd name="T40" fmla="*/ 34 w 47"/>
                  <a:gd name="T41" fmla="*/ 34 h 34"/>
                  <a:gd name="T42" fmla="*/ 34 w 47"/>
                  <a:gd name="T43" fmla="*/ 33 h 34"/>
                  <a:gd name="T44" fmla="*/ 34 w 47"/>
                  <a:gd name="T45" fmla="*/ 32 h 34"/>
                  <a:gd name="T46" fmla="*/ 35 w 47"/>
                  <a:gd name="T47" fmla="*/ 30 h 34"/>
                  <a:gd name="T48" fmla="*/ 36 w 47"/>
                  <a:gd name="T49" fmla="*/ 25 h 34"/>
                  <a:gd name="T50" fmla="*/ 36 w 47"/>
                  <a:gd name="T51" fmla="*/ 24 h 34"/>
                  <a:gd name="T52" fmla="*/ 36 w 47"/>
                  <a:gd name="T53" fmla="*/ 24 h 34"/>
                  <a:gd name="T54" fmla="*/ 36 w 47"/>
                  <a:gd name="T55" fmla="*/ 24 h 34"/>
                  <a:gd name="T56" fmla="*/ 38 w 47"/>
                  <a:gd name="T57" fmla="*/ 20 h 34"/>
                  <a:gd name="T58" fmla="*/ 39 w 47"/>
                  <a:gd name="T59" fmla="*/ 20 h 34"/>
                  <a:gd name="T60" fmla="*/ 39 w 47"/>
                  <a:gd name="T61" fmla="*/ 20 h 34"/>
                  <a:gd name="T62" fmla="*/ 40 w 47"/>
                  <a:gd name="T63" fmla="*/ 20 h 34"/>
                  <a:gd name="T64" fmla="*/ 40 w 47"/>
                  <a:gd name="T65" fmla="*/ 20 h 34"/>
                  <a:gd name="T66" fmla="*/ 40 w 47"/>
                  <a:gd name="T67" fmla="*/ 20 h 34"/>
                  <a:gd name="T68" fmla="*/ 39 w 47"/>
                  <a:gd name="T69" fmla="*/ 19 h 34"/>
                  <a:gd name="T70" fmla="*/ 40 w 47"/>
                  <a:gd name="T71" fmla="*/ 13 h 34"/>
                  <a:gd name="T72" fmla="*/ 41 w 47"/>
                  <a:gd name="T73" fmla="*/ 12 h 34"/>
                  <a:gd name="T74" fmla="*/ 44 w 47"/>
                  <a:gd name="T75" fmla="*/ 12 h 34"/>
                  <a:gd name="T76" fmla="*/ 45 w 47"/>
                  <a:gd name="T77" fmla="*/ 11 h 34"/>
                  <a:gd name="T78" fmla="*/ 46 w 47"/>
                  <a:gd name="T79" fmla="*/ 10 h 34"/>
                  <a:gd name="T80" fmla="*/ 46 w 47"/>
                  <a:gd name="T81" fmla="*/ 10 h 34"/>
                  <a:gd name="T82" fmla="*/ 46 w 47"/>
                  <a:gd name="T83" fmla="*/ 10 h 34"/>
                  <a:gd name="T84" fmla="*/ 46 w 47"/>
                  <a:gd name="T85" fmla="*/ 9 h 34"/>
                  <a:gd name="T86" fmla="*/ 47 w 47"/>
                  <a:gd name="T87" fmla="*/ 9 h 34"/>
                  <a:gd name="T88" fmla="*/ 47 w 47"/>
                  <a:gd name="T89" fmla="*/ 7 h 34"/>
                  <a:gd name="T90" fmla="*/ 46 w 47"/>
                  <a:gd name="T91"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 h="34">
                    <a:moveTo>
                      <a:pt x="46" y="5"/>
                    </a:moveTo>
                    <a:cubicBezTo>
                      <a:pt x="46" y="5"/>
                      <a:pt x="45" y="5"/>
                      <a:pt x="45" y="5"/>
                    </a:cubicBezTo>
                    <a:cubicBezTo>
                      <a:pt x="45" y="5"/>
                      <a:pt x="44" y="5"/>
                      <a:pt x="44" y="5"/>
                    </a:cubicBezTo>
                    <a:cubicBezTo>
                      <a:pt x="43" y="4"/>
                      <a:pt x="43" y="2"/>
                      <a:pt x="43" y="0"/>
                    </a:cubicBezTo>
                    <a:cubicBezTo>
                      <a:pt x="43" y="0"/>
                      <a:pt x="43" y="0"/>
                      <a:pt x="43" y="0"/>
                    </a:cubicBezTo>
                    <a:cubicBezTo>
                      <a:pt x="42" y="1"/>
                      <a:pt x="41" y="2"/>
                      <a:pt x="40" y="3"/>
                    </a:cubicBezTo>
                    <a:cubicBezTo>
                      <a:pt x="40" y="4"/>
                      <a:pt x="38" y="5"/>
                      <a:pt x="38" y="6"/>
                    </a:cubicBezTo>
                    <a:cubicBezTo>
                      <a:pt x="35" y="8"/>
                      <a:pt x="33" y="11"/>
                      <a:pt x="31" y="12"/>
                    </a:cubicBezTo>
                    <a:cubicBezTo>
                      <a:pt x="29" y="13"/>
                      <a:pt x="29" y="14"/>
                      <a:pt x="28" y="15"/>
                    </a:cubicBezTo>
                    <a:cubicBezTo>
                      <a:pt x="28" y="16"/>
                      <a:pt x="27" y="18"/>
                      <a:pt x="26" y="19"/>
                    </a:cubicBezTo>
                    <a:cubicBezTo>
                      <a:pt x="25" y="20"/>
                      <a:pt x="24" y="19"/>
                      <a:pt x="23" y="18"/>
                    </a:cubicBezTo>
                    <a:cubicBezTo>
                      <a:pt x="25" y="20"/>
                      <a:pt x="21" y="21"/>
                      <a:pt x="20" y="21"/>
                    </a:cubicBezTo>
                    <a:cubicBezTo>
                      <a:pt x="19" y="21"/>
                      <a:pt x="18" y="21"/>
                      <a:pt x="17" y="21"/>
                    </a:cubicBezTo>
                    <a:cubicBezTo>
                      <a:pt x="15" y="20"/>
                      <a:pt x="12" y="20"/>
                      <a:pt x="10" y="21"/>
                    </a:cubicBezTo>
                    <a:cubicBezTo>
                      <a:pt x="8" y="21"/>
                      <a:pt x="2" y="23"/>
                      <a:pt x="0" y="22"/>
                    </a:cubicBezTo>
                    <a:cubicBezTo>
                      <a:pt x="1" y="22"/>
                      <a:pt x="1" y="23"/>
                      <a:pt x="2" y="23"/>
                    </a:cubicBezTo>
                    <a:cubicBezTo>
                      <a:pt x="2" y="24"/>
                      <a:pt x="2" y="24"/>
                      <a:pt x="2" y="24"/>
                    </a:cubicBezTo>
                    <a:cubicBezTo>
                      <a:pt x="2" y="24"/>
                      <a:pt x="4" y="25"/>
                      <a:pt x="4" y="25"/>
                    </a:cubicBezTo>
                    <a:cubicBezTo>
                      <a:pt x="5" y="27"/>
                      <a:pt x="5" y="27"/>
                      <a:pt x="5" y="27"/>
                    </a:cubicBezTo>
                    <a:cubicBezTo>
                      <a:pt x="6" y="29"/>
                      <a:pt x="7" y="30"/>
                      <a:pt x="9" y="32"/>
                    </a:cubicBezTo>
                    <a:cubicBezTo>
                      <a:pt x="34" y="34"/>
                      <a:pt x="34" y="34"/>
                      <a:pt x="34" y="34"/>
                    </a:cubicBezTo>
                    <a:cubicBezTo>
                      <a:pt x="34" y="34"/>
                      <a:pt x="34" y="33"/>
                      <a:pt x="34" y="33"/>
                    </a:cubicBezTo>
                    <a:cubicBezTo>
                      <a:pt x="34" y="33"/>
                      <a:pt x="34" y="33"/>
                      <a:pt x="34" y="32"/>
                    </a:cubicBezTo>
                    <a:cubicBezTo>
                      <a:pt x="35" y="30"/>
                      <a:pt x="35" y="30"/>
                      <a:pt x="35" y="30"/>
                    </a:cubicBezTo>
                    <a:cubicBezTo>
                      <a:pt x="35" y="28"/>
                      <a:pt x="35" y="27"/>
                      <a:pt x="36" y="25"/>
                    </a:cubicBezTo>
                    <a:cubicBezTo>
                      <a:pt x="36" y="25"/>
                      <a:pt x="36" y="25"/>
                      <a:pt x="36" y="24"/>
                    </a:cubicBezTo>
                    <a:cubicBezTo>
                      <a:pt x="36" y="24"/>
                      <a:pt x="36" y="24"/>
                      <a:pt x="36" y="24"/>
                    </a:cubicBezTo>
                    <a:cubicBezTo>
                      <a:pt x="36" y="24"/>
                      <a:pt x="36" y="24"/>
                      <a:pt x="36" y="24"/>
                    </a:cubicBezTo>
                    <a:cubicBezTo>
                      <a:pt x="36" y="22"/>
                      <a:pt x="37" y="21"/>
                      <a:pt x="38" y="20"/>
                    </a:cubicBezTo>
                    <a:cubicBezTo>
                      <a:pt x="39" y="20"/>
                      <a:pt x="39" y="20"/>
                      <a:pt x="39" y="20"/>
                    </a:cubicBezTo>
                    <a:cubicBezTo>
                      <a:pt x="39" y="20"/>
                      <a:pt x="39" y="20"/>
                      <a:pt x="39" y="20"/>
                    </a:cubicBezTo>
                    <a:cubicBezTo>
                      <a:pt x="39" y="20"/>
                      <a:pt x="40" y="20"/>
                      <a:pt x="40" y="20"/>
                    </a:cubicBezTo>
                    <a:cubicBezTo>
                      <a:pt x="40" y="20"/>
                      <a:pt x="40" y="20"/>
                      <a:pt x="40" y="20"/>
                    </a:cubicBezTo>
                    <a:cubicBezTo>
                      <a:pt x="40" y="20"/>
                      <a:pt x="40" y="20"/>
                      <a:pt x="40" y="20"/>
                    </a:cubicBezTo>
                    <a:cubicBezTo>
                      <a:pt x="40" y="20"/>
                      <a:pt x="39" y="19"/>
                      <a:pt x="39" y="19"/>
                    </a:cubicBezTo>
                    <a:cubicBezTo>
                      <a:pt x="39" y="17"/>
                      <a:pt x="40" y="15"/>
                      <a:pt x="40" y="13"/>
                    </a:cubicBezTo>
                    <a:cubicBezTo>
                      <a:pt x="41" y="12"/>
                      <a:pt x="41" y="12"/>
                      <a:pt x="41" y="12"/>
                    </a:cubicBezTo>
                    <a:cubicBezTo>
                      <a:pt x="44" y="12"/>
                      <a:pt x="44" y="12"/>
                      <a:pt x="44" y="12"/>
                    </a:cubicBezTo>
                    <a:cubicBezTo>
                      <a:pt x="44" y="12"/>
                      <a:pt x="45" y="11"/>
                      <a:pt x="45" y="11"/>
                    </a:cubicBezTo>
                    <a:cubicBezTo>
                      <a:pt x="45" y="11"/>
                      <a:pt x="45" y="11"/>
                      <a:pt x="46" y="10"/>
                    </a:cubicBezTo>
                    <a:cubicBezTo>
                      <a:pt x="46" y="10"/>
                      <a:pt x="46" y="10"/>
                      <a:pt x="46" y="10"/>
                    </a:cubicBezTo>
                    <a:cubicBezTo>
                      <a:pt x="46" y="10"/>
                      <a:pt x="46" y="10"/>
                      <a:pt x="46" y="10"/>
                    </a:cubicBezTo>
                    <a:cubicBezTo>
                      <a:pt x="46" y="9"/>
                      <a:pt x="46" y="9"/>
                      <a:pt x="46" y="9"/>
                    </a:cubicBezTo>
                    <a:cubicBezTo>
                      <a:pt x="47" y="9"/>
                      <a:pt x="47" y="9"/>
                      <a:pt x="47" y="9"/>
                    </a:cubicBezTo>
                    <a:cubicBezTo>
                      <a:pt x="47" y="8"/>
                      <a:pt x="47" y="7"/>
                      <a:pt x="47" y="7"/>
                    </a:cubicBezTo>
                    <a:cubicBezTo>
                      <a:pt x="47" y="6"/>
                      <a:pt x="46" y="6"/>
                      <a:pt x="4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1" name="Freeform 3183">
                <a:extLst>
                  <a:ext uri="{FF2B5EF4-FFF2-40B4-BE49-F238E27FC236}">
                    <a16:creationId xmlns:a16="http://schemas.microsoft.com/office/drawing/2014/main" id="{80F45A8F-901D-402C-B010-1DFC7BA29D68}"/>
                  </a:ext>
                </a:extLst>
              </p:cNvPr>
              <p:cNvSpPr>
                <a:spLocks/>
              </p:cNvSpPr>
              <p:nvPr/>
            </p:nvSpPr>
            <p:spPr bwMode="auto">
              <a:xfrm>
                <a:off x="4381" y="1977"/>
                <a:ext cx="506" cy="397"/>
              </a:xfrm>
              <a:custGeom>
                <a:avLst/>
                <a:gdLst>
                  <a:gd name="T0" fmla="*/ 87 w 214"/>
                  <a:gd name="T1" fmla="*/ 164 h 168"/>
                  <a:gd name="T2" fmla="*/ 91 w 214"/>
                  <a:gd name="T3" fmla="*/ 157 h 168"/>
                  <a:gd name="T4" fmla="*/ 96 w 214"/>
                  <a:gd name="T5" fmla="*/ 158 h 168"/>
                  <a:gd name="T6" fmla="*/ 99 w 214"/>
                  <a:gd name="T7" fmla="*/ 158 h 168"/>
                  <a:gd name="T8" fmla="*/ 107 w 214"/>
                  <a:gd name="T9" fmla="*/ 157 h 168"/>
                  <a:gd name="T10" fmla="*/ 125 w 214"/>
                  <a:gd name="T11" fmla="*/ 159 h 168"/>
                  <a:gd name="T12" fmla="*/ 128 w 214"/>
                  <a:gd name="T13" fmla="*/ 162 h 168"/>
                  <a:gd name="T14" fmla="*/ 131 w 214"/>
                  <a:gd name="T15" fmla="*/ 162 h 168"/>
                  <a:gd name="T16" fmla="*/ 145 w 214"/>
                  <a:gd name="T17" fmla="*/ 147 h 168"/>
                  <a:gd name="T18" fmla="*/ 160 w 214"/>
                  <a:gd name="T19" fmla="*/ 144 h 168"/>
                  <a:gd name="T20" fmla="*/ 181 w 214"/>
                  <a:gd name="T21" fmla="*/ 140 h 168"/>
                  <a:gd name="T22" fmla="*/ 209 w 214"/>
                  <a:gd name="T23" fmla="*/ 130 h 168"/>
                  <a:gd name="T24" fmla="*/ 210 w 214"/>
                  <a:gd name="T25" fmla="*/ 125 h 168"/>
                  <a:gd name="T26" fmla="*/ 214 w 214"/>
                  <a:gd name="T27" fmla="*/ 113 h 168"/>
                  <a:gd name="T28" fmla="*/ 214 w 214"/>
                  <a:gd name="T29" fmla="*/ 109 h 168"/>
                  <a:gd name="T30" fmla="*/ 212 w 214"/>
                  <a:gd name="T31" fmla="*/ 105 h 168"/>
                  <a:gd name="T32" fmla="*/ 184 w 214"/>
                  <a:gd name="T33" fmla="*/ 100 h 168"/>
                  <a:gd name="T34" fmla="*/ 174 w 214"/>
                  <a:gd name="T35" fmla="*/ 87 h 168"/>
                  <a:gd name="T36" fmla="*/ 173 w 214"/>
                  <a:gd name="T37" fmla="*/ 83 h 168"/>
                  <a:gd name="T38" fmla="*/ 172 w 214"/>
                  <a:gd name="T39" fmla="*/ 82 h 168"/>
                  <a:gd name="T40" fmla="*/ 169 w 214"/>
                  <a:gd name="T41" fmla="*/ 82 h 168"/>
                  <a:gd name="T42" fmla="*/ 168 w 214"/>
                  <a:gd name="T43" fmla="*/ 82 h 168"/>
                  <a:gd name="T44" fmla="*/ 163 w 214"/>
                  <a:gd name="T45" fmla="*/ 73 h 168"/>
                  <a:gd name="T46" fmla="*/ 161 w 214"/>
                  <a:gd name="T47" fmla="*/ 62 h 168"/>
                  <a:gd name="T48" fmla="*/ 156 w 214"/>
                  <a:gd name="T49" fmla="*/ 57 h 168"/>
                  <a:gd name="T50" fmla="*/ 151 w 214"/>
                  <a:gd name="T51" fmla="*/ 50 h 168"/>
                  <a:gd name="T52" fmla="*/ 145 w 214"/>
                  <a:gd name="T53" fmla="*/ 45 h 168"/>
                  <a:gd name="T54" fmla="*/ 142 w 214"/>
                  <a:gd name="T55" fmla="*/ 40 h 168"/>
                  <a:gd name="T56" fmla="*/ 138 w 214"/>
                  <a:gd name="T57" fmla="*/ 40 h 168"/>
                  <a:gd name="T58" fmla="*/ 133 w 214"/>
                  <a:gd name="T59" fmla="*/ 37 h 168"/>
                  <a:gd name="T60" fmla="*/ 132 w 214"/>
                  <a:gd name="T61" fmla="*/ 36 h 168"/>
                  <a:gd name="T62" fmla="*/ 124 w 214"/>
                  <a:gd name="T63" fmla="*/ 34 h 168"/>
                  <a:gd name="T64" fmla="*/ 122 w 214"/>
                  <a:gd name="T65" fmla="*/ 34 h 168"/>
                  <a:gd name="T66" fmla="*/ 106 w 214"/>
                  <a:gd name="T67" fmla="*/ 33 h 168"/>
                  <a:gd name="T68" fmla="*/ 88 w 214"/>
                  <a:gd name="T69" fmla="*/ 20 h 168"/>
                  <a:gd name="T70" fmla="*/ 72 w 214"/>
                  <a:gd name="T71" fmla="*/ 9 h 168"/>
                  <a:gd name="T72" fmla="*/ 48 w 214"/>
                  <a:gd name="T73" fmla="*/ 0 h 168"/>
                  <a:gd name="T74" fmla="*/ 40 w 214"/>
                  <a:gd name="T75" fmla="*/ 3 h 168"/>
                  <a:gd name="T76" fmla="*/ 35 w 214"/>
                  <a:gd name="T77" fmla="*/ 14 h 168"/>
                  <a:gd name="T78" fmla="*/ 37 w 214"/>
                  <a:gd name="T79" fmla="*/ 17 h 168"/>
                  <a:gd name="T80" fmla="*/ 28 w 214"/>
                  <a:gd name="T81" fmla="*/ 24 h 168"/>
                  <a:gd name="T82" fmla="*/ 25 w 214"/>
                  <a:gd name="T83" fmla="*/ 25 h 168"/>
                  <a:gd name="T84" fmla="*/ 17 w 214"/>
                  <a:gd name="T85" fmla="*/ 33 h 168"/>
                  <a:gd name="T86" fmla="*/ 6 w 214"/>
                  <a:gd name="T87" fmla="*/ 31 h 168"/>
                  <a:gd name="T88" fmla="*/ 5 w 214"/>
                  <a:gd name="T89" fmla="*/ 32 h 168"/>
                  <a:gd name="T90" fmla="*/ 4 w 214"/>
                  <a:gd name="T91" fmla="*/ 44 h 168"/>
                  <a:gd name="T92" fmla="*/ 22 w 214"/>
                  <a:gd name="T93" fmla="*/ 66 h 168"/>
                  <a:gd name="T94" fmla="*/ 29 w 214"/>
                  <a:gd name="T95" fmla="*/ 81 h 168"/>
                  <a:gd name="T96" fmla="*/ 41 w 214"/>
                  <a:gd name="T97" fmla="*/ 92 h 168"/>
                  <a:gd name="T98" fmla="*/ 47 w 214"/>
                  <a:gd name="T99" fmla="*/ 107 h 168"/>
                  <a:gd name="T100" fmla="*/ 56 w 214"/>
                  <a:gd name="T101" fmla="*/ 129 h 168"/>
                  <a:gd name="T102" fmla="*/ 62 w 214"/>
                  <a:gd name="T103" fmla="*/ 132 h 168"/>
                  <a:gd name="T104" fmla="*/ 81 w 214"/>
                  <a:gd name="T105" fmla="*/ 16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168">
                    <a:moveTo>
                      <a:pt x="87" y="166"/>
                    </a:moveTo>
                    <a:cubicBezTo>
                      <a:pt x="87" y="166"/>
                      <a:pt x="88" y="166"/>
                      <a:pt x="88" y="166"/>
                    </a:cubicBezTo>
                    <a:cubicBezTo>
                      <a:pt x="88" y="166"/>
                      <a:pt x="88" y="166"/>
                      <a:pt x="88" y="165"/>
                    </a:cubicBezTo>
                    <a:cubicBezTo>
                      <a:pt x="87" y="165"/>
                      <a:pt x="87" y="164"/>
                      <a:pt x="87" y="164"/>
                    </a:cubicBezTo>
                    <a:cubicBezTo>
                      <a:pt x="87" y="164"/>
                      <a:pt x="87" y="163"/>
                      <a:pt x="87" y="163"/>
                    </a:cubicBezTo>
                    <a:cubicBezTo>
                      <a:pt x="87" y="163"/>
                      <a:pt x="87" y="162"/>
                      <a:pt x="87" y="162"/>
                    </a:cubicBezTo>
                    <a:cubicBezTo>
                      <a:pt x="87" y="161"/>
                      <a:pt x="88" y="161"/>
                      <a:pt x="88" y="161"/>
                    </a:cubicBezTo>
                    <a:cubicBezTo>
                      <a:pt x="89" y="157"/>
                      <a:pt x="90" y="157"/>
                      <a:pt x="91" y="157"/>
                    </a:cubicBezTo>
                    <a:cubicBezTo>
                      <a:pt x="91" y="157"/>
                      <a:pt x="91" y="157"/>
                      <a:pt x="91" y="157"/>
                    </a:cubicBezTo>
                    <a:cubicBezTo>
                      <a:pt x="92" y="157"/>
                      <a:pt x="93" y="157"/>
                      <a:pt x="94" y="157"/>
                    </a:cubicBezTo>
                    <a:cubicBezTo>
                      <a:pt x="94" y="157"/>
                      <a:pt x="95" y="158"/>
                      <a:pt x="95" y="158"/>
                    </a:cubicBezTo>
                    <a:cubicBezTo>
                      <a:pt x="95" y="158"/>
                      <a:pt x="96" y="158"/>
                      <a:pt x="96" y="158"/>
                    </a:cubicBezTo>
                    <a:cubicBezTo>
                      <a:pt x="96" y="158"/>
                      <a:pt x="96" y="158"/>
                      <a:pt x="96" y="158"/>
                    </a:cubicBezTo>
                    <a:cubicBezTo>
                      <a:pt x="96" y="158"/>
                      <a:pt x="96" y="158"/>
                      <a:pt x="97" y="158"/>
                    </a:cubicBezTo>
                    <a:cubicBezTo>
                      <a:pt x="97" y="159"/>
                      <a:pt x="97" y="159"/>
                      <a:pt x="98" y="159"/>
                    </a:cubicBezTo>
                    <a:cubicBezTo>
                      <a:pt x="98" y="159"/>
                      <a:pt x="98" y="158"/>
                      <a:pt x="99" y="158"/>
                    </a:cubicBezTo>
                    <a:cubicBezTo>
                      <a:pt x="99" y="158"/>
                      <a:pt x="99" y="158"/>
                      <a:pt x="99" y="158"/>
                    </a:cubicBezTo>
                    <a:cubicBezTo>
                      <a:pt x="100" y="158"/>
                      <a:pt x="100" y="158"/>
                      <a:pt x="100" y="158"/>
                    </a:cubicBezTo>
                    <a:cubicBezTo>
                      <a:pt x="101" y="158"/>
                      <a:pt x="102" y="158"/>
                      <a:pt x="102" y="158"/>
                    </a:cubicBezTo>
                    <a:cubicBezTo>
                      <a:pt x="104" y="158"/>
                      <a:pt x="106" y="157"/>
                      <a:pt x="107" y="157"/>
                    </a:cubicBezTo>
                    <a:cubicBezTo>
                      <a:pt x="111" y="157"/>
                      <a:pt x="115" y="158"/>
                      <a:pt x="119" y="158"/>
                    </a:cubicBezTo>
                    <a:cubicBezTo>
                      <a:pt x="121" y="158"/>
                      <a:pt x="123" y="159"/>
                      <a:pt x="124" y="159"/>
                    </a:cubicBezTo>
                    <a:cubicBezTo>
                      <a:pt x="125" y="159"/>
                      <a:pt x="125" y="159"/>
                      <a:pt x="125" y="159"/>
                    </a:cubicBezTo>
                    <a:cubicBezTo>
                      <a:pt x="125" y="159"/>
                      <a:pt x="125" y="159"/>
                      <a:pt x="125" y="159"/>
                    </a:cubicBezTo>
                    <a:cubicBezTo>
                      <a:pt x="125" y="159"/>
                      <a:pt x="125" y="159"/>
                      <a:pt x="125" y="159"/>
                    </a:cubicBezTo>
                    <a:cubicBezTo>
                      <a:pt x="127" y="159"/>
                      <a:pt x="127" y="160"/>
                      <a:pt x="128" y="161"/>
                    </a:cubicBezTo>
                    <a:cubicBezTo>
                      <a:pt x="128" y="161"/>
                      <a:pt x="128" y="161"/>
                      <a:pt x="128" y="161"/>
                    </a:cubicBezTo>
                    <a:cubicBezTo>
                      <a:pt x="128" y="162"/>
                      <a:pt x="128" y="162"/>
                      <a:pt x="128" y="162"/>
                    </a:cubicBezTo>
                    <a:cubicBezTo>
                      <a:pt x="128" y="162"/>
                      <a:pt x="128" y="162"/>
                      <a:pt x="129" y="162"/>
                    </a:cubicBezTo>
                    <a:cubicBezTo>
                      <a:pt x="129" y="162"/>
                      <a:pt x="129" y="162"/>
                      <a:pt x="129" y="162"/>
                    </a:cubicBezTo>
                    <a:cubicBezTo>
                      <a:pt x="129" y="162"/>
                      <a:pt x="129" y="162"/>
                      <a:pt x="129" y="162"/>
                    </a:cubicBezTo>
                    <a:cubicBezTo>
                      <a:pt x="130" y="162"/>
                      <a:pt x="130" y="162"/>
                      <a:pt x="131" y="162"/>
                    </a:cubicBezTo>
                    <a:cubicBezTo>
                      <a:pt x="131" y="161"/>
                      <a:pt x="132" y="161"/>
                      <a:pt x="132" y="160"/>
                    </a:cubicBezTo>
                    <a:cubicBezTo>
                      <a:pt x="139" y="150"/>
                      <a:pt x="139" y="150"/>
                      <a:pt x="139" y="150"/>
                    </a:cubicBezTo>
                    <a:cubicBezTo>
                      <a:pt x="139" y="150"/>
                      <a:pt x="139" y="150"/>
                      <a:pt x="140" y="150"/>
                    </a:cubicBezTo>
                    <a:cubicBezTo>
                      <a:pt x="141" y="149"/>
                      <a:pt x="143" y="148"/>
                      <a:pt x="145" y="147"/>
                    </a:cubicBezTo>
                    <a:cubicBezTo>
                      <a:pt x="145" y="147"/>
                      <a:pt x="145" y="147"/>
                      <a:pt x="145" y="147"/>
                    </a:cubicBezTo>
                    <a:cubicBezTo>
                      <a:pt x="146" y="147"/>
                      <a:pt x="146" y="146"/>
                      <a:pt x="147" y="146"/>
                    </a:cubicBezTo>
                    <a:cubicBezTo>
                      <a:pt x="150" y="144"/>
                      <a:pt x="155" y="144"/>
                      <a:pt x="159" y="144"/>
                    </a:cubicBezTo>
                    <a:cubicBezTo>
                      <a:pt x="160" y="144"/>
                      <a:pt x="160" y="144"/>
                      <a:pt x="160" y="144"/>
                    </a:cubicBezTo>
                    <a:cubicBezTo>
                      <a:pt x="164" y="143"/>
                      <a:pt x="169" y="143"/>
                      <a:pt x="173" y="142"/>
                    </a:cubicBezTo>
                    <a:cubicBezTo>
                      <a:pt x="175" y="141"/>
                      <a:pt x="177" y="141"/>
                      <a:pt x="179" y="141"/>
                    </a:cubicBezTo>
                    <a:cubicBezTo>
                      <a:pt x="179" y="140"/>
                      <a:pt x="179" y="140"/>
                      <a:pt x="179" y="140"/>
                    </a:cubicBezTo>
                    <a:cubicBezTo>
                      <a:pt x="180" y="140"/>
                      <a:pt x="181" y="140"/>
                      <a:pt x="181" y="140"/>
                    </a:cubicBezTo>
                    <a:cubicBezTo>
                      <a:pt x="197" y="135"/>
                      <a:pt x="197" y="135"/>
                      <a:pt x="197" y="135"/>
                    </a:cubicBezTo>
                    <a:cubicBezTo>
                      <a:pt x="200" y="133"/>
                      <a:pt x="204" y="132"/>
                      <a:pt x="207" y="131"/>
                    </a:cubicBezTo>
                    <a:cubicBezTo>
                      <a:pt x="209" y="130"/>
                      <a:pt x="209" y="130"/>
                      <a:pt x="209" y="130"/>
                    </a:cubicBezTo>
                    <a:cubicBezTo>
                      <a:pt x="209" y="130"/>
                      <a:pt x="209" y="130"/>
                      <a:pt x="209" y="130"/>
                    </a:cubicBezTo>
                    <a:cubicBezTo>
                      <a:pt x="209" y="130"/>
                      <a:pt x="209" y="129"/>
                      <a:pt x="209" y="128"/>
                    </a:cubicBezTo>
                    <a:cubicBezTo>
                      <a:pt x="209" y="128"/>
                      <a:pt x="209" y="128"/>
                      <a:pt x="209" y="128"/>
                    </a:cubicBezTo>
                    <a:cubicBezTo>
                      <a:pt x="210" y="127"/>
                      <a:pt x="210" y="127"/>
                      <a:pt x="210" y="127"/>
                    </a:cubicBezTo>
                    <a:cubicBezTo>
                      <a:pt x="210" y="126"/>
                      <a:pt x="210" y="126"/>
                      <a:pt x="210" y="125"/>
                    </a:cubicBezTo>
                    <a:cubicBezTo>
                      <a:pt x="210" y="125"/>
                      <a:pt x="210" y="125"/>
                      <a:pt x="211" y="124"/>
                    </a:cubicBezTo>
                    <a:cubicBezTo>
                      <a:pt x="211" y="124"/>
                      <a:pt x="211" y="123"/>
                      <a:pt x="211" y="122"/>
                    </a:cubicBezTo>
                    <a:cubicBezTo>
                      <a:pt x="213" y="116"/>
                      <a:pt x="213" y="116"/>
                      <a:pt x="213" y="116"/>
                    </a:cubicBezTo>
                    <a:cubicBezTo>
                      <a:pt x="214" y="115"/>
                      <a:pt x="214" y="114"/>
                      <a:pt x="214" y="113"/>
                    </a:cubicBezTo>
                    <a:cubicBezTo>
                      <a:pt x="214" y="112"/>
                      <a:pt x="214" y="112"/>
                      <a:pt x="214" y="111"/>
                    </a:cubicBezTo>
                    <a:cubicBezTo>
                      <a:pt x="214" y="110"/>
                      <a:pt x="214" y="110"/>
                      <a:pt x="214" y="109"/>
                    </a:cubicBezTo>
                    <a:cubicBezTo>
                      <a:pt x="214" y="109"/>
                      <a:pt x="214" y="109"/>
                      <a:pt x="214" y="109"/>
                    </a:cubicBezTo>
                    <a:cubicBezTo>
                      <a:pt x="214" y="109"/>
                      <a:pt x="214" y="109"/>
                      <a:pt x="214" y="109"/>
                    </a:cubicBezTo>
                    <a:cubicBezTo>
                      <a:pt x="214" y="109"/>
                      <a:pt x="213" y="108"/>
                      <a:pt x="213" y="108"/>
                    </a:cubicBezTo>
                    <a:cubicBezTo>
                      <a:pt x="213" y="107"/>
                      <a:pt x="213" y="107"/>
                      <a:pt x="213" y="107"/>
                    </a:cubicBezTo>
                    <a:cubicBezTo>
                      <a:pt x="213" y="106"/>
                      <a:pt x="212" y="106"/>
                      <a:pt x="212" y="105"/>
                    </a:cubicBezTo>
                    <a:cubicBezTo>
                      <a:pt x="212" y="105"/>
                      <a:pt x="212" y="105"/>
                      <a:pt x="212" y="105"/>
                    </a:cubicBezTo>
                    <a:cubicBezTo>
                      <a:pt x="212" y="105"/>
                      <a:pt x="211" y="104"/>
                      <a:pt x="211" y="104"/>
                    </a:cubicBezTo>
                    <a:cubicBezTo>
                      <a:pt x="211" y="104"/>
                      <a:pt x="211" y="104"/>
                      <a:pt x="211" y="104"/>
                    </a:cubicBezTo>
                    <a:cubicBezTo>
                      <a:pt x="185" y="101"/>
                      <a:pt x="185" y="101"/>
                      <a:pt x="185" y="101"/>
                    </a:cubicBezTo>
                    <a:cubicBezTo>
                      <a:pt x="184" y="101"/>
                      <a:pt x="184" y="101"/>
                      <a:pt x="184" y="100"/>
                    </a:cubicBezTo>
                    <a:cubicBezTo>
                      <a:pt x="182" y="99"/>
                      <a:pt x="181" y="97"/>
                      <a:pt x="180" y="95"/>
                    </a:cubicBezTo>
                    <a:cubicBezTo>
                      <a:pt x="177" y="92"/>
                      <a:pt x="177" y="92"/>
                      <a:pt x="177" y="92"/>
                    </a:cubicBezTo>
                    <a:cubicBezTo>
                      <a:pt x="177" y="92"/>
                      <a:pt x="177" y="92"/>
                      <a:pt x="177" y="92"/>
                    </a:cubicBezTo>
                    <a:cubicBezTo>
                      <a:pt x="175" y="90"/>
                      <a:pt x="174" y="89"/>
                      <a:pt x="174" y="87"/>
                    </a:cubicBezTo>
                    <a:cubicBezTo>
                      <a:pt x="173" y="86"/>
                      <a:pt x="173" y="86"/>
                      <a:pt x="173" y="86"/>
                    </a:cubicBezTo>
                    <a:cubicBezTo>
                      <a:pt x="173" y="85"/>
                      <a:pt x="172" y="85"/>
                      <a:pt x="172" y="85"/>
                    </a:cubicBezTo>
                    <a:cubicBezTo>
                      <a:pt x="172" y="85"/>
                      <a:pt x="172" y="84"/>
                      <a:pt x="172" y="84"/>
                    </a:cubicBezTo>
                    <a:cubicBezTo>
                      <a:pt x="172" y="83"/>
                      <a:pt x="173" y="83"/>
                      <a:pt x="173" y="83"/>
                    </a:cubicBezTo>
                    <a:cubicBezTo>
                      <a:pt x="173" y="83"/>
                      <a:pt x="174" y="82"/>
                      <a:pt x="174" y="82"/>
                    </a:cubicBezTo>
                    <a:cubicBezTo>
                      <a:pt x="173" y="82"/>
                      <a:pt x="173" y="82"/>
                      <a:pt x="173" y="82"/>
                    </a:cubicBezTo>
                    <a:cubicBezTo>
                      <a:pt x="173" y="82"/>
                      <a:pt x="173" y="82"/>
                      <a:pt x="173" y="82"/>
                    </a:cubicBezTo>
                    <a:cubicBezTo>
                      <a:pt x="173" y="82"/>
                      <a:pt x="172" y="82"/>
                      <a:pt x="172" y="82"/>
                    </a:cubicBezTo>
                    <a:cubicBezTo>
                      <a:pt x="172" y="82"/>
                      <a:pt x="172" y="82"/>
                      <a:pt x="172" y="82"/>
                    </a:cubicBezTo>
                    <a:cubicBezTo>
                      <a:pt x="171" y="82"/>
                      <a:pt x="171" y="82"/>
                      <a:pt x="170" y="82"/>
                    </a:cubicBezTo>
                    <a:cubicBezTo>
                      <a:pt x="170" y="82"/>
                      <a:pt x="170" y="82"/>
                      <a:pt x="169" y="82"/>
                    </a:cubicBezTo>
                    <a:cubicBezTo>
                      <a:pt x="169" y="82"/>
                      <a:pt x="169" y="82"/>
                      <a:pt x="169" y="82"/>
                    </a:cubicBezTo>
                    <a:cubicBezTo>
                      <a:pt x="169" y="82"/>
                      <a:pt x="169" y="82"/>
                      <a:pt x="169" y="82"/>
                    </a:cubicBezTo>
                    <a:cubicBezTo>
                      <a:pt x="169" y="82"/>
                      <a:pt x="169" y="82"/>
                      <a:pt x="169" y="82"/>
                    </a:cubicBezTo>
                    <a:cubicBezTo>
                      <a:pt x="169" y="82"/>
                      <a:pt x="169" y="82"/>
                      <a:pt x="169" y="82"/>
                    </a:cubicBezTo>
                    <a:cubicBezTo>
                      <a:pt x="169" y="82"/>
                      <a:pt x="168" y="82"/>
                      <a:pt x="168" y="82"/>
                    </a:cubicBezTo>
                    <a:cubicBezTo>
                      <a:pt x="168" y="82"/>
                      <a:pt x="167" y="81"/>
                      <a:pt x="167" y="80"/>
                    </a:cubicBezTo>
                    <a:cubicBezTo>
                      <a:pt x="167" y="80"/>
                      <a:pt x="167" y="80"/>
                      <a:pt x="167" y="80"/>
                    </a:cubicBezTo>
                    <a:cubicBezTo>
                      <a:pt x="167" y="80"/>
                      <a:pt x="167" y="80"/>
                      <a:pt x="167" y="80"/>
                    </a:cubicBezTo>
                    <a:cubicBezTo>
                      <a:pt x="165" y="78"/>
                      <a:pt x="164" y="75"/>
                      <a:pt x="163" y="73"/>
                    </a:cubicBezTo>
                    <a:cubicBezTo>
                      <a:pt x="161" y="71"/>
                      <a:pt x="159" y="69"/>
                      <a:pt x="159" y="67"/>
                    </a:cubicBezTo>
                    <a:cubicBezTo>
                      <a:pt x="158" y="66"/>
                      <a:pt x="158" y="65"/>
                      <a:pt x="159" y="65"/>
                    </a:cubicBezTo>
                    <a:cubicBezTo>
                      <a:pt x="159" y="64"/>
                      <a:pt x="160" y="66"/>
                      <a:pt x="160" y="66"/>
                    </a:cubicBezTo>
                    <a:cubicBezTo>
                      <a:pt x="160" y="65"/>
                      <a:pt x="161" y="63"/>
                      <a:pt x="161" y="62"/>
                    </a:cubicBezTo>
                    <a:cubicBezTo>
                      <a:pt x="160" y="61"/>
                      <a:pt x="158" y="61"/>
                      <a:pt x="159" y="59"/>
                    </a:cubicBezTo>
                    <a:cubicBezTo>
                      <a:pt x="159" y="59"/>
                      <a:pt x="159" y="60"/>
                      <a:pt x="160" y="59"/>
                    </a:cubicBezTo>
                    <a:cubicBezTo>
                      <a:pt x="159" y="59"/>
                      <a:pt x="159" y="58"/>
                      <a:pt x="158" y="57"/>
                    </a:cubicBezTo>
                    <a:cubicBezTo>
                      <a:pt x="157" y="57"/>
                      <a:pt x="157" y="57"/>
                      <a:pt x="156" y="57"/>
                    </a:cubicBezTo>
                    <a:cubicBezTo>
                      <a:pt x="155" y="56"/>
                      <a:pt x="155" y="54"/>
                      <a:pt x="154" y="54"/>
                    </a:cubicBezTo>
                    <a:cubicBezTo>
                      <a:pt x="154" y="54"/>
                      <a:pt x="154" y="54"/>
                      <a:pt x="154" y="54"/>
                    </a:cubicBezTo>
                    <a:cubicBezTo>
                      <a:pt x="152" y="54"/>
                      <a:pt x="151" y="52"/>
                      <a:pt x="150" y="51"/>
                    </a:cubicBezTo>
                    <a:cubicBezTo>
                      <a:pt x="150" y="51"/>
                      <a:pt x="151" y="51"/>
                      <a:pt x="151" y="50"/>
                    </a:cubicBezTo>
                    <a:cubicBezTo>
                      <a:pt x="151" y="49"/>
                      <a:pt x="150" y="50"/>
                      <a:pt x="149" y="50"/>
                    </a:cubicBezTo>
                    <a:cubicBezTo>
                      <a:pt x="149" y="50"/>
                      <a:pt x="149" y="49"/>
                      <a:pt x="148" y="49"/>
                    </a:cubicBezTo>
                    <a:cubicBezTo>
                      <a:pt x="147" y="49"/>
                      <a:pt x="147" y="49"/>
                      <a:pt x="146" y="48"/>
                    </a:cubicBezTo>
                    <a:cubicBezTo>
                      <a:pt x="146" y="47"/>
                      <a:pt x="146" y="46"/>
                      <a:pt x="145" y="45"/>
                    </a:cubicBezTo>
                    <a:cubicBezTo>
                      <a:pt x="144" y="43"/>
                      <a:pt x="144" y="42"/>
                      <a:pt x="143" y="40"/>
                    </a:cubicBezTo>
                    <a:cubicBezTo>
                      <a:pt x="143" y="40"/>
                      <a:pt x="143" y="40"/>
                      <a:pt x="143" y="40"/>
                    </a:cubicBezTo>
                    <a:cubicBezTo>
                      <a:pt x="142" y="40"/>
                      <a:pt x="142" y="40"/>
                      <a:pt x="142" y="40"/>
                    </a:cubicBezTo>
                    <a:cubicBezTo>
                      <a:pt x="142" y="40"/>
                      <a:pt x="142" y="40"/>
                      <a:pt x="142" y="40"/>
                    </a:cubicBezTo>
                    <a:cubicBezTo>
                      <a:pt x="142" y="40"/>
                      <a:pt x="142" y="40"/>
                      <a:pt x="142" y="40"/>
                    </a:cubicBezTo>
                    <a:cubicBezTo>
                      <a:pt x="141" y="40"/>
                      <a:pt x="141" y="40"/>
                      <a:pt x="141" y="40"/>
                    </a:cubicBezTo>
                    <a:cubicBezTo>
                      <a:pt x="140" y="40"/>
                      <a:pt x="140" y="40"/>
                      <a:pt x="140" y="40"/>
                    </a:cubicBezTo>
                    <a:cubicBezTo>
                      <a:pt x="140" y="40"/>
                      <a:pt x="139" y="40"/>
                      <a:pt x="138" y="40"/>
                    </a:cubicBezTo>
                    <a:cubicBezTo>
                      <a:pt x="137" y="40"/>
                      <a:pt x="136" y="40"/>
                      <a:pt x="135" y="40"/>
                    </a:cubicBezTo>
                    <a:cubicBezTo>
                      <a:pt x="134" y="39"/>
                      <a:pt x="133" y="39"/>
                      <a:pt x="133" y="38"/>
                    </a:cubicBezTo>
                    <a:cubicBezTo>
                      <a:pt x="133" y="38"/>
                      <a:pt x="133" y="38"/>
                      <a:pt x="133" y="37"/>
                    </a:cubicBezTo>
                    <a:cubicBezTo>
                      <a:pt x="133" y="37"/>
                      <a:pt x="133" y="37"/>
                      <a:pt x="133" y="37"/>
                    </a:cubicBezTo>
                    <a:cubicBezTo>
                      <a:pt x="133" y="37"/>
                      <a:pt x="133" y="37"/>
                      <a:pt x="133" y="37"/>
                    </a:cubicBezTo>
                    <a:cubicBezTo>
                      <a:pt x="133" y="37"/>
                      <a:pt x="133" y="37"/>
                      <a:pt x="133" y="37"/>
                    </a:cubicBezTo>
                    <a:cubicBezTo>
                      <a:pt x="133" y="37"/>
                      <a:pt x="133" y="37"/>
                      <a:pt x="133" y="37"/>
                    </a:cubicBezTo>
                    <a:cubicBezTo>
                      <a:pt x="133" y="37"/>
                      <a:pt x="132" y="37"/>
                      <a:pt x="132" y="36"/>
                    </a:cubicBezTo>
                    <a:cubicBezTo>
                      <a:pt x="132" y="36"/>
                      <a:pt x="132" y="36"/>
                      <a:pt x="132" y="36"/>
                    </a:cubicBezTo>
                    <a:cubicBezTo>
                      <a:pt x="132" y="36"/>
                      <a:pt x="132" y="36"/>
                      <a:pt x="132" y="36"/>
                    </a:cubicBezTo>
                    <a:cubicBezTo>
                      <a:pt x="132" y="36"/>
                      <a:pt x="132" y="36"/>
                      <a:pt x="132" y="36"/>
                    </a:cubicBezTo>
                    <a:cubicBezTo>
                      <a:pt x="124" y="34"/>
                      <a:pt x="124" y="34"/>
                      <a:pt x="124" y="34"/>
                    </a:cubicBezTo>
                    <a:cubicBezTo>
                      <a:pt x="124" y="34"/>
                      <a:pt x="124" y="34"/>
                      <a:pt x="124" y="34"/>
                    </a:cubicBezTo>
                    <a:cubicBezTo>
                      <a:pt x="123" y="34"/>
                      <a:pt x="123" y="34"/>
                      <a:pt x="123" y="34"/>
                    </a:cubicBezTo>
                    <a:cubicBezTo>
                      <a:pt x="123" y="34"/>
                      <a:pt x="123" y="34"/>
                      <a:pt x="123" y="34"/>
                    </a:cubicBezTo>
                    <a:cubicBezTo>
                      <a:pt x="123" y="34"/>
                      <a:pt x="122" y="34"/>
                      <a:pt x="122" y="34"/>
                    </a:cubicBezTo>
                    <a:cubicBezTo>
                      <a:pt x="122" y="34"/>
                      <a:pt x="121" y="34"/>
                      <a:pt x="121" y="34"/>
                    </a:cubicBezTo>
                    <a:cubicBezTo>
                      <a:pt x="120" y="34"/>
                      <a:pt x="120" y="34"/>
                      <a:pt x="120" y="34"/>
                    </a:cubicBezTo>
                    <a:cubicBezTo>
                      <a:pt x="120" y="34"/>
                      <a:pt x="120" y="34"/>
                      <a:pt x="120" y="34"/>
                    </a:cubicBezTo>
                    <a:cubicBezTo>
                      <a:pt x="106" y="33"/>
                      <a:pt x="106" y="33"/>
                      <a:pt x="106" y="33"/>
                    </a:cubicBezTo>
                    <a:cubicBezTo>
                      <a:pt x="105" y="33"/>
                      <a:pt x="104" y="33"/>
                      <a:pt x="103" y="32"/>
                    </a:cubicBezTo>
                    <a:cubicBezTo>
                      <a:pt x="102" y="31"/>
                      <a:pt x="100" y="30"/>
                      <a:pt x="99" y="28"/>
                    </a:cubicBezTo>
                    <a:cubicBezTo>
                      <a:pt x="97" y="27"/>
                      <a:pt x="96" y="26"/>
                      <a:pt x="95" y="25"/>
                    </a:cubicBezTo>
                    <a:cubicBezTo>
                      <a:pt x="88" y="20"/>
                      <a:pt x="88" y="20"/>
                      <a:pt x="88" y="20"/>
                    </a:cubicBezTo>
                    <a:cubicBezTo>
                      <a:pt x="87" y="19"/>
                      <a:pt x="85" y="18"/>
                      <a:pt x="84" y="17"/>
                    </a:cubicBezTo>
                    <a:cubicBezTo>
                      <a:pt x="82" y="15"/>
                      <a:pt x="79" y="13"/>
                      <a:pt x="77" y="11"/>
                    </a:cubicBezTo>
                    <a:cubicBezTo>
                      <a:pt x="75" y="10"/>
                      <a:pt x="75" y="10"/>
                      <a:pt x="75" y="10"/>
                    </a:cubicBezTo>
                    <a:cubicBezTo>
                      <a:pt x="74" y="10"/>
                      <a:pt x="73" y="9"/>
                      <a:pt x="72" y="9"/>
                    </a:cubicBezTo>
                    <a:cubicBezTo>
                      <a:pt x="69" y="7"/>
                      <a:pt x="66" y="6"/>
                      <a:pt x="63" y="4"/>
                    </a:cubicBezTo>
                    <a:cubicBezTo>
                      <a:pt x="63" y="4"/>
                      <a:pt x="63" y="3"/>
                      <a:pt x="63" y="3"/>
                    </a:cubicBezTo>
                    <a:cubicBezTo>
                      <a:pt x="62" y="3"/>
                      <a:pt x="61" y="2"/>
                      <a:pt x="60" y="2"/>
                    </a:cubicBezTo>
                    <a:cubicBezTo>
                      <a:pt x="48" y="0"/>
                      <a:pt x="48" y="0"/>
                      <a:pt x="48" y="0"/>
                    </a:cubicBezTo>
                    <a:cubicBezTo>
                      <a:pt x="47" y="0"/>
                      <a:pt x="47" y="0"/>
                      <a:pt x="47" y="0"/>
                    </a:cubicBezTo>
                    <a:cubicBezTo>
                      <a:pt x="46" y="1"/>
                      <a:pt x="44" y="1"/>
                      <a:pt x="42" y="2"/>
                    </a:cubicBezTo>
                    <a:cubicBezTo>
                      <a:pt x="42" y="2"/>
                      <a:pt x="42" y="2"/>
                      <a:pt x="42" y="2"/>
                    </a:cubicBezTo>
                    <a:cubicBezTo>
                      <a:pt x="41" y="2"/>
                      <a:pt x="40" y="3"/>
                      <a:pt x="40" y="3"/>
                    </a:cubicBezTo>
                    <a:cubicBezTo>
                      <a:pt x="36" y="4"/>
                      <a:pt x="33" y="5"/>
                      <a:pt x="29" y="6"/>
                    </a:cubicBezTo>
                    <a:cubicBezTo>
                      <a:pt x="28" y="6"/>
                      <a:pt x="28" y="6"/>
                      <a:pt x="28" y="6"/>
                    </a:cubicBezTo>
                    <a:cubicBezTo>
                      <a:pt x="30" y="9"/>
                      <a:pt x="32" y="11"/>
                      <a:pt x="35" y="13"/>
                    </a:cubicBezTo>
                    <a:cubicBezTo>
                      <a:pt x="35" y="13"/>
                      <a:pt x="35" y="14"/>
                      <a:pt x="35" y="14"/>
                    </a:cubicBezTo>
                    <a:cubicBezTo>
                      <a:pt x="35" y="14"/>
                      <a:pt x="35" y="14"/>
                      <a:pt x="35" y="14"/>
                    </a:cubicBezTo>
                    <a:cubicBezTo>
                      <a:pt x="36" y="14"/>
                      <a:pt x="36" y="15"/>
                      <a:pt x="36" y="15"/>
                    </a:cubicBezTo>
                    <a:cubicBezTo>
                      <a:pt x="36" y="15"/>
                      <a:pt x="36" y="15"/>
                      <a:pt x="36" y="15"/>
                    </a:cubicBezTo>
                    <a:cubicBezTo>
                      <a:pt x="37" y="16"/>
                      <a:pt x="37" y="16"/>
                      <a:pt x="37" y="17"/>
                    </a:cubicBezTo>
                    <a:cubicBezTo>
                      <a:pt x="37" y="17"/>
                      <a:pt x="37" y="18"/>
                      <a:pt x="33" y="22"/>
                    </a:cubicBezTo>
                    <a:cubicBezTo>
                      <a:pt x="32" y="23"/>
                      <a:pt x="32" y="23"/>
                      <a:pt x="32" y="24"/>
                    </a:cubicBezTo>
                    <a:cubicBezTo>
                      <a:pt x="31" y="24"/>
                      <a:pt x="30" y="24"/>
                      <a:pt x="28" y="24"/>
                    </a:cubicBezTo>
                    <a:cubicBezTo>
                      <a:pt x="28" y="24"/>
                      <a:pt x="28" y="24"/>
                      <a:pt x="28" y="24"/>
                    </a:cubicBezTo>
                    <a:cubicBezTo>
                      <a:pt x="28" y="24"/>
                      <a:pt x="27" y="25"/>
                      <a:pt x="27" y="25"/>
                    </a:cubicBezTo>
                    <a:cubicBezTo>
                      <a:pt x="27" y="25"/>
                      <a:pt x="27" y="25"/>
                      <a:pt x="26" y="25"/>
                    </a:cubicBezTo>
                    <a:cubicBezTo>
                      <a:pt x="26" y="25"/>
                      <a:pt x="26" y="25"/>
                      <a:pt x="26" y="25"/>
                    </a:cubicBezTo>
                    <a:cubicBezTo>
                      <a:pt x="25" y="25"/>
                      <a:pt x="25" y="25"/>
                      <a:pt x="25" y="25"/>
                    </a:cubicBezTo>
                    <a:cubicBezTo>
                      <a:pt x="23" y="25"/>
                      <a:pt x="23" y="26"/>
                      <a:pt x="22" y="27"/>
                    </a:cubicBezTo>
                    <a:cubicBezTo>
                      <a:pt x="21" y="28"/>
                      <a:pt x="21" y="28"/>
                      <a:pt x="21" y="29"/>
                    </a:cubicBezTo>
                    <a:cubicBezTo>
                      <a:pt x="19" y="30"/>
                      <a:pt x="19" y="30"/>
                      <a:pt x="19" y="30"/>
                    </a:cubicBezTo>
                    <a:cubicBezTo>
                      <a:pt x="18" y="32"/>
                      <a:pt x="18" y="32"/>
                      <a:pt x="17" y="33"/>
                    </a:cubicBezTo>
                    <a:cubicBezTo>
                      <a:pt x="17" y="33"/>
                      <a:pt x="16" y="33"/>
                      <a:pt x="13" y="32"/>
                    </a:cubicBezTo>
                    <a:cubicBezTo>
                      <a:pt x="13" y="32"/>
                      <a:pt x="13" y="32"/>
                      <a:pt x="13" y="32"/>
                    </a:cubicBezTo>
                    <a:cubicBezTo>
                      <a:pt x="13" y="32"/>
                      <a:pt x="13" y="32"/>
                      <a:pt x="13" y="32"/>
                    </a:cubicBezTo>
                    <a:cubicBezTo>
                      <a:pt x="6" y="31"/>
                      <a:pt x="6" y="31"/>
                      <a:pt x="6" y="31"/>
                    </a:cubicBezTo>
                    <a:cubicBezTo>
                      <a:pt x="6" y="31"/>
                      <a:pt x="6" y="31"/>
                      <a:pt x="6" y="31"/>
                    </a:cubicBezTo>
                    <a:cubicBezTo>
                      <a:pt x="6" y="31"/>
                      <a:pt x="5" y="31"/>
                      <a:pt x="5" y="31"/>
                    </a:cubicBezTo>
                    <a:cubicBezTo>
                      <a:pt x="5" y="32"/>
                      <a:pt x="5" y="32"/>
                      <a:pt x="5" y="32"/>
                    </a:cubicBezTo>
                    <a:cubicBezTo>
                      <a:pt x="5" y="32"/>
                      <a:pt x="5" y="32"/>
                      <a:pt x="5" y="32"/>
                    </a:cubicBezTo>
                    <a:cubicBezTo>
                      <a:pt x="4" y="34"/>
                      <a:pt x="3" y="37"/>
                      <a:pt x="2" y="40"/>
                    </a:cubicBezTo>
                    <a:cubicBezTo>
                      <a:pt x="2" y="40"/>
                      <a:pt x="0" y="44"/>
                      <a:pt x="2" y="45"/>
                    </a:cubicBezTo>
                    <a:cubicBezTo>
                      <a:pt x="2" y="45"/>
                      <a:pt x="2" y="44"/>
                      <a:pt x="2" y="44"/>
                    </a:cubicBezTo>
                    <a:cubicBezTo>
                      <a:pt x="3" y="43"/>
                      <a:pt x="3" y="44"/>
                      <a:pt x="4" y="44"/>
                    </a:cubicBezTo>
                    <a:cubicBezTo>
                      <a:pt x="4" y="44"/>
                      <a:pt x="5" y="44"/>
                      <a:pt x="5" y="44"/>
                    </a:cubicBezTo>
                    <a:cubicBezTo>
                      <a:pt x="6" y="44"/>
                      <a:pt x="7" y="44"/>
                      <a:pt x="8" y="45"/>
                    </a:cubicBezTo>
                    <a:cubicBezTo>
                      <a:pt x="10" y="48"/>
                      <a:pt x="12" y="52"/>
                      <a:pt x="15" y="56"/>
                    </a:cubicBezTo>
                    <a:cubicBezTo>
                      <a:pt x="17" y="59"/>
                      <a:pt x="19" y="64"/>
                      <a:pt x="22" y="66"/>
                    </a:cubicBezTo>
                    <a:cubicBezTo>
                      <a:pt x="23" y="67"/>
                      <a:pt x="23" y="67"/>
                      <a:pt x="23" y="68"/>
                    </a:cubicBezTo>
                    <a:cubicBezTo>
                      <a:pt x="23" y="69"/>
                      <a:pt x="23" y="70"/>
                      <a:pt x="24" y="71"/>
                    </a:cubicBezTo>
                    <a:cubicBezTo>
                      <a:pt x="26" y="73"/>
                      <a:pt x="28" y="75"/>
                      <a:pt x="28" y="77"/>
                    </a:cubicBezTo>
                    <a:cubicBezTo>
                      <a:pt x="29" y="78"/>
                      <a:pt x="29" y="79"/>
                      <a:pt x="29" y="81"/>
                    </a:cubicBezTo>
                    <a:cubicBezTo>
                      <a:pt x="30" y="82"/>
                      <a:pt x="30" y="83"/>
                      <a:pt x="31" y="85"/>
                    </a:cubicBezTo>
                    <a:cubicBezTo>
                      <a:pt x="32" y="86"/>
                      <a:pt x="33" y="86"/>
                      <a:pt x="35" y="86"/>
                    </a:cubicBezTo>
                    <a:cubicBezTo>
                      <a:pt x="36" y="86"/>
                      <a:pt x="38" y="89"/>
                      <a:pt x="39" y="90"/>
                    </a:cubicBezTo>
                    <a:cubicBezTo>
                      <a:pt x="40" y="90"/>
                      <a:pt x="40" y="91"/>
                      <a:pt x="41" y="92"/>
                    </a:cubicBezTo>
                    <a:cubicBezTo>
                      <a:pt x="42" y="94"/>
                      <a:pt x="43" y="96"/>
                      <a:pt x="44" y="98"/>
                    </a:cubicBezTo>
                    <a:cubicBezTo>
                      <a:pt x="45" y="100"/>
                      <a:pt x="46" y="102"/>
                      <a:pt x="47" y="104"/>
                    </a:cubicBezTo>
                    <a:cubicBezTo>
                      <a:pt x="47" y="105"/>
                      <a:pt x="48" y="105"/>
                      <a:pt x="48" y="106"/>
                    </a:cubicBezTo>
                    <a:cubicBezTo>
                      <a:pt x="48" y="106"/>
                      <a:pt x="47" y="107"/>
                      <a:pt x="47" y="107"/>
                    </a:cubicBezTo>
                    <a:cubicBezTo>
                      <a:pt x="46" y="109"/>
                      <a:pt x="47" y="110"/>
                      <a:pt x="47" y="112"/>
                    </a:cubicBezTo>
                    <a:cubicBezTo>
                      <a:pt x="47" y="115"/>
                      <a:pt x="47" y="118"/>
                      <a:pt x="49" y="120"/>
                    </a:cubicBezTo>
                    <a:cubicBezTo>
                      <a:pt x="49" y="121"/>
                      <a:pt x="50" y="122"/>
                      <a:pt x="51" y="123"/>
                    </a:cubicBezTo>
                    <a:cubicBezTo>
                      <a:pt x="52" y="125"/>
                      <a:pt x="53" y="127"/>
                      <a:pt x="56" y="129"/>
                    </a:cubicBezTo>
                    <a:cubicBezTo>
                      <a:pt x="56" y="128"/>
                      <a:pt x="55" y="128"/>
                      <a:pt x="55" y="128"/>
                    </a:cubicBezTo>
                    <a:cubicBezTo>
                      <a:pt x="56" y="129"/>
                      <a:pt x="57" y="128"/>
                      <a:pt x="57" y="129"/>
                    </a:cubicBezTo>
                    <a:cubicBezTo>
                      <a:pt x="58" y="129"/>
                      <a:pt x="59" y="130"/>
                      <a:pt x="60" y="131"/>
                    </a:cubicBezTo>
                    <a:cubicBezTo>
                      <a:pt x="61" y="131"/>
                      <a:pt x="61" y="132"/>
                      <a:pt x="62" y="132"/>
                    </a:cubicBezTo>
                    <a:cubicBezTo>
                      <a:pt x="64" y="136"/>
                      <a:pt x="66" y="139"/>
                      <a:pt x="68" y="143"/>
                    </a:cubicBezTo>
                    <a:cubicBezTo>
                      <a:pt x="69" y="145"/>
                      <a:pt x="71" y="148"/>
                      <a:pt x="73" y="151"/>
                    </a:cubicBezTo>
                    <a:cubicBezTo>
                      <a:pt x="74" y="153"/>
                      <a:pt x="77" y="155"/>
                      <a:pt x="79" y="157"/>
                    </a:cubicBezTo>
                    <a:cubicBezTo>
                      <a:pt x="81" y="159"/>
                      <a:pt x="80" y="160"/>
                      <a:pt x="81" y="163"/>
                    </a:cubicBezTo>
                    <a:cubicBezTo>
                      <a:pt x="81" y="163"/>
                      <a:pt x="81" y="163"/>
                      <a:pt x="81" y="163"/>
                    </a:cubicBezTo>
                    <a:cubicBezTo>
                      <a:pt x="83" y="163"/>
                      <a:pt x="84" y="166"/>
                      <a:pt x="85" y="168"/>
                    </a:cubicBezTo>
                    <a:cubicBezTo>
                      <a:pt x="85" y="168"/>
                      <a:pt x="86" y="167"/>
                      <a:pt x="87"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2" name="Freeform 3184">
                <a:extLst>
                  <a:ext uri="{FF2B5EF4-FFF2-40B4-BE49-F238E27FC236}">
                    <a16:creationId xmlns:a16="http://schemas.microsoft.com/office/drawing/2014/main" id="{04720D2F-F145-433E-8A38-C538B753194D}"/>
                  </a:ext>
                </a:extLst>
              </p:cNvPr>
              <p:cNvSpPr>
                <a:spLocks/>
              </p:cNvSpPr>
              <p:nvPr/>
            </p:nvSpPr>
            <p:spPr bwMode="auto">
              <a:xfrm>
                <a:off x="3358" y="1286"/>
                <a:ext cx="59" cy="40"/>
              </a:xfrm>
              <a:custGeom>
                <a:avLst/>
                <a:gdLst>
                  <a:gd name="T0" fmla="*/ 24 w 25"/>
                  <a:gd name="T1" fmla="*/ 9 h 17"/>
                  <a:gd name="T2" fmla="*/ 23 w 25"/>
                  <a:gd name="T3" fmla="*/ 8 h 17"/>
                  <a:gd name="T4" fmla="*/ 21 w 25"/>
                  <a:gd name="T5" fmla="*/ 9 h 17"/>
                  <a:gd name="T6" fmla="*/ 23 w 25"/>
                  <a:gd name="T7" fmla="*/ 6 h 17"/>
                  <a:gd name="T8" fmla="*/ 20 w 25"/>
                  <a:gd name="T9" fmla="*/ 2 h 17"/>
                  <a:gd name="T10" fmla="*/ 14 w 25"/>
                  <a:gd name="T11" fmla="*/ 0 h 17"/>
                  <a:gd name="T12" fmla="*/ 9 w 25"/>
                  <a:gd name="T13" fmla="*/ 2 h 17"/>
                  <a:gd name="T14" fmla="*/ 7 w 25"/>
                  <a:gd name="T15" fmla="*/ 3 h 17"/>
                  <a:gd name="T16" fmla="*/ 8 w 25"/>
                  <a:gd name="T17" fmla="*/ 3 h 17"/>
                  <a:gd name="T18" fmla="*/ 8 w 25"/>
                  <a:gd name="T19" fmla="*/ 3 h 17"/>
                  <a:gd name="T20" fmla="*/ 7 w 25"/>
                  <a:gd name="T21" fmla="*/ 4 h 17"/>
                  <a:gd name="T22" fmla="*/ 7 w 25"/>
                  <a:gd name="T23" fmla="*/ 4 h 17"/>
                  <a:gd name="T24" fmla="*/ 7 w 25"/>
                  <a:gd name="T25" fmla="*/ 4 h 17"/>
                  <a:gd name="T26" fmla="*/ 5 w 25"/>
                  <a:gd name="T27" fmla="*/ 7 h 17"/>
                  <a:gd name="T28" fmla="*/ 3 w 25"/>
                  <a:gd name="T29" fmla="*/ 9 h 17"/>
                  <a:gd name="T30" fmla="*/ 5 w 25"/>
                  <a:gd name="T31" fmla="*/ 9 h 17"/>
                  <a:gd name="T32" fmla="*/ 0 w 25"/>
                  <a:gd name="T33" fmla="*/ 12 h 17"/>
                  <a:gd name="T34" fmla="*/ 1 w 25"/>
                  <a:gd name="T35" fmla="*/ 13 h 17"/>
                  <a:gd name="T36" fmla="*/ 5 w 25"/>
                  <a:gd name="T37" fmla="*/ 14 h 17"/>
                  <a:gd name="T38" fmla="*/ 6 w 25"/>
                  <a:gd name="T39" fmla="*/ 13 h 17"/>
                  <a:gd name="T40" fmla="*/ 8 w 25"/>
                  <a:gd name="T41" fmla="*/ 12 h 17"/>
                  <a:gd name="T42" fmla="*/ 9 w 25"/>
                  <a:gd name="T43" fmla="*/ 12 h 17"/>
                  <a:gd name="T44" fmla="*/ 10 w 25"/>
                  <a:gd name="T45" fmla="*/ 12 h 17"/>
                  <a:gd name="T46" fmla="*/ 14 w 25"/>
                  <a:gd name="T47" fmla="*/ 15 h 17"/>
                  <a:gd name="T48" fmla="*/ 14 w 25"/>
                  <a:gd name="T49" fmla="*/ 15 h 17"/>
                  <a:gd name="T50" fmla="*/ 14 w 25"/>
                  <a:gd name="T51" fmla="*/ 16 h 17"/>
                  <a:gd name="T52" fmla="*/ 15 w 25"/>
                  <a:gd name="T53" fmla="*/ 15 h 17"/>
                  <a:gd name="T54" fmla="*/ 17 w 25"/>
                  <a:gd name="T55" fmla="*/ 15 h 17"/>
                  <a:gd name="T56" fmla="*/ 18 w 25"/>
                  <a:gd name="T57" fmla="*/ 15 h 17"/>
                  <a:gd name="T58" fmla="*/ 17 w 25"/>
                  <a:gd name="T59" fmla="*/ 17 h 17"/>
                  <a:gd name="T60" fmla="*/ 19 w 25"/>
                  <a:gd name="T61" fmla="*/ 17 h 17"/>
                  <a:gd name="T62" fmla="*/ 22 w 25"/>
                  <a:gd name="T63" fmla="*/ 14 h 17"/>
                  <a:gd name="T64" fmla="*/ 23 w 25"/>
                  <a:gd name="T65" fmla="*/ 14 h 17"/>
                  <a:gd name="T66" fmla="*/ 23 w 25"/>
                  <a:gd name="T67" fmla="*/ 13 h 17"/>
                  <a:gd name="T68" fmla="*/ 23 w 25"/>
                  <a:gd name="T69" fmla="*/ 11 h 17"/>
                  <a:gd name="T70" fmla="*/ 25 w 25"/>
                  <a:gd name="T71" fmla="*/ 13 h 17"/>
                  <a:gd name="T72" fmla="*/ 24 w 25"/>
                  <a:gd name="T73"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 h="17">
                    <a:moveTo>
                      <a:pt x="24" y="9"/>
                    </a:moveTo>
                    <a:cubicBezTo>
                      <a:pt x="24" y="8"/>
                      <a:pt x="24" y="8"/>
                      <a:pt x="23" y="8"/>
                    </a:cubicBezTo>
                    <a:cubicBezTo>
                      <a:pt x="23" y="8"/>
                      <a:pt x="21" y="9"/>
                      <a:pt x="21" y="9"/>
                    </a:cubicBezTo>
                    <a:cubicBezTo>
                      <a:pt x="19" y="8"/>
                      <a:pt x="24" y="7"/>
                      <a:pt x="23" y="6"/>
                    </a:cubicBezTo>
                    <a:cubicBezTo>
                      <a:pt x="22" y="5"/>
                      <a:pt x="20" y="4"/>
                      <a:pt x="20" y="2"/>
                    </a:cubicBezTo>
                    <a:cubicBezTo>
                      <a:pt x="19" y="0"/>
                      <a:pt x="17" y="0"/>
                      <a:pt x="14" y="0"/>
                    </a:cubicBezTo>
                    <a:cubicBezTo>
                      <a:pt x="12" y="1"/>
                      <a:pt x="10" y="1"/>
                      <a:pt x="9" y="2"/>
                    </a:cubicBezTo>
                    <a:cubicBezTo>
                      <a:pt x="8" y="3"/>
                      <a:pt x="8" y="3"/>
                      <a:pt x="7" y="3"/>
                    </a:cubicBezTo>
                    <a:cubicBezTo>
                      <a:pt x="8" y="3"/>
                      <a:pt x="8" y="3"/>
                      <a:pt x="8" y="3"/>
                    </a:cubicBezTo>
                    <a:cubicBezTo>
                      <a:pt x="8" y="3"/>
                      <a:pt x="8" y="3"/>
                      <a:pt x="8" y="3"/>
                    </a:cubicBezTo>
                    <a:cubicBezTo>
                      <a:pt x="8" y="4"/>
                      <a:pt x="7" y="4"/>
                      <a:pt x="7" y="4"/>
                    </a:cubicBezTo>
                    <a:cubicBezTo>
                      <a:pt x="7" y="4"/>
                      <a:pt x="7" y="4"/>
                      <a:pt x="7" y="4"/>
                    </a:cubicBezTo>
                    <a:cubicBezTo>
                      <a:pt x="7" y="4"/>
                      <a:pt x="7" y="4"/>
                      <a:pt x="7" y="4"/>
                    </a:cubicBezTo>
                    <a:cubicBezTo>
                      <a:pt x="6" y="5"/>
                      <a:pt x="6" y="6"/>
                      <a:pt x="5" y="7"/>
                    </a:cubicBezTo>
                    <a:cubicBezTo>
                      <a:pt x="5" y="8"/>
                      <a:pt x="4" y="8"/>
                      <a:pt x="3" y="9"/>
                    </a:cubicBezTo>
                    <a:cubicBezTo>
                      <a:pt x="5" y="9"/>
                      <a:pt x="5" y="9"/>
                      <a:pt x="5" y="9"/>
                    </a:cubicBezTo>
                    <a:cubicBezTo>
                      <a:pt x="0" y="12"/>
                      <a:pt x="0" y="12"/>
                      <a:pt x="0" y="12"/>
                    </a:cubicBezTo>
                    <a:cubicBezTo>
                      <a:pt x="0" y="12"/>
                      <a:pt x="1" y="12"/>
                      <a:pt x="1" y="13"/>
                    </a:cubicBezTo>
                    <a:cubicBezTo>
                      <a:pt x="5" y="14"/>
                      <a:pt x="5" y="14"/>
                      <a:pt x="5" y="14"/>
                    </a:cubicBezTo>
                    <a:cubicBezTo>
                      <a:pt x="6" y="14"/>
                      <a:pt x="6" y="13"/>
                      <a:pt x="6" y="13"/>
                    </a:cubicBezTo>
                    <a:cubicBezTo>
                      <a:pt x="7" y="12"/>
                      <a:pt x="8" y="12"/>
                      <a:pt x="8" y="12"/>
                    </a:cubicBezTo>
                    <a:cubicBezTo>
                      <a:pt x="9" y="12"/>
                      <a:pt x="9" y="12"/>
                      <a:pt x="9" y="12"/>
                    </a:cubicBezTo>
                    <a:cubicBezTo>
                      <a:pt x="9" y="12"/>
                      <a:pt x="10" y="12"/>
                      <a:pt x="10" y="12"/>
                    </a:cubicBezTo>
                    <a:cubicBezTo>
                      <a:pt x="12" y="12"/>
                      <a:pt x="13" y="13"/>
                      <a:pt x="14" y="15"/>
                    </a:cubicBezTo>
                    <a:cubicBezTo>
                      <a:pt x="14" y="15"/>
                      <a:pt x="14" y="15"/>
                      <a:pt x="14" y="15"/>
                    </a:cubicBezTo>
                    <a:cubicBezTo>
                      <a:pt x="14" y="15"/>
                      <a:pt x="14" y="15"/>
                      <a:pt x="14" y="16"/>
                    </a:cubicBezTo>
                    <a:cubicBezTo>
                      <a:pt x="15" y="15"/>
                      <a:pt x="15" y="15"/>
                      <a:pt x="15" y="15"/>
                    </a:cubicBezTo>
                    <a:cubicBezTo>
                      <a:pt x="17" y="15"/>
                      <a:pt x="17" y="15"/>
                      <a:pt x="17" y="15"/>
                    </a:cubicBezTo>
                    <a:cubicBezTo>
                      <a:pt x="18" y="15"/>
                      <a:pt x="18" y="15"/>
                      <a:pt x="18" y="15"/>
                    </a:cubicBezTo>
                    <a:cubicBezTo>
                      <a:pt x="17" y="17"/>
                      <a:pt x="17" y="17"/>
                      <a:pt x="17" y="17"/>
                    </a:cubicBezTo>
                    <a:cubicBezTo>
                      <a:pt x="18" y="17"/>
                      <a:pt x="19" y="17"/>
                      <a:pt x="19" y="17"/>
                    </a:cubicBezTo>
                    <a:cubicBezTo>
                      <a:pt x="20" y="16"/>
                      <a:pt x="21" y="15"/>
                      <a:pt x="22" y="14"/>
                    </a:cubicBezTo>
                    <a:cubicBezTo>
                      <a:pt x="23" y="14"/>
                      <a:pt x="23" y="14"/>
                      <a:pt x="23" y="14"/>
                    </a:cubicBezTo>
                    <a:cubicBezTo>
                      <a:pt x="24" y="13"/>
                      <a:pt x="24" y="13"/>
                      <a:pt x="23" y="13"/>
                    </a:cubicBezTo>
                    <a:cubicBezTo>
                      <a:pt x="23" y="12"/>
                      <a:pt x="23" y="12"/>
                      <a:pt x="23" y="11"/>
                    </a:cubicBezTo>
                    <a:cubicBezTo>
                      <a:pt x="24" y="12"/>
                      <a:pt x="24" y="13"/>
                      <a:pt x="25" y="13"/>
                    </a:cubicBezTo>
                    <a:cubicBezTo>
                      <a:pt x="25" y="12"/>
                      <a:pt x="24" y="10"/>
                      <a:pt x="2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3" name="Freeform 3185">
                <a:extLst>
                  <a:ext uri="{FF2B5EF4-FFF2-40B4-BE49-F238E27FC236}">
                    <a16:creationId xmlns:a16="http://schemas.microsoft.com/office/drawing/2014/main" id="{45A63837-1392-470A-801F-75CA9D40E132}"/>
                  </a:ext>
                </a:extLst>
              </p:cNvPr>
              <p:cNvSpPr>
                <a:spLocks/>
              </p:cNvSpPr>
              <p:nvPr/>
            </p:nvSpPr>
            <p:spPr bwMode="auto">
              <a:xfrm>
                <a:off x="3336" y="1281"/>
                <a:ext cx="45" cy="28"/>
              </a:xfrm>
              <a:custGeom>
                <a:avLst/>
                <a:gdLst>
                  <a:gd name="T0" fmla="*/ 7 w 19"/>
                  <a:gd name="T1" fmla="*/ 11 h 12"/>
                  <a:gd name="T2" fmla="*/ 6 w 19"/>
                  <a:gd name="T3" fmla="*/ 12 h 12"/>
                  <a:gd name="T4" fmla="*/ 8 w 19"/>
                  <a:gd name="T5" fmla="*/ 11 h 12"/>
                  <a:gd name="T6" fmla="*/ 8 w 19"/>
                  <a:gd name="T7" fmla="*/ 10 h 12"/>
                  <a:gd name="T8" fmla="*/ 7 w 19"/>
                  <a:gd name="T9" fmla="*/ 9 h 12"/>
                  <a:gd name="T10" fmla="*/ 9 w 19"/>
                  <a:gd name="T11" fmla="*/ 9 h 12"/>
                  <a:gd name="T12" fmla="*/ 10 w 19"/>
                  <a:gd name="T13" fmla="*/ 8 h 12"/>
                  <a:gd name="T14" fmla="*/ 11 w 19"/>
                  <a:gd name="T15" fmla="*/ 8 h 12"/>
                  <a:gd name="T16" fmla="*/ 12 w 19"/>
                  <a:gd name="T17" fmla="*/ 8 h 12"/>
                  <a:gd name="T18" fmla="*/ 14 w 19"/>
                  <a:gd name="T19" fmla="*/ 5 h 12"/>
                  <a:gd name="T20" fmla="*/ 14 w 19"/>
                  <a:gd name="T21" fmla="*/ 4 h 12"/>
                  <a:gd name="T22" fmla="*/ 15 w 19"/>
                  <a:gd name="T23" fmla="*/ 4 h 12"/>
                  <a:gd name="T24" fmla="*/ 15 w 19"/>
                  <a:gd name="T25" fmla="*/ 3 h 12"/>
                  <a:gd name="T26" fmla="*/ 16 w 19"/>
                  <a:gd name="T27" fmla="*/ 4 h 12"/>
                  <a:gd name="T28" fmla="*/ 17 w 19"/>
                  <a:gd name="T29" fmla="*/ 3 h 12"/>
                  <a:gd name="T30" fmla="*/ 19 w 19"/>
                  <a:gd name="T31" fmla="*/ 3 h 12"/>
                  <a:gd name="T32" fmla="*/ 19 w 19"/>
                  <a:gd name="T33" fmla="*/ 2 h 12"/>
                  <a:gd name="T34" fmla="*/ 15 w 19"/>
                  <a:gd name="T35" fmla="*/ 0 h 12"/>
                  <a:gd name="T36" fmla="*/ 16 w 19"/>
                  <a:gd name="T37" fmla="*/ 2 h 12"/>
                  <a:gd name="T38" fmla="*/ 13 w 19"/>
                  <a:gd name="T39" fmla="*/ 1 h 12"/>
                  <a:gd name="T40" fmla="*/ 14 w 19"/>
                  <a:gd name="T41" fmla="*/ 4 h 12"/>
                  <a:gd name="T42" fmla="*/ 12 w 19"/>
                  <a:gd name="T43" fmla="*/ 5 h 12"/>
                  <a:gd name="T44" fmla="*/ 13 w 19"/>
                  <a:gd name="T45" fmla="*/ 3 h 12"/>
                  <a:gd name="T46" fmla="*/ 12 w 19"/>
                  <a:gd name="T47" fmla="*/ 2 h 12"/>
                  <a:gd name="T48" fmla="*/ 11 w 19"/>
                  <a:gd name="T49" fmla="*/ 2 h 12"/>
                  <a:gd name="T50" fmla="*/ 11 w 19"/>
                  <a:gd name="T51" fmla="*/ 4 h 12"/>
                  <a:gd name="T52" fmla="*/ 10 w 19"/>
                  <a:gd name="T53" fmla="*/ 2 h 12"/>
                  <a:gd name="T54" fmla="*/ 8 w 19"/>
                  <a:gd name="T55" fmla="*/ 3 h 12"/>
                  <a:gd name="T56" fmla="*/ 8 w 19"/>
                  <a:gd name="T57" fmla="*/ 2 h 12"/>
                  <a:gd name="T58" fmla="*/ 7 w 19"/>
                  <a:gd name="T59" fmla="*/ 4 h 12"/>
                  <a:gd name="T60" fmla="*/ 7 w 19"/>
                  <a:gd name="T61" fmla="*/ 3 h 12"/>
                  <a:gd name="T62" fmla="*/ 5 w 19"/>
                  <a:gd name="T63" fmla="*/ 4 h 12"/>
                  <a:gd name="T64" fmla="*/ 3 w 19"/>
                  <a:gd name="T65" fmla="*/ 8 h 12"/>
                  <a:gd name="T66" fmla="*/ 0 w 19"/>
                  <a:gd name="T67" fmla="*/ 10 h 12"/>
                  <a:gd name="T68" fmla="*/ 7 w 19"/>
                  <a:gd name="T6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2">
                    <a:moveTo>
                      <a:pt x="7" y="11"/>
                    </a:moveTo>
                    <a:cubicBezTo>
                      <a:pt x="7" y="11"/>
                      <a:pt x="6" y="12"/>
                      <a:pt x="6" y="12"/>
                    </a:cubicBezTo>
                    <a:cubicBezTo>
                      <a:pt x="8" y="11"/>
                      <a:pt x="8" y="11"/>
                      <a:pt x="8" y="11"/>
                    </a:cubicBezTo>
                    <a:cubicBezTo>
                      <a:pt x="8" y="11"/>
                      <a:pt x="8" y="11"/>
                      <a:pt x="8" y="10"/>
                    </a:cubicBezTo>
                    <a:cubicBezTo>
                      <a:pt x="7" y="9"/>
                      <a:pt x="7" y="9"/>
                      <a:pt x="7" y="9"/>
                    </a:cubicBezTo>
                    <a:cubicBezTo>
                      <a:pt x="9" y="9"/>
                      <a:pt x="9" y="9"/>
                      <a:pt x="9" y="9"/>
                    </a:cubicBezTo>
                    <a:cubicBezTo>
                      <a:pt x="9" y="8"/>
                      <a:pt x="10" y="8"/>
                      <a:pt x="10" y="8"/>
                    </a:cubicBezTo>
                    <a:cubicBezTo>
                      <a:pt x="11" y="8"/>
                      <a:pt x="11" y="8"/>
                      <a:pt x="11" y="8"/>
                    </a:cubicBezTo>
                    <a:cubicBezTo>
                      <a:pt x="12" y="8"/>
                      <a:pt x="12" y="8"/>
                      <a:pt x="12" y="8"/>
                    </a:cubicBezTo>
                    <a:cubicBezTo>
                      <a:pt x="13" y="7"/>
                      <a:pt x="13" y="6"/>
                      <a:pt x="14" y="5"/>
                    </a:cubicBezTo>
                    <a:cubicBezTo>
                      <a:pt x="14" y="5"/>
                      <a:pt x="14" y="4"/>
                      <a:pt x="14" y="4"/>
                    </a:cubicBezTo>
                    <a:cubicBezTo>
                      <a:pt x="14" y="4"/>
                      <a:pt x="15" y="4"/>
                      <a:pt x="15" y="4"/>
                    </a:cubicBezTo>
                    <a:cubicBezTo>
                      <a:pt x="15" y="3"/>
                      <a:pt x="15" y="3"/>
                      <a:pt x="15" y="3"/>
                    </a:cubicBezTo>
                    <a:cubicBezTo>
                      <a:pt x="16" y="4"/>
                      <a:pt x="16" y="4"/>
                      <a:pt x="16" y="4"/>
                    </a:cubicBezTo>
                    <a:cubicBezTo>
                      <a:pt x="16" y="4"/>
                      <a:pt x="17" y="4"/>
                      <a:pt x="17" y="3"/>
                    </a:cubicBezTo>
                    <a:cubicBezTo>
                      <a:pt x="18" y="3"/>
                      <a:pt x="18" y="3"/>
                      <a:pt x="19" y="3"/>
                    </a:cubicBezTo>
                    <a:cubicBezTo>
                      <a:pt x="19" y="2"/>
                      <a:pt x="19" y="3"/>
                      <a:pt x="19" y="2"/>
                    </a:cubicBezTo>
                    <a:cubicBezTo>
                      <a:pt x="18" y="1"/>
                      <a:pt x="16" y="1"/>
                      <a:pt x="15" y="0"/>
                    </a:cubicBezTo>
                    <a:cubicBezTo>
                      <a:pt x="15" y="1"/>
                      <a:pt x="15" y="1"/>
                      <a:pt x="16" y="2"/>
                    </a:cubicBezTo>
                    <a:cubicBezTo>
                      <a:pt x="15" y="2"/>
                      <a:pt x="14" y="2"/>
                      <a:pt x="13" y="1"/>
                    </a:cubicBezTo>
                    <a:cubicBezTo>
                      <a:pt x="13" y="2"/>
                      <a:pt x="14" y="4"/>
                      <a:pt x="14" y="4"/>
                    </a:cubicBezTo>
                    <a:cubicBezTo>
                      <a:pt x="14" y="5"/>
                      <a:pt x="12" y="5"/>
                      <a:pt x="12" y="5"/>
                    </a:cubicBezTo>
                    <a:cubicBezTo>
                      <a:pt x="12" y="4"/>
                      <a:pt x="13" y="4"/>
                      <a:pt x="13" y="3"/>
                    </a:cubicBezTo>
                    <a:cubicBezTo>
                      <a:pt x="13" y="3"/>
                      <a:pt x="12" y="2"/>
                      <a:pt x="12" y="2"/>
                    </a:cubicBezTo>
                    <a:cubicBezTo>
                      <a:pt x="12" y="2"/>
                      <a:pt x="12" y="2"/>
                      <a:pt x="11" y="2"/>
                    </a:cubicBezTo>
                    <a:cubicBezTo>
                      <a:pt x="11" y="3"/>
                      <a:pt x="12" y="3"/>
                      <a:pt x="11" y="4"/>
                    </a:cubicBezTo>
                    <a:cubicBezTo>
                      <a:pt x="11" y="3"/>
                      <a:pt x="10" y="3"/>
                      <a:pt x="10" y="2"/>
                    </a:cubicBezTo>
                    <a:cubicBezTo>
                      <a:pt x="9" y="2"/>
                      <a:pt x="9" y="3"/>
                      <a:pt x="8" y="3"/>
                    </a:cubicBezTo>
                    <a:cubicBezTo>
                      <a:pt x="8" y="3"/>
                      <a:pt x="8" y="3"/>
                      <a:pt x="8" y="2"/>
                    </a:cubicBezTo>
                    <a:cubicBezTo>
                      <a:pt x="8" y="3"/>
                      <a:pt x="7" y="3"/>
                      <a:pt x="7" y="4"/>
                    </a:cubicBezTo>
                    <a:cubicBezTo>
                      <a:pt x="7" y="4"/>
                      <a:pt x="7" y="3"/>
                      <a:pt x="7" y="3"/>
                    </a:cubicBezTo>
                    <a:cubicBezTo>
                      <a:pt x="6" y="4"/>
                      <a:pt x="5" y="3"/>
                      <a:pt x="5" y="4"/>
                    </a:cubicBezTo>
                    <a:cubicBezTo>
                      <a:pt x="4" y="6"/>
                      <a:pt x="3" y="6"/>
                      <a:pt x="3" y="8"/>
                    </a:cubicBezTo>
                    <a:cubicBezTo>
                      <a:pt x="3" y="9"/>
                      <a:pt x="1" y="9"/>
                      <a:pt x="0" y="10"/>
                    </a:cubicBezTo>
                    <a:cubicBezTo>
                      <a:pt x="2" y="10"/>
                      <a:pt x="5" y="11"/>
                      <a:pt x="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4" name="Freeform 3186">
                <a:extLst>
                  <a:ext uri="{FF2B5EF4-FFF2-40B4-BE49-F238E27FC236}">
                    <a16:creationId xmlns:a16="http://schemas.microsoft.com/office/drawing/2014/main" id="{C4AA5A9B-F19A-41A2-889C-4B71C4304EA5}"/>
                  </a:ext>
                </a:extLst>
              </p:cNvPr>
              <p:cNvSpPr>
                <a:spLocks/>
              </p:cNvSpPr>
              <p:nvPr/>
            </p:nvSpPr>
            <p:spPr bwMode="auto">
              <a:xfrm>
                <a:off x="3296" y="1312"/>
                <a:ext cx="109" cy="99"/>
              </a:xfrm>
              <a:custGeom>
                <a:avLst/>
                <a:gdLst>
                  <a:gd name="T0" fmla="*/ 45 w 46"/>
                  <a:gd name="T1" fmla="*/ 18 h 42"/>
                  <a:gd name="T2" fmla="*/ 45 w 46"/>
                  <a:gd name="T3" fmla="*/ 13 h 42"/>
                  <a:gd name="T4" fmla="*/ 42 w 46"/>
                  <a:gd name="T5" fmla="*/ 8 h 42"/>
                  <a:gd name="T6" fmla="*/ 43 w 46"/>
                  <a:gd name="T7" fmla="*/ 6 h 42"/>
                  <a:gd name="T8" fmla="*/ 42 w 46"/>
                  <a:gd name="T9" fmla="*/ 7 h 42"/>
                  <a:gd name="T10" fmla="*/ 40 w 46"/>
                  <a:gd name="T11" fmla="*/ 7 h 42"/>
                  <a:gd name="T12" fmla="*/ 38 w 46"/>
                  <a:gd name="T13" fmla="*/ 6 h 42"/>
                  <a:gd name="T14" fmla="*/ 38 w 46"/>
                  <a:gd name="T15" fmla="*/ 5 h 42"/>
                  <a:gd name="T16" fmla="*/ 35 w 46"/>
                  <a:gd name="T17" fmla="*/ 3 h 42"/>
                  <a:gd name="T18" fmla="*/ 34 w 46"/>
                  <a:gd name="T19" fmla="*/ 3 h 42"/>
                  <a:gd name="T20" fmla="*/ 34 w 46"/>
                  <a:gd name="T21" fmla="*/ 5 h 42"/>
                  <a:gd name="T22" fmla="*/ 33 w 46"/>
                  <a:gd name="T23" fmla="*/ 7 h 42"/>
                  <a:gd name="T24" fmla="*/ 23 w 46"/>
                  <a:gd name="T25" fmla="*/ 2 h 42"/>
                  <a:gd name="T26" fmla="*/ 21 w 46"/>
                  <a:gd name="T27" fmla="*/ 0 h 42"/>
                  <a:gd name="T28" fmla="*/ 20 w 46"/>
                  <a:gd name="T29" fmla="*/ 3 h 42"/>
                  <a:gd name="T30" fmla="*/ 20 w 46"/>
                  <a:gd name="T31" fmla="*/ 4 h 42"/>
                  <a:gd name="T32" fmla="*/ 14 w 46"/>
                  <a:gd name="T33" fmla="*/ 4 h 42"/>
                  <a:gd name="T34" fmla="*/ 8 w 46"/>
                  <a:gd name="T35" fmla="*/ 2 h 42"/>
                  <a:gd name="T36" fmla="*/ 5 w 46"/>
                  <a:gd name="T37" fmla="*/ 3 h 42"/>
                  <a:gd name="T38" fmla="*/ 6 w 46"/>
                  <a:gd name="T39" fmla="*/ 5 h 42"/>
                  <a:gd name="T40" fmla="*/ 9 w 46"/>
                  <a:gd name="T41" fmla="*/ 8 h 42"/>
                  <a:gd name="T42" fmla="*/ 8 w 46"/>
                  <a:gd name="T43" fmla="*/ 12 h 42"/>
                  <a:gd name="T44" fmla="*/ 3 w 46"/>
                  <a:gd name="T45" fmla="*/ 13 h 42"/>
                  <a:gd name="T46" fmla="*/ 3 w 46"/>
                  <a:gd name="T47" fmla="*/ 15 h 42"/>
                  <a:gd name="T48" fmla="*/ 9 w 46"/>
                  <a:gd name="T49" fmla="*/ 17 h 42"/>
                  <a:gd name="T50" fmla="*/ 14 w 46"/>
                  <a:gd name="T51" fmla="*/ 18 h 42"/>
                  <a:gd name="T52" fmla="*/ 13 w 46"/>
                  <a:gd name="T53" fmla="*/ 19 h 42"/>
                  <a:gd name="T54" fmla="*/ 12 w 46"/>
                  <a:gd name="T55" fmla="*/ 19 h 42"/>
                  <a:gd name="T56" fmla="*/ 10 w 46"/>
                  <a:gd name="T57" fmla="*/ 24 h 42"/>
                  <a:gd name="T58" fmla="*/ 8 w 46"/>
                  <a:gd name="T59" fmla="*/ 25 h 42"/>
                  <a:gd name="T60" fmla="*/ 14 w 46"/>
                  <a:gd name="T61" fmla="*/ 24 h 42"/>
                  <a:gd name="T62" fmla="*/ 10 w 46"/>
                  <a:gd name="T63" fmla="*/ 27 h 42"/>
                  <a:gd name="T64" fmla="*/ 7 w 46"/>
                  <a:gd name="T65" fmla="*/ 28 h 42"/>
                  <a:gd name="T66" fmla="*/ 7 w 46"/>
                  <a:gd name="T67" fmla="*/ 31 h 42"/>
                  <a:gd name="T68" fmla="*/ 3 w 46"/>
                  <a:gd name="T69" fmla="*/ 31 h 42"/>
                  <a:gd name="T70" fmla="*/ 1 w 46"/>
                  <a:gd name="T71" fmla="*/ 32 h 42"/>
                  <a:gd name="T72" fmla="*/ 4 w 46"/>
                  <a:gd name="T73" fmla="*/ 33 h 42"/>
                  <a:gd name="T74" fmla="*/ 7 w 46"/>
                  <a:gd name="T75" fmla="*/ 32 h 42"/>
                  <a:gd name="T76" fmla="*/ 5 w 46"/>
                  <a:gd name="T77" fmla="*/ 33 h 42"/>
                  <a:gd name="T78" fmla="*/ 3 w 46"/>
                  <a:gd name="T79" fmla="*/ 34 h 42"/>
                  <a:gd name="T80" fmla="*/ 1 w 46"/>
                  <a:gd name="T81" fmla="*/ 36 h 42"/>
                  <a:gd name="T82" fmla="*/ 9 w 46"/>
                  <a:gd name="T83" fmla="*/ 36 h 42"/>
                  <a:gd name="T84" fmla="*/ 9 w 46"/>
                  <a:gd name="T85" fmla="*/ 39 h 42"/>
                  <a:gd name="T86" fmla="*/ 8 w 46"/>
                  <a:gd name="T87" fmla="*/ 40 h 42"/>
                  <a:gd name="T88" fmla="*/ 11 w 46"/>
                  <a:gd name="T89" fmla="*/ 41 h 42"/>
                  <a:gd name="T90" fmla="*/ 18 w 46"/>
                  <a:gd name="T91" fmla="*/ 40 h 42"/>
                  <a:gd name="T92" fmla="*/ 24 w 46"/>
                  <a:gd name="T93" fmla="*/ 37 h 42"/>
                  <a:gd name="T94" fmla="*/ 34 w 46"/>
                  <a:gd name="T95" fmla="*/ 33 h 42"/>
                  <a:gd name="T96" fmla="*/ 36 w 46"/>
                  <a:gd name="T97" fmla="*/ 32 h 42"/>
                  <a:gd name="T98" fmla="*/ 41 w 46"/>
                  <a:gd name="T99" fmla="*/ 29 h 42"/>
                  <a:gd name="T100" fmla="*/ 45 w 46"/>
                  <a:gd name="T101"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42">
                    <a:moveTo>
                      <a:pt x="45" y="21"/>
                    </a:moveTo>
                    <a:cubicBezTo>
                      <a:pt x="45" y="20"/>
                      <a:pt x="45" y="19"/>
                      <a:pt x="45" y="18"/>
                    </a:cubicBezTo>
                    <a:cubicBezTo>
                      <a:pt x="45" y="17"/>
                      <a:pt x="45" y="16"/>
                      <a:pt x="45" y="15"/>
                    </a:cubicBezTo>
                    <a:cubicBezTo>
                      <a:pt x="45" y="15"/>
                      <a:pt x="45" y="13"/>
                      <a:pt x="45" y="13"/>
                    </a:cubicBezTo>
                    <a:cubicBezTo>
                      <a:pt x="44" y="12"/>
                      <a:pt x="44" y="12"/>
                      <a:pt x="43" y="10"/>
                    </a:cubicBezTo>
                    <a:cubicBezTo>
                      <a:pt x="43" y="10"/>
                      <a:pt x="42" y="8"/>
                      <a:pt x="42" y="8"/>
                    </a:cubicBezTo>
                    <a:cubicBezTo>
                      <a:pt x="42" y="7"/>
                      <a:pt x="44" y="7"/>
                      <a:pt x="44" y="7"/>
                    </a:cubicBezTo>
                    <a:cubicBezTo>
                      <a:pt x="44" y="6"/>
                      <a:pt x="44" y="6"/>
                      <a:pt x="43" y="6"/>
                    </a:cubicBezTo>
                    <a:cubicBezTo>
                      <a:pt x="43" y="7"/>
                      <a:pt x="43" y="7"/>
                      <a:pt x="43" y="7"/>
                    </a:cubicBezTo>
                    <a:cubicBezTo>
                      <a:pt x="42" y="7"/>
                      <a:pt x="42" y="7"/>
                      <a:pt x="42" y="7"/>
                    </a:cubicBezTo>
                    <a:cubicBezTo>
                      <a:pt x="41" y="7"/>
                      <a:pt x="41" y="7"/>
                      <a:pt x="41" y="7"/>
                    </a:cubicBezTo>
                    <a:cubicBezTo>
                      <a:pt x="41" y="7"/>
                      <a:pt x="40" y="7"/>
                      <a:pt x="40" y="7"/>
                    </a:cubicBezTo>
                    <a:cubicBezTo>
                      <a:pt x="39" y="7"/>
                      <a:pt x="39" y="7"/>
                      <a:pt x="39" y="7"/>
                    </a:cubicBezTo>
                    <a:cubicBezTo>
                      <a:pt x="38" y="6"/>
                      <a:pt x="38" y="6"/>
                      <a:pt x="38" y="6"/>
                    </a:cubicBezTo>
                    <a:cubicBezTo>
                      <a:pt x="38" y="5"/>
                      <a:pt x="38" y="5"/>
                      <a:pt x="38" y="5"/>
                    </a:cubicBezTo>
                    <a:cubicBezTo>
                      <a:pt x="38" y="5"/>
                      <a:pt x="38" y="5"/>
                      <a:pt x="38" y="5"/>
                    </a:cubicBezTo>
                    <a:cubicBezTo>
                      <a:pt x="37" y="4"/>
                      <a:pt x="37" y="3"/>
                      <a:pt x="36" y="3"/>
                    </a:cubicBezTo>
                    <a:cubicBezTo>
                      <a:pt x="35" y="3"/>
                      <a:pt x="35" y="3"/>
                      <a:pt x="35" y="3"/>
                    </a:cubicBezTo>
                    <a:cubicBezTo>
                      <a:pt x="34" y="3"/>
                      <a:pt x="34" y="3"/>
                      <a:pt x="34" y="3"/>
                    </a:cubicBezTo>
                    <a:cubicBezTo>
                      <a:pt x="34" y="3"/>
                      <a:pt x="34" y="3"/>
                      <a:pt x="34" y="3"/>
                    </a:cubicBezTo>
                    <a:cubicBezTo>
                      <a:pt x="34" y="3"/>
                      <a:pt x="34" y="3"/>
                      <a:pt x="34" y="3"/>
                    </a:cubicBezTo>
                    <a:cubicBezTo>
                      <a:pt x="34" y="3"/>
                      <a:pt x="34" y="4"/>
                      <a:pt x="34" y="5"/>
                    </a:cubicBezTo>
                    <a:cubicBezTo>
                      <a:pt x="34" y="5"/>
                      <a:pt x="33" y="5"/>
                      <a:pt x="33" y="6"/>
                    </a:cubicBezTo>
                    <a:cubicBezTo>
                      <a:pt x="33" y="7"/>
                      <a:pt x="33" y="7"/>
                      <a:pt x="33" y="7"/>
                    </a:cubicBezTo>
                    <a:cubicBezTo>
                      <a:pt x="26" y="4"/>
                      <a:pt x="26" y="4"/>
                      <a:pt x="26" y="4"/>
                    </a:cubicBezTo>
                    <a:cubicBezTo>
                      <a:pt x="25" y="3"/>
                      <a:pt x="24" y="3"/>
                      <a:pt x="23" y="2"/>
                    </a:cubicBezTo>
                    <a:cubicBezTo>
                      <a:pt x="21" y="0"/>
                      <a:pt x="21" y="0"/>
                      <a:pt x="21" y="0"/>
                    </a:cubicBezTo>
                    <a:cubicBezTo>
                      <a:pt x="21" y="0"/>
                      <a:pt x="21" y="0"/>
                      <a:pt x="21" y="0"/>
                    </a:cubicBezTo>
                    <a:cubicBezTo>
                      <a:pt x="21" y="0"/>
                      <a:pt x="21" y="1"/>
                      <a:pt x="21" y="1"/>
                    </a:cubicBezTo>
                    <a:cubicBezTo>
                      <a:pt x="20" y="2"/>
                      <a:pt x="20" y="2"/>
                      <a:pt x="20" y="3"/>
                    </a:cubicBezTo>
                    <a:cubicBezTo>
                      <a:pt x="20" y="3"/>
                      <a:pt x="20" y="3"/>
                      <a:pt x="19" y="3"/>
                    </a:cubicBezTo>
                    <a:cubicBezTo>
                      <a:pt x="20" y="4"/>
                      <a:pt x="20" y="4"/>
                      <a:pt x="20" y="4"/>
                    </a:cubicBezTo>
                    <a:cubicBezTo>
                      <a:pt x="19" y="3"/>
                      <a:pt x="17" y="3"/>
                      <a:pt x="15" y="3"/>
                    </a:cubicBezTo>
                    <a:cubicBezTo>
                      <a:pt x="14" y="3"/>
                      <a:pt x="14" y="3"/>
                      <a:pt x="14" y="4"/>
                    </a:cubicBezTo>
                    <a:cubicBezTo>
                      <a:pt x="13" y="4"/>
                      <a:pt x="13" y="3"/>
                      <a:pt x="13" y="3"/>
                    </a:cubicBezTo>
                    <a:cubicBezTo>
                      <a:pt x="12" y="2"/>
                      <a:pt x="9" y="2"/>
                      <a:pt x="8" y="2"/>
                    </a:cubicBezTo>
                    <a:cubicBezTo>
                      <a:pt x="7" y="2"/>
                      <a:pt x="7" y="2"/>
                      <a:pt x="6" y="3"/>
                    </a:cubicBezTo>
                    <a:cubicBezTo>
                      <a:pt x="5" y="5"/>
                      <a:pt x="5" y="3"/>
                      <a:pt x="5" y="3"/>
                    </a:cubicBezTo>
                    <a:cubicBezTo>
                      <a:pt x="5" y="3"/>
                      <a:pt x="4" y="3"/>
                      <a:pt x="4" y="3"/>
                    </a:cubicBezTo>
                    <a:cubicBezTo>
                      <a:pt x="4" y="3"/>
                      <a:pt x="6" y="5"/>
                      <a:pt x="6" y="5"/>
                    </a:cubicBezTo>
                    <a:cubicBezTo>
                      <a:pt x="6" y="6"/>
                      <a:pt x="6" y="7"/>
                      <a:pt x="5" y="8"/>
                    </a:cubicBezTo>
                    <a:cubicBezTo>
                      <a:pt x="6" y="9"/>
                      <a:pt x="8" y="8"/>
                      <a:pt x="9" y="8"/>
                    </a:cubicBezTo>
                    <a:cubicBezTo>
                      <a:pt x="8" y="10"/>
                      <a:pt x="7" y="10"/>
                      <a:pt x="6" y="10"/>
                    </a:cubicBezTo>
                    <a:cubicBezTo>
                      <a:pt x="6" y="11"/>
                      <a:pt x="7" y="11"/>
                      <a:pt x="8" y="12"/>
                    </a:cubicBezTo>
                    <a:cubicBezTo>
                      <a:pt x="7" y="12"/>
                      <a:pt x="3" y="12"/>
                      <a:pt x="5" y="13"/>
                    </a:cubicBezTo>
                    <a:cubicBezTo>
                      <a:pt x="4" y="12"/>
                      <a:pt x="4" y="13"/>
                      <a:pt x="3" y="13"/>
                    </a:cubicBezTo>
                    <a:cubicBezTo>
                      <a:pt x="3" y="14"/>
                      <a:pt x="4" y="14"/>
                      <a:pt x="4" y="14"/>
                    </a:cubicBezTo>
                    <a:cubicBezTo>
                      <a:pt x="4" y="14"/>
                      <a:pt x="3" y="14"/>
                      <a:pt x="3" y="15"/>
                    </a:cubicBezTo>
                    <a:cubicBezTo>
                      <a:pt x="4" y="15"/>
                      <a:pt x="9" y="15"/>
                      <a:pt x="9" y="15"/>
                    </a:cubicBezTo>
                    <a:cubicBezTo>
                      <a:pt x="9" y="16"/>
                      <a:pt x="9" y="17"/>
                      <a:pt x="9" y="17"/>
                    </a:cubicBezTo>
                    <a:cubicBezTo>
                      <a:pt x="11" y="17"/>
                      <a:pt x="13" y="17"/>
                      <a:pt x="15" y="17"/>
                    </a:cubicBezTo>
                    <a:cubicBezTo>
                      <a:pt x="15" y="18"/>
                      <a:pt x="15" y="19"/>
                      <a:pt x="14" y="18"/>
                    </a:cubicBezTo>
                    <a:cubicBezTo>
                      <a:pt x="14" y="18"/>
                      <a:pt x="14" y="19"/>
                      <a:pt x="14" y="19"/>
                    </a:cubicBezTo>
                    <a:cubicBezTo>
                      <a:pt x="14" y="19"/>
                      <a:pt x="13" y="19"/>
                      <a:pt x="13" y="19"/>
                    </a:cubicBezTo>
                    <a:cubicBezTo>
                      <a:pt x="13" y="19"/>
                      <a:pt x="12" y="18"/>
                      <a:pt x="12" y="19"/>
                    </a:cubicBezTo>
                    <a:cubicBezTo>
                      <a:pt x="12" y="19"/>
                      <a:pt x="12" y="19"/>
                      <a:pt x="12" y="19"/>
                    </a:cubicBezTo>
                    <a:cubicBezTo>
                      <a:pt x="11" y="20"/>
                      <a:pt x="11" y="20"/>
                      <a:pt x="10" y="21"/>
                    </a:cubicBezTo>
                    <a:cubicBezTo>
                      <a:pt x="10" y="22"/>
                      <a:pt x="11" y="23"/>
                      <a:pt x="10" y="24"/>
                    </a:cubicBezTo>
                    <a:cubicBezTo>
                      <a:pt x="9" y="24"/>
                      <a:pt x="9" y="24"/>
                      <a:pt x="9" y="24"/>
                    </a:cubicBezTo>
                    <a:cubicBezTo>
                      <a:pt x="8" y="25"/>
                      <a:pt x="8" y="25"/>
                      <a:pt x="8" y="25"/>
                    </a:cubicBezTo>
                    <a:cubicBezTo>
                      <a:pt x="7" y="26"/>
                      <a:pt x="6" y="26"/>
                      <a:pt x="5" y="27"/>
                    </a:cubicBezTo>
                    <a:cubicBezTo>
                      <a:pt x="8" y="26"/>
                      <a:pt x="11" y="25"/>
                      <a:pt x="14" y="24"/>
                    </a:cubicBezTo>
                    <a:cubicBezTo>
                      <a:pt x="16" y="24"/>
                      <a:pt x="16" y="24"/>
                      <a:pt x="18" y="25"/>
                    </a:cubicBezTo>
                    <a:cubicBezTo>
                      <a:pt x="15" y="26"/>
                      <a:pt x="12" y="26"/>
                      <a:pt x="10" y="27"/>
                    </a:cubicBezTo>
                    <a:cubicBezTo>
                      <a:pt x="9" y="27"/>
                      <a:pt x="9" y="26"/>
                      <a:pt x="8" y="27"/>
                    </a:cubicBezTo>
                    <a:cubicBezTo>
                      <a:pt x="8" y="27"/>
                      <a:pt x="8" y="28"/>
                      <a:pt x="7" y="28"/>
                    </a:cubicBezTo>
                    <a:cubicBezTo>
                      <a:pt x="6" y="29"/>
                      <a:pt x="6" y="28"/>
                      <a:pt x="5" y="29"/>
                    </a:cubicBezTo>
                    <a:cubicBezTo>
                      <a:pt x="7" y="29"/>
                      <a:pt x="6" y="31"/>
                      <a:pt x="7" y="31"/>
                    </a:cubicBezTo>
                    <a:cubicBezTo>
                      <a:pt x="7" y="31"/>
                      <a:pt x="4" y="32"/>
                      <a:pt x="5" y="30"/>
                    </a:cubicBezTo>
                    <a:cubicBezTo>
                      <a:pt x="4" y="30"/>
                      <a:pt x="4" y="31"/>
                      <a:pt x="3" y="31"/>
                    </a:cubicBezTo>
                    <a:cubicBezTo>
                      <a:pt x="3" y="31"/>
                      <a:pt x="4" y="30"/>
                      <a:pt x="3" y="30"/>
                    </a:cubicBezTo>
                    <a:cubicBezTo>
                      <a:pt x="2" y="30"/>
                      <a:pt x="1" y="31"/>
                      <a:pt x="1" y="32"/>
                    </a:cubicBezTo>
                    <a:cubicBezTo>
                      <a:pt x="0" y="32"/>
                      <a:pt x="1" y="32"/>
                      <a:pt x="0" y="32"/>
                    </a:cubicBezTo>
                    <a:cubicBezTo>
                      <a:pt x="1" y="32"/>
                      <a:pt x="2" y="33"/>
                      <a:pt x="4" y="33"/>
                    </a:cubicBezTo>
                    <a:cubicBezTo>
                      <a:pt x="4" y="33"/>
                      <a:pt x="5" y="32"/>
                      <a:pt x="5" y="33"/>
                    </a:cubicBezTo>
                    <a:cubicBezTo>
                      <a:pt x="5" y="32"/>
                      <a:pt x="6" y="32"/>
                      <a:pt x="7" y="32"/>
                    </a:cubicBezTo>
                    <a:cubicBezTo>
                      <a:pt x="7" y="33"/>
                      <a:pt x="6" y="33"/>
                      <a:pt x="6" y="33"/>
                    </a:cubicBezTo>
                    <a:cubicBezTo>
                      <a:pt x="6" y="33"/>
                      <a:pt x="5" y="33"/>
                      <a:pt x="5" y="33"/>
                    </a:cubicBezTo>
                    <a:cubicBezTo>
                      <a:pt x="5" y="33"/>
                      <a:pt x="5" y="33"/>
                      <a:pt x="5" y="33"/>
                    </a:cubicBezTo>
                    <a:cubicBezTo>
                      <a:pt x="5" y="34"/>
                      <a:pt x="4" y="34"/>
                      <a:pt x="3" y="34"/>
                    </a:cubicBezTo>
                    <a:cubicBezTo>
                      <a:pt x="3" y="34"/>
                      <a:pt x="2" y="34"/>
                      <a:pt x="2" y="35"/>
                    </a:cubicBezTo>
                    <a:cubicBezTo>
                      <a:pt x="2" y="35"/>
                      <a:pt x="2" y="36"/>
                      <a:pt x="1" y="36"/>
                    </a:cubicBezTo>
                    <a:cubicBezTo>
                      <a:pt x="3" y="36"/>
                      <a:pt x="5" y="37"/>
                      <a:pt x="8" y="36"/>
                    </a:cubicBezTo>
                    <a:cubicBezTo>
                      <a:pt x="8" y="36"/>
                      <a:pt x="9" y="36"/>
                      <a:pt x="9" y="36"/>
                    </a:cubicBezTo>
                    <a:cubicBezTo>
                      <a:pt x="7" y="37"/>
                      <a:pt x="5" y="38"/>
                      <a:pt x="3" y="40"/>
                    </a:cubicBezTo>
                    <a:cubicBezTo>
                      <a:pt x="5" y="40"/>
                      <a:pt x="7" y="39"/>
                      <a:pt x="9" y="39"/>
                    </a:cubicBezTo>
                    <a:cubicBezTo>
                      <a:pt x="8" y="40"/>
                      <a:pt x="7" y="40"/>
                      <a:pt x="6" y="40"/>
                    </a:cubicBezTo>
                    <a:cubicBezTo>
                      <a:pt x="7" y="41"/>
                      <a:pt x="8" y="40"/>
                      <a:pt x="8" y="40"/>
                    </a:cubicBezTo>
                    <a:cubicBezTo>
                      <a:pt x="8" y="41"/>
                      <a:pt x="7" y="41"/>
                      <a:pt x="6" y="41"/>
                    </a:cubicBezTo>
                    <a:cubicBezTo>
                      <a:pt x="7" y="42"/>
                      <a:pt x="10" y="41"/>
                      <a:pt x="11" y="41"/>
                    </a:cubicBezTo>
                    <a:cubicBezTo>
                      <a:pt x="11" y="41"/>
                      <a:pt x="11" y="41"/>
                      <a:pt x="11" y="41"/>
                    </a:cubicBezTo>
                    <a:cubicBezTo>
                      <a:pt x="13" y="41"/>
                      <a:pt x="16" y="41"/>
                      <a:pt x="18" y="40"/>
                    </a:cubicBezTo>
                    <a:cubicBezTo>
                      <a:pt x="20" y="39"/>
                      <a:pt x="21" y="39"/>
                      <a:pt x="22" y="36"/>
                    </a:cubicBezTo>
                    <a:cubicBezTo>
                      <a:pt x="22" y="37"/>
                      <a:pt x="23" y="37"/>
                      <a:pt x="24" y="37"/>
                    </a:cubicBezTo>
                    <a:cubicBezTo>
                      <a:pt x="25" y="36"/>
                      <a:pt x="27" y="35"/>
                      <a:pt x="29" y="34"/>
                    </a:cubicBezTo>
                    <a:cubicBezTo>
                      <a:pt x="31" y="33"/>
                      <a:pt x="33" y="33"/>
                      <a:pt x="34" y="33"/>
                    </a:cubicBezTo>
                    <a:cubicBezTo>
                      <a:pt x="36" y="32"/>
                      <a:pt x="35" y="32"/>
                      <a:pt x="35" y="30"/>
                    </a:cubicBezTo>
                    <a:cubicBezTo>
                      <a:pt x="36" y="31"/>
                      <a:pt x="36" y="32"/>
                      <a:pt x="36" y="32"/>
                    </a:cubicBezTo>
                    <a:cubicBezTo>
                      <a:pt x="38" y="30"/>
                      <a:pt x="40" y="31"/>
                      <a:pt x="42" y="32"/>
                    </a:cubicBezTo>
                    <a:cubicBezTo>
                      <a:pt x="41" y="31"/>
                      <a:pt x="41" y="30"/>
                      <a:pt x="41" y="29"/>
                    </a:cubicBezTo>
                    <a:cubicBezTo>
                      <a:pt x="42" y="30"/>
                      <a:pt x="42" y="29"/>
                      <a:pt x="43" y="27"/>
                    </a:cubicBezTo>
                    <a:cubicBezTo>
                      <a:pt x="44" y="26"/>
                      <a:pt x="44" y="24"/>
                      <a:pt x="45" y="22"/>
                    </a:cubicBezTo>
                    <a:cubicBezTo>
                      <a:pt x="45" y="21"/>
                      <a:pt x="46" y="21"/>
                      <a:pt x="4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5" name="Freeform 3187">
                <a:extLst>
                  <a:ext uri="{FF2B5EF4-FFF2-40B4-BE49-F238E27FC236}">
                    <a16:creationId xmlns:a16="http://schemas.microsoft.com/office/drawing/2014/main" id="{EFE60F22-E43C-499C-B802-AE34035B4008}"/>
                  </a:ext>
                </a:extLst>
              </p:cNvPr>
              <p:cNvSpPr>
                <a:spLocks/>
              </p:cNvSpPr>
              <p:nvPr/>
            </p:nvSpPr>
            <p:spPr bwMode="auto">
              <a:xfrm>
                <a:off x="3748" y="1293"/>
                <a:ext cx="9" cy="9"/>
              </a:xfrm>
              <a:custGeom>
                <a:avLst/>
                <a:gdLst>
                  <a:gd name="T0" fmla="*/ 2 w 4"/>
                  <a:gd name="T1" fmla="*/ 3 h 4"/>
                  <a:gd name="T2" fmla="*/ 4 w 4"/>
                  <a:gd name="T3" fmla="*/ 2 h 4"/>
                  <a:gd name="T4" fmla="*/ 4 w 4"/>
                  <a:gd name="T5" fmla="*/ 2 h 4"/>
                  <a:gd name="T6" fmla="*/ 3 w 4"/>
                  <a:gd name="T7" fmla="*/ 2 h 4"/>
                  <a:gd name="T8" fmla="*/ 2 w 4"/>
                  <a:gd name="T9" fmla="*/ 2 h 4"/>
                  <a:gd name="T10" fmla="*/ 2 w 4"/>
                  <a:gd name="T11" fmla="*/ 0 h 4"/>
                  <a:gd name="T12" fmla="*/ 0 w 4"/>
                  <a:gd name="T13" fmla="*/ 4 h 4"/>
                  <a:gd name="T14" fmla="*/ 1 w 4"/>
                  <a:gd name="T15" fmla="*/ 2 h 4"/>
                  <a:gd name="T16" fmla="*/ 2 w 4"/>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3"/>
                    </a:moveTo>
                    <a:cubicBezTo>
                      <a:pt x="3" y="2"/>
                      <a:pt x="3" y="2"/>
                      <a:pt x="4" y="2"/>
                    </a:cubicBezTo>
                    <a:cubicBezTo>
                      <a:pt x="4" y="2"/>
                      <a:pt x="4" y="2"/>
                      <a:pt x="4" y="2"/>
                    </a:cubicBezTo>
                    <a:cubicBezTo>
                      <a:pt x="4" y="2"/>
                      <a:pt x="3" y="2"/>
                      <a:pt x="3" y="2"/>
                    </a:cubicBezTo>
                    <a:cubicBezTo>
                      <a:pt x="3" y="2"/>
                      <a:pt x="2" y="2"/>
                      <a:pt x="2" y="2"/>
                    </a:cubicBezTo>
                    <a:cubicBezTo>
                      <a:pt x="1" y="2"/>
                      <a:pt x="2" y="1"/>
                      <a:pt x="2" y="0"/>
                    </a:cubicBezTo>
                    <a:cubicBezTo>
                      <a:pt x="0" y="0"/>
                      <a:pt x="0" y="3"/>
                      <a:pt x="0" y="4"/>
                    </a:cubicBezTo>
                    <a:cubicBezTo>
                      <a:pt x="1" y="3"/>
                      <a:pt x="0" y="3"/>
                      <a:pt x="1" y="2"/>
                    </a:cubicBezTo>
                    <a:cubicBezTo>
                      <a:pt x="1"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6" name="Freeform 3188">
                <a:extLst>
                  <a:ext uri="{FF2B5EF4-FFF2-40B4-BE49-F238E27FC236}">
                    <a16:creationId xmlns:a16="http://schemas.microsoft.com/office/drawing/2014/main" id="{8263A34F-E14A-4086-B1F9-AD8C2700293A}"/>
                  </a:ext>
                </a:extLst>
              </p:cNvPr>
              <p:cNvSpPr>
                <a:spLocks/>
              </p:cNvSpPr>
              <p:nvPr/>
            </p:nvSpPr>
            <p:spPr bwMode="auto">
              <a:xfrm>
                <a:off x="3696" y="1300"/>
                <a:ext cx="212" cy="237"/>
              </a:xfrm>
              <a:custGeom>
                <a:avLst/>
                <a:gdLst>
                  <a:gd name="T0" fmla="*/ 87 w 90"/>
                  <a:gd name="T1" fmla="*/ 44 h 100"/>
                  <a:gd name="T2" fmla="*/ 86 w 90"/>
                  <a:gd name="T3" fmla="*/ 36 h 100"/>
                  <a:gd name="T4" fmla="*/ 86 w 90"/>
                  <a:gd name="T5" fmla="*/ 32 h 100"/>
                  <a:gd name="T6" fmla="*/ 83 w 90"/>
                  <a:gd name="T7" fmla="*/ 24 h 100"/>
                  <a:gd name="T8" fmla="*/ 82 w 90"/>
                  <a:gd name="T9" fmla="*/ 15 h 100"/>
                  <a:gd name="T10" fmla="*/ 77 w 90"/>
                  <a:gd name="T11" fmla="*/ 10 h 100"/>
                  <a:gd name="T12" fmla="*/ 66 w 90"/>
                  <a:gd name="T13" fmla="*/ 6 h 100"/>
                  <a:gd name="T14" fmla="*/ 56 w 90"/>
                  <a:gd name="T15" fmla="*/ 11 h 100"/>
                  <a:gd name="T16" fmla="*/ 48 w 90"/>
                  <a:gd name="T17" fmla="*/ 7 h 100"/>
                  <a:gd name="T18" fmla="*/ 40 w 90"/>
                  <a:gd name="T19" fmla="*/ 4 h 100"/>
                  <a:gd name="T20" fmla="*/ 34 w 90"/>
                  <a:gd name="T21" fmla="*/ 1 h 100"/>
                  <a:gd name="T22" fmla="*/ 29 w 90"/>
                  <a:gd name="T23" fmla="*/ 3 h 100"/>
                  <a:gd name="T24" fmla="*/ 29 w 90"/>
                  <a:gd name="T25" fmla="*/ 7 h 100"/>
                  <a:gd name="T26" fmla="*/ 26 w 90"/>
                  <a:gd name="T27" fmla="*/ 13 h 100"/>
                  <a:gd name="T28" fmla="*/ 25 w 90"/>
                  <a:gd name="T29" fmla="*/ 21 h 100"/>
                  <a:gd name="T30" fmla="*/ 20 w 90"/>
                  <a:gd name="T31" fmla="*/ 19 h 100"/>
                  <a:gd name="T32" fmla="*/ 12 w 90"/>
                  <a:gd name="T33" fmla="*/ 21 h 100"/>
                  <a:gd name="T34" fmla="*/ 12 w 90"/>
                  <a:gd name="T35" fmla="*/ 26 h 100"/>
                  <a:gd name="T36" fmla="*/ 8 w 90"/>
                  <a:gd name="T37" fmla="*/ 32 h 100"/>
                  <a:gd name="T38" fmla="*/ 8 w 90"/>
                  <a:gd name="T39" fmla="*/ 39 h 100"/>
                  <a:gd name="T40" fmla="*/ 8 w 90"/>
                  <a:gd name="T41" fmla="*/ 41 h 100"/>
                  <a:gd name="T42" fmla="*/ 4 w 90"/>
                  <a:gd name="T43" fmla="*/ 42 h 100"/>
                  <a:gd name="T44" fmla="*/ 1 w 90"/>
                  <a:gd name="T45" fmla="*/ 42 h 100"/>
                  <a:gd name="T46" fmla="*/ 2 w 90"/>
                  <a:gd name="T47" fmla="*/ 45 h 100"/>
                  <a:gd name="T48" fmla="*/ 1 w 90"/>
                  <a:gd name="T49" fmla="*/ 52 h 100"/>
                  <a:gd name="T50" fmla="*/ 1 w 90"/>
                  <a:gd name="T51" fmla="*/ 54 h 100"/>
                  <a:gd name="T52" fmla="*/ 1 w 90"/>
                  <a:gd name="T53" fmla="*/ 56 h 100"/>
                  <a:gd name="T54" fmla="*/ 3 w 90"/>
                  <a:gd name="T55" fmla="*/ 64 h 100"/>
                  <a:gd name="T56" fmla="*/ 2 w 90"/>
                  <a:gd name="T57" fmla="*/ 66 h 100"/>
                  <a:gd name="T58" fmla="*/ 5 w 90"/>
                  <a:gd name="T59" fmla="*/ 68 h 100"/>
                  <a:gd name="T60" fmla="*/ 7 w 90"/>
                  <a:gd name="T61" fmla="*/ 75 h 100"/>
                  <a:gd name="T62" fmla="*/ 12 w 90"/>
                  <a:gd name="T63" fmla="*/ 76 h 100"/>
                  <a:gd name="T64" fmla="*/ 17 w 90"/>
                  <a:gd name="T65" fmla="*/ 78 h 100"/>
                  <a:gd name="T66" fmla="*/ 21 w 90"/>
                  <a:gd name="T67" fmla="*/ 78 h 100"/>
                  <a:gd name="T68" fmla="*/ 18 w 90"/>
                  <a:gd name="T69" fmla="*/ 89 h 100"/>
                  <a:gd name="T70" fmla="*/ 16 w 90"/>
                  <a:gd name="T71" fmla="*/ 94 h 100"/>
                  <a:gd name="T72" fmla="*/ 17 w 90"/>
                  <a:gd name="T73" fmla="*/ 97 h 100"/>
                  <a:gd name="T74" fmla="*/ 18 w 90"/>
                  <a:gd name="T75" fmla="*/ 97 h 100"/>
                  <a:gd name="T76" fmla="*/ 23 w 90"/>
                  <a:gd name="T77" fmla="*/ 97 h 100"/>
                  <a:gd name="T78" fmla="*/ 27 w 90"/>
                  <a:gd name="T79" fmla="*/ 95 h 100"/>
                  <a:gd name="T80" fmla="*/ 30 w 90"/>
                  <a:gd name="T81" fmla="*/ 96 h 100"/>
                  <a:gd name="T82" fmla="*/ 37 w 90"/>
                  <a:gd name="T83" fmla="*/ 97 h 100"/>
                  <a:gd name="T84" fmla="*/ 40 w 90"/>
                  <a:gd name="T85" fmla="*/ 98 h 100"/>
                  <a:gd name="T86" fmla="*/ 43 w 90"/>
                  <a:gd name="T87" fmla="*/ 100 h 100"/>
                  <a:gd name="T88" fmla="*/ 51 w 90"/>
                  <a:gd name="T89" fmla="*/ 99 h 100"/>
                  <a:gd name="T90" fmla="*/ 58 w 90"/>
                  <a:gd name="T91" fmla="*/ 97 h 100"/>
                  <a:gd name="T92" fmla="*/ 62 w 90"/>
                  <a:gd name="T93" fmla="*/ 96 h 100"/>
                  <a:gd name="T94" fmla="*/ 66 w 90"/>
                  <a:gd name="T95" fmla="*/ 96 h 100"/>
                  <a:gd name="T96" fmla="*/ 68 w 90"/>
                  <a:gd name="T97" fmla="*/ 96 h 100"/>
                  <a:gd name="T98" fmla="*/ 69 w 90"/>
                  <a:gd name="T99" fmla="*/ 95 h 100"/>
                  <a:gd name="T100" fmla="*/ 72 w 90"/>
                  <a:gd name="T101" fmla="*/ 88 h 100"/>
                  <a:gd name="T102" fmla="*/ 75 w 90"/>
                  <a:gd name="T103" fmla="*/ 84 h 100"/>
                  <a:gd name="T104" fmla="*/ 77 w 90"/>
                  <a:gd name="T105" fmla="*/ 84 h 100"/>
                  <a:gd name="T106" fmla="*/ 78 w 90"/>
                  <a:gd name="T107" fmla="*/ 83 h 100"/>
                  <a:gd name="T108" fmla="*/ 72 w 90"/>
                  <a:gd name="T109" fmla="*/ 79 h 100"/>
                  <a:gd name="T110" fmla="*/ 67 w 90"/>
                  <a:gd name="T111" fmla="*/ 75 h 100"/>
                  <a:gd name="T112" fmla="*/ 64 w 90"/>
                  <a:gd name="T113" fmla="*/ 68 h 100"/>
                  <a:gd name="T114" fmla="*/ 60 w 90"/>
                  <a:gd name="T115" fmla="*/ 63 h 100"/>
                  <a:gd name="T116" fmla="*/ 63 w 90"/>
                  <a:gd name="T117" fmla="*/ 62 h 100"/>
                  <a:gd name="T118" fmla="*/ 69 w 90"/>
                  <a:gd name="T119" fmla="*/ 60 h 100"/>
                  <a:gd name="T120" fmla="*/ 78 w 90"/>
                  <a:gd name="T121" fmla="*/ 55 h 100"/>
                  <a:gd name="T122" fmla="*/ 83 w 90"/>
                  <a:gd name="T123" fmla="*/ 53 h 100"/>
                  <a:gd name="T124" fmla="*/ 88 w 90"/>
                  <a:gd name="T125" fmla="*/ 5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00">
                    <a:moveTo>
                      <a:pt x="89" y="47"/>
                    </a:moveTo>
                    <a:cubicBezTo>
                      <a:pt x="88" y="47"/>
                      <a:pt x="88" y="47"/>
                      <a:pt x="88" y="47"/>
                    </a:cubicBezTo>
                    <a:cubicBezTo>
                      <a:pt x="88" y="47"/>
                      <a:pt x="87" y="46"/>
                      <a:pt x="87" y="46"/>
                    </a:cubicBezTo>
                    <a:cubicBezTo>
                      <a:pt x="87" y="46"/>
                      <a:pt x="87" y="45"/>
                      <a:pt x="87" y="45"/>
                    </a:cubicBezTo>
                    <a:cubicBezTo>
                      <a:pt x="87" y="45"/>
                      <a:pt x="87" y="45"/>
                      <a:pt x="87" y="44"/>
                    </a:cubicBezTo>
                    <a:cubicBezTo>
                      <a:pt x="87" y="44"/>
                      <a:pt x="87" y="44"/>
                      <a:pt x="87" y="44"/>
                    </a:cubicBezTo>
                    <a:cubicBezTo>
                      <a:pt x="86" y="43"/>
                      <a:pt x="85" y="42"/>
                      <a:pt x="86" y="41"/>
                    </a:cubicBezTo>
                    <a:cubicBezTo>
                      <a:pt x="87" y="39"/>
                      <a:pt x="87" y="39"/>
                      <a:pt x="87" y="37"/>
                    </a:cubicBezTo>
                    <a:cubicBezTo>
                      <a:pt x="87" y="37"/>
                      <a:pt x="87" y="37"/>
                      <a:pt x="87" y="37"/>
                    </a:cubicBezTo>
                    <a:cubicBezTo>
                      <a:pt x="87" y="37"/>
                      <a:pt x="86" y="37"/>
                      <a:pt x="86" y="36"/>
                    </a:cubicBezTo>
                    <a:cubicBezTo>
                      <a:pt x="86" y="36"/>
                      <a:pt x="86" y="36"/>
                      <a:pt x="86" y="36"/>
                    </a:cubicBezTo>
                    <a:cubicBezTo>
                      <a:pt x="86" y="35"/>
                      <a:pt x="85" y="35"/>
                      <a:pt x="85" y="34"/>
                    </a:cubicBezTo>
                    <a:cubicBezTo>
                      <a:pt x="85" y="33"/>
                      <a:pt x="85" y="32"/>
                      <a:pt x="86" y="32"/>
                    </a:cubicBezTo>
                    <a:cubicBezTo>
                      <a:pt x="86" y="32"/>
                      <a:pt x="86" y="32"/>
                      <a:pt x="86" y="32"/>
                    </a:cubicBezTo>
                    <a:cubicBezTo>
                      <a:pt x="86" y="32"/>
                      <a:pt x="86" y="32"/>
                      <a:pt x="86" y="32"/>
                    </a:cubicBezTo>
                    <a:cubicBezTo>
                      <a:pt x="85" y="31"/>
                      <a:pt x="84" y="30"/>
                      <a:pt x="83" y="30"/>
                    </a:cubicBezTo>
                    <a:cubicBezTo>
                      <a:pt x="83" y="29"/>
                      <a:pt x="83" y="29"/>
                      <a:pt x="83" y="29"/>
                    </a:cubicBezTo>
                    <a:cubicBezTo>
                      <a:pt x="83" y="29"/>
                      <a:pt x="83" y="29"/>
                      <a:pt x="82" y="29"/>
                    </a:cubicBezTo>
                    <a:cubicBezTo>
                      <a:pt x="82" y="28"/>
                      <a:pt x="81" y="27"/>
                      <a:pt x="81" y="26"/>
                    </a:cubicBezTo>
                    <a:cubicBezTo>
                      <a:pt x="81" y="25"/>
                      <a:pt x="82" y="25"/>
                      <a:pt x="83" y="24"/>
                    </a:cubicBezTo>
                    <a:cubicBezTo>
                      <a:pt x="83" y="24"/>
                      <a:pt x="83" y="24"/>
                      <a:pt x="83" y="24"/>
                    </a:cubicBezTo>
                    <a:cubicBezTo>
                      <a:pt x="83" y="24"/>
                      <a:pt x="83" y="24"/>
                      <a:pt x="84" y="23"/>
                    </a:cubicBezTo>
                    <a:cubicBezTo>
                      <a:pt x="84" y="21"/>
                      <a:pt x="84" y="20"/>
                      <a:pt x="83" y="19"/>
                    </a:cubicBezTo>
                    <a:cubicBezTo>
                      <a:pt x="83" y="19"/>
                      <a:pt x="83" y="18"/>
                      <a:pt x="83" y="18"/>
                    </a:cubicBezTo>
                    <a:cubicBezTo>
                      <a:pt x="82" y="15"/>
                      <a:pt x="82" y="15"/>
                      <a:pt x="82" y="15"/>
                    </a:cubicBezTo>
                    <a:cubicBezTo>
                      <a:pt x="82" y="15"/>
                      <a:pt x="82" y="15"/>
                      <a:pt x="82" y="15"/>
                    </a:cubicBezTo>
                    <a:cubicBezTo>
                      <a:pt x="82" y="15"/>
                      <a:pt x="82" y="15"/>
                      <a:pt x="82" y="15"/>
                    </a:cubicBezTo>
                    <a:cubicBezTo>
                      <a:pt x="81" y="15"/>
                      <a:pt x="80" y="14"/>
                      <a:pt x="79" y="14"/>
                    </a:cubicBezTo>
                    <a:cubicBezTo>
                      <a:pt x="79" y="13"/>
                      <a:pt x="79" y="12"/>
                      <a:pt x="79" y="11"/>
                    </a:cubicBezTo>
                    <a:cubicBezTo>
                      <a:pt x="78" y="10"/>
                      <a:pt x="78" y="10"/>
                      <a:pt x="77" y="10"/>
                    </a:cubicBezTo>
                    <a:cubicBezTo>
                      <a:pt x="75" y="9"/>
                      <a:pt x="74" y="9"/>
                      <a:pt x="73" y="8"/>
                    </a:cubicBezTo>
                    <a:cubicBezTo>
                      <a:pt x="72" y="8"/>
                      <a:pt x="72" y="7"/>
                      <a:pt x="71" y="6"/>
                    </a:cubicBezTo>
                    <a:cubicBezTo>
                      <a:pt x="71" y="6"/>
                      <a:pt x="71" y="5"/>
                      <a:pt x="70" y="6"/>
                    </a:cubicBezTo>
                    <a:cubicBezTo>
                      <a:pt x="69" y="7"/>
                      <a:pt x="67" y="7"/>
                      <a:pt x="65" y="7"/>
                    </a:cubicBezTo>
                    <a:cubicBezTo>
                      <a:pt x="65" y="6"/>
                      <a:pt x="66" y="6"/>
                      <a:pt x="66" y="6"/>
                    </a:cubicBezTo>
                    <a:cubicBezTo>
                      <a:pt x="68" y="6"/>
                      <a:pt x="68" y="6"/>
                      <a:pt x="70" y="5"/>
                    </a:cubicBezTo>
                    <a:cubicBezTo>
                      <a:pt x="68" y="5"/>
                      <a:pt x="67" y="5"/>
                      <a:pt x="65" y="5"/>
                    </a:cubicBezTo>
                    <a:cubicBezTo>
                      <a:pt x="64" y="6"/>
                      <a:pt x="62" y="10"/>
                      <a:pt x="61" y="10"/>
                    </a:cubicBezTo>
                    <a:cubicBezTo>
                      <a:pt x="61" y="10"/>
                      <a:pt x="61" y="9"/>
                      <a:pt x="60" y="9"/>
                    </a:cubicBezTo>
                    <a:cubicBezTo>
                      <a:pt x="59" y="10"/>
                      <a:pt x="57" y="11"/>
                      <a:pt x="56" y="11"/>
                    </a:cubicBezTo>
                    <a:cubicBezTo>
                      <a:pt x="55" y="12"/>
                      <a:pt x="54" y="13"/>
                      <a:pt x="52" y="13"/>
                    </a:cubicBezTo>
                    <a:cubicBezTo>
                      <a:pt x="51" y="12"/>
                      <a:pt x="48" y="13"/>
                      <a:pt x="49" y="11"/>
                    </a:cubicBezTo>
                    <a:cubicBezTo>
                      <a:pt x="50" y="9"/>
                      <a:pt x="51" y="8"/>
                      <a:pt x="52" y="6"/>
                    </a:cubicBezTo>
                    <a:cubicBezTo>
                      <a:pt x="51" y="6"/>
                      <a:pt x="50" y="6"/>
                      <a:pt x="49" y="6"/>
                    </a:cubicBezTo>
                    <a:cubicBezTo>
                      <a:pt x="49" y="7"/>
                      <a:pt x="48" y="7"/>
                      <a:pt x="48" y="7"/>
                    </a:cubicBezTo>
                    <a:cubicBezTo>
                      <a:pt x="46" y="7"/>
                      <a:pt x="45" y="6"/>
                      <a:pt x="43" y="6"/>
                    </a:cubicBezTo>
                    <a:cubicBezTo>
                      <a:pt x="43" y="5"/>
                      <a:pt x="42" y="7"/>
                      <a:pt x="42" y="7"/>
                    </a:cubicBezTo>
                    <a:cubicBezTo>
                      <a:pt x="42" y="6"/>
                      <a:pt x="42" y="6"/>
                      <a:pt x="42" y="5"/>
                    </a:cubicBezTo>
                    <a:cubicBezTo>
                      <a:pt x="41" y="5"/>
                      <a:pt x="40" y="5"/>
                      <a:pt x="38" y="5"/>
                    </a:cubicBezTo>
                    <a:cubicBezTo>
                      <a:pt x="39" y="5"/>
                      <a:pt x="40" y="5"/>
                      <a:pt x="40" y="4"/>
                    </a:cubicBezTo>
                    <a:cubicBezTo>
                      <a:pt x="41" y="3"/>
                      <a:pt x="40" y="1"/>
                      <a:pt x="38" y="0"/>
                    </a:cubicBezTo>
                    <a:cubicBezTo>
                      <a:pt x="37" y="0"/>
                      <a:pt x="36" y="0"/>
                      <a:pt x="35" y="0"/>
                    </a:cubicBezTo>
                    <a:cubicBezTo>
                      <a:pt x="35" y="1"/>
                      <a:pt x="35" y="1"/>
                      <a:pt x="35" y="1"/>
                    </a:cubicBezTo>
                    <a:cubicBezTo>
                      <a:pt x="35" y="1"/>
                      <a:pt x="35" y="1"/>
                      <a:pt x="35" y="1"/>
                    </a:cubicBezTo>
                    <a:cubicBezTo>
                      <a:pt x="34" y="1"/>
                      <a:pt x="34" y="1"/>
                      <a:pt x="34" y="1"/>
                    </a:cubicBezTo>
                    <a:cubicBezTo>
                      <a:pt x="33" y="1"/>
                      <a:pt x="31" y="1"/>
                      <a:pt x="30" y="1"/>
                    </a:cubicBezTo>
                    <a:cubicBezTo>
                      <a:pt x="30" y="1"/>
                      <a:pt x="30" y="1"/>
                      <a:pt x="30" y="1"/>
                    </a:cubicBezTo>
                    <a:cubicBezTo>
                      <a:pt x="29" y="0"/>
                      <a:pt x="28" y="0"/>
                      <a:pt x="27" y="0"/>
                    </a:cubicBezTo>
                    <a:cubicBezTo>
                      <a:pt x="27" y="0"/>
                      <a:pt x="27" y="0"/>
                      <a:pt x="27" y="0"/>
                    </a:cubicBezTo>
                    <a:cubicBezTo>
                      <a:pt x="28" y="1"/>
                      <a:pt x="28" y="2"/>
                      <a:pt x="29" y="3"/>
                    </a:cubicBezTo>
                    <a:cubicBezTo>
                      <a:pt x="29" y="3"/>
                      <a:pt x="29" y="4"/>
                      <a:pt x="30" y="4"/>
                    </a:cubicBezTo>
                    <a:cubicBezTo>
                      <a:pt x="30" y="5"/>
                      <a:pt x="30" y="5"/>
                      <a:pt x="29" y="6"/>
                    </a:cubicBezTo>
                    <a:cubicBezTo>
                      <a:pt x="28" y="6"/>
                      <a:pt x="27" y="6"/>
                      <a:pt x="27" y="6"/>
                    </a:cubicBezTo>
                    <a:cubicBezTo>
                      <a:pt x="26" y="6"/>
                      <a:pt x="26" y="6"/>
                      <a:pt x="26" y="7"/>
                    </a:cubicBezTo>
                    <a:cubicBezTo>
                      <a:pt x="26" y="8"/>
                      <a:pt x="28" y="7"/>
                      <a:pt x="29" y="7"/>
                    </a:cubicBezTo>
                    <a:cubicBezTo>
                      <a:pt x="29" y="8"/>
                      <a:pt x="28" y="8"/>
                      <a:pt x="28" y="9"/>
                    </a:cubicBezTo>
                    <a:cubicBezTo>
                      <a:pt x="28" y="10"/>
                      <a:pt x="29" y="11"/>
                      <a:pt x="28" y="11"/>
                    </a:cubicBezTo>
                    <a:cubicBezTo>
                      <a:pt x="29" y="12"/>
                      <a:pt x="31" y="13"/>
                      <a:pt x="32" y="14"/>
                    </a:cubicBezTo>
                    <a:cubicBezTo>
                      <a:pt x="32" y="14"/>
                      <a:pt x="31" y="14"/>
                      <a:pt x="31" y="14"/>
                    </a:cubicBezTo>
                    <a:cubicBezTo>
                      <a:pt x="29" y="14"/>
                      <a:pt x="28" y="13"/>
                      <a:pt x="26" y="13"/>
                    </a:cubicBezTo>
                    <a:cubicBezTo>
                      <a:pt x="26" y="14"/>
                      <a:pt x="26" y="13"/>
                      <a:pt x="25" y="14"/>
                    </a:cubicBezTo>
                    <a:cubicBezTo>
                      <a:pt x="25" y="14"/>
                      <a:pt x="25" y="15"/>
                      <a:pt x="25" y="15"/>
                    </a:cubicBezTo>
                    <a:cubicBezTo>
                      <a:pt x="25" y="16"/>
                      <a:pt x="25" y="16"/>
                      <a:pt x="25" y="17"/>
                    </a:cubicBezTo>
                    <a:cubicBezTo>
                      <a:pt x="25" y="17"/>
                      <a:pt x="25" y="18"/>
                      <a:pt x="25" y="19"/>
                    </a:cubicBezTo>
                    <a:cubicBezTo>
                      <a:pt x="25" y="19"/>
                      <a:pt x="25" y="20"/>
                      <a:pt x="25" y="21"/>
                    </a:cubicBezTo>
                    <a:cubicBezTo>
                      <a:pt x="25" y="19"/>
                      <a:pt x="26" y="18"/>
                      <a:pt x="24" y="18"/>
                    </a:cubicBezTo>
                    <a:cubicBezTo>
                      <a:pt x="24" y="17"/>
                      <a:pt x="23" y="17"/>
                      <a:pt x="22" y="17"/>
                    </a:cubicBezTo>
                    <a:cubicBezTo>
                      <a:pt x="21" y="18"/>
                      <a:pt x="23" y="18"/>
                      <a:pt x="23" y="18"/>
                    </a:cubicBezTo>
                    <a:cubicBezTo>
                      <a:pt x="23" y="18"/>
                      <a:pt x="23" y="19"/>
                      <a:pt x="23" y="19"/>
                    </a:cubicBezTo>
                    <a:cubicBezTo>
                      <a:pt x="22" y="20"/>
                      <a:pt x="22" y="20"/>
                      <a:pt x="20" y="19"/>
                    </a:cubicBezTo>
                    <a:cubicBezTo>
                      <a:pt x="23" y="18"/>
                      <a:pt x="18" y="16"/>
                      <a:pt x="17" y="16"/>
                    </a:cubicBezTo>
                    <a:cubicBezTo>
                      <a:pt x="16" y="16"/>
                      <a:pt x="12" y="16"/>
                      <a:pt x="10" y="17"/>
                    </a:cubicBezTo>
                    <a:cubicBezTo>
                      <a:pt x="10" y="17"/>
                      <a:pt x="10" y="19"/>
                      <a:pt x="10" y="19"/>
                    </a:cubicBezTo>
                    <a:cubicBezTo>
                      <a:pt x="10" y="19"/>
                      <a:pt x="10" y="19"/>
                      <a:pt x="10" y="19"/>
                    </a:cubicBezTo>
                    <a:cubicBezTo>
                      <a:pt x="9" y="21"/>
                      <a:pt x="11" y="21"/>
                      <a:pt x="12" y="21"/>
                    </a:cubicBezTo>
                    <a:cubicBezTo>
                      <a:pt x="12" y="21"/>
                      <a:pt x="12" y="21"/>
                      <a:pt x="12" y="21"/>
                    </a:cubicBezTo>
                    <a:cubicBezTo>
                      <a:pt x="13" y="21"/>
                      <a:pt x="13" y="21"/>
                      <a:pt x="13" y="21"/>
                    </a:cubicBezTo>
                    <a:cubicBezTo>
                      <a:pt x="13" y="22"/>
                      <a:pt x="13" y="22"/>
                      <a:pt x="13" y="22"/>
                    </a:cubicBezTo>
                    <a:cubicBezTo>
                      <a:pt x="13" y="22"/>
                      <a:pt x="13" y="23"/>
                      <a:pt x="13" y="24"/>
                    </a:cubicBezTo>
                    <a:cubicBezTo>
                      <a:pt x="13" y="25"/>
                      <a:pt x="13" y="25"/>
                      <a:pt x="12" y="26"/>
                    </a:cubicBezTo>
                    <a:cubicBezTo>
                      <a:pt x="12" y="26"/>
                      <a:pt x="12" y="27"/>
                      <a:pt x="12" y="27"/>
                    </a:cubicBezTo>
                    <a:cubicBezTo>
                      <a:pt x="12" y="28"/>
                      <a:pt x="12" y="28"/>
                      <a:pt x="11" y="29"/>
                    </a:cubicBezTo>
                    <a:cubicBezTo>
                      <a:pt x="11" y="29"/>
                      <a:pt x="11" y="29"/>
                      <a:pt x="11" y="29"/>
                    </a:cubicBezTo>
                    <a:cubicBezTo>
                      <a:pt x="11" y="30"/>
                      <a:pt x="11" y="31"/>
                      <a:pt x="10" y="32"/>
                    </a:cubicBezTo>
                    <a:cubicBezTo>
                      <a:pt x="9" y="32"/>
                      <a:pt x="9" y="32"/>
                      <a:pt x="8" y="32"/>
                    </a:cubicBezTo>
                    <a:cubicBezTo>
                      <a:pt x="8" y="32"/>
                      <a:pt x="8" y="32"/>
                      <a:pt x="8" y="32"/>
                    </a:cubicBezTo>
                    <a:cubicBezTo>
                      <a:pt x="9" y="32"/>
                      <a:pt x="9" y="32"/>
                      <a:pt x="9" y="32"/>
                    </a:cubicBezTo>
                    <a:cubicBezTo>
                      <a:pt x="9" y="32"/>
                      <a:pt x="11" y="33"/>
                      <a:pt x="11" y="36"/>
                    </a:cubicBezTo>
                    <a:cubicBezTo>
                      <a:pt x="11" y="37"/>
                      <a:pt x="10" y="38"/>
                      <a:pt x="9" y="38"/>
                    </a:cubicBezTo>
                    <a:cubicBezTo>
                      <a:pt x="8" y="39"/>
                      <a:pt x="8" y="39"/>
                      <a:pt x="8" y="39"/>
                    </a:cubicBezTo>
                    <a:cubicBezTo>
                      <a:pt x="8" y="39"/>
                      <a:pt x="8" y="39"/>
                      <a:pt x="8" y="39"/>
                    </a:cubicBezTo>
                    <a:cubicBezTo>
                      <a:pt x="8" y="39"/>
                      <a:pt x="8" y="39"/>
                      <a:pt x="8" y="39"/>
                    </a:cubicBezTo>
                    <a:cubicBezTo>
                      <a:pt x="9" y="40"/>
                      <a:pt x="9" y="40"/>
                      <a:pt x="9" y="40"/>
                    </a:cubicBezTo>
                    <a:cubicBezTo>
                      <a:pt x="9" y="40"/>
                      <a:pt x="9" y="40"/>
                      <a:pt x="9" y="40"/>
                    </a:cubicBezTo>
                    <a:cubicBezTo>
                      <a:pt x="9" y="41"/>
                      <a:pt x="8" y="41"/>
                      <a:pt x="8" y="41"/>
                    </a:cubicBezTo>
                    <a:cubicBezTo>
                      <a:pt x="8" y="41"/>
                      <a:pt x="8" y="42"/>
                      <a:pt x="7" y="42"/>
                    </a:cubicBezTo>
                    <a:cubicBezTo>
                      <a:pt x="8" y="43"/>
                      <a:pt x="8" y="43"/>
                      <a:pt x="8" y="43"/>
                    </a:cubicBezTo>
                    <a:cubicBezTo>
                      <a:pt x="7" y="42"/>
                      <a:pt x="7" y="42"/>
                      <a:pt x="7" y="42"/>
                    </a:cubicBezTo>
                    <a:cubicBezTo>
                      <a:pt x="6" y="42"/>
                      <a:pt x="6" y="42"/>
                      <a:pt x="5" y="42"/>
                    </a:cubicBezTo>
                    <a:cubicBezTo>
                      <a:pt x="5" y="42"/>
                      <a:pt x="4" y="42"/>
                      <a:pt x="4" y="42"/>
                    </a:cubicBezTo>
                    <a:cubicBezTo>
                      <a:pt x="4" y="43"/>
                      <a:pt x="4" y="43"/>
                      <a:pt x="4" y="43"/>
                    </a:cubicBezTo>
                    <a:cubicBezTo>
                      <a:pt x="4" y="43"/>
                      <a:pt x="4" y="43"/>
                      <a:pt x="4" y="43"/>
                    </a:cubicBezTo>
                    <a:cubicBezTo>
                      <a:pt x="4" y="43"/>
                      <a:pt x="4" y="43"/>
                      <a:pt x="3" y="43"/>
                    </a:cubicBezTo>
                    <a:cubicBezTo>
                      <a:pt x="3" y="43"/>
                      <a:pt x="2" y="42"/>
                      <a:pt x="2" y="42"/>
                    </a:cubicBezTo>
                    <a:cubicBezTo>
                      <a:pt x="1" y="42"/>
                      <a:pt x="1" y="42"/>
                      <a:pt x="1" y="42"/>
                    </a:cubicBezTo>
                    <a:cubicBezTo>
                      <a:pt x="1" y="42"/>
                      <a:pt x="1" y="42"/>
                      <a:pt x="1" y="42"/>
                    </a:cubicBezTo>
                    <a:cubicBezTo>
                      <a:pt x="1" y="42"/>
                      <a:pt x="1" y="42"/>
                      <a:pt x="1" y="42"/>
                    </a:cubicBezTo>
                    <a:cubicBezTo>
                      <a:pt x="0" y="42"/>
                      <a:pt x="0" y="42"/>
                      <a:pt x="0" y="42"/>
                    </a:cubicBezTo>
                    <a:cubicBezTo>
                      <a:pt x="0" y="42"/>
                      <a:pt x="0" y="42"/>
                      <a:pt x="0" y="42"/>
                    </a:cubicBezTo>
                    <a:cubicBezTo>
                      <a:pt x="1" y="43"/>
                      <a:pt x="1" y="44"/>
                      <a:pt x="2" y="45"/>
                    </a:cubicBezTo>
                    <a:cubicBezTo>
                      <a:pt x="3" y="46"/>
                      <a:pt x="3" y="48"/>
                      <a:pt x="2" y="49"/>
                    </a:cubicBezTo>
                    <a:cubicBezTo>
                      <a:pt x="2" y="49"/>
                      <a:pt x="2" y="49"/>
                      <a:pt x="2" y="50"/>
                    </a:cubicBezTo>
                    <a:cubicBezTo>
                      <a:pt x="6" y="50"/>
                      <a:pt x="6" y="50"/>
                      <a:pt x="6" y="50"/>
                    </a:cubicBezTo>
                    <a:cubicBezTo>
                      <a:pt x="1" y="52"/>
                      <a:pt x="1" y="52"/>
                      <a:pt x="1" y="52"/>
                    </a:cubicBezTo>
                    <a:cubicBezTo>
                      <a:pt x="1" y="52"/>
                      <a:pt x="1" y="52"/>
                      <a:pt x="1" y="52"/>
                    </a:cubicBezTo>
                    <a:cubicBezTo>
                      <a:pt x="1" y="52"/>
                      <a:pt x="1" y="52"/>
                      <a:pt x="1" y="52"/>
                    </a:cubicBezTo>
                    <a:cubicBezTo>
                      <a:pt x="1" y="52"/>
                      <a:pt x="0" y="52"/>
                      <a:pt x="0" y="53"/>
                    </a:cubicBezTo>
                    <a:cubicBezTo>
                      <a:pt x="0" y="53"/>
                      <a:pt x="0" y="53"/>
                      <a:pt x="0" y="53"/>
                    </a:cubicBezTo>
                    <a:cubicBezTo>
                      <a:pt x="1" y="53"/>
                      <a:pt x="1" y="53"/>
                      <a:pt x="1" y="54"/>
                    </a:cubicBezTo>
                    <a:cubicBezTo>
                      <a:pt x="1" y="54"/>
                      <a:pt x="1" y="54"/>
                      <a:pt x="1" y="54"/>
                    </a:cubicBezTo>
                    <a:cubicBezTo>
                      <a:pt x="1" y="54"/>
                      <a:pt x="1" y="54"/>
                      <a:pt x="1" y="54"/>
                    </a:cubicBezTo>
                    <a:cubicBezTo>
                      <a:pt x="1" y="55"/>
                      <a:pt x="1" y="55"/>
                      <a:pt x="1" y="55"/>
                    </a:cubicBezTo>
                    <a:cubicBezTo>
                      <a:pt x="1" y="55"/>
                      <a:pt x="1" y="55"/>
                      <a:pt x="1" y="55"/>
                    </a:cubicBezTo>
                    <a:cubicBezTo>
                      <a:pt x="1" y="56"/>
                      <a:pt x="1" y="56"/>
                      <a:pt x="1" y="56"/>
                    </a:cubicBezTo>
                    <a:cubicBezTo>
                      <a:pt x="1" y="56"/>
                      <a:pt x="1" y="56"/>
                      <a:pt x="1" y="56"/>
                    </a:cubicBezTo>
                    <a:cubicBezTo>
                      <a:pt x="2" y="57"/>
                      <a:pt x="2" y="57"/>
                      <a:pt x="2" y="57"/>
                    </a:cubicBezTo>
                    <a:cubicBezTo>
                      <a:pt x="2" y="58"/>
                      <a:pt x="3" y="59"/>
                      <a:pt x="4" y="60"/>
                    </a:cubicBezTo>
                    <a:cubicBezTo>
                      <a:pt x="5" y="62"/>
                      <a:pt x="4" y="63"/>
                      <a:pt x="3" y="64"/>
                    </a:cubicBezTo>
                    <a:cubicBezTo>
                      <a:pt x="3" y="64"/>
                      <a:pt x="3" y="64"/>
                      <a:pt x="3" y="64"/>
                    </a:cubicBezTo>
                    <a:cubicBezTo>
                      <a:pt x="3" y="64"/>
                      <a:pt x="3" y="64"/>
                      <a:pt x="3" y="64"/>
                    </a:cubicBezTo>
                    <a:cubicBezTo>
                      <a:pt x="2" y="64"/>
                      <a:pt x="2" y="65"/>
                      <a:pt x="2" y="65"/>
                    </a:cubicBezTo>
                    <a:cubicBezTo>
                      <a:pt x="2" y="65"/>
                      <a:pt x="2" y="65"/>
                      <a:pt x="2" y="65"/>
                    </a:cubicBezTo>
                    <a:cubicBezTo>
                      <a:pt x="3" y="66"/>
                      <a:pt x="3" y="66"/>
                      <a:pt x="3" y="66"/>
                    </a:cubicBezTo>
                    <a:cubicBezTo>
                      <a:pt x="2" y="66"/>
                      <a:pt x="2" y="66"/>
                      <a:pt x="2" y="66"/>
                    </a:cubicBezTo>
                    <a:cubicBezTo>
                      <a:pt x="2" y="66"/>
                      <a:pt x="2" y="66"/>
                      <a:pt x="2" y="66"/>
                    </a:cubicBezTo>
                    <a:cubicBezTo>
                      <a:pt x="2" y="66"/>
                      <a:pt x="2" y="66"/>
                      <a:pt x="2" y="66"/>
                    </a:cubicBezTo>
                    <a:cubicBezTo>
                      <a:pt x="2" y="66"/>
                      <a:pt x="2" y="67"/>
                      <a:pt x="3" y="67"/>
                    </a:cubicBezTo>
                    <a:cubicBezTo>
                      <a:pt x="3" y="67"/>
                      <a:pt x="3" y="67"/>
                      <a:pt x="4" y="67"/>
                    </a:cubicBezTo>
                    <a:cubicBezTo>
                      <a:pt x="4" y="68"/>
                      <a:pt x="4" y="68"/>
                      <a:pt x="4" y="68"/>
                    </a:cubicBezTo>
                    <a:cubicBezTo>
                      <a:pt x="5" y="68"/>
                      <a:pt x="5" y="68"/>
                      <a:pt x="5" y="68"/>
                    </a:cubicBezTo>
                    <a:cubicBezTo>
                      <a:pt x="6" y="70"/>
                      <a:pt x="5" y="71"/>
                      <a:pt x="4" y="72"/>
                    </a:cubicBezTo>
                    <a:cubicBezTo>
                      <a:pt x="4" y="72"/>
                      <a:pt x="4" y="72"/>
                      <a:pt x="4" y="72"/>
                    </a:cubicBezTo>
                    <a:cubicBezTo>
                      <a:pt x="4" y="72"/>
                      <a:pt x="4" y="72"/>
                      <a:pt x="4" y="73"/>
                    </a:cubicBezTo>
                    <a:cubicBezTo>
                      <a:pt x="6" y="73"/>
                      <a:pt x="6" y="74"/>
                      <a:pt x="7" y="75"/>
                    </a:cubicBezTo>
                    <a:cubicBezTo>
                      <a:pt x="7" y="75"/>
                      <a:pt x="7" y="75"/>
                      <a:pt x="7" y="75"/>
                    </a:cubicBezTo>
                    <a:cubicBezTo>
                      <a:pt x="7" y="76"/>
                      <a:pt x="8" y="76"/>
                      <a:pt x="9" y="76"/>
                    </a:cubicBezTo>
                    <a:cubicBezTo>
                      <a:pt x="9" y="76"/>
                      <a:pt x="9" y="76"/>
                      <a:pt x="9" y="76"/>
                    </a:cubicBezTo>
                    <a:cubicBezTo>
                      <a:pt x="10" y="76"/>
                      <a:pt x="10" y="76"/>
                      <a:pt x="11" y="76"/>
                    </a:cubicBezTo>
                    <a:cubicBezTo>
                      <a:pt x="11" y="76"/>
                      <a:pt x="11" y="76"/>
                      <a:pt x="11" y="76"/>
                    </a:cubicBezTo>
                    <a:cubicBezTo>
                      <a:pt x="11" y="76"/>
                      <a:pt x="11" y="76"/>
                      <a:pt x="12" y="76"/>
                    </a:cubicBezTo>
                    <a:cubicBezTo>
                      <a:pt x="13" y="76"/>
                      <a:pt x="13" y="76"/>
                      <a:pt x="13" y="76"/>
                    </a:cubicBezTo>
                    <a:cubicBezTo>
                      <a:pt x="14" y="76"/>
                      <a:pt x="15" y="77"/>
                      <a:pt x="16" y="77"/>
                    </a:cubicBezTo>
                    <a:cubicBezTo>
                      <a:pt x="16" y="77"/>
                      <a:pt x="16" y="77"/>
                      <a:pt x="16" y="77"/>
                    </a:cubicBezTo>
                    <a:cubicBezTo>
                      <a:pt x="16" y="77"/>
                      <a:pt x="16" y="78"/>
                      <a:pt x="16" y="78"/>
                    </a:cubicBezTo>
                    <a:cubicBezTo>
                      <a:pt x="16" y="78"/>
                      <a:pt x="16" y="78"/>
                      <a:pt x="17" y="78"/>
                    </a:cubicBezTo>
                    <a:cubicBezTo>
                      <a:pt x="17" y="78"/>
                      <a:pt x="17" y="78"/>
                      <a:pt x="17" y="78"/>
                    </a:cubicBezTo>
                    <a:cubicBezTo>
                      <a:pt x="17" y="78"/>
                      <a:pt x="17" y="78"/>
                      <a:pt x="17" y="78"/>
                    </a:cubicBezTo>
                    <a:cubicBezTo>
                      <a:pt x="18" y="78"/>
                      <a:pt x="18" y="78"/>
                      <a:pt x="19" y="78"/>
                    </a:cubicBezTo>
                    <a:cubicBezTo>
                      <a:pt x="19" y="78"/>
                      <a:pt x="20" y="78"/>
                      <a:pt x="20" y="78"/>
                    </a:cubicBezTo>
                    <a:cubicBezTo>
                      <a:pt x="21" y="78"/>
                      <a:pt x="21" y="78"/>
                      <a:pt x="21" y="78"/>
                    </a:cubicBezTo>
                    <a:cubicBezTo>
                      <a:pt x="21" y="78"/>
                      <a:pt x="21" y="79"/>
                      <a:pt x="22" y="79"/>
                    </a:cubicBezTo>
                    <a:cubicBezTo>
                      <a:pt x="24" y="79"/>
                      <a:pt x="24" y="79"/>
                      <a:pt x="24" y="79"/>
                    </a:cubicBezTo>
                    <a:cubicBezTo>
                      <a:pt x="23" y="81"/>
                      <a:pt x="23" y="81"/>
                      <a:pt x="23" y="81"/>
                    </a:cubicBezTo>
                    <a:cubicBezTo>
                      <a:pt x="21" y="83"/>
                      <a:pt x="20" y="85"/>
                      <a:pt x="18" y="88"/>
                    </a:cubicBezTo>
                    <a:cubicBezTo>
                      <a:pt x="18" y="89"/>
                      <a:pt x="18" y="89"/>
                      <a:pt x="18" y="89"/>
                    </a:cubicBezTo>
                    <a:cubicBezTo>
                      <a:pt x="17" y="90"/>
                      <a:pt x="17" y="91"/>
                      <a:pt x="16" y="92"/>
                    </a:cubicBezTo>
                    <a:cubicBezTo>
                      <a:pt x="16" y="92"/>
                      <a:pt x="16" y="92"/>
                      <a:pt x="16" y="92"/>
                    </a:cubicBezTo>
                    <a:cubicBezTo>
                      <a:pt x="16" y="92"/>
                      <a:pt x="16" y="92"/>
                      <a:pt x="16" y="92"/>
                    </a:cubicBezTo>
                    <a:cubicBezTo>
                      <a:pt x="16" y="93"/>
                      <a:pt x="16" y="93"/>
                      <a:pt x="16" y="93"/>
                    </a:cubicBezTo>
                    <a:cubicBezTo>
                      <a:pt x="16" y="93"/>
                      <a:pt x="16" y="93"/>
                      <a:pt x="16" y="94"/>
                    </a:cubicBezTo>
                    <a:cubicBezTo>
                      <a:pt x="16" y="94"/>
                      <a:pt x="16" y="94"/>
                      <a:pt x="16" y="94"/>
                    </a:cubicBezTo>
                    <a:cubicBezTo>
                      <a:pt x="16" y="94"/>
                      <a:pt x="16" y="95"/>
                      <a:pt x="16" y="95"/>
                    </a:cubicBezTo>
                    <a:cubicBezTo>
                      <a:pt x="16" y="95"/>
                      <a:pt x="16" y="96"/>
                      <a:pt x="16" y="96"/>
                    </a:cubicBezTo>
                    <a:cubicBezTo>
                      <a:pt x="16" y="96"/>
                      <a:pt x="16" y="96"/>
                      <a:pt x="16" y="97"/>
                    </a:cubicBezTo>
                    <a:cubicBezTo>
                      <a:pt x="17" y="97"/>
                      <a:pt x="17" y="97"/>
                      <a:pt x="17" y="97"/>
                    </a:cubicBezTo>
                    <a:cubicBezTo>
                      <a:pt x="17" y="97"/>
                      <a:pt x="17" y="97"/>
                      <a:pt x="17" y="97"/>
                    </a:cubicBezTo>
                    <a:cubicBezTo>
                      <a:pt x="17" y="97"/>
                      <a:pt x="17" y="97"/>
                      <a:pt x="17" y="97"/>
                    </a:cubicBezTo>
                    <a:cubicBezTo>
                      <a:pt x="17" y="97"/>
                      <a:pt x="18" y="97"/>
                      <a:pt x="18" y="97"/>
                    </a:cubicBezTo>
                    <a:cubicBezTo>
                      <a:pt x="18" y="97"/>
                      <a:pt x="18" y="97"/>
                      <a:pt x="18" y="97"/>
                    </a:cubicBezTo>
                    <a:cubicBezTo>
                      <a:pt x="18" y="97"/>
                      <a:pt x="18" y="97"/>
                      <a:pt x="18" y="97"/>
                    </a:cubicBezTo>
                    <a:cubicBezTo>
                      <a:pt x="18" y="97"/>
                      <a:pt x="19" y="97"/>
                      <a:pt x="19" y="97"/>
                    </a:cubicBezTo>
                    <a:cubicBezTo>
                      <a:pt x="19" y="97"/>
                      <a:pt x="19" y="97"/>
                      <a:pt x="20" y="97"/>
                    </a:cubicBezTo>
                    <a:cubicBezTo>
                      <a:pt x="21" y="97"/>
                      <a:pt x="22" y="97"/>
                      <a:pt x="22" y="97"/>
                    </a:cubicBezTo>
                    <a:cubicBezTo>
                      <a:pt x="23" y="97"/>
                      <a:pt x="23" y="97"/>
                      <a:pt x="23" y="97"/>
                    </a:cubicBezTo>
                    <a:cubicBezTo>
                      <a:pt x="23" y="97"/>
                      <a:pt x="23" y="97"/>
                      <a:pt x="23" y="97"/>
                    </a:cubicBezTo>
                    <a:cubicBezTo>
                      <a:pt x="23" y="97"/>
                      <a:pt x="23" y="97"/>
                      <a:pt x="23" y="97"/>
                    </a:cubicBezTo>
                    <a:cubicBezTo>
                      <a:pt x="23" y="96"/>
                      <a:pt x="23" y="96"/>
                      <a:pt x="23" y="95"/>
                    </a:cubicBezTo>
                    <a:cubicBezTo>
                      <a:pt x="24" y="95"/>
                      <a:pt x="24" y="94"/>
                      <a:pt x="25" y="94"/>
                    </a:cubicBezTo>
                    <a:cubicBezTo>
                      <a:pt x="26" y="94"/>
                      <a:pt x="26" y="94"/>
                      <a:pt x="26" y="94"/>
                    </a:cubicBezTo>
                    <a:cubicBezTo>
                      <a:pt x="27" y="95"/>
                      <a:pt x="27" y="95"/>
                      <a:pt x="27" y="95"/>
                    </a:cubicBezTo>
                    <a:cubicBezTo>
                      <a:pt x="27" y="95"/>
                      <a:pt x="27" y="95"/>
                      <a:pt x="27" y="95"/>
                    </a:cubicBezTo>
                    <a:cubicBezTo>
                      <a:pt x="27" y="95"/>
                      <a:pt x="27" y="95"/>
                      <a:pt x="27" y="95"/>
                    </a:cubicBezTo>
                    <a:cubicBezTo>
                      <a:pt x="28" y="95"/>
                      <a:pt x="28" y="95"/>
                      <a:pt x="28" y="95"/>
                    </a:cubicBezTo>
                    <a:cubicBezTo>
                      <a:pt x="28" y="96"/>
                      <a:pt x="29" y="96"/>
                      <a:pt x="30" y="96"/>
                    </a:cubicBezTo>
                    <a:cubicBezTo>
                      <a:pt x="30" y="96"/>
                      <a:pt x="30" y="96"/>
                      <a:pt x="30" y="96"/>
                    </a:cubicBezTo>
                    <a:cubicBezTo>
                      <a:pt x="30" y="96"/>
                      <a:pt x="31" y="96"/>
                      <a:pt x="31" y="96"/>
                    </a:cubicBezTo>
                    <a:cubicBezTo>
                      <a:pt x="32" y="96"/>
                      <a:pt x="32" y="96"/>
                      <a:pt x="32" y="96"/>
                    </a:cubicBezTo>
                    <a:cubicBezTo>
                      <a:pt x="33" y="96"/>
                      <a:pt x="35" y="97"/>
                      <a:pt x="36" y="97"/>
                    </a:cubicBezTo>
                    <a:cubicBezTo>
                      <a:pt x="36" y="97"/>
                      <a:pt x="36" y="97"/>
                      <a:pt x="37" y="97"/>
                    </a:cubicBezTo>
                    <a:cubicBezTo>
                      <a:pt x="37" y="97"/>
                      <a:pt x="37" y="97"/>
                      <a:pt x="37" y="97"/>
                    </a:cubicBezTo>
                    <a:cubicBezTo>
                      <a:pt x="38" y="97"/>
                      <a:pt x="38" y="97"/>
                      <a:pt x="38" y="97"/>
                    </a:cubicBezTo>
                    <a:cubicBezTo>
                      <a:pt x="38" y="97"/>
                      <a:pt x="39" y="97"/>
                      <a:pt x="39" y="97"/>
                    </a:cubicBezTo>
                    <a:cubicBezTo>
                      <a:pt x="39" y="97"/>
                      <a:pt x="39" y="97"/>
                      <a:pt x="39" y="97"/>
                    </a:cubicBezTo>
                    <a:cubicBezTo>
                      <a:pt x="39" y="97"/>
                      <a:pt x="39" y="97"/>
                      <a:pt x="40" y="97"/>
                    </a:cubicBezTo>
                    <a:cubicBezTo>
                      <a:pt x="40" y="97"/>
                      <a:pt x="40" y="97"/>
                      <a:pt x="40" y="98"/>
                    </a:cubicBezTo>
                    <a:cubicBezTo>
                      <a:pt x="40" y="98"/>
                      <a:pt x="40" y="98"/>
                      <a:pt x="41" y="98"/>
                    </a:cubicBezTo>
                    <a:cubicBezTo>
                      <a:pt x="41" y="98"/>
                      <a:pt x="41" y="98"/>
                      <a:pt x="41" y="98"/>
                    </a:cubicBezTo>
                    <a:cubicBezTo>
                      <a:pt x="41" y="98"/>
                      <a:pt x="41" y="98"/>
                      <a:pt x="41" y="98"/>
                    </a:cubicBezTo>
                    <a:cubicBezTo>
                      <a:pt x="42" y="99"/>
                      <a:pt x="42" y="99"/>
                      <a:pt x="43" y="100"/>
                    </a:cubicBezTo>
                    <a:cubicBezTo>
                      <a:pt x="43" y="100"/>
                      <a:pt x="43" y="100"/>
                      <a:pt x="43" y="100"/>
                    </a:cubicBezTo>
                    <a:cubicBezTo>
                      <a:pt x="43" y="100"/>
                      <a:pt x="44" y="99"/>
                      <a:pt x="44" y="98"/>
                    </a:cubicBezTo>
                    <a:cubicBezTo>
                      <a:pt x="44" y="96"/>
                      <a:pt x="44" y="96"/>
                      <a:pt x="44" y="96"/>
                    </a:cubicBezTo>
                    <a:cubicBezTo>
                      <a:pt x="49" y="97"/>
                      <a:pt x="49" y="97"/>
                      <a:pt x="49" y="97"/>
                    </a:cubicBezTo>
                    <a:cubicBezTo>
                      <a:pt x="50" y="98"/>
                      <a:pt x="51" y="99"/>
                      <a:pt x="51" y="99"/>
                    </a:cubicBezTo>
                    <a:cubicBezTo>
                      <a:pt x="51" y="99"/>
                      <a:pt x="51" y="99"/>
                      <a:pt x="51" y="99"/>
                    </a:cubicBezTo>
                    <a:cubicBezTo>
                      <a:pt x="51" y="99"/>
                      <a:pt x="51" y="99"/>
                      <a:pt x="51" y="99"/>
                    </a:cubicBezTo>
                    <a:cubicBezTo>
                      <a:pt x="53" y="99"/>
                      <a:pt x="53" y="99"/>
                      <a:pt x="53" y="99"/>
                    </a:cubicBezTo>
                    <a:cubicBezTo>
                      <a:pt x="53" y="99"/>
                      <a:pt x="53" y="98"/>
                      <a:pt x="54" y="98"/>
                    </a:cubicBezTo>
                    <a:cubicBezTo>
                      <a:pt x="54" y="97"/>
                      <a:pt x="57" y="97"/>
                      <a:pt x="58" y="97"/>
                    </a:cubicBezTo>
                    <a:cubicBezTo>
                      <a:pt x="58" y="97"/>
                      <a:pt x="58" y="97"/>
                      <a:pt x="58" y="97"/>
                    </a:cubicBezTo>
                    <a:cubicBezTo>
                      <a:pt x="58" y="97"/>
                      <a:pt x="59" y="97"/>
                      <a:pt x="59" y="97"/>
                    </a:cubicBezTo>
                    <a:cubicBezTo>
                      <a:pt x="60" y="97"/>
                      <a:pt x="60" y="97"/>
                      <a:pt x="60" y="97"/>
                    </a:cubicBezTo>
                    <a:cubicBezTo>
                      <a:pt x="60" y="97"/>
                      <a:pt x="61" y="96"/>
                      <a:pt x="61" y="96"/>
                    </a:cubicBezTo>
                    <a:cubicBezTo>
                      <a:pt x="61" y="96"/>
                      <a:pt x="61" y="96"/>
                      <a:pt x="62" y="96"/>
                    </a:cubicBezTo>
                    <a:cubicBezTo>
                      <a:pt x="62" y="96"/>
                      <a:pt x="62" y="96"/>
                      <a:pt x="62" y="96"/>
                    </a:cubicBezTo>
                    <a:cubicBezTo>
                      <a:pt x="63" y="96"/>
                      <a:pt x="64" y="95"/>
                      <a:pt x="65" y="96"/>
                    </a:cubicBezTo>
                    <a:cubicBezTo>
                      <a:pt x="65" y="96"/>
                      <a:pt x="65" y="96"/>
                      <a:pt x="65" y="96"/>
                    </a:cubicBezTo>
                    <a:cubicBezTo>
                      <a:pt x="65" y="96"/>
                      <a:pt x="65" y="96"/>
                      <a:pt x="65" y="96"/>
                    </a:cubicBezTo>
                    <a:cubicBezTo>
                      <a:pt x="66" y="96"/>
                      <a:pt x="66" y="96"/>
                      <a:pt x="66" y="96"/>
                    </a:cubicBezTo>
                    <a:cubicBezTo>
                      <a:pt x="66" y="96"/>
                      <a:pt x="66" y="96"/>
                      <a:pt x="66" y="96"/>
                    </a:cubicBezTo>
                    <a:cubicBezTo>
                      <a:pt x="66" y="96"/>
                      <a:pt x="66" y="96"/>
                      <a:pt x="66" y="96"/>
                    </a:cubicBezTo>
                    <a:cubicBezTo>
                      <a:pt x="66" y="96"/>
                      <a:pt x="67" y="96"/>
                      <a:pt x="67" y="96"/>
                    </a:cubicBezTo>
                    <a:cubicBezTo>
                      <a:pt x="67" y="96"/>
                      <a:pt x="67" y="96"/>
                      <a:pt x="67" y="96"/>
                    </a:cubicBezTo>
                    <a:cubicBezTo>
                      <a:pt x="68" y="96"/>
                      <a:pt x="68" y="96"/>
                      <a:pt x="68" y="96"/>
                    </a:cubicBezTo>
                    <a:cubicBezTo>
                      <a:pt x="68" y="96"/>
                      <a:pt x="68" y="96"/>
                      <a:pt x="68" y="96"/>
                    </a:cubicBezTo>
                    <a:cubicBezTo>
                      <a:pt x="69" y="96"/>
                      <a:pt x="69" y="96"/>
                      <a:pt x="69" y="96"/>
                    </a:cubicBezTo>
                    <a:cubicBezTo>
                      <a:pt x="69" y="96"/>
                      <a:pt x="69" y="96"/>
                      <a:pt x="69" y="96"/>
                    </a:cubicBezTo>
                    <a:cubicBezTo>
                      <a:pt x="69" y="95"/>
                      <a:pt x="69" y="95"/>
                      <a:pt x="69" y="95"/>
                    </a:cubicBezTo>
                    <a:cubicBezTo>
                      <a:pt x="69" y="95"/>
                      <a:pt x="69" y="95"/>
                      <a:pt x="69" y="95"/>
                    </a:cubicBezTo>
                    <a:cubicBezTo>
                      <a:pt x="69" y="95"/>
                      <a:pt x="69" y="95"/>
                      <a:pt x="69" y="95"/>
                    </a:cubicBezTo>
                    <a:cubicBezTo>
                      <a:pt x="69" y="94"/>
                      <a:pt x="69" y="94"/>
                      <a:pt x="69" y="94"/>
                    </a:cubicBezTo>
                    <a:cubicBezTo>
                      <a:pt x="68" y="93"/>
                      <a:pt x="67" y="92"/>
                      <a:pt x="67" y="91"/>
                    </a:cubicBezTo>
                    <a:cubicBezTo>
                      <a:pt x="67" y="90"/>
                      <a:pt x="68" y="89"/>
                      <a:pt x="71" y="88"/>
                    </a:cubicBezTo>
                    <a:cubicBezTo>
                      <a:pt x="71" y="88"/>
                      <a:pt x="71" y="88"/>
                      <a:pt x="71" y="88"/>
                    </a:cubicBezTo>
                    <a:cubicBezTo>
                      <a:pt x="72" y="88"/>
                      <a:pt x="72" y="88"/>
                      <a:pt x="72" y="88"/>
                    </a:cubicBezTo>
                    <a:cubicBezTo>
                      <a:pt x="73" y="88"/>
                      <a:pt x="73" y="88"/>
                      <a:pt x="73" y="88"/>
                    </a:cubicBezTo>
                    <a:cubicBezTo>
                      <a:pt x="73" y="87"/>
                      <a:pt x="73" y="87"/>
                      <a:pt x="74" y="87"/>
                    </a:cubicBezTo>
                    <a:cubicBezTo>
                      <a:pt x="74" y="87"/>
                      <a:pt x="74" y="87"/>
                      <a:pt x="74" y="86"/>
                    </a:cubicBezTo>
                    <a:cubicBezTo>
                      <a:pt x="74" y="86"/>
                      <a:pt x="74" y="86"/>
                      <a:pt x="74" y="86"/>
                    </a:cubicBezTo>
                    <a:cubicBezTo>
                      <a:pt x="74" y="84"/>
                      <a:pt x="75" y="84"/>
                      <a:pt x="75" y="84"/>
                    </a:cubicBezTo>
                    <a:cubicBezTo>
                      <a:pt x="76" y="84"/>
                      <a:pt x="76" y="84"/>
                      <a:pt x="76" y="84"/>
                    </a:cubicBezTo>
                    <a:cubicBezTo>
                      <a:pt x="76" y="84"/>
                      <a:pt x="76" y="84"/>
                      <a:pt x="76" y="84"/>
                    </a:cubicBezTo>
                    <a:cubicBezTo>
                      <a:pt x="76" y="84"/>
                      <a:pt x="76" y="84"/>
                      <a:pt x="76" y="84"/>
                    </a:cubicBezTo>
                    <a:cubicBezTo>
                      <a:pt x="77" y="84"/>
                      <a:pt x="77" y="84"/>
                      <a:pt x="77" y="84"/>
                    </a:cubicBezTo>
                    <a:cubicBezTo>
                      <a:pt x="77" y="84"/>
                      <a:pt x="77" y="84"/>
                      <a:pt x="77" y="84"/>
                    </a:cubicBezTo>
                    <a:cubicBezTo>
                      <a:pt x="77" y="84"/>
                      <a:pt x="77" y="84"/>
                      <a:pt x="77" y="84"/>
                    </a:cubicBezTo>
                    <a:cubicBezTo>
                      <a:pt x="77" y="83"/>
                      <a:pt x="77" y="83"/>
                      <a:pt x="77" y="83"/>
                    </a:cubicBezTo>
                    <a:cubicBezTo>
                      <a:pt x="77" y="83"/>
                      <a:pt x="77" y="83"/>
                      <a:pt x="77" y="83"/>
                    </a:cubicBezTo>
                    <a:cubicBezTo>
                      <a:pt x="77" y="83"/>
                      <a:pt x="77" y="83"/>
                      <a:pt x="77" y="83"/>
                    </a:cubicBezTo>
                    <a:cubicBezTo>
                      <a:pt x="78" y="83"/>
                      <a:pt x="78" y="83"/>
                      <a:pt x="78" y="83"/>
                    </a:cubicBezTo>
                    <a:cubicBezTo>
                      <a:pt x="77" y="83"/>
                      <a:pt x="77" y="82"/>
                      <a:pt x="76" y="82"/>
                    </a:cubicBezTo>
                    <a:cubicBezTo>
                      <a:pt x="76" y="81"/>
                      <a:pt x="76" y="81"/>
                      <a:pt x="76" y="81"/>
                    </a:cubicBezTo>
                    <a:cubicBezTo>
                      <a:pt x="75" y="81"/>
                      <a:pt x="75" y="81"/>
                      <a:pt x="74" y="81"/>
                    </a:cubicBezTo>
                    <a:cubicBezTo>
                      <a:pt x="74" y="80"/>
                      <a:pt x="73" y="80"/>
                      <a:pt x="73" y="79"/>
                    </a:cubicBezTo>
                    <a:cubicBezTo>
                      <a:pt x="72" y="79"/>
                      <a:pt x="72" y="79"/>
                      <a:pt x="72" y="79"/>
                    </a:cubicBezTo>
                    <a:cubicBezTo>
                      <a:pt x="71" y="78"/>
                      <a:pt x="70" y="77"/>
                      <a:pt x="69" y="77"/>
                    </a:cubicBezTo>
                    <a:cubicBezTo>
                      <a:pt x="69" y="77"/>
                      <a:pt x="69" y="77"/>
                      <a:pt x="69" y="77"/>
                    </a:cubicBezTo>
                    <a:cubicBezTo>
                      <a:pt x="69" y="76"/>
                      <a:pt x="68" y="76"/>
                      <a:pt x="68" y="75"/>
                    </a:cubicBezTo>
                    <a:cubicBezTo>
                      <a:pt x="68" y="75"/>
                      <a:pt x="68" y="75"/>
                      <a:pt x="68" y="75"/>
                    </a:cubicBezTo>
                    <a:cubicBezTo>
                      <a:pt x="67" y="75"/>
                      <a:pt x="67" y="75"/>
                      <a:pt x="67" y="75"/>
                    </a:cubicBezTo>
                    <a:cubicBezTo>
                      <a:pt x="67" y="75"/>
                      <a:pt x="67" y="75"/>
                      <a:pt x="67" y="75"/>
                    </a:cubicBezTo>
                    <a:cubicBezTo>
                      <a:pt x="66" y="74"/>
                      <a:pt x="66" y="74"/>
                      <a:pt x="66" y="73"/>
                    </a:cubicBezTo>
                    <a:cubicBezTo>
                      <a:pt x="64" y="72"/>
                      <a:pt x="64" y="71"/>
                      <a:pt x="64" y="70"/>
                    </a:cubicBezTo>
                    <a:cubicBezTo>
                      <a:pt x="63" y="69"/>
                      <a:pt x="64" y="69"/>
                      <a:pt x="64" y="68"/>
                    </a:cubicBezTo>
                    <a:cubicBezTo>
                      <a:pt x="64" y="68"/>
                      <a:pt x="64" y="68"/>
                      <a:pt x="64" y="68"/>
                    </a:cubicBezTo>
                    <a:cubicBezTo>
                      <a:pt x="64" y="68"/>
                      <a:pt x="64" y="68"/>
                      <a:pt x="64" y="67"/>
                    </a:cubicBezTo>
                    <a:cubicBezTo>
                      <a:pt x="64" y="67"/>
                      <a:pt x="64" y="67"/>
                      <a:pt x="64" y="67"/>
                    </a:cubicBezTo>
                    <a:cubicBezTo>
                      <a:pt x="62" y="66"/>
                      <a:pt x="61" y="65"/>
                      <a:pt x="61" y="63"/>
                    </a:cubicBezTo>
                    <a:cubicBezTo>
                      <a:pt x="61" y="63"/>
                      <a:pt x="61" y="63"/>
                      <a:pt x="61" y="63"/>
                    </a:cubicBezTo>
                    <a:cubicBezTo>
                      <a:pt x="61" y="63"/>
                      <a:pt x="60" y="63"/>
                      <a:pt x="60" y="63"/>
                    </a:cubicBezTo>
                    <a:cubicBezTo>
                      <a:pt x="57" y="57"/>
                      <a:pt x="57" y="57"/>
                      <a:pt x="57" y="57"/>
                    </a:cubicBezTo>
                    <a:cubicBezTo>
                      <a:pt x="62" y="61"/>
                      <a:pt x="62" y="61"/>
                      <a:pt x="62" y="61"/>
                    </a:cubicBezTo>
                    <a:cubicBezTo>
                      <a:pt x="62" y="61"/>
                      <a:pt x="63" y="61"/>
                      <a:pt x="63" y="62"/>
                    </a:cubicBezTo>
                    <a:cubicBezTo>
                      <a:pt x="63" y="62"/>
                      <a:pt x="63" y="62"/>
                      <a:pt x="63" y="62"/>
                    </a:cubicBezTo>
                    <a:cubicBezTo>
                      <a:pt x="63" y="62"/>
                      <a:pt x="63" y="62"/>
                      <a:pt x="63" y="62"/>
                    </a:cubicBezTo>
                    <a:cubicBezTo>
                      <a:pt x="63" y="62"/>
                      <a:pt x="63" y="62"/>
                      <a:pt x="63" y="62"/>
                    </a:cubicBezTo>
                    <a:cubicBezTo>
                      <a:pt x="64" y="61"/>
                      <a:pt x="65" y="60"/>
                      <a:pt x="66" y="60"/>
                    </a:cubicBezTo>
                    <a:cubicBezTo>
                      <a:pt x="67" y="60"/>
                      <a:pt x="67" y="60"/>
                      <a:pt x="67" y="60"/>
                    </a:cubicBezTo>
                    <a:cubicBezTo>
                      <a:pt x="67" y="60"/>
                      <a:pt x="67" y="60"/>
                      <a:pt x="67" y="60"/>
                    </a:cubicBezTo>
                    <a:cubicBezTo>
                      <a:pt x="67" y="59"/>
                      <a:pt x="68" y="60"/>
                      <a:pt x="69" y="60"/>
                    </a:cubicBezTo>
                    <a:cubicBezTo>
                      <a:pt x="69" y="60"/>
                      <a:pt x="69" y="60"/>
                      <a:pt x="69" y="60"/>
                    </a:cubicBezTo>
                    <a:cubicBezTo>
                      <a:pt x="70" y="60"/>
                      <a:pt x="70" y="60"/>
                      <a:pt x="70" y="60"/>
                    </a:cubicBezTo>
                    <a:cubicBezTo>
                      <a:pt x="71" y="59"/>
                      <a:pt x="73" y="58"/>
                      <a:pt x="74" y="57"/>
                    </a:cubicBezTo>
                    <a:cubicBezTo>
                      <a:pt x="75" y="56"/>
                      <a:pt x="76" y="56"/>
                      <a:pt x="76" y="56"/>
                    </a:cubicBezTo>
                    <a:cubicBezTo>
                      <a:pt x="77" y="56"/>
                      <a:pt x="77" y="56"/>
                      <a:pt x="78" y="55"/>
                    </a:cubicBezTo>
                    <a:cubicBezTo>
                      <a:pt x="78" y="55"/>
                      <a:pt x="79" y="55"/>
                      <a:pt x="80" y="55"/>
                    </a:cubicBezTo>
                    <a:cubicBezTo>
                      <a:pt x="79" y="54"/>
                      <a:pt x="79" y="54"/>
                      <a:pt x="79" y="54"/>
                    </a:cubicBezTo>
                    <a:cubicBezTo>
                      <a:pt x="80" y="54"/>
                      <a:pt x="80" y="54"/>
                      <a:pt x="80" y="54"/>
                    </a:cubicBezTo>
                    <a:cubicBezTo>
                      <a:pt x="83" y="53"/>
                      <a:pt x="83" y="53"/>
                      <a:pt x="83" y="53"/>
                    </a:cubicBezTo>
                    <a:cubicBezTo>
                      <a:pt x="83" y="53"/>
                      <a:pt x="83" y="53"/>
                      <a:pt x="83" y="53"/>
                    </a:cubicBezTo>
                    <a:cubicBezTo>
                      <a:pt x="82" y="50"/>
                      <a:pt x="82" y="50"/>
                      <a:pt x="82" y="50"/>
                    </a:cubicBezTo>
                    <a:cubicBezTo>
                      <a:pt x="85" y="51"/>
                      <a:pt x="85" y="51"/>
                      <a:pt x="85" y="51"/>
                    </a:cubicBezTo>
                    <a:cubicBezTo>
                      <a:pt x="85" y="51"/>
                      <a:pt x="85" y="51"/>
                      <a:pt x="85" y="51"/>
                    </a:cubicBezTo>
                    <a:cubicBezTo>
                      <a:pt x="86" y="51"/>
                      <a:pt x="87" y="52"/>
                      <a:pt x="88" y="52"/>
                    </a:cubicBezTo>
                    <a:cubicBezTo>
                      <a:pt x="88" y="52"/>
                      <a:pt x="88" y="52"/>
                      <a:pt x="88" y="53"/>
                    </a:cubicBezTo>
                    <a:cubicBezTo>
                      <a:pt x="88" y="53"/>
                      <a:pt x="89" y="53"/>
                      <a:pt x="89" y="53"/>
                    </a:cubicBezTo>
                    <a:cubicBezTo>
                      <a:pt x="89" y="52"/>
                      <a:pt x="89" y="52"/>
                      <a:pt x="89" y="52"/>
                    </a:cubicBezTo>
                    <a:cubicBezTo>
                      <a:pt x="90" y="51"/>
                      <a:pt x="90" y="50"/>
                      <a:pt x="90" y="49"/>
                    </a:cubicBezTo>
                    <a:cubicBezTo>
                      <a:pt x="90" y="48"/>
                      <a:pt x="89" y="48"/>
                      <a:pt x="89"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7" name="Freeform 3189">
                <a:extLst>
                  <a:ext uri="{FF2B5EF4-FFF2-40B4-BE49-F238E27FC236}">
                    <a16:creationId xmlns:a16="http://schemas.microsoft.com/office/drawing/2014/main" id="{4AAF6B6E-E163-4E90-8A07-DEA31B4FFF8E}"/>
                  </a:ext>
                </a:extLst>
              </p:cNvPr>
              <p:cNvSpPr>
                <a:spLocks/>
              </p:cNvSpPr>
              <p:nvPr/>
            </p:nvSpPr>
            <p:spPr bwMode="auto">
              <a:xfrm>
                <a:off x="3743" y="1224"/>
                <a:ext cx="71" cy="76"/>
              </a:xfrm>
              <a:custGeom>
                <a:avLst/>
                <a:gdLst>
                  <a:gd name="T0" fmla="*/ 26 w 30"/>
                  <a:gd name="T1" fmla="*/ 8 h 32"/>
                  <a:gd name="T2" fmla="*/ 24 w 30"/>
                  <a:gd name="T3" fmla="*/ 7 h 32"/>
                  <a:gd name="T4" fmla="*/ 23 w 30"/>
                  <a:gd name="T5" fmla="*/ 7 h 32"/>
                  <a:gd name="T6" fmla="*/ 22 w 30"/>
                  <a:gd name="T7" fmla="*/ 9 h 32"/>
                  <a:gd name="T8" fmla="*/ 24 w 30"/>
                  <a:gd name="T9" fmla="*/ 6 h 32"/>
                  <a:gd name="T10" fmla="*/ 21 w 30"/>
                  <a:gd name="T11" fmla="*/ 5 h 32"/>
                  <a:gd name="T12" fmla="*/ 23 w 30"/>
                  <a:gd name="T13" fmla="*/ 5 h 32"/>
                  <a:gd name="T14" fmla="*/ 23 w 30"/>
                  <a:gd name="T15" fmla="*/ 3 h 32"/>
                  <a:gd name="T16" fmla="*/ 23 w 30"/>
                  <a:gd name="T17" fmla="*/ 1 h 32"/>
                  <a:gd name="T18" fmla="*/ 21 w 30"/>
                  <a:gd name="T19" fmla="*/ 0 h 32"/>
                  <a:gd name="T20" fmla="*/ 17 w 30"/>
                  <a:gd name="T21" fmla="*/ 1 h 32"/>
                  <a:gd name="T22" fmla="*/ 14 w 30"/>
                  <a:gd name="T23" fmla="*/ 1 h 32"/>
                  <a:gd name="T24" fmla="*/ 12 w 30"/>
                  <a:gd name="T25" fmla="*/ 4 h 32"/>
                  <a:gd name="T26" fmla="*/ 12 w 30"/>
                  <a:gd name="T27" fmla="*/ 5 h 32"/>
                  <a:gd name="T28" fmla="*/ 14 w 30"/>
                  <a:gd name="T29" fmla="*/ 7 h 32"/>
                  <a:gd name="T30" fmla="*/ 10 w 30"/>
                  <a:gd name="T31" fmla="*/ 6 h 32"/>
                  <a:gd name="T32" fmla="*/ 12 w 30"/>
                  <a:gd name="T33" fmla="*/ 5 h 32"/>
                  <a:gd name="T34" fmla="*/ 9 w 30"/>
                  <a:gd name="T35" fmla="*/ 4 h 32"/>
                  <a:gd name="T36" fmla="*/ 8 w 30"/>
                  <a:gd name="T37" fmla="*/ 5 h 32"/>
                  <a:gd name="T38" fmla="*/ 7 w 30"/>
                  <a:gd name="T39" fmla="*/ 6 h 32"/>
                  <a:gd name="T40" fmla="*/ 7 w 30"/>
                  <a:gd name="T41" fmla="*/ 8 h 32"/>
                  <a:gd name="T42" fmla="*/ 2 w 30"/>
                  <a:gd name="T43" fmla="*/ 5 h 32"/>
                  <a:gd name="T44" fmla="*/ 1 w 30"/>
                  <a:gd name="T45" fmla="*/ 8 h 32"/>
                  <a:gd name="T46" fmla="*/ 1 w 30"/>
                  <a:gd name="T47" fmla="*/ 12 h 32"/>
                  <a:gd name="T48" fmla="*/ 1 w 30"/>
                  <a:gd name="T49" fmla="*/ 15 h 32"/>
                  <a:gd name="T50" fmla="*/ 2 w 30"/>
                  <a:gd name="T51" fmla="*/ 14 h 32"/>
                  <a:gd name="T52" fmla="*/ 4 w 30"/>
                  <a:gd name="T53" fmla="*/ 16 h 32"/>
                  <a:gd name="T54" fmla="*/ 1 w 30"/>
                  <a:gd name="T55" fmla="*/ 15 h 32"/>
                  <a:gd name="T56" fmla="*/ 1 w 30"/>
                  <a:gd name="T57" fmla="*/ 21 h 32"/>
                  <a:gd name="T58" fmla="*/ 3 w 30"/>
                  <a:gd name="T59" fmla="*/ 23 h 32"/>
                  <a:gd name="T60" fmla="*/ 2 w 30"/>
                  <a:gd name="T61" fmla="*/ 21 h 32"/>
                  <a:gd name="T62" fmla="*/ 5 w 30"/>
                  <a:gd name="T63" fmla="*/ 27 h 32"/>
                  <a:gd name="T64" fmla="*/ 4 w 30"/>
                  <a:gd name="T65" fmla="*/ 27 h 32"/>
                  <a:gd name="T66" fmla="*/ 7 w 30"/>
                  <a:gd name="T67" fmla="*/ 28 h 32"/>
                  <a:gd name="T68" fmla="*/ 6 w 30"/>
                  <a:gd name="T69" fmla="*/ 30 h 32"/>
                  <a:gd name="T70" fmla="*/ 7 w 30"/>
                  <a:gd name="T71" fmla="*/ 30 h 32"/>
                  <a:gd name="T72" fmla="*/ 7 w 30"/>
                  <a:gd name="T73" fmla="*/ 30 h 32"/>
                  <a:gd name="T74" fmla="*/ 7 w 30"/>
                  <a:gd name="T75" fmla="*/ 30 h 32"/>
                  <a:gd name="T76" fmla="*/ 11 w 30"/>
                  <a:gd name="T77" fmla="*/ 30 h 32"/>
                  <a:gd name="T78" fmla="*/ 14 w 30"/>
                  <a:gd name="T79" fmla="*/ 31 h 32"/>
                  <a:gd name="T80" fmla="*/ 15 w 30"/>
                  <a:gd name="T81" fmla="*/ 31 h 32"/>
                  <a:gd name="T82" fmla="*/ 15 w 30"/>
                  <a:gd name="T83" fmla="*/ 32 h 32"/>
                  <a:gd name="T84" fmla="*/ 17 w 30"/>
                  <a:gd name="T85" fmla="*/ 31 h 32"/>
                  <a:gd name="T86" fmla="*/ 16 w 30"/>
                  <a:gd name="T87" fmla="*/ 29 h 32"/>
                  <a:gd name="T88" fmla="*/ 15 w 30"/>
                  <a:gd name="T89" fmla="*/ 28 h 32"/>
                  <a:gd name="T90" fmla="*/ 17 w 30"/>
                  <a:gd name="T91" fmla="*/ 27 h 32"/>
                  <a:gd name="T92" fmla="*/ 16 w 30"/>
                  <a:gd name="T93" fmla="*/ 24 h 32"/>
                  <a:gd name="T94" fmla="*/ 17 w 30"/>
                  <a:gd name="T95" fmla="*/ 21 h 32"/>
                  <a:gd name="T96" fmla="*/ 16 w 30"/>
                  <a:gd name="T97" fmla="*/ 20 h 32"/>
                  <a:gd name="T98" fmla="*/ 20 w 30"/>
                  <a:gd name="T99" fmla="*/ 20 h 32"/>
                  <a:gd name="T100" fmla="*/ 20 w 30"/>
                  <a:gd name="T101" fmla="*/ 17 h 32"/>
                  <a:gd name="T102" fmla="*/ 22 w 30"/>
                  <a:gd name="T103" fmla="*/ 17 h 32"/>
                  <a:gd name="T104" fmla="*/ 25 w 30"/>
                  <a:gd name="T105" fmla="*/ 11 h 32"/>
                  <a:gd name="T106" fmla="*/ 25 w 30"/>
                  <a:gd name="T107" fmla="*/ 13 h 32"/>
                  <a:gd name="T108" fmla="*/ 26 w 30"/>
                  <a:gd name="T109" fmla="*/ 13 h 32"/>
                  <a:gd name="T110" fmla="*/ 30 w 30"/>
                  <a:gd name="T111" fmla="*/ 9 h 32"/>
                  <a:gd name="T112" fmla="*/ 26 w 30"/>
                  <a:gd name="T11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 h="32">
                    <a:moveTo>
                      <a:pt x="26" y="8"/>
                    </a:moveTo>
                    <a:cubicBezTo>
                      <a:pt x="25" y="8"/>
                      <a:pt x="25" y="7"/>
                      <a:pt x="24" y="7"/>
                    </a:cubicBezTo>
                    <a:cubicBezTo>
                      <a:pt x="24" y="7"/>
                      <a:pt x="24" y="6"/>
                      <a:pt x="23" y="7"/>
                    </a:cubicBezTo>
                    <a:cubicBezTo>
                      <a:pt x="23" y="7"/>
                      <a:pt x="23" y="8"/>
                      <a:pt x="22" y="9"/>
                    </a:cubicBezTo>
                    <a:cubicBezTo>
                      <a:pt x="23" y="8"/>
                      <a:pt x="23" y="7"/>
                      <a:pt x="24" y="6"/>
                    </a:cubicBezTo>
                    <a:cubicBezTo>
                      <a:pt x="23" y="6"/>
                      <a:pt x="22" y="5"/>
                      <a:pt x="21" y="5"/>
                    </a:cubicBezTo>
                    <a:cubicBezTo>
                      <a:pt x="22" y="5"/>
                      <a:pt x="23" y="5"/>
                      <a:pt x="23" y="5"/>
                    </a:cubicBezTo>
                    <a:cubicBezTo>
                      <a:pt x="23" y="4"/>
                      <a:pt x="23" y="4"/>
                      <a:pt x="23" y="3"/>
                    </a:cubicBezTo>
                    <a:cubicBezTo>
                      <a:pt x="23" y="3"/>
                      <a:pt x="23" y="2"/>
                      <a:pt x="23" y="1"/>
                    </a:cubicBezTo>
                    <a:cubicBezTo>
                      <a:pt x="23" y="1"/>
                      <a:pt x="22" y="0"/>
                      <a:pt x="21" y="0"/>
                    </a:cubicBezTo>
                    <a:cubicBezTo>
                      <a:pt x="20" y="0"/>
                      <a:pt x="18" y="1"/>
                      <a:pt x="17" y="1"/>
                    </a:cubicBezTo>
                    <a:cubicBezTo>
                      <a:pt x="16" y="1"/>
                      <a:pt x="14" y="0"/>
                      <a:pt x="14" y="1"/>
                    </a:cubicBezTo>
                    <a:cubicBezTo>
                      <a:pt x="13" y="2"/>
                      <a:pt x="12" y="3"/>
                      <a:pt x="12" y="4"/>
                    </a:cubicBezTo>
                    <a:cubicBezTo>
                      <a:pt x="12" y="4"/>
                      <a:pt x="12" y="5"/>
                      <a:pt x="12" y="5"/>
                    </a:cubicBezTo>
                    <a:cubicBezTo>
                      <a:pt x="13" y="5"/>
                      <a:pt x="13" y="5"/>
                      <a:pt x="14" y="7"/>
                    </a:cubicBezTo>
                    <a:cubicBezTo>
                      <a:pt x="12" y="7"/>
                      <a:pt x="11" y="7"/>
                      <a:pt x="10" y="6"/>
                    </a:cubicBezTo>
                    <a:cubicBezTo>
                      <a:pt x="11" y="6"/>
                      <a:pt x="11" y="5"/>
                      <a:pt x="12" y="5"/>
                    </a:cubicBezTo>
                    <a:cubicBezTo>
                      <a:pt x="11" y="4"/>
                      <a:pt x="10" y="4"/>
                      <a:pt x="9" y="4"/>
                    </a:cubicBezTo>
                    <a:cubicBezTo>
                      <a:pt x="9" y="4"/>
                      <a:pt x="9" y="5"/>
                      <a:pt x="8" y="5"/>
                    </a:cubicBezTo>
                    <a:cubicBezTo>
                      <a:pt x="8" y="5"/>
                      <a:pt x="7" y="6"/>
                      <a:pt x="7" y="6"/>
                    </a:cubicBezTo>
                    <a:cubicBezTo>
                      <a:pt x="7" y="7"/>
                      <a:pt x="8" y="7"/>
                      <a:pt x="7" y="8"/>
                    </a:cubicBezTo>
                    <a:cubicBezTo>
                      <a:pt x="6" y="8"/>
                      <a:pt x="2" y="7"/>
                      <a:pt x="2" y="5"/>
                    </a:cubicBezTo>
                    <a:cubicBezTo>
                      <a:pt x="2" y="6"/>
                      <a:pt x="1" y="7"/>
                      <a:pt x="1" y="8"/>
                    </a:cubicBezTo>
                    <a:cubicBezTo>
                      <a:pt x="1" y="9"/>
                      <a:pt x="1" y="10"/>
                      <a:pt x="1" y="12"/>
                    </a:cubicBezTo>
                    <a:cubicBezTo>
                      <a:pt x="1" y="13"/>
                      <a:pt x="1" y="14"/>
                      <a:pt x="1" y="15"/>
                    </a:cubicBezTo>
                    <a:cubicBezTo>
                      <a:pt x="1" y="15"/>
                      <a:pt x="1" y="14"/>
                      <a:pt x="2" y="14"/>
                    </a:cubicBezTo>
                    <a:cubicBezTo>
                      <a:pt x="3" y="15"/>
                      <a:pt x="3" y="15"/>
                      <a:pt x="4" y="16"/>
                    </a:cubicBezTo>
                    <a:cubicBezTo>
                      <a:pt x="2" y="16"/>
                      <a:pt x="1" y="17"/>
                      <a:pt x="1" y="15"/>
                    </a:cubicBezTo>
                    <a:cubicBezTo>
                      <a:pt x="1" y="17"/>
                      <a:pt x="2" y="19"/>
                      <a:pt x="1" y="21"/>
                    </a:cubicBezTo>
                    <a:cubicBezTo>
                      <a:pt x="0" y="22"/>
                      <a:pt x="2" y="23"/>
                      <a:pt x="3" y="23"/>
                    </a:cubicBezTo>
                    <a:cubicBezTo>
                      <a:pt x="3" y="22"/>
                      <a:pt x="2" y="22"/>
                      <a:pt x="2" y="21"/>
                    </a:cubicBezTo>
                    <a:cubicBezTo>
                      <a:pt x="5" y="20"/>
                      <a:pt x="8" y="26"/>
                      <a:pt x="5" y="27"/>
                    </a:cubicBezTo>
                    <a:cubicBezTo>
                      <a:pt x="5" y="27"/>
                      <a:pt x="5" y="26"/>
                      <a:pt x="4" y="27"/>
                    </a:cubicBezTo>
                    <a:cubicBezTo>
                      <a:pt x="4" y="28"/>
                      <a:pt x="6" y="28"/>
                      <a:pt x="7" y="28"/>
                    </a:cubicBezTo>
                    <a:cubicBezTo>
                      <a:pt x="6" y="28"/>
                      <a:pt x="6" y="30"/>
                      <a:pt x="6" y="30"/>
                    </a:cubicBezTo>
                    <a:cubicBezTo>
                      <a:pt x="7" y="30"/>
                      <a:pt x="7" y="30"/>
                      <a:pt x="7" y="30"/>
                    </a:cubicBezTo>
                    <a:cubicBezTo>
                      <a:pt x="7" y="30"/>
                      <a:pt x="7" y="30"/>
                      <a:pt x="7" y="30"/>
                    </a:cubicBezTo>
                    <a:cubicBezTo>
                      <a:pt x="7" y="30"/>
                      <a:pt x="7" y="30"/>
                      <a:pt x="7" y="30"/>
                    </a:cubicBezTo>
                    <a:cubicBezTo>
                      <a:pt x="8" y="30"/>
                      <a:pt x="10" y="30"/>
                      <a:pt x="11" y="30"/>
                    </a:cubicBezTo>
                    <a:cubicBezTo>
                      <a:pt x="12" y="31"/>
                      <a:pt x="13" y="31"/>
                      <a:pt x="14" y="31"/>
                    </a:cubicBezTo>
                    <a:cubicBezTo>
                      <a:pt x="15" y="31"/>
                      <a:pt x="15" y="31"/>
                      <a:pt x="15" y="31"/>
                    </a:cubicBezTo>
                    <a:cubicBezTo>
                      <a:pt x="15" y="32"/>
                      <a:pt x="15" y="32"/>
                      <a:pt x="15" y="32"/>
                    </a:cubicBezTo>
                    <a:cubicBezTo>
                      <a:pt x="16" y="31"/>
                      <a:pt x="16" y="30"/>
                      <a:pt x="17" y="31"/>
                    </a:cubicBezTo>
                    <a:cubicBezTo>
                      <a:pt x="18" y="30"/>
                      <a:pt x="17" y="30"/>
                      <a:pt x="16" y="29"/>
                    </a:cubicBezTo>
                    <a:cubicBezTo>
                      <a:pt x="16" y="29"/>
                      <a:pt x="15" y="30"/>
                      <a:pt x="15" y="28"/>
                    </a:cubicBezTo>
                    <a:cubicBezTo>
                      <a:pt x="14" y="27"/>
                      <a:pt x="16" y="28"/>
                      <a:pt x="17" y="27"/>
                    </a:cubicBezTo>
                    <a:cubicBezTo>
                      <a:pt x="17" y="26"/>
                      <a:pt x="16" y="25"/>
                      <a:pt x="16" y="24"/>
                    </a:cubicBezTo>
                    <a:cubicBezTo>
                      <a:pt x="15" y="22"/>
                      <a:pt x="16" y="22"/>
                      <a:pt x="17" y="21"/>
                    </a:cubicBezTo>
                    <a:cubicBezTo>
                      <a:pt x="17" y="20"/>
                      <a:pt x="16" y="20"/>
                      <a:pt x="16" y="20"/>
                    </a:cubicBezTo>
                    <a:cubicBezTo>
                      <a:pt x="17" y="19"/>
                      <a:pt x="19" y="20"/>
                      <a:pt x="20" y="20"/>
                    </a:cubicBezTo>
                    <a:cubicBezTo>
                      <a:pt x="20" y="19"/>
                      <a:pt x="19" y="16"/>
                      <a:pt x="20" y="17"/>
                    </a:cubicBezTo>
                    <a:cubicBezTo>
                      <a:pt x="21" y="17"/>
                      <a:pt x="22" y="18"/>
                      <a:pt x="22" y="17"/>
                    </a:cubicBezTo>
                    <a:cubicBezTo>
                      <a:pt x="23" y="16"/>
                      <a:pt x="23" y="10"/>
                      <a:pt x="25" y="11"/>
                    </a:cubicBezTo>
                    <a:cubicBezTo>
                      <a:pt x="24" y="12"/>
                      <a:pt x="24" y="13"/>
                      <a:pt x="25" y="13"/>
                    </a:cubicBezTo>
                    <a:cubicBezTo>
                      <a:pt x="25" y="14"/>
                      <a:pt x="25" y="14"/>
                      <a:pt x="26" y="13"/>
                    </a:cubicBezTo>
                    <a:cubicBezTo>
                      <a:pt x="28" y="12"/>
                      <a:pt x="29" y="11"/>
                      <a:pt x="30" y="9"/>
                    </a:cubicBezTo>
                    <a:cubicBezTo>
                      <a:pt x="28" y="8"/>
                      <a:pt x="27" y="8"/>
                      <a:pt x="2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8" name="Freeform 3190">
                <a:extLst>
                  <a:ext uri="{FF2B5EF4-FFF2-40B4-BE49-F238E27FC236}">
                    <a16:creationId xmlns:a16="http://schemas.microsoft.com/office/drawing/2014/main" id="{4766934E-8256-4DC9-B124-B1101F9B0B8B}"/>
                  </a:ext>
                </a:extLst>
              </p:cNvPr>
              <p:cNvSpPr>
                <a:spLocks/>
              </p:cNvSpPr>
              <p:nvPr/>
            </p:nvSpPr>
            <p:spPr bwMode="auto">
              <a:xfrm>
                <a:off x="5968" y="2620"/>
                <a:ext cx="101" cy="126"/>
              </a:xfrm>
              <a:custGeom>
                <a:avLst/>
                <a:gdLst>
                  <a:gd name="T0" fmla="*/ 40 w 43"/>
                  <a:gd name="T1" fmla="*/ 47 h 53"/>
                  <a:gd name="T2" fmla="*/ 35 w 43"/>
                  <a:gd name="T3" fmla="*/ 39 h 53"/>
                  <a:gd name="T4" fmla="*/ 33 w 43"/>
                  <a:gd name="T5" fmla="*/ 36 h 53"/>
                  <a:gd name="T6" fmla="*/ 33 w 43"/>
                  <a:gd name="T7" fmla="*/ 31 h 53"/>
                  <a:gd name="T8" fmla="*/ 34 w 43"/>
                  <a:gd name="T9" fmla="*/ 23 h 53"/>
                  <a:gd name="T10" fmla="*/ 32 w 43"/>
                  <a:gd name="T11" fmla="*/ 14 h 53"/>
                  <a:gd name="T12" fmla="*/ 26 w 43"/>
                  <a:gd name="T13" fmla="*/ 8 h 53"/>
                  <a:gd name="T14" fmla="*/ 23 w 43"/>
                  <a:gd name="T15" fmla="*/ 5 h 53"/>
                  <a:gd name="T16" fmla="*/ 21 w 43"/>
                  <a:gd name="T17" fmla="*/ 3 h 53"/>
                  <a:gd name="T18" fmla="*/ 21 w 43"/>
                  <a:gd name="T19" fmla="*/ 3 h 53"/>
                  <a:gd name="T20" fmla="*/ 20 w 43"/>
                  <a:gd name="T21" fmla="*/ 4 h 53"/>
                  <a:gd name="T22" fmla="*/ 20 w 43"/>
                  <a:gd name="T23" fmla="*/ 4 h 53"/>
                  <a:gd name="T24" fmla="*/ 20 w 43"/>
                  <a:gd name="T25" fmla="*/ 5 h 53"/>
                  <a:gd name="T26" fmla="*/ 16 w 43"/>
                  <a:gd name="T27" fmla="*/ 9 h 53"/>
                  <a:gd name="T28" fmla="*/ 14 w 43"/>
                  <a:gd name="T29" fmla="*/ 8 h 53"/>
                  <a:gd name="T30" fmla="*/ 14 w 43"/>
                  <a:gd name="T31" fmla="*/ 7 h 53"/>
                  <a:gd name="T32" fmla="*/ 13 w 43"/>
                  <a:gd name="T33" fmla="*/ 8 h 53"/>
                  <a:gd name="T34" fmla="*/ 12 w 43"/>
                  <a:gd name="T35" fmla="*/ 8 h 53"/>
                  <a:gd name="T36" fmla="*/ 12 w 43"/>
                  <a:gd name="T37" fmla="*/ 9 h 53"/>
                  <a:gd name="T38" fmla="*/ 12 w 43"/>
                  <a:gd name="T39" fmla="*/ 9 h 53"/>
                  <a:gd name="T40" fmla="*/ 11 w 43"/>
                  <a:gd name="T41" fmla="*/ 10 h 53"/>
                  <a:gd name="T42" fmla="*/ 11 w 43"/>
                  <a:gd name="T43" fmla="*/ 10 h 53"/>
                  <a:gd name="T44" fmla="*/ 10 w 43"/>
                  <a:gd name="T45" fmla="*/ 10 h 53"/>
                  <a:gd name="T46" fmla="*/ 10 w 43"/>
                  <a:gd name="T47" fmla="*/ 10 h 53"/>
                  <a:gd name="T48" fmla="*/ 8 w 43"/>
                  <a:gd name="T49" fmla="*/ 9 h 53"/>
                  <a:gd name="T50" fmla="*/ 8 w 43"/>
                  <a:gd name="T51" fmla="*/ 5 h 53"/>
                  <a:gd name="T52" fmla="*/ 9 w 43"/>
                  <a:gd name="T53" fmla="*/ 4 h 53"/>
                  <a:gd name="T54" fmla="*/ 8 w 43"/>
                  <a:gd name="T55" fmla="*/ 4 h 53"/>
                  <a:gd name="T56" fmla="*/ 8 w 43"/>
                  <a:gd name="T57" fmla="*/ 4 h 53"/>
                  <a:gd name="T58" fmla="*/ 6 w 43"/>
                  <a:gd name="T59" fmla="*/ 3 h 53"/>
                  <a:gd name="T60" fmla="*/ 6 w 43"/>
                  <a:gd name="T61" fmla="*/ 2 h 53"/>
                  <a:gd name="T62" fmla="*/ 6 w 43"/>
                  <a:gd name="T63" fmla="*/ 1 h 53"/>
                  <a:gd name="T64" fmla="*/ 5 w 43"/>
                  <a:gd name="T65" fmla="*/ 1 h 53"/>
                  <a:gd name="T66" fmla="*/ 5 w 43"/>
                  <a:gd name="T67" fmla="*/ 1 h 53"/>
                  <a:gd name="T68" fmla="*/ 4 w 43"/>
                  <a:gd name="T69" fmla="*/ 1 h 53"/>
                  <a:gd name="T70" fmla="*/ 3 w 43"/>
                  <a:gd name="T71" fmla="*/ 1 h 53"/>
                  <a:gd name="T72" fmla="*/ 1 w 43"/>
                  <a:gd name="T73" fmla="*/ 0 h 53"/>
                  <a:gd name="T74" fmla="*/ 1 w 43"/>
                  <a:gd name="T75" fmla="*/ 2 h 53"/>
                  <a:gd name="T76" fmla="*/ 0 w 43"/>
                  <a:gd name="T77" fmla="*/ 2 h 53"/>
                  <a:gd name="T78" fmla="*/ 0 w 43"/>
                  <a:gd name="T79" fmla="*/ 2 h 53"/>
                  <a:gd name="T80" fmla="*/ 2 w 43"/>
                  <a:gd name="T81" fmla="*/ 5 h 53"/>
                  <a:gd name="T82" fmla="*/ 2 w 43"/>
                  <a:gd name="T83" fmla="*/ 9 h 53"/>
                  <a:gd name="T84" fmla="*/ 2 w 43"/>
                  <a:gd name="T85" fmla="*/ 14 h 53"/>
                  <a:gd name="T86" fmla="*/ 4 w 43"/>
                  <a:gd name="T87" fmla="*/ 18 h 53"/>
                  <a:gd name="T88" fmla="*/ 4 w 43"/>
                  <a:gd name="T89" fmla="*/ 21 h 53"/>
                  <a:gd name="T90" fmla="*/ 7 w 43"/>
                  <a:gd name="T91" fmla="*/ 25 h 53"/>
                  <a:gd name="T92" fmla="*/ 5 w 43"/>
                  <a:gd name="T93" fmla="*/ 26 h 53"/>
                  <a:gd name="T94" fmla="*/ 7 w 43"/>
                  <a:gd name="T95" fmla="*/ 28 h 53"/>
                  <a:gd name="T96" fmla="*/ 9 w 43"/>
                  <a:gd name="T97" fmla="*/ 31 h 53"/>
                  <a:gd name="T98" fmla="*/ 12 w 43"/>
                  <a:gd name="T99" fmla="*/ 35 h 53"/>
                  <a:gd name="T100" fmla="*/ 12 w 43"/>
                  <a:gd name="T101" fmla="*/ 38 h 53"/>
                  <a:gd name="T102" fmla="*/ 15 w 43"/>
                  <a:gd name="T103" fmla="*/ 39 h 53"/>
                  <a:gd name="T104" fmla="*/ 20 w 43"/>
                  <a:gd name="T105" fmla="*/ 43 h 53"/>
                  <a:gd name="T106" fmla="*/ 25 w 43"/>
                  <a:gd name="T107" fmla="*/ 46 h 53"/>
                  <a:gd name="T108" fmla="*/ 30 w 43"/>
                  <a:gd name="T109" fmla="*/ 49 h 53"/>
                  <a:gd name="T110" fmla="*/ 34 w 43"/>
                  <a:gd name="T111" fmla="*/ 53 h 53"/>
                  <a:gd name="T112" fmla="*/ 37 w 43"/>
                  <a:gd name="T113" fmla="*/ 52 h 53"/>
                  <a:gd name="T114" fmla="*/ 39 w 43"/>
                  <a:gd name="T115" fmla="*/ 50 h 53"/>
                  <a:gd name="T116" fmla="*/ 40 w 43"/>
                  <a:gd name="T117" fmla="*/ 52 h 53"/>
                  <a:gd name="T118" fmla="*/ 42 w 43"/>
                  <a:gd name="T119" fmla="*/ 52 h 53"/>
                  <a:gd name="T120" fmla="*/ 40 w 43"/>
                  <a:gd name="T121"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53">
                    <a:moveTo>
                      <a:pt x="40" y="47"/>
                    </a:moveTo>
                    <a:cubicBezTo>
                      <a:pt x="39" y="44"/>
                      <a:pt x="37" y="42"/>
                      <a:pt x="35" y="39"/>
                    </a:cubicBezTo>
                    <a:cubicBezTo>
                      <a:pt x="35" y="38"/>
                      <a:pt x="33" y="37"/>
                      <a:pt x="33" y="36"/>
                    </a:cubicBezTo>
                    <a:cubicBezTo>
                      <a:pt x="33" y="34"/>
                      <a:pt x="33" y="32"/>
                      <a:pt x="33" y="31"/>
                    </a:cubicBezTo>
                    <a:cubicBezTo>
                      <a:pt x="33" y="28"/>
                      <a:pt x="33" y="25"/>
                      <a:pt x="34" y="23"/>
                    </a:cubicBezTo>
                    <a:cubicBezTo>
                      <a:pt x="34" y="19"/>
                      <a:pt x="33" y="17"/>
                      <a:pt x="32" y="14"/>
                    </a:cubicBezTo>
                    <a:cubicBezTo>
                      <a:pt x="30" y="11"/>
                      <a:pt x="28" y="10"/>
                      <a:pt x="26" y="8"/>
                    </a:cubicBezTo>
                    <a:cubicBezTo>
                      <a:pt x="24" y="7"/>
                      <a:pt x="24" y="6"/>
                      <a:pt x="23" y="5"/>
                    </a:cubicBezTo>
                    <a:cubicBezTo>
                      <a:pt x="23" y="4"/>
                      <a:pt x="22" y="4"/>
                      <a:pt x="21" y="3"/>
                    </a:cubicBezTo>
                    <a:cubicBezTo>
                      <a:pt x="21" y="3"/>
                      <a:pt x="21" y="3"/>
                      <a:pt x="21" y="3"/>
                    </a:cubicBezTo>
                    <a:cubicBezTo>
                      <a:pt x="21" y="4"/>
                      <a:pt x="21" y="4"/>
                      <a:pt x="20" y="4"/>
                    </a:cubicBezTo>
                    <a:cubicBezTo>
                      <a:pt x="20" y="4"/>
                      <a:pt x="20" y="4"/>
                      <a:pt x="20" y="4"/>
                    </a:cubicBezTo>
                    <a:cubicBezTo>
                      <a:pt x="20" y="5"/>
                      <a:pt x="20" y="5"/>
                      <a:pt x="20" y="5"/>
                    </a:cubicBezTo>
                    <a:cubicBezTo>
                      <a:pt x="19" y="7"/>
                      <a:pt x="19" y="8"/>
                      <a:pt x="16" y="9"/>
                    </a:cubicBezTo>
                    <a:cubicBezTo>
                      <a:pt x="15" y="9"/>
                      <a:pt x="14" y="8"/>
                      <a:pt x="14" y="8"/>
                    </a:cubicBezTo>
                    <a:cubicBezTo>
                      <a:pt x="14" y="8"/>
                      <a:pt x="14" y="8"/>
                      <a:pt x="14" y="7"/>
                    </a:cubicBezTo>
                    <a:cubicBezTo>
                      <a:pt x="14" y="8"/>
                      <a:pt x="13" y="8"/>
                      <a:pt x="13" y="8"/>
                    </a:cubicBezTo>
                    <a:cubicBezTo>
                      <a:pt x="12" y="8"/>
                      <a:pt x="12" y="8"/>
                      <a:pt x="12" y="8"/>
                    </a:cubicBezTo>
                    <a:cubicBezTo>
                      <a:pt x="12" y="9"/>
                      <a:pt x="12" y="9"/>
                      <a:pt x="12" y="9"/>
                    </a:cubicBezTo>
                    <a:cubicBezTo>
                      <a:pt x="12" y="9"/>
                      <a:pt x="12" y="9"/>
                      <a:pt x="12" y="9"/>
                    </a:cubicBezTo>
                    <a:cubicBezTo>
                      <a:pt x="12" y="9"/>
                      <a:pt x="11" y="9"/>
                      <a:pt x="11" y="10"/>
                    </a:cubicBezTo>
                    <a:cubicBezTo>
                      <a:pt x="11" y="10"/>
                      <a:pt x="11" y="10"/>
                      <a:pt x="11" y="10"/>
                    </a:cubicBezTo>
                    <a:cubicBezTo>
                      <a:pt x="11" y="10"/>
                      <a:pt x="10" y="10"/>
                      <a:pt x="10" y="10"/>
                    </a:cubicBezTo>
                    <a:cubicBezTo>
                      <a:pt x="10" y="10"/>
                      <a:pt x="10" y="10"/>
                      <a:pt x="10" y="10"/>
                    </a:cubicBezTo>
                    <a:cubicBezTo>
                      <a:pt x="9" y="10"/>
                      <a:pt x="9" y="9"/>
                      <a:pt x="8" y="9"/>
                    </a:cubicBezTo>
                    <a:cubicBezTo>
                      <a:pt x="7" y="7"/>
                      <a:pt x="8" y="6"/>
                      <a:pt x="8" y="5"/>
                    </a:cubicBezTo>
                    <a:cubicBezTo>
                      <a:pt x="8" y="4"/>
                      <a:pt x="8" y="4"/>
                      <a:pt x="9" y="4"/>
                    </a:cubicBezTo>
                    <a:cubicBezTo>
                      <a:pt x="8" y="4"/>
                      <a:pt x="8" y="4"/>
                      <a:pt x="8" y="4"/>
                    </a:cubicBezTo>
                    <a:cubicBezTo>
                      <a:pt x="8" y="4"/>
                      <a:pt x="8" y="4"/>
                      <a:pt x="8" y="4"/>
                    </a:cubicBezTo>
                    <a:cubicBezTo>
                      <a:pt x="6" y="4"/>
                      <a:pt x="6" y="3"/>
                      <a:pt x="6" y="3"/>
                    </a:cubicBezTo>
                    <a:cubicBezTo>
                      <a:pt x="6" y="2"/>
                      <a:pt x="6" y="2"/>
                      <a:pt x="6" y="2"/>
                    </a:cubicBezTo>
                    <a:cubicBezTo>
                      <a:pt x="6" y="1"/>
                      <a:pt x="6" y="1"/>
                      <a:pt x="6" y="1"/>
                    </a:cubicBezTo>
                    <a:cubicBezTo>
                      <a:pt x="5" y="1"/>
                      <a:pt x="5" y="1"/>
                      <a:pt x="5" y="1"/>
                    </a:cubicBezTo>
                    <a:cubicBezTo>
                      <a:pt x="5" y="1"/>
                      <a:pt x="5" y="1"/>
                      <a:pt x="5" y="1"/>
                    </a:cubicBezTo>
                    <a:cubicBezTo>
                      <a:pt x="5" y="1"/>
                      <a:pt x="4" y="1"/>
                      <a:pt x="4" y="1"/>
                    </a:cubicBezTo>
                    <a:cubicBezTo>
                      <a:pt x="3" y="1"/>
                      <a:pt x="3" y="1"/>
                      <a:pt x="3" y="1"/>
                    </a:cubicBezTo>
                    <a:cubicBezTo>
                      <a:pt x="2" y="1"/>
                      <a:pt x="2" y="0"/>
                      <a:pt x="1" y="0"/>
                    </a:cubicBezTo>
                    <a:cubicBezTo>
                      <a:pt x="1" y="2"/>
                      <a:pt x="1" y="2"/>
                      <a:pt x="1" y="2"/>
                    </a:cubicBezTo>
                    <a:cubicBezTo>
                      <a:pt x="0" y="2"/>
                      <a:pt x="0" y="2"/>
                      <a:pt x="0" y="2"/>
                    </a:cubicBezTo>
                    <a:cubicBezTo>
                      <a:pt x="0" y="2"/>
                      <a:pt x="0" y="2"/>
                      <a:pt x="0" y="2"/>
                    </a:cubicBezTo>
                    <a:cubicBezTo>
                      <a:pt x="1" y="3"/>
                      <a:pt x="2" y="4"/>
                      <a:pt x="2" y="5"/>
                    </a:cubicBezTo>
                    <a:cubicBezTo>
                      <a:pt x="2" y="6"/>
                      <a:pt x="2" y="8"/>
                      <a:pt x="2" y="9"/>
                    </a:cubicBezTo>
                    <a:cubicBezTo>
                      <a:pt x="2" y="11"/>
                      <a:pt x="2" y="12"/>
                      <a:pt x="2" y="14"/>
                    </a:cubicBezTo>
                    <a:cubicBezTo>
                      <a:pt x="3" y="15"/>
                      <a:pt x="3" y="16"/>
                      <a:pt x="4" y="18"/>
                    </a:cubicBezTo>
                    <a:cubicBezTo>
                      <a:pt x="4" y="19"/>
                      <a:pt x="5" y="20"/>
                      <a:pt x="4" y="21"/>
                    </a:cubicBezTo>
                    <a:cubicBezTo>
                      <a:pt x="4" y="23"/>
                      <a:pt x="5" y="24"/>
                      <a:pt x="7" y="25"/>
                    </a:cubicBezTo>
                    <a:cubicBezTo>
                      <a:pt x="6" y="25"/>
                      <a:pt x="5" y="26"/>
                      <a:pt x="5" y="26"/>
                    </a:cubicBezTo>
                    <a:cubicBezTo>
                      <a:pt x="6" y="27"/>
                      <a:pt x="7" y="27"/>
                      <a:pt x="7" y="28"/>
                    </a:cubicBezTo>
                    <a:cubicBezTo>
                      <a:pt x="8" y="29"/>
                      <a:pt x="9" y="30"/>
                      <a:pt x="9" y="31"/>
                    </a:cubicBezTo>
                    <a:cubicBezTo>
                      <a:pt x="10" y="32"/>
                      <a:pt x="12" y="33"/>
                      <a:pt x="12" y="35"/>
                    </a:cubicBezTo>
                    <a:cubicBezTo>
                      <a:pt x="12" y="36"/>
                      <a:pt x="11" y="37"/>
                      <a:pt x="12" y="38"/>
                    </a:cubicBezTo>
                    <a:cubicBezTo>
                      <a:pt x="13" y="38"/>
                      <a:pt x="14" y="39"/>
                      <a:pt x="15" y="39"/>
                    </a:cubicBezTo>
                    <a:cubicBezTo>
                      <a:pt x="16" y="40"/>
                      <a:pt x="18" y="42"/>
                      <a:pt x="20" y="43"/>
                    </a:cubicBezTo>
                    <a:cubicBezTo>
                      <a:pt x="21" y="44"/>
                      <a:pt x="23" y="45"/>
                      <a:pt x="25" y="46"/>
                    </a:cubicBezTo>
                    <a:cubicBezTo>
                      <a:pt x="26" y="47"/>
                      <a:pt x="28" y="48"/>
                      <a:pt x="30" y="49"/>
                    </a:cubicBezTo>
                    <a:cubicBezTo>
                      <a:pt x="32" y="50"/>
                      <a:pt x="33" y="52"/>
                      <a:pt x="34" y="53"/>
                    </a:cubicBezTo>
                    <a:cubicBezTo>
                      <a:pt x="35" y="53"/>
                      <a:pt x="36" y="52"/>
                      <a:pt x="37" y="52"/>
                    </a:cubicBezTo>
                    <a:cubicBezTo>
                      <a:pt x="38" y="51"/>
                      <a:pt x="39" y="53"/>
                      <a:pt x="39" y="50"/>
                    </a:cubicBezTo>
                    <a:cubicBezTo>
                      <a:pt x="41" y="51"/>
                      <a:pt x="40" y="51"/>
                      <a:pt x="40" y="52"/>
                    </a:cubicBezTo>
                    <a:cubicBezTo>
                      <a:pt x="41" y="53"/>
                      <a:pt x="42" y="52"/>
                      <a:pt x="42" y="52"/>
                    </a:cubicBezTo>
                    <a:cubicBezTo>
                      <a:pt x="43" y="50"/>
                      <a:pt x="41" y="48"/>
                      <a:pt x="4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1647" name="Freeform 3192">
              <a:extLst>
                <a:ext uri="{FF2B5EF4-FFF2-40B4-BE49-F238E27FC236}">
                  <a16:creationId xmlns:a16="http://schemas.microsoft.com/office/drawing/2014/main" id="{EE19D0DF-90E7-4945-9D0F-A0BFE7467887}"/>
                </a:ext>
              </a:extLst>
            </p:cNvPr>
            <p:cNvSpPr>
              <a:spLocks/>
            </p:cNvSpPr>
            <p:nvPr/>
          </p:nvSpPr>
          <p:spPr bwMode="auto">
            <a:xfrm>
              <a:off x="4904" y="2123"/>
              <a:ext cx="9" cy="19"/>
            </a:xfrm>
            <a:custGeom>
              <a:avLst/>
              <a:gdLst>
                <a:gd name="T0" fmla="*/ 2 w 4"/>
                <a:gd name="T1" fmla="*/ 3 h 8"/>
                <a:gd name="T2" fmla="*/ 4 w 4"/>
                <a:gd name="T3" fmla="*/ 1 h 8"/>
                <a:gd name="T4" fmla="*/ 0 w 4"/>
                <a:gd name="T5" fmla="*/ 3 h 8"/>
                <a:gd name="T6" fmla="*/ 1 w 4"/>
                <a:gd name="T7" fmla="*/ 3 h 8"/>
                <a:gd name="T8" fmla="*/ 1 w 4"/>
                <a:gd name="T9" fmla="*/ 3 h 8"/>
                <a:gd name="T10" fmla="*/ 1 w 4"/>
                <a:gd name="T11" fmla="*/ 4 h 8"/>
                <a:gd name="T12" fmla="*/ 1 w 4"/>
                <a:gd name="T13" fmla="*/ 5 h 8"/>
                <a:gd name="T14" fmla="*/ 1 w 4"/>
                <a:gd name="T15" fmla="*/ 7 h 8"/>
                <a:gd name="T16" fmla="*/ 2 w 4"/>
                <a:gd name="T17" fmla="*/ 7 h 8"/>
                <a:gd name="T18" fmla="*/ 2 w 4"/>
                <a:gd name="T19" fmla="*/ 8 h 8"/>
                <a:gd name="T20" fmla="*/ 4 w 4"/>
                <a:gd name="T21" fmla="*/ 4 h 8"/>
                <a:gd name="T22" fmla="*/ 2 w 4"/>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2" y="3"/>
                  </a:moveTo>
                  <a:cubicBezTo>
                    <a:pt x="3" y="2"/>
                    <a:pt x="4" y="2"/>
                    <a:pt x="4" y="1"/>
                  </a:cubicBezTo>
                  <a:cubicBezTo>
                    <a:pt x="2" y="0"/>
                    <a:pt x="1" y="2"/>
                    <a:pt x="0" y="3"/>
                  </a:cubicBezTo>
                  <a:cubicBezTo>
                    <a:pt x="1" y="3"/>
                    <a:pt x="1" y="3"/>
                    <a:pt x="1" y="3"/>
                  </a:cubicBezTo>
                  <a:cubicBezTo>
                    <a:pt x="1" y="3"/>
                    <a:pt x="1" y="3"/>
                    <a:pt x="1" y="3"/>
                  </a:cubicBezTo>
                  <a:cubicBezTo>
                    <a:pt x="1" y="4"/>
                    <a:pt x="1" y="4"/>
                    <a:pt x="1" y="4"/>
                  </a:cubicBezTo>
                  <a:cubicBezTo>
                    <a:pt x="1" y="5"/>
                    <a:pt x="1" y="5"/>
                    <a:pt x="1" y="5"/>
                  </a:cubicBezTo>
                  <a:cubicBezTo>
                    <a:pt x="1" y="6"/>
                    <a:pt x="1" y="7"/>
                    <a:pt x="1" y="7"/>
                  </a:cubicBezTo>
                  <a:cubicBezTo>
                    <a:pt x="2" y="7"/>
                    <a:pt x="2" y="7"/>
                    <a:pt x="2" y="7"/>
                  </a:cubicBezTo>
                  <a:cubicBezTo>
                    <a:pt x="2" y="8"/>
                    <a:pt x="2" y="8"/>
                    <a:pt x="2" y="8"/>
                  </a:cubicBezTo>
                  <a:cubicBezTo>
                    <a:pt x="3" y="7"/>
                    <a:pt x="3" y="5"/>
                    <a:pt x="4" y="4"/>
                  </a:cubicBezTo>
                  <a:cubicBezTo>
                    <a:pt x="3" y="4"/>
                    <a:pt x="3"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48" name="Freeform 3193">
              <a:extLst>
                <a:ext uri="{FF2B5EF4-FFF2-40B4-BE49-F238E27FC236}">
                  <a16:creationId xmlns:a16="http://schemas.microsoft.com/office/drawing/2014/main" id="{A88089D6-EDA3-4832-BD92-CB9AE45DD674}"/>
                </a:ext>
              </a:extLst>
            </p:cNvPr>
            <p:cNvSpPr>
              <a:spLocks/>
            </p:cNvSpPr>
            <p:nvPr/>
          </p:nvSpPr>
          <p:spPr bwMode="auto">
            <a:xfrm>
              <a:off x="4057" y="725"/>
              <a:ext cx="251" cy="400"/>
            </a:xfrm>
            <a:custGeom>
              <a:avLst/>
              <a:gdLst>
                <a:gd name="T0" fmla="*/ 90 w 106"/>
                <a:gd name="T1" fmla="*/ 139 h 169"/>
                <a:gd name="T2" fmla="*/ 104 w 106"/>
                <a:gd name="T3" fmla="*/ 125 h 169"/>
                <a:gd name="T4" fmla="*/ 95 w 106"/>
                <a:gd name="T5" fmla="*/ 112 h 169"/>
                <a:gd name="T6" fmla="*/ 95 w 106"/>
                <a:gd name="T7" fmla="*/ 104 h 169"/>
                <a:gd name="T8" fmla="*/ 90 w 106"/>
                <a:gd name="T9" fmla="*/ 96 h 169"/>
                <a:gd name="T10" fmla="*/ 91 w 106"/>
                <a:gd name="T11" fmla="*/ 93 h 169"/>
                <a:gd name="T12" fmla="*/ 88 w 106"/>
                <a:gd name="T13" fmla="*/ 85 h 169"/>
                <a:gd name="T14" fmla="*/ 87 w 106"/>
                <a:gd name="T15" fmla="*/ 81 h 169"/>
                <a:gd name="T16" fmla="*/ 88 w 106"/>
                <a:gd name="T17" fmla="*/ 76 h 169"/>
                <a:gd name="T18" fmla="*/ 82 w 106"/>
                <a:gd name="T19" fmla="*/ 58 h 169"/>
                <a:gd name="T20" fmla="*/ 90 w 106"/>
                <a:gd name="T21" fmla="*/ 42 h 169"/>
                <a:gd name="T22" fmla="*/ 82 w 106"/>
                <a:gd name="T23" fmla="*/ 35 h 169"/>
                <a:gd name="T24" fmla="*/ 75 w 106"/>
                <a:gd name="T25" fmla="*/ 30 h 169"/>
                <a:gd name="T26" fmla="*/ 76 w 106"/>
                <a:gd name="T27" fmla="*/ 24 h 169"/>
                <a:gd name="T28" fmla="*/ 77 w 106"/>
                <a:gd name="T29" fmla="*/ 19 h 169"/>
                <a:gd name="T30" fmla="*/ 80 w 106"/>
                <a:gd name="T31" fmla="*/ 17 h 169"/>
                <a:gd name="T32" fmla="*/ 79 w 106"/>
                <a:gd name="T33" fmla="*/ 15 h 169"/>
                <a:gd name="T34" fmla="*/ 83 w 106"/>
                <a:gd name="T35" fmla="*/ 10 h 169"/>
                <a:gd name="T36" fmla="*/ 73 w 106"/>
                <a:gd name="T37" fmla="*/ 3 h 169"/>
                <a:gd name="T38" fmla="*/ 67 w 106"/>
                <a:gd name="T39" fmla="*/ 1 h 169"/>
                <a:gd name="T40" fmla="*/ 61 w 106"/>
                <a:gd name="T41" fmla="*/ 2 h 169"/>
                <a:gd name="T42" fmla="*/ 53 w 106"/>
                <a:gd name="T43" fmla="*/ 6 h 169"/>
                <a:gd name="T44" fmla="*/ 50 w 106"/>
                <a:gd name="T45" fmla="*/ 11 h 169"/>
                <a:gd name="T46" fmla="*/ 46 w 106"/>
                <a:gd name="T47" fmla="*/ 22 h 169"/>
                <a:gd name="T48" fmla="*/ 39 w 106"/>
                <a:gd name="T49" fmla="*/ 27 h 169"/>
                <a:gd name="T50" fmla="*/ 27 w 106"/>
                <a:gd name="T51" fmla="*/ 24 h 169"/>
                <a:gd name="T52" fmla="*/ 8 w 106"/>
                <a:gd name="T53" fmla="*/ 18 h 169"/>
                <a:gd name="T54" fmla="*/ 2 w 106"/>
                <a:gd name="T55" fmla="*/ 15 h 169"/>
                <a:gd name="T56" fmla="*/ 22 w 106"/>
                <a:gd name="T57" fmla="*/ 32 h 169"/>
                <a:gd name="T58" fmla="*/ 28 w 106"/>
                <a:gd name="T59" fmla="*/ 37 h 169"/>
                <a:gd name="T60" fmla="*/ 26 w 106"/>
                <a:gd name="T61" fmla="*/ 44 h 169"/>
                <a:gd name="T62" fmla="*/ 29 w 106"/>
                <a:gd name="T63" fmla="*/ 47 h 169"/>
                <a:gd name="T64" fmla="*/ 29 w 106"/>
                <a:gd name="T65" fmla="*/ 53 h 169"/>
                <a:gd name="T66" fmla="*/ 31 w 106"/>
                <a:gd name="T67" fmla="*/ 59 h 169"/>
                <a:gd name="T68" fmla="*/ 28 w 106"/>
                <a:gd name="T69" fmla="*/ 65 h 169"/>
                <a:gd name="T70" fmla="*/ 31 w 106"/>
                <a:gd name="T71" fmla="*/ 69 h 169"/>
                <a:gd name="T72" fmla="*/ 43 w 106"/>
                <a:gd name="T73" fmla="*/ 79 h 169"/>
                <a:gd name="T74" fmla="*/ 44 w 106"/>
                <a:gd name="T75" fmla="*/ 90 h 169"/>
                <a:gd name="T76" fmla="*/ 28 w 106"/>
                <a:gd name="T77" fmla="*/ 101 h 169"/>
                <a:gd name="T78" fmla="*/ 18 w 106"/>
                <a:gd name="T79" fmla="*/ 109 h 169"/>
                <a:gd name="T80" fmla="*/ 8 w 106"/>
                <a:gd name="T81" fmla="*/ 116 h 169"/>
                <a:gd name="T82" fmla="*/ 1 w 106"/>
                <a:gd name="T83" fmla="*/ 128 h 169"/>
                <a:gd name="T84" fmla="*/ 7 w 106"/>
                <a:gd name="T85" fmla="*/ 143 h 169"/>
                <a:gd name="T86" fmla="*/ 3 w 106"/>
                <a:gd name="T87" fmla="*/ 152 h 169"/>
                <a:gd name="T88" fmla="*/ 11 w 106"/>
                <a:gd name="T89" fmla="*/ 160 h 169"/>
                <a:gd name="T90" fmla="*/ 19 w 106"/>
                <a:gd name="T91" fmla="*/ 162 h 169"/>
                <a:gd name="T92" fmla="*/ 15 w 106"/>
                <a:gd name="T93" fmla="*/ 166 h 169"/>
                <a:gd name="T94" fmla="*/ 22 w 106"/>
                <a:gd name="T95" fmla="*/ 166 h 169"/>
                <a:gd name="T96" fmla="*/ 33 w 106"/>
                <a:gd name="T97" fmla="*/ 166 h 169"/>
                <a:gd name="T98" fmla="*/ 48 w 106"/>
                <a:gd name="T99" fmla="*/ 161 h 169"/>
                <a:gd name="T100" fmla="*/ 54 w 106"/>
                <a:gd name="T101" fmla="*/ 1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 h="169">
                  <a:moveTo>
                    <a:pt x="64" y="158"/>
                  </a:moveTo>
                  <a:cubicBezTo>
                    <a:pt x="65" y="158"/>
                    <a:pt x="65" y="158"/>
                    <a:pt x="65" y="158"/>
                  </a:cubicBezTo>
                  <a:cubicBezTo>
                    <a:pt x="66" y="158"/>
                    <a:pt x="67" y="158"/>
                    <a:pt x="69" y="157"/>
                  </a:cubicBezTo>
                  <a:cubicBezTo>
                    <a:pt x="73" y="153"/>
                    <a:pt x="77" y="150"/>
                    <a:pt x="81" y="147"/>
                  </a:cubicBezTo>
                  <a:cubicBezTo>
                    <a:pt x="85" y="145"/>
                    <a:pt x="87" y="142"/>
                    <a:pt x="90" y="139"/>
                  </a:cubicBezTo>
                  <a:cubicBezTo>
                    <a:pt x="91" y="138"/>
                    <a:pt x="93" y="137"/>
                    <a:pt x="94" y="136"/>
                  </a:cubicBezTo>
                  <a:cubicBezTo>
                    <a:pt x="95" y="134"/>
                    <a:pt x="97" y="132"/>
                    <a:pt x="99" y="130"/>
                  </a:cubicBezTo>
                  <a:cubicBezTo>
                    <a:pt x="100" y="130"/>
                    <a:pt x="100" y="130"/>
                    <a:pt x="101" y="129"/>
                  </a:cubicBezTo>
                  <a:cubicBezTo>
                    <a:pt x="102" y="128"/>
                    <a:pt x="103" y="128"/>
                    <a:pt x="103" y="127"/>
                  </a:cubicBezTo>
                  <a:cubicBezTo>
                    <a:pt x="104" y="126"/>
                    <a:pt x="104" y="125"/>
                    <a:pt x="104" y="125"/>
                  </a:cubicBezTo>
                  <a:cubicBezTo>
                    <a:pt x="104" y="125"/>
                    <a:pt x="104" y="125"/>
                    <a:pt x="104" y="125"/>
                  </a:cubicBezTo>
                  <a:cubicBezTo>
                    <a:pt x="105" y="124"/>
                    <a:pt x="105" y="123"/>
                    <a:pt x="105" y="122"/>
                  </a:cubicBezTo>
                  <a:cubicBezTo>
                    <a:pt x="106" y="121"/>
                    <a:pt x="106" y="121"/>
                    <a:pt x="105" y="121"/>
                  </a:cubicBezTo>
                  <a:cubicBezTo>
                    <a:pt x="105" y="121"/>
                    <a:pt x="105" y="120"/>
                    <a:pt x="105" y="120"/>
                  </a:cubicBezTo>
                  <a:cubicBezTo>
                    <a:pt x="102" y="117"/>
                    <a:pt x="98" y="114"/>
                    <a:pt x="95" y="112"/>
                  </a:cubicBezTo>
                  <a:cubicBezTo>
                    <a:pt x="94" y="112"/>
                    <a:pt x="94" y="112"/>
                    <a:pt x="94" y="112"/>
                  </a:cubicBezTo>
                  <a:cubicBezTo>
                    <a:pt x="93" y="111"/>
                    <a:pt x="92" y="110"/>
                    <a:pt x="91" y="109"/>
                  </a:cubicBezTo>
                  <a:cubicBezTo>
                    <a:pt x="89" y="108"/>
                    <a:pt x="89" y="108"/>
                    <a:pt x="89" y="108"/>
                  </a:cubicBezTo>
                  <a:cubicBezTo>
                    <a:pt x="91" y="107"/>
                    <a:pt x="91" y="107"/>
                    <a:pt x="91" y="107"/>
                  </a:cubicBezTo>
                  <a:cubicBezTo>
                    <a:pt x="93" y="106"/>
                    <a:pt x="94" y="105"/>
                    <a:pt x="95" y="104"/>
                  </a:cubicBezTo>
                  <a:cubicBezTo>
                    <a:pt x="96" y="103"/>
                    <a:pt x="96" y="103"/>
                    <a:pt x="96" y="103"/>
                  </a:cubicBezTo>
                  <a:cubicBezTo>
                    <a:pt x="96" y="103"/>
                    <a:pt x="97" y="102"/>
                    <a:pt x="96" y="101"/>
                  </a:cubicBezTo>
                  <a:cubicBezTo>
                    <a:pt x="96" y="101"/>
                    <a:pt x="95" y="100"/>
                    <a:pt x="94" y="100"/>
                  </a:cubicBezTo>
                  <a:cubicBezTo>
                    <a:pt x="94" y="100"/>
                    <a:pt x="93" y="100"/>
                    <a:pt x="93" y="99"/>
                  </a:cubicBezTo>
                  <a:cubicBezTo>
                    <a:pt x="92" y="99"/>
                    <a:pt x="91" y="97"/>
                    <a:pt x="90" y="96"/>
                  </a:cubicBezTo>
                  <a:cubicBezTo>
                    <a:pt x="90" y="96"/>
                    <a:pt x="90" y="96"/>
                    <a:pt x="90" y="96"/>
                  </a:cubicBezTo>
                  <a:cubicBezTo>
                    <a:pt x="90" y="95"/>
                    <a:pt x="90" y="95"/>
                    <a:pt x="90" y="95"/>
                  </a:cubicBezTo>
                  <a:cubicBezTo>
                    <a:pt x="90" y="94"/>
                    <a:pt x="90" y="94"/>
                    <a:pt x="90" y="94"/>
                  </a:cubicBezTo>
                  <a:cubicBezTo>
                    <a:pt x="91" y="93"/>
                    <a:pt x="91" y="93"/>
                    <a:pt x="91" y="93"/>
                  </a:cubicBezTo>
                  <a:cubicBezTo>
                    <a:pt x="91" y="93"/>
                    <a:pt x="91" y="93"/>
                    <a:pt x="91" y="93"/>
                  </a:cubicBezTo>
                  <a:cubicBezTo>
                    <a:pt x="92" y="93"/>
                    <a:pt x="92" y="93"/>
                    <a:pt x="92" y="93"/>
                  </a:cubicBezTo>
                  <a:cubicBezTo>
                    <a:pt x="92" y="93"/>
                    <a:pt x="92" y="93"/>
                    <a:pt x="92" y="93"/>
                  </a:cubicBezTo>
                  <a:cubicBezTo>
                    <a:pt x="91" y="92"/>
                    <a:pt x="91" y="92"/>
                    <a:pt x="90" y="92"/>
                  </a:cubicBezTo>
                  <a:cubicBezTo>
                    <a:pt x="88" y="92"/>
                    <a:pt x="87" y="90"/>
                    <a:pt x="86" y="88"/>
                  </a:cubicBezTo>
                  <a:cubicBezTo>
                    <a:pt x="86" y="86"/>
                    <a:pt x="87" y="86"/>
                    <a:pt x="88" y="85"/>
                  </a:cubicBezTo>
                  <a:cubicBezTo>
                    <a:pt x="88" y="85"/>
                    <a:pt x="88" y="85"/>
                    <a:pt x="88" y="85"/>
                  </a:cubicBezTo>
                  <a:cubicBezTo>
                    <a:pt x="88" y="85"/>
                    <a:pt x="88" y="85"/>
                    <a:pt x="87" y="85"/>
                  </a:cubicBezTo>
                  <a:cubicBezTo>
                    <a:pt x="86" y="84"/>
                    <a:pt x="86" y="83"/>
                    <a:pt x="87" y="82"/>
                  </a:cubicBezTo>
                  <a:cubicBezTo>
                    <a:pt x="87" y="81"/>
                    <a:pt x="87" y="81"/>
                    <a:pt x="87" y="81"/>
                  </a:cubicBezTo>
                  <a:cubicBezTo>
                    <a:pt x="87" y="81"/>
                    <a:pt x="87" y="81"/>
                    <a:pt x="87" y="81"/>
                  </a:cubicBezTo>
                  <a:cubicBezTo>
                    <a:pt x="87" y="81"/>
                    <a:pt x="87" y="81"/>
                    <a:pt x="87" y="81"/>
                  </a:cubicBezTo>
                  <a:cubicBezTo>
                    <a:pt x="87" y="80"/>
                    <a:pt x="88" y="79"/>
                    <a:pt x="88" y="78"/>
                  </a:cubicBezTo>
                  <a:cubicBezTo>
                    <a:pt x="88" y="78"/>
                    <a:pt x="88" y="78"/>
                    <a:pt x="88" y="78"/>
                  </a:cubicBezTo>
                  <a:cubicBezTo>
                    <a:pt x="86" y="76"/>
                    <a:pt x="86" y="76"/>
                    <a:pt x="86" y="76"/>
                  </a:cubicBezTo>
                  <a:cubicBezTo>
                    <a:pt x="88" y="76"/>
                    <a:pt x="88" y="76"/>
                    <a:pt x="88" y="76"/>
                  </a:cubicBezTo>
                  <a:cubicBezTo>
                    <a:pt x="89" y="75"/>
                    <a:pt x="90" y="75"/>
                    <a:pt x="91" y="75"/>
                  </a:cubicBezTo>
                  <a:cubicBezTo>
                    <a:pt x="86" y="64"/>
                    <a:pt x="86" y="64"/>
                    <a:pt x="86" y="64"/>
                  </a:cubicBezTo>
                  <a:cubicBezTo>
                    <a:pt x="85" y="62"/>
                    <a:pt x="84" y="61"/>
                    <a:pt x="84" y="60"/>
                  </a:cubicBezTo>
                  <a:cubicBezTo>
                    <a:pt x="83" y="59"/>
                    <a:pt x="83" y="59"/>
                    <a:pt x="83" y="59"/>
                  </a:cubicBezTo>
                  <a:cubicBezTo>
                    <a:pt x="83" y="59"/>
                    <a:pt x="83" y="59"/>
                    <a:pt x="82" y="58"/>
                  </a:cubicBezTo>
                  <a:cubicBezTo>
                    <a:pt x="82" y="58"/>
                    <a:pt x="82" y="58"/>
                    <a:pt x="82" y="58"/>
                  </a:cubicBezTo>
                  <a:cubicBezTo>
                    <a:pt x="82" y="58"/>
                    <a:pt x="81" y="57"/>
                    <a:pt x="81" y="57"/>
                  </a:cubicBezTo>
                  <a:cubicBezTo>
                    <a:pt x="81" y="56"/>
                    <a:pt x="81" y="56"/>
                    <a:pt x="81" y="55"/>
                  </a:cubicBezTo>
                  <a:cubicBezTo>
                    <a:pt x="81" y="54"/>
                    <a:pt x="81" y="54"/>
                    <a:pt x="81" y="53"/>
                  </a:cubicBezTo>
                  <a:cubicBezTo>
                    <a:pt x="90" y="42"/>
                    <a:pt x="90" y="42"/>
                    <a:pt x="90" y="42"/>
                  </a:cubicBezTo>
                  <a:cubicBezTo>
                    <a:pt x="89" y="42"/>
                    <a:pt x="89" y="41"/>
                    <a:pt x="88" y="41"/>
                  </a:cubicBezTo>
                  <a:cubicBezTo>
                    <a:pt x="88" y="41"/>
                    <a:pt x="88" y="41"/>
                    <a:pt x="88" y="41"/>
                  </a:cubicBezTo>
                  <a:cubicBezTo>
                    <a:pt x="87" y="40"/>
                    <a:pt x="86" y="39"/>
                    <a:pt x="85" y="38"/>
                  </a:cubicBezTo>
                  <a:cubicBezTo>
                    <a:pt x="85" y="37"/>
                    <a:pt x="84" y="36"/>
                    <a:pt x="83" y="36"/>
                  </a:cubicBezTo>
                  <a:cubicBezTo>
                    <a:pt x="83" y="36"/>
                    <a:pt x="83" y="36"/>
                    <a:pt x="82" y="35"/>
                  </a:cubicBezTo>
                  <a:cubicBezTo>
                    <a:pt x="82" y="35"/>
                    <a:pt x="82" y="35"/>
                    <a:pt x="82" y="35"/>
                  </a:cubicBezTo>
                  <a:cubicBezTo>
                    <a:pt x="82" y="35"/>
                    <a:pt x="82" y="35"/>
                    <a:pt x="82" y="35"/>
                  </a:cubicBezTo>
                  <a:cubicBezTo>
                    <a:pt x="80" y="35"/>
                    <a:pt x="78" y="35"/>
                    <a:pt x="77" y="34"/>
                  </a:cubicBezTo>
                  <a:cubicBezTo>
                    <a:pt x="76" y="33"/>
                    <a:pt x="76" y="32"/>
                    <a:pt x="76" y="30"/>
                  </a:cubicBezTo>
                  <a:cubicBezTo>
                    <a:pt x="75" y="30"/>
                    <a:pt x="75" y="30"/>
                    <a:pt x="75" y="30"/>
                  </a:cubicBezTo>
                  <a:cubicBezTo>
                    <a:pt x="75" y="30"/>
                    <a:pt x="75" y="29"/>
                    <a:pt x="75" y="29"/>
                  </a:cubicBezTo>
                  <a:cubicBezTo>
                    <a:pt x="75" y="28"/>
                    <a:pt x="75" y="26"/>
                    <a:pt x="76" y="25"/>
                  </a:cubicBezTo>
                  <a:cubicBezTo>
                    <a:pt x="76" y="25"/>
                    <a:pt x="76" y="25"/>
                    <a:pt x="76" y="25"/>
                  </a:cubicBezTo>
                  <a:cubicBezTo>
                    <a:pt x="76" y="25"/>
                    <a:pt x="76" y="24"/>
                    <a:pt x="76" y="24"/>
                  </a:cubicBezTo>
                  <a:cubicBezTo>
                    <a:pt x="76" y="24"/>
                    <a:pt x="76" y="24"/>
                    <a:pt x="76" y="24"/>
                  </a:cubicBezTo>
                  <a:cubicBezTo>
                    <a:pt x="76" y="23"/>
                    <a:pt x="77" y="23"/>
                    <a:pt x="77" y="22"/>
                  </a:cubicBezTo>
                  <a:cubicBezTo>
                    <a:pt x="76" y="22"/>
                    <a:pt x="75" y="22"/>
                    <a:pt x="75" y="22"/>
                  </a:cubicBezTo>
                  <a:cubicBezTo>
                    <a:pt x="73" y="20"/>
                    <a:pt x="73" y="20"/>
                    <a:pt x="73" y="20"/>
                  </a:cubicBezTo>
                  <a:cubicBezTo>
                    <a:pt x="75" y="19"/>
                    <a:pt x="75" y="19"/>
                    <a:pt x="75" y="19"/>
                  </a:cubicBezTo>
                  <a:cubicBezTo>
                    <a:pt x="76" y="19"/>
                    <a:pt x="76" y="19"/>
                    <a:pt x="77" y="19"/>
                  </a:cubicBezTo>
                  <a:cubicBezTo>
                    <a:pt x="79" y="18"/>
                    <a:pt x="79" y="18"/>
                    <a:pt x="79" y="18"/>
                  </a:cubicBezTo>
                  <a:cubicBezTo>
                    <a:pt x="79" y="18"/>
                    <a:pt x="79" y="18"/>
                    <a:pt x="79" y="18"/>
                  </a:cubicBezTo>
                  <a:cubicBezTo>
                    <a:pt x="80" y="18"/>
                    <a:pt x="80" y="18"/>
                    <a:pt x="80" y="18"/>
                  </a:cubicBezTo>
                  <a:cubicBezTo>
                    <a:pt x="80" y="18"/>
                    <a:pt x="80" y="18"/>
                    <a:pt x="80" y="18"/>
                  </a:cubicBezTo>
                  <a:cubicBezTo>
                    <a:pt x="80" y="17"/>
                    <a:pt x="80" y="17"/>
                    <a:pt x="80" y="17"/>
                  </a:cubicBezTo>
                  <a:cubicBezTo>
                    <a:pt x="80" y="17"/>
                    <a:pt x="80" y="17"/>
                    <a:pt x="80" y="17"/>
                  </a:cubicBezTo>
                  <a:cubicBezTo>
                    <a:pt x="80" y="17"/>
                    <a:pt x="80" y="17"/>
                    <a:pt x="80" y="17"/>
                  </a:cubicBezTo>
                  <a:cubicBezTo>
                    <a:pt x="80" y="17"/>
                    <a:pt x="80" y="17"/>
                    <a:pt x="80" y="17"/>
                  </a:cubicBezTo>
                  <a:cubicBezTo>
                    <a:pt x="79" y="17"/>
                    <a:pt x="79" y="16"/>
                    <a:pt x="79" y="16"/>
                  </a:cubicBezTo>
                  <a:cubicBezTo>
                    <a:pt x="79" y="15"/>
                    <a:pt x="79" y="15"/>
                    <a:pt x="79" y="15"/>
                  </a:cubicBezTo>
                  <a:cubicBezTo>
                    <a:pt x="79" y="14"/>
                    <a:pt x="80" y="14"/>
                    <a:pt x="80" y="14"/>
                  </a:cubicBezTo>
                  <a:cubicBezTo>
                    <a:pt x="81" y="13"/>
                    <a:pt x="81" y="13"/>
                    <a:pt x="81" y="13"/>
                  </a:cubicBezTo>
                  <a:cubicBezTo>
                    <a:pt x="81" y="12"/>
                    <a:pt x="81" y="12"/>
                    <a:pt x="82" y="11"/>
                  </a:cubicBezTo>
                  <a:cubicBezTo>
                    <a:pt x="82" y="11"/>
                    <a:pt x="82" y="10"/>
                    <a:pt x="83" y="10"/>
                  </a:cubicBezTo>
                  <a:cubicBezTo>
                    <a:pt x="83" y="10"/>
                    <a:pt x="83" y="10"/>
                    <a:pt x="83" y="10"/>
                  </a:cubicBezTo>
                  <a:cubicBezTo>
                    <a:pt x="83" y="10"/>
                    <a:pt x="83" y="9"/>
                    <a:pt x="83" y="9"/>
                  </a:cubicBezTo>
                  <a:cubicBezTo>
                    <a:pt x="83" y="9"/>
                    <a:pt x="81" y="7"/>
                    <a:pt x="79" y="6"/>
                  </a:cubicBezTo>
                  <a:cubicBezTo>
                    <a:pt x="79" y="6"/>
                    <a:pt x="78" y="6"/>
                    <a:pt x="77" y="6"/>
                  </a:cubicBezTo>
                  <a:cubicBezTo>
                    <a:pt x="76" y="5"/>
                    <a:pt x="76" y="5"/>
                    <a:pt x="76" y="5"/>
                  </a:cubicBezTo>
                  <a:cubicBezTo>
                    <a:pt x="74" y="4"/>
                    <a:pt x="73" y="4"/>
                    <a:pt x="73" y="3"/>
                  </a:cubicBezTo>
                  <a:cubicBezTo>
                    <a:pt x="73" y="3"/>
                    <a:pt x="72" y="3"/>
                    <a:pt x="72" y="3"/>
                  </a:cubicBezTo>
                  <a:cubicBezTo>
                    <a:pt x="72" y="3"/>
                    <a:pt x="72" y="2"/>
                    <a:pt x="72" y="2"/>
                  </a:cubicBezTo>
                  <a:cubicBezTo>
                    <a:pt x="72" y="2"/>
                    <a:pt x="72" y="2"/>
                    <a:pt x="72" y="2"/>
                  </a:cubicBezTo>
                  <a:cubicBezTo>
                    <a:pt x="70" y="1"/>
                    <a:pt x="69" y="0"/>
                    <a:pt x="67" y="1"/>
                  </a:cubicBezTo>
                  <a:cubicBezTo>
                    <a:pt x="67" y="1"/>
                    <a:pt x="67" y="1"/>
                    <a:pt x="67" y="1"/>
                  </a:cubicBezTo>
                  <a:cubicBezTo>
                    <a:pt x="67" y="1"/>
                    <a:pt x="66" y="1"/>
                    <a:pt x="66" y="2"/>
                  </a:cubicBezTo>
                  <a:cubicBezTo>
                    <a:pt x="65" y="2"/>
                    <a:pt x="65" y="2"/>
                    <a:pt x="64" y="2"/>
                  </a:cubicBezTo>
                  <a:cubicBezTo>
                    <a:pt x="64" y="2"/>
                    <a:pt x="63" y="2"/>
                    <a:pt x="63" y="2"/>
                  </a:cubicBezTo>
                  <a:cubicBezTo>
                    <a:pt x="63" y="2"/>
                    <a:pt x="63" y="2"/>
                    <a:pt x="63" y="2"/>
                  </a:cubicBezTo>
                  <a:cubicBezTo>
                    <a:pt x="62" y="2"/>
                    <a:pt x="62" y="2"/>
                    <a:pt x="61" y="2"/>
                  </a:cubicBezTo>
                  <a:cubicBezTo>
                    <a:pt x="60" y="3"/>
                    <a:pt x="60" y="3"/>
                    <a:pt x="60" y="3"/>
                  </a:cubicBezTo>
                  <a:cubicBezTo>
                    <a:pt x="60" y="3"/>
                    <a:pt x="60" y="3"/>
                    <a:pt x="59" y="3"/>
                  </a:cubicBezTo>
                  <a:cubicBezTo>
                    <a:pt x="57" y="3"/>
                    <a:pt x="57" y="3"/>
                    <a:pt x="55" y="4"/>
                  </a:cubicBezTo>
                  <a:cubicBezTo>
                    <a:pt x="55" y="5"/>
                    <a:pt x="55" y="5"/>
                    <a:pt x="55" y="5"/>
                  </a:cubicBezTo>
                  <a:cubicBezTo>
                    <a:pt x="55" y="5"/>
                    <a:pt x="54" y="6"/>
                    <a:pt x="53" y="6"/>
                  </a:cubicBezTo>
                  <a:cubicBezTo>
                    <a:pt x="53" y="6"/>
                    <a:pt x="53" y="6"/>
                    <a:pt x="53" y="6"/>
                  </a:cubicBezTo>
                  <a:cubicBezTo>
                    <a:pt x="53" y="6"/>
                    <a:pt x="52" y="7"/>
                    <a:pt x="52" y="7"/>
                  </a:cubicBezTo>
                  <a:cubicBezTo>
                    <a:pt x="52" y="7"/>
                    <a:pt x="52" y="7"/>
                    <a:pt x="52" y="7"/>
                  </a:cubicBezTo>
                  <a:cubicBezTo>
                    <a:pt x="51" y="8"/>
                    <a:pt x="51" y="8"/>
                    <a:pt x="51" y="9"/>
                  </a:cubicBezTo>
                  <a:cubicBezTo>
                    <a:pt x="50" y="11"/>
                    <a:pt x="50" y="11"/>
                    <a:pt x="50" y="11"/>
                  </a:cubicBezTo>
                  <a:cubicBezTo>
                    <a:pt x="50" y="12"/>
                    <a:pt x="50" y="13"/>
                    <a:pt x="50" y="14"/>
                  </a:cubicBezTo>
                  <a:cubicBezTo>
                    <a:pt x="50" y="16"/>
                    <a:pt x="50" y="17"/>
                    <a:pt x="49" y="18"/>
                  </a:cubicBezTo>
                  <a:cubicBezTo>
                    <a:pt x="49" y="19"/>
                    <a:pt x="49" y="20"/>
                    <a:pt x="48" y="20"/>
                  </a:cubicBezTo>
                  <a:cubicBezTo>
                    <a:pt x="48" y="21"/>
                    <a:pt x="48" y="21"/>
                    <a:pt x="48" y="21"/>
                  </a:cubicBezTo>
                  <a:cubicBezTo>
                    <a:pt x="48" y="22"/>
                    <a:pt x="46" y="22"/>
                    <a:pt x="46" y="22"/>
                  </a:cubicBezTo>
                  <a:cubicBezTo>
                    <a:pt x="46" y="22"/>
                    <a:pt x="46" y="22"/>
                    <a:pt x="45" y="22"/>
                  </a:cubicBezTo>
                  <a:cubicBezTo>
                    <a:pt x="43" y="25"/>
                    <a:pt x="43" y="25"/>
                    <a:pt x="43" y="25"/>
                  </a:cubicBezTo>
                  <a:cubicBezTo>
                    <a:pt x="43" y="25"/>
                    <a:pt x="42" y="25"/>
                    <a:pt x="42" y="25"/>
                  </a:cubicBezTo>
                  <a:cubicBezTo>
                    <a:pt x="42" y="25"/>
                    <a:pt x="42" y="25"/>
                    <a:pt x="42" y="25"/>
                  </a:cubicBezTo>
                  <a:cubicBezTo>
                    <a:pt x="41" y="26"/>
                    <a:pt x="40" y="28"/>
                    <a:pt x="39" y="27"/>
                  </a:cubicBezTo>
                  <a:cubicBezTo>
                    <a:pt x="33" y="25"/>
                    <a:pt x="33" y="25"/>
                    <a:pt x="33" y="25"/>
                  </a:cubicBezTo>
                  <a:cubicBezTo>
                    <a:pt x="33" y="25"/>
                    <a:pt x="33" y="24"/>
                    <a:pt x="32" y="24"/>
                  </a:cubicBezTo>
                  <a:cubicBezTo>
                    <a:pt x="31" y="24"/>
                    <a:pt x="30" y="23"/>
                    <a:pt x="29" y="23"/>
                  </a:cubicBezTo>
                  <a:cubicBezTo>
                    <a:pt x="29" y="23"/>
                    <a:pt x="29" y="24"/>
                    <a:pt x="29" y="24"/>
                  </a:cubicBezTo>
                  <a:cubicBezTo>
                    <a:pt x="28" y="24"/>
                    <a:pt x="28" y="24"/>
                    <a:pt x="27" y="24"/>
                  </a:cubicBezTo>
                  <a:cubicBezTo>
                    <a:pt x="15" y="25"/>
                    <a:pt x="15" y="25"/>
                    <a:pt x="15" y="25"/>
                  </a:cubicBezTo>
                  <a:cubicBezTo>
                    <a:pt x="15" y="25"/>
                    <a:pt x="14" y="25"/>
                    <a:pt x="14" y="25"/>
                  </a:cubicBezTo>
                  <a:cubicBezTo>
                    <a:pt x="13" y="24"/>
                    <a:pt x="13" y="23"/>
                    <a:pt x="12" y="23"/>
                  </a:cubicBezTo>
                  <a:cubicBezTo>
                    <a:pt x="12" y="22"/>
                    <a:pt x="12" y="22"/>
                    <a:pt x="12" y="22"/>
                  </a:cubicBezTo>
                  <a:cubicBezTo>
                    <a:pt x="12" y="22"/>
                    <a:pt x="11" y="20"/>
                    <a:pt x="8" y="18"/>
                  </a:cubicBezTo>
                  <a:cubicBezTo>
                    <a:pt x="4" y="15"/>
                    <a:pt x="4" y="15"/>
                    <a:pt x="4" y="15"/>
                  </a:cubicBezTo>
                  <a:cubicBezTo>
                    <a:pt x="4" y="15"/>
                    <a:pt x="3" y="15"/>
                    <a:pt x="3" y="15"/>
                  </a:cubicBezTo>
                  <a:cubicBezTo>
                    <a:pt x="3" y="15"/>
                    <a:pt x="3" y="15"/>
                    <a:pt x="2" y="15"/>
                  </a:cubicBezTo>
                  <a:cubicBezTo>
                    <a:pt x="2" y="15"/>
                    <a:pt x="2" y="15"/>
                    <a:pt x="2" y="15"/>
                  </a:cubicBezTo>
                  <a:cubicBezTo>
                    <a:pt x="2" y="15"/>
                    <a:pt x="2" y="15"/>
                    <a:pt x="2" y="15"/>
                  </a:cubicBezTo>
                  <a:cubicBezTo>
                    <a:pt x="2" y="16"/>
                    <a:pt x="2" y="16"/>
                    <a:pt x="2" y="17"/>
                  </a:cubicBezTo>
                  <a:cubicBezTo>
                    <a:pt x="2" y="17"/>
                    <a:pt x="1" y="18"/>
                    <a:pt x="1" y="18"/>
                  </a:cubicBezTo>
                  <a:cubicBezTo>
                    <a:pt x="0" y="18"/>
                    <a:pt x="0" y="18"/>
                    <a:pt x="0" y="18"/>
                  </a:cubicBezTo>
                  <a:cubicBezTo>
                    <a:pt x="0" y="19"/>
                    <a:pt x="0" y="19"/>
                    <a:pt x="0" y="19"/>
                  </a:cubicBezTo>
                  <a:cubicBezTo>
                    <a:pt x="22" y="32"/>
                    <a:pt x="22" y="32"/>
                    <a:pt x="22" y="32"/>
                  </a:cubicBezTo>
                  <a:cubicBezTo>
                    <a:pt x="24" y="33"/>
                    <a:pt x="25" y="33"/>
                    <a:pt x="26" y="35"/>
                  </a:cubicBezTo>
                  <a:cubicBezTo>
                    <a:pt x="27" y="36"/>
                    <a:pt x="27" y="36"/>
                    <a:pt x="27" y="36"/>
                  </a:cubicBezTo>
                  <a:cubicBezTo>
                    <a:pt x="27" y="36"/>
                    <a:pt x="27" y="36"/>
                    <a:pt x="27" y="36"/>
                  </a:cubicBezTo>
                  <a:cubicBezTo>
                    <a:pt x="28" y="37"/>
                    <a:pt x="28" y="37"/>
                    <a:pt x="28" y="37"/>
                  </a:cubicBezTo>
                  <a:cubicBezTo>
                    <a:pt x="28" y="37"/>
                    <a:pt x="28" y="37"/>
                    <a:pt x="28" y="37"/>
                  </a:cubicBezTo>
                  <a:cubicBezTo>
                    <a:pt x="28" y="38"/>
                    <a:pt x="28" y="38"/>
                    <a:pt x="28" y="38"/>
                  </a:cubicBezTo>
                  <a:cubicBezTo>
                    <a:pt x="28" y="39"/>
                    <a:pt x="27" y="39"/>
                    <a:pt x="27" y="39"/>
                  </a:cubicBezTo>
                  <a:cubicBezTo>
                    <a:pt x="26" y="39"/>
                    <a:pt x="27" y="40"/>
                    <a:pt x="27" y="41"/>
                  </a:cubicBezTo>
                  <a:cubicBezTo>
                    <a:pt x="27" y="41"/>
                    <a:pt x="27" y="42"/>
                    <a:pt x="27" y="42"/>
                  </a:cubicBezTo>
                  <a:cubicBezTo>
                    <a:pt x="27" y="43"/>
                    <a:pt x="27" y="44"/>
                    <a:pt x="26" y="44"/>
                  </a:cubicBezTo>
                  <a:cubicBezTo>
                    <a:pt x="26" y="44"/>
                    <a:pt x="26" y="45"/>
                    <a:pt x="26" y="45"/>
                  </a:cubicBezTo>
                  <a:cubicBezTo>
                    <a:pt x="26" y="45"/>
                    <a:pt x="26" y="45"/>
                    <a:pt x="26" y="45"/>
                  </a:cubicBezTo>
                  <a:cubicBezTo>
                    <a:pt x="26" y="45"/>
                    <a:pt x="27" y="45"/>
                    <a:pt x="27" y="45"/>
                  </a:cubicBezTo>
                  <a:cubicBezTo>
                    <a:pt x="28" y="45"/>
                    <a:pt x="29" y="46"/>
                    <a:pt x="29" y="47"/>
                  </a:cubicBezTo>
                  <a:cubicBezTo>
                    <a:pt x="29" y="47"/>
                    <a:pt x="29" y="47"/>
                    <a:pt x="29" y="47"/>
                  </a:cubicBezTo>
                  <a:cubicBezTo>
                    <a:pt x="29" y="48"/>
                    <a:pt x="29" y="49"/>
                    <a:pt x="29" y="49"/>
                  </a:cubicBezTo>
                  <a:cubicBezTo>
                    <a:pt x="29" y="49"/>
                    <a:pt x="29" y="49"/>
                    <a:pt x="29" y="49"/>
                  </a:cubicBezTo>
                  <a:cubicBezTo>
                    <a:pt x="28" y="50"/>
                    <a:pt x="28" y="50"/>
                    <a:pt x="28" y="50"/>
                  </a:cubicBezTo>
                  <a:cubicBezTo>
                    <a:pt x="27" y="50"/>
                    <a:pt x="27" y="51"/>
                    <a:pt x="27" y="51"/>
                  </a:cubicBezTo>
                  <a:cubicBezTo>
                    <a:pt x="27" y="51"/>
                    <a:pt x="28" y="53"/>
                    <a:pt x="29" y="53"/>
                  </a:cubicBezTo>
                  <a:cubicBezTo>
                    <a:pt x="30" y="54"/>
                    <a:pt x="30" y="54"/>
                    <a:pt x="30" y="55"/>
                  </a:cubicBezTo>
                  <a:cubicBezTo>
                    <a:pt x="30" y="55"/>
                    <a:pt x="30" y="55"/>
                    <a:pt x="30" y="55"/>
                  </a:cubicBezTo>
                  <a:cubicBezTo>
                    <a:pt x="31" y="55"/>
                    <a:pt x="31" y="56"/>
                    <a:pt x="31" y="56"/>
                  </a:cubicBezTo>
                  <a:cubicBezTo>
                    <a:pt x="31" y="57"/>
                    <a:pt x="31" y="57"/>
                    <a:pt x="31" y="57"/>
                  </a:cubicBezTo>
                  <a:cubicBezTo>
                    <a:pt x="31" y="59"/>
                    <a:pt x="31" y="59"/>
                    <a:pt x="31" y="59"/>
                  </a:cubicBezTo>
                  <a:cubicBezTo>
                    <a:pt x="30" y="59"/>
                    <a:pt x="30" y="59"/>
                    <a:pt x="30" y="59"/>
                  </a:cubicBezTo>
                  <a:cubicBezTo>
                    <a:pt x="30" y="59"/>
                    <a:pt x="30" y="59"/>
                    <a:pt x="30" y="59"/>
                  </a:cubicBezTo>
                  <a:cubicBezTo>
                    <a:pt x="30" y="60"/>
                    <a:pt x="30" y="60"/>
                    <a:pt x="30" y="60"/>
                  </a:cubicBezTo>
                  <a:cubicBezTo>
                    <a:pt x="30" y="60"/>
                    <a:pt x="30" y="61"/>
                    <a:pt x="29" y="62"/>
                  </a:cubicBezTo>
                  <a:cubicBezTo>
                    <a:pt x="29" y="63"/>
                    <a:pt x="28" y="64"/>
                    <a:pt x="28" y="65"/>
                  </a:cubicBezTo>
                  <a:cubicBezTo>
                    <a:pt x="28" y="65"/>
                    <a:pt x="28" y="65"/>
                    <a:pt x="28" y="66"/>
                  </a:cubicBezTo>
                  <a:cubicBezTo>
                    <a:pt x="28" y="66"/>
                    <a:pt x="28" y="66"/>
                    <a:pt x="28" y="66"/>
                  </a:cubicBezTo>
                  <a:cubicBezTo>
                    <a:pt x="28" y="66"/>
                    <a:pt x="28" y="66"/>
                    <a:pt x="28" y="66"/>
                  </a:cubicBezTo>
                  <a:cubicBezTo>
                    <a:pt x="28" y="66"/>
                    <a:pt x="29" y="66"/>
                    <a:pt x="29" y="67"/>
                  </a:cubicBezTo>
                  <a:cubicBezTo>
                    <a:pt x="30" y="67"/>
                    <a:pt x="30" y="68"/>
                    <a:pt x="31" y="69"/>
                  </a:cubicBezTo>
                  <a:cubicBezTo>
                    <a:pt x="33" y="74"/>
                    <a:pt x="33" y="74"/>
                    <a:pt x="33" y="74"/>
                  </a:cubicBezTo>
                  <a:cubicBezTo>
                    <a:pt x="32" y="74"/>
                    <a:pt x="32" y="74"/>
                    <a:pt x="32" y="74"/>
                  </a:cubicBezTo>
                  <a:cubicBezTo>
                    <a:pt x="33" y="74"/>
                    <a:pt x="35" y="75"/>
                    <a:pt x="35" y="75"/>
                  </a:cubicBezTo>
                  <a:cubicBezTo>
                    <a:pt x="37" y="76"/>
                    <a:pt x="37" y="77"/>
                    <a:pt x="39" y="77"/>
                  </a:cubicBezTo>
                  <a:cubicBezTo>
                    <a:pt x="40" y="77"/>
                    <a:pt x="43" y="78"/>
                    <a:pt x="43" y="79"/>
                  </a:cubicBezTo>
                  <a:cubicBezTo>
                    <a:pt x="44" y="80"/>
                    <a:pt x="44" y="82"/>
                    <a:pt x="43" y="83"/>
                  </a:cubicBezTo>
                  <a:cubicBezTo>
                    <a:pt x="43" y="84"/>
                    <a:pt x="42" y="85"/>
                    <a:pt x="43" y="86"/>
                  </a:cubicBezTo>
                  <a:cubicBezTo>
                    <a:pt x="43" y="86"/>
                    <a:pt x="44" y="86"/>
                    <a:pt x="44" y="86"/>
                  </a:cubicBezTo>
                  <a:cubicBezTo>
                    <a:pt x="45" y="87"/>
                    <a:pt x="45" y="88"/>
                    <a:pt x="45" y="88"/>
                  </a:cubicBezTo>
                  <a:cubicBezTo>
                    <a:pt x="43" y="88"/>
                    <a:pt x="42" y="87"/>
                    <a:pt x="44" y="90"/>
                  </a:cubicBezTo>
                  <a:cubicBezTo>
                    <a:pt x="43" y="91"/>
                    <a:pt x="43" y="90"/>
                    <a:pt x="41" y="89"/>
                  </a:cubicBezTo>
                  <a:cubicBezTo>
                    <a:pt x="40" y="89"/>
                    <a:pt x="39" y="90"/>
                    <a:pt x="38" y="90"/>
                  </a:cubicBezTo>
                  <a:cubicBezTo>
                    <a:pt x="36" y="91"/>
                    <a:pt x="36" y="91"/>
                    <a:pt x="35" y="92"/>
                  </a:cubicBezTo>
                  <a:cubicBezTo>
                    <a:pt x="35" y="93"/>
                    <a:pt x="34" y="95"/>
                    <a:pt x="33" y="95"/>
                  </a:cubicBezTo>
                  <a:cubicBezTo>
                    <a:pt x="31" y="97"/>
                    <a:pt x="30" y="99"/>
                    <a:pt x="28" y="101"/>
                  </a:cubicBezTo>
                  <a:cubicBezTo>
                    <a:pt x="27" y="101"/>
                    <a:pt x="27" y="103"/>
                    <a:pt x="26" y="103"/>
                  </a:cubicBezTo>
                  <a:cubicBezTo>
                    <a:pt x="26" y="103"/>
                    <a:pt x="24" y="103"/>
                    <a:pt x="24" y="103"/>
                  </a:cubicBezTo>
                  <a:cubicBezTo>
                    <a:pt x="24" y="104"/>
                    <a:pt x="25" y="105"/>
                    <a:pt x="24" y="105"/>
                  </a:cubicBezTo>
                  <a:cubicBezTo>
                    <a:pt x="22" y="106"/>
                    <a:pt x="22" y="106"/>
                    <a:pt x="21" y="107"/>
                  </a:cubicBezTo>
                  <a:cubicBezTo>
                    <a:pt x="20" y="108"/>
                    <a:pt x="19" y="109"/>
                    <a:pt x="18" y="109"/>
                  </a:cubicBezTo>
                  <a:cubicBezTo>
                    <a:pt x="17" y="110"/>
                    <a:pt x="16" y="110"/>
                    <a:pt x="15" y="111"/>
                  </a:cubicBezTo>
                  <a:cubicBezTo>
                    <a:pt x="14" y="111"/>
                    <a:pt x="12" y="112"/>
                    <a:pt x="13" y="113"/>
                  </a:cubicBezTo>
                  <a:cubicBezTo>
                    <a:pt x="14" y="114"/>
                    <a:pt x="14" y="115"/>
                    <a:pt x="12" y="116"/>
                  </a:cubicBezTo>
                  <a:cubicBezTo>
                    <a:pt x="12" y="116"/>
                    <a:pt x="11" y="116"/>
                    <a:pt x="10" y="117"/>
                  </a:cubicBezTo>
                  <a:cubicBezTo>
                    <a:pt x="10" y="116"/>
                    <a:pt x="10" y="116"/>
                    <a:pt x="8" y="116"/>
                  </a:cubicBezTo>
                  <a:cubicBezTo>
                    <a:pt x="6" y="116"/>
                    <a:pt x="6" y="116"/>
                    <a:pt x="5" y="117"/>
                  </a:cubicBezTo>
                  <a:cubicBezTo>
                    <a:pt x="5" y="118"/>
                    <a:pt x="7" y="119"/>
                    <a:pt x="7" y="119"/>
                  </a:cubicBezTo>
                  <a:cubicBezTo>
                    <a:pt x="7" y="120"/>
                    <a:pt x="6" y="120"/>
                    <a:pt x="5" y="120"/>
                  </a:cubicBezTo>
                  <a:cubicBezTo>
                    <a:pt x="3" y="121"/>
                    <a:pt x="2" y="122"/>
                    <a:pt x="1" y="124"/>
                  </a:cubicBezTo>
                  <a:cubicBezTo>
                    <a:pt x="0" y="125"/>
                    <a:pt x="1" y="126"/>
                    <a:pt x="1" y="128"/>
                  </a:cubicBezTo>
                  <a:cubicBezTo>
                    <a:pt x="1" y="129"/>
                    <a:pt x="2" y="130"/>
                    <a:pt x="2" y="130"/>
                  </a:cubicBezTo>
                  <a:cubicBezTo>
                    <a:pt x="2" y="131"/>
                    <a:pt x="3" y="130"/>
                    <a:pt x="3" y="131"/>
                  </a:cubicBezTo>
                  <a:cubicBezTo>
                    <a:pt x="4" y="133"/>
                    <a:pt x="4" y="134"/>
                    <a:pt x="3" y="136"/>
                  </a:cubicBezTo>
                  <a:cubicBezTo>
                    <a:pt x="3" y="137"/>
                    <a:pt x="4" y="138"/>
                    <a:pt x="5" y="140"/>
                  </a:cubicBezTo>
                  <a:cubicBezTo>
                    <a:pt x="6" y="141"/>
                    <a:pt x="6" y="142"/>
                    <a:pt x="7" y="143"/>
                  </a:cubicBezTo>
                  <a:cubicBezTo>
                    <a:pt x="6" y="143"/>
                    <a:pt x="5" y="143"/>
                    <a:pt x="4" y="143"/>
                  </a:cubicBezTo>
                  <a:cubicBezTo>
                    <a:pt x="5" y="143"/>
                    <a:pt x="5" y="144"/>
                    <a:pt x="5" y="145"/>
                  </a:cubicBezTo>
                  <a:cubicBezTo>
                    <a:pt x="5" y="145"/>
                    <a:pt x="5" y="146"/>
                    <a:pt x="5" y="147"/>
                  </a:cubicBezTo>
                  <a:cubicBezTo>
                    <a:pt x="5" y="148"/>
                    <a:pt x="5" y="149"/>
                    <a:pt x="4" y="150"/>
                  </a:cubicBezTo>
                  <a:cubicBezTo>
                    <a:pt x="3" y="150"/>
                    <a:pt x="3" y="150"/>
                    <a:pt x="3" y="152"/>
                  </a:cubicBezTo>
                  <a:cubicBezTo>
                    <a:pt x="4" y="153"/>
                    <a:pt x="4" y="153"/>
                    <a:pt x="4" y="154"/>
                  </a:cubicBezTo>
                  <a:cubicBezTo>
                    <a:pt x="4" y="155"/>
                    <a:pt x="4" y="157"/>
                    <a:pt x="4" y="157"/>
                  </a:cubicBezTo>
                  <a:cubicBezTo>
                    <a:pt x="4" y="158"/>
                    <a:pt x="5" y="159"/>
                    <a:pt x="6" y="159"/>
                  </a:cubicBezTo>
                  <a:cubicBezTo>
                    <a:pt x="6" y="159"/>
                    <a:pt x="7" y="158"/>
                    <a:pt x="6" y="158"/>
                  </a:cubicBezTo>
                  <a:cubicBezTo>
                    <a:pt x="8" y="158"/>
                    <a:pt x="10" y="159"/>
                    <a:pt x="11" y="160"/>
                  </a:cubicBezTo>
                  <a:cubicBezTo>
                    <a:pt x="12" y="160"/>
                    <a:pt x="16" y="161"/>
                    <a:pt x="16" y="162"/>
                  </a:cubicBezTo>
                  <a:cubicBezTo>
                    <a:pt x="15" y="163"/>
                    <a:pt x="15" y="164"/>
                    <a:pt x="17" y="163"/>
                  </a:cubicBezTo>
                  <a:cubicBezTo>
                    <a:pt x="18" y="163"/>
                    <a:pt x="19" y="162"/>
                    <a:pt x="21" y="161"/>
                  </a:cubicBezTo>
                  <a:cubicBezTo>
                    <a:pt x="21" y="162"/>
                    <a:pt x="20" y="163"/>
                    <a:pt x="19" y="163"/>
                  </a:cubicBezTo>
                  <a:cubicBezTo>
                    <a:pt x="19" y="163"/>
                    <a:pt x="19" y="163"/>
                    <a:pt x="19" y="162"/>
                  </a:cubicBezTo>
                  <a:cubicBezTo>
                    <a:pt x="19" y="163"/>
                    <a:pt x="19" y="163"/>
                    <a:pt x="18" y="163"/>
                  </a:cubicBezTo>
                  <a:cubicBezTo>
                    <a:pt x="18" y="164"/>
                    <a:pt x="17" y="164"/>
                    <a:pt x="16" y="164"/>
                  </a:cubicBezTo>
                  <a:cubicBezTo>
                    <a:pt x="16" y="164"/>
                    <a:pt x="14" y="164"/>
                    <a:pt x="14" y="164"/>
                  </a:cubicBezTo>
                  <a:cubicBezTo>
                    <a:pt x="14" y="165"/>
                    <a:pt x="15" y="165"/>
                    <a:pt x="16" y="165"/>
                  </a:cubicBezTo>
                  <a:cubicBezTo>
                    <a:pt x="15" y="165"/>
                    <a:pt x="14" y="165"/>
                    <a:pt x="15" y="166"/>
                  </a:cubicBezTo>
                  <a:cubicBezTo>
                    <a:pt x="14" y="165"/>
                    <a:pt x="14" y="166"/>
                    <a:pt x="14" y="167"/>
                  </a:cubicBezTo>
                  <a:cubicBezTo>
                    <a:pt x="16" y="167"/>
                    <a:pt x="17" y="167"/>
                    <a:pt x="18" y="166"/>
                  </a:cubicBezTo>
                  <a:cubicBezTo>
                    <a:pt x="18" y="165"/>
                    <a:pt x="19" y="165"/>
                    <a:pt x="19" y="164"/>
                  </a:cubicBezTo>
                  <a:cubicBezTo>
                    <a:pt x="19" y="164"/>
                    <a:pt x="19" y="165"/>
                    <a:pt x="19" y="165"/>
                  </a:cubicBezTo>
                  <a:cubicBezTo>
                    <a:pt x="19" y="166"/>
                    <a:pt x="22" y="166"/>
                    <a:pt x="22" y="166"/>
                  </a:cubicBezTo>
                  <a:cubicBezTo>
                    <a:pt x="22" y="167"/>
                    <a:pt x="22" y="168"/>
                    <a:pt x="22" y="168"/>
                  </a:cubicBezTo>
                  <a:cubicBezTo>
                    <a:pt x="22" y="168"/>
                    <a:pt x="22" y="167"/>
                    <a:pt x="23" y="167"/>
                  </a:cubicBezTo>
                  <a:cubicBezTo>
                    <a:pt x="23" y="168"/>
                    <a:pt x="22" y="168"/>
                    <a:pt x="22" y="169"/>
                  </a:cubicBezTo>
                  <a:cubicBezTo>
                    <a:pt x="24" y="167"/>
                    <a:pt x="25" y="167"/>
                    <a:pt x="28" y="167"/>
                  </a:cubicBezTo>
                  <a:cubicBezTo>
                    <a:pt x="29" y="167"/>
                    <a:pt x="32" y="167"/>
                    <a:pt x="33" y="166"/>
                  </a:cubicBezTo>
                  <a:cubicBezTo>
                    <a:pt x="34" y="165"/>
                    <a:pt x="34" y="167"/>
                    <a:pt x="35" y="167"/>
                  </a:cubicBezTo>
                  <a:cubicBezTo>
                    <a:pt x="36" y="166"/>
                    <a:pt x="36" y="165"/>
                    <a:pt x="36" y="164"/>
                  </a:cubicBezTo>
                  <a:cubicBezTo>
                    <a:pt x="38" y="164"/>
                    <a:pt x="40" y="164"/>
                    <a:pt x="42" y="164"/>
                  </a:cubicBezTo>
                  <a:cubicBezTo>
                    <a:pt x="43" y="163"/>
                    <a:pt x="45" y="163"/>
                    <a:pt x="46" y="163"/>
                  </a:cubicBezTo>
                  <a:cubicBezTo>
                    <a:pt x="46" y="162"/>
                    <a:pt x="47" y="162"/>
                    <a:pt x="48" y="161"/>
                  </a:cubicBezTo>
                  <a:cubicBezTo>
                    <a:pt x="48" y="162"/>
                    <a:pt x="49" y="163"/>
                    <a:pt x="50" y="163"/>
                  </a:cubicBezTo>
                  <a:cubicBezTo>
                    <a:pt x="50" y="163"/>
                    <a:pt x="50" y="162"/>
                    <a:pt x="50" y="161"/>
                  </a:cubicBezTo>
                  <a:cubicBezTo>
                    <a:pt x="51" y="162"/>
                    <a:pt x="51" y="162"/>
                    <a:pt x="52" y="162"/>
                  </a:cubicBezTo>
                  <a:cubicBezTo>
                    <a:pt x="51" y="162"/>
                    <a:pt x="51" y="161"/>
                    <a:pt x="51" y="161"/>
                  </a:cubicBezTo>
                  <a:cubicBezTo>
                    <a:pt x="50" y="159"/>
                    <a:pt x="53" y="161"/>
                    <a:pt x="54" y="160"/>
                  </a:cubicBezTo>
                  <a:cubicBezTo>
                    <a:pt x="57" y="159"/>
                    <a:pt x="61" y="159"/>
                    <a:pt x="64" y="159"/>
                  </a:cubicBezTo>
                  <a:lnTo>
                    <a:pt x="64"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49" name="Freeform 3194">
              <a:extLst>
                <a:ext uri="{FF2B5EF4-FFF2-40B4-BE49-F238E27FC236}">
                  <a16:creationId xmlns:a16="http://schemas.microsoft.com/office/drawing/2014/main" id="{D8E3ACDF-370E-4622-B3FE-CD6A838D5F43}"/>
                </a:ext>
              </a:extLst>
            </p:cNvPr>
            <p:cNvSpPr>
              <a:spLocks/>
            </p:cNvSpPr>
            <p:nvPr/>
          </p:nvSpPr>
          <p:spPr bwMode="auto">
            <a:xfrm>
              <a:off x="5036" y="1357"/>
              <a:ext cx="5" cy="2"/>
            </a:xfrm>
            <a:custGeom>
              <a:avLst/>
              <a:gdLst>
                <a:gd name="T0" fmla="*/ 0 w 2"/>
                <a:gd name="T1" fmla="*/ 0 h 1"/>
                <a:gd name="T2" fmla="*/ 0 w 2"/>
                <a:gd name="T3" fmla="*/ 0 h 1"/>
                <a:gd name="T4" fmla="*/ 0 w 2"/>
                <a:gd name="T5" fmla="*/ 1 h 1"/>
                <a:gd name="T6" fmla="*/ 1 w 2"/>
                <a:gd name="T7" fmla="*/ 1 h 1"/>
                <a:gd name="T8" fmla="*/ 2 w 2"/>
                <a:gd name="T9" fmla="*/ 1 h 1"/>
                <a:gd name="T10" fmla="*/ 2 w 2"/>
                <a:gd name="T11" fmla="*/ 1 h 1"/>
                <a:gd name="T12" fmla="*/ 2 w 2"/>
                <a:gd name="T13" fmla="*/ 1 h 1"/>
                <a:gd name="T14" fmla="*/ 1 w 2"/>
                <a:gd name="T15" fmla="*/ 0 h 1"/>
                <a:gd name="T16" fmla="*/ 0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0"/>
                  </a:moveTo>
                  <a:cubicBezTo>
                    <a:pt x="0" y="0"/>
                    <a:pt x="0" y="0"/>
                    <a:pt x="0" y="0"/>
                  </a:cubicBezTo>
                  <a:cubicBezTo>
                    <a:pt x="0" y="1"/>
                    <a:pt x="0" y="1"/>
                    <a:pt x="0" y="1"/>
                  </a:cubicBezTo>
                  <a:cubicBezTo>
                    <a:pt x="1" y="1"/>
                    <a:pt x="1" y="1"/>
                    <a:pt x="1" y="1"/>
                  </a:cubicBezTo>
                  <a:cubicBezTo>
                    <a:pt x="1" y="1"/>
                    <a:pt x="1" y="1"/>
                    <a:pt x="2" y="1"/>
                  </a:cubicBezTo>
                  <a:cubicBezTo>
                    <a:pt x="2" y="1"/>
                    <a:pt x="2" y="1"/>
                    <a:pt x="2" y="1"/>
                  </a:cubicBezTo>
                  <a:cubicBezTo>
                    <a:pt x="2" y="1"/>
                    <a:pt x="2" y="1"/>
                    <a:pt x="2" y="1"/>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0" name="Freeform 3195">
              <a:extLst>
                <a:ext uri="{FF2B5EF4-FFF2-40B4-BE49-F238E27FC236}">
                  <a16:creationId xmlns:a16="http://schemas.microsoft.com/office/drawing/2014/main" id="{B25CB31D-2A4D-491B-BD7F-5F2E9F815BC3}"/>
                </a:ext>
              </a:extLst>
            </p:cNvPr>
            <p:cNvSpPr>
              <a:spLocks/>
            </p:cNvSpPr>
            <p:nvPr/>
          </p:nvSpPr>
          <p:spPr bwMode="auto">
            <a:xfrm>
              <a:off x="4518" y="1655"/>
              <a:ext cx="154" cy="66"/>
            </a:xfrm>
            <a:custGeom>
              <a:avLst/>
              <a:gdLst>
                <a:gd name="T0" fmla="*/ 63 w 65"/>
                <a:gd name="T1" fmla="*/ 25 h 28"/>
                <a:gd name="T2" fmla="*/ 60 w 65"/>
                <a:gd name="T3" fmla="*/ 23 h 28"/>
                <a:gd name="T4" fmla="*/ 62 w 65"/>
                <a:gd name="T5" fmla="*/ 20 h 28"/>
                <a:gd name="T6" fmla="*/ 55 w 65"/>
                <a:gd name="T7" fmla="*/ 16 h 28"/>
                <a:gd name="T8" fmla="*/ 49 w 65"/>
                <a:gd name="T9" fmla="*/ 11 h 28"/>
                <a:gd name="T10" fmla="*/ 49 w 65"/>
                <a:gd name="T11" fmla="*/ 11 h 28"/>
                <a:gd name="T12" fmla="*/ 46 w 65"/>
                <a:gd name="T13" fmla="*/ 12 h 28"/>
                <a:gd name="T14" fmla="*/ 43 w 65"/>
                <a:gd name="T15" fmla="*/ 11 h 28"/>
                <a:gd name="T16" fmla="*/ 36 w 65"/>
                <a:gd name="T17" fmla="*/ 11 h 28"/>
                <a:gd name="T18" fmla="*/ 35 w 65"/>
                <a:gd name="T19" fmla="*/ 10 h 28"/>
                <a:gd name="T20" fmla="*/ 28 w 65"/>
                <a:gd name="T21" fmla="*/ 6 h 28"/>
                <a:gd name="T22" fmla="*/ 7 w 65"/>
                <a:gd name="T23" fmla="*/ 2 h 28"/>
                <a:gd name="T24" fmla="*/ 0 w 65"/>
                <a:gd name="T25" fmla="*/ 0 h 28"/>
                <a:gd name="T26" fmla="*/ 0 w 65"/>
                <a:gd name="T27" fmla="*/ 2 h 28"/>
                <a:gd name="T28" fmla="*/ 10 w 65"/>
                <a:gd name="T29" fmla="*/ 8 h 28"/>
                <a:gd name="T30" fmla="*/ 16 w 65"/>
                <a:gd name="T31" fmla="*/ 17 h 28"/>
                <a:gd name="T32" fmla="*/ 15 w 65"/>
                <a:gd name="T33" fmla="*/ 23 h 28"/>
                <a:gd name="T34" fmla="*/ 17 w 65"/>
                <a:gd name="T35" fmla="*/ 23 h 28"/>
                <a:gd name="T36" fmla="*/ 20 w 65"/>
                <a:gd name="T37" fmla="*/ 23 h 28"/>
                <a:gd name="T38" fmla="*/ 25 w 65"/>
                <a:gd name="T39" fmla="*/ 22 h 28"/>
                <a:gd name="T40" fmla="*/ 29 w 65"/>
                <a:gd name="T41" fmla="*/ 24 h 28"/>
                <a:gd name="T42" fmla="*/ 30 w 65"/>
                <a:gd name="T43" fmla="*/ 24 h 28"/>
                <a:gd name="T44" fmla="*/ 30 w 65"/>
                <a:gd name="T45" fmla="*/ 25 h 28"/>
                <a:gd name="T46" fmla="*/ 33 w 65"/>
                <a:gd name="T47" fmla="*/ 26 h 28"/>
                <a:gd name="T48" fmla="*/ 34 w 65"/>
                <a:gd name="T49" fmla="*/ 28 h 28"/>
                <a:gd name="T50" fmla="*/ 34 w 65"/>
                <a:gd name="T51" fmla="*/ 28 h 28"/>
                <a:gd name="T52" fmla="*/ 36 w 65"/>
                <a:gd name="T53" fmla="*/ 28 h 28"/>
                <a:gd name="T54" fmla="*/ 44 w 65"/>
                <a:gd name="T55" fmla="*/ 27 h 28"/>
                <a:gd name="T56" fmla="*/ 46 w 65"/>
                <a:gd name="T57" fmla="*/ 27 h 28"/>
                <a:gd name="T58" fmla="*/ 47 w 65"/>
                <a:gd name="T59" fmla="*/ 27 h 28"/>
                <a:gd name="T60" fmla="*/ 47 w 65"/>
                <a:gd name="T61" fmla="*/ 26 h 28"/>
                <a:gd name="T62" fmla="*/ 50 w 65"/>
                <a:gd name="T63" fmla="*/ 25 h 28"/>
                <a:gd name="T64" fmla="*/ 54 w 65"/>
                <a:gd name="T65" fmla="*/ 24 h 28"/>
                <a:gd name="T66" fmla="*/ 57 w 65"/>
                <a:gd name="T67" fmla="*/ 26 h 28"/>
                <a:gd name="T68" fmla="*/ 59 w 65"/>
                <a:gd name="T69" fmla="*/ 27 h 28"/>
                <a:gd name="T70" fmla="*/ 65 w 65"/>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 h="28">
                  <a:moveTo>
                    <a:pt x="65" y="27"/>
                  </a:moveTo>
                  <a:cubicBezTo>
                    <a:pt x="64" y="26"/>
                    <a:pt x="64" y="26"/>
                    <a:pt x="63" y="25"/>
                  </a:cubicBezTo>
                  <a:cubicBezTo>
                    <a:pt x="62" y="25"/>
                    <a:pt x="62" y="24"/>
                    <a:pt x="61" y="24"/>
                  </a:cubicBezTo>
                  <a:cubicBezTo>
                    <a:pt x="60" y="23"/>
                    <a:pt x="60" y="23"/>
                    <a:pt x="60" y="23"/>
                  </a:cubicBezTo>
                  <a:cubicBezTo>
                    <a:pt x="62" y="20"/>
                    <a:pt x="62" y="20"/>
                    <a:pt x="62" y="20"/>
                  </a:cubicBezTo>
                  <a:cubicBezTo>
                    <a:pt x="62" y="20"/>
                    <a:pt x="62" y="20"/>
                    <a:pt x="62" y="20"/>
                  </a:cubicBezTo>
                  <a:cubicBezTo>
                    <a:pt x="60" y="20"/>
                    <a:pt x="56" y="17"/>
                    <a:pt x="56" y="17"/>
                  </a:cubicBezTo>
                  <a:cubicBezTo>
                    <a:pt x="56" y="17"/>
                    <a:pt x="55" y="17"/>
                    <a:pt x="55" y="16"/>
                  </a:cubicBezTo>
                  <a:cubicBezTo>
                    <a:pt x="55" y="15"/>
                    <a:pt x="55" y="14"/>
                    <a:pt x="55" y="13"/>
                  </a:cubicBezTo>
                  <a:cubicBezTo>
                    <a:pt x="53" y="13"/>
                    <a:pt x="50" y="12"/>
                    <a:pt x="49" y="11"/>
                  </a:cubicBezTo>
                  <a:cubicBezTo>
                    <a:pt x="49" y="11"/>
                    <a:pt x="49" y="11"/>
                    <a:pt x="49" y="11"/>
                  </a:cubicBezTo>
                  <a:cubicBezTo>
                    <a:pt x="49" y="11"/>
                    <a:pt x="49" y="11"/>
                    <a:pt x="49" y="11"/>
                  </a:cubicBezTo>
                  <a:cubicBezTo>
                    <a:pt x="48" y="14"/>
                    <a:pt x="48" y="14"/>
                    <a:pt x="48" y="14"/>
                  </a:cubicBezTo>
                  <a:cubicBezTo>
                    <a:pt x="46" y="12"/>
                    <a:pt x="46" y="12"/>
                    <a:pt x="46" y="12"/>
                  </a:cubicBezTo>
                  <a:cubicBezTo>
                    <a:pt x="46" y="11"/>
                    <a:pt x="46" y="11"/>
                    <a:pt x="45" y="11"/>
                  </a:cubicBezTo>
                  <a:cubicBezTo>
                    <a:pt x="45" y="10"/>
                    <a:pt x="44" y="11"/>
                    <a:pt x="43" y="11"/>
                  </a:cubicBezTo>
                  <a:cubicBezTo>
                    <a:pt x="40" y="13"/>
                    <a:pt x="39" y="13"/>
                    <a:pt x="38" y="12"/>
                  </a:cubicBezTo>
                  <a:cubicBezTo>
                    <a:pt x="38" y="12"/>
                    <a:pt x="36" y="12"/>
                    <a:pt x="36" y="11"/>
                  </a:cubicBezTo>
                  <a:cubicBezTo>
                    <a:pt x="35" y="10"/>
                    <a:pt x="35" y="10"/>
                    <a:pt x="35" y="10"/>
                  </a:cubicBezTo>
                  <a:cubicBezTo>
                    <a:pt x="35" y="10"/>
                    <a:pt x="35" y="10"/>
                    <a:pt x="35" y="10"/>
                  </a:cubicBezTo>
                  <a:cubicBezTo>
                    <a:pt x="35" y="10"/>
                    <a:pt x="36" y="10"/>
                    <a:pt x="36" y="10"/>
                  </a:cubicBezTo>
                  <a:cubicBezTo>
                    <a:pt x="33" y="9"/>
                    <a:pt x="29" y="7"/>
                    <a:pt x="28" y="6"/>
                  </a:cubicBezTo>
                  <a:cubicBezTo>
                    <a:pt x="27" y="5"/>
                    <a:pt x="24" y="4"/>
                    <a:pt x="22" y="5"/>
                  </a:cubicBezTo>
                  <a:cubicBezTo>
                    <a:pt x="18" y="6"/>
                    <a:pt x="9" y="3"/>
                    <a:pt x="7" y="2"/>
                  </a:cubicBezTo>
                  <a:cubicBezTo>
                    <a:pt x="6" y="1"/>
                    <a:pt x="5" y="1"/>
                    <a:pt x="5" y="1"/>
                  </a:cubicBezTo>
                  <a:cubicBezTo>
                    <a:pt x="3" y="1"/>
                    <a:pt x="2" y="1"/>
                    <a:pt x="0" y="0"/>
                  </a:cubicBezTo>
                  <a:cubicBezTo>
                    <a:pt x="0" y="1"/>
                    <a:pt x="0" y="1"/>
                    <a:pt x="0" y="2"/>
                  </a:cubicBezTo>
                  <a:cubicBezTo>
                    <a:pt x="0" y="2"/>
                    <a:pt x="0" y="2"/>
                    <a:pt x="0" y="2"/>
                  </a:cubicBezTo>
                  <a:cubicBezTo>
                    <a:pt x="1" y="3"/>
                    <a:pt x="2" y="4"/>
                    <a:pt x="4" y="5"/>
                  </a:cubicBezTo>
                  <a:cubicBezTo>
                    <a:pt x="6" y="5"/>
                    <a:pt x="9" y="5"/>
                    <a:pt x="10" y="8"/>
                  </a:cubicBezTo>
                  <a:cubicBezTo>
                    <a:pt x="11" y="10"/>
                    <a:pt x="13" y="9"/>
                    <a:pt x="14" y="12"/>
                  </a:cubicBezTo>
                  <a:cubicBezTo>
                    <a:pt x="14" y="13"/>
                    <a:pt x="15" y="17"/>
                    <a:pt x="16" y="17"/>
                  </a:cubicBezTo>
                  <a:cubicBezTo>
                    <a:pt x="15" y="18"/>
                    <a:pt x="17" y="19"/>
                    <a:pt x="16" y="20"/>
                  </a:cubicBezTo>
                  <a:cubicBezTo>
                    <a:pt x="16" y="21"/>
                    <a:pt x="16" y="22"/>
                    <a:pt x="15" y="23"/>
                  </a:cubicBezTo>
                  <a:cubicBezTo>
                    <a:pt x="15" y="23"/>
                    <a:pt x="15" y="23"/>
                    <a:pt x="15" y="23"/>
                  </a:cubicBezTo>
                  <a:cubicBezTo>
                    <a:pt x="16" y="23"/>
                    <a:pt x="16" y="23"/>
                    <a:pt x="17" y="23"/>
                  </a:cubicBezTo>
                  <a:cubicBezTo>
                    <a:pt x="18" y="23"/>
                    <a:pt x="19" y="23"/>
                    <a:pt x="19" y="23"/>
                  </a:cubicBezTo>
                  <a:cubicBezTo>
                    <a:pt x="20" y="23"/>
                    <a:pt x="20" y="23"/>
                    <a:pt x="20" y="23"/>
                  </a:cubicBezTo>
                  <a:cubicBezTo>
                    <a:pt x="21" y="24"/>
                    <a:pt x="22" y="24"/>
                    <a:pt x="23" y="24"/>
                  </a:cubicBezTo>
                  <a:cubicBezTo>
                    <a:pt x="24" y="23"/>
                    <a:pt x="24" y="23"/>
                    <a:pt x="25" y="22"/>
                  </a:cubicBezTo>
                  <a:cubicBezTo>
                    <a:pt x="27" y="22"/>
                    <a:pt x="28" y="23"/>
                    <a:pt x="29" y="24"/>
                  </a:cubicBezTo>
                  <a:cubicBezTo>
                    <a:pt x="29" y="24"/>
                    <a:pt x="29" y="24"/>
                    <a:pt x="29" y="24"/>
                  </a:cubicBezTo>
                  <a:cubicBezTo>
                    <a:pt x="29" y="24"/>
                    <a:pt x="29" y="24"/>
                    <a:pt x="29" y="24"/>
                  </a:cubicBezTo>
                  <a:cubicBezTo>
                    <a:pt x="30" y="24"/>
                    <a:pt x="30" y="24"/>
                    <a:pt x="30" y="24"/>
                  </a:cubicBezTo>
                  <a:cubicBezTo>
                    <a:pt x="30" y="24"/>
                    <a:pt x="30" y="25"/>
                    <a:pt x="30" y="25"/>
                  </a:cubicBezTo>
                  <a:cubicBezTo>
                    <a:pt x="30" y="25"/>
                    <a:pt x="30" y="25"/>
                    <a:pt x="30" y="25"/>
                  </a:cubicBezTo>
                  <a:cubicBezTo>
                    <a:pt x="31" y="25"/>
                    <a:pt x="31" y="25"/>
                    <a:pt x="31" y="25"/>
                  </a:cubicBezTo>
                  <a:cubicBezTo>
                    <a:pt x="31" y="26"/>
                    <a:pt x="32" y="26"/>
                    <a:pt x="33" y="26"/>
                  </a:cubicBezTo>
                  <a:cubicBezTo>
                    <a:pt x="33" y="27"/>
                    <a:pt x="33" y="27"/>
                    <a:pt x="33" y="27"/>
                  </a:cubicBezTo>
                  <a:cubicBezTo>
                    <a:pt x="33" y="27"/>
                    <a:pt x="34" y="27"/>
                    <a:pt x="34" y="28"/>
                  </a:cubicBezTo>
                  <a:cubicBezTo>
                    <a:pt x="34" y="28"/>
                    <a:pt x="34" y="28"/>
                    <a:pt x="34" y="28"/>
                  </a:cubicBezTo>
                  <a:cubicBezTo>
                    <a:pt x="34" y="28"/>
                    <a:pt x="34" y="28"/>
                    <a:pt x="34" y="28"/>
                  </a:cubicBezTo>
                  <a:cubicBezTo>
                    <a:pt x="35" y="28"/>
                    <a:pt x="35" y="28"/>
                    <a:pt x="35" y="28"/>
                  </a:cubicBezTo>
                  <a:cubicBezTo>
                    <a:pt x="36" y="28"/>
                    <a:pt x="36" y="28"/>
                    <a:pt x="36" y="28"/>
                  </a:cubicBezTo>
                  <a:cubicBezTo>
                    <a:pt x="38" y="28"/>
                    <a:pt x="40" y="27"/>
                    <a:pt x="42" y="27"/>
                  </a:cubicBezTo>
                  <a:cubicBezTo>
                    <a:pt x="43" y="27"/>
                    <a:pt x="43" y="27"/>
                    <a:pt x="44" y="27"/>
                  </a:cubicBezTo>
                  <a:cubicBezTo>
                    <a:pt x="45" y="27"/>
                    <a:pt x="45" y="27"/>
                    <a:pt x="45" y="27"/>
                  </a:cubicBezTo>
                  <a:cubicBezTo>
                    <a:pt x="46" y="27"/>
                    <a:pt x="46" y="27"/>
                    <a:pt x="46" y="27"/>
                  </a:cubicBezTo>
                  <a:cubicBezTo>
                    <a:pt x="46" y="27"/>
                    <a:pt x="46" y="27"/>
                    <a:pt x="47" y="27"/>
                  </a:cubicBezTo>
                  <a:cubicBezTo>
                    <a:pt x="47" y="27"/>
                    <a:pt x="47" y="27"/>
                    <a:pt x="47" y="27"/>
                  </a:cubicBezTo>
                  <a:cubicBezTo>
                    <a:pt x="47" y="27"/>
                    <a:pt x="47" y="27"/>
                    <a:pt x="47" y="27"/>
                  </a:cubicBezTo>
                  <a:cubicBezTo>
                    <a:pt x="47" y="26"/>
                    <a:pt x="47" y="26"/>
                    <a:pt x="47" y="26"/>
                  </a:cubicBezTo>
                  <a:cubicBezTo>
                    <a:pt x="49" y="26"/>
                    <a:pt x="49" y="26"/>
                    <a:pt x="49" y="26"/>
                  </a:cubicBezTo>
                  <a:cubicBezTo>
                    <a:pt x="50" y="26"/>
                    <a:pt x="50" y="25"/>
                    <a:pt x="50" y="25"/>
                  </a:cubicBezTo>
                  <a:cubicBezTo>
                    <a:pt x="51" y="24"/>
                    <a:pt x="51" y="24"/>
                    <a:pt x="51" y="24"/>
                  </a:cubicBezTo>
                  <a:cubicBezTo>
                    <a:pt x="52" y="24"/>
                    <a:pt x="53" y="24"/>
                    <a:pt x="54" y="24"/>
                  </a:cubicBezTo>
                  <a:cubicBezTo>
                    <a:pt x="55" y="24"/>
                    <a:pt x="56" y="25"/>
                    <a:pt x="56" y="25"/>
                  </a:cubicBezTo>
                  <a:cubicBezTo>
                    <a:pt x="57" y="26"/>
                    <a:pt x="57" y="26"/>
                    <a:pt x="57" y="26"/>
                  </a:cubicBezTo>
                  <a:cubicBezTo>
                    <a:pt x="57" y="26"/>
                    <a:pt x="57" y="26"/>
                    <a:pt x="58" y="26"/>
                  </a:cubicBezTo>
                  <a:cubicBezTo>
                    <a:pt x="58" y="27"/>
                    <a:pt x="58" y="27"/>
                    <a:pt x="59" y="27"/>
                  </a:cubicBezTo>
                  <a:cubicBezTo>
                    <a:pt x="60" y="27"/>
                    <a:pt x="62" y="28"/>
                    <a:pt x="64" y="28"/>
                  </a:cubicBezTo>
                  <a:cubicBezTo>
                    <a:pt x="64" y="28"/>
                    <a:pt x="65" y="28"/>
                    <a:pt x="65" y="28"/>
                  </a:cubicBezTo>
                  <a:cubicBezTo>
                    <a:pt x="65" y="27"/>
                    <a:pt x="65" y="27"/>
                    <a:pt x="6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1" name="Freeform 3196">
              <a:extLst>
                <a:ext uri="{FF2B5EF4-FFF2-40B4-BE49-F238E27FC236}">
                  <a16:creationId xmlns:a16="http://schemas.microsoft.com/office/drawing/2014/main" id="{931EB04E-EC4B-4FAF-959C-DF1F559D1A0E}"/>
                </a:ext>
              </a:extLst>
            </p:cNvPr>
            <p:cNvSpPr>
              <a:spLocks/>
            </p:cNvSpPr>
            <p:nvPr/>
          </p:nvSpPr>
          <p:spPr bwMode="auto">
            <a:xfrm>
              <a:off x="5036" y="1357"/>
              <a:ext cx="5" cy="2"/>
            </a:xfrm>
            <a:custGeom>
              <a:avLst/>
              <a:gdLst>
                <a:gd name="T0" fmla="*/ 0 w 2"/>
                <a:gd name="T1" fmla="*/ 0 h 1"/>
                <a:gd name="T2" fmla="*/ 0 w 2"/>
                <a:gd name="T3" fmla="*/ 0 h 1"/>
                <a:gd name="T4" fmla="*/ 0 w 2"/>
                <a:gd name="T5" fmla="*/ 1 h 1"/>
                <a:gd name="T6" fmla="*/ 1 w 2"/>
                <a:gd name="T7" fmla="*/ 1 h 1"/>
                <a:gd name="T8" fmla="*/ 2 w 2"/>
                <a:gd name="T9" fmla="*/ 1 h 1"/>
                <a:gd name="T10" fmla="*/ 2 w 2"/>
                <a:gd name="T11" fmla="*/ 1 h 1"/>
                <a:gd name="T12" fmla="*/ 2 w 2"/>
                <a:gd name="T13" fmla="*/ 1 h 1"/>
                <a:gd name="T14" fmla="*/ 1 w 2"/>
                <a:gd name="T15" fmla="*/ 0 h 1"/>
                <a:gd name="T16" fmla="*/ 0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0"/>
                  </a:moveTo>
                  <a:cubicBezTo>
                    <a:pt x="0" y="0"/>
                    <a:pt x="0" y="0"/>
                    <a:pt x="0" y="0"/>
                  </a:cubicBezTo>
                  <a:cubicBezTo>
                    <a:pt x="0" y="1"/>
                    <a:pt x="0" y="1"/>
                    <a:pt x="0" y="1"/>
                  </a:cubicBezTo>
                  <a:cubicBezTo>
                    <a:pt x="1" y="1"/>
                    <a:pt x="1" y="1"/>
                    <a:pt x="1" y="1"/>
                  </a:cubicBezTo>
                  <a:cubicBezTo>
                    <a:pt x="1" y="1"/>
                    <a:pt x="1" y="1"/>
                    <a:pt x="2" y="1"/>
                  </a:cubicBezTo>
                  <a:cubicBezTo>
                    <a:pt x="2" y="1"/>
                    <a:pt x="2" y="1"/>
                    <a:pt x="2" y="1"/>
                  </a:cubicBezTo>
                  <a:cubicBezTo>
                    <a:pt x="2" y="1"/>
                    <a:pt x="2" y="1"/>
                    <a:pt x="2" y="1"/>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2" name="Freeform 3197">
              <a:extLst>
                <a:ext uri="{FF2B5EF4-FFF2-40B4-BE49-F238E27FC236}">
                  <a16:creationId xmlns:a16="http://schemas.microsoft.com/office/drawing/2014/main" id="{BC4C8F04-161E-46FB-A0BC-6533B6329B90}"/>
                </a:ext>
              </a:extLst>
            </p:cNvPr>
            <p:cNvSpPr>
              <a:spLocks/>
            </p:cNvSpPr>
            <p:nvPr/>
          </p:nvSpPr>
          <p:spPr bwMode="auto">
            <a:xfrm>
              <a:off x="5036" y="1357"/>
              <a:ext cx="5" cy="2"/>
            </a:xfrm>
            <a:custGeom>
              <a:avLst/>
              <a:gdLst>
                <a:gd name="T0" fmla="*/ 0 w 2"/>
                <a:gd name="T1" fmla="*/ 0 h 1"/>
                <a:gd name="T2" fmla="*/ 0 w 2"/>
                <a:gd name="T3" fmla="*/ 0 h 1"/>
                <a:gd name="T4" fmla="*/ 0 w 2"/>
                <a:gd name="T5" fmla="*/ 1 h 1"/>
                <a:gd name="T6" fmla="*/ 1 w 2"/>
                <a:gd name="T7" fmla="*/ 1 h 1"/>
                <a:gd name="T8" fmla="*/ 2 w 2"/>
                <a:gd name="T9" fmla="*/ 1 h 1"/>
                <a:gd name="T10" fmla="*/ 2 w 2"/>
                <a:gd name="T11" fmla="*/ 1 h 1"/>
                <a:gd name="T12" fmla="*/ 2 w 2"/>
                <a:gd name="T13" fmla="*/ 1 h 1"/>
                <a:gd name="T14" fmla="*/ 1 w 2"/>
                <a:gd name="T15" fmla="*/ 0 h 1"/>
                <a:gd name="T16" fmla="*/ 0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0"/>
                  </a:moveTo>
                  <a:cubicBezTo>
                    <a:pt x="0" y="0"/>
                    <a:pt x="0" y="0"/>
                    <a:pt x="0" y="0"/>
                  </a:cubicBezTo>
                  <a:cubicBezTo>
                    <a:pt x="0" y="1"/>
                    <a:pt x="0" y="1"/>
                    <a:pt x="0" y="1"/>
                  </a:cubicBezTo>
                  <a:cubicBezTo>
                    <a:pt x="1" y="1"/>
                    <a:pt x="1" y="1"/>
                    <a:pt x="1" y="1"/>
                  </a:cubicBezTo>
                  <a:cubicBezTo>
                    <a:pt x="1" y="1"/>
                    <a:pt x="1" y="1"/>
                    <a:pt x="2" y="1"/>
                  </a:cubicBezTo>
                  <a:cubicBezTo>
                    <a:pt x="2" y="1"/>
                    <a:pt x="2" y="1"/>
                    <a:pt x="2" y="1"/>
                  </a:cubicBezTo>
                  <a:cubicBezTo>
                    <a:pt x="2" y="1"/>
                    <a:pt x="2" y="1"/>
                    <a:pt x="2" y="1"/>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3" name="Freeform 3198">
              <a:extLst>
                <a:ext uri="{FF2B5EF4-FFF2-40B4-BE49-F238E27FC236}">
                  <a16:creationId xmlns:a16="http://schemas.microsoft.com/office/drawing/2014/main" id="{DF045B53-F59C-4D83-B987-FD8C4D9EA3C0}"/>
                </a:ext>
              </a:extLst>
            </p:cNvPr>
            <p:cNvSpPr>
              <a:spLocks/>
            </p:cNvSpPr>
            <p:nvPr/>
          </p:nvSpPr>
          <p:spPr bwMode="auto">
            <a:xfrm>
              <a:off x="5138" y="130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4" name="Freeform 3199">
              <a:extLst>
                <a:ext uri="{FF2B5EF4-FFF2-40B4-BE49-F238E27FC236}">
                  <a16:creationId xmlns:a16="http://schemas.microsoft.com/office/drawing/2014/main" id="{96ADA7C9-C2F2-46B8-91F3-F6F02992503D}"/>
                </a:ext>
              </a:extLst>
            </p:cNvPr>
            <p:cNvSpPr>
              <a:spLocks/>
            </p:cNvSpPr>
            <p:nvPr/>
          </p:nvSpPr>
          <p:spPr bwMode="auto">
            <a:xfrm>
              <a:off x="4738" y="15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5" name="Freeform 3200">
              <a:extLst>
                <a:ext uri="{FF2B5EF4-FFF2-40B4-BE49-F238E27FC236}">
                  <a16:creationId xmlns:a16="http://schemas.microsoft.com/office/drawing/2014/main" id="{B7B8DE89-4EAE-433D-A86F-253FE4E40145}"/>
                </a:ext>
              </a:extLst>
            </p:cNvPr>
            <p:cNvSpPr>
              <a:spLocks/>
            </p:cNvSpPr>
            <p:nvPr/>
          </p:nvSpPr>
          <p:spPr bwMode="auto">
            <a:xfrm>
              <a:off x="4729" y="155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6" name="Freeform 3201">
              <a:extLst>
                <a:ext uri="{FF2B5EF4-FFF2-40B4-BE49-F238E27FC236}">
                  <a16:creationId xmlns:a16="http://schemas.microsoft.com/office/drawing/2014/main" id="{D6EE4F80-1692-4D07-8587-F24CC0B28762}"/>
                </a:ext>
              </a:extLst>
            </p:cNvPr>
            <p:cNvSpPr>
              <a:spLocks/>
            </p:cNvSpPr>
            <p:nvPr/>
          </p:nvSpPr>
          <p:spPr bwMode="auto">
            <a:xfrm>
              <a:off x="4388" y="1075"/>
              <a:ext cx="17" cy="10"/>
            </a:xfrm>
            <a:custGeom>
              <a:avLst/>
              <a:gdLst>
                <a:gd name="T0" fmla="*/ 4 w 7"/>
                <a:gd name="T1" fmla="*/ 4 h 4"/>
                <a:gd name="T2" fmla="*/ 3 w 7"/>
                <a:gd name="T3" fmla="*/ 3 h 4"/>
                <a:gd name="T4" fmla="*/ 0 w 7"/>
                <a:gd name="T5" fmla="*/ 3 h 4"/>
                <a:gd name="T6" fmla="*/ 0 w 7"/>
                <a:gd name="T7" fmla="*/ 1 h 4"/>
                <a:gd name="T8" fmla="*/ 2 w 7"/>
                <a:gd name="T9" fmla="*/ 1 h 4"/>
                <a:gd name="T10" fmla="*/ 6 w 7"/>
                <a:gd name="T11" fmla="*/ 3 h 4"/>
                <a:gd name="T12" fmla="*/ 7 w 7"/>
                <a:gd name="T13" fmla="*/ 3 h 4"/>
                <a:gd name="T14" fmla="*/ 4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4" y="4"/>
                  </a:moveTo>
                  <a:cubicBezTo>
                    <a:pt x="3" y="4"/>
                    <a:pt x="4" y="4"/>
                    <a:pt x="3" y="3"/>
                  </a:cubicBezTo>
                  <a:cubicBezTo>
                    <a:pt x="2" y="2"/>
                    <a:pt x="1" y="3"/>
                    <a:pt x="0" y="3"/>
                  </a:cubicBezTo>
                  <a:cubicBezTo>
                    <a:pt x="0" y="2"/>
                    <a:pt x="0" y="2"/>
                    <a:pt x="0" y="1"/>
                  </a:cubicBezTo>
                  <a:cubicBezTo>
                    <a:pt x="1" y="0"/>
                    <a:pt x="1" y="1"/>
                    <a:pt x="2" y="1"/>
                  </a:cubicBezTo>
                  <a:cubicBezTo>
                    <a:pt x="3" y="2"/>
                    <a:pt x="5" y="2"/>
                    <a:pt x="6" y="3"/>
                  </a:cubicBezTo>
                  <a:cubicBezTo>
                    <a:pt x="6" y="3"/>
                    <a:pt x="7" y="3"/>
                    <a:pt x="7" y="3"/>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7" name="Freeform 3202">
              <a:extLst>
                <a:ext uri="{FF2B5EF4-FFF2-40B4-BE49-F238E27FC236}">
                  <a16:creationId xmlns:a16="http://schemas.microsoft.com/office/drawing/2014/main" id="{8F5F92FE-2B7D-448F-A808-6B5F07E034EC}"/>
                </a:ext>
              </a:extLst>
            </p:cNvPr>
            <p:cNvSpPr>
              <a:spLocks noEditPoints="1"/>
            </p:cNvSpPr>
            <p:nvPr/>
          </p:nvSpPr>
          <p:spPr bwMode="auto">
            <a:xfrm>
              <a:off x="4213" y="361"/>
              <a:ext cx="3932" cy="1358"/>
            </a:xfrm>
            <a:custGeom>
              <a:avLst/>
              <a:gdLst>
                <a:gd name="T0" fmla="*/ 1434 w 1663"/>
                <a:gd name="T1" fmla="*/ 160 h 574"/>
                <a:gd name="T2" fmla="*/ 1171 w 1663"/>
                <a:gd name="T3" fmla="*/ 103 h 574"/>
                <a:gd name="T4" fmla="*/ 1049 w 1663"/>
                <a:gd name="T5" fmla="*/ 136 h 574"/>
                <a:gd name="T6" fmla="*/ 1031 w 1663"/>
                <a:gd name="T7" fmla="*/ 114 h 574"/>
                <a:gd name="T8" fmla="*/ 1036 w 1663"/>
                <a:gd name="T9" fmla="*/ 94 h 574"/>
                <a:gd name="T10" fmla="*/ 985 w 1663"/>
                <a:gd name="T11" fmla="*/ 83 h 574"/>
                <a:gd name="T12" fmla="*/ 923 w 1663"/>
                <a:gd name="T13" fmla="*/ 86 h 574"/>
                <a:gd name="T14" fmla="*/ 853 w 1663"/>
                <a:gd name="T15" fmla="*/ 78 h 574"/>
                <a:gd name="T16" fmla="*/ 846 w 1663"/>
                <a:gd name="T17" fmla="*/ 68 h 574"/>
                <a:gd name="T18" fmla="*/ 867 w 1663"/>
                <a:gd name="T19" fmla="*/ 40 h 574"/>
                <a:gd name="T20" fmla="*/ 870 w 1663"/>
                <a:gd name="T21" fmla="*/ 33 h 574"/>
                <a:gd name="T22" fmla="*/ 833 w 1663"/>
                <a:gd name="T23" fmla="*/ 22 h 574"/>
                <a:gd name="T24" fmla="*/ 797 w 1663"/>
                <a:gd name="T25" fmla="*/ 17 h 574"/>
                <a:gd name="T26" fmla="*/ 780 w 1663"/>
                <a:gd name="T27" fmla="*/ 0 h 574"/>
                <a:gd name="T28" fmla="*/ 751 w 1663"/>
                <a:gd name="T29" fmla="*/ 26 h 574"/>
                <a:gd name="T30" fmla="*/ 734 w 1663"/>
                <a:gd name="T31" fmla="*/ 31 h 574"/>
                <a:gd name="T32" fmla="*/ 695 w 1663"/>
                <a:gd name="T33" fmla="*/ 40 h 574"/>
                <a:gd name="T34" fmla="*/ 623 w 1663"/>
                <a:gd name="T35" fmla="*/ 52 h 574"/>
                <a:gd name="T36" fmla="*/ 598 w 1663"/>
                <a:gd name="T37" fmla="*/ 62 h 574"/>
                <a:gd name="T38" fmla="*/ 606 w 1663"/>
                <a:gd name="T39" fmla="*/ 71 h 574"/>
                <a:gd name="T40" fmla="*/ 539 w 1663"/>
                <a:gd name="T41" fmla="*/ 91 h 574"/>
                <a:gd name="T42" fmla="*/ 554 w 1663"/>
                <a:gd name="T43" fmla="*/ 123 h 574"/>
                <a:gd name="T44" fmla="*/ 514 w 1663"/>
                <a:gd name="T45" fmla="*/ 130 h 574"/>
                <a:gd name="T46" fmla="*/ 514 w 1663"/>
                <a:gd name="T47" fmla="*/ 134 h 574"/>
                <a:gd name="T48" fmla="*/ 487 w 1663"/>
                <a:gd name="T49" fmla="*/ 121 h 574"/>
                <a:gd name="T50" fmla="*/ 484 w 1663"/>
                <a:gd name="T51" fmla="*/ 101 h 574"/>
                <a:gd name="T52" fmla="*/ 471 w 1663"/>
                <a:gd name="T53" fmla="*/ 156 h 574"/>
                <a:gd name="T54" fmla="*/ 512 w 1663"/>
                <a:gd name="T55" fmla="*/ 175 h 574"/>
                <a:gd name="T56" fmla="*/ 521 w 1663"/>
                <a:gd name="T57" fmla="*/ 196 h 574"/>
                <a:gd name="T58" fmla="*/ 500 w 1663"/>
                <a:gd name="T59" fmla="*/ 173 h 574"/>
                <a:gd name="T60" fmla="*/ 462 w 1663"/>
                <a:gd name="T61" fmla="*/ 214 h 574"/>
                <a:gd name="T62" fmla="*/ 440 w 1663"/>
                <a:gd name="T63" fmla="*/ 212 h 574"/>
                <a:gd name="T64" fmla="*/ 460 w 1663"/>
                <a:gd name="T65" fmla="*/ 172 h 574"/>
                <a:gd name="T66" fmla="*/ 454 w 1663"/>
                <a:gd name="T67" fmla="*/ 129 h 574"/>
                <a:gd name="T68" fmla="*/ 429 w 1663"/>
                <a:gd name="T69" fmla="*/ 100 h 574"/>
                <a:gd name="T70" fmla="*/ 413 w 1663"/>
                <a:gd name="T71" fmla="*/ 126 h 574"/>
                <a:gd name="T72" fmla="*/ 406 w 1663"/>
                <a:gd name="T73" fmla="*/ 142 h 574"/>
                <a:gd name="T74" fmla="*/ 411 w 1663"/>
                <a:gd name="T75" fmla="*/ 163 h 574"/>
                <a:gd name="T76" fmla="*/ 424 w 1663"/>
                <a:gd name="T77" fmla="*/ 176 h 574"/>
                <a:gd name="T78" fmla="*/ 266 w 1663"/>
                <a:gd name="T79" fmla="*/ 174 h 574"/>
                <a:gd name="T80" fmla="*/ 111 w 1663"/>
                <a:gd name="T81" fmla="*/ 245 h 574"/>
                <a:gd name="T82" fmla="*/ 59 w 1663"/>
                <a:gd name="T83" fmla="*/ 168 h 574"/>
                <a:gd name="T84" fmla="*/ 26 w 1663"/>
                <a:gd name="T85" fmla="*/ 295 h 574"/>
                <a:gd name="T86" fmla="*/ 25 w 1663"/>
                <a:gd name="T87" fmla="*/ 381 h 574"/>
                <a:gd name="T88" fmla="*/ 128 w 1663"/>
                <a:gd name="T89" fmla="*/ 480 h 574"/>
                <a:gd name="T90" fmla="*/ 202 w 1663"/>
                <a:gd name="T91" fmla="*/ 525 h 574"/>
                <a:gd name="T92" fmla="*/ 213 w 1663"/>
                <a:gd name="T93" fmla="*/ 464 h 574"/>
                <a:gd name="T94" fmla="*/ 297 w 1663"/>
                <a:gd name="T95" fmla="*/ 448 h 574"/>
                <a:gd name="T96" fmla="*/ 344 w 1663"/>
                <a:gd name="T97" fmla="*/ 420 h 574"/>
                <a:gd name="T98" fmla="*/ 403 w 1663"/>
                <a:gd name="T99" fmla="*/ 396 h 574"/>
                <a:gd name="T100" fmla="*/ 512 w 1663"/>
                <a:gd name="T101" fmla="*/ 398 h 574"/>
                <a:gd name="T102" fmla="*/ 596 w 1663"/>
                <a:gd name="T103" fmla="*/ 468 h 574"/>
                <a:gd name="T104" fmla="*/ 705 w 1663"/>
                <a:gd name="T105" fmla="*/ 463 h 574"/>
                <a:gd name="T106" fmla="*/ 823 w 1663"/>
                <a:gd name="T107" fmla="*/ 464 h 574"/>
                <a:gd name="T108" fmla="*/ 995 w 1663"/>
                <a:gd name="T109" fmla="*/ 419 h 574"/>
                <a:gd name="T110" fmla="*/ 1098 w 1663"/>
                <a:gd name="T111" fmla="*/ 483 h 574"/>
                <a:gd name="T112" fmla="*/ 1105 w 1663"/>
                <a:gd name="T113" fmla="*/ 538 h 574"/>
                <a:gd name="T114" fmla="*/ 1215 w 1663"/>
                <a:gd name="T115" fmla="*/ 330 h 574"/>
                <a:gd name="T116" fmla="*/ 1389 w 1663"/>
                <a:gd name="T117" fmla="*/ 281 h 574"/>
                <a:gd name="T118" fmla="*/ 1382 w 1663"/>
                <a:gd name="T119" fmla="*/ 366 h 574"/>
                <a:gd name="T120" fmla="*/ 1544 w 1663"/>
                <a:gd name="T121" fmla="*/ 265 h 574"/>
                <a:gd name="T122" fmla="*/ 1637 w 1663"/>
                <a:gd name="T123" fmla="*/ 233 h 574"/>
                <a:gd name="T124" fmla="*/ 840 w 1663"/>
                <a:gd name="T125" fmla="*/ 39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3" h="574">
                  <a:moveTo>
                    <a:pt x="1660" y="222"/>
                  </a:moveTo>
                  <a:cubicBezTo>
                    <a:pt x="1659" y="222"/>
                    <a:pt x="1658" y="222"/>
                    <a:pt x="1658" y="222"/>
                  </a:cubicBezTo>
                  <a:cubicBezTo>
                    <a:pt x="1659" y="220"/>
                    <a:pt x="1655" y="219"/>
                    <a:pt x="1654" y="219"/>
                  </a:cubicBezTo>
                  <a:cubicBezTo>
                    <a:pt x="1653" y="218"/>
                    <a:pt x="1652" y="217"/>
                    <a:pt x="1652" y="217"/>
                  </a:cubicBezTo>
                  <a:cubicBezTo>
                    <a:pt x="1651" y="216"/>
                    <a:pt x="1649" y="215"/>
                    <a:pt x="1648" y="215"/>
                  </a:cubicBezTo>
                  <a:cubicBezTo>
                    <a:pt x="1646" y="212"/>
                    <a:pt x="1644" y="210"/>
                    <a:pt x="1641" y="209"/>
                  </a:cubicBezTo>
                  <a:cubicBezTo>
                    <a:pt x="1640" y="208"/>
                    <a:pt x="1640" y="208"/>
                    <a:pt x="1639" y="208"/>
                  </a:cubicBezTo>
                  <a:cubicBezTo>
                    <a:pt x="1639" y="208"/>
                    <a:pt x="1638" y="208"/>
                    <a:pt x="1638" y="208"/>
                  </a:cubicBezTo>
                  <a:cubicBezTo>
                    <a:pt x="1635" y="208"/>
                    <a:pt x="1632" y="207"/>
                    <a:pt x="1629" y="207"/>
                  </a:cubicBezTo>
                  <a:cubicBezTo>
                    <a:pt x="1630" y="207"/>
                    <a:pt x="1632" y="207"/>
                    <a:pt x="1634" y="208"/>
                  </a:cubicBezTo>
                  <a:cubicBezTo>
                    <a:pt x="1636" y="209"/>
                    <a:pt x="1633" y="209"/>
                    <a:pt x="1632" y="209"/>
                  </a:cubicBezTo>
                  <a:cubicBezTo>
                    <a:pt x="1631" y="208"/>
                    <a:pt x="1628" y="207"/>
                    <a:pt x="1627" y="208"/>
                  </a:cubicBezTo>
                  <a:cubicBezTo>
                    <a:pt x="1626" y="208"/>
                    <a:pt x="1626" y="210"/>
                    <a:pt x="1625" y="210"/>
                  </a:cubicBezTo>
                  <a:cubicBezTo>
                    <a:pt x="1625" y="209"/>
                    <a:pt x="1625" y="209"/>
                    <a:pt x="1626" y="208"/>
                  </a:cubicBezTo>
                  <a:cubicBezTo>
                    <a:pt x="1626" y="207"/>
                    <a:pt x="1627" y="207"/>
                    <a:pt x="1627" y="206"/>
                  </a:cubicBezTo>
                  <a:cubicBezTo>
                    <a:pt x="1627" y="206"/>
                    <a:pt x="1624" y="206"/>
                    <a:pt x="1624" y="206"/>
                  </a:cubicBezTo>
                  <a:cubicBezTo>
                    <a:pt x="1623" y="206"/>
                    <a:pt x="1622" y="206"/>
                    <a:pt x="1622" y="206"/>
                  </a:cubicBezTo>
                  <a:cubicBezTo>
                    <a:pt x="1621" y="206"/>
                    <a:pt x="1620" y="206"/>
                    <a:pt x="1620" y="206"/>
                  </a:cubicBezTo>
                  <a:cubicBezTo>
                    <a:pt x="1618" y="206"/>
                    <a:pt x="1614" y="205"/>
                    <a:pt x="1612" y="206"/>
                  </a:cubicBezTo>
                  <a:cubicBezTo>
                    <a:pt x="1613" y="207"/>
                    <a:pt x="1614" y="206"/>
                    <a:pt x="1614" y="206"/>
                  </a:cubicBezTo>
                  <a:cubicBezTo>
                    <a:pt x="1614" y="207"/>
                    <a:pt x="1613" y="207"/>
                    <a:pt x="1613" y="207"/>
                  </a:cubicBezTo>
                  <a:cubicBezTo>
                    <a:pt x="1614" y="207"/>
                    <a:pt x="1615" y="206"/>
                    <a:pt x="1616" y="207"/>
                  </a:cubicBezTo>
                  <a:cubicBezTo>
                    <a:pt x="1616" y="207"/>
                    <a:pt x="1616" y="208"/>
                    <a:pt x="1616" y="208"/>
                  </a:cubicBezTo>
                  <a:cubicBezTo>
                    <a:pt x="1617" y="208"/>
                    <a:pt x="1617" y="207"/>
                    <a:pt x="1618" y="209"/>
                  </a:cubicBezTo>
                  <a:cubicBezTo>
                    <a:pt x="1618" y="209"/>
                    <a:pt x="1618" y="210"/>
                    <a:pt x="1618" y="211"/>
                  </a:cubicBezTo>
                  <a:cubicBezTo>
                    <a:pt x="1619" y="211"/>
                    <a:pt x="1619" y="212"/>
                    <a:pt x="1619" y="213"/>
                  </a:cubicBezTo>
                  <a:cubicBezTo>
                    <a:pt x="1618" y="214"/>
                    <a:pt x="1617" y="214"/>
                    <a:pt x="1616" y="214"/>
                  </a:cubicBezTo>
                  <a:cubicBezTo>
                    <a:pt x="1615" y="215"/>
                    <a:pt x="1616" y="215"/>
                    <a:pt x="1617" y="215"/>
                  </a:cubicBezTo>
                  <a:cubicBezTo>
                    <a:pt x="1618" y="216"/>
                    <a:pt x="1619" y="216"/>
                    <a:pt x="1620" y="216"/>
                  </a:cubicBezTo>
                  <a:cubicBezTo>
                    <a:pt x="1621" y="217"/>
                    <a:pt x="1622" y="217"/>
                    <a:pt x="1621" y="218"/>
                  </a:cubicBezTo>
                  <a:cubicBezTo>
                    <a:pt x="1621" y="219"/>
                    <a:pt x="1620" y="218"/>
                    <a:pt x="1619" y="219"/>
                  </a:cubicBezTo>
                  <a:cubicBezTo>
                    <a:pt x="1619" y="219"/>
                    <a:pt x="1619" y="221"/>
                    <a:pt x="1618" y="221"/>
                  </a:cubicBezTo>
                  <a:cubicBezTo>
                    <a:pt x="1619" y="220"/>
                    <a:pt x="1619" y="217"/>
                    <a:pt x="1618" y="217"/>
                  </a:cubicBezTo>
                  <a:cubicBezTo>
                    <a:pt x="1618" y="216"/>
                    <a:pt x="1617" y="217"/>
                    <a:pt x="1616" y="217"/>
                  </a:cubicBezTo>
                  <a:cubicBezTo>
                    <a:pt x="1617" y="218"/>
                    <a:pt x="1615" y="219"/>
                    <a:pt x="1614" y="219"/>
                  </a:cubicBezTo>
                  <a:cubicBezTo>
                    <a:pt x="1614" y="219"/>
                    <a:pt x="1614" y="217"/>
                    <a:pt x="1614" y="216"/>
                  </a:cubicBezTo>
                  <a:cubicBezTo>
                    <a:pt x="1613" y="215"/>
                    <a:pt x="1610" y="214"/>
                    <a:pt x="1608" y="213"/>
                  </a:cubicBezTo>
                  <a:cubicBezTo>
                    <a:pt x="1609" y="213"/>
                    <a:pt x="1609" y="213"/>
                    <a:pt x="1609" y="213"/>
                  </a:cubicBezTo>
                  <a:cubicBezTo>
                    <a:pt x="1610" y="213"/>
                    <a:pt x="1611" y="212"/>
                    <a:pt x="1610" y="212"/>
                  </a:cubicBezTo>
                  <a:cubicBezTo>
                    <a:pt x="1612" y="210"/>
                    <a:pt x="1609" y="208"/>
                    <a:pt x="1609" y="206"/>
                  </a:cubicBezTo>
                  <a:cubicBezTo>
                    <a:pt x="1609" y="205"/>
                    <a:pt x="1610" y="203"/>
                    <a:pt x="1610" y="201"/>
                  </a:cubicBezTo>
                  <a:cubicBezTo>
                    <a:pt x="1610" y="201"/>
                    <a:pt x="1609" y="200"/>
                    <a:pt x="1608" y="199"/>
                  </a:cubicBezTo>
                  <a:cubicBezTo>
                    <a:pt x="1609" y="201"/>
                    <a:pt x="1606" y="202"/>
                    <a:pt x="1605" y="201"/>
                  </a:cubicBezTo>
                  <a:cubicBezTo>
                    <a:pt x="1606" y="200"/>
                    <a:pt x="1606" y="198"/>
                    <a:pt x="1605" y="196"/>
                  </a:cubicBezTo>
                  <a:cubicBezTo>
                    <a:pt x="1605" y="195"/>
                    <a:pt x="1603" y="195"/>
                    <a:pt x="1602" y="194"/>
                  </a:cubicBezTo>
                  <a:cubicBezTo>
                    <a:pt x="1600" y="193"/>
                    <a:pt x="1597" y="192"/>
                    <a:pt x="1595" y="191"/>
                  </a:cubicBezTo>
                  <a:cubicBezTo>
                    <a:pt x="1593" y="190"/>
                    <a:pt x="1591" y="189"/>
                    <a:pt x="1589" y="188"/>
                  </a:cubicBezTo>
                  <a:cubicBezTo>
                    <a:pt x="1588" y="188"/>
                    <a:pt x="1587" y="187"/>
                    <a:pt x="1586" y="187"/>
                  </a:cubicBezTo>
                  <a:cubicBezTo>
                    <a:pt x="1585" y="186"/>
                    <a:pt x="1584" y="186"/>
                    <a:pt x="1582" y="186"/>
                  </a:cubicBezTo>
                  <a:cubicBezTo>
                    <a:pt x="1582" y="186"/>
                    <a:pt x="1581" y="186"/>
                    <a:pt x="1580" y="186"/>
                  </a:cubicBezTo>
                  <a:cubicBezTo>
                    <a:pt x="1581" y="186"/>
                    <a:pt x="1582" y="186"/>
                    <a:pt x="1583" y="185"/>
                  </a:cubicBezTo>
                  <a:cubicBezTo>
                    <a:pt x="1582" y="185"/>
                    <a:pt x="1580" y="184"/>
                    <a:pt x="1579" y="183"/>
                  </a:cubicBezTo>
                  <a:cubicBezTo>
                    <a:pt x="1577" y="182"/>
                    <a:pt x="1576" y="181"/>
                    <a:pt x="1574" y="181"/>
                  </a:cubicBezTo>
                  <a:cubicBezTo>
                    <a:pt x="1576" y="182"/>
                    <a:pt x="1579" y="183"/>
                    <a:pt x="1581" y="184"/>
                  </a:cubicBezTo>
                  <a:cubicBezTo>
                    <a:pt x="1578" y="183"/>
                    <a:pt x="1576" y="183"/>
                    <a:pt x="1573" y="182"/>
                  </a:cubicBezTo>
                  <a:cubicBezTo>
                    <a:pt x="1572" y="181"/>
                    <a:pt x="1571" y="181"/>
                    <a:pt x="1570" y="181"/>
                  </a:cubicBezTo>
                  <a:cubicBezTo>
                    <a:pt x="1570" y="181"/>
                    <a:pt x="1569" y="179"/>
                    <a:pt x="1569" y="179"/>
                  </a:cubicBezTo>
                  <a:cubicBezTo>
                    <a:pt x="1568" y="177"/>
                    <a:pt x="1566" y="176"/>
                    <a:pt x="1564" y="174"/>
                  </a:cubicBezTo>
                  <a:cubicBezTo>
                    <a:pt x="1562" y="173"/>
                    <a:pt x="1559" y="173"/>
                    <a:pt x="1557" y="173"/>
                  </a:cubicBezTo>
                  <a:cubicBezTo>
                    <a:pt x="1552" y="170"/>
                    <a:pt x="1546" y="167"/>
                    <a:pt x="1540" y="164"/>
                  </a:cubicBezTo>
                  <a:cubicBezTo>
                    <a:pt x="1538" y="163"/>
                    <a:pt x="1535" y="163"/>
                    <a:pt x="1533" y="162"/>
                  </a:cubicBezTo>
                  <a:cubicBezTo>
                    <a:pt x="1531" y="162"/>
                    <a:pt x="1529" y="162"/>
                    <a:pt x="1527" y="161"/>
                  </a:cubicBezTo>
                  <a:cubicBezTo>
                    <a:pt x="1526" y="161"/>
                    <a:pt x="1525" y="161"/>
                    <a:pt x="1524" y="160"/>
                  </a:cubicBezTo>
                  <a:cubicBezTo>
                    <a:pt x="1522" y="159"/>
                    <a:pt x="1519" y="157"/>
                    <a:pt x="1517" y="156"/>
                  </a:cubicBezTo>
                  <a:cubicBezTo>
                    <a:pt x="1515" y="156"/>
                    <a:pt x="1514" y="156"/>
                    <a:pt x="1513" y="156"/>
                  </a:cubicBezTo>
                  <a:cubicBezTo>
                    <a:pt x="1511" y="156"/>
                    <a:pt x="1511" y="157"/>
                    <a:pt x="1509" y="157"/>
                  </a:cubicBezTo>
                  <a:cubicBezTo>
                    <a:pt x="1507" y="157"/>
                    <a:pt x="1504" y="157"/>
                    <a:pt x="1502" y="157"/>
                  </a:cubicBezTo>
                  <a:cubicBezTo>
                    <a:pt x="1498" y="156"/>
                    <a:pt x="1495" y="156"/>
                    <a:pt x="1491" y="155"/>
                  </a:cubicBezTo>
                  <a:cubicBezTo>
                    <a:pt x="1490" y="155"/>
                    <a:pt x="1489" y="156"/>
                    <a:pt x="1488" y="156"/>
                  </a:cubicBezTo>
                  <a:cubicBezTo>
                    <a:pt x="1488" y="156"/>
                    <a:pt x="1490" y="156"/>
                    <a:pt x="1490" y="157"/>
                  </a:cubicBezTo>
                  <a:cubicBezTo>
                    <a:pt x="1490" y="157"/>
                    <a:pt x="1489" y="158"/>
                    <a:pt x="1489" y="158"/>
                  </a:cubicBezTo>
                  <a:cubicBezTo>
                    <a:pt x="1488" y="159"/>
                    <a:pt x="1488" y="159"/>
                    <a:pt x="1487" y="158"/>
                  </a:cubicBezTo>
                  <a:cubicBezTo>
                    <a:pt x="1486" y="157"/>
                    <a:pt x="1485" y="156"/>
                    <a:pt x="1484" y="155"/>
                  </a:cubicBezTo>
                  <a:cubicBezTo>
                    <a:pt x="1483" y="155"/>
                    <a:pt x="1483" y="155"/>
                    <a:pt x="1482" y="155"/>
                  </a:cubicBezTo>
                  <a:cubicBezTo>
                    <a:pt x="1475" y="154"/>
                    <a:pt x="1468" y="153"/>
                    <a:pt x="1461" y="152"/>
                  </a:cubicBezTo>
                  <a:cubicBezTo>
                    <a:pt x="1461" y="152"/>
                    <a:pt x="1460" y="152"/>
                    <a:pt x="1459" y="152"/>
                  </a:cubicBezTo>
                  <a:cubicBezTo>
                    <a:pt x="1459" y="153"/>
                    <a:pt x="1461" y="153"/>
                    <a:pt x="1461" y="153"/>
                  </a:cubicBezTo>
                  <a:cubicBezTo>
                    <a:pt x="1461" y="153"/>
                    <a:pt x="1461" y="155"/>
                    <a:pt x="1461" y="155"/>
                  </a:cubicBezTo>
                  <a:cubicBezTo>
                    <a:pt x="1461" y="156"/>
                    <a:pt x="1461" y="156"/>
                    <a:pt x="1461" y="157"/>
                  </a:cubicBezTo>
                  <a:cubicBezTo>
                    <a:pt x="1461" y="158"/>
                    <a:pt x="1459" y="159"/>
                    <a:pt x="1459" y="159"/>
                  </a:cubicBezTo>
                  <a:cubicBezTo>
                    <a:pt x="1458" y="160"/>
                    <a:pt x="1456" y="161"/>
                    <a:pt x="1457" y="162"/>
                  </a:cubicBezTo>
                  <a:cubicBezTo>
                    <a:pt x="1458" y="163"/>
                    <a:pt x="1460" y="161"/>
                    <a:pt x="1461" y="162"/>
                  </a:cubicBezTo>
                  <a:cubicBezTo>
                    <a:pt x="1462" y="162"/>
                    <a:pt x="1462" y="163"/>
                    <a:pt x="1462" y="164"/>
                  </a:cubicBezTo>
                  <a:cubicBezTo>
                    <a:pt x="1463" y="165"/>
                    <a:pt x="1463" y="165"/>
                    <a:pt x="1464" y="166"/>
                  </a:cubicBezTo>
                  <a:cubicBezTo>
                    <a:pt x="1464" y="167"/>
                    <a:pt x="1465" y="167"/>
                    <a:pt x="1465" y="168"/>
                  </a:cubicBezTo>
                  <a:cubicBezTo>
                    <a:pt x="1465" y="169"/>
                    <a:pt x="1464" y="169"/>
                    <a:pt x="1464" y="169"/>
                  </a:cubicBezTo>
                  <a:cubicBezTo>
                    <a:pt x="1465" y="170"/>
                    <a:pt x="1465" y="170"/>
                    <a:pt x="1465" y="170"/>
                  </a:cubicBezTo>
                  <a:cubicBezTo>
                    <a:pt x="1466" y="171"/>
                    <a:pt x="1465" y="172"/>
                    <a:pt x="1464" y="173"/>
                  </a:cubicBezTo>
                  <a:cubicBezTo>
                    <a:pt x="1462" y="174"/>
                    <a:pt x="1462" y="174"/>
                    <a:pt x="1463" y="176"/>
                  </a:cubicBezTo>
                  <a:cubicBezTo>
                    <a:pt x="1462" y="175"/>
                    <a:pt x="1461" y="175"/>
                    <a:pt x="1460" y="175"/>
                  </a:cubicBezTo>
                  <a:cubicBezTo>
                    <a:pt x="1460" y="176"/>
                    <a:pt x="1461" y="176"/>
                    <a:pt x="1461" y="177"/>
                  </a:cubicBezTo>
                  <a:cubicBezTo>
                    <a:pt x="1460" y="176"/>
                    <a:pt x="1459" y="176"/>
                    <a:pt x="1457" y="176"/>
                  </a:cubicBezTo>
                  <a:cubicBezTo>
                    <a:pt x="1455" y="176"/>
                    <a:pt x="1453" y="177"/>
                    <a:pt x="1451" y="176"/>
                  </a:cubicBezTo>
                  <a:cubicBezTo>
                    <a:pt x="1448" y="175"/>
                    <a:pt x="1451" y="172"/>
                    <a:pt x="1448" y="171"/>
                  </a:cubicBezTo>
                  <a:cubicBezTo>
                    <a:pt x="1447" y="170"/>
                    <a:pt x="1446" y="170"/>
                    <a:pt x="1445" y="170"/>
                  </a:cubicBezTo>
                  <a:cubicBezTo>
                    <a:pt x="1444" y="169"/>
                    <a:pt x="1443" y="169"/>
                    <a:pt x="1441" y="169"/>
                  </a:cubicBezTo>
                  <a:cubicBezTo>
                    <a:pt x="1439" y="169"/>
                    <a:pt x="1437" y="169"/>
                    <a:pt x="1437" y="165"/>
                  </a:cubicBezTo>
                  <a:cubicBezTo>
                    <a:pt x="1437" y="164"/>
                    <a:pt x="1438" y="163"/>
                    <a:pt x="1437" y="162"/>
                  </a:cubicBezTo>
                  <a:cubicBezTo>
                    <a:pt x="1437" y="162"/>
                    <a:pt x="1436" y="162"/>
                    <a:pt x="1435" y="161"/>
                  </a:cubicBezTo>
                  <a:cubicBezTo>
                    <a:pt x="1435" y="161"/>
                    <a:pt x="1435" y="161"/>
                    <a:pt x="1434" y="161"/>
                  </a:cubicBezTo>
                  <a:cubicBezTo>
                    <a:pt x="1434" y="161"/>
                    <a:pt x="1435" y="161"/>
                    <a:pt x="1434" y="160"/>
                  </a:cubicBezTo>
                  <a:cubicBezTo>
                    <a:pt x="1432" y="156"/>
                    <a:pt x="1428" y="162"/>
                    <a:pt x="1426" y="162"/>
                  </a:cubicBezTo>
                  <a:cubicBezTo>
                    <a:pt x="1422" y="162"/>
                    <a:pt x="1418" y="162"/>
                    <a:pt x="1414" y="162"/>
                  </a:cubicBezTo>
                  <a:cubicBezTo>
                    <a:pt x="1412" y="162"/>
                    <a:pt x="1409" y="162"/>
                    <a:pt x="1407" y="162"/>
                  </a:cubicBezTo>
                  <a:cubicBezTo>
                    <a:pt x="1404" y="161"/>
                    <a:pt x="1400" y="160"/>
                    <a:pt x="1396" y="159"/>
                  </a:cubicBezTo>
                  <a:cubicBezTo>
                    <a:pt x="1395" y="159"/>
                    <a:pt x="1395" y="159"/>
                    <a:pt x="1394" y="159"/>
                  </a:cubicBezTo>
                  <a:cubicBezTo>
                    <a:pt x="1393" y="159"/>
                    <a:pt x="1393" y="159"/>
                    <a:pt x="1392" y="159"/>
                  </a:cubicBezTo>
                  <a:cubicBezTo>
                    <a:pt x="1388" y="160"/>
                    <a:pt x="1384" y="160"/>
                    <a:pt x="1380" y="160"/>
                  </a:cubicBezTo>
                  <a:cubicBezTo>
                    <a:pt x="1379" y="160"/>
                    <a:pt x="1378" y="160"/>
                    <a:pt x="1377" y="161"/>
                  </a:cubicBezTo>
                  <a:cubicBezTo>
                    <a:pt x="1377" y="161"/>
                    <a:pt x="1377" y="161"/>
                    <a:pt x="1377" y="161"/>
                  </a:cubicBezTo>
                  <a:cubicBezTo>
                    <a:pt x="1377" y="161"/>
                    <a:pt x="1377" y="161"/>
                    <a:pt x="1377" y="161"/>
                  </a:cubicBezTo>
                  <a:cubicBezTo>
                    <a:pt x="1373" y="161"/>
                    <a:pt x="1368" y="162"/>
                    <a:pt x="1364" y="162"/>
                  </a:cubicBezTo>
                  <a:cubicBezTo>
                    <a:pt x="1362" y="162"/>
                    <a:pt x="1359" y="161"/>
                    <a:pt x="1358" y="161"/>
                  </a:cubicBezTo>
                  <a:cubicBezTo>
                    <a:pt x="1355" y="160"/>
                    <a:pt x="1353" y="160"/>
                    <a:pt x="1351" y="159"/>
                  </a:cubicBezTo>
                  <a:cubicBezTo>
                    <a:pt x="1352" y="158"/>
                    <a:pt x="1350" y="157"/>
                    <a:pt x="1350" y="156"/>
                  </a:cubicBezTo>
                  <a:cubicBezTo>
                    <a:pt x="1350" y="156"/>
                    <a:pt x="1351" y="155"/>
                    <a:pt x="1351" y="155"/>
                  </a:cubicBezTo>
                  <a:cubicBezTo>
                    <a:pt x="1352" y="154"/>
                    <a:pt x="1350" y="153"/>
                    <a:pt x="1351" y="152"/>
                  </a:cubicBezTo>
                  <a:cubicBezTo>
                    <a:pt x="1351" y="152"/>
                    <a:pt x="1351" y="152"/>
                    <a:pt x="1352" y="152"/>
                  </a:cubicBezTo>
                  <a:cubicBezTo>
                    <a:pt x="1353" y="152"/>
                    <a:pt x="1352" y="152"/>
                    <a:pt x="1353" y="152"/>
                  </a:cubicBezTo>
                  <a:cubicBezTo>
                    <a:pt x="1354" y="151"/>
                    <a:pt x="1353" y="149"/>
                    <a:pt x="1353" y="147"/>
                  </a:cubicBezTo>
                  <a:cubicBezTo>
                    <a:pt x="1352" y="145"/>
                    <a:pt x="1351" y="143"/>
                    <a:pt x="1350" y="142"/>
                  </a:cubicBezTo>
                  <a:cubicBezTo>
                    <a:pt x="1349" y="141"/>
                    <a:pt x="1348" y="141"/>
                    <a:pt x="1347" y="140"/>
                  </a:cubicBezTo>
                  <a:cubicBezTo>
                    <a:pt x="1346" y="139"/>
                    <a:pt x="1344" y="139"/>
                    <a:pt x="1342" y="138"/>
                  </a:cubicBezTo>
                  <a:cubicBezTo>
                    <a:pt x="1337" y="137"/>
                    <a:pt x="1332" y="135"/>
                    <a:pt x="1327" y="135"/>
                  </a:cubicBezTo>
                  <a:cubicBezTo>
                    <a:pt x="1323" y="134"/>
                    <a:pt x="1320" y="134"/>
                    <a:pt x="1317" y="134"/>
                  </a:cubicBezTo>
                  <a:cubicBezTo>
                    <a:pt x="1315" y="134"/>
                    <a:pt x="1313" y="134"/>
                    <a:pt x="1312" y="134"/>
                  </a:cubicBezTo>
                  <a:cubicBezTo>
                    <a:pt x="1310" y="134"/>
                    <a:pt x="1308" y="135"/>
                    <a:pt x="1306" y="135"/>
                  </a:cubicBezTo>
                  <a:cubicBezTo>
                    <a:pt x="1303" y="135"/>
                    <a:pt x="1299" y="136"/>
                    <a:pt x="1296" y="137"/>
                  </a:cubicBezTo>
                  <a:cubicBezTo>
                    <a:pt x="1294" y="137"/>
                    <a:pt x="1293" y="137"/>
                    <a:pt x="1291" y="138"/>
                  </a:cubicBezTo>
                  <a:cubicBezTo>
                    <a:pt x="1289" y="138"/>
                    <a:pt x="1288" y="138"/>
                    <a:pt x="1286" y="138"/>
                  </a:cubicBezTo>
                  <a:cubicBezTo>
                    <a:pt x="1284" y="138"/>
                    <a:pt x="1282" y="139"/>
                    <a:pt x="1281" y="139"/>
                  </a:cubicBezTo>
                  <a:cubicBezTo>
                    <a:pt x="1279" y="139"/>
                    <a:pt x="1278" y="140"/>
                    <a:pt x="1276" y="139"/>
                  </a:cubicBezTo>
                  <a:cubicBezTo>
                    <a:pt x="1273" y="138"/>
                    <a:pt x="1271" y="137"/>
                    <a:pt x="1268" y="136"/>
                  </a:cubicBezTo>
                  <a:cubicBezTo>
                    <a:pt x="1269" y="137"/>
                    <a:pt x="1270" y="136"/>
                    <a:pt x="1271" y="137"/>
                  </a:cubicBezTo>
                  <a:cubicBezTo>
                    <a:pt x="1270" y="135"/>
                    <a:pt x="1268" y="133"/>
                    <a:pt x="1267" y="131"/>
                  </a:cubicBezTo>
                  <a:cubicBezTo>
                    <a:pt x="1266" y="130"/>
                    <a:pt x="1265" y="130"/>
                    <a:pt x="1263" y="129"/>
                  </a:cubicBezTo>
                  <a:cubicBezTo>
                    <a:pt x="1260" y="128"/>
                    <a:pt x="1260" y="130"/>
                    <a:pt x="1257" y="131"/>
                  </a:cubicBezTo>
                  <a:cubicBezTo>
                    <a:pt x="1257" y="130"/>
                    <a:pt x="1258" y="129"/>
                    <a:pt x="1258" y="129"/>
                  </a:cubicBezTo>
                  <a:cubicBezTo>
                    <a:pt x="1257" y="129"/>
                    <a:pt x="1257" y="129"/>
                    <a:pt x="1257" y="130"/>
                  </a:cubicBezTo>
                  <a:cubicBezTo>
                    <a:pt x="1255" y="131"/>
                    <a:pt x="1253" y="131"/>
                    <a:pt x="1251" y="132"/>
                  </a:cubicBezTo>
                  <a:cubicBezTo>
                    <a:pt x="1251" y="131"/>
                    <a:pt x="1254" y="130"/>
                    <a:pt x="1255" y="129"/>
                  </a:cubicBezTo>
                  <a:cubicBezTo>
                    <a:pt x="1256" y="128"/>
                    <a:pt x="1257" y="128"/>
                    <a:pt x="1258" y="127"/>
                  </a:cubicBezTo>
                  <a:cubicBezTo>
                    <a:pt x="1257" y="126"/>
                    <a:pt x="1256" y="126"/>
                    <a:pt x="1255" y="126"/>
                  </a:cubicBezTo>
                  <a:cubicBezTo>
                    <a:pt x="1254" y="127"/>
                    <a:pt x="1253" y="126"/>
                    <a:pt x="1253" y="126"/>
                  </a:cubicBezTo>
                  <a:cubicBezTo>
                    <a:pt x="1252" y="126"/>
                    <a:pt x="1250" y="127"/>
                    <a:pt x="1250" y="127"/>
                  </a:cubicBezTo>
                  <a:cubicBezTo>
                    <a:pt x="1249" y="126"/>
                    <a:pt x="1251" y="125"/>
                    <a:pt x="1252" y="125"/>
                  </a:cubicBezTo>
                  <a:cubicBezTo>
                    <a:pt x="1251" y="123"/>
                    <a:pt x="1248" y="124"/>
                    <a:pt x="1246" y="124"/>
                  </a:cubicBezTo>
                  <a:cubicBezTo>
                    <a:pt x="1245" y="124"/>
                    <a:pt x="1244" y="123"/>
                    <a:pt x="1243" y="123"/>
                  </a:cubicBezTo>
                  <a:cubicBezTo>
                    <a:pt x="1242" y="123"/>
                    <a:pt x="1241" y="124"/>
                    <a:pt x="1239" y="123"/>
                  </a:cubicBezTo>
                  <a:cubicBezTo>
                    <a:pt x="1240" y="123"/>
                    <a:pt x="1239" y="122"/>
                    <a:pt x="1239" y="121"/>
                  </a:cubicBezTo>
                  <a:cubicBezTo>
                    <a:pt x="1240" y="121"/>
                    <a:pt x="1241" y="121"/>
                    <a:pt x="1242" y="122"/>
                  </a:cubicBezTo>
                  <a:cubicBezTo>
                    <a:pt x="1243" y="122"/>
                    <a:pt x="1243" y="120"/>
                    <a:pt x="1244" y="119"/>
                  </a:cubicBezTo>
                  <a:cubicBezTo>
                    <a:pt x="1246" y="118"/>
                    <a:pt x="1246" y="123"/>
                    <a:pt x="1249" y="121"/>
                  </a:cubicBezTo>
                  <a:cubicBezTo>
                    <a:pt x="1250" y="121"/>
                    <a:pt x="1252" y="120"/>
                    <a:pt x="1251" y="118"/>
                  </a:cubicBezTo>
                  <a:cubicBezTo>
                    <a:pt x="1251" y="118"/>
                    <a:pt x="1250" y="117"/>
                    <a:pt x="1250" y="117"/>
                  </a:cubicBezTo>
                  <a:cubicBezTo>
                    <a:pt x="1248" y="115"/>
                    <a:pt x="1247" y="115"/>
                    <a:pt x="1245" y="114"/>
                  </a:cubicBezTo>
                  <a:cubicBezTo>
                    <a:pt x="1243" y="113"/>
                    <a:pt x="1241" y="113"/>
                    <a:pt x="1238" y="112"/>
                  </a:cubicBezTo>
                  <a:cubicBezTo>
                    <a:pt x="1236" y="112"/>
                    <a:pt x="1234" y="111"/>
                    <a:pt x="1232" y="111"/>
                  </a:cubicBezTo>
                  <a:cubicBezTo>
                    <a:pt x="1230" y="111"/>
                    <a:pt x="1228" y="111"/>
                    <a:pt x="1227" y="111"/>
                  </a:cubicBezTo>
                  <a:cubicBezTo>
                    <a:pt x="1225" y="111"/>
                    <a:pt x="1223" y="110"/>
                    <a:pt x="1221" y="111"/>
                  </a:cubicBezTo>
                  <a:cubicBezTo>
                    <a:pt x="1220" y="112"/>
                    <a:pt x="1219" y="114"/>
                    <a:pt x="1217" y="115"/>
                  </a:cubicBezTo>
                  <a:cubicBezTo>
                    <a:pt x="1216" y="116"/>
                    <a:pt x="1215" y="118"/>
                    <a:pt x="1214" y="119"/>
                  </a:cubicBezTo>
                  <a:cubicBezTo>
                    <a:pt x="1213" y="120"/>
                    <a:pt x="1212" y="120"/>
                    <a:pt x="1211" y="121"/>
                  </a:cubicBezTo>
                  <a:cubicBezTo>
                    <a:pt x="1211" y="121"/>
                    <a:pt x="1210" y="121"/>
                    <a:pt x="1209" y="122"/>
                  </a:cubicBezTo>
                  <a:cubicBezTo>
                    <a:pt x="1208" y="122"/>
                    <a:pt x="1207" y="122"/>
                    <a:pt x="1206" y="122"/>
                  </a:cubicBezTo>
                  <a:cubicBezTo>
                    <a:pt x="1204" y="122"/>
                    <a:pt x="1201" y="123"/>
                    <a:pt x="1199" y="123"/>
                  </a:cubicBezTo>
                  <a:cubicBezTo>
                    <a:pt x="1199" y="122"/>
                    <a:pt x="1199" y="122"/>
                    <a:pt x="1200" y="121"/>
                  </a:cubicBezTo>
                  <a:cubicBezTo>
                    <a:pt x="1201" y="121"/>
                    <a:pt x="1201" y="121"/>
                    <a:pt x="1201" y="121"/>
                  </a:cubicBezTo>
                  <a:cubicBezTo>
                    <a:pt x="1202" y="121"/>
                    <a:pt x="1201" y="120"/>
                    <a:pt x="1201" y="120"/>
                  </a:cubicBezTo>
                  <a:cubicBezTo>
                    <a:pt x="1199" y="118"/>
                    <a:pt x="1200" y="118"/>
                    <a:pt x="1201" y="119"/>
                  </a:cubicBezTo>
                  <a:cubicBezTo>
                    <a:pt x="1203" y="119"/>
                    <a:pt x="1203" y="120"/>
                    <a:pt x="1205" y="119"/>
                  </a:cubicBezTo>
                  <a:cubicBezTo>
                    <a:pt x="1206" y="119"/>
                    <a:pt x="1207" y="119"/>
                    <a:pt x="1208" y="119"/>
                  </a:cubicBezTo>
                  <a:cubicBezTo>
                    <a:pt x="1210" y="118"/>
                    <a:pt x="1207" y="117"/>
                    <a:pt x="1207" y="116"/>
                  </a:cubicBezTo>
                  <a:cubicBezTo>
                    <a:pt x="1206" y="116"/>
                    <a:pt x="1207" y="113"/>
                    <a:pt x="1208" y="113"/>
                  </a:cubicBezTo>
                  <a:cubicBezTo>
                    <a:pt x="1209" y="112"/>
                    <a:pt x="1209" y="115"/>
                    <a:pt x="1210" y="115"/>
                  </a:cubicBezTo>
                  <a:cubicBezTo>
                    <a:pt x="1210" y="116"/>
                    <a:pt x="1210" y="116"/>
                    <a:pt x="1210" y="116"/>
                  </a:cubicBezTo>
                  <a:cubicBezTo>
                    <a:pt x="1210" y="114"/>
                    <a:pt x="1213" y="114"/>
                    <a:pt x="1214" y="115"/>
                  </a:cubicBezTo>
                  <a:cubicBezTo>
                    <a:pt x="1213" y="115"/>
                    <a:pt x="1212" y="116"/>
                    <a:pt x="1211" y="116"/>
                  </a:cubicBezTo>
                  <a:cubicBezTo>
                    <a:pt x="1210" y="117"/>
                    <a:pt x="1210" y="116"/>
                    <a:pt x="1210" y="118"/>
                  </a:cubicBezTo>
                  <a:cubicBezTo>
                    <a:pt x="1210" y="118"/>
                    <a:pt x="1210" y="119"/>
                    <a:pt x="1210" y="120"/>
                  </a:cubicBezTo>
                  <a:cubicBezTo>
                    <a:pt x="1210" y="120"/>
                    <a:pt x="1210" y="120"/>
                    <a:pt x="1211" y="119"/>
                  </a:cubicBezTo>
                  <a:cubicBezTo>
                    <a:pt x="1212" y="119"/>
                    <a:pt x="1212" y="118"/>
                    <a:pt x="1213" y="117"/>
                  </a:cubicBezTo>
                  <a:cubicBezTo>
                    <a:pt x="1215" y="117"/>
                    <a:pt x="1216" y="115"/>
                    <a:pt x="1218" y="113"/>
                  </a:cubicBezTo>
                  <a:cubicBezTo>
                    <a:pt x="1218" y="112"/>
                    <a:pt x="1220" y="111"/>
                    <a:pt x="1218" y="111"/>
                  </a:cubicBezTo>
                  <a:cubicBezTo>
                    <a:pt x="1217" y="111"/>
                    <a:pt x="1217" y="111"/>
                    <a:pt x="1216" y="111"/>
                  </a:cubicBezTo>
                  <a:cubicBezTo>
                    <a:pt x="1208" y="111"/>
                    <a:pt x="1200" y="113"/>
                    <a:pt x="1192" y="113"/>
                  </a:cubicBezTo>
                  <a:cubicBezTo>
                    <a:pt x="1192" y="113"/>
                    <a:pt x="1193" y="112"/>
                    <a:pt x="1194" y="112"/>
                  </a:cubicBezTo>
                  <a:cubicBezTo>
                    <a:pt x="1193" y="112"/>
                    <a:pt x="1193" y="112"/>
                    <a:pt x="1193" y="112"/>
                  </a:cubicBezTo>
                  <a:cubicBezTo>
                    <a:pt x="1193" y="112"/>
                    <a:pt x="1193" y="112"/>
                    <a:pt x="1193" y="112"/>
                  </a:cubicBezTo>
                  <a:cubicBezTo>
                    <a:pt x="1194" y="112"/>
                    <a:pt x="1195" y="111"/>
                    <a:pt x="1195" y="111"/>
                  </a:cubicBezTo>
                  <a:cubicBezTo>
                    <a:pt x="1196" y="111"/>
                    <a:pt x="1197" y="110"/>
                    <a:pt x="1197" y="110"/>
                  </a:cubicBezTo>
                  <a:cubicBezTo>
                    <a:pt x="1197" y="110"/>
                    <a:pt x="1197" y="110"/>
                    <a:pt x="1197" y="110"/>
                  </a:cubicBezTo>
                  <a:cubicBezTo>
                    <a:pt x="1199" y="109"/>
                    <a:pt x="1199" y="109"/>
                    <a:pt x="1201" y="109"/>
                  </a:cubicBezTo>
                  <a:cubicBezTo>
                    <a:pt x="1202" y="109"/>
                    <a:pt x="1203" y="110"/>
                    <a:pt x="1203" y="110"/>
                  </a:cubicBezTo>
                  <a:cubicBezTo>
                    <a:pt x="1208" y="110"/>
                    <a:pt x="1214" y="110"/>
                    <a:pt x="1219" y="110"/>
                  </a:cubicBezTo>
                  <a:cubicBezTo>
                    <a:pt x="1212" y="109"/>
                    <a:pt x="1206" y="107"/>
                    <a:pt x="1200" y="106"/>
                  </a:cubicBezTo>
                  <a:cubicBezTo>
                    <a:pt x="1200" y="106"/>
                    <a:pt x="1200" y="106"/>
                    <a:pt x="1199" y="106"/>
                  </a:cubicBezTo>
                  <a:cubicBezTo>
                    <a:pt x="1199" y="106"/>
                    <a:pt x="1199" y="106"/>
                    <a:pt x="1199" y="106"/>
                  </a:cubicBezTo>
                  <a:cubicBezTo>
                    <a:pt x="1197" y="106"/>
                    <a:pt x="1195" y="105"/>
                    <a:pt x="1193" y="105"/>
                  </a:cubicBezTo>
                  <a:cubicBezTo>
                    <a:pt x="1189" y="105"/>
                    <a:pt x="1185" y="104"/>
                    <a:pt x="1182" y="104"/>
                  </a:cubicBezTo>
                  <a:cubicBezTo>
                    <a:pt x="1180" y="104"/>
                    <a:pt x="1178" y="104"/>
                    <a:pt x="1177" y="104"/>
                  </a:cubicBezTo>
                  <a:cubicBezTo>
                    <a:pt x="1175" y="104"/>
                    <a:pt x="1173" y="104"/>
                    <a:pt x="1171" y="103"/>
                  </a:cubicBezTo>
                  <a:cubicBezTo>
                    <a:pt x="1169" y="103"/>
                    <a:pt x="1166" y="102"/>
                    <a:pt x="1164" y="101"/>
                  </a:cubicBezTo>
                  <a:cubicBezTo>
                    <a:pt x="1161" y="100"/>
                    <a:pt x="1158" y="100"/>
                    <a:pt x="1155" y="100"/>
                  </a:cubicBezTo>
                  <a:cubicBezTo>
                    <a:pt x="1156" y="102"/>
                    <a:pt x="1159" y="104"/>
                    <a:pt x="1160" y="106"/>
                  </a:cubicBezTo>
                  <a:cubicBezTo>
                    <a:pt x="1158" y="106"/>
                    <a:pt x="1157" y="107"/>
                    <a:pt x="1156" y="108"/>
                  </a:cubicBezTo>
                  <a:cubicBezTo>
                    <a:pt x="1155" y="108"/>
                    <a:pt x="1153" y="108"/>
                    <a:pt x="1152" y="108"/>
                  </a:cubicBezTo>
                  <a:cubicBezTo>
                    <a:pt x="1151" y="108"/>
                    <a:pt x="1150" y="108"/>
                    <a:pt x="1149" y="108"/>
                  </a:cubicBezTo>
                  <a:cubicBezTo>
                    <a:pt x="1148" y="108"/>
                    <a:pt x="1146" y="109"/>
                    <a:pt x="1145" y="110"/>
                  </a:cubicBezTo>
                  <a:cubicBezTo>
                    <a:pt x="1143" y="111"/>
                    <a:pt x="1141" y="112"/>
                    <a:pt x="1140" y="113"/>
                  </a:cubicBezTo>
                  <a:cubicBezTo>
                    <a:pt x="1141" y="115"/>
                    <a:pt x="1142" y="114"/>
                    <a:pt x="1144" y="113"/>
                  </a:cubicBezTo>
                  <a:cubicBezTo>
                    <a:pt x="1145" y="112"/>
                    <a:pt x="1146" y="113"/>
                    <a:pt x="1148" y="113"/>
                  </a:cubicBezTo>
                  <a:cubicBezTo>
                    <a:pt x="1149" y="113"/>
                    <a:pt x="1150" y="113"/>
                    <a:pt x="1150" y="113"/>
                  </a:cubicBezTo>
                  <a:cubicBezTo>
                    <a:pt x="1151" y="114"/>
                    <a:pt x="1150" y="114"/>
                    <a:pt x="1149" y="114"/>
                  </a:cubicBezTo>
                  <a:cubicBezTo>
                    <a:pt x="1149" y="115"/>
                    <a:pt x="1149" y="114"/>
                    <a:pt x="1148" y="115"/>
                  </a:cubicBezTo>
                  <a:cubicBezTo>
                    <a:pt x="1147" y="116"/>
                    <a:pt x="1146" y="117"/>
                    <a:pt x="1146" y="118"/>
                  </a:cubicBezTo>
                  <a:cubicBezTo>
                    <a:pt x="1145" y="119"/>
                    <a:pt x="1143" y="118"/>
                    <a:pt x="1142" y="118"/>
                  </a:cubicBezTo>
                  <a:cubicBezTo>
                    <a:pt x="1145" y="119"/>
                    <a:pt x="1146" y="119"/>
                    <a:pt x="1146" y="122"/>
                  </a:cubicBezTo>
                  <a:cubicBezTo>
                    <a:pt x="1146" y="123"/>
                    <a:pt x="1146" y="124"/>
                    <a:pt x="1147" y="124"/>
                  </a:cubicBezTo>
                  <a:cubicBezTo>
                    <a:pt x="1147" y="125"/>
                    <a:pt x="1149" y="126"/>
                    <a:pt x="1149" y="127"/>
                  </a:cubicBezTo>
                  <a:cubicBezTo>
                    <a:pt x="1148" y="127"/>
                    <a:pt x="1147" y="128"/>
                    <a:pt x="1146" y="127"/>
                  </a:cubicBezTo>
                  <a:cubicBezTo>
                    <a:pt x="1144" y="126"/>
                    <a:pt x="1144" y="127"/>
                    <a:pt x="1142" y="128"/>
                  </a:cubicBezTo>
                  <a:cubicBezTo>
                    <a:pt x="1140" y="130"/>
                    <a:pt x="1140" y="126"/>
                    <a:pt x="1139" y="125"/>
                  </a:cubicBezTo>
                  <a:cubicBezTo>
                    <a:pt x="1139" y="125"/>
                    <a:pt x="1137" y="124"/>
                    <a:pt x="1137" y="124"/>
                  </a:cubicBezTo>
                  <a:cubicBezTo>
                    <a:pt x="1136" y="124"/>
                    <a:pt x="1134" y="127"/>
                    <a:pt x="1133" y="126"/>
                  </a:cubicBezTo>
                  <a:cubicBezTo>
                    <a:pt x="1132" y="125"/>
                    <a:pt x="1134" y="124"/>
                    <a:pt x="1133" y="125"/>
                  </a:cubicBezTo>
                  <a:cubicBezTo>
                    <a:pt x="1132" y="125"/>
                    <a:pt x="1131" y="125"/>
                    <a:pt x="1130" y="125"/>
                  </a:cubicBezTo>
                  <a:cubicBezTo>
                    <a:pt x="1129" y="126"/>
                    <a:pt x="1128" y="127"/>
                    <a:pt x="1128" y="128"/>
                  </a:cubicBezTo>
                  <a:cubicBezTo>
                    <a:pt x="1127" y="128"/>
                    <a:pt x="1126" y="130"/>
                    <a:pt x="1128" y="129"/>
                  </a:cubicBezTo>
                  <a:cubicBezTo>
                    <a:pt x="1128" y="130"/>
                    <a:pt x="1131" y="130"/>
                    <a:pt x="1132" y="130"/>
                  </a:cubicBezTo>
                  <a:cubicBezTo>
                    <a:pt x="1131" y="130"/>
                    <a:pt x="1129" y="130"/>
                    <a:pt x="1128" y="131"/>
                  </a:cubicBezTo>
                  <a:cubicBezTo>
                    <a:pt x="1130" y="131"/>
                    <a:pt x="1131" y="131"/>
                    <a:pt x="1130" y="132"/>
                  </a:cubicBezTo>
                  <a:cubicBezTo>
                    <a:pt x="1128" y="132"/>
                    <a:pt x="1127" y="132"/>
                    <a:pt x="1126" y="132"/>
                  </a:cubicBezTo>
                  <a:cubicBezTo>
                    <a:pt x="1127" y="132"/>
                    <a:pt x="1127" y="132"/>
                    <a:pt x="1127" y="133"/>
                  </a:cubicBezTo>
                  <a:cubicBezTo>
                    <a:pt x="1128" y="132"/>
                    <a:pt x="1128" y="133"/>
                    <a:pt x="1128" y="134"/>
                  </a:cubicBezTo>
                  <a:cubicBezTo>
                    <a:pt x="1128" y="134"/>
                    <a:pt x="1127" y="134"/>
                    <a:pt x="1127" y="134"/>
                  </a:cubicBezTo>
                  <a:cubicBezTo>
                    <a:pt x="1126" y="134"/>
                    <a:pt x="1126" y="133"/>
                    <a:pt x="1126" y="133"/>
                  </a:cubicBezTo>
                  <a:cubicBezTo>
                    <a:pt x="1126" y="133"/>
                    <a:pt x="1125" y="133"/>
                    <a:pt x="1125" y="132"/>
                  </a:cubicBezTo>
                  <a:cubicBezTo>
                    <a:pt x="1125" y="132"/>
                    <a:pt x="1125" y="132"/>
                    <a:pt x="1126" y="131"/>
                  </a:cubicBezTo>
                  <a:cubicBezTo>
                    <a:pt x="1124" y="131"/>
                    <a:pt x="1122" y="132"/>
                    <a:pt x="1123" y="130"/>
                  </a:cubicBezTo>
                  <a:cubicBezTo>
                    <a:pt x="1122" y="130"/>
                    <a:pt x="1122" y="129"/>
                    <a:pt x="1121" y="129"/>
                  </a:cubicBezTo>
                  <a:cubicBezTo>
                    <a:pt x="1121" y="128"/>
                    <a:pt x="1119" y="128"/>
                    <a:pt x="1118" y="128"/>
                  </a:cubicBezTo>
                  <a:cubicBezTo>
                    <a:pt x="1118" y="128"/>
                    <a:pt x="1117" y="127"/>
                    <a:pt x="1117" y="127"/>
                  </a:cubicBezTo>
                  <a:cubicBezTo>
                    <a:pt x="1116" y="127"/>
                    <a:pt x="1115" y="127"/>
                    <a:pt x="1114" y="127"/>
                  </a:cubicBezTo>
                  <a:cubicBezTo>
                    <a:pt x="1113" y="125"/>
                    <a:pt x="1113" y="125"/>
                    <a:pt x="1111" y="125"/>
                  </a:cubicBezTo>
                  <a:cubicBezTo>
                    <a:pt x="1110" y="125"/>
                    <a:pt x="1109" y="124"/>
                    <a:pt x="1108" y="124"/>
                  </a:cubicBezTo>
                  <a:cubicBezTo>
                    <a:pt x="1106" y="124"/>
                    <a:pt x="1105" y="125"/>
                    <a:pt x="1104" y="125"/>
                  </a:cubicBezTo>
                  <a:cubicBezTo>
                    <a:pt x="1101" y="126"/>
                    <a:pt x="1099" y="126"/>
                    <a:pt x="1096" y="127"/>
                  </a:cubicBezTo>
                  <a:cubicBezTo>
                    <a:pt x="1095" y="127"/>
                    <a:pt x="1095" y="128"/>
                    <a:pt x="1095" y="129"/>
                  </a:cubicBezTo>
                  <a:cubicBezTo>
                    <a:pt x="1095" y="129"/>
                    <a:pt x="1095" y="129"/>
                    <a:pt x="1095" y="130"/>
                  </a:cubicBezTo>
                  <a:cubicBezTo>
                    <a:pt x="1095" y="130"/>
                    <a:pt x="1094" y="131"/>
                    <a:pt x="1094" y="131"/>
                  </a:cubicBezTo>
                  <a:cubicBezTo>
                    <a:pt x="1094" y="130"/>
                    <a:pt x="1095" y="130"/>
                    <a:pt x="1095" y="129"/>
                  </a:cubicBezTo>
                  <a:cubicBezTo>
                    <a:pt x="1095" y="129"/>
                    <a:pt x="1093" y="129"/>
                    <a:pt x="1092" y="129"/>
                  </a:cubicBezTo>
                  <a:cubicBezTo>
                    <a:pt x="1092" y="129"/>
                    <a:pt x="1091" y="129"/>
                    <a:pt x="1090" y="129"/>
                  </a:cubicBezTo>
                  <a:cubicBezTo>
                    <a:pt x="1088" y="129"/>
                    <a:pt x="1086" y="128"/>
                    <a:pt x="1085" y="128"/>
                  </a:cubicBezTo>
                  <a:cubicBezTo>
                    <a:pt x="1083" y="128"/>
                    <a:pt x="1081" y="127"/>
                    <a:pt x="1079" y="126"/>
                  </a:cubicBezTo>
                  <a:cubicBezTo>
                    <a:pt x="1078" y="124"/>
                    <a:pt x="1077" y="122"/>
                    <a:pt x="1075" y="122"/>
                  </a:cubicBezTo>
                  <a:cubicBezTo>
                    <a:pt x="1074" y="121"/>
                    <a:pt x="1075" y="120"/>
                    <a:pt x="1074" y="120"/>
                  </a:cubicBezTo>
                  <a:cubicBezTo>
                    <a:pt x="1074" y="118"/>
                    <a:pt x="1073" y="119"/>
                    <a:pt x="1072" y="120"/>
                  </a:cubicBezTo>
                  <a:cubicBezTo>
                    <a:pt x="1071" y="121"/>
                    <a:pt x="1070" y="123"/>
                    <a:pt x="1069" y="124"/>
                  </a:cubicBezTo>
                  <a:cubicBezTo>
                    <a:pt x="1069" y="126"/>
                    <a:pt x="1068" y="127"/>
                    <a:pt x="1068" y="129"/>
                  </a:cubicBezTo>
                  <a:cubicBezTo>
                    <a:pt x="1067" y="129"/>
                    <a:pt x="1067" y="130"/>
                    <a:pt x="1067" y="131"/>
                  </a:cubicBezTo>
                  <a:cubicBezTo>
                    <a:pt x="1066" y="133"/>
                    <a:pt x="1066" y="133"/>
                    <a:pt x="1066" y="133"/>
                  </a:cubicBezTo>
                  <a:cubicBezTo>
                    <a:pt x="1059" y="140"/>
                    <a:pt x="1059" y="140"/>
                    <a:pt x="1059" y="140"/>
                  </a:cubicBezTo>
                  <a:cubicBezTo>
                    <a:pt x="1059" y="140"/>
                    <a:pt x="1059" y="140"/>
                    <a:pt x="1059" y="140"/>
                  </a:cubicBezTo>
                  <a:cubicBezTo>
                    <a:pt x="1058" y="141"/>
                    <a:pt x="1058" y="141"/>
                    <a:pt x="1058" y="141"/>
                  </a:cubicBezTo>
                  <a:cubicBezTo>
                    <a:pt x="1057" y="141"/>
                    <a:pt x="1056" y="141"/>
                    <a:pt x="1056" y="140"/>
                  </a:cubicBezTo>
                  <a:cubicBezTo>
                    <a:pt x="1056" y="140"/>
                    <a:pt x="1056" y="140"/>
                    <a:pt x="1056" y="140"/>
                  </a:cubicBezTo>
                  <a:cubicBezTo>
                    <a:pt x="1056" y="140"/>
                    <a:pt x="1056" y="140"/>
                    <a:pt x="1056" y="140"/>
                  </a:cubicBezTo>
                  <a:cubicBezTo>
                    <a:pt x="1056" y="140"/>
                    <a:pt x="1056" y="140"/>
                    <a:pt x="1056" y="140"/>
                  </a:cubicBezTo>
                  <a:cubicBezTo>
                    <a:pt x="1056" y="140"/>
                    <a:pt x="1056" y="140"/>
                    <a:pt x="1056" y="140"/>
                  </a:cubicBezTo>
                  <a:cubicBezTo>
                    <a:pt x="1056" y="140"/>
                    <a:pt x="1056" y="140"/>
                    <a:pt x="1056" y="140"/>
                  </a:cubicBezTo>
                  <a:cubicBezTo>
                    <a:pt x="1056" y="140"/>
                    <a:pt x="1056" y="140"/>
                    <a:pt x="1056" y="140"/>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5" y="139"/>
                    <a:pt x="1055" y="139"/>
                    <a:pt x="1055" y="139"/>
                  </a:cubicBezTo>
                  <a:cubicBezTo>
                    <a:pt x="1055" y="139"/>
                    <a:pt x="1055" y="139"/>
                    <a:pt x="1055" y="139"/>
                  </a:cubicBezTo>
                  <a:cubicBezTo>
                    <a:pt x="1054" y="138"/>
                    <a:pt x="1054" y="138"/>
                    <a:pt x="1054" y="138"/>
                  </a:cubicBezTo>
                  <a:cubicBezTo>
                    <a:pt x="1053" y="138"/>
                    <a:pt x="1053" y="138"/>
                    <a:pt x="1053" y="138"/>
                  </a:cubicBezTo>
                  <a:cubicBezTo>
                    <a:pt x="1053" y="138"/>
                    <a:pt x="1053" y="138"/>
                    <a:pt x="1053"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1" y="137"/>
                    <a:pt x="1050" y="138"/>
                    <a:pt x="1049" y="137"/>
                  </a:cubicBezTo>
                  <a:cubicBezTo>
                    <a:pt x="1049" y="137"/>
                    <a:pt x="1049" y="137"/>
                    <a:pt x="1049" y="137"/>
                  </a:cubicBezTo>
                  <a:cubicBezTo>
                    <a:pt x="1049" y="137"/>
                    <a:pt x="1049" y="137"/>
                    <a:pt x="1049" y="137"/>
                  </a:cubicBezTo>
                  <a:cubicBezTo>
                    <a:pt x="1049" y="137"/>
                    <a:pt x="1049" y="137"/>
                    <a:pt x="1049" y="137"/>
                  </a:cubicBezTo>
                  <a:cubicBezTo>
                    <a:pt x="1049" y="137"/>
                    <a:pt x="1049" y="137"/>
                    <a:pt x="1049" y="137"/>
                  </a:cubicBezTo>
                  <a:cubicBezTo>
                    <a:pt x="1049" y="137"/>
                    <a:pt x="1049" y="137"/>
                    <a:pt x="1049" y="137"/>
                  </a:cubicBezTo>
                  <a:cubicBezTo>
                    <a:pt x="1049" y="136"/>
                    <a:pt x="1049" y="136"/>
                    <a:pt x="1049" y="136"/>
                  </a:cubicBezTo>
                  <a:cubicBezTo>
                    <a:pt x="1049" y="136"/>
                    <a:pt x="1049" y="136"/>
                    <a:pt x="1049" y="136"/>
                  </a:cubicBezTo>
                  <a:cubicBezTo>
                    <a:pt x="1049" y="136"/>
                    <a:pt x="1049" y="136"/>
                    <a:pt x="1049" y="136"/>
                  </a:cubicBezTo>
                  <a:cubicBezTo>
                    <a:pt x="1048" y="136"/>
                    <a:pt x="1048" y="136"/>
                    <a:pt x="1048" y="136"/>
                  </a:cubicBezTo>
                  <a:cubicBezTo>
                    <a:pt x="1047" y="136"/>
                    <a:pt x="1047" y="136"/>
                    <a:pt x="1047" y="136"/>
                  </a:cubicBezTo>
                  <a:cubicBezTo>
                    <a:pt x="1045" y="135"/>
                    <a:pt x="1045" y="135"/>
                    <a:pt x="1045" y="135"/>
                  </a:cubicBezTo>
                  <a:cubicBezTo>
                    <a:pt x="1044" y="134"/>
                    <a:pt x="1044" y="134"/>
                    <a:pt x="1044" y="134"/>
                  </a:cubicBezTo>
                  <a:cubicBezTo>
                    <a:pt x="1043" y="134"/>
                    <a:pt x="1043" y="134"/>
                    <a:pt x="1043" y="134"/>
                  </a:cubicBezTo>
                  <a:cubicBezTo>
                    <a:pt x="1043" y="134"/>
                    <a:pt x="1043" y="134"/>
                    <a:pt x="1043" y="134"/>
                  </a:cubicBezTo>
                  <a:cubicBezTo>
                    <a:pt x="1043" y="134"/>
                    <a:pt x="1043" y="134"/>
                    <a:pt x="1043" y="134"/>
                  </a:cubicBezTo>
                  <a:cubicBezTo>
                    <a:pt x="1044" y="134"/>
                    <a:pt x="1044" y="134"/>
                    <a:pt x="1044" y="134"/>
                  </a:cubicBezTo>
                  <a:cubicBezTo>
                    <a:pt x="1044" y="134"/>
                    <a:pt x="1044" y="134"/>
                    <a:pt x="1044" y="134"/>
                  </a:cubicBezTo>
                  <a:cubicBezTo>
                    <a:pt x="1044" y="134"/>
                    <a:pt x="1044" y="134"/>
                    <a:pt x="1044" y="134"/>
                  </a:cubicBezTo>
                  <a:cubicBezTo>
                    <a:pt x="1044" y="134"/>
                    <a:pt x="1044" y="134"/>
                    <a:pt x="1044" y="134"/>
                  </a:cubicBezTo>
                  <a:cubicBezTo>
                    <a:pt x="1044" y="134"/>
                    <a:pt x="1044" y="134"/>
                    <a:pt x="1044" y="134"/>
                  </a:cubicBezTo>
                  <a:cubicBezTo>
                    <a:pt x="1044" y="134"/>
                    <a:pt x="1044" y="134"/>
                    <a:pt x="1044" y="134"/>
                  </a:cubicBezTo>
                  <a:cubicBezTo>
                    <a:pt x="1044" y="133"/>
                    <a:pt x="1044" y="133"/>
                    <a:pt x="1044" y="133"/>
                  </a:cubicBezTo>
                  <a:cubicBezTo>
                    <a:pt x="1044" y="133"/>
                    <a:pt x="1044" y="133"/>
                    <a:pt x="1044" y="133"/>
                  </a:cubicBezTo>
                  <a:cubicBezTo>
                    <a:pt x="1044" y="133"/>
                    <a:pt x="1044" y="133"/>
                    <a:pt x="1044" y="133"/>
                  </a:cubicBezTo>
                  <a:cubicBezTo>
                    <a:pt x="1044" y="133"/>
                    <a:pt x="1044" y="133"/>
                    <a:pt x="1044" y="133"/>
                  </a:cubicBezTo>
                  <a:cubicBezTo>
                    <a:pt x="1044" y="133"/>
                    <a:pt x="1044" y="133"/>
                    <a:pt x="1044" y="133"/>
                  </a:cubicBezTo>
                  <a:cubicBezTo>
                    <a:pt x="1044" y="133"/>
                    <a:pt x="1044" y="133"/>
                    <a:pt x="1044" y="133"/>
                  </a:cubicBezTo>
                  <a:cubicBezTo>
                    <a:pt x="1044" y="133"/>
                    <a:pt x="1044" y="133"/>
                    <a:pt x="1044" y="133"/>
                  </a:cubicBezTo>
                  <a:cubicBezTo>
                    <a:pt x="1044" y="132"/>
                    <a:pt x="1044" y="132"/>
                    <a:pt x="1044" y="132"/>
                  </a:cubicBezTo>
                  <a:cubicBezTo>
                    <a:pt x="1044" y="132"/>
                    <a:pt x="1044" y="132"/>
                    <a:pt x="1044" y="132"/>
                  </a:cubicBezTo>
                  <a:cubicBezTo>
                    <a:pt x="1044" y="132"/>
                    <a:pt x="1044" y="132"/>
                    <a:pt x="1044" y="132"/>
                  </a:cubicBezTo>
                  <a:cubicBezTo>
                    <a:pt x="1044" y="132"/>
                    <a:pt x="1044" y="132"/>
                    <a:pt x="1044" y="132"/>
                  </a:cubicBezTo>
                  <a:cubicBezTo>
                    <a:pt x="1044" y="132"/>
                    <a:pt x="1044" y="132"/>
                    <a:pt x="1044" y="132"/>
                  </a:cubicBezTo>
                  <a:cubicBezTo>
                    <a:pt x="1043" y="132"/>
                    <a:pt x="1043" y="132"/>
                    <a:pt x="1043" y="132"/>
                  </a:cubicBezTo>
                  <a:cubicBezTo>
                    <a:pt x="1043" y="131"/>
                    <a:pt x="1043" y="131"/>
                    <a:pt x="1043" y="131"/>
                  </a:cubicBezTo>
                  <a:cubicBezTo>
                    <a:pt x="1042" y="131"/>
                    <a:pt x="1042" y="131"/>
                    <a:pt x="1042" y="131"/>
                  </a:cubicBezTo>
                  <a:cubicBezTo>
                    <a:pt x="1042" y="131"/>
                    <a:pt x="1042" y="131"/>
                    <a:pt x="1042" y="131"/>
                  </a:cubicBezTo>
                  <a:cubicBezTo>
                    <a:pt x="1042" y="131"/>
                    <a:pt x="1042" y="131"/>
                    <a:pt x="1042" y="131"/>
                  </a:cubicBezTo>
                  <a:cubicBezTo>
                    <a:pt x="1042" y="130"/>
                    <a:pt x="1042" y="130"/>
                    <a:pt x="1042" y="130"/>
                  </a:cubicBezTo>
                  <a:cubicBezTo>
                    <a:pt x="1041" y="130"/>
                    <a:pt x="1041" y="130"/>
                    <a:pt x="1041" y="130"/>
                  </a:cubicBezTo>
                  <a:cubicBezTo>
                    <a:pt x="1041" y="130"/>
                    <a:pt x="1041" y="130"/>
                    <a:pt x="1041" y="130"/>
                  </a:cubicBezTo>
                  <a:cubicBezTo>
                    <a:pt x="1041" y="130"/>
                    <a:pt x="1041" y="130"/>
                    <a:pt x="1041" y="130"/>
                  </a:cubicBezTo>
                  <a:cubicBezTo>
                    <a:pt x="1041" y="130"/>
                    <a:pt x="1041" y="130"/>
                    <a:pt x="1041" y="130"/>
                  </a:cubicBezTo>
                  <a:cubicBezTo>
                    <a:pt x="1040" y="130"/>
                    <a:pt x="1040" y="129"/>
                    <a:pt x="1040" y="129"/>
                  </a:cubicBezTo>
                  <a:cubicBezTo>
                    <a:pt x="1040" y="129"/>
                    <a:pt x="1040" y="129"/>
                    <a:pt x="1040" y="129"/>
                  </a:cubicBezTo>
                  <a:cubicBezTo>
                    <a:pt x="1040" y="128"/>
                    <a:pt x="1040" y="128"/>
                    <a:pt x="1040" y="128"/>
                  </a:cubicBezTo>
                  <a:cubicBezTo>
                    <a:pt x="1040" y="127"/>
                    <a:pt x="1040" y="127"/>
                    <a:pt x="1038" y="126"/>
                  </a:cubicBezTo>
                  <a:cubicBezTo>
                    <a:pt x="1036" y="125"/>
                    <a:pt x="1036" y="125"/>
                    <a:pt x="1036" y="125"/>
                  </a:cubicBezTo>
                  <a:cubicBezTo>
                    <a:pt x="1035" y="125"/>
                    <a:pt x="1035" y="125"/>
                    <a:pt x="1035" y="125"/>
                  </a:cubicBezTo>
                  <a:cubicBezTo>
                    <a:pt x="1035" y="124"/>
                    <a:pt x="1035" y="124"/>
                    <a:pt x="1035" y="124"/>
                  </a:cubicBezTo>
                  <a:cubicBezTo>
                    <a:pt x="1035" y="124"/>
                    <a:pt x="1035" y="124"/>
                    <a:pt x="1035" y="124"/>
                  </a:cubicBezTo>
                  <a:cubicBezTo>
                    <a:pt x="1035" y="124"/>
                    <a:pt x="1035" y="124"/>
                    <a:pt x="1035" y="124"/>
                  </a:cubicBezTo>
                  <a:cubicBezTo>
                    <a:pt x="1035" y="124"/>
                    <a:pt x="1035" y="124"/>
                    <a:pt x="1035" y="124"/>
                  </a:cubicBezTo>
                  <a:cubicBezTo>
                    <a:pt x="1034" y="124"/>
                    <a:pt x="1035" y="124"/>
                    <a:pt x="1035" y="123"/>
                  </a:cubicBezTo>
                  <a:cubicBezTo>
                    <a:pt x="1035" y="123"/>
                    <a:pt x="1035" y="123"/>
                    <a:pt x="1035" y="123"/>
                  </a:cubicBezTo>
                  <a:cubicBezTo>
                    <a:pt x="1035" y="123"/>
                    <a:pt x="1035" y="123"/>
                    <a:pt x="1035" y="123"/>
                  </a:cubicBezTo>
                  <a:cubicBezTo>
                    <a:pt x="1036" y="123"/>
                    <a:pt x="1036" y="123"/>
                    <a:pt x="1037" y="123"/>
                  </a:cubicBezTo>
                  <a:cubicBezTo>
                    <a:pt x="1037" y="123"/>
                    <a:pt x="1037" y="123"/>
                    <a:pt x="1037" y="123"/>
                  </a:cubicBezTo>
                  <a:cubicBezTo>
                    <a:pt x="1037" y="123"/>
                    <a:pt x="1037" y="123"/>
                    <a:pt x="1037" y="123"/>
                  </a:cubicBezTo>
                  <a:cubicBezTo>
                    <a:pt x="1037" y="123"/>
                    <a:pt x="1037" y="123"/>
                    <a:pt x="1037" y="123"/>
                  </a:cubicBezTo>
                  <a:cubicBezTo>
                    <a:pt x="1040" y="122"/>
                    <a:pt x="1038" y="121"/>
                    <a:pt x="1041" y="122"/>
                  </a:cubicBezTo>
                  <a:cubicBezTo>
                    <a:pt x="1042" y="122"/>
                    <a:pt x="1042" y="122"/>
                    <a:pt x="1042" y="122"/>
                  </a:cubicBezTo>
                  <a:cubicBezTo>
                    <a:pt x="1042" y="123"/>
                    <a:pt x="1042" y="123"/>
                    <a:pt x="1042" y="123"/>
                  </a:cubicBezTo>
                  <a:cubicBezTo>
                    <a:pt x="1042" y="122"/>
                    <a:pt x="1042" y="122"/>
                    <a:pt x="1042" y="122"/>
                  </a:cubicBezTo>
                  <a:cubicBezTo>
                    <a:pt x="1042" y="122"/>
                    <a:pt x="1042" y="122"/>
                    <a:pt x="1042" y="122"/>
                  </a:cubicBezTo>
                  <a:cubicBezTo>
                    <a:pt x="1041" y="122"/>
                    <a:pt x="1041" y="122"/>
                    <a:pt x="1041" y="122"/>
                  </a:cubicBezTo>
                  <a:cubicBezTo>
                    <a:pt x="1041" y="122"/>
                    <a:pt x="1041" y="122"/>
                    <a:pt x="1041" y="122"/>
                  </a:cubicBezTo>
                  <a:cubicBezTo>
                    <a:pt x="1041" y="122"/>
                    <a:pt x="1041" y="122"/>
                    <a:pt x="1041" y="122"/>
                  </a:cubicBezTo>
                  <a:cubicBezTo>
                    <a:pt x="1041" y="122"/>
                    <a:pt x="1041" y="122"/>
                    <a:pt x="1041" y="122"/>
                  </a:cubicBezTo>
                  <a:cubicBezTo>
                    <a:pt x="1040" y="121"/>
                    <a:pt x="1040" y="121"/>
                    <a:pt x="1040" y="121"/>
                  </a:cubicBezTo>
                  <a:cubicBezTo>
                    <a:pt x="1040" y="121"/>
                    <a:pt x="1040" y="121"/>
                    <a:pt x="1040" y="121"/>
                  </a:cubicBezTo>
                  <a:cubicBezTo>
                    <a:pt x="1040" y="121"/>
                    <a:pt x="1040" y="121"/>
                    <a:pt x="1040" y="121"/>
                  </a:cubicBezTo>
                  <a:cubicBezTo>
                    <a:pt x="1039" y="120"/>
                    <a:pt x="1038" y="119"/>
                    <a:pt x="1038" y="118"/>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8"/>
                    <a:pt x="1037" y="118"/>
                  </a:cubicBezTo>
                  <a:cubicBezTo>
                    <a:pt x="1037" y="118"/>
                    <a:pt x="1037" y="118"/>
                    <a:pt x="1037" y="118"/>
                  </a:cubicBezTo>
                  <a:cubicBezTo>
                    <a:pt x="1037" y="118"/>
                    <a:pt x="1037" y="118"/>
                    <a:pt x="1037" y="118"/>
                  </a:cubicBezTo>
                  <a:cubicBezTo>
                    <a:pt x="1037" y="118"/>
                    <a:pt x="1037" y="118"/>
                    <a:pt x="1037" y="119"/>
                  </a:cubicBezTo>
                  <a:cubicBezTo>
                    <a:pt x="1037" y="119"/>
                    <a:pt x="1037" y="119"/>
                    <a:pt x="1037" y="119"/>
                  </a:cubicBezTo>
                  <a:cubicBezTo>
                    <a:pt x="1037" y="119"/>
                    <a:pt x="1037" y="119"/>
                    <a:pt x="1037" y="119"/>
                  </a:cubicBezTo>
                  <a:cubicBezTo>
                    <a:pt x="1037" y="119"/>
                    <a:pt x="1037" y="119"/>
                    <a:pt x="1037" y="119"/>
                  </a:cubicBezTo>
                  <a:cubicBezTo>
                    <a:pt x="1038" y="120"/>
                    <a:pt x="1038" y="120"/>
                    <a:pt x="1038" y="121"/>
                  </a:cubicBezTo>
                  <a:cubicBezTo>
                    <a:pt x="1038" y="121"/>
                    <a:pt x="1038" y="121"/>
                    <a:pt x="1038" y="121"/>
                  </a:cubicBezTo>
                  <a:cubicBezTo>
                    <a:pt x="1038" y="121"/>
                    <a:pt x="1038" y="121"/>
                    <a:pt x="1038" y="121"/>
                  </a:cubicBezTo>
                  <a:cubicBezTo>
                    <a:pt x="1038" y="121"/>
                    <a:pt x="1038" y="121"/>
                    <a:pt x="1038" y="121"/>
                  </a:cubicBezTo>
                  <a:cubicBezTo>
                    <a:pt x="1037" y="121"/>
                    <a:pt x="1037" y="121"/>
                    <a:pt x="1037" y="121"/>
                  </a:cubicBezTo>
                  <a:cubicBezTo>
                    <a:pt x="1034" y="121"/>
                    <a:pt x="1034" y="121"/>
                    <a:pt x="1034" y="121"/>
                  </a:cubicBezTo>
                  <a:cubicBezTo>
                    <a:pt x="1033" y="121"/>
                    <a:pt x="1033" y="121"/>
                    <a:pt x="1033" y="121"/>
                  </a:cubicBezTo>
                  <a:cubicBezTo>
                    <a:pt x="1033" y="121"/>
                    <a:pt x="1033" y="121"/>
                    <a:pt x="1033" y="121"/>
                  </a:cubicBezTo>
                  <a:cubicBezTo>
                    <a:pt x="1033" y="121"/>
                    <a:pt x="1033" y="121"/>
                    <a:pt x="1033" y="121"/>
                  </a:cubicBezTo>
                  <a:cubicBezTo>
                    <a:pt x="1033" y="121"/>
                    <a:pt x="1033" y="121"/>
                    <a:pt x="1033" y="121"/>
                  </a:cubicBezTo>
                  <a:cubicBezTo>
                    <a:pt x="1033" y="120"/>
                    <a:pt x="1033" y="120"/>
                    <a:pt x="1033" y="120"/>
                  </a:cubicBezTo>
                  <a:cubicBezTo>
                    <a:pt x="1033" y="120"/>
                    <a:pt x="1033" y="120"/>
                    <a:pt x="1033" y="120"/>
                  </a:cubicBezTo>
                  <a:cubicBezTo>
                    <a:pt x="1032" y="119"/>
                    <a:pt x="1032" y="119"/>
                    <a:pt x="1032" y="119"/>
                  </a:cubicBezTo>
                  <a:cubicBezTo>
                    <a:pt x="1031" y="119"/>
                    <a:pt x="1032" y="119"/>
                    <a:pt x="1030" y="117"/>
                  </a:cubicBezTo>
                  <a:cubicBezTo>
                    <a:pt x="1029" y="115"/>
                    <a:pt x="1029" y="115"/>
                    <a:pt x="1029" y="115"/>
                  </a:cubicBezTo>
                  <a:cubicBezTo>
                    <a:pt x="1028" y="113"/>
                    <a:pt x="1028" y="113"/>
                    <a:pt x="1028" y="113"/>
                  </a:cubicBezTo>
                  <a:cubicBezTo>
                    <a:pt x="1029" y="113"/>
                    <a:pt x="1029" y="113"/>
                    <a:pt x="1029" y="113"/>
                  </a:cubicBezTo>
                  <a:cubicBezTo>
                    <a:pt x="1030" y="113"/>
                    <a:pt x="1030" y="113"/>
                    <a:pt x="1030" y="113"/>
                  </a:cubicBezTo>
                  <a:cubicBezTo>
                    <a:pt x="1030" y="113"/>
                    <a:pt x="1030" y="113"/>
                    <a:pt x="1030" y="113"/>
                  </a:cubicBezTo>
                  <a:cubicBezTo>
                    <a:pt x="1030" y="113"/>
                    <a:pt x="1030" y="113"/>
                    <a:pt x="1030" y="113"/>
                  </a:cubicBezTo>
                  <a:cubicBezTo>
                    <a:pt x="1031" y="113"/>
                    <a:pt x="1031" y="113"/>
                    <a:pt x="1031" y="114"/>
                  </a:cubicBezTo>
                  <a:cubicBezTo>
                    <a:pt x="1032" y="114"/>
                    <a:pt x="1032" y="114"/>
                    <a:pt x="1032" y="114"/>
                  </a:cubicBezTo>
                  <a:cubicBezTo>
                    <a:pt x="1032" y="114"/>
                    <a:pt x="1032" y="114"/>
                    <a:pt x="1032" y="114"/>
                  </a:cubicBezTo>
                  <a:cubicBezTo>
                    <a:pt x="1032" y="114"/>
                    <a:pt x="1032" y="114"/>
                    <a:pt x="1032" y="114"/>
                  </a:cubicBezTo>
                  <a:cubicBezTo>
                    <a:pt x="1032" y="115"/>
                    <a:pt x="1032" y="115"/>
                    <a:pt x="1032" y="115"/>
                  </a:cubicBezTo>
                  <a:cubicBezTo>
                    <a:pt x="1032" y="115"/>
                    <a:pt x="1032" y="115"/>
                    <a:pt x="1032" y="115"/>
                  </a:cubicBezTo>
                  <a:cubicBezTo>
                    <a:pt x="1032" y="115"/>
                    <a:pt x="1032" y="115"/>
                    <a:pt x="1032" y="115"/>
                  </a:cubicBezTo>
                  <a:cubicBezTo>
                    <a:pt x="1033" y="115"/>
                    <a:pt x="1033" y="115"/>
                    <a:pt x="1033" y="115"/>
                  </a:cubicBezTo>
                  <a:cubicBezTo>
                    <a:pt x="1033" y="115"/>
                    <a:pt x="1033" y="115"/>
                    <a:pt x="1033" y="115"/>
                  </a:cubicBezTo>
                  <a:cubicBezTo>
                    <a:pt x="1033" y="115"/>
                    <a:pt x="1033" y="115"/>
                    <a:pt x="1033" y="115"/>
                  </a:cubicBezTo>
                  <a:cubicBezTo>
                    <a:pt x="1033" y="115"/>
                    <a:pt x="1033" y="115"/>
                    <a:pt x="1033" y="115"/>
                  </a:cubicBezTo>
                  <a:cubicBezTo>
                    <a:pt x="1033" y="116"/>
                    <a:pt x="1033" y="116"/>
                    <a:pt x="1033" y="116"/>
                  </a:cubicBezTo>
                  <a:cubicBezTo>
                    <a:pt x="1034" y="116"/>
                    <a:pt x="1034" y="116"/>
                    <a:pt x="1034" y="116"/>
                  </a:cubicBezTo>
                  <a:cubicBezTo>
                    <a:pt x="1034" y="116"/>
                    <a:pt x="1034" y="116"/>
                    <a:pt x="1035" y="116"/>
                  </a:cubicBezTo>
                  <a:cubicBezTo>
                    <a:pt x="1035" y="116"/>
                    <a:pt x="1035" y="116"/>
                    <a:pt x="1035" y="116"/>
                  </a:cubicBezTo>
                  <a:cubicBezTo>
                    <a:pt x="1035" y="116"/>
                    <a:pt x="1035" y="116"/>
                    <a:pt x="1035" y="116"/>
                  </a:cubicBezTo>
                  <a:cubicBezTo>
                    <a:pt x="1036" y="116"/>
                    <a:pt x="1036" y="116"/>
                    <a:pt x="1036" y="116"/>
                  </a:cubicBezTo>
                  <a:cubicBezTo>
                    <a:pt x="1037" y="116"/>
                    <a:pt x="1037" y="116"/>
                    <a:pt x="1037" y="116"/>
                  </a:cubicBezTo>
                  <a:cubicBezTo>
                    <a:pt x="1037" y="116"/>
                    <a:pt x="1037" y="116"/>
                    <a:pt x="1037" y="116"/>
                  </a:cubicBezTo>
                  <a:cubicBezTo>
                    <a:pt x="1037" y="116"/>
                    <a:pt x="1037" y="116"/>
                    <a:pt x="1037" y="116"/>
                  </a:cubicBezTo>
                  <a:cubicBezTo>
                    <a:pt x="1037" y="116"/>
                    <a:pt x="1037" y="116"/>
                    <a:pt x="1037" y="116"/>
                  </a:cubicBezTo>
                  <a:cubicBezTo>
                    <a:pt x="1037" y="116"/>
                    <a:pt x="1037" y="116"/>
                    <a:pt x="1037" y="116"/>
                  </a:cubicBezTo>
                  <a:cubicBezTo>
                    <a:pt x="1038" y="115"/>
                    <a:pt x="1038" y="115"/>
                    <a:pt x="1038" y="115"/>
                  </a:cubicBezTo>
                  <a:cubicBezTo>
                    <a:pt x="1038" y="115"/>
                    <a:pt x="1038" y="115"/>
                    <a:pt x="1039" y="116"/>
                  </a:cubicBezTo>
                  <a:cubicBezTo>
                    <a:pt x="1039" y="116"/>
                    <a:pt x="1039" y="116"/>
                    <a:pt x="1039" y="116"/>
                  </a:cubicBezTo>
                  <a:cubicBezTo>
                    <a:pt x="1039" y="116"/>
                    <a:pt x="1039" y="116"/>
                    <a:pt x="1039" y="116"/>
                  </a:cubicBezTo>
                  <a:cubicBezTo>
                    <a:pt x="1039" y="115"/>
                    <a:pt x="1040" y="115"/>
                    <a:pt x="1040" y="115"/>
                  </a:cubicBezTo>
                  <a:cubicBezTo>
                    <a:pt x="1040" y="115"/>
                    <a:pt x="1040" y="115"/>
                    <a:pt x="1040" y="115"/>
                  </a:cubicBezTo>
                  <a:cubicBezTo>
                    <a:pt x="1041" y="115"/>
                    <a:pt x="1041" y="115"/>
                    <a:pt x="1041" y="115"/>
                  </a:cubicBezTo>
                  <a:cubicBezTo>
                    <a:pt x="1041" y="115"/>
                    <a:pt x="1041" y="115"/>
                    <a:pt x="1041" y="115"/>
                  </a:cubicBezTo>
                  <a:cubicBezTo>
                    <a:pt x="1041" y="115"/>
                    <a:pt x="1041" y="115"/>
                    <a:pt x="1041" y="115"/>
                  </a:cubicBezTo>
                  <a:cubicBezTo>
                    <a:pt x="1041" y="115"/>
                    <a:pt x="1041" y="115"/>
                    <a:pt x="1041" y="115"/>
                  </a:cubicBezTo>
                  <a:cubicBezTo>
                    <a:pt x="1041" y="115"/>
                    <a:pt x="1041" y="115"/>
                    <a:pt x="1041" y="115"/>
                  </a:cubicBezTo>
                  <a:cubicBezTo>
                    <a:pt x="1042" y="114"/>
                    <a:pt x="1042" y="114"/>
                    <a:pt x="1042" y="114"/>
                  </a:cubicBezTo>
                  <a:cubicBezTo>
                    <a:pt x="1042" y="113"/>
                    <a:pt x="1042" y="113"/>
                    <a:pt x="1042" y="113"/>
                  </a:cubicBezTo>
                  <a:cubicBezTo>
                    <a:pt x="1042" y="113"/>
                    <a:pt x="1042" y="113"/>
                    <a:pt x="1042" y="113"/>
                  </a:cubicBezTo>
                  <a:cubicBezTo>
                    <a:pt x="1042" y="112"/>
                    <a:pt x="1042" y="112"/>
                    <a:pt x="1042" y="112"/>
                  </a:cubicBezTo>
                  <a:cubicBezTo>
                    <a:pt x="1042" y="111"/>
                    <a:pt x="1042" y="111"/>
                    <a:pt x="1042" y="111"/>
                  </a:cubicBezTo>
                  <a:cubicBezTo>
                    <a:pt x="1041" y="111"/>
                    <a:pt x="1041" y="111"/>
                    <a:pt x="1041" y="111"/>
                  </a:cubicBezTo>
                  <a:cubicBezTo>
                    <a:pt x="1041" y="110"/>
                    <a:pt x="1041" y="110"/>
                    <a:pt x="1041" y="110"/>
                  </a:cubicBezTo>
                  <a:cubicBezTo>
                    <a:pt x="1041" y="110"/>
                    <a:pt x="1041" y="110"/>
                    <a:pt x="1041" y="110"/>
                  </a:cubicBezTo>
                  <a:cubicBezTo>
                    <a:pt x="1041" y="110"/>
                    <a:pt x="1041" y="110"/>
                    <a:pt x="1041" y="110"/>
                  </a:cubicBezTo>
                  <a:cubicBezTo>
                    <a:pt x="1041" y="110"/>
                    <a:pt x="1041" y="110"/>
                    <a:pt x="1041" y="110"/>
                  </a:cubicBezTo>
                  <a:cubicBezTo>
                    <a:pt x="1040" y="110"/>
                    <a:pt x="1040" y="110"/>
                    <a:pt x="1040" y="110"/>
                  </a:cubicBezTo>
                  <a:cubicBezTo>
                    <a:pt x="1040" y="109"/>
                    <a:pt x="1040" y="109"/>
                    <a:pt x="1040" y="109"/>
                  </a:cubicBezTo>
                  <a:cubicBezTo>
                    <a:pt x="1039" y="109"/>
                    <a:pt x="1039" y="109"/>
                    <a:pt x="1039" y="109"/>
                  </a:cubicBezTo>
                  <a:cubicBezTo>
                    <a:pt x="1039" y="109"/>
                    <a:pt x="1039" y="109"/>
                    <a:pt x="1039" y="109"/>
                  </a:cubicBezTo>
                  <a:cubicBezTo>
                    <a:pt x="1039" y="109"/>
                    <a:pt x="1039" y="109"/>
                    <a:pt x="1039" y="109"/>
                  </a:cubicBezTo>
                  <a:cubicBezTo>
                    <a:pt x="1039" y="109"/>
                    <a:pt x="1039" y="109"/>
                    <a:pt x="1039" y="109"/>
                  </a:cubicBezTo>
                  <a:cubicBezTo>
                    <a:pt x="1038" y="108"/>
                    <a:pt x="1038" y="108"/>
                    <a:pt x="1038" y="108"/>
                  </a:cubicBezTo>
                  <a:cubicBezTo>
                    <a:pt x="1038" y="108"/>
                    <a:pt x="1038" y="108"/>
                    <a:pt x="1038" y="108"/>
                  </a:cubicBezTo>
                  <a:cubicBezTo>
                    <a:pt x="1030" y="107"/>
                    <a:pt x="1030" y="107"/>
                    <a:pt x="1030" y="107"/>
                  </a:cubicBezTo>
                  <a:cubicBezTo>
                    <a:pt x="1030" y="107"/>
                    <a:pt x="1030" y="107"/>
                    <a:pt x="1030" y="107"/>
                  </a:cubicBezTo>
                  <a:cubicBezTo>
                    <a:pt x="1031" y="107"/>
                    <a:pt x="1031" y="107"/>
                    <a:pt x="1031" y="107"/>
                  </a:cubicBezTo>
                  <a:cubicBezTo>
                    <a:pt x="1031" y="107"/>
                    <a:pt x="1031" y="107"/>
                    <a:pt x="1031" y="107"/>
                  </a:cubicBezTo>
                  <a:cubicBezTo>
                    <a:pt x="1032" y="107"/>
                    <a:pt x="1032" y="107"/>
                    <a:pt x="1032" y="107"/>
                  </a:cubicBezTo>
                  <a:cubicBezTo>
                    <a:pt x="1032" y="107"/>
                    <a:pt x="1032" y="107"/>
                    <a:pt x="1033" y="107"/>
                  </a:cubicBezTo>
                  <a:cubicBezTo>
                    <a:pt x="1033" y="107"/>
                    <a:pt x="1033" y="107"/>
                    <a:pt x="1033" y="107"/>
                  </a:cubicBezTo>
                  <a:cubicBezTo>
                    <a:pt x="1034" y="107"/>
                    <a:pt x="1034" y="107"/>
                    <a:pt x="1034" y="107"/>
                  </a:cubicBezTo>
                  <a:cubicBezTo>
                    <a:pt x="1034" y="107"/>
                    <a:pt x="1034" y="107"/>
                    <a:pt x="1035" y="106"/>
                  </a:cubicBezTo>
                  <a:cubicBezTo>
                    <a:pt x="1035" y="106"/>
                    <a:pt x="1035" y="106"/>
                    <a:pt x="1035" y="106"/>
                  </a:cubicBezTo>
                  <a:cubicBezTo>
                    <a:pt x="1035" y="106"/>
                    <a:pt x="1035" y="106"/>
                    <a:pt x="1035" y="106"/>
                  </a:cubicBezTo>
                  <a:cubicBezTo>
                    <a:pt x="1035" y="106"/>
                    <a:pt x="1035" y="106"/>
                    <a:pt x="1035" y="106"/>
                  </a:cubicBezTo>
                  <a:cubicBezTo>
                    <a:pt x="1036" y="106"/>
                    <a:pt x="1036" y="106"/>
                    <a:pt x="1036" y="106"/>
                  </a:cubicBezTo>
                  <a:cubicBezTo>
                    <a:pt x="1037" y="106"/>
                    <a:pt x="1036" y="104"/>
                    <a:pt x="1037" y="104"/>
                  </a:cubicBezTo>
                  <a:cubicBezTo>
                    <a:pt x="1038" y="105"/>
                    <a:pt x="1038" y="105"/>
                    <a:pt x="1038" y="105"/>
                  </a:cubicBezTo>
                  <a:cubicBezTo>
                    <a:pt x="1038" y="105"/>
                    <a:pt x="1038" y="105"/>
                    <a:pt x="1038" y="105"/>
                  </a:cubicBezTo>
                  <a:cubicBezTo>
                    <a:pt x="1039" y="105"/>
                    <a:pt x="1038" y="104"/>
                    <a:pt x="1039" y="104"/>
                  </a:cubicBezTo>
                  <a:cubicBezTo>
                    <a:pt x="1039" y="104"/>
                    <a:pt x="1039" y="104"/>
                    <a:pt x="1039" y="104"/>
                  </a:cubicBezTo>
                  <a:cubicBezTo>
                    <a:pt x="1040" y="104"/>
                    <a:pt x="1040" y="104"/>
                    <a:pt x="1040" y="104"/>
                  </a:cubicBezTo>
                  <a:cubicBezTo>
                    <a:pt x="1040" y="104"/>
                    <a:pt x="1040" y="104"/>
                    <a:pt x="1040" y="104"/>
                  </a:cubicBezTo>
                  <a:cubicBezTo>
                    <a:pt x="1039" y="103"/>
                    <a:pt x="1039" y="103"/>
                    <a:pt x="1039" y="103"/>
                  </a:cubicBezTo>
                  <a:cubicBezTo>
                    <a:pt x="1039" y="103"/>
                    <a:pt x="1039" y="103"/>
                    <a:pt x="1039" y="103"/>
                  </a:cubicBezTo>
                  <a:cubicBezTo>
                    <a:pt x="1031" y="100"/>
                    <a:pt x="1031" y="100"/>
                    <a:pt x="1031" y="100"/>
                  </a:cubicBezTo>
                  <a:cubicBezTo>
                    <a:pt x="1031" y="99"/>
                    <a:pt x="1031" y="99"/>
                    <a:pt x="1031" y="99"/>
                  </a:cubicBezTo>
                  <a:cubicBezTo>
                    <a:pt x="1034" y="99"/>
                    <a:pt x="1034" y="99"/>
                    <a:pt x="1034" y="99"/>
                  </a:cubicBezTo>
                  <a:cubicBezTo>
                    <a:pt x="1035" y="98"/>
                    <a:pt x="1036" y="98"/>
                    <a:pt x="1037" y="98"/>
                  </a:cubicBezTo>
                  <a:cubicBezTo>
                    <a:pt x="1037" y="98"/>
                    <a:pt x="1037" y="98"/>
                    <a:pt x="1037" y="98"/>
                  </a:cubicBezTo>
                  <a:cubicBezTo>
                    <a:pt x="1037" y="98"/>
                    <a:pt x="1037" y="98"/>
                    <a:pt x="1037" y="98"/>
                  </a:cubicBezTo>
                  <a:cubicBezTo>
                    <a:pt x="1037" y="98"/>
                    <a:pt x="1037" y="98"/>
                    <a:pt x="1037" y="98"/>
                  </a:cubicBezTo>
                  <a:cubicBezTo>
                    <a:pt x="1037" y="98"/>
                    <a:pt x="1037" y="98"/>
                    <a:pt x="1037" y="98"/>
                  </a:cubicBezTo>
                  <a:cubicBezTo>
                    <a:pt x="1037" y="98"/>
                    <a:pt x="1037" y="98"/>
                    <a:pt x="1037" y="98"/>
                  </a:cubicBezTo>
                  <a:cubicBezTo>
                    <a:pt x="1037" y="97"/>
                    <a:pt x="1037" y="97"/>
                    <a:pt x="1037" y="97"/>
                  </a:cubicBezTo>
                  <a:cubicBezTo>
                    <a:pt x="1037" y="97"/>
                    <a:pt x="1037" y="97"/>
                    <a:pt x="1037" y="97"/>
                  </a:cubicBezTo>
                  <a:cubicBezTo>
                    <a:pt x="1037" y="97"/>
                    <a:pt x="1037" y="97"/>
                    <a:pt x="1037" y="97"/>
                  </a:cubicBezTo>
                  <a:cubicBezTo>
                    <a:pt x="1037" y="97"/>
                    <a:pt x="1037" y="97"/>
                    <a:pt x="1037" y="97"/>
                  </a:cubicBezTo>
                  <a:cubicBezTo>
                    <a:pt x="1037" y="97"/>
                    <a:pt x="1037" y="97"/>
                    <a:pt x="1037" y="97"/>
                  </a:cubicBezTo>
                  <a:cubicBezTo>
                    <a:pt x="1037" y="97"/>
                    <a:pt x="1037" y="97"/>
                    <a:pt x="1037" y="97"/>
                  </a:cubicBezTo>
                  <a:cubicBezTo>
                    <a:pt x="1037" y="97"/>
                    <a:pt x="1037" y="97"/>
                    <a:pt x="1037" y="97"/>
                  </a:cubicBezTo>
                  <a:cubicBezTo>
                    <a:pt x="1038" y="97"/>
                    <a:pt x="1038" y="97"/>
                    <a:pt x="1038" y="97"/>
                  </a:cubicBezTo>
                  <a:cubicBezTo>
                    <a:pt x="1038" y="96"/>
                    <a:pt x="1038" y="96"/>
                    <a:pt x="1038" y="96"/>
                  </a:cubicBezTo>
                  <a:cubicBezTo>
                    <a:pt x="1038" y="96"/>
                    <a:pt x="1038" y="96"/>
                    <a:pt x="1038" y="96"/>
                  </a:cubicBezTo>
                  <a:cubicBezTo>
                    <a:pt x="1038" y="96"/>
                    <a:pt x="1038" y="96"/>
                    <a:pt x="1038" y="96"/>
                  </a:cubicBezTo>
                  <a:cubicBezTo>
                    <a:pt x="1038" y="96"/>
                    <a:pt x="1038" y="96"/>
                    <a:pt x="1038" y="96"/>
                  </a:cubicBezTo>
                  <a:cubicBezTo>
                    <a:pt x="1038" y="96"/>
                    <a:pt x="1038" y="96"/>
                    <a:pt x="1038" y="96"/>
                  </a:cubicBezTo>
                  <a:cubicBezTo>
                    <a:pt x="1038" y="96"/>
                    <a:pt x="1038" y="96"/>
                    <a:pt x="1038" y="96"/>
                  </a:cubicBezTo>
                  <a:cubicBezTo>
                    <a:pt x="1038" y="96"/>
                    <a:pt x="1038" y="96"/>
                    <a:pt x="1038" y="96"/>
                  </a:cubicBezTo>
                  <a:cubicBezTo>
                    <a:pt x="1037" y="95"/>
                    <a:pt x="1037" y="95"/>
                    <a:pt x="1037" y="95"/>
                  </a:cubicBezTo>
                  <a:cubicBezTo>
                    <a:pt x="1037" y="95"/>
                    <a:pt x="1037" y="95"/>
                    <a:pt x="1037" y="95"/>
                  </a:cubicBezTo>
                  <a:cubicBezTo>
                    <a:pt x="1037" y="95"/>
                    <a:pt x="1037" y="95"/>
                    <a:pt x="1037" y="95"/>
                  </a:cubicBezTo>
                  <a:cubicBezTo>
                    <a:pt x="1036" y="95"/>
                    <a:pt x="1036" y="95"/>
                    <a:pt x="1036" y="95"/>
                  </a:cubicBezTo>
                  <a:cubicBezTo>
                    <a:pt x="1036" y="94"/>
                    <a:pt x="1036" y="94"/>
                    <a:pt x="1036" y="94"/>
                  </a:cubicBezTo>
                  <a:cubicBezTo>
                    <a:pt x="1036" y="94"/>
                    <a:pt x="1036" y="94"/>
                    <a:pt x="1036" y="94"/>
                  </a:cubicBezTo>
                  <a:cubicBezTo>
                    <a:pt x="1035" y="94"/>
                    <a:pt x="1035" y="94"/>
                    <a:pt x="1035" y="94"/>
                  </a:cubicBezTo>
                  <a:cubicBezTo>
                    <a:pt x="1034" y="93"/>
                    <a:pt x="1034" y="93"/>
                    <a:pt x="1034" y="93"/>
                  </a:cubicBezTo>
                  <a:cubicBezTo>
                    <a:pt x="1031" y="92"/>
                    <a:pt x="1031" y="92"/>
                    <a:pt x="1031" y="92"/>
                  </a:cubicBezTo>
                  <a:cubicBezTo>
                    <a:pt x="1030" y="91"/>
                    <a:pt x="1030" y="91"/>
                    <a:pt x="1030" y="91"/>
                  </a:cubicBezTo>
                  <a:cubicBezTo>
                    <a:pt x="1029" y="90"/>
                    <a:pt x="1029" y="90"/>
                    <a:pt x="1029" y="90"/>
                  </a:cubicBezTo>
                  <a:cubicBezTo>
                    <a:pt x="1027" y="89"/>
                    <a:pt x="1027" y="89"/>
                    <a:pt x="1027" y="89"/>
                  </a:cubicBezTo>
                  <a:cubicBezTo>
                    <a:pt x="1026" y="88"/>
                    <a:pt x="1019" y="87"/>
                    <a:pt x="1017" y="87"/>
                  </a:cubicBezTo>
                  <a:cubicBezTo>
                    <a:pt x="1017" y="87"/>
                    <a:pt x="1017" y="87"/>
                    <a:pt x="1017" y="87"/>
                  </a:cubicBezTo>
                  <a:cubicBezTo>
                    <a:pt x="1017" y="87"/>
                    <a:pt x="1017" y="87"/>
                    <a:pt x="1017" y="87"/>
                  </a:cubicBezTo>
                  <a:cubicBezTo>
                    <a:pt x="1017" y="87"/>
                    <a:pt x="1017" y="87"/>
                    <a:pt x="1017" y="87"/>
                  </a:cubicBezTo>
                  <a:cubicBezTo>
                    <a:pt x="1016" y="87"/>
                    <a:pt x="1016" y="87"/>
                    <a:pt x="1016" y="87"/>
                  </a:cubicBezTo>
                  <a:cubicBezTo>
                    <a:pt x="1016" y="87"/>
                    <a:pt x="1016" y="87"/>
                    <a:pt x="1016" y="87"/>
                  </a:cubicBezTo>
                  <a:cubicBezTo>
                    <a:pt x="1016" y="87"/>
                    <a:pt x="1016" y="87"/>
                    <a:pt x="1016" y="87"/>
                  </a:cubicBezTo>
                  <a:cubicBezTo>
                    <a:pt x="1016" y="87"/>
                    <a:pt x="1016" y="87"/>
                    <a:pt x="1016" y="87"/>
                  </a:cubicBezTo>
                  <a:cubicBezTo>
                    <a:pt x="1015" y="88"/>
                    <a:pt x="1015" y="88"/>
                    <a:pt x="1015" y="88"/>
                  </a:cubicBezTo>
                  <a:cubicBezTo>
                    <a:pt x="1015" y="88"/>
                    <a:pt x="1015" y="88"/>
                    <a:pt x="1015" y="88"/>
                  </a:cubicBezTo>
                  <a:cubicBezTo>
                    <a:pt x="1015" y="89"/>
                    <a:pt x="1015" y="89"/>
                    <a:pt x="1015" y="89"/>
                  </a:cubicBezTo>
                  <a:cubicBezTo>
                    <a:pt x="1014" y="90"/>
                    <a:pt x="1014" y="90"/>
                    <a:pt x="1014" y="90"/>
                  </a:cubicBezTo>
                  <a:cubicBezTo>
                    <a:pt x="1014" y="90"/>
                    <a:pt x="1014" y="90"/>
                    <a:pt x="1014" y="90"/>
                  </a:cubicBezTo>
                  <a:cubicBezTo>
                    <a:pt x="1012" y="90"/>
                    <a:pt x="1012" y="90"/>
                    <a:pt x="1012" y="90"/>
                  </a:cubicBezTo>
                  <a:cubicBezTo>
                    <a:pt x="1010" y="91"/>
                    <a:pt x="1010" y="91"/>
                    <a:pt x="1010" y="91"/>
                  </a:cubicBezTo>
                  <a:cubicBezTo>
                    <a:pt x="1008" y="89"/>
                    <a:pt x="1008" y="89"/>
                    <a:pt x="1008" y="89"/>
                  </a:cubicBezTo>
                  <a:cubicBezTo>
                    <a:pt x="1008" y="89"/>
                    <a:pt x="1008" y="89"/>
                    <a:pt x="1008" y="89"/>
                  </a:cubicBezTo>
                  <a:cubicBezTo>
                    <a:pt x="1008" y="89"/>
                    <a:pt x="1008" y="89"/>
                    <a:pt x="1008" y="89"/>
                  </a:cubicBezTo>
                  <a:cubicBezTo>
                    <a:pt x="1008" y="89"/>
                    <a:pt x="1008" y="89"/>
                    <a:pt x="1008" y="89"/>
                  </a:cubicBezTo>
                  <a:cubicBezTo>
                    <a:pt x="1009" y="89"/>
                    <a:pt x="1009" y="89"/>
                    <a:pt x="1009" y="89"/>
                  </a:cubicBezTo>
                  <a:cubicBezTo>
                    <a:pt x="1010" y="88"/>
                    <a:pt x="1010" y="88"/>
                    <a:pt x="1010" y="88"/>
                  </a:cubicBezTo>
                  <a:cubicBezTo>
                    <a:pt x="1010" y="88"/>
                    <a:pt x="1010" y="88"/>
                    <a:pt x="1010" y="88"/>
                  </a:cubicBezTo>
                  <a:cubicBezTo>
                    <a:pt x="1010" y="88"/>
                    <a:pt x="1010" y="88"/>
                    <a:pt x="1010" y="88"/>
                  </a:cubicBezTo>
                  <a:cubicBezTo>
                    <a:pt x="1010" y="88"/>
                    <a:pt x="1010" y="88"/>
                    <a:pt x="1010" y="88"/>
                  </a:cubicBezTo>
                  <a:cubicBezTo>
                    <a:pt x="1010" y="88"/>
                    <a:pt x="1010" y="88"/>
                    <a:pt x="1010" y="88"/>
                  </a:cubicBezTo>
                  <a:cubicBezTo>
                    <a:pt x="1010" y="88"/>
                    <a:pt x="1010" y="88"/>
                    <a:pt x="1010" y="88"/>
                  </a:cubicBezTo>
                  <a:cubicBezTo>
                    <a:pt x="1010" y="88"/>
                    <a:pt x="1010" y="88"/>
                    <a:pt x="1010" y="88"/>
                  </a:cubicBezTo>
                  <a:cubicBezTo>
                    <a:pt x="1009" y="88"/>
                    <a:pt x="1009" y="88"/>
                    <a:pt x="1009" y="88"/>
                  </a:cubicBezTo>
                  <a:cubicBezTo>
                    <a:pt x="1009" y="88"/>
                    <a:pt x="1009" y="88"/>
                    <a:pt x="1009" y="88"/>
                  </a:cubicBezTo>
                  <a:cubicBezTo>
                    <a:pt x="1009" y="87"/>
                    <a:pt x="1008" y="87"/>
                    <a:pt x="1008" y="87"/>
                  </a:cubicBezTo>
                  <a:cubicBezTo>
                    <a:pt x="1006" y="87"/>
                    <a:pt x="1006" y="87"/>
                    <a:pt x="1006" y="87"/>
                  </a:cubicBezTo>
                  <a:cubicBezTo>
                    <a:pt x="1005" y="87"/>
                    <a:pt x="1005" y="87"/>
                    <a:pt x="1005" y="87"/>
                  </a:cubicBezTo>
                  <a:cubicBezTo>
                    <a:pt x="1003" y="88"/>
                    <a:pt x="1003" y="88"/>
                    <a:pt x="1003" y="88"/>
                  </a:cubicBezTo>
                  <a:cubicBezTo>
                    <a:pt x="1002" y="88"/>
                    <a:pt x="1002" y="88"/>
                    <a:pt x="1002" y="88"/>
                  </a:cubicBezTo>
                  <a:cubicBezTo>
                    <a:pt x="1002" y="87"/>
                    <a:pt x="1002" y="87"/>
                    <a:pt x="1002" y="87"/>
                  </a:cubicBezTo>
                  <a:cubicBezTo>
                    <a:pt x="1002" y="87"/>
                    <a:pt x="1002" y="87"/>
                    <a:pt x="1002" y="87"/>
                  </a:cubicBezTo>
                  <a:cubicBezTo>
                    <a:pt x="1002" y="87"/>
                    <a:pt x="1002" y="87"/>
                    <a:pt x="1002" y="87"/>
                  </a:cubicBezTo>
                  <a:cubicBezTo>
                    <a:pt x="1001" y="87"/>
                    <a:pt x="1001" y="87"/>
                    <a:pt x="1001" y="87"/>
                  </a:cubicBezTo>
                  <a:cubicBezTo>
                    <a:pt x="1001" y="87"/>
                    <a:pt x="1001" y="87"/>
                    <a:pt x="1001" y="87"/>
                  </a:cubicBezTo>
                  <a:cubicBezTo>
                    <a:pt x="1001" y="87"/>
                    <a:pt x="1001" y="87"/>
                    <a:pt x="1001" y="87"/>
                  </a:cubicBezTo>
                  <a:cubicBezTo>
                    <a:pt x="1001" y="87"/>
                    <a:pt x="1001" y="87"/>
                    <a:pt x="1001" y="87"/>
                  </a:cubicBezTo>
                  <a:cubicBezTo>
                    <a:pt x="1001" y="87"/>
                    <a:pt x="1001" y="87"/>
                    <a:pt x="1001" y="87"/>
                  </a:cubicBezTo>
                  <a:cubicBezTo>
                    <a:pt x="1001" y="87"/>
                    <a:pt x="1001" y="87"/>
                    <a:pt x="1001" y="87"/>
                  </a:cubicBezTo>
                  <a:cubicBezTo>
                    <a:pt x="1001" y="87"/>
                    <a:pt x="1001" y="87"/>
                    <a:pt x="1001" y="87"/>
                  </a:cubicBezTo>
                  <a:cubicBezTo>
                    <a:pt x="1000" y="87"/>
                    <a:pt x="1000" y="87"/>
                    <a:pt x="1000" y="87"/>
                  </a:cubicBezTo>
                  <a:cubicBezTo>
                    <a:pt x="1000" y="87"/>
                    <a:pt x="1000" y="87"/>
                    <a:pt x="1000" y="87"/>
                  </a:cubicBezTo>
                  <a:cubicBezTo>
                    <a:pt x="1000" y="87"/>
                    <a:pt x="1000" y="87"/>
                    <a:pt x="1000" y="87"/>
                  </a:cubicBezTo>
                  <a:cubicBezTo>
                    <a:pt x="999" y="87"/>
                    <a:pt x="999" y="87"/>
                    <a:pt x="999" y="87"/>
                  </a:cubicBezTo>
                  <a:cubicBezTo>
                    <a:pt x="999" y="87"/>
                    <a:pt x="999" y="87"/>
                    <a:pt x="999" y="87"/>
                  </a:cubicBezTo>
                  <a:cubicBezTo>
                    <a:pt x="998" y="87"/>
                    <a:pt x="998" y="87"/>
                    <a:pt x="998" y="87"/>
                  </a:cubicBezTo>
                  <a:cubicBezTo>
                    <a:pt x="998" y="87"/>
                    <a:pt x="998" y="87"/>
                    <a:pt x="998" y="87"/>
                  </a:cubicBezTo>
                  <a:cubicBezTo>
                    <a:pt x="997" y="87"/>
                    <a:pt x="997" y="87"/>
                    <a:pt x="997" y="87"/>
                  </a:cubicBezTo>
                  <a:cubicBezTo>
                    <a:pt x="997" y="87"/>
                    <a:pt x="997" y="87"/>
                    <a:pt x="997" y="87"/>
                  </a:cubicBezTo>
                  <a:cubicBezTo>
                    <a:pt x="998" y="86"/>
                    <a:pt x="998" y="86"/>
                    <a:pt x="998" y="86"/>
                  </a:cubicBezTo>
                  <a:cubicBezTo>
                    <a:pt x="998" y="86"/>
                    <a:pt x="998" y="86"/>
                    <a:pt x="998" y="86"/>
                  </a:cubicBezTo>
                  <a:cubicBezTo>
                    <a:pt x="998" y="86"/>
                    <a:pt x="998" y="86"/>
                    <a:pt x="998" y="86"/>
                  </a:cubicBezTo>
                  <a:cubicBezTo>
                    <a:pt x="998" y="86"/>
                    <a:pt x="998" y="86"/>
                    <a:pt x="998" y="86"/>
                  </a:cubicBezTo>
                  <a:cubicBezTo>
                    <a:pt x="998" y="85"/>
                    <a:pt x="998" y="85"/>
                    <a:pt x="998" y="85"/>
                  </a:cubicBezTo>
                  <a:cubicBezTo>
                    <a:pt x="998" y="85"/>
                    <a:pt x="998" y="85"/>
                    <a:pt x="998" y="85"/>
                  </a:cubicBezTo>
                  <a:cubicBezTo>
                    <a:pt x="998" y="85"/>
                    <a:pt x="998" y="85"/>
                    <a:pt x="998" y="85"/>
                  </a:cubicBezTo>
                  <a:cubicBezTo>
                    <a:pt x="998" y="85"/>
                    <a:pt x="998" y="85"/>
                    <a:pt x="998" y="85"/>
                  </a:cubicBezTo>
                  <a:cubicBezTo>
                    <a:pt x="997" y="85"/>
                    <a:pt x="997" y="85"/>
                    <a:pt x="997" y="85"/>
                  </a:cubicBezTo>
                  <a:cubicBezTo>
                    <a:pt x="997" y="85"/>
                    <a:pt x="997" y="85"/>
                    <a:pt x="997" y="85"/>
                  </a:cubicBezTo>
                  <a:cubicBezTo>
                    <a:pt x="997" y="85"/>
                    <a:pt x="997" y="85"/>
                    <a:pt x="997" y="85"/>
                  </a:cubicBezTo>
                  <a:cubicBezTo>
                    <a:pt x="997" y="85"/>
                    <a:pt x="997" y="85"/>
                    <a:pt x="997" y="85"/>
                  </a:cubicBezTo>
                  <a:cubicBezTo>
                    <a:pt x="997" y="85"/>
                    <a:pt x="997" y="85"/>
                    <a:pt x="997" y="85"/>
                  </a:cubicBezTo>
                  <a:cubicBezTo>
                    <a:pt x="997" y="85"/>
                    <a:pt x="997" y="85"/>
                    <a:pt x="997" y="85"/>
                  </a:cubicBezTo>
                  <a:cubicBezTo>
                    <a:pt x="997" y="85"/>
                    <a:pt x="997" y="85"/>
                    <a:pt x="997" y="85"/>
                  </a:cubicBezTo>
                  <a:cubicBezTo>
                    <a:pt x="997" y="84"/>
                    <a:pt x="997" y="84"/>
                    <a:pt x="997" y="84"/>
                  </a:cubicBezTo>
                  <a:cubicBezTo>
                    <a:pt x="996" y="84"/>
                    <a:pt x="995" y="85"/>
                    <a:pt x="994" y="84"/>
                  </a:cubicBezTo>
                  <a:cubicBezTo>
                    <a:pt x="994" y="84"/>
                    <a:pt x="994" y="84"/>
                    <a:pt x="994" y="84"/>
                  </a:cubicBezTo>
                  <a:cubicBezTo>
                    <a:pt x="994" y="84"/>
                    <a:pt x="994" y="84"/>
                    <a:pt x="994" y="84"/>
                  </a:cubicBezTo>
                  <a:cubicBezTo>
                    <a:pt x="994" y="84"/>
                    <a:pt x="994" y="84"/>
                    <a:pt x="994" y="84"/>
                  </a:cubicBezTo>
                  <a:cubicBezTo>
                    <a:pt x="994" y="84"/>
                    <a:pt x="994" y="84"/>
                    <a:pt x="994" y="84"/>
                  </a:cubicBezTo>
                  <a:cubicBezTo>
                    <a:pt x="994" y="84"/>
                    <a:pt x="994" y="84"/>
                    <a:pt x="994" y="84"/>
                  </a:cubicBezTo>
                  <a:cubicBezTo>
                    <a:pt x="994" y="84"/>
                    <a:pt x="994" y="84"/>
                    <a:pt x="994" y="84"/>
                  </a:cubicBezTo>
                  <a:cubicBezTo>
                    <a:pt x="992" y="84"/>
                    <a:pt x="993" y="83"/>
                    <a:pt x="992" y="83"/>
                  </a:cubicBezTo>
                  <a:cubicBezTo>
                    <a:pt x="991" y="83"/>
                    <a:pt x="991" y="83"/>
                    <a:pt x="991" y="83"/>
                  </a:cubicBezTo>
                  <a:cubicBezTo>
                    <a:pt x="991" y="83"/>
                    <a:pt x="991" y="83"/>
                    <a:pt x="991" y="83"/>
                  </a:cubicBezTo>
                  <a:cubicBezTo>
                    <a:pt x="990" y="83"/>
                    <a:pt x="991" y="83"/>
                    <a:pt x="990" y="83"/>
                  </a:cubicBezTo>
                  <a:cubicBezTo>
                    <a:pt x="989" y="83"/>
                    <a:pt x="989" y="83"/>
                    <a:pt x="989" y="83"/>
                  </a:cubicBezTo>
                  <a:cubicBezTo>
                    <a:pt x="989" y="82"/>
                    <a:pt x="989" y="82"/>
                    <a:pt x="989" y="82"/>
                  </a:cubicBezTo>
                  <a:cubicBezTo>
                    <a:pt x="989" y="82"/>
                    <a:pt x="989" y="82"/>
                    <a:pt x="989" y="82"/>
                  </a:cubicBezTo>
                  <a:cubicBezTo>
                    <a:pt x="989" y="82"/>
                    <a:pt x="989" y="82"/>
                    <a:pt x="989" y="82"/>
                  </a:cubicBezTo>
                  <a:cubicBezTo>
                    <a:pt x="989" y="82"/>
                    <a:pt x="989" y="82"/>
                    <a:pt x="989" y="82"/>
                  </a:cubicBezTo>
                  <a:cubicBezTo>
                    <a:pt x="989" y="82"/>
                    <a:pt x="989" y="82"/>
                    <a:pt x="989" y="82"/>
                  </a:cubicBezTo>
                  <a:cubicBezTo>
                    <a:pt x="988" y="83"/>
                    <a:pt x="988" y="83"/>
                    <a:pt x="988" y="83"/>
                  </a:cubicBezTo>
                  <a:cubicBezTo>
                    <a:pt x="986" y="84"/>
                    <a:pt x="986" y="84"/>
                    <a:pt x="986" y="84"/>
                  </a:cubicBezTo>
                  <a:cubicBezTo>
                    <a:pt x="986" y="84"/>
                    <a:pt x="986" y="84"/>
                    <a:pt x="986" y="84"/>
                  </a:cubicBezTo>
                  <a:cubicBezTo>
                    <a:pt x="985" y="84"/>
                    <a:pt x="985" y="84"/>
                    <a:pt x="985" y="84"/>
                  </a:cubicBezTo>
                  <a:cubicBezTo>
                    <a:pt x="985" y="84"/>
                    <a:pt x="985" y="84"/>
                    <a:pt x="985" y="84"/>
                  </a:cubicBezTo>
                  <a:cubicBezTo>
                    <a:pt x="985" y="84"/>
                    <a:pt x="986" y="84"/>
                    <a:pt x="985" y="83"/>
                  </a:cubicBezTo>
                  <a:cubicBezTo>
                    <a:pt x="985" y="83"/>
                    <a:pt x="985" y="83"/>
                    <a:pt x="985" y="83"/>
                  </a:cubicBezTo>
                  <a:cubicBezTo>
                    <a:pt x="985" y="83"/>
                    <a:pt x="985" y="83"/>
                    <a:pt x="985" y="83"/>
                  </a:cubicBezTo>
                  <a:cubicBezTo>
                    <a:pt x="985" y="83"/>
                    <a:pt x="985" y="83"/>
                    <a:pt x="985" y="83"/>
                  </a:cubicBezTo>
                  <a:cubicBezTo>
                    <a:pt x="985" y="83"/>
                    <a:pt x="985" y="83"/>
                    <a:pt x="985" y="83"/>
                  </a:cubicBezTo>
                  <a:cubicBezTo>
                    <a:pt x="985" y="83"/>
                    <a:pt x="985" y="83"/>
                    <a:pt x="985" y="83"/>
                  </a:cubicBezTo>
                  <a:cubicBezTo>
                    <a:pt x="984" y="83"/>
                    <a:pt x="984" y="83"/>
                    <a:pt x="984" y="83"/>
                  </a:cubicBezTo>
                  <a:cubicBezTo>
                    <a:pt x="984" y="83"/>
                    <a:pt x="984" y="83"/>
                    <a:pt x="984" y="83"/>
                  </a:cubicBezTo>
                  <a:cubicBezTo>
                    <a:pt x="985" y="84"/>
                    <a:pt x="985" y="84"/>
                    <a:pt x="985" y="84"/>
                  </a:cubicBezTo>
                  <a:cubicBezTo>
                    <a:pt x="985" y="85"/>
                    <a:pt x="985" y="85"/>
                    <a:pt x="985" y="85"/>
                  </a:cubicBezTo>
                  <a:cubicBezTo>
                    <a:pt x="985" y="85"/>
                    <a:pt x="985" y="85"/>
                    <a:pt x="985" y="85"/>
                  </a:cubicBezTo>
                  <a:cubicBezTo>
                    <a:pt x="985" y="85"/>
                    <a:pt x="985" y="85"/>
                    <a:pt x="985" y="85"/>
                  </a:cubicBezTo>
                  <a:cubicBezTo>
                    <a:pt x="985" y="85"/>
                    <a:pt x="985" y="85"/>
                    <a:pt x="985" y="85"/>
                  </a:cubicBezTo>
                  <a:cubicBezTo>
                    <a:pt x="985" y="85"/>
                    <a:pt x="985" y="85"/>
                    <a:pt x="985" y="85"/>
                  </a:cubicBezTo>
                  <a:cubicBezTo>
                    <a:pt x="984" y="86"/>
                    <a:pt x="983" y="86"/>
                    <a:pt x="983" y="86"/>
                  </a:cubicBezTo>
                  <a:cubicBezTo>
                    <a:pt x="983" y="86"/>
                    <a:pt x="983" y="86"/>
                    <a:pt x="983" y="86"/>
                  </a:cubicBezTo>
                  <a:cubicBezTo>
                    <a:pt x="982" y="86"/>
                    <a:pt x="982" y="86"/>
                    <a:pt x="982" y="86"/>
                  </a:cubicBezTo>
                  <a:cubicBezTo>
                    <a:pt x="982" y="86"/>
                    <a:pt x="982" y="86"/>
                    <a:pt x="982" y="86"/>
                  </a:cubicBezTo>
                  <a:cubicBezTo>
                    <a:pt x="982" y="86"/>
                    <a:pt x="982" y="86"/>
                    <a:pt x="982" y="86"/>
                  </a:cubicBezTo>
                  <a:cubicBezTo>
                    <a:pt x="982" y="86"/>
                    <a:pt x="982" y="86"/>
                    <a:pt x="982" y="86"/>
                  </a:cubicBezTo>
                  <a:cubicBezTo>
                    <a:pt x="982" y="86"/>
                    <a:pt x="982" y="86"/>
                    <a:pt x="982" y="86"/>
                  </a:cubicBezTo>
                  <a:cubicBezTo>
                    <a:pt x="981" y="86"/>
                    <a:pt x="981" y="86"/>
                    <a:pt x="981" y="86"/>
                  </a:cubicBezTo>
                  <a:cubicBezTo>
                    <a:pt x="981" y="86"/>
                    <a:pt x="981" y="86"/>
                    <a:pt x="981" y="86"/>
                  </a:cubicBezTo>
                  <a:cubicBezTo>
                    <a:pt x="982" y="85"/>
                    <a:pt x="982" y="85"/>
                    <a:pt x="982" y="85"/>
                  </a:cubicBezTo>
                  <a:cubicBezTo>
                    <a:pt x="981" y="85"/>
                    <a:pt x="981" y="85"/>
                    <a:pt x="981" y="85"/>
                  </a:cubicBezTo>
                  <a:cubicBezTo>
                    <a:pt x="981" y="85"/>
                    <a:pt x="981" y="85"/>
                    <a:pt x="981" y="85"/>
                  </a:cubicBezTo>
                  <a:cubicBezTo>
                    <a:pt x="981" y="85"/>
                    <a:pt x="981" y="85"/>
                    <a:pt x="981" y="85"/>
                  </a:cubicBezTo>
                  <a:cubicBezTo>
                    <a:pt x="981" y="85"/>
                    <a:pt x="981" y="85"/>
                    <a:pt x="981" y="85"/>
                  </a:cubicBezTo>
                  <a:cubicBezTo>
                    <a:pt x="981" y="85"/>
                    <a:pt x="981" y="85"/>
                    <a:pt x="981" y="85"/>
                  </a:cubicBezTo>
                  <a:cubicBezTo>
                    <a:pt x="981" y="85"/>
                    <a:pt x="981" y="85"/>
                    <a:pt x="981" y="85"/>
                  </a:cubicBezTo>
                  <a:cubicBezTo>
                    <a:pt x="981" y="84"/>
                    <a:pt x="981" y="84"/>
                    <a:pt x="981" y="84"/>
                  </a:cubicBezTo>
                  <a:cubicBezTo>
                    <a:pt x="981" y="84"/>
                    <a:pt x="981" y="84"/>
                    <a:pt x="981" y="84"/>
                  </a:cubicBezTo>
                  <a:cubicBezTo>
                    <a:pt x="981" y="84"/>
                    <a:pt x="981" y="84"/>
                    <a:pt x="981" y="84"/>
                  </a:cubicBezTo>
                  <a:cubicBezTo>
                    <a:pt x="981" y="84"/>
                    <a:pt x="981" y="84"/>
                    <a:pt x="981" y="84"/>
                  </a:cubicBezTo>
                  <a:cubicBezTo>
                    <a:pt x="981" y="84"/>
                    <a:pt x="981" y="84"/>
                    <a:pt x="981" y="84"/>
                  </a:cubicBezTo>
                  <a:cubicBezTo>
                    <a:pt x="980" y="84"/>
                    <a:pt x="980" y="84"/>
                    <a:pt x="980" y="84"/>
                  </a:cubicBezTo>
                  <a:cubicBezTo>
                    <a:pt x="980" y="85"/>
                    <a:pt x="980" y="85"/>
                    <a:pt x="980" y="85"/>
                  </a:cubicBezTo>
                  <a:cubicBezTo>
                    <a:pt x="980" y="85"/>
                    <a:pt x="980" y="85"/>
                    <a:pt x="980" y="85"/>
                  </a:cubicBezTo>
                  <a:cubicBezTo>
                    <a:pt x="980" y="85"/>
                    <a:pt x="980" y="85"/>
                    <a:pt x="980" y="85"/>
                  </a:cubicBezTo>
                  <a:cubicBezTo>
                    <a:pt x="979" y="85"/>
                    <a:pt x="979" y="85"/>
                    <a:pt x="979" y="85"/>
                  </a:cubicBezTo>
                  <a:cubicBezTo>
                    <a:pt x="979" y="85"/>
                    <a:pt x="979" y="85"/>
                    <a:pt x="979" y="85"/>
                  </a:cubicBezTo>
                  <a:cubicBezTo>
                    <a:pt x="979" y="85"/>
                    <a:pt x="979" y="85"/>
                    <a:pt x="979" y="85"/>
                  </a:cubicBezTo>
                  <a:cubicBezTo>
                    <a:pt x="978" y="87"/>
                    <a:pt x="978" y="87"/>
                    <a:pt x="978" y="87"/>
                  </a:cubicBezTo>
                  <a:cubicBezTo>
                    <a:pt x="978" y="87"/>
                    <a:pt x="978" y="87"/>
                    <a:pt x="978" y="87"/>
                  </a:cubicBezTo>
                  <a:cubicBezTo>
                    <a:pt x="979" y="88"/>
                    <a:pt x="979" y="88"/>
                    <a:pt x="979" y="88"/>
                  </a:cubicBezTo>
                  <a:cubicBezTo>
                    <a:pt x="979" y="89"/>
                    <a:pt x="979" y="89"/>
                    <a:pt x="979" y="89"/>
                  </a:cubicBezTo>
                  <a:cubicBezTo>
                    <a:pt x="979" y="89"/>
                    <a:pt x="979" y="89"/>
                    <a:pt x="979" y="89"/>
                  </a:cubicBezTo>
                  <a:cubicBezTo>
                    <a:pt x="979" y="89"/>
                    <a:pt x="979" y="89"/>
                    <a:pt x="979" y="89"/>
                  </a:cubicBezTo>
                  <a:cubicBezTo>
                    <a:pt x="979" y="89"/>
                    <a:pt x="979" y="89"/>
                    <a:pt x="979" y="89"/>
                  </a:cubicBezTo>
                  <a:cubicBezTo>
                    <a:pt x="978" y="89"/>
                    <a:pt x="978" y="89"/>
                    <a:pt x="978" y="89"/>
                  </a:cubicBezTo>
                  <a:cubicBezTo>
                    <a:pt x="978" y="89"/>
                    <a:pt x="978" y="89"/>
                    <a:pt x="978" y="89"/>
                  </a:cubicBezTo>
                  <a:cubicBezTo>
                    <a:pt x="978" y="89"/>
                    <a:pt x="978" y="89"/>
                    <a:pt x="978" y="89"/>
                  </a:cubicBezTo>
                  <a:cubicBezTo>
                    <a:pt x="978" y="90"/>
                    <a:pt x="978" y="90"/>
                    <a:pt x="978" y="90"/>
                  </a:cubicBezTo>
                  <a:cubicBezTo>
                    <a:pt x="978" y="90"/>
                    <a:pt x="978" y="90"/>
                    <a:pt x="978" y="90"/>
                  </a:cubicBezTo>
                  <a:cubicBezTo>
                    <a:pt x="978" y="90"/>
                    <a:pt x="978" y="90"/>
                    <a:pt x="978" y="90"/>
                  </a:cubicBezTo>
                  <a:cubicBezTo>
                    <a:pt x="979" y="90"/>
                    <a:pt x="979" y="90"/>
                    <a:pt x="979" y="90"/>
                  </a:cubicBezTo>
                  <a:cubicBezTo>
                    <a:pt x="979" y="90"/>
                    <a:pt x="979" y="90"/>
                    <a:pt x="979" y="90"/>
                  </a:cubicBezTo>
                  <a:cubicBezTo>
                    <a:pt x="979" y="91"/>
                    <a:pt x="979" y="91"/>
                    <a:pt x="979" y="91"/>
                  </a:cubicBezTo>
                  <a:cubicBezTo>
                    <a:pt x="980" y="91"/>
                    <a:pt x="980" y="91"/>
                    <a:pt x="980" y="91"/>
                  </a:cubicBezTo>
                  <a:cubicBezTo>
                    <a:pt x="980" y="92"/>
                    <a:pt x="980" y="92"/>
                    <a:pt x="980" y="92"/>
                  </a:cubicBezTo>
                  <a:cubicBezTo>
                    <a:pt x="980" y="93"/>
                    <a:pt x="980" y="93"/>
                    <a:pt x="980" y="93"/>
                  </a:cubicBezTo>
                  <a:cubicBezTo>
                    <a:pt x="981" y="93"/>
                    <a:pt x="981" y="93"/>
                    <a:pt x="981" y="93"/>
                  </a:cubicBezTo>
                  <a:cubicBezTo>
                    <a:pt x="981" y="94"/>
                    <a:pt x="981" y="94"/>
                    <a:pt x="981" y="94"/>
                  </a:cubicBezTo>
                  <a:cubicBezTo>
                    <a:pt x="981" y="94"/>
                    <a:pt x="981" y="94"/>
                    <a:pt x="981" y="94"/>
                  </a:cubicBezTo>
                  <a:cubicBezTo>
                    <a:pt x="981" y="94"/>
                    <a:pt x="981" y="94"/>
                    <a:pt x="981" y="94"/>
                  </a:cubicBezTo>
                  <a:cubicBezTo>
                    <a:pt x="982" y="94"/>
                    <a:pt x="982" y="94"/>
                    <a:pt x="982" y="94"/>
                  </a:cubicBezTo>
                  <a:cubicBezTo>
                    <a:pt x="982" y="94"/>
                    <a:pt x="982" y="94"/>
                    <a:pt x="982" y="94"/>
                  </a:cubicBezTo>
                  <a:cubicBezTo>
                    <a:pt x="982" y="94"/>
                    <a:pt x="982" y="94"/>
                    <a:pt x="982" y="94"/>
                  </a:cubicBezTo>
                  <a:cubicBezTo>
                    <a:pt x="981" y="94"/>
                    <a:pt x="981" y="94"/>
                    <a:pt x="981" y="94"/>
                  </a:cubicBezTo>
                  <a:cubicBezTo>
                    <a:pt x="979" y="95"/>
                    <a:pt x="979" y="95"/>
                    <a:pt x="979" y="95"/>
                  </a:cubicBezTo>
                  <a:cubicBezTo>
                    <a:pt x="979" y="95"/>
                    <a:pt x="979" y="95"/>
                    <a:pt x="979" y="95"/>
                  </a:cubicBezTo>
                  <a:cubicBezTo>
                    <a:pt x="979" y="97"/>
                    <a:pt x="979" y="97"/>
                    <a:pt x="979" y="97"/>
                  </a:cubicBezTo>
                  <a:cubicBezTo>
                    <a:pt x="979" y="97"/>
                    <a:pt x="977" y="100"/>
                    <a:pt x="976" y="99"/>
                  </a:cubicBezTo>
                  <a:cubicBezTo>
                    <a:pt x="976" y="99"/>
                    <a:pt x="976" y="99"/>
                    <a:pt x="976" y="99"/>
                  </a:cubicBezTo>
                  <a:cubicBezTo>
                    <a:pt x="976" y="99"/>
                    <a:pt x="976" y="99"/>
                    <a:pt x="976" y="99"/>
                  </a:cubicBezTo>
                  <a:cubicBezTo>
                    <a:pt x="974" y="98"/>
                    <a:pt x="971" y="99"/>
                    <a:pt x="969" y="98"/>
                  </a:cubicBezTo>
                  <a:cubicBezTo>
                    <a:pt x="965" y="99"/>
                    <a:pt x="965" y="99"/>
                    <a:pt x="965" y="99"/>
                  </a:cubicBezTo>
                  <a:cubicBezTo>
                    <a:pt x="945" y="98"/>
                    <a:pt x="945" y="98"/>
                    <a:pt x="945" y="98"/>
                  </a:cubicBezTo>
                  <a:cubicBezTo>
                    <a:pt x="942" y="98"/>
                    <a:pt x="942" y="98"/>
                    <a:pt x="942" y="98"/>
                  </a:cubicBezTo>
                  <a:cubicBezTo>
                    <a:pt x="941" y="98"/>
                    <a:pt x="941" y="98"/>
                    <a:pt x="941" y="98"/>
                  </a:cubicBezTo>
                  <a:cubicBezTo>
                    <a:pt x="929" y="94"/>
                    <a:pt x="929" y="94"/>
                    <a:pt x="929" y="94"/>
                  </a:cubicBezTo>
                  <a:cubicBezTo>
                    <a:pt x="929" y="94"/>
                    <a:pt x="929" y="94"/>
                    <a:pt x="929" y="94"/>
                  </a:cubicBezTo>
                  <a:cubicBezTo>
                    <a:pt x="929" y="93"/>
                    <a:pt x="929" y="93"/>
                    <a:pt x="929" y="93"/>
                  </a:cubicBezTo>
                  <a:cubicBezTo>
                    <a:pt x="928" y="91"/>
                    <a:pt x="928" y="91"/>
                    <a:pt x="928" y="91"/>
                  </a:cubicBezTo>
                  <a:cubicBezTo>
                    <a:pt x="929" y="89"/>
                    <a:pt x="929" y="89"/>
                    <a:pt x="929" y="89"/>
                  </a:cubicBezTo>
                  <a:cubicBezTo>
                    <a:pt x="930" y="89"/>
                    <a:pt x="930" y="89"/>
                    <a:pt x="930" y="89"/>
                  </a:cubicBezTo>
                  <a:cubicBezTo>
                    <a:pt x="931" y="88"/>
                    <a:pt x="931" y="88"/>
                    <a:pt x="931" y="88"/>
                  </a:cubicBezTo>
                  <a:cubicBezTo>
                    <a:pt x="933" y="88"/>
                    <a:pt x="933" y="88"/>
                    <a:pt x="933" y="88"/>
                  </a:cubicBezTo>
                  <a:cubicBezTo>
                    <a:pt x="934" y="88"/>
                    <a:pt x="934" y="88"/>
                    <a:pt x="934" y="88"/>
                  </a:cubicBezTo>
                  <a:cubicBezTo>
                    <a:pt x="934" y="88"/>
                    <a:pt x="934" y="88"/>
                    <a:pt x="934" y="88"/>
                  </a:cubicBezTo>
                  <a:cubicBezTo>
                    <a:pt x="934" y="88"/>
                    <a:pt x="934" y="88"/>
                    <a:pt x="934" y="88"/>
                  </a:cubicBezTo>
                  <a:cubicBezTo>
                    <a:pt x="934" y="88"/>
                    <a:pt x="934" y="88"/>
                    <a:pt x="934" y="88"/>
                  </a:cubicBezTo>
                  <a:cubicBezTo>
                    <a:pt x="934" y="88"/>
                    <a:pt x="934" y="88"/>
                    <a:pt x="934" y="88"/>
                  </a:cubicBezTo>
                  <a:cubicBezTo>
                    <a:pt x="933" y="88"/>
                    <a:pt x="933" y="88"/>
                    <a:pt x="933" y="88"/>
                  </a:cubicBezTo>
                  <a:cubicBezTo>
                    <a:pt x="933" y="88"/>
                    <a:pt x="933" y="88"/>
                    <a:pt x="933" y="88"/>
                  </a:cubicBezTo>
                  <a:cubicBezTo>
                    <a:pt x="933" y="87"/>
                    <a:pt x="932" y="87"/>
                    <a:pt x="931" y="87"/>
                  </a:cubicBezTo>
                  <a:cubicBezTo>
                    <a:pt x="931" y="87"/>
                    <a:pt x="931" y="87"/>
                    <a:pt x="931" y="87"/>
                  </a:cubicBezTo>
                  <a:cubicBezTo>
                    <a:pt x="930" y="87"/>
                    <a:pt x="930" y="87"/>
                    <a:pt x="930" y="87"/>
                  </a:cubicBezTo>
                  <a:cubicBezTo>
                    <a:pt x="930" y="87"/>
                    <a:pt x="929" y="87"/>
                    <a:pt x="928" y="87"/>
                  </a:cubicBezTo>
                  <a:cubicBezTo>
                    <a:pt x="928" y="87"/>
                    <a:pt x="928" y="87"/>
                    <a:pt x="928" y="87"/>
                  </a:cubicBezTo>
                  <a:cubicBezTo>
                    <a:pt x="928" y="87"/>
                    <a:pt x="928" y="87"/>
                    <a:pt x="928" y="87"/>
                  </a:cubicBezTo>
                  <a:cubicBezTo>
                    <a:pt x="928" y="87"/>
                    <a:pt x="928" y="87"/>
                    <a:pt x="928" y="87"/>
                  </a:cubicBezTo>
                  <a:cubicBezTo>
                    <a:pt x="926" y="87"/>
                    <a:pt x="925" y="86"/>
                    <a:pt x="924" y="86"/>
                  </a:cubicBezTo>
                  <a:cubicBezTo>
                    <a:pt x="923" y="86"/>
                    <a:pt x="923" y="86"/>
                    <a:pt x="923" y="86"/>
                  </a:cubicBezTo>
                  <a:cubicBezTo>
                    <a:pt x="923" y="86"/>
                    <a:pt x="923" y="86"/>
                    <a:pt x="923" y="86"/>
                  </a:cubicBezTo>
                  <a:cubicBezTo>
                    <a:pt x="923" y="86"/>
                    <a:pt x="923" y="86"/>
                    <a:pt x="923" y="86"/>
                  </a:cubicBezTo>
                  <a:cubicBezTo>
                    <a:pt x="923" y="86"/>
                    <a:pt x="923" y="86"/>
                    <a:pt x="923" y="86"/>
                  </a:cubicBezTo>
                  <a:cubicBezTo>
                    <a:pt x="921" y="87"/>
                    <a:pt x="920" y="86"/>
                    <a:pt x="918" y="86"/>
                  </a:cubicBezTo>
                  <a:cubicBezTo>
                    <a:pt x="918" y="86"/>
                    <a:pt x="918" y="86"/>
                    <a:pt x="918" y="86"/>
                  </a:cubicBezTo>
                  <a:cubicBezTo>
                    <a:pt x="917" y="86"/>
                    <a:pt x="917" y="86"/>
                    <a:pt x="917" y="86"/>
                  </a:cubicBezTo>
                  <a:cubicBezTo>
                    <a:pt x="916" y="86"/>
                    <a:pt x="915" y="86"/>
                    <a:pt x="914" y="86"/>
                  </a:cubicBezTo>
                  <a:cubicBezTo>
                    <a:pt x="914" y="86"/>
                    <a:pt x="914" y="86"/>
                    <a:pt x="914" y="86"/>
                  </a:cubicBezTo>
                  <a:cubicBezTo>
                    <a:pt x="914" y="86"/>
                    <a:pt x="914" y="86"/>
                    <a:pt x="914" y="86"/>
                  </a:cubicBezTo>
                  <a:cubicBezTo>
                    <a:pt x="914" y="86"/>
                    <a:pt x="914" y="86"/>
                    <a:pt x="914" y="86"/>
                  </a:cubicBezTo>
                  <a:cubicBezTo>
                    <a:pt x="914" y="86"/>
                    <a:pt x="914" y="86"/>
                    <a:pt x="914" y="86"/>
                  </a:cubicBezTo>
                  <a:cubicBezTo>
                    <a:pt x="913" y="86"/>
                    <a:pt x="913" y="86"/>
                    <a:pt x="913" y="86"/>
                  </a:cubicBezTo>
                  <a:cubicBezTo>
                    <a:pt x="912" y="85"/>
                    <a:pt x="912" y="85"/>
                    <a:pt x="912" y="85"/>
                  </a:cubicBezTo>
                  <a:cubicBezTo>
                    <a:pt x="911" y="85"/>
                    <a:pt x="911" y="85"/>
                    <a:pt x="911" y="85"/>
                  </a:cubicBezTo>
                  <a:cubicBezTo>
                    <a:pt x="910" y="85"/>
                    <a:pt x="910" y="85"/>
                    <a:pt x="910" y="85"/>
                  </a:cubicBezTo>
                  <a:cubicBezTo>
                    <a:pt x="910" y="85"/>
                    <a:pt x="910" y="85"/>
                    <a:pt x="910" y="85"/>
                  </a:cubicBezTo>
                  <a:cubicBezTo>
                    <a:pt x="898" y="84"/>
                    <a:pt x="898" y="84"/>
                    <a:pt x="898" y="84"/>
                  </a:cubicBezTo>
                  <a:cubicBezTo>
                    <a:pt x="898" y="84"/>
                    <a:pt x="898" y="84"/>
                    <a:pt x="898" y="84"/>
                  </a:cubicBezTo>
                  <a:cubicBezTo>
                    <a:pt x="897" y="84"/>
                    <a:pt x="897" y="84"/>
                    <a:pt x="897" y="84"/>
                  </a:cubicBezTo>
                  <a:cubicBezTo>
                    <a:pt x="897" y="84"/>
                    <a:pt x="897" y="84"/>
                    <a:pt x="897" y="84"/>
                  </a:cubicBezTo>
                  <a:cubicBezTo>
                    <a:pt x="896" y="84"/>
                    <a:pt x="896" y="84"/>
                    <a:pt x="896" y="84"/>
                  </a:cubicBezTo>
                  <a:cubicBezTo>
                    <a:pt x="896" y="84"/>
                    <a:pt x="896" y="84"/>
                    <a:pt x="896" y="84"/>
                  </a:cubicBezTo>
                  <a:cubicBezTo>
                    <a:pt x="896" y="84"/>
                    <a:pt x="896" y="84"/>
                    <a:pt x="896" y="84"/>
                  </a:cubicBezTo>
                  <a:cubicBezTo>
                    <a:pt x="895" y="85"/>
                    <a:pt x="893" y="85"/>
                    <a:pt x="893" y="86"/>
                  </a:cubicBezTo>
                  <a:cubicBezTo>
                    <a:pt x="893" y="86"/>
                    <a:pt x="893" y="86"/>
                    <a:pt x="893" y="86"/>
                  </a:cubicBezTo>
                  <a:cubicBezTo>
                    <a:pt x="892" y="86"/>
                    <a:pt x="892" y="86"/>
                    <a:pt x="892" y="86"/>
                  </a:cubicBezTo>
                  <a:cubicBezTo>
                    <a:pt x="892" y="86"/>
                    <a:pt x="892" y="86"/>
                    <a:pt x="892" y="86"/>
                  </a:cubicBezTo>
                  <a:cubicBezTo>
                    <a:pt x="890" y="86"/>
                    <a:pt x="887" y="86"/>
                    <a:pt x="884" y="86"/>
                  </a:cubicBezTo>
                  <a:cubicBezTo>
                    <a:pt x="884" y="86"/>
                    <a:pt x="884" y="86"/>
                    <a:pt x="884" y="86"/>
                  </a:cubicBezTo>
                  <a:cubicBezTo>
                    <a:pt x="884" y="86"/>
                    <a:pt x="884" y="86"/>
                    <a:pt x="884" y="86"/>
                  </a:cubicBezTo>
                  <a:cubicBezTo>
                    <a:pt x="884" y="86"/>
                    <a:pt x="883" y="87"/>
                    <a:pt x="883" y="87"/>
                  </a:cubicBezTo>
                  <a:cubicBezTo>
                    <a:pt x="883" y="87"/>
                    <a:pt x="883" y="87"/>
                    <a:pt x="883" y="87"/>
                  </a:cubicBezTo>
                  <a:cubicBezTo>
                    <a:pt x="883" y="87"/>
                    <a:pt x="883" y="87"/>
                    <a:pt x="883" y="87"/>
                  </a:cubicBezTo>
                  <a:cubicBezTo>
                    <a:pt x="883" y="87"/>
                    <a:pt x="883" y="87"/>
                    <a:pt x="883" y="87"/>
                  </a:cubicBezTo>
                  <a:cubicBezTo>
                    <a:pt x="883" y="87"/>
                    <a:pt x="883" y="87"/>
                    <a:pt x="883" y="87"/>
                  </a:cubicBezTo>
                  <a:cubicBezTo>
                    <a:pt x="882" y="87"/>
                    <a:pt x="882" y="87"/>
                    <a:pt x="882" y="87"/>
                  </a:cubicBezTo>
                  <a:cubicBezTo>
                    <a:pt x="881" y="88"/>
                    <a:pt x="879" y="88"/>
                    <a:pt x="878" y="88"/>
                  </a:cubicBezTo>
                  <a:cubicBezTo>
                    <a:pt x="878" y="88"/>
                    <a:pt x="878" y="88"/>
                    <a:pt x="878" y="88"/>
                  </a:cubicBezTo>
                  <a:cubicBezTo>
                    <a:pt x="878" y="88"/>
                    <a:pt x="878" y="88"/>
                    <a:pt x="878" y="88"/>
                  </a:cubicBezTo>
                  <a:cubicBezTo>
                    <a:pt x="878" y="88"/>
                    <a:pt x="878" y="88"/>
                    <a:pt x="878" y="88"/>
                  </a:cubicBezTo>
                  <a:cubicBezTo>
                    <a:pt x="878" y="89"/>
                    <a:pt x="878" y="89"/>
                    <a:pt x="878" y="89"/>
                  </a:cubicBezTo>
                  <a:cubicBezTo>
                    <a:pt x="879" y="89"/>
                    <a:pt x="879" y="89"/>
                    <a:pt x="879" y="89"/>
                  </a:cubicBezTo>
                  <a:cubicBezTo>
                    <a:pt x="879" y="89"/>
                    <a:pt x="879" y="89"/>
                    <a:pt x="879" y="89"/>
                  </a:cubicBezTo>
                  <a:cubicBezTo>
                    <a:pt x="879" y="90"/>
                    <a:pt x="879" y="90"/>
                    <a:pt x="880" y="90"/>
                  </a:cubicBezTo>
                  <a:cubicBezTo>
                    <a:pt x="880" y="90"/>
                    <a:pt x="880" y="90"/>
                    <a:pt x="880" y="90"/>
                  </a:cubicBezTo>
                  <a:cubicBezTo>
                    <a:pt x="880" y="90"/>
                    <a:pt x="880" y="90"/>
                    <a:pt x="880" y="90"/>
                  </a:cubicBezTo>
                  <a:cubicBezTo>
                    <a:pt x="880" y="91"/>
                    <a:pt x="880" y="91"/>
                    <a:pt x="880" y="91"/>
                  </a:cubicBezTo>
                  <a:cubicBezTo>
                    <a:pt x="880" y="91"/>
                    <a:pt x="880" y="91"/>
                    <a:pt x="880" y="91"/>
                  </a:cubicBezTo>
                  <a:cubicBezTo>
                    <a:pt x="881" y="91"/>
                    <a:pt x="881" y="91"/>
                    <a:pt x="881" y="91"/>
                  </a:cubicBezTo>
                  <a:cubicBezTo>
                    <a:pt x="881" y="91"/>
                    <a:pt x="881" y="91"/>
                    <a:pt x="881" y="91"/>
                  </a:cubicBezTo>
                  <a:cubicBezTo>
                    <a:pt x="880" y="91"/>
                    <a:pt x="880" y="91"/>
                    <a:pt x="880" y="91"/>
                  </a:cubicBezTo>
                  <a:cubicBezTo>
                    <a:pt x="879" y="93"/>
                    <a:pt x="879" y="93"/>
                    <a:pt x="879" y="93"/>
                  </a:cubicBezTo>
                  <a:cubicBezTo>
                    <a:pt x="878" y="93"/>
                    <a:pt x="878" y="93"/>
                    <a:pt x="878" y="93"/>
                  </a:cubicBezTo>
                  <a:cubicBezTo>
                    <a:pt x="876" y="90"/>
                    <a:pt x="876" y="90"/>
                    <a:pt x="876" y="90"/>
                  </a:cubicBezTo>
                  <a:cubicBezTo>
                    <a:pt x="875" y="89"/>
                    <a:pt x="875" y="89"/>
                    <a:pt x="875" y="89"/>
                  </a:cubicBezTo>
                  <a:cubicBezTo>
                    <a:pt x="875" y="89"/>
                    <a:pt x="875" y="89"/>
                    <a:pt x="875" y="89"/>
                  </a:cubicBezTo>
                  <a:cubicBezTo>
                    <a:pt x="875" y="88"/>
                    <a:pt x="875" y="88"/>
                    <a:pt x="875" y="88"/>
                  </a:cubicBezTo>
                  <a:cubicBezTo>
                    <a:pt x="875" y="88"/>
                    <a:pt x="875" y="88"/>
                    <a:pt x="875" y="88"/>
                  </a:cubicBezTo>
                  <a:cubicBezTo>
                    <a:pt x="875" y="88"/>
                    <a:pt x="875" y="88"/>
                    <a:pt x="875" y="88"/>
                  </a:cubicBezTo>
                  <a:cubicBezTo>
                    <a:pt x="876" y="87"/>
                    <a:pt x="876" y="87"/>
                    <a:pt x="876" y="87"/>
                  </a:cubicBezTo>
                  <a:cubicBezTo>
                    <a:pt x="876" y="87"/>
                    <a:pt x="876" y="87"/>
                    <a:pt x="876" y="87"/>
                  </a:cubicBezTo>
                  <a:cubicBezTo>
                    <a:pt x="876" y="87"/>
                    <a:pt x="876" y="87"/>
                    <a:pt x="876" y="87"/>
                  </a:cubicBezTo>
                  <a:cubicBezTo>
                    <a:pt x="877" y="86"/>
                    <a:pt x="877" y="86"/>
                    <a:pt x="877" y="86"/>
                  </a:cubicBezTo>
                  <a:cubicBezTo>
                    <a:pt x="877" y="86"/>
                    <a:pt x="877" y="86"/>
                    <a:pt x="877" y="86"/>
                  </a:cubicBezTo>
                  <a:cubicBezTo>
                    <a:pt x="877" y="85"/>
                    <a:pt x="877" y="85"/>
                    <a:pt x="877" y="85"/>
                  </a:cubicBezTo>
                  <a:cubicBezTo>
                    <a:pt x="877" y="85"/>
                    <a:pt x="877" y="85"/>
                    <a:pt x="877" y="85"/>
                  </a:cubicBezTo>
                  <a:cubicBezTo>
                    <a:pt x="877" y="84"/>
                    <a:pt x="877" y="84"/>
                    <a:pt x="877" y="84"/>
                  </a:cubicBezTo>
                  <a:cubicBezTo>
                    <a:pt x="877" y="84"/>
                    <a:pt x="877" y="84"/>
                    <a:pt x="877" y="84"/>
                  </a:cubicBezTo>
                  <a:cubicBezTo>
                    <a:pt x="877" y="84"/>
                    <a:pt x="877" y="84"/>
                    <a:pt x="877" y="84"/>
                  </a:cubicBezTo>
                  <a:cubicBezTo>
                    <a:pt x="876" y="83"/>
                    <a:pt x="876" y="83"/>
                    <a:pt x="876" y="83"/>
                  </a:cubicBezTo>
                  <a:cubicBezTo>
                    <a:pt x="876" y="83"/>
                    <a:pt x="876" y="83"/>
                    <a:pt x="876" y="83"/>
                  </a:cubicBezTo>
                  <a:cubicBezTo>
                    <a:pt x="876" y="83"/>
                    <a:pt x="876" y="83"/>
                    <a:pt x="876" y="83"/>
                  </a:cubicBezTo>
                  <a:cubicBezTo>
                    <a:pt x="875" y="81"/>
                    <a:pt x="875" y="81"/>
                    <a:pt x="873" y="80"/>
                  </a:cubicBezTo>
                  <a:cubicBezTo>
                    <a:pt x="872" y="79"/>
                    <a:pt x="872" y="79"/>
                    <a:pt x="872" y="79"/>
                  </a:cubicBezTo>
                  <a:cubicBezTo>
                    <a:pt x="872" y="78"/>
                    <a:pt x="872" y="78"/>
                    <a:pt x="872" y="78"/>
                  </a:cubicBezTo>
                  <a:cubicBezTo>
                    <a:pt x="871" y="78"/>
                    <a:pt x="871" y="78"/>
                    <a:pt x="871" y="78"/>
                  </a:cubicBezTo>
                  <a:cubicBezTo>
                    <a:pt x="871" y="78"/>
                    <a:pt x="871" y="78"/>
                    <a:pt x="871" y="78"/>
                  </a:cubicBezTo>
                  <a:cubicBezTo>
                    <a:pt x="871" y="78"/>
                    <a:pt x="871" y="78"/>
                    <a:pt x="871" y="78"/>
                  </a:cubicBezTo>
                  <a:cubicBezTo>
                    <a:pt x="871" y="79"/>
                    <a:pt x="872" y="81"/>
                    <a:pt x="873" y="82"/>
                  </a:cubicBezTo>
                  <a:cubicBezTo>
                    <a:pt x="873" y="82"/>
                    <a:pt x="873" y="82"/>
                    <a:pt x="873" y="82"/>
                  </a:cubicBezTo>
                  <a:cubicBezTo>
                    <a:pt x="873" y="82"/>
                    <a:pt x="873" y="82"/>
                    <a:pt x="873" y="82"/>
                  </a:cubicBezTo>
                  <a:cubicBezTo>
                    <a:pt x="873" y="82"/>
                    <a:pt x="873" y="82"/>
                    <a:pt x="873" y="82"/>
                  </a:cubicBezTo>
                  <a:cubicBezTo>
                    <a:pt x="873" y="83"/>
                    <a:pt x="873" y="83"/>
                    <a:pt x="873" y="83"/>
                  </a:cubicBezTo>
                  <a:cubicBezTo>
                    <a:pt x="872" y="83"/>
                    <a:pt x="872" y="83"/>
                    <a:pt x="872" y="83"/>
                  </a:cubicBezTo>
                  <a:cubicBezTo>
                    <a:pt x="872" y="83"/>
                    <a:pt x="872" y="83"/>
                    <a:pt x="872" y="83"/>
                  </a:cubicBezTo>
                  <a:cubicBezTo>
                    <a:pt x="872" y="83"/>
                    <a:pt x="872" y="83"/>
                    <a:pt x="872" y="83"/>
                  </a:cubicBezTo>
                  <a:cubicBezTo>
                    <a:pt x="872" y="83"/>
                    <a:pt x="872" y="83"/>
                    <a:pt x="872" y="83"/>
                  </a:cubicBezTo>
                  <a:cubicBezTo>
                    <a:pt x="872" y="83"/>
                    <a:pt x="872" y="83"/>
                    <a:pt x="872" y="83"/>
                  </a:cubicBezTo>
                  <a:cubicBezTo>
                    <a:pt x="872" y="84"/>
                    <a:pt x="872" y="84"/>
                    <a:pt x="872" y="84"/>
                  </a:cubicBezTo>
                  <a:cubicBezTo>
                    <a:pt x="871" y="84"/>
                    <a:pt x="871" y="84"/>
                    <a:pt x="871" y="84"/>
                  </a:cubicBezTo>
                  <a:cubicBezTo>
                    <a:pt x="871" y="84"/>
                    <a:pt x="871" y="84"/>
                    <a:pt x="871" y="84"/>
                  </a:cubicBezTo>
                  <a:cubicBezTo>
                    <a:pt x="871" y="84"/>
                    <a:pt x="871" y="84"/>
                    <a:pt x="871" y="84"/>
                  </a:cubicBezTo>
                  <a:cubicBezTo>
                    <a:pt x="869" y="84"/>
                    <a:pt x="868" y="84"/>
                    <a:pt x="867" y="84"/>
                  </a:cubicBezTo>
                  <a:cubicBezTo>
                    <a:pt x="866" y="84"/>
                    <a:pt x="866" y="84"/>
                    <a:pt x="866" y="84"/>
                  </a:cubicBezTo>
                  <a:cubicBezTo>
                    <a:pt x="866" y="84"/>
                    <a:pt x="866" y="84"/>
                    <a:pt x="866" y="84"/>
                  </a:cubicBezTo>
                  <a:cubicBezTo>
                    <a:pt x="856" y="81"/>
                    <a:pt x="856" y="81"/>
                    <a:pt x="856" y="81"/>
                  </a:cubicBezTo>
                  <a:cubicBezTo>
                    <a:pt x="855" y="81"/>
                    <a:pt x="855" y="81"/>
                    <a:pt x="855" y="81"/>
                  </a:cubicBezTo>
                  <a:cubicBezTo>
                    <a:pt x="856" y="81"/>
                    <a:pt x="856" y="81"/>
                    <a:pt x="856" y="81"/>
                  </a:cubicBezTo>
                  <a:cubicBezTo>
                    <a:pt x="856" y="80"/>
                    <a:pt x="858" y="78"/>
                    <a:pt x="857" y="77"/>
                  </a:cubicBezTo>
                  <a:cubicBezTo>
                    <a:pt x="857" y="77"/>
                    <a:pt x="856" y="77"/>
                    <a:pt x="855" y="77"/>
                  </a:cubicBezTo>
                  <a:cubicBezTo>
                    <a:pt x="854" y="78"/>
                    <a:pt x="854" y="78"/>
                    <a:pt x="853" y="78"/>
                  </a:cubicBezTo>
                  <a:cubicBezTo>
                    <a:pt x="849" y="78"/>
                    <a:pt x="846" y="78"/>
                    <a:pt x="842" y="78"/>
                  </a:cubicBezTo>
                  <a:cubicBezTo>
                    <a:pt x="842" y="78"/>
                    <a:pt x="837" y="81"/>
                    <a:pt x="837" y="82"/>
                  </a:cubicBezTo>
                  <a:cubicBezTo>
                    <a:pt x="837" y="83"/>
                    <a:pt x="839" y="85"/>
                    <a:pt x="839" y="85"/>
                  </a:cubicBezTo>
                  <a:cubicBezTo>
                    <a:pt x="840" y="85"/>
                    <a:pt x="840" y="84"/>
                    <a:pt x="840" y="84"/>
                  </a:cubicBezTo>
                  <a:cubicBezTo>
                    <a:pt x="841" y="84"/>
                    <a:pt x="842" y="84"/>
                    <a:pt x="843" y="84"/>
                  </a:cubicBezTo>
                  <a:cubicBezTo>
                    <a:pt x="845" y="84"/>
                    <a:pt x="846" y="84"/>
                    <a:pt x="848" y="83"/>
                  </a:cubicBezTo>
                  <a:cubicBezTo>
                    <a:pt x="849" y="83"/>
                    <a:pt x="851" y="83"/>
                    <a:pt x="851" y="83"/>
                  </a:cubicBezTo>
                  <a:cubicBezTo>
                    <a:pt x="851" y="84"/>
                    <a:pt x="851" y="84"/>
                    <a:pt x="851" y="84"/>
                  </a:cubicBezTo>
                  <a:cubicBezTo>
                    <a:pt x="852" y="84"/>
                    <a:pt x="852" y="84"/>
                    <a:pt x="852" y="84"/>
                  </a:cubicBezTo>
                  <a:cubicBezTo>
                    <a:pt x="842" y="88"/>
                    <a:pt x="842" y="88"/>
                    <a:pt x="842" y="88"/>
                  </a:cubicBezTo>
                  <a:cubicBezTo>
                    <a:pt x="835" y="87"/>
                    <a:pt x="835" y="87"/>
                    <a:pt x="835" y="87"/>
                  </a:cubicBezTo>
                  <a:cubicBezTo>
                    <a:pt x="834" y="87"/>
                    <a:pt x="834" y="87"/>
                    <a:pt x="834" y="87"/>
                  </a:cubicBezTo>
                  <a:cubicBezTo>
                    <a:pt x="834" y="87"/>
                    <a:pt x="834" y="87"/>
                    <a:pt x="834" y="87"/>
                  </a:cubicBezTo>
                  <a:cubicBezTo>
                    <a:pt x="834" y="88"/>
                    <a:pt x="834" y="88"/>
                    <a:pt x="834" y="88"/>
                  </a:cubicBezTo>
                  <a:cubicBezTo>
                    <a:pt x="834" y="88"/>
                    <a:pt x="834" y="88"/>
                    <a:pt x="834" y="88"/>
                  </a:cubicBezTo>
                  <a:cubicBezTo>
                    <a:pt x="834" y="88"/>
                    <a:pt x="834" y="88"/>
                    <a:pt x="834" y="88"/>
                  </a:cubicBezTo>
                  <a:cubicBezTo>
                    <a:pt x="834" y="90"/>
                    <a:pt x="834" y="90"/>
                    <a:pt x="834" y="90"/>
                  </a:cubicBezTo>
                  <a:cubicBezTo>
                    <a:pt x="834" y="90"/>
                    <a:pt x="834" y="90"/>
                    <a:pt x="834" y="90"/>
                  </a:cubicBezTo>
                  <a:cubicBezTo>
                    <a:pt x="821" y="93"/>
                    <a:pt x="821" y="93"/>
                    <a:pt x="821" y="93"/>
                  </a:cubicBezTo>
                  <a:cubicBezTo>
                    <a:pt x="821" y="94"/>
                    <a:pt x="821" y="94"/>
                    <a:pt x="821" y="94"/>
                  </a:cubicBezTo>
                  <a:cubicBezTo>
                    <a:pt x="802" y="96"/>
                    <a:pt x="802" y="96"/>
                    <a:pt x="802" y="96"/>
                  </a:cubicBezTo>
                  <a:cubicBezTo>
                    <a:pt x="803" y="97"/>
                    <a:pt x="803" y="97"/>
                    <a:pt x="803" y="97"/>
                  </a:cubicBezTo>
                  <a:cubicBezTo>
                    <a:pt x="803" y="98"/>
                    <a:pt x="803" y="98"/>
                    <a:pt x="803" y="98"/>
                  </a:cubicBezTo>
                  <a:cubicBezTo>
                    <a:pt x="803" y="99"/>
                    <a:pt x="803" y="99"/>
                    <a:pt x="803" y="99"/>
                  </a:cubicBezTo>
                  <a:cubicBezTo>
                    <a:pt x="803" y="99"/>
                    <a:pt x="803" y="99"/>
                    <a:pt x="803" y="99"/>
                  </a:cubicBezTo>
                  <a:cubicBezTo>
                    <a:pt x="791" y="103"/>
                    <a:pt x="791" y="103"/>
                    <a:pt x="791" y="103"/>
                  </a:cubicBezTo>
                  <a:cubicBezTo>
                    <a:pt x="791" y="103"/>
                    <a:pt x="791" y="103"/>
                    <a:pt x="791" y="103"/>
                  </a:cubicBezTo>
                  <a:cubicBezTo>
                    <a:pt x="791" y="102"/>
                    <a:pt x="791" y="102"/>
                    <a:pt x="791" y="102"/>
                  </a:cubicBezTo>
                  <a:cubicBezTo>
                    <a:pt x="796" y="100"/>
                    <a:pt x="796" y="100"/>
                    <a:pt x="796" y="100"/>
                  </a:cubicBezTo>
                  <a:cubicBezTo>
                    <a:pt x="798" y="99"/>
                    <a:pt x="798" y="99"/>
                    <a:pt x="799" y="98"/>
                  </a:cubicBezTo>
                  <a:cubicBezTo>
                    <a:pt x="799" y="98"/>
                    <a:pt x="799" y="98"/>
                    <a:pt x="799" y="98"/>
                  </a:cubicBezTo>
                  <a:cubicBezTo>
                    <a:pt x="799" y="98"/>
                    <a:pt x="799" y="98"/>
                    <a:pt x="799" y="98"/>
                  </a:cubicBezTo>
                  <a:cubicBezTo>
                    <a:pt x="799" y="98"/>
                    <a:pt x="799" y="98"/>
                    <a:pt x="799" y="98"/>
                  </a:cubicBezTo>
                  <a:cubicBezTo>
                    <a:pt x="799" y="98"/>
                    <a:pt x="799" y="98"/>
                    <a:pt x="799" y="98"/>
                  </a:cubicBezTo>
                  <a:cubicBezTo>
                    <a:pt x="799" y="98"/>
                    <a:pt x="799" y="98"/>
                    <a:pt x="799" y="98"/>
                  </a:cubicBezTo>
                  <a:cubicBezTo>
                    <a:pt x="799" y="97"/>
                    <a:pt x="799" y="97"/>
                    <a:pt x="799" y="97"/>
                  </a:cubicBezTo>
                  <a:cubicBezTo>
                    <a:pt x="799" y="97"/>
                    <a:pt x="799" y="97"/>
                    <a:pt x="799" y="97"/>
                  </a:cubicBezTo>
                  <a:cubicBezTo>
                    <a:pt x="799" y="97"/>
                    <a:pt x="799" y="97"/>
                    <a:pt x="799" y="97"/>
                  </a:cubicBezTo>
                  <a:cubicBezTo>
                    <a:pt x="800" y="96"/>
                    <a:pt x="800" y="96"/>
                    <a:pt x="800" y="96"/>
                  </a:cubicBezTo>
                  <a:cubicBezTo>
                    <a:pt x="801" y="94"/>
                    <a:pt x="801" y="94"/>
                    <a:pt x="801" y="94"/>
                  </a:cubicBezTo>
                  <a:cubicBezTo>
                    <a:pt x="801" y="93"/>
                    <a:pt x="801" y="93"/>
                    <a:pt x="801" y="93"/>
                  </a:cubicBezTo>
                  <a:cubicBezTo>
                    <a:pt x="802" y="92"/>
                    <a:pt x="802" y="92"/>
                    <a:pt x="802" y="92"/>
                  </a:cubicBezTo>
                  <a:cubicBezTo>
                    <a:pt x="802" y="92"/>
                    <a:pt x="802" y="92"/>
                    <a:pt x="802" y="92"/>
                  </a:cubicBezTo>
                  <a:cubicBezTo>
                    <a:pt x="802" y="92"/>
                    <a:pt x="802" y="92"/>
                    <a:pt x="802" y="92"/>
                  </a:cubicBezTo>
                  <a:cubicBezTo>
                    <a:pt x="803" y="92"/>
                    <a:pt x="803" y="92"/>
                    <a:pt x="803" y="92"/>
                  </a:cubicBezTo>
                  <a:cubicBezTo>
                    <a:pt x="803" y="92"/>
                    <a:pt x="803" y="92"/>
                    <a:pt x="803" y="92"/>
                  </a:cubicBezTo>
                  <a:cubicBezTo>
                    <a:pt x="803" y="92"/>
                    <a:pt x="803" y="92"/>
                    <a:pt x="803" y="92"/>
                  </a:cubicBezTo>
                  <a:cubicBezTo>
                    <a:pt x="803" y="92"/>
                    <a:pt x="803" y="92"/>
                    <a:pt x="803" y="92"/>
                  </a:cubicBezTo>
                  <a:cubicBezTo>
                    <a:pt x="804" y="92"/>
                    <a:pt x="804" y="92"/>
                    <a:pt x="804" y="92"/>
                  </a:cubicBezTo>
                  <a:cubicBezTo>
                    <a:pt x="804" y="92"/>
                    <a:pt x="804" y="92"/>
                    <a:pt x="804" y="92"/>
                  </a:cubicBezTo>
                  <a:cubicBezTo>
                    <a:pt x="805" y="92"/>
                    <a:pt x="805" y="92"/>
                    <a:pt x="805" y="92"/>
                  </a:cubicBezTo>
                  <a:cubicBezTo>
                    <a:pt x="806" y="92"/>
                    <a:pt x="806" y="92"/>
                    <a:pt x="806" y="92"/>
                  </a:cubicBezTo>
                  <a:cubicBezTo>
                    <a:pt x="808" y="91"/>
                    <a:pt x="808" y="91"/>
                    <a:pt x="808" y="91"/>
                  </a:cubicBezTo>
                  <a:cubicBezTo>
                    <a:pt x="809" y="91"/>
                    <a:pt x="809" y="91"/>
                    <a:pt x="809" y="91"/>
                  </a:cubicBezTo>
                  <a:cubicBezTo>
                    <a:pt x="809" y="91"/>
                    <a:pt x="809" y="91"/>
                    <a:pt x="809" y="91"/>
                  </a:cubicBezTo>
                  <a:cubicBezTo>
                    <a:pt x="809" y="91"/>
                    <a:pt x="809" y="91"/>
                    <a:pt x="809" y="91"/>
                  </a:cubicBezTo>
                  <a:cubicBezTo>
                    <a:pt x="809" y="91"/>
                    <a:pt x="809" y="91"/>
                    <a:pt x="809" y="91"/>
                  </a:cubicBezTo>
                  <a:cubicBezTo>
                    <a:pt x="810" y="90"/>
                    <a:pt x="810" y="90"/>
                    <a:pt x="810" y="90"/>
                  </a:cubicBezTo>
                  <a:cubicBezTo>
                    <a:pt x="810" y="89"/>
                    <a:pt x="810" y="89"/>
                    <a:pt x="810" y="89"/>
                  </a:cubicBezTo>
                  <a:cubicBezTo>
                    <a:pt x="812" y="87"/>
                    <a:pt x="812" y="87"/>
                    <a:pt x="812" y="87"/>
                  </a:cubicBezTo>
                  <a:cubicBezTo>
                    <a:pt x="812" y="86"/>
                    <a:pt x="812" y="86"/>
                    <a:pt x="812" y="86"/>
                  </a:cubicBezTo>
                  <a:cubicBezTo>
                    <a:pt x="813" y="86"/>
                    <a:pt x="813" y="86"/>
                    <a:pt x="813" y="86"/>
                  </a:cubicBezTo>
                  <a:cubicBezTo>
                    <a:pt x="813" y="86"/>
                    <a:pt x="813" y="86"/>
                    <a:pt x="813" y="86"/>
                  </a:cubicBezTo>
                  <a:cubicBezTo>
                    <a:pt x="813" y="86"/>
                    <a:pt x="813" y="86"/>
                    <a:pt x="813" y="86"/>
                  </a:cubicBezTo>
                  <a:cubicBezTo>
                    <a:pt x="814" y="86"/>
                    <a:pt x="814" y="86"/>
                    <a:pt x="814" y="86"/>
                  </a:cubicBezTo>
                  <a:cubicBezTo>
                    <a:pt x="814" y="86"/>
                    <a:pt x="814" y="86"/>
                    <a:pt x="814" y="86"/>
                  </a:cubicBezTo>
                  <a:cubicBezTo>
                    <a:pt x="814" y="86"/>
                    <a:pt x="814" y="86"/>
                    <a:pt x="814" y="86"/>
                  </a:cubicBezTo>
                  <a:cubicBezTo>
                    <a:pt x="815" y="86"/>
                    <a:pt x="815" y="86"/>
                    <a:pt x="815" y="86"/>
                  </a:cubicBezTo>
                  <a:cubicBezTo>
                    <a:pt x="815" y="86"/>
                    <a:pt x="815" y="86"/>
                    <a:pt x="815" y="86"/>
                  </a:cubicBezTo>
                  <a:cubicBezTo>
                    <a:pt x="815" y="86"/>
                    <a:pt x="815" y="86"/>
                    <a:pt x="815" y="86"/>
                  </a:cubicBezTo>
                  <a:cubicBezTo>
                    <a:pt x="815" y="86"/>
                    <a:pt x="815" y="86"/>
                    <a:pt x="815" y="86"/>
                  </a:cubicBezTo>
                  <a:cubicBezTo>
                    <a:pt x="816" y="86"/>
                    <a:pt x="816" y="86"/>
                    <a:pt x="817" y="86"/>
                  </a:cubicBezTo>
                  <a:cubicBezTo>
                    <a:pt x="817" y="86"/>
                    <a:pt x="817" y="86"/>
                    <a:pt x="817" y="86"/>
                  </a:cubicBezTo>
                  <a:cubicBezTo>
                    <a:pt x="841" y="75"/>
                    <a:pt x="841" y="75"/>
                    <a:pt x="841" y="75"/>
                  </a:cubicBezTo>
                  <a:cubicBezTo>
                    <a:pt x="841" y="74"/>
                    <a:pt x="841" y="74"/>
                    <a:pt x="841" y="74"/>
                  </a:cubicBezTo>
                  <a:cubicBezTo>
                    <a:pt x="841" y="74"/>
                    <a:pt x="841" y="74"/>
                    <a:pt x="841" y="74"/>
                  </a:cubicBezTo>
                  <a:cubicBezTo>
                    <a:pt x="842" y="74"/>
                    <a:pt x="842" y="74"/>
                    <a:pt x="842" y="74"/>
                  </a:cubicBezTo>
                  <a:cubicBezTo>
                    <a:pt x="842" y="73"/>
                    <a:pt x="842" y="73"/>
                    <a:pt x="842" y="73"/>
                  </a:cubicBezTo>
                  <a:cubicBezTo>
                    <a:pt x="842" y="73"/>
                    <a:pt x="842" y="73"/>
                    <a:pt x="842" y="73"/>
                  </a:cubicBezTo>
                  <a:cubicBezTo>
                    <a:pt x="842" y="73"/>
                    <a:pt x="842" y="73"/>
                    <a:pt x="842" y="72"/>
                  </a:cubicBezTo>
                  <a:cubicBezTo>
                    <a:pt x="842" y="72"/>
                    <a:pt x="842" y="72"/>
                    <a:pt x="842" y="72"/>
                  </a:cubicBezTo>
                  <a:cubicBezTo>
                    <a:pt x="842" y="72"/>
                    <a:pt x="842" y="72"/>
                    <a:pt x="842" y="72"/>
                  </a:cubicBezTo>
                  <a:cubicBezTo>
                    <a:pt x="842" y="72"/>
                    <a:pt x="842" y="72"/>
                    <a:pt x="842" y="72"/>
                  </a:cubicBezTo>
                  <a:cubicBezTo>
                    <a:pt x="841" y="72"/>
                    <a:pt x="841" y="72"/>
                    <a:pt x="841" y="72"/>
                  </a:cubicBezTo>
                  <a:cubicBezTo>
                    <a:pt x="841" y="72"/>
                    <a:pt x="841" y="72"/>
                    <a:pt x="841" y="72"/>
                  </a:cubicBezTo>
                  <a:cubicBezTo>
                    <a:pt x="841" y="72"/>
                    <a:pt x="841" y="72"/>
                    <a:pt x="841" y="72"/>
                  </a:cubicBezTo>
                  <a:cubicBezTo>
                    <a:pt x="841" y="72"/>
                    <a:pt x="841" y="72"/>
                    <a:pt x="841" y="72"/>
                  </a:cubicBezTo>
                  <a:cubicBezTo>
                    <a:pt x="840" y="72"/>
                    <a:pt x="840" y="72"/>
                    <a:pt x="840" y="72"/>
                  </a:cubicBezTo>
                  <a:cubicBezTo>
                    <a:pt x="840" y="72"/>
                    <a:pt x="840" y="72"/>
                    <a:pt x="840" y="72"/>
                  </a:cubicBezTo>
                  <a:cubicBezTo>
                    <a:pt x="838" y="72"/>
                    <a:pt x="838" y="72"/>
                    <a:pt x="838" y="72"/>
                  </a:cubicBezTo>
                  <a:cubicBezTo>
                    <a:pt x="838" y="72"/>
                    <a:pt x="838" y="72"/>
                    <a:pt x="838" y="72"/>
                  </a:cubicBezTo>
                  <a:cubicBezTo>
                    <a:pt x="838" y="72"/>
                    <a:pt x="838" y="72"/>
                    <a:pt x="838" y="72"/>
                  </a:cubicBezTo>
                  <a:cubicBezTo>
                    <a:pt x="839" y="72"/>
                    <a:pt x="839" y="72"/>
                    <a:pt x="839" y="72"/>
                  </a:cubicBezTo>
                  <a:cubicBezTo>
                    <a:pt x="839" y="72"/>
                    <a:pt x="839" y="72"/>
                    <a:pt x="839" y="72"/>
                  </a:cubicBezTo>
                  <a:cubicBezTo>
                    <a:pt x="840" y="71"/>
                    <a:pt x="840" y="71"/>
                    <a:pt x="840" y="71"/>
                  </a:cubicBezTo>
                  <a:cubicBezTo>
                    <a:pt x="841" y="71"/>
                    <a:pt x="841" y="71"/>
                    <a:pt x="841" y="71"/>
                  </a:cubicBezTo>
                  <a:cubicBezTo>
                    <a:pt x="844" y="69"/>
                    <a:pt x="844" y="69"/>
                    <a:pt x="844" y="69"/>
                  </a:cubicBezTo>
                  <a:cubicBezTo>
                    <a:pt x="845" y="69"/>
                    <a:pt x="845" y="69"/>
                    <a:pt x="845" y="69"/>
                  </a:cubicBezTo>
                  <a:cubicBezTo>
                    <a:pt x="846" y="68"/>
                    <a:pt x="846" y="68"/>
                    <a:pt x="846" y="68"/>
                  </a:cubicBezTo>
                  <a:cubicBezTo>
                    <a:pt x="846" y="68"/>
                    <a:pt x="846" y="68"/>
                    <a:pt x="846" y="68"/>
                  </a:cubicBezTo>
                  <a:cubicBezTo>
                    <a:pt x="846" y="68"/>
                    <a:pt x="846" y="68"/>
                    <a:pt x="846" y="68"/>
                  </a:cubicBezTo>
                  <a:cubicBezTo>
                    <a:pt x="846" y="68"/>
                    <a:pt x="846" y="68"/>
                    <a:pt x="846" y="68"/>
                  </a:cubicBezTo>
                  <a:cubicBezTo>
                    <a:pt x="847" y="68"/>
                    <a:pt x="847" y="68"/>
                    <a:pt x="847" y="68"/>
                  </a:cubicBezTo>
                  <a:cubicBezTo>
                    <a:pt x="847" y="69"/>
                    <a:pt x="847" y="69"/>
                    <a:pt x="847" y="69"/>
                  </a:cubicBezTo>
                  <a:cubicBezTo>
                    <a:pt x="847" y="69"/>
                    <a:pt x="847" y="69"/>
                    <a:pt x="847" y="69"/>
                  </a:cubicBezTo>
                  <a:cubicBezTo>
                    <a:pt x="847" y="69"/>
                    <a:pt x="847" y="69"/>
                    <a:pt x="847" y="69"/>
                  </a:cubicBezTo>
                  <a:cubicBezTo>
                    <a:pt x="848" y="69"/>
                    <a:pt x="848" y="69"/>
                    <a:pt x="848" y="69"/>
                  </a:cubicBezTo>
                  <a:cubicBezTo>
                    <a:pt x="877" y="54"/>
                    <a:pt x="877" y="54"/>
                    <a:pt x="877" y="54"/>
                  </a:cubicBezTo>
                  <a:cubicBezTo>
                    <a:pt x="877" y="54"/>
                    <a:pt x="877" y="54"/>
                    <a:pt x="877" y="54"/>
                  </a:cubicBezTo>
                  <a:cubicBezTo>
                    <a:pt x="878" y="53"/>
                    <a:pt x="878" y="53"/>
                    <a:pt x="878" y="53"/>
                  </a:cubicBezTo>
                  <a:cubicBezTo>
                    <a:pt x="879" y="53"/>
                    <a:pt x="879" y="53"/>
                    <a:pt x="879" y="53"/>
                  </a:cubicBezTo>
                  <a:cubicBezTo>
                    <a:pt x="879" y="52"/>
                    <a:pt x="879" y="52"/>
                    <a:pt x="879" y="52"/>
                  </a:cubicBezTo>
                  <a:cubicBezTo>
                    <a:pt x="879" y="52"/>
                    <a:pt x="879" y="52"/>
                    <a:pt x="879" y="52"/>
                  </a:cubicBezTo>
                  <a:cubicBezTo>
                    <a:pt x="879" y="52"/>
                    <a:pt x="879" y="52"/>
                    <a:pt x="879" y="52"/>
                  </a:cubicBezTo>
                  <a:cubicBezTo>
                    <a:pt x="879" y="52"/>
                    <a:pt x="879" y="52"/>
                    <a:pt x="879" y="52"/>
                  </a:cubicBezTo>
                  <a:cubicBezTo>
                    <a:pt x="879" y="52"/>
                    <a:pt x="880" y="51"/>
                    <a:pt x="880" y="51"/>
                  </a:cubicBezTo>
                  <a:cubicBezTo>
                    <a:pt x="880" y="51"/>
                    <a:pt x="880" y="51"/>
                    <a:pt x="880" y="51"/>
                  </a:cubicBezTo>
                  <a:cubicBezTo>
                    <a:pt x="880" y="51"/>
                    <a:pt x="880" y="51"/>
                    <a:pt x="880" y="51"/>
                  </a:cubicBezTo>
                  <a:cubicBezTo>
                    <a:pt x="880" y="50"/>
                    <a:pt x="880" y="50"/>
                    <a:pt x="880" y="49"/>
                  </a:cubicBezTo>
                  <a:cubicBezTo>
                    <a:pt x="880" y="49"/>
                    <a:pt x="880" y="49"/>
                    <a:pt x="880" y="49"/>
                  </a:cubicBezTo>
                  <a:cubicBezTo>
                    <a:pt x="880" y="49"/>
                    <a:pt x="880" y="49"/>
                    <a:pt x="880" y="49"/>
                  </a:cubicBezTo>
                  <a:cubicBezTo>
                    <a:pt x="880" y="49"/>
                    <a:pt x="880" y="49"/>
                    <a:pt x="880" y="49"/>
                  </a:cubicBezTo>
                  <a:cubicBezTo>
                    <a:pt x="880" y="49"/>
                    <a:pt x="880" y="49"/>
                    <a:pt x="880" y="49"/>
                  </a:cubicBezTo>
                  <a:cubicBezTo>
                    <a:pt x="880" y="49"/>
                    <a:pt x="880" y="49"/>
                    <a:pt x="880" y="49"/>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7"/>
                    <a:pt x="880" y="47"/>
                    <a:pt x="880" y="47"/>
                  </a:cubicBezTo>
                  <a:cubicBezTo>
                    <a:pt x="880" y="47"/>
                    <a:pt x="880" y="47"/>
                    <a:pt x="880" y="47"/>
                  </a:cubicBezTo>
                  <a:cubicBezTo>
                    <a:pt x="879" y="48"/>
                    <a:pt x="879" y="48"/>
                    <a:pt x="878" y="48"/>
                  </a:cubicBezTo>
                  <a:cubicBezTo>
                    <a:pt x="878" y="47"/>
                    <a:pt x="878" y="47"/>
                    <a:pt x="878" y="47"/>
                  </a:cubicBezTo>
                  <a:cubicBezTo>
                    <a:pt x="878" y="47"/>
                    <a:pt x="878" y="47"/>
                    <a:pt x="878" y="47"/>
                  </a:cubicBezTo>
                  <a:cubicBezTo>
                    <a:pt x="877" y="47"/>
                    <a:pt x="877" y="47"/>
                    <a:pt x="877" y="47"/>
                  </a:cubicBezTo>
                  <a:cubicBezTo>
                    <a:pt x="877" y="47"/>
                    <a:pt x="877" y="47"/>
                    <a:pt x="877" y="47"/>
                  </a:cubicBezTo>
                  <a:cubicBezTo>
                    <a:pt x="876" y="47"/>
                    <a:pt x="876" y="47"/>
                    <a:pt x="876" y="47"/>
                  </a:cubicBezTo>
                  <a:cubicBezTo>
                    <a:pt x="876" y="47"/>
                    <a:pt x="876" y="47"/>
                    <a:pt x="876" y="47"/>
                  </a:cubicBezTo>
                  <a:cubicBezTo>
                    <a:pt x="876" y="46"/>
                    <a:pt x="876" y="46"/>
                    <a:pt x="876" y="46"/>
                  </a:cubicBezTo>
                  <a:cubicBezTo>
                    <a:pt x="876" y="46"/>
                    <a:pt x="876" y="46"/>
                    <a:pt x="876" y="46"/>
                  </a:cubicBezTo>
                  <a:cubicBezTo>
                    <a:pt x="876" y="46"/>
                    <a:pt x="876" y="46"/>
                    <a:pt x="876" y="46"/>
                  </a:cubicBezTo>
                  <a:cubicBezTo>
                    <a:pt x="876" y="46"/>
                    <a:pt x="876" y="46"/>
                    <a:pt x="876" y="46"/>
                  </a:cubicBezTo>
                  <a:cubicBezTo>
                    <a:pt x="876" y="46"/>
                    <a:pt x="876" y="46"/>
                    <a:pt x="876" y="46"/>
                  </a:cubicBezTo>
                  <a:cubicBezTo>
                    <a:pt x="876" y="46"/>
                    <a:pt x="876" y="46"/>
                    <a:pt x="876" y="46"/>
                  </a:cubicBezTo>
                  <a:cubicBezTo>
                    <a:pt x="876" y="46"/>
                    <a:pt x="876" y="46"/>
                    <a:pt x="876" y="46"/>
                  </a:cubicBezTo>
                  <a:cubicBezTo>
                    <a:pt x="876" y="45"/>
                    <a:pt x="876" y="45"/>
                    <a:pt x="876" y="45"/>
                  </a:cubicBezTo>
                  <a:cubicBezTo>
                    <a:pt x="876" y="45"/>
                    <a:pt x="876" y="45"/>
                    <a:pt x="876" y="45"/>
                  </a:cubicBezTo>
                  <a:cubicBezTo>
                    <a:pt x="876" y="45"/>
                    <a:pt x="876" y="45"/>
                    <a:pt x="876" y="45"/>
                  </a:cubicBezTo>
                  <a:cubicBezTo>
                    <a:pt x="876" y="45"/>
                    <a:pt x="876" y="45"/>
                    <a:pt x="876" y="45"/>
                  </a:cubicBezTo>
                  <a:cubicBezTo>
                    <a:pt x="875" y="45"/>
                    <a:pt x="875" y="45"/>
                    <a:pt x="875" y="45"/>
                  </a:cubicBezTo>
                  <a:cubicBezTo>
                    <a:pt x="874" y="46"/>
                    <a:pt x="874" y="46"/>
                    <a:pt x="874" y="46"/>
                  </a:cubicBezTo>
                  <a:cubicBezTo>
                    <a:pt x="873" y="47"/>
                    <a:pt x="873" y="47"/>
                    <a:pt x="873" y="47"/>
                  </a:cubicBezTo>
                  <a:cubicBezTo>
                    <a:pt x="873" y="47"/>
                    <a:pt x="873" y="47"/>
                    <a:pt x="873" y="47"/>
                  </a:cubicBezTo>
                  <a:cubicBezTo>
                    <a:pt x="873" y="47"/>
                    <a:pt x="873" y="47"/>
                    <a:pt x="873" y="47"/>
                  </a:cubicBezTo>
                  <a:cubicBezTo>
                    <a:pt x="873" y="47"/>
                    <a:pt x="873" y="47"/>
                    <a:pt x="873" y="47"/>
                  </a:cubicBezTo>
                  <a:cubicBezTo>
                    <a:pt x="873" y="47"/>
                    <a:pt x="873" y="47"/>
                    <a:pt x="873" y="47"/>
                  </a:cubicBezTo>
                  <a:cubicBezTo>
                    <a:pt x="873" y="47"/>
                    <a:pt x="873" y="47"/>
                    <a:pt x="873" y="47"/>
                  </a:cubicBezTo>
                  <a:cubicBezTo>
                    <a:pt x="873" y="47"/>
                    <a:pt x="873" y="47"/>
                    <a:pt x="873" y="47"/>
                  </a:cubicBezTo>
                  <a:cubicBezTo>
                    <a:pt x="872" y="47"/>
                    <a:pt x="872" y="47"/>
                    <a:pt x="872" y="47"/>
                  </a:cubicBezTo>
                  <a:cubicBezTo>
                    <a:pt x="872" y="47"/>
                    <a:pt x="872" y="47"/>
                    <a:pt x="872" y="47"/>
                  </a:cubicBezTo>
                  <a:cubicBezTo>
                    <a:pt x="872" y="47"/>
                    <a:pt x="872" y="47"/>
                    <a:pt x="872" y="47"/>
                  </a:cubicBezTo>
                  <a:cubicBezTo>
                    <a:pt x="872" y="47"/>
                    <a:pt x="872" y="47"/>
                    <a:pt x="872" y="47"/>
                  </a:cubicBezTo>
                  <a:cubicBezTo>
                    <a:pt x="871" y="47"/>
                    <a:pt x="871" y="47"/>
                    <a:pt x="871" y="47"/>
                  </a:cubicBezTo>
                  <a:cubicBezTo>
                    <a:pt x="871" y="47"/>
                    <a:pt x="871" y="47"/>
                    <a:pt x="871" y="47"/>
                  </a:cubicBezTo>
                  <a:cubicBezTo>
                    <a:pt x="871" y="47"/>
                    <a:pt x="871" y="47"/>
                    <a:pt x="871" y="47"/>
                  </a:cubicBezTo>
                  <a:cubicBezTo>
                    <a:pt x="871" y="46"/>
                    <a:pt x="871" y="46"/>
                    <a:pt x="871" y="46"/>
                  </a:cubicBezTo>
                  <a:cubicBezTo>
                    <a:pt x="871" y="46"/>
                    <a:pt x="871" y="46"/>
                    <a:pt x="871" y="46"/>
                  </a:cubicBezTo>
                  <a:cubicBezTo>
                    <a:pt x="871" y="46"/>
                    <a:pt x="871" y="46"/>
                    <a:pt x="871" y="46"/>
                  </a:cubicBezTo>
                  <a:cubicBezTo>
                    <a:pt x="871" y="46"/>
                    <a:pt x="871" y="46"/>
                    <a:pt x="871" y="46"/>
                  </a:cubicBezTo>
                  <a:cubicBezTo>
                    <a:pt x="871" y="46"/>
                    <a:pt x="871" y="46"/>
                    <a:pt x="871" y="46"/>
                  </a:cubicBezTo>
                  <a:cubicBezTo>
                    <a:pt x="871" y="45"/>
                    <a:pt x="871" y="45"/>
                    <a:pt x="871" y="45"/>
                  </a:cubicBezTo>
                  <a:cubicBezTo>
                    <a:pt x="872" y="45"/>
                    <a:pt x="872" y="45"/>
                    <a:pt x="872" y="45"/>
                  </a:cubicBezTo>
                  <a:cubicBezTo>
                    <a:pt x="871" y="44"/>
                    <a:pt x="871" y="44"/>
                    <a:pt x="871" y="44"/>
                  </a:cubicBezTo>
                  <a:cubicBezTo>
                    <a:pt x="871" y="44"/>
                    <a:pt x="871" y="44"/>
                    <a:pt x="871" y="44"/>
                  </a:cubicBezTo>
                  <a:cubicBezTo>
                    <a:pt x="871" y="44"/>
                    <a:pt x="871" y="44"/>
                    <a:pt x="871" y="44"/>
                  </a:cubicBezTo>
                  <a:cubicBezTo>
                    <a:pt x="871" y="44"/>
                    <a:pt x="871" y="44"/>
                    <a:pt x="871" y="44"/>
                  </a:cubicBezTo>
                  <a:cubicBezTo>
                    <a:pt x="871" y="44"/>
                    <a:pt x="871" y="44"/>
                    <a:pt x="871" y="44"/>
                  </a:cubicBezTo>
                  <a:cubicBezTo>
                    <a:pt x="871" y="44"/>
                    <a:pt x="871" y="44"/>
                    <a:pt x="871" y="44"/>
                  </a:cubicBezTo>
                  <a:cubicBezTo>
                    <a:pt x="872" y="44"/>
                    <a:pt x="872" y="44"/>
                    <a:pt x="872" y="44"/>
                  </a:cubicBezTo>
                  <a:cubicBezTo>
                    <a:pt x="872" y="44"/>
                    <a:pt x="872" y="44"/>
                    <a:pt x="872" y="44"/>
                  </a:cubicBezTo>
                  <a:cubicBezTo>
                    <a:pt x="872" y="44"/>
                    <a:pt x="872" y="44"/>
                    <a:pt x="872" y="44"/>
                  </a:cubicBezTo>
                  <a:cubicBezTo>
                    <a:pt x="872" y="43"/>
                    <a:pt x="872" y="43"/>
                    <a:pt x="872" y="43"/>
                  </a:cubicBezTo>
                  <a:cubicBezTo>
                    <a:pt x="871" y="43"/>
                    <a:pt x="871" y="43"/>
                    <a:pt x="871" y="43"/>
                  </a:cubicBezTo>
                  <a:cubicBezTo>
                    <a:pt x="871" y="43"/>
                    <a:pt x="871" y="43"/>
                    <a:pt x="871" y="43"/>
                  </a:cubicBezTo>
                  <a:cubicBezTo>
                    <a:pt x="871" y="43"/>
                    <a:pt x="871" y="43"/>
                    <a:pt x="871" y="43"/>
                  </a:cubicBezTo>
                  <a:cubicBezTo>
                    <a:pt x="871" y="43"/>
                    <a:pt x="871" y="43"/>
                    <a:pt x="871" y="43"/>
                  </a:cubicBezTo>
                  <a:cubicBezTo>
                    <a:pt x="871" y="43"/>
                    <a:pt x="871" y="43"/>
                    <a:pt x="871" y="43"/>
                  </a:cubicBezTo>
                  <a:cubicBezTo>
                    <a:pt x="871" y="43"/>
                    <a:pt x="871" y="43"/>
                    <a:pt x="871" y="43"/>
                  </a:cubicBezTo>
                  <a:cubicBezTo>
                    <a:pt x="870" y="43"/>
                    <a:pt x="870" y="43"/>
                    <a:pt x="870" y="43"/>
                  </a:cubicBezTo>
                  <a:cubicBezTo>
                    <a:pt x="870" y="43"/>
                    <a:pt x="870" y="43"/>
                    <a:pt x="870" y="43"/>
                  </a:cubicBezTo>
                  <a:cubicBezTo>
                    <a:pt x="870" y="42"/>
                    <a:pt x="870" y="42"/>
                    <a:pt x="870" y="42"/>
                  </a:cubicBezTo>
                  <a:cubicBezTo>
                    <a:pt x="870" y="42"/>
                    <a:pt x="870" y="42"/>
                    <a:pt x="870" y="42"/>
                  </a:cubicBezTo>
                  <a:cubicBezTo>
                    <a:pt x="870" y="42"/>
                    <a:pt x="870" y="42"/>
                    <a:pt x="870" y="42"/>
                  </a:cubicBezTo>
                  <a:cubicBezTo>
                    <a:pt x="869" y="42"/>
                    <a:pt x="869" y="42"/>
                    <a:pt x="869" y="42"/>
                  </a:cubicBezTo>
                  <a:cubicBezTo>
                    <a:pt x="868" y="42"/>
                    <a:pt x="868" y="42"/>
                    <a:pt x="867" y="41"/>
                  </a:cubicBezTo>
                  <a:cubicBezTo>
                    <a:pt x="867" y="41"/>
                    <a:pt x="867" y="41"/>
                    <a:pt x="867" y="41"/>
                  </a:cubicBezTo>
                  <a:cubicBezTo>
                    <a:pt x="867" y="41"/>
                    <a:pt x="867" y="41"/>
                    <a:pt x="867" y="41"/>
                  </a:cubicBezTo>
                  <a:cubicBezTo>
                    <a:pt x="867" y="40"/>
                    <a:pt x="867" y="40"/>
                    <a:pt x="867" y="40"/>
                  </a:cubicBezTo>
                  <a:cubicBezTo>
                    <a:pt x="867" y="40"/>
                    <a:pt x="867" y="40"/>
                    <a:pt x="867" y="40"/>
                  </a:cubicBezTo>
                  <a:cubicBezTo>
                    <a:pt x="867" y="40"/>
                    <a:pt x="867" y="40"/>
                    <a:pt x="867" y="40"/>
                  </a:cubicBezTo>
                  <a:cubicBezTo>
                    <a:pt x="869" y="41"/>
                    <a:pt x="869" y="41"/>
                    <a:pt x="871" y="42"/>
                  </a:cubicBezTo>
                  <a:cubicBezTo>
                    <a:pt x="871" y="42"/>
                    <a:pt x="871" y="42"/>
                    <a:pt x="871" y="42"/>
                  </a:cubicBezTo>
                  <a:cubicBezTo>
                    <a:pt x="871" y="42"/>
                    <a:pt x="871" y="42"/>
                    <a:pt x="871" y="42"/>
                  </a:cubicBezTo>
                  <a:cubicBezTo>
                    <a:pt x="872" y="42"/>
                    <a:pt x="873" y="43"/>
                    <a:pt x="874" y="43"/>
                  </a:cubicBezTo>
                  <a:cubicBezTo>
                    <a:pt x="874" y="43"/>
                    <a:pt x="874" y="43"/>
                    <a:pt x="874" y="43"/>
                  </a:cubicBezTo>
                  <a:cubicBezTo>
                    <a:pt x="874" y="43"/>
                    <a:pt x="874" y="43"/>
                    <a:pt x="874" y="43"/>
                  </a:cubicBezTo>
                  <a:cubicBezTo>
                    <a:pt x="874" y="43"/>
                    <a:pt x="874" y="43"/>
                    <a:pt x="874" y="43"/>
                  </a:cubicBezTo>
                  <a:cubicBezTo>
                    <a:pt x="874" y="44"/>
                    <a:pt x="874" y="44"/>
                    <a:pt x="874" y="44"/>
                  </a:cubicBezTo>
                  <a:cubicBezTo>
                    <a:pt x="874" y="44"/>
                    <a:pt x="874" y="44"/>
                    <a:pt x="874" y="44"/>
                  </a:cubicBezTo>
                  <a:cubicBezTo>
                    <a:pt x="874" y="44"/>
                    <a:pt x="874" y="44"/>
                    <a:pt x="874" y="44"/>
                  </a:cubicBezTo>
                  <a:cubicBezTo>
                    <a:pt x="874" y="44"/>
                    <a:pt x="874" y="44"/>
                    <a:pt x="874" y="44"/>
                  </a:cubicBezTo>
                  <a:cubicBezTo>
                    <a:pt x="874" y="44"/>
                    <a:pt x="874" y="44"/>
                    <a:pt x="874" y="44"/>
                  </a:cubicBezTo>
                  <a:cubicBezTo>
                    <a:pt x="875" y="44"/>
                    <a:pt x="875" y="44"/>
                    <a:pt x="876" y="44"/>
                  </a:cubicBezTo>
                  <a:cubicBezTo>
                    <a:pt x="876" y="44"/>
                    <a:pt x="876" y="44"/>
                    <a:pt x="876" y="44"/>
                  </a:cubicBezTo>
                  <a:cubicBezTo>
                    <a:pt x="876" y="44"/>
                    <a:pt x="876" y="44"/>
                    <a:pt x="876" y="44"/>
                  </a:cubicBezTo>
                  <a:cubicBezTo>
                    <a:pt x="877" y="44"/>
                    <a:pt x="877" y="44"/>
                    <a:pt x="877" y="44"/>
                  </a:cubicBezTo>
                  <a:cubicBezTo>
                    <a:pt x="877" y="44"/>
                    <a:pt x="877" y="44"/>
                    <a:pt x="877" y="44"/>
                  </a:cubicBezTo>
                  <a:cubicBezTo>
                    <a:pt x="877" y="44"/>
                    <a:pt x="877" y="44"/>
                    <a:pt x="877" y="44"/>
                  </a:cubicBezTo>
                  <a:cubicBezTo>
                    <a:pt x="877" y="44"/>
                    <a:pt x="877" y="44"/>
                    <a:pt x="877" y="44"/>
                  </a:cubicBezTo>
                  <a:cubicBezTo>
                    <a:pt x="878" y="44"/>
                    <a:pt x="878" y="44"/>
                    <a:pt x="878" y="44"/>
                  </a:cubicBezTo>
                  <a:cubicBezTo>
                    <a:pt x="878" y="44"/>
                    <a:pt x="878" y="44"/>
                    <a:pt x="878" y="44"/>
                  </a:cubicBezTo>
                  <a:cubicBezTo>
                    <a:pt x="878" y="44"/>
                    <a:pt x="878" y="44"/>
                    <a:pt x="878" y="44"/>
                  </a:cubicBezTo>
                  <a:cubicBezTo>
                    <a:pt x="879" y="45"/>
                    <a:pt x="879" y="45"/>
                    <a:pt x="879" y="45"/>
                  </a:cubicBezTo>
                  <a:cubicBezTo>
                    <a:pt x="879" y="45"/>
                    <a:pt x="879" y="45"/>
                    <a:pt x="879" y="45"/>
                  </a:cubicBezTo>
                  <a:cubicBezTo>
                    <a:pt x="879" y="46"/>
                    <a:pt x="879" y="46"/>
                    <a:pt x="879" y="46"/>
                  </a:cubicBezTo>
                  <a:cubicBezTo>
                    <a:pt x="880" y="46"/>
                    <a:pt x="880" y="46"/>
                    <a:pt x="880" y="46"/>
                  </a:cubicBezTo>
                  <a:cubicBezTo>
                    <a:pt x="880" y="46"/>
                    <a:pt x="880" y="46"/>
                    <a:pt x="880" y="46"/>
                  </a:cubicBezTo>
                  <a:cubicBezTo>
                    <a:pt x="880" y="46"/>
                    <a:pt x="880" y="46"/>
                    <a:pt x="880" y="46"/>
                  </a:cubicBezTo>
                  <a:cubicBezTo>
                    <a:pt x="880" y="45"/>
                    <a:pt x="880" y="45"/>
                    <a:pt x="880" y="45"/>
                  </a:cubicBezTo>
                  <a:cubicBezTo>
                    <a:pt x="880" y="45"/>
                    <a:pt x="880" y="45"/>
                    <a:pt x="880" y="45"/>
                  </a:cubicBezTo>
                  <a:cubicBezTo>
                    <a:pt x="880" y="45"/>
                    <a:pt x="880" y="45"/>
                    <a:pt x="880" y="45"/>
                  </a:cubicBezTo>
                  <a:cubicBezTo>
                    <a:pt x="880" y="44"/>
                    <a:pt x="880" y="44"/>
                    <a:pt x="880" y="44"/>
                  </a:cubicBezTo>
                  <a:cubicBezTo>
                    <a:pt x="881" y="43"/>
                    <a:pt x="882" y="42"/>
                    <a:pt x="882" y="41"/>
                  </a:cubicBezTo>
                  <a:cubicBezTo>
                    <a:pt x="882" y="40"/>
                    <a:pt x="882" y="40"/>
                    <a:pt x="882" y="40"/>
                  </a:cubicBezTo>
                  <a:cubicBezTo>
                    <a:pt x="882" y="40"/>
                    <a:pt x="882" y="40"/>
                    <a:pt x="882" y="40"/>
                  </a:cubicBezTo>
                  <a:cubicBezTo>
                    <a:pt x="882" y="40"/>
                    <a:pt x="882" y="40"/>
                    <a:pt x="882" y="40"/>
                  </a:cubicBezTo>
                  <a:cubicBezTo>
                    <a:pt x="882" y="40"/>
                    <a:pt x="882" y="40"/>
                    <a:pt x="882" y="40"/>
                  </a:cubicBezTo>
                  <a:cubicBezTo>
                    <a:pt x="882" y="39"/>
                    <a:pt x="882" y="39"/>
                    <a:pt x="881" y="39"/>
                  </a:cubicBezTo>
                  <a:cubicBezTo>
                    <a:pt x="881" y="39"/>
                    <a:pt x="881" y="39"/>
                    <a:pt x="881" y="39"/>
                  </a:cubicBezTo>
                  <a:cubicBezTo>
                    <a:pt x="881" y="39"/>
                    <a:pt x="881" y="39"/>
                    <a:pt x="881" y="39"/>
                  </a:cubicBezTo>
                  <a:cubicBezTo>
                    <a:pt x="881" y="39"/>
                    <a:pt x="881" y="39"/>
                    <a:pt x="881" y="39"/>
                  </a:cubicBezTo>
                  <a:cubicBezTo>
                    <a:pt x="881" y="39"/>
                    <a:pt x="881" y="39"/>
                    <a:pt x="881" y="39"/>
                  </a:cubicBezTo>
                  <a:cubicBezTo>
                    <a:pt x="881" y="39"/>
                    <a:pt x="881" y="39"/>
                    <a:pt x="881" y="39"/>
                  </a:cubicBezTo>
                  <a:cubicBezTo>
                    <a:pt x="880" y="39"/>
                    <a:pt x="880" y="39"/>
                    <a:pt x="880" y="39"/>
                  </a:cubicBezTo>
                  <a:cubicBezTo>
                    <a:pt x="880" y="39"/>
                    <a:pt x="880" y="39"/>
                    <a:pt x="880" y="39"/>
                  </a:cubicBezTo>
                  <a:cubicBezTo>
                    <a:pt x="880" y="39"/>
                    <a:pt x="880" y="39"/>
                    <a:pt x="880" y="39"/>
                  </a:cubicBezTo>
                  <a:cubicBezTo>
                    <a:pt x="880" y="39"/>
                    <a:pt x="880" y="39"/>
                    <a:pt x="880" y="39"/>
                  </a:cubicBezTo>
                  <a:cubicBezTo>
                    <a:pt x="880" y="40"/>
                    <a:pt x="880" y="40"/>
                    <a:pt x="880" y="40"/>
                  </a:cubicBezTo>
                  <a:cubicBezTo>
                    <a:pt x="880" y="40"/>
                    <a:pt x="880" y="40"/>
                    <a:pt x="880" y="40"/>
                  </a:cubicBezTo>
                  <a:cubicBezTo>
                    <a:pt x="879" y="40"/>
                    <a:pt x="879" y="40"/>
                    <a:pt x="879" y="40"/>
                  </a:cubicBezTo>
                  <a:cubicBezTo>
                    <a:pt x="879" y="40"/>
                    <a:pt x="879" y="40"/>
                    <a:pt x="879" y="40"/>
                  </a:cubicBezTo>
                  <a:cubicBezTo>
                    <a:pt x="879" y="40"/>
                    <a:pt x="879" y="40"/>
                    <a:pt x="879" y="40"/>
                  </a:cubicBezTo>
                  <a:cubicBezTo>
                    <a:pt x="879" y="40"/>
                    <a:pt x="879" y="40"/>
                    <a:pt x="879" y="40"/>
                  </a:cubicBezTo>
                  <a:cubicBezTo>
                    <a:pt x="879" y="40"/>
                    <a:pt x="879" y="40"/>
                    <a:pt x="879" y="40"/>
                  </a:cubicBezTo>
                  <a:cubicBezTo>
                    <a:pt x="879" y="40"/>
                    <a:pt x="879" y="40"/>
                    <a:pt x="879" y="40"/>
                  </a:cubicBezTo>
                  <a:cubicBezTo>
                    <a:pt x="879" y="39"/>
                    <a:pt x="879" y="39"/>
                    <a:pt x="879" y="39"/>
                  </a:cubicBezTo>
                  <a:cubicBezTo>
                    <a:pt x="879" y="39"/>
                    <a:pt x="879" y="39"/>
                    <a:pt x="879" y="39"/>
                  </a:cubicBezTo>
                  <a:cubicBezTo>
                    <a:pt x="879" y="39"/>
                    <a:pt x="879" y="39"/>
                    <a:pt x="879" y="39"/>
                  </a:cubicBezTo>
                  <a:cubicBezTo>
                    <a:pt x="879" y="38"/>
                    <a:pt x="879" y="38"/>
                    <a:pt x="879" y="38"/>
                  </a:cubicBezTo>
                  <a:cubicBezTo>
                    <a:pt x="879" y="38"/>
                    <a:pt x="879" y="37"/>
                    <a:pt x="878" y="37"/>
                  </a:cubicBezTo>
                  <a:cubicBezTo>
                    <a:pt x="878" y="37"/>
                    <a:pt x="878" y="37"/>
                    <a:pt x="878" y="37"/>
                  </a:cubicBezTo>
                  <a:cubicBezTo>
                    <a:pt x="878" y="36"/>
                    <a:pt x="878" y="36"/>
                    <a:pt x="878" y="36"/>
                  </a:cubicBezTo>
                  <a:cubicBezTo>
                    <a:pt x="878" y="36"/>
                    <a:pt x="878" y="36"/>
                    <a:pt x="878" y="36"/>
                  </a:cubicBezTo>
                  <a:cubicBezTo>
                    <a:pt x="878" y="35"/>
                    <a:pt x="878" y="35"/>
                    <a:pt x="878" y="35"/>
                  </a:cubicBezTo>
                  <a:cubicBezTo>
                    <a:pt x="878" y="34"/>
                    <a:pt x="878" y="35"/>
                    <a:pt x="877" y="34"/>
                  </a:cubicBezTo>
                  <a:cubicBezTo>
                    <a:pt x="877" y="34"/>
                    <a:pt x="877" y="34"/>
                    <a:pt x="877" y="34"/>
                  </a:cubicBezTo>
                  <a:cubicBezTo>
                    <a:pt x="877" y="33"/>
                    <a:pt x="877" y="33"/>
                    <a:pt x="876" y="33"/>
                  </a:cubicBezTo>
                  <a:cubicBezTo>
                    <a:pt x="876" y="33"/>
                    <a:pt x="876" y="33"/>
                    <a:pt x="876" y="33"/>
                  </a:cubicBezTo>
                  <a:cubicBezTo>
                    <a:pt x="876" y="33"/>
                    <a:pt x="876" y="33"/>
                    <a:pt x="876" y="33"/>
                  </a:cubicBezTo>
                  <a:cubicBezTo>
                    <a:pt x="876" y="33"/>
                    <a:pt x="876" y="33"/>
                    <a:pt x="876" y="33"/>
                  </a:cubicBezTo>
                  <a:cubicBezTo>
                    <a:pt x="876" y="33"/>
                    <a:pt x="876" y="33"/>
                    <a:pt x="876" y="33"/>
                  </a:cubicBezTo>
                  <a:cubicBezTo>
                    <a:pt x="876" y="33"/>
                    <a:pt x="876" y="33"/>
                    <a:pt x="876" y="33"/>
                  </a:cubicBezTo>
                  <a:cubicBezTo>
                    <a:pt x="876" y="33"/>
                    <a:pt x="876" y="33"/>
                    <a:pt x="876" y="33"/>
                  </a:cubicBezTo>
                  <a:cubicBezTo>
                    <a:pt x="877" y="31"/>
                    <a:pt x="873" y="32"/>
                    <a:pt x="873" y="32"/>
                  </a:cubicBezTo>
                  <a:cubicBezTo>
                    <a:pt x="872" y="32"/>
                    <a:pt x="872" y="32"/>
                    <a:pt x="872" y="32"/>
                  </a:cubicBezTo>
                  <a:cubicBezTo>
                    <a:pt x="872" y="32"/>
                    <a:pt x="872" y="32"/>
                    <a:pt x="872" y="32"/>
                  </a:cubicBezTo>
                  <a:cubicBezTo>
                    <a:pt x="873" y="34"/>
                    <a:pt x="874" y="32"/>
                    <a:pt x="876" y="35"/>
                  </a:cubicBezTo>
                  <a:cubicBezTo>
                    <a:pt x="876" y="35"/>
                    <a:pt x="876" y="35"/>
                    <a:pt x="876" y="35"/>
                  </a:cubicBezTo>
                  <a:cubicBezTo>
                    <a:pt x="876" y="34"/>
                    <a:pt x="876" y="34"/>
                    <a:pt x="876" y="34"/>
                  </a:cubicBezTo>
                  <a:cubicBezTo>
                    <a:pt x="875" y="34"/>
                    <a:pt x="875" y="34"/>
                    <a:pt x="875" y="34"/>
                  </a:cubicBezTo>
                  <a:cubicBezTo>
                    <a:pt x="875" y="34"/>
                    <a:pt x="875" y="34"/>
                    <a:pt x="875" y="34"/>
                  </a:cubicBezTo>
                  <a:cubicBezTo>
                    <a:pt x="875" y="34"/>
                    <a:pt x="874" y="34"/>
                    <a:pt x="874" y="34"/>
                  </a:cubicBezTo>
                  <a:cubicBezTo>
                    <a:pt x="873" y="35"/>
                    <a:pt x="873" y="35"/>
                    <a:pt x="873" y="35"/>
                  </a:cubicBezTo>
                  <a:cubicBezTo>
                    <a:pt x="873" y="35"/>
                    <a:pt x="873" y="35"/>
                    <a:pt x="873" y="35"/>
                  </a:cubicBezTo>
                  <a:cubicBezTo>
                    <a:pt x="873" y="36"/>
                    <a:pt x="873" y="36"/>
                    <a:pt x="873" y="36"/>
                  </a:cubicBezTo>
                  <a:cubicBezTo>
                    <a:pt x="873" y="36"/>
                    <a:pt x="873" y="36"/>
                    <a:pt x="873" y="36"/>
                  </a:cubicBezTo>
                  <a:cubicBezTo>
                    <a:pt x="873" y="36"/>
                    <a:pt x="873" y="36"/>
                    <a:pt x="873" y="36"/>
                  </a:cubicBezTo>
                  <a:cubicBezTo>
                    <a:pt x="873" y="36"/>
                    <a:pt x="873" y="36"/>
                    <a:pt x="873" y="36"/>
                  </a:cubicBezTo>
                  <a:cubicBezTo>
                    <a:pt x="872" y="36"/>
                    <a:pt x="872" y="36"/>
                    <a:pt x="872" y="36"/>
                  </a:cubicBezTo>
                  <a:cubicBezTo>
                    <a:pt x="872" y="36"/>
                    <a:pt x="872" y="36"/>
                    <a:pt x="872" y="36"/>
                  </a:cubicBezTo>
                  <a:cubicBezTo>
                    <a:pt x="872" y="36"/>
                    <a:pt x="872" y="36"/>
                    <a:pt x="872" y="36"/>
                  </a:cubicBezTo>
                  <a:cubicBezTo>
                    <a:pt x="872" y="36"/>
                    <a:pt x="872" y="36"/>
                    <a:pt x="872" y="36"/>
                  </a:cubicBezTo>
                  <a:cubicBezTo>
                    <a:pt x="871" y="36"/>
                    <a:pt x="871" y="36"/>
                    <a:pt x="871" y="36"/>
                  </a:cubicBezTo>
                  <a:cubicBezTo>
                    <a:pt x="871" y="35"/>
                    <a:pt x="871" y="35"/>
                    <a:pt x="871" y="35"/>
                  </a:cubicBezTo>
                  <a:cubicBezTo>
                    <a:pt x="871" y="34"/>
                    <a:pt x="871" y="34"/>
                    <a:pt x="871" y="34"/>
                  </a:cubicBezTo>
                  <a:cubicBezTo>
                    <a:pt x="871" y="34"/>
                    <a:pt x="871" y="34"/>
                    <a:pt x="871" y="34"/>
                  </a:cubicBezTo>
                  <a:cubicBezTo>
                    <a:pt x="871" y="34"/>
                    <a:pt x="871" y="34"/>
                    <a:pt x="871" y="34"/>
                  </a:cubicBezTo>
                  <a:cubicBezTo>
                    <a:pt x="871" y="33"/>
                    <a:pt x="871" y="33"/>
                    <a:pt x="871" y="33"/>
                  </a:cubicBezTo>
                  <a:cubicBezTo>
                    <a:pt x="871" y="33"/>
                    <a:pt x="871" y="33"/>
                    <a:pt x="871" y="33"/>
                  </a:cubicBezTo>
                  <a:cubicBezTo>
                    <a:pt x="870" y="33"/>
                    <a:pt x="870" y="33"/>
                    <a:pt x="870" y="33"/>
                  </a:cubicBezTo>
                  <a:cubicBezTo>
                    <a:pt x="870" y="33"/>
                    <a:pt x="870" y="33"/>
                    <a:pt x="870" y="33"/>
                  </a:cubicBezTo>
                  <a:cubicBezTo>
                    <a:pt x="870" y="32"/>
                    <a:pt x="870" y="32"/>
                    <a:pt x="870" y="32"/>
                  </a:cubicBezTo>
                  <a:cubicBezTo>
                    <a:pt x="870" y="30"/>
                    <a:pt x="870" y="30"/>
                    <a:pt x="869" y="29"/>
                  </a:cubicBezTo>
                  <a:cubicBezTo>
                    <a:pt x="868" y="29"/>
                    <a:pt x="868" y="29"/>
                    <a:pt x="868" y="29"/>
                  </a:cubicBezTo>
                  <a:cubicBezTo>
                    <a:pt x="868" y="29"/>
                    <a:pt x="868" y="29"/>
                    <a:pt x="868" y="29"/>
                  </a:cubicBezTo>
                  <a:cubicBezTo>
                    <a:pt x="867" y="29"/>
                    <a:pt x="866" y="28"/>
                    <a:pt x="865" y="28"/>
                  </a:cubicBezTo>
                  <a:cubicBezTo>
                    <a:pt x="865" y="28"/>
                    <a:pt x="865" y="28"/>
                    <a:pt x="865" y="28"/>
                  </a:cubicBezTo>
                  <a:cubicBezTo>
                    <a:pt x="865" y="28"/>
                    <a:pt x="865" y="28"/>
                    <a:pt x="865" y="28"/>
                  </a:cubicBezTo>
                  <a:cubicBezTo>
                    <a:pt x="865" y="28"/>
                    <a:pt x="865" y="28"/>
                    <a:pt x="865" y="28"/>
                  </a:cubicBezTo>
                  <a:cubicBezTo>
                    <a:pt x="865" y="28"/>
                    <a:pt x="865" y="28"/>
                    <a:pt x="865" y="28"/>
                  </a:cubicBezTo>
                  <a:cubicBezTo>
                    <a:pt x="865" y="27"/>
                    <a:pt x="865" y="27"/>
                    <a:pt x="865" y="27"/>
                  </a:cubicBezTo>
                  <a:cubicBezTo>
                    <a:pt x="864" y="27"/>
                    <a:pt x="864" y="27"/>
                    <a:pt x="864" y="27"/>
                  </a:cubicBezTo>
                  <a:cubicBezTo>
                    <a:pt x="864" y="27"/>
                    <a:pt x="864" y="27"/>
                    <a:pt x="863" y="26"/>
                  </a:cubicBezTo>
                  <a:cubicBezTo>
                    <a:pt x="863" y="26"/>
                    <a:pt x="863" y="26"/>
                    <a:pt x="863" y="26"/>
                  </a:cubicBezTo>
                  <a:cubicBezTo>
                    <a:pt x="863" y="26"/>
                    <a:pt x="863" y="26"/>
                    <a:pt x="863" y="26"/>
                  </a:cubicBezTo>
                  <a:cubicBezTo>
                    <a:pt x="862" y="26"/>
                    <a:pt x="862" y="26"/>
                    <a:pt x="861" y="25"/>
                  </a:cubicBezTo>
                  <a:cubicBezTo>
                    <a:pt x="861" y="25"/>
                    <a:pt x="861" y="25"/>
                    <a:pt x="861" y="25"/>
                  </a:cubicBezTo>
                  <a:cubicBezTo>
                    <a:pt x="861" y="25"/>
                    <a:pt x="861" y="25"/>
                    <a:pt x="861" y="25"/>
                  </a:cubicBezTo>
                  <a:cubicBezTo>
                    <a:pt x="861" y="25"/>
                    <a:pt x="861" y="25"/>
                    <a:pt x="861" y="25"/>
                  </a:cubicBezTo>
                  <a:cubicBezTo>
                    <a:pt x="861" y="25"/>
                    <a:pt x="861" y="25"/>
                    <a:pt x="861" y="25"/>
                  </a:cubicBezTo>
                  <a:cubicBezTo>
                    <a:pt x="860" y="25"/>
                    <a:pt x="860" y="25"/>
                    <a:pt x="860" y="25"/>
                  </a:cubicBezTo>
                  <a:cubicBezTo>
                    <a:pt x="860" y="25"/>
                    <a:pt x="860" y="25"/>
                    <a:pt x="860" y="25"/>
                  </a:cubicBezTo>
                  <a:cubicBezTo>
                    <a:pt x="860" y="25"/>
                    <a:pt x="860" y="25"/>
                    <a:pt x="860" y="25"/>
                  </a:cubicBezTo>
                  <a:cubicBezTo>
                    <a:pt x="860" y="24"/>
                    <a:pt x="860" y="24"/>
                    <a:pt x="860" y="24"/>
                  </a:cubicBezTo>
                  <a:cubicBezTo>
                    <a:pt x="859" y="24"/>
                    <a:pt x="859" y="24"/>
                    <a:pt x="859" y="24"/>
                  </a:cubicBezTo>
                  <a:cubicBezTo>
                    <a:pt x="859" y="24"/>
                    <a:pt x="859" y="24"/>
                    <a:pt x="859" y="24"/>
                  </a:cubicBezTo>
                  <a:cubicBezTo>
                    <a:pt x="859" y="24"/>
                    <a:pt x="859" y="24"/>
                    <a:pt x="859" y="24"/>
                  </a:cubicBezTo>
                  <a:cubicBezTo>
                    <a:pt x="859" y="24"/>
                    <a:pt x="859" y="24"/>
                    <a:pt x="859" y="24"/>
                  </a:cubicBezTo>
                  <a:cubicBezTo>
                    <a:pt x="858" y="24"/>
                    <a:pt x="858" y="24"/>
                    <a:pt x="858" y="24"/>
                  </a:cubicBezTo>
                  <a:cubicBezTo>
                    <a:pt x="858" y="24"/>
                    <a:pt x="858" y="24"/>
                    <a:pt x="858" y="24"/>
                  </a:cubicBezTo>
                  <a:cubicBezTo>
                    <a:pt x="858" y="24"/>
                    <a:pt x="858" y="24"/>
                    <a:pt x="858" y="24"/>
                  </a:cubicBezTo>
                  <a:cubicBezTo>
                    <a:pt x="858" y="23"/>
                    <a:pt x="858" y="23"/>
                    <a:pt x="858" y="23"/>
                  </a:cubicBezTo>
                  <a:cubicBezTo>
                    <a:pt x="858" y="23"/>
                    <a:pt x="858" y="23"/>
                    <a:pt x="858" y="23"/>
                  </a:cubicBezTo>
                  <a:cubicBezTo>
                    <a:pt x="858" y="23"/>
                    <a:pt x="858" y="23"/>
                    <a:pt x="858" y="23"/>
                  </a:cubicBezTo>
                  <a:cubicBezTo>
                    <a:pt x="857" y="23"/>
                    <a:pt x="857" y="23"/>
                    <a:pt x="857" y="23"/>
                  </a:cubicBezTo>
                  <a:cubicBezTo>
                    <a:pt x="857" y="23"/>
                    <a:pt x="857" y="23"/>
                    <a:pt x="857" y="23"/>
                  </a:cubicBezTo>
                  <a:cubicBezTo>
                    <a:pt x="857" y="23"/>
                    <a:pt x="857" y="23"/>
                    <a:pt x="857" y="23"/>
                  </a:cubicBezTo>
                  <a:cubicBezTo>
                    <a:pt x="856" y="23"/>
                    <a:pt x="856" y="23"/>
                    <a:pt x="856" y="23"/>
                  </a:cubicBezTo>
                  <a:cubicBezTo>
                    <a:pt x="856" y="23"/>
                    <a:pt x="856" y="23"/>
                    <a:pt x="856" y="23"/>
                  </a:cubicBezTo>
                  <a:cubicBezTo>
                    <a:pt x="856" y="23"/>
                    <a:pt x="856" y="23"/>
                    <a:pt x="856" y="23"/>
                  </a:cubicBezTo>
                  <a:cubicBezTo>
                    <a:pt x="855" y="23"/>
                    <a:pt x="855" y="23"/>
                    <a:pt x="855" y="23"/>
                  </a:cubicBezTo>
                  <a:cubicBezTo>
                    <a:pt x="855" y="22"/>
                    <a:pt x="855" y="22"/>
                    <a:pt x="855" y="22"/>
                  </a:cubicBezTo>
                  <a:cubicBezTo>
                    <a:pt x="855" y="22"/>
                    <a:pt x="855" y="22"/>
                    <a:pt x="855" y="22"/>
                  </a:cubicBezTo>
                  <a:cubicBezTo>
                    <a:pt x="855" y="22"/>
                    <a:pt x="855" y="22"/>
                    <a:pt x="855" y="22"/>
                  </a:cubicBezTo>
                  <a:cubicBezTo>
                    <a:pt x="854" y="22"/>
                    <a:pt x="854" y="22"/>
                    <a:pt x="854" y="22"/>
                  </a:cubicBezTo>
                  <a:cubicBezTo>
                    <a:pt x="854" y="23"/>
                    <a:pt x="854" y="23"/>
                    <a:pt x="854" y="23"/>
                  </a:cubicBezTo>
                  <a:cubicBezTo>
                    <a:pt x="854" y="23"/>
                    <a:pt x="854" y="23"/>
                    <a:pt x="854" y="23"/>
                  </a:cubicBezTo>
                  <a:cubicBezTo>
                    <a:pt x="854" y="23"/>
                    <a:pt x="854" y="23"/>
                    <a:pt x="854" y="23"/>
                  </a:cubicBezTo>
                  <a:cubicBezTo>
                    <a:pt x="854" y="23"/>
                    <a:pt x="854" y="23"/>
                    <a:pt x="854" y="23"/>
                  </a:cubicBezTo>
                  <a:cubicBezTo>
                    <a:pt x="854" y="22"/>
                    <a:pt x="854" y="22"/>
                    <a:pt x="854" y="22"/>
                  </a:cubicBezTo>
                  <a:cubicBezTo>
                    <a:pt x="854" y="22"/>
                    <a:pt x="854" y="22"/>
                    <a:pt x="854" y="22"/>
                  </a:cubicBezTo>
                  <a:cubicBezTo>
                    <a:pt x="853" y="21"/>
                    <a:pt x="853" y="21"/>
                    <a:pt x="853" y="21"/>
                  </a:cubicBezTo>
                  <a:cubicBezTo>
                    <a:pt x="853" y="21"/>
                    <a:pt x="853" y="21"/>
                    <a:pt x="853" y="21"/>
                  </a:cubicBezTo>
                  <a:cubicBezTo>
                    <a:pt x="852" y="21"/>
                    <a:pt x="852" y="21"/>
                    <a:pt x="852" y="22"/>
                  </a:cubicBezTo>
                  <a:cubicBezTo>
                    <a:pt x="851" y="22"/>
                    <a:pt x="851" y="22"/>
                    <a:pt x="851" y="22"/>
                  </a:cubicBezTo>
                  <a:cubicBezTo>
                    <a:pt x="851" y="22"/>
                    <a:pt x="851" y="22"/>
                    <a:pt x="851" y="22"/>
                  </a:cubicBezTo>
                  <a:cubicBezTo>
                    <a:pt x="851" y="22"/>
                    <a:pt x="851" y="22"/>
                    <a:pt x="851" y="22"/>
                  </a:cubicBezTo>
                  <a:cubicBezTo>
                    <a:pt x="850" y="22"/>
                    <a:pt x="850" y="22"/>
                    <a:pt x="850" y="22"/>
                  </a:cubicBezTo>
                  <a:cubicBezTo>
                    <a:pt x="850" y="22"/>
                    <a:pt x="850" y="22"/>
                    <a:pt x="850" y="22"/>
                  </a:cubicBezTo>
                  <a:cubicBezTo>
                    <a:pt x="850" y="22"/>
                    <a:pt x="850" y="22"/>
                    <a:pt x="850" y="22"/>
                  </a:cubicBezTo>
                  <a:cubicBezTo>
                    <a:pt x="850" y="22"/>
                    <a:pt x="850" y="22"/>
                    <a:pt x="850" y="22"/>
                  </a:cubicBezTo>
                  <a:cubicBezTo>
                    <a:pt x="849" y="22"/>
                    <a:pt x="849" y="22"/>
                    <a:pt x="849" y="22"/>
                  </a:cubicBezTo>
                  <a:cubicBezTo>
                    <a:pt x="849" y="22"/>
                    <a:pt x="849" y="22"/>
                    <a:pt x="849" y="22"/>
                  </a:cubicBezTo>
                  <a:cubicBezTo>
                    <a:pt x="849" y="22"/>
                    <a:pt x="849" y="22"/>
                    <a:pt x="849" y="22"/>
                  </a:cubicBezTo>
                  <a:cubicBezTo>
                    <a:pt x="849" y="22"/>
                    <a:pt x="849" y="22"/>
                    <a:pt x="849" y="22"/>
                  </a:cubicBezTo>
                  <a:cubicBezTo>
                    <a:pt x="849" y="21"/>
                    <a:pt x="849" y="21"/>
                    <a:pt x="849" y="21"/>
                  </a:cubicBezTo>
                  <a:cubicBezTo>
                    <a:pt x="848" y="21"/>
                    <a:pt x="848" y="21"/>
                    <a:pt x="848" y="21"/>
                  </a:cubicBezTo>
                  <a:cubicBezTo>
                    <a:pt x="848" y="21"/>
                    <a:pt x="848" y="21"/>
                    <a:pt x="848" y="21"/>
                  </a:cubicBezTo>
                  <a:cubicBezTo>
                    <a:pt x="848" y="21"/>
                    <a:pt x="848" y="21"/>
                    <a:pt x="848" y="21"/>
                  </a:cubicBezTo>
                  <a:cubicBezTo>
                    <a:pt x="847" y="21"/>
                    <a:pt x="847" y="21"/>
                    <a:pt x="847" y="21"/>
                  </a:cubicBezTo>
                  <a:cubicBezTo>
                    <a:pt x="847" y="21"/>
                    <a:pt x="847" y="21"/>
                    <a:pt x="847" y="21"/>
                  </a:cubicBezTo>
                  <a:cubicBezTo>
                    <a:pt x="846" y="22"/>
                    <a:pt x="845" y="21"/>
                    <a:pt x="845" y="22"/>
                  </a:cubicBezTo>
                  <a:cubicBezTo>
                    <a:pt x="845" y="22"/>
                    <a:pt x="845" y="22"/>
                    <a:pt x="845" y="22"/>
                  </a:cubicBezTo>
                  <a:cubicBezTo>
                    <a:pt x="844" y="22"/>
                    <a:pt x="844" y="22"/>
                    <a:pt x="844" y="22"/>
                  </a:cubicBezTo>
                  <a:cubicBezTo>
                    <a:pt x="844" y="22"/>
                    <a:pt x="843" y="23"/>
                    <a:pt x="842" y="23"/>
                  </a:cubicBezTo>
                  <a:cubicBezTo>
                    <a:pt x="842" y="23"/>
                    <a:pt x="842" y="23"/>
                    <a:pt x="842" y="23"/>
                  </a:cubicBezTo>
                  <a:cubicBezTo>
                    <a:pt x="842" y="23"/>
                    <a:pt x="842" y="23"/>
                    <a:pt x="842" y="23"/>
                  </a:cubicBezTo>
                  <a:cubicBezTo>
                    <a:pt x="842" y="23"/>
                    <a:pt x="842" y="23"/>
                    <a:pt x="842" y="23"/>
                  </a:cubicBezTo>
                  <a:cubicBezTo>
                    <a:pt x="842" y="23"/>
                    <a:pt x="842" y="23"/>
                    <a:pt x="842" y="23"/>
                  </a:cubicBezTo>
                  <a:cubicBezTo>
                    <a:pt x="842" y="23"/>
                    <a:pt x="842" y="23"/>
                    <a:pt x="842" y="23"/>
                  </a:cubicBezTo>
                  <a:cubicBezTo>
                    <a:pt x="842" y="22"/>
                    <a:pt x="842" y="22"/>
                    <a:pt x="842" y="22"/>
                  </a:cubicBezTo>
                  <a:cubicBezTo>
                    <a:pt x="840" y="23"/>
                    <a:pt x="841" y="22"/>
                    <a:pt x="839" y="22"/>
                  </a:cubicBezTo>
                  <a:cubicBezTo>
                    <a:pt x="839" y="22"/>
                    <a:pt x="839" y="22"/>
                    <a:pt x="839" y="22"/>
                  </a:cubicBezTo>
                  <a:cubicBezTo>
                    <a:pt x="839" y="22"/>
                    <a:pt x="839" y="22"/>
                    <a:pt x="839" y="22"/>
                  </a:cubicBezTo>
                  <a:cubicBezTo>
                    <a:pt x="839" y="22"/>
                    <a:pt x="839" y="22"/>
                    <a:pt x="839" y="22"/>
                  </a:cubicBezTo>
                  <a:cubicBezTo>
                    <a:pt x="838" y="22"/>
                    <a:pt x="838" y="22"/>
                    <a:pt x="838" y="22"/>
                  </a:cubicBezTo>
                  <a:cubicBezTo>
                    <a:pt x="838" y="22"/>
                    <a:pt x="838" y="22"/>
                    <a:pt x="838" y="22"/>
                  </a:cubicBezTo>
                  <a:cubicBezTo>
                    <a:pt x="838" y="22"/>
                    <a:pt x="838" y="22"/>
                    <a:pt x="838" y="22"/>
                  </a:cubicBezTo>
                  <a:cubicBezTo>
                    <a:pt x="838" y="22"/>
                    <a:pt x="838" y="22"/>
                    <a:pt x="838" y="22"/>
                  </a:cubicBezTo>
                  <a:cubicBezTo>
                    <a:pt x="838" y="22"/>
                    <a:pt x="838" y="22"/>
                    <a:pt x="838" y="22"/>
                  </a:cubicBezTo>
                  <a:cubicBezTo>
                    <a:pt x="837" y="22"/>
                    <a:pt x="837" y="22"/>
                    <a:pt x="837" y="22"/>
                  </a:cubicBezTo>
                  <a:cubicBezTo>
                    <a:pt x="837" y="22"/>
                    <a:pt x="837" y="22"/>
                    <a:pt x="837" y="22"/>
                  </a:cubicBezTo>
                  <a:cubicBezTo>
                    <a:pt x="837" y="22"/>
                    <a:pt x="837" y="22"/>
                    <a:pt x="837" y="22"/>
                  </a:cubicBezTo>
                  <a:cubicBezTo>
                    <a:pt x="836" y="22"/>
                    <a:pt x="836" y="22"/>
                    <a:pt x="836" y="22"/>
                  </a:cubicBezTo>
                  <a:cubicBezTo>
                    <a:pt x="836" y="22"/>
                    <a:pt x="836" y="22"/>
                    <a:pt x="836" y="22"/>
                  </a:cubicBezTo>
                  <a:cubicBezTo>
                    <a:pt x="836" y="22"/>
                    <a:pt x="836" y="22"/>
                    <a:pt x="836" y="22"/>
                  </a:cubicBezTo>
                  <a:cubicBezTo>
                    <a:pt x="836" y="22"/>
                    <a:pt x="836" y="22"/>
                    <a:pt x="836" y="22"/>
                  </a:cubicBezTo>
                  <a:cubicBezTo>
                    <a:pt x="836" y="21"/>
                    <a:pt x="836" y="21"/>
                    <a:pt x="836" y="21"/>
                  </a:cubicBezTo>
                  <a:cubicBezTo>
                    <a:pt x="836" y="21"/>
                    <a:pt x="836" y="21"/>
                    <a:pt x="836" y="21"/>
                  </a:cubicBezTo>
                  <a:cubicBezTo>
                    <a:pt x="835" y="22"/>
                    <a:pt x="834" y="22"/>
                    <a:pt x="833" y="22"/>
                  </a:cubicBezTo>
                  <a:cubicBezTo>
                    <a:pt x="833" y="22"/>
                    <a:pt x="833" y="22"/>
                    <a:pt x="833" y="22"/>
                  </a:cubicBezTo>
                  <a:cubicBezTo>
                    <a:pt x="833" y="22"/>
                    <a:pt x="833" y="22"/>
                    <a:pt x="833" y="22"/>
                  </a:cubicBezTo>
                  <a:cubicBezTo>
                    <a:pt x="832" y="22"/>
                    <a:pt x="832" y="22"/>
                    <a:pt x="831" y="22"/>
                  </a:cubicBezTo>
                  <a:cubicBezTo>
                    <a:pt x="831" y="22"/>
                    <a:pt x="831" y="22"/>
                    <a:pt x="831" y="22"/>
                  </a:cubicBezTo>
                  <a:cubicBezTo>
                    <a:pt x="831" y="22"/>
                    <a:pt x="831" y="22"/>
                    <a:pt x="831" y="22"/>
                  </a:cubicBezTo>
                  <a:cubicBezTo>
                    <a:pt x="830" y="22"/>
                    <a:pt x="830" y="22"/>
                    <a:pt x="830" y="22"/>
                  </a:cubicBezTo>
                  <a:cubicBezTo>
                    <a:pt x="830" y="22"/>
                    <a:pt x="830" y="22"/>
                    <a:pt x="830" y="22"/>
                  </a:cubicBezTo>
                  <a:cubicBezTo>
                    <a:pt x="830" y="22"/>
                    <a:pt x="830" y="22"/>
                    <a:pt x="830" y="22"/>
                  </a:cubicBezTo>
                  <a:cubicBezTo>
                    <a:pt x="830" y="22"/>
                    <a:pt x="830" y="22"/>
                    <a:pt x="830" y="22"/>
                  </a:cubicBezTo>
                  <a:cubicBezTo>
                    <a:pt x="829" y="22"/>
                    <a:pt x="829" y="22"/>
                    <a:pt x="829" y="22"/>
                  </a:cubicBezTo>
                  <a:cubicBezTo>
                    <a:pt x="829" y="22"/>
                    <a:pt x="829" y="22"/>
                    <a:pt x="829" y="22"/>
                  </a:cubicBezTo>
                  <a:cubicBezTo>
                    <a:pt x="828" y="22"/>
                    <a:pt x="827" y="22"/>
                    <a:pt x="826" y="22"/>
                  </a:cubicBezTo>
                  <a:cubicBezTo>
                    <a:pt x="826" y="22"/>
                    <a:pt x="826" y="22"/>
                    <a:pt x="826" y="22"/>
                  </a:cubicBezTo>
                  <a:cubicBezTo>
                    <a:pt x="825" y="22"/>
                    <a:pt x="825" y="22"/>
                    <a:pt x="825" y="22"/>
                  </a:cubicBezTo>
                  <a:cubicBezTo>
                    <a:pt x="824" y="23"/>
                    <a:pt x="825" y="21"/>
                    <a:pt x="823" y="22"/>
                  </a:cubicBezTo>
                  <a:cubicBezTo>
                    <a:pt x="823" y="22"/>
                    <a:pt x="823" y="22"/>
                    <a:pt x="823" y="22"/>
                  </a:cubicBezTo>
                  <a:cubicBezTo>
                    <a:pt x="823" y="22"/>
                    <a:pt x="823" y="22"/>
                    <a:pt x="823" y="22"/>
                  </a:cubicBezTo>
                  <a:cubicBezTo>
                    <a:pt x="822" y="22"/>
                    <a:pt x="822" y="22"/>
                    <a:pt x="822" y="22"/>
                  </a:cubicBezTo>
                  <a:cubicBezTo>
                    <a:pt x="822" y="22"/>
                    <a:pt x="822" y="22"/>
                    <a:pt x="822" y="22"/>
                  </a:cubicBezTo>
                  <a:cubicBezTo>
                    <a:pt x="822" y="22"/>
                    <a:pt x="822" y="22"/>
                    <a:pt x="822" y="22"/>
                  </a:cubicBezTo>
                  <a:cubicBezTo>
                    <a:pt x="822" y="22"/>
                    <a:pt x="822" y="22"/>
                    <a:pt x="822" y="22"/>
                  </a:cubicBezTo>
                  <a:cubicBezTo>
                    <a:pt x="821" y="22"/>
                    <a:pt x="821" y="22"/>
                    <a:pt x="821" y="22"/>
                  </a:cubicBezTo>
                  <a:cubicBezTo>
                    <a:pt x="821" y="22"/>
                    <a:pt x="821" y="22"/>
                    <a:pt x="821" y="22"/>
                  </a:cubicBezTo>
                  <a:cubicBezTo>
                    <a:pt x="821" y="23"/>
                    <a:pt x="821" y="23"/>
                    <a:pt x="821" y="23"/>
                  </a:cubicBezTo>
                  <a:cubicBezTo>
                    <a:pt x="821" y="23"/>
                    <a:pt x="821" y="23"/>
                    <a:pt x="821" y="23"/>
                  </a:cubicBezTo>
                  <a:cubicBezTo>
                    <a:pt x="821" y="24"/>
                    <a:pt x="821" y="24"/>
                    <a:pt x="821" y="24"/>
                  </a:cubicBezTo>
                  <a:cubicBezTo>
                    <a:pt x="821" y="24"/>
                    <a:pt x="821" y="24"/>
                    <a:pt x="821" y="24"/>
                  </a:cubicBezTo>
                  <a:cubicBezTo>
                    <a:pt x="821" y="24"/>
                    <a:pt x="821" y="24"/>
                    <a:pt x="821" y="24"/>
                  </a:cubicBezTo>
                  <a:cubicBezTo>
                    <a:pt x="821" y="24"/>
                    <a:pt x="821" y="24"/>
                    <a:pt x="821" y="24"/>
                  </a:cubicBezTo>
                  <a:cubicBezTo>
                    <a:pt x="821" y="25"/>
                    <a:pt x="821" y="25"/>
                    <a:pt x="821" y="25"/>
                  </a:cubicBezTo>
                  <a:cubicBezTo>
                    <a:pt x="821" y="25"/>
                    <a:pt x="821" y="25"/>
                    <a:pt x="821" y="25"/>
                  </a:cubicBezTo>
                  <a:cubicBezTo>
                    <a:pt x="820" y="26"/>
                    <a:pt x="820" y="26"/>
                    <a:pt x="819" y="26"/>
                  </a:cubicBezTo>
                  <a:cubicBezTo>
                    <a:pt x="819" y="26"/>
                    <a:pt x="819" y="26"/>
                    <a:pt x="819" y="26"/>
                  </a:cubicBezTo>
                  <a:cubicBezTo>
                    <a:pt x="819" y="26"/>
                    <a:pt x="819" y="26"/>
                    <a:pt x="819" y="26"/>
                  </a:cubicBezTo>
                  <a:cubicBezTo>
                    <a:pt x="819" y="26"/>
                    <a:pt x="819" y="26"/>
                    <a:pt x="819" y="26"/>
                  </a:cubicBezTo>
                  <a:cubicBezTo>
                    <a:pt x="819" y="26"/>
                    <a:pt x="819" y="26"/>
                    <a:pt x="819" y="26"/>
                  </a:cubicBezTo>
                  <a:cubicBezTo>
                    <a:pt x="818" y="27"/>
                    <a:pt x="818" y="27"/>
                    <a:pt x="818" y="27"/>
                  </a:cubicBezTo>
                  <a:cubicBezTo>
                    <a:pt x="815" y="27"/>
                    <a:pt x="816" y="25"/>
                    <a:pt x="812" y="27"/>
                  </a:cubicBezTo>
                  <a:cubicBezTo>
                    <a:pt x="812" y="27"/>
                    <a:pt x="812" y="27"/>
                    <a:pt x="812" y="27"/>
                  </a:cubicBezTo>
                  <a:cubicBezTo>
                    <a:pt x="812" y="27"/>
                    <a:pt x="812" y="27"/>
                    <a:pt x="812" y="27"/>
                  </a:cubicBezTo>
                  <a:cubicBezTo>
                    <a:pt x="812" y="27"/>
                    <a:pt x="812" y="27"/>
                    <a:pt x="812" y="27"/>
                  </a:cubicBezTo>
                  <a:cubicBezTo>
                    <a:pt x="810" y="27"/>
                    <a:pt x="810" y="26"/>
                    <a:pt x="810" y="27"/>
                  </a:cubicBezTo>
                  <a:cubicBezTo>
                    <a:pt x="809" y="27"/>
                    <a:pt x="809" y="27"/>
                    <a:pt x="809" y="27"/>
                  </a:cubicBezTo>
                  <a:cubicBezTo>
                    <a:pt x="809" y="28"/>
                    <a:pt x="809" y="28"/>
                    <a:pt x="809" y="28"/>
                  </a:cubicBezTo>
                  <a:cubicBezTo>
                    <a:pt x="808" y="27"/>
                    <a:pt x="809" y="27"/>
                    <a:pt x="807" y="27"/>
                  </a:cubicBezTo>
                  <a:cubicBezTo>
                    <a:pt x="807" y="27"/>
                    <a:pt x="807" y="27"/>
                    <a:pt x="807" y="27"/>
                  </a:cubicBezTo>
                  <a:cubicBezTo>
                    <a:pt x="806" y="27"/>
                    <a:pt x="806" y="27"/>
                    <a:pt x="806" y="27"/>
                  </a:cubicBezTo>
                  <a:cubicBezTo>
                    <a:pt x="806" y="27"/>
                    <a:pt x="806" y="27"/>
                    <a:pt x="806" y="27"/>
                  </a:cubicBezTo>
                  <a:cubicBezTo>
                    <a:pt x="806" y="27"/>
                    <a:pt x="806" y="27"/>
                    <a:pt x="806" y="27"/>
                  </a:cubicBezTo>
                  <a:cubicBezTo>
                    <a:pt x="805" y="26"/>
                    <a:pt x="805" y="26"/>
                    <a:pt x="805" y="26"/>
                  </a:cubicBezTo>
                  <a:cubicBezTo>
                    <a:pt x="816" y="18"/>
                    <a:pt x="816" y="18"/>
                    <a:pt x="816" y="18"/>
                  </a:cubicBezTo>
                  <a:cubicBezTo>
                    <a:pt x="816" y="18"/>
                    <a:pt x="816" y="18"/>
                    <a:pt x="816" y="18"/>
                  </a:cubicBezTo>
                  <a:cubicBezTo>
                    <a:pt x="816" y="18"/>
                    <a:pt x="816" y="18"/>
                    <a:pt x="816" y="18"/>
                  </a:cubicBezTo>
                  <a:cubicBezTo>
                    <a:pt x="816" y="18"/>
                    <a:pt x="816" y="18"/>
                    <a:pt x="816" y="18"/>
                  </a:cubicBezTo>
                  <a:cubicBezTo>
                    <a:pt x="816" y="18"/>
                    <a:pt x="816" y="18"/>
                    <a:pt x="816" y="18"/>
                  </a:cubicBezTo>
                  <a:cubicBezTo>
                    <a:pt x="816" y="18"/>
                    <a:pt x="816" y="18"/>
                    <a:pt x="816" y="18"/>
                  </a:cubicBezTo>
                  <a:cubicBezTo>
                    <a:pt x="815" y="18"/>
                    <a:pt x="815" y="18"/>
                    <a:pt x="815" y="18"/>
                  </a:cubicBezTo>
                  <a:cubicBezTo>
                    <a:pt x="815" y="17"/>
                    <a:pt x="815" y="17"/>
                    <a:pt x="815" y="17"/>
                  </a:cubicBezTo>
                  <a:cubicBezTo>
                    <a:pt x="815" y="17"/>
                    <a:pt x="815" y="17"/>
                    <a:pt x="815" y="17"/>
                  </a:cubicBezTo>
                  <a:cubicBezTo>
                    <a:pt x="815" y="17"/>
                    <a:pt x="815" y="17"/>
                    <a:pt x="815" y="17"/>
                  </a:cubicBezTo>
                  <a:cubicBezTo>
                    <a:pt x="814" y="16"/>
                    <a:pt x="814" y="16"/>
                    <a:pt x="812" y="16"/>
                  </a:cubicBezTo>
                  <a:cubicBezTo>
                    <a:pt x="812" y="16"/>
                    <a:pt x="812" y="16"/>
                    <a:pt x="812" y="16"/>
                  </a:cubicBezTo>
                  <a:cubicBezTo>
                    <a:pt x="812" y="16"/>
                    <a:pt x="812" y="16"/>
                    <a:pt x="812" y="16"/>
                  </a:cubicBezTo>
                  <a:cubicBezTo>
                    <a:pt x="812" y="16"/>
                    <a:pt x="812" y="16"/>
                    <a:pt x="812" y="16"/>
                  </a:cubicBezTo>
                  <a:cubicBezTo>
                    <a:pt x="812" y="16"/>
                    <a:pt x="812" y="16"/>
                    <a:pt x="812" y="16"/>
                  </a:cubicBezTo>
                  <a:cubicBezTo>
                    <a:pt x="811" y="16"/>
                    <a:pt x="811" y="15"/>
                    <a:pt x="810" y="15"/>
                  </a:cubicBezTo>
                  <a:cubicBezTo>
                    <a:pt x="810" y="15"/>
                    <a:pt x="810" y="15"/>
                    <a:pt x="810" y="15"/>
                  </a:cubicBezTo>
                  <a:cubicBezTo>
                    <a:pt x="809" y="15"/>
                    <a:pt x="809" y="15"/>
                    <a:pt x="809" y="15"/>
                  </a:cubicBezTo>
                  <a:cubicBezTo>
                    <a:pt x="808" y="15"/>
                    <a:pt x="809" y="15"/>
                    <a:pt x="808" y="16"/>
                  </a:cubicBezTo>
                  <a:cubicBezTo>
                    <a:pt x="808" y="16"/>
                    <a:pt x="808" y="16"/>
                    <a:pt x="808" y="16"/>
                  </a:cubicBezTo>
                  <a:cubicBezTo>
                    <a:pt x="808" y="16"/>
                    <a:pt x="808" y="16"/>
                    <a:pt x="808" y="16"/>
                  </a:cubicBezTo>
                  <a:cubicBezTo>
                    <a:pt x="808" y="16"/>
                    <a:pt x="808" y="16"/>
                    <a:pt x="808" y="16"/>
                  </a:cubicBezTo>
                  <a:cubicBezTo>
                    <a:pt x="808" y="16"/>
                    <a:pt x="808" y="16"/>
                    <a:pt x="808" y="16"/>
                  </a:cubicBezTo>
                  <a:cubicBezTo>
                    <a:pt x="808" y="16"/>
                    <a:pt x="808" y="16"/>
                    <a:pt x="808" y="16"/>
                  </a:cubicBezTo>
                  <a:cubicBezTo>
                    <a:pt x="809" y="16"/>
                    <a:pt x="809" y="16"/>
                    <a:pt x="809" y="16"/>
                  </a:cubicBezTo>
                  <a:cubicBezTo>
                    <a:pt x="809" y="16"/>
                    <a:pt x="809" y="16"/>
                    <a:pt x="809" y="16"/>
                  </a:cubicBezTo>
                  <a:cubicBezTo>
                    <a:pt x="809" y="16"/>
                    <a:pt x="809" y="16"/>
                    <a:pt x="809" y="16"/>
                  </a:cubicBezTo>
                  <a:cubicBezTo>
                    <a:pt x="809" y="16"/>
                    <a:pt x="809" y="16"/>
                    <a:pt x="809" y="16"/>
                  </a:cubicBezTo>
                  <a:cubicBezTo>
                    <a:pt x="809" y="16"/>
                    <a:pt x="809" y="16"/>
                    <a:pt x="809" y="16"/>
                  </a:cubicBezTo>
                  <a:cubicBezTo>
                    <a:pt x="808" y="16"/>
                    <a:pt x="808" y="16"/>
                    <a:pt x="808" y="16"/>
                  </a:cubicBezTo>
                  <a:cubicBezTo>
                    <a:pt x="808" y="16"/>
                    <a:pt x="808" y="16"/>
                    <a:pt x="808" y="16"/>
                  </a:cubicBezTo>
                  <a:cubicBezTo>
                    <a:pt x="808" y="16"/>
                    <a:pt x="808" y="16"/>
                    <a:pt x="808" y="16"/>
                  </a:cubicBezTo>
                  <a:cubicBezTo>
                    <a:pt x="807" y="16"/>
                    <a:pt x="806" y="15"/>
                    <a:pt x="805" y="15"/>
                  </a:cubicBezTo>
                  <a:cubicBezTo>
                    <a:pt x="804" y="15"/>
                    <a:pt x="804" y="15"/>
                    <a:pt x="804" y="15"/>
                  </a:cubicBezTo>
                  <a:cubicBezTo>
                    <a:pt x="804" y="15"/>
                    <a:pt x="804" y="15"/>
                    <a:pt x="804" y="15"/>
                  </a:cubicBezTo>
                  <a:cubicBezTo>
                    <a:pt x="804" y="15"/>
                    <a:pt x="804" y="15"/>
                    <a:pt x="804" y="15"/>
                  </a:cubicBezTo>
                  <a:cubicBezTo>
                    <a:pt x="803" y="15"/>
                    <a:pt x="803" y="15"/>
                    <a:pt x="803" y="15"/>
                  </a:cubicBezTo>
                  <a:cubicBezTo>
                    <a:pt x="803" y="15"/>
                    <a:pt x="803" y="15"/>
                    <a:pt x="803" y="15"/>
                  </a:cubicBezTo>
                  <a:cubicBezTo>
                    <a:pt x="803" y="15"/>
                    <a:pt x="803" y="15"/>
                    <a:pt x="803" y="15"/>
                  </a:cubicBezTo>
                  <a:cubicBezTo>
                    <a:pt x="802" y="15"/>
                    <a:pt x="802" y="15"/>
                    <a:pt x="802" y="15"/>
                  </a:cubicBezTo>
                  <a:cubicBezTo>
                    <a:pt x="802" y="15"/>
                    <a:pt x="802" y="15"/>
                    <a:pt x="802" y="15"/>
                  </a:cubicBezTo>
                  <a:cubicBezTo>
                    <a:pt x="802" y="15"/>
                    <a:pt x="802" y="15"/>
                    <a:pt x="802" y="15"/>
                  </a:cubicBezTo>
                  <a:cubicBezTo>
                    <a:pt x="802" y="15"/>
                    <a:pt x="802" y="15"/>
                    <a:pt x="802" y="15"/>
                  </a:cubicBezTo>
                  <a:cubicBezTo>
                    <a:pt x="802" y="15"/>
                    <a:pt x="802" y="15"/>
                    <a:pt x="802" y="15"/>
                  </a:cubicBezTo>
                  <a:cubicBezTo>
                    <a:pt x="801" y="16"/>
                    <a:pt x="801" y="16"/>
                    <a:pt x="800" y="16"/>
                  </a:cubicBezTo>
                  <a:cubicBezTo>
                    <a:pt x="800" y="16"/>
                    <a:pt x="800" y="16"/>
                    <a:pt x="800" y="16"/>
                  </a:cubicBezTo>
                  <a:cubicBezTo>
                    <a:pt x="800" y="16"/>
                    <a:pt x="800" y="16"/>
                    <a:pt x="800" y="16"/>
                  </a:cubicBezTo>
                  <a:cubicBezTo>
                    <a:pt x="800" y="16"/>
                    <a:pt x="800" y="16"/>
                    <a:pt x="800" y="16"/>
                  </a:cubicBezTo>
                  <a:cubicBezTo>
                    <a:pt x="799" y="16"/>
                    <a:pt x="799" y="16"/>
                    <a:pt x="799" y="16"/>
                  </a:cubicBezTo>
                  <a:cubicBezTo>
                    <a:pt x="799" y="16"/>
                    <a:pt x="799" y="16"/>
                    <a:pt x="799" y="16"/>
                  </a:cubicBezTo>
                  <a:cubicBezTo>
                    <a:pt x="798" y="16"/>
                    <a:pt x="798" y="17"/>
                    <a:pt x="797" y="17"/>
                  </a:cubicBezTo>
                  <a:cubicBezTo>
                    <a:pt x="797" y="17"/>
                    <a:pt x="797" y="17"/>
                    <a:pt x="797" y="17"/>
                  </a:cubicBezTo>
                  <a:cubicBezTo>
                    <a:pt x="795" y="17"/>
                    <a:pt x="795" y="17"/>
                    <a:pt x="795" y="17"/>
                  </a:cubicBezTo>
                  <a:cubicBezTo>
                    <a:pt x="795" y="17"/>
                    <a:pt x="795" y="17"/>
                    <a:pt x="795" y="17"/>
                  </a:cubicBezTo>
                  <a:cubicBezTo>
                    <a:pt x="795" y="16"/>
                    <a:pt x="795" y="16"/>
                    <a:pt x="795" y="16"/>
                  </a:cubicBezTo>
                  <a:cubicBezTo>
                    <a:pt x="795" y="16"/>
                    <a:pt x="795" y="16"/>
                    <a:pt x="795" y="16"/>
                  </a:cubicBezTo>
                  <a:cubicBezTo>
                    <a:pt x="795" y="16"/>
                    <a:pt x="795" y="16"/>
                    <a:pt x="795" y="16"/>
                  </a:cubicBezTo>
                  <a:cubicBezTo>
                    <a:pt x="795" y="16"/>
                    <a:pt x="795" y="16"/>
                    <a:pt x="795" y="16"/>
                  </a:cubicBezTo>
                  <a:cubicBezTo>
                    <a:pt x="795" y="16"/>
                    <a:pt x="795" y="16"/>
                    <a:pt x="795" y="16"/>
                  </a:cubicBezTo>
                  <a:cubicBezTo>
                    <a:pt x="795" y="16"/>
                    <a:pt x="795" y="16"/>
                    <a:pt x="795" y="16"/>
                  </a:cubicBezTo>
                  <a:cubicBezTo>
                    <a:pt x="795" y="16"/>
                    <a:pt x="795" y="16"/>
                    <a:pt x="795" y="16"/>
                  </a:cubicBezTo>
                  <a:cubicBezTo>
                    <a:pt x="795" y="16"/>
                    <a:pt x="796" y="16"/>
                    <a:pt x="796" y="16"/>
                  </a:cubicBezTo>
                  <a:cubicBezTo>
                    <a:pt x="797" y="16"/>
                    <a:pt x="797" y="16"/>
                    <a:pt x="797" y="16"/>
                  </a:cubicBezTo>
                  <a:cubicBezTo>
                    <a:pt x="797" y="16"/>
                    <a:pt x="797" y="16"/>
                    <a:pt x="797" y="16"/>
                  </a:cubicBezTo>
                  <a:cubicBezTo>
                    <a:pt x="798" y="16"/>
                    <a:pt x="797" y="15"/>
                    <a:pt x="798" y="15"/>
                  </a:cubicBezTo>
                  <a:cubicBezTo>
                    <a:pt x="799" y="14"/>
                    <a:pt x="799" y="14"/>
                    <a:pt x="799" y="14"/>
                  </a:cubicBezTo>
                  <a:cubicBezTo>
                    <a:pt x="799" y="14"/>
                    <a:pt x="799" y="14"/>
                    <a:pt x="799" y="14"/>
                  </a:cubicBezTo>
                  <a:cubicBezTo>
                    <a:pt x="799" y="14"/>
                    <a:pt x="799" y="14"/>
                    <a:pt x="799" y="14"/>
                  </a:cubicBezTo>
                  <a:cubicBezTo>
                    <a:pt x="800" y="13"/>
                    <a:pt x="800" y="13"/>
                    <a:pt x="800" y="13"/>
                  </a:cubicBezTo>
                  <a:cubicBezTo>
                    <a:pt x="799" y="13"/>
                    <a:pt x="799" y="13"/>
                    <a:pt x="799" y="13"/>
                  </a:cubicBezTo>
                  <a:cubicBezTo>
                    <a:pt x="799" y="13"/>
                    <a:pt x="799" y="13"/>
                    <a:pt x="799" y="13"/>
                  </a:cubicBezTo>
                  <a:cubicBezTo>
                    <a:pt x="799" y="14"/>
                    <a:pt x="799" y="14"/>
                    <a:pt x="799" y="14"/>
                  </a:cubicBezTo>
                  <a:cubicBezTo>
                    <a:pt x="799" y="14"/>
                    <a:pt x="799" y="14"/>
                    <a:pt x="799" y="14"/>
                  </a:cubicBezTo>
                  <a:cubicBezTo>
                    <a:pt x="799" y="14"/>
                    <a:pt x="797" y="14"/>
                    <a:pt x="796" y="14"/>
                  </a:cubicBezTo>
                  <a:cubicBezTo>
                    <a:pt x="796" y="14"/>
                    <a:pt x="796" y="14"/>
                    <a:pt x="796" y="14"/>
                  </a:cubicBezTo>
                  <a:cubicBezTo>
                    <a:pt x="796" y="14"/>
                    <a:pt x="796" y="14"/>
                    <a:pt x="796" y="14"/>
                  </a:cubicBezTo>
                  <a:cubicBezTo>
                    <a:pt x="795" y="14"/>
                    <a:pt x="794" y="15"/>
                    <a:pt x="793" y="14"/>
                  </a:cubicBezTo>
                  <a:cubicBezTo>
                    <a:pt x="792" y="14"/>
                    <a:pt x="792" y="14"/>
                    <a:pt x="792" y="14"/>
                  </a:cubicBezTo>
                  <a:cubicBezTo>
                    <a:pt x="792" y="14"/>
                    <a:pt x="792" y="14"/>
                    <a:pt x="792" y="14"/>
                  </a:cubicBezTo>
                  <a:cubicBezTo>
                    <a:pt x="792" y="14"/>
                    <a:pt x="792" y="14"/>
                    <a:pt x="792" y="14"/>
                  </a:cubicBezTo>
                  <a:cubicBezTo>
                    <a:pt x="791" y="14"/>
                    <a:pt x="791" y="14"/>
                    <a:pt x="791" y="14"/>
                  </a:cubicBezTo>
                  <a:cubicBezTo>
                    <a:pt x="791" y="14"/>
                    <a:pt x="791" y="14"/>
                    <a:pt x="791" y="14"/>
                  </a:cubicBezTo>
                  <a:cubicBezTo>
                    <a:pt x="791" y="14"/>
                    <a:pt x="791" y="14"/>
                    <a:pt x="791" y="14"/>
                  </a:cubicBezTo>
                  <a:cubicBezTo>
                    <a:pt x="791" y="14"/>
                    <a:pt x="791" y="14"/>
                    <a:pt x="791" y="14"/>
                  </a:cubicBezTo>
                  <a:cubicBezTo>
                    <a:pt x="791" y="14"/>
                    <a:pt x="791" y="14"/>
                    <a:pt x="791" y="14"/>
                  </a:cubicBezTo>
                  <a:cubicBezTo>
                    <a:pt x="791" y="14"/>
                    <a:pt x="791" y="14"/>
                    <a:pt x="791" y="14"/>
                  </a:cubicBezTo>
                  <a:cubicBezTo>
                    <a:pt x="791" y="14"/>
                    <a:pt x="791" y="14"/>
                    <a:pt x="791" y="14"/>
                  </a:cubicBezTo>
                  <a:cubicBezTo>
                    <a:pt x="790" y="14"/>
                    <a:pt x="790" y="14"/>
                    <a:pt x="790" y="14"/>
                  </a:cubicBezTo>
                  <a:cubicBezTo>
                    <a:pt x="790" y="14"/>
                    <a:pt x="790" y="14"/>
                    <a:pt x="790" y="14"/>
                  </a:cubicBezTo>
                  <a:cubicBezTo>
                    <a:pt x="790" y="14"/>
                    <a:pt x="790" y="14"/>
                    <a:pt x="790" y="14"/>
                  </a:cubicBezTo>
                  <a:cubicBezTo>
                    <a:pt x="790" y="14"/>
                    <a:pt x="790" y="14"/>
                    <a:pt x="790" y="14"/>
                  </a:cubicBezTo>
                  <a:cubicBezTo>
                    <a:pt x="790" y="14"/>
                    <a:pt x="790" y="14"/>
                    <a:pt x="790" y="14"/>
                  </a:cubicBezTo>
                  <a:cubicBezTo>
                    <a:pt x="789" y="14"/>
                    <a:pt x="789" y="14"/>
                    <a:pt x="789" y="14"/>
                  </a:cubicBezTo>
                  <a:cubicBezTo>
                    <a:pt x="788" y="14"/>
                    <a:pt x="788" y="14"/>
                    <a:pt x="788" y="14"/>
                  </a:cubicBezTo>
                  <a:cubicBezTo>
                    <a:pt x="788" y="14"/>
                    <a:pt x="788" y="14"/>
                    <a:pt x="788" y="14"/>
                  </a:cubicBezTo>
                  <a:cubicBezTo>
                    <a:pt x="787" y="14"/>
                    <a:pt x="787" y="14"/>
                    <a:pt x="787" y="14"/>
                  </a:cubicBezTo>
                  <a:cubicBezTo>
                    <a:pt x="787" y="14"/>
                    <a:pt x="787" y="14"/>
                    <a:pt x="787" y="14"/>
                  </a:cubicBezTo>
                  <a:cubicBezTo>
                    <a:pt x="787" y="14"/>
                    <a:pt x="787" y="14"/>
                    <a:pt x="787" y="14"/>
                  </a:cubicBezTo>
                  <a:cubicBezTo>
                    <a:pt x="787" y="14"/>
                    <a:pt x="787" y="14"/>
                    <a:pt x="787" y="14"/>
                  </a:cubicBezTo>
                  <a:cubicBezTo>
                    <a:pt x="786" y="14"/>
                    <a:pt x="786" y="14"/>
                    <a:pt x="786" y="14"/>
                  </a:cubicBezTo>
                  <a:cubicBezTo>
                    <a:pt x="786" y="14"/>
                    <a:pt x="786" y="14"/>
                    <a:pt x="786" y="14"/>
                  </a:cubicBezTo>
                  <a:cubicBezTo>
                    <a:pt x="786" y="14"/>
                    <a:pt x="786" y="14"/>
                    <a:pt x="786" y="14"/>
                  </a:cubicBezTo>
                  <a:cubicBezTo>
                    <a:pt x="786" y="14"/>
                    <a:pt x="786" y="14"/>
                    <a:pt x="786" y="14"/>
                  </a:cubicBezTo>
                  <a:cubicBezTo>
                    <a:pt x="785" y="14"/>
                    <a:pt x="785" y="14"/>
                    <a:pt x="785" y="14"/>
                  </a:cubicBezTo>
                  <a:cubicBezTo>
                    <a:pt x="784" y="14"/>
                    <a:pt x="784" y="14"/>
                    <a:pt x="784" y="14"/>
                  </a:cubicBezTo>
                  <a:cubicBezTo>
                    <a:pt x="782" y="14"/>
                    <a:pt x="782" y="14"/>
                    <a:pt x="782" y="14"/>
                  </a:cubicBezTo>
                  <a:cubicBezTo>
                    <a:pt x="781" y="14"/>
                    <a:pt x="781" y="14"/>
                    <a:pt x="781" y="14"/>
                  </a:cubicBezTo>
                  <a:cubicBezTo>
                    <a:pt x="781" y="14"/>
                    <a:pt x="781" y="14"/>
                    <a:pt x="781" y="14"/>
                  </a:cubicBezTo>
                  <a:cubicBezTo>
                    <a:pt x="781" y="14"/>
                    <a:pt x="781" y="14"/>
                    <a:pt x="781" y="14"/>
                  </a:cubicBezTo>
                  <a:cubicBezTo>
                    <a:pt x="781" y="14"/>
                    <a:pt x="781" y="14"/>
                    <a:pt x="781" y="14"/>
                  </a:cubicBezTo>
                  <a:cubicBezTo>
                    <a:pt x="781" y="14"/>
                    <a:pt x="781" y="14"/>
                    <a:pt x="781" y="14"/>
                  </a:cubicBezTo>
                  <a:cubicBezTo>
                    <a:pt x="781" y="14"/>
                    <a:pt x="781" y="14"/>
                    <a:pt x="781" y="14"/>
                  </a:cubicBezTo>
                  <a:cubicBezTo>
                    <a:pt x="782" y="14"/>
                    <a:pt x="783" y="13"/>
                    <a:pt x="783" y="13"/>
                  </a:cubicBezTo>
                  <a:cubicBezTo>
                    <a:pt x="784" y="13"/>
                    <a:pt x="784" y="13"/>
                    <a:pt x="784" y="13"/>
                  </a:cubicBezTo>
                  <a:cubicBezTo>
                    <a:pt x="784" y="13"/>
                    <a:pt x="784" y="13"/>
                    <a:pt x="784" y="13"/>
                  </a:cubicBezTo>
                  <a:cubicBezTo>
                    <a:pt x="785" y="14"/>
                    <a:pt x="785" y="13"/>
                    <a:pt x="786" y="13"/>
                  </a:cubicBezTo>
                  <a:cubicBezTo>
                    <a:pt x="786" y="13"/>
                    <a:pt x="786" y="13"/>
                    <a:pt x="786" y="13"/>
                  </a:cubicBezTo>
                  <a:cubicBezTo>
                    <a:pt x="786" y="13"/>
                    <a:pt x="786" y="13"/>
                    <a:pt x="786" y="13"/>
                  </a:cubicBezTo>
                  <a:cubicBezTo>
                    <a:pt x="787" y="13"/>
                    <a:pt x="787" y="13"/>
                    <a:pt x="787" y="13"/>
                  </a:cubicBezTo>
                  <a:cubicBezTo>
                    <a:pt x="787" y="13"/>
                    <a:pt x="787" y="13"/>
                    <a:pt x="787" y="13"/>
                  </a:cubicBezTo>
                  <a:cubicBezTo>
                    <a:pt x="788" y="12"/>
                    <a:pt x="788" y="13"/>
                    <a:pt x="789" y="13"/>
                  </a:cubicBezTo>
                  <a:cubicBezTo>
                    <a:pt x="789" y="13"/>
                    <a:pt x="789" y="13"/>
                    <a:pt x="789" y="13"/>
                  </a:cubicBezTo>
                  <a:cubicBezTo>
                    <a:pt x="790" y="12"/>
                    <a:pt x="790" y="12"/>
                    <a:pt x="790" y="12"/>
                  </a:cubicBezTo>
                  <a:cubicBezTo>
                    <a:pt x="790" y="12"/>
                    <a:pt x="791" y="12"/>
                    <a:pt x="791" y="12"/>
                  </a:cubicBezTo>
                  <a:cubicBezTo>
                    <a:pt x="791" y="12"/>
                    <a:pt x="791" y="12"/>
                    <a:pt x="791" y="12"/>
                  </a:cubicBezTo>
                  <a:cubicBezTo>
                    <a:pt x="791" y="12"/>
                    <a:pt x="791" y="12"/>
                    <a:pt x="791" y="12"/>
                  </a:cubicBezTo>
                  <a:cubicBezTo>
                    <a:pt x="792" y="12"/>
                    <a:pt x="792" y="12"/>
                    <a:pt x="792" y="12"/>
                  </a:cubicBezTo>
                  <a:cubicBezTo>
                    <a:pt x="792" y="12"/>
                    <a:pt x="792" y="12"/>
                    <a:pt x="792" y="12"/>
                  </a:cubicBezTo>
                  <a:cubicBezTo>
                    <a:pt x="792" y="12"/>
                    <a:pt x="792" y="12"/>
                    <a:pt x="792" y="12"/>
                  </a:cubicBezTo>
                  <a:cubicBezTo>
                    <a:pt x="792" y="12"/>
                    <a:pt x="792" y="12"/>
                    <a:pt x="792" y="12"/>
                  </a:cubicBezTo>
                  <a:cubicBezTo>
                    <a:pt x="793" y="12"/>
                    <a:pt x="793" y="11"/>
                    <a:pt x="794" y="11"/>
                  </a:cubicBezTo>
                  <a:cubicBezTo>
                    <a:pt x="794" y="11"/>
                    <a:pt x="794" y="11"/>
                    <a:pt x="794" y="11"/>
                  </a:cubicBezTo>
                  <a:cubicBezTo>
                    <a:pt x="794" y="11"/>
                    <a:pt x="794" y="11"/>
                    <a:pt x="794" y="11"/>
                  </a:cubicBezTo>
                  <a:cubicBezTo>
                    <a:pt x="795" y="10"/>
                    <a:pt x="796" y="10"/>
                    <a:pt x="796" y="10"/>
                  </a:cubicBezTo>
                  <a:cubicBezTo>
                    <a:pt x="797" y="10"/>
                    <a:pt x="797" y="10"/>
                    <a:pt x="797" y="10"/>
                  </a:cubicBezTo>
                  <a:cubicBezTo>
                    <a:pt x="797" y="9"/>
                    <a:pt x="797" y="9"/>
                    <a:pt x="797" y="9"/>
                  </a:cubicBezTo>
                  <a:cubicBezTo>
                    <a:pt x="797" y="9"/>
                    <a:pt x="797" y="9"/>
                    <a:pt x="797" y="9"/>
                  </a:cubicBezTo>
                  <a:cubicBezTo>
                    <a:pt x="797" y="9"/>
                    <a:pt x="797" y="9"/>
                    <a:pt x="797" y="9"/>
                  </a:cubicBezTo>
                  <a:cubicBezTo>
                    <a:pt x="798" y="8"/>
                    <a:pt x="798" y="8"/>
                    <a:pt x="799" y="8"/>
                  </a:cubicBezTo>
                  <a:cubicBezTo>
                    <a:pt x="800" y="8"/>
                    <a:pt x="800" y="8"/>
                    <a:pt x="800" y="8"/>
                  </a:cubicBezTo>
                  <a:cubicBezTo>
                    <a:pt x="800" y="8"/>
                    <a:pt x="800" y="8"/>
                    <a:pt x="800" y="8"/>
                  </a:cubicBezTo>
                  <a:cubicBezTo>
                    <a:pt x="801" y="8"/>
                    <a:pt x="801" y="8"/>
                    <a:pt x="802" y="9"/>
                  </a:cubicBezTo>
                  <a:cubicBezTo>
                    <a:pt x="802" y="9"/>
                    <a:pt x="802" y="9"/>
                    <a:pt x="802" y="9"/>
                  </a:cubicBezTo>
                  <a:cubicBezTo>
                    <a:pt x="802" y="9"/>
                    <a:pt x="802" y="9"/>
                    <a:pt x="802" y="9"/>
                  </a:cubicBezTo>
                  <a:cubicBezTo>
                    <a:pt x="802" y="9"/>
                    <a:pt x="802" y="9"/>
                    <a:pt x="802" y="9"/>
                  </a:cubicBezTo>
                  <a:cubicBezTo>
                    <a:pt x="803" y="8"/>
                    <a:pt x="803" y="8"/>
                    <a:pt x="803" y="8"/>
                  </a:cubicBezTo>
                  <a:cubicBezTo>
                    <a:pt x="799" y="4"/>
                    <a:pt x="799" y="4"/>
                    <a:pt x="799" y="4"/>
                  </a:cubicBezTo>
                  <a:cubicBezTo>
                    <a:pt x="787" y="1"/>
                    <a:pt x="787" y="1"/>
                    <a:pt x="787" y="1"/>
                  </a:cubicBezTo>
                  <a:cubicBezTo>
                    <a:pt x="786" y="1"/>
                    <a:pt x="786" y="1"/>
                    <a:pt x="786" y="1"/>
                  </a:cubicBezTo>
                  <a:cubicBezTo>
                    <a:pt x="784" y="1"/>
                    <a:pt x="784" y="1"/>
                    <a:pt x="784" y="1"/>
                  </a:cubicBezTo>
                  <a:cubicBezTo>
                    <a:pt x="782" y="0"/>
                    <a:pt x="782" y="1"/>
                    <a:pt x="780" y="0"/>
                  </a:cubicBezTo>
                  <a:cubicBezTo>
                    <a:pt x="780" y="0"/>
                    <a:pt x="780" y="0"/>
                    <a:pt x="780" y="0"/>
                  </a:cubicBezTo>
                  <a:cubicBezTo>
                    <a:pt x="780" y="0"/>
                    <a:pt x="780" y="0"/>
                    <a:pt x="780" y="0"/>
                  </a:cubicBezTo>
                  <a:cubicBezTo>
                    <a:pt x="779" y="1"/>
                    <a:pt x="779" y="1"/>
                    <a:pt x="779" y="1"/>
                  </a:cubicBezTo>
                  <a:cubicBezTo>
                    <a:pt x="778" y="1"/>
                    <a:pt x="778" y="1"/>
                    <a:pt x="778" y="1"/>
                  </a:cubicBezTo>
                  <a:cubicBezTo>
                    <a:pt x="778" y="1"/>
                    <a:pt x="778" y="1"/>
                    <a:pt x="778" y="1"/>
                  </a:cubicBezTo>
                  <a:cubicBezTo>
                    <a:pt x="778" y="1"/>
                    <a:pt x="778" y="1"/>
                    <a:pt x="778" y="1"/>
                  </a:cubicBezTo>
                  <a:cubicBezTo>
                    <a:pt x="778" y="1"/>
                    <a:pt x="778" y="1"/>
                    <a:pt x="778" y="1"/>
                  </a:cubicBezTo>
                  <a:cubicBezTo>
                    <a:pt x="778" y="1"/>
                    <a:pt x="778" y="1"/>
                    <a:pt x="778" y="1"/>
                  </a:cubicBezTo>
                  <a:cubicBezTo>
                    <a:pt x="777" y="2"/>
                    <a:pt x="777" y="2"/>
                    <a:pt x="777" y="2"/>
                  </a:cubicBezTo>
                  <a:cubicBezTo>
                    <a:pt x="775" y="2"/>
                    <a:pt x="775" y="2"/>
                    <a:pt x="775" y="2"/>
                  </a:cubicBezTo>
                  <a:cubicBezTo>
                    <a:pt x="771" y="3"/>
                    <a:pt x="771" y="3"/>
                    <a:pt x="771" y="3"/>
                  </a:cubicBezTo>
                  <a:cubicBezTo>
                    <a:pt x="770" y="3"/>
                    <a:pt x="770" y="3"/>
                    <a:pt x="770" y="3"/>
                  </a:cubicBezTo>
                  <a:cubicBezTo>
                    <a:pt x="768" y="3"/>
                    <a:pt x="768" y="3"/>
                    <a:pt x="768" y="3"/>
                  </a:cubicBezTo>
                  <a:cubicBezTo>
                    <a:pt x="767" y="4"/>
                    <a:pt x="767" y="4"/>
                    <a:pt x="767" y="4"/>
                  </a:cubicBezTo>
                  <a:cubicBezTo>
                    <a:pt x="767" y="4"/>
                    <a:pt x="767" y="4"/>
                    <a:pt x="767" y="4"/>
                  </a:cubicBezTo>
                  <a:cubicBezTo>
                    <a:pt x="765" y="5"/>
                    <a:pt x="765" y="5"/>
                    <a:pt x="765" y="5"/>
                  </a:cubicBezTo>
                  <a:cubicBezTo>
                    <a:pt x="764" y="6"/>
                    <a:pt x="764" y="6"/>
                    <a:pt x="764" y="6"/>
                  </a:cubicBezTo>
                  <a:cubicBezTo>
                    <a:pt x="762" y="6"/>
                    <a:pt x="762" y="6"/>
                    <a:pt x="762" y="6"/>
                  </a:cubicBezTo>
                  <a:cubicBezTo>
                    <a:pt x="760" y="7"/>
                    <a:pt x="760" y="7"/>
                    <a:pt x="760" y="7"/>
                  </a:cubicBezTo>
                  <a:cubicBezTo>
                    <a:pt x="759" y="8"/>
                    <a:pt x="759" y="8"/>
                    <a:pt x="759" y="8"/>
                  </a:cubicBezTo>
                  <a:cubicBezTo>
                    <a:pt x="758" y="8"/>
                    <a:pt x="758" y="8"/>
                    <a:pt x="758" y="8"/>
                  </a:cubicBezTo>
                  <a:cubicBezTo>
                    <a:pt x="758" y="8"/>
                    <a:pt x="758" y="8"/>
                    <a:pt x="758" y="8"/>
                  </a:cubicBezTo>
                  <a:cubicBezTo>
                    <a:pt x="758" y="9"/>
                    <a:pt x="758" y="9"/>
                    <a:pt x="758" y="9"/>
                  </a:cubicBezTo>
                  <a:cubicBezTo>
                    <a:pt x="758" y="9"/>
                    <a:pt x="758" y="9"/>
                    <a:pt x="758" y="9"/>
                  </a:cubicBezTo>
                  <a:cubicBezTo>
                    <a:pt x="758" y="9"/>
                    <a:pt x="758" y="9"/>
                    <a:pt x="758" y="9"/>
                  </a:cubicBezTo>
                  <a:cubicBezTo>
                    <a:pt x="758" y="9"/>
                    <a:pt x="758" y="9"/>
                    <a:pt x="758" y="9"/>
                  </a:cubicBezTo>
                  <a:cubicBezTo>
                    <a:pt x="758" y="9"/>
                    <a:pt x="758" y="9"/>
                    <a:pt x="758" y="9"/>
                  </a:cubicBezTo>
                  <a:cubicBezTo>
                    <a:pt x="758" y="9"/>
                    <a:pt x="758" y="9"/>
                    <a:pt x="758" y="9"/>
                  </a:cubicBezTo>
                  <a:cubicBezTo>
                    <a:pt x="760" y="9"/>
                    <a:pt x="760" y="9"/>
                    <a:pt x="760" y="9"/>
                  </a:cubicBezTo>
                  <a:cubicBezTo>
                    <a:pt x="760" y="9"/>
                    <a:pt x="760" y="9"/>
                    <a:pt x="760" y="9"/>
                  </a:cubicBezTo>
                  <a:cubicBezTo>
                    <a:pt x="760" y="9"/>
                    <a:pt x="760" y="9"/>
                    <a:pt x="760" y="9"/>
                  </a:cubicBezTo>
                  <a:cubicBezTo>
                    <a:pt x="760" y="9"/>
                    <a:pt x="760" y="9"/>
                    <a:pt x="760" y="9"/>
                  </a:cubicBezTo>
                  <a:cubicBezTo>
                    <a:pt x="760" y="9"/>
                    <a:pt x="760" y="9"/>
                    <a:pt x="760" y="9"/>
                  </a:cubicBezTo>
                  <a:cubicBezTo>
                    <a:pt x="759" y="11"/>
                    <a:pt x="757" y="10"/>
                    <a:pt x="755" y="12"/>
                  </a:cubicBezTo>
                  <a:cubicBezTo>
                    <a:pt x="755" y="13"/>
                    <a:pt x="755" y="13"/>
                    <a:pt x="755" y="13"/>
                  </a:cubicBezTo>
                  <a:cubicBezTo>
                    <a:pt x="755" y="13"/>
                    <a:pt x="755" y="13"/>
                    <a:pt x="755" y="13"/>
                  </a:cubicBezTo>
                  <a:cubicBezTo>
                    <a:pt x="755" y="13"/>
                    <a:pt x="755" y="13"/>
                    <a:pt x="755" y="13"/>
                  </a:cubicBezTo>
                  <a:cubicBezTo>
                    <a:pt x="754" y="13"/>
                    <a:pt x="754" y="13"/>
                    <a:pt x="753" y="14"/>
                  </a:cubicBezTo>
                  <a:cubicBezTo>
                    <a:pt x="753" y="14"/>
                    <a:pt x="753" y="14"/>
                    <a:pt x="753" y="14"/>
                  </a:cubicBezTo>
                  <a:cubicBezTo>
                    <a:pt x="753" y="14"/>
                    <a:pt x="753" y="14"/>
                    <a:pt x="753" y="14"/>
                  </a:cubicBezTo>
                  <a:cubicBezTo>
                    <a:pt x="753" y="14"/>
                    <a:pt x="752" y="14"/>
                    <a:pt x="752" y="14"/>
                  </a:cubicBezTo>
                  <a:cubicBezTo>
                    <a:pt x="752" y="15"/>
                    <a:pt x="752" y="15"/>
                    <a:pt x="752" y="15"/>
                  </a:cubicBezTo>
                  <a:cubicBezTo>
                    <a:pt x="752" y="15"/>
                    <a:pt x="752" y="15"/>
                    <a:pt x="752" y="15"/>
                  </a:cubicBezTo>
                  <a:cubicBezTo>
                    <a:pt x="752" y="15"/>
                    <a:pt x="752" y="15"/>
                    <a:pt x="752" y="15"/>
                  </a:cubicBezTo>
                  <a:cubicBezTo>
                    <a:pt x="752" y="15"/>
                    <a:pt x="752" y="15"/>
                    <a:pt x="752" y="15"/>
                  </a:cubicBezTo>
                  <a:cubicBezTo>
                    <a:pt x="752" y="15"/>
                    <a:pt x="752" y="15"/>
                    <a:pt x="752" y="15"/>
                  </a:cubicBezTo>
                  <a:cubicBezTo>
                    <a:pt x="751" y="16"/>
                    <a:pt x="751" y="16"/>
                    <a:pt x="751" y="16"/>
                  </a:cubicBezTo>
                  <a:cubicBezTo>
                    <a:pt x="750" y="16"/>
                    <a:pt x="750" y="16"/>
                    <a:pt x="750" y="16"/>
                  </a:cubicBezTo>
                  <a:cubicBezTo>
                    <a:pt x="750" y="17"/>
                    <a:pt x="750" y="17"/>
                    <a:pt x="750" y="17"/>
                  </a:cubicBezTo>
                  <a:cubicBezTo>
                    <a:pt x="750" y="17"/>
                    <a:pt x="750" y="17"/>
                    <a:pt x="750" y="17"/>
                  </a:cubicBezTo>
                  <a:cubicBezTo>
                    <a:pt x="750" y="17"/>
                    <a:pt x="750" y="17"/>
                    <a:pt x="750" y="17"/>
                  </a:cubicBezTo>
                  <a:cubicBezTo>
                    <a:pt x="750" y="17"/>
                    <a:pt x="750" y="17"/>
                    <a:pt x="750" y="17"/>
                  </a:cubicBezTo>
                  <a:cubicBezTo>
                    <a:pt x="750" y="17"/>
                    <a:pt x="750" y="17"/>
                    <a:pt x="750" y="17"/>
                  </a:cubicBezTo>
                  <a:cubicBezTo>
                    <a:pt x="750" y="17"/>
                    <a:pt x="750" y="17"/>
                    <a:pt x="750" y="17"/>
                  </a:cubicBezTo>
                  <a:cubicBezTo>
                    <a:pt x="750" y="18"/>
                    <a:pt x="750" y="18"/>
                    <a:pt x="750" y="18"/>
                  </a:cubicBezTo>
                  <a:cubicBezTo>
                    <a:pt x="749" y="18"/>
                    <a:pt x="749" y="18"/>
                    <a:pt x="749" y="18"/>
                  </a:cubicBezTo>
                  <a:cubicBezTo>
                    <a:pt x="749" y="18"/>
                    <a:pt x="749" y="18"/>
                    <a:pt x="749" y="18"/>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20"/>
                    <a:pt x="749" y="20"/>
                    <a:pt x="749" y="20"/>
                  </a:cubicBezTo>
                  <a:cubicBezTo>
                    <a:pt x="749" y="20"/>
                    <a:pt x="749" y="20"/>
                    <a:pt x="749" y="20"/>
                  </a:cubicBezTo>
                  <a:cubicBezTo>
                    <a:pt x="749" y="20"/>
                    <a:pt x="750" y="20"/>
                    <a:pt x="750" y="20"/>
                  </a:cubicBezTo>
                  <a:cubicBezTo>
                    <a:pt x="750" y="20"/>
                    <a:pt x="750" y="20"/>
                    <a:pt x="750" y="20"/>
                  </a:cubicBezTo>
                  <a:cubicBezTo>
                    <a:pt x="750" y="21"/>
                    <a:pt x="750" y="21"/>
                    <a:pt x="750" y="21"/>
                  </a:cubicBezTo>
                  <a:cubicBezTo>
                    <a:pt x="750" y="21"/>
                    <a:pt x="750" y="21"/>
                    <a:pt x="750" y="21"/>
                  </a:cubicBezTo>
                  <a:cubicBezTo>
                    <a:pt x="750" y="21"/>
                    <a:pt x="750" y="21"/>
                    <a:pt x="750" y="21"/>
                  </a:cubicBezTo>
                  <a:cubicBezTo>
                    <a:pt x="750" y="21"/>
                    <a:pt x="750" y="21"/>
                    <a:pt x="750" y="21"/>
                  </a:cubicBezTo>
                  <a:cubicBezTo>
                    <a:pt x="750" y="21"/>
                    <a:pt x="750" y="21"/>
                    <a:pt x="750" y="21"/>
                  </a:cubicBezTo>
                  <a:cubicBezTo>
                    <a:pt x="751" y="21"/>
                    <a:pt x="751" y="21"/>
                    <a:pt x="751" y="21"/>
                  </a:cubicBezTo>
                  <a:cubicBezTo>
                    <a:pt x="751" y="21"/>
                    <a:pt x="751" y="21"/>
                    <a:pt x="751" y="21"/>
                  </a:cubicBezTo>
                  <a:cubicBezTo>
                    <a:pt x="752" y="21"/>
                    <a:pt x="752" y="21"/>
                    <a:pt x="752" y="21"/>
                  </a:cubicBezTo>
                  <a:cubicBezTo>
                    <a:pt x="752" y="21"/>
                    <a:pt x="752" y="21"/>
                    <a:pt x="752" y="21"/>
                  </a:cubicBezTo>
                  <a:cubicBezTo>
                    <a:pt x="752" y="21"/>
                    <a:pt x="752" y="21"/>
                    <a:pt x="752" y="21"/>
                  </a:cubicBezTo>
                  <a:cubicBezTo>
                    <a:pt x="753" y="21"/>
                    <a:pt x="753" y="21"/>
                    <a:pt x="753" y="21"/>
                  </a:cubicBezTo>
                  <a:cubicBezTo>
                    <a:pt x="753" y="21"/>
                    <a:pt x="753" y="21"/>
                    <a:pt x="753" y="21"/>
                  </a:cubicBezTo>
                  <a:cubicBezTo>
                    <a:pt x="753" y="21"/>
                    <a:pt x="753" y="21"/>
                    <a:pt x="753" y="21"/>
                  </a:cubicBezTo>
                  <a:cubicBezTo>
                    <a:pt x="752" y="22"/>
                    <a:pt x="752" y="22"/>
                    <a:pt x="752" y="22"/>
                  </a:cubicBezTo>
                  <a:cubicBezTo>
                    <a:pt x="752" y="22"/>
                    <a:pt x="752" y="22"/>
                    <a:pt x="752" y="22"/>
                  </a:cubicBezTo>
                  <a:cubicBezTo>
                    <a:pt x="752" y="22"/>
                    <a:pt x="752" y="22"/>
                    <a:pt x="752" y="22"/>
                  </a:cubicBezTo>
                  <a:cubicBezTo>
                    <a:pt x="752" y="22"/>
                    <a:pt x="752" y="22"/>
                    <a:pt x="752" y="22"/>
                  </a:cubicBezTo>
                  <a:cubicBezTo>
                    <a:pt x="752" y="22"/>
                    <a:pt x="752" y="22"/>
                    <a:pt x="752" y="22"/>
                  </a:cubicBezTo>
                  <a:cubicBezTo>
                    <a:pt x="752" y="23"/>
                    <a:pt x="752" y="23"/>
                    <a:pt x="752" y="23"/>
                  </a:cubicBezTo>
                  <a:cubicBezTo>
                    <a:pt x="752" y="23"/>
                    <a:pt x="752" y="23"/>
                    <a:pt x="752" y="23"/>
                  </a:cubicBezTo>
                  <a:cubicBezTo>
                    <a:pt x="752" y="23"/>
                    <a:pt x="752" y="23"/>
                    <a:pt x="752" y="23"/>
                  </a:cubicBezTo>
                  <a:cubicBezTo>
                    <a:pt x="752" y="23"/>
                    <a:pt x="752" y="23"/>
                    <a:pt x="752" y="23"/>
                  </a:cubicBezTo>
                  <a:cubicBezTo>
                    <a:pt x="752" y="23"/>
                    <a:pt x="752" y="23"/>
                    <a:pt x="752" y="23"/>
                  </a:cubicBezTo>
                  <a:cubicBezTo>
                    <a:pt x="752" y="24"/>
                    <a:pt x="752" y="24"/>
                    <a:pt x="751" y="24"/>
                  </a:cubicBezTo>
                  <a:cubicBezTo>
                    <a:pt x="751" y="25"/>
                    <a:pt x="751" y="25"/>
                    <a:pt x="751" y="25"/>
                  </a:cubicBezTo>
                  <a:cubicBezTo>
                    <a:pt x="750" y="25"/>
                    <a:pt x="750" y="25"/>
                    <a:pt x="750" y="25"/>
                  </a:cubicBezTo>
                  <a:cubicBezTo>
                    <a:pt x="750" y="26"/>
                    <a:pt x="750" y="26"/>
                    <a:pt x="750" y="26"/>
                  </a:cubicBezTo>
                  <a:cubicBezTo>
                    <a:pt x="750" y="26"/>
                    <a:pt x="750" y="26"/>
                    <a:pt x="750" y="26"/>
                  </a:cubicBezTo>
                  <a:cubicBezTo>
                    <a:pt x="750" y="26"/>
                    <a:pt x="750" y="26"/>
                    <a:pt x="750" y="26"/>
                  </a:cubicBezTo>
                  <a:cubicBezTo>
                    <a:pt x="750" y="26"/>
                    <a:pt x="750" y="26"/>
                    <a:pt x="750" y="26"/>
                  </a:cubicBezTo>
                  <a:cubicBezTo>
                    <a:pt x="750" y="26"/>
                    <a:pt x="750" y="26"/>
                    <a:pt x="750" y="26"/>
                  </a:cubicBezTo>
                  <a:cubicBezTo>
                    <a:pt x="750" y="26"/>
                    <a:pt x="750" y="26"/>
                    <a:pt x="750" y="26"/>
                  </a:cubicBezTo>
                  <a:cubicBezTo>
                    <a:pt x="751" y="26"/>
                    <a:pt x="751" y="26"/>
                    <a:pt x="751" y="26"/>
                  </a:cubicBezTo>
                  <a:cubicBezTo>
                    <a:pt x="751" y="26"/>
                    <a:pt x="751" y="26"/>
                    <a:pt x="751" y="26"/>
                  </a:cubicBezTo>
                  <a:cubicBezTo>
                    <a:pt x="751" y="26"/>
                    <a:pt x="751" y="26"/>
                    <a:pt x="751" y="26"/>
                  </a:cubicBezTo>
                  <a:cubicBezTo>
                    <a:pt x="751" y="26"/>
                    <a:pt x="751" y="26"/>
                    <a:pt x="751" y="26"/>
                  </a:cubicBezTo>
                  <a:cubicBezTo>
                    <a:pt x="751" y="26"/>
                    <a:pt x="751" y="26"/>
                    <a:pt x="751" y="26"/>
                  </a:cubicBezTo>
                  <a:cubicBezTo>
                    <a:pt x="752" y="26"/>
                    <a:pt x="753" y="26"/>
                    <a:pt x="753" y="26"/>
                  </a:cubicBezTo>
                  <a:cubicBezTo>
                    <a:pt x="754" y="26"/>
                    <a:pt x="754" y="26"/>
                    <a:pt x="754" y="26"/>
                  </a:cubicBezTo>
                  <a:cubicBezTo>
                    <a:pt x="754" y="26"/>
                    <a:pt x="754" y="26"/>
                    <a:pt x="754" y="26"/>
                  </a:cubicBezTo>
                  <a:cubicBezTo>
                    <a:pt x="754" y="27"/>
                    <a:pt x="754" y="27"/>
                    <a:pt x="754" y="27"/>
                  </a:cubicBezTo>
                  <a:cubicBezTo>
                    <a:pt x="755" y="27"/>
                    <a:pt x="755" y="27"/>
                    <a:pt x="755" y="27"/>
                  </a:cubicBezTo>
                  <a:cubicBezTo>
                    <a:pt x="755" y="27"/>
                    <a:pt x="755" y="27"/>
                    <a:pt x="755" y="27"/>
                  </a:cubicBezTo>
                  <a:cubicBezTo>
                    <a:pt x="755" y="27"/>
                    <a:pt x="755" y="27"/>
                    <a:pt x="755" y="27"/>
                  </a:cubicBezTo>
                  <a:cubicBezTo>
                    <a:pt x="756" y="27"/>
                    <a:pt x="756" y="27"/>
                    <a:pt x="756" y="27"/>
                  </a:cubicBezTo>
                  <a:cubicBezTo>
                    <a:pt x="756" y="27"/>
                    <a:pt x="756" y="27"/>
                    <a:pt x="756" y="27"/>
                  </a:cubicBezTo>
                  <a:cubicBezTo>
                    <a:pt x="756" y="27"/>
                    <a:pt x="756" y="27"/>
                    <a:pt x="756" y="27"/>
                  </a:cubicBezTo>
                  <a:cubicBezTo>
                    <a:pt x="756" y="27"/>
                    <a:pt x="756" y="27"/>
                    <a:pt x="756" y="27"/>
                  </a:cubicBezTo>
                  <a:cubicBezTo>
                    <a:pt x="756" y="27"/>
                    <a:pt x="756" y="27"/>
                    <a:pt x="756" y="27"/>
                  </a:cubicBezTo>
                  <a:cubicBezTo>
                    <a:pt x="756" y="27"/>
                    <a:pt x="756" y="27"/>
                    <a:pt x="756" y="27"/>
                  </a:cubicBezTo>
                  <a:cubicBezTo>
                    <a:pt x="756" y="27"/>
                    <a:pt x="756" y="27"/>
                    <a:pt x="756" y="27"/>
                  </a:cubicBezTo>
                  <a:cubicBezTo>
                    <a:pt x="757" y="27"/>
                    <a:pt x="757" y="27"/>
                    <a:pt x="757" y="27"/>
                  </a:cubicBezTo>
                  <a:cubicBezTo>
                    <a:pt x="757" y="27"/>
                    <a:pt x="757" y="27"/>
                    <a:pt x="757" y="27"/>
                  </a:cubicBezTo>
                  <a:cubicBezTo>
                    <a:pt x="759" y="27"/>
                    <a:pt x="758" y="28"/>
                    <a:pt x="759" y="28"/>
                  </a:cubicBezTo>
                  <a:cubicBezTo>
                    <a:pt x="759" y="28"/>
                    <a:pt x="759" y="28"/>
                    <a:pt x="759" y="28"/>
                  </a:cubicBezTo>
                  <a:cubicBezTo>
                    <a:pt x="760" y="28"/>
                    <a:pt x="760" y="28"/>
                    <a:pt x="760" y="28"/>
                  </a:cubicBezTo>
                  <a:cubicBezTo>
                    <a:pt x="760" y="28"/>
                    <a:pt x="760" y="28"/>
                    <a:pt x="761" y="28"/>
                  </a:cubicBezTo>
                  <a:cubicBezTo>
                    <a:pt x="761" y="29"/>
                    <a:pt x="761" y="29"/>
                    <a:pt x="761" y="29"/>
                  </a:cubicBezTo>
                  <a:cubicBezTo>
                    <a:pt x="762" y="29"/>
                    <a:pt x="762" y="29"/>
                    <a:pt x="762" y="29"/>
                  </a:cubicBezTo>
                  <a:cubicBezTo>
                    <a:pt x="763" y="29"/>
                    <a:pt x="763" y="29"/>
                    <a:pt x="763" y="29"/>
                  </a:cubicBezTo>
                  <a:cubicBezTo>
                    <a:pt x="763" y="29"/>
                    <a:pt x="763" y="29"/>
                    <a:pt x="763" y="29"/>
                  </a:cubicBezTo>
                  <a:cubicBezTo>
                    <a:pt x="762" y="29"/>
                    <a:pt x="762" y="29"/>
                    <a:pt x="762" y="29"/>
                  </a:cubicBezTo>
                  <a:cubicBezTo>
                    <a:pt x="762" y="29"/>
                    <a:pt x="762" y="29"/>
                    <a:pt x="762" y="29"/>
                  </a:cubicBezTo>
                  <a:cubicBezTo>
                    <a:pt x="762" y="29"/>
                    <a:pt x="762" y="29"/>
                    <a:pt x="762" y="29"/>
                  </a:cubicBezTo>
                  <a:cubicBezTo>
                    <a:pt x="761" y="29"/>
                    <a:pt x="761" y="29"/>
                    <a:pt x="760" y="29"/>
                  </a:cubicBezTo>
                  <a:cubicBezTo>
                    <a:pt x="760" y="29"/>
                    <a:pt x="760" y="29"/>
                    <a:pt x="760" y="29"/>
                  </a:cubicBezTo>
                  <a:cubicBezTo>
                    <a:pt x="760" y="29"/>
                    <a:pt x="760" y="29"/>
                    <a:pt x="760" y="29"/>
                  </a:cubicBezTo>
                  <a:cubicBezTo>
                    <a:pt x="760" y="29"/>
                    <a:pt x="760" y="29"/>
                    <a:pt x="760" y="29"/>
                  </a:cubicBezTo>
                  <a:cubicBezTo>
                    <a:pt x="759" y="29"/>
                    <a:pt x="759" y="29"/>
                    <a:pt x="759" y="29"/>
                  </a:cubicBezTo>
                  <a:cubicBezTo>
                    <a:pt x="759" y="29"/>
                    <a:pt x="759" y="29"/>
                    <a:pt x="759" y="29"/>
                  </a:cubicBezTo>
                  <a:cubicBezTo>
                    <a:pt x="759" y="29"/>
                    <a:pt x="759" y="29"/>
                    <a:pt x="759" y="29"/>
                  </a:cubicBezTo>
                  <a:cubicBezTo>
                    <a:pt x="759" y="29"/>
                    <a:pt x="759" y="29"/>
                    <a:pt x="759" y="29"/>
                  </a:cubicBezTo>
                  <a:cubicBezTo>
                    <a:pt x="759" y="29"/>
                    <a:pt x="759" y="29"/>
                    <a:pt x="759" y="29"/>
                  </a:cubicBezTo>
                  <a:cubicBezTo>
                    <a:pt x="759" y="29"/>
                    <a:pt x="759" y="29"/>
                    <a:pt x="759" y="29"/>
                  </a:cubicBezTo>
                  <a:cubicBezTo>
                    <a:pt x="759" y="28"/>
                    <a:pt x="759" y="28"/>
                    <a:pt x="759" y="28"/>
                  </a:cubicBezTo>
                  <a:cubicBezTo>
                    <a:pt x="759" y="28"/>
                    <a:pt x="759" y="28"/>
                    <a:pt x="759" y="28"/>
                  </a:cubicBezTo>
                  <a:cubicBezTo>
                    <a:pt x="759" y="28"/>
                    <a:pt x="759" y="28"/>
                    <a:pt x="759" y="28"/>
                  </a:cubicBezTo>
                  <a:cubicBezTo>
                    <a:pt x="758" y="28"/>
                    <a:pt x="758" y="28"/>
                    <a:pt x="758" y="28"/>
                  </a:cubicBezTo>
                  <a:cubicBezTo>
                    <a:pt x="758" y="28"/>
                    <a:pt x="758" y="28"/>
                    <a:pt x="758" y="28"/>
                  </a:cubicBezTo>
                  <a:cubicBezTo>
                    <a:pt x="758" y="28"/>
                    <a:pt x="758" y="28"/>
                    <a:pt x="758" y="28"/>
                  </a:cubicBezTo>
                  <a:cubicBezTo>
                    <a:pt x="757" y="28"/>
                    <a:pt x="757" y="28"/>
                    <a:pt x="756" y="28"/>
                  </a:cubicBezTo>
                  <a:cubicBezTo>
                    <a:pt x="755" y="28"/>
                    <a:pt x="755" y="28"/>
                    <a:pt x="755" y="28"/>
                  </a:cubicBezTo>
                  <a:cubicBezTo>
                    <a:pt x="755" y="28"/>
                    <a:pt x="755" y="28"/>
                    <a:pt x="755" y="28"/>
                  </a:cubicBezTo>
                  <a:cubicBezTo>
                    <a:pt x="754" y="27"/>
                    <a:pt x="753" y="28"/>
                    <a:pt x="752" y="28"/>
                  </a:cubicBezTo>
                  <a:cubicBezTo>
                    <a:pt x="751" y="28"/>
                    <a:pt x="751" y="28"/>
                    <a:pt x="751" y="28"/>
                  </a:cubicBezTo>
                  <a:cubicBezTo>
                    <a:pt x="751" y="28"/>
                    <a:pt x="751" y="28"/>
                    <a:pt x="751" y="28"/>
                  </a:cubicBezTo>
                  <a:cubicBezTo>
                    <a:pt x="751" y="28"/>
                    <a:pt x="751" y="28"/>
                    <a:pt x="751" y="28"/>
                  </a:cubicBezTo>
                  <a:cubicBezTo>
                    <a:pt x="751" y="27"/>
                    <a:pt x="751" y="27"/>
                    <a:pt x="751" y="27"/>
                  </a:cubicBezTo>
                  <a:cubicBezTo>
                    <a:pt x="751" y="27"/>
                    <a:pt x="751" y="27"/>
                    <a:pt x="751" y="27"/>
                  </a:cubicBezTo>
                  <a:cubicBezTo>
                    <a:pt x="751" y="27"/>
                    <a:pt x="751" y="27"/>
                    <a:pt x="750" y="27"/>
                  </a:cubicBezTo>
                  <a:cubicBezTo>
                    <a:pt x="750" y="27"/>
                    <a:pt x="750" y="27"/>
                    <a:pt x="750" y="27"/>
                  </a:cubicBezTo>
                  <a:cubicBezTo>
                    <a:pt x="750" y="27"/>
                    <a:pt x="750" y="27"/>
                    <a:pt x="750" y="27"/>
                  </a:cubicBezTo>
                  <a:cubicBezTo>
                    <a:pt x="748" y="26"/>
                    <a:pt x="745" y="27"/>
                    <a:pt x="743" y="28"/>
                  </a:cubicBezTo>
                  <a:cubicBezTo>
                    <a:pt x="743" y="28"/>
                    <a:pt x="743" y="28"/>
                    <a:pt x="743" y="28"/>
                  </a:cubicBezTo>
                  <a:cubicBezTo>
                    <a:pt x="743" y="27"/>
                    <a:pt x="743" y="27"/>
                    <a:pt x="743" y="27"/>
                  </a:cubicBezTo>
                  <a:cubicBezTo>
                    <a:pt x="743" y="27"/>
                    <a:pt x="743" y="27"/>
                    <a:pt x="743" y="27"/>
                  </a:cubicBezTo>
                  <a:cubicBezTo>
                    <a:pt x="743" y="27"/>
                    <a:pt x="743" y="27"/>
                    <a:pt x="743" y="27"/>
                  </a:cubicBezTo>
                  <a:cubicBezTo>
                    <a:pt x="741" y="27"/>
                    <a:pt x="738" y="27"/>
                    <a:pt x="736" y="27"/>
                  </a:cubicBezTo>
                  <a:cubicBezTo>
                    <a:pt x="736" y="27"/>
                    <a:pt x="736" y="27"/>
                    <a:pt x="736" y="27"/>
                  </a:cubicBezTo>
                  <a:cubicBezTo>
                    <a:pt x="735" y="27"/>
                    <a:pt x="735" y="27"/>
                    <a:pt x="735" y="27"/>
                  </a:cubicBezTo>
                  <a:cubicBezTo>
                    <a:pt x="735" y="27"/>
                    <a:pt x="735" y="27"/>
                    <a:pt x="735" y="27"/>
                  </a:cubicBezTo>
                  <a:cubicBezTo>
                    <a:pt x="735" y="27"/>
                    <a:pt x="735" y="27"/>
                    <a:pt x="735" y="27"/>
                  </a:cubicBezTo>
                  <a:cubicBezTo>
                    <a:pt x="735" y="27"/>
                    <a:pt x="735" y="27"/>
                    <a:pt x="735" y="27"/>
                  </a:cubicBezTo>
                  <a:cubicBezTo>
                    <a:pt x="734" y="27"/>
                    <a:pt x="734" y="27"/>
                    <a:pt x="734" y="27"/>
                  </a:cubicBezTo>
                  <a:cubicBezTo>
                    <a:pt x="733" y="27"/>
                    <a:pt x="733" y="27"/>
                    <a:pt x="733" y="27"/>
                  </a:cubicBezTo>
                  <a:cubicBezTo>
                    <a:pt x="730" y="27"/>
                    <a:pt x="730" y="27"/>
                    <a:pt x="730" y="27"/>
                  </a:cubicBezTo>
                  <a:cubicBezTo>
                    <a:pt x="729" y="27"/>
                    <a:pt x="729" y="27"/>
                    <a:pt x="729" y="27"/>
                  </a:cubicBezTo>
                  <a:cubicBezTo>
                    <a:pt x="728" y="27"/>
                    <a:pt x="728" y="27"/>
                    <a:pt x="728" y="27"/>
                  </a:cubicBezTo>
                  <a:cubicBezTo>
                    <a:pt x="728" y="27"/>
                    <a:pt x="728" y="27"/>
                    <a:pt x="728" y="27"/>
                  </a:cubicBezTo>
                  <a:cubicBezTo>
                    <a:pt x="728" y="27"/>
                    <a:pt x="728" y="27"/>
                    <a:pt x="728" y="27"/>
                  </a:cubicBezTo>
                  <a:cubicBezTo>
                    <a:pt x="728" y="27"/>
                    <a:pt x="728" y="27"/>
                    <a:pt x="728" y="27"/>
                  </a:cubicBezTo>
                  <a:cubicBezTo>
                    <a:pt x="728" y="27"/>
                    <a:pt x="728" y="27"/>
                    <a:pt x="728" y="27"/>
                  </a:cubicBezTo>
                  <a:cubicBezTo>
                    <a:pt x="728" y="27"/>
                    <a:pt x="728" y="27"/>
                    <a:pt x="728" y="27"/>
                  </a:cubicBezTo>
                  <a:cubicBezTo>
                    <a:pt x="728" y="27"/>
                    <a:pt x="728" y="27"/>
                    <a:pt x="728" y="27"/>
                  </a:cubicBezTo>
                  <a:cubicBezTo>
                    <a:pt x="730" y="28"/>
                    <a:pt x="729" y="28"/>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30"/>
                    <a:pt x="730" y="30"/>
                    <a:pt x="730" y="30"/>
                  </a:cubicBezTo>
                  <a:cubicBezTo>
                    <a:pt x="730" y="30"/>
                    <a:pt x="730" y="30"/>
                    <a:pt x="730" y="30"/>
                  </a:cubicBezTo>
                  <a:cubicBezTo>
                    <a:pt x="730" y="30"/>
                    <a:pt x="730" y="30"/>
                    <a:pt x="730" y="30"/>
                  </a:cubicBezTo>
                  <a:cubicBezTo>
                    <a:pt x="730" y="30"/>
                    <a:pt x="730" y="30"/>
                    <a:pt x="730" y="30"/>
                  </a:cubicBezTo>
                  <a:cubicBezTo>
                    <a:pt x="731" y="30"/>
                    <a:pt x="731" y="30"/>
                    <a:pt x="731" y="30"/>
                  </a:cubicBezTo>
                  <a:cubicBezTo>
                    <a:pt x="731" y="30"/>
                    <a:pt x="731" y="30"/>
                    <a:pt x="731" y="30"/>
                  </a:cubicBezTo>
                  <a:cubicBezTo>
                    <a:pt x="731" y="30"/>
                    <a:pt x="731" y="30"/>
                    <a:pt x="731" y="30"/>
                  </a:cubicBezTo>
                  <a:cubicBezTo>
                    <a:pt x="731" y="30"/>
                    <a:pt x="731" y="30"/>
                    <a:pt x="731" y="30"/>
                  </a:cubicBezTo>
                  <a:cubicBezTo>
                    <a:pt x="732" y="30"/>
                    <a:pt x="732" y="30"/>
                    <a:pt x="732" y="30"/>
                  </a:cubicBezTo>
                  <a:cubicBezTo>
                    <a:pt x="732" y="30"/>
                    <a:pt x="732" y="30"/>
                    <a:pt x="732" y="30"/>
                  </a:cubicBezTo>
                  <a:cubicBezTo>
                    <a:pt x="732" y="30"/>
                    <a:pt x="732" y="30"/>
                    <a:pt x="732" y="30"/>
                  </a:cubicBezTo>
                  <a:cubicBezTo>
                    <a:pt x="733" y="30"/>
                    <a:pt x="734" y="30"/>
                    <a:pt x="734" y="31"/>
                  </a:cubicBezTo>
                  <a:cubicBezTo>
                    <a:pt x="734" y="31"/>
                    <a:pt x="734" y="31"/>
                    <a:pt x="734" y="31"/>
                  </a:cubicBezTo>
                  <a:cubicBezTo>
                    <a:pt x="734" y="31"/>
                    <a:pt x="734" y="31"/>
                    <a:pt x="734" y="31"/>
                  </a:cubicBezTo>
                  <a:cubicBezTo>
                    <a:pt x="734" y="31"/>
                    <a:pt x="734" y="31"/>
                    <a:pt x="734" y="31"/>
                  </a:cubicBezTo>
                  <a:cubicBezTo>
                    <a:pt x="735" y="32"/>
                    <a:pt x="735" y="32"/>
                    <a:pt x="735" y="32"/>
                  </a:cubicBezTo>
                  <a:cubicBezTo>
                    <a:pt x="735" y="32"/>
                    <a:pt x="735" y="32"/>
                    <a:pt x="735" y="32"/>
                  </a:cubicBezTo>
                  <a:cubicBezTo>
                    <a:pt x="735" y="32"/>
                    <a:pt x="735" y="32"/>
                    <a:pt x="735" y="32"/>
                  </a:cubicBezTo>
                  <a:cubicBezTo>
                    <a:pt x="736" y="32"/>
                    <a:pt x="736" y="32"/>
                    <a:pt x="736" y="32"/>
                  </a:cubicBezTo>
                  <a:cubicBezTo>
                    <a:pt x="736" y="32"/>
                    <a:pt x="736" y="32"/>
                    <a:pt x="736" y="32"/>
                  </a:cubicBezTo>
                  <a:cubicBezTo>
                    <a:pt x="736" y="32"/>
                    <a:pt x="736" y="32"/>
                    <a:pt x="736" y="32"/>
                  </a:cubicBezTo>
                  <a:cubicBezTo>
                    <a:pt x="736" y="32"/>
                    <a:pt x="736" y="32"/>
                    <a:pt x="736" y="32"/>
                  </a:cubicBezTo>
                  <a:cubicBezTo>
                    <a:pt x="736" y="32"/>
                    <a:pt x="736" y="32"/>
                    <a:pt x="736" y="32"/>
                  </a:cubicBezTo>
                  <a:cubicBezTo>
                    <a:pt x="736" y="32"/>
                    <a:pt x="736" y="32"/>
                    <a:pt x="736" y="32"/>
                  </a:cubicBezTo>
                  <a:cubicBezTo>
                    <a:pt x="736" y="32"/>
                    <a:pt x="736" y="32"/>
                    <a:pt x="736" y="32"/>
                  </a:cubicBezTo>
                  <a:cubicBezTo>
                    <a:pt x="736" y="33"/>
                    <a:pt x="736" y="33"/>
                    <a:pt x="736" y="33"/>
                  </a:cubicBezTo>
                  <a:cubicBezTo>
                    <a:pt x="736" y="33"/>
                    <a:pt x="736" y="33"/>
                    <a:pt x="736" y="33"/>
                  </a:cubicBezTo>
                  <a:cubicBezTo>
                    <a:pt x="736" y="33"/>
                    <a:pt x="736" y="33"/>
                    <a:pt x="736" y="33"/>
                  </a:cubicBezTo>
                  <a:cubicBezTo>
                    <a:pt x="736" y="33"/>
                    <a:pt x="736" y="33"/>
                    <a:pt x="736" y="33"/>
                  </a:cubicBezTo>
                  <a:cubicBezTo>
                    <a:pt x="737" y="33"/>
                    <a:pt x="737" y="33"/>
                    <a:pt x="737" y="33"/>
                  </a:cubicBezTo>
                  <a:cubicBezTo>
                    <a:pt x="737" y="33"/>
                    <a:pt x="737" y="33"/>
                    <a:pt x="737" y="33"/>
                  </a:cubicBezTo>
                  <a:cubicBezTo>
                    <a:pt x="737" y="33"/>
                    <a:pt x="737" y="33"/>
                    <a:pt x="737" y="33"/>
                  </a:cubicBezTo>
                  <a:cubicBezTo>
                    <a:pt x="737" y="33"/>
                    <a:pt x="737" y="33"/>
                    <a:pt x="737" y="33"/>
                  </a:cubicBezTo>
                  <a:cubicBezTo>
                    <a:pt x="737" y="33"/>
                    <a:pt x="737" y="33"/>
                    <a:pt x="737" y="33"/>
                  </a:cubicBezTo>
                  <a:cubicBezTo>
                    <a:pt x="737" y="34"/>
                    <a:pt x="737" y="34"/>
                    <a:pt x="737" y="34"/>
                  </a:cubicBezTo>
                  <a:cubicBezTo>
                    <a:pt x="737" y="34"/>
                    <a:pt x="737" y="34"/>
                    <a:pt x="737" y="34"/>
                  </a:cubicBezTo>
                  <a:cubicBezTo>
                    <a:pt x="738" y="34"/>
                    <a:pt x="738" y="34"/>
                    <a:pt x="738" y="34"/>
                  </a:cubicBezTo>
                  <a:cubicBezTo>
                    <a:pt x="738" y="34"/>
                    <a:pt x="738" y="34"/>
                    <a:pt x="738" y="34"/>
                  </a:cubicBezTo>
                  <a:cubicBezTo>
                    <a:pt x="738" y="34"/>
                    <a:pt x="738" y="34"/>
                    <a:pt x="738" y="34"/>
                  </a:cubicBezTo>
                  <a:cubicBezTo>
                    <a:pt x="738" y="34"/>
                    <a:pt x="738" y="34"/>
                    <a:pt x="738" y="34"/>
                  </a:cubicBezTo>
                  <a:cubicBezTo>
                    <a:pt x="738" y="34"/>
                    <a:pt x="738" y="34"/>
                    <a:pt x="738" y="34"/>
                  </a:cubicBezTo>
                  <a:cubicBezTo>
                    <a:pt x="738" y="35"/>
                    <a:pt x="738" y="35"/>
                    <a:pt x="738" y="35"/>
                  </a:cubicBezTo>
                  <a:cubicBezTo>
                    <a:pt x="739" y="36"/>
                    <a:pt x="739" y="36"/>
                    <a:pt x="739" y="36"/>
                  </a:cubicBezTo>
                  <a:cubicBezTo>
                    <a:pt x="738" y="36"/>
                    <a:pt x="738" y="36"/>
                    <a:pt x="738" y="36"/>
                  </a:cubicBezTo>
                  <a:cubicBezTo>
                    <a:pt x="730" y="33"/>
                    <a:pt x="730" y="33"/>
                    <a:pt x="730" y="33"/>
                  </a:cubicBezTo>
                  <a:cubicBezTo>
                    <a:pt x="729" y="32"/>
                    <a:pt x="729" y="32"/>
                    <a:pt x="729" y="32"/>
                  </a:cubicBezTo>
                  <a:cubicBezTo>
                    <a:pt x="728" y="32"/>
                    <a:pt x="728" y="32"/>
                    <a:pt x="728" y="32"/>
                  </a:cubicBezTo>
                  <a:cubicBezTo>
                    <a:pt x="727" y="32"/>
                    <a:pt x="727" y="32"/>
                    <a:pt x="727" y="32"/>
                  </a:cubicBezTo>
                  <a:cubicBezTo>
                    <a:pt x="727" y="32"/>
                    <a:pt x="727" y="32"/>
                    <a:pt x="727" y="32"/>
                  </a:cubicBezTo>
                  <a:cubicBezTo>
                    <a:pt x="727" y="32"/>
                    <a:pt x="727" y="32"/>
                    <a:pt x="727" y="32"/>
                  </a:cubicBezTo>
                  <a:cubicBezTo>
                    <a:pt x="727" y="32"/>
                    <a:pt x="727" y="32"/>
                    <a:pt x="727" y="32"/>
                  </a:cubicBezTo>
                  <a:cubicBezTo>
                    <a:pt x="727" y="32"/>
                    <a:pt x="727" y="32"/>
                    <a:pt x="727" y="32"/>
                  </a:cubicBezTo>
                  <a:cubicBezTo>
                    <a:pt x="726" y="32"/>
                    <a:pt x="726" y="32"/>
                    <a:pt x="726" y="32"/>
                  </a:cubicBezTo>
                  <a:cubicBezTo>
                    <a:pt x="726" y="32"/>
                    <a:pt x="725" y="33"/>
                    <a:pt x="725" y="33"/>
                  </a:cubicBezTo>
                  <a:cubicBezTo>
                    <a:pt x="725" y="33"/>
                    <a:pt x="725" y="33"/>
                    <a:pt x="725" y="33"/>
                  </a:cubicBezTo>
                  <a:cubicBezTo>
                    <a:pt x="725" y="33"/>
                    <a:pt x="725" y="33"/>
                    <a:pt x="725" y="33"/>
                  </a:cubicBezTo>
                  <a:cubicBezTo>
                    <a:pt x="725" y="33"/>
                    <a:pt x="725" y="33"/>
                    <a:pt x="725" y="33"/>
                  </a:cubicBezTo>
                  <a:cubicBezTo>
                    <a:pt x="725" y="33"/>
                    <a:pt x="725" y="33"/>
                    <a:pt x="725" y="33"/>
                  </a:cubicBezTo>
                  <a:cubicBezTo>
                    <a:pt x="723" y="34"/>
                    <a:pt x="722" y="34"/>
                    <a:pt x="721" y="34"/>
                  </a:cubicBezTo>
                  <a:cubicBezTo>
                    <a:pt x="720" y="34"/>
                    <a:pt x="720" y="34"/>
                    <a:pt x="720" y="34"/>
                  </a:cubicBezTo>
                  <a:cubicBezTo>
                    <a:pt x="720" y="34"/>
                    <a:pt x="720" y="34"/>
                    <a:pt x="720" y="34"/>
                  </a:cubicBezTo>
                  <a:cubicBezTo>
                    <a:pt x="720" y="34"/>
                    <a:pt x="720" y="34"/>
                    <a:pt x="720" y="34"/>
                  </a:cubicBezTo>
                  <a:cubicBezTo>
                    <a:pt x="719" y="35"/>
                    <a:pt x="719" y="35"/>
                    <a:pt x="719" y="35"/>
                  </a:cubicBezTo>
                  <a:cubicBezTo>
                    <a:pt x="719" y="35"/>
                    <a:pt x="719" y="35"/>
                    <a:pt x="719" y="35"/>
                  </a:cubicBezTo>
                  <a:cubicBezTo>
                    <a:pt x="719" y="35"/>
                    <a:pt x="719" y="35"/>
                    <a:pt x="719" y="35"/>
                  </a:cubicBezTo>
                  <a:cubicBezTo>
                    <a:pt x="719" y="35"/>
                    <a:pt x="719" y="35"/>
                    <a:pt x="719" y="35"/>
                  </a:cubicBezTo>
                  <a:cubicBezTo>
                    <a:pt x="719" y="35"/>
                    <a:pt x="719" y="35"/>
                    <a:pt x="719" y="35"/>
                  </a:cubicBezTo>
                  <a:cubicBezTo>
                    <a:pt x="719" y="35"/>
                    <a:pt x="719" y="35"/>
                    <a:pt x="719" y="35"/>
                  </a:cubicBezTo>
                  <a:cubicBezTo>
                    <a:pt x="718" y="35"/>
                    <a:pt x="717" y="35"/>
                    <a:pt x="716" y="36"/>
                  </a:cubicBezTo>
                  <a:cubicBezTo>
                    <a:pt x="716" y="36"/>
                    <a:pt x="716" y="36"/>
                    <a:pt x="716" y="36"/>
                  </a:cubicBezTo>
                  <a:cubicBezTo>
                    <a:pt x="716" y="36"/>
                    <a:pt x="716" y="36"/>
                    <a:pt x="716" y="36"/>
                  </a:cubicBezTo>
                  <a:cubicBezTo>
                    <a:pt x="715" y="36"/>
                    <a:pt x="715" y="36"/>
                    <a:pt x="714" y="37"/>
                  </a:cubicBezTo>
                  <a:cubicBezTo>
                    <a:pt x="713" y="38"/>
                    <a:pt x="713" y="38"/>
                    <a:pt x="713" y="38"/>
                  </a:cubicBezTo>
                  <a:cubicBezTo>
                    <a:pt x="712" y="38"/>
                    <a:pt x="712" y="38"/>
                    <a:pt x="712" y="38"/>
                  </a:cubicBezTo>
                  <a:cubicBezTo>
                    <a:pt x="712" y="38"/>
                    <a:pt x="712" y="38"/>
                    <a:pt x="712" y="38"/>
                  </a:cubicBezTo>
                  <a:cubicBezTo>
                    <a:pt x="713" y="37"/>
                    <a:pt x="713" y="37"/>
                    <a:pt x="713" y="37"/>
                  </a:cubicBezTo>
                  <a:cubicBezTo>
                    <a:pt x="713" y="37"/>
                    <a:pt x="713" y="37"/>
                    <a:pt x="713" y="37"/>
                  </a:cubicBezTo>
                  <a:cubicBezTo>
                    <a:pt x="713" y="36"/>
                    <a:pt x="713" y="36"/>
                    <a:pt x="713" y="36"/>
                  </a:cubicBezTo>
                  <a:cubicBezTo>
                    <a:pt x="713" y="36"/>
                    <a:pt x="713" y="36"/>
                    <a:pt x="713" y="36"/>
                  </a:cubicBezTo>
                  <a:cubicBezTo>
                    <a:pt x="712" y="37"/>
                    <a:pt x="712" y="37"/>
                    <a:pt x="712" y="37"/>
                  </a:cubicBezTo>
                  <a:cubicBezTo>
                    <a:pt x="712" y="37"/>
                    <a:pt x="712" y="37"/>
                    <a:pt x="712" y="37"/>
                  </a:cubicBezTo>
                  <a:cubicBezTo>
                    <a:pt x="712" y="37"/>
                    <a:pt x="712" y="37"/>
                    <a:pt x="712" y="37"/>
                  </a:cubicBezTo>
                  <a:cubicBezTo>
                    <a:pt x="712" y="37"/>
                    <a:pt x="712" y="37"/>
                    <a:pt x="712" y="37"/>
                  </a:cubicBezTo>
                  <a:cubicBezTo>
                    <a:pt x="712" y="37"/>
                    <a:pt x="712" y="37"/>
                    <a:pt x="712" y="37"/>
                  </a:cubicBezTo>
                  <a:cubicBezTo>
                    <a:pt x="711" y="37"/>
                    <a:pt x="711" y="37"/>
                    <a:pt x="711" y="37"/>
                  </a:cubicBezTo>
                  <a:cubicBezTo>
                    <a:pt x="711" y="37"/>
                    <a:pt x="711" y="37"/>
                    <a:pt x="711" y="37"/>
                  </a:cubicBezTo>
                  <a:cubicBezTo>
                    <a:pt x="709" y="38"/>
                    <a:pt x="709" y="38"/>
                    <a:pt x="709" y="38"/>
                  </a:cubicBezTo>
                  <a:cubicBezTo>
                    <a:pt x="706" y="39"/>
                    <a:pt x="706" y="39"/>
                    <a:pt x="706" y="39"/>
                  </a:cubicBezTo>
                  <a:cubicBezTo>
                    <a:pt x="705" y="40"/>
                    <a:pt x="705" y="40"/>
                    <a:pt x="705" y="40"/>
                  </a:cubicBezTo>
                  <a:cubicBezTo>
                    <a:pt x="704" y="40"/>
                    <a:pt x="704" y="40"/>
                    <a:pt x="704" y="40"/>
                  </a:cubicBezTo>
                  <a:cubicBezTo>
                    <a:pt x="704" y="40"/>
                    <a:pt x="704" y="40"/>
                    <a:pt x="704" y="40"/>
                  </a:cubicBezTo>
                  <a:cubicBezTo>
                    <a:pt x="704" y="40"/>
                    <a:pt x="704" y="40"/>
                    <a:pt x="704" y="40"/>
                  </a:cubicBezTo>
                  <a:cubicBezTo>
                    <a:pt x="704" y="40"/>
                    <a:pt x="704" y="40"/>
                    <a:pt x="704" y="40"/>
                  </a:cubicBezTo>
                  <a:cubicBezTo>
                    <a:pt x="705" y="39"/>
                    <a:pt x="705" y="39"/>
                    <a:pt x="705" y="39"/>
                  </a:cubicBezTo>
                  <a:cubicBezTo>
                    <a:pt x="705" y="39"/>
                    <a:pt x="705" y="39"/>
                    <a:pt x="705" y="39"/>
                  </a:cubicBezTo>
                  <a:cubicBezTo>
                    <a:pt x="705" y="39"/>
                    <a:pt x="705" y="39"/>
                    <a:pt x="705" y="39"/>
                  </a:cubicBezTo>
                  <a:cubicBezTo>
                    <a:pt x="705" y="38"/>
                    <a:pt x="705" y="38"/>
                    <a:pt x="705" y="38"/>
                  </a:cubicBezTo>
                  <a:cubicBezTo>
                    <a:pt x="704" y="37"/>
                    <a:pt x="704" y="37"/>
                    <a:pt x="704" y="37"/>
                  </a:cubicBezTo>
                  <a:cubicBezTo>
                    <a:pt x="704" y="37"/>
                    <a:pt x="704" y="37"/>
                    <a:pt x="704" y="37"/>
                  </a:cubicBezTo>
                  <a:cubicBezTo>
                    <a:pt x="704" y="37"/>
                    <a:pt x="704" y="37"/>
                    <a:pt x="704" y="37"/>
                  </a:cubicBezTo>
                  <a:cubicBezTo>
                    <a:pt x="703" y="37"/>
                    <a:pt x="703" y="37"/>
                    <a:pt x="703" y="37"/>
                  </a:cubicBezTo>
                  <a:cubicBezTo>
                    <a:pt x="702" y="38"/>
                    <a:pt x="702" y="38"/>
                    <a:pt x="702" y="38"/>
                  </a:cubicBezTo>
                  <a:cubicBezTo>
                    <a:pt x="702" y="38"/>
                    <a:pt x="702" y="38"/>
                    <a:pt x="702" y="38"/>
                  </a:cubicBezTo>
                  <a:cubicBezTo>
                    <a:pt x="701" y="38"/>
                    <a:pt x="701" y="38"/>
                    <a:pt x="701" y="38"/>
                  </a:cubicBezTo>
                  <a:cubicBezTo>
                    <a:pt x="698" y="40"/>
                    <a:pt x="698" y="40"/>
                    <a:pt x="698" y="40"/>
                  </a:cubicBezTo>
                  <a:cubicBezTo>
                    <a:pt x="697" y="40"/>
                    <a:pt x="697" y="40"/>
                    <a:pt x="697" y="40"/>
                  </a:cubicBezTo>
                  <a:cubicBezTo>
                    <a:pt x="696" y="40"/>
                    <a:pt x="696" y="40"/>
                    <a:pt x="696" y="40"/>
                  </a:cubicBezTo>
                  <a:cubicBezTo>
                    <a:pt x="696" y="40"/>
                    <a:pt x="696" y="40"/>
                    <a:pt x="696" y="40"/>
                  </a:cubicBezTo>
                  <a:cubicBezTo>
                    <a:pt x="696" y="40"/>
                    <a:pt x="696" y="40"/>
                    <a:pt x="696" y="40"/>
                  </a:cubicBezTo>
                  <a:cubicBezTo>
                    <a:pt x="696" y="40"/>
                    <a:pt x="696" y="40"/>
                    <a:pt x="696" y="40"/>
                  </a:cubicBezTo>
                  <a:cubicBezTo>
                    <a:pt x="696" y="40"/>
                    <a:pt x="696" y="40"/>
                    <a:pt x="696" y="40"/>
                  </a:cubicBezTo>
                  <a:cubicBezTo>
                    <a:pt x="695" y="40"/>
                    <a:pt x="695" y="40"/>
                    <a:pt x="695" y="40"/>
                  </a:cubicBezTo>
                  <a:cubicBezTo>
                    <a:pt x="695" y="40"/>
                    <a:pt x="695" y="40"/>
                    <a:pt x="695" y="40"/>
                  </a:cubicBezTo>
                  <a:cubicBezTo>
                    <a:pt x="695" y="40"/>
                    <a:pt x="695" y="40"/>
                    <a:pt x="695" y="40"/>
                  </a:cubicBezTo>
                  <a:cubicBezTo>
                    <a:pt x="695" y="40"/>
                    <a:pt x="695" y="40"/>
                    <a:pt x="695" y="40"/>
                  </a:cubicBezTo>
                  <a:cubicBezTo>
                    <a:pt x="697" y="39"/>
                    <a:pt x="697" y="39"/>
                    <a:pt x="698" y="38"/>
                  </a:cubicBezTo>
                  <a:cubicBezTo>
                    <a:pt x="698" y="38"/>
                    <a:pt x="698" y="38"/>
                    <a:pt x="698" y="38"/>
                  </a:cubicBezTo>
                  <a:cubicBezTo>
                    <a:pt x="671" y="35"/>
                    <a:pt x="671" y="35"/>
                    <a:pt x="671" y="35"/>
                  </a:cubicBezTo>
                  <a:cubicBezTo>
                    <a:pt x="670" y="35"/>
                    <a:pt x="670" y="35"/>
                    <a:pt x="670" y="35"/>
                  </a:cubicBezTo>
                  <a:cubicBezTo>
                    <a:pt x="670" y="35"/>
                    <a:pt x="670" y="35"/>
                    <a:pt x="670" y="35"/>
                  </a:cubicBezTo>
                  <a:cubicBezTo>
                    <a:pt x="670" y="35"/>
                    <a:pt x="670" y="35"/>
                    <a:pt x="670" y="35"/>
                  </a:cubicBezTo>
                  <a:cubicBezTo>
                    <a:pt x="670" y="36"/>
                    <a:pt x="670" y="36"/>
                    <a:pt x="670" y="36"/>
                  </a:cubicBezTo>
                  <a:cubicBezTo>
                    <a:pt x="670" y="36"/>
                    <a:pt x="670" y="36"/>
                    <a:pt x="670" y="36"/>
                  </a:cubicBezTo>
                  <a:cubicBezTo>
                    <a:pt x="669" y="36"/>
                    <a:pt x="669" y="36"/>
                    <a:pt x="669" y="36"/>
                  </a:cubicBezTo>
                  <a:cubicBezTo>
                    <a:pt x="669" y="36"/>
                    <a:pt x="669" y="36"/>
                    <a:pt x="669" y="36"/>
                  </a:cubicBezTo>
                  <a:cubicBezTo>
                    <a:pt x="669" y="36"/>
                    <a:pt x="669" y="36"/>
                    <a:pt x="669" y="36"/>
                  </a:cubicBezTo>
                  <a:cubicBezTo>
                    <a:pt x="669" y="36"/>
                    <a:pt x="668" y="36"/>
                    <a:pt x="668" y="36"/>
                  </a:cubicBezTo>
                  <a:cubicBezTo>
                    <a:pt x="668" y="36"/>
                    <a:pt x="668" y="36"/>
                    <a:pt x="668" y="36"/>
                  </a:cubicBezTo>
                  <a:cubicBezTo>
                    <a:pt x="668" y="36"/>
                    <a:pt x="668" y="36"/>
                    <a:pt x="668" y="36"/>
                  </a:cubicBezTo>
                  <a:cubicBezTo>
                    <a:pt x="668" y="36"/>
                    <a:pt x="668" y="36"/>
                    <a:pt x="668" y="36"/>
                  </a:cubicBezTo>
                  <a:cubicBezTo>
                    <a:pt x="668" y="37"/>
                    <a:pt x="668" y="37"/>
                    <a:pt x="668" y="37"/>
                  </a:cubicBezTo>
                  <a:cubicBezTo>
                    <a:pt x="668" y="37"/>
                    <a:pt x="668" y="37"/>
                    <a:pt x="668" y="37"/>
                  </a:cubicBezTo>
                  <a:cubicBezTo>
                    <a:pt x="668" y="37"/>
                    <a:pt x="668" y="37"/>
                    <a:pt x="668" y="37"/>
                  </a:cubicBezTo>
                  <a:cubicBezTo>
                    <a:pt x="668" y="37"/>
                    <a:pt x="668" y="37"/>
                    <a:pt x="668" y="37"/>
                  </a:cubicBezTo>
                  <a:cubicBezTo>
                    <a:pt x="668" y="38"/>
                    <a:pt x="668" y="38"/>
                    <a:pt x="668" y="38"/>
                  </a:cubicBezTo>
                  <a:cubicBezTo>
                    <a:pt x="667" y="38"/>
                    <a:pt x="667" y="38"/>
                    <a:pt x="667" y="38"/>
                  </a:cubicBezTo>
                  <a:cubicBezTo>
                    <a:pt x="667" y="38"/>
                    <a:pt x="667" y="38"/>
                    <a:pt x="667" y="38"/>
                  </a:cubicBezTo>
                  <a:cubicBezTo>
                    <a:pt x="667" y="38"/>
                    <a:pt x="667" y="38"/>
                    <a:pt x="667" y="38"/>
                  </a:cubicBezTo>
                  <a:cubicBezTo>
                    <a:pt x="667" y="38"/>
                    <a:pt x="667" y="38"/>
                    <a:pt x="667" y="38"/>
                  </a:cubicBezTo>
                  <a:cubicBezTo>
                    <a:pt x="668" y="38"/>
                    <a:pt x="668" y="38"/>
                    <a:pt x="668" y="38"/>
                  </a:cubicBezTo>
                  <a:cubicBezTo>
                    <a:pt x="668" y="38"/>
                    <a:pt x="668" y="38"/>
                    <a:pt x="668" y="38"/>
                  </a:cubicBezTo>
                  <a:cubicBezTo>
                    <a:pt x="670" y="38"/>
                    <a:pt x="670" y="38"/>
                    <a:pt x="670" y="38"/>
                  </a:cubicBezTo>
                  <a:cubicBezTo>
                    <a:pt x="671" y="38"/>
                    <a:pt x="671" y="38"/>
                    <a:pt x="671" y="38"/>
                  </a:cubicBezTo>
                  <a:cubicBezTo>
                    <a:pt x="672" y="38"/>
                    <a:pt x="672" y="38"/>
                    <a:pt x="672" y="38"/>
                  </a:cubicBezTo>
                  <a:cubicBezTo>
                    <a:pt x="672" y="38"/>
                    <a:pt x="672" y="38"/>
                    <a:pt x="672" y="38"/>
                  </a:cubicBezTo>
                  <a:cubicBezTo>
                    <a:pt x="672" y="38"/>
                    <a:pt x="672" y="38"/>
                    <a:pt x="672" y="38"/>
                  </a:cubicBezTo>
                  <a:cubicBezTo>
                    <a:pt x="672" y="38"/>
                    <a:pt x="672" y="38"/>
                    <a:pt x="672" y="38"/>
                  </a:cubicBezTo>
                  <a:cubicBezTo>
                    <a:pt x="672" y="38"/>
                    <a:pt x="672" y="38"/>
                    <a:pt x="672" y="38"/>
                  </a:cubicBezTo>
                  <a:cubicBezTo>
                    <a:pt x="672" y="38"/>
                    <a:pt x="672" y="38"/>
                    <a:pt x="672" y="38"/>
                  </a:cubicBezTo>
                  <a:cubicBezTo>
                    <a:pt x="672" y="38"/>
                    <a:pt x="672" y="38"/>
                    <a:pt x="672" y="38"/>
                  </a:cubicBezTo>
                  <a:cubicBezTo>
                    <a:pt x="673" y="39"/>
                    <a:pt x="674" y="38"/>
                    <a:pt x="675" y="39"/>
                  </a:cubicBezTo>
                  <a:cubicBezTo>
                    <a:pt x="675" y="39"/>
                    <a:pt x="675" y="39"/>
                    <a:pt x="675" y="39"/>
                  </a:cubicBezTo>
                  <a:cubicBezTo>
                    <a:pt x="675" y="39"/>
                    <a:pt x="675" y="39"/>
                    <a:pt x="675" y="39"/>
                  </a:cubicBezTo>
                  <a:cubicBezTo>
                    <a:pt x="675" y="39"/>
                    <a:pt x="675" y="39"/>
                    <a:pt x="675" y="39"/>
                  </a:cubicBezTo>
                  <a:cubicBezTo>
                    <a:pt x="676" y="39"/>
                    <a:pt x="676" y="39"/>
                    <a:pt x="676" y="39"/>
                  </a:cubicBezTo>
                  <a:cubicBezTo>
                    <a:pt x="679" y="39"/>
                    <a:pt x="679" y="39"/>
                    <a:pt x="679" y="39"/>
                  </a:cubicBezTo>
                  <a:cubicBezTo>
                    <a:pt x="680" y="38"/>
                    <a:pt x="680" y="38"/>
                    <a:pt x="680" y="38"/>
                  </a:cubicBezTo>
                  <a:cubicBezTo>
                    <a:pt x="681" y="38"/>
                    <a:pt x="681" y="38"/>
                    <a:pt x="681" y="38"/>
                  </a:cubicBezTo>
                  <a:cubicBezTo>
                    <a:pt x="681" y="39"/>
                    <a:pt x="681" y="39"/>
                    <a:pt x="681" y="39"/>
                  </a:cubicBezTo>
                  <a:cubicBezTo>
                    <a:pt x="680" y="39"/>
                    <a:pt x="680" y="39"/>
                    <a:pt x="680" y="39"/>
                  </a:cubicBezTo>
                  <a:cubicBezTo>
                    <a:pt x="680" y="39"/>
                    <a:pt x="680" y="39"/>
                    <a:pt x="680" y="39"/>
                  </a:cubicBezTo>
                  <a:cubicBezTo>
                    <a:pt x="679" y="39"/>
                    <a:pt x="677" y="40"/>
                    <a:pt x="675" y="40"/>
                  </a:cubicBezTo>
                  <a:cubicBezTo>
                    <a:pt x="656" y="43"/>
                    <a:pt x="656" y="43"/>
                    <a:pt x="656" y="43"/>
                  </a:cubicBezTo>
                  <a:cubicBezTo>
                    <a:pt x="656" y="43"/>
                    <a:pt x="656" y="43"/>
                    <a:pt x="656" y="43"/>
                  </a:cubicBezTo>
                  <a:cubicBezTo>
                    <a:pt x="652" y="44"/>
                    <a:pt x="648" y="44"/>
                    <a:pt x="645" y="45"/>
                  </a:cubicBezTo>
                  <a:cubicBezTo>
                    <a:pt x="644" y="45"/>
                    <a:pt x="644" y="45"/>
                    <a:pt x="644" y="45"/>
                  </a:cubicBezTo>
                  <a:cubicBezTo>
                    <a:pt x="641" y="46"/>
                    <a:pt x="641" y="46"/>
                    <a:pt x="641" y="46"/>
                  </a:cubicBezTo>
                  <a:cubicBezTo>
                    <a:pt x="640" y="46"/>
                    <a:pt x="640" y="46"/>
                    <a:pt x="640" y="46"/>
                  </a:cubicBezTo>
                  <a:cubicBezTo>
                    <a:pt x="639" y="46"/>
                    <a:pt x="639" y="46"/>
                    <a:pt x="639" y="46"/>
                  </a:cubicBezTo>
                  <a:cubicBezTo>
                    <a:pt x="638" y="46"/>
                    <a:pt x="637" y="46"/>
                    <a:pt x="637" y="47"/>
                  </a:cubicBezTo>
                  <a:cubicBezTo>
                    <a:pt x="636" y="47"/>
                    <a:pt x="636" y="47"/>
                    <a:pt x="636" y="47"/>
                  </a:cubicBezTo>
                  <a:cubicBezTo>
                    <a:pt x="632" y="47"/>
                    <a:pt x="632" y="47"/>
                    <a:pt x="632" y="47"/>
                  </a:cubicBezTo>
                  <a:cubicBezTo>
                    <a:pt x="631" y="48"/>
                    <a:pt x="631" y="48"/>
                    <a:pt x="631" y="48"/>
                  </a:cubicBezTo>
                  <a:cubicBezTo>
                    <a:pt x="630" y="48"/>
                    <a:pt x="630" y="48"/>
                    <a:pt x="630" y="48"/>
                  </a:cubicBezTo>
                  <a:cubicBezTo>
                    <a:pt x="630" y="48"/>
                    <a:pt x="630" y="48"/>
                    <a:pt x="630" y="48"/>
                  </a:cubicBezTo>
                  <a:cubicBezTo>
                    <a:pt x="630" y="48"/>
                    <a:pt x="630" y="48"/>
                    <a:pt x="630" y="48"/>
                  </a:cubicBezTo>
                  <a:cubicBezTo>
                    <a:pt x="630" y="48"/>
                    <a:pt x="630" y="48"/>
                    <a:pt x="630" y="48"/>
                  </a:cubicBezTo>
                  <a:cubicBezTo>
                    <a:pt x="630" y="48"/>
                    <a:pt x="630" y="48"/>
                    <a:pt x="630" y="48"/>
                  </a:cubicBezTo>
                  <a:cubicBezTo>
                    <a:pt x="630" y="48"/>
                    <a:pt x="630" y="48"/>
                    <a:pt x="630" y="48"/>
                  </a:cubicBezTo>
                  <a:cubicBezTo>
                    <a:pt x="629" y="49"/>
                    <a:pt x="629" y="49"/>
                    <a:pt x="629"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7" y="50"/>
                    <a:pt x="627" y="50"/>
                    <a:pt x="626" y="50"/>
                  </a:cubicBezTo>
                  <a:cubicBezTo>
                    <a:pt x="626" y="50"/>
                    <a:pt x="626" y="50"/>
                    <a:pt x="626" y="50"/>
                  </a:cubicBezTo>
                  <a:cubicBezTo>
                    <a:pt x="626" y="50"/>
                    <a:pt x="626" y="50"/>
                    <a:pt x="626" y="50"/>
                  </a:cubicBezTo>
                  <a:cubicBezTo>
                    <a:pt x="626" y="51"/>
                    <a:pt x="626" y="51"/>
                    <a:pt x="626" y="51"/>
                  </a:cubicBezTo>
                  <a:cubicBezTo>
                    <a:pt x="626" y="51"/>
                    <a:pt x="626" y="51"/>
                    <a:pt x="626" y="51"/>
                  </a:cubicBezTo>
                  <a:cubicBezTo>
                    <a:pt x="625" y="51"/>
                    <a:pt x="625" y="51"/>
                    <a:pt x="625" y="51"/>
                  </a:cubicBezTo>
                  <a:cubicBezTo>
                    <a:pt x="625" y="51"/>
                    <a:pt x="625" y="51"/>
                    <a:pt x="625" y="51"/>
                  </a:cubicBezTo>
                  <a:cubicBezTo>
                    <a:pt x="624" y="51"/>
                    <a:pt x="624" y="51"/>
                    <a:pt x="624" y="51"/>
                  </a:cubicBezTo>
                  <a:cubicBezTo>
                    <a:pt x="624" y="51"/>
                    <a:pt x="624" y="51"/>
                    <a:pt x="624" y="51"/>
                  </a:cubicBezTo>
                  <a:cubicBezTo>
                    <a:pt x="624" y="51"/>
                    <a:pt x="624" y="51"/>
                    <a:pt x="624" y="51"/>
                  </a:cubicBezTo>
                  <a:cubicBezTo>
                    <a:pt x="624" y="51"/>
                    <a:pt x="624" y="51"/>
                    <a:pt x="624" y="51"/>
                  </a:cubicBezTo>
                  <a:cubicBezTo>
                    <a:pt x="624" y="51"/>
                    <a:pt x="624" y="51"/>
                    <a:pt x="624" y="51"/>
                  </a:cubicBezTo>
                  <a:cubicBezTo>
                    <a:pt x="624" y="51"/>
                    <a:pt x="624" y="51"/>
                    <a:pt x="624" y="51"/>
                  </a:cubicBezTo>
                  <a:cubicBezTo>
                    <a:pt x="623" y="51"/>
                    <a:pt x="623" y="51"/>
                    <a:pt x="623" y="51"/>
                  </a:cubicBezTo>
                  <a:cubicBezTo>
                    <a:pt x="623" y="52"/>
                    <a:pt x="623" y="52"/>
                    <a:pt x="623" y="52"/>
                  </a:cubicBezTo>
                  <a:cubicBezTo>
                    <a:pt x="623" y="52"/>
                    <a:pt x="623" y="52"/>
                    <a:pt x="623" y="52"/>
                  </a:cubicBezTo>
                  <a:cubicBezTo>
                    <a:pt x="623" y="52"/>
                    <a:pt x="623" y="52"/>
                    <a:pt x="623" y="52"/>
                  </a:cubicBezTo>
                  <a:cubicBezTo>
                    <a:pt x="623" y="52"/>
                    <a:pt x="623" y="52"/>
                    <a:pt x="623" y="52"/>
                  </a:cubicBezTo>
                  <a:cubicBezTo>
                    <a:pt x="623" y="52"/>
                    <a:pt x="623" y="52"/>
                    <a:pt x="623" y="52"/>
                  </a:cubicBezTo>
                  <a:cubicBezTo>
                    <a:pt x="623" y="52"/>
                    <a:pt x="623" y="52"/>
                    <a:pt x="623" y="52"/>
                  </a:cubicBezTo>
                  <a:cubicBezTo>
                    <a:pt x="623" y="52"/>
                    <a:pt x="623" y="52"/>
                    <a:pt x="623" y="52"/>
                  </a:cubicBezTo>
                  <a:cubicBezTo>
                    <a:pt x="622" y="52"/>
                    <a:pt x="622" y="52"/>
                    <a:pt x="622" y="52"/>
                  </a:cubicBezTo>
                  <a:cubicBezTo>
                    <a:pt x="622" y="53"/>
                    <a:pt x="622" y="53"/>
                    <a:pt x="622" y="53"/>
                  </a:cubicBezTo>
                  <a:cubicBezTo>
                    <a:pt x="622" y="53"/>
                    <a:pt x="622" y="53"/>
                    <a:pt x="621" y="53"/>
                  </a:cubicBezTo>
                  <a:cubicBezTo>
                    <a:pt x="621" y="53"/>
                    <a:pt x="621" y="53"/>
                    <a:pt x="621" y="53"/>
                  </a:cubicBezTo>
                  <a:cubicBezTo>
                    <a:pt x="621" y="53"/>
                    <a:pt x="621" y="53"/>
                    <a:pt x="621" y="53"/>
                  </a:cubicBezTo>
                  <a:cubicBezTo>
                    <a:pt x="620" y="54"/>
                    <a:pt x="620" y="54"/>
                    <a:pt x="620" y="54"/>
                  </a:cubicBezTo>
                  <a:cubicBezTo>
                    <a:pt x="618" y="55"/>
                    <a:pt x="618" y="55"/>
                    <a:pt x="618" y="55"/>
                  </a:cubicBezTo>
                  <a:cubicBezTo>
                    <a:pt x="617" y="56"/>
                    <a:pt x="617" y="56"/>
                    <a:pt x="617" y="56"/>
                  </a:cubicBezTo>
                  <a:cubicBezTo>
                    <a:pt x="617" y="56"/>
                    <a:pt x="617" y="56"/>
                    <a:pt x="617" y="56"/>
                  </a:cubicBezTo>
                  <a:cubicBezTo>
                    <a:pt x="617" y="56"/>
                    <a:pt x="617" y="56"/>
                    <a:pt x="617" y="56"/>
                  </a:cubicBezTo>
                  <a:cubicBezTo>
                    <a:pt x="616" y="56"/>
                    <a:pt x="616" y="56"/>
                    <a:pt x="616" y="56"/>
                  </a:cubicBezTo>
                  <a:cubicBezTo>
                    <a:pt x="614" y="56"/>
                    <a:pt x="614" y="56"/>
                    <a:pt x="614" y="56"/>
                  </a:cubicBezTo>
                  <a:cubicBezTo>
                    <a:pt x="610" y="55"/>
                    <a:pt x="610" y="55"/>
                    <a:pt x="610" y="55"/>
                  </a:cubicBezTo>
                  <a:cubicBezTo>
                    <a:pt x="608" y="55"/>
                    <a:pt x="608" y="55"/>
                    <a:pt x="608" y="55"/>
                  </a:cubicBezTo>
                  <a:cubicBezTo>
                    <a:pt x="607" y="55"/>
                    <a:pt x="607" y="55"/>
                    <a:pt x="607" y="55"/>
                  </a:cubicBezTo>
                  <a:cubicBezTo>
                    <a:pt x="607" y="55"/>
                    <a:pt x="607" y="55"/>
                    <a:pt x="607" y="55"/>
                  </a:cubicBezTo>
                  <a:cubicBezTo>
                    <a:pt x="607" y="55"/>
                    <a:pt x="607" y="56"/>
                    <a:pt x="607" y="56"/>
                  </a:cubicBezTo>
                  <a:cubicBezTo>
                    <a:pt x="607" y="56"/>
                    <a:pt x="607" y="56"/>
                    <a:pt x="607" y="56"/>
                  </a:cubicBezTo>
                  <a:cubicBezTo>
                    <a:pt x="607" y="56"/>
                    <a:pt x="607" y="56"/>
                    <a:pt x="607" y="56"/>
                  </a:cubicBezTo>
                  <a:cubicBezTo>
                    <a:pt x="607" y="56"/>
                    <a:pt x="607" y="56"/>
                    <a:pt x="607" y="56"/>
                  </a:cubicBezTo>
                  <a:cubicBezTo>
                    <a:pt x="607" y="56"/>
                    <a:pt x="607" y="56"/>
                    <a:pt x="607" y="56"/>
                  </a:cubicBezTo>
                  <a:cubicBezTo>
                    <a:pt x="607" y="56"/>
                    <a:pt x="607" y="56"/>
                    <a:pt x="607" y="56"/>
                  </a:cubicBezTo>
                  <a:cubicBezTo>
                    <a:pt x="608" y="56"/>
                    <a:pt x="608" y="56"/>
                    <a:pt x="608" y="56"/>
                  </a:cubicBezTo>
                  <a:cubicBezTo>
                    <a:pt x="608" y="56"/>
                    <a:pt x="608" y="56"/>
                    <a:pt x="608" y="56"/>
                  </a:cubicBezTo>
                  <a:cubicBezTo>
                    <a:pt x="608" y="56"/>
                    <a:pt x="608" y="56"/>
                    <a:pt x="608" y="56"/>
                  </a:cubicBezTo>
                  <a:cubicBezTo>
                    <a:pt x="609" y="56"/>
                    <a:pt x="609" y="56"/>
                    <a:pt x="609" y="56"/>
                  </a:cubicBezTo>
                  <a:cubicBezTo>
                    <a:pt x="609" y="56"/>
                    <a:pt x="609" y="56"/>
                    <a:pt x="609" y="56"/>
                  </a:cubicBezTo>
                  <a:cubicBezTo>
                    <a:pt x="609" y="56"/>
                    <a:pt x="609" y="56"/>
                    <a:pt x="609" y="56"/>
                  </a:cubicBezTo>
                  <a:cubicBezTo>
                    <a:pt x="609" y="57"/>
                    <a:pt x="610" y="56"/>
                    <a:pt x="610" y="57"/>
                  </a:cubicBezTo>
                  <a:cubicBezTo>
                    <a:pt x="611" y="57"/>
                    <a:pt x="611" y="57"/>
                    <a:pt x="611" y="57"/>
                  </a:cubicBezTo>
                  <a:cubicBezTo>
                    <a:pt x="611" y="57"/>
                    <a:pt x="611" y="57"/>
                    <a:pt x="611" y="57"/>
                  </a:cubicBezTo>
                  <a:cubicBezTo>
                    <a:pt x="611" y="57"/>
                    <a:pt x="611" y="57"/>
                    <a:pt x="611" y="57"/>
                  </a:cubicBezTo>
                  <a:cubicBezTo>
                    <a:pt x="611" y="57"/>
                    <a:pt x="611" y="57"/>
                    <a:pt x="611" y="57"/>
                  </a:cubicBezTo>
                  <a:cubicBezTo>
                    <a:pt x="611" y="57"/>
                    <a:pt x="611" y="57"/>
                    <a:pt x="611" y="57"/>
                  </a:cubicBezTo>
                  <a:cubicBezTo>
                    <a:pt x="611" y="57"/>
                    <a:pt x="611" y="57"/>
                    <a:pt x="611" y="57"/>
                  </a:cubicBezTo>
                  <a:cubicBezTo>
                    <a:pt x="612" y="57"/>
                    <a:pt x="612" y="57"/>
                    <a:pt x="612" y="57"/>
                  </a:cubicBezTo>
                  <a:cubicBezTo>
                    <a:pt x="612" y="57"/>
                    <a:pt x="612" y="57"/>
                    <a:pt x="612" y="57"/>
                  </a:cubicBezTo>
                  <a:cubicBezTo>
                    <a:pt x="612" y="57"/>
                    <a:pt x="612" y="57"/>
                    <a:pt x="612" y="57"/>
                  </a:cubicBezTo>
                  <a:cubicBezTo>
                    <a:pt x="613" y="57"/>
                    <a:pt x="613" y="57"/>
                    <a:pt x="613" y="57"/>
                  </a:cubicBezTo>
                  <a:cubicBezTo>
                    <a:pt x="613" y="57"/>
                    <a:pt x="613" y="57"/>
                    <a:pt x="613" y="57"/>
                  </a:cubicBezTo>
                  <a:cubicBezTo>
                    <a:pt x="613" y="57"/>
                    <a:pt x="613" y="57"/>
                    <a:pt x="613" y="57"/>
                  </a:cubicBezTo>
                  <a:cubicBezTo>
                    <a:pt x="612" y="58"/>
                    <a:pt x="610" y="58"/>
                    <a:pt x="609" y="58"/>
                  </a:cubicBezTo>
                  <a:cubicBezTo>
                    <a:pt x="609" y="58"/>
                    <a:pt x="609" y="58"/>
                    <a:pt x="609" y="58"/>
                  </a:cubicBezTo>
                  <a:cubicBezTo>
                    <a:pt x="609" y="58"/>
                    <a:pt x="609" y="58"/>
                    <a:pt x="609" y="58"/>
                  </a:cubicBezTo>
                  <a:cubicBezTo>
                    <a:pt x="610" y="59"/>
                    <a:pt x="610" y="59"/>
                    <a:pt x="610" y="59"/>
                  </a:cubicBezTo>
                  <a:cubicBezTo>
                    <a:pt x="610" y="59"/>
                    <a:pt x="610" y="59"/>
                    <a:pt x="610" y="59"/>
                  </a:cubicBezTo>
                  <a:cubicBezTo>
                    <a:pt x="610" y="59"/>
                    <a:pt x="610" y="59"/>
                    <a:pt x="611" y="59"/>
                  </a:cubicBezTo>
                  <a:cubicBezTo>
                    <a:pt x="611" y="59"/>
                    <a:pt x="611" y="59"/>
                    <a:pt x="611" y="59"/>
                  </a:cubicBezTo>
                  <a:cubicBezTo>
                    <a:pt x="611" y="59"/>
                    <a:pt x="611" y="59"/>
                    <a:pt x="611" y="59"/>
                  </a:cubicBezTo>
                  <a:cubicBezTo>
                    <a:pt x="611" y="59"/>
                    <a:pt x="611" y="59"/>
                    <a:pt x="611" y="59"/>
                  </a:cubicBezTo>
                  <a:cubicBezTo>
                    <a:pt x="611" y="59"/>
                    <a:pt x="611" y="59"/>
                    <a:pt x="611" y="59"/>
                  </a:cubicBezTo>
                  <a:cubicBezTo>
                    <a:pt x="611" y="59"/>
                    <a:pt x="611" y="59"/>
                    <a:pt x="611" y="59"/>
                  </a:cubicBezTo>
                  <a:cubicBezTo>
                    <a:pt x="611" y="59"/>
                    <a:pt x="611" y="59"/>
                    <a:pt x="611" y="59"/>
                  </a:cubicBezTo>
                  <a:cubicBezTo>
                    <a:pt x="611" y="60"/>
                    <a:pt x="611" y="60"/>
                    <a:pt x="611" y="60"/>
                  </a:cubicBezTo>
                  <a:cubicBezTo>
                    <a:pt x="611" y="60"/>
                    <a:pt x="611" y="60"/>
                    <a:pt x="611" y="60"/>
                  </a:cubicBezTo>
                  <a:cubicBezTo>
                    <a:pt x="611" y="60"/>
                    <a:pt x="611" y="60"/>
                    <a:pt x="611" y="60"/>
                  </a:cubicBezTo>
                  <a:cubicBezTo>
                    <a:pt x="610" y="60"/>
                    <a:pt x="610" y="60"/>
                    <a:pt x="610" y="60"/>
                  </a:cubicBezTo>
                  <a:cubicBezTo>
                    <a:pt x="610" y="60"/>
                    <a:pt x="610" y="60"/>
                    <a:pt x="610" y="60"/>
                  </a:cubicBezTo>
                  <a:cubicBezTo>
                    <a:pt x="610" y="60"/>
                    <a:pt x="610" y="60"/>
                    <a:pt x="610" y="60"/>
                  </a:cubicBezTo>
                  <a:cubicBezTo>
                    <a:pt x="610" y="60"/>
                    <a:pt x="610" y="60"/>
                    <a:pt x="610" y="60"/>
                  </a:cubicBezTo>
                  <a:cubicBezTo>
                    <a:pt x="610" y="60"/>
                    <a:pt x="609" y="60"/>
                    <a:pt x="609" y="61"/>
                  </a:cubicBezTo>
                  <a:cubicBezTo>
                    <a:pt x="609" y="61"/>
                    <a:pt x="609" y="61"/>
                    <a:pt x="609" y="61"/>
                  </a:cubicBezTo>
                  <a:cubicBezTo>
                    <a:pt x="608" y="61"/>
                    <a:pt x="608" y="61"/>
                    <a:pt x="608" y="61"/>
                  </a:cubicBezTo>
                  <a:cubicBezTo>
                    <a:pt x="608" y="61"/>
                    <a:pt x="608" y="61"/>
                    <a:pt x="608" y="61"/>
                  </a:cubicBezTo>
                  <a:cubicBezTo>
                    <a:pt x="608" y="61"/>
                    <a:pt x="608" y="61"/>
                    <a:pt x="608" y="61"/>
                  </a:cubicBezTo>
                  <a:cubicBezTo>
                    <a:pt x="608" y="61"/>
                    <a:pt x="608" y="61"/>
                    <a:pt x="608" y="61"/>
                  </a:cubicBezTo>
                  <a:cubicBezTo>
                    <a:pt x="608" y="61"/>
                    <a:pt x="608" y="61"/>
                    <a:pt x="608" y="61"/>
                  </a:cubicBezTo>
                  <a:cubicBezTo>
                    <a:pt x="608" y="62"/>
                    <a:pt x="608" y="62"/>
                    <a:pt x="608" y="62"/>
                  </a:cubicBezTo>
                  <a:cubicBezTo>
                    <a:pt x="608" y="62"/>
                    <a:pt x="608" y="62"/>
                    <a:pt x="608" y="62"/>
                  </a:cubicBezTo>
                  <a:cubicBezTo>
                    <a:pt x="608" y="62"/>
                    <a:pt x="608" y="62"/>
                    <a:pt x="608" y="62"/>
                  </a:cubicBezTo>
                  <a:cubicBezTo>
                    <a:pt x="608" y="62"/>
                    <a:pt x="608" y="62"/>
                    <a:pt x="608" y="62"/>
                  </a:cubicBezTo>
                  <a:cubicBezTo>
                    <a:pt x="608" y="62"/>
                    <a:pt x="608" y="62"/>
                    <a:pt x="608" y="62"/>
                  </a:cubicBezTo>
                  <a:cubicBezTo>
                    <a:pt x="608" y="62"/>
                    <a:pt x="608" y="62"/>
                    <a:pt x="608" y="62"/>
                  </a:cubicBezTo>
                  <a:cubicBezTo>
                    <a:pt x="608" y="62"/>
                    <a:pt x="608" y="62"/>
                    <a:pt x="608" y="62"/>
                  </a:cubicBezTo>
                  <a:cubicBezTo>
                    <a:pt x="607" y="63"/>
                    <a:pt x="606" y="63"/>
                    <a:pt x="605" y="64"/>
                  </a:cubicBezTo>
                  <a:cubicBezTo>
                    <a:pt x="605" y="64"/>
                    <a:pt x="605" y="64"/>
                    <a:pt x="605" y="64"/>
                  </a:cubicBezTo>
                  <a:cubicBezTo>
                    <a:pt x="605" y="64"/>
                    <a:pt x="605" y="64"/>
                    <a:pt x="605" y="64"/>
                  </a:cubicBezTo>
                  <a:cubicBezTo>
                    <a:pt x="606" y="65"/>
                    <a:pt x="606" y="65"/>
                    <a:pt x="606" y="65"/>
                  </a:cubicBezTo>
                  <a:cubicBezTo>
                    <a:pt x="607" y="66"/>
                    <a:pt x="607" y="66"/>
                    <a:pt x="607" y="66"/>
                  </a:cubicBezTo>
                  <a:cubicBezTo>
                    <a:pt x="607" y="66"/>
                    <a:pt x="607" y="66"/>
                    <a:pt x="607" y="66"/>
                  </a:cubicBezTo>
                  <a:cubicBezTo>
                    <a:pt x="607" y="66"/>
                    <a:pt x="607" y="66"/>
                    <a:pt x="607" y="66"/>
                  </a:cubicBezTo>
                  <a:cubicBezTo>
                    <a:pt x="607" y="66"/>
                    <a:pt x="607" y="66"/>
                    <a:pt x="607" y="66"/>
                  </a:cubicBezTo>
                  <a:cubicBezTo>
                    <a:pt x="606" y="66"/>
                    <a:pt x="606" y="66"/>
                    <a:pt x="606" y="66"/>
                  </a:cubicBezTo>
                  <a:cubicBezTo>
                    <a:pt x="606" y="66"/>
                    <a:pt x="606" y="66"/>
                    <a:pt x="606" y="66"/>
                  </a:cubicBezTo>
                  <a:cubicBezTo>
                    <a:pt x="605" y="66"/>
                    <a:pt x="605" y="66"/>
                    <a:pt x="605" y="66"/>
                  </a:cubicBezTo>
                  <a:cubicBezTo>
                    <a:pt x="605" y="66"/>
                    <a:pt x="605" y="66"/>
                    <a:pt x="605" y="66"/>
                  </a:cubicBezTo>
                  <a:cubicBezTo>
                    <a:pt x="604" y="66"/>
                    <a:pt x="604" y="66"/>
                    <a:pt x="604" y="66"/>
                  </a:cubicBezTo>
                  <a:cubicBezTo>
                    <a:pt x="604" y="66"/>
                    <a:pt x="604" y="66"/>
                    <a:pt x="604" y="66"/>
                  </a:cubicBezTo>
                  <a:cubicBezTo>
                    <a:pt x="604" y="65"/>
                    <a:pt x="604" y="65"/>
                    <a:pt x="604" y="65"/>
                  </a:cubicBezTo>
                  <a:cubicBezTo>
                    <a:pt x="604" y="65"/>
                    <a:pt x="604" y="65"/>
                    <a:pt x="604" y="65"/>
                  </a:cubicBezTo>
                  <a:cubicBezTo>
                    <a:pt x="604" y="65"/>
                    <a:pt x="604" y="65"/>
                    <a:pt x="604" y="65"/>
                  </a:cubicBezTo>
                  <a:cubicBezTo>
                    <a:pt x="604" y="65"/>
                    <a:pt x="604" y="65"/>
                    <a:pt x="604" y="65"/>
                  </a:cubicBezTo>
                  <a:cubicBezTo>
                    <a:pt x="603" y="65"/>
                    <a:pt x="605" y="64"/>
                    <a:pt x="603" y="64"/>
                  </a:cubicBezTo>
                  <a:cubicBezTo>
                    <a:pt x="603" y="64"/>
                    <a:pt x="603" y="64"/>
                    <a:pt x="603" y="64"/>
                  </a:cubicBezTo>
                  <a:cubicBezTo>
                    <a:pt x="603" y="64"/>
                    <a:pt x="603" y="64"/>
                    <a:pt x="603" y="64"/>
                  </a:cubicBezTo>
                  <a:cubicBezTo>
                    <a:pt x="599" y="64"/>
                    <a:pt x="602" y="64"/>
                    <a:pt x="598" y="62"/>
                  </a:cubicBezTo>
                  <a:cubicBezTo>
                    <a:pt x="598" y="62"/>
                    <a:pt x="598" y="62"/>
                    <a:pt x="598" y="62"/>
                  </a:cubicBezTo>
                  <a:cubicBezTo>
                    <a:pt x="598" y="62"/>
                    <a:pt x="598" y="62"/>
                    <a:pt x="598" y="62"/>
                  </a:cubicBezTo>
                  <a:cubicBezTo>
                    <a:pt x="598" y="62"/>
                    <a:pt x="598" y="62"/>
                    <a:pt x="598" y="62"/>
                  </a:cubicBezTo>
                  <a:cubicBezTo>
                    <a:pt x="598" y="62"/>
                    <a:pt x="598" y="62"/>
                    <a:pt x="598" y="62"/>
                  </a:cubicBezTo>
                  <a:cubicBezTo>
                    <a:pt x="598" y="62"/>
                    <a:pt x="598" y="62"/>
                    <a:pt x="598" y="62"/>
                  </a:cubicBezTo>
                  <a:cubicBezTo>
                    <a:pt x="598" y="62"/>
                    <a:pt x="598" y="62"/>
                    <a:pt x="598" y="62"/>
                  </a:cubicBezTo>
                  <a:cubicBezTo>
                    <a:pt x="598" y="62"/>
                    <a:pt x="598" y="62"/>
                    <a:pt x="598" y="62"/>
                  </a:cubicBezTo>
                  <a:cubicBezTo>
                    <a:pt x="598" y="63"/>
                    <a:pt x="598" y="63"/>
                    <a:pt x="598" y="63"/>
                  </a:cubicBezTo>
                  <a:cubicBezTo>
                    <a:pt x="598" y="63"/>
                    <a:pt x="598" y="63"/>
                    <a:pt x="598" y="63"/>
                  </a:cubicBezTo>
                  <a:cubicBezTo>
                    <a:pt x="598" y="63"/>
                    <a:pt x="598" y="63"/>
                    <a:pt x="598" y="63"/>
                  </a:cubicBezTo>
                  <a:cubicBezTo>
                    <a:pt x="597" y="63"/>
                    <a:pt x="597" y="63"/>
                    <a:pt x="597" y="63"/>
                  </a:cubicBezTo>
                  <a:cubicBezTo>
                    <a:pt x="596" y="64"/>
                    <a:pt x="596" y="64"/>
                    <a:pt x="596" y="64"/>
                  </a:cubicBezTo>
                  <a:cubicBezTo>
                    <a:pt x="596" y="64"/>
                    <a:pt x="596" y="64"/>
                    <a:pt x="596" y="64"/>
                  </a:cubicBezTo>
                  <a:cubicBezTo>
                    <a:pt x="596" y="64"/>
                    <a:pt x="596" y="64"/>
                    <a:pt x="596" y="64"/>
                  </a:cubicBezTo>
                  <a:cubicBezTo>
                    <a:pt x="596" y="64"/>
                    <a:pt x="596" y="64"/>
                    <a:pt x="596" y="64"/>
                  </a:cubicBezTo>
                  <a:cubicBezTo>
                    <a:pt x="596" y="64"/>
                    <a:pt x="596" y="64"/>
                    <a:pt x="596" y="64"/>
                  </a:cubicBezTo>
                  <a:cubicBezTo>
                    <a:pt x="596" y="64"/>
                    <a:pt x="596" y="64"/>
                    <a:pt x="596" y="64"/>
                  </a:cubicBezTo>
                  <a:cubicBezTo>
                    <a:pt x="596" y="64"/>
                    <a:pt x="596" y="64"/>
                    <a:pt x="596" y="64"/>
                  </a:cubicBezTo>
                  <a:cubicBezTo>
                    <a:pt x="596" y="65"/>
                    <a:pt x="596" y="65"/>
                    <a:pt x="596" y="65"/>
                  </a:cubicBezTo>
                  <a:cubicBezTo>
                    <a:pt x="596" y="65"/>
                    <a:pt x="596" y="65"/>
                    <a:pt x="596" y="65"/>
                  </a:cubicBezTo>
                  <a:cubicBezTo>
                    <a:pt x="596" y="65"/>
                    <a:pt x="596" y="65"/>
                    <a:pt x="596"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6" y="65"/>
                    <a:pt x="596" y="66"/>
                    <a:pt x="597" y="66"/>
                  </a:cubicBezTo>
                  <a:cubicBezTo>
                    <a:pt x="597" y="66"/>
                    <a:pt x="597" y="66"/>
                    <a:pt x="597" y="66"/>
                  </a:cubicBezTo>
                  <a:cubicBezTo>
                    <a:pt x="598" y="66"/>
                    <a:pt x="598" y="66"/>
                    <a:pt x="598" y="66"/>
                  </a:cubicBezTo>
                  <a:cubicBezTo>
                    <a:pt x="598" y="66"/>
                    <a:pt x="598" y="66"/>
                    <a:pt x="599" y="66"/>
                  </a:cubicBezTo>
                  <a:cubicBezTo>
                    <a:pt x="599" y="66"/>
                    <a:pt x="599" y="66"/>
                    <a:pt x="599" y="66"/>
                  </a:cubicBezTo>
                  <a:cubicBezTo>
                    <a:pt x="600" y="66"/>
                    <a:pt x="600" y="66"/>
                    <a:pt x="600" y="66"/>
                  </a:cubicBezTo>
                  <a:cubicBezTo>
                    <a:pt x="600" y="66"/>
                    <a:pt x="600" y="66"/>
                    <a:pt x="600" y="66"/>
                  </a:cubicBezTo>
                  <a:cubicBezTo>
                    <a:pt x="600" y="66"/>
                    <a:pt x="600" y="66"/>
                    <a:pt x="600" y="66"/>
                  </a:cubicBezTo>
                  <a:cubicBezTo>
                    <a:pt x="601" y="66"/>
                    <a:pt x="601" y="67"/>
                    <a:pt x="601" y="67"/>
                  </a:cubicBezTo>
                  <a:cubicBezTo>
                    <a:pt x="602" y="67"/>
                    <a:pt x="602" y="67"/>
                    <a:pt x="602" y="67"/>
                  </a:cubicBezTo>
                  <a:cubicBezTo>
                    <a:pt x="602" y="67"/>
                    <a:pt x="602" y="67"/>
                    <a:pt x="602" y="67"/>
                  </a:cubicBezTo>
                  <a:cubicBezTo>
                    <a:pt x="603" y="67"/>
                    <a:pt x="603" y="67"/>
                    <a:pt x="604" y="67"/>
                  </a:cubicBezTo>
                  <a:cubicBezTo>
                    <a:pt x="604" y="67"/>
                    <a:pt x="604" y="67"/>
                    <a:pt x="604" y="67"/>
                  </a:cubicBezTo>
                  <a:cubicBezTo>
                    <a:pt x="605" y="67"/>
                    <a:pt x="605" y="67"/>
                    <a:pt x="605" y="67"/>
                  </a:cubicBezTo>
                  <a:cubicBezTo>
                    <a:pt x="605" y="67"/>
                    <a:pt x="605" y="67"/>
                    <a:pt x="605" y="67"/>
                  </a:cubicBezTo>
                  <a:cubicBezTo>
                    <a:pt x="605" y="67"/>
                    <a:pt x="605" y="67"/>
                    <a:pt x="605" y="67"/>
                  </a:cubicBezTo>
                  <a:cubicBezTo>
                    <a:pt x="604" y="67"/>
                    <a:pt x="604" y="67"/>
                    <a:pt x="604" y="67"/>
                  </a:cubicBezTo>
                  <a:cubicBezTo>
                    <a:pt x="604" y="68"/>
                    <a:pt x="604" y="68"/>
                    <a:pt x="604" y="68"/>
                  </a:cubicBezTo>
                  <a:cubicBezTo>
                    <a:pt x="603" y="68"/>
                    <a:pt x="603" y="68"/>
                    <a:pt x="603" y="68"/>
                  </a:cubicBezTo>
                  <a:cubicBezTo>
                    <a:pt x="603" y="68"/>
                    <a:pt x="603" y="68"/>
                    <a:pt x="603" y="68"/>
                  </a:cubicBezTo>
                  <a:cubicBezTo>
                    <a:pt x="603" y="68"/>
                    <a:pt x="603" y="68"/>
                    <a:pt x="603" y="68"/>
                  </a:cubicBezTo>
                  <a:cubicBezTo>
                    <a:pt x="603" y="68"/>
                    <a:pt x="603" y="68"/>
                    <a:pt x="603" y="68"/>
                  </a:cubicBezTo>
                  <a:cubicBezTo>
                    <a:pt x="603" y="68"/>
                    <a:pt x="603" y="68"/>
                    <a:pt x="603" y="68"/>
                  </a:cubicBezTo>
                  <a:cubicBezTo>
                    <a:pt x="603" y="68"/>
                    <a:pt x="603" y="68"/>
                    <a:pt x="603" y="68"/>
                  </a:cubicBezTo>
                  <a:cubicBezTo>
                    <a:pt x="603" y="68"/>
                    <a:pt x="603" y="68"/>
                    <a:pt x="603" y="68"/>
                  </a:cubicBezTo>
                  <a:cubicBezTo>
                    <a:pt x="604" y="68"/>
                    <a:pt x="604" y="68"/>
                    <a:pt x="604" y="68"/>
                  </a:cubicBezTo>
                  <a:cubicBezTo>
                    <a:pt x="604" y="68"/>
                    <a:pt x="604" y="68"/>
                    <a:pt x="604" y="68"/>
                  </a:cubicBezTo>
                  <a:cubicBezTo>
                    <a:pt x="604" y="68"/>
                    <a:pt x="604" y="68"/>
                    <a:pt x="604" y="68"/>
                  </a:cubicBezTo>
                  <a:cubicBezTo>
                    <a:pt x="604" y="69"/>
                    <a:pt x="604" y="69"/>
                    <a:pt x="604" y="69"/>
                  </a:cubicBezTo>
                  <a:cubicBezTo>
                    <a:pt x="604" y="69"/>
                    <a:pt x="604" y="69"/>
                    <a:pt x="604" y="69"/>
                  </a:cubicBezTo>
                  <a:cubicBezTo>
                    <a:pt x="604" y="69"/>
                    <a:pt x="604" y="69"/>
                    <a:pt x="604" y="69"/>
                  </a:cubicBezTo>
                  <a:cubicBezTo>
                    <a:pt x="604" y="69"/>
                    <a:pt x="604" y="69"/>
                    <a:pt x="604" y="69"/>
                  </a:cubicBezTo>
                  <a:cubicBezTo>
                    <a:pt x="605" y="69"/>
                    <a:pt x="605" y="69"/>
                    <a:pt x="605" y="69"/>
                  </a:cubicBezTo>
                  <a:cubicBezTo>
                    <a:pt x="605" y="69"/>
                    <a:pt x="605" y="69"/>
                    <a:pt x="605" y="69"/>
                  </a:cubicBezTo>
                  <a:cubicBezTo>
                    <a:pt x="605" y="69"/>
                    <a:pt x="605" y="69"/>
                    <a:pt x="605" y="69"/>
                  </a:cubicBezTo>
                  <a:cubicBezTo>
                    <a:pt x="605" y="69"/>
                    <a:pt x="605" y="69"/>
                    <a:pt x="605" y="69"/>
                  </a:cubicBezTo>
                  <a:cubicBezTo>
                    <a:pt x="605" y="69"/>
                    <a:pt x="605" y="69"/>
                    <a:pt x="605" y="69"/>
                  </a:cubicBezTo>
                  <a:cubicBezTo>
                    <a:pt x="605" y="69"/>
                    <a:pt x="605" y="69"/>
                    <a:pt x="605" y="69"/>
                  </a:cubicBezTo>
                  <a:cubicBezTo>
                    <a:pt x="605" y="70"/>
                    <a:pt x="605" y="70"/>
                    <a:pt x="605" y="70"/>
                  </a:cubicBezTo>
                  <a:cubicBezTo>
                    <a:pt x="605" y="70"/>
                    <a:pt x="605" y="70"/>
                    <a:pt x="605" y="70"/>
                  </a:cubicBezTo>
                  <a:cubicBezTo>
                    <a:pt x="606" y="70"/>
                    <a:pt x="606" y="70"/>
                    <a:pt x="606" y="70"/>
                  </a:cubicBezTo>
                  <a:cubicBezTo>
                    <a:pt x="606" y="70"/>
                    <a:pt x="606" y="70"/>
                    <a:pt x="606" y="70"/>
                  </a:cubicBezTo>
                  <a:cubicBezTo>
                    <a:pt x="606" y="70"/>
                    <a:pt x="606" y="70"/>
                    <a:pt x="606" y="70"/>
                  </a:cubicBezTo>
                  <a:cubicBezTo>
                    <a:pt x="607" y="70"/>
                    <a:pt x="607" y="70"/>
                    <a:pt x="607" y="70"/>
                  </a:cubicBezTo>
                  <a:cubicBezTo>
                    <a:pt x="607" y="70"/>
                    <a:pt x="607" y="70"/>
                    <a:pt x="607" y="70"/>
                  </a:cubicBezTo>
                  <a:cubicBezTo>
                    <a:pt x="608" y="69"/>
                    <a:pt x="608" y="69"/>
                    <a:pt x="608" y="69"/>
                  </a:cubicBezTo>
                  <a:cubicBezTo>
                    <a:pt x="608" y="69"/>
                    <a:pt x="608" y="69"/>
                    <a:pt x="608" y="69"/>
                  </a:cubicBezTo>
                  <a:cubicBezTo>
                    <a:pt x="608" y="69"/>
                    <a:pt x="608" y="69"/>
                    <a:pt x="608" y="69"/>
                  </a:cubicBezTo>
                  <a:cubicBezTo>
                    <a:pt x="608" y="70"/>
                    <a:pt x="608" y="70"/>
                    <a:pt x="608" y="70"/>
                  </a:cubicBezTo>
                  <a:cubicBezTo>
                    <a:pt x="608" y="70"/>
                    <a:pt x="608" y="70"/>
                    <a:pt x="608" y="70"/>
                  </a:cubicBezTo>
                  <a:cubicBezTo>
                    <a:pt x="608" y="70"/>
                    <a:pt x="608" y="70"/>
                    <a:pt x="608" y="70"/>
                  </a:cubicBezTo>
                  <a:cubicBezTo>
                    <a:pt x="608" y="70"/>
                    <a:pt x="608" y="70"/>
                    <a:pt x="608" y="70"/>
                  </a:cubicBezTo>
                  <a:cubicBezTo>
                    <a:pt x="608" y="70"/>
                    <a:pt x="608" y="70"/>
                    <a:pt x="608" y="70"/>
                  </a:cubicBezTo>
                  <a:cubicBezTo>
                    <a:pt x="608" y="70"/>
                    <a:pt x="608" y="70"/>
                    <a:pt x="608" y="70"/>
                  </a:cubicBezTo>
                  <a:cubicBezTo>
                    <a:pt x="608" y="70"/>
                    <a:pt x="608" y="70"/>
                    <a:pt x="608" y="70"/>
                  </a:cubicBezTo>
                  <a:cubicBezTo>
                    <a:pt x="608" y="71"/>
                    <a:pt x="608" y="71"/>
                    <a:pt x="608" y="71"/>
                  </a:cubicBezTo>
                  <a:cubicBezTo>
                    <a:pt x="608" y="71"/>
                    <a:pt x="608" y="71"/>
                    <a:pt x="608" y="71"/>
                  </a:cubicBezTo>
                  <a:cubicBezTo>
                    <a:pt x="608" y="72"/>
                    <a:pt x="608" y="72"/>
                    <a:pt x="608" y="72"/>
                  </a:cubicBezTo>
                  <a:cubicBezTo>
                    <a:pt x="608" y="73"/>
                    <a:pt x="608" y="73"/>
                    <a:pt x="608" y="73"/>
                  </a:cubicBezTo>
                  <a:cubicBezTo>
                    <a:pt x="607" y="73"/>
                    <a:pt x="607" y="73"/>
                    <a:pt x="607" y="73"/>
                  </a:cubicBezTo>
                  <a:cubicBezTo>
                    <a:pt x="607" y="73"/>
                    <a:pt x="607" y="73"/>
                    <a:pt x="607" y="73"/>
                  </a:cubicBezTo>
                  <a:cubicBezTo>
                    <a:pt x="607" y="73"/>
                    <a:pt x="607" y="73"/>
                    <a:pt x="607" y="73"/>
                  </a:cubicBezTo>
                  <a:cubicBezTo>
                    <a:pt x="607" y="72"/>
                    <a:pt x="607" y="72"/>
                    <a:pt x="607" y="72"/>
                  </a:cubicBezTo>
                  <a:cubicBezTo>
                    <a:pt x="607" y="72"/>
                    <a:pt x="607" y="72"/>
                    <a:pt x="607" y="72"/>
                  </a:cubicBezTo>
                  <a:cubicBezTo>
                    <a:pt x="607" y="72"/>
                    <a:pt x="607" y="72"/>
                    <a:pt x="607" y="72"/>
                  </a:cubicBezTo>
                  <a:cubicBezTo>
                    <a:pt x="607" y="72"/>
                    <a:pt x="607" y="72"/>
                    <a:pt x="607" y="72"/>
                  </a:cubicBezTo>
                  <a:cubicBezTo>
                    <a:pt x="607" y="72"/>
                    <a:pt x="606" y="72"/>
                    <a:pt x="605" y="72"/>
                  </a:cubicBezTo>
                  <a:cubicBezTo>
                    <a:pt x="605" y="72"/>
                    <a:pt x="605" y="72"/>
                    <a:pt x="605" y="72"/>
                  </a:cubicBezTo>
                  <a:cubicBezTo>
                    <a:pt x="605" y="72"/>
                    <a:pt x="605" y="72"/>
                    <a:pt x="605" y="72"/>
                  </a:cubicBezTo>
                  <a:cubicBezTo>
                    <a:pt x="605" y="72"/>
                    <a:pt x="605" y="72"/>
                    <a:pt x="605" y="72"/>
                  </a:cubicBezTo>
                  <a:cubicBezTo>
                    <a:pt x="605" y="72"/>
                    <a:pt x="605" y="72"/>
                    <a:pt x="605" y="72"/>
                  </a:cubicBezTo>
                  <a:cubicBezTo>
                    <a:pt x="605" y="72"/>
                    <a:pt x="605" y="72"/>
                    <a:pt x="605" y="72"/>
                  </a:cubicBezTo>
                  <a:cubicBezTo>
                    <a:pt x="606" y="72"/>
                    <a:pt x="606" y="72"/>
                    <a:pt x="606" y="72"/>
                  </a:cubicBezTo>
                  <a:cubicBezTo>
                    <a:pt x="606" y="71"/>
                    <a:pt x="606" y="71"/>
                    <a:pt x="606" y="71"/>
                  </a:cubicBezTo>
                  <a:cubicBezTo>
                    <a:pt x="606" y="71"/>
                    <a:pt x="606" y="71"/>
                    <a:pt x="606" y="71"/>
                  </a:cubicBezTo>
                  <a:cubicBezTo>
                    <a:pt x="606" y="71"/>
                    <a:pt x="606" y="71"/>
                    <a:pt x="606" y="71"/>
                  </a:cubicBezTo>
                  <a:cubicBezTo>
                    <a:pt x="606" y="71"/>
                    <a:pt x="606" y="71"/>
                    <a:pt x="606" y="71"/>
                  </a:cubicBezTo>
                  <a:cubicBezTo>
                    <a:pt x="606" y="71"/>
                    <a:pt x="606" y="71"/>
                    <a:pt x="606" y="71"/>
                  </a:cubicBezTo>
                  <a:cubicBezTo>
                    <a:pt x="607" y="71"/>
                    <a:pt x="607" y="71"/>
                    <a:pt x="607" y="71"/>
                  </a:cubicBezTo>
                  <a:cubicBezTo>
                    <a:pt x="607" y="71"/>
                    <a:pt x="607" y="71"/>
                    <a:pt x="607" y="71"/>
                  </a:cubicBezTo>
                  <a:cubicBezTo>
                    <a:pt x="607" y="71"/>
                    <a:pt x="607" y="71"/>
                    <a:pt x="607" y="71"/>
                  </a:cubicBezTo>
                  <a:cubicBezTo>
                    <a:pt x="607" y="71"/>
                    <a:pt x="607" y="71"/>
                    <a:pt x="607" y="71"/>
                  </a:cubicBezTo>
                  <a:cubicBezTo>
                    <a:pt x="607" y="71"/>
                    <a:pt x="607" y="71"/>
                    <a:pt x="607" y="71"/>
                  </a:cubicBezTo>
                  <a:cubicBezTo>
                    <a:pt x="607" y="71"/>
                    <a:pt x="607" y="71"/>
                    <a:pt x="607" y="71"/>
                  </a:cubicBezTo>
                  <a:cubicBezTo>
                    <a:pt x="606" y="71"/>
                    <a:pt x="606" y="71"/>
                    <a:pt x="606" y="71"/>
                  </a:cubicBezTo>
                  <a:cubicBezTo>
                    <a:pt x="606" y="71"/>
                    <a:pt x="606" y="71"/>
                    <a:pt x="606" y="71"/>
                  </a:cubicBezTo>
                  <a:cubicBezTo>
                    <a:pt x="605" y="71"/>
                    <a:pt x="605" y="71"/>
                    <a:pt x="605" y="71"/>
                  </a:cubicBezTo>
                  <a:cubicBezTo>
                    <a:pt x="605" y="70"/>
                    <a:pt x="605" y="70"/>
                    <a:pt x="605" y="70"/>
                  </a:cubicBezTo>
                  <a:cubicBezTo>
                    <a:pt x="605" y="70"/>
                    <a:pt x="605" y="70"/>
                    <a:pt x="605" y="70"/>
                  </a:cubicBezTo>
                  <a:cubicBezTo>
                    <a:pt x="605" y="70"/>
                    <a:pt x="605" y="70"/>
                    <a:pt x="605" y="70"/>
                  </a:cubicBezTo>
                  <a:cubicBezTo>
                    <a:pt x="604" y="70"/>
                    <a:pt x="604" y="70"/>
                    <a:pt x="604" y="70"/>
                  </a:cubicBezTo>
                  <a:cubicBezTo>
                    <a:pt x="602" y="70"/>
                    <a:pt x="602" y="70"/>
                    <a:pt x="602" y="70"/>
                  </a:cubicBezTo>
                  <a:cubicBezTo>
                    <a:pt x="600" y="70"/>
                    <a:pt x="600" y="70"/>
                    <a:pt x="600" y="70"/>
                  </a:cubicBezTo>
                  <a:cubicBezTo>
                    <a:pt x="598" y="70"/>
                    <a:pt x="598" y="70"/>
                    <a:pt x="598" y="70"/>
                  </a:cubicBezTo>
                  <a:cubicBezTo>
                    <a:pt x="598" y="70"/>
                    <a:pt x="598" y="70"/>
                    <a:pt x="598" y="70"/>
                  </a:cubicBezTo>
                  <a:cubicBezTo>
                    <a:pt x="598" y="70"/>
                    <a:pt x="598" y="70"/>
                    <a:pt x="598" y="70"/>
                  </a:cubicBezTo>
                  <a:cubicBezTo>
                    <a:pt x="598" y="70"/>
                    <a:pt x="598" y="70"/>
                    <a:pt x="598" y="70"/>
                  </a:cubicBezTo>
                  <a:cubicBezTo>
                    <a:pt x="598" y="70"/>
                    <a:pt x="598" y="70"/>
                    <a:pt x="598" y="70"/>
                  </a:cubicBezTo>
                  <a:cubicBezTo>
                    <a:pt x="597" y="71"/>
                    <a:pt x="597" y="71"/>
                    <a:pt x="597" y="71"/>
                  </a:cubicBezTo>
                  <a:cubicBezTo>
                    <a:pt x="597" y="71"/>
                    <a:pt x="597" y="71"/>
                    <a:pt x="597" y="71"/>
                  </a:cubicBezTo>
                  <a:cubicBezTo>
                    <a:pt x="596" y="71"/>
                    <a:pt x="596" y="71"/>
                    <a:pt x="596" y="71"/>
                  </a:cubicBezTo>
                  <a:cubicBezTo>
                    <a:pt x="596" y="71"/>
                    <a:pt x="596" y="71"/>
                    <a:pt x="596" y="71"/>
                  </a:cubicBezTo>
                  <a:cubicBezTo>
                    <a:pt x="596" y="71"/>
                    <a:pt x="596" y="71"/>
                    <a:pt x="596" y="71"/>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3"/>
                    <a:pt x="597" y="73"/>
                    <a:pt x="597" y="73"/>
                  </a:cubicBezTo>
                  <a:cubicBezTo>
                    <a:pt x="597" y="73"/>
                    <a:pt x="597" y="73"/>
                    <a:pt x="597" y="73"/>
                  </a:cubicBezTo>
                  <a:cubicBezTo>
                    <a:pt x="597" y="73"/>
                    <a:pt x="597" y="73"/>
                    <a:pt x="597" y="73"/>
                  </a:cubicBezTo>
                  <a:cubicBezTo>
                    <a:pt x="598" y="73"/>
                    <a:pt x="600" y="73"/>
                    <a:pt x="600" y="73"/>
                  </a:cubicBezTo>
                  <a:cubicBezTo>
                    <a:pt x="601" y="73"/>
                    <a:pt x="601" y="73"/>
                    <a:pt x="601" y="73"/>
                  </a:cubicBezTo>
                  <a:cubicBezTo>
                    <a:pt x="601" y="73"/>
                    <a:pt x="601" y="73"/>
                    <a:pt x="601" y="73"/>
                  </a:cubicBezTo>
                  <a:cubicBezTo>
                    <a:pt x="601" y="73"/>
                    <a:pt x="601" y="73"/>
                    <a:pt x="601" y="73"/>
                  </a:cubicBezTo>
                  <a:cubicBezTo>
                    <a:pt x="601" y="73"/>
                    <a:pt x="601" y="73"/>
                    <a:pt x="601" y="73"/>
                  </a:cubicBezTo>
                  <a:cubicBezTo>
                    <a:pt x="603" y="73"/>
                    <a:pt x="603" y="73"/>
                    <a:pt x="604" y="74"/>
                  </a:cubicBezTo>
                  <a:cubicBezTo>
                    <a:pt x="604" y="74"/>
                    <a:pt x="604" y="74"/>
                    <a:pt x="604"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6"/>
                    <a:pt x="605" y="76"/>
                    <a:pt x="605" y="76"/>
                  </a:cubicBezTo>
                  <a:cubicBezTo>
                    <a:pt x="605" y="76"/>
                    <a:pt x="606" y="76"/>
                    <a:pt x="606" y="76"/>
                  </a:cubicBezTo>
                  <a:cubicBezTo>
                    <a:pt x="606" y="76"/>
                    <a:pt x="606" y="76"/>
                    <a:pt x="606" y="76"/>
                  </a:cubicBezTo>
                  <a:cubicBezTo>
                    <a:pt x="606" y="76"/>
                    <a:pt x="606" y="76"/>
                    <a:pt x="606" y="76"/>
                  </a:cubicBezTo>
                  <a:cubicBezTo>
                    <a:pt x="606" y="77"/>
                    <a:pt x="606" y="77"/>
                    <a:pt x="607" y="77"/>
                  </a:cubicBezTo>
                  <a:cubicBezTo>
                    <a:pt x="607" y="77"/>
                    <a:pt x="607" y="77"/>
                    <a:pt x="607" y="77"/>
                  </a:cubicBezTo>
                  <a:cubicBezTo>
                    <a:pt x="607" y="77"/>
                    <a:pt x="607" y="77"/>
                    <a:pt x="607" y="77"/>
                  </a:cubicBezTo>
                  <a:cubicBezTo>
                    <a:pt x="608" y="77"/>
                    <a:pt x="608" y="77"/>
                    <a:pt x="609" y="77"/>
                  </a:cubicBezTo>
                  <a:cubicBezTo>
                    <a:pt x="610" y="77"/>
                    <a:pt x="610" y="77"/>
                    <a:pt x="610" y="77"/>
                  </a:cubicBezTo>
                  <a:cubicBezTo>
                    <a:pt x="610" y="78"/>
                    <a:pt x="610" y="78"/>
                    <a:pt x="610" y="78"/>
                  </a:cubicBezTo>
                  <a:cubicBezTo>
                    <a:pt x="610" y="78"/>
                    <a:pt x="610" y="78"/>
                    <a:pt x="610" y="78"/>
                  </a:cubicBezTo>
                  <a:cubicBezTo>
                    <a:pt x="608" y="78"/>
                    <a:pt x="608" y="78"/>
                    <a:pt x="608" y="78"/>
                  </a:cubicBezTo>
                  <a:cubicBezTo>
                    <a:pt x="607" y="77"/>
                    <a:pt x="607" y="77"/>
                    <a:pt x="607" y="77"/>
                  </a:cubicBezTo>
                  <a:cubicBezTo>
                    <a:pt x="607" y="78"/>
                    <a:pt x="607" y="78"/>
                    <a:pt x="607" y="78"/>
                  </a:cubicBezTo>
                  <a:cubicBezTo>
                    <a:pt x="607" y="78"/>
                    <a:pt x="607" y="78"/>
                    <a:pt x="607" y="78"/>
                  </a:cubicBezTo>
                  <a:cubicBezTo>
                    <a:pt x="607" y="78"/>
                    <a:pt x="608" y="78"/>
                    <a:pt x="608" y="79"/>
                  </a:cubicBezTo>
                  <a:cubicBezTo>
                    <a:pt x="609" y="80"/>
                    <a:pt x="609" y="80"/>
                    <a:pt x="609" y="80"/>
                  </a:cubicBezTo>
                  <a:cubicBezTo>
                    <a:pt x="608" y="81"/>
                    <a:pt x="608" y="81"/>
                    <a:pt x="608" y="81"/>
                  </a:cubicBezTo>
                  <a:cubicBezTo>
                    <a:pt x="541" y="87"/>
                    <a:pt x="541" y="87"/>
                    <a:pt x="541" y="87"/>
                  </a:cubicBezTo>
                  <a:cubicBezTo>
                    <a:pt x="541" y="87"/>
                    <a:pt x="541" y="87"/>
                    <a:pt x="541" y="87"/>
                  </a:cubicBezTo>
                  <a:cubicBezTo>
                    <a:pt x="541" y="87"/>
                    <a:pt x="541" y="87"/>
                    <a:pt x="541" y="87"/>
                  </a:cubicBezTo>
                  <a:cubicBezTo>
                    <a:pt x="541" y="87"/>
                    <a:pt x="541" y="87"/>
                    <a:pt x="541" y="88"/>
                  </a:cubicBezTo>
                  <a:cubicBezTo>
                    <a:pt x="541" y="88"/>
                    <a:pt x="541" y="88"/>
                    <a:pt x="541" y="88"/>
                  </a:cubicBezTo>
                  <a:cubicBezTo>
                    <a:pt x="541" y="88"/>
                    <a:pt x="541" y="88"/>
                    <a:pt x="541" y="88"/>
                  </a:cubicBezTo>
                  <a:cubicBezTo>
                    <a:pt x="541" y="88"/>
                    <a:pt x="541" y="88"/>
                    <a:pt x="541" y="88"/>
                  </a:cubicBezTo>
                  <a:cubicBezTo>
                    <a:pt x="541" y="88"/>
                    <a:pt x="541" y="88"/>
                    <a:pt x="541" y="88"/>
                  </a:cubicBezTo>
                  <a:cubicBezTo>
                    <a:pt x="542" y="88"/>
                    <a:pt x="542" y="88"/>
                    <a:pt x="542" y="88"/>
                  </a:cubicBezTo>
                  <a:cubicBezTo>
                    <a:pt x="542" y="88"/>
                    <a:pt x="542" y="88"/>
                    <a:pt x="542" y="88"/>
                  </a:cubicBezTo>
                  <a:cubicBezTo>
                    <a:pt x="542" y="88"/>
                    <a:pt x="542" y="88"/>
                    <a:pt x="542" y="88"/>
                  </a:cubicBezTo>
                  <a:cubicBezTo>
                    <a:pt x="542" y="88"/>
                    <a:pt x="542" y="88"/>
                    <a:pt x="542" y="88"/>
                  </a:cubicBezTo>
                  <a:cubicBezTo>
                    <a:pt x="543" y="88"/>
                    <a:pt x="543" y="88"/>
                    <a:pt x="543" y="88"/>
                  </a:cubicBezTo>
                  <a:cubicBezTo>
                    <a:pt x="543" y="88"/>
                    <a:pt x="543" y="88"/>
                    <a:pt x="543" y="88"/>
                  </a:cubicBezTo>
                  <a:cubicBezTo>
                    <a:pt x="543" y="88"/>
                    <a:pt x="543" y="88"/>
                    <a:pt x="543" y="88"/>
                  </a:cubicBezTo>
                  <a:cubicBezTo>
                    <a:pt x="543" y="88"/>
                    <a:pt x="543" y="88"/>
                    <a:pt x="543" y="88"/>
                  </a:cubicBezTo>
                  <a:cubicBezTo>
                    <a:pt x="542" y="88"/>
                    <a:pt x="542" y="88"/>
                    <a:pt x="542" y="88"/>
                  </a:cubicBezTo>
                  <a:cubicBezTo>
                    <a:pt x="542" y="89"/>
                    <a:pt x="542" y="89"/>
                    <a:pt x="541" y="90"/>
                  </a:cubicBezTo>
                  <a:cubicBezTo>
                    <a:pt x="541" y="90"/>
                    <a:pt x="541" y="90"/>
                    <a:pt x="541" y="90"/>
                  </a:cubicBezTo>
                  <a:cubicBezTo>
                    <a:pt x="540" y="90"/>
                    <a:pt x="540" y="90"/>
                    <a:pt x="540" y="90"/>
                  </a:cubicBezTo>
                  <a:cubicBezTo>
                    <a:pt x="539" y="91"/>
                    <a:pt x="540" y="91"/>
                    <a:pt x="539" y="91"/>
                  </a:cubicBezTo>
                  <a:cubicBezTo>
                    <a:pt x="539" y="91"/>
                    <a:pt x="539" y="91"/>
                    <a:pt x="539" y="91"/>
                  </a:cubicBezTo>
                  <a:cubicBezTo>
                    <a:pt x="539" y="91"/>
                    <a:pt x="539" y="91"/>
                    <a:pt x="539" y="91"/>
                  </a:cubicBezTo>
                  <a:cubicBezTo>
                    <a:pt x="539" y="91"/>
                    <a:pt x="539" y="91"/>
                    <a:pt x="539" y="91"/>
                  </a:cubicBezTo>
                  <a:cubicBezTo>
                    <a:pt x="539" y="91"/>
                    <a:pt x="539" y="91"/>
                    <a:pt x="539" y="91"/>
                  </a:cubicBezTo>
                  <a:cubicBezTo>
                    <a:pt x="539" y="92"/>
                    <a:pt x="539" y="92"/>
                    <a:pt x="539" y="92"/>
                  </a:cubicBezTo>
                  <a:cubicBezTo>
                    <a:pt x="539" y="92"/>
                    <a:pt x="539" y="92"/>
                    <a:pt x="539" y="92"/>
                  </a:cubicBezTo>
                  <a:cubicBezTo>
                    <a:pt x="539" y="92"/>
                    <a:pt x="539" y="92"/>
                    <a:pt x="539" y="92"/>
                  </a:cubicBezTo>
                  <a:cubicBezTo>
                    <a:pt x="539" y="92"/>
                    <a:pt x="539" y="92"/>
                    <a:pt x="539" y="92"/>
                  </a:cubicBezTo>
                  <a:cubicBezTo>
                    <a:pt x="539" y="92"/>
                    <a:pt x="539" y="92"/>
                    <a:pt x="539" y="92"/>
                  </a:cubicBezTo>
                  <a:cubicBezTo>
                    <a:pt x="539" y="92"/>
                    <a:pt x="539" y="92"/>
                    <a:pt x="539" y="92"/>
                  </a:cubicBezTo>
                  <a:cubicBezTo>
                    <a:pt x="539" y="92"/>
                    <a:pt x="539" y="92"/>
                    <a:pt x="539" y="92"/>
                  </a:cubicBezTo>
                  <a:cubicBezTo>
                    <a:pt x="540" y="92"/>
                    <a:pt x="540" y="92"/>
                    <a:pt x="540" y="92"/>
                  </a:cubicBezTo>
                  <a:cubicBezTo>
                    <a:pt x="540" y="92"/>
                    <a:pt x="540" y="92"/>
                    <a:pt x="541" y="92"/>
                  </a:cubicBezTo>
                  <a:cubicBezTo>
                    <a:pt x="541" y="92"/>
                    <a:pt x="541" y="92"/>
                    <a:pt x="541" y="92"/>
                  </a:cubicBezTo>
                  <a:cubicBezTo>
                    <a:pt x="541" y="92"/>
                    <a:pt x="541" y="92"/>
                    <a:pt x="541" y="92"/>
                  </a:cubicBezTo>
                  <a:cubicBezTo>
                    <a:pt x="541" y="93"/>
                    <a:pt x="541" y="93"/>
                    <a:pt x="541" y="93"/>
                  </a:cubicBezTo>
                  <a:cubicBezTo>
                    <a:pt x="541" y="93"/>
                    <a:pt x="541" y="93"/>
                    <a:pt x="541" y="93"/>
                  </a:cubicBezTo>
                  <a:cubicBezTo>
                    <a:pt x="541" y="93"/>
                    <a:pt x="541" y="93"/>
                    <a:pt x="541" y="93"/>
                  </a:cubicBezTo>
                  <a:cubicBezTo>
                    <a:pt x="539" y="94"/>
                    <a:pt x="539" y="94"/>
                    <a:pt x="539" y="94"/>
                  </a:cubicBezTo>
                  <a:cubicBezTo>
                    <a:pt x="539" y="94"/>
                    <a:pt x="539" y="94"/>
                    <a:pt x="539" y="94"/>
                  </a:cubicBezTo>
                  <a:cubicBezTo>
                    <a:pt x="539" y="94"/>
                    <a:pt x="539" y="94"/>
                    <a:pt x="539" y="94"/>
                  </a:cubicBezTo>
                  <a:cubicBezTo>
                    <a:pt x="539" y="94"/>
                    <a:pt x="539" y="94"/>
                    <a:pt x="539" y="94"/>
                  </a:cubicBezTo>
                  <a:cubicBezTo>
                    <a:pt x="539" y="94"/>
                    <a:pt x="539" y="94"/>
                    <a:pt x="539" y="94"/>
                  </a:cubicBezTo>
                  <a:cubicBezTo>
                    <a:pt x="539" y="94"/>
                    <a:pt x="539" y="94"/>
                    <a:pt x="539" y="94"/>
                  </a:cubicBezTo>
                  <a:cubicBezTo>
                    <a:pt x="539" y="94"/>
                    <a:pt x="539" y="94"/>
                    <a:pt x="539" y="94"/>
                  </a:cubicBezTo>
                  <a:cubicBezTo>
                    <a:pt x="539" y="95"/>
                    <a:pt x="539" y="95"/>
                    <a:pt x="539" y="95"/>
                  </a:cubicBezTo>
                  <a:cubicBezTo>
                    <a:pt x="540" y="95"/>
                    <a:pt x="540" y="95"/>
                    <a:pt x="540" y="95"/>
                  </a:cubicBezTo>
                  <a:cubicBezTo>
                    <a:pt x="540" y="95"/>
                    <a:pt x="540" y="95"/>
                    <a:pt x="540" y="95"/>
                  </a:cubicBezTo>
                  <a:cubicBezTo>
                    <a:pt x="540" y="95"/>
                    <a:pt x="540" y="95"/>
                    <a:pt x="540" y="95"/>
                  </a:cubicBezTo>
                  <a:cubicBezTo>
                    <a:pt x="540" y="95"/>
                    <a:pt x="540" y="95"/>
                    <a:pt x="540" y="95"/>
                  </a:cubicBezTo>
                  <a:cubicBezTo>
                    <a:pt x="540" y="95"/>
                    <a:pt x="540" y="95"/>
                    <a:pt x="540" y="95"/>
                  </a:cubicBezTo>
                  <a:cubicBezTo>
                    <a:pt x="541" y="95"/>
                    <a:pt x="541" y="95"/>
                    <a:pt x="541" y="95"/>
                  </a:cubicBezTo>
                  <a:cubicBezTo>
                    <a:pt x="541" y="95"/>
                    <a:pt x="541" y="95"/>
                    <a:pt x="541" y="95"/>
                  </a:cubicBezTo>
                  <a:cubicBezTo>
                    <a:pt x="541" y="95"/>
                    <a:pt x="541" y="95"/>
                    <a:pt x="541" y="95"/>
                  </a:cubicBezTo>
                  <a:cubicBezTo>
                    <a:pt x="541" y="95"/>
                    <a:pt x="541" y="95"/>
                    <a:pt x="541" y="95"/>
                  </a:cubicBezTo>
                  <a:cubicBezTo>
                    <a:pt x="541" y="95"/>
                    <a:pt x="541" y="95"/>
                    <a:pt x="541" y="95"/>
                  </a:cubicBezTo>
                  <a:cubicBezTo>
                    <a:pt x="542" y="95"/>
                    <a:pt x="542" y="95"/>
                    <a:pt x="542" y="95"/>
                  </a:cubicBezTo>
                  <a:cubicBezTo>
                    <a:pt x="541" y="95"/>
                    <a:pt x="541" y="95"/>
                    <a:pt x="541" y="95"/>
                  </a:cubicBezTo>
                  <a:cubicBezTo>
                    <a:pt x="541" y="96"/>
                    <a:pt x="541" y="96"/>
                    <a:pt x="541" y="96"/>
                  </a:cubicBezTo>
                  <a:cubicBezTo>
                    <a:pt x="541" y="96"/>
                    <a:pt x="541" y="96"/>
                    <a:pt x="541" y="96"/>
                  </a:cubicBezTo>
                  <a:cubicBezTo>
                    <a:pt x="541" y="96"/>
                    <a:pt x="541" y="96"/>
                    <a:pt x="541" y="96"/>
                  </a:cubicBezTo>
                  <a:cubicBezTo>
                    <a:pt x="541" y="96"/>
                    <a:pt x="541" y="96"/>
                    <a:pt x="541" y="96"/>
                  </a:cubicBezTo>
                  <a:cubicBezTo>
                    <a:pt x="541" y="96"/>
                    <a:pt x="541" y="96"/>
                    <a:pt x="541" y="96"/>
                  </a:cubicBezTo>
                  <a:cubicBezTo>
                    <a:pt x="541" y="96"/>
                    <a:pt x="541" y="96"/>
                    <a:pt x="541" y="96"/>
                  </a:cubicBezTo>
                  <a:cubicBezTo>
                    <a:pt x="541" y="96"/>
                    <a:pt x="541" y="96"/>
                    <a:pt x="541" y="96"/>
                  </a:cubicBezTo>
                  <a:cubicBezTo>
                    <a:pt x="542" y="97"/>
                    <a:pt x="543" y="96"/>
                    <a:pt x="543" y="97"/>
                  </a:cubicBezTo>
                  <a:cubicBezTo>
                    <a:pt x="543" y="97"/>
                    <a:pt x="543" y="97"/>
                    <a:pt x="543" y="97"/>
                  </a:cubicBezTo>
                  <a:cubicBezTo>
                    <a:pt x="543" y="97"/>
                    <a:pt x="543" y="97"/>
                    <a:pt x="543" y="97"/>
                  </a:cubicBezTo>
                  <a:cubicBezTo>
                    <a:pt x="544" y="98"/>
                    <a:pt x="543" y="98"/>
                    <a:pt x="544" y="98"/>
                  </a:cubicBezTo>
                  <a:cubicBezTo>
                    <a:pt x="544" y="98"/>
                    <a:pt x="544" y="98"/>
                    <a:pt x="544" y="98"/>
                  </a:cubicBezTo>
                  <a:cubicBezTo>
                    <a:pt x="544" y="98"/>
                    <a:pt x="544" y="98"/>
                    <a:pt x="544" y="98"/>
                  </a:cubicBezTo>
                  <a:cubicBezTo>
                    <a:pt x="544" y="98"/>
                    <a:pt x="544" y="98"/>
                    <a:pt x="544" y="98"/>
                  </a:cubicBezTo>
                  <a:cubicBezTo>
                    <a:pt x="545" y="100"/>
                    <a:pt x="544" y="101"/>
                    <a:pt x="544" y="102"/>
                  </a:cubicBezTo>
                  <a:cubicBezTo>
                    <a:pt x="544" y="102"/>
                    <a:pt x="544" y="102"/>
                    <a:pt x="544" y="102"/>
                  </a:cubicBezTo>
                  <a:cubicBezTo>
                    <a:pt x="544" y="102"/>
                    <a:pt x="544" y="102"/>
                    <a:pt x="544" y="102"/>
                  </a:cubicBezTo>
                  <a:cubicBezTo>
                    <a:pt x="544" y="102"/>
                    <a:pt x="544" y="102"/>
                    <a:pt x="544" y="102"/>
                  </a:cubicBezTo>
                  <a:cubicBezTo>
                    <a:pt x="543" y="102"/>
                    <a:pt x="543" y="102"/>
                    <a:pt x="543" y="102"/>
                  </a:cubicBezTo>
                  <a:cubicBezTo>
                    <a:pt x="543" y="102"/>
                    <a:pt x="543" y="102"/>
                    <a:pt x="543" y="102"/>
                  </a:cubicBezTo>
                  <a:cubicBezTo>
                    <a:pt x="543" y="103"/>
                    <a:pt x="542" y="103"/>
                    <a:pt x="542" y="103"/>
                  </a:cubicBezTo>
                  <a:cubicBezTo>
                    <a:pt x="542" y="104"/>
                    <a:pt x="542" y="104"/>
                    <a:pt x="542" y="104"/>
                  </a:cubicBezTo>
                  <a:cubicBezTo>
                    <a:pt x="543" y="104"/>
                    <a:pt x="543" y="104"/>
                    <a:pt x="543" y="104"/>
                  </a:cubicBezTo>
                  <a:cubicBezTo>
                    <a:pt x="543" y="104"/>
                    <a:pt x="543" y="105"/>
                    <a:pt x="544" y="105"/>
                  </a:cubicBezTo>
                  <a:cubicBezTo>
                    <a:pt x="544" y="105"/>
                    <a:pt x="544" y="105"/>
                    <a:pt x="544" y="105"/>
                  </a:cubicBezTo>
                  <a:cubicBezTo>
                    <a:pt x="544" y="105"/>
                    <a:pt x="544" y="105"/>
                    <a:pt x="544" y="105"/>
                  </a:cubicBezTo>
                  <a:cubicBezTo>
                    <a:pt x="544" y="105"/>
                    <a:pt x="544" y="105"/>
                    <a:pt x="544" y="105"/>
                  </a:cubicBezTo>
                  <a:cubicBezTo>
                    <a:pt x="544" y="105"/>
                    <a:pt x="544" y="105"/>
                    <a:pt x="544" y="105"/>
                  </a:cubicBezTo>
                  <a:cubicBezTo>
                    <a:pt x="544" y="105"/>
                    <a:pt x="544" y="105"/>
                    <a:pt x="544" y="105"/>
                  </a:cubicBezTo>
                  <a:cubicBezTo>
                    <a:pt x="544" y="105"/>
                    <a:pt x="544" y="105"/>
                    <a:pt x="544" y="105"/>
                  </a:cubicBezTo>
                  <a:cubicBezTo>
                    <a:pt x="544" y="105"/>
                    <a:pt x="544" y="105"/>
                    <a:pt x="544" y="105"/>
                  </a:cubicBezTo>
                  <a:cubicBezTo>
                    <a:pt x="544" y="106"/>
                    <a:pt x="544" y="106"/>
                    <a:pt x="544" y="106"/>
                  </a:cubicBezTo>
                  <a:cubicBezTo>
                    <a:pt x="544" y="106"/>
                    <a:pt x="544" y="106"/>
                    <a:pt x="544" y="106"/>
                  </a:cubicBezTo>
                  <a:cubicBezTo>
                    <a:pt x="544" y="106"/>
                    <a:pt x="544" y="106"/>
                    <a:pt x="544" y="106"/>
                  </a:cubicBezTo>
                  <a:cubicBezTo>
                    <a:pt x="544" y="106"/>
                    <a:pt x="544" y="106"/>
                    <a:pt x="544" y="106"/>
                  </a:cubicBezTo>
                  <a:cubicBezTo>
                    <a:pt x="544" y="106"/>
                    <a:pt x="544" y="106"/>
                    <a:pt x="544" y="106"/>
                  </a:cubicBezTo>
                  <a:cubicBezTo>
                    <a:pt x="544" y="106"/>
                    <a:pt x="544" y="106"/>
                    <a:pt x="544" y="106"/>
                  </a:cubicBezTo>
                  <a:cubicBezTo>
                    <a:pt x="544" y="106"/>
                    <a:pt x="544" y="106"/>
                    <a:pt x="544" y="106"/>
                  </a:cubicBezTo>
                  <a:cubicBezTo>
                    <a:pt x="543" y="107"/>
                    <a:pt x="543" y="107"/>
                    <a:pt x="543" y="107"/>
                  </a:cubicBezTo>
                  <a:cubicBezTo>
                    <a:pt x="543" y="107"/>
                    <a:pt x="543" y="107"/>
                    <a:pt x="543" y="107"/>
                  </a:cubicBezTo>
                  <a:cubicBezTo>
                    <a:pt x="543" y="107"/>
                    <a:pt x="544" y="107"/>
                    <a:pt x="544" y="108"/>
                  </a:cubicBezTo>
                  <a:cubicBezTo>
                    <a:pt x="545" y="108"/>
                    <a:pt x="545" y="108"/>
                    <a:pt x="545" y="108"/>
                  </a:cubicBezTo>
                  <a:cubicBezTo>
                    <a:pt x="545" y="108"/>
                    <a:pt x="545" y="108"/>
                    <a:pt x="545" y="108"/>
                  </a:cubicBezTo>
                  <a:cubicBezTo>
                    <a:pt x="546" y="109"/>
                    <a:pt x="546" y="109"/>
                    <a:pt x="546" y="109"/>
                  </a:cubicBezTo>
                  <a:cubicBezTo>
                    <a:pt x="558" y="112"/>
                    <a:pt x="558" y="112"/>
                    <a:pt x="558" y="112"/>
                  </a:cubicBezTo>
                  <a:cubicBezTo>
                    <a:pt x="559" y="115"/>
                    <a:pt x="559" y="115"/>
                    <a:pt x="559" y="115"/>
                  </a:cubicBezTo>
                  <a:cubicBezTo>
                    <a:pt x="559" y="115"/>
                    <a:pt x="559" y="115"/>
                    <a:pt x="559" y="115"/>
                  </a:cubicBezTo>
                  <a:cubicBezTo>
                    <a:pt x="559" y="116"/>
                    <a:pt x="559" y="116"/>
                    <a:pt x="559" y="116"/>
                  </a:cubicBezTo>
                  <a:cubicBezTo>
                    <a:pt x="559" y="116"/>
                    <a:pt x="559" y="116"/>
                    <a:pt x="559" y="116"/>
                  </a:cubicBezTo>
                  <a:cubicBezTo>
                    <a:pt x="563" y="120"/>
                    <a:pt x="563" y="120"/>
                    <a:pt x="563" y="120"/>
                  </a:cubicBezTo>
                  <a:cubicBezTo>
                    <a:pt x="564" y="122"/>
                    <a:pt x="564" y="122"/>
                    <a:pt x="564" y="122"/>
                  </a:cubicBezTo>
                  <a:cubicBezTo>
                    <a:pt x="560" y="122"/>
                    <a:pt x="560" y="122"/>
                    <a:pt x="560" y="122"/>
                  </a:cubicBezTo>
                  <a:cubicBezTo>
                    <a:pt x="560" y="122"/>
                    <a:pt x="560" y="122"/>
                    <a:pt x="560" y="122"/>
                  </a:cubicBezTo>
                  <a:cubicBezTo>
                    <a:pt x="558" y="123"/>
                    <a:pt x="558" y="123"/>
                    <a:pt x="557" y="123"/>
                  </a:cubicBezTo>
                  <a:cubicBezTo>
                    <a:pt x="556" y="123"/>
                    <a:pt x="556" y="123"/>
                    <a:pt x="556" y="123"/>
                  </a:cubicBezTo>
                  <a:cubicBezTo>
                    <a:pt x="556" y="123"/>
                    <a:pt x="556" y="123"/>
                    <a:pt x="556" y="123"/>
                  </a:cubicBezTo>
                  <a:cubicBezTo>
                    <a:pt x="556" y="123"/>
                    <a:pt x="556" y="123"/>
                    <a:pt x="556" y="123"/>
                  </a:cubicBezTo>
                  <a:cubicBezTo>
                    <a:pt x="556" y="123"/>
                    <a:pt x="555" y="123"/>
                    <a:pt x="555" y="123"/>
                  </a:cubicBezTo>
                  <a:cubicBezTo>
                    <a:pt x="555" y="123"/>
                    <a:pt x="555" y="123"/>
                    <a:pt x="555" y="123"/>
                  </a:cubicBezTo>
                  <a:cubicBezTo>
                    <a:pt x="554" y="123"/>
                    <a:pt x="554" y="123"/>
                    <a:pt x="554" y="123"/>
                  </a:cubicBezTo>
                  <a:cubicBezTo>
                    <a:pt x="554" y="123"/>
                    <a:pt x="554" y="123"/>
                    <a:pt x="554" y="123"/>
                  </a:cubicBezTo>
                  <a:cubicBezTo>
                    <a:pt x="554" y="123"/>
                    <a:pt x="554" y="123"/>
                    <a:pt x="554" y="123"/>
                  </a:cubicBezTo>
                  <a:cubicBezTo>
                    <a:pt x="554" y="123"/>
                    <a:pt x="554" y="123"/>
                    <a:pt x="554" y="123"/>
                  </a:cubicBezTo>
                  <a:cubicBezTo>
                    <a:pt x="554" y="123"/>
                    <a:pt x="554" y="123"/>
                    <a:pt x="554" y="123"/>
                  </a:cubicBezTo>
                  <a:cubicBezTo>
                    <a:pt x="553" y="122"/>
                    <a:pt x="553" y="122"/>
                    <a:pt x="553" y="122"/>
                  </a:cubicBezTo>
                  <a:cubicBezTo>
                    <a:pt x="551" y="121"/>
                    <a:pt x="551" y="121"/>
                    <a:pt x="551" y="121"/>
                  </a:cubicBezTo>
                  <a:cubicBezTo>
                    <a:pt x="547" y="118"/>
                    <a:pt x="547" y="118"/>
                    <a:pt x="547" y="118"/>
                  </a:cubicBezTo>
                  <a:cubicBezTo>
                    <a:pt x="545" y="116"/>
                    <a:pt x="545" y="116"/>
                    <a:pt x="545" y="116"/>
                  </a:cubicBezTo>
                  <a:cubicBezTo>
                    <a:pt x="545" y="116"/>
                    <a:pt x="545" y="116"/>
                    <a:pt x="545" y="116"/>
                  </a:cubicBezTo>
                  <a:cubicBezTo>
                    <a:pt x="545" y="116"/>
                    <a:pt x="545" y="116"/>
                    <a:pt x="545" y="116"/>
                  </a:cubicBezTo>
                  <a:cubicBezTo>
                    <a:pt x="544" y="116"/>
                    <a:pt x="544" y="116"/>
                    <a:pt x="544" y="116"/>
                  </a:cubicBezTo>
                  <a:cubicBezTo>
                    <a:pt x="543" y="115"/>
                    <a:pt x="543" y="115"/>
                    <a:pt x="543" y="115"/>
                  </a:cubicBezTo>
                  <a:cubicBezTo>
                    <a:pt x="536" y="113"/>
                    <a:pt x="536" y="113"/>
                    <a:pt x="536" y="113"/>
                  </a:cubicBezTo>
                  <a:cubicBezTo>
                    <a:pt x="521" y="110"/>
                    <a:pt x="521" y="110"/>
                    <a:pt x="521" y="110"/>
                  </a:cubicBezTo>
                  <a:cubicBezTo>
                    <a:pt x="521" y="110"/>
                    <a:pt x="521" y="110"/>
                    <a:pt x="521" y="110"/>
                  </a:cubicBezTo>
                  <a:cubicBezTo>
                    <a:pt x="510" y="113"/>
                    <a:pt x="510" y="113"/>
                    <a:pt x="510" y="113"/>
                  </a:cubicBezTo>
                  <a:cubicBezTo>
                    <a:pt x="510" y="114"/>
                    <a:pt x="510" y="114"/>
                    <a:pt x="510" y="114"/>
                  </a:cubicBezTo>
                  <a:cubicBezTo>
                    <a:pt x="509" y="115"/>
                    <a:pt x="509" y="115"/>
                    <a:pt x="509" y="115"/>
                  </a:cubicBezTo>
                  <a:cubicBezTo>
                    <a:pt x="509" y="115"/>
                    <a:pt x="509" y="115"/>
                    <a:pt x="509" y="115"/>
                  </a:cubicBezTo>
                  <a:cubicBezTo>
                    <a:pt x="509" y="115"/>
                    <a:pt x="509" y="115"/>
                    <a:pt x="509" y="115"/>
                  </a:cubicBezTo>
                  <a:cubicBezTo>
                    <a:pt x="509" y="115"/>
                    <a:pt x="509" y="115"/>
                    <a:pt x="509" y="115"/>
                  </a:cubicBezTo>
                  <a:cubicBezTo>
                    <a:pt x="509" y="116"/>
                    <a:pt x="509" y="116"/>
                    <a:pt x="509" y="116"/>
                  </a:cubicBezTo>
                  <a:cubicBezTo>
                    <a:pt x="509" y="116"/>
                    <a:pt x="509" y="116"/>
                    <a:pt x="509" y="116"/>
                  </a:cubicBezTo>
                  <a:cubicBezTo>
                    <a:pt x="510" y="116"/>
                    <a:pt x="510" y="116"/>
                    <a:pt x="510" y="116"/>
                  </a:cubicBezTo>
                  <a:cubicBezTo>
                    <a:pt x="510" y="116"/>
                    <a:pt x="510" y="116"/>
                    <a:pt x="510" y="116"/>
                  </a:cubicBezTo>
                  <a:cubicBezTo>
                    <a:pt x="510" y="116"/>
                    <a:pt x="510" y="116"/>
                    <a:pt x="510" y="116"/>
                  </a:cubicBezTo>
                  <a:cubicBezTo>
                    <a:pt x="510" y="116"/>
                    <a:pt x="510" y="116"/>
                    <a:pt x="510" y="116"/>
                  </a:cubicBezTo>
                  <a:cubicBezTo>
                    <a:pt x="510" y="116"/>
                    <a:pt x="510" y="116"/>
                    <a:pt x="510" y="116"/>
                  </a:cubicBezTo>
                  <a:cubicBezTo>
                    <a:pt x="511" y="116"/>
                    <a:pt x="511" y="116"/>
                    <a:pt x="511" y="116"/>
                  </a:cubicBezTo>
                  <a:cubicBezTo>
                    <a:pt x="511" y="116"/>
                    <a:pt x="511" y="116"/>
                    <a:pt x="511" y="116"/>
                  </a:cubicBezTo>
                  <a:cubicBezTo>
                    <a:pt x="511" y="116"/>
                    <a:pt x="512" y="115"/>
                    <a:pt x="512" y="115"/>
                  </a:cubicBezTo>
                  <a:cubicBezTo>
                    <a:pt x="513" y="115"/>
                    <a:pt x="513" y="115"/>
                    <a:pt x="513" y="115"/>
                  </a:cubicBezTo>
                  <a:cubicBezTo>
                    <a:pt x="513" y="115"/>
                    <a:pt x="513" y="115"/>
                    <a:pt x="513" y="115"/>
                  </a:cubicBezTo>
                  <a:cubicBezTo>
                    <a:pt x="513" y="115"/>
                    <a:pt x="513" y="115"/>
                    <a:pt x="513" y="115"/>
                  </a:cubicBezTo>
                  <a:cubicBezTo>
                    <a:pt x="513" y="115"/>
                    <a:pt x="513" y="115"/>
                    <a:pt x="513" y="115"/>
                  </a:cubicBezTo>
                  <a:cubicBezTo>
                    <a:pt x="514" y="115"/>
                    <a:pt x="515" y="115"/>
                    <a:pt x="515" y="115"/>
                  </a:cubicBezTo>
                  <a:cubicBezTo>
                    <a:pt x="515" y="115"/>
                    <a:pt x="515" y="115"/>
                    <a:pt x="515" y="115"/>
                  </a:cubicBezTo>
                  <a:cubicBezTo>
                    <a:pt x="515" y="115"/>
                    <a:pt x="515" y="115"/>
                    <a:pt x="515" y="115"/>
                  </a:cubicBezTo>
                  <a:cubicBezTo>
                    <a:pt x="516" y="115"/>
                    <a:pt x="516" y="116"/>
                    <a:pt x="517" y="116"/>
                  </a:cubicBezTo>
                  <a:cubicBezTo>
                    <a:pt x="517" y="116"/>
                    <a:pt x="517" y="116"/>
                    <a:pt x="517" y="116"/>
                  </a:cubicBezTo>
                  <a:cubicBezTo>
                    <a:pt x="517" y="117"/>
                    <a:pt x="517" y="117"/>
                    <a:pt x="517" y="117"/>
                  </a:cubicBezTo>
                  <a:cubicBezTo>
                    <a:pt x="517" y="119"/>
                    <a:pt x="517" y="119"/>
                    <a:pt x="517" y="119"/>
                  </a:cubicBezTo>
                  <a:cubicBezTo>
                    <a:pt x="517" y="119"/>
                    <a:pt x="517" y="119"/>
                    <a:pt x="517" y="119"/>
                  </a:cubicBezTo>
                  <a:cubicBezTo>
                    <a:pt x="516" y="120"/>
                    <a:pt x="516" y="120"/>
                    <a:pt x="516" y="120"/>
                  </a:cubicBezTo>
                  <a:cubicBezTo>
                    <a:pt x="515" y="120"/>
                    <a:pt x="513" y="121"/>
                    <a:pt x="512" y="121"/>
                  </a:cubicBezTo>
                  <a:cubicBezTo>
                    <a:pt x="512" y="121"/>
                    <a:pt x="512" y="121"/>
                    <a:pt x="512" y="121"/>
                  </a:cubicBezTo>
                  <a:cubicBezTo>
                    <a:pt x="512" y="121"/>
                    <a:pt x="512" y="121"/>
                    <a:pt x="512" y="121"/>
                  </a:cubicBezTo>
                  <a:cubicBezTo>
                    <a:pt x="512" y="120"/>
                    <a:pt x="512" y="120"/>
                    <a:pt x="512" y="120"/>
                  </a:cubicBezTo>
                  <a:cubicBezTo>
                    <a:pt x="511" y="120"/>
                    <a:pt x="510" y="120"/>
                    <a:pt x="510" y="120"/>
                  </a:cubicBezTo>
                  <a:cubicBezTo>
                    <a:pt x="510" y="120"/>
                    <a:pt x="510" y="120"/>
                    <a:pt x="510" y="120"/>
                  </a:cubicBezTo>
                  <a:cubicBezTo>
                    <a:pt x="510" y="120"/>
                    <a:pt x="510" y="120"/>
                    <a:pt x="510" y="120"/>
                  </a:cubicBezTo>
                  <a:cubicBezTo>
                    <a:pt x="509" y="119"/>
                    <a:pt x="509" y="119"/>
                    <a:pt x="508" y="118"/>
                  </a:cubicBezTo>
                  <a:cubicBezTo>
                    <a:pt x="508" y="118"/>
                    <a:pt x="508" y="118"/>
                    <a:pt x="508" y="118"/>
                  </a:cubicBezTo>
                  <a:cubicBezTo>
                    <a:pt x="508" y="118"/>
                    <a:pt x="508" y="118"/>
                    <a:pt x="508" y="118"/>
                  </a:cubicBezTo>
                  <a:cubicBezTo>
                    <a:pt x="506" y="117"/>
                    <a:pt x="506" y="117"/>
                    <a:pt x="506" y="117"/>
                  </a:cubicBezTo>
                  <a:cubicBezTo>
                    <a:pt x="495" y="119"/>
                    <a:pt x="495" y="119"/>
                    <a:pt x="495" y="119"/>
                  </a:cubicBezTo>
                  <a:cubicBezTo>
                    <a:pt x="495" y="119"/>
                    <a:pt x="495" y="119"/>
                    <a:pt x="495" y="119"/>
                  </a:cubicBezTo>
                  <a:cubicBezTo>
                    <a:pt x="495" y="119"/>
                    <a:pt x="495" y="119"/>
                    <a:pt x="495" y="119"/>
                  </a:cubicBezTo>
                  <a:cubicBezTo>
                    <a:pt x="495" y="119"/>
                    <a:pt x="495" y="119"/>
                    <a:pt x="495" y="119"/>
                  </a:cubicBezTo>
                  <a:cubicBezTo>
                    <a:pt x="495" y="119"/>
                    <a:pt x="495" y="119"/>
                    <a:pt x="495" y="119"/>
                  </a:cubicBezTo>
                  <a:cubicBezTo>
                    <a:pt x="495" y="119"/>
                    <a:pt x="495" y="119"/>
                    <a:pt x="495" y="119"/>
                  </a:cubicBezTo>
                  <a:cubicBezTo>
                    <a:pt x="495" y="119"/>
                    <a:pt x="495" y="119"/>
                    <a:pt x="495" y="119"/>
                  </a:cubicBezTo>
                  <a:cubicBezTo>
                    <a:pt x="496" y="119"/>
                    <a:pt x="496" y="119"/>
                    <a:pt x="496" y="119"/>
                  </a:cubicBezTo>
                  <a:cubicBezTo>
                    <a:pt x="496" y="119"/>
                    <a:pt x="496" y="119"/>
                    <a:pt x="496" y="119"/>
                  </a:cubicBezTo>
                  <a:cubicBezTo>
                    <a:pt x="496" y="120"/>
                    <a:pt x="496" y="120"/>
                    <a:pt x="496" y="120"/>
                  </a:cubicBezTo>
                  <a:cubicBezTo>
                    <a:pt x="496" y="120"/>
                    <a:pt x="496" y="120"/>
                    <a:pt x="496" y="120"/>
                  </a:cubicBezTo>
                  <a:cubicBezTo>
                    <a:pt x="496" y="120"/>
                    <a:pt x="496" y="121"/>
                    <a:pt x="496" y="121"/>
                  </a:cubicBezTo>
                  <a:cubicBezTo>
                    <a:pt x="496" y="121"/>
                    <a:pt x="496" y="121"/>
                    <a:pt x="496" y="121"/>
                  </a:cubicBezTo>
                  <a:cubicBezTo>
                    <a:pt x="496" y="121"/>
                    <a:pt x="496" y="121"/>
                    <a:pt x="496" y="121"/>
                  </a:cubicBezTo>
                  <a:cubicBezTo>
                    <a:pt x="497" y="121"/>
                    <a:pt x="497" y="121"/>
                    <a:pt x="497" y="121"/>
                  </a:cubicBezTo>
                  <a:cubicBezTo>
                    <a:pt x="497" y="121"/>
                    <a:pt x="497" y="121"/>
                    <a:pt x="497" y="121"/>
                  </a:cubicBezTo>
                  <a:cubicBezTo>
                    <a:pt x="497" y="122"/>
                    <a:pt x="497" y="122"/>
                    <a:pt x="497" y="122"/>
                  </a:cubicBezTo>
                  <a:cubicBezTo>
                    <a:pt x="497" y="123"/>
                    <a:pt x="497" y="123"/>
                    <a:pt x="497" y="123"/>
                  </a:cubicBezTo>
                  <a:cubicBezTo>
                    <a:pt x="497" y="123"/>
                    <a:pt x="497" y="123"/>
                    <a:pt x="497" y="123"/>
                  </a:cubicBezTo>
                  <a:cubicBezTo>
                    <a:pt x="498" y="123"/>
                    <a:pt x="497" y="125"/>
                    <a:pt x="498" y="125"/>
                  </a:cubicBezTo>
                  <a:cubicBezTo>
                    <a:pt x="498" y="125"/>
                    <a:pt x="498" y="125"/>
                    <a:pt x="498" y="125"/>
                  </a:cubicBezTo>
                  <a:cubicBezTo>
                    <a:pt x="499" y="126"/>
                    <a:pt x="499" y="126"/>
                    <a:pt x="499" y="126"/>
                  </a:cubicBezTo>
                  <a:cubicBezTo>
                    <a:pt x="499" y="126"/>
                    <a:pt x="499" y="126"/>
                    <a:pt x="499" y="126"/>
                  </a:cubicBezTo>
                  <a:cubicBezTo>
                    <a:pt x="499" y="126"/>
                    <a:pt x="499" y="126"/>
                    <a:pt x="499" y="126"/>
                  </a:cubicBezTo>
                  <a:cubicBezTo>
                    <a:pt x="499" y="126"/>
                    <a:pt x="499" y="126"/>
                    <a:pt x="499" y="126"/>
                  </a:cubicBezTo>
                  <a:cubicBezTo>
                    <a:pt x="502" y="126"/>
                    <a:pt x="501" y="127"/>
                    <a:pt x="504" y="128"/>
                  </a:cubicBezTo>
                  <a:cubicBezTo>
                    <a:pt x="504" y="128"/>
                    <a:pt x="504" y="128"/>
                    <a:pt x="504" y="128"/>
                  </a:cubicBezTo>
                  <a:cubicBezTo>
                    <a:pt x="505" y="128"/>
                    <a:pt x="505" y="128"/>
                    <a:pt x="505" y="128"/>
                  </a:cubicBezTo>
                  <a:cubicBezTo>
                    <a:pt x="506" y="128"/>
                    <a:pt x="506" y="128"/>
                    <a:pt x="506" y="128"/>
                  </a:cubicBezTo>
                  <a:cubicBezTo>
                    <a:pt x="507" y="129"/>
                    <a:pt x="507" y="129"/>
                    <a:pt x="507" y="129"/>
                  </a:cubicBezTo>
                  <a:cubicBezTo>
                    <a:pt x="507" y="129"/>
                    <a:pt x="507" y="129"/>
                    <a:pt x="507" y="129"/>
                  </a:cubicBezTo>
                  <a:cubicBezTo>
                    <a:pt x="508" y="129"/>
                    <a:pt x="508" y="130"/>
                    <a:pt x="509" y="130"/>
                  </a:cubicBezTo>
                  <a:cubicBezTo>
                    <a:pt x="509" y="130"/>
                    <a:pt x="509" y="130"/>
                    <a:pt x="509" y="130"/>
                  </a:cubicBezTo>
                  <a:cubicBezTo>
                    <a:pt x="510" y="130"/>
                    <a:pt x="510" y="130"/>
                    <a:pt x="510" y="130"/>
                  </a:cubicBezTo>
                  <a:cubicBezTo>
                    <a:pt x="510" y="130"/>
                    <a:pt x="510" y="130"/>
                    <a:pt x="510" y="130"/>
                  </a:cubicBezTo>
                  <a:cubicBezTo>
                    <a:pt x="510" y="130"/>
                    <a:pt x="510" y="130"/>
                    <a:pt x="510" y="130"/>
                  </a:cubicBezTo>
                  <a:cubicBezTo>
                    <a:pt x="510" y="130"/>
                    <a:pt x="510" y="130"/>
                    <a:pt x="510" y="130"/>
                  </a:cubicBezTo>
                  <a:cubicBezTo>
                    <a:pt x="510" y="130"/>
                    <a:pt x="510" y="130"/>
                    <a:pt x="510" y="130"/>
                  </a:cubicBezTo>
                  <a:cubicBezTo>
                    <a:pt x="510" y="130"/>
                    <a:pt x="510" y="130"/>
                    <a:pt x="510" y="130"/>
                  </a:cubicBezTo>
                  <a:cubicBezTo>
                    <a:pt x="511" y="130"/>
                    <a:pt x="512" y="131"/>
                    <a:pt x="513" y="131"/>
                  </a:cubicBezTo>
                  <a:cubicBezTo>
                    <a:pt x="513" y="131"/>
                    <a:pt x="513" y="131"/>
                    <a:pt x="513" y="131"/>
                  </a:cubicBezTo>
                  <a:cubicBezTo>
                    <a:pt x="513" y="131"/>
                    <a:pt x="513" y="131"/>
                    <a:pt x="513" y="131"/>
                  </a:cubicBezTo>
                  <a:cubicBezTo>
                    <a:pt x="513" y="130"/>
                    <a:pt x="513" y="130"/>
                    <a:pt x="513" y="130"/>
                  </a:cubicBezTo>
                  <a:cubicBezTo>
                    <a:pt x="513" y="130"/>
                    <a:pt x="513" y="130"/>
                    <a:pt x="513" y="130"/>
                  </a:cubicBezTo>
                  <a:cubicBezTo>
                    <a:pt x="514" y="130"/>
                    <a:pt x="514" y="130"/>
                    <a:pt x="514" y="130"/>
                  </a:cubicBezTo>
                  <a:cubicBezTo>
                    <a:pt x="514" y="130"/>
                    <a:pt x="514" y="130"/>
                    <a:pt x="514" y="130"/>
                  </a:cubicBezTo>
                  <a:cubicBezTo>
                    <a:pt x="514" y="130"/>
                    <a:pt x="514" y="130"/>
                    <a:pt x="514" y="130"/>
                  </a:cubicBezTo>
                  <a:cubicBezTo>
                    <a:pt x="514" y="130"/>
                    <a:pt x="514" y="130"/>
                    <a:pt x="514" y="130"/>
                  </a:cubicBezTo>
                  <a:cubicBezTo>
                    <a:pt x="514" y="130"/>
                    <a:pt x="514" y="130"/>
                    <a:pt x="514" y="130"/>
                  </a:cubicBezTo>
                  <a:cubicBezTo>
                    <a:pt x="514" y="130"/>
                    <a:pt x="514" y="130"/>
                    <a:pt x="514" y="130"/>
                  </a:cubicBezTo>
                  <a:cubicBezTo>
                    <a:pt x="515" y="129"/>
                    <a:pt x="515" y="129"/>
                    <a:pt x="515" y="129"/>
                  </a:cubicBezTo>
                  <a:cubicBezTo>
                    <a:pt x="515" y="129"/>
                    <a:pt x="515" y="129"/>
                    <a:pt x="515" y="129"/>
                  </a:cubicBezTo>
                  <a:cubicBezTo>
                    <a:pt x="516" y="129"/>
                    <a:pt x="516" y="129"/>
                    <a:pt x="516" y="129"/>
                  </a:cubicBezTo>
                  <a:cubicBezTo>
                    <a:pt x="516" y="129"/>
                    <a:pt x="516" y="129"/>
                    <a:pt x="516" y="129"/>
                  </a:cubicBezTo>
                  <a:cubicBezTo>
                    <a:pt x="516" y="129"/>
                    <a:pt x="516" y="129"/>
                    <a:pt x="516" y="129"/>
                  </a:cubicBezTo>
                  <a:cubicBezTo>
                    <a:pt x="516" y="130"/>
                    <a:pt x="516" y="130"/>
                    <a:pt x="516" y="130"/>
                  </a:cubicBezTo>
                  <a:cubicBezTo>
                    <a:pt x="515" y="130"/>
                    <a:pt x="515" y="130"/>
                    <a:pt x="515" y="130"/>
                  </a:cubicBezTo>
                  <a:cubicBezTo>
                    <a:pt x="515" y="131"/>
                    <a:pt x="515" y="131"/>
                    <a:pt x="515" y="131"/>
                  </a:cubicBezTo>
                  <a:cubicBezTo>
                    <a:pt x="515" y="131"/>
                    <a:pt x="515" y="131"/>
                    <a:pt x="515" y="131"/>
                  </a:cubicBezTo>
                  <a:cubicBezTo>
                    <a:pt x="515" y="131"/>
                    <a:pt x="515" y="131"/>
                    <a:pt x="515" y="131"/>
                  </a:cubicBezTo>
                  <a:cubicBezTo>
                    <a:pt x="515" y="131"/>
                    <a:pt x="515" y="131"/>
                    <a:pt x="515" y="131"/>
                  </a:cubicBezTo>
                  <a:cubicBezTo>
                    <a:pt x="515" y="131"/>
                    <a:pt x="515" y="131"/>
                    <a:pt x="515" y="131"/>
                  </a:cubicBezTo>
                  <a:cubicBezTo>
                    <a:pt x="515" y="131"/>
                    <a:pt x="515" y="131"/>
                    <a:pt x="515" y="131"/>
                  </a:cubicBezTo>
                  <a:cubicBezTo>
                    <a:pt x="516" y="131"/>
                    <a:pt x="516" y="131"/>
                    <a:pt x="516" y="131"/>
                  </a:cubicBezTo>
                  <a:cubicBezTo>
                    <a:pt x="516" y="131"/>
                    <a:pt x="516" y="131"/>
                    <a:pt x="516" y="131"/>
                  </a:cubicBezTo>
                  <a:cubicBezTo>
                    <a:pt x="516" y="131"/>
                    <a:pt x="516" y="131"/>
                    <a:pt x="516" y="131"/>
                  </a:cubicBezTo>
                  <a:cubicBezTo>
                    <a:pt x="516" y="131"/>
                    <a:pt x="516" y="131"/>
                    <a:pt x="516" y="131"/>
                  </a:cubicBezTo>
                  <a:cubicBezTo>
                    <a:pt x="517" y="131"/>
                    <a:pt x="517" y="131"/>
                    <a:pt x="517" y="131"/>
                  </a:cubicBezTo>
                  <a:cubicBezTo>
                    <a:pt x="518" y="131"/>
                    <a:pt x="518" y="131"/>
                    <a:pt x="518" y="131"/>
                  </a:cubicBezTo>
                  <a:cubicBezTo>
                    <a:pt x="518" y="131"/>
                    <a:pt x="518" y="131"/>
                    <a:pt x="518" y="131"/>
                  </a:cubicBezTo>
                  <a:cubicBezTo>
                    <a:pt x="519" y="132"/>
                    <a:pt x="519" y="132"/>
                    <a:pt x="519" y="132"/>
                  </a:cubicBezTo>
                  <a:cubicBezTo>
                    <a:pt x="519" y="132"/>
                    <a:pt x="519" y="132"/>
                    <a:pt x="519" y="132"/>
                  </a:cubicBezTo>
                  <a:cubicBezTo>
                    <a:pt x="519" y="132"/>
                    <a:pt x="519" y="132"/>
                    <a:pt x="519" y="132"/>
                  </a:cubicBezTo>
                  <a:cubicBezTo>
                    <a:pt x="519" y="132"/>
                    <a:pt x="519" y="132"/>
                    <a:pt x="519" y="132"/>
                  </a:cubicBezTo>
                  <a:cubicBezTo>
                    <a:pt x="518" y="135"/>
                    <a:pt x="518" y="134"/>
                    <a:pt x="520" y="135"/>
                  </a:cubicBezTo>
                  <a:cubicBezTo>
                    <a:pt x="520" y="135"/>
                    <a:pt x="520" y="135"/>
                    <a:pt x="520" y="135"/>
                  </a:cubicBezTo>
                  <a:cubicBezTo>
                    <a:pt x="520" y="135"/>
                    <a:pt x="520" y="135"/>
                    <a:pt x="520" y="135"/>
                  </a:cubicBezTo>
                  <a:cubicBezTo>
                    <a:pt x="520" y="135"/>
                    <a:pt x="520" y="135"/>
                    <a:pt x="520" y="135"/>
                  </a:cubicBezTo>
                  <a:cubicBezTo>
                    <a:pt x="521" y="134"/>
                    <a:pt x="521" y="134"/>
                    <a:pt x="521" y="134"/>
                  </a:cubicBezTo>
                  <a:cubicBezTo>
                    <a:pt x="521" y="134"/>
                    <a:pt x="521" y="134"/>
                    <a:pt x="521" y="134"/>
                  </a:cubicBezTo>
                  <a:cubicBezTo>
                    <a:pt x="521" y="135"/>
                    <a:pt x="521" y="135"/>
                    <a:pt x="521" y="135"/>
                  </a:cubicBezTo>
                  <a:cubicBezTo>
                    <a:pt x="521" y="135"/>
                    <a:pt x="521" y="135"/>
                    <a:pt x="521" y="135"/>
                  </a:cubicBezTo>
                  <a:cubicBezTo>
                    <a:pt x="521" y="135"/>
                    <a:pt x="521" y="135"/>
                    <a:pt x="521" y="135"/>
                  </a:cubicBezTo>
                  <a:cubicBezTo>
                    <a:pt x="521" y="135"/>
                    <a:pt x="521" y="135"/>
                    <a:pt x="521" y="135"/>
                  </a:cubicBezTo>
                  <a:cubicBezTo>
                    <a:pt x="521" y="135"/>
                    <a:pt x="521" y="135"/>
                    <a:pt x="521" y="135"/>
                  </a:cubicBezTo>
                  <a:cubicBezTo>
                    <a:pt x="521" y="135"/>
                    <a:pt x="521" y="135"/>
                    <a:pt x="521" y="135"/>
                  </a:cubicBezTo>
                  <a:cubicBezTo>
                    <a:pt x="521" y="135"/>
                    <a:pt x="521" y="135"/>
                    <a:pt x="521" y="135"/>
                  </a:cubicBezTo>
                  <a:cubicBezTo>
                    <a:pt x="521" y="136"/>
                    <a:pt x="521" y="136"/>
                    <a:pt x="521" y="136"/>
                  </a:cubicBezTo>
                  <a:cubicBezTo>
                    <a:pt x="520" y="136"/>
                    <a:pt x="520" y="136"/>
                    <a:pt x="520" y="136"/>
                  </a:cubicBezTo>
                  <a:cubicBezTo>
                    <a:pt x="520" y="136"/>
                    <a:pt x="520" y="136"/>
                    <a:pt x="520" y="136"/>
                  </a:cubicBezTo>
                  <a:cubicBezTo>
                    <a:pt x="520" y="137"/>
                    <a:pt x="520" y="137"/>
                    <a:pt x="520" y="137"/>
                  </a:cubicBezTo>
                  <a:cubicBezTo>
                    <a:pt x="520" y="137"/>
                    <a:pt x="520" y="137"/>
                    <a:pt x="520" y="137"/>
                  </a:cubicBezTo>
                  <a:cubicBezTo>
                    <a:pt x="520" y="138"/>
                    <a:pt x="520" y="138"/>
                    <a:pt x="520" y="138"/>
                  </a:cubicBezTo>
                  <a:cubicBezTo>
                    <a:pt x="521" y="137"/>
                    <a:pt x="521" y="137"/>
                    <a:pt x="521" y="137"/>
                  </a:cubicBezTo>
                  <a:cubicBezTo>
                    <a:pt x="521" y="137"/>
                    <a:pt x="521" y="137"/>
                    <a:pt x="521" y="137"/>
                  </a:cubicBezTo>
                  <a:cubicBezTo>
                    <a:pt x="522" y="136"/>
                    <a:pt x="522" y="137"/>
                    <a:pt x="523" y="137"/>
                  </a:cubicBezTo>
                  <a:cubicBezTo>
                    <a:pt x="523" y="137"/>
                    <a:pt x="523" y="137"/>
                    <a:pt x="523" y="137"/>
                  </a:cubicBezTo>
                  <a:cubicBezTo>
                    <a:pt x="524" y="137"/>
                    <a:pt x="524" y="137"/>
                    <a:pt x="524" y="137"/>
                  </a:cubicBezTo>
                  <a:cubicBezTo>
                    <a:pt x="524" y="137"/>
                    <a:pt x="524" y="137"/>
                    <a:pt x="524" y="137"/>
                  </a:cubicBezTo>
                  <a:cubicBezTo>
                    <a:pt x="524" y="137"/>
                    <a:pt x="524" y="137"/>
                    <a:pt x="524" y="137"/>
                  </a:cubicBezTo>
                  <a:cubicBezTo>
                    <a:pt x="524" y="137"/>
                    <a:pt x="524" y="137"/>
                    <a:pt x="524" y="137"/>
                  </a:cubicBezTo>
                  <a:cubicBezTo>
                    <a:pt x="524" y="136"/>
                    <a:pt x="524" y="136"/>
                    <a:pt x="524" y="136"/>
                  </a:cubicBezTo>
                  <a:cubicBezTo>
                    <a:pt x="524" y="136"/>
                    <a:pt x="524" y="136"/>
                    <a:pt x="524" y="136"/>
                  </a:cubicBezTo>
                  <a:cubicBezTo>
                    <a:pt x="524" y="136"/>
                    <a:pt x="524" y="136"/>
                    <a:pt x="524" y="136"/>
                  </a:cubicBezTo>
                  <a:cubicBezTo>
                    <a:pt x="524" y="136"/>
                    <a:pt x="524" y="136"/>
                    <a:pt x="524" y="136"/>
                  </a:cubicBezTo>
                  <a:cubicBezTo>
                    <a:pt x="524" y="136"/>
                    <a:pt x="524" y="136"/>
                    <a:pt x="524" y="136"/>
                  </a:cubicBezTo>
                  <a:cubicBezTo>
                    <a:pt x="524" y="136"/>
                    <a:pt x="524" y="136"/>
                    <a:pt x="524" y="136"/>
                  </a:cubicBezTo>
                  <a:cubicBezTo>
                    <a:pt x="524" y="136"/>
                    <a:pt x="524" y="136"/>
                    <a:pt x="524" y="136"/>
                  </a:cubicBezTo>
                  <a:cubicBezTo>
                    <a:pt x="525" y="136"/>
                    <a:pt x="525" y="136"/>
                    <a:pt x="525" y="136"/>
                  </a:cubicBezTo>
                  <a:cubicBezTo>
                    <a:pt x="525" y="136"/>
                    <a:pt x="525" y="136"/>
                    <a:pt x="525" y="136"/>
                  </a:cubicBezTo>
                  <a:cubicBezTo>
                    <a:pt x="525" y="136"/>
                    <a:pt x="525" y="136"/>
                    <a:pt x="525" y="136"/>
                  </a:cubicBezTo>
                  <a:cubicBezTo>
                    <a:pt x="526" y="136"/>
                    <a:pt x="526" y="136"/>
                    <a:pt x="526" y="136"/>
                  </a:cubicBezTo>
                  <a:cubicBezTo>
                    <a:pt x="527" y="136"/>
                    <a:pt x="527" y="136"/>
                    <a:pt x="527" y="136"/>
                  </a:cubicBezTo>
                  <a:cubicBezTo>
                    <a:pt x="527" y="136"/>
                    <a:pt x="527" y="136"/>
                    <a:pt x="527" y="136"/>
                  </a:cubicBezTo>
                  <a:cubicBezTo>
                    <a:pt x="527" y="136"/>
                    <a:pt x="527" y="136"/>
                    <a:pt x="527" y="136"/>
                  </a:cubicBezTo>
                  <a:cubicBezTo>
                    <a:pt x="527" y="136"/>
                    <a:pt x="527" y="136"/>
                    <a:pt x="527" y="136"/>
                  </a:cubicBezTo>
                  <a:cubicBezTo>
                    <a:pt x="527" y="136"/>
                    <a:pt x="527" y="136"/>
                    <a:pt x="527" y="136"/>
                  </a:cubicBezTo>
                  <a:cubicBezTo>
                    <a:pt x="527" y="136"/>
                    <a:pt x="527" y="136"/>
                    <a:pt x="527" y="136"/>
                  </a:cubicBezTo>
                  <a:cubicBezTo>
                    <a:pt x="526" y="138"/>
                    <a:pt x="524" y="138"/>
                    <a:pt x="523" y="138"/>
                  </a:cubicBezTo>
                  <a:cubicBezTo>
                    <a:pt x="523" y="138"/>
                    <a:pt x="523" y="138"/>
                    <a:pt x="523" y="138"/>
                  </a:cubicBezTo>
                  <a:cubicBezTo>
                    <a:pt x="523" y="138"/>
                    <a:pt x="523" y="138"/>
                    <a:pt x="523" y="138"/>
                  </a:cubicBezTo>
                  <a:cubicBezTo>
                    <a:pt x="521" y="137"/>
                    <a:pt x="520" y="139"/>
                    <a:pt x="519" y="138"/>
                  </a:cubicBezTo>
                  <a:cubicBezTo>
                    <a:pt x="519" y="138"/>
                    <a:pt x="519" y="138"/>
                    <a:pt x="519" y="138"/>
                  </a:cubicBezTo>
                  <a:cubicBezTo>
                    <a:pt x="519" y="138"/>
                    <a:pt x="519" y="138"/>
                    <a:pt x="519" y="138"/>
                  </a:cubicBezTo>
                  <a:cubicBezTo>
                    <a:pt x="519" y="137"/>
                    <a:pt x="519" y="137"/>
                    <a:pt x="519" y="137"/>
                  </a:cubicBezTo>
                  <a:cubicBezTo>
                    <a:pt x="519" y="137"/>
                    <a:pt x="519" y="137"/>
                    <a:pt x="519" y="137"/>
                  </a:cubicBezTo>
                  <a:cubicBezTo>
                    <a:pt x="518" y="137"/>
                    <a:pt x="518" y="137"/>
                    <a:pt x="518" y="137"/>
                  </a:cubicBezTo>
                  <a:cubicBezTo>
                    <a:pt x="518" y="137"/>
                    <a:pt x="518" y="137"/>
                    <a:pt x="518" y="137"/>
                  </a:cubicBezTo>
                  <a:cubicBezTo>
                    <a:pt x="518" y="137"/>
                    <a:pt x="518" y="137"/>
                    <a:pt x="518" y="137"/>
                  </a:cubicBezTo>
                  <a:cubicBezTo>
                    <a:pt x="518" y="137"/>
                    <a:pt x="518" y="137"/>
                    <a:pt x="518" y="137"/>
                  </a:cubicBezTo>
                  <a:cubicBezTo>
                    <a:pt x="518" y="137"/>
                    <a:pt x="518" y="137"/>
                    <a:pt x="518" y="137"/>
                  </a:cubicBezTo>
                  <a:cubicBezTo>
                    <a:pt x="517" y="137"/>
                    <a:pt x="517" y="137"/>
                    <a:pt x="517" y="137"/>
                  </a:cubicBezTo>
                  <a:cubicBezTo>
                    <a:pt x="517" y="137"/>
                    <a:pt x="517" y="137"/>
                    <a:pt x="517" y="137"/>
                  </a:cubicBezTo>
                  <a:cubicBezTo>
                    <a:pt x="517" y="137"/>
                    <a:pt x="517" y="137"/>
                    <a:pt x="517" y="137"/>
                  </a:cubicBezTo>
                  <a:cubicBezTo>
                    <a:pt x="517" y="137"/>
                    <a:pt x="517" y="137"/>
                    <a:pt x="517" y="137"/>
                  </a:cubicBezTo>
                  <a:cubicBezTo>
                    <a:pt x="517" y="137"/>
                    <a:pt x="517" y="137"/>
                    <a:pt x="517" y="137"/>
                  </a:cubicBezTo>
                  <a:cubicBezTo>
                    <a:pt x="516" y="137"/>
                    <a:pt x="516" y="137"/>
                    <a:pt x="516" y="137"/>
                  </a:cubicBezTo>
                  <a:cubicBezTo>
                    <a:pt x="516" y="137"/>
                    <a:pt x="516" y="137"/>
                    <a:pt x="516" y="137"/>
                  </a:cubicBezTo>
                  <a:cubicBezTo>
                    <a:pt x="516" y="137"/>
                    <a:pt x="515" y="137"/>
                    <a:pt x="515" y="136"/>
                  </a:cubicBezTo>
                  <a:cubicBezTo>
                    <a:pt x="515" y="136"/>
                    <a:pt x="515" y="136"/>
                    <a:pt x="515" y="136"/>
                  </a:cubicBezTo>
                  <a:cubicBezTo>
                    <a:pt x="515" y="136"/>
                    <a:pt x="515" y="136"/>
                    <a:pt x="515" y="136"/>
                  </a:cubicBezTo>
                  <a:cubicBezTo>
                    <a:pt x="515" y="136"/>
                    <a:pt x="515" y="136"/>
                    <a:pt x="515" y="136"/>
                  </a:cubicBezTo>
                  <a:cubicBezTo>
                    <a:pt x="514" y="136"/>
                    <a:pt x="514" y="136"/>
                    <a:pt x="514" y="136"/>
                  </a:cubicBezTo>
                  <a:cubicBezTo>
                    <a:pt x="514" y="136"/>
                    <a:pt x="514" y="136"/>
                    <a:pt x="514" y="136"/>
                  </a:cubicBezTo>
                  <a:cubicBezTo>
                    <a:pt x="514" y="136"/>
                    <a:pt x="514" y="136"/>
                    <a:pt x="514" y="136"/>
                  </a:cubicBezTo>
                  <a:cubicBezTo>
                    <a:pt x="514" y="135"/>
                    <a:pt x="514" y="135"/>
                    <a:pt x="514" y="135"/>
                  </a:cubicBezTo>
                  <a:cubicBezTo>
                    <a:pt x="514" y="135"/>
                    <a:pt x="514" y="135"/>
                    <a:pt x="514" y="135"/>
                  </a:cubicBezTo>
                  <a:cubicBezTo>
                    <a:pt x="514" y="135"/>
                    <a:pt x="514" y="135"/>
                    <a:pt x="514" y="135"/>
                  </a:cubicBezTo>
                  <a:cubicBezTo>
                    <a:pt x="514" y="135"/>
                    <a:pt x="514" y="135"/>
                    <a:pt x="514" y="135"/>
                  </a:cubicBezTo>
                  <a:cubicBezTo>
                    <a:pt x="514" y="134"/>
                    <a:pt x="514" y="134"/>
                    <a:pt x="514" y="134"/>
                  </a:cubicBezTo>
                  <a:cubicBezTo>
                    <a:pt x="514" y="134"/>
                    <a:pt x="514" y="134"/>
                    <a:pt x="514" y="134"/>
                  </a:cubicBezTo>
                  <a:cubicBezTo>
                    <a:pt x="514" y="134"/>
                    <a:pt x="514" y="134"/>
                    <a:pt x="514" y="134"/>
                  </a:cubicBezTo>
                  <a:cubicBezTo>
                    <a:pt x="514" y="134"/>
                    <a:pt x="514" y="134"/>
                    <a:pt x="514" y="134"/>
                  </a:cubicBezTo>
                  <a:cubicBezTo>
                    <a:pt x="514" y="134"/>
                    <a:pt x="514" y="134"/>
                    <a:pt x="514" y="134"/>
                  </a:cubicBezTo>
                  <a:cubicBezTo>
                    <a:pt x="514" y="133"/>
                    <a:pt x="513" y="133"/>
                    <a:pt x="512" y="133"/>
                  </a:cubicBezTo>
                  <a:cubicBezTo>
                    <a:pt x="512" y="133"/>
                    <a:pt x="512" y="133"/>
                    <a:pt x="512" y="133"/>
                  </a:cubicBezTo>
                  <a:cubicBezTo>
                    <a:pt x="512" y="133"/>
                    <a:pt x="512" y="133"/>
                    <a:pt x="512" y="133"/>
                  </a:cubicBezTo>
                  <a:cubicBezTo>
                    <a:pt x="511" y="133"/>
                    <a:pt x="511" y="133"/>
                    <a:pt x="511" y="133"/>
                  </a:cubicBezTo>
                  <a:cubicBezTo>
                    <a:pt x="511" y="133"/>
                    <a:pt x="511" y="133"/>
                    <a:pt x="511" y="133"/>
                  </a:cubicBezTo>
                  <a:cubicBezTo>
                    <a:pt x="510" y="133"/>
                    <a:pt x="510" y="133"/>
                    <a:pt x="509" y="133"/>
                  </a:cubicBezTo>
                  <a:cubicBezTo>
                    <a:pt x="509" y="133"/>
                    <a:pt x="509" y="133"/>
                    <a:pt x="509" y="133"/>
                  </a:cubicBezTo>
                  <a:cubicBezTo>
                    <a:pt x="509" y="133"/>
                    <a:pt x="509" y="133"/>
                    <a:pt x="509" y="133"/>
                  </a:cubicBezTo>
                  <a:cubicBezTo>
                    <a:pt x="508" y="133"/>
                    <a:pt x="508" y="133"/>
                    <a:pt x="508" y="133"/>
                  </a:cubicBezTo>
                  <a:cubicBezTo>
                    <a:pt x="508" y="133"/>
                    <a:pt x="508" y="133"/>
                    <a:pt x="508" y="133"/>
                  </a:cubicBezTo>
                  <a:cubicBezTo>
                    <a:pt x="508" y="133"/>
                    <a:pt x="508" y="133"/>
                    <a:pt x="508" y="133"/>
                  </a:cubicBezTo>
                  <a:cubicBezTo>
                    <a:pt x="508" y="133"/>
                    <a:pt x="508" y="133"/>
                    <a:pt x="508" y="133"/>
                  </a:cubicBezTo>
                  <a:cubicBezTo>
                    <a:pt x="508" y="133"/>
                    <a:pt x="508" y="133"/>
                    <a:pt x="508" y="133"/>
                  </a:cubicBezTo>
                  <a:cubicBezTo>
                    <a:pt x="507" y="133"/>
                    <a:pt x="507" y="133"/>
                    <a:pt x="507" y="133"/>
                  </a:cubicBezTo>
                  <a:cubicBezTo>
                    <a:pt x="507" y="133"/>
                    <a:pt x="507" y="133"/>
                    <a:pt x="507" y="133"/>
                  </a:cubicBezTo>
                  <a:cubicBezTo>
                    <a:pt x="507" y="133"/>
                    <a:pt x="507" y="133"/>
                    <a:pt x="507" y="133"/>
                  </a:cubicBezTo>
                  <a:cubicBezTo>
                    <a:pt x="507" y="133"/>
                    <a:pt x="507" y="133"/>
                    <a:pt x="507" y="133"/>
                  </a:cubicBezTo>
                  <a:cubicBezTo>
                    <a:pt x="507" y="133"/>
                    <a:pt x="507" y="133"/>
                    <a:pt x="507" y="133"/>
                  </a:cubicBezTo>
                  <a:cubicBezTo>
                    <a:pt x="506" y="133"/>
                    <a:pt x="506" y="133"/>
                    <a:pt x="506" y="133"/>
                  </a:cubicBezTo>
                  <a:cubicBezTo>
                    <a:pt x="506" y="133"/>
                    <a:pt x="506" y="133"/>
                    <a:pt x="506" y="133"/>
                  </a:cubicBezTo>
                  <a:cubicBezTo>
                    <a:pt x="506" y="133"/>
                    <a:pt x="506" y="133"/>
                    <a:pt x="506" y="133"/>
                  </a:cubicBezTo>
                  <a:cubicBezTo>
                    <a:pt x="505" y="134"/>
                    <a:pt x="505" y="134"/>
                    <a:pt x="505" y="134"/>
                  </a:cubicBezTo>
                  <a:cubicBezTo>
                    <a:pt x="505" y="134"/>
                    <a:pt x="505" y="134"/>
                    <a:pt x="505" y="134"/>
                  </a:cubicBezTo>
                  <a:cubicBezTo>
                    <a:pt x="504" y="135"/>
                    <a:pt x="504" y="135"/>
                    <a:pt x="504" y="135"/>
                  </a:cubicBezTo>
                  <a:cubicBezTo>
                    <a:pt x="504" y="134"/>
                    <a:pt x="504" y="134"/>
                    <a:pt x="504" y="134"/>
                  </a:cubicBezTo>
                  <a:cubicBezTo>
                    <a:pt x="505" y="134"/>
                    <a:pt x="504" y="134"/>
                    <a:pt x="504" y="133"/>
                  </a:cubicBezTo>
                  <a:cubicBezTo>
                    <a:pt x="504" y="133"/>
                    <a:pt x="504" y="133"/>
                    <a:pt x="504" y="133"/>
                  </a:cubicBezTo>
                  <a:cubicBezTo>
                    <a:pt x="504" y="133"/>
                    <a:pt x="504" y="133"/>
                    <a:pt x="504" y="133"/>
                  </a:cubicBezTo>
                  <a:cubicBezTo>
                    <a:pt x="504" y="133"/>
                    <a:pt x="504" y="133"/>
                    <a:pt x="504" y="133"/>
                  </a:cubicBezTo>
                  <a:cubicBezTo>
                    <a:pt x="504" y="132"/>
                    <a:pt x="504" y="132"/>
                    <a:pt x="504" y="132"/>
                  </a:cubicBezTo>
                  <a:cubicBezTo>
                    <a:pt x="501" y="132"/>
                    <a:pt x="501" y="132"/>
                    <a:pt x="499" y="132"/>
                  </a:cubicBezTo>
                  <a:cubicBezTo>
                    <a:pt x="498" y="132"/>
                    <a:pt x="498" y="132"/>
                    <a:pt x="498" y="132"/>
                  </a:cubicBezTo>
                  <a:cubicBezTo>
                    <a:pt x="498" y="132"/>
                    <a:pt x="498" y="132"/>
                    <a:pt x="498" y="132"/>
                  </a:cubicBezTo>
                  <a:cubicBezTo>
                    <a:pt x="498" y="132"/>
                    <a:pt x="498" y="132"/>
                    <a:pt x="498" y="132"/>
                  </a:cubicBezTo>
                  <a:cubicBezTo>
                    <a:pt x="498" y="132"/>
                    <a:pt x="498" y="132"/>
                    <a:pt x="498" y="132"/>
                  </a:cubicBezTo>
                  <a:cubicBezTo>
                    <a:pt x="498" y="132"/>
                    <a:pt x="498" y="132"/>
                    <a:pt x="498" y="132"/>
                  </a:cubicBezTo>
                  <a:cubicBezTo>
                    <a:pt x="497" y="132"/>
                    <a:pt x="497" y="132"/>
                    <a:pt x="497" y="132"/>
                  </a:cubicBezTo>
                  <a:cubicBezTo>
                    <a:pt x="497" y="132"/>
                    <a:pt x="497" y="132"/>
                    <a:pt x="497" y="132"/>
                  </a:cubicBezTo>
                  <a:cubicBezTo>
                    <a:pt x="496" y="132"/>
                    <a:pt x="496" y="132"/>
                    <a:pt x="496" y="132"/>
                  </a:cubicBezTo>
                  <a:cubicBezTo>
                    <a:pt x="496" y="132"/>
                    <a:pt x="496" y="132"/>
                    <a:pt x="496" y="132"/>
                  </a:cubicBezTo>
                  <a:cubicBezTo>
                    <a:pt x="496" y="132"/>
                    <a:pt x="496" y="132"/>
                    <a:pt x="496" y="132"/>
                  </a:cubicBezTo>
                  <a:cubicBezTo>
                    <a:pt x="496" y="132"/>
                    <a:pt x="496" y="132"/>
                    <a:pt x="496" y="132"/>
                  </a:cubicBezTo>
                  <a:cubicBezTo>
                    <a:pt x="496" y="132"/>
                    <a:pt x="496" y="132"/>
                    <a:pt x="496" y="132"/>
                  </a:cubicBezTo>
                  <a:cubicBezTo>
                    <a:pt x="496" y="132"/>
                    <a:pt x="496" y="132"/>
                    <a:pt x="496" y="132"/>
                  </a:cubicBezTo>
                  <a:cubicBezTo>
                    <a:pt x="496" y="132"/>
                    <a:pt x="496" y="132"/>
                    <a:pt x="496" y="132"/>
                  </a:cubicBezTo>
                  <a:cubicBezTo>
                    <a:pt x="495" y="132"/>
                    <a:pt x="495" y="132"/>
                    <a:pt x="495" y="132"/>
                  </a:cubicBezTo>
                  <a:cubicBezTo>
                    <a:pt x="495" y="132"/>
                    <a:pt x="495" y="132"/>
                    <a:pt x="495" y="132"/>
                  </a:cubicBezTo>
                  <a:cubicBezTo>
                    <a:pt x="494" y="131"/>
                    <a:pt x="494" y="131"/>
                    <a:pt x="493" y="131"/>
                  </a:cubicBezTo>
                  <a:cubicBezTo>
                    <a:pt x="493" y="131"/>
                    <a:pt x="493" y="131"/>
                    <a:pt x="493" y="131"/>
                  </a:cubicBezTo>
                  <a:cubicBezTo>
                    <a:pt x="492" y="131"/>
                    <a:pt x="492" y="131"/>
                    <a:pt x="492" y="131"/>
                  </a:cubicBezTo>
                  <a:cubicBezTo>
                    <a:pt x="492" y="131"/>
                    <a:pt x="492" y="131"/>
                    <a:pt x="492" y="131"/>
                  </a:cubicBezTo>
                  <a:cubicBezTo>
                    <a:pt x="492" y="131"/>
                    <a:pt x="492" y="131"/>
                    <a:pt x="492" y="131"/>
                  </a:cubicBezTo>
                  <a:cubicBezTo>
                    <a:pt x="492" y="131"/>
                    <a:pt x="492" y="131"/>
                    <a:pt x="492" y="131"/>
                  </a:cubicBezTo>
                  <a:cubicBezTo>
                    <a:pt x="492" y="131"/>
                    <a:pt x="492" y="131"/>
                    <a:pt x="492" y="131"/>
                  </a:cubicBezTo>
                  <a:cubicBezTo>
                    <a:pt x="490" y="130"/>
                    <a:pt x="490" y="131"/>
                    <a:pt x="488" y="130"/>
                  </a:cubicBezTo>
                  <a:cubicBezTo>
                    <a:pt x="488" y="129"/>
                    <a:pt x="488" y="129"/>
                    <a:pt x="488" y="129"/>
                  </a:cubicBezTo>
                  <a:cubicBezTo>
                    <a:pt x="488" y="129"/>
                    <a:pt x="488" y="129"/>
                    <a:pt x="488" y="129"/>
                  </a:cubicBezTo>
                  <a:cubicBezTo>
                    <a:pt x="487" y="129"/>
                    <a:pt x="487" y="128"/>
                    <a:pt x="487" y="128"/>
                  </a:cubicBezTo>
                  <a:cubicBezTo>
                    <a:pt x="487" y="128"/>
                    <a:pt x="487" y="128"/>
                    <a:pt x="487" y="128"/>
                  </a:cubicBezTo>
                  <a:cubicBezTo>
                    <a:pt x="488" y="127"/>
                    <a:pt x="488" y="127"/>
                    <a:pt x="488" y="127"/>
                  </a:cubicBezTo>
                  <a:cubicBezTo>
                    <a:pt x="488" y="127"/>
                    <a:pt x="488" y="127"/>
                    <a:pt x="488" y="127"/>
                  </a:cubicBezTo>
                  <a:cubicBezTo>
                    <a:pt x="488" y="127"/>
                    <a:pt x="488" y="127"/>
                    <a:pt x="488" y="127"/>
                  </a:cubicBezTo>
                  <a:cubicBezTo>
                    <a:pt x="488" y="127"/>
                    <a:pt x="488" y="127"/>
                    <a:pt x="488" y="127"/>
                  </a:cubicBezTo>
                  <a:cubicBezTo>
                    <a:pt x="488" y="127"/>
                    <a:pt x="488" y="127"/>
                    <a:pt x="488" y="127"/>
                  </a:cubicBezTo>
                  <a:cubicBezTo>
                    <a:pt x="489" y="127"/>
                    <a:pt x="489" y="127"/>
                    <a:pt x="489" y="127"/>
                  </a:cubicBezTo>
                  <a:cubicBezTo>
                    <a:pt x="489" y="127"/>
                    <a:pt x="489" y="127"/>
                    <a:pt x="489" y="127"/>
                  </a:cubicBezTo>
                  <a:cubicBezTo>
                    <a:pt x="489" y="128"/>
                    <a:pt x="489" y="128"/>
                    <a:pt x="489" y="128"/>
                  </a:cubicBezTo>
                  <a:cubicBezTo>
                    <a:pt x="489" y="128"/>
                    <a:pt x="489" y="128"/>
                    <a:pt x="489" y="128"/>
                  </a:cubicBezTo>
                  <a:cubicBezTo>
                    <a:pt x="489" y="128"/>
                    <a:pt x="489" y="128"/>
                    <a:pt x="489" y="128"/>
                  </a:cubicBezTo>
                  <a:cubicBezTo>
                    <a:pt x="489" y="127"/>
                    <a:pt x="489" y="127"/>
                    <a:pt x="489" y="127"/>
                  </a:cubicBezTo>
                  <a:cubicBezTo>
                    <a:pt x="489" y="127"/>
                    <a:pt x="489" y="127"/>
                    <a:pt x="489" y="127"/>
                  </a:cubicBezTo>
                  <a:cubicBezTo>
                    <a:pt x="489" y="127"/>
                    <a:pt x="489" y="127"/>
                    <a:pt x="489" y="127"/>
                  </a:cubicBezTo>
                  <a:cubicBezTo>
                    <a:pt x="489" y="127"/>
                    <a:pt x="489" y="127"/>
                    <a:pt x="489" y="127"/>
                  </a:cubicBezTo>
                  <a:cubicBezTo>
                    <a:pt x="489" y="127"/>
                    <a:pt x="489" y="127"/>
                    <a:pt x="489" y="127"/>
                  </a:cubicBezTo>
                  <a:cubicBezTo>
                    <a:pt x="489" y="127"/>
                    <a:pt x="489" y="127"/>
                    <a:pt x="489" y="127"/>
                  </a:cubicBezTo>
                  <a:cubicBezTo>
                    <a:pt x="489" y="126"/>
                    <a:pt x="491" y="126"/>
                    <a:pt x="490" y="125"/>
                  </a:cubicBezTo>
                  <a:cubicBezTo>
                    <a:pt x="489" y="125"/>
                    <a:pt x="489" y="125"/>
                    <a:pt x="489" y="125"/>
                  </a:cubicBezTo>
                  <a:cubicBezTo>
                    <a:pt x="489" y="125"/>
                    <a:pt x="489" y="125"/>
                    <a:pt x="489" y="125"/>
                  </a:cubicBezTo>
                  <a:cubicBezTo>
                    <a:pt x="489" y="124"/>
                    <a:pt x="489" y="124"/>
                    <a:pt x="489" y="124"/>
                  </a:cubicBezTo>
                  <a:cubicBezTo>
                    <a:pt x="489" y="124"/>
                    <a:pt x="489" y="124"/>
                    <a:pt x="489" y="124"/>
                  </a:cubicBezTo>
                  <a:cubicBezTo>
                    <a:pt x="489" y="124"/>
                    <a:pt x="489" y="124"/>
                    <a:pt x="489" y="124"/>
                  </a:cubicBezTo>
                  <a:cubicBezTo>
                    <a:pt x="489" y="124"/>
                    <a:pt x="489" y="124"/>
                    <a:pt x="489" y="124"/>
                  </a:cubicBezTo>
                  <a:cubicBezTo>
                    <a:pt x="490" y="124"/>
                    <a:pt x="490" y="124"/>
                    <a:pt x="490" y="124"/>
                  </a:cubicBezTo>
                  <a:cubicBezTo>
                    <a:pt x="490" y="124"/>
                    <a:pt x="490" y="124"/>
                    <a:pt x="490" y="124"/>
                  </a:cubicBezTo>
                  <a:cubicBezTo>
                    <a:pt x="490" y="124"/>
                    <a:pt x="490" y="124"/>
                    <a:pt x="490" y="124"/>
                  </a:cubicBezTo>
                  <a:cubicBezTo>
                    <a:pt x="490" y="124"/>
                    <a:pt x="490" y="124"/>
                    <a:pt x="490" y="124"/>
                  </a:cubicBezTo>
                  <a:cubicBezTo>
                    <a:pt x="490" y="124"/>
                    <a:pt x="490" y="124"/>
                    <a:pt x="490" y="124"/>
                  </a:cubicBezTo>
                  <a:cubicBezTo>
                    <a:pt x="489" y="123"/>
                    <a:pt x="489" y="123"/>
                    <a:pt x="489" y="123"/>
                  </a:cubicBezTo>
                  <a:cubicBezTo>
                    <a:pt x="488" y="123"/>
                    <a:pt x="488" y="123"/>
                    <a:pt x="488" y="123"/>
                  </a:cubicBezTo>
                  <a:cubicBezTo>
                    <a:pt x="488" y="122"/>
                    <a:pt x="488" y="122"/>
                    <a:pt x="488" y="122"/>
                  </a:cubicBezTo>
                  <a:cubicBezTo>
                    <a:pt x="488" y="122"/>
                    <a:pt x="488" y="122"/>
                    <a:pt x="488" y="122"/>
                  </a:cubicBezTo>
                  <a:cubicBezTo>
                    <a:pt x="488" y="122"/>
                    <a:pt x="488" y="122"/>
                    <a:pt x="488" y="122"/>
                  </a:cubicBezTo>
                  <a:cubicBezTo>
                    <a:pt x="488" y="122"/>
                    <a:pt x="488" y="122"/>
                    <a:pt x="488" y="122"/>
                  </a:cubicBezTo>
                  <a:cubicBezTo>
                    <a:pt x="488" y="122"/>
                    <a:pt x="488" y="122"/>
                    <a:pt x="488" y="122"/>
                  </a:cubicBezTo>
                  <a:cubicBezTo>
                    <a:pt x="488" y="122"/>
                    <a:pt x="488" y="122"/>
                    <a:pt x="488" y="122"/>
                  </a:cubicBezTo>
                  <a:cubicBezTo>
                    <a:pt x="487" y="122"/>
                    <a:pt x="487" y="122"/>
                    <a:pt x="487" y="122"/>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0"/>
                    <a:pt x="487" y="120"/>
                    <a:pt x="487" y="120"/>
                  </a:cubicBezTo>
                  <a:cubicBezTo>
                    <a:pt x="487" y="120"/>
                    <a:pt x="488" y="119"/>
                    <a:pt x="488" y="119"/>
                  </a:cubicBezTo>
                  <a:cubicBezTo>
                    <a:pt x="488" y="119"/>
                    <a:pt x="488" y="119"/>
                    <a:pt x="488" y="119"/>
                  </a:cubicBezTo>
                  <a:cubicBezTo>
                    <a:pt x="488" y="119"/>
                    <a:pt x="488" y="119"/>
                    <a:pt x="488" y="119"/>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9" y="118"/>
                    <a:pt x="489" y="118"/>
                    <a:pt x="489" y="118"/>
                  </a:cubicBezTo>
                  <a:cubicBezTo>
                    <a:pt x="489" y="118"/>
                    <a:pt x="489" y="118"/>
                    <a:pt x="489" y="118"/>
                  </a:cubicBezTo>
                  <a:cubicBezTo>
                    <a:pt x="489" y="118"/>
                    <a:pt x="489" y="118"/>
                    <a:pt x="489" y="118"/>
                  </a:cubicBezTo>
                  <a:cubicBezTo>
                    <a:pt x="489" y="118"/>
                    <a:pt x="489" y="118"/>
                    <a:pt x="489" y="118"/>
                  </a:cubicBezTo>
                  <a:cubicBezTo>
                    <a:pt x="489" y="118"/>
                    <a:pt x="489" y="118"/>
                    <a:pt x="489" y="118"/>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6"/>
                    <a:pt x="490" y="116"/>
                    <a:pt x="490" y="116"/>
                  </a:cubicBezTo>
                  <a:cubicBezTo>
                    <a:pt x="490" y="116"/>
                    <a:pt x="490" y="116"/>
                    <a:pt x="490" y="116"/>
                  </a:cubicBezTo>
                  <a:cubicBezTo>
                    <a:pt x="490" y="116"/>
                    <a:pt x="490" y="116"/>
                    <a:pt x="490" y="116"/>
                  </a:cubicBezTo>
                  <a:cubicBezTo>
                    <a:pt x="490" y="116"/>
                    <a:pt x="490" y="116"/>
                    <a:pt x="490" y="116"/>
                  </a:cubicBezTo>
                  <a:cubicBezTo>
                    <a:pt x="490" y="115"/>
                    <a:pt x="490" y="115"/>
                    <a:pt x="490" y="115"/>
                  </a:cubicBezTo>
                  <a:cubicBezTo>
                    <a:pt x="490" y="115"/>
                    <a:pt x="490" y="115"/>
                    <a:pt x="490" y="115"/>
                  </a:cubicBezTo>
                  <a:cubicBezTo>
                    <a:pt x="490" y="115"/>
                    <a:pt x="490" y="115"/>
                    <a:pt x="490" y="115"/>
                  </a:cubicBezTo>
                  <a:cubicBezTo>
                    <a:pt x="490" y="115"/>
                    <a:pt x="490" y="115"/>
                    <a:pt x="490" y="115"/>
                  </a:cubicBezTo>
                  <a:cubicBezTo>
                    <a:pt x="490" y="115"/>
                    <a:pt x="490" y="115"/>
                    <a:pt x="490" y="115"/>
                  </a:cubicBezTo>
                  <a:cubicBezTo>
                    <a:pt x="490" y="115"/>
                    <a:pt x="490" y="115"/>
                    <a:pt x="490" y="115"/>
                  </a:cubicBezTo>
                  <a:cubicBezTo>
                    <a:pt x="490" y="114"/>
                    <a:pt x="490" y="114"/>
                    <a:pt x="490" y="114"/>
                  </a:cubicBezTo>
                  <a:cubicBezTo>
                    <a:pt x="490" y="114"/>
                    <a:pt x="490" y="114"/>
                    <a:pt x="490" y="114"/>
                  </a:cubicBezTo>
                  <a:cubicBezTo>
                    <a:pt x="490" y="114"/>
                    <a:pt x="490" y="114"/>
                    <a:pt x="490" y="114"/>
                  </a:cubicBezTo>
                  <a:cubicBezTo>
                    <a:pt x="490" y="114"/>
                    <a:pt x="491" y="114"/>
                    <a:pt x="491" y="114"/>
                  </a:cubicBezTo>
                  <a:cubicBezTo>
                    <a:pt x="491" y="113"/>
                    <a:pt x="491" y="113"/>
                    <a:pt x="491" y="113"/>
                  </a:cubicBezTo>
                  <a:cubicBezTo>
                    <a:pt x="491" y="113"/>
                    <a:pt x="491" y="113"/>
                    <a:pt x="491" y="113"/>
                  </a:cubicBezTo>
                  <a:cubicBezTo>
                    <a:pt x="491" y="113"/>
                    <a:pt x="491" y="113"/>
                    <a:pt x="491" y="113"/>
                  </a:cubicBezTo>
                  <a:cubicBezTo>
                    <a:pt x="491" y="113"/>
                    <a:pt x="491" y="113"/>
                    <a:pt x="492" y="113"/>
                  </a:cubicBezTo>
                  <a:cubicBezTo>
                    <a:pt x="492" y="113"/>
                    <a:pt x="492" y="113"/>
                    <a:pt x="492" y="113"/>
                  </a:cubicBezTo>
                  <a:cubicBezTo>
                    <a:pt x="492" y="112"/>
                    <a:pt x="492" y="112"/>
                    <a:pt x="492" y="112"/>
                  </a:cubicBezTo>
                  <a:cubicBezTo>
                    <a:pt x="492" y="112"/>
                    <a:pt x="492" y="112"/>
                    <a:pt x="492" y="112"/>
                  </a:cubicBezTo>
                  <a:cubicBezTo>
                    <a:pt x="492" y="112"/>
                    <a:pt x="492" y="112"/>
                    <a:pt x="492" y="112"/>
                  </a:cubicBezTo>
                  <a:cubicBezTo>
                    <a:pt x="492" y="112"/>
                    <a:pt x="492" y="112"/>
                    <a:pt x="492" y="112"/>
                  </a:cubicBezTo>
                  <a:cubicBezTo>
                    <a:pt x="493" y="112"/>
                    <a:pt x="493" y="112"/>
                    <a:pt x="493" y="112"/>
                  </a:cubicBezTo>
                  <a:cubicBezTo>
                    <a:pt x="493" y="112"/>
                    <a:pt x="493" y="112"/>
                    <a:pt x="493" y="112"/>
                  </a:cubicBezTo>
                  <a:cubicBezTo>
                    <a:pt x="492" y="112"/>
                    <a:pt x="492" y="112"/>
                    <a:pt x="492" y="112"/>
                  </a:cubicBezTo>
                  <a:cubicBezTo>
                    <a:pt x="492" y="111"/>
                    <a:pt x="492" y="111"/>
                    <a:pt x="492" y="111"/>
                  </a:cubicBezTo>
                  <a:cubicBezTo>
                    <a:pt x="492" y="111"/>
                    <a:pt x="492" y="111"/>
                    <a:pt x="492" y="111"/>
                  </a:cubicBezTo>
                  <a:cubicBezTo>
                    <a:pt x="492" y="111"/>
                    <a:pt x="492" y="111"/>
                    <a:pt x="492" y="111"/>
                  </a:cubicBezTo>
                  <a:cubicBezTo>
                    <a:pt x="492" y="111"/>
                    <a:pt x="492" y="111"/>
                    <a:pt x="492" y="111"/>
                  </a:cubicBezTo>
                  <a:cubicBezTo>
                    <a:pt x="492" y="111"/>
                    <a:pt x="492" y="111"/>
                    <a:pt x="492" y="111"/>
                  </a:cubicBezTo>
                  <a:cubicBezTo>
                    <a:pt x="492" y="110"/>
                    <a:pt x="492" y="110"/>
                    <a:pt x="492" y="110"/>
                  </a:cubicBezTo>
                  <a:cubicBezTo>
                    <a:pt x="492" y="110"/>
                    <a:pt x="492" y="110"/>
                    <a:pt x="492" y="110"/>
                  </a:cubicBezTo>
                  <a:cubicBezTo>
                    <a:pt x="492" y="110"/>
                    <a:pt x="492" y="110"/>
                    <a:pt x="492" y="110"/>
                  </a:cubicBezTo>
                  <a:cubicBezTo>
                    <a:pt x="491" y="110"/>
                    <a:pt x="491" y="110"/>
                    <a:pt x="491" y="110"/>
                  </a:cubicBezTo>
                  <a:cubicBezTo>
                    <a:pt x="491" y="110"/>
                    <a:pt x="491" y="110"/>
                    <a:pt x="491" y="110"/>
                  </a:cubicBezTo>
                  <a:cubicBezTo>
                    <a:pt x="491" y="110"/>
                    <a:pt x="491" y="110"/>
                    <a:pt x="491" y="110"/>
                  </a:cubicBezTo>
                  <a:cubicBezTo>
                    <a:pt x="491" y="110"/>
                    <a:pt x="491" y="110"/>
                    <a:pt x="491" y="110"/>
                  </a:cubicBezTo>
                  <a:cubicBezTo>
                    <a:pt x="491" y="110"/>
                    <a:pt x="491" y="110"/>
                    <a:pt x="491" y="110"/>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7"/>
                    <a:pt x="491" y="107"/>
                    <a:pt x="491" y="107"/>
                  </a:cubicBezTo>
                  <a:cubicBezTo>
                    <a:pt x="490" y="107"/>
                    <a:pt x="490" y="107"/>
                    <a:pt x="490" y="107"/>
                  </a:cubicBezTo>
                  <a:cubicBezTo>
                    <a:pt x="489" y="105"/>
                    <a:pt x="489" y="105"/>
                    <a:pt x="489" y="105"/>
                  </a:cubicBezTo>
                  <a:cubicBezTo>
                    <a:pt x="486" y="102"/>
                    <a:pt x="486" y="102"/>
                    <a:pt x="486" y="102"/>
                  </a:cubicBezTo>
                  <a:cubicBezTo>
                    <a:pt x="485" y="101"/>
                    <a:pt x="485" y="101"/>
                    <a:pt x="485" y="101"/>
                  </a:cubicBezTo>
                  <a:cubicBezTo>
                    <a:pt x="484" y="100"/>
                    <a:pt x="484" y="100"/>
                    <a:pt x="484" y="100"/>
                  </a:cubicBezTo>
                  <a:cubicBezTo>
                    <a:pt x="484" y="101"/>
                    <a:pt x="484" y="101"/>
                    <a:pt x="484" y="101"/>
                  </a:cubicBezTo>
                  <a:cubicBezTo>
                    <a:pt x="484" y="101"/>
                    <a:pt x="484" y="101"/>
                    <a:pt x="484" y="101"/>
                  </a:cubicBezTo>
                  <a:cubicBezTo>
                    <a:pt x="484" y="101"/>
                    <a:pt x="484" y="101"/>
                    <a:pt x="484" y="101"/>
                  </a:cubicBezTo>
                  <a:cubicBezTo>
                    <a:pt x="484" y="101"/>
                    <a:pt x="484" y="101"/>
                    <a:pt x="484" y="101"/>
                  </a:cubicBezTo>
                  <a:cubicBezTo>
                    <a:pt x="483" y="101"/>
                    <a:pt x="483" y="101"/>
                    <a:pt x="483" y="101"/>
                  </a:cubicBezTo>
                  <a:cubicBezTo>
                    <a:pt x="483" y="101"/>
                    <a:pt x="482" y="101"/>
                    <a:pt x="483" y="102"/>
                  </a:cubicBezTo>
                  <a:cubicBezTo>
                    <a:pt x="483" y="102"/>
                    <a:pt x="483" y="102"/>
                    <a:pt x="483" y="102"/>
                  </a:cubicBezTo>
                  <a:cubicBezTo>
                    <a:pt x="483" y="102"/>
                    <a:pt x="483" y="102"/>
                    <a:pt x="483" y="102"/>
                  </a:cubicBezTo>
                  <a:cubicBezTo>
                    <a:pt x="483" y="103"/>
                    <a:pt x="484" y="103"/>
                    <a:pt x="484" y="103"/>
                  </a:cubicBezTo>
                  <a:cubicBezTo>
                    <a:pt x="484" y="104"/>
                    <a:pt x="484" y="104"/>
                    <a:pt x="484" y="104"/>
                  </a:cubicBezTo>
                  <a:cubicBezTo>
                    <a:pt x="484" y="104"/>
                    <a:pt x="484" y="104"/>
                    <a:pt x="484" y="104"/>
                  </a:cubicBezTo>
                  <a:cubicBezTo>
                    <a:pt x="484" y="104"/>
                    <a:pt x="484" y="104"/>
                    <a:pt x="484" y="104"/>
                  </a:cubicBezTo>
                  <a:cubicBezTo>
                    <a:pt x="485" y="104"/>
                    <a:pt x="485" y="104"/>
                    <a:pt x="485" y="104"/>
                  </a:cubicBezTo>
                  <a:cubicBezTo>
                    <a:pt x="485" y="104"/>
                    <a:pt x="485" y="105"/>
                    <a:pt x="485" y="105"/>
                  </a:cubicBezTo>
                  <a:cubicBezTo>
                    <a:pt x="485" y="105"/>
                    <a:pt x="485" y="105"/>
                    <a:pt x="485" y="105"/>
                  </a:cubicBezTo>
                  <a:cubicBezTo>
                    <a:pt x="485" y="105"/>
                    <a:pt x="485" y="105"/>
                    <a:pt x="485" y="105"/>
                  </a:cubicBezTo>
                  <a:cubicBezTo>
                    <a:pt x="485" y="106"/>
                    <a:pt x="486" y="106"/>
                    <a:pt x="486" y="106"/>
                  </a:cubicBezTo>
                  <a:cubicBezTo>
                    <a:pt x="486" y="107"/>
                    <a:pt x="486" y="107"/>
                    <a:pt x="486" y="107"/>
                  </a:cubicBezTo>
                  <a:cubicBezTo>
                    <a:pt x="486" y="107"/>
                    <a:pt x="486" y="107"/>
                    <a:pt x="486" y="107"/>
                  </a:cubicBezTo>
                  <a:cubicBezTo>
                    <a:pt x="486" y="108"/>
                    <a:pt x="486" y="109"/>
                    <a:pt x="486" y="110"/>
                  </a:cubicBezTo>
                  <a:cubicBezTo>
                    <a:pt x="486" y="110"/>
                    <a:pt x="486" y="110"/>
                    <a:pt x="486" y="110"/>
                  </a:cubicBezTo>
                  <a:cubicBezTo>
                    <a:pt x="486" y="110"/>
                    <a:pt x="486" y="110"/>
                    <a:pt x="486" y="110"/>
                  </a:cubicBezTo>
                  <a:cubicBezTo>
                    <a:pt x="486" y="111"/>
                    <a:pt x="486" y="111"/>
                    <a:pt x="486" y="111"/>
                  </a:cubicBezTo>
                  <a:cubicBezTo>
                    <a:pt x="486" y="111"/>
                    <a:pt x="486" y="111"/>
                    <a:pt x="486" y="111"/>
                  </a:cubicBezTo>
                  <a:cubicBezTo>
                    <a:pt x="486" y="112"/>
                    <a:pt x="486" y="112"/>
                    <a:pt x="486" y="112"/>
                  </a:cubicBezTo>
                  <a:cubicBezTo>
                    <a:pt x="486" y="112"/>
                    <a:pt x="486" y="112"/>
                    <a:pt x="486" y="113"/>
                  </a:cubicBezTo>
                  <a:cubicBezTo>
                    <a:pt x="486" y="113"/>
                    <a:pt x="486" y="113"/>
                    <a:pt x="486" y="113"/>
                  </a:cubicBezTo>
                  <a:cubicBezTo>
                    <a:pt x="486" y="113"/>
                    <a:pt x="486" y="113"/>
                    <a:pt x="486" y="113"/>
                  </a:cubicBezTo>
                  <a:cubicBezTo>
                    <a:pt x="486" y="113"/>
                    <a:pt x="486" y="113"/>
                    <a:pt x="486" y="113"/>
                  </a:cubicBezTo>
                  <a:cubicBezTo>
                    <a:pt x="485" y="113"/>
                    <a:pt x="485" y="113"/>
                    <a:pt x="485" y="113"/>
                  </a:cubicBezTo>
                  <a:cubicBezTo>
                    <a:pt x="485" y="114"/>
                    <a:pt x="485" y="114"/>
                    <a:pt x="485" y="114"/>
                  </a:cubicBezTo>
                  <a:cubicBezTo>
                    <a:pt x="484" y="115"/>
                    <a:pt x="485" y="115"/>
                    <a:pt x="482" y="116"/>
                  </a:cubicBezTo>
                  <a:cubicBezTo>
                    <a:pt x="482" y="116"/>
                    <a:pt x="482" y="116"/>
                    <a:pt x="482" y="116"/>
                  </a:cubicBezTo>
                  <a:cubicBezTo>
                    <a:pt x="482" y="116"/>
                    <a:pt x="482" y="116"/>
                    <a:pt x="482" y="116"/>
                  </a:cubicBezTo>
                  <a:cubicBezTo>
                    <a:pt x="482" y="116"/>
                    <a:pt x="482" y="116"/>
                    <a:pt x="482" y="116"/>
                  </a:cubicBezTo>
                  <a:cubicBezTo>
                    <a:pt x="481" y="116"/>
                    <a:pt x="481" y="117"/>
                    <a:pt x="480" y="117"/>
                  </a:cubicBezTo>
                  <a:cubicBezTo>
                    <a:pt x="480" y="117"/>
                    <a:pt x="480" y="117"/>
                    <a:pt x="480" y="117"/>
                  </a:cubicBezTo>
                  <a:cubicBezTo>
                    <a:pt x="479" y="117"/>
                    <a:pt x="479" y="117"/>
                    <a:pt x="479" y="117"/>
                  </a:cubicBezTo>
                  <a:cubicBezTo>
                    <a:pt x="477" y="118"/>
                    <a:pt x="475" y="119"/>
                    <a:pt x="473" y="119"/>
                  </a:cubicBezTo>
                  <a:cubicBezTo>
                    <a:pt x="473" y="119"/>
                    <a:pt x="473" y="119"/>
                    <a:pt x="473" y="119"/>
                  </a:cubicBezTo>
                  <a:cubicBezTo>
                    <a:pt x="473" y="119"/>
                    <a:pt x="473" y="119"/>
                    <a:pt x="473" y="119"/>
                  </a:cubicBezTo>
                  <a:cubicBezTo>
                    <a:pt x="472" y="119"/>
                    <a:pt x="472" y="119"/>
                    <a:pt x="472" y="119"/>
                  </a:cubicBezTo>
                  <a:cubicBezTo>
                    <a:pt x="472" y="120"/>
                    <a:pt x="472" y="120"/>
                    <a:pt x="472" y="120"/>
                  </a:cubicBezTo>
                  <a:cubicBezTo>
                    <a:pt x="472" y="120"/>
                    <a:pt x="472" y="120"/>
                    <a:pt x="472" y="120"/>
                  </a:cubicBezTo>
                  <a:cubicBezTo>
                    <a:pt x="472" y="120"/>
                    <a:pt x="472" y="120"/>
                    <a:pt x="472" y="120"/>
                  </a:cubicBezTo>
                  <a:cubicBezTo>
                    <a:pt x="471" y="120"/>
                    <a:pt x="470" y="120"/>
                    <a:pt x="470" y="121"/>
                  </a:cubicBezTo>
                  <a:cubicBezTo>
                    <a:pt x="470" y="121"/>
                    <a:pt x="470" y="121"/>
                    <a:pt x="470" y="121"/>
                  </a:cubicBezTo>
                  <a:cubicBezTo>
                    <a:pt x="470" y="121"/>
                    <a:pt x="470" y="121"/>
                    <a:pt x="470" y="121"/>
                  </a:cubicBezTo>
                  <a:cubicBezTo>
                    <a:pt x="469" y="121"/>
                    <a:pt x="469" y="121"/>
                    <a:pt x="470" y="122"/>
                  </a:cubicBezTo>
                  <a:cubicBezTo>
                    <a:pt x="470" y="122"/>
                    <a:pt x="470" y="122"/>
                    <a:pt x="470" y="122"/>
                  </a:cubicBezTo>
                  <a:cubicBezTo>
                    <a:pt x="470" y="122"/>
                    <a:pt x="470" y="122"/>
                    <a:pt x="470" y="122"/>
                  </a:cubicBezTo>
                  <a:cubicBezTo>
                    <a:pt x="470" y="122"/>
                    <a:pt x="470" y="122"/>
                    <a:pt x="470" y="122"/>
                  </a:cubicBezTo>
                  <a:cubicBezTo>
                    <a:pt x="470" y="123"/>
                    <a:pt x="470" y="123"/>
                    <a:pt x="470" y="124"/>
                  </a:cubicBezTo>
                  <a:cubicBezTo>
                    <a:pt x="469" y="124"/>
                    <a:pt x="469" y="124"/>
                    <a:pt x="469" y="124"/>
                  </a:cubicBezTo>
                  <a:cubicBezTo>
                    <a:pt x="469" y="124"/>
                    <a:pt x="469" y="124"/>
                    <a:pt x="469" y="124"/>
                  </a:cubicBezTo>
                  <a:cubicBezTo>
                    <a:pt x="469" y="125"/>
                    <a:pt x="469" y="125"/>
                    <a:pt x="468" y="125"/>
                  </a:cubicBezTo>
                  <a:cubicBezTo>
                    <a:pt x="468" y="126"/>
                    <a:pt x="468" y="126"/>
                    <a:pt x="468" y="126"/>
                  </a:cubicBezTo>
                  <a:cubicBezTo>
                    <a:pt x="467" y="126"/>
                    <a:pt x="467" y="126"/>
                    <a:pt x="467" y="126"/>
                  </a:cubicBezTo>
                  <a:cubicBezTo>
                    <a:pt x="466" y="128"/>
                    <a:pt x="466" y="128"/>
                    <a:pt x="466" y="128"/>
                  </a:cubicBezTo>
                  <a:cubicBezTo>
                    <a:pt x="465" y="128"/>
                    <a:pt x="465" y="128"/>
                    <a:pt x="465" y="128"/>
                  </a:cubicBezTo>
                  <a:cubicBezTo>
                    <a:pt x="465" y="128"/>
                    <a:pt x="465" y="128"/>
                    <a:pt x="465" y="128"/>
                  </a:cubicBezTo>
                  <a:cubicBezTo>
                    <a:pt x="465" y="129"/>
                    <a:pt x="465" y="129"/>
                    <a:pt x="465" y="129"/>
                  </a:cubicBezTo>
                  <a:cubicBezTo>
                    <a:pt x="465" y="129"/>
                    <a:pt x="465" y="129"/>
                    <a:pt x="465" y="129"/>
                  </a:cubicBezTo>
                  <a:cubicBezTo>
                    <a:pt x="465" y="129"/>
                    <a:pt x="465" y="129"/>
                    <a:pt x="465" y="129"/>
                  </a:cubicBezTo>
                  <a:cubicBezTo>
                    <a:pt x="466" y="129"/>
                    <a:pt x="466" y="129"/>
                    <a:pt x="466" y="129"/>
                  </a:cubicBezTo>
                  <a:cubicBezTo>
                    <a:pt x="470" y="131"/>
                    <a:pt x="470" y="131"/>
                    <a:pt x="472" y="135"/>
                  </a:cubicBezTo>
                  <a:cubicBezTo>
                    <a:pt x="472" y="135"/>
                    <a:pt x="472" y="135"/>
                    <a:pt x="472" y="135"/>
                  </a:cubicBezTo>
                  <a:cubicBezTo>
                    <a:pt x="472" y="135"/>
                    <a:pt x="472" y="135"/>
                    <a:pt x="472" y="135"/>
                  </a:cubicBezTo>
                  <a:cubicBezTo>
                    <a:pt x="472" y="135"/>
                    <a:pt x="472" y="135"/>
                    <a:pt x="472" y="135"/>
                  </a:cubicBezTo>
                  <a:cubicBezTo>
                    <a:pt x="473" y="136"/>
                    <a:pt x="474" y="136"/>
                    <a:pt x="474" y="138"/>
                  </a:cubicBezTo>
                  <a:cubicBezTo>
                    <a:pt x="474" y="138"/>
                    <a:pt x="474" y="138"/>
                    <a:pt x="474" y="138"/>
                  </a:cubicBezTo>
                  <a:cubicBezTo>
                    <a:pt x="474" y="139"/>
                    <a:pt x="474" y="139"/>
                    <a:pt x="474" y="139"/>
                  </a:cubicBezTo>
                  <a:cubicBezTo>
                    <a:pt x="475" y="139"/>
                    <a:pt x="475" y="139"/>
                    <a:pt x="475" y="139"/>
                  </a:cubicBezTo>
                  <a:cubicBezTo>
                    <a:pt x="475" y="139"/>
                    <a:pt x="475" y="139"/>
                    <a:pt x="475" y="139"/>
                  </a:cubicBezTo>
                  <a:cubicBezTo>
                    <a:pt x="475" y="140"/>
                    <a:pt x="476" y="140"/>
                    <a:pt x="476" y="141"/>
                  </a:cubicBezTo>
                  <a:cubicBezTo>
                    <a:pt x="476" y="141"/>
                    <a:pt x="476" y="141"/>
                    <a:pt x="476" y="141"/>
                  </a:cubicBezTo>
                  <a:cubicBezTo>
                    <a:pt x="477" y="141"/>
                    <a:pt x="477" y="141"/>
                    <a:pt x="477" y="141"/>
                  </a:cubicBezTo>
                  <a:cubicBezTo>
                    <a:pt x="477" y="141"/>
                    <a:pt x="477" y="141"/>
                    <a:pt x="477" y="141"/>
                  </a:cubicBezTo>
                  <a:cubicBezTo>
                    <a:pt x="477" y="141"/>
                    <a:pt x="477" y="141"/>
                    <a:pt x="477" y="141"/>
                  </a:cubicBezTo>
                  <a:cubicBezTo>
                    <a:pt x="477" y="141"/>
                    <a:pt x="477" y="141"/>
                    <a:pt x="477" y="141"/>
                  </a:cubicBezTo>
                  <a:cubicBezTo>
                    <a:pt x="477" y="141"/>
                    <a:pt x="477" y="141"/>
                    <a:pt x="477" y="141"/>
                  </a:cubicBezTo>
                  <a:cubicBezTo>
                    <a:pt x="477" y="141"/>
                    <a:pt x="477" y="141"/>
                    <a:pt x="477" y="141"/>
                  </a:cubicBezTo>
                  <a:cubicBezTo>
                    <a:pt x="477" y="141"/>
                    <a:pt x="477" y="141"/>
                    <a:pt x="477" y="141"/>
                  </a:cubicBezTo>
                  <a:cubicBezTo>
                    <a:pt x="478" y="142"/>
                    <a:pt x="478" y="142"/>
                    <a:pt x="478" y="143"/>
                  </a:cubicBezTo>
                  <a:cubicBezTo>
                    <a:pt x="478" y="143"/>
                    <a:pt x="478" y="143"/>
                    <a:pt x="478" y="143"/>
                  </a:cubicBezTo>
                  <a:cubicBezTo>
                    <a:pt x="478" y="143"/>
                    <a:pt x="478" y="143"/>
                    <a:pt x="478" y="143"/>
                  </a:cubicBezTo>
                  <a:cubicBezTo>
                    <a:pt x="478" y="143"/>
                    <a:pt x="478" y="143"/>
                    <a:pt x="478" y="143"/>
                  </a:cubicBezTo>
                  <a:cubicBezTo>
                    <a:pt x="478" y="143"/>
                    <a:pt x="478" y="143"/>
                    <a:pt x="478" y="143"/>
                  </a:cubicBezTo>
                  <a:cubicBezTo>
                    <a:pt x="478" y="143"/>
                    <a:pt x="478" y="143"/>
                    <a:pt x="478" y="143"/>
                  </a:cubicBezTo>
                  <a:cubicBezTo>
                    <a:pt x="478" y="144"/>
                    <a:pt x="478" y="144"/>
                    <a:pt x="478" y="144"/>
                  </a:cubicBezTo>
                  <a:cubicBezTo>
                    <a:pt x="478" y="144"/>
                    <a:pt x="478" y="144"/>
                    <a:pt x="478" y="144"/>
                  </a:cubicBezTo>
                  <a:cubicBezTo>
                    <a:pt x="478" y="144"/>
                    <a:pt x="478" y="144"/>
                    <a:pt x="478" y="144"/>
                  </a:cubicBezTo>
                  <a:cubicBezTo>
                    <a:pt x="478" y="145"/>
                    <a:pt x="478" y="145"/>
                    <a:pt x="478" y="145"/>
                  </a:cubicBezTo>
                  <a:cubicBezTo>
                    <a:pt x="476" y="146"/>
                    <a:pt x="476" y="146"/>
                    <a:pt x="476" y="146"/>
                  </a:cubicBezTo>
                  <a:cubicBezTo>
                    <a:pt x="474" y="150"/>
                    <a:pt x="474" y="150"/>
                    <a:pt x="474" y="150"/>
                  </a:cubicBezTo>
                  <a:cubicBezTo>
                    <a:pt x="472" y="151"/>
                    <a:pt x="472" y="151"/>
                    <a:pt x="472" y="151"/>
                  </a:cubicBezTo>
                  <a:cubicBezTo>
                    <a:pt x="472" y="152"/>
                    <a:pt x="472" y="152"/>
                    <a:pt x="472" y="152"/>
                  </a:cubicBezTo>
                  <a:cubicBezTo>
                    <a:pt x="471" y="152"/>
                    <a:pt x="472" y="152"/>
                    <a:pt x="472" y="153"/>
                  </a:cubicBezTo>
                  <a:cubicBezTo>
                    <a:pt x="472" y="153"/>
                    <a:pt x="472" y="153"/>
                    <a:pt x="472" y="153"/>
                  </a:cubicBezTo>
                  <a:cubicBezTo>
                    <a:pt x="472" y="153"/>
                    <a:pt x="472" y="153"/>
                    <a:pt x="472" y="153"/>
                  </a:cubicBezTo>
                  <a:cubicBezTo>
                    <a:pt x="472" y="153"/>
                    <a:pt x="472" y="154"/>
                    <a:pt x="472" y="154"/>
                  </a:cubicBezTo>
                  <a:cubicBezTo>
                    <a:pt x="472" y="154"/>
                    <a:pt x="472" y="154"/>
                    <a:pt x="472" y="154"/>
                  </a:cubicBezTo>
                  <a:cubicBezTo>
                    <a:pt x="472" y="155"/>
                    <a:pt x="472" y="155"/>
                    <a:pt x="472" y="155"/>
                  </a:cubicBezTo>
                  <a:cubicBezTo>
                    <a:pt x="472" y="155"/>
                    <a:pt x="472" y="155"/>
                    <a:pt x="472" y="155"/>
                  </a:cubicBezTo>
                  <a:cubicBezTo>
                    <a:pt x="471" y="156"/>
                    <a:pt x="471" y="156"/>
                    <a:pt x="471" y="156"/>
                  </a:cubicBezTo>
                  <a:cubicBezTo>
                    <a:pt x="470" y="158"/>
                    <a:pt x="470" y="158"/>
                    <a:pt x="470" y="158"/>
                  </a:cubicBezTo>
                  <a:cubicBezTo>
                    <a:pt x="470" y="159"/>
                    <a:pt x="470" y="159"/>
                    <a:pt x="470" y="159"/>
                  </a:cubicBezTo>
                  <a:cubicBezTo>
                    <a:pt x="470" y="159"/>
                    <a:pt x="470" y="159"/>
                    <a:pt x="470" y="159"/>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1" y="161"/>
                    <a:pt x="471" y="161"/>
                    <a:pt x="471" y="161"/>
                  </a:cubicBezTo>
                  <a:cubicBezTo>
                    <a:pt x="471" y="161"/>
                    <a:pt x="471" y="161"/>
                    <a:pt x="471" y="161"/>
                  </a:cubicBezTo>
                  <a:cubicBezTo>
                    <a:pt x="471" y="161"/>
                    <a:pt x="471" y="161"/>
                    <a:pt x="471" y="161"/>
                  </a:cubicBezTo>
                  <a:cubicBezTo>
                    <a:pt x="471" y="162"/>
                    <a:pt x="471" y="161"/>
                    <a:pt x="472" y="162"/>
                  </a:cubicBezTo>
                  <a:cubicBezTo>
                    <a:pt x="472" y="162"/>
                    <a:pt x="472" y="162"/>
                    <a:pt x="472" y="162"/>
                  </a:cubicBezTo>
                  <a:cubicBezTo>
                    <a:pt x="472" y="162"/>
                    <a:pt x="472" y="162"/>
                    <a:pt x="472" y="162"/>
                  </a:cubicBezTo>
                  <a:cubicBezTo>
                    <a:pt x="472" y="162"/>
                    <a:pt x="472" y="162"/>
                    <a:pt x="472" y="162"/>
                  </a:cubicBezTo>
                  <a:cubicBezTo>
                    <a:pt x="472" y="162"/>
                    <a:pt x="472" y="162"/>
                    <a:pt x="472" y="162"/>
                  </a:cubicBezTo>
                  <a:cubicBezTo>
                    <a:pt x="473" y="163"/>
                    <a:pt x="473" y="163"/>
                    <a:pt x="473" y="164"/>
                  </a:cubicBezTo>
                  <a:cubicBezTo>
                    <a:pt x="473" y="164"/>
                    <a:pt x="473" y="164"/>
                    <a:pt x="473" y="164"/>
                  </a:cubicBezTo>
                  <a:cubicBezTo>
                    <a:pt x="473" y="164"/>
                    <a:pt x="473" y="164"/>
                    <a:pt x="473" y="164"/>
                  </a:cubicBezTo>
                  <a:cubicBezTo>
                    <a:pt x="473" y="164"/>
                    <a:pt x="473" y="164"/>
                    <a:pt x="473" y="164"/>
                  </a:cubicBezTo>
                  <a:cubicBezTo>
                    <a:pt x="473" y="164"/>
                    <a:pt x="473" y="164"/>
                    <a:pt x="473" y="164"/>
                  </a:cubicBezTo>
                  <a:cubicBezTo>
                    <a:pt x="473" y="164"/>
                    <a:pt x="473" y="164"/>
                    <a:pt x="473" y="164"/>
                  </a:cubicBezTo>
                  <a:cubicBezTo>
                    <a:pt x="473" y="164"/>
                    <a:pt x="473" y="164"/>
                    <a:pt x="473" y="164"/>
                  </a:cubicBezTo>
                  <a:cubicBezTo>
                    <a:pt x="473" y="164"/>
                    <a:pt x="473" y="164"/>
                    <a:pt x="473" y="164"/>
                  </a:cubicBezTo>
                  <a:cubicBezTo>
                    <a:pt x="474" y="164"/>
                    <a:pt x="474" y="164"/>
                    <a:pt x="474" y="164"/>
                  </a:cubicBezTo>
                  <a:cubicBezTo>
                    <a:pt x="474" y="165"/>
                    <a:pt x="474" y="165"/>
                    <a:pt x="474" y="165"/>
                  </a:cubicBezTo>
                  <a:cubicBezTo>
                    <a:pt x="473" y="165"/>
                    <a:pt x="473" y="165"/>
                    <a:pt x="473" y="165"/>
                  </a:cubicBezTo>
                  <a:cubicBezTo>
                    <a:pt x="473" y="166"/>
                    <a:pt x="473" y="166"/>
                    <a:pt x="473" y="166"/>
                  </a:cubicBezTo>
                  <a:cubicBezTo>
                    <a:pt x="473" y="168"/>
                    <a:pt x="473" y="168"/>
                    <a:pt x="473" y="168"/>
                  </a:cubicBezTo>
                  <a:cubicBezTo>
                    <a:pt x="472" y="169"/>
                    <a:pt x="472" y="169"/>
                    <a:pt x="472" y="169"/>
                  </a:cubicBezTo>
                  <a:cubicBezTo>
                    <a:pt x="472" y="170"/>
                    <a:pt x="472" y="170"/>
                    <a:pt x="472" y="170"/>
                  </a:cubicBezTo>
                  <a:cubicBezTo>
                    <a:pt x="472" y="170"/>
                    <a:pt x="472" y="170"/>
                    <a:pt x="472" y="170"/>
                  </a:cubicBezTo>
                  <a:cubicBezTo>
                    <a:pt x="472" y="170"/>
                    <a:pt x="472" y="170"/>
                    <a:pt x="472" y="170"/>
                  </a:cubicBezTo>
                  <a:cubicBezTo>
                    <a:pt x="473" y="170"/>
                    <a:pt x="473" y="170"/>
                    <a:pt x="473" y="170"/>
                  </a:cubicBezTo>
                  <a:cubicBezTo>
                    <a:pt x="473" y="170"/>
                    <a:pt x="473" y="170"/>
                    <a:pt x="473" y="170"/>
                  </a:cubicBezTo>
                  <a:cubicBezTo>
                    <a:pt x="473" y="170"/>
                    <a:pt x="473" y="170"/>
                    <a:pt x="473" y="170"/>
                  </a:cubicBezTo>
                  <a:cubicBezTo>
                    <a:pt x="473" y="170"/>
                    <a:pt x="473" y="170"/>
                    <a:pt x="473" y="170"/>
                  </a:cubicBezTo>
                  <a:cubicBezTo>
                    <a:pt x="473" y="170"/>
                    <a:pt x="473" y="170"/>
                    <a:pt x="473" y="170"/>
                  </a:cubicBezTo>
                  <a:cubicBezTo>
                    <a:pt x="473" y="170"/>
                    <a:pt x="473" y="170"/>
                    <a:pt x="473" y="170"/>
                  </a:cubicBezTo>
                  <a:cubicBezTo>
                    <a:pt x="473" y="171"/>
                    <a:pt x="473" y="171"/>
                    <a:pt x="473" y="171"/>
                  </a:cubicBezTo>
                  <a:cubicBezTo>
                    <a:pt x="474" y="171"/>
                    <a:pt x="474" y="171"/>
                    <a:pt x="475" y="171"/>
                  </a:cubicBezTo>
                  <a:cubicBezTo>
                    <a:pt x="475" y="171"/>
                    <a:pt x="475" y="171"/>
                    <a:pt x="475" y="171"/>
                  </a:cubicBezTo>
                  <a:cubicBezTo>
                    <a:pt x="475" y="171"/>
                    <a:pt x="475" y="171"/>
                    <a:pt x="475" y="171"/>
                  </a:cubicBezTo>
                  <a:cubicBezTo>
                    <a:pt x="476" y="171"/>
                    <a:pt x="476" y="170"/>
                    <a:pt x="477" y="170"/>
                  </a:cubicBezTo>
                  <a:cubicBezTo>
                    <a:pt x="477" y="170"/>
                    <a:pt x="477" y="170"/>
                    <a:pt x="477" y="170"/>
                  </a:cubicBezTo>
                  <a:cubicBezTo>
                    <a:pt x="477" y="170"/>
                    <a:pt x="477" y="170"/>
                    <a:pt x="477" y="170"/>
                  </a:cubicBezTo>
                  <a:cubicBezTo>
                    <a:pt x="478" y="170"/>
                    <a:pt x="478" y="170"/>
                    <a:pt x="478" y="170"/>
                  </a:cubicBezTo>
                  <a:cubicBezTo>
                    <a:pt x="479" y="170"/>
                    <a:pt x="481" y="170"/>
                    <a:pt x="482" y="171"/>
                  </a:cubicBezTo>
                  <a:cubicBezTo>
                    <a:pt x="482" y="171"/>
                    <a:pt x="482" y="171"/>
                    <a:pt x="482" y="171"/>
                  </a:cubicBezTo>
                  <a:cubicBezTo>
                    <a:pt x="483" y="171"/>
                    <a:pt x="483" y="171"/>
                    <a:pt x="483" y="171"/>
                  </a:cubicBezTo>
                  <a:cubicBezTo>
                    <a:pt x="483" y="171"/>
                    <a:pt x="483" y="171"/>
                    <a:pt x="483" y="171"/>
                  </a:cubicBezTo>
                  <a:cubicBezTo>
                    <a:pt x="483" y="171"/>
                    <a:pt x="483" y="171"/>
                    <a:pt x="483" y="171"/>
                  </a:cubicBezTo>
                  <a:cubicBezTo>
                    <a:pt x="483" y="171"/>
                    <a:pt x="483" y="171"/>
                    <a:pt x="483" y="171"/>
                  </a:cubicBezTo>
                  <a:cubicBezTo>
                    <a:pt x="484" y="171"/>
                    <a:pt x="484" y="171"/>
                    <a:pt x="485" y="171"/>
                  </a:cubicBezTo>
                  <a:cubicBezTo>
                    <a:pt x="485" y="171"/>
                    <a:pt x="485" y="171"/>
                    <a:pt x="485" y="171"/>
                  </a:cubicBezTo>
                  <a:cubicBezTo>
                    <a:pt x="485" y="171"/>
                    <a:pt x="485" y="171"/>
                    <a:pt x="485" y="171"/>
                  </a:cubicBezTo>
                  <a:cubicBezTo>
                    <a:pt x="487" y="171"/>
                    <a:pt x="485" y="170"/>
                    <a:pt x="487" y="170"/>
                  </a:cubicBezTo>
                  <a:cubicBezTo>
                    <a:pt x="487" y="169"/>
                    <a:pt x="487" y="169"/>
                    <a:pt x="487" y="169"/>
                  </a:cubicBezTo>
                  <a:cubicBezTo>
                    <a:pt x="487" y="169"/>
                    <a:pt x="487" y="169"/>
                    <a:pt x="487" y="169"/>
                  </a:cubicBezTo>
                  <a:cubicBezTo>
                    <a:pt x="487" y="169"/>
                    <a:pt x="487" y="169"/>
                    <a:pt x="487" y="169"/>
                  </a:cubicBezTo>
                  <a:cubicBezTo>
                    <a:pt x="487" y="169"/>
                    <a:pt x="487" y="169"/>
                    <a:pt x="487" y="169"/>
                  </a:cubicBezTo>
                  <a:cubicBezTo>
                    <a:pt x="488" y="169"/>
                    <a:pt x="488" y="169"/>
                    <a:pt x="489" y="168"/>
                  </a:cubicBezTo>
                  <a:cubicBezTo>
                    <a:pt x="489" y="168"/>
                    <a:pt x="489" y="168"/>
                    <a:pt x="489" y="168"/>
                  </a:cubicBezTo>
                  <a:cubicBezTo>
                    <a:pt x="490" y="168"/>
                    <a:pt x="490" y="168"/>
                    <a:pt x="490" y="168"/>
                  </a:cubicBezTo>
                  <a:cubicBezTo>
                    <a:pt x="490" y="168"/>
                    <a:pt x="491" y="168"/>
                    <a:pt x="492" y="168"/>
                  </a:cubicBezTo>
                  <a:cubicBezTo>
                    <a:pt x="492" y="168"/>
                    <a:pt x="492" y="168"/>
                    <a:pt x="492" y="168"/>
                  </a:cubicBezTo>
                  <a:cubicBezTo>
                    <a:pt x="492" y="168"/>
                    <a:pt x="492" y="168"/>
                    <a:pt x="492" y="168"/>
                  </a:cubicBezTo>
                  <a:cubicBezTo>
                    <a:pt x="492" y="168"/>
                    <a:pt x="492" y="168"/>
                    <a:pt x="492" y="168"/>
                  </a:cubicBezTo>
                  <a:cubicBezTo>
                    <a:pt x="492" y="168"/>
                    <a:pt x="492" y="168"/>
                    <a:pt x="492" y="168"/>
                  </a:cubicBezTo>
                  <a:cubicBezTo>
                    <a:pt x="493" y="168"/>
                    <a:pt x="493" y="168"/>
                    <a:pt x="493" y="168"/>
                  </a:cubicBezTo>
                  <a:cubicBezTo>
                    <a:pt x="493" y="168"/>
                    <a:pt x="493" y="168"/>
                    <a:pt x="493" y="168"/>
                  </a:cubicBezTo>
                  <a:cubicBezTo>
                    <a:pt x="496" y="169"/>
                    <a:pt x="494" y="168"/>
                    <a:pt x="497" y="169"/>
                  </a:cubicBezTo>
                  <a:cubicBezTo>
                    <a:pt x="498" y="169"/>
                    <a:pt x="498" y="169"/>
                    <a:pt x="498" y="169"/>
                  </a:cubicBezTo>
                  <a:cubicBezTo>
                    <a:pt x="498" y="169"/>
                    <a:pt x="498" y="169"/>
                    <a:pt x="498" y="169"/>
                  </a:cubicBezTo>
                  <a:cubicBezTo>
                    <a:pt x="498" y="169"/>
                    <a:pt x="498" y="169"/>
                    <a:pt x="498" y="169"/>
                  </a:cubicBezTo>
                  <a:cubicBezTo>
                    <a:pt x="499" y="170"/>
                    <a:pt x="499" y="170"/>
                    <a:pt x="500" y="170"/>
                  </a:cubicBezTo>
                  <a:cubicBezTo>
                    <a:pt x="500" y="170"/>
                    <a:pt x="500" y="170"/>
                    <a:pt x="500" y="170"/>
                  </a:cubicBezTo>
                  <a:cubicBezTo>
                    <a:pt x="501" y="170"/>
                    <a:pt x="501" y="170"/>
                    <a:pt x="502" y="170"/>
                  </a:cubicBezTo>
                  <a:cubicBezTo>
                    <a:pt x="502" y="170"/>
                    <a:pt x="502" y="170"/>
                    <a:pt x="502" y="170"/>
                  </a:cubicBezTo>
                  <a:cubicBezTo>
                    <a:pt x="502" y="170"/>
                    <a:pt x="502" y="170"/>
                    <a:pt x="502" y="170"/>
                  </a:cubicBezTo>
                  <a:cubicBezTo>
                    <a:pt x="503" y="170"/>
                    <a:pt x="503" y="170"/>
                    <a:pt x="503" y="170"/>
                  </a:cubicBezTo>
                  <a:cubicBezTo>
                    <a:pt x="503" y="170"/>
                    <a:pt x="503" y="170"/>
                    <a:pt x="503" y="170"/>
                  </a:cubicBezTo>
                  <a:cubicBezTo>
                    <a:pt x="503" y="171"/>
                    <a:pt x="503" y="171"/>
                    <a:pt x="503" y="171"/>
                  </a:cubicBezTo>
                  <a:cubicBezTo>
                    <a:pt x="503" y="171"/>
                    <a:pt x="503" y="171"/>
                    <a:pt x="503" y="171"/>
                  </a:cubicBezTo>
                  <a:cubicBezTo>
                    <a:pt x="504" y="171"/>
                    <a:pt x="504" y="171"/>
                    <a:pt x="504" y="172"/>
                  </a:cubicBezTo>
                  <a:cubicBezTo>
                    <a:pt x="504" y="172"/>
                    <a:pt x="504" y="172"/>
                    <a:pt x="504" y="172"/>
                  </a:cubicBezTo>
                  <a:cubicBezTo>
                    <a:pt x="504" y="172"/>
                    <a:pt x="504" y="172"/>
                    <a:pt x="504" y="172"/>
                  </a:cubicBezTo>
                  <a:cubicBezTo>
                    <a:pt x="505" y="173"/>
                    <a:pt x="505" y="172"/>
                    <a:pt x="506" y="173"/>
                  </a:cubicBezTo>
                  <a:cubicBezTo>
                    <a:pt x="506" y="173"/>
                    <a:pt x="506" y="173"/>
                    <a:pt x="506" y="173"/>
                  </a:cubicBezTo>
                  <a:cubicBezTo>
                    <a:pt x="506" y="173"/>
                    <a:pt x="506" y="173"/>
                    <a:pt x="506" y="173"/>
                  </a:cubicBezTo>
                  <a:cubicBezTo>
                    <a:pt x="506" y="173"/>
                    <a:pt x="506" y="173"/>
                    <a:pt x="506" y="173"/>
                  </a:cubicBezTo>
                  <a:cubicBezTo>
                    <a:pt x="509" y="173"/>
                    <a:pt x="508" y="174"/>
                    <a:pt x="510" y="174"/>
                  </a:cubicBezTo>
                  <a:cubicBezTo>
                    <a:pt x="511" y="174"/>
                    <a:pt x="511" y="174"/>
                    <a:pt x="511" y="174"/>
                  </a:cubicBezTo>
                  <a:cubicBezTo>
                    <a:pt x="511" y="174"/>
                    <a:pt x="511" y="174"/>
                    <a:pt x="511" y="174"/>
                  </a:cubicBezTo>
                  <a:cubicBezTo>
                    <a:pt x="511" y="174"/>
                    <a:pt x="511" y="174"/>
                    <a:pt x="511" y="174"/>
                  </a:cubicBezTo>
                  <a:cubicBezTo>
                    <a:pt x="511" y="174"/>
                    <a:pt x="511" y="174"/>
                    <a:pt x="511" y="174"/>
                  </a:cubicBezTo>
                  <a:cubicBezTo>
                    <a:pt x="511" y="174"/>
                    <a:pt x="511" y="174"/>
                    <a:pt x="511" y="174"/>
                  </a:cubicBezTo>
                  <a:cubicBezTo>
                    <a:pt x="512" y="175"/>
                    <a:pt x="512" y="175"/>
                    <a:pt x="512" y="175"/>
                  </a:cubicBezTo>
                  <a:cubicBezTo>
                    <a:pt x="512" y="176"/>
                    <a:pt x="512" y="176"/>
                    <a:pt x="512" y="176"/>
                  </a:cubicBezTo>
                  <a:cubicBezTo>
                    <a:pt x="512" y="178"/>
                    <a:pt x="512" y="178"/>
                    <a:pt x="512" y="178"/>
                  </a:cubicBezTo>
                  <a:cubicBezTo>
                    <a:pt x="513" y="179"/>
                    <a:pt x="513" y="179"/>
                    <a:pt x="513" y="179"/>
                  </a:cubicBezTo>
                  <a:cubicBezTo>
                    <a:pt x="513" y="180"/>
                    <a:pt x="513" y="180"/>
                    <a:pt x="513" y="180"/>
                  </a:cubicBezTo>
                  <a:cubicBezTo>
                    <a:pt x="513" y="180"/>
                    <a:pt x="513" y="180"/>
                    <a:pt x="513" y="180"/>
                  </a:cubicBezTo>
                  <a:cubicBezTo>
                    <a:pt x="513" y="180"/>
                    <a:pt x="513" y="180"/>
                    <a:pt x="513" y="180"/>
                  </a:cubicBezTo>
                  <a:cubicBezTo>
                    <a:pt x="513" y="180"/>
                    <a:pt x="513" y="180"/>
                    <a:pt x="513" y="180"/>
                  </a:cubicBezTo>
                  <a:cubicBezTo>
                    <a:pt x="513" y="181"/>
                    <a:pt x="513" y="181"/>
                    <a:pt x="513" y="181"/>
                  </a:cubicBezTo>
                  <a:cubicBezTo>
                    <a:pt x="513" y="181"/>
                    <a:pt x="513" y="181"/>
                    <a:pt x="513" y="181"/>
                  </a:cubicBezTo>
                  <a:cubicBezTo>
                    <a:pt x="514" y="181"/>
                    <a:pt x="514" y="181"/>
                    <a:pt x="514" y="181"/>
                  </a:cubicBezTo>
                  <a:cubicBezTo>
                    <a:pt x="514" y="181"/>
                    <a:pt x="514" y="181"/>
                    <a:pt x="514" y="181"/>
                  </a:cubicBezTo>
                  <a:cubicBezTo>
                    <a:pt x="514" y="181"/>
                    <a:pt x="514" y="181"/>
                    <a:pt x="514" y="181"/>
                  </a:cubicBezTo>
                  <a:cubicBezTo>
                    <a:pt x="514" y="181"/>
                    <a:pt x="514" y="181"/>
                    <a:pt x="514" y="181"/>
                  </a:cubicBezTo>
                  <a:cubicBezTo>
                    <a:pt x="514" y="181"/>
                    <a:pt x="514" y="181"/>
                    <a:pt x="514" y="181"/>
                  </a:cubicBezTo>
                  <a:cubicBezTo>
                    <a:pt x="515" y="182"/>
                    <a:pt x="515" y="182"/>
                    <a:pt x="515" y="182"/>
                  </a:cubicBezTo>
                  <a:cubicBezTo>
                    <a:pt x="515" y="182"/>
                    <a:pt x="515" y="182"/>
                    <a:pt x="515" y="182"/>
                  </a:cubicBezTo>
                  <a:cubicBezTo>
                    <a:pt x="515" y="182"/>
                    <a:pt x="515" y="182"/>
                    <a:pt x="515" y="182"/>
                  </a:cubicBezTo>
                  <a:cubicBezTo>
                    <a:pt x="515" y="183"/>
                    <a:pt x="515" y="183"/>
                    <a:pt x="515" y="183"/>
                  </a:cubicBezTo>
                  <a:cubicBezTo>
                    <a:pt x="515" y="183"/>
                    <a:pt x="515" y="183"/>
                    <a:pt x="515" y="183"/>
                  </a:cubicBezTo>
                  <a:cubicBezTo>
                    <a:pt x="515" y="183"/>
                    <a:pt x="515" y="183"/>
                    <a:pt x="515" y="183"/>
                  </a:cubicBezTo>
                  <a:cubicBezTo>
                    <a:pt x="515" y="183"/>
                    <a:pt x="515" y="183"/>
                    <a:pt x="515" y="183"/>
                  </a:cubicBezTo>
                  <a:cubicBezTo>
                    <a:pt x="515" y="184"/>
                    <a:pt x="515" y="184"/>
                    <a:pt x="515" y="184"/>
                  </a:cubicBezTo>
                  <a:cubicBezTo>
                    <a:pt x="516" y="184"/>
                    <a:pt x="516" y="184"/>
                    <a:pt x="516" y="184"/>
                  </a:cubicBezTo>
                  <a:cubicBezTo>
                    <a:pt x="517" y="185"/>
                    <a:pt x="517" y="185"/>
                    <a:pt x="517" y="185"/>
                  </a:cubicBezTo>
                  <a:cubicBezTo>
                    <a:pt x="517" y="186"/>
                    <a:pt x="517" y="186"/>
                    <a:pt x="517" y="186"/>
                  </a:cubicBezTo>
                  <a:cubicBezTo>
                    <a:pt x="517" y="186"/>
                    <a:pt x="517" y="186"/>
                    <a:pt x="517" y="186"/>
                  </a:cubicBezTo>
                  <a:cubicBezTo>
                    <a:pt x="517" y="186"/>
                    <a:pt x="517" y="186"/>
                    <a:pt x="517" y="186"/>
                  </a:cubicBezTo>
                  <a:cubicBezTo>
                    <a:pt x="517" y="186"/>
                    <a:pt x="517" y="186"/>
                    <a:pt x="517" y="186"/>
                  </a:cubicBezTo>
                  <a:cubicBezTo>
                    <a:pt x="516" y="186"/>
                    <a:pt x="515" y="186"/>
                    <a:pt x="514" y="186"/>
                  </a:cubicBezTo>
                  <a:cubicBezTo>
                    <a:pt x="514" y="186"/>
                    <a:pt x="514" y="186"/>
                    <a:pt x="514" y="186"/>
                  </a:cubicBezTo>
                  <a:cubicBezTo>
                    <a:pt x="513" y="186"/>
                    <a:pt x="513" y="186"/>
                    <a:pt x="513" y="186"/>
                  </a:cubicBezTo>
                  <a:cubicBezTo>
                    <a:pt x="511" y="187"/>
                    <a:pt x="510" y="189"/>
                    <a:pt x="510" y="191"/>
                  </a:cubicBezTo>
                  <a:cubicBezTo>
                    <a:pt x="511" y="191"/>
                    <a:pt x="511" y="191"/>
                    <a:pt x="511" y="191"/>
                  </a:cubicBezTo>
                  <a:cubicBezTo>
                    <a:pt x="511" y="191"/>
                    <a:pt x="511" y="191"/>
                    <a:pt x="511" y="191"/>
                  </a:cubicBezTo>
                  <a:cubicBezTo>
                    <a:pt x="511" y="192"/>
                    <a:pt x="511" y="192"/>
                    <a:pt x="511" y="192"/>
                  </a:cubicBezTo>
                  <a:cubicBezTo>
                    <a:pt x="511" y="192"/>
                    <a:pt x="511" y="192"/>
                    <a:pt x="511" y="192"/>
                  </a:cubicBezTo>
                  <a:cubicBezTo>
                    <a:pt x="510" y="194"/>
                    <a:pt x="510" y="194"/>
                    <a:pt x="510" y="194"/>
                  </a:cubicBezTo>
                  <a:cubicBezTo>
                    <a:pt x="510" y="194"/>
                    <a:pt x="510" y="194"/>
                    <a:pt x="510" y="194"/>
                  </a:cubicBezTo>
                  <a:cubicBezTo>
                    <a:pt x="510" y="194"/>
                    <a:pt x="510" y="194"/>
                    <a:pt x="510" y="194"/>
                  </a:cubicBezTo>
                  <a:cubicBezTo>
                    <a:pt x="510" y="195"/>
                    <a:pt x="510" y="195"/>
                    <a:pt x="510" y="195"/>
                  </a:cubicBezTo>
                  <a:cubicBezTo>
                    <a:pt x="510" y="195"/>
                    <a:pt x="510" y="195"/>
                    <a:pt x="510" y="195"/>
                  </a:cubicBezTo>
                  <a:cubicBezTo>
                    <a:pt x="510" y="195"/>
                    <a:pt x="510" y="195"/>
                    <a:pt x="510" y="195"/>
                  </a:cubicBezTo>
                  <a:cubicBezTo>
                    <a:pt x="511" y="195"/>
                    <a:pt x="511" y="195"/>
                    <a:pt x="511" y="195"/>
                  </a:cubicBezTo>
                  <a:cubicBezTo>
                    <a:pt x="511" y="195"/>
                    <a:pt x="511" y="195"/>
                    <a:pt x="511" y="195"/>
                  </a:cubicBezTo>
                  <a:cubicBezTo>
                    <a:pt x="511" y="195"/>
                    <a:pt x="511" y="195"/>
                    <a:pt x="511" y="195"/>
                  </a:cubicBezTo>
                  <a:cubicBezTo>
                    <a:pt x="511" y="195"/>
                    <a:pt x="511" y="195"/>
                    <a:pt x="511" y="195"/>
                  </a:cubicBezTo>
                  <a:cubicBezTo>
                    <a:pt x="511" y="195"/>
                    <a:pt x="511" y="195"/>
                    <a:pt x="511" y="195"/>
                  </a:cubicBezTo>
                  <a:cubicBezTo>
                    <a:pt x="512" y="195"/>
                    <a:pt x="512" y="195"/>
                    <a:pt x="512" y="195"/>
                  </a:cubicBezTo>
                  <a:cubicBezTo>
                    <a:pt x="512" y="195"/>
                    <a:pt x="512" y="195"/>
                    <a:pt x="512" y="195"/>
                  </a:cubicBezTo>
                  <a:cubicBezTo>
                    <a:pt x="512" y="195"/>
                    <a:pt x="512" y="195"/>
                    <a:pt x="512" y="195"/>
                  </a:cubicBezTo>
                  <a:cubicBezTo>
                    <a:pt x="512" y="195"/>
                    <a:pt x="512" y="195"/>
                    <a:pt x="512" y="195"/>
                  </a:cubicBezTo>
                  <a:cubicBezTo>
                    <a:pt x="512" y="195"/>
                    <a:pt x="512" y="195"/>
                    <a:pt x="512" y="195"/>
                  </a:cubicBezTo>
                  <a:cubicBezTo>
                    <a:pt x="512" y="195"/>
                    <a:pt x="512" y="195"/>
                    <a:pt x="512" y="195"/>
                  </a:cubicBezTo>
                  <a:cubicBezTo>
                    <a:pt x="513" y="195"/>
                    <a:pt x="513" y="195"/>
                    <a:pt x="513" y="195"/>
                  </a:cubicBezTo>
                  <a:cubicBezTo>
                    <a:pt x="513" y="195"/>
                    <a:pt x="513" y="195"/>
                    <a:pt x="513" y="195"/>
                  </a:cubicBezTo>
                  <a:cubicBezTo>
                    <a:pt x="513" y="195"/>
                    <a:pt x="513" y="195"/>
                    <a:pt x="513" y="195"/>
                  </a:cubicBezTo>
                  <a:cubicBezTo>
                    <a:pt x="513" y="195"/>
                    <a:pt x="513" y="195"/>
                    <a:pt x="513" y="195"/>
                  </a:cubicBezTo>
                  <a:cubicBezTo>
                    <a:pt x="513" y="195"/>
                    <a:pt x="513" y="195"/>
                    <a:pt x="513" y="195"/>
                  </a:cubicBezTo>
                  <a:cubicBezTo>
                    <a:pt x="513" y="195"/>
                    <a:pt x="513" y="195"/>
                    <a:pt x="513" y="195"/>
                  </a:cubicBezTo>
                  <a:cubicBezTo>
                    <a:pt x="513" y="194"/>
                    <a:pt x="513" y="194"/>
                    <a:pt x="513" y="194"/>
                  </a:cubicBezTo>
                  <a:cubicBezTo>
                    <a:pt x="513" y="194"/>
                    <a:pt x="513" y="194"/>
                    <a:pt x="513" y="194"/>
                  </a:cubicBezTo>
                  <a:cubicBezTo>
                    <a:pt x="513" y="194"/>
                    <a:pt x="513" y="194"/>
                    <a:pt x="513" y="194"/>
                  </a:cubicBezTo>
                  <a:cubicBezTo>
                    <a:pt x="513" y="194"/>
                    <a:pt x="513" y="194"/>
                    <a:pt x="513" y="194"/>
                  </a:cubicBezTo>
                  <a:cubicBezTo>
                    <a:pt x="514" y="194"/>
                    <a:pt x="514" y="194"/>
                    <a:pt x="514" y="194"/>
                  </a:cubicBezTo>
                  <a:cubicBezTo>
                    <a:pt x="514" y="196"/>
                    <a:pt x="514" y="196"/>
                    <a:pt x="515" y="196"/>
                  </a:cubicBezTo>
                  <a:cubicBezTo>
                    <a:pt x="515" y="196"/>
                    <a:pt x="515" y="196"/>
                    <a:pt x="515" y="196"/>
                  </a:cubicBezTo>
                  <a:cubicBezTo>
                    <a:pt x="516" y="196"/>
                    <a:pt x="516" y="196"/>
                    <a:pt x="516" y="196"/>
                  </a:cubicBezTo>
                  <a:cubicBezTo>
                    <a:pt x="516" y="196"/>
                    <a:pt x="516" y="196"/>
                    <a:pt x="516" y="196"/>
                  </a:cubicBezTo>
                  <a:cubicBezTo>
                    <a:pt x="516" y="196"/>
                    <a:pt x="516" y="196"/>
                    <a:pt x="516" y="196"/>
                  </a:cubicBezTo>
                  <a:cubicBezTo>
                    <a:pt x="516" y="196"/>
                    <a:pt x="516" y="196"/>
                    <a:pt x="516" y="196"/>
                  </a:cubicBezTo>
                  <a:cubicBezTo>
                    <a:pt x="517" y="196"/>
                    <a:pt x="517" y="196"/>
                    <a:pt x="517" y="196"/>
                  </a:cubicBezTo>
                  <a:cubicBezTo>
                    <a:pt x="517" y="196"/>
                    <a:pt x="517" y="196"/>
                    <a:pt x="517" y="196"/>
                  </a:cubicBezTo>
                  <a:cubicBezTo>
                    <a:pt x="518" y="196"/>
                    <a:pt x="518" y="196"/>
                    <a:pt x="518" y="196"/>
                  </a:cubicBezTo>
                  <a:cubicBezTo>
                    <a:pt x="518" y="196"/>
                    <a:pt x="518" y="196"/>
                    <a:pt x="518" y="196"/>
                  </a:cubicBezTo>
                  <a:cubicBezTo>
                    <a:pt x="518" y="196"/>
                    <a:pt x="518" y="196"/>
                    <a:pt x="518" y="196"/>
                  </a:cubicBezTo>
                  <a:cubicBezTo>
                    <a:pt x="518" y="196"/>
                    <a:pt x="518" y="196"/>
                    <a:pt x="518" y="196"/>
                  </a:cubicBezTo>
                  <a:cubicBezTo>
                    <a:pt x="518" y="196"/>
                    <a:pt x="518" y="196"/>
                    <a:pt x="518" y="196"/>
                  </a:cubicBezTo>
                  <a:cubicBezTo>
                    <a:pt x="518" y="196"/>
                    <a:pt x="518" y="196"/>
                    <a:pt x="518" y="196"/>
                  </a:cubicBezTo>
                  <a:cubicBezTo>
                    <a:pt x="519" y="196"/>
                    <a:pt x="519" y="196"/>
                    <a:pt x="519" y="196"/>
                  </a:cubicBezTo>
                  <a:cubicBezTo>
                    <a:pt x="519" y="196"/>
                    <a:pt x="519" y="196"/>
                    <a:pt x="519" y="196"/>
                  </a:cubicBezTo>
                  <a:cubicBezTo>
                    <a:pt x="519" y="196"/>
                    <a:pt x="519" y="196"/>
                    <a:pt x="519" y="196"/>
                  </a:cubicBezTo>
                  <a:cubicBezTo>
                    <a:pt x="519" y="196"/>
                    <a:pt x="519" y="196"/>
                    <a:pt x="519" y="196"/>
                  </a:cubicBezTo>
                  <a:cubicBezTo>
                    <a:pt x="519" y="197"/>
                    <a:pt x="519" y="197"/>
                    <a:pt x="519" y="197"/>
                  </a:cubicBezTo>
                  <a:cubicBezTo>
                    <a:pt x="520" y="197"/>
                    <a:pt x="520" y="197"/>
                    <a:pt x="520" y="197"/>
                  </a:cubicBezTo>
                  <a:cubicBezTo>
                    <a:pt x="520" y="197"/>
                    <a:pt x="520" y="197"/>
                    <a:pt x="520" y="197"/>
                  </a:cubicBezTo>
                  <a:cubicBezTo>
                    <a:pt x="520" y="197"/>
                    <a:pt x="520" y="197"/>
                    <a:pt x="520" y="197"/>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1" y="196"/>
                    <a:pt x="521" y="196"/>
                    <a:pt x="521" y="196"/>
                  </a:cubicBezTo>
                  <a:cubicBezTo>
                    <a:pt x="521" y="196"/>
                    <a:pt x="521" y="196"/>
                    <a:pt x="521" y="196"/>
                  </a:cubicBezTo>
                  <a:cubicBezTo>
                    <a:pt x="522" y="196"/>
                    <a:pt x="522" y="196"/>
                    <a:pt x="522" y="196"/>
                  </a:cubicBezTo>
                  <a:cubicBezTo>
                    <a:pt x="522" y="197"/>
                    <a:pt x="522" y="197"/>
                    <a:pt x="522" y="197"/>
                  </a:cubicBezTo>
                  <a:cubicBezTo>
                    <a:pt x="522" y="197"/>
                    <a:pt x="522" y="197"/>
                    <a:pt x="522" y="197"/>
                  </a:cubicBezTo>
                  <a:cubicBezTo>
                    <a:pt x="522" y="197"/>
                    <a:pt x="522" y="197"/>
                    <a:pt x="522" y="197"/>
                  </a:cubicBezTo>
                  <a:cubicBezTo>
                    <a:pt x="521" y="197"/>
                    <a:pt x="521" y="197"/>
                    <a:pt x="521" y="197"/>
                  </a:cubicBezTo>
                  <a:cubicBezTo>
                    <a:pt x="521" y="197"/>
                    <a:pt x="521" y="197"/>
                    <a:pt x="521" y="197"/>
                  </a:cubicBezTo>
                  <a:cubicBezTo>
                    <a:pt x="521" y="197"/>
                    <a:pt x="521" y="197"/>
                    <a:pt x="521" y="197"/>
                  </a:cubicBezTo>
                  <a:cubicBezTo>
                    <a:pt x="521" y="197"/>
                    <a:pt x="521" y="197"/>
                    <a:pt x="521" y="197"/>
                  </a:cubicBezTo>
                  <a:cubicBezTo>
                    <a:pt x="521" y="197"/>
                    <a:pt x="521" y="197"/>
                    <a:pt x="521" y="197"/>
                  </a:cubicBezTo>
                  <a:cubicBezTo>
                    <a:pt x="521" y="197"/>
                    <a:pt x="522" y="197"/>
                    <a:pt x="523" y="197"/>
                  </a:cubicBezTo>
                  <a:cubicBezTo>
                    <a:pt x="523" y="197"/>
                    <a:pt x="523" y="197"/>
                    <a:pt x="523" y="197"/>
                  </a:cubicBezTo>
                  <a:cubicBezTo>
                    <a:pt x="523" y="197"/>
                    <a:pt x="523" y="197"/>
                    <a:pt x="523" y="197"/>
                  </a:cubicBezTo>
                  <a:cubicBezTo>
                    <a:pt x="523" y="196"/>
                    <a:pt x="523" y="196"/>
                    <a:pt x="523" y="196"/>
                  </a:cubicBezTo>
                  <a:cubicBezTo>
                    <a:pt x="523" y="196"/>
                    <a:pt x="523" y="196"/>
                    <a:pt x="523" y="196"/>
                  </a:cubicBezTo>
                  <a:cubicBezTo>
                    <a:pt x="523" y="196"/>
                    <a:pt x="523" y="196"/>
                    <a:pt x="523" y="196"/>
                  </a:cubicBezTo>
                  <a:cubicBezTo>
                    <a:pt x="523" y="196"/>
                    <a:pt x="523" y="196"/>
                    <a:pt x="523" y="196"/>
                  </a:cubicBezTo>
                  <a:cubicBezTo>
                    <a:pt x="524" y="196"/>
                    <a:pt x="524" y="196"/>
                    <a:pt x="524" y="196"/>
                  </a:cubicBezTo>
                  <a:cubicBezTo>
                    <a:pt x="524" y="197"/>
                    <a:pt x="524" y="197"/>
                    <a:pt x="524" y="197"/>
                  </a:cubicBezTo>
                  <a:cubicBezTo>
                    <a:pt x="524" y="197"/>
                    <a:pt x="524" y="197"/>
                    <a:pt x="524" y="197"/>
                  </a:cubicBezTo>
                  <a:cubicBezTo>
                    <a:pt x="524" y="197"/>
                    <a:pt x="524" y="197"/>
                    <a:pt x="524" y="197"/>
                  </a:cubicBezTo>
                  <a:cubicBezTo>
                    <a:pt x="524" y="197"/>
                    <a:pt x="524" y="197"/>
                    <a:pt x="524" y="197"/>
                  </a:cubicBezTo>
                  <a:cubicBezTo>
                    <a:pt x="524" y="197"/>
                    <a:pt x="524" y="197"/>
                    <a:pt x="524" y="197"/>
                  </a:cubicBezTo>
                  <a:cubicBezTo>
                    <a:pt x="525" y="197"/>
                    <a:pt x="525" y="197"/>
                    <a:pt x="525" y="197"/>
                  </a:cubicBezTo>
                  <a:cubicBezTo>
                    <a:pt x="525" y="197"/>
                    <a:pt x="525" y="197"/>
                    <a:pt x="525" y="197"/>
                  </a:cubicBezTo>
                  <a:cubicBezTo>
                    <a:pt x="526" y="198"/>
                    <a:pt x="526" y="198"/>
                    <a:pt x="526" y="198"/>
                  </a:cubicBezTo>
                  <a:cubicBezTo>
                    <a:pt x="526" y="198"/>
                    <a:pt x="526" y="198"/>
                    <a:pt x="526" y="198"/>
                  </a:cubicBezTo>
                  <a:cubicBezTo>
                    <a:pt x="526" y="198"/>
                    <a:pt x="526" y="198"/>
                    <a:pt x="526" y="198"/>
                  </a:cubicBezTo>
                  <a:cubicBezTo>
                    <a:pt x="526" y="198"/>
                    <a:pt x="526" y="198"/>
                    <a:pt x="526" y="198"/>
                  </a:cubicBezTo>
                  <a:cubicBezTo>
                    <a:pt x="526" y="198"/>
                    <a:pt x="526" y="198"/>
                    <a:pt x="526" y="198"/>
                  </a:cubicBezTo>
                  <a:cubicBezTo>
                    <a:pt x="525" y="198"/>
                    <a:pt x="524" y="197"/>
                    <a:pt x="523" y="197"/>
                  </a:cubicBezTo>
                  <a:cubicBezTo>
                    <a:pt x="523" y="198"/>
                    <a:pt x="523" y="198"/>
                    <a:pt x="523" y="198"/>
                  </a:cubicBezTo>
                  <a:cubicBezTo>
                    <a:pt x="523" y="198"/>
                    <a:pt x="523" y="198"/>
                    <a:pt x="523" y="198"/>
                  </a:cubicBezTo>
                  <a:cubicBezTo>
                    <a:pt x="522" y="198"/>
                    <a:pt x="522" y="198"/>
                    <a:pt x="522" y="198"/>
                  </a:cubicBezTo>
                  <a:cubicBezTo>
                    <a:pt x="522" y="198"/>
                    <a:pt x="522" y="198"/>
                    <a:pt x="521" y="198"/>
                  </a:cubicBezTo>
                  <a:cubicBezTo>
                    <a:pt x="521" y="198"/>
                    <a:pt x="521" y="198"/>
                    <a:pt x="521" y="198"/>
                  </a:cubicBezTo>
                  <a:cubicBezTo>
                    <a:pt x="521" y="198"/>
                    <a:pt x="521" y="198"/>
                    <a:pt x="521" y="198"/>
                  </a:cubicBezTo>
                  <a:cubicBezTo>
                    <a:pt x="521" y="198"/>
                    <a:pt x="521" y="198"/>
                    <a:pt x="520" y="198"/>
                  </a:cubicBezTo>
                  <a:cubicBezTo>
                    <a:pt x="520" y="198"/>
                    <a:pt x="520" y="198"/>
                    <a:pt x="520" y="198"/>
                  </a:cubicBezTo>
                  <a:cubicBezTo>
                    <a:pt x="519" y="198"/>
                    <a:pt x="519" y="198"/>
                    <a:pt x="519" y="198"/>
                  </a:cubicBezTo>
                  <a:cubicBezTo>
                    <a:pt x="512" y="198"/>
                    <a:pt x="512" y="198"/>
                    <a:pt x="512" y="198"/>
                  </a:cubicBezTo>
                  <a:cubicBezTo>
                    <a:pt x="509" y="196"/>
                    <a:pt x="509" y="196"/>
                    <a:pt x="509" y="196"/>
                  </a:cubicBezTo>
                  <a:cubicBezTo>
                    <a:pt x="507" y="194"/>
                    <a:pt x="507" y="194"/>
                    <a:pt x="507" y="194"/>
                  </a:cubicBezTo>
                  <a:cubicBezTo>
                    <a:pt x="506" y="194"/>
                    <a:pt x="506" y="194"/>
                    <a:pt x="506" y="194"/>
                  </a:cubicBezTo>
                  <a:cubicBezTo>
                    <a:pt x="506" y="194"/>
                    <a:pt x="506" y="194"/>
                    <a:pt x="506" y="194"/>
                  </a:cubicBezTo>
                  <a:cubicBezTo>
                    <a:pt x="506" y="193"/>
                    <a:pt x="506" y="193"/>
                    <a:pt x="506" y="193"/>
                  </a:cubicBezTo>
                  <a:cubicBezTo>
                    <a:pt x="506" y="193"/>
                    <a:pt x="506" y="193"/>
                    <a:pt x="506" y="193"/>
                  </a:cubicBezTo>
                  <a:cubicBezTo>
                    <a:pt x="506" y="193"/>
                    <a:pt x="506" y="193"/>
                    <a:pt x="506" y="193"/>
                  </a:cubicBezTo>
                  <a:cubicBezTo>
                    <a:pt x="506" y="193"/>
                    <a:pt x="506" y="193"/>
                    <a:pt x="506" y="193"/>
                  </a:cubicBezTo>
                  <a:cubicBezTo>
                    <a:pt x="507" y="193"/>
                    <a:pt x="507" y="193"/>
                    <a:pt x="507" y="193"/>
                  </a:cubicBezTo>
                  <a:cubicBezTo>
                    <a:pt x="507" y="193"/>
                    <a:pt x="507" y="193"/>
                    <a:pt x="507" y="193"/>
                  </a:cubicBezTo>
                  <a:cubicBezTo>
                    <a:pt x="507" y="193"/>
                    <a:pt x="507" y="193"/>
                    <a:pt x="507" y="193"/>
                  </a:cubicBezTo>
                  <a:cubicBezTo>
                    <a:pt x="507" y="193"/>
                    <a:pt x="507" y="193"/>
                    <a:pt x="507" y="193"/>
                  </a:cubicBezTo>
                  <a:cubicBezTo>
                    <a:pt x="507" y="193"/>
                    <a:pt x="507" y="193"/>
                    <a:pt x="507" y="193"/>
                  </a:cubicBezTo>
                  <a:cubicBezTo>
                    <a:pt x="507" y="193"/>
                    <a:pt x="507" y="193"/>
                    <a:pt x="507" y="193"/>
                  </a:cubicBezTo>
                  <a:cubicBezTo>
                    <a:pt x="507" y="193"/>
                    <a:pt x="507" y="193"/>
                    <a:pt x="507" y="193"/>
                  </a:cubicBezTo>
                  <a:cubicBezTo>
                    <a:pt x="508" y="192"/>
                    <a:pt x="508" y="192"/>
                    <a:pt x="508" y="192"/>
                  </a:cubicBezTo>
                  <a:cubicBezTo>
                    <a:pt x="508" y="189"/>
                    <a:pt x="508" y="189"/>
                    <a:pt x="508" y="189"/>
                  </a:cubicBezTo>
                  <a:cubicBezTo>
                    <a:pt x="508" y="189"/>
                    <a:pt x="508" y="189"/>
                    <a:pt x="508" y="189"/>
                  </a:cubicBezTo>
                  <a:cubicBezTo>
                    <a:pt x="508" y="188"/>
                    <a:pt x="508" y="188"/>
                    <a:pt x="508" y="188"/>
                  </a:cubicBezTo>
                  <a:cubicBezTo>
                    <a:pt x="509" y="187"/>
                    <a:pt x="509" y="187"/>
                    <a:pt x="509" y="187"/>
                  </a:cubicBezTo>
                  <a:cubicBezTo>
                    <a:pt x="509" y="186"/>
                    <a:pt x="509" y="186"/>
                    <a:pt x="509" y="186"/>
                  </a:cubicBezTo>
                  <a:cubicBezTo>
                    <a:pt x="509" y="186"/>
                    <a:pt x="509" y="186"/>
                    <a:pt x="509" y="186"/>
                  </a:cubicBezTo>
                  <a:cubicBezTo>
                    <a:pt x="508" y="186"/>
                    <a:pt x="508" y="186"/>
                    <a:pt x="508" y="186"/>
                  </a:cubicBezTo>
                  <a:cubicBezTo>
                    <a:pt x="508" y="186"/>
                    <a:pt x="508" y="186"/>
                    <a:pt x="508" y="186"/>
                  </a:cubicBezTo>
                  <a:cubicBezTo>
                    <a:pt x="507" y="185"/>
                    <a:pt x="507" y="185"/>
                    <a:pt x="507" y="185"/>
                  </a:cubicBezTo>
                  <a:cubicBezTo>
                    <a:pt x="507" y="185"/>
                    <a:pt x="507" y="185"/>
                    <a:pt x="507" y="185"/>
                  </a:cubicBezTo>
                  <a:cubicBezTo>
                    <a:pt x="507" y="185"/>
                    <a:pt x="507" y="185"/>
                    <a:pt x="507" y="185"/>
                  </a:cubicBezTo>
                  <a:cubicBezTo>
                    <a:pt x="507" y="185"/>
                    <a:pt x="507" y="185"/>
                    <a:pt x="507" y="185"/>
                  </a:cubicBezTo>
                  <a:cubicBezTo>
                    <a:pt x="507" y="184"/>
                    <a:pt x="507" y="184"/>
                    <a:pt x="507" y="184"/>
                  </a:cubicBezTo>
                  <a:cubicBezTo>
                    <a:pt x="508" y="184"/>
                    <a:pt x="508" y="184"/>
                    <a:pt x="508" y="184"/>
                  </a:cubicBezTo>
                  <a:cubicBezTo>
                    <a:pt x="508" y="182"/>
                    <a:pt x="508" y="182"/>
                    <a:pt x="508" y="182"/>
                  </a:cubicBezTo>
                  <a:cubicBezTo>
                    <a:pt x="508" y="181"/>
                    <a:pt x="508" y="181"/>
                    <a:pt x="508" y="181"/>
                  </a:cubicBezTo>
                  <a:cubicBezTo>
                    <a:pt x="508" y="181"/>
                    <a:pt x="508" y="181"/>
                    <a:pt x="508" y="181"/>
                  </a:cubicBezTo>
                  <a:cubicBezTo>
                    <a:pt x="508" y="181"/>
                    <a:pt x="508" y="181"/>
                    <a:pt x="508" y="181"/>
                  </a:cubicBezTo>
                  <a:cubicBezTo>
                    <a:pt x="508" y="181"/>
                    <a:pt x="508" y="181"/>
                    <a:pt x="508" y="181"/>
                  </a:cubicBezTo>
                  <a:cubicBezTo>
                    <a:pt x="508" y="180"/>
                    <a:pt x="508" y="180"/>
                    <a:pt x="508" y="180"/>
                  </a:cubicBezTo>
                  <a:cubicBezTo>
                    <a:pt x="508" y="180"/>
                    <a:pt x="508" y="180"/>
                    <a:pt x="508" y="180"/>
                  </a:cubicBezTo>
                  <a:cubicBezTo>
                    <a:pt x="508" y="180"/>
                    <a:pt x="507" y="180"/>
                    <a:pt x="507" y="180"/>
                  </a:cubicBezTo>
                  <a:cubicBezTo>
                    <a:pt x="507" y="180"/>
                    <a:pt x="507" y="180"/>
                    <a:pt x="507" y="180"/>
                  </a:cubicBezTo>
                  <a:cubicBezTo>
                    <a:pt x="507" y="180"/>
                    <a:pt x="507" y="180"/>
                    <a:pt x="507" y="180"/>
                  </a:cubicBezTo>
                  <a:cubicBezTo>
                    <a:pt x="507" y="180"/>
                    <a:pt x="507" y="180"/>
                    <a:pt x="507" y="180"/>
                  </a:cubicBezTo>
                  <a:cubicBezTo>
                    <a:pt x="507" y="180"/>
                    <a:pt x="507" y="180"/>
                    <a:pt x="507" y="180"/>
                  </a:cubicBezTo>
                  <a:cubicBezTo>
                    <a:pt x="507" y="180"/>
                    <a:pt x="507" y="180"/>
                    <a:pt x="507" y="180"/>
                  </a:cubicBezTo>
                  <a:cubicBezTo>
                    <a:pt x="506" y="180"/>
                    <a:pt x="506" y="180"/>
                    <a:pt x="506" y="180"/>
                  </a:cubicBezTo>
                  <a:cubicBezTo>
                    <a:pt x="506" y="180"/>
                    <a:pt x="506" y="180"/>
                    <a:pt x="506" y="180"/>
                  </a:cubicBezTo>
                  <a:cubicBezTo>
                    <a:pt x="506" y="180"/>
                    <a:pt x="506" y="180"/>
                    <a:pt x="506" y="180"/>
                  </a:cubicBezTo>
                  <a:cubicBezTo>
                    <a:pt x="506" y="180"/>
                    <a:pt x="506" y="180"/>
                    <a:pt x="506" y="180"/>
                  </a:cubicBezTo>
                  <a:cubicBezTo>
                    <a:pt x="506" y="179"/>
                    <a:pt x="506" y="179"/>
                    <a:pt x="506" y="179"/>
                  </a:cubicBezTo>
                  <a:cubicBezTo>
                    <a:pt x="506" y="179"/>
                    <a:pt x="505" y="179"/>
                    <a:pt x="505" y="179"/>
                  </a:cubicBezTo>
                  <a:cubicBezTo>
                    <a:pt x="505" y="178"/>
                    <a:pt x="505" y="178"/>
                    <a:pt x="505" y="178"/>
                  </a:cubicBezTo>
                  <a:cubicBezTo>
                    <a:pt x="504" y="178"/>
                    <a:pt x="504" y="178"/>
                    <a:pt x="504" y="178"/>
                  </a:cubicBezTo>
                  <a:cubicBezTo>
                    <a:pt x="504" y="177"/>
                    <a:pt x="504" y="177"/>
                    <a:pt x="504" y="177"/>
                  </a:cubicBezTo>
                  <a:cubicBezTo>
                    <a:pt x="502" y="175"/>
                    <a:pt x="502" y="175"/>
                    <a:pt x="502" y="175"/>
                  </a:cubicBezTo>
                  <a:cubicBezTo>
                    <a:pt x="501" y="174"/>
                    <a:pt x="501" y="174"/>
                    <a:pt x="501" y="174"/>
                  </a:cubicBezTo>
                  <a:cubicBezTo>
                    <a:pt x="501" y="173"/>
                    <a:pt x="501" y="173"/>
                    <a:pt x="501" y="173"/>
                  </a:cubicBezTo>
                  <a:cubicBezTo>
                    <a:pt x="501" y="173"/>
                    <a:pt x="501" y="173"/>
                    <a:pt x="501" y="173"/>
                  </a:cubicBezTo>
                  <a:cubicBezTo>
                    <a:pt x="501" y="173"/>
                    <a:pt x="501" y="173"/>
                    <a:pt x="501" y="173"/>
                  </a:cubicBezTo>
                  <a:cubicBezTo>
                    <a:pt x="500" y="173"/>
                    <a:pt x="500" y="173"/>
                    <a:pt x="500" y="173"/>
                  </a:cubicBezTo>
                  <a:cubicBezTo>
                    <a:pt x="500" y="173"/>
                    <a:pt x="500" y="173"/>
                    <a:pt x="500" y="173"/>
                  </a:cubicBezTo>
                  <a:cubicBezTo>
                    <a:pt x="500" y="173"/>
                    <a:pt x="500" y="173"/>
                    <a:pt x="500" y="173"/>
                  </a:cubicBezTo>
                  <a:cubicBezTo>
                    <a:pt x="500" y="173"/>
                    <a:pt x="500" y="173"/>
                    <a:pt x="500" y="173"/>
                  </a:cubicBezTo>
                  <a:cubicBezTo>
                    <a:pt x="500" y="173"/>
                    <a:pt x="500" y="173"/>
                    <a:pt x="500" y="173"/>
                  </a:cubicBezTo>
                  <a:cubicBezTo>
                    <a:pt x="500" y="173"/>
                    <a:pt x="500" y="173"/>
                    <a:pt x="500" y="173"/>
                  </a:cubicBezTo>
                  <a:cubicBezTo>
                    <a:pt x="498" y="173"/>
                    <a:pt x="497" y="173"/>
                    <a:pt x="496" y="173"/>
                  </a:cubicBezTo>
                  <a:cubicBezTo>
                    <a:pt x="495" y="173"/>
                    <a:pt x="495" y="173"/>
                    <a:pt x="495" y="173"/>
                  </a:cubicBezTo>
                  <a:cubicBezTo>
                    <a:pt x="495" y="173"/>
                    <a:pt x="495" y="173"/>
                    <a:pt x="495" y="173"/>
                  </a:cubicBezTo>
                  <a:cubicBezTo>
                    <a:pt x="495" y="173"/>
                    <a:pt x="495" y="173"/>
                    <a:pt x="495" y="173"/>
                  </a:cubicBezTo>
                  <a:cubicBezTo>
                    <a:pt x="495" y="173"/>
                    <a:pt x="495" y="173"/>
                    <a:pt x="495" y="173"/>
                  </a:cubicBezTo>
                  <a:cubicBezTo>
                    <a:pt x="495" y="173"/>
                    <a:pt x="495" y="173"/>
                    <a:pt x="495" y="173"/>
                  </a:cubicBezTo>
                  <a:cubicBezTo>
                    <a:pt x="495" y="173"/>
                    <a:pt x="495" y="173"/>
                    <a:pt x="495" y="173"/>
                  </a:cubicBezTo>
                  <a:cubicBezTo>
                    <a:pt x="494" y="174"/>
                    <a:pt x="494" y="174"/>
                    <a:pt x="494" y="174"/>
                  </a:cubicBezTo>
                  <a:cubicBezTo>
                    <a:pt x="493" y="174"/>
                    <a:pt x="493" y="174"/>
                    <a:pt x="493" y="174"/>
                  </a:cubicBezTo>
                  <a:cubicBezTo>
                    <a:pt x="480" y="178"/>
                    <a:pt x="480" y="178"/>
                    <a:pt x="480" y="178"/>
                  </a:cubicBezTo>
                  <a:cubicBezTo>
                    <a:pt x="479" y="178"/>
                    <a:pt x="479" y="178"/>
                    <a:pt x="479" y="178"/>
                  </a:cubicBezTo>
                  <a:cubicBezTo>
                    <a:pt x="479" y="178"/>
                    <a:pt x="479" y="178"/>
                    <a:pt x="479" y="178"/>
                  </a:cubicBezTo>
                  <a:cubicBezTo>
                    <a:pt x="479" y="178"/>
                    <a:pt x="479" y="178"/>
                    <a:pt x="479" y="178"/>
                  </a:cubicBezTo>
                  <a:cubicBezTo>
                    <a:pt x="479" y="178"/>
                    <a:pt x="479" y="178"/>
                    <a:pt x="479" y="178"/>
                  </a:cubicBezTo>
                  <a:cubicBezTo>
                    <a:pt x="479" y="178"/>
                    <a:pt x="479" y="178"/>
                    <a:pt x="479" y="178"/>
                  </a:cubicBezTo>
                  <a:cubicBezTo>
                    <a:pt x="479" y="179"/>
                    <a:pt x="479" y="179"/>
                    <a:pt x="479" y="179"/>
                  </a:cubicBezTo>
                  <a:cubicBezTo>
                    <a:pt x="479" y="179"/>
                    <a:pt x="479" y="179"/>
                    <a:pt x="479" y="180"/>
                  </a:cubicBezTo>
                  <a:cubicBezTo>
                    <a:pt x="479" y="180"/>
                    <a:pt x="479" y="180"/>
                    <a:pt x="479" y="180"/>
                  </a:cubicBezTo>
                  <a:cubicBezTo>
                    <a:pt x="479" y="180"/>
                    <a:pt x="479" y="180"/>
                    <a:pt x="479" y="180"/>
                  </a:cubicBezTo>
                  <a:cubicBezTo>
                    <a:pt x="479" y="180"/>
                    <a:pt x="479" y="180"/>
                    <a:pt x="479" y="180"/>
                  </a:cubicBezTo>
                  <a:cubicBezTo>
                    <a:pt x="480" y="182"/>
                    <a:pt x="478" y="183"/>
                    <a:pt x="478" y="184"/>
                  </a:cubicBezTo>
                  <a:cubicBezTo>
                    <a:pt x="478" y="184"/>
                    <a:pt x="478" y="184"/>
                    <a:pt x="478" y="184"/>
                  </a:cubicBezTo>
                  <a:cubicBezTo>
                    <a:pt x="478" y="184"/>
                    <a:pt x="478" y="184"/>
                    <a:pt x="478" y="184"/>
                  </a:cubicBezTo>
                  <a:cubicBezTo>
                    <a:pt x="478" y="184"/>
                    <a:pt x="478" y="184"/>
                    <a:pt x="478" y="184"/>
                  </a:cubicBezTo>
                  <a:cubicBezTo>
                    <a:pt x="479" y="184"/>
                    <a:pt x="479" y="184"/>
                    <a:pt x="479" y="184"/>
                  </a:cubicBezTo>
                  <a:cubicBezTo>
                    <a:pt x="479" y="184"/>
                    <a:pt x="479" y="184"/>
                    <a:pt x="479" y="184"/>
                  </a:cubicBezTo>
                  <a:cubicBezTo>
                    <a:pt x="479" y="184"/>
                    <a:pt x="479" y="184"/>
                    <a:pt x="479" y="184"/>
                  </a:cubicBezTo>
                  <a:cubicBezTo>
                    <a:pt x="480" y="185"/>
                    <a:pt x="481" y="186"/>
                    <a:pt x="481" y="187"/>
                  </a:cubicBezTo>
                  <a:cubicBezTo>
                    <a:pt x="481" y="187"/>
                    <a:pt x="481" y="187"/>
                    <a:pt x="481" y="187"/>
                  </a:cubicBezTo>
                  <a:cubicBezTo>
                    <a:pt x="482" y="187"/>
                    <a:pt x="482" y="187"/>
                    <a:pt x="482" y="187"/>
                  </a:cubicBezTo>
                  <a:cubicBezTo>
                    <a:pt x="483" y="188"/>
                    <a:pt x="482" y="188"/>
                    <a:pt x="482" y="189"/>
                  </a:cubicBezTo>
                  <a:cubicBezTo>
                    <a:pt x="482" y="189"/>
                    <a:pt x="482" y="189"/>
                    <a:pt x="482" y="189"/>
                  </a:cubicBezTo>
                  <a:cubicBezTo>
                    <a:pt x="483" y="189"/>
                    <a:pt x="483" y="189"/>
                    <a:pt x="483" y="189"/>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1"/>
                    <a:pt x="483" y="191"/>
                    <a:pt x="483" y="191"/>
                  </a:cubicBezTo>
                  <a:cubicBezTo>
                    <a:pt x="483" y="191"/>
                    <a:pt x="483" y="191"/>
                    <a:pt x="483" y="191"/>
                  </a:cubicBezTo>
                  <a:cubicBezTo>
                    <a:pt x="483" y="191"/>
                    <a:pt x="483" y="191"/>
                    <a:pt x="483" y="191"/>
                  </a:cubicBezTo>
                  <a:cubicBezTo>
                    <a:pt x="483" y="191"/>
                    <a:pt x="483" y="191"/>
                    <a:pt x="483" y="191"/>
                  </a:cubicBezTo>
                  <a:cubicBezTo>
                    <a:pt x="483" y="191"/>
                    <a:pt x="483" y="191"/>
                    <a:pt x="483" y="191"/>
                  </a:cubicBezTo>
                  <a:cubicBezTo>
                    <a:pt x="483" y="191"/>
                    <a:pt x="483" y="191"/>
                    <a:pt x="483" y="191"/>
                  </a:cubicBezTo>
                  <a:cubicBezTo>
                    <a:pt x="483" y="192"/>
                    <a:pt x="483" y="192"/>
                    <a:pt x="483" y="192"/>
                  </a:cubicBezTo>
                  <a:cubicBezTo>
                    <a:pt x="483" y="192"/>
                    <a:pt x="483" y="192"/>
                    <a:pt x="483" y="192"/>
                  </a:cubicBezTo>
                  <a:cubicBezTo>
                    <a:pt x="482" y="195"/>
                    <a:pt x="482" y="195"/>
                    <a:pt x="482" y="195"/>
                  </a:cubicBezTo>
                  <a:cubicBezTo>
                    <a:pt x="482" y="195"/>
                    <a:pt x="482" y="195"/>
                    <a:pt x="482" y="195"/>
                  </a:cubicBezTo>
                  <a:cubicBezTo>
                    <a:pt x="482" y="196"/>
                    <a:pt x="482" y="196"/>
                    <a:pt x="482" y="196"/>
                  </a:cubicBezTo>
                  <a:cubicBezTo>
                    <a:pt x="482" y="196"/>
                    <a:pt x="482" y="196"/>
                    <a:pt x="482" y="196"/>
                  </a:cubicBezTo>
                  <a:cubicBezTo>
                    <a:pt x="482" y="196"/>
                    <a:pt x="482" y="196"/>
                    <a:pt x="482" y="196"/>
                  </a:cubicBezTo>
                  <a:cubicBezTo>
                    <a:pt x="482" y="196"/>
                    <a:pt x="482" y="196"/>
                    <a:pt x="482" y="196"/>
                  </a:cubicBezTo>
                  <a:cubicBezTo>
                    <a:pt x="480" y="197"/>
                    <a:pt x="479" y="198"/>
                    <a:pt x="478" y="199"/>
                  </a:cubicBezTo>
                  <a:cubicBezTo>
                    <a:pt x="477" y="200"/>
                    <a:pt x="477" y="200"/>
                    <a:pt x="477" y="200"/>
                  </a:cubicBezTo>
                  <a:cubicBezTo>
                    <a:pt x="475" y="202"/>
                    <a:pt x="475" y="202"/>
                    <a:pt x="475" y="202"/>
                  </a:cubicBezTo>
                  <a:cubicBezTo>
                    <a:pt x="474" y="202"/>
                    <a:pt x="474" y="202"/>
                    <a:pt x="474" y="202"/>
                  </a:cubicBezTo>
                  <a:cubicBezTo>
                    <a:pt x="474" y="203"/>
                    <a:pt x="474" y="203"/>
                    <a:pt x="474" y="203"/>
                  </a:cubicBezTo>
                  <a:cubicBezTo>
                    <a:pt x="474" y="203"/>
                    <a:pt x="474" y="203"/>
                    <a:pt x="474" y="203"/>
                  </a:cubicBezTo>
                  <a:cubicBezTo>
                    <a:pt x="474" y="203"/>
                    <a:pt x="474" y="203"/>
                    <a:pt x="474" y="203"/>
                  </a:cubicBezTo>
                  <a:cubicBezTo>
                    <a:pt x="474" y="203"/>
                    <a:pt x="474" y="203"/>
                    <a:pt x="474" y="203"/>
                  </a:cubicBezTo>
                  <a:cubicBezTo>
                    <a:pt x="474" y="203"/>
                    <a:pt x="474" y="203"/>
                    <a:pt x="474" y="203"/>
                  </a:cubicBezTo>
                  <a:cubicBezTo>
                    <a:pt x="474" y="204"/>
                    <a:pt x="474" y="204"/>
                    <a:pt x="474" y="205"/>
                  </a:cubicBezTo>
                  <a:cubicBezTo>
                    <a:pt x="474" y="207"/>
                    <a:pt x="474" y="207"/>
                    <a:pt x="474" y="207"/>
                  </a:cubicBezTo>
                  <a:cubicBezTo>
                    <a:pt x="473" y="208"/>
                    <a:pt x="473" y="208"/>
                    <a:pt x="473" y="208"/>
                  </a:cubicBezTo>
                  <a:cubicBezTo>
                    <a:pt x="473" y="208"/>
                    <a:pt x="473" y="208"/>
                    <a:pt x="473" y="208"/>
                  </a:cubicBezTo>
                  <a:cubicBezTo>
                    <a:pt x="473" y="208"/>
                    <a:pt x="473" y="208"/>
                    <a:pt x="473" y="208"/>
                  </a:cubicBezTo>
                  <a:cubicBezTo>
                    <a:pt x="473" y="208"/>
                    <a:pt x="473" y="208"/>
                    <a:pt x="473" y="208"/>
                  </a:cubicBezTo>
                  <a:cubicBezTo>
                    <a:pt x="473" y="208"/>
                    <a:pt x="473" y="208"/>
                    <a:pt x="473" y="208"/>
                  </a:cubicBezTo>
                  <a:cubicBezTo>
                    <a:pt x="472" y="208"/>
                    <a:pt x="472" y="208"/>
                    <a:pt x="472" y="208"/>
                  </a:cubicBezTo>
                  <a:cubicBezTo>
                    <a:pt x="472" y="209"/>
                    <a:pt x="472" y="209"/>
                    <a:pt x="472" y="209"/>
                  </a:cubicBezTo>
                  <a:cubicBezTo>
                    <a:pt x="472" y="209"/>
                    <a:pt x="472" y="209"/>
                    <a:pt x="472" y="209"/>
                  </a:cubicBezTo>
                  <a:cubicBezTo>
                    <a:pt x="472" y="209"/>
                    <a:pt x="472" y="209"/>
                    <a:pt x="472" y="209"/>
                  </a:cubicBezTo>
                  <a:cubicBezTo>
                    <a:pt x="472" y="209"/>
                    <a:pt x="472" y="209"/>
                    <a:pt x="472" y="209"/>
                  </a:cubicBezTo>
                  <a:cubicBezTo>
                    <a:pt x="472" y="209"/>
                    <a:pt x="472" y="209"/>
                    <a:pt x="472" y="209"/>
                  </a:cubicBezTo>
                  <a:cubicBezTo>
                    <a:pt x="471" y="209"/>
                    <a:pt x="470" y="211"/>
                    <a:pt x="469" y="211"/>
                  </a:cubicBezTo>
                  <a:cubicBezTo>
                    <a:pt x="469" y="211"/>
                    <a:pt x="469" y="211"/>
                    <a:pt x="469" y="211"/>
                  </a:cubicBezTo>
                  <a:cubicBezTo>
                    <a:pt x="469" y="211"/>
                    <a:pt x="469" y="211"/>
                    <a:pt x="469" y="211"/>
                  </a:cubicBezTo>
                  <a:cubicBezTo>
                    <a:pt x="469" y="211"/>
                    <a:pt x="469" y="211"/>
                    <a:pt x="468" y="211"/>
                  </a:cubicBezTo>
                  <a:cubicBezTo>
                    <a:pt x="468" y="211"/>
                    <a:pt x="468" y="211"/>
                    <a:pt x="468" y="211"/>
                  </a:cubicBezTo>
                  <a:cubicBezTo>
                    <a:pt x="468" y="211"/>
                    <a:pt x="468" y="211"/>
                    <a:pt x="468" y="211"/>
                  </a:cubicBezTo>
                  <a:cubicBezTo>
                    <a:pt x="468" y="211"/>
                    <a:pt x="468" y="211"/>
                    <a:pt x="468" y="211"/>
                  </a:cubicBezTo>
                  <a:cubicBezTo>
                    <a:pt x="468" y="211"/>
                    <a:pt x="468" y="211"/>
                    <a:pt x="468" y="211"/>
                  </a:cubicBezTo>
                  <a:cubicBezTo>
                    <a:pt x="467" y="211"/>
                    <a:pt x="467" y="211"/>
                    <a:pt x="467" y="211"/>
                  </a:cubicBezTo>
                  <a:cubicBezTo>
                    <a:pt x="466" y="212"/>
                    <a:pt x="465" y="212"/>
                    <a:pt x="464" y="213"/>
                  </a:cubicBezTo>
                  <a:cubicBezTo>
                    <a:pt x="464" y="214"/>
                    <a:pt x="464" y="214"/>
                    <a:pt x="464" y="214"/>
                  </a:cubicBezTo>
                  <a:cubicBezTo>
                    <a:pt x="464" y="214"/>
                    <a:pt x="464" y="214"/>
                    <a:pt x="464" y="214"/>
                  </a:cubicBezTo>
                  <a:cubicBezTo>
                    <a:pt x="463" y="214"/>
                    <a:pt x="463" y="214"/>
                    <a:pt x="463" y="214"/>
                  </a:cubicBezTo>
                  <a:cubicBezTo>
                    <a:pt x="463" y="214"/>
                    <a:pt x="463" y="214"/>
                    <a:pt x="463" y="214"/>
                  </a:cubicBezTo>
                  <a:cubicBezTo>
                    <a:pt x="462" y="214"/>
                    <a:pt x="462" y="214"/>
                    <a:pt x="462" y="214"/>
                  </a:cubicBezTo>
                  <a:cubicBezTo>
                    <a:pt x="462" y="214"/>
                    <a:pt x="462" y="214"/>
                    <a:pt x="462" y="214"/>
                  </a:cubicBezTo>
                  <a:cubicBezTo>
                    <a:pt x="462" y="214"/>
                    <a:pt x="462" y="214"/>
                    <a:pt x="462" y="214"/>
                  </a:cubicBezTo>
                  <a:cubicBezTo>
                    <a:pt x="462" y="214"/>
                    <a:pt x="462" y="214"/>
                    <a:pt x="462" y="214"/>
                  </a:cubicBezTo>
                  <a:cubicBezTo>
                    <a:pt x="462" y="214"/>
                    <a:pt x="462" y="214"/>
                    <a:pt x="462" y="214"/>
                  </a:cubicBezTo>
                  <a:cubicBezTo>
                    <a:pt x="462" y="214"/>
                    <a:pt x="462" y="214"/>
                    <a:pt x="462" y="214"/>
                  </a:cubicBezTo>
                  <a:cubicBezTo>
                    <a:pt x="461" y="214"/>
                    <a:pt x="461" y="214"/>
                    <a:pt x="461" y="214"/>
                  </a:cubicBezTo>
                  <a:cubicBezTo>
                    <a:pt x="461" y="214"/>
                    <a:pt x="461" y="214"/>
                    <a:pt x="461" y="214"/>
                  </a:cubicBezTo>
                  <a:cubicBezTo>
                    <a:pt x="460" y="215"/>
                    <a:pt x="460" y="215"/>
                    <a:pt x="460" y="215"/>
                  </a:cubicBezTo>
                  <a:cubicBezTo>
                    <a:pt x="458" y="216"/>
                    <a:pt x="458" y="216"/>
                    <a:pt x="458" y="216"/>
                  </a:cubicBezTo>
                  <a:cubicBezTo>
                    <a:pt x="458" y="216"/>
                    <a:pt x="458" y="216"/>
                    <a:pt x="458" y="216"/>
                  </a:cubicBezTo>
                  <a:cubicBezTo>
                    <a:pt x="457" y="216"/>
                    <a:pt x="457" y="216"/>
                    <a:pt x="457" y="216"/>
                  </a:cubicBezTo>
                  <a:cubicBezTo>
                    <a:pt x="458" y="216"/>
                    <a:pt x="458" y="216"/>
                    <a:pt x="458" y="216"/>
                  </a:cubicBezTo>
                  <a:cubicBezTo>
                    <a:pt x="458" y="216"/>
                    <a:pt x="458" y="216"/>
                    <a:pt x="458" y="216"/>
                  </a:cubicBezTo>
                  <a:cubicBezTo>
                    <a:pt x="458" y="216"/>
                    <a:pt x="458" y="216"/>
                    <a:pt x="458" y="216"/>
                  </a:cubicBezTo>
                  <a:cubicBezTo>
                    <a:pt x="458" y="216"/>
                    <a:pt x="458" y="216"/>
                    <a:pt x="458" y="216"/>
                  </a:cubicBezTo>
                  <a:cubicBezTo>
                    <a:pt x="458" y="216"/>
                    <a:pt x="458" y="216"/>
                    <a:pt x="458" y="216"/>
                  </a:cubicBezTo>
                  <a:cubicBezTo>
                    <a:pt x="458" y="216"/>
                    <a:pt x="458" y="216"/>
                    <a:pt x="458" y="216"/>
                  </a:cubicBezTo>
                  <a:cubicBezTo>
                    <a:pt x="458" y="217"/>
                    <a:pt x="458" y="217"/>
                    <a:pt x="458" y="217"/>
                  </a:cubicBezTo>
                  <a:cubicBezTo>
                    <a:pt x="458" y="217"/>
                    <a:pt x="458" y="217"/>
                    <a:pt x="458" y="217"/>
                  </a:cubicBezTo>
                  <a:cubicBezTo>
                    <a:pt x="458" y="217"/>
                    <a:pt x="458" y="217"/>
                    <a:pt x="458" y="217"/>
                  </a:cubicBezTo>
                  <a:cubicBezTo>
                    <a:pt x="458" y="217"/>
                    <a:pt x="458" y="217"/>
                    <a:pt x="458" y="217"/>
                  </a:cubicBezTo>
                  <a:cubicBezTo>
                    <a:pt x="458" y="218"/>
                    <a:pt x="458" y="218"/>
                    <a:pt x="458" y="218"/>
                  </a:cubicBezTo>
                  <a:cubicBezTo>
                    <a:pt x="458" y="219"/>
                    <a:pt x="458" y="219"/>
                    <a:pt x="458" y="219"/>
                  </a:cubicBezTo>
                  <a:cubicBezTo>
                    <a:pt x="458" y="220"/>
                    <a:pt x="458" y="220"/>
                    <a:pt x="458" y="220"/>
                  </a:cubicBezTo>
                  <a:cubicBezTo>
                    <a:pt x="457" y="220"/>
                    <a:pt x="457" y="220"/>
                    <a:pt x="457" y="220"/>
                  </a:cubicBezTo>
                  <a:cubicBezTo>
                    <a:pt x="457" y="220"/>
                    <a:pt x="457" y="220"/>
                    <a:pt x="457" y="220"/>
                  </a:cubicBezTo>
                  <a:cubicBezTo>
                    <a:pt x="457" y="220"/>
                    <a:pt x="457" y="220"/>
                    <a:pt x="457" y="220"/>
                  </a:cubicBezTo>
                  <a:cubicBezTo>
                    <a:pt x="456" y="220"/>
                    <a:pt x="456" y="220"/>
                    <a:pt x="456" y="220"/>
                  </a:cubicBezTo>
                  <a:cubicBezTo>
                    <a:pt x="456" y="220"/>
                    <a:pt x="456" y="220"/>
                    <a:pt x="456" y="220"/>
                  </a:cubicBezTo>
                  <a:cubicBezTo>
                    <a:pt x="456" y="220"/>
                    <a:pt x="456" y="220"/>
                    <a:pt x="456" y="220"/>
                  </a:cubicBezTo>
                  <a:cubicBezTo>
                    <a:pt x="455" y="221"/>
                    <a:pt x="455" y="221"/>
                    <a:pt x="455" y="221"/>
                  </a:cubicBezTo>
                  <a:cubicBezTo>
                    <a:pt x="455" y="221"/>
                    <a:pt x="455" y="221"/>
                    <a:pt x="455" y="221"/>
                  </a:cubicBezTo>
                  <a:cubicBezTo>
                    <a:pt x="454" y="221"/>
                    <a:pt x="454" y="221"/>
                    <a:pt x="454" y="221"/>
                  </a:cubicBezTo>
                  <a:cubicBezTo>
                    <a:pt x="454" y="221"/>
                    <a:pt x="454" y="221"/>
                    <a:pt x="454" y="221"/>
                  </a:cubicBezTo>
                  <a:cubicBezTo>
                    <a:pt x="454" y="221"/>
                    <a:pt x="454" y="221"/>
                    <a:pt x="454" y="221"/>
                  </a:cubicBezTo>
                  <a:cubicBezTo>
                    <a:pt x="454" y="221"/>
                    <a:pt x="454" y="221"/>
                    <a:pt x="454" y="221"/>
                  </a:cubicBezTo>
                  <a:cubicBezTo>
                    <a:pt x="454" y="221"/>
                    <a:pt x="454" y="221"/>
                    <a:pt x="454" y="221"/>
                  </a:cubicBezTo>
                  <a:cubicBezTo>
                    <a:pt x="454" y="221"/>
                    <a:pt x="454" y="221"/>
                    <a:pt x="454" y="221"/>
                  </a:cubicBezTo>
                  <a:cubicBezTo>
                    <a:pt x="454" y="221"/>
                    <a:pt x="454" y="221"/>
                    <a:pt x="454" y="221"/>
                  </a:cubicBezTo>
                  <a:cubicBezTo>
                    <a:pt x="453" y="220"/>
                    <a:pt x="453" y="221"/>
                    <a:pt x="452" y="221"/>
                  </a:cubicBezTo>
                  <a:cubicBezTo>
                    <a:pt x="452" y="221"/>
                    <a:pt x="452" y="221"/>
                    <a:pt x="452" y="221"/>
                  </a:cubicBezTo>
                  <a:cubicBezTo>
                    <a:pt x="452" y="221"/>
                    <a:pt x="452" y="221"/>
                    <a:pt x="452" y="221"/>
                  </a:cubicBezTo>
                  <a:cubicBezTo>
                    <a:pt x="452" y="220"/>
                    <a:pt x="452" y="220"/>
                    <a:pt x="452" y="220"/>
                  </a:cubicBezTo>
                  <a:cubicBezTo>
                    <a:pt x="451" y="220"/>
                    <a:pt x="451" y="220"/>
                    <a:pt x="451" y="220"/>
                  </a:cubicBezTo>
                  <a:cubicBezTo>
                    <a:pt x="451" y="219"/>
                    <a:pt x="451" y="219"/>
                    <a:pt x="451" y="219"/>
                  </a:cubicBezTo>
                  <a:cubicBezTo>
                    <a:pt x="451" y="219"/>
                    <a:pt x="451" y="219"/>
                    <a:pt x="451" y="219"/>
                  </a:cubicBezTo>
                  <a:cubicBezTo>
                    <a:pt x="451" y="219"/>
                    <a:pt x="451" y="219"/>
                    <a:pt x="451" y="219"/>
                  </a:cubicBezTo>
                  <a:cubicBezTo>
                    <a:pt x="451" y="219"/>
                    <a:pt x="451" y="219"/>
                    <a:pt x="451" y="219"/>
                  </a:cubicBezTo>
                  <a:cubicBezTo>
                    <a:pt x="449" y="219"/>
                    <a:pt x="449" y="219"/>
                    <a:pt x="447" y="219"/>
                  </a:cubicBezTo>
                  <a:cubicBezTo>
                    <a:pt x="447" y="219"/>
                    <a:pt x="447" y="219"/>
                    <a:pt x="447" y="219"/>
                  </a:cubicBezTo>
                  <a:cubicBezTo>
                    <a:pt x="447" y="219"/>
                    <a:pt x="447" y="219"/>
                    <a:pt x="447" y="219"/>
                  </a:cubicBezTo>
                  <a:cubicBezTo>
                    <a:pt x="445" y="219"/>
                    <a:pt x="444" y="218"/>
                    <a:pt x="443" y="219"/>
                  </a:cubicBezTo>
                  <a:cubicBezTo>
                    <a:pt x="443" y="219"/>
                    <a:pt x="443" y="219"/>
                    <a:pt x="443" y="219"/>
                  </a:cubicBezTo>
                  <a:cubicBezTo>
                    <a:pt x="443" y="219"/>
                    <a:pt x="443" y="219"/>
                    <a:pt x="443" y="219"/>
                  </a:cubicBezTo>
                  <a:cubicBezTo>
                    <a:pt x="443" y="219"/>
                    <a:pt x="443" y="219"/>
                    <a:pt x="443" y="219"/>
                  </a:cubicBezTo>
                  <a:cubicBezTo>
                    <a:pt x="443" y="219"/>
                    <a:pt x="443" y="219"/>
                    <a:pt x="443" y="219"/>
                  </a:cubicBezTo>
                  <a:cubicBezTo>
                    <a:pt x="442" y="219"/>
                    <a:pt x="442" y="219"/>
                    <a:pt x="442" y="219"/>
                  </a:cubicBezTo>
                  <a:cubicBezTo>
                    <a:pt x="438" y="219"/>
                    <a:pt x="439" y="220"/>
                    <a:pt x="435" y="218"/>
                  </a:cubicBezTo>
                  <a:cubicBezTo>
                    <a:pt x="434" y="218"/>
                    <a:pt x="434" y="218"/>
                    <a:pt x="434" y="218"/>
                  </a:cubicBezTo>
                  <a:cubicBezTo>
                    <a:pt x="434" y="218"/>
                    <a:pt x="434" y="218"/>
                    <a:pt x="434" y="218"/>
                  </a:cubicBezTo>
                  <a:cubicBezTo>
                    <a:pt x="434" y="218"/>
                    <a:pt x="434" y="218"/>
                    <a:pt x="434" y="218"/>
                  </a:cubicBezTo>
                  <a:cubicBezTo>
                    <a:pt x="432" y="218"/>
                    <a:pt x="433" y="217"/>
                    <a:pt x="431" y="217"/>
                  </a:cubicBezTo>
                  <a:cubicBezTo>
                    <a:pt x="431" y="216"/>
                    <a:pt x="431" y="216"/>
                    <a:pt x="431" y="216"/>
                  </a:cubicBezTo>
                  <a:cubicBezTo>
                    <a:pt x="430" y="216"/>
                    <a:pt x="430" y="216"/>
                    <a:pt x="430" y="216"/>
                  </a:cubicBezTo>
                  <a:cubicBezTo>
                    <a:pt x="429" y="216"/>
                    <a:pt x="428" y="216"/>
                    <a:pt x="427" y="215"/>
                  </a:cubicBezTo>
                  <a:cubicBezTo>
                    <a:pt x="426" y="215"/>
                    <a:pt x="426" y="215"/>
                    <a:pt x="426" y="215"/>
                  </a:cubicBezTo>
                  <a:cubicBezTo>
                    <a:pt x="425" y="214"/>
                    <a:pt x="425" y="214"/>
                    <a:pt x="425" y="214"/>
                  </a:cubicBezTo>
                  <a:cubicBezTo>
                    <a:pt x="424" y="211"/>
                    <a:pt x="424" y="211"/>
                    <a:pt x="424" y="211"/>
                  </a:cubicBezTo>
                  <a:cubicBezTo>
                    <a:pt x="423" y="211"/>
                    <a:pt x="423" y="211"/>
                    <a:pt x="423" y="211"/>
                  </a:cubicBezTo>
                  <a:cubicBezTo>
                    <a:pt x="427" y="211"/>
                    <a:pt x="427" y="211"/>
                    <a:pt x="427" y="211"/>
                  </a:cubicBezTo>
                  <a:cubicBezTo>
                    <a:pt x="432" y="210"/>
                    <a:pt x="432" y="210"/>
                    <a:pt x="432" y="210"/>
                  </a:cubicBezTo>
                  <a:cubicBezTo>
                    <a:pt x="433" y="210"/>
                    <a:pt x="433" y="210"/>
                    <a:pt x="433" y="210"/>
                  </a:cubicBezTo>
                  <a:cubicBezTo>
                    <a:pt x="433" y="210"/>
                    <a:pt x="433" y="210"/>
                    <a:pt x="433" y="210"/>
                  </a:cubicBezTo>
                  <a:cubicBezTo>
                    <a:pt x="433" y="210"/>
                    <a:pt x="433" y="210"/>
                    <a:pt x="433" y="210"/>
                  </a:cubicBezTo>
                  <a:cubicBezTo>
                    <a:pt x="433" y="210"/>
                    <a:pt x="433" y="210"/>
                    <a:pt x="433" y="210"/>
                  </a:cubicBezTo>
                  <a:cubicBezTo>
                    <a:pt x="433" y="210"/>
                    <a:pt x="433" y="210"/>
                    <a:pt x="433" y="210"/>
                  </a:cubicBezTo>
                  <a:cubicBezTo>
                    <a:pt x="434" y="211"/>
                    <a:pt x="434" y="211"/>
                    <a:pt x="434" y="211"/>
                  </a:cubicBezTo>
                  <a:cubicBezTo>
                    <a:pt x="435" y="211"/>
                    <a:pt x="435" y="211"/>
                    <a:pt x="435" y="211"/>
                  </a:cubicBezTo>
                  <a:cubicBezTo>
                    <a:pt x="436" y="212"/>
                    <a:pt x="436" y="212"/>
                    <a:pt x="436" y="212"/>
                  </a:cubicBezTo>
                  <a:cubicBezTo>
                    <a:pt x="437" y="213"/>
                    <a:pt x="437" y="213"/>
                    <a:pt x="437" y="213"/>
                  </a:cubicBezTo>
                  <a:cubicBezTo>
                    <a:pt x="438" y="213"/>
                    <a:pt x="438" y="213"/>
                    <a:pt x="438" y="213"/>
                  </a:cubicBezTo>
                  <a:cubicBezTo>
                    <a:pt x="438" y="213"/>
                    <a:pt x="438" y="213"/>
                    <a:pt x="438" y="213"/>
                  </a:cubicBezTo>
                  <a:cubicBezTo>
                    <a:pt x="438" y="213"/>
                    <a:pt x="438" y="213"/>
                    <a:pt x="438" y="213"/>
                  </a:cubicBezTo>
                  <a:cubicBezTo>
                    <a:pt x="438" y="213"/>
                    <a:pt x="438" y="213"/>
                    <a:pt x="438"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2"/>
                    <a:pt x="439" y="212"/>
                    <a:pt x="439" y="212"/>
                  </a:cubicBezTo>
                  <a:cubicBezTo>
                    <a:pt x="439" y="212"/>
                    <a:pt x="440" y="212"/>
                    <a:pt x="440" y="212"/>
                  </a:cubicBezTo>
                  <a:cubicBezTo>
                    <a:pt x="440" y="212"/>
                    <a:pt x="440" y="212"/>
                    <a:pt x="440" y="212"/>
                  </a:cubicBezTo>
                  <a:cubicBezTo>
                    <a:pt x="440" y="212"/>
                    <a:pt x="440" y="212"/>
                    <a:pt x="440" y="212"/>
                  </a:cubicBezTo>
                  <a:cubicBezTo>
                    <a:pt x="440" y="212"/>
                    <a:pt x="440" y="212"/>
                    <a:pt x="440" y="212"/>
                  </a:cubicBezTo>
                  <a:cubicBezTo>
                    <a:pt x="439" y="212"/>
                    <a:pt x="439" y="212"/>
                    <a:pt x="439" y="212"/>
                  </a:cubicBezTo>
                  <a:cubicBezTo>
                    <a:pt x="439" y="212"/>
                    <a:pt x="439" y="212"/>
                    <a:pt x="439" y="212"/>
                  </a:cubicBezTo>
                  <a:cubicBezTo>
                    <a:pt x="440" y="212"/>
                    <a:pt x="440" y="212"/>
                    <a:pt x="440" y="212"/>
                  </a:cubicBezTo>
                  <a:cubicBezTo>
                    <a:pt x="440" y="212"/>
                    <a:pt x="440" y="212"/>
                    <a:pt x="440" y="212"/>
                  </a:cubicBezTo>
                  <a:cubicBezTo>
                    <a:pt x="440" y="212"/>
                    <a:pt x="440" y="212"/>
                    <a:pt x="440" y="212"/>
                  </a:cubicBezTo>
                  <a:cubicBezTo>
                    <a:pt x="440" y="212"/>
                    <a:pt x="440" y="212"/>
                    <a:pt x="440" y="212"/>
                  </a:cubicBezTo>
                  <a:cubicBezTo>
                    <a:pt x="441" y="212"/>
                    <a:pt x="441" y="212"/>
                    <a:pt x="441" y="212"/>
                  </a:cubicBezTo>
                  <a:cubicBezTo>
                    <a:pt x="441" y="212"/>
                    <a:pt x="441" y="212"/>
                    <a:pt x="441" y="212"/>
                  </a:cubicBezTo>
                  <a:cubicBezTo>
                    <a:pt x="441" y="212"/>
                    <a:pt x="441" y="212"/>
                    <a:pt x="441" y="212"/>
                  </a:cubicBezTo>
                  <a:cubicBezTo>
                    <a:pt x="441" y="212"/>
                    <a:pt x="441" y="212"/>
                    <a:pt x="441" y="212"/>
                  </a:cubicBezTo>
                  <a:cubicBezTo>
                    <a:pt x="442" y="212"/>
                    <a:pt x="442" y="212"/>
                    <a:pt x="442" y="212"/>
                  </a:cubicBezTo>
                  <a:cubicBezTo>
                    <a:pt x="452" y="209"/>
                    <a:pt x="452" y="209"/>
                    <a:pt x="452" y="209"/>
                  </a:cubicBezTo>
                  <a:cubicBezTo>
                    <a:pt x="452" y="209"/>
                    <a:pt x="452" y="209"/>
                    <a:pt x="452" y="209"/>
                  </a:cubicBezTo>
                  <a:cubicBezTo>
                    <a:pt x="452" y="209"/>
                    <a:pt x="452" y="209"/>
                    <a:pt x="452" y="209"/>
                  </a:cubicBezTo>
                  <a:cubicBezTo>
                    <a:pt x="452" y="208"/>
                    <a:pt x="453" y="208"/>
                    <a:pt x="453" y="208"/>
                  </a:cubicBezTo>
                  <a:cubicBezTo>
                    <a:pt x="453" y="208"/>
                    <a:pt x="453" y="208"/>
                    <a:pt x="453" y="208"/>
                  </a:cubicBezTo>
                  <a:cubicBezTo>
                    <a:pt x="453" y="208"/>
                    <a:pt x="453" y="208"/>
                    <a:pt x="453" y="208"/>
                  </a:cubicBezTo>
                  <a:cubicBezTo>
                    <a:pt x="453" y="208"/>
                    <a:pt x="453" y="208"/>
                    <a:pt x="453" y="208"/>
                  </a:cubicBezTo>
                  <a:cubicBezTo>
                    <a:pt x="453" y="208"/>
                    <a:pt x="453" y="208"/>
                    <a:pt x="453" y="208"/>
                  </a:cubicBezTo>
                  <a:cubicBezTo>
                    <a:pt x="454" y="207"/>
                    <a:pt x="455" y="207"/>
                    <a:pt x="455" y="206"/>
                  </a:cubicBezTo>
                  <a:cubicBezTo>
                    <a:pt x="456" y="205"/>
                    <a:pt x="456" y="205"/>
                    <a:pt x="456" y="205"/>
                  </a:cubicBezTo>
                  <a:cubicBezTo>
                    <a:pt x="456" y="205"/>
                    <a:pt x="456" y="205"/>
                    <a:pt x="456" y="205"/>
                  </a:cubicBezTo>
                  <a:cubicBezTo>
                    <a:pt x="457" y="205"/>
                    <a:pt x="457" y="205"/>
                    <a:pt x="457" y="205"/>
                  </a:cubicBezTo>
                  <a:cubicBezTo>
                    <a:pt x="457" y="205"/>
                    <a:pt x="457" y="205"/>
                    <a:pt x="457" y="205"/>
                  </a:cubicBezTo>
                  <a:cubicBezTo>
                    <a:pt x="457" y="204"/>
                    <a:pt x="457" y="204"/>
                    <a:pt x="457" y="204"/>
                  </a:cubicBezTo>
                  <a:cubicBezTo>
                    <a:pt x="457" y="204"/>
                    <a:pt x="457" y="204"/>
                    <a:pt x="457" y="204"/>
                  </a:cubicBezTo>
                  <a:cubicBezTo>
                    <a:pt x="457" y="204"/>
                    <a:pt x="457" y="204"/>
                    <a:pt x="457" y="204"/>
                  </a:cubicBezTo>
                  <a:cubicBezTo>
                    <a:pt x="457" y="204"/>
                    <a:pt x="457" y="204"/>
                    <a:pt x="457" y="204"/>
                  </a:cubicBezTo>
                  <a:cubicBezTo>
                    <a:pt x="456" y="204"/>
                    <a:pt x="456" y="204"/>
                    <a:pt x="456" y="204"/>
                  </a:cubicBezTo>
                  <a:cubicBezTo>
                    <a:pt x="456" y="204"/>
                    <a:pt x="456" y="204"/>
                    <a:pt x="456" y="204"/>
                  </a:cubicBezTo>
                  <a:cubicBezTo>
                    <a:pt x="457" y="204"/>
                    <a:pt x="457" y="204"/>
                    <a:pt x="457" y="204"/>
                  </a:cubicBezTo>
                  <a:cubicBezTo>
                    <a:pt x="457" y="203"/>
                    <a:pt x="457" y="203"/>
                    <a:pt x="457" y="203"/>
                  </a:cubicBezTo>
                  <a:cubicBezTo>
                    <a:pt x="458" y="203"/>
                    <a:pt x="458" y="203"/>
                    <a:pt x="458" y="203"/>
                  </a:cubicBezTo>
                  <a:cubicBezTo>
                    <a:pt x="458" y="202"/>
                    <a:pt x="458" y="202"/>
                    <a:pt x="458" y="202"/>
                  </a:cubicBezTo>
                  <a:cubicBezTo>
                    <a:pt x="458" y="202"/>
                    <a:pt x="458" y="202"/>
                    <a:pt x="458" y="202"/>
                  </a:cubicBezTo>
                  <a:cubicBezTo>
                    <a:pt x="459" y="202"/>
                    <a:pt x="459" y="202"/>
                    <a:pt x="459" y="202"/>
                  </a:cubicBezTo>
                  <a:cubicBezTo>
                    <a:pt x="459" y="202"/>
                    <a:pt x="459" y="202"/>
                    <a:pt x="459" y="202"/>
                  </a:cubicBezTo>
                  <a:cubicBezTo>
                    <a:pt x="459" y="202"/>
                    <a:pt x="459" y="202"/>
                    <a:pt x="459" y="202"/>
                  </a:cubicBezTo>
                  <a:cubicBezTo>
                    <a:pt x="459" y="201"/>
                    <a:pt x="459" y="201"/>
                    <a:pt x="459" y="201"/>
                  </a:cubicBezTo>
                  <a:cubicBezTo>
                    <a:pt x="459" y="201"/>
                    <a:pt x="459" y="201"/>
                    <a:pt x="459" y="201"/>
                  </a:cubicBezTo>
                  <a:cubicBezTo>
                    <a:pt x="459" y="201"/>
                    <a:pt x="459" y="201"/>
                    <a:pt x="459" y="201"/>
                  </a:cubicBezTo>
                  <a:cubicBezTo>
                    <a:pt x="459" y="200"/>
                    <a:pt x="459" y="200"/>
                    <a:pt x="459" y="200"/>
                  </a:cubicBezTo>
                  <a:cubicBezTo>
                    <a:pt x="459" y="200"/>
                    <a:pt x="459" y="200"/>
                    <a:pt x="459" y="200"/>
                  </a:cubicBezTo>
                  <a:cubicBezTo>
                    <a:pt x="461" y="199"/>
                    <a:pt x="461" y="199"/>
                    <a:pt x="461" y="199"/>
                  </a:cubicBezTo>
                  <a:cubicBezTo>
                    <a:pt x="464" y="197"/>
                    <a:pt x="464" y="197"/>
                    <a:pt x="464" y="197"/>
                  </a:cubicBezTo>
                  <a:cubicBezTo>
                    <a:pt x="465" y="196"/>
                    <a:pt x="465" y="196"/>
                    <a:pt x="465" y="196"/>
                  </a:cubicBezTo>
                  <a:cubicBezTo>
                    <a:pt x="466" y="195"/>
                    <a:pt x="466" y="195"/>
                    <a:pt x="466" y="195"/>
                  </a:cubicBezTo>
                  <a:cubicBezTo>
                    <a:pt x="466" y="195"/>
                    <a:pt x="466" y="195"/>
                    <a:pt x="466" y="195"/>
                  </a:cubicBezTo>
                  <a:cubicBezTo>
                    <a:pt x="466" y="195"/>
                    <a:pt x="466" y="195"/>
                    <a:pt x="466" y="195"/>
                  </a:cubicBezTo>
                  <a:cubicBezTo>
                    <a:pt x="466" y="195"/>
                    <a:pt x="466" y="195"/>
                    <a:pt x="466" y="195"/>
                  </a:cubicBezTo>
                  <a:cubicBezTo>
                    <a:pt x="466" y="195"/>
                    <a:pt x="466" y="195"/>
                    <a:pt x="466" y="195"/>
                  </a:cubicBezTo>
                  <a:cubicBezTo>
                    <a:pt x="466" y="194"/>
                    <a:pt x="465" y="194"/>
                    <a:pt x="465" y="194"/>
                  </a:cubicBezTo>
                  <a:cubicBezTo>
                    <a:pt x="465" y="194"/>
                    <a:pt x="465" y="194"/>
                    <a:pt x="465" y="194"/>
                  </a:cubicBezTo>
                  <a:cubicBezTo>
                    <a:pt x="466" y="194"/>
                    <a:pt x="466" y="194"/>
                    <a:pt x="466" y="194"/>
                  </a:cubicBezTo>
                  <a:cubicBezTo>
                    <a:pt x="466" y="193"/>
                    <a:pt x="466" y="193"/>
                    <a:pt x="466" y="193"/>
                  </a:cubicBezTo>
                  <a:cubicBezTo>
                    <a:pt x="466" y="193"/>
                    <a:pt x="466" y="193"/>
                    <a:pt x="466" y="193"/>
                  </a:cubicBezTo>
                  <a:cubicBezTo>
                    <a:pt x="467" y="193"/>
                    <a:pt x="467" y="193"/>
                    <a:pt x="467" y="192"/>
                  </a:cubicBezTo>
                  <a:cubicBezTo>
                    <a:pt x="467" y="192"/>
                    <a:pt x="467" y="192"/>
                    <a:pt x="467" y="192"/>
                  </a:cubicBezTo>
                  <a:cubicBezTo>
                    <a:pt x="467" y="192"/>
                    <a:pt x="467" y="192"/>
                    <a:pt x="467" y="192"/>
                  </a:cubicBezTo>
                  <a:cubicBezTo>
                    <a:pt x="467" y="192"/>
                    <a:pt x="467" y="192"/>
                    <a:pt x="467" y="192"/>
                  </a:cubicBezTo>
                  <a:cubicBezTo>
                    <a:pt x="467" y="192"/>
                    <a:pt x="467" y="192"/>
                    <a:pt x="467" y="192"/>
                  </a:cubicBezTo>
                  <a:cubicBezTo>
                    <a:pt x="467" y="191"/>
                    <a:pt x="467" y="191"/>
                    <a:pt x="467" y="191"/>
                  </a:cubicBezTo>
                  <a:cubicBezTo>
                    <a:pt x="467" y="191"/>
                    <a:pt x="467" y="191"/>
                    <a:pt x="467" y="191"/>
                  </a:cubicBezTo>
                  <a:cubicBezTo>
                    <a:pt x="467" y="191"/>
                    <a:pt x="467" y="191"/>
                    <a:pt x="467" y="191"/>
                  </a:cubicBezTo>
                  <a:cubicBezTo>
                    <a:pt x="467" y="191"/>
                    <a:pt x="467" y="191"/>
                    <a:pt x="467" y="191"/>
                  </a:cubicBezTo>
                  <a:cubicBezTo>
                    <a:pt x="467" y="191"/>
                    <a:pt x="467" y="191"/>
                    <a:pt x="467" y="191"/>
                  </a:cubicBezTo>
                  <a:cubicBezTo>
                    <a:pt x="467" y="191"/>
                    <a:pt x="467" y="191"/>
                    <a:pt x="467" y="191"/>
                  </a:cubicBezTo>
                  <a:cubicBezTo>
                    <a:pt x="466" y="191"/>
                    <a:pt x="466" y="191"/>
                    <a:pt x="466" y="191"/>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89"/>
                    <a:pt x="465" y="189"/>
                    <a:pt x="466" y="188"/>
                  </a:cubicBezTo>
                  <a:cubicBezTo>
                    <a:pt x="466" y="188"/>
                    <a:pt x="466" y="188"/>
                    <a:pt x="466" y="188"/>
                  </a:cubicBezTo>
                  <a:cubicBezTo>
                    <a:pt x="466" y="187"/>
                    <a:pt x="466" y="187"/>
                    <a:pt x="466" y="187"/>
                  </a:cubicBezTo>
                  <a:cubicBezTo>
                    <a:pt x="467" y="186"/>
                    <a:pt x="467" y="186"/>
                    <a:pt x="467" y="186"/>
                  </a:cubicBezTo>
                  <a:cubicBezTo>
                    <a:pt x="470" y="184"/>
                    <a:pt x="470" y="184"/>
                    <a:pt x="470" y="184"/>
                  </a:cubicBezTo>
                  <a:cubicBezTo>
                    <a:pt x="471" y="183"/>
                    <a:pt x="471" y="183"/>
                    <a:pt x="471" y="183"/>
                  </a:cubicBezTo>
                  <a:cubicBezTo>
                    <a:pt x="471" y="182"/>
                    <a:pt x="471" y="182"/>
                    <a:pt x="471" y="182"/>
                  </a:cubicBezTo>
                  <a:cubicBezTo>
                    <a:pt x="471" y="181"/>
                    <a:pt x="471" y="181"/>
                    <a:pt x="471" y="181"/>
                  </a:cubicBezTo>
                  <a:cubicBezTo>
                    <a:pt x="470" y="180"/>
                    <a:pt x="470" y="180"/>
                    <a:pt x="470" y="180"/>
                  </a:cubicBezTo>
                  <a:cubicBezTo>
                    <a:pt x="470" y="180"/>
                    <a:pt x="470" y="180"/>
                    <a:pt x="470" y="180"/>
                  </a:cubicBezTo>
                  <a:cubicBezTo>
                    <a:pt x="469" y="179"/>
                    <a:pt x="469" y="180"/>
                    <a:pt x="468" y="179"/>
                  </a:cubicBezTo>
                  <a:cubicBezTo>
                    <a:pt x="468" y="179"/>
                    <a:pt x="468" y="179"/>
                    <a:pt x="468" y="179"/>
                  </a:cubicBezTo>
                  <a:cubicBezTo>
                    <a:pt x="468" y="179"/>
                    <a:pt x="468" y="179"/>
                    <a:pt x="468" y="179"/>
                  </a:cubicBezTo>
                  <a:cubicBezTo>
                    <a:pt x="468" y="179"/>
                    <a:pt x="468" y="179"/>
                    <a:pt x="468" y="179"/>
                  </a:cubicBezTo>
                  <a:cubicBezTo>
                    <a:pt x="465" y="177"/>
                    <a:pt x="465" y="177"/>
                    <a:pt x="462" y="176"/>
                  </a:cubicBezTo>
                  <a:cubicBezTo>
                    <a:pt x="462" y="176"/>
                    <a:pt x="462" y="176"/>
                    <a:pt x="462" y="176"/>
                  </a:cubicBezTo>
                  <a:cubicBezTo>
                    <a:pt x="462" y="176"/>
                    <a:pt x="462" y="176"/>
                    <a:pt x="462" y="176"/>
                  </a:cubicBezTo>
                  <a:cubicBezTo>
                    <a:pt x="462" y="175"/>
                    <a:pt x="462" y="175"/>
                    <a:pt x="462" y="175"/>
                  </a:cubicBezTo>
                  <a:cubicBezTo>
                    <a:pt x="462" y="175"/>
                    <a:pt x="462" y="175"/>
                    <a:pt x="462" y="175"/>
                  </a:cubicBezTo>
                  <a:cubicBezTo>
                    <a:pt x="462" y="175"/>
                    <a:pt x="462" y="175"/>
                    <a:pt x="462" y="175"/>
                  </a:cubicBezTo>
                  <a:cubicBezTo>
                    <a:pt x="461" y="175"/>
                    <a:pt x="461" y="175"/>
                    <a:pt x="461" y="175"/>
                  </a:cubicBezTo>
                  <a:cubicBezTo>
                    <a:pt x="461" y="175"/>
                    <a:pt x="461" y="175"/>
                    <a:pt x="461" y="175"/>
                  </a:cubicBezTo>
                  <a:cubicBezTo>
                    <a:pt x="461" y="175"/>
                    <a:pt x="460" y="174"/>
                    <a:pt x="460" y="174"/>
                  </a:cubicBezTo>
                  <a:cubicBezTo>
                    <a:pt x="460" y="173"/>
                    <a:pt x="460" y="173"/>
                    <a:pt x="460" y="173"/>
                  </a:cubicBezTo>
                  <a:cubicBezTo>
                    <a:pt x="460" y="173"/>
                    <a:pt x="460" y="173"/>
                    <a:pt x="460" y="173"/>
                  </a:cubicBezTo>
                  <a:cubicBezTo>
                    <a:pt x="460" y="173"/>
                    <a:pt x="460" y="172"/>
                    <a:pt x="460" y="172"/>
                  </a:cubicBezTo>
                  <a:cubicBezTo>
                    <a:pt x="460" y="172"/>
                    <a:pt x="460" y="172"/>
                    <a:pt x="460" y="172"/>
                  </a:cubicBezTo>
                  <a:cubicBezTo>
                    <a:pt x="460" y="172"/>
                    <a:pt x="460" y="172"/>
                    <a:pt x="460" y="172"/>
                  </a:cubicBezTo>
                  <a:cubicBezTo>
                    <a:pt x="460" y="172"/>
                    <a:pt x="460" y="172"/>
                    <a:pt x="460" y="172"/>
                  </a:cubicBezTo>
                  <a:cubicBezTo>
                    <a:pt x="460" y="172"/>
                    <a:pt x="460" y="172"/>
                    <a:pt x="460" y="172"/>
                  </a:cubicBezTo>
                  <a:cubicBezTo>
                    <a:pt x="460" y="172"/>
                    <a:pt x="460" y="172"/>
                    <a:pt x="460" y="172"/>
                  </a:cubicBezTo>
                  <a:cubicBezTo>
                    <a:pt x="460" y="170"/>
                    <a:pt x="461" y="169"/>
                    <a:pt x="461" y="167"/>
                  </a:cubicBezTo>
                  <a:cubicBezTo>
                    <a:pt x="461" y="167"/>
                    <a:pt x="461" y="167"/>
                    <a:pt x="461" y="167"/>
                  </a:cubicBezTo>
                  <a:cubicBezTo>
                    <a:pt x="461" y="167"/>
                    <a:pt x="461" y="167"/>
                    <a:pt x="461" y="167"/>
                  </a:cubicBezTo>
                  <a:cubicBezTo>
                    <a:pt x="461" y="167"/>
                    <a:pt x="461" y="167"/>
                    <a:pt x="461" y="166"/>
                  </a:cubicBezTo>
                  <a:cubicBezTo>
                    <a:pt x="461" y="166"/>
                    <a:pt x="461" y="166"/>
                    <a:pt x="461" y="166"/>
                  </a:cubicBezTo>
                  <a:cubicBezTo>
                    <a:pt x="461" y="166"/>
                    <a:pt x="461" y="166"/>
                    <a:pt x="461" y="166"/>
                  </a:cubicBezTo>
                  <a:cubicBezTo>
                    <a:pt x="461" y="166"/>
                    <a:pt x="461" y="166"/>
                    <a:pt x="461" y="166"/>
                  </a:cubicBezTo>
                  <a:cubicBezTo>
                    <a:pt x="461" y="165"/>
                    <a:pt x="461" y="164"/>
                    <a:pt x="461" y="163"/>
                  </a:cubicBezTo>
                  <a:cubicBezTo>
                    <a:pt x="461" y="163"/>
                    <a:pt x="461" y="163"/>
                    <a:pt x="461" y="163"/>
                  </a:cubicBezTo>
                  <a:cubicBezTo>
                    <a:pt x="461" y="163"/>
                    <a:pt x="461" y="163"/>
                    <a:pt x="461" y="163"/>
                  </a:cubicBezTo>
                  <a:cubicBezTo>
                    <a:pt x="460" y="163"/>
                    <a:pt x="460" y="163"/>
                    <a:pt x="460" y="163"/>
                  </a:cubicBezTo>
                  <a:cubicBezTo>
                    <a:pt x="460" y="163"/>
                    <a:pt x="460" y="163"/>
                    <a:pt x="460" y="163"/>
                  </a:cubicBezTo>
                  <a:cubicBezTo>
                    <a:pt x="460" y="163"/>
                    <a:pt x="460" y="163"/>
                    <a:pt x="460" y="163"/>
                  </a:cubicBezTo>
                  <a:cubicBezTo>
                    <a:pt x="460" y="162"/>
                    <a:pt x="460" y="162"/>
                    <a:pt x="460" y="162"/>
                  </a:cubicBezTo>
                  <a:cubicBezTo>
                    <a:pt x="460" y="162"/>
                    <a:pt x="460" y="162"/>
                    <a:pt x="460" y="162"/>
                  </a:cubicBezTo>
                  <a:cubicBezTo>
                    <a:pt x="460" y="162"/>
                    <a:pt x="460" y="162"/>
                    <a:pt x="460" y="162"/>
                  </a:cubicBezTo>
                  <a:cubicBezTo>
                    <a:pt x="460" y="162"/>
                    <a:pt x="460" y="162"/>
                    <a:pt x="460" y="162"/>
                  </a:cubicBezTo>
                  <a:cubicBezTo>
                    <a:pt x="460" y="162"/>
                    <a:pt x="460" y="162"/>
                    <a:pt x="460" y="162"/>
                  </a:cubicBezTo>
                  <a:cubicBezTo>
                    <a:pt x="460" y="161"/>
                    <a:pt x="460" y="161"/>
                    <a:pt x="460" y="161"/>
                  </a:cubicBezTo>
                  <a:cubicBezTo>
                    <a:pt x="461" y="160"/>
                    <a:pt x="461" y="160"/>
                    <a:pt x="461" y="160"/>
                  </a:cubicBezTo>
                  <a:cubicBezTo>
                    <a:pt x="461" y="159"/>
                    <a:pt x="461" y="159"/>
                    <a:pt x="461" y="159"/>
                  </a:cubicBezTo>
                  <a:cubicBezTo>
                    <a:pt x="461" y="159"/>
                    <a:pt x="461" y="159"/>
                    <a:pt x="461" y="159"/>
                  </a:cubicBezTo>
                  <a:cubicBezTo>
                    <a:pt x="461" y="158"/>
                    <a:pt x="461" y="158"/>
                    <a:pt x="461" y="158"/>
                  </a:cubicBezTo>
                  <a:cubicBezTo>
                    <a:pt x="461" y="158"/>
                    <a:pt x="461" y="158"/>
                    <a:pt x="461" y="158"/>
                  </a:cubicBezTo>
                  <a:cubicBezTo>
                    <a:pt x="461" y="158"/>
                    <a:pt x="461" y="158"/>
                    <a:pt x="461" y="158"/>
                  </a:cubicBezTo>
                  <a:cubicBezTo>
                    <a:pt x="461" y="157"/>
                    <a:pt x="461" y="157"/>
                    <a:pt x="461" y="157"/>
                  </a:cubicBezTo>
                  <a:cubicBezTo>
                    <a:pt x="461" y="157"/>
                    <a:pt x="461" y="156"/>
                    <a:pt x="461" y="156"/>
                  </a:cubicBezTo>
                  <a:cubicBezTo>
                    <a:pt x="461" y="156"/>
                    <a:pt x="461" y="156"/>
                    <a:pt x="461" y="156"/>
                  </a:cubicBezTo>
                  <a:cubicBezTo>
                    <a:pt x="460" y="156"/>
                    <a:pt x="460" y="156"/>
                    <a:pt x="460" y="156"/>
                  </a:cubicBezTo>
                  <a:cubicBezTo>
                    <a:pt x="460" y="156"/>
                    <a:pt x="460" y="156"/>
                    <a:pt x="460" y="156"/>
                  </a:cubicBezTo>
                  <a:cubicBezTo>
                    <a:pt x="460" y="155"/>
                    <a:pt x="460" y="155"/>
                    <a:pt x="460" y="155"/>
                  </a:cubicBezTo>
                  <a:cubicBezTo>
                    <a:pt x="460" y="155"/>
                    <a:pt x="460" y="155"/>
                    <a:pt x="460" y="155"/>
                  </a:cubicBezTo>
                  <a:cubicBezTo>
                    <a:pt x="460" y="155"/>
                    <a:pt x="460" y="155"/>
                    <a:pt x="460" y="155"/>
                  </a:cubicBezTo>
                  <a:cubicBezTo>
                    <a:pt x="460" y="155"/>
                    <a:pt x="460" y="155"/>
                    <a:pt x="460" y="155"/>
                  </a:cubicBezTo>
                  <a:cubicBezTo>
                    <a:pt x="460" y="155"/>
                    <a:pt x="460" y="155"/>
                    <a:pt x="460" y="155"/>
                  </a:cubicBezTo>
                  <a:cubicBezTo>
                    <a:pt x="460" y="155"/>
                    <a:pt x="460" y="155"/>
                    <a:pt x="460" y="155"/>
                  </a:cubicBezTo>
                  <a:cubicBezTo>
                    <a:pt x="460" y="155"/>
                    <a:pt x="460" y="155"/>
                    <a:pt x="460" y="155"/>
                  </a:cubicBezTo>
                  <a:cubicBezTo>
                    <a:pt x="460" y="154"/>
                    <a:pt x="460" y="154"/>
                    <a:pt x="460" y="154"/>
                  </a:cubicBezTo>
                  <a:cubicBezTo>
                    <a:pt x="460" y="153"/>
                    <a:pt x="460" y="153"/>
                    <a:pt x="460" y="153"/>
                  </a:cubicBezTo>
                  <a:cubicBezTo>
                    <a:pt x="460" y="152"/>
                    <a:pt x="461" y="152"/>
                    <a:pt x="461" y="151"/>
                  </a:cubicBezTo>
                  <a:cubicBezTo>
                    <a:pt x="460" y="151"/>
                    <a:pt x="460" y="151"/>
                    <a:pt x="460" y="151"/>
                  </a:cubicBezTo>
                  <a:cubicBezTo>
                    <a:pt x="460" y="151"/>
                    <a:pt x="460" y="151"/>
                    <a:pt x="460" y="151"/>
                  </a:cubicBezTo>
                  <a:cubicBezTo>
                    <a:pt x="460" y="151"/>
                    <a:pt x="460" y="151"/>
                    <a:pt x="460" y="151"/>
                  </a:cubicBezTo>
                  <a:cubicBezTo>
                    <a:pt x="460" y="151"/>
                    <a:pt x="460" y="151"/>
                    <a:pt x="460" y="151"/>
                  </a:cubicBezTo>
                  <a:cubicBezTo>
                    <a:pt x="460" y="151"/>
                    <a:pt x="460" y="151"/>
                    <a:pt x="460" y="151"/>
                  </a:cubicBezTo>
                  <a:cubicBezTo>
                    <a:pt x="460" y="150"/>
                    <a:pt x="460" y="150"/>
                    <a:pt x="460" y="150"/>
                  </a:cubicBezTo>
                  <a:cubicBezTo>
                    <a:pt x="459" y="150"/>
                    <a:pt x="459" y="150"/>
                    <a:pt x="459" y="150"/>
                  </a:cubicBezTo>
                  <a:cubicBezTo>
                    <a:pt x="459" y="149"/>
                    <a:pt x="459" y="149"/>
                    <a:pt x="459" y="149"/>
                  </a:cubicBezTo>
                  <a:cubicBezTo>
                    <a:pt x="459" y="149"/>
                    <a:pt x="459" y="149"/>
                    <a:pt x="459" y="149"/>
                  </a:cubicBezTo>
                  <a:cubicBezTo>
                    <a:pt x="459" y="149"/>
                    <a:pt x="459" y="149"/>
                    <a:pt x="459" y="149"/>
                  </a:cubicBezTo>
                  <a:cubicBezTo>
                    <a:pt x="459" y="149"/>
                    <a:pt x="459" y="149"/>
                    <a:pt x="459" y="149"/>
                  </a:cubicBezTo>
                  <a:cubicBezTo>
                    <a:pt x="459" y="149"/>
                    <a:pt x="460" y="148"/>
                    <a:pt x="460" y="148"/>
                  </a:cubicBezTo>
                  <a:cubicBezTo>
                    <a:pt x="460" y="148"/>
                    <a:pt x="460" y="148"/>
                    <a:pt x="460" y="148"/>
                  </a:cubicBezTo>
                  <a:cubicBezTo>
                    <a:pt x="460" y="148"/>
                    <a:pt x="460" y="148"/>
                    <a:pt x="460" y="148"/>
                  </a:cubicBezTo>
                  <a:cubicBezTo>
                    <a:pt x="461" y="147"/>
                    <a:pt x="461" y="147"/>
                    <a:pt x="461" y="147"/>
                  </a:cubicBezTo>
                  <a:cubicBezTo>
                    <a:pt x="462" y="147"/>
                    <a:pt x="462" y="147"/>
                    <a:pt x="462" y="147"/>
                  </a:cubicBezTo>
                  <a:cubicBezTo>
                    <a:pt x="462" y="147"/>
                    <a:pt x="462" y="147"/>
                    <a:pt x="462" y="147"/>
                  </a:cubicBezTo>
                  <a:cubicBezTo>
                    <a:pt x="462" y="147"/>
                    <a:pt x="462" y="147"/>
                    <a:pt x="462" y="147"/>
                  </a:cubicBezTo>
                  <a:cubicBezTo>
                    <a:pt x="462" y="146"/>
                    <a:pt x="462" y="146"/>
                    <a:pt x="462" y="146"/>
                  </a:cubicBezTo>
                  <a:cubicBezTo>
                    <a:pt x="462" y="146"/>
                    <a:pt x="462" y="146"/>
                    <a:pt x="462" y="146"/>
                  </a:cubicBezTo>
                  <a:cubicBezTo>
                    <a:pt x="462" y="146"/>
                    <a:pt x="462" y="146"/>
                    <a:pt x="462" y="146"/>
                  </a:cubicBezTo>
                  <a:cubicBezTo>
                    <a:pt x="462" y="146"/>
                    <a:pt x="462" y="146"/>
                    <a:pt x="462" y="146"/>
                  </a:cubicBezTo>
                  <a:cubicBezTo>
                    <a:pt x="462" y="146"/>
                    <a:pt x="462" y="146"/>
                    <a:pt x="462" y="146"/>
                  </a:cubicBezTo>
                  <a:cubicBezTo>
                    <a:pt x="462" y="146"/>
                    <a:pt x="462" y="145"/>
                    <a:pt x="462" y="144"/>
                  </a:cubicBezTo>
                  <a:cubicBezTo>
                    <a:pt x="462" y="144"/>
                    <a:pt x="462" y="144"/>
                    <a:pt x="462" y="144"/>
                  </a:cubicBezTo>
                  <a:cubicBezTo>
                    <a:pt x="462" y="144"/>
                    <a:pt x="462" y="144"/>
                    <a:pt x="462" y="144"/>
                  </a:cubicBezTo>
                  <a:cubicBezTo>
                    <a:pt x="462" y="144"/>
                    <a:pt x="462" y="144"/>
                    <a:pt x="462" y="144"/>
                  </a:cubicBezTo>
                  <a:cubicBezTo>
                    <a:pt x="462" y="144"/>
                    <a:pt x="462" y="144"/>
                    <a:pt x="462" y="144"/>
                  </a:cubicBezTo>
                  <a:cubicBezTo>
                    <a:pt x="462" y="144"/>
                    <a:pt x="462" y="144"/>
                    <a:pt x="462" y="144"/>
                  </a:cubicBezTo>
                  <a:cubicBezTo>
                    <a:pt x="462" y="143"/>
                    <a:pt x="462" y="143"/>
                    <a:pt x="462" y="143"/>
                  </a:cubicBezTo>
                  <a:cubicBezTo>
                    <a:pt x="462" y="142"/>
                    <a:pt x="462" y="142"/>
                    <a:pt x="462" y="142"/>
                  </a:cubicBezTo>
                  <a:cubicBezTo>
                    <a:pt x="462" y="142"/>
                    <a:pt x="462" y="142"/>
                    <a:pt x="462" y="142"/>
                  </a:cubicBezTo>
                  <a:cubicBezTo>
                    <a:pt x="462" y="141"/>
                    <a:pt x="462" y="141"/>
                    <a:pt x="462" y="141"/>
                  </a:cubicBezTo>
                  <a:cubicBezTo>
                    <a:pt x="462" y="141"/>
                    <a:pt x="462" y="141"/>
                    <a:pt x="462" y="141"/>
                  </a:cubicBezTo>
                  <a:cubicBezTo>
                    <a:pt x="462" y="141"/>
                    <a:pt x="462" y="141"/>
                    <a:pt x="462" y="141"/>
                  </a:cubicBezTo>
                  <a:cubicBezTo>
                    <a:pt x="462" y="141"/>
                    <a:pt x="462" y="141"/>
                    <a:pt x="462" y="141"/>
                  </a:cubicBezTo>
                  <a:cubicBezTo>
                    <a:pt x="463" y="140"/>
                    <a:pt x="463" y="140"/>
                    <a:pt x="463" y="140"/>
                  </a:cubicBezTo>
                  <a:cubicBezTo>
                    <a:pt x="463" y="140"/>
                    <a:pt x="463" y="140"/>
                    <a:pt x="463" y="140"/>
                  </a:cubicBezTo>
                  <a:cubicBezTo>
                    <a:pt x="463" y="139"/>
                    <a:pt x="463" y="139"/>
                    <a:pt x="463" y="139"/>
                  </a:cubicBezTo>
                  <a:cubicBezTo>
                    <a:pt x="463" y="139"/>
                    <a:pt x="463" y="139"/>
                    <a:pt x="463" y="138"/>
                  </a:cubicBezTo>
                  <a:cubicBezTo>
                    <a:pt x="463" y="138"/>
                    <a:pt x="463" y="138"/>
                    <a:pt x="463" y="138"/>
                  </a:cubicBezTo>
                  <a:cubicBezTo>
                    <a:pt x="462" y="138"/>
                    <a:pt x="462" y="138"/>
                    <a:pt x="462" y="138"/>
                  </a:cubicBezTo>
                  <a:cubicBezTo>
                    <a:pt x="462" y="137"/>
                    <a:pt x="462" y="137"/>
                    <a:pt x="461" y="137"/>
                  </a:cubicBezTo>
                  <a:cubicBezTo>
                    <a:pt x="461" y="136"/>
                    <a:pt x="461" y="136"/>
                    <a:pt x="461" y="136"/>
                  </a:cubicBezTo>
                  <a:cubicBezTo>
                    <a:pt x="461" y="136"/>
                    <a:pt x="461" y="136"/>
                    <a:pt x="461" y="136"/>
                  </a:cubicBezTo>
                  <a:cubicBezTo>
                    <a:pt x="461" y="136"/>
                    <a:pt x="461" y="136"/>
                    <a:pt x="461" y="136"/>
                  </a:cubicBezTo>
                  <a:cubicBezTo>
                    <a:pt x="461" y="136"/>
                    <a:pt x="461" y="136"/>
                    <a:pt x="461" y="136"/>
                  </a:cubicBezTo>
                  <a:cubicBezTo>
                    <a:pt x="461" y="136"/>
                    <a:pt x="461" y="136"/>
                    <a:pt x="461" y="136"/>
                  </a:cubicBezTo>
                  <a:cubicBezTo>
                    <a:pt x="461" y="136"/>
                    <a:pt x="461" y="136"/>
                    <a:pt x="461" y="136"/>
                  </a:cubicBezTo>
                  <a:cubicBezTo>
                    <a:pt x="461" y="135"/>
                    <a:pt x="462" y="134"/>
                    <a:pt x="461" y="133"/>
                  </a:cubicBezTo>
                  <a:cubicBezTo>
                    <a:pt x="461" y="133"/>
                    <a:pt x="461" y="133"/>
                    <a:pt x="461" y="133"/>
                  </a:cubicBezTo>
                  <a:cubicBezTo>
                    <a:pt x="460" y="133"/>
                    <a:pt x="460" y="133"/>
                    <a:pt x="460" y="133"/>
                  </a:cubicBezTo>
                  <a:cubicBezTo>
                    <a:pt x="460" y="133"/>
                    <a:pt x="459" y="133"/>
                    <a:pt x="458" y="132"/>
                  </a:cubicBezTo>
                  <a:cubicBezTo>
                    <a:pt x="458" y="132"/>
                    <a:pt x="458" y="132"/>
                    <a:pt x="458" y="132"/>
                  </a:cubicBezTo>
                  <a:cubicBezTo>
                    <a:pt x="458" y="132"/>
                    <a:pt x="458" y="132"/>
                    <a:pt x="458" y="132"/>
                  </a:cubicBezTo>
                  <a:cubicBezTo>
                    <a:pt x="458" y="132"/>
                    <a:pt x="458" y="132"/>
                    <a:pt x="458" y="132"/>
                  </a:cubicBezTo>
                  <a:cubicBezTo>
                    <a:pt x="456" y="131"/>
                    <a:pt x="455" y="131"/>
                    <a:pt x="454" y="129"/>
                  </a:cubicBezTo>
                  <a:cubicBezTo>
                    <a:pt x="454" y="129"/>
                    <a:pt x="454" y="129"/>
                    <a:pt x="454" y="129"/>
                  </a:cubicBezTo>
                  <a:cubicBezTo>
                    <a:pt x="454" y="129"/>
                    <a:pt x="454" y="129"/>
                    <a:pt x="454" y="129"/>
                  </a:cubicBezTo>
                  <a:cubicBezTo>
                    <a:pt x="454" y="129"/>
                    <a:pt x="454" y="129"/>
                    <a:pt x="454" y="129"/>
                  </a:cubicBezTo>
                  <a:cubicBezTo>
                    <a:pt x="454" y="129"/>
                    <a:pt x="454" y="129"/>
                    <a:pt x="454" y="129"/>
                  </a:cubicBezTo>
                  <a:cubicBezTo>
                    <a:pt x="453" y="129"/>
                    <a:pt x="453" y="129"/>
                    <a:pt x="453" y="129"/>
                  </a:cubicBezTo>
                  <a:cubicBezTo>
                    <a:pt x="453" y="129"/>
                    <a:pt x="453" y="129"/>
                    <a:pt x="453" y="129"/>
                  </a:cubicBezTo>
                  <a:cubicBezTo>
                    <a:pt x="453" y="129"/>
                    <a:pt x="453" y="129"/>
                    <a:pt x="453" y="129"/>
                  </a:cubicBezTo>
                  <a:cubicBezTo>
                    <a:pt x="453" y="127"/>
                    <a:pt x="452" y="126"/>
                    <a:pt x="453" y="126"/>
                  </a:cubicBezTo>
                  <a:cubicBezTo>
                    <a:pt x="454" y="126"/>
                    <a:pt x="454" y="126"/>
                    <a:pt x="454" y="126"/>
                  </a:cubicBezTo>
                  <a:cubicBezTo>
                    <a:pt x="454" y="126"/>
                    <a:pt x="454" y="126"/>
                    <a:pt x="454" y="126"/>
                  </a:cubicBezTo>
                  <a:cubicBezTo>
                    <a:pt x="454" y="125"/>
                    <a:pt x="454" y="126"/>
                    <a:pt x="456" y="125"/>
                  </a:cubicBezTo>
                  <a:cubicBezTo>
                    <a:pt x="456" y="125"/>
                    <a:pt x="456" y="125"/>
                    <a:pt x="456" y="125"/>
                  </a:cubicBezTo>
                  <a:cubicBezTo>
                    <a:pt x="456" y="124"/>
                    <a:pt x="456" y="124"/>
                    <a:pt x="456" y="124"/>
                  </a:cubicBezTo>
                  <a:cubicBezTo>
                    <a:pt x="457" y="123"/>
                    <a:pt x="457" y="123"/>
                    <a:pt x="457" y="123"/>
                  </a:cubicBezTo>
                  <a:cubicBezTo>
                    <a:pt x="457" y="121"/>
                    <a:pt x="457" y="121"/>
                    <a:pt x="457" y="121"/>
                  </a:cubicBezTo>
                  <a:cubicBezTo>
                    <a:pt x="458" y="120"/>
                    <a:pt x="458" y="120"/>
                    <a:pt x="458" y="120"/>
                  </a:cubicBezTo>
                  <a:cubicBezTo>
                    <a:pt x="458" y="120"/>
                    <a:pt x="458" y="120"/>
                    <a:pt x="458" y="120"/>
                  </a:cubicBezTo>
                  <a:cubicBezTo>
                    <a:pt x="458" y="120"/>
                    <a:pt x="458" y="120"/>
                    <a:pt x="458" y="120"/>
                  </a:cubicBezTo>
                  <a:cubicBezTo>
                    <a:pt x="458" y="120"/>
                    <a:pt x="458" y="120"/>
                    <a:pt x="458" y="120"/>
                  </a:cubicBezTo>
                  <a:cubicBezTo>
                    <a:pt x="458" y="120"/>
                    <a:pt x="458" y="120"/>
                    <a:pt x="458" y="120"/>
                  </a:cubicBezTo>
                  <a:cubicBezTo>
                    <a:pt x="458" y="120"/>
                    <a:pt x="458" y="120"/>
                    <a:pt x="458" y="120"/>
                  </a:cubicBezTo>
                  <a:cubicBezTo>
                    <a:pt x="458" y="120"/>
                    <a:pt x="458" y="120"/>
                    <a:pt x="458" y="120"/>
                  </a:cubicBezTo>
                  <a:cubicBezTo>
                    <a:pt x="458" y="119"/>
                    <a:pt x="458" y="119"/>
                    <a:pt x="458" y="119"/>
                  </a:cubicBezTo>
                  <a:cubicBezTo>
                    <a:pt x="459" y="119"/>
                    <a:pt x="459" y="119"/>
                    <a:pt x="459" y="119"/>
                  </a:cubicBezTo>
                  <a:cubicBezTo>
                    <a:pt x="459" y="119"/>
                    <a:pt x="459" y="119"/>
                    <a:pt x="459" y="119"/>
                  </a:cubicBezTo>
                  <a:cubicBezTo>
                    <a:pt x="459" y="119"/>
                    <a:pt x="459" y="119"/>
                    <a:pt x="459" y="119"/>
                  </a:cubicBezTo>
                  <a:cubicBezTo>
                    <a:pt x="460" y="117"/>
                    <a:pt x="460" y="117"/>
                    <a:pt x="460" y="117"/>
                  </a:cubicBezTo>
                  <a:cubicBezTo>
                    <a:pt x="460" y="117"/>
                    <a:pt x="460" y="117"/>
                    <a:pt x="460" y="117"/>
                  </a:cubicBezTo>
                  <a:cubicBezTo>
                    <a:pt x="460" y="116"/>
                    <a:pt x="460" y="116"/>
                    <a:pt x="460" y="116"/>
                  </a:cubicBezTo>
                  <a:cubicBezTo>
                    <a:pt x="461" y="116"/>
                    <a:pt x="461" y="116"/>
                    <a:pt x="461" y="116"/>
                  </a:cubicBezTo>
                  <a:cubicBezTo>
                    <a:pt x="461" y="115"/>
                    <a:pt x="461" y="115"/>
                    <a:pt x="461" y="115"/>
                  </a:cubicBezTo>
                  <a:cubicBezTo>
                    <a:pt x="463" y="113"/>
                    <a:pt x="463" y="113"/>
                    <a:pt x="463" y="113"/>
                  </a:cubicBezTo>
                  <a:cubicBezTo>
                    <a:pt x="463" y="112"/>
                    <a:pt x="463" y="112"/>
                    <a:pt x="463" y="112"/>
                  </a:cubicBezTo>
                  <a:cubicBezTo>
                    <a:pt x="463" y="112"/>
                    <a:pt x="463" y="112"/>
                    <a:pt x="463" y="112"/>
                  </a:cubicBezTo>
                  <a:cubicBezTo>
                    <a:pt x="463" y="111"/>
                    <a:pt x="463" y="111"/>
                    <a:pt x="463" y="111"/>
                  </a:cubicBezTo>
                  <a:cubicBezTo>
                    <a:pt x="463" y="111"/>
                    <a:pt x="463" y="111"/>
                    <a:pt x="463" y="111"/>
                  </a:cubicBezTo>
                  <a:cubicBezTo>
                    <a:pt x="463" y="111"/>
                    <a:pt x="463" y="111"/>
                    <a:pt x="463" y="111"/>
                  </a:cubicBezTo>
                  <a:cubicBezTo>
                    <a:pt x="463" y="111"/>
                    <a:pt x="463" y="111"/>
                    <a:pt x="463" y="111"/>
                  </a:cubicBezTo>
                  <a:cubicBezTo>
                    <a:pt x="463" y="111"/>
                    <a:pt x="463" y="111"/>
                    <a:pt x="463" y="111"/>
                  </a:cubicBezTo>
                  <a:cubicBezTo>
                    <a:pt x="463" y="111"/>
                    <a:pt x="463" y="111"/>
                    <a:pt x="463" y="111"/>
                  </a:cubicBezTo>
                  <a:cubicBezTo>
                    <a:pt x="463" y="111"/>
                    <a:pt x="463" y="111"/>
                    <a:pt x="463" y="111"/>
                  </a:cubicBezTo>
                  <a:cubicBezTo>
                    <a:pt x="463" y="110"/>
                    <a:pt x="463" y="110"/>
                    <a:pt x="463" y="110"/>
                  </a:cubicBezTo>
                  <a:cubicBezTo>
                    <a:pt x="463" y="110"/>
                    <a:pt x="463" y="110"/>
                    <a:pt x="463" y="110"/>
                  </a:cubicBezTo>
                  <a:cubicBezTo>
                    <a:pt x="463" y="110"/>
                    <a:pt x="463" y="110"/>
                    <a:pt x="463" y="110"/>
                  </a:cubicBezTo>
                  <a:cubicBezTo>
                    <a:pt x="463" y="110"/>
                    <a:pt x="463" y="110"/>
                    <a:pt x="463" y="110"/>
                  </a:cubicBezTo>
                  <a:cubicBezTo>
                    <a:pt x="463" y="110"/>
                    <a:pt x="463" y="110"/>
                    <a:pt x="463" y="110"/>
                  </a:cubicBezTo>
                  <a:cubicBezTo>
                    <a:pt x="462" y="110"/>
                    <a:pt x="462" y="110"/>
                    <a:pt x="462" y="110"/>
                  </a:cubicBezTo>
                  <a:cubicBezTo>
                    <a:pt x="462" y="110"/>
                    <a:pt x="462" y="110"/>
                    <a:pt x="462" y="110"/>
                  </a:cubicBezTo>
                  <a:cubicBezTo>
                    <a:pt x="463" y="109"/>
                    <a:pt x="463" y="109"/>
                    <a:pt x="463" y="109"/>
                  </a:cubicBezTo>
                  <a:cubicBezTo>
                    <a:pt x="463" y="109"/>
                    <a:pt x="463" y="109"/>
                    <a:pt x="463" y="109"/>
                  </a:cubicBezTo>
                  <a:cubicBezTo>
                    <a:pt x="463" y="107"/>
                    <a:pt x="463" y="107"/>
                    <a:pt x="463" y="107"/>
                  </a:cubicBezTo>
                  <a:cubicBezTo>
                    <a:pt x="463" y="106"/>
                    <a:pt x="463" y="106"/>
                    <a:pt x="463" y="106"/>
                  </a:cubicBezTo>
                  <a:cubicBezTo>
                    <a:pt x="463" y="104"/>
                    <a:pt x="463" y="104"/>
                    <a:pt x="463" y="104"/>
                  </a:cubicBezTo>
                  <a:cubicBezTo>
                    <a:pt x="463" y="104"/>
                    <a:pt x="463" y="104"/>
                    <a:pt x="463" y="104"/>
                  </a:cubicBezTo>
                  <a:cubicBezTo>
                    <a:pt x="462" y="103"/>
                    <a:pt x="462" y="103"/>
                    <a:pt x="462" y="103"/>
                  </a:cubicBezTo>
                  <a:cubicBezTo>
                    <a:pt x="461" y="103"/>
                    <a:pt x="461" y="103"/>
                    <a:pt x="460" y="102"/>
                  </a:cubicBezTo>
                  <a:cubicBezTo>
                    <a:pt x="460" y="102"/>
                    <a:pt x="460" y="102"/>
                    <a:pt x="460" y="102"/>
                  </a:cubicBezTo>
                  <a:cubicBezTo>
                    <a:pt x="459" y="102"/>
                    <a:pt x="459" y="102"/>
                    <a:pt x="459" y="102"/>
                  </a:cubicBezTo>
                  <a:cubicBezTo>
                    <a:pt x="459" y="102"/>
                    <a:pt x="459" y="102"/>
                    <a:pt x="459" y="102"/>
                  </a:cubicBezTo>
                  <a:cubicBezTo>
                    <a:pt x="459" y="102"/>
                    <a:pt x="459" y="102"/>
                    <a:pt x="459" y="102"/>
                  </a:cubicBezTo>
                  <a:cubicBezTo>
                    <a:pt x="458" y="102"/>
                    <a:pt x="457" y="102"/>
                    <a:pt x="456" y="102"/>
                  </a:cubicBezTo>
                  <a:cubicBezTo>
                    <a:pt x="456" y="101"/>
                    <a:pt x="456" y="101"/>
                    <a:pt x="456" y="101"/>
                  </a:cubicBezTo>
                  <a:cubicBezTo>
                    <a:pt x="456" y="101"/>
                    <a:pt x="456" y="101"/>
                    <a:pt x="456" y="101"/>
                  </a:cubicBezTo>
                  <a:cubicBezTo>
                    <a:pt x="455" y="101"/>
                    <a:pt x="455" y="101"/>
                    <a:pt x="454" y="102"/>
                  </a:cubicBezTo>
                  <a:cubicBezTo>
                    <a:pt x="454" y="102"/>
                    <a:pt x="454" y="102"/>
                    <a:pt x="454" y="102"/>
                  </a:cubicBezTo>
                  <a:cubicBezTo>
                    <a:pt x="454" y="102"/>
                    <a:pt x="454" y="102"/>
                    <a:pt x="454" y="102"/>
                  </a:cubicBezTo>
                  <a:cubicBezTo>
                    <a:pt x="453" y="102"/>
                    <a:pt x="453" y="102"/>
                    <a:pt x="453" y="102"/>
                  </a:cubicBezTo>
                  <a:cubicBezTo>
                    <a:pt x="453" y="102"/>
                    <a:pt x="453" y="102"/>
                    <a:pt x="453" y="102"/>
                  </a:cubicBezTo>
                  <a:cubicBezTo>
                    <a:pt x="453" y="102"/>
                    <a:pt x="453" y="102"/>
                    <a:pt x="453" y="102"/>
                  </a:cubicBezTo>
                  <a:cubicBezTo>
                    <a:pt x="453" y="101"/>
                    <a:pt x="453" y="101"/>
                    <a:pt x="453" y="101"/>
                  </a:cubicBezTo>
                  <a:cubicBezTo>
                    <a:pt x="453" y="101"/>
                    <a:pt x="453" y="101"/>
                    <a:pt x="453" y="101"/>
                  </a:cubicBezTo>
                  <a:cubicBezTo>
                    <a:pt x="454" y="101"/>
                    <a:pt x="454" y="101"/>
                    <a:pt x="454" y="101"/>
                  </a:cubicBezTo>
                  <a:cubicBezTo>
                    <a:pt x="454" y="101"/>
                    <a:pt x="454" y="101"/>
                    <a:pt x="454" y="101"/>
                  </a:cubicBezTo>
                  <a:cubicBezTo>
                    <a:pt x="454" y="101"/>
                    <a:pt x="454" y="101"/>
                    <a:pt x="454" y="101"/>
                  </a:cubicBezTo>
                  <a:cubicBezTo>
                    <a:pt x="454" y="101"/>
                    <a:pt x="454" y="101"/>
                    <a:pt x="454" y="101"/>
                  </a:cubicBezTo>
                  <a:cubicBezTo>
                    <a:pt x="454" y="101"/>
                    <a:pt x="454" y="101"/>
                    <a:pt x="454" y="101"/>
                  </a:cubicBezTo>
                  <a:cubicBezTo>
                    <a:pt x="453" y="101"/>
                    <a:pt x="453" y="101"/>
                    <a:pt x="453" y="101"/>
                  </a:cubicBezTo>
                  <a:cubicBezTo>
                    <a:pt x="451" y="101"/>
                    <a:pt x="451" y="99"/>
                    <a:pt x="448" y="100"/>
                  </a:cubicBezTo>
                  <a:cubicBezTo>
                    <a:pt x="448" y="100"/>
                    <a:pt x="448" y="100"/>
                    <a:pt x="448" y="100"/>
                  </a:cubicBezTo>
                  <a:cubicBezTo>
                    <a:pt x="448" y="100"/>
                    <a:pt x="448" y="100"/>
                    <a:pt x="448" y="100"/>
                  </a:cubicBezTo>
                  <a:cubicBezTo>
                    <a:pt x="447" y="100"/>
                    <a:pt x="447" y="100"/>
                    <a:pt x="447" y="100"/>
                  </a:cubicBezTo>
                  <a:cubicBezTo>
                    <a:pt x="446" y="100"/>
                    <a:pt x="446" y="100"/>
                    <a:pt x="445" y="100"/>
                  </a:cubicBezTo>
                  <a:cubicBezTo>
                    <a:pt x="445" y="100"/>
                    <a:pt x="445" y="100"/>
                    <a:pt x="445" y="100"/>
                  </a:cubicBezTo>
                  <a:cubicBezTo>
                    <a:pt x="445" y="100"/>
                    <a:pt x="445" y="100"/>
                    <a:pt x="445" y="100"/>
                  </a:cubicBezTo>
                  <a:cubicBezTo>
                    <a:pt x="444" y="100"/>
                    <a:pt x="443" y="100"/>
                    <a:pt x="442" y="100"/>
                  </a:cubicBezTo>
                  <a:cubicBezTo>
                    <a:pt x="442" y="100"/>
                    <a:pt x="442" y="100"/>
                    <a:pt x="442" y="100"/>
                  </a:cubicBezTo>
                  <a:cubicBezTo>
                    <a:pt x="442" y="100"/>
                    <a:pt x="442" y="100"/>
                    <a:pt x="442" y="100"/>
                  </a:cubicBezTo>
                  <a:cubicBezTo>
                    <a:pt x="442" y="100"/>
                    <a:pt x="442" y="100"/>
                    <a:pt x="442" y="100"/>
                  </a:cubicBezTo>
                  <a:cubicBezTo>
                    <a:pt x="442" y="100"/>
                    <a:pt x="442" y="100"/>
                    <a:pt x="442" y="100"/>
                  </a:cubicBezTo>
                  <a:cubicBezTo>
                    <a:pt x="441" y="100"/>
                    <a:pt x="441" y="100"/>
                    <a:pt x="441" y="100"/>
                  </a:cubicBezTo>
                  <a:cubicBezTo>
                    <a:pt x="439" y="100"/>
                    <a:pt x="438" y="100"/>
                    <a:pt x="436" y="100"/>
                  </a:cubicBezTo>
                  <a:cubicBezTo>
                    <a:pt x="436" y="100"/>
                    <a:pt x="436" y="100"/>
                    <a:pt x="436" y="100"/>
                  </a:cubicBezTo>
                  <a:cubicBezTo>
                    <a:pt x="435" y="100"/>
                    <a:pt x="435" y="100"/>
                    <a:pt x="435" y="100"/>
                  </a:cubicBezTo>
                  <a:cubicBezTo>
                    <a:pt x="435" y="100"/>
                    <a:pt x="435" y="100"/>
                    <a:pt x="435" y="100"/>
                  </a:cubicBezTo>
                  <a:cubicBezTo>
                    <a:pt x="435" y="100"/>
                    <a:pt x="434" y="100"/>
                    <a:pt x="433" y="100"/>
                  </a:cubicBezTo>
                  <a:cubicBezTo>
                    <a:pt x="433" y="100"/>
                    <a:pt x="433" y="100"/>
                    <a:pt x="433" y="100"/>
                  </a:cubicBezTo>
                  <a:cubicBezTo>
                    <a:pt x="432" y="100"/>
                    <a:pt x="431" y="100"/>
                    <a:pt x="430" y="100"/>
                  </a:cubicBezTo>
                  <a:cubicBezTo>
                    <a:pt x="430" y="100"/>
                    <a:pt x="430" y="100"/>
                    <a:pt x="430" y="100"/>
                  </a:cubicBezTo>
                  <a:cubicBezTo>
                    <a:pt x="430" y="100"/>
                    <a:pt x="430" y="100"/>
                    <a:pt x="430" y="100"/>
                  </a:cubicBezTo>
                  <a:cubicBezTo>
                    <a:pt x="429" y="100"/>
                    <a:pt x="429" y="100"/>
                    <a:pt x="429" y="100"/>
                  </a:cubicBezTo>
                  <a:cubicBezTo>
                    <a:pt x="429" y="100"/>
                    <a:pt x="429" y="100"/>
                    <a:pt x="429" y="100"/>
                  </a:cubicBezTo>
                  <a:cubicBezTo>
                    <a:pt x="429" y="100"/>
                    <a:pt x="429" y="100"/>
                    <a:pt x="429" y="100"/>
                  </a:cubicBezTo>
                  <a:cubicBezTo>
                    <a:pt x="430" y="99"/>
                    <a:pt x="431" y="99"/>
                    <a:pt x="431" y="99"/>
                  </a:cubicBezTo>
                  <a:cubicBezTo>
                    <a:pt x="432" y="99"/>
                    <a:pt x="432" y="99"/>
                    <a:pt x="432" y="99"/>
                  </a:cubicBezTo>
                  <a:cubicBezTo>
                    <a:pt x="431" y="99"/>
                    <a:pt x="431" y="99"/>
                    <a:pt x="431" y="99"/>
                  </a:cubicBezTo>
                  <a:cubicBezTo>
                    <a:pt x="431" y="98"/>
                    <a:pt x="431" y="98"/>
                    <a:pt x="431" y="98"/>
                  </a:cubicBezTo>
                  <a:cubicBezTo>
                    <a:pt x="431" y="98"/>
                    <a:pt x="431" y="98"/>
                    <a:pt x="431" y="98"/>
                  </a:cubicBezTo>
                  <a:cubicBezTo>
                    <a:pt x="431" y="98"/>
                    <a:pt x="431" y="98"/>
                    <a:pt x="431" y="98"/>
                  </a:cubicBezTo>
                  <a:cubicBezTo>
                    <a:pt x="430" y="98"/>
                    <a:pt x="427" y="98"/>
                    <a:pt x="427" y="100"/>
                  </a:cubicBezTo>
                  <a:cubicBezTo>
                    <a:pt x="427" y="100"/>
                    <a:pt x="427" y="100"/>
                    <a:pt x="427" y="100"/>
                  </a:cubicBezTo>
                  <a:cubicBezTo>
                    <a:pt x="427" y="100"/>
                    <a:pt x="427" y="100"/>
                    <a:pt x="427" y="100"/>
                  </a:cubicBezTo>
                  <a:cubicBezTo>
                    <a:pt x="427" y="100"/>
                    <a:pt x="427" y="100"/>
                    <a:pt x="427" y="100"/>
                  </a:cubicBezTo>
                  <a:cubicBezTo>
                    <a:pt x="427" y="100"/>
                    <a:pt x="427" y="101"/>
                    <a:pt x="426" y="101"/>
                  </a:cubicBezTo>
                  <a:cubicBezTo>
                    <a:pt x="426" y="101"/>
                    <a:pt x="426" y="101"/>
                    <a:pt x="426" y="101"/>
                  </a:cubicBezTo>
                  <a:cubicBezTo>
                    <a:pt x="426" y="101"/>
                    <a:pt x="426" y="101"/>
                    <a:pt x="426" y="101"/>
                  </a:cubicBezTo>
                  <a:cubicBezTo>
                    <a:pt x="426" y="102"/>
                    <a:pt x="426" y="102"/>
                    <a:pt x="425" y="102"/>
                  </a:cubicBezTo>
                  <a:cubicBezTo>
                    <a:pt x="425" y="103"/>
                    <a:pt x="425" y="103"/>
                    <a:pt x="425" y="103"/>
                  </a:cubicBezTo>
                  <a:cubicBezTo>
                    <a:pt x="425" y="103"/>
                    <a:pt x="425" y="103"/>
                    <a:pt x="425" y="103"/>
                  </a:cubicBezTo>
                  <a:cubicBezTo>
                    <a:pt x="425" y="103"/>
                    <a:pt x="425" y="103"/>
                    <a:pt x="425" y="103"/>
                  </a:cubicBezTo>
                  <a:cubicBezTo>
                    <a:pt x="424" y="103"/>
                    <a:pt x="424" y="103"/>
                    <a:pt x="424" y="103"/>
                  </a:cubicBezTo>
                  <a:cubicBezTo>
                    <a:pt x="424" y="103"/>
                    <a:pt x="424" y="103"/>
                    <a:pt x="424" y="103"/>
                  </a:cubicBezTo>
                  <a:cubicBezTo>
                    <a:pt x="424" y="103"/>
                    <a:pt x="424" y="103"/>
                    <a:pt x="424" y="103"/>
                  </a:cubicBezTo>
                  <a:cubicBezTo>
                    <a:pt x="424" y="104"/>
                    <a:pt x="424" y="104"/>
                    <a:pt x="424" y="104"/>
                  </a:cubicBezTo>
                  <a:cubicBezTo>
                    <a:pt x="424" y="104"/>
                    <a:pt x="424" y="104"/>
                    <a:pt x="424" y="104"/>
                  </a:cubicBezTo>
                  <a:cubicBezTo>
                    <a:pt x="424" y="104"/>
                    <a:pt x="424" y="104"/>
                    <a:pt x="424" y="104"/>
                  </a:cubicBezTo>
                  <a:cubicBezTo>
                    <a:pt x="424" y="105"/>
                    <a:pt x="424" y="105"/>
                    <a:pt x="424" y="105"/>
                  </a:cubicBezTo>
                  <a:cubicBezTo>
                    <a:pt x="424" y="105"/>
                    <a:pt x="424" y="105"/>
                    <a:pt x="424" y="105"/>
                  </a:cubicBezTo>
                  <a:cubicBezTo>
                    <a:pt x="424" y="105"/>
                    <a:pt x="424" y="105"/>
                    <a:pt x="424" y="105"/>
                  </a:cubicBezTo>
                  <a:cubicBezTo>
                    <a:pt x="424" y="105"/>
                    <a:pt x="424" y="105"/>
                    <a:pt x="424" y="105"/>
                  </a:cubicBezTo>
                  <a:cubicBezTo>
                    <a:pt x="423" y="105"/>
                    <a:pt x="423" y="105"/>
                    <a:pt x="423" y="105"/>
                  </a:cubicBezTo>
                  <a:cubicBezTo>
                    <a:pt x="423" y="105"/>
                    <a:pt x="423" y="105"/>
                    <a:pt x="423" y="105"/>
                  </a:cubicBezTo>
                  <a:cubicBezTo>
                    <a:pt x="423" y="105"/>
                    <a:pt x="423" y="105"/>
                    <a:pt x="423" y="105"/>
                  </a:cubicBezTo>
                  <a:cubicBezTo>
                    <a:pt x="423" y="105"/>
                    <a:pt x="423" y="106"/>
                    <a:pt x="423" y="106"/>
                  </a:cubicBezTo>
                  <a:cubicBezTo>
                    <a:pt x="423" y="106"/>
                    <a:pt x="423" y="106"/>
                    <a:pt x="423" y="106"/>
                  </a:cubicBezTo>
                  <a:cubicBezTo>
                    <a:pt x="423" y="106"/>
                    <a:pt x="423" y="106"/>
                    <a:pt x="423" y="106"/>
                  </a:cubicBezTo>
                  <a:cubicBezTo>
                    <a:pt x="423" y="106"/>
                    <a:pt x="423" y="106"/>
                    <a:pt x="423" y="106"/>
                  </a:cubicBezTo>
                  <a:cubicBezTo>
                    <a:pt x="423" y="107"/>
                    <a:pt x="423" y="107"/>
                    <a:pt x="423" y="107"/>
                  </a:cubicBezTo>
                  <a:cubicBezTo>
                    <a:pt x="423" y="107"/>
                    <a:pt x="423" y="107"/>
                    <a:pt x="423" y="107"/>
                  </a:cubicBezTo>
                  <a:cubicBezTo>
                    <a:pt x="423" y="107"/>
                    <a:pt x="423" y="107"/>
                    <a:pt x="423" y="107"/>
                  </a:cubicBezTo>
                  <a:cubicBezTo>
                    <a:pt x="423" y="108"/>
                    <a:pt x="423" y="108"/>
                    <a:pt x="423" y="108"/>
                  </a:cubicBezTo>
                  <a:cubicBezTo>
                    <a:pt x="423" y="108"/>
                    <a:pt x="423" y="108"/>
                    <a:pt x="423" y="108"/>
                  </a:cubicBezTo>
                  <a:cubicBezTo>
                    <a:pt x="423" y="108"/>
                    <a:pt x="423" y="108"/>
                    <a:pt x="423" y="108"/>
                  </a:cubicBezTo>
                  <a:cubicBezTo>
                    <a:pt x="422" y="108"/>
                    <a:pt x="422" y="108"/>
                    <a:pt x="422" y="108"/>
                  </a:cubicBezTo>
                  <a:cubicBezTo>
                    <a:pt x="422" y="108"/>
                    <a:pt x="422" y="108"/>
                    <a:pt x="422" y="108"/>
                  </a:cubicBezTo>
                  <a:cubicBezTo>
                    <a:pt x="422" y="108"/>
                    <a:pt x="422" y="108"/>
                    <a:pt x="422" y="108"/>
                  </a:cubicBezTo>
                  <a:cubicBezTo>
                    <a:pt x="422" y="108"/>
                    <a:pt x="422" y="108"/>
                    <a:pt x="422" y="108"/>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1"/>
                    <a:pt x="422" y="111"/>
                    <a:pt x="422" y="111"/>
                  </a:cubicBezTo>
                  <a:cubicBezTo>
                    <a:pt x="422" y="111"/>
                    <a:pt x="422" y="111"/>
                    <a:pt x="422" y="111"/>
                  </a:cubicBezTo>
                  <a:cubicBezTo>
                    <a:pt x="422" y="111"/>
                    <a:pt x="421" y="111"/>
                    <a:pt x="421" y="112"/>
                  </a:cubicBezTo>
                  <a:cubicBezTo>
                    <a:pt x="421" y="112"/>
                    <a:pt x="421" y="112"/>
                    <a:pt x="421" y="112"/>
                  </a:cubicBezTo>
                  <a:cubicBezTo>
                    <a:pt x="421" y="112"/>
                    <a:pt x="421" y="112"/>
                    <a:pt x="421" y="112"/>
                  </a:cubicBezTo>
                  <a:cubicBezTo>
                    <a:pt x="421" y="112"/>
                    <a:pt x="421" y="113"/>
                    <a:pt x="421" y="113"/>
                  </a:cubicBezTo>
                  <a:cubicBezTo>
                    <a:pt x="421" y="113"/>
                    <a:pt x="421" y="113"/>
                    <a:pt x="421" y="113"/>
                  </a:cubicBezTo>
                  <a:cubicBezTo>
                    <a:pt x="421" y="113"/>
                    <a:pt x="421" y="113"/>
                    <a:pt x="421" y="113"/>
                  </a:cubicBezTo>
                  <a:cubicBezTo>
                    <a:pt x="421" y="113"/>
                    <a:pt x="421" y="113"/>
                    <a:pt x="421" y="113"/>
                  </a:cubicBezTo>
                  <a:cubicBezTo>
                    <a:pt x="421" y="114"/>
                    <a:pt x="421" y="114"/>
                    <a:pt x="421" y="114"/>
                  </a:cubicBezTo>
                  <a:cubicBezTo>
                    <a:pt x="421" y="114"/>
                    <a:pt x="420" y="114"/>
                    <a:pt x="420" y="115"/>
                  </a:cubicBezTo>
                  <a:cubicBezTo>
                    <a:pt x="420" y="115"/>
                    <a:pt x="420" y="115"/>
                    <a:pt x="420" y="115"/>
                  </a:cubicBezTo>
                  <a:cubicBezTo>
                    <a:pt x="420" y="115"/>
                    <a:pt x="420" y="115"/>
                    <a:pt x="420" y="116"/>
                  </a:cubicBezTo>
                  <a:cubicBezTo>
                    <a:pt x="420" y="116"/>
                    <a:pt x="420" y="116"/>
                    <a:pt x="420" y="116"/>
                  </a:cubicBezTo>
                  <a:cubicBezTo>
                    <a:pt x="420" y="116"/>
                    <a:pt x="420" y="116"/>
                    <a:pt x="420" y="116"/>
                  </a:cubicBezTo>
                  <a:cubicBezTo>
                    <a:pt x="420" y="116"/>
                    <a:pt x="420" y="116"/>
                    <a:pt x="420" y="116"/>
                  </a:cubicBezTo>
                  <a:cubicBezTo>
                    <a:pt x="420" y="117"/>
                    <a:pt x="420" y="117"/>
                    <a:pt x="420" y="117"/>
                  </a:cubicBezTo>
                  <a:cubicBezTo>
                    <a:pt x="420" y="117"/>
                    <a:pt x="420" y="117"/>
                    <a:pt x="420" y="117"/>
                  </a:cubicBezTo>
                  <a:cubicBezTo>
                    <a:pt x="420" y="117"/>
                    <a:pt x="419" y="117"/>
                    <a:pt x="419" y="118"/>
                  </a:cubicBezTo>
                  <a:cubicBezTo>
                    <a:pt x="419" y="118"/>
                    <a:pt x="419" y="118"/>
                    <a:pt x="419" y="118"/>
                  </a:cubicBezTo>
                  <a:cubicBezTo>
                    <a:pt x="419" y="118"/>
                    <a:pt x="419" y="118"/>
                    <a:pt x="419" y="118"/>
                  </a:cubicBezTo>
                  <a:cubicBezTo>
                    <a:pt x="419" y="118"/>
                    <a:pt x="419" y="118"/>
                    <a:pt x="419" y="119"/>
                  </a:cubicBezTo>
                  <a:cubicBezTo>
                    <a:pt x="419" y="119"/>
                    <a:pt x="419" y="119"/>
                    <a:pt x="419" y="119"/>
                  </a:cubicBezTo>
                  <a:cubicBezTo>
                    <a:pt x="419" y="119"/>
                    <a:pt x="419" y="119"/>
                    <a:pt x="419" y="119"/>
                  </a:cubicBezTo>
                  <a:cubicBezTo>
                    <a:pt x="419" y="119"/>
                    <a:pt x="419" y="119"/>
                    <a:pt x="419" y="119"/>
                  </a:cubicBezTo>
                  <a:cubicBezTo>
                    <a:pt x="418" y="121"/>
                    <a:pt x="418" y="121"/>
                    <a:pt x="417" y="122"/>
                  </a:cubicBezTo>
                  <a:cubicBezTo>
                    <a:pt x="417" y="122"/>
                    <a:pt x="417" y="122"/>
                    <a:pt x="417" y="122"/>
                  </a:cubicBezTo>
                  <a:cubicBezTo>
                    <a:pt x="417" y="123"/>
                    <a:pt x="417" y="123"/>
                    <a:pt x="417" y="123"/>
                  </a:cubicBezTo>
                  <a:cubicBezTo>
                    <a:pt x="417" y="123"/>
                    <a:pt x="417" y="123"/>
                    <a:pt x="417" y="123"/>
                  </a:cubicBezTo>
                  <a:cubicBezTo>
                    <a:pt x="417" y="123"/>
                    <a:pt x="417" y="123"/>
                    <a:pt x="417" y="123"/>
                  </a:cubicBezTo>
                  <a:cubicBezTo>
                    <a:pt x="417" y="123"/>
                    <a:pt x="417" y="123"/>
                    <a:pt x="417" y="123"/>
                  </a:cubicBezTo>
                  <a:cubicBezTo>
                    <a:pt x="417" y="123"/>
                    <a:pt x="417" y="123"/>
                    <a:pt x="417" y="123"/>
                  </a:cubicBezTo>
                  <a:cubicBezTo>
                    <a:pt x="417" y="123"/>
                    <a:pt x="417" y="123"/>
                    <a:pt x="417" y="123"/>
                  </a:cubicBezTo>
                  <a:cubicBezTo>
                    <a:pt x="416" y="123"/>
                    <a:pt x="416" y="123"/>
                    <a:pt x="416" y="123"/>
                  </a:cubicBezTo>
                  <a:cubicBezTo>
                    <a:pt x="416" y="123"/>
                    <a:pt x="416" y="123"/>
                    <a:pt x="416" y="123"/>
                  </a:cubicBezTo>
                  <a:cubicBezTo>
                    <a:pt x="416" y="123"/>
                    <a:pt x="415" y="124"/>
                    <a:pt x="414" y="125"/>
                  </a:cubicBezTo>
                  <a:cubicBezTo>
                    <a:pt x="414" y="125"/>
                    <a:pt x="414" y="125"/>
                    <a:pt x="414" y="125"/>
                  </a:cubicBezTo>
                  <a:cubicBezTo>
                    <a:pt x="414" y="125"/>
                    <a:pt x="414" y="125"/>
                    <a:pt x="414" y="125"/>
                  </a:cubicBezTo>
                  <a:cubicBezTo>
                    <a:pt x="414" y="125"/>
                    <a:pt x="414" y="125"/>
                    <a:pt x="414" y="125"/>
                  </a:cubicBezTo>
                  <a:cubicBezTo>
                    <a:pt x="414" y="125"/>
                    <a:pt x="413" y="125"/>
                    <a:pt x="413" y="126"/>
                  </a:cubicBezTo>
                  <a:cubicBezTo>
                    <a:pt x="413" y="126"/>
                    <a:pt x="413" y="126"/>
                    <a:pt x="413" y="126"/>
                  </a:cubicBezTo>
                  <a:cubicBezTo>
                    <a:pt x="413" y="126"/>
                    <a:pt x="413" y="126"/>
                    <a:pt x="413" y="126"/>
                  </a:cubicBezTo>
                  <a:cubicBezTo>
                    <a:pt x="413" y="126"/>
                    <a:pt x="413" y="126"/>
                    <a:pt x="412" y="126"/>
                  </a:cubicBezTo>
                  <a:cubicBezTo>
                    <a:pt x="412" y="126"/>
                    <a:pt x="412" y="126"/>
                    <a:pt x="412" y="126"/>
                  </a:cubicBezTo>
                  <a:cubicBezTo>
                    <a:pt x="412" y="126"/>
                    <a:pt x="412" y="126"/>
                    <a:pt x="412" y="126"/>
                  </a:cubicBezTo>
                  <a:cubicBezTo>
                    <a:pt x="412" y="127"/>
                    <a:pt x="412" y="127"/>
                    <a:pt x="412" y="127"/>
                  </a:cubicBezTo>
                  <a:cubicBezTo>
                    <a:pt x="412" y="127"/>
                    <a:pt x="412" y="127"/>
                    <a:pt x="412" y="127"/>
                  </a:cubicBezTo>
                  <a:cubicBezTo>
                    <a:pt x="412" y="127"/>
                    <a:pt x="412" y="127"/>
                    <a:pt x="412" y="127"/>
                  </a:cubicBezTo>
                  <a:cubicBezTo>
                    <a:pt x="411" y="127"/>
                    <a:pt x="411" y="127"/>
                    <a:pt x="411" y="127"/>
                  </a:cubicBezTo>
                  <a:cubicBezTo>
                    <a:pt x="411" y="127"/>
                    <a:pt x="411" y="127"/>
                    <a:pt x="410" y="127"/>
                  </a:cubicBezTo>
                  <a:cubicBezTo>
                    <a:pt x="410" y="127"/>
                    <a:pt x="410" y="127"/>
                    <a:pt x="410" y="127"/>
                  </a:cubicBezTo>
                  <a:cubicBezTo>
                    <a:pt x="410" y="128"/>
                    <a:pt x="410" y="128"/>
                    <a:pt x="410" y="128"/>
                  </a:cubicBezTo>
                  <a:cubicBezTo>
                    <a:pt x="410" y="128"/>
                    <a:pt x="410" y="128"/>
                    <a:pt x="409" y="128"/>
                  </a:cubicBezTo>
                  <a:cubicBezTo>
                    <a:pt x="409" y="128"/>
                    <a:pt x="409" y="128"/>
                    <a:pt x="409" y="128"/>
                  </a:cubicBezTo>
                  <a:cubicBezTo>
                    <a:pt x="409" y="128"/>
                    <a:pt x="409" y="128"/>
                    <a:pt x="409" y="128"/>
                  </a:cubicBezTo>
                  <a:cubicBezTo>
                    <a:pt x="409" y="128"/>
                    <a:pt x="409" y="128"/>
                    <a:pt x="409" y="128"/>
                  </a:cubicBezTo>
                  <a:cubicBezTo>
                    <a:pt x="409" y="128"/>
                    <a:pt x="409" y="128"/>
                    <a:pt x="409" y="128"/>
                  </a:cubicBezTo>
                  <a:cubicBezTo>
                    <a:pt x="409" y="128"/>
                    <a:pt x="408" y="128"/>
                    <a:pt x="408" y="129"/>
                  </a:cubicBezTo>
                  <a:cubicBezTo>
                    <a:pt x="408" y="129"/>
                    <a:pt x="408" y="129"/>
                    <a:pt x="408" y="129"/>
                  </a:cubicBezTo>
                  <a:cubicBezTo>
                    <a:pt x="408" y="129"/>
                    <a:pt x="408" y="129"/>
                    <a:pt x="408" y="129"/>
                  </a:cubicBezTo>
                  <a:cubicBezTo>
                    <a:pt x="407" y="129"/>
                    <a:pt x="407" y="129"/>
                    <a:pt x="407" y="129"/>
                  </a:cubicBezTo>
                  <a:cubicBezTo>
                    <a:pt x="407" y="129"/>
                    <a:pt x="407" y="129"/>
                    <a:pt x="407" y="129"/>
                  </a:cubicBezTo>
                  <a:cubicBezTo>
                    <a:pt x="406" y="129"/>
                    <a:pt x="406" y="129"/>
                    <a:pt x="406" y="129"/>
                  </a:cubicBezTo>
                  <a:cubicBezTo>
                    <a:pt x="406" y="130"/>
                    <a:pt x="406" y="130"/>
                    <a:pt x="406" y="130"/>
                  </a:cubicBezTo>
                  <a:cubicBezTo>
                    <a:pt x="406" y="130"/>
                    <a:pt x="406" y="130"/>
                    <a:pt x="406" y="130"/>
                  </a:cubicBezTo>
                  <a:cubicBezTo>
                    <a:pt x="406" y="130"/>
                    <a:pt x="406" y="130"/>
                    <a:pt x="406" y="130"/>
                  </a:cubicBezTo>
                  <a:cubicBezTo>
                    <a:pt x="406" y="130"/>
                    <a:pt x="406" y="130"/>
                    <a:pt x="406" y="130"/>
                  </a:cubicBezTo>
                  <a:cubicBezTo>
                    <a:pt x="406" y="130"/>
                    <a:pt x="406" y="130"/>
                    <a:pt x="406" y="130"/>
                  </a:cubicBezTo>
                  <a:cubicBezTo>
                    <a:pt x="405" y="130"/>
                    <a:pt x="404" y="130"/>
                    <a:pt x="403" y="131"/>
                  </a:cubicBezTo>
                  <a:cubicBezTo>
                    <a:pt x="403" y="131"/>
                    <a:pt x="403" y="131"/>
                    <a:pt x="403" y="131"/>
                  </a:cubicBezTo>
                  <a:cubicBezTo>
                    <a:pt x="403" y="131"/>
                    <a:pt x="403" y="131"/>
                    <a:pt x="403" y="131"/>
                  </a:cubicBezTo>
                  <a:cubicBezTo>
                    <a:pt x="402" y="130"/>
                    <a:pt x="402" y="131"/>
                    <a:pt x="402" y="132"/>
                  </a:cubicBezTo>
                  <a:cubicBezTo>
                    <a:pt x="402" y="132"/>
                    <a:pt x="402" y="132"/>
                    <a:pt x="402" y="132"/>
                  </a:cubicBezTo>
                  <a:cubicBezTo>
                    <a:pt x="402" y="132"/>
                    <a:pt x="402" y="132"/>
                    <a:pt x="402" y="132"/>
                  </a:cubicBezTo>
                  <a:cubicBezTo>
                    <a:pt x="402" y="132"/>
                    <a:pt x="402" y="132"/>
                    <a:pt x="402" y="132"/>
                  </a:cubicBezTo>
                  <a:cubicBezTo>
                    <a:pt x="402" y="132"/>
                    <a:pt x="402" y="132"/>
                    <a:pt x="402" y="132"/>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0" y="134"/>
                    <a:pt x="400" y="134"/>
                    <a:pt x="400" y="134"/>
                  </a:cubicBezTo>
                  <a:cubicBezTo>
                    <a:pt x="400" y="135"/>
                    <a:pt x="400" y="135"/>
                    <a:pt x="400" y="135"/>
                  </a:cubicBezTo>
                  <a:cubicBezTo>
                    <a:pt x="399" y="136"/>
                    <a:pt x="399" y="136"/>
                    <a:pt x="399" y="136"/>
                  </a:cubicBezTo>
                  <a:cubicBezTo>
                    <a:pt x="399" y="136"/>
                    <a:pt x="399" y="136"/>
                    <a:pt x="399" y="136"/>
                  </a:cubicBezTo>
                  <a:cubicBezTo>
                    <a:pt x="400" y="136"/>
                    <a:pt x="400" y="136"/>
                    <a:pt x="400" y="136"/>
                  </a:cubicBezTo>
                  <a:cubicBezTo>
                    <a:pt x="400" y="136"/>
                    <a:pt x="400" y="136"/>
                    <a:pt x="400" y="136"/>
                  </a:cubicBezTo>
                  <a:cubicBezTo>
                    <a:pt x="400" y="136"/>
                    <a:pt x="400" y="136"/>
                    <a:pt x="400" y="136"/>
                  </a:cubicBezTo>
                  <a:cubicBezTo>
                    <a:pt x="400" y="136"/>
                    <a:pt x="400" y="136"/>
                    <a:pt x="400" y="136"/>
                  </a:cubicBezTo>
                  <a:cubicBezTo>
                    <a:pt x="400" y="136"/>
                    <a:pt x="400" y="136"/>
                    <a:pt x="400" y="136"/>
                  </a:cubicBezTo>
                  <a:cubicBezTo>
                    <a:pt x="400" y="136"/>
                    <a:pt x="400" y="136"/>
                    <a:pt x="400" y="136"/>
                  </a:cubicBezTo>
                  <a:cubicBezTo>
                    <a:pt x="400" y="136"/>
                    <a:pt x="400" y="136"/>
                    <a:pt x="400" y="136"/>
                  </a:cubicBezTo>
                  <a:cubicBezTo>
                    <a:pt x="401" y="136"/>
                    <a:pt x="401" y="136"/>
                    <a:pt x="401" y="136"/>
                  </a:cubicBezTo>
                  <a:cubicBezTo>
                    <a:pt x="401" y="136"/>
                    <a:pt x="401" y="136"/>
                    <a:pt x="401" y="136"/>
                  </a:cubicBezTo>
                  <a:cubicBezTo>
                    <a:pt x="401" y="135"/>
                    <a:pt x="401" y="135"/>
                    <a:pt x="401" y="135"/>
                  </a:cubicBezTo>
                  <a:cubicBezTo>
                    <a:pt x="401" y="135"/>
                    <a:pt x="401" y="135"/>
                    <a:pt x="401" y="135"/>
                  </a:cubicBezTo>
                  <a:cubicBezTo>
                    <a:pt x="401" y="135"/>
                    <a:pt x="401" y="135"/>
                    <a:pt x="401" y="135"/>
                  </a:cubicBezTo>
                  <a:cubicBezTo>
                    <a:pt x="401" y="135"/>
                    <a:pt x="401" y="135"/>
                    <a:pt x="401" y="135"/>
                  </a:cubicBezTo>
                  <a:cubicBezTo>
                    <a:pt x="402" y="135"/>
                    <a:pt x="402" y="135"/>
                    <a:pt x="402" y="135"/>
                  </a:cubicBezTo>
                  <a:cubicBezTo>
                    <a:pt x="402" y="135"/>
                    <a:pt x="402" y="135"/>
                    <a:pt x="402" y="135"/>
                  </a:cubicBezTo>
                  <a:cubicBezTo>
                    <a:pt x="402" y="135"/>
                    <a:pt x="402" y="135"/>
                    <a:pt x="402" y="135"/>
                  </a:cubicBezTo>
                  <a:cubicBezTo>
                    <a:pt x="402" y="135"/>
                    <a:pt x="402" y="135"/>
                    <a:pt x="402" y="135"/>
                  </a:cubicBezTo>
                  <a:cubicBezTo>
                    <a:pt x="402" y="135"/>
                    <a:pt x="402" y="135"/>
                    <a:pt x="402" y="135"/>
                  </a:cubicBezTo>
                  <a:cubicBezTo>
                    <a:pt x="402" y="135"/>
                    <a:pt x="402" y="135"/>
                    <a:pt x="402" y="135"/>
                  </a:cubicBezTo>
                  <a:cubicBezTo>
                    <a:pt x="402" y="135"/>
                    <a:pt x="402" y="135"/>
                    <a:pt x="402" y="135"/>
                  </a:cubicBezTo>
                  <a:cubicBezTo>
                    <a:pt x="402" y="136"/>
                    <a:pt x="402" y="136"/>
                    <a:pt x="401" y="136"/>
                  </a:cubicBezTo>
                  <a:cubicBezTo>
                    <a:pt x="401" y="136"/>
                    <a:pt x="401" y="136"/>
                    <a:pt x="401" y="136"/>
                  </a:cubicBezTo>
                  <a:cubicBezTo>
                    <a:pt x="401" y="136"/>
                    <a:pt x="401" y="136"/>
                    <a:pt x="401" y="136"/>
                  </a:cubicBezTo>
                  <a:cubicBezTo>
                    <a:pt x="401" y="137"/>
                    <a:pt x="400" y="137"/>
                    <a:pt x="400" y="138"/>
                  </a:cubicBezTo>
                  <a:cubicBezTo>
                    <a:pt x="399" y="138"/>
                    <a:pt x="399" y="138"/>
                    <a:pt x="399" y="138"/>
                  </a:cubicBezTo>
                  <a:cubicBezTo>
                    <a:pt x="399" y="139"/>
                    <a:pt x="399" y="139"/>
                    <a:pt x="399" y="139"/>
                  </a:cubicBezTo>
                  <a:cubicBezTo>
                    <a:pt x="399" y="139"/>
                    <a:pt x="399" y="139"/>
                    <a:pt x="399" y="139"/>
                  </a:cubicBezTo>
                  <a:cubicBezTo>
                    <a:pt x="400" y="139"/>
                    <a:pt x="400" y="139"/>
                    <a:pt x="400" y="139"/>
                  </a:cubicBezTo>
                  <a:cubicBezTo>
                    <a:pt x="400" y="139"/>
                    <a:pt x="400" y="139"/>
                    <a:pt x="400" y="139"/>
                  </a:cubicBezTo>
                  <a:cubicBezTo>
                    <a:pt x="400" y="139"/>
                    <a:pt x="400" y="139"/>
                    <a:pt x="400" y="139"/>
                  </a:cubicBezTo>
                  <a:cubicBezTo>
                    <a:pt x="400" y="139"/>
                    <a:pt x="400" y="139"/>
                    <a:pt x="400" y="139"/>
                  </a:cubicBezTo>
                  <a:cubicBezTo>
                    <a:pt x="400" y="140"/>
                    <a:pt x="400" y="140"/>
                    <a:pt x="400" y="140"/>
                  </a:cubicBezTo>
                  <a:cubicBezTo>
                    <a:pt x="400" y="140"/>
                    <a:pt x="400" y="140"/>
                    <a:pt x="400" y="140"/>
                  </a:cubicBezTo>
                  <a:cubicBezTo>
                    <a:pt x="400" y="140"/>
                    <a:pt x="400" y="140"/>
                    <a:pt x="400" y="140"/>
                  </a:cubicBezTo>
                  <a:cubicBezTo>
                    <a:pt x="400" y="140"/>
                    <a:pt x="400" y="140"/>
                    <a:pt x="400" y="140"/>
                  </a:cubicBezTo>
                  <a:cubicBezTo>
                    <a:pt x="400" y="140"/>
                    <a:pt x="400" y="140"/>
                    <a:pt x="400" y="140"/>
                  </a:cubicBezTo>
                  <a:cubicBezTo>
                    <a:pt x="400" y="140"/>
                    <a:pt x="400" y="140"/>
                    <a:pt x="400" y="140"/>
                  </a:cubicBezTo>
                  <a:cubicBezTo>
                    <a:pt x="400" y="140"/>
                    <a:pt x="400" y="140"/>
                    <a:pt x="400" y="140"/>
                  </a:cubicBezTo>
                  <a:cubicBezTo>
                    <a:pt x="401" y="140"/>
                    <a:pt x="401" y="140"/>
                    <a:pt x="401" y="140"/>
                  </a:cubicBezTo>
                  <a:cubicBezTo>
                    <a:pt x="401" y="140"/>
                    <a:pt x="402" y="140"/>
                    <a:pt x="402" y="140"/>
                  </a:cubicBezTo>
                  <a:cubicBezTo>
                    <a:pt x="403" y="140"/>
                    <a:pt x="403" y="140"/>
                    <a:pt x="403" y="140"/>
                  </a:cubicBezTo>
                  <a:cubicBezTo>
                    <a:pt x="403" y="140"/>
                    <a:pt x="403" y="140"/>
                    <a:pt x="403" y="140"/>
                  </a:cubicBezTo>
                  <a:cubicBezTo>
                    <a:pt x="403" y="140"/>
                    <a:pt x="403" y="140"/>
                    <a:pt x="403" y="140"/>
                  </a:cubicBezTo>
                  <a:cubicBezTo>
                    <a:pt x="403" y="140"/>
                    <a:pt x="403" y="140"/>
                    <a:pt x="403" y="140"/>
                  </a:cubicBezTo>
                  <a:cubicBezTo>
                    <a:pt x="403" y="140"/>
                    <a:pt x="403" y="140"/>
                    <a:pt x="403" y="140"/>
                  </a:cubicBezTo>
                  <a:cubicBezTo>
                    <a:pt x="403" y="140"/>
                    <a:pt x="403" y="140"/>
                    <a:pt x="403" y="140"/>
                  </a:cubicBezTo>
                  <a:cubicBezTo>
                    <a:pt x="404" y="139"/>
                    <a:pt x="404" y="139"/>
                    <a:pt x="405" y="139"/>
                  </a:cubicBezTo>
                  <a:cubicBezTo>
                    <a:pt x="405" y="139"/>
                    <a:pt x="405" y="139"/>
                    <a:pt x="405" y="139"/>
                  </a:cubicBezTo>
                  <a:cubicBezTo>
                    <a:pt x="405" y="139"/>
                    <a:pt x="405" y="139"/>
                    <a:pt x="405" y="139"/>
                  </a:cubicBezTo>
                  <a:cubicBezTo>
                    <a:pt x="406" y="140"/>
                    <a:pt x="407" y="140"/>
                    <a:pt x="407" y="141"/>
                  </a:cubicBezTo>
                  <a:cubicBezTo>
                    <a:pt x="407" y="142"/>
                    <a:pt x="407" y="142"/>
                    <a:pt x="407" y="142"/>
                  </a:cubicBezTo>
                  <a:cubicBezTo>
                    <a:pt x="406" y="142"/>
                    <a:pt x="406" y="142"/>
                    <a:pt x="406" y="142"/>
                  </a:cubicBezTo>
                  <a:cubicBezTo>
                    <a:pt x="406" y="142"/>
                    <a:pt x="406" y="142"/>
                    <a:pt x="406" y="142"/>
                  </a:cubicBezTo>
                  <a:cubicBezTo>
                    <a:pt x="406" y="142"/>
                    <a:pt x="406" y="142"/>
                    <a:pt x="406" y="142"/>
                  </a:cubicBezTo>
                  <a:cubicBezTo>
                    <a:pt x="406" y="142"/>
                    <a:pt x="406" y="143"/>
                    <a:pt x="406" y="143"/>
                  </a:cubicBezTo>
                  <a:cubicBezTo>
                    <a:pt x="406" y="143"/>
                    <a:pt x="406" y="143"/>
                    <a:pt x="406" y="143"/>
                  </a:cubicBezTo>
                  <a:cubicBezTo>
                    <a:pt x="406" y="143"/>
                    <a:pt x="406" y="143"/>
                    <a:pt x="406" y="143"/>
                  </a:cubicBezTo>
                  <a:cubicBezTo>
                    <a:pt x="406" y="144"/>
                    <a:pt x="405" y="144"/>
                    <a:pt x="406" y="145"/>
                  </a:cubicBezTo>
                  <a:cubicBezTo>
                    <a:pt x="406" y="145"/>
                    <a:pt x="406" y="145"/>
                    <a:pt x="406" y="145"/>
                  </a:cubicBezTo>
                  <a:cubicBezTo>
                    <a:pt x="406" y="146"/>
                    <a:pt x="406" y="146"/>
                    <a:pt x="406" y="146"/>
                  </a:cubicBezTo>
                  <a:cubicBezTo>
                    <a:pt x="406" y="146"/>
                    <a:pt x="406" y="146"/>
                    <a:pt x="406" y="146"/>
                  </a:cubicBezTo>
                  <a:cubicBezTo>
                    <a:pt x="406" y="146"/>
                    <a:pt x="406" y="146"/>
                    <a:pt x="406" y="146"/>
                  </a:cubicBezTo>
                  <a:cubicBezTo>
                    <a:pt x="406" y="146"/>
                    <a:pt x="406" y="146"/>
                    <a:pt x="406" y="146"/>
                  </a:cubicBezTo>
                  <a:cubicBezTo>
                    <a:pt x="406" y="146"/>
                    <a:pt x="406" y="146"/>
                    <a:pt x="406" y="146"/>
                  </a:cubicBezTo>
                  <a:cubicBezTo>
                    <a:pt x="406" y="147"/>
                    <a:pt x="406" y="147"/>
                    <a:pt x="406" y="147"/>
                  </a:cubicBezTo>
                  <a:cubicBezTo>
                    <a:pt x="406" y="147"/>
                    <a:pt x="405" y="147"/>
                    <a:pt x="405" y="148"/>
                  </a:cubicBezTo>
                  <a:cubicBezTo>
                    <a:pt x="405" y="148"/>
                    <a:pt x="405" y="148"/>
                    <a:pt x="405" y="148"/>
                  </a:cubicBezTo>
                  <a:cubicBezTo>
                    <a:pt x="405" y="148"/>
                    <a:pt x="405" y="148"/>
                    <a:pt x="405" y="148"/>
                  </a:cubicBezTo>
                  <a:cubicBezTo>
                    <a:pt x="405" y="148"/>
                    <a:pt x="405" y="149"/>
                    <a:pt x="405" y="149"/>
                  </a:cubicBezTo>
                  <a:cubicBezTo>
                    <a:pt x="404" y="150"/>
                    <a:pt x="404" y="150"/>
                    <a:pt x="404" y="150"/>
                  </a:cubicBezTo>
                  <a:cubicBezTo>
                    <a:pt x="404" y="151"/>
                    <a:pt x="404" y="151"/>
                    <a:pt x="404" y="151"/>
                  </a:cubicBezTo>
                  <a:cubicBezTo>
                    <a:pt x="404" y="151"/>
                    <a:pt x="404" y="151"/>
                    <a:pt x="404" y="151"/>
                  </a:cubicBezTo>
                  <a:cubicBezTo>
                    <a:pt x="404" y="151"/>
                    <a:pt x="404" y="151"/>
                    <a:pt x="404" y="151"/>
                  </a:cubicBezTo>
                  <a:cubicBezTo>
                    <a:pt x="405" y="151"/>
                    <a:pt x="405" y="151"/>
                    <a:pt x="405" y="151"/>
                  </a:cubicBezTo>
                  <a:cubicBezTo>
                    <a:pt x="405" y="151"/>
                    <a:pt x="405" y="151"/>
                    <a:pt x="405" y="151"/>
                  </a:cubicBezTo>
                  <a:cubicBezTo>
                    <a:pt x="405" y="151"/>
                    <a:pt x="405" y="151"/>
                    <a:pt x="405" y="151"/>
                  </a:cubicBezTo>
                  <a:cubicBezTo>
                    <a:pt x="406" y="152"/>
                    <a:pt x="406" y="152"/>
                    <a:pt x="406" y="152"/>
                  </a:cubicBezTo>
                  <a:cubicBezTo>
                    <a:pt x="406" y="152"/>
                    <a:pt x="406" y="152"/>
                    <a:pt x="406" y="152"/>
                  </a:cubicBezTo>
                  <a:cubicBezTo>
                    <a:pt x="406" y="152"/>
                    <a:pt x="406" y="152"/>
                    <a:pt x="406" y="152"/>
                  </a:cubicBezTo>
                  <a:cubicBezTo>
                    <a:pt x="407" y="153"/>
                    <a:pt x="407" y="153"/>
                    <a:pt x="407" y="153"/>
                  </a:cubicBezTo>
                  <a:cubicBezTo>
                    <a:pt x="407" y="153"/>
                    <a:pt x="407" y="153"/>
                    <a:pt x="407" y="153"/>
                  </a:cubicBezTo>
                  <a:cubicBezTo>
                    <a:pt x="406" y="153"/>
                    <a:pt x="406" y="153"/>
                    <a:pt x="406" y="153"/>
                  </a:cubicBezTo>
                  <a:cubicBezTo>
                    <a:pt x="406" y="153"/>
                    <a:pt x="406" y="153"/>
                    <a:pt x="406" y="153"/>
                  </a:cubicBezTo>
                  <a:cubicBezTo>
                    <a:pt x="406" y="153"/>
                    <a:pt x="406" y="153"/>
                    <a:pt x="406" y="153"/>
                  </a:cubicBezTo>
                  <a:cubicBezTo>
                    <a:pt x="406" y="154"/>
                    <a:pt x="406" y="154"/>
                    <a:pt x="406" y="154"/>
                  </a:cubicBezTo>
                  <a:cubicBezTo>
                    <a:pt x="406" y="154"/>
                    <a:pt x="406" y="154"/>
                    <a:pt x="406" y="154"/>
                  </a:cubicBezTo>
                  <a:cubicBezTo>
                    <a:pt x="405" y="154"/>
                    <a:pt x="405" y="154"/>
                    <a:pt x="405" y="154"/>
                  </a:cubicBezTo>
                  <a:cubicBezTo>
                    <a:pt x="405" y="155"/>
                    <a:pt x="405" y="155"/>
                    <a:pt x="405" y="155"/>
                  </a:cubicBezTo>
                  <a:cubicBezTo>
                    <a:pt x="405" y="155"/>
                    <a:pt x="405" y="155"/>
                    <a:pt x="405" y="155"/>
                  </a:cubicBezTo>
                  <a:cubicBezTo>
                    <a:pt x="405" y="155"/>
                    <a:pt x="405" y="155"/>
                    <a:pt x="405" y="155"/>
                  </a:cubicBezTo>
                  <a:cubicBezTo>
                    <a:pt x="405" y="155"/>
                    <a:pt x="405" y="155"/>
                    <a:pt x="405" y="155"/>
                  </a:cubicBezTo>
                  <a:cubicBezTo>
                    <a:pt x="404" y="155"/>
                    <a:pt x="404" y="154"/>
                    <a:pt x="403" y="154"/>
                  </a:cubicBezTo>
                  <a:cubicBezTo>
                    <a:pt x="403" y="154"/>
                    <a:pt x="403" y="154"/>
                    <a:pt x="403" y="154"/>
                  </a:cubicBezTo>
                  <a:cubicBezTo>
                    <a:pt x="403" y="154"/>
                    <a:pt x="403" y="154"/>
                    <a:pt x="403"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5"/>
                    <a:pt x="402" y="155"/>
                    <a:pt x="402" y="155"/>
                  </a:cubicBezTo>
                  <a:cubicBezTo>
                    <a:pt x="402" y="155"/>
                    <a:pt x="402" y="155"/>
                    <a:pt x="402" y="155"/>
                  </a:cubicBezTo>
                  <a:cubicBezTo>
                    <a:pt x="402" y="155"/>
                    <a:pt x="402" y="155"/>
                    <a:pt x="402" y="155"/>
                  </a:cubicBezTo>
                  <a:cubicBezTo>
                    <a:pt x="402" y="155"/>
                    <a:pt x="402" y="155"/>
                    <a:pt x="402" y="155"/>
                  </a:cubicBezTo>
                  <a:cubicBezTo>
                    <a:pt x="402" y="158"/>
                    <a:pt x="400" y="158"/>
                    <a:pt x="401" y="162"/>
                  </a:cubicBezTo>
                  <a:cubicBezTo>
                    <a:pt x="401" y="162"/>
                    <a:pt x="401" y="162"/>
                    <a:pt x="401" y="162"/>
                  </a:cubicBezTo>
                  <a:cubicBezTo>
                    <a:pt x="401" y="162"/>
                    <a:pt x="401" y="162"/>
                    <a:pt x="401" y="162"/>
                  </a:cubicBezTo>
                  <a:cubicBezTo>
                    <a:pt x="401" y="162"/>
                    <a:pt x="401" y="162"/>
                    <a:pt x="401" y="162"/>
                  </a:cubicBezTo>
                  <a:cubicBezTo>
                    <a:pt x="401" y="162"/>
                    <a:pt x="401" y="162"/>
                    <a:pt x="401" y="162"/>
                  </a:cubicBezTo>
                  <a:cubicBezTo>
                    <a:pt x="402" y="162"/>
                    <a:pt x="402" y="162"/>
                    <a:pt x="402" y="162"/>
                  </a:cubicBezTo>
                  <a:cubicBezTo>
                    <a:pt x="402" y="162"/>
                    <a:pt x="402" y="162"/>
                    <a:pt x="402" y="162"/>
                  </a:cubicBezTo>
                  <a:cubicBezTo>
                    <a:pt x="402" y="162"/>
                    <a:pt x="402" y="162"/>
                    <a:pt x="402" y="162"/>
                  </a:cubicBezTo>
                  <a:cubicBezTo>
                    <a:pt x="402" y="161"/>
                    <a:pt x="402" y="161"/>
                    <a:pt x="402" y="161"/>
                  </a:cubicBezTo>
                  <a:cubicBezTo>
                    <a:pt x="402" y="161"/>
                    <a:pt x="402" y="161"/>
                    <a:pt x="402" y="161"/>
                  </a:cubicBezTo>
                  <a:cubicBezTo>
                    <a:pt x="402" y="161"/>
                    <a:pt x="402" y="161"/>
                    <a:pt x="402" y="161"/>
                  </a:cubicBezTo>
                  <a:cubicBezTo>
                    <a:pt x="402" y="161"/>
                    <a:pt x="402" y="161"/>
                    <a:pt x="402" y="161"/>
                  </a:cubicBezTo>
                  <a:cubicBezTo>
                    <a:pt x="402" y="161"/>
                    <a:pt x="402" y="161"/>
                    <a:pt x="402" y="161"/>
                  </a:cubicBezTo>
                  <a:cubicBezTo>
                    <a:pt x="402" y="161"/>
                    <a:pt x="402" y="161"/>
                    <a:pt x="402" y="161"/>
                  </a:cubicBezTo>
                  <a:cubicBezTo>
                    <a:pt x="403" y="161"/>
                    <a:pt x="403" y="161"/>
                    <a:pt x="403" y="161"/>
                  </a:cubicBezTo>
                  <a:cubicBezTo>
                    <a:pt x="403" y="161"/>
                    <a:pt x="403" y="161"/>
                    <a:pt x="403" y="161"/>
                  </a:cubicBezTo>
                  <a:cubicBezTo>
                    <a:pt x="403" y="161"/>
                    <a:pt x="403" y="161"/>
                    <a:pt x="403" y="161"/>
                  </a:cubicBezTo>
                  <a:cubicBezTo>
                    <a:pt x="403" y="160"/>
                    <a:pt x="403" y="160"/>
                    <a:pt x="403" y="160"/>
                  </a:cubicBezTo>
                  <a:cubicBezTo>
                    <a:pt x="403" y="160"/>
                    <a:pt x="403" y="160"/>
                    <a:pt x="403" y="160"/>
                  </a:cubicBezTo>
                  <a:cubicBezTo>
                    <a:pt x="403" y="160"/>
                    <a:pt x="403" y="160"/>
                    <a:pt x="403" y="160"/>
                  </a:cubicBezTo>
                  <a:cubicBezTo>
                    <a:pt x="403" y="160"/>
                    <a:pt x="403" y="160"/>
                    <a:pt x="403" y="160"/>
                  </a:cubicBezTo>
                  <a:cubicBezTo>
                    <a:pt x="403" y="160"/>
                    <a:pt x="403" y="160"/>
                    <a:pt x="403" y="160"/>
                  </a:cubicBezTo>
                  <a:cubicBezTo>
                    <a:pt x="403" y="160"/>
                    <a:pt x="403" y="160"/>
                    <a:pt x="403" y="160"/>
                  </a:cubicBezTo>
                  <a:cubicBezTo>
                    <a:pt x="404" y="160"/>
                    <a:pt x="404" y="160"/>
                    <a:pt x="404" y="160"/>
                  </a:cubicBezTo>
                  <a:cubicBezTo>
                    <a:pt x="404" y="160"/>
                    <a:pt x="404" y="160"/>
                    <a:pt x="404" y="160"/>
                  </a:cubicBezTo>
                  <a:cubicBezTo>
                    <a:pt x="404" y="160"/>
                    <a:pt x="405" y="161"/>
                    <a:pt x="405" y="161"/>
                  </a:cubicBezTo>
                  <a:cubicBezTo>
                    <a:pt x="406" y="161"/>
                    <a:pt x="406" y="161"/>
                    <a:pt x="406" y="161"/>
                  </a:cubicBezTo>
                  <a:cubicBezTo>
                    <a:pt x="406" y="161"/>
                    <a:pt x="406" y="161"/>
                    <a:pt x="406" y="161"/>
                  </a:cubicBezTo>
                  <a:cubicBezTo>
                    <a:pt x="406" y="161"/>
                    <a:pt x="406" y="161"/>
                    <a:pt x="406" y="161"/>
                  </a:cubicBezTo>
                  <a:cubicBezTo>
                    <a:pt x="406" y="161"/>
                    <a:pt x="406" y="161"/>
                    <a:pt x="406" y="161"/>
                  </a:cubicBezTo>
                  <a:cubicBezTo>
                    <a:pt x="407" y="161"/>
                    <a:pt x="407" y="161"/>
                    <a:pt x="408" y="161"/>
                  </a:cubicBezTo>
                  <a:cubicBezTo>
                    <a:pt x="408" y="161"/>
                    <a:pt x="408" y="161"/>
                    <a:pt x="408" y="161"/>
                  </a:cubicBezTo>
                  <a:cubicBezTo>
                    <a:pt x="408" y="161"/>
                    <a:pt x="408" y="161"/>
                    <a:pt x="408" y="161"/>
                  </a:cubicBezTo>
                  <a:cubicBezTo>
                    <a:pt x="409" y="162"/>
                    <a:pt x="409" y="162"/>
                    <a:pt x="410" y="162"/>
                  </a:cubicBezTo>
                  <a:cubicBezTo>
                    <a:pt x="410" y="162"/>
                    <a:pt x="410" y="162"/>
                    <a:pt x="410" y="162"/>
                  </a:cubicBezTo>
                  <a:cubicBezTo>
                    <a:pt x="410" y="162"/>
                    <a:pt x="410" y="162"/>
                    <a:pt x="410" y="162"/>
                  </a:cubicBezTo>
                  <a:cubicBezTo>
                    <a:pt x="410" y="162"/>
                    <a:pt x="410" y="162"/>
                    <a:pt x="410" y="162"/>
                  </a:cubicBezTo>
                  <a:cubicBezTo>
                    <a:pt x="410" y="162"/>
                    <a:pt x="410" y="162"/>
                    <a:pt x="410" y="162"/>
                  </a:cubicBezTo>
                  <a:cubicBezTo>
                    <a:pt x="410" y="163"/>
                    <a:pt x="410" y="163"/>
                    <a:pt x="410" y="163"/>
                  </a:cubicBezTo>
                  <a:cubicBezTo>
                    <a:pt x="410" y="163"/>
                    <a:pt x="410" y="163"/>
                    <a:pt x="410" y="163"/>
                  </a:cubicBezTo>
                  <a:cubicBezTo>
                    <a:pt x="410" y="163"/>
                    <a:pt x="410" y="163"/>
                    <a:pt x="410" y="163"/>
                  </a:cubicBezTo>
                  <a:cubicBezTo>
                    <a:pt x="411" y="163"/>
                    <a:pt x="411" y="163"/>
                    <a:pt x="411" y="163"/>
                  </a:cubicBezTo>
                  <a:cubicBezTo>
                    <a:pt x="411" y="163"/>
                    <a:pt x="411" y="163"/>
                    <a:pt x="411" y="163"/>
                  </a:cubicBezTo>
                  <a:cubicBezTo>
                    <a:pt x="411" y="163"/>
                    <a:pt x="411" y="163"/>
                    <a:pt x="411" y="163"/>
                  </a:cubicBezTo>
                  <a:cubicBezTo>
                    <a:pt x="411" y="163"/>
                    <a:pt x="411" y="163"/>
                    <a:pt x="411" y="163"/>
                  </a:cubicBezTo>
                  <a:cubicBezTo>
                    <a:pt x="411" y="163"/>
                    <a:pt x="411" y="163"/>
                    <a:pt x="411" y="163"/>
                  </a:cubicBezTo>
                  <a:cubicBezTo>
                    <a:pt x="411" y="163"/>
                    <a:pt x="411" y="163"/>
                    <a:pt x="411" y="163"/>
                  </a:cubicBezTo>
                  <a:cubicBezTo>
                    <a:pt x="411" y="163"/>
                    <a:pt x="411" y="163"/>
                    <a:pt x="411" y="163"/>
                  </a:cubicBezTo>
                  <a:cubicBezTo>
                    <a:pt x="412" y="163"/>
                    <a:pt x="412" y="163"/>
                    <a:pt x="412" y="163"/>
                  </a:cubicBezTo>
                  <a:cubicBezTo>
                    <a:pt x="412" y="163"/>
                    <a:pt x="412" y="163"/>
                    <a:pt x="412" y="163"/>
                  </a:cubicBezTo>
                  <a:cubicBezTo>
                    <a:pt x="412" y="164"/>
                    <a:pt x="412" y="164"/>
                    <a:pt x="412" y="164"/>
                  </a:cubicBezTo>
                  <a:cubicBezTo>
                    <a:pt x="412" y="164"/>
                    <a:pt x="412" y="164"/>
                    <a:pt x="412" y="164"/>
                  </a:cubicBezTo>
                  <a:cubicBezTo>
                    <a:pt x="413" y="164"/>
                    <a:pt x="413" y="164"/>
                    <a:pt x="413" y="164"/>
                  </a:cubicBezTo>
                  <a:cubicBezTo>
                    <a:pt x="413" y="164"/>
                    <a:pt x="413" y="164"/>
                    <a:pt x="413" y="164"/>
                  </a:cubicBezTo>
                  <a:cubicBezTo>
                    <a:pt x="413" y="164"/>
                    <a:pt x="413" y="164"/>
                    <a:pt x="413" y="164"/>
                  </a:cubicBezTo>
                  <a:cubicBezTo>
                    <a:pt x="413" y="164"/>
                    <a:pt x="413" y="164"/>
                    <a:pt x="413" y="164"/>
                  </a:cubicBezTo>
                  <a:cubicBezTo>
                    <a:pt x="413" y="164"/>
                    <a:pt x="413" y="164"/>
                    <a:pt x="413" y="164"/>
                  </a:cubicBezTo>
                  <a:cubicBezTo>
                    <a:pt x="413" y="164"/>
                    <a:pt x="413" y="164"/>
                    <a:pt x="413" y="164"/>
                  </a:cubicBezTo>
                  <a:cubicBezTo>
                    <a:pt x="413" y="164"/>
                    <a:pt x="413" y="164"/>
                    <a:pt x="413" y="164"/>
                  </a:cubicBezTo>
                  <a:cubicBezTo>
                    <a:pt x="414" y="163"/>
                    <a:pt x="414" y="163"/>
                    <a:pt x="414" y="163"/>
                  </a:cubicBezTo>
                  <a:cubicBezTo>
                    <a:pt x="414" y="163"/>
                    <a:pt x="414" y="163"/>
                    <a:pt x="414" y="163"/>
                  </a:cubicBezTo>
                  <a:cubicBezTo>
                    <a:pt x="414" y="163"/>
                    <a:pt x="414" y="163"/>
                    <a:pt x="414" y="163"/>
                  </a:cubicBezTo>
                  <a:cubicBezTo>
                    <a:pt x="414" y="163"/>
                    <a:pt x="414" y="163"/>
                    <a:pt x="414" y="163"/>
                  </a:cubicBezTo>
                  <a:cubicBezTo>
                    <a:pt x="414" y="163"/>
                    <a:pt x="414" y="163"/>
                    <a:pt x="414" y="163"/>
                  </a:cubicBezTo>
                  <a:cubicBezTo>
                    <a:pt x="414" y="163"/>
                    <a:pt x="414" y="163"/>
                    <a:pt x="414" y="163"/>
                  </a:cubicBezTo>
                  <a:cubicBezTo>
                    <a:pt x="414" y="164"/>
                    <a:pt x="414" y="164"/>
                    <a:pt x="414" y="164"/>
                  </a:cubicBezTo>
                  <a:cubicBezTo>
                    <a:pt x="414" y="164"/>
                    <a:pt x="414" y="164"/>
                    <a:pt x="414" y="164"/>
                  </a:cubicBezTo>
                  <a:cubicBezTo>
                    <a:pt x="414" y="164"/>
                    <a:pt x="414" y="164"/>
                    <a:pt x="414" y="164"/>
                  </a:cubicBezTo>
                  <a:cubicBezTo>
                    <a:pt x="414" y="164"/>
                    <a:pt x="414" y="164"/>
                    <a:pt x="414" y="164"/>
                  </a:cubicBezTo>
                  <a:cubicBezTo>
                    <a:pt x="414" y="164"/>
                    <a:pt x="414" y="164"/>
                    <a:pt x="414" y="164"/>
                  </a:cubicBezTo>
                  <a:cubicBezTo>
                    <a:pt x="414" y="164"/>
                    <a:pt x="414" y="164"/>
                    <a:pt x="414" y="164"/>
                  </a:cubicBezTo>
                  <a:cubicBezTo>
                    <a:pt x="414" y="165"/>
                    <a:pt x="414" y="165"/>
                    <a:pt x="414" y="165"/>
                  </a:cubicBezTo>
                  <a:cubicBezTo>
                    <a:pt x="414" y="165"/>
                    <a:pt x="414" y="165"/>
                    <a:pt x="414" y="165"/>
                  </a:cubicBezTo>
                  <a:cubicBezTo>
                    <a:pt x="414" y="165"/>
                    <a:pt x="414" y="165"/>
                    <a:pt x="414" y="165"/>
                  </a:cubicBezTo>
                  <a:cubicBezTo>
                    <a:pt x="414" y="165"/>
                    <a:pt x="414" y="165"/>
                    <a:pt x="414" y="165"/>
                  </a:cubicBezTo>
                  <a:cubicBezTo>
                    <a:pt x="414" y="166"/>
                    <a:pt x="414" y="166"/>
                    <a:pt x="414" y="166"/>
                  </a:cubicBezTo>
                  <a:cubicBezTo>
                    <a:pt x="414" y="166"/>
                    <a:pt x="414" y="166"/>
                    <a:pt x="414" y="166"/>
                  </a:cubicBezTo>
                  <a:cubicBezTo>
                    <a:pt x="414" y="167"/>
                    <a:pt x="414" y="167"/>
                    <a:pt x="414" y="167"/>
                  </a:cubicBezTo>
                  <a:cubicBezTo>
                    <a:pt x="414" y="167"/>
                    <a:pt x="414" y="167"/>
                    <a:pt x="414" y="167"/>
                  </a:cubicBezTo>
                  <a:cubicBezTo>
                    <a:pt x="414" y="167"/>
                    <a:pt x="414" y="167"/>
                    <a:pt x="414" y="167"/>
                  </a:cubicBezTo>
                  <a:cubicBezTo>
                    <a:pt x="414" y="167"/>
                    <a:pt x="414" y="167"/>
                    <a:pt x="414" y="167"/>
                  </a:cubicBezTo>
                  <a:cubicBezTo>
                    <a:pt x="414" y="167"/>
                    <a:pt x="414" y="167"/>
                    <a:pt x="414" y="167"/>
                  </a:cubicBezTo>
                  <a:cubicBezTo>
                    <a:pt x="414" y="167"/>
                    <a:pt x="414" y="167"/>
                    <a:pt x="414" y="167"/>
                  </a:cubicBezTo>
                  <a:cubicBezTo>
                    <a:pt x="414" y="167"/>
                    <a:pt x="414" y="167"/>
                    <a:pt x="414" y="167"/>
                  </a:cubicBezTo>
                  <a:cubicBezTo>
                    <a:pt x="414" y="168"/>
                    <a:pt x="414" y="168"/>
                    <a:pt x="414" y="168"/>
                  </a:cubicBezTo>
                  <a:cubicBezTo>
                    <a:pt x="414" y="168"/>
                    <a:pt x="414" y="168"/>
                    <a:pt x="414" y="168"/>
                  </a:cubicBezTo>
                  <a:cubicBezTo>
                    <a:pt x="414" y="168"/>
                    <a:pt x="415" y="169"/>
                    <a:pt x="416" y="170"/>
                  </a:cubicBezTo>
                  <a:cubicBezTo>
                    <a:pt x="416" y="170"/>
                    <a:pt x="416" y="170"/>
                    <a:pt x="416" y="170"/>
                  </a:cubicBezTo>
                  <a:cubicBezTo>
                    <a:pt x="416" y="170"/>
                    <a:pt x="416" y="170"/>
                    <a:pt x="416" y="170"/>
                  </a:cubicBezTo>
                  <a:cubicBezTo>
                    <a:pt x="417" y="171"/>
                    <a:pt x="417" y="171"/>
                    <a:pt x="418" y="172"/>
                  </a:cubicBezTo>
                  <a:cubicBezTo>
                    <a:pt x="418" y="172"/>
                    <a:pt x="418" y="172"/>
                    <a:pt x="418" y="172"/>
                  </a:cubicBezTo>
                  <a:cubicBezTo>
                    <a:pt x="418" y="172"/>
                    <a:pt x="418" y="172"/>
                    <a:pt x="418" y="172"/>
                  </a:cubicBezTo>
                  <a:cubicBezTo>
                    <a:pt x="418" y="172"/>
                    <a:pt x="418" y="172"/>
                    <a:pt x="418" y="172"/>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9" y="173"/>
                    <a:pt x="419" y="173"/>
                    <a:pt x="419" y="173"/>
                  </a:cubicBezTo>
                  <a:cubicBezTo>
                    <a:pt x="419" y="173"/>
                    <a:pt x="419" y="173"/>
                    <a:pt x="419" y="173"/>
                  </a:cubicBezTo>
                  <a:cubicBezTo>
                    <a:pt x="419" y="173"/>
                    <a:pt x="419" y="173"/>
                    <a:pt x="419" y="173"/>
                  </a:cubicBezTo>
                  <a:cubicBezTo>
                    <a:pt x="420" y="174"/>
                    <a:pt x="420" y="174"/>
                    <a:pt x="421" y="174"/>
                  </a:cubicBezTo>
                  <a:cubicBezTo>
                    <a:pt x="421" y="174"/>
                    <a:pt x="421" y="174"/>
                    <a:pt x="421" y="174"/>
                  </a:cubicBezTo>
                  <a:cubicBezTo>
                    <a:pt x="421" y="174"/>
                    <a:pt x="421" y="174"/>
                    <a:pt x="421" y="174"/>
                  </a:cubicBezTo>
                  <a:cubicBezTo>
                    <a:pt x="421" y="174"/>
                    <a:pt x="421" y="174"/>
                    <a:pt x="421" y="174"/>
                  </a:cubicBezTo>
                  <a:cubicBezTo>
                    <a:pt x="421" y="174"/>
                    <a:pt x="421" y="174"/>
                    <a:pt x="421" y="174"/>
                  </a:cubicBezTo>
                  <a:cubicBezTo>
                    <a:pt x="422" y="174"/>
                    <a:pt x="422" y="174"/>
                    <a:pt x="423" y="174"/>
                  </a:cubicBezTo>
                  <a:cubicBezTo>
                    <a:pt x="423" y="173"/>
                    <a:pt x="423" y="173"/>
                    <a:pt x="423" y="173"/>
                  </a:cubicBezTo>
                  <a:cubicBezTo>
                    <a:pt x="423" y="173"/>
                    <a:pt x="423" y="173"/>
                    <a:pt x="423" y="173"/>
                  </a:cubicBezTo>
                  <a:cubicBezTo>
                    <a:pt x="423" y="173"/>
                    <a:pt x="423" y="173"/>
                    <a:pt x="423" y="173"/>
                  </a:cubicBezTo>
                  <a:cubicBezTo>
                    <a:pt x="423" y="173"/>
                    <a:pt x="423" y="173"/>
                    <a:pt x="423" y="173"/>
                  </a:cubicBezTo>
                  <a:cubicBezTo>
                    <a:pt x="424" y="173"/>
                    <a:pt x="424" y="173"/>
                    <a:pt x="424" y="173"/>
                  </a:cubicBezTo>
                  <a:cubicBezTo>
                    <a:pt x="424" y="173"/>
                    <a:pt x="424" y="173"/>
                    <a:pt x="424" y="173"/>
                  </a:cubicBezTo>
                  <a:cubicBezTo>
                    <a:pt x="424" y="173"/>
                    <a:pt x="424" y="173"/>
                    <a:pt x="424" y="173"/>
                  </a:cubicBezTo>
                  <a:cubicBezTo>
                    <a:pt x="424" y="173"/>
                    <a:pt x="424" y="173"/>
                    <a:pt x="424" y="173"/>
                  </a:cubicBezTo>
                  <a:cubicBezTo>
                    <a:pt x="424" y="174"/>
                    <a:pt x="424" y="174"/>
                    <a:pt x="424" y="174"/>
                  </a:cubicBezTo>
                  <a:cubicBezTo>
                    <a:pt x="424" y="174"/>
                    <a:pt x="424" y="174"/>
                    <a:pt x="424" y="174"/>
                  </a:cubicBezTo>
                  <a:cubicBezTo>
                    <a:pt x="424" y="174"/>
                    <a:pt x="424" y="174"/>
                    <a:pt x="424" y="174"/>
                  </a:cubicBezTo>
                  <a:cubicBezTo>
                    <a:pt x="425" y="173"/>
                    <a:pt x="425" y="173"/>
                    <a:pt x="425" y="173"/>
                  </a:cubicBezTo>
                  <a:cubicBezTo>
                    <a:pt x="425" y="173"/>
                    <a:pt x="425" y="173"/>
                    <a:pt x="425" y="173"/>
                  </a:cubicBezTo>
                  <a:cubicBezTo>
                    <a:pt x="425" y="173"/>
                    <a:pt x="425" y="173"/>
                    <a:pt x="425" y="173"/>
                  </a:cubicBezTo>
                  <a:cubicBezTo>
                    <a:pt x="426" y="173"/>
                    <a:pt x="426" y="173"/>
                    <a:pt x="426" y="173"/>
                  </a:cubicBezTo>
                  <a:cubicBezTo>
                    <a:pt x="426" y="173"/>
                    <a:pt x="426" y="173"/>
                    <a:pt x="426" y="173"/>
                  </a:cubicBezTo>
                  <a:cubicBezTo>
                    <a:pt x="426" y="173"/>
                    <a:pt x="426" y="173"/>
                    <a:pt x="426" y="173"/>
                  </a:cubicBezTo>
                  <a:cubicBezTo>
                    <a:pt x="424" y="174"/>
                    <a:pt x="426" y="174"/>
                    <a:pt x="423" y="174"/>
                  </a:cubicBezTo>
                  <a:cubicBezTo>
                    <a:pt x="423" y="175"/>
                    <a:pt x="423" y="175"/>
                    <a:pt x="423" y="175"/>
                  </a:cubicBezTo>
                  <a:cubicBezTo>
                    <a:pt x="423" y="175"/>
                    <a:pt x="423" y="175"/>
                    <a:pt x="423" y="175"/>
                  </a:cubicBezTo>
                  <a:cubicBezTo>
                    <a:pt x="423" y="175"/>
                    <a:pt x="423" y="175"/>
                    <a:pt x="423" y="175"/>
                  </a:cubicBezTo>
                  <a:cubicBezTo>
                    <a:pt x="424" y="175"/>
                    <a:pt x="424" y="175"/>
                    <a:pt x="424" y="175"/>
                  </a:cubicBezTo>
                  <a:cubicBezTo>
                    <a:pt x="424" y="175"/>
                    <a:pt x="424" y="175"/>
                    <a:pt x="424" y="175"/>
                  </a:cubicBezTo>
                  <a:cubicBezTo>
                    <a:pt x="424" y="175"/>
                    <a:pt x="424" y="175"/>
                    <a:pt x="424" y="175"/>
                  </a:cubicBezTo>
                  <a:cubicBezTo>
                    <a:pt x="425" y="175"/>
                    <a:pt x="425" y="175"/>
                    <a:pt x="425" y="175"/>
                  </a:cubicBezTo>
                  <a:cubicBezTo>
                    <a:pt x="425" y="175"/>
                    <a:pt x="425" y="175"/>
                    <a:pt x="425" y="175"/>
                  </a:cubicBezTo>
                  <a:cubicBezTo>
                    <a:pt x="425" y="175"/>
                    <a:pt x="425" y="175"/>
                    <a:pt x="425" y="175"/>
                  </a:cubicBezTo>
                  <a:cubicBezTo>
                    <a:pt x="425" y="175"/>
                    <a:pt x="425" y="175"/>
                    <a:pt x="425" y="175"/>
                  </a:cubicBezTo>
                  <a:cubicBezTo>
                    <a:pt x="425" y="176"/>
                    <a:pt x="425" y="176"/>
                    <a:pt x="425" y="176"/>
                  </a:cubicBezTo>
                  <a:cubicBezTo>
                    <a:pt x="425" y="176"/>
                    <a:pt x="425" y="176"/>
                    <a:pt x="425"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7"/>
                    <a:pt x="424" y="177"/>
                    <a:pt x="424" y="177"/>
                  </a:cubicBezTo>
                  <a:cubicBezTo>
                    <a:pt x="424" y="177"/>
                    <a:pt x="424" y="177"/>
                    <a:pt x="424" y="177"/>
                  </a:cubicBezTo>
                  <a:cubicBezTo>
                    <a:pt x="424" y="177"/>
                    <a:pt x="424" y="177"/>
                    <a:pt x="424" y="177"/>
                  </a:cubicBezTo>
                  <a:cubicBezTo>
                    <a:pt x="424" y="177"/>
                    <a:pt x="424" y="177"/>
                    <a:pt x="424" y="177"/>
                  </a:cubicBezTo>
                  <a:cubicBezTo>
                    <a:pt x="423" y="178"/>
                    <a:pt x="423" y="179"/>
                    <a:pt x="423" y="180"/>
                  </a:cubicBezTo>
                  <a:cubicBezTo>
                    <a:pt x="422" y="180"/>
                    <a:pt x="422" y="180"/>
                    <a:pt x="422" y="180"/>
                  </a:cubicBezTo>
                  <a:cubicBezTo>
                    <a:pt x="422" y="180"/>
                    <a:pt x="422" y="180"/>
                    <a:pt x="422" y="180"/>
                  </a:cubicBezTo>
                  <a:cubicBezTo>
                    <a:pt x="422" y="180"/>
                    <a:pt x="422" y="180"/>
                    <a:pt x="422" y="180"/>
                  </a:cubicBezTo>
                  <a:cubicBezTo>
                    <a:pt x="422" y="180"/>
                    <a:pt x="422" y="180"/>
                    <a:pt x="422" y="180"/>
                  </a:cubicBezTo>
                  <a:cubicBezTo>
                    <a:pt x="421" y="181"/>
                    <a:pt x="421" y="181"/>
                    <a:pt x="420" y="182"/>
                  </a:cubicBezTo>
                  <a:cubicBezTo>
                    <a:pt x="420" y="183"/>
                    <a:pt x="420" y="183"/>
                    <a:pt x="420" y="183"/>
                  </a:cubicBezTo>
                  <a:cubicBezTo>
                    <a:pt x="420" y="183"/>
                    <a:pt x="420" y="183"/>
                    <a:pt x="420" y="183"/>
                  </a:cubicBezTo>
                  <a:cubicBezTo>
                    <a:pt x="420" y="183"/>
                    <a:pt x="420" y="183"/>
                    <a:pt x="420" y="183"/>
                  </a:cubicBezTo>
                  <a:cubicBezTo>
                    <a:pt x="420" y="183"/>
                    <a:pt x="420" y="183"/>
                    <a:pt x="420" y="183"/>
                  </a:cubicBezTo>
                  <a:cubicBezTo>
                    <a:pt x="420" y="183"/>
                    <a:pt x="420" y="183"/>
                    <a:pt x="420" y="183"/>
                  </a:cubicBezTo>
                  <a:cubicBezTo>
                    <a:pt x="420" y="183"/>
                    <a:pt x="420" y="183"/>
                    <a:pt x="420" y="183"/>
                  </a:cubicBezTo>
                  <a:cubicBezTo>
                    <a:pt x="420" y="184"/>
                    <a:pt x="420" y="184"/>
                    <a:pt x="420" y="184"/>
                  </a:cubicBezTo>
                  <a:cubicBezTo>
                    <a:pt x="420" y="184"/>
                    <a:pt x="420" y="184"/>
                    <a:pt x="420" y="184"/>
                  </a:cubicBezTo>
                  <a:cubicBezTo>
                    <a:pt x="420" y="185"/>
                    <a:pt x="420" y="185"/>
                    <a:pt x="420" y="185"/>
                  </a:cubicBezTo>
                  <a:cubicBezTo>
                    <a:pt x="420" y="185"/>
                    <a:pt x="420" y="185"/>
                    <a:pt x="420" y="185"/>
                  </a:cubicBezTo>
                  <a:cubicBezTo>
                    <a:pt x="420" y="185"/>
                    <a:pt x="420" y="185"/>
                    <a:pt x="420" y="185"/>
                  </a:cubicBezTo>
                  <a:cubicBezTo>
                    <a:pt x="419" y="185"/>
                    <a:pt x="419" y="185"/>
                    <a:pt x="419" y="185"/>
                  </a:cubicBezTo>
                  <a:cubicBezTo>
                    <a:pt x="419" y="185"/>
                    <a:pt x="419" y="185"/>
                    <a:pt x="419" y="186"/>
                  </a:cubicBezTo>
                  <a:cubicBezTo>
                    <a:pt x="418" y="186"/>
                    <a:pt x="418" y="186"/>
                    <a:pt x="418" y="186"/>
                  </a:cubicBezTo>
                  <a:cubicBezTo>
                    <a:pt x="418" y="186"/>
                    <a:pt x="418" y="186"/>
                    <a:pt x="418" y="186"/>
                  </a:cubicBezTo>
                  <a:cubicBezTo>
                    <a:pt x="418" y="186"/>
                    <a:pt x="418" y="186"/>
                    <a:pt x="418" y="186"/>
                  </a:cubicBezTo>
                  <a:cubicBezTo>
                    <a:pt x="417" y="186"/>
                    <a:pt x="417" y="186"/>
                    <a:pt x="417" y="186"/>
                  </a:cubicBezTo>
                  <a:cubicBezTo>
                    <a:pt x="404" y="175"/>
                    <a:pt x="404" y="175"/>
                    <a:pt x="404" y="175"/>
                  </a:cubicBezTo>
                  <a:cubicBezTo>
                    <a:pt x="404" y="175"/>
                    <a:pt x="404" y="175"/>
                    <a:pt x="404" y="175"/>
                  </a:cubicBezTo>
                  <a:cubicBezTo>
                    <a:pt x="403" y="175"/>
                    <a:pt x="402" y="175"/>
                    <a:pt x="402" y="175"/>
                  </a:cubicBezTo>
                  <a:cubicBezTo>
                    <a:pt x="401" y="175"/>
                    <a:pt x="401" y="175"/>
                    <a:pt x="401" y="175"/>
                  </a:cubicBezTo>
                  <a:cubicBezTo>
                    <a:pt x="401" y="175"/>
                    <a:pt x="401" y="175"/>
                    <a:pt x="401" y="175"/>
                  </a:cubicBezTo>
                  <a:cubicBezTo>
                    <a:pt x="399" y="175"/>
                    <a:pt x="398" y="174"/>
                    <a:pt x="396" y="173"/>
                  </a:cubicBezTo>
                  <a:cubicBezTo>
                    <a:pt x="392" y="172"/>
                    <a:pt x="392" y="172"/>
                    <a:pt x="392" y="172"/>
                  </a:cubicBezTo>
                  <a:cubicBezTo>
                    <a:pt x="391" y="171"/>
                    <a:pt x="391" y="171"/>
                    <a:pt x="391" y="171"/>
                  </a:cubicBezTo>
                  <a:cubicBezTo>
                    <a:pt x="391" y="170"/>
                    <a:pt x="391" y="170"/>
                    <a:pt x="391" y="170"/>
                  </a:cubicBezTo>
                  <a:cubicBezTo>
                    <a:pt x="391" y="170"/>
                    <a:pt x="391" y="170"/>
                    <a:pt x="391" y="170"/>
                  </a:cubicBezTo>
                  <a:cubicBezTo>
                    <a:pt x="391" y="170"/>
                    <a:pt x="391" y="170"/>
                    <a:pt x="391" y="170"/>
                  </a:cubicBezTo>
                  <a:cubicBezTo>
                    <a:pt x="390" y="170"/>
                    <a:pt x="390" y="170"/>
                    <a:pt x="390" y="170"/>
                  </a:cubicBezTo>
                  <a:cubicBezTo>
                    <a:pt x="383" y="168"/>
                    <a:pt x="383" y="168"/>
                    <a:pt x="383" y="168"/>
                  </a:cubicBezTo>
                  <a:cubicBezTo>
                    <a:pt x="383" y="168"/>
                    <a:pt x="383" y="168"/>
                    <a:pt x="383" y="168"/>
                  </a:cubicBezTo>
                  <a:cubicBezTo>
                    <a:pt x="383" y="168"/>
                    <a:pt x="383" y="168"/>
                    <a:pt x="383" y="168"/>
                  </a:cubicBezTo>
                  <a:cubicBezTo>
                    <a:pt x="383" y="168"/>
                    <a:pt x="383" y="168"/>
                    <a:pt x="383" y="168"/>
                  </a:cubicBezTo>
                  <a:cubicBezTo>
                    <a:pt x="383" y="168"/>
                    <a:pt x="383" y="168"/>
                    <a:pt x="383" y="168"/>
                  </a:cubicBezTo>
                  <a:cubicBezTo>
                    <a:pt x="383" y="168"/>
                    <a:pt x="382" y="169"/>
                    <a:pt x="382" y="169"/>
                  </a:cubicBezTo>
                  <a:cubicBezTo>
                    <a:pt x="382" y="169"/>
                    <a:pt x="382" y="169"/>
                    <a:pt x="382" y="169"/>
                  </a:cubicBezTo>
                  <a:cubicBezTo>
                    <a:pt x="382" y="169"/>
                    <a:pt x="382" y="169"/>
                    <a:pt x="382" y="169"/>
                  </a:cubicBezTo>
                  <a:cubicBezTo>
                    <a:pt x="381" y="170"/>
                    <a:pt x="381" y="170"/>
                    <a:pt x="381" y="170"/>
                  </a:cubicBezTo>
                  <a:cubicBezTo>
                    <a:pt x="381" y="170"/>
                    <a:pt x="381" y="168"/>
                    <a:pt x="381" y="167"/>
                  </a:cubicBezTo>
                  <a:cubicBezTo>
                    <a:pt x="381" y="167"/>
                    <a:pt x="383" y="168"/>
                    <a:pt x="383" y="167"/>
                  </a:cubicBezTo>
                  <a:cubicBezTo>
                    <a:pt x="383" y="167"/>
                    <a:pt x="381" y="166"/>
                    <a:pt x="381" y="166"/>
                  </a:cubicBezTo>
                  <a:cubicBezTo>
                    <a:pt x="379" y="165"/>
                    <a:pt x="377" y="164"/>
                    <a:pt x="375" y="163"/>
                  </a:cubicBezTo>
                  <a:cubicBezTo>
                    <a:pt x="370" y="161"/>
                    <a:pt x="364" y="160"/>
                    <a:pt x="358" y="159"/>
                  </a:cubicBezTo>
                  <a:cubicBezTo>
                    <a:pt x="354" y="159"/>
                    <a:pt x="350" y="158"/>
                    <a:pt x="346" y="158"/>
                  </a:cubicBezTo>
                  <a:cubicBezTo>
                    <a:pt x="345" y="158"/>
                    <a:pt x="344" y="157"/>
                    <a:pt x="343" y="157"/>
                  </a:cubicBezTo>
                  <a:cubicBezTo>
                    <a:pt x="341" y="158"/>
                    <a:pt x="338" y="160"/>
                    <a:pt x="336" y="161"/>
                  </a:cubicBezTo>
                  <a:cubicBezTo>
                    <a:pt x="335" y="161"/>
                    <a:pt x="333" y="160"/>
                    <a:pt x="334" y="162"/>
                  </a:cubicBezTo>
                  <a:cubicBezTo>
                    <a:pt x="334" y="164"/>
                    <a:pt x="335" y="164"/>
                    <a:pt x="336" y="165"/>
                  </a:cubicBezTo>
                  <a:cubicBezTo>
                    <a:pt x="337" y="166"/>
                    <a:pt x="338" y="167"/>
                    <a:pt x="338" y="168"/>
                  </a:cubicBezTo>
                  <a:cubicBezTo>
                    <a:pt x="338" y="168"/>
                    <a:pt x="338" y="172"/>
                    <a:pt x="339" y="170"/>
                  </a:cubicBezTo>
                  <a:cubicBezTo>
                    <a:pt x="340" y="169"/>
                    <a:pt x="341" y="171"/>
                    <a:pt x="341" y="172"/>
                  </a:cubicBezTo>
                  <a:cubicBezTo>
                    <a:pt x="341" y="173"/>
                    <a:pt x="341" y="174"/>
                    <a:pt x="340" y="174"/>
                  </a:cubicBezTo>
                  <a:cubicBezTo>
                    <a:pt x="338" y="176"/>
                    <a:pt x="335" y="177"/>
                    <a:pt x="332" y="178"/>
                  </a:cubicBezTo>
                  <a:cubicBezTo>
                    <a:pt x="332" y="178"/>
                    <a:pt x="332" y="178"/>
                    <a:pt x="332" y="178"/>
                  </a:cubicBezTo>
                  <a:cubicBezTo>
                    <a:pt x="332" y="178"/>
                    <a:pt x="332" y="178"/>
                    <a:pt x="332" y="178"/>
                  </a:cubicBezTo>
                  <a:cubicBezTo>
                    <a:pt x="331" y="179"/>
                    <a:pt x="331" y="180"/>
                    <a:pt x="331" y="180"/>
                  </a:cubicBezTo>
                  <a:cubicBezTo>
                    <a:pt x="331" y="181"/>
                    <a:pt x="331" y="181"/>
                    <a:pt x="331" y="181"/>
                  </a:cubicBezTo>
                  <a:cubicBezTo>
                    <a:pt x="331" y="182"/>
                    <a:pt x="331" y="183"/>
                    <a:pt x="330" y="184"/>
                  </a:cubicBezTo>
                  <a:cubicBezTo>
                    <a:pt x="328" y="185"/>
                    <a:pt x="326" y="184"/>
                    <a:pt x="324" y="183"/>
                  </a:cubicBezTo>
                  <a:cubicBezTo>
                    <a:pt x="321" y="183"/>
                    <a:pt x="323" y="182"/>
                    <a:pt x="323" y="181"/>
                  </a:cubicBezTo>
                  <a:cubicBezTo>
                    <a:pt x="323" y="180"/>
                    <a:pt x="322" y="180"/>
                    <a:pt x="322" y="180"/>
                  </a:cubicBezTo>
                  <a:cubicBezTo>
                    <a:pt x="322" y="179"/>
                    <a:pt x="323" y="178"/>
                    <a:pt x="323" y="178"/>
                  </a:cubicBezTo>
                  <a:cubicBezTo>
                    <a:pt x="324" y="178"/>
                    <a:pt x="326" y="178"/>
                    <a:pt x="326" y="177"/>
                  </a:cubicBezTo>
                  <a:cubicBezTo>
                    <a:pt x="326" y="176"/>
                    <a:pt x="324" y="175"/>
                    <a:pt x="323" y="175"/>
                  </a:cubicBezTo>
                  <a:cubicBezTo>
                    <a:pt x="322" y="174"/>
                    <a:pt x="322" y="174"/>
                    <a:pt x="320" y="174"/>
                  </a:cubicBezTo>
                  <a:cubicBezTo>
                    <a:pt x="321" y="173"/>
                    <a:pt x="323" y="173"/>
                    <a:pt x="324" y="173"/>
                  </a:cubicBezTo>
                  <a:cubicBezTo>
                    <a:pt x="320" y="172"/>
                    <a:pt x="317" y="174"/>
                    <a:pt x="314" y="176"/>
                  </a:cubicBezTo>
                  <a:cubicBezTo>
                    <a:pt x="315" y="176"/>
                    <a:pt x="316" y="177"/>
                    <a:pt x="316" y="177"/>
                  </a:cubicBezTo>
                  <a:cubicBezTo>
                    <a:pt x="315" y="177"/>
                    <a:pt x="314" y="176"/>
                    <a:pt x="313" y="176"/>
                  </a:cubicBezTo>
                  <a:cubicBezTo>
                    <a:pt x="313" y="175"/>
                    <a:pt x="315" y="174"/>
                    <a:pt x="313" y="175"/>
                  </a:cubicBezTo>
                  <a:cubicBezTo>
                    <a:pt x="310" y="176"/>
                    <a:pt x="307" y="177"/>
                    <a:pt x="306" y="179"/>
                  </a:cubicBezTo>
                  <a:cubicBezTo>
                    <a:pt x="305" y="180"/>
                    <a:pt x="306" y="180"/>
                    <a:pt x="304" y="180"/>
                  </a:cubicBezTo>
                  <a:cubicBezTo>
                    <a:pt x="303" y="180"/>
                    <a:pt x="301" y="180"/>
                    <a:pt x="300" y="180"/>
                  </a:cubicBezTo>
                  <a:cubicBezTo>
                    <a:pt x="298" y="179"/>
                    <a:pt x="297" y="179"/>
                    <a:pt x="295" y="179"/>
                  </a:cubicBezTo>
                  <a:cubicBezTo>
                    <a:pt x="293" y="180"/>
                    <a:pt x="293" y="179"/>
                    <a:pt x="291" y="179"/>
                  </a:cubicBezTo>
                  <a:cubicBezTo>
                    <a:pt x="290" y="178"/>
                    <a:pt x="286" y="181"/>
                    <a:pt x="285" y="182"/>
                  </a:cubicBezTo>
                  <a:cubicBezTo>
                    <a:pt x="283" y="183"/>
                    <a:pt x="282" y="184"/>
                    <a:pt x="280" y="185"/>
                  </a:cubicBezTo>
                  <a:cubicBezTo>
                    <a:pt x="280" y="185"/>
                    <a:pt x="280" y="186"/>
                    <a:pt x="280" y="186"/>
                  </a:cubicBezTo>
                  <a:cubicBezTo>
                    <a:pt x="279" y="187"/>
                    <a:pt x="279" y="187"/>
                    <a:pt x="278" y="186"/>
                  </a:cubicBezTo>
                  <a:cubicBezTo>
                    <a:pt x="277" y="186"/>
                    <a:pt x="276" y="185"/>
                    <a:pt x="275" y="185"/>
                  </a:cubicBezTo>
                  <a:cubicBezTo>
                    <a:pt x="273" y="186"/>
                    <a:pt x="272" y="187"/>
                    <a:pt x="272" y="185"/>
                  </a:cubicBezTo>
                  <a:cubicBezTo>
                    <a:pt x="271" y="186"/>
                    <a:pt x="271" y="187"/>
                    <a:pt x="269" y="186"/>
                  </a:cubicBezTo>
                  <a:cubicBezTo>
                    <a:pt x="267" y="186"/>
                    <a:pt x="265" y="185"/>
                    <a:pt x="264" y="184"/>
                  </a:cubicBezTo>
                  <a:cubicBezTo>
                    <a:pt x="265" y="184"/>
                    <a:pt x="266" y="184"/>
                    <a:pt x="267" y="184"/>
                  </a:cubicBezTo>
                  <a:cubicBezTo>
                    <a:pt x="267" y="184"/>
                    <a:pt x="266" y="183"/>
                    <a:pt x="266" y="183"/>
                  </a:cubicBezTo>
                  <a:cubicBezTo>
                    <a:pt x="267" y="183"/>
                    <a:pt x="269" y="183"/>
                    <a:pt x="270" y="183"/>
                  </a:cubicBezTo>
                  <a:cubicBezTo>
                    <a:pt x="269" y="182"/>
                    <a:pt x="269" y="181"/>
                    <a:pt x="269" y="180"/>
                  </a:cubicBezTo>
                  <a:cubicBezTo>
                    <a:pt x="267" y="179"/>
                    <a:pt x="268" y="179"/>
                    <a:pt x="269" y="177"/>
                  </a:cubicBezTo>
                  <a:cubicBezTo>
                    <a:pt x="269" y="177"/>
                    <a:pt x="269" y="177"/>
                    <a:pt x="270" y="176"/>
                  </a:cubicBezTo>
                  <a:cubicBezTo>
                    <a:pt x="270" y="175"/>
                    <a:pt x="271" y="176"/>
                    <a:pt x="270" y="175"/>
                  </a:cubicBezTo>
                  <a:cubicBezTo>
                    <a:pt x="269" y="174"/>
                    <a:pt x="267" y="175"/>
                    <a:pt x="266" y="174"/>
                  </a:cubicBezTo>
                  <a:cubicBezTo>
                    <a:pt x="267" y="174"/>
                    <a:pt x="267" y="174"/>
                    <a:pt x="268" y="174"/>
                  </a:cubicBezTo>
                  <a:cubicBezTo>
                    <a:pt x="264" y="175"/>
                    <a:pt x="262" y="176"/>
                    <a:pt x="258" y="177"/>
                  </a:cubicBezTo>
                  <a:cubicBezTo>
                    <a:pt x="257" y="177"/>
                    <a:pt x="256" y="178"/>
                    <a:pt x="255" y="178"/>
                  </a:cubicBezTo>
                  <a:cubicBezTo>
                    <a:pt x="254" y="179"/>
                    <a:pt x="252" y="179"/>
                    <a:pt x="254" y="180"/>
                  </a:cubicBezTo>
                  <a:cubicBezTo>
                    <a:pt x="254" y="180"/>
                    <a:pt x="255" y="180"/>
                    <a:pt x="255" y="180"/>
                  </a:cubicBezTo>
                  <a:cubicBezTo>
                    <a:pt x="256" y="180"/>
                    <a:pt x="256" y="181"/>
                    <a:pt x="257" y="181"/>
                  </a:cubicBezTo>
                  <a:cubicBezTo>
                    <a:pt x="257" y="182"/>
                    <a:pt x="258" y="182"/>
                    <a:pt x="257" y="183"/>
                  </a:cubicBezTo>
                  <a:cubicBezTo>
                    <a:pt x="256" y="183"/>
                    <a:pt x="254" y="184"/>
                    <a:pt x="254" y="184"/>
                  </a:cubicBezTo>
                  <a:cubicBezTo>
                    <a:pt x="253" y="184"/>
                    <a:pt x="253" y="184"/>
                    <a:pt x="253" y="183"/>
                  </a:cubicBezTo>
                  <a:cubicBezTo>
                    <a:pt x="253" y="183"/>
                    <a:pt x="253" y="182"/>
                    <a:pt x="254" y="182"/>
                  </a:cubicBezTo>
                  <a:cubicBezTo>
                    <a:pt x="253" y="181"/>
                    <a:pt x="252" y="181"/>
                    <a:pt x="251" y="181"/>
                  </a:cubicBezTo>
                  <a:cubicBezTo>
                    <a:pt x="252" y="181"/>
                    <a:pt x="252" y="181"/>
                    <a:pt x="252" y="180"/>
                  </a:cubicBezTo>
                  <a:cubicBezTo>
                    <a:pt x="250" y="180"/>
                    <a:pt x="247" y="181"/>
                    <a:pt x="245" y="182"/>
                  </a:cubicBezTo>
                  <a:cubicBezTo>
                    <a:pt x="245" y="182"/>
                    <a:pt x="246" y="182"/>
                    <a:pt x="246" y="183"/>
                  </a:cubicBezTo>
                  <a:cubicBezTo>
                    <a:pt x="245" y="183"/>
                    <a:pt x="245" y="183"/>
                    <a:pt x="245" y="183"/>
                  </a:cubicBezTo>
                  <a:cubicBezTo>
                    <a:pt x="244" y="183"/>
                    <a:pt x="243" y="183"/>
                    <a:pt x="242" y="184"/>
                  </a:cubicBezTo>
                  <a:cubicBezTo>
                    <a:pt x="241" y="184"/>
                    <a:pt x="240" y="184"/>
                    <a:pt x="239" y="184"/>
                  </a:cubicBezTo>
                  <a:cubicBezTo>
                    <a:pt x="237" y="184"/>
                    <a:pt x="237" y="185"/>
                    <a:pt x="235" y="186"/>
                  </a:cubicBezTo>
                  <a:cubicBezTo>
                    <a:pt x="234" y="187"/>
                    <a:pt x="233" y="187"/>
                    <a:pt x="231" y="188"/>
                  </a:cubicBezTo>
                  <a:cubicBezTo>
                    <a:pt x="230" y="188"/>
                    <a:pt x="230" y="189"/>
                    <a:pt x="229" y="190"/>
                  </a:cubicBezTo>
                  <a:cubicBezTo>
                    <a:pt x="228" y="190"/>
                    <a:pt x="227" y="190"/>
                    <a:pt x="225" y="191"/>
                  </a:cubicBezTo>
                  <a:cubicBezTo>
                    <a:pt x="224" y="191"/>
                    <a:pt x="223" y="192"/>
                    <a:pt x="222" y="192"/>
                  </a:cubicBezTo>
                  <a:cubicBezTo>
                    <a:pt x="221" y="193"/>
                    <a:pt x="220" y="193"/>
                    <a:pt x="220" y="193"/>
                  </a:cubicBezTo>
                  <a:cubicBezTo>
                    <a:pt x="219" y="193"/>
                    <a:pt x="219" y="193"/>
                    <a:pt x="218" y="193"/>
                  </a:cubicBezTo>
                  <a:cubicBezTo>
                    <a:pt x="217" y="193"/>
                    <a:pt x="218" y="193"/>
                    <a:pt x="217" y="194"/>
                  </a:cubicBezTo>
                  <a:cubicBezTo>
                    <a:pt x="217" y="195"/>
                    <a:pt x="217" y="195"/>
                    <a:pt x="219" y="195"/>
                  </a:cubicBezTo>
                  <a:cubicBezTo>
                    <a:pt x="219" y="196"/>
                    <a:pt x="220" y="196"/>
                    <a:pt x="220" y="197"/>
                  </a:cubicBezTo>
                  <a:cubicBezTo>
                    <a:pt x="218" y="197"/>
                    <a:pt x="215" y="196"/>
                    <a:pt x="212" y="196"/>
                  </a:cubicBezTo>
                  <a:cubicBezTo>
                    <a:pt x="211" y="196"/>
                    <a:pt x="211" y="197"/>
                    <a:pt x="210" y="197"/>
                  </a:cubicBezTo>
                  <a:cubicBezTo>
                    <a:pt x="210" y="197"/>
                    <a:pt x="208" y="197"/>
                    <a:pt x="207" y="198"/>
                  </a:cubicBezTo>
                  <a:cubicBezTo>
                    <a:pt x="207" y="198"/>
                    <a:pt x="209" y="199"/>
                    <a:pt x="209" y="200"/>
                  </a:cubicBezTo>
                  <a:cubicBezTo>
                    <a:pt x="209" y="201"/>
                    <a:pt x="207" y="201"/>
                    <a:pt x="207" y="202"/>
                  </a:cubicBezTo>
                  <a:cubicBezTo>
                    <a:pt x="207" y="203"/>
                    <a:pt x="207" y="203"/>
                    <a:pt x="207" y="204"/>
                  </a:cubicBezTo>
                  <a:cubicBezTo>
                    <a:pt x="207" y="204"/>
                    <a:pt x="206" y="204"/>
                    <a:pt x="206" y="204"/>
                  </a:cubicBezTo>
                  <a:cubicBezTo>
                    <a:pt x="206" y="205"/>
                    <a:pt x="206" y="205"/>
                    <a:pt x="206" y="205"/>
                  </a:cubicBezTo>
                  <a:cubicBezTo>
                    <a:pt x="206" y="206"/>
                    <a:pt x="207" y="207"/>
                    <a:pt x="206" y="208"/>
                  </a:cubicBezTo>
                  <a:cubicBezTo>
                    <a:pt x="206" y="208"/>
                    <a:pt x="205" y="208"/>
                    <a:pt x="205" y="209"/>
                  </a:cubicBezTo>
                  <a:cubicBezTo>
                    <a:pt x="204" y="210"/>
                    <a:pt x="205" y="210"/>
                    <a:pt x="204" y="210"/>
                  </a:cubicBezTo>
                  <a:cubicBezTo>
                    <a:pt x="202" y="210"/>
                    <a:pt x="200" y="210"/>
                    <a:pt x="198" y="210"/>
                  </a:cubicBezTo>
                  <a:cubicBezTo>
                    <a:pt x="197" y="210"/>
                    <a:pt x="196" y="210"/>
                    <a:pt x="195" y="211"/>
                  </a:cubicBezTo>
                  <a:cubicBezTo>
                    <a:pt x="194" y="211"/>
                    <a:pt x="194" y="212"/>
                    <a:pt x="193" y="212"/>
                  </a:cubicBezTo>
                  <a:cubicBezTo>
                    <a:pt x="194" y="211"/>
                    <a:pt x="196" y="210"/>
                    <a:pt x="193" y="210"/>
                  </a:cubicBezTo>
                  <a:cubicBezTo>
                    <a:pt x="192" y="210"/>
                    <a:pt x="190" y="211"/>
                    <a:pt x="189" y="211"/>
                  </a:cubicBezTo>
                  <a:cubicBezTo>
                    <a:pt x="188" y="210"/>
                    <a:pt x="186" y="209"/>
                    <a:pt x="186" y="207"/>
                  </a:cubicBezTo>
                  <a:cubicBezTo>
                    <a:pt x="184" y="205"/>
                    <a:pt x="182" y="204"/>
                    <a:pt x="180" y="203"/>
                  </a:cubicBezTo>
                  <a:cubicBezTo>
                    <a:pt x="179" y="202"/>
                    <a:pt x="177" y="202"/>
                    <a:pt x="178" y="200"/>
                  </a:cubicBezTo>
                  <a:cubicBezTo>
                    <a:pt x="178" y="199"/>
                    <a:pt x="180" y="198"/>
                    <a:pt x="181" y="198"/>
                  </a:cubicBezTo>
                  <a:cubicBezTo>
                    <a:pt x="182" y="197"/>
                    <a:pt x="183" y="197"/>
                    <a:pt x="182" y="195"/>
                  </a:cubicBezTo>
                  <a:cubicBezTo>
                    <a:pt x="182" y="195"/>
                    <a:pt x="185" y="194"/>
                    <a:pt x="185" y="194"/>
                  </a:cubicBezTo>
                  <a:cubicBezTo>
                    <a:pt x="187" y="194"/>
                    <a:pt x="189" y="194"/>
                    <a:pt x="191" y="194"/>
                  </a:cubicBezTo>
                  <a:cubicBezTo>
                    <a:pt x="192" y="193"/>
                    <a:pt x="193" y="193"/>
                    <a:pt x="194" y="193"/>
                  </a:cubicBezTo>
                  <a:cubicBezTo>
                    <a:pt x="194" y="194"/>
                    <a:pt x="196" y="194"/>
                    <a:pt x="196" y="193"/>
                  </a:cubicBezTo>
                  <a:cubicBezTo>
                    <a:pt x="197" y="192"/>
                    <a:pt x="195" y="191"/>
                    <a:pt x="195" y="190"/>
                  </a:cubicBezTo>
                  <a:cubicBezTo>
                    <a:pt x="194" y="189"/>
                    <a:pt x="194" y="188"/>
                    <a:pt x="193" y="187"/>
                  </a:cubicBezTo>
                  <a:cubicBezTo>
                    <a:pt x="192" y="186"/>
                    <a:pt x="190" y="185"/>
                    <a:pt x="189" y="184"/>
                  </a:cubicBezTo>
                  <a:cubicBezTo>
                    <a:pt x="188" y="183"/>
                    <a:pt x="188" y="182"/>
                    <a:pt x="189" y="182"/>
                  </a:cubicBezTo>
                  <a:cubicBezTo>
                    <a:pt x="180" y="181"/>
                    <a:pt x="170" y="180"/>
                    <a:pt x="161" y="179"/>
                  </a:cubicBezTo>
                  <a:cubicBezTo>
                    <a:pt x="163" y="180"/>
                    <a:pt x="165" y="182"/>
                    <a:pt x="167" y="183"/>
                  </a:cubicBezTo>
                  <a:cubicBezTo>
                    <a:pt x="168" y="183"/>
                    <a:pt x="169" y="184"/>
                    <a:pt x="170" y="185"/>
                  </a:cubicBezTo>
                  <a:cubicBezTo>
                    <a:pt x="171" y="185"/>
                    <a:pt x="171" y="186"/>
                    <a:pt x="171" y="187"/>
                  </a:cubicBezTo>
                  <a:cubicBezTo>
                    <a:pt x="171" y="187"/>
                    <a:pt x="172" y="188"/>
                    <a:pt x="172" y="189"/>
                  </a:cubicBezTo>
                  <a:cubicBezTo>
                    <a:pt x="172" y="190"/>
                    <a:pt x="172" y="189"/>
                    <a:pt x="171" y="190"/>
                  </a:cubicBezTo>
                  <a:cubicBezTo>
                    <a:pt x="171" y="190"/>
                    <a:pt x="170" y="190"/>
                    <a:pt x="170" y="190"/>
                  </a:cubicBezTo>
                  <a:cubicBezTo>
                    <a:pt x="169" y="191"/>
                    <a:pt x="171" y="191"/>
                    <a:pt x="171" y="191"/>
                  </a:cubicBezTo>
                  <a:cubicBezTo>
                    <a:pt x="171" y="192"/>
                    <a:pt x="170" y="192"/>
                    <a:pt x="169" y="193"/>
                  </a:cubicBezTo>
                  <a:cubicBezTo>
                    <a:pt x="169" y="193"/>
                    <a:pt x="169" y="195"/>
                    <a:pt x="169" y="196"/>
                  </a:cubicBezTo>
                  <a:cubicBezTo>
                    <a:pt x="168" y="198"/>
                    <a:pt x="166" y="200"/>
                    <a:pt x="166" y="202"/>
                  </a:cubicBezTo>
                  <a:cubicBezTo>
                    <a:pt x="166" y="204"/>
                    <a:pt x="168" y="204"/>
                    <a:pt x="169" y="205"/>
                  </a:cubicBezTo>
                  <a:cubicBezTo>
                    <a:pt x="170" y="205"/>
                    <a:pt x="170" y="206"/>
                    <a:pt x="171" y="206"/>
                  </a:cubicBezTo>
                  <a:cubicBezTo>
                    <a:pt x="172" y="207"/>
                    <a:pt x="172" y="206"/>
                    <a:pt x="172" y="207"/>
                  </a:cubicBezTo>
                  <a:cubicBezTo>
                    <a:pt x="173" y="207"/>
                    <a:pt x="173" y="208"/>
                    <a:pt x="173" y="209"/>
                  </a:cubicBezTo>
                  <a:cubicBezTo>
                    <a:pt x="174" y="210"/>
                    <a:pt x="174" y="213"/>
                    <a:pt x="173" y="214"/>
                  </a:cubicBezTo>
                  <a:cubicBezTo>
                    <a:pt x="172" y="216"/>
                    <a:pt x="168" y="219"/>
                    <a:pt x="169" y="222"/>
                  </a:cubicBezTo>
                  <a:cubicBezTo>
                    <a:pt x="169" y="223"/>
                    <a:pt x="170" y="223"/>
                    <a:pt x="170" y="223"/>
                  </a:cubicBezTo>
                  <a:cubicBezTo>
                    <a:pt x="170" y="224"/>
                    <a:pt x="169" y="224"/>
                    <a:pt x="170" y="225"/>
                  </a:cubicBezTo>
                  <a:cubicBezTo>
                    <a:pt x="170" y="226"/>
                    <a:pt x="170" y="226"/>
                    <a:pt x="170" y="227"/>
                  </a:cubicBezTo>
                  <a:cubicBezTo>
                    <a:pt x="170" y="226"/>
                    <a:pt x="169" y="225"/>
                    <a:pt x="169" y="225"/>
                  </a:cubicBezTo>
                  <a:cubicBezTo>
                    <a:pt x="168" y="224"/>
                    <a:pt x="169" y="224"/>
                    <a:pt x="168" y="223"/>
                  </a:cubicBezTo>
                  <a:cubicBezTo>
                    <a:pt x="167" y="221"/>
                    <a:pt x="164" y="222"/>
                    <a:pt x="163" y="224"/>
                  </a:cubicBezTo>
                  <a:cubicBezTo>
                    <a:pt x="163" y="224"/>
                    <a:pt x="164" y="224"/>
                    <a:pt x="163" y="225"/>
                  </a:cubicBezTo>
                  <a:cubicBezTo>
                    <a:pt x="163" y="225"/>
                    <a:pt x="161" y="224"/>
                    <a:pt x="161" y="223"/>
                  </a:cubicBezTo>
                  <a:cubicBezTo>
                    <a:pt x="161" y="223"/>
                    <a:pt x="162" y="223"/>
                    <a:pt x="162" y="222"/>
                  </a:cubicBezTo>
                  <a:cubicBezTo>
                    <a:pt x="163" y="222"/>
                    <a:pt x="165" y="221"/>
                    <a:pt x="165" y="221"/>
                  </a:cubicBezTo>
                  <a:cubicBezTo>
                    <a:pt x="165" y="220"/>
                    <a:pt x="163" y="219"/>
                    <a:pt x="163" y="219"/>
                  </a:cubicBezTo>
                  <a:cubicBezTo>
                    <a:pt x="162" y="219"/>
                    <a:pt x="162" y="219"/>
                    <a:pt x="162" y="219"/>
                  </a:cubicBezTo>
                  <a:cubicBezTo>
                    <a:pt x="162" y="219"/>
                    <a:pt x="162" y="218"/>
                    <a:pt x="162" y="218"/>
                  </a:cubicBezTo>
                  <a:cubicBezTo>
                    <a:pt x="161" y="217"/>
                    <a:pt x="160" y="217"/>
                    <a:pt x="159" y="217"/>
                  </a:cubicBezTo>
                  <a:cubicBezTo>
                    <a:pt x="157" y="217"/>
                    <a:pt x="155" y="217"/>
                    <a:pt x="153" y="217"/>
                  </a:cubicBezTo>
                  <a:cubicBezTo>
                    <a:pt x="152" y="216"/>
                    <a:pt x="151" y="216"/>
                    <a:pt x="150" y="216"/>
                  </a:cubicBezTo>
                  <a:cubicBezTo>
                    <a:pt x="148" y="217"/>
                    <a:pt x="147" y="219"/>
                    <a:pt x="145" y="221"/>
                  </a:cubicBezTo>
                  <a:cubicBezTo>
                    <a:pt x="144" y="222"/>
                    <a:pt x="142" y="223"/>
                    <a:pt x="140" y="223"/>
                  </a:cubicBezTo>
                  <a:cubicBezTo>
                    <a:pt x="137" y="224"/>
                    <a:pt x="135" y="225"/>
                    <a:pt x="132" y="227"/>
                  </a:cubicBezTo>
                  <a:cubicBezTo>
                    <a:pt x="130" y="228"/>
                    <a:pt x="128" y="230"/>
                    <a:pt x="126" y="231"/>
                  </a:cubicBezTo>
                  <a:cubicBezTo>
                    <a:pt x="122" y="234"/>
                    <a:pt x="127" y="238"/>
                    <a:pt x="129" y="240"/>
                  </a:cubicBezTo>
                  <a:cubicBezTo>
                    <a:pt x="131" y="242"/>
                    <a:pt x="131" y="243"/>
                    <a:pt x="132" y="245"/>
                  </a:cubicBezTo>
                  <a:cubicBezTo>
                    <a:pt x="132" y="246"/>
                    <a:pt x="133" y="249"/>
                    <a:pt x="133" y="249"/>
                  </a:cubicBezTo>
                  <a:cubicBezTo>
                    <a:pt x="132" y="249"/>
                    <a:pt x="131" y="249"/>
                    <a:pt x="130" y="249"/>
                  </a:cubicBezTo>
                  <a:cubicBezTo>
                    <a:pt x="123" y="248"/>
                    <a:pt x="116" y="247"/>
                    <a:pt x="109" y="246"/>
                  </a:cubicBezTo>
                  <a:cubicBezTo>
                    <a:pt x="109" y="246"/>
                    <a:pt x="109" y="247"/>
                    <a:pt x="109" y="247"/>
                  </a:cubicBezTo>
                  <a:cubicBezTo>
                    <a:pt x="108" y="247"/>
                    <a:pt x="107" y="247"/>
                    <a:pt x="107" y="246"/>
                  </a:cubicBezTo>
                  <a:cubicBezTo>
                    <a:pt x="108" y="245"/>
                    <a:pt x="110" y="245"/>
                    <a:pt x="111" y="245"/>
                  </a:cubicBezTo>
                  <a:cubicBezTo>
                    <a:pt x="111" y="244"/>
                    <a:pt x="111" y="245"/>
                    <a:pt x="111" y="244"/>
                  </a:cubicBezTo>
                  <a:cubicBezTo>
                    <a:pt x="109" y="243"/>
                    <a:pt x="106" y="242"/>
                    <a:pt x="104" y="240"/>
                  </a:cubicBezTo>
                  <a:cubicBezTo>
                    <a:pt x="102" y="240"/>
                    <a:pt x="101" y="239"/>
                    <a:pt x="99" y="239"/>
                  </a:cubicBezTo>
                  <a:cubicBezTo>
                    <a:pt x="98" y="238"/>
                    <a:pt x="98" y="238"/>
                    <a:pt x="97" y="238"/>
                  </a:cubicBezTo>
                  <a:cubicBezTo>
                    <a:pt x="95" y="238"/>
                    <a:pt x="95" y="239"/>
                    <a:pt x="95" y="241"/>
                  </a:cubicBezTo>
                  <a:cubicBezTo>
                    <a:pt x="95" y="241"/>
                    <a:pt x="94" y="243"/>
                    <a:pt x="93" y="243"/>
                  </a:cubicBezTo>
                  <a:cubicBezTo>
                    <a:pt x="92" y="243"/>
                    <a:pt x="92" y="242"/>
                    <a:pt x="91" y="242"/>
                  </a:cubicBezTo>
                  <a:cubicBezTo>
                    <a:pt x="93" y="245"/>
                    <a:pt x="95" y="248"/>
                    <a:pt x="98" y="250"/>
                  </a:cubicBezTo>
                  <a:cubicBezTo>
                    <a:pt x="98" y="251"/>
                    <a:pt x="99" y="252"/>
                    <a:pt x="100" y="252"/>
                  </a:cubicBezTo>
                  <a:cubicBezTo>
                    <a:pt x="101" y="252"/>
                    <a:pt x="101" y="252"/>
                    <a:pt x="102" y="252"/>
                  </a:cubicBezTo>
                  <a:cubicBezTo>
                    <a:pt x="103" y="252"/>
                    <a:pt x="103" y="252"/>
                    <a:pt x="103" y="252"/>
                  </a:cubicBezTo>
                  <a:cubicBezTo>
                    <a:pt x="104" y="251"/>
                    <a:pt x="104" y="250"/>
                    <a:pt x="105" y="251"/>
                  </a:cubicBezTo>
                  <a:cubicBezTo>
                    <a:pt x="105" y="251"/>
                    <a:pt x="105" y="251"/>
                    <a:pt x="105" y="252"/>
                  </a:cubicBezTo>
                  <a:cubicBezTo>
                    <a:pt x="106" y="252"/>
                    <a:pt x="106" y="252"/>
                    <a:pt x="107" y="253"/>
                  </a:cubicBezTo>
                  <a:cubicBezTo>
                    <a:pt x="107" y="253"/>
                    <a:pt x="107" y="254"/>
                    <a:pt x="107" y="255"/>
                  </a:cubicBezTo>
                  <a:cubicBezTo>
                    <a:pt x="107" y="256"/>
                    <a:pt x="108" y="256"/>
                    <a:pt x="108" y="258"/>
                  </a:cubicBezTo>
                  <a:cubicBezTo>
                    <a:pt x="107" y="258"/>
                    <a:pt x="106" y="259"/>
                    <a:pt x="105" y="259"/>
                  </a:cubicBezTo>
                  <a:cubicBezTo>
                    <a:pt x="105" y="260"/>
                    <a:pt x="104" y="259"/>
                    <a:pt x="103" y="260"/>
                  </a:cubicBezTo>
                  <a:cubicBezTo>
                    <a:pt x="103" y="260"/>
                    <a:pt x="103" y="260"/>
                    <a:pt x="103" y="260"/>
                  </a:cubicBezTo>
                  <a:cubicBezTo>
                    <a:pt x="102" y="261"/>
                    <a:pt x="102" y="261"/>
                    <a:pt x="100" y="261"/>
                  </a:cubicBezTo>
                  <a:cubicBezTo>
                    <a:pt x="99" y="260"/>
                    <a:pt x="97" y="260"/>
                    <a:pt x="95" y="259"/>
                  </a:cubicBezTo>
                  <a:cubicBezTo>
                    <a:pt x="92" y="258"/>
                    <a:pt x="92" y="258"/>
                    <a:pt x="90" y="256"/>
                  </a:cubicBezTo>
                  <a:cubicBezTo>
                    <a:pt x="89" y="255"/>
                    <a:pt x="88" y="254"/>
                    <a:pt x="88" y="254"/>
                  </a:cubicBezTo>
                  <a:cubicBezTo>
                    <a:pt x="84" y="251"/>
                    <a:pt x="80" y="252"/>
                    <a:pt x="76" y="251"/>
                  </a:cubicBezTo>
                  <a:cubicBezTo>
                    <a:pt x="76" y="250"/>
                    <a:pt x="74" y="250"/>
                    <a:pt x="74" y="249"/>
                  </a:cubicBezTo>
                  <a:cubicBezTo>
                    <a:pt x="74" y="249"/>
                    <a:pt x="74" y="249"/>
                    <a:pt x="74" y="248"/>
                  </a:cubicBezTo>
                  <a:cubicBezTo>
                    <a:pt x="74" y="247"/>
                    <a:pt x="74" y="246"/>
                    <a:pt x="75" y="246"/>
                  </a:cubicBezTo>
                  <a:cubicBezTo>
                    <a:pt x="75" y="246"/>
                    <a:pt x="76" y="246"/>
                    <a:pt x="76" y="245"/>
                  </a:cubicBezTo>
                  <a:cubicBezTo>
                    <a:pt x="76" y="245"/>
                    <a:pt x="75" y="245"/>
                    <a:pt x="74" y="245"/>
                  </a:cubicBezTo>
                  <a:cubicBezTo>
                    <a:pt x="75" y="245"/>
                    <a:pt x="75" y="245"/>
                    <a:pt x="76" y="244"/>
                  </a:cubicBezTo>
                  <a:cubicBezTo>
                    <a:pt x="74" y="242"/>
                    <a:pt x="73" y="241"/>
                    <a:pt x="73" y="239"/>
                  </a:cubicBezTo>
                  <a:cubicBezTo>
                    <a:pt x="72" y="237"/>
                    <a:pt x="71" y="236"/>
                    <a:pt x="69" y="235"/>
                  </a:cubicBezTo>
                  <a:cubicBezTo>
                    <a:pt x="70" y="235"/>
                    <a:pt x="70" y="235"/>
                    <a:pt x="70" y="235"/>
                  </a:cubicBezTo>
                  <a:cubicBezTo>
                    <a:pt x="71" y="234"/>
                    <a:pt x="71" y="234"/>
                    <a:pt x="71" y="234"/>
                  </a:cubicBezTo>
                  <a:cubicBezTo>
                    <a:pt x="72" y="234"/>
                    <a:pt x="72" y="234"/>
                    <a:pt x="72" y="234"/>
                  </a:cubicBezTo>
                  <a:cubicBezTo>
                    <a:pt x="73" y="234"/>
                    <a:pt x="73" y="232"/>
                    <a:pt x="73" y="231"/>
                  </a:cubicBezTo>
                  <a:cubicBezTo>
                    <a:pt x="73" y="230"/>
                    <a:pt x="73" y="229"/>
                    <a:pt x="73" y="228"/>
                  </a:cubicBezTo>
                  <a:cubicBezTo>
                    <a:pt x="73" y="228"/>
                    <a:pt x="74" y="228"/>
                    <a:pt x="74" y="229"/>
                  </a:cubicBezTo>
                  <a:cubicBezTo>
                    <a:pt x="74" y="229"/>
                    <a:pt x="76" y="230"/>
                    <a:pt x="76" y="229"/>
                  </a:cubicBezTo>
                  <a:cubicBezTo>
                    <a:pt x="75" y="226"/>
                    <a:pt x="74" y="225"/>
                    <a:pt x="72" y="223"/>
                  </a:cubicBezTo>
                  <a:cubicBezTo>
                    <a:pt x="71" y="222"/>
                    <a:pt x="67" y="222"/>
                    <a:pt x="66" y="221"/>
                  </a:cubicBezTo>
                  <a:cubicBezTo>
                    <a:pt x="64" y="221"/>
                    <a:pt x="61" y="220"/>
                    <a:pt x="59" y="219"/>
                  </a:cubicBezTo>
                  <a:cubicBezTo>
                    <a:pt x="60" y="219"/>
                    <a:pt x="64" y="218"/>
                    <a:pt x="63" y="217"/>
                  </a:cubicBezTo>
                  <a:cubicBezTo>
                    <a:pt x="62" y="216"/>
                    <a:pt x="57" y="216"/>
                    <a:pt x="56" y="216"/>
                  </a:cubicBezTo>
                  <a:cubicBezTo>
                    <a:pt x="57" y="216"/>
                    <a:pt x="57" y="215"/>
                    <a:pt x="58" y="215"/>
                  </a:cubicBezTo>
                  <a:cubicBezTo>
                    <a:pt x="57" y="215"/>
                    <a:pt x="56" y="215"/>
                    <a:pt x="55" y="215"/>
                  </a:cubicBezTo>
                  <a:cubicBezTo>
                    <a:pt x="56" y="214"/>
                    <a:pt x="58" y="214"/>
                    <a:pt x="59" y="214"/>
                  </a:cubicBezTo>
                  <a:cubicBezTo>
                    <a:pt x="58" y="213"/>
                    <a:pt x="57" y="213"/>
                    <a:pt x="56" y="213"/>
                  </a:cubicBezTo>
                  <a:cubicBezTo>
                    <a:pt x="55" y="213"/>
                    <a:pt x="55" y="213"/>
                    <a:pt x="54" y="212"/>
                  </a:cubicBezTo>
                  <a:cubicBezTo>
                    <a:pt x="54" y="212"/>
                    <a:pt x="55" y="212"/>
                    <a:pt x="55" y="212"/>
                  </a:cubicBezTo>
                  <a:cubicBezTo>
                    <a:pt x="54" y="211"/>
                    <a:pt x="53" y="211"/>
                    <a:pt x="53" y="211"/>
                  </a:cubicBezTo>
                  <a:cubicBezTo>
                    <a:pt x="52" y="211"/>
                    <a:pt x="49" y="210"/>
                    <a:pt x="50" y="208"/>
                  </a:cubicBezTo>
                  <a:cubicBezTo>
                    <a:pt x="51" y="207"/>
                    <a:pt x="51" y="208"/>
                    <a:pt x="50" y="207"/>
                  </a:cubicBezTo>
                  <a:cubicBezTo>
                    <a:pt x="48" y="205"/>
                    <a:pt x="47" y="206"/>
                    <a:pt x="45" y="205"/>
                  </a:cubicBezTo>
                  <a:cubicBezTo>
                    <a:pt x="45" y="205"/>
                    <a:pt x="46" y="205"/>
                    <a:pt x="47" y="205"/>
                  </a:cubicBezTo>
                  <a:cubicBezTo>
                    <a:pt x="48" y="205"/>
                    <a:pt x="49" y="205"/>
                    <a:pt x="50" y="205"/>
                  </a:cubicBezTo>
                  <a:cubicBezTo>
                    <a:pt x="50" y="205"/>
                    <a:pt x="52" y="205"/>
                    <a:pt x="52" y="206"/>
                  </a:cubicBezTo>
                  <a:cubicBezTo>
                    <a:pt x="53" y="206"/>
                    <a:pt x="55" y="206"/>
                    <a:pt x="55" y="206"/>
                  </a:cubicBezTo>
                  <a:cubicBezTo>
                    <a:pt x="54" y="207"/>
                    <a:pt x="54" y="207"/>
                    <a:pt x="55" y="208"/>
                  </a:cubicBezTo>
                  <a:cubicBezTo>
                    <a:pt x="55" y="209"/>
                    <a:pt x="56" y="209"/>
                    <a:pt x="57" y="210"/>
                  </a:cubicBezTo>
                  <a:cubicBezTo>
                    <a:pt x="58" y="211"/>
                    <a:pt x="60" y="212"/>
                    <a:pt x="61" y="212"/>
                  </a:cubicBezTo>
                  <a:cubicBezTo>
                    <a:pt x="62" y="213"/>
                    <a:pt x="64" y="213"/>
                    <a:pt x="65" y="213"/>
                  </a:cubicBezTo>
                  <a:cubicBezTo>
                    <a:pt x="66" y="213"/>
                    <a:pt x="66" y="212"/>
                    <a:pt x="67" y="212"/>
                  </a:cubicBezTo>
                  <a:cubicBezTo>
                    <a:pt x="68" y="212"/>
                    <a:pt x="69" y="213"/>
                    <a:pt x="70" y="213"/>
                  </a:cubicBezTo>
                  <a:cubicBezTo>
                    <a:pt x="72" y="214"/>
                    <a:pt x="71" y="214"/>
                    <a:pt x="71" y="214"/>
                  </a:cubicBezTo>
                  <a:cubicBezTo>
                    <a:pt x="71" y="216"/>
                    <a:pt x="71" y="216"/>
                    <a:pt x="72" y="216"/>
                  </a:cubicBezTo>
                  <a:cubicBezTo>
                    <a:pt x="74" y="216"/>
                    <a:pt x="75" y="215"/>
                    <a:pt x="76" y="215"/>
                  </a:cubicBezTo>
                  <a:cubicBezTo>
                    <a:pt x="79" y="216"/>
                    <a:pt x="81" y="216"/>
                    <a:pt x="83" y="217"/>
                  </a:cubicBezTo>
                  <a:cubicBezTo>
                    <a:pt x="91" y="219"/>
                    <a:pt x="99" y="221"/>
                    <a:pt x="107" y="223"/>
                  </a:cubicBezTo>
                  <a:cubicBezTo>
                    <a:pt x="111" y="224"/>
                    <a:pt x="113" y="224"/>
                    <a:pt x="116" y="223"/>
                  </a:cubicBezTo>
                  <a:cubicBezTo>
                    <a:pt x="117" y="223"/>
                    <a:pt x="119" y="223"/>
                    <a:pt x="120" y="223"/>
                  </a:cubicBezTo>
                  <a:cubicBezTo>
                    <a:pt x="121" y="222"/>
                    <a:pt x="122" y="222"/>
                    <a:pt x="123" y="221"/>
                  </a:cubicBezTo>
                  <a:cubicBezTo>
                    <a:pt x="126" y="221"/>
                    <a:pt x="129" y="220"/>
                    <a:pt x="132" y="218"/>
                  </a:cubicBezTo>
                  <a:cubicBezTo>
                    <a:pt x="134" y="216"/>
                    <a:pt x="136" y="213"/>
                    <a:pt x="138" y="211"/>
                  </a:cubicBezTo>
                  <a:cubicBezTo>
                    <a:pt x="140" y="209"/>
                    <a:pt x="142" y="208"/>
                    <a:pt x="142" y="206"/>
                  </a:cubicBezTo>
                  <a:cubicBezTo>
                    <a:pt x="142" y="204"/>
                    <a:pt x="141" y="204"/>
                    <a:pt x="140" y="204"/>
                  </a:cubicBezTo>
                  <a:cubicBezTo>
                    <a:pt x="139" y="203"/>
                    <a:pt x="139" y="204"/>
                    <a:pt x="139" y="202"/>
                  </a:cubicBezTo>
                  <a:cubicBezTo>
                    <a:pt x="139" y="201"/>
                    <a:pt x="139" y="201"/>
                    <a:pt x="139" y="200"/>
                  </a:cubicBezTo>
                  <a:cubicBezTo>
                    <a:pt x="138" y="199"/>
                    <a:pt x="138" y="200"/>
                    <a:pt x="138" y="198"/>
                  </a:cubicBezTo>
                  <a:cubicBezTo>
                    <a:pt x="138" y="198"/>
                    <a:pt x="138" y="195"/>
                    <a:pt x="138" y="195"/>
                  </a:cubicBezTo>
                  <a:cubicBezTo>
                    <a:pt x="136" y="195"/>
                    <a:pt x="135" y="195"/>
                    <a:pt x="133" y="195"/>
                  </a:cubicBezTo>
                  <a:cubicBezTo>
                    <a:pt x="132" y="195"/>
                    <a:pt x="132" y="194"/>
                    <a:pt x="131" y="193"/>
                  </a:cubicBezTo>
                  <a:cubicBezTo>
                    <a:pt x="129" y="192"/>
                    <a:pt x="128" y="190"/>
                    <a:pt x="126" y="189"/>
                  </a:cubicBezTo>
                  <a:cubicBezTo>
                    <a:pt x="126" y="189"/>
                    <a:pt x="125" y="187"/>
                    <a:pt x="125" y="188"/>
                  </a:cubicBezTo>
                  <a:cubicBezTo>
                    <a:pt x="125" y="188"/>
                    <a:pt x="125" y="188"/>
                    <a:pt x="125" y="188"/>
                  </a:cubicBezTo>
                  <a:cubicBezTo>
                    <a:pt x="122" y="188"/>
                    <a:pt x="119" y="187"/>
                    <a:pt x="116" y="186"/>
                  </a:cubicBezTo>
                  <a:cubicBezTo>
                    <a:pt x="115" y="185"/>
                    <a:pt x="113" y="185"/>
                    <a:pt x="112" y="184"/>
                  </a:cubicBezTo>
                  <a:cubicBezTo>
                    <a:pt x="111" y="184"/>
                    <a:pt x="110" y="183"/>
                    <a:pt x="110" y="183"/>
                  </a:cubicBezTo>
                  <a:cubicBezTo>
                    <a:pt x="108" y="181"/>
                    <a:pt x="107" y="180"/>
                    <a:pt x="104" y="179"/>
                  </a:cubicBezTo>
                  <a:cubicBezTo>
                    <a:pt x="101" y="177"/>
                    <a:pt x="97" y="176"/>
                    <a:pt x="94" y="174"/>
                  </a:cubicBezTo>
                  <a:cubicBezTo>
                    <a:pt x="90" y="172"/>
                    <a:pt x="86" y="171"/>
                    <a:pt x="83" y="169"/>
                  </a:cubicBezTo>
                  <a:cubicBezTo>
                    <a:pt x="81" y="168"/>
                    <a:pt x="80" y="168"/>
                    <a:pt x="78" y="168"/>
                  </a:cubicBezTo>
                  <a:cubicBezTo>
                    <a:pt x="74" y="168"/>
                    <a:pt x="69" y="166"/>
                    <a:pt x="65" y="167"/>
                  </a:cubicBezTo>
                  <a:cubicBezTo>
                    <a:pt x="63" y="167"/>
                    <a:pt x="62" y="166"/>
                    <a:pt x="62" y="168"/>
                  </a:cubicBezTo>
                  <a:cubicBezTo>
                    <a:pt x="61" y="169"/>
                    <a:pt x="62" y="169"/>
                    <a:pt x="61" y="170"/>
                  </a:cubicBezTo>
                  <a:cubicBezTo>
                    <a:pt x="60" y="170"/>
                    <a:pt x="60" y="171"/>
                    <a:pt x="60" y="171"/>
                  </a:cubicBezTo>
                  <a:cubicBezTo>
                    <a:pt x="59" y="171"/>
                    <a:pt x="59" y="171"/>
                    <a:pt x="58" y="171"/>
                  </a:cubicBezTo>
                  <a:cubicBezTo>
                    <a:pt x="57" y="171"/>
                    <a:pt x="57" y="172"/>
                    <a:pt x="56" y="173"/>
                  </a:cubicBezTo>
                  <a:cubicBezTo>
                    <a:pt x="56" y="172"/>
                    <a:pt x="56" y="171"/>
                    <a:pt x="58" y="171"/>
                  </a:cubicBezTo>
                  <a:cubicBezTo>
                    <a:pt x="59" y="171"/>
                    <a:pt x="60" y="170"/>
                    <a:pt x="61" y="169"/>
                  </a:cubicBezTo>
                  <a:cubicBezTo>
                    <a:pt x="60" y="169"/>
                    <a:pt x="58" y="168"/>
                    <a:pt x="59" y="168"/>
                  </a:cubicBezTo>
                  <a:cubicBezTo>
                    <a:pt x="59" y="167"/>
                    <a:pt x="60" y="167"/>
                    <a:pt x="60" y="167"/>
                  </a:cubicBezTo>
                  <a:cubicBezTo>
                    <a:pt x="60" y="166"/>
                    <a:pt x="60" y="165"/>
                    <a:pt x="60" y="165"/>
                  </a:cubicBezTo>
                  <a:cubicBezTo>
                    <a:pt x="58" y="166"/>
                    <a:pt x="56" y="167"/>
                    <a:pt x="54" y="167"/>
                  </a:cubicBezTo>
                  <a:cubicBezTo>
                    <a:pt x="55" y="166"/>
                    <a:pt x="53" y="166"/>
                    <a:pt x="53" y="166"/>
                  </a:cubicBezTo>
                  <a:cubicBezTo>
                    <a:pt x="51" y="166"/>
                    <a:pt x="49" y="165"/>
                    <a:pt x="48" y="165"/>
                  </a:cubicBezTo>
                  <a:cubicBezTo>
                    <a:pt x="48" y="164"/>
                    <a:pt x="46" y="163"/>
                    <a:pt x="46" y="162"/>
                  </a:cubicBezTo>
                  <a:cubicBezTo>
                    <a:pt x="46" y="162"/>
                    <a:pt x="47" y="160"/>
                    <a:pt x="47" y="159"/>
                  </a:cubicBezTo>
                  <a:cubicBezTo>
                    <a:pt x="48" y="159"/>
                    <a:pt x="47" y="160"/>
                    <a:pt x="48" y="160"/>
                  </a:cubicBezTo>
                  <a:cubicBezTo>
                    <a:pt x="48" y="161"/>
                    <a:pt x="51" y="161"/>
                    <a:pt x="52" y="161"/>
                  </a:cubicBezTo>
                  <a:cubicBezTo>
                    <a:pt x="53" y="162"/>
                    <a:pt x="55" y="162"/>
                    <a:pt x="55" y="162"/>
                  </a:cubicBezTo>
                  <a:cubicBezTo>
                    <a:pt x="56" y="162"/>
                    <a:pt x="57" y="160"/>
                    <a:pt x="57" y="159"/>
                  </a:cubicBezTo>
                  <a:cubicBezTo>
                    <a:pt x="57" y="159"/>
                    <a:pt x="55" y="158"/>
                    <a:pt x="54" y="158"/>
                  </a:cubicBezTo>
                  <a:cubicBezTo>
                    <a:pt x="53" y="158"/>
                    <a:pt x="52" y="159"/>
                    <a:pt x="51" y="158"/>
                  </a:cubicBezTo>
                  <a:cubicBezTo>
                    <a:pt x="51" y="158"/>
                    <a:pt x="51" y="157"/>
                    <a:pt x="50" y="157"/>
                  </a:cubicBezTo>
                  <a:cubicBezTo>
                    <a:pt x="50" y="157"/>
                    <a:pt x="49" y="157"/>
                    <a:pt x="49" y="157"/>
                  </a:cubicBezTo>
                  <a:cubicBezTo>
                    <a:pt x="48" y="157"/>
                    <a:pt x="47" y="155"/>
                    <a:pt x="46" y="155"/>
                  </a:cubicBezTo>
                  <a:cubicBezTo>
                    <a:pt x="44" y="155"/>
                    <a:pt x="46" y="157"/>
                    <a:pt x="46" y="157"/>
                  </a:cubicBezTo>
                  <a:cubicBezTo>
                    <a:pt x="46" y="158"/>
                    <a:pt x="47" y="158"/>
                    <a:pt x="47" y="158"/>
                  </a:cubicBezTo>
                  <a:cubicBezTo>
                    <a:pt x="46" y="159"/>
                    <a:pt x="46" y="158"/>
                    <a:pt x="46" y="158"/>
                  </a:cubicBezTo>
                  <a:cubicBezTo>
                    <a:pt x="45" y="158"/>
                    <a:pt x="44" y="157"/>
                    <a:pt x="44" y="157"/>
                  </a:cubicBezTo>
                  <a:cubicBezTo>
                    <a:pt x="42" y="157"/>
                    <a:pt x="43" y="158"/>
                    <a:pt x="43" y="159"/>
                  </a:cubicBezTo>
                  <a:cubicBezTo>
                    <a:pt x="42" y="160"/>
                    <a:pt x="38" y="159"/>
                    <a:pt x="35" y="159"/>
                  </a:cubicBezTo>
                  <a:cubicBezTo>
                    <a:pt x="35" y="159"/>
                    <a:pt x="35" y="159"/>
                    <a:pt x="35" y="159"/>
                  </a:cubicBezTo>
                  <a:cubicBezTo>
                    <a:pt x="35" y="160"/>
                    <a:pt x="36" y="161"/>
                    <a:pt x="35" y="162"/>
                  </a:cubicBezTo>
                  <a:cubicBezTo>
                    <a:pt x="35" y="163"/>
                    <a:pt x="34" y="163"/>
                    <a:pt x="33" y="163"/>
                  </a:cubicBezTo>
                  <a:cubicBezTo>
                    <a:pt x="33" y="163"/>
                    <a:pt x="33" y="163"/>
                    <a:pt x="33" y="163"/>
                  </a:cubicBezTo>
                  <a:cubicBezTo>
                    <a:pt x="33" y="163"/>
                    <a:pt x="33" y="163"/>
                    <a:pt x="33" y="163"/>
                  </a:cubicBezTo>
                  <a:cubicBezTo>
                    <a:pt x="32" y="163"/>
                    <a:pt x="32" y="163"/>
                    <a:pt x="32" y="163"/>
                  </a:cubicBezTo>
                  <a:cubicBezTo>
                    <a:pt x="32" y="163"/>
                    <a:pt x="32" y="163"/>
                    <a:pt x="32" y="163"/>
                  </a:cubicBezTo>
                  <a:cubicBezTo>
                    <a:pt x="32" y="163"/>
                    <a:pt x="32" y="163"/>
                    <a:pt x="31" y="163"/>
                  </a:cubicBezTo>
                  <a:cubicBezTo>
                    <a:pt x="30" y="163"/>
                    <a:pt x="29" y="163"/>
                    <a:pt x="29" y="162"/>
                  </a:cubicBezTo>
                  <a:cubicBezTo>
                    <a:pt x="28" y="162"/>
                    <a:pt x="28" y="162"/>
                    <a:pt x="28" y="162"/>
                  </a:cubicBezTo>
                  <a:cubicBezTo>
                    <a:pt x="28" y="162"/>
                    <a:pt x="28" y="162"/>
                    <a:pt x="28" y="162"/>
                  </a:cubicBezTo>
                  <a:cubicBezTo>
                    <a:pt x="28" y="162"/>
                    <a:pt x="27" y="163"/>
                    <a:pt x="27" y="163"/>
                  </a:cubicBezTo>
                  <a:cubicBezTo>
                    <a:pt x="26" y="165"/>
                    <a:pt x="25" y="166"/>
                    <a:pt x="23" y="167"/>
                  </a:cubicBezTo>
                  <a:cubicBezTo>
                    <a:pt x="22" y="167"/>
                    <a:pt x="22" y="167"/>
                    <a:pt x="22" y="167"/>
                  </a:cubicBezTo>
                  <a:cubicBezTo>
                    <a:pt x="22" y="167"/>
                    <a:pt x="21" y="167"/>
                    <a:pt x="20" y="167"/>
                  </a:cubicBezTo>
                  <a:cubicBezTo>
                    <a:pt x="20" y="167"/>
                    <a:pt x="20" y="167"/>
                    <a:pt x="20" y="167"/>
                  </a:cubicBezTo>
                  <a:cubicBezTo>
                    <a:pt x="20" y="167"/>
                    <a:pt x="20" y="167"/>
                    <a:pt x="20" y="167"/>
                  </a:cubicBezTo>
                  <a:cubicBezTo>
                    <a:pt x="19" y="168"/>
                    <a:pt x="18" y="170"/>
                    <a:pt x="17" y="171"/>
                  </a:cubicBezTo>
                  <a:cubicBezTo>
                    <a:pt x="16" y="172"/>
                    <a:pt x="16" y="172"/>
                    <a:pt x="16" y="172"/>
                  </a:cubicBezTo>
                  <a:cubicBezTo>
                    <a:pt x="16" y="173"/>
                    <a:pt x="15" y="174"/>
                    <a:pt x="14" y="174"/>
                  </a:cubicBezTo>
                  <a:cubicBezTo>
                    <a:pt x="14" y="174"/>
                    <a:pt x="14" y="174"/>
                    <a:pt x="14" y="174"/>
                  </a:cubicBezTo>
                  <a:cubicBezTo>
                    <a:pt x="14" y="175"/>
                    <a:pt x="14" y="175"/>
                    <a:pt x="14" y="175"/>
                  </a:cubicBezTo>
                  <a:cubicBezTo>
                    <a:pt x="13" y="176"/>
                    <a:pt x="13" y="177"/>
                    <a:pt x="13" y="178"/>
                  </a:cubicBezTo>
                  <a:cubicBezTo>
                    <a:pt x="12" y="179"/>
                    <a:pt x="12" y="179"/>
                    <a:pt x="12" y="179"/>
                  </a:cubicBezTo>
                  <a:cubicBezTo>
                    <a:pt x="12" y="179"/>
                    <a:pt x="12" y="180"/>
                    <a:pt x="12" y="180"/>
                  </a:cubicBezTo>
                  <a:cubicBezTo>
                    <a:pt x="12" y="181"/>
                    <a:pt x="11" y="182"/>
                    <a:pt x="11" y="182"/>
                  </a:cubicBezTo>
                  <a:cubicBezTo>
                    <a:pt x="12" y="182"/>
                    <a:pt x="12" y="183"/>
                    <a:pt x="12" y="184"/>
                  </a:cubicBezTo>
                  <a:cubicBezTo>
                    <a:pt x="12" y="184"/>
                    <a:pt x="13" y="186"/>
                    <a:pt x="13" y="186"/>
                  </a:cubicBezTo>
                  <a:cubicBezTo>
                    <a:pt x="13" y="186"/>
                    <a:pt x="15" y="187"/>
                    <a:pt x="16" y="187"/>
                  </a:cubicBezTo>
                  <a:cubicBezTo>
                    <a:pt x="16" y="187"/>
                    <a:pt x="17" y="187"/>
                    <a:pt x="17" y="187"/>
                  </a:cubicBezTo>
                  <a:cubicBezTo>
                    <a:pt x="17" y="187"/>
                    <a:pt x="17" y="187"/>
                    <a:pt x="18" y="187"/>
                  </a:cubicBezTo>
                  <a:cubicBezTo>
                    <a:pt x="20" y="188"/>
                    <a:pt x="21" y="189"/>
                    <a:pt x="22" y="191"/>
                  </a:cubicBezTo>
                  <a:cubicBezTo>
                    <a:pt x="22" y="192"/>
                    <a:pt x="23" y="192"/>
                    <a:pt x="23" y="193"/>
                  </a:cubicBezTo>
                  <a:cubicBezTo>
                    <a:pt x="23" y="193"/>
                    <a:pt x="23" y="193"/>
                    <a:pt x="24" y="193"/>
                  </a:cubicBezTo>
                  <a:cubicBezTo>
                    <a:pt x="25" y="194"/>
                    <a:pt x="26" y="195"/>
                    <a:pt x="26" y="196"/>
                  </a:cubicBezTo>
                  <a:cubicBezTo>
                    <a:pt x="26" y="196"/>
                    <a:pt x="26" y="196"/>
                    <a:pt x="26" y="196"/>
                  </a:cubicBezTo>
                  <a:cubicBezTo>
                    <a:pt x="26" y="197"/>
                    <a:pt x="26" y="197"/>
                    <a:pt x="26" y="197"/>
                  </a:cubicBezTo>
                  <a:cubicBezTo>
                    <a:pt x="17" y="209"/>
                    <a:pt x="17" y="209"/>
                    <a:pt x="17" y="209"/>
                  </a:cubicBezTo>
                  <a:cubicBezTo>
                    <a:pt x="17" y="209"/>
                    <a:pt x="17" y="209"/>
                    <a:pt x="17" y="209"/>
                  </a:cubicBezTo>
                  <a:cubicBezTo>
                    <a:pt x="17" y="209"/>
                    <a:pt x="17" y="210"/>
                    <a:pt x="17" y="210"/>
                  </a:cubicBezTo>
                  <a:cubicBezTo>
                    <a:pt x="17" y="210"/>
                    <a:pt x="18" y="210"/>
                    <a:pt x="18" y="210"/>
                  </a:cubicBezTo>
                  <a:cubicBezTo>
                    <a:pt x="18" y="211"/>
                    <a:pt x="18" y="211"/>
                    <a:pt x="19" y="211"/>
                  </a:cubicBezTo>
                  <a:cubicBezTo>
                    <a:pt x="19" y="211"/>
                    <a:pt x="19" y="212"/>
                    <a:pt x="20" y="212"/>
                  </a:cubicBezTo>
                  <a:cubicBezTo>
                    <a:pt x="21" y="214"/>
                    <a:pt x="21" y="215"/>
                    <a:pt x="22" y="217"/>
                  </a:cubicBezTo>
                  <a:cubicBezTo>
                    <a:pt x="28" y="231"/>
                    <a:pt x="28" y="231"/>
                    <a:pt x="28" y="231"/>
                  </a:cubicBezTo>
                  <a:cubicBezTo>
                    <a:pt x="27" y="232"/>
                    <a:pt x="27" y="232"/>
                    <a:pt x="27" y="232"/>
                  </a:cubicBezTo>
                  <a:cubicBezTo>
                    <a:pt x="26" y="232"/>
                    <a:pt x="26" y="232"/>
                    <a:pt x="26" y="232"/>
                  </a:cubicBezTo>
                  <a:cubicBezTo>
                    <a:pt x="25" y="232"/>
                    <a:pt x="25" y="232"/>
                    <a:pt x="25" y="232"/>
                  </a:cubicBezTo>
                  <a:cubicBezTo>
                    <a:pt x="25" y="232"/>
                    <a:pt x="25" y="232"/>
                    <a:pt x="24" y="232"/>
                  </a:cubicBezTo>
                  <a:cubicBezTo>
                    <a:pt x="24" y="232"/>
                    <a:pt x="24" y="232"/>
                    <a:pt x="24" y="232"/>
                  </a:cubicBezTo>
                  <a:cubicBezTo>
                    <a:pt x="24" y="233"/>
                    <a:pt x="24" y="235"/>
                    <a:pt x="23" y="236"/>
                  </a:cubicBezTo>
                  <a:cubicBezTo>
                    <a:pt x="23" y="236"/>
                    <a:pt x="23" y="236"/>
                    <a:pt x="23" y="236"/>
                  </a:cubicBezTo>
                  <a:cubicBezTo>
                    <a:pt x="23" y="236"/>
                    <a:pt x="23" y="237"/>
                    <a:pt x="23" y="237"/>
                  </a:cubicBezTo>
                  <a:cubicBezTo>
                    <a:pt x="23" y="237"/>
                    <a:pt x="23" y="237"/>
                    <a:pt x="24" y="237"/>
                  </a:cubicBezTo>
                  <a:cubicBezTo>
                    <a:pt x="24" y="238"/>
                    <a:pt x="25" y="238"/>
                    <a:pt x="25" y="239"/>
                  </a:cubicBezTo>
                  <a:cubicBezTo>
                    <a:pt x="25" y="240"/>
                    <a:pt x="24" y="241"/>
                    <a:pt x="23" y="241"/>
                  </a:cubicBezTo>
                  <a:cubicBezTo>
                    <a:pt x="23" y="242"/>
                    <a:pt x="23" y="242"/>
                    <a:pt x="23" y="242"/>
                  </a:cubicBezTo>
                  <a:cubicBezTo>
                    <a:pt x="23" y="243"/>
                    <a:pt x="24" y="243"/>
                    <a:pt x="24" y="244"/>
                  </a:cubicBezTo>
                  <a:cubicBezTo>
                    <a:pt x="26" y="244"/>
                    <a:pt x="27" y="244"/>
                    <a:pt x="28" y="246"/>
                  </a:cubicBezTo>
                  <a:cubicBezTo>
                    <a:pt x="29" y="246"/>
                    <a:pt x="29" y="247"/>
                    <a:pt x="29" y="248"/>
                  </a:cubicBezTo>
                  <a:cubicBezTo>
                    <a:pt x="28" y="248"/>
                    <a:pt x="28" y="249"/>
                    <a:pt x="27" y="249"/>
                  </a:cubicBezTo>
                  <a:cubicBezTo>
                    <a:pt x="27" y="250"/>
                    <a:pt x="28" y="251"/>
                    <a:pt x="28" y="251"/>
                  </a:cubicBezTo>
                  <a:cubicBezTo>
                    <a:pt x="28" y="251"/>
                    <a:pt x="28" y="251"/>
                    <a:pt x="28" y="251"/>
                  </a:cubicBezTo>
                  <a:cubicBezTo>
                    <a:pt x="29" y="251"/>
                    <a:pt x="29" y="251"/>
                    <a:pt x="29" y="251"/>
                  </a:cubicBezTo>
                  <a:cubicBezTo>
                    <a:pt x="30" y="252"/>
                    <a:pt x="32" y="252"/>
                    <a:pt x="32" y="254"/>
                  </a:cubicBezTo>
                  <a:cubicBezTo>
                    <a:pt x="34" y="256"/>
                    <a:pt x="33" y="258"/>
                    <a:pt x="31" y="259"/>
                  </a:cubicBezTo>
                  <a:cubicBezTo>
                    <a:pt x="31" y="260"/>
                    <a:pt x="31" y="260"/>
                    <a:pt x="31" y="260"/>
                  </a:cubicBezTo>
                  <a:cubicBezTo>
                    <a:pt x="30" y="261"/>
                    <a:pt x="29" y="261"/>
                    <a:pt x="28" y="262"/>
                  </a:cubicBezTo>
                  <a:cubicBezTo>
                    <a:pt x="28" y="263"/>
                    <a:pt x="29" y="263"/>
                    <a:pt x="30" y="264"/>
                  </a:cubicBezTo>
                  <a:cubicBezTo>
                    <a:pt x="34" y="266"/>
                    <a:pt x="38" y="269"/>
                    <a:pt x="41" y="272"/>
                  </a:cubicBezTo>
                  <a:cubicBezTo>
                    <a:pt x="41" y="273"/>
                    <a:pt x="41" y="273"/>
                    <a:pt x="41" y="273"/>
                  </a:cubicBezTo>
                  <a:cubicBezTo>
                    <a:pt x="41" y="273"/>
                    <a:pt x="41" y="273"/>
                    <a:pt x="41" y="273"/>
                  </a:cubicBezTo>
                  <a:cubicBezTo>
                    <a:pt x="42" y="274"/>
                    <a:pt x="43" y="275"/>
                    <a:pt x="42" y="277"/>
                  </a:cubicBezTo>
                  <a:cubicBezTo>
                    <a:pt x="41" y="278"/>
                    <a:pt x="41" y="279"/>
                    <a:pt x="41" y="279"/>
                  </a:cubicBezTo>
                  <a:cubicBezTo>
                    <a:pt x="40" y="280"/>
                    <a:pt x="40" y="281"/>
                    <a:pt x="39" y="282"/>
                  </a:cubicBezTo>
                  <a:cubicBezTo>
                    <a:pt x="39" y="283"/>
                    <a:pt x="37" y="284"/>
                    <a:pt x="36" y="285"/>
                  </a:cubicBezTo>
                  <a:cubicBezTo>
                    <a:pt x="36" y="286"/>
                    <a:pt x="35" y="286"/>
                    <a:pt x="35" y="286"/>
                  </a:cubicBezTo>
                  <a:cubicBezTo>
                    <a:pt x="33" y="288"/>
                    <a:pt x="31" y="290"/>
                    <a:pt x="29" y="292"/>
                  </a:cubicBezTo>
                  <a:cubicBezTo>
                    <a:pt x="28" y="293"/>
                    <a:pt x="27" y="294"/>
                    <a:pt x="26" y="295"/>
                  </a:cubicBezTo>
                  <a:cubicBezTo>
                    <a:pt x="23" y="298"/>
                    <a:pt x="20" y="301"/>
                    <a:pt x="17" y="303"/>
                  </a:cubicBezTo>
                  <a:cubicBezTo>
                    <a:pt x="13" y="306"/>
                    <a:pt x="9" y="309"/>
                    <a:pt x="5" y="312"/>
                  </a:cubicBezTo>
                  <a:cubicBezTo>
                    <a:pt x="6" y="312"/>
                    <a:pt x="7" y="312"/>
                    <a:pt x="8" y="312"/>
                  </a:cubicBezTo>
                  <a:cubicBezTo>
                    <a:pt x="9" y="310"/>
                    <a:pt x="11" y="311"/>
                    <a:pt x="12" y="310"/>
                  </a:cubicBezTo>
                  <a:cubicBezTo>
                    <a:pt x="13" y="312"/>
                    <a:pt x="9" y="310"/>
                    <a:pt x="11" y="313"/>
                  </a:cubicBezTo>
                  <a:cubicBezTo>
                    <a:pt x="13" y="315"/>
                    <a:pt x="10" y="313"/>
                    <a:pt x="9" y="312"/>
                  </a:cubicBezTo>
                  <a:cubicBezTo>
                    <a:pt x="11" y="316"/>
                    <a:pt x="16" y="317"/>
                    <a:pt x="19" y="318"/>
                  </a:cubicBezTo>
                  <a:cubicBezTo>
                    <a:pt x="20" y="319"/>
                    <a:pt x="21" y="319"/>
                    <a:pt x="23" y="319"/>
                  </a:cubicBezTo>
                  <a:cubicBezTo>
                    <a:pt x="23" y="320"/>
                    <a:pt x="25" y="320"/>
                    <a:pt x="26" y="321"/>
                  </a:cubicBezTo>
                  <a:cubicBezTo>
                    <a:pt x="27" y="323"/>
                    <a:pt x="27" y="323"/>
                    <a:pt x="27" y="323"/>
                  </a:cubicBezTo>
                  <a:cubicBezTo>
                    <a:pt x="25" y="323"/>
                    <a:pt x="25" y="323"/>
                    <a:pt x="25" y="323"/>
                  </a:cubicBezTo>
                  <a:cubicBezTo>
                    <a:pt x="24" y="322"/>
                    <a:pt x="23" y="322"/>
                    <a:pt x="22" y="322"/>
                  </a:cubicBezTo>
                  <a:cubicBezTo>
                    <a:pt x="21" y="321"/>
                    <a:pt x="18" y="321"/>
                    <a:pt x="17" y="321"/>
                  </a:cubicBezTo>
                  <a:cubicBezTo>
                    <a:pt x="16" y="322"/>
                    <a:pt x="14" y="323"/>
                    <a:pt x="13" y="324"/>
                  </a:cubicBezTo>
                  <a:cubicBezTo>
                    <a:pt x="13" y="325"/>
                    <a:pt x="11" y="324"/>
                    <a:pt x="11" y="323"/>
                  </a:cubicBezTo>
                  <a:cubicBezTo>
                    <a:pt x="9" y="323"/>
                    <a:pt x="7" y="325"/>
                    <a:pt x="6" y="324"/>
                  </a:cubicBezTo>
                  <a:cubicBezTo>
                    <a:pt x="5" y="325"/>
                    <a:pt x="5" y="326"/>
                    <a:pt x="5" y="328"/>
                  </a:cubicBezTo>
                  <a:cubicBezTo>
                    <a:pt x="8" y="329"/>
                    <a:pt x="8" y="329"/>
                    <a:pt x="8" y="329"/>
                  </a:cubicBezTo>
                  <a:cubicBezTo>
                    <a:pt x="7" y="330"/>
                    <a:pt x="7" y="330"/>
                    <a:pt x="7" y="330"/>
                  </a:cubicBezTo>
                  <a:cubicBezTo>
                    <a:pt x="7" y="331"/>
                    <a:pt x="7" y="331"/>
                    <a:pt x="7" y="331"/>
                  </a:cubicBezTo>
                  <a:cubicBezTo>
                    <a:pt x="9" y="332"/>
                    <a:pt x="9" y="332"/>
                    <a:pt x="9" y="332"/>
                  </a:cubicBezTo>
                  <a:cubicBezTo>
                    <a:pt x="6" y="333"/>
                    <a:pt x="6" y="333"/>
                    <a:pt x="6" y="333"/>
                  </a:cubicBezTo>
                  <a:cubicBezTo>
                    <a:pt x="6" y="333"/>
                    <a:pt x="5" y="333"/>
                    <a:pt x="4" y="335"/>
                  </a:cubicBezTo>
                  <a:cubicBezTo>
                    <a:pt x="3" y="337"/>
                    <a:pt x="1" y="339"/>
                    <a:pt x="1" y="339"/>
                  </a:cubicBezTo>
                  <a:cubicBezTo>
                    <a:pt x="1" y="339"/>
                    <a:pt x="0" y="340"/>
                    <a:pt x="1" y="341"/>
                  </a:cubicBezTo>
                  <a:cubicBezTo>
                    <a:pt x="1" y="342"/>
                    <a:pt x="1" y="344"/>
                    <a:pt x="1" y="345"/>
                  </a:cubicBezTo>
                  <a:cubicBezTo>
                    <a:pt x="1" y="345"/>
                    <a:pt x="1" y="346"/>
                    <a:pt x="1" y="346"/>
                  </a:cubicBezTo>
                  <a:cubicBezTo>
                    <a:pt x="1" y="346"/>
                    <a:pt x="0" y="348"/>
                    <a:pt x="2" y="349"/>
                  </a:cubicBezTo>
                  <a:cubicBezTo>
                    <a:pt x="3" y="350"/>
                    <a:pt x="4" y="352"/>
                    <a:pt x="4" y="353"/>
                  </a:cubicBezTo>
                  <a:cubicBezTo>
                    <a:pt x="4" y="353"/>
                    <a:pt x="4" y="354"/>
                    <a:pt x="4" y="354"/>
                  </a:cubicBezTo>
                  <a:cubicBezTo>
                    <a:pt x="3" y="355"/>
                    <a:pt x="3" y="355"/>
                    <a:pt x="3" y="355"/>
                  </a:cubicBezTo>
                  <a:cubicBezTo>
                    <a:pt x="3" y="355"/>
                    <a:pt x="3" y="355"/>
                    <a:pt x="3" y="355"/>
                  </a:cubicBezTo>
                  <a:cubicBezTo>
                    <a:pt x="3" y="355"/>
                    <a:pt x="2" y="355"/>
                    <a:pt x="2" y="355"/>
                  </a:cubicBezTo>
                  <a:cubicBezTo>
                    <a:pt x="2" y="355"/>
                    <a:pt x="2" y="355"/>
                    <a:pt x="2" y="355"/>
                  </a:cubicBezTo>
                  <a:cubicBezTo>
                    <a:pt x="2" y="355"/>
                    <a:pt x="2" y="355"/>
                    <a:pt x="2" y="355"/>
                  </a:cubicBezTo>
                  <a:cubicBezTo>
                    <a:pt x="2" y="355"/>
                    <a:pt x="2" y="355"/>
                    <a:pt x="2" y="355"/>
                  </a:cubicBezTo>
                  <a:cubicBezTo>
                    <a:pt x="2" y="355"/>
                    <a:pt x="1" y="355"/>
                    <a:pt x="1" y="355"/>
                  </a:cubicBezTo>
                  <a:cubicBezTo>
                    <a:pt x="1" y="355"/>
                    <a:pt x="1" y="355"/>
                    <a:pt x="1" y="355"/>
                  </a:cubicBezTo>
                  <a:cubicBezTo>
                    <a:pt x="1" y="355"/>
                    <a:pt x="1" y="355"/>
                    <a:pt x="1" y="355"/>
                  </a:cubicBezTo>
                  <a:cubicBezTo>
                    <a:pt x="1" y="355"/>
                    <a:pt x="1" y="355"/>
                    <a:pt x="1" y="355"/>
                  </a:cubicBezTo>
                  <a:cubicBezTo>
                    <a:pt x="1" y="355"/>
                    <a:pt x="1" y="355"/>
                    <a:pt x="1" y="355"/>
                  </a:cubicBezTo>
                  <a:cubicBezTo>
                    <a:pt x="1" y="356"/>
                    <a:pt x="0" y="356"/>
                    <a:pt x="0" y="356"/>
                  </a:cubicBezTo>
                  <a:cubicBezTo>
                    <a:pt x="0" y="356"/>
                    <a:pt x="0" y="356"/>
                    <a:pt x="0" y="356"/>
                  </a:cubicBezTo>
                  <a:cubicBezTo>
                    <a:pt x="0" y="356"/>
                    <a:pt x="0" y="356"/>
                    <a:pt x="0" y="356"/>
                  </a:cubicBezTo>
                  <a:cubicBezTo>
                    <a:pt x="0" y="356"/>
                    <a:pt x="0" y="356"/>
                    <a:pt x="0" y="356"/>
                  </a:cubicBezTo>
                  <a:cubicBezTo>
                    <a:pt x="0" y="356"/>
                    <a:pt x="0" y="357"/>
                    <a:pt x="0" y="357"/>
                  </a:cubicBezTo>
                  <a:cubicBezTo>
                    <a:pt x="0" y="357"/>
                    <a:pt x="0" y="357"/>
                    <a:pt x="0" y="357"/>
                  </a:cubicBezTo>
                  <a:cubicBezTo>
                    <a:pt x="0" y="357"/>
                    <a:pt x="0" y="357"/>
                    <a:pt x="0" y="357"/>
                  </a:cubicBezTo>
                  <a:cubicBezTo>
                    <a:pt x="0" y="357"/>
                    <a:pt x="0" y="357"/>
                    <a:pt x="0" y="358"/>
                  </a:cubicBezTo>
                  <a:cubicBezTo>
                    <a:pt x="0" y="358"/>
                    <a:pt x="0" y="358"/>
                    <a:pt x="0" y="358"/>
                  </a:cubicBezTo>
                  <a:cubicBezTo>
                    <a:pt x="0" y="358"/>
                    <a:pt x="0" y="358"/>
                    <a:pt x="0" y="358"/>
                  </a:cubicBezTo>
                  <a:cubicBezTo>
                    <a:pt x="0" y="358"/>
                    <a:pt x="0" y="358"/>
                    <a:pt x="0" y="358"/>
                  </a:cubicBezTo>
                  <a:cubicBezTo>
                    <a:pt x="0" y="358"/>
                    <a:pt x="0" y="358"/>
                    <a:pt x="0" y="358"/>
                  </a:cubicBezTo>
                  <a:cubicBezTo>
                    <a:pt x="1" y="358"/>
                    <a:pt x="1" y="358"/>
                    <a:pt x="1" y="358"/>
                  </a:cubicBezTo>
                  <a:cubicBezTo>
                    <a:pt x="2" y="359"/>
                    <a:pt x="3" y="360"/>
                    <a:pt x="3" y="360"/>
                  </a:cubicBezTo>
                  <a:cubicBezTo>
                    <a:pt x="4" y="360"/>
                    <a:pt x="4" y="360"/>
                    <a:pt x="4" y="361"/>
                  </a:cubicBezTo>
                  <a:cubicBezTo>
                    <a:pt x="5" y="362"/>
                    <a:pt x="4" y="363"/>
                    <a:pt x="3" y="364"/>
                  </a:cubicBezTo>
                  <a:cubicBezTo>
                    <a:pt x="3" y="364"/>
                    <a:pt x="3" y="364"/>
                    <a:pt x="3" y="364"/>
                  </a:cubicBezTo>
                  <a:cubicBezTo>
                    <a:pt x="4" y="365"/>
                    <a:pt x="4" y="366"/>
                    <a:pt x="3" y="366"/>
                  </a:cubicBezTo>
                  <a:cubicBezTo>
                    <a:pt x="3" y="366"/>
                    <a:pt x="3" y="366"/>
                    <a:pt x="3" y="366"/>
                  </a:cubicBezTo>
                  <a:cubicBezTo>
                    <a:pt x="3" y="367"/>
                    <a:pt x="3" y="367"/>
                    <a:pt x="3" y="367"/>
                  </a:cubicBezTo>
                  <a:cubicBezTo>
                    <a:pt x="5" y="367"/>
                    <a:pt x="6" y="368"/>
                    <a:pt x="6" y="370"/>
                  </a:cubicBezTo>
                  <a:cubicBezTo>
                    <a:pt x="7" y="372"/>
                    <a:pt x="7" y="372"/>
                    <a:pt x="7" y="373"/>
                  </a:cubicBezTo>
                  <a:cubicBezTo>
                    <a:pt x="7" y="373"/>
                    <a:pt x="7" y="373"/>
                    <a:pt x="7" y="373"/>
                  </a:cubicBezTo>
                  <a:cubicBezTo>
                    <a:pt x="7" y="373"/>
                    <a:pt x="8" y="373"/>
                    <a:pt x="8" y="373"/>
                  </a:cubicBezTo>
                  <a:cubicBezTo>
                    <a:pt x="8" y="374"/>
                    <a:pt x="8" y="374"/>
                    <a:pt x="8" y="374"/>
                  </a:cubicBezTo>
                  <a:cubicBezTo>
                    <a:pt x="8" y="374"/>
                    <a:pt x="8" y="374"/>
                    <a:pt x="8" y="374"/>
                  </a:cubicBezTo>
                  <a:cubicBezTo>
                    <a:pt x="8" y="374"/>
                    <a:pt x="8" y="374"/>
                    <a:pt x="8" y="374"/>
                  </a:cubicBezTo>
                  <a:cubicBezTo>
                    <a:pt x="8" y="375"/>
                    <a:pt x="8" y="375"/>
                    <a:pt x="8" y="375"/>
                  </a:cubicBezTo>
                  <a:cubicBezTo>
                    <a:pt x="8" y="375"/>
                    <a:pt x="8" y="375"/>
                    <a:pt x="8" y="375"/>
                  </a:cubicBezTo>
                  <a:cubicBezTo>
                    <a:pt x="8" y="377"/>
                    <a:pt x="8" y="377"/>
                    <a:pt x="8" y="377"/>
                  </a:cubicBezTo>
                  <a:cubicBezTo>
                    <a:pt x="8" y="377"/>
                    <a:pt x="8" y="377"/>
                    <a:pt x="8" y="377"/>
                  </a:cubicBezTo>
                  <a:cubicBezTo>
                    <a:pt x="8" y="377"/>
                    <a:pt x="8" y="377"/>
                    <a:pt x="8" y="377"/>
                  </a:cubicBezTo>
                  <a:cubicBezTo>
                    <a:pt x="9" y="378"/>
                    <a:pt x="9" y="378"/>
                    <a:pt x="9" y="378"/>
                  </a:cubicBezTo>
                  <a:cubicBezTo>
                    <a:pt x="9" y="378"/>
                    <a:pt x="9" y="378"/>
                    <a:pt x="9" y="378"/>
                  </a:cubicBezTo>
                  <a:cubicBezTo>
                    <a:pt x="10" y="378"/>
                    <a:pt x="10" y="378"/>
                    <a:pt x="10" y="378"/>
                  </a:cubicBezTo>
                  <a:cubicBezTo>
                    <a:pt x="10" y="378"/>
                    <a:pt x="10" y="378"/>
                    <a:pt x="10" y="378"/>
                  </a:cubicBezTo>
                  <a:cubicBezTo>
                    <a:pt x="12" y="379"/>
                    <a:pt x="12" y="379"/>
                    <a:pt x="12" y="379"/>
                  </a:cubicBezTo>
                  <a:cubicBezTo>
                    <a:pt x="12" y="379"/>
                    <a:pt x="12" y="379"/>
                    <a:pt x="12" y="379"/>
                  </a:cubicBezTo>
                  <a:cubicBezTo>
                    <a:pt x="13" y="380"/>
                    <a:pt x="13" y="380"/>
                    <a:pt x="13" y="380"/>
                  </a:cubicBezTo>
                  <a:cubicBezTo>
                    <a:pt x="13" y="380"/>
                    <a:pt x="13" y="380"/>
                    <a:pt x="13" y="380"/>
                  </a:cubicBezTo>
                  <a:cubicBezTo>
                    <a:pt x="13" y="380"/>
                    <a:pt x="14" y="380"/>
                    <a:pt x="14" y="380"/>
                  </a:cubicBezTo>
                  <a:cubicBezTo>
                    <a:pt x="14" y="380"/>
                    <a:pt x="14" y="380"/>
                    <a:pt x="14" y="380"/>
                  </a:cubicBezTo>
                  <a:cubicBezTo>
                    <a:pt x="14" y="380"/>
                    <a:pt x="15" y="380"/>
                    <a:pt x="15" y="380"/>
                  </a:cubicBezTo>
                  <a:cubicBezTo>
                    <a:pt x="15" y="379"/>
                    <a:pt x="15" y="379"/>
                    <a:pt x="15" y="379"/>
                  </a:cubicBezTo>
                  <a:cubicBezTo>
                    <a:pt x="16" y="379"/>
                    <a:pt x="16" y="379"/>
                    <a:pt x="17" y="379"/>
                  </a:cubicBezTo>
                  <a:cubicBezTo>
                    <a:pt x="17" y="379"/>
                    <a:pt x="17" y="379"/>
                    <a:pt x="18" y="379"/>
                  </a:cubicBezTo>
                  <a:cubicBezTo>
                    <a:pt x="18" y="379"/>
                    <a:pt x="18" y="379"/>
                    <a:pt x="18" y="379"/>
                  </a:cubicBezTo>
                  <a:cubicBezTo>
                    <a:pt x="18" y="379"/>
                    <a:pt x="19" y="380"/>
                    <a:pt x="19" y="380"/>
                  </a:cubicBezTo>
                  <a:cubicBezTo>
                    <a:pt x="19" y="381"/>
                    <a:pt x="19" y="381"/>
                    <a:pt x="19" y="381"/>
                  </a:cubicBezTo>
                  <a:cubicBezTo>
                    <a:pt x="20" y="380"/>
                    <a:pt x="20" y="380"/>
                    <a:pt x="20" y="380"/>
                  </a:cubicBezTo>
                  <a:cubicBezTo>
                    <a:pt x="20" y="381"/>
                    <a:pt x="20" y="382"/>
                    <a:pt x="20" y="382"/>
                  </a:cubicBezTo>
                  <a:cubicBezTo>
                    <a:pt x="20" y="382"/>
                    <a:pt x="20" y="383"/>
                    <a:pt x="20" y="383"/>
                  </a:cubicBezTo>
                  <a:cubicBezTo>
                    <a:pt x="20" y="383"/>
                    <a:pt x="20" y="383"/>
                    <a:pt x="20" y="383"/>
                  </a:cubicBezTo>
                  <a:cubicBezTo>
                    <a:pt x="21" y="383"/>
                    <a:pt x="21" y="383"/>
                    <a:pt x="21" y="383"/>
                  </a:cubicBezTo>
                  <a:cubicBezTo>
                    <a:pt x="22" y="382"/>
                    <a:pt x="22" y="382"/>
                    <a:pt x="23" y="382"/>
                  </a:cubicBezTo>
                  <a:cubicBezTo>
                    <a:pt x="23" y="382"/>
                    <a:pt x="23" y="382"/>
                    <a:pt x="23" y="382"/>
                  </a:cubicBezTo>
                  <a:cubicBezTo>
                    <a:pt x="23" y="381"/>
                    <a:pt x="23" y="381"/>
                    <a:pt x="23" y="381"/>
                  </a:cubicBezTo>
                  <a:cubicBezTo>
                    <a:pt x="24" y="381"/>
                    <a:pt x="24" y="381"/>
                    <a:pt x="24" y="381"/>
                  </a:cubicBezTo>
                  <a:cubicBezTo>
                    <a:pt x="24" y="381"/>
                    <a:pt x="24" y="381"/>
                    <a:pt x="24" y="381"/>
                  </a:cubicBezTo>
                  <a:cubicBezTo>
                    <a:pt x="24" y="381"/>
                    <a:pt x="25" y="381"/>
                    <a:pt x="25" y="381"/>
                  </a:cubicBezTo>
                  <a:cubicBezTo>
                    <a:pt x="25" y="381"/>
                    <a:pt x="25" y="381"/>
                    <a:pt x="26" y="381"/>
                  </a:cubicBezTo>
                  <a:cubicBezTo>
                    <a:pt x="26" y="381"/>
                    <a:pt x="26" y="381"/>
                    <a:pt x="26" y="381"/>
                  </a:cubicBezTo>
                  <a:cubicBezTo>
                    <a:pt x="27" y="381"/>
                    <a:pt x="27" y="381"/>
                    <a:pt x="28" y="381"/>
                  </a:cubicBezTo>
                  <a:cubicBezTo>
                    <a:pt x="28" y="381"/>
                    <a:pt x="28" y="381"/>
                    <a:pt x="28" y="381"/>
                  </a:cubicBezTo>
                  <a:cubicBezTo>
                    <a:pt x="29" y="382"/>
                    <a:pt x="30" y="382"/>
                    <a:pt x="31" y="382"/>
                  </a:cubicBezTo>
                  <a:cubicBezTo>
                    <a:pt x="34" y="384"/>
                    <a:pt x="35" y="385"/>
                    <a:pt x="36" y="385"/>
                  </a:cubicBezTo>
                  <a:cubicBezTo>
                    <a:pt x="36" y="385"/>
                    <a:pt x="36" y="385"/>
                    <a:pt x="36" y="385"/>
                  </a:cubicBezTo>
                  <a:cubicBezTo>
                    <a:pt x="36" y="389"/>
                    <a:pt x="36" y="389"/>
                    <a:pt x="36" y="389"/>
                  </a:cubicBezTo>
                  <a:cubicBezTo>
                    <a:pt x="35" y="390"/>
                    <a:pt x="35" y="390"/>
                    <a:pt x="35" y="390"/>
                  </a:cubicBezTo>
                  <a:cubicBezTo>
                    <a:pt x="35" y="391"/>
                    <a:pt x="35" y="391"/>
                    <a:pt x="35" y="391"/>
                  </a:cubicBezTo>
                  <a:cubicBezTo>
                    <a:pt x="36" y="391"/>
                    <a:pt x="38" y="393"/>
                    <a:pt x="37" y="395"/>
                  </a:cubicBezTo>
                  <a:cubicBezTo>
                    <a:pt x="37" y="395"/>
                    <a:pt x="37" y="395"/>
                    <a:pt x="37" y="395"/>
                  </a:cubicBezTo>
                  <a:cubicBezTo>
                    <a:pt x="36" y="395"/>
                    <a:pt x="36" y="396"/>
                    <a:pt x="35" y="397"/>
                  </a:cubicBezTo>
                  <a:cubicBezTo>
                    <a:pt x="37" y="397"/>
                    <a:pt x="39" y="399"/>
                    <a:pt x="39" y="400"/>
                  </a:cubicBezTo>
                  <a:cubicBezTo>
                    <a:pt x="39" y="401"/>
                    <a:pt x="40" y="404"/>
                    <a:pt x="42" y="405"/>
                  </a:cubicBezTo>
                  <a:cubicBezTo>
                    <a:pt x="44" y="406"/>
                    <a:pt x="45" y="407"/>
                    <a:pt x="45" y="409"/>
                  </a:cubicBezTo>
                  <a:cubicBezTo>
                    <a:pt x="45" y="409"/>
                    <a:pt x="45" y="410"/>
                    <a:pt x="45" y="411"/>
                  </a:cubicBezTo>
                  <a:cubicBezTo>
                    <a:pt x="46" y="411"/>
                    <a:pt x="48" y="411"/>
                    <a:pt x="51" y="411"/>
                  </a:cubicBezTo>
                  <a:cubicBezTo>
                    <a:pt x="54" y="412"/>
                    <a:pt x="54" y="412"/>
                    <a:pt x="54" y="412"/>
                  </a:cubicBezTo>
                  <a:cubicBezTo>
                    <a:pt x="51" y="414"/>
                    <a:pt x="51" y="414"/>
                    <a:pt x="51" y="414"/>
                  </a:cubicBezTo>
                  <a:cubicBezTo>
                    <a:pt x="51" y="414"/>
                    <a:pt x="51" y="414"/>
                    <a:pt x="51" y="414"/>
                  </a:cubicBezTo>
                  <a:cubicBezTo>
                    <a:pt x="52" y="414"/>
                    <a:pt x="52" y="414"/>
                    <a:pt x="52" y="414"/>
                  </a:cubicBezTo>
                  <a:cubicBezTo>
                    <a:pt x="53" y="415"/>
                    <a:pt x="53" y="415"/>
                    <a:pt x="53" y="415"/>
                  </a:cubicBezTo>
                  <a:cubicBezTo>
                    <a:pt x="54" y="416"/>
                    <a:pt x="55" y="416"/>
                    <a:pt x="55" y="417"/>
                  </a:cubicBezTo>
                  <a:cubicBezTo>
                    <a:pt x="55" y="418"/>
                    <a:pt x="55" y="418"/>
                    <a:pt x="54" y="419"/>
                  </a:cubicBezTo>
                  <a:cubicBezTo>
                    <a:pt x="54" y="419"/>
                    <a:pt x="54" y="419"/>
                    <a:pt x="54" y="419"/>
                  </a:cubicBezTo>
                  <a:cubicBezTo>
                    <a:pt x="53" y="419"/>
                    <a:pt x="53" y="420"/>
                    <a:pt x="52" y="420"/>
                  </a:cubicBezTo>
                  <a:cubicBezTo>
                    <a:pt x="52" y="420"/>
                    <a:pt x="52" y="420"/>
                    <a:pt x="51" y="420"/>
                  </a:cubicBezTo>
                  <a:cubicBezTo>
                    <a:pt x="51" y="421"/>
                    <a:pt x="51" y="421"/>
                    <a:pt x="51" y="421"/>
                  </a:cubicBezTo>
                  <a:cubicBezTo>
                    <a:pt x="51" y="421"/>
                    <a:pt x="51" y="421"/>
                    <a:pt x="51" y="421"/>
                  </a:cubicBezTo>
                  <a:cubicBezTo>
                    <a:pt x="51" y="421"/>
                    <a:pt x="51" y="421"/>
                    <a:pt x="50" y="421"/>
                  </a:cubicBezTo>
                  <a:cubicBezTo>
                    <a:pt x="49" y="422"/>
                    <a:pt x="49" y="422"/>
                    <a:pt x="49" y="422"/>
                  </a:cubicBezTo>
                  <a:cubicBezTo>
                    <a:pt x="49" y="422"/>
                    <a:pt x="49" y="422"/>
                    <a:pt x="49" y="422"/>
                  </a:cubicBezTo>
                  <a:cubicBezTo>
                    <a:pt x="49" y="422"/>
                    <a:pt x="49" y="422"/>
                    <a:pt x="49" y="422"/>
                  </a:cubicBezTo>
                  <a:cubicBezTo>
                    <a:pt x="48" y="422"/>
                    <a:pt x="48" y="422"/>
                    <a:pt x="48" y="422"/>
                  </a:cubicBezTo>
                  <a:cubicBezTo>
                    <a:pt x="48" y="422"/>
                    <a:pt x="48" y="422"/>
                    <a:pt x="48" y="422"/>
                  </a:cubicBezTo>
                  <a:cubicBezTo>
                    <a:pt x="47" y="422"/>
                    <a:pt x="46" y="423"/>
                    <a:pt x="45" y="422"/>
                  </a:cubicBezTo>
                  <a:cubicBezTo>
                    <a:pt x="44" y="422"/>
                    <a:pt x="43" y="422"/>
                    <a:pt x="43" y="422"/>
                  </a:cubicBezTo>
                  <a:cubicBezTo>
                    <a:pt x="43" y="422"/>
                    <a:pt x="43" y="422"/>
                    <a:pt x="43" y="422"/>
                  </a:cubicBezTo>
                  <a:cubicBezTo>
                    <a:pt x="42" y="422"/>
                    <a:pt x="42" y="422"/>
                    <a:pt x="41" y="422"/>
                  </a:cubicBezTo>
                  <a:cubicBezTo>
                    <a:pt x="41" y="422"/>
                    <a:pt x="41" y="422"/>
                    <a:pt x="41" y="422"/>
                  </a:cubicBezTo>
                  <a:cubicBezTo>
                    <a:pt x="41" y="422"/>
                    <a:pt x="40" y="422"/>
                    <a:pt x="40" y="422"/>
                  </a:cubicBezTo>
                  <a:cubicBezTo>
                    <a:pt x="40" y="422"/>
                    <a:pt x="40" y="422"/>
                    <a:pt x="40" y="422"/>
                  </a:cubicBezTo>
                  <a:cubicBezTo>
                    <a:pt x="40" y="422"/>
                    <a:pt x="40" y="422"/>
                    <a:pt x="40" y="422"/>
                  </a:cubicBezTo>
                  <a:cubicBezTo>
                    <a:pt x="40" y="423"/>
                    <a:pt x="41" y="423"/>
                    <a:pt x="41" y="424"/>
                  </a:cubicBezTo>
                  <a:cubicBezTo>
                    <a:pt x="42" y="424"/>
                    <a:pt x="43" y="426"/>
                    <a:pt x="43" y="430"/>
                  </a:cubicBezTo>
                  <a:cubicBezTo>
                    <a:pt x="43" y="431"/>
                    <a:pt x="43" y="432"/>
                    <a:pt x="43" y="432"/>
                  </a:cubicBezTo>
                  <a:cubicBezTo>
                    <a:pt x="44" y="432"/>
                    <a:pt x="44" y="432"/>
                    <a:pt x="44" y="432"/>
                  </a:cubicBezTo>
                  <a:cubicBezTo>
                    <a:pt x="44" y="432"/>
                    <a:pt x="44" y="433"/>
                    <a:pt x="44" y="433"/>
                  </a:cubicBezTo>
                  <a:cubicBezTo>
                    <a:pt x="44" y="433"/>
                    <a:pt x="44" y="433"/>
                    <a:pt x="44" y="433"/>
                  </a:cubicBezTo>
                  <a:cubicBezTo>
                    <a:pt x="44" y="433"/>
                    <a:pt x="44" y="433"/>
                    <a:pt x="44" y="433"/>
                  </a:cubicBezTo>
                  <a:cubicBezTo>
                    <a:pt x="45" y="434"/>
                    <a:pt x="45" y="434"/>
                    <a:pt x="45" y="434"/>
                  </a:cubicBezTo>
                  <a:cubicBezTo>
                    <a:pt x="46" y="434"/>
                    <a:pt x="47" y="434"/>
                    <a:pt x="48" y="434"/>
                  </a:cubicBezTo>
                  <a:cubicBezTo>
                    <a:pt x="48" y="434"/>
                    <a:pt x="48" y="434"/>
                    <a:pt x="48" y="434"/>
                  </a:cubicBezTo>
                  <a:cubicBezTo>
                    <a:pt x="49" y="432"/>
                    <a:pt x="50" y="430"/>
                    <a:pt x="53" y="431"/>
                  </a:cubicBezTo>
                  <a:cubicBezTo>
                    <a:pt x="55" y="431"/>
                    <a:pt x="57" y="431"/>
                    <a:pt x="59" y="430"/>
                  </a:cubicBezTo>
                  <a:cubicBezTo>
                    <a:pt x="61" y="430"/>
                    <a:pt x="64" y="429"/>
                    <a:pt x="65" y="431"/>
                  </a:cubicBezTo>
                  <a:cubicBezTo>
                    <a:pt x="65" y="431"/>
                    <a:pt x="65" y="431"/>
                    <a:pt x="65" y="431"/>
                  </a:cubicBezTo>
                  <a:cubicBezTo>
                    <a:pt x="68" y="433"/>
                    <a:pt x="69" y="434"/>
                    <a:pt x="68" y="435"/>
                  </a:cubicBezTo>
                  <a:cubicBezTo>
                    <a:pt x="68" y="435"/>
                    <a:pt x="68" y="435"/>
                    <a:pt x="68" y="436"/>
                  </a:cubicBezTo>
                  <a:cubicBezTo>
                    <a:pt x="68" y="436"/>
                    <a:pt x="69" y="436"/>
                    <a:pt x="69" y="436"/>
                  </a:cubicBezTo>
                  <a:cubicBezTo>
                    <a:pt x="70" y="437"/>
                    <a:pt x="71" y="437"/>
                    <a:pt x="71" y="438"/>
                  </a:cubicBezTo>
                  <a:cubicBezTo>
                    <a:pt x="72" y="439"/>
                    <a:pt x="72" y="439"/>
                    <a:pt x="72" y="439"/>
                  </a:cubicBezTo>
                  <a:cubicBezTo>
                    <a:pt x="72" y="440"/>
                    <a:pt x="72" y="440"/>
                    <a:pt x="72" y="440"/>
                  </a:cubicBezTo>
                  <a:cubicBezTo>
                    <a:pt x="71" y="441"/>
                    <a:pt x="71" y="441"/>
                    <a:pt x="71" y="441"/>
                  </a:cubicBezTo>
                  <a:cubicBezTo>
                    <a:pt x="70" y="441"/>
                    <a:pt x="69" y="441"/>
                    <a:pt x="69" y="441"/>
                  </a:cubicBezTo>
                  <a:cubicBezTo>
                    <a:pt x="70" y="442"/>
                    <a:pt x="70" y="444"/>
                    <a:pt x="70" y="445"/>
                  </a:cubicBezTo>
                  <a:cubicBezTo>
                    <a:pt x="70" y="445"/>
                    <a:pt x="70" y="445"/>
                    <a:pt x="70" y="445"/>
                  </a:cubicBezTo>
                  <a:cubicBezTo>
                    <a:pt x="71" y="445"/>
                    <a:pt x="72" y="445"/>
                    <a:pt x="73" y="446"/>
                  </a:cubicBezTo>
                  <a:cubicBezTo>
                    <a:pt x="73" y="446"/>
                    <a:pt x="74" y="446"/>
                    <a:pt x="75" y="446"/>
                  </a:cubicBezTo>
                  <a:cubicBezTo>
                    <a:pt x="76" y="446"/>
                    <a:pt x="77" y="446"/>
                    <a:pt x="79" y="447"/>
                  </a:cubicBezTo>
                  <a:cubicBezTo>
                    <a:pt x="80" y="448"/>
                    <a:pt x="81" y="448"/>
                    <a:pt x="81" y="448"/>
                  </a:cubicBezTo>
                  <a:cubicBezTo>
                    <a:pt x="82" y="449"/>
                    <a:pt x="82" y="449"/>
                    <a:pt x="82" y="449"/>
                  </a:cubicBezTo>
                  <a:cubicBezTo>
                    <a:pt x="81" y="450"/>
                    <a:pt x="81" y="450"/>
                    <a:pt x="81" y="450"/>
                  </a:cubicBezTo>
                  <a:cubicBezTo>
                    <a:pt x="81" y="450"/>
                    <a:pt x="81" y="451"/>
                    <a:pt x="81" y="451"/>
                  </a:cubicBezTo>
                  <a:cubicBezTo>
                    <a:pt x="82" y="453"/>
                    <a:pt x="82" y="455"/>
                    <a:pt x="82" y="456"/>
                  </a:cubicBezTo>
                  <a:cubicBezTo>
                    <a:pt x="82" y="456"/>
                    <a:pt x="83" y="457"/>
                    <a:pt x="83" y="457"/>
                  </a:cubicBezTo>
                  <a:cubicBezTo>
                    <a:pt x="83" y="457"/>
                    <a:pt x="84" y="457"/>
                    <a:pt x="85" y="457"/>
                  </a:cubicBezTo>
                  <a:cubicBezTo>
                    <a:pt x="87" y="456"/>
                    <a:pt x="89" y="456"/>
                    <a:pt x="90" y="458"/>
                  </a:cubicBezTo>
                  <a:cubicBezTo>
                    <a:pt x="91" y="458"/>
                    <a:pt x="94" y="459"/>
                    <a:pt x="96" y="458"/>
                  </a:cubicBezTo>
                  <a:cubicBezTo>
                    <a:pt x="98" y="457"/>
                    <a:pt x="101" y="456"/>
                    <a:pt x="101" y="456"/>
                  </a:cubicBezTo>
                  <a:cubicBezTo>
                    <a:pt x="101" y="456"/>
                    <a:pt x="101" y="456"/>
                    <a:pt x="101" y="456"/>
                  </a:cubicBezTo>
                  <a:cubicBezTo>
                    <a:pt x="102" y="456"/>
                    <a:pt x="103" y="456"/>
                    <a:pt x="104" y="458"/>
                  </a:cubicBezTo>
                  <a:cubicBezTo>
                    <a:pt x="105" y="459"/>
                    <a:pt x="107" y="462"/>
                    <a:pt x="107" y="463"/>
                  </a:cubicBezTo>
                  <a:cubicBezTo>
                    <a:pt x="108" y="462"/>
                    <a:pt x="109" y="461"/>
                    <a:pt x="110" y="461"/>
                  </a:cubicBezTo>
                  <a:cubicBezTo>
                    <a:pt x="110" y="461"/>
                    <a:pt x="111" y="461"/>
                    <a:pt x="112" y="461"/>
                  </a:cubicBezTo>
                  <a:cubicBezTo>
                    <a:pt x="112" y="462"/>
                    <a:pt x="112" y="462"/>
                    <a:pt x="113" y="462"/>
                  </a:cubicBezTo>
                  <a:cubicBezTo>
                    <a:pt x="115" y="462"/>
                    <a:pt x="116" y="463"/>
                    <a:pt x="116" y="464"/>
                  </a:cubicBezTo>
                  <a:cubicBezTo>
                    <a:pt x="117" y="464"/>
                    <a:pt x="117" y="464"/>
                    <a:pt x="117" y="465"/>
                  </a:cubicBezTo>
                  <a:cubicBezTo>
                    <a:pt x="117" y="465"/>
                    <a:pt x="117" y="464"/>
                    <a:pt x="117" y="464"/>
                  </a:cubicBezTo>
                  <a:cubicBezTo>
                    <a:pt x="118" y="464"/>
                    <a:pt x="120" y="463"/>
                    <a:pt x="123" y="465"/>
                  </a:cubicBezTo>
                  <a:cubicBezTo>
                    <a:pt x="123" y="466"/>
                    <a:pt x="123" y="466"/>
                    <a:pt x="123" y="466"/>
                  </a:cubicBezTo>
                  <a:cubicBezTo>
                    <a:pt x="125" y="468"/>
                    <a:pt x="126" y="469"/>
                    <a:pt x="128" y="467"/>
                  </a:cubicBezTo>
                  <a:cubicBezTo>
                    <a:pt x="130" y="467"/>
                    <a:pt x="130" y="467"/>
                    <a:pt x="130" y="467"/>
                  </a:cubicBezTo>
                  <a:cubicBezTo>
                    <a:pt x="130" y="468"/>
                    <a:pt x="130" y="468"/>
                    <a:pt x="130" y="468"/>
                  </a:cubicBezTo>
                  <a:cubicBezTo>
                    <a:pt x="131" y="471"/>
                    <a:pt x="130" y="472"/>
                    <a:pt x="130" y="473"/>
                  </a:cubicBezTo>
                  <a:cubicBezTo>
                    <a:pt x="130" y="474"/>
                    <a:pt x="130" y="474"/>
                    <a:pt x="130" y="474"/>
                  </a:cubicBezTo>
                  <a:cubicBezTo>
                    <a:pt x="129" y="475"/>
                    <a:pt x="128" y="476"/>
                    <a:pt x="126" y="477"/>
                  </a:cubicBezTo>
                  <a:cubicBezTo>
                    <a:pt x="127" y="477"/>
                    <a:pt x="128" y="477"/>
                    <a:pt x="128" y="477"/>
                  </a:cubicBezTo>
                  <a:cubicBezTo>
                    <a:pt x="136" y="479"/>
                    <a:pt x="136" y="479"/>
                    <a:pt x="136" y="479"/>
                  </a:cubicBezTo>
                  <a:cubicBezTo>
                    <a:pt x="128" y="480"/>
                    <a:pt x="128" y="480"/>
                    <a:pt x="128" y="480"/>
                  </a:cubicBezTo>
                  <a:cubicBezTo>
                    <a:pt x="127" y="480"/>
                    <a:pt x="126" y="481"/>
                    <a:pt x="125" y="481"/>
                  </a:cubicBezTo>
                  <a:cubicBezTo>
                    <a:pt x="127" y="481"/>
                    <a:pt x="127" y="483"/>
                    <a:pt x="127" y="483"/>
                  </a:cubicBezTo>
                  <a:cubicBezTo>
                    <a:pt x="128" y="484"/>
                    <a:pt x="128" y="485"/>
                    <a:pt x="128" y="486"/>
                  </a:cubicBezTo>
                  <a:cubicBezTo>
                    <a:pt x="128" y="487"/>
                    <a:pt x="128" y="487"/>
                    <a:pt x="128" y="487"/>
                  </a:cubicBezTo>
                  <a:cubicBezTo>
                    <a:pt x="128" y="488"/>
                    <a:pt x="127" y="490"/>
                    <a:pt x="126" y="491"/>
                  </a:cubicBezTo>
                  <a:cubicBezTo>
                    <a:pt x="126" y="491"/>
                    <a:pt x="126" y="492"/>
                    <a:pt x="126" y="492"/>
                  </a:cubicBezTo>
                  <a:cubicBezTo>
                    <a:pt x="125" y="493"/>
                    <a:pt x="124" y="493"/>
                    <a:pt x="122" y="493"/>
                  </a:cubicBezTo>
                  <a:cubicBezTo>
                    <a:pt x="121" y="493"/>
                    <a:pt x="118" y="492"/>
                    <a:pt x="118" y="493"/>
                  </a:cubicBezTo>
                  <a:cubicBezTo>
                    <a:pt x="117" y="494"/>
                    <a:pt x="115" y="495"/>
                    <a:pt x="113" y="495"/>
                  </a:cubicBezTo>
                  <a:cubicBezTo>
                    <a:pt x="112" y="495"/>
                    <a:pt x="111" y="496"/>
                    <a:pt x="111" y="498"/>
                  </a:cubicBezTo>
                  <a:cubicBezTo>
                    <a:pt x="111" y="498"/>
                    <a:pt x="111" y="498"/>
                    <a:pt x="111" y="499"/>
                  </a:cubicBezTo>
                  <a:cubicBezTo>
                    <a:pt x="111" y="500"/>
                    <a:pt x="111" y="500"/>
                    <a:pt x="111" y="500"/>
                  </a:cubicBezTo>
                  <a:cubicBezTo>
                    <a:pt x="111" y="500"/>
                    <a:pt x="111" y="500"/>
                    <a:pt x="111" y="501"/>
                  </a:cubicBezTo>
                  <a:cubicBezTo>
                    <a:pt x="111" y="501"/>
                    <a:pt x="112" y="500"/>
                    <a:pt x="113" y="500"/>
                  </a:cubicBezTo>
                  <a:cubicBezTo>
                    <a:pt x="112" y="500"/>
                    <a:pt x="112" y="501"/>
                    <a:pt x="112" y="501"/>
                  </a:cubicBezTo>
                  <a:cubicBezTo>
                    <a:pt x="113" y="501"/>
                    <a:pt x="115" y="501"/>
                    <a:pt x="116" y="500"/>
                  </a:cubicBezTo>
                  <a:cubicBezTo>
                    <a:pt x="116" y="500"/>
                    <a:pt x="116" y="499"/>
                    <a:pt x="117" y="499"/>
                  </a:cubicBezTo>
                  <a:cubicBezTo>
                    <a:pt x="118" y="499"/>
                    <a:pt x="119" y="500"/>
                    <a:pt x="120" y="500"/>
                  </a:cubicBezTo>
                  <a:cubicBezTo>
                    <a:pt x="120" y="501"/>
                    <a:pt x="120" y="502"/>
                    <a:pt x="121" y="501"/>
                  </a:cubicBezTo>
                  <a:cubicBezTo>
                    <a:pt x="119" y="502"/>
                    <a:pt x="116" y="504"/>
                    <a:pt x="113" y="504"/>
                  </a:cubicBezTo>
                  <a:cubicBezTo>
                    <a:pt x="112" y="505"/>
                    <a:pt x="112" y="504"/>
                    <a:pt x="111" y="505"/>
                  </a:cubicBezTo>
                  <a:cubicBezTo>
                    <a:pt x="111" y="505"/>
                    <a:pt x="113" y="506"/>
                    <a:pt x="113" y="507"/>
                  </a:cubicBezTo>
                  <a:cubicBezTo>
                    <a:pt x="113" y="507"/>
                    <a:pt x="108" y="507"/>
                    <a:pt x="107" y="507"/>
                  </a:cubicBezTo>
                  <a:cubicBezTo>
                    <a:pt x="106" y="508"/>
                    <a:pt x="105" y="507"/>
                    <a:pt x="105" y="507"/>
                  </a:cubicBezTo>
                  <a:cubicBezTo>
                    <a:pt x="104" y="507"/>
                    <a:pt x="105" y="508"/>
                    <a:pt x="105" y="509"/>
                  </a:cubicBezTo>
                  <a:cubicBezTo>
                    <a:pt x="105" y="509"/>
                    <a:pt x="106" y="510"/>
                    <a:pt x="107" y="510"/>
                  </a:cubicBezTo>
                  <a:cubicBezTo>
                    <a:pt x="108" y="511"/>
                    <a:pt x="113" y="513"/>
                    <a:pt x="113" y="515"/>
                  </a:cubicBezTo>
                  <a:cubicBezTo>
                    <a:pt x="112" y="515"/>
                    <a:pt x="111" y="515"/>
                    <a:pt x="110" y="514"/>
                  </a:cubicBezTo>
                  <a:cubicBezTo>
                    <a:pt x="110" y="514"/>
                    <a:pt x="110" y="514"/>
                    <a:pt x="110" y="514"/>
                  </a:cubicBezTo>
                  <a:cubicBezTo>
                    <a:pt x="108" y="514"/>
                    <a:pt x="108" y="516"/>
                    <a:pt x="108" y="518"/>
                  </a:cubicBezTo>
                  <a:cubicBezTo>
                    <a:pt x="108" y="517"/>
                    <a:pt x="108" y="515"/>
                    <a:pt x="107" y="515"/>
                  </a:cubicBezTo>
                  <a:cubicBezTo>
                    <a:pt x="108" y="515"/>
                    <a:pt x="108" y="515"/>
                    <a:pt x="108" y="515"/>
                  </a:cubicBezTo>
                  <a:cubicBezTo>
                    <a:pt x="107" y="515"/>
                    <a:pt x="107" y="515"/>
                    <a:pt x="106" y="515"/>
                  </a:cubicBezTo>
                  <a:cubicBezTo>
                    <a:pt x="106" y="516"/>
                    <a:pt x="103" y="521"/>
                    <a:pt x="103" y="520"/>
                  </a:cubicBezTo>
                  <a:cubicBezTo>
                    <a:pt x="103" y="520"/>
                    <a:pt x="106" y="524"/>
                    <a:pt x="103" y="524"/>
                  </a:cubicBezTo>
                  <a:cubicBezTo>
                    <a:pt x="101" y="524"/>
                    <a:pt x="99" y="524"/>
                    <a:pt x="97" y="523"/>
                  </a:cubicBezTo>
                  <a:cubicBezTo>
                    <a:pt x="95" y="523"/>
                    <a:pt x="95" y="523"/>
                    <a:pt x="93" y="524"/>
                  </a:cubicBezTo>
                  <a:cubicBezTo>
                    <a:pt x="95" y="523"/>
                    <a:pt x="95" y="524"/>
                    <a:pt x="96" y="524"/>
                  </a:cubicBezTo>
                  <a:cubicBezTo>
                    <a:pt x="95" y="526"/>
                    <a:pt x="94" y="525"/>
                    <a:pt x="93" y="526"/>
                  </a:cubicBezTo>
                  <a:cubicBezTo>
                    <a:pt x="94" y="526"/>
                    <a:pt x="96" y="527"/>
                    <a:pt x="97" y="528"/>
                  </a:cubicBezTo>
                  <a:cubicBezTo>
                    <a:pt x="99" y="528"/>
                    <a:pt x="100" y="531"/>
                    <a:pt x="102" y="532"/>
                  </a:cubicBezTo>
                  <a:cubicBezTo>
                    <a:pt x="102" y="532"/>
                    <a:pt x="104" y="532"/>
                    <a:pt x="105" y="532"/>
                  </a:cubicBezTo>
                  <a:cubicBezTo>
                    <a:pt x="106" y="532"/>
                    <a:pt x="106" y="532"/>
                    <a:pt x="107" y="533"/>
                  </a:cubicBezTo>
                  <a:cubicBezTo>
                    <a:pt x="107" y="534"/>
                    <a:pt x="108" y="535"/>
                    <a:pt x="109" y="536"/>
                  </a:cubicBezTo>
                  <a:cubicBezTo>
                    <a:pt x="110" y="536"/>
                    <a:pt x="112" y="536"/>
                    <a:pt x="113" y="537"/>
                  </a:cubicBezTo>
                  <a:cubicBezTo>
                    <a:pt x="115" y="537"/>
                    <a:pt x="117" y="539"/>
                    <a:pt x="118" y="540"/>
                  </a:cubicBezTo>
                  <a:cubicBezTo>
                    <a:pt x="121" y="542"/>
                    <a:pt x="124" y="545"/>
                    <a:pt x="126" y="548"/>
                  </a:cubicBezTo>
                  <a:cubicBezTo>
                    <a:pt x="127" y="546"/>
                    <a:pt x="128" y="545"/>
                    <a:pt x="128" y="545"/>
                  </a:cubicBezTo>
                  <a:cubicBezTo>
                    <a:pt x="129" y="545"/>
                    <a:pt x="129" y="545"/>
                    <a:pt x="130" y="545"/>
                  </a:cubicBezTo>
                  <a:cubicBezTo>
                    <a:pt x="130" y="545"/>
                    <a:pt x="130" y="545"/>
                    <a:pt x="130" y="545"/>
                  </a:cubicBezTo>
                  <a:cubicBezTo>
                    <a:pt x="131" y="545"/>
                    <a:pt x="132" y="546"/>
                    <a:pt x="133" y="545"/>
                  </a:cubicBezTo>
                  <a:cubicBezTo>
                    <a:pt x="134" y="545"/>
                    <a:pt x="137" y="546"/>
                    <a:pt x="138" y="547"/>
                  </a:cubicBezTo>
                  <a:cubicBezTo>
                    <a:pt x="138" y="547"/>
                    <a:pt x="138" y="547"/>
                    <a:pt x="139" y="547"/>
                  </a:cubicBezTo>
                  <a:cubicBezTo>
                    <a:pt x="142" y="548"/>
                    <a:pt x="148" y="550"/>
                    <a:pt x="150" y="549"/>
                  </a:cubicBezTo>
                  <a:cubicBezTo>
                    <a:pt x="154" y="548"/>
                    <a:pt x="157" y="550"/>
                    <a:pt x="159" y="551"/>
                  </a:cubicBezTo>
                  <a:cubicBezTo>
                    <a:pt x="159" y="552"/>
                    <a:pt x="164" y="554"/>
                    <a:pt x="165" y="554"/>
                  </a:cubicBezTo>
                  <a:cubicBezTo>
                    <a:pt x="166" y="554"/>
                    <a:pt x="166" y="555"/>
                    <a:pt x="167" y="555"/>
                  </a:cubicBezTo>
                  <a:cubicBezTo>
                    <a:pt x="167" y="556"/>
                    <a:pt x="167" y="556"/>
                    <a:pt x="167" y="557"/>
                  </a:cubicBezTo>
                  <a:cubicBezTo>
                    <a:pt x="167" y="557"/>
                    <a:pt x="167" y="557"/>
                    <a:pt x="168" y="557"/>
                  </a:cubicBezTo>
                  <a:cubicBezTo>
                    <a:pt x="168" y="557"/>
                    <a:pt x="169" y="557"/>
                    <a:pt x="170" y="556"/>
                  </a:cubicBezTo>
                  <a:cubicBezTo>
                    <a:pt x="172" y="555"/>
                    <a:pt x="174" y="555"/>
                    <a:pt x="175" y="555"/>
                  </a:cubicBezTo>
                  <a:cubicBezTo>
                    <a:pt x="175" y="555"/>
                    <a:pt x="176" y="555"/>
                    <a:pt x="176" y="556"/>
                  </a:cubicBezTo>
                  <a:cubicBezTo>
                    <a:pt x="177" y="556"/>
                    <a:pt x="177" y="555"/>
                    <a:pt x="177" y="555"/>
                  </a:cubicBezTo>
                  <a:cubicBezTo>
                    <a:pt x="178" y="555"/>
                    <a:pt x="179" y="555"/>
                    <a:pt x="180" y="556"/>
                  </a:cubicBezTo>
                  <a:cubicBezTo>
                    <a:pt x="181" y="557"/>
                    <a:pt x="185" y="558"/>
                    <a:pt x="186" y="558"/>
                  </a:cubicBezTo>
                  <a:cubicBezTo>
                    <a:pt x="189" y="558"/>
                    <a:pt x="189" y="558"/>
                    <a:pt x="189" y="558"/>
                  </a:cubicBezTo>
                  <a:cubicBezTo>
                    <a:pt x="187" y="560"/>
                    <a:pt x="187" y="560"/>
                    <a:pt x="187" y="560"/>
                  </a:cubicBezTo>
                  <a:cubicBezTo>
                    <a:pt x="187" y="561"/>
                    <a:pt x="186" y="562"/>
                    <a:pt x="187" y="562"/>
                  </a:cubicBezTo>
                  <a:cubicBezTo>
                    <a:pt x="188" y="563"/>
                    <a:pt x="191" y="564"/>
                    <a:pt x="191" y="564"/>
                  </a:cubicBezTo>
                  <a:cubicBezTo>
                    <a:pt x="191" y="564"/>
                    <a:pt x="191" y="564"/>
                    <a:pt x="191" y="564"/>
                  </a:cubicBezTo>
                  <a:cubicBezTo>
                    <a:pt x="192" y="564"/>
                    <a:pt x="192" y="564"/>
                    <a:pt x="192" y="564"/>
                  </a:cubicBezTo>
                  <a:cubicBezTo>
                    <a:pt x="192" y="565"/>
                    <a:pt x="193" y="565"/>
                    <a:pt x="193" y="565"/>
                  </a:cubicBezTo>
                  <a:cubicBezTo>
                    <a:pt x="193" y="565"/>
                    <a:pt x="193" y="565"/>
                    <a:pt x="193" y="565"/>
                  </a:cubicBezTo>
                  <a:cubicBezTo>
                    <a:pt x="193" y="565"/>
                    <a:pt x="193" y="565"/>
                    <a:pt x="193" y="565"/>
                  </a:cubicBezTo>
                  <a:cubicBezTo>
                    <a:pt x="194" y="565"/>
                    <a:pt x="195" y="565"/>
                    <a:pt x="195" y="566"/>
                  </a:cubicBezTo>
                  <a:cubicBezTo>
                    <a:pt x="195" y="566"/>
                    <a:pt x="195" y="566"/>
                    <a:pt x="196" y="566"/>
                  </a:cubicBezTo>
                  <a:cubicBezTo>
                    <a:pt x="197" y="566"/>
                    <a:pt x="199" y="567"/>
                    <a:pt x="199" y="569"/>
                  </a:cubicBezTo>
                  <a:cubicBezTo>
                    <a:pt x="200" y="569"/>
                    <a:pt x="200" y="570"/>
                    <a:pt x="200" y="570"/>
                  </a:cubicBezTo>
                  <a:cubicBezTo>
                    <a:pt x="202" y="570"/>
                    <a:pt x="203" y="572"/>
                    <a:pt x="203" y="572"/>
                  </a:cubicBezTo>
                  <a:cubicBezTo>
                    <a:pt x="203" y="572"/>
                    <a:pt x="203" y="573"/>
                    <a:pt x="205" y="574"/>
                  </a:cubicBezTo>
                  <a:cubicBezTo>
                    <a:pt x="207" y="574"/>
                    <a:pt x="207" y="574"/>
                    <a:pt x="208" y="573"/>
                  </a:cubicBezTo>
                  <a:cubicBezTo>
                    <a:pt x="209" y="571"/>
                    <a:pt x="209" y="571"/>
                    <a:pt x="210" y="570"/>
                  </a:cubicBezTo>
                  <a:cubicBezTo>
                    <a:pt x="210" y="570"/>
                    <a:pt x="210" y="570"/>
                    <a:pt x="210" y="570"/>
                  </a:cubicBezTo>
                  <a:cubicBezTo>
                    <a:pt x="211" y="570"/>
                    <a:pt x="211" y="570"/>
                    <a:pt x="211" y="569"/>
                  </a:cubicBezTo>
                  <a:cubicBezTo>
                    <a:pt x="212" y="569"/>
                    <a:pt x="214" y="568"/>
                    <a:pt x="214" y="567"/>
                  </a:cubicBezTo>
                  <a:cubicBezTo>
                    <a:pt x="214" y="566"/>
                    <a:pt x="214" y="566"/>
                    <a:pt x="214" y="566"/>
                  </a:cubicBezTo>
                  <a:cubicBezTo>
                    <a:pt x="214" y="566"/>
                    <a:pt x="214" y="566"/>
                    <a:pt x="214" y="566"/>
                  </a:cubicBezTo>
                  <a:cubicBezTo>
                    <a:pt x="212" y="565"/>
                    <a:pt x="211" y="562"/>
                    <a:pt x="209" y="560"/>
                  </a:cubicBezTo>
                  <a:cubicBezTo>
                    <a:pt x="208" y="559"/>
                    <a:pt x="207" y="558"/>
                    <a:pt x="206" y="556"/>
                  </a:cubicBezTo>
                  <a:cubicBezTo>
                    <a:pt x="206" y="556"/>
                    <a:pt x="206" y="555"/>
                    <a:pt x="206" y="555"/>
                  </a:cubicBezTo>
                  <a:cubicBezTo>
                    <a:pt x="205" y="554"/>
                    <a:pt x="204" y="554"/>
                    <a:pt x="204" y="553"/>
                  </a:cubicBezTo>
                  <a:cubicBezTo>
                    <a:pt x="205" y="550"/>
                    <a:pt x="205" y="547"/>
                    <a:pt x="206" y="544"/>
                  </a:cubicBezTo>
                  <a:cubicBezTo>
                    <a:pt x="206" y="544"/>
                    <a:pt x="206" y="543"/>
                    <a:pt x="206" y="542"/>
                  </a:cubicBezTo>
                  <a:cubicBezTo>
                    <a:pt x="204" y="542"/>
                    <a:pt x="204" y="545"/>
                    <a:pt x="204" y="546"/>
                  </a:cubicBezTo>
                  <a:cubicBezTo>
                    <a:pt x="203" y="546"/>
                    <a:pt x="203" y="546"/>
                    <a:pt x="203" y="546"/>
                  </a:cubicBezTo>
                  <a:cubicBezTo>
                    <a:pt x="203" y="545"/>
                    <a:pt x="204" y="544"/>
                    <a:pt x="204" y="544"/>
                  </a:cubicBezTo>
                  <a:cubicBezTo>
                    <a:pt x="204" y="543"/>
                    <a:pt x="204" y="542"/>
                    <a:pt x="203" y="541"/>
                  </a:cubicBezTo>
                  <a:cubicBezTo>
                    <a:pt x="202" y="539"/>
                    <a:pt x="201" y="538"/>
                    <a:pt x="199" y="537"/>
                  </a:cubicBezTo>
                  <a:cubicBezTo>
                    <a:pt x="198" y="536"/>
                    <a:pt x="197" y="536"/>
                    <a:pt x="196" y="536"/>
                  </a:cubicBezTo>
                  <a:cubicBezTo>
                    <a:pt x="195" y="534"/>
                    <a:pt x="197" y="532"/>
                    <a:pt x="198" y="531"/>
                  </a:cubicBezTo>
                  <a:cubicBezTo>
                    <a:pt x="200" y="529"/>
                    <a:pt x="201" y="528"/>
                    <a:pt x="202" y="525"/>
                  </a:cubicBezTo>
                  <a:cubicBezTo>
                    <a:pt x="203" y="524"/>
                    <a:pt x="203" y="523"/>
                    <a:pt x="204" y="521"/>
                  </a:cubicBezTo>
                  <a:cubicBezTo>
                    <a:pt x="204" y="521"/>
                    <a:pt x="204" y="521"/>
                    <a:pt x="204" y="521"/>
                  </a:cubicBezTo>
                  <a:cubicBezTo>
                    <a:pt x="204" y="521"/>
                    <a:pt x="204" y="521"/>
                    <a:pt x="204" y="521"/>
                  </a:cubicBezTo>
                  <a:cubicBezTo>
                    <a:pt x="204" y="521"/>
                    <a:pt x="204" y="521"/>
                    <a:pt x="204" y="521"/>
                  </a:cubicBezTo>
                  <a:cubicBezTo>
                    <a:pt x="204" y="520"/>
                    <a:pt x="204" y="520"/>
                    <a:pt x="204" y="520"/>
                  </a:cubicBezTo>
                  <a:cubicBezTo>
                    <a:pt x="205" y="520"/>
                    <a:pt x="205" y="521"/>
                    <a:pt x="206" y="521"/>
                  </a:cubicBezTo>
                  <a:cubicBezTo>
                    <a:pt x="206" y="520"/>
                    <a:pt x="205" y="519"/>
                    <a:pt x="205" y="518"/>
                  </a:cubicBezTo>
                  <a:cubicBezTo>
                    <a:pt x="206" y="519"/>
                    <a:pt x="207" y="520"/>
                    <a:pt x="207" y="520"/>
                  </a:cubicBezTo>
                  <a:cubicBezTo>
                    <a:pt x="208" y="519"/>
                    <a:pt x="208" y="519"/>
                    <a:pt x="210" y="519"/>
                  </a:cubicBezTo>
                  <a:cubicBezTo>
                    <a:pt x="211" y="519"/>
                    <a:pt x="211" y="519"/>
                    <a:pt x="212" y="518"/>
                  </a:cubicBezTo>
                  <a:cubicBezTo>
                    <a:pt x="213" y="518"/>
                    <a:pt x="214" y="517"/>
                    <a:pt x="215" y="516"/>
                  </a:cubicBezTo>
                  <a:cubicBezTo>
                    <a:pt x="215" y="516"/>
                    <a:pt x="217" y="517"/>
                    <a:pt x="217" y="517"/>
                  </a:cubicBezTo>
                  <a:cubicBezTo>
                    <a:pt x="217" y="517"/>
                    <a:pt x="217" y="515"/>
                    <a:pt x="216" y="515"/>
                  </a:cubicBezTo>
                  <a:cubicBezTo>
                    <a:pt x="216" y="513"/>
                    <a:pt x="219" y="514"/>
                    <a:pt x="220" y="514"/>
                  </a:cubicBezTo>
                  <a:cubicBezTo>
                    <a:pt x="221" y="513"/>
                    <a:pt x="221" y="513"/>
                    <a:pt x="221" y="512"/>
                  </a:cubicBezTo>
                  <a:cubicBezTo>
                    <a:pt x="220" y="512"/>
                    <a:pt x="220" y="512"/>
                    <a:pt x="220" y="512"/>
                  </a:cubicBezTo>
                  <a:cubicBezTo>
                    <a:pt x="219" y="511"/>
                    <a:pt x="219" y="511"/>
                    <a:pt x="218" y="511"/>
                  </a:cubicBezTo>
                  <a:cubicBezTo>
                    <a:pt x="217" y="512"/>
                    <a:pt x="217" y="512"/>
                    <a:pt x="217" y="512"/>
                  </a:cubicBezTo>
                  <a:cubicBezTo>
                    <a:pt x="218" y="510"/>
                    <a:pt x="218" y="510"/>
                    <a:pt x="218" y="510"/>
                  </a:cubicBezTo>
                  <a:cubicBezTo>
                    <a:pt x="217" y="510"/>
                    <a:pt x="217" y="510"/>
                    <a:pt x="217" y="510"/>
                  </a:cubicBezTo>
                  <a:cubicBezTo>
                    <a:pt x="217" y="510"/>
                    <a:pt x="216" y="510"/>
                    <a:pt x="216" y="510"/>
                  </a:cubicBezTo>
                  <a:cubicBezTo>
                    <a:pt x="216" y="509"/>
                    <a:pt x="216" y="509"/>
                    <a:pt x="216" y="509"/>
                  </a:cubicBezTo>
                  <a:cubicBezTo>
                    <a:pt x="216" y="509"/>
                    <a:pt x="216" y="509"/>
                    <a:pt x="215" y="509"/>
                  </a:cubicBezTo>
                  <a:cubicBezTo>
                    <a:pt x="215" y="509"/>
                    <a:pt x="215" y="509"/>
                    <a:pt x="215" y="509"/>
                  </a:cubicBezTo>
                  <a:cubicBezTo>
                    <a:pt x="215" y="509"/>
                    <a:pt x="215" y="509"/>
                    <a:pt x="215" y="509"/>
                  </a:cubicBezTo>
                  <a:cubicBezTo>
                    <a:pt x="215" y="509"/>
                    <a:pt x="215" y="509"/>
                    <a:pt x="215" y="509"/>
                  </a:cubicBezTo>
                  <a:cubicBezTo>
                    <a:pt x="214" y="509"/>
                    <a:pt x="214" y="508"/>
                    <a:pt x="214" y="508"/>
                  </a:cubicBezTo>
                  <a:cubicBezTo>
                    <a:pt x="213" y="508"/>
                    <a:pt x="213" y="508"/>
                    <a:pt x="213" y="508"/>
                  </a:cubicBezTo>
                  <a:cubicBezTo>
                    <a:pt x="213" y="507"/>
                    <a:pt x="213" y="507"/>
                    <a:pt x="213" y="507"/>
                  </a:cubicBezTo>
                  <a:cubicBezTo>
                    <a:pt x="213" y="506"/>
                    <a:pt x="213" y="506"/>
                    <a:pt x="213" y="506"/>
                  </a:cubicBezTo>
                  <a:cubicBezTo>
                    <a:pt x="213" y="506"/>
                    <a:pt x="213" y="506"/>
                    <a:pt x="214" y="505"/>
                  </a:cubicBezTo>
                  <a:cubicBezTo>
                    <a:pt x="214" y="505"/>
                    <a:pt x="214" y="505"/>
                    <a:pt x="214" y="505"/>
                  </a:cubicBezTo>
                  <a:cubicBezTo>
                    <a:pt x="215" y="504"/>
                    <a:pt x="216" y="505"/>
                    <a:pt x="217" y="505"/>
                  </a:cubicBezTo>
                  <a:cubicBezTo>
                    <a:pt x="217" y="505"/>
                    <a:pt x="217" y="505"/>
                    <a:pt x="218" y="505"/>
                  </a:cubicBezTo>
                  <a:cubicBezTo>
                    <a:pt x="218" y="505"/>
                    <a:pt x="218" y="505"/>
                    <a:pt x="218" y="505"/>
                  </a:cubicBezTo>
                  <a:cubicBezTo>
                    <a:pt x="218" y="505"/>
                    <a:pt x="218" y="505"/>
                    <a:pt x="218" y="505"/>
                  </a:cubicBezTo>
                  <a:cubicBezTo>
                    <a:pt x="218" y="505"/>
                    <a:pt x="218" y="505"/>
                    <a:pt x="218" y="505"/>
                  </a:cubicBezTo>
                  <a:cubicBezTo>
                    <a:pt x="218" y="505"/>
                    <a:pt x="218" y="505"/>
                    <a:pt x="218" y="505"/>
                  </a:cubicBezTo>
                  <a:cubicBezTo>
                    <a:pt x="218" y="505"/>
                    <a:pt x="218" y="505"/>
                    <a:pt x="218" y="505"/>
                  </a:cubicBezTo>
                  <a:cubicBezTo>
                    <a:pt x="218" y="505"/>
                    <a:pt x="218" y="505"/>
                    <a:pt x="218" y="505"/>
                  </a:cubicBezTo>
                  <a:cubicBezTo>
                    <a:pt x="218" y="505"/>
                    <a:pt x="218" y="504"/>
                    <a:pt x="218" y="504"/>
                  </a:cubicBezTo>
                  <a:cubicBezTo>
                    <a:pt x="218" y="504"/>
                    <a:pt x="217" y="504"/>
                    <a:pt x="217" y="504"/>
                  </a:cubicBezTo>
                  <a:cubicBezTo>
                    <a:pt x="217" y="504"/>
                    <a:pt x="217" y="504"/>
                    <a:pt x="217" y="504"/>
                  </a:cubicBezTo>
                  <a:cubicBezTo>
                    <a:pt x="217" y="504"/>
                    <a:pt x="217" y="503"/>
                    <a:pt x="217" y="503"/>
                  </a:cubicBezTo>
                  <a:cubicBezTo>
                    <a:pt x="216" y="503"/>
                    <a:pt x="216" y="502"/>
                    <a:pt x="216" y="502"/>
                  </a:cubicBezTo>
                  <a:cubicBezTo>
                    <a:pt x="215" y="501"/>
                    <a:pt x="215" y="500"/>
                    <a:pt x="214" y="499"/>
                  </a:cubicBezTo>
                  <a:cubicBezTo>
                    <a:pt x="212" y="497"/>
                    <a:pt x="212" y="497"/>
                    <a:pt x="212" y="497"/>
                  </a:cubicBezTo>
                  <a:cubicBezTo>
                    <a:pt x="212" y="496"/>
                    <a:pt x="212" y="496"/>
                    <a:pt x="211" y="496"/>
                  </a:cubicBezTo>
                  <a:cubicBezTo>
                    <a:pt x="211" y="495"/>
                    <a:pt x="210" y="494"/>
                    <a:pt x="210" y="494"/>
                  </a:cubicBezTo>
                  <a:cubicBezTo>
                    <a:pt x="210" y="494"/>
                    <a:pt x="210" y="494"/>
                    <a:pt x="210" y="494"/>
                  </a:cubicBezTo>
                  <a:cubicBezTo>
                    <a:pt x="210" y="494"/>
                    <a:pt x="210" y="494"/>
                    <a:pt x="210" y="494"/>
                  </a:cubicBezTo>
                  <a:cubicBezTo>
                    <a:pt x="209" y="494"/>
                    <a:pt x="209" y="494"/>
                    <a:pt x="208" y="494"/>
                  </a:cubicBezTo>
                  <a:cubicBezTo>
                    <a:pt x="208" y="494"/>
                    <a:pt x="207" y="494"/>
                    <a:pt x="207" y="494"/>
                  </a:cubicBezTo>
                  <a:cubicBezTo>
                    <a:pt x="206" y="494"/>
                    <a:pt x="206" y="495"/>
                    <a:pt x="205" y="495"/>
                  </a:cubicBezTo>
                  <a:cubicBezTo>
                    <a:pt x="203" y="495"/>
                    <a:pt x="202" y="495"/>
                    <a:pt x="201" y="494"/>
                  </a:cubicBezTo>
                  <a:cubicBezTo>
                    <a:pt x="199" y="493"/>
                    <a:pt x="199" y="492"/>
                    <a:pt x="199" y="490"/>
                  </a:cubicBezTo>
                  <a:cubicBezTo>
                    <a:pt x="199" y="490"/>
                    <a:pt x="199" y="489"/>
                    <a:pt x="199" y="489"/>
                  </a:cubicBezTo>
                  <a:cubicBezTo>
                    <a:pt x="199" y="488"/>
                    <a:pt x="199" y="488"/>
                    <a:pt x="199" y="487"/>
                  </a:cubicBezTo>
                  <a:cubicBezTo>
                    <a:pt x="199" y="487"/>
                    <a:pt x="199" y="487"/>
                    <a:pt x="199" y="487"/>
                  </a:cubicBezTo>
                  <a:cubicBezTo>
                    <a:pt x="199" y="487"/>
                    <a:pt x="199" y="487"/>
                    <a:pt x="198" y="487"/>
                  </a:cubicBezTo>
                  <a:cubicBezTo>
                    <a:pt x="198" y="487"/>
                    <a:pt x="198" y="487"/>
                    <a:pt x="198" y="487"/>
                  </a:cubicBezTo>
                  <a:cubicBezTo>
                    <a:pt x="197" y="487"/>
                    <a:pt x="197" y="486"/>
                    <a:pt x="196" y="486"/>
                  </a:cubicBezTo>
                  <a:cubicBezTo>
                    <a:pt x="195" y="486"/>
                    <a:pt x="195" y="486"/>
                    <a:pt x="195" y="486"/>
                  </a:cubicBezTo>
                  <a:cubicBezTo>
                    <a:pt x="195" y="486"/>
                    <a:pt x="195" y="486"/>
                    <a:pt x="195" y="486"/>
                  </a:cubicBezTo>
                  <a:cubicBezTo>
                    <a:pt x="194" y="486"/>
                    <a:pt x="194" y="486"/>
                    <a:pt x="194" y="486"/>
                  </a:cubicBezTo>
                  <a:cubicBezTo>
                    <a:pt x="193" y="485"/>
                    <a:pt x="193" y="485"/>
                    <a:pt x="193" y="484"/>
                  </a:cubicBezTo>
                  <a:cubicBezTo>
                    <a:pt x="193" y="484"/>
                    <a:pt x="193" y="484"/>
                    <a:pt x="193" y="484"/>
                  </a:cubicBezTo>
                  <a:cubicBezTo>
                    <a:pt x="193" y="483"/>
                    <a:pt x="193" y="483"/>
                    <a:pt x="193" y="483"/>
                  </a:cubicBezTo>
                  <a:cubicBezTo>
                    <a:pt x="193" y="482"/>
                    <a:pt x="194" y="481"/>
                    <a:pt x="194" y="480"/>
                  </a:cubicBezTo>
                  <a:cubicBezTo>
                    <a:pt x="194" y="480"/>
                    <a:pt x="194" y="480"/>
                    <a:pt x="194" y="480"/>
                  </a:cubicBezTo>
                  <a:cubicBezTo>
                    <a:pt x="195" y="478"/>
                    <a:pt x="196" y="477"/>
                    <a:pt x="197" y="476"/>
                  </a:cubicBezTo>
                  <a:cubicBezTo>
                    <a:pt x="198" y="476"/>
                    <a:pt x="198" y="475"/>
                    <a:pt x="198" y="475"/>
                  </a:cubicBezTo>
                  <a:cubicBezTo>
                    <a:pt x="198" y="475"/>
                    <a:pt x="198" y="475"/>
                    <a:pt x="198" y="475"/>
                  </a:cubicBezTo>
                  <a:cubicBezTo>
                    <a:pt x="198" y="474"/>
                    <a:pt x="198" y="474"/>
                    <a:pt x="198" y="474"/>
                  </a:cubicBezTo>
                  <a:cubicBezTo>
                    <a:pt x="198" y="474"/>
                    <a:pt x="198" y="474"/>
                    <a:pt x="197" y="474"/>
                  </a:cubicBezTo>
                  <a:cubicBezTo>
                    <a:pt x="197" y="473"/>
                    <a:pt x="197" y="473"/>
                    <a:pt x="197" y="473"/>
                  </a:cubicBezTo>
                  <a:cubicBezTo>
                    <a:pt x="196" y="473"/>
                    <a:pt x="196" y="473"/>
                    <a:pt x="196" y="473"/>
                  </a:cubicBezTo>
                  <a:cubicBezTo>
                    <a:pt x="196" y="472"/>
                    <a:pt x="196" y="472"/>
                    <a:pt x="196" y="471"/>
                  </a:cubicBezTo>
                  <a:cubicBezTo>
                    <a:pt x="196" y="471"/>
                    <a:pt x="196" y="471"/>
                    <a:pt x="196" y="470"/>
                  </a:cubicBezTo>
                  <a:cubicBezTo>
                    <a:pt x="196" y="470"/>
                    <a:pt x="196" y="470"/>
                    <a:pt x="196" y="469"/>
                  </a:cubicBezTo>
                  <a:cubicBezTo>
                    <a:pt x="197" y="467"/>
                    <a:pt x="197" y="467"/>
                    <a:pt x="197" y="467"/>
                  </a:cubicBezTo>
                  <a:cubicBezTo>
                    <a:pt x="197" y="467"/>
                    <a:pt x="197" y="467"/>
                    <a:pt x="197" y="467"/>
                  </a:cubicBezTo>
                  <a:cubicBezTo>
                    <a:pt x="197" y="466"/>
                    <a:pt x="197" y="466"/>
                    <a:pt x="197" y="466"/>
                  </a:cubicBezTo>
                  <a:cubicBezTo>
                    <a:pt x="197" y="466"/>
                    <a:pt x="197" y="465"/>
                    <a:pt x="197" y="465"/>
                  </a:cubicBezTo>
                  <a:cubicBezTo>
                    <a:pt x="198" y="464"/>
                    <a:pt x="199" y="464"/>
                    <a:pt x="199" y="463"/>
                  </a:cubicBezTo>
                  <a:cubicBezTo>
                    <a:pt x="200" y="463"/>
                    <a:pt x="200" y="463"/>
                    <a:pt x="200" y="463"/>
                  </a:cubicBezTo>
                  <a:cubicBezTo>
                    <a:pt x="200" y="463"/>
                    <a:pt x="200" y="463"/>
                    <a:pt x="200" y="463"/>
                  </a:cubicBezTo>
                  <a:cubicBezTo>
                    <a:pt x="201" y="463"/>
                    <a:pt x="201" y="463"/>
                    <a:pt x="201" y="463"/>
                  </a:cubicBezTo>
                  <a:cubicBezTo>
                    <a:pt x="201" y="462"/>
                    <a:pt x="201" y="462"/>
                    <a:pt x="201" y="462"/>
                  </a:cubicBezTo>
                  <a:cubicBezTo>
                    <a:pt x="201" y="461"/>
                    <a:pt x="201" y="461"/>
                    <a:pt x="202" y="460"/>
                  </a:cubicBezTo>
                  <a:cubicBezTo>
                    <a:pt x="202" y="459"/>
                    <a:pt x="202" y="459"/>
                    <a:pt x="202" y="459"/>
                  </a:cubicBezTo>
                  <a:cubicBezTo>
                    <a:pt x="202" y="459"/>
                    <a:pt x="202" y="459"/>
                    <a:pt x="202" y="459"/>
                  </a:cubicBezTo>
                  <a:cubicBezTo>
                    <a:pt x="202" y="459"/>
                    <a:pt x="202" y="458"/>
                    <a:pt x="202" y="458"/>
                  </a:cubicBezTo>
                  <a:cubicBezTo>
                    <a:pt x="203" y="457"/>
                    <a:pt x="204" y="457"/>
                    <a:pt x="205" y="457"/>
                  </a:cubicBezTo>
                  <a:cubicBezTo>
                    <a:pt x="205" y="457"/>
                    <a:pt x="206" y="457"/>
                    <a:pt x="206" y="457"/>
                  </a:cubicBezTo>
                  <a:cubicBezTo>
                    <a:pt x="206" y="457"/>
                    <a:pt x="206" y="457"/>
                    <a:pt x="206" y="457"/>
                  </a:cubicBezTo>
                  <a:cubicBezTo>
                    <a:pt x="208" y="458"/>
                    <a:pt x="209" y="459"/>
                    <a:pt x="210" y="460"/>
                  </a:cubicBezTo>
                  <a:cubicBezTo>
                    <a:pt x="211" y="461"/>
                    <a:pt x="211" y="461"/>
                    <a:pt x="211" y="461"/>
                  </a:cubicBezTo>
                  <a:cubicBezTo>
                    <a:pt x="211" y="461"/>
                    <a:pt x="211" y="461"/>
                    <a:pt x="211" y="462"/>
                  </a:cubicBezTo>
                  <a:cubicBezTo>
                    <a:pt x="212" y="462"/>
                    <a:pt x="212" y="462"/>
                    <a:pt x="212" y="462"/>
                  </a:cubicBezTo>
                  <a:cubicBezTo>
                    <a:pt x="212" y="463"/>
                    <a:pt x="213" y="463"/>
                    <a:pt x="213" y="464"/>
                  </a:cubicBezTo>
                  <a:cubicBezTo>
                    <a:pt x="214" y="464"/>
                    <a:pt x="214" y="464"/>
                    <a:pt x="214" y="464"/>
                  </a:cubicBezTo>
                  <a:cubicBezTo>
                    <a:pt x="214" y="464"/>
                    <a:pt x="214" y="464"/>
                    <a:pt x="214" y="464"/>
                  </a:cubicBezTo>
                  <a:cubicBezTo>
                    <a:pt x="214" y="464"/>
                    <a:pt x="215" y="464"/>
                    <a:pt x="215" y="464"/>
                  </a:cubicBezTo>
                  <a:cubicBezTo>
                    <a:pt x="215" y="464"/>
                    <a:pt x="215" y="464"/>
                    <a:pt x="215" y="464"/>
                  </a:cubicBezTo>
                  <a:cubicBezTo>
                    <a:pt x="215" y="464"/>
                    <a:pt x="216" y="463"/>
                    <a:pt x="217" y="463"/>
                  </a:cubicBezTo>
                  <a:cubicBezTo>
                    <a:pt x="217" y="463"/>
                    <a:pt x="217" y="463"/>
                    <a:pt x="217" y="463"/>
                  </a:cubicBezTo>
                  <a:cubicBezTo>
                    <a:pt x="217" y="463"/>
                    <a:pt x="217" y="463"/>
                    <a:pt x="217" y="463"/>
                  </a:cubicBezTo>
                  <a:cubicBezTo>
                    <a:pt x="216" y="462"/>
                    <a:pt x="216" y="462"/>
                    <a:pt x="216" y="462"/>
                  </a:cubicBezTo>
                  <a:cubicBezTo>
                    <a:pt x="216" y="462"/>
                    <a:pt x="216" y="461"/>
                    <a:pt x="216" y="461"/>
                  </a:cubicBezTo>
                  <a:cubicBezTo>
                    <a:pt x="216" y="461"/>
                    <a:pt x="216" y="461"/>
                    <a:pt x="216" y="461"/>
                  </a:cubicBezTo>
                  <a:cubicBezTo>
                    <a:pt x="216" y="461"/>
                    <a:pt x="216" y="461"/>
                    <a:pt x="216" y="461"/>
                  </a:cubicBezTo>
                  <a:cubicBezTo>
                    <a:pt x="216" y="461"/>
                    <a:pt x="216" y="460"/>
                    <a:pt x="216" y="460"/>
                  </a:cubicBezTo>
                  <a:cubicBezTo>
                    <a:pt x="216" y="460"/>
                    <a:pt x="215" y="459"/>
                    <a:pt x="215" y="459"/>
                  </a:cubicBezTo>
                  <a:cubicBezTo>
                    <a:pt x="215" y="458"/>
                    <a:pt x="215" y="458"/>
                    <a:pt x="215" y="457"/>
                  </a:cubicBezTo>
                  <a:cubicBezTo>
                    <a:pt x="215" y="457"/>
                    <a:pt x="215" y="457"/>
                    <a:pt x="215" y="457"/>
                  </a:cubicBezTo>
                  <a:cubicBezTo>
                    <a:pt x="215" y="456"/>
                    <a:pt x="214" y="455"/>
                    <a:pt x="214" y="455"/>
                  </a:cubicBezTo>
                  <a:cubicBezTo>
                    <a:pt x="214" y="453"/>
                    <a:pt x="214" y="453"/>
                    <a:pt x="214" y="453"/>
                  </a:cubicBezTo>
                  <a:cubicBezTo>
                    <a:pt x="215" y="453"/>
                    <a:pt x="215" y="453"/>
                    <a:pt x="215" y="453"/>
                  </a:cubicBezTo>
                  <a:cubicBezTo>
                    <a:pt x="216" y="453"/>
                    <a:pt x="216" y="453"/>
                    <a:pt x="216" y="453"/>
                  </a:cubicBezTo>
                  <a:cubicBezTo>
                    <a:pt x="217" y="454"/>
                    <a:pt x="217" y="454"/>
                    <a:pt x="218" y="453"/>
                  </a:cubicBezTo>
                  <a:cubicBezTo>
                    <a:pt x="219" y="453"/>
                    <a:pt x="219" y="452"/>
                    <a:pt x="219" y="452"/>
                  </a:cubicBezTo>
                  <a:cubicBezTo>
                    <a:pt x="219" y="452"/>
                    <a:pt x="220" y="452"/>
                    <a:pt x="220" y="452"/>
                  </a:cubicBezTo>
                  <a:cubicBezTo>
                    <a:pt x="220" y="452"/>
                    <a:pt x="220" y="452"/>
                    <a:pt x="220" y="452"/>
                  </a:cubicBezTo>
                  <a:cubicBezTo>
                    <a:pt x="220" y="452"/>
                    <a:pt x="221" y="452"/>
                    <a:pt x="221" y="452"/>
                  </a:cubicBezTo>
                  <a:cubicBezTo>
                    <a:pt x="221" y="452"/>
                    <a:pt x="221" y="452"/>
                    <a:pt x="221" y="452"/>
                  </a:cubicBezTo>
                  <a:cubicBezTo>
                    <a:pt x="221" y="451"/>
                    <a:pt x="222" y="451"/>
                    <a:pt x="222" y="451"/>
                  </a:cubicBezTo>
                  <a:cubicBezTo>
                    <a:pt x="222" y="451"/>
                    <a:pt x="222" y="451"/>
                    <a:pt x="222" y="451"/>
                  </a:cubicBezTo>
                  <a:cubicBezTo>
                    <a:pt x="221" y="449"/>
                    <a:pt x="221" y="449"/>
                    <a:pt x="221" y="449"/>
                  </a:cubicBezTo>
                  <a:cubicBezTo>
                    <a:pt x="230" y="446"/>
                    <a:pt x="230" y="446"/>
                    <a:pt x="230" y="446"/>
                  </a:cubicBezTo>
                  <a:cubicBezTo>
                    <a:pt x="230" y="445"/>
                    <a:pt x="231" y="445"/>
                    <a:pt x="231" y="445"/>
                  </a:cubicBezTo>
                  <a:cubicBezTo>
                    <a:pt x="231" y="445"/>
                    <a:pt x="231" y="445"/>
                    <a:pt x="231" y="445"/>
                  </a:cubicBezTo>
                  <a:cubicBezTo>
                    <a:pt x="232" y="445"/>
                    <a:pt x="232" y="445"/>
                    <a:pt x="232" y="445"/>
                  </a:cubicBezTo>
                  <a:cubicBezTo>
                    <a:pt x="232" y="445"/>
                    <a:pt x="232" y="445"/>
                    <a:pt x="232" y="445"/>
                  </a:cubicBezTo>
                  <a:cubicBezTo>
                    <a:pt x="233" y="444"/>
                    <a:pt x="233" y="444"/>
                    <a:pt x="233" y="444"/>
                  </a:cubicBezTo>
                  <a:cubicBezTo>
                    <a:pt x="233" y="444"/>
                    <a:pt x="233" y="444"/>
                    <a:pt x="233" y="443"/>
                  </a:cubicBezTo>
                  <a:cubicBezTo>
                    <a:pt x="233" y="443"/>
                    <a:pt x="233" y="443"/>
                    <a:pt x="233" y="443"/>
                  </a:cubicBezTo>
                  <a:cubicBezTo>
                    <a:pt x="234" y="442"/>
                    <a:pt x="235" y="441"/>
                    <a:pt x="236" y="441"/>
                  </a:cubicBezTo>
                  <a:cubicBezTo>
                    <a:pt x="237" y="441"/>
                    <a:pt x="237" y="441"/>
                    <a:pt x="237" y="441"/>
                  </a:cubicBezTo>
                  <a:cubicBezTo>
                    <a:pt x="237" y="441"/>
                    <a:pt x="237" y="441"/>
                    <a:pt x="237" y="441"/>
                  </a:cubicBezTo>
                  <a:cubicBezTo>
                    <a:pt x="237" y="440"/>
                    <a:pt x="237" y="440"/>
                    <a:pt x="237" y="440"/>
                  </a:cubicBezTo>
                  <a:cubicBezTo>
                    <a:pt x="236" y="438"/>
                    <a:pt x="236" y="438"/>
                    <a:pt x="236" y="438"/>
                  </a:cubicBezTo>
                  <a:cubicBezTo>
                    <a:pt x="238" y="438"/>
                    <a:pt x="238" y="438"/>
                    <a:pt x="238" y="438"/>
                  </a:cubicBezTo>
                  <a:cubicBezTo>
                    <a:pt x="239" y="438"/>
                    <a:pt x="240" y="439"/>
                    <a:pt x="241" y="439"/>
                  </a:cubicBezTo>
                  <a:cubicBezTo>
                    <a:pt x="241" y="439"/>
                    <a:pt x="241" y="439"/>
                    <a:pt x="241" y="439"/>
                  </a:cubicBezTo>
                  <a:cubicBezTo>
                    <a:pt x="242" y="439"/>
                    <a:pt x="243" y="440"/>
                    <a:pt x="243" y="440"/>
                  </a:cubicBezTo>
                  <a:cubicBezTo>
                    <a:pt x="244" y="440"/>
                    <a:pt x="245" y="440"/>
                    <a:pt x="245" y="441"/>
                  </a:cubicBezTo>
                  <a:cubicBezTo>
                    <a:pt x="245" y="440"/>
                    <a:pt x="245" y="440"/>
                    <a:pt x="245" y="440"/>
                  </a:cubicBezTo>
                  <a:cubicBezTo>
                    <a:pt x="245" y="442"/>
                    <a:pt x="245" y="442"/>
                    <a:pt x="245" y="442"/>
                  </a:cubicBezTo>
                  <a:cubicBezTo>
                    <a:pt x="245" y="442"/>
                    <a:pt x="245" y="442"/>
                    <a:pt x="245" y="442"/>
                  </a:cubicBezTo>
                  <a:cubicBezTo>
                    <a:pt x="246" y="442"/>
                    <a:pt x="246" y="442"/>
                    <a:pt x="246" y="442"/>
                  </a:cubicBezTo>
                  <a:cubicBezTo>
                    <a:pt x="246" y="442"/>
                    <a:pt x="246" y="442"/>
                    <a:pt x="246" y="442"/>
                  </a:cubicBezTo>
                  <a:cubicBezTo>
                    <a:pt x="246" y="442"/>
                    <a:pt x="246" y="442"/>
                    <a:pt x="247" y="442"/>
                  </a:cubicBezTo>
                  <a:cubicBezTo>
                    <a:pt x="247" y="442"/>
                    <a:pt x="247" y="442"/>
                    <a:pt x="247" y="442"/>
                  </a:cubicBezTo>
                  <a:cubicBezTo>
                    <a:pt x="247" y="442"/>
                    <a:pt x="247" y="442"/>
                    <a:pt x="247" y="442"/>
                  </a:cubicBezTo>
                  <a:cubicBezTo>
                    <a:pt x="247" y="442"/>
                    <a:pt x="247" y="442"/>
                    <a:pt x="247" y="442"/>
                  </a:cubicBezTo>
                  <a:cubicBezTo>
                    <a:pt x="247" y="441"/>
                    <a:pt x="247" y="440"/>
                    <a:pt x="249" y="440"/>
                  </a:cubicBezTo>
                  <a:cubicBezTo>
                    <a:pt x="251" y="439"/>
                    <a:pt x="251" y="439"/>
                    <a:pt x="253" y="438"/>
                  </a:cubicBezTo>
                  <a:cubicBezTo>
                    <a:pt x="254" y="438"/>
                    <a:pt x="254" y="438"/>
                    <a:pt x="254" y="438"/>
                  </a:cubicBezTo>
                  <a:cubicBezTo>
                    <a:pt x="255" y="439"/>
                    <a:pt x="255" y="439"/>
                    <a:pt x="255" y="439"/>
                  </a:cubicBezTo>
                  <a:cubicBezTo>
                    <a:pt x="255" y="439"/>
                    <a:pt x="255" y="439"/>
                    <a:pt x="255" y="440"/>
                  </a:cubicBezTo>
                  <a:cubicBezTo>
                    <a:pt x="255" y="440"/>
                    <a:pt x="256" y="441"/>
                    <a:pt x="256" y="441"/>
                  </a:cubicBezTo>
                  <a:cubicBezTo>
                    <a:pt x="256" y="442"/>
                    <a:pt x="256" y="442"/>
                    <a:pt x="256" y="442"/>
                  </a:cubicBezTo>
                  <a:cubicBezTo>
                    <a:pt x="256" y="442"/>
                    <a:pt x="256" y="442"/>
                    <a:pt x="256" y="442"/>
                  </a:cubicBezTo>
                  <a:cubicBezTo>
                    <a:pt x="256" y="442"/>
                    <a:pt x="256" y="442"/>
                    <a:pt x="256" y="442"/>
                  </a:cubicBezTo>
                  <a:cubicBezTo>
                    <a:pt x="256" y="442"/>
                    <a:pt x="256" y="442"/>
                    <a:pt x="256" y="442"/>
                  </a:cubicBezTo>
                  <a:cubicBezTo>
                    <a:pt x="256" y="442"/>
                    <a:pt x="256" y="442"/>
                    <a:pt x="256" y="442"/>
                  </a:cubicBezTo>
                  <a:cubicBezTo>
                    <a:pt x="256" y="442"/>
                    <a:pt x="257" y="442"/>
                    <a:pt x="257" y="442"/>
                  </a:cubicBezTo>
                  <a:cubicBezTo>
                    <a:pt x="257" y="442"/>
                    <a:pt x="257" y="442"/>
                    <a:pt x="257" y="442"/>
                  </a:cubicBezTo>
                  <a:cubicBezTo>
                    <a:pt x="256" y="440"/>
                    <a:pt x="256" y="440"/>
                    <a:pt x="256" y="440"/>
                  </a:cubicBezTo>
                  <a:cubicBezTo>
                    <a:pt x="257" y="442"/>
                    <a:pt x="257" y="442"/>
                    <a:pt x="257" y="442"/>
                  </a:cubicBezTo>
                  <a:cubicBezTo>
                    <a:pt x="258" y="442"/>
                    <a:pt x="258" y="442"/>
                    <a:pt x="258" y="442"/>
                  </a:cubicBezTo>
                  <a:cubicBezTo>
                    <a:pt x="259" y="442"/>
                    <a:pt x="260" y="442"/>
                    <a:pt x="261" y="442"/>
                  </a:cubicBezTo>
                  <a:cubicBezTo>
                    <a:pt x="262" y="442"/>
                    <a:pt x="264" y="442"/>
                    <a:pt x="265" y="442"/>
                  </a:cubicBezTo>
                  <a:cubicBezTo>
                    <a:pt x="268" y="444"/>
                    <a:pt x="270" y="446"/>
                    <a:pt x="273" y="448"/>
                  </a:cubicBezTo>
                  <a:cubicBezTo>
                    <a:pt x="273" y="448"/>
                    <a:pt x="273" y="448"/>
                    <a:pt x="273" y="448"/>
                  </a:cubicBezTo>
                  <a:cubicBezTo>
                    <a:pt x="274" y="449"/>
                    <a:pt x="274" y="449"/>
                    <a:pt x="275" y="450"/>
                  </a:cubicBezTo>
                  <a:cubicBezTo>
                    <a:pt x="275" y="450"/>
                    <a:pt x="275" y="450"/>
                    <a:pt x="275" y="450"/>
                  </a:cubicBezTo>
                  <a:cubicBezTo>
                    <a:pt x="275" y="449"/>
                    <a:pt x="275" y="449"/>
                    <a:pt x="275" y="449"/>
                  </a:cubicBezTo>
                  <a:cubicBezTo>
                    <a:pt x="276" y="448"/>
                    <a:pt x="276" y="448"/>
                    <a:pt x="276" y="448"/>
                  </a:cubicBezTo>
                  <a:cubicBezTo>
                    <a:pt x="276" y="448"/>
                    <a:pt x="276" y="448"/>
                    <a:pt x="277" y="448"/>
                  </a:cubicBezTo>
                  <a:cubicBezTo>
                    <a:pt x="277" y="448"/>
                    <a:pt x="278" y="448"/>
                    <a:pt x="278" y="448"/>
                  </a:cubicBezTo>
                  <a:cubicBezTo>
                    <a:pt x="278" y="448"/>
                    <a:pt x="278" y="448"/>
                    <a:pt x="278" y="448"/>
                  </a:cubicBezTo>
                  <a:cubicBezTo>
                    <a:pt x="278" y="448"/>
                    <a:pt x="278" y="448"/>
                    <a:pt x="278" y="448"/>
                  </a:cubicBezTo>
                  <a:cubicBezTo>
                    <a:pt x="278" y="448"/>
                    <a:pt x="278" y="448"/>
                    <a:pt x="279" y="448"/>
                  </a:cubicBezTo>
                  <a:cubicBezTo>
                    <a:pt x="279" y="449"/>
                    <a:pt x="280" y="449"/>
                    <a:pt x="280" y="450"/>
                  </a:cubicBezTo>
                  <a:cubicBezTo>
                    <a:pt x="282" y="451"/>
                    <a:pt x="282" y="451"/>
                    <a:pt x="282" y="451"/>
                  </a:cubicBezTo>
                  <a:cubicBezTo>
                    <a:pt x="283" y="452"/>
                    <a:pt x="284" y="453"/>
                    <a:pt x="286" y="453"/>
                  </a:cubicBezTo>
                  <a:cubicBezTo>
                    <a:pt x="287" y="454"/>
                    <a:pt x="288" y="455"/>
                    <a:pt x="288" y="455"/>
                  </a:cubicBezTo>
                  <a:cubicBezTo>
                    <a:pt x="288" y="455"/>
                    <a:pt x="288" y="454"/>
                    <a:pt x="288" y="454"/>
                  </a:cubicBezTo>
                  <a:cubicBezTo>
                    <a:pt x="288" y="454"/>
                    <a:pt x="288" y="454"/>
                    <a:pt x="288" y="454"/>
                  </a:cubicBezTo>
                  <a:cubicBezTo>
                    <a:pt x="289" y="454"/>
                    <a:pt x="289" y="454"/>
                    <a:pt x="289" y="454"/>
                  </a:cubicBezTo>
                  <a:cubicBezTo>
                    <a:pt x="289" y="454"/>
                    <a:pt x="290" y="454"/>
                    <a:pt x="290" y="453"/>
                  </a:cubicBezTo>
                  <a:cubicBezTo>
                    <a:pt x="290" y="453"/>
                    <a:pt x="290" y="453"/>
                    <a:pt x="291" y="453"/>
                  </a:cubicBezTo>
                  <a:cubicBezTo>
                    <a:pt x="291" y="453"/>
                    <a:pt x="291" y="453"/>
                    <a:pt x="291" y="453"/>
                  </a:cubicBezTo>
                  <a:cubicBezTo>
                    <a:pt x="291" y="453"/>
                    <a:pt x="291" y="453"/>
                    <a:pt x="291" y="453"/>
                  </a:cubicBezTo>
                  <a:cubicBezTo>
                    <a:pt x="291" y="452"/>
                    <a:pt x="291" y="452"/>
                    <a:pt x="291" y="452"/>
                  </a:cubicBezTo>
                  <a:cubicBezTo>
                    <a:pt x="291" y="452"/>
                    <a:pt x="291" y="452"/>
                    <a:pt x="291" y="452"/>
                  </a:cubicBezTo>
                  <a:cubicBezTo>
                    <a:pt x="292" y="451"/>
                    <a:pt x="293" y="451"/>
                    <a:pt x="293" y="450"/>
                  </a:cubicBezTo>
                  <a:cubicBezTo>
                    <a:pt x="293" y="450"/>
                    <a:pt x="294" y="450"/>
                    <a:pt x="294" y="450"/>
                  </a:cubicBezTo>
                  <a:cubicBezTo>
                    <a:pt x="294" y="450"/>
                    <a:pt x="294" y="450"/>
                    <a:pt x="294" y="450"/>
                  </a:cubicBezTo>
                  <a:cubicBezTo>
                    <a:pt x="295" y="449"/>
                    <a:pt x="295" y="448"/>
                    <a:pt x="297" y="448"/>
                  </a:cubicBezTo>
                  <a:cubicBezTo>
                    <a:pt x="298" y="448"/>
                    <a:pt x="300" y="448"/>
                    <a:pt x="301" y="447"/>
                  </a:cubicBezTo>
                  <a:cubicBezTo>
                    <a:pt x="303" y="447"/>
                    <a:pt x="304" y="447"/>
                    <a:pt x="304" y="448"/>
                  </a:cubicBezTo>
                  <a:cubicBezTo>
                    <a:pt x="304" y="449"/>
                    <a:pt x="305" y="449"/>
                    <a:pt x="305" y="449"/>
                  </a:cubicBezTo>
                  <a:cubicBezTo>
                    <a:pt x="305" y="449"/>
                    <a:pt x="305" y="449"/>
                    <a:pt x="305" y="449"/>
                  </a:cubicBezTo>
                  <a:cubicBezTo>
                    <a:pt x="305" y="450"/>
                    <a:pt x="306" y="450"/>
                    <a:pt x="306" y="450"/>
                  </a:cubicBezTo>
                  <a:cubicBezTo>
                    <a:pt x="306" y="450"/>
                    <a:pt x="306" y="450"/>
                    <a:pt x="307" y="450"/>
                  </a:cubicBezTo>
                  <a:cubicBezTo>
                    <a:pt x="307" y="450"/>
                    <a:pt x="307" y="450"/>
                    <a:pt x="308" y="450"/>
                  </a:cubicBezTo>
                  <a:cubicBezTo>
                    <a:pt x="308" y="450"/>
                    <a:pt x="308" y="450"/>
                    <a:pt x="308" y="450"/>
                  </a:cubicBezTo>
                  <a:cubicBezTo>
                    <a:pt x="308" y="450"/>
                    <a:pt x="308" y="450"/>
                    <a:pt x="308" y="450"/>
                  </a:cubicBezTo>
                  <a:cubicBezTo>
                    <a:pt x="308" y="450"/>
                    <a:pt x="308" y="449"/>
                    <a:pt x="308" y="449"/>
                  </a:cubicBezTo>
                  <a:cubicBezTo>
                    <a:pt x="308" y="448"/>
                    <a:pt x="309" y="447"/>
                    <a:pt x="311" y="447"/>
                  </a:cubicBezTo>
                  <a:cubicBezTo>
                    <a:pt x="311" y="447"/>
                    <a:pt x="311" y="447"/>
                    <a:pt x="311" y="447"/>
                  </a:cubicBezTo>
                  <a:cubicBezTo>
                    <a:pt x="314" y="447"/>
                    <a:pt x="318" y="447"/>
                    <a:pt x="319" y="451"/>
                  </a:cubicBezTo>
                  <a:cubicBezTo>
                    <a:pt x="319" y="451"/>
                    <a:pt x="319" y="451"/>
                    <a:pt x="319" y="451"/>
                  </a:cubicBezTo>
                  <a:cubicBezTo>
                    <a:pt x="319" y="451"/>
                    <a:pt x="319" y="452"/>
                    <a:pt x="319" y="452"/>
                  </a:cubicBezTo>
                  <a:cubicBezTo>
                    <a:pt x="319" y="452"/>
                    <a:pt x="320" y="452"/>
                    <a:pt x="320" y="452"/>
                  </a:cubicBezTo>
                  <a:cubicBezTo>
                    <a:pt x="320" y="453"/>
                    <a:pt x="321" y="453"/>
                    <a:pt x="321" y="453"/>
                  </a:cubicBezTo>
                  <a:cubicBezTo>
                    <a:pt x="321" y="453"/>
                    <a:pt x="321" y="453"/>
                    <a:pt x="321" y="453"/>
                  </a:cubicBezTo>
                  <a:cubicBezTo>
                    <a:pt x="321" y="453"/>
                    <a:pt x="321" y="453"/>
                    <a:pt x="321" y="453"/>
                  </a:cubicBezTo>
                  <a:cubicBezTo>
                    <a:pt x="321" y="453"/>
                    <a:pt x="321" y="453"/>
                    <a:pt x="321" y="453"/>
                  </a:cubicBezTo>
                  <a:cubicBezTo>
                    <a:pt x="322" y="453"/>
                    <a:pt x="322" y="453"/>
                    <a:pt x="322" y="453"/>
                  </a:cubicBezTo>
                  <a:cubicBezTo>
                    <a:pt x="323" y="453"/>
                    <a:pt x="323" y="453"/>
                    <a:pt x="323" y="453"/>
                  </a:cubicBezTo>
                  <a:cubicBezTo>
                    <a:pt x="323" y="453"/>
                    <a:pt x="323" y="453"/>
                    <a:pt x="324" y="453"/>
                  </a:cubicBezTo>
                  <a:cubicBezTo>
                    <a:pt x="325" y="453"/>
                    <a:pt x="326" y="454"/>
                    <a:pt x="327" y="454"/>
                  </a:cubicBezTo>
                  <a:cubicBezTo>
                    <a:pt x="328" y="454"/>
                    <a:pt x="328" y="454"/>
                    <a:pt x="328" y="455"/>
                  </a:cubicBezTo>
                  <a:cubicBezTo>
                    <a:pt x="328" y="455"/>
                    <a:pt x="329" y="455"/>
                    <a:pt x="329" y="455"/>
                  </a:cubicBezTo>
                  <a:cubicBezTo>
                    <a:pt x="329" y="455"/>
                    <a:pt x="329" y="455"/>
                    <a:pt x="329" y="455"/>
                  </a:cubicBezTo>
                  <a:cubicBezTo>
                    <a:pt x="329" y="455"/>
                    <a:pt x="329" y="455"/>
                    <a:pt x="329" y="455"/>
                  </a:cubicBezTo>
                  <a:cubicBezTo>
                    <a:pt x="329" y="455"/>
                    <a:pt x="329" y="455"/>
                    <a:pt x="329" y="455"/>
                  </a:cubicBezTo>
                  <a:cubicBezTo>
                    <a:pt x="330" y="454"/>
                    <a:pt x="330" y="454"/>
                    <a:pt x="330" y="454"/>
                  </a:cubicBezTo>
                  <a:cubicBezTo>
                    <a:pt x="330" y="453"/>
                    <a:pt x="330" y="452"/>
                    <a:pt x="330" y="452"/>
                  </a:cubicBezTo>
                  <a:cubicBezTo>
                    <a:pt x="330" y="452"/>
                    <a:pt x="330" y="452"/>
                    <a:pt x="330" y="452"/>
                  </a:cubicBezTo>
                  <a:cubicBezTo>
                    <a:pt x="331" y="452"/>
                    <a:pt x="331" y="451"/>
                    <a:pt x="331" y="451"/>
                  </a:cubicBezTo>
                  <a:cubicBezTo>
                    <a:pt x="331" y="450"/>
                    <a:pt x="331" y="450"/>
                    <a:pt x="331" y="450"/>
                  </a:cubicBezTo>
                  <a:cubicBezTo>
                    <a:pt x="334" y="452"/>
                    <a:pt x="334" y="452"/>
                    <a:pt x="334" y="452"/>
                  </a:cubicBezTo>
                  <a:cubicBezTo>
                    <a:pt x="335" y="452"/>
                    <a:pt x="335" y="452"/>
                    <a:pt x="335" y="452"/>
                  </a:cubicBezTo>
                  <a:cubicBezTo>
                    <a:pt x="336" y="453"/>
                    <a:pt x="338" y="453"/>
                    <a:pt x="339" y="453"/>
                  </a:cubicBezTo>
                  <a:cubicBezTo>
                    <a:pt x="340" y="453"/>
                    <a:pt x="340" y="453"/>
                    <a:pt x="340" y="453"/>
                  </a:cubicBezTo>
                  <a:cubicBezTo>
                    <a:pt x="340" y="453"/>
                    <a:pt x="340" y="453"/>
                    <a:pt x="340" y="453"/>
                  </a:cubicBezTo>
                  <a:cubicBezTo>
                    <a:pt x="340" y="453"/>
                    <a:pt x="341" y="453"/>
                    <a:pt x="341" y="453"/>
                  </a:cubicBezTo>
                  <a:cubicBezTo>
                    <a:pt x="342" y="453"/>
                    <a:pt x="344" y="452"/>
                    <a:pt x="345" y="452"/>
                  </a:cubicBezTo>
                  <a:cubicBezTo>
                    <a:pt x="345" y="452"/>
                    <a:pt x="345" y="452"/>
                    <a:pt x="345" y="452"/>
                  </a:cubicBezTo>
                  <a:cubicBezTo>
                    <a:pt x="345" y="452"/>
                    <a:pt x="345" y="452"/>
                    <a:pt x="345" y="452"/>
                  </a:cubicBezTo>
                  <a:cubicBezTo>
                    <a:pt x="345" y="451"/>
                    <a:pt x="345" y="451"/>
                    <a:pt x="345" y="451"/>
                  </a:cubicBezTo>
                  <a:cubicBezTo>
                    <a:pt x="346" y="450"/>
                    <a:pt x="346" y="450"/>
                    <a:pt x="346" y="450"/>
                  </a:cubicBezTo>
                  <a:cubicBezTo>
                    <a:pt x="346" y="450"/>
                    <a:pt x="346" y="450"/>
                    <a:pt x="346" y="450"/>
                  </a:cubicBezTo>
                  <a:cubicBezTo>
                    <a:pt x="346" y="449"/>
                    <a:pt x="346" y="449"/>
                    <a:pt x="346" y="449"/>
                  </a:cubicBezTo>
                  <a:cubicBezTo>
                    <a:pt x="346" y="448"/>
                    <a:pt x="347" y="447"/>
                    <a:pt x="347" y="447"/>
                  </a:cubicBezTo>
                  <a:cubicBezTo>
                    <a:pt x="342" y="444"/>
                    <a:pt x="342" y="444"/>
                    <a:pt x="342" y="444"/>
                  </a:cubicBezTo>
                  <a:cubicBezTo>
                    <a:pt x="338" y="443"/>
                    <a:pt x="338" y="443"/>
                    <a:pt x="338" y="443"/>
                  </a:cubicBezTo>
                  <a:cubicBezTo>
                    <a:pt x="337" y="442"/>
                    <a:pt x="337" y="442"/>
                    <a:pt x="337" y="442"/>
                  </a:cubicBezTo>
                  <a:cubicBezTo>
                    <a:pt x="336" y="442"/>
                    <a:pt x="336" y="442"/>
                    <a:pt x="336" y="442"/>
                  </a:cubicBezTo>
                  <a:cubicBezTo>
                    <a:pt x="335" y="441"/>
                    <a:pt x="335" y="441"/>
                    <a:pt x="335" y="441"/>
                  </a:cubicBezTo>
                  <a:cubicBezTo>
                    <a:pt x="334" y="441"/>
                    <a:pt x="334" y="441"/>
                    <a:pt x="334" y="441"/>
                  </a:cubicBezTo>
                  <a:cubicBezTo>
                    <a:pt x="334" y="440"/>
                    <a:pt x="334" y="440"/>
                    <a:pt x="334" y="440"/>
                  </a:cubicBezTo>
                  <a:cubicBezTo>
                    <a:pt x="333" y="440"/>
                    <a:pt x="333" y="440"/>
                    <a:pt x="332" y="439"/>
                  </a:cubicBezTo>
                  <a:cubicBezTo>
                    <a:pt x="332" y="439"/>
                    <a:pt x="332" y="439"/>
                    <a:pt x="332" y="439"/>
                  </a:cubicBezTo>
                  <a:cubicBezTo>
                    <a:pt x="332" y="438"/>
                    <a:pt x="332" y="438"/>
                    <a:pt x="332" y="438"/>
                  </a:cubicBezTo>
                  <a:cubicBezTo>
                    <a:pt x="331" y="438"/>
                    <a:pt x="331" y="438"/>
                    <a:pt x="331" y="438"/>
                  </a:cubicBezTo>
                  <a:cubicBezTo>
                    <a:pt x="330" y="437"/>
                    <a:pt x="330" y="437"/>
                    <a:pt x="330" y="437"/>
                  </a:cubicBezTo>
                  <a:cubicBezTo>
                    <a:pt x="331" y="436"/>
                    <a:pt x="331" y="436"/>
                    <a:pt x="331" y="436"/>
                  </a:cubicBezTo>
                  <a:cubicBezTo>
                    <a:pt x="331" y="435"/>
                    <a:pt x="331" y="435"/>
                    <a:pt x="331" y="435"/>
                  </a:cubicBezTo>
                  <a:cubicBezTo>
                    <a:pt x="332" y="435"/>
                    <a:pt x="332" y="435"/>
                    <a:pt x="332" y="435"/>
                  </a:cubicBezTo>
                  <a:cubicBezTo>
                    <a:pt x="334" y="435"/>
                    <a:pt x="334" y="435"/>
                    <a:pt x="334" y="435"/>
                  </a:cubicBezTo>
                  <a:cubicBezTo>
                    <a:pt x="334" y="435"/>
                    <a:pt x="334" y="435"/>
                    <a:pt x="334" y="435"/>
                  </a:cubicBezTo>
                  <a:cubicBezTo>
                    <a:pt x="334" y="435"/>
                    <a:pt x="334" y="435"/>
                    <a:pt x="334" y="435"/>
                  </a:cubicBezTo>
                  <a:cubicBezTo>
                    <a:pt x="334" y="434"/>
                    <a:pt x="335" y="434"/>
                    <a:pt x="335" y="434"/>
                  </a:cubicBezTo>
                  <a:cubicBezTo>
                    <a:pt x="336" y="433"/>
                    <a:pt x="336" y="433"/>
                    <a:pt x="336" y="433"/>
                  </a:cubicBezTo>
                  <a:cubicBezTo>
                    <a:pt x="337" y="433"/>
                    <a:pt x="337" y="433"/>
                    <a:pt x="338" y="433"/>
                  </a:cubicBezTo>
                  <a:cubicBezTo>
                    <a:pt x="338" y="433"/>
                    <a:pt x="338" y="433"/>
                    <a:pt x="339" y="433"/>
                  </a:cubicBezTo>
                  <a:cubicBezTo>
                    <a:pt x="339" y="432"/>
                    <a:pt x="339" y="432"/>
                    <a:pt x="339" y="432"/>
                  </a:cubicBezTo>
                  <a:cubicBezTo>
                    <a:pt x="339" y="432"/>
                    <a:pt x="339" y="432"/>
                    <a:pt x="340" y="432"/>
                  </a:cubicBezTo>
                  <a:cubicBezTo>
                    <a:pt x="340" y="432"/>
                    <a:pt x="340" y="432"/>
                    <a:pt x="341" y="431"/>
                  </a:cubicBezTo>
                  <a:cubicBezTo>
                    <a:pt x="341" y="431"/>
                    <a:pt x="341" y="431"/>
                    <a:pt x="341" y="431"/>
                  </a:cubicBezTo>
                  <a:cubicBezTo>
                    <a:pt x="338" y="428"/>
                    <a:pt x="338" y="428"/>
                    <a:pt x="338" y="428"/>
                  </a:cubicBezTo>
                  <a:cubicBezTo>
                    <a:pt x="330" y="426"/>
                    <a:pt x="330" y="426"/>
                    <a:pt x="330" y="426"/>
                  </a:cubicBezTo>
                  <a:cubicBezTo>
                    <a:pt x="338" y="426"/>
                    <a:pt x="338" y="426"/>
                    <a:pt x="338" y="426"/>
                  </a:cubicBezTo>
                  <a:cubicBezTo>
                    <a:pt x="338" y="425"/>
                    <a:pt x="338" y="425"/>
                    <a:pt x="338" y="425"/>
                  </a:cubicBezTo>
                  <a:cubicBezTo>
                    <a:pt x="338" y="425"/>
                    <a:pt x="338" y="425"/>
                    <a:pt x="338" y="425"/>
                  </a:cubicBezTo>
                  <a:cubicBezTo>
                    <a:pt x="339" y="425"/>
                    <a:pt x="339" y="425"/>
                    <a:pt x="339" y="425"/>
                  </a:cubicBezTo>
                  <a:cubicBezTo>
                    <a:pt x="339" y="424"/>
                    <a:pt x="340" y="424"/>
                    <a:pt x="340" y="423"/>
                  </a:cubicBezTo>
                  <a:cubicBezTo>
                    <a:pt x="341" y="423"/>
                    <a:pt x="341" y="423"/>
                    <a:pt x="341" y="423"/>
                  </a:cubicBezTo>
                  <a:cubicBezTo>
                    <a:pt x="341" y="422"/>
                    <a:pt x="341" y="422"/>
                    <a:pt x="341" y="422"/>
                  </a:cubicBezTo>
                  <a:cubicBezTo>
                    <a:pt x="342" y="422"/>
                    <a:pt x="342" y="422"/>
                    <a:pt x="342" y="422"/>
                  </a:cubicBezTo>
                  <a:cubicBezTo>
                    <a:pt x="342" y="422"/>
                    <a:pt x="342" y="422"/>
                    <a:pt x="342" y="422"/>
                  </a:cubicBezTo>
                  <a:cubicBezTo>
                    <a:pt x="342" y="421"/>
                    <a:pt x="343" y="421"/>
                    <a:pt x="343" y="421"/>
                  </a:cubicBezTo>
                  <a:cubicBezTo>
                    <a:pt x="343" y="421"/>
                    <a:pt x="343" y="421"/>
                    <a:pt x="343" y="421"/>
                  </a:cubicBezTo>
                  <a:cubicBezTo>
                    <a:pt x="344" y="421"/>
                    <a:pt x="344" y="421"/>
                    <a:pt x="344" y="421"/>
                  </a:cubicBezTo>
                  <a:cubicBezTo>
                    <a:pt x="344" y="421"/>
                    <a:pt x="345" y="421"/>
                    <a:pt x="345" y="421"/>
                  </a:cubicBezTo>
                  <a:cubicBezTo>
                    <a:pt x="345" y="421"/>
                    <a:pt x="345" y="421"/>
                    <a:pt x="346" y="421"/>
                  </a:cubicBezTo>
                  <a:cubicBezTo>
                    <a:pt x="346" y="421"/>
                    <a:pt x="346" y="421"/>
                    <a:pt x="347" y="421"/>
                  </a:cubicBezTo>
                  <a:cubicBezTo>
                    <a:pt x="347" y="421"/>
                    <a:pt x="347" y="421"/>
                    <a:pt x="347" y="421"/>
                  </a:cubicBezTo>
                  <a:cubicBezTo>
                    <a:pt x="347" y="421"/>
                    <a:pt x="347" y="421"/>
                    <a:pt x="347" y="421"/>
                  </a:cubicBezTo>
                  <a:cubicBezTo>
                    <a:pt x="347" y="421"/>
                    <a:pt x="348" y="421"/>
                    <a:pt x="348" y="421"/>
                  </a:cubicBezTo>
                  <a:cubicBezTo>
                    <a:pt x="348" y="421"/>
                    <a:pt x="348" y="421"/>
                    <a:pt x="348" y="421"/>
                  </a:cubicBezTo>
                  <a:cubicBezTo>
                    <a:pt x="347" y="421"/>
                    <a:pt x="347" y="421"/>
                    <a:pt x="347" y="421"/>
                  </a:cubicBezTo>
                  <a:cubicBezTo>
                    <a:pt x="347" y="421"/>
                    <a:pt x="347" y="421"/>
                    <a:pt x="346" y="421"/>
                  </a:cubicBezTo>
                  <a:cubicBezTo>
                    <a:pt x="346" y="420"/>
                    <a:pt x="346" y="420"/>
                    <a:pt x="346" y="420"/>
                  </a:cubicBezTo>
                  <a:cubicBezTo>
                    <a:pt x="346" y="420"/>
                    <a:pt x="345" y="420"/>
                    <a:pt x="345" y="420"/>
                  </a:cubicBezTo>
                  <a:cubicBezTo>
                    <a:pt x="345" y="420"/>
                    <a:pt x="345" y="420"/>
                    <a:pt x="344" y="420"/>
                  </a:cubicBezTo>
                  <a:cubicBezTo>
                    <a:pt x="344" y="420"/>
                    <a:pt x="344" y="420"/>
                    <a:pt x="344" y="420"/>
                  </a:cubicBezTo>
                  <a:cubicBezTo>
                    <a:pt x="343" y="420"/>
                    <a:pt x="343" y="420"/>
                    <a:pt x="343" y="420"/>
                  </a:cubicBezTo>
                  <a:cubicBezTo>
                    <a:pt x="343" y="419"/>
                    <a:pt x="343" y="419"/>
                    <a:pt x="343" y="419"/>
                  </a:cubicBezTo>
                  <a:cubicBezTo>
                    <a:pt x="341" y="420"/>
                    <a:pt x="341" y="420"/>
                    <a:pt x="341" y="420"/>
                  </a:cubicBezTo>
                  <a:cubicBezTo>
                    <a:pt x="342" y="419"/>
                    <a:pt x="342" y="419"/>
                    <a:pt x="342" y="419"/>
                  </a:cubicBezTo>
                  <a:cubicBezTo>
                    <a:pt x="340" y="420"/>
                    <a:pt x="340" y="420"/>
                    <a:pt x="340" y="420"/>
                  </a:cubicBezTo>
                  <a:cubicBezTo>
                    <a:pt x="342" y="418"/>
                    <a:pt x="342" y="418"/>
                    <a:pt x="342" y="418"/>
                  </a:cubicBezTo>
                  <a:cubicBezTo>
                    <a:pt x="342" y="418"/>
                    <a:pt x="342" y="418"/>
                    <a:pt x="342" y="418"/>
                  </a:cubicBezTo>
                  <a:cubicBezTo>
                    <a:pt x="343" y="416"/>
                    <a:pt x="343" y="416"/>
                    <a:pt x="343" y="416"/>
                  </a:cubicBezTo>
                  <a:cubicBezTo>
                    <a:pt x="343" y="416"/>
                    <a:pt x="343" y="416"/>
                    <a:pt x="343" y="416"/>
                  </a:cubicBezTo>
                  <a:cubicBezTo>
                    <a:pt x="343" y="416"/>
                    <a:pt x="343" y="416"/>
                    <a:pt x="343" y="416"/>
                  </a:cubicBezTo>
                  <a:cubicBezTo>
                    <a:pt x="343" y="416"/>
                    <a:pt x="343" y="416"/>
                    <a:pt x="343" y="416"/>
                  </a:cubicBezTo>
                  <a:cubicBezTo>
                    <a:pt x="342" y="415"/>
                    <a:pt x="342" y="415"/>
                    <a:pt x="342" y="415"/>
                  </a:cubicBezTo>
                  <a:cubicBezTo>
                    <a:pt x="342" y="415"/>
                    <a:pt x="342" y="415"/>
                    <a:pt x="341" y="415"/>
                  </a:cubicBezTo>
                  <a:cubicBezTo>
                    <a:pt x="340" y="415"/>
                    <a:pt x="340" y="415"/>
                    <a:pt x="340" y="415"/>
                  </a:cubicBezTo>
                  <a:cubicBezTo>
                    <a:pt x="340" y="414"/>
                    <a:pt x="340" y="414"/>
                    <a:pt x="340" y="414"/>
                  </a:cubicBezTo>
                  <a:cubicBezTo>
                    <a:pt x="340" y="413"/>
                    <a:pt x="340" y="413"/>
                    <a:pt x="340" y="413"/>
                  </a:cubicBezTo>
                  <a:cubicBezTo>
                    <a:pt x="340" y="412"/>
                    <a:pt x="340" y="412"/>
                    <a:pt x="340" y="412"/>
                  </a:cubicBezTo>
                  <a:cubicBezTo>
                    <a:pt x="341" y="412"/>
                    <a:pt x="341" y="412"/>
                    <a:pt x="341" y="412"/>
                  </a:cubicBezTo>
                  <a:cubicBezTo>
                    <a:pt x="341" y="412"/>
                    <a:pt x="341" y="412"/>
                    <a:pt x="342" y="412"/>
                  </a:cubicBezTo>
                  <a:cubicBezTo>
                    <a:pt x="342" y="412"/>
                    <a:pt x="342" y="412"/>
                    <a:pt x="342" y="412"/>
                  </a:cubicBezTo>
                  <a:cubicBezTo>
                    <a:pt x="342" y="412"/>
                    <a:pt x="342" y="412"/>
                    <a:pt x="342" y="412"/>
                  </a:cubicBezTo>
                  <a:cubicBezTo>
                    <a:pt x="339" y="409"/>
                    <a:pt x="339" y="409"/>
                    <a:pt x="339" y="409"/>
                  </a:cubicBezTo>
                  <a:cubicBezTo>
                    <a:pt x="341" y="409"/>
                    <a:pt x="341" y="409"/>
                    <a:pt x="341" y="409"/>
                  </a:cubicBezTo>
                  <a:cubicBezTo>
                    <a:pt x="342" y="408"/>
                    <a:pt x="342" y="408"/>
                    <a:pt x="342" y="408"/>
                  </a:cubicBezTo>
                  <a:cubicBezTo>
                    <a:pt x="342" y="408"/>
                    <a:pt x="342" y="408"/>
                    <a:pt x="343" y="408"/>
                  </a:cubicBezTo>
                  <a:cubicBezTo>
                    <a:pt x="343" y="408"/>
                    <a:pt x="343" y="408"/>
                    <a:pt x="343" y="408"/>
                  </a:cubicBezTo>
                  <a:cubicBezTo>
                    <a:pt x="343" y="407"/>
                    <a:pt x="344" y="407"/>
                    <a:pt x="345" y="407"/>
                  </a:cubicBezTo>
                  <a:cubicBezTo>
                    <a:pt x="345" y="406"/>
                    <a:pt x="346" y="406"/>
                    <a:pt x="346" y="406"/>
                  </a:cubicBezTo>
                  <a:cubicBezTo>
                    <a:pt x="346" y="406"/>
                    <a:pt x="346" y="406"/>
                    <a:pt x="346" y="406"/>
                  </a:cubicBezTo>
                  <a:cubicBezTo>
                    <a:pt x="346" y="406"/>
                    <a:pt x="346" y="406"/>
                    <a:pt x="346" y="406"/>
                  </a:cubicBezTo>
                  <a:cubicBezTo>
                    <a:pt x="347" y="407"/>
                    <a:pt x="347" y="407"/>
                    <a:pt x="347" y="407"/>
                  </a:cubicBezTo>
                  <a:cubicBezTo>
                    <a:pt x="348" y="407"/>
                    <a:pt x="349" y="407"/>
                    <a:pt x="350" y="407"/>
                  </a:cubicBezTo>
                  <a:cubicBezTo>
                    <a:pt x="350" y="407"/>
                    <a:pt x="350" y="407"/>
                    <a:pt x="350" y="407"/>
                  </a:cubicBezTo>
                  <a:cubicBezTo>
                    <a:pt x="350" y="407"/>
                    <a:pt x="350" y="407"/>
                    <a:pt x="350" y="407"/>
                  </a:cubicBezTo>
                  <a:cubicBezTo>
                    <a:pt x="353" y="407"/>
                    <a:pt x="353" y="407"/>
                    <a:pt x="353" y="407"/>
                  </a:cubicBezTo>
                  <a:cubicBezTo>
                    <a:pt x="353" y="406"/>
                    <a:pt x="353" y="406"/>
                    <a:pt x="353" y="406"/>
                  </a:cubicBezTo>
                  <a:cubicBezTo>
                    <a:pt x="354" y="407"/>
                    <a:pt x="354" y="407"/>
                    <a:pt x="354" y="407"/>
                  </a:cubicBezTo>
                  <a:cubicBezTo>
                    <a:pt x="354" y="407"/>
                    <a:pt x="354" y="407"/>
                    <a:pt x="354" y="407"/>
                  </a:cubicBezTo>
                  <a:cubicBezTo>
                    <a:pt x="354" y="407"/>
                    <a:pt x="354" y="407"/>
                    <a:pt x="355" y="407"/>
                  </a:cubicBezTo>
                  <a:cubicBezTo>
                    <a:pt x="355" y="407"/>
                    <a:pt x="355" y="407"/>
                    <a:pt x="355" y="407"/>
                  </a:cubicBezTo>
                  <a:cubicBezTo>
                    <a:pt x="355" y="407"/>
                    <a:pt x="355" y="407"/>
                    <a:pt x="355" y="407"/>
                  </a:cubicBezTo>
                  <a:cubicBezTo>
                    <a:pt x="356" y="407"/>
                    <a:pt x="356" y="407"/>
                    <a:pt x="356" y="407"/>
                  </a:cubicBezTo>
                  <a:cubicBezTo>
                    <a:pt x="357" y="407"/>
                    <a:pt x="357" y="407"/>
                    <a:pt x="357" y="407"/>
                  </a:cubicBezTo>
                  <a:cubicBezTo>
                    <a:pt x="357" y="407"/>
                    <a:pt x="357" y="407"/>
                    <a:pt x="357" y="407"/>
                  </a:cubicBezTo>
                  <a:cubicBezTo>
                    <a:pt x="358" y="406"/>
                    <a:pt x="358" y="406"/>
                    <a:pt x="358" y="406"/>
                  </a:cubicBezTo>
                  <a:cubicBezTo>
                    <a:pt x="358" y="406"/>
                    <a:pt x="358" y="406"/>
                    <a:pt x="358" y="406"/>
                  </a:cubicBezTo>
                  <a:cubicBezTo>
                    <a:pt x="358" y="406"/>
                    <a:pt x="358" y="406"/>
                    <a:pt x="358" y="406"/>
                  </a:cubicBezTo>
                  <a:cubicBezTo>
                    <a:pt x="359" y="406"/>
                    <a:pt x="359" y="406"/>
                    <a:pt x="359" y="406"/>
                  </a:cubicBezTo>
                  <a:cubicBezTo>
                    <a:pt x="359" y="406"/>
                    <a:pt x="359" y="406"/>
                    <a:pt x="359" y="406"/>
                  </a:cubicBezTo>
                  <a:cubicBezTo>
                    <a:pt x="360" y="406"/>
                    <a:pt x="360" y="406"/>
                    <a:pt x="360" y="406"/>
                  </a:cubicBezTo>
                  <a:cubicBezTo>
                    <a:pt x="360" y="406"/>
                    <a:pt x="360" y="406"/>
                    <a:pt x="360" y="406"/>
                  </a:cubicBezTo>
                  <a:cubicBezTo>
                    <a:pt x="360" y="406"/>
                    <a:pt x="360" y="406"/>
                    <a:pt x="360" y="406"/>
                  </a:cubicBezTo>
                  <a:cubicBezTo>
                    <a:pt x="358" y="406"/>
                    <a:pt x="358" y="406"/>
                    <a:pt x="358" y="406"/>
                  </a:cubicBezTo>
                  <a:cubicBezTo>
                    <a:pt x="364" y="405"/>
                    <a:pt x="364" y="405"/>
                    <a:pt x="364" y="405"/>
                  </a:cubicBezTo>
                  <a:cubicBezTo>
                    <a:pt x="364" y="402"/>
                    <a:pt x="364" y="402"/>
                    <a:pt x="364" y="402"/>
                  </a:cubicBezTo>
                  <a:cubicBezTo>
                    <a:pt x="364" y="405"/>
                    <a:pt x="364" y="405"/>
                    <a:pt x="364" y="405"/>
                  </a:cubicBezTo>
                  <a:cubicBezTo>
                    <a:pt x="369" y="404"/>
                    <a:pt x="369" y="404"/>
                    <a:pt x="369" y="404"/>
                  </a:cubicBezTo>
                  <a:cubicBezTo>
                    <a:pt x="369" y="404"/>
                    <a:pt x="369" y="404"/>
                    <a:pt x="370" y="404"/>
                  </a:cubicBezTo>
                  <a:cubicBezTo>
                    <a:pt x="370" y="403"/>
                    <a:pt x="370" y="403"/>
                    <a:pt x="370" y="403"/>
                  </a:cubicBezTo>
                  <a:cubicBezTo>
                    <a:pt x="371" y="404"/>
                    <a:pt x="371" y="404"/>
                    <a:pt x="371" y="404"/>
                  </a:cubicBezTo>
                  <a:cubicBezTo>
                    <a:pt x="372" y="403"/>
                    <a:pt x="372" y="403"/>
                    <a:pt x="372" y="403"/>
                  </a:cubicBezTo>
                  <a:cubicBezTo>
                    <a:pt x="372" y="403"/>
                    <a:pt x="372" y="403"/>
                    <a:pt x="372" y="403"/>
                  </a:cubicBezTo>
                  <a:cubicBezTo>
                    <a:pt x="373" y="403"/>
                    <a:pt x="373" y="403"/>
                    <a:pt x="373" y="403"/>
                  </a:cubicBezTo>
                  <a:cubicBezTo>
                    <a:pt x="373" y="403"/>
                    <a:pt x="373" y="403"/>
                    <a:pt x="373" y="403"/>
                  </a:cubicBezTo>
                  <a:cubicBezTo>
                    <a:pt x="373" y="403"/>
                    <a:pt x="373" y="403"/>
                    <a:pt x="373" y="403"/>
                  </a:cubicBezTo>
                  <a:cubicBezTo>
                    <a:pt x="374" y="403"/>
                    <a:pt x="374" y="403"/>
                    <a:pt x="374" y="403"/>
                  </a:cubicBezTo>
                  <a:cubicBezTo>
                    <a:pt x="374" y="403"/>
                    <a:pt x="374" y="403"/>
                    <a:pt x="374" y="403"/>
                  </a:cubicBezTo>
                  <a:cubicBezTo>
                    <a:pt x="376" y="402"/>
                    <a:pt x="376" y="402"/>
                    <a:pt x="376" y="402"/>
                  </a:cubicBezTo>
                  <a:cubicBezTo>
                    <a:pt x="376" y="403"/>
                    <a:pt x="376" y="403"/>
                    <a:pt x="376" y="403"/>
                  </a:cubicBezTo>
                  <a:cubicBezTo>
                    <a:pt x="376" y="402"/>
                    <a:pt x="376" y="402"/>
                    <a:pt x="377" y="402"/>
                  </a:cubicBezTo>
                  <a:cubicBezTo>
                    <a:pt x="377" y="402"/>
                    <a:pt x="377" y="402"/>
                    <a:pt x="377" y="402"/>
                  </a:cubicBezTo>
                  <a:cubicBezTo>
                    <a:pt x="377" y="402"/>
                    <a:pt x="377" y="402"/>
                    <a:pt x="377" y="402"/>
                  </a:cubicBezTo>
                  <a:cubicBezTo>
                    <a:pt x="378" y="402"/>
                    <a:pt x="378" y="402"/>
                    <a:pt x="378" y="402"/>
                  </a:cubicBezTo>
                  <a:cubicBezTo>
                    <a:pt x="378" y="402"/>
                    <a:pt x="378" y="402"/>
                    <a:pt x="379" y="402"/>
                  </a:cubicBezTo>
                  <a:cubicBezTo>
                    <a:pt x="379" y="402"/>
                    <a:pt x="379" y="402"/>
                    <a:pt x="379" y="402"/>
                  </a:cubicBezTo>
                  <a:cubicBezTo>
                    <a:pt x="379" y="402"/>
                    <a:pt x="379" y="402"/>
                    <a:pt x="380" y="402"/>
                  </a:cubicBezTo>
                  <a:cubicBezTo>
                    <a:pt x="380" y="402"/>
                    <a:pt x="380" y="402"/>
                    <a:pt x="380" y="402"/>
                  </a:cubicBezTo>
                  <a:cubicBezTo>
                    <a:pt x="380" y="402"/>
                    <a:pt x="380" y="402"/>
                    <a:pt x="380" y="402"/>
                  </a:cubicBezTo>
                  <a:cubicBezTo>
                    <a:pt x="381" y="402"/>
                    <a:pt x="381" y="402"/>
                    <a:pt x="381" y="402"/>
                  </a:cubicBezTo>
                  <a:cubicBezTo>
                    <a:pt x="381" y="402"/>
                    <a:pt x="382" y="401"/>
                    <a:pt x="383" y="402"/>
                  </a:cubicBezTo>
                  <a:cubicBezTo>
                    <a:pt x="383" y="402"/>
                    <a:pt x="383" y="401"/>
                    <a:pt x="383" y="401"/>
                  </a:cubicBezTo>
                  <a:cubicBezTo>
                    <a:pt x="383" y="401"/>
                    <a:pt x="383" y="401"/>
                    <a:pt x="383" y="401"/>
                  </a:cubicBezTo>
                  <a:cubicBezTo>
                    <a:pt x="384" y="401"/>
                    <a:pt x="384" y="401"/>
                    <a:pt x="384" y="401"/>
                  </a:cubicBezTo>
                  <a:cubicBezTo>
                    <a:pt x="384" y="401"/>
                    <a:pt x="384" y="401"/>
                    <a:pt x="384" y="401"/>
                  </a:cubicBezTo>
                  <a:cubicBezTo>
                    <a:pt x="384" y="400"/>
                    <a:pt x="384" y="400"/>
                    <a:pt x="384" y="400"/>
                  </a:cubicBezTo>
                  <a:cubicBezTo>
                    <a:pt x="381" y="399"/>
                    <a:pt x="381" y="399"/>
                    <a:pt x="381" y="399"/>
                  </a:cubicBezTo>
                  <a:cubicBezTo>
                    <a:pt x="388" y="398"/>
                    <a:pt x="388" y="398"/>
                    <a:pt x="388" y="398"/>
                  </a:cubicBezTo>
                  <a:cubicBezTo>
                    <a:pt x="389" y="398"/>
                    <a:pt x="389" y="398"/>
                    <a:pt x="389" y="398"/>
                  </a:cubicBezTo>
                  <a:cubicBezTo>
                    <a:pt x="390" y="398"/>
                    <a:pt x="390" y="398"/>
                    <a:pt x="390" y="398"/>
                  </a:cubicBezTo>
                  <a:cubicBezTo>
                    <a:pt x="391" y="398"/>
                    <a:pt x="391" y="398"/>
                    <a:pt x="391" y="398"/>
                  </a:cubicBezTo>
                  <a:cubicBezTo>
                    <a:pt x="392" y="398"/>
                    <a:pt x="392" y="397"/>
                    <a:pt x="392" y="397"/>
                  </a:cubicBezTo>
                  <a:cubicBezTo>
                    <a:pt x="392" y="397"/>
                    <a:pt x="392" y="397"/>
                    <a:pt x="393" y="397"/>
                  </a:cubicBezTo>
                  <a:cubicBezTo>
                    <a:pt x="393" y="397"/>
                    <a:pt x="393" y="397"/>
                    <a:pt x="393" y="398"/>
                  </a:cubicBezTo>
                  <a:cubicBezTo>
                    <a:pt x="394" y="398"/>
                    <a:pt x="394" y="398"/>
                    <a:pt x="394" y="398"/>
                  </a:cubicBezTo>
                  <a:cubicBezTo>
                    <a:pt x="395" y="398"/>
                    <a:pt x="395" y="398"/>
                    <a:pt x="395" y="398"/>
                  </a:cubicBezTo>
                  <a:cubicBezTo>
                    <a:pt x="396" y="398"/>
                    <a:pt x="396" y="398"/>
                    <a:pt x="397" y="398"/>
                  </a:cubicBezTo>
                  <a:cubicBezTo>
                    <a:pt x="397" y="397"/>
                    <a:pt x="397" y="397"/>
                    <a:pt x="397" y="397"/>
                  </a:cubicBezTo>
                  <a:cubicBezTo>
                    <a:pt x="398" y="397"/>
                    <a:pt x="399" y="397"/>
                    <a:pt x="399" y="397"/>
                  </a:cubicBezTo>
                  <a:cubicBezTo>
                    <a:pt x="398" y="397"/>
                    <a:pt x="398" y="397"/>
                    <a:pt x="398" y="397"/>
                  </a:cubicBezTo>
                  <a:cubicBezTo>
                    <a:pt x="402" y="396"/>
                    <a:pt x="402" y="396"/>
                    <a:pt x="402" y="396"/>
                  </a:cubicBezTo>
                  <a:cubicBezTo>
                    <a:pt x="403" y="396"/>
                    <a:pt x="403" y="396"/>
                    <a:pt x="403" y="396"/>
                  </a:cubicBezTo>
                  <a:cubicBezTo>
                    <a:pt x="404" y="396"/>
                    <a:pt x="404" y="396"/>
                    <a:pt x="405" y="396"/>
                  </a:cubicBezTo>
                  <a:cubicBezTo>
                    <a:pt x="406" y="395"/>
                    <a:pt x="406" y="395"/>
                    <a:pt x="406" y="395"/>
                  </a:cubicBezTo>
                  <a:cubicBezTo>
                    <a:pt x="406" y="395"/>
                    <a:pt x="406" y="395"/>
                    <a:pt x="406" y="395"/>
                  </a:cubicBezTo>
                  <a:cubicBezTo>
                    <a:pt x="407" y="395"/>
                    <a:pt x="407" y="395"/>
                    <a:pt x="407" y="395"/>
                  </a:cubicBezTo>
                  <a:cubicBezTo>
                    <a:pt x="411" y="394"/>
                    <a:pt x="411" y="394"/>
                    <a:pt x="411" y="394"/>
                  </a:cubicBezTo>
                  <a:cubicBezTo>
                    <a:pt x="411" y="394"/>
                    <a:pt x="411" y="394"/>
                    <a:pt x="411" y="394"/>
                  </a:cubicBezTo>
                  <a:cubicBezTo>
                    <a:pt x="411" y="394"/>
                    <a:pt x="411" y="394"/>
                    <a:pt x="411" y="394"/>
                  </a:cubicBezTo>
                  <a:cubicBezTo>
                    <a:pt x="412" y="394"/>
                    <a:pt x="412" y="394"/>
                    <a:pt x="412" y="394"/>
                  </a:cubicBezTo>
                  <a:cubicBezTo>
                    <a:pt x="413" y="393"/>
                    <a:pt x="413" y="393"/>
                    <a:pt x="414" y="394"/>
                  </a:cubicBezTo>
                  <a:cubicBezTo>
                    <a:pt x="414" y="394"/>
                    <a:pt x="414" y="394"/>
                    <a:pt x="414" y="394"/>
                  </a:cubicBezTo>
                  <a:cubicBezTo>
                    <a:pt x="414" y="394"/>
                    <a:pt x="414" y="394"/>
                    <a:pt x="414" y="394"/>
                  </a:cubicBezTo>
                  <a:cubicBezTo>
                    <a:pt x="414" y="394"/>
                    <a:pt x="414" y="394"/>
                    <a:pt x="415" y="394"/>
                  </a:cubicBezTo>
                  <a:cubicBezTo>
                    <a:pt x="415" y="393"/>
                    <a:pt x="415" y="393"/>
                    <a:pt x="415" y="393"/>
                  </a:cubicBezTo>
                  <a:cubicBezTo>
                    <a:pt x="415" y="393"/>
                    <a:pt x="415" y="393"/>
                    <a:pt x="416" y="393"/>
                  </a:cubicBezTo>
                  <a:cubicBezTo>
                    <a:pt x="416" y="393"/>
                    <a:pt x="416" y="393"/>
                    <a:pt x="416" y="393"/>
                  </a:cubicBezTo>
                  <a:cubicBezTo>
                    <a:pt x="416" y="392"/>
                    <a:pt x="417" y="392"/>
                    <a:pt x="417" y="392"/>
                  </a:cubicBezTo>
                  <a:cubicBezTo>
                    <a:pt x="418" y="392"/>
                    <a:pt x="419" y="391"/>
                    <a:pt x="419" y="391"/>
                  </a:cubicBezTo>
                  <a:cubicBezTo>
                    <a:pt x="419" y="390"/>
                    <a:pt x="419" y="390"/>
                    <a:pt x="419" y="390"/>
                  </a:cubicBezTo>
                  <a:cubicBezTo>
                    <a:pt x="420" y="389"/>
                    <a:pt x="420" y="389"/>
                    <a:pt x="420" y="389"/>
                  </a:cubicBezTo>
                  <a:cubicBezTo>
                    <a:pt x="420" y="388"/>
                    <a:pt x="421" y="388"/>
                    <a:pt x="422" y="388"/>
                  </a:cubicBezTo>
                  <a:cubicBezTo>
                    <a:pt x="422" y="388"/>
                    <a:pt x="422" y="388"/>
                    <a:pt x="422" y="388"/>
                  </a:cubicBezTo>
                  <a:cubicBezTo>
                    <a:pt x="422" y="388"/>
                    <a:pt x="422" y="388"/>
                    <a:pt x="422" y="388"/>
                  </a:cubicBezTo>
                  <a:cubicBezTo>
                    <a:pt x="424" y="388"/>
                    <a:pt x="424" y="388"/>
                    <a:pt x="424" y="388"/>
                  </a:cubicBezTo>
                  <a:cubicBezTo>
                    <a:pt x="425" y="388"/>
                    <a:pt x="425" y="388"/>
                    <a:pt x="425" y="388"/>
                  </a:cubicBezTo>
                  <a:cubicBezTo>
                    <a:pt x="425" y="388"/>
                    <a:pt x="425" y="388"/>
                    <a:pt x="425" y="388"/>
                  </a:cubicBezTo>
                  <a:cubicBezTo>
                    <a:pt x="426" y="388"/>
                    <a:pt x="426" y="388"/>
                    <a:pt x="426" y="388"/>
                  </a:cubicBezTo>
                  <a:cubicBezTo>
                    <a:pt x="426" y="388"/>
                    <a:pt x="426" y="388"/>
                    <a:pt x="426" y="388"/>
                  </a:cubicBezTo>
                  <a:cubicBezTo>
                    <a:pt x="426" y="388"/>
                    <a:pt x="426" y="388"/>
                    <a:pt x="426" y="388"/>
                  </a:cubicBezTo>
                  <a:cubicBezTo>
                    <a:pt x="426" y="388"/>
                    <a:pt x="426" y="388"/>
                    <a:pt x="427" y="388"/>
                  </a:cubicBezTo>
                  <a:cubicBezTo>
                    <a:pt x="430" y="388"/>
                    <a:pt x="430" y="388"/>
                    <a:pt x="430" y="388"/>
                  </a:cubicBezTo>
                  <a:cubicBezTo>
                    <a:pt x="431" y="388"/>
                    <a:pt x="431" y="389"/>
                    <a:pt x="432" y="389"/>
                  </a:cubicBezTo>
                  <a:cubicBezTo>
                    <a:pt x="433" y="389"/>
                    <a:pt x="433" y="389"/>
                    <a:pt x="433" y="389"/>
                  </a:cubicBezTo>
                  <a:cubicBezTo>
                    <a:pt x="433" y="390"/>
                    <a:pt x="433" y="390"/>
                    <a:pt x="434" y="390"/>
                  </a:cubicBezTo>
                  <a:cubicBezTo>
                    <a:pt x="434" y="390"/>
                    <a:pt x="434" y="390"/>
                    <a:pt x="434" y="390"/>
                  </a:cubicBezTo>
                  <a:cubicBezTo>
                    <a:pt x="434" y="390"/>
                    <a:pt x="434" y="390"/>
                    <a:pt x="434" y="391"/>
                  </a:cubicBezTo>
                  <a:cubicBezTo>
                    <a:pt x="435" y="391"/>
                    <a:pt x="435" y="391"/>
                    <a:pt x="436" y="391"/>
                  </a:cubicBezTo>
                  <a:cubicBezTo>
                    <a:pt x="436" y="391"/>
                    <a:pt x="436" y="391"/>
                    <a:pt x="436" y="391"/>
                  </a:cubicBezTo>
                  <a:cubicBezTo>
                    <a:pt x="437" y="391"/>
                    <a:pt x="438" y="390"/>
                    <a:pt x="439" y="389"/>
                  </a:cubicBezTo>
                  <a:cubicBezTo>
                    <a:pt x="439" y="389"/>
                    <a:pt x="439" y="389"/>
                    <a:pt x="439" y="389"/>
                  </a:cubicBezTo>
                  <a:cubicBezTo>
                    <a:pt x="442" y="389"/>
                    <a:pt x="442" y="389"/>
                    <a:pt x="442" y="389"/>
                  </a:cubicBezTo>
                  <a:cubicBezTo>
                    <a:pt x="442" y="389"/>
                    <a:pt x="442" y="389"/>
                    <a:pt x="442" y="389"/>
                  </a:cubicBezTo>
                  <a:cubicBezTo>
                    <a:pt x="443" y="389"/>
                    <a:pt x="443" y="390"/>
                    <a:pt x="444" y="390"/>
                  </a:cubicBezTo>
                  <a:cubicBezTo>
                    <a:pt x="444" y="392"/>
                    <a:pt x="445" y="393"/>
                    <a:pt x="446" y="394"/>
                  </a:cubicBezTo>
                  <a:cubicBezTo>
                    <a:pt x="448" y="398"/>
                    <a:pt x="448" y="398"/>
                    <a:pt x="448" y="398"/>
                  </a:cubicBezTo>
                  <a:cubicBezTo>
                    <a:pt x="448" y="399"/>
                    <a:pt x="448" y="399"/>
                    <a:pt x="448" y="400"/>
                  </a:cubicBezTo>
                  <a:cubicBezTo>
                    <a:pt x="448" y="400"/>
                    <a:pt x="448" y="400"/>
                    <a:pt x="448" y="400"/>
                  </a:cubicBezTo>
                  <a:cubicBezTo>
                    <a:pt x="447" y="401"/>
                    <a:pt x="447" y="401"/>
                    <a:pt x="447" y="401"/>
                  </a:cubicBezTo>
                  <a:cubicBezTo>
                    <a:pt x="447" y="401"/>
                    <a:pt x="447" y="401"/>
                    <a:pt x="447" y="401"/>
                  </a:cubicBezTo>
                  <a:cubicBezTo>
                    <a:pt x="447" y="401"/>
                    <a:pt x="447" y="402"/>
                    <a:pt x="447" y="402"/>
                  </a:cubicBezTo>
                  <a:cubicBezTo>
                    <a:pt x="447" y="402"/>
                    <a:pt x="447" y="402"/>
                    <a:pt x="447" y="402"/>
                  </a:cubicBezTo>
                  <a:cubicBezTo>
                    <a:pt x="447" y="402"/>
                    <a:pt x="447" y="402"/>
                    <a:pt x="447" y="402"/>
                  </a:cubicBezTo>
                  <a:cubicBezTo>
                    <a:pt x="447" y="402"/>
                    <a:pt x="447" y="402"/>
                    <a:pt x="447" y="402"/>
                  </a:cubicBezTo>
                  <a:cubicBezTo>
                    <a:pt x="448" y="403"/>
                    <a:pt x="448" y="403"/>
                    <a:pt x="448" y="403"/>
                  </a:cubicBezTo>
                  <a:cubicBezTo>
                    <a:pt x="448" y="404"/>
                    <a:pt x="447" y="405"/>
                    <a:pt x="447" y="405"/>
                  </a:cubicBezTo>
                  <a:cubicBezTo>
                    <a:pt x="447" y="405"/>
                    <a:pt x="446" y="405"/>
                    <a:pt x="446" y="405"/>
                  </a:cubicBezTo>
                  <a:cubicBezTo>
                    <a:pt x="446" y="406"/>
                    <a:pt x="446" y="406"/>
                    <a:pt x="446" y="406"/>
                  </a:cubicBezTo>
                  <a:cubicBezTo>
                    <a:pt x="447" y="406"/>
                    <a:pt x="447" y="406"/>
                    <a:pt x="447" y="406"/>
                  </a:cubicBezTo>
                  <a:cubicBezTo>
                    <a:pt x="447" y="406"/>
                    <a:pt x="447" y="406"/>
                    <a:pt x="447" y="406"/>
                  </a:cubicBezTo>
                  <a:cubicBezTo>
                    <a:pt x="448" y="406"/>
                    <a:pt x="449" y="406"/>
                    <a:pt x="449" y="406"/>
                  </a:cubicBezTo>
                  <a:cubicBezTo>
                    <a:pt x="451" y="405"/>
                    <a:pt x="451" y="405"/>
                    <a:pt x="451" y="405"/>
                  </a:cubicBezTo>
                  <a:cubicBezTo>
                    <a:pt x="454" y="405"/>
                    <a:pt x="454" y="405"/>
                    <a:pt x="454" y="405"/>
                  </a:cubicBezTo>
                  <a:cubicBezTo>
                    <a:pt x="454" y="405"/>
                    <a:pt x="454" y="405"/>
                    <a:pt x="454" y="405"/>
                  </a:cubicBezTo>
                  <a:cubicBezTo>
                    <a:pt x="454" y="404"/>
                    <a:pt x="454" y="404"/>
                    <a:pt x="454" y="404"/>
                  </a:cubicBezTo>
                  <a:cubicBezTo>
                    <a:pt x="454" y="403"/>
                    <a:pt x="454" y="403"/>
                    <a:pt x="454" y="403"/>
                  </a:cubicBezTo>
                  <a:cubicBezTo>
                    <a:pt x="456" y="402"/>
                    <a:pt x="456" y="402"/>
                    <a:pt x="456" y="402"/>
                  </a:cubicBezTo>
                  <a:cubicBezTo>
                    <a:pt x="457" y="402"/>
                    <a:pt x="457" y="402"/>
                    <a:pt x="457" y="402"/>
                  </a:cubicBezTo>
                  <a:cubicBezTo>
                    <a:pt x="457" y="403"/>
                    <a:pt x="457" y="403"/>
                    <a:pt x="457" y="403"/>
                  </a:cubicBezTo>
                  <a:cubicBezTo>
                    <a:pt x="459" y="404"/>
                    <a:pt x="459" y="404"/>
                    <a:pt x="459" y="404"/>
                  </a:cubicBezTo>
                  <a:cubicBezTo>
                    <a:pt x="459" y="405"/>
                    <a:pt x="459" y="405"/>
                    <a:pt x="459" y="406"/>
                  </a:cubicBezTo>
                  <a:cubicBezTo>
                    <a:pt x="459" y="406"/>
                    <a:pt x="459" y="406"/>
                    <a:pt x="460" y="406"/>
                  </a:cubicBezTo>
                  <a:cubicBezTo>
                    <a:pt x="460" y="406"/>
                    <a:pt x="460" y="406"/>
                    <a:pt x="460" y="406"/>
                  </a:cubicBezTo>
                  <a:cubicBezTo>
                    <a:pt x="460" y="405"/>
                    <a:pt x="461" y="405"/>
                    <a:pt x="461" y="406"/>
                  </a:cubicBezTo>
                  <a:cubicBezTo>
                    <a:pt x="462" y="406"/>
                    <a:pt x="462" y="406"/>
                    <a:pt x="462" y="406"/>
                  </a:cubicBezTo>
                  <a:cubicBezTo>
                    <a:pt x="462" y="406"/>
                    <a:pt x="462" y="406"/>
                    <a:pt x="462" y="406"/>
                  </a:cubicBezTo>
                  <a:cubicBezTo>
                    <a:pt x="462" y="406"/>
                    <a:pt x="463" y="406"/>
                    <a:pt x="463" y="406"/>
                  </a:cubicBezTo>
                  <a:cubicBezTo>
                    <a:pt x="463" y="406"/>
                    <a:pt x="463" y="406"/>
                    <a:pt x="463" y="406"/>
                  </a:cubicBezTo>
                  <a:cubicBezTo>
                    <a:pt x="464" y="407"/>
                    <a:pt x="465" y="407"/>
                    <a:pt x="466" y="408"/>
                  </a:cubicBezTo>
                  <a:cubicBezTo>
                    <a:pt x="466" y="408"/>
                    <a:pt x="466" y="408"/>
                    <a:pt x="466" y="408"/>
                  </a:cubicBezTo>
                  <a:cubicBezTo>
                    <a:pt x="475" y="406"/>
                    <a:pt x="475" y="406"/>
                    <a:pt x="475" y="406"/>
                  </a:cubicBezTo>
                  <a:cubicBezTo>
                    <a:pt x="473" y="408"/>
                    <a:pt x="473" y="408"/>
                    <a:pt x="473" y="408"/>
                  </a:cubicBezTo>
                  <a:cubicBezTo>
                    <a:pt x="473" y="409"/>
                    <a:pt x="473" y="409"/>
                    <a:pt x="473" y="409"/>
                  </a:cubicBezTo>
                  <a:cubicBezTo>
                    <a:pt x="472" y="410"/>
                    <a:pt x="472" y="410"/>
                    <a:pt x="472" y="410"/>
                  </a:cubicBezTo>
                  <a:cubicBezTo>
                    <a:pt x="471" y="410"/>
                    <a:pt x="471" y="411"/>
                    <a:pt x="471" y="411"/>
                  </a:cubicBezTo>
                  <a:cubicBezTo>
                    <a:pt x="470" y="412"/>
                    <a:pt x="470" y="412"/>
                    <a:pt x="470" y="412"/>
                  </a:cubicBezTo>
                  <a:cubicBezTo>
                    <a:pt x="470" y="412"/>
                    <a:pt x="470" y="412"/>
                    <a:pt x="470" y="412"/>
                  </a:cubicBezTo>
                  <a:cubicBezTo>
                    <a:pt x="469" y="412"/>
                    <a:pt x="469" y="413"/>
                    <a:pt x="469" y="413"/>
                  </a:cubicBezTo>
                  <a:cubicBezTo>
                    <a:pt x="468" y="413"/>
                    <a:pt x="468" y="413"/>
                    <a:pt x="468" y="413"/>
                  </a:cubicBezTo>
                  <a:cubicBezTo>
                    <a:pt x="469" y="415"/>
                    <a:pt x="469" y="415"/>
                    <a:pt x="469" y="415"/>
                  </a:cubicBezTo>
                  <a:cubicBezTo>
                    <a:pt x="470" y="414"/>
                    <a:pt x="470" y="414"/>
                    <a:pt x="470" y="414"/>
                  </a:cubicBezTo>
                  <a:cubicBezTo>
                    <a:pt x="471" y="413"/>
                    <a:pt x="472" y="413"/>
                    <a:pt x="473" y="413"/>
                  </a:cubicBezTo>
                  <a:cubicBezTo>
                    <a:pt x="476" y="413"/>
                    <a:pt x="476" y="413"/>
                    <a:pt x="476" y="413"/>
                  </a:cubicBezTo>
                  <a:cubicBezTo>
                    <a:pt x="477" y="414"/>
                    <a:pt x="477" y="414"/>
                    <a:pt x="477" y="414"/>
                  </a:cubicBezTo>
                  <a:cubicBezTo>
                    <a:pt x="478" y="414"/>
                    <a:pt x="478" y="414"/>
                    <a:pt x="478" y="414"/>
                  </a:cubicBezTo>
                  <a:cubicBezTo>
                    <a:pt x="478" y="414"/>
                    <a:pt x="478" y="414"/>
                    <a:pt x="478" y="414"/>
                  </a:cubicBezTo>
                  <a:cubicBezTo>
                    <a:pt x="478" y="413"/>
                    <a:pt x="478" y="413"/>
                    <a:pt x="478" y="413"/>
                  </a:cubicBezTo>
                  <a:cubicBezTo>
                    <a:pt x="478" y="413"/>
                    <a:pt x="479" y="412"/>
                    <a:pt x="479" y="412"/>
                  </a:cubicBezTo>
                  <a:cubicBezTo>
                    <a:pt x="479" y="412"/>
                    <a:pt x="479" y="412"/>
                    <a:pt x="479" y="412"/>
                  </a:cubicBezTo>
                  <a:cubicBezTo>
                    <a:pt x="484" y="410"/>
                    <a:pt x="484" y="410"/>
                    <a:pt x="484" y="410"/>
                  </a:cubicBezTo>
                  <a:cubicBezTo>
                    <a:pt x="485" y="409"/>
                    <a:pt x="487" y="408"/>
                    <a:pt x="488" y="408"/>
                  </a:cubicBezTo>
                  <a:cubicBezTo>
                    <a:pt x="489" y="407"/>
                    <a:pt x="491" y="406"/>
                    <a:pt x="492" y="406"/>
                  </a:cubicBezTo>
                  <a:cubicBezTo>
                    <a:pt x="512" y="398"/>
                    <a:pt x="512" y="398"/>
                    <a:pt x="512" y="398"/>
                  </a:cubicBezTo>
                  <a:cubicBezTo>
                    <a:pt x="504" y="404"/>
                    <a:pt x="504" y="404"/>
                    <a:pt x="504" y="404"/>
                  </a:cubicBezTo>
                  <a:cubicBezTo>
                    <a:pt x="504" y="405"/>
                    <a:pt x="504" y="405"/>
                    <a:pt x="504" y="405"/>
                  </a:cubicBezTo>
                  <a:cubicBezTo>
                    <a:pt x="504" y="405"/>
                    <a:pt x="504" y="406"/>
                    <a:pt x="504" y="406"/>
                  </a:cubicBezTo>
                  <a:cubicBezTo>
                    <a:pt x="504" y="407"/>
                    <a:pt x="504" y="407"/>
                    <a:pt x="504" y="407"/>
                  </a:cubicBezTo>
                  <a:cubicBezTo>
                    <a:pt x="504" y="407"/>
                    <a:pt x="504" y="407"/>
                    <a:pt x="504" y="407"/>
                  </a:cubicBezTo>
                  <a:cubicBezTo>
                    <a:pt x="504" y="407"/>
                    <a:pt x="504" y="407"/>
                    <a:pt x="504" y="407"/>
                  </a:cubicBezTo>
                  <a:cubicBezTo>
                    <a:pt x="503" y="407"/>
                    <a:pt x="503" y="407"/>
                    <a:pt x="503" y="407"/>
                  </a:cubicBezTo>
                  <a:cubicBezTo>
                    <a:pt x="503" y="407"/>
                    <a:pt x="503" y="408"/>
                    <a:pt x="503" y="408"/>
                  </a:cubicBezTo>
                  <a:cubicBezTo>
                    <a:pt x="503" y="408"/>
                    <a:pt x="503" y="408"/>
                    <a:pt x="503" y="408"/>
                  </a:cubicBezTo>
                  <a:cubicBezTo>
                    <a:pt x="503" y="408"/>
                    <a:pt x="504" y="409"/>
                    <a:pt x="504" y="409"/>
                  </a:cubicBezTo>
                  <a:cubicBezTo>
                    <a:pt x="506" y="411"/>
                    <a:pt x="506" y="411"/>
                    <a:pt x="506" y="411"/>
                  </a:cubicBezTo>
                  <a:cubicBezTo>
                    <a:pt x="512" y="415"/>
                    <a:pt x="512" y="415"/>
                    <a:pt x="512" y="415"/>
                  </a:cubicBezTo>
                  <a:cubicBezTo>
                    <a:pt x="514" y="416"/>
                    <a:pt x="515" y="418"/>
                    <a:pt x="516" y="419"/>
                  </a:cubicBezTo>
                  <a:cubicBezTo>
                    <a:pt x="521" y="425"/>
                    <a:pt x="521" y="425"/>
                    <a:pt x="521" y="425"/>
                  </a:cubicBezTo>
                  <a:cubicBezTo>
                    <a:pt x="522" y="428"/>
                    <a:pt x="522" y="428"/>
                    <a:pt x="522" y="428"/>
                  </a:cubicBezTo>
                  <a:cubicBezTo>
                    <a:pt x="525" y="432"/>
                    <a:pt x="528" y="436"/>
                    <a:pt x="530" y="440"/>
                  </a:cubicBezTo>
                  <a:cubicBezTo>
                    <a:pt x="532" y="443"/>
                    <a:pt x="534" y="447"/>
                    <a:pt x="536" y="450"/>
                  </a:cubicBezTo>
                  <a:cubicBezTo>
                    <a:pt x="537" y="451"/>
                    <a:pt x="537" y="451"/>
                    <a:pt x="537" y="451"/>
                  </a:cubicBezTo>
                  <a:cubicBezTo>
                    <a:pt x="537" y="451"/>
                    <a:pt x="537" y="450"/>
                    <a:pt x="538" y="450"/>
                  </a:cubicBezTo>
                  <a:cubicBezTo>
                    <a:pt x="538" y="450"/>
                    <a:pt x="538" y="450"/>
                    <a:pt x="538" y="450"/>
                  </a:cubicBezTo>
                  <a:cubicBezTo>
                    <a:pt x="538" y="450"/>
                    <a:pt x="539" y="450"/>
                    <a:pt x="539" y="450"/>
                  </a:cubicBezTo>
                  <a:cubicBezTo>
                    <a:pt x="540" y="450"/>
                    <a:pt x="540" y="450"/>
                    <a:pt x="540" y="450"/>
                  </a:cubicBezTo>
                  <a:cubicBezTo>
                    <a:pt x="540" y="449"/>
                    <a:pt x="540" y="449"/>
                    <a:pt x="540" y="449"/>
                  </a:cubicBezTo>
                  <a:cubicBezTo>
                    <a:pt x="540" y="449"/>
                    <a:pt x="540" y="449"/>
                    <a:pt x="540" y="449"/>
                  </a:cubicBezTo>
                  <a:cubicBezTo>
                    <a:pt x="539" y="449"/>
                    <a:pt x="539" y="449"/>
                    <a:pt x="539" y="449"/>
                  </a:cubicBezTo>
                  <a:cubicBezTo>
                    <a:pt x="539" y="449"/>
                    <a:pt x="539" y="449"/>
                    <a:pt x="539" y="448"/>
                  </a:cubicBezTo>
                  <a:cubicBezTo>
                    <a:pt x="539" y="448"/>
                    <a:pt x="539" y="448"/>
                    <a:pt x="539" y="448"/>
                  </a:cubicBezTo>
                  <a:cubicBezTo>
                    <a:pt x="539" y="448"/>
                    <a:pt x="539" y="448"/>
                    <a:pt x="539" y="448"/>
                  </a:cubicBezTo>
                  <a:cubicBezTo>
                    <a:pt x="539" y="448"/>
                    <a:pt x="539" y="448"/>
                    <a:pt x="539" y="448"/>
                  </a:cubicBezTo>
                  <a:cubicBezTo>
                    <a:pt x="539" y="447"/>
                    <a:pt x="539" y="447"/>
                    <a:pt x="539" y="447"/>
                  </a:cubicBezTo>
                  <a:cubicBezTo>
                    <a:pt x="539" y="447"/>
                    <a:pt x="539" y="447"/>
                    <a:pt x="539" y="447"/>
                  </a:cubicBezTo>
                  <a:cubicBezTo>
                    <a:pt x="540" y="446"/>
                    <a:pt x="540" y="446"/>
                    <a:pt x="540" y="446"/>
                  </a:cubicBezTo>
                  <a:cubicBezTo>
                    <a:pt x="540" y="446"/>
                    <a:pt x="541" y="446"/>
                    <a:pt x="541" y="446"/>
                  </a:cubicBezTo>
                  <a:cubicBezTo>
                    <a:pt x="541" y="446"/>
                    <a:pt x="541" y="446"/>
                    <a:pt x="541" y="446"/>
                  </a:cubicBezTo>
                  <a:cubicBezTo>
                    <a:pt x="541" y="446"/>
                    <a:pt x="541" y="446"/>
                    <a:pt x="541" y="446"/>
                  </a:cubicBezTo>
                  <a:cubicBezTo>
                    <a:pt x="541" y="446"/>
                    <a:pt x="542" y="446"/>
                    <a:pt x="542" y="446"/>
                  </a:cubicBezTo>
                  <a:cubicBezTo>
                    <a:pt x="542" y="446"/>
                    <a:pt x="542" y="446"/>
                    <a:pt x="542" y="446"/>
                  </a:cubicBezTo>
                  <a:cubicBezTo>
                    <a:pt x="542" y="445"/>
                    <a:pt x="542" y="444"/>
                    <a:pt x="544" y="445"/>
                  </a:cubicBezTo>
                  <a:cubicBezTo>
                    <a:pt x="547" y="446"/>
                    <a:pt x="547" y="446"/>
                    <a:pt x="547" y="446"/>
                  </a:cubicBezTo>
                  <a:cubicBezTo>
                    <a:pt x="549" y="446"/>
                    <a:pt x="549" y="447"/>
                    <a:pt x="549" y="448"/>
                  </a:cubicBezTo>
                  <a:cubicBezTo>
                    <a:pt x="549" y="448"/>
                    <a:pt x="549" y="448"/>
                    <a:pt x="549" y="448"/>
                  </a:cubicBezTo>
                  <a:cubicBezTo>
                    <a:pt x="549" y="449"/>
                    <a:pt x="549" y="449"/>
                    <a:pt x="549" y="449"/>
                  </a:cubicBezTo>
                  <a:cubicBezTo>
                    <a:pt x="549" y="449"/>
                    <a:pt x="548" y="449"/>
                    <a:pt x="548" y="449"/>
                  </a:cubicBezTo>
                  <a:cubicBezTo>
                    <a:pt x="548" y="449"/>
                    <a:pt x="548" y="449"/>
                    <a:pt x="548" y="449"/>
                  </a:cubicBezTo>
                  <a:cubicBezTo>
                    <a:pt x="549" y="450"/>
                    <a:pt x="549" y="450"/>
                    <a:pt x="549" y="450"/>
                  </a:cubicBezTo>
                  <a:cubicBezTo>
                    <a:pt x="549" y="450"/>
                    <a:pt x="550" y="450"/>
                    <a:pt x="550" y="451"/>
                  </a:cubicBezTo>
                  <a:cubicBezTo>
                    <a:pt x="550" y="451"/>
                    <a:pt x="550" y="451"/>
                    <a:pt x="550" y="451"/>
                  </a:cubicBezTo>
                  <a:cubicBezTo>
                    <a:pt x="550" y="451"/>
                    <a:pt x="551" y="452"/>
                    <a:pt x="551" y="452"/>
                  </a:cubicBezTo>
                  <a:cubicBezTo>
                    <a:pt x="552" y="452"/>
                    <a:pt x="552" y="452"/>
                    <a:pt x="552" y="452"/>
                  </a:cubicBezTo>
                  <a:cubicBezTo>
                    <a:pt x="552" y="452"/>
                    <a:pt x="552" y="452"/>
                    <a:pt x="552" y="452"/>
                  </a:cubicBezTo>
                  <a:cubicBezTo>
                    <a:pt x="552" y="452"/>
                    <a:pt x="552" y="452"/>
                    <a:pt x="553" y="452"/>
                  </a:cubicBezTo>
                  <a:cubicBezTo>
                    <a:pt x="553" y="452"/>
                    <a:pt x="553" y="452"/>
                    <a:pt x="553" y="452"/>
                  </a:cubicBezTo>
                  <a:cubicBezTo>
                    <a:pt x="553" y="452"/>
                    <a:pt x="553" y="452"/>
                    <a:pt x="553" y="452"/>
                  </a:cubicBezTo>
                  <a:cubicBezTo>
                    <a:pt x="554" y="452"/>
                    <a:pt x="554" y="452"/>
                    <a:pt x="554" y="452"/>
                  </a:cubicBezTo>
                  <a:cubicBezTo>
                    <a:pt x="554" y="452"/>
                    <a:pt x="555" y="452"/>
                    <a:pt x="556" y="452"/>
                  </a:cubicBezTo>
                  <a:cubicBezTo>
                    <a:pt x="561" y="452"/>
                    <a:pt x="561" y="452"/>
                    <a:pt x="561" y="452"/>
                  </a:cubicBezTo>
                  <a:cubicBezTo>
                    <a:pt x="562" y="452"/>
                    <a:pt x="562" y="452"/>
                    <a:pt x="562" y="452"/>
                  </a:cubicBezTo>
                  <a:cubicBezTo>
                    <a:pt x="562" y="452"/>
                    <a:pt x="562" y="452"/>
                    <a:pt x="562" y="452"/>
                  </a:cubicBezTo>
                  <a:cubicBezTo>
                    <a:pt x="563" y="452"/>
                    <a:pt x="563" y="452"/>
                    <a:pt x="563" y="452"/>
                  </a:cubicBezTo>
                  <a:cubicBezTo>
                    <a:pt x="563" y="452"/>
                    <a:pt x="563" y="452"/>
                    <a:pt x="563" y="452"/>
                  </a:cubicBezTo>
                  <a:cubicBezTo>
                    <a:pt x="563" y="451"/>
                    <a:pt x="563" y="451"/>
                    <a:pt x="563" y="451"/>
                  </a:cubicBezTo>
                  <a:cubicBezTo>
                    <a:pt x="563" y="451"/>
                    <a:pt x="564" y="450"/>
                    <a:pt x="564" y="450"/>
                  </a:cubicBezTo>
                  <a:cubicBezTo>
                    <a:pt x="564" y="450"/>
                    <a:pt x="564" y="450"/>
                    <a:pt x="564" y="450"/>
                  </a:cubicBezTo>
                  <a:cubicBezTo>
                    <a:pt x="568" y="449"/>
                    <a:pt x="568" y="449"/>
                    <a:pt x="568" y="449"/>
                  </a:cubicBezTo>
                  <a:cubicBezTo>
                    <a:pt x="568" y="449"/>
                    <a:pt x="568" y="449"/>
                    <a:pt x="569" y="449"/>
                  </a:cubicBezTo>
                  <a:cubicBezTo>
                    <a:pt x="569" y="449"/>
                    <a:pt x="569" y="449"/>
                    <a:pt x="569" y="449"/>
                  </a:cubicBezTo>
                  <a:cubicBezTo>
                    <a:pt x="573" y="450"/>
                    <a:pt x="573" y="450"/>
                    <a:pt x="573" y="450"/>
                  </a:cubicBezTo>
                  <a:cubicBezTo>
                    <a:pt x="574" y="450"/>
                    <a:pt x="574" y="450"/>
                    <a:pt x="575" y="450"/>
                  </a:cubicBezTo>
                  <a:cubicBezTo>
                    <a:pt x="575" y="450"/>
                    <a:pt x="576" y="450"/>
                    <a:pt x="576" y="451"/>
                  </a:cubicBezTo>
                  <a:cubicBezTo>
                    <a:pt x="576" y="451"/>
                    <a:pt x="576" y="451"/>
                    <a:pt x="576" y="451"/>
                  </a:cubicBezTo>
                  <a:cubicBezTo>
                    <a:pt x="577" y="451"/>
                    <a:pt x="577" y="451"/>
                    <a:pt x="577" y="451"/>
                  </a:cubicBezTo>
                  <a:cubicBezTo>
                    <a:pt x="578" y="452"/>
                    <a:pt x="578" y="452"/>
                    <a:pt x="578" y="452"/>
                  </a:cubicBezTo>
                  <a:cubicBezTo>
                    <a:pt x="579" y="454"/>
                    <a:pt x="579" y="454"/>
                    <a:pt x="579" y="454"/>
                  </a:cubicBezTo>
                  <a:cubicBezTo>
                    <a:pt x="579" y="455"/>
                    <a:pt x="580" y="455"/>
                    <a:pt x="580" y="456"/>
                  </a:cubicBezTo>
                  <a:cubicBezTo>
                    <a:pt x="580" y="457"/>
                    <a:pt x="580" y="457"/>
                    <a:pt x="580" y="457"/>
                  </a:cubicBezTo>
                  <a:cubicBezTo>
                    <a:pt x="580" y="457"/>
                    <a:pt x="580" y="457"/>
                    <a:pt x="580" y="458"/>
                  </a:cubicBezTo>
                  <a:cubicBezTo>
                    <a:pt x="580" y="458"/>
                    <a:pt x="580" y="458"/>
                    <a:pt x="580" y="458"/>
                  </a:cubicBezTo>
                  <a:cubicBezTo>
                    <a:pt x="580" y="458"/>
                    <a:pt x="581" y="458"/>
                    <a:pt x="581" y="458"/>
                  </a:cubicBezTo>
                  <a:cubicBezTo>
                    <a:pt x="581" y="458"/>
                    <a:pt x="581" y="458"/>
                    <a:pt x="581" y="458"/>
                  </a:cubicBezTo>
                  <a:cubicBezTo>
                    <a:pt x="582" y="459"/>
                    <a:pt x="582" y="459"/>
                    <a:pt x="582" y="459"/>
                  </a:cubicBezTo>
                  <a:cubicBezTo>
                    <a:pt x="582" y="459"/>
                    <a:pt x="582" y="459"/>
                    <a:pt x="582" y="459"/>
                  </a:cubicBezTo>
                  <a:cubicBezTo>
                    <a:pt x="589" y="462"/>
                    <a:pt x="589" y="462"/>
                    <a:pt x="589" y="462"/>
                  </a:cubicBezTo>
                  <a:cubicBezTo>
                    <a:pt x="589" y="463"/>
                    <a:pt x="589" y="463"/>
                    <a:pt x="589" y="463"/>
                  </a:cubicBezTo>
                  <a:cubicBezTo>
                    <a:pt x="589" y="463"/>
                    <a:pt x="589" y="463"/>
                    <a:pt x="589" y="463"/>
                  </a:cubicBezTo>
                  <a:cubicBezTo>
                    <a:pt x="591" y="463"/>
                    <a:pt x="591" y="463"/>
                    <a:pt x="591" y="463"/>
                  </a:cubicBezTo>
                  <a:cubicBezTo>
                    <a:pt x="589" y="464"/>
                    <a:pt x="589" y="464"/>
                    <a:pt x="589" y="464"/>
                  </a:cubicBezTo>
                  <a:cubicBezTo>
                    <a:pt x="589" y="464"/>
                    <a:pt x="589" y="464"/>
                    <a:pt x="589" y="464"/>
                  </a:cubicBezTo>
                  <a:cubicBezTo>
                    <a:pt x="589" y="464"/>
                    <a:pt x="589" y="464"/>
                    <a:pt x="589" y="464"/>
                  </a:cubicBezTo>
                  <a:cubicBezTo>
                    <a:pt x="589" y="464"/>
                    <a:pt x="589" y="464"/>
                    <a:pt x="589" y="464"/>
                  </a:cubicBezTo>
                  <a:cubicBezTo>
                    <a:pt x="589" y="465"/>
                    <a:pt x="589" y="465"/>
                    <a:pt x="589" y="465"/>
                  </a:cubicBezTo>
                  <a:cubicBezTo>
                    <a:pt x="589" y="465"/>
                    <a:pt x="589" y="465"/>
                    <a:pt x="589" y="465"/>
                  </a:cubicBezTo>
                  <a:cubicBezTo>
                    <a:pt x="590" y="465"/>
                    <a:pt x="590" y="465"/>
                    <a:pt x="590" y="465"/>
                  </a:cubicBezTo>
                  <a:cubicBezTo>
                    <a:pt x="590" y="466"/>
                    <a:pt x="590" y="466"/>
                    <a:pt x="590" y="466"/>
                  </a:cubicBezTo>
                  <a:cubicBezTo>
                    <a:pt x="590" y="466"/>
                    <a:pt x="590" y="466"/>
                    <a:pt x="590" y="466"/>
                  </a:cubicBezTo>
                  <a:cubicBezTo>
                    <a:pt x="590" y="466"/>
                    <a:pt x="590" y="466"/>
                    <a:pt x="590" y="467"/>
                  </a:cubicBezTo>
                  <a:cubicBezTo>
                    <a:pt x="591" y="467"/>
                    <a:pt x="591" y="467"/>
                    <a:pt x="591" y="467"/>
                  </a:cubicBezTo>
                  <a:cubicBezTo>
                    <a:pt x="591" y="467"/>
                    <a:pt x="591" y="467"/>
                    <a:pt x="591" y="467"/>
                  </a:cubicBezTo>
                  <a:cubicBezTo>
                    <a:pt x="592" y="467"/>
                    <a:pt x="592" y="467"/>
                    <a:pt x="592" y="467"/>
                  </a:cubicBezTo>
                  <a:cubicBezTo>
                    <a:pt x="591" y="468"/>
                    <a:pt x="591" y="468"/>
                    <a:pt x="591" y="468"/>
                  </a:cubicBezTo>
                  <a:cubicBezTo>
                    <a:pt x="596" y="468"/>
                    <a:pt x="596" y="468"/>
                    <a:pt x="596" y="468"/>
                  </a:cubicBezTo>
                  <a:cubicBezTo>
                    <a:pt x="596" y="468"/>
                    <a:pt x="596" y="468"/>
                    <a:pt x="596" y="468"/>
                  </a:cubicBezTo>
                  <a:cubicBezTo>
                    <a:pt x="599" y="468"/>
                    <a:pt x="599" y="468"/>
                    <a:pt x="599" y="468"/>
                  </a:cubicBezTo>
                  <a:cubicBezTo>
                    <a:pt x="598" y="469"/>
                    <a:pt x="598" y="469"/>
                    <a:pt x="598" y="469"/>
                  </a:cubicBezTo>
                  <a:cubicBezTo>
                    <a:pt x="599" y="469"/>
                    <a:pt x="599" y="469"/>
                    <a:pt x="599" y="469"/>
                  </a:cubicBezTo>
                  <a:cubicBezTo>
                    <a:pt x="600" y="468"/>
                    <a:pt x="600" y="468"/>
                    <a:pt x="600" y="468"/>
                  </a:cubicBezTo>
                  <a:cubicBezTo>
                    <a:pt x="601" y="467"/>
                    <a:pt x="601" y="467"/>
                    <a:pt x="602" y="466"/>
                  </a:cubicBezTo>
                  <a:cubicBezTo>
                    <a:pt x="605" y="463"/>
                    <a:pt x="605" y="463"/>
                    <a:pt x="605" y="463"/>
                  </a:cubicBezTo>
                  <a:cubicBezTo>
                    <a:pt x="605" y="466"/>
                    <a:pt x="605" y="466"/>
                    <a:pt x="605" y="466"/>
                  </a:cubicBezTo>
                  <a:cubicBezTo>
                    <a:pt x="605" y="466"/>
                    <a:pt x="605" y="467"/>
                    <a:pt x="605" y="467"/>
                  </a:cubicBezTo>
                  <a:cubicBezTo>
                    <a:pt x="605" y="467"/>
                    <a:pt x="605" y="468"/>
                    <a:pt x="605" y="468"/>
                  </a:cubicBezTo>
                  <a:cubicBezTo>
                    <a:pt x="605" y="468"/>
                    <a:pt x="605" y="468"/>
                    <a:pt x="605" y="468"/>
                  </a:cubicBezTo>
                  <a:cubicBezTo>
                    <a:pt x="605" y="469"/>
                    <a:pt x="605" y="469"/>
                    <a:pt x="605" y="469"/>
                  </a:cubicBezTo>
                  <a:cubicBezTo>
                    <a:pt x="607" y="470"/>
                    <a:pt x="609" y="472"/>
                    <a:pt x="610" y="473"/>
                  </a:cubicBezTo>
                  <a:cubicBezTo>
                    <a:pt x="611" y="474"/>
                    <a:pt x="611" y="474"/>
                    <a:pt x="611" y="474"/>
                  </a:cubicBezTo>
                  <a:cubicBezTo>
                    <a:pt x="612" y="474"/>
                    <a:pt x="613" y="474"/>
                    <a:pt x="613" y="474"/>
                  </a:cubicBezTo>
                  <a:cubicBezTo>
                    <a:pt x="613" y="473"/>
                    <a:pt x="614" y="473"/>
                    <a:pt x="614" y="473"/>
                  </a:cubicBezTo>
                  <a:cubicBezTo>
                    <a:pt x="614" y="473"/>
                    <a:pt x="614" y="473"/>
                    <a:pt x="614" y="473"/>
                  </a:cubicBezTo>
                  <a:cubicBezTo>
                    <a:pt x="616" y="473"/>
                    <a:pt x="616" y="473"/>
                    <a:pt x="616" y="473"/>
                  </a:cubicBezTo>
                  <a:cubicBezTo>
                    <a:pt x="618" y="472"/>
                    <a:pt x="618" y="472"/>
                    <a:pt x="618" y="472"/>
                  </a:cubicBezTo>
                  <a:cubicBezTo>
                    <a:pt x="619" y="472"/>
                    <a:pt x="619" y="472"/>
                    <a:pt x="619" y="471"/>
                  </a:cubicBezTo>
                  <a:cubicBezTo>
                    <a:pt x="619" y="470"/>
                    <a:pt x="619" y="470"/>
                    <a:pt x="619" y="470"/>
                  </a:cubicBezTo>
                  <a:cubicBezTo>
                    <a:pt x="619" y="470"/>
                    <a:pt x="619" y="470"/>
                    <a:pt x="619" y="469"/>
                  </a:cubicBezTo>
                  <a:cubicBezTo>
                    <a:pt x="620" y="469"/>
                    <a:pt x="620" y="469"/>
                    <a:pt x="620" y="469"/>
                  </a:cubicBezTo>
                  <a:cubicBezTo>
                    <a:pt x="620" y="469"/>
                    <a:pt x="620" y="469"/>
                    <a:pt x="620" y="469"/>
                  </a:cubicBezTo>
                  <a:cubicBezTo>
                    <a:pt x="620" y="469"/>
                    <a:pt x="620" y="469"/>
                    <a:pt x="620" y="469"/>
                  </a:cubicBezTo>
                  <a:cubicBezTo>
                    <a:pt x="620" y="469"/>
                    <a:pt x="620" y="469"/>
                    <a:pt x="620" y="469"/>
                  </a:cubicBezTo>
                  <a:cubicBezTo>
                    <a:pt x="620" y="469"/>
                    <a:pt x="620" y="469"/>
                    <a:pt x="621" y="469"/>
                  </a:cubicBezTo>
                  <a:cubicBezTo>
                    <a:pt x="621" y="469"/>
                    <a:pt x="621" y="469"/>
                    <a:pt x="621" y="469"/>
                  </a:cubicBezTo>
                  <a:cubicBezTo>
                    <a:pt x="621" y="469"/>
                    <a:pt x="621" y="469"/>
                    <a:pt x="621" y="469"/>
                  </a:cubicBezTo>
                  <a:cubicBezTo>
                    <a:pt x="621" y="469"/>
                    <a:pt x="621" y="469"/>
                    <a:pt x="621" y="469"/>
                  </a:cubicBezTo>
                  <a:cubicBezTo>
                    <a:pt x="622" y="469"/>
                    <a:pt x="622" y="469"/>
                    <a:pt x="622" y="469"/>
                  </a:cubicBezTo>
                  <a:cubicBezTo>
                    <a:pt x="622" y="469"/>
                    <a:pt x="622" y="469"/>
                    <a:pt x="622" y="469"/>
                  </a:cubicBezTo>
                  <a:cubicBezTo>
                    <a:pt x="622" y="469"/>
                    <a:pt x="622" y="469"/>
                    <a:pt x="623" y="469"/>
                  </a:cubicBezTo>
                  <a:cubicBezTo>
                    <a:pt x="623" y="469"/>
                    <a:pt x="623" y="469"/>
                    <a:pt x="624" y="469"/>
                  </a:cubicBezTo>
                  <a:cubicBezTo>
                    <a:pt x="624" y="469"/>
                    <a:pt x="625" y="469"/>
                    <a:pt x="625" y="469"/>
                  </a:cubicBezTo>
                  <a:cubicBezTo>
                    <a:pt x="627" y="468"/>
                    <a:pt x="627" y="468"/>
                    <a:pt x="627" y="468"/>
                  </a:cubicBezTo>
                  <a:cubicBezTo>
                    <a:pt x="630" y="468"/>
                    <a:pt x="631" y="468"/>
                    <a:pt x="633" y="466"/>
                  </a:cubicBezTo>
                  <a:cubicBezTo>
                    <a:pt x="634" y="467"/>
                    <a:pt x="634" y="467"/>
                    <a:pt x="634" y="467"/>
                  </a:cubicBezTo>
                  <a:cubicBezTo>
                    <a:pt x="634" y="467"/>
                    <a:pt x="634" y="467"/>
                    <a:pt x="634" y="467"/>
                  </a:cubicBezTo>
                  <a:cubicBezTo>
                    <a:pt x="634" y="466"/>
                    <a:pt x="634" y="466"/>
                    <a:pt x="634" y="466"/>
                  </a:cubicBezTo>
                  <a:cubicBezTo>
                    <a:pt x="634" y="466"/>
                    <a:pt x="634" y="466"/>
                    <a:pt x="634" y="466"/>
                  </a:cubicBezTo>
                  <a:cubicBezTo>
                    <a:pt x="634" y="466"/>
                    <a:pt x="634" y="466"/>
                    <a:pt x="634" y="466"/>
                  </a:cubicBezTo>
                  <a:cubicBezTo>
                    <a:pt x="633" y="465"/>
                    <a:pt x="633" y="465"/>
                    <a:pt x="633" y="465"/>
                  </a:cubicBezTo>
                  <a:cubicBezTo>
                    <a:pt x="632" y="461"/>
                    <a:pt x="632" y="461"/>
                    <a:pt x="632" y="461"/>
                  </a:cubicBezTo>
                  <a:cubicBezTo>
                    <a:pt x="635" y="463"/>
                    <a:pt x="635" y="463"/>
                    <a:pt x="635" y="463"/>
                  </a:cubicBezTo>
                  <a:cubicBezTo>
                    <a:pt x="636" y="463"/>
                    <a:pt x="636" y="463"/>
                    <a:pt x="637" y="463"/>
                  </a:cubicBezTo>
                  <a:cubicBezTo>
                    <a:pt x="637" y="462"/>
                    <a:pt x="637" y="462"/>
                    <a:pt x="638" y="462"/>
                  </a:cubicBezTo>
                  <a:cubicBezTo>
                    <a:pt x="638" y="462"/>
                    <a:pt x="638" y="462"/>
                    <a:pt x="638" y="462"/>
                  </a:cubicBezTo>
                  <a:cubicBezTo>
                    <a:pt x="639" y="462"/>
                    <a:pt x="639" y="462"/>
                    <a:pt x="639" y="462"/>
                  </a:cubicBezTo>
                  <a:cubicBezTo>
                    <a:pt x="638" y="462"/>
                    <a:pt x="638" y="462"/>
                    <a:pt x="638" y="462"/>
                  </a:cubicBezTo>
                  <a:cubicBezTo>
                    <a:pt x="639" y="461"/>
                    <a:pt x="639" y="461"/>
                    <a:pt x="639" y="461"/>
                  </a:cubicBezTo>
                  <a:cubicBezTo>
                    <a:pt x="639" y="461"/>
                    <a:pt x="639" y="461"/>
                    <a:pt x="639" y="461"/>
                  </a:cubicBezTo>
                  <a:cubicBezTo>
                    <a:pt x="640" y="461"/>
                    <a:pt x="640" y="461"/>
                    <a:pt x="640" y="461"/>
                  </a:cubicBezTo>
                  <a:cubicBezTo>
                    <a:pt x="640" y="461"/>
                    <a:pt x="641" y="460"/>
                    <a:pt x="641" y="460"/>
                  </a:cubicBezTo>
                  <a:cubicBezTo>
                    <a:pt x="643" y="459"/>
                    <a:pt x="645" y="458"/>
                    <a:pt x="647" y="457"/>
                  </a:cubicBezTo>
                  <a:cubicBezTo>
                    <a:pt x="650" y="456"/>
                    <a:pt x="650" y="456"/>
                    <a:pt x="650" y="456"/>
                  </a:cubicBezTo>
                  <a:cubicBezTo>
                    <a:pt x="651" y="455"/>
                    <a:pt x="652" y="455"/>
                    <a:pt x="653" y="454"/>
                  </a:cubicBezTo>
                  <a:cubicBezTo>
                    <a:pt x="655" y="453"/>
                    <a:pt x="655" y="453"/>
                    <a:pt x="655" y="453"/>
                  </a:cubicBezTo>
                  <a:cubicBezTo>
                    <a:pt x="656" y="453"/>
                    <a:pt x="657" y="453"/>
                    <a:pt x="658" y="453"/>
                  </a:cubicBezTo>
                  <a:cubicBezTo>
                    <a:pt x="658" y="453"/>
                    <a:pt x="658" y="453"/>
                    <a:pt x="658" y="453"/>
                  </a:cubicBezTo>
                  <a:cubicBezTo>
                    <a:pt x="659" y="453"/>
                    <a:pt x="659" y="453"/>
                    <a:pt x="660" y="453"/>
                  </a:cubicBezTo>
                  <a:cubicBezTo>
                    <a:pt x="660" y="453"/>
                    <a:pt x="660" y="453"/>
                    <a:pt x="660" y="453"/>
                  </a:cubicBezTo>
                  <a:cubicBezTo>
                    <a:pt x="660" y="453"/>
                    <a:pt x="661" y="452"/>
                    <a:pt x="661" y="452"/>
                  </a:cubicBezTo>
                  <a:cubicBezTo>
                    <a:pt x="661" y="452"/>
                    <a:pt x="661" y="451"/>
                    <a:pt x="661" y="451"/>
                  </a:cubicBezTo>
                  <a:cubicBezTo>
                    <a:pt x="662" y="451"/>
                    <a:pt x="662" y="450"/>
                    <a:pt x="663" y="450"/>
                  </a:cubicBezTo>
                  <a:cubicBezTo>
                    <a:pt x="663" y="450"/>
                    <a:pt x="664" y="450"/>
                    <a:pt x="664" y="451"/>
                  </a:cubicBezTo>
                  <a:cubicBezTo>
                    <a:pt x="664" y="451"/>
                    <a:pt x="664" y="451"/>
                    <a:pt x="664" y="451"/>
                  </a:cubicBezTo>
                  <a:cubicBezTo>
                    <a:pt x="664" y="451"/>
                    <a:pt x="665" y="451"/>
                    <a:pt x="665" y="451"/>
                  </a:cubicBezTo>
                  <a:cubicBezTo>
                    <a:pt x="665" y="451"/>
                    <a:pt x="665" y="451"/>
                    <a:pt x="665" y="451"/>
                  </a:cubicBezTo>
                  <a:cubicBezTo>
                    <a:pt x="666" y="451"/>
                    <a:pt x="666" y="451"/>
                    <a:pt x="667" y="451"/>
                  </a:cubicBezTo>
                  <a:cubicBezTo>
                    <a:pt x="667" y="451"/>
                    <a:pt x="667" y="451"/>
                    <a:pt x="667" y="451"/>
                  </a:cubicBezTo>
                  <a:cubicBezTo>
                    <a:pt x="667" y="451"/>
                    <a:pt x="667" y="451"/>
                    <a:pt x="668" y="451"/>
                  </a:cubicBezTo>
                  <a:cubicBezTo>
                    <a:pt x="668" y="451"/>
                    <a:pt x="668" y="451"/>
                    <a:pt x="668" y="451"/>
                  </a:cubicBezTo>
                  <a:cubicBezTo>
                    <a:pt x="669" y="451"/>
                    <a:pt x="669" y="452"/>
                    <a:pt x="669" y="452"/>
                  </a:cubicBezTo>
                  <a:cubicBezTo>
                    <a:pt x="670" y="452"/>
                    <a:pt x="670" y="452"/>
                    <a:pt x="670" y="452"/>
                  </a:cubicBezTo>
                  <a:cubicBezTo>
                    <a:pt x="671" y="453"/>
                    <a:pt x="671" y="453"/>
                    <a:pt x="671" y="453"/>
                  </a:cubicBezTo>
                  <a:cubicBezTo>
                    <a:pt x="672" y="453"/>
                    <a:pt x="672" y="453"/>
                    <a:pt x="672" y="453"/>
                  </a:cubicBezTo>
                  <a:cubicBezTo>
                    <a:pt x="672" y="453"/>
                    <a:pt x="672" y="453"/>
                    <a:pt x="672" y="453"/>
                  </a:cubicBezTo>
                  <a:cubicBezTo>
                    <a:pt x="673" y="453"/>
                    <a:pt x="673" y="453"/>
                    <a:pt x="673" y="453"/>
                  </a:cubicBezTo>
                  <a:cubicBezTo>
                    <a:pt x="674" y="454"/>
                    <a:pt x="675" y="454"/>
                    <a:pt x="676" y="454"/>
                  </a:cubicBezTo>
                  <a:cubicBezTo>
                    <a:pt x="681" y="454"/>
                    <a:pt x="681" y="454"/>
                    <a:pt x="681" y="454"/>
                  </a:cubicBezTo>
                  <a:cubicBezTo>
                    <a:pt x="681" y="454"/>
                    <a:pt x="682" y="454"/>
                    <a:pt x="682" y="455"/>
                  </a:cubicBezTo>
                  <a:cubicBezTo>
                    <a:pt x="683" y="455"/>
                    <a:pt x="683" y="455"/>
                    <a:pt x="683" y="456"/>
                  </a:cubicBezTo>
                  <a:cubicBezTo>
                    <a:pt x="684" y="456"/>
                    <a:pt x="684" y="457"/>
                    <a:pt x="684" y="458"/>
                  </a:cubicBezTo>
                  <a:cubicBezTo>
                    <a:pt x="685" y="459"/>
                    <a:pt x="685" y="459"/>
                    <a:pt x="685" y="459"/>
                  </a:cubicBezTo>
                  <a:cubicBezTo>
                    <a:pt x="685" y="459"/>
                    <a:pt x="685" y="460"/>
                    <a:pt x="685" y="460"/>
                  </a:cubicBezTo>
                  <a:cubicBezTo>
                    <a:pt x="685" y="461"/>
                    <a:pt x="685" y="461"/>
                    <a:pt x="685" y="461"/>
                  </a:cubicBezTo>
                  <a:cubicBezTo>
                    <a:pt x="686" y="462"/>
                    <a:pt x="686" y="462"/>
                    <a:pt x="687" y="462"/>
                  </a:cubicBezTo>
                  <a:cubicBezTo>
                    <a:pt x="693" y="463"/>
                    <a:pt x="693" y="463"/>
                    <a:pt x="693" y="463"/>
                  </a:cubicBezTo>
                  <a:cubicBezTo>
                    <a:pt x="693" y="463"/>
                    <a:pt x="694" y="463"/>
                    <a:pt x="694" y="463"/>
                  </a:cubicBezTo>
                  <a:cubicBezTo>
                    <a:pt x="694" y="463"/>
                    <a:pt x="694" y="463"/>
                    <a:pt x="694" y="463"/>
                  </a:cubicBezTo>
                  <a:cubicBezTo>
                    <a:pt x="695" y="463"/>
                    <a:pt x="695" y="463"/>
                    <a:pt x="695" y="463"/>
                  </a:cubicBezTo>
                  <a:cubicBezTo>
                    <a:pt x="695" y="463"/>
                    <a:pt x="695" y="463"/>
                    <a:pt x="695" y="463"/>
                  </a:cubicBezTo>
                  <a:cubicBezTo>
                    <a:pt x="695" y="463"/>
                    <a:pt x="695" y="463"/>
                    <a:pt x="695" y="463"/>
                  </a:cubicBezTo>
                  <a:cubicBezTo>
                    <a:pt x="696" y="462"/>
                    <a:pt x="697" y="462"/>
                    <a:pt x="698" y="462"/>
                  </a:cubicBezTo>
                  <a:cubicBezTo>
                    <a:pt x="699" y="462"/>
                    <a:pt x="699" y="462"/>
                    <a:pt x="699" y="462"/>
                  </a:cubicBezTo>
                  <a:cubicBezTo>
                    <a:pt x="699" y="462"/>
                    <a:pt x="699" y="462"/>
                    <a:pt x="699" y="462"/>
                  </a:cubicBezTo>
                  <a:cubicBezTo>
                    <a:pt x="699" y="462"/>
                    <a:pt x="699" y="462"/>
                    <a:pt x="700" y="462"/>
                  </a:cubicBezTo>
                  <a:cubicBezTo>
                    <a:pt x="700" y="462"/>
                    <a:pt x="700" y="462"/>
                    <a:pt x="701" y="462"/>
                  </a:cubicBezTo>
                  <a:cubicBezTo>
                    <a:pt x="702" y="462"/>
                    <a:pt x="702" y="462"/>
                    <a:pt x="703" y="463"/>
                  </a:cubicBezTo>
                  <a:cubicBezTo>
                    <a:pt x="703" y="463"/>
                    <a:pt x="703" y="463"/>
                    <a:pt x="703" y="463"/>
                  </a:cubicBezTo>
                  <a:cubicBezTo>
                    <a:pt x="704" y="463"/>
                    <a:pt x="704" y="463"/>
                    <a:pt x="705" y="463"/>
                  </a:cubicBezTo>
                  <a:cubicBezTo>
                    <a:pt x="705" y="463"/>
                    <a:pt x="705" y="463"/>
                    <a:pt x="706" y="463"/>
                  </a:cubicBezTo>
                  <a:cubicBezTo>
                    <a:pt x="707" y="464"/>
                    <a:pt x="707" y="464"/>
                    <a:pt x="707" y="464"/>
                  </a:cubicBezTo>
                  <a:cubicBezTo>
                    <a:pt x="708" y="464"/>
                    <a:pt x="709" y="464"/>
                    <a:pt x="710" y="464"/>
                  </a:cubicBezTo>
                  <a:cubicBezTo>
                    <a:pt x="710" y="464"/>
                    <a:pt x="711" y="465"/>
                    <a:pt x="711" y="465"/>
                  </a:cubicBezTo>
                  <a:cubicBezTo>
                    <a:pt x="711" y="465"/>
                    <a:pt x="711" y="465"/>
                    <a:pt x="711" y="465"/>
                  </a:cubicBezTo>
                  <a:cubicBezTo>
                    <a:pt x="712" y="465"/>
                    <a:pt x="713" y="465"/>
                    <a:pt x="713" y="465"/>
                  </a:cubicBezTo>
                  <a:cubicBezTo>
                    <a:pt x="714" y="465"/>
                    <a:pt x="714" y="465"/>
                    <a:pt x="714" y="464"/>
                  </a:cubicBezTo>
                  <a:cubicBezTo>
                    <a:pt x="714" y="464"/>
                    <a:pt x="715" y="464"/>
                    <a:pt x="715" y="464"/>
                  </a:cubicBezTo>
                  <a:cubicBezTo>
                    <a:pt x="715" y="464"/>
                    <a:pt x="715" y="463"/>
                    <a:pt x="715" y="463"/>
                  </a:cubicBezTo>
                  <a:cubicBezTo>
                    <a:pt x="715" y="463"/>
                    <a:pt x="716" y="463"/>
                    <a:pt x="716" y="463"/>
                  </a:cubicBezTo>
                  <a:cubicBezTo>
                    <a:pt x="716" y="463"/>
                    <a:pt x="716" y="463"/>
                    <a:pt x="716" y="463"/>
                  </a:cubicBezTo>
                  <a:cubicBezTo>
                    <a:pt x="716" y="463"/>
                    <a:pt x="716" y="463"/>
                    <a:pt x="716" y="463"/>
                  </a:cubicBezTo>
                  <a:cubicBezTo>
                    <a:pt x="717" y="463"/>
                    <a:pt x="717" y="463"/>
                    <a:pt x="717" y="463"/>
                  </a:cubicBezTo>
                  <a:cubicBezTo>
                    <a:pt x="717" y="462"/>
                    <a:pt x="718" y="462"/>
                    <a:pt x="718" y="462"/>
                  </a:cubicBezTo>
                  <a:cubicBezTo>
                    <a:pt x="719" y="462"/>
                    <a:pt x="720" y="462"/>
                    <a:pt x="720" y="461"/>
                  </a:cubicBezTo>
                  <a:cubicBezTo>
                    <a:pt x="721" y="459"/>
                    <a:pt x="721" y="459"/>
                    <a:pt x="721" y="459"/>
                  </a:cubicBezTo>
                  <a:cubicBezTo>
                    <a:pt x="721" y="459"/>
                    <a:pt x="721" y="458"/>
                    <a:pt x="721" y="458"/>
                  </a:cubicBezTo>
                  <a:cubicBezTo>
                    <a:pt x="722" y="457"/>
                    <a:pt x="722" y="457"/>
                    <a:pt x="722" y="457"/>
                  </a:cubicBezTo>
                  <a:cubicBezTo>
                    <a:pt x="722" y="457"/>
                    <a:pt x="722" y="457"/>
                    <a:pt x="722" y="457"/>
                  </a:cubicBezTo>
                  <a:cubicBezTo>
                    <a:pt x="722" y="457"/>
                    <a:pt x="722" y="457"/>
                    <a:pt x="722" y="457"/>
                  </a:cubicBezTo>
                  <a:cubicBezTo>
                    <a:pt x="721" y="457"/>
                    <a:pt x="721" y="456"/>
                    <a:pt x="720" y="456"/>
                  </a:cubicBezTo>
                  <a:cubicBezTo>
                    <a:pt x="719" y="455"/>
                    <a:pt x="719" y="454"/>
                    <a:pt x="718" y="453"/>
                  </a:cubicBezTo>
                  <a:cubicBezTo>
                    <a:pt x="718" y="452"/>
                    <a:pt x="718" y="451"/>
                    <a:pt x="718" y="449"/>
                  </a:cubicBezTo>
                  <a:cubicBezTo>
                    <a:pt x="718" y="449"/>
                    <a:pt x="718" y="449"/>
                    <a:pt x="718" y="449"/>
                  </a:cubicBezTo>
                  <a:cubicBezTo>
                    <a:pt x="718" y="449"/>
                    <a:pt x="718" y="448"/>
                    <a:pt x="718" y="448"/>
                  </a:cubicBezTo>
                  <a:cubicBezTo>
                    <a:pt x="718" y="448"/>
                    <a:pt x="718" y="447"/>
                    <a:pt x="718" y="447"/>
                  </a:cubicBezTo>
                  <a:cubicBezTo>
                    <a:pt x="718" y="447"/>
                    <a:pt x="718" y="447"/>
                    <a:pt x="718" y="446"/>
                  </a:cubicBezTo>
                  <a:cubicBezTo>
                    <a:pt x="718" y="446"/>
                    <a:pt x="718" y="446"/>
                    <a:pt x="718" y="446"/>
                  </a:cubicBezTo>
                  <a:cubicBezTo>
                    <a:pt x="718" y="445"/>
                    <a:pt x="719" y="444"/>
                    <a:pt x="719" y="443"/>
                  </a:cubicBezTo>
                  <a:cubicBezTo>
                    <a:pt x="719" y="443"/>
                    <a:pt x="720" y="443"/>
                    <a:pt x="720" y="443"/>
                  </a:cubicBezTo>
                  <a:cubicBezTo>
                    <a:pt x="720" y="442"/>
                    <a:pt x="721" y="442"/>
                    <a:pt x="721" y="442"/>
                  </a:cubicBezTo>
                  <a:cubicBezTo>
                    <a:pt x="721" y="442"/>
                    <a:pt x="721" y="442"/>
                    <a:pt x="721" y="442"/>
                  </a:cubicBezTo>
                  <a:cubicBezTo>
                    <a:pt x="721" y="442"/>
                    <a:pt x="721" y="442"/>
                    <a:pt x="721" y="442"/>
                  </a:cubicBezTo>
                  <a:cubicBezTo>
                    <a:pt x="721" y="442"/>
                    <a:pt x="722" y="441"/>
                    <a:pt x="722" y="440"/>
                  </a:cubicBezTo>
                  <a:cubicBezTo>
                    <a:pt x="722" y="440"/>
                    <a:pt x="722" y="440"/>
                    <a:pt x="722" y="440"/>
                  </a:cubicBezTo>
                  <a:cubicBezTo>
                    <a:pt x="722" y="440"/>
                    <a:pt x="722" y="440"/>
                    <a:pt x="722" y="439"/>
                  </a:cubicBezTo>
                  <a:cubicBezTo>
                    <a:pt x="722" y="439"/>
                    <a:pt x="722" y="439"/>
                    <a:pt x="722" y="439"/>
                  </a:cubicBezTo>
                  <a:cubicBezTo>
                    <a:pt x="723" y="439"/>
                    <a:pt x="723" y="439"/>
                    <a:pt x="723" y="439"/>
                  </a:cubicBezTo>
                  <a:cubicBezTo>
                    <a:pt x="723" y="439"/>
                    <a:pt x="723" y="439"/>
                    <a:pt x="723" y="438"/>
                  </a:cubicBezTo>
                  <a:cubicBezTo>
                    <a:pt x="724" y="438"/>
                    <a:pt x="724" y="438"/>
                    <a:pt x="724" y="438"/>
                  </a:cubicBezTo>
                  <a:cubicBezTo>
                    <a:pt x="724" y="437"/>
                    <a:pt x="725" y="437"/>
                    <a:pt x="726" y="436"/>
                  </a:cubicBezTo>
                  <a:cubicBezTo>
                    <a:pt x="729" y="433"/>
                    <a:pt x="729" y="433"/>
                    <a:pt x="729" y="433"/>
                  </a:cubicBezTo>
                  <a:cubicBezTo>
                    <a:pt x="731" y="434"/>
                    <a:pt x="731" y="434"/>
                    <a:pt x="731" y="434"/>
                  </a:cubicBezTo>
                  <a:cubicBezTo>
                    <a:pt x="732" y="432"/>
                    <a:pt x="732" y="432"/>
                    <a:pt x="732" y="432"/>
                  </a:cubicBezTo>
                  <a:cubicBezTo>
                    <a:pt x="731" y="434"/>
                    <a:pt x="731" y="434"/>
                    <a:pt x="731" y="434"/>
                  </a:cubicBezTo>
                  <a:cubicBezTo>
                    <a:pt x="737" y="437"/>
                    <a:pt x="737" y="437"/>
                    <a:pt x="737" y="437"/>
                  </a:cubicBezTo>
                  <a:cubicBezTo>
                    <a:pt x="740" y="438"/>
                    <a:pt x="742" y="438"/>
                    <a:pt x="745" y="439"/>
                  </a:cubicBezTo>
                  <a:cubicBezTo>
                    <a:pt x="745" y="439"/>
                    <a:pt x="745" y="439"/>
                    <a:pt x="745" y="439"/>
                  </a:cubicBezTo>
                  <a:cubicBezTo>
                    <a:pt x="745" y="439"/>
                    <a:pt x="745" y="439"/>
                    <a:pt x="745" y="439"/>
                  </a:cubicBezTo>
                  <a:cubicBezTo>
                    <a:pt x="746" y="439"/>
                    <a:pt x="746" y="439"/>
                    <a:pt x="746" y="439"/>
                  </a:cubicBezTo>
                  <a:cubicBezTo>
                    <a:pt x="746" y="439"/>
                    <a:pt x="747" y="439"/>
                    <a:pt x="747" y="439"/>
                  </a:cubicBezTo>
                  <a:cubicBezTo>
                    <a:pt x="748" y="439"/>
                    <a:pt x="750" y="440"/>
                    <a:pt x="751" y="441"/>
                  </a:cubicBezTo>
                  <a:cubicBezTo>
                    <a:pt x="752" y="441"/>
                    <a:pt x="753" y="441"/>
                    <a:pt x="754" y="442"/>
                  </a:cubicBezTo>
                  <a:cubicBezTo>
                    <a:pt x="760" y="443"/>
                    <a:pt x="760" y="443"/>
                    <a:pt x="760" y="443"/>
                  </a:cubicBezTo>
                  <a:cubicBezTo>
                    <a:pt x="760" y="443"/>
                    <a:pt x="760" y="443"/>
                    <a:pt x="760" y="443"/>
                  </a:cubicBezTo>
                  <a:cubicBezTo>
                    <a:pt x="763" y="444"/>
                    <a:pt x="764" y="444"/>
                    <a:pt x="764" y="445"/>
                  </a:cubicBezTo>
                  <a:cubicBezTo>
                    <a:pt x="764" y="445"/>
                    <a:pt x="764" y="445"/>
                    <a:pt x="764" y="445"/>
                  </a:cubicBezTo>
                  <a:cubicBezTo>
                    <a:pt x="764" y="446"/>
                    <a:pt x="764" y="447"/>
                    <a:pt x="764" y="447"/>
                  </a:cubicBezTo>
                  <a:cubicBezTo>
                    <a:pt x="764" y="447"/>
                    <a:pt x="764" y="447"/>
                    <a:pt x="764" y="447"/>
                  </a:cubicBezTo>
                  <a:cubicBezTo>
                    <a:pt x="764" y="447"/>
                    <a:pt x="764" y="448"/>
                    <a:pt x="764" y="448"/>
                  </a:cubicBezTo>
                  <a:cubicBezTo>
                    <a:pt x="764" y="449"/>
                    <a:pt x="764" y="450"/>
                    <a:pt x="764" y="450"/>
                  </a:cubicBezTo>
                  <a:cubicBezTo>
                    <a:pt x="764" y="450"/>
                    <a:pt x="764" y="451"/>
                    <a:pt x="764" y="451"/>
                  </a:cubicBezTo>
                  <a:cubicBezTo>
                    <a:pt x="764" y="452"/>
                    <a:pt x="764" y="452"/>
                    <a:pt x="764" y="452"/>
                  </a:cubicBezTo>
                  <a:cubicBezTo>
                    <a:pt x="765" y="453"/>
                    <a:pt x="765" y="453"/>
                    <a:pt x="765" y="454"/>
                  </a:cubicBezTo>
                  <a:cubicBezTo>
                    <a:pt x="765" y="454"/>
                    <a:pt x="765" y="454"/>
                    <a:pt x="765" y="455"/>
                  </a:cubicBezTo>
                  <a:cubicBezTo>
                    <a:pt x="765" y="455"/>
                    <a:pt x="765" y="455"/>
                    <a:pt x="765" y="455"/>
                  </a:cubicBezTo>
                  <a:cubicBezTo>
                    <a:pt x="766" y="455"/>
                    <a:pt x="766" y="456"/>
                    <a:pt x="767" y="456"/>
                  </a:cubicBezTo>
                  <a:cubicBezTo>
                    <a:pt x="767" y="456"/>
                    <a:pt x="768" y="457"/>
                    <a:pt x="769" y="457"/>
                  </a:cubicBezTo>
                  <a:cubicBezTo>
                    <a:pt x="781" y="460"/>
                    <a:pt x="781" y="460"/>
                    <a:pt x="781" y="460"/>
                  </a:cubicBezTo>
                  <a:cubicBezTo>
                    <a:pt x="781" y="460"/>
                    <a:pt x="781" y="460"/>
                    <a:pt x="781" y="460"/>
                  </a:cubicBezTo>
                  <a:cubicBezTo>
                    <a:pt x="781" y="460"/>
                    <a:pt x="781" y="460"/>
                    <a:pt x="781" y="460"/>
                  </a:cubicBezTo>
                  <a:cubicBezTo>
                    <a:pt x="781" y="460"/>
                    <a:pt x="782" y="460"/>
                    <a:pt x="782" y="460"/>
                  </a:cubicBezTo>
                  <a:cubicBezTo>
                    <a:pt x="782" y="460"/>
                    <a:pt x="782" y="460"/>
                    <a:pt x="782" y="460"/>
                  </a:cubicBezTo>
                  <a:cubicBezTo>
                    <a:pt x="782" y="460"/>
                    <a:pt x="782" y="460"/>
                    <a:pt x="782" y="460"/>
                  </a:cubicBezTo>
                  <a:cubicBezTo>
                    <a:pt x="783" y="459"/>
                    <a:pt x="783" y="459"/>
                    <a:pt x="783" y="459"/>
                  </a:cubicBezTo>
                  <a:cubicBezTo>
                    <a:pt x="783" y="459"/>
                    <a:pt x="783" y="459"/>
                    <a:pt x="783" y="459"/>
                  </a:cubicBezTo>
                  <a:cubicBezTo>
                    <a:pt x="784" y="459"/>
                    <a:pt x="784" y="459"/>
                    <a:pt x="784" y="459"/>
                  </a:cubicBezTo>
                  <a:cubicBezTo>
                    <a:pt x="785" y="458"/>
                    <a:pt x="785" y="458"/>
                    <a:pt x="785" y="458"/>
                  </a:cubicBezTo>
                  <a:cubicBezTo>
                    <a:pt x="785" y="458"/>
                    <a:pt x="785" y="458"/>
                    <a:pt x="785" y="458"/>
                  </a:cubicBezTo>
                  <a:cubicBezTo>
                    <a:pt x="787" y="457"/>
                    <a:pt x="789" y="457"/>
                    <a:pt x="790" y="457"/>
                  </a:cubicBezTo>
                  <a:cubicBezTo>
                    <a:pt x="792" y="456"/>
                    <a:pt x="794" y="456"/>
                    <a:pt x="796" y="456"/>
                  </a:cubicBezTo>
                  <a:cubicBezTo>
                    <a:pt x="796" y="456"/>
                    <a:pt x="797" y="456"/>
                    <a:pt x="798" y="456"/>
                  </a:cubicBezTo>
                  <a:cubicBezTo>
                    <a:pt x="800" y="456"/>
                    <a:pt x="802" y="456"/>
                    <a:pt x="803" y="457"/>
                  </a:cubicBezTo>
                  <a:cubicBezTo>
                    <a:pt x="803" y="457"/>
                    <a:pt x="803" y="457"/>
                    <a:pt x="804" y="458"/>
                  </a:cubicBezTo>
                  <a:cubicBezTo>
                    <a:pt x="807" y="458"/>
                    <a:pt x="807" y="458"/>
                    <a:pt x="807" y="458"/>
                  </a:cubicBezTo>
                  <a:cubicBezTo>
                    <a:pt x="807" y="458"/>
                    <a:pt x="807" y="458"/>
                    <a:pt x="807" y="458"/>
                  </a:cubicBezTo>
                  <a:cubicBezTo>
                    <a:pt x="808" y="458"/>
                    <a:pt x="808" y="458"/>
                    <a:pt x="808" y="458"/>
                  </a:cubicBezTo>
                  <a:cubicBezTo>
                    <a:pt x="808" y="458"/>
                    <a:pt x="808" y="458"/>
                    <a:pt x="808" y="458"/>
                  </a:cubicBezTo>
                  <a:cubicBezTo>
                    <a:pt x="809" y="458"/>
                    <a:pt x="809" y="458"/>
                    <a:pt x="809" y="458"/>
                  </a:cubicBezTo>
                  <a:cubicBezTo>
                    <a:pt x="809" y="458"/>
                    <a:pt x="810" y="458"/>
                    <a:pt x="810" y="458"/>
                  </a:cubicBezTo>
                  <a:cubicBezTo>
                    <a:pt x="811" y="458"/>
                    <a:pt x="812" y="459"/>
                    <a:pt x="813" y="460"/>
                  </a:cubicBezTo>
                  <a:cubicBezTo>
                    <a:pt x="815" y="461"/>
                    <a:pt x="816" y="462"/>
                    <a:pt x="817" y="462"/>
                  </a:cubicBezTo>
                  <a:cubicBezTo>
                    <a:pt x="818" y="462"/>
                    <a:pt x="818" y="462"/>
                    <a:pt x="818" y="462"/>
                  </a:cubicBezTo>
                  <a:cubicBezTo>
                    <a:pt x="818" y="462"/>
                    <a:pt x="818" y="462"/>
                    <a:pt x="819" y="462"/>
                  </a:cubicBezTo>
                  <a:cubicBezTo>
                    <a:pt x="819" y="462"/>
                    <a:pt x="819" y="462"/>
                    <a:pt x="819" y="462"/>
                  </a:cubicBezTo>
                  <a:cubicBezTo>
                    <a:pt x="821" y="463"/>
                    <a:pt x="821" y="463"/>
                    <a:pt x="821" y="463"/>
                  </a:cubicBezTo>
                  <a:cubicBezTo>
                    <a:pt x="821" y="463"/>
                    <a:pt x="821" y="463"/>
                    <a:pt x="821" y="463"/>
                  </a:cubicBezTo>
                  <a:cubicBezTo>
                    <a:pt x="821" y="463"/>
                    <a:pt x="822" y="463"/>
                    <a:pt x="822" y="463"/>
                  </a:cubicBezTo>
                  <a:cubicBezTo>
                    <a:pt x="822" y="463"/>
                    <a:pt x="822" y="463"/>
                    <a:pt x="822" y="463"/>
                  </a:cubicBezTo>
                  <a:cubicBezTo>
                    <a:pt x="823" y="463"/>
                    <a:pt x="823" y="463"/>
                    <a:pt x="823" y="463"/>
                  </a:cubicBezTo>
                  <a:cubicBezTo>
                    <a:pt x="823" y="464"/>
                    <a:pt x="823" y="464"/>
                    <a:pt x="823" y="464"/>
                  </a:cubicBezTo>
                  <a:cubicBezTo>
                    <a:pt x="823" y="465"/>
                    <a:pt x="823" y="465"/>
                    <a:pt x="823" y="465"/>
                  </a:cubicBezTo>
                  <a:cubicBezTo>
                    <a:pt x="824" y="468"/>
                    <a:pt x="824" y="468"/>
                    <a:pt x="824" y="468"/>
                  </a:cubicBezTo>
                  <a:cubicBezTo>
                    <a:pt x="828" y="471"/>
                    <a:pt x="828" y="471"/>
                    <a:pt x="828" y="471"/>
                  </a:cubicBezTo>
                  <a:cubicBezTo>
                    <a:pt x="834" y="471"/>
                    <a:pt x="834" y="471"/>
                    <a:pt x="834" y="471"/>
                  </a:cubicBezTo>
                  <a:cubicBezTo>
                    <a:pt x="836" y="471"/>
                    <a:pt x="836" y="471"/>
                    <a:pt x="836" y="471"/>
                  </a:cubicBezTo>
                  <a:cubicBezTo>
                    <a:pt x="836" y="471"/>
                    <a:pt x="836" y="471"/>
                    <a:pt x="836" y="471"/>
                  </a:cubicBezTo>
                  <a:cubicBezTo>
                    <a:pt x="837" y="471"/>
                    <a:pt x="837" y="471"/>
                    <a:pt x="837" y="471"/>
                  </a:cubicBezTo>
                  <a:cubicBezTo>
                    <a:pt x="851" y="473"/>
                    <a:pt x="851" y="473"/>
                    <a:pt x="851" y="473"/>
                  </a:cubicBezTo>
                  <a:cubicBezTo>
                    <a:pt x="851" y="473"/>
                    <a:pt x="851" y="473"/>
                    <a:pt x="851" y="473"/>
                  </a:cubicBezTo>
                  <a:cubicBezTo>
                    <a:pt x="864" y="470"/>
                    <a:pt x="864" y="470"/>
                    <a:pt x="864" y="470"/>
                  </a:cubicBezTo>
                  <a:cubicBezTo>
                    <a:pt x="871" y="468"/>
                    <a:pt x="871" y="468"/>
                    <a:pt x="871" y="468"/>
                  </a:cubicBezTo>
                  <a:cubicBezTo>
                    <a:pt x="871" y="468"/>
                    <a:pt x="871" y="468"/>
                    <a:pt x="871" y="468"/>
                  </a:cubicBezTo>
                  <a:cubicBezTo>
                    <a:pt x="876" y="464"/>
                    <a:pt x="876" y="464"/>
                    <a:pt x="876" y="464"/>
                  </a:cubicBezTo>
                  <a:cubicBezTo>
                    <a:pt x="878" y="462"/>
                    <a:pt x="878" y="462"/>
                    <a:pt x="878" y="462"/>
                  </a:cubicBezTo>
                  <a:cubicBezTo>
                    <a:pt x="880" y="461"/>
                    <a:pt x="880" y="461"/>
                    <a:pt x="880" y="461"/>
                  </a:cubicBezTo>
                  <a:cubicBezTo>
                    <a:pt x="880" y="461"/>
                    <a:pt x="880" y="461"/>
                    <a:pt x="881" y="461"/>
                  </a:cubicBezTo>
                  <a:cubicBezTo>
                    <a:pt x="881" y="461"/>
                    <a:pt x="881" y="461"/>
                    <a:pt x="881" y="461"/>
                  </a:cubicBezTo>
                  <a:cubicBezTo>
                    <a:pt x="881" y="460"/>
                    <a:pt x="882" y="460"/>
                    <a:pt x="882" y="460"/>
                  </a:cubicBezTo>
                  <a:cubicBezTo>
                    <a:pt x="883" y="460"/>
                    <a:pt x="884" y="459"/>
                    <a:pt x="885" y="459"/>
                  </a:cubicBezTo>
                  <a:cubicBezTo>
                    <a:pt x="885" y="459"/>
                    <a:pt x="885" y="459"/>
                    <a:pt x="885" y="459"/>
                  </a:cubicBezTo>
                  <a:cubicBezTo>
                    <a:pt x="885" y="459"/>
                    <a:pt x="886" y="459"/>
                    <a:pt x="886" y="459"/>
                  </a:cubicBezTo>
                  <a:cubicBezTo>
                    <a:pt x="887" y="459"/>
                    <a:pt x="887" y="459"/>
                    <a:pt x="887" y="459"/>
                  </a:cubicBezTo>
                  <a:cubicBezTo>
                    <a:pt x="888" y="459"/>
                    <a:pt x="889" y="459"/>
                    <a:pt x="891" y="459"/>
                  </a:cubicBezTo>
                  <a:cubicBezTo>
                    <a:pt x="892" y="459"/>
                    <a:pt x="892" y="459"/>
                    <a:pt x="892" y="459"/>
                  </a:cubicBezTo>
                  <a:cubicBezTo>
                    <a:pt x="899" y="463"/>
                    <a:pt x="899" y="463"/>
                    <a:pt x="899" y="463"/>
                  </a:cubicBezTo>
                  <a:cubicBezTo>
                    <a:pt x="899" y="463"/>
                    <a:pt x="899" y="463"/>
                    <a:pt x="899" y="463"/>
                  </a:cubicBezTo>
                  <a:cubicBezTo>
                    <a:pt x="899" y="463"/>
                    <a:pt x="899" y="463"/>
                    <a:pt x="899" y="463"/>
                  </a:cubicBezTo>
                  <a:cubicBezTo>
                    <a:pt x="899" y="463"/>
                    <a:pt x="899" y="463"/>
                    <a:pt x="899" y="463"/>
                  </a:cubicBezTo>
                  <a:cubicBezTo>
                    <a:pt x="899" y="463"/>
                    <a:pt x="899" y="463"/>
                    <a:pt x="899" y="463"/>
                  </a:cubicBezTo>
                  <a:cubicBezTo>
                    <a:pt x="906" y="462"/>
                    <a:pt x="906" y="462"/>
                    <a:pt x="906" y="462"/>
                  </a:cubicBezTo>
                  <a:cubicBezTo>
                    <a:pt x="906" y="462"/>
                    <a:pt x="906" y="462"/>
                    <a:pt x="906" y="462"/>
                  </a:cubicBezTo>
                  <a:cubicBezTo>
                    <a:pt x="907" y="462"/>
                    <a:pt x="908" y="463"/>
                    <a:pt x="910" y="463"/>
                  </a:cubicBezTo>
                  <a:cubicBezTo>
                    <a:pt x="910" y="464"/>
                    <a:pt x="910" y="464"/>
                    <a:pt x="910" y="464"/>
                  </a:cubicBezTo>
                  <a:cubicBezTo>
                    <a:pt x="910" y="464"/>
                    <a:pt x="911" y="464"/>
                    <a:pt x="911" y="464"/>
                  </a:cubicBezTo>
                  <a:cubicBezTo>
                    <a:pt x="911" y="464"/>
                    <a:pt x="911" y="464"/>
                    <a:pt x="911" y="464"/>
                  </a:cubicBezTo>
                  <a:cubicBezTo>
                    <a:pt x="911" y="464"/>
                    <a:pt x="911" y="464"/>
                    <a:pt x="911" y="465"/>
                  </a:cubicBezTo>
                  <a:cubicBezTo>
                    <a:pt x="912" y="465"/>
                    <a:pt x="913" y="465"/>
                    <a:pt x="914" y="465"/>
                  </a:cubicBezTo>
                  <a:cubicBezTo>
                    <a:pt x="919" y="467"/>
                    <a:pt x="919" y="467"/>
                    <a:pt x="919" y="467"/>
                  </a:cubicBezTo>
                  <a:cubicBezTo>
                    <a:pt x="919" y="467"/>
                    <a:pt x="919" y="467"/>
                    <a:pt x="919" y="467"/>
                  </a:cubicBezTo>
                  <a:cubicBezTo>
                    <a:pt x="923" y="468"/>
                    <a:pt x="923" y="468"/>
                    <a:pt x="923" y="468"/>
                  </a:cubicBezTo>
                  <a:cubicBezTo>
                    <a:pt x="926" y="466"/>
                    <a:pt x="926" y="466"/>
                    <a:pt x="926" y="466"/>
                  </a:cubicBezTo>
                  <a:cubicBezTo>
                    <a:pt x="927" y="465"/>
                    <a:pt x="928" y="464"/>
                    <a:pt x="930" y="463"/>
                  </a:cubicBezTo>
                  <a:cubicBezTo>
                    <a:pt x="930" y="463"/>
                    <a:pt x="930" y="463"/>
                    <a:pt x="930" y="463"/>
                  </a:cubicBezTo>
                  <a:cubicBezTo>
                    <a:pt x="934" y="462"/>
                    <a:pt x="934" y="462"/>
                    <a:pt x="934" y="462"/>
                  </a:cubicBezTo>
                  <a:cubicBezTo>
                    <a:pt x="937" y="461"/>
                    <a:pt x="937" y="461"/>
                    <a:pt x="937" y="461"/>
                  </a:cubicBezTo>
                  <a:cubicBezTo>
                    <a:pt x="936" y="461"/>
                    <a:pt x="936" y="461"/>
                    <a:pt x="936" y="461"/>
                  </a:cubicBezTo>
                  <a:cubicBezTo>
                    <a:pt x="936" y="460"/>
                    <a:pt x="937" y="460"/>
                    <a:pt x="937" y="460"/>
                  </a:cubicBezTo>
                  <a:cubicBezTo>
                    <a:pt x="937" y="460"/>
                    <a:pt x="937" y="460"/>
                    <a:pt x="937" y="459"/>
                  </a:cubicBezTo>
                  <a:cubicBezTo>
                    <a:pt x="937" y="458"/>
                    <a:pt x="937" y="458"/>
                    <a:pt x="937" y="458"/>
                  </a:cubicBezTo>
                  <a:cubicBezTo>
                    <a:pt x="937" y="454"/>
                    <a:pt x="937" y="454"/>
                    <a:pt x="937" y="454"/>
                  </a:cubicBezTo>
                  <a:cubicBezTo>
                    <a:pt x="939" y="450"/>
                    <a:pt x="939" y="450"/>
                    <a:pt x="939" y="450"/>
                  </a:cubicBezTo>
                  <a:cubicBezTo>
                    <a:pt x="941" y="447"/>
                    <a:pt x="941" y="447"/>
                    <a:pt x="941" y="447"/>
                  </a:cubicBezTo>
                  <a:cubicBezTo>
                    <a:pt x="941" y="446"/>
                    <a:pt x="942" y="445"/>
                    <a:pt x="943" y="444"/>
                  </a:cubicBezTo>
                  <a:cubicBezTo>
                    <a:pt x="944" y="442"/>
                    <a:pt x="944" y="442"/>
                    <a:pt x="944" y="442"/>
                  </a:cubicBezTo>
                  <a:cubicBezTo>
                    <a:pt x="949" y="437"/>
                    <a:pt x="949" y="437"/>
                    <a:pt x="949" y="437"/>
                  </a:cubicBezTo>
                  <a:cubicBezTo>
                    <a:pt x="950" y="436"/>
                    <a:pt x="950" y="435"/>
                    <a:pt x="951" y="434"/>
                  </a:cubicBezTo>
                  <a:cubicBezTo>
                    <a:pt x="951" y="434"/>
                    <a:pt x="951" y="434"/>
                    <a:pt x="951" y="434"/>
                  </a:cubicBezTo>
                  <a:cubicBezTo>
                    <a:pt x="951" y="434"/>
                    <a:pt x="951" y="434"/>
                    <a:pt x="951" y="433"/>
                  </a:cubicBezTo>
                  <a:cubicBezTo>
                    <a:pt x="950" y="433"/>
                    <a:pt x="950" y="433"/>
                    <a:pt x="950" y="433"/>
                  </a:cubicBezTo>
                  <a:cubicBezTo>
                    <a:pt x="950" y="432"/>
                    <a:pt x="950" y="432"/>
                    <a:pt x="950" y="432"/>
                  </a:cubicBezTo>
                  <a:cubicBezTo>
                    <a:pt x="950" y="431"/>
                    <a:pt x="950" y="431"/>
                    <a:pt x="950" y="431"/>
                  </a:cubicBezTo>
                  <a:cubicBezTo>
                    <a:pt x="951" y="430"/>
                    <a:pt x="951" y="430"/>
                    <a:pt x="951" y="430"/>
                  </a:cubicBezTo>
                  <a:cubicBezTo>
                    <a:pt x="950" y="430"/>
                    <a:pt x="950" y="429"/>
                    <a:pt x="950" y="429"/>
                  </a:cubicBezTo>
                  <a:cubicBezTo>
                    <a:pt x="950" y="429"/>
                    <a:pt x="950" y="429"/>
                    <a:pt x="950" y="429"/>
                  </a:cubicBezTo>
                  <a:cubicBezTo>
                    <a:pt x="950" y="429"/>
                    <a:pt x="949" y="429"/>
                    <a:pt x="949" y="429"/>
                  </a:cubicBezTo>
                  <a:cubicBezTo>
                    <a:pt x="949" y="429"/>
                    <a:pt x="949" y="429"/>
                    <a:pt x="949" y="429"/>
                  </a:cubicBezTo>
                  <a:cubicBezTo>
                    <a:pt x="949" y="429"/>
                    <a:pt x="948" y="429"/>
                    <a:pt x="948" y="429"/>
                  </a:cubicBezTo>
                  <a:cubicBezTo>
                    <a:pt x="948" y="429"/>
                    <a:pt x="948" y="429"/>
                    <a:pt x="948" y="429"/>
                  </a:cubicBezTo>
                  <a:cubicBezTo>
                    <a:pt x="947" y="429"/>
                    <a:pt x="947" y="429"/>
                    <a:pt x="946" y="429"/>
                  </a:cubicBezTo>
                  <a:cubicBezTo>
                    <a:pt x="945" y="430"/>
                    <a:pt x="945" y="430"/>
                    <a:pt x="945" y="430"/>
                  </a:cubicBezTo>
                  <a:cubicBezTo>
                    <a:pt x="944" y="429"/>
                    <a:pt x="944" y="429"/>
                    <a:pt x="944" y="429"/>
                  </a:cubicBezTo>
                  <a:cubicBezTo>
                    <a:pt x="944" y="428"/>
                    <a:pt x="943" y="427"/>
                    <a:pt x="944" y="426"/>
                  </a:cubicBezTo>
                  <a:cubicBezTo>
                    <a:pt x="944" y="425"/>
                    <a:pt x="944" y="425"/>
                    <a:pt x="944" y="425"/>
                  </a:cubicBezTo>
                  <a:cubicBezTo>
                    <a:pt x="945" y="424"/>
                    <a:pt x="945" y="424"/>
                    <a:pt x="945" y="424"/>
                  </a:cubicBezTo>
                  <a:cubicBezTo>
                    <a:pt x="945" y="424"/>
                    <a:pt x="946" y="424"/>
                    <a:pt x="947" y="423"/>
                  </a:cubicBezTo>
                  <a:cubicBezTo>
                    <a:pt x="947" y="423"/>
                    <a:pt x="947" y="423"/>
                    <a:pt x="947" y="422"/>
                  </a:cubicBezTo>
                  <a:cubicBezTo>
                    <a:pt x="949" y="421"/>
                    <a:pt x="949" y="421"/>
                    <a:pt x="949" y="421"/>
                  </a:cubicBezTo>
                  <a:cubicBezTo>
                    <a:pt x="950" y="420"/>
                    <a:pt x="951" y="419"/>
                    <a:pt x="952" y="419"/>
                  </a:cubicBezTo>
                  <a:cubicBezTo>
                    <a:pt x="952" y="418"/>
                    <a:pt x="952" y="418"/>
                    <a:pt x="952" y="418"/>
                  </a:cubicBezTo>
                  <a:cubicBezTo>
                    <a:pt x="953" y="418"/>
                    <a:pt x="953" y="418"/>
                    <a:pt x="953" y="418"/>
                  </a:cubicBezTo>
                  <a:cubicBezTo>
                    <a:pt x="953" y="417"/>
                    <a:pt x="953" y="417"/>
                    <a:pt x="953" y="417"/>
                  </a:cubicBezTo>
                  <a:cubicBezTo>
                    <a:pt x="954" y="417"/>
                    <a:pt x="954" y="417"/>
                    <a:pt x="954" y="417"/>
                  </a:cubicBezTo>
                  <a:cubicBezTo>
                    <a:pt x="954" y="417"/>
                    <a:pt x="954" y="417"/>
                    <a:pt x="954" y="417"/>
                  </a:cubicBezTo>
                  <a:cubicBezTo>
                    <a:pt x="955" y="417"/>
                    <a:pt x="955" y="417"/>
                    <a:pt x="956" y="417"/>
                  </a:cubicBezTo>
                  <a:cubicBezTo>
                    <a:pt x="956" y="417"/>
                    <a:pt x="956" y="417"/>
                    <a:pt x="957" y="417"/>
                  </a:cubicBezTo>
                  <a:cubicBezTo>
                    <a:pt x="959" y="417"/>
                    <a:pt x="961" y="416"/>
                    <a:pt x="963" y="416"/>
                  </a:cubicBezTo>
                  <a:cubicBezTo>
                    <a:pt x="965" y="416"/>
                    <a:pt x="965" y="416"/>
                    <a:pt x="965" y="416"/>
                  </a:cubicBezTo>
                  <a:cubicBezTo>
                    <a:pt x="970" y="415"/>
                    <a:pt x="970" y="415"/>
                    <a:pt x="970" y="415"/>
                  </a:cubicBezTo>
                  <a:cubicBezTo>
                    <a:pt x="972" y="415"/>
                    <a:pt x="973" y="415"/>
                    <a:pt x="975" y="415"/>
                  </a:cubicBezTo>
                  <a:cubicBezTo>
                    <a:pt x="975" y="414"/>
                    <a:pt x="975" y="414"/>
                    <a:pt x="975" y="414"/>
                  </a:cubicBezTo>
                  <a:cubicBezTo>
                    <a:pt x="976" y="414"/>
                    <a:pt x="976" y="414"/>
                    <a:pt x="977" y="414"/>
                  </a:cubicBezTo>
                  <a:cubicBezTo>
                    <a:pt x="977" y="414"/>
                    <a:pt x="978" y="414"/>
                    <a:pt x="978" y="414"/>
                  </a:cubicBezTo>
                  <a:cubicBezTo>
                    <a:pt x="980" y="414"/>
                    <a:pt x="980" y="414"/>
                    <a:pt x="980" y="414"/>
                  </a:cubicBezTo>
                  <a:cubicBezTo>
                    <a:pt x="980" y="414"/>
                    <a:pt x="980" y="414"/>
                    <a:pt x="980" y="414"/>
                  </a:cubicBezTo>
                  <a:cubicBezTo>
                    <a:pt x="982" y="414"/>
                    <a:pt x="982" y="414"/>
                    <a:pt x="982" y="414"/>
                  </a:cubicBezTo>
                  <a:cubicBezTo>
                    <a:pt x="983" y="414"/>
                    <a:pt x="983" y="414"/>
                    <a:pt x="983" y="414"/>
                  </a:cubicBezTo>
                  <a:cubicBezTo>
                    <a:pt x="984" y="415"/>
                    <a:pt x="986" y="416"/>
                    <a:pt x="987" y="416"/>
                  </a:cubicBezTo>
                  <a:cubicBezTo>
                    <a:pt x="992" y="419"/>
                    <a:pt x="992" y="419"/>
                    <a:pt x="992" y="419"/>
                  </a:cubicBezTo>
                  <a:cubicBezTo>
                    <a:pt x="994" y="419"/>
                    <a:pt x="994" y="419"/>
                    <a:pt x="994" y="419"/>
                  </a:cubicBezTo>
                  <a:cubicBezTo>
                    <a:pt x="994" y="419"/>
                    <a:pt x="994" y="419"/>
                    <a:pt x="994" y="419"/>
                  </a:cubicBezTo>
                  <a:cubicBezTo>
                    <a:pt x="995" y="419"/>
                    <a:pt x="995" y="419"/>
                    <a:pt x="995" y="419"/>
                  </a:cubicBezTo>
                  <a:cubicBezTo>
                    <a:pt x="996" y="419"/>
                    <a:pt x="997" y="419"/>
                    <a:pt x="997" y="419"/>
                  </a:cubicBezTo>
                  <a:cubicBezTo>
                    <a:pt x="998" y="419"/>
                    <a:pt x="998" y="419"/>
                    <a:pt x="998" y="419"/>
                  </a:cubicBezTo>
                  <a:cubicBezTo>
                    <a:pt x="998" y="419"/>
                    <a:pt x="998" y="419"/>
                    <a:pt x="998" y="419"/>
                  </a:cubicBezTo>
                  <a:cubicBezTo>
                    <a:pt x="998" y="419"/>
                    <a:pt x="998" y="419"/>
                    <a:pt x="998" y="419"/>
                  </a:cubicBezTo>
                  <a:cubicBezTo>
                    <a:pt x="999" y="419"/>
                    <a:pt x="999" y="419"/>
                    <a:pt x="999" y="419"/>
                  </a:cubicBezTo>
                  <a:cubicBezTo>
                    <a:pt x="999" y="419"/>
                    <a:pt x="999" y="419"/>
                    <a:pt x="999" y="419"/>
                  </a:cubicBezTo>
                  <a:cubicBezTo>
                    <a:pt x="999" y="419"/>
                    <a:pt x="999" y="419"/>
                    <a:pt x="999" y="419"/>
                  </a:cubicBezTo>
                  <a:cubicBezTo>
                    <a:pt x="1000" y="420"/>
                    <a:pt x="1000" y="420"/>
                    <a:pt x="1000" y="420"/>
                  </a:cubicBezTo>
                  <a:cubicBezTo>
                    <a:pt x="1000" y="420"/>
                    <a:pt x="1000" y="420"/>
                    <a:pt x="1000" y="420"/>
                  </a:cubicBezTo>
                  <a:cubicBezTo>
                    <a:pt x="1001" y="420"/>
                    <a:pt x="1001" y="420"/>
                    <a:pt x="1001" y="420"/>
                  </a:cubicBezTo>
                  <a:cubicBezTo>
                    <a:pt x="1001" y="421"/>
                    <a:pt x="1001" y="421"/>
                    <a:pt x="1001" y="421"/>
                  </a:cubicBezTo>
                  <a:cubicBezTo>
                    <a:pt x="1001" y="421"/>
                    <a:pt x="1001" y="421"/>
                    <a:pt x="1001" y="421"/>
                  </a:cubicBezTo>
                  <a:cubicBezTo>
                    <a:pt x="1002" y="421"/>
                    <a:pt x="1002" y="421"/>
                    <a:pt x="1002" y="421"/>
                  </a:cubicBezTo>
                  <a:cubicBezTo>
                    <a:pt x="1003" y="421"/>
                    <a:pt x="1003" y="421"/>
                    <a:pt x="1003" y="421"/>
                  </a:cubicBezTo>
                  <a:cubicBezTo>
                    <a:pt x="1005" y="423"/>
                    <a:pt x="1005" y="423"/>
                    <a:pt x="1005" y="423"/>
                  </a:cubicBezTo>
                  <a:cubicBezTo>
                    <a:pt x="1006" y="422"/>
                    <a:pt x="1006" y="422"/>
                    <a:pt x="1006" y="422"/>
                  </a:cubicBezTo>
                  <a:cubicBezTo>
                    <a:pt x="1006" y="423"/>
                    <a:pt x="1006" y="423"/>
                    <a:pt x="1006" y="423"/>
                  </a:cubicBezTo>
                  <a:cubicBezTo>
                    <a:pt x="1006" y="424"/>
                    <a:pt x="1006" y="424"/>
                    <a:pt x="1006" y="424"/>
                  </a:cubicBezTo>
                  <a:cubicBezTo>
                    <a:pt x="1006" y="424"/>
                    <a:pt x="1006" y="424"/>
                    <a:pt x="1006" y="424"/>
                  </a:cubicBezTo>
                  <a:cubicBezTo>
                    <a:pt x="1007" y="424"/>
                    <a:pt x="1007" y="424"/>
                    <a:pt x="1007" y="424"/>
                  </a:cubicBezTo>
                  <a:cubicBezTo>
                    <a:pt x="1007" y="424"/>
                    <a:pt x="1007" y="424"/>
                    <a:pt x="1007" y="424"/>
                  </a:cubicBezTo>
                  <a:cubicBezTo>
                    <a:pt x="1008" y="425"/>
                    <a:pt x="1008" y="425"/>
                    <a:pt x="1008" y="425"/>
                  </a:cubicBezTo>
                  <a:cubicBezTo>
                    <a:pt x="1008" y="426"/>
                    <a:pt x="1008" y="426"/>
                    <a:pt x="1008" y="426"/>
                  </a:cubicBezTo>
                  <a:cubicBezTo>
                    <a:pt x="1008" y="426"/>
                    <a:pt x="1008" y="426"/>
                    <a:pt x="1008" y="426"/>
                  </a:cubicBezTo>
                  <a:cubicBezTo>
                    <a:pt x="1008" y="427"/>
                    <a:pt x="1008" y="427"/>
                    <a:pt x="1007" y="428"/>
                  </a:cubicBezTo>
                  <a:cubicBezTo>
                    <a:pt x="1007" y="428"/>
                    <a:pt x="1007" y="428"/>
                    <a:pt x="1007" y="428"/>
                  </a:cubicBezTo>
                  <a:cubicBezTo>
                    <a:pt x="1008" y="428"/>
                    <a:pt x="1008" y="428"/>
                    <a:pt x="1008" y="428"/>
                  </a:cubicBezTo>
                  <a:cubicBezTo>
                    <a:pt x="1008" y="429"/>
                    <a:pt x="1008" y="429"/>
                    <a:pt x="1008" y="429"/>
                  </a:cubicBezTo>
                  <a:cubicBezTo>
                    <a:pt x="1009" y="430"/>
                    <a:pt x="1011" y="432"/>
                    <a:pt x="1012" y="433"/>
                  </a:cubicBezTo>
                  <a:cubicBezTo>
                    <a:pt x="1012" y="434"/>
                    <a:pt x="1012" y="434"/>
                    <a:pt x="1012" y="434"/>
                  </a:cubicBezTo>
                  <a:cubicBezTo>
                    <a:pt x="1012" y="435"/>
                    <a:pt x="1012" y="435"/>
                    <a:pt x="1012" y="435"/>
                  </a:cubicBezTo>
                  <a:cubicBezTo>
                    <a:pt x="1012" y="436"/>
                    <a:pt x="1012" y="436"/>
                    <a:pt x="1012" y="436"/>
                  </a:cubicBezTo>
                  <a:cubicBezTo>
                    <a:pt x="1012" y="437"/>
                    <a:pt x="1012" y="437"/>
                    <a:pt x="1012" y="437"/>
                  </a:cubicBezTo>
                  <a:cubicBezTo>
                    <a:pt x="1012" y="437"/>
                    <a:pt x="1012" y="437"/>
                    <a:pt x="1012" y="437"/>
                  </a:cubicBezTo>
                  <a:cubicBezTo>
                    <a:pt x="1012" y="437"/>
                    <a:pt x="1012" y="437"/>
                    <a:pt x="1012" y="437"/>
                  </a:cubicBezTo>
                  <a:cubicBezTo>
                    <a:pt x="1013" y="439"/>
                    <a:pt x="1014" y="442"/>
                    <a:pt x="1015" y="443"/>
                  </a:cubicBezTo>
                  <a:cubicBezTo>
                    <a:pt x="1015" y="445"/>
                    <a:pt x="1015" y="445"/>
                    <a:pt x="1015" y="445"/>
                  </a:cubicBezTo>
                  <a:cubicBezTo>
                    <a:pt x="1015" y="445"/>
                    <a:pt x="1015" y="445"/>
                    <a:pt x="1016" y="445"/>
                  </a:cubicBezTo>
                  <a:cubicBezTo>
                    <a:pt x="1017" y="444"/>
                    <a:pt x="1017" y="444"/>
                    <a:pt x="1017" y="444"/>
                  </a:cubicBezTo>
                  <a:cubicBezTo>
                    <a:pt x="1018" y="450"/>
                    <a:pt x="1018" y="450"/>
                    <a:pt x="1018" y="450"/>
                  </a:cubicBezTo>
                  <a:cubicBezTo>
                    <a:pt x="1018" y="450"/>
                    <a:pt x="1018" y="450"/>
                    <a:pt x="1018" y="450"/>
                  </a:cubicBezTo>
                  <a:cubicBezTo>
                    <a:pt x="1018" y="450"/>
                    <a:pt x="1018" y="450"/>
                    <a:pt x="1018" y="450"/>
                  </a:cubicBezTo>
                  <a:cubicBezTo>
                    <a:pt x="1018" y="450"/>
                    <a:pt x="1018" y="450"/>
                    <a:pt x="1018" y="450"/>
                  </a:cubicBezTo>
                  <a:cubicBezTo>
                    <a:pt x="1019" y="451"/>
                    <a:pt x="1019" y="451"/>
                    <a:pt x="1019" y="451"/>
                  </a:cubicBezTo>
                  <a:cubicBezTo>
                    <a:pt x="1022" y="458"/>
                    <a:pt x="1022" y="458"/>
                    <a:pt x="1022" y="458"/>
                  </a:cubicBezTo>
                  <a:cubicBezTo>
                    <a:pt x="1022" y="458"/>
                    <a:pt x="1022" y="458"/>
                    <a:pt x="1022" y="459"/>
                  </a:cubicBezTo>
                  <a:cubicBezTo>
                    <a:pt x="1022" y="459"/>
                    <a:pt x="1022" y="459"/>
                    <a:pt x="1022" y="459"/>
                  </a:cubicBezTo>
                  <a:cubicBezTo>
                    <a:pt x="1022" y="459"/>
                    <a:pt x="1022" y="459"/>
                    <a:pt x="1022" y="459"/>
                  </a:cubicBezTo>
                  <a:cubicBezTo>
                    <a:pt x="1022" y="459"/>
                    <a:pt x="1023" y="459"/>
                    <a:pt x="1023" y="459"/>
                  </a:cubicBezTo>
                  <a:cubicBezTo>
                    <a:pt x="1023" y="460"/>
                    <a:pt x="1023" y="460"/>
                    <a:pt x="1023" y="460"/>
                  </a:cubicBezTo>
                  <a:cubicBezTo>
                    <a:pt x="1023" y="460"/>
                    <a:pt x="1023" y="460"/>
                    <a:pt x="1023" y="460"/>
                  </a:cubicBezTo>
                  <a:cubicBezTo>
                    <a:pt x="1023" y="462"/>
                    <a:pt x="1023" y="462"/>
                    <a:pt x="1023" y="462"/>
                  </a:cubicBezTo>
                  <a:cubicBezTo>
                    <a:pt x="1023" y="462"/>
                    <a:pt x="1023" y="462"/>
                    <a:pt x="1023" y="463"/>
                  </a:cubicBezTo>
                  <a:cubicBezTo>
                    <a:pt x="1023" y="463"/>
                    <a:pt x="1023" y="463"/>
                    <a:pt x="1023" y="463"/>
                  </a:cubicBezTo>
                  <a:cubicBezTo>
                    <a:pt x="1023" y="463"/>
                    <a:pt x="1023" y="464"/>
                    <a:pt x="1023" y="464"/>
                  </a:cubicBezTo>
                  <a:cubicBezTo>
                    <a:pt x="1025" y="467"/>
                    <a:pt x="1025" y="467"/>
                    <a:pt x="1025" y="467"/>
                  </a:cubicBezTo>
                  <a:cubicBezTo>
                    <a:pt x="1025" y="467"/>
                    <a:pt x="1025" y="468"/>
                    <a:pt x="1026" y="468"/>
                  </a:cubicBezTo>
                  <a:cubicBezTo>
                    <a:pt x="1032" y="468"/>
                    <a:pt x="1032" y="468"/>
                    <a:pt x="1032" y="468"/>
                  </a:cubicBezTo>
                  <a:cubicBezTo>
                    <a:pt x="1033" y="468"/>
                    <a:pt x="1034" y="468"/>
                    <a:pt x="1035" y="469"/>
                  </a:cubicBezTo>
                  <a:cubicBezTo>
                    <a:pt x="1035" y="469"/>
                    <a:pt x="1035" y="469"/>
                    <a:pt x="1035" y="469"/>
                  </a:cubicBezTo>
                  <a:cubicBezTo>
                    <a:pt x="1035" y="469"/>
                    <a:pt x="1036" y="469"/>
                    <a:pt x="1036" y="469"/>
                  </a:cubicBezTo>
                  <a:cubicBezTo>
                    <a:pt x="1039" y="470"/>
                    <a:pt x="1039" y="470"/>
                    <a:pt x="1039" y="470"/>
                  </a:cubicBezTo>
                  <a:cubicBezTo>
                    <a:pt x="1040" y="470"/>
                    <a:pt x="1040" y="470"/>
                    <a:pt x="1040" y="470"/>
                  </a:cubicBezTo>
                  <a:cubicBezTo>
                    <a:pt x="1042" y="470"/>
                    <a:pt x="1042" y="470"/>
                    <a:pt x="1042" y="470"/>
                  </a:cubicBezTo>
                  <a:cubicBezTo>
                    <a:pt x="1050" y="477"/>
                    <a:pt x="1050" y="477"/>
                    <a:pt x="1050" y="477"/>
                  </a:cubicBezTo>
                  <a:cubicBezTo>
                    <a:pt x="1050" y="477"/>
                    <a:pt x="1050" y="477"/>
                    <a:pt x="1050" y="477"/>
                  </a:cubicBezTo>
                  <a:cubicBezTo>
                    <a:pt x="1050" y="477"/>
                    <a:pt x="1050" y="477"/>
                    <a:pt x="1050" y="477"/>
                  </a:cubicBezTo>
                  <a:cubicBezTo>
                    <a:pt x="1051" y="477"/>
                    <a:pt x="1051" y="477"/>
                    <a:pt x="1051" y="477"/>
                  </a:cubicBezTo>
                  <a:cubicBezTo>
                    <a:pt x="1055" y="477"/>
                    <a:pt x="1055" y="477"/>
                    <a:pt x="1055" y="477"/>
                  </a:cubicBezTo>
                  <a:cubicBezTo>
                    <a:pt x="1054" y="481"/>
                    <a:pt x="1054" y="481"/>
                    <a:pt x="1054" y="481"/>
                  </a:cubicBezTo>
                  <a:cubicBezTo>
                    <a:pt x="1054" y="481"/>
                    <a:pt x="1054" y="481"/>
                    <a:pt x="1054" y="481"/>
                  </a:cubicBezTo>
                  <a:cubicBezTo>
                    <a:pt x="1054" y="481"/>
                    <a:pt x="1054" y="482"/>
                    <a:pt x="1054" y="482"/>
                  </a:cubicBezTo>
                  <a:cubicBezTo>
                    <a:pt x="1055" y="482"/>
                    <a:pt x="1055" y="482"/>
                    <a:pt x="1055" y="482"/>
                  </a:cubicBezTo>
                  <a:cubicBezTo>
                    <a:pt x="1055" y="482"/>
                    <a:pt x="1055" y="483"/>
                    <a:pt x="1056" y="483"/>
                  </a:cubicBezTo>
                  <a:cubicBezTo>
                    <a:pt x="1056" y="483"/>
                    <a:pt x="1056" y="484"/>
                    <a:pt x="1056" y="484"/>
                  </a:cubicBezTo>
                  <a:cubicBezTo>
                    <a:pt x="1056" y="485"/>
                    <a:pt x="1056" y="485"/>
                    <a:pt x="1056" y="485"/>
                  </a:cubicBezTo>
                  <a:cubicBezTo>
                    <a:pt x="1056" y="485"/>
                    <a:pt x="1057" y="486"/>
                    <a:pt x="1056" y="487"/>
                  </a:cubicBezTo>
                  <a:cubicBezTo>
                    <a:pt x="1056" y="487"/>
                    <a:pt x="1056" y="488"/>
                    <a:pt x="1055" y="488"/>
                  </a:cubicBezTo>
                  <a:cubicBezTo>
                    <a:pt x="1055" y="488"/>
                    <a:pt x="1055" y="488"/>
                    <a:pt x="1055" y="488"/>
                  </a:cubicBezTo>
                  <a:cubicBezTo>
                    <a:pt x="1055" y="489"/>
                    <a:pt x="1055" y="489"/>
                    <a:pt x="1056" y="489"/>
                  </a:cubicBezTo>
                  <a:cubicBezTo>
                    <a:pt x="1056" y="489"/>
                    <a:pt x="1056" y="489"/>
                    <a:pt x="1056" y="489"/>
                  </a:cubicBezTo>
                  <a:cubicBezTo>
                    <a:pt x="1056" y="489"/>
                    <a:pt x="1056" y="489"/>
                    <a:pt x="1056" y="489"/>
                  </a:cubicBezTo>
                  <a:cubicBezTo>
                    <a:pt x="1056" y="490"/>
                    <a:pt x="1057" y="490"/>
                    <a:pt x="1057" y="490"/>
                  </a:cubicBezTo>
                  <a:cubicBezTo>
                    <a:pt x="1057" y="490"/>
                    <a:pt x="1057" y="490"/>
                    <a:pt x="1057" y="490"/>
                  </a:cubicBezTo>
                  <a:cubicBezTo>
                    <a:pt x="1057" y="491"/>
                    <a:pt x="1057" y="491"/>
                    <a:pt x="1057" y="491"/>
                  </a:cubicBezTo>
                  <a:cubicBezTo>
                    <a:pt x="1057" y="491"/>
                    <a:pt x="1057" y="491"/>
                    <a:pt x="1057" y="492"/>
                  </a:cubicBezTo>
                  <a:cubicBezTo>
                    <a:pt x="1058" y="492"/>
                    <a:pt x="1058" y="492"/>
                    <a:pt x="1058" y="492"/>
                  </a:cubicBezTo>
                  <a:cubicBezTo>
                    <a:pt x="1058" y="492"/>
                    <a:pt x="1058" y="492"/>
                    <a:pt x="1058" y="492"/>
                  </a:cubicBezTo>
                  <a:cubicBezTo>
                    <a:pt x="1059" y="493"/>
                    <a:pt x="1060" y="492"/>
                    <a:pt x="1062" y="492"/>
                  </a:cubicBezTo>
                  <a:cubicBezTo>
                    <a:pt x="1065" y="493"/>
                    <a:pt x="1068" y="493"/>
                    <a:pt x="1071" y="492"/>
                  </a:cubicBezTo>
                  <a:cubicBezTo>
                    <a:pt x="1072" y="492"/>
                    <a:pt x="1072" y="492"/>
                    <a:pt x="1072" y="492"/>
                  </a:cubicBezTo>
                  <a:cubicBezTo>
                    <a:pt x="1072" y="491"/>
                    <a:pt x="1072" y="491"/>
                    <a:pt x="1073" y="490"/>
                  </a:cubicBezTo>
                  <a:cubicBezTo>
                    <a:pt x="1073" y="489"/>
                    <a:pt x="1075" y="489"/>
                    <a:pt x="1075" y="488"/>
                  </a:cubicBezTo>
                  <a:cubicBezTo>
                    <a:pt x="1076" y="488"/>
                    <a:pt x="1078" y="487"/>
                    <a:pt x="1079" y="487"/>
                  </a:cubicBezTo>
                  <a:cubicBezTo>
                    <a:pt x="1080" y="487"/>
                    <a:pt x="1081" y="487"/>
                    <a:pt x="1082" y="487"/>
                  </a:cubicBezTo>
                  <a:cubicBezTo>
                    <a:pt x="1084" y="486"/>
                    <a:pt x="1084" y="486"/>
                    <a:pt x="1084" y="486"/>
                  </a:cubicBezTo>
                  <a:cubicBezTo>
                    <a:pt x="1085" y="485"/>
                    <a:pt x="1087" y="484"/>
                    <a:pt x="1088" y="484"/>
                  </a:cubicBezTo>
                  <a:cubicBezTo>
                    <a:pt x="1087" y="484"/>
                    <a:pt x="1087" y="484"/>
                    <a:pt x="1087" y="484"/>
                  </a:cubicBezTo>
                  <a:cubicBezTo>
                    <a:pt x="1093" y="483"/>
                    <a:pt x="1093" y="483"/>
                    <a:pt x="1093" y="483"/>
                  </a:cubicBezTo>
                  <a:cubicBezTo>
                    <a:pt x="1094" y="483"/>
                    <a:pt x="1095" y="483"/>
                    <a:pt x="1097" y="483"/>
                  </a:cubicBezTo>
                  <a:cubicBezTo>
                    <a:pt x="1097" y="483"/>
                    <a:pt x="1097" y="483"/>
                    <a:pt x="1098" y="483"/>
                  </a:cubicBezTo>
                  <a:cubicBezTo>
                    <a:pt x="1098" y="483"/>
                    <a:pt x="1098" y="483"/>
                    <a:pt x="1098" y="483"/>
                  </a:cubicBezTo>
                  <a:cubicBezTo>
                    <a:pt x="1101" y="483"/>
                    <a:pt x="1101" y="483"/>
                    <a:pt x="1101" y="483"/>
                  </a:cubicBezTo>
                  <a:cubicBezTo>
                    <a:pt x="1099" y="485"/>
                    <a:pt x="1099" y="485"/>
                    <a:pt x="1099" y="485"/>
                  </a:cubicBezTo>
                  <a:cubicBezTo>
                    <a:pt x="1098" y="485"/>
                    <a:pt x="1098" y="485"/>
                    <a:pt x="1098" y="486"/>
                  </a:cubicBezTo>
                  <a:cubicBezTo>
                    <a:pt x="1097" y="486"/>
                    <a:pt x="1097" y="487"/>
                    <a:pt x="1096" y="487"/>
                  </a:cubicBezTo>
                  <a:cubicBezTo>
                    <a:pt x="1096" y="487"/>
                    <a:pt x="1096" y="487"/>
                    <a:pt x="1096" y="487"/>
                  </a:cubicBezTo>
                  <a:cubicBezTo>
                    <a:pt x="1095" y="488"/>
                    <a:pt x="1095" y="489"/>
                    <a:pt x="1095" y="490"/>
                  </a:cubicBezTo>
                  <a:cubicBezTo>
                    <a:pt x="1095" y="490"/>
                    <a:pt x="1095" y="490"/>
                    <a:pt x="1095" y="491"/>
                  </a:cubicBezTo>
                  <a:cubicBezTo>
                    <a:pt x="1096" y="491"/>
                    <a:pt x="1096" y="492"/>
                    <a:pt x="1096" y="492"/>
                  </a:cubicBezTo>
                  <a:cubicBezTo>
                    <a:pt x="1096" y="492"/>
                    <a:pt x="1096" y="492"/>
                    <a:pt x="1096" y="492"/>
                  </a:cubicBezTo>
                  <a:cubicBezTo>
                    <a:pt x="1097" y="493"/>
                    <a:pt x="1097" y="493"/>
                    <a:pt x="1097" y="493"/>
                  </a:cubicBezTo>
                  <a:cubicBezTo>
                    <a:pt x="1097" y="493"/>
                    <a:pt x="1097" y="493"/>
                    <a:pt x="1097" y="493"/>
                  </a:cubicBezTo>
                  <a:cubicBezTo>
                    <a:pt x="1097" y="495"/>
                    <a:pt x="1094" y="497"/>
                    <a:pt x="1093" y="497"/>
                  </a:cubicBezTo>
                  <a:cubicBezTo>
                    <a:pt x="1093" y="498"/>
                    <a:pt x="1093" y="498"/>
                    <a:pt x="1093" y="498"/>
                  </a:cubicBezTo>
                  <a:cubicBezTo>
                    <a:pt x="1092" y="498"/>
                    <a:pt x="1092" y="498"/>
                    <a:pt x="1092" y="498"/>
                  </a:cubicBezTo>
                  <a:cubicBezTo>
                    <a:pt x="1092" y="498"/>
                    <a:pt x="1091" y="498"/>
                    <a:pt x="1091" y="498"/>
                  </a:cubicBezTo>
                  <a:cubicBezTo>
                    <a:pt x="1091" y="498"/>
                    <a:pt x="1091" y="499"/>
                    <a:pt x="1091" y="499"/>
                  </a:cubicBezTo>
                  <a:cubicBezTo>
                    <a:pt x="1091" y="499"/>
                    <a:pt x="1091" y="499"/>
                    <a:pt x="1091" y="499"/>
                  </a:cubicBezTo>
                  <a:cubicBezTo>
                    <a:pt x="1091" y="500"/>
                    <a:pt x="1091" y="500"/>
                    <a:pt x="1091" y="501"/>
                  </a:cubicBezTo>
                  <a:cubicBezTo>
                    <a:pt x="1091" y="501"/>
                    <a:pt x="1091" y="501"/>
                    <a:pt x="1091" y="501"/>
                  </a:cubicBezTo>
                  <a:cubicBezTo>
                    <a:pt x="1090" y="502"/>
                    <a:pt x="1090" y="503"/>
                    <a:pt x="1090" y="503"/>
                  </a:cubicBezTo>
                  <a:cubicBezTo>
                    <a:pt x="1090" y="504"/>
                    <a:pt x="1090" y="504"/>
                    <a:pt x="1090" y="504"/>
                  </a:cubicBezTo>
                  <a:cubicBezTo>
                    <a:pt x="1090" y="504"/>
                    <a:pt x="1090" y="504"/>
                    <a:pt x="1090" y="505"/>
                  </a:cubicBezTo>
                  <a:cubicBezTo>
                    <a:pt x="1089" y="505"/>
                    <a:pt x="1089" y="505"/>
                    <a:pt x="1089" y="505"/>
                  </a:cubicBezTo>
                  <a:cubicBezTo>
                    <a:pt x="1089" y="506"/>
                    <a:pt x="1089" y="506"/>
                    <a:pt x="1089" y="507"/>
                  </a:cubicBezTo>
                  <a:cubicBezTo>
                    <a:pt x="1089" y="507"/>
                    <a:pt x="1089" y="507"/>
                    <a:pt x="1089" y="508"/>
                  </a:cubicBezTo>
                  <a:cubicBezTo>
                    <a:pt x="1089" y="508"/>
                    <a:pt x="1088" y="508"/>
                    <a:pt x="1088" y="509"/>
                  </a:cubicBezTo>
                  <a:cubicBezTo>
                    <a:pt x="1088" y="509"/>
                    <a:pt x="1088" y="509"/>
                    <a:pt x="1088" y="509"/>
                  </a:cubicBezTo>
                  <a:cubicBezTo>
                    <a:pt x="1088" y="509"/>
                    <a:pt x="1088" y="509"/>
                    <a:pt x="1088" y="509"/>
                  </a:cubicBezTo>
                  <a:cubicBezTo>
                    <a:pt x="1088" y="509"/>
                    <a:pt x="1088" y="510"/>
                    <a:pt x="1088" y="510"/>
                  </a:cubicBezTo>
                  <a:cubicBezTo>
                    <a:pt x="1088" y="510"/>
                    <a:pt x="1088" y="510"/>
                    <a:pt x="1088" y="510"/>
                  </a:cubicBezTo>
                  <a:cubicBezTo>
                    <a:pt x="1088" y="511"/>
                    <a:pt x="1088" y="512"/>
                    <a:pt x="1087" y="513"/>
                  </a:cubicBezTo>
                  <a:cubicBezTo>
                    <a:pt x="1087" y="514"/>
                    <a:pt x="1086" y="515"/>
                    <a:pt x="1085" y="516"/>
                  </a:cubicBezTo>
                  <a:cubicBezTo>
                    <a:pt x="1085" y="517"/>
                    <a:pt x="1084" y="517"/>
                    <a:pt x="1084" y="517"/>
                  </a:cubicBezTo>
                  <a:cubicBezTo>
                    <a:pt x="1084" y="518"/>
                    <a:pt x="1084" y="518"/>
                    <a:pt x="1084" y="519"/>
                  </a:cubicBezTo>
                  <a:cubicBezTo>
                    <a:pt x="1084" y="519"/>
                    <a:pt x="1084" y="519"/>
                    <a:pt x="1084" y="519"/>
                  </a:cubicBezTo>
                  <a:cubicBezTo>
                    <a:pt x="1086" y="519"/>
                    <a:pt x="1086" y="519"/>
                    <a:pt x="1086" y="519"/>
                  </a:cubicBezTo>
                  <a:cubicBezTo>
                    <a:pt x="1084" y="520"/>
                    <a:pt x="1084" y="520"/>
                    <a:pt x="1084" y="520"/>
                  </a:cubicBezTo>
                  <a:cubicBezTo>
                    <a:pt x="1084" y="520"/>
                    <a:pt x="1084" y="520"/>
                    <a:pt x="1084" y="520"/>
                  </a:cubicBezTo>
                  <a:cubicBezTo>
                    <a:pt x="1084" y="520"/>
                    <a:pt x="1083" y="520"/>
                    <a:pt x="1083" y="520"/>
                  </a:cubicBezTo>
                  <a:cubicBezTo>
                    <a:pt x="1083" y="520"/>
                    <a:pt x="1083" y="520"/>
                    <a:pt x="1083" y="520"/>
                  </a:cubicBezTo>
                  <a:cubicBezTo>
                    <a:pt x="1083" y="521"/>
                    <a:pt x="1083" y="521"/>
                    <a:pt x="1083" y="521"/>
                  </a:cubicBezTo>
                  <a:cubicBezTo>
                    <a:pt x="1083" y="521"/>
                    <a:pt x="1083" y="521"/>
                    <a:pt x="1083" y="521"/>
                  </a:cubicBezTo>
                  <a:cubicBezTo>
                    <a:pt x="1082" y="522"/>
                    <a:pt x="1081" y="522"/>
                    <a:pt x="1081" y="523"/>
                  </a:cubicBezTo>
                  <a:cubicBezTo>
                    <a:pt x="1080" y="523"/>
                    <a:pt x="1080" y="523"/>
                    <a:pt x="1080" y="523"/>
                  </a:cubicBezTo>
                  <a:cubicBezTo>
                    <a:pt x="1080" y="523"/>
                    <a:pt x="1080" y="524"/>
                    <a:pt x="1080" y="524"/>
                  </a:cubicBezTo>
                  <a:cubicBezTo>
                    <a:pt x="1080" y="524"/>
                    <a:pt x="1080" y="525"/>
                    <a:pt x="1080" y="525"/>
                  </a:cubicBezTo>
                  <a:cubicBezTo>
                    <a:pt x="1080" y="526"/>
                    <a:pt x="1080" y="526"/>
                    <a:pt x="1080" y="526"/>
                  </a:cubicBezTo>
                  <a:cubicBezTo>
                    <a:pt x="1080" y="526"/>
                    <a:pt x="1080" y="527"/>
                    <a:pt x="1079" y="527"/>
                  </a:cubicBezTo>
                  <a:cubicBezTo>
                    <a:pt x="1078" y="528"/>
                    <a:pt x="1077" y="529"/>
                    <a:pt x="1076" y="529"/>
                  </a:cubicBezTo>
                  <a:cubicBezTo>
                    <a:pt x="1075" y="529"/>
                    <a:pt x="1074" y="528"/>
                    <a:pt x="1072" y="528"/>
                  </a:cubicBezTo>
                  <a:cubicBezTo>
                    <a:pt x="1072" y="528"/>
                    <a:pt x="1072" y="528"/>
                    <a:pt x="1072" y="528"/>
                  </a:cubicBezTo>
                  <a:cubicBezTo>
                    <a:pt x="1072" y="528"/>
                    <a:pt x="1072" y="528"/>
                    <a:pt x="1071" y="528"/>
                  </a:cubicBezTo>
                  <a:cubicBezTo>
                    <a:pt x="1071" y="527"/>
                    <a:pt x="1071" y="527"/>
                    <a:pt x="1070" y="527"/>
                  </a:cubicBezTo>
                  <a:cubicBezTo>
                    <a:pt x="1069" y="527"/>
                    <a:pt x="1067" y="527"/>
                    <a:pt x="1066" y="526"/>
                  </a:cubicBezTo>
                  <a:cubicBezTo>
                    <a:pt x="1066" y="526"/>
                    <a:pt x="1066" y="526"/>
                    <a:pt x="1066" y="526"/>
                  </a:cubicBezTo>
                  <a:cubicBezTo>
                    <a:pt x="1066" y="526"/>
                    <a:pt x="1066" y="526"/>
                    <a:pt x="1066" y="526"/>
                  </a:cubicBezTo>
                  <a:cubicBezTo>
                    <a:pt x="1067" y="528"/>
                    <a:pt x="1067" y="528"/>
                    <a:pt x="1067" y="528"/>
                  </a:cubicBezTo>
                  <a:cubicBezTo>
                    <a:pt x="1065" y="527"/>
                    <a:pt x="1065" y="527"/>
                    <a:pt x="1065" y="527"/>
                  </a:cubicBezTo>
                  <a:cubicBezTo>
                    <a:pt x="1065" y="527"/>
                    <a:pt x="1064" y="528"/>
                    <a:pt x="1063" y="529"/>
                  </a:cubicBezTo>
                  <a:cubicBezTo>
                    <a:pt x="1063" y="529"/>
                    <a:pt x="1063" y="529"/>
                    <a:pt x="1063" y="529"/>
                  </a:cubicBezTo>
                  <a:cubicBezTo>
                    <a:pt x="1062" y="530"/>
                    <a:pt x="1060" y="530"/>
                    <a:pt x="1059" y="531"/>
                  </a:cubicBezTo>
                  <a:cubicBezTo>
                    <a:pt x="1058" y="531"/>
                    <a:pt x="1058" y="531"/>
                    <a:pt x="1058" y="531"/>
                  </a:cubicBezTo>
                  <a:cubicBezTo>
                    <a:pt x="1060" y="534"/>
                    <a:pt x="1061" y="537"/>
                    <a:pt x="1061" y="541"/>
                  </a:cubicBezTo>
                  <a:cubicBezTo>
                    <a:pt x="1061" y="542"/>
                    <a:pt x="1061" y="543"/>
                    <a:pt x="1061" y="545"/>
                  </a:cubicBezTo>
                  <a:cubicBezTo>
                    <a:pt x="1061" y="545"/>
                    <a:pt x="1061" y="546"/>
                    <a:pt x="1061" y="547"/>
                  </a:cubicBezTo>
                  <a:cubicBezTo>
                    <a:pt x="1061" y="549"/>
                    <a:pt x="1061" y="550"/>
                    <a:pt x="1060" y="552"/>
                  </a:cubicBezTo>
                  <a:cubicBezTo>
                    <a:pt x="1060" y="553"/>
                    <a:pt x="1060" y="553"/>
                    <a:pt x="1060" y="553"/>
                  </a:cubicBezTo>
                  <a:cubicBezTo>
                    <a:pt x="1059" y="555"/>
                    <a:pt x="1059" y="556"/>
                    <a:pt x="1056" y="556"/>
                  </a:cubicBezTo>
                  <a:cubicBezTo>
                    <a:pt x="1055" y="556"/>
                    <a:pt x="1054" y="556"/>
                    <a:pt x="1054" y="557"/>
                  </a:cubicBezTo>
                  <a:cubicBezTo>
                    <a:pt x="1054" y="557"/>
                    <a:pt x="1054" y="558"/>
                    <a:pt x="1054" y="558"/>
                  </a:cubicBezTo>
                  <a:cubicBezTo>
                    <a:pt x="1054" y="559"/>
                    <a:pt x="1054" y="559"/>
                    <a:pt x="1054" y="559"/>
                  </a:cubicBezTo>
                  <a:cubicBezTo>
                    <a:pt x="1053" y="559"/>
                    <a:pt x="1053" y="559"/>
                    <a:pt x="1053" y="559"/>
                  </a:cubicBezTo>
                  <a:cubicBezTo>
                    <a:pt x="1054" y="559"/>
                    <a:pt x="1054" y="560"/>
                    <a:pt x="1054" y="561"/>
                  </a:cubicBezTo>
                  <a:cubicBezTo>
                    <a:pt x="1055" y="560"/>
                    <a:pt x="1056" y="559"/>
                    <a:pt x="1055" y="559"/>
                  </a:cubicBezTo>
                  <a:cubicBezTo>
                    <a:pt x="1055" y="558"/>
                    <a:pt x="1054" y="558"/>
                    <a:pt x="1054" y="557"/>
                  </a:cubicBezTo>
                  <a:cubicBezTo>
                    <a:pt x="1054" y="557"/>
                    <a:pt x="1055" y="557"/>
                    <a:pt x="1055" y="557"/>
                  </a:cubicBezTo>
                  <a:cubicBezTo>
                    <a:pt x="1055" y="557"/>
                    <a:pt x="1055" y="557"/>
                    <a:pt x="1055" y="558"/>
                  </a:cubicBezTo>
                  <a:cubicBezTo>
                    <a:pt x="1055" y="558"/>
                    <a:pt x="1056" y="558"/>
                    <a:pt x="1056" y="558"/>
                  </a:cubicBezTo>
                  <a:cubicBezTo>
                    <a:pt x="1056" y="558"/>
                    <a:pt x="1056" y="558"/>
                    <a:pt x="1055" y="558"/>
                  </a:cubicBezTo>
                  <a:cubicBezTo>
                    <a:pt x="1056" y="558"/>
                    <a:pt x="1056" y="558"/>
                    <a:pt x="1057" y="558"/>
                  </a:cubicBezTo>
                  <a:cubicBezTo>
                    <a:pt x="1058" y="557"/>
                    <a:pt x="1058" y="558"/>
                    <a:pt x="1059" y="558"/>
                  </a:cubicBezTo>
                  <a:cubicBezTo>
                    <a:pt x="1059" y="557"/>
                    <a:pt x="1061" y="555"/>
                    <a:pt x="1062" y="554"/>
                  </a:cubicBezTo>
                  <a:cubicBezTo>
                    <a:pt x="1062" y="554"/>
                    <a:pt x="1063" y="553"/>
                    <a:pt x="1063" y="552"/>
                  </a:cubicBezTo>
                  <a:cubicBezTo>
                    <a:pt x="1063" y="552"/>
                    <a:pt x="1063" y="552"/>
                    <a:pt x="1063" y="551"/>
                  </a:cubicBezTo>
                  <a:cubicBezTo>
                    <a:pt x="1063" y="550"/>
                    <a:pt x="1065" y="549"/>
                    <a:pt x="1066" y="549"/>
                  </a:cubicBezTo>
                  <a:cubicBezTo>
                    <a:pt x="1067" y="549"/>
                    <a:pt x="1067" y="549"/>
                    <a:pt x="1068" y="549"/>
                  </a:cubicBezTo>
                  <a:cubicBezTo>
                    <a:pt x="1068" y="549"/>
                    <a:pt x="1068" y="549"/>
                    <a:pt x="1068" y="549"/>
                  </a:cubicBezTo>
                  <a:cubicBezTo>
                    <a:pt x="1068" y="550"/>
                    <a:pt x="1069" y="550"/>
                    <a:pt x="1069" y="551"/>
                  </a:cubicBezTo>
                  <a:cubicBezTo>
                    <a:pt x="1070" y="550"/>
                    <a:pt x="1070" y="550"/>
                    <a:pt x="1070" y="549"/>
                  </a:cubicBezTo>
                  <a:cubicBezTo>
                    <a:pt x="1070" y="550"/>
                    <a:pt x="1070" y="554"/>
                    <a:pt x="1071" y="555"/>
                  </a:cubicBezTo>
                  <a:cubicBezTo>
                    <a:pt x="1071" y="555"/>
                    <a:pt x="1071" y="554"/>
                    <a:pt x="1071" y="554"/>
                  </a:cubicBezTo>
                  <a:cubicBezTo>
                    <a:pt x="1071" y="554"/>
                    <a:pt x="1072" y="555"/>
                    <a:pt x="1072" y="555"/>
                  </a:cubicBezTo>
                  <a:cubicBezTo>
                    <a:pt x="1073" y="555"/>
                    <a:pt x="1074" y="554"/>
                    <a:pt x="1075" y="554"/>
                  </a:cubicBezTo>
                  <a:cubicBezTo>
                    <a:pt x="1076" y="554"/>
                    <a:pt x="1077" y="557"/>
                    <a:pt x="1079" y="557"/>
                  </a:cubicBezTo>
                  <a:cubicBezTo>
                    <a:pt x="1079" y="557"/>
                    <a:pt x="1080" y="556"/>
                    <a:pt x="1081" y="556"/>
                  </a:cubicBezTo>
                  <a:cubicBezTo>
                    <a:pt x="1082" y="555"/>
                    <a:pt x="1084" y="555"/>
                    <a:pt x="1085" y="555"/>
                  </a:cubicBezTo>
                  <a:cubicBezTo>
                    <a:pt x="1088" y="554"/>
                    <a:pt x="1091" y="552"/>
                    <a:pt x="1093" y="551"/>
                  </a:cubicBezTo>
                  <a:cubicBezTo>
                    <a:pt x="1095" y="549"/>
                    <a:pt x="1097" y="548"/>
                    <a:pt x="1099" y="547"/>
                  </a:cubicBezTo>
                  <a:cubicBezTo>
                    <a:pt x="1101" y="546"/>
                    <a:pt x="1102" y="543"/>
                    <a:pt x="1103" y="542"/>
                  </a:cubicBezTo>
                  <a:cubicBezTo>
                    <a:pt x="1104" y="541"/>
                    <a:pt x="1104" y="539"/>
                    <a:pt x="1105" y="538"/>
                  </a:cubicBezTo>
                  <a:cubicBezTo>
                    <a:pt x="1106" y="537"/>
                    <a:pt x="1108" y="536"/>
                    <a:pt x="1109" y="535"/>
                  </a:cubicBezTo>
                  <a:cubicBezTo>
                    <a:pt x="1111" y="533"/>
                    <a:pt x="1113" y="530"/>
                    <a:pt x="1114" y="528"/>
                  </a:cubicBezTo>
                  <a:cubicBezTo>
                    <a:pt x="1117" y="526"/>
                    <a:pt x="1119" y="524"/>
                    <a:pt x="1122" y="521"/>
                  </a:cubicBezTo>
                  <a:cubicBezTo>
                    <a:pt x="1124" y="519"/>
                    <a:pt x="1125" y="518"/>
                    <a:pt x="1127" y="516"/>
                  </a:cubicBezTo>
                  <a:cubicBezTo>
                    <a:pt x="1129" y="513"/>
                    <a:pt x="1131" y="511"/>
                    <a:pt x="1132" y="508"/>
                  </a:cubicBezTo>
                  <a:cubicBezTo>
                    <a:pt x="1133" y="506"/>
                    <a:pt x="1133" y="503"/>
                    <a:pt x="1135" y="502"/>
                  </a:cubicBezTo>
                  <a:cubicBezTo>
                    <a:pt x="1136" y="499"/>
                    <a:pt x="1139" y="498"/>
                    <a:pt x="1140" y="496"/>
                  </a:cubicBezTo>
                  <a:cubicBezTo>
                    <a:pt x="1141" y="494"/>
                    <a:pt x="1141" y="492"/>
                    <a:pt x="1143" y="491"/>
                  </a:cubicBezTo>
                  <a:cubicBezTo>
                    <a:pt x="1145" y="489"/>
                    <a:pt x="1147" y="487"/>
                    <a:pt x="1149" y="485"/>
                  </a:cubicBezTo>
                  <a:cubicBezTo>
                    <a:pt x="1150" y="483"/>
                    <a:pt x="1151" y="481"/>
                    <a:pt x="1152" y="478"/>
                  </a:cubicBezTo>
                  <a:cubicBezTo>
                    <a:pt x="1153" y="477"/>
                    <a:pt x="1153" y="476"/>
                    <a:pt x="1151" y="476"/>
                  </a:cubicBezTo>
                  <a:cubicBezTo>
                    <a:pt x="1152" y="474"/>
                    <a:pt x="1154" y="471"/>
                    <a:pt x="1155" y="469"/>
                  </a:cubicBezTo>
                  <a:cubicBezTo>
                    <a:pt x="1155" y="468"/>
                    <a:pt x="1154" y="468"/>
                    <a:pt x="1154" y="467"/>
                  </a:cubicBezTo>
                  <a:cubicBezTo>
                    <a:pt x="1154" y="466"/>
                    <a:pt x="1153" y="466"/>
                    <a:pt x="1154" y="464"/>
                  </a:cubicBezTo>
                  <a:cubicBezTo>
                    <a:pt x="1154" y="463"/>
                    <a:pt x="1155" y="463"/>
                    <a:pt x="1156" y="462"/>
                  </a:cubicBezTo>
                  <a:cubicBezTo>
                    <a:pt x="1155" y="462"/>
                    <a:pt x="1154" y="462"/>
                    <a:pt x="1154" y="460"/>
                  </a:cubicBezTo>
                  <a:cubicBezTo>
                    <a:pt x="1154" y="459"/>
                    <a:pt x="1154" y="458"/>
                    <a:pt x="1154" y="457"/>
                  </a:cubicBezTo>
                  <a:cubicBezTo>
                    <a:pt x="1154" y="455"/>
                    <a:pt x="1154" y="454"/>
                    <a:pt x="1155" y="452"/>
                  </a:cubicBezTo>
                  <a:cubicBezTo>
                    <a:pt x="1156" y="450"/>
                    <a:pt x="1156" y="448"/>
                    <a:pt x="1156" y="446"/>
                  </a:cubicBezTo>
                  <a:cubicBezTo>
                    <a:pt x="1156" y="445"/>
                    <a:pt x="1157" y="445"/>
                    <a:pt x="1157" y="445"/>
                  </a:cubicBezTo>
                  <a:cubicBezTo>
                    <a:pt x="1158" y="444"/>
                    <a:pt x="1157" y="444"/>
                    <a:pt x="1157" y="444"/>
                  </a:cubicBezTo>
                  <a:cubicBezTo>
                    <a:pt x="1158" y="441"/>
                    <a:pt x="1162" y="439"/>
                    <a:pt x="1163" y="437"/>
                  </a:cubicBezTo>
                  <a:cubicBezTo>
                    <a:pt x="1161" y="435"/>
                    <a:pt x="1163" y="435"/>
                    <a:pt x="1165" y="433"/>
                  </a:cubicBezTo>
                  <a:cubicBezTo>
                    <a:pt x="1163" y="434"/>
                    <a:pt x="1161" y="431"/>
                    <a:pt x="1160" y="430"/>
                  </a:cubicBezTo>
                  <a:cubicBezTo>
                    <a:pt x="1160" y="430"/>
                    <a:pt x="1161" y="430"/>
                    <a:pt x="1161" y="429"/>
                  </a:cubicBezTo>
                  <a:cubicBezTo>
                    <a:pt x="1162" y="428"/>
                    <a:pt x="1162" y="426"/>
                    <a:pt x="1162" y="425"/>
                  </a:cubicBezTo>
                  <a:cubicBezTo>
                    <a:pt x="1161" y="425"/>
                    <a:pt x="1160" y="424"/>
                    <a:pt x="1159" y="424"/>
                  </a:cubicBezTo>
                  <a:cubicBezTo>
                    <a:pt x="1159" y="423"/>
                    <a:pt x="1159" y="423"/>
                    <a:pt x="1158" y="422"/>
                  </a:cubicBezTo>
                  <a:cubicBezTo>
                    <a:pt x="1158" y="422"/>
                    <a:pt x="1157" y="422"/>
                    <a:pt x="1156" y="421"/>
                  </a:cubicBezTo>
                  <a:cubicBezTo>
                    <a:pt x="1158" y="421"/>
                    <a:pt x="1159" y="422"/>
                    <a:pt x="1161" y="423"/>
                  </a:cubicBezTo>
                  <a:cubicBezTo>
                    <a:pt x="1161" y="423"/>
                    <a:pt x="1162" y="422"/>
                    <a:pt x="1161" y="422"/>
                  </a:cubicBezTo>
                  <a:cubicBezTo>
                    <a:pt x="1163" y="422"/>
                    <a:pt x="1163" y="421"/>
                    <a:pt x="1163" y="420"/>
                  </a:cubicBezTo>
                  <a:cubicBezTo>
                    <a:pt x="1163" y="417"/>
                    <a:pt x="1160" y="416"/>
                    <a:pt x="1158" y="415"/>
                  </a:cubicBezTo>
                  <a:cubicBezTo>
                    <a:pt x="1156" y="415"/>
                    <a:pt x="1155" y="414"/>
                    <a:pt x="1154" y="413"/>
                  </a:cubicBezTo>
                  <a:cubicBezTo>
                    <a:pt x="1151" y="411"/>
                    <a:pt x="1149" y="408"/>
                    <a:pt x="1147" y="405"/>
                  </a:cubicBezTo>
                  <a:cubicBezTo>
                    <a:pt x="1147" y="404"/>
                    <a:pt x="1144" y="405"/>
                    <a:pt x="1142" y="405"/>
                  </a:cubicBezTo>
                  <a:cubicBezTo>
                    <a:pt x="1140" y="405"/>
                    <a:pt x="1138" y="405"/>
                    <a:pt x="1135" y="405"/>
                  </a:cubicBezTo>
                  <a:cubicBezTo>
                    <a:pt x="1137" y="405"/>
                    <a:pt x="1136" y="407"/>
                    <a:pt x="1135" y="408"/>
                  </a:cubicBezTo>
                  <a:cubicBezTo>
                    <a:pt x="1137" y="406"/>
                    <a:pt x="1136" y="410"/>
                    <a:pt x="1135" y="410"/>
                  </a:cubicBezTo>
                  <a:cubicBezTo>
                    <a:pt x="1135" y="411"/>
                    <a:pt x="1136" y="411"/>
                    <a:pt x="1136" y="411"/>
                  </a:cubicBezTo>
                  <a:cubicBezTo>
                    <a:pt x="1135" y="412"/>
                    <a:pt x="1134" y="413"/>
                    <a:pt x="1134" y="414"/>
                  </a:cubicBezTo>
                  <a:cubicBezTo>
                    <a:pt x="1133" y="416"/>
                    <a:pt x="1132" y="415"/>
                    <a:pt x="1131" y="416"/>
                  </a:cubicBezTo>
                  <a:cubicBezTo>
                    <a:pt x="1131" y="415"/>
                    <a:pt x="1132" y="414"/>
                    <a:pt x="1132" y="414"/>
                  </a:cubicBezTo>
                  <a:cubicBezTo>
                    <a:pt x="1133" y="413"/>
                    <a:pt x="1133" y="412"/>
                    <a:pt x="1134" y="412"/>
                  </a:cubicBezTo>
                  <a:cubicBezTo>
                    <a:pt x="1134" y="411"/>
                    <a:pt x="1135" y="409"/>
                    <a:pt x="1134" y="409"/>
                  </a:cubicBezTo>
                  <a:cubicBezTo>
                    <a:pt x="1133" y="409"/>
                    <a:pt x="1130" y="412"/>
                    <a:pt x="1129" y="413"/>
                  </a:cubicBezTo>
                  <a:cubicBezTo>
                    <a:pt x="1128" y="414"/>
                    <a:pt x="1127" y="415"/>
                    <a:pt x="1125" y="415"/>
                  </a:cubicBezTo>
                  <a:cubicBezTo>
                    <a:pt x="1124" y="415"/>
                    <a:pt x="1120" y="415"/>
                    <a:pt x="1121" y="414"/>
                  </a:cubicBezTo>
                  <a:cubicBezTo>
                    <a:pt x="1121" y="413"/>
                    <a:pt x="1123" y="413"/>
                    <a:pt x="1123" y="413"/>
                  </a:cubicBezTo>
                  <a:cubicBezTo>
                    <a:pt x="1124" y="412"/>
                    <a:pt x="1124" y="412"/>
                    <a:pt x="1124" y="411"/>
                  </a:cubicBezTo>
                  <a:cubicBezTo>
                    <a:pt x="1125" y="411"/>
                    <a:pt x="1127" y="410"/>
                    <a:pt x="1126" y="410"/>
                  </a:cubicBezTo>
                  <a:cubicBezTo>
                    <a:pt x="1125" y="409"/>
                    <a:pt x="1124" y="409"/>
                    <a:pt x="1123" y="409"/>
                  </a:cubicBezTo>
                  <a:cubicBezTo>
                    <a:pt x="1122" y="408"/>
                    <a:pt x="1120" y="408"/>
                    <a:pt x="1123" y="407"/>
                  </a:cubicBezTo>
                  <a:cubicBezTo>
                    <a:pt x="1123" y="407"/>
                    <a:pt x="1124" y="406"/>
                    <a:pt x="1124" y="406"/>
                  </a:cubicBezTo>
                  <a:cubicBezTo>
                    <a:pt x="1122" y="404"/>
                    <a:pt x="1122" y="405"/>
                    <a:pt x="1120" y="406"/>
                  </a:cubicBezTo>
                  <a:cubicBezTo>
                    <a:pt x="1119" y="406"/>
                    <a:pt x="1119" y="407"/>
                    <a:pt x="1120" y="408"/>
                  </a:cubicBezTo>
                  <a:cubicBezTo>
                    <a:pt x="1120" y="408"/>
                    <a:pt x="1121" y="408"/>
                    <a:pt x="1121" y="409"/>
                  </a:cubicBezTo>
                  <a:cubicBezTo>
                    <a:pt x="1121" y="410"/>
                    <a:pt x="1116" y="412"/>
                    <a:pt x="1115" y="411"/>
                  </a:cubicBezTo>
                  <a:cubicBezTo>
                    <a:pt x="1114" y="410"/>
                    <a:pt x="1115" y="409"/>
                    <a:pt x="1116" y="408"/>
                  </a:cubicBezTo>
                  <a:cubicBezTo>
                    <a:pt x="1116" y="407"/>
                    <a:pt x="1116" y="406"/>
                    <a:pt x="1116" y="406"/>
                  </a:cubicBezTo>
                  <a:cubicBezTo>
                    <a:pt x="1116" y="406"/>
                    <a:pt x="1116" y="405"/>
                    <a:pt x="1116" y="405"/>
                  </a:cubicBezTo>
                  <a:cubicBezTo>
                    <a:pt x="1116" y="405"/>
                    <a:pt x="1116" y="405"/>
                    <a:pt x="1116" y="405"/>
                  </a:cubicBezTo>
                  <a:cubicBezTo>
                    <a:pt x="1116" y="404"/>
                    <a:pt x="1116" y="404"/>
                    <a:pt x="1116" y="404"/>
                  </a:cubicBezTo>
                  <a:cubicBezTo>
                    <a:pt x="1116" y="404"/>
                    <a:pt x="1116" y="404"/>
                    <a:pt x="1116" y="404"/>
                  </a:cubicBezTo>
                  <a:cubicBezTo>
                    <a:pt x="1116" y="404"/>
                    <a:pt x="1116" y="403"/>
                    <a:pt x="1116" y="403"/>
                  </a:cubicBezTo>
                  <a:cubicBezTo>
                    <a:pt x="1116" y="403"/>
                    <a:pt x="1116" y="403"/>
                    <a:pt x="1116" y="403"/>
                  </a:cubicBezTo>
                  <a:cubicBezTo>
                    <a:pt x="1116" y="403"/>
                    <a:pt x="1116" y="402"/>
                    <a:pt x="1116" y="402"/>
                  </a:cubicBezTo>
                  <a:cubicBezTo>
                    <a:pt x="1117" y="401"/>
                    <a:pt x="1116" y="401"/>
                    <a:pt x="1116" y="400"/>
                  </a:cubicBezTo>
                  <a:cubicBezTo>
                    <a:pt x="1114" y="399"/>
                    <a:pt x="1111" y="399"/>
                    <a:pt x="1109" y="399"/>
                  </a:cubicBezTo>
                  <a:cubicBezTo>
                    <a:pt x="1106" y="399"/>
                    <a:pt x="1103" y="399"/>
                    <a:pt x="1100" y="399"/>
                  </a:cubicBezTo>
                  <a:cubicBezTo>
                    <a:pt x="1101" y="398"/>
                    <a:pt x="1099" y="397"/>
                    <a:pt x="1099" y="397"/>
                  </a:cubicBezTo>
                  <a:cubicBezTo>
                    <a:pt x="1099" y="396"/>
                    <a:pt x="1101" y="395"/>
                    <a:pt x="1101" y="395"/>
                  </a:cubicBezTo>
                  <a:cubicBezTo>
                    <a:pt x="1103" y="393"/>
                    <a:pt x="1104" y="393"/>
                    <a:pt x="1106" y="392"/>
                  </a:cubicBezTo>
                  <a:cubicBezTo>
                    <a:pt x="1108" y="391"/>
                    <a:pt x="1109" y="390"/>
                    <a:pt x="1111" y="388"/>
                  </a:cubicBezTo>
                  <a:cubicBezTo>
                    <a:pt x="1113" y="386"/>
                    <a:pt x="1117" y="385"/>
                    <a:pt x="1119" y="383"/>
                  </a:cubicBezTo>
                  <a:cubicBezTo>
                    <a:pt x="1122" y="382"/>
                    <a:pt x="1123" y="380"/>
                    <a:pt x="1125" y="379"/>
                  </a:cubicBezTo>
                  <a:cubicBezTo>
                    <a:pt x="1126" y="378"/>
                    <a:pt x="1131" y="375"/>
                    <a:pt x="1131" y="373"/>
                  </a:cubicBezTo>
                  <a:cubicBezTo>
                    <a:pt x="1131" y="373"/>
                    <a:pt x="1130" y="373"/>
                    <a:pt x="1130" y="373"/>
                  </a:cubicBezTo>
                  <a:cubicBezTo>
                    <a:pt x="1130" y="372"/>
                    <a:pt x="1131" y="371"/>
                    <a:pt x="1132" y="370"/>
                  </a:cubicBezTo>
                  <a:cubicBezTo>
                    <a:pt x="1134" y="368"/>
                    <a:pt x="1135" y="366"/>
                    <a:pt x="1137" y="364"/>
                  </a:cubicBezTo>
                  <a:cubicBezTo>
                    <a:pt x="1140" y="362"/>
                    <a:pt x="1144" y="359"/>
                    <a:pt x="1147" y="357"/>
                  </a:cubicBezTo>
                  <a:cubicBezTo>
                    <a:pt x="1149" y="355"/>
                    <a:pt x="1151" y="355"/>
                    <a:pt x="1153" y="354"/>
                  </a:cubicBezTo>
                  <a:cubicBezTo>
                    <a:pt x="1154" y="353"/>
                    <a:pt x="1154" y="353"/>
                    <a:pt x="1154" y="352"/>
                  </a:cubicBezTo>
                  <a:cubicBezTo>
                    <a:pt x="1155" y="350"/>
                    <a:pt x="1156" y="349"/>
                    <a:pt x="1156" y="347"/>
                  </a:cubicBezTo>
                  <a:cubicBezTo>
                    <a:pt x="1157" y="346"/>
                    <a:pt x="1158" y="346"/>
                    <a:pt x="1159" y="345"/>
                  </a:cubicBezTo>
                  <a:cubicBezTo>
                    <a:pt x="1162" y="342"/>
                    <a:pt x="1165" y="340"/>
                    <a:pt x="1168" y="337"/>
                  </a:cubicBezTo>
                  <a:cubicBezTo>
                    <a:pt x="1170" y="336"/>
                    <a:pt x="1172" y="334"/>
                    <a:pt x="1174" y="333"/>
                  </a:cubicBezTo>
                  <a:cubicBezTo>
                    <a:pt x="1176" y="332"/>
                    <a:pt x="1180" y="330"/>
                    <a:pt x="1182" y="330"/>
                  </a:cubicBezTo>
                  <a:cubicBezTo>
                    <a:pt x="1183" y="330"/>
                    <a:pt x="1183" y="331"/>
                    <a:pt x="1184" y="331"/>
                  </a:cubicBezTo>
                  <a:cubicBezTo>
                    <a:pt x="1186" y="331"/>
                    <a:pt x="1187" y="330"/>
                    <a:pt x="1189" y="330"/>
                  </a:cubicBezTo>
                  <a:cubicBezTo>
                    <a:pt x="1190" y="330"/>
                    <a:pt x="1192" y="330"/>
                    <a:pt x="1194" y="330"/>
                  </a:cubicBezTo>
                  <a:cubicBezTo>
                    <a:pt x="1194" y="331"/>
                    <a:pt x="1196" y="330"/>
                    <a:pt x="1196" y="330"/>
                  </a:cubicBezTo>
                  <a:cubicBezTo>
                    <a:pt x="1198" y="330"/>
                    <a:pt x="1198" y="330"/>
                    <a:pt x="1199" y="330"/>
                  </a:cubicBezTo>
                  <a:cubicBezTo>
                    <a:pt x="1200" y="330"/>
                    <a:pt x="1202" y="330"/>
                    <a:pt x="1203" y="330"/>
                  </a:cubicBezTo>
                  <a:cubicBezTo>
                    <a:pt x="1203" y="330"/>
                    <a:pt x="1204" y="330"/>
                    <a:pt x="1204" y="330"/>
                  </a:cubicBezTo>
                  <a:cubicBezTo>
                    <a:pt x="1205" y="330"/>
                    <a:pt x="1205" y="330"/>
                    <a:pt x="1206" y="330"/>
                  </a:cubicBezTo>
                  <a:cubicBezTo>
                    <a:pt x="1206" y="330"/>
                    <a:pt x="1209" y="330"/>
                    <a:pt x="1209" y="330"/>
                  </a:cubicBezTo>
                  <a:cubicBezTo>
                    <a:pt x="1210" y="331"/>
                    <a:pt x="1208" y="331"/>
                    <a:pt x="1208" y="332"/>
                  </a:cubicBezTo>
                  <a:cubicBezTo>
                    <a:pt x="1209" y="333"/>
                    <a:pt x="1213" y="334"/>
                    <a:pt x="1213" y="333"/>
                  </a:cubicBezTo>
                  <a:cubicBezTo>
                    <a:pt x="1214" y="333"/>
                    <a:pt x="1213" y="333"/>
                    <a:pt x="1213" y="332"/>
                  </a:cubicBezTo>
                  <a:cubicBezTo>
                    <a:pt x="1214" y="331"/>
                    <a:pt x="1214" y="331"/>
                    <a:pt x="1215" y="330"/>
                  </a:cubicBezTo>
                  <a:cubicBezTo>
                    <a:pt x="1215" y="329"/>
                    <a:pt x="1217" y="329"/>
                    <a:pt x="1219" y="331"/>
                  </a:cubicBezTo>
                  <a:cubicBezTo>
                    <a:pt x="1222" y="332"/>
                    <a:pt x="1226" y="333"/>
                    <a:pt x="1229" y="332"/>
                  </a:cubicBezTo>
                  <a:cubicBezTo>
                    <a:pt x="1230" y="331"/>
                    <a:pt x="1232" y="330"/>
                    <a:pt x="1233" y="330"/>
                  </a:cubicBezTo>
                  <a:cubicBezTo>
                    <a:pt x="1234" y="330"/>
                    <a:pt x="1236" y="331"/>
                    <a:pt x="1237" y="331"/>
                  </a:cubicBezTo>
                  <a:cubicBezTo>
                    <a:pt x="1237" y="332"/>
                    <a:pt x="1239" y="332"/>
                    <a:pt x="1239" y="332"/>
                  </a:cubicBezTo>
                  <a:cubicBezTo>
                    <a:pt x="1241" y="332"/>
                    <a:pt x="1240" y="332"/>
                    <a:pt x="1240" y="332"/>
                  </a:cubicBezTo>
                  <a:cubicBezTo>
                    <a:pt x="1240" y="331"/>
                    <a:pt x="1240" y="331"/>
                    <a:pt x="1239" y="331"/>
                  </a:cubicBezTo>
                  <a:cubicBezTo>
                    <a:pt x="1238" y="330"/>
                    <a:pt x="1237" y="330"/>
                    <a:pt x="1238" y="329"/>
                  </a:cubicBezTo>
                  <a:cubicBezTo>
                    <a:pt x="1239" y="328"/>
                    <a:pt x="1241" y="329"/>
                    <a:pt x="1243" y="329"/>
                  </a:cubicBezTo>
                  <a:cubicBezTo>
                    <a:pt x="1243" y="328"/>
                    <a:pt x="1242" y="328"/>
                    <a:pt x="1242" y="327"/>
                  </a:cubicBezTo>
                  <a:cubicBezTo>
                    <a:pt x="1241" y="326"/>
                    <a:pt x="1244" y="325"/>
                    <a:pt x="1246" y="325"/>
                  </a:cubicBezTo>
                  <a:cubicBezTo>
                    <a:pt x="1247" y="324"/>
                    <a:pt x="1248" y="325"/>
                    <a:pt x="1250" y="325"/>
                  </a:cubicBezTo>
                  <a:cubicBezTo>
                    <a:pt x="1251" y="326"/>
                    <a:pt x="1252" y="326"/>
                    <a:pt x="1253" y="326"/>
                  </a:cubicBezTo>
                  <a:cubicBezTo>
                    <a:pt x="1254" y="327"/>
                    <a:pt x="1255" y="327"/>
                    <a:pt x="1256" y="327"/>
                  </a:cubicBezTo>
                  <a:cubicBezTo>
                    <a:pt x="1256" y="327"/>
                    <a:pt x="1257" y="329"/>
                    <a:pt x="1258" y="329"/>
                  </a:cubicBezTo>
                  <a:cubicBezTo>
                    <a:pt x="1258" y="329"/>
                    <a:pt x="1260" y="330"/>
                    <a:pt x="1262" y="327"/>
                  </a:cubicBezTo>
                  <a:cubicBezTo>
                    <a:pt x="1262" y="327"/>
                    <a:pt x="1263" y="328"/>
                    <a:pt x="1263" y="328"/>
                  </a:cubicBezTo>
                  <a:cubicBezTo>
                    <a:pt x="1265" y="328"/>
                    <a:pt x="1266" y="329"/>
                    <a:pt x="1267" y="330"/>
                  </a:cubicBezTo>
                  <a:cubicBezTo>
                    <a:pt x="1268" y="330"/>
                    <a:pt x="1268" y="330"/>
                    <a:pt x="1268" y="331"/>
                  </a:cubicBezTo>
                  <a:cubicBezTo>
                    <a:pt x="1269" y="331"/>
                    <a:pt x="1268" y="331"/>
                    <a:pt x="1268" y="332"/>
                  </a:cubicBezTo>
                  <a:cubicBezTo>
                    <a:pt x="1269" y="333"/>
                    <a:pt x="1273" y="332"/>
                    <a:pt x="1274" y="333"/>
                  </a:cubicBezTo>
                  <a:cubicBezTo>
                    <a:pt x="1273" y="334"/>
                    <a:pt x="1271" y="334"/>
                    <a:pt x="1269" y="334"/>
                  </a:cubicBezTo>
                  <a:cubicBezTo>
                    <a:pt x="1268" y="334"/>
                    <a:pt x="1266" y="334"/>
                    <a:pt x="1265" y="334"/>
                  </a:cubicBezTo>
                  <a:cubicBezTo>
                    <a:pt x="1264" y="334"/>
                    <a:pt x="1263" y="335"/>
                    <a:pt x="1262" y="335"/>
                  </a:cubicBezTo>
                  <a:cubicBezTo>
                    <a:pt x="1263" y="336"/>
                    <a:pt x="1264" y="337"/>
                    <a:pt x="1264" y="339"/>
                  </a:cubicBezTo>
                  <a:cubicBezTo>
                    <a:pt x="1268" y="338"/>
                    <a:pt x="1271" y="337"/>
                    <a:pt x="1275" y="336"/>
                  </a:cubicBezTo>
                  <a:cubicBezTo>
                    <a:pt x="1275" y="336"/>
                    <a:pt x="1275" y="336"/>
                    <a:pt x="1275" y="335"/>
                  </a:cubicBezTo>
                  <a:cubicBezTo>
                    <a:pt x="1276" y="336"/>
                    <a:pt x="1279" y="338"/>
                    <a:pt x="1281" y="337"/>
                  </a:cubicBezTo>
                  <a:cubicBezTo>
                    <a:pt x="1281" y="337"/>
                    <a:pt x="1281" y="336"/>
                    <a:pt x="1281" y="335"/>
                  </a:cubicBezTo>
                  <a:cubicBezTo>
                    <a:pt x="1282" y="334"/>
                    <a:pt x="1284" y="335"/>
                    <a:pt x="1285" y="334"/>
                  </a:cubicBezTo>
                  <a:cubicBezTo>
                    <a:pt x="1284" y="334"/>
                    <a:pt x="1285" y="332"/>
                    <a:pt x="1286" y="333"/>
                  </a:cubicBezTo>
                  <a:cubicBezTo>
                    <a:pt x="1287" y="333"/>
                    <a:pt x="1288" y="333"/>
                    <a:pt x="1289" y="334"/>
                  </a:cubicBezTo>
                  <a:cubicBezTo>
                    <a:pt x="1290" y="334"/>
                    <a:pt x="1291" y="335"/>
                    <a:pt x="1292" y="335"/>
                  </a:cubicBezTo>
                  <a:cubicBezTo>
                    <a:pt x="1293" y="335"/>
                    <a:pt x="1294" y="333"/>
                    <a:pt x="1296" y="333"/>
                  </a:cubicBezTo>
                  <a:cubicBezTo>
                    <a:pt x="1299" y="333"/>
                    <a:pt x="1301" y="333"/>
                    <a:pt x="1304" y="334"/>
                  </a:cubicBezTo>
                  <a:cubicBezTo>
                    <a:pt x="1304" y="333"/>
                    <a:pt x="1304" y="331"/>
                    <a:pt x="1304" y="331"/>
                  </a:cubicBezTo>
                  <a:cubicBezTo>
                    <a:pt x="1303" y="330"/>
                    <a:pt x="1302" y="329"/>
                    <a:pt x="1301" y="329"/>
                  </a:cubicBezTo>
                  <a:cubicBezTo>
                    <a:pt x="1301" y="329"/>
                    <a:pt x="1301" y="329"/>
                    <a:pt x="1300" y="329"/>
                  </a:cubicBezTo>
                  <a:cubicBezTo>
                    <a:pt x="1299" y="329"/>
                    <a:pt x="1299" y="328"/>
                    <a:pt x="1299" y="328"/>
                  </a:cubicBezTo>
                  <a:cubicBezTo>
                    <a:pt x="1298" y="328"/>
                    <a:pt x="1296" y="328"/>
                    <a:pt x="1296" y="328"/>
                  </a:cubicBezTo>
                  <a:cubicBezTo>
                    <a:pt x="1296" y="329"/>
                    <a:pt x="1297" y="329"/>
                    <a:pt x="1296" y="330"/>
                  </a:cubicBezTo>
                  <a:cubicBezTo>
                    <a:pt x="1296" y="330"/>
                    <a:pt x="1296" y="329"/>
                    <a:pt x="1295" y="329"/>
                  </a:cubicBezTo>
                  <a:cubicBezTo>
                    <a:pt x="1295" y="329"/>
                    <a:pt x="1294" y="330"/>
                    <a:pt x="1294" y="329"/>
                  </a:cubicBezTo>
                  <a:cubicBezTo>
                    <a:pt x="1292" y="329"/>
                    <a:pt x="1294" y="327"/>
                    <a:pt x="1295" y="327"/>
                  </a:cubicBezTo>
                  <a:cubicBezTo>
                    <a:pt x="1295" y="326"/>
                    <a:pt x="1294" y="326"/>
                    <a:pt x="1294" y="324"/>
                  </a:cubicBezTo>
                  <a:cubicBezTo>
                    <a:pt x="1294" y="324"/>
                    <a:pt x="1294" y="323"/>
                    <a:pt x="1294" y="323"/>
                  </a:cubicBezTo>
                  <a:cubicBezTo>
                    <a:pt x="1295" y="323"/>
                    <a:pt x="1296" y="323"/>
                    <a:pt x="1296" y="323"/>
                  </a:cubicBezTo>
                  <a:cubicBezTo>
                    <a:pt x="1296" y="323"/>
                    <a:pt x="1297" y="321"/>
                    <a:pt x="1297" y="321"/>
                  </a:cubicBezTo>
                  <a:cubicBezTo>
                    <a:pt x="1297" y="321"/>
                    <a:pt x="1298" y="320"/>
                    <a:pt x="1298" y="320"/>
                  </a:cubicBezTo>
                  <a:cubicBezTo>
                    <a:pt x="1301" y="318"/>
                    <a:pt x="1304" y="316"/>
                    <a:pt x="1307" y="313"/>
                  </a:cubicBezTo>
                  <a:cubicBezTo>
                    <a:pt x="1308" y="312"/>
                    <a:pt x="1309" y="311"/>
                    <a:pt x="1310" y="311"/>
                  </a:cubicBezTo>
                  <a:cubicBezTo>
                    <a:pt x="1310" y="310"/>
                    <a:pt x="1311" y="310"/>
                    <a:pt x="1311" y="310"/>
                  </a:cubicBezTo>
                  <a:cubicBezTo>
                    <a:pt x="1312" y="309"/>
                    <a:pt x="1312" y="307"/>
                    <a:pt x="1313" y="306"/>
                  </a:cubicBezTo>
                  <a:cubicBezTo>
                    <a:pt x="1314" y="305"/>
                    <a:pt x="1316" y="304"/>
                    <a:pt x="1317" y="303"/>
                  </a:cubicBezTo>
                  <a:cubicBezTo>
                    <a:pt x="1318" y="303"/>
                    <a:pt x="1319" y="302"/>
                    <a:pt x="1319" y="301"/>
                  </a:cubicBezTo>
                  <a:cubicBezTo>
                    <a:pt x="1319" y="300"/>
                    <a:pt x="1319" y="300"/>
                    <a:pt x="1319" y="299"/>
                  </a:cubicBezTo>
                  <a:cubicBezTo>
                    <a:pt x="1319" y="298"/>
                    <a:pt x="1320" y="297"/>
                    <a:pt x="1321" y="296"/>
                  </a:cubicBezTo>
                  <a:cubicBezTo>
                    <a:pt x="1326" y="294"/>
                    <a:pt x="1332" y="293"/>
                    <a:pt x="1338" y="293"/>
                  </a:cubicBezTo>
                  <a:cubicBezTo>
                    <a:pt x="1339" y="293"/>
                    <a:pt x="1340" y="293"/>
                    <a:pt x="1341" y="292"/>
                  </a:cubicBezTo>
                  <a:cubicBezTo>
                    <a:pt x="1342" y="292"/>
                    <a:pt x="1342" y="292"/>
                    <a:pt x="1342" y="292"/>
                  </a:cubicBezTo>
                  <a:cubicBezTo>
                    <a:pt x="1344" y="291"/>
                    <a:pt x="1345" y="291"/>
                    <a:pt x="1346" y="292"/>
                  </a:cubicBezTo>
                  <a:cubicBezTo>
                    <a:pt x="1346" y="293"/>
                    <a:pt x="1347" y="293"/>
                    <a:pt x="1348" y="294"/>
                  </a:cubicBezTo>
                  <a:cubicBezTo>
                    <a:pt x="1348" y="294"/>
                    <a:pt x="1348" y="294"/>
                    <a:pt x="1348" y="294"/>
                  </a:cubicBezTo>
                  <a:cubicBezTo>
                    <a:pt x="1348" y="294"/>
                    <a:pt x="1348" y="295"/>
                    <a:pt x="1348" y="295"/>
                  </a:cubicBezTo>
                  <a:cubicBezTo>
                    <a:pt x="1349" y="296"/>
                    <a:pt x="1352" y="294"/>
                    <a:pt x="1353" y="293"/>
                  </a:cubicBezTo>
                  <a:cubicBezTo>
                    <a:pt x="1353" y="292"/>
                    <a:pt x="1354" y="292"/>
                    <a:pt x="1355" y="291"/>
                  </a:cubicBezTo>
                  <a:cubicBezTo>
                    <a:pt x="1356" y="291"/>
                    <a:pt x="1356" y="291"/>
                    <a:pt x="1357" y="292"/>
                  </a:cubicBezTo>
                  <a:cubicBezTo>
                    <a:pt x="1357" y="292"/>
                    <a:pt x="1357" y="293"/>
                    <a:pt x="1357" y="293"/>
                  </a:cubicBezTo>
                  <a:cubicBezTo>
                    <a:pt x="1357" y="294"/>
                    <a:pt x="1356" y="294"/>
                    <a:pt x="1356" y="294"/>
                  </a:cubicBezTo>
                  <a:cubicBezTo>
                    <a:pt x="1356" y="295"/>
                    <a:pt x="1356" y="295"/>
                    <a:pt x="1356" y="295"/>
                  </a:cubicBezTo>
                  <a:cubicBezTo>
                    <a:pt x="1356" y="295"/>
                    <a:pt x="1356" y="296"/>
                    <a:pt x="1356" y="296"/>
                  </a:cubicBezTo>
                  <a:cubicBezTo>
                    <a:pt x="1355" y="296"/>
                    <a:pt x="1355" y="297"/>
                    <a:pt x="1355" y="297"/>
                  </a:cubicBezTo>
                  <a:cubicBezTo>
                    <a:pt x="1355" y="297"/>
                    <a:pt x="1354" y="297"/>
                    <a:pt x="1354" y="298"/>
                  </a:cubicBezTo>
                  <a:cubicBezTo>
                    <a:pt x="1354" y="298"/>
                    <a:pt x="1353" y="298"/>
                    <a:pt x="1353" y="298"/>
                  </a:cubicBezTo>
                  <a:cubicBezTo>
                    <a:pt x="1355" y="299"/>
                    <a:pt x="1351" y="301"/>
                    <a:pt x="1353" y="301"/>
                  </a:cubicBezTo>
                  <a:cubicBezTo>
                    <a:pt x="1352" y="301"/>
                    <a:pt x="1351" y="301"/>
                    <a:pt x="1351" y="302"/>
                  </a:cubicBezTo>
                  <a:cubicBezTo>
                    <a:pt x="1352" y="302"/>
                    <a:pt x="1353" y="303"/>
                    <a:pt x="1352" y="304"/>
                  </a:cubicBezTo>
                  <a:cubicBezTo>
                    <a:pt x="1352" y="306"/>
                    <a:pt x="1350" y="307"/>
                    <a:pt x="1353" y="307"/>
                  </a:cubicBezTo>
                  <a:cubicBezTo>
                    <a:pt x="1354" y="307"/>
                    <a:pt x="1355" y="306"/>
                    <a:pt x="1356" y="307"/>
                  </a:cubicBezTo>
                  <a:cubicBezTo>
                    <a:pt x="1357" y="307"/>
                    <a:pt x="1356" y="307"/>
                    <a:pt x="1356" y="307"/>
                  </a:cubicBezTo>
                  <a:cubicBezTo>
                    <a:pt x="1356" y="307"/>
                    <a:pt x="1355" y="308"/>
                    <a:pt x="1355" y="308"/>
                  </a:cubicBezTo>
                  <a:cubicBezTo>
                    <a:pt x="1355" y="309"/>
                    <a:pt x="1355" y="309"/>
                    <a:pt x="1355" y="309"/>
                  </a:cubicBezTo>
                  <a:cubicBezTo>
                    <a:pt x="1355" y="310"/>
                    <a:pt x="1355" y="310"/>
                    <a:pt x="1355" y="310"/>
                  </a:cubicBezTo>
                  <a:cubicBezTo>
                    <a:pt x="1355" y="311"/>
                    <a:pt x="1354" y="311"/>
                    <a:pt x="1354" y="312"/>
                  </a:cubicBezTo>
                  <a:cubicBezTo>
                    <a:pt x="1356" y="312"/>
                    <a:pt x="1357" y="311"/>
                    <a:pt x="1358" y="311"/>
                  </a:cubicBezTo>
                  <a:cubicBezTo>
                    <a:pt x="1359" y="310"/>
                    <a:pt x="1360" y="310"/>
                    <a:pt x="1361" y="310"/>
                  </a:cubicBezTo>
                  <a:cubicBezTo>
                    <a:pt x="1362" y="309"/>
                    <a:pt x="1362" y="308"/>
                    <a:pt x="1362" y="307"/>
                  </a:cubicBezTo>
                  <a:cubicBezTo>
                    <a:pt x="1363" y="306"/>
                    <a:pt x="1364" y="306"/>
                    <a:pt x="1364" y="306"/>
                  </a:cubicBezTo>
                  <a:cubicBezTo>
                    <a:pt x="1367" y="303"/>
                    <a:pt x="1370" y="301"/>
                    <a:pt x="1373" y="299"/>
                  </a:cubicBezTo>
                  <a:cubicBezTo>
                    <a:pt x="1374" y="298"/>
                    <a:pt x="1378" y="297"/>
                    <a:pt x="1378" y="295"/>
                  </a:cubicBezTo>
                  <a:cubicBezTo>
                    <a:pt x="1379" y="295"/>
                    <a:pt x="1379" y="295"/>
                    <a:pt x="1379" y="295"/>
                  </a:cubicBezTo>
                  <a:cubicBezTo>
                    <a:pt x="1381" y="296"/>
                    <a:pt x="1381" y="296"/>
                    <a:pt x="1381" y="296"/>
                  </a:cubicBezTo>
                  <a:cubicBezTo>
                    <a:pt x="1382" y="296"/>
                    <a:pt x="1382" y="294"/>
                    <a:pt x="1383" y="295"/>
                  </a:cubicBezTo>
                  <a:cubicBezTo>
                    <a:pt x="1383" y="295"/>
                    <a:pt x="1383" y="297"/>
                    <a:pt x="1384" y="297"/>
                  </a:cubicBezTo>
                  <a:cubicBezTo>
                    <a:pt x="1384" y="298"/>
                    <a:pt x="1387" y="295"/>
                    <a:pt x="1387" y="294"/>
                  </a:cubicBezTo>
                  <a:cubicBezTo>
                    <a:pt x="1386" y="293"/>
                    <a:pt x="1384" y="294"/>
                    <a:pt x="1384" y="293"/>
                  </a:cubicBezTo>
                  <a:cubicBezTo>
                    <a:pt x="1383" y="293"/>
                    <a:pt x="1384" y="291"/>
                    <a:pt x="1385" y="291"/>
                  </a:cubicBezTo>
                  <a:cubicBezTo>
                    <a:pt x="1385" y="290"/>
                    <a:pt x="1385" y="289"/>
                    <a:pt x="1385" y="288"/>
                  </a:cubicBezTo>
                  <a:cubicBezTo>
                    <a:pt x="1386" y="287"/>
                    <a:pt x="1387" y="286"/>
                    <a:pt x="1387" y="285"/>
                  </a:cubicBezTo>
                  <a:cubicBezTo>
                    <a:pt x="1387" y="284"/>
                    <a:pt x="1387" y="284"/>
                    <a:pt x="1387" y="283"/>
                  </a:cubicBezTo>
                  <a:cubicBezTo>
                    <a:pt x="1387" y="281"/>
                    <a:pt x="1388" y="281"/>
                    <a:pt x="1389" y="281"/>
                  </a:cubicBezTo>
                  <a:cubicBezTo>
                    <a:pt x="1391" y="280"/>
                    <a:pt x="1393" y="280"/>
                    <a:pt x="1395" y="279"/>
                  </a:cubicBezTo>
                  <a:cubicBezTo>
                    <a:pt x="1397" y="279"/>
                    <a:pt x="1399" y="278"/>
                    <a:pt x="1400" y="280"/>
                  </a:cubicBezTo>
                  <a:cubicBezTo>
                    <a:pt x="1401" y="280"/>
                    <a:pt x="1401" y="281"/>
                    <a:pt x="1402" y="281"/>
                  </a:cubicBezTo>
                  <a:cubicBezTo>
                    <a:pt x="1403" y="281"/>
                    <a:pt x="1404" y="282"/>
                    <a:pt x="1404" y="282"/>
                  </a:cubicBezTo>
                  <a:cubicBezTo>
                    <a:pt x="1407" y="282"/>
                    <a:pt x="1409" y="282"/>
                    <a:pt x="1411" y="283"/>
                  </a:cubicBezTo>
                  <a:cubicBezTo>
                    <a:pt x="1409" y="283"/>
                    <a:pt x="1407" y="282"/>
                    <a:pt x="1405" y="283"/>
                  </a:cubicBezTo>
                  <a:cubicBezTo>
                    <a:pt x="1406" y="283"/>
                    <a:pt x="1407" y="284"/>
                    <a:pt x="1407" y="285"/>
                  </a:cubicBezTo>
                  <a:cubicBezTo>
                    <a:pt x="1406" y="284"/>
                    <a:pt x="1406" y="284"/>
                    <a:pt x="1404" y="283"/>
                  </a:cubicBezTo>
                  <a:cubicBezTo>
                    <a:pt x="1403" y="283"/>
                    <a:pt x="1402" y="283"/>
                    <a:pt x="1401" y="283"/>
                  </a:cubicBezTo>
                  <a:cubicBezTo>
                    <a:pt x="1399" y="282"/>
                    <a:pt x="1399" y="283"/>
                    <a:pt x="1398" y="284"/>
                  </a:cubicBezTo>
                  <a:cubicBezTo>
                    <a:pt x="1397" y="285"/>
                    <a:pt x="1396" y="285"/>
                    <a:pt x="1395" y="286"/>
                  </a:cubicBezTo>
                  <a:cubicBezTo>
                    <a:pt x="1395" y="287"/>
                    <a:pt x="1395" y="288"/>
                    <a:pt x="1395" y="289"/>
                  </a:cubicBezTo>
                  <a:cubicBezTo>
                    <a:pt x="1395" y="289"/>
                    <a:pt x="1395" y="290"/>
                    <a:pt x="1395" y="291"/>
                  </a:cubicBezTo>
                  <a:cubicBezTo>
                    <a:pt x="1395" y="292"/>
                    <a:pt x="1395" y="293"/>
                    <a:pt x="1395" y="294"/>
                  </a:cubicBezTo>
                  <a:cubicBezTo>
                    <a:pt x="1394" y="295"/>
                    <a:pt x="1393" y="295"/>
                    <a:pt x="1393" y="296"/>
                  </a:cubicBezTo>
                  <a:cubicBezTo>
                    <a:pt x="1392" y="296"/>
                    <a:pt x="1392" y="297"/>
                    <a:pt x="1393" y="298"/>
                  </a:cubicBezTo>
                  <a:cubicBezTo>
                    <a:pt x="1394" y="299"/>
                    <a:pt x="1394" y="300"/>
                    <a:pt x="1394" y="301"/>
                  </a:cubicBezTo>
                  <a:cubicBezTo>
                    <a:pt x="1393" y="303"/>
                    <a:pt x="1391" y="302"/>
                    <a:pt x="1390" y="304"/>
                  </a:cubicBezTo>
                  <a:cubicBezTo>
                    <a:pt x="1390" y="305"/>
                    <a:pt x="1391" y="308"/>
                    <a:pt x="1390" y="308"/>
                  </a:cubicBezTo>
                  <a:cubicBezTo>
                    <a:pt x="1388" y="309"/>
                    <a:pt x="1385" y="310"/>
                    <a:pt x="1382" y="311"/>
                  </a:cubicBezTo>
                  <a:cubicBezTo>
                    <a:pt x="1379" y="312"/>
                    <a:pt x="1376" y="313"/>
                    <a:pt x="1373" y="314"/>
                  </a:cubicBezTo>
                  <a:cubicBezTo>
                    <a:pt x="1372" y="315"/>
                    <a:pt x="1373" y="315"/>
                    <a:pt x="1372" y="316"/>
                  </a:cubicBezTo>
                  <a:cubicBezTo>
                    <a:pt x="1372" y="316"/>
                    <a:pt x="1373" y="316"/>
                    <a:pt x="1373" y="316"/>
                  </a:cubicBezTo>
                  <a:cubicBezTo>
                    <a:pt x="1370" y="320"/>
                    <a:pt x="1366" y="322"/>
                    <a:pt x="1363" y="325"/>
                  </a:cubicBezTo>
                  <a:cubicBezTo>
                    <a:pt x="1359" y="328"/>
                    <a:pt x="1355" y="331"/>
                    <a:pt x="1352" y="334"/>
                  </a:cubicBezTo>
                  <a:cubicBezTo>
                    <a:pt x="1350" y="337"/>
                    <a:pt x="1349" y="340"/>
                    <a:pt x="1347" y="342"/>
                  </a:cubicBezTo>
                  <a:cubicBezTo>
                    <a:pt x="1346" y="343"/>
                    <a:pt x="1346" y="344"/>
                    <a:pt x="1345" y="344"/>
                  </a:cubicBezTo>
                  <a:cubicBezTo>
                    <a:pt x="1345" y="344"/>
                    <a:pt x="1345" y="344"/>
                    <a:pt x="1344" y="344"/>
                  </a:cubicBezTo>
                  <a:cubicBezTo>
                    <a:pt x="1341" y="346"/>
                    <a:pt x="1338" y="348"/>
                    <a:pt x="1335" y="351"/>
                  </a:cubicBezTo>
                  <a:cubicBezTo>
                    <a:pt x="1336" y="351"/>
                    <a:pt x="1336" y="351"/>
                    <a:pt x="1336" y="352"/>
                  </a:cubicBezTo>
                  <a:cubicBezTo>
                    <a:pt x="1335" y="350"/>
                    <a:pt x="1333" y="351"/>
                    <a:pt x="1332" y="351"/>
                  </a:cubicBezTo>
                  <a:cubicBezTo>
                    <a:pt x="1331" y="351"/>
                    <a:pt x="1330" y="351"/>
                    <a:pt x="1330" y="351"/>
                  </a:cubicBezTo>
                  <a:cubicBezTo>
                    <a:pt x="1328" y="351"/>
                    <a:pt x="1328" y="353"/>
                    <a:pt x="1328" y="354"/>
                  </a:cubicBezTo>
                  <a:cubicBezTo>
                    <a:pt x="1327" y="354"/>
                    <a:pt x="1325" y="354"/>
                    <a:pt x="1324" y="354"/>
                  </a:cubicBezTo>
                  <a:cubicBezTo>
                    <a:pt x="1323" y="355"/>
                    <a:pt x="1321" y="355"/>
                    <a:pt x="1320" y="355"/>
                  </a:cubicBezTo>
                  <a:cubicBezTo>
                    <a:pt x="1321" y="356"/>
                    <a:pt x="1322" y="358"/>
                    <a:pt x="1322" y="360"/>
                  </a:cubicBezTo>
                  <a:cubicBezTo>
                    <a:pt x="1322" y="360"/>
                    <a:pt x="1321" y="361"/>
                    <a:pt x="1321" y="361"/>
                  </a:cubicBezTo>
                  <a:cubicBezTo>
                    <a:pt x="1320" y="363"/>
                    <a:pt x="1320" y="364"/>
                    <a:pt x="1319" y="365"/>
                  </a:cubicBezTo>
                  <a:cubicBezTo>
                    <a:pt x="1318" y="363"/>
                    <a:pt x="1317" y="366"/>
                    <a:pt x="1317" y="366"/>
                  </a:cubicBezTo>
                  <a:cubicBezTo>
                    <a:pt x="1316" y="367"/>
                    <a:pt x="1316" y="367"/>
                    <a:pt x="1315" y="367"/>
                  </a:cubicBezTo>
                  <a:cubicBezTo>
                    <a:pt x="1315" y="368"/>
                    <a:pt x="1314" y="369"/>
                    <a:pt x="1313" y="369"/>
                  </a:cubicBezTo>
                  <a:cubicBezTo>
                    <a:pt x="1311" y="371"/>
                    <a:pt x="1311" y="373"/>
                    <a:pt x="1310" y="376"/>
                  </a:cubicBezTo>
                  <a:cubicBezTo>
                    <a:pt x="1308" y="384"/>
                    <a:pt x="1308" y="393"/>
                    <a:pt x="1309" y="401"/>
                  </a:cubicBezTo>
                  <a:cubicBezTo>
                    <a:pt x="1310" y="406"/>
                    <a:pt x="1312" y="411"/>
                    <a:pt x="1312" y="417"/>
                  </a:cubicBezTo>
                  <a:cubicBezTo>
                    <a:pt x="1313" y="420"/>
                    <a:pt x="1313" y="424"/>
                    <a:pt x="1314" y="427"/>
                  </a:cubicBezTo>
                  <a:cubicBezTo>
                    <a:pt x="1315" y="428"/>
                    <a:pt x="1315" y="428"/>
                    <a:pt x="1316" y="429"/>
                  </a:cubicBezTo>
                  <a:cubicBezTo>
                    <a:pt x="1316" y="429"/>
                    <a:pt x="1316" y="429"/>
                    <a:pt x="1317" y="430"/>
                  </a:cubicBezTo>
                  <a:cubicBezTo>
                    <a:pt x="1317" y="430"/>
                    <a:pt x="1316" y="430"/>
                    <a:pt x="1316" y="430"/>
                  </a:cubicBezTo>
                  <a:cubicBezTo>
                    <a:pt x="1316" y="433"/>
                    <a:pt x="1317" y="437"/>
                    <a:pt x="1317" y="440"/>
                  </a:cubicBezTo>
                  <a:cubicBezTo>
                    <a:pt x="1317" y="442"/>
                    <a:pt x="1317" y="445"/>
                    <a:pt x="1318" y="446"/>
                  </a:cubicBezTo>
                  <a:cubicBezTo>
                    <a:pt x="1318" y="447"/>
                    <a:pt x="1319" y="447"/>
                    <a:pt x="1319" y="448"/>
                  </a:cubicBezTo>
                  <a:cubicBezTo>
                    <a:pt x="1320" y="449"/>
                    <a:pt x="1319" y="450"/>
                    <a:pt x="1319" y="451"/>
                  </a:cubicBezTo>
                  <a:cubicBezTo>
                    <a:pt x="1322" y="449"/>
                    <a:pt x="1324" y="447"/>
                    <a:pt x="1327" y="445"/>
                  </a:cubicBezTo>
                  <a:cubicBezTo>
                    <a:pt x="1329" y="444"/>
                    <a:pt x="1330" y="442"/>
                    <a:pt x="1332" y="440"/>
                  </a:cubicBezTo>
                  <a:cubicBezTo>
                    <a:pt x="1334" y="437"/>
                    <a:pt x="1336" y="435"/>
                    <a:pt x="1338" y="432"/>
                  </a:cubicBezTo>
                  <a:cubicBezTo>
                    <a:pt x="1339" y="431"/>
                    <a:pt x="1338" y="430"/>
                    <a:pt x="1338" y="429"/>
                  </a:cubicBezTo>
                  <a:cubicBezTo>
                    <a:pt x="1338" y="429"/>
                    <a:pt x="1338" y="429"/>
                    <a:pt x="1338" y="428"/>
                  </a:cubicBezTo>
                  <a:cubicBezTo>
                    <a:pt x="1338" y="428"/>
                    <a:pt x="1337" y="428"/>
                    <a:pt x="1338" y="427"/>
                  </a:cubicBezTo>
                  <a:cubicBezTo>
                    <a:pt x="1338" y="427"/>
                    <a:pt x="1339" y="427"/>
                    <a:pt x="1339" y="427"/>
                  </a:cubicBezTo>
                  <a:cubicBezTo>
                    <a:pt x="1339" y="426"/>
                    <a:pt x="1339" y="426"/>
                    <a:pt x="1339" y="425"/>
                  </a:cubicBezTo>
                  <a:cubicBezTo>
                    <a:pt x="1338" y="425"/>
                    <a:pt x="1337" y="424"/>
                    <a:pt x="1337" y="422"/>
                  </a:cubicBezTo>
                  <a:cubicBezTo>
                    <a:pt x="1337" y="421"/>
                    <a:pt x="1338" y="420"/>
                    <a:pt x="1339" y="420"/>
                  </a:cubicBezTo>
                  <a:cubicBezTo>
                    <a:pt x="1341" y="420"/>
                    <a:pt x="1342" y="421"/>
                    <a:pt x="1342" y="422"/>
                  </a:cubicBezTo>
                  <a:cubicBezTo>
                    <a:pt x="1342" y="422"/>
                    <a:pt x="1342" y="422"/>
                    <a:pt x="1342" y="422"/>
                  </a:cubicBezTo>
                  <a:cubicBezTo>
                    <a:pt x="1343" y="421"/>
                    <a:pt x="1344" y="421"/>
                    <a:pt x="1345" y="421"/>
                  </a:cubicBezTo>
                  <a:cubicBezTo>
                    <a:pt x="1346" y="420"/>
                    <a:pt x="1347" y="420"/>
                    <a:pt x="1348" y="419"/>
                  </a:cubicBezTo>
                  <a:cubicBezTo>
                    <a:pt x="1349" y="419"/>
                    <a:pt x="1350" y="419"/>
                    <a:pt x="1351" y="419"/>
                  </a:cubicBezTo>
                  <a:cubicBezTo>
                    <a:pt x="1350" y="420"/>
                    <a:pt x="1353" y="421"/>
                    <a:pt x="1354" y="421"/>
                  </a:cubicBezTo>
                  <a:cubicBezTo>
                    <a:pt x="1354" y="420"/>
                    <a:pt x="1353" y="420"/>
                    <a:pt x="1353" y="419"/>
                  </a:cubicBezTo>
                  <a:cubicBezTo>
                    <a:pt x="1352" y="420"/>
                    <a:pt x="1353" y="419"/>
                    <a:pt x="1353" y="419"/>
                  </a:cubicBezTo>
                  <a:cubicBezTo>
                    <a:pt x="1353" y="418"/>
                    <a:pt x="1353" y="418"/>
                    <a:pt x="1353" y="418"/>
                  </a:cubicBezTo>
                  <a:cubicBezTo>
                    <a:pt x="1353" y="418"/>
                    <a:pt x="1352" y="418"/>
                    <a:pt x="1352" y="418"/>
                  </a:cubicBezTo>
                  <a:cubicBezTo>
                    <a:pt x="1352" y="417"/>
                    <a:pt x="1351" y="416"/>
                    <a:pt x="1351" y="415"/>
                  </a:cubicBezTo>
                  <a:cubicBezTo>
                    <a:pt x="1352" y="416"/>
                    <a:pt x="1354" y="416"/>
                    <a:pt x="1353" y="414"/>
                  </a:cubicBezTo>
                  <a:cubicBezTo>
                    <a:pt x="1353" y="414"/>
                    <a:pt x="1352" y="414"/>
                    <a:pt x="1352" y="414"/>
                  </a:cubicBezTo>
                  <a:cubicBezTo>
                    <a:pt x="1352" y="413"/>
                    <a:pt x="1351" y="412"/>
                    <a:pt x="1352" y="412"/>
                  </a:cubicBezTo>
                  <a:cubicBezTo>
                    <a:pt x="1352" y="410"/>
                    <a:pt x="1352" y="408"/>
                    <a:pt x="1354" y="406"/>
                  </a:cubicBezTo>
                  <a:cubicBezTo>
                    <a:pt x="1354" y="405"/>
                    <a:pt x="1356" y="404"/>
                    <a:pt x="1357" y="404"/>
                  </a:cubicBezTo>
                  <a:cubicBezTo>
                    <a:pt x="1359" y="402"/>
                    <a:pt x="1361" y="401"/>
                    <a:pt x="1363" y="400"/>
                  </a:cubicBezTo>
                  <a:cubicBezTo>
                    <a:pt x="1364" y="400"/>
                    <a:pt x="1364" y="400"/>
                    <a:pt x="1365" y="400"/>
                  </a:cubicBezTo>
                  <a:cubicBezTo>
                    <a:pt x="1365" y="401"/>
                    <a:pt x="1365" y="401"/>
                    <a:pt x="1366" y="401"/>
                  </a:cubicBezTo>
                  <a:cubicBezTo>
                    <a:pt x="1367" y="402"/>
                    <a:pt x="1367" y="402"/>
                    <a:pt x="1368" y="401"/>
                  </a:cubicBezTo>
                  <a:cubicBezTo>
                    <a:pt x="1370" y="401"/>
                    <a:pt x="1372" y="400"/>
                    <a:pt x="1374" y="398"/>
                  </a:cubicBezTo>
                  <a:cubicBezTo>
                    <a:pt x="1376" y="397"/>
                    <a:pt x="1375" y="397"/>
                    <a:pt x="1374" y="396"/>
                  </a:cubicBezTo>
                  <a:cubicBezTo>
                    <a:pt x="1374" y="395"/>
                    <a:pt x="1373" y="394"/>
                    <a:pt x="1373" y="394"/>
                  </a:cubicBezTo>
                  <a:cubicBezTo>
                    <a:pt x="1371" y="392"/>
                    <a:pt x="1371" y="388"/>
                    <a:pt x="1371" y="386"/>
                  </a:cubicBezTo>
                  <a:cubicBezTo>
                    <a:pt x="1371" y="385"/>
                    <a:pt x="1373" y="383"/>
                    <a:pt x="1373" y="382"/>
                  </a:cubicBezTo>
                  <a:cubicBezTo>
                    <a:pt x="1374" y="380"/>
                    <a:pt x="1374" y="379"/>
                    <a:pt x="1376" y="378"/>
                  </a:cubicBezTo>
                  <a:cubicBezTo>
                    <a:pt x="1377" y="378"/>
                    <a:pt x="1379" y="377"/>
                    <a:pt x="1379" y="376"/>
                  </a:cubicBezTo>
                  <a:cubicBezTo>
                    <a:pt x="1379" y="375"/>
                    <a:pt x="1377" y="375"/>
                    <a:pt x="1379" y="374"/>
                  </a:cubicBezTo>
                  <a:cubicBezTo>
                    <a:pt x="1380" y="373"/>
                    <a:pt x="1380" y="373"/>
                    <a:pt x="1382" y="373"/>
                  </a:cubicBezTo>
                  <a:cubicBezTo>
                    <a:pt x="1382" y="373"/>
                    <a:pt x="1382" y="373"/>
                    <a:pt x="1383" y="373"/>
                  </a:cubicBezTo>
                  <a:cubicBezTo>
                    <a:pt x="1383" y="373"/>
                    <a:pt x="1384" y="372"/>
                    <a:pt x="1384" y="373"/>
                  </a:cubicBezTo>
                  <a:cubicBezTo>
                    <a:pt x="1384" y="373"/>
                    <a:pt x="1383" y="374"/>
                    <a:pt x="1383" y="375"/>
                  </a:cubicBezTo>
                  <a:cubicBezTo>
                    <a:pt x="1381" y="375"/>
                    <a:pt x="1380" y="376"/>
                    <a:pt x="1379" y="377"/>
                  </a:cubicBezTo>
                  <a:cubicBezTo>
                    <a:pt x="1380" y="377"/>
                    <a:pt x="1381" y="378"/>
                    <a:pt x="1381" y="379"/>
                  </a:cubicBezTo>
                  <a:cubicBezTo>
                    <a:pt x="1383" y="380"/>
                    <a:pt x="1385" y="379"/>
                    <a:pt x="1386" y="378"/>
                  </a:cubicBezTo>
                  <a:cubicBezTo>
                    <a:pt x="1388" y="377"/>
                    <a:pt x="1387" y="376"/>
                    <a:pt x="1387" y="375"/>
                  </a:cubicBezTo>
                  <a:cubicBezTo>
                    <a:pt x="1387" y="373"/>
                    <a:pt x="1386" y="371"/>
                    <a:pt x="1386" y="370"/>
                  </a:cubicBezTo>
                  <a:cubicBezTo>
                    <a:pt x="1386" y="369"/>
                    <a:pt x="1383" y="370"/>
                    <a:pt x="1382" y="369"/>
                  </a:cubicBezTo>
                  <a:cubicBezTo>
                    <a:pt x="1381" y="368"/>
                    <a:pt x="1382" y="368"/>
                    <a:pt x="1382" y="366"/>
                  </a:cubicBezTo>
                  <a:cubicBezTo>
                    <a:pt x="1382" y="365"/>
                    <a:pt x="1382" y="363"/>
                    <a:pt x="1382" y="362"/>
                  </a:cubicBezTo>
                  <a:cubicBezTo>
                    <a:pt x="1381" y="359"/>
                    <a:pt x="1385" y="357"/>
                    <a:pt x="1386" y="355"/>
                  </a:cubicBezTo>
                  <a:cubicBezTo>
                    <a:pt x="1387" y="353"/>
                    <a:pt x="1385" y="354"/>
                    <a:pt x="1384" y="353"/>
                  </a:cubicBezTo>
                  <a:cubicBezTo>
                    <a:pt x="1382" y="353"/>
                    <a:pt x="1381" y="351"/>
                    <a:pt x="1379" y="352"/>
                  </a:cubicBezTo>
                  <a:cubicBezTo>
                    <a:pt x="1377" y="353"/>
                    <a:pt x="1379" y="355"/>
                    <a:pt x="1377" y="355"/>
                  </a:cubicBezTo>
                  <a:cubicBezTo>
                    <a:pt x="1378" y="354"/>
                    <a:pt x="1378" y="354"/>
                    <a:pt x="1376" y="353"/>
                  </a:cubicBezTo>
                  <a:cubicBezTo>
                    <a:pt x="1375" y="352"/>
                    <a:pt x="1373" y="352"/>
                    <a:pt x="1373" y="350"/>
                  </a:cubicBezTo>
                  <a:cubicBezTo>
                    <a:pt x="1373" y="349"/>
                    <a:pt x="1374" y="346"/>
                    <a:pt x="1375" y="345"/>
                  </a:cubicBezTo>
                  <a:cubicBezTo>
                    <a:pt x="1376" y="343"/>
                    <a:pt x="1377" y="342"/>
                    <a:pt x="1378" y="341"/>
                  </a:cubicBezTo>
                  <a:cubicBezTo>
                    <a:pt x="1378" y="341"/>
                    <a:pt x="1379" y="340"/>
                    <a:pt x="1379" y="340"/>
                  </a:cubicBezTo>
                  <a:cubicBezTo>
                    <a:pt x="1380" y="339"/>
                    <a:pt x="1382" y="338"/>
                    <a:pt x="1381" y="338"/>
                  </a:cubicBezTo>
                  <a:cubicBezTo>
                    <a:pt x="1382" y="338"/>
                    <a:pt x="1384" y="337"/>
                    <a:pt x="1384" y="336"/>
                  </a:cubicBezTo>
                  <a:cubicBezTo>
                    <a:pt x="1383" y="336"/>
                    <a:pt x="1383" y="335"/>
                    <a:pt x="1383" y="334"/>
                  </a:cubicBezTo>
                  <a:cubicBezTo>
                    <a:pt x="1384" y="333"/>
                    <a:pt x="1384" y="334"/>
                    <a:pt x="1384" y="334"/>
                  </a:cubicBezTo>
                  <a:cubicBezTo>
                    <a:pt x="1385" y="335"/>
                    <a:pt x="1386" y="335"/>
                    <a:pt x="1385" y="334"/>
                  </a:cubicBezTo>
                  <a:cubicBezTo>
                    <a:pt x="1384" y="332"/>
                    <a:pt x="1384" y="332"/>
                    <a:pt x="1386" y="332"/>
                  </a:cubicBezTo>
                  <a:cubicBezTo>
                    <a:pt x="1387" y="331"/>
                    <a:pt x="1387" y="331"/>
                    <a:pt x="1387" y="329"/>
                  </a:cubicBezTo>
                  <a:cubicBezTo>
                    <a:pt x="1386" y="329"/>
                    <a:pt x="1386" y="328"/>
                    <a:pt x="1386" y="328"/>
                  </a:cubicBezTo>
                  <a:cubicBezTo>
                    <a:pt x="1386" y="327"/>
                    <a:pt x="1387" y="326"/>
                    <a:pt x="1387" y="325"/>
                  </a:cubicBezTo>
                  <a:cubicBezTo>
                    <a:pt x="1387" y="324"/>
                    <a:pt x="1388" y="323"/>
                    <a:pt x="1389" y="323"/>
                  </a:cubicBezTo>
                  <a:cubicBezTo>
                    <a:pt x="1390" y="322"/>
                    <a:pt x="1391" y="323"/>
                    <a:pt x="1392" y="321"/>
                  </a:cubicBezTo>
                  <a:cubicBezTo>
                    <a:pt x="1391" y="322"/>
                    <a:pt x="1390" y="321"/>
                    <a:pt x="1390" y="320"/>
                  </a:cubicBezTo>
                  <a:cubicBezTo>
                    <a:pt x="1392" y="320"/>
                    <a:pt x="1393" y="320"/>
                    <a:pt x="1394" y="321"/>
                  </a:cubicBezTo>
                  <a:cubicBezTo>
                    <a:pt x="1394" y="321"/>
                    <a:pt x="1395" y="321"/>
                    <a:pt x="1395" y="321"/>
                  </a:cubicBezTo>
                  <a:cubicBezTo>
                    <a:pt x="1395" y="322"/>
                    <a:pt x="1393" y="323"/>
                    <a:pt x="1396" y="323"/>
                  </a:cubicBezTo>
                  <a:cubicBezTo>
                    <a:pt x="1394" y="322"/>
                    <a:pt x="1397" y="321"/>
                    <a:pt x="1398" y="321"/>
                  </a:cubicBezTo>
                  <a:cubicBezTo>
                    <a:pt x="1399" y="320"/>
                    <a:pt x="1400" y="320"/>
                    <a:pt x="1401" y="321"/>
                  </a:cubicBezTo>
                  <a:cubicBezTo>
                    <a:pt x="1402" y="323"/>
                    <a:pt x="1402" y="325"/>
                    <a:pt x="1404" y="323"/>
                  </a:cubicBezTo>
                  <a:cubicBezTo>
                    <a:pt x="1405" y="323"/>
                    <a:pt x="1405" y="322"/>
                    <a:pt x="1406" y="321"/>
                  </a:cubicBezTo>
                  <a:cubicBezTo>
                    <a:pt x="1406" y="321"/>
                    <a:pt x="1406" y="321"/>
                    <a:pt x="1406" y="321"/>
                  </a:cubicBezTo>
                  <a:cubicBezTo>
                    <a:pt x="1406" y="320"/>
                    <a:pt x="1405" y="320"/>
                    <a:pt x="1406" y="320"/>
                  </a:cubicBezTo>
                  <a:cubicBezTo>
                    <a:pt x="1407" y="319"/>
                    <a:pt x="1408" y="318"/>
                    <a:pt x="1410" y="318"/>
                  </a:cubicBezTo>
                  <a:cubicBezTo>
                    <a:pt x="1412" y="316"/>
                    <a:pt x="1415" y="315"/>
                    <a:pt x="1418" y="313"/>
                  </a:cubicBezTo>
                  <a:cubicBezTo>
                    <a:pt x="1418" y="314"/>
                    <a:pt x="1418" y="315"/>
                    <a:pt x="1417" y="315"/>
                  </a:cubicBezTo>
                  <a:cubicBezTo>
                    <a:pt x="1417" y="316"/>
                    <a:pt x="1417" y="317"/>
                    <a:pt x="1417" y="317"/>
                  </a:cubicBezTo>
                  <a:cubicBezTo>
                    <a:pt x="1417" y="318"/>
                    <a:pt x="1417" y="318"/>
                    <a:pt x="1416" y="319"/>
                  </a:cubicBezTo>
                  <a:cubicBezTo>
                    <a:pt x="1416" y="320"/>
                    <a:pt x="1415" y="324"/>
                    <a:pt x="1417" y="323"/>
                  </a:cubicBezTo>
                  <a:cubicBezTo>
                    <a:pt x="1418" y="323"/>
                    <a:pt x="1420" y="321"/>
                    <a:pt x="1421" y="320"/>
                  </a:cubicBezTo>
                  <a:cubicBezTo>
                    <a:pt x="1421" y="319"/>
                    <a:pt x="1424" y="317"/>
                    <a:pt x="1424" y="317"/>
                  </a:cubicBezTo>
                  <a:cubicBezTo>
                    <a:pt x="1425" y="316"/>
                    <a:pt x="1427" y="315"/>
                    <a:pt x="1429" y="315"/>
                  </a:cubicBezTo>
                  <a:cubicBezTo>
                    <a:pt x="1431" y="313"/>
                    <a:pt x="1433" y="313"/>
                    <a:pt x="1435" y="312"/>
                  </a:cubicBezTo>
                  <a:cubicBezTo>
                    <a:pt x="1439" y="312"/>
                    <a:pt x="1443" y="312"/>
                    <a:pt x="1446" y="311"/>
                  </a:cubicBezTo>
                  <a:cubicBezTo>
                    <a:pt x="1447" y="311"/>
                    <a:pt x="1450" y="312"/>
                    <a:pt x="1448" y="312"/>
                  </a:cubicBezTo>
                  <a:cubicBezTo>
                    <a:pt x="1449" y="313"/>
                    <a:pt x="1451" y="314"/>
                    <a:pt x="1452" y="314"/>
                  </a:cubicBezTo>
                  <a:cubicBezTo>
                    <a:pt x="1452" y="315"/>
                    <a:pt x="1452" y="316"/>
                    <a:pt x="1453" y="316"/>
                  </a:cubicBezTo>
                  <a:cubicBezTo>
                    <a:pt x="1453" y="317"/>
                    <a:pt x="1454" y="317"/>
                    <a:pt x="1455" y="317"/>
                  </a:cubicBezTo>
                  <a:cubicBezTo>
                    <a:pt x="1453" y="318"/>
                    <a:pt x="1454" y="319"/>
                    <a:pt x="1454" y="319"/>
                  </a:cubicBezTo>
                  <a:cubicBezTo>
                    <a:pt x="1455" y="320"/>
                    <a:pt x="1456" y="321"/>
                    <a:pt x="1457" y="322"/>
                  </a:cubicBezTo>
                  <a:cubicBezTo>
                    <a:pt x="1459" y="324"/>
                    <a:pt x="1460" y="319"/>
                    <a:pt x="1460" y="318"/>
                  </a:cubicBezTo>
                  <a:cubicBezTo>
                    <a:pt x="1460" y="317"/>
                    <a:pt x="1460" y="317"/>
                    <a:pt x="1461" y="316"/>
                  </a:cubicBezTo>
                  <a:cubicBezTo>
                    <a:pt x="1462" y="316"/>
                    <a:pt x="1462" y="316"/>
                    <a:pt x="1462" y="315"/>
                  </a:cubicBezTo>
                  <a:cubicBezTo>
                    <a:pt x="1462" y="315"/>
                    <a:pt x="1461" y="315"/>
                    <a:pt x="1462" y="315"/>
                  </a:cubicBezTo>
                  <a:cubicBezTo>
                    <a:pt x="1462" y="315"/>
                    <a:pt x="1462" y="315"/>
                    <a:pt x="1462" y="315"/>
                  </a:cubicBezTo>
                  <a:cubicBezTo>
                    <a:pt x="1463" y="314"/>
                    <a:pt x="1463" y="314"/>
                    <a:pt x="1463" y="314"/>
                  </a:cubicBezTo>
                  <a:cubicBezTo>
                    <a:pt x="1463" y="314"/>
                    <a:pt x="1463" y="314"/>
                    <a:pt x="1463" y="314"/>
                  </a:cubicBezTo>
                  <a:cubicBezTo>
                    <a:pt x="1464" y="313"/>
                    <a:pt x="1464" y="313"/>
                    <a:pt x="1465" y="313"/>
                  </a:cubicBezTo>
                  <a:cubicBezTo>
                    <a:pt x="1466" y="313"/>
                    <a:pt x="1468" y="312"/>
                    <a:pt x="1469" y="312"/>
                  </a:cubicBezTo>
                  <a:cubicBezTo>
                    <a:pt x="1469" y="311"/>
                    <a:pt x="1469" y="311"/>
                    <a:pt x="1470" y="310"/>
                  </a:cubicBezTo>
                  <a:cubicBezTo>
                    <a:pt x="1470" y="310"/>
                    <a:pt x="1473" y="309"/>
                    <a:pt x="1474" y="309"/>
                  </a:cubicBezTo>
                  <a:cubicBezTo>
                    <a:pt x="1474" y="308"/>
                    <a:pt x="1478" y="307"/>
                    <a:pt x="1478" y="306"/>
                  </a:cubicBezTo>
                  <a:cubicBezTo>
                    <a:pt x="1478" y="305"/>
                    <a:pt x="1477" y="305"/>
                    <a:pt x="1476" y="304"/>
                  </a:cubicBezTo>
                  <a:cubicBezTo>
                    <a:pt x="1477" y="305"/>
                    <a:pt x="1479" y="305"/>
                    <a:pt x="1481" y="304"/>
                  </a:cubicBezTo>
                  <a:cubicBezTo>
                    <a:pt x="1480" y="304"/>
                    <a:pt x="1479" y="304"/>
                    <a:pt x="1479" y="304"/>
                  </a:cubicBezTo>
                  <a:cubicBezTo>
                    <a:pt x="1480" y="304"/>
                    <a:pt x="1480" y="303"/>
                    <a:pt x="1480" y="302"/>
                  </a:cubicBezTo>
                  <a:cubicBezTo>
                    <a:pt x="1481" y="303"/>
                    <a:pt x="1484" y="302"/>
                    <a:pt x="1483" y="300"/>
                  </a:cubicBezTo>
                  <a:cubicBezTo>
                    <a:pt x="1484" y="301"/>
                    <a:pt x="1484" y="301"/>
                    <a:pt x="1485" y="301"/>
                  </a:cubicBezTo>
                  <a:cubicBezTo>
                    <a:pt x="1485" y="300"/>
                    <a:pt x="1482" y="298"/>
                    <a:pt x="1485" y="298"/>
                  </a:cubicBezTo>
                  <a:cubicBezTo>
                    <a:pt x="1485" y="298"/>
                    <a:pt x="1485" y="299"/>
                    <a:pt x="1486" y="299"/>
                  </a:cubicBezTo>
                  <a:cubicBezTo>
                    <a:pt x="1486" y="299"/>
                    <a:pt x="1487" y="298"/>
                    <a:pt x="1488" y="298"/>
                  </a:cubicBezTo>
                  <a:cubicBezTo>
                    <a:pt x="1489" y="298"/>
                    <a:pt x="1490" y="298"/>
                    <a:pt x="1490" y="297"/>
                  </a:cubicBezTo>
                  <a:cubicBezTo>
                    <a:pt x="1491" y="296"/>
                    <a:pt x="1491" y="296"/>
                    <a:pt x="1491" y="296"/>
                  </a:cubicBezTo>
                  <a:cubicBezTo>
                    <a:pt x="1491" y="295"/>
                    <a:pt x="1491" y="294"/>
                    <a:pt x="1492" y="294"/>
                  </a:cubicBezTo>
                  <a:cubicBezTo>
                    <a:pt x="1492" y="294"/>
                    <a:pt x="1492" y="294"/>
                    <a:pt x="1493" y="294"/>
                  </a:cubicBezTo>
                  <a:cubicBezTo>
                    <a:pt x="1494" y="294"/>
                    <a:pt x="1495" y="293"/>
                    <a:pt x="1496" y="293"/>
                  </a:cubicBezTo>
                  <a:cubicBezTo>
                    <a:pt x="1498" y="292"/>
                    <a:pt x="1498" y="293"/>
                    <a:pt x="1499" y="293"/>
                  </a:cubicBezTo>
                  <a:cubicBezTo>
                    <a:pt x="1501" y="293"/>
                    <a:pt x="1502" y="293"/>
                    <a:pt x="1504" y="292"/>
                  </a:cubicBezTo>
                  <a:cubicBezTo>
                    <a:pt x="1503" y="291"/>
                    <a:pt x="1502" y="290"/>
                    <a:pt x="1503" y="290"/>
                  </a:cubicBezTo>
                  <a:cubicBezTo>
                    <a:pt x="1504" y="290"/>
                    <a:pt x="1506" y="290"/>
                    <a:pt x="1507" y="290"/>
                  </a:cubicBezTo>
                  <a:cubicBezTo>
                    <a:pt x="1509" y="289"/>
                    <a:pt x="1508" y="289"/>
                    <a:pt x="1509" y="287"/>
                  </a:cubicBezTo>
                  <a:cubicBezTo>
                    <a:pt x="1510" y="287"/>
                    <a:pt x="1512" y="286"/>
                    <a:pt x="1512" y="286"/>
                  </a:cubicBezTo>
                  <a:cubicBezTo>
                    <a:pt x="1516" y="285"/>
                    <a:pt x="1519" y="283"/>
                    <a:pt x="1523" y="282"/>
                  </a:cubicBezTo>
                  <a:cubicBezTo>
                    <a:pt x="1525" y="281"/>
                    <a:pt x="1527" y="281"/>
                    <a:pt x="1529" y="281"/>
                  </a:cubicBezTo>
                  <a:cubicBezTo>
                    <a:pt x="1528" y="281"/>
                    <a:pt x="1527" y="281"/>
                    <a:pt x="1526" y="280"/>
                  </a:cubicBezTo>
                  <a:cubicBezTo>
                    <a:pt x="1526" y="279"/>
                    <a:pt x="1527" y="279"/>
                    <a:pt x="1527" y="278"/>
                  </a:cubicBezTo>
                  <a:cubicBezTo>
                    <a:pt x="1527" y="277"/>
                    <a:pt x="1527" y="277"/>
                    <a:pt x="1527" y="276"/>
                  </a:cubicBezTo>
                  <a:cubicBezTo>
                    <a:pt x="1527" y="277"/>
                    <a:pt x="1528" y="277"/>
                    <a:pt x="1529" y="277"/>
                  </a:cubicBezTo>
                  <a:cubicBezTo>
                    <a:pt x="1529" y="277"/>
                    <a:pt x="1533" y="277"/>
                    <a:pt x="1531" y="278"/>
                  </a:cubicBezTo>
                  <a:cubicBezTo>
                    <a:pt x="1530" y="278"/>
                    <a:pt x="1530" y="280"/>
                    <a:pt x="1530" y="281"/>
                  </a:cubicBezTo>
                  <a:cubicBezTo>
                    <a:pt x="1532" y="281"/>
                    <a:pt x="1535" y="281"/>
                    <a:pt x="1537" y="281"/>
                  </a:cubicBezTo>
                  <a:cubicBezTo>
                    <a:pt x="1539" y="282"/>
                    <a:pt x="1541" y="283"/>
                    <a:pt x="1544" y="283"/>
                  </a:cubicBezTo>
                  <a:cubicBezTo>
                    <a:pt x="1545" y="284"/>
                    <a:pt x="1546" y="285"/>
                    <a:pt x="1548" y="285"/>
                  </a:cubicBezTo>
                  <a:cubicBezTo>
                    <a:pt x="1549" y="286"/>
                    <a:pt x="1549" y="283"/>
                    <a:pt x="1549" y="283"/>
                  </a:cubicBezTo>
                  <a:cubicBezTo>
                    <a:pt x="1550" y="281"/>
                    <a:pt x="1554" y="281"/>
                    <a:pt x="1553" y="278"/>
                  </a:cubicBezTo>
                  <a:cubicBezTo>
                    <a:pt x="1553" y="277"/>
                    <a:pt x="1553" y="276"/>
                    <a:pt x="1552" y="276"/>
                  </a:cubicBezTo>
                  <a:cubicBezTo>
                    <a:pt x="1550" y="275"/>
                    <a:pt x="1551" y="275"/>
                    <a:pt x="1551" y="273"/>
                  </a:cubicBezTo>
                  <a:cubicBezTo>
                    <a:pt x="1552" y="272"/>
                    <a:pt x="1551" y="271"/>
                    <a:pt x="1550" y="271"/>
                  </a:cubicBezTo>
                  <a:cubicBezTo>
                    <a:pt x="1549" y="270"/>
                    <a:pt x="1546" y="270"/>
                    <a:pt x="1546" y="268"/>
                  </a:cubicBezTo>
                  <a:cubicBezTo>
                    <a:pt x="1546" y="268"/>
                    <a:pt x="1547" y="268"/>
                    <a:pt x="1547" y="269"/>
                  </a:cubicBezTo>
                  <a:cubicBezTo>
                    <a:pt x="1546" y="268"/>
                    <a:pt x="1546" y="266"/>
                    <a:pt x="1545" y="265"/>
                  </a:cubicBezTo>
                  <a:cubicBezTo>
                    <a:pt x="1544" y="266"/>
                    <a:pt x="1546" y="268"/>
                    <a:pt x="1544" y="268"/>
                  </a:cubicBezTo>
                  <a:cubicBezTo>
                    <a:pt x="1543" y="268"/>
                    <a:pt x="1545" y="266"/>
                    <a:pt x="1544" y="265"/>
                  </a:cubicBezTo>
                  <a:cubicBezTo>
                    <a:pt x="1543" y="264"/>
                    <a:pt x="1540" y="267"/>
                    <a:pt x="1540" y="265"/>
                  </a:cubicBezTo>
                  <a:cubicBezTo>
                    <a:pt x="1541" y="263"/>
                    <a:pt x="1543" y="264"/>
                    <a:pt x="1544" y="264"/>
                  </a:cubicBezTo>
                  <a:cubicBezTo>
                    <a:pt x="1544" y="264"/>
                    <a:pt x="1544" y="264"/>
                    <a:pt x="1544" y="264"/>
                  </a:cubicBezTo>
                  <a:cubicBezTo>
                    <a:pt x="1544" y="264"/>
                    <a:pt x="1544" y="264"/>
                    <a:pt x="1545" y="264"/>
                  </a:cubicBezTo>
                  <a:cubicBezTo>
                    <a:pt x="1545" y="263"/>
                    <a:pt x="1544" y="262"/>
                    <a:pt x="1544" y="260"/>
                  </a:cubicBezTo>
                  <a:cubicBezTo>
                    <a:pt x="1544" y="260"/>
                    <a:pt x="1544" y="259"/>
                    <a:pt x="1544" y="259"/>
                  </a:cubicBezTo>
                  <a:cubicBezTo>
                    <a:pt x="1544" y="259"/>
                    <a:pt x="1543" y="259"/>
                    <a:pt x="1543" y="258"/>
                  </a:cubicBezTo>
                  <a:cubicBezTo>
                    <a:pt x="1543" y="257"/>
                    <a:pt x="1542" y="256"/>
                    <a:pt x="1541" y="255"/>
                  </a:cubicBezTo>
                  <a:cubicBezTo>
                    <a:pt x="1541" y="254"/>
                    <a:pt x="1540" y="251"/>
                    <a:pt x="1539" y="253"/>
                  </a:cubicBezTo>
                  <a:cubicBezTo>
                    <a:pt x="1538" y="254"/>
                    <a:pt x="1539" y="255"/>
                    <a:pt x="1538" y="255"/>
                  </a:cubicBezTo>
                  <a:cubicBezTo>
                    <a:pt x="1537" y="255"/>
                    <a:pt x="1536" y="254"/>
                    <a:pt x="1536" y="254"/>
                  </a:cubicBezTo>
                  <a:cubicBezTo>
                    <a:pt x="1535" y="254"/>
                    <a:pt x="1534" y="253"/>
                    <a:pt x="1533" y="252"/>
                  </a:cubicBezTo>
                  <a:cubicBezTo>
                    <a:pt x="1532" y="252"/>
                    <a:pt x="1532" y="251"/>
                    <a:pt x="1532" y="250"/>
                  </a:cubicBezTo>
                  <a:cubicBezTo>
                    <a:pt x="1531" y="249"/>
                    <a:pt x="1531" y="245"/>
                    <a:pt x="1530" y="245"/>
                  </a:cubicBezTo>
                  <a:cubicBezTo>
                    <a:pt x="1530" y="245"/>
                    <a:pt x="1527" y="246"/>
                    <a:pt x="1527" y="246"/>
                  </a:cubicBezTo>
                  <a:cubicBezTo>
                    <a:pt x="1526" y="246"/>
                    <a:pt x="1526" y="247"/>
                    <a:pt x="1525" y="247"/>
                  </a:cubicBezTo>
                  <a:cubicBezTo>
                    <a:pt x="1524" y="247"/>
                    <a:pt x="1522" y="246"/>
                    <a:pt x="1521" y="247"/>
                  </a:cubicBezTo>
                  <a:cubicBezTo>
                    <a:pt x="1521" y="247"/>
                    <a:pt x="1521" y="247"/>
                    <a:pt x="1520" y="248"/>
                  </a:cubicBezTo>
                  <a:cubicBezTo>
                    <a:pt x="1519" y="248"/>
                    <a:pt x="1519" y="248"/>
                    <a:pt x="1518" y="249"/>
                  </a:cubicBezTo>
                  <a:cubicBezTo>
                    <a:pt x="1518" y="247"/>
                    <a:pt x="1519" y="247"/>
                    <a:pt x="1520" y="247"/>
                  </a:cubicBezTo>
                  <a:cubicBezTo>
                    <a:pt x="1519" y="246"/>
                    <a:pt x="1516" y="243"/>
                    <a:pt x="1517" y="243"/>
                  </a:cubicBezTo>
                  <a:cubicBezTo>
                    <a:pt x="1517" y="242"/>
                    <a:pt x="1519" y="243"/>
                    <a:pt x="1520" y="243"/>
                  </a:cubicBezTo>
                  <a:cubicBezTo>
                    <a:pt x="1521" y="244"/>
                    <a:pt x="1521" y="245"/>
                    <a:pt x="1522" y="244"/>
                  </a:cubicBezTo>
                  <a:cubicBezTo>
                    <a:pt x="1523" y="244"/>
                    <a:pt x="1525" y="244"/>
                    <a:pt x="1525" y="244"/>
                  </a:cubicBezTo>
                  <a:cubicBezTo>
                    <a:pt x="1526" y="244"/>
                    <a:pt x="1527" y="246"/>
                    <a:pt x="1528" y="245"/>
                  </a:cubicBezTo>
                  <a:cubicBezTo>
                    <a:pt x="1530" y="244"/>
                    <a:pt x="1528" y="242"/>
                    <a:pt x="1527" y="241"/>
                  </a:cubicBezTo>
                  <a:cubicBezTo>
                    <a:pt x="1526" y="240"/>
                    <a:pt x="1525" y="241"/>
                    <a:pt x="1524" y="241"/>
                  </a:cubicBezTo>
                  <a:cubicBezTo>
                    <a:pt x="1523" y="241"/>
                    <a:pt x="1522" y="241"/>
                    <a:pt x="1521" y="240"/>
                  </a:cubicBezTo>
                  <a:cubicBezTo>
                    <a:pt x="1522" y="241"/>
                    <a:pt x="1522" y="241"/>
                    <a:pt x="1523" y="241"/>
                  </a:cubicBezTo>
                  <a:cubicBezTo>
                    <a:pt x="1524" y="241"/>
                    <a:pt x="1525" y="240"/>
                    <a:pt x="1526" y="240"/>
                  </a:cubicBezTo>
                  <a:cubicBezTo>
                    <a:pt x="1527" y="240"/>
                    <a:pt x="1528" y="241"/>
                    <a:pt x="1529" y="241"/>
                  </a:cubicBezTo>
                  <a:cubicBezTo>
                    <a:pt x="1529" y="242"/>
                    <a:pt x="1529" y="242"/>
                    <a:pt x="1529" y="242"/>
                  </a:cubicBezTo>
                  <a:cubicBezTo>
                    <a:pt x="1530" y="243"/>
                    <a:pt x="1530" y="242"/>
                    <a:pt x="1530" y="243"/>
                  </a:cubicBezTo>
                  <a:cubicBezTo>
                    <a:pt x="1531" y="243"/>
                    <a:pt x="1532" y="243"/>
                    <a:pt x="1531" y="244"/>
                  </a:cubicBezTo>
                  <a:cubicBezTo>
                    <a:pt x="1530" y="245"/>
                    <a:pt x="1534" y="245"/>
                    <a:pt x="1533" y="246"/>
                  </a:cubicBezTo>
                  <a:cubicBezTo>
                    <a:pt x="1536" y="247"/>
                    <a:pt x="1539" y="247"/>
                    <a:pt x="1542" y="246"/>
                  </a:cubicBezTo>
                  <a:cubicBezTo>
                    <a:pt x="1546" y="245"/>
                    <a:pt x="1550" y="244"/>
                    <a:pt x="1554" y="242"/>
                  </a:cubicBezTo>
                  <a:cubicBezTo>
                    <a:pt x="1555" y="242"/>
                    <a:pt x="1557" y="241"/>
                    <a:pt x="1557" y="240"/>
                  </a:cubicBezTo>
                  <a:cubicBezTo>
                    <a:pt x="1557" y="240"/>
                    <a:pt x="1557" y="240"/>
                    <a:pt x="1557" y="240"/>
                  </a:cubicBezTo>
                  <a:cubicBezTo>
                    <a:pt x="1558" y="240"/>
                    <a:pt x="1558" y="240"/>
                    <a:pt x="1558" y="240"/>
                  </a:cubicBezTo>
                  <a:cubicBezTo>
                    <a:pt x="1559" y="240"/>
                    <a:pt x="1560" y="239"/>
                    <a:pt x="1561" y="239"/>
                  </a:cubicBezTo>
                  <a:cubicBezTo>
                    <a:pt x="1561" y="239"/>
                    <a:pt x="1561" y="239"/>
                    <a:pt x="1561" y="239"/>
                  </a:cubicBezTo>
                  <a:cubicBezTo>
                    <a:pt x="1562" y="238"/>
                    <a:pt x="1562" y="236"/>
                    <a:pt x="1563" y="235"/>
                  </a:cubicBezTo>
                  <a:cubicBezTo>
                    <a:pt x="1562" y="235"/>
                    <a:pt x="1562" y="235"/>
                    <a:pt x="1561" y="235"/>
                  </a:cubicBezTo>
                  <a:cubicBezTo>
                    <a:pt x="1560" y="235"/>
                    <a:pt x="1559" y="236"/>
                    <a:pt x="1557" y="236"/>
                  </a:cubicBezTo>
                  <a:cubicBezTo>
                    <a:pt x="1557" y="236"/>
                    <a:pt x="1557" y="236"/>
                    <a:pt x="1557" y="236"/>
                  </a:cubicBezTo>
                  <a:cubicBezTo>
                    <a:pt x="1557" y="236"/>
                    <a:pt x="1556" y="236"/>
                    <a:pt x="1556" y="236"/>
                  </a:cubicBezTo>
                  <a:cubicBezTo>
                    <a:pt x="1556" y="235"/>
                    <a:pt x="1557" y="235"/>
                    <a:pt x="1557" y="235"/>
                  </a:cubicBezTo>
                  <a:cubicBezTo>
                    <a:pt x="1559" y="234"/>
                    <a:pt x="1562" y="233"/>
                    <a:pt x="1565" y="232"/>
                  </a:cubicBezTo>
                  <a:cubicBezTo>
                    <a:pt x="1564" y="231"/>
                    <a:pt x="1565" y="231"/>
                    <a:pt x="1564" y="230"/>
                  </a:cubicBezTo>
                  <a:cubicBezTo>
                    <a:pt x="1563" y="230"/>
                    <a:pt x="1562" y="229"/>
                    <a:pt x="1561" y="229"/>
                  </a:cubicBezTo>
                  <a:cubicBezTo>
                    <a:pt x="1560" y="228"/>
                    <a:pt x="1560" y="227"/>
                    <a:pt x="1560" y="225"/>
                  </a:cubicBezTo>
                  <a:cubicBezTo>
                    <a:pt x="1560" y="225"/>
                    <a:pt x="1560" y="220"/>
                    <a:pt x="1561" y="222"/>
                  </a:cubicBezTo>
                  <a:cubicBezTo>
                    <a:pt x="1561" y="222"/>
                    <a:pt x="1561" y="222"/>
                    <a:pt x="1561" y="222"/>
                  </a:cubicBezTo>
                  <a:cubicBezTo>
                    <a:pt x="1561" y="223"/>
                    <a:pt x="1563" y="223"/>
                    <a:pt x="1563" y="222"/>
                  </a:cubicBezTo>
                  <a:cubicBezTo>
                    <a:pt x="1565" y="221"/>
                    <a:pt x="1565" y="221"/>
                    <a:pt x="1564" y="219"/>
                  </a:cubicBezTo>
                  <a:cubicBezTo>
                    <a:pt x="1563" y="219"/>
                    <a:pt x="1566" y="217"/>
                    <a:pt x="1567" y="219"/>
                  </a:cubicBezTo>
                  <a:cubicBezTo>
                    <a:pt x="1567" y="219"/>
                    <a:pt x="1566" y="220"/>
                    <a:pt x="1566" y="220"/>
                  </a:cubicBezTo>
                  <a:cubicBezTo>
                    <a:pt x="1566" y="221"/>
                    <a:pt x="1567" y="221"/>
                    <a:pt x="1567" y="221"/>
                  </a:cubicBezTo>
                  <a:cubicBezTo>
                    <a:pt x="1569" y="220"/>
                    <a:pt x="1571" y="219"/>
                    <a:pt x="1573" y="218"/>
                  </a:cubicBezTo>
                  <a:cubicBezTo>
                    <a:pt x="1573" y="219"/>
                    <a:pt x="1573" y="221"/>
                    <a:pt x="1572" y="222"/>
                  </a:cubicBezTo>
                  <a:cubicBezTo>
                    <a:pt x="1572" y="223"/>
                    <a:pt x="1571" y="223"/>
                    <a:pt x="1571" y="223"/>
                  </a:cubicBezTo>
                  <a:cubicBezTo>
                    <a:pt x="1571" y="223"/>
                    <a:pt x="1571" y="224"/>
                    <a:pt x="1570" y="224"/>
                  </a:cubicBezTo>
                  <a:cubicBezTo>
                    <a:pt x="1570" y="225"/>
                    <a:pt x="1569" y="224"/>
                    <a:pt x="1568" y="224"/>
                  </a:cubicBezTo>
                  <a:cubicBezTo>
                    <a:pt x="1568" y="224"/>
                    <a:pt x="1569" y="225"/>
                    <a:pt x="1569" y="225"/>
                  </a:cubicBezTo>
                  <a:cubicBezTo>
                    <a:pt x="1569" y="225"/>
                    <a:pt x="1569" y="226"/>
                    <a:pt x="1569" y="226"/>
                  </a:cubicBezTo>
                  <a:cubicBezTo>
                    <a:pt x="1569" y="227"/>
                    <a:pt x="1571" y="228"/>
                    <a:pt x="1571" y="229"/>
                  </a:cubicBezTo>
                  <a:cubicBezTo>
                    <a:pt x="1572" y="229"/>
                    <a:pt x="1573" y="229"/>
                    <a:pt x="1573" y="230"/>
                  </a:cubicBezTo>
                  <a:cubicBezTo>
                    <a:pt x="1573" y="231"/>
                    <a:pt x="1572" y="231"/>
                    <a:pt x="1572" y="231"/>
                  </a:cubicBezTo>
                  <a:cubicBezTo>
                    <a:pt x="1573" y="232"/>
                    <a:pt x="1574" y="232"/>
                    <a:pt x="1574" y="232"/>
                  </a:cubicBezTo>
                  <a:cubicBezTo>
                    <a:pt x="1581" y="232"/>
                    <a:pt x="1588" y="231"/>
                    <a:pt x="1594" y="233"/>
                  </a:cubicBezTo>
                  <a:cubicBezTo>
                    <a:pt x="1596" y="234"/>
                    <a:pt x="1599" y="234"/>
                    <a:pt x="1599" y="236"/>
                  </a:cubicBezTo>
                  <a:cubicBezTo>
                    <a:pt x="1599" y="237"/>
                    <a:pt x="1600" y="237"/>
                    <a:pt x="1600" y="238"/>
                  </a:cubicBezTo>
                  <a:cubicBezTo>
                    <a:pt x="1600" y="239"/>
                    <a:pt x="1600" y="239"/>
                    <a:pt x="1600" y="239"/>
                  </a:cubicBezTo>
                  <a:cubicBezTo>
                    <a:pt x="1601" y="241"/>
                    <a:pt x="1601" y="242"/>
                    <a:pt x="1602" y="243"/>
                  </a:cubicBezTo>
                  <a:cubicBezTo>
                    <a:pt x="1602" y="243"/>
                    <a:pt x="1603" y="245"/>
                    <a:pt x="1604" y="245"/>
                  </a:cubicBezTo>
                  <a:cubicBezTo>
                    <a:pt x="1604" y="245"/>
                    <a:pt x="1605" y="245"/>
                    <a:pt x="1605" y="245"/>
                  </a:cubicBezTo>
                  <a:cubicBezTo>
                    <a:pt x="1606" y="245"/>
                    <a:pt x="1607" y="245"/>
                    <a:pt x="1608" y="245"/>
                  </a:cubicBezTo>
                  <a:cubicBezTo>
                    <a:pt x="1609" y="245"/>
                    <a:pt x="1612" y="246"/>
                    <a:pt x="1614" y="246"/>
                  </a:cubicBezTo>
                  <a:cubicBezTo>
                    <a:pt x="1617" y="248"/>
                    <a:pt x="1618" y="252"/>
                    <a:pt x="1622" y="252"/>
                  </a:cubicBezTo>
                  <a:cubicBezTo>
                    <a:pt x="1623" y="252"/>
                    <a:pt x="1624" y="252"/>
                    <a:pt x="1624" y="251"/>
                  </a:cubicBezTo>
                  <a:cubicBezTo>
                    <a:pt x="1626" y="250"/>
                    <a:pt x="1625" y="249"/>
                    <a:pt x="1625" y="248"/>
                  </a:cubicBezTo>
                  <a:cubicBezTo>
                    <a:pt x="1627" y="249"/>
                    <a:pt x="1625" y="253"/>
                    <a:pt x="1627" y="254"/>
                  </a:cubicBezTo>
                  <a:cubicBezTo>
                    <a:pt x="1628" y="254"/>
                    <a:pt x="1629" y="253"/>
                    <a:pt x="1630" y="253"/>
                  </a:cubicBezTo>
                  <a:cubicBezTo>
                    <a:pt x="1630" y="251"/>
                    <a:pt x="1630" y="251"/>
                    <a:pt x="1628" y="250"/>
                  </a:cubicBezTo>
                  <a:cubicBezTo>
                    <a:pt x="1630" y="250"/>
                    <a:pt x="1631" y="251"/>
                    <a:pt x="1632" y="251"/>
                  </a:cubicBezTo>
                  <a:cubicBezTo>
                    <a:pt x="1634" y="252"/>
                    <a:pt x="1635" y="251"/>
                    <a:pt x="1636" y="251"/>
                  </a:cubicBezTo>
                  <a:cubicBezTo>
                    <a:pt x="1634" y="250"/>
                    <a:pt x="1631" y="250"/>
                    <a:pt x="1629" y="248"/>
                  </a:cubicBezTo>
                  <a:cubicBezTo>
                    <a:pt x="1628" y="247"/>
                    <a:pt x="1628" y="247"/>
                    <a:pt x="1629" y="246"/>
                  </a:cubicBezTo>
                  <a:cubicBezTo>
                    <a:pt x="1631" y="246"/>
                    <a:pt x="1632" y="245"/>
                    <a:pt x="1630" y="244"/>
                  </a:cubicBezTo>
                  <a:cubicBezTo>
                    <a:pt x="1629" y="244"/>
                    <a:pt x="1628" y="244"/>
                    <a:pt x="1628" y="245"/>
                  </a:cubicBezTo>
                  <a:cubicBezTo>
                    <a:pt x="1628" y="244"/>
                    <a:pt x="1628" y="244"/>
                    <a:pt x="1629" y="244"/>
                  </a:cubicBezTo>
                  <a:cubicBezTo>
                    <a:pt x="1630" y="243"/>
                    <a:pt x="1630" y="244"/>
                    <a:pt x="1631" y="244"/>
                  </a:cubicBezTo>
                  <a:cubicBezTo>
                    <a:pt x="1632" y="244"/>
                    <a:pt x="1632" y="243"/>
                    <a:pt x="1633" y="243"/>
                  </a:cubicBezTo>
                  <a:cubicBezTo>
                    <a:pt x="1634" y="243"/>
                    <a:pt x="1634" y="243"/>
                    <a:pt x="1635" y="242"/>
                  </a:cubicBezTo>
                  <a:cubicBezTo>
                    <a:pt x="1636" y="242"/>
                    <a:pt x="1638" y="240"/>
                    <a:pt x="1637" y="239"/>
                  </a:cubicBezTo>
                  <a:cubicBezTo>
                    <a:pt x="1636" y="237"/>
                    <a:pt x="1633" y="239"/>
                    <a:pt x="1632" y="237"/>
                  </a:cubicBezTo>
                  <a:cubicBezTo>
                    <a:pt x="1633" y="237"/>
                    <a:pt x="1633" y="237"/>
                    <a:pt x="1633" y="237"/>
                  </a:cubicBezTo>
                  <a:cubicBezTo>
                    <a:pt x="1634" y="237"/>
                    <a:pt x="1634" y="237"/>
                    <a:pt x="1635" y="237"/>
                  </a:cubicBezTo>
                  <a:cubicBezTo>
                    <a:pt x="1635" y="237"/>
                    <a:pt x="1636" y="237"/>
                    <a:pt x="1636" y="237"/>
                  </a:cubicBezTo>
                  <a:cubicBezTo>
                    <a:pt x="1637" y="236"/>
                    <a:pt x="1637" y="234"/>
                    <a:pt x="1637" y="233"/>
                  </a:cubicBezTo>
                  <a:cubicBezTo>
                    <a:pt x="1636" y="234"/>
                    <a:pt x="1636" y="234"/>
                    <a:pt x="1634" y="234"/>
                  </a:cubicBezTo>
                  <a:cubicBezTo>
                    <a:pt x="1636" y="233"/>
                    <a:pt x="1635" y="232"/>
                    <a:pt x="1634" y="231"/>
                  </a:cubicBezTo>
                  <a:cubicBezTo>
                    <a:pt x="1633" y="231"/>
                    <a:pt x="1632" y="230"/>
                    <a:pt x="1631" y="230"/>
                  </a:cubicBezTo>
                  <a:cubicBezTo>
                    <a:pt x="1632" y="230"/>
                    <a:pt x="1633" y="230"/>
                    <a:pt x="1634" y="230"/>
                  </a:cubicBezTo>
                  <a:cubicBezTo>
                    <a:pt x="1635" y="230"/>
                    <a:pt x="1636" y="231"/>
                    <a:pt x="1636" y="232"/>
                  </a:cubicBezTo>
                  <a:cubicBezTo>
                    <a:pt x="1639" y="232"/>
                    <a:pt x="1643" y="233"/>
                    <a:pt x="1646" y="233"/>
                  </a:cubicBezTo>
                  <a:cubicBezTo>
                    <a:pt x="1647" y="233"/>
                    <a:pt x="1650" y="234"/>
                    <a:pt x="1649" y="232"/>
                  </a:cubicBezTo>
                  <a:cubicBezTo>
                    <a:pt x="1649" y="231"/>
                    <a:pt x="1647" y="231"/>
                    <a:pt x="1646" y="230"/>
                  </a:cubicBezTo>
                  <a:cubicBezTo>
                    <a:pt x="1646" y="230"/>
                    <a:pt x="1646" y="230"/>
                    <a:pt x="1645" y="229"/>
                  </a:cubicBezTo>
                  <a:cubicBezTo>
                    <a:pt x="1645" y="229"/>
                    <a:pt x="1644" y="228"/>
                    <a:pt x="1644" y="228"/>
                  </a:cubicBezTo>
                  <a:cubicBezTo>
                    <a:pt x="1646" y="228"/>
                    <a:pt x="1646" y="229"/>
                    <a:pt x="1647" y="229"/>
                  </a:cubicBezTo>
                  <a:cubicBezTo>
                    <a:pt x="1649" y="230"/>
                    <a:pt x="1652" y="231"/>
                    <a:pt x="1653" y="231"/>
                  </a:cubicBezTo>
                  <a:cubicBezTo>
                    <a:pt x="1654" y="231"/>
                    <a:pt x="1654" y="230"/>
                    <a:pt x="1654" y="230"/>
                  </a:cubicBezTo>
                  <a:cubicBezTo>
                    <a:pt x="1655" y="229"/>
                    <a:pt x="1655" y="228"/>
                    <a:pt x="1656" y="228"/>
                  </a:cubicBezTo>
                  <a:cubicBezTo>
                    <a:pt x="1658" y="227"/>
                    <a:pt x="1663" y="225"/>
                    <a:pt x="1663" y="223"/>
                  </a:cubicBezTo>
                  <a:cubicBezTo>
                    <a:pt x="1663" y="222"/>
                    <a:pt x="1661" y="222"/>
                    <a:pt x="1660" y="222"/>
                  </a:cubicBezTo>
                  <a:close/>
                  <a:moveTo>
                    <a:pt x="54" y="314"/>
                  </a:moveTo>
                  <a:cubicBezTo>
                    <a:pt x="53" y="313"/>
                    <a:pt x="52" y="312"/>
                    <a:pt x="52" y="314"/>
                  </a:cubicBezTo>
                  <a:cubicBezTo>
                    <a:pt x="53" y="315"/>
                    <a:pt x="53" y="315"/>
                    <a:pt x="52" y="316"/>
                  </a:cubicBezTo>
                  <a:cubicBezTo>
                    <a:pt x="52" y="316"/>
                    <a:pt x="52" y="316"/>
                    <a:pt x="52" y="317"/>
                  </a:cubicBezTo>
                  <a:cubicBezTo>
                    <a:pt x="52" y="317"/>
                    <a:pt x="52" y="317"/>
                    <a:pt x="52" y="317"/>
                  </a:cubicBezTo>
                  <a:cubicBezTo>
                    <a:pt x="52" y="318"/>
                    <a:pt x="51" y="318"/>
                    <a:pt x="51" y="318"/>
                  </a:cubicBezTo>
                  <a:cubicBezTo>
                    <a:pt x="49" y="318"/>
                    <a:pt x="47" y="318"/>
                    <a:pt x="45" y="318"/>
                  </a:cubicBezTo>
                  <a:cubicBezTo>
                    <a:pt x="45" y="318"/>
                    <a:pt x="44" y="317"/>
                    <a:pt x="43" y="317"/>
                  </a:cubicBezTo>
                  <a:cubicBezTo>
                    <a:pt x="42" y="318"/>
                    <a:pt x="42" y="320"/>
                    <a:pt x="41" y="321"/>
                  </a:cubicBezTo>
                  <a:cubicBezTo>
                    <a:pt x="41" y="321"/>
                    <a:pt x="41" y="321"/>
                    <a:pt x="41" y="321"/>
                  </a:cubicBezTo>
                  <a:cubicBezTo>
                    <a:pt x="41" y="321"/>
                    <a:pt x="41" y="322"/>
                    <a:pt x="40" y="323"/>
                  </a:cubicBezTo>
                  <a:cubicBezTo>
                    <a:pt x="39" y="323"/>
                    <a:pt x="37" y="322"/>
                    <a:pt x="36" y="322"/>
                  </a:cubicBezTo>
                  <a:cubicBezTo>
                    <a:pt x="36" y="322"/>
                    <a:pt x="37" y="321"/>
                    <a:pt x="37" y="321"/>
                  </a:cubicBezTo>
                  <a:cubicBezTo>
                    <a:pt x="36" y="318"/>
                    <a:pt x="34" y="316"/>
                    <a:pt x="33" y="313"/>
                  </a:cubicBezTo>
                  <a:cubicBezTo>
                    <a:pt x="32" y="311"/>
                    <a:pt x="31" y="309"/>
                    <a:pt x="30" y="307"/>
                  </a:cubicBezTo>
                  <a:cubicBezTo>
                    <a:pt x="29" y="306"/>
                    <a:pt x="24" y="304"/>
                    <a:pt x="24" y="303"/>
                  </a:cubicBezTo>
                  <a:cubicBezTo>
                    <a:pt x="24" y="301"/>
                    <a:pt x="25" y="302"/>
                    <a:pt x="26" y="302"/>
                  </a:cubicBezTo>
                  <a:cubicBezTo>
                    <a:pt x="26" y="302"/>
                    <a:pt x="28" y="300"/>
                    <a:pt x="28" y="299"/>
                  </a:cubicBezTo>
                  <a:cubicBezTo>
                    <a:pt x="28" y="299"/>
                    <a:pt x="28" y="298"/>
                    <a:pt x="28" y="298"/>
                  </a:cubicBezTo>
                  <a:cubicBezTo>
                    <a:pt x="28" y="297"/>
                    <a:pt x="30" y="298"/>
                    <a:pt x="31" y="297"/>
                  </a:cubicBezTo>
                  <a:cubicBezTo>
                    <a:pt x="32" y="297"/>
                    <a:pt x="33" y="295"/>
                    <a:pt x="34" y="294"/>
                  </a:cubicBezTo>
                  <a:cubicBezTo>
                    <a:pt x="34" y="293"/>
                    <a:pt x="35" y="294"/>
                    <a:pt x="35" y="295"/>
                  </a:cubicBezTo>
                  <a:cubicBezTo>
                    <a:pt x="39" y="297"/>
                    <a:pt x="42" y="299"/>
                    <a:pt x="46" y="301"/>
                  </a:cubicBezTo>
                  <a:cubicBezTo>
                    <a:pt x="48" y="303"/>
                    <a:pt x="49" y="304"/>
                    <a:pt x="51" y="306"/>
                  </a:cubicBezTo>
                  <a:cubicBezTo>
                    <a:pt x="52" y="307"/>
                    <a:pt x="53" y="309"/>
                    <a:pt x="55" y="310"/>
                  </a:cubicBezTo>
                  <a:cubicBezTo>
                    <a:pt x="55" y="311"/>
                    <a:pt x="54" y="313"/>
                    <a:pt x="54" y="314"/>
                  </a:cubicBezTo>
                  <a:close/>
                  <a:moveTo>
                    <a:pt x="85" y="307"/>
                  </a:moveTo>
                  <a:cubicBezTo>
                    <a:pt x="86" y="307"/>
                    <a:pt x="86" y="307"/>
                    <a:pt x="85" y="307"/>
                  </a:cubicBezTo>
                  <a:cubicBezTo>
                    <a:pt x="85" y="308"/>
                    <a:pt x="82" y="307"/>
                    <a:pt x="82" y="307"/>
                  </a:cubicBezTo>
                  <a:cubicBezTo>
                    <a:pt x="82" y="306"/>
                    <a:pt x="82" y="306"/>
                    <a:pt x="81" y="306"/>
                  </a:cubicBezTo>
                  <a:cubicBezTo>
                    <a:pt x="82" y="306"/>
                    <a:pt x="82" y="306"/>
                    <a:pt x="82" y="305"/>
                  </a:cubicBezTo>
                  <a:cubicBezTo>
                    <a:pt x="83" y="304"/>
                    <a:pt x="83" y="303"/>
                    <a:pt x="82" y="303"/>
                  </a:cubicBezTo>
                  <a:cubicBezTo>
                    <a:pt x="81" y="301"/>
                    <a:pt x="79" y="300"/>
                    <a:pt x="78" y="299"/>
                  </a:cubicBezTo>
                  <a:cubicBezTo>
                    <a:pt x="76" y="298"/>
                    <a:pt x="75" y="298"/>
                    <a:pt x="74" y="297"/>
                  </a:cubicBezTo>
                  <a:cubicBezTo>
                    <a:pt x="72" y="296"/>
                    <a:pt x="71" y="294"/>
                    <a:pt x="70" y="293"/>
                  </a:cubicBezTo>
                  <a:cubicBezTo>
                    <a:pt x="70" y="293"/>
                    <a:pt x="71" y="293"/>
                    <a:pt x="72" y="294"/>
                  </a:cubicBezTo>
                  <a:cubicBezTo>
                    <a:pt x="72" y="292"/>
                    <a:pt x="72" y="291"/>
                    <a:pt x="71" y="290"/>
                  </a:cubicBezTo>
                  <a:cubicBezTo>
                    <a:pt x="71" y="289"/>
                    <a:pt x="70" y="289"/>
                    <a:pt x="70" y="289"/>
                  </a:cubicBezTo>
                  <a:cubicBezTo>
                    <a:pt x="69" y="288"/>
                    <a:pt x="69" y="287"/>
                    <a:pt x="69" y="286"/>
                  </a:cubicBezTo>
                  <a:cubicBezTo>
                    <a:pt x="69" y="286"/>
                    <a:pt x="67" y="284"/>
                    <a:pt x="67" y="284"/>
                  </a:cubicBezTo>
                  <a:cubicBezTo>
                    <a:pt x="66" y="283"/>
                    <a:pt x="66" y="284"/>
                    <a:pt x="66" y="284"/>
                  </a:cubicBezTo>
                  <a:cubicBezTo>
                    <a:pt x="66" y="284"/>
                    <a:pt x="65" y="283"/>
                    <a:pt x="65" y="283"/>
                  </a:cubicBezTo>
                  <a:cubicBezTo>
                    <a:pt x="65" y="282"/>
                    <a:pt x="65" y="282"/>
                    <a:pt x="66" y="282"/>
                  </a:cubicBezTo>
                  <a:cubicBezTo>
                    <a:pt x="67" y="283"/>
                    <a:pt x="68" y="284"/>
                    <a:pt x="69" y="285"/>
                  </a:cubicBezTo>
                  <a:cubicBezTo>
                    <a:pt x="69" y="285"/>
                    <a:pt x="70" y="286"/>
                    <a:pt x="70" y="286"/>
                  </a:cubicBezTo>
                  <a:cubicBezTo>
                    <a:pt x="70" y="286"/>
                    <a:pt x="69" y="286"/>
                    <a:pt x="69" y="287"/>
                  </a:cubicBezTo>
                  <a:cubicBezTo>
                    <a:pt x="70" y="288"/>
                    <a:pt x="72" y="289"/>
                    <a:pt x="73" y="290"/>
                  </a:cubicBezTo>
                  <a:cubicBezTo>
                    <a:pt x="73" y="289"/>
                    <a:pt x="73" y="288"/>
                    <a:pt x="72" y="287"/>
                  </a:cubicBezTo>
                  <a:cubicBezTo>
                    <a:pt x="73" y="287"/>
                    <a:pt x="73" y="287"/>
                    <a:pt x="73" y="288"/>
                  </a:cubicBezTo>
                  <a:cubicBezTo>
                    <a:pt x="73" y="286"/>
                    <a:pt x="72" y="284"/>
                    <a:pt x="71" y="283"/>
                  </a:cubicBezTo>
                  <a:cubicBezTo>
                    <a:pt x="72" y="284"/>
                    <a:pt x="73" y="285"/>
                    <a:pt x="74" y="286"/>
                  </a:cubicBezTo>
                  <a:cubicBezTo>
                    <a:pt x="74" y="284"/>
                    <a:pt x="71" y="283"/>
                    <a:pt x="71" y="281"/>
                  </a:cubicBezTo>
                  <a:cubicBezTo>
                    <a:pt x="73" y="282"/>
                    <a:pt x="74" y="284"/>
                    <a:pt x="75" y="285"/>
                  </a:cubicBezTo>
                  <a:cubicBezTo>
                    <a:pt x="75" y="286"/>
                    <a:pt x="75" y="287"/>
                    <a:pt x="76" y="288"/>
                  </a:cubicBezTo>
                  <a:cubicBezTo>
                    <a:pt x="76" y="288"/>
                    <a:pt x="77" y="290"/>
                    <a:pt x="78" y="290"/>
                  </a:cubicBezTo>
                  <a:cubicBezTo>
                    <a:pt x="79" y="289"/>
                    <a:pt x="77" y="287"/>
                    <a:pt x="77" y="286"/>
                  </a:cubicBezTo>
                  <a:cubicBezTo>
                    <a:pt x="77" y="287"/>
                    <a:pt x="78" y="287"/>
                    <a:pt x="79" y="287"/>
                  </a:cubicBezTo>
                  <a:cubicBezTo>
                    <a:pt x="79" y="287"/>
                    <a:pt x="80" y="288"/>
                    <a:pt x="80" y="288"/>
                  </a:cubicBezTo>
                  <a:cubicBezTo>
                    <a:pt x="81" y="287"/>
                    <a:pt x="82" y="284"/>
                    <a:pt x="81" y="283"/>
                  </a:cubicBezTo>
                  <a:cubicBezTo>
                    <a:pt x="81" y="282"/>
                    <a:pt x="80" y="282"/>
                    <a:pt x="80" y="282"/>
                  </a:cubicBezTo>
                  <a:cubicBezTo>
                    <a:pt x="80" y="282"/>
                    <a:pt x="80" y="281"/>
                    <a:pt x="80" y="281"/>
                  </a:cubicBezTo>
                  <a:cubicBezTo>
                    <a:pt x="79" y="281"/>
                    <a:pt x="79" y="282"/>
                    <a:pt x="79" y="282"/>
                  </a:cubicBezTo>
                  <a:cubicBezTo>
                    <a:pt x="77" y="282"/>
                    <a:pt x="77" y="280"/>
                    <a:pt x="76" y="280"/>
                  </a:cubicBezTo>
                  <a:cubicBezTo>
                    <a:pt x="75" y="280"/>
                    <a:pt x="75" y="281"/>
                    <a:pt x="76" y="282"/>
                  </a:cubicBezTo>
                  <a:cubicBezTo>
                    <a:pt x="76" y="282"/>
                    <a:pt x="76" y="282"/>
                    <a:pt x="76" y="282"/>
                  </a:cubicBezTo>
                  <a:cubicBezTo>
                    <a:pt x="76" y="282"/>
                    <a:pt x="76" y="283"/>
                    <a:pt x="77" y="283"/>
                  </a:cubicBezTo>
                  <a:cubicBezTo>
                    <a:pt x="76" y="283"/>
                    <a:pt x="76" y="282"/>
                    <a:pt x="76" y="282"/>
                  </a:cubicBezTo>
                  <a:cubicBezTo>
                    <a:pt x="75" y="281"/>
                    <a:pt x="75" y="281"/>
                    <a:pt x="74" y="281"/>
                  </a:cubicBezTo>
                  <a:cubicBezTo>
                    <a:pt x="74" y="280"/>
                    <a:pt x="73" y="280"/>
                    <a:pt x="73" y="279"/>
                  </a:cubicBezTo>
                  <a:cubicBezTo>
                    <a:pt x="72" y="278"/>
                    <a:pt x="72" y="278"/>
                    <a:pt x="72" y="277"/>
                  </a:cubicBezTo>
                  <a:cubicBezTo>
                    <a:pt x="72" y="277"/>
                    <a:pt x="70" y="276"/>
                    <a:pt x="71" y="276"/>
                  </a:cubicBezTo>
                  <a:cubicBezTo>
                    <a:pt x="71" y="275"/>
                    <a:pt x="73" y="276"/>
                    <a:pt x="73" y="277"/>
                  </a:cubicBezTo>
                  <a:cubicBezTo>
                    <a:pt x="77" y="278"/>
                    <a:pt x="80" y="280"/>
                    <a:pt x="84" y="282"/>
                  </a:cubicBezTo>
                  <a:cubicBezTo>
                    <a:pt x="85" y="282"/>
                    <a:pt x="85" y="286"/>
                    <a:pt x="84" y="287"/>
                  </a:cubicBezTo>
                  <a:cubicBezTo>
                    <a:pt x="84" y="288"/>
                    <a:pt x="83" y="289"/>
                    <a:pt x="83" y="290"/>
                  </a:cubicBezTo>
                  <a:cubicBezTo>
                    <a:pt x="86" y="293"/>
                    <a:pt x="88" y="296"/>
                    <a:pt x="90" y="299"/>
                  </a:cubicBezTo>
                  <a:cubicBezTo>
                    <a:pt x="92" y="300"/>
                    <a:pt x="90" y="300"/>
                    <a:pt x="90" y="302"/>
                  </a:cubicBezTo>
                  <a:cubicBezTo>
                    <a:pt x="90" y="302"/>
                    <a:pt x="91" y="303"/>
                    <a:pt x="91" y="303"/>
                  </a:cubicBezTo>
                  <a:cubicBezTo>
                    <a:pt x="89" y="305"/>
                    <a:pt x="87" y="306"/>
                    <a:pt x="85" y="307"/>
                  </a:cubicBezTo>
                  <a:close/>
                  <a:moveTo>
                    <a:pt x="841" y="388"/>
                  </a:moveTo>
                  <a:cubicBezTo>
                    <a:pt x="841" y="388"/>
                    <a:pt x="841" y="388"/>
                    <a:pt x="841" y="388"/>
                  </a:cubicBezTo>
                  <a:cubicBezTo>
                    <a:pt x="841" y="388"/>
                    <a:pt x="841" y="389"/>
                    <a:pt x="841" y="389"/>
                  </a:cubicBezTo>
                  <a:cubicBezTo>
                    <a:pt x="840" y="390"/>
                    <a:pt x="841" y="390"/>
                    <a:pt x="840" y="391"/>
                  </a:cubicBezTo>
                  <a:cubicBezTo>
                    <a:pt x="840" y="392"/>
                    <a:pt x="840" y="392"/>
                    <a:pt x="840" y="392"/>
                  </a:cubicBezTo>
                  <a:cubicBezTo>
                    <a:pt x="840" y="393"/>
                    <a:pt x="840" y="393"/>
                    <a:pt x="840" y="394"/>
                  </a:cubicBezTo>
                  <a:cubicBezTo>
                    <a:pt x="840" y="394"/>
                    <a:pt x="840" y="395"/>
                    <a:pt x="840" y="395"/>
                  </a:cubicBezTo>
                  <a:cubicBezTo>
                    <a:pt x="839" y="396"/>
                    <a:pt x="839" y="397"/>
                    <a:pt x="839" y="397"/>
                  </a:cubicBezTo>
                  <a:cubicBezTo>
                    <a:pt x="839" y="398"/>
                    <a:pt x="839" y="398"/>
                    <a:pt x="838" y="399"/>
                  </a:cubicBezTo>
                  <a:cubicBezTo>
                    <a:pt x="838" y="400"/>
                    <a:pt x="838" y="400"/>
                    <a:pt x="838" y="401"/>
                  </a:cubicBezTo>
                  <a:cubicBezTo>
                    <a:pt x="837" y="402"/>
                    <a:pt x="837" y="403"/>
                    <a:pt x="837" y="404"/>
                  </a:cubicBezTo>
                  <a:cubicBezTo>
                    <a:pt x="837" y="406"/>
                    <a:pt x="838" y="407"/>
                    <a:pt x="837" y="409"/>
                  </a:cubicBezTo>
                  <a:cubicBezTo>
                    <a:pt x="836" y="410"/>
                    <a:pt x="835" y="414"/>
                    <a:pt x="833" y="414"/>
                  </a:cubicBezTo>
                  <a:cubicBezTo>
                    <a:pt x="831" y="414"/>
                    <a:pt x="833" y="413"/>
                    <a:pt x="833" y="412"/>
                  </a:cubicBezTo>
                  <a:cubicBezTo>
                    <a:pt x="831" y="410"/>
                    <a:pt x="828" y="414"/>
                    <a:pt x="828" y="416"/>
                  </a:cubicBezTo>
                  <a:cubicBezTo>
                    <a:pt x="829" y="415"/>
                    <a:pt x="830" y="414"/>
                    <a:pt x="831" y="414"/>
                  </a:cubicBezTo>
                  <a:cubicBezTo>
                    <a:pt x="832" y="415"/>
                    <a:pt x="832" y="417"/>
                    <a:pt x="832" y="418"/>
                  </a:cubicBezTo>
                  <a:cubicBezTo>
                    <a:pt x="831" y="418"/>
                    <a:pt x="830" y="419"/>
                    <a:pt x="830" y="419"/>
                  </a:cubicBezTo>
                  <a:cubicBezTo>
                    <a:pt x="829" y="419"/>
                    <a:pt x="827" y="419"/>
                    <a:pt x="827" y="420"/>
                  </a:cubicBezTo>
                  <a:cubicBezTo>
                    <a:pt x="825" y="421"/>
                    <a:pt x="824" y="423"/>
                    <a:pt x="823" y="424"/>
                  </a:cubicBezTo>
                  <a:cubicBezTo>
                    <a:pt x="822" y="426"/>
                    <a:pt x="820" y="427"/>
                    <a:pt x="818" y="427"/>
                  </a:cubicBezTo>
                  <a:cubicBezTo>
                    <a:pt x="815" y="427"/>
                    <a:pt x="813" y="430"/>
                    <a:pt x="811" y="431"/>
                  </a:cubicBezTo>
                  <a:cubicBezTo>
                    <a:pt x="809" y="432"/>
                    <a:pt x="808" y="431"/>
                    <a:pt x="806" y="432"/>
                  </a:cubicBezTo>
                  <a:cubicBezTo>
                    <a:pt x="805" y="432"/>
                    <a:pt x="804" y="432"/>
                    <a:pt x="804" y="433"/>
                  </a:cubicBezTo>
                  <a:cubicBezTo>
                    <a:pt x="804" y="434"/>
                    <a:pt x="805" y="434"/>
                    <a:pt x="804" y="435"/>
                  </a:cubicBezTo>
                  <a:cubicBezTo>
                    <a:pt x="804" y="436"/>
                    <a:pt x="803" y="437"/>
                    <a:pt x="803" y="437"/>
                  </a:cubicBezTo>
                  <a:cubicBezTo>
                    <a:pt x="801" y="439"/>
                    <a:pt x="801" y="440"/>
                    <a:pt x="799" y="440"/>
                  </a:cubicBezTo>
                  <a:cubicBezTo>
                    <a:pt x="794" y="442"/>
                    <a:pt x="789" y="444"/>
                    <a:pt x="784" y="443"/>
                  </a:cubicBezTo>
                  <a:cubicBezTo>
                    <a:pt x="783" y="443"/>
                    <a:pt x="782" y="442"/>
                    <a:pt x="780" y="442"/>
                  </a:cubicBezTo>
                  <a:cubicBezTo>
                    <a:pt x="780" y="441"/>
                    <a:pt x="779" y="441"/>
                    <a:pt x="779" y="441"/>
                  </a:cubicBezTo>
                  <a:cubicBezTo>
                    <a:pt x="778" y="440"/>
                    <a:pt x="781" y="440"/>
                    <a:pt x="782" y="440"/>
                  </a:cubicBezTo>
                  <a:cubicBezTo>
                    <a:pt x="788" y="439"/>
                    <a:pt x="794" y="438"/>
                    <a:pt x="798" y="434"/>
                  </a:cubicBezTo>
                  <a:cubicBezTo>
                    <a:pt x="800" y="431"/>
                    <a:pt x="802" y="429"/>
                    <a:pt x="805" y="428"/>
                  </a:cubicBezTo>
                  <a:cubicBezTo>
                    <a:pt x="806" y="428"/>
                    <a:pt x="806" y="427"/>
                    <a:pt x="807" y="427"/>
                  </a:cubicBezTo>
                  <a:cubicBezTo>
                    <a:pt x="808" y="426"/>
                    <a:pt x="811" y="424"/>
                    <a:pt x="809" y="422"/>
                  </a:cubicBezTo>
                  <a:cubicBezTo>
                    <a:pt x="814" y="418"/>
                    <a:pt x="821" y="415"/>
                    <a:pt x="825" y="408"/>
                  </a:cubicBezTo>
                  <a:cubicBezTo>
                    <a:pt x="828" y="403"/>
                    <a:pt x="831" y="397"/>
                    <a:pt x="833" y="392"/>
                  </a:cubicBezTo>
                  <a:cubicBezTo>
                    <a:pt x="834" y="389"/>
                    <a:pt x="834" y="387"/>
                    <a:pt x="836" y="386"/>
                  </a:cubicBezTo>
                  <a:cubicBezTo>
                    <a:pt x="837" y="384"/>
                    <a:pt x="837" y="383"/>
                    <a:pt x="839" y="384"/>
                  </a:cubicBezTo>
                  <a:cubicBezTo>
                    <a:pt x="840" y="384"/>
                    <a:pt x="840" y="384"/>
                    <a:pt x="841" y="384"/>
                  </a:cubicBezTo>
                  <a:cubicBezTo>
                    <a:pt x="840" y="384"/>
                    <a:pt x="839" y="384"/>
                    <a:pt x="839" y="383"/>
                  </a:cubicBezTo>
                  <a:cubicBezTo>
                    <a:pt x="840" y="383"/>
                    <a:pt x="841" y="384"/>
                    <a:pt x="842" y="385"/>
                  </a:cubicBezTo>
                  <a:cubicBezTo>
                    <a:pt x="841" y="386"/>
                    <a:pt x="841" y="386"/>
                    <a:pt x="841" y="387"/>
                  </a:cubicBezTo>
                  <a:cubicBezTo>
                    <a:pt x="841" y="387"/>
                    <a:pt x="841" y="388"/>
                    <a:pt x="841" y="3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8" name="Freeform 3203">
              <a:extLst>
                <a:ext uri="{FF2B5EF4-FFF2-40B4-BE49-F238E27FC236}">
                  <a16:creationId xmlns:a16="http://schemas.microsoft.com/office/drawing/2014/main" id="{E0DB0D15-A678-4CE0-B8B7-404A262CF0FA}"/>
                </a:ext>
              </a:extLst>
            </p:cNvPr>
            <p:cNvSpPr>
              <a:spLocks/>
            </p:cNvSpPr>
            <p:nvPr/>
          </p:nvSpPr>
          <p:spPr bwMode="auto">
            <a:xfrm>
              <a:off x="6228" y="559"/>
              <a:ext cx="2" cy="3"/>
            </a:xfrm>
            <a:custGeom>
              <a:avLst/>
              <a:gdLst>
                <a:gd name="T0" fmla="*/ 0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1 h 1"/>
                <a:gd name="T14" fmla="*/ 0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1" y="1"/>
                    <a:pt x="1" y="1"/>
                    <a:pt x="1"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9" name="Freeform 3204">
              <a:extLst>
                <a:ext uri="{FF2B5EF4-FFF2-40B4-BE49-F238E27FC236}">
                  <a16:creationId xmlns:a16="http://schemas.microsoft.com/office/drawing/2014/main" id="{00AEF650-8D50-4AB9-A214-0794D215300C}"/>
                </a:ext>
              </a:extLst>
            </p:cNvPr>
            <p:cNvSpPr>
              <a:spLocks/>
            </p:cNvSpPr>
            <p:nvPr/>
          </p:nvSpPr>
          <p:spPr bwMode="auto">
            <a:xfrm>
              <a:off x="1814" y="2289"/>
              <a:ext cx="85" cy="59"/>
            </a:xfrm>
            <a:custGeom>
              <a:avLst/>
              <a:gdLst>
                <a:gd name="T0" fmla="*/ 33 w 36"/>
                <a:gd name="T1" fmla="*/ 12 h 25"/>
                <a:gd name="T2" fmla="*/ 25 w 36"/>
                <a:gd name="T3" fmla="*/ 9 h 25"/>
                <a:gd name="T4" fmla="*/ 28 w 36"/>
                <a:gd name="T5" fmla="*/ 7 h 25"/>
                <a:gd name="T6" fmla="*/ 23 w 36"/>
                <a:gd name="T7" fmla="*/ 7 h 25"/>
                <a:gd name="T8" fmla="*/ 20 w 36"/>
                <a:gd name="T9" fmla="*/ 4 h 25"/>
                <a:gd name="T10" fmla="*/ 11 w 36"/>
                <a:gd name="T11" fmla="*/ 1 h 25"/>
                <a:gd name="T12" fmla="*/ 2 w 36"/>
                <a:gd name="T13" fmla="*/ 1 h 25"/>
                <a:gd name="T14" fmla="*/ 1 w 36"/>
                <a:gd name="T15" fmla="*/ 2 h 25"/>
                <a:gd name="T16" fmla="*/ 2 w 36"/>
                <a:gd name="T17" fmla="*/ 2 h 25"/>
                <a:gd name="T18" fmla="*/ 2 w 36"/>
                <a:gd name="T19" fmla="*/ 4 h 25"/>
                <a:gd name="T20" fmla="*/ 2 w 36"/>
                <a:gd name="T21" fmla="*/ 6 h 25"/>
                <a:gd name="T22" fmla="*/ 3 w 36"/>
                <a:gd name="T23" fmla="*/ 6 h 25"/>
                <a:gd name="T24" fmla="*/ 3 w 36"/>
                <a:gd name="T25" fmla="*/ 7 h 25"/>
                <a:gd name="T26" fmla="*/ 3 w 36"/>
                <a:gd name="T27" fmla="*/ 8 h 25"/>
                <a:gd name="T28" fmla="*/ 2 w 36"/>
                <a:gd name="T29" fmla="*/ 13 h 25"/>
                <a:gd name="T30" fmla="*/ 2 w 36"/>
                <a:gd name="T31" fmla="*/ 14 h 25"/>
                <a:gd name="T32" fmla="*/ 1 w 36"/>
                <a:gd name="T33" fmla="*/ 14 h 25"/>
                <a:gd name="T34" fmla="*/ 1 w 36"/>
                <a:gd name="T35" fmla="*/ 15 h 25"/>
                <a:gd name="T36" fmla="*/ 1 w 36"/>
                <a:gd name="T37" fmla="*/ 16 h 25"/>
                <a:gd name="T38" fmla="*/ 2 w 36"/>
                <a:gd name="T39" fmla="*/ 18 h 25"/>
                <a:gd name="T40" fmla="*/ 2 w 36"/>
                <a:gd name="T41" fmla="*/ 20 h 25"/>
                <a:gd name="T42" fmla="*/ 2 w 36"/>
                <a:gd name="T43" fmla="*/ 21 h 25"/>
                <a:gd name="T44" fmla="*/ 1 w 36"/>
                <a:gd name="T45" fmla="*/ 21 h 25"/>
                <a:gd name="T46" fmla="*/ 2 w 36"/>
                <a:gd name="T47" fmla="*/ 23 h 25"/>
                <a:gd name="T48" fmla="*/ 5 w 36"/>
                <a:gd name="T49" fmla="*/ 23 h 25"/>
                <a:gd name="T50" fmla="*/ 8 w 36"/>
                <a:gd name="T51" fmla="*/ 17 h 25"/>
                <a:gd name="T52" fmla="*/ 10 w 36"/>
                <a:gd name="T53" fmla="*/ 17 h 25"/>
                <a:gd name="T54" fmla="*/ 13 w 36"/>
                <a:gd name="T55" fmla="*/ 16 h 25"/>
                <a:gd name="T56" fmla="*/ 15 w 36"/>
                <a:gd name="T57" fmla="*/ 18 h 25"/>
                <a:gd name="T58" fmla="*/ 26 w 36"/>
                <a:gd name="T59" fmla="*/ 16 h 25"/>
                <a:gd name="T60" fmla="*/ 33 w 36"/>
                <a:gd name="T61" fmla="*/ 18 h 25"/>
                <a:gd name="T62" fmla="*/ 35 w 36"/>
                <a:gd name="T63"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25">
                  <a:moveTo>
                    <a:pt x="35" y="13"/>
                  </a:moveTo>
                  <a:cubicBezTo>
                    <a:pt x="34" y="13"/>
                    <a:pt x="34" y="12"/>
                    <a:pt x="33" y="12"/>
                  </a:cubicBezTo>
                  <a:cubicBezTo>
                    <a:pt x="32" y="11"/>
                    <a:pt x="31" y="10"/>
                    <a:pt x="29" y="10"/>
                  </a:cubicBezTo>
                  <a:cubicBezTo>
                    <a:pt x="28" y="10"/>
                    <a:pt x="26" y="10"/>
                    <a:pt x="25" y="9"/>
                  </a:cubicBezTo>
                  <a:cubicBezTo>
                    <a:pt x="23" y="9"/>
                    <a:pt x="23" y="9"/>
                    <a:pt x="23" y="8"/>
                  </a:cubicBezTo>
                  <a:cubicBezTo>
                    <a:pt x="24" y="8"/>
                    <a:pt x="26" y="7"/>
                    <a:pt x="28" y="7"/>
                  </a:cubicBezTo>
                  <a:cubicBezTo>
                    <a:pt x="27" y="5"/>
                    <a:pt x="26" y="7"/>
                    <a:pt x="26" y="7"/>
                  </a:cubicBezTo>
                  <a:cubicBezTo>
                    <a:pt x="25" y="7"/>
                    <a:pt x="24" y="7"/>
                    <a:pt x="23" y="7"/>
                  </a:cubicBezTo>
                  <a:cubicBezTo>
                    <a:pt x="23" y="7"/>
                    <a:pt x="22" y="7"/>
                    <a:pt x="22" y="7"/>
                  </a:cubicBezTo>
                  <a:cubicBezTo>
                    <a:pt x="21" y="7"/>
                    <a:pt x="21" y="4"/>
                    <a:pt x="20" y="4"/>
                  </a:cubicBezTo>
                  <a:cubicBezTo>
                    <a:pt x="19" y="3"/>
                    <a:pt x="19" y="3"/>
                    <a:pt x="18" y="3"/>
                  </a:cubicBezTo>
                  <a:cubicBezTo>
                    <a:pt x="17" y="4"/>
                    <a:pt x="12" y="1"/>
                    <a:pt x="11" y="1"/>
                  </a:cubicBezTo>
                  <a:cubicBezTo>
                    <a:pt x="8" y="0"/>
                    <a:pt x="8" y="0"/>
                    <a:pt x="6" y="1"/>
                  </a:cubicBezTo>
                  <a:cubicBezTo>
                    <a:pt x="5" y="1"/>
                    <a:pt x="3" y="1"/>
                    <a:pt x="2" y="1"/>
                  </a:cubicBezTo>
                  <a:cubicBezTo>
                    <a:pt x="2" y="1"/>
                    <a:pt x="2" y="1"/>
                    <a:pt x="1" y="1"/>
                  </a:cubicBezTo>
                  <a:cubicBezTo>
                    <a:pt x="1" y="1"/>
                    <a:pt x="1" y="2"/>
                    <a:pt x="1" y="2"/>
                  </a:cubicBezTo>
                  <a:cubicBezTo>
                    <a:pt x="2" y="2"/>
                    <a:pt x="2" y="2"/>
                    <a:pt x="2" y="2"/>
                  </a:cubicBezTo>
                  <a:cubicBezTo>
                    <a:pt x="2" y="2"/>
                    <a:pt x="2" y="2"/>
                    <a:pt x="2" y="2"/>
                  </a:cubicBezTo>
                  <a:cubicBezTo>
                    <a:pt x="2" y="3"/>
                    <a:pt x="2" y="3"/>
                    <a:pt x="2" y="3"/>
                  </a:cubicBezTo>
                  <a:cubicBezTo>
                    <a:pt x="2" y="4"/>
                    <a:pt x="2" y="4"/>
                    <a:pt x="2" y="4"/>
                  </a:cubicBezTo>
                  <a:cubicBezTo>
                    <a:pt x="3" y="4"/>
                    <a:pt x="3" y="4"/>
                    <a:pt x="3" y="5"/>
                  </a:cubicBezTo>
                  <a:cubicBezTo>
                    <a:pt x="3" y="5"/>
                    <a:pt x="3" y="6"/>
                    <a:pt x="2" y="6"/>
                  </a:cubicBezTo>
                  <a:cubicBezTo>
                    <a:pt x="2" y="6"/>
                    <a:pt x="2" y="6"/>
                    <a:pt x="2" y="6"/>
                  </a:cubicBezTo>
                  <a:cubicBezTo>
                    <a:pt x="3" y="6"/>
                    <a:pt x="3" y="6"/>
                    <a:pt x="3" y="6"/>
                  </a:cubicBezTo>
                  <a:cubicBezTo>
                    <a:pt x="3" y="6"/>
                    <a:pt x="3" y="6"/>
                    <a:pt x="3" y="6"/>
                  </a:cubicBezTo>
                  <a:cubicBezTo>
                    <a:pt x="3" y="7"/>
                    <a:pt x="3" y="7"/>
                    <a:pt x="3" y="7"/>
                  </a:cubicBezTo>
                  <a:cubicBezTo>
                    <a:pt x="4" y="7"/>
                    <a:pt x="4" y="7"/>
                    <a:pt x="4" y="7"/>
                  </a:cubicBezTo>
                  <a:cubicBezTo>
                    <a:pt x="3" y="8"/>
                    <a:pt x="3" y="8"/>
                    <a:pt x="3" y="8"/>
                  </a:cubicBezTo>
                  <a:cubicBezTo>
                    <a:pt x="2" y="12"/>
                    <a:pt x="2" y="12"/>
                    <a:pt x="2" y="12"/>
                  </a:cubicBezTo>
                  <a:cubicBezTo>
                    <a:pt x="2" y="12"/>
                    <a:pt x="2" y="12"/>
                    <a:pt x="2" y="13"/>
                  </a:cubicBezTo>
                  <a:cubicBezTo>
                    <a:pt x="2" y="13"/>
                    <a:pt x="2" y="13"/>
                    <a:pt x="2" y="13"/>
                  </a:cubicBezTo>
                  <a:cubicBezTo>
                    <a:pt x="2" y="14"/>
                    <a:pt x="2" y="14"/>
                    <a:pt x="2" y="14"/>
                  </a:cubicBezTo>
                  <a:cubicBezTo>
                    <a:pt x="2" y="13"/>
                    <a:pt x="2" y="13"/>
                    <a:pt x="2" y="13"/>
                  </a:cubicBezTo>
                  <a:cubicBezTo>
                    <a:pt x="2" y="14"/>
                    <a:pt x="2" y="14"/>
                    <a:pt x="1" y="14"/>
                  </a:cubicBezTo>
                  <a:cubicBezTo>
                    <a:pt x="1" y="14"/>
                    <a:pt x="1" y="15"/>
                    <a:pt x="0" y="15"/>
                  </a:cubicBezTo>
                  <a:cubicBezTo>
                    <a:pt x="0" y="15"/>
                    <a:pt x="1" y="15"/>
                    <a:pt x="1" y="15"/>
                  </a:cubicBezTo>
                  <a:cubicBezTo>
                    <a:pt x="1" y="16"/>
                    <a:pt x="1" y="16"/>
                    <a:pt x="1" y="16"/>
                  </a:cubicBezTo>
                  <a:cubicBezTo>
                    <a:pt x="1" y="16"/>
                    <a:pt x="1" y="16"/>
                    <a:pt x="1" y="16"/>
                  </a:cubicBezTo>
                  <a:cubicBezTo>
                    <a:pt x="2" y="17"/>
                    <a:pt x="2" y="18"/>
                    <a:pt x="2" y="18"/>
                  </a:cubicBezTo>
                  <a:cubicBezTo>
                    <a:pt x="2" y="18"/>
                    <a:pt x="2" y="18"/>
                    <a:pt x="2" y="18"/>
                  </a:cubicBezTo>
                  <a:cubicBezTo>
                    <a:pt x="2" y="19"/>
                    <a:pt x="2" y="19"/>
                    <a:pt x="2" y="19"/>
                  </a:cubicBezTo>
                  <a:cubicBezTo>
                    <a:pt x="2" y="19"/>
                    <a:pt x="2" y="20"/>
                    <a:pt x="2" y="20"/>
                  </a:cubicBezTo>
                  <a:cubicBezTo>
                    <a:pt x="2" y="20"/>
                    <a:pt x="2" y="20"/>
                    <a:pt x="2" y="20"/>
                  </a:cubicBezTo>
                  <a:cubicBezTo>
                    <a:pt x="2" y="20"/>
                    <a:pt x="2" y="21"/>
                    <a:pt x="2" y="21"/>
                  </a:cubicBezTo>
                  <a:cubicBezTo>
                    <a:pt x="2" y="21"/>
                    <a:pt x="2" y="21"/>
                    <a:pt x="2" y="21"/>
                  </a:cubicBezTo>
                  <a:cubicBezTo>
                    <a:pt x="1" y="21"/>
                    <a:pt x="1" y="21"/>
                    <a:pt x="1" y="21"/>
                  </a:cubicBezTo>
                  <a:cubicBezTo>
                    <a:pt x="1" y="22"/>
                    <a:pt x="2" y="23"/>
                    <a:pt x="2" y="23"/>
                  </a:cubicBezTo>
                  <a:cubicBezTo>
                    <a:pt x="2" y="23"/>
                    <a:pt x="2" y="23"/>
                    <a:pt x="2" y="23"/>
                  </a:cubicBezTo>
                  <a:cubicBezTo>
                    <a:pt x="3" y="24"/>
                    <a:pt x="4" y="25"/>
                    <a:pt x="4" y="25"/>
                  </a:cubicBezTo>
                  <a:cubicBezTo>
                    <a:pt x="5" y="24"/>
                    <a:pt x="5" y="24"/>
                    <a:pt x="5" y="23"/>
                  </a:cubicBezTo>
                  <a:cubicBezTo>
                    <a:pt x="6" y="22"/>
                    <a:pt x="6" y="21"/>
                    <a:pt x="7" y="20"/>
                  </a:cubicBezTo>
                  <a:cubicBezTo>
                    <a:pt x="7" y="20"/>
                    <a:pt x="7" y="18"/>
                    <a:pt x="8" y="17"/>
                  </a:cubicBezTo>
                  <a:cubicBezTo>
                    <a:pt x="8" y="17"/>
                    <a:pt x="8" y="17"/>
                    <a:pt x="9" y="17"/>
                  </a:cubicBezTo>
                  <a:cubicBezTo>
                    <a:pt x="9" y="18"/>
                    <a:pt x="9" y="18"/>
                    <a:pt x="10" y="17"/>
                  </a:cubicBezTo>
                  <a:cubicBezTo>
                    <a:pt x="11" y="17"/>
                    <a:pt x="12" y="16"/>
                    <a:pt x="12" y="16"/>
                  </a:cubicBezTo>
                  <a:cubicBezTo>
                    <a:pt x="13" y="16"/>
                    <a:pt x="13" y="16"/>
                    <a:pt x="13" y="16"/>
                  </a:cubicBezTo>
                  <a:cubicBezTo>
                    <a:pt x="13" y="17"/>
                    <a:pt x="13" y="17"/>
                    <a:pt x="13" y="17"/>
                  </a:cubicBezTo>
                  <a:cubicBezTo>
                    <a:pt x="13" y="18"/>
                    <a:pt x="14" y="18"/>
                    <a:pt x="15" y="18"/>
                  </a:cubicBezTo>
                  <a:cubicBezTo>
                    <a:pt x="17" y="18"/>
                    <a:pt x="17" y="18"/>
                    <a:pt x="18" y="17"/>
                  </a:cubicBezTo>
                  <a:cubicBezTo>
                    <a:pt x="20" y="15"/>
                    <a:pt x="23" y="16"/>
                    <a:pt x="26" y="16"/>
                  </a:cubicBezTo>
                  <a:cubicBezTo>
                    <a:pt x="27" y="16"/>
                    <a:pt x="29" y="16"/>
                    <a:pt x="30" y="16"/>
                  </a:cubicBezTo>
                  <a:cubicBezTo>
                    <a:pt x="31" y="17"/>
                    <a:pt x="32" y="18"/>
                    <a:pt x="33" y="18"/>
                  </a:cubicBezTo>
                  <a:cubicBezTo>
                    <a:pt x="33" y="17"/>
                    <a:pt x="34" y="17"/>
                    <a:pt x="35" y="17"/>
                  </a:cubicBezTo>
                  <a:cubicBezTo>
                    <a:pt x="35" y="17"/>
                    <a:pt x="35" y="16"/>
                    <a:pt x="35" y="16"/>
                  </a:cubicBezTo>
                  <a:cubicBezTo>
                    <a:pt x="36" y="14"/>
                    <a:pt x="36" y="14"/>
                    <a:pt x="3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0" name="Freeform 3205">
              <a:extLst>
                <a:ext uri="{FF2B5EF4-FFF2-40B4-BE49-F238E27FC236}">
                  <a16:creationId xmlns:a16="http://schemas.microsoft.com/office/drawing/2014/main" id="{0EB6DED2-E592-490A-8D4A-B304D2A143F5}"/>
                </a:ext>
              </a:extLst>
            </p:cNvPr>
            <p:cNvSpPr>
              <a:spLocks/>
            </p:cNvSpPr>
            <p:nvPr/>
          </p:nvSpPr>
          <p:spPr bwMode="auto">
            <a:xfrm>
              <a:off x="1750" y="2289"/>
              <a:ext cx="64" cy="47"/>
            </a:xfrm>
            <a:custGeom>
              <a:avLst/>
              <a:gdLst>
                <a:gd name="T0" fmla="*/ 27 w 27"/>
                <a:gd name="T1" fmla="*/ 18 h 20"/>
                <a:gd name="T2" fmla="*/ 26 w 27"/>
                <a:gd name="T3" fmla="*/ 17 h 20"/>
                <a:gd name="T4" fmla="*/ 24 w 27"/>
                <a:gd name="T5" fmla="*/ 13 h 20"/>
                <a:gd name="T6" fmla="*/ 25 w 27"/>
                <a:gd name="T7" fmla="*/ 13 h 20"/>
                <a:gd name="T8" fmla="*/ 26 w 27"/>
                <a:gd name="T9" fmla="*/ 12 h 20"/>
                <a:gd name="T10" fmla="*/ 25 w 27"/>
                <a:gd name="T11" fmla="*/ 10 h 20"/>
                <a:gd name="T12" fmla="*/ 26 w 27"/>
                <a:gd name="T13" fmla="*/ 9 h 20"/>
                <a:gd name="T14" fmla="*/ 27 w 27"/>
                <a:gd name="T15" fmla="*/ 9 h 20"/>
                <a:gd name="T16" fmla="*/ 27 w 27"/>
                <a:gd name="T17" fmla="*/ 8 h 20"/>
                <a:gd name="T18" fmla="*/ 27 w 27"/>
                <a:gd name="T19" fmla="*/ 6 h 20"/>
                <a:gd name="T20" fmla="*/ 27 w 27"/>
                <a:gd name="T21" fmla="*/ 5 h 20"/>
                <a:gd name="T22" fmla="*/ 27 w 27"/>
                <a:gd name="T23" fmla="*/ 3 h 20"/>
                <a:gd name="T24" fmla="*/ 26 w 27"/>
                <a:gd name="T25" fmla="*/ 2 h 20"/>
                <a:gd name="T26" fmla="*/ 23 w 27"/>
                <a:gd name="T27" fmla="*/ 2 h 20"/>
                <a:gd name="T28" fmla="*/ 22 w 27"/>
                <a:gd name="T29" fmla="*/ 2 h 20"/>
                <a:gd name="T30" fmla="*/ 18 w 27"/>
                <a:gd name="T31" fmla="*/ 0 h 20"/>
                <a:gd name="T32" fmla="*/ 11 w 27"/>
                <a:gd name="T33" fmla="*/ 2 h 20"/>
                <a:gd name="T34" fmla="*/ 17 w 27"/>
                <a:gd name="T35" fmla="*/ 4 h 20"/>
                <a:gd name="T36" fmla="*/ 17 w 27"/>
                <a:gd name="T37" fmla="*/ 4 h 20"/>
                <a:gd name="T38" fmla="*/ 17 w 27"/>
                <a:gd name="T39" fmla="*/ 5 h 20"/>
                <a:gd name="T40" fmla="*/ 18 w 27"/>
                <a:gd name="T41" fmla="*/ 6 h 20"/>
                <a:gd name="T42" fmla="*/ 18 w 27"/>
                <a:gd name="T43" fmla="*/ 6 h 20"/>
                <a:gd name="T44" fmla="*/ 18 w 27"/>
                <a:gd name="T45" fmla="*/ 10 h 20"/>
                <a:gd name="T46" fmla="*/ 18 w 27"/>
                <a:gd name="T47" fmla="*/ 10 h 20"/>
                <a:gd name="T48" fmla="*/ 22 w 27"/>
                <a:gd name="T49" fmla="*/ 14 h 20"/>
                <a:gd name="T50" fmla="*/ 21 w 27"/>
                <a:gd name="T51" fmla="*/ 15 h 20"/>
                <a:gd name="T52" fmla="*/ 20 w 27"/>
                <a:gd name="T53" fmla="*/ 15 h 20"/>
                <a:gd name="T54" fmla="*/ 20 w 27"/>
                <a:gd name="T55" fmla="*/ 15 h 20"/>
                <a:gd name="T56" fmla="*/ 17 w 27"/>
                <a:gd name="T57" fmla="*/ 16 h 20"/>
                <a:gd name="T58" fmla="*/ 6 w 27"/>
                <a:gd name="T59" fmla="*/ 15 h 20"/>
                <a:gd name="T60" fmla="*/ 3 w 27"/>
                <a:gd name="T61" fmla="*/ 14 h 20"/>
                <a:gd name="T62" fmla="*/ 3 w 27"/>
                <a:gd name="T63" fmla="*/ 14 h 20"/>
                <a:gd name="T64" fmla="*/ 1 w 27"/>
                <a:gd name="T65" fmla="*/ 17 h 20"/>
                <a:gd name="T66" fmla="*/ 2 w 27"/>
                <a:gd name="T67" fmla="*/ 17 h 20"/>
                <a:gd name="T68" fmla="*/ 17 w 27"/>
                <a:gd name="T69" fmla="*/ 19 h 20"/>
                <a:gd name="T70" fmla="*/ 24 w 27"/>
                <a:gd name="T71" fmla="*/ 18 h 20"/>
                <a:gd name="T72" fmla="*/ 26 w 27"/>
                <a:gd name="T73"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 h="20">
                  <a:moveTo>
                    <a:pt x="27" y="18"/>
                  </a:moveTo>
                  <a:cubicBezTo>
                    <a:pt x="27" y="18"/>
                    <a:pt x="27" y="18"/>
                    <a:pt x="27" y="18"/>
                  </a:cubicBezTo>
                  <a:cubicBezTo>
                    <a:pt x="27" y="18"/>
                    <a:pt x="27" y="18"/>
                    <a:pt x="27" y="18"/>
                  </a:cubicBezTo>
                  <a:cubicBezTo>
                    <a:pt x="27" y="18"/>
                    <a:pt x="27" y="17"/>
                    <a:pt x="26" y="17"/>
                  </a:cubicBezTo>
                  <a:cubicBezTo>
                    <a:pt x="25" y="17"/>
                    <a:pt x="24" y="15"/>
                    <a:pt x="24" y="14"/>
                  </a:cubicBezTo>
                  <a:cubicBezTo>
                    <a:pt x="24" y="14"/>
                    <a:pt x="24" y="14"/>
                    <a:pt x="24" y="13"/>
                  </a:cubicBezTo>
                  <a:cubicBezTo>
                    <a:pt x="24" y="13"/>
                    <a:pt x="24" y="13"/>
                    <a:pt x="24" y="13"/>
                  </a:cubicBezTo>
                  <a:cubicBezTo>
                    <a:pt x="25" y="13"/>
                    <a:pt x="25" y="13"/>
                    <a:pt x="25" y="13"/>
                  </a:cubicBezTo>
                  <a:cubicBezTo>
                    <a:pt x="26" y="12"/>
                    <a:pt x="26" y="12"/>
                    <a:pt x="27" y="12"/>
                  </a:cubicBezTo>
                  <a:cubicBezTo>
                    <a:pt x="27" y="12"/>
                    <a:pt x="26" y="12"/>
                    <a:pt x="26" y="12"/>
                  </a:cubicBezTo>
                  <a:cubicBezTo>
                    <a:pt x="26" y="12"/>
                    <a:pt x="26" y="11"/>
                    <a:pt x="26" y="11"/>
                  </a:cubicBezTo>
                  <a:cubicBezTo>
                    <a:pt x="25" y="10"/>
                    <a:pt x="25" y="10"/>
                    <a:pt x="25" y="10"/>
                  </a:cubicBezTo>
                  <a:cubicBezTo>
                    <a:pt x="26" y="10"/>
                    <a:pt x="26" y="10"/>
                    <a:pt x="26" y="10"/>
                  </a:cubicBezTo>
                  <a:cubicBezTo>
                    <a:pt x="26" y="10"/>
                    <a:pt x="26" y="9"/>
                    <a:pt x="26" y="9"/>
                  </a:cubicBezTo>
                  <a:cubicBezTo>
                    <a:pt x="26" y="9"/>
                    <a:pt x="26" y="9"/>
                    <a:pt x="26" y="9"/>
                  </a:cubicBezTo>
                  <a:cubicBezTo>
                    <a:pt x="26" y="9"/>
                    <a:pt x="26" y="9"/>
                    <a:pt x="27" y="9"/>
                  </a:cubicBezTo>
                  <a:cubicBezTo>
                    <a:pt x="27" y="9"/>
                    <a:pt x="27" y="8"/>
                    <a:pt x="27" y="8"/>
                  </a:cubicBezTo>
                  <a:cubicBezTo>
                    <a:pt x="27" y="8"/>
                    <a:pt x="27" y="8"/>
                    <a:pt x="27" y="8"/>
                  </a:cubicBezTo>
                  <a:cubicBezTo>
                    <a:pt x="27" y="8"/>
                    <a:pt x="27" y="8"/>
                    <a:pt x="27" y="7"/>
                  </a:cubicBezTo>
                  <a:cubicBezTo>
                    <a:pt x="27" y="7"/>
                    <a:pt x="27" y="7"/>
                    <a:pt x="27" y="6"/>
                  </a:cubicBezTo>
                  <a:cubicBezTo>
                    <a:pt x="27" y="6"/>
                    <a:pt x="27" y="6"/>
                    <a:pt x="27" y="6"/>
                  </a:cubicBezTo>
                  <a:cubicBezTo>
                    <a:pt x="27" y="5"/>
                    <a:pt x="27" y="5"/>
                    <a:pt x="27" y="5"/>
                  </a:cubicBezTo>
                  <a:cubicBezTo>
                    <a:pt x="27" y="5"/>
                    <a:pt x="27" y="5"/>
                    <a:pt x="27" y="4"/>
                  </a:cubicBezTo>
                  <a:cubicBezTo>
                    <a:pt x="27" y="4"/>
                    <a:pt x="27" y="3"/>
                    <a:pt x="27" y="3"/>
                  </a:cubicBezTo>
                  <a:cubicBezTo>
                    <a:pt x="26" y="2"/>
                    <a:pt x="26" y="2"/>
                    <a:pt x="26" y="2"/>
                  </a:cubicBezTo>
                  <a:cubicBezTo>
                    <a:pt x="26" y="2"/>
                    <a:pt x="26" y="2"/>
                    <a:pt x="26" y="2"/>
                  </a:cubicBezTo>
                  <a:cubicBezTo>
                    <a:pt x="26" y="2"/>
                    <a:pt x="26" y="2"/>
                    <a:pt x="26" y="2"/>
                  </a:cubicBezTo>
                  <a:cubicBezTo>
                    <a:pt x="25" y="2"/>
                    <a:pt x="24" y="2"/>
                    <a:pt x="23" y="2"/>
                  </a:cubicBezTo>
                  <a:cubicBezTo>
                    <a:pt x="23" y="2"/>
                    <a:pt x="23" y="2"/>
                    <a:pt x="23" y="2"/>
                  </a:cubicBezTo>
                  <a:cubicBezTo>
                    <a:pt x="22" y="2"/>
                    <a:pt x="22" y="2"/>
                    <a:pt x="22" y="2"/>
                  </a:cubicBezTo>
                  <a:cubicBezTo>
                    <a:pt x="21" y="1"/>
                    <a:pt x="20" y="1"/>
                    <a:pt x="19" y="0"/>
                  </a:cubicBezTo>
                  <a:cubicBezTo>
                    <a:pt x="18" y="0"/>
                    <a:pt x="18" y="0"/>
                    <a:pt x="18" y="0"/>
                  </a:cubicBezTo>
                  <a:cubicBezTo>
                    <a:pt x="16" y="0"/>
                    <a:pt x="15" y="0"/>
                    <a:pt x="13" y="1"/>
                  </a:cubicBezTo>
                  <a:cubicBezTo>
                    <a:pt x="12" y="1"/>
                    <a:pt x="12" y="1"/>
                    <a:pt x="11" y="2"/>
                  </a:cubicBezTo>
                  <a:cubicBezTo>
                    <a:pt x="12" y="3"/>
                    <a:pt x="12" y="3"/>
                    <a:pt x="14" y="3"/>
                  </a:cubicBezTo>
                  <a:cubicBezTo>
                    <a:pt x="15" y="3"/>
                    <a:pt x="16" y="4"/>
                    <a:pt x="17" y="4"/>
                  </a:cubicBezTo>
                  <a:cubicBezTo>
                    <a:pt x="17" y="4"/>
                    <a:pt x="17" y="4"/>
                    <a:pt x="17" y="4"/>
                  </a:cubicBezTo>
                  <a:cubicBezTo>
                    <a:pt x="17" y="4"/>
                    <a:pt x="17" y="4"/>
                    <a:pt x="17" y="4"/>
                  </a:cubicBezTo>
                  <a:cubicBezTo>
                    <a:pt x="17" y="5"/>
                    <a:pt x="17" y="5"/>
                    <a:pt x="17" y="5"/>
                  </a:cubicBezTo>
                  <a:cubicBezTo>
                    <a:pt x="17" y="5"/>
                    <a:pt x="17" y="5"/>
                    <a:pt x="17" y="5"/>
                  </a:cubicBezTo>
                  <a:cubicBezTo>
                    <a:pt x="17" y="5"/>
                    <a:pt x="18" y="5"/>
                    <a:pt x="18" y="5"/>
                  </a:cubicBezTo>
                  <a:cubicBezTo>
                    <a:pt x="18" y="5"/>
                    <a:pt x="18" y="6"/>
                    <a:pt x="18" y="6"/>
                  </a:cubicBezTo>
                  <a:cubicBezTo>
                    <a:pt x="18" y="6"/>
                    <a:pt x="18" y="6"/>
                    <a:pt x="18" y="6"/>
                  </a:cubicBezTo>
                  <a:cubicBezTo>
                    <a:pt x="18" y="6"/>
                    <a:pt x="18" y="6"/>
                    <a:pt x="18" y="6"/>
                  </a:cubicBezTo>
                  <a:cubicBezTo>
                    <a:pt x="18" y="7"/>
                    <a:pt x="18" y="7"/>
                    <a:pt x="17" y="8"/>
                  </a:cubicBezTo>
                  <a:cubicBezTo>
                    <a:pt x="17" y="8"/>
                    <a:pt x="18" y="9"/>
                    <a:pt x="18" y="10"/>
                  </a:cubicBezTo>
                  <a:cubicBezTo>
                    <a:pt x="18" y="10"/>
                    <a:pt x="18" y="10"/>
                    <a:pt x="18" y="10"/>
                  </a:cubicBezTo>
                  <a:cubicBezTo>
                    <a:pt x="18" y="10"/>
                    <a:pt x="18" y="10"/>
                    <a:pt x="18" y="10"/>
                  </a:cubicBezTo>
                  <a:cubicBezTo>
                    <a:pt x="19" y="11"/>
                    <a:pt x="21" y="12"/>
                    <a:pt x="22" y="13"/>
                  </a:cubicBezTo>
                  <a:cubicBezTo>
                    <a:pt x="22" y="14"/>
                    <a:pt x="22" y="14"/>
                    <a:pt x="22" y="14"/>
                  </a:cubicBezTo>
                  <a:cubicBezTo>
                    <a:pt x="22" y="15"/>
                    <a:pt x="22" y="15"/>
                    <a:pt x="22" y="15"/>
                  </a:cubicBezTo>
                  <a:cubicBezTo>
                    <a:pt x="21" y="15"/>
                    <a:pt x="21" y="15"/>
                    <a:pt x="21" y="15"/>
                  </a:cubicBezTo>
                  <a:cubicBezTo>
                    <a:pt x="21" y="15"/>
                    <a:pt x="21" y="15"/>
                    <a:pt x="21" y="15"/>
                  </a:cubicBezTo>
                  <a:cubicBezTo>
                    <a:pt x="21" y="15"/>
                    <a:pt x="20" y="15"/>
                    <a:pt x="20" y="15"/>
                  </a:cubicBezTo>
                  <a:cubicBezTo>
                    <a:pt x="20" y="15"/>
                    <a:pt x="20" y="15"/>
                    <a:pt x="20" y="15"/>
                  </a:cubicBezTo>
                  <a:cubicBezTo>
                    <a:pt x="20" y="15"/>
                    <a:pt x="20" y="15"/>
                    <a:pt x="20" y="15"/>
                  </a:cubicBezTo>
                  <a:cubicBezTo>
                    <a:pt x="20" y="15"/>
                    <a:pt x="19" y="15"/>
                    <a:pt x="19" y="15"/>
                  </a:cubicBezTo>
                  <a:cubicBezTo>
                    <a:pt x="18" y="16"/>
                    <a:pt x="18" y="16"/>
                    <a:pt x="17" y="16"/>
                  </a:cubicBezTo>
                  <a:cubicBezTo>
                    <a:pt x="15" y="16"/>
                    <a:pt x="13" y="15"/>
                    <a:pt x="11" y="15"/>
                  </a:cubicBezTo>
                  <a:cubicBezTo>
                    <a:pt x="10" y="15"/>
                    <a:pt x="8" y="15"/>
                    <a:pt x="6" y="15"/>
                  </a:cubicBezTo>
                  <a:cubicBezTo>
                    <a:pt x="5" y="14"/>
                    <a:pt x="4" y="14"/>
                    <a:pt x="4" y="14"/>
                  </a:cubicBezTo>
                  <a:cubicBezTo>
                    <a:pt x="4" y="14"/>
                    <a:pt x="3" y="14"/>
                    <a:pt x="3" y="14"/>
                  </a:cubicBezTo>
                  <a:cubicBezTo>
                    <a:pt x="3" y="14"/>
                    <a:pt x="3" y="14"/>
                    <a:pt x="3" y="14"/>
                  </a:cubicBezTo>
                  <a:cubicBezTo>
                    <a:pt x="3" y="14"/>
                    <a:pt x="3" y="14"/>
                    <a:pt x="3" y="14"/>
                  </a:cubicBezTo>
                  <a:cubicBezTo>
                    <a:pt x="2" y="13"/>
                    <a:pt x="1" y="13"/>
                    <a:pt x="1" y="14"/>
                  </a:cubicBezTo>
                  <a:cubicBezTo>
                    <a:pt x="0" y="15"/>
                    <a:pt x="0" y="17"/>
                    <a:pt x="1" y="17"/>
                  </a:cubicBezTo>
                  <a:cubicBezTo>
                    <a:pt x="1" y="17"/>
                    <a:pt x="2" y="17"/>
                    <a:pt x="2" y="17"/>
                  </a:cubicBezTo>
                  <a:cubicBezTo>
                    <a:pt x="2" y="17"/>
                    <a:pt x="2" y="17"/>
                    <a:pt x="2" y="17"/>
                  </a:cubicBezTo>
                  <a:cubicBezTo>
                    <a:pt x="4" y="18"/>
                    <a:pt x="5" y="19"/>
                    <a:pt x="6" y="20"/>
                  </a:cubicBezTo>
                  <a:cubicBezTo>
                    <a:pt x="6" y="16"/>
                    <a:pt x="15" y="19"/>
                    <a:pt x="17" y="19"/>
                  </a:cubicBezTo>
                  <a:cubicBezTo>
                    <a:pt x="19" y="19"/>
                    <a:pt x="21" y="18"/>
                    <a:pt x="23" y="18"/>
                  </a:cubicBezTo>
                  <a:cubicBezTo>
                    <a:pt x="24" y="18"/>
                    <a:pt x="24" y="18"/>
                    <a:pt x="24" y="18"/>
                  </a:cubicBezTo>
                  <a:cubicBezTo>
                    <a:pt x="24" y="18"/>
                    <a:pt x="24" y="18"/>
                    <a:pt x="24" y="18"/>
                  </a:cubicBezTo>
                  <a:cubicBezTo>
                    <a:pt x="25" y="18"/>
                    <a:pt x="26" y="19"/>
                    <a:pt x="26" y="19"/>
                  </a:cubicBezTo>
                  <a:cubicBezTo>
                    <a:pt x="27" y="19"/>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1" name="Freeform 3206">
              <a:extLst>
                <a:ext uri="{FF2B5EF4-FFF2-40B4-BE49-F238E27FC236}">
                  <a16:creationId xmlns:a16="http://schemas.microsoft.com/office/drawing/2014/main" id="{1ADA2931-771D-4761-B564-C7D064E5976A}"/>
                </a:ext>
              </a:extLst>
            </p:cNvPr>
            <p:cNvSpPr>
              <a:spLocks/>
            </p:cNvSpPr>
            <p:nvPr/>
          </p:nvSpPr>
          <p:spPr bwMode="auto">
            <a:xfrm>
              <a:off x="1814" y="23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2" name="Freeform 3207">
              <a:extLst>
                <a:ext uri="{FF2B5EF4-FFF2-40B4-BE49-F238E27FC236}">
                  <a16:creationId xmlns:a16="http://schemas.microsoft.com/office/drawing/2014/main" id="{D2ECEB29-D9BE-40CC-9189-48C81D93FC2A}"/>
                </a:ext>
              </a:extLst>
            </p:cNvPr>
            <p:cNvSpPr>
              <a:spLocks/>
            </p:cNvSpPr>
            <p:nvPr/>
          </p:nvSpPr>
          <p:spPr bwMode="auto">
            <a:xfrm>
              <a:off x="1398" y="2329"/>
              <a:ext cx="23" cy="59"/>
            </a:xfrm>
            <a:custGeom>
              <a:avLst/>
              <a:gdLst>
                <a:gd name="T0" fmla="*/ 10 w 10"/>
                <a:gd name="T1" fmla="*/ 0 h 25"/>
                <a:gd name="T2" fmla="*/ 9 w 10"/>
                <a:gd name="T3" fmla="*/ 0 h 25"/>
                <a:gd name="T4" fmla="*/ 8 w 10"/>
                <a:gd name="T5" fmla="*/ 0 h 25"/>
                <a:gd name="T6" fmla="*/ 8 w 10"/>
                <a:gd name="T7" fmla="*/ 0 h 25"/>
                <a:gd name="T8" fmla="*/ 8 w 10"/>
                <a:gd name="T9" fmla="*/ 0 h 25"/>
                <a:gd name="T10" fmla="*/ 8 w 10"/>
                <a:gd name="T11" fmla="*/ 0 h 25"/>
                <a:gd name="T12" fmla="*/ 8 w 10"/>
                <a:gd name="T13" fmla="*/ 0 h 25"/>
                <a:gd name="T14" fmla="*/ 7 w 10"/>
                <a:gd name="T15" fmla="*/ 0 h 25"/>
                <a:gd name="T16" fmla="*/ 6 w 10"/>
                <a:gd name="T17" fmla="*/ 0 h 25"/>
                <a:gd name="T18" fmla="*/ 6 w 10"/>
                <a:gd name="T19" fmla="*/ 2 h 25"/>
                <a:gd name="T20" fmla="*/ 5 w 10"/>
                <a:gd name="T21" fmla="*/ 3 h 25"/>
                <a:gd name="T22" fmla="*/ 3 w 10"/>
                <a:gd name="T23" fmla="*/ 5 h 25"/>
                <a:gd name="T24" fmla="*/ 2 w 10"/>
                <a:gd name="T25" fmla="*/ 6 h 25"/>
                <a:gd name="T26" fmla="*/ 2 w 10"/>
                <a:gd name="T27" fmla="*/ 6 h 25"/>
                <a:gd name="T28" fmla="*/ 1 w 10"/>
                <a:gd name="T29" fmla="*/ 5 h 25"/>
                <a:gd name="T30" fmla="*/ 1 w 10"/>
                <a:gd name="T31" fmla="*/ 5 h 25"/>
                <a:gd name="T32" fmla="*/ 1 w 10"/>
                <a:gd name="T33" fmla="*/ 5 h 25"/>
                <a:gd name="T34" fmla="*/ 1 w 10"/>
                <a:gd name="T35" fmla="*/ 6 h 25"/>
                <a:gd name="T36" fmla="*/ 1 w 10"/>
                <a:gd name="T37" fmla="*/ 6 h 25"/>
                <a:gd name="T38" fmla="*/ 1 w 10"/>
                <a:gd name="T39" fmla="*/ 6 h 25"/>
                <a:gd name="T40" fmla="*/ 1 w 10"/>
                <a:gd name="T41" fmla="*/ 8 h 25"/>
                <a:gd name="T42" fmla="*/ 1 w 10"/>
                <a:gd name="T43" fmla="*/ 9 h 25"/>
                <a:gd name="T44" fmla="*/ 0 w 10"/>
                <a:gd name="T45" fmla="*/ 12 h 25"/>
                <a:gd name="T46" fmla="*/ 0 w 10"/>
                <a:gd name="T47" fmla="*/ 24 h 25"/>
                <a:gd name="T48" fmla="*/ 0 w 10"/>
                <a:gd name="T49" fmla="*/ 24 h 25"/>
                <a:gd name="T50" fmla="*/ 1 w 10"/>
                <a:gd name="T51" fmla="*/ 24 h 25"/>
                <a:gd name="T52" fmla="*/ 2 w 10"/>
                <a:gd name="T53" fmla="*/ 24 h 25"/>
                <a:gd name="T54" fmla="*/ 2 w 10"/>
                <a:gd name="T55" fmla="*/ 25 h 25"/>
                <a:gd name="T56" fmla="*/ 2 w 10"/>
                <a:gd name="T57" fmla="*/ 25 h 25"/>
                <a:gd name="T58" fmla="*/ 6 w 10"/>
                <a:gd name="T59" fmla="*/ 21 h 25"/>
                <a:gd name="T60" fmla="*/ 7 w 10"/>
                <a:gd name="T61" fmla="*/ 18 h 25"/>
                <a:gd name="T62" fmla="*/ 9 w 10"/>
                <a:gd name="T63" fmla="*/ 14 h 25"/>
                <a:gd name="T64" fmla="*/ 8 w 10"/>
                <a:gd name="T65" fmla="*/ 12 h 25"/>
                <a:gd name="T66" fmla="*/ 9 w 10"/>
                <a:gd name="T67" fmla="*/ 7 h 25"/>
                <a:gd name="T68" fmla="*/ 10 w 10"/>
                <a:gd name="T6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25">
                  <a:moveTo>
                    <a:pt x="10" y="0"/>
                  </a:moveTo>
                  <a:cubicBezTo>
                    <a:pt x="9" y="0"/>
                    <a:pt x="9" y="0"/>
                    <a:pt x="9"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7" y="0"/>
                    <a:pt x="7" y="0"/>
                    <a:pt x="7" y="0"/>
                  </a:cubicBezTo>
                  <a:cubicBezTo>
                    <a:pt x="7" y="0"/>
                    <a:pt x="7" y="0"/>
                    <a:pt x="6" y="0"/>
                  </a:cubicBezTo>
                  <a:cubicBezTo>
                    <a:pt x="6" y="2"/>
                    <a:pt x="6" y="2"/>
                    <a:pt x="6" y="2"/>
                  </a:cubicBezTo>
                  <a:cubicBezTo>
                    <a:pt x="5" y="3"/>
                    <a:pt x="5" y="3"/>
                    <a:pt x="5" y="3"/>
                  </a:cubicBezTo>
                  <a:cubicBezTo>
                    <a:pt x="4" y="4"/>
                    <a:pt x="4" y="5"/>
                    <a:pt x="3" y="5"/>
                  </a:cubicBezTo>
                  <a:cubicBezTo>
                    <a:pt x="3" y="6"/>
                    <a:pt x="2" y="6"/>
                    <a:pt x="2" y="6"/>
                  </a:cubicBezTo>
                  <a:cubicBezTo>
                    <a:pt x="2" y="6"/>
                    <a:pt x="2" y="6"/>
                    <a:pt x="2" y="6"/>
                  </a:cubicBezTo>
                  <a:cubicBezTo>
                    <a:pt x="2" y="6"/>
                    <a:pt x="1" y="6"/>
                    <a:pt x="1" y="5"/>
                  </a:cubicBezTo>
                  <a:cubicBezTo>
                    <a:pt x="1" y="5"/>
                    <a:pt x="1" y="5"/>
                    <a:pt x="1" y="5"/>
                  </a:cubicBezTo>
                  <a:cubicBezTo>
                    <a:pt x="1" y="5"/>
                    <a:pt x="1" y="5"/>
                    <a:pt x="1" y="5"/>
                  </a:cubicBezTo>
                  <a:cubicBezTo>
                    <a:pt x="1" y="5"/>
                    <a:pt x="1" y="6"/>
                    <a:pt x="1" y="6"/>
                  </a:cubicBezTo>
                  <a:cubicBezTo>
                    <a:pt x="1" y="6"/>
                    <a:pt x="1" y="6"/>
                    <a:pt x="1" y="6"/>
                  </a:cubicBezTo>
                  <a:cubicBezTo>
                    <a:pt x="1" y="6"/>
                    <a:pt x="1" y="6"/>
                    <a:pt x="1" y="6"/>
                  </a:cubicBezTo>
                  <a:cubicBezTo>
                    <a:pt x="1" y="7"/>
                    <a:pt x="1" y="7"/>
                    <a:pt x="1" y="8"/>
                  </a:cubicBezTo>
                  <a:cubicBezTo>
                    <a:pt x="1" y="9"/>
                    <a:pt x="1" y="9"/>
                    <a:pt x="1" y="9"/>
                  </a:cubicBezTo>
                  <a:cubicBezTo>
                    <a:pt x="1" y="10"/>
                    <a:pt x="1" y="11"/>
                    <a:pt x="0" y="12"/>
                  </a:cubicBezTo>
                  <a:cubicBezTo>
                    <a:pt x="0" y="16"/>
                    <a:pt x="0" y="21"/>
                    <a:pt x="0" y="24"/>
                  </a:cubicBezTo>
                  <a:cubicBezTo>
                    <a:pt x="0" y="24"/>
                    <a:pt x="0" y="24"/>
                    <a:pt x="0" y="24"/>
                  </a:cubicBezTo>
                  <a:cubicBezTo>
                    <a:pt x="1" y="24"/>
                    <a:pt x="1" y="24"/>
                    <a:pt x="1" y="24"/>
                  </a:cubicBezTo>
                  <a:cubicBezTo>
                    <a:pt x="2" y="24"/>
                    <a:pt x="2" y="24"/>
                    <a:pt x="2" y="24"/>
                  </a:cubicBezTo>
                  <a:cubicBezTo>
                    <a:pt x="2" y="25"/>
                    <a:pt x="2" y="25"/>
                    <a:pt x="2" y="25"/>
                  </a:cubicBezTo>
                  <a:cubicBezTo>
                    <a:pt x="2" y="25"/>
                    <a:pt x="2" y="25"/>
                    <a:pt x="2" y="25"/>
                  </a:cubicBezTo>
                  <a:cubicBezTo>
                    <a:pt x="3" y="24"/>
                    <a:pt x="4" y="23"/>
                    <a:pt x="6" y="21"/>
                  </a:cubicBezTo>
                  <a:cubicBezTo>
                    <a:pt x="6" y="20"/>
                    <a:pt x="7" y="19"/>
                    <a:pt x="7" y="18"/>
                  </a:cubicBezTo>
                  <a:cubicBezTo>
                    <a:pt x="8" y="17"/>
                    <a:pt x="9" y="16"/>
                    <a:pt x="9" y="14"/>
                  </a:cubicBezTo>
                  <a:cubicBezTo>
                    <a:pt x="9" y="14"/>
                    <a:pt x="8" y="13"/>
                    <a:pt x="8" y="12"/>
                  </a:cubicBezTo>
                  <a:cubicBezTo>
                    <a:pt x="8" y="10"/>
                    <a:pt x="9" y="8"/>
                    <a:pt x="9" y="7"/>
                  </a:cubicBezTo>
                  <a:cubicBezTo>
                    <a:pt x="9" y="4"/>
                    <a:pt x="10" y="2"/>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3" name="Freeform 3208">
              <a:extLst>
                <a:ext uri="{FF2B5EF4-FFF2-40B4-BE49-F238E27FC236}">
                  <a16:creationId xmlns:a16="http://schemas.microsoft.com/office/drawing/2014/main" id="{F71F17E0-D4FA-46B5-AA66-3415C3F9D370}"/>
                </a:ext>
              </a:extLst>
            </p:cNvPr>
            <p:cNvSpPr>
              <a:spLocks/>
            </p:cNvSpPr>
            <p:nvPr/>
          </p:nvSpPr>
          <p:spPr bwMode="auto">
            <a:xfrm>
              <a:off x="4296" y="3415"/>
              <a:ext cx="26" cy="36"/>
            </a:xfrm>
            <a:custGeom>
              <a:avLst/>
              <a:gdLst>
                <a:gd name="T0" fmla="*/ 9 w 11"/>
                <a:gd name="T1" fmla="*/ 2 h 15"/>
                <a:gd name="T2" fmla="*/ 9 w 11"/>
                <a:gd name="T3" fmla="*/ 2 h 15"/>
                <a:gd name="T4" fmla="*/ 8 w 11"/>
                <a:gd name="T5" fmla="*/ 2 h 15"/>
                <a:gd name="T6" fmla="*/ 5 w 11"/>
                <a:gd name="T7" fmla="*/ 1 h 15"/>
                <a:gd name="T8" fmla="*/ 5 w 11"/>
                <a:gd name="T9" fmla="*/ 0 h 15"/>
                <a:gd name="T10" fmla="*/ 5 w 11"/>
                <a:gd name="T11" fmla="*/ 0 h 15"/>
                <a:gd name="T12" fmla="*/ 1 w 11"/>
                <a:gd name="T13" fmla="*/ 5 h 15"/>
                <a:gd name="T14" fmla="*/ 0 w 11"/>
                <a:gd name="T15" fmla="*/ 8 h 15"/>
                <a:gd name="T16" fmla="*/ 0 w 11"/>
                <a:gd name="T17" fmla="*/ 9 h 15"/>
                <a:gd name="T18" fmla="*/ 0 w 11"/>
                <a:gd name="T19" fmla="*/ 10 h 15"/>
                <a:gd name="T20" fmla="*/ 2 w 11"/>
                <a:gd name="T21" fmla="*/ 12 h 15"/>
                <a:gd name="T22" fmla="*/ 4 w 11"/>
                <a:gd name="T23" fmla="*/ 14 h 15"/>
                <a:gd name="T24" fmla="*/ 4 w 11"/>
                <a:gd name="T25" fmla="*/ 14 h 15"/>
                <a:gd name="T26" fmla="*/ 9 w 11"/>
                <a:gd name="T27" fmla="*/ 15 h 15"/>
                <a:gd name="T28" fmla="*/ 10 w 11"/>
                <a:gd name="T29" fmla="*/ 10 h 15"/>
                <a:gd name="T30" fmla="*/ 10 w 11"/>
                <a:gd name="T31" fmla="*/ 9 h 15"/>
                <a:gd name="T32" fmla="*/ 11 w 11"/>
                <a:gd name="T33" fmla="*/ 9 h 15"/>
                <a:gd name="T34" fmla="*/ 10 w 11"/>
                <a:gd name="T35" fmla="*/ 3 h 15"/>
                <a:gd name="T36" fmla="*/ 10 w 11"/>
                <a:gd name="T37" fmla="*/ 3 h 15"/>
                <a:gd name="T38" fmla="*/ 9 w 11"/>
                <a:gd name="T3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5">
                  <a:moveTo>
                    <a:pt x="9" y="2"/>
                  </a:moveTo>
                  <a:cubicBezTo>
                    <a:pt x="9" y="2"/>
                    <a:pt x="9" y="2"/>
                    <a:pt x="9" y="2"/>
                  </a:cubicBezTo>
                  <a:cubicBezTo>
                    <a:pt x="8" y="2"/>
                    <a:pt x="8" y="2"/>
                    <a:pt x="8" y="2"/>
                  </a:cubicBezTo>
                  <a:cubicBezTo>
                    <a:pt x="7" y="2"/>
                    <a:pt x="6" y="1"/>
                    <a:pt x="5" y="1"/>
                  </a:cubicBezTo>
                  <a:cubicBezTo>
                    <a:pt x="5" y="0"/>
                    <a:pt x="5" y="0"/>
                    <a:pt x="5" y="0"/>
                  </a:cubicBezTo>
                  <a:cubicBezTo>
                    <a:pt x="5" y="0"/>
                    <a:pt x="5" y="0"/>
                    <a:pt x="5" y="0"/>
                  </a:cubicBezTo>
                  <a:cubicBezTo>
                    <a:pt x="3" y="2"/>
                    <a:pt x="2" y="3"/>
                    <a:pt x="1" y="5"/>
                  </a:cubicBezTo>
                  <a:cubicBezTo>
                    <a:pt x="1" y="5"/>
                    <a:pt x="0" y="7"/>
                    <a:pt x="0" y="8"/>
                  </a:cubicBezTo>
                  <a:cubicBezTo>
                    <a:pt x="0" y="9"/>
                    <a:pt x="0" y="9"/>
                    <a:pt x="0" y="9"/>
                  </a:cubicBezTo>
                  <a:cubicBezTo>
                    <a:pt x="0" y="9"/>
                    <a:pt x="0" y="9"/>
                    <a:pt x="0" y="10"/>
                  </a:cubicBezTo>
                  <a:cubicBezTo>
                    <a:pt x="1" y="10"/>
                    <a:pt x="2" y="11"/>
                    <a:pt x="2" y="12"/>
                  </a:cubicBezTo>
                  <a:cubicBezTo>
                    <a:pt x="4" y="14"/>
                    <a:pt x="4" y="14"/>
                    <a:pt x="4" y="14"/>
                  </a:cubicBezTo>
                  <a:cubicBezTo>
                    <a:pt x="4" y="14"/>
                    <a:pt x="4" y="14"/>
                    <a:pt x="4" y="14"/>
                  </a:cubicBezTo>
                  <a:cubicBezTo>
                    <a:pt x="9" y="15"/>
                    <a:pt x="9" y="15"/>
                    <a:pt x="9" y="15"/>
                  </a:cubicBezTo>
                  <a:cubicBezTo>
                    <a:pt x="9" y="13"/>
                    <a:pt x="9" y="12"/>
                    <a:pt x="10" y="10"/>
                  </a:cubicBezTo>
                  <a:cubicBezTo>
                    <a:pt x="10" y="9"/>
                    <a:pt x="10" y="9"/>
                    <a:pt x="10" y="9"/>
                  </a:cubicBezTo>
                  <a:cubicBezTo>
                    <a:pt x="11" y="9"/>
                    <a:pt x="11" y="9"/>
                    <a:pt x="11" y="9"/>
                  </a:cubicBezTo>
                  <a:cubicBezTo>
                    <a:pt x="10" y="3"/>
                    <a:pt x="10" y="3"/>
                    <a:pt x="10" y="3"/>
                  </a:cubicBezTo>
                  <a:cubicBezTo>
                    <a:pt x="10" y="3"/>
                    <a:pt x="10" y="3"/>
                    <a:pt x="10" y="3"/>
                  </a:cubicBezTo>
                  <a:cubicBezTo>
                    <a:pt x="9" y="2"/>
                    <a:pt x="9" y="2"/>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4" name="Freeform 3209">
              <a:extLst>
                <a:ext uri="{FF2B5EF4-FFF2-40B4-BE49-F238E27FC236}">
                  <a16:creationId xmlns:a16="http://schemas.microsoft.com/office/drawing/2014/main" id="{AFC9C6EF-F7F1-46F5-BE91-1227396C97F5}"/>
                </a:ext>
              </a:extLst>
            </p:cNvPr>
            <p:cNvSpPr>
              <a:spLocks/>
            </p:cNvSpPr>
            <p:nvPr/>
          </p:nvSpPr>
          <p:spPr bwMode="auto">
            <a:xfrm>
              <a:off x="4204" y="3488"/>
              <a:ext cx="54" cy="52"/>
            </a:xfrm>
            <a:custGeom>
              <a:avLst/>
              <a:gdLst>
                <a:gd name="T0" fmla="*/ 22 w 23"/>
                <a:gd name="T1" fmla="*/ 6 h 22"/>
                <a:gd name="T2" fmla="*/ 22 w 23"/>
                <a:gd name="T3" fmla="*/ 5 h 22"/>
                <a:gd name="T4" fmla="*/ 21 w 23"/>
                <a:gd name="T5" fmla="*/ 5 h 22"/>
                <a:gd name="T6" fmla="*/ 20 w 23"/>
                <a:gd name="T7" fmla="*/ 4 h 22"/>
                <a:gd name="T8" fmla="*/ 19 w 23"/>
                <a:gd name="T9" fmla="*/ 3 h 22"/>
                <a:gd name="T10" fmla="*/ 19 w 23"/>
                <a:gd name="T11" fmla="*/ 3 h 22"/>
                <a:gd name="T12" fmla="*/ 15 w 23"/>
                <a:gd name="T13" fmla="*/ 0 h 22"/>
                <a:gd name="T14" fmla="*/ 15 w 23"/>
                <a:gd name="T15" fmla="*/ 0 h 22"/>
                <a:gd name="T16" fmla="*/ 12 w 23"/>
                <a:gd name="T17" fmla="*/ 1 h 22"/>
                <a:gd name="T18" fmla="*/ 10 w 23"/>
                <a:gd name="T19" fmla="*/ 2 h 22"/>
                <a:gd name="T20" fmla="*/ 9 w 23"/>
                <a:gd name="T21" fmla="*/ 3 h 22"/>
                <a:gd name="T22" fmla="*/ 8 w 23"/>
                <a:gd name="T23" fmla="*/ 3 h 22"/>
                <a:gd name="T24" fmla="*/ 7 w 23"/>
                <a:gd name="T25" fmla="*/ 4 h 22"/>
                <a:gd name="T26" fmla="*/ 6 w 23"/>
                <a:gd name="T27" fmla="*/ 4 h 22"/>
                <a:gd name="T28" fmla="*/ 4 w 23"/>
                <a:gd name="T29" fmla="*/ 8 h 22"/>
                <a:gd name="T30" fmla="*/ 3 w 23"/>
                <a:gd name="T31" fmla="*/ 9 h 22"/>
                <a:gd name="T32" fmla="*/ 1 w 23"/>
                <a:gd name="T33" fmla="*/ 11 h 22"/>
                <a:gd name="T34" fmla="*/ 1 w 23"/>
                <a:gd name="T35" fmla="*/ 11 h 22"/>
                <a:gd name="T36" fmla="*/ 0 w 23"/>
                <a:gd name="T37" fmla="*/ 11 h 22"/>
                <a:gd name="T38" fmla="*/ 0 w 23"/>
                <a:gd name="T39" fmla="*/ 11 h 22"/>
                <a:gd name="T40" fmla="*/ 0 w 23"/>
                <a:gd name="T41" fmla="*/ 11 h 22"/>
                <a:gd name="T42" fmla="*/ 0 w 23"/>
                <a:gd name="T43" fmla="*/ 11 h 22"/>
                <a:gd name="T44" fmla="*/ 0 w 23"/>
                <a:gd name="T45" fmla="*/ 11 h 22"/>
                <a:gd name="T46" fmla="*/ 1 w 23"/>
                <a:gd name="T47" fmla="*/ 13 h 22"/>
                <a:gd name="T48" fmla="*/ 1 w 23"/>
                <a:gd name="T49" fmla="*/ 14 h 22"/>
                <a:gd name="T50" fmla="*/ 2 w 23"/>
                <a:gd name="T51" fmla="*/ 16 h 22"/>
                <a:gd name="T52" fmla="*/ 3 w 23"/>
                <a:gd name="T53" fmla="*/ 18 h 22"/>
                <a:gd name="T54" fmla="*/ 5 w 23"/>
                <a:gd name="T55" fmla="*/ 19 h 22"/>
                <a:gd name="T56" fmla="*/ 6 w 23"/>
                <a:gd name="T57" fmla="*/ 20 h 22"/>
                <a:gd name="T58" fmla="*/ 9 w 23"/>
                <a:gd name="T59" fmla="*/ 21 h 22"/>
                <a:gd name="T60" fmla="*/ 9 w 23"/>
                <a:gd name="T61" fmla="*/ 22 h 22"/>
                <a:gd name="T62" fmla="*/ 9 w 23"/>
                <a:gd name="T63" fmla="*/ 22 h 22"/>
                <a:gd name="T64" fmla="*/ 9 w 23"/>
                <a:gd name="T65" fmla="*/ 22 h 22"/>
                <a:gd name="T66" fmla="*/ 10 w 23"/>
                <a:gd name="T67" fmla="*/ 22 h 22"/>
                <a:gd name="T68" fmla="*/ 10 w 23"/>
                <a:gd name="T69" fmla="*/ 21 h 22"/>
                <a:gd name="T70" fmla="*/ 11 w 23"/>
                <a:gd name="T71" fmla="*/ 19 h 22"/>
                <a:gd name="T72" fmla="*/ 11 w 23"/>
                <a:gd name="T73" fmla="*/ 18 h 22"/>
                <a:gd name="T74" fmla="*/ 12 w 23"/>
                <a:gd name="T75" fmla="*/ 17 h 22"/>
                <a:gd name="T76" fmla="*/ 12 w 23"/>
                <a:gd name="T77" fmla="*/ 17 h 22"/>
                <a:gd name="T78" fmla="*/ 12 w 23"/>
                <a:gd name="T79" fmla="*/ 16 h 22"/>
                <a:gd name="T80" fmla="*/ 13 w 23"/>
                <a:gd name="T81" fmla="*/ 16 h 22"/>
                <a:gd name="T82" fmla="*/ 15 w 23"/>
                <a:gd name="T83" fmla="*/ 15 h 22"/>
                <a:gd name="T84" fmla="*/ 16 w 23"/>
                <a:gd name="T85" fmla="*/ 15 h 22"/>
                <a:gd name="T86" fmla="*/ 19 w 23"/>
                <a:gd name="T87" fmla="*/ 14 h 22"/>
                <a:gd name="T88" fmla="*/ 19 w 23"/>
                <a:gd name="T89" fmla="*/ 14 h 22"/>
                <a:gd name="T90" fmla="*/ 20 w 23"/>
                <a:gd name="T91" fmla="*/ 14 h 22"/>
                <a:gd name="T92" fmla="*/ 20 w 23"/>
                <a:gd name="T93" fmla="*/ 14 h 22"/>
                <a:gd name="T94" fmla="*/ 20 w 23"/>
                <a:gd name="T95" fmla="*/ 14 h 22"/>
                <a:gd name="T96" fmla="*/ 20 w 23"/>
                <a:gd name="T97" fmla="*/ 13 h 22"/>
                <a:gd name="T98" fmla="*/ 20 w 23"/>
                <a:gd name="T99" fmla="*/ 13 h 22"/>
                <a:gd name="T100" fmla="*/ 20 w 23"/>
                <a:gd name="T101" fmla="*/ 13 h 22"/>
                <a:gd name="T102" fmla="*/ 20 w 23"/>
                <a:gd name="T103" fmla="*/ 12 h 22"/>
                <a:gd name="T104" fmla="*/ 20 w 23"/>
                <a:gd name="T105" fmla="*/ 11 h 22"/>
                <a:gd name="T106" fmla="*/ 20 w 23"/>
                <a:gd name="T107" fmla="*/ 11 h 22"/>
                <a:gd name="T108" fmla="*/ 20 w 23"/>
                <a:gd name="T109" fmla="*/ 11 h 22"/>
                <a:gd name="T110" fmla="*/ 21 w 23"/>
                <a:gd name="T111" fmla="*/ 10 h 22"/>
                <a:gd name="T112" fmla="*/ 22 w 23"/>
                <a:gd name="T113" fmla="*/ 9 h 22"/>
                <a:gd name="T114" fmla="*/ 22 w 23"/>
                <a:gd name="T115" fmla="*/ 8 h 22"/>
                <a:gd name="T116" fmla="*/ 23 w 23"/>
                <a:gd name="T117" fmla="*/ 8 h 22"/>
                <a:gd name="T118" fmla="*/ 22 w 23"/>
                <a:gd name="T119"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 h="22">
                  <a:moveTo>
                    <a:pt x="22" y="6"/>
                  </a:moveTo>
                  <a:cubicBezTo>
                    <a:pt x="22" y="5"/>
                    <a:pt x="22" y="5"/>
                    <a:pt x="22" y="5"/>
                  </a:cubicBezTo>
                  <a:cubicBezTo>
                    <a:pt x="21" y="5"/>
                    <a:pt x="21" y="5"/>
                    <a:pt x="21" y="5"/>
                  </a:cubicBezTo>
                  <a:cubicBezTo>
                    <a:pt x="21" y="4"/>
                    <a:pt x="20" y="4"/>
                    <a:pt x="20" y="4"/>
                  </a:cubicBezTo>
                  <a:cubicBezTo>
                    <a:pt x="19" y="3"/>
                    <a:pt x="19" y="3"/>
                    <a:pt x="19" y="3"/>
                  </a:cubicBezTo>
                  <a:cubicBezTo>
                    <a:pt x="19" y="3"/>
                    <a:pt x="19" y="3"/>
                    <a:pt x="19" y="3"/>
                  </a:cubicBezTo>
                  <a:cubicBezTo>
                    <a:pt x="18" y="2"/>
                    <a:pt x="16" y="1"/>
                    <a:pt x="15" y="0"/>
                  </a:cubicBezTo>
                  <a:cubicBezTo>
                    <a:pt x="15" y="0"/>
                    <a:pt x="15" y="0"/>
                    <a:pt x="15" y="0"/>
                  </a:cubicBezTo>
                  <a:cubicBezTo>
                    <a:pt x="14" y="0"/>
                    <a:pt x="13" y="1"/>
                    <a:pt x="12" y="1"/>
                  </a:cubicBezTo>
                  <a:cubicBezTo>
                    <a:pt x="11" y="2"/>
                    <a:pt x="10" y="2"/>
                    <a:pt x="10" y="2"/>
                  </a:cubicBezTo>
                  <a:cubicBezTo>
                    <a:pt x="9" y="3"/>
                    <a:pt x="9" y="3"/>
                    <a:pt x="9" y="3"/>
                  </a:cubicBezTo>
                  <a:cubicBezTo>
                    <a:pt x="9" y="3"/>
                    <a:pt x="9" y="3"/>
                    <a:pt x="8" y="3"/>
                  </a:cubicBezTo>
                  <a:cubicBezTo>
                    <a:pt x="8" y="3"/>
                    <a:pt x="7" y="3"/>
                    <a:pt x="7" y="4"/>
                  </a:cubicBezTo>
                  <a:cubicBezTo>
                    <a:pt x="6" y="4"/>
                    <a:pt x="6" y="4"/>
                    <a:pt x="6" y="4"/>
                  </a:cubicBezTo>
                  <a:cubicBezTo>
                    <a:pt x="6" y="5"/>
                    <a:pt x="5" y="6"/>
                    <a:pt x="4" y="8"/>
                  </a:cubicBezTo>
                  <a:cubicBezTo>
                    <a:pt x="4" y="8"/>
                    <a:pt x="3" y="9"/>
                    <a:pt x="3" y="9"/>
                  </a:cubicBezTo>
                  <a:cubicBezTo>
                    <a:pt x="2" y="10"/>
                    <a:pt x="2" y="10"/>
                    <a:pt x="1" y="11"/>
                  </a:cubicBezTo>
                  <a:cubicBezTo>
                    <a:pt x="1" y="11"/>
                    <a:pt x="1" y="11"/>
                    <a:pt x="1" y="11"/>
                  </a:cubicBezTo>
                  <a:cubicBezTo>
                    <a:pt x="1"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1" y="13"/>
                  </a:cubicBezTo>
                  <a:cubicBezTo>
                    <a:pt x="1" y="13"/>
                    <a:pt x="1" y="14"/>
                    <a:pt x="1" y="14"/>
                  </a:cubicBezTo>
                  <a:cubicBezTo>
                    <a:pt x="2" y="15"/>
                    <a:pt x="2" y="15"/>
                    <a:pt x="2" y="16"/>
                  </a:cubicBezTo>
                  <a:cubicBezTo>
                    <a:pt x="3" y="18"/>
                    <a:pt x="3" y="18"/>
                    <a:pt x="3" y="18"/>
                  </a:cubicBezTo>
                  <a:cubicBezTo>
                    <a:pt x="3" y="18"/>
                    <a:pt x="5" y="19"/>
                    <a:pt x="5" y="19"/>
                  </a:cubicBezTo>
                  <a:cubicBezTo>
                    <a:pt x="6" y="20"/>
                    <a:pt x="6" y="20"/>
                    <a:pt x="6" y="20"/>
                  </a:cubicBezTo>
                  <a:cubicBezTo>
                    <a:pt x="7" y="20"/>
                    <a:pt x="8" y="21"/>
                    <a:pt x="9" y="21"/>
                  </a:cubicBezTo>
                  <a:cubicBezTo>
                    <a:pt x="9" y="21"/>
                    <a:pt x="9" y="22"/>
                    <a:pt x="9" y="22"/>
                  </a:cubicBezTo>
                  <a:cubicBezTo>
                    <a:pt x="9" y="22"/>
                    <a:pt x="9" y="22"/>
                    <a:pt x="9" y="22"/>
                  </a:cubicBezTo>
                  <a:cubicBezTo>
                    <a:pt x="9" y="22"/>
                    <a:pt x="9" y="22"/>
                    <a:pt x="9" y="22"/>
                  </a:cubicBezTo>
                  <a:cubicBezTo>
                    <a:pt x="9" y="22"/>
                    <a:pt x="10" y="22"/>
                    <a:pt x="10" y="22"/>
                  </a:cubicBezTo>
                  <a:cubicBezTo>
                    <a:pt x="10" y="22"/>
                    <a:pt x="10" y="21"/>
                    <a:pt x="10" y="21"/>
                  </a:cubicBezTo>
                  <a:cubicBezTo>
                    <a:pt x="10" y="21"/>
                    <a:pt x="11" y="19"/>
                    <a:pt x="11" y="19"/>
                  </a:cubicBezTo>
                  <a:cubicBezTo>
                    <a:pt x="11" y="18"/>
                    <a:pt x="11" y="18"/>
                    <a:pt x="11" y="18"/>
                  </a:cubicBezTo>
                  <a:cubicBezTo>
                    <a:pt x="11" y="18"/>
                    <a:pt x="11" y="18"/>
                    <a:pt x="12" y="17"/>
                  </a:cubicBezTo>
                  <a:cubicBezTo>
                    <a:pt x="12" y="17"/>
                    <a:pt x="12" y="17"/>
                    <a:pt x="12" y="17"/>
                  </a:cubicBezTo>
                  <a:cubicBezTo>
                    <a:pt x="12" y="16"/>
                    <a:pt x="12" y="16"/>
                    <a:pt x="12" y="16"/>
                  </a:cubicBezTo>
                  <a:cubicBezTo>
                    <a:pt x="13" y="16"/>
                    <a:pt x="13" y="16"/>
                    <a:pt x="13" y="16"/>
                  </a:cubicBezTo>
                  <a:cubicBezTo>
                    <a:pt x="15" y="15"/>
                    <a:pt x="15" y="15"/>
                    <a:pt x="15" y="15"/>
                  </a:cubicBezTo>
                  <a:cubicBezTo>
                    <a:pt x="15" y="15"/>
                    <a:pt x="16" y="15"/>
                    <a:pt x="16" y="15"/>
                  </a:cubicBezTo>
                  <a:cubicBezTo>
                    <a:pt x="17" y="15"/>
                    <a:pt x="18" y="15"/>
                    <a:pt x="19" y="14"/>
                  </a:cubicBezTo>
                  <a:cubicBezTo>
                    <a:pt x="19" y="14"/>
                    <a:pt x="19" y="14"/>
                    <a:pt x="19" y="14"/>
                  </a:cubicBezTo>
                  <a:cubicBezTo>
                    <a:pt x="20" y="14"/>
                    <a:pt x="20" y="14"/>
                    <a:pt x="20" y="14"/>
                  </a:cubicBezTo>
                  <a:cubicBezTo>
                    <a:pt x="20" y="14"/>
                    <a:pt x="20" y="14"/>
                    <a:pt x="20" y="14"/>
                  </a:cubicBezTo>
                  <a:cubicBezTo>
                    <a:pt x="20" y="14"/>
                    <a:pt x="20" y="14"/>
                    <a:pt x="20" y="14"/>
                  </a:cubicBezTo>
                  <a:cubicBezTo>
                    <a:pt x="20" y="13"/>
                    <a:pt x="20" y="13"/>
                    <a:pt x="20" y="13"/>
                  </a:cubicBezTo>
                  <a:cubicBezTo>
                    <a:pt x="20" y="13"/>
                    <a:pt x="20" y="13"/>
                    <a:pt x="20" y="13"/>
                  </a:cubicBezTo>
                  <a:cubicBezTo>
                    <a:pt x="20" y="13"/>
                    <a:pt x="20" y="13"/>
                    <a:pt x="20" y="13"/>
                  </a:cubicBezTo>
                  <a:cubicBezTo>
                    <a:pt x="20" y="12"/>
                    <a:pt x="20" y="12"/>
                    <a:pt x="20" y="12"/>
                  </a:cubicBezTo>
                  <a:cubicBezTo>
                    <a:pt x="20" y="11"/>
                    <a:pt x="20" y="11"/>
                    <a:pt x="20" y="11"/>
                  </a:cubicBezTo>
                  <a:cubicBezTo>
                    <a:pt x="20" y="11"/>
                    <a:pt x="20" y="11"/>
                    <a:pt x="20" y="11"/>
                  </a:cubicBezTo>
                  <a:cubicBezTo>
                    <a:pt x="20" y="11"/>
                    <a:pt x="20" y="11"/>
                    <a:pt x="20" y="11"/>
                  </a:cubicBezTo>
                  <a:cubicBezTo>
                    <a:pt x="21" y="11"/>
                    <a:pt x="21" y="10"/>
                    <a:pt x="21" y="10"/>
                  </a:cubicBezTo>
                  <a:cubicBezTo>
                    <a:pt x="21" y="10"/>
                    <a:pt x="22" y="9"/>
                    <a:pt x="22" y="9"/>
                  </a:cubicBezTo>
                  <a:cubicBezTo>
                    <a:pt x="22" y="9"/>
                    <a:pt x="22" y="9"/>
                    <a:pt x="22" y="8"/>
                  </a:cubicBezTo>
                  <a:cubicBezTo>
                    <a:pt x="22" y="8"/>
                    <a:pt x="23" y="8"/>
                    <a:pt x="23" y="8"/>
                  </a:cubicBezTo>
                  <a:cubicBezTo>
                    <a:pt x="23" y="7"/>
                    <a:pt x="23" y="6"/>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5" name="Freeform 3210">
              <a:extLst>
                <a:ext uri="{FF2B5EF4-FFF2-40B4-BE49-F238E27FC236}">
                  <a16:creationId xmlns:a16="http://schemas.microsoft.com/office/drawing/2014/main" id="{7AD2A9BC-7FBD-4376-B349-7F7436DB2DC7}"/>
                </a:ext>
              </a:extLst>
            </p:cNvPr>
            <p:cNvSpPr>
              <a:spLocks noEditPoints="1"/>
            </p:cNvSpPr>
            <p:nvPr/>
          </p:nvSpPr>
          <p:spPr bwMode="auto">
            <a:xfrm>
              <a:off x="3949" y="3325"/>
              <a:ext cx="392" cy="329"/>
            </a:xfrm>
            <a:custGeom>
              <a:avLst/>
              <a:gdLst>
                <a:gd name="T0" fmla="*/ 161 w 166"/>
                <a:gd name="T1" fmla="*/ 51 h 139"/>
                <a:gd name="T2" fmla="*/ 150 w 166"/>
                <a:gd name="T3" fmla="*/ 54 h 139"/>
                <a:gd name="T4" fmla="*/ 145 w 166"/>
                <a:gd name="T5" fmla="*/ 49 h 139"/>
                <a:gd name="T6" fmla="*/ 144 w 166"/>
                <a:gd name="T7" fmla="*/ 45 h 139"/>
                <a:gd name="T8" fmla="*/ 156 w 166"/>
                <a:gd name="T9" fmla="*/ 38 h 139"/>
                <a:gd name="T10" fmla="*/ 157 w 166"/>
                <a:gd name="T11" fmla="*/ 35 h 139"/>
                <a:gd name="T12" fmla="*/ 156 w 166"/>
                <a:gd name="T13" fmla="*/ 23 h 139"/>
                <a:gd name="T14" fmla="*/ 152 w 166"/>
                <a:gd name="T15" fmla="*/ 10 h 139"/>
                <a:gd name="T16" fmla="*/ 150 w 166"/>
                <a:gd name="T17" fmla="*/ 2 h 139"/>
                <a:gd name="T18" fmla="*/ 135 w 166"/>
                <a:gd name="T19" fmla="*/ 0 h 139"/>
                <a:gd name="T20" fmla="*/ 129 w 166"/>
                <a:gd name="T21" fmla="*/ 0 h 139"/>
                <a:gd name="T22" fmla="*/ 122 w 166"/>
                <a:gd name="T23" fmla="*/ 4 h 139"/>
                <a:gd name="T24" fmla="*/ 114 w 166"/>
                <a:gd name="T25" fmla="*/ 11 h 139"/>
                <a:gd name="T26" fmla="*/ 107 w 166"/>
                <a:gd name="T27" fmla="*/ 20 h 139"/>
                <a:gd name="T28" fmla="*/ 96 w 166"/>
                <a:gd name="T29" fmla="*/ 27 h 139"/>
                <a:gd name="T30" fmla="*/ 93 w 166"/>
                <a:gd name="T31" fmla="*/ 36 h 139"/>
                <a:gd name="T32" fmla="*/ 81 w 166"/>
                <a:gd name="T33" fmla="*/ 39 h 139"/>
                <a:gd name="T34" fmla="*/ 67 w 166"/>
                <a:gd name="T35" fmla="*/ 33 h 139"/>
                <a:gd name="T36" fmla="*/ 65 w 166"/>
                <a:gd name="T37" fmla="*/ 36 h 139"/>
                <a:gd name="T38" fmla="*/ 65 w 166"/>
                <a:gd name="T39" fmla="*/ 39 h 139"/>
                <a:gd name="T40" fmla="*/ 62 w 166"/>
                <a:gd name="T41" fmla="*/ 43 h 139"/>
                <a:gd name="T42" fmla="*/ 52 w 166"/>
                <a:gd name="T43" fmla="*/ 51 h 139"/>
                <a:gd name="T44" fmla="*/ 48 w 166"/>
                <a:gd name="T45" fmla="*/ 50 h 139"/>
                <a:gd name="T46" fmla="*/ 42 w 166"/>
                <a:gd name="T47" fmla="*/ 52 h 139"/>
                <a:gd name="T48" fmla="*/ 40 w 166"/>
                <a:gd name="T49" fmla="*/ 48 h 139"/>
                <a:gd name="T50" fmla="*/ 42 w 166"/>
                <a:gd name="T51" fmla="*/ 43 h 139"/>
                <a:gd name="T52" fmla="*/ 41 w 166"/>
                <a:gd name="T53" fmla="*/ 36 h 139"/>
                <a:gd name="T54" fmla="*/ 36 w 166"/>
                <a:gd name="T55" fmla="*/ 29 h 139"/>
                <a:gd name="T56" fmla="*/ 36 w 166"/>
                <a:gd name="T57" fmla="*/ 67 h 139"/>
                <a:gd name="T58" fmla="*/ 29 w 166"/>
                <a:gd name="T59" fmla="*/ 72 h 139"/>
                <a:gd name="T60" fmla="*/ 18 w 166"/>
                <a:gd name="T61" fmla="*/ 73 h 139"/>
                <a:gd name="T62" fmla="*/ 8 w 166"/>
                <a:gd name="T63" fmla="*/ 70 h 139"/>
                <a:gd name="T64" fmla="*/ 7 w 166"/>
                <a:gd name="T65" fmla="*/ 66 h 139"/>
                <a:gd name="T66" fmla="*/ 4 w 166"/>
                <a:gd name="T67" fmla="*/ 64 h 139"/>
                <a:gd name="T68" fmla="*/ 3 w 166"/>
                <a:gd name="T69" fmla="*/ 66 h 139"/>
                <a:gd name="T70" fmla="*/ 0 w 166"/>
                <a:gd name="T71" fmla="*/ 70 h 139"/>
                <a:gd name="T72" fmla="*/ 18 w 166"/>
                <a:gd name="T73" fmla="*/ 107 h 139"/>
                <a:gd name="T74" fmla="*/ 14 w 166"/>
                <a:gd name="T75" fmla="*/ 118 h 139"/>
                <a:gd name="T76" fmla="*/ 20 w 166"/>
                <a:gd name="T77" fmla="*/ 133 h 139"/>
                <a:gd name="T78" fmla="*/ 29 w 166"/>
                <a:gd name="T79" fmla="*/ 137 h 139"/>
                <a:gd name="T80" fmla="*/ 54 w 166"/>
                <a:gd name="T81" fmla="*/ 133 h 139"/>
                <a:gd name="T82" fmla="*/ 85 w 166"/>
                <a:gd name="T83" fmla="*/ 131 h 139"/>
                <a:gd name="T84" fmla="*/ 93 w 166"/>
                <a:gd name="T85" fmla="*/ 128 h 139"/>
                <a:gd name="T86" fmla="*/ 114 w 166"/>
                <a:gd name="T87" fmla="*/ 120 h 139"/>
                <a:gd name="T88" fmla="*/ 156 w 166"/>
                <a:gd name="T89" fmla="*/ 72 h 139"/>
                <a:gd name="T90" fmla="*/ 166 w 166"/>
                <a:gd name="T91" fmla="*/ 51 h 139"/>
                <a:gd name="T92" fmla="*/ 129 w 166"/>
                <a:gd name="T93" fmla="*/ 81 h 139"/>
                <a:gd name="T94" fmla="*/ 125 w 166"/>
                <a:gd name="T95" fmla="*/ 86 h 139"/>
                <a:gd name="T96" fmla="*/ 118 w 166"/>
                <a:gd name="T97" fmla="*/ 92 h 139"/>
                <a:gd name="T98" fmla="*/ 110 w 166"/>
                <a:gd name="T99" fmla="*/ 88 h 139"/>
                <a:gd name="T100" fmla="*/ 106 w 166"/>
                <a:gd name="T101" fmla="*/ 81 h 139"/>
                <a:gd name="T102" fmla="*/ 110 w 166"/>
                <a:gd name="T103" fmla="*/ 77 h 139"/>
                <a:gd name="T104" fmla="*/ 117 w 166"/>
                <a:gd name="T105" fmla="*/ 70 h 139"/>
                <a:gd name="T106" fmla="*/ 124 w 166"/>
                <a:gd name="T107" fmla="*/ 67 h 139"/>
                <a:gd name="T108" fmla="*/ 129 w 166"/>
                <a:gd name="T109"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 h="139">
                  <a:moveTo>
                    <a:pt x="166" y="51"/>
                  </a:moveTo>
                  <a:cubicBezTo>
                    <a:pt x="165" y="51"/>
                    <a:pt x="165" y="51"/>
                    <a:pt x="165" y="51"/>
                  </a:cubicBezTo>
                  <a:cubicBezTo>
                    <a:pt x="164" y="51"/>
                    <a:pt x="163" y="51"/>
                    <a:pt x="163" y="51"/>
                  </a:cubicBezTo>
                  <a:cubicBezTo>
                    <a:pt x="162" y="51"/>
                    <a:pt x="162" y="51"/>
                    <a:pt x="162" y="51"/>
                  </a:cubicBezTo>
                  <a:cubicBezTo>
                    <a:pt x="162" y="51"/>
                    <a:pt x="161" y="51"/>
                    <a:pt x="161" y="51"/>
                  </a:cubicBezTo>
                  <a:cubicBezTo>
                    <a:pt x="160" y="51"/>
                    <a:pt x="160" y="50"/>
                    <a:pt x="159" y="50"/>
                  </a:cubicBezTo>
                  <a:cubicBezTo>
                    <a:pt x="159" y="50"/>
                    <a:pt x="159" y="50"/>
                    <a:pt x="159" y="50"/>
                  </a:cubicBezTo>
                  <a:cubicBezTo>
                    <a:pt x="159" y="51"/>
                    <a:pt x="159" y="53"/>
                    <a:pt x="159" y="54"/>
                  </a:cubicBezTo>
                  <a:cubicBezTo>
                    <a:pt x="159" y="55"/>
                    <a:pt x="159" y="55"/>
                    <a:pt x="159" y="55"/>
                  </a:cubicBezTo>
                  <a:cubicBezTo>
                    <a:pt x="150" y="54"/>
                    <a:pt x="150" y="54"/>
                    <a:pt x="150" y="54"/>
                  </a:cubicBezTo>
                  <a:cubicBezTo>
                    <a:pt x="150" y="54"/>
                    <a:pt x="149" y="54"/>
                    <a:pt x="148" y="53"/>
                  </a:cubicBezTo>
                  <a:cubicBezTo>
                    <a:pt x="147" y="51"/>
                    <a:pt x="147" y="51"/>
                    <a:pt x="147" y="51"/>
                  </a:cubicBezTo>
                  <a:cubicBezTo>
                    <a:pt x="147" y="51"/>
                    <a:pt x="146" y="50"/>
                    <a:pt x="146" y="49"/>
                  </a:cubicBezTo>
                  <a:cubicBezTo>
                    <a:pt x="145" y="49"/>
                    <a:pt x="145" y="49"/>
                    <a:pt x="145" y="49"/>
                  </a:cubicBezTo>
                  <a:cubicBezTo>
                    <a:pt x="145" y="49"/>
                    <a:pt x="145" y="49"/>
                    <a:pt x="145" y="49"/>
                  </a:cubicBezTo>
                  <a:cubicBezTo>
                    <a:pt x="144" y="48"/>
                    <a:pt x="144" y="48"/>
                    <a:pt x="144" y="48"/>
                  </a:cubicBezTo>
                  <a:cubicBezTo>
                    <a:pt x="144" y="48"/>
                    <a:pt x="144" y="48"/>
                    <a:pt x="144" y="48"/>
                  </a:cubicBezTo>
                  <a:cubicBezTo>
                    <a:pt x="144" y="47"/>
                    <a:pt x="144" y="46"/>
                    <a:pt x="144" y="46"/>
                  </a:cubicBezTo>
                  <a:cubicBezTo>
                    <a:pt x="144" y="45"/>
                    <a:pt x="144" y="45"/>
                    <a:pt x="144" y="45"/>
                  </a:cubicBezTo>
                  <a:cubicBezTo>
                    <a:pt x="144" y="45"/>
                    <a:pt x="144" y="45"/>
                    <a:pt x="144" y="45"/>
                  </a:cubicBezTo>
                  <a:cubicBezTo>
                    <a:pt x="145" y="44"/>
                    <a:pt x="146" y="42"/>
                    <a:pt x="146" y="42"/>
                  </a:cubicBezTo>
                  <a:cubicBezTo>
                    <a:pt x="147" y="40"/>
                    <a:pt x="149" y="38"/>
                    <a:pt x="150" y="37"/>
                  </a:cubicBezTo>
                  <a:cubicBezTo>
                    <a:pt x="151" y="36"/>
                    <a:pt x="152" y="36"/>
                    <a:pt x="153" y="36"/>
                  </a:cubicBezTo>
                  <a:cubicBezTo>
                    <a:pt x="154" y="36"/>
                    <a:pt x="154" y="36"/>
                    <a:pt x="154" y="36"/>
                  </a:cubicBezTo>
                  <a:cubicBezTo>
                    <a:pt x="154" y="37"/>
                    <a:pt x="155" y="38"/>
                    <a:pt x="156" y="38"/>
                  </a:cubicBezTo>
                  <a:cubicBezTo>
                    <a:pt x="156" y="38"/>
                    <a:pt x="156" y="38"/>
                    <a:pt x="156" y="38"/>
                  </a:cubicBezTo>
                  <a:cubicBezTo>
                    <a:pt x="156" y="37"/>
                    <a:pt x="156" y="37"/>
                    <a:pt x="156" y="37"/>
                  </a:cubicBezTo>
                  <a:cubicBezTo>
                    <a:pt x="157" y="37"/>
                    <a:pt x="157" y="36"/>
                    <a:pt x="157" y="36"/>
                  </a:cubicBezTo>
                  <a:cubicBezTo>
                    <a:pt x="157" y="36"/>
                    <a:pt x="157" y="35"/>
                    <a:pt x="157" y="35"/>
                  </a:cubicBezTo>
                  <a:cubicBezTo>
                    <a:pt x="157" y="35"/>
                    <a:pt x="157" y="35"/>
                    <a:pt x="157" y="35"/>
                  </a:cubicBezTo>
                  <a:cubicBezTo>
                    <a:pt x="157" y="34"/>
                    <a:pt x="157" y="34"/>
                    <a:pt x="157" y="33"/>
                  </a:cubicBezTo>
                  <a:cubicBezTo>
                    <a:pt x="157" y="32"/>
                    <a:pt x="157" y="32"/>
                    <a:pt x="157" y="32"/>
                  </a:cubicBezTo>
                  <a:cubicBezTo>
                    <a:pt x="157" y="32"/>
                    <a:pt x="157" y="31"/>
                    <a:pt x="157" y="31"/>
                  </a:cubicBezTo>
                  <a:cubicBezTo>
                    <a:pt x="157" y="29"/>
                    <a:pt x="156" y="27"/>
                    <a:pt x="156" y="25"/>
                  </a:cubicBezTo>
                  <a:cubicBezTo>
                    <a:pt x="156" y="23"/>
                    <a:pt x="156" y="23"/>
                    <a:pt x="156" y="23"/>
                  </a:cubicBezTo>
                  <a:cubicBezTo>
                    <a:pt x="156" y="21"/>
                    <a:pt x="156" y="19"/>
                    <a:pt x="155" y="18"/>
                  </a:cubicBezTo>
                  <a:cubicBezTo>
                    <a:pt x="153" y="14"/>
                    <a:pt x="153" y="14"/>
                    <a:pt x="153" y="14"/>
                  </a:cubicBezTo>
                  <a:cubicBezTo>
                    <a:pt x="152" y="13"/>
                    <a:pt x="152" y="12"/>
                    <a:pt x="152" y="11"/>
                  </a:cubicBezTo>
                  <a:cubicBezTo>
                    <a:pt x="151" y="11"/>
                    <a:pt x="151" y="11"/>
                    <a:pt x="151" y="11"/>
                  </a:cubicBezTo>
                  <a:cubicBezTo>
                    <a:pt x="152" y="10"/>
                    <a:pt x="152" y="10"/>
                    <a:pt x="152" y="10"/>
                  </a:cubicBezTo>
                  <a:cubicBezTo>
                    <a:pt x="152" y="10"/>
                    <a:pt x="152" y="10"/>
                    <a:pt x="152" y="10"/>
                  </a:cubicBezTo>
                  <a:cubicBezTo>
                    <a:pt x="152" y="10"/>
                    <a:pt x="152" y="10"/>
                    <a:pt x="152" y="9"/>
                  </a:cubicBezTo>
                  <a:cubicBezTo>
                    <a:pt x="152" y="8"/>
                    <a:pt x="151" y="6"/>
                    <a:pt x="151" y="5"/>
                  </a:cubicBezTo>
                  <a:cubicBezTo>
                    <a:pt x="150" y="4"/>
                    <a:pt x="150" y="3"/>
                    <a:pt x="150" y="3"/>
                  </a:cubicBezTo>
                  <a:cubicBezTo>
                    <a:pt x="150" y="2"/>
                    <a:pt x="150" y="2"/>
                    <a:pt x="150" y="2"/>
                  </a:cubicBezTo>
                  <a:cubicBezTo>
                    <a:pt x="149" y="2"/>
                    <a:pt x="149" y="2"/>
                    <a:pt x="149" y="2"/>
                  </a:cubicBezTo>
                  <a:cubicBezTo>
                    <a:pt x="148" y="1"/>
                    <a:pt x="148" y="1"/>
                    <a:pt x="146" y="1"/>
                  </a:cubicBezTo>
                  <a:cubicBezTo>
                    <a:pt x="146" y="1"/>
                    <a:pt x="146" y="1"/>
                    <a:pt x="146" y="1"/>
                  </a:cubicBezTo>
                  <a:cubicBezTo>
                    <a:pt x="143" y="0"/>
                    <a:pt x="139" y="0"/>
                    <a:pt x="136" y="0"/>
                  </a:cubicBezTo>
                  <a:cubicBezTo>
                    <a:pt x="135" y="0"/>
                    <a:pt x="135" y="0"/>
                    <a:pt x="135" y="0"/>
                  </a:cubicBezTo>
                  <a:cubicBezTo>
                    <a:pt x="133" y="0"/>
                    <a:pt x="132"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129" y="0"/>
                    <a:pt x="128" y="0"/>
                    <a:pt x="128" y="0"/>
                  </a:cubicBezTo>
                  <a:cubicBezTo>
                    <a:pt x="128" y="0"/>
                    <a:pt x="128" y="1"/>
                    <a:pt x="128" y="1"/>
                  </a:cubicBezTo>
                  <a:cubicBezTo>
                    <a:pt x="127" y="2"/>
                    <a:pt x="127" y="3"/>
                    <a:pt x="126" y="3"/>
                  </a:cubicBezTo>
                  <a:cubicBezTo>
                    <a:pt x="125" y="3"/>
                    <a:pt x="125" y="3"/>
                    <a:pt x="125" y="3"/>
                  </a:cubicBezTo>
                  <a:cubicBezTo>
                    <a:pt x="124" y="4"/>
                    <a:pt x="123" y="4"/>
                    <a:pt x="122" y="4"/>
                  </a:cubicBezTo>
                  <a:cubicBezTo>
                    <a:pt x="122" y="4"/>
                    <a:pt x="121" y="4"/>
                    <a:pt x="121" y="4"/>
                  </a:cubicBezTo>
                  <a:cubicBezTo>
                    <a:pt x="121" y="4"/>
                    <a:pt x="121" y="4"/>
                    <a:pt x="121" y="4"/>
                  </a:cubicBezTo>
                  <a:cubicBezTo>
                    <a:pt x="121" y="4"/>
                    <a:pt x="120" y="5"/>
                    <a:pt x="119" y="6"/>
                  </a:cubicBezTo>
                  <a:cubicBezTo>
                    <a:pt x="119" y="7"/>
                    <a:pt x="119" y="7"/>
                    <a:pt x="119" y="7"/>
                  </a:cubicBezTo>
                  <a:cubicBezTo>
                    <a:pt x="117" y="8"/>
                    <a:pt x="116" y="10"/>
                    <a:pt x="114" y="11"/>
                  </a:cubicBezTo>
                  <a:cubicBezTo>
                    <a:pt x="113" y="12"/>
                    <a:pt x="112" y="12"/>
                    <a:pt x="112" y="13"/>
                  </a:cubicBezTo>
                  <a:cubicBezTo>
                    <a:pt x="110" y="14"/>
                    <a:pt x="108" y="15"/>
                    <a:pt x="107" y="17"/>
                  </a:cubicBezTo>
                  <a:cubicBezTo>
                    <a:pt x="107" y="18"/>
                    <a:pt x="107" y="18"/>
                    <a:pt x="107" y="18"/>
                  </a:cubicBezTo>
                  <a:cubicBezTo>
                    <a:pt x="107" y="18"/>
                    <a:pt x="107" y="19"/>
                    <a:pt x="107" y="19"/>
                  </a:cubicBezTo>
                  <a:cubicBezTo>
                    <a:pt x="107" y="19"/>
                    <a:pt x="107" y="20"/>
                    <a:pt x="107" y="20"/>
                  </a:cubicBezTo>
                  <a:cubicBezTo>
                    <a:pt x="106" y="21"/>
                    <a:pt x="106" y="22"/>
                    <a:pt x="105" y="23"/>
                  </a:cubicBezTo>
                  <a:cubicBezTo>
                    <a:pt x="105" y="23"/>
                    <a:pt x="105" y="23"/>
                    <a:pt x="104" y="23"/>
                  </a:cubicBezTo>
                  <a:cubicBezTo>
                    <a:pt x="103" y="24"/>
                    <a:pt x="103" y="24"/>
                    <a:pt x="103" y="24"/>
                  </a:cubicBezTo>
                  <a:cubicBezTo>
                    <a:pt x="102" y="26"/>
                    <a:pt x="101" y="26"/>
                    <a:pt x="98" y="27"/>
                  </a:cubicBezTo>
                  <a:cubicBezTo>
                    <a:pt x="98" y="27"/>
                    <a:pt x="97" y="27"/>
                    <a:pt x="96" y="27"/>
                  </a:cubicBezTo>
                  <a:cubicBezTo>
                    <a:pt x="96" y="27"/>
                    <a:pt x="96" y="27"/>
                    <a:pt x="96" y="27"/>
                  </a:cubicBezTo>
                  <a:cubicBezTo>
                    <a:pt x="96" y="28"/>
                    <a:pt x="96" y="28"/>
                    <a:pt x="96" y="29"/>
                  </a:cubicBezTo>
                  <a:cubicBezTo>
                    <a:pt x="96" y="31"/>
                    <a:pt x="95" y="34"/>
                    <a:pt x="94" y="35"/>
                  </a:cubicBezTo>
                  <a:cubicBezTo>
                    <a:pt x="94" y="35"/>
                    <a:pt x="93" y="36"/>
                    <a:pt x="93" y="36"/>
                  </a:cubicBezTo>
                  <a:cubicBezTo>
                    <a:pt x="93" y="36"/>
                    <a:pt x="93" y="36"/>
                    <a:pt x="93" y="36"/>
                  </a:cubicBezTo>
                  <a:cubicBezTo>
                    <a:pt x="92" y="37"/>
                    <a:pt x="91" y="38"/>
                    <a:pt x="91" y="38"/>
                  </a:cubicBezTo>
                  <a:cubicBezTo>
                    <a:pt x="90" y="38"/>
                    <a:pt x="89" y="39"/>
                    <a:pt x="89" y="39"/>
                  </a:cubicBezTo>
                  <a:cubicBezTo>
                    <a:pt x="88" y="39"/>
                    <a:pt x="88" y="39"/>
                    <a:pt x="88" y="39"/>
                  </a:cubicBezTo>
                  <a:cubicBezTo>
                    <a:pt x="87" y="39"/>
                    <a:pt x="87" y="39"/>
                    <a:pt x="86" y="39"/>
                  </a:cubicBezTo>
                  <a:cubicBezTo>
                    <a:pt x="85" y="39"/>
                    <a:pt x="83" y="39"/>
                    <a:pt x="81" y="39"/>
                  </a:cubicBezTo>
                  <a:cubicBezTo>
                    <a:pt x="76" y="36"/>
                    <a:pt x="76" y="36"/>
                    <a:pt x="76" y="36"/>
                  </a:cubicBezTo>
                  <a:cubicBezTo>
                    <a:pt x="75" y="36"/>
                    <a:pt x="74" y="36"/>
                    <a:pt x="74" y="36"/>
                  </a:cubicBezTo>
                  <a:cubicBezTo>
                    <a:pt x="73" y="35"/>
                    <a:pt x="73" y="35"/>
                    <a:pt x="73" y="35"/>
                  </a:cubicBezTo>
                  <a:cubicBezTo>
                    <a:pt x="72" y="35"/>
                    <a:pt x="71" y="34"/>
                    <a:pt x="70" y="34"/>
                  </a:cubicBezTo>
                  <a:cubicBezTo>
                    <a:pt x="68" y="33"/>
                    <a:pt x="67" y="33"/>
                    <a:pt x="67" y="33"/>
                  </a:cubicBezTo>
                  <a:cubicBezTo>
                    <a:pt x="66" y="34"/>
                    <a:pt x="65" y="35"/>
                    <a:pt x="65" y="35"/>
                  </a:cubicBezTo>
                  <a:cubicBezTo>
                    <a:pt x="65" y="35"/>
                    <a:pt x="65" y="35"/>
                    <a:pt x="65" y="35"/>
                  </a:cubicBezTo>
                  <a:cubicBezTo>
                    <a:pt x="65" y="35"/>
                    <a:pt x="65" y="35"/>
                    <a:pt x="65" y="36"/>
                  </a:cubicBezTo>
                  <a:cubicBezTo>
                    <a:pt x="65" y="36"/>
                    <a:pt x="65" y="36"/>
                    <a:pt x="65" y="36"/>
                  </a:cubicBezTo>
                  <a:cubicBezTo>
                    <a:pt x="65" y="36"/>
                    <a:pt x="65" y="36"/>
                    <a:pt x="65" y="36"/>
                  </a:cubicBezTo>
                  <a:cubicBezTo>
                    <a:pt x="65" y="37"/>
                    <a:pt x="65" y="37"/>
                    <a:pt x="65" y="37"/>
                  </a:cubicBezTo>
                  <a:cubicBezTo>
                    <a:pt x="65" y="37"/>
                    <a:pt x="65" y="37"/>
                    <a:pt x="65" y="38"/>
                  </a:cubicBezTo>
                  <a:cubicBezTo>
                    <a:pt x="65" y="38"/>
                    <a:pt x="65" y="38"/>
                    <a:pt x="65" y="38"/>
                  </a:cubicBezTo>
                  <a:cubicBezTo>
                    <a:pt x="65" y="38"/>
                    <a:pt x="65" y="38"/>
                    <a:pt x="65" y="38"/>
                  </a:cubicBezTo>
                  <a:cubicBezTo>
                    <a:pt x="65" y="39"/>
                    <a:pt x="65" y="39"/>
                    <a:pt x="65" y="39"/>
                  </a:cubicBezTo>
                  <a:cubicBezTo>
                    <a:pt x="64" y="39"/>
                    <a:pt x="64" y="39"/>
                    <a:pt x="64" y="39"/>
                  </a:cubicBezTo>
                  <a:cubicBezTo>
                    <a:pt x="64" y="39"/>
                    <a:pt x="64" y="39"/>
                    <a:pt x="64" y="40"/>
                  </a:cubicBezTo>
                  <a:cubicBezTo>
                    <a:pt x="64" y="40"/>
                    <a:pt x="64" y="41"/>
                    <a:pt x="63" y="41"/>
                  </a:cubicBezTo>
                  <a:cubicBezTo>
                    <a:pt x="63" y="42"/>
                    <a:pt x="63" y="42"/>
                    <a:pt x="63" y="42"/>
                  </a:cubicBezTo>
                  <a:cubicBezTo>
                    <a:pt x="62" y="43"/>
                    <a:pt x="62" y="43"/>
                    <a:pt x="62" y="43"/>
                  </a:cubicBezTo>
                  <a:cubicBezTo>
                    <a:pt x="57" y="47"/>
                    <a:pt x="57" y="47"/>
                    <a:pt x="57" y="47"/>
                  </a:cubicBezTo>
                  <a:cubicBezTo>
                    <a:pt x="57" y="47"/>
                    <a:pt x="57" y="47"/>
                    <a:pt x="57" y="47"/>
                  </a:cubicBezTo>
                  <a:cubicBezTo>
                    <a:pt x="56" y="48"/>
                    <a:pt x="56" y="48"/>
                    <a:pt x="56" y="48"/>
                  </a:cubicBezTo>
                  <a:cubicBezTo>
                    <a:pt x="55" y="49"/>
                    <a:pt x="55" y="49"/>
                    <a:pt x="55" y="49"/>
                  </a:cubicBezTo>
                  <a:cubicBezTo>
                    <a:pt x="54" y="50"/>
                    <a:pt x="53" y="51"/>
                    <a:pt x="52" y="51"/>
                  </a:cubicBezTo>
                  <a:cubicBezTo>
                    <a:pt x="52" y="51"/>
                    <a:pt x="51" y="51"/>
                    <a:pt x="51" y="51"/>
                  </a:cubicBezTo>
                  <a:cubicBezTo>
                    <a:pt x="51" y="51"/>
                    <a:pt x="50" y="51"/>
                    <a:pt x="50" y="51"/>
                  </a:cubicBezTo>
                  <a:cubicBezTo>
                    <a:pt x="50" y="50"/>
                    <a:pt x="50" y="50"/>
                    <a:pt x="50" y="50"/>
                  </a:cubicBezTo>
                  <a:cubicBezTo>
                    <a:pt x="50" y="50"/>
                    <a:pt x="49" y="50"/>
                    <a:pt x="49" y="50"/>
                  </a:cubicBezTo>
                  <a:cubicBezTo>
                    <a:pt x="49" y="50"/>
                    <a:pt x="48" y="50"/>
                    <a:pt x="48" y="50"/>
                  </a:cubicBezTo>
                  <a:cubicBezTo>
                    <a:pt x="47" y="51"/>
                    <a:pt x="46" y="50"/>
                    <a:pt x="46" y="50"/>
                  </a:cubicBezTo>
                  <a:cubicBezTo>
                    <a:pt x="45" y="50"/>
                    <a:pt x="45" y="50"/>
                    <a:pt x="45" y="50"/>
                  </a:cubicBezTo>
                  <a:cubicBezTo>
                    <a:pt x="44" y="50"/>
                    <a:pt x="44" y="50"/>
                    <a:pt x="44" y="50"/>
                  </a:cubicBezTo>
                  <a:cubicBezTo>
                    <a:pt x="43" y="50"/>
                    <a:pt x="43" y="51"/>
                    <a:pt x="43" y="51"/>
                  </a:cubicBezTo>
                  <a:cubicBezTo>
                    <a:pt x="42" y="52"/>
                    <a:pt x="42" y="52"/>
                    <a:pt x="42" y="52"/>
                  </a:cubicBezTo>
                  <a:cubicBezTo>
                    <a:pt x="41" y="50"/>
                    <a:pt x="41" y="50"/>
                    <a:pt x="41" y="50"/>
                  </a:cubicBezTo>
                  <a:cubicBezTo>
                    <a:pt x="41" y="50"/>
                    <a:pt x="41" y="49"/>
                    <a:pt x="41" y="49"/>
                  </a:cubicBezTo>
                  <a:cubicBezTo>
                    <a:pt x="41" y="49"/>
                    <a:pt x="41" y="48"/>
                    <a:pt x="41" y="48"/>
                  </a:cubicBezTo>
                  <a:cubicBezTo>
                    <a:pt x="38" y="48"/>
                    <a:pt x="38" y="48"/>
                    <a:pt x="38" y="48"/>
                  </a:cubicBezTo>
                  <a:cubicBezTo>
                    <a:pt x="40" y="48"/>
                    <a:pt x="40" y="48"/>
                    <a:pt x="40" y="48"/>
                  </a:cubicBezTo>
                  <a:cubicBezTo>
                    <a:pt x="40" y="47"/>
                    <a:pt x="40" y="47"/>
                    <a:pt x="40" y="47"/>
                  </a:cubicBezTo>
                  <a:cubicBezTo>
                    <a:pt x="40" y="47"/>
                    <a:pt x="40" y="47"/>
                    <a:pt x="40" y="47"/>
                  </a:cubicBezTo>
                  <a:cubicBezTo>
                    <a:pt x="40" y="46"/>
                    <a:pt x="40" y="46"/>
                    <a:pt x="40" y="46"/>
                  </a:cubicBezTo>
                  <a:cubicBezTo>
                    <a:pt x="40" y="45"/>
                    <a:pt x="41" y="44"/>
                    <a:pt x="41" y="43"/>
                  </a:cubicBezTo>
                  <a:cubicBezTo>
                    <a:pt x="42" y="43"/>
                    <a:pt x="42" y="43"/>
                    <a:pt x="42" y="43"/>
                  </a:cubicBezTo>
                  <a:cubicBezTo>
                    <a:pt x="42" y="43"/>
                    <a:pt x="42" y="43"/>
                    <a:pt x="42" y="43"/>
                  </a:cubicBezTo>
                  <a:cubicBezTo>
                    <a:pt x="42" y="42"/>
                    <a:pt x="42" y="42"/>
                    <a:pt x="42" y="42"/>
                  </a:cubicBezTo>
                  <a:cubicBezTo>
                    <a:pt x="43" y="42"/>
                    <a:pt x="43" y="41"/>
                    <a:pt x="43" y="41"/>
                  </a:cubicBezTo>
                  <a:cubicBezTo>
                    <a:pt x="43" y="41"/>
                    <a:pt x="43" y="41"/>
                    <a:pt x="43" y="41"/>
                  </a:cubicBezTo>
                  <a:cubicBezTo>
                    <a:pt x="43" y="39"/>
                    <a:pt x="42" y="37"/>
                    <a:pt x="41" y="36"/>
                  </a:cubicBezTo>
                  <a:cubicBezTo>
                    <a:pt x="41" y="35"/>
                    <a:pt x="41" y="35"/>
                    <a:pt x="41" y="35"/>
                  </a:cubicBezTo>
                  <a:cubicBezTo>
                    <a:pt x="41" y="35"/>
                    <a:pt x="41" y="35"/>
                    <a:pt x="41" y="35"/>
                  </a:cubicBezTo>
                  <a:cubicBezTo>
                    <a:pt x="40" y="34"/>
                    <a:pt x="40" y="34"/>
                    <a:pt x="40" y="34"/>
                  </a:cubicBezTo>
                  <a:cubicBezTo>
                    <a:pt x="40" y="33"/>
                    <a:pt x="39" y="31"/>
                    <a:pt x="38" y="30"/>
                  </a:cubicBezTo>
                  <a:cubicBezTo>
                    <a:pt x="38" y="30"/>
                    <a:pt x="37" y="29"/>
                    <a:pt x="36" y="29"/>
                  </a:cubicBezTo>
                  <a:cubicBezTo>
                    <a:pt x="36" y="30"/>
                    <a:pt x="36" y="31"/>
                    <a:pt x="36" y="31"/>
                  </a:cubicBezTo>
                  <a:cubicBezTo>
                    <a:pt x="36" y="63"/>
                    <a:pt x="36" y="63"/>
                    <a:pt x="36" y="63"/>
                  </a:cubicBezTo>
                  <a:cubicBezTo>
                    <a:pt x="36" y="63"/>
                    <a:pt x="36" y="63"/>
                    <a:pt x="36" y="63"/>
                  </a:cubicBezTo>
                  <a:cubicBezTo>
                    <a:pt x="36" y="64"/>
                    <a:pt x="36" y="64"/>
                    <a:pt x="36" y="64"/>
                  </a:cubicBezTo>
                  <a:cubicBezTo>
                    <a:pt x="37" y="65"/>
                    <a:pt x="37" y="67"/>
                    <a:pt x="36" y="67"/>
                  </a:cubicBezTo>
                  <a:cubicBezTo>
                    <a:pt x="36" y="68"/>
                    <a:pt x="34" y="68"/>
                    <a:pt x="33" y="69"/>
                  </a:cubicBezTo>
                  <a:cubicBezTo>
                    <a:pt x="33" y="69"/>
                    <a:pt x="33" y="69"/>
                    <a:pt x="33" y="69"/>
                  </a:cubicBezTo>
                  <a:cubicBezTo>
                    <a:pt x="32" y="69"/>
                    <a:pt x="32" y="69"/>
                    <a:pt x="32" y="69"/>
                  </a:cubicBezTo>
                  <a:cubicBezTo>
                    <a:pt x="31" y="69"/>
                    <a:pt x="30" y="70"/>
                    <a:pt x="29" y="70"/>
                  </a:cubicBezTo>
                  <a:cubicBezTo>
                    <a:pt x="29" y="71"/>
                    <a:pt x="29" y="71"/>
                    <a:pt x="29" y="72"/>
                  </a:cubicBezTo>
                  <a:cubicBezTo>
                    <a:pt x="28" y="72"/>
                    <a:pt x="28" y="72"/>
                    <a:pt x="28" y="73"/>
                  </a:cubicBezTo>
                  <a:cubicBezTo>
                    <a:pt x="27" y="73"/>
                    <a:pt x="27" y="73"/>
                    <a:pt x="26" y="73"/>
                  </a:cubicBezTo>
                  <a:cubicBezTo>
                    <a:pt x="26" y="74"/>
                    <a:pt x="25" y="74"/>
                    <a:pt x="24" y="74"/>
                  </a:cubicBezTo>
                  <a:cubicBezTo>
                    <a:pt x="22" y="74"/>
                    <a:pt x="21" y="73"/>
                    <a:pt x="19" y="73"/>
                  </a:cubicBezTo>
                  <a:cubicBezTo>
                    <a:pt x="19" y="73"/>
                    <a:pt x="18" y="73"/>
                    <a:pt x="18" y="73"/>
                  </a:cubicBezTo>
                  <a:cubicBezTo>
                    <a:pt x="16" y="73"/>
                    <a:pt x="14" y="73"/>
                    <a:pt x="12" y="72"/>
                  </a:cubicBezTo>
                  <a:cubicBezTo>
                    <a:pt x="11" y="72"/>
                    <a:pt x="11" y="72"/>
                    <a:pt x="11" y="72"/>
                  </a:cubicBezTo>
                  <a:cubicBezTo>
                    <a:pt x="11" y="72"/>
                    <a:pt x="11" y="72"/>
                    <a:pt x="10" y="72"/>
                  </a:cubicBezTo>
                  <a:cubicBezTo>
                    <a:pt x="10" y="72"/>
                    <a:pt x="10" y="72"/>
                    <a:pt x="10" y="72"/>
                  </a:cubicBezTo>
                  <a:cubicBezTo>
                    <a:pt x="9" y="71"/>
                    <a:pt x="8" y="71"/>
                    <a:pt x="8" y="70"/>
                  </a:cubicBezTo>
                  <a:cubicBezTo>
                    <a:pt x="7" y="70"/>
                    <a:pt x="7" y="69"/>
                    <a:pt x="7" y="69"/>
                  </a:cubicBezTo>
                  <a:cubicBezTo>
                    <a:pt x="7" y="69"/>
                    <a:pt x="7" y="69"/>
                    <a:pt x="7" y="69"/>
                  </a:cubicBezTo>
                  <a:cubicBezTo>
                    <a:pt x="7" y="69"/>
                    <a:pt x="7" y="68"/>
                    <a:pt x="7" y="68"/>
                  </a:cubicBezTo>
                  <a:cubicBezTo>
                    <a:pt x="7" y="68"/>
                    <a:pt x="7" y="68"/>
                    <a:pt x="7" y="67"/>
                  </a:cubicBezTo>
                  <a:cubicBezTo>
                    <a:pt x="7" y="67"/>
                    <a:pt x="7" y="66"/>
                    <a:pt x="7" y="66"/>
                  </a:cubicBezTo>
                  <a:cubicBezTo>
                    <a:pt x="7" y="66"/>
                    <a:pt x="6" y="66"/>
                    <a:pt x="6" y="66"/>
                  </a:cubicBezTo>
                  <a:cubicBezTo>
                    <a:pt x="6" y="65"/>
                    <a:pt x="6" y="65"/>
                    <a:pt x="6" y="65"/>
                  </a:cubicBezTo>
                  <a:cubicBezTo>
                    <a:pt x="5" y="65"/>
                    <a:pt x="5" y="65"/>
                    <a:pt x="5" y="65"/>
                  </a:cubicBezTo>
                  <a:cubicBezTo>
                    <a:pt x="5" y="65"/>
                    <a:pt x="5" y="64"/>
                    <a:pt x="5" y="64"/>
                  </a:cubicBezTo>
                  <a:cubicBezTo>
                    <a:pt x="4" y="64"/>
                    <a:pt x="4" y="64"/>
                    <a:pt x="4" y="64"/>
                  </a:cubicBezTo>
                  <a:cubicBezTo>
                    <a:pt x="4" y="64"/>
                    <a:pt x="4" y="64"/>
                    <a:pt x="4" y="64"/>
                  </a:cubicBezTo>
                  <a:cubicBezTo>
                    <a:pt x="4" y="64"/>
                    <a:pt x="4" y="64"/>
                    <a:pt x="4" y="64"/>
                  </a:cubicBezTo>
                  <a:cubicBezTo>
                    <a:pt x="4" y="64"/>
                    <a:pt x="4" y="65"/>
                    <a:pt x="4" y="65"/>
                  </a:cubicBezTo>
                  <a:cubicBezTo>
                    <a:pt x="3" y="65"/>
                    <a:pt x="3" y="65"/>
                    <a:pt x="3" y="65"/>
                  </a:cubicBezTo>
                  <a:cubicBezTo>
                    <a:pt x="3" y="66"/>
                    <a:pt x="3" y="66"/>
                    <a:pt x="3" y="66"/>
                  </a:cubicBezTo>
                  <a:cubicBezTo>
                    <a:pt x="2" y="67"/>
                    <a:pt x="2" y="67"/>
                    <a:pt x="2" y="67"/>
                  </a:cubicBezTo>
                  <a:cubicBezTo>
                    <a:pt x="2" y="67"/>
                    <a:pt x="2" y="67"/>
                    <a:pt x="2" y="67"/>
                  </a:cubicBezTo>
                  <a:cubicBezTo>
                    <a:pt x="1" y="68"/>
                    <a:pt x="1" y="68"/>
                    <a:pt x="0" y="69"/>
                  </a:cubicBezTo>
                  <a:cubicBezTo>
                    <a:pt x="0" y="70"/>
                    <a:pt x="0" y="70"/>
                    <a:pt x="0" y="70"/>
                  </a:cubicBezTo>
                  <a:cubicBezTo>
                    <a:pt x="0" y="70"/>
                    <a:pt x="0" y="70"/>
                    <a:pt x="0" y="70"/>
                  </a:cubicBezTo>
                  <a:cubicBezTo>
                    <a:pt x="0" y="70"/>
                    <a:pt x="0" y="71"/>
                    <a:pt x="1" y="72"/>
                  </a:cubicBezTo>
                  <a:cubicBezTo>
                    <a:pt x="2" y="75"/>
                    <a:pt x="4" y="79"/>
                    <a:pt x="6" y="82"/>
                  </a:cubicBezTo>
                  <a:cubicBezTo>
                    <a:pt x="8" y="88"/>
                    <a:pt x="10" y="93"/>
                    <a:pt x="13" y="98"/>
                  </a:cubicBezTo>
                  <a:cubicBezTo>
                    <a:pt x="14" y="100"/>
                    <a:pt x="15" y="102"/>
                    <a:pt x="16" y="104"/>
                  </a:cubicBezTo>
                  <a:cubicBezTo>
                    <a:pt x="17" y="105"/>
                    <a:pt x="17" y="106"/>
                    <a:pt x="18" y="107"/>
                  </a:cubicBezTo>
                  <a:cubicBezTo>
                    <a:pt x="18" y="108"/>
                    <a:pt x="19" y="109"/>
                    <a:pt x="18" y="111"/>
                  </a:cubicBezTo>
                  <a:cubicBezTo>
                    <a:pt x="17" y="112"/>
                    <a:pt x="17" y="114"/>
                    <a:pt x="16" y="115"/>
                  </a:cubicBezTo>
                  <a:cubicBezTo>
                    <a:pt x="16" y="116"/>
                    <a:pt x="14" y="115"/>
                    <a:pt x="13" y="116"/>
                  </a:cubicBezTo>
                  <a:cubicBezTo>
                    <a:pt x="13" y="116"/>
                    <a:pt x="13" y="117"/>
                    <a:pt x="13" y="117"/>
                  </a:cubicBezTo>
                  <a:cubicBezTo>
                    <a:pt x="13" y="118"/>
                    <a:pt x="13" y="118"/>
                    <a:pt x="14" y="118"/>
                  </a:cubicBezTo>
                  <a:cubicBezTo>
                    <a:pt x="16" y="118"/>
                    <a:pt x="16" y="120"/>
                    <a:pt x="16" y="121"/>
                  </a:cubicBezTo>
                  <a:cubicBezTo>
                    <a:pt x="17" y="123"/>
                    <a:pt x="18" y="125"/>
                    <a:pt x="19" y="126"/>
                  </a:cubicBezTo>
                  <a:cubicBezTo>
                    <a:pt x="20" y="127"/>
                    <a:pt x="18" y="129"/>
                    <a:pt x="18" y="130"/>
                  </a:cubicBezTo>
                  <a:cubicBezTo>
                    <a:pt x="18" y="131"/>
                    <a:pt x="19" y="132"/>
                    <a:pt x="20" y="133"/>
                  </a:cubicBezTo>
                  <a:cubicBezTo>
                    <a:pt x="20" y="133"/>
                    <a:pt x="20" y="133"/>
                    <a:pt x="20" y="133"/>
                  </a:cubicBezTo>
                  <a:cubicBezTo>
                    <a:pt x="20" y="132"/>
                    <a:pt x="19" y="132"/>
                    <a:pt x="20" y="131"/>
                  </a:cubicBezTo>
                  <a:cubicBezTo>
                    <a:pt x="20" y="130"/>
                    <a:pt x="22" y="130"/>
                    <a:pt x="23" y="131"/>
                  </a:cubicBezTo>
                  <a:cubicBezTo>
                    <a:pt x="24" y="131"/>
                    <a:pt x="23" y="133"/>
                    <a:pt x="23" y="134"/>
                  </a:cubicBezTo>
                  <a:cubicBezTo>
                    <a:pt x="24" y="134"/>
                    <a:pt x="25" y="133"/>
                    <a:pt x="26" y="134"/>
                  </a:cubicBezTo>
                  <a:cubicBezTo>
                    <a:pt x="27" y="135"/>
                    <a:pt x="28" y="136"/>
                    <a:pt x="29" y="137"/>
                  </a:cubicBezTo>
                  <a:cubicBezTo>
                    <a:pt x="31" y="137"/>
                    <a:pt x="33" y="138"/>
                    <a:pt x="35" y="138"/>
                  </a:cubicBezTo>
                  <a:cubicBezTo>
                    <a:pt x="36" y="139"/>
                    <a:pt x="36" y="139"/>
                    <a:pt x="37" y="138"/>
                  </a:cubicBezTo>
                  <a:cubicBezTo>
                    <a:pt x="40" y="136"/>
                    <a:pt x="42" y="134"/>
                    <a:pt x="45" y="134"/>
                  </a:cubicBezTo>
                  <a:cubicBezTo>
                    <a:pt x="47" y="134"/>
                    <a:pt x="49" y="134"/>
                    <a:pt x="50" y="134"/>
                  </a:cubicBezTo>
                  <a:cubicBezTo>
                    <a:pt x="51" y="134"/>
                    <a:pt x="53" y="134"/>
                    <a:pt x="54" y="133"/>
                  </a:cubicBezTo>
                  <a:cubicBezTo>
                    <a:pt x="56" y="133"/>
                    <a:pt x="57" y="131"/>
                    <a:pt x="58" y="130"/>
                  </a:cubicBezTo>
                  <a:cubicBezTo>
                    <a:pt x="59" y="130"/>
                    <a:pt x="61" y="130"/>
                    <a:pt x="62" y="130"/>
                  </a:cubicBezTo>
                  <a:cubicBezTo>
                    <a:pt x="64" y="129"/>
                    <a:pt x="67" y="130"/>
                    <a:pt x="70" y="131"/>
                  </a:cubicBezTo>
                  <a:cubicBezTo>
                    <a:pt x="71" y="128"/>
                    <a:pt x="76" y="130"/>
                    <a:pt x="77" y="130"/>
                  </a:cubicBezTo>
                  <a:cubicBezTo>
                    <a:pt x="79" y="131"/>
                    <a:pt x="84" y="132"/>
                    <a:pt x="85" y="131"/>
                  </a:cubicBezTo>
                  <a:cubicBezTo>
                    <a:pt x="85" y="132"/>
                    <a:pt x="85" y="130"/>
                    <a:pt x="86" y="130"/>
                  </a:cubicBezTo>
                  <a:cubicBezTo>
                    <a:pt x="87" y="129"/>
                    <a:pt x="87" y="129"/>
                    <a:pt x="89" y="129"/>
                  </a:cubicBezTo>
                  <a:cubicBezTo>
                    <a:pt x="90" y="129"/>
                    <a:pt x="92" y="130"/>
                    <a:pt x="93" y="130"/>
                  </a:cubicBezTo>
                  <a:cubicBezTo>
                    <a:pt x="93" y="130"/>
                    <a:pt x="93" y="129"/>
                    <a:pt x="93" y="129"/>
                  </a:cubicBezTo>
                  <a:cubicBezTo>
                    <a:pt x="93" y="129"/>
                    <a:pt x="93" y="129"/>
                    <a:pt x="93" y="128"/>
                  </a:cubicBezTo>
                  <a:cubicBezTo>
                    <a:pt x="93" y="128"/>
                    <a:pt x="94" y="127"/>
                    <a:pt x="95" y="126"/>
                  </a:cubicBezTo>
                  <a:cubicBezTo>
                    <a:pt x="96" y="126"/>
                    <a:pt x="97" y="126"/>
                    <a:pt x="98" y="126"/>
                  </a:cubicBezTo>
                  <a:cubicBezTo>
                    <a:pt x="100" y="126"/>
                    <a:pt x="101" y="126"/>
                    <a:pt x="103" y="126"/>
                  </a:cubicBezTo>
                  <a:cubicBezTo>
                    <a:pt x="104" y="126"/>
                    <a:pt x="107" y="124"/>
                    <a:pt x="108" y="124"/>
                  </a:cubicBezTo>
                  <a:cubicBezTo>
                    <a:pt x="110" y="122"/>
                    <a:pt x="112" y="121"/>
                    <a:pt x="114" y="120"/>
                  </a:cubicBezTo>
                  <a:cubicBezTo>
                    <a:pt x="115" y="118"/>
                    <a:pt x="117" y="116"/>
                    <a:pt x="119" y="115"/>
                  </a:cubicBezTo>
                  <a:cubicBezTo>
                    <a:pt x="123" y="113"/>
                    <a:pt x="126" y="109"/>
                    <a:pt x="130" y="106"/>
                  </a:cubicBezTo>
                  <a:cubicBezTo>
                    <a:pt x="134" y="101"/>
                    <a:pt x="139" y="97"/>
                    <a:pt x="142" y="92"/>
                  </a:cubicBezTo>
                  <a:cubicBezTo>
                    <a:pt x="145" y="88"/>
                    <a:pt x="147" y="83"/>
                    <a:pt x="150" y="78"/>
                  </a:cubicBezTo>
                  <a:cubicBezTo>
                    <a:pt x="152" y="76"/>
                    <a:pt x="154" y="74"/>
                    <a:pt x="156" y="72"/>
                  </a:cubicBezTo>
                  <a:cubicBezTo>
                    <a:pt x="156" y="72"/>
                    <a:pt x="158" y="72"/>
                    <a:pt x="158" y="71"/>
                  </a:cubicBezTo>
                  <a:cubicBezTo>
                    <a:pt x="158" y="71"/>
                    <a:pt x="158" y="70"/>
                    <a:pt x="159" y="70"/>
                  </a:cubicBezTo>
                  <a:cubicBezTo>
                    <a:pt x="160" y="69"/>
                    <a:pt x="161" y="68"/>
                    <a:pt x="162" y="66"/>
                  </a:cubicBezTo>
                  <a:cubicBezTo>
                    <a:pt x="163" y="64"/>
                    <a:pt x="164" y="60"/>
                    <a:pt x="165" y="57"/>
                  </a:cubicBezTo>
                  <a:cubicBezTo>
                    <a:pt x="165" y="55"/>
                    <a:pt x="166" y="53"/>
                    <a:pt x="166" y="51"/>
                  </a:cubicBezTo>
                  <a:cubicBezTo>
                    <a:pt x="166" y="51"/>
                    <a:pt x="166" y="51"/>
                    <a:pt x="166" y="51"/>
                  </a:cubicBezTo>
                  <a:close/>
                  <a:moveTo>
                    <a:pt x="132" y="78"/>
                  </a:moveTo>
                  <a:cubicBezTo>
                    <a:pt x="131" y="78"/>
                    <a:pt x="131" y="79"/>
                    <a:pt x="130" y="80"/>
                  </a:cubicBezTo>
                  <a:cubicBezTo>
                    <a:pt x="130" y="80"/>
                    <a:pt x="130" y="81"/>
                    <a:pt x="130" y="81"/>
                  </a:cubicBezTo>
                  <a:cubicBezTo>
                    <a:pt x="130" y="81"/>
                    <a:pt x="129" y="81"/>
                    <a:pt x="129" y="81"/>
                  </a:cubicBezTo>
                  <a:cubicBezTo>
                    <a:pt x="129" y="81"/>
                    <a:pt x="129" y="82"/>
                    <a:pt x="129" y="82"/>
                  </a:cubicBezTo>
                  <a:cubicBezTo>
                    <a:pt x="129" y="82"/>
                    <a:pt x="129" y="82"/>
                    <a:pt x="129" y="82"/>
                  </a:cubicBezTo>
                  <a:cubicBezTo>
                    <a:pt x="130" y="83"/>
                    <a:pt x="129" y="84"/>
                    <a:pt x="129" y="84"/>
                  </a:cubicBezTo>
                  <a:cubicBezTo>
                    <a:pt x="129" y="84"/>
                    <a:pt x="128" y="84"/>
                    <a:pt x="128" y="84"/>
                  </a:cubicBezTo>
                  <a:cubicBezTo>
                    <a:pt x="127" y="85"/>
                    <a:pt x="126" y="85"/>
                    <a:pt x="125" y="86"/>
                  </a:cubicBezTo>
                  <a:cubicBezTo>
                    <a:pt x="124" y="86"/>
                    <a:pt x="124" y="86"/>
                    <a:pt x="123" y="86"/>
                  </a:cubicBezTo>
                  <a:cubicBezTo>
                    <a:pt x="121" y="86"/>
                    <a:pt x="121" y="86"/>
                    <a:pt x="121" y="86"/>
                  </a:cubicBezTo>
                  <a:cubicBezTo>
                    <a:pt x="121" y="87"/>
                    <a:pt x="121" y="87"/>
                    <a:pt x="121" y="87"/>
                  </a:cubicBezTo>
                  <a:cubicBezTo>
                    <a:pt x="121" y="87"/>
                    <a:pt x="121" y="88"/>
                    <a:pt x="120" y="88"/>
                  </a:cubicBezTo>
                  <a:cubicBezTo>
                    <a:pt x="120" y="90"/>
                    <a:pt x="119" y="91"/>
                    <a:pt x="118" y="92"/>
                  </a:cubicBezTo>
                  <a:cubicBezTo>
                    <a:pt x="118" y="92"/>
                    <a:pt x="118" y="92"/>
                    <a:pt x="117" y="92"/>
                  </a:cubicBezTo>
                  <a:cubicBezTo>
                    <a:pt x="117" y="92"/>
                    <a:pt x="117" y="92"/>
                    <a:pt x="116" y="92"/>
                  </a:cubicBezTo>
                  <a:cubicBezTo>
                    <a:pt x="115" y="91"/>
                    <a:pt x="114" y="91"/>
                    <a:pt x="113" y="90"/>
                  </a:cubicBezTo>
                  <a:cubicBezTo>
                    <a:pt x="113" y="90"/>
                    <a:pt x="113" y="90"/>
                    <a:pt x="113" y="90"/>
                  </a:cubicBezTo>
                  <a:cubicBezTo>
                    <a:pt x="111" y="89"/>
                    <a:pt x="110" y="88"/>
                    <a:pt x="110" y="88"/>
                  </a:cubicBezTo>
                  <a:cubicBezTo>
                    <a:pt x="109" y="86"/>
                    <a:pt x="109" y="86"/>
                    <a:pt x="109" y="86"/>
                  </a:cubicBezTo>
                  <a:cubicBezTo>
                    <a:pt x="109" y="85"/>
                    <a:pt x="108" y="84"/>
                    <a:pt x="108" y="84"/>
                  </a:cubicBezTo>
                  <a:cubicBezTo>
                    <a:pt x="108" y="83"/>
                    <a:pt x="108" y="83"/>
                    <a:pt x="108" y="83"/>
                  </a:cubicBezTo>
                  <a:cubicBezTo>
                    <a:pt x="107" y="82"/>
                    <a:pt x="106" y="81"/>
                    <a:pt x="106" y="81"/>
                  </a:cubicBezTo>
                  <a:cubicBezTo>
                    <a:pt x="106" y="81"/>
                    <a:pt x="106" y="81"/>
                    <a:pt x="106" y="81"/>
                  </a:cubicBezTo>
                  <a:cubicBezTo>
                    <a:pt x="106" y="81"/>
                    <a:pt x="106" y="80"/>
                    <a:pt x="106" y="80"/>
                  </a:cubicBezTo>
                  <a:cubicBezTo>
                    <a:pt x="106" y="80"/>
                    <a:pt x="106" y="80"/>
                    <a:pt x="106" y="80"/>
                  </a:cubicBezTo>
                  <a:cubicBezTo>
                    <a:pt x="107" y="79"/>
                    <a:pt x="108" y="78"/>
                    <a:pt x="108" y="78"/>
                  </a:cubicBezTo>
                  <a:cubicBezTo>
                    <a:pt x="109" y="78"/>
                    <a:pt x="109" y="78"/>
                    <a:pt x="109" y="78"/>
                  </a:cubicBezTo>
                  <a:cubicBezTo>
                    <a:pt x="109" y="78"/>
                    <a:pt x="109" y="78"/>
                    <a:pt x="110" y="77"/>
                  </a:cubicBezTo>
                  <a:cubicBezTo>
                    <a:pt x="110" y="77"/>
                    <a:pt x="110" y="76"/>
                    <a:pt x="111" y="76"/>
                  </a:cubicBezTo>
                  <a:cubicBezTo>
                    <a:pt x="112" y="75"/>
                    <a:pt x="112" y="73"/>
                    <a:pt x="113" y="72"/>
                  </a:cubicBezTo>
                  <a:cubicBezTo>
                    <a:pt x="113" y="72"/>
                    <a:pt x="113" y="72"/>
                    <a:pt x="113" y="72"/>
                  </a:cubicBezTo>
                  <a:cubicBezTo>
                    <a:pt x="114" y="71"/>
                    <a:pt x="115" y="71"/>
                    <a:pt x="116" y="70"/>
                  </a:cubicBezTo>
                  <a:cubicBezTo>
                    <a:pt x="117" y="70"/>
                    <a:pt x="117" y="70"/>
                    <a:pt x="117" y="70"/>
                  </a:cubicBezTo>
                  <a:cubicBezTo>
                    <a:pt x="118" y="70"/>
                    <a:pt x="118" y="69"/>
                    <a:pt x="119" y="69"/>
                  </a:cubicBezTo>
                  <a:cubicBezTo>
                    <a:pt x="120" y="68"/>
                    <a:pt x="122" y="68"/>
                    <a:pt x="123" y="68"/>
                  </a:cubicBezTo>
                  <a:cubicBezTo>
                    <a:pt x="123" y="67"/>
                    <a:pt x="123" y="67"/>
                    <a:pt x="123" y="67"/>
                  </a:cubicBezTo>
                  <a:cubicBezTo>
                    <a:pt x="124" y="67"/>
                    <a:pt x="124" y="67"/>
                    <a:pt x="124" y="67"/>
                  </a:cubicBezTo>
                  <a:cubicBezTo>
                    <a:pt x="124" y="67"/>
                    <a:pt x="124" y="67"/>
                    <a:pt x="124" y="67"/>
                  </a:cubicBezTo>
                  <a:cubicBezTo>
                    <a:pt x="124" y="67"/>
                    <a:pt x="124" y="67"/>
                    <a:pt x="124" y="67"/>
                  </a:cubicBezTo>
                  <a:cubicBezTo>
                    <a:pt x="124" y="68"/>
                    <a:pt x="124" y="68"/>
                    <a:pt x="124" y="68"/>
                  </a:cubicBezTo>
                  <a:cubicBezTo>
                    <a:pt x="125" y="69"/>
                    <a:pt x="126" y="70"/>
                    <a:pt x="127" y="71"/>
                  </a:cubicBezTo>
                  <a:cubicBezTo>
                    <a:pt x="128" y="71"/>
                    <a:pt x="128" y="71"/>
                    <a:pt x="128" y="71"/>
                  </a:cubicBezTo>
                  <a:cubicBezTo>
                    <a:pt x="129" y="71"/>
                    <a:pt x="129" y="71"/>
                    <a:pt x="129" y="71"/>
                  </a:cubicBezTo>
                  <a:cubicBezTo>
                    <a:pt x="129" y="72"/>
                    <a:pt x="130" y="72"/>
                    <a:pt x="130" y="73"/>
                  </a:cubicBezTo>
                  <a:cubicBezTo>
                    <a:pt x="131" y="73"/>
                    <a:pt x="131" y="73"/>
                    <a:pt x="131" y="73"/>
                  </a:cubicBezTo>
                  <a:cubicBezTo>
                    <a:pt x="131" y="74"/>
                    <a:pt x="132" y="75"/>
                    <a:pt x="132" y="76"/>
                  </a:cubicBezTo>
                  <a:cubicBezTo>
                    <a:pt x="132" y="77"/>
                    <a:pt x="132" y="77"/>
                    <a:pt x="132"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6" name="Freeform 3211">
              <a:extLst>
                <a:ext uri="{FF2B5EF4-FFF2-40B4-BE49-F238E27FC236}">
                  <a16:creationId xmlns:a16="http://schemas.microsoft.com/office/drawing/2014/main" id="{FABA920E-A1C5-4EDF-9D55-E436D2D9FDAC}"/>
                </a:ext>
              </a:extLst>
            </p:cNvPr>
            <p:cNvSpPr>
              <a:spLocks/>
            </p:cNvSpPr>
            <p:nvPr/>
          </p:nvSpPr>
          <p:spPr bwMode="auto">
            <a:xfrm>
              <a:off x="4282" y="3034"/>
              <a:ext cx="253" cy="405"/>
            </a:xfrm>
            <a:custGeom>
              <a:avLst/>
              <a:gdLst>
                <a:gd name="T0" fmla="*/ 105 w 107"/>
                <a:gd name="T1" fmla="*/ 35 h 171"/>
                <a:gd name="T2" fmla="*/ 103 w 107"/>
                <a:gd name="T3" fmla="*/ 24 h 171"/>
                <a:gd name="T4" fmla="*/ 102 w 107"/>
                <a:gd name="T5" fmla="*/ 7 h 171"/>
                <a:gd name="T6" fmla="*/ 103 w 107"/>
                <a:gd name="T7" fmla="*/ 0 h 171"/>
                <a:gd name="T8" fmla="*/ 89 w 107"/>
                <a:gd name="T9" fmla="*/ 7 h 171"/>
                <a:gd name="T10" fmla="*/ 78 w 107"/>
                <a:gd name="T11" fmla="*/ 9 h 171"/>
                <a:gd name="T12" fmla="*/ 76 w 107"/>
                <a:gd name="T13" fmla="*/ 11 h 171"/>
                <a:gd name="T14" fmla="*/ 66 w 107"/>
                <a:gd name="T15" fmla="*/ 12 h 171"/>
                <a:gd name="T16" fmla="*/ 58 w 107"/>
                <a:gd name="T17" fmla="*/ 11 h 171"/>
                <a:gd name="T18" fmla="*/ 55 w 107"/>
                <a:gd name="T19" fmla="*/ 11 h 171"/>
                <a:gd name="T20" fmla="*/ 45 w 107"/>
                <a:gd name="T21" fmla="*/ 15 h 171"/>
                <a:gd name="T22" fmla="*/ 44 w 107"/>
                <a:gd name="T23" fmla="*/ 26 h 171"/>
                <a:gd name="T24" fmla="*/ 47 w 107"/>
                <a:gd name="T25" fmla="*/ 29 h 171"/>
                <a:gd name="T26" fmla="*/ 55 w 107"/>
                <a:gd name="T27" fmla="*/ 39 h 171"/>
                <a:gd name="T28" fmla="*/ 57 w 107"/>
                <a:gd name="T29" fmla="*/ 48 h 171"/>
                <a:gd name="T30" fmla="*/ 57 w 107"/>
                <a:gd name="T31" fmla="*/ 56 h 171"/>
                <a:gd name="T32" fmla="*/ 53 w 107"/>
                <a:gd name="T33" fmla="*/ 59 h 171"/>
                <a:gd name="T34" fmla="*/ 50 w 107"/>
                <a:gd name="T35" fmla="*/ 62 h 171"/>
                <a:gd name="T36" fmla="*/ 50 w 107"/>
                <a:gd name="T37" fmla="*/ 69 h 171"/>
                <a:gd name="T38" fmla="*/ 45 w 107"/>
                <a:gd name="T39" fmla="*/ 64 h 171"/>
                <a:gd name="T40" fmla="*/ 41 w 107"/>
                <a:gd name="T41" fmla="*/ 60 h 171"/>
                <a:gd name="T42" fmla="*/ 41 w 107"/>
                <a:gd name="T43" fmla="*/ 50 h 171"/>
                <a:gd name="T44" fmla="*/ 42 w 107"/>
                <a:gd name="T45" fmla="*/ 46 h 171"/>
                <a:gd name="T46" fmla="*/ 40 w 107"/>
                <a:gd name="T47" fmla="*/ 41 h 171"/>
                <a:gd name="T48" fmla="*/ 32 w 107"/>
                <a:gd name="T49" fmla="*/ 42 h 171"/>
                <a:gd name="T50" fmla="*/ 29 w 107"/>
                <a:gd name="T51" fmla="*/ 37 h 171"/>
                <a:gd name="T52" fmla="*/ 2 w 107"/>
                <a:gd name="T53" fmla="*/ 51 h 171"/>
                <a:gd name="T54" fmla="*/ 2 w 107"/>
                <a:gd name="T55" fmla="*/ 55 h 171"/>
                <a:gd name="T56" fmla="*/ 6 w 107"/>
                <a:gd name="T57" fmla="*/ 55 h 171"/>
                <a:gd name="T58" fmla="*/ 26 w 107"/>
                <a:gd name="T59" fmla="*/ 62 h 171"/>
                <a:gd name="T60" fmla="*/ 28 w 107"/>
                <a:gd name="T61" fmla="*/ 64 h 171"/>
                <a:gd name="T62" fmla="*/ 28 w 107"/>
                <a:gd name="T63" fmla="*/ 65 h 171"/>
                <a:gd name="T64" fmla="*/ 29 w 107"/>
                <a:gd name="T65" fmla="*/ 73 h 171"/>
                <a:gd name="T66" fmla="*/ 28 w 107"/>
                <a:gd name="T67" fmla="*/ 83 h 171"/>
                <a:gd name="T68" fmla="*/ 27 w 107"/>
                <a:gd name="T69" fmla="*/ 84 h 171"/>
                <a:gd name="T70" fmla="*/ 27 w 107"/>
                <a:gd name="T71" fmla="*/ 88 h 171"/>
                <a:gd name="T72" fmla="*/ 28 w 107"/>
                <a:gd name="T73" fmla="*/ 94 h 171"/>
                <a:gd name="T74" fmla="*/ 24 w 107"/>
                <a:gd name="T75" fmla="*/ 105 h 171"/>
                <a:gd name="T76" fmla="*/ 22 w 107"/>
                <a:gd name="T77" fmla="*/ 108 h 171"/>
                <a:gd name="T78" fmla="*/ 20 w 107"/>
                <a:gd name="T79" fmla="*/ 114 h 171"/>
                <a:gd name="T80" fmla="*/ 11 w 107"/>
                <a:gd name="T81" fmla="*/ 124 h 171"/>
                <a:gd name="T82" fmla="*/ 13 w 107"/>
                <a:gd name="T83" fmla="*/ 132 h 171"/>
                <a:gd name="T84" fmla="*/ 14 w 107"/>
                <a:gd name="T85" fmla="*/ 136 h 171"/>
                <a:gd name="T86" fmla="*/ 18 w 107"/>
                <a:gd name="T87" fmla="*/ 156 h 171"/>
                <a:gd name="T88" fmla="*/ 18 w 107"/>
                <a:gd name="T89" fmla="*/ 161 h 171"/>
                <a:gd name="T90" fmla="*/ 19 w 107"/>
                <a:gd name="T91" fmla="*/ 163 h 171"/>
                <a:gd name="T92" fmla="*/ 25 w 107"/>
                <a:gd name="T93" fmla="*/ 171 h 171"/>
                <a:gd name="T94" fmla="*/ 22 w 107"/>
                <a:gd name="T95" fmla="*/ 163 h 171"/>
                <a:gd name="T96" fmla="*/ 50 w 107"/>
                <a:gd name="T97" fmla="*/ 146 h 171"/>
                <a:gd name="T98" fmla="*/ 51 w 107"/>
                <a:gd name="T99" fmla="*/ 139 h 171"/>
                <a:gd name="T100" fmla="*/ 52 w 107"/>
                <a:gd name="T101" fmla="*/ 122 h 171"/>
                <a:gd name="T102" fmla="*/ 48 w 107"/>
                <a:gd name="T103" fmla="*/ 108 h 171"/>
                <a:gd name="T104" fmla="*/ 45 w 107"/>
                <a:gd name="T105" fmla="*/ 100 h 171"/>
                <a:gd name="T106" fmla="*/ 47 w 107"/>
                <a:gd name="T107" fmla="*/ 96 h 171"/>
                <a:gd name="T108" fmla="*/ 57 w 107"/>
                <a:gd name="T109" fmla="*/ 87 h 171"/>
                <a:gd name="T110" fmla="*/ 67 w 107"/>
                <a:gd name="T111" fmla="*/ 78 h 171"/>
                <a:gd name="T112" fmla="*/ 79 w 107"/>
                <a:gd name="T113" fmla="*/ 69 h 171"/>
                <a:gd name="T114" fmla="*/ 106 w 107"/>
                <a:gd name="T115" fmla="*/ 4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7" h="171">
                  <a:moveTo>
                    <a:pt x="107" y="40"/>
                  </a:moveTo>
                  <a:cubicBezTo>
                    <a:pt x="107" y="39"/>
                    <a:pt x="106" y="40"/>
                    <a:pt x="105" y="41"/>
                  </a:cubicBezTo>
                  <a:cubicBezTo>
                    <a:pt x="105" y="40"/>
                    <a:pt x="106" y="39"/>
                    <a:pt x="106" y="38"/>
                  </a:cubicBezTo>
                  <a:cubicBezTo>
                    <a:pt x="105" y="37"/>
                    <a:pt x="105" y="37"/>
                    <a:pt x="105" y="38"/>
                  </a:cubicBezTo>
                  <a:cubicBezTo>
                    <a:pt x="104" y="37"/>
                    <a:pt x="105" y="36"/>
                    <a:pt x="105" y="35"/>
                  </a:cubicBezTo>
                  <a:cubicBezTo>
                    <a:pt x="105" y="35"/>
                    <a:pt x="105" y="34"/>
                    <a:pt x="104" y="33"/>
                  </a:cubicBezTo>
                  <a:cubicBezTo>
                    <a:pt x="104" y="32"/>
                    <a:pt x="104" y="31"/>
                    <a:pt x="104" y="30"/>
                  </a:cubicBezTo>
                  <a:cubicBezTo>
                    <a:pt x="104" y="29"/>
                    <a:pt x="104" y="27"/>
                    <a:pt x="104" y="26"/>
                  </a:cubicBezTo>
                  <a:cubicBezTo>
                    <a:pt x="105" y="25"/>
                    <a:pt x="104" y="25"/>
                    <a:pt x="104" y="24"/>
                  </a:cubicBezTo>
                  <a:cubicBezTo>
                    <a:pt x="104" y="24"/>
                    <a:pt x="103" y="25"/>
                    <a:pt x="103" y="24"/>
                  </a:cubicBezTo>
                  <a:cubicBezTo>
                    <a:pt x="103" y="24"/>
                    <a:pt x="104" y="23"/>
                    <a:pt x="104" y="23"/>
                  </a:cubicBezTo>
                  <a:cubicBezTo>
                    <a:pt x="105" y="22"/>
                    <a:pt x="105" y="22"/>
                    <a:pt x="105" y="21"/>
                  </a:cubicBezTo>
                  <a:cubicBezTo>
                    <a:pt x="105" y="20"/>
                    <a:pt x="104" y="20"/>
                    <a:pt x="104" y="19"/>
                  </a:cubicBezTo>
                  <a:cubicBezTo>
                    <a:pt x="104" y="16"/>
                    <a:pt x="104" y="14"/>
                    <a:pt x="104" y="12"/>
                  </a:cubicBezTo>
                  <a:cubicBezTo>
                    <a:pt x="103" y="10"/>
                    <a:pt x="104" y="9"/>
                    <a:pt x="102" y="7"/>
                  </a:cubicBezTo>
                  <a:cubicBezTo>
                    <a:pt x="103" y="7"/>
                    <a:pt x="103" y="5"/>
                    <a:pt x="104" y="4"/>
                  </a:cubicBezTo>
                  <a:cubicBezTo>
                    <a:pt x="104" y="3"/>
                    <a:pt x="105" y="3"/>
                    <a:pt x="104" y="2"/>
                  </a:cubicBezTo>
                  <a:cubicBezTo>
                    <a:pt x="103" y="2"/>
                    <a:pt x="105" y="1"/>
                    <a:pt x="105" y="1"/>
                  </a:cubicBezTo>
                  <a:cubicBezTo>
                    <a:pt x="105" y="1"/>
                    <a:pt x="104" y="0"/>
                    <a:pt x="104" y="0"/>
                  </a:cubicBezTo>
                  <a:cubicBezTo>
                    <a:pt x="104" y="0"/>
                    <a:pt x="103" y="0"/>
                    <a:pt x="103" y="0"/>
                  </a:cubicBezTo>
                  <a:cubicBezTo>
                    <a:pt x="101" y="2"/>
                    <a:pt x="101" y="2"/>
                    <a:pt x="101" y="2"/>
                  </a:cubicBezTo>
                  <a:cubicBezTo>
                    <a:pt x="98" y="4"/>
                    <a:pt x="95" y="6"/>
                    <a:pt x="92" y="7"/>
                  </a:cubicBezTo>
                  <a:cubicBezTo>
                    <a:pt x="92" y="7"/>
                    <a:pt x="91" y="7"/>
                    <a:pt x="90" y="7"/>
                  </a:cubicBezTo>
                  <a:cubicBezTo>
                    <a:pt x="90" y="7"/>
                    <a:pt x="90" y="7"/>
                    <a:pt x="89" y="7"/>
                  </a:cubicBezTo>
                  <a:cubicBezTo>
                    <a:pt x="89" y="7"/>
                    <a:pt x="89" y="7"/>
                    <a:pt x="89" y="7"/>
                  </a:cubicBezTo>
                  <a:cubicBezTo>
                    <a:pt x="88" y="7"/>
                    <a:pt x="87" y="8"/>
                    <a:pt x="86" y="8"/>
                  </a:cubicBezTo>
                  <a:cubicBezTo>
                    <a:pt x="84" y="9"/>
                    <a:pt x="84" y="9"/>
                    <a:pt x="84" y="9"/>
                  </a:cubicBezTo>
                  <a:cubicBezTo>
                    <a:pt x="84" y="9"/>
                    <a:pt x="84" y="9"/>
                    <a:pt x="84" y="9"/>
                  </a:cubicBezTo>
                  <a:cubicBezTo>
                    <a:pt x="83" y="10"/>
                    <a:pt x="82" y="10"/>
                    <a:pt x="79" y="8"/>
                  </a:cubicBezTo>
                  <a:cubicBezTo>
                    <a:pt x="79" y="8"/>
                    <a:pt x="79" y="8"/>
                    <a:pt x="78" y="9"/>
                  </a:cubicBezTo>
                  <a:cubicBezTo>
                    <a:pt x="78" y="9"/>
                    <a:pt x="78" y="9"/>
                    <a:pt x="78" y="9"/>
                  </a:cubicBezTo>
                  <a:cubicBezTo>
                    <a:pt x="78" y="9"/>
                    <a:pt x="78" y="9"/>
                    <a:pt x="77" y="9"/>
                  </a:cubicBezTo>
                  <a:cubicBezTo>
                    <a:pt x="77" y="9"/>
                    <a:pt x="77" y="10"/>
                    <a:pt x="77" y="10"/>
                  </a:cubicBezTo>
                  <a:cubicBezTo>
                    <a:pt x="77" y="10"/>
                    <a:pt x="77" y="10"/>
                    <a:pt x="77" y="11"/>
                  </a:cubicBezTo>
                  <a:cubicBezTo>
                    <a:pt x="76" y="11"/>
                    <a:pt x="76" y="11"/>
                    <a:pt x="76" y="11"/>
                  </a:cubicBezTo>
                  <a:cubicBezTo>
                    <a:pt x="76" y="12"/>
                    <a:pt x="74" y="12"/>
                    <a:pt x="74" y="12"/>
                  </a:cubicBezTo>
                  <a:cubicBezTo>
                    <a:pt x="73" y="13"/>
                    <a:pt x="73" y="13"/>
                    <a:pt x="72" y="13"/>
                  </a:cubicBezTo>
                  <a:cubicBezTo>
                    <a:pt x="71" y="13"/>
                    <a:pt x="71" y="12"/>
                    <a:pt x="70" y="12"/>
                  </a:cubicBezTo>
                  <a:cubicBezTo>
                    <a:pt x="69" y="12"/>
                    <a:pt x="68" y="11"/>
                    <a:pt x="67" y="12"/>
                  </a:cubicBezTo>
                  <a:cubicBezTo>
                    <a:pt x="67" y="12"/>
                    <a:pt x="67" y="12"/>
                    <a:pt x="66" y="12"/>
                  </a:cubicBezTo>
                  <a:cubicBezTo>
                    <a:pt x="66" y="12"/>
                    <a:pt x="66" y="12"/>
                    <a:pt x="66" y="12"/>
                  </a:cubicBezTo>
                  <a:cubicBezTo>
                    <a:pt x="66" y="12"/>
                    <a:pt x="65" y="13"/>
                    <a:pt x="65" y="13"/>
                  </a:cubicBezTo>
                  <a:cubicBezTo>
                    <a:pt x="64" y="13"/>
                    <a:pt x="64" y="13"/>
                    <a:pt x="63" y="13"/>
                  </a:cubicBezTo>
                  <a:cubicBezTo>
                    <a:pt x="62" y="13"/>
                    <a:pt x="60" y="12"/>
                    <a:pt x="59" y="11"/>
                  </a:cubicBezTo>
                  <a:cubicBezTo>
                    <a:pt x="58" y="11"/>
                    <a:pt x="58" y="11"/>
                    <a:pt x="58" y="11"/>
                  </a:cubicBezTo>
                  <a:cubicBezTo>
                    <a:pt x="58" y="11"/>
                    <a:pt x="58" y="11"/>
                    <a:pt x="58" y="11"/>
                  </a:cubicBezTo>
                  <a:cubicBezTo>
                    <a:pt x="57" y="11"/>
                    <a:pt x="57" y="11"/>
                    <a:pt x="57" y="10"/>
                  </a:cubicBezTo>
                  <a:cubicBezTo>
                    <a:pt x="56" y="10"/>
                    <a:pt x="56" y="10"/>
                    <a:pt x="56" y="10"/>
                  </a:cubicBezTo>
                  <a:cubicBezTo>
                    <a:pt x="56" y="10"/>
                    <a:pt x="56" y="10"/>
                    <a:pt x="55" y="11"/>
                  </a:cubicBezTo>
                  <a:cubicBezTo>
                    <a:pt x="55" y="11"/>
                    <a:pt x="55" y="11"/>
                    <a:pt x="55" y="11"/>
                  </a:cubicBezTo>
                  <a:cubicBezTo>
                    <a:pt x="55" y="11"/>
                    <a:pt x="54" y="11"/>
                    <a:pt x="54" y="12"/>
                  </a:cubicBezTo>
                  <a:cubicBezTo>
                    <a:pt x="53" y="12"/>
                    <a:pt x="48" y="11"/>
                    <a:pt x="46" y="11"/>
                  </a:cubicBezTo>
                  <a:cubicBezTo>
                    <a:pt x="46" y="11"/>
                    <a:pt x="46" y="11"/>
                    <a:pt x="46" y="11"/>
                  </a:cubicBezTo>
                  <a:cubicBezTo>
                    <a:pt x="46" y="12"/>
                    <a:pt x="46" y="12"/>
                    <a:pt x="46" y="12"/>
                  </a:cubicBezTo>
                  <a:cubicBezTo>
                    <a:pt x="46" y="13"/>
                    <a:pt x="46" y="14"/>
                    <a:pt x="45" y="15"/>
                  </a:cubicBezTo>
                  <a:cubicBezTo>
                    <a:pt x="45" y="15"/>
                    <a:pt x="45" y="15"/>
                    <a:pt x="45" y="15"/>
                  </a:cubicBezTo>
                  <a:cubicBezTo>
                    <a:pt x="44" y="17"/>
                    <a:pt x="43" y="18"/>
                    <a:pt x="44" y="20"/>
                  </a:cubicBezTo>
                  <a:cubicBezTo>
                    <a:pt x="44" y="21"/>
                    <a:pt x="44" y="22"/>
                    <a:pt x="44" y="23"/>
                  </a:cubicBezTo>
                  <a:cubicBezTo>
                    <a:pt x="44" y="23"/>
                    <a:pt x="44" y="24"/>
                    <a:pt x="44" y="25"/>
                  </a:cubicBezTo>
                  <a:cubicBezTo>
                    <a:pt x="44" y="26"/>
                    <a:pt x="44" y="26"/>
                    <a:pt x="44" y="26"/>
                  </a:cubicBezTo>
                  <a:cubicBezTo>
                    <a:pt x="45" y="27"/>
                    <a:pt x="45" y="27"/>
                    <a:pt x="45" y="28"/>
                  </a:cubicBezTo>
                  <a:cubicBezTo>
                    <a:pt x="45" y="29"/>
                    <a:pt x="45" y="29"/>
                    <a:pt x="45" y="29"/>
                  </a:cubicBezTo>
                  <a:cubicBezTo>
                    <a:pt x="45" y="29"/>
                    <a:pt x="45" y="29"/>
                    <a:pt x="45" y="29"/>
                  </a:cubicBezTo>
                  <a:cubicBezTo>
                    <a:pt x="46" y="28"/>
                    <a:pt x="46" y="28"/>
                    <a:pt x="46" y="28"/>
                  </a:cubicBezTo>
                  <a:cubicBezTo>
                    <a:pt x="47" y="29"/>
                    <a:pt x="47" y="29"/>
                    <a:pt x="47" y="29"/>
                  </a:cubicBezTo>
                  <a:cubicBezTo>
                    <a:pt x="48" y="30"/>
                    <a:pt x="48" y="30"/>
                    <a:pt x="49" y="31"/>
                  </a:cubicBezTo>
                  <a:cubicBezTo>
                    <a:pt x="49" y="31"/>
                    <a:pt x="49" y="31"/>
                    <a:pt x="49" y="31"/>
                  </a:cubicBezTo>
                  <a:cubicBezTo>
                    <a:pt x="55" y="39"/>
                    <a:pt x="55" y="39"/>
                    <a:pt x="55" y="39"/>
                  </a:cubicBezTo>
                  <a:cubicBezTo>
                    <a:pt x="57" y="37"/>
                    <a:pt x="57" y="37"/>
                    <a:pt x="57" y="37"/>
                  </a:cubicBezTo>
                  <a:cubicBezTo>
                    <a:pt x="55" y="39"/>
                    <a:pt x="55" y="39"/>
                    <a:pt x="55" y="39"/>
                  </a:cubicBezTo>
                  <a:cubicBezTo>
                    <a:pt x="56" y="40"/>
                    <a:pt x="56" y="40"/>
                    <a:pt x="56" y="40"/>
                  </a:cubicBezTo>
                  <a:cubicBezTo>
                    <a:pt x="57" y="41"/>
                    <a:pt x="58" y="42"/>
                    <a:pt x="58" y="44"/>
                  </a:cubicBezTo>
                  <a:cubicBezTo>
                    <a:pt x="58" y="45"/>
                    <a:pt x="57" y="46"/>
                    <a:pt x="57" y="46"/>
                  </a:cubicBezTo>
                  <a:cubicBezTo>
                    <a:pt x="57" y="47"/>
                    <a:pt x="57" y="47"/>
                    <a:pt x="57" y="47"/>
                  </a:cubicBezTo>
                  <a:cubicBezTo>
                    <a:pt x="57" y="47"/>
                    <a:pt x="57" y="47"/>
                    <a:pt x="57" y="48"/>
                  </a:cubicBezTo>
                  <a:cubicBezTo>
                    <a:pt x="57" y="48"/>
                    <a:pt x="57" y="48"/>
                    <a:pt x="57" y="48"/>
                  </a:cubicBezTo>
                  <a:cubicBezTo>
                    <a:pt x="57" y="49"/>
                    <a:pt x="57" y="49"/>
                    <a:pt x="57" y="49"/>
                  </a:cubicBezTo>
                  <a:cubicBezTo>
                    <a:pt x="57" y="50"/>
                    <a:pt x="57" y="50"/>
                    <a:pt x="57" y="51"/>
                  </a:cubicBezTo>
                  <a:cubicBezTo>
                    <a:pt x="57" y="51"/>
                    <a:pt x="57" y="51"/>
                    <a:pt x="57" y="52"/>
                  </a:cubicBezTo>
                  <a:cubicBezTo>
                    <a:pt x="57" y="56"/>
                    <a:pt x="57" y="56"/>
                    <a:pt x="57" y="56"/>
                  </a:cubicBezTo>
                  <a:cubicBezTo>
                    <a:pt x="57" y="57"/>
                    <a:pt x="56" y="58"/>
                    <a:pt x="55" y="58"/>
                  </a:cubicBezTo>
                  <a:cubicBezTo>
                    <a:pt x="55" y="58"/>
                    <a:pt x="54" y="59"/>
                    <a:pt x="54" y="59"/>
                  </a:cubicBezTo>
                  <a:cubicBezTo>
                    <a:pt x="54" y="59"/>
                    <a:pt x="54" y="59"/>
                    <a:pt x="54" y="59"/>
                  </a:cubicBezTo>
                  <a:cubicBezTo>
                    <a:pt x="54" y="59"/>
                    <a:pt x="54" y="59"/>
                    <a:pt x="54" y="59"/>
                  </a:cubicBezTo>
                  <a:cubicBezTo>
                    <a:pt x="54" y="59"/>
                    <a:pt x="53" y="59"/>
                    <a:pt x="53" y="59"/>
                  </a:cubicBezTo>
                  <a:cubicBezTo>
                    <a:pt x="52" y="59"/>
                    <a:pt x="52" y="59"/>
                    <a:pt x="52" y="59"/>
                  </a:cubicBezTo>
                  <a:cubicBezTo>
                    <a:pt x="52" y="59"/>
                    <a:pt x="52" y="59"/>
                    <a:pt x="52" y="59"/>
                  </a:cubicBezTo>
                  <a:cubicBezTo>
                    <a:pt x="52" y="59"/>
                    <a:pt x="52" y="59"/>
                    <a:pt x="52" y="59"/>
                  </a:cubicBezTo>
                  <a:cubicBezTo>
                    <a:pt x="52" y="59"/>
                    <a:pt x="52" y="59"/>
                    <a:pt x="52" y="60"/>
                  </a:cubicBezTo>
                  <a:cubicBezTo>
                    <a:pt x="51" y="61"/>
                    <a:pt x="50" y="62"/>
                    <a:pt x="50" y="62"/>
                  </a:cubicBezTo>
                  <a:cubicBezTo>
                    <a:pt x="50" y="62"/>
                    <a:pt x="50" y="62"/>
                    <a:pt x="50" y="63"/>
                  </a:cubicBezTo>
                  <a:cubicBezTo>
                    <a:pt x="50" y="63"/>
                    <a:pt x="50" y="63"/>
                    <a:pt x="50" y="63"/>
                  </a:cubicBezTo>
                  <a:cubicBezTo>
                    <a:pt x="50" y="63"/>
                    <a:pt x="50" y="63"/>
                    <a:pt x="50" y="63"/>
                  </a:cubicBezTo>
                  <a:cubicBezTo>
                    <a:pt x="52" y="69"/>
                    <a:pt x="52" y="69"/>
                    <a:pt x="52" y="69"/>
                  </a:cubicBezTo>
                  <a:cubicBezTo>
                    <a:pt x="50" y="69"/>
                    <a:pt x="50" y="69"/>
                    <a:pt x="50" y="69"/>
                  </a:cubicBezTo>
                  <a:cubicBezTo>
                    <a:pt x="48" y="69"/>
                    <a:pt x="47" y="68"/>
                    <a:pt x="47" y="67"/>
                  </a:cubicBezTo>
                  <a:cubicBezTo>
                    <a:pt x="47" y="66"/>
                    <a:pt x="47" y="66"/>
                    <a:pt x="47" y="66"/>
                  </a:cubicBezTo>
                  <a:cubicBezTo>
                    <a:pt x="46" y="66"/>
                    <a:pt x="46" y="65"/>
                    <a:pt x="46" y="65"/>
                  </a:cubicBezTo>
                  <a:cubicBezTo>
                    <a:pt x="46" y="65"/>
                    <a:pt x="46" y="65"/>
                    <a:pt x="46" y="65"/>
                  </a:cubicBezTo>
                  <a:cubicBezTo>
                    <a:pt x="46" y="65"/>
                    <a:pt x="45" y="64"/>
                    <a:pt x="45" y="64"/>
                  </a:cubicBezTo>
                  <a:cubicBezTo>
                    <a:pt x="45" y="64"/>
                    <a:pt x="45" y="63"/>
                    <a:pt x="44" y="63"/>
                  </a:cubicBezTo>
                  <a:cubicBezTo>
                    <a:pt x="43" y="62"/>
                    <a:pt x="43" y="62"/>
                    <a:pt x="43" y="62"/>
                  </a:cubicBezTo>
                  <a:cubicBezTo>
                    <a:pt x="43" y="62"/>
                    <a:pt x="42" y="61"/>
                    <a:pt x="41" y="60"/>
                  </a:cubicBezTo>
                  <a:cubicBezTo>
                    <a:pt x="41" y="60"/>
                    <a:pt x="41" y="60"/>
                    <a:pt x="41" y="60"/>
                  </a:cubicBezTo>
                  <a:cubicBezTo>
                    <a:pt x="41" y="60"/>
                    <a:pt x="41" y="60"/>
                    <a:pt x="41" y="60"/>
                  </a:cubicBezTo>
                  <a:cubicBezTo>
                    <a:pt x="41" y="59"/>
                    <a:pt x="40" y="59"/>
                    <a:pt x="40" y="59"/>
                  </a:cubicBezTo>
                  <a:cubicBezTo>
                    <a:pt x="40" y="59"/>
                    <a:pt x="40" y="59"/>
                    <a:pt x="40" y="59"/>
                  </a:cubicBezTo>
                  <a:cubicBezTo>
                    <a:pt x="39" y="58"/>
                    <a:pt x="39" y="56"/>
                    <a:pt x="39" y="55"/>
                  </a:cubicBezTo>
                  <a:cubicBezTo>
                    <a:pt x="39" y="54"/>
                    <a:pt x="39" y="53"/>
                    <a:pt x="40" y="53"/>
                  </a:cubicBezTo>
                  <a:cubicBezTo>
                    <a:pt x="40" y="52"/>
                    <a:pt x="41" y="51"/>
                    <a:pt x="41" y="50"/>
                  </a:cubicBezTo>
                  <a:cubicBezTo>
                    <a:pt x="41" y="50"/>
                    <a:pt x="41" y="50"/>
                    <a:pt x="41" y="50"/>
                  </a:cubicBezTo>
                  <a:cubicBezTo>
                    <a:pt x="41" y="50"/>
                    <a:pt x="41" y="49"/>
                    <a:pt x="41" y="49"/>
                  </a:cubicBezTo>
                  <a:cubicBezTo>
                    <a:pt x="41" y="48"/>
                    <a:pt x="41" y="48"/>
                    <a:pt x="41" y="48"/>
                  </a:cubicBezTo>
                  <a:cubicBezTo>
                    <a:pt x="42" y="48"/>
                    <a:pt x="42" y="48"/>
                    <a:pt x="42" y="48"/>
                  </a:cubicBezTo>
                  <a:cubicBezTo>
                    <a:pt x="42" y="48"/>
                    <a:pt x="42" y="47"/>
                    <a:pt x="42" y="46"/>
                  </a:cubicBezTo>
                  <a:cubicBezTo>
                    <a:pt x="42" y="46"/>
                    <a:pt x="42" y="46"/>
                    <a:pt x="42" y="46"/>
                  </a:cubicBezTo>
                  <a:cubicBezTo>
                    <a:pt x="42" y="45"/>
                    <a:pt x="42" y="45"/>
                    <a:pt x="42" y="45"/>
                  </a:cubicBezTo>
                  <a:cubicBezTo>
                    <a:pt x="42" y="44"/>
                    <a:pt x="41" y="43"/>
                    <a:pt x="41" y="42"/>
                  </a:cubicBezTo>
                  <a:cubicBezTo>
                    <a:pt x="41" y="41"/>
                    <a:pt x="41" y="41"/>
                    <a:pt x="41" y="41"/>
                  </a:cubicBezTo>
                  <a:cubicBezTo>
                    <a:pt x="40" y="41"/>
                    <a:pt x="40" y="41"/>
                    <a:pt x="40" y="41"/>
                  </a:cubicBezTo>
                  <a:cubicBezTo>
                    <a:pt x="40" y="41"/>
                    <a:pt x="39" y="41"/>
                    <a:pt x="38" y="41"/>
                  </a:cubicBezTo>
                  <a:cubicBezTo>
                    <a:pt x="38" y="41"/>
                    <a:pt x="38" y="41"/>
                    <a:pt x="38" y="41"/>
                  </a:cubicBezTo>
                  <a:cubicBezTo>
                    <a:pt x="34" y="42"/>
                    <a:pt x="34" y="42"/>
                    <a:pt x="34" y="42"/>
                  </a:cubicBezTo>
                  <a:cubicBezTo>
                    <a:pt x="34" y="42"/>
                    <a:pt x="33" y="42"/>
                    <a:pt x="33" y="42"/>
                  </a:cubicBezTo>
                  <a:cubicBezTo>
                    <a:pt x="32" y="42"/>
                    <a:pt x="32" y="42"/>
                    <a:pt x="32" y="42"/>
                  </a:cubicBezTo>
                  <a:cubicBezTo>
                    <a:pt x="32" y="42"/>
                    <a:pt x="32" y="41"/>
                    <a:pt x="32" y="41"/>
                  </a:cubicBezTo>
                  <a:cubicBezTo>
                    <a:pt x="32" y="41"/>
                    <a:pt x="32" y="41"/>
                    <a:pt x="32" y="41"/>
                  </a:cubicBezTo>
                  <a:cubicBezTo>
                    <a:pt x="31" y="40"/>
                    <a:pt x="30" y="38"/>
                    <a:pt x="29" y="37"/>
                  </a:cubicBezTo>
                  <a:cubicBezTo>
                    <a:pt x="29" y="37"/>
                    <a:pt x="29" y="37"/>
                    <a:pt x="29" y="37"/>
                  </a:cubicBezTo>
                  <a:cubicBezTo>
                    <a:pt x="29" y="37"/>
                    <a:pt x="29" y="37"/>
                    <a:pt x="29" y="37"/>
                  </a:cubicBezTo>
                  <a:cubicBezTo>
                    <a:pt x="0" y="46"/>
                    <a:pt x="0" y="46"/>
                    <a:pt x="0" y="46"/>
                  </a:cubicBezTo>
                  <a:cubicBezTo>
                    <a:pt x="0" y="47"/>
                    <a:pt x="1" y="49"/>
                    <a:pt x="1" y="50"/>
                  </a:cubicBezTo>
                  <a:cubicBezTo>
                    <a:pt x="1" y="50"/>
                    <a:pt x="1" y="51"/>
                    <a:pt x="1" y="51"/>
                  </a:cubicBezTo>
                  <a:cubicBezTo>
                    <a:pt x="2" y="51"/>
                    <a:pt x="2" y="51"/>
                    <a:pt x="2" y="51"/>
                  </a:cubicBezTo>
                  <a:cubicBezTo>
                    <a:pt x="2" y="51"/>
                    <a:pt x="2" y="51"/>
                    <a:pt x="2" y="51"/>
                  </a:cubicBezTo>
                  <a:cubicBezTo>
                    <a:pt x="2" y="52"/>
                    <a:pt x="2" y="52"/>
                    <a:pt x="2" y="52"/>
                  </a:cubicBezTo>
                  <a:cubicBezTo>
                    <a:pt x="2" y="52"/>
                    <a:pt x="2" y="52"/>
                    <a:pt x="2" y="52"/>
                  </a:cubicBezTo>
                  <a:cubicBezTo>
                    <a:pt x="2" y="53"/>
                    <a:pt x="2" y="53"/>
                    <a:pt x="2" y="53"/>
                  </a:cubicBezTo>
                  <a:cubicBezTo>
                    <a:pt x="2" y="53"/>
                    <a:pt x="2" y="53"/>
                    <a:pt x="2" y="53"/>
                  </a:cubicBezTo>
                  <a:cubicBezTo>
                    <a:pt x="2" y="54"/>
                    <a:pt x="2" y="55"/>
                    <a:pt x="2" y="55"/>
                  </a:cubicBezTo>
                  <a:cubicBezTo>
                    <a:pt x="2" y="55"/>
                    <a:pt x="2" y="55"/>
                    <a:pt x="2" y="55"/>
                  </a:cubicBezTo>
                  <a:cubicBezTo>
                    <a:pt x="2" y="55"/>
                    <a:pt x="2" y="55"/>
                    <a:pt x="2" y="55"/>
                  </a:cubicBezTo>
                  <a:cubicBezTo>
                    <a:pt x="3" y="55"/>
                    <a:pt x="3" y="55"/>
                    <a:pt x="5" y="55"/>
                  </a:cubicBezTo>
                  <a:cubicBezTo>
                    <a:pt x="5" y="55"/>
                    <a:pt x="5" y="55"/>
                    <a:pt x="5" y="55"/>
                  </a:cubicBezTo>
                  <a:cubicBezTo>
                    <a:pt x="6" y="55"/>
                    <a:pt x="6" y="55"/>
                    <a:pt x="6" y="55"/>
                  </a:cubicBezTo>
                  <a:cubicBezTo>
                    <a:pt x="7" y="55"/>
                    <a:pt x="8" y="55"/>
                    <a:pt x="9" y="56"/>
                  </a:cubicBezTo>
                  <a:cubicBezTo>
                    <a:pt x="18" y="60"/>
                    <a:pt x="18" y="60"/>
                    <a:pt x="18" y="60"/>
                  </a:cubicBezTo>
                  <a:cubicBezTo>
                    <a:pt x="19" y="60"/>
                    <a:pt x="20" y="60"/>
                    <a:pt x="20" y="61"/>
                  </a:cubicBezTo>
                  <a:cubicBezTo>
                    <a:pt x="22" y="62"/>
                    <a:pt x="24" y="62"/>
                    <a:pt x="26" y="62"/>
                  </a:cubicBezTo>
                  <a:cubicBezTo>
                    <a:pt x="26" y="62"/>
                    <a:pt x="26" y="62"/>
                    <a:pt x="26" y="62"/>
                  </a:cubicBezTo>
                  <a:cubicBezTo>
                    <a:pt x="26" y="62"/>
                    <a:pt x="26" y="62"/>
                    <a:pt x="26" y="62"/>
                  </a:cubicBezTo>
                  <a:cubicBezTo>
                    <a:pt x="26" y="62"/>
                    <a:pt x="27" y="62"/>
                    <a:pt x="27" y="62"/>
                  </a:cubicBezTo>
                  <a:cubicBezTo>
                    <a:pt x="27" y="62"/>
                    <a:pt x="27" y="63"/>
                    <a:pt x="27" y="63"/>
                  </a:cubicBezTo>
                  <a:cubicBezTo>
                    <a:pt x="28" y="63"/>
                    <a:pt x="28" y="63"/>
                    <a:pt x="28" y="63"/>
                  </a:cubicBezTo>
                  <a:cubicBezTo>
                    <a:pt x="28" y="63"/>
                    <a:pt x="28" y="64"/>
                    <a:pt x="28" y="64"/>
                  </a:cubicBezTo>
                  <a:cubicBezTo>
                    <a:pt x="28" y="64"/>
                    <a:pt x="28" y="64"/>
                    <a:pt x="28" y="64"/>
                  </a:cubicBezTo>
                  <a:cubicBezTo>
                    <a:pt x="28" y="64"/>
                    <a:pt x="28" y="64"/>
                    <a:pt x="28" y="64"/>
                  </a:cubicBezTo>
                  <a:cubicBezTo>
                    <a:pt x="28" y="64"/>
                    <a:pt x="28" y="64"/>
                    <a:pt x="28" y="65"/>
                  </a:cubicBezTo>
                  <a:cubicBezTo>
                    <a:pt x="28" y="65"/>
                    <a:pt x="28" y="65"/>
                    <a:pt x="28" y="65"/>
                  </a:cubicBezTo>
                  <a:cubicBezTo>
                    <a:pt x="28" y="65"/>
                    <a:pt x="28" y="65"/>
                    <a:pt x="28" y="65"/>
                  </a:cubicBezTo>
                  <a:cubicBezTo>
                    <a:pt x="28" y="65"/>
                    <a:pt x="28" y="65"/>
                    <a:pt x="28" y="65"/>
                  </a:cubicBezTo>
                  <a:cubicBezTo>
                    <a:pt x="28" y="66"/>
                    <a:pt x="28" y="66"/>
                    <a:pt x="28" y="66"/>
                  </a:cubicBezTo>
                  <a:cubicBezTo>
                    <a:pt x="28" y="66"/>
                    <a:pt x="28" y="67"/>
                    <a:pt x="28" y="67"/>
                  </a:cubicBezTo>
                  <a:cubicBezTo>
                    <a:pt x="28" y="67"/>
                    <a:pt x="28" y="68"/>
                    <a:pt x="28" y="68"/>
                  </a:cubicBezTo>
                  <a:cubicBezTo>
                    <a:pt x="28" y="70"/>
                    <a:pt x="29" y="71"/>
                    <a:pt x="29" y="73"/>
                  </a:cubicBezTo>
                  <a:cubicBezTo>
                    <a:pt x="29" y="74"/>
                    <a:pt x="29" y="74"/>
                    <a:pt x="29" y="75"/>
                  </a:cubicBezTo>
                  <a:cubicBezTo>
                    <a:pt x="29" y="77"/>
                    <a:pt x="29" y="79"/>
                    <a:pt x="29" y="80"/>
                  </a:cubicBezTo>
                  <a:cubicBezTo>
                    <a:pt x="29" y="80"/>
                    <a:pt x="29" y="80"/>
                    <a:pt x="29" y="80"/>
                  </a:cubicBezTo>
                  <a:cubicBezTo>
                    <a:pt x="29" y="81"/>
                    <a:pt x="29" y="81"/>
                    <a:pt x="29" y="81"/>
                  </a:cubicBezTo>
                  <a:cubicBezTo>
                    <a:pt x="28" y="82"/>
                    <a:pt x="28" y="82"/>
                    <a:pt x="28" y="83"/>
                  </a:cubicBezTo>
                  <a:cubicBezTo>
                    <a:pt x="27" y="83"/>
                    <a:pt x="27" y="83"/>
                    <a:pt x="27" y="83"/>
                  </a:cubicBezTo>
                  <a:cubicBezTo>
                    <a:pt x="27" y="83"/>
                    <a:pt x="27" y="83"/>
                    <a:pt x="27" y="83"/>
                  </a:cubicBezTo>
                  <a:cubicBezTo>
                    <a:pt x="27" y="83"/>
                    <a:pt x="27" y="84"/>
                    <a:pt x="27" y="84"/>
                  </a:cubicBezTo>
                  <a:cubicBezTo>
                    <a:pt x="26" y="84"/>
                    <a:pt x="26" y="84"/>
                    <a:pt x="26" y="84"/>
                  </a:cubicBezTo>
                  <a:cubicBezTo>
                    <a:pt x="27" y="84"/>
                    <a:pt x="27" y="84"/>
                    <a:pt x="27" y="84"/>
                  </a:cubicBezTo>
                  <a:cubicBezTo>
                    <a:pt x="27" y="85"/>
                    <a:pt x="26" y="86"/>
                    <a:pt x="26" y="86"/>
                  </a:cubicBezTo>
                  <a:cubicBezTo>
                    <a:pt x="26" y="86"/>
                    <a:pt x="26" y="87"/>
                    <a:pt x="26" y="87"/>
                  </a:cubicBezTo>
                  <a:cubicBezTo>
                    <a:pt x="26" y="87"/>
                    <a:pt x="26" y="87"/>
                    <a:pt x="26" y="87"/>
                  </a:cubicBezTo>
                  <a:cubicBezTo>
                    <a:pt x="26" y="87"/>
                    <a:pt x="26" y="87"/>
                    <a:pt x="26" y="87"/>
                  </a:cubicBezTo>
                  <a:cubicBezTo>
                    <a:pt x="26" y="88"/>
                    <a:pt x="26" y="88"/>
                    <a:pt x="27" y="88"/>
                  </a:cubicBezTo>
                  <a:cubicBezTo>
                    <a:pt x="27" y="89"/>
                    <a:pt x="27" y="90"/>
                    <a:pt x="27" y="92"/>
                  </a:cubicBezTo>
                  <a:cubicBezTo>
                    <a:pt x="27" y="92"/>
                    <a:pt x="27" y="93"/>
                    <a:pt x="27" y="94"/>
                  </a:cubicBezTo>
                  <a:cubicBezTo>
                    <a:pt x="27" y="94"/>
                    <a:pt x="27" y="94"/>
                    <a:pt x="27" y="94"/>
                  </a:cubicBezTo>
                  <a:cubicBezTo>
                    <a:pt x="27" y="94"/>
                    <a:pt x="27" y="94"/>
                    <a:pt x="27" y="94"/>
                  </a:cubicBezTo>
                  <a:cubicBezTo>
                    <a:pt x="28" y="94"/>
                    <a:pt x="28" y="94"/>
                    <a:pt x="28" y="94"/>
                  </a:cubicBezTo>
                  <a:cubicBezTo>
                    <a:pt x="28" y="95"/>
                    <a:pt x="28" y="95"/>
                    <a:pt x="28" y="95"/>
                  </a:cubicBezTo>
                  <a:cubicBezTo>
                    <a:pt x="29" y="96"/>
                    <a:pt x="29" y="97"/>
                    <a:pt x="28" y="98"/>
                  </a:cubicBezTo>
                  <a:cubicBezTo>
                    <a:pt x="28" y="99"/>
                    <a:pt x="28" y="100"/>
                    <a:pt x="27" y="101"/>
                  </a:cubicBezTo>
                  <a:cubicBezTo>
                    <a:pt x="26" y="103"/>
                    <a:pt x="25" y="104"/>
                    <a:pt x="25" y="104"/>
                  </a:cubicBezTo>
                  <a:cubicBezTo>
                    <a:pt x="25" y="105"/>
                    <a:pt x="24" y="105"/>
                    <a:pt x="24" y="105"/>
                  </a:cubicBezTo>
                  <a:cubicBezTo>
                    <a:pt x="23" y="105"/>
                    <a:pt x="23" y="105"/>
                    <a:pt x="23" y="105"/>
                  </a:cubicBezTo>
                  <a:cubicBezTo>
                    <a:pt x="23" y="105"/>
                    <a:pt x="23" y="105"/>
                    <a:pt x="23" y="105"/>
                  </a:cubicBezTo>
                  <a:cubicBezTo>
                    <a:pt x="23" y="106"/>
                    <a:pt x="23" y="107"/>
                    <a:pt x="23" y="107"/>
                  </a:cubicBezTo>
                  <a:cubicBezTo>
                    <a:pt x="23" y="107"/>
                    <a:pt x="22" y="108"/>
                    <a:pt x="22" y="108"/>
                  </a:cubicBezTo>
                  <a:cubicBezTo>
                    <a:pt x="22" y="108"/>
                    <a:pt x="22" y="108"/>
                    <a:pt x="22" y="108"/>
                  </a:cubicBezTo>
                  <a:cubicBezTo>
                    <a:pt x="22" y="109"/>
                    <a:pt x="22" y="110"/>
                    <a:pt x="22" y="110"/>
                  </a:cubicBezTo>
                  <a:cubicBezTo>
                    <a:pt x="22" y="110"/>
                    <a:pt x="22" y="111"/>
                    <a:pt x="22" y="111"/>
                  </a:cubicBezTo>
                  <a:cubicBezTo>
                    <a:pt x="24" y="114"/>
                    <a:pt x="24" y="114"/>
                    <a:pt x="24" y="114"/>
                  </a:cubicBezTo>
                  <a:cubicBezTo>
                    <a:pt x="21" y="114"/>
                    <a:pt x="21" y="114"/>
                    <a:pt x="21" y="114"/>
                  </a:cubicBezTo>
                  <a:cubicBezTo>
                    <a:pt x="21" y="114"/>
                    <a:pt x="21" y="114"/>
                    <a:pt x="20" y="114"/>
                  </a:cubicBezTo>
                  <a:cubicBezTo>
                    <a:pt x="19" y="116"/>
                    <a:pt x="18" y="117"/>
                    <a:pt x="17" y="118"/>
                  </a:cubicBezTo>
                  <a:cubicBezTo>
                    <a:pt x="17" y="118"/>
                    <a:pt x="17" y="119"/>
                    <a:pt x="16" y="119"/>
                  </a:cubicBezTo>
                  <a:cubicBezTo>
                    <a:pt x="12" y="123"/>
                    <a:pt x="12" y="123"/>
                    <a:pt x="12" y="123"/>
                  </a:cubicBezTo>
                  <a:cubicBezTo>
                    <a:pt x="12" y="123"/>
                    <a:pt x="12" y="123"/>
                    <a:pt x="12" y="124"/>
                  </a:cubicBezTo>
                  <a:cubicBezTo>
                    <a:pt x="12" y="124"/>
                    <a:pt x="11" y="124"/>
                    <a:pt x="11" y="124"/>
                  </a:cubicBezTo>
                  <a:cubicBezTo>
                    <a:pt x="11" y="124"/>
                    <a:pt x="11" y="124"/>
                    <a:pt x="11" y="124"/>
                  </a:cubicBezTo>
                  <a:cubicBezTo>
                    <a:pt x="11" y="125"/>
                    <a:pt x="11" y="125"/>
                    <a:pt x="11" y="125"/>
                  </a:cubicBezTo>
                  <a:cubicBezTo>
                    <a:pt x="11" y="126"/>
                    <a:pt x="12" y="126"/>
                    <a:pt x="12" y="127"/>
                  </a:cubicBezTo>
                  <a:cubicBezTo>
                    <a:pt x="12" y="127"/>
                    <a:pt x="12" y="127"/>
                    <a:pt x="12" y="127"/>
                  </a:cubicBezTo>
                  <a:cubicBezTo>
                    <a:pt x="12" y="129"/>
                    <a:pt x="13" y="130"/>
                    <a:pt x="13" y="132"/>
                  </a:cubicBezTo>
                  <a:cubicBezTo>
                    <a:pt x="13" y="132"/>
                    <a:pt x="13" y="132"/>
                    <a:pt x="13" y="133"/>
                  </a:cubicBezTo>
                  <a:cubicBezTo>
                    <a:pt x="15" y="133"/>
                    <a:pt x="15" y="133"/>
                    <a:pt x="15" y="133"/>
                  </a:cubicBezTo>
                  <a:cubicBezTo>
                    <a:pt x="13" y="133"/>
                    <a:pt x="13" y="133"/>
                    <a:pt x="13" y="133"/>
                  </a:cubicBezTo>
                  <a:cubicBezTo>
                    <a:pt x="13" y="134"/>
                    <a:pt x="13" y="134"/>
                    <a:pt x="13" y="134"/>
                  </a:cubicBezTo>
                  <a:cubicBezTo>
                    <a:pt x="13" y="135"/>
                    <a:pt x="13" y="135"/>
                    <a:pt x="14" y="136"/>
                  </a:cubicBezTo>
                  <a:cubicBezTo>
                    <a:pt x="16" y="140"/>
                    <a:pt x="16" y="140"/>
                    <a:pt x="16" y="140"/>
                  </a:cubicBezTo>
                  <a:cubicBezTo>
                    <a:pt x="17" y="141"/>
                    <a:pt x="17" y="144"/>
                    <a:pt x="18" y="146"/>
                  </a:cubicBezTo>
                  <a:cubicBezTo>
                    <a:pt x="18" y="147"/>
                    <a:pt x="18" y="147"/>
                    <a:pt x="18" y="147"/>
                  </a:cubicBezTo>
                  <a:cubicBezTo>
                    <a:pt x="18" y="150"/>
                    <a:pt x="18" y="152"/>
                    <a:pt x="18" y="154"/>
                  </a:cubicBezTo>
                  <a:cubicBezTo>
                    <a:pt x="18" y="155"/>
                    <a:pt x="18" y="155"/>
                    <a:pt x="18" y="156"/>
                  </a:cubicBezTo>
                  <a:cubicBezTo>
                    <a:pt x="18" y="156"/>
                    <a:pt x="18" y="156"/>
                    <a:pt x="18" y="156"/>
                  </a:cubicBezTo>
                  <a:cubicBezTo>
                    <a:pt x="18" y="157"/>
                    <a:pt x="18" y="157"/>
                    <a:pt x="18" y="158"/>
                  </a:cubicBezTo>
                  <a:cubicBezTo>
                    <a:pt x="18" y="158"/>
                    <a:pt x="18" y="158"/>
                    <a:pt x="18" y="158"/>
                  </a:cubicBezTo>
                  <a:cubicBezTo>
                    <a:pt x="18" y="159"/>
                    <a:pt x="18" y="160"/>
                    <a:pt x="18" y="161"/>
                  </a:cubicBezTo>
                  <a:cubicBezTo>
                    <a:pt x="18" y="161"/>
                    <a:pt x="18" y="161"/>
                    <a:pt x="18" y="161"/>
                  </a:cubicBezTo>
                  <a:cubicBezTo>
                    <a:pt x="18" y="161"/>
                    <a:pt x="18" y="161"/>
                    <a:pt x="18" y="162"/>
                  </a:cubicBezTo>
                  <a:cubicBezTo>
                    <a:pt x="18" y="162"/>
                    <a:pt x="18" y="162"/>
                    <a:pt x="18" y="162"/>
                  </a:cubicBezTo>
                  <a:cubicBezTo>
                    <a:pt x="18" y="162"/>
                    <a:pt x="18" y="162"/>
                    <a:pt x="18" y="162"/>
                  </a:cubicBezTo>
                  <a:cubicBezTo>
                    <a:pt x="19" y="162"/>
                    <a:pt x="19" y="162"/>
                    <a:pt x="19" y="163"/>
                  </a:cubicBezTo>
                  <a:cubicBezTo>
                    <a:pt x="19" y="163"/>
                    <a:pt x="19" y="163"/>
                    <a:pt x="19" y="163"/>
                  </a:cubicBezTo>
                  <a:cubicBezTo>
                    <a:pt x="19" y="171"/>
                    <a:pt x="19" y="171"/>
                    <a:pt x="19" y="171"/>
                  </a:cubicBezTo>
                  <a:cubicBezTo>
                    <a:pt x="19" y="171"/>
                    <a:pt x="20" y="171"/>
                    <a:pt x="20" y="171"/>
                  </a:cubicBezTo>
                  <a:cubicBezTo>
                    <a:pt x="21" y="171"/>
                    <a:pt x="21" y="171"/>
                    <a:pt x="22" y="171"/>
                  </a:cubicBezTo>
                  <a:cubicBezTo>
                    <a:pt x="22" y="171"/>
                    <a:pt x="23" y="171"/>
                    <a:pt x="24" y="171"/>
                  </a:cubicBezTo>
                  <a:cubicBezTo>
                    <a:pt x="25" y="171"/>
                    <a:pt x="25" y="171"/>
                    <a:pt x="25" y="171"/>
                  </a:cubicBezTo>
                  <a:cubicBezTo>
                    <a:pt x="25" y="171"/>
                    <a:pt x="26" y="171"/>
                    <a:pt x="26" y="171"/>
                  </a:cubicBezTo>
                  <a:cubicBezTo>
                    <a:pt x="26" y="169"/>
                    <a:pt x="26" y="165"/>
                    <a:pt x="26" y="164"/>
                  </a:cubicBezTo>
                  <a:cubicBezTo>
                    <a:pt x="26" y="164"/>
                    <a:pt x="26" y="166"/>
                    <a:pt x="25" y="166"/>
                  </a:cubicBezTo>
                  <a:cubicBezTo>
                    <a:pt x="25" y="166"/>
                    <a:pt x="24" y="165"/>
                    <a:pt x="24" y="165"/>
                  </a:cubicBezTo>
                  <a:cubicBezTo>
                    <a:pt x="23" y="164"/>
                    <a:pt x="23" y="163"/>
                    <a:pt x="22" y="163"/>
                  </a:cubicBezTo>
                  <a:cubicBezTo>
                    <a:pt x="22" y="162"/>
                    <a:pt x="23" y="163"/>
                    <a:pt x="23" y="162"/>
                  </a:cubicBezTo>
                  <a:cubicBezTo>
                    <a:pt x="24" y="162"/>
                    <a:pt x="24" y="161"/>
                    <a:pt x="24" y="160"/>
                  </a:cubicBezTo>
                  <a:cubicBezTo>
                    <a:pt x="25" y="159"/>
                    <a:pt x="25" y="158"/>
                    <a:pt x="27" y="157"/>
                  </a:cubicBezTo>
                  <a:cubicBezTo>
                    <a:pt x="31" y="154"/>
                    <a:pt x="36" y="153"/>
                    <a:pt x="40" y="151"/>
                  </a:cubicBezTo>
                  <a:cubicBezTo>
                    <a:pt x="44" y="150"/>
                    <a:pt x="48" y="149"/>
                    <a:pt x="50" y="146"/>
                  </a:cubicBezTo>
                  <a:cubicBezTo>
                    <a:pt x="51" y="145"/>
                    <a:pt x="52" y="144"/>
                    <a:pt x="52" y="143"/>
                  </a:cubicBezTo>
                  <a:cubicBezTo>
                    <a:pt x="53" y="142"/>
                    <a:pt x="53" y="140"/>
                    <a:pt x="53" y="139"/>
                  </a:cubicBezTo>
                  <a:cubicBezTo>
                    <a:pt x="52" y="140"/>
                    <a:pt x="51" y="141"/>
                    <a:pt x="51" y="140"/>
                  </a:cubicBezTo>
                  <a:cubicBezTo>
                    <a:pt x="51" y="140"/>
                    <a:pt x="51" y="140"/>
                    <a:pt x="51" y="139"/>
                  </a:cubicBezTo>
                  <a:cubicBezTo>
                    <a:pt x="51" y="138"/>
                    <a:pt x="51" y="137"/>
                    <a:pt x="51" y="139"/>
                  </a:cubicBezTo>
                  <a:cubicBezTo>
                    <a:pt x="52" y="137"/>
                    <a:pt x="52" y="136"/>
                    <a:pt x="52" y="135"/>
                  </a:cubicBezTo>
                  <a:cubicBezTo>
                    <a:pt x="52" y="131"/>
                    <a:pt x="53" y="126"/>
                    <a:pt x="53" y="122"/>
                  </a:cubicBezTo>
                  <a:cubicBezTo>
                    <a:pt x="53" y="122"/>
                    <a:pt x="53" y="122"/>
                    <a:pt x="53" y="123"/>
                  </a:cubicBezTo>
                  <a:cubicBezTo>
                    <a:pt x="52" y="121"/>
                    <a:pt x="52" y="120"/>
                    <a:pt x="52" y="122"/>
                  </a:cubicBezTo>
                  <a:cubicBezTo>
                    <a:pt x="52" y="122"/>
                    <a:pt x="52" y="122"/>
                    <a:pt x="52" y="122"/>
                  </a:cubicBezTo>
                  <a:cubicBezTo>
                    <a:pt x="52" y="122"/>
                    <a:pt x="51" y="123"/>
                    <a:pt x="52" y="123"/>
                  </a:cubicBezTo>
                  <a:cubicBezTo>
                    <a:pt x="51" y="121"/>
                    <a:pt x="51" y="118"/>
                    <a:pt x="50" y="116"/>
                  </a:cubicBezTo>
                  <a:cubicBezTo>
                    <a:pt x="50" y="115"/>
                    <a:pt x="49" y="114"/>
                    <a:pt x="49" y="113"/>
                  </a:cubicBezTo>
                  <a:cubicBezTo>
                    <a:pt x="48" y="112"/>
                    <a:pt x="47" y="110"/>
                    <a:pt x="48" y="110"/>
                  </a:cubicBezTo>
                  <a:cubicBezTo>
                    <a:pt x="48" y="109"/>
                    <a:pt x="49" y="109"/>
                    <a:pt x="48" y="108"/>
                  </a:cubicBezTo>
                  <a:cubicBezTo>
                    <a:pt x="47" y="107"/>
                    <a:pt x="47" y="107"/>
                    <a:pt x="46" y="106"/>
                  </a:cubicBezTo>
                  <a:cubicBezTo>
                    <a:pt x="45" y="105"/>
                    <a:pt x="44" y="104"/>
                    <a:pt x="44" y="102"/>
                  </a:cubicBezTo>
                  <a:cubicBezTo>
                    <a:pt x="45" y="103"/>
                    <a:pt x="44" y="101"/>
                    <a:pt x="44" y="100"/>
                  </a:cubicBezTo>
                  <a:cubicBezTo>
                    <a:pt x="44" y="100"/>
                    <a:pt x="45" y="100"/>
                    <a:pt x="45" y="100"/>
                  </a:cubicBezTo>
                  <a:cubicBezTo>
                    <a:pt x="45" y="100"/>
                    <a:pt x="45" y="100"/>
                    <a:pt x="45" y="100"/>
                  </a:cubicBezTo>
                  <a:cubicBezTo>
                    <a:pt x="45" y="100"/>
                    <a:pt x="45" y="99"/>
                    <a:pt x="45" y="99"/>
                  </a:cubicBezTo>
                  <a:cubicBezTo>
                    <a:pt x="45" y="98"/>
                    <a:pt x="45" y="97"/>
                    <a:pt x="45" y="96"/>
                  </a:cubicBezTo>
                  <a:cubicBezTo>
                    <a:pt x="45" y="96"/>
                    <a:pt x="42" y="94"/>
                    <a:pt x="43" y="94"/>
                  </a:cubicBezTo>
                  <a:cubicBezTo>
                    <a:pt x="43" y="94"/>
                    <a:pt x="45" y="95"/>
                    <a:pt x="45" y="96"/>
                  </a:cubicBezTo>
                  <a:cubicBezTo>
                    <a:pt x="46" y="97"/>
                    <a:pt x="46" y="97"/>
                    <a:pt x="47" y="96"/>
                  </a:cubicBezTo>
                  <a:cubicBezTo>
                    <a:pt x="47" y="96"/>
                    <a:pt x="48" y="96"/>
                    <a:pt x="49" y="95"/>
                  </a:cubicBezTo>
                  <a:cubicBezTo>
                    <a:pt x="50" y="94"/>
                    <a:pt x="52" y="92"/>
                    <a:pt x="53" y="91"/>
                  </a:cubicBezTo>
                  <a:cubicBezTo>
                    <a:pt x="54" y="90"/>
                    <a:pt x="54" y="89"/>
                    <a:pt x="55" y="88"/>
                  </a:cubicBezTo>
                  <a:cubicBezTo>
                    <a:pt x="56" y="88"/>
                    <a:pt x="56" y="88"/>
                    <a:pt x="56" y="87"/>
                  </a:cubicBezTo>
                  <a:cubicBezTo>
                    <a:pt x="56" y="87"/>
                    <a:pt x="57" y="87"/>
                    <a:pt x="57" y="87"/>
                  </a:cubicBezTo>
                  <a:cubicBezTo>
                    <a:pt x="57" y="87"/>
                    <a:pt x="57" y="87"/>
                    <a:pt x="57" y="87"/>
                  </a:cubicBezTo>
                  <a:cubicBezTo>
                    <a:pt x="59" y="86"/>
                    <a:pt x="59" y="86"/>
                    <a:pt x="60" y="86"/>
                  </a:cubicBezTo>
                  <a:cubicBezTo>
                    <a:pt x="60" y="85"/>
                    <a:pt x="61" y="85"/>
                    <a:pt x="62" y="85"/>
                  </a:cubicBezTo>
                  <a:cubicBezTo>
                    <a:pt x="62" y="84"/>
                    <a:pt x="64" y="82"/>
                    <a:pt x="65" y="81"/>
                  </a:cubicBezTo>
                  <a:cubicBezTo>
                    <a:pt x="66" y="80"/>
                    <a:pt x="67" y="79"/>
                    <a:pt x="67" y="78"/>
                  </a:cubicBezTo>
                  <a:cubicBezTo>
                    <a:pt x="67" y="77"/>
                    <a:pt x="67" y="77"/>
                    <a:pt x="67" y="77"/>
                  </a:cubicBezTo>
                  <a:cubicBezTo>
                    <a:pt x="66" y="76"/>
                    <a:pt x="67" y="76"/>
                    <a:pt x="67" y="77"/>
                  </a:cubicBezTo>
                  <a:cubicBezTo>
                    <a:pt x="69" y="76"/>
                    <a:pt x="71" y="73"/>
                    <a:pt x="74" y="72"/>
                  </a:cubicBezTo>
                  <a:cubicBezTo>
                    <a:pt x="75" y="72"/>
                    <a:pt x="77" y="71"/>
                    <a:pt x="78" y="70"/>
                  </a:cubicBezTo>
                  <a:cubicBezTo>
                    <a:pt x="79" y="70"/>
                    <a:pt x="79" y="69"/>
                    <a:pt x="79" y="69"/>
                  </a:cubicBezTo>
                  <a:cubicBezTo>
                    <a:pt x="80" y="68"/>
                    <a:pt x="83" y="68"/>
                    <a:pt x="83" y="67"/>
                  </a:cubicBezTo>
                  <a:cubicBezTo>
                    <a:pt x="85" y="67"/>
                    <a:pt x="87" y="66"/>
                    <a:pt x="89" y="66"/>
                  </a:cubicBezTo>
                  <a:cubicBezTo>
                    <a:pt x="91" y="65"/>
                    <a:pt x="94" y="63"/>
                    <a:pt x="96" y="62"/>
                  </a:cubicBezTo>
                  <a:cubicBezTo>
                    <a:pt x="98" y="60"/>
                    <a:pt x="100" y="56"/>
                    <a:pt x="101" y="54"/>
                  </a:cubicBezTo>
                  <a:cubicBezTo>
                    <a:pt x="103" y="52"/>
                    <a:pt x="105" y="49"/>
                    <a:pt x="106" y="46"/>
                  </a:cubicBezTo>
                  <a:cubicBezTo>
                    <a:pt x="106" y="45"/>
                    <a:pt x="106" y="45"/>
                    <a:pt x="106" y="45"/>
                  </a:cubicBezTo>
                  <a:cubicBezTo>
                    <a:pt x="106" y="44"/>
                    <a:pt x="107" y="44"/>
                    <a:pt x="107" y="43"/>
                  </a:cubicBezTo>
                  <a:cubicBezTo>
                    <a:pt x="107" y="43"/>
                    <a:pt x="107" y="41"/>
                    <a:pt x="10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7" name="Freeform 3212">
              <a:extLst>
                <a:ext uri="{FF2B5EF4-FFF2-40B4-BE49-F238E27FC236}">
                  <a16:creationId xmlns:a16="http://schemas.microsoft.com/office/drawing/2014/main" id="{AF43D13B-8026-4924-8649-A5EC916FB0BA}"/>
                </a:ext>
              </a:extLst>
            </p:cNvPr>
            <p:cNvSpPr>
              <a:spLocks/>
            </p:cNvSpPr>
            <p:nvPr/>
          </p:nvSpPr>
          <p:spPr bwMode="auto">
            <a:xfrm>
              <a:off x="4263" y="2805"/>
              <a:ext cx="263" cy="255"/>
            </a:xfrm>
            <a:custGeom>
              <a:avLst/>
              <a:gdLst>
                <a:gd name="T0" fmla="*/ 103 w 111"/>
                <a:gd name="T1" fmla="*/ 91 h 108"/>
                <a:gd name="T2" fmla="*/ 100 w 111"/>
                <a:gd name="T3" fmla="*/ 76 h 108"/>
                <a:gd name="T4" fmla="*/ 96 w 111"/>
                <a:gd name="T5" fmla="*/ 54 h 108"/>
                <a:gd name="T6" fmla="*/ 98 w 111"/>
                <a:gd name="T7" fmla="*/ 37 h 108"/>
                <a:gd name="T8" fmla="*/ 92 w 111"/>
                <a:gd name="T9" fmla="*/ 33 h 108"/>
                <a:gd name="T10" fmla="*/ 82 w 111"/>
                <a:gd name="T11" fmla="*/ 25 h 108"/>
                <a:gd name="T12" fmla="*/ 81 w 111"/>
                <a:gd name="T13" fmla="*/ 21 h 108"/>
                <a:gd name="T14" fmla="*/ 80 w 111"/>
                <a:gd name="T15" fmla="*/ 20 h 108"/>
                <a:gd name="T16" fmla="*/ 62 w 111"/>
                <a:gd name="T17" fmla="*/ 9 h 108"/>
                <a:gd name="T18" fmla="*/ 45 w 111"/>
                <a:gd name="T19" fmla="*/ 4 h 108"/>
                <a:gd name="T20" fmla="*/ 38 w 111"/>
                <a:gd name="T21" fmla="*/ 8 h 108"/>
                <a:gd name="T22" fmla="*/ 43 w 111"/>
                <a:gd name="T23" fmla="*/ 10 h 108"/>
                <a:gd name="T24" fmla="*/ 35 w 111"/>
                <a:gd name="T25" fmla="*/ 13 h 108"/>
                <a:gd name="T26" fmla="*/ 32 w 111"/>
                <a:gd name="T27" fmla="*/ 19 h 108"/>
                <a:gd name="T28" fmla="*/ 33 w 111"/>
                <a:gd name="T29" fmla="*/ 14 h 108"/>
                <a:gd name="T30" fmla="*/ 29 w 111"/>
                <a:gd name="T31" fmla="*/ 13 h 108"/>
                <a:gd name="T32" fmla="*/ 25 w 111"/>
                <a:gd name="T33" fmla="*/ 14 h 108"/>
                <a:gd name="T34" fmla="*/ 23 w 111"/>
                <a:gd name="T35" fmla="*/ 17 h 108"/>
                <a:gd name="T36" fmla="*/ 23 w 111"/>
                <a:gd name="T37" fmla="*/ 0 h 108"/>
                <a:gd name="T38" fmla="*/ 14 w 111"/>
                <a:gd name="T39" fmla="*/ 6 h 108"/>
                <a:gd name="T40" fmla="*/ 15 w 111"/>
                <a:gd name="T41" fmla="*/ 9 h 108"/>
                <a:gd name="T42" fmla="*/ 13 w 111"/>
                <a:gd name="T43" fmla="*/ 14 h 108"/>
                <a:gd name="T44" fmla="*/ 13 w 111"/>
                <a:gd name="T45" fmla="*/ 15 h 108"/>
                <a:gd name="T46" fmla="*/ 16 w 111"/>
                <a:gd name="T47" fmla="*/ 21 h 108"/>
                <a:gd name="T48" fmla="*/ 15 w 111"/>
                <a:gd name="T49" fmla="*/ 24 h 108"/>
                <a:gd name="T50" fmla="*/ 12 w 111"/>
                <a:gd name="T51" fmla="*/ 27 h 108"/>
                <a:gd name="T52" fmla="*/ 5 w 111"/>
                <a:gd name="T53" fmla="*/ 35 h 108"/>
                <a:gd name="T54" fmla="*/ 1 w 111"/>
                <a:gd name="T55" fmla="*/ 37 h 108"/>
                <a:gd name="T56" fmla="*/ 2 w 111"/>
                <a:gd name="T57" fmla="*/ 41 h 108"/>
                <a:gd name="T58" fmla="*/ 2 w 111"/>
                <a:gd name="T59" fmla="*/ 50 h 108"/>
                <a:gd name="T60" fmla="*/ 9 w 111"/>
                <a:gd name="T61" fmla="*/ 59 h 108"/>
                <a:gd name="T62" fmla="*/ 16 w 111"/>
                <a:gd name="T63" fmla="*/ 76 h 108"/>
                <a:gd name="T64" fmla="*/ 16 w 111"/>
                <a:gd name="T65" fmla="*/ 76 h 108"/>
                <a:gd name="T66" fmla="*/ 20 w 111"/>
                <a:gd name="T67" fmla="*/ 77 h 108"/>
                <a:gd name="T68" fmla="*/ 24 w 111"/>
                <a:gd name="T69" fmla="*/ 79 h 108"/>
                <a:gd name="T70" fmla="*/ 30 w 111"/>
                <a:gd name="T71" fmla="*/ 82 h 108"/>
                <a:gd name="T72" fmla="*/ 36 w 111"/>
                <a:gd name="T73" fmla="*/ 84 h 108"/>
                <a:gd name="T74" fmla="*/ 44 w 111"/>
                <a:gd name="T75" fmla="*/ 86 h 108"/>
                <a:gd name="T76" fmla="*/ 49 w 111"/>
                <a:gd name="T77" fmla="*/ 89 h 108"/>
                <a:gd name="T78" fmla="*/ 54 w 111"/>
                <a:gd name="T79" fmla="*/ 105 h 108"/>
                <a:gd name="T80" fmla="*/ 62 w 111"/>
                <a:gd name="T81" fmla="*/ 106 h 108"/>
                <a:gd name="T82" fmla="*/ 66 w 111"/>
                <a:gd name="T83" fmla="*/ 105 h 108"/>
                <a:gd name="T84" fmla="*/ 73 w 111"/>
                <a:gd name="T85" fmla="*/ 107 h 108"/>
                <a:gd name="T86" fmla="*/ 81 w 111"/>
                <a:gd name="T87" fmla="*/ 107 h 108"/>
                <a:gd name="T88" fmla="*/ 84 w 111"/>
                <a:gd name="T89" fmla="*/ 104 h 108"/>
                <a:gd name="T90" fmla="*/ 88 w 111"/>
                <a:gd name="T91" fmla="*/ 103 h 108"/>
                <a:gd name="T92" fmla="*/ 92 w 111"/>
                <a:gd name="T93" fmla="*/ 103 h 108"/>
                <a:gd name="T94" fmla="*/ 98 w 111"/>
                <a:gd name="T95" fmla="*/ 102 h 108"/>
                <a:gd name="T96" fmla="*/ 111 w 111"/>
                <a:gd name="T97"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108">
                  <a:moveTo>
                    <a:pt x="110" y="93"/>
                  </a:moveTo>
                  <a:cubicBezTo>
                    <a:pt x="109" y="93"/>
                    <a:pt x="109" y="93"/>
                    <a:pt x="108" y="93"/>
                  </a:cubicBezTo>
                  <a:cubicBezTo>
                    <a:pt x="107" y="92"/>
                    <a:pt x="107" y="94"/>
                    <a:pt x="106" y="92"/>
                  </a:cubicBezTo>
                  <a:cubicBezTo>
                    <a:pt x="105" y="91"/>
                    <a:pt x="105" y="91"/>
                    <a:pt x="103" y="91"/>
                  </a:cubicBezTo>
                  <a:cubicBezTo>
                    <a:pt x="104" y="89"/>
                    <a:pt x="102" y="87"/>
                    <a:pt x="102" y="85"/>
                  </a:cubicBezTo>
                  <a:cubicBezTo>
                    <a:pt x="102" y="84"/>
                    <a:pt x="103" y="83"/>
                    <a:pt x="103" y="83"/>
                  </a:cubicBezTo>
                  <a:cubicBezTo>
                    <a:pt x="103" y="82"/>
                    <a:pt x="101" y="81"/>
                    <a:pt x="101" y="80"/>
                  </a:cubicBezTo>
                  <a:cubicBezTo>
                    <a:pt x="100" y="79"/>
                    <a:pt x="100" y="77"/>
                    <a:pt x="100" y="76"/>
                  </a:cubicBezTo>
                  <a:cubicBezTo>
                    <a:pt x="99" y="74"/>
                    <a:pt x="99" y="73"/>
                    <a:pt x="100" y="72"/>
                  </a:cubicBezTo>
                  <a:cubicBezTo>
                    <a:pt x="101" y="69"/>
                    <a:pt x="100" y="68"/>
                    <a:pt x="100" y="66"/>
                  </a:cubicBezTo>
                  <a:cubicBezTo>
                    <a:pt x="99" y="64"/>
                    <a:pt x="100" y="62"/>
                    <a:pt x="102" y="60"/>
                  </a:cubicBezTo>
                  <a:cubicBezTo>
                    <a:pt x="102" y="59"/>
                    <a:pt x="97" y="55"/>
                    <a:pt x="96" y="54"/>
                  </a:cubicBezTo>
                  <a:cubicBezTo>
                    <a:pt x="95" y="53"/>
                    <a:pt x="94" y="50"/>
                    <a:pt x="94" y="49"/>
                  </a:cubicBezTo>
                  <a:cubicBezTo>
                    <a:pt x="95" y="46"/>
                    <a:pt x="96" y="42"/>
                    <a:pt x="98" y="39"/>
                  </a:cubicBezTo>
                  <a:cubicBezTo>
                    <a:pt x="98" y="39"/>
                    <a:pt x="98" y="38"/>
                    <a:pt x="98" y="37"/>
                  </a:cubicBezTo>
                  <a:cubicBezTo>
                    <a:pt x="98" y="37"/>
                    <a:pt x="98" y="37"/>
                    <a:pt x="98" y="37"/>
                  </a:cubicBezTo>
                  <a:cubicBezTo>
                    <a:pt x="98" y="37"/>
                    <a:pt x="98" y="37"/>
                    <a:pt x="98" y="37"/>
                  </a:cubicBezTo>
                  <a:cubicBezTo>
                    <a:pt x="96" y="36"/>
                    <a:pt x="95" y="35"/>
                    <a:pt x="94" y="34"/>
                  </a:cubicBezTo>
                  <a:cubicBezTo>
                    <a:pt x="93" y="34"/>
                    <a:pt x="93" y="34"/>
                    <a:pt x="93" y="34"/>
                  </a:cubicBezTo>
                  <a:cubicBezTo>
                    <a:pt x="93" y="34"/>
                    <a:pt x="92" y="33"/>
                    <a:pt x="92" y="33"/>
                  </a:cubicBezTo>
                  <a:cubicBezTo>
                    <a:pt x="91" y="32"/>
                    <a:pt x="91" y="32"/>
                    <a:pt x="91" y="32"/>
                  </a:cubicBezTo>
                  <a:cubicBezTo>
                    <a:pt x="91" y="32"/>
                    <a:pt x="90" y="32"/>
                    <a:pt x="90" y="32"/>
                  </a:cubicBezTo>
                  <a:cubicBezTo>
                    <a:pt x="89" y="31"/>
                    <a:pt x="89" y="31"/>
                    <a:pt x="89" y="31"/>
                  </a:cubicBezTo>
                  <a:cubicBezTo>
                    <a:pt x="87" y="29"/>
                    <a:pt x="84" y="27"/>
                    <a:pt x="82" y="25"/>
                  </a:cubicBezTo>
                  <a:cubicBezTo>
                    <a:pt x="81" y="25"/>
                    <a:pt x="81" y="25"/>
                    <a:pt x="81" y="25"/>
                  </a:cubicBezTo>
                  <a:cubicBezTo>
                    <a:pt x="81" y="24"/>
                    <a:pt x="81" y="23"/>
                    <a:pt x="81" y="22"/>
                  </a:cubicBezTo>
                  <a:cubicBezTo>
                    <a:pt x="81" y="22"/>
                    <a:pt x="81" y="22"/>
                    <a:pt x="81" y="22"/>
                  </a:cubicBezTo>
                  <a:cubicBezTo>
                    <a:pt x="81" y="21"/>
                    <a:pt x="81" y="21"/>
                    <a:pt x="81" y="21"/>
                  </a:cubicBezTo>
                  <a:cubicBezTo>
                    <a:pt x="81" y="21"/>
                    <a:pt x="81" y="21"/>
                    <a:pt x="81" y="21"/>
                  </a:cubicBezTo>
                  <a:cubicBezTo>
                    <a:pt x="81" y="21"/>
                    <a:pt x="81" y="21"/>
                    <a:pt x="81" y="21"/>
                  </a:cubicBezTo>
                  <a:cubicBezTo>
                    <a:pt x="79" y="22"/>
                    <a:pt x="79" y="22"/>
                    <a:pt x="79" y="22"/>
                  </a:cubicBezTo>
                  <a:cubicBezTo>
                    <a:pt x="80" y="20"/>
                    <a:pt x="80" y="20"/>
                    <a:pt x="80" y="20"/>
                  </a:cubicBezTo>
                  <a:cubicBezTo>
                    <a:pt x="80" y="20"/>
                    <a:pt x="80" y="20"/>
                    <a:pt x="80" y="20"/>
                  </a:cubicBezTo>
                  <a:cubicBezTo>
                    <a:pt x="80" y="20"/>
                    <a:pt x="79" y="20"/>
                    <a:pt x="79" y="19"/>
                  </a:cubicBezTo>
                  <a:cubicBezTo>
                    <a:pt x="79" y="19"/>
                    <a:pt x="78" y="18"/>
                    <a:pt x="77" y="18"/>
                  </a:cubicBezTo>
                  <a:cubicBezTo>
                    <a:pt x="72" y="15"/>
                    <a:pt x="67" y="12"/>
                    <a:pt x="62" y="9"/>
                  </a:cubicBezTo>
                  <a:cubicBezTo>
                    <a:pt x="56" y="6"/>
                    <a:pt x="51" y="3"/>
                    <a:pt x="45" y="0"/>
                  </a:cubicBezTo>
                  <a:cubicBezTo>
                    <a:pt x="45" y="1"/>
                    <a:pt x="45" y="2"/>
                    <a:pt x="45" y="2"/>
                  </a:cubicBezTo>
                  <a:cubicBezTo>
                    <a:pt x="44" y="2"/>
                    <a:pt x="44" y="2"/>
                    <a:pt x="43" y="2"/>
                  </a:cubicBezTo>
                  <a:cubicBezTo>
                    <a:pt x="44" y="3"/>
                    <a:pt x="44" y="3"/>
                    <a:pt x="45" y="4"/>
                  </a:cubicBezTo>
                  <a:cubicBezTo>
                    <a:pt x="44" y="4"/>
                    <a:pt x="43" y="3"/>
                    <a:pt x="42" y="4"/>
                  </a:cubicBezTo>
                  <a:cubicBezTo>
                    <a:pt x="42" y="4"/>
                    <a:pt x="42" y="3"/>
                    <a:pt x="42" y="5"/>
                  </a:cubicBezTo>
                  <a:cubicBezTo>
                    <a:pt x="42" y="5"/>
                    <a:pt x="42" y="5"/>
                    <a:pt x="42" y="6"/>
                  </a:cubicBezTo>
                  <a:cubicBezTo>
                    <a:pt x="41" y="7"/>
                    <a:pt x="38" y="6"/>
                    <a:pt x="38" y="8"/>
                  </a:cubicBezTo>
                  <a:cubicBezTo>
                    <a:pt x="39" y="8"/>
                    <a:pt x="39" y="8"/>
                    <a:pt x="40" y="8"/>
                  </a:cubicBezTo>
                  <a:cubicBezTo>
                    <a:pt x="40" y="8"/>
                    <a:pt x="39" y="9"/>
                    <a:pt x="39" y="9"/>
                  </a:cubicBezTo>
                  <a:cubicBezTo>
                    <a:pt x="39" y="9"/>
                    <a:pt x="38" y="9"/>
                    <a:pt x="37" y="9"/>
                  </a:cubicBezTo>
                  <a:cubicBezTo>
                    <a:pt x="36" y="11"/>
                    <a:pt x="42" y="10"/>
                    <a:pt x="43" y="10"/>
                  </a:cubicBezTo>
                  <a:cubicBezTo>
                    <a:pt x="42" y="11"/>
                    <a:pt x="40" y="14"/>
                    <a:pt x="39" y="14"/>
                  </a:cubicBezTo>
                  <a:cubicBezTo>
                    <a:pt x="39" y="15"/>
                    <a:pt x="38" y="14"/>
                    <a:pt x="38" y="14"/>
                  </a:cubicBezTo>
                  <a:cubicBezTo>
                    <a:pt x="38" y="14"/>
                    <a:pt x="37" y="14"/>
                    <a:pt x="37" y="14"/>
                  </a:cubicBezTo>
                  <a:cubicBezTo>
                    <a:pt x="36" y="14"/>
                    <a:pt x="36" y="13"/>
                    <a:pt x="35" y="13"/>
                  </a:cubicBezTo>
                  <a:cubicBezTo>
                    <a:pt x="34" y="13"/>
                    <a:pt x="34" y="13"/>
                    <a:pt x="34" y="14"/>
                  </a:cubicBezTo>
                  <a:cubicBezTo>
                    <a:pt x="34" y="14"/>
                    <a:pt x="34" y="15"/>
                    <a:pt x="34" y="15"/>
                  </a:cubicBezTo>
                  <a:cubicBezTo>
                    <a:pt x="34" y="16"/>
                    <a:pt x="34" y="16"/>
                    <a:pt x="34" y="16"/>
                  </a:cubicBezTo>
                  <a:cubicBezTo>
                    <a:pt x="34" y="17"/>
                    <a:pt x="33" y="18"/>
                    <a:pt x="32" y="19"/>
                  </a:cubicBezTo>
                  <a:cubicBezTo>
                    <a:pt x="32" y="19"/>
                    <a:pt x="32" y="18"/>
                    <a:pt x="33" y="18"/>
                  </a:cubicBezTo>
                  <a:cubicBezTo>
                    <a:pt x="33" y="18"/>
                    <a:pt x="32" y="18"/>
                    <a:pt x="32" y="18"/>
                  </a:cubicBezTo>
                  <a:cubicBezTo>
                    <a:pt x="34" y="17"/>
                    <a:pt x="33" y="17"/>
                    <a:pt x="33" y="16"/>
                  </a:cubicBezTo>
                  <a:cubicBezTo>
                    <a:pt x="33" y="15"/>
                    <a:pt x="33" y="15"/>
                    <a:pt x="33" y="14"/>
                  </a:cubicBezTo>
                  <a:cubicBezTo>
                    <a:pt x="33" y="14"/>
                    <a:pt x="32" y="14"/>
                    <a:pt x="32" y="14"/>
                  </a:cubicBezTo>
                  <a:cubicBezTo>
                    <a:pt x="32" y="14"/>
                    <a:pt x="32" y="13"/>
                    <a:pt x="31" y="13"/>
                  </a:cubicBezTo>
                  <a:cubicBezTo>
                    <a:pt x="31" y="13"/>
                    <a:pt x="31" y="14"/>
                    <a:pt x="30" y="15"/>
                  </a:cubicBezTo>
                  <a:cubicBezTo>
                    <a:pt x="30" y="14"/>
                    <a:pt x="30" y="14"/>
                    <a:pt x="29" y="13"/>
                  </a:cubicBezTo>
                  <a:cubicBezTo>
                    <a:pt x="28" y="13"/>
                    <a:pt x="28" y="12"/>
                    <a:pt x="27" y="11"/>
                  </a:cubicBezTo>
                  <a:cubicBezTo>
                    <a:pt x="27" y="12"/>
                    <a:pt x="26" y="12"/>
                    <a:pt x="25" y="13"/>
                  </a:cubicBezTo>
                  <a:cubicBezTo>
                    <a:pt x="25" y="13"/>
                    <a:pt x="26" y="14"/>
                    <a:pt x="26" y="14"/>
                  </a:cubicBezTo>
                  <a:cubicBezTo>
                    <a:pt x="25" y="14"/>
                    <a:pt x="25" y="14"/>
                    <a:pt x="25" y="14"/>
                  </a:cubicBezTo>
                  <a:cubicBezTo>
                    <a:pt x="24" y="14"/>
                    <a:pt x="25" y="15"/>
                    <a:pt x="24" y="15"/>
                  </a:cubicBezTo>
                  <a:cubicBezTo>
                    <a:pt x="24" y="15"/>
                    <a:pt x="25" y="16"/>
                    <a:pt x="25" y="16"/>
                  </a:cubicBezTo>
                  <a:cubicBezTo>
                    <a:pt x="25" y="17"/>
                    <a:pt x="24" y="16"/>
                    <a:pt x="24" y="15"/>
                  </a:cubicBezTo>
                  <a:cubicBezTo>
                    <a:pt x="23" y="16"/>
                    <a:pt x="23" y="16"/>
                    <a:pt x="23" y="17"/>
                  </a:cubicBezTo>
                  <a:cubicBezTo>
                    <a:pt x="23" y="15"/>
                    <a:pt x="22" y="14"/>
                    <a:pt x="22" y="12"/>
                  </a:cubicBezTo>
                  <a:cubicBezTo>
                    <a:pt x="21" y="11"/>
                    <a:pt x="21" y="10"/>
                    <a:pt x="21" y="9"/>
                  </a:cubicBezTo>
                  <a:cubicBezTo>
                    <a:pt x="21" y="8"/>
                    <a:pt x="21" y="8"/>
                    <a:pt x="22" y="8"/>
                  </a:cubicBezTo>
                  <a:cubicBezTo>
                    <a:pt x="22" y="5"/>
                    <a:pt x="23" y="2"/>
                    <a:pt x="23" y="0"/>
                  </a:cubicBezTo>
                  <a:cubicBezTo>
                    <a:pt x="23" y="0"/>
                    <a:pt x="23" y="0"/>
                    <a:pt x="23" y="0"/>
                  </a:cubicBezTo>
                  <a:cubicBezTo>
                    <a:pt x="18" y="0"/>
                    <a:pt x="14" y="0"/>
                    <a:pt x="11" y="0"/>
                  </a:cubicBezTo>
                  <a:cubicBezTo>
                    <a:pt x="13" y="3"/>
                    <a:pt x="13" y="3"/>
                    <a:pt x="13" y="3"/>
                  </a:cubicBezTo>
                  <a:cubicBezTo>
                    <a:pt x="14" y="4"/>
                    <a:pt x="14" y="5"/>
                    <a:pt x="14" y="6"/>
                  </a:cubicBezTo>
                  <a:cubicBezTo>
                    <a:pt x="14" y="6"/>
                    <a:pt x="14" y="7"/>
                    <a:pt x="14" y="8"/>
                  </a:cubicBezTo>
                  <a:cubicBezTo>
                    <a:pt x="14" y="8"/>
                    <a:pt x="14" y="8"/>
                    <a:pt x="14" y="8"/>
                  </a:cubicBezTo>
                  <a:cubicBezTo>
                    <a:pt x="14" y="8"/>
                    <a:pt x="14" y="8"/>
                    <a:pt x="14" y="8"/>
                  </a:cubicBezTo>
                  <a:cubicBezTo>
                    <a:pt x="14" y="8"/>
                    <a:pt x="15" y="9"/>
                    <a:pt x="15" y="9"/>
                  </a:cubicBezTo>
                  <a:cubicBezTo>
                    <a:pt x="15" y="10"/>
                    <a:pt x="15" y="11"/>
                    <a:pt x="14" y="12"/>
                  </a:cubicBezTo>
                  <a:cubicBezTo>
                    <a:pt x="14" y="12"/>
                    <a:pt x="14" y="13"/>
                    <a:pt x="14" y="13"/>
                  </a:cubicBezTo>
                  <a:cubicBezTo>
                    <a:pt x="13" y="13"/>
                    <a:pt x="13" y="13"/>
                    <a:pt x="13" y="13"/>
                  </a:cubicBezTo>
                  <a:cubicBezTo>
                    <a:pt x="13" y="14"/>
                    <a:pt x="13" y="14"/>
                    <a:pt x="13" y="14"/>
                  </a:cubicBezTo>
                  <a:cubicBezTo>
                    <a:pt x="13" y="14"/>
                    <a:pt x="13" y="14"/>
                    <a:pt x="13" y="14"/>
                  </a:cubicBezTo>
                  <a:cubicBezTo>
                    <a:pt x="13" y="14"/>
                    <a:pt x="13" y="14"/>
                    <a:pt x="13" y="14"/>
                  </a:cubicBezTo>
                  <a:cubicBezTo>
                    <a:pt x="13" y="14"/>
                    <a:pt x="13" y="14"/>
                    <a:pt x="13" y="14"/>
                  </a:cubicBezTo>
                  <a:cubicBezTo>
                    <a:pt x="13" y="15"/>
                    <a:pt x="13" y="15"/>
                    <a:pt x="13" y="15"/>
                  </a:cubicBezTo>
                  <a:cubicBezTo>
                    <a:pt x="14" y="16"/>
                    <a:pt x="14" y="16"/>
                    <a:pt x="14" y="16"/>
                  </a:cubicBezTo>
                  <a:cubicBezTo>
                    <a:pt x="15" y="16"/>
                    <a:pt x="15" y="16"/>
                    <a:pt x="15" y="16"/>
                  </a:cubicBezTo>
                  <a:cubicBezTo>
                    <a:pt x="15" y="17"/>
                    <a:pt x="15" y="17"/>
                    <a:pt x="15" y="17"/>
                  </a:cubicBezTo>
                  <a:cubicBezTo>
                    <a:pt x="15" y="17"/>
                    <a:pt x="16" y="20"/>
                    <a:pt x="16" y="21"/>
                  </a:cubicBezTo>
                  <a:cubicBezTo>
                    <a:pt x="16" y="22"/>
                    <a:pt x="16" y="22"/>
                    <a:pt x="16" y="22"/>
                  </a:cubicBezTo>
                  <a:cubicBezTo>
                    <a:pt x="15" y="22"/>
                    <a:pt x="15" y="23"/>
                    <a:pt x="15" y="23"/>
                  </a:cubicBezTo>
                  <a:cubicBezTo>
                    <a:pt x="15" y="23"/>
                    <a:pt x="15" y="24"/>
                    <a:pt x="15" y="24"/>
                  </a:cubicBezTo>
                  <a:cubicBezTo>
                    <a:pt x="15" y="24"/>
                    <a:pt x="15" y="24"/>
                    <a:pt x="15" y="24"/>
                  </a:cubicBezTo>
                  <a:cubicBezTo>
                    <a:pt x="14" y="25"/>
                    <a:pt x="14" y="25"/>
                    <a:pt x="14" y="25"/>
                  </a:cubicBezTo>
                  <a:cubicBezTo>
                    <a:pt x="14" y="25"/>
                    <a:pt x="14" y="25"/>
                    <a:pt x="14" y="25"/>
                  </a:cubicBezTo>
                  <a:cubicBezTo>
                    <a:pt x="13" y="26"/>
                    <a:pt x="13" y="26"/>
                    <a:pt x="13" y="26"/>
                  </a:cubicBezTo>
                  <a:cubicBezTo>
                    <a:pt x="13" y="26"/>
                    <a:pt x="12" y="26"/>
                    <a:pt x="12" y="27"/>
                  </a:cubicBezTo>
                  <a:cubicBezTo>
                    <a:pt x="12" y="28"/>
                    <a:pt x="12" y="29"/>
                    <a:pt x="12" y="30"/>
                  </a:cubicBezTo>
                  <a:cubicBezTo>
                    <a:pt x="11" y="31"/>
                    <a:pt x="11" y="31"/>
                    <a:pt x="11" y="31"/>
                  </a:cubicBezTo>
                  <a:cubicBezTo>
                    <a:pt x="10" y="32"/>
                    <a:pt x="10" y="33"/>
                    <a:pt x="8" y="34"/>
                  </a:cubicBezTo>
                  <a:cubicBezTo>
                    <a:pt x="8" y="35"/>
                    <a:pt x="8" y="35"/>
                    <a:pt x="5" y="35"/>
                  </a:cubicBezTo>
                  <a:cubicBezTo>
                    <a:pt x="4" y="35"/>
                    <a:pt x="4" y="35"/>
                    <a:pt x="3" y="35"/>
                  </a:cubicBezTo>
                  <a:cubicBezTo>
                    <a:pt x="3" y="35"/>
                    <a:pt x="3" y="35"/>
                    <a:pt x="3" y="35"/>
                  </a:cubicBezTo>
                  <a:cubicBezTo>
                    <a:pt x="2" y="36"/>
                    <a:pt x="2" y="36"/>
                    <a:pt x="2" y="36"/>
                  </a:cubicBezTo>
                  <a:cubicBezTo>
                    <a:pt x="1" y="37"/>
                    <a:pt x="1" y="37"/>
                    <a:pt x="1" y="37"/>
                  </a:cubicBezTo>
                  <a:cubicBezTo>
                    <a:pt x="0" y="36"/>
                    <a:pt x="0" y="36"/>
                    <a:pt x="0" y="36"/>
                  </a:cubicBezTo>
                  <a:cubicBezTo>
                    <a:pt x="0" y="37"/>
                    <a:pt x="0" y="38"/>
                    <a:pt x="0" y="39"/>
                  </a:cubicBezTo>
                  <a:cubicBezTo>
                    <a:pt x="0" y="39"/>
                    <a:pt x="1" y="39"/>
                    <a:pt x="1" y="39"/>
                  </a:cubicBezTo>
                  <a:cubicBezTo>
                    <a:pt x="2" y="40"/>
                    <a:pt x="2" y="41"/>
                    <a:pt x="2" y="41"/>
                  </a:cubicBezTo>
                  <a:cubicBezTo>
                    <a:pt x="2" y="42"/>
                    <a:pt x="2" y="43"/>
                    <a:pt x="2" y="44"/>
                  </a:cubicBezTo>
                  <a:cubicBezTo>
                    <a:pt x="2" y="45"/>
                    <a:pt x="3" y="46"/>
                    <a:pt x="3" y="47"/>
                  </a:cubicBezTo>
                  <a:cubicBezTo>
                    <a:pt x="4" y="48"/>
                    <a:pt x="4" y="48"/>
                    <a:pt x="3" y="49"/>
                  </a:cubicBezTo>
                  <a:cubicBezTo>
                    <a:pt x="3" y="50"/>
                    <a:pt x="2" y="50"/>
                    <a:pt x="2" y="50"/>
                  </a:cubicBezTo>
                  <a:cubicBezTo>
                    <a:pt x="2" y="52"/>
                    <a:pt x="1" y="52"/>
                    <a:pt x="2" y="53"/>
                  </a:cubicBezTo>
                  <a:cubicBezTo>
                    <a:pt x="2" y="53"/>
                    <a:pt x="3" y="55"/>
                    <a:pt x="4" y="55"/>
                  </a:cubicBezTo>
                  <a:cubicBezTo>
                    <a:pt x="4" y="55"/>
                    <a:pt x="5" y="54"/>
                    <a:pt x="5" y="54"/>
                  </a:cubicBezTo>
                  <a:cubicBezTo>
                    <a:pt x="7" y="55"/>
                    <a:pt x="8" y="58"/>
                    <a:pt x="9" y="59"/>
                  </a:cubicBezTo>
                  <a:cubicBezTo>
                    <a:pt x="10" y="60"/>
                    <a:pt x="11" y="61"/>
                    <a:pt x="11" y="63"/>
                  </a:cubicBezTo>
                  <a:cubicBezTo>
                    <a:pt x="12" y="66"/>
                    <a:pt x="14" y="70"/>
                    <a:pt x="15" y="74"/>
                  </a:cubicBezTo>
                  <a:cubicBezTo>
                    <a:pt x="16" y="74"/>
                    <a:pt x="16" y="75"/>
                    <a:pt x="16" y="75"/>
                  </a:cubicBezTo>
                  <a:cubicBezTo>
                    <a:pt x="16" y="76"/>
                    <a:pt x="16" y="76"/>
                    <a:pt x="16" y="76"/>
                  </a:cubicBezTo>
                  <a:cubicBezTo>
                    <a:pt x="15" y="76"/>
                    <a:pt x="15" y="76"/>
                    <a:pt x="15" y="76"/>
                  </a:cubicBezTo>
                  <a:cubicBezTo>
                    <a:pt x="15" y="76"/>
                    <a:pt x="16" y="76"/>
                    <a:pt x="16" y="77"/>
                  </a:cubicBezTo>
                  <a:cubicBezTo>
                    <a:pt x="16" y="76"/>
                    <a:pt x="16" y="76"/>
                    <a:pt x="16" y="76"/>
                  </a:cubicBezTo>
                  <a:cubicBezTo>
                    <a:pt x="16" y="76"/>
                    <a:pt x="16" y="76"/>
                    <a:pt x="16" y="76"/>
                  </a:cubicBezTo>
                  <a:cubicBezTo>
                    <a:pt x="17" y="76"/>
                    <a:pt x="18" y="76"/>
                    <a:pt x="19" y="76"/>
                  </a:cubicBezTo>
                  <a:cubicBezTo>
                    <a:pt x="20" y="74"/>
                    <a:pt x="20" y="74"/>
                    <a:pt x="20" y="74"/>
                  </a:cubicBezTo>
                  <a:cubicBezTo>
                    <a:pt x="19" y="77"/>
                    <a:pt x="19" y="77"/>
                    <a:pt x="19" y="77"/>
                  </a:cubicBezTo>
                  <a:cubicBezTo>
                    <a:pt x="20" y="77"/>
                    <a:pt x="20" y="77"/>
                    <a:pt x="20" y="77"/>
                  </a:cubicBezTo>
                  <a:cubicBezTo>
                    <a:pt x="20" y="77"/>
                    <a:pt x="21" y="78"/>
                    <a:pt x="22" y="78"/>
                  </a:cubicBezTo>
                  <a:cubicBezTo>
                    <a:pt x="23" y="78"/>
                    <a:pt x="23" y="79"/>
                    <a:pt x="24" y="79"/>
                  </a:cubicBezTo>
                  <a:cubicBezTo>
                    <a:pt x="25" y="77"/>
                    <a:pt x="25" y="77"/>
                    <a:pt x="25" y="77"/>
                  </a:cubicBezTo>
                  <a:cubicBezTo>
                    <a:pt x="24" y="79"/>
                    <a:pt x="24" y="79"/>
                    <a:pt x="24" y="79"/>
                  </a:cubicBezTo>
                  <a:cubicBezTo>
                    <a:pt x="24" y="79"/>
                    <a:pt x="24" y="79"/>
                    <a:pt x="24" y="79"/>
                  </a:cubicBezTo>
                  <a:cubicBezTo>
                    <a:pt x="24" y="79"/>
                    <a:pt x="25" y="79"/>
                    <a:pt x="25" y="80"/>
                  </a:cubicBezTo>
                  <a:cubicBezTo>
                    <a:pt x="25" y="80"/>
                    <a:pt x="25" y="80"/>
                    <a:pt x="25" y="80"/>
                  </a:cubicBezTo>
                  <a:cubicBezTo>
                    <a:pt x="26" y="81"/>
                    <a:pt x="29" y="81"/>
                    <a:pt x="30" y="82"/>
                  </a:cubicBezTo>
                  <a:cubicBezTo>
                    <a:pt x="32" y="82"/>
                    <a:pt x="33" y="82"/>
                    <a:pt x="34" y="83"/>
                  </a:cubicBezTo>
                  <a:cubicBezTo>
                    <a:pt x="34" y="83"/>
                    <a:pt x="34" y="83"/>
                    <a:pt x="35" y="83"/>
                  </a:cubicBezTo>
                  <a:cubicBezTo>
                    <a:pt x="35" y="83"/>
                    <a:pt x="35" y="83"/>
                    <a:pt x="35" y="83"/>
                  </a:cubicBezTo>
                  <a:cubicBezTo>
                    <a:pt x="36" y="84"/>
                    <a:pt x="36" y="84"/>
                    <a:pt x="36" y="84"/>
                  </a:cubicBezTo>
                  <a:cubicBezTo>
                    <a:pt x="38" y="84"/>
                    <a:pt x="40" y="85"/>
                    <a:pt x="41" y="85"/>
                  </a:cubicBezTo>
                  <a:cubicBezTo>
                    <a:pt x="42" y="85"/>
                    <a:pt x="42" y="86"/>
                    <a:pt x="43" y="86"/>
                  </a:cubicBezTo>
                  <a:cubicBezTo>
                    <a:pt x="43" y="86"/>
                    <a:pt x="43" y="86"/>
                    <a:pt x="43" y="86"/>
                  </a:cubicBezTo>
                  <a:cubicBezTo>
                    <a:pt x="43" y="86"/>
                    <a:pt x="44" y="86"/>
                    <a:pt x="44" y="86"/>
                  </a:cubicBezTo>
                  <a:cubicBezTo>
                    <a:pt x="45" y="87"/>
                    <a:pt x="45" y="87"/>
                    <a:pt x="45" y="87"/>
                  </a:cubicBezTo>
                  <a:cubicBezTo>
                    <a:pt x="45" y="87"/>
                    <a:pt x="45" y="87"/>
                    <a:pt x="45" y="87"/>
                  </a:cubicBezTo>
                  <a:cubicBezTo>
                    <a:pt x="45" y="86"/>
                    <a:pt x="45" y="86"/>
                    <a:pt x="45" y="86"/>
                  </a:cubicBezTo>
                  <a:cubicBezTo>
                    <a:pt x="46" y="85"/>
                    <a:pt x="48" y="88"/>
                    <a:pt x="49" y="89"/>
                  </a:cubicBezTo>
                  <a:cubicBezTo>
                    <a:pt x="50" y="90"/>
                    <a:pt x="50" y="90"/>
                    <a:pt x="51" y="91"/>
                  </a:cubicBezTo>
                  <a:cubicBezTo>
                    <a:pt x="51" y="94"/>
                    <a:pt x="51" y="96"/>
                    <a:pt x="51" y="99"/>
                  </a:cubicBezTo>
                  <a:cubicBezTo>
                    <a:pt x="51" y="101"/>
                    <a:pt x="53" y="104"/>
                    <a:pt x="54" y="106"/>
                  </a:cubicBezTo>
                  <a:cubicBezTo>
                    <a:pt x="54" y="105"/>
                    <a:pt x="54" y="105"/>
                    <a:pt x="54" y="105"/>
                  </a:cubicBezTo>
                  <a:cubicBezTo>
                    <a:pt x="55" y="106"/>
                    <a:pt x="55" y="106"/>
                    <a:pt x="55" y="106"/>
                  </a:cubicBezTo>
                  <a:cubicBezTo>
                    <a:pt x="57" y="106"/>
                    <a:pt x="61" y="106"/>
                    <a:pt x="61" y="106"/>
                  </a:cubicBezTo>
                  <a:cubicBezTo>
                    <a:pt x="61" y="106"/>
                    <a:pt x="61" y="106"/>
                    <a:pt x="61" y="106"/>
                  </a:cubicBezTo>
                  <a:cubicBezTo>
                    <a:pt x="62" y="106"/>
                    <a:pt x="62" y="106"/>
                    <a:pt x="62" y="106"/>
                  </a:cubicBezTo>
                  <a:cubicBezTo>
                    <a:pt x="63" y="105"/>
                    <a:pt x="64" y="104"/>
                    <a:pt x="65" y="105"/>
                  </a:cubicBezTo>
                  <a:cubicBezTo>
                    <a:pt x="66" y="105"/>
                    <a:pt x="66" y="105"/>
                    <a:pt x="66" y="105"/>
                  </a:cubicBezTo>
                  <a:cubicBezTo>
                    <a:pt x="66" y="105"/>
                    <a:pt x="66" y="105"/>
                    <a:pt x="66" y="105"/>
                  </a:cubicBezTo>
                  <a:cubicBezTo>
                    <a:pt x="66" y="105"/>
                    <a:pt x="66" y="105"/>
                    <a:pt x="66" y="105"/>
                  </a:cubicBezTo>
                  <a:cubicBezTo>
                    <a:pt x="67" y="106"/>
                    <a:pt x="67" y="106"/>
                    <a:pt x="67" y="106"/>
                  </a:cubicBezTo>
                  <a:cubicBezTo>
                    <a:pt x="68" y="106"/>
                    <a:pt x="68" y="106"/>
                    <a:pt x="68" y="106"/>
                  </a:cubicBezTo>
                  <a:cubicBezTo>
                    <a:pt x="69" y="107"/>
                    <a:pt x="71" y="108"/>
                    <a:pt x="72" y="107"/>
                  </a:cubicBezTo>
                  <a:cubicBezTo>
                    <a:pt x="72" y="107"/>
                    <a:pt x="73" y="107"/>
                    <a:pt x="73" y="107"/>
                  </a:cubicBezTo>
                  <a:cubicBezTo>
                    <a:pt x="74" y="107"/>
                    <a:pt x="74" y="106"/>
                    <a:pt x="74" y="106"/>
                  </a:cubicBezTo>
                  <a:cubicBezTo>
                    <a:pt x="76" y="106"/>
                    <a:pt x="78" y="106"/>
                    <a:pt x="79" y="107"/>
                  </a:cubicBezTo>
                  <a:cubicBezTo>
                    <a:pt x="80" y="107"/>
                    <a:pt x="80" y="107"/>
                    <a:pt x="80" y="107"/>
                  </a:cubicBezTo>
                  <a:cubicBezTo>
                    <a:pt x="81" y="107"/>
                    <a:pt x="81" y="107"/>
                    <a:pt x="81" y="107"/>
                  </a:cubicBezTo>
                  <a:cubicBezTo>
                    <a:pt x="82" y="107"/>
                    <a:pt x="82" y="106"/>
                    <a:pt x="83" y="106"/>
                  </a:cubicBezTo>
                  <a:cubicBezTo>
                    <a:pt x="83" y="106"/>
                    <a:pt x="83" y="106"/>
                    <a:pt x="83" y="106"/>
                  </a:cubicBezTo>
                  <a:cubicBezTo>
                    <a:pt x="83" y="106"/>
                    <a:pt x="83" y="105"/>
                    <a:pt x="83" y="105"/>
                  </a:cubicBezTo>
                  <a:cubicBezTo>
                    <a:pt x="83" y="105"/>
                    <a:pt x="84" y="104"/>
                    <a:pt x="84" y="104"/>
                  </a:cubicBezTo>
                  <a:cubicBezTo>
                    <a:pt x="82" y="102"/>
                    <a:pt x="82" y="102"/>
                    <a:pt x="82" y="102"/>
                  </a:cubicBezTo>
                  <a:cubicBezTo>
                    <a:pt x="84" y="104"/>
                    <a:pt x="84" y="104"/>
                    <a:pt x="84" y="104"/>
                  </a:cubicBezTo>
                  <a:cubicBezTo>
                    <a:pt x="85" y="104"/>
                    <a:pt x="85" y="104"/>
                    <a:pt x="85" y="104"/>
                  </a:cubicBezTo>
                  <a:cubicBezTo>
                    <a:pt x="86" y="103"/>
                    <a:pt x="87" y="103"/>
                    <a:pt x="88" y="103"/>
                  </a:cubicBezTo>
                  <a:cubicBezTo>
                    <a:pt x="90" y="104"/>
                    <a:pt x="90" y="104"/>
                    <a:pt x="91" y="104"/>
                  </a:cubicBezTo>
                  <a:cubicBezTo>
                    <a:pt x="91" y="104"/>
                    <a:pt x="91" y="104"/>
                    <a:pt x="91" y="104"/>
                  </a:cubicBezTo>
                  <a:cubicBezTo>
                    <a:pt x="92" y="104"/>
                    <a:pt x="92" y="104"/>
                    <a:pt x="92" y="104"/>
                  </a:cubicBezTo>
                  <a:cubicBezTo>
                    <a:pt x="92" y="104"/>
                    <a:pt x="92" y="103"/>
                    <a:pt x="92" y="103"/>
                  </a:cubicBezTo>
                  <a:cubicBezTo>
                    <a:pt x="92" y="103"/>
                    <a:pt x="92" y="103"/>
                    <a:pt x="92" y="103"/>
                  </a:cubicBezTo>
                  <a:cubicBezTo>
                    <a:pt x="94" y="102"/>
                    <a:pt x="95" y="102"/>
                    <a:pt x="97" y="102"/>
                  </a:cubicBezTo>
                  <a:cubicBezTo>
                    <a:pt x="97" y="102"/>
                    <a:pt x="97" y="102"/>
                    <a:pt x="97" y="102"/>
                  </a:cubicBezTo>
                  <a:cubicBezTo>
                    <a:pt x="98" y="102"/>
                    <a:pt x="98" y="102"/>
                    <a:pt x="98" y="102"/>
                  </a:cubicBezTo>
                  <a:cubicBezTo>
                    <a:pt x="98" y="102"/>
                    <a:pt x="98" y="102"/>
                    <a:pt x="98" y="102"/>
                  </a:cubicBezTo>
                  <a:cubicBezTo>
                    <a:pt x="99" y="102"/>
                    <a:pt x="99" y="101"/>
                    <a:pt x="99" y="101"/>
                  </a:cubicBezTo>
                  <a:cubicBezTo>
                    <a:pt x="102" y="100"/>
                    <a:pt x="105" y="99"/>
                    <a:pt x="107" y="97"/>
                  </a:cubicBezTo>
                  <a:cubicBezTo>
                    <a:pt x="111" y="94"/>
                    <a:pt x="111" y="94"/>
                    <a:pt x="111" y="94"/>
                  </a:cubicBezTo>
                  <a:cubicBezTo>
                    <a:pt x="111" y="95"/>
                    <a:pt x="111" y="95"/>
                    <a:pt x="111" y="95"/>
                  </a:cubicBezTo>
                  <a:cubicBezTo>
                    <a:pt x="110" y="94"/>
                    <a:pt x="110" y="93"/>
                    <a:pt x="11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8" name="Freeform 3213">
              <a:extLst>
                <a:ext uri="{FF2B5EF4-FFF2-40B4-BE49-F238E27FC236}">
                  <a16:creationId xmlns:a16="http://schemas.microsoft.com/office/drawing/2014/main" id="{CCE0B501-DA67-4648-AC2E-5D70E52ED090}"/>
                </a:ext>
              </a:extLst>
            </p:cNvPr>
            <p:cNvSpPr>
              <a:spLocks/>
            </p:cNvSpPr>
            <p:nvPr/>
          </p:nvSpPr>
          <p:spPr bwMode="auto">
            <a:xfrm>
              <a:off x="4370" y="2667"/>
              <a:ext cx="184" cy="220"/>
            </a:xfrm>
            <a:custGeom>
              <a:avLst/>
              <a:gdLst>
                <a:gd name="T0" fmla="*/ 72 w 78"/>
                <a:gd name="T1" fmla="*/ 57 h 93"/>
                <a:gd name="T2" fmla="*/ 70 w 78"/>
                <a:gd name="T3" fmla="*/ 50 h 93"/>
                <a:gd name="T4" fmla="*/ 70 w 78"/>
                <a:gd name="T5" fmla="*/ 36 h 93"/>
                <a:gd name="T6" fmla="*/ 70 w 78"/>
                <a:gd name="T7" fmla="*/ 20 h 93"/>
                <a:gd name="T8" fmla="*/ 72 w 78"/>
                <a:gd name="T9" fmla="*/ 15 h 93"/>
                <a:gd name="T10" fmla="*/ 73 w 78"/>
                <a:gd name="T11" fmla="*/ 14 h 93"/>
                <a:gd name="T12" fmla="*/ 75 w 78"/>
                <a:gd name="T13" fmla="*/ 7 h 93"/>
                <a:gd name="T14" fmla="*/ 73 w 78"/>
                <a:gd name="T15" fmla="*/ 7 h 93"/>
                <a:gd name="T16" fmla="*/ 62 w 78"/>
                <a:gd name="T17" fmla="*/ 7 h 93"/>
                <a:gd name="T18" fmla="*/ 57 w 78"/>
                <a:gd name="T19" fmla="*/ 13 h 93"/>
                <a:gd name="T20" fmla="*/ 56 w 78"/>
                <a:gd name="T21" fmla="*/ 13 h 93"/>
                <a:gd name="T22" fmla="*/ 55 w 78"/>
                <a:gd name="T23" fmla="*/ 12 h 93"/>
                <a:gd name="T24" fmla="*/ 49 w 78"/>
                <a:gd name="T25" fmla="*/ 12 h 93"/>
                <a:gd name="T26" fmla="*/ 40 w 78"/>
                <a:gd name="T27" fmla="*/ 9 h 93"/>
                <a:gd name="T28" fmla="*/ 35 w 78"/>
                <a:gd name="T29" fmla="*/ 6 h 93"/>
                <a:gd name="T30" fmla="*/ 31 w 78"/>
                <a:gd name="T31" fmla="*/ 4 h 93"/>
                <a:gd name="T32" fmla="*/ 30 w 78"/>
                <a:gd name="T33" fmla="*/ 3 h 93"/>
                <a:gd name="T34" fmla="*/ 27 w 78"/>
                <a:gd name="T35" fmla="*/ 2 h 93"/>
                <a:gd name="T36" fmla="*/ 18 w 78"/>
                <a:gd name="T37" fmla="*/ 0 h 93"/>
                <a:gd name="T38" fmla="*/ 3 w 78"/>
                <a:gd name="T39" fmla="*/ 2 h 93"/>
                <a:gd name="T40" fmla="*/ 2 w 78"/>
                <a:gd name="T41" fmla="*/ 4 h 93"/>
                <a:gd name="T42" fmla="*/ 2 w 78"/>
                <a:gd name="T43" fmla="*/ 5 h 93"/>
                <a:gd name="T44" fmla="*/ 3 w 78"/>
                <a:gd name="T45" fmla="*/ 7 h 93"/>
                <a:gd name="T46" fmla="*/ 5 w 78"/>
                <a:gd name="T47" fmla="*/ 8 h 93"/>
                <a:gd name="T48" fmla="*/ 6 w 78"/>
                <a:gd name="T49" fmla="*/ 9 h 93"/>
                <a:gd name="T50" fmla="*/ 7 w 78"/>
                <a:gd name="T51" fmla="*/ 14 h 93"/>
                <a:gd name="T52" fmla="*/ 9 w 78"/>
                <a:gd name="T53" fmla="*/ 17 h 93"/>
                <a:gd name="T54" fmla="*/ 14 w 78"/>
                <a:gd name="T55" fmla="*/ 24 h 93"/>
                <a:gd name="T56" fmla="*/ 12 w 78"/>
                <a:gd name="T57" fmla="*/ 26 h 93"/>
                <a:gd name="T58" fmla="*/ 10 w 78"/>
                <a:gd name="T59" fmla="*/ 31 h 93"/>
                <a:gd name="T60" fmla="*/ 10 w 78"/>
                <a:gd name="T61" fmla="*/ 32 h 93"/>
                <a:gd name="T62" fmla="*/ 8 w 78"/>
                <a:gd name="T63" fmla="*/ 36 h 93"/>
                <a:gd name="T64" fmla="*/ 6 w 78"/>
                <a:gd name="T65" fmla="*/ 37 h 93"/>
                <a:gd name="T66" fmla="*/ 5 w 78"/>
                <a:gd name="T67" fmla="*/ 38 h 93"/>
                <a:gd name="T68" fmla="*/ 4 w 78"/>
                <a:gd name="T69" fmla="*/ 40 h 93"/>
                <a:gd name="T70" fmla="*/ 1 w 78"/>
                <a:gd name="T71" fmla="*/ 44 h 93"/>
                <a:gd name="T72" fmla="*/ 1 w 78"/>
                <a:gd name="T73" fmla="*/ 45 h 93"/>
                <a:gd name="T74" fmla="*/ 0 w 78"/>
                <a:gd name="T75" fmla="*/ 46 h 93"/>
                <a:gd name="T76" fmla="*/ 3 w 78"/>
                <a:gd name="T77" fmla="*/ 50 h 93"/>
                <a:gd name="T78" fmla="*/ 9 w 78"/>
                <a:gd name="T79" fmla="*/ 49 h 93"/>
                <a:gd name="T80" fmla="*/ 6 w 78"/>
                <a:gd name="T81" fmla="*/ 50 h 93"/>
                <a:gd name="T82" fmla="*/ 4 w 78"/>
                <a:gd name="T83" fmla="*/ 51 h 93"/>
                <a:gd name="T84" fmla="*/ 2 w 78"/>
                <a:gd name="T85" fmla="*/ 51 h 93"/>
                <a:gd name="T86" fmla="*/ 2 w 78"/>
                <a:gd name="T87" fmla="*/ 56 h 93"/>
                <a:gd name="T88" fmla="*/ 34 w 78"/>
                <a:gd name="T89" fmla="*/ 74 h 93"/>
                <a:gd name="T90" fmla="*/ 36 w 78"/>
                <a:gd name="T91" fmla="*/ 76 h 93"/>
                <a:gd name="T92" fmla="*/ 37 w 78"/>
                <a:gd name="T93" fmla="*/ 77 h 93"/>
                <a:gd name="T94" fmla="*/ 39 w 78"/>
                <a:gd name="T95" fmla="*/ 81 h 93"/>
                <a:gd name="T96" fmla="*/ 47 w 78"/>
                <a:gd name="T97" fmla="*/ 88 h 93"/>
                <a:gd name="T98" fmla="*/ 50 w 78"/>
                <a:gd name="T99" fmla="*/ 90 h 93"/>
                <a:gd name="T100" fmla="*/ 54 w 78"/>
                <a:gd name="T101" fmla="*/ 93 h 93"/>
                <a:gd name="T102" fmla="*/ 58 w 78"/>
                <a:gd name="T103" fmla="*/ 88 h 93"/>
                <a:gd name="T104" fmla="*/ 59 w 78"/>
                <a:gd name="T105" fmla="*/ 83 h 93"/>
                <a:gd name="T106" fmla="*/ 64 w 78"/>
                <a:gd name="T107" fmla="*/ 76 h 93"/>
                <a:gd name="T108" fmla="*/ 71 w 78"/>
                <a:gd name="T109" fmla="*/ 69 h 93"/>
                <a:gd name="T110" fmla="*/ 72 w 78"/>
                <a:gd name="T111" fmla="*/ 66 h 93"/>
                <a:gd name="T112" fmla="*/ 76 w 78"/>
                <a:gd name="T113"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93">
                  <a:moveTo>
                    <a:pt x="76" y="63"/>
                  </a:moveTo>
                  <a:cubicBezTo>
                    <a:pt x="75" y="62"/>
                    <a:pt x="75" y="62"/>
                    <a:pt x="74" y="61"/>
                  </a:cubicBezTo>
                  <a:cubicBezTo>
                    <a:pt x="73" y="60"/>
                    <a:pt x="72" y="59"/>
                    <a:pt x="72" y="57"/>
                  </a:cubicBezTo>
                  <a:cubicBezTo>
                    <a:pt x="71" y="57"/>
                    <a:pt x="71" y="56"/>
                    <a:pt x="71" y="56"/>
                  </a:cubicBezTo>
                  <a:cubicBezTo>
                    <a:pt x="70" y="54"/>
                    <a:pt x="70" y="52"/>
                    <a:pt x="70" y="50"/>
                  </a:cubicBezTo>
                  <a:cubicBezTo>
                    <a:pt x="70" y="50"/>
                    <a:pt x="70" y="50"/>
                    <a:pt x="70" y="50"/>
                  </a:cubicBezTo>
                  <a:cubicBezTo>
                    <a:pt x="70" y="49"/>
                    <a:pt x="70" y="49"/>
                    <a:pt x="70" y="48"/>
                  </a:cubicBezTo>
                  <a:cubicBezTo>
                    <a:pt x="70" y="44"/>
                    <a:pt x="70" y="41"/>
                    <a:pt x="70" y="37"/>
                  </a:cubicBezTo>
                  <a:cubicBezTo>
                    <a:pt x="70" y="36"/>
                    <a:pt x="70" y="36"/>
                    <a:pt x="70" y="36"/>
                  </a:cubicBezTo>
                  <a:cubicBezTo>
                    <a:pt x="70" y="32"/>
                    <a:pt x="70" y="29"/>
                    <a:pt x="70" y="26"/>
                  </a:cubicBezTo>
                  <a:cubicBezTo>
                    <a:pt x="70" y="21"/>
                    <a:pt x="70" y="21"/>
                    <a:pt x="70" y="21"/>
                  </a:cubicBezTo>
                  <a:cubicBezTo>
                    <a:pt x="70" y="21"/>
                    <a:pt x="70" y="20"/>
                    <a:pt x="70" y="20"/>
                  </a:cubicBezTo>
                  <a:cubicBezTo>
                    <a:pt x="70" y="18"/>
                    <a:pt x="70" y="17"/>
                    <a:pt x="71" y="17"/>
                  </a:cubicBezTo>
                  <a:cubicBezTo>
                    <a:pt x="71" y="16"/>
                    <a:pt x="71" y="16"/>
                    <a:pt x="71" y="16"/>
                  </a:cubicBezTo>
                  <a:cubicBezTo>
                    <a:pt x="71" y="16"/>
                    <a:pt x="72" y="15"/>
                    <a:pt x="72" y="15"/>
                  </a:cubicBezTo>
                  <a:cubicBezTo>
                    <a:pt x="73" y="14"/>
                    <a:pt x="73" y="14"/>
                    <a:pt x="73" y="14"/>
                  </a:cubicBezTo>
                  <a:cubicBezTo>
                    <a:pt x="71" y="13"/>
                    <a:pt x="71" y="13"/>
                    <a:pt x="71" y="13"/>
                  </a:cubicBezTo>
                  <a:cubicBezTo>
                    <a:pt x="73" y="14"/>
                    <a:pt x="73" y="14"/>
                    <a:pt x="73" y="14"/>
                  </a:cubicBezTo>
                  <a:cubicBezTo>
                    <a:pt x="74" y="12"/>
                    <a:pt x="74" y="12"/>
                    <a:pt x="74" y="12"/>
                  </a:cubicBezTo>
                  <a:cubicBezTo>
                    <a:pt x="74" y="12"/>
                    <a:pt x="76" y="9"/>
                    <a:pt x="78" y="7"/>
                  </a:cubicBezTo>
                  <a:cubicBezTo>
                    <a:pt x="77" y="7"/>
                    <a:pt x="76" y="7"/>
                    <a:pt x="75" y="7"/>
                  </a:cubicBezTo>
                  <a:cubicBezTo>
                    <a:pt x="75" y="7"/>
                    <a:pt x="75" y="7"/>
                    <a:pt x="75" y="7"/>
                  </a:cubicBezTo>
                  <a:cubicBezTo>
                    <a:pt x="74" y="7"/>
                    <a:pt x="74" y="7"/>
                    <a:pt x="74" y="7"/>
                  </a:cubicBezTo>
                  <a:cubicBezTo>
                    <a:pt x="73" y="7"/>
                    <a:pt x="73" y="7"/>
                    <a:pt x="73" y="7"/>
                  </a:cubicBezTo>
                  <a:cubicBezTo>
                    <a:pt x="72" y="6"/>
                    <a:pt x="71" y="5"/>
                    <a:pt x="70" y="5"/>
                  </a:cubicBezTo>
                  <a:cubicBezTo>
                    <a:pt x="70" y="4"/>
                    <a:pt x="69" y="4"/>
                    <a:pt x="69" y="4"/>
                  </a:cubicBezTo>
                  <a:cubicBezTo>
                    <a:pt x="62" y="7"/>
                    <a:pt x="62" y="7"/>
                    <a:pt x="62" y="7"/>
                  </a:cubicBezTo>
                  <a:cubicBezTo>
                    <a:pt x="61" y="8"/>
                    <a:pt x="60" y="9"/>
                    <a:pt x="60" y="10"/>
                  </a:cubicBezTo>
                  <a:cubicBezTo>
                    <a:pt x="59" y="11"/>
                    <a:pt x="59" y="12"/>
                    <a:pt x="57" y="12"/>
                  </a:cubicBezTo>
                  <a:cubicBezTo>
                    <a:pt x="57" y="12"/>
                    <a:pt x="57" y="12"/>
                    <a:pt x="57" y="13"/>
                  </a:cubicBezTo>
                  <a:cubicBezTo>
                    <a:pt x="57" y="13"/>
                    <a:pt x="57" y="13"/>
                    <a:pt x="57" y="13"/>
                  </a:cubicBezTo>
                  <a:cubicBezTo>
                    <a:pt x="57" y="13"/>
                    <a:pt x="57" y="13"/>
                    <a:pt x="56" y="13"/>
                  </a:cubicBezTo>
                  <a:cubicBezTo>
                    <a:pt x="56" y="13"/>
                    <a:pt x="56" y="13"/>
                    <a:pt x="56" y="13"/>
                  </a:cubicBezTo>
                  <a:cubicBezTo>
                    <a:pt x="56" y="13"/>
                    <a:pt x="56" y="13"/>
                    <a:pt x="56" y="13"/>
                  </a:cubicBezTo>
                  <a:cubicBezTo>
                    <a:pt x="55" y="13"/>
                    <a:pt x="55" y="13"/>
                    <a:pt x="55" y="13"/>
                  </a:cubicBezTo>
                  <a:cubicBezTo>
                    <a:pt x="55" y="12"/>
                    <a:pt x="55" y="12"/>
                    <a:pt x="55" y="12"/>
                  </a:cubicBezTo>
                  <a:cubicBezTo>
                    <a:pt x="54" y="12"/>
                    <a:pt x="53" y="12"/>
                    <a:pt x="51" y="12"/>
                  </a:cubicBezTo>
                  <a:cubicBezTo>
                    <a:pt x="50" y="12"/>
                    <a:pt x="50" y="12"/>
                    <a:pt x="50" y="12"/>
                  </a:cubicBezTo>
                  <a:cubicBezTo>
                    <a:pt x="50" y="12"/>
                    <a:pt x="49" y="12"/>
                    <a:pt x="49" y="12"/>
                  </a:cubicBezTo>
                  <a:cubicBezTo>
                    <a:pt x="49" y="12"/>
                    <a:pt x="49" y="12"/>
                    <a:pt x="49" y="12"/>
                  </a:cubicBezTo>
                  <a:cubicBezTo>
                    <a:pt x="46" y="12"/>
                    <a:pt x="43" y="11"/>
                    <a:pt x="41" y="10"/>
                  </a:cubicBezTo>
                  <a:cubicBezTo>
                    <a:pt x="41" y="10"/>
                    <a:pt x="40" y="9"/>
                    <a:pt x="40" y="9"/>
                  </a:cubicBezTo>
                  <a:cubicBezTo>
                    <a:pt x="39" y="9"/>
                    <a:pt x="39" y="9"/>
                    <a:pt x="39" y="9"/>
                  </a:cubicBezTo>
                  <a:cubicBezTo>
                    <a:pt x="38" y="8"/>
                    <a:pt x="37" y="7"/>
                    <a:pt x="35" y="6"/>
                  </a:cubicBezTo>
                  <a:cubicBezTo>
                    <a:pt x="35" y="6"/>
                    <a:pt x="35" y="6"/>
                    <a:pt x="35" y="6"/>
                  </a:cubicBezTo>
                  <a:cubicBezTo>
                    <a:pt x="34" y="6"/>
                    <a:pt x="33" y="5"/>
                    <a:pt x="32" y="5"/>
                  </a:cubicBezTo>
                  <a:cubicBezTo>
                    <a:pt x="32" y="5"/>
                    <a:pt x="32" y="5"/>
                    <a:pt x="32" y="5"/>
                  </a:cubicBezTo>
                  <a:cubicBezTo>
                    <a:pt x="32" y="4"/>
                    <a:pt x="31" y="4"/>
                    <a:pt x="31" y="4"/>
                  </a:cubicBezTo>
                  <a:cubicBezTo>
                    <a:pt x="30" y="3"/>
                    <a:pt x="30" y="3"/>
                    <a:pt x="30" y="3"/>
                  </a:cubicBezTo>
                  <a:cubicBezTo>
                    <a:pt x="30" y="3"/>
                    <a:pt x="30" y="3"/>
                    <a:pt x="30" y="3"/>
                  </a:cubicBezTo>
                  <a:cubicBezTo>
                    <a:pt x="30" y="3"/>
                    <a:pt x="30" y="3"/>
                    <a:pt x="30" y="3"/>
                  </a:cubicBezTo>
                  <a:cubicBezTo>
                    <a:pt x="29" y="3"/>
                    <a:pt x="29" y="3"/>
                    <a:pt x="29" y="3"/>
                  </a:cubicBezTo>
                  <a:cubicBezTo>
                    <a:pt x="29" y="3"/>
                    <a:pt x="29" y="3"/>
                    <a:pt x="28" y="2"/>
                  </a:cubicBezTo>
                  <a:cubicBezTo>
                    <a:pt x="28" y="2"/>
                    <a:pt x="27" y="2"/>
                    <a:pt x="27" y="2"/>
                  </a:cubicBezTo>
                  <a:cubicBezTo>
                    <a:pt x="21" y="2"/>
                    <a:pt x="21" y="2"/>
                    <a:pt x="21" y="2"/>
                  </a:cubicBezTo>
                  <a:cubicBezTo>
                    <a:pt x="20" y="2"/>
                    <a:pt x="20" y="1"/>
                    <a:pt x="19" y="0"/>
                  </a:cubicBezTo>
                  <a:cubicBezTo>
                    <a:pt x="18" y="0"/>
                    <a:pt x="18" y="0"/>
                    <a:pt x="18" y="0"/>
                  </a:cubicBezTo>
                  <a:cubicBezTo>
                    <a:pt x="5" y="1"/>
                    <a:pt x="5" y="1"/>
                    <a:pt x="5" y="1"/>
                  </a:cubicBezTo>
                  <a:cubicBezTo>
                    <a:pt x="5" y="1"/>
                    <a:pt x="4" y="1"/>
                    <a:pt x="4" y="1"/>
                  </a:cubicBezTo>
                  <a:cubicBezTo>
                    <a:pt x="4" y="1"/>
                    <a:pt x="4" y="2"/>
                    <a:pt x="3" y="2"/>
                  </a:cubicBezTo>
                  <a:cubicBezTo>
                    <a:pt x="3" y="2"/>
                    <a:pt x="3" y="2"/>
                    <a:pt x="3" y="2"/>
                  </a:cubicBezTo>
                  <a:cubicBezTo>
                    <a:pt x="3" y="3"/>
                    <a:pt x="3" y="3"/>
                    <a:pt x="3" y="3"/>
                  </a:cubicBezTo>
                  <a:cubicBezTo>
                    <a:pt x="2" y="4"/>
                    <a:pt x="2" y="4"/>
                    <a:pt x="2" y="4"/>
                  </a:cubicBezTo>
                  <a:cubicBezTo>
                    <a:pt x="2" y="4"/>
                    <a:pt x="2" y="4"/>
                    <a:pt x="2" y="4"/>
                  </a:cubicBezTo>
                  <a:cubicBezTo>
                    <a:pt x="2" y="4"/>
                    <a:pt x="2" y="4"/>
                    <a:pt x="2" y="5"/>
                  </a:cubicBezTo>
                  <a:cubicBezTo>
                    <a:pt x="2" y="5"/>
                    <a:pt x="2" y="5"/>
                    <a:pt x="2" y="5"/>
                  </a:cubicBezTo>
                  <a:cubicBezTo>
                    <a:pt x="2" y="5"/>
                    <a:pt x="2" y="6"/>
                    <a:pt x="3" y="6"/>
                  </a:cubicBezTo>
                  <a:cubicBezTo>
                    <a:pt x="3" y="7"/>
                    <a:pt x="3" y="7"/>
                    <a:pt x="3" y="7"/>
                  </a:cubicBezTo>
                  <a:cubicBezTo>
                    <a:pt x="3" y="7"/>
                    <a:pt x="3" y="7"/>
                    <a:pt x="3" y="7"/>
                  </a:cubicBezTo>
                  <a:cubicBezTo>
                    <a:pt x="4" y="7"/>
                    <a:pt x="4" y="7"/>
                    <a:pt x="4" y="7"/>
                  </a:cubicBezTo>
                  <a:cubicBezTo>
                    <a:pt x="4" y="7"/>
                    <a:pt x="4" y="7"/>
                    <a:pt x="5" y="8"/>
                  </a:cubicBezTo>
                  <a:cubicBezTo>
                    <a:pt x="5" y="8"/>
                    <a:pt x="5" y="8"/>
                    <a:pt x="5" y="8"/>
                  </a:cubicBezTo>
                  <a:cubicBezTo>
                    <a:pt x="5" y="8"/>
                    <a:pt x="6" y="8"/>
                    <a:pt x="6" y="8"/>
                  </a:cubicBezTo>
                  <a:cubicBezTo>
                    <a:pt x="6" y="8"/>
                    <a:pt x="6" y="8"/>
                    <a:pt x="6" y="8"/>
                  </a:cubicBezTo>
                  <a:cubicBezTo>
                    <a:pt x="6" y="9"/>
                    <a:pt x="6" y="9"/>
                    <a:pt x="6" y="9"/>
                  </a:cubicBezTo>
                  <a:cubicBezTo>
                    <a:pt x="6" y="9"/>
                    <a:pt x="6" y="9"/>
                    <a:pt x="6" y="9"/>
                  </a:cubicBezTo>
                  <a:cubicBezTo>
                    <a:pt x="6" y="10"/>
                    <a:pt x="7" y="12"/>
                    <a:pt x="7" y="13"/>
                  </a:cubicBezTo>
                  <a:cubicBezTo>
                    <a:pt x="7" y="14"/>
                    <a:pt x="7" y="14"/>
                    <a:pt x="7" y="14"/>
                  </a:cubicBezTo>
                  <a:cubicBezTo>
                    <a:pt x="7" y="14"/>
                    <a:pt x="8" y="15"/>
                    <a:pt x="8" y="16"/>
                  </a:cubicBezTo>
                  <a:cubicBezTo>
                    <a:pt x="9" y="17"/>
                    <a:pt x="9" y="17"/>
                    <a:pt x="9" y="17"/>
                  </a:cubicBezTo>
                  <a:cubicBezTo>
                    <a:pt x="9" y="17"/>
                    <a:pt x="9" y="17"/>
                    <a:pt x="9" y="17"/>
                  </a:cubicBezTo>
                  <a:cubicBezTo>
                    <a:pt x="10" y="19"/>
                    <a:pt x="11" y="20"/>
                    <a:pt x="11" y="21"/>
                  </a:cubicBezTo>
                  <a:cubicBezTo>
                    <a:pt x="11" y="23"/>
                    <a:pt x="11" y="24"/>
                    <a:pt x="11" y="25"/>
                  </a:cubicBezTo>
                  <a:cubicBezTo>
                    <a:pt x="14" y="24"/>
                    <a:pt x="14" y="24"/>
                    <a:pt x="14" y="24"/>
                  </a:cubicBezTo>
                  <a:cubicBezTo>
                    <a:pt x="12" y="26"/>
                    <a:pt x="12" y="26"/>
                    <a:pt x="12" y="26"/>
                  </a:cubicBezTo>
                  <a:cubicBezTo>
                    <a:pt x="12" y="26"/>
                    <a:pt x="12" y="26"/>
                    <a:pt x="12" y="26"/>
                  </a:cubicBezTo>
                  <a:cubicBezTo>
                    <a:pt x="12" y="26"/>
                    <a:pt x="12" y="26"/>
                    <a:pt x="12" y="26"/>
                  </a:cubicBezTo>
                  <a:cubicBezTo>
                    <a:pt x="12" y="26"/>
                    <a:pt x="12" y="26"/>
                    <a:pt x="12" y="26"/>
                  </a:cubicBezTo>
                  <a:cubicBezTo>
                    <a:pt x="12" y="27"/>
                    <a:pt x="11" y="29"/>
                    <a:pt x="10" y="30"/>
                  </a:cubicBezTo>
                  <a:cubicBezTo>
                    <a:pt x="10" y="31"/>
                    <a:pt x="10" y="31"/>
                    <a:pt x="10" y="31"/>
                  </a:cubicBezTo>
                  <a:cubicBezTo>
                    <a:pt x="10" y="31"/>
                    <a:pt x="10" y="31"/>
                    <a:pt x="10" y="32"/>
                  </a:cubicBezTo>
                  <a:cubicBezTo>
                    <a:pt x="10" y="32"/>
                    <a:pt x="10" y="32"/>
                    <a:pt x="10" y="32"/>
                  </a:cubicBezTo>
                  <a:cubicBezTo>
                    <a:pt x="10" y="32"/>
                    <a:pt x="10" y="32"/>
                    <a:pt x="10" y="32"/>
                  </a:cubicBezTo>
                  <a:cubicBezTo>
                    <a:pt x="10" y="32"/>
                    <a:pt x="10" y="32"/>
                    <a:pt x="10" y="33"/>
                  </a:cubicBezTo>
                  <a:cubicBezTo>
                    <a:pt x="10" y="33"/>
                    <a:pt x="10" y="34"/>
                    <a:pt x="10" y="35"/>
                  </a:cubicBezTo>
                  <a:cubicBezTo>
                    <a:pt x="9" y="35"/>
                    <a:pt x="8" y="35"/>
                    <a:pt x="8" y="36"/>
                  </a:cubicBezTo>
                  <a:cubicBezTo>
                    <a:pt x="7" y="36"/>
                    <a:pt x="7" y="36"/>
                    <a:pt x="7" y="36"/>
                  </a:cubicBezTo>
                  <a:cubicBezTo>
                    <a:pt x="7" y="37"/>
                    <a:pt x="7" y="37"/>
                    <a:pt x="7" y="37"/>
                  </a:cubicBezTo>
                  <a:cubicBezTo>
                    <a:pt x="6" y="37"/>
                    <a:pt x="6" y="37"/>
                    <a:pt x="6" y="37"/>
                  </a:cubicBezTo>
                  <a:cubicBezTo>
                    <a:pt x="6" y="37"/>
                    <a:pt x="6" y="37"/>
                    <a:pt x="6" y="37"/>
                  </a:cubicBezTo>
                  <a:cubicBezTo>
                    <a:pt x="6" y="37"/>
                    <a:pt x="5" y="37"/>
                    <a:pt x="5" y="38"/>
                  </a:cubicBezTo>
                  <a:cubicBezTo>
                    <a:pt x="5" y="38"/>
                    <a:pt x="5" y="38"/>
                    <a:pt x="5" y="38"/>
                  </a:cubicBezTo>
                  <a:cubicBezTo>
                    <a:pt x="5" y="39"/>
                    <a:pt x="5" y="39"/>
                    <a:pt x="5" y="39"/>
                  </a:cubicBezTo>
                  <a:cubicBezTo>
                    <a:pt x="4" y="39"/>
                    <a:pt x="4" y="40"/>
                    <a:pt x="4" y="40"/>
                  </a:cubicBezTo>
                  <a:cubicBezTo>
                    <a:pt x="4" y="40"/>
                    <a:pt x="4" y="40"/>
                    <a:pt x="4" y="40"/>
                  </a:cubicBezTo>
                  <a:cubicBezTo>
                    <a:pt x="3" y="41"/>
                    <a:pt x="3" y="41"/>
                    <a:pt x="3" y="42"/>
                  </a:cubicBezTo>
                  <a:cubicBezTo>
                    <a:pt x="2" y="42"/>
                    <a:pt x="2" y="42"/>
                    <a:pt x="2" y="43"/>
                  </a:cubicBezTo>
                  <a:cubicBezTo>
                    <a:pt x="2" y="43"/>
                    <a:pt x="2" y="43"/>
                    <a:pt x="1" y="44"/>
                  </a:cubicBezTo>
                  <a:cubicBezTo>
                    <a:pt x="1" y="44"/>
                    <a:pt x="1" y="44"/>
                    <a:pt x="1" y="44"/>
                  </a:cubicBezTo>
                  <a:cubicBezTo>
                    <a:pt x="1" y="44"/>
                    <a:pt x="1" y="45"/>
                    <a:pt x="1" y="45"/>
                  </a:cubicBezTo>
                  <a:cubicBezTo>
                    <a:pt x="1" y="45"/>
                    <a:pt x="1" y="45"/>
                    <a:pt x="1" y="45"/>
                  </a:cubicBezTo>
                  <a:cubicBezTo>
                    <a:pt x="1" y="45"/>
                    <a:pt x="1" y="45"/>
                    <a:pt x="1" y="45"/>
                  </a:cubicBezTo>
                  <a:cubicBezTo>
                    <a:pt x="1" y="46"/>
                    <a:pt x="1" y="46"/>
                    <a:pt x="1" y="46"/>
                  </a:cubicBezTo>
                  <a:cubicBezTo>
                    <a:pt x="0" y="46"/>
                    <a:pt x="0" y="46"/>
                    <a:pt x="0" y="46"/>
                  </a:cubicBezTo>
                  <a:cubicBezTo>
                    <a:pt x="0" y="46"/>
                    <a:pt x="0" y="47"/>
                    <a:pt x="0" y="47"/>
                  </a:cubicBezTo>
                  <a:cubicBezTo>
                    <a:pt x="1" y="48"/>
                    <a:pt x="2" y="49"/>
                    <a:pt x="2" y="50"/>
                  </a:cubicBezTo>
                  <a:cubicBezTo>
                    <a:pt x="3" y="50"/>
                    <a:pt x="3" y="50"/>
                    <a:pt x="3" y="50"/>
                  </a:cubicBezTo>
                  <a:cubicBezTo>
                    <a:pt x="4" y="49"/>
                    <a:pt x="4" y="49"/>
                    <a:pt x="4" y="49"/>
                  </a:cubicBezTo>
                  <a:cubicBezTo>
                    <a:pt x="4" y="48"/>
                    <a:pt x="7" y="47"/>
                    <a:pt x="8" y="47"/>
                  </a:cubicBezTo>
                  <a:cubicBezTo>
                    <a:pt x="7" y="48"/>
                    <a:pt x="9" y="49"/>
                    <a:pt x="9" y="49"/>
                  </a:cubicBezTo>
                  <a:cubicBezTo>
                    <a:pt x="9" y="50"/>
                    <a:pt x="8" y="49"/>
                    <a:pt x="8" y="49"/>
                  </a:cubicBezTo>
                  <a:cubicBezTo>
                    <a:pt x="8" y="50"/>
                    <a:pt x="8" y="50"/>
                    <a:pt x="7" y="50"/>
                  </a:cubicBezTo>
                  <a:cubicBezTo>
                    <a:pt x="7" y="50"/>
                    <a:pt x="6" y="50"/>
                    <a:pt x="6" y="50"/>
                  </a:cubicBezTo>
                  <a:cubicBezTo>
                    <a:pt x="6" y="50"/>
                    <a:pt x="5" y="49"/>
                    <a:pt x="5" y="50"/>
                  </a:cubicBezTo>
                  <a:cubicBezTo>
                    <a:pt x="5" y="51"/>
                    <a:pt x="5" y="51"/>
                    <a:pt x="5" y="52"/>
                  </a:cubicBezTo>
                  <a:cubicBezTo>
                    <a:pt x="4" y="52"/>
                    <a:pt x="5" y="51"/>
                    <a:pt x="4" y="51"/>
                  </a:cubicBezTo>
                  <a:cubicBezTo>
                    <a:pt x="4" y="51"/>
                    <a:pt x="4" y="51"/>
                    <a:pt x="3" y="51"/>
                  </a:cubicBezTo>
                  <a:cubicBezTo>
                    <a:pt x="3" y="51"/>
                    <a:pt x="3" y="51"/>
                    <a:pt x="3" y="51"/>
                  </a:cubicBezTo>
                  <a:cubicBezTo>
                    <a:pt x="2" y="51"/>
                    <a:pt x="2" y="51"/>
                    <a:pt x="2" y="51"/>
                  </a:cubicBezTo>
                  <a:cubicBezTo>
                    <a:pt x="1" y="52"/>
                    <a:pt x="1" y="53"/>
                    <a:pt x="1" y="54"/>
                  </a:cubicBezTo>
                  <a:cubicBezTo>
                    <a:pt x="1" y="54"/>
                    <a:pt x="2" y="55"/>
                    <a:pt x="2" y="55"/>
                  </a:cubicBezTo>
                  <a:cubicBezTo>
                    <a:pt x="2" y="55"/>
                    <a:pt x="2" y="56"/>
                    <a:pt x="2" y="56"/>
                  </a:cubicBezTo>
                  <a:cubicBezTo>
                    <a:pt x="7" y="59"/>
                    <a:pt x="13" y="62"/>
                    <a:pt x="18" y="65"/>
                  </a:cubicBezTo>
                  <a:cubicBezTo>
                    <a:pt x="23" y="68"/>
                    <a:pt x="28" y="71"/>
                    <a:pt x="33" y="73"/>
                  </a:cubicBezTo>
                  <a:cubicBezTo>
                    <a:pt x="34" y="74"/>
                    <a:pt x="34" y="74"/>
                    <a:pt x="34" y="74"/>
                  </a:cubicBezTo>
                  <a:cubicBezTo>
                    <a:pt x="34" y="74"/>
                    <a:pt x="35" y="75"/>
                    <a:pt x="36" y="76"/>
                  </a:cubicBezTo>
                  <a:cubicBezTo>
                    <a:pt x="36" y="76"/>
                    <a:pt x="36" y="76"/>
                    <a:pt x="36" y="76"/>
                  </a:cubicBezTo>
                  <a:cubicBezTo>
                    <a:pt x="36" y="76"/>
                    <a:pt x="36" y="76"/>
                    <a:pt x="36" y="76"/>
                  </a:cubicBezTo>
                  <a:cubicBezTo>
                    <a:pt x="36" y="76"/>
                    <a:pt x="36" y="76"/>
                    <a:pt x="36" y="76"/>
                  </a:cubicBezTo>
                  <a:cubicBezTo>
                    <a:pt x="36" y="76"/>
                    <a:pt x="36" y="76"/>
                    <a:pt x="37" y="76"/>
                  </a:cubicBezTo>
                  <a:cubicBezTo>
                    <a:pt x="37" y="77"/>
                    <a:pt x="37" y="77"/>
                    <a:pt x="37" y="77"/>
                  </a:cubicBezTo>
                  <a:cubicBezTo>
                    <a:pt x="38" y="77"/>
                    <a:pt x="38" y="78"/>
                    <a:pt x="39" y="78"/>
                  </a:cubicBezTo>
                  <a:cubicBezTo>
                    <a:pt x="39" y="79"/>
                    <a:pt x="39" y="79"/>
                    <a:pt x="39" y="80"/>
                  </a:cubicBezTo>
                  <a:cubicBezTo>
                    <a:pt x="39" y="80"/>
                    <a:pt x="39" y="80"/>
                    <a:pt x="39" y="81"/>
                  </a:cubicBezTo>
                  <a:cubicBezTo>
                    <a:pt x="39" y="81"/>
                    <a:pt x="39" y="81"/>
                    <a:pt x="39" y="82"/>
                  </a:cubicBezTo>
                  <a:cubicBezTo>
                    <a:pt x="41" y="84"/>
                    <a:pt x="43" y="85"/>
                    <a:pt x="45" y="87"/>
                  </a:cubicBezTo>
                  <a:cubicBezTo>
                    <a:pt x="47" y="88"/>
                    <a:pt x="47" y="88"/>
                    <a:pt x="47" y="88"/>
                  </a:cubicBezTo>
                  <a:cubicBezTo>
                    <a:pt x="47" y="88"/>
                    <a:pt x="47" y="88"/>
                    <a:pt x="48" y="89"/>
                  </a:cubicBezTo>
                  <a:cubicBezTo>
                    <a:pt x="48" y="89"/>
                    <a:pt x="48" y="89"/>
                    <a:pt x="48" y="89"/>
                  </a:cubicBezTo>
                  <a:cubicBezTo>
                    <a:pt x="49" y="89"/>
                    <a:pt x="49" y="90"/>
                    <a:pt x="50" y="90"/>
                  </a:cubicBezTo>
                  <a:cubicBezTo>
                    <a:pt x="50" y="90"/>
                    <a:pt x="50" y="90"/>
                    <a:pt x="50" y="90"/>
                  </a:cubicBezTo>
                  <a:cubicBezTo>
                    <a:pt x="52" y="91"/>
                    <a:pt x="53" y="92"/>
                    <a:pt x="54" y="93"/>
                  </a:cubicBezTo>
                  <a:cubicBezTo>
                    <a:pt x="54" y="93"/>
                    <a:pt x="54" y="93"/>
                    <a:pt x="54" y="93"/>
                  </a:cubicBezTo>
                  <a:cubicBezTo>
                    <a:pt x="54" y="93"/>
                    <a:pt x="54" y="93"/>
                    <a:pt x="54" y="93"/>
                  </a:cubicBezTo>
                  <a:cubicBezTo>
                    <a:pt x="56" y="92"/>
                    <a:pt x="57" y="92"/>
                    <a:pt x="57" y="90"/>
                  </a:cubicBezTo>
                  <a:cubicBezTo>
                    <a:pt x="57" y="89"/>
                    <a:pt x="58" y="89"/>
                    <a:pt x="58" y="88"/>
                  </a:cubicBezTo>
                  <a:cubicBezTo>
                    <a:pt x="58" y="88"/>
                    <a:pt x="57" y="87"/>
                    <a:pt x="58" y="87"/>
                  </a:cubicBezTo>
                  <a:cubicBezTo>
                    <a:pt x="59" y="87"/>
                    <a:pt x="60" y="86"/>
                    <a:pt x="60" y="84"/>
                  </a:cubicBezTo>
                  <a:cubicBezTo>
                    <a:pt x="60" y="84"/>
                    <a:pt x="59" y="83"/>
                    <a:pt x="59" y="83"/>
                  </a:cubicBezTo>
                  <a:cubicBezTo>
                    <a:pt x="59" y="82"/>
                    <a:pt x="61" y="81"/>
                    <a:pt x="61" y="80"/>
                  </a:cubicBezTo>
                  <a:cubicBezTo>
                    <a:pt x="63" y="80"/>
                    <a:pt x="63" y="80"/>
                    <a:pt x="63" y="79"/>
                  </a:cubicBezTo>
                  <a:cubicBezTo>
                    <a:pt x="64" y="77"/>
                    <a:pt x="63" y="77"/>
                    <a:pt x="64" y="76"/>
                  </a:cubicBezTo>
                  <a:cubicBezTo>
                    <a:pt x="64" y="72"/>
                    <a:pt x="67" y="73"/>
                    <a:pt x="68" y="71"/>
                  </a:cubicBezTo>
                  <a:cubicBezTo>
                    <a:pt x="69" y="70"/>
                    <a:pt x="70" y="69"/>
                    <a:pt x="70" y="69"/>
                  </a:cubicBezTo>
                  <a:cubicBezTo>
                    <a:pt x="71" y="69"/>
                    <a:pt x="71" y="70"/>
                    <a:pt x="71" y="69"/>
                  </a:cubicBezTo>
                  <a:cubicBezTo>
                    <a:pt x="71" y="70"/>
                    <a:pt x="71" y="68"/>
                    <a:pt x="71" y="68"/>
                  </a:cubicBezTo>
                  <a:cubicBezTo>
                    <a:pt x="71" y="68"/>
                    <a:pt x="70" y="67"/>
                    <a:pt x="70" y="67"/>
                  </a:cubicBezTo>
                  <a:cubicBezTo>
                    <a:pt x="71" y="67"/>
                    <a:pt x="71" y="66"/>
                    <a:pt x="72" y="66"/>
                  </a:cubicBezTo>
                  <a:cubicBezTo>
                    <a:pt x="71" y="67"/>
                    <a:pt x="72" y="67"/>
                    <a:pt x="72" y="67"/>
                  </a:cubicBezTo>
                  <a:cubicBezTo>
                    <a:pt x="73" y="67"/>
                    <a:pt x="74" y="66"/>
                    <a:pt x="74" y="66"/>
                  </a:cubicBezTo>
                  <a:cubicBezTo>
                    <a:pt x="75" y="65"/>
                    <a:pt x="76" y="65"/>
                    <a:pt x="76" y="64"/>
                  </a:cubicBezTo>
                  <a:cubicBezTo>
                    <a:pt x="76" y="64"/>
                    <a:pt x="76" y="64"/>
                    <a:pt x="76" y="64"/>
                  </a:cubicBezTo>
                  <a:lnTo>
                    <a:pt x="76"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4" name="Rectangle 3">
            <a:hlinkClick r:id="rId3" action="ppaction://hlinksldjump"/>
            <a:extLst>
              <a:ext uri="{FF2B5EF4-FFF2-40B4-BE49-F238E27FC236}">
                <a16:creationId xmlns:a16="http://schemas.microsoft.com/office/drawing/2014/main" id="{E3DE083E-D491-4963-A14B-FD0AF598639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668236210"/>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World 2</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E7FF9FD1-48BD-41EA-954F-BF4E93CBFE7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a:ea typeface="+mn-ea"/>
                <a:cs typeface="+mn-cs"/>
              </a:rPr>
              <a:t>Ungroup map to select and shade one or more countries</a:t>
            </a:r>
            <a:endParaRPr kumimoji="0" lang="de-DE" sz="1600" b="0" i="0" u="none" strike="noStrike" kern="1200" cap="none" spc="0" normalizeH="0" baseline="0" noProof="0" dirty="0">
              <a:ln>
                <a:noFill/>
              </a:ln>
              <a:solidFill>
                <a:srgbClr val="000000"/>
              </a:solidFill>
              <a:effectLst/>
              <a:uLnTx/>
              <a:uFillTx/>
              <a:latin typeface="Graphik"/>
              <a:ea typeface="+mn-ea"/>
              <a:cs typeface="+mn-cs"/>
            </a:endParaRPr>
          </a:p>
        </p:txBody>
      </p:sp>
      <p:grpSp>
        <p:nvGrpSpPr>
          <p:cNvPr id="1636" name="Group 1635">
            <a:extLst>
              <a:ext uri="{FF2B5EF4-FFF2-40B4-BE49-F238E27FC236}">
                <a16:creationId xmlns:a16="http://schemas.microsoft.com/office/drawing/2014/main" id="{B8ABD6AD-3013-4518-A4C1-A9798C12FA8E}"/>
              </a:ext>
            </a:extLst>
          </p:cNvPr>
          <p:cNvGrpSpPr/>
          <p:nvPr/>
        </p:nvGrpSpPr>
        <p:grpSpPr>
          <a:xfrm>
            <a:off x="1832727" y="1690521"/>
            <a:ext cx="8545069" cy="4177860"/>
            <a:chOff x="-6401615" y="689141"/>
            <a:chExt cx="14648690" cy="7162046"/>
          </a:xfrm>
          <a:solidFill>
            <a:srgbClr val="96968C">
              <a:lumMod val="40000"/>
              <a:lumOff val="60000"/>
            </a:srgbClr>
          </a:solidFill>
        </p:grpSpPr>
        <p:sp>
          <p:nvSpPr>
            <p:cNvPr id="1637" name="MCShape 5">
              <a:extLst>
                <a:ext uri="{FF2B5EF4-FFF2-40B4-BE49-F238E27FC236}">
                  <a16:creationId xmlns:a16="http://schemas.microsoft.com/office/drawing/2014/main" id="{B9484886-64CA-48D5-839F-6B990C955F54}"/>
                </a:ext>
              </a:extLst>
            </p:cNvPr>
            <p:cNvSpPr>
              <a:spLocks/>
            </p:cNvSpPr>
            <p:nvPr/>
          </p:nvSpPr>
          <p:spPr bwMode="auto">
            <a:xfrm>
              <a:off x="2317968" y="5542368"/>
              <a:ext cx="408362" cy="746046"/>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9"/>
                <a:gd name="T136" fmla="*/ 0 h 746"/>
                <a:gd name="T137" fmla="*/ 409 w 409"/>
                <a:gd name="T138" fmla="*/ 746 h 7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69" name="MCShape 6">
              <a:extLst>
                <a:ext uri="{FF2B5EF4-FFF2-40B4-BE49-F238E27FC236}">
                  <a16:creationId xmlns:a16="http://schemas.microsoft.com/office/drawing/2014/main" id="{6D4B4987-45E0-4787-A227-FD066BADC305}"/>
                </a:ext>
              </a:extLst>
            </p:cNvPr>
            <p:cNvSpPr>
              <a:spLocks noEditPoints="1"/>
            </p:cNvSpPr>
            <p:nvPr/>
          </p:nvSpPr>
          <p:spPr bwMode="auto">
            <a:xfrm>
              <a:off x="-3600669" y="3631444"/>
              <a:ext cx="492129" cy="188475"/>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185"/>
                <a:gd name="T128" fmla="*/ 493 w 493"/>
                <a:gd name="T129" fmla="*/ 185 h 1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0" name="MCShape 7">
              <a:extLst>
                <a:ext uri="{FF2B5EF4-FFF2-40B4-BE49-F238E27FC236}">
                  <a16:creationId xmlns:a16="http://schemas.microsoft.com/office/drawing/2014/main" id="{6FBDCC96-087F-48EA-B007-C1AA544D7927}"/>
                </a:ext>
              </a:extLst>
            </p:cNvPr>
            <p:cNvSpPr>
              <a:spLocks/>
            </p:cNvSpPr>
            <p:nvPr/>
          </p:nvSpPr>
          <p:spPr bwMode="auto">
            <a:xfrm>
              <a:off x="-3331045" y="3890597"/>
              <a:ext cx="107326" cy="39265"/>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42"/>
                <a:gd name="T35" fmla="*/ 108 w 108"/>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1" name="MCShape 8">
              <a:extLst>
                <a:ext uri="{FF2B5EF4-FFF2-40B4-BE49-F238E27FC236}">
                  <a16:creationId xmlns:a16="http://schemas.microsoft.com/office/drawing/2014/main" id="{A7779D3E-34ED-4BF6-B74A-6E98AD6AE200}"/>
                </a:ext>
              </a:extLst>
            </p:cNvPr>
            <p:cNvSpPr>
              <a:spLocks/>
            </p:cNvSpPr>
            <p:nvPr/>
          </p:nvSpPr>
          <p:spPr bwMode="auto">
            <a:xfrm>
              <a:off x="-2799650" y="3893215"/>
              <a:ext cx="94236" cy="39267"/>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40"/>
                <a:gd name="T26" fmla="*/ 97 w 97"/>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2" name="MCShape 10">
              <a:extLst>
                <a:ext uri="{FF2B5EF4-FFF2-40B4-BE49-F238E27FC236}">
                  <a16:creationId xmlns:a16="http://schemas.microsoft.com/office/drawing/2014/main" id="{BFFFCCBE-3121-4A95-BEDD-B454ED5E3B38}"/>
                </a:ext>
              </a:extLst>
            </p:cNvPr>
            <p:cNvSpPr>
              <a:spLocks/>
            </p:cNvSpPr>
            <p:nvPr/>
          </p:nvSpPr>
          <p:spPr bwMode="auto">
            <a:xfrm>
              <a:off x="-3906940" y="4107866"/>
              <a:ext cx="117798" cy="73296"/>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7"/>
                <a:gd name="T58" fmla="*/ 0 h 74"/>
                <a:gd name="T59" fmla="*/ 117 w 117"/>
                <a:gd name="T60" fmla="*/ 74 h 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3" name="MCShape 11">
              <a:extLst>
                <a:ext uri="{FF2B5EF4-FFF2-40B4-BE49-F238E27FC236}">
                  <a16:creationId xmlns:a16="http://schemas.microsoft.com/office/drawing/2014/main" id="{1FACD3DB-CC53-4C41-92EE-76E1F8E1FD74}"/>
                </a:ext>
              </a:extLst>
            </p:cNvPr>
            <p:cNvSpPr>
              <a:spLocks/>
            </p:cNvSpPr>
            <p:nvPr/>
          </p:nvSpPr>
          <p:spPr bwMode="auto">
            <a:xfrm>
              <a:off x="-3846732" y="3887980"/>
              <a:ext cx="70677" cy="138740"/>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140"/>
                <a:gd name="T41" fmla="*/ 72 w 72"/>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4" name="MCShape 12">
              <a:extLst>
                <a:ext uri="{FF2B5EF4-FFF2-40B4-BE49-F238E27FC236}">
                  <a16:creationId xmlns:a16="http://schemas.microsoft.com/office/drawing/2014/main" id="{ED3DFEB8-C37F-4CF6-A562-CDF814638CAF}"/>
                </a:ext>
              </a:extLst>
            </p:cNvPr>
            <p:cNvSpPr>
              <a:spLocks/>
            </p:cNvSpPr>
            <p:nvPr/>
          </p:nvSpPr>
          <p:spPr bwMode="auto">
            <a:xfrm>
              <a:off x="-3998560" y="3922009"/>
              <a:ext cx="198946" cy="225122"/>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99"/>
                <a:gd name="T94" fmla="*/ 0 h 222"/>
                <a:gd name="T95" fmla="*/ 199 w 199"/>
                <a:gd name="T96" fmla="*/ 222 h 22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5" name="MCShape 13">
              <a:extLst>
                <a:ext uri="{FF2B5EF4-FFF2-40B4-BE49-F238E27FC236}">
                  <a16:creationId xmlns:a16="http://schemas.microsoft.com/office/drawing/2014/main" id="{51866C84-30EC-4379-A704-4929A77DC8DC}"/>
                </a:ext>
              </a:extLst>
            </p:cNvPr>
            <p:cNvSpPr>
              <a:spLocks/>
            </p:cNvSpPr>
            <p:nvPr/>
          </p:nvSpPr>
          <p:spPr bwMode="auto">
            <a:xfrm>
              <a:off x="-4930462" y="3128844"/>
              <a:ext cx="1246028" cy="976406"/>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7"/>
                <a:gd name="T184" fmla="*/ 0 h 976"/>
                <a:gd name="T185" fmla="*/ 1247 w 1247"/>
                <a:gd name="T186" fmla="*/ 976 h 9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6" name="MCShape 14">
              <a:extLst>
                <a:ext uri="{FF2B5EF4-FFF2-40B4-BE49-F238E27FC236}">
                  <a16:creationId xmlns:a16="http://schemas.microsoft.com/office/drawing/2014/main" id="{916B6024-1BCE-478A-ABCF-24C6591D0A70}"/>
                </a:ext>
              </a:extLst>
            </p:cNvPr>
            <p:cNvSpPr>
              <a:spLocks/>
            </p:cNvSpPr>
            <p:nvPr/>
          </p:nvSpPr>
          <p:spPr bwMode="auto">
            <a:xfrm>
              <a:off x="-3857203" y="4018864"/>
              <a:ext cx="295800" cy="167535"/>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6"/>
                <a:gd name="T127" fmla="*/ 0 h 166"/>
                <a:gd name="T128" fmla="*/ 296 w 296"/>
                <a:gd name="T129" fmla="*/ 166 h 16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7" name="MCShape 15">
              <a:extLst>
                <a:ext uri="{FF2B5EF4-FFF2-40B4-BE49-F238E27FC236}">
                  <a16:creationId xmlns:a16="http://schemas.microsoft.com/office/drawing/2014/main" id="{52E5AB79-3FAB-4CC1-9D17-ACC034505A90}"/>
                </a:ext>
              </a:extLst>
            </p:cNvPr>
            <p:cNvSpPr>
              <a:spLocks/>
            </p:cNvSpPr>
            <p:nvPr/>
          </p:nvSpPr>
          <p:spPr bwMode="auto">
            <a:xfrm>
              <a:off x="-2420083" y="4560731"/>
              <a:ext cx="196329" cy="225122"/>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9"/>
                <a:gd name="T106" fmla="*/ 0 h 228"/>
                <a:gd name="T107" fmla="*/ 199 w 199"/>
                <a:gd name="T108" fmla="*/ 228 h 22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8" name="MCShape 16">
              <a:extLst>
                <a:ext uri="{FF2B5EF4-FFF2-40B4-BE49-F238E27FC236}">
                  <a16:creationId xmlns:a16="http://schemas.microsoft.com/office/drawing/2014/main" id="{95926F2A-D4AA-47BE-92FC-F0C958458CFC}"/>
                </a:ext>
              </a:extLst>
            </p:cNvPr>
            <p:cNvSpPr>
              <a:spLocks/>
            </p:cNvSpPr>
            <p:nvPr/>
          </p:nvSpPr>
          <p:spPr bwMode="auto">
            <a:xfrm>
              <a:off x="-2574528" y="4429844"/>
              <a:ext cx="222504" cy="390038"/>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5"/>
                <a:gd name="T157" fmla="*/ 0 h 388"/>
                <a:gd name="T158" fmla="*/ 225 w 225"/>
                <a:gd name="T159" fmla="*/ 388 h 3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79" name="MCShape 17">
              <a:extLst>
                <a:ext uri="{FF2B5EF4-FFF2-40B4-BE49-F238E27FC236}">
                  <a16:creationId xmlns:a16="http://schemas.microsoft.com/office/drawing/2014/main" id="{8D998942-31B5-4D82-BCDE-AE21930C9732}"/>
                </a:ext>
              </a:extLst>
            </p:cNvPr>
            <p:cNvSpPr>
              <a:spLocks noEditPoints="1"/>
            </p:cNvSpPr>
            <p:nvPr/>
          </p:nvSpPr>
          <p:spPr bwMode="auto">
            <a:xfrm>
              <a:off x="-3134716" y="4225664"/>
              <a:ext cx="641338" cy="625631"/>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2"/>
                <a:gd name="T187" fmla="*/ 0 h 625"/>
                <a:gd name="T188" fmla="*/ 642 w 642"/>
                <a:gd name="T189" fmla="*/ 625 h 62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0" name="MCShape 18">
              <a:extLst>
                <a:ext uri="{FF2B5EF4-FFF2-40B4-BE49-F238E27FC236}">
                  <a16:creationId xmlns:a16="http://schemas.microsoft.com/office/drawing/2014/main" id="{8C290909-40FB-4E2B-9B85-0D9C32E73E6F}"/>
                </a:ext>
              </a:extLst>
            </p:cNvPr>
            <p:cNvSpPr>
              <a:spLocks/>
            </p:cNvSpPr>
            <p:nvPr/>
          </p:nvSpPr>
          <p:spPr bwMode="auto">
            <a:xfrm>
              <a:off x="-3592816" y="4361786"/>
              <a:ext cx="277476" cy="143973"/>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79"/>
                <a:gd name="T142" fmla="*/ 0 h 141"/>
                <a:gd name="T143" fmla="*/ 279 w 279"/>
                <a:gd name="T144" fmla="*/ 141 h 1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1" name="MCShape 19">
              <a:extLst>
                <a:ext uri="{FF2B5EF4-FFF2-40B4-BE49-F238E27FC236}">
                  <a16:creationId xmlns:a16="http://schemas.microsoft.com/office/drawing/2014/main" id="{0AE1AB26-F079-48D5-9226-DD60FE3D69A6}"/>
                </a:ext>
              </a:extLst>
            </p:cNvPr>
            <p:cNvSpPr>
              <a:spLocks/>
            </p:cNvSpPr>
            <p:nvPr/>
          </p:nvSpPr>
          <p:spPr bwMode="auto">
            <a:xfrm>
              <a:off x="-3414812" y="4204722"/>
              <a:ext cx="578515" cy="900491"/>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1"/>
                <a:gd name="T142" fmla="*/ 0 h 902"/>
                <a:gd name="T143" fmla="*/ 581 w 581"/>
                <a:gd name="T144" fmla="*/ 902 h 9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2" name="MCShape 20">
              <a:extLst>
                <a:ext uri="{FF2B5EF4-FFF2-40B4-BE49-F238E27FC236}">
                  <a16:creationId xmlns:a16="http://schemas.microsoft.com/office/drawing/2014/main" id="{37F6D31C-ADB6-4FE3-986D-1F7F8F696555}"/>
                </a:ext>
              </a:extLst>
            </p:cNvPr>
            <p:cNvSpPr>
              <a:spLocks/>
            </p:cNvSpPr>
            <p:nvPr/>
          </p:nvSpPr>
          <p:spPr bwMode="auto">
            <a:xfrm>
              <a:off x="-2566674" y="5919319"/>
              <a:ext cx="403127" cy="452864"/>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7"/>
                <a:gd name="T133" fmla="*/ 0 h 452"/>
                <a:gd name="T134" fmla="*/ 407 w 407"/>
                <a:gd name="T135" fmla="*/ 452 h 4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3" name="MCShape 21">
              <a:extLst>
                <a:ext uri="{FF2B5EF4-FFF2-40B4-BE49-F238E27FC236}">
                  <a16:creationId xmlns:a16="http://schemas.microsoft.com/office/drawing/2014/main" id="{690A13D8-0A2A-4FB2-9800-CCE89200681E}"/>
                </a:ext>
              </a:extLst>
            </p:cNvPr>
            <p:cNvSpPr>
              <a:spLocks/>
            </p:cNvSpPr>
            <p:nvPr/>
          </p:nvSpPr>
          <p:spPr bwMode="auto">
            <a:xfrm>
              <a:off x="-2283963" y="6500450"/>
              <a:ext cx="248682" cy="259153"/>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6"/>
                <a:gd name="T109" fmla="*/ 0 h 258"/>
                <a:gd name="T110" fmla="*/ 246 w 246"/>
                <a:gd name="T111" fmla="*/ 258 h 2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4" name="MCShape 22">
              <a:extLst>
                <a:ext uri="{FF2B5EF4-FFF2-40B4-BE49-F238E27FC236}">
                  <a16:creationId xmlns:a16="http://schemas.microsoft.com/office/drawing/2014/main" id="{754401BF-0545-4137-8C72-78E8BDD8E107}"/>
                </a:ext>
              </a:extLst>
            </p:cNvPr>
            <p:cNvSpPr>
              <a:spLocks noEditPoints="1"/>
            </p:cNvSpPr>
            <p:nvPr/>
          </p:nvSpPr>
          <p:spPr bwMode="auto">
            <a:xfrm>
              <a:off x="-2846768" y="6058059"/>
              <a:ext cx="727722" cy="1628213"/>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2"/>
                <a:gd name="T175" fmla="*/ 0 h 1628"/>
                <a:gd name="T176" fmla="*/ 732 w 732"/>
                <a:gd name="T177" fmla="*/ 1628 h 16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5" name="MCShape 23">
              <a:extLst>
                <a:ext uri="{FF2B5EF4-FFF2-40B4-BE49-F238E27FC236}">
                  <a16:creationId xmlns:a16="http://schemas.microsoft.com/office/drawing/2014/main" id="{55FD6B60-7058-4D41-BAE4-925083723091}"/>
                </a:ext>
              </a:extLst>
            </p:cNvPr>
            <p:cNvSpPr>
              <a:spLocks noEditPoints="1"/>
            </p:cNvSpPr>
            <p:nvPr/>
          </p:nvSpPr>
          <p:spPr bwMode="auto">
            <a:xfrm>
              <a:off x="-3514285" y="4796324"/>
              <a:ext cx="280096" cy="353389"/>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80"/>
                <a:gd name="T166" fmla="*/ 0 h 353"/>
                <a:gd name="T167" fmla="*/ 280 w 280"/>
                <a:gd name="T168" fmla="*/ 353 h 3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6" name="MCShape 24">
              <a:extLst>
                <a:ext uri="{FF2B5EF4-FFF2-40B4-BE49-F238E27FC236}">
                  <a16:creationId xmlns:a16="http://schemas.microsoft.com/office/drawing/2014/main" id="{C04031FA-5771-4872-AF24-10C77D36A7CC}"/>
                </a:ext>
              </a:extLst>
            </p:cNvPr>
            <p:cNvSpPr>
              <a:spLocks/>
            </p:cNvSpPr>
            <p:nvPr/>
          </p:nvSpPr>
          <p:spPr bwMode="auto">
            <a:xfrm>
              <a:off x="4092774" y="4356549"/>
              <a:ext cx="133504" cy="230358"/>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6"/>
                <a:gd name="T40" fmla="*/ 0 h 228"/>
                <a:gd name="T41" fmla="*/ 136 w 136"/>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7" name="MCShape 25">
              <a:extLst>
                <a:ext uri="{FF2B5EF4-FFF2-40B4-BE49-F238E27FC236}">
                  <a16:creationId xmlns:a16="http://schemas.microsoft.com/office/drawing/2014/main" id="{608D4759-C23A-4393-9149-3C5D63360866}"/>
                </a:ext>
              </a:extLst>
            </p:cNvPr>
            <p:cNvSpPr>
              <a:spLocks noEditPoints="1"/>
            </p:cNvSpPr>
            <p:nvPr/>
          </p:nvSpPr>
          <p:spPr bwMode="auto">
            <a:xfrm>
              <a:off x="5857107" y="3877508"/>
              <a:ext cx="484276" cy="798400"/>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7"/>
                <a:gd name="T157" fmla="*/ 0 h 801"/>
                <a:gd name="T158" fmla="*/ 487 w 487"/>
                <a:gd name="T159" fmla="*/ 801 h 8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8" name="MCShape 26">
              <a:extLst>
                <a:ext uri="{FF2B5EF4-FFF2-40B4-BE49-F238E27FC236}">
                  <a16:creationId xmlns:a16="http://schemas.microsoft.com/office/drawing/2014/main" id="{FC7889F8-ACDC-4617-8AA2-A91B56A0F650}"/>
                </a:ext>
              </a:extLst>
            </p:cNvPr>
            <p:cNvSpPr>
              <a:spLocks/>
            </p:cNvSpPr>
            <p:nvPr/>
          </p:nvSpPr>
          <p:spPr bwMode="auto">
            <a:xfrm>
              <a:off x="5883285" y="3521500"/>
              <a:ext cx="83766" cy="180624"/>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181"/>
                <a:gd name="T35" fmla="*/ 85 w 85"/>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89" name="MCShape 27">
              <a:extLst>
                <a:ext uri="{FF2B5EF4-FFF2-40B4-BE49-F238E27FC236}">
                  <a16:creationId xmlns:a16="http://schemas.microsoft.com/office/drawing/2014/main" id="{9889066E-5AC6-4DBF-9A63-71C0FF4F246C}"/>
                </a:ext>
              </a:extLst>
            </p:cNvPr>
            <p:cNvSpPr>
              <a:spLocks noEditPoints="1"/>
            </p:cNvSpPr>
            <p:nvPr/>
          </p:nvSpPr>
          <p:spPr bwMode="auto">
            <a:xfrm>
              <a:off x="7736622" y="5241333"/>
              <a:ext cx="246064" cy="232975"/>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7"/>
                <a:gd name="T106" fmla="*/ 0 h 235"/>
                <a:gd name="T107" fmla="*/ 247 w 247"/>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0" name="MCShape 28">
              <a:extLst>
                <a:ext uri="{FF2B5EF4-FFF2-40B4-BE49-F238E27FC236}">
                  <a16:creationId xmlns:a16="http://schemas.microsoft.com/office/drawing/2014/main" id="{69297997-35C4-41B4-A70E-C045580C49FA}"/>
                </a:ext>
              </a:extLst>
            </p:cNvPr>
            <p:cNvSpPr>
              <a:spLocks/>
            </p:cNvSpPr>
            <p:nvPr/>
          </p:nvSpPr>
          <p:spPr bwMode="auto">
            <a:xfrm>
              <a:off x="5061323" y="4521464"/>
              <a:ext cx="204182" cy="293184"/>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7"/>
                <a:gd name="T88" fmla="*/ 0 h 293"/>
                <a:gd name="T89" fmla="*/ 207 w 207"/>
                <a:gd name="T90" fmla="*/ 293 h 29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1" name="MCShape 29">
              <a:extLst>
                <a:ext uri="{FF2B5EF4-FFF2-40B4-BE49-F238E27FC236}">
                  <a16:creationId xmlns:a16="http://schemas.microsoft.com/office/drawing/2014/main" id="{3B965E29-A64A-455C-B3D2-7EDDFEC7224F}"/>
                </a:ext>
              </a:extLst>
            </p:cNvPr>
            <p:cNvSpPr>
              <a:spLocks/>
            </p:cNvSpPr>
            <p:nvPr/>
          </p:nvSpPr>
          <p:spPr bwMode="auto">
            <a:xfrm>
              <a:off x="5150325" y="4102629"/>
              <a:ext cx="248682" cy="219887"/>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2"/>
                <a:gd name="T139" fmla="*/ 0 h 224"/>
                <a:gd name="T140" fmla="*/ 252 w 252"/>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2" name="MCShape 30">
              <a:extLst>
                <a:ext uri="{FF2B5EF4-FFF2-40B4-BE49-F238E27FC236}">
                  <a16:creationId xmlns:a16="http://schemas.microsoft.com/office/drawing/2014/main" id="{8CB49F7C-4AE5-4696-B1AF-84330048AFF4}"/>
                </a:ext>
              </a:extLst>
            </p:cNvPr>
            <p:cNvSpPr>
              <a:spLocks noEditPoints="1"/>
            </p:cNvSpPr>
            <p:nvPr/>
          </p:nvSpPr>
          <p:spPr bwMode="auto">
            <a:xfrm>
              <a:off x="5943492" y="2812102"/>
              <a:ext cx="193711" cy="285329"/>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1"/>
                <a:gd name="T91" fmla="*/ 0 h 284"/>
                <a:gd name="T92" fmla="*/ 191 w 191"/>
                <a:gd name="T93" fmla="*/ 284 h 2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3" name="MCShape 31">
              <a:extLst>
                <a:ext uri="{FF2B5EF4-FFF2-40B4-BE49-F238E27FC236}">
                  <a16:creationId xmlns:a16="http://schemas.microsoft.com/office/drawing/2014/main" id="{A2B6169D-8D6C-4FD5-A565-E2877D463395}"/>
                </a:ext>
              </a:extLst>
            </p:cNvPr>
            <p:cNvSpPr>
              <a:spLocks/>
            </p:cNvSpPr>
            <p:nvPr/>
          </p:nvSpPr>
          <p:spPr bwMode="auto">
            <a:xfrm>
              <a:off x="4990647" y="3673327"/>
              <a:ext cx="403127" cy="471187"/>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4"/>
                <a:gd name="T118" fmla="*/ 0 h 470"/>
                <a:gd name="T119" fmla="*/ 404 w 404"/>
                <a:gd name="T120" fmla="*/ 470 h 4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4" name="MCShape 32">
              <a:extLst>
                <a:ext uri="{FF2B5EF4-FFF2-40B4-BE49-F238E27FC236}">
                  <a16:creationId xmlns:a16="http://schemas.microsoft.com/office/drawing/2014/main" id="{0A84E5EC-C19B-434A-B580-5F15419B8747}"/>
                </a:ext>
              </a:extLst>
            </p:cNvPr>
            <p:cNvSpPr>
              <a:spLocks/>
            </p:cNvSpPr>
            <p:nvPr/>
          </p:nvSpPr>
          <p:spPr bwMode="auto">
            <a:xfrm>
              <a:off x="4880703" y="3783271"/>
              <a:ext cx="421449" cy="801018"/>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800"/>
                <a:gd name="T170" fmla="*/ 420 w 420"/>
                <a:gd name="T171" fmla="*/ 800 h 8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5" name="MCShape 33">
              <a:extLst>
                <a:ext uri="{FF2B5EF4-FFF2-40B4-BE49-F238E27FC236}">
                  <a16:creationId xmlns:a16="http://schemas.microsoft.com/office/drawing/2014/main" id="{8B482DB4-4D3B-468F-86BF-915441E317A7}"/>
                </a:ext>
              </a:extLst>
            </p:cNvPr>
            <p:cNvSpPr>
              <a:spLocks/>
            </p:cNvSpPr>
            <p:nvPr/>
          </p:nvSpPr>
          <p:spPr bwMode="auto">
            <a:xfrm>
              <a:off x="5079649" y="3626207"/>
              <a:ext cx="408362" cy="795782"/>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7"/>
                <a:gd name="T157" fmla="*/ 0 h 795"/>
                <a:gd name="T158" fmla="*/ 407 w 407"/>
                <a:gd name="T159" fmla="*/ 795 h 79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6" name="MCShape 34">
              <a:extLst>
                <a:ext uri="{FF2B5EF4-FFF2-40B4-BE49-F238E27FC236}">
                  <a16:creationId xmlns:a16="http://schemas.microsoft.com/office/drawing/2014/main" id="{C917A66F-3EC1-43BB-BB95-3F8434B91A3B}"/>
                </a:ext>
              </a:extLst>
            </p:cNvPr>
            <p:cNvSpPr>
              <a:spLocks/>
            </p:cNvSpPr>
            <p:nvPr/>
          </p:nvSpPr>
          <p:spPr bwMode="auto">
            <a:xfrm>
              <a:off x="3995919" y="3236171"/>
              <a:ext cx="395273" cy="232975"/>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00"/>
                <a:gd name="T169" fmla="*/ 0 h 233"/>
                <a:gd name="T170" fmla="*/ 400 w 400"/>
                <a:gd name="T171" fmla="*/ 233 h 2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7" name="MCShape 35">
              <a:extLst>
                <a:ext uri="{FF2B5EF4-FFF2-40B4-BE49-F238E27FC236}">
                  <a16:creationId xmlns:a16="http://schemas.microsoft.com/office/drawing/2014/main" id="{0D6FFDD4-52E8-4C26-A1C4-C28AA5712421}"/>
                </a:ext>
              </a:extLst>
            </p:cNvPr>
            <p:cNvSpPr>
              <a:spLocks/>
            </p:cNvSpPr>
            <p:nvPr/>
          </p:nvSpPr>
          <p:spPr bwMode="auto">
            <a:xfrm>
              <a:off x="4404281" y="3353966"/>
              <a:ext cx="175386" cy="96856"/>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93"/>
                <a:gd name="T53" fmla="*/ 176 w 176"/>
                <a:gd name="T54" fmla="*/ 93 h 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8" name="MCShape 36">
              <a:extLst>
                <a:ext uri="{FF2B5EF4-FFF2-40B4-BE49-F238E27FC236}">
                  <a16:creationId xmlns:a16="http://schemas.microsoft.com/office/drawing/2014/main" id="{D19326AF-5D29-4985-B46A-E8AD18C4F36C}"/>
                </a:ext>
              </a:extLst>
            </p:cNvPr>
            <p:cNvSpPr>
              <a:spLocks/>
            </p:cNvSpPr>
            <p:nvPr/>
          </p:nvSpPr>
          <p:spPr bwMode="auto">
            <a:xfrm>
              <a:off x="4396428" y="3456058"/>
              <a:ext cx="246064" cy="285329"/>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7"/>
                <a:gd name="T163" fmla="*/ 0 h 284"/>
                <a:gd name="T164" fmla="*/ 247 w 247"/>
                <a:gd name="T165" fmla="*/ 284 h 2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299" name="MCShape 37">
              <a:extLst>
                <a:ext uri="{FF2B5EF4-FFF2-40B4-BE49-F238E27FC236}">
                  <a16:creationId xmlns:a16="http://schemas.microsoft.com/office/drawing/2014/main" id="{781C565E-D12A-40C8-BEDC-C57E08732DB7}"/>
                </a:ext>
              </a:extLst>
            </p:cNvPr>
            <p:cNvSpPr>
              <a:spLocks noEditPoints="1"/>
            </p:cNvSpPr>
            <p:nvPr/>
          </p:nvSpPr>
          <p:spPr bwMode="auto">
            <a:xfrm>
              <a:off x="3503790" y="2942987"/>
              <a:ext cx="1301000" cy="1581095"/>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04"/>
                <a:gd name="T172" fmla="*/ 0 h 1578"/>
                <a:gd name="T173" fmla="*/ 1304 w 1304"/>
                <a:gd name="T174" fmla="*/ 1578 h 157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0" name="MCShape 38">
              <a:extLst>
                <a:ext uri="{FF2B5EF4-FFF2-40B4-BE49-F238E27FC236}">
                  <a16:creationId xmlns:a16="http://schemas.microsoft.com/office/drawing/2014/main" id="{5C37C4F2-8CE8-4E82-89EA-95D6F5712CA3}"/>
                </a:ext>
              </a:extLst>
            </p:cNvPr>
            <p:cNvSpPr>
              <a:spLocks/>
            </p:cNvSpPr>
            <p:nvPr/>
          </p:nvSpPr>
          <p:spPr bwMode="auto">
            <a:xfrm>
              <a:off x="4618934" y="3348733"/>
              <a:ext cx="424069" cy="999964"/>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6"/>
                <a:gd name="T130" fmla="*/ 0 h 1001"/>
                <a:gd name="T131" fmla="*/ 426 w 426"/>
                <a:gd name="T132" fmla="*/ 1001 h 10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1" name="MCShape 39">
              <a:extLst>
                <a:ext uri="{FF2B5EF4-FFF2-40B4-BE49-F238E27FC236}">
                  <a16:creationId xmlns:a16="http://schemas.microsoft.com/office/drawing/2014/main" id="{8A95A541-190E-47FA-8D16-1907A263B58F}"/>
                </a:ext>
              </a:extLst>
            </p:cNvPr>
            <p:cNvSpPr>
              <a:spLocks/>
            </p:cNvSpPr>
            <p:nvPr/>
          </p:nvSpPr>
          <p:spPr bwMode="auto">
            <a:xfrm>
              <a:off x="5791665" y="2576509"/>
              <a:ext cx="222504" cy="280095"/>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0"/>
                <a:gd name="T142" fmla="*/ 0 h 280"/>
                <a:gd name="T143" fmla="*/ 220 w 220"/>
                <a:gd name="T144" fmla="*/ 280 h 28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2" name="MCShape 40">
              <a:extLst>
                <a:ext uri="{FF2B5EF4-FFF2-40B4-BE49-F238E27FC236}">
                  <a16:creationId xmlns:a16="http://schemas.microsoft.com/office/drawing/2014/main" id="{005381E1-BAE4-42BD-BD76-336C04D16D3B}"/>
                </a:ext>
              </a:extLst>
            </p:cNvPr>
            <p:cNvSpPr>
              <a:spLocks noEditPoints="1"/>
            </p:cNvSpPr>
            <p:nvPr/>
          </p:nvSpPr>
          <p:spPr bwMode="auto">
            <a:xfrm>
              <a:off x="3592792" y="2016320"/>
              <a:ext cx="2437084" cy="1882132"/>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41"/>
                <a:gd name="T181" fmla="*/ 0 h 1882"/>
                <a:gd name="T182" fmla="*/ 2441 w 2441"/>
                <a:gd name="T183" fmla="*/ 1882 h 18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3" name="MCShape 41">
              <a:extLst>
                <a:ext uri="{FF2B5EF4-FFF2-40B4-BE49-F238E27FC236}">
                  <a16:creationId xmlns:a16="http://schemas.microsoft.com/office/drawing/2014/main" id="{605ED88D-CC8B-453E-9B02-5F9423103B28}"/>
                </a:ext>
              </a:extLst>
            </p:cNvPr>
            <p:cNvSpPr>
              <a:spLocks/>
            </p:cNvSpPr>
            <p:nvPr/>
          </p:nvSpPr>
          <p:spPr bwMode="auto">
            <a:xfrm>
              <a:off x="982936" y="2924662"/>
              <a:ext cx="31411" cy="34031"/>
            </a:xfrm>
            <a:custGeom>
              <a:avLst/>
              <a:gdLst>
                <a:gd name="T0" fmla="*/ 23 w 34"/>
                <a:gd name="T1" fmla="*/ 33 h 33"/>
                <a:gd name="T2" fmla="*/ 8 w 34"/>
                <a:gd name="T3" fmla="*/ 14 h 33"/>
                <a:gd name="T4" fmla="*/ 23 w 34"/>
                <a:gd name="T5" fmla="*/ 33 h 33"/>
                <a:gd name="T6" fmla="*/ 0 60000 65536"/>
                <a:gd name="T7" fmla="*/ 0 60000 65536"/>
                <a:gd name="T8" fmla="*/ 0 60000 65536"/>
                <a:gd name="T9" fmla="*/ 0 w 34"/>
                <a:gd name="T10" fmla="*/ 0 h 33"/>
                <a:gd name="T11" fmla="*/ 34 w 34"/>
                <a:gd name="T12" fmla="*/ 33 h 33"/>
              </a:gdLst>
              <a:ahLst/>
              <a:cxnLst>
                <a:cxn ang="T6">
                  <a:pos x="T0" y="T1"/>
                </a:cxn>
                <a:cxn ang="T7">
                  <a:pos x="T2" y="T3"/>
                </a:cxn>
                <a:cxn ang="T8">
                  <a:pos x="T4" y="T5"/>
                </a:cxn>
              </a:cxnLst>
              <a:rect l="T9" t="T10" r="T11" b="T12"/>
              <a:pathLst>
                <a:path w="34" h="33">
                  <a:moveTo>
                    <a:pt x="23" y="33"/>
                  </a:moveTo>
                  <a:cubicBezTo>
                    <a:pt x="34" y="20"/>
                    <a:pt x="16" y="0"/>
                    <a:pt x="8" y="14"/>
                  </a:cubicBezTo>
                  <a:cubicBezTo>
                    <a:pt x="0" y="28"/>
                    <a:pt x="23" y="33"/>
                    <a:pt x="23" y="33"/>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4" name="MCShape 42">
              <a:extLst>
                <a:ext uri="{FF2B5EF4-FFF2-40B4-BE49-F238E27FC236}">
                  <a16:creationId xmlns:a16="http://schemas.microsoft.com/office/drawing/2014/main" id="{C10ECF2B-CB1A-4A03-AF01-BFC074D6675E}"/>
                </a:ext>
              </a:extLst>
            </p:cNvPr>
            <p:cNvSpPr>
              <a:spLocks/>
            </p:cNvSpPr>
            <p:nvPr/>
          </p:nvSpPr>
          <p:spPr bwMode="auto">
            <a:xfrm>
              <a:off x="1794426" y="2966545"/>
              <a:ext cx="96856" cy="62825"/>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60"/>
                <a:gd name="T32" fmla="*/ 98 w 98"/>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5" name="MCShape 43">
              <a:extLst>
                <a:ext uri="{FF2B5EF4-FFF2-40B4-BE49-F238E27FC236}">
                  <a16:creationId xmlns:a16="http://schemas.microsoft.com/office/drawing/2014/main" id="{2E969034-B95B-46CD-9B4B-27AC7944605E}"/>
                </a:ext>
              </a:extLst>
            </p:cNvPr>
            <p:cNvSpPr>
              <a:spLocks/>
            </p:cNvSpPr>
            <p:nvPr/>
          </p:nvSpPr>
          <p:spPr bwMode="auto">
            <a:xfrm>
              <a:off x="-425389" y="1382836"/>
              <a:ext cx="395275" cy="151827"/>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6"/>
                <a:gd name="T100" fmla="*/ 0 h 152"/>
                <a:gd name="T101" fmla="*/ 396 w 396"/>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6" name="MCShape 44">
              <a:extLst>
                <a:ext uri="{FF2B5EF4-FFF2-40B4-BE49-F238E27FC236}">
                  <a16:creationId xmlns:a16="http://schemas.microsoft.com/office/drawing/2014/main" id="{2DF1B87C-8D0D-4F25-AF2F-2372D856FE4D}"/>
                </a:ext>
              </a:extLst>
            </p:cNvPr>
            <p:cNvSpPr>
              <a:spLocks/>
            </p:cNvSpPr>
            <p:nvPr/>
          </p:nvSpPr>
          <p:spPr bwMode="auto">
            <a:xfrm>
              <a:off x="2726330" y="3456058"/>
              <a:ext cx="225122" cy="212033"/>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4"/>
                <a:gd name="T64" fmla="*/ 0 h 215"/>
                <a:gd name="T65" fmla="*/ 224 w 224"/>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7" name="MCShape 45">
              <a:extLst>
                <a:ext uri="{FF2B5EF4-FFF2-40B4-BE49-F238E27FC236}">
                  <a16:creationId xmlns:a16="http://schemas.microsoft.com/office/drawing/2014/main" id="{0B07980E-5305-44E5-A859-0B5B25898586}"/>
                </a:ext>
              </a:extLst>
            </p:cNvPr>
            <p:cNvSpPr>
              <a:spLocks/>
            </p:cNvSpPr>
            <p:nvPr/>
          </p:nvSpPr>
          <p:spPr bwMode="auto">
            <a:xfrm>
              <a:off x="2765597" y="3537207"/>
              <a:ext cx="363860" cy="445009"/>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4"/>
                <a:gd name="T85" fmla="*/ 0 h 445"/>
                <a:gd name="T86" fmla="*/ 364 w 364"/>
                <a:gd name="T87" fmla="*/ 445 h 44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8" name="MCShape 46">
              <a:extLst>
                <a:ext uri="{FF2B5EF4-FFF2-40B4-BE49-F238E27FC236}">
                  <a16:creationId xmlns:a16="http://schemas.microsoft.com/office/drawing/2014/main" id="{568B11C0-D372-46E6-853D-B6797D5FD266}"/>
                </a:ext>
              </a:extLst>
            </p:cNvPr>
            <p:cNvSpPr>
              <a:spLocks/>
            </p:cNvSpPr>
            <p:nvPr/>
          </p:nvSpPr>
          <p:spPr bwMode="auto">
            <a:xfrm>
              <a:off x="2689682" y="3471765"/>
              <a:ext cx="49736" cy="96855"/>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98"/>
                <a:gd name="T35" fmla="*/ 49 w 49"/>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09" name="MCShape 47">
              <a:extLst>
                <a:ext uri="{FF2B5EF4-FFF2-40B4-BE49-F238E27FC236}">
                  <a16:creationId xmlns:a16="http://schemas.microsoft.com/office/drawing/2014/main" id="{11352153-9D1C-4928-984C-D4C06B986325}"/>
                </a:ext>
              </a:extLst>
            </p:cNvPr>
            <p:cNvSpPr>
              <a:spLocks/>
            </p:cNvSpPr>
            <p:nvPr/>
          </p:nvSpPr>
          <p:spPr bwMode="auto">
            <a:xfrm>
              <a:off x="3124221" y="2890633"/>
              <a:ext cx="698928" cy="706782"/>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01"/>
                <a:gd name="T139" fmla="*/ 0 h 705"/>
                <a:gd name="T140" fmla="*/ 701 w 701"/>
                <a:gd name="T141" fmla="*/ 705 h 7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0" name="MCShape 48">
              <a:extLst>
                <a:ext uri="{FF2B5EF4-FFF2-40B4-BE49-F238E27FC236}">
                  <a16:creationId xmlns:a16="http://schemas.microsoft.com/office/drawing/2014/main" id="{EA5E13A0-8958-4D3E-A7F3-5836053855EC}"/>
                </a:ext>
              </a:extLst>
            </p:cNvPr>
            <p:cNvSpPr>
              <a:spLocks/>
            </p:cNvSpPr>
            <p:nvPr/>
          </p:nvSpPr>
          <p:spPr bwMode="auto">
            <a:xfrm>
              <a:off x="2100699" y="2874927"/>
              <a:ext cx="452862" cy="442393"/>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4"/>
                <a:gd name="T178" fmla="*/ 0 h 442"/>
                <a:gd name="T179" fmla="*/ 454 w 454"/>
                <a:gd name="T180" fmla="*/ 442 h 4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1" name="MCShape 49">
              <a:extLst>
                <a:ext uri="{FF2B5EF4-FFF2-40B4-BE49-F238E27FC236}">
                  <a16:creationId xmlns:a16="http://schemas.microsoft.com/office/drawing/2014/main" id="{F7D534FD-9450-4C72-A821-1270A1648E25}"/>
                </a:ext>
              </a:extLst>
            </p:cNvPr>
            <p:cNvSpPr>
              <a:spLocks/>
            </p:cNvSpPr>
            <p:nvPr/>
          </p:nvSpPr>
          <p:spPr bwMode="auto">
            <a:xfrm>
              <a:off x="2475030" y="3267584"/>
              <a:ext cx="89002" cy="81149"/>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9"/>
                <a:gd name="T52" fmla="*/ 0 h 81"/>
                <a:gd name="T53" fmla="*/ 89 w 89"/>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2" name="MCShape 50">
              <a:extLst>
                <a:ext uri="{FF2B5EF4-FFF2-40B4-BE49-F238E27FC236}">
                  <a16:creationId xmlns:a16="http://schemas.microsoft.com/office/drawing/2014/main" id="{93E89EB6-5737-4E69-9E6B-DC6750FF8958}"/>
                </a:ext>
              </a:extLst>
            </p:cNvPr>
            <p:cNvSpPr>
              <a:spLocks/>
            </p:cNvSpPr>
            <p:nvPr/>
          </p:nvSpPr>
          <p:spPr bwMode="auto">
            <a:xfrm>
              <a:off x="2294408" y="2744042"/>
              <a:ext cx="958080" cy="787929"/>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9"/>
                <a:gd name="T148" fmla="*/ 0 h 789"/>
                <a:gd name="T149" fmla="*/ 959 w 959"/>
                <a:gd name="T150" fmla="*/ 789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3" name="MCShape 51">
              <a:extLst>
                <a:ext uri="{FF2B5EF4-FFF2-40B4-BE49-F238E27FC236}">
                  <a16:creationId xmlns:a16="http://schemas.microsoft.com/office/drawing/2014/main" id="{A8225530-5EB9-4486-9D98-BCBAF69E076B}"/>
                </a:ext>
              </a:extLst>
            </p:cNvPr>
            <p:cNvSpPr>
              <a:spLocks/>
            </p:cNvSpPr>
            <p:nvPr/>
          </p:nvSpPr>
          <p:spPr bwMode="auto">
            <a:xfrm>
              <a:off x="3317932" y="2681216"/>
              <a:ext cx="371715" cy="235593"/>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2"/>
                <a:gd name="T103" fmla="*/ 0 h 238"/>
                <a:gd name="T104" fmla="*/ 372 w 372"/>
                <a:gd name="T105" fmla="*/ 238 h 2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4" name="MCShape 52">
              <a:extLst>
                <a:ext uri="{FF2B5EF4-FFF2-40B4-BE49-F238E27FC236}">
                  <a16:creationId xmlns:a16="http://schemas.microsoft.com/office/drawing/2014/main" id="{2B466155-264C-4233-A3F9-BECFAE5148C0}"/>
                </a:ext>
              </a:extLst>
            </p:cNvPr>
            <p:cNvSpPr>
              <a:spLocks/>
            </p:cNvSpPr>
            <p:nvPr/>
          </p:nvSpPr>
          <p:spPr bwMode="auto">
            <a:xfrm>
              <a:off x="3393846" y="2563418"/>
              <a:ext cx="447627" cy="212035"/>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211"/>
                <a:gd name="T110" fmla="*/ 449 w 449"/>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5" name="MCShape 53">
              <a:extLst>
                <a:ext uri="{FF2B5EF4-FFF2-40B4-BE49-F238E27FC236}">
                  <a16:creationId xmlns:a16="http://schemas.microsoft.com/office/drawing/2014/main" id="{937195EF-AB4A-41F5-AB08-D950E613D4D8}"/>
                </a:ext>
              </a:extLst>
            </p:cNvPr>
            <p:cNvSpPr>
              <a:spLocks/>
            </p:cNvSpPr>
            <p:nvPr/>
          </p:nvSpPr>
          <p:spPr bwMode="auto">
            <a:xfrm>
              <a:off x="2639946" y="2584362"/>
              <a:ext cx="672749" cy="405746"/>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4"/>
                <a:gd name="T154" fmla="*/ 0 h 406"/>
                <a:gd name="T155" fmla="*/ 674 w 674"/>
                <a:gd name="T156" fmla="*/ 406 h 40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6" name="MCShape 54">
              <a:extLst>
                <a:ext uri="{FF2B5EF4-FFF2-40B4-BE49-F238E27FC236}">
                  <a16:creationId xmlns:a16="http://schemas.microsoft.com/office/drawing/2014/main" id="{2C7D84FA-2FAA-42FE-9B46-101573D43FCC}"/>
                </a:ext>
              </a:extLst>
            </p:cNvPr>
            <p:cNvSpPr>
              <a:spLocks/>
            </p:cNvSpPr>
            <p:nvPr/>
          </p:nvSpPr>
          <p:spPr bwMode="auto">
            <a:xfrm>
              <a:off x="3061395" y="2814718"/>
              <a:ext cx="607308" cy="489513"/>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7"/>
                <a:gd name="T157" fmla="*/ 0 h 492"/>
                <a:gd name="T158" fmla="*/ 607 w 607"/>
                <a:gd name="T159" fmla="*/ 492 h 4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7" name="MCShape 55">
              <a:extLst>
                <a:ext uri="{FF2B5EF4-FFF2-40B4-BE49-F238E27FC236}">
                  <a16:creationId xmlns:a16="http://schemas.microsoft.com/office/drawing/2014/main" id="{856CE50A-D543-4315-8D0E-7357E4252219}"/>
                </a:ext>
              </a:extLst>
            </p:cNvPr>
            <p:cNvSpPr>
              <a:spLocks/>
            </p:cNvSpPr>
            <p:nvPr/>
          </p:nvSpPr>
          <p:spPr bwMode="auto">
            <a:xfrm>
              <a:off x="1927929" y="3152404"/>
              <a:ext cx="994729" cy="850753"/>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98"/>
                <a:gd name="T103" fmla="*/ 0 h 851"/>
                <a:gd name="T104" fmla="*/ 998 w 998"/>
                <a:gd name="T105" fmla="*/ 851 h 8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8" name="MCShape 56">
              <a:extLst>
                <a:ext uri="{FF2B5EF4-FFF2-40B4-BE49-F238E27FC236}">
                  <a16:creationId xmlns:a16="http://schemas.microsoft.com/office/drawing/2014/main" id="{5918D603-6076-4D7C-8F90-6DE8F333C8A8}"/>
                </a:ext>
              </a:extLst>
            </p:cNvPr>
            <p:cNvSpPr>
              <a:spLocks/>
            </p:cNvSpPr>
            <p:nvPr/>
          </p:nvSpPr>
          <p:spPr bwMode="auto">
            <a:xfrm>
              <a:off x="1922693" y="3021520"/>
              <a:ext cx="75913" cy="104709"/>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6"/>
                <a:gd name="T52" fmla="*/ 0 h 105"/>
                <a:gd name="T53" fmla="*/ 76 w 76"/>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19" name="MCShape 57">
              <a:extLst>
                <a:ext uri="{FF2B5EF4-FFF2-40B4-BE49-F238E27FC236}">
                  <a16:creationId xmlns:a16="http://schemas.microsoft.com/office/drawing/2014/main" id="{D37348BE-E5C3-431F-AB94-4977E1000A8F}"/>
                </a:ext>
              </a:extLst>
            </p:cNvPr>
            <p:cNvSpPr>
              <a:spLocks/>
            </p:cNvSpPr>
            <p:nvPr/>
          </p:nvSpPr>
          <p:spPr bwMode="auto">
            <a:xfrm>
              <a:off x="1943635" y="2872309"/>
              <a:ext cx="295800" cy="274860"/>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275"/>
                <a:gd name="T137" fmla="*/ 297 w 297"/>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0" name="MCShape 58">
              <a:extLst>
                <a:ext uri="{FF2B5EF4-FFF2-40B4-BE49-F238E27FC236}">
                  <a16:creationId xmlns:a16="http://schemas.microsoft.com/office/drawing/2014/main" id="{7D680C57-3B66-41F5-9D75-74A7454191BC}"/>
                </a:ext>
              </a:extLst>
            </p:cNvPr>
            <p:cNvSpPr>
              <a:spLocks/>
            </p:cNvSpPr>
            <p:nvPr/>
          </p:nvSpPr>
          <p:spPr bwMode="auto">
            <a:xfrm>
              <a:off x="2255142" y="2662891"/>
              <a:ext cx="151827" cy="138740"/>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0"/>
                <a:gd name="T92" fmla="*/ 152 w 152"/>
                <a:gd name="T93" fmla="*/ 140 h 1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1" name="MCShape 59">
              <a:extLst>
                <a:ext uri="{FF2B5EF4-FFF2-40B4-BE49-F238E27FC236}">
                  <a16:creationId xmlns:a16="http://schemas.microsoft.com/office/drawing/2014/main" id="{3FE43BB5-5001-4A55-A3F7-7F6764404A00}"/>
                </a:ext>
              </a:extLst>
            </p:cNvPr>
            <p:cNvSpPr>
              <a:spLocks noEditPoints="1"/>
            </p:cNvSpPr>
            <p:nvPr/>
          </p:nvSpPr>
          <p:spPr bwMode="auto">
            <a:xfrm>
              <a:off x="1461978" y="2615773"/>
              <a:ext cx="884784" cy="340302"/>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8"/>
                <a:gd name="T130" fmla="*/ 0 h 340"/>
                <a:gd name="T131" fmla="*/ 888 w 888"/>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2" name="MCShape 60">
              <a:extLst>
                <a:ext uri="{FF2B5EF4-FFF2-40B4-BE49-F238E27FC236}">
                  <a16:creationId xmlns:a16="http://schemas.microsoft.com/office/drawing/2014/main" id="{008D84CA-D179-4D40-8679-4EE5CE965541}"/>
                </a:ext>
              </a:extLst>
            </p:cNvPr>
            <p:cNvSpPr>
              <a:spLocks noEditPoints="1"/>
            </p:cNvSpPr>
            <p:nvPr/>
          </p:nvSpPr>
          <p:spPr bwMode="auto">
            <a:xfrm>
              <a:off x="1249942" y="2639333"/>
              <a:ext cx="366480" cy="366480"/>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5"/>
                <a:gd name="T172" fmla="*/ 0 h 367"/>
                <a:gd name="T173" fmla="*/ 365 w 365"/>
                <a:gd name="T174" fmla="*/ 367 h 3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3" name="MCShape 61">
              <a:extLst>
                <a:ext uri="{FF2B5EF4-FFF2-40B4-BE49-F238E27FC236}">
                  <a16:creationId xmlns:a16="http://schemas.microsoft.com/office/drawing/2014/main" id="{9E66DC77-A14B-4A7F-8AAE-D7FC2F577D6C}"/>
                </a:ext>
              </a:extLst>
            </p:cNvPr>
            <p:cNvSpPr>
              <a:spLocks/>
            </p:cNvSpPr>
            <p:nvPr/>
          </p:nvSpPr>
          <p:spPr bwMode="auto">
            <a:xfrm>
              <a:off x="1192353" y="2592214"/>
              <a:ext cx="99473" cy="164915"/>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65"/>
                <a:gd name="T104" fmla="*/ 100 w 100"/>
                <a:gd name="T105" fmla="*/ 165 h 1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4" name="MCShape 62">
              <a:extLst>
                <a:ext uri="{FF2B5EF4-FFF2-40B4-BE49-F238E27FC236}">
                  <a16:creationId xmlns:a16="http://schemas.microsoft.com/office/drawing/2014/main" id="{AC862963-1418-4DB0-A0CB-412622E0B8C9}"/>
                </a:ext>
              </a:extLst>
            </p:cNvPr>
            <p:cNvSpPr>
              <a:spLocks/>
            </p:cNvSpPr>
            <p:nvPr/>
          </p:nvSpPr>
          <p:spPr bwMode="auto">
            <a:xfrm>
              <a:off x="1331091" y="2511064"/>
              <a:ext cx="269622" cy="157062"/>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155"/>
                <a:gd name="T98" fmla="*/ 267 w 267"/>
                <a:gd name="T99" fmla="*/ 155 h 1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5" name="MCShape 63">
              <a:extLst>
                <a:ext uri="{FF2B5EF4-FFF2-40B4-BE49-F238E27FC236}">
                  <a16:creationId xmlns:a16="http://schemas.microsoft.com/office/drawing/2014/main" id="{F928DDBF-6EB1-4E66-A8C0-668DE0D1FB26}"/>
                </a:ext>
              </a:extLst>
            </p:cNvPr>
            <p:cNvSpPr>
              <a:spLocks/>
            </p:cNvSpPr>
            <p:nvPr/>
          </p:nvSpPr>
          <p:spPr bwMode="auto">
            <a:xfrm>
              <a:off x="1257796" y="2605302"/>
              <a:ext cx="109944" cy="89002"/>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
                <a:gd name="T79" fmla="*/ 0 h 87"/>
                <a:gd name="T80" fmla="*/ 111 w 111"/>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6" name="MCShape 64">
              <a:extLst>
                <a:ext uri="{FF2B5EF4-FFF2-40B4-BE49-F238E27FC236}">
                  <a16:creationId xmlns:a16="http://schemas.microsoft.com/office/drawing/2014/main" id="{BBB07E42-575C-4D52-8F2B-19A7F7A7D224}"/>
                </a:ext>
              </a:extLst>
            </p:cNvPr>
            <p:cNvSpPr>
              <a:spLocks/>
            </p:cNvSpPr>
            <p:nvPr/>
          </p:nvSpPr>
          <p:spPr bwMode="auto">
            <a:xfrm>
              <a:off x="1501242" y="2283325"/>
              <a:ext cx="141356" cy="159678"/>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58"/>
                <a:gd name="T116" fmla="*/ 143 w 143"/>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7" name="MCShape 65">
              <a:extLst>
                <a:ext uri="{FF2B5EF4-FFF2-40B4-BE49-F238E27FC236}">
                  <a16:creationId xmlns:a16="http://schemas.microsoft.com/office/drawing/2014/main" id="{DBE5C2C1-D8DA-4347-9262-EA8B897C8F8A}"/>
                </a:ext>
              </a:extLst>
            </p:cNvPr>
            <p:cNvSpPr>
              <a:spLocks/>
            </p:cNvSpPr>
            <p:nvPr/>
          </p:nvSpPr>
          <p:spPr bwMode="auto">
            <a:xfrm>
              <a:off x="773520" y="2346151"/>
              <a:ext cx="15707" cy="15707"/>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 name="T14" fmla="*/ 0 60000 65536"/>
                <a:gd name="T15" fmla="*/ 0 60000 65536"/>
                <a:gd name="T16" fmla="*/ 0 60000 65536"/>
                <a:gd name="T17" fmla="*/ 0 60000 65536"/>
                <a:gd name="T18" fmla="*/ 0 60000 65536"/>
                <a:gd name="T19" fmla="*/ 0 60000 65536"/>
                <a:gd name="T20" fmla="*/ 0 60000 65536"/>
                <a:gd name="T21" fmla="*/ 0 w 15"/>
                <a:gd name="T22" fmla="*/ 0 h 16"/>
                <a:gd name="T23" fmla="*/ 15 w 1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8" name="MCShape 66">
              <a:extLst>
                <a:ext uri="{FF2B5EF4-FFF2-40B4-BE49-F238E27FC236}">
                  <a16:creationId xmlns:a16="http://schemas.microsoft.com/office/drawing/2014/main" id="{F71B5967-9792-42B8-8366-3186726ED6E6}"/>
                </a:ext>
              </a:extLst>
            </p:cNvPr>
            <p:cNvSpPr>
              <a:spLocks/>
            </p:cNvSpPr>
            <p:nvPr/>
          </p:nvSpPr>
          <p:spPr bwMode="auto">
            <a:xfrm>
              <a:off x="1236855" y="2293796"/>
              <a:ext cx="410978" cy="248682"/>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11"/>
                <a:gd name="T115" fmla="*/ 0 h 248"/>
                <a:gd name="T116" fmla="*/ 411 w 411"/>
                <a:gd name="T117" fmla="*/ 248 h 2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29" name="MCShape 67">
              <a:extLst>
                <a:ext uri="{FF2B5EF4-FFF2-40B4-BE49-F238E27FC236}">
                  <a16:creationId xmlns:a16="http://schemas.microsoft.com/office/drawing/2014/main" id="{C94F6AF0-E9CB-4888-8F0E-2FBF8FAB9E7C}"/>
                </a:ext>
              </a:extLst>
            </p:cNvPr>
            <p:cNvSpPr>
              <a:spLocks/>
            </p:cNvSpPr>
            <p:nvPr/>
          </p:nvSpPr>
          <p:spPr bwMode="auto">
            <a:xfrm>
              <a:off x="1040527" y="2453476"/>
              <a:ext cx="172769" cy="151827"/>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3"/>
                <a:gd name="T121" fmla="*/ 0 h 153"/>
                <a:gd name="T122" fmla="*/ 173 w 173"/>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0" name="MCShape 68">
              <a:extLst>
                <a:ext uri="{FF2B5EF4-FFF2-40B4-BE49-F238E27FC236}">
                  <a16:creationId xmlns:a16="http://schemas.microsoft.com/office/drawing/2014/main" id="{23012E3C-3360-48AB-84B4-E187623237E0}"/>
                </a:ext>
              </a:extLst>
            </p:cNvPr>
            <p:cNvSpPr>
              <a:spLocks/>
            </p:cNvSpPr>
            <p:nvPr/>
          </p:nvSpPr>
          <p:spPr bwMode="auto">
            <a:xfrm>
              <a:off x="956758" y="2388032"/>
              <a:ext cx="246064" cy="185856"/>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6"/>
                <a:gd name="T97" fmla="*/ 0 h 186"/>
                <a:gd name="T98" fmla="*/ 246 w 246"/>
                <a:gd name="T99" fmla="*/ 186 h 1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1" name="MCShape 69">
              <a:extLst>
                <a:ext uri="{FF2B5EF4-FFF2-40B4-BE49-F238E27FC236}">
                  <a16:creationId xmlns:a16="http://schemas.microsoft.com/office/drawing/2014/main" id="{DCA09A92-5606-429C-BE45-2A11C9857D02}"/>
                </a:ext>
              </a:extLst>
            </p:cNvPr>
            <p:cNvSpPr>
              <a:spLocks/>
            </p:cNvSpPr>
            <p:nvPr/>
          </p:nvSpPr>
          <p:spPr bwMode="auto">
            <a:xfrm>
              <a:off x="946289" y="2367092"/>
              <a:ext cx="136120" cy="78531"/>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8"/>
                <a:gd name="T106" fmla="*/ 0 h 80"/>
                <a:gd name="T107" fmla="*/ 138 w 138"/>
                <a:gd name="T108" fmla="*/ 80 h 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2" name="MCShape 70">
              <a:extLst>
                <a:ext uri="{FF2B5EF4-FFF2-40B4-BE49-F238E27FC236}">
                  <a16:creationId xmlns:a16="http://schemas.microsoft.com/office/drawing/2014/main" id="{48C00FC8-69D2-48B2-B2A0-CD19A8866D0D}"/>
                </a:ext>
              </a:extLst>
            </p:cNvPr>
            <p:cNvSpPr>
              <a:spLocks/>
            </p:cNvSpPr>
            <p:nvPr/>
          </p:nvSpPr>
          <p:spPr bwMode="auto">
            <a:xfrm>
              <a:off x="1087646" y="2225736"/>
              <a:ext cx="235593" cy="102089"/>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9"/>
                <a:gd name="T133" fmla="*/ 0 h 98"/>
                <a:gd name="T134" fmla="*/ 239 w 239"/>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3" name="MCShape 71">
              <a:extLst>
                <a:ext uri="{FF2B5EF4-FFF2-40B4-BE49-F238E27FC236}">
                  <a16:creationId xmlns:a16="http://schemas.microsoft.com/office/drawing/2014/main" id="{1C29CCE2-07F5-4344-912F-E280F874FDF1}"/>
                </a:ext>
              </a:extLst>
            </p:cNvPr>
            <p:cNvSpPr>
              <a:spLocks/>
            </p:cNvSpPr>
            <p:nvPr/>
          </p:nvSpPr>
          <p:spPr bwMode="auto">
            <a:xfrm>
              <a:off x="1061467" y="2280707"/>
              <a:ext cx="285331" cy="149209"/>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86"/>
                <a:gd name="T157" fmla="*/ 0 h 148"/>
                <a:gd name="T158" fmla="*/ 286 w 286"/>
                <a:gd name="T159" fmla="*/ 148 h 1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4" name="MCShape 72">
              <a:extLst>
                <a:ext uri="{FF2B5EF4-FFF2-40B4-BE49-F238E27FC236}">
                  <a16:creationId xmlns:a16="http://schemas.microsoft.com/office/drawing/2014/main" id="{C0DE2665-9F9E-4131-B3A5-B36F637F5998}"/>
                </a:ext>
              </a:extLst>
            </p:cNvPr>
            <p:cNvSpPr>
              <a:spLocks/>
            </p:cNvSpPr>
            <p:nvPr/>
          </p:nvSpPr>
          <p:spPr bwMode="auto">
            <a:xfrm>
              <a:off x="1236855" y="1869729"/>
              <a:ext cx="232975" cy="136120"/>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0"/>
                <a:gd name="T139" fmla="*/ 0 h 132"/>
                <a:gd name="T140" fmla="*/ 230 w 230"/>
                <a:gd name="T141" fmla="*/ 132 h 1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5" name="MCShape 73">
              <a:extLst>
                <a:ext uri="{FF2B5EF4-FFF2-40B4-BE49-F238E27FC236}">
                  <a16:creationId xmlns:a16="http://schemas.microsoft.com/office/drawing/2014/main" id="{7CCB364D-483B-48BB-B6CD-92AE80805E1D}"/>
                </a:ext>
              </a:extLst>
            </p:cNvPr>
            <p:cNvSpPr>
              <a:spLocks/>
            </p:cNvSpPr>
            <p:nvPr/>
          </p:nvSpPr>
          <p:spPr bwMode="auto">
            <a:xfrm>
              <a:off x="632164" y="2319974"/>
              <a:ext cx="196329" cy="107324"/>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6"/>
                <a:gd name="T154" fmla="*/ 0 h 109"/>
                <a:gd name="T155" fmla="*/ 196 w 196"/>
                <a:gd name="T156" fmla="*/ 109 h 10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6" name="MCShape 74">
              <a:extLst>
                <a:ext uri="{FF2B5EF4-FFF2-40B4-BE49-F238E27FC236}">
                  <a16:creationId xmlns:a16="http://schemas.microsoft.com/office/drawing/2014/main" id="{C382A67E-4086-48E1-8F6B-AEBD513E4BB7}"/>
                </a:ext>
              </a:extLst>
            </p:cNvPr>
            <p:cNvSpPr>
              <a:spLocks noEditPoints="1"/>
            </p:cNvSpPr>
            <p:nvPr/>
          </p:nvSpPr>
          <p:spPr bwMode="auto">
            <a:xfrm>
              <a:off x="658340" y="2356621"/>
              <a:ext cx="520924" cy="554955"/>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3"/>
                <a:gd name="T133" fmla="*/ 0 h 554"/>
                <a:gd name="T134" fmla="*/ 523 w 523"/>
                <a:gd name="T135" fmla="*/ 554 h 5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7" name="MCShape 75">
              <a:extLst>
                <a:ext uri="{FF2B5EF4-FFF2-40B4-BE49-F238E27FC236}">
                  <a16:creationId xmlns:a16="http://schemas.microsoft.com/office/drawing/2014/main" id="{746F3A8A-D68E-4B33-BAD2-522ABF957749}"/>
                </a:ext>
              </a:extLst>
            </p:cNvPr>
            <p:cNvSpPr>
              <a:spLocks/>
            </p:cNvSpPr>
            <p:nvPr/>
          </p:nvSpPr>
          <p:spPr bwMode="auto">
            <a:xfrm>
              <a:off x="888700" y="2149821"/>
              <a:ext cx="280096" cy="130885"/>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0"/>
                <a:gd name="T106" fmla="*/ 0 h 132"/>
                <a:gd name="T107" fmla="*/ 280 w 280"/>
                <a:gd name="T108" fmla="*/ 132 h 1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8" name="MCShape 76">
              <a:extLst>
                <a:ext uri="{FF2B5EF4-FFF2-40B4-BE49-F238E27FC236}">
                  <a16:creationId xmlns:a16="http://schemas.microsoft.com/office/drawing/2014/main" id="{CAD3CC6C-6ABC-4DAD-AB2B-D9F27266E71E}"/>
                </a:ext>
              </a:extLst>
            </p:cNvPr>
            <p:cNvSpPr>
              <a:spLocks/>
            </p:cNvSpPr>
            <p:nvPr/>
          </p:nvSpPr>
          <p:spPr bwMode="auto">
            <a:xfrm>
              <a:off x="969849" y="1958730"/>
              <a:ext cx="416215" cy="298418"/>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9"/>
                <a:gd name="T136" fmla="*/ 0 h 301"/>
                <a:gd name="T137" fmla="*/ 419 w 419"/>
                <a:gd name="T138" fmla="*/ 301 h 3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39" name="MCShape 77">
              <a:extLst>
                <a:ext uri="{FF2B5EF4-FFF2-40B4-BE49-F238E27FC236}">
                  <a16:creationId xmlns:a16="http://schemas.microsoft.com/office/drawing/2014/main" id="{06059B06-CF90-4557-B74C-6750A701AE89}"/>
                </a:ext>
              </a:extLst>
            </p:cNvPr>
            <p:cNvSpPr>
              <a:spLocks/>
            </p:cNvSpPr>
            <p:nvPr/>
          </p:nvSpPr>
          <p:spPr bwMode="auto">
            <a:xfrm>
              <a:off x="626929" y="2196941"/>
              <a:ext cx="34031" cy="34031"/>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32"/>
                <a:gd name="T29" fmla="*/ 36 w 3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0" name="MCShape 78">
              <a:extLst>
                <a:ext uri="{FF2B5EF4-FFF2-40B4-BE49-F238E27FC236}">
                  <a16:creationId xmlns:a16="http://schemas.microsoft.com/office/drawing/2014/main" id="{9FAB1B26-E540-4579-B1BD-B289D8F571A6}"/>
                </a:ext>
              </a:extLst>
            </p:cNvPr>
            <p:cNvSpPr>
              <a:spLocks/>
            </p:cNvSpPr>
            <p:nvPr/>
          </p:nvSpPr>
          <p:spPr bwMode="auto">
            <a:xfrm>
              <a:off x="786609" y="2254531"/>
              <a:ext cx="308889" cy="138740"/>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38"/>
                <a:gd name="T113" fmla="*/ 308 w 308"/>
                <a:gd name="T114" fmla="*/ 138 h 1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1" name="MCShape 79">
              <a:extLst>
                <a:ext uri="{FF2B5EF4-FFF2-40B4-BE49-F238E27FC236}">
                  <a16:creationId xmlns:a16="http://schemas.microsoft.com/office/drawing/2014/main" id="{4BB0AFDC-CB20-41F2-804C-FF0CCFB20383}"/>
                </a:ext>
              </a:extLst>
            </p:cNvPr>
            <p:cNvSpPr>
              <a:spLocks/>
            </p:cNvSpPr>
            <p:nvPr/>
          </p:nvSpPr>
          <p:spPr bwMode="auto">
            <a:xfrm>
              <a:off x="516984" y="2029407"/>
              <a:ext cx="180624" cy="143976"/>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2"/>
                <a:gd name="T175" fmla="*/ 0 h 145"/>
                <a:gd name="T176" fmla="*/ 182 w 182"/>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2" name="MCShape 80">
              <a:extLst>
                <a:ext uri="{FF2B5EF4-FFF2-40B4-BE49-F238E27FC236}">
                  <a16:creationId xmlns:a16="http://schemas.microsoft.com/office/drawing/2014/main" id="{CD763DAF-C571-4AAB-96BA-595446271F45}"/>
                </a:ext>
              </a:extLst>
            </p:cNvPr>
            <p:cNvSpPr>
              <a:spLocks/>
            </p:cNvSpPr>
            <p:nvPr/>
          </p:nvSpPr>
          <p:spPr bwMode="auto">
            <a:xfrm>
              <a:off x="509133" y="2131498"/>
              <a:ext cx="146591" cy="99473"/>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9"/>
                <a:gd name="T127" fmla="*/ 0 h 102"/>
                <a:gd name="T128" fmla="*/ 149 w 149"/>
                <a:gd name="T129" fmla="*/ 102 h 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3" name="MCShape 81">
              <a:extLst>
                <a:ext uri="{FF2B5EF4-FFF2-40B4-BE49-F238E27FC236}">
                  <a16:creationId xmlns:a16="http://schemas.microsoft.com/office/drawing/2014/main" id="{7AB45E9D-6E09-435B-B810-4D373AA025F5}"/>
                </a:ext>
              </a:extLst>
            </p:cNvPr>
            <p:cNvSpPr>
              <a:spLocks/>
            </p:cNvSpPr>
            <p:nvPr/>
          </p:nvSpPr>
          <p:spPr bwMode="auto">
            <a:xfrm>
              <a:off x="637400" y="1956112"/>
              <a:ext cx="374333" cy="392656"/>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3"/>
                <a:gd name="T151" fmla="*/ 0 h 393"/>
                <a:gd name="T152" fmla="*/ 373 w 373"/>
                <a:gd name="T153" fmla="*/ 393 h 39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4" name="MCShape 82">
              <a:extLst>
                <a:ext uri="{FF2B5EF4-FFF2-40B4-BE49-F238E27FC236}">
                  <a16:creationId xmlns:a16="http://schemas.microsoft.com/office/drawing/2014/main" id="{2D7B2E93-FE56-4B6D-9649-D2C8B8999571}"/>
                </a:ext>
              </a:extLst>
            </p:cNvPr>
            <p:cNvSpPr>
              <a:spLocks/>
            </p:cNvSpPr>
            <p:nvPr/>
          </p:nvSpPr>
          <p:spPr bwMode="auto">
            <a:xfrm>
              <a:off x="435836" y="2592214"/>
              <a:ext cx="18324" cy="10471"/>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 name="T14" fmla="*/ 0 60000 65536"/>
                <a:gd name="T15" fmla="*/ 0 60000 65536"/>
                <a:gd name="T16" fmla="*/ 0 60000 65536"/>
                <a:gd name="T17" fmla="*/ 0 60000 65536"/>
                <a:gd name="T18" fmla="*/ 0 60000 65536"/>
                <a:gd name="T19" fmla="*/ 0 60000 65536"/>
                <a:gd name="T20" fmla="*/ 0 60000 65536"/>
                <a:gd name="T21" fmla="*/ 0 w 20"/>
                <a:gd name="T22" fmla="*/ 0 h 13"/>
                <a:gd name="T23" fmla="*/ 20 w 20"/>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5" name="MCShape 83">
              <a:extLst>
                <a:ext uri="{FF2B5EF4-FFF2-40B4-BE49-F238E27FC236}">
                  <a16:creationId xmlns:a16="http://schemas.microsoft.com/office/drawing/2014/main" id="{1FF7388A-B83C-4851-8E75-63C09BF824C7}"/>
                </a:ext>
              </a:extLst>
            </p:cNvPr>
            <p:cNvSpPr>
              <a:spLocks/>
            </p:cNvSpPr>
            <p:nvPr/>
          </p:nvSpPr>
          <p:spPr bwMode="auto">
            <a:xfrm>
              <a:off x="4024712" y="2094850"/>
              <a:ext cx="1400473" cy="554955"/>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06"/>
                <a:gd name="T154" fmla="*/ 0 h 558"/>
                <a:gd name="T155" fmla="*/ 1406 w 1406"/>
                <a:gd name="T156" fmla="*/ 558 h 5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6" name="MCShape 84">
              <a:extLst>
                <a:ext uri="{FF2B5EF4-FFF2-40B4-BE49-F238E27FC236}">
                  <a16:creationId xmlns:a16="http://schemas.microsoft.com/office/drawing/2014/main" id="{653ED588-EF88-4263-872E-CBF1CC3BCE02}"/>
                </a:ext>
              </a:extLst>
            </p:cNvPr>
            <p:cNvSpPr>
              <a:spLocks/>
            </p:cNvSpPr>
            <p:nvPr/>
          </p:nvSpPr>
          <p:spPr bwMode="auto">
            <a:xfrm>
              <a:off x="2090228" y="2542478"/>
              <a:ext cx="306271" cy="143976"/>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44"/>
                <a:gd name="T113" fmla="*/ 308 w 308"/>
                <a:gd name="T114" fmla="*/ 144 h 1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7" name="MCShape 85">
              <a:extLst>
                <a:ext uri="{FF2B5EF4-FFF2-40B4-BE49-F238E27FC236}">
                  <a16:creationId xmlns:a16="http://schemas.microsoft.com/office/drawing/2014/main" id="{AAADC91A-6523-4503-9D43-49498C168A14}"/>
                </a:ext>
              </a:extLst>
            </p:cNvPr>
            <p:cNvSpPr>
              <a:spLocks noEditPoints="1"/>
            </p:cNvSpPr>
            <p:nvPr/>
          </p:nvSpPr>
          <p:spPr bwMode="auto">
            <a:xfrm>
              <a:off x="2325820" y="2631480"/>
              <a:ext cx="240829" cy="193711"/>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0"/>
                <a:gd name="T187" fmla="*/ 0 h 194"/>
                <a:gd name="T188" fmla="*/ 240 w 240"/>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8" name="MCShape 86">
              <a:extLst>
                <a:ext uri="{FF2B5EF4-FFF2-40B4-BE49-F238E27FC236}">
                  <a16:creationId xmlns:a16="http://schemas.microsoft.com/office/drawing/2014/main" id="{611F44F8-2CE2-4960-B332-A2252D6AE276}"/>
                </a:ext>
              </a:extLst>
            </p:cNvPr>
            <p:cNvSpPr>
              <a:spLocks/>
            </p:cNvSpPr>
            <p:nvPr/>
          </p:nvSpPr>
          <p:spPr bwMode="auto">
            <a:xfrm>
              <a:off x="1307531" y="2084380"/>
              <a:ext cx="751282" cy="416215"/>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0"/>
                <a:gd name="T154" fmla="*/ 0 h 415"/>
                <a:gd name="T155" fmla="*/ 750 w 750"/>
                <a:gd name="T156" fmla="*/ 415 h 4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49" name="MCShape 87">
              <a:extLst>
                <a:ext uri="{FF2B5EF4-FFF2-40B4-BE49-F238E27FC236}">
                  <a16:creationId xmlns:a16="http://schemas.microsoft.com/office/drawing/2014/main" id="{E1C6C917-CBC9-4C53-B3EF-5515459E0F31}"/>
                </a:ext>
              </a:extLst>
            </p:cNvPr>
            <p:cNvSpPr>
              <a:spLocks/>
            </p:cNvSpPr>
            <p:nvPr/>
          </p:nvSpPr>
          <p:spPr bwMode="auto">
            <a:xfrm>
              <a:off x="1333709" y="1890669"/>
              <a:ext cx="382184" cy="248682"/>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82"/>
                <a:gd name="T118" fmla="*/ 0 h 250"/>
                <a:gd name="T119" fmla="*/ 382 w 382"/>
                <a:gd name="T120" fmla="*/ 250 h 2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0" name="MCShape 88">
              <a:extLst>
                <a:ext uri="{FF2B5EF4-FFF2-40B4-BE49-F238E27FC236}">
                  <a16:creationId xmlns:a16="http://schemas.microsoft.com/office/drawing/2014/main" id="{2B3673A0-60BA-4686-BE4D-1F6B13D8E819}"/>
                </a:ext>
              </a:extLst>
            </p:cNvPr>
            <p:cNvSpPr>
              <a:spLocks/>
            </p:cNvSpPr>
            <p:nvPr/>
          </p:nvSpPr>
          <p:spPr bwMode="auto">
            <a:xfrm>
              <a:off x="1234237" y="1791196"/>
              <a:ext cx="285331" cy="120415"/>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6"/>
                <a:gd name="T133" fmla="*/ 0 h 123"/>
                <a:gd name="T134" fmla="*/ 286 w 286"/>
                <a:gd name="T135" fmla="*/ 123 h 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1" name="MCShape 89">
              <a:extLst>
                <a:ext uri="{FF2B5EF4-FFF2-40B4-BE49-F238E27FC236}">
                  <a16:creationId xmlns:a16="http://schemas.microsoft.com/office/drawing/2014/main" id="{9801B2FC-2E2C-42D3-98AD-EDE68101AAFC}"/>
                </a:ext>
              </a:extLst>
            </p:cNvPr>
            <p:cNvSpPr>
              <a:spLocks/>
            </p:cNvSpPr>
            <p:nvPr/>
          </p:nvSpPr>
          <p:spPr bwMode="auto">
            <a:xfrm>
              <a:off x="1176647" y="1223152"/>
              <a:ext cx="421451" cy="481658"/>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2"/>
                <a:gd name="T133" fmla="*/ 0 h 480"/>
                <a:gd name="T134" fmla="*/ 422 w 422"/>
                <a:gd name="T135" fmla="*/ 480 h 4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2" name="MCShape 90">
              <a:extLst>
                <a:ext uri="{FF2B5EF4-FFF2-40B4-BE49-F238E27FC236}">
                  <a16:creationId xmlns:a16="http://schemas.microsoft.com/office/drawing/2014/main" id="{1A2FB70A-E018-4873-9DC6-1ED8B9FB19D5}"/>
                </a:ext>
              </a:extLst>
            </p:cNvPr>
            <p:cNvSpPr>
              <a:spLocks/>
            </p:cNvSpPr>
            <p:nvPr/>
          </p:nvSpPr>
          <p:spPr bwMode="auto">
            <a:xfrm>
              <a:off x="1927929" y="3136698"/>
              <a:ext cx="34029" cy="70677"/>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70"/>
                <a:gd name="T29" fmla="*/ 32 w 3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3" name="MCShape 91">
              <a:extLst>
                <a:ext uri="{FF2B5EF4-FFF2-40B4-BE49-F238E27FC236}">
                  <a16:creationId xmlns:a16="http://schemas.microsoft.com/office/drawing/2014/main" id="{37C1B917-8A0A-42EB-83A2-E089DF9ADC25}"/>
                </a:ext>
              </a:extLst>
            </p:cNvPr>
            <p:cNvSpPr>
              <a:spLocks/>
            </p:cNvSpPr>
            <p:nvPr/>
          </p:nvSpPr>
          <p:spPr bwMode="auto">
            <a:xfrm>
              <a:off x="1943635" y="3092196"/>
              <a:ext cx="185856" cy="232976"/>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6"/>
                <a:gd name="T88" fmla="*/ 0 h 236"/>
                <a:gd name="T89" fmla="*/ 186 w 186"/>
                <a:gd name="T90" fmla="*/ 236 h 2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4" name="MCShape 92">
              <a:extLst>
                <a:ext uri="{FF2B5EF4-FFF2-40B4-BE49-F238E27FC236}">
                  <a16:creationId xmlns:a16="http://schemas.microsoft.com/office/drawing/2014/main" id="{86738E49-C7F7-4139-99C3-C5718ADAEAAD}"/>
                </a:ext>
              </a:extLst>
            </p:cNvPr>
            <p:cNvSpPr>
              <a:spLocks/>
            </p:cNvSpPr>
            <p:nvPr/>
          </p:nvSpPr>
          <p:spPr bwMode="auto">
            <a:xfrm>
              <a:off x="1901753" y="3086962"/>
              <a:ext cx="68062" cy="214653"/>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216"/>
                <a:gd name="T83" fmla="*/ 67 w 67"/>
                <a:gd name="T84" fmla="*/ 216 h 2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5" name="MCShape 93">
              <a:extLst>
                <a:ext uri="{FF2B5EF4-FFF2-40B4-BE49-F238E27FC236}">
                  <a16:creationId xmlns:a16="http://schemas.microsoft.com/office/drawing/2014/main" id="{E004A1BB-B229-41FD-9FF6-876889F68E4A}"/>
                </a:ext>
              </a:extLst>
            </p:cNvPr>
            <p:cNvSpPr>
              <a:spLocks/>
            </p:cNvSpPr>
            <p:nvPr/>
          </p:nvSpPr>
          <p:spPr bwMode="auto">
            <a:xfrm>
              <a:off x="-448948" y="3398469"/>
              <a:ext cx="400509" cy="342920"/>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1"/>
                <a:gd name="T106" fmla="*/ 0 h 343"/>
                <a:gd name="T107" fmla="*/ 401 w 401"/>
                <a:gd name="T108" fmla="*/ 343 h 3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6" name="MCShape 94">
              <a:extLst>
                <a:ext uri="{FF2B5EF4-FFF2-40B4-BE49-F238E27FC236}">
                  <a16:creationId xmlns:a16="http://schemas.microsoft.com/office/drawing/2014/main" id="{8DC04F11-6B31-43C9-AFDF-ED223EE8797C}"/>
                </a:ext>
              </a:extLst>
            </p:cNvPr>
            <p:cNvSpPr>
              <a:spLocks/>
            </p:cNvSpPr>
            <p:nvPr/>
          </p:nvSpPr>
          <p:spPr bwMode="auto">
            <a:xfrm>
              <a:off x="-433242" y="4199487"/>
              <a:ext cx="123031" cy="102089"/>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03"/>
                <a:gd name="T71" fmla="*/ 125 w 125"/>
                <a:gd name="T72" fmla="*/ 103 h 1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7" name="MCShape 95">
              <a:extLst>
                <a:ext uri="{FF2B5EF4-FFF2-40B4-BE49-F238E27FC236}">
                  <a16:creationId xmlns:a16="http://schemas.microsoft.com/office/drawing/2014/main" id="{5C54FE86-AFAA-4DF9-964B-4683D8175DD9}"/>
                </a:ext>
              </a:extLst>
            </p:cNvPr>
            <p:cNvSpPr>
              <a:spLocks/>
            </p:cNvSpPr>
            <p:nvPr/>
          </p:nvSpPr>
          <p:spPr bwMode="auto">
            <a:xfrm>
              <a:off x="-454184" y="4139279"/>
              <a:ext cx="151827" cy="39267"/>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39"/>
                <a:gd name="T53" fmla="*/ 154 w 154"/>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8" name="MCShape 96">
              <a:extLst>
                <a:ext uri="{FF2B5EF4-FFF2-40B4-BE49-F238E27FC236}">
                  <a16:creationId xmlns:a16="http://schemas.microsoft.com/office/drawing/2014/main" id="{4F388003-19BA-41B8-B801-AEDF2358BB34}"/>
                </a:ext>
              </a:extLst>
            </p:cNvPr>
            <p:cNvSpPr>
              <a:spLocks/>
            </p:cNvSpPr>
            <p:nvPr/>
          </p:nvSpPr>
          <p:spPr bwMode="auto">
            <a:xfrm>
              <a:off x="-223826" y="4414140"/>
              <a:ext cx="206797" cy="235593"/>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7"/>
                <a:gd name="T97" fmla="*/ 0 h 236"/>
                <a:gd name="T98" fmla="*/ 207 w 207"/>
                <a:gd name="T99" fmla="*/ 236 h 2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59" name="MCShape 97">
              <a:extLst>
                <a:ext uri="{FF2B5EF4-FFF2-40B4-BE49-F238E27FC236}">
                  <a16:creationId xmlns:a16="http://schemas.microsoft.com/office/drawing/2014/main" id="{1B2152E7-F7A6-49AA-A66A-86F86542F1B8}"/>
                </a:ext>
              </a:extLst>
            </p:cNvPr>
            <p:cNvSpPr>
              <a:spLocks/>
            </p:cNvSpPr>
            <p:nvPr/>
          </p:nvSpPr>
          <p:spPr bwMode="auto">
            <a:xfrm>
              <a:off x="-294506" y="4340842"/>
              <a:ext cx="138740" cy="178004"/>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0"/>
                <a:gd name="T76" fmla="*/ 0 h 179"/>
                <a:gd name="T77" fmla="*/ 140 w 140"/>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0" name="MCShape 98">
              <a:extLst>
                <a:ext uri="{FF2B5EF4-FFF2-40B4-BE49-F238E27FC236}">
                  <a16:creationId xmlns:a16="http://schemas.microsoft.com/office/drawing/2014/main" id="{85D2B8A9-F932-483B-8C7A-058F5D8822EB}"/>
                </a:ext>
              </a:extLst>
            </p:cNvPr>
            <p:cNvSpPr>
              <a:spLocks/>
            </p:cNvSpPr>
            <p:nvPr/>
          </p:nvSpPr>
          <p:spPr bwMode="auto">
            <a:xfrm>
              <a:off x="1577157" y="6416685"/>
              <a:ext cx="109944" cy="112562"/>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1"/>
                <a:gd name="T64" fmla="*/ 0 h 114"/>
                <a:gd name="T65" fmla="*/ 111 w 111"/>
                <a:gd name="T66" fmla="*/ 114 h 1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1" name="MCShape 99">
              <a:extLst>
                <a:ext uri="{FF2B5EF4-FFF2-40B4-BE49-F238E27FC236}">
                  <a16:creationId xmlns:a16="http://schemas.microsoft.com/office/drawing/2014/main" id="{FD05DEAB-A915-4D33-9954-E89B2C7D7D7E}"/>
                </a:ext>
              </a:extLst>
            </p:cNvPr>
            <p:cNvSpPr>
              <a:spLocks/>
            </p:cNvSpPr>
            <p:nvPr/>
          </p:nvSpPr>
          <p:spPr bwMode="auto">
            <a:xfrm>
              <a:off x="742107" y="4754440"/>
              <a:ext cx="280096" cy="340302"/>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1"/>
                <a:gd name="T103" fmla="*/ 0 h 339"/>
                <a:gd name="T104" fmla="*/ 281 w 281"/>
                <a:gd name="T105" fmla="*/ 339 h 3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2" name="MCShape 100">
              <a:extLst>
                <a:ext uri="{FF2B5EF4-FFF2-40B4-BE49-F238E27FC236}">
                  <a16:creationId xmlns:a16="http://schemas.microsoft.com/office/drawing/2014/main" id="{45A5B79A-FFC7-44D2-95CE-23AEEC51E5A0}"/>
                </a:ext>
              </a:extLst>
            </p:cNvPr>
            <p:cNvSpPr>
              <a:spLocks/>
            </p:cNvSpPr>
            <p:nvPr/>
          </p:nvSpPr>
          <p:spPr bwMode="auto">
            <a:xfrm>
              <a:off x="1757777" y="6267474"/>
              <a:ext cx="73296" cy="86384"/>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87"/>
                <a:gd name="T38" fmla="*/ 73 w 73"/>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3" name="MCShape 101">
              <a:extLst>
                <a:ext uri="{FF2B5EF4-FFF2-40B4-BE49-F238E27FC236}">
                  <a16:creationId xmlns:a16="http://schemas.microsoft.com/office/drawing/2014/main" id="{E2D9343F-1193-4D0D-869C-AD244A451895}"/>
                </a:ext>
              </a:extLst>
            </p:cNvPr>
            <p:cNvSpPr>
              <a:spLocks/>
            </p:cNvSpPr>
            <p:nvPr/>
          </p:nvSpPr>
          <p:spPr bwMode="auto">
            <a:xfrm>
              <a:off x="880846" y="5793668"/>
              <a:ext cx="636102" cy="649191"/>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5"/>
                <a:gd name="T106" fmla="*/ 0 h 648"/>
                <a:gd name="T107" fmla="*/ 635 w 635"/>
                <a:gd name="T108" fmla="*/ 648 h 6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4" name="MCShape 102">
              <a:extLst>
                <a:ext uri="{FF2B5EF4-FFF2-40B4-BE49-F238E27FC236}">
                  <a16:creationId xmlns:a16="http://schemas.microsoft.com/office/drawing/2014/main" id="{16B301C2-7057-46C0-A591-F47695686B47}"/>
                </a:ext>
              </a:extLst>
            </p:cNvPr>
            <p:cNvSpPr>
              <a:spLocks/>
            </p:cNvSpPr>
            <p:nvPr/>
          </p:nvSpPr>
          <p:spPr bwMode="auto">
            <a:xfrm>
              <a:off x="1516949" y="5722992"/>
              <a:ext cx="369098" cy="366480"/>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2"/>
                <a:gd name="T184" fmla="*/ 0 h 366"/>
                <a:gd name="T185" fmla="*/ 372 w 372"/>
                <a:gd name="T186" fmla="*/ 366 h 36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5" name="MCShape 103">
              <a:extLst>
                <a:ext uri="{FF2B5EF4-FFF2-40B4-BE49-F238E27FC236}">
                  <a16:creationId xmlns:a16="http://schemas.microsoft.com/office/drawing/2014/main" id="{21E01854-4177-491B-A06B-23A0211B177B}"/>
                </a:ext>
              </a:extLst>
            </p:cNvPr>
            <p:cNvSpPr>
              <a:spLocks/>
            </p:cNvSpPr>
            <p:nvPr/>
          </p:nvSpPr>
          <p:spPr bwMode="auto">
            <a:xfrm>
              <a:off x="1263033" y="5838172"/>
              <a:ext cx="431920" cy="492129"/>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3"/>
                <a:gd name="T181" fmla="*/ 0 h 490"/>
                <a:gd name="T182" fmla="*/ 433 w 433"/>
                <a:gd name="T183" fmla="*/ 490 h 4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6" name="MCShape 104">
              <a:extLst>
                <a:ext uri="{FF2B5EF4-FFF2-40B4-BE49-F238E27FC236}">
                  <a16:creationId xmlns:a16="http://schemas.microsoft.com/office/drawing/2014/main" id="{01BAAF7E-8AAF-4921-A783-D4E94369B9C9}"/>
                </a:ext>
              </a:extLst>
            </p:cNvPr>
            <p:cNvSpPr>
              <a:spLocks/>
            </p:cNvSpPr>
            <p:nvPr/>
          </p:nvSpPr>
          <p:spPr bwMode="auto">
            <a:xfrm>
              <a:off x="2273466" y="4236135"/>
              <a:ext cx="479040" cy="738193"/>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0"/>
                <a:gd name="T160" fmla="*/ 0 h 739"/>
                <a:gd name="T161" fmla="*/ 480 w 480"/>
                <a:gd name="T162" fmla="*/ 739 h 73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7" name="MCShape 105">
              <a:extLst>
                <a:ext uri="{FF2B5EF4-FFF2-40B4-BE49-F238E27FC236}">
                  <a16:creationId xmlns:a16="http://schemas.microsoft.com/office/drawing/2014/main" id="{F4CB78C6-B2E0-4A48-AA8D-95C2E62EBA2E}"/>
                </a:ext>
              </a:extLst>
            </p:cNvPr>
            <p:cNvSpPr>
              <a:spLocks/>
            </p:cNvSpPr>
            <p:nvPr/>
          </p:nvSpPr>
          <p:spPr bwMode="auto">
            <a:xfrm>
              <a:off x="2297026" y="4199487"/>
              <a:ext cx="83766" cy="94236"/>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95"/>
                <a:gd name="T53" fmla="*/ 85 w 85"/>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8" name="MCShape 106">
              <a:extLst>
                <a:ext uri="{FF2B5EF4-FFF2-40B4-BE49-F238E27FC236}">
                  <a16:creationId xmlns:a16="http://schemas.microsoft.com/office/drawing/2014/main" id="{21D739A8-DABC-4380-A045-BD21C51423F6}"/>
                </a:ext>
              </a:extLst>
            </p:cNvPr>
            <p:cNvSpPr>
              <a:spLocks/>
            </p:cNvSpPr>
            <p:nvPr/>
          </p:nvSpPr>
          <p:spPr bwMode="auto">
            <a:xfrm>
              <a:off x="2040491" y="3914155"/>
              <a:ext cx="319362" cy="303655"/>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0"/>
                <a:gd name="T148" fmla="*/ 0 h 305"/>
                <a:gd name="T149" fmla="*/ 320 w 320"/>
                <a:gd name="T150" fmla="*/ 305 h 30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69" name="MCShape 107">
              <a:extLst>
                <a:ext uri="{FF2B5EF4-FFF2-40B4-BE49-F238E27FC236}">
                  <a16:creationId xmlns:a16="http://schemas.microsoft.com/office/drawing/2014/main" id="{2067A6EB-4E25-4358-9310-E8D9799DB4A0}"/>
                </a:ext>
              </a:extLst>
            </p:cNvPr>
            <p:cNvSpPr>
              <a:spLocks/>
            </p:cNvSpPr>
            <p:nvPr/>
          </p:nvSpPr>
          <p:spPr bwMode="auto">
            <a:xfrm>
              <a:off x="1888664" y="4081689"/>
              <a:ext cx="709398" cy="615162"/>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9"/>
                <a:gd name="T133" fmla="*/ 0 h 615"/>
                <a:gd name="T134" fmla="*/ 709 w 709"/>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0" name="MCShape 108">
              <a:extLst>
                <a:ext uri="{FF2B5EF4-FFF2-40B4-BE49-F238E27FC236}">
                  <a16:creationId xmlns:a16="http://schemas.microsoft.com/office/drawing/2014/main" id="{441E10D4-72F3-4A57-9947-E8BD759485F2}"/>
                </a:ext>
              </a:extLst>
            </p:cNvPr>
            <p:cNvSpPr>
              <a:spLocks/>
            </p:cNvSpPr>
            <p:nvPr/>
          </p:nvSpPr>
          <p:spPr bwMode="auto">
            <a:xfrm>
              <a:off x="1469829" y="3181198"/>
              <a:ext cx="528777" cy="544484"/>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0"/>
                <a:gd name="T172" fmla="*/ 0 h 546"/>
                <a:gd name="T173" fmla="*/ 530 w 530"/>
                <a:gd name="T174" fmla="*/ 546 h 5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1" name="MCShape 109">
              <a:extLst>
                <a:ext uri="{FF2B5EF4-FFF2-40B4-BE49-F238E27FC236}">
                  <a16:creationId xmlns:a16="http://schemas.microsoft.com/office/drawing/2014/main" id="{3CF9361E-C259-486A-9FFB-7DA2D8D237F6}"/>
                </a:ext>
              </a:extLst>
            </p:cNvPr>
            <p:cNvSpPr>
              <a:spLocks/>
            </p:cNvSpPr>
            <p:nvPr/>
          </p:nvSpPr>
          <p:spPr bwMode="auto">
            <a:xfrm>
              <a:off x="734255" y="4178544"/>
              <a:ext cx="363860" cy="612544"/>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14"/>
                <a:gd name="T128" fmla="*/ 363 w 363"/>
                <a:gd name="T129" fmla="*/ 614 h 6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2" name="MCShape 110">
              <a:extLst>
                <a:ext uri="{FF2B5EF4-FFF2-40B4-BE49-F238E27FC236}">
                  <a16:creationId xmlns:a16="http://schemas.microsoft.com/office/drawing/2014/main" id="{B29DB406-EA28-40CC-9F25-DC3E580D18CA}"/>
                </a:ext>
              </a:extLst>
            </p:cNvPr>
            <p:cNvSpPr>
              <a:spLocks/>
            </p:cNvSpPr>
            <p:nvPr/>
          </p:nvSpPr>
          <p:spPr bwMode="auto">
            <a:xfrm>
              <a:off x="-257857" y="2956075"/>
              <a:ext cx="562807" cy="442395"/>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5"/>
                <a:gd name="T190" fmla="*/ 0 h 438"/>
                <a:gd name="T191" fmla="*/ 565 w 565"/>
                <a:gd name="T192" fmla="*/ 438 h 4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3" name="MCShape 111">
              <a:extLst>
                <a:ext uri="{FF2B5EF4-FFF2-40B4-BE49-F238E27FC236}">
                  <a16:creationId xmlns:a16="http://schemas.microsoft.com/office/drawing/2014/main" id="{60A25FE0-AE64-4383-9618-599DF6B03FA6}"/>
                </a:ext>
              </a:extLst>
            </p:cNvPr>
            <p:cNvSpPr>
              <a:spLocks/>
            </p:cNvSpPr>
            <p:nvPr/>
          </p:nvSpPr>
          <p:spPr bwMode="auto">
            <a:xfrm>
              <a:off x="694989" y="2869693"/>
              <a:ext cx="185858" cy="387420"/>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387"/>
                <a:gd name="T122" fmla="*/ 187 w 187"/>
                <a:gd name="T123" fmla="*/ 387 h 38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4" name="MCShape 112">
              <a:extLst>
                <a:ext uri="{FF2B5EF4-FFF2-40B4-BE49-F238E27FC236}">
                  <a16:creationId xmlns:a16="http://schemas.microsoft.com/office/drawing/2014/main" id="{BB8B3496-E7A2-42A2-840F-26192B54215D}"/>
                </a:ext>
              </a:extLst>
            </p:cNvPr>
            <p:cNvSpPr>
              <a:spLocks/>
            </p:cNvSpPr>
            <p:nvPr/>
          </p:nvSpPr>
          <p:spPr bwMode="auto">
            <a:xfrm>
              <a:off x="174065" y="4285871"/>
              <a:ext cx="212033" cy="348155"/>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349"/>
                <a:gd name="T143" fmla="*/ 213 w 213"/>
                <a:gd name="T144" fmla="*/ 349 h 3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5" name="MCShape 113">
              <a:extLst>
                <a:ext uri="{FF2B5EF4-FFF2-40B4-BE49-F238E27FC236}">
                  <a16:creationId xmlns:a16="http://schemas.microsoft.com/office/drawing/2014/main" id="{53B97C24-066A-40FA-945F-4069F14F240A}"/>
                </a:ext>
              </a:extLst>
            </p:cNvPr>
            <p:cNvSpPr>
              <a:spLocks/>
            </p:cNvSpPr>
            <p:nvPr/>
          </p:nvSpPr>
          <p:spPr bwMode="auto">
            <a:xfrm>
              <a:off x="325893" y="4288489"/>
              <a:ext cx="94236" cy="269622"/>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1"/>
                <a:gd name="T103" fmla="*/ 0 h 270"/>
                <a:gd name="T104" fmla="*/ 91 w 91"/>
                <a:gd name="T105" fmla="*/ 270 h 2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6" name="MCShape 114">
              <a:extLst>
                <a:ext uri="{FF2B5EF4-FFF2-40B4-BE49-F238E27FC236}">
                  <a16:creationId xmlns:a16="http://schemas.microsoft.com/office/drawing/2014/main" id="{CDBBDF59-0C3E-4D5B-880B-C84FF5154102}"/>
                </a:ext>
              </a:extLst>
            </p:cNvPr>
            <p:cNvSpPr>
              <a:spLocks/>
            </p:cNvSpPr>
            <p:nvPr/>
          </p:nvSpPr>
          <p:spPr bwMode="auto">
            <a:xfrm>
              <a:off x="367776" y="4217809"/>
              <a:ext cx="151827" cy="332449"/>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0"/>
                <a:gd name="T133" fmla="*/ 0 h 332"/>
                <a:gd name="T134" fmla="*/ 150 w 150"/>
                <a:gd name="T135" fmla="*/ 332 h 33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7" name="MCShape 115">
              <a:extLst>
                <a:ext uri="{FF2B5EF4-FFF2-40B4-BE49-F238E27FC236}">
                  <a16:creationId xmlns:a16="http://schemas.microsoft.com/office/drawing/2014/main" id="{70FD0A64-E2FF-4E0B-A8FB-77174D993B9C}"/>
                </a:ext>
              </a:extLst>
            </p:cNvPr>
            <p:cNvSpPr>
              <a:spLocks/>
            </p:cNvSpPr>
            <p:nvPr/>
          </p:nvSpPr>
          <p:spPr bwMode="auto">
            <a:xfrm>
              <a:off x="459394" y="4139279"/>
              <a:ext cx="565426" cy="510453"/>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7"/>
                <a:gd name="T121" fmla="*/ 0 h 511"/>
                <a:gd name="T122" fmla="*/ 567 w 567"/>
                <a:gd name="T123" fmla="*/ 511 h 51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8" name="MCShape 116">
              <a:extLst>
                <a:ext uri="{FF2B5EF4-FFF2-40B4-BE49-F238E27FC236}">
                  <a16:creationId xmlns:a16="http://schemas.microsoft.com/office/drawing/2014/main" id="{C93FB7AD-CABE-4107-BFB4-F9EFB9FF3495}"/>
                </a:ext>
              </a:extLst>
            </p:cNvPr>
            <p:cNvSpPr>
              <a:spLocks/>
            </p:cNvSpPr>
            <p:nvPr/>
          </p:nvSpPr>
          <p:spPr bwMode="auto">
            <a:xfrm>
              <a:off x="964614" y="3618356"/>
              <a:ext cx="497364" cy="869080"/>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66"/>
                <a:gd name="T101" fmla="*/ 496 w 496"/>
                <a:gd name="T102" fmla="*/ 866 h 86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79" name="MCShape 117">
              <a:extLst>
                <a:ext uri="{FF2B5EF4-FFF2-40B4-BE49-F238E27FC236}">
                  <a16:creationId xmlns:a16="http://schemas.microsoft.com/office/drawing/2014/main" id="{7708A0D4-3894-4B2D-9CC0-8FD7DEF5D38A}"/>
                </a:ext>
              </a:extLst>
            </p:cNvPr>
            <p:cNvSpPr>
              <a:spLocks/>
            </p:cNvSpPr>
            <p:nvPr/>
          </p:nvSpPr>
          <p:spPr bwMode="auto">
            <a:xfrm>
              <a:off x="-242151" y="3537207"/>
              <a:ext cx="777460" cy="801018"/>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
                <a:gd name="T145" fmla="*/ 0 h 800"/>
                <a:gd name="T146" fmla="*/ 778 w 778"/>
                <a:gd name="T147" fmla="*/ 800 h 8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0" name="MCShape 118">
              <a:extLst>
                <a:ext uri="{FF2B5EF4-FFF2-40B4-BE49-F238E27FC236}">
                  <a16:creationId xmlns:a16="http://schemas.microsoft.com/office/drawing/2014/main" id="{6EA601A2-9462-462C-ABD2-A5C7CCB3DF29}"/>
                </a:ext>
              </a:extLst>
            </p:cNvPr>
            <p:cNvSpPr>
              <a:spLocks/>
            </p:cNvSpPr>
            <p:nvPr/>
          </p:nvSpPr>
          <p:spPr bwMode="auto">
            <a:xfrm>
              <a:off x="-480360" y="3982217"/>
              <a:ext cx="274858" cy="246064"/>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6"/>
                <a:gd name="T175" fmla="*/ 0 h 246"/>
                <a:gd name="T176" fmla="*/ 276 w 276"/>
                <a:gd name="T177" fmla="*/ 246 h 2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1" name="MCShape 119">
              <a:extLst>
                <a:ext uri="{FF2B5EF4-FFF2-40B4-BE49-F238E27FC236}">
                  <a16:creationId xmlns:a16="http://schemas.microsoft.com/office/drawing/2014/main" id="{8E6133F0-E51B-48C5-ACE5-32823E21C07A}"/>
                </a:ext>
              </a:extLst>
            </p:cNvPr>
            <p:cNvSpPr>
              <a:spLocks/>
            </p:cNvSpPr>
            <p:nvPr/>
          </p:nvSpPr>
          <p:spPr bwMode="auto">
            <a:xfrm>
              <a:off x="-370419" y="4199487"/>
              <a:ext cx="342920" cy="298418"/>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296"/>
                <a:gd name="T101" fmla="*/ 345 w 345"/>
                <a:gd name="T102" fmla="*/ 296 h 2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2" name="MCShape 120">
              <a:extLst>
                <a:ext uri="{FF2B5EF4-FFF2-40B4-BE49-F238E27FC236}">
                  <a16:creationId xmlns:a16="http://schemas.microsoft.com/office/drawing/2014/main" id="{9AC956F2-0F1D-4737-89AC-8E4199D38577}"/>
                </a:ext>
              </a:extLst>
            </p:cNvPr>
            <p:cNvSpPr>
              <a:spLocks/>
            </p:cNvSpPr>
            <p:nvPr/>
          </p:nvSpPr>
          <p:spPr bwMode="auto">
            <a:xfrm>
              <a:off x="-448948" y="3422027"/>
              <a:ext cx="570660" cy="667516"/>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72"/>
                <a:gd name="T178" fmla="*/ 0 h 670"/>
                <a:gd name="T179" fmla="*/ 572 w 572"/>
                <a:gd name="T180" fmla="*/ 670 h 6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3" name="MCShape 121">
              <a:extLst>
                <a:ext uri="{FF2B5EF4-FFF2-40B4-BE49-F238E27FC236}">
                  <a16:creationId xmlns:a16="http://schemas.microsoft.com/office/drawing/2014/main" id="{1CF8153D-0070-458B-B175-259519A7D534}"/>
                </a:ext>
              </a:extLst>
            </p:cNvPr>
            <p:cNvSpPr>
              <a:spLocks/>
            </p:cNvSpPr>
            <p:nvPr/>
          </p:nvSpPr>
          <p:spPr bwMode="auto">
            <a:xfrm>
              <a:off x="69358" y="4071218"/>
              <a:ext cx="382184" cy="301036"/>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2"/>
                <a:gd name="T103" fmla="*/ 0 h 300"/>
                <a:gd name="T104" fmla="*/ 382 w 382"/>
                <a:gd name="T105" fmla="*/ 300 h 3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4" name="MCShape 122">
              <a:extLst>
                <a:ext uri="{FF2B5EF4-FFF2-40B4-BE49-F238E27FC236}">
                  <a16:creationId xmlns:a16="http://schemas.microsoft.com/office/drawing/2014/main" id="{99152D30-50A0-4C68-84EC-7B41EF4605CB}"/>
                </a:ext>
              </a:extLst>
            </p:cNvPr>
            <p:cNvSpPr>
              <a:spLocks/>
            </p:cNvSpPr>
            <p:nvPr/>
          </p:nvSpPr>
          <p:spPr bwMode="auto">
            <a:xfrm>
              <a:off x="-77233" y="4306811"/>
              <a:ext cx="290566" cy="342922"/>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1"/>
                <a:gd name="T181" fmla="*/ 0 h 343"/>
                <a:gd name="T182" fmla="*/ 291 w 291"/>
                <a:gd name="T183" fmla="*/ 343 h 34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5" name="MCShape 123">
              <a:extLst>
                <a:ext uri="{FF2B5EF4-FFF2-40B4-BE49-F238E27FC236}">
                  <a16:creationId xmlns:a16="http://schemas.microsoft.com/office/drawing/2014/main" id="{C3B26309-A9A4-42E5-82CE-8A82C90B753A}"/>
                </a:ext>
              </a:extLst>
            </p:cNvPr>
            <p:cNvSpPr>
              <a:spLocks/>
            </p:cNvSpPr>
            <p:nvPr/>
          </p:nvSpPr>
          <p:spPr bwMode="auto">
            <a:xfrm>
              <a:off x="344216" y="3618356"/>
              <a:ext cx="740813" cy="630867"/>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1"/>
                <a:gd name="T97" fmla="*/ 0 h 628"/>
                <a:gd name="T98" fmla="*/ 741 w 741"/>
                <a:gd name="T99" fmla="*/ 628 h 6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6" name="MCShape 124">
              <a:extLst>
                <a:ext uri="{FF2B5EF4-FFF2-40B4-BE49-F238E27FC236}">
                  <a16:creationId xmlns:a16="http://schemas.microsoft.com/office/drawing/2014/main" id="{F5B3A52E-513D-449C-A012-6231F5C7ABB3}"/>
                </a:ext>
              </a:extLst>
            </p:cNvPr>
            <p:cNvSpPr>
              <a:spLocks/>
            </p:cNvSpPr>
            <p:nvPr/>
          </p:nvSpPr>
          <p:spPr bwMode="auto">
            <a:xfrm>
              <a:off x="-85089" y="2885398"/>
              <a:ext cx="979022" cy="981640"/>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83"/>
                <a:gd name="T154" fmla="*/ 0 h 981"/>
                <a:gd name="T155" fmla="*/ 983 w 983"/>
                <a:gd name="T156" fmla="*/ 981 h 98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7" name="MCShape 125">
              <a:extLst>
                <a:ext uri="{FF2B5EF4-FFF2-40B4-BE49-F238E27FC236}">
                  <a16:creationId xmlns:a16="http://schemas.microsoft.com/office/drawing/2014/main" id="{ED846ED3-4CEC-4290-83ED-84FF91C36044}"/>
                </a:ext>
              </a:extLst>
            </p:cNvPr>
            <p:cNvSpPr>
              <a:spLocks/>
            </p:cNvSpPr>
            <p:nvPr/>
          </p:nvSpPr>
          <p:spPr bwMode="auto">
            <a:xfrm>
              <a:off x="773520" y="3100049"/>
              <a:ext cx="730342" cy="735575"/>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31"/>
                <a:gd name="T181" fmla="*/ 0 h 737"/>
                <a:gd name="T182" fmla="*/ 731 w 731"/>
                <a:gd name="T183" fmla="*/ 737 h 7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8" name="MCShape 126">
              <a:extLst>
                <a:ext uri="{FF2B5EF4-FFF2-40B4-BE49-F238E27FC236}">
                  <a16:creationId xmlns:a16="http://schemas.microsoft.com/office/drawing/2014/main" id="{F8113A1F-FAAF-4B0B-A51E-F1DCEDC4CCD3}"/>
                </a:ext>
              </a:extLst>
            </p:cNvPr>
            <p:cNvSpPr>
              <a:spLocks noEditPoints="1"/>
            </p:cNvSpPr>
            <p:nvPr/>
          </p:nvSpPr>
          <p:spPr bwMode="auto">
            <a:xfrm>
              <a:off x="878229" y="5113066"/>
              <a:ext cx="596837" cy="735577"/>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735"/>
                <a:gd name="T182" fmla="*/ 597 w 597"/>
                <a:gd name="T183" fmla="*/ 735 h 7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89" name="MCShape 127">
              <a:extLst>
                <a:ext uri="{FF2B5EF4-FFF2-40B4-BE49-F238E27FC236}">
                  <a16:creationId xmlns:a16="http://schemas.microsoft.com/office/drawing/2014/main" id="{A8C57295-44EE-4721-A062-906A5E48DBCE}"/>
                </a:ext>
              </a:extLst>
            </p:cNvPr>
            <p:cNvSpPr>
              <a:spLocks/>
            </p:cNvSpPr>
            <p:nvPr/>
          </p:nvSpPr>
          <p:spPr bwMode="auto">
            <a:xfrm>
              <a:off x="1692337" y="4940297"/>
              <a:ext cx="102089" cy="96856"/>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98"/>
                <a:gd name="T59" fmla="*/ 104 w 104"/>
                <a:gd name="T60" fmla="*/ 98 h 9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0" name="MCShape 128">
              <a:extLst>
                <a:ext uri="{FF2B5EF4-FFF2-40B4-BE49-F238E27FC236}">
                  <a16:creationId xmlns:a16="http://schemas.microsoft.com/office/drawing/2014/main" id="{A594F59F-8218-45A6-8354-5F1F6A15B5F1}"/>
                </a:ext>
              </a:extLst>
            </p:cNvPr>
            <p:cNvSpPr>
              <a:spLocks/>
            </p:cNvSpPr>
            <p:nvPr/>
          </p:nvSpPr>
          <p:spPr bwMode="auto">
            <a:xfrm>
              <a:off x="1011733" y="4293724"/>
              <a:ext cx="609924" cy="465953"/>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4"/>
                <a:gd name="T130" fmla="*/ 0 h 467"/>
                <a:gd name="T131" fmla="*/ 614 w 614"/>
                <a:gd name="T132" fmla="*/ 467 h 4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1" name="MCShape 129">
              <a:extLst>
                <a:ext uri="{FF2B5EF4-FFF2-40B4-BE49-F238E27FC236}">
                  <a16:creationId xmlns:a16="http://schemas.microsoft.com/office/drawing/2014/main" id="{0B775E26-249A-45F8-BE8C-E9CAC1736954}"/>
                </a:ext>
              </a:extLst>
            </p:cNvPr>
            <p:cNvSpPr>
              <a:spLocks/>
            </p:cNvSpPr>
            <p:nvPr/>
          </p:nvSpPr>
          <p:spPr bwMode="auto">
            <a:xfrm>
              <a:off x="854669" y="4683762"/>
              <a:ext cx="356009" cy="463335"/>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6"/>
                <a:gd name="T124" fmla="*/ 0 h 466"/>
                <a:gd name="T125" fmla="*/ 356 w 356"/>
                <a:gd name="T126" fmla="*/ 466 h 4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2" name="MCShape 131">
              <a:extLst>
                <a:ext uri="{FF2B5EF4-FFF2-40B4-BE49-F238E27FC236}">
                  <a16:creationId xmlns:a16="http://schemas.microsoft.com/office/drawing/2014/main" id="{796D864E-1874-43A4-A2A7-CDAB301FC66B}"/>
                </a:ext>
              </a:extLst>
            </p:cNvPr>
            <p:cNvSpPr>
              <a:spLocks noEditPoints="1"/>
            </p:cNvSpPr>
            <p:nvPr/>
          </p:nvSpPr>
          <p:spPr bwMode="auto">
            <a:xfrm>
              <a:off x="6597920" y="1738841"/>
              <a:ext cx="198946" cy="793166"/>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9"/>
                <a:gd name="T130" fmla="*/ 0 h 794"/>
                <a:gd name="T131" fmla="*/ 199 w 199"/>
                <a:gd name="T132" fmla="*/ 794 h 7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3" name="MCShape 132">
              <a:extLst>
                <a:ext uri="{FF2B5EF4-FFF2-40B4-BE49-F238E27FC236}">
                  <a16:creationId xmlns:a16="http://schemas.microsoft.com/office/drawing/2014/main" id="{E904E714-58A7-4088-A778-BBDC6A1C22B8}"/>
                </a:ext>
              </a:extLst>
            </p:cNvPr>
            <p:cNvSpPr>
              <a:spLocks noEditPoints="1"/>
            </p:cNvSpPr>
            <p:nvPr/>
          </p:nvSpPr>
          <p:spPr bwMode="auto">
            <a:xfrm>
              <a:off x="5535131" y="3948187"/>
              <a:ext cx="75913" cy="49736"/>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2"/>
                <a:gd name="T32" fmla="*/ 76 w 76"/>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4" name="MCShape 133">
              <a:extLst>
                <a:ext uri="{FF2B5EF4-FFF2-40B4-BE49-F238E27FC236}">
                  <a16:creationId xmlns:a16="http://schemas.microsoft.com/office/drawing/2014/main" id="{45303396-A336-4ABF-97F2-CB31965C4ED7}"/>
                </a:ext>
              </a:extLst>
            </p:cNvPr>
            <p:cNvSpPr>
              <a:spLocks noEditPoints="1"/>
            </p:cNvSpPr>
            <p:nvPr/>
          </p:nvSpPr>
          <p:spPr bwMode="auto">
            <a:xfrm>
              <a:off x="6045583" y="2429916"/>
              <a:ext cx="588986" cy="1154408"/>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1"/>
                <a:gd name="T145" fmla="*/ 0 h 1153"/>
                <a:gd name="T146" fmla="*/ 591 w 591"/>
                <a:gd name="T147" fmla="*/ 1153 h 11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5" name="MCShape 134">
              <a:extLst>
                <a:ext uri="{FF2B5EF4-FFF2-40B4-BE49-F238E27FC236}">
                  <a16:creationId xmlns:a16="http://schemas.microsoft.com/office/drawing/2014/main" id="{2BEC9C5D-720E-4D2A-9860-B9D85A637416}"/>
                </a:ext>
              </a:extLst>
            </p:cNvPr>
            <p:cNvSpPr>
              <a:spLocks noEditPoints="1"/>
            </p:cNvSpPr>
            <p:nvPr/>
          </p:nvSpPr>
          <p:spPr bwMode="auto">
            <a:xfrm>
              <a:off x="1192353" y="746730"/>
              <a:ext cx="6033816" cy="1926632"/>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45"/>
                <a:gd name="T187" fmla="*/ 0 h 1923"/>
                <a:gd name="T188" fmla="*/ 6045 w 6045"/>
                <a:gd name="T189" fmla="*/ 1923 h 19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6" name="MCShape 135">
              <a:extLst>
                <a:ext uri="{FF2B5EF4-FFF2-40B4-BE49-F238E27FC236}">
                  <a16:creationId xmlns:a16="http://schemas.microsoft.com/office/drawing/2014/main" id="{B57A0BA9-8C70-45BC-97A3-06EC82CF2686}"/>
                </a:ext>
              </a:extLst>
            </p:cNvPr>
            <p:cNvSpPr>
              <a:spLocks noEditPoints="1"/>
            </p:cNvSpPr>
            <p:nvPr/>
          </p:nvSpPr>
          <p:spPr bwMode="auto">
            <a:xfrm>
              <a:off x="854669" y="1270272"/>
              <a:ext cx="458097" cy="662280"/>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9"/>
                <a:gd name="T133" fmla="*/ 0 h 664"/>
                <a:gd name="T134" fmla="*/ 459 w 459"/>
                <a:gd name="T135" fmla="*/ 664 h 6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7" name="MCShape 136">
              <a:extLst>
                <a:ext uri="{FF2B5EF4-FFF2-40B4-BE49-F238E27FC236}">
                  <a16:creationId xmlns:a16="http://schemas.microsoft.com/office/drawing/2014/main" id="{B25D9564-B9DA-4A8D-936E-35D933B69BCF}"/>
                </a:ext>
              </a:extLst>
            </p:cNvPr>
            <p:cNvSpPr>
              <a:spLocks noEditPoints="1"/>
            </p:cNvSpPr>
            <p:nvPr/>
          </p:nvSpPr>
          <p:spPr bwMode="auto">
            <a:xfrm>
              <a:off x="621693" y="788614"/>
              <a:ext cx="905727" cy="1013053"/>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5"/>
                <a:gd name="T175" fmla="*/ 0 h 1010"/>
                <a:gd name="T176" fmla="*/ 905 w 905"/>
                <a:gd name="T177" fmla="*/ 1010 h 10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8" name="MCShape 137">
              <a:extLst>
                <a:ext uri="{FF2B5EF4-FFF2-40B4-BE49-F238E27FC236}">
                  <a16:creationId xmlns:a16="http://schemas.microsoft.com/office/drawing/2014/main" id="{BA19AFD7-7D2F-4F13-A422-084DB2E15906}"/>
                </a:ext>
              </a:extLst>
            </p:cNvPr>
            <p:cNvSpPr>
              <a:spLocks/>
            </p:cNvSpPr>
            <p:nvPr/>
          </p:nvSpPr>
          <p:spPr bwMode="auto">
            <a:xfrm>
              <a:off x="2333673" y="3864420"/>
              <a:ext cx="484276" cy="329831"/>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7"/>
                <a:gd name="T97" fmla="*/ 0 h 330"/>
                <a:gd name="T98" fmla="*/ 487 w 487"/>
                <a:gd name="T99" fmla="*/ 330 h 3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99" name="MCShape 138">
              <a:extLst>
                <a:ext uri="{FF2B5EF4-FFF2-40B4-BE49-F238E27FC236}">
                  <a16:creationId xmlns:a16="http://schemas.microsoft.com/office/drawing/2014/main" id="{766EEC13-F3A8-4BB3-9E82-4CFE52C0AFE8}"/>
                </a:ext>
              </a:extLst>
            </p:cNvPr>
            <p:cNvSpPr>
              <a:spLocks/>
            </p:cNvSpPr>
            <p:nvPr/>
          </p:nvSpPr>
          <p:spPr bwMode="auto">
            <a:xfrm>
              <a:off x="765669" y="4757057"/>
              <a:ext cx="102089" cy="73296"/>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1"/>
                <a:gd name="T41" fmla="*/ 103 w 103"/>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0" name="MCShape 139">
              <a:extLst>
                <a:ext uri="{FF2B5EF4-FFF2-40B4-BE49-F238E27FC236}">
                  <a16:creationId xmlns:a16="http://schemas.microsoft.com/office/drawing/2014/main" id="{EB278671-B613-4AAC-B331-3A92DDBDBF7C}"/>
                </a:ext>
              </a:extLst>
            </p:cNvPr>
            <p:cNvSpPr>
              <a:spLocks noEditPoints="1"/>
            </p:cNvSpPr>
            <p:nvPr/>
          </p:nvSpPr>
          <p:spPr bwMode="auto">
            <a:xfrm>
              <a:off x="-24880" y="2534625"/>
              <a:ext cx="588984" cy="410978"/>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1"/>
                <a:gd name="T163" fmla="*/ 0 h 413"/>
                <a:gd name="T164" fmla="*/ 591 w 591"/>
                <a:gd name="T165" fmla="*/ 413 h 4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1" name="MCShape 140">
              <a:extLst>
                <a:ext uri="{FF2B5EF4-FFF2-40B4-BE49-F238E27FC236}">
                  <a16:creationId xmlns:a16="http://schemas.microsoft.com/office/drawing/2014/main" id="{71D8F33B-6AB8-49EC-B3C9-0B169189482C}"/>
                </a:ext>
              </a:extLst>
            </p:cNvPr>
            <p:cNvSpPr>
              <a:spLocks/>
            </p:cNvSpPr>
            <p:nvPr/>
          </p:nvSpPr>
          <p:spPr bwMode="auto">
            <a:xfrm>
              <a:off x="-51057" y="2621009"/>
              <a:ext cx="154444" cy="277476"/>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5"/>
                <a:gd name="T112" fmla="*/ 0 h 277"/>
                <a:gd name="T113" fmla="*/ 155 w 155"/>
                <a:gd name="T114" fmla="*/ 277 h 2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2" name="MCShape 141">
              <a:extLst>
                <a:ext uri="{FF2B5EF4-FFF2-40B4-BE49-F238E27FC236}">
                  <a16:creationId xmlns:a16="http://schemas.microsoft.com/office/drawing/2014/main" id="{37381D81-FC10-42B0-B864-1A95EECDB66F}"/>
                </a:ext>
              </a:extLst>
            </p:cNvPr>
            <p:cNvSpPr>
              <a:spLocks noEditPoints="1"/>
            </p:cNvSpPr>
            <p:nvPr/>
          </p:nvSpPr>
          <p:spPr bwMode="auto">
            <a:xfrm>
              <a:off x="-3166129" y="4597379"/>
              <a:ext cx="1855953" cy="2102017"/>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58"/>
                <a:gd name="T175" fmla="*/ 0 h 2099"/>
                <a:gd name="T176" fmla="*/ 1858 w 1858"/>
                <a:gd name="T177" fmla="*/ 2099 h 209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3" name="MCShape 142">
              <a:extLst>
                <a:ext uri="{FF2B5EF4-FFF2-40B4-BE49-F238E27FC236}">
                  <a16:creationId xmlns:a16="http://schemas.microsoft.com/office/drawing/2014/main" id="{0224A8CA-8E75-4C12-8F70-F51B086DA83C}"/>
                </a:ext>
              </a:extLst>
            </p:cNvPr>
            <p:cNvSpPr>
              <a:spLocks noEditPoints="1"/>
            </p:cNvSpPr>
            <p:nvPr/>
          </p:nvSpPr>
          <p:spPr bwMode="auto">
            <a:xfrm>
              <a:off x="-2948861" y="5827701"/>
              <a:ext cx="769607" cy="2023486"/>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1"/>
                <a:gd name="T184" fmla="*/ 0 h 2022"/>
                <a:gd name="T185" fmla="*/ 771 w 771"/>
                <a:gd name="T186" fmla="*/ 2022 h 20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4" name="MCShape 143">
              <a:extLst>
                <a:ext uri="{FF2B5EF4-FFF2-40B4-BE49-F238E27FC236}">
                  <a16:creationId xmlns:a16="http://schemas.microsoft.com/office/drawing/2014/main" id="{9E979F73-2D9F-4D8D-96BE-29D21B64F22E}"/>
                </a:ext>
              </a:extLst>
            </p:cNvPr>
            <p:cNvSpPr>
              <a:spLocks/>
            </p:cNvSpPr>
            <p:nvPr/>
          </p:nvSpPr>
          <p:spPr bwMode="auto">
            <a:xfrm>
              <a:off x="-3022156" y="3814682"/>
              <a:ext cx="170151" cy="109944"/>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2"/>
                <a:gd name="T49" fmla="*/ 0 h 111"/>
                <a:gd name="T50" fmla="*/ 172 w 172"/>
                <a:gd name="T51" fmla="*/ 111 h 1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5" name="MCShape 144">
              <a:extLst>
                <a:ext uri="{FF2B5EF4-FFF2-40B4-BE49-F238E27FC236}">
                  <a16:creationId xmlns:a16="http://schemas.microsoft.com/office/drawing/2014/main" id="{4690AEF9-B6E1-4FA5-8FF0-D9F178B98C66}"/>
                </a:ext>
              </a:extLst>
            </p:cNvPr>
            <p:cNvSpPr>
              <a:spLocks/>
            </p:cNvSpPr>
            <p:nvPr/>
          </p:nvSpPr>
          <p:spPr bwMode="auto">
            <a:xfrm>
              <a:off x="-3134716" y="3814682"/>
              <a:ext cx="133502" cy="104709"/>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2"/>
                <a:gd name="T58" fmla="*/ 0 h 106"/>
                <a:gd name="T59" fmla="*/ 132 w 132"/>
                <a:gd name="T60" fmla="*/ 106 h 10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6" name="MCShape 145">
              <a:extLst>
                <a:ext uri="{FF2B5EF4-FFF2-40B4-BE49-F238E27FC236}">
                  <a16:creationId xmlns:a16="http://schemas.microsoft.com/office/drawing/2014/main" id="{4A24ABE3-5086-4DF2-B1CA-AD2F84F4E88A}"/>
                </a:ext>
              </a:extLst>
            </p:cNvPr>
            <p:cNvSpPr>
              <a:spLocks noEditPoints="1"/>
            </p:cNvSpPr>
            <p:nvPr/>
          </p:nvSpPr>
          <p:spPr bwMode="auto">
            <a:xfrm>
              <a:off x="-2257785" y="2147205"/>
              <a:ext cx="3044395" cy="2622943"/>
            </a:xfrm>
            <a:custGeom>
              <a:avLst/>
              <a:gdLst>
                <a:gd name="T0" fmla="*/ 3045 w 3050"/>
                <a:gd name="T1" fmla="*/ 429 h 2623"/>
                <a:gd name="T2" fmla="*/ 3017 w 3050"/>
                <a:gd name="T3" fmla="*/ 487 h 2623"/>
                <a:gd name="T4" fmla="*/ 3043 w 3050"/>
                <a:gd name="T5" fmla="*/ 495 h 2623"/>
                <a:gd name="T6" fmla="*/ 3048 w 3050"/>
                <a:gd name="T7" fmla="*/ 446 h 2623"/>
                <a:gd name="T8" fmla="*/ 2944 w 3050"/>
                <a:gd name="T9" fmla="*/ 106 h 2623"/>
                <a:gd name="T10" fmla="*/ 2924 w 3050"/>
                <a:gd name="T11" fmla="*/ 87 h 2623"/>
                <a:gd name="T12" fmla="*/ 2899 w 3050"/>
                <a:gd name="T13" fmla="*/ 85 h 2623"/>
                <a:gd name="T14" fmla="*/ 2877 w 3050"/>
                <a:gd name="T15" fmla="*/ 77 h 2623"/>
                <a:gd name="T16" fmla="*/ 2843 w 3050"/>
                <a:gd name="T17" fmla="*/ 61 h 2623"/>
                <a:gd name="T18" fmla="*/ 2800 w 3050"/>
                <a:gd name="T19" fmla="*/ 37 h 2623"/>
                <a:gd name="T20" fmla="*/ 2771 w 3050"/>
                <a:gd name="T21" fmla="*/ 12 h 2623"/>
                <a:gd name="T22" fmla="*/ 2715 w 3050"/>
                <a:gd name="T23" fmla="*/ 12 h 2623"/>
                <a:gd name="T24" fmla="*/ 2686 w 3050"/>
                <a:gd name="T25" fmla="*/ 60 h 2623"/>
                <a:gd name="T26" fmla="*/ 2635 w 3050"/>
                <a:gd name="T27" fmla="*/ 97 h 2623"/>
                <a:gd name="T28" fmla="*/ 2580 w 3050"/>
                <a:gd name="T29" fmla="*/ 75 h 2623"/>
                <a:gd name="T30" fmla="*/ 2550 w 3050"/>
                <a:gd name="T31" fmla="*/ 125 h 2623"/>
                <a:gd name="T32" fmla="*/ 2495 w 3050"/>
                <a:gd name="T33" fmla="*/ 124 h 2623"/>
                <a:gd name="T34" fmla="*/ 2450 w 3050"/>
                <a:gd name="T35" fmla="*/ 161 h 2623"/>
                <a:gd name="T36" fmla="*/ 2514 w 3050"/>
                <a:gd name="T37" fmla="*/ 184 h 2623"/>
                <a:gd name="T38" fmla="*/ 2572 w 3050"/>
                <a:gd name="T39" fmla="*/ 199 h 2623"/>
                <a:gd name="T40" fmla="*/ 2597 w 3050"/>
                <a:gd name="T41" fmla="*/ 248 h 2623"/>
                <a:gd name="T42" fmla="*/ 2617 w 3050"/>
                <a:gd name="T43" fmla="*/ 320 h 2623"/>
                <a:gd name="T44" fmla="*/ 2576 w 3050"/>
                <a:gd name="T45" fmla="*/ 391 h 2623"/>
                <a:gd name="T46" fmla="*/ 2578 w 3050"/>
                <a:gd name="T47" fmla="*/ 414 h 2623"/>
                <a:gd name="T48" fmla="*/ 2612 w 3050"/>
                <a:gd name="T49" fmla="*/ 437 h 2623"/>
                <a:gd name="T50" fmla="*/ 2651 w 3050"/>
                <a:gd name="T51" fmla="*/ 441 h 2623"/>
                <a:gd name="T52" fmla="*/ 2673 w 3050"/>
                <a:gd name="T53" fmla="*/ 434 h 2623"/>
                <a:gd name="T54" fmla="*/ 2697 w 3050"/>
                <a:gd name="T55" fmla="*/ 446 h 2623"/>
                <a:gd name="T56" fmla="*/ 2717 w 3050"/>
                <a:gd name="T57" fmla="*/ 454 h 2623"/>
                <a:gd name="T58" fmla="*/ 2742 w 3050"/>
                <a:gd name="T59" fmla="*/ 463 h 2623"/>
                <a:gd name="T60" fmla="*/ 2763 w 3050"/>
                <a:gd name="T61" fmla="*/ 453 h 2623"/>
                <a:gd name="T62" fmla="*/ 2822 w 3050"/>
                <a:gd name="T63" fmla="*/ 397 h 2623"/>
                <a:gd name="T64" fmla="*/ 2882 w 3050"/>
                <a:gd name="T65" fmla="*/ 421 h 2623"/>
                <a:gd name="T66" fmla="*/ 2957 w 3050"/>
                <a:gd name="T67" fmla="*/ 388 h 2623"/>
                <a:gd name="T68" fmla="*/ 2950 w 3050"/>
                <a:gd name="T69" fmla="*/ 367 h 2623"/>
                <a:gd name="T70" fmla="*/ 2940 w 3050"/>
                <a:gd name="T71" fmla="*/ 335 h 2623"/>
                <a:gd name="T72" fmla="*/ 2922 w 3050"/>
                <a:gd name="T73" fmla="*/ 314 h 2623"/>
                <a:gd name="T74" fmla="*/ 2939 w 3050"/>
                <a:gd name="T75" fmla="*/ 289 h 2623"/>
                <a:gd name="T76" fmla="*/ 2934 w 3050"/>
                <a:gd name="T77" fmla="*/ 263 h 2623"/>
                <a:gd name="T78" fmla="*/ 2902 w 3050"/>
                <a:gd name="T79" fmla="*/ 259 h 2623"/>
                <a:gd name="T80" fmla="*/ 2918 w 3050"/>
                <a:gd name="T81" fmla="*/ 226 h 2623"/>
                <a:gd name="T82" fmla="*/ 2943 w 3050"/>
                <a:gd name="T83" fmla="*/ 198 h 2623"/>
                <a:gd name="T84" fmla="*/ 2966 w 3050"/>
                <a:gd name="T85" fmla="*/ 186 h 2623"/>
                <a:gd name="T86" fmla="*/ 2976 w 3050"/>
                <a:gd name="T87" fmla="*/ 128 h 2623"/>
                <a:gd name="T88" fmla="*/ 2982 w 3050"/>
                <a:gd name="T89" fmla="*/ 106 h 2623"/>
                <a:gd name="T90" fmla="*/ 90 w 3050"/>
                <a:gd name="T91" fmla="*/ 2439 h 2623"/>
                <a:gd name="T92" fmla="*/ 32 w 3050"/>
                <a:gd name="T93" fmla="*/ 2444 h 2623"/>
                <a:gd name="T94" fmla="*/ 32 w 3050"/>
                <a:gd name="T95" fmla="*/ 2544 h 2623"/>
                <a:gd name="T96" fmla="*/ 11 w 3050"/>
                <a:gd name="T97" fmla="*/ 2594 h 2623"/>
                <a:gd name="T98" fmla="*/ 38 w 3050"/>
                <a:gd name="T99" fmla="*/ 2611 h 2623"/>
                <a:gd name="T100" fmla="*/ 62 w 3050"/>
                <a:gd name="T101" fmla="*/ 2610 h 2623"/>
                <a:gd name="T102" fmla="*/ 108 w 3050"/>
                <a:gd name="T103" fmla="*/ 2570 h 2623"/>
                <a:gd name="T104" fmla="*/ 125 w 3050"/>
                <a:gd name="T105" fmla="*/ 2479 h 26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50"/>
                <a:gd name="T160" fmla="*/ 0 h 2623"/>
                <a:gd name="T161" fmla="*/ 3050 w 3050"/>
                <a:gd name="T162" fmla="*/ 2623 h 262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7" name="MCShape 146">
              <a:extLst>
                <a:ext uri="{FF2B5EF4-FFF2-40B4-BE49-F238E27FC236}">
                  <a16:creationId xmlns:a16="http://schemas.microsoft.com/office/drawing/2014/main" id="{7C39E4FF-0F00-4704-8DCF-EE0A14CF1AF3}"/>
                </a:ext>
              </a:extLst>
            </p:cNvPr>
            <p:cNvSpPr>
              <a:spLocks noEditPoints="1"/>
            </p:cNvSpPr>
            <p:nvPr/>
          </p:nvSpPr>
          <p:spPr bwMode="auto">
            <a:xfrm>
              <a:off x="1098116" y="6073765"/>
              <a:ext cx="756518" cy="683220"/>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59"/>
                <a:gd name="T166" fmla="*/ 0 h 682"/>
                <a:gd name="T167" fmla="*/ 759 w 759"/>
                <a:gd name="T168" fmla="*/ 682 h 6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8" name="MCShape 147">
              <a:extLst>
                <a:ext uri="{FF2B5EF4-FFF2-40B4-BE49-F238E27FC236}">
                  <a16:creationId xmlns:a16="http://schemas.microsoft.com/office/drawing/2014/main" id="{7309EFE8-A75A-4310-8659-9CDFC77D09D3}"/>
                </a:ext>
              </a:extLst>
            </p:cNvPr>
            <p:cNvSpPr>
              <a:spLocks noEditPoints="1"/>
            </p:cNvSpPr>
            <p:nvPr/>
          </p:nvSpPr>
          <p:spPr bwMode="auto">
            <a:xfrm>
              <a:off x="74592" y="1657694"/>
              <a:ext cx="395273" cy="549718"/>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549"/>
                <a:gd name="T179" fmla="*/ 395 w 395"/>
                <a:gd name="T180" fmla="*/ 549 h 5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09" name="MCShape 148">
              <a:extLst>
                <a:ext uri="{FF2B5EF4-FFF2-40B4-BE49-F238E27FC236}">
                  <a16:creationId xmlns:a16="http://schemas.microsoft.com/office/drawing/2014/main" id="{A31FE976-6A72-41E9-9B75-2D08F8F5EBC1}"/>
                </a:ext>
              </a:extLst>
            </p:cNvPr>
            <p:cNvSpPr>
              <a:spLocks/>
            </p:cNvSpPr>
            <p:nvPr/>
          </p:nvSpPr>
          <p:spPr bwMode="auto">
            <a:xfrm>
              <a:off x="-22264" y="1929934"/>
              <a:ext cx="185858" cy="204182"/>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9"/>
                <a:gd name="T163" fmla="*/ 0 h 202"/>
                <a:gd name="T164" fmla="*/ 189 w 189"/>
                <a:gd name="T165" fmla="*/ 202 h 2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0" name="MCShape 149">
              <a:extLst>
                <a:ext uri="{FF2B5EF4-FFF2-40B4-BE49-F238E27FC236}">
                  <a16:creationId xmlns:a16="http://schemas.microsoft.com/office/drawing/2014/main" id="{4C2DCA23-6985-4228-A59F-A5FB82957670}"/>
                </a:ext>
              </a:extLst>
            </p:cNvPr>
            <p:cNvSpPr>
              <a:spLocks noEditPoints="1"/>
            </p:cNvSpPr>
            <p:nvPr/>
          </p:nvSpPr>
          <p:spPr bwMode="auto">
            <a:xfrm>
              <a:off x="-1718537" y="689141"/>
              <a:ext cx="2638648" cy="1282677"/>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44"/>
                <a:gd name="T178" fmla="*/ 0 h 1282"/>
                <a:gd name="T179" fmla="*/ 2644 w 2644"/>
                <a:gd name="T180" fmla="*/ 1282 h 128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1" name="MCShape 150">
              <a:extLst>
                <a:ext uri="{FF2B5EF4-FFF2-40B4-BE49-F238E27FC236}">
                  <a16:creationId xmlns:a16="http://schemas.microsoft.com/office/drawing/2014/main" id="{CF185DBD-DFB6-4A96-9AC2-14D157593DE2}"/>
                </a:ext>
              </a:extLst>
            </p:cNvPr>
            <p:cNvSpPr>
              <a:spLocks noEditPoints="1"/>
            </p:cNvSpPr>
            <p:nvPr/>
          </p:nvSpPr>
          <p:spPr bwMode="auto">
            <a:xfrm>
              <a:off x="1255177" y="1715281"/>
              <a:ext cx="238213" cy="107326"/>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7"/>
                <a:gd name="T109" fmla="*/ 0 h 107"/>
                <a:gd name="T110" fmla="*/ 237 w 237"/>
                <a:gd name="T111" fmla="*/ 107 h 1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2" name="MCShape 151">
              <a:extLst>
                <a:ext uri="{FF2B5EF4-FFF2-40B4-BE49-F238E27FC236}">
                  <a16:creationId xmlns:a16="http://schemas.microsoft.com/office/drawing/2014/main" id="{9C03ACE9-2FF0-49CA-ABEB-CE3A3717DA6B}"/>
                </a:ext>
              </a:extLst>
            </p:cNvPr>
            <p:cNvSpPr>
              <a:spLocks/>
            </p:cNvSpPr>
            <p:nvPr/>
          </p:nvSpPr>
          <p:spPr bwMode="auto">
            <a:xfrm>
              <a:off x="5535131" y="4484817"/>
              <a:ext cx="460717" cy="356009"/>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1"/>
                <a:gd name="T154" fmla="*/ 0 h 355"/>
                <a:gd name="T155" fmla="*/ 461 w 461"/>
                <a:gd name="T156" fmla="*/ 355 h 35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3" name="MCShape 152">
              <a:extLst>
                <a:ext uri="{FF2B5EF4-FFF2-40B4-BE49-F238E27FC236}">
                  <a16:creationId xmlns:a16="http://schemas.microsoft.com/office/drawing/2014/main" id="{D5A9C737-E681-453A-855F-C55C70874002}"/>
                </a:ext>
              </a:extLst>
            </p:cNvPr>
            <p:cNvSpPr>
              <a:spLocks noEditPoints="1"/>
            </p:cNvSpPr>
            <p:nvPr/>
          </p:nvSpPr>
          <p:spPr bwMode="auto">
            <a:xfrm>
              <a:off x="6184322" y="5327719"/>
              <a:ext cx="167535" cy="75914"/>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77"/>
                <a:gd name="T74" fmla="*/ 168 w 16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4" name="MCShape 153">
              <a:extLst>
                <a:ext uri="{FF2B5EF4-FFF2-40B4-BE49-F238E27FC236}">
                  <a16:creationId xmlns:a16="http://schemas.microsoft.com/office/drawing/2014/main" id="{E28094A9-2A62-4BD1-BE5F-99C563BDFDEE}"/>
                </a:ext>
              </a:extLst>
            </p:cNvPr>
            <p:cNvSpPr>
              <a:spLocks noEditPoints="1"/>
            </p:cNvSpPr>
            <p:nvPr/>
          </p:nvSpPr>
          <p:spPr bwMode="auto">
            <a:xfrm>
              <a:off x="6972251" y="4974328"/>
              <a:ext cx="730342" cy="489511"/>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30"/>
                <a:gd name="T145" fmla="*/ 0 h 491"/>
                <a:gd name="T146" fmla="*/ 730 w 730"/>
                <a:gd name="T147" fmla="*/ 491 h 49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5" name="MCShape 154">
              <a:extLst>
                <a:ext uri="{FF2B5EF4-FFF2-40B4-BE49-F238E27FC236}">
                  <a16:creationId xmlns:a16="http://schemas.microsoft.com/office/drawing/2014/main" id="{06BF9517-10FD-4B8C-A77C-9AA7B3F175C3}"/>
                </a:ext>
              </a:extLst>
            </p:cNvPr>
            <p:cNvSpPr>
              <a:spLocks noEditPoints="1"/>
            </p:cNvSpPr>
            <p:nvPr/>
          </p:nvSpPr>
          <p:spPr bwMode="auto">
            <a:xfrm>
              <a:off x="4830967" y="4576437"/>
              <a:ext cx="2177932" cy="876931"/>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79"/>
                <a:gd name="T175" fmla="*/ 0 h 879"/>
                <a:gd name="T176" fmla="*/ 2179 w 2179"/>
                <a:gd name="T177" fmla="*/ 879 h 8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6" name="MCShape 155">
              <a:extLst>
                <a:ext uri="{FF2B5EF4-FFF2-40B4-BE49-F238E27FC236}">
                  <a16:creationId xmlns:a16="http://schemas.microsoft.com/office/drawing/2014/main" id="{1E4413DE-82BF-423F-8857-E54D4B06E5EC}"/>
                </a:ext>
              </a:extLst>
            </p:cNvPr>
            <p:cNvSpPr>
              <a:spLocks noEditPoints="1"/>
            </p:cNvSpPr>
            <p:nvPr/>
          </p:nvSpPr>
          <p:spPr bwMode="auto">
            <a:xfrm>
              <a:off x="7396320" y="6728192"/>
              <a:ext cx="850755" cy="654427"/>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51"/>
                <a:gd name="T160" fmla="*/ 0 h 656"/>
                <a:gd name="T161" fmla="*/ 851 w 851"/>
                <a:gd name="T162" fmla="*/ 656 h 6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7" name="MCShape 156">
              <a:extLst>
                <a:ext uri="{FF2B5EF4-FFF2-40B4-BE49-F238E27FC236}">
                  <a16:creationId xmlns:a16="http://schemas.microsoft.com/office/drawing/2014/main" id="{9DF700F2-DE06-4B7D-B769-142A1926AC47}"/>
                </a:ext>
              </a:extLst>
            </p:cNvPr>
            <p:cNvSpPr>
              <a:spLocks noEditPoints="1"/>
            </p:cNvSpPr>
            <p:nvPr/>
          </p:nvSpPr>
          <p:spPr bwMode="auto">
            <a:xfrm>
              <a:off x="5482776" y="5453366"/>
              <a:ext cx="1892602" cy="1774804"/>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98"/>
                <a:gd name="T169" fmla="*/ 0 h 1774"/>
                <a:gd name="T170" fmla="*/ 1898 w 1898"/>
                <a:gd name="T171" fmla="*/ 1774 h 17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18" name="MCShape 157">
              <a:extLst>
                <a:ext uri="{FF2B5EF4-FFF2-40B4-BE49-F238E27FC236}">
                  <a16:creationId xmlns:a16="http://schemas.microsoft.com/office/drawing/2014/main" id="{619F95E9-0FAA-4B7A-9A4B-87A28605389F}"/>
                </a:ext>
              </a:extLst>
            </p:cNvPr>
            <p:cNvSpPr>
              <a:spLocks/>
            </p:cNvSpPr>
            <p:nvPr/>
          </p:nvSpPr>
          <p:spPr bwMode="auto">
            <a:xfrm>
              <a:off x="-3200161" y="2589596"/>
              <a:ext cx="20942" cy="23560"/>
            </a:xfrm>
            <a:custGeom>
              <a:avLst/>
              <a:gdLst>
                <a:gd name="T0" fmla="*/ 0 w 22"/>
                <a:gd name="T1" fmla="*/ 15 h 25"/>
                <a:gd name="T2" fmla="*/ 12 w 22"/>
                <a:gd name="T3" fmla="*/ 22 h 25"/>
                <a:gd name="T4" fmla="*/ 15 w 22"/>
                <a:gd name="T5" fmla="*/ 9 h 25"/>
                <a:gd name="T6" fmla="*/ 0 w 22"/>
                <a:gd name="T7" fmla="*/ 15 h 25"/>
                <a:gd name="T8" fmla="*/ 0 60000 65536"/>
                <a:gd name="T9" fmla="*/ 0 60000 65536"/>
                <a:gd name="T10" fmla="*/ 0 60000 65536"/>
                <a:gd name="T11" fmla="*/ 0 60000 65536"/>
                <a:gd name="T12" fmla="*/ 0 w 22"/>
                <a:gd name="T13" fmla="*/ 0 h 25"/>
                <a:gd name="T14" fmla="*/ 22 w 22"/>
                <a:gd name="T15" fmla="*/ 25 h 25"/>
              </a:gdLst>
              <a:ahLst/>
              <a:cxnLst>
                <a:cxn ang="T8">
                  <a:pos x="T0" y="T1"/>
                </a:cxn>
                <a:cxn ang="T9">
                  <a:pos x="T2" y="T3"/>
                </a:cxn>
                <a:cxn ang="T10">
                  <a:pos x="T4" y="T5"/>
                </a:cxn>
                <a:cxn ang="T11">
                  <a:pos x="T6" y="T7"/>
                </a:cxn>
              </a:cxnLst>
              <a:rect l="T12" t="T13" r="T14" b="T15"/>
              <a:pathLst>
                <a:path w="22" h="25">
                  <a:moveTo>
                    <a:pt x="0" y="15"/>
                  </a:moveTo>
                  <a:cubicBezTo>
                    <a:pt x="0" y="15"/>
                    <a:pt x="2" y="25"/>
                    <a:pt x="12" y="22"/>
                  </a:cubicBezTo>
                  <a:cubicBezTo>
                    <a:pt x="22" y="19"/>
                    <a:pt x="18" y="18"/>
                    <a:pt x="15" y="9"/>
                  </a:cubicBezTo>
                  <a:cubicBezTo>
                    <a:pt x="12" y="0"/>
                    <a:pt x="0" y="4"/>
                    <a:pt x="0" y="1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3419" name="Gruppieren 1">
              <a:extLst>
                <a:ext uri="{FF2B5EF4-FFF2-40B4-BE49-F238E27FC236}">
                  <a16:creationId xmlns:a16="http://schemas.microsoft.com/office/drawing/2014/main" id="{50F715D3-34BF-4557-AB60-FC67329F6D69}"/>
                </a:ext>
              </a:extLst>
            </p:cNvPr>
            <p:cNvGrpSpPr/>
            <p:nvPr/>
          </p:nvGrpSpPr>
          <p:grpSpPr bwMode="auto">
            <a:xfrm>
              <a:off x="-4922611" y="702230"/>
              <a:ext cx="3709292" cy="1926632"/>
              <a:chOff x="1163090" y="2240029"/>
              <a:chExt cx="2132511" cy="1107641"/>
            </a:xfrm>
            <a:grpFill/>
          </p:grpSpPr>
          <p:sp>
            <p:nvSpPr>
              <p:cNvPr id="3451" name="MCShape 9">
                <a:extLst>
                  <a:ext uri="{FF2B5EF4-FFF2-40B4-BE49-F238E27FC236}">
                    <a16:creationId xmlns:a16="http://schemas.microsoft.com/office/drawing/2014/main" id="{CE1C7CA3-A464-48F5-977F-6834FD569308}"/>
                  </a:ext>
                </a:extLst>
              </p:cNvPr>
              <p:cNvSpPr>
                <a:spLocks/>
              </p:cNvSpPr>
              <p:nvPr/>
            </p:nvSpPr>
            <p:spPr bwMode="auto">
              <a:xfrm>
                <a:off x="2788433" y="3058721"/>
                <a:ext cx="165544" cy="148989"/>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1"/>
                  <a:gd name="T130" fmla="*/ 0 h 260"/>
                  <a:gd name="T131" fmla="*/ 291 w 291"/>
                  <a:gd name="T132" fmla="*/ 260 h 2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52" name="MCShape 158">
                <a:extLst>
                  <a:ext uri="{FF2B5EF4-FFF2-40B4-BE49-F238E27FC236}">
                    <a16:creationId xmlns:a16="http://schemas.microsoft.com/office/drawing/2014/main" id="{DDBC46E0-4569-4850-B2A3-64693C430770}"/>
                  </a:ext>
                </a:extLst>
              </p:cNvPr>
              <p:cNvSpPr>
                <a:spLocks noEditPoints="1"/>
              </p:cNvSpPr>
              <p:nvPr/>
            </p:nvSpPr>
            <p:spPr bwMode="auto">
              <a:xfrm>
                <a:off x="1163090" y="2240029"/>
                <a:ext cx="2132511" cy="1107641"/>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718"/>
                  <a:gd name="T187" fmla="*/ 0 h 1928"/>
                  <a:gd name="T188" fmla="*/ 3718 w 3718"/>
                  <a:gd name="T189" fmla="*/ 1928 h 19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3420" name="MCShape 159">
              <a:extLst>
                <a:ext uri="{FF2B5EF4-FFF2-40B4-BE49-F238E27FC236}">
                  <a16:creationId xmlns:a16="http://schemas.microsoft.com/office/drawing/2014/main" id="{0309F15C-5A9F-479A-98EE-504F95D39FA4}"/>
                </a:ext>
              </a:extLst>
            </p:cNvPr>
            <p:cNvSpPr>
              <a:spLocks/>
            </p:cNvSpPr>
            <p:nvPr/>
          </p:nvSpPr>
          <p:spPr bwMode="auto">
            <a:xfrm>
              <a:off x="-3519520" y="4880090"/>
              <a:ext cx="628249" cy="992111"/>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0"/>
                <a:gd name="T190" fmla="*/ 0 h 993"/>
                <a:gd name="T191" fmla="*/ 630 w 630"/>
                <a:gd name="T192" fmla="*/ 993 h 9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1" name="MCShape 160">
              <a:extLst>
                <a:ext uri="{FF2B5EF4-FFF2-40B4-BE49-F238E27FC236}">
                  <a16:creationId xmlns:a16="http://schemas.microsoft.com/office/drawing/2014/main" id="{90021158-6AAE-4399-BEAA-2B430BB4B7AD}"/>
                </a:ext>
              </a:extLst>
            </p:cNvPr>
            <p:cNvSpPr>
              <a:spLocks noEditPoints="1"/>
            </p:cNvSpPr>
            <p:nvPr/>
          </p:nvSpPr>
          <p:spPr bwMode="auto">
            <a:xfrm>
              <a:off x="-2954094" y="5401013"/>
              <a:ext cx="602073" cy="712017"/>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4"/>
                <a:gd name="T151" fmla="*/ 0 h 712"/>
                <a:gd name="T152" fmla="*/ 604 w 604"/>
                <a:gd name="T153" fmla="*/ 712 h 7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2" name="MCShape 161">
              <a:extLst>
                <a:ext uri="{FF2B5EF4-FFF2-40B4-BE49-F238E27FC236}">
                  <a16:creationId xmlns:a16="http://schemas.microsoft.com/office/drawing/2014/main" id="{62930EFB-FEBC-4386-8D65-4F983D06D6CB}"/>
                </a:ext>
              </a:extLst>
            </p:cNvPr>
            <p:cNvSpPr>
              <a:spLocks/>
            </p:cNvSpPr>
            <p:nvPr/>
          </p:nvSpPr>
          <p:spPr bwMode="auto">
            <a:xfrm>
              <a:off x="2757741" y="2440387"/>
              <a:ext cx="798402" cy="445009"/>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8"/>
                <a:gd name="T184" fmla="*/ 0 h 447"/>
                <a:gd name="T185" fmla="*/ 798 w 798"/>
                <a:gd name="T186" fmla="*/ 447 h 44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3" name="MCShape 162">
              <a:extLst>
                <a:ext uri="{FF2B5EF4-FFF2-40B4-BE49-F238E27FC236}">
                  <a16:creationId xmlns:a16="http://schemas.microsoft.com/office/drawing/2014/main" id="{1D218120-3AFD-47DD-A492-B773A95879EF}"/>
                </a:ext>
              </a:extLst>
            </p:cNvPr>
            <p:cNvSpPr>
              <a:spLocks noEditPoints="1"/>
            </p:cNvSpPr>
            <p:nvPr/>
          </p:nvSpPr>
          <p:spPr bwMode="auto">
            <a:xfrm>
              <a:off x="2325820" y="1927318"/>
              <a:ext cx="1672713" cy="780077"/>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73"/>
                <a:gd name="T190" fmla="*/ 0 h 778"/>
                <a:gd name="T191" fmla="*/ 1673 w 1673"/>
                <a:gd name="T192" fmla="*/ 778 h 7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4" name="MCShape 163">
              <a:extLst>
                <a:ext uri="{FF2B5EF4-FFF2-40B4-BE49-F238E27FC236}">
                  <a16:creationId xmlns:a16="http://schemas.microsoft.com/office/drawing/2014/main" id="{D4FDA990-D633-445D-9A06-E805DDFB7666}"/>
                </a:ext>
              </a:extLst>
            </p:cNvPr>
            <p:cNvSpPr>
              <a:spLocks/>
            </p:cNvSpPr>
            <p:nvPr/>
          </p:nvSpPr>
          <p:spPr bwMode="auto">
            <a:xfrm>
              <a:off x="1744689" y="5445515"/>
              <a:ext cx="505217" cy="892638"/>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8"/>
                <a:gd name="T184" fmla="*/ 0 h 891"/>
                <a:gd name="T185" fmla="*/ 508 w 508"/>
                <a:gd name="T186" fmla="*/ 891 h 8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5" name="MCShape 164">
              <a:extLst>
                <a:ext uri="{FF2B5EF4-FFF2-40B4-BE49-F238E27FC236}">
                  <a16:creationId xmlns:a16="http://schemas.microsoft.com/office/drawing/2014/main" id="{49119292-4EA3-4301-8F76-9A73549371E7}"/>
                </a:ext>
              </a:extLst>
            </p:cNvPr>
            <p:cNvSpPr>
              <a:spLocks/>
            </p:cNvSpPr>
            <p:nvPr/>
          </p:nvSpPr>
          <p:spPr bwMode="auto">
            <a:xfrm>
              <a:off x="1867722" y="5390543"/>
              <a:ext cx="164916" cy="416216"/>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2"/>
                <a:gd name="T172" fmla="*/ 0 h 416"/>
                <a:gd name="T173" fmla="*/ 162 w 162"/>
                <a:gd name="T174" fmla="*/ 416 h 4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6" name="MCShape 165">
              <a:extLst>
                <a:ext uri="{FF2B5EF4-FFF2-40B4-BE49-F238E27FC236}">
                  <a16:creationId xmlns:a16="http://schemas.microsoft.com/office/drawing/2014/main" id="{3820A76E-C8F4-4D34-AD69-4F77D6DF6FB5}"/>
                </a:ext>
              </a:extLst>
            </p:cNvPr>
            <p:cNvSpPr>
              <a:spLocks/>
            </p:cNvSpPr>
            <p:nvPr/>
          </p:nvSpPr>
          <p:spPr bwMode="auto">
            <a:xfrm>
              <a:off x="1365122" y="5322483"/>
              <a:ext cx="560189" cy="534011"/>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63"/>
                <a:gd name="T148" fmla="*/ 0 h 536"/>
                <a:gd name="T149" fmla="*/ 563 w 563"/>
                <a:gd name="T150" fmla="*/ 536 h 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7" name="MCShape 166">
              <a:extLst>
                <a:ext uri="{FF2B5EF4-FFF2-40B4-BE49-F238E27FC236}">
                  <a16:creationId xmlns:a16="http://schemas.microsoft.com/office/drawing/2014/main" id="{8972BC2B-DCA9-4240-AB8E-F8519A68A91A}"/>
                </a:ext>
              </a:extLst>
            </p:cNvPr>
            <p:cNvSpPr>
              <a:spLocks/>
            </p:cNvSpPr>
            <p:nvPr/>
          </p:nvSpPr>
          <p:spPr bwMode="auto">
            <a:xfrm>
              <a:off x="909640" y="4592142"/>
              <a:ext cx="900491" cy="1015671"/>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2"/>
                <a:gd name="T187" fmla="*/ 0 h 1016"/>
                <a:gd name="T188" fmla="*/ 902 w 902"/>
                <a:gd name="T189" fmla="*/ 1016 h 101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8" name="MCShape 167">
              <a:extLst>
                <a:ext uri="{FF2B5EF4-FFF2-40B4-BE49-F238E27FC236}">
                  <a16:creationId xmlns:a16="http://schemas.microsoft.com/office/drawing/2014/main" id="{D9C0D6D4-BBDE-45F7-A3A2-DA0E98775519}"/>
                </a:ext>
              </a:extLst>
            </p:cNvPr>
            <p:cNvSpPr>
              <a:spLocks/>
            </p:cNvSpPr>
            <p:nvPr/>
          </p:nvSpPr>
          <p:spPr bwMode="auto">
            <a:xfrm>
              <a:off x="1705422" y="5013593"/>
              <a:ext cx="86385" cy="109944"/>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7"/>
                <a:gd name="T61" fmla="*/ 0 h 112"/>
                <a:gd name="T62" fmla="*/ 87 w 87"/>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29" name="MCShape 168">
              <a:extLst>
                <a:ext uri="{FF2B5EF4-FFF2-40B4-BE49-F238E27FC236}">
                  <a16:creationId xmlns:a16="http://schemas.microsoft.com/office/drawing/2014/main" id="{C87D7CD9-939C-42C7-847F-8197DEAE2A14}"/>
                </a:ext>
              </a:extLst>
            </p:cNvPr>
            <p:cNvSpPr>
              <a:spLocks noEditPoints="1"/>
            </p:cNvSpPr>
            <p:nvPr/>
          </p:nvSpPr>
          <p:spPr bwMode="auto">
            <a:xfrm>
              <a:off x="1731600" y="4940297"/>
              <a:ext cx="507835" cy="575895"/>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0"/>
                <a:gd name="T145" fmla="*/ 0 h 579"/>
                <a:gd name="T146" fmla="*/ 510 w 510"/>
                <a:gd name="T147" fmla="*/ 579 h 57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0" name="MCShape 169">
              <a:extLst>
                <a:ext uri="{FF2B5EF4-FFF2-40B4-BE49-F238E27FC236}">
                  <a16:creationId xmlns:a16="http://schemas.microsoft.com/office/drawing/2014/main" id="{37F09D4D-5427-4C1A-866D-4B5734CD7F64}"/>
                </a:ext>
              </a:extLst>
            </p:cNvPr>
            <p:cNvSpPr>
              <a:spLocks noEditPoints="1"/>
            </p:cNvSpPr>
            <p:nvPr/>
          </p:nvSpPr>
          <p:spPr bwMode="auto">
            <a:xfrm>
              <a:off x="1734218" y="4657584"/>
              <a:ext cx="264387" cy="314126"/>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6"/>
                <a:gd name="T178" fmla="*/ 0 h 314"/>
                <a:gd name="T179" fmla="*/ 266 w 266"/>
                <a:gd name="T180" fmla="*/ 314 h 3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1" name="MCShape 170">
              <a:extLst>
                <a:ext uri="{FF2B5EF4-FFF2-40B4-BE49-F238E27FC236}">
                  <a16:creationId xmlns:a16="http://schemas.microsoft.com/office/drawing/2014/main" id="{AD1C9305-540E-49C4-A6C5-693611F61D43}"/>
                </a:ext>
              </a:extLst>
            </p:cNvPr>
            <p:cNvSpPr>
              <a:spLocks/>
            </p:cNvSpPr>
            <p:nvPr/>
          </p:nvSpPr>
          <p:spPr bwMode="auto">
            <a:xfrm>
              <a:off x="1938400" y="4628790"/>
              <a:ext cx="376949" cy="507835"/>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8"/>
                <a:gd name="T178" fmla="*/ 0 h 509"/>
                <a:gd name="T179" fmla="*/ 378 w 378"/>
                <a:gd name="T180" fmla="*/ 509 h 5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2" name="MCShape 171">
              <a:extLst>
                <a:ext uri="{FF2B5EF4-FFF2-40B4-BE49-F238E27FC236}">
                  <a16:creationId xmlns:a16="http://schemas.microsoft.com/office/drawing/2014/main" id="{9712DA97-8958-4AD9-876E-6737C8220C0F}"/>
                </a:ext>
              </a:extLst>
            </p:cNvPr>
            <p:cNvSpPr>
              <a:spLocks noEditPoints="1"/>
            </p:cNvSpPr>
            <p:nvPr/>
          </p:nvSpPr>
          <p:spPr bwMode="auto">
            <a:xfrm>
              <a:off x="-3789143" y="4081689"/>
              <a:ext cx="222504" cy="225122"/>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0"/>
                <a:gd name="T139" fmla="*/ 0 h 223"/>
                <a:gd name="T140" fmla="*/ 220 w 220"/>
                <a:gd name="T141" fmla="*/ 223 h 2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3" name="MCShape 172">
              <a:extLst>
                <a:ext uri="{FF2B5EF4-FFF2-40B4-BE49-F238E27FC236}">
                  <a16:creationId xmlns:a16="http://schemas.microsoft.com/office/drawing/2014/main" id="{2383ED3A-2B3B-4511-8247-5429321D67E8}"/>
                </a:ext>
              </a:extLst>
            </p:cNvPr>
            <p:cNvSpPr>
              <a:spLocks/>
            </p:cNvSpPr>
            <p:nvPr/>
          </p:nvSpPr>
          <p:spPr bwMode="auto">
            <a:xfrm>
              <a:off x="-3728936" y="4280635"/>
              <a:ext cx="164916" cy="151827"/>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2"/>
                <a:gd name="T103" fmla="*/ 0 h 152"/>
                <a:gd name="T104" fmla="*/ 162 w 162"/>
                <a:gd name="T105" fmla="*/ 152 h 1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4" name="MCShape 173">
              <a:extLst>
                <a:ext uri="{FF2B5EF4-FFF2-40B4-BE49-F238E27FC236}">
                  <a16:creationId xmlns:a16="http://schemas.microsoft.com/office/drawing/2014/main" id="{613E1852-4DBA-4CAB-9C5B-C79C7D5F7B04}"/>
                </a:ext>
              </a:extLst>
            </p:cNvPr>
            <p:cNvSpPr>
              <a:spLocks/>
            </p:cNvSpPr>
            <p:nvPr/>
          </p:nvSpPr>
          <p:spPr bwMode="auto">
            <a:xfrm>
              <a:off x="1160940" y="2542478"/>
              <a:ext cx="81151" cy="89002"/>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90"/>
                <a:gd name="T86" fmla="*/ 80 w 8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5" name="MCShape 174">
              <a:extLst>
                <a:ext uri="{FF2B5EF4-FFF2-40B4-BE49-F238E27FC236}">
                  <a16:creationId xmlns:a16="http://schemas.microsoft.com/office/drawing/2014/main" id="{0901F85F-6C41-458B-978F-479AA63D7F53}"/>
                </a:ext>
              </a:extLst>
            </p:cNvPr>
            <p:cNvSpPr>
              <a:spLocks noEditPoints="1"/>
            </p:cNvSpPr>
            <p:nvPr/>
          </p:nvSpPr>
          <p:spPr bwMode="auto">
            <a:xfrm>
              <a:off x="1176647" y="2401122"/>
              <a:ext cx="183238" cy="230358"/>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5"/>
                <a:gd name="T109" fmla="*/ 0 h 233"/>
                <a:gd name="T110" fmla="*/ 185 w 185"/>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6" name="MCShape 175">
              <a:extLst>
                <a:ext uri="{FF2B5EF4-FFF2-40B4-BE49-F238E27FC236}">
                  <a16:creationId xmlns:a16="http://schemas.microsoft.com/office/drawing/2014/main" id="{5F98477B-198C-48AE-B67F-3FF4B4D7F6F1}"/>
                </a:ext>
              </a:extLst>
            </p:cNvPr>
            <p:cNvSpPr>
              <a:spLocks noEditPoints="1"/>
            </p:cNvSpPr>
            <p:nvPr/>
          </p:nvSpPr>
          <p:spPr bwMode="auto">
            <a:xfrm>
              <a:off x="-6401615" y="1168183"/>
              <a:ext cx="2044430" cy="887402"/>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49"/>
                <a:gd name="T172" fmla="*/ 0 h 886"/>
                <a:gd name="T173" fmla="*/ 2049 w 2049"/>
                <a:gd name="T174" fmla="*/ 886 h 8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7" name="MCShape 176">
              <a:extLst>
                <a:ext uri="{FF2B5EF4-FFF2-40B4-BE49-F238E27FC236}">
                  <a16:creationId xmlns:a16="http://schemas.microsoft.com/office/drawing/2014/main" id="{4D2F368A-C6ED-4419-BD08-3CBA36653A4E}"/>
                </a:ext>
              </a:extLst>
            </p:cNvPr>
            <p:cNvSpPr>
              <a:spLocks noEditPoints="1"/>
            </p:cNvSpPr>
            <p:nvPr/>
          </p:nvSpPr>
          <p:spPr bwMode="auto">
            <a:xfrm>
              <a:off x="-5061349" y="2228352"/>
              <a:ext cx="2602001" cy="1303619"/>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09"/>
                <a:gd name="T166" fmla="*/ 0 h 1304"/>
                <a:gd name="T167" fmla="*/ 2609 w 2609"/>
                <a:gd name="T168" fmla="*/ 1304 h 13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8" name="MCShape 177">
              <a:extLst>
                <a:ext uri="{FF2B5EF4-FFF2-40B4-BE49-F238E27FC236}">
                  <a16:creationId xmlns:a16="http://schemas.microsoft.com/office/drawing/2014/main" id="{C78423D9-817D-4CCA-8FCF-67357546B374}"/>
                </a:ext>
              </a:extLst>
            </p:cNvPr>
            <p:cNvSpPr>
              <a:spLocks/>
            </p:cNvSpPr>
            <p:nvPr/>
          </p:nvSpPr>
          <p:spPr bwMode="auto">
            <a:xfrm>
              <a:off x="-4027356" y="1869729"/>
              <a:ext cx="31411" cy="28795"/>
            </a:xfrm>
            <a:custGeom>
              <a:avLst/>
              <a:gdLst>
                <a:gd name="T0" fmla="*/ 25 w 39"/>
                <a:gd name="T1" fmla="*/ 0 h 35"/>
                <a:gd name="T2" fmla="*/ 1 w 39"/>
                <a:gd name="T3" fmla="*/ 14 h 35"/>
                <a:gd name="T4" fmla="*/ 11 w 39"/>
                <a:gd name="T5" fmla="*/ 31 h 35"/>
                <a:gd name="T6" fmla="*/ 39 w 39"/>
                <a:gd name="T7" fmla="*/ 17 h 35"/>
                <a:gd name="T8" fmla="*/ 25 w 39"/>
                <a:gd name="T9" fmla="*/ 0 h 35"/>
                <a:gd name="T10" fmla="*/ 0 60000 65536"/>
                <a:gd name="T11" fmla="*/ 0 60000 65536"/>
                <a:gd name="T12" fmla="*/ 0 60000 65536"/>
                <a:gd name="T13" fmla="*/ 0 60000 65536"/>
                <a:gd name="T14" fmla="*/ 0 60000 65536"/>
                <a:gd name="T15" fmla="*/ 0 w 39"/>
                <a:gd name="T16" fmla="*/ 0 h 35"/>
                <a:gd name="T17" fmla="*/ 39 w 39"/>
                <a:gd name="T18" fmla="*/ 35 h 35"/>
              </a:gdLst>
              <a:ahLst/>
              <a:cxnLst>
                <a:cxn ang="T10">
                  <a:pos x="T0" y="T1"/>
                </a:cxn>
                <a:cxn ang="T11">
                  <a:pos x="T2" y="T3"/>
                </a:cxn>
                <a:cxn ang="T12">
                  <a:pos x="T4" y="T5"/>
                </a:cxn>
                <a:cxn ang="T13">
                  <a:pos x="T6" y="T7"/>
                </a:cxn>
                <a:cxn ang="T14">
                  <a:pos x="T8" y="T9"/>
                </a:cxn>
              </a:cxnLst>
              <a:rect l="T15" t="T16" r="T17" b="T18"/>
              <a:pathLst>
                <a:path w="39" h="35">
                  <a:moveTo>
                    <a:pt x="25" y="0"/>
                  </a:moveTo>
                  <a:cubicBezTo>
                    <a:pt x="25" y="0"/>
                    <a:pt x="0" y="7"/>
                    <a:pt x="1" y="14"/>
                  </a:cubicBezTo>
                  <a:cubicBezTo>
                    <a:pt x="2" y="21"/>
                    <a:pt x="11" y="31"/>
                    <a:pt x="11" y="31"/>
                  </a:cubicBezTo>
                  <a:cubicBezTo>
                    <a:pt x="22" y="35"/>
                    <a:pt x="39" y="27"/>
                    <a:pt x="39" y="17"/>
                  </a:cubicBezTo>
                  <a:cubicBezTo>
                    <a:pt x="39" y="7"/>
                    <a:pt x="25" y="0"/>
                    <a:pt x="25" y="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39" name="MCShape 178">
              <a:extLst>
                <a:ext uri="{FF2B5EF4-FFF2-40B4-BE49-F238E27FC236}">
                  <a16:creationId xmlns:a16="http://schemas.microsoft.com/office/drawing/2014/main" id="{B1AF06AC-F48A-4DCA-9829-12A09C8244FE}"/>
                </a:ext>
              </a:extLst>
            </p:cNvPr>
            <p:cNvSpPr>
              <a:spLocks/>
            </p:cNvSpPr>
            <p:nvPr/>
          </p:nvSpPr>
          <p:spPr bwMode="auto">
            <a:xfrm>
              <a:off x="-5160822" y="2003230"/>
              <a:ext cx="78531" cy="36647"/>
            </a:xfrm>
            <a:custGeom>
              <a:avLst/>
              <a:gdLst>
                <a:gd name="T0" fmla="*/ 78 w 91"/>
                <a:gd name="T1" fmla="*/ 0 h 41"/>
                <a:gd name="T2" fmla="*/ 37 w 91"/>
                <a:gd name="T3" fmla="*/ 11 h 41"/>
                <a:gd name="T4" fmla="*/ 1 w 91"/>
                <a:gd name="T5" fmla="*/ 32 h 41"/>
                <a:gd name="T6" fmla="*/ 36 w 91"/>
                <a:gd name="T7" fmla="*/ 29 h 41"/>
                <a:gd name="T8" fmla="*/ 82 w 91"/>
                <a:gd name="T9" fmla="*/ 26 h 41"/>
                <a:gd name="T10" fmla="*/ 78 w 91"/>
                <a:gd name="T11" fmla="*/ 0 h 41"/>
                <a:gd name="T12" fmla="*/ 0 60000 65536"/>
                <a:gd name="T13" fmla="*/ 0 60000 65536"/>
                <a:gd name="T14" fmla="*/ 0 60000 65536"/>
                <a:gd name="T15" fmla="*/ 0 60000 65536"/>
                <a:gd name="T16" fmla="*/ 0 60000 65536"/>
                <a:gd name="T17" fmla="*/ 0 60000 65536"/>
                <a:gd name="T18" fmla="*/ 0 w 91"/>
                <a:gd name="T19" fmla="*/ 0 h 41"/>
                <a:gd name="T20" fmla="*/ 91 w 9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91" h="41">
                  <a:moveTo>
                    <a:pt x="78" y="0"/>
                  </a:moveTo>
                  <a:cubicBezTo>
                    <a:pt x="66" y="0"/>
                    <a:pt x="37" y="11"/>
                    <a:pt x="37" y="11"/>
                  </a:cubicBezTo>
                  <a:cubicBezTo>
                    <a:pt x="37" y="11"/>
                    <a:pt x="0" y="25"/>
                    <a:pt x="1" y="32"/>
                  </a:cubicBezTo>
                  <a:cubicBezTo>
                    <a:pt x="3" y="41"/>
                    <a:pt x="17" y="35"/>
                    <a:pt x="36" y="29"/>
                  </a:cubicBezTo>
                  <a:cubicBezTo>
                    <a:pt x="55" y="22"/>
                    <a:pt x="75" y="32"/>
                    <a:pt x="82" y="26"/>
                  </a:cubicBezTo>
                  <a:cubicBezTo>
                    <a:pt x="89" y="20"/>
                    <a:pt x="91" y="0"/>
                    <a:pt x="78" y="0"/>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40" name="MCShape 179">
              <a:extLst>
                <a:ext uri="{FF2B5EF4-FFF2-40B4-BE49-F238E27FC236}">
                  <a16:creationId xmlns:a16="http://schemas.microsoft.com/office/drawing/2014/main" id="{5F0A9462-C476-40C4-B8CD-FBD558AE28BC}"/>
                </a:ext>
              </a:extLst>
            </p:cNvPr>
            <p:cNvSpPr>
              <a:spLocks/>
            </p:cNvSpPr>
            <p:nvPr/>
          </p:nvSpPr>
          <p:spPr bwMode="auto">
            <a:xfrm>
              <a:off x="-5286471" y="2047732"/>
              <a:ext cx="47118" cy="28795"/>
            </a:xfrm>
            <a:custGeom>
              <a:avLst/>
              <a:gdLst>
                <a:gd name="T0" fmla="*/ 0 w 127"/>
                <a:gd name="T1" fmla="*/ 73 h 73"/>
                <a:gd name="T2" fmla="*/ 66 w 127"/>
                <a:gd name="T3" fmla="*/ 71 h 73"/>
                <a:gd name="T4" fmla="*/ 127 w 127"/>
                <a:gd name="T5" fmla="*/ 26 h 73"/>
                <a:gd name="T6" fmla="*/ 106 w 127"/>
                <a:gd name="T7" fmla="*/ 0 h 73"/>
                <a:gd name="T8" fmla="*/ 0 w 127"/>
                <a:gd name="T9" fmla="*/ 73 h 73"/>
                <a:gd name="T10" fmla="*/ 0 60000 65536"/>
                <a:gd name="T11" fmla="*/ 0 60000 65536"/>
                <a:gd name="T12" fmla="*/ 0 60000 65536"/>
                <a:gd name="T13" fmla="*/ 0 60000 65536"/>
                <a:gd name="T14" fmla="*/ 0 60000 65536"/>
                <a:gd name="T15" fmla="*/ 0 w 127"/>
                <a:gd name="T16" fmla="*/ 0 h 73"/>
                <a:gd name="T17" fmla="*/ 127 w 127"/>
                <a:gd name="T18" fmla="*/ 73 h 73"/>
              </a:gdLst>
              <a:ahLst/>
              <a:cxnLst>
                <a:cxn ang="T10">
                  <a:pos x="T0" y="T1"/>
                </a:cxn>
                <a:cxn ang="T11">
                  <a:pos x="T2" y="T3"/>
                </a:cxn>
                <a:cxn ang="T12">
                  <a:pos x="T4" y="T5"/>
                </a:cxn>
                <a:cxn ang="T13">
                  <a:pos x="T6" y="T7"/>
                </a:cxn>
                <a:cxn ang="T14">
                  <a:pos x="T8" y="T9"/>
                </a:cxn>
              </a:cxnLst>
              <a:rect l="T15" t="T16" r="T17" b="T18"/>
              <a:pathLst>
                <a:path w="127" h="73">
                  <a:moveTo>
                    <a:pt x="0" y="73"/>
                  </a:moveTo>
                  <a:lnTo>
                    <a:pt x="66" y="71"/>
                  </a:lnTo>
                  <a:lnTo>
                    <a:pt x="127" y="26"/>
                  </a:lnTo>
                  <a:lnTo>
                    <a:pt x="106" y="0"/>
                  </a:lnTo>
                  <a:lnTo>
                    <a:pt x="0" y="73"/>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41" name="MCShape 180">
              <a:extLst>
                <a:ext uri="{FF2B5EF4-FFF2-40B4-BE49-F238E27FC236}">
                  <a16:creationId xmlns:a16="http://schemas.microsoft.com/office/drawing/2014/main" id="{2A225416-F61D-48E4-9445-04CCC2D3B654}"/>
                </a:ext>
              </a:extLst>
            </p:cNvPr>
            <p:cNvSpPr>
              <a:spLocks/>
            </p:cNvSpPr>
            <p:nvPr/>
          </p:nvSpPr>
          <p:spPr bwMode="auto">
            <a:xfrm>
              <a:off x="-4011649" y="1919463"/>
              <a:ext cx="36647" cy="34031"/>
            </a:xfrm>
            <a:custGeom>
              <a:avLst/>
              <a:gdLst>
                <a:gd name="T0" fmla="*/ 3 w 44"/>
                <a:gd name="T1" fmla="*/ 25 h 39"/>
                <a:gd name="T2" fmla="*/ 29 w 44"/>
                <a:gd name="T3" fmla="*/ 17 h 39"/>
                <a:gd name="T4" fmla="*/ 44 w 44"/>
                <a:gd name="T5" fmla="*/ 13 h 39"/>
                <a:gd name="T6" fmla="*/ 43 w 44"/>
                <a:gd name="T7" fmla="*/ 3 h 39"/>
                <a:gd name="T8" fmla="*/ 25 w 44"/>
                <a:gd name="T9" fmla="*/ 0 h 39"/>
                <a:gd name="T10" fmla="*/ 3 w 44"/>
                <a:gd name="T11" fmla="*/ 25 h 39"/>
                <a:gd name="T12" fmla="*/ 0 60000 65536"/>
                <a:gd name="T13" fmla="*/ 0 60000 65536"/>
                <a:gd name="T14" fmla="*/ 0 60000 65536"/>
                <a:gd name="T15" fmla="*/ 0 60000 65536"/>
                <a:gd name="T16" fmla="*/ 0 60000 65536"/>
                <a:gd name="T17" fmla="*/ 0 60000 65536"/>
                <a:gd name="T18" fmla="*/ 0 w 44"/>
                <a:gd name="T19" fmla="*/ 0 h 39"/>
                <a:gd name="T20" fmla="*/ 44 w 44"/>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44" h="39">
                  <a:moveTo>
                    <a:pt x="3" y="25"/>
                  </a:moveTo>
                  <a:cubicBezTo>
                    <a:pt x="9" y="39"/>
                    <a:pt x="29" y="17"/>
                    <a:pt x="29" y="17"/>
                  </a:cubicBezTo>
                  <a:cubicBezTo>
                    <a:pt x="44" y="13"/>
                    <a:pt x="44" y="13"/>
                    <a:pt x="44" y="13"/>
                  </a:cubicBezTo>
                  <a:cubicBezTo>
                    <a:pt x="43" y="3"/>
                    <a:pt x="43" y="3"/>
                    <a:pt x="43" y="3"/>
                  </a:cubicBezTo>
                  <a:cubicBezTo>
                    <a:pt x="25" y="0"/>
                    <a:pt x="25" y="0"/>
                    <a:pt x="25" y="0"/>
                  </a:cubicBezTo>
                  <a:cubicBezTo>
                    <a:pt x="25" y="0"/>
                    <a:pt x="0" y="18"/>
                    <a:pt x="3" y="25"/>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42" name="MCShape 181">
              <a:extLst>
                <a:ext uri="{FF2B5EF4-FFF2-40B4-BE49-F238E27FC236}">
                  <a16:creationId xmlns:a16="http://schemas.microsoft.com/office/drawing/2014/main" id="{0B10FA79-2D7A-4969-AA3C-1A1777D4D37A}"/>
                </a:ext>
              </a:extLst>
            </p:cNvPr>
            <p:cNvSpPr>
              <a:spLocks/>
            </p:cNvSpPr>
            <p:nvPr/>
          </p:nvSpPr>
          <p:spPr bwMode="auto">
            <a:xfrm>
              <a:off x="-4592780" y="1851403"/>
              <a:ext cx="57589" cy="36647"/>
            </a:xfrm>
            <a:custGeom>
              <a:avLst/>
              <a:gdLst>
                <a:gd name="T0" fmla="*/ 37 w 66"/>
                <a:gd name="T1" fmla="*/ 9 h 41"/>
                <a:gd name="T2" fmla="*/ 7 w 66"/>
                <a:gd name="T3" fmla="*/ 30 h 41"/>
                <a:gd name="T4" fmla="*/ 43 w 66"/>
                <a:gd name="T5" fmla="*/ 29 h 41"/>
                <a:gd name="T6" fmla="*/ 50 w 66"/>
                <a:gd name="T7" fmla="*/ 20 h 41"/>
                <a:gd name="T8" fmla="*/ 63 w 66"/>
                <a:gd name="T9" fmla="*/ 18 h 41"/>
                <a:gd name="T10" fmla="*/ 37 w 66"/>
                <a:gd name="T11" fmla="*/ 9 h 41"/>
                <a:gd name="T12" fmla="*/ 0 60000 65536"/>
                <a:gd name="T13" fmla="*/ 0 60000 65536"/>
                <a:gd name="T14" fmla="*/ 0 60000 65536"/>
                <a:gd name="T15" fmla="*/ 0 60000 65536"/>
                <a:gd name="T16" fmla="*/ 0 60000 65536"/>
                <a:gd name="T17" fmla="*/ 0 60000 65536"/>
                <a:gd name="T18" fmla="*/ 0 w 66"/>
                <a:gd name="T19" fmla="*/ 0 h 41"/>
                <a:gd name="T20" fmla="*/ 66 w 6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66" h="41">
                  <a:moveTo>
                    <a:pt x="37" y="9"/>
                  </a:moveTo>
                  <a:cubicBezTo>
                    <a:pt x="24" y="18"/>
                    <a:pt x="0" y="23"/>
                    <a:pt x="7" y="30"/>
                  </a:cubicBezTo>
                  <a:cubicBezTo>
                    <a:pt x="18" y="41"/>
                    <a:pt x="43" y="29"/>
                    <a:pt x="43" y="29"/>
                  </a:cubicBezTo>
                  <a:cubicBezTo>
                    <a:pt x="50" y="20"/>
                    <a:pt x="50" y="20"/>
                    <a:pt x="50" y="20"/>
                  </a:cubicBezTo>
                  <a:cubicBezTo>
                    <a:pt x="50" y="20"/>
                    <a:pt x="66" y="24"/>
                    <a:pt x="63" y="18"/>
                  </a:cubicBezTo>
                  <a:cubicBezTo>
                    <a:pt x="61" y="12"/>
                    <a:pt x="51" y="0"/>
                    <a:pt x="37" y="9"/>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43" name="MCShape 182">
              <a:extLst>
                <a:ext uri="{FF2B5EF4-FFF2-40B4-BE49-F238E27FC236}">
                  <a16:creationId xmlns:a16="http://schemas.microsoft.com/office/drawing/2014/main" id="{E3AA1748-D482-436F-B4BE-A50F804D4878}"/>
                </a:ext>
              </a:extLst>
            </p:cNvPr>
            <p:cNvSpPr>
              <a:spLocks/>
            </p:cNvSpPr>
            <p:nvPr/>
          </p:nvSpPr>
          <p:spPr bwMode="auto">
            <a:xfrm>
              <a:off x="-4684398" y="1882816"/>
              <a:ext cx="104709" cy="39267"/>
            </a:xfrm>
            <a:custGeom>
              <a:avLst/>
              <a:gdLst>
                <a:gd name="T0" fmla="*/ 99 w 122"/>
                <a:gd name="T1" fmla="*/ 1 h 47"/>
                <a:gd name="T2" fmla="*/ 83 w 122"/>
                <a:gd name="T3" fmla="*/ 7 h 47"/>
                <a:gd name="T4" fmla="*/ 70 w 122"/>
                <a:gd name="T5" fmla="*/ 1 h 47"/>
                <a:gd name="T6" fmla="*/ 66 w 122"/>
                <a:gd name="T7" fmla="*/ 17 h 47"/>
                <a:gd name="T8" fmla="*/ 50 w 122"/>
                <a:gd name="T9" fmla="*/ 29 h 47"/>
                <a:gd name="T10" fmla="*/ 50 w 122"/>
                <a:gd name="T11" fmla="*/ 12 h 47"/>
                <a:gd name="T12" fmla="*/ 22 w 122"/>
                <a:gd name="T13" fmla="*/ 20 h 47"/>
                <a:gd name="T14" fmla="*/ 2 w 122"/>
                <a:gd name="T15" fmla="*/ 38 h 47"/>
                <a:gd name="T16" fmla="*/ 22 w 122"/>
                <a:gd name="T17" fmla="*/ 47 h 47"/>
                <a:gd name="T18" fmla="*/ 63 w 122"/>
                <a:gd name="T19" fmla="*/ 42 h 47"/>
                <a:gd name="T20" fmla="*/ 72 w 122"/>
                <a:gd name="T21" fmla="*/ 30 h 47"/>
                <a:gd name="T22" fmla="*/ 90 w 122"/>
                <a:gd name="T23" fmla="*/ 27 h 47"/>
                <a:gd name="T24" fmla="*/ 91 w 122"/>
                <a:gd name="T25" fmla="*/ 21 h 47"/>
                <a:gd name="T26" fmla="*/ 116 w 122"/>
                <a:gd name="T27" fmla="*/ 20 h 47"/>
                <a:gd name="T28" fmla="*/ 122 w 122"/>
                <a:gd name="T29" fmla="*/ 4 h 47"/>
                <a:gd name="T30" fmla="*/ 111 w 122"/>
                <a:gd name="T31" fmla="*/ 6 h 47"/>
                <a:gd name="T32" fmla="*/ 99 w 122"/>
                <a:gd name="T33" fmla="*/ 1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2"/>
                <a:gd name="T52" fmla="*/ 0 h 47"/>
                <a:gd name="T53" fmla="*/ 122 w 122"/>
                <a:gd name="T54" fmla="*/ 47 h 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2" h="47">
                  <a:moveTo>
                    <a:pt x="99" y="1"/>
                  </a:moveTo>
                  <a:cubicBezTo>
                    <a:pt x="96" y="2"/>
                    <a:pt x="83" y="7"/>
                    <a:pt x="83" y="7"/>
                  </a:cubicBezTo>
                  <a:cubicBezTo>
                    <a:pt x="83" y="7"/>
                    <a:pt x="75" y="0"/>
                    <a:pt x="70" y="1"/>
                  </a:cubicBezTo>
                  <a:cubicBezTo>
                    <a:pt x="65" y="2"/>
                    <a:pt x="66" y="17"/>
                    <a:pt x="66" y="17"/>
                  </a:cubicBezTo>
                  <a:cubicBezTo>
                    <a:pt x="50" y="29"/>
                    <a:pt x="50" y="29"/>
                    <a:pt x="50" y="29"/>
                  </a:cubicBezTo>
                  <a:cubicBezTo>
                    <a:pt x="50" y="12"/>
                    <a:pt x="50" y="12"/>
                    <a:pt x="50" y="12"/>
                  </a:cubicBezTo>
                  <a:cubicBezTo>
                    <a:pt x="50" y="12"/>
                    <a:pt x="36" y="7"/>
                    <a:pt x="22" y="20"/>
                  </a:cubicBezTo>
                  <a:cubicBezTo>
                    <a:pt x="22" y="20"/>
                    <a:pt x="5" y="31"/>
                    <a:pt x="2" y="38"/>
                  </a:cubicBezTo>
                  <a:cubicBezTo>
                    <a:pt x="0" y="46"/>
                    <a:pt x="22" y="47"/>
                    <a:pt x="22" y="47"/>
                  </a:cubicBezTo>
                  <a:cubicBezTo>
                    <a:pt x="22" y="47"/>
                    <a:pt x="52" y="47"/>
                    <a:pt x="63" y="42"/>
                  </a:cubicBezTo>
                  <a:cubicBezTo>
                    <a:pt x="75" y="37"/>
                    <a:pt x="72" y="30"/>
                    <a:pt x="72" y="30"/>
                  </a:cubicBezTo>
                  <a:cubicBezTo>
                    <a:pt x="90" y="27"/>
                    <a:pt x="90" y="27"/>
                    <a:pt x="90" y="27"/>
                  </a:cubicBezTo>
                  <a:cubicBezTo>
                    <a:pt x="91" y="21"/>
                    <a:pt x="91" y="21"/>
                    <a:pt x="91" y="21"/>
                  </a:cubicBezTo>
                  <a:cubicBezTo>
                    <a:pt x="116" y="20"/>
                    <a:pt x="116" y="20"/>
                    <a:pt x="116" y="20"/>
                  </a:cubicBezTo>
                  <a:cubicBezTo>
                    <a:pt x="122" y="4"/>
                    <a:pt x="122" y="4"/>
                    <a:pt x="122" y="4"/>
                  </a:cubicBezTo>
                  <a:cubicBezTo>
                    <a:pt x="111" y="6"/>
                    <a:pt x="111" y="6"/>
                    <a:pt x="111" y="6"/>
                  </a:cubicBezTo>
                  <a:cubicBezTo>
                    <a:pt x="111" y="6"/>
                    <a:pt x="103" y="0"/>
                    <a:pt x="99" y="1"/>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44" name="MCShape 183">
              <a:extLst>
                <a:ext uri="{FF2B5EF4-FFF2-40B4-BE49-F238E27FC236}">
                  <a16:creationId xmlns:a16="http://schemas.microsoft.com/office/drawing/2014/main" id="{D3C30890-16A9-4FB2-BF18-C67C793A4BA2}"/>
                </a:ext>
              </a:extLst>
            </p:cNvPr>
            <p:cNvSpPr>
              <a:spLocks/>
            </p:cNvSpPr>
            <p:nvPr/>
          </p:nvSpPr>
          <p:spPr bwMode="auto">
            <a:xfrm>
              <a:off x="-3998560" y="1966581"/>
              <a:ext cx="36647" cy="44502"/>
            </a:xfrm>
            <a:custGeom>
              <a:avLst/>
              <a:gdLst>
                <a:gd name="T0" fmla="*/ 35 w 41"/>
                <a:gd name="T1" fmla="*/ 28 h 50"/>
                <a:gd name="T2" fmla="*/ 16 w 41"/>
                <a:gd name="T3" fmla="*/ 10 h 50"/>
                <a:gd name="T4" fmla="*/ 0 w 41"/>
                <a:gd name="T5" fmla="*/ 50 h 50"/>
                <a:gd name="T6" fmla="*/ 18 w 41"/>
                <a:gd name="T7" fmla="*/ 39 h 50"/>
                <a:gd name="T8" fmla="*/ 35 w 41"/>
                <a:gd name="T9" fmla="*/ 28 h 50"/>
                <a:gd name="T10" fmla="*/ 0 60000 65536"/>
                <a:gd name="T11" fmla="*/ 0 60000 65536"/>
                <a:gd name="T12" fmla="*/ 0 60000 65536"/>
                <a:gd name="T13" fmla="*/ 0 60000 65536"/>
                <a:gd name="T14" fmla="*/ 0 60000 65536"/>
                <a:gd name="T15" fmla="*/ 0 w 41"/>
                <a:gd name="T16" fmla="*/ 0 h 50"/>
                <a:gd name="T17" fmla="*/ 41 w 41"/>
                <a:gd name="T18" fmla="*/ 50 h 50"/>
              </a:gdLst>
              <a:ahLst/>
              <a:cxnLst>
                <a:cxn ang="T10">
                  <a:pos x="T0" y="T1"/>
                </a:cxn>
                <a:cxn ang="T11">
                  <a:pos x="T2" y="T3"/>
                </a:cxn>
                <a:cxn ang="T12">
                  <a:pos x="T4" y="T5"/>
                </a:cxn>
                <a:cxn ang="T13">
                  <a:pos x="T6" y="T7"/>
                </a:cxn>
                <a:cxn ang="T14">
                  <a:pos x="T8" y="T9"/>
                </a:cxn>
              </a:cxnLst>
              <a:rect l="T15" t="T16" r="T17" b="T18"/>
              <a:pathLst>
                <a:path w="41" h="50">
                  <a:moveTo>
                    <a:pt x="35" y="28"/>
                  </a:moveTo>
                  <a:cubicBezTo>
                    <a:pt x="41" y="15"/>
                    <a:pt x="26" y="0"/>
                    <a:pt x="16" y="10"/>
                  </a:cubicBezTo>
                  <a:cubicBezTo>
                    <a:pt x="6" y="20"/>
                    <a:pt x="0" y="50"/>
                    <a:pt x="0" y="50"/>
                  </a:cubicBezTo>
                  <a:cubicBezTo>
                    <a:pt x="0" y="50"/>
                    <a:pt x="13" y="39"/>
                    <a:pt x="18" y="39"/>
                  </a:cubicBezTo>
                  <a:cubicBezTo>
                    <a:pt x="23" y="39"/>
                    <a:pt x="29" y="41"/>
                    <a:pt x="35" y="28"/>
                  </a:cubicBez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45" name="MCShape 184">
              <a:extLst>
                <a:ext uri="{FF2B5EF4-FFF2-40B4-BE49-F238E27FC236}">
                  <a16:creationId xmlns:a16="http://schemas.microsoft.com/office/drawing/2014/main" id="{3FCAB088-AB89-42C8-908D-D5428BF96EA4}"/>
                </a:ext>
              </a:extLst>
            </p:cNvPr>
            <p:cNvSpPr>
              <a:spLocks/>
            </p:cNvSpPr>
            <p:nvPr/>
          </p:nvSpPr>
          <p:spPr bwMode="auto">
            <a:xfrm>
              <a:off x="-5221029" y="2037260"/>
              <a:ext cx="34031" cy="10471"/>
            </a:xfrm>
            <a:custGeom>
              <a:avLst/>
              <a:gdLst>
                <a:gd name="T0" fmla="*/ 83 w 88"/>
                <a:gd name="T1" fmla="*/ 33 h 35"/>
                <a:gd name="T2" fmla="*/ 88 w 88"/>
                <a:gd name="T3" fmla="*/ 0 h 35"/>
                <a:gd name="T4" fmla="*/ 0 w 88"/>
                <a:gd name="T5" fmla="*/ 35 h 35"/>
                <a:gd name="T6" fmla="*/ 83 w 88"/>
                <a:gd name="T7" fmla="*/ 33 h 35"/>
                <a:gd name="T8" fmla="*/ 0 60000 65536"/>
                <a:gd name="T9" fmla="*/ 0 60000 65536"/>
                <a:gd name="T10" fmla="*/ 0 60000 65536"/>
                <a:gd name="T11" fmla="*/ 0 60000 65536"/>
                <a:gd name="T12" fmla="*/ 0 w 88"/>
                <a:gd name="T13" fmla="*/ 0 h 35"/>
                <a:gd name="T14" fmla="*/ 88 w 88"/>
                <a:gd name="T15" fmla="*/ 35 h 35"/>
              </a:gdLst>
              <a:ahLst/>
              <a:cxnLst>
                <a:cxn ang="T8">
                  <a:pos x="T0" y="T1"/>
                </a:cxn>
                <a:cxn ang="T9">
                  <a:pos x="T2" y="T3"/>
                </a:cxn>
                <a:cxn ang="T10">
                  <a:pos x="T4" y="T5"/>
                </a:cxn>
                <a:cxn ang="T11">
                  <a:pos x="T6" y="T7"/>
                </a:cxn>
              </a:cxnLst>
              <a:rect l="T12" t="T13" r="T14" b="T15"/>
              <a:pathLst>
                <a:path w="88" h="35">
                  <a:moveTo>
                    <a:pt x="83" y="33"/>
                  </a:moveTo>
                  <a:lnTo>
                    <a:pt x="88" y="0"/>
                  </a:lnTo>
                  <a:lnTo>
                    <a:pt x="0" y="35"/>
                  </a:lnTo>
                  <a:lnTo>
                    <a:pt x="83" y="33"/>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46" name="Freeform 387">
              <a:extLst>
                <a:ext uri="{FF2B5EF4-FFF2-40B4-BE49-F238E27FC236}">
                  <a16:creationId xmlns:a16="http://schemas.microsoft.com/office/drawing/2014/main" id="{F3BA61A7-5365-41C5-B3AF-6D13DD5A278C}"/>
                </a:ext>
              </a:extLst>
            </p:cNvPr>
            <p:cNvSpPr>
              <a:spLocks/>
            </p:cNvSpPr>
            <p:nvPr/>
          </p:nvSpPr>
          <p:spPr bwMode="auto">
            <a:xfrm>
              <a:off x="-3286970" y="3544324"/>
              <a:ext cx="44180" cy="77316"/>
            </a:xfrm>
            <a:custGeom>
              <a:avLst/>
              <a:gdLst>
                <a:gd name="T0" fmla="*/ 12 w 16"/>
                <a:gd name="T1" fmla="*/ 28 h 28"/>
                <a:gd name="T2" fmla="*/ 12 w 16"/>
                <a:gd name="T3" fmla="*/ 28 h 28"/>
                <a:gd name="T4" fmla="*/ 12 w 16"/>
                <a:gd name="T5" fmla="*/ 26 h 28"/>
                <a:gd name="T6" fmla="*/ 10 w 16"/>
                <a:gd name="T7" fmla="*/ 22 h 28"/>
                <a:gd name="T8" fmla="*/ 10 w 16"/>
                <a:gd name="T9" fmla="*/ 22 h 28"/>
                <a:gd name="T10" fmla="*/ 6 w 16"/>
                <a:gd name="T11" fmla="*/ 16 h 28"/>
                <a:gd name="T12" fmla="*/ 6 w 16"/>
                <a:gd name="T13" fmla="*/ 16 h 28"/>
                <a:gd name="T14" fmla="*/ 0 w 16"/>
                <a:gd name="T15" fmla="*/ 12 h 28"/>
                <a:gd name="T16" fmla="*/ 0 w 16"/>
                <a:gd name="T17" fmla="*/ 12 h 28"/>
                <a:gd name="T18" fmla="*/ 2 w 16"/>
                <a:gd name="T19" fmla="*/ 10 h 28"/>
                <a:gd name="T20" fmla="*/ 2 w 16"/>
                <a:gd name="T21" fmla="*/ 10 h 28"/>
                <a:gd name="T22" fmla="*/ 6 w 16"/>
                <a:gd name="T23" fmla="*/ 4 h 28"/>
                <a:gd name="T24" fmla="*/ 6 w 16"/>
                <a:gd name="T25" fmla="*/ 4 h 28"/>
                <a:gd name="T26" fmla="*/ 4 w 16"/>
                <a:gd name="T27" fmla="*/ 0 h 28"/>
                <a:gd name="T28" fmla="*/ 4 w 16"/>
                <a:gd name="T29" fmla="*/ 0 h 28"/>
                <a:gd name="T30" fmla="*/ 6 w 16"/>
                <a:gd name="T31" fmla="*/ 2 h 28"/>
                <a:gd name="T32" fmla="*/ 6 w 16"/>
                <a:gd name="T33" fmla="*/ 2 h 28"/>
                <a:gd name="T34" fmla="*/ 8 w 16"/>
                <a:gd name="T35" fmla="*/ 2 h 28"/>
                <a:gd name="T36" fmla="*/ 8 w 16"/>
                <a:gd name="T37" fmla="*/ 2 h 28"/>
                <a:gd name="T38" fmla="*/ 8 w 16"/>
                <a:gd name="T39" fmla="*/ 2 h 28"/>
                <a:gd name="T40" fmla="*/ 12 w 16"/>
                <a:gd name="T41" fmla="*/ 8 h 28"/>
                <a:gd name="T42" fmla="*/ 12 w 16"/>
                <a:gd name="T43" fmla="*/ 8 h 28"/>
                <a:gd name="T44" fmla="*/ 12 w 16"/>
                <a:gd name="T45" fmla="*/ 10 h 28"/>
                <a:gd name="T46" fmla="*/ 12 w 16"/>
                <a:gd name="T47" fmla="*/ 14 h 28"/>
                <a:gd name="T48" fmla="*/ 12 w 16"/>
                <a:gd name="T49" fmla="*/ 14 h 28"/>
                <a:gd name="T50" fmla="*/ 14 w 16"/>
                <a:gd name="T51" fmla="*/ 18 h 28"/>
                <a:gd name="T52" fmla="*/ 14 w 16"/>
                <a:gd name="T53" fmla="*/ 18 h 28"/>
                <a:gd name="T54" fmla="*/ 14 w 16"/>
                <a:gd name="T55" fmla="*/ 18 h 28"/>
                <a:gd name="T56" fmla="*/ 16 w 16"/>
                <a:gd name="T57" fmla="*/ 22 h 28"/>
                <a:gd name="T58" fmla="*/ 16 w 16"/>
                <a:gd name="T59" fmla="*/ 26 h 28"/>
                <a:gd name="T60" fmla="*/ 16 w 16"/>
                <a:gd name="T61" fmla="*/ 26 h 28"/>
                <a:gd name="T62" fmla="*/ 16 w 16"/>
                <a:gd name="T63" fmla="*/ 28 h 28"/>
                <a:gd name="T64" fmla="*/ 14 w 16"/>
                <a:gd name="T65" fmla="*/ 28 h 28"/>
                <a:gd name="T66" fmla="*/ 14 w 16"/>
                <a:gd name="T67" fmla="*/ 28 h 28"/>
                <a:gd name="T68" fmla="*/ 12 w 16"/>
                <a:gd name="T69" fmla="*/ 28 h 28"/>
                <a:gd name="T70" fmla="*/ 12 w 16"/>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28">
                  <a:moveTo>
                    <a:pt x="12" y="28"/>
                  </a:moveTo>
                  <a:lnTo>
                    <a:pt x="12" y="28"/>
                  </a:lnTo>
                  <a:lnTo>
                    <a:pt x="12" y="26"/>
                  </a:lnTo>
                  <a:lnTo>
                    <a:pt x="10" y="22"/>
                  </a:lnTo>
                  <a:lnTo>
                    <a:pt x="10" y="22"/>
                  </a:lnTo>
                  <a:lnTo>
                    <a:pt x="6" y="16"/>
                  </a:lnTo>
                  <a:lnTo>
                    <a:pt x="6" y="16"/>
                  </a:lnTo>
                  <a:lnTo>
                    <a:pt x="0" y="12"/>
                  </a:lnTo>
                  <a:lnTo>
                    <a:pt x="0" y="12"/>
                  </a:lnTo>
                  <a:lnTo>
                    <a:pt x="2" y="10"/>
                  </a:lnTo>
                  <a:lnTo>
                    <a:pt x="2" y="10"/>
                  </a:lnTo>
                  <a:lnTo>
                    <a:pt x="6" y="4"/>
                  </a:lnTo>
                  <a:lnTo>
                    <a:pt x="6" y="4"/>
                  </a:lnTo>
                  <a:lnTo>
                    <a:pt x="4" y="0"/>
                  </a:lnTo>
                  <a:lnTo>
                    <a:pt x="4" y="0"/>
                  </a:lnTo>
                  <a:lnTo>
                    <a:pt x="6" y="2"/>
                  </a:lnTo>
                  <a:lnTo>
                    <a:pt x="6" y="2"/>
                  </a:lnTo>
                  <a:lnTo>
                    <a:pt x="8" y="2"/>
                  </a:lnTo>
                  <a:lnTo>
                    <a:pt x="8" y="2"/>
                  </a:lnTo>
                  <a:lnTo>
                    <a:pt x="8" y="2"/>
                  </a:lnTo>
                  <a:lnTo>
                    <a:pt x="12" y="8"/>
                  </a:lnTo>
                  <a:lnTo>
                    <a:pt x="12" y="8"/>
                  </a:lnTo>
                  <a:lnTo>
                    <a:pt x="12" y="10"/>
                  </a:lnTo>
                  <a:lnTo>
                    <a:pt x="12" y="14"/>
                  </a:lnTo>
                  <a:lnTo>
                    <a:pt x="12" y="14"/>
                  </a:lnTo>
                  <a:lnTo>
                    <a:pt x="14" y="18"/>
                  </a:lnTo>
                  <a:lnTo>
                    <a:pt x="14" y="18"/>
                  </a:lnTo>
                  <a:lnTo>
                    <a:pt x="14" y="18"/>
                  </a:lnTo>
                  <a:lnTo>
                    <a:pt x="16" y="22"/>
                  </a:lnTo>
                  <a:lnTo>
                    <a:pt x="16" y="26"/>
                  </a:lnTo>
                  <a:lnTo>
                    <a:pt x="16" y="26"/>
                  </a:lnTo>
                  <a:lnTo>
                    <a:pt x="16" y="28"/>
                  </a:lnTo>
                  <a:lnTo>
                    <a:pt x="14" y="28"/>
                  </a:lnTo>
                  <a:lnTo>
                    <a:pt x="14" y="28"/>
                  </a:lnTo>
                  <a:lnTo>
                    <a:pt x="12" y="28"/>
                  </a:lnTo>
                  <a:lnTo>
                    <a:pt x="12" y="28"/>
                  </a:lnTo>
                  <a:close/>
                </a:path>
              </a:pathLst>
            </a:custGeom>
            <a:grpFill/>
            <a:ln w="4">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3447" name="Freeform 386">
              <a:extLst>
                <a:ext uri="{FF2B5EF4-FFF2-40B4-BE49-F238E27FC236}">
                  <a16:creationId xmlns:a16="http://schemas.microsoft.com/office/drawing/2014/main" id="{064FE73C-7557-4CED-976E-A207C1AF01FC}"/>
                </a:ext>
              </a:extLst>
            </p:cNvPr>
            <p:cNvSpPr>
              <a:spLocks/>
            </p:cNvSpPr>
            <p:nvPr/>
          </p:nvSpPr>
          <p:spPr bwMode="auto">
            <a:xfrm>
              <a:off x="5736957" y="4582573"/>
              <a:ext cx="60749" cy="88362"/>
            </a:xfrm>
            <a:custGeom>
              <a:avLst/>
              <a:gdLst>
                <a:gd name="T0" fmla="*/ 8 w 22"/>
                <a:gd name="T1" fmla="*/ 32 h 32"/>
                <a:gd name="T2" fmla="*/ 10 w 22"/>
                <a:gd name="T3" fmla="*/ 30 h 32"/>
                <a:gd name="T4" fmla="*/ 10 w 22"/>
                <a:gd name="T5" fmla="*/ 20 h 32"/>
                <a:gd name="T6" fmla="*/ 12 w 22"/>
                <a:gd name="T7" fmla="*/ 20 h 32"/>
                <a:gd name="T8" fmla="*/ 18 w 22"/>
                <a:gd name="T9" fmla="*/ 24 h 32"/>
                <a:gd name="T10" fmla="*/ 20 w 22"/>
                <a:gd name="T11" fmla="*/ 26 h 32"/>
                <a:gd name="T12" fmla="*/ 22 w 22"/>
                <a:gd name="T13" fmla="*/ 20 h 32"/>
                <a:gd name="T14" fmla="*/ 20 w 22"/>
                <a:gd name="T15" fmla="*/ 16 h 32"/>
                <a:gd name="T16" fmla="*/ 16 w 22"/>
                <a:gd name="T17" fmla="*/ 14 h 32"/>
                <a:gd name="T18" fmla="*/ 16 w 22"/>
                <a:gd name="T19" fmla="*/ 0 h 32"/>
                <a:gd name="T20" fmla="*/ 18 w 22"/>
                <a:gd name="T21" fmla="*/ 0 h 32"/>
                <a:gd name="T22" fmla="*/ 18 w 22"/>
                <a:gd name="T23" fmla="*/ 0 h 32"/>
                <a:gd name="T24" fmla="*/ 16 w 22"/>
                <a:gd name="T25" fmla="*/ 0 h 32"/>
                <a:gd name="T26" fmla="*/ 16 w 22"/>
                <a:gd name="T27" fmla="*/ 0 h 32"/>
                <a:gd name="T28" fmla="*/ 14 w 22"/>
                <a:gd name="T29" fmla="*/ 0 h 32"/>
                <a:gd name="T30" fmla="*/ 12 w 22"/>
                <a:gd name="T31" fmla="*/ 0 h 32"/>
                <a:gd name="T32" fmla="*/ 10 w 22"/>
                <a:gd name="T33" fmla="*/ 6 h 32"/>
                <a:gd name="T34" fmla="*/ 10 w 22"/>
                <a:gd name="T35" fmla="*/ 12 h 32"/>
                <a:gd name="T36" fmla="*/ 10 w 22"/>
                <a:gd name="T37" fmla="*/ 12 h 32"/>
                <a:gd name="T38" fmla="*/ 0 w 22"/>
                <a:gd name="T39" fmla="*/ 24 h 32"/>
                <a:gd name="T40" fmla="*/ 0 w 22"/>
                <a:gd name="T41" fmla="*/ 24 h 32"/>
                <a:gd name="T42" fmla="*/ 0 w 22"/>
                <a:gd name="T43" fmla="*/ 24 h 32"/>
                <a:gd name="T44" fmla="*/ 8 w 22"/>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2">
                  <a:moveTo>
                    <a:pt x="8" y="32"/>
                  </a:moveTo>
                  <a:lnTo>
                    <a:pt x="10" y="30"/>
                  </a:lnTo>
                  <a:lnTo>
                    <a:pt x="10" y="20"/>
                  </a:lnTo>
                  <a:lnTo>
                    <a:pt x="12" y="20"/>
                  </a:lnTo>
                  <a:lnTo>
                    <a:pt x="18" y="24"/>
                  </a:lnTo>
                  <a:lnTo>
                    <a:pt x="20" y="26"/>
                  </a:lnTo>
                  <a:lnTo>
                    <a:pt x="22" y="20"/>
                  </a:lnTo>
                  <a:lnTo>
                    <a:pt x="20" y="16"/>
                  </a:lnTo>
                  <a:lnTo>
                    <a:pt x="16" y="14"/>
                  </a:lnTo>
                  <a:lnTo>
                    <a:pt x="16" y="0"/>
                  </a:lnTo>
                  <a:lnTo>
                    <a:pt x="18" y="0"/>
                  </a:lnTo>
                  <a:lnTo>
                    <a:pt x="18" y="0"/>
                  </a:lnTo>
                  <a:lnTo>
                    <a:pt x="16" y="0"/>
                  </a:lnTo>
                  <a:lnTo>
                    <a:pt x="16" y="0"/>
                  </a:lnTo>
                  <a:lnTo>
                    <a:pt x="14" y="0"/>
                  </a:lnTo>
                  <a:lnTo>
                    <a:pt x="12" y="0"/>
                  </a:lnTo>
                  <a:lnTo>
                    <a:pt x="10" y="6"/>
                  </a:lnTo>
                  <a:lnTo>
                    <a:pt x="10" y="12"/>
                  </a:lnTo>
                  <a:lnTo>
                    <a:pt x="10" y="12"/>
                  </a:lnTo>
                  <a:lnTo>
                    <a:pt x="0" y="24"/>
                  </a:lnTo>
                  <a:lnTo>
                    <a:pt x="0" y="24"/>
                  </a:lnTo>
                  <a:lnTo>
                    <a:pt x="0" y="24"/>
                  </a:lnTo>
                  <a:lnTo>
                    <a:pt x="8" y="32"/>
                  </a:lnTo>
                  <a:close/>
                </a:path>
              </a:pathLst>
            </a:custGeom>
            <a:grpFill/>
            <a:ln w="6350">
              <a:solidFill>
                <a:srgbClr val="FFFFFF"/>
              </a:solidFill>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3448" name="Freeform 199">
              <a:extLst>
                <a:ext uri="{FF2B5EF4-FFF2-40B4-BE49-F238E27FC236}">
                  <a16:creationId xmlns:a16="http://schemas.microsoft.com/office/drawing/2014/main" id="{CC315411-DCE1-4EF3-9B29-F990E1063A56}"/>
                </a:ext>
              </a:extLst>
            </p:cNvPr>
            <p:cNvSpPr/>
            <p:nvPr/>
          </p:nvSpPr>
          <p:spPr bwMode="gray">
            <a:xfrm>
              <a:off x="1447325" y="4251493"/>
              <a:ext cx="581397" cy="445359"/>
            </a:xfrm>
            <a:custGeom>
              <a:avLst/>
              <a:gdLst>
                <a:gd name="connsiteX0" fmla="*/ 440397 w 581397"/>
                <a:gd name="connsiteY0" fmla="*/ 19 h 445359"/>
                <a:gd name="connsiteX1" fmla="*/ 468049 w 581397"/>
                <a:gd name="connsiteY1" fmla="*/ 10330 h 445359"/>
                <a:gd name="connsiteX2" fmla="*/ 465668 w 581397"/>
                <a:gd name="connsiteY2" fmla="*/ 86530 h 445359"/>
                <a:gd name="connsiteX3" fmla="*/ 498748 w 581397"/>
                <a:gd name="connsiteY3" fmla="*/ 98647 h 445359"/>
                <a:gd name="connsiteX4" fmla="*/ 491202 w 581397"/>
                <a:gd name="connsiteY4" fmla="*/ 110062 h 445359"/>
                <a:gd name="connsiteX5" fmla="*/ 492629 w 581397"/>
                <a:gd name="connsiteY5" fmla="*/ 119021 h 445359"/>
                <a:gd name="connsiteX6" fmla="*/ 492629 w 581397"/>
                <a:gd name="connsiteY6" fmla="*/ 119021 h 445359"/>
                <a:gd name="connsiteX7" fmla="*/ 493832 w 581397"/>
                <a:gd name="connsiteY7" fmla="*/ 126576 h 445359"/>
                <a:gd name="connsiteX8" fmla="*/ 497215 w 581397"/>
                <a:gd name="connsiteY8" fmla="*/ 137085 h 445359"/>
                <a:gd name="connsiteX9" fmla="*/ 493206 w 581397"/>
                <a:gd name="connsiteY9" fmla="*/ 173117 h 445359"/>
                <a:gd name="connsiteX10" fmla="*/ 479175 w 581397"/>
                <a:gd name="connsiteY10" fmla="*/ 183126 h 445359"/>
                <a:gd name="connsiteX11" fmla="*/ 474165 w 581397"/>
                <a:gd name="connsiteY11" fmla="*/ 178122 h 445359"/>
                <a:gd name="connsiteX12" fmla="*/ 451115 w 581397"/>
                <a:gd name="connsiteY12" fmla="*/ 177121 h 445359"/>
                <a:gd name="connsiteX13" fmla="*/ 453119 w 581397"/>
                <a:gd name="connsiteY13" fmla="*/ 193135 h 445359"/>
                <a:gd name="connsiteX14" fmla="*/ 446104 w 581397"/>
                <a:gd name="connsiteY14" fmla="*/ 215155 h 445359"/>
                <a:gd name="connsiteX15" fmla="*/ 473162 w 581397"/>
                <a:gd name="connsiteY15" fmla="*/ 218157 h 445359"/>
                <a:gd name="connsiteX16" fmla="*/ 498217 w 581397"/>
                <a:gd name="connsiteY16" fmla="*/ 237174 h 445359"/>
                <a:gd name="connsiteX17" fmla="*/ 503228 w 581397"/>
                <a:gd name="connsiteY17" fmla="*/ 257192 h 445359"/>
                <a:gd name="connsiteX18" fmla="*/ 518260 w 581397"/>
                <a:gd name="connsiteY18" fmla="*/ 260195 h 445359"/>
                <a:gd name="connsiteX19" fmla="*/ 521267 w 581397"/>
                <a:gd name="connsiteY19" fmla="*/ 273206 h 445359"/>
                <a:gd name="connsiteX20" fmla="*/ 530286 w 581397"/>
                <a:gd name="connsiteY20" fmla="*/ 274207 h 445359"/>
                <a:gd name="connsiteX21" fmla="*/ 532290 w 581397"/>
                <a:gd name="connsiteY21" fmla="*/ 299229 h 445359"/>
                <a:gd name="connsiteX22" fmla="*/ 539306 w 581397"/>
                <a:gd name="connsiteY22" fmla="*/ 303233 h 445359"/>
                <a:gd name="connsiteX23" fmla="*/ 551332 w 581397"/>
                <a:gd name="connsiteY23" fmla="*/ 338264 h 445359"/>
                <a:gd name="connsiteX24" fmla="*/ 576386 w 581397"/>
                <a:gd name="connsiteY24" fmla="*/ 345270 h 445359"/>
                <a:gd name="connsiteX25" fmla="*/ 580394 w 581397"/>
                <a:gd name="connsiteY25" fmla="*/ 367290 h 445359"/>
                <a:gd name="connsiteX26" fmla="*/ 581397 w 581397"/>
                <a:gd name="connsiteY26" fmla="*/ 377299 h 445359"/>
                <a:gd name="connsiteX27" fmla="*/ 568368 w 581397"/>
                <a:gd name="connsiteY27" fmla="*/ 385306 h 445359"/>
                <a:gd name="connsiteX28" fmla="*/ 508238 w 581397"/>
                <a:gd name="connsiteY28" fmla="*/ 386307 h 445359"/>
                <a:gd name="connsiteX29" fmla="*/ 494208 w 581397"/>
                <a:gd name="connsiteY29" fmla="*/ 406324 h 445359"/>
                <a:gd name="connsiteX30" fmla="*/ 486191 w 581397"/>
                <a:gd name="connsiteY30" fmla="*/ 406324 h 445359"/>
                <a:gd name="connsiteX31" fmla="*/ 464143 w 581397"/>
                <a:gd name="connsiteY31" fmla="*/ 431347 h 445359"/>
                <a:gd name="connsiteX32" fmla="*/ 447106 w 581397"/>
                <a:gd name="connsiteY32" fmla="*/ 423340 h 445359"/>
                <a:gd name="connsiteX33" fmla="*/ 435080 w 581397"/>
                <a:gd name="connsiteY33" fmla="*/ 431347 h 445359"/>
                <a:gd name="connsiteX34" fmla="*/ 419045 w 581397"/>
                <a:gd name="connsiteY34" fmla="*/ 430346 h 445359"/>
                <a:gd name="connsiteX35" fmla="*/ 406017 w 581397"/>
                <a:gd name="connsiteY35" fmla="*/ 445359 h 445359"/>
                <a:gd name="connsiteX36" fmla="*/ 391987 w 581397"/>
                <a:gd name="connsiteY36" fmla="*/ 427343 h 445359"/>
                <a:gd name="connsiteX37" fmla="*/ 384972 w 581397"/>
                <a:gd name="connsiteY37" fmla="*/ 428344 h 445359"/>
                <a:gd name="connsiteX38" fmla="*/ 377957 w 581397"/>
                <a:gd name="connsiteY38" fmla="*/ 435350 h 445359"/>
                <a:gd name="connsiteX39" fmla="*/ 357913 w 581397"/>
                <a:gd name="connsiteY39" fmla="*/ 427343 h 445359"/>
                <a:gd name="connsiteX40" fmla="*/ 341879 w 581397"/>
                <a:gd name="connsiteY40" fmla="*/ 440355 h 445359"/>
                <a:gd name="connsiteX41" fmla="*/ 330855 w 581397"/>
                <a:gd name="connsiteY41" fmla="*/ 438353 h 445359"/>
                <a:gd name="connsiteX42" fmla="*/ 327848 w 581397"/>
                <a:gd name="connsiteY42" fmla="*/ 424340 h 445359"/>
                <a:gd name="connsiteX43" fmla="*/ 300790 w 581397"/>
                <a:gd name="connsiteY43" fmla="*/ 408326 h 445359"/>
                <a:gd name="connsiteX44" fmla="*/ 281748 w 581397"/>
                <a:gd name="connsiteY44" fmla="*/ 379300 h 445359"/>
                <a:gd name="connsiteX45" fmla="*/ 264712 w 581397"/>
                <a:gd name="connsiteY45" fmla="*/ 397316 h 445359"/>
                <a:gd name="connsiteX46" fmla="*/ 243666 w 581397"/>
                <a:gd name="connsiteY46" fmla="*/ 385306 h 445359"/>
                <a:gd name="connsiteX47" fmla="*/ 226629 w 581397"/>
                <a:gd name="connsiteY47" fmla="*/ 401320 h 445359"/>
                <a:gd name="connsiteX48" fmla="*/ 195562 w 581397"/>
                <a:gd name="connsiteY48" fmla="*/ 386307 h 445359"/>
                <a:gd name="connsiteX49" fmla="*/ 195562 w 581397"/>
                <a:gd name="connsiteY49" fmla="*/ 372294 h 445359"/>
                <a:gd name="connsiteX50" fmla="*/ 174517 w 581397"/>
                <a:gd name="connsiteY50" fmla="*/ 353277 h 445359"/>
                <a:gd name="connsiteX51" fmla="*/ 170508 w 581397"/>
                <a:gd name="connsiteY51" fmla="*/ 345270 h 445359"/>
                <a:gd name="connsiteX52" fmla="*/ 166499 w 581397"/>
                <a:gd name="connsiteY52" fmla="*/ 323251 h 445359"/>
                <a:gd name="connsiteX53" fmla="*/ 149462 w 581397"/>
                <a:gd name="connsiteY53" fmla="*/ 309238 h 445359"/>
                <a:gd name="connsiteX54" fmla="*/ 134430 w 581397"/>
                <a:gd name="connsiteY54" fmla="*/ 308237 h 445359"/>
                <a:gd name="connsiteX55" fmla="*/ 135432 w 581397"/>
                <a:gd name="connsiteY55" fmla="*/ 295226 h 445359"/>
                <a:gd name="connsiteX56" fmla="*/ 127415 w 581397"/>
                <a:gd name="connsiteY56" fmla="*/ 286218 h 445359"/>
                <a:gd name="connsiteX57" fmla="*/ 133428 w 581397"/>
                <a:gd name="connsiteY57" fmla="*/ 278211 h 445359"/>
                <a:gd name="connsiteX58" fmla="*/ 118395 w 581397"/>
                <a:gd name="connsiteY58" fmla="*/ 269203 h 445359"/>
                <a:gd name="connsiteX59" fmla="*/ 102360 w 581397"/>
                <a:gd name="connsiteY59" fmla="*/ 245181 h 445359"/>
                <a:gd name="connsiteX60" fmla="*/ 75302 w 581397"/>
                <a:gd name="connsiteY60" fmla="*/ 232170 h 445359"/>
                <a:gd name="connsiteX61" fmla="*/ 81315 w 581397"/>
                <a:gd name="connsiteY61" fmla="*/ 217156 h 445359"/>
                <a:gd name="connsiteX62" fmla="*/ 62274 w 581397"/>
                <a:gd name="connsiteY62" fmla="*/ 207148 h 445359"/>
                <a:gd name="connsiteX63" fmla="*/ 62274 w 581397"/>
                <a:gd name="connsiteY63" fmla="*/ 194136 h 445359"/>
                <a:gd name="connsiteX64" fmla="*/ 26196 w 581397"/>
                <a:gd name="connsiteY64" fmla="*/ 188131 h 445359"/>
                <a:gd name="connsiteX65" fmla="*/ 24442 w 581397"/>
                <a:gd name="connsiteY65" fmla="*/ 177121 h 445359"/>
                <a:gd name="connsiteX66" fmla="*/ 25217 w 581397"/>
                <a:gd name="connsiteY66" fmla="*/ 175714 h 445359"/>
                <a:gd name="connsiteX67" fmla="*/ 25218 w 581397"/>
                <a:gd name="connsiteY67" fmla="*/ 175714 h 445359"/>
                <a:gd name="connsiteX68" fmla="*/ 27198 w 581397"/>
                <a:gd name="connsiteY68" fmla="*/ 172117 h 445359"/>
                <a:gd name="connsiteX69" fmla="*/ 27198 w 581397"/>
                <a:gd name="connsiteY69" fmla="*/ 165111 h 445359"/>
                <a:gd name="connsiteX70" fmla="*/ 12823 w 581397"/>
                <a:gd name="connsiteY70" fmla="*/ 163845 h 445359"/>
                <a:gd name="connsiteX71" fmla="*/ 0 w 581397"/>
                <a:gd name="connsiteY71" fmla="*/ 162715 h 445359"/>
                <a:gd name="connsiteX72" fmla="*/ 1129 w 581397"/>
                <a:gd name="connsiteY72" fmla="*/ 156188 h 445359"/>
                <a:gd name="connsiteX73" fmla="*/ 17994 w 581397"/>
                <a:gd name="connsiteY73" fmla="*/ 124628 h 445359"/>
                <a:gd name="connsiteX74" fmla="*/ 75144 w 581397"/>
                <a:gd name="connsiteY74" fmla="*/ 110341 h 445359"/>
                <a:gd name="connsiteX75" fmla="*/ 91812 w 581397"/>
                <a:gd name="connsiteY75" fmla="*/ 81766 h 445359"/>
                <a:gd name="connsiteX76" fmla="*/ 125150 w 581397"/>
                <a:gd name="connsiteY76" fmla="*/ 98435 h 445359"/>
                <a:gd name="connsiteX77" fmla="*/ 158487 w 581397"/>
                <a:gd name="connsiteY77" fmla="*/ 136534 h 445359"/>
                <a:gd name="connsiteX78" fmla="*/ 249752 w 581397"/>
                <a:gd name="connsiteY78" fmla="*/ 129403 h 445359"/>
                <a:gd name="connsiteX79" fmla="*/ 303742 w 581397"/>
                <a:gd name="connsiteY79" fmla="*/ 98435 h 445359"/>
                <a:gd name="connsiteX80" fmla="*/ 368038 w 581397"/>
                <a:gd name="connsiteY80" fmla="*/ 129390 h 445359"/>
                <a:gd name="connsiteX81" fmla="*/ 415662 w 581397"/>
                <a:gd name="connsiteY81" fmla="*/ 65098 h 445359"/>
                <a:gd name="connsiteX82" fmla="*/ 422806 w 581397"/>
                <a:gd name="connsiteY82" fmla="*/ 5567 h 445359"/>
                <a:gd name="connsiteX83" fmla="*/ 440397 w 581397"/>
                <a:gd name="connsiteY83" fmla="*/ 19 h 44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81397" h="445359">
                  <a:moveTo>
                    <a:pt x="440397" y="19"/>
                  </a:moveTo>
                  <a:cubicBezTo>
                    <a:pt x="448047" y="-243"/>
                    <a:pt x="457373" y="2138"/>
                    <a:pt x="468049" y="10330"/>
                  </a:cubicBezTo>
                  <a:cubicBezTo>
                    <a:pt x="467255" y="35730"/>
                    <a:pt x="466462" y="61130"/>
                    <a:pt x="465668" y="86530"/>
                  </a:cubicBezTo>
                  <a:lnTo>
                    <a:pt x="498748" y="98647"/>
                  </a:lnTo>
                  <a:lnTo>
                    <a:pt x="491202" y="110062"/>
                  </a:lnTo>
                  <a:lnTo>
                    <a:pt x="492629" y="119021"/>
                  </a:lnTo>
                  <a:lnTo>
                    <a:pt x="492629" y="119021"/>
                  </a:lnTo>
                  <a:lnTo>
                    <a:pt x="493832" y="126576"/>
                  </a:lnTo>
                  <a:cubicBezTo>
                    <a:pt x="495461" y="132331"/>
                    <a:pt x="497215" y="137085"/>
                    <a:pt x="497215" y="137085"/>
                  </a:cubicBezTo>
                  <a:cubicBezTo>
                    <a:pt x="497215" y="137085"/>
                    <a:pt x="500221" y="168113"/>
                    <a:pt x="493206" y="173117"/>
                  </a:cubicBezTo>
                  <a:cubicBezTo>
                    <a:pt x="486191" y="178122"/>
                    <a:pt x="479175" y="183126"/>
                    <a:pt x="479175" y="183126"/>
                  </a:cubicBezTo>
                  <a:cubicBezTo>
                    <a:pt x="479175" y="183126"/>
                    <a:pt x="479175" y="183126"/>
                    <a:pt x="474165" y="178122"/>
                  </a:cubicBezTo>
                  <a:cubicBezTo>
                    <a:pt x="474165" y="178122"/>
                    <a:pt x="474165" y="178122"/>
                    <a:pt x="451115" y="177121"/>
                  </a:cubicBezTo>
                  <a:cubicBezTo>
                    <a:pt x="451115" y="177121"/>
                    <a:pt x="451115" y="177121"/>
                    <a:pt x="453119" y="193135"/>
                  </a:cubicBezTo>
                  <a:cubicBezTo>
                    <a:pt x="453119" y="193135"/>
                    <a:pt x="443097" y="210150"/>
                    <a:pt x="446104" y="215155"/>
                  </a:cubicBezTo>
                  <a:cubicBezTo>
                    <a:pt x="449110" y="220159"/>
                    <a:pt x="465145" y="214154"/>
                    <a:pt x="473162" y="218157"/>
                  </a:cubicBezTo>
                  <a:cubicBezTo>
                    <a:pt x="481180" y="222161"/>
                    <a:pt x="498217" y="237174"/>
                    <a:pt x="498217" y="237174"/>
                  </a:cubicBezTo>
                  <a:cubicBezTo>
                    <a:pt x="498217" y="237174"/>
                    <a:pt x="499219" y="252188"/>
                    <a:pt x="503228" y="257192"/>
                  </a:cubicBezTo>
                  <a:cubicBezTo>
                    <a:pt x="507236" y="262196"/>
                    <a:pt x="518260" y="260195"/>
                    <a:pt x="518260" y="260195"/>
                  </a:cubicBezTo>
                  <a:cubicBezTo>
                    <a:pt x="518260" y="260195"/>
                    <a:pt x="518260" y="260195"/>
                    <a:pt x="521267" y="273206"/>
                  </a:cubicBezTo>
                  <a:cubicBezTo>
                    <a:pt x="521267" y="273206"/>
                    <a:pt x="521267" y="273206"/>
                    <a:pt x="530286" y="274207"/>
                  </a:cubicBezTo>
                  <a:cubicBezTo>
                    <a:pt x="530286" y="274207"/>
                    <a:pt x="530286" y="274207"/>
                    <a:pt x="532290" y="299229"/>
                  </a:cubicBezTo>
                  <a:cubicBezTo>
                    <a:pt x="532290" y="299229"/>
                    <a:pt x="532290" y="299229"/>
                    <a:pt x="539306" y="303233"/>
                  </a:cubicBezTo>
                  <a:cubicBezTo>
                    <a:pt x="539306" y="303233"/>
                    <a:pt x="541310" y="330257"/>
                    <a:pt x="551332" y="338264"/>
                  </a:cubicBezTo>
                  <a:cubicBezTo>
                    <a:pt x="561353" y="346271"/>
                    <a:pt x="571375" y="337263"/>
                    <a:pt x="576386" y="345270"/>
                  </a:cubicBezTo>
                  <a:cubicBezTo>
                    <a:pt x="581397" y="353277"/>
                    <a:pt x="580394" y="367290"/>
                    <a:pt x="580394" y="367290"/>
                  </a:cubicBezTo>
                  <a:cubicBezTo>
                    <a:pt x="580394" y="367290"/>
                    <a:pt x="580394" y="367290"/>
                    <a:pt x="581397" y="377299"/>
                  </a:cubicBezTo>
                  <a:cubicBezTo>
                    <a:pt x="581397" y="377299"/>
                    <a:pt x="581397" y="377299"/>
                    <a:pt x="568368" y="385306"/>
                  </a:cubicBezTo>
                  <a:cubicBezTo>
                    <a:pt x="568368" y="385306"/>
                    <a:pt x="568368" y="385306"/>
                    <a:pt x="508238" y="386307"/>
                  </a:cubicBezTo>
                  <a:cubicBezTo>
                    <a:pt x="508238" y="386307"/>
                    <a:pt x="508238" y="386307"/>
                    <a:pt x="494208" y="406324"/>
                  </a:cubicBezTo>
                  <a:cubicBezTo>
                    <a:pt x="494208" y="406324"/>
                    <a:pt x="494208" y="406324"/>
                    <a:pt x="486191" y="406324"/>
                  </a:cubicBezTo>
                  <a:cubicBezTo>
                    <a:pt x="486191" y="406324"/>
                    <a:pt x="477171" y="433348"/>
                    <a:pt x="464143" y="431347"/>
                  </a:cubicBezTo>
                  <a:cubicBezTo>
                    <a:pt x="451115" y="429345"/>
                    <a:pt x="452117" y="423340"/>
                    <a:pt x="447106" y="423340"/>
                  </a:cubicBezTo>
                  <a:cubicBezTo>
                    <a:pt x="442095" y="423340"/>
                    <a:pt x="435080" y="431347"/>
                    <a:pt x="435080" y="431347"/>
                  </a:cubicBezTo>
                  <a:cubicBezTo>
                    <a:pt x="435080" y="431347"/>
                    <a:pt x="435080" y="431347"/>
                    <a:pt x="419045" y="430346"/>
                  </a:cubicBezTo>
                  <a:cubicBezTo>
                    <a:pt x="419045" y="430346"/>
                    <a:pt x="419045" y="430346"/>
                    <a:pt x="406017" y="445359"/>
                  </a:cubicBezTo>
                  <a:cubicBezTo>
                    <a:pt x="406017" y="445359"/>
                    <a:pt x="406017" y="445359"/>
                    <a:pt x="391987" y="427343"/>
                  </a:cubicBezTo>
                  <a:cubicBezTo>
                    <a:pt x="391987" y="427343"/>
                    <a:pt x="391987" y="427343"/>
                    <a:pt x="384972" y="428344"/>
                  </a:cubicBezTo>
                  <a:cubicBezTo>
                    <a:pt x="384972" y="428344"/>
                    <a:pt x="383970" y="436351"/>
                    <a:pt x="377957" y="435350"/>
                  </a:cubicBezTo>
                  <a:cubicBezTo>
                    <a:pt x="371944" y="434349"/>
                    <a:pt x="362924" y="427343"/>
                    <a:pt x="357913" y="427343"/>
                  </a:cubicBezTo>
                  <a:cubicBezTo>
                    <a:pt x="352902" y="427343"/>
                    <a:pt x="341879" y="440355"/>
                    <a:pt x="341879" y="440355"/>
                  </a:cubicBezTo>
                  <a:cubicBezTo>
                    <a:pt x="341879" y="440355"/>
                    <a:pt x="341879" y="440355"/>
                    <a:pt x="330855" y="438353"/>
                  </a:cubicBezTo>
                  <a:cubicBezTo>
                    <a:pt x="330855" y="438353"/>
                    <a:pt x="330855" y="438353"/>
                    <a:pt x="327848" y="424340"/>
                  </a:cubicBezTo>
                  <a:cubicBezTo>
                    <a:pt x="327848" y="424340"/>
                    <a:pt x="308807" y="420337"/>
                    <a:pt x="300790" y="408326"/>
                  </a:cubicBezTo>
                  <a:cubicBezTo>
                    <a:pt x="292772" y="396316"/>
                    <a:pt x="288764" y="379300"/>
                    <a:pt x="281748" y="379300"/>
                  </a:cubicBezTo>
                  <a:cubicBezTo>
                    <a:pt x="274733" y="379300"/>
                    <a:pt x="275735" y="397316"/>
                    <a:pt x="264712" y="397316"/>
                  </a:cubicBezTo>
                  <a:cubicBezTo>
                    <a:pt x="253688" y="397316"/>
                    <a:pt x="252686" y="385306"/>
                    <a:pt x="243666" y="385306"/>
                  </a:cubicBezTo>
                  <a:cubicBezTo>
                    <a:pt x="234647" y="385306"/>
                    <a:pt x="226629" y="401320"/>
                    <a:pt x="226629" y="401320"/>
                  </a:cubicBezTo>
                  <a:cubicBezTo>
                    <a:pt x="226629" y="401320"/>
                    <a:pt x="226629" y="401320"/>
                    <a:pt x="195562" y="386307"/>
                  </a:cubicBezTo>
                  <a:cubicBezTo>
                    <a:pt x="195562" y="386307"/>
                    <a:pt x="195562" y="386307"/>
                    <a:pt x="195562" y="372294"/>
                  </a:cubicBezTo>
                  <a:cubicBezTo>
                    <a:pt x="195562" y="372294"/>
                    <a:pt x="195562" y="372294"/>
                    <a:pt x="174517" y="353277"/>
                  </a:cubicBezTo>
                  <a:cubicBezTo>
                    <a:pt x="174517" y="353277"/>
                    <a:pt x="174517" y="353277"/>
                    <a:pt x="170508" y="345270"/>
                  </a:cubicBezTo>
                  <a:cubicBezTo>
                    <a:pt x="170508" y="345270"/>
                    <a:pt x="174517" y="331258"/>
                    <a:pt x="166499" y="323251"/>
                  </a:cubicBezTo>
                  <a:cubicBezTo>
                    <a:pt x="158482" y="315244"/>
                    <a:pt x="149462" y="309238"/>
                    <a:pt x="149462" y="309238"/>
                  </a:cubicBezTo>
                  <a:cubicBezTo>
                    <a:pt x="149462" y="309238"/>
                    <a:pt x="149462" y="309238"/>
                    <a:pt x="134430" y="308237"/>
                  </a:cubicBezTo>
                  <a:cubicBezTo>
                    <a:pt x="134430" y="308237"/>
                    <a:pt x="134430" y="308237"/>
                    <a:pt x="135432" y="295226"/>
                  </a:cubicBezTo>
                  <a:cubicBezTo>
                    <a:pt x="135432" y="295226"/>
                    <a:pt x="128417" y="292223"/>
                    <a:pt x="127415" y="286218"/>
                  </a:cubicBezTo>
                  <a:cubicBezTo>
                    <a:pt x="126412" y="280212"/>
                    <a:pt x="133428" y="286218"/>
                    <a:pt x="133428" y="278211"/>
                  </a:cubicBezTo>
                  <a:cubicBezTo>
                    <a:pt x="133428" y="270204"/>
                    <a:pt x="118395" y="269203"/>
                    <a:pt x="118395" y="269203"/>
                  </a:cubicBezTo>
                  <a:cubicBezTo>
                    <a:pt x="118395" y="269203"/>
                    <a:pt x="109376" y="246182"/>
                    <a:pt x="102360" y="245181"/>
                  </a:cubicBezTo>
                  <a:cubicBezTo>
                    <a:pt x="95345" y="244180"/>
                    <a:pt x="81315" y="242179"/>
                    <a:pt x="75302" y="232170"/>
                  </a:cubicBezTo>
                  <a:cubicBezTo>
                    <a:pt x="69289" y="222161"/>
                    <a:pt x="84321" y="228166"/>
                    <a:pt x="81315" y="217156"/>
                  </a:cubicBezTo>
                  <a:cubicBezTo>
                    <a:pt x="78308" y="206147"/>
                    <a:pt x="62274" y="207148"/>
                    <a:pt x="62274" y="207148"/>
                  </a:cubicBezTo>
                  <a:cubicBezTo>
                    <a:pt x="62274" y="207148"/>
                    <a:pt x="62274" y="207148"/>
                    <a:pt x="62274" y="194136"/>
                  </a:cubicBezTo>
                  <a:cubicBezTo>
                    <a:pt x="62274" y="194136"/>
                    <a:pt x="32209" y="196138"/>
                    <a:pt x="26196" y="188131"/>
                  </a:cubicBezTo>
                  <a:cubicBezTo>
                    <a:pt x="23190" y="184128"/>
                    <a:pt x="23440" y="180124"/>
                    <a:pt x="24442" y="177121"/>
                  </a:cubicBezTo>
                  <a:lnTo>
                    <a:pt x="25217" y="175714"/>
                  </a:lnTo>
                  <a:lnTo>
                    <a:pt x="25218" y="175714"/>
                  </a:lnTo>
                  <a:lnTo>
                    <a:pt x="27198" y="172117"/>
                  </a:lnTo>
                  <a:cubicBezTo>
                    <a:pt x="27198" y="172117"/>
                    <a:pt x="27198" y="172117"/>
                    <a:pt x="27198" y="165111"/>
                  </a:cubicBezTo>
                  <a:cubicBezTo>
                    <a:pt x="27198" y="165111"/>
                    <a:pt x="27198" y="165111"/>
                    <a:pt x="12823" y="163845"/>
                  </a:cubicBezTo>
                  <a:lnTo>
                    <a:pt x="0" y="162715"/>
                  </a:lnTo>
                  <a:lnTo>
                    <a:pt x="1129" y="156188"/>
                  </a:lnTo>
                  <a:cubicBezTo>
                    <a:pt x="3518" y="146969"/>
                    <a:pt x="8057" y="136312"/>
                    <a:pt x="17994" y="124628"/>
                  </a:cubicBezTo>
                  <a:cubicBezTo>
                    <a:pt x="29800" y="106021"/>
                    <a:pt x="41677" y="135342"/>
                    <a:pt x="75144" y="110341"/>
                  </a:cubicBezTo>
                  <a:cubicBezTo>
                    <a:pt x="87447" y="103197"/>
                    <a:pt x="65886" y="105576"/>
                    <a:pt x="91812" y="81766"/>
                  </a:cubicBezTo>
                  <a:cubicBezTo>
                    <a:pt x="92605" y="73431"/>
                    <a:pt x="109145" y="79383"/>
                    <a:pt x="125150" y="98435"/>
                  </a:cubicBezTo>
                  <a:cubicBezTo>
                    <a:pt x="134278" y="93276"/>
                    <a:pt x="140895" y="158360"/>
                    <a:pt x="158487" y="136534"/>
                  </a:cubicBezTo>
                  <a:cubicBezTo>
                    <a:pt x="176079" y="114708"/>
                    <a:pt x="225543" y="135753"/>
                    <a:pt x="249752" y="129403"/>
                  </a:cubicBezTo>
                  <a:cubicBezTo>
                    <a:pt x="273961" y="123053"/>
                    <a:pt x="281249" y="92881"/>
                    <a:pt x="303742" y="98435"/>
                  </a:cubicBezTo>
                  <a:cubicBezTo>
                    <a:pt x="326235" y="103989"/>
                    <a:pt x="344622" y="124628"/>
                    <a:pt x="368038" y="129390"/>
                  </a:cubicBezTo>
                  <a:cubicBezTo>
                    <a:pt x="391454" y="134152"/>
                    <a:pt x="397803" y="75020"/>
                    <a:pt x="415662" y="65098"/>
                  </a:cubicBezTo>
                  <a:cubicBezTo>
                    <a:pt x="416852" y="43270"/>
                    <a:pt x="401454" y="-2483"/>
                    <a:pt x="422806" y="5567"/>
                  </a:cubicBezTo>
                  <a:cubicBezTo>
                    <a:pt x="426775" y="3186"/>
                    <a:pt x="432747" y="281"/>
                    <a:pt x="440397" y="19"/>
                  </a:cubicBezTo>
                  <a:close/>
                </a:path>
              </a:pathLst>
            </a:custGeom>
            <a:grpFill/>
            <a:ln w="635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3449" name="Freeform 197">
              <a:extLst>
                <a:ext uri="{FF2B5EF4-FFF2-40B4-BE49-F238E27FC236}">
                  <a16:creationId xmlns:a16="http://schemas.microsoft.com/office/drawing/2014/main" id="{1D09408B-76B1-4991-AD11-84426B3CEEC5}"/>
                </a:ext>
              </a:extLst>
            </p:cNvPr>
            <p:cNvSpPr/>
            <p:nvPr/>
          </p:nvSpPr>
          <p:spPr bwMode="gray">
            <a:xfrm>
              <a:off x="1359469" y="3641915"/>
              <a:ext cx="780492" cy="772292"/>
            </a:xfrm>
            <a:custGeom>
              <a:avLst/>
              <a:gdLst>
                <a:gd name="connsiteX0" fmla="*/ 633174 w 780492"/>
                <a:gd name="connsiteY0" fmla="*/ 0 h 772292"/>
                <a:gd name="connsiteX1" fmla="*/ 649208 w 780492"/>
                <a:gd name="connsiteY1" fmla="*/ 22020 h 772292"/>
                <a:gd name="connsiteX2" fmla="*/ 660232 w 780492"/>
                <a:gd name="connsiteY2" fmla="*/ 23021 h 772292"/>
                <a:gd name="connsiteX3" fmla="*/ 673260 w 780492"/>
                <a:gd name="connsiteY3" fmla="*/ 39035 h 772292"/>
                <a:gd name="connsiteX4" fmla="*/ 692301 w 780492"/>
                <a:gd name="connsiteY4" fmla="*/ 53047 h 772292"/>
                <a:gd name="connsiteX5" fmla="*/ 695308 w 780492"/>
                <a:gd name="connsiteY5" fmla="*/ 84075 h 772292"/>
                <a:gd name="connsiteX6" fmla="*/ 714349 w 780492"/>
                <a:gd name="connsiteY6" fmla="*/ 108096 h 772292"/>
                <a:gd name="connsiteX7" fmla="*/ 702323 w 780492"/>
                <a:gd name="connsiteY7" fmla="*/ 111099 h 772292"/>
                <a:gd name="connsiteX8" fmla="*/ 707334 w 780492"/>
                <a:gd name="connsiteY8" fmla="*/ 127113 h 772292"/>
                <a:gd name="connsiteX9" fmla="*/ 709338 w 780492"/>
                <a:gd name="connsiteY9" fmla="*/ 174155 h 772292"/>
                <a:gd name="connsiteX10" fmla="*/ 716353 w 780492"/>
                <a:gd name="connsiteY10" fmla="*/ 176157 h 772292"/>
                <a:gd name="connsiteX11" fmla="*/ 721364 w 780492"/>
                <a:gd name="connsiteY11" fmla="*/ 228203 h 772292"/>
                <a:gd name="connsiteX12" fmla="*/ 746419 w 780492"/>
                <a:gd name="connsiteY12" fmla="*/ 236210 h 772292"/>
                <a:gd name="connsiteX13" fmla="*/ 755438 w 780492"/>
                <a:gd name="connsiteY13" fmla="*/ 256228 h 772292"/>
                <a:gd name="connsiteX14" fmla="*/ 780492 w 780492"/>
                <a:gd name="connsiteY14" fmla="*/ 271241 h 772292"/>
                <a:gd name="connsiteX15" fmla="*/ 769468 w 780492"/>
                <a:gd name="connsiteY15" fmla="*/ 296263 h 772292"/>
                <a:gd name="connsiteX16" fmla="*/ 733390 w 780492"/>
                <a:gd name="connsiteY16" fmla="*/ 306272 h 772292"/>
                <a:gd name="connsiteX17" fmla="*/ 732388 w 780492"/>
                <a:gd name="connsiteY17" fmla="*/ 321286 h 772292"/>
                <a:gd name="connsiteX18" fmla="*/ 713347 w 780492"/>
                <a:gd name="connsiteY18" fmla="*/ 328292 h 772292"/>
                <a:gd name="connsiteX19" fmla="*/ 713347 w 780492"/>
                <a:gd name="connsiteY19" fmla="*/ 338301 h 772292"/>
                <a:gd name="connsiteX20" fmla="*/ 702323 w 780492"/>
                <a:gd name="connsiteY20" fmla="*/ 346308 h 772292"/>
                <a:gd name="connsiteX21" fmla="*/ 708336 w 780492"/>
                <a:gd name="connsiteY21" fmla="*/ 377335 h 772292"/>
                <a:gd name="connsiteX22" fmla="*/ 696310 w 780492"/>
                <a:gd name="connsiteY22" fmla="*/ 397353 h 772292"/>
                <a:gd name="connsiteX23" fmla="*/ 695308 w 780492"/>
                <a:gd name="connsiteY23" fmla="*/ 414368 h 772292"/>
                <a:gd name="connsiteX24" fmla="*/ 683282 w 780492"/>
                <a:gd name="connsiteY24" fmla="*/ 428381 h 772292"/>
                <a:gd name="connsiteX25" fmla="*/ 688293 w 780492"/>
                <a:gd name="connsiteY25" fmla="*/ 438390 h 772292"/>
                <a:gd name="connsiteX26" fmla="*/ 690297 w 780492"/>
                <a:gd name="connsiteY26" fmla="*/ 471419 h 772292"/>
                <a:gd name="connsiteX27" fmla="*/ 690297 w 780492"/>
                <a:gd name="connsiteY27" fmla="*/ 501446 h 772292"/>
                <a:gd name="connsiteX28" fmla="*/ 674262 w 780492"/>
                <a:gd name="connsiteY28" fmla="*/ 529470 h 772292"/>
                <a:gd name="connsiteX29" fmla="*/ 676267 w 780492"/>
                <a:gd name="connsiteY29" fmla="*/ 555494 h 772292"/>
                <a:gd name="connsiteX30" fmla="*/ 654219 w 780492"/>
                <a:gd name="connsiteY30" fmla="*/ 557495 h 772292"/>
                <a:gd name="connsiteX31" fmla="*/ 642193 w 780492"/>
                <a:gd name="connsiteY31" fmla="*/ 576512 h 772292"/>
                <a:gd name="connsiteX32" fmla="*/ 641191 w 780492"/>
                <a:gd name="connsiteY32" fmla="*/ 596530 h 772292"/>
                <a:gd name="connsiteX33" fmla="*/ 625156 w 780492"/>
                <a:gd name="connsiteY33" fmla="*/ 605538 h 772292"/>
                <a:gd name="connsiteX34" fmla="*/ 627161 w 780492"/>
                <a:gd name="connsiteY34" fmla="*/ 620551 h 772292"/>
                <a:gd name="connsiteX35" fmla="*/ 620145 w 780492"/>
                <a:gd name="connsiteY35" fmla="*/ 631561 h 772292"/>
                <a:gd name="connsiteX36" fmla="*/ 621148 w 780492"/>
                <a:gd name="connsiteY36" fmla="*/ 662589 h 772292"/>
                <a:gd name="connsiteX37" fmla="*/ 609122 w 780492"/>
                <a:gd name="connsiteY37" fmla="*/ 667593 h 772292"/>
                <a:gd name="connsiteX38" fmla="*/ 602106 w 780492"/>
                <a:gd name="connsiteY38" fmla="*/ 656583 h 772292"/>
                <a:gd name="connsiteX39" fmla="*/ 591083 w 780492"/>
                <a:gd name="connsiteY39" fmla="*/ 676601 h 772292"/>
                <a:gd name="connsiteX40" fmla="*/ 596093 w 780492"/>
                <a:gd name="connsiteY40" fmla="*/ 697620 h 772292"/>
                <a:gd name="connsiteX41" fmla="*/ 587575 w 780492"/>
                <a:gd name="connsiteY41" fmla="*/ 706753 h 772292"/>
                <a:gd name="connsiteX42" fmla="*/ 586603 w 780492"/>
                <a:gd name="connsiteY42" fmla="*/ 708224 h 772292"/>
                <a:gd name="connsiteX43" fmla="*/ 553523 w 780492"/>
                <a:gd name="connsiteY43" fmla="*/ 696107 h 772292"/>
                <a:gd name="connsiteX44" fmla="*/ 555904 w 780492"/>
                <a:gd name="connsiteY44" fmla="*/ 619907 h 772292"/>
                <a:gd name="connsiteX45" fmla="*/ 510661 w 780492"/>
                <a:gd name="connsiteY45" fmla="*/ 615144 h 772292"/>
                <a:gd name="connsiteX46" fmla="*/ 503517 w 780492"/>
                <a:gd name="connsiteY46" fmla="*/ 674675 h 772292"/>
                <a:gd name="connsiteX47" fmla="*/ 455893 w 780492"/>
                <a:gd name="connsiteY47" fmla="*/ 738967 h 772292"/>
                <a:gd name="connsiteX48" fmla="*/ 391597 w 780492"/>
                <a:gd name="connsiteY48" fmla="*/ 708012 h 772292"/>
                <a:gd name="connsiteX49" fmla="*/ 337607 w 780492"/>
                <a:gd name="connsiteY49" fmla="*/ 738980 h 772292"/>
                <a:gd name="connsiteX50" fmla="*/ 246342 w 780492"/>
                <a:gd name="connsiteY50" fmla="*/ 746111 h 772292"/>
                <a:gd name="connsiteX51" fmla="*/ 213005 w 780492"/>
                <a:gd name="connsiteY51" fmla="*/ 708012 h 772292"/>
                <a:gd name="connsiteX52" fmla="*/ 179667 w 780492"/>
                <a:gd name="connsiteY52" fmla="*/ 691343 h 772292"/>
                <a:gd name="connsiteX53" fmla="*/ 162999 w 780492"/>
                <a:gd name="connsiteY53" fmla="*/ 719918 h 772292"/>
                <a:gd name="connsiteX54" fmla="*/ 105849 w 780492"/>
                <a:gd name="connsiteY54" fmla="*/ 734205 h 772292"/>
                <a:gd name="connsiteX55" fmla="*/ 88984 w 780492"/>
                <a:gd name="connsiteY55" fmla="*/ 765765 h 772292"/>
                <a:gd name="connsiteX56" fmla="*/ 87855 w 780492"/>
                <a:gd name="connsiteY56" fmla="*/ 772292 h 772292"/>
                <a:gd name="connsiteX57" fmla="*/ 80979 w 780492"/>
                <a:gd name="connsiteY57" fmla="*/ 771686 h 772292"/>
                <a:gd name="connsiteX58" fmla="*/ 86992 w 780492"/>
                <a:gd name="connsiteY58" fmla="*/ 760676 h 772292"/>
                <a:gd name="connsiteX59" fmla="*/ 78975 w 780492"/>
                <a:gd name="connsiteY59" fmla="*/ 753670 h 772292"/>
                <a:gd name="connsiteX60" fmla="*/ 91001 w 780492"/>
                <a:gd name="connsiteY60" fmla="*/ 714635 h 772292"/>
                <a:gd name="connsiteX61" fmla="*/ 49912 w 780492"/>
                <a:gd name="connsiteY61" fmla="*/ 659586 h 772292"/>
                <a:gd name="connsiteX62" fmla="*/ 47908 w 780492"/>
                <a:gd name="connsiteY62" fmla="*/ 643572 h 772292"/>
                <a:gd name="connsiteX63" fmla="*/ 53921 w 780492"/>
                <a:gd name="connsiteY63" fmla="*/ 634564 h 772292"/>
                <a:gd name="connsiteX64" fmla="*/ 32875 w 780492"/>
                <a:gd name="connsiteY64" fmla="*/ 620551 h 772292"/>
                <a:gd name="connsiteX65" fmla="*/ 28866 w 780492"/>
                <a:gd name="connsiteY65" fmla="*/ 603536 h 772292"/>
                <a:gd name="connsiteX66" fmla="*/ 39890 w 780492"/>
                <a:gd name="connsiteY66" fmla="*/ 598532 h 772292"/>
                <a:gd name="connsiteX67" fmla="*/ 30871 w 780492"/>
                <a:gd name="connsiteY67" fmla="*/ 590525 h 772292"/>
                <a:gd name="connsiteX68" fmla="*/ 25860 w 780492"/>
                <a:gd name="connsiteY68" fmla="*/ 560498 h 772292"/>
                <a:gd name="connsiteX69" fmla="*/ 8823 w 780492"/>
                <a:gd name="connsiteY69" fmla="*/ 565502 h 772292"/>
                <a:gd name="connsiteX70" fmla="*/ 806 w 780492"/>
                <a:gd name="connsiteY70" fmla="*/ 547486 h 772292"/>
                <a:gd name="connsiteX71" fmla="*/ 19847 w 780492"/>
                <a:gd name="connsiteY71" fmla="*/ 527469 h 772292"/>
                <a:gd name="connsiteX72" fmla="*/ 12832 w 780492"/>
                <a:gd name="connsiteY72" fmla="*/ 504448 h 772292"/>
                <a:gd name="connsiteX73" fmla="*/ 21851 w 780492"/>
                <a:gd name="connsiteY73" fmla="*/ 486432 h 772292"/>
                <a:gd name="connsiteX74" fmla="*/ 32875 w 780492"/>
                <a:gd name="connsiteY74" fmla="*/ 479426 h 772292"/>
                <a:gd name="connsiteX75" fmla="*/ 27864 w 780492"/>
                <a:gd name="connsiteY75" fmla="*/ 468416 h 772292"/>
                <a:gd name="connsiteX76" fmla="*/ 24858 w 780492"/>
                <a:gd name="connsiteY76" fmla="*/ 452402 h 772292"/>
                <a:gd name="connsiteX77" fmla="*/ 34879 w 780492"/>
                <a:gd name="connsiteY77" fmla="*/ 452402 h 772292"/>
                <a:gd name="connsiteX78" fmla="*/ 38888 w 780492"/>
                <a:gd name="connsiteY78" fmla="*/ 434386 h 772292"/>
                <a:gd name="connsiteX79" fmla="*/ 51916 w 780492"/>
                <a:gd name="connsiteY79" fmla="*/ 420374 h 772292"/>
                <a:gd name="connsiteX80" fmla="*/ 53921 w 780492"/>
                <a:gd name="connsiteY80" fmla="*/ 397353 h 772292"/>
                <a:gd name="connsiteX81" fmla="*/ 99018 w 780492"/>
                <a:gd name="connsiteY81" fmla="*/ 398354 h 772292"/>
                <a:gd name="connsiteX82" fmla="*/ 94007 w 780492"/>
                <a:gd name="connsiteY82" fmla="*/ 165147 h 772292"/>
                <a:gd name="connsiteX83" fmla="*/ 142111 w 780492"/>
                <a:gd name="connsiteY83" fmla="*/ 164146 h 772292"/>
                <a:gd name="connsiteX84" fmla="*/ 141109 w 780492"/>
                <a:gd name="connsiteY84" fmla="*/ 56050 h 772292"/>
                <a:gd name="connsiteX85" fmla="*/ 427729 w 780492"/>
                <a:gd name="connsiteY85" fmla="*/ 60053 h 772292"/>
                <a:gd name="connsiteX86" fmla="*/ 436749 w 780492"/>
                <a:gd name="connsiteY86" fmla="*/ 48043 h 772292"/>
                <a:gd name="connsiteX87" fmla="*/ 441760 w 780492"/>
                <a:gd name="connsiteY87" fmla="*/ 56050 h 772292"/>
                <a:gd name="connsiteX88" fmla="*/ 520931 w 780492"/>
                <a:gd name="connsiteY88" fmla="*/ 59053 h 772292"/>
                <a:gd name="connsiteX89" fmla="*/ 545985 w 780492"/>
                <a:gd name="connsiteY89" fmla="*/ 77069 h 772292"/>
                <a:gd name="connsiteX90" fmla="*/ 568033 w 780492"/>
                <a:gd name="connsiteY90" fmla="*/ 46041 h 772292"/>
                <a:gd name="connsiteX91" fmla="*/ 590080 w 780492"/>
                <a:gd name="connsiteY91" fmla="*/ 43038 h 772292"/>
                <a:gd name="connsiteX92" fmla="*/ 600102 w 780492"/>
                <a:gd name="connsiteY92" fmla="*/ 16014 h 772292"/>
                <a:gd name="connsiteX93" fmla="*/ 617139 w 780492"/>
                <a:gd name="connsiteY93" fmla="*/ 15013 h 772292"/>
                <a:gd name="connsiteX94" fmla="*/ 633174 w 780492"/>
                <a:gd name="connsiteY94" fmla="*/ 0 h 77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780492" h="772292">
                  <a:moveTo>
                    <a:pt x="633174" y="0"/>
                  </a:moveTo>
                  <a:cubicBezTo>
                    <a:pt x="638184" y="10009"/>
                    <a:pt x="645200" y="19017"/>
                    <a:pt x="649208" y="22020"/>
                  </a:cubicBezTo>
                  <a:cubicBezTo>
                    <a:pt x="655221" y="26023"/>
                    <a:pt x="656223" y="19017"/>
                    <a:pt x="660232" y="23021"/>
                  </a:cubicBezTo>
                  <a:cubicBezTo>
                    <a:pt x="664241" y="27024"/>
                    <a:pt x="673260" y="39035"/>
                    <a:pt x="673260" y="39035"/>
                  </a:cubicBezTo>
                  <a:cubicBezTo>
                    <a:pt x="673260" y="39035"/>
                    <a:pt x="684284" y="47042"/>
                    <a:pt x="692301" y="53047"/>
                  </a:cubicBezTo>
                  <a:cubicBezTo>
                    <a:pt x="700319" y="59053"/>
                    <a:pt x="694306" y="75067"/>
                    <a:pt x="695308" y="84075"/>
                  </a:cubicBezTo>
                  <a:cubicBezTo>
                    <a:pt x="696310" y="93083"/>
                    <a:pt x="714349" y="108096"/>
                    <a:pt x="714349" y="108096"/>
                  </a:cubicBezTo>
                  <a:cubicBezTo>
                    <a:pt x="714349" y="108096"/>
                    <a:pt x="714349" y="108096"/>
                    <a:pt x="702323" y="111099"/>
                  </a:cubicBezTo>
                  <a:cubicBezTo>
                    <a:pt x="702323" y="111099"/>
                    <a:pt x="707334" y="122109"/>
                    <a:pt x="707334" y="127113"/>
                  </a:cubicBezTo>
                  <a:cubicBezTo>
                    <a:pt x="707334" y="132117"/>
                    <a:pt x="709338" y="174155"/>
                    <a:pt x="709338" y="174155"/>
                  </a:cubicBezTo>
                  <a:cubicBezTo>
                    <a:pt x="709338" y="174155"/>
                    <a:pt x="709338" y="174155"/>
                    <a:pt x="716353" y="176157"/>
                  </a:cubicBezTo>
                  <a:cubicBezTo>
                    <a:pt x="716353" y="176157"/>
                    <a:pt x="717356" y="214190"/>
                    <a:pt x="721364" y="228203"/>
                  </a:cubicBezTo>
                  <a:cubicBezTo>
                    <a:pt x="725373" y="242215"/>
                    <a:pt x="740406" y="232206"/>
                    <a:pt x="746419" y="236210"/>
                  </a:cubicBezTo>
                  <a:cubicBezTo>
                    <a:pt x="752432" y="240213"/>
                    <a:pt x="755438" y="256228"/>
                    <a:pt x="755438" y="256228"/>
                  </a:cubicBezTo>
                  <a:cubicBezTo>
                    <a:pt x="755438" y="256228"/>
                    <a:pt x="755438" y="256228"/>
                    <a:pt x="780492" y="271241"/>
                  </a:cubicBezTo>
                  <a:cubicBezTo>
                    <a:pt x="778488" y="280249"/>
                    <a:pt x="774479" y="292260"/>
                    <a:pt x="769468" y="296263"/>
                  </a:cubicBezTo>
                  <a:cubicBezTo>
                    <a:pt x="760449" y="304270"/>
                    <a:pt x="733390" y="306272"/>
                    <a:pt x="733390" y="306272"/>
                  </a:cubicBezTo>
                  <a:cubicBezTo>
                    <a:pt x="733390" y="306272"/>
                    <a:pt x="733390" y="314279"/>
                    <a:pt x="732388" y="321286"/>
                  </a:cubicBezTo>
                  <a:cubicBezTo>
                    <a:pt x="731386" y="328292"/>
                    <a:pt x="713347" y="328292"/>
                    <a:pt x="713347" y="328292"/>
                  </a:cubicBezTo>
                  <a:cubicBezTo>
                    <a:pt x="713347" y="328292"/>
                    <a:pt x="713347" y="328292"/>
                    <a:pt x="713347" y="338301"/>
                  </a:cubicBezTo>
                  <a:cubicBezTo>
                    <a:pt x="713347" y="338301"/>
                    <a:pt x="702323" y="343305"/>
                    <a:pt x="702323" y="346308"/>
                  </a:cubicBezTo>
                  <a:cubicBezTo>
                    <a:pt x="702323" y="349310"/>
                    <a:pt x="708336" y="359319"/>
                    <a:pt x="708336" y="377335"/>
                  </a:cubicBezTo>
                  <a:cubicBezTo>
                    <a:pt x="708336" y="395351"/>
                    <a:pt x="696310" y="397353"/>
                    <a:pt x="696310" y="397353"/>
                  </a:cubicBezTo>
                  <a:cubicBezTo>
                    <a:pt x="696310" y="397353"/>
                    <a:pt x="695308" y="407362"/>
                    <a:pt x="695308" y="414368"/>
                  </a:cubicBezTo>
                  <a:cubicBezTo>
                    <a:pt x="695308" y="421374"/>
                    <a:pt x="684284" y="420374"/>
                    <a:pt x="683282" y="428381"/>
                  </a:cubicBezTo>
                  <a:cubicBezTo>
                    <a:pt x="682280" y="436388"/>
                    <a:pt x="688293" y="438390"/>
                    <a:pt x="688293" y="438390"/>
                  </a:cubicBezTo>
                  <a:cubicBezTo>
                    <a:pt x="688293" y="438390"/>
                    <a:pt x="688293" y="438390"/>
                    <a:pt x="690297" y="471419"/>
                  </a:cubicBezTo>
                  <a:cubicBezTo>
                    <a:pt x="690297" y="471419"/>
                    <a:pt x="690297" y="471419"/>
                    <a:pt x="690297" y="501446"/>
                  </a:cubicBezTo>
                  <a:cubicBezTo>
                    <a:pt x="690297" y="501446"/>
                    <a:pt x="674262" y="521463"/>
                    <a:pt x="674262" y="529470"/>
                  </a:cubicBezTo>
                  <a:cubicBezTo>
                    <a:pt x="674262" y="537478"/>
                    <a:pt x="676267" y="555494"/>
                    <a:pt x="676267" y="555494"/>
                  </a:cubicBezTo>
                  <a:cubicBezTo>
                    <a:pt x="676267" y="555494"/>
                    <a:pt x="676267" y="555494"/>
                    <a:pt x="654219" y="557495"/>
                  </a:cubicBezTo>
                  <a:cubicBezTo>
                    <a:pt x="654219" y="557495"/>
                    <a:pt x="643195" y="571508"/>
                    <a:pt x="642193" y="576512"/>
                  </a:cubicBezTo>
                  <a:cubicBezTo>
                    <a:pt x="641191" y="581517"/>
                    <a:pt x="646202" y="591526"/>
                    <a:pt x="641191" y="596530"/>
                  </a:cubicBezTo>
                  <a:cubicBezTo>
                    <a:pt x="636180" y="601534"/>
                    <a:pt x="625156" y="605538"/>
                    <a:pt x="625156" y="605538"/>
                  </a:cubicBezTo>
                  <a:cubicBezTo>
                    <a:pt x="625156" y="605538"/>
                    <a:pt x="625156" y="605538"/>
                    <a:pt x="627161" y="620551"/>
                  </a:cubicBezTo>
                  <a:cubicBezTo>
                    <a:pt x="627161" y="620551"/>
                    <a:pt x="627161" y="620551"/>
                    <a:pt x="620145" y="631561"/>
                  </a:cubicBezTo>
                  <a:cubicBezTo>
                    <a:pt x="620145" y="631561"/>
                    <a:pt x="627161" y="654582"/>
                    <a:pt x="621148" y="662589"/>
                  </a:cubicBezTo>
                  <a:cubicBezTo>
                    <a:pt x="615135" y="670596"/>
                    <a:pt x="609122" y="667593"/>
                    <a:pt x="609122" y="667593"/>
                  </a:cubicBezTo>
                  <a:cubicBezTo>
                    <a:pt x="609122" y="667593"/>
                    <a:pt x="607117" y="656583"/>
                    <a:pt x="602106" y="656583"/>
                  </a:cubicBezTo>
                  <a:cubicBezTo>
                    <a:pt x="597096" y="656583"/>
                    <a:pt x="591083" y="669595"/>
                    <a:pt x="591083" y="676601"/>
                  </a:cubicBezTo>
                  <a:cubicBezTo>
                    <a:pt x="591083" y="683607"/>
                    <a:pt x="597096" y="694617"/>
                    <a:pt x="596093" y="697620"/>
                  </a:cubicBezTo>
                  <a:cubicBezTo>
                    <a:pt x="595592" y="699121"/>
                    <a:pt x="591584" y="702624"/>
                    <a:pt x="587575" y="706753"/>
                  </a:cubicBezTo>
                  <a:lnTo>
                    <a:pt x="586603" y="708224"/>
                  </a:lnTo>
                  <a:lnTo>
                    <a:pt x="553523" y="696107"/>
                  </a:lnTo>
                  <a:cubicBezTo>
                    <a:pt x="554317" y="670707"/>
                    <a:pt x="555110" y="645307"/>
                    <a:pt x="555904" y="619907"/>
                  </a:cubicBezTo>
                  <a:cubicBezTo>
                    <a:pt x="534552" y="603523"/>
                    <a:pt x="518598" y="610382"/>
                    <a:pt x="510661" y="615144"/>
                  </a:cubicBezTo>
                  <a:cubicBezTo>
                    <a:pt x="489309" y="607094"/>
                    <a:pt x="504707" y="652847"/>
                    <a:pt x="503517" y="674675"/>
                  </a:cubicBezTo>
                  <a:cubicBezTo>
                    <a:pt x="485658" y="684597"/>
                    <a:pt x="479309" y="743729"/>
                    <a:pt x="455893" y="738967"/>
                  </a:cubicBezTo>
                  <a:cubicBezTo>
                    <a:pt x="432477" y="734205"/>
                    <a:pt x="414090" y="713566"/>
                    <a:pt x="391597" y="708012"/>
                  </a:cubicBezTo>
                  <a:cubicBezTo>
                    <a:pt x="369104" y="702458"/>
                    <a:pt x="361816" y="732630"/>
                    <a:pt x="337607" y="738980"/>
                  </a:cubicBezTo>
                  <a:cubicBezTo>
                    <a:pt x="313398" y="745330"/>
                    <a:pt x="263934" y="724285"/>
                    <a:pt x="246342" y="746111"/>
                  </a:cubicBezTo>
                  <a:cubicBezTo>
                    <a:pt x="228750" y="767937"/>
                    <a:pt x="222133" y="702853"/>
                    <a:pt x="213005" y="708012"/>
                  </a:cubicBezTo>
                  <a:cubicBezTo>
                    <a:pt x="197000" y="688960"/>
                    <a:pt x="180460" y="683008"/>
                    <a:pt x="179667" y="691343"/>
                  </a:cubicBezTo>
                  <a:cubicBezTo>
                    <a:pt x="153741" y="715153"/>
                    <a:pt x="175302" y="712774"/>
                    <a:pt x="162999" y="719918"/>
                  </a:cubicBezTo>
                  <a:cubicBezTo>
                    <a:pt x="129532" y="744919"/>
                    <a:pt x="117655" y="715598"/>
                    <a:pt x="105849" y="734205"/>
                  </a:cubicBezTo>
                  <a:cubicBezTo>
                    <a:pt x="95912" y="745889"/>
                    <a:pt x="91373" y="756546"/>
                    <a:pt x="88984" y="765765"/>
                  </a:cubicBezTo>
                  <a:lnTo>
                    <a:pt x="87855" y="772292"/>
                  </a:lnTo>
                  <a:lnTo>
                    <a:pt x="80979" y="771686"/>
                  </a:lnTo>
                  <a:cubicBezTo>
                    <a:pt x="80979" y="771686"/>
                    <a:pt x="80979" y="771686"/>
                    <a:pt x="86992" y="760676"/>
                  </a:cubicBezTo>
                  <a:cubicBezTo>
                    <a:pt x="86992" y="760676"/>
                    <a:pt x="77973" y="763678"/>
                    <a:pt x="78975" y="753670"/>
                  </a:cubicBezTo>
                  <a:cubicBezTo>
                    <a:pt x="79977" y="743661"/>
                    <a:pt x="95010" y="736654"/>
                    <a:pt x="91001" y="714635"/>
                  </a:cubicBezTo>
                  <a:cubicBezTo>
                    <a:pt x="86992" y="692615"/>
                    <a:pt x="49912" y="659586"/>
                    <a:pt x="49912" y="659586"/>
                  </a:cubicBezTo>
                  <a:cubicBezTo>
                    <a:pt x="49912" y="659586"/>
                    <a:pt x="49912" y="659586"/>
                    <a:pt x="47908" y="643572"/>
                  </a:cubicBezTo>
                  <a:cubicBezTo>
                    <a:pt x="47908" y="643572"/>
                    <a:pt x="65947" y="647575"/>
                    <a:pt x="53921" y="634564"/>
                  </a:cubicBezTo>
                  <a:cubicBezTo>
                    <a:pt x="41895" y="621552"/>
                    <a:pt x="32875" y="620551"/>
                    <a:pt x="32875" y="620551"/>
                  </a:cubicBezTo>
                  <a:cubicBezTo>
                    <a:pt x="32875" y="620551"/>
                    <a:pt x="32875" y="620551"/>
                    <a:pt x="28866" y="603536"/>
                  </a:cubicBezTo>
                  <a:cubicBezTo>
                    <a:pt x="28866" y="603536"/>
                    <a:pt x="28866" y="603536"/>
                    <a:pt x="39890" y="598532"/>
                  </a:cubicBezTo>
                  <a:cubicBezTo>
                    <a:pt x="39890" y="598532"/>
                    <a:pt x="39890" y="598532"/>
                    <a:pt x="30871" y="590525"/>
                  </a:cubicBezTo>
                  <a:cubicBezTo>
                    <a:pt x="30871" y="590525"/>
                    <a:pt x="32875" y="563501"/>
                    <a:pt x="25860" y="560498"/>
                  </a:cubicBezTo>
                  <a:cubicBezTo>
                    <a:pt x="18845" y="557495"/>
                    <a:pt x="13834" y="567504"/>
                    <a:pt x="8823" y="565502"/>
                  </a:cubicBezTo>
                  <a:cubicBezTo>
                    <a:pt x="3812" y="563501"/>
                    <a:pt x="-2201" y="558496"/>
                    <a:pt x="806" y="547486"/>
                  </a:cubicBezTo>
                  <a:cubicBezTo>
                    <a:pt x="3812" y="536477"/>
                    <a:pt x="17843" y="536477"/>
                    <a:pt x="19847" y="527469"/>
                  </a:cubicBezTo>
                  <a:cubicBezTo>
                    <a:pt x="21851" y="518461"/>
                    <a:pt x="18845" y="514457"/>
                    <a:pt x="12832" y="504448"/>
                  </a:cubicBezTo>
                  <a:cubicBezTo>
                    <a:pt x="6819" y="494439"/>
                    <a:pt x="21851" y="486432"/>
                    <a:pt x="21851" y="486432"/>
                  </a:cubicBezTo>
                  <a:cubicBezTo>
                    <a:pt x="21851" y="486432"/>
                    <a:pt x="21851" y="486432"/>
                    <a:pt x="32875" y="479426"/>
                  </a:cubicBezTo>
                  <a:cubicBezTo>
                    <a:pt x="32875" y="479426"/>
                    <a:pt x="32875" y="479426"/>
                    <a:pt x="27864" y="468416"/>
                  </a:cubicBezTo>
                  <a:cubicBezTo>
                    <a:pt x="27864" y="468416"/>
                    <a:pt x="27864" y="468416"/>
                    <a:pt x="24858" y="452402"/>
                  </a:cubicBezTo>
                  <a:cubicBezTo>
                    <a:pt x="24858" y="452402"/>
                    <a:pt x="24858" y="452402"/>
                    <a:pt x="34879" y="452402"/>
                  </a:cubicBezTo>
                  <a:cubicBezTo>
                    <a:pt x="34879" y="452402"/>
                    <a:pt x="32875" y="440391"/>
                    <a:pt x="38888" y="434386"/>
                  </a:cubicBezTo>
                  <a:cubicBezTo>
                    <a:pt x="44901" y="428381"/>
                    <a:pt x="53921" y="428381"/>
                    <a:pt x="51916" y="420374"/>
                  </a:cubicBezTo>
                  <a:cubicBezTo>
                    <a:pt x="49912" y="412366"/>
                    <a:pt x="40892" y="401357"/>
                    <a:pt x="53921" y="397353"/>
                  </a:cubicBezTo>
                  <a:cubicBezTo>
                    <a:pt x="66949" y="393350"/>
                    <a:pt x="99018" y="398354"/>
                    <a:pt x="99018" y="398354"/>
                  </a:cubicBezTo>
                  <a:cubicBezTo>
                    <a:pt x="99018" y="398354"/>
                    <a:pt x="99018" y="398354"/>
                    <a:pt x="94007" y="165147"/>
                  </a:cubicBezTo>
                  <a:cubicBezTo>
                    <a:pt x="94007" y="165147"/>
                    <a:pt x="94007" y="165147"/>
                    <a:pt x="142111" y="164146"/>
                  </a:cubicBezTo>
                  <a:cubicBezTo>
                    <a:pt x="142111" y="164146"/>
                    <a:pt x="142111" y="164146"/>
                    <a:pt x="141109" y="56050"/>
                  </a:cubicBezTo>
                  <a:cubicBezTo>
                    <a:pt x="141109" y="56050"/>
                    <a:pt x="141109" y="56050"/>
                    <a:pt x="427729" y="60053"/>
                  </a:cubicBezTo>
                  <a:cubicBezTo>
                    <a:pt x="427729" y="60053"/>
                    <a:pt x="429734" y="50045"/>
                    <a:pt x="436749" y="48043"/>
                  </a:cubicBezTo>
                  <a:cubicBezTo>
                    <a:pt x="443764" y="46041"/>
                    <a:pt x="441760" y="56050"/>
                    <a:pt x="441760" y="56050"/>
                  </a:cubicBezTo>
                  <a:cubicBezTo>
                    <a:pt x="441760" y="56050"/>
                    <a:pt x="441760" y="56050"/>
                    <a:pt x="520931" y="59053"/>
                  </a:cubicBezTo>
                  <a:cubicBezTo>
                    <a:pt x="520931" y="59053"/>
                    <a:pt x="532957" y="84075"/>
                    <a:pt x="545985" y="77069"/>
                  </a:cubicBezTo>
                  <a:cubicBezTo>
                    <a:pt x="559013" y="70062"/>
                    <a:pt x="558011" y="49044"/>
                    <a:pt x="568033" y="46041"/>
                  </a:cubicBezTo>
                  <a:cubicBezTo>
                    <a:pt x="578054" y="43038"/>
                    <a:pt x="580059" y="47042"/>
                    <a:pt x="590080" y="43038"/>
                  </a:cubicBezTo>
                  <a:cubicBezTo>
                    <a:pt x="600102" y="39035"/>
                    <a:pt x="600102" y="16014"/>
                    <a:pt x="600102" y="16014"/>
                  </a:cubicBezTo>
                  <a:lnTo>
                    <a:pt x="617139" y="15013"/>
                  </a:lnTo>
                  <a:cubicBezTo>
                    <a:pt x="617139" y="15013"/>
                    <a:pt x="617139" y="15013"/>
                    <a:pt x="633174" y="0"/>
                  </a:cubicBezTo>
                  <a:close/>
                </a:path>
              </a:pathLst>
            </a:custGeom>
            <a:grpFill/>
            <a:ln w="635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3450" name="Rectangle 4">
              <a:extLst>
                <a:ext uri="{FF2B5EF4-FFF2-40B4-BE49-F238E27FC236}">
                  <a16:creationId xmlns:a16="http://schemas.microsoft.com/office/drawing/2014/main" id="{B9FF4D42-C7E7-4F28-9654-ED26F5EA0F9A}"/>
                </a:ext>
              </a:extLst>
            </p:cNvPr>
            <p:cNvSpPr/>
            <p:nvPr/>
          </p:nvSpPr>
          <p:spPr bwMode="gray">
            <a:xfrm>
              <a:off x="7767704" y="2941677"/>
              <a:ext cx="214982" cy="443977"/>
            </a:xfrm>
            <a:custGeom>
              <a:avLst/>
              <a:gdLst>
                <a:gd name="connsiteX0" fmla="*/ 0 w 117174"/>
                <a:gd name="connsiteY0" fmla="*/ 0 h 410566"/>
                <a:gd name="connsiteX1" fmla="*/ 117174 w 117174"/>
                <a:gd name="connsiteY1" fmla="*/ 0 h 410566"/>
                <a:gd name="connsiteX2" fmla="*/ 117174 w 117174"/>
                <a:gd name="connsiteY2" fmla="*/ 410566 h 410566"/>
                <a:gd name="connsiteX3" fmla="*/ 0 w 117174"/>
                <a:gd name="connsiteY3" fmla="*/ 410566 h 410566"/>
                <a:gd name="connsiteX4" fmla="*/ 0 w 117174"/>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381991"/>
                <a:gd name="connsiteX1" fmla="*/ 233856 w 233856"/>
                <a:gd name="connsiteY1" fmla="*/ 0 h 381991"/>
                <a:gd name="connsiteX2" fmla="*/ 90981 w 233856"/>
                <a:gd name="connsiteY2" fmla="*/ 381991 h 381991"/>
                <a:gd name="connsiteX3" fmla="*/ 0 w 233856"/>
                <a:gd name="connsiteY3" fmla="*/ 270073 h 381991"/>
                <a:gd name="connsiteX4" fmla="*/ 116682 w 233856"/>
                <a:gd name="connsiteY4" fmla="*/ 0 h 381991"/>
                <a:gd name="connsiteX0" fmla="*/ 116682 w 233856"/>
                <a:gd name="connsiteY0" fmla="*/ 0 h 381991"/>
                <a:gd name="connsiteX1" fmla="*/ 233856 w 233856"/>
                <a:gd name="connsiteY1" fmla="*/ 0 h 381991"/>
                <a:gd name="connsiteX2" fmla="*/ 90981 w 233856"/>
                <a:gd name="connsiteY2" fmla="*/ 381991 h 381991"/>
                <a:gd name="connsiteX3" fmla="*/ 0 w 233856"/>
                <a:gd name="connsiteY3" fmla="*/ 270073 h 381991"/>
                <a:gd name="connsiteX4" fmla="*/ 116682 w 233856"/>
                <a:gd name="connsiteY4" fmla="*/ 0 h 381991"/>
                <a:gd name="connsiteX0" fmla="*/ 116682 w 233856"/>
                <a:gd name="connsiteY0" fmla="*/ 0 h 382634"/>
                <a:gd name="connsiteX1" fmla="*/ 233856 w 233856"/>
                <a:gd name="connsiteY1" fmla="*/ 0 h 382634"/>
                <a:gd name="connsiteX2" fmla="*/ 90981 w 233856"/>
                <a:gd name="connsiteY2" fmla="*/ 381991 h 382634"/>
                <a:gd name="connsiteX3" fmla="*/ 0 w 233856"/>
                <a:gd name="connsiteY3" fmla="*/ 270073 h 382634"/>
                <a:gd name="connsiteX4" fmla="*/ 116682 w 233856"/>
                <a:gd name="connsiteY4" fmla="*/ 0 h 382634"/>
                <a:gd name="connsiteX0" fmla="*/ 116682 w 233856"/>
                <a:gd name="connsiteY0" fmla="*/ 0 h 404019"/>
                <a:gd name="connsiteX1" fmla="*/ 233856 w 233856"/>
                <a:gd name="connsiteY1" fmla="*/ 0 h 404019"/>
                <a:gd name="connsiteX2" fmla="*/ 95743 w 233856"/>
                <a:gd name="connsiteY2" fmla="*/ 403422 h 404019"/>
                <a:gd name="connsiteX3" fmla="*/ 0 w 233856"/>
                <a:gd name="connsiteY3" fmla="*/ 270073 h 404019"/>
                <a:gd name="connsiteX4" fmla="*/ 116682 w 233856"/>
                <a:gd name="connsiteY4" fmla="*/ 0 h 404019"/>
                <a:gd name="connsiteX0" fmla="*/ 116682 w 234471"/>
                <a:gd name="connsiteY0" fmla="*/ 0 h 403422"/>
                <a:gd name="connsiteX1" fmla="*/ 233856 w 234471"/>
                <a:gd name="connsiteY1" fmla="*/ 0 h 403422"/>
                <a:gd name="connsiteX2" fmla="*/ 159969 w 234471"/>
                <a:gd name="connsiteY2" fmla="*/ 267081 h 403422"/>
                <a:gd name="connsiteX3" fmla="*/ 95743 w 234471"/>
                <a:gd name="connsiteY3" fmla="*/ 403422 h 403422"/>
                <a:gd name="connsiteX4" fmla="*/ 0 w 234471"/>
                <a:gd name="connsiteY4" fmla="*/ 270073 h 403422"/>
                <a:gd name="connsiteX5" fmla="*/ 116682 w 234471"/>
                <a:gd name="connsiteY5" fmla="*/ 0 h 403422"/>
                <a:gd name="connsiteX0" fmla="*/ 116682 w 234180"/>
                <a:gd name="connsiteY0" fmla="*/ 0 h 403422"/>
                <a:gd name="connsiteX1" fmla="*/ 233856 w 234180"/>
                <a:gd name="connsiteY1" fmla="*/ 0 h 403422"/>
                <a:gd name="connsiteX2" fmla="*/ 102819 w 234180"/>
                <a:gd name="connsiteY2" fmla="*/ 224219 h 403422"/>
                <a:gd name="connsiteX3" fmla="*/ 95743 w 234180"/>
                <a:gd name="connsiteY3" fmla="*/ 403422 h 403422"/>
                <a:gd name="connsiteX4" fmla="*/ 0 w 234180"/>
                <a:gd name="connsiteY4" fmla="*/ 270073 h 403422"/>
                <a:gd name="connsiteX5" fmla="*/ 116682 w 234180"/>
                <a:gd name="connsiteY5" fmla="*/ 0 h 403422"/>
                <a:gd name="connsiteX0" fmla="*/ 116682 w 234250"/>
                <a:gd name="connsiteY0" fmla="*/ 0 h 403422"/>
                <a:gd name="connsiteX1" fmla="*/ 233856 w 234250"/>
                <a:gd name="connsiteY1" fmla="*/ 0 h 403422"/>
                <a:gd name="connsiteX2" fmla="*/ 124250 w 234250"/>
                <a:gd name="connsiteY2" fmla="*/ 319469 h 403422"/>
                <a:gd name="connsiteX3" fmla="*/ 95743 w 234250"/>
                <a:gd name="connsiteY3" fmla="*/ 403422 h 403422"/>
                <a:gd name="connsiteX4" fmla="*/ 0 w 234250"/>
                <a:gd name="connsiteY4" fmla="*/ 270073 h 403422"/>
                <a:gd name="connsiteX5" fmla="*/ 116682 w 234250"/>
                <a:gd name="connsiteY5" fmla="*/ 0 h 403422"/>
                <a:gd name="connsiteX0" fmla="*/ 116682 w 234250"/>
                <a:gd name="connsiteY0" fmla="*/ 0 h 403422"/>
                <a:gd name="connsiteX1" fmla="*/ 233856 w 234250"/>
                <a:gd name="connsiteY1" fmla="*/ 0 h 403422"/>
                <a:gd name="connsiteX2" fmla="*/ 124250 w 234250"/>
                <a:gd name="connsiteY2" fmla="*/ 319469 h 403422"/>
                <a:gd name="connsiteX3" fmla="*/ 95743 w 234250"/>
                <a:gd name="connsiteY3" fmla="*/ 403422 h 403422"/>
                <a:gd name="connsiteX4" fmla="*/ 0 w 234250"/>
                <a:gd name="connsiteY4" fmla="*/ 270073 h 403422"/>
                <a:gd name="connsiteX5" fmla="*/ 116682 w 234250"/>
                <a:gd name="connsiteY5" fmla="*/ 0 h 403422"/>
                <a:gd name="connsiteX0" fmla="*/ 116682 w 234600"/>
                <a:gd name="connsiteY0" fmla="*/ 0 h 403422"/>
                <a:gd name="connsiteX1" fmla="*/ 233856 w 234600"/>
                <a:gd name="connsiteY1" fmla="*/ 0 h 403422"/>
                <a:gd name="connsiteX2" fmla="*/ 164732 w 234600"/>
                <a:gd name="connsiteY2" fmla="*/ 217075 h 403422"/>
                <a:gd name="connsiteX3" fmla="*/ 124250 w 234600"/>
                <a:gd name="connsiteY3" fmla="*/ 319469 h 403422"/>
                <a:gd name="connsiteX4" fmla="*/ 95743 w 234600"/>
                <a:gd name="connsiteY4" fmla="*/ 403422 h 403422"/>
                <a:gd name="connsiteX5" fmla="*/ 0 w 234600"/>
                <a:gd name="connsiteY5" fmla="*/ 270073 h 403422"/>
                <a:gd name="connsiteX6" fmla="*/ 116682 w 234600"/>
                <a:gd name="connsiteY6" fmla="*/ 0 h 403422"/>
                <a:gd name="connsiteX0" fmla="*/ 116682 w 234267"/>
                <a:gd name="connsiteY0" fmla="*/ 0 h 403422"/>
                <a:gd name="connsiteX1" fmla="*/ 233856 w 234267"/>
                <a:gd name="connsiteY1" fmla="*/ 0 h 403422"/>
                <a:gd name="connsiteX2" fmla="*/ 112345 w 234267"/>
                <a:gd name="connsiteY2" fmla="*/ 183738 h 403422"/>
                <a:gd name="connsiteX3" fmla="*/ 124250 w 234267"/>
                <a:gd name="connsiteY3" fmla="*/ 319469 h 403422"/>
                <a:gd name="connsiteX4" fmla="*/ 95743 w 234267"/>
                <a:gd name="connsiteY4" fmla="*/ 403422 h 403422"/>
                <a:gd name="connsiteX5" fmla="*/ 0 w 234267"/>
                <a:gd name="connsiteY5" fmla="*/ 270073 h 403422"/>
                <a:gd name="connsiteX6" fmla="*/ 116682 w 234267"/>
                <a:gd name="connsiteY6" fmla="*/ 0 h 403422"/>
                <a:gd name="connsiteX0" fmla="*/ 116682 w 234549"/>
                <a:gd name="connsiteY0" fmla="*/ 0 h 403422"/>
                <a:gd name="connsiteX1" fmla="*/ 233856 w 234549"/>
                <a:gd name="connsiteY1" fmla="*/ 0 h 403422"/>
                <a:gd name="connsiteX2" fmla="*/ 159970 w 234549"/>
                <a:gd name="connsiteY2" fmla="*/ 217075 h 403422"/>
                <a:gd name="connsiteX3" fmla="*/ 124250 w 234549"/>
                <a:gd name="connsiteY3" fmla="*/ 319469 h 403422"/>
                <a:gd name="connsiteX4" fmla="*/ 95743 w 234549"/>
                <a:gd name="connsiteY4" fmla="*/ 403422 h 403422"/>
                <a:gd name="connsiteX5" fmla="*/ 0 w 234549"/>
                <a:gd name="connsiteY5" fmla="*/ 270073 h 403422"/>
                <a:gd name="connsiteX6" fmla="*/ 116682 w 234549"/>
                <a:gd name="connsiteY6" fmla="*/ 0 h 403422"/>
                <a:gd name="connsiteX0" fmla="*/ 0 w 244073"/>
                <a:gd name="connsiteY0" fmla="*/ 190500 h 403422"/>
                <a:gd name="connsiteX1" fmla="*/ 243380 w 244073"/>
                <a:gd name="connsiteY1" fmla="*/ 0 h 403422"/>
                <a:gd name="connsiteX2" fmla="*/ 169494 w 244073"/>
                <a:gd name="connsiteY2" fmla="*/ 217075 h 403422"/>
                <a:gd name="connsiteX3" fmla="*/ 133774 w 244073"/>
                <a:gd name="connsiteY3" fmla="*/ 319469 h 403422"/>
                <a:gd name="connsiteX4" fmla="*/ 105267 w 244073"/>
                <a:gd name="connsiteY4" fmla="*/ 403422 h 403422"/>
                <a:gd name="connsiteX5" fmla="*/ 9524 w 244073"/>
                <a:gd name="connsiteY5" fmla="*/ 270073 h 403422"/>
                <a:gd name="connsiteX6" fmla="*/ 0 w 244073"/>
                <a:gd name="connsiteY6" fmla="*/ 190500 h 403422"/>
                <a:gd name="connsiteX0" fmla="*/ 0 w 244073"/>
                <a:gd name="connsiteY0" fmla="*/ 190500 h 403422"/>
                <a:gd name="connsiteX1" fmla="*/ 243380 w 244073"/>
                <a:gd name="connsiteY1" fmla="*/ 0 h 403422"/>
                <a:gd name="connsiteX2" fmla="*/ 169494 w 244073"/>
                <a:gd name="connsiteY2" fmla="*/ 217075 h 403422"/>
                <a:gd name="connsiteX3" fmla="*/ 133774 w 244073"/>
                <a:gd name="connsiteY3" fmla="*/ 319469 h 403422"/>
                <a:gd name="connsiteX4" fmla="*/ 105267 w 244073"/>
                <a:gd name="connsiteY4" fmla="*/ 403422 h 403422"/>
                <a:gd name="connsiteX5" fmla="*/ 9524 w 244073"/>
                <a:gd name="connsiteY5" fmla="*/ 270073 h 403422"/>
                <a:gd name="connsiteX6" fmla="*/ 0 w 244073"/>
                <a:gd name="connsiteY6" fmla="*/ 190500 h 403422"/>
                <a:gd name="connsiteX0" fmla="*/ 0 w 244073"/>
                <a:gd name="connsiteY0" fmla="*/ 199012 h 411934"/>
                <a:gd name="connsiteX1" fmla="*/ 171876 w 244073"/>
                <a:gd name="connsiteY1" fmla="*/ 58899 h 411934"/>
                <a:gd name="connsiteX2" fmla="*/ 243380 w 244073"/>
                <a:gd name="connsiteY2" fmla="*/ 8512 h 411934"/>
                <a:gd name="connsiteX3" fmla="*/ 169494 w 244073"/>
                <a:gd name="connsiteY3" fmla="*/ 225587 h 411934"/>
                <a:gd name="connsiteX4" fmla="*/ 133774 w 244073"/>
                <a:gd name="connsiteY4" fmla="*/ 327981 h 411934"/>
                <a:gd name="connsiteX5" fmla="*/ 105267 w 244073"/>
                <a:gd name="connsiteY5" fmla="*/ 411934 h 411934"/>
                <a:gd name="connsiteX6" fmla="*/ 9524 w 244073"/>
                <a:gd name="connsiteY6" fmla="*/ 278585 h 411934"/>
                <a:gd name="connsiteX7" fmla="*/ 0 w 244073"/>
                <a:gd name="connsiteY7" fmla="*/ 199012 h 411934"/>
                <a:gd name="connsiteX0" fmla="*/ 0 w 244073"/>
                <a:gd name="connsiteY0" fmla="*/ 218153 h 431075"/>
                <a:gd name="connsiteX1" fmla="*/ 121870 w 244073"/>
                <a:gd name="connsiteY1" fmla="*/ 18508 h 431075"/>
                <a:gd name="connsiteX2" fmla="*/ 243380 w 244073"/>
                <a:gd name="connsiteY2" fmla="*/ 27653 h 431075"/>
                <a:gd name="connsiteX3" fmla="*/ 169494 w 244073"/>
                <a:gd name="connsiteY3" fmla="*/ 244728 h 431075"/>
                <a:gd name="connsiteX4" fmla="*/ 133774 w 244073"/>
                <a:gd name="connsiteY4" fmla="*/ 347122 h 431075"/>
                <a:gd name="connsiteX5" fmla="*/ 105267 w 244073"/>
                <a:gd name="connsiteY5" fmla="*/ 431075 h 431075"/>
                <a:gd name="connsiteX6" fmla="*/ 9524 w 244073"/>
                <a:gd name="connsiteY6" fmla="*/ 297726 h 431075"/>
                <a:gd name="connsiteX7" fmla="*/ 0 w 244073"/>
                <a:gd name="connsiteY7" fmla="*/ 218153 h 431075"/>
                <a:gd name="connsiteX0" fmla="*/ 0 w 244073"/>
                <a:gd name="connsiteY0" fmla="*/ 213144 h 426066"/>
                <a:gd name="connsiteX1" fmla="*/ 121870 w 244073"/>
                <a:gd name="connsiteY1" fmla="*/ 13499 h 426066"/>
                <a:gd name="connsiteX2" fmla="*/ 243380 w 244073"/>
                <a:gd name="connsiteY2" fmla="*/ 22644 h 426066"/>
                <a:gd name="connsiteX3" fmla="*/ 169494 w 244073"/>
                <a:gd name="connsiteY3" fmla="*/ 239719 h 426066"/>
                <a:gd name="connsiteX4" fmla="*/ 133774 w 244073"/>
                <a:gd name="connsiteY4" fmla="*/ 342113 h 426066"/>
                <a:gd name="connsiteX5" fmla="*/ 105267 w 244073"/>
                <a:gd name="connsiteY5" fmla="*/ 426066 h 426066"/>
                <a:gd name="connsiteX6" fmla="*/ 9524 w 244073"/>
                <a:gd name="connsiteY6" fmla="*/ 292717 h 426066"/>
                <a:gd name="connsiteX7" fmla="*/ 0 w 244073"/>
                <a:gd name="connsiteY7" fmla="*/ 213144 h 426066"/>
                <a:gd name="connsiteX0" fmla="*/ 0 w 244073"/>
                <a:gd name="connsiteY0" fmla="*/ 218153 h 431075"/>
                <a:gd name="connsiteX1" fmla="*/ 121870 w 244073"/>
                <a:gd name="connsiteY1" fmla="*/ 18508 h 431075"/>
                <a:gd name="connsiteX2" fmla="*/ 243380 w 244073"/>
                <a:gd name="connsiteY2" fmla="*/ 27653 h 431075"/>
                <a:gd name="connsiteX3" fmla="*/ 169494 w 244073"/>
                <a:gd name="connsiteY3" fmla="*/ 244728 h 431075"/>
                <a:gd name="connsiteX4" fmla="*/ 133774 w 244073"/>
                <a:gd name="connsiteY4" fmla="*/ 347122 h 431075"/>
                <a:gd name="connsiteX5" fmla="*/ 105267 w 244073"/>
                <a:gd name="connsiteY5" fmla="*/ 431075 h 431075"/>
                <a:gd name="connsiteX6" fmla="*/ 9524 w 244073"/>
                <a:gd name="connsiteY6" fmla="*/ 297726 h 431075"/>
                <a:gd name="connsiteX7" fmla="*/ 0 w 244073"/>
                <a:gd name="connsiteY7" fmla="*/ 218153 h 431075"/>
                <a:gd name="connsiteX0" fmla="*/ 0 w 178188"/>
                <a:gd name="connsiteY0" fmla="*/ 208851 h 421773"/>
                <a:gd name="connsiteX1" fmla="*/ 121870 w 178188"/>
                <a:gd name="connsiteY1" fmla="*/ 9206 h 421773"/>
                <a:gd name="connsiteX2" fmla="*/ 164799 w 178188"/>
                <a:gd name="connsiteY2" fmla="*/ 63594 h 421773"/>
                <a:gd name="connsiteX3" fmla="*/ 169494 w 178188"/>
                <a:gd name="connsiteY3" fmla="*/ 235426 h 421773"/>
                <a:gd name="connsiteX4" fmla="*/ 133774 w 178188"/>
                <a:gd name="connsiteY4" fmla="*/ 337820 h 421773"/>
                <a:gd name="connsiteX5" fmla="*/ 105267 w 178188"/>
                <a:gd name="connsiteY5" fmla="*/ 421773 h 421773"/>
                <a:gd name="connsiteX6" fmla="*/ 9524 w 178188"/>
                <a:gd name="connsiteY6" fmla="*/ 288424 h 421773"/>
                <a:gd name="connsiteX7" fmla="*/ 0 w 178188"/>
                <a:gd name="connsiteY7" fmla="*/ 208851 h 421773"/>
                <a:gd name="connsiteX0" fmla="*/ 0 w 178188"/>
                <a:gd name="connsiteY0" fmla="*/ 217639 h 430561"/>
                <a:gd name="connsiteX1" fmla="*/ 121870 w 178188"/>
                <a:gd name="connsiteY1" fmla="*/ 17994 h 430561"/>
                <a:gd name="connsiteX2" fmla="*/ 159969 w 178188"/>
                <a:gd name="connsiteY2" fmla="*/ 15615 h 430561"/>
                <a:gd name="connsiteX3" fmla="*/ 164799 w 178188"/>
                <a:gd name="connsiteY3" fmla="*/ 72382 h 430561"/>
                <a:gd name="connsiteX4" fmla="*/ 169494 w 178188"/>
                <a:gd name="connsiteY4" fmla="*/ 244214 h 430561"/>
                <a:gd name="connsiteX5" fmla="*/ 133774 w 178188"/>
                <a:gd name="connsiteY5" fmla="*/ 346608 h 430561"/>
                <a:gd name="connsiteX6" fmla="*/ 105267 w 178188"/>
                <a:gd name="connsiteY6" fmla="*/ 430561 h 430561"/>
                <a:gd name="connsiteX7" fmla="*/ 9524 w 178188"/>
                <a:gd name="connsiteY7" fmla="*/ 297212 h 430561"/>
                <a:gd name="connsiteX8" fmla="*/ 0 w 178188"/>
                <a:gd name="connsiteY8" fmla="*/ 217639 h 430561"/>
                <a:gd name="connsiteX0" fmla="*/ 0 w 178188"/>
                <a:gd name="connsiteY0" fmla="*/ 225613 h 438535"/>
                <a:gd name="connsiteX1" fmla="*/ 121870 w 178188"/>
                <a:gd name="connsiteY1" fmla="*/ 25968 h 438535"/>
                <a:gd name="connsiteX2" fmla="*/ 174256 w 178188"/>
                <a:gd name="connsiteY2" fmla="*/ 6920 h 438535"/>
                <a:gd name="connsiteX3" fmla="*/ 164799 w 178188"/>
                <a:gd name="connsiteY3" fmla="*/ 80356 h 438535"/>
                <a:gd name="connsiteX4" fmla="*/ 169494 w 178188"/>
                <a:gd name="connsiteY4" fmla="*/ 252188 h 438535"/>
                <a:gd name="connsiteX5" fmla="*/ 133774 w 178188"/>
                <a:gd name="connsiteY5" fmla="*/ 354582 h 438535"/>
                <a:gd name="connsiteX6" fmla="*/ 105267 w 178188"/>
                <a:gd name="connsiteY6" fmla="*/ 438535 h 438535"/>
                <a:gd name="connsiteX7" fmla="*/ 9524 w 178188"/>
                <a:gd name="connsiteY7" fmla="*/ 305186 h 438535"/>
                <a:gd name="connsiteX8" fmla="*/ 0 w 178188"/>
                <a:gd name="connsiteY8" fmla="*/ 225613 h 438535"/>
                <a:gd name="connsiteX0" fmla="*/ 0 w 204529"/>
                <a:gd name="connsiteY0" fmla="*/ 225613 h 438535"/>
                <a:gd name="connsiteX1" fmla="*/ 121870 w 204529"/>
                <a:gd name="connsiteY1" fmla="*/ 25968 h 438535"/>
                <a:gd name="connsiteX2" fmla="*/ 174256 w 204529"/>
                <a:gd name="connsiteY2" fmla="*/ 6920 h 438535"/>
                <a:gd name="connsiteX3" fmla="*/ 202899 w 204529"/>
                <a:gd name="connsiteY3" fmla="*/ 54162 h 438535"/>
                <a:gd name="connsiteX4" fmla="*/ 169494 w 204529"/>
                <a:gd name="connsiteY4" fmla="*/ 252188 h 438535"/>
                <a:gd name="connsiteX5" fmla="*/ 133774 w 204529"/>
                <a:gd name="connsiteY5" fmla="*/ 354582 h 438535"/>
                <a:gd name="connsiteX6" fmla="*/ 105267 w 204529"/>
                <a:gd name="connsiteY6" fmla="*/ 438535 h 438535"/>
                <a:gd name="connsiteX7" fmla="*/ 9524 w 204529"/>
                <a:gd name="connsiteY7" fmla="*/ 305186 h 438535"/>
                <a:gd name="connsiteX8" fmla="*/ 0 w 204529"/>
                <a:gd name="connsiteY8" fmla="*/ 225613 h 438535"/>
                <a:gd name="connsiteX0" fmla="*/ 0 w 203410"/>
                <a:gd name="connsiteY0" fmla="*/ 225613 h 438535"/>
                <a:gd name="connsiteX1" fmla="*/ 121870 w 203410"/>
                <a:gd name="connsiteY1" fmla="*/ 25968 h 438535"/>
                <a:gd name="connsiteX2" fmla="*/ 174256 w 203410"/>
                <a:gd name="connsiteY2" fmla="*/ 6920 h 438535"/>
                <a:gd name="connsiteX3" fmla="*/ 202899 w 203410"/>
                <a:gd name="connsiteY3" fmla="*/ 54162 h 438535"/>
                <a:gd name="connsiteX4" fmla="*/ 190926 w 203410"/>
                <a:gd name="connsiteY4" fmla="*/ 159320 h 438535"/>
                <a:gd name="connsiteX5" fmla="*/ 169494 w 203410"/>
                <a:gd name="connsiteY5" fmla="*/ 252188 h 438535"/>
                <a:gd name="connsiteX6" fmla="*/ 133774 w 203410"/>
                <a:gd name="connsiteY6" fmla="*/ 354582 h 438535"/>
                <a:gd name="connsiteX7" fmla="*/ 105267 w 203410"/>
                <a:gd name="connsiteY7" fmla="*/ 438535 h 438535"/>
                <a:gd name="connsiteX8" fmla="*/ 9524 w 203410"/>
                <a:gd name="connsiteY8" fmla="*/ 305186 h 438535"/>
                <a:gd name="connsiteX9" fmla="*/ 0 w 203410"/>
                <a:gd name="connsiteY9" fmla="*/ 225613 h 438535"/>
                <a:gd name="connsiteX0" fmla="*/ 0 w 202990"/>
                <a:gd name="connsiteY0" fmla="*/ 225613 h 438535"/>
                <a:gd name="connsiteX1" fmla="*/ 121870 w 202990"/>
                <a:gd name="connsiteY1" fmla="*/ 25968 h 438535"/>
                <a:gd name="connsiteX2" fmla="*/ 174256 w 202990"/>
                <a:gd name="connsiteY2" fmla="*/ 6920 h 438535"/>
                <a:gd name="connsiteX3" fmla="*/ 202899 w 202990"/>
                <a:gd name="connsiteY3" fmla="*/ 54162 h 438535"/>
                <a:gd name="connsiteX4" fmla="*/ 138539 w 202990"/>
                <a:gd name="connsiteY4" fmla="*/ 123602 h 438535"/>
                <a:gd name="connsiteX5" fmla="*/ 169494 w 202990"/>
                <a:gd name="connsiteY5" fmla="*/ 252188 h 438535"/>
                <a:gd name="connsiteX6" fmla="*/ 133774 w 202990"/>
                <a:gd name="connsiteY6" fmla="*/ 354582 h 438535"/>
                <a:gd name="connsiteX7" fmla="*/ 105267 w 202990"/>
                <a:gd name="connsiteY7" fmla="*/ 438535 h 438535"/>
                <a:gd name="connsiteX8" fmla="*/ 9524 w 202990"/>
                <a:gd name="connsiteY8" fmla="*/ 305186 h 438535"/>
                <a:gd name="connsiteX9" fmla="*/ 0 w 202990"/>
                <a:gd name="connsiteY9" fmla="*/ 225613 h 438535"/>
                <a:gd name="connsiteX0" fmla="*/ 0 w 203178"/>
                <a:gd name="connsiteY0" fmla="*/ 225613 h 438535"/>
                <a:gd name="connsiteX1" fmla="*/ 121870 w 203178"/>
                <a:gd name="connsiteY1" fmla="*/ 25968 h 438535"/>
                <a:gd name="connsiteX2" fmla="*/ 174256 w 203178"/>
                <a:gd name="connsiteY2" fmla="*/ 6920 h 438535"/>
                <a:gd name="connsiteX3" fmla="*/ 202899 w 203178"/>
                <a:gd name="connsiteY3" fmla="*/ 54162 h 438535"/>
                <a:gd name="connsiteX4" fmla="*/ 181401 w 203178"/>
                <a:gd name="connsiteY4" fmla="*/ 149795 h 438535"/>
                <a:gd name="connsiteX5" fmla="*/ 169494 w 203178"/>
                <a:gd name="connsiteY5" fmla="*/ 252188 h 438535"/>
                <a:gd name="connsiteX6" fmla="*/ 133774 w 203178"/>
                <a:gd name="connsiteY6" fmla="*/ 354582 h 438535"/>
                <a:gd name="connsiteX7" fmla="*/ 105267 w 203178"/>
                <a:gd name="connsiteY7" fmla="*/ 438535 h 438535"/>
                <a:gd name="connsiteX8" fmla="*/ 9524 w 203178"/>
                <a:gd name="connsiteY8" fmla="*/ 305186 h 438535"/>
                <a:gd name="connsiteX9" fmla="*/ 0 w 203178"/>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1625 h 434547"/>
                <a:gd name="connsiteX1" fmla="*/ 121870 w 214982"/>
                <a:gd name="connsiteY1" fmla="*/ 21980 h 434547"/>
                <a:gd name="connsiteX2" fmla="*/ 152824 w 214982"/>
                <a:gd name="connsiteY2" fmla="*/ 10075 h 434547"/>
                <a:gd name="connsiteX3" fmla="*/ 214805 w 214982"/>
                <a:gd name="connsiteY3" fmla="*/ 23980 h 434547"/>
                <a:gd name="connsiteX4" fmla="*/ 181401 w 214982"/>
                <a:gd name="connsiteY4" fmla="*/ 145807 h 434547"/>
                <a:gd name="connsiteX5" fmla="*/ 169494 w 214982"/>
                <a:gd name="connsiteY5" fmla="*/ 248200 h 434547"/>
                <a:gd name="connsiteX6" fmla="*/ 133774 w 214982"/>
                <a:gd name="connsiteY6" fmla="*/ 350594 h 434547"/>
                <a:gd name="connsiteX7" fmla="*/ 105267 w 214982"/>
                <a:gd name="connsiteY7" fmla="*/ 434547 h 434547"/>
                <a:gd name="connsiteX8" fmla="*/ 9524 w 214982"/>
                <a:gd name="connsiteY8" fmla="*/ 301198 h 434547"/>
                <a:gd name="connsiteX9" fmla="*/ 0 w 214982"/>
                <a:gd name="connsiteY9" fmla="*/ 221625 h 434547"/>
                <a:gd name="connsiteX0" fmla="*/ 0 w 214982"/>
                <a:gd name="connsiteY0" fmla="*/ 238391 h 451313"/>
                <a:gd name="connsiteX1" fmla="*/ 121870 w 214982"/>
                <a:gd name="connsiteY1" fmla="*/ 38746 h 451313"/>
                <a:gd name="connsiteX2" fmla="*/ 174255 w 214982"/>
                <a:gd name="connsiteY2" fmla="*/ 3028 h 451313"/>
                <a:gd name="connsiteX3" fmla="*/ 214805 w 214982"/>
                <a:gd name="connsiteY3" fmla="*/ 40746 h 451313"/>
                <a:gd name="connsiteX4" fmla="*/ 181401 w 214982"/>
                <a:gd name="connsiteY4" fmla="*/ 162573 h 451313"/>
                <a:gd name="connsiteX5" fmla="*/ 169494 w 214982"/>
                <a:gd name="connsiteY5" fmla="*/ 264966 h 451313"/>
                <a:gd name="connsiteX6" fmla="*/ 133774 w 214982"/>
                <a:gd name="connsiteY6" fmla="*/ 367360 h 451313"/>
                <a:gd name="connsiteX7" fmla="*/ 105267 w 214982"/>
                <a:gd name="connsiteY7" fmla="*/ 451313 h 451313"/>
                <a:gd name="connsiteX8" fmla="*/ 9524 w 214982"/>
                <a:gd name="connsiteY8" fmla="*/ 317964 h 451313"/>
                <a:gd name="connsiteX9" fmla="*/ 0 w 214982"/>
                <a:gd name="connsiteY9" fmla="*/ 238391 h 451313"/>
                <a:gd name="connsiteX0" fmla="*/ 0 w 214982"/>
                <a:gd name="connsiteY0" fmla="*/ 228813 h 441735"/>
                <a:gd name="connsiteX1" fmla="*/ 121870 w 214982"/>
                <a:gd name="connsiteY1" fmla="*/ 29168 h 441735"/>
                <a:gd name="connsiteX2" fmla="*/ 157587 w 214982"/>
                <a:gd name="connsiteY2" fmla="*/ 5356 h 441735"/>
                <a:gd name="connsiteX3" fmla="*/ 214805 w 214982"/>
                <a:gd name="connsiteY3" fmla="*/ 31168 h 441735"/>
                <a:gd name="connsiteX4" fmla="*/ 181401 w 214982"/>
                <a:gd name="connsiteY4" fmla="*/ 152995 h 441735"/>
                <a:gd name="connsiteX5" fmla="*/ 169494 w 214982"/>
                <a:gd name="connsiteY5" fmla="*/ 255388 h 441735"/>
                <a:gd name="connsiteX6" fmla="*/ 133774 w 214982"/>
                <a:gd name="connsiteY6" fmla="*/ 357782 h 441735"/>
                <a:gd name="connsiteX7" fmla="*/ 105267 w 214982"/>
                <a:gd name="connsiteY7" fmla="*/ 441735 h 441735"/>
                <a:gd name="connsiteX8" fmla="*/ 9524 w 214982"/>
                <a:gd name="connsiteY8" fmla="*/ 308386 h 441735"/>
                <a:gd name="connsiteX9" fmla="*/ 0 w 214982"/>
                <a:gd name="connsiteY9" fmla="*/ 228813 h 441735"/>
                <a:gd name="connsiteX0" fmla="*/ 0 w 214982"/>
                <a:gd name="connsiteY0" fmla="*/ 236212 h 449134"/>
                <a:gd name="connsiteX1" fmla="*/ 121870 w 214982"/>
                <a:gd name="connsiteY1" fmla="*/ 36567 h 449134"/>
                <a:gd name="connsiteX2" fmla="*/ 157587 w 214982"/>
                <a:gd name="connsiteY2" fmla="*/ 12755 h 449134"/>
                <a:gd name="connsiteX3" fmla="*/ 214805 w 214982"/>
                <a:gd name="connsiteY3" fmla="*/ 38567 h 449134"/>
                <a:gd name="connsiteX4" fmla="*/ 181401 w 214982"/>
                <a:gd name="connsiteY4" fmla="*/ 160394 h 449134"/>
                <a:gd name="connsiteX5" fmla="*/ 169494 w 214982"/>
                <a:gd name="connsiteY5" fmla="*/ 262787 h 449134"/>
                <a:gd name="connsiteX6" fmla="*/ 133774 w 214982"/>
                <a:gd name="connsiteY6" fmla="*/ 365181 h 449134"/>
                <a:gd name="connsiteX7" fmla="*/ 105267 w 214982"/>
                <a:gd name="connsiteY7" fmla="*/ 449134 h 449134"/>
                <a:gd name="connsiteX8" fmla="*/ 9524 w 214982"/>
                <a:gd name="connsiteY8" fmla="*/ 315785 h 449134"/>
                <a:gd name="connsiteX9" fmla="*/ 0 w 214982"/>
                <a:gd name="connsiteY9" fmla="*/ 236212 h 449134"/>
                <a:gd name="connsiteX0" fmla="*/ 0 w 214982"/>
                <a:gd name="connsiteY0" fmla="*/ 224600 h 437522"/>
                <a:gd name="connsiteX1" fmla="*/ 121870 w 214982"/>
                <a:gd name="connsiteY1" fmla="*/ 24955 h 437522"/>
                <a:gd name="connsiteX2" fmla="*/ 157587 w 214982"/>
                <a:gd name="connsiteY2" fmla="*/ 1143 h 437522"/>
                <a:gd name="connsiteX3" fmla="*/ 214805 w 214982"/>
                <a:gd name="connsiteY3" fmla="*/ 26955 h 437522"/>
                <a:gd name="connsiteX4" fmla="*/ 181401 w 214982"/>
                <a:gd name="connsiteY4" fmla="*/ 148782 h 437522"/>
                <a:gd name="connsiteX5" fmla="*/ 169494 w 214982"/>
                <a:gd name="connsiteY5" fmla="*/ 251175 h 437522"/>
                <a:gd name="connsiteX6" fmla="*/ 133774 w 214982"/>
                <a:gd name="connsiteY6" fmla="*/ 353569 h 437522"/>
                <a:gd name="connsiteX7" fmla="*/ 105267 w 214982"/>
                <a:gd name="connsiteY7" fmla="*/ 437522 h 437522"/>
                <a:gd name="connsiteX8" fmla="*/ 9524 w 214982"/>
                <a:gd name="connsiteY8" fmla="*/ 304173 h 437522"/>
                <a:gd name="connsiteX9" fmla="*/ 0 w 214982"/>
                <a:gd name="connsiteY9" fmla="*/ 224600 h 437522"/>
                <a:gd name="connsiteX0" fmla="*/ 0 w 214982"/>
                <a:gd name="connsiteY0" fmla="*/ 231055 h 443977"/>
                <a:gd name="connsiteX1" fmla="*/ 121870 w 214982"/>
                <a:gd name="connsiteY1" fmla="*/ 31410 h 443977"/>
                <a:gd name="connsiteX2" fmla="*/ 174256 w 214982"/>
                <a:gd name="connsiteY2" fmla="*/ 455 h 443977"/>
                <a:gd name="connsiteX3" fmla="*/ 214805 w 214982"/>
                <a:gd name="connsiteY3" fmla="*/ 33410 h 443977"/>
                <a:gd name="connsiteX4" fmla="*/ 181401 w 214982"/>
                <a:gd name="connsiteY4" fmla="*/ 155237 h 443977"/>
                <a:gd name="connsiteX5" fmla="*/ 169494 w 214982"/>
                <a:gd name="connsiteY5" fmla="*/ 257630 h 443977"/>
                <a:gd name="connsiteX6" fmla="*/ 133774 w 214982"/>
                <a:gd name="connsiteY6" fmla="*/ 360024 h 443977"/>
                <a:gd name="connsiteX7" fmla="*/ 105267 w 214982"/>
                <a:gd name="connsiteY7" fmla="*/ 443977 h 443977"/>
                <a:gd name="connsiteX8" fmla="*/ 9524 w 214982"/>
                <a:gd name="connsiteY8" fmla="*/ 310628 h 443977"/>
                <a:gd name="connsiteX9" fmla="*/ 0 w 214982"/>
                <a:gd name="connsiteY9" fmla="*/ 231055 h 443977"/>
                <a:gd name="connsiteX0" fmla="*/ 0 w 214982"/>
                <a:gd name="connsiteY0" fmla="*/ 231055 h 443977"/>
                <a:gd name="connsiteX1" fmla="*/ 109964 w 214982"/>
                <a:gd name="connsiteY1" fmla="*/ 43316 h 443977"/>
                <a:gd name="connsiteX2" fmla="*/ 174256 w 214982"/>
                <a:gd name="connsiteY2" fmla="*/ 455 h 443977"/>
                <a:gd name="connsiteX3" fmla="*/ 214805 w 214982"/>
                <a:gd name="connsiteY3" fmla="*/ 33410 h 443977"/>
                <a:gd name="connsiteX4" fmla="*/ 181401 w 214982"/>
                <a:gd name="connsiteY4" fmla="*/ 155237 h 443977"/>
                <a:gd name="connsiteX5" fmla="*/ 169494 w 214982"/>
                <a:gd name="connsiteY5" fmla="*/ 257630 h 443977"/>
                <a:gd name="connsiteX6" fmla="*/ 133774 w 214982"/>
                <a:gd name="connsiteY6" fmla="*/ 360024 h 443977"/>
                <a:gd name="connsiteX7" fmla="*/ 105267 w 214982"/>
                <a:gd name="connsiteY7" fmla="*/ 443977 h 443977"/>
                <a:gd name="connsiteX8" fmla="*/ 9524 w 214982"/>
                <a:gd name="connsiteY8" fmla="*/ 310628 h 443977"/>
                <a:gd name="connsiteX9" fmla="*/ 0 w 214982"/>
                <a:gd name="connsiteY9" fmla="*/ 231055 h 44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4982" h="443977">
                  <a:moveTo>
                    <a:pt x="0" y="231055"/>
                  </a:moveTo>
                  <a:cubicBezTo>
                    <a:pt x="27059" y="194441"/>
                    <a:pt x="69401" y="75066"/>
                    <a:pt x="109964" y="43316"/>
                  </a:cubicBezTo>
                  <a:cubicBezTo>
                    <a:pt x="136626" y="9645"/>
                    <a:pt x="143289" y="915"/>
                    <a:pt x="174256" y="455"/>
                  </a:cubicBezTo>
                  <a:cubicBezTo>
                    <a:pt x="214749" y="-2386"/>
                    <a:pt x="212027" y="8010"/>
                    <a:pt x="214805" y="33410"/>
                  </a:cubicBezTo>
                  <a:cubicBezTo>
                    <a:pt x="217583" y="58810"/>
                    <a:pt x="186968" y="122233"/>
                    <a:pt x="181401" y="155237"/>
                  </a:cubicBezTo>
                  <a:cubicBezTo>
                    <a:pt x="175834" y="188241"/>
                    <a:pt x="179019" y="225086"/>
                    <a:pt x="169494" y="257630"/>
                  </a:cubicBezTo>
                  <a:cubicBezTo>
                    <a:pt x="159969" y="290174"/>
                    <a:pt x="145272" y="328966"/>
                    <a:pt x="133774" y="360024"/>
                  </a:cubicBezTo>
                  <a:cubicBezTo>
                    <a:pt x="127424" y="386780"/>
                    <a:pt x="131928" y="443478"/>
                    <a:pt x="105267" y="443977"/>
                  </a:cubicBezTo>
                  <a:cubicBezTo>
                    <a:pt x="55890" y="387621"/>
                    <a:pt x="58901" y="374128"/>
                    <a:pt x="9524" y="310628"/>
                  </a:cubicBezTo>
                  <a:lnTo>
                    <a:pt x="0" y="231055"/>
                  </a:lnTo>
                  <a:close/>
                </a:path>
              </a:pathLst>
            </a:custGeom>
            <a:grp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sp>
        <p:nvSpPr>
          <p:cNvPr id="4" name="Rectangle 3">
            <a:hlinkClick r:id="rId3" action="ppaction://hlinksldjump"/>
            <a:extLst>
              <a:ext uri="{FF2B5EF4-FFF2-40B4-BE49-F238E27FC236}">
                <a16:creationId xmlns:a16="http://schemas.microsoft.com/office/drawing/2014/main" id="{AF7E84CD-D9A2-4565-9E24-3E53157AB37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9575208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North America</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697EB3F1-A682-4C03-BF48-EAD442659591}"/>
              </a:ext>
            </a:extLst>
          </p:cNvPr>
          <p:cNvGrpSpPr>
            <a:grpSpLocks noChangeAspect="1"/>
          </p:cNvGrpSpPr>
          <p:nvPr/>
        </p:nvGrpSpPr>
        <p:grpSpPr>
          <a:xfrm>
            <a:off x="3995134" y="1"/>
            <a:ext cx="8197147" cy="6858000"/>
            <a:chOff x="1289041" y="599309"/>
            <a:chExt cx="9699958" cy="8115301"/>
          </a:xfrm>
          <a:solidFill>
            <a:srgbClr val="96968C">
              <a:lumMod val="40000"/>
              <a:lumOff val="60000"/>
            </a:srgbClr>
          </a:solidFill>
        </p:grpSpPr>
        <p:grpSp>
          <p:nvGrpSpPr>
            <p:cNvPr id="5" name="Group 209">
              <a:extLst>
                <a:ext uri="{FF2B5EF4-FFF2-40B4-BE49-F238E27FC236}">
                  <a16:creationId xmlns:a16="http://schemas.microsoft.com/office/drawing/2014/main" id="{DFAC82E8-4984-43B6-85D6-0956ACA997FE}"/>
                </a:ext>
              </a:extLst>
            </p:cNvPr>
            <p:cNvGrpSpPr>
              <a:grpSpLocks/>
            </p:cNvGrpSpPr>
            <p:nvPr/>
          </p:nvGrpSpPr>
          <p:grpSpPr bwMode="auto">
            <a:xfrm>
              <a:off x="1289041" y="1831209"/>
              <a:ext cx="9677400" cy="6662738"/>
              <a:chOff x="786" y="381"/>
              <a:chExt cx="6096" cy="4197"/>
            </a:xfrm>
            <a:grpFill/>
          </p:grpSpPr>
          <p:sp>
            <p:nvSpPr>
              <p:cNvPr id="176" name="Rectangle 9">
                <a:extLst>
                  <a:ext uri="{FF2B5EF4-FFF2-40B4-BE49-F238E27FC236}">
                    <a16:creationId xmlns:a16="http://schemas.microsoft.com/office/drawing/2014/main" id="{9A68BD4D-4BDD-403F-8106-4050522AF017}"/>
                  </a:ext>
                </a:extLst>
              </p:cNvPr>
              <p:cNvSpPr>
                <a:spLocks noChangeArrowheads="1"/>
              </p:cNvSpPr>
              <p:nvPr/>
            </p:nvSpPr>
            <p:spPr bwMode="auto">
              <a:xfrm>
                <a:off x="6187" y="239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 name="Freeform 10">
                <a:extLst>
                  <a:ext uri="{FF2B5EF4-FFF2-40B4-BE49-F238E27FC236}">
                    <a16:creationId xmlns:a16="http://schemas.microsoft.com/office/drawing/2014/main" id="{5B6F825E-021F-4740-8497-20FD4EC471A3}"/>
                  </a:ext>
                </a:extLst>
              </p:cNvPr>
              <p:cNvSpPr>
                <a:spLocks/>
              </p:cNvSpPr>
              <p:nvPr/>
            </p:nvSpPr>
            <p:spPr bwMode="auto">
              <a:xfrm>
                <a:off x="6187" y="239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 name="Rectangle 11">
                <a:extLst>
                  <a:ext uri="{FF2B5EF4-FFF2-40B4-BE49-F238E27FC236}">
                    <a16:creationId xmlns:a16="http://schemas.microsoft.com/office/drawing/2014/main" id="{D6640D29-9639-489A-8E0F-987E354669C4}"/>
                  </a:ext>
                </a:extLst>
              </p:cNvPr>
              <p:cNvSpPr>
                <a:spLocks noChangeArrowheads="1"/>
              </p:cNvSpPr>
              <p:nvPr/>
            </p:nvSpPr>
            <p:spPr bwMode="auto">
              <a:xfrm>
                <a:off x="4671" y="3516"/>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 name="Freeform 12">
                <a:extLst>
                  <a:ext uri="{FF2B5EF4-FFF2-40B4-BE49-F238E27FC236}">
                    <a16:creationId xmlns:a16="http://schemas.microsoft.com/office/drawing/2014/main" id="{48470A39-6BBE-4638-9747-7801559654B9}"/>
                  </a:ext>
                </a:extLst>
              </p:cNvPr>
              <p:cNvSpPr>
                <a:spLocks/>
              </p:cNvSpPr>
              <p:nvPr/>
            </p:nvSpPr>
            <p:spPr bwMode="auto">
              <a:xfrm>
                <a:off x="4671" y="3516"/>
                <a:ext cx="0" cy="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 name="Freeform 13">
                <a:extLst>
                  <a:ext uri="{FF2B5EF4-FFF2-40B4-BE49-F238E27FC236}">
                    <a16:creationId xmlns:a16="http://schemas.microsoft.com/office/drawing/2014/main" id="{9582D042-AD56-4F40-8542-9571926711B9}"/>
                  </a:ext>
                </a:extLst>
              </p:cNvPr>
              <p:cNvSpPr>
                <a:spLocks noEditPoints="1"/>
              </p:cNvSpPr>
              <p:nvPr/>
            </p:nvSpPr>
            <p:spPr bwMode="auto">
              <a:xfrm>
                <a:off x="3160" y="2035"/>
                <a:ext cx="3169" cy="1537"/>
              </a:xfrm>
              <a:custGeom>
                <a:avLst/>
                <a:gdLst>
                  <a:gd name="T0" fmla="*/ 1179 w 1340"/>
                  <a:gd name="T1" fmla="*/ 236 h 650"/>
                  <a:gd name="T2" fmla="*/ 1178 w 1340"/>
                  <a:gd name="T3" fmla="*/ 232 h 650"/>
                  <a:gd name="T4" fmla="*/ 475 w 1340"/>
                  <a:gd name="T5" fmla="*/ 11 h 650"/>
                  <a:gd name="T6" fmla="*/ 56 w 1340"/>
                  <a:gd name="T7" fmla="*/ 39 h 650"/>
                  <a:gd name="T8" fmla="*/ 49 w 1340"/>
                  <a:gd name="T9" fmla="*/ 55 h 650"/>
                  <a:gd name="T10" fmla="*/ 47 w 1340"/>
                  <a:gd name="T11" fmla="*/ 42 h 650"/>
                  <a:gd name="T12" fmla="*/ 18 w 1340"/>
                  <a:gd name="T13" fmla="*/ 74 h 650"/>
                  <a:gd name="T14" fmla="*/ 13 w 1340"/>
                  <a:gd name="T15" fmla="*/ 162 h 650"/>
                  <a:gd name="T16" fmla="*/ 23 w 1340"/>
                  <a:gd name="T17" fmla="*/ 277 h 650"/>
                  <a:gd name="T18" fmla="*/ 63 w 1340"/>
                  <a:gd name="T19" fmla="*/ 315 h 650"/>
                  <a:gd name="T20" fmla="*/ 55 w 1340"/>
                  <a:gd name="T21" fmla="*/ 325 h 650"/>
                  <a:gd name="T22" fmla="*/ 95 w 1340"/>
                  <a:gd name="T23" fmla="*/ 400 h 650"/>
                  <a:gd name="T24" fmla="*/ 146 w 1340"/>
                  <a:gd name="T25" fmla="*/ 431 h 650"/>
                  <a:gd name="T26" fmla="*/ 235 w 1340"/>
                  <a:gd name="T27" fmla="*/ 461 h 650"/>
                  <a:gd name="T28" fmla="*/ 485 w 1340"/>
                  <a:gd name="T29" fmla="*/ 544 h 650"/>
                  <a:gd name="T30" fmla="*/ 588 w 1340"/>
                  <a:gd name="T31" fmla="*/ 595 h 650"/>
                  <a:gd name="T32" fmla="*/ 631 w 1340"/>
                  <a:gd name="T33" fmla="*/ 596 h 650"/>
                  <a:gd name="T34" fmla="*/ 650 w 1340"/>
                  <a:gd name="T35" fmla="*/ 569 h 650"/>
                  <a:gd name="T36" fmla="*/ 686 w 1340"/>
                  <a:gd name="T37" fmla="*/ 548 h 650"/>
                  <a:gd name="T38" fmla="*/ 695 w 1340"/>
                  <a:gd name="T39" fmla="*/ 544 h 650"/>
                  <a:gd name="T40" fmla="*/ 756 w 1340"/>
                  <a:gd name="T41" fmla="*/ 535 h 650"/>
                  <a:gd name="T42" fmla="*/ 809 w 1340"/>
                  <a:gd name="T43" fmla="*/ 542 h 650"/>
                  <a:gd name="T44" fmla="*/ 817 w 1340"/>
                  <a:gd name="T45" fmla="*/ 536 h 650"/>
                  <a:gd name="T46" fmla="*/ 831 w 1340"/>
                  <a:gd name="T47" fmla="*/ 517 h 650"/>
                  <a:gd name="T48" fmla="*/ 865 w 1340"/>
                  <a:gd name="T49" fmla="*/ 517 h 650"/>
                  <a:gd name="T50" fmla="*/ 912 w 1340"/>
                  <a:gd name="T51" fmla="*/ 527 h 650"/>
                  <a:gd name="T52" fmla="*/ 975 w 1340"/>
                  <a:gd name="T53" fmla="*/ 568 h 650"/>
                  <a:gd name="T54" fmla="*/ 990 w 1340"/>
                  <a:gd name="T55" fmla="*/ 607 h 650"/>
                  <a:gd name="T56" fmla="*/ 1028 w 1340"/>
                  <a:gd name="T57" fmla="*/ 646 h 650"/>
                  <a:gd name="T58" fmla="*/ 1010 w 1340"/>
                  <a:gd name="T59" fmla="*/ 489 h 650"/>
                  <a:gd name="T60" fmla="*/ 1025 w 1340"/>
                  <a:gd name="T61" fmla="*/ 463 h 650"/>
                  <a:gd name="T62" fmla="*/ 1086 w 1340"/>
                  <a:gd name="T63" fmla="*/ 427 h 650"/>
                  <a:gd name="T64" fmla="*/ 1115 w 1340"/>
                  <a:gd name="T65" fmla="*/ 399 h 650"/>
                  <a:gd name="T66" fmla="*/ 1130 w 1340"/>
                  <a:gd name="T67" fmla="*/ 374 h 650"/>
                  <a:gd name="T68" fmla="*/ 1127 w 1340"/>
                  <a:gd name="T69" fmla="*/ 368 h 650"/>
                  <a:gd name="T70" fmla="*/ 1118 w 1340"/>
                  <a:gd name="T71" fmla="*/ 344 h 650"/>
                  <a:gd name="T72" fmla="*/ 1108 w 1340"/>
                  <a:gd name="T73" fmla="*/ 313 h 650"/>
                  <a:gd name="T74" fmla="*/ 1111 w 1340"/>
                  <a:gd name="T75" fmla="*/ 309 h 650"/>
                  <a:gd name="T76" fmla="*/ 1125 w 1340"/>
                  <a:gd name="T77" fmla="*/ 279 h 650"/>
                  <a:gd name="T78" fmla="*/ 1126 w 1340"/>
                  <a:gd name="T79" fmla="*/ 302 h 650"/>
                  <a:gd name="T80" fmla="*/ 1134 w 1340"/>
                  <a:gd name="T81" fmla="*/ 336 h 650"/>
                  <a:gd name="T82" fmla="*/ 1163 w 1340"/>
                  <a:gd name="T83" fmla="*/ 285 h 650"/>
                  <a:gd name="T84" fmla="*/ 1204 w 1340"/>
                  <a:gd name="T85" fmla="*/ 229 h 650"/>
                  <a:gd name="T86" fmla="*/ 1266 w 1340"/>
                  <a:gd name="T87" fmla="*/ 208 h 650"/>
                  <a:gd name="T88" fmla="*/ 1275 w 1340"/>
                  <a:gd name="T89" fmla="*/ 151 h 650"/>
                  <a:gd name="T90" fmla="*/ 1280 w 1340"/>
                  <a:gd name="T91" fmla="*/ 153 h 650"/>
                  <a:gd name="T92" fmla="*/ 1322 w 1340"/>
                  <a:gd name="T93" fmla="*/ 136 h 650"/>
                  <a:gd name="T94" fmla="*/ 1320 w 1340"/>
                  <a:gd name="T95" fmla="*/ 106 h 650"/>
                  <a:gd name="T96" fmla="*/ 1250 w 1340"/>
                  <a:gd name="T97" fmla="*/ 120 h 650"/>
                  <a:gd name="T98" fmla="*/ 1126 w 1340"/>
                  <a:gd name="T99" fmla="*/ 151 h 650"/>
                  <a:gd name="T100" fmla="*/ 1063 w 1340"/>
                  <a:gd name="T101" fmla="*/ 180 h 650"/>
                  <a:gd name="T102" fmla="*/ 972 w 1340"/>
                  <a:gd name="T103" fmla="*/ 222 h 650"/>
                  <a:gd name="T104" fmla="*/ 946 w 1340"/>
                  <a:gd name="T105" fmla="*/ 158 h 650"/>
                  <a:gd name="T106" fmla="*/ 914 w 1340"/>
                  <a:gd name="T107" fmla="*/ 116 h 650"/>
                  <a:gd name="T108" fmla="*/ 894 w 1340"/>
                  <a:gd name="T109" fmla="*/ 132 h 650"/>
                  <a:gd name="T110" fmla="*/ 872 w 1340"/>
                  <a:gd name="T111" fmla="*/ 125 h 650"/>
                  <a:gd name="T112" fmla="*/ 870 w 1340"/>
                  <a:gd name="T113" fmla="*/ 107 h 650"/>
                  <a:gd name="T114" fmla="*/ 937 w 1340"/>
                  <a:gd name="T115" fmla="*/ 96 h 650"/>
                  <a:gd name="T116" fmla="*/ 894 w 1340"/>
                  <a:gd name="T117" fmla="*/ 77 h 650"/>
                  <a:gd name="T118" fmla="*/ 788 w 1340"/>
                  <a:gd name="T119" fmla="*/ 70 h 650"/>
                  <a:gd name="T120" fmla="*/ 751 w 1340"/>
                  <a:gd name="T121" fmla="*/ 33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0" h="650">
                    <a:moveTo>
                      <a:pt x="631" y="596"/>
                    </a:moveTo>
                    <a:cubicBezTo>
                      <a:pt x="631" y="596"/>
                      <a:pt x="631" y="596"/>
                      <a:pt x="631" y="596"/>
                    </a:cubicBezTo>
                    <a:cubicBezTo>
                      <a:pt x="631" y="596"/>
                      <a:pt x="631" y="596"/>
                      <a:pt x="631" y="596"/>
                    </a:cubicBezTo>
                    <a:moveTo>
                      <a:pt x="41" y="318"/>
                    </a:moveTo>
                    <a:cubicBezTo>
                      <a:pt x="40" y="318"/>
                      <a:pt x="40" y="318"/>
                      <a:pt x="40" y="319"/>
                    </a:cubicBezTo>
                    <a:cubicBezTo>
                      <a:pt x="40" y="318"/>
                      <a:pt x="40" y="318"/>
                      <a:pt x="41" y="318"/>
                    </a:cubicBezTo>
                    <a:moveTo>
                      <a:pt x="49" y="25"/>
                    </a:moveTo>
                    <a:cubicBezTo>
                      <a:pt x="49" y="25"/>
                      <a:pt x="49" y="25"/>
                      <a:pt x="49" y="25"/>
                    </a:cubicBezTo>
                    <a:cubicBezTo>
                      <a:pt x="49" y="25"/>
                      <a:pt x="49" y="25"/>
                      <a:pt x="49" y="25"/>
                    </a:cubicBezTo>
                    <a:moveTo>
                      <a:pt x="1038" y="458"/>
                    </a:moveTo>
                    <a:cubicBezTo>
                      <a:pt x="1038" y="458"/>
                      <a:pt x="1038" y="458"/>
                      <a:pt x="1038" y="458"/>
                    </a:cubicBezTo>
                    <a:cubicBezTo>
                      <a:pt x="1038" y="458"/>
                      <a:pt x="1038" y="458"/>
                      <a:pt x="1038" y="458"/>
                    </a:cubicBezTo>
                    <a:cubicBezTo>
                      <a:pt x="1038" y="459"/>
                      <a:pt x="1038" y="459"/>
                      <a:pt x="1037" y="459"/>
                    </a:cubicBezTo>
                    <a:cubicBezTo>
                      <a:pt x="1038" y="459"/>
                      <a:pt x="1038" y="459"/>
                      <a:pt x="1038" y="458"/>
                    </a:cubicBezTo>
                    <a:moveTo>
                      <a:pt x="1038" y="457"/>
                    </a:moveTo>
                    <a:cubicBezTo>
                      <a:pt x="1038" y="456"/>
                      <a:pt x="1037" y="456"/>
                      <a:pt x="1037" y="455"/>
                    </a:cubicBezTo>
                    <a:cubicBezTo>
                      <a:pt x="1037" y="456"/>
                      <a:pt x="1038" y="456"/>
                      <a:pt x="1038" y="457"/>
                    </a:cubicBezTo>
                    <a:moveTo>
                      <a:pt x="1106" y="395"/>
                    </a:moveTo>
                    <a:cubicBezTo>
                      <a:pt x="1106" y="395"/>
                      <a:pt x="1106" y="395"/>
                      <a:pt x="1106" y="395"/>
                    </a:cubicBezTo>
                    <a:cubicBezTo>
                      <a:pt x="1106" y="395"/>
                      <a:pt x="1106" y="395"/>
                      <a:pt x="1106" y="395"/>
                    </a:cubicBezTo>
                    <a:cubicBezTo>
                      <a:pt x="1106" y="395"/>
                      <a:pt x="1106" y="395"/>
                      <a:pt x="1106" y="395"/>
                    </a:cubicBezTo>
                    <a:moveTo>
                      <a:pt x="1179" y="236"/>
                    </a:moveTo>
                    <a:cubicBezTo>
                      <a:pt x="1179" y="236"/>
                      <a:pt x="1179" y="236"/>
                      <a:pt x="1179" y="236"/>
                    </a:cubicBezTo>
                    <a:cubicBezTo>
                      <a:pt x="1179" y="236"/>
                      <a:pt x="1179" y="236"/>
                      <a:pt x="1179" y="236"/>
                    </a:cubicBezTo>
                    <a:cubicBezTo>
                      <a:pt x="1179" y="237"/>
                      <a:pt x="1178" y="238"/>
                      <a:pt x="1178" y="239"/>
                    </a:cubicBezTo>
                    <a:cubicBezTo>
                      <a:pt x="1178" y="238"/>
                      <a:pt x="1179" y="237"/>
                      <a:pt x="1179" y="236"/>
                    </a:cubicBezTo>
                    <a:moveTo>
                      <a:pt x="1178" y="233"/>
                    </a:moveTo>
                    <a:cubicBezTo>
                      <a:pt x="1178" y="233"/>
                      <a:pt x="1178" y="233"/>
                      <a:pt x="1178" y="233"/>
                    </a:cubicBezTo>
                    <a:cubicBezTo>
                      <a:pt x="1178" y="233"/>
                      <a:pt x="1178" y="233"/>
                      <a:pt x="1178" y="233"/>
                    </a:cubicBezTo>
                    <a:moveTo>
                      <a:pt x="1178" y="233"/>
                    </a:moveTo>
                    <a:cubicBezTo>
                      <a:pt x="1178" y="233"/>
                      <a:pt x="1178" y="233"/>
                      <a:pt x="1178" y="233"/>
                    </a:cubicBezTo>
                    <a:cubicBezTo>
                      <a:pt x="1178" y="233"/>
                      <a:pt x="1178" y="233"/>
                      <a:pt x="1178" y="233"/>
                    </a:cubicBezTo>
                    <a:moveTo>
                      <a:pt x="1178" y="229"/>
                    </a:move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29"/>
                      <a:pt x="1178" y="229"/>
                      <a:pt x="1178" y="229"/>
                    </a:cubicBezTo>
                    <a:cubicBezTo>
                      <a:pt x="1178" y="230"/>
                      <a:pt x="1178" y="231"/>
                      <a:pt x="1178" y="232"/>
                    </a:cubicBezTo>
                    <a:cubicBezTo>
                      <a:pt x="1178" y="232"/>
                      <a:pt x="1178" y="232"/>
                      <a:pt x="1178" y="232"/>
                    </a:cubicBezTo>
                    <a:cubicBezTo>
                      <a:pt x="1178" y="232"/>
                      <a:pt x="1178" y="232"/>
                      <a:pt x="1178" y="232"/>
                    </a:cubicBezTo>
                    <a:cubicBezTo>
                      <a:pt x="1178" y="231"/>
                      <a:pt x="1178" y="230"/>
                      <a:pt x="1178" y="229"/>
                    </a:cubicBezTo>
                    <a:cubicBezTo>
                      <a:pt x="1178" y="229"/>
                      <a:pt x="1178" y="229"/>
                      <a:pt x="1178" y="229"/>
                    </a:cubicBezTo>
                    <a:cubicBezTo>
                      <a:pt x="1178" y="229"/>
                      <a:pt x="1178" y="229"/>
                      <a:pt x="1178" y="229"/>
                    </a:cubicBezTo>
                    <a:moveTo>
                      <a:pt x="1178" y="229"/>
                    </a:moveTo>
                    <a:cubicBezTo>
                      <a:pt x="1178" y="229"/>
                      <a:pt x="1178" y="229"/>
                      <a:pt x="1178" y="229"/>
                    </a:cubicBezTo>
                    <a:cubicBezTo>
                      <a:pt x="1178" y="229"/>
                      <a:pt x="1178" y="229"/>
                      <a:pt x="1178" y="229"/>
                    </a:cubicBezTo>
                    <a:moveTo>
                      <a:pt x="1278" y="153"/>
                    </a:moveTo>
                    <a:cubicBezTo>
                      <a:pt x="1278" y="153"/>
                      <a:pt x="1278" y="153"/>
                      <a:pt x="1278" y="153"/>
                    </a:cubicBezTo>
                    <a:cubicBezTo>
                      <a:pt x="1278" y="153"/>
                      <a:pt x="1278" y="153"/>
                      <a:pt x="1278" y="153"/>
                    </a:cubicBezTo>
                    <a:cubicBezTo>
                      <a:pt x="1278" y="153"/>
                      <a:pt x="1278" y="153"/>
                      <a:pt x="1278" y="153"/>
                    </a:cubicBezTo>
                    <a:cubicBezTo>
                      <a:pt x="1278" y="153"/>
                      <a:pt x="1278" y="153"/>
                      <a:pt x="1278" y="153"/>
                    </a:cubicBezTo>
                    <a:moveTo>
                      <a:pt x="1280" y="153"/>
                    </a:moveTo>
                    <a:cubicBezTo>
                      <a:pt x="1280" y="153"/>
                      <a:pt x="1280" y="153"/>
                      <a:pt x="1280" y="153"/>
                    </a:cubicBezTo>
                    <a:moveTo>
                      <a:pt x="691" y="0"/>
                    </a:moveTo>
                    <a:cubicBezTo>
                      <a:pt x="691" y="3"/>
                      <a:pt x="690" y="7"/>
                      <a:pt x="690" y="8"/>
                    </a:cubicBezTo>
                    <a:cubicBezTo>
                      <a:pt x="689" y="9"/>
                      <a:pt x="689" y="9"/>
                      <a:pt x="689" y="9"/>
                    </a:cubicBezTo>
                    <a:cubicBezTo>
                      <a:pt x="688" y="10"/>
                      <a:pt x="687" y="11"/>
                      <a:pt x="681" y="11"/>
                    </a:cubicBezTo>
                    <a:cubicBezTo>
                      <a:pt x="679" y="11"/>
                      <a:pt x="676" y="11"/>
                      <a:pt x="672" y="11"/>
                    </a:cubicBezTo>
                    <a:cubicBezTo>
                      <a:pt x="671" y="11"/>
                      <a:pt x="671" y="11"/>
                      <a:pt x="671" y="11"/>
                    </a:cubicBezTo>
                    <a:cubicBezTo>
                      <a:pt x="632" y="11"/>
                      <a:pt x="632" y="11"/>
                      <a:pt x="632" y="11"/>
                    </a:cubicBezTo>
                    <a:cubicBezTo>
                      <a:pt x="563" y="11"/>
                      <a:pt x="480" y="11"/>
                      <a:pt x="479" y="11"/>
                    </a:cubicBezTo>
                    <a:cubicBezTo>
                      <a:pt x="478" y="11"/>
                      <a:pt x="476" y="11"/>
                      <a:pt x="475" y="11"/>
                    </a:cubicBezTo>
                    <a:cubicBezTo>
                      <a:pt x="473" y="11"/>
                      <a:pt x="471" y="11"/>
                      <a:pt x="470" y="11"/>
                    </a:cubicBezTo>
                    <a:cubicBezTo>
                      <a:pt x="470" y="11"/>
                      <a:pt x="470" y="11"/>
                      <a:pt x="467" y="11"/>
                    </a:cubicBezTo>
                    <a:cubicBezTo>
                      <a:pt x="466" y="11"/>
                      <a:pt x="464" y="11"/>
                      <a:pt x="460" y="11"/>
                    </a:cubicBezTo>
                    <a:cubicBezTo>
                      <a:pt x="460" y="10"/>
                      <a:pt x="460" y="10"/>
                      <a:pt x="460" y="10"/>
                    </a:cubicBezTo>
                    <a:cubicBezTo>
                      <a:pt x="458" y="11"/>
                      <a:pt x="455" y="11"/>
                      <a:pt x="447" y="11"/>
                    </a:cubicBezTo>
                    <a:cubicBezTo>
                      <a:pt x="417" y="11"/>
                      <a:pt x="417" y="11"/>
                      <a:pt x="417" y="11"/>
                    </a:cubicBezTo>
                    <a:cubicBezTo>
                      <a:pt x="395" y="11"/>
                      <a:pt x="372" y="11"/>
                      <a:pt x="369" y="11"/>
                    </a:cubicBezTo>
                    <a:cubicBezTo>
                      <a:pt x="108" y="11"/>
                      <a:pt x="108" y="11"/>
                      <a:pt x="108" y="11"/>
                    </a:cubicBezTo>
                    <a:cubicBezTo>
                      <a:pt x="47" y="11"/>
                      <a:pt x="47" y="11"/>
                      <a:pt x="47" y="11"/>
                    </a:cubicBezTo>
                    <a:cubicBezTo>
                      <a:pt x="46" y="12"/>
                      <a:pt x="46" y="12"/>
                      <a:pt x="46" y="12"/>
                    </a:cubicBezTo>
                    <a:cubicBezTo>
                      <a:pt x="46" y="13"/>
                      <a:pt x="47" y="14"/>
                      <a:pt x="48" y="14"/>
                    </a:cubicBezTo>
                    <a:cubicBezTo>
                      <a:pt x="48" y="15"/>
                      <a:pt x="48" y="16"/>
                      <a:pt x="49" y="16"/>
                    </a:cubicBezTo>
                    <a:cubicBezTo>
                      <a:pt x="49" y="16"/>
                      <a:pt x="50" y="16"/>
                      <a:pt x="51" y="15"/>
                    </a:cubicBezTo>
                    <a:cubicBezTo>
                      <a:pt x="50" y="18"/>
                      <a:pt x="53" y="18"/>
                      <a:pt x="53" y="20"/>
                    </a:cubicBezTo>
                    <a:cubicBezTo>
                      <a:pt x="53" y="20"/>
                      <a:pt x="52" y="22"/>
                      <a:pt x="52" y="23"/>
                    </a:cubicBezTo>
                    <a:cubicBezTo>
                      <a:pt x="51" y="23"/>
                      <a:pt x="52" y="23"/>
                      <a:pt x="52" y="24"/>
                    </a:cubicBezTo>
                    <a:cubicBezTo>
                      <a:pt x="51" y="25"/>
                      <a:pt x="50" y="25"/>
                      <a:pt x="49" y="25"/>
                    </a:cubicBezTo>
                    <a:cubicBezTo>
                      <a:pt x="49" y="25"/>
                      <a:pt x="49" y="25"/>
                      <a:pt x="49" y="25"/>
                    </a:cubicBezTo>
                    <a:cubicBezTo>
                      <a:pt x="51" y="25"/>
                      <a:pt x="54" y="28"/>
                      <a:pt x="54" y="29"/>
                    </a:cubicBezTo>
                    <a:cubicBezTo>
                      <a:pt x="56" y="31"/>
                      <a:pt x="54" y="34"/>
                      <a:pt x="56" y="36"/>
                    </a:cubicBezTo>
                    <a:cubicBezTo>
                      <a:pt x="57" y="37"/>
                      <a:pt x="59" y="36"/>
                      <a:pt x="58" y="37"/>
                    </a:cubicBezTo>
                    <a:cubicBezTo>
                      <a:pt x="58" y="38"/>
                      <a:pt x="57" y="39"/>
                      <a:pt x="56" y="39"/>
                    </a:cubicBezTo>
                    <a:cubicBezTo>
                      <a:pt x="56" y="39"/>
                      <a:pt x="56" y="41"/>
                      <a:pt x="55" y="41"/>
                    </a:cubicBezTo>
                    <a:cubicBezTo>
                      <a:pt x="55" y="42"/>
                      <a:pt x="55" y="42"/>
                      <a:pt x="54" y="43"/>
                    </a:cubicBezTo>
                    <a:cubicBezTo>
                      <a:pt x="54" y="44"/>
                      <a:pt x="55" y="44"/>
                      <a:pt x="55" y="45"/>
                    </a:cubicBezTo>
                    <a:cubicBezTo>
                      <a:pt x="55" y="45"/>
                      <a:pt x="54" y="46"/>
                      <a:pt x="54" y="46"/>
                    </a:cubicBezTo>
                    <a:cubicBezTo>
                      <a:pt x="54" y="48"/>
                      <a:pt x="54" y="48"/>
                      <a:pt x="54" y="48"/>
                    </a:cubicBezTo>
                    <a:cubicBezTo>
                      <a:pt x="54" y="48"/>
                      <a:pt x="54" y="48"/>
                      <a:pt x="54" y="48"/>
                    </a:cubicBezTo>
                    <a:cubicBezTo>
                      <a:pt x="54" y="48"/>
                      <a:pt x="55" y="49"/>
                      <a:pt x="55" y="50"/>
                    </a:cubicBezTo>
                    <a:cubicBezTo>
                      <a:pt x="56" y="50"/>
                      <a:pt x="54" y="50"/>
                      <a:pt x="54" y="51"/>
                    </a:cubicBezTo>
                    <a:cubicBezTo>
                      <a:pt x="55" y="52"/>
                      <a:pt x="55" y="52"/>
                      <a:pt x="55" y="52"/>
                    </a:cubicBezTo>
                    <a:cubicBezTo>
                      <a:pt x="55" y="53"/>
                      <a:pt x="56" y="54"/>
                      <a:pt x="56" y="54"/>
                    </a:cubicBezTo>
                    <a:cubicBezTo>
                      <a:pt x="56" y="56"/>
                      <a:pt x="55" y="55"/>
                      <a:pt x="54" y="57"/>
                    </a:cubicBezTo>
                    <a:cubicBezTo>
                      <a:pt x="53" y="58"/>
                      <a:pt x="52" y="59"/>
                      <a:pt x="50" y="61"/>
                    </a:cubicBezTo>
                    <a:cubicBezTo>
                      <a:pt x="47" y="63"/>
                      <a:pt x="46" y="63"/>
                      <a:pt x="42" y="64"/>
                    </a:cubicBezTo>
                    <a:cubicBezTo>
                      <a:pt x="43" y="65"/>
                      <a:pt x="43" y="65"/>
                      <a:pt x="43" y="65"/>
                    </a:cubicBezTo>
                    <a:cubicBezTo>
                      <a:pt x="40" y="65"/>
                      <a:pt x="40" y="63"/>
                      <a:pt x="42" y="61"/>
                    </a:cubicBezTo>
                    <a:cubicBezTo>
                      <a:pt x="41" y="62"/>
                      <a:pt x="40" y="63"/>
                      <a:pt x="39" y="63"/>
                    </a:cubicBezTo>
                    <a:cubicBezTo>
                      <a:pt x="39" y="62"/>
                      <a:pt x="41" y="62"/>
                      <a:pt x="41" y="61"/>
                    </a:cubicBezTo>
                    <a:cubicBezTo>
                      <a:pt x="42" y="60"/>
                      <a:pt x="41" y="59"/>
                      <a:pt x="42" y="58"/>
                    </a:cubicBezTo>
                    <a:cubicBezTo>
                      <a:pt x="43" y="57"/>
                      <a:pt x="44" y="57"/>
                      <a:pt x="44" y="55"/>
                    </a:cubicBezTo>
                    <a:cubicBezTo>
                      <a:pt x="45" y="57"/>
                      <a:pt x="44" y="59"/>
                      <a:pt x="45" y="61"/>
                    </a:cubicBezTo>
                    <a:cubicBezTo>
                      <a:pt x="46" y="58"/>
                      <a:pt x="46" y="57"/>
                      <a:pt x="49" y="55"/>
                    </a:cubicBezTo>
                    <a:cubicBezTo>
                      <a:pt x="49" y="55"/>
                      <a:pt x="49" y="55"/>
                      <a:pt x="49" y="55"/>
                    </a:cubicBezTo>
                    <a:cubicBezTo>
                      <a:pt x="49" y="55"/>
                      <a:pt x="49" y="55"/>
                      <a:pt x="49" y="55"/>
                    </a:cubicBezTo>
                    <a:cubicBezTo>
                      <a:pt x="49" y="55"/>
                      <a:pt x="49" y="55"/>
                      <a:pt x="49" y="55"/>
                    </a:cubicBezTo>
                    <a:cubicBezTo>
                      <a:pt x="49" y="55"/>
                      <a:pt x="49" y="55"/>
                      <a:pt x="49" y="55"/>
                    </a:cubicBezTo>
                    <a:cubicBezTo>
                      <a:pt x="49" y="55"/>
                      <a:pt x="49" y="55"/>
                      <a:pt x="49" y="55"/>
                    </a:cubicBezTo>
                    <a:cubicBezTo>
                      <a:pt x="48" y="56"/>
                      <a:pt x="48" y="57"/>
                      <a:pt x="47" y="58"/>
                    </a:cubicBezTo>
                    <a:cubicBezTo>
                      <a:pt x="54" y="56"/>
                      <a:pt x="51" y="48"/>
                      <a:pt x="48" y="45"/>
                    </a:cubicBezTo>
                    <a:cubicBezTo>
                      <a:pt x="48" y="45"/>
                      <a:pt x="49" y="45"/>
                      <a:pt x="49" y="45"/>
                    </a:cubicBezTo>
                    <a:cubicBezTo>
                      <a:pt x="51" y="45"/>
                      <a:pt x="52" y="45"/>
                      <a:pt x="52" y="45"/>
                    </a:cubicBezTo>
                    <a:cubicBezTo>
                      <a:pt x="53" y="43"/>
                      <a:pt x="51" y="41"/>
                      <a:pt x="51" y="40"/>
                    </a:cubicBezTo>
                    <a:cubicBezTo>
                      <a:pt x="50" y="42"/>
                      <a:pt x="48" y="43"/>
                      <a:pt x="46" y="45"/>
                    </a:cubicBezTo>
                    <a:cubicBezTo>
                      <a:pt x="45" y="47"/>
                      <a:pt x="43" y="47"/>
                      <a:pt x="41" y="49"/>
                    </a:cubicBezTo>
                    <a:cubicBezTo>
                      <a:pt x="40" y="50"/>
                      <a:pt x="39" y="52"/>
                      <a:pt x="39" y="53"/>
                    </a:cubicBezTo>
                    <a:cubicBezTo>
                      <a:pt x="38" y="55"/>
                      <a:pt x="37" y="55"/>
                      <a:pt x="39" y="55"/>
                    </a:cubicBezTo>
                    <a:cubicBezTo>
                      <a:pt x="39" y="55"/>
                      <a:pt x="39" y="55"/>
                      <a:pt x="39" y="55"/>
                    </a:cubicBezTo>
                    <a:cubicBezTo>
                      <a:pt x="40" y="55"/>
                      <a:pt x="42" y="54"/>
                      <a:pt x="43" y="54"/>
                    </a:cubicBezTo>
                    <a:cubicBezTo>
                      <a:pt x="43" y="54"/>
                      <a:pt x="40" y="56"/>
                      <a:pt x="38" y="56"/>
                    </a:cubicBezTo>
                    <a:cubicBezTo>
                      <a:pt x="38" y="56"/>
                      <a:pt x="37" y="56"/>
                      <a:pt x="37" y="56"/>
                    </a:cubicBezTo>
                    <a:cubicBezTo>
                      <a:pt x="37" y="54"/>
                      <a:pt x="39" y="51"/>
                      <a:pt x="40" y="50"/>
                    </a:cubicBezTo>
                    <a:cubicBezTo>
                      <a:pt x="41" y="48"/>
                      <a:pt x="42" y="47"/>
                      <a:pt x="43" y="46"/>
                    </a:cubicBezTo>
                    <a:cubicBezTo>
                      <a:pt x="44" y="44"/>
                      <a:pt x="43" y="42"/>
                      <a:pt x="44" y="42"/>
                    </a:cubicBezTo>
                    <a:cubicBezTo>
                      <a:pt x="45" y="43"/>
                      <a:pt x="45" y="45"/>
                      <a:pt x="44" y="46"/>
                    </a:cubicBezTo>
                    <a:cubicBezTo>
                      <a:pt x="45" y="45"/>
                      <a:pt x="47" y="43"/>
                      <a:pt x="47" y="42"/>
                    </a:cubicBezTo>
                    <a:cubicBezTo>
                      <a:pt x="48" y="40"/>
                      <a:pt x="49" y="41"/>
                      <a:pt x="48" y="39"/>
                    </a:cubicBezTo>
                    <a:cubicBezTo>
                      <a:pt x="47" y="38"/>
                      <a:pt x="44" y="35"/>
                      <a:pt x="46" y="33"/>
                    </a:cubicBezTo>
                    <a:cubicBezTo>
                      <a:pt x="45" y="34"/>
                      <a:pt x="44" y="37"/>
                      <a:pt x="44" y="37"/>
                    </a:cubicBezTo>
                    <a:cubicBezTo>
                      <a:pt x="44" y="37"/>
                      <a:pt x="44" y="37"/>
                      <a:pt x="43" y="37"/>
                    </a:cubicBezTo>
                    <a:cubicBezTo>
                      <a:pt x="42" y="37"/>
                      <a:pt x="38" y="33"/>
                      <a:pt x="37" y="32"/>
                    </a:cubicBezTo>
                    <a:cubicBezTo>
                      <a:pt x="37" y="32"/>
                      <a:pt x="37" y="32"/>
                      <a:pt x="37" y="32"/>
                    </a:cubicBezTo>
                    <a:cubicBezTo>
                      <a:pt x="35" y="32"/>
                      <a:pt x="33" y="32"/>
                      <a:pt x="31" y="32"/>
                    </a:cubicBezTo>
                    <a:cubicBezTo>
                      <a:pt x="29" y="33"/>
                      <a:pt x="27" y="33"/>
                      <a:pt x="25" y="33"/>
                    </a:cubicBezTo>
                    <a:cubicBezTo>
                      <a:pt x="23" y="33"/>
                      <a:pt x="22" y="33"/>
                      <a:pt x="20" y="32"/>
                    </a:cubicBezTo>
                    <a:cubicBezTo>
                      <a:pt x="13" y="31"/>
                      <a:pt x="7" y="28"/>
                      <a:pt x="0" y="26"/>
                    </a:cubicBezTo>
                    <a:cubicBezTo>
                      <a:pt x="0" y="30"/>
                      <a:pt x="0" y="33"/>
                      <a:pt x="1" y="37"/>
                    </a:cubicBezTo>
                    <a:cubicBezTo>
                      <a:pt x="3" y="42"/>
                      <a:pt x="7" y="47"/>
                      <a:pt x="9" y="52"/>
                    </a:cubicBezTo>
                    <a:cubicBezTo>
                      <a:pt x="9" y="53"/>
                      <a:pt x="9" y="54"/>
                      <a:pt x="10" y="56"/>
                    </a:cubicBezTo>
                    <a:cubicBezTo>
                      <a:pt x="10" y="58"/>
                      <a:pt x="12" y="60"/>
                      <a:pt x="13" y="62"/>
                    </a:cubicBezTo>
                    <a:cubicBezTo>
                      <a:pt x="13" y="64"/>
                      <a:pt x="13" y="66"/>
                      <a:pt x="13" y="68"/>
                    </a:cubicBezTo>
                    <a:cubicBezTo>
                      <a:pt x="14" y="66"/>
                      <a:pt x="14" y="65"/>
                      <a:pt x="15" y="65"/>
                    </a:cubicBezTo>
                    <a:cubicBezTo>
                      <a:pt x="16" y="65"/>
                      <a:pt x="18" y="67"/>
                      <a:pt x="21" y="67"/>
                    </a:cubicBezTo>
                    <a:cubicBezTo>
                      <a:pt x="20" y="68"/>
                      <a:pt x="15" y="69"/>
                      <a:pt x="16" y="71"/>
                    </a:cubicBezTo>
                    <a:cubicBezTo>
                      <a:pt x="15" y="71"/>
                      <a:pt x="15" y="70"/>
                      <a:pt x="14" y="69"/>
                    </a:cubicBezTo>
                    <a:cubicBezTo>
                      <a:pt x="14" y="70"/>
                      <a:pt x="14" y="73"/>
                      <a:pt x="15" y="73"/>
                    </a:cubicBezTo>
                    <a:cubicBezTo>
                      <a:pt x="15" y="74"/>
                      <a:pt x="16" y="74"/>
                      <a:pt x="17" y="74"/>
                    </a:cubicBezTo>
                    <a:cubicBezTo>
                      <a:pt x="17" y="74"/>
                      <a:pt x="17" y="74"/>
                      <a:pt x="18" y="74"/>
                    </a:cubicBezTo>
                    <a:cubicBezTo>
                      <a:pt x="18" y="74"/>
                      <a:pt x="18" y="74"/>
                      <a:pt x="18" y="74"/>
                    </a:cubicBezTo>
                    <a:cubicBezTo>
                      <a:pt x="19" y="74"/>
                      <a:pt x="21" y="74"/>
                      <a:pt x="21" y="76"/>
                    </a:cubicBezTo>
                    <a:cubicBezTo>
                      <a:pt x="19" y="76"/>
                      <a:pt x="18" y="77"/>
                      <a:pt x="19" y="78"/>
                    </a:cubicBezTo>
                    <a:cubicBezTo>
                      <a:pt x="18" y="77"/>
                      <a:pt x="18" y="77"/>
                      <a:pt x="18" y="77"/>
                    </a:cubicBezTo>
                    <a:cubicBezTo>
                      <a:pt x="19" y="78"/>
                      <a:pt x="19" y="79"/>
                      <a:pt x="19" y="80"/>
                    </a:cubicBezTo>
                    <a:cubicBezTo>
                      <a:pt x="19" y="84"/>
                      <a:pt x="19" y="84"/>
                      <a:pt x="19" y="84"/>
                    </a:cubicBezTo>
                    <a:cubicBezTo>
                      <a:pt x="18" y="84"/>
                      <a:pt x="18" y="84"/>
                      <a:pt x="18" y="84"/>
                    </a:cubicBezTo>
                    <a:cubicBezTo>
                      <a:pt x="16" y="84"/>
                      <a:pt x="17" y="79"/>
                      <a:pt x="16" y="78"/>
                    </a:cubicBezTo>
                    <a:cubicBezTo>
                      <a:pt x="15" y="81"/>
                      <a:pt x="17" y="85"/>
                      <a:pt x="15" y="87"/>
                    </a:cubicBezTo>
                    <a:cubicBezTo>
                      <a:pt x="22" y="89"/>
                      <a:pt x="29" y="89"/>
                      <a:pt x="36" y="90"/>
                    </a:cubicBezTo>
                    <a:cubicBezTo>
                      <a:pt x="32" y="91"/>
                      <a:pt x="28" y="91"/>
                      <a:pt x="24" y="92"/>
                    </a:cubicBezTo>
                    <a:cubicBezTo>
                      <a:pt x="24" y="92"/>
                      <a:pt x="24" y="92"/>
                      <a:pt x="23" y="92"/>
                    </a:cubicBezTo>
                    <a:cubicBezTo>
                      <a:pt x="21" y="92"/>
                      <a:pt x="19" y="90"/>
                      <a:pt x="17" y="89"/>
                    </a:cubicBezTo>
                    <a:cubicBezTo>
                      <a:pt x="19" y="94"/>
                      <a:pt x="17" y="97"/>
                      <a:pt x="17" y="101"/>
                    </a:cubicBezTo>
                    <a:cubicBezTo>
                      <a:pt x="18" y="103"/>
                      <a:pt x="19" y="104"/>
                      <a:pt x="18" y="107"/>
                    </a:cubicBezTo>
                    <a:cubicBezTo>
                      <a:pt x="18" y="108"/>
                      <a:pt x="18" y="110"/>
                      <a:pt x="18" y="111"/>
                    </a:cubicBezTo>
                    <a:cubicBezTo>
                      <a:pt x="17" y="113"/>
                      <a:pt x="18" y="114"/>
                      <a:pt x="18" y="115"/>
                    </a:cubicBezTo>
                    <a:cubicBezTo>
                      <a:pt x="18" y="120"/>
                      <a:pt x="17" y="124"/>
                      <a:pt x="16" y="129"/>
                    </a:cubicBezTo>
                    <a:cubicBezTo>
                      <a:pt x="15" y="132"/>
                      <a:pt x="15" y="136"/>
                      <a:pt x="15" y="140"/>
                    </a:cubicBezTo>
                    <a:cubicBezTo>
                      <a:pt x="15" y="144"/>
                      <a:pt x="14" y="149"/>
                      <a:pt x="14" y="153"/>
                    </a:cubicBezTo>
                    <a:cubicBezTo>
                      <a:pt x="14" y="155"/>
                      <a:pt x="14" y="157"/>
                      <a:pt x="13" y="158"/>
                    </a:cubicBezTo>
                    <a:cubicBezTo>
                      <a:pt x="13" y="160"/>
                      <a:pt x="13" y="161"/>
                      <a:pt x="13" y="162"/>
                    </a:cubicBezTo>
                    <a:cubicBezTo>
                      <a:pt x="12" y="165"/>
                      <a:pt x="11" y="168"/>
                      <a:pt x="10" y="171"/>
                    </a:cubicBezTo>
                    <a:cubicBezTo>
                      <a:pt x="10" y="170"/>
                      <a:pt x="11" y="169"/>
                      <a:pt x="12" y="169"/>
                    </a:cubicBezTo>
                    <a:cubicBezTo>
                      <a:pt x="12" y="169"/>
                      <a:pt x="13" y="170"/>
                      <a:pt x="13" y="171"/>
                    </a:cubicBezTo>
                    <a:cubicBezTo>
                      <a:pt x="12" y="171"/>
                      <a:pt x="12" y="171"/>
                      <a:pt x="12" y="171"/>
                    </a:cubicBezTo>
                    <a:cubicBezTo>
                      <a:pt x="10" y="174"/>
                      <a:pt x="4" y="182"/>
                      <a:pt x="4" y="186"/>
                    </a:cubicBezTo>
                    <a:cubicBezTo>
                      <a:pt x="5" y="188"/>
                      <a:pt x="6" y="188"/>
                      <a:pt x="6" y="189"/>
                    </a:cubicBezTo>
                    <a:cubicBezTo>
                      <a:pt x="7" y="192"/>
                      <a:pt x="8" y="191"/>
                      <a:pt x="7" y="194"/>
                    </a:cubicBezTo>
                    <a:cubicBezTo>
                      <a:pt x="7" y="197"/>
                      <a:pt x="7" y="199"/>
                      <a:pt x="7" y="201"/>
                    </a:cubicBezTo>
                    <a:cubicBezTo>
                      <a:pt x="8" y="204"/>
                      <a:pt x="9" y="207"/>
                      <a:pt x="12" y="209"/>
                    </a:cubicBezTo>
                    <a:cubicBezTo>
                      <a:pt x="13" y="210"/>
                      <a:pt x="12" y="214"/>
                      <a:pt x="12" y="216"/>
                    </a:cubicBezTo>
                    <a:cubicBezTo>
                      <a:pt x="12" y="221"/>
                      <a:pt x="13" y="226"/>
                      <a:pt x="13" y="231"/>
                    </a:cubicBezTo>
                    <a:cubicBezTo>
                      <a:pt x="13" y="232"/>
                      <a:pt x="13" y="243"/>
                      <a:pt x="12" y="243"/>
                    </a:cubicBezTo>
                    <a:cubicBezTo>
                      <a:pt x="12" y="243"/>
                      <a:pt x="12" y="243"/>
                      <a:pt x="12" y="243"/>
                    </a:cubicBezTo>
                    <a:cubicBezTo>
                      <a:pt x="12" y="243"/>
                      <a:pt x="12" y="243"/>
                      <a:pt x="12" y="243"/>
                    </a:cubicBezTo>
                    <a:cubicBezTo>
                      <a:pt x="13" y="242"/>
                      <a:pt x="13" y="241"/>
                      <a:pt x="15" y="241"/>
                    </a:cubicBezTo>
                    <a:cubicBezTo>
                      <a:pt x="15" y="241"/>
                      <a:pt x="15" y="241"/>
                      <a:pt x="15" y="241"/>
                    </a:cubicBezTo>
                    <a:cubicBezTo>
                      <a:pt x="14" y="242"/>
                      <a:pt x="12" y="245"/>
                      <a:pt x="11" y="245"/>
                    </a:cubicBezTo>
                    <a:cubicBezTo>
                      <a:pt x="11" y="245"/>
                      <a:pt x="11" y="245"/>
                      <a:pt x="11" y="245"/>
                    </a:cubicBezTo>
                    <a:cubicBezTo>
                      <a:pt x="9" y="248"/>
                      <a:pt x="8" y="251"/>
                      <a:pt x="9" y="254"/>
                    </a:cubicBezTo>
                    <a:cubicBezTo>
                      <a:pt x="10" y="256"/>
                      <a:pt x="16" y="265"/>
                      <a:pt x="18" y="265"/>
                    </a:cubicBezTo>
                    <a:cubicBezTo>
                      <a:pt x="17" y="265"/>
                      <a:pt x="17" y="265"/>
                      <a:pt x="17" y="265"/>
                    </a:cubicBezTo>
                    <a:cubicBezTo>
                      <a:pt x="19" y="268"/>
                      <a:pt x="23" y="273"/>
                      <a:pt x="23" y="277"/>
                    </a:cubicBezTo>
                    <a:cubicBezTo>
                      <a:pt x="23" y="278"/>
                      <a:pt x="22" y="279"/>
                      <a:pt x="22" y="280"/>
                    </a:cubicBezTo>
                    <a:cubicBezTo>
                      <a:pt x="21" y="283"/>
                      <a:pt x="23" y="285"/>
                      <a:pt x="24" y="288"/>
                    </a:cubicBezTo>
                    <a:cubicBezTo>
                      <a:pt x="25" y="292"/>
                      <a:pt x="23" y="293"/>
                      <a:pt x="25" y="296"/>
                    </a:cubicBezTo>
                    <a:cubicBezTo>
                      <a:pt x="30" y="302"/>
                      <a:pt x="35" y="309"/>
                      <a:pt x="40" y="315"/>
                    </a:cubicBezTo>
                    <a:cubicBezTo>
                      <a:pt x="41" y="316"/>
                      <a:pt x="41" y="317"/>
                      <a:pt x="41" y="318"/>
                    </a:cubicBezTo>
                    <a:cubicBezTo>
                      <a:pt x="41" y="318"/>
                      <a:pt x="41" y="317"/>
                      <a:pt x="42" y="317"/>
                    </a:cubicBezTo>
                    <a:cubicBezTo>
                      <a:pt x="44" y="317"/>
                      <a:pt x="46" y="320"/>
                      <a:pt x="48" y="321"/>
                    </a:cubicBezTo>
                    <a:cubicBezTo>
                      <a:pt x="48" y="321"/>
                      <a:pt x="48" y="321"/>
                      <a:pt x="48" y="321"/>
                    </a:cubicBezTo>
                    <a:cubicBezTo>
                      <a:pt x="48" y="321"/>
                      <a:pt x="51" y="323"/>
                      <a:pt x="52" y="323"/>
                    </a:cubicBezTo>
                    <a:cubicBezTo>
                      <a:pt x="53" y="323"/>
                      <a:pt x="53" y="323"/>
                      <a:pt x="52" y="322"/>
                    </a:cubicBezTo>
                    <a:cubicBezTo>
                      <a:pt x="53" y="322"/>
                      <a:pt x="53" y="322"/>
                      <a:pt x="53" y="322"/>
                    </a:cubicBezTo>
                    <a:cubicBezTo>
                      <a:pt x="53" y="321"/>
                      <a:pt x="52" y="320"/>
                      <a:pt x="52" y="320"/>
                    </a:cubicBezTo>
                    <a:cubicBezTo>
                      <a:pt x="52" y="320"/>
                      <a:pt x="52" y="320"/>
                      <a:pt x="52" y="320"/>
                    </a:cubicBezTo>
                    <a:cubicBezTo>
                      <a:pt x="52" y="320"/>
                      <a:pt x="52" y="319"/>
                      <a:pt x="52" y="319"/>
                    </a:cubicBezTo>
                    <a:cubicBezTo>
                      <a:pt x="52" y="318"/>
                      <a:pt x="52" y="317"/>
                      <a:pt x="52" y="317"/>
                    </a:cubicBezTo>
                    <a:cubicBezTo>
                      <a:pt x="52" y="317"/>
                      <a:pt x="52" y="317"/>
                      <a:pt x="52" y="317"/>
                    </a:cubicBezTo>
                    <a:cubicBezTo>
                      <a:pt x="53" y="315"/>
                      <a:pt x="53" y="316"/>
                      <a:pt x="54" y="315"/>
                    </a:cubicBezTo>
                    <a:cubicBezTo>
                      <a:pt x="56" y="315"/>
                      <a:pt x="57" y="317"/>
                      <a:pt x="58" y="317"/>
                    </a:cubicBezTo>
                    <a:cubicBezTo>
                      <a:pt x="59" y="317"/>
                      <a:pt x="59" y="317"/>
                      <a:pt x="60" y="317"/>
                    </a:cubicBezTo>
                    <a:cubicBezTo>
                      <a:pt x="60" y="317"/>
                      <a:pt x="60" y="317"/>
                      <a:pt x="62" y="316"/>
                    </a:cubicBezTo>
                    <a:cubicBezTo>
                      <a:pt x="62" y="316"/>
                      <a:pt x="62" y="315"/>
                      <a:pt x="63" y="315"/>
                    </a:cubicBezTo>
                    <a:cubicBezTo>
                      <a:pt x="63" y="315"/>
                      <a:pt x="63" y="315"/>
                      <a:pt x="63" y="315"/>
                    </a:cubicBezTo>
                    <a:cubicBezTo>
                      <a:pt x="64" y="315"/>
                      <a:pt x="66" y="317"/>
                      <a:pt x="67" y="317"/>
                    </a:cubicBezTo>
                    <a:cubicBezTo>
                      <a:pt x="67" y="317"/>
                      <a:pt x="67" y="317"/>
                      <a:pt x="67" y="317"/>
                    </a:cubicBezTo>
                    <a:cubicBezTo>
                      <a:pt x="68" y="317"/>
                      <a:pt x="69" y="317"/>
                      <a:pt x="69" y="316"/>
                    </a:cubicBezTo>
                    <a:cubicBezTo>
                      <a:pt x="69" y="317"/>
                      <a:pt x="69" y="317"/>
                      <a:pt x="69" y="317"/>
                    </a:cubicBezTo>
                    <a:cubicBezTo>
                      <a:pt x="70" y="317"/>
                      <a:pt x="71" y="316"/>
                      <a:pt x="72" y="316"/>
                    </a:cubicBezTo>
                    <a:cubicBezTo>
                      <a:pt x="73" y="316"/>
                      <a:pt x="74" y="317"/>
                      <a:pt x="76" y="318"/>
                    </a:cubicBezTo>
                    <a:cubicBezTo>
                      <a:pt x="75" y="318"/>
                      <a:pt x="73" y="317"/>
                      <a:pt x="72" y="317"/>
                    </a:cubicBezTo>
                    <a:cubicBezTo>
                      <a:pt x="72" y="317"/>
                      <a:pt x="72" y="317"/>
                      <a:pt x="72" y="317"/>
                    </a:cubicBezTo>
                    <a:cubicBezTo>
                      <a:pt x="71" y="317"/>
                      <a:pt x="71" y="318"/>
                      <a:pt x="71" y="318"/>
                    </a:cubicBezTo>
                    <a:cubicBezTo>
                      <a:pt x="70" y="318"/>
                      <a:pt x="70" y="318"/>
                      <a:pt x="69" y="318"/>
                    </a:cubicBezTo>
                    <a:cubicBezTo>
                      <a:pt x="68" y="318"/>
                      <a:pt x="68" y="318"/>
                      <a:pt x="68" y="318"/>
                    </a:cubicBezTo>
                    <a:cubicBezTo>
                      <a:pt x="66" y="318"/>
                      <a:pt x="65" y="317"/>
                      <a:pt x="64" y="317"/>
                    </a:cubicBezTo>
                    <a:cubicBezTo>
                      <a:pt x="64" y="317"/>
                      <a:pt x="64" y="317"/>
                      <a:pt x="64" y="317"/>
                    </a:cubicBezTo>
                    <a:cubicBezTo>
                      <a:pt x="62" y="317"/>
                      <a:pt x="61" y="318"/>
                      <a:pt x="60" y="318"/>
                    </a:cubicBezTo>
                    <a:cubicBezTo>
                      <a:pt x="60" y="318"/>
                      <a:pt x="60" y="318"/>
                      <a:pt x="60" y="318"/>
                    </a:cubicBezTo>
                    <a:cubicBezTo>
                      <a:pt x="60" y="318"/>
                      <a:pt x="59" y="318"/>
                      <a:pt x="59" y="318"/>
                    </a:cubicBezTo>
                    <a:cubicBezTo>
                      <a:pt x="58" y="318"/>
                      <a:pt x="58" y="318"/>
                      <a:pt x="57" y="318"/>
                    </a:cubicBezTo>
                    <a:cubicBezTo>
                      <a:pt x="56" y="318"/>
                      <a:pt x="56" y="318"/>
                      <a:pt x="55" y="319"/>
                    </a:cubicBezTo>
                    <a:cubicBezTo>
                      <a:pt x="53" y="322"/>
                      <a:pt x="60" y="330"/>
                      <a:pt x="62" y="334"/>
                    </a:cubicBezTo>
                    <a:cubicBezTo>
                      <a:pt x="60" y="332"/>
                      <a:pt x="58" y="332"/>
                      <a:pt x="57" y="330"/>
                    </a:cubicBezTo>
                    <a:cubicBezTo>
                      <a:pt x="56" y="330"/>
                      <a:pt x="55" y="330"/>
                      <a:pt x="55" y="329"/>
                    </a:cubicBezTo>
                    <a:cubicBezTo>
                      <a:pt x="55" y="328"/>
                      <a:pt x="55" y="325"/>
                      <a:pt x="55" y="325"/>
                    </a:cubicBezTo>
                    <a:cubicBezTo>
                      <a:pt x="54" y="324"/>
                      <a:pt x="54" y="324"/>
                      <a:pt x="54" y="324"/>
                    </a:cubicBezTo>
                    <a:cubicBezTo>
                      <a:pt x="52" y="324"/>
                      <a:pt x="51" y="330"/>
                      <a:pt x="52" y="331"/>
                    </a:cubicBezTo>
                    <a:cubicBezTo>
                      <a:pt x="52" y="333"/>
                      <a:pt x="54" y="335"/>
                      <a:pt x="54" y="338"/>
                    </a:cubicBezTo>
                    <a:cubicBezTo>
                      <a:pt x="55" y="341"/>
                      <a:pt x="54" y="341"/>
                      <a:pt x="58" y="343"/>
                    </a:cubicBezTo>
                    <a:cubicBezTo>
                      <a:pt x="60" y="344"/>
                      <a:pt x="63" y="346"/>
                      <a:pt x="65" y="347"/>
                    </a:cubicBezTo>
                    <a:cubicBezTo>
                      <a:pt x="65" y="347"/>
                      <a:pt x="65" y="347"/>
                      <a:pt x="65" y="347"/>
                    </a:cubicBezTo>
                    <a:cubicBezTo>
                      <a:pt x="65" y="347"/>
                      <a:pt x="65" y="347"/>
                      <a:pt x="65" y="347"/>
                    </a:cubicBezTo>
                    <a:cubicBezTo>
                      <a:pt x="65" y="347"/>
                      <a:pt x="65" y="346"/>
                      <a:pt x="65" y="346"/>
                    </a:cubicBezTo>
                    <a:cubicBezTo>
                      <a:pt x="66" y="346"/>
                      <a:pt x="66" y="347"/>
                      <a:pt x="66" y="347"/>
                    </a:cubicBezTo>
                    <a:cubicBezTo>
                      <a:pt x="67" y="348"/>
                      <a:pt x="69" y="353"/>
                      <a:pt x="68" y="355"/>
                    </a:cubicBezTo>
                    <a:cubicBezTo>
                      <a:pt x="67" y="355"/>
                      <a:pt x="67" y="356"/>
                      <a:pt x="66" y="356"/>
                    </a:cubicBezTo>
                    <a:cubicBezTo>
                      <a:pt x="66" y="356"/>
                      <a:pt x="66" y="356"/>
                      <a:pt x="66" y="355"/>
                    </a:cubicBezTo>
                    <a:cubicBezTo>
                      <a:pt x="66" y="355"/>
                      <a:pt x="66" y="355"/>
                      <a:pt x="65" y="355"/>
                    </a:cubicBezTo>
                    <a:cubicBezTo>
                      <a:pt x="65" y="355"/>
                      <a:pt x="65" y="355"/>
                      <a:pt x="65" y="356"/>
                    </a:cubicBezTo>
                    <a:cubicBezTo>
                      <a:pt x="64" y="357"/>
                      <a:pt x="65" y="358"/>
                      <a:pt x="65" y="360"/>
                    </a:cubicBezTo>
                    <a:cubicBezTo>
                      <a:pt x="66" y="361"/>
                      <a:pt x="66" y="362"/>
                      <a:pt x="66" y="363"/>
                    </a:cubicBezTo>
                    <a:cubicBezTo>
                      <a:pt x="68" y="368"/>
                      <a:pt x="73" y="372"/>
                      <a:pt x="76" y="376"/>
                    </a:cubicBezTo>
                    <a:cubicBezTo>
                      <a:pt x="80" y="380"/>
                      <a:pt x="83" y="384"/>
                      <a:pt x="87" y="388"/>
                    </a:cubicBezTo>
                    <a:cubicBezTo>
                      <a:pt x="89" y="389"/>
                      <a:pt x="89" y="390"/>
                      <a:pt x="89" y="391"/>
                    </a:cubicBezTo>
                    <a:cubicBezTo>
                      <a:pt x="90" y="392"/>
                      <a:pt x="89" y="393"/>
                      <a:pt x="91" y="394"/>
                    </a:cubicBezTo>
                    <a:cubicBezTo>
                      <a:pt x="92" y="395"/>
                      <a:pt x="95" y="397"/>
                      <a:pt x="95" y="399"/>
                    </a:cubicBezTo>
                    <a:cubicBezTo>
                      <a:pt x="95" y="399"/>
                      <a:pt x="94" y="400"/>
                      <a:pt x="95" y="400"/>
                    </a:cubicBezTo>
                    <a:cubicBezTo>
                      <a:pt x="95" y="401"/>
                      <a:pt x="95" y="403"/>
                      <a:pt x="95" y="404"/>
                    </a:cubicBezTo>
                    <a:cubicBezTo>
                      <a:pt x="95" y="405"/>
                      <a:pt x="95" y="407"/>
                      <a:pt x="95" y="408"/>
                    </a:cubicBezTo>
                    <a:cubicBezTo>
                      <a:pt x="95" y="409"/>
                      <a:pt x="94" y="410"/>
                      <a:pt x="95" y="410"/>
                    </a:cubicBezTo>
                    <a:cubicBezTo>
                      <a:pt x="98" y="411"/>
                      <a:pt x="101" y="412"/>
                      <a:pt x="104" y="413"/>
                    </a:cubicBezTo>
                    <a:cubicBezTo>
                      <a:pt x="105" y="413"/>
                      <a:pt x="105" y="413"/>
                      <a:pt x="105" y="413"/>
                    </a:cubicBezTo>
                    <a:cubicBezTo>
                      <a:pt x="106" y="413"/>
                      <a:pt x="106" y="414"/>
                      <a:pt x="107" y="415"/>
                    </a:cubicBezTo>
                    <a:cubicBezTo>
                      <a:pt x="109" y="414"/>
                      <a:pt x="110" y="414"/>
                      <a:pt x="110" y="413"/>
                    </a:cubicBezTo>
                    <a:cubicBezTo>
                      <a:pt x="111" y="414"/>
                      <a:pt x="112" y="414"/>
                      <a:pt x="113" y="414"/>
                    </a:cubicBezTo>
                    <a:cubicBezTo>
                      <a:pt x="114" y="414"/>
                      <a:pt x="114" y="414"/>
                      <a:pt x="115" y="414"/>
                    </a:cubicBezTo>
                    <a:cubicBezTo>
                      <a:pt x="116" y="414"/>
                      <a:pt x="116" y="414"/>
                      <a:pt x="117" y="414"/>
                    </a:cubicBezTo>
                    <a:cubicBezTo>
                      <a:pt x="117" y="414"/>
                      <a:pt x="118" y="414"/>
                      <a:pt x="118" y="414"/>
                    </a:cubicBezTo>
                    <a:cubicBezTo>
                      <a:pt x="119" y="414"/>
                      <a:pt x="120" y="414"/>
                      <a:pt x="121" y="415"/>
                    </a:cubicBezTo>
                    <a:cubicBezTo>
                      <a:pt x="125" y="416"/>
                      <a:pt x="128" y="419"/>
                      <a:pt x="132" y="421"/>
                    </a:cubicBezTo>
                    <a:cubicBezTo>
                      <a:pt x="133" y="422"/>
                      <a:pt x="136" y="424"/>
                      <a:pt x="137" y="424"/>
                    </a:cubicBezTo>
                    <a:cubicBezTo>
                      <a:pt x="137" y="424"/>
                      <a:pt x="137" y="424"/>
                      <a:pt x="137" y="424"/>
                    </a:cubicBezTo>
                    <a:cubicBezTo>
                      <a:pt x="138" y="424"/>
                      <a:pt x="139" y="424"/>
                      <a:pt x="139" y="424"/>
                    </a:cubicBezTo>
                    <a:cubicBezTo>
                      <a:pt x="140" y="424"/>
                      <a:pt x="141" y="424"/>
                      <a:pt x="142" y="424"/>
                    </a:cubicBezTo>
                    <a:cubicBezTo>
                      <a:pt x="143" y="424"/>
                      <a:pt x="143" y="424"/>
                      <a:pt x="143" y="424"/>
                    </a:cubicBezTo>
                    <a:cubicBezTo>
                      <a:pt x="144" y="425"/>
                      <a:pt x="144" y="426"/>
                      <a:pt x="144" y="427"/>
                    </a:cubicBezTo>
                    <a:cubicBezTo>
                      <a:pt x="144" y="426"/>
                      <a:pt x="143" y="426"/>
                      <a:pt x="142" y="426"/>
                    </a:cubicBezTo>
                    <a:cubicBezTo>
                      <a:pt x="143" y="426"/>
                      <a:pt x="144" y="427"/>
                      <a:pt x="145" y="428"/>
                    </a:cubicBezTo>
                    <a:cubicBezTo>
                      <a:pt x="145" y="429"/>
                      <a:pt x="146" y="430"/>
                      <a:pt x="146" y="431"/>
                    </a:cubicBezTo>
                    <a:cubicBezTo>
                      <a:pt x="147" y="431"/>
                      <a:pt x="147" y="431"/>
                      <a:pt x="147" y="431"/>
                    </a:cubicBezTo>
                    <a:cubicBezTo>
                      <a:pt x="148" y="431"/>
                      <a:pt x="149" y="431"/>
                      <a:pt x="150" y="431"/>
                    </a:cubicBezTo>
                    <a:cubicBezTo>
                      <a:pt x="153" y="431"/>
                      <a:pt x="154" y="433"/>
                      <a:pt x="157" y="434"/>
                    </a:cubicBezTo>
                    <a:cubicBezTo>
                      <a:pt x="159" y="436"/>
                      <a:pt x="162" y="437"/>
                      <a:pt x="164" y="439"/>
                    </a:cubicBezTo>
                    <a:cubicBezTo>
                      <a:pt x="167" y="442"/>
                      <a:pt x="168" y="444"/>
                      <a:pt x="170" y="448"/>
                    </a:cubicBezTo>
                    <a:cubicBezTo>
                      <a:pt x="172" y="452"/>
                      <a:pt x="173" y="456"/>
                      <a:pt x="175" y="460"/>
                    </a:cubicBezTo>
                    <a:cubicBezTo>
                      <a:pt x="175" y="461"/>
                      <a:pt x="176" y="461"/>
                      <a:pt x="176" y="462"/>
                    </a:cubicBezTo>
                    <a:cubicBezTo>
                      <a:pt x="176" y="462"/>
                      <a:pt x="176" y="462"/>
                      <a:pt x="176" y="462"/>
                    </a:cubicBezTo>
                    <a:cubicBezTo>
                      <a:pt x="176" y="462"/>
                      <a:pt x="176" y="462"/>
                      <a:pt x="176" y="462"/>
                    </a:cubicBezTo>
                    <a:cubicBezTo>
                      <a:pt x="181" y="460"/>
                      <a:pt x="181" y="460"/>
                      <a:pt x="181" y="460"/>
                    </a:cubicBezTo>
                    <a:cubicBezTo>
                      <a:pt x="181" y="460"/>
                      <a:pt x="186" y="459"/>
                      <a:pt x="190" y="459"/>
                    </a:cubicBezTo>
                    <a:cubicBezTo>
                      <a:pt x="192" y="459"/>
                      <a:pt x="197" y="458"/>
                      <a:pt x="202" y="458"/>
                    </a:cubicBezTo>
                    <a:cubicBezTo>
                      <a:pt x="204" y="458"/>
                      <a:pt x="204" y="458"/>
                      <a:pt x="204" y="458"/>
                    </a:cubicBezTo>
                    <a:cubicBezTo>
                      <a:pt x="209" y="457"/>
                      <a:pt x="213" y="457"/>
                      <a:pt x="214" y="457"/>
                    </a:cubicBezTo>
                    <a:cubicBezTo>
                      <a:pt x="215" y="457"/>
                      <a:pt x="217" y="457"/>
                      <a:pt x="218" y="456"/>
                    </a:cubicBezTo>
                    <a:cubicBezTo>
                      <a:pt x="223" y="456"/>
                      <a:pt x="228" y="455"/>
                      <a:pt x="231" y="455"/>
                    </a:cubicBezTo>
                    <a:cubicBezTo>
                      <a:pt x="231" y="455"/>
                      <a:pt x="232" y="455"/>
                      <a:pt x="232" y="455"/>
                    </a:cubicBezTo>
                    <a:cubicBezTo>
                      <a:pt x="233" y="455"/>
                      <a:pt x="233" y="455"/>
                      <a:pt x="233" y="455"/>
                    </a:cubicBezTo>
                    <a:cubicBezTo>
                      <a:pt x="233" y="455"/>
                      <a:pt x="233" y="455"/>
                      <a:pt x="233" y="455"/>
                    </a:cubicBezTo>
                    <a:cubicBezTo>
                      <a:pt x="243" y="457"/>
                      <a:pt x="243" y="457"/>
                      <a:pt x="243" y="457"/>
                    </a:cubicBezTo>
                    <a:cubicBezTo>
                      <a:pt x="236" y="461"/>
                      <a:pt x="236" y="461"/>
                      <a:pt x="236" y="461"/>
                    </a:cubicBezTo>
                    <a:cubicBezTo>
                      <a:pt x="235" y="461"/>
                      <a:pt x="235" y="461"/>
                      <a:pt x="235" y="461"/>
                    </a:cubicBezTo>
                    <a:cubicBezTo>
                      <a:pt x="234" y="461"/>
                      <a:pt x="234" y="461"/>
                      <a:pt x="234" y="461"/>
                    </a:cubicBezTo>
                    <a:cubicBezTo>
                      <a:pt x="234" y="462"/>
                      <a:pt x="234" y="462"/>
                      <a:pt x="234" y="462"/>
                    </a:cubicBezTo>
                    <a:cubicBezTo>
                      <a:pt x="248" y="467"/>
                      <a:pt x="285" y="480"/>
                      <a:pt x="294" y="483"/>
                    </a:cubicBezTo>
                    <a:cubicBezTo>
                      <a:pt x="322" y="491"/>
                      <a:pt x="329" y="491"/>
                      <a:pt x="355" y="491"/>
                    </a:cubicBezTo>
                    <a:cubicBezTo>
                      <a:pt x="379" y="491"/>
                      <a:pt x="379" y="491"/>
                      <a:pt x="379" y="491"/>
                    </a:cubicBezTo>
                    <a:cubicBezTo>
                      <a:pt x="380" y="490"/>
                      <a:pt x="380" y="489"/>
                      <a:pt x="380" y="489"/>
                    </a:cubicBezTo>
                    <a:cubicBezTo>
                      <a:pt x="380" y="488"/>
                      <a:pt x="380" y="487"/>
                      <a:pt x="380" y="486"/>
                    </a:cubicBezTo>
                    <a:cubicBezTo>
                      <a:pt x="380" y="486"/>
                      <a:pt x="380" y="485"/>
                      <a:pt x="380" y="485"/>
                    </a:cubicBezTo>
                    <a:cubicBezTo>
                      <a:pt x="380" y="484"/>
                      <a:pt x="379" y="482"/>
                      <a:pt x="380" y="481"/>
                    </a:cubicBezTo>
                    <a:cubicBezTo>
                      <a:pt x="381" y="480"/>
                      <a:pt x="382" y="479"/>
                      <a:pt x="384" y="479"/>
                    </a:cubicBezTo>
                    <a:cubicBezTo>
                      <a:pt x="384" y="479"/>
                      <a:pt x="384" y="479"/>
                      <a:pt x="384" y="479"/>
                    </a:cubicBezTo>
                    <a:cubicBezTo>
                      <a:pt x="386" y="480"/>
                      <a:pt x="399" y="480"/>
                      <a:pt x="411" y="480"/>
                    </a:cubicBezTo>
                    <a:cubicBezTo>
                      <a:pt x="422" y="480"/>
                      <a:pt x="422" y="480"/>
                      <a:pt x="422" y="480"/>
                    </a:cubicBezTo>
                    <a:cubicBezTo>
                      <a:pt x="428" y="480"/>
                      <a:pt x="430" y="485"/>
                      <a:pt x="431" y="487"/>
                    </a:cubicBezTo>
                    <a:cubicBezTo>
                      <a:pt x="431" y="487"/>
                      <a:pt x="431" y="487"/>
                      <a:pt x="431" y="487"/>
                    </a:cubicBezTo>
                    <a:cubicBezTo>
                      <a:pt x="431" y="488"/>
                      <a:pt x="432" y="489"/>
                      <a:pt x="435" y="490"/>
                    </a:cubicBezTo>
                    <a:cubicBezTo>
                      <a:pt x="436" y="490"/>
                      <a:pt x="439" y="493"/>
                      <a:pt x="443" y="496"/>
                    </a:cubicBezTo>
                    <a:cubicBezTo>
                      <a:pt x="449" y="500"/>
                      <a:pt x="455" y="505"/>
                      <a:pt x="458" y="507"/>
                    </a:cubicBezTo>
                    <a:cubicBezTo>
                      <a:pt x="459" y="508"/>
                      <a:pt x="459" y="508"/>
                      <a:pt x="459" y="508"/>
                    </a:cubicBezTo>
                    <a:cubicBezTo>
                      <a:pt x="460" y="509"/>
                      <a:pt x="462" y="512"/>
                      <a:pt x="465" y="517"/>
                    </a:cubicBezTo>
                    <a:cubicBezTo>
                      <a:pt x="466" y="521"/>
                      <a:pt x="467" y="524"/>
                      <a:pt x="468" y="528"/>
                    </a:cubicBezTo>
                    <a:cubicBezTo>
                      <a:pt x="469" y="535"/>
                      <a:pt x="480" y="541"/>
                      <a:pt x="485" y="544"/>
                    </a:cubicBezTo>
                    <a:cubicBezTo>
                      <a:pt x="488" y="545"/>
                      <a:pt x="488" y="545"/>
                      <a:pt x="488" y="545"/>
                    </a:cubicBezTo>
                    <a:cubicBezTo>
                      <a:pt x="491" y="547"/>
                      <a:pt x="495" y="549"/>
                      <a:pt x="499" y="549"/>
                    </a:cubicBezTo>
                    <a:cubicBezTo>
                      <a:pt x="499" y="549"/>
                      <a:pt x="499" y="549"/>
                      <a:pt x="500" y="549"/>
                    </a:cubicBezTo>
                    <a:cubicBezTo>
                      <a:pt x="501" y="549"/>
                      <a:pt x="501" y="548"/>
                      <a:pt x="502" y="547"/>
                    </a:cubicBezTo>
                    <a:cubicBezTo>
                      <a:pt x="503" y="545"/>
                      <a:pt x="504" y="544"/>
                      <a:pt x="505" y="542"/>
                    </a:cubicBezTo>
                    <a:cubicBezTo>
                      <a:pt x="507" y="536"/>
                      <a:pt x="510" y="531"/>
                      <a:pt x="516" y="531"/>
                    </a:cubicBezTo>
                    <a:cubicBezTo>
                      <a:pt x="516" y="531"/>
                      <a:pt x="516" y="531"/>
                      <a:pt x="516" y="531"/>
                    </a:cubicBezTo>
                    <a:cubicBezTo>
                      <a:pt x="516" y="530"/>
                      <a:pt x="517" y="530"/>
                      <a:pt x="517" y="529"/>
                    </a:cubicBezTo>
                    <a:cubicBezTo>
                      <a:pt x="518" y="528"/>
                      <a:pt x="520" y="528"/>
                      <a:pt x="522" y="528"/>
                    </a:cubicBezTo>
                    <a:cubicBezTo>
                      <a:pt x="523" y="528"/>
                      <a:pt x="524" y="528"/>
                      <a:pt x="525" y="528"/>
                    </a:cubicBezTo>
                    <a:cubicBezTo>
                      <a:pt x="525" y="528"/>
                      <a:pt x="526" y="529"/>
                      <a:pt x="528" y="529"/>
                    </a:cubicBezTo>
                    <a:cubicBezTo>
                      <a:pt x="530" y="530"/>
                      <a:pt x="533" y="531"/>
                      <a:pt x="535" y="531"/>
                    </a:cubicBezTo>
                    <a:cubicBezTo>
                      <a:pt x="536" y="531"/>
                      <a:pt x="536" y="530"/>
                      <a:pt x="536" y="530"/>
                    </a:cubicBezTo>
                    <a:cubicBezTo>
                      <a:pt x="537" y="530"/>
                      <a:pt x="537" y="530"/>
                      <a:pt x="538" y="530"/>
                    </a:cubicBezTo>
                    <a:cubicBezTo>
                      <a:pt x="540" y="530"/>
                      <a:pt x="543" y="532"/>
                      <a:pt x="548" y="536"/>
                    </a:cubicBezTo>
                    <a:cubicBezTo>
                      <a:pt x="549" y="537"/>
                      <a:pt x="549" y="537"/>
                      <a:pt x="550" y="538"/>
                    </a:cubicBezTo>
                    <a:cubicBezTo>
                      <a:pt x="553" y="540"/>
                      <a:pt x="557" y="544"/>
                      <a:pt x="562" y="552"/>
                    </a:cubicBezTo>
                    <a:cubicBezTo>
                      <a:pt x="567" y="562"/>
                      <a:pt x="571" y="568"/>
                      <a:pt x="576" y="575"/>
                    </a:cubicBezTo>
                    <a:cubicBezTo>
                      <a:pt x="578" y="578"/>
                      <a:pt x="580" y="580"/>
                      <a:pt x="580" y="582"/>
                    </a:cubicBezTo>
                    <a:cubicBezTo>
                      <a:pt x="580" y="583"/>
                      <a:pt x="581" y="583"/>
                      <a:pt x="584" y="584"/>
                    </a:cubicBezTo>
                    <a:cubicBezTo>
                      <a:pt x="587" y="586"/>
                      <a:pt x="589" y="590"/>
                      <a:pt x="588" y="594"/>
                    </a:cubicBezTo>
                    <a:cubicBezTo>
                      <a:pt x="588" y="595"/>
                      <a:pt x="588" y="595"/>
                      <a:pt x="588" y="595"/>
                    </a:cubicBezTo>
                    <a:cubicBezTo>
                      <a:pt x="589" y="597"/>
                      <a:pt x="591" y="601"/>
                      <a:pt x="596" y="614"/>
                    </a:cubicBezTo>
                    <a:cubicBezTo>
                      <a:pt x="596" y="615"/>
                      <a:pt x="597" y="615"/>
                      <a:pt x="602" y="617"/>
                    </a:cubicBezTo>
                    <a:cubicBezTo>
                      <a:pt x="607" y="619"/>
                      <a:pt x="610" y="620"/>
                      <a:pt x="612" y="621"/>
                    </a:cubicBezTo>
                    <a:cubicBezTo>
                      <a:pt x="612" y="621"/>
                      <a:pt x="613" y="622"/>
                      <a:pt x="613" y="622"/>
                    </a:cubicBezTo>
                    <a:cubicBezTo>
                      <a:pt x="614" y="622"/>
                      <a:pt x="614" y="622"/>
                      <a:pt x="614" y="622"/>
                    </a:cubicBezTo>
                    <a:cubicBezTo>
                      <a:pt x="615" y="623"/>
                      <a:pt x="620" y="624"/>
                      <a:pt x="622" y="624"/>
                    </a:cubicBezTo>
                    <a:cubicBezTo>
                      <a:pt x="626" y="624"/>
                      <a:pt x="630" y="626"/>
                      <a:pt x="631" y="628"/>
                    </a:cubicBezTo>
                    <a:cubicBezTo>
                      <a:pt x="632" y="628"/>
                      <a:pt x="633" y="628"/>
                      <a:pt x="636" y="627"/>
                    </a:cubicBezTo>
                    <a:cubicBezTo>
                      <a:pt x="635" y="626"/>
                      <a:pt x="635" y="624"/>
                      <a:pt x="635" y="622"/>
                    </a:cubicBezTo>
                    <a:cubicBezTo>
                      <a:pt x="633" y="617"/>
                      <a:pt x="631" y="612"/>
                      <a:pt x="630" y="607"/>
                    </a:cubicBezTo>
                    <a:cubicBezTo>
                      <a:pt x="630" y="605"/>
                      <a:pt x="630" y="604"/>
                      <a:pt x="630" y="603"/>
                    </a:cubicBezTo>
                    <a:cubicBezTo>
                      <a:pt x="630" y="603"/>
                      <a:pt x="630" y="603"/>
                      <a:pt x="630" y="603"/>
                    </a:cubicBezTo>
                    <a:cubicBezTo>
                      <a:pt x="631" y="603"/>
                      <a:pt x="631" y="603"/>
                      <a:pt x="631" y="603"/>
                    </a:cubicBezTo>
                    <a:cubicBezTo>
                      <a:pt x="631" y="602"/>
                      <a:pt x="632" y="602"/>
                      <a:pt x="632" y="602"/>
                    </a:cubicBezTo>
                    <a:cubicBezTo>
                      <a:pt x="632" y="602"/>
                      <a:pt x="632" y="602"/>
                      <a:pt x="632" y="602"/>
                    </a:cubicBezTo>
                    <a:cubicBezTo>
                      <a:pt x="632" y="601"/>
                      <a:pt x="633" y="598"/>
                      <a:pt x="633" y="597"/>
                    </a:cubicBezTo>
                    <a:cubicBezTo>
                      <a:pt x="632" y="597"/>
                      <a:pt x="631" y="597"/>
                      <a:pt x="631" y="597"/>
                    </a:cubicBezTo>
                    <a:cubicBezTo>
                      <a:pt x="629" y="597"/>
                      <a:pt x="628" y="596"/>
                      <a:pt x="625" y="596"/>
                    </a:cubicBezTo>
                    <a:cubicBezTo>
                      <a:pt x="626" y="595"/>
                      <a:pt x="625" y="593"/>
                      <a:pt x="625" y="592"/>
                    </a:cubicBezTo>
                    <a:cubicBezTo>
                      <a:pt x="627" y="593"/>
                      <a:pt x="627" y="595"/>
                      <a:pt x="629" y="596"/>
                    </a:cubicBezTo>
                    <a:cubicBezTo>
                      <a:pt x="629" y="595"/>
                      <a:pt x="629" y="595"/>
                      <a:pt x="629" y="595"/>
                    </a:cubicBezTo>
                    <a:cubicBezTo>
                      <a:pt x="630" y="595"/>
                      <a:pt x="632" y="596"/>
                      <a:pt x="631" y="596"/>
                    </a:cubicBezTo>
                    <a:cubicBezTo>
                      <a:pt x="631" y="596"/>
                      <a:pt x="632" y="596"/>
                      <a:pt x="633" y="595"/>
                    </a:cubicBezTo>
                    <a:cubicBezTo>
                      <a:pt x="634" y="594"/>
                      <a:pt x="635" y="592"/>
                      <a:pt x="635" y="590"/>
                    </a:cubicBezTo>
                    <a:cubicBezTo>
                      <a:pt x="636" y="589"/>
                      <a:pt x="637" y="587"/>
                      <a:pt x="637" y="586"/>
                    </a:cubicBezTo>
                    <a:cubicBezTo>
                      <a:pt x="637" y="585"/>
                      <a:pt x="635" y="586"/>
                      <a:pt x="635" y="585"/>
                    </a:cubicBezTo>
                    <a:cubicBezTo>
                      <a:pt x="634" y="582"/>
                      <a:pt x="634" y="584"/>
                      <a:pt x="631" y="582"/>
                    </a:cubicBezTo>
                    <a:cubicBezTo>
                      <a:pt x="631" y="582"/>
                      <a:pt x="632" y="582"/>
                      <a:pt x="632" y="582"/>
                    </a:cubicBezTo>
                    <a:cubicBezTo>
                      <a:pt x="632" y="582"/>
                      <a:pt x="633" y="582"/>
                      <a:pt x="634" y="581"/>
                    </a:cubicBezTo>
                    <a:cubicBezTo>
                      <a:pt x="635" y="581"/>
                      <a:pt x="635" y="581"/>
                      <a:pt x="636" y="581"/>
                    </a:cubicBezTo>
                    <a:cubicBezTo>
                      <a:pt x="636" y="581"/>
                      <a:pt x="637" y="581"/>
                      <a:pt x="637" y="581"/>
                    </a:cubicBezTo>
                    <a:cubicBezTo>
                      <a:pt x="638" y="582"/>
                      <a:pt x="638" y="583"/>
                      <a:pt x="638" y="583"/>
                    </a:cubicBezTo>
                    <a:cubicBezTo>
                      <a:pt x="638" y="583"/>
                      <a:pt x="639" y="582"/>
                      <a:pt x="639" y="582"/>
                    </a:cubicBezTo>
                    <a:cubicBezTo>
                      <a:pt x="641" y="581"/>
                      <a:pt x="642" y="577"/>
                      <a:pt x="643" y="576"/>
                    </a:cubicBezTo>
                    <a:cubicBezTo>
                      <a:pt x="642" y="576"/>
                      <a:pt x="642" y="576"/>
                      <a:pt x="642" y="576"/>
                    </a:cubicBezTo>
                    <a:cubicBezTo>
                      <a:pt x="641" y="576"/>
                      <a:pt x="640" y="575"/>
                      <a:pt x="639" y="574"/>
                    </a:cubicBezTo>
                    <a:cubicBezTo>
                      <a:pt x="640" y="574"/>
                      <a:pt x="640" y="575"/>
                      <a:pt x="640" y="575"/>
                    </a:cubicBezTo>
                    <a:cubicBezTo>
                      <a:pt x="641" y="575"/>
                      <a:pt x="642" y="574"/>
                      <a:pt x="643" y="573"/>
                    </a:cubicBezTo>
                    <a:cubicBezTo>
                      <a:pt x="643" y="574"/>
                      <a:pt x="643" y="575"/>
                      <a:pt x="643" y="575"/>
                    </a:cubicBezTo>
                    <a:cubicBezTo>
                      <a:pt x="644" y="574"/>
                      <a:pt x="644" y="573"/>
                      <a:pt x="645" y="572"/>
                    </a:cubicBezTo>
                    <a:cubicBezTo>
                      <a:pt x="645" y="573"/>
                      <a:pt x="645" y="574"/>
                      <a:pt x="644" y="575"/>
                    </a:cubicBezTo>
                    <a:cubicBezTo>
                      <a:pt x="645" y="574"/>
                      <a:pt x="646" y="567"/>
                      <a:pt x="648" y="566"/>
                    </a:cubicBezTo>
                    <a:cubicBezTo>
                      <a:pt x="648" y="566"/>
                      <a:pt x="648" y="566"/>
                      <a:pt x="648" y="566"/>
                    </a:cubicBezTo>
                    <a:cubicBezTo>
                      <a:pt x="648" y="566"/>
                      <a:pt x="650" y="569"/>
                      <a:pt x="650" y="569"/>
                    </a:cubicBezTo>
                    <a:cubicBezTo>
                      <a:pt x="651" y="570"/>
                      <a:pt x="650" y="570"/>
                      <a:pt x="651" y="570"/>
                    </a:cubicBezTo>
                    <a:cubicBezTo>
                      <a:pt x="651" y="570"/>
                      <a:pt x="652" y="570"/>
                      <a:pt x="652" y="570"/>
                    </a:cubicBezTo>
                    <a:cubicBezTo>
                      <a:pt x="653" y="570"/>
                      <a:pt x="656" y="568"/>
                      <a:pt x="657" y="567"/>
                    </a:cubicBezTo>
                    <a:cubicBezTo>
                      <a:pt x="654" y="566"/>
                      <a:pt x="652" y="563"/>
                      <a:pt x="651" y="560"/>
                    </a:cubicBezTo>
                    <a:cubicBezTo>
                      <a:pt x="652" y="560"/>
                      <a:pt x="652" y="560"/>
                      <a:pt x="652" y="560"/>
                    </a:cubicBezTo>
                    <a:cubicBezTo>
                      <a:pt x="653" y="560"/>
                      <a:pt x="653" y="562"/>
                      <a:pt x="654" y="562"/>
                    </a:cubicBezTo>
                    <a:cubicBezTo>
                      <a:pt x="654" y="563"/>
                      <a:pt x="655" y="563"/>
                      <a:pt x="656" y="563"/>
                    </a:cubicBezTo>
                    <a:cubicBezTo>
                      <a:pt x="657" y="563"/>
                      <a:pt x="658" y="562"/>
                      <a:pt x="656" y="559"/>
                    </a:cubicBezTo>
                    <a:cubicBezTo>
                      <a:pt x="657" y="560"/>
                      <a:pt x="657" y="562"/>
                      <a:pt x="658" y="562"/>
                    </a:cubicBezTo>
                    <a:cubicBezTo>
                      <a:pt x="658" y="562"/>
                      <a:pt x="658" y="562"/>
                      <a:pt x="658" y="562"/>
                    </a:cubicBezTo>
                    <a:cubicBezTo>
                      <a:pt x="659" y="562"/>
                      <a:pt x="660" y="561"/>
                      <a:pt x="662" y="561"/>
                    </a:cubicBezTo>
                    <a:cubicBezTo>
                      <a:pt x="661" y="563"/>
                      <a:pt x="661" y="563"/>
                      <a:pt x="662" y="563"/>
                    </a:cubicBezTo>
                    <a:cubicBezTo>
                      <a:pt x="662" y="563"/>
                      <a:pt x="663" y="563"/>
                      <a:pt x="663" y="563"/>
                    </a:cubicBezTo>
                    <a:cubicBezTo>
                      <a:pt x="664" y="563"/>
                      <a:pt x="665" y="563"/>
                      <a:pt x="665" y="563"/>
                    </a:cubicBezTo>
                    <a:cubicBezTo>
                      <a:pt x="666" y="563"/>
                      <a:pt x="666" y="563"/>
                      <a:pt x="666" y="563"/>
                    </a:cubicBezTo>
                    <a:cubicBezTo>
                      <a:pt x="665" y="564"/>
                      <a:pt x="663" y="565"/>
                      <a:pt x="661" y="566"/>
                    </a:cubicBezTo>
                    <a:cubicBezTo>
                      <a:pt x="665" y="565"/>
                      <a:pt x="670" y="563"/>
                      <a:pt x="673" y="560"/>
                    </a:cubicBezTo>
                    <a:cubicBezTo>
                      <a:pt x="672" y="561"/>
                      <a:pt x="670" y="561"/>
                      <a:pt x="669" y="561"/>
                    </a:cubicBezTo>
                    <a:cubicBezTo>
                      <a:pt x="669" y="561"/>
                      <a:pt x="668" y="561"/>
                      <a:pt x="668" y="561"/>
                    </a:cubicBezTo>
                    <a:cubicBezTo>
                      <a:pt x="671" y="560"/>
                      <a:pt x="674" y="560"/>
                      <a:pt x="677" y="558"/>
                    </a:cubicBezTo>
                    <a:cubicBezTo>
                      <a:pt x="681" y="556"/>
                      <a:pt x="682" y="553"/>
                      <a:pt x="684" y="550"/>
                    </a:cubicBezTo>
                    <a:cubicBezTo>
                      <a:pt x="685" y="549"/>
                      <a:pt x="686" y="548"/>
                      <a:pt x="686" y="548"/>
                    </a:cubicBezTo>
                    <a:cubicBezTo>
                      <a:pt x="686" y="548"/>
                      <a:pt x="686" y="549"/>
                      <a:pt x="686" y="549"/>
                    </a:cubicBezTo>
                    <a:cubicBezTo>
                      <a:pt x="687" y="549"/>
                      <a:pt x="687" y="549"/>
                      <a:pt x="687" y="549"/>
                    </a:cubicBezTo>
                    <a:cubicBezTo>
                      <a:pt x="687" y="549"/>
                      <a:pt x="687" y="549"/>
                      <a:pt x="687" y="549"/>
                    </a:cubicBezTo>
                    <a:cubicBezTo>
                      <a:pt x="689" y="548"/>
                      <a:pt x="692" y="545"/>
                      <a:pt x="694" y="544"/>
                    </a:cubicBezTo>
                    <a:cubicBezTo>
                      <a:pt x="693" y="543"/>
                      <a:pt x="692" y="543"/>
                      <a:pt x="692" y="542"/>
                    </a:cubicBezTo>
                    <a:cubicBezTo>
                      <a:pt x="691" y="543"/>
                      <a:pt x="691" y="543"/>
                      <a:pt x="691" y="543"/>
                    </a:cubicBezTo>
                    <a:cubicBezTo>
                      <a:pt x="690" y="542"/>
                      <a:pt x="692" y="541"/>
                      <a:pt x="691" y="541"/>
                    </a:cubicBezTo>
                    <a:cubicBezTo>
                      <a:pt x="691" y="540"/>
                      <a:pt x="690" y="541"/>
                      <a:pt x="689" y="540"/>
                    </a:cubicBezTo>
                    <a:cubicBezTo>
                      <a:pt x="689" y="539"/>
                      <a:pt x="690" y="539"/>
                      <a:pt x="690" y="538"/>
                    </a:cubicBezTo>
                    <a:cubicBezTo>
                      <a:pt x="689" y="537"/>
                      <a:pt x="689" y="536"/>
                      <a:pt x="688" y="535"/>
                    </a:cubicBezTo>
                    <a:cubicBezTo>
                      <a:pt x="688" y="535"/>
                      <a:pt x="688" y="535"/>
                      <a:pt x="688" y="535"/>
                    </a:cubicBezTo>
                    <a:cubicBezTo>
                      <a:pt x="689" y="535"/>
                      <a:pt x="691" y="535"/>
                      <a:pt x="691" y="536"/>
                    </a:cubicBezTo>
                    <a:cubicBezTo>
                      <a:pt x="692" y="536"/>
                      <a:pt x="693" y="533"/>
                      <a:pt x="695" y="533"/>
                    </a:cubicBezTo>
                    <a:cubicBezTo>
                      <a:pt x="695" y="533"/>
                      <a:pt x="695" y="533"/>
                      <a:pt x="695" y="533"/>
                    </a:cubicBezTo>
                    <a:cubicBezTo>
                      <a:pt x="696" y="534"/>
                      <a:pt x="696" y="535"/>
                      <a:pt x="696" y="536"/>
                    </a:cubicBezTo>
                    <a:cubicBezTo>
                      <a:pt x="694" y="540"/>
                      <a:pt x="693" y="539"/>
                      <a:pt x="696" y="539"/>
                    </a:cubicBezTo>
                    <a:cubicBezTo>
                      <a:pt x="696" y="539"/>
                      <a:pt x="696" y="539"/>
                      <a:pt x="696" y="539"/>
                    </a:cubicBezTo>
                    <a:cubicBezTo>
                      <a:pt x="697" y="539"/>
                      <a:pt x="698" y="539"/>
                      <a:pt x="698" y="539"/>
                    </a:cubicBezTo>
                    <a:cubicBezTo>
                      <a:pt x="699" y="539"/>
                      <a:pt x="699" y="539"/>
                      <a:pt x="700" y="539"/>
                    </a:cubicBezTo>
                    <a:cubicBezTo>
                      <a:pt x="700" y="539"/>
                      <a:pt x="701" y="539"/>
                      <a:pt x="702" y="539"/>
                    </a:cubicBezTo>
                    <a:cubicBezTo>
                      <a:pt x="700" y="540"/>
                      <a:pt x="695" y="542"/>
                      <a:pt x="694" y="544"/>
                    </a:cubicBezTo>
                    <a:cubicBezTo>
                      <a:pt x="694" y="544"/>
                      <a:pt x="694" y="544"/>
                      <a:pt x="695" y="544"/>
                    </a:cubicBezTo>
                    <a:cubicBezTo>
                      <a:pt x="695" y="544"/>
                      <a:pt x="697" y="542"/>
                      <a:pt x="697" y="542"/>
                    </a:cubicBezTo>
                    <a:cubicBezTo>
                      <a:pt x="698" y="542"/>
                      <a:pt x="700" y="541"/>
                      <a:pt x="702" y="540"/>
                    </a:cubicBezTo>
                    <a:cubicBezTo>
                      <a:pt x="704" y="539"/>
                      <a:pt x="706" y="538"/>
                      <a:pt x="708" y="538"/>
                    </a:cubicBezTo>
                    <a:cubicBezTo>
                      <a:pt x="711" y="536"/>
                      <a:pt x="713" y="537"/>
                      <a:pt x="716" y="536"/>
                    </a:cubicBezTo>
                    <a:cubicBezTo>
                      <a:pt x="714" y="534"/>
                      <a:pt x="717" y="530"/>
                      <a:pt x="717" y="528"/>
                    </a:cubicBezTo>
                    <a:cubicBezTo>
                      <a:pt x="717" y="530"/>
                      <a:pt x="716" y="533"/>
                      <a:pt x="716" y="535"/>
                    </a:cubicBezTo>
                    <a:cubicBezTo>
                      <a:pt x="720" y="533"/>
                      <a:pt x="723" y="534"/>
                      <a:pt x="727" y="533"/>
                    </a:cubicBezTo>
                    <a:cubicBezTo>
                      <a:pt x="729" y="533"/>
                      <a:pt x="726" y="532"/>
                      <a:pt x="726" y="532"/>
                    </a:cubicBezTo>
                    <a:cubicBezTo>
                      <a:pt x="726" y="531"/>
                      <a:pt x="726" y="531"/>
                      <a:pt x="726" y="531"/>
                    </a:cubicBezTo>
                    <a:cubicBezTo>
                      <a:pt x="726" y="531"/>
                      <a:pt x="727" y="531"/>
                      <a:pt x="727" y="531"/>
                    </a:cubicBezTo>
                    <a:cubicBezTo>
                      <a:pt x="728" y="530"/>
                      <a:pt x="728" y="530"/>
                      <a:pt x="728" y="530"/>
                    </a:cubicBezTo>
                    <a:cubicBezTo>
                      <a:pt x="728" y="529"/>
                      <a:pt x="728" y="527"/>
                      <a:pt x="728" y="526"/>
                    </a:cubicBezTo>
                    <a:cubicBezTo>
                      <a:pt x="730" y="526"/>
                      <a:pt x="729" y="527"/>
                      <a:pt x="730" y="528"/>
                    </a:cubicBezTo>
                    <a:cubicBezTo>
                      <a:pt x="732" y="532"/>
                      <a:pt x="739" y="533"/>
                      <a:pt x="743" y="535"/>
                    </a:cubicBezTo>
                    <a:cubicBezTo>
                      <a:pt x="746" y="537"/>
                      <a:pt x="749" y="539"/>
                      <a:pt x="753" y="539"/>
                    </a:cubicBezTo>
                    <a:cubicBezTo>
                      <a:pt x="753" y="539"/>
                      <a:pt x="753" y="539"/>
                      <a:pt x="754" y="539"/>
                    </a:cubicBezTo>
                    <a:cubicBezTo>
                      <a:pt x="755" y="539"/>
                      <a:pt x="756" y="538"/>
                      <a:pt x="758" y="538"/>
                    </a:cubicBezTo>
                    <a:cubicBezTo>
                      <a:pt x="757" y="538"/>
                      <a:pt x="755" y="536"/>
                      <a:pt x="755" y="536"/>
                    </a:cubicBezTo>
                    <a:cubicBezTo>
                      <a:pt x="755" y="535"/>
                      <a:pt x="755" y="535"/>
                      <a:pt x="755" y="535"/>
                    </a:cubicBezTo>
                    <a:cubicBezTo>
                      <a:pt x="755" y="535"/>
                      <a:pt x="755" y="535"/>
                      <a:pt x="755" y="535"/>
                    </a:cubicBezTo>
                    <a:cubicBezTo>
                      <a:pt x="755" y="535"/>
                      <a:pt x="755" y="535"/>
                      <a:pt x="755" y="535"/>
                    </a:cubicBezTo>
                    <a:cubicBezTo>
                      <a:pt x="755" y="535"/>
                      <a:pt x="756" y="535"/>
                      <a:pt x="756" y="535"/>
                    </a:cubicBezTo>
                    <a:cubicBezTo>
                      <a:pt x="757" y="534"/>
                      <a:pt x="761" y="532"/>
                      <a:pt x="763" y="532"/>
                    </a:cubicBezTo>
                    <a:cubicBezTo>
                      <a:pt x="763" y="532"/>
                      <a:pt x="763" y="532"/>
                      <a:pt x="763" y="532"/>
                    </a:cubicBezTo>
                    <a:cubicBezTo>
                      <a:pt x="764" y="532"/>
                      <a:pt x="767" y="534"/>
                      <a:pt x="768" y="535"/>
                    </a:cubicBezTo>
                    <a:cubicBezTo>
                      <a:pt x="768" y="535"/>
                      <a:pt x="768" y="536"/>
                      <a:pt x="769" y="537"/>
                    </a:cubicBezTo>
                    <a:cubicBezTo>
                      <a:pt x="769" y="538"/>
                      <a:pt x="774" y="541"/>
                      <a:pt x="775" y="541"/>
                    </a:cubicBezTo>
                    <a:cubicBezTo>
                      <a:pt x="775" y="541"/>
                      <a:pt x="775" y="541"/>
                      <a:pt x="775" y="541"/>
                    </a:cubicBezTo>
                    <a:cubicBezTo>
                      <a:pt x="776" y="540"/>
                      <a:pt x="777" y="538"/>
                      <a:pt x="777" y="538"/>
                    </a:cubicBezTo>
                    <a:cubicBezTo>
                      <a:pt x="777" y="539"/>
                      <a:pt x="776" y="540"/>
                      <a:pt x="776" y="541"/>
                    </a:cubicBezTo>
                    <a:cubicBezTo>
                      <a:pt x="776" y="543"/>
                      <a:pt x="778" y="543"/>
                      <a:pt x="779" y="544"/>
                    </a:cubicBezTo>
                    <a:cubicBezTo>
                      <a:pt x="782" y="546"/>
                      <a:pt x="785" y="550"/>
                      <a:pt x="788" y="550"/>
                    </a:cubicBezTo>
                    <a:cubicBezTo>
                      <a:pt x="789" y="550"/>
                      <a:pt x="789" y="550"/>
                      <a:pt x="790" y="549"/>
                    </a:cubicBezTo>
                    <a:cubicBezTo>
                      <a:pt x="791" y="549"/>
                      <a:pt x="792" y="547"/>
                      <a:pt x="792" y="546"/>
                    </a:cubicBezTo>
                    <a:cubicBezTo>
                      <a:pt x="793" y="545"/>
                      <a:pt x="794" y="545"/>
                      <a:pt x="796" y="545"/>
                    </a:cubicBezTo>
                    <a:cubicBezTo>
                      <a:pt x="797" y="545"/>
                      <a:pt x="799" y="546"/>
                      <a:pt x="800" y="547"/>
                    </a:cubicBezTo>
                    <a:cubicBezTo>
                      <a:pt x="800" y="549"/>
                      <a:pt x="799" y="551"/>
                      <a:pt x="800" y="551"/>
                    </a:cubicBezTo>
                    <a:cubicBezTo>
                      <a:pt x="801" y="551"/>
                      <a:pt x="801" y="551"/>
                      <a:pt x="802" y="550"/>
                    </a:cubicBezTo>
                    <a:cubicBezTo>
                      <a:pt x="805" y="549"/>
                      <a:pt x="802" y="546"/>
                      <a:pt x="805" y="546"/>
                    </a:cubicBezTo>
                    <a:cubicBezTo>
                      <a:pt x="805" y="546"/>
                      <a:pt x="805" y="546"/>
                      <a:pt x="805" y="546"/>
                    </a:cubicBezTo>
                    <a:cubicBezTo>
                      <a:pt x="804" y="545"/>
                      <a:pt x="805" y="544"/>
                      <a:pt x="804" y="543"/>
                    </a:cubicBezTo>
                    <a:cubicBezTo>
                      <a:pt x="804" y="543"/>
                      <a:pt x="805" y="543"/>
                      <a:pt x="804" y="542"/>
                    </a:cubicBezTo>
                    <a:cubicBezTo>
                      <a:pt x="804" y="541"/>
                      <a:pt x="802" y="541"/>
                      <a:pt x="801" y="539"/>
                    </a:cubicBezTo>
                    <a:cubicBezTo>
                      <a:pt x="803" y="539"/>
                      <a:pt x="811" y="541"/>
                      <a:pt x="809" y="542"/>
                    </a:cubicBezTo>
                    <a:cubicBezTo>
                      <a:pt x="812" y="544"/>
                      <a:pt x="814" y="545"/>
                      <a:pt x="818" y="547"/>
                    </a:cubicBezTo>
                    <a:cubicBezTo>
                      <a:pt x="818" y="548"/>
                      <a:pt x="818" y="549"/>
                      <a:pt x="819" y="550"/>
                    </a:cubicBezTo>
                    <a:cubicBezTo>
                      <a:pt x="820" y="550"/>
                      <a:pt x="820" y="550"/>
                      <a:pt x="820" y="550"/>
                    </a:cubicBezTo>
                    <a:cubicBezTo>
                      <a:pt x="820" y="550"/>
                      <a:pt x="821" y="550"/>
                      <a:pt x="821" y="549"/>
                    </a:cubicBezTo>
                    <a:cubicBezTo>
                      <a:pt x="821" y="549"/>
                      <a:pt x="822" y="549"/>
                      <a:pt x="822" y="549"/>
                    </a:cubicBezTo>
                    <a:cubicBezTo>
                      <a:pt x="822" y="549"/>
                      <a:pt x="822" y="549"/>
                      <a:pt x="822" y="550"/>
                    </a:cubicBezTo>
                    <a:cubicBezTo>
                      <a:pt x="822" y="551"/>
                      <a:pt x="820" y="554"/>
                      <a:pt x="820" y="555"/>
                    </a:cubicBezTo>
                    <a:cubicBezTo>
                      <a:pt x="821" y="554"/>
                      <a:pt x="824" y="554"/>
                      <a:pt x="826" y="553"/>
                    </a:cubicBezTo>
                    <a:cubicBezTo>
                      <a:pt x="825" y="552"/>
                      <a:pt x="829" y="549"/>
                      <a:pt x="827" y="549"/>
                    </a:cubicBezTo>
                    <a:cubicBezTo>
                      <a:pt x="827" y="549"/>
                      <a:pt x="827" y="549"/>
                      <a:pt x="826" y="550"/>
                    </a:cubicBezTo>
                    <a:cubicBezTo>
                      <a:pt x="828" y="549"/>
                      <a:pt x="828" y="549"/>
                      <a:pt x="828" y="548"/>
                    </a:cubicBezTo>
                    <a:cubicBezTo>
                      <a:pt x="827" y="548"/>
                      <a:pt x="826" y="548"/>
                      <a:pt x="825" y="547"/>
                    </a:cubicBezTo>
                    <a:cubicBezTo>
                      <a:pt x="828" y="546"/>
                      <a:pt x="821" y="544"/>
                      <a:pt x="820" y="544"/>
                    </a:cubicBezTo>
                    <a:cubicBezTo>
                      <a:pt x="821" y="543"/>
                      <a:pt x="821" y="543"/>
                      <a:pt x="821" y="543"/>
                    </a:cubicBezTo>
                    <a:cubicBezTo>
                      <a:pt x="819" y="543"/>
                      <a:pt x="818" y="543"/>
                      <a:pt x="816" y="543"/>
                    </a:cubicBezTo>
                    <a:cubicBezTo>
                      <a:pt x="817" y="543"/>
                      <a:pt x="817" y="543"/>
                      <a:pt x="817" y="543"/>
                    </a:cubicBezTo>
                    <a:cubicBezTo>
                      <a:pt x="817" y="542"/>
                      <a:pt x="816" y="543"/>
                      <a:pt x="817" y="541"/>
                    </a:cubicBezTo>
                    <a:cubicBezTo>
                      <a:pt x="814" y="540"/>
                      <a:pt x="813" y="540"/>
                      <a:pt x="812" y="538"/>
                    </a:cubicBezTo>
                    <a:cubicBezTo>
                      <a:pt x="814" y="538"/>
                      <a:pt x="816" y="538"/>
                      <a:pt x="817" y="537"/>
                    </a:cubicBezTo>
                    <a:cubicBezTo>
                      <a:pt x="817" y="537"/>
                      <a:pt x="817" y="536"/>
                      <a:pt x="816" y="536"/>
                    </a:cubicBezTo>
                    <a:cubicBezTo>
                      <a:pt x="817" y="536"/>
                      <a:pt x="817" y="536"/>
                      <a:pt x="817" y="536"/>
                    </a:cubicBezTo>
                    <a:cubicBezTo>
                      <a:pt x="817" y="536"/>
                      <a:pt x="817" y="536"/>
                      <a:pt x="817" y="536"/>
                    </a:cubicBezTo>
                    <a:cubicBezTo>
                      <a:pt x="816" y="536"/>
                      <a:pt x="814" y="536"/>
                      <a:pt x="815" y="535"/>
                    </a:cubicBezTo>
                    <a:cubicBezTo>
                      <a:pt x="815" y="534"/>
                      <a:pt x="819" y="534"/>
                      <a:pt x="821" y="533"/>
                    </a:cubicBezTo>
                    <a:cubicBezTo>
                      <a:pt x="820" y="532"/>
                      <a:pt x="820" y="532"/>
                      <a:pt x="821" y="531"/>
                    </a:cubicBezTo>
                    <a:cubicBezTo>
                      <a:pt x="820" y="531"/>
                      <a:pt x="820" y="531"/>
                      <a:pt x="820" y="531"/>
                    </a:cubicBezTo>
                    <a:cubicBezTo>
                      <a:pt x="820" y="530"/>
                      <a:pt x="820" y="530"/>
                      <a:pt x="820" y="530"/>
                    </a:cubicBezTo>
                    <a:cubicBezTo>
                      <a:pt x="819" y="530"/>
                      <a:pt x="819" y="530"/>
                      <a:pt x="819" y="530"/>
                    </a:cubicBezTo>
                    <a:cubicBezTo>
                      <a:pt x="821" y="529"/>
                      <a:pt x="818" y="529"/>
                      <a:pt x="818" y="526"/>
                    </a:cubicBezTo>
                    <a:cubicBezTo>
                      <a:pt x="817" y="528"/>
                      <a:pt x="816" y="527"/>
                      <a:pt x="815" y="528"/>
                    </a:cubicBezTo>
                    <a:cubicBezTo>
                      <a:pt x="814" y="530"/>
                      <a:pt x="814" y="531"/>
                      <a:pt x="814" y="531"/>
                    </a:cubicBezTo>
                    <a:cubicBezTo>
                      <a:pt x="813" y="531"/>
                      <a:pt x="813" y="530"/>
                      <a:pt x="812" y="530"/>
                    </a:cubicBezTo>
                    <a:cubicBezTo>
                      <a:pt x="812" y="530"/>
                      <a:pt x="809" y="529"/>
                      <a:pt x="809" y="528"/>
                    </a:cubicBezTo>
                    <a:cubicBezTo>
                      <a:pt x="809" y="527"/>
                      <a:pt x="812" y="527"/>
                      <a:pt x="813" y="526"/>
                    </a:cubicBezTo>
                    <a:cubicBezTo>
                      <a:pt x="813" y="526"/>
                      <a:pt x="812" y="526"/>
                      <a:pt x="812" y="526"/>
                    </a:cubicBezTo>
                    <a:cubicBezTo>
                      <a:pt x="811" y="526"/>
                      <a:pt x="809" y="526"/>
                      <a:pt x="807" y="526"/>
                    </a:cubicBezTo>
                    <a:cubicBezTo>
                      <a:pt x="805" y="526"/>
                      <a:pt x="803" y="526"/>
                      <a:pt x="801" y="526"/>
                    </a:cubicBezTo>
                    <a:cubicBezTo>
                      <a:pt x="798" y="526"/>
                      <a:pt x="796" y="526"/>
                      <a:pt x="796" y="524"/>
                    </a:cubicBezTo>
                    <a:cubicBezTo>
                      <a:pt x="795" y="522"/>
                      <a:pt x="803" y="520"/>
                      <a:pt x="806" y="520"/>
                    </a:cubicBezTo>
                    <a:cubicBezTo>
                      <a:pt x="807" y="520"/>
                      <a:pt x="807" y="520"/>
                      <a:pt x="808" y="520"/>
                    </a:cubicBezTo>
                    <a:cubicBezTo>
                      <a:pt x="809" y="521"/>
                      <a:pt x="813" y="523"/>
                      <a:pt x="816" y="523"/>
                    </a:cubicBezTo>
                    <a:cubicBezTo>
                      <a:pt x="816" y="523"/>
                      <a:pt x="817" y="523"/>
                      <a:pt x="817" y="522"/>
                    </a:cubicBezTo>
                    <a:cubicBezTo>
                      <a:pt x="819" y="520"/>
                      <a:pt x="820" y="519"/>
                      <a:pt x="823" y="518"/>
                    </a:cubicBezTo>
                    <a:cubicBezTo>
                      <a:pt x="826" y="518"/>
                      <a:pt x="829" y="517"/>
                      <a:pt x="831" y="517"/>
                    </a:cubicBezTo>
                    <a:cubicBezTo>
                      <a:pt x="832" y="517"/>
                      <a:pt x="832" y="517"/>
                      <a:pt x="832" y="517"/>
                    </a:cubicBezTo>
                    <a:cubicBezTo>
                      <a:pt x="838" y="518"/>
                      <a:pt x="843" y="519"/>
                      <a:pt x="848" y="519"/>
                    </a:cubicBezTo>
                    <a:cubicBezTo>
                      <a:pt x="848" y="519"/>
                      <a:pt x="848" y="519"/>
                      <a:pt x="848" y="519"/>
                    </a:cubicBezTo>
                    <a:cubicBezTo>
                      <a:pt x="849" y="519"/>
                      <a:pt x="850" y="513"/>
                      <a:pt x="851" y="511"/>
                    </a:cubicBezTo>
                    <a:cubicBezTo>
                      <a:pt x="851" y="511"/>
                      <a:pt x="851" y="510"/>
                      <a:pt x="852" y="509"/>
                    </a:cubicBezTo>
                    <a:cubicBezTo>
                      <a:pt x="852" y="511"/>
                      <a:pt x="853" y="511"/>
                      <a:pt x="854" y="512"/>
                    </a:cubicBezTo>
                    <a:cubicBezTo>
                      <a:pt x="854" y="513"/>
                      <a:pt x="853" y="515"/>
                      <a:pt x="853" y="516"/>
                    </a:cubicBezTo>
                    <a:cubicBezTo>
                      <a:pt x="854" y="517"/>
                      <a:pt x="855" y="517"/>
                      <a:pt x="856" y="517"/>
                    </a:cubicBezTo>
                    <a:cubicBezTo>
                      <a:pt x="856" y="518"/>
                      <a:pt x="856" y="520"/>
                      <a:pt x="858" y="521"/>
                    </a:cubicBezTo>
                    <a:cubicBezTo>
                      <a:pt x="858" y="522"/>
                      <a:pt x="858" y="522"/>
                      <a:pt x="859" y="522"/>
                    </a:cubicBezTo>
                    <a:cubicBezTo>
                      <a:pt x="860" y="522"/>
                      <a:pt x="861" y="521"/>
                      <a:pt x="862" y="520"/>
                    </a:cubicBezTo>
                    <a:cubicBezTo>
                      <a:pt x="861" y="520"/>
                      <a:pt x="861" y="520"/>
                      <a:pt x="861" y="520"/>
                    </a:cubicBezTo>
                    <a:cubicBezTo>
                      <a:pt x="864" y="520"/>
                      <a:pt x="864" y="518"/>
                      <a:pt x="865" y="516"/>
                    </a:cubicBezTo>
                    <a:cubicBezTo>
                      <a:pt x="865" y="516"/>
                      <a:pt x="865" y="516"/>
                      <a:pt x="865" y="516"/>
                    </a:cubicBezTo>
                    <a:cubicBezTo>
                      <a:pt x="865" y="516"/>
                      <a:pt x="865" y="516"/>
                      <a:pt x="865" y="516"/>
                    </a:cubicBezTo>
                    <a:cubicBezTo>
                      <a:pt x="865" y="516"/>
                      <a:pt x="865" y="516"/>
                      <a:pt x="865" y="516"/>
                    </a:cubicBezTo>
                    <a:cubicBezTo>
                      <a:pt x="865" y="516"/>
                      <a:pt x="865" y="516"/>
                      <a:pt x="865" y="516"/>
                    </a:cubicBezTo>
                    <a:cubicBezTo>
                      <a:pt x="865" y="517"/>
                      <a:pt x="865" y="518"/>
                      <a:pt x="864" y="519"/>
                    </a:cubicBezTo>
                    <a:cubicBezTo>
                      <a:pt x="865" y="518"/>
                      <a:pt x="865" y="517"/>
                      <a:pt x="865" y="516"/>
                    </a:cubicBezTo>
                    <a:cubicBezTo>
                      <a:pt x="865" y="516"/>
                      <a:pt x="865" y="516"/>
                      <a:pt x="865" y="516"/>
                    </a:cubicBezTo>
                    <a:cubicBezTo>
                      <a:pt x="865" y="516"/>
                      <a:pt x="865" y="517"/>
                      <a:pt x="865" y="517"/>
                    </a:cubicBezTo>
                    <a:cubicBezTo>
                      <a:pt x="865" y="517"/>
                      <a:pt x="865" y="517"/>
                      <a:pt x="865" y="517"/>
                    </a:cubicBezTo>
                    <a:cubicBezTo>
                      <a:pt x="864" y="518"/>
                      <a:pt x="864" y="519"/>
                      <a:pt x="863" y="521"/>
                    </a:cubicBezTo>
                    <a:cubicBezTo>
                      <a:pt x="865" y="520"/>
                      <a:pt x="868" y="519"/>
                      <a:pt x="870" y="518"/>
                    </a:cubicBezTo>
                    <a:cubicBezTo>
                      <a:pt x="871" y="516"/>
                      <a:pt x="870" y="515"/>
                      <a:pt x="871" y="513"/>
                    </a:cubicBezTo>
                    <a:cubicBezTo>
                      <a:pt x="872" y="514"/>
                      <a:pt x="873" y="514"/>
                      <a:pt x="873" y="515"/>
                    </a:cubicBezTo>
                    <a:cubicBezTo>
                      <a:pt x="874" y="514"/>
                      <a:pt x="874" y="513"/>
                      <a:pt x="875" y="513"/>
                    </a:cubicBezTo>
                    <a:cubicBezTo>
                      <a:pt x="876" y="513"/>
                      <a:pt x="877" y="515"/>
                      <a:pt x="877" y="517"/>
                    </a:cubicBezTo>
                    <a:cubicBezTo>
                      <a:pt x="877" y="517"/>
                      <a:pt x="877" y="517"/>
                      <a:pt x="877" y="517"/>
                    </a:cubicBezTo>
                    <a:cubicBezTo>
                      <a:pt x="875" y="517"/>
                      <a:pt x="872" y="518"/>
                      <a:pt x="871" y="519"/>
                    </a:cubicBezTo>
                    <a:cubicBezTo>
                      <a:pt x="879" y="517"/>
                      <a:pt x="887" y="516"/>
                      <a:pt x="895" y="516"/>
                    </a:cubicBezTo>
                    <a:cubicBezTo>
                      <a:pt x="895" y="517"/>
                      <a:pt x="895" y="516"/>
                      <a:pt x="896" y="517"/>
                    </a:cubicBezTo>
                    <a:cubicBezTo>
                      <a:pt x="895" y="517"/>
                      <a:pt x="893" y="517"/>
                      <a:pt x="892" y="517"/>
                    </a:cubicBezTo>
                    <a:cubicBezTo>
                      <a:pt x="892" y="517"/>
                      <a:pt x="892" y="517"/>
                      <a:pt x="892" y="517"/>
                    </a:cubicBezTo>
                    <a:cubicBezTo>
                      <a:pt x="893" y="517"/>
                      <a:pt x="893" y="517"/>
                      <a:pt x="893" y="517"/>
                    </a:cubicBezTo>
                    <a:cubicBezTo>
                      <a:pt x="892" y="517"/>
                      <a:pt x="891" y="517"/>
                      <a:pt x="891" y="517"/>
                    </a:cubicBezTo>
                    <a:cubicBezTo>
                      <a:pt x="890" y="517"/>
                      <a:pt x="893" y="519"/>
                      <a:pt x="894" y="520"/>
                    </a:cubicBezTo>
                    <a:cubicBezTo>
                      <a:pt x="895" y="520"/>
                      <a:pt x="902" y="525"/>
                      <a:pt x="904" y="525"/>
                    </a:cubicBezTo>
                    <a:cubicBezTo>
                      <a:pt x="904" y="525"/>
                      <a:pt x="905" y="525"/>
                      <a:pt x="905" y="524"/>
                    </a:cubicBezTo>
                    <a:cubicBezTo>
                      <a:pt x="906" y="524"/>
                      <a:pt x="903" y="522"/>
                      <a:pt x="902" y="522"/>
                    </a:cubicBezTo>
                    <a:cubicBezTo>
                      <a:pt x="903" y="521"/>
                      <a:pt x="906" y="520"/>
                      <a:pt x="908" y="520"/>
                    </a:cubicBezTo>
                    <a:cubicBezTo>
                      <a:pt x="908" y="520"/>
                      <a:pt x="908" y="520"/>
                      <a:pt x="908" y="521"/>
                    </a:cubicBezTo>
                    <a:cubicBezTo>
                      <a:pt x="908" y="521"/>
                      <a:pt x="906" y="522"/>
                      <a:pt x="906" y="522"/>
                    </a:cubicBezTo>
                    <a:cubicBezTo>
                      <a:pt x="906" y="522"/>
                      <a:pt x="912" y="526"/>
                      <a:pt x="912" y="527"/>
                    </a:cubicBezTo>
                    <a:cubicBezTo>
                      <a:pt x="911" y="527"/>
                      <a:pt x="908" y="525"/>
                      <a:pt x="907" y="525"/>
                    </a:cubicBezTo>
                    <a:cubicBezTo>
                      <a:pt x="906" y="525"/>
                      <a:pt x="906" y="525"/>
                      <a:pt x="906" y="525"/>
                    </a:cubicBezTo>
                    <a:cubicBezTo>
                      <a:pt x="907" y="526"/>
                      <a:pt x="908" y="527"/>
                      <a:pt x="909" y="527"/>
                    </a:cubicBezTo>
                    <a:cubicBezTo>
                      <a:pt x="908" y="527"/>
                      <a:pt x="908" y="527"/>
                      <a:pt x="908" y="527"/>
                    </a:cubicBezTo>
                    <a:cubicBezTo>
                      <a:pt x="909" y="529"/>
                      <a:pt x="911" y="529"/>
                      <a:pt x="913" y="530"/>
                    </a:cubicBezTo>
                    <a:cubicBezTo>
                      <a:pt x="913" y="531"/>
                      <a:pt x="913" y="531"/>
                      <a:pt x="914" y="532"/>
                    </a:cubicBezTo>
                    <a:cubicBezTo>
                      <a:pt x="915" y="534"/>
                      <a:pt x="916" y="535"/>
                      <a:pt x="917" y="535"/>
                    </a:cubicBezTo>
                    <a:cubicBezTo>
                      <a:pt x="917" y="535"/>
                      <a:pt x="918" y="535"/>
                      <a:pt x="919" y="534"/>
                    </a:cubicBezTo>
                    <a:cubicBezTo>
                      <a:pt x="918" y="535"/>
                      <a:pt x="917" y="535"/>
                      <a:pt x="916" y="536"/>
                    </a:cubicBezTo>
                    <a:cubicBezTo>
                      <a:pt x="924" y="533"/>
                      <a:pt x="931" y="530"/>
                      <a:pt x="938" y="528"/>
                    </a:cubicBezTo>
                    <a:cubicBezTo>
                      <a:pt x="941" y="527"/>
                      <a:pt x="942" y="526"/>
                      <a:pt x="944" y="526"/>
                    </a:cubicBezTo>
                    <a:cubicBezTo>
                      <a:pt x="944" y="526"/>
                      <a:pt x="945" y="526"/>
                      <a:pt x="946" y="526"/>
                    </a:cubicBezTo>
                    <a:cubicBezTo>
                      <a:pt x="948" y="527"/>
                      <a:pt x="951" y="529"/>
                      <a:pt x="953" y="531"/>
                    </a:cubicBezTo>
                    <a:cubicBezTo>
                      <a:pt x="954" y="532"/>
                      <a:pt x="955" y="534"/>
                      <a:pt x="957" y="536"/>
                    </a:cubicBezTo>
                    <a:cubicBezTo>
                      <a:pt x="958" y="537"/>
                      <a:pt x="958" y="537"/>
                      <a:pt x="959" y="538"/>
                    </a:cubicBezTo>
                    <a:cubicBezTo>
                      <a:pt x="959" y="539"/>
                      <a:pt x="959" y="540"/>
                      <a:pt x="960" y="541"/>
                    </a:cubicBezTo>
                    <a:cubicBezTo>
                      <a:pt x="963" y="544"/>
                      <a:pt x="968" y="545"/>
                      <a:pt x="972" y="549"/>
                    </a:cubicBezTo>
                    <a:cubicBezTo>
                      <a:pt x="973" y="550"/>
                      <a:pt x="977" y="556"/>
                      <a:pt x="976" y="558"/>
                    </a:cubicBezTo>
                    <a:cubicBezTo>
                      <a:pt x="976" y="558"/>
                      <a:pt x="976" y="558"/>
                      <a:pt x="976" y="558"/>
                    </a:cubicBezTo>
                    <a:cubicBezTo>
                      <a:pt x="975" y="558"/>
                      <a:pt x="976" y="559"/>
                      <a:pt x="976" y="560"/>
                    </a:cubicBezTo>
                    <a:cubicBezTo>
                      <a:pt x="976" y="561"/>
                      <a:pt x="976" y="562"/>
                      <a:pt x="976" y="563"/>
                    </a:cubicBezTo>
                    <a:cubicBezTo>
                      <a:pt x="976" y="565"/>
                      <a:pt x="976" y="566"/>
                      <a:pt x="975" y="568"/>
                    </a:cubicBezTo>
                    <a:cubicBezTo>
                      <a:pt x="975" y="570"/>
                      <a:pt x="973" y="572"/>
                      <a:pt x="973" y="574"/>
                    </a:cubicBezTo>
                    <a:cubicBezTo>
                      <a:pt x="972" y="575"/>
                      <a:pt x="973" y="577"/>
                      <a:pt x="973" y="579"/>
                    </a:cubicBezTo>
                    <a:cubicBezTo>
                      <a:pt x="972" y="579"/>
                      <a:pt x="972" y="580"/>
                      <a:pt x="972" y="580"/>
                    </a:cubicBezTo>
                    <a:cubicBezTo>
                      <a:pt x="971" y="582"/>
                      <a:pt x="973" y="585"/>
                      <a:pt x="974" y="587"/>
                    </a:cubicBezTo>
                    <a:cubicBezTo>
                      <a:pt x="974" y="587"/>
                      <a:pt x="974" y="586"/>
                      <a:pt x="974" y="585"/>
                    </a:cubicBezTo>
                    <a:cubicBezTo>
                      <a:pt x="975" y="586"/>
                      <a:pt x="975" y="586"/>
                      <a:pt x="975" y="586"/>
                    </a:cubicBezTo>
                    <a:cubicBezTo>
                      <a:pt x="976" y="586"/>
                      <a:pt x="976" y="585"/>
                      <a:pt x="977" y="585"/>
                    </a:cubicBezTo>
                    <a:cubicBezTo>
                      <a:pt x="978" y="582"/>
                      <a:pt x="976" y="582"/>
                      <a:pt x="974" y="580"/>
                    </a:cubicBezTo>
                    <a:cubicBezTo>
                      <a:pt x="977" y="581"/>
                      <a:pt x="978" y="583"/>
                      <a:pt x="979" y="583"/>
                    </a:cubicBezTo>
                    <a:cubicBezTo>
                      <a:pt x="980" y="583"/>
                      <a:pt x="980" y="582"/>
                      <a:pt x="981" y="581"/>
                    </a:cubicBezTo>
                    <a:cubicBezTo>
                      <a:pt x="983" y="585"/>
                      <a:pt x="977" y="587"/>
                      <a:pt x="977" y="591"/>
                    </a:cubicBezTo>
                    <a:cubicBezTo>
                      <a:pt x="977" y="591"/>
                      <a:pt x="976" y="591"/>
                      <a:pt x="976" y="591"/>
                    </a:cubicBezTo>
                    <a:cubicBezTo>
                      <a:pt x="976" y="592"/>
                      <a:pt x="978" y="593"/>
                      <a:pt x="978" y="595"/>
                    </a:cubicBezTo>
                    <a:cubicBezTo>
                      <a:pt x="980" y="600"/>
                      <a:pt x="984" y="605"/>
                      <a:pt x="987" y="609"/>
                    </a:cubicBezTo>
                    <a:cubicBezTo>
                      <a:pt x="988" y="608"/>
                      <a:pt x="987" y="606"/>
                      <a:pt x="987" y="606"/>
                    </a:cubicBezTo>
                    <a:cubicBezTo>
                      <a:pt x="988" y="605"/>
                      <a:pt x="989" y="604"/>
                      <a:pt x="992" y="604"/>
                    </a:cubicBezTo>
                    <a:cubicBezTo>
                      <a:pt x="992" y="604"/>
                      <a:pt x="992" y="604"/>
                      <a:pt x="992" y="604"/>
                    </a:cubicBezTo>
                    <a:cubicBezTo>
                      <a:pt x="992" y="604"/>
                      <a:pt x="991" y="604"/>
                      <a:pt x="991" y="604"/>
                    </a:cubicBezTo>
                    <a:cubicBezTo>
                      <a:pt x="991" y="605"/>
                      <a:pt x="990" y="605"/>
                      <a:pt x="990" y="605"/>
                    </a:cubicBezTo>
                    <a:cubicBezTo>
                      <a:pt x="990" y="605"/>
                      <a:pt x="990" y="605"/>
                      <a:pt x="990" y="605"/>
                    </a:cubicBezTo>
                    <a:cubicBezTo>
                      <a:pt x="990" y="605"/>
                      <a:pt x="990" y="605"/>
                      <a:pt x="990" y="605"/>
                    </a:cubicBezTo>
                    <a:cubicBezTo>
                      <a:pt x="989" y="606"/>
                      <a:pt x="990" y="606"/>
                      <a:pt x="990" y="607"/>
                    </a:cubicBezTo>
                    <a:cubicBezTo>
                      <a:pt x="989" y="610"/>
                      <a:pt x="990" y="613"/>
                      <a:pt x="990" y="615"/>
                    </a:cubicBezTo>
                    <a:cubicBezTo>
                      <a:pt x="993" y="615"/>
                      <a:pt x="993" y="612"/>
                      <a:pt x="996" y="611"/>
                    </a:cubicBezTo>
                    <a:cubicBezTo>
                      <a:pt x="994" y="612"/>
                      <a:pt x="993" y="614"/>
                      <a:pt x="992" y="616"/>
                    </a:cubicBezTo>
                    <a:cubicBezTo>
                      <a:pt x="996" y="617"/>
                      <a:pt x="997" y="628"/>
                      <a:pt x="998" y="631"/>
                    </a:cubicBezTo>
                    <a:cubicBezTo>
                      <a:pt x="998" y="631"/>
                      <a:pt x="999" y="630"/>
                      <a:pt x="999" y="630"/>
                    </a:cubicBezTo>
                    <a:cubicBezTo>
                      <a:pt x="999" y="630"/>
                      <a:pt x="999" y="630"/>
                      <a:pt x="1000" y="630"/>
                    </a:cubicBezTo>
                    <a:cubicBezTo>
                      <a:pt x="1002" y="631"/>
                      <a:pt x="1006" y="636"/>
                      <a:pt x="1009" y="639"/>
                    </a:cubicBezTo>
                    <a:cubicBezTo>
                      <a:pt x="1010" y="640"/>
                      <a:pt x="1018" y="647"/>
                      <a:pt x="1015" y="648"/>
                    </a:cubicBezTo>
                    <a:cubicBezTo>
                      <a:pt x="1015" y="648"/>
                      <a:pt x="1015" y="648"/>
                      <a:pt x="1015" y="648"/>
                    </a:cubicBezTo>
                    <a:cubicBezTo>
                      <a:pt x="1015" y="648"/>
                      <a:pt x="1013" y="646"/>
                      <a:pt x="1012" y="646"/>
                    </a:cubicBezTo>
                    <a:cubicBezTo>
                      <a:pt x="1012" y="647"/>
                      <a:pt x="1012" y="649"/>
                      <a:pt x="1012" y="650"/>
                    </a:cubicBezTo>
                    <a:cubicBezTo>
                      <a:pt x="1014" y="650"/>
                      <a:pt x="1015" y="650"/>
                      <a:pt x="1016" y="649"/>
                    </a:cubicBezTo>
                    <a:cubicBezTo>
                      <a:pt x="1017" y="649"/>
                      <a:pt x="1017" y="649"/>
                      <a:pt x="1017" y="649"/>
                    </a:cubicBezTo>
                    <a:cubicBezTo>
                      <a:pt x="1017" y="649"/>
                      <a:pt x="1017" y="649"/>
                      <a:pt x="1017" y="649"/>
                    </a:cubicBezTo>
                    <a:cubicBezTo>
                      <a:pt x="1018" y="649"/>
                      <a:pt x="1019" y="649"/>
                      <a:pt x="1020" y="649"/>
                    </a:cubicBezTo>
                    <a:cubicBezTo>
                      <a:pt x="1020" y="649"/>
                      <a:pt x="1020" y="649"/>
                      <a:pt x="1020" y="649"/>
                    </a:cubicBezTo>
                    <a:cubicBezTo>
                      <a:pt x="1021" y="649"/>
                      <a:pt x="1022" y="649"/>
                      <a:pt x="1022" y="648"/>
                    </a:cubicBezTo>
                    <a:cubicBezTo>
                      <a:pt x="1023" y="648"/>
                      <a:pt x="1024" y="648"/>
                      <a:pt x="1024" y="648"/>
                    </a:cubicBezTo>
                    <a:cubicBezTo>
                      <a:pt x="1025" y="648"/>
                      <a:pt x="1026" y="648"/>
                      <a:pt x="1027" y="649"/>
                    </a:cubicBezTo>
                    <a:cubicBezTo>
                      <a:pt x="1026" y="647"/>
                      <a:pt x="1026" y="647"/>
                      <a:pt x="1026" y="647"/>
                    </a:cubicBezTo>
                    <a:cubicBezTo>
                      <a:pt x="1026" y="648"/>
                      <a:pt x="1028" y="648"/>
                      <a:pt x="1028" y="648"/>
                    </a:cubicBezTo>
                    <a:cubicBezTo>
                      <a:pt x="1027" y="647"/>
                      <a:pt x="1028" y="647"/>
                      <a:pt x="1028" y="646"/>
                    </a:cubicBezTo>
                    <a:cubicBezTo>
                      <a:pt x="1030" y="643"/>
                      <a:pt x="1031" y="641"/>
                      <a:pt x="1033" y="638"/>
                    </a:cubicBezTo>
                    <a:cubicBezTo>
                      <a:pt x="1036" y="630"/>
                      <a:pt x="1036" y="621"/>
                      <a:pt x="1036" y="612"/>
                    </a:cubicBezTo>
                    <a:cubicBezTo>
                      <a:pt x="1037" y="606"/>
                      <a:pt x="1036" y="600"/>
                      <a:pt x="1030" y="597"/>
                    </a:cubicBezTo>
                    <a:cubicBezTo>
                      <a:pt x="1031" y="598"/>
                      <a:pt x="1032" y="598"/>
                      <a:pt x="1033" y="599"/>
                    </a:cubicBezTo>
                    <a:cubicBezTo>
                      <a:pt x="1030" y="595"/>
                      <a:pt x="1030" y="590"/>
                      <a:pt x="1028" y="586"/>
                    </a:cubicBezTo>
                    <a:cubicBezTo>
                      <a:pt x="1027" y="582"/>
                      <a:pt x="1024" y="579"/>
                      <a:pt x="1023" y="575"/>
                    </a:cubicBezTo>
                    <a:cubicBezTo>
                      <a:pt x="1021" y="570"/>
                      <a:pt x="1019" y="564"/>
                      <a:pt x="1018" y="559"/>
                    </a:cubicBezTo>
                    <a:cubicBezTo>
                      <a:pt x="1019" y="559"/>
                      <a:pt x="1019" y="564"/>
                      <a:pt x="1021" y="564"/>
                    </a:cubicBezTo>
                    <a:cubicBezTo>
                      <a:pt x="1021" y="564"/>
                      <a:pt x="1022" y="563"/>
                      <a:pt x="1022" y="563"/>
                    </a:cubicBezTo>
                    <a:cubicBezTo>
                      <a:pt x="1023" y="566"/>
                      <a:pt x="1023" y="570"/>
                      <a:pt x="1023" y="573"/>
                    </a:cubicBezTo>
                    <a:cubicBezTo>
                      <a:pt x="1026" y="565"/>
                      <a:pt x="1024" y="564"/>
                      <a:pt x="1020" y="558"/>
                    </a:cubicBezTo>
                    <a:cubicBezTo>
                      <a:pt x="1018" y="554"/>
                      <a:pt x="1016" y="551"/>
                      <a:pt x="1014" y="547"/>
                    </a:cubicBezTo>
                    <a:cubicBezTo>
                      <a:pt x="1013" y="545"/>
                      <a:pt x="1012" y="542"/>
                      <a:pt x="1011" y="539"/>
                    </a:cubicBezTo>
                    <a:cubicBezTo>
                      <a:pt x="1009" y="535"/>
                      <a:pt x="1008" y="530"/>
                      <a:pt x="1007" y="526"/>
                    </a:cubicBezTo>
                    <a:cubicBezTo>
                      <a:pt x="1005" y="522"/>
                      <a:pt x="1003" y="517"/>
                      <a:pt x="1003" y="512"/>
                    </a:cubicBezTo>
                    <a:cubicBezTo>
                      <a:pt x="1002" y="508"/>
                      <a:pt x="1001" y="502"/>
                      <a:pt x="1003" y="499"/>
                    </a:cubicBezTo>
                    <a:cubicBezTo>
                      <a:pt x="1003" y="498"/>
                      <a:pt x="1004" y="497"/>
                      <a:pt x="1004" y="497"/>
                    </a:cubicBezTo>
                    <a:cubicBezTo>
                      <a:pt x="1004" y="497"/>
                      <a:pt x="1005" y="497"/>
                      <a:pt x="1005" y="498"/>
                    </a:cubicBezTo>
                    <a:cubicBezTo>
                      <a:pt x="1011" y="495"/>
                      <a:pt x="1006" y="495"/>
                      <a:pt x="1003" y="493"/>
                    </a:cubicBezTo>
                    <a:cubicBezTo>
                      <a:pt x="1005" y="494"/>
                      <a:pt x="1005" y="494"/>
                      <a:pt x="1005" y="494"/>
                    </a:cubicBezTo>
                    <a:cubicBezTo>
                      <a:pt x="1006" y="493"/>
                      <a:pt x="1006" y="492"/>
                      <a:pt x="1007" y="491"/>
                    </a:cubicBezTo>
                    <a:cubicBezTo>
                      <a:pt x="1008" y="490"/>
                      <a:pt x="1009" y="490"/>
                      <a:pt x="1010" y="489"/>
                    </a:cubicBezTo>
                    <a:cubicBezTo>
                      <a:pt x="1009" y="489"/>
                      <a:pt x="1008" y="489"/>
                      <a:pt x="1008" y="490"/>
                    </a:cubicBezTo>
                    <a:cubicBezTo>
                      <a:pt x="1008" y="487"/>
                      <a:pt x="1009" y="485"/>
                      <a:pt x="1008" y="483"/>
                    </a:cubicBezTo>
                    <a:cubicBezTo>
                      <a:pt x="1009" y="483"/>
                      <a:pt x="1010" y="484"/>
                      <a:pt x="1011" y="484"/>
                    </a:cubicBezTo>
                    <a:cubicBezTo>
                      <a:pt x="1011" y="484"/>
                      <a:pt x="1011" y="484"/>
                      <a:pt x="1011" y="484"/>
                    </a:cubicBezTo>
                    <a:cubicBezTo>
                      <a:pt x="1013" y="483"/>
                      <a:pt x="1014" y="479"/>
                      <a:pt x="1015" y="478"/>
                    </a:cubicBezTo>
                    <a:cubicBezTo>
                      <a:pt x="1017" y="476"/>
                      <a:pt x="1022" y="472"/>
                      <a:pt x="1022" y="471"/>
                    </a:cubicBezTo>
                    <a:cubicBezTo>
                      <a:pt x="1022" y="470"/>
                      <a:pt x="1020" y="470"/>
                      <a:pt x="1020" y="470"/>
                    </a:cubicBezTo>
                    <a:cubicBezTo>
                      <a:pt x="1019" y="468"/>
                      <a:pt x="1018" y="465"/>
                      <a:pt x="1018" y="463"/>
                    </a:cubicBezTo>
                    <a:cubicBezTo>
                      <a:pt x="1018" y="463"/>
                      <a:pt x="1019" y="464"/>
                      <a:pt x="1019" y="464"/>
                    </a:cubicBezTo>
                    <a:cubicBezTo>
                      <a:pt x="1019" y="465"/>
                      <a:pt x="1019" y="466"/>
                      <a:pt x="1019" y="466"/>
                    </a:cubicBezTo>
                    <a:cubicBezTo>
                      <a:pt x="1020" y="466"/>
                      <a:pt x="1020" y="466"/>
                      <a:pt x="1021" y="466"/>
                    </a:cubicBezTo>
                    <a:cubicBezTo>
                      <a:pt x="1021" y="465"/>
                      <a:pt x="1021" y="465"/>
                      <a:pt x="1022" y="465"/>
                    </a:cubicBezTo>
                    <a:cubicBezTo>
                      <a:pt x="1022" y="465"/>
                      <a:pt x="1023" y="466"/>
                      <a:pt x="1022" y="467"/>
                    </a:cubicBezTo>
                    <a:cubicBezTo>
                      <a:pt x="1023" y="467"/>
                      <a:pt x="1023" y="467"/>
                      <a:pt x="1023" y="467"/>
                    </a:cubicBezTo>
                    <a:cubicBezTo>
                      <a:pt x="1023" y="468"/>
                      <a:pt x="1023" y="468"/>
                      <a:pt x="1023" y="468"/>
                    </a:cubicBezTo>
                    <a:cubicBezTo>
                      <a:pt x="1023" y="468"/>
                      <a:pt x="1024" y="468"/>
                      <a:pt x="1024" y="468"/>
                    </a:cubicBezTo>
                    <a:cubicBezTo>
                      <a:pt x="1026" y="468"/>
                      <a:pt x="1027" y="468"/>
                      <a:pt x="1027" y="466"/>
                    </a:cubicBezTo>
                    <a:cubicBezTo>
                      <a:pt x="1027" y="467"/>
                      <a:pt x="1027" y="467"/>
                      <a:pt x="1027" y="467"/>
                    </a:cubicBezTo>
                    <a:cubicBezTo>
                      <a:pt x="1028" y="464"/>
                      <a:pt x="1024" y="465"/>
                      <a:pt x="1022" y="463"/>
                    </a:cubicBezTo>
                    <a:cubicBezTo>
                      <a:pt x="1022" y="463"/>
                      <a:pt x="1022" y="463"/>
                      <a:pt x="1023" y="463"/>
                    </a:cubicBezTo>
                    <a:cubicBezTo>
                      <a:pt x="1024" y="463"/>
                      <a:pt x="1025" y="463"/>
                      <a:pt x="1025" y="463"/>
                    </a:cubicBezTo>
                    <a:cubicBezTo>
                      <a:pt x="1025" y="463"/>
                      <a:pt x="1025" y="463"/>
                      <a:pt x="1025" y="463"/>
                    </a:cubicBezTo>
                    <a:cubicBezTo>
                      <a:pt x="1025" y="463"/>
                      <a:pt x="1026" y="463"/>
                      <a:pt x="1026" y="463"/>
                    </a:cubicBezTo>
                    <a:cubicBezTo>
                      <a:pt x="1026" y="464"/>
                      <a:pt x="1026" y="464"/>
                      <a:pt x="1027" y="464"/>
                    </a:cubicBezTo>
                    <a:cubicBezTo>
                      <a:pt x="1027" y="464"/>
                      <a:pt x="1027" y="464"/>
                      <a:pt x="1027" y="464"/>
                    </a:cubicBezTo>
                    <a:cubicBezTo>
                      <a:pt x="1028" y="464"/>
                      <a:pt x="1030" y="462"/>
                      <a:pt x="1031" y="461"/>
                    </a:cubicBezTo>
                    <a:cubicBezTo>
                      <a:pt x="1032" y="460"/>
                      <a:pt x="1035" y="461"/>
                      <a:pt x="1036" y="460"/>
                    </a:cubicBezTo>
                    <a:cubicBezTo>
                      <a:pt x="1037" y="460"/>
                      <a:pt x="1037" y="460"/>
                      <a:pt x="1037" y="459"/>
                    </a:cubicBezTo>
                    <a:cubicBezTo>
                      <a:pt x="1037" y="460"/>
                      <a:pt x="1037" y="460"/>
                      <a:pt x="1037" y="460"/>
                    </a:cubicBezTo>
                    <a:cubicBezTo>
                      <a:pt x="1038" y="458"/>
                      <a:pt x="1039" y="457"/>
                      <a:pt x="1039" y="455"/>
                    </a:cubicBezTo>
                    <a:cubicBezTo>
                      <a:pt x="1040" y="456"/>
                      <a:pt x="1040" y="457"/>
                      <a:pt x="1041" y="457"/>
                    </a:cubicBezTo>
                    <a:cubicBezTo>
                      <a:pt x="1041" y="457"/>
                      <a:pt x="1042" y="457"/>
                      <a:pt x="1043" y="457"/>
                    </a:cubicBezTo>
                    <a:cubicBezTo>
                      <a:pt x="1045" y="456"/>
                      <a:pt x="1048" y="452"/>
                      <a:pt x="1050" y="451"/>
                    </a:cubicBezTo>
                    <a:cubicBezTo>
                      <a:pt x="1052" y="450"/>
                      <a:pt x="1058" y="448"/>
                      <a:pt x="1055" y="445"/>
                    </a:cubicBezTo>
                    <a:cubicBezTo>
                      <a:pt x="1054" y="444"/>
                      <a:pt x="1053" y="443"/>
                      <a:pt x="1054" y="441"/>
                    </a:cubicBezTo>
                    <a:cubicBezTo>
                      <a:pt x="1056" y="442"/>
                      <a:pt x="1056" y="444"/>
                      <a:pt x="1056" y="445"/>
                    </a:cubicBezTo>
                    <a:cubicBezTo>
                      <a:pt x="1058" y="441"/>
                      <a:pt x="1058" y="439"/>
                      <a:pt x="1062" y="435"/>
                    </a:cubicBezTo>
                    <a:cubicBezTo>
                      <a:pt x="1064" y="433"/>
                      <a:pt x="1067" y="431"/>
                      <a:pt x="1070" y="428"/>
                    </a:cubicBezTo>
                    <a:cubicBezTo>
                      <a:pt x="1071" y="428"/>
                      <a:pt x="1073" y="427"/>
                      <a:pt x="1075" y="427"/>
                    </a:cubicBezTo>
                    <a:cubicBezTo>
                      <a:pt x="1076" y="427"/>
                      <a:pt x="1077" y="428"/>
                      <a:pt x="1078" y="428"/>
                    </a:cubicBezTo>
                    <a:cubicBezTo>
                      <a:pt x="1079" y="428"/>
                      <a:pt x="1080" y="428"/>
                      <a:pt x="1081" y="428"/>
                    </a:cubicBezTo>
                    <a:cubicBezTo>
                      <a:pt x="1081" y="428"/>
                      <a:pt x="1081" y="428"/>
                      <a:pt x="1081" y="428"/>
                    </a:cubicBezTo>
                    <a:cubicBezTo>
                      <a:pt x="1086" y="428"/>
                      <a:pt x="1085" y="424"/>
                      <a:pt x="1085" y="420"/>
                    </a:cubicBezTo>
                    <a:cubicBezTo>
                      <a:pt x="1086" y="422"/>
                      <a:pt x="1086" y="424"/>
                      <a:pt x="1086" y="427"/>
                    </a:cubicBezTo>
                    <a:cubicBezTo>
                      <a:pt x="1086" y="425"/>
                      <a:pt x="1086" y="424"/>
                      <a:pt x="1087" y="423"/>
                    </a:cubicBezTo>
                    <a:cubicBezTo>
                      <a:pt x="1088" y="419"/>
                      <a:pt x="1093" y="416"/>
                      <a:pt x="1097" y="413"/>
                    </a:cubicBezTo>
                    <a:cubicBezTo>
                      <a:pt x="1096" y="413"/>
                      <a:pt x="1096" y="413"/>
                      <a:pt x="1096" y="413"/>
                    </a:cubicBezTo>
                    <a:cubicBezTo>
                      <a:pt x="1097" y="413"/>
                      <a:pt x="1097" y="412"/>
                      <a:pt x="1098" y="412"/>
                    </a:cubicBezTo>
                    <a:cubicBezTo>
                      <a:pt x="1097" y="412"/>
                      <a:pt x="1097" y="412"/>
                      <a:pt x="1097" y="412"/>
                    </a:cubicBezTo>
                    <a:cubicBezTo>
                      <a:pt x="1098" y="411"/>
                      <a:pt x="1099" y="410"/>
                      <a:pt x="1097" y="410"/>
                    </a:cubicBezTo>
                    <a:cubicBezTo>
                      <a:pt x="1099" y="408"/>
                      <a:pt x="1098" y="407"/>
                      <a:pt x="1097" y="405"/>
                    </a:cubicBezTo>
                    <a:cubicBezTo>
                      <a:pt x="1098" y="406"/>
                      <a:pt x="1098" y="407"/>
                      <a:pt x="1098" y="407"/>
                    </a:cubicBezTo>
                    <a:cubicBezTo>
                      <a:pt x="1099" y="407"/>
                      <a:pt x="1102" y="405"/>
                      <a:pt x="1103" y="405"/>
                    </a:cubicBezTo>
                    <a:cubicBezTo>
                      <a:pt x="1104" y="405"/>
                      <a:pt x="1104" y="405"/>
                      <a:pt x="1104" y="405"/>
                    </a:cubicBezTo>
                    <a:cubicBezTo>
                      <a:pt x="1106" y="406"/>
                      <a:pt x="1104" y="407"/>
                      <a:pt x="1106" y="407"/>
                    </a:cubicBezTo>
                    <a:cubicBezTo>
                      <a:pt x="1106" y="407"/>
                      <a:pt x="1106" y="407"/>
                      <a:pt x="1107" y="407"/>
                    </a:cubicBezTo>
                    <a:cubicBezTo>
                      <a:pt x="1109" y="407"/>
                      <a:pt x="1111" y="405"/>
                      <a:pt x="1113" y="405"/>
                    </a:cubicBezTo>
                    <a:cubicBezTo>
                      <a:pt x="1116" y="404"/>
                      <a:pt x="1122" y="403"/>
                      <a:pt x="1123" y="400"/>
                    </a:cubicBezTo>
                    <a:cubicBezTo>
                      <a:pt x="1124" y="400"/>
                      <a:pt x="1124" y="399"/>
                      <a:pt x="1123" y="399"/>
                    </a:cubicBezTo>
                    <a:cubicBezTo>
                      <a:pt x="1122" y="399"/>
                      <a:pt x="1120" y="400"/>
                      <a:pt x="1120" y="401"/>
                    </a:cubicBezTo>
                    <a:cubicBezTo>
                      <a:pt x="1121" y="399"/>
                      <a:pt x="1121" y="399"/>
                      <a:pt x="1120" y="399"/>
                    </a:cubicBezTo>
                    <a:cubicBezTo>
                      <a:pt x="1119" y="399"/>
                      <a:pt x="1118" y="400"/>
                      <a:pt x="1117" y="400"/>
                    </a:cubicBezTo>
                    <a:cubicBezTo>
                      <a:pt x="1117" y="400"/>
                      <a:pt x="1117" y="400"/>
                      <a:pt x="1117" y="400"/>
                    </a:cubicBezTo>
                    <a:cubicBezTo>
                      <a:pt x="1117" y="400"/>
                      <a:pt x="1117" y="400"/>
                      <a:pt x="1116" y="400"/>
                    </a:cubicBezTo>
                    <a:cubicBezTo>
                      <a:pt x="1116" y="400"/>
                      <a:pt x="1116" y="399"/>
                      <a:pt x="1115" y="399"/>
                    </a:cubicBezTo>
                    <a:cubicBezTo>
                      <a:pt x="1115" y="399"/>
                      <a:pt x="1115" y="399"/>
                      <a:pt x="1115" y="399"/>
                    </a:cubicBezTo>
                    <a:cubicBezTo>
                      <a:pt x="1114" y="400"/>
                      <a:pt x="1114" y="401"/>
                      <a:pt x="1113" y="401"/>
                    </a:cubicBezTo>
                    <a:cubicBezTo>
                      <a:pt x="1112" y="401"/>
                      <a:pt x="1112" y="401"/>
                      <a:pt x="1112" y="401"/>
                    </a:cubicBezTo>
                    <a:cubicBezTo>
                      <a:pt x="1109" y="401"/>
                      <a:pt x="1107" y="398"/>
                      <a:pt x="1106" y="395"/>
                    </a:cubicBezTo>
                    <a:cubicBezTo>
                      <a:pt x="1106" y="395"/>
                      <a:pt x="1106" y="395"/>
                      <a:pt x="1106" y="395"/>
                    </a:cubicBezTo>
                    <a:cubicBezTo>
                      <a:pt x="1107" y="397"/>
                      <a:pt x="1108" y="398"/>
                      <a:pt x="1110" y="398"/>
                    </a:cubicBezTo>
                    <a:cubicBezTo>
                      <a:pt x="1111" y="398"/>
                      <a:pt x="1111" y="398"/>
                      <a:pt x="1112" y="397"/>
                    </a:cubicBezTo>
                    <a:cubicBezTo>
                      <a:pt x="1115" y="397"/>
                      <a:pt x="1122" y="394"/>
                      <a:pt x="1118" y="391"/>
                    </a:cubicBezTo>
                    <a:cubicBezTo>
                      <a:pt x="1114" y="388"/>
                      <a:pt x="1109" y="389"/>
                      <a:pt x="1106" y="385"/>
                    </a:cubicBezTo>
                    <a:cubicBezTo>
                      <a:pt x="1109" y="387"/>
                      <a:pt x="1113" y="387"/>
                      <a:pt x="1117" y="388"/>
                    </a:cubicBezTo>
                    <a:cubicBezTo>
                      <a:pt x="1116" y="387"/>
                      <a:pt x="1116" y="385"/>
                      <a:pt x="1117" y="384"/>
                    </a:cubicBezTo>
                    <a:cubicBezTo>
                      <a:pt x="1117" y="384"/>
                      <a:pt x="1117" y="384"/>
                      <a:pt x="1117" y="384"/>
                    </a:cubicBezTo>
                    <a:cubicBezTo>
                      <a:pt x="1117" y="384"/>
                      <a:pt x="1117" y="385"/>
                      <a:pt x="1117" y="385"/>
                    </a:cubicBezTo>
                    <a:cubicBezTo>
                      <a:pt x="1117" y="385"/>
                      <a:pt x="1117" y="386"/>
                      <a:pt x="1117" y="386"/>
                    </a:cubicBezTo>
                    <a:cubicBezTo>
                      <a:pt x="1117" y="386"/>
                      <a:pt x="1117" y="386"/>
                      <a:pt x="1117" y="386"/>
                    </a:cubicBezTo>
                    <a:cubicBezTo>
                      <a:pt x="1118" y="387"/>
                      <a:pt x="1118" y="387"/>
                      <a:pt x="1118" y="388"/>
                    </a:cubicBezTo>
                    <a:cubicBezTo>
                      <a:pt x="1119" y="387"/>
                      <a:pt x="1120" y="387"/>
                      <a:pt x="1120" y="387"/>
                    </a:cubicBezTo>
                    <a:cubicBezTo>
                      <a:pt x="1121" y="387"/>
                      <a:pt x="1121" y="387"/>
                      <a:pt x="1121" y="388"/>
                    </a:cubicBezTo>
                    <a:cubicBezTo>
                      <a:pt x="1126" y="388"/>
                      <a:pt x="1139" y="384"/>
                      <a:pt x="1137" y="377"/>
                    </a:cubicBezTo>
                    <a:cubicBezTo>
                      <a:pt x="1136" y="375"/>
                      <a:pt x="1135" y="375"/>
                      <a:pt x="1134" y="375"/>
                    </a:cubicBezTo>
                    <a:cubicBezTo>
                      <a:pt x="1133" y="375"/>
                      <a:pt x="1133" y="375"/>
                      <a:pt x="1132" y="375"/>
                    </a:cubicBezTo>
                    <a:cubicBezTo>
                      <a:pt x="1130" y="375"/>
                      <a:pt x="1130" y="380"/>
                      <a:pt x="1129" y="382"/>
                    </a:cubicBezTo>
                    <a:cubicBezTo>
                      <a:pt x="1129" y="380"/>
                      <a:pt x="1128" y="376"/>
                      <a:pt x="1130" y="374"/>
                    </a:cubicBezTo>
                    <a:cubicBezTo>
                      <a:pt x="1129" y="374"/>
                      <a:pt x="1129" y="374"/>
                      <a:pt x="1129" y="374"/>
                    </a:cubicBezTo>
                    <a:cubicBezTo>
                      <a:pt x="1130" y="373"/>
                      <a:pt x="1128" y="372"/>
                      <a:pt x="1127" y="372"/>
                    </a:cubicBezTo>
                    <a:cubicBezTo>
                      <a:pt x="1127" y="372"/>
                      <a:pt x="1126" y="372"/>
                      <a:pt x="1126" y="373"/>
                    </a:cubicBezTo>
                    <a:cubicBezTo>
                      <a:pt x="1125" y="373"/>
                      <a:pt x="1125" y="374"/>
                      <a:pt x="1124" y="374"/>
                    </a:cubicBezTo>
                    <a:cubicBezTo>
                      <a:pt x="1124" y="374"/>
                      <a:pt x="1123" y="374"/>
                      <a:pt x="1123" y="374"/>
                    </a:cubicBezTo>
                    <a:cubicBezTo>
                      <a:pt x="1123" y="374"/>
                      <a:pt x="1123" y="374"/>
                      <a:pt x="1123" y="374"/>
                    </a:cubicBezTo>
                    <a:cubicBezTo>
                      <a:pt x="1122" y="374"/>
                      <a:pt x="1122" y="374"/>
                      <a:pt x="1122" y="374"/>
                    </a:cubicBezTo>
                    <a:cubicBezTo>
                      <a:pt x="1122" y="374"/>
                      <a:pt x="1121" y="374"/>
                      <a:pt x="1121" y="374"/>
                    </a:cubicBezTo>
                    <a:cubicBezTo>
                      <a:pt x="1121" y="374"/>
                      <a:pt x="1121" y="373"/>
                      <a:pt x="1120" y="373"/>
                    </a:cubicBezTo>
                    <a:cubicBezTo>
                      <a:pt x="1119" y="373"/>
                      <a:pt x="1118" y="374"/>
                      <a:pt x="1117" y="374"/>
                    </a:cubicBezTo>
                    <a:cubicBezTo>
                      <a:pt x="1116" y="374"/>
                      <a:pt x="1115" y="374"/>
                      <a:pt x="1114" y="374"/>
                    </a:cubicBezTo>
                    <a:cubicBezTo>
                      <a:pt x="1114" y="374"/>
                      <a:pt x="1114" y="374"/>
                      <a:pt x="1114" y="374"/>
                    </a:cubicBezTo>
                    <a:cubicBezTo>
                      <a:pt x="1115" y="372"/>
                      <a:pt x="1113" y="371"/>
                      <a:pt x="1113" y="369"/>
                    </a:cubicBezTo>
                    <a:cubicBezTo>
                      <a:pt x="1113" y="369"/>
                      <a:pt x="1114" y="364"/>
                      <a:pt x="1114" y="364"/>
                    </a:cubicBezTo>
                    <a:cubicBezTo>
                      <a:pt x="1114" y="364"/>
                      <a:pt x="1114" y="364"/>
                      <a:pt x="1114" y="364"/>
                    </a:cubicBezTo>
                    <a:cubicBezTo>
                      <a:pt x="1115" y="366"/>
                      <a:pt x="1114" y="366"/>
                      <a:pt x="1114" y="367"/>
                    </a:cubicBezTo>
                    <a:cubicBezTo>
                      <a:pt x="1114" y="370"/>
                      <a:pt x="1115" y="372"/>
                      <a:pt x="1117" y="372"/>
                    </a:cubicBezTo>
                    <a:cubicBezTo>
                      <a:pt x="1119" y="372"/>
                      <a:pt x="1121" y="371"/>
                      <a:pt x="1123" y="370"/>
                    </a:cubicBezTo>
                    <a:cubicBezTo>
                      <a:pt x="1122" y="369"/>
                      <a:pt x="1120" y="368"/>
                      <a:pt x="1120" y="367"/>
                    </a:cubicBezTo>
                    <a:cubicBezTo>
                      <a:pt x="1122" y="368"/>
                      <a:pt x="1123" y="369"/>
                      <a:pt x="1126" y="370"/>
                    </a:cubicBezTo>
                    <a:cubicBezTo>
                      <a:pt x="1125" y="369"/>
                      <a:pt x="1124" y="368"/>
                      <a:pt x="1124" y="367"/>
                    </a:cubicBezTo>
                    <a:cubicBezTo>
                      <a:pt x="1125" y="368"/>
                      <a:pt x="1126" y="368"/>
                      <a:pt x="1127" y="368"/>
                    </a:cubicBezTo>
                    <a:cubicBezTo>
                      <a:pt x="1128" y="368"/>
                      <a:pt x="1128" y="368"/>
                      <a:pt x="1129" y="368"/>
                    </a:cubicBezTo>
                    <a:cubicBezTo>
                      <a:pt x="1128" y="367"/>
                      <a:pt x="1126" y="365"/>
                      <a:pt x="1126" y="364"/>
                    </a:cubicBezTo>
                    <a:cubicBezTo>
                      <a:pt x="1126" y="364"/>
                      <a:pt x="1126" y="364"/>
                      <a:pt x="1126" y="364"/>
                    </a:cubicBezTo>
                    <a:cubicBezTo>
                      <a:pt x="1127" y="365"/>
                      <a:pt x="1130" y="368"/>
                      <a:pt x="1132" y="368"/>
                    </a:cubicBezTo>
                    <a:cubicBezTo>
                      <a:pt x="1131" y="367"/>
                      <a:pt x="1131" y="366"/>
                      <a:pt x="1131" y="364"/>
                    </a:cubicBezTo>
                    <a:cubicBezTo>
                      <a:pt x="1132" y="366"/>
                      <a:pt x="1133" y="369"/>
                      <a:pt x="1135" y="370"/>
                    </a:cubicBezTo>
                    <a:cubicBezTo>
                      <a:pt x="1134" y="366"/>
                      <a:pt x="1131" y="362"/>
                      <a:pt x="1130" y="358"/>
                    </a:cubicBezTo>
                    <a:cubicBezTo>
                      <a:pt x="1130" y="358"/>
                      <a:pt x="1130" y="358"/>
                      <a:pt x="1130" y="358"/>
                    </a:cubicBezTo>
                    <a:cubicBezTo>
                      <a:pt x="1132" y="358"/>
                      <a:pt x="1131" y="355"/>
                      <a:pt x="1132" y="353"/>
                    </a:cubicBezTo>
                    <a:cubicBezTo>
                      <a:pt x="1133" y="356"/>
                      <a:pt x="1133" y="359"/>
                      <a:pt x="1134" y="361"/>
                    </a:cubicBezTo>
                    <a:cubicBezTo>
                      <a:pt x="1134" y="358"/>
                      <a:pt x="1133" y="350"/>
                      <a:pt x="1130" y="348"/>
                    </a:cubicBezTo>
                    <a:cubicBezTo>
                      <a:pt x="1130" y="348"/>
                      <a:pt x="1130" y="348"/>
                      <a:pt x="1129" y="348"/>
                    </a:cubicBezTo>
                    <a:cubicBezTo>
                      <a:pt x="1129" y="348"/>
                      <a:pt x="1129" y="348"/>
                      <a:pt x="1128" y="348"/>
                    </a:cubicBezTo>
                    <a:cubicBezTo>
                      <a:pt x="1128" y="348"/>
                      <a:pt x="1128" y="348"/>
                      <a:pt x="1127" y="348"/>
                    </a:cubicBezTo>
                    <a:cubicBezTo>
                      <a:pt x="1127" y="348"/>
                      <a:pt x="1126" y="348"/>
                      <a:pt x="1126" y="348"/>
                    </a:cubicBezTo>
                    <a:cubicBezTo>
                      <a:pt x="1125" y="347"/>
                      <a:pt x="1125" y="347"/>
                      <a:pt x="1124" y="347"/>
                    </a:cubicBezTo>
                    <a:cubicBezTo>
                      <a:pt x="1124" y="347"/>
                      <a:pt x="1124" y="348"/>
                      <a:pt x="1123" y="348"/>
                    </a:cubicBezTo>
                    <a:cubicBezTo>
                      <a:pt x="1123" y="348"/>
                      <a:pt x="1123" y="348"/>
                      <a:pt x="1123" y="348"/>
                    </a:cubicBezTo>
                    <a:cubicBezTo>
                      <a:pt x="1124" y="348"/>
                      <a:pt x="1123" y="349"/>
                      <a:pt x="1123" y="349"/>
                    </a:cubicBezTo>
                    <a:cubicBezTo>
                      <a:pt x="1122" y="349"/>
                      <a:pt x="1119" y="349"/>
                      <a:pt x="1118" y="349"/>
                    </a:cubicBezTo>
                    <a:cubicBezTo>
                      <a:pt x="1121" y="348"/>
                      <a:pt x="1116" y="343"/>
                      <a:pt x="1115" y="341"/>
                    </a:cubicBezTo>
                    <a:cubicBezTo>
                      <a:pt x="1116" y="342"/>
                      <a:pt x="1117" y="343"/>
                      <a:pt x="1118" y="344"/>
                    </a:cubicBezTo>
                    <a:cubicBezTo>
                      <a:pt x="1119" y="345"/>
                      <a:pt x="1120" y="346"/>
                      <a:pt x="1121" y="346"/>
                    </a:cubicBezTo>
                    <a:cubicBezTo>
                      <a:pt x="1121" y="346"/>
                      <a:pt x="1122" y="346"/>
                      <a:pt x="1122" y="346"/>
                    </a:cubicBezTo>
                    <a:cubicBezTo>
                      <a:pt x="1122" y="343"/>
                      <a:pt x="1122" y="341"/>
                      <a:pt x="1120" y="339"/>
                    </a:cubicBezTo>
                    <a:cubicBezTo>
                      <a:pt x="1120" y="338"/>
                      <a:pt x="1120" y="338"/>
                      <a:pt x="1120" y="338"/>
                    </a:cubicBezTo>
                    <a:cubicBezTo>
                      <a:pt x="1120" y="339"/>
                      <a:pt x="1120" y="339"/>
                      <a:pt x="1120" y="339"/>
                    </a:cubicBezTo>
                    <a:cubicBezTo>
                      <a:pt x="1120" y="338"/>
                      <a:pt x="1120" y="338"/>
                      <a:pt x="1120" y="338"/>
                    </a:cubicBezTo>
                    <a:cubicBezTo>
                      <a:pt x="1119" y="338"/>
                      <a:pt x="1119" y="338"/>
                      <a:pt x="1119" y="338"/>
                    </a:cubicBezTo>
                    <a:cubicBezTo>
                      <a:pt x="1120" y="338"/>
                      <a:pt x="1120" y="338"/>
                      <a:pt x="1121" y="338"/>
                    </a:cubicBezTo>
                    <a:cubicBezTo>
                      <a:pt x="1121" y="338"/>
                      <a:pt x="1121" y="338"/>
                      <a:pt x="1121" y="338"/>
                    </a:cubicBezTo>
                    <a:cubicBezTo>
                      <a:pt x="1123" y="338"/>
                      <a:pt x="1124" y="338"/>
                      <a:pt x="1124" y="336"/>
                    </a:cubicBezTo>
                    <a:cubicBezTo>
                      <a:pt x="1126" y="333"/>
                      <a:pt x="1122" y="331"/>
                      <a:pt x="1120" y="329"/>
                    </a:cubicBezTo>
                    <a:cubicBezTo>
                      <a:pt x="1119" y="328"/>
                      <a:pt x="1119" y="328"/>
                      <a:pt x="1119" y="328"/>
                    </a:cubicBezTo>
                    <a:cubicBezTo>
                      <a:pt x="1119" y="327"/>
                      <a:pt x="1119" y="327"/>
                      <a:pt x="1119" y="327"/>
                    </a:cubicBezTo>
                    <a:cubicBezTo>
                      <a:pt x="1119" y="327"/>
                      <a:pt x="1120" y="327"/>
                      <a:pt x="1120" y="328"/>
                    </a:cubicBezTo>
                    <a:cubicBezTo>
                      <a:pt x="1120" y="328"/>
                      <a:pt x="1120" y="328"/>
                      <a:pt x="1120" y="328"/>
                    </a:cubicBezTo>
                    <a:cubicBezTo>
                      <a:pt x="1120" y="328"/>
                      <a:pt x="1120" y="328"/>
                      <a:pt x="1120" y="328"/>
                    </a:cubicBezTo>
                    <a:cubicBezTo>
                      <a:pt x="1120" y="328"/>
                      <a:pt x="1120" y="328"/>
                      <a:pt x="1120" y="328"/>
                    </a:cubicBezTo>
                    <a:cubicBezTo>
                      <a:pt x="1121" y="328"/>
                      <a:pt x="1121" y="329"/>
                      <a:pt x="1121" y="329"/>
                    </a:cubicBezTo>
                    <a:cubicBezTo>
                      <a:pt x="1122" y="329"/>
                      <a:pt x="1124" y="325"/>
                      <a:pt x="1124" y="324"/>
                    </a:cubicBezTo>
                    <a:cubicBezTo>
                      <a:pt x="1125" y="321"/>
                      <a:pt x="1125" y="322"/>
                      <a:pt x="1123" y="321"/>
                    </a:cubicBezTo>
                    <a:cubicBezTo>
                      <a:pt x="1121" y="319"/>
                      <a:pt x="1116" y="316"/>
                      <a:pt x="1114" y="315"/>
                    </a:cubicBezTo>
                    <a:cubicBezTo>
                      <a:pt x="1112" y="315"/>
                      <a:pt x="1110" y="314"/>
                      <a:pt x="1108" y="313"/>
                    </a:cubicBezTo>
                    <a:cubicBezTo>
                      <a:pt x="1107" y="312"/>
                      <a:pt x="1106" y="311"/>
                      <a:pt x="1105" y="310"/>
                    </a:cubicBezTo>
                    <a:cubicBezTo>
                      <a:pt x="1105" y="309"/>
                      <a:pt x="1105" y="309"/>
                      <a:pt x="1105" y="309"/>
                    </a:cubicBezTo>
                    <a:cubicBezTo>
                      <a:pt x="1105" y="309"/>
                      <a:pt x="1104" y="309"/>
                      <a:pt x="1104" y="309"/>
                    </a:cubicBezTo>
                    <a:cubicBezTo>
                      <a:pt x="1104" y="309"/>
                      <a:pt x="1104" y="310"/>
                      <a:pt x="1104" y="310"/>
                    </a:cubicBezTo>
                    <a:cubicBezTo>
                      <a:pt x="1104" y="310"/>
                      <a:pt x="1104" y="310"/>
                      <a:pt x="1104" y="310"/>
                    </a:cubicBezTo>
                    <a:cubicBezTo>
                      <a:pt x="1103" y="310"/>
                      <a:pt x="1103" y="310"/>
                      <a:pt x="1103" y="310"/>
                    </a:cubicBezTo>
                    <a:cubicBezTo>
                      <a:pt x="1103" y="310"/>
                      <a:pt x="1103" y="310"/>
                      <a:pt x="1102" y="310"/>
                    </a:cubicBezTo>
                    <a:cubicBezTo>
                      <a:pt x="1102" y="310"/>
                      <a:pt x="1102" y="310"/>
                      <a:pt x="1101" y="310"/>
                    </a:cubicBezTo>
                    <a:cubicBezTo>
                      <a:pt x="1101" y="310"/>
                      <a:pt x="1101" y="310"/>
                      <a:pt x="1100" y="310"/>
                    </a:cubicBezTo>
                    <a:cubicBezTo>
                      <a:pt x="1099" y="310"/>
                      <a:pt x="1099" y="310"/>
                      <a:pt x="1099" y="310"/>
                    </a:cubicBezTo>
                    <a:cubicBezTo>
                      <a:pt x="1102" y="305"/>
                      <a:pt x="1107" y="300"/>
                      <a:pt x="1106" y="295"/>
                    </a:cubicBezTo>
                    <a:cubicBezTo>
                      <a:pt x="1107" y="299"/>
                      <a:pt x="1104" y="302"/>
                      <a:pt x="1103" y="306"/>
                    </a:cubicBezTo>
                    <a:cubicBezTo>
                      <a:pt x="1102" y="307"/>
                      <a:pt x="1101" y="308"/>
                      <a:pt x="1102" y="309"/>
                    </a:cubicBezTo>
                    <a:cubicBezTo>
                      <a:pt x="1102" y="309"/>
                      <a:pt x="1103" y="309"/>
                      <a:pt x="1103" y="309"/>
                    </a:cubicBezTo>
                    <a:cubicBezTo>
                      <a:pt x="1104" y="309"/>
                      <a:pt x="1104" y="308"/>
                      <a:pt x="1104" y="307"/>
                    </a:cubicBezTo>
                    <a:cubicBezTo>
                      <a:pt x="1104" y="307"/>
                      <a:pt x="1105" y="308"/>
                      <a:pt x="1105" y="308"/>
                    </a:cubicBezTo>
                    <a:cubicBezTo>
                      <a:pt x="1106" y="308"/>
                      <a:pt x="1106" y="307"/>
                      <a:pt x="1106" y="306"/>
                    </a:cubicBezTo>
                    <a:cubicBezTo>
                      <a:pt x="1107" y="307"/>
                      <a:pt x="1108" y="310"/>
                      <a:pt x="1109" y="311"/>
                    </a:cubicBezTo>
                    <a:cubicBezTo>
                      <a:pt x="1109" y="311"/>
                      <a:pt x="1109" y="311"/>
                      <a:pt x="1109" y="311"/>
                    </a:cubicBezTo>
                    <a:cubicBezTo>
                      <a:pt x="1109" y="311"/>
                      <a:pt x="1110" y="310"/>
                      <a:pt x="1110" y="310"/>
                    </a:cubicBezTo>
                    <a:cubicBezTo>
                      <a:pt x="1111" y="310"/>
                      <a:pt x="1111" y="309"/>
                      <a:pt x="1111" y="309"/>
                    </a:cubicBezTo>
                    <a:cubicBezTo>
                      <a:pt x="1111" y="309"/>
                      <a:pt x="1111" y="309"/>
                      <a:pt x="1111" y="309"/>
                    </a:cubicBezTo>
                    <a:cubicBezTo>
                      <a:pt x="1113" y="310"/>
                      <a:pt x="1114" y="311"/>
                      <a:pt x="1116" y="312"/>
                    </a:cubicBezTo>
                    <a:cubicBezTo>
                      <a:pt x="1118" y="314"/>
                      <a:pt x="1121" y="316"/>
                      <a:pt x="1123" y="318"/>
                    </a:cubicBezTo>
                    <a:cubicBezTo>
                      <a:pt x="1123" y="316"/>
                      <a:pt x="1122" y="315"/>
                      <a:pt x="1122" y="313"/>
                    </a:cubicBezTo>
                    <a:cubicBezTo>
                      <a:pt x="1122" y="313"/>
                      <a:pt x="1122" y="311"/>
                      <a:pt x="1122" y="311"/>
                    </a:cubicBezTo>
                    <a:cubicBezTo>
                      <a:pt x="1121" y="311"/>
                      <a:pt x="1121" y="311"/>
                      <a:pt x="1121" y="311"/>
                    </a:cubicBezTo>
                    <a:cubicBezTo>
                      <a:pt x="1121" y="311"/>
                      <a:pt x="1121" y="311"/>
                      <a:pt x="1121" y="311"/>
                    </a:cubicBezTo>
                    <a:cubicBezTo>
                      <a:pt x="1120" y="311"/>
                      <a:pt x="1120" y="311"/>
                      <a:pt x="1120" y="311"/>
                    </a:cubicBezTo>
                    <a:cubicBezTo>
                      <a:pt x="1120" y="311"/>
                      <a:pt x="1120" y="311"/>
                      <a:pt x="1119" y="311"/>
                    </a:cubicBezTo>
                    <a:cubicBezTo>
                      <a:pt x="1116" y="308"/>
                      <a:pt x="1115" y="306"/>
                      <a:pt x="1115" y="301"/>
                    </a:cubicBezTo>
                    <a:cubicBezTo>
                      <a:pt x="1115" y="306"/>
                      <a:pt x="1116" y="307"/>
                      <a:pt x="1122" y="309"/>
                    </a:cubicBezTo>
                    <a:cubicBezTo>
                      <a:pt x="1121" y="307"/>
                      <a:pt x="1119" y="306"/>
                      <a:pt x="1118" y="303"/>
                    </a:cubicBezTo>
                    <a:cubicBezTo>
                      <a:pt x="1118" y="302"/>
                      <a:pt x="1118" y="300"/>
                      <a:pt x="1119" y="299"/>
                    </a:cubicBezTo>
                    <a:cubicBezTo>
                      <a:pt x="1120" y="293"/>
                      <a:pt x="1120" y="294"/>
                      <a:pt x="1117" y="290"/>
                    </a:cubicBezTo>
                    <a:cubicBezTo>
                      <a:pt x="1118" y="291"/>
                      <a:pt x="1119" y="292"/>
                      <a:pt x="1120" y="292"/>
                    </a:cubicBezTo>
                    <a:cubicBezTo>
                      <a:pt x="1119" y="290"/>
                      <a:pt x="1117" y="287"/>
                      <a:pt x="1116" y="285"/>
                    </a:cubicBezTo>
                    <a:cubicBezTo>
                      <a:pt x="1116" y="285"/>
                      <a:pt x="1116" y="285"/>
                      <a:pt x="1116" y="285"/>
                    </a:cubicBezTo>
                    <a:cubicBezTo>
                      <a:pt x="1119" y="285"/>
                      <a:pt x="1120" y="283"/>
                      <a:pt x="1122" y="281"/>
                    </a:cubicBezTo>
                    <a:cubicBezTo>
                      <a:pt x="1122" y="281"/>
                      <a:pt x="1122" y="281"/>
                      <a:pt x="1123" y="281"/>
                    </a:cubicBezTo>
                    <a:cubicBezTo>
                      <a:pt x="1123" y="281"/>
                      <a:pt x="1123" y="281"/>
                      <a:pt x="1123" y="281"/>
                    </a:cubicBezTo>
                    <a:cubicBezTo>
                      <a:pt x="1123" y="281"/>
                      <a:pt x="1123" y="281"/>
                      <a:pt x="1123" y="281"/>
                    </a:cubicBezTo>
                    <a:cubicBezTo>
                      <a:pt x="1123" y="281"/>
                      <a:pt x="1124" y="281"/>
                      <a:pt x="1124" y="280"/>
                    </a:cubicBezTo>
                    <a:cubicBezTo>
                      <a:pt x="1125" y="280"/>
                      <a:pt x="1125" y="279"/>
                      <a:pt x="1125" y="279"/>
                    </a:cubicBezTo>
                    <a:cubicBezTo>
                      <a:pt x="1125" y="279"/>
                      <a:pt x="1125" y="280"/>
                      <a:pt x="1125" y="280"/>
                    </a:cubicBezTo>
                    <a:cubicBezTo>
                      <a:pt x="1127" y="279"/>
                      <a:pt x="1130" y="277"/>
                      <a:pt x="1132" y="276"/>
                    </a:cubicBezTo>
                    <a:cubicBezTo>
                      <a:pt x="1137" y="277"/>
                      <a:pt x="1132" y="277"/>
                      <a:pt x="1133" y="279"/>
                    </a:cubicBezTo>
                    <a:cubicBezTo>
                      <a:pt x="1133" y="279"/>
                      <a:pt x="1130" y="280"/>
                      <a:pt x="1130" y="281"/>
                    </a:cubicBezTo>
                    <a:cubicBezTo>
                      <a:pt x="1130" y="282"/>
                      <a:pt x="1133" y="281"/>
                      <a:pt x="1134" y="282"/>
                    </a:cubicBezTo>
                    <a:cubicBezTo>
                      <a:pt x="1131" y="282"/>
                      <a:pt x="1128" y="281"/>
                      <a:pt x="1126" y="284"/>
                    </a:cubicBezTo>
                    <a:cubicBezTo>
                      <a:pt x="1125" y="285"/>
                      <a:pt x="1125" y="287"/>
                      <a:pt x="1124" y="288"/>
                    </a:cubicBezTo>
                    <a:cubicBezTo>
                      <a:pt x="1126" y="288"/>
                      <a:pt x="1127" y="288"/>
                      <a:pt x="1129" y="288"/>
                    </a:cubicBezTo>
                    <a:cubicBezTo>
                      <a:pt x="1128" y="289"/>
                      <a:pt x="1127" y="290"/>
                      <a:pt x="1127" y="292"/>
                    </a:cubicBezTo>
                    <a:cubicBezTo>
                      <a:pt x="1127" y="292"/>
                      <a:pt x="1126" y="292"/>
                      <a:pt x="1126" y="292"/>
                    </a:cubicBezTo>
                    <a:cubicBezTo>
                      <a:pt x="1126" y="292"/>
                      <a:pt x="1125" y="292"/>
                      <a:pt x="1125" y="292"/>
                    </a:cubicBezTo>
                    <a:cubicBezTo>
                      <a:pt x="1124" y="292"/>
                      <a:pt x="1124" y="291"/>
                      <a:pt x="1123" y="291"/>
                    </a:cubicBezTo>
                    <a:cubicBezTo>
                      <a:pt x="1123" y="291"/>
                      <a:pt x="1123" y="291"/>
                      <a:pt x="1123" y="292"/>
                    </a:cubicBezTo>
                    <a:cubicBezTo>
                      <a:pt x="1123" y="293"/>
                      <a:pt x="1122" y="295"/>
                      <a:pt x="1122" y="296"/>
                    </a:cubicBezTo>
                    <a:cubicBezTo>
                      <a:pt x="1122" y="295"/>
                      <a:pt x="1123" y="294"/>
                      <a:pt x="1124" y="294"/>
                    </a:cubicBezTo>
                    <a:cubicBezTo>
                      <a:pt x="1124" y="294"/>
                      <a:pt x="1124" y="294"/>
                      <a:pt x="1124" y="294"/>
                    </a:cubicBezTo>
                    <a:cubicBezTo>
                      <a:pt x="1125" y="294"/>
                      <a:pt x="1128" y="297"/>
                      <a:pt x="1128" y="298"/>
                    </a:cubicBezTo>
                    <a:cubicBezTo>
                      <a:pt x="1128" y="298"/>
                      <a:pt x="1125" y="299"/>
                      <a:pt x="1125" y="299"/>
                    </a:cubicBezTo>
                    <a:cubicBezTo>
                      <a:pt x="1126" y="301"/>
                      <a:pt x="1128" y="302"/>
                      <a:pt x="1131" y="303"/>
                    </a:cubicBezTo>
                    <a:cubicBezTo>
                      <a:pt x="1130" y="303"/>
                      <a:pt x="1130" y="303"/>
                      <a:pt x="1130" y="303"/>
                    </a:cubicBezTo>
                    <a:cubicBezTo>
                      <a:pt x="1129" y="303"/>
                      <a:pt x="1128" y="303"/>
                      <a:pt x="1128" y="303"/>
                    </a:cubicBezTo>
                    <a:cubicBezTo>
                      <a:pt x="1127" y="303"/>
                      <a:pt x="1126" y="302"/>
                      <a:pt x="1126" y="302"/>
                    </a:cubicBezTo>
                    <a:cubicBezTo>
                      <a:pt x="1126" y="302"/>
                      <a:pt x="1125" y="303"/>
                      <a:pt x="1124" y="303"/>
                    </a:cubicBezTo>
                    <a:cubicBezTo>
                      <a:pt x="1123" y="304"/>
                      <a:pt x="1124" y="304"/>
                      <a:pt x="1125" y="304"/>
                    </a:cubicBezTo>
                    <a:cubicBezTo>
                      <a:pt x="1125" y="304"/>
                      <a:pt x="1126" y="304"/>
                      <a:pt x="1126" y="304"/>
                    </a:cubicBezTo>
                    <a:cubicBezTo>
                      <a:pt x="1126" y="305"/>
                      <a:pt x="1123" y="306"/>
                      <a:pt x="1123" y="307"/>
                    </a:cubicBezTo>
                    <a:cubicBezTo>
                      <a:pt x="1124" y="308"/>
                      <a:pt x="1125" y="309"/>
                      <a:pt x="1125" y="311"/>
                    </a:cubicBezTo>
                    <a:cubicBezTo>
                      <a:pt x="1125" y="310"/>
                      <a:pt x="1125" y="309"/>
                      <a:pt x="1125" y="309"/>
                    </a:cubicBezTo>
                    <a:cubicBezTo>
                      <a:pt x="1127" y="309"/>
                      <a:pt x="1128" y="312"/>
                      <a:pt x="1129" y="312"/>
                    </a:cubicBezTo>
                    <a:cubicBezTo>
                      <a:pt x="1130" y="312"/>
                      <a:pt x="1130" y="312"/>
                      <a:pt x="1130" y="310"/>
                    </a:cubicBezTo>
                    <a:cubicBezTo>
                      <a:pt x="1130" y="311"/>
                      <a:pt x="1131" y="312"/>
                      <a:pt x="1131" y="312"/>
                    </a:cubicBezTo>
                    <a:cubicBezTo>
                      <a:pt x="1132" y="311"/>
                      <a:pt x="1133" y="309"/>
                      <a:pt x="1134" y="309"/>
                    </a:cubicBezTo>
                    <a:cubicBezTo>
                      <a:pt x="1134" y="310"/>
                      <a:pt x="1135" y="311"/>
                      <a:pt x="1134" y="313"/>
                    </a:cubicBezTo>
                    <a:cubicBezTo>
                      <a:pt x="1134" y="314"/>
                      <a:pt x="1132" y="315"/>
                      <a:pt x="1132" y="316"/>
                    </a:cubicBezTo>
                    <a:cubicBezTo>
                      <a:pt x="1132" y="315"/>
                      <a:pt x="1132" y="315"/>
                      <a:pt x="1132" y="315"/>
                    </a:cubicBezTo>
                    <a:cubicBezTo>
                      <a:pt x="1133" y="315"/>
                      <a:pt x="1133" y="316"/>
                      <a:pt x="1134" y="316"/>
                    </a:cubicBezTo>
                    <a:cubicBezTo>
                      <a:pt x="1134" y="316"/>
                      <a:pt x="1135" y="316"/>
                      <a:pt x="1136" y="316"/>
                    </a:cubicBezTo>
                    <a:cubicBezTo>
                      <a:pt x="1136" y="316"/>
                      <a:pt x="1136" y="316"/>
                      <a:pt x="1136" y="316"/>
                    </a:cubicBezTo>
                    <a:cubicBezTo>
                      <a:pt x="1135" y="317"/>
                      <a:pt x="1132" y="320"/>
                      <a:pt x="1134" y="321"/>
                    </a:cubicBezTo>
                    <a:cubicBezTo>
                      <a:pt x="1133" y="321"/>
                      <a:pt x="1139" y="320"/>
                      <a:pt x="1139" y="320"/>
                    </a:cubicBezTo>
                    <a:cubicBezTo>
                      <a:pt x="1135" y="326"/>
                      <a:pt x="1132" y="331"/>
                      <a:pt x="1130" y="338"/>
                    </a:cubicBezTo>
                    <a:cubicBezTo>
                      <a:pt x="1130" y="339"/>
                      <a:pt x="1130" y="342"/>
                      <a:pt x="1132" y="342"/>
                    </a:cubicBezTo>
                    <a:cubicBezTo>
                      <a:pt x="1132" y="342"/>
                      <a:pt x="1132" y="341"/>
                      <a:pt x="1133" y="341"/>
                    </a:cubicBezTo>
                    <a:cubicBezTo>
                      <a:pt x="1134" y="341"/>
                      <a:pt x="1133" y="337"/>
                      <a:pt x="1134" y="336"/>
                    </a:cubicBezTo>
                    <a:cubicBezTo>
                      <a:pt x="1135" y="334"/>
                      <a:pt x="1138" y="333"/>
                      <a:pt x="1139" y="331"/>
                    </a:cubicBezTo>
                    <a:cubicBezTo>
                      <a:pt x="1140" y="331"/>
                      <a:pt x="1140" y="330"/>
                      <a:pt x="1140" y="329"/>
                    </a:cubicBezTo>
                    <a:cubicBezTo>
                      <a:pt x="1140" y="327"/>
                      <a:pt x="1141" y="325"/>
                      <a:pt x="1142" y="324"/>
                    </a:cubicBezTo>
                    <a:cubicBezTo>
                      <a:pt x="1143" y="321"/>
                      <a:pt x="1145" y="319"/>
                      <a:pt x="1146" y="316"/>
                    </a:cubicBezTo>
                    <a:cubicBezTo>
                      <a:pt x="1148" y="314"/>
                      <a:pt x="1150" y="308"/>
                      <a:pt x="1152" y="307"/>
                    </a:cubicBezTo>
                    <a:cubicBezTo>
                      <a:pt x="1152" y="308"/>
                      <a:pt x="1152" y="309"/>
                      <a:pt x="1152" y="310"/>
                    </a:cubicBezTo>
                    <a:cubicBezTo>
                      <a:pt x="1153" y="308"/>
                      <a:pt x="1153" y="305"/>
                      <a:pt x="1152" y="302"/>
                    </a:cubicBezTo>
                    <a:cubicBezTo>
                      <a:pt x="1152" y="303"/>
                      <a:pt x="1151" y="303"/>
                      <a:pt x="1150" y="303"/>
                    </a:cubicBezTo>
                    <a:cubicBezTo>
                      <a:pt x="1150" y="303"/>
                      <a:pt x="1150" y="303"/>
                      <a:pt x="1149" y="303"/>
                    </a:cubicBezTo>
                    <a:cubicBezTo>
                      <a:pt x="1150" y="303"/>
                      <a:pt x="1150" y="302"/>
                      <a:pt x="1150" y="302"/>
                    </a:cubicBezTo>
                    <a:cubicBezTo>
                      <a:pt x="1151" y="301"/>
                      <a:pt x="1151" y="299"/>
                      <a:pt x="1152" y="297"/>
                    </a:cubicBezTo>
                    <a:cubicBezTo>
                      <a:pt x="1146" y="295"/>
                      <a:pt x="1144" y="286"/>
                      <a:pt x="1141" y="281"/>
                    </a:cubicBezTo>
                    <a:cubicBezTo>
                      <a:pt x="1140" y="279"/>
                      <a:pt x="1139" y="278"/>
                      <a:pt x="1139" y="276"/>
                    </a:cubicBezTo>
                    <a:cubicBezTo>
                      <a:pt x="1141" y="270"/>
                      <a:pt x="1148" y="267"/>
                      <a:pt x="1152" y="265"/>
                    </a:cubicBezTo>
                    <a:cubicBezTo>
                      <a:pt x="1152" y="265"/>
                      <a:pt x="1152" y="265"/>
                      <a:pt x="1152" y="265"/>
                    </a:cubicBezTo>
                    <a:cubicBezTo>
                      <a:pt x="1152" y="265"/>
                      <a:pt x="1152" y="265"/>
                      <a:pt x="1153" y="264"/>
                    </a:cubicBezTo>
                    <a:cubicBezTo>
                      <a:pt x="1149" y="267"/>
                      <a:pt x="1144" y="269"/>
                      <a:pt x="1142" y="273"/>
                    </a:cubicBezTo>
                    <a:cubicBezTo>
                      <a:pt x="1139" y="279"/>
                      <a:pt x="1144" y="281"/>
                      <a:pt x="1149" y="285"/>
                    </a:cubicBezTo>
                    <a:cubicBezTo>
                      <a:pt x="1151" y="287"/>
                      <a:pt x="1156" y="286"/>
                      <a:pt x="1156" y="289"/>
                    </a:cubicBezTo>
                    <a:cubicBezTo>
                      <a:pt x="1156" y="290"/>
                      <a:pt x="1155" y="292"/>
                      <a:pt x="1155" y="294"/>
                    </a:cubicBezTo>
                    <a:cubicBezTo>
                      <a:pt x="1156" y="294"/>
                      <a:pt x="1161" y="290"/>
                      <a:pt x="1160" y="289"/>
                    </a:cubicBezTo>
                    <a:cubicBezTo>
                      <a:pt x="1161" y="288"/>
                      <a:pt x="1162" y="286"/>
                      <a:pt x="1163" y="285"/>
                    </a:cubicBezTo>
                    <a:cubicBezTo>
                      <a:pt x="1162" y="284"/>
                      <a:pt x="1162" y="284"/>
                      <a:pt x="1162" y="284"/>
                    </a:cubicBezTo>
                    <a:cubicBezTo>
                      <a:pt x="1163" y="284"/>
                      <a:pt x="1169" y="282"/>
                      <a:pt x="1166" y="281"/>
                    </a:cubicBezTo>
                    <a:cubicBezTo>
                      <a:pt x="1167" y="280"/>
                      <a:pt x="1169" y="279"/>
                      <a:pt x="1170" y="278"/>
                    </a:cubicBezTo>
                    <a:cubicBezTo>
                      <a:pt x="1170" y="278"/>
                      <a:pt x="1171" y="275"/>
                      <a:pt x="1172" y="275"/>
                    </a:cubicBezTo>
                    <a:cubicBezTo>
                      <a:pt x="1174" y="272"/>
                      <a:pt x="1172" y="273"/>
                      <a:pt x="1173" y="271"/>
                    </a:cubicBezTo>
                    <a:cubicBezTo>
                      <a:pt x="1173" y="270"/>
                      <a:pt x="1174" y="269"/>
                      <a:pt x="1174" y="269"/>
                    </a:cubicBezTo>
                    <a:cubicBezTo>
                      <a:pt x="1174" y="267"/>
                      <a:pt x="1174" y="265"/>
                      <a:pt x="1176" y="263"/>
                    </a:cubicBezTo>
                    <a:cubicBezTo>
                      <a:pt x="1176" y="266"/>
                      <a:pt x="1174" y="268"/>
                      <a:pt x="1175" y="271"/>
                    </a:cubicBezTo>
                    <a:cubicBezTo>
                      <a:pt x="1176" y="267"/>
                      <a:pt x="1176" y="263"/>
                      <a:pt x="1177" y="259"/>
                    </a:cubicBezTo>
                    <a:cubicBezTo>
                      <a:pt x="1177" y="257"/>
                      <a:pt x="1178" y="255"/>
                      <a:pt x="1177" y="254"/>
                    </a:cubicBezTo>
                    <a:cubicBezTo>
                      <a:pt x="1176" y="252"/>
                      <a:pt x="1171" y="253"/>
                      <a:pt x="1170" y="252"/>
                    </a:cubicBezTo>
                    <a:cubicBezTo>
                      <a:pt x="1170" y="251"/>
                      <a:pt x="1171" y="250"/>
                      <a:pt x="1172" y="249"/>
                    </a:cubicBezTo>
                    <a:cubicBezTo>
                      <a:pt x="1171" y="248"/>
                      <a:pt x="1170" y="247"/>
                      <a:pt x="1170" y="245"/>
                    </a:cubicBezTo>
                    <a:cubicBezTo>
                      <a:pt x="1170" y="242"/>
                      <a:pt x="1173" y="239"/>
                      <a:pt x="1177" y="239"/>
                    </a:cubicBezTo>
                    <a:cubicBezTo>
                      <a:pt x="1177" y="239"/>
                      <a:pt x="1177" y="239"/>
                      <a:pt x="1177" y="239"/>
                    </a:cubicBezTo>
                    <a:cubicBezTo>
                      <a:pt x="1177" y="239"/>
                      <a:pt x="1177" y="239"/>
                      <a:pt x="1177" y="239"/>
                    </a:cubicBezTo>
                    <a:cubicBezTo>
                      <a:pt x="1178" y="239"/>
                      <a:pt x="1178" y="239"/>
                      <a:pt x="1178" y="239"/>
                    </a:cubicBezTo>
                    <a:cubicBezTo>
                      <a:pt x="1178" y="239"/>
                      <a:pt x="1178" y="239"/>
                      <a:pt x="1178" y="239"/>
                    </a:cubicBezTo>
                    <a:cubicBezTo>
                      <a:pt x="1179" y="240"/>
                      <a:pt x="1180" y="240"/>
                      <a:pt x="1181" y="241"/>
                    </a:cubicBezTo>
                    <a:cubicBezTo>
                      <a:pt x="1183" y="240"/>
                      <a:pt x="1184" y="237"/>
                      <a:pt x="1187" y="236"/>
                    </a:cubicBezTo>
                    <a:cubicBezTo>
                      <a:pt x="1192" y="234"/>
                      <a:pt x="1197" y="231"/>
                      <a:pt x="1202" y="229"/>
                    </a:cubicBezTo>
                    <a:cubicBezTo>
                      <a:pt x="1203" y="229"/>
                      <a:pt x="1203" y="229"/>
                      <a:pt x="1204" y="229"/>
                    </a:cubicBezTo>
                    <a:cubicBezTo>
                      <a:pt x="1206" y="229"/>
                      <a:pt x="1208" y="229"/>
                      <a:pt x="1210" y="229"/>
                    </a:cubicBezTo>
                    <a:cubicBezTo>
                      <a:pt x="1212" y="228"/>
                      <a:pt x="1214" y="228"/>
                      <a:pt x="1215" y="228"/>
                    </a:cubicBezTo>
                    <a:cubicBezTo>
                      <a:pt x="1215" y="228"/>
                      <a:pt x="1216" y="228"/>
                      <a:pt x="1216" y="228"/>
                    </a:cubicBezTo>
                    <a:cubicBezTo>
                      <a:pt x="1219" y="228"/>
                      <a:pt x="1222" y="228"/>
                      <a:pt x="1225" y="228"/>
                    </a:cubicBezTo>
                    <a:cubicBezTo>
                      <a:pt x="1228" y="228"/>
                      <a:pt x="1231" y="228"/>
                      <a:pt x="1235" y="227"/>
                    </a:cubicBezTo>
                    <a:cubicBezTo>
                      <a:pt x="1237" y="226"/>
                      <a:pt x="1237" y="217"/>
                      <a:pt x="1237" y="215"/>
                    </a:cubicBezTo>
                    <a:cubicBezTo>
                      <a:pt x="1238" y="217"/>
                      <a:pt x="1239" y="217"/>
                      <a:pt x="1240" y="217"/>
                    </a:cubicBezTo>
                    <a:cubicBezTo>
                      <a:pt x="1241" y="217"/>
                      <a:pt x="1242" y="216"/>
                      <a:pt x="1244" y="216"/>
                    </a:cubicBezTo>
                    <a:cubicBezTo>
                      <a:pt x="1242" y="219"/>
                      <a:pt x="1242" y="219"/>
                      <a:pt x="1243" y="223"/>
                    </a:cubicBezTo>
                    <a:cubicBezTo>
                      <a:pt x="1246" y="221"/>
                      <a:pt x="1250" y="217"/>
                      <a:pt x="1253" y="217"/>
                    </a:cubicBezTo>
                    <a:cubicBezTo>
                      <a:pt x="1254" y="217"/>
                      <a:pt x="1254" y="217"/>
                      <a:pt x="1254" y="217"/>
                    </a:cubicBezTo>
                    <a:cubicBezTo>
                      <a:pt x="1255" y="217"/>
                      <a:pt x="1255" y="217"/>
                      <a:pt x="1254" y="218"/>
                    </a:cubicBezTo>
                    <a:cubicBezTo>
                      <a:pt x="1256" y="218"/>
                      <a:pt x="1261" y="219"/>
                      <a:pt x="1265" y="219"/>
                    </a:cubicBezTo>
                    <a:cubicBezTo>
                      <a:pt x="1268" y="219"/>
                      <a:pt x="1270" y="219"/>
                      <a:pt x="1271" y="217"/>
                    </a:cubicBezTo>
                    <a:cubicBezTo>
                      <a:pt x="1272" y="217"/>
                      <a:pt x="1271" y="214"/>
                      <a:pt x="1271" y="213"/>
                    </a:cubicBezTo>
                    <a:cubicBezTo>
                      <a:pt x="1270" y="211"/>
                      <a:pt x="1269" y="208"/>
                      <a:pt x="1267" y="208"/>
                    </a:cubicBezTo>
                    <a:cubicBezTo>
                      <a:pt x="1267" y="208"/>
                      <a:pt x="1265" y="207"/>
                      <a:pt x="1264" y="207"/>
                    </a:cubicBezTo>
                    <a:cubicBezTo>
                      <a:pt x="1264" y="207"/>
                      <a:pt x="1264" y="207"/>
                      <a:pt x="1264" y="208"/>
                    </a:cubicBezTo>
                    <a:cubicBezTo>
                      <a:pt x="1264" y="208"/>
                      <a:pt x="1264" y="208"/>
                      <a:pt x="1265" y="208"/>
                    </a:cubicBezTo>
                    <a:cubicBezTo>
                      <a:pt x="1265" y="208"/>
                      <a:pt x="1265" y="208"/>
                      <a:pt x="1265" y="208"/>
                    </a:cubicBezTo>
                    <a:cubicBezTo>
                      <a:pt x="1266" y="208"/>
                      <a:pt x="1266" y="208"/>
                      <a:pt x="1266" y="208"/>
                    </a:cubicBezTo>
                    <a:cubicBezTo>
                      <a:pt x="1266" y="208"/>
                      <a:pt x="1266" y="208"/>
                      <a:pt x="1266" y="208"/>
                    </a:cubicBezTo>
                    <a:cubicBezTo>
                      <a:pt x="1267" y="209"/>
                      <a:pt x="1267" y="210"/>
                      <a:pt x="1268" y="211"/>
                    </a:cubicBezTo>
                    <a:cubicBezTo>
                      <a:pt x="1270" y="215"/>
                      <a:pt x="1270" y="216"/>
                      <a:pt x="1265" y="217"/>
                    </a:cubicBezTo>
                    <a:cubicBezTo>
                      <a:pt x="1264" y="217"/>
                      <a:pt x="1263" y="217"/>
                      <a:pt x="1262" y="217"/>
                    </a:cubicBezTo>
                    <a:cubicBezTo>
                      <a:pt x="1261" y="217"/>
                      <a:pt x="1260" y="217"/>
                      <a:pt x="1259" y="216"/>
                    </a:cubicBezTo>
                    <a:cubicBezTo>
                      <a:pt x="1257" y="215"/>
                      <a:pt x="1257" y="211"/>
                      <a:pt x="1256" y="209"/>
                    </a:cubicBezTo>
                    <a:cubicBezTo>
                      <a:pt x="1255" y="207"/>
                      <a:pt x="1254" y="204"/>
                      <a:pt x="1252" y="203"/>
                    </a:cubicBezTo>
                    <a:cubicBezTo>
                      <a:pt x="1251" y="202"/>
                      <a:pt x="1251" y="202"/>
                      <a:pt x="1250" y="202"/>
                    </a:cubicBezTo>
                    <a:cubicBezTo>
                      <a:pt x="1250" y="202"/>
                      <a:pt x="1249" y="202"/>
                      <a:pt x="1249" y="202"/>
                    </a:cubicBezTo>
                    <a:cubicBezTo>
                      <a:pt x="1249" y="202"/>
                      <a:pt x="1249" y="202"/>
                      <a:pt x="1248" y="202"/>
                    </a:cubicBezTo>
                    <a:cubicBezTo>
                      <a:pt x="1248" y="202"/>
                      <a:pt x="1247" y="202"/>
                      <a:pt x="1245" y="199"/>
                    </a:cubicBezTo>
                    <a:cubicBezTo>
                      <a:pt x="1247" y="199"/>
                      <a:pt x="1249" y="195"/>
                      <a:pt x="1251" y="194"/>
                    </a:cubicBezTo>
                    <a:cubicBezTo>
                      <a:pt x="1252" y="193"/>
                      <a:pt x="1258" y="192"/>
                      <a:pt x="1255" y="190"/>
                    </a:cubicBezTo>
                    <a:cubicBezTo>
                      <a:pt x="1255" y="191"/>
                      <a:pt x="1254" y="192"/>
                      <a:pt x="1254" y="192"/>
                    </a:cubicBezTo>
                    <a:cubicBezTo>
                      <a:pt x="1253" y="192"/>
                      <a:pt x="1253" y="191"/>
                      <a:pt x="1252" y="190"/>
                    </a:cubicBezTo>
                    <a:cubicBezTo>
                      <a:pt x="1250" y="187"/>
                      <a:pt x="1251" y="181"/>
                      <a:pt x="1254" y="178"/>
                    </a:cubicBezTo>
                    <a:cubicBezTo>
                      <a:pt x="1257" y="174"/>
                      <a:pt x="1264" y="169"/>
                      <a:pt x="1265" y="164"/>
                    </a:cubicBezTo>
                    <a:cubicBezTo>
                      <a:pt x="1266" y="159"/>
                      <a:pt x="1266" y="159"/>
                      <a:pt x="1270" y="157"/>
                    </a:cubicBezTo>
                    <a:cubicBezTo>
                      <a:pt x="1269" y="158"/>
                      <a:pt x="1269" y="158"/>
                      <a:pt x="1269" y="158"/>
                    </a:cubicBezTo>
                    <a:cubicBezTo>
                      <a:pt x="1271" y="157"/>
                      <a:pt x="1271" y="157"/>
                      <a:pt x="1272" y="157"/>
                    </a:cubicBezTo>
                    <a:cubicBezTo>
                      <a:pt x="1273" y="157"/>
                      <a:pt x="1273" y="158"/>
                      <a:pt x="1275" y="160"/>
                    </a:cubicBezTo>
                    <a:cubicBezTo>
                      <a:pt x="1274" y="158"/>
                      <a:pt x="1273" y="153"/>
                      <a:pt x="1275" y="151"/>
                    </a:cubicBezTo>
                    <a:cubicBezTo>
                      <a:pt x="1275" y="151"/>
                      <a:pt x="1275" y="151"/>
                      <a:pt x="1275" y="151"/>
                    </a:cubicBezTo>
                    <a:cubicBezTo>
                      <a:pt x="1275" y="152"/>
                      <a:pt x="1275" y="152"/>
                      <a:pt x="1275" y="153"/>
                    </a:cubicBezTo>
                    <a:cubicBezTo>
                      <a:pt x="1274" y="153"/>
                      <a:pt x="1274" y="153"/>
                      <a:pt x="1274" y="153"/>
                    </a:cubicBezTo>
                    <a:cubicBezTo>
                      <a:pt x="1274" y="156"/>
                      <a:pt x="1275" y="158"/>
                      <a:pt x="1276" y="159"/>
                    </a:cubicBezTo>
                    <a:cubicBezTo>
                      <a:pt x="1277" y="157"/>
                      <a:pt x="1277" y="155"/>
                      <a:pt x="1278" y="153"/>
                    </a:cubicBezTo>
                    <a:cubicBezTo>
                      <a:pt x="1278" y="153"/>
                      <a:pt x="1278" y="153"/>
                      <a:pt x="1278" y="153"/>
                    </a:cubicBezTo>
                    <a:cubicBezTo>
                      <a:pt x="1278" y="153"/>
                      <a:pt x="1278" y="153"/>
                      <a:pt x="1278" y="153"/>
                    </a:cubicBezTo>
                    <a:cubicBezTo>
                      <a:pt x="1278" y="153"/>
                      <a:pt x="1278" y="152"/>
                      <a:pt x="1278" y="152"/>
                    </a:cubicBezTo>
                    <a:cubicBezTo>
                      <a:pt x="1278" y="153"/>
                      <a:pt x="1278" y="153"/>
                      <a:pt x="1278" y="153"/>
                    </a:cubicBezTo>
                    <a:cubicBezTo>
                      <a:pt x="1277" y="154"/>
                      <a:pt x="1278" y="157"/>
                      <a:pt x="1279" y="158"/>
                    </a:cubicBezTo>
                    <a:cubicBezTo>
                      <a:pt x="1280" y="157"/>
                      <a:pt x="1280" y="156"/>
                      <a:pt x="1280" y="155"/>
                    </a:cubicBezTo>
                    <a:cubicBezTo>
                      <a:pt x="1280" y="154"/>
                      <a:pt x="1280" y="154"/>
                      <a:pt x="1280" y="154"/>
                    </a:cubicBezTo>
                    <a:cubicBezTo>
                      <a:pt x="1280" y="153"/>
                      <a:pt x="1280" y="153"/>
                      <a:pt x="1280" y="153"/>
                    </a:cubicBezTo>
                    <a:cubicBezTo>
                      <a:pt x="1281" y="153"/>
                      <a:pt x="1281" y="153"/>
                      <a:pt x="1281"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3"/>
                      <a:pt x="1280" y="153"/>
                      <a:pt x="1280" y="153"/>
                    </a:cubicBezTo>
                    <a:cubicBezTo>
                      <a:pt x="1280" y="154"/>
                      <a:pt x="1280" y="154"/>
                      <a:pt x="1280" y="155"/>
                    </a:cubicBezTo>
                    <a:cubicBezTo>
                      <a:pt x="1280" y="155"/>
                      <a:pt x="1280" y="155"/>
                      <a:pt x="1280" y="155"/>
                    </a:cubicBezTo>
                    <a:cubicBezTo>
                      <a:pt x="1282" y="155"/>
                      <a:pt x="1283" y="153"/>
                      <a:pt x="1285" y="151"/>
                    </a:cubicBezTo>
                    <a:cubicBezTo>
                      <a:pt x="1284" y="152"/>
                      <a:pt x="1285" y="152"/>
                      <a:pt x="1285" y="153"/>
                    </a:cubicBezTo>
                    <a:cubicBezTo>
                      <a:pt x="1287" y="153"/>
                      <a:pt x="1291" y="153"/>
                      <a:pt x="1291" y="150"/>
                    </a:cubicBezTo>
                    <a:cubicBezTo>
                      <a:pt x="1289" y="150"/>
                      <a:pt x="1294" y="143"/>
                      <a:pt x="1295" y="142"/>
                    </a:cubicBezTo>
                    <a:cubicBezTo>
                      <a:pt x="1295" y="141"/>
                      <a:pt x="1298" y="137"/>
                      <a:pt x="1298" y="137"/>
                    </a:cubicBezTo>
                    <a:cubicBezTo>
                      <a:pt x="1299" y="137"/>
                      <a:pt x="1299" y="137"/>
                      <a:pt x="1299" y="138"/>
                    </a:cubicBezTo>
                    <a:cubicBezTo>
                      <a:pt x="1299" y="139"/>
                      <a:pt x="1298" y="140"/>
                      <a:pt x="1297" y="141"/>
                    </a:cubicBezTo>
                    <a:cubicBezTo>
                      <a:pt x="1298" y="141"/>
                      <a:pt x="1299" y="141"/>
                      <a:pt x="1299" y="140"/>
                    </a:cubicBezTo>
                    <a:cubicBezTo>
                      <a:pt x="1299" y="141"/>
                      <a:pt x="1297" y="142"/>
                      <a:pt x="1297" y="144"/>
                    </a:cubicBezTo>
                    <a:cubicBezTo>
                      <a:pt x="1297" y="144"/>
                      <a:pt x="1298" y="143"/>
                      <a:pt x="1298" y="143"/>
                    </a:cubicBezTo>
                    <a:cubicBezTo>
                      <a:pt x="1300" y="143"/>
                      <a:pt x="1303" y="145"/>
                      <a:pt x="1304" y="146"/>
                    </a:cubicBezTo>
                    <a:cubicBezTo>
                      <a:pt x="1303" y="143"/>
                      <a:pt x="1304" y="141"/>
                      <a:pt x="1306" y="139"/>
                    </a:cubicBezTo>
                    <a:cubicBezTo>
                      <a:pt x="1307" y="139"/>
                      <a:pt x="1308" y="138"/>
                      <a:pt x="1310" y="138"/>
                    </a:cubicBezTo>
                    <a:cubicBezTo>
                      <a:pt x="1311" y="138"/>
                      <a:pt x="1312" y="138"/>
                      <a:pt x="1312" y="139"/>
                    </a:cubicBezTo>
                    <a:cubicBezTo>
                      <a:pt x="1312" y="139"/>
                      <a:pt x="1312" y="139"/>
                      <a:pt x="1312" y="139"/>
                    </a:cubicBezTo>
                    <a:cubicBezTo>
                      <a:pt x="1314" y="139"/>
                      <a:pt x="1313" y="141"/>
                      <a:pt x="1315" y="143"/>
                    </a:cubicBezTo>
                    <a:cubicBezTo>
                      <a:pt x="1316" y="142"/>
                      <a:pt x="1316" y="140"/>
                      <a:pt x="1317" y="139"/>
                    </a:cubicBezTo>
                    <a:cubicBezTo>
                      <a:pt x="1317" y="140"/>
                      <a:pt x="1318" y="141"/>
                      <a:pt x="1318" y="141"/>
                    </a:cubicBezTo>
                    <a:cubicBezTo>
                      <a:pt x="1319" y="139"/>
                      <a:pt x="1320" y="137"/>
                      <a:pt x="1321" y="136"/>
                    </a:cubicBezTo>
                    <a:cubicBezTo>
                      <a:pt x="1321" y="136"/>
                      <a:pt x="1322" y="136"/>
                      <a:pt x="1322" y="136"/>
                    </a:cubicBezTo>
                    <a:cubicBezTo>
                      <a:pt x="1323" y="136"/>
                      <a:pt x="1325" y="135"/>
                      <a:pt x="1326" y="135"/>
                    </a:cubicBezTo>
                    <a:cubicBezTo>
                      <a:pt x="1328" y="134"/>
                      <a:pt x="1329" y="133"/>
                      <a:pt x="1330" y="133"/>
                    </a:cubicBezTo>
                    <a:cubicBezTo>
                      <a:pt x="1330" y="133"/>
                      <a:pt x="1331" y="133"/>
                      <a:pt x="1331" y="133"/>
                    </a:cubicBezTo>
                    <a:cubicBezTo>
                      <a:pt x="1332" y="133"/>
                      <a:pt x="1332" y="135"/>
                      <a:pt x="1333" y="135"/>
                    </a:cubicBezTo>
                    <a:cubicBezTo>
                      <a:pt x="1333" y="135"/>
                      <a:pt x="1334" y="135"/>
                      <a:pt x="1334" y="134"/>
                    </a:cubicBezTo>
                    <a:cubicBezTo>
                      <a:pt x="1335" y="133"/>
                      <a:pt x="1337" y="132"/>
                      <a:pt x="1339" y="130"/>
                    </a:cubicBezTo>
                    <a:cubicBezTo>
                      <a:pt x="1340" y="129"/>
                      <a:pt x="1340" y="129"/>
                      <a:pt x="1339" y="128"/>
                    </a:cubicBezTo>
                    <a:cubicBezTo>
                      <a:pt x="1338" y="128"/>
                      <a:pt x="1338" y="129"/>
                      <a:pt x="1338" y="129"/>
                    </a:cubicBezTo>
                    <a:cubicBezTo>
                      <a:pt x="1338" y="129"/>
                      <a:pt x="1337" y="128"/>
                      <a:pt x="1337" y="128"/>
                    </a:cubicBezTo>
                    <a:cubicBezTo>
                      <a:pt x="1337" y="128"/>
                      <a:pt x="1337" y="128"/>
                      <a:pt x="1336" y="128"/>
                    </a:cubicBezTo>
                    <a:cubicBezTo>
                      <a:pt x="1335" y="128"/>
                      <a:pt x="1334" y="127"/>
                      <a:pt x="1336" y="126"/>
                    </a:cubicBezTo>
                    <a:cubicBezTo>
                      <a:pt x="1337" y="126"/>
                      <a:pt x="1338" y="126"/>
                      <a:pt x="1338" y="125"/>
                    </a:cubicBezTo>
                    <a:cubicBezTo>
                      <a:pt x="1338" y="124"/>
                      <a:pt x="1338" y="124"/>
                      <a:pt x="1338" y="124"/>
                    </a:cubicBezTo>
                    <a:cubicBezTo>
                      <a:pt x="1337" y="124"/>
                      <a:pt x="1337" y="124"/>
                      <a:pt x="1337" y="124"/>
                    </a:cubicBezTo>
                    <a:cubicBezTo>
                      <a:pt x="1337" y="124"/>
                      <a:pt x="1337" y="124"/>
                      <a:pt x="1337" y="124"/>
                    </a:cubicBezTo>
                    <a:cubicBezTo>
                      <a:pt x="1335" y="123"/>
                      <a:pt x="1335" y="123"/>
                      <a:pt x="1335" y="123"/>
                    </a:cubicBezTo>
                    <a:cubicBezTo>
                      <a:pt x="1334" y="123"/>
                      <a:pt x="1333" y="123"/>
                      <a:pt x="1333" y="123"/>
                    </a:cubicBezTo>
                    <a:cubicBezTo>
                      <a:pt x="1332" y="123"/>
                      <a:pt x="1331" y="123"/>
                      <a:pt x="1330" y="123"/>
                    </a:cubicBezTo>
                    <a:cubicBezTo>
                      <a:pt x="1327" y="121"/>
                      <a:pt x="1328" y="116"/>
                      <a:pt x="1328" y="115"/>
                    </a:cubicBezTo>
                    <a:cubicBezTo>
                      <a:pt x="1328" y="115"/>
                      <a:pt x="1328" y="114"/>
                      <a:pt x="1328" y="114"/>
                    </a:cubicBezTo>
                    <a:cubicBezTo>
                      <a:pt x="1328" y="112"/>
                      <a:pt x="1328" y="111"/>
                      <a:pt x="1328" y="110"/>
                    </a:cubicBezTo>
                    <a:cubicBezTo>
                      <a:pt x="1324" y="110"/>
                      <a:pt x="1322" y="109"/>
                      <a:pt x="1320" y="106"/>
                    </a:cubicBezTo>
                    <a:cubicBezTo>
                      <a:pt x="1318" y="104"/>
                      <a:pt x="1319" y="101"/>
                      <a:pt x="1319" y="99"/>
                    </a:cubicBezTo>
                    <a:cubicBezTo>
                      <a:pt x="1319" y="97"/>
                      <a:pt x="1319" y="81"/>
                      <a:pt x="1319" y="73"/>
                    </a:cubicBezTo>
                    <a:cubicBezTo>
                      <a:pt x="1319" y="69"/>
                      <a:pt x="1319" y="65"/>
                      <a:pt x="1318" y="65"/>
                    </a:cubicBezTo>
                    <a:cubicBezTo>
                      <a:pt x="1318" y="65"/>
                      <a:pt x="1318" y="65"/>
                      <a:pt x="1318" y="65"/>
                    </a:cubicBezTo>
                    <a:cubicBezTo>
                      <a:pt x="1317" y="64"/>
                      <a:pt x="1316" y="64"/>
                      <a:pt x="1315" y="63"/>
                    </a:cubicBezTo>
                    <a:cubicBezTo>
                      <a:pt x="1314" y="62"/>
                      <a:pt x="1312" y="61"/>
                      <a:pt x="1311" y="60"/>
                    </a:cubicBezTo>
                    <a:cubicBezTo>
                      <a:pt x="1311" y="59"/>
                      <a:pt x="1311" y="59"/>
                      <a:pt x="1311" y="59"/>
                    </a:cubicBezTo>
                    <a:cubicBezTo>
                      <a:pt x="1310" y="59"/>
                      <a:pt x="1308" y="60"/>
                      <a:pt x="1302" y="62"/>
                    </a:cubicBezTo>
                    <a:cubicBezTo>
                      <a:pt x="1302" y="63"/>
                      <a:pt x="1301" y="63"/>
                      <a:pt x="1301" y="63"/>
                    </a:cubicBezTo>
                    <a:cubicBezTo>
                      <a:pt x="1300" y="63"/>
                      <a:pt x="1300" y="63"/>
                      <a:pt x="1300" y="63"/>
                    </a:cubicBezTo>
                    <a:cubicBezTo>
                      <a:pt x="1299" y="64"/>
                      <a:pt x="1298" y="64"/>
                      <a:pt x="1297" y="64"/>
                    </a:cubicBezTo>
                    <a:cubicBezTo>
                      <a:pt x="1294" y="64"/>
                      <a:pt x="1292" y="61"/>
                      <a:pt x="1291" y="60"/>
                    </a:cubicBezTo>
                    <a:cubicBezTo>
                      <a:pt x="1290" y="59"/>
                      <a:pt x="1290" y="59"/>
                      <a:pt x="1290" y="59"/>
                    </a:cubicBezTo>
                    <a:cubicBezTo>
                      <a:pt x="1290" y="58"/>
                      <a:pt x="1290" y="58"/>
                      <a:pt x="1290" y="58"/>
                    </a:cubicBezTo>
                    <a:cubicBezTo>
                      <a:pt x="1290" y="57"/>
                      <a:pt x="1290" y="57"/>
                      <a:pt x="1290" y="56"/>
                    </a:cubicBezTo>
                    <a:cubicBezTo>
                      <a:pt x="1290" y="56"/>
                      <a:pt x="1289" y="57"/>
                      <a:pt x="1289" y="58"/>
                    </a:cubicBezTo>
                    <a:cubicBezTo>
                      <a:pt x="1289" y="58"/>
                      <a:pt x="1287" y="61"/>
                      <a:pt x="1281" y="71"/>
                    </a:cubicBezTo>
                    <a:cubicBezTo>
                      <a:pt x="1274" y="83"/>
                      <a:pt x="1274" y="83"/>
                      <a:pt x="1274" y="83"/>
                    </a:cubicBezTo>
                    <a:cubicBezTo>
                      <a:pt x="1272" y="86"/>
                      <a:pt x="1268" y="93"/>
                      <a:pt x="1267" y="95"/>
                    </a:cubicBezTo>
                    <a:cubicBezTo>
                      <a:pt x="1269" y="97"/>
                      <a:pt x="1269" y="100"/>
                      <a:pt x="1266" y="102"/>
                    </a:cubicBezTo>
                    <a:cubicBezTo>
                      <a:pt x="1265" y="104"/>
                      <a:pt x="1261" y="110"/>
                      <a:pt x="1258" y="114"/>
                    </a:cubicBezTo>
                    <a:cubicBezTo>
                      <a:pt x="1256" y="118"/>
                      <a:pt x="1254" y="120"/>
                      <a:pt x="1250" y="120"/>
                    </a:cubicBezTo>
                    <a:cubicBezTo>
                      <a:pt x="1248" y="120"/>
                      <a:pt x="1247" y="120"/>
                      <a:pt x="1245" y="119"/>
                    </a:cubicBezTo>
                    <a:cubicBezTo>
                      <a:pt x="1244" y="119"/>
                      <a:pt x="1243" y="119"/>
                      <a:pt x="1243" y="119"/>
                    </a:cubicBezTo>
                    <a:cubicBezTo>
                      <a:pt x="1242" y="119"/>
                      <a:pt x="1242" y="119"/>
                      <a:pt x="1241" y="119"/>
                    </a:cubicBezTo>
                    <a:cubicBezTo>
                      <a:pt x="1241" y="120"/>
                      <a:pt x="1239" y="121"/>
                      <a:pt x="1238" y="125"/>
                    </a:cubicBezTo>
                    <a:cubicBezTo>
                      <a:pt x="1237" y="127"/>
                      <a:pt x="1237" y="127"/>
                      <a:pt x="1237" y="127"/>
                    </a:cubicBezTo>
                    <a:cubicBezTo>
                      <a:pt x="1235" y="127"/>
                      <a:pt x="1235" y="127"/>
                      <a:pt x="1235" y="127"/>
                    </a:cubicBezTo>
                    <a:cubicBezTo>
                      <a:pt x="1235" y="127"/>
                      <a:pt x="1177" y="128"/>
                      <a:pt x="1165" y="128"/>
                    </a:cubicBezTo>
                    <a:cubicBezTo>
                      <a:pt x="1154" y="128"/>
                      <a:pt x="1150" y="131"/>
                      <a:pt x="1149" y="132"/>
                    </a:cubicBezTo>
                    <a:cubicBezTo>
                      <a:pt x="1148" y="133"/>
                      <a:pt x="1147" y="134"/>
                      <a:pt x="1145" y="135"/>
                    </a:cubicBezTo>
                    <a:cubicBezTo>
                      <a:pt x="1144" y="136"/>
                      <a:pt x="1144" y="136"/>
                      <a:pt x="1144" y="136"/>
                    </a:cubicBezTo>
                    <a:cubicBezTo>
                      <a:pt x="1142" y="138"/>
                      <a:pt x="1140" y="140"/>
                      <a:pt x="1139" y="141"/>
                    </a:cubicBezTo>
                    <a:cubicBezTo>
                      <a:pt x="1137" y="142"/>
                      <a:pt x="1135" y="144"/>
                      <a:pt x="1132" y="146"/>
                    </a:cubicBezTo>
                    <a:cubicBezTo>
                      <a:pt x="1131" y="146"/>
                      <a:pt x="1131" y="146"/>
                      <a:pt x="1131" y="146"/>
                    </a:cubicBezTo>
                    <a:cubicBezTo>
                      <a:pt x="1130" y="144"/>
                      <a:pt x="1130" y="144"/>
                      <a:pt x="1130" y="144"/>
                    </a:cubicBezTo>
                    <a:cubicBezTo>
                      <a:pt x="1128" y="145"/>
                      <a:pt x="1128" y="145"/>
                      <a:pt x="1128" y="145"/>
                    </a:cubicBezTo>
                    <a:cubicBezTo>
                      <a:pt x="1127" y="146"/>
                      <a:pt x="1127" y="146"/>
                      <a:pt x="1127" y="146"/>
                    </a:cubicBezTo>
                    <a:cubicBezTo>
                      <a:pt x="1125" y="147"/>
                      <a:pt x="1124" y="148"/>
                      <a:pt x="1123" y="149"/>
                    </a:cubicBezTo>
                    <a:cubicBezTo>
                      <a:pt x="1123" y="149"/>
                      <a:pt x="1122" y="150"/>
                      <a:pt x="1122" y="151"/>
                    </a:cubicBezTo>
                    <a:cubicBezTo>
                      <a:pt x="1122" y="151"/>
                      <a:pt x="1122" y="151"/>
                      <a:pt x="1122" y="151"/>
                    </a:cubicBezTo>
                    <a:cubicBezTo>
                      <a:pt x="1122" y="151"/>
                      <a:pt x="1123" y="152"/>
                      <a:pt x="1123" y="153"/>
                    </a:cubicBezTo>
                    <a:cubicBezTo>
                      <a:pt x="1124" y="152"/>
                      <a:pt x="1125" y="151"/>
                      <a:pt x="1125" y="151"/>
                    </a:cubicBezTo>
                    <a:cubicBezTo>
                      <a:pt x="1126" y="151"/>
                      <a:pt x="1126" y="151"/>
                      <a:pt x="1126" y="151"/>
                    </a:cubicBezTo>
                    <a:cubicBezTo>
                      <a:pt x="1126" y="152"/>
                      <a:pt x="1126" y="153"/>
                      <a:pt x="1125" y="154"/>
                    </a:cubicBezTo>
                    <a:cubicBezTo>
                      <a:pt x="1125" y="154"/>
                      <a:pt x="1126" y="154"/>
                      <a:pt x="1126" y="154"/>
                    </a:cubicBezTo>
                    <a:cubicBezTo>
                      <a:pt x="1126" y="154"/>
                      <a:pt x="1127" y="154"/>
                      <a:pt x="1127" y="154"/>
                    </a:cubicBezTo>
                    <a:cubicBezTo>
                      <a:pt x="1126" y="156"/>
                      <a:pt x="1125" y="156"/>
                      <a:pt x="1123" y="158"/>
                    </a:cubicBezTo>
                    <a:cubicBezTo>
                      <a:pt x="1126" y="159"/>
                      <a:pt x="1127" y="166"/>
                      <a:pt x="1124" y="167"/>
                    </a:cubicBezTo>
                    <a:cubicBezTo>
                      <a:pt x="1124" y="167"/>
                      <a:pt x="1123" y="167"/>
                      <a:pt x="1123" y="167"/>
                    </a:cubicBezTo>
                    <a:cubicBezTo>
                      <a:pt x="1123" y="167"/>
                      <a:pt x="1123" y="167"/>
                      <a:pt x="1122" y="167"/>
                    </a:cubicBezTo>
                    <a:cubicBezTo>
                      <a:pt x="1122" y="167"/>
                      <a:pt x="1122" y="167"/>
                      <a:pt x="1122" y="167"/>
                    </a:cubicBezTo>
                    <a:cubicBezTo>
                      <a:pt x="1122" y="167"/>
                      <a:pt x="1122" y="167"/>
                      <a:pt x="1122" y="167"/>
                    </a:cubicBezTo>
                    <a:cubicBezTo>
                      <a:pt x="1120" y="167"/>
                      <a:pt x="1118" y="169"/>
                      <a:pt x="1116" y="170"/>
                    </a:cubicBezTo>
                    <a:cubicBezTo>
                      <a:pt x="1114" y="172"/>
                      <a:pt x="1112" y="173"/>
                      <a:pt x="1109" y="174"/>
                    </a:cubicBezTo>
                    <a:cubicBezTo>
                      <a:pt x="1109" y="174"/>
                      <a:pt x="1108" y="174"/>
                      <a:pt x="1108" y="174"/>
                    </a:cubicBezTo>
                    <a:cubicBezTo>
                      <a:pt x="1108" y="174"/>
                      <a:pt x="1108" y="174"/>
                      <a:pt x="1107" y="174"/>
                    </a:cubicBezTo>
                    <a:cubicBezTo>
                      <a:pt x="1105" y="173"/>
                      <a:pt x="1103" y="173"/>
                      <a:pt x="1101" y="173"/>
                    </a:cubicBezTo>
                    <a:cubicBezTo>
                      <a:pt x="1100" y="173"/>
                      <a:pt x="1099" y="173"/>
                      <a:pt x="1098" y="173"/>
                    </a:cubicBezTo>
                    <a:cubicBezTo>
                      <a:pt x="1096" y="174"/>
                      <a:pt x="1095" y="174"/>
                      <a:pt x="1094" y="174"/>
                    </a:cubicBezTo>
                    <a:cubicBezTo>
                      <a:pt x="1093" y="174"/>
                      <a:pt x="1092" y="174"/>
                      <a:pt x="1091" y="173"/>
                    </a:cubicBezTo>
                    <a:cubicBezTo>
                      <a:pt x="1088" y="171"/>
                      <a:pt x="1084" y="170"/>
                      <a:pt x="1080" y="170"/>
                    </a:cubicBezTo>
                    <a:cubicBezTo>
                      <a:pt x="1073" y="170"/>
                      <a:pt x="1065" y="173"/>
                      <a:pt x="1059" y="174"/>
                    </a:cubicBezTo>
                    <a:cubicBezTo>
                      <a:pt x="1059" y="176"/>
                      <a:pt x="1059" y="176"/>
                      <a:pt x="1059" y="176"/>
                    </a:cubicBezTo>
                    <a:cubicBezTo>
                      <a:pt x="1060" y="178"/>
                      <a:pt x="1060" y="179"/>
                      <a:pt x="1060" y="179"/>
                    </a:cubicBezTo>
                    <a:cubicBezTo>
                      <a:pt x="1061" y="179"/>
                      <a:pt x="1063" y="179"/>
                      <a:pt x="1063" y="180"/>
                    </a:cubicBezTo>
                    <a:cubicBezTo>
                      <a:pt x="1063" y="181"/>
                      <a:pt x="1063" y="182"/>
                      <a:pt x="1063" y="182"/>
                    </a:cubicBezTo>
                    <a:cubicBezTo>
                      <a:pt x="1063" y="183"/>
                      <a:pt x="1063" y="183"/>
                      <a:pt x="1063" y="184"/>
                    </a:cubicBezTo>
                    <a:cubicBezTo>
                      <a:pt x="1063" y="185"/>
                      <a:pt x="1063" y="185"/>
                      <a:pt x="1063" y="185"/>
                    </a:cubicBezTo>
                    <a:cubicBezTo>
                      <a:pt x="1063" y="186"/>
                      <a:pt x="1065" y="187"/>
                      <a:pt x="1063" y="188"/>
                    </a:cubicBezTo>
                    <a:cubicBezTo>
                      <a:pt x="1062" y="189"/>
                      <a:pt x="1062" y="189"/>
                      <a:pt x="1062" y="189"/>
                    </a:cubicBezTo>
                    <a:cubicBezTo>
                      <a:pt x="1061" y="190"/>
                      <a:pt x="1059" y="191"/>
                      <a:pt x="1057" y="193"/>
                    </a:cubicBezTo>
                    <a:cubicBezTo>
                      <a:pt x="1056" y="193"/>
                      <a:pt x="1056" y="193"/>
                      <a:pt x="1056" y="193"/>
                    </a:cubicBezTo>
                    <a:cubicBezTo>
                      <a:pt x="1052" y="196"/>
                      <a:pt x="1048" y="199"/>
                      <a:pt x="1044" y="202"/>
                    </a:cubicBezTo>
                    <a:cubicBezTo>
                      <a:pt x="1039" y="205"/>
                      <a:pt x="1034" y="207"/>
                      <a:pt x="1030" y="208"/>
                    </a:cubicBezTo>
                    <a:cubicBezTo>
                      <a:pt x="1029" y="208"/>
                      <a:pt x="1029" y="208"/>
                      <a:pt x="1029" y="208"/>
                    </a:cubicBezTo>
                    <a:cubicBezTo>
                      <a:pt x="1023" y="211"/>
                      <a:pt x="1017" y="213"/>
                      <a:pt x="1011" y="215"/>
                    </a:cubicBezTo>
                    <a:cubicBezTo>
                      <a:pt x="1007" y="217"/>
                      <a:pt x="1004" y="219"/>
                      <a:pt x="1001" y="222"/>
                    </a:cubicBezTo>
                    <a:cubicBezTo>
                      <a:pt x="1001" y="222"/>
                      <a:pt x="1001" y="222"/>
                      <a:pt x="1001" y="222"/>
                    </a:cubicBezTo>
                    <a:cubicBezTo>
                      <a:pt x="1001" y="222"/>
                      <a:pt x="1001" y="222"/>
                      <a:pt x="1001" y="222"/>
                    </a:cubicBezTo>
                    <a:cubicBezTo>
                      <a:pt x="1000" y="222"/>
                      <a:pt x="1000" y="222"/>
                      <a:pt x="1000" y="222"/>
                    </a:cubicBezTo>
                    <a:cubicBezTo>
                      <a:pt x="996" y="225"/>
                      <a:pt x="991" y="224"/>
                      <a:pt x="986" y="225"/>
                    </a:cubicBezTo>
                    <a:cubicBezTo>
                      <a:pt x="985" y="225"/>
                      <a:pt x="984" y="225"/>
                      <a:pt x="983" y="226"/>
                    </a:cubicBezTo>
                    <a:cubicBezTo>
                      <a:pt x="982" y="226"/>
                      <a:pt x="981" y="226"/>
                      <a:pt x="980" y="227"/>
                    </a:cubicBezTo>
                    <a:cubicBezTo>
                      <a:pt x="980" y="227"/>
                      <a:pt x="979" y="227"/>
                      <a:pt x="978" y="227"/>
                    </a:cubicBezTo>
                    <a:cubicBezTo>
                      <a:pt x="975" y="227"/>
                      <a:pt x="970" y="226"/>
                      <a:pt x="967" y="225"/>
                    </a:cubicBezTo>
                    <a:cubicBezTo>
                      <a:pt x="969" y="223"/>
                      <a:pt x="971" y="224"/>
                      <a:pt x="973" y="223"/>
                    </a:cubicBezTo>
                    <a:cubicBezTo>
                      <a:pt x="975" y="223"/>
                      <a:pt x="975" y="223"/>
                      <a:pt x="972" y="222"/>
                    </a:cubicBezTo>
                    <a:cubicBezTo>
                      <a:pt x="967" y="220"/>
                      <a:pt x="962" y="218"/>
                      <a:pt x="957" y="217"/>
                    </a:cubicBezTo>
                    <a:cubicBezTo>
                      <a:pt x="962" y="209"/>
                      <a:pt x="967" y="201"/>
                      <a:pt x="971" y="193"/>
                    </a:cubicBezTo>
                    <a:cubicBezTo>
                      <a:pt x="972" y="192"/>
                      <a:pt x="973" y="191"/>
                      <a:pt x="973" y="191"/>
                    </a:cubicBezTo>
                    <a:cubicBezTo>
                      <a:pt x="974" y="190"/>
                      <a:pt x="974" y="190"/>
                      <a:pt x="975" y="190"/>
                    </a:cubicBezTo>
                    <a:cubicBezTo>
                      <a:pt x="975" y="190"/>
                      <a:pt x="975" y="190"/>
                      <a:pt x="976" y="191"/>
                    </a:cubicBezTo>
                    <a:cubicBezTo>
                      <a:pt x="976" y="191"/>
                      <a:pt x="976" y="191"/>
                      <a:pt x="976" y="192"/>
                    </a:cubicBezTo>
                    <a:cubicBezTo>
                      <a:pt x="976" y="192"/>
                      <a:pt x="976" y="192"/>
                      <a:pt x="976" y="192"/>
                    </a:cubicBezTo>
                    <a:cubicBezTo>
                      <a:pt x="977" y="190"/>
                      <a:pt x="978" y="189"/>
                      <a:pt x="979" y="187"/>
                    </a:cubicBezTo>
                    <a:cubicBezTo>
                      <a:pt x="979" y="187"/>
                      <a:pt x="979" y="187"/>
                      <a:pt x="979" y="187"/>
                    </a:cubicBezTo>
                    <a:cubicBezTo>
                      <a:pt x="979" y="187"/>
                      <a:pt x="979" y="187"/>
                      <a:pt x="979" y="187"/>
                    </a:cubicBezTo>
                    <a:cubicBezTo>
                      <a:pt x="979" y="187"/>
                      <a:pt x="979" y="187"/>
                      <a:pt x="979" y="187"/>
                    </a:cubicBezTo>
                    <a:cubicBezTo>
                      <a:pt x="979" y="187"/>
                      <a:pt x="979" y="187"/>
                      <a:pt x="979" y="187"/>
                    </a:cubicBezTo>
                    <a:cubicBezTo>
                      <a:pt x="979" y="186"/>
                      <a:pt x="980" y="185"/>
                      <a:pt x="980" y="184"/>
                    </a:cubicBezTo>
                    <a:cubicBezTo>
                      <a:pt x="982" y="181"/>
                      <a:pt x="981" y="181"/>
                      <a:pt x="980" y="178"/>
                    </a:cubicBezTo>
                    <a:cubicBezTo>
                      <a:pt x="980" y="177"/>
                      <a:pt x="979" y="176"/>
                      <a:pt x="979" y="175"/>
                    </a:cubicBezTo>
                    <a:cubicBezTo>
                      <a:pt x="979" y="172"/>
                      <a:pt x="978" y="170"/>
                      <a:pt x="978" y="167"/>
                    </a:cubicBezTo>
                    <a:cubicBezTo>
                      <a:pt x="977" y="163"/>
                      <a:pt x="977" y="157"/>
                      <a:pt x="974" y="154"/>
                    </a:cubicBezTo>
                    <a:cubicBezTo>
                      <a:pt x="972" y="152"/>
                      <a:pt x="971" y="152"/>
                      <a:pt x="969" y="152"/>
                    </a:cubicBezTo>
                    <a:cubicBezTo>
                      <a:pt x="966" y="152"/>
                      <a:pt x="962" y="155"/>
                      <a:pt x="959" y="156"/>
                    </a:cubicBezTo>
                    <a:cubicBezTo>
                      <a:pt x="957" y="158"/>
                      <a:pt x="951" y="162"/>
                      <a:pt x="948" y="162"/>
                    </a:cubicBezTo>
                    <a:cubicBezTo>
                      <a:pt x="947" y="162"/>
                      <a:pt x="947" y="162"/>
                      <a:pt x="946" y="162"/>
                    </a:cubicBezTo>
                    <a:cubicBezTo>
                      <a:pt x="946" y="161"/>
                      <a:pt x="946" y="159"/>
                      <a:pt x="946" y="158"/>
                    </a:cubicBezTo>
                    <a:cubicBezTo>
                      <a:pt x="946" y="157"/>
                      <a:pt x="947" y="156"/>
                      <a:pt x="947" y="155"/>
                    </a:cubicBezTo>
                    <a:cubicBezTo>
                      <a:pt x="949" y="152"/>
                      <a:pt x="953" y="153"/>
                      <a:pt x="954" y="151"/>
                    </a:cubicBezTo>
                    <a:cubicBezTo>
                      <a:pt x="955" y="150"/>
                      <a:pt x="954" y="148"/>
                      <a:pt x="955" y="147"/>
                    </a:cubicBezTo>
                    <a:cubicBezTo>
                      <a:pt x="956" y="145"/>
                      <a:pt x="959" y="145"/>
                      <a:pt x="960" y="144"/>
                    </a:cubicBezTo>
                    <a:cubicBezTo>
                      <a:pt x="961" y="142"/>
                      <a:pt x="961" y="134"/>
                      <a:pt x="961" y="131"/>
                    </a:cubicBezTo>
                    <a:cubicBezTo>
                      <a:pt x="961" y="129"/>
                      <a:pt x="955" y="123"/>
                      <a:pt x="959" y="123"/>
                    </a:cubicBezTo>
                    <a:cubicBezTo>
                      <a:pt x="959" y="123"/>
                      <a:pt x="960" y="123"/>
                      <a:pt x="961" y="124"/>
                    </a:cubicBezTo>
                    <a:cubicBezTo>
                      <a:pt x="961" y="121"/>
                      <a:pt x="960" y="121"/>
                      <a:pt x="959" y="119"/>
                    </a:cubicBezTo>
                    <a:cubicBezTo>
                      <a:pt x="959" y="118"/>
                      <a:pt x="959" y="117"/>
                      <a:pt x="958" y="116"/>
                    </a:cubicBezTo>
                    <a:cubicBezTo>
                      <a:pt x="957" y="115"/>
                      <a:pt x="953" y="113"/>
                      <a:pt x="951" y="113"/>
                    </a:cubicBezTo>
                    <a:cubicBezTo>
                      <a:pt x="949" y="112"/>
                      <a:pt x="946" y="111"/>
                      <a:pt x="943" y="110"/>
                    </a:cubicBezTo>
                    <a:cubicBezTo>
                      <a:pt x="941" y="109"/>
                      <a:pt x="941" y="106"/>
                      <a:pt x="937" y="106"/>
                    </a:cubicBezTo>
                    <a:cubicBezTo>
                      <a:pt x="937" y="105"/>
                      <a:pt x="936" y="105"/>
                      <a:pt x="936" y="105"/>
                    </a:cubicBezTo>
                    <a:cubicBezTo>
                      <a:pt x="936" y="105"/>
                      <a:pt x="936" y="105"/>
                      <a:pt x="935" y="105"/>
                    </a:cubicBezTo>
                    <a:cubicBezTo>
                      <a:pt x="935" y="105"/>
                      <a:pt x="935" y="105"/>
                      <a:pt x="935" y="105"/>
                    </a:cubicBezTo>
                    <a:cubicBezTo>
                      <a:pt x="934" y="105"/>
                      <a:pt x="933" y="105"/>
                      <a:pt x="933" y="105"/>
                    </a:cubicBezTo>
                    <a:cubicBezTo>
                      <a:pt x="931" y="104"/>
                      <a:pt x="930" y="103"/>
                      <a:pt x="928" y="103"/>
                    </a:cubicBezTo>
                    <a:cubicBezTo>
                      <a:pt x="928" y="102"/>
                      <a:pt x="926" y="102"/>
                      <a:pt x="924" y="102"/>
                    </a:cubicBezTo>
                    <a:cubicBezTo>
                      <a:pt x="923" y="102"/>
                      <a:pt x="923" y="102"/>
                      <a:pt x="922" y="103"/>
                    </a:cubicBezTo>
                    <a:cubicBezTo>
                      <a:pt x="920" y="104"/>
                      <a:pt x="919" y="113"/>
                      <a:pt x="923" y="113"/>
                    </a:cubicBezTo>
                    <a:cubicBezTo>
                      <a:pt x="923" y="113"/>
                      <a:pt x="923" y="113"/>
                      <a:pt x="923" y="113"/>
                    </a:cubicBezTo>
                    <a:cubicBezTo>
                      <a:pt x="921" y="115"/>
                      <a:pt x="917" y="113"/>
                      <a:pt x="914" y="116"/>
                    </a:cubicBezTo>
                    <a:cubicBezTo>
                      <a:pt x="912" y="118"/>
                      <a:pt x="912" y="121"/>
                      <a:pt x="912" y="124"/>
                    </a:cubicBezTo>
                    <a:cubicBezTo>
                      <a:pt x="912" y="126"/>
                      <a:pt x="912" y="126"/>
                      <a:pt x="912" y="126"/>
                    </a:cubicBezTo>
                    <a:cubicBezTo>
                      <a:pt x="911" y="126"/>
                      <a:pt x="911" y="126"/>
                      <a:pt x="911" y="126"/>
                    </a:cubicBezTo>
                    <a:cubicBezTo>
                      <a:pt x="910" y="125"/>
                      <a:pt x="910" y="125"/>
                      <a:pt x="910" y="125"/>
                    </a:cubicBezTo>
                    <a:cubicBezTo>
                      <a:pt x="910" y="125"/>
                      <a:pt x="909" y="125"/>
                      <a:pt x="909" y="125"/>
                    </a:cubicBezTo>
                    <a:cubicBezTo>
                      <a:pt x="908" y="126"/>
                      <a:pt x="908" y="130"/>
                      <a:pt x="907" y="131"/>
                    </a:cubicBezTo>
                    <a:cubicBezTo>
                      <a:pt x="906" y="129"/>
                      <a:pt x="907" y="127"/>
                      <a:pt x="907" y="125"/>
                    </a:cubicBezTo>
                    <a:cubicBezTo>
                      <a:pt x="907" y="125"/>
                      <a:pt x="907" y="125"/>
                      <a:pt x="907" y="125"/>
                    </a:cubicBezTo>
                    <a:cubicBezTo>
                      <a:pt x="907" y="124"/>
                      <a:pt x="908" y="120"/>
                      <a:pt x="907" y="120"/>
                    </a:cubicBezTo>
                    <a:cubicBezTo>
                      <a:pt x="907" y="120"/>
                      <a:pt x="907" y="120"/>
                      <a:pt x="907" y="120"/>
                    </a:cubicBezTo>
                    <a:cubicBezTo>
                      <a:pt x="906" y="120"/>
                      <a:pt x="904" y="123"/>
                      <a:pt x="904" y="123"/>
                    </a:cubicBezTo>
                    <a:cubicBezTo>
                      <a:pt x="903" y="124"/>
                      <a:pt x="903" y="126"/>
                      <a:pt x="902" y="126"/>
                    </a:cubicBezTo>
                    <a:cubicBezTo>
                      <a:pt x="902" y="126"/>
                      <a:pt x="902" y="126"/>
                      <a:pt x="902" y="126"/>
                    </a:cubicBezTo>
                    <a:cubicBezTo>
                      <a:pt x="902" y="126"/>
                      <a:pt x="901" y="126"/>
                      <a:pt x="901" y="126"/>
                    </a:cubicBezTo>
                    <a:cubicBezTo>
                      <a:pt x="901" y="126"/>
                      <a:pt x="901" y="125"/>
                      <a:pt x="900" y="125"/>
                    </a:cubicBezTo>
                    <a:cubicBezTo>
                      <a:pt x="900" y="125"/>
                      <a:pt x="900" y="125"/>
                      <a:pt x="900" y="125"/>
                    </a:cubicBezTo>
                    <a:cubicBezTo>
                      <a:pt x="899" y="126"/>
                      <a:pt x="899" y="127"/>
                      <a:pt x="899" y="127"/>
                    </a:cubicBezTo>
                    <a:cubicBezTo>
                      <a:pt x="898" y="127"/>
                      <a:pt x="898" y="127"/>
                      <a:pt x="898" y="127"/>
                    </a:cubicBezTo>
                    <a:cubicBezTo>
                      <a:pt x="898" y="127"/>
                      <a:pt x="898" y="127"/>
                      <a:pt x="898" y="127"/>
                    </a:cubicBezTo>
                    <a:cubicBezTo>
                      <a:pt x="898" y="127"/>
                      <a:pt x="897" y="127"/>
                      <a:pt x="897" y="127"/>
                    </a:cubicBezTo>
                    <a:cubicBezTo>
                      <a:pt x="897" y="127"/>
                      <a:pt x="897" y="127"/>
                      <a:pt x="897" y="127"/>
                    </a:cubicBezTo>
                    <a:cubicBezTo>
                      <a:pt x="896" y="128"/>
                      <a:pt x="895" y="131"/>
                      <a:pt x="894" y="132"/>
                    </a:cubicBezTo>
                    <a:cubicBezTo>
                      <a:pt x="894" y="133"/>
                      <a:pt x="893" y="133"/>
                      <a:pt x="892" y="133"/>
                    </a:cubicBezTo>
                    <a:cubicBezTo>
                      <a:pt x="889" y="137"/>
                      <a:pt x="889" y="145"/>
                      <a:pt x="887" y="150"/>
                    </a:cubicBezTo>
                    <a:cubicBezTo>
                      <a:pt x="886" y="153"/>
                      <a:pt x="888" y="155"/>
                      <a:pt x="888" y="158"/>
                    </a:cubicBezTo>
                    <a:cubicBezTo>
                      <a:pt x="889" y="162"/>
                      <a:pt x="887" y="166"/>
                      <a:pt x="888" y="169"/>
                    </a:cubicBezTo>
                    <a:cubicBezTo>
                      <a:pt x="888" y="171"/>
                      <a:pt x="889" y="175"/>
                      <a:pt x="891" y="175"/>
                    </a:cubicBezTo>
                    <a:cubicBezTo>
                      <a:pt x="891" y="175"/>
                      <a:pt x="892" y="174"/>
                      <a:pt x="892" y="174"/>
                    </a:cubicBezTo>
                    <a:cubicBezTo>
                      <a:pt x="892" y="177"/>
                      <a:pt x="892" y="179"/>
                      <a:pt x="893" y="182"/>
                    </a:cubicBezTo>
                    <a:cubicBezTo>
                      <a:pt x="893" y="183"/>
                      <a:pt x="893" y="185"/>
                      <a:pt x="893" y="186"/>
                    </a:cubicBezTo>
                    <a:cubicBezTo>
                      <a:pt x="893" y="198"/>
                      <a:pt x="884" y="207"/>
                      <a:pt x="879" y="216"/>
                    </a:cubicBezTo>
                    <a:cubicBezTo>
                      <a:pt x="871" y="220"/>
                      <a:pt x="871" y="220"/>
                      <a:pt x="871" y="220"/>
                    </a:cubicBezTo>
                    <a:cubicBezTo>
                      <a:pt x="871" y="220"/>
                      <a:pt x="870" y="220"/>
                      <a:pt x="870" y="220"/>
                    </a:cubicBezTo>
                    <a:cubicBezTo>
                      <a:pt x="868" y="220"/>
                      <a:pt x="866" y="219"/>
                      <a:pt x="864" y="218"/>
                    </a:cubicBezTo>
                    <a:cubicBezTo>
                      <a:pt x="858" y="208"/>
                      <a:pt x="858" y="208"/>
                      <a:pt x="858" y="208"/>
                    </a:cubicBezTo>
                    <a:cubicBezTo>
                      <a:pt x="857" y="204"/>
                      <a:pt x="856" y="201"/>
                      <a:pt x="856" y="197"/>
                    </a:cubicBezTo>
                    <a:cubicBezTo>
                      <a:pt x="857" y="191"/>
                      <a:pt x="855" y="184"/>
                      <a:pt x="854" y="178"/>
                    </a:cubicBezTo>
                    <a:cubicBezTo>
                      <a:pt x="854" y="175"/>
                      <a:pt x="855" y="173"/>
                      <a:pt x="855" y="170"/>
                    </a:cubicBezTo>
                    <a:cubicBezTo>
                      <a:pt x="857" y="165"/>
                      <a:pt x="857" y="160"/>
                      <a:pt x="858" y="155"/>
                    </a:cubicBezTo>
                    <a:cubicBezTo>
                      <a:pt x="860" y="151"/>
                      <a:pt x="862" y="148"/>
                      <a:pt x="863" y="143"/>
                    </a:cubicBezTo>
                    <a:cubicBezTo>
                      <a:pt x="864" y="140"/>
                      <a:pt x="865" y="137"/>
                      <a:pt x="866" y="133"/>
                    </a:cubicBezTo>
                    <a:cubicBezTo>
                      <a:pt x="867" y="132"/>
                      <a:pt x="867" y="130"/>
                      <a:pt x="866" y="129"/>
                    </a:cubicBezTo>
                    <a:cubicBezTo>
                      <a:pt x="866" y="129"/>
                      <a:pt x="867" y="129"/>
                      <a:pt x="867" y="129"/>
                    </a:cubicBezTo>
                    <a:cubicBezTo>
                      <a:pt x="869" y="129"/>
                      <a:pt x="871" y="127"/>
                      <a:pt x="872" y="125"/>
                    </a:cubicBezTo>
                    <a:cubicBezTo>
                      <a:pt x="874" y="122"/>
                      <a:pt x="874" y="120"/>
                      <a:pt x="873" y="116"/>
                    </a:cubicBezTo>
                    <a:cubicBezTo>
                      <a:pt x="872" y="118"/>
                      <a:pt x="872" y="119"/>
                      <a:pt x="871" y="120"/>
                    </a:cubicBezTo>
                    <a:cubicBezTo>
                      <a:pt x="870" y="121"/>
                      <a:pt x="870" y="120"/>
                      <a:pt x="869" y="121"/>
                    </a:cubicBezTo>
                    <a:cubicBezTo>
                      <a:pt x="869" y="121"/>
                      <a:pt x="869" y="123"/>
                      <a:pt x="868" y="123"/>
                    </a:cubicBezTo>
                    <a:cubicBezTo>
                      <a:pt x="868" y="124"/>
                      <a:pt x="867" y="124"/>
                      <a:pt x="867" y="125"/>
                    </a:cubicBezTo>
                    <a:cubicBezTo>
                      <a:pt x="866" y="126"/>
                      <a:pt x="865" y="128"/>
                      <a:pt x="866" y="129"/>
                    </a:cubicBezTo>
                    <a:cubicBezTo>
                      <a:pt x="866" y="129"/>
                      <a:pt x="865" y="128"/>
                      <a:pt x="865" y="128"/>
                    </a:cubicBezTo>
                    <a:cubicBezTo>
                      <a:pt x="865" y="128"/>
                      <a:pt x="865" y="128"/>
                      <a:pt x="865" y="128"/>
                    </a:cubicBezTo>
                    <a:cubicBezTo>
                      <a:pt x="863" y="128"/>
                      <a:pt x="860" y="130"/>
                      <a:pt x="859" y="131"/>
                    </a:cubicBezTo>
                    <a:cubicBezTo>
                      <a:pt x="857" y="134"/>
                      <a:pt x="857" y="135"/>
                      <a:pt x="854" y="137"/>
                    </a:cubicBezTo>
                    <a:cubicBezTo>
                      <a:pt x="853" y="137"/>
                      <a:pt x="854" y="138"/>
                      <a:pt x="853" y="138"/>
                    </a:cubicBezTo>
                    <a:cubicBezTo>
                      <a:pt x="853" y="138"/>
                      <a:pt x="853" y="138"/>
                      <a:pt x="852" y="137"/>
                    </a:cubicBezTo>
                    <a:cubicBezTo>
                      <a:pt x="851" y="137"/>
                      <a:pt x="851" y="136"/>
                      <a:pt x="851" y="135"/>
                    </a:cubicBezTo>
                    <a:cubicBezTo>
                      <a:pt x="852" y="133"/>
                      <a:pt x="853" y="132"/>
                      <a:pt x="854" y="131"/>
                    </a:cubicBezTo>
                    <a:cubicBezTo>
                      <a:pt x="854" y="130"/>
                      <a:pt x="855" y="127"/>
                      <a:pt x="856" y="126"/>
                    </a:cubicBezTo>
                    <a:cubicBezTo>
                      <a:pt x="856" y="126"/>
                      <a:pt x="857" y="126"/>
                      <a:pt x="858" y="126"/>
                    </a:cubicBezTo>
                    <a:cubicBezTo>
                      <a:pt x="859" y="125"/>
                      <a:pt x="861" y="123"/>
                      <a:pt x="861" y="121"/>
                    </a:cubicBezTo>
                    <a:cubicBezTo>
                      <a:pt x="863" y="118"/>
                      <a:pt x="865" y="116"/>
                      <a:pt x="867" y="113"/>
                    </a:cubicBezTo>
                    <a:cubicBezTo>
                      <a:pt x="868" y="112"/>
                      <a:pt x="868" y="110"/>
                      <a:pt x="869" y="109"/>
                    </a:cubicBezTo>
                    <a:cubicBezTo>
                      <a:pt x="869" y="109"/>
                      <a:pt x="868" y="108"/>
                      <a:pt x="868" y="108"/>
                    </a:cubicBezTo>
                    <a:cubicBezTo>
                      <a:pt x="868" y="108"/>
                      <a:pt x="868" y="108"/>
                      <a:pt x="868" y="108"/>
                    </a:cubicBezTo>
                    <a:cubicBezTo>
                      <a:pt x="869" y="108"/>
                      <a:pt x="869" y="108"/>
                      <a:pt x="870" y="107"/>
                    </a:cubicBezTo>
                    <a:cubicBezTo>
                      <a:pt x="873" y="105"/>
                      <a:pt x="874" y="102"/>
                      <a:pt x="875" y="98"/>
                    </a:cubicBezTo>
                    <a:cubicBezTo>
                      <a:pt x="875" y="101"/>
                      <a:pt x="876" y="103"/>
                      <a:pt x="876" y="105"/>
                    </a:cubicBezTo>
                    <a:cubicBezTo>
                      <a:pt x="877" y="104"/>
                      <a:pt x="878" y="103"/>
                      <a:pt x="879" y="102"/>
                    </a:cubicBezTo>
                    <a:cubicBezTo>
                      <a:pt x="880" y="100"/>
                      <a:pt x="880" y="100"/>
                      <a:pt x="880" y="100"/>
                    </a:cubicBezTo>
                    <a:cubicBezTo>
                      <a:pt x="880" y="100"/>
                      <a:pt x="880" y="100"/>
                      <a:pt x="880" y="100"/>
                    </a:cubicBezTo>
                    <a:cubicBezTo>
                      <a:pt x="881" y="100"/>
                      <a:pt x="885" y="99"/>
                      <a:pt x="885" y="99"/>
                    </a:cubicBezTo>
                    <a:cubicBezTo>
                      <a:pt x="888" y="101"/>
                      <a:pt x="878" y="105"/>
                      <a:pt x="884" y="107"/>
                    </a:cubicBezTo>
                    <a:cubicBezTo>
                      <a:pt x="885" y="105"/>
                      <a:pt x="885" y="104"/>
                      <a:pt x="887" y="103"/>
                    </a:cubicBezTo>
                    <a:cubicBezTo>
                      <a:pt x="888" y="102"/>
                      <a:pt x="889" y="102"/>
                      <a:pt x="890" y="102"/>
                    </a:cubicBezTo>
                    <a:cubicBezTo>
                      <a:pt x="890" y="101"/>
                      <a:pt x="890" y="100"/>
                      <a:pt x="891" y="99"/>
                    </a:cubicBezTo>
                    <a:cubicBezTo>
                      <a:pt x="892" y="98"/>
                      <a:pt x="894" y="97"/>
                      <a:pt x="896" y="97"/>
                    </a:cubicBezTo>
                    <a:cubicBezTo>
                      <a:pt x="897" y="97"/>
                      <a:pt x="899" y="97"/>
                      <a:pt x="900" y="98"/>
                    </a:cubicBezTo>
                    <a:cubicBezTo>
                      <a:pt x="900" y="96"/>
                      <a:pt x="905" y="97"/>
                      <a:pt x="907" y="96"/>
                    </a:cubicBezTo>
                    <a:cubicBezTo>
                      <a:pt x="908" y="95"/>
                      <a:pt x="908" y="94"/>
                      <a:pt x="910" y="93"/>
                    </a:cubicBezTo>
                    <a:cubicBezTo>
                      <a:pt x="910" y="93"/>
                      <a:pt x="910" y="93"/>
                      <a:pt x="911" y="93"/>
                    </a:cubicBezTo>
                    <a:cubicBezTo>
                      <a:pt x="912" y="93"/>
                      <a:pt x="914" y="93"/>
                      <a:pt x="915" y="93"/>
                    </a:cubicBezTo>
                    <a:cubicBezTo>
                      <a:pt x="916" y="94"/>
                      <a:pt x="919" y="94"/>
                      <a:pt x="920" y="95"/>
                    </a:cubicBezTo>
                    <a:cubicBezTo>
                      <a:pt x="922" y="96"/>
                      <a:pt x="925" y="100"/>
                      <a:pt x="927" y="100"/>
                    </a:cubicBezTo>
                    <a:cubicBezTo>
                      <a:pt x="927" y="100"/>
                      <a:pt x="927" y="100"/>
                      <a:pt x="927" y="100"/>
                    </a:cubicBezTo>
                    <a:cubicBezTo>
                      <a:pt x="929" y="100"/>
                      <a:pt x="927" y="95"/>
                      <a:pt x="929" y="94"/>
                    </a:cubicBezTo>
                    <a:cubicBezTo>
                      <a:pt x="930" y="94"/>
                      <a:pt x="930" y="94"/>
                      <a:pt x="930" y="94"/>
                    </a:cubicBezTo>
                    <a:cubicBezTo>
                      <a:pt x="932" y="94"/>
                      <a:pt x="935" y="96"/>
                      <a:pt x="937" y="96"/>
                    </a:cubicBezTo>
                    <a:cubicBezTo>
                      <a:pt x="938" y="96"/>
                      <a:pt x="940" y="96"/>
                      <a:pt x="942" y="97"/>
                    </a:cubicBezTo>
                    <a:cubicBezTo>
                      <a:pt x="943" y="97"/>
                      <a:pt x="944" y="97"/>
                      <a:pt x="945" y="97"/>
                    </a:cubicBezTo>
                    <a:cubicBezTo>
                      <a:pt x="946" y="97"/>
                      <a:pt x="947" y="97"/>
                      <a:pt x="947" y="96"/>
                    </a:cubicBezTo>
                    <a:cubicBezTo>
                      <a:pt x="947" y="95"/>
                      <a:pt x="944" y="94"/>
                      <a:pt x="943" y="93"/>
                    </a:cubicBezTo>
                    <a:cubicBezTo>
                      <a:pt x="943" y="93"/>
                      <a:pt x="944" y="92"/>
                      <a:pt x="944" y="92"/>
                    </a:cubicBezTo>
                    <a:cubicBezTo>
                      <a:pt x="943" y="91"/>
                      <a:pt x="941" y="90"/>
                      <a:pt x="940" y="89"/>
                    </a:cubicBezTo>
                    <a:cubicBezTo>
                      <a:pt x="940" y="88"/>
                      <a:pt x="939" y="85"/>
                      <a:pt x="939" y="83"/>
                    </a:cubicBezTo>
                    <a:cubicBezTo>
                      <a:pt x="938" y="82"/>
                      <a:pt x="937" y="82"/>
                      <a:pt x="937" y="82"/>
                    </a:cubicBezTo>
                    <a:cubicBezTo>
                      <a:pt x="937" y="82"/>
                      <a:pt x="936" y="82"/>
                      <a:pt x="936" y="82"/>
                    </a:cubicBezTo>
                    <a:cubicBezTo>
                      <a:pt x="936" y="82"/>
                      <a:pt x="936" y="82"/>
                      <a:pt x="936" y="82"/>
                    </a:cubicBezTo>
                    <a:cubicBezTo>
                      <a:pt x="936" y="82"/>
                      <a:pt x="936" y="82"/>
                      <a:pt x="936" y="82"/>
                    </a:cubicBezTo>
                    <a:cubicBezTo>
                      <a:pt x="935" y="82"/>
                      <a:pt x="935" y="82"/>
                      <a:pt x="935" y="82"/>
                    </a:cubicBezTo>
                    <a:cubicBezTo>
                      <a:pt x="935" y="82"/>
                      <a:pt x="935" y="82"/>
                      <a:pt x="935" y="82"/>
                    </a:cubicBezTo>
                    <a:cubicBezTo>
                      <a:pt x="934" y="82"/>
                      <a:pt x="934" y="82"/>
                      <a:pt x="933" y="82"/>
                    </a:cubicBezTo>
                    <a:cubicBezTo>
                      <a:pt x="933" y="82"/>
                      <a:pt x="933" y="82"/>
                      <a:pt x="933" y="82"/>
                    </a:cubicBezTo>
                    <a:cubicBezTo>
                      <a:pt x="933" y="82"/>
                      <a:pt x="933" y="82"/>
                      <a:pt x="933" y="82"/>
                    </a:cubicBezTo>
                    <a:cubicBezTo>
                      <a:pt x="932" y="81"/>
                      <a:pt x="931" y="81"/>
                      <a:pt x="931" y="80"/>
                    </a:cubicBezTo>
                    <a:cubicBezTo>
                      <a:pt x="928" y="80"/>
                      <a:pt x="925" y="79"/>
                      <a:pt x="922" y="78"/>
                    </a:cubicBezTo>
                    <a:cubicBezTo>
                      <a:pt x="920" y="78"/>
                      <a:pt x="921" y="74"/>
                      <a:pt x="923" y="73"/>
                    </a:cubicBezTo>
                    <a:cubicBezTo>
                      <a:pt x="922" y="73"/>
                      <a:pt x="922" y="73"/>
                      <a:pt x="922" y="73"/>
                    </a:cubicBezTo>
                    <a:cubicBezTo>
                      <a:pt x="918" y="73"/>
                      <a:pt x="915" y="74"/>
                      <a:pt x="912" y="75"/>
                    </a:cubicBezTo>
                    <a:cubicBezTo>
                      <a:pt x="906" y="76"/>
                      <a:pt x="900" y="76"/>
                      <a:pt x="894" y="77"/>
                    </a:cubicBezTo>
                    <a:cubicBezTo>
                      <a:pt x="892" y="78"/>
                      <a:pt x="890" y="79"/>
                      <a:pt x="889" y="79"/>
                    </a:cubicBezTo>
                    <a:cubicBezTo>
                      <a:pt x="887" y="80"/>
                      <a:pt x="886" y="82"/>
                      <a:pt x="884" y="82"/>
                    </a:cubicBezTo>
                    <a:cubicBezTo>
                      <a:pt x="884" y="83"/>
                      <a:pt x="883" y="83"/>
                      <a:pt x="883" y="83"/>
                    </a:cubicBezTo>
                    <a:cubicBezTo>
                      <a:pt x="881" y="83"/>
                      <a:pt x="879" y="82"/>
                      <a:pt x="877" y="81"/>
                    </a:cubicBezTo>
                    <a:cubicBezTo>
                      <a:pt x="874" y="80"/>
                      <a:pt x="870" y="80"/>
                      <a:pt x="866" y="79"/>
                    </a:cubicBezTo>
                    <a:cubicBezTo>
                      <a:pt x="866" y="79"/>
                      <a:pt x="862" y="74"/>
                      <a:pt x="861" y="73"/>
                    </a:cubicBezTo>
                    <a:cubicBezTo>
                      <a:pt x="858" y="69"/>
                      <a:pt x="853" y="70"/>
                      <a:pt x="848" y="69"/>
                    </a:cubicBezTo>
                    <a:cubicBezTo>
                      <a:pt x="849" y="68"/>
                      <a:pt x="849" y="68"/>
                      <a:pt x="849" y="68"/>
                    </a:cubicBezTo>
                    <a:cubicBezTo>
                      <a:pt x="846" y="69"/>
                      <a:pt x="843" y="71"/>
                      <a:pt x="841" y="74"/>
                    </a:cubicBezTo>
                    <a:cubicBezTo>
                      <a:pt x="841" y="71"/>
                      <a:pt x="842" y="69"/>
                      <a:pt x="842" y="68"/>
                    </a:cubicBezTo>
                    <a:cubicBezTo>
                      <a:pt x="841" y="67"/>
                      <a:pt x="840" y="64"/>
                      <a:pt x="840" y="64"/>
                    </a:cubicBezTo>
                    <a:cubicBezTo>
                      <a:pt x="839" y="63"/>
                      <a:pt x="838" y="62"/>
                      <a:pt x="837" y="62"/>
                    </a:cubicBezTo>
                    <a:cubicBezTo>
                      <a:pt x="837" y="62"/>
                      <a:pt x="838" y="61"/>
                      <a:pt x="837" y="60"/>
                    </a:cubicBezTo>
                    <a:cubicBezTo>
                      <a:pt x="837" y="60"/>
                      <a:pt x="837" y="60"/>
                      <a:pt x="837" y="60"/>
                    </a:cubicBezTo>
                    <a:cubicBezTo>
                      <a:pt x="835" y="60"/>
                      <a:pt x="832" y="62"/>
                      <a:pt x="831" y="63"/>
                    </a:cubicBezTo>
                    <a:cubicBezTo>
                      <a:pt x="823" y="66"/>
                      <a:pt x="816" y="69"/>
                      <a:pt x="809" y="73"/>
                    </a:cubicBezTo>
                    <a:cubicBezTo>
                      <a:pt x="809" y="73"/>
                      <a:pt x="809" y="73"/>
                      <a:pt x="809" y="73"/>
                    </a:cubicBezTo>
                    <a:cubicBezTo>
                      <a:pt x="809" y="73"/>
                      <a:pt x="809" y="73"/>
                      <a:pt x="809" y="73"/>
                    </a:cubicBezTo>
                    <a:cubicBezTo>
                      <a:pt x="805" y="75"/>
                      <a:pt x="801" y="77"/>
                      <a:pt x="796" y="79"/>
                    </a:cubicBezTo>
                    <a:cubicBezTo>
                      <a:pt x="796" y="79"/>
                      <a:pt x="796" y="79"/>
                      <a:pt x="796" y="79"/>
                    </a:cubicBezTo>
                    <a:cubicBezTo>
                      <a:pt x="793" y="79"/>
                      <a:pt x="788" y="76"/>
                      <a:pt x="786" y="75"/>
                    </a:cubicBezTo>
                    <a:cubicBezTo>
                      <a:pt x="784" y="74"/>
                      <a:pt x="788" y="71"/>
                      <a:pt x="788" y="70"/>
                    </a:cubicBezTo>
                    <a:cubicBezTo>
                      <a:pt x="788" y="69"/>
                      <a:pt x="787" y="68"/>
                      <a:pt x="785" y="68"/>
                    </a:cubicBezTo>
                    <a:cubicBezTo>
                      <a:pt x="782" y="68"/>
                      <a:pt x="775" y="72"/>
                      <a:pt x="774" y="72"/>
                    </a:cubicBezTo>
                    <a:cubicBezTo>
                      <a:pt x="771" y="73"/>
                      <a:pt x="769" y="74"/>
                      <a:pt x="766" y="75"/>
                    </a:cubicBezTo>
                    <a:cubicBezTo>
                      <a:pt x="766" y="75"/>
                      <a:pt x="765" y="75"/>
                      <a:pt x="764" y="75"/>
                    </a:cubicBezTo>
                    <a:cubicBezTo>
                      <a:pt x="762" y="75"/>
                      <a:pt x="759" y="74"/>
                      <a:pt x="757" y="74"/>
                    </a:cubicBezTo>
                    <a:cubicBezTo>
                      <a:pt x="765" y="67"/>
                      <a:pt x="773" y="60"/>
                      <a:pt x="781" y="54"/>
                    </a:cubicBezTo>
                    <a:cubicBezTo>
                      <a:pt x="784" y="51"/>
                      <a:pt x="787" y="49"/>
                      <a:pt x="791" y="47"/>
                    </a:cubicBezTo>
                    <a:cubicBezTo>
                      <a:pt x="796" y="45"/>
                      <a:pt x="802" y="42"/>
                      <a:pt x="808" y="40"/>
                    </a:cubicBezTo>
                    <a:cubicBezTo>
                      <a:pt x="807" y="40"/>
                      <a:pt x="807" y="40"/>
                      <a:pt x="806" y="40"/>
                    </a:cubicBezTo>
                    <a:cubicBezTo>
                      <a:pt x="803" y="39"/>
                      <a:pt x="792" y="38"/>
                      <a:pt x="790" y="38"/>
                    </a:cubicBezTo>
                    <a:cubicBezTo>
                      <a:pt x="787" y="37"/>
                      <a:pt x="786" y="35"/>
                      <a:pt x="785" y="34"/>
                    </a:cubicBezTo>
                    <a:cubicBezTo>
                      <a:pt x="784" y="34"/>
                      <a:pt x="783" y="35"/>
                      <a:pt x="781" y="37"/>
                    </a:cubicBezTo>
                    <a:cubicBezTo>
                      <a:pt x="778" y="38"/>
                      <a:pt x="776" y="39"/>
                      <a:pt x="774" y="39"/>
                    </a:cubicBezTo>
                    <a:cubicBezTo>
                      <a:pt x="768" y="39"/>
                      <a:pt x="763" y="34"/>
                      <a:pt x="761" y="32"/>
                    </a:cubicBezTo>
                    <a:cubicBezTo>
                      <a:pt x="761" y="32"/>
                      <a:pt x="761" y="32"/>
                      <a:pt x="761" y="32"/>
                    </a:cubicBezTo>
                    <a:cubicBezTo>
                      <a:pt x="760" y="31"/>
                      <a:pt x="760" y="31"/>
                      <a:pt x="759" y="31"/>
                    </a:cubicBezTo>
                    <a:cubicBezTo>
                      <a:pt x="759" y="30"/>
                      <a:pt x="758" y="30"/>
                      <a:pt x="757" y="30"/>
                    </a:cubicBezTo>
                    <a:cubicBezTo>
                      <a:pt x="757" y="30"/>
                      <a:pt x="757" y="30"/>
                      <a:pt x="757" y="30"/>
                    </a:cubicBezTo>
                    <a:cubicBezTo>
                      <a:pt x="757" y="31"/>
                      <a:pt x="757" y="31"/>
                      <a:pt x="757" y="31"/>
                    </a:cubicBezTo>
                    <a:cubicBezTo>
                      <a:pt x="755" y="32"/>
                      <a:pt x="755" y="32"/>
                      <a:pt x="755" y="32"/>
                    </a:cubicBezTo>
                    <a:cubicBezTo>
                      <a:pt x="754" y="33"/>
                      <a:pt x="753" y="33"/>
                      <a:pt x="752" y="33"/>
                    </a:cubicBezTo>
                    <a:cubicBezTo>
                      <a:pt x="752" y="33"/>
                      <a:pt x="752" y="33"/>
                      <a:pt x="751" y="33"/>
                    </a:cubicBezTo>
                    <a:cubicBezTo>
                      <a:pt x="749" y="33"/>
                      <a:pt x="748" y="30"/>
                      <a:pt x="747" y="27"/>
                    </a:cubicBezTo>
                    <a:cubicBezTo>
                      <a:pt x="747" y="26"/>
                      <a:pt x="743" y="24"/>
                      <a:pt x="739" y="23"/>
                    </a:cubicBezTo>
                    <a:cubicBezTo>
                      <a:pt x="739" y="23"/>
                      <a:pt x="738" y="23"/>
                      <a:pt x="738" y="23"/>
                    </a:cubicBezTo>
                    <a:cubicBezTo>
                      <a:pt x="737" y="23"/>
                      <a:pt x="737" y="23"/>
                      <a:pt x="737" y="23"/>
                    </a:cubicBezTo>
                    <a:cubicBezTo>
                      <a:pt x="735" y="22"/>
                      <a:pt x="733" y="22"/>
                      <a:pt x="732" y="22"/>
                    </a:cubicBezTo>
                    <a:cubicBezTo>
                      <a:pt x="730" y="22"/>
                      <a:pt x="729" y="22"/>
                      <a:pt x="729" y="23"/>
                    </a:cubicBezTo>
                    <a:cubicBezTo>
                      <a:pt x="727" y="24"/>
                      <a:pt x="724" y="25"/>
                      <a:pt x="722" y="25"/>
                    </a:cubicBezTo>
                    <a:cubicBezTo>
                      <a:pt x="715" y="25"/>
                      <a:pt x="709" y="21"/>
                      <a:pt x="708" y="21"/>
                    </a:cubicBezTo>
                    <a:cubicBezTo>
                      <a:pt x="707" y="20"/>
                      <a:pt x="705" y="20"/>
                      <a:pt x="705" y="20"/>
                    </a:cubicBezTo>
                    <a:cubicBezTo>
                      <a:pt x="704" y="20"/>
                      <a:pt x="704" y="20"/>
                      <a:pt x="703" y="20"/>
                    </a:cubicBezTo>
                    <a:cubicBezTo>
                      <a:pt x="701" y="20"/>
                      <a:pt x="699" y="19"/>
                      <a:pt x="698" y="17"/>
                    </a:cubicBezTo>
                    <a:cubicBezTo>
                      <a:pt x="696" y="16"/>
                      <a:pt x="692" y="6"/>
                      <a:pt x="692" y="2"/>
                    </a:cubicBezTo>
                    <a:cubicBezTo>
                      <a:pt x="692" y="1"/>
                      <a:pt x="692" y="1"/>
                      <a:pt x="6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 name="Rectangle 14">
                <a:extLst>
                  <a:ext uri="{FF2B5EF4-FFF2-40B4-BE49-F238E27FC236}">
                    <a16:creationId xmlns:a16="http://schemas.microsoft.com/office/drawing/2014/main" id="{55E9077E-FD7D-4695-AFB8-D84F85BF8CCD}"/>
                  </a:ext>
                </a:extLst>
              </p:cNvPr>
              <p:cNvSpPr>
                <a:spLocks noChangeArrowheads="1"/>
              </p:cNvSpPr>
              <p:nvPr/>
            </p:nvSpPr>
            <p:spPr bwMode="auto">
              <a:xfrm>
                <a:off x="5674" y="1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 name="Rectangle 15">
                <a:extLst>
                  <a:ext uri="{FF2B5EF4-FFF2-40B4-BE49-F238E27FC236}">
                    <a16:creationId xmlns:a16="http://schemas.microsoft.com/office/drawing/2014/main" id="{1E27CA58-B4DB-45D7-B572-BB67365CEDA7}"/>
                  </a:ext>
                </a:extLst>
              </p:cNvPr>
              <p:cNvSpPr>
                <a:spLocks noChangeArrowheads="1"/>
              </p:cNvSpPr>
              <p:nvPr/>
            </p:nvSpPr>
            <p:spPr bwMode="auto">
              <a:xfrm>
                <a:off x="5674" y="1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 name="Rectangle 16">
                <a:extLst>
                  <a:ext uri="{FF2B5EF4-FFF2-40B4-BE49-F238E27FC236}">
                    <a16:creationId xmlns:a16="http://schemas.microsoft.com/office/drawing/2014/main" id="{51A54827-D843-4A20-9B1D-E4F53F64C7B0}"/>
                  </a:ext>
                </a:extLst>
              </p:cNvPr>
              <p:cNvSpPr>
                <a:spLocks noChangeArrowheads="1"/>
              </p:cNvSpPr>
              <p:nvPr/>
            </p:nvSpPr>
            <p:spPr bwMode="auto">
              <a:xfrm>
                <a:off x="3716" y="311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 name="Rectangle 17">
                <a:extLst>
                  <a:ext uri="{FF2B5EF4-FFF2-40B4-BE49-F238E27FC236}">
                    <a16:creationId xmlns:a16="http://schemas.microsoft.com/office/drawing/2014/main" id="{75F670FC-2B0E-4175-B032-1182B4DCE0AA}"/>
                  </a:ext>
                </a:extLst>
              </p:cNvPr>
              <p:cNvSpPr>
                <a:spLocks noChangeArrowheads="1"/>
              </p:cNvSpPr>
              <p:nvPr/>
            </p:nvSpPr>
            <p:spPr bwMode="auto">
              <a:xfrm>
                <a:off x="3716" y="311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 name="Freeform 18">
                <a:extLst>
                  <a:ext uri="{FF2B5EF4-FFF2-40B4-BE49-F238E27FC236}">
                    <a16:creationId xmlns:a16="http://schemas.microsoft.com/office/drawing/2014/main" id="{A69EBF2C-64DC-4E09-B0CD-A523EAA2CD60}"/>
                  </a:ext>
                </a:extLst>
              </p:cNvPr>
              <p:cNvSpPr>
                <a:spLocks/>
              </p:cNvSpPr>
              <p:nvPr/>
            </p:nvSpPr>
            <p:spPr bwMode="auto">
              <a:xfrm>
                <a:off x="2971" y="1793"/>
                <a:ext cx="14" cy="12"/>
              </a:xfrm>
              <a:custGeom>
                <a:avLst/>
                <a:gdLst>
                  <a:gd name="T0" fmla="*/ 6 w 6"/>
                  <a:gd name="T1" fmla="*/ 0 h 5"/>
                  <a:gd name="T2" fmla="*/ 1 w 6"/>
                  <a:gd name="T3" fmla="*/ 4 h 5"/>
                  <a:gd name="T4" fmla="*/ 0 w 6"/>
                  <a:gd name="T5" fmla="*/ 5 h 5"/>
                  <a:gd name="T6" fmla="*/ 0 w 6"/>
                  <a:gd name="T7" fmla="*/ 5 h 5"/>
                  <a:gd name="T8" fmla="*/ 2 w 6"/>
                  <a:gd name="T9" fmla="*/ 4 h 5"/>
                  <a:gd name="T10" fmla="*/ 2 w 6"/>
                  <a:gd name="T11" fmla="*/ 4 h 5"/>
                  <a:gd name="T12" fmla="*/ 2 w 6"/>
                  <a:gd name="T13" fmla="*/ 4 h 5"/>
                  <a:gd name="T14" fmla="*/ 2 w 6"/>
                  <a:gd name="T15" fmla="*/ 4 h 5"/>
                  <a:gd name="T16" fmla="*/ 4 w 6"/>
                  <a:gd name="T17" fmla="*/ 2 h 5"/>
                  <a:gd name="T18" fmla="*/ 6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0"/>
                    </a:moveTo>
                    <a:cubicBezTo>
                      <a:pt x="4" y="2"/>
                      <a:pt x="3" y="2"/>
                      <a:pt x="1" y="4"/>
                    </a:cubicBezTo>
                    <a:cubicBezTo>
                      <a:pt x="1" y="4"/>
                      <a:pt x="0" y="5"/>
                      <a:pt x="0" y="5"/>
                    </a:cubicBezTo>
                    <a:cubicBezTo>
                      <a:pt x="0" y="5"/>
                      <a:pt x="0" y="5"/>
                      <a:pt x="0" y="5"/>
                    </a:cubicBezTo>
                    <a:cubicBezTo>
                      <a:pt x="1" y="5"/>
                      <a:pt x="1" y="4"/>
                      <a:pt x="2" y="4"/>
                    </a:cubicBezTo>
                    <a:cubicBezTo>
                      <a:pt x="2" y="4"/>
                      <a:pt x="2" y="4"/>
                      <a:pt x="2" y="4"/>
                    </a:cubicBezTo>
                    <a:cubicBezTo>
                      <a:pt x="2" y="4"/>
                      <a:pt x="2" y="4"/>
                      <a:pt x="2" y="4"/>
                    </a:cubicBezTo>
                    <a:cubicBezTo>
                      <a:pt x="2" y="4"/>
                      <a:pt x="2" y="4"/>
                      <a:pt x="2" y="4"/>
                    </a:cubicBezTo>
                    <a:cubicBezTo>
                      <a:pt x="3" y="3"/>
                      <a:pt x="4" y="3"/>
                      <a:pt x="4" y="2"/>
                    </a:cubicBezTo>
                    <a:cubicBezTo>
                      <a:pt x="5" y="2"/>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 name="Rectangle 19">
                <a:extLst>
                  <a:ext uri="{FF2B5EF4-FFF2-40B4-BE49-F238E27FC236}">
                    <a16:creationId xmlns:a16="http://schemas.microsoft.com/office/drawing/2014/main" id="{1BDD38BB-FB46-4CD1-90FB-CB3B00954E53}"/>
                  </a:ext>
                </a:extLst>
              </p:cNvPr>
              <p:cNvSpPr>
                <a:spLocks noChangeArrowheads="1"/>
              </p:cNvSpPr>
              <p:nvPr/>
            </p:nvSpPr>
            <p:spPr bwMode="auto">
              <a:xfrm>
                <a:off x="3276" y="216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 name="Rectangle 20">
                <a:extLst>
                  <a:ext uri="{FF2B5EF4-FFF2-40B4-BE49-F238E27FC236}">
                    <a16:creationId xmlns:a16="http://schemas.microsoft.com/office/drawing/2014/main" id="{99B1565D-CDF7-441A-B78A-654054E9FA23}"/>
                  </a:ext>
                </a:extLst>
              </p:cNvPr>
              <p:cNvSpPr>
                <a:spLocks noChangeArrowheads="1"/>
              </p:cNvSpPr>
              <p:nvPr/>
            </p:nvSpPr>
            <p:spPr bwMode="auto">
              <a:xfrm>
                <a:off x="3276" y="216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 name="Freeform 21">
                <a:extLst>
                  <a:ext uri="{FF2B5EF4-FFF2-40B4-BE49-F238E27FC236}">
                    <a16:creationId xmlns:a16="http://schemas.microsoft.com/office/drawing/2014/main" id="{39B36A6D-DB17-43D9-AB5F-CC8CDEA454C1}"/>
                  </a:ext>
                </a:extLst>
              </p:cNvPr>
              <p:cNvSpPr>
                <a:spLocks noEditPoints="1"/>
              </p:cNvSpPr>
              <p:nvPr/>
            </p:nvSpPr>
            <p:spPr bwMode="auto">
              <a:xfrm>
                <a:off x="5203" y="3255"/>
                <a:ext cx="3" cy="7"/>
              </a:xfrm>
              <a:custGeom>
                <a:avLst/>
                <a:gdLst>
                  <a:gd name="T0" fmla="*/ 1 w 1"/>
                  <a:gd name="T1" fmla="*/ 0 h 3"/>
                  <a:gd name="T2" fmla="*/ 1 w 1"/>
                  <a:gd name="T3" fmla="*/ 0 h 3"/>
                  <a:gd name="T4" fmla="*/ 1 w 1"/>
                  <a:gd name="T5" fmla="*/ 0 h 3"/>
                  <a:gd name="T6" fmla="*/ 1 w 1"/>
                  <a:gd name="T7" fmla="*/ 0 h 3"/>
                  <a:gd name="T8" fmla="*/ 1 w 1"/>
                  <a:gd name="T9" fmla="*/ 0 h 3"/>
                  <a:gd name="T10" fmla="*/ 1 w 1"/>
                  <a:gd name="T11" fmla="*/ 0 h 3"/>
                  <a:gd name="T12" fmla="*/ 1 w 1"/>
                  <a:gd name="T13" fmla="*/ 0 h 3"/>
                  <a:gd name="T14" fmla="*/ 1 w 1"/>
                  <a:gd name="T15" fmla="*/ 0 h 3"/>
                  <a:gd name="T16" fmla="*/ 0 w 1"/>
                  <a:gd name="T17" fmla="*/ 3 h 3"/>
                  <a:gd name="T18" fmla="*/ 1 w 1"/>
                  <a:gd name="T19" fmla="*/ 0 h 3"/>
                  <a:gd name="T20" fmla="*/ 1 w 1"/>
                  <a:gd name="T21" fmla="*/ 0 h 3"/>
                  <a:gd name="T22" fmla="*/ 1 w 1"/>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3">
                    <a:moveTo>
                      <a:pt x="1" y="0"/>
                    </a:move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cubicBezTo>
                      <a:pt x="1" y="1"/>
                      <a:pt x="1" y="2"/>
                      <a:pt x="0" y="3"/>
                    </a:cubicBezTo>
                    <a:cubicBezTo>
                      <a:pt x="1" y="2"/>
                      <a:pt x="1" y="1"/>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 name="Freeform 22">
                <a:extLst>
                  <a:ext uri="{FF2B5EF4-FFF2-40B4-BE49-F238E27FC236}">
                    <a16:creationId xmlns:a16="http://schemas.microsoft.com/office/drawing/2014/main" id="{796DCC85-EFF5-4028-BE7E-C29CECF4793E}"/>
                  </a:ext>
                </a:extLst>
              </p:cNvPr>
              <p:cNvSpPr>
                <a:spLocks/>
              </p:cNvSpPr>
              <p:nvPr/>
            </p:nvSpPr>
            <p:spPr bwMode="auto">
              <a:xfrm>
                <a:off x="5612" y="3111"/>
                <a:ext cx="3"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 name="Freeform 23">
                <a:extLst>
                  <a:ext uri="{FF2B5EF4-FFF2-40B4-BE49-F238E27FC236}">
                    <a16:creationId xmlns:a16="http://schemas.microsoft.com/office/drawing/2014/main" id="{F553E83B-8BEB-449A-84D7-8FBE19FDD00D}"/>
                  </a:ext>
                </a:extLst>
              </p:cNvPr>
              <p:cNvSpPr>
                <a:spLocks/>
              </p:cNvSpPr>
              <p:nvPr/>
            </p:nvSpPr>
            <p:spPr bwMode="auto">
              <a:xfrm>
                <a:off x="6591" y="641"/>
                <a:ext cx="7" cy="3"/>
              </a:xfrm>
              <a:custGeom>
                <a:avLst/>
                <a:gdLst>
                  <a:gd name="T0" fmla="*/ 1 w 3"/>
                  <a:gd name="T1" fmla="*/ 0 h 1"/>
                  <a:gd name="T2" fmla="*/ 0 w 3"/>
                  <a:gd name="T3" fmla="*/ 1 h 1"/>
                  <a:gd name="T4" fmla="*/ 0 w 3"/>
                  <a:gd name="T5" fmla="*/ 1 h 1"/>
                  <a:gd name="T6" fmla="*/ 0 w 3"/>
                  <a:gd name="T7" fmla="*/ 1 h 1"/>
                  <a:gd name="T8" fmla="*/ 0 w 3"/>
                  <a:gd name="T9" fmla="*/ 1 h 1"/>
                  <a:gd name="T10" fmla="*/ 0 w 3"/>
                  <a:gd name="T11" fmla="*/ 1 h 1"/>
                  <a:gd name="T12" fmla="*/ 0 w 3"/>
                  <a:gd name="T13" fmla="*/ 1 h 1"/>
                  <a:gd name="T14" fmla="*/ 1 w 3"/>
                  <a:gd name="T15" fmla="*/ 1 h 1"/>
                  <a:gd name="T16" fmla="*/ 1 w 3"/>
                  <a:gd name="T17" fmla="*/ 1 h 1"/>
                  <a:gd name="T18" fmla="*/ 1 w 3"/>
                  <a:gd name="T19" fmla="*/ 1 h 1"/>
                  <a:gd name="T20" fmla="*/ 2 w 3"/>
                  <a:gd name="T21" fmla="*/ 1 h 1"/>
                  <a:gd name="T22" fmla="*/ 2 w 3"/>
                  <a:gd name="T23" fmla="*/ 1 h 1"/>
                  <a:gd name="T24" fmla="*/ 2 w 3"/>
                  <a:gd name="T25" fmla="*/ 1 h 1"/>
                  <a:gd name="T26" fmla="*/ 3 w 3"/>
                  <a:gd name="T27" fmla="*/ 1 h 1"/>
                  <a:gd name="T28" fmla="*/ 3 w 3"/>
                  <a:gd name="T29" fmla="*/ 1 h 1"/>
                  <a:gd name="T30" fmla="*/ 1 w 3"/>
                  <a:gd name="T3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
                    <a:moveTo>
                      <a:pt x="1" y="0"/>
                    </a:moveTo>
                    <a:cubicBezTo>
                      <a:pt x="1" y="0"/>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3" y="1"/>
                      <a:pt x="3" y="1"/>
                      <a:pt x="3" y="1"/>
                    </a:cubicBezTo>
                    <a:cubicBezTo>
                      <a:pt x="3" y="1"/>
                      <a:pt x="3"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 name="Freeform 24">
                <a:extLst>
                  <a:ext uri="{FF2B5EF4-FFF2-40B4-BE49-F238E27FC236}">
                    <a16:creationId xmlns:a16="http://schemas.microsoft.com/office/drawing/2014/main" id="{815A7B08-C4C7-48DB-B5E4-AF85D1CE5FA6}"/>
                  </a:ext>
                </a:extLst>
              </p:cNvPr>
              <p:cNvSpPr>
                <a:spLocks/>
              </p:cNvSpPr>
              <p:nvPr/>
            </p:nvSpPr>
            <p:spPr bwMode="auto">
              <a:xfrm>
                <a:off x="5709" y="4512"/>
                <a:ext cx="3" cy="0"/>
              </a:xfrm>
              <a:custGeom>
                <a:avLst/>
                <a:gdLst>
                  <a:gd name="T0" fmla="*/ 0 w 1"/>
                  <a:gd name="T1" fmla="*/ 0 w 1"/>
                  <a:gd name="T2" fmla="*/ 1 w 1"/>
                  <a:gd name="T3" fmla="*/ 1 w 1"/>
                  <a:gd name="T4" fmla="*/ 1 w 1"/>
                  <a:gd name="T5" fmla="*/ 1 w 1"/>
                  <a:gd name="T6" fmla="*/ 1 w 1"/>
                  <a:gd name="T7" fmla="*/ 1 w 1"/>
                  <a:gd name="T8" fmla="*/ 0 w 1"/>
                  <a:gd name="T9"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 name="Freeform 25">
                <a:extLst>
                  <a:ext uri="{FF2B5EF4-FFF2-40B4-BE49-F238E27FC236}">
                    <a16:creationId xmlns:a16="http://schemas.microsoft.com/office/drawing/2014/main" id="{503334CF-4920-4769-AB3D-3C66A866F220}"/>
                  </a:ext>
                </a:extLst>
              </p:cNvPr>
              <p:cNvSpPr>
                <a:spLocks/>
              </p:cNvSpPr>
              <p:nvPr/>
            </p:nvSpPr>
            <p:spPr bwMode="auto">
              <a:xfrm>
                <a:off x="6598" y="4436"/>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 name="Freeform 26">
                <a:extLst>
                  <a:ext uri="{FF2B5EF4-FFF2-40B4-BE49-F238E27FC236}">
                    <a16:creationId xmlns:a16="http://schemas.microsoft.com/office/drawing/2014/main" id="{315FF8F5-21C0-4C58-B09D-7F91DFAEF0C5}"/>
                  </a:ext>
                </a:extLst>
              </p:cNvPr>
              <p:cNvSpPr>
                <a:spLocks/>
              </p:cNvSpPr>
              <p:nvPr/>
            </p:nvSpPr>
            <p:spPr bwMode="auto">
              <a:xfrm>
                <a:off x="2947" y="1751"/>
                <a:ext cx="5" cy="14"/>
              </a:xfrm>
              <a:custGeom>
                <a:avLst/>
                <a:gdLst>
                  <a:gd name="T0" fmla="*/ 1 w 2"/>
                  <a:gd name="T1" fmla="*/ 0 h 6"/>
                  <a:gd name="T2" fmla="*/ 0 w 2"/>
                  <a:gd name="T3" fmla="*/ 4 h 6"/>
                  <a:gd name="T4" fmla="*/ 0 w 2"/>
                  <a:gd name="T5" fmla="*/ 4 h 6"/>
                  <a:gd name="T6" fmla="*/ 0 w 2"/>
                  <a:gd name="T7" fmla="*/ 4 h 6"/>
                  <a:gd name="T8" fmla="*/ 0 w 2"/>
                  <a:gd name="T9" fmla="*/ 4 h 6"/>
                  <a:gd name="T10" fmla="*/ 1 w 2"/>
                  <a:gd name="T11" fmla="*/ 4 h 6"/>
                  <a:gd name="T12" fmla="*/ 1 w 2"/>
                  <a:gd name="T13" fmla="*/ 4 h 6"/>
                  <a:gd name="T14" fmla="*/ 2 w 2"/>
                  <a:gd name="T15" fmla="*/ 5 h 6"/>
                  <a:gd name="T16" fmla="*/ 2 w 2"/>
                  <a:gd name="T17" fmla="*/ 5 h 6"/>
                  <a:gd name="T18" fmla="*/ 2 w 2"/>
                  <a:gd name="T19" fmla="*/ 6 h 6"/>
                  <a:gd name="T20" fmla="*/ 2 w 2"/>
                  <a:gd name="T21" fmla="*/ 6 h 6"/>
                  <a:gd name="T22" fmla="*/ 2 w 2"/>
                  <a:gd name="T23" fmla="*/ 5 h 6"/>
                  <a:gd name="T24" fmla="*/ 2 w 2"/>
                  <a:gd name="T25" fmla="*/ 5 h 6"/>
                  <a:gd name="T26" fmla="*/ 2 w 2"/>
                  <a:gd name="T27" fmla="*/ 5 h 6"/>
                  <a:gd name="T28" fmla="*/ 2 w 2"/>
                  <a:gd name="T29" fmla="*/ 4 h 6"/>
                  <a:gd name="T30" fmla="*/ 2 w 2"/>
                  <a:gd name="T31" fmla="*/ 2 h 6"/>
                  <a:gd name="T32" fmla="*/ 2 w 2"/>
                  <a:gd name="T33" fmla="*/ 2 h 6"/>
                  <a:gd name="T34" fmla="*/ 2 w 2"/>
                  <a:gd name="T35" fmla="*/ 1 h 6"/>
                  <a:gd name="T36" fmla="*/ 2 w 2"/>
                  <a:gd name="T37" fmla="*/ 1 h 6"/>
                  <a:gd name="T38" fmla="*/ 1 w 2"/>
                  <a:gd name="T39" fmla="*/ 0 h 6"/>
                  <a:gd name="T40" fmla="*/ 1 w 2"/>
                  <a:gd name="T4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6">
                    <a:moveTo>
                      <a:pt x="1" y="0"/>
                    </a:moveTo>
                    <a:cubicBezTo>
                      <a:pt x="1" y="1"/>
                      <a:pt x="1" y="3"/>
                      <a:pt x="0" y="4"/>
                    </a:cubicBezTo>
                    <a:cubicBezTo>
                      <a:pt x="0" y="4"/>
                      <a:pt x="0" y="4"/>
                      <a:pt x="0" y="4"/>
                    </a:cubicBezTo>
                    <a:cubicBezTo>
                      <a:pt x="0" y="4"/>
                      <a:pt x="0" y="4"/>
                      <a:pt x="0" y="4"/>
                    </a:cubicBezTo>
                    <a:cubicBezTo>
                      <a:pt x="0" y="4"/>
                      <a:pt x="0" y="4"/>
                      <a:pt x="0" y="4"/>
                    </a:cubicBezTo>
                    <a:cubicBezTo>
                      <a:pt x="1" y="4"/>
                      <a:pt x="1" y="4"/>
                      <a:pt x="1" y="4"/>
                    </a:cubicBezTo>
                    <a:cubicBezTo>
                      <a:pt x="1" y="4"/>
                      <a:pt x="1" y="4"/>
                      <a:pt x="1" y="4"/>
                    </a:cubicBezTo>
                    <a:cubicBezTo>
                      <a:pt x="1" y="4"/>
                      <a:pt x="2" y="5"/>
                      <a:pt x="2" y="5"/>
                    </a:cubicBezTo>
                    <a:cubicBezTo>
                      <a:pt x="2" y="5"/>
                      <a:pt x="2" y="5"/>
                      <a:pt x="2" y="5"/>
                    </a:cubicBezTo>
                    <a:cubicBezTo>
                      <a:pt x="2" y="6"/>
                      <a:pt x="2" y="6"/>
                      <a:pt x="2" y="6"/>
                    </a:cubicBezTo>
                    <a:cubicBezTo>
                      <a:pt x="2" y="6"/>
                      <a:pt x="2" y="6"/>
                      <a:pt x="2" y="6"/>
                    </a:cubicBezTo>
                    <a:cubicBezTo>
                      <a:pt x="2" y="6"/>
                      <a:pt x="2" y="5"/>
                      <a:pt x="2" y="5"/>
                    </a:cubicBezTo>
                    <a:cubicBezTo>
                      <a:pt x="2" y="5"/>
                      <a:pt x="2" y="5"/>
                      <a:pt x="2" y="5"/>
                    </a:cubicBezTo>
                    <a:cubicBezTo>
                      <a:pt x="2" y="5"/>
                      <a:pt x="2" y="5"/>
                      <a:pt x="2" y="5"/>
                    </a:cubicBezTo>
                    <a:cubicBezTo>
                      <a:pt x="2" y="5"/>
                      <a:pt x="2" y="5"/>
                      <a:pt x="2" y="4"/>
                    </a:cubicBezTo>
                    <a:cubicBezTo>
                      <a:pt x="2" y="3"/>
                      <a:pt x="2" y="3"/>
                      <a:pt x="2" y="2"/>
                    </a:cubicBezTo>
                    <a:cubicBezTo>
                      <a:pt x="2" y="2"/>
                      <a:pt x="2" y="2"/>
                      <a:pt x="2" y="2"/>
                    </a:cubicBezTo>
                    <a:cubicBezTo>
                      <a:pt x="2" y="1"/>
                      <a:pt x="2" y="1"/>
                      <a:pt x="2" y="1"/>
                    </a:cubicBezTo>
                    <a:cubicBezTo>
                      <a:pt x="2" y="1"/>
                      <a:pt x="2" y="1"/>
                      <a:pt x="2" y="1"/>
                    </a:cubicBezTo>
                    <a:cubicBezTo>
                      <a:pt x="2" y="1"/>
                      <a:pt x="2"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 name="Freeform 27">
                <a:extLst>
                  <a:ext uri="{FF2B5EF4-FFF2-40B4-BE49-F238E27FC236}">
                    <a16:creationId xmlns:a16="http://schemas.microsoft.com/office/drawing/2014/main" id="{68F22A74-A73D-4475-9BA6-6EADD8E317C5}"/>
                  </a:ext>
                </a:extLst>
              </p:cNvPr>
              <p:cNvSpPr>
                <a:spLocks noEditPoints="1"/>
              </p:cNvSpPr>
              <p:nvPr/>
            </p:nvSpPr>
            <p:spPr bwMode="auto">
              <a:xfrm>
                <a:off x="2869" y="1606"/>
                <a:ext cx="0" cy="3"/>
              </a:xfrm>
              <a:custGeom>
                <a:avLst/>
                <a:gdLst>
                  <a:gd name="T0" fmla="*/ 3 h 3"/>
                  <a:gd name="T1" fmla="*/ 3 h 3"/>
                  <a:gd name="T2" fmla="*/ 3 h 3"/>
                  <a:gd name="T3" fmla="*/ 3 h 3"/>
                  <a:gd name="T4" fmla="*/ 0 h 3"/>
                  <a:gd name="T5" fmla="*/ 3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3"/>
                    </a:lnTo>
                    <a:lnTo>
                      <a:pt x="0" y="3"/>
                    </a:lnTo>
                    <a:lnTo>
                      <a:pt x="0" y="3"/>
                    </a:lnTo>
                    <a:close/>
                    <a:moveTo>
                      <a:pt x="0" y="0"/>
                    </a:moveTo>
                    <a:lnTo>
                      <a:pt x="0" y="3"/>
                    </a:lnTo>
                    <a:lnTo>
                      <a:pt x="0"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 name="Freeform 28">
                <a:extLst>
                  <a:ext uri="{FF2B5EF4-FFF2-40B4-BE49-F238E27FC236}">
                    <a16:creationId xmlns:a16="http://schemas.microsoft.com/office/drawing/2014/main" id="{7FF4FCA8-3822-4D7C-9E10-9679A2F00DEB}"/>
                  </a:ext>
                </a:extLst>
              </p:cNvPr>
              <p:cNvSpPr>
                <a:spLocks noEditPoints="1"/>
              </p:cNvSpPr>
              <p:nvPr/>
            </p:nvSpPr>
            <p:spPr bwMode="auto">
              <a:xfrm>
                <a:off x="2869" y="1606"/>
                <a:ext cx="0" cy="3"/>
              </a:xfrm>
              <a:custGeom>
                <a:avLst/>
                <a:gdLst>
                  <a:gd name="T0" fmla="*/ 3 h 3"/>
                  <a:gd name="T1" fmla="*/ 3 h 3"/>
                  <a:gd name="T2" fmla="*/ 3 h 3"/>
                  <a:gd name="T3" fmla="*/ 3 h 3"/>
                  <a:gd name="T4" fmla="*/ 0 h 3"/>
                  <a:gd name="T5" fmla="*/ 3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3"/>
                    </a:lnTo>
                    <a:lnTo>
                      <a:pt x="0" y="3"/>
                    </a:lnTo>
                    <a:lnTo>
                      <a:pt x="0" y="3"/>
                    </a:lnTo>
                    <a:moveTo>
                      <a:pt x="0" y="0"/>
                    </a:moveTo>
                    <a:lnTo>
                      <a:pt x="0" y="3"/>
                    </a:ln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 name="Freeform 29">
                <a:extLst>
                  <a:ext uri="{FF2B5EF4-FFF2-40B4-BE49-F238E27FC236}">
                    <a16:creationId xmlns:a16="http://schemas.microsoft.com/office/drawing/2014/main" id="{5822B495-0461-4B85-9AF3-5BB5300861A9}"/>
                  </a:ext>
                </a:extLst>
              </p:cNvPr>
              <p:cNvSpPr>
                <a:spLocks/>
              </p:cNvSpPr>
              <p:nvPr/>
            </p:nvSpPr>
            <p:spPr bwMode="auto">
              <a:xfrm>
                <a:off x="3418" y="388"/>
                <a:ext cx="2" cy="19"/>
              </a:xfrm>
              <a:custGeom>
                <a:avLst/>
                <a:gdLst>
                  <a:gd name="T0" fmla="*/ 0 w 1"/>
                  <a:gd name="T1" fmla="*/ 0 h 8"/>
                  <a:gd name="T2" fmla="*/ 0 w 1"/>
                  <a:gd name="T3" fmla="*/ 8 h 8"/>
                  <a:gd name="T4" fmla="*/ 1 w 1"/>
                  <a:gd name="T5" fmla="*/ 3 h 8"/>
                  <a:gd name="T6" fmla="*/ 0 w 1"/>
                  <a:gd name="T7" fmla="*/ 0 h 8"/>
                </a:gdLst>
                <a:ahLst/>
                <a:cxnLst>
                  <a:cxn ang="0">
                    <a:pos x="T0" y="T1"/>
                  </a:cxn>
                  <a:cxn ang="0">
                    <a:pos x="T2" y="T3"/>
                  </a:cxn>
                  <a:cxn ang="0">
                    <a:pos x="T4" y="T5"/>
                  </a:cxn>
                  <a:cxn ang="0">
                    <a:pos x="T6" y="T7"/>
                  </a:cxn>
                </a:cxnLst>
                <a:rect l="0" t="0" r="r" b="b"/>
                <a:pathLst>
                  <a:path w="1" h="8">
                    <a:moveTo>
                      <a:pt x="0" y="0"/>
                    </a:moveTo>
                    <a:cubicBezTo>
                      <a:pt x="0" y="3"/>
                      <a:pt x="0" y="5"/>
                      <a:pt x="0" y="8"/>
                    </a:cubicBezTo>
                    <a:cubicBezTo>
                      <a:pt x="0" y="7"/>
                      <a:pt x="1" y="5"/>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 name="Rectangle 30">
                <a:extLst>
                  <a:ext uri="{FF2B5EF4-FFF2-40B4-BE49-F238E27FC236}">
                    <a16:creationId xmlns:a16="http://schemas.microsoft.com/office/drawing/2014/main" id="{61D01F2E-1D43-48BF-B1C9-3B3029901FF5}"/>
                  </a:ext>
                </a:extLst>
              </p:cNvPr>
              <p:cNvSpPr>
                <a:spLocks noChangeArrowheads="1"/>
              </p:cNvSpPr>
              <p:nvPr/>
            </p:nvSpPr>
            <p:spPr bwMode="auto">
              <a:xfrm>
                <a:off x="2872" y="16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 name="Rectangle 31">
                <a:extLst>
                  <a:ext uri="{FF2B5EF4-FFF2-40B4-BE49-F238E27FC236}">
                    <a16:creationId xmlns:a16="http://schemas.microsoft.com/office/drawing/2014/main" id="{67416DA0-8F75-4EF9-B3CF-1CFCF2885FEE}"/>
                  </a:ext>
                </a:extLst>
              </p:cNvPr>
              <p:cNvSpPr>
                <a:spLocks noChangeArrowheads="1"/>
              </p:cNvSpPr>
              <p:nvPr/>
            </p:nvSpPr>
            <p:spPr bwMode="auto">
              <a:xfrm>
                <a:off x="2872" y="161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 name="Rectangle 32">
                <a:extLst>
                  <a:ext uri="{FF2B5EF4-FFF2-40B4-BE49-F238E27FC236}">
                    <a16:creationId xmlns:a16="http://schemas.microsoft.com/office/drawing/2014/main" id="{D1E75B96-76F5-43CC-9D34-F9C7DAEECDF1}"/>
                  </a:ext>
                </a:extLst>
              </p:cNvPr>
              <p:cNvSpPr>
                <a:spLocks noChangeArrowheads="1"/>
              </p:cNvSpPr>
              <p:nvPr/>
            </p:nvSpPr>
            <p:spPr bwMode="auto">
              <a:xfrm>
                <a:off x="5775" y="296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 name="Freeform 33">
                <a:extLst>
                  <a:ext uri="{FF2B5EF4-FFF2-40B4-BE49-F238E27FC236}">
                    <a16:creationId xmlns:a16="http://schemas.microsoft.com/office/drawing/2014/main" id="{61F856BB-4A38-41C8-8312-DD65000FF838}"/>
                  </a:ext>
                </a:extLst>
              </p:cNvPr>
              <p:cNvSpPr>
                <a:spLocks/>
              </p:cNvSpPr>
              <p:nvPr/>
            </p:nvSpPr>
            <p:spPr bwMode="auto">
              <a:xfrm>
                <a:off x="5775" y="296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 name="Freeform 34">
                <a:extLst>
                  <a:ext uri="{FF2B5EF4-FFF2-40B4-BE49-F238E27FC236}">
                    <a16:creationId xmlns:a16="http://schemas.microsoft.com/office/drawing/2014/main" id="{D362D4D4-977D-47B4-B4D8-B39572D89A6B}"/>
                  </a:ext>
                </a:extLst>
              </p:cNvPr>
              <p:cNvSpPr>
                <a:spLocks/>
              </p:cNvSpPr>
              <p:nvPr/>
            </p:nvSpPr>
            <p:spPr bwMode="auto">
              <a:xfrm>
                <a:off x="2926" y="1722"/>
                <a:ext cx="2" cy="3"/>
              </a:xfrm>
              <a:custGeom>
                <a:avLst/>
                <a:gdLst>
                  <a:gd name="T0" fmla="*/ 0 w 1"/>
                  <a:gd name="T1" fmla="*/ 0 h 1"/>
                  <a:gd name="T2" fmla="*/ 0 w 1"/>
                  <a:gd name="T3" fmla="*/ 0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0 w 1"/>
                  <a:gd name="T17" fmla="*/ 0 h 1"/>
                  <a:gd name="T18" fmla="*/ 0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0"/>
                    </a:moveTo>
                    <a:cubicBezTo>
                      <a:pt x="0" y="0"/>
                      <a:pt x="0" y="0"/>
                      <a:pt x="0" y="0"/>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 name="Freeform 35">
                <a:extLst>
                  <a:ext uri="{FF2B5EF4-FFF2-40B4-BE49-F238E27FC236}">
                    <a16:creationId xmlns:a16="http://schemas.microsoft.com/office/drawing/2014/main" id="{B5D0D603-21EF-46BA-B9C7-58BF81E2992D}"/>
                  </a:ext>
                </a:extLst>
              </p:cNvPr>
              <p:cNvSpPr>
                <a:spLocks/>
              </p:cNvSpPr>
              <p:nvPr/>
            </p:nvSpPr>
            <p:spPr bwMode="auto">
              <a:xfrm>
                <a:off x="6104" y="2091"/>
                <a:ext cx="3" cy="0"/>
              </a:xfrm>
              <a:custGeom>
                <a:avLst/>
                <a:gdLst>
                  <a:gd name="T0" fmla="*/ 3 w 3"/>
                  <a:gd name="T1" fmla="*/ 0 w 3"/>
                  <a:gd name="T2" fmla="*/ 3 w 3"/>
                  <a:gd name="T3" fmla="*/ 3 w 3"/>
                  <a:gd name="T4" fmla="*/ 3 w 3"/>
                </a:gdLst>
                <a:ahLst/>
                <a:cxnLst>
                  <a:cxn ang="0">
                    <a:pos x="T0" y="0"/>
                  </a:cxn>
                  <a:cxn ang="0">
                    <a:pos x="T1" y="0"/>
                  </a:cxn>
                  <a:cxn ang="0">
                    <a:pos x="T2" y="0"/>
                  </a:cxn>
                  <a:cxn ang="0">
                    <a:pos x="T3" y="0"/>
                  </a:cxn>
                  <a:cxn ang="0">
                    <a:pos x="T4" y="0"/>
                  </a:cxn>
                </a:cxnLst>
                <a:rect l="0" t="0" r="r" b="b"/>
                <a:pathLst>
                  <a:path w="3">
                    <a:moveTo>
                      <a:pt x="3" y="0"/>
                    </a:moveTo>
                    <a:lnTo>
                      <a:pt x="0"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 name="Freeform 36">
                <a:extLst>
                  <a:ext uri="{FF2B5EF4-FFF2-40B4-BE49-F238E27FC236}">
                    <a16:creationId xmlns:a16="http://schemas.microsoft.com/office/drawing/2014/main" id="{C4899265-2777-4B33-B31A-DA93E3CA8E89}"/>
                  </a:ext>
                </a:extLst>
              </p:cNvPr>
              <p:cNvSpPr>
                <a:spLocks/>
              </p:cNvSpPr>
              <p:nvPr/>
            </p:nvSpPr>
            <p:spPr bwMode="auto">
              <a:xfrm>
                <a:off x="6104" y="2091"/>
                <a:ext cx="3" cy="0"/>
              </a:xfrm>
              <a:custGeom>
                <a:avLst/>
                <a:gdLst>
                  <a:gd name="T0" fmla="*/ 3 w 3"/>
                  <a:gd name="T1" fmla="*/ 0 w 3"/>
                  <a:gd name="T2" fmla="*/ 3 w 3"/>
                  <a:gd name="T3" fmla="*/ 3 w 3"/>
                  <a:gd name="T4" fmla="*/ 3 w 3"/>
                </a:gdLst>
                <a:ahLst/>
                <a:cxnLst>
                  <a:cxn ang="0">
                    <a:pos x="T0" y="0"/>
                  </a:cxn>
                  <a:cxn ang="0">
                    <a:pos x="T1" y="0"/>
                  </a:cxn>
                  <a:cxn ang="0">
                    <a:pos x="T2" y="0"/>
                  </a:cxn>
                  <a:cxn ang="0">
                    <a:pos x="T3" y="0"/>
                  </a:cxn>
                  <a:cxn ang="0">
                    <a:pos x="T4" y="0"/>
                  </a:cxn>
                </a:cxnLst>
                <a:rect l="0" t="0" r="r" b="b"/>
                <a:pathLst>
                  <a:path w="3">
                    <a:moveTo>
                      <a:pt x="3" y="0"/>
                    </a:moveTo>
                    <a:lnTo>
                      <a:pt x="0" y="0"/>
                    </a:lnTo>
                    <a:lnTo>
                      <a:pt x="3" y="0"/>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 name="Freeform 37">
                <a:extLst>
                  <a:ext uri="{FF2B5EF4-FFF2-40B4-BE49-F238E27FC236}">
                    <a16:creationId xmlns:a16="http://schemas.microsoft.com/office/drawing/2014/main" id="{671D3D0D-630B-46DF-87C9-4C55B68DDC78}"/>
                  </a:ext>
                </a:extLst>
              </p:cNvPr>
              <p:cNvSpPr>
                <a:spLocks/>
              </p:cNvSpPr>
              <p:nvPr/>
            </p:nvSpPr>
            <p:spPr bwMode="auto">
              <a:xfrm>
                <a:off x="2794" y="381"/>
                <a:ext cx="9" cy="9"/>
              </a:xfrm>
              <a:custGeom>
                <a:avLst/>
                <a:gdLst>
                  <a:gd name="T0" fmla="*/ 4 w 4"/>
                  <a:gd name="T1" fmla="*/ 0 h 4"/>
                  <a:gd name="T2" fmla="*/ 0 w 4"/>
                  <a:gd name="T3" fmla="*/ 4 h 4"/>
                  <a:gd name="T4" fmla="*/ 4 w 4"/>
                  <a:gd name="T5" fmla="*/ 0 h 4"/>
                </a:gdLst>
                <a:ahLst/>
                <a:cxnLst>
                  <a:cxn ang="0">
                    <a:pos x="T0" y="T1"/>
                  </a:cxn>
                  <a:cxn ang="0">
                    <a:pos x="T2" y="T3"/>
                  </a:cxn>
                  <a:cxn ang="0">
                    <a:pos x="T4" y="T5"/>
                  </a:cxn>
                </a:cxnLst>
                <a:rect l="0" t="0" r="r" b="b"/>
                <a:pathLst>
                  <a:path w="4" h="4">
                    <a:moveTo>
                      <a:pt x="4" y="0"/>
                    </a:moveTo>
                    <a:cubicBezTo>
                      <a:pt x="4" y="1"/>
                      <a:pt x="1" y="4"/>
                      <a:pt x="0" y="4"/>
                    </a:cubicBezTo>
                    <a:cubicBezTo>
                      <a:pt x="1" y="4"/>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 name="Freeform 38">
                <a:extLst>
                  <a:ext uri="{FF2B5EF4-FFF2-40B4-BE49-F238E27FC236}">
                    <a16:creationId xmlns:a16="http://schemas.microsoft.com/office/drawing/2014/main" id="{DA70054D-3D11-4932-8F89-5C96AB16D178}"/>
                  </a:ext>
                </a:extLst>
              </p:cNvPr>
              <p:cNvSpPr>
                <a:spLocks/>
              </p:cNvSpPr>
              <p:nvPr/>
            </p:nvSpPr>
            <p:spPr bwMode="auto">
              <a:xfrm>
                <a:off x="6873" y="1874"/>
                <a:ext cx="9" cy="7"/>
              </a:xfrm>
              <a:custGeom>
                <a:avLst/>
                <a:gdLst>
                  <a:gd name="T0" fmla="*/ 4 w 4"/>
                  <a:gd name="T1" fmla="*/ 0 h 3"/>
                  <a:gd name="T2" fmla="*/ 0 w 4"/>
                  <a:gd name="T3" fmla="*/ 2 h 3"/>
                  <a:gd name="T4" fmla="*/ 0 w 4"/>
                  <a:gd name="T5" fmla="*/ 2 h 3"/>
                  <a:gd name="T6" fmla="*/ 1 w 4"/>
                  <a:gd name="T7" fmla="*/ 3 h 3"/>
                  <a:gd name="T8" fmla="*/ 4 w 4"/>
                  <a:gd name="T9" fmla="*/ 0 h 3"/>
                </a:gdLst>
                <a:ahLst/>
                <a:cxnLst>
                  <a:cxn ang="0">
                    <a:pos x="T0" y="T1"/>
                  </a:cxn>
                  <a:cxn ang="0">
                    <a:pos x="T2" y="T3"/>
                  </a:cxn>
                  <a:cxn ang="0">
                    <a:pos x="T4" y="T5"/>
                  </a:cxn>
                  <a:cxn ang="0">
                    <a:pos x="T6" y="T7"/>
                  </a:cxn>
                  <a:cxn ang="0">
                    <a:pos x="T8" y="T9"/>
                  </a:cxn>
                </a:cxnLst>
                <a:rect l="0" t="0" r="r" b="b"/>
                <a:pathLst>
                  <a:path w="4" h="3">
                    <a:moveTo>
                      <a:pt x="4" y="0"/>
                    </a:moveTo>
                    <a:cubicBezTo>
                      <a:pt x="3" y="1"/>
                      <a:pt x="1" y="1"/>
                      <a:pt x="0" y="2"/>
                    </a:cubicBezTo>
                    <a:cubicBezTo>
                      <a:pt x="0" y="2"/>
                      <a:pt x="0" y="2"/>
                      <a:pt x="0" y="2"/>
                    </a:cubicBezTo>
                    <a:cubicBezTo>
                      <a:pt x="0" y="2"/>
                      <a:pt x="1" y="2"/>
                      <a:pt x="1" y="3"/>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 name="Freeform 39">
                <a:extLst>
                  <a:ext uri="{FF2B5EF4-FFF2-40B4-BE49-F238E27FC236}">
                    <a16:creationId xmlns:a16="http://schemas.microsoft.com/office/drawing/2014/main" id="{39AF7A09-857D-4EDF-A9B1-62C7A9000F18}"/>
                  </a:ext>
                </a:extLst>
              </p:cNvPr>
              <p:cNvSpPr>
                <a:spLocks/>
              </p:cNvSpPr>
              <p:nvPr/>
            </p:nvSpPr>
            <p:spPr bwMode="auto">
              <a:xfrm>
                <a:off x="2855" y="1658"/>
                <a:ext cx="2" cy="3"/>
              </a:xfrm>
              <a:custGeom>
                <a:avLst/>
                <a:gdLst>
                  <a:gd name="T0" fmla="*/ 1 w 1"/>
                  <a:gd name="T1" fmla="*/ 0 h 1"/>
                  <a:gd name="T2" fmla="*/ 0 w 1"/>
                  <a:gd name="T3" fmla="*/ 0 h 1"/>
                  <a:gd name="T4" fmla="*/ 1 w 1"/>
                  <a:gd name="T5" fmla="*/ 1 h 1"/>
                  <a:gd name="T6" fmla="*/ 1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1" y="0"/>
                      <a:pt x="1" y="1"/>
                      <a:pt x="1" y="1"/>
                    </a:cubicBezTo>
                    <a:cubicBezTo>
                      <a:pt x="1" y="1"/>
                      <a:pt x="1" y="1"/>
                      <a:pt x="1" y="1"/>
                    </a:cubicBezTo>
                    <a:cubicBezTo>
                      <a:pt x="1" y="1"/>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 name="Freeform 40">
                <a:extLst>
                  <a:ext uri="{FF2B5EF4-FFF2-40B4-BE49-F238E27FC236}">
                    <a16:creationId xmlns:a16="http://schemas.microsoft.com/office/drawing/2014/main" id="{9C169118-4096-484D-95A8-7F68D1C81F04}"/>
                  </a:ext>
                </a:extLst>
              </p:cNvPr>
              <p:cNvSpPr>
                <a:spLocks/>
              </p:cNvSpPr>
              <p:nvPr/>
            </p:nvSpPr>
            <p:spPr bwMode="auto">
              <a:xfrm>
                <a:off x="6516" y="1964"/>
                <a:ext cx="4" cy="0"/>
              </a:xfrm>
              <a:custGeom>
                <a:avLst/>
                <a:gdLst>
                  <a:gd name="T0" fmla="*/ 1 w 2"/>
                  <a:gd name="T1" fmla="*/ 0 w 2"/>
                  <a:gd name="T2" fmla="*/ 1 w 2"/>
                  <a:gd name="T3" fmla="*/ 1 w 2"/>
                  <a:gd name="T4" fmla="*/ 2 w 2"/>
                  <a:gd name="T5" fmla="*/ 2 w 2"/>
                  <a:gd name="T6" fmla="*/ 2 w 2"/>
                  <a:gd name="T7" fmla="*/ 2 w 2"/>
                  <a:gd name="T8"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1" y="0"/>
                    </a:moveTo>
                    <a:cubicBezTo>
                      <a:pt x="1" y="0"/>
                      <a:pt x="1" y="0"/>
                      <a:pt x="0" y="0"/>
                    </a:cubicBezTo>
                    <a:cubicBezTo>
                      <a:pt x="1" y="0"/>
                      <a:pt x="1" y="0"/>
                      <a:pt x="1" y="0"/>
                    </a:cubicBezTo>
                    <a:cubicBezTo>
                      <a:pt x="1" y="0"/>
                      <a:pt x="1" y="0"/>
                      <a:pt x="1" y="0"/>
                    </a:cubicBezTo>
                    <a:cubicBezTo>
                      <a:pt x="2" y="0"/>
                      <a:pt x="2" y="0"/>
                      <a:pt x="2" y="0"/>
                    </a:cubicBezTo>
                    <a:cubicBezTo>
                      <a:pt x="2" y="0"/>
                      <a:pt x="2" y="0"/>
                      <a:pt x="2" y="0"/>
                    </a:cubicBezTo>
                    <a:cubicBezTo>
                      <a:pt x="2" y="0"/>
                      <a:pt x="2" y="0"/>
                      <a:pt x="2" y="0"/>
                    </a:cubicBezTo>
                    <a:cubicBezTo>
                      <a:pt x="2" y="0"/>
                      <a:pt x="2"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 name="Freeform 41">
                <a:extLst>
                  <a:ext uri="{FF2B5EF4-FFF2-40B4-BE49-F238E27FC236}">
                    <a16:creationId xmlns:a16="http://schemas.microsoft.com/office/drawing/2014/main" id="{CA98EF19-A007-421C-ACB8-FA60E55AABC6}"/>
                  </a:ext>
                </a:extLst>
              </p:cNvPr>
              <p:cNvSpPr>
                <a:spLocks/>
              </p:cNvSpPr>
              <p:nvPr/>
            </p:nvSpPr>
            <p:spPr bwMode="auto">
              <a:xfrm>
                <a:off x="6490" y="1959"/>
                <a:ext cx="19" cy="2"/>
              </a:xfrm>
              <a:custGeom>
                <a:avLst/>
                <a:gdLst>
                  <a:gd name="T0" fmla="*/ 6 w 8"/>
                  <a:gd name="T1" fmla="*/ 0 h 1"/>
                  <a:gd name="T2" fmla="*/ 3 w 8"/>
                  <a:gd name="T3" fmla="*/ 1 h 1"/>
                  <a:gd name="T4" fmla="*/ 0 w 8"/>
                  <a:gd name="T5" fmla="*/ 1 h 1"/>
                  <a:gd name="T6" fmla="*/ 1 w 8"/>
                  <a:gd name="T7" fmla="*/ 1 h 1"/>
                  <a:gd name="T8" fmla="*/ 1 w 8"/>
                  <a:gd name="T9" fmla="*/ 1 h 1"/>
                  <a:gd name="T10" fmla="*/ 1 w 8"/>
                  <a:gd name="T11" fmla="*/ 1 h 1"/>
                  <a:gd name="T12" fmla="*/ 8 w 8"/>
                  <a:gd name="T13" fmla="*/ 1 h 1"/>
                  <a:gd name="T14" fmla="*/ 8 w 8"/>
                  <a:gd name="T15" fmla="*/ 1 h 1"/>
                  <a:gd name="T16" fmla="*/ 7 w 8"/>
                  <a:gd name="T17" fmla="*/ 0 h 1"/>
                  <a:gd name="T18" fmla="*/ 7 w 8"/>
                  <a:gd name="T19" fmla="*/ 0 h 1"/>
                  <a:gd name="T20" fmla="*/ 7 w 8"/>
                  <a:gd name="T21" fmla="*/ 0 h 1"/>
                  <a:gd name="T22" fmla="*/ 7 w 8"/>
                  <a:gd name="T23" fmla="*/ 0 h 1"/>
                  <a:gd name="T24" fmla="*/ 7 w 8"/>
                  <a:gd name="T25" fmla="*/ 0 h 1"/>
                  <a:gd name="T26" fmla="*/ 6 w 8"/>
                  <a:gd name="T27" fmla="*/ 0 h 1"/>
                  <a:gd name="T28" fmla="*/ 6 w 8"/>
                  <a:gd name="T29" fmla="*/ 0 h 1"/>
                  <a:gd name="T30" fmla="*/ 6 w 8"/>
                  <a:gd name="T3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
                    <a:moveTo>
                      <a:pt x="6" y="0"/>
                    </a:moveTo>
                    <a:cubicBezTo>
                      <a:pt x="5" y="0"/>
                      <a:pt x="4" y="1"/>
                      <a:pt x="3" y="1"/>
                    </a:cubicBezTo>
                    <a:cubicBezTo>
                      <a:pt x="2" y="1"/>
                      <a:pt x="1" y="1"/>
                      <a:pt x="0" y="1"/>
                    </a:cubicBezTo>
                    <a:cubicBezTo>
                      <a:pt x="1" y="1"/>
                      <a:pt x="1" y="1"/>
                      <a:pt x="1" y="1"/>
                    </a:cubicBezTo>
                    <a:cubicBezTo>
                      <a:pt x="1" y="1"/>
                      <a:pt x="1" y="1"/>
                      <a:pt x="1" y="1"/>
                    </a:cubicBezTo>
                    <a:cubicBezTo>
                      <a:pt x="1" y="1"/>
                      <a:pt x="1" y="1"/>
                      <a:pt x="1" y="1"/>
                    </a:cubicBezTo>
                    <a:cubicBezTo>
                      <a:pt x="3" y="1"/>
                      <a:pt x="6" y="1"/>
                      <a:pt x="8" y="1"/>
                    </a:cubicBezTo>
                    <a:cubicBezTo>
                      <a:pt x="8" y="1"/>
                      <a:pt x="8" y="1"/>
                      <a:pt x="8"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 name="Rectangle 42">
                <a:extLst>
                  <a:ext uri="{FF2B5EF4-FFF2-40B4-BE49-F238E27FC236}">
                    <a16:creationId xmlns:a16="http://schemas.microsoft.com/office/drawing/2014/main" id="{CE4F993F-CCB2-431C-8394-5AF66C3D6EA9}"/>
                  </a:ext>
                </a:extLst>
              </p:cNvPr>
              <p:cNvSpPr>
                <a:spLocks noChangeArrowheads="1"/>
              </p:cNvSpPr>
              <p:nvPr/>
            </p:nvSpPr>
            <p:spPr bwMode="auto">
              <a:xfrm>
                <a:off x="6523" y="196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 name="Freeform 43">
                <a:extLst>
                  <a:ext uri="{FF2B5EF4-FFF2-40B4-BE49-F238E27FC236}">
                    <a16:creationId xmlns:a16="http://schemas.microsoft.com/office/drawing/2014/main" id="{E01727C4-43C6-41E8-A25A-85C47B23792A}"/>
                  </a:ext>
                </a:extLst>
              </p:cNvPr>
              <p:cNvSpPr>
                <a:spLocks/>
              </p:cNvSpPr>
              <p:nvPr/>
            </p:nvSpPr>
            <p:spPr bwMode="auto">
              <a:xfrm>
                <a:off x="6523" y="196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 name="Freeform 44">
                <a:extLst>
                  <a:ext uri="{FF2B5EF4-FFF2-40B4-BE49-F238E27FC236}">
                    <a16:creationId xmlns:a16="http://schemas.microsoft.com/office/drawing/2014/main" id="{61801752-74CE-4837-A140-D35E860A429F}"/>
                  </a:ext>
                </a:extLst>
              </p:cNvPr>
              <p:cNvSpPr>
                <a:spLocks noEditPoints="1"/>
              </p:cNvSpPr>
              <p:nvPr/>
            </p:nvSpPr>
            <p:spPr bwMode="auto">
              <a:xfrm>
                <a:off x="5612" y="3118"/>
                <a:ext cx="3" cy="2"/>
              </a:xfrm>
              <a:custGeom>
                <a:avLst/>
                <a:gdLst>
                  <a:gd name="T0" fmla="*/ 1 w 1"/>
                  <a:gd name="T1" fmla="*/ 0 h 1"/>
                  <a:gd name="T2" fmla="*/ 0 w 1"/>
                  <a:gd name="T3" fmla="*/ 1 h 1"/>
                  <a:gd name="T4" fmla="*/ 1 w 1"/>
                  <a:gd name="T5" fmla="*/ 0 h 1"/>
                  <a:gd name="T6" fmla="*/ 1 w 1"/>
                  <a:gd name="T7" fmla="*/ 0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0" y="1"/>
                    </a:cubicBezTo>
                    <a:cubicBezTo>
                      <a:pt x="1" y="1"/>
                      <a:pt x="1" y="1"/>
                      <a:pt x="1" y="0"/>
                    </a:cubicBezTo>
                    <a:moveTo>
                      <a:pt x="1" y="0"/>
                    </a:move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 name="Rectangle 45">
                <a:extLst>
                  <a:ext uri="{FF2B5EF4-FFF2-40B4-BE49-F238E27FC236}">
                    <a16:creationId xmlns:a16="http://schemas.microsoft.com/office/drawing/2014/main" id="{4D8DCBCA-6206-413B-9BF1-9659A70933A0}"/>
                  </a:ext>
                </a:extLst>
              </p:cNvPr>
              <p:cNvSpPr>
                <a:spLocks noChangeArrowheads="1"/>
              </p:cNvSpPr>
              <p:nvPr/>
            </p:nvSpPr>
            <p:spPr bwMode="auto">
              <a:xfrm>
                <a:off x="1193" y="3745"/>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 name="Freeform 46">
                <a:extLst>
                  <a:ext uri="{FF2B5EF4-FFF2-40B4-BE49-F238E27FC236}">
                    <a16:creationId xmlns:a16="http://schemas.microsoft.com/office/drawing/2014/main" id="{6411CC0F-2B80-498B-B552-A045815C8CBB}"/>
                  </a:ext>
                </a:extLst>
              </p:cNvPr>
              <p:cNvSpPr>
                <a:spLocks/>
              </p:cNvSpPr>
              <p:nvPr/>
            </p:nvSpPr>
            <p:spPr bwMode="auto">
              <a:xfrm>
                <a:off x="1193" y="3745"/>
                <a:ext cx="0" cy="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 name="Freeform 47">
                <a:extLst>
                  <a:ext uri="{FF2B5EF4-FFF2-40B4-BE49-F238E27FC236}">
                    <a16:creationId xmlns:a16="http://schemas.microsoft.com/office/drawing/2014/main" id="{76F22F4A-B28D-4615-8D90-F789F665E598}"/>
                  </a:ext>
                </a:extLst>
              </p:cNvPr>
              <p:cNvSpPr>
                <a:spLocks/>
              </p:cNvSpPr>
              <p:nvPr/>
            </p:nvSpPr>
            <p:spPr bwMode="auto">
              <a:xfrm>
                <a:off x="1405" y="3835"/>
                <a:ext cx="10" cy="2"/>
              </a:xfrm>
              <a:custGeom>
                <a:avLst/>
                <a:gdLst>
                  <a:gd name="T0" fmla="*/ 3 w 4"/>
                  <a:gd name="T1" fmla="*/ 0 h 1"/>
                  <a:gd name="T2" fmla="*/ 0 w 4"/>
                  <a:gd name="T3" fmla="*/ 1 h 1"/>
                  <a:gd name="T4" fmla="*/ 2 w 4"/>
                  <a:gd name="T5" fmla="*/ 1 h 1"/>
                  <a:gd name="T6" fmla="*/ 4 w 4"/>
                  <a:gd name="T7" fmla="*/ 0 h 1"/>
                  <a:gd name="T8" fmla="*/ 3 w 4"/>
                  <a:gd name="T9" fmla="*/ 0 h 1"/>
                </a:gdLst>
                <a:ahLst/>
                <a:cxnLst>
                  <a:cxn ang="0">
                    <a:pos x="T0" y="T1"/>
                  </a:cxn>
                  <a:cxn ang="0">
                    <a:pos x="T2" y="T3"/>
                  </a:cxn>
                  <a:cxn ang="0">
                    <a:pos x="T4" y="T5"/>
                  </a:cxn>
                  <a:cxn ang="0">
                    <a:pos x="T6" y="T7"/>
                  </a:cxn>
                  <a:cxn ang="0">
                    <a:pos x="T8" y="T9"/>
                  </a:cxn>
                </a:cxnLst>
                <a:rect l="0" t="0" r="r" b="b"/>
                <a:pathLst>
                  <a:path w="4" h="1">
                    <a:moveTo>
                      <a:pt x="3" y="0"/>
                    </a:moveTo>
                    <a:cubicBezTo>
                      <a:pt x="2" y="0"/>
                      <a:pt x="1" y="0"/>
                      <a:pt x="0" y="1"/>
                    </a:cubicBezTo>
                    <a:cubicBezTo>
                      <a:pt x="1" y="1"/>
                      <a:pt x="2" y="1"/>
                      <a:pt x="2" y="1"/>
                    </a:cubicBezTo>
                    <a:cubicBezTo>
                      <a:pt x="3" y="1"/>
                      <a:pt x="4"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 name="Freeform 48">
                <a:extLst>
                  <a:ext uri="{FF2B5EF4-FFF2-40B4-BE49-F238E27FC236}">
                    <a16:creationId xmlns:a16="http://schemas.microsoft.com/office/drawing/2014/main" id="{188E5D54-B905-4AD3-997C-8E62CC61ED6C}"/>
                  </a:ext>
                </a:extLst>
              </p:cNvPr>
              <p:cNvSpPr>
                <a:spLocks/>
              </p:cNvSpPr>
              <p:nvPr/>
            </p:nvSpPr>
            <p:spPr bwMode="auto">
              <a:xfrm>
                <a:off x="1387" y="3814"/>
                <a:ext cx="14" cy="11"/>
              </a:xfrm>
              <a:custGeom>
                <a:avLst/>
                <a:gdLst>
                  <a:gd name="T0" fmla="*/ 4 w 6"/>
                  <a:gd name="T1" fmla="*/ 0 h 5"/>
                  <a:gd name="T2" fmla="*/ 3 w 6"/>
                  <a:gd name="T3" fmla="*/ 1 h 5"/>
                  <a:gd name="T4" fmla="*/ 3 w 6"/>
                  <a:gd name="T5" fmla="*/ 1 h 5"/>
                  <a:gd name="T6" fmla="*/ 0 w 6"/>
                  <a:gd name="T7" fmla="*/ 2 h 5"/>
                  <a:gd name="T8" fmla="*/ 1 w 6"/>
                  <a:gd name="T9" fmla="*/ 4 h 5"/>
                  <a:gd name="T10" fmla="*/ 2 w 6"/>
                  <a:gd name="T11" fmla="*/ 5 h 5"/>
                  <a:gd name="T12" fmla="*/ 3 w 6"/>
                  <a:gd name="T13" fmla="*/ 5 h 5"/>
                  <a:gd name="T14" fmla="*/ 3 w 6"/>
                  <a:gd name="T15" fmla="*/ 5 h 5"/>
                  <a:gd name="T16" fmla="*/ 5 w 6"/>
                  <a:gd name="T17" fmla="*/ 2 h 5"/>
                  <a:gd name="T18" fmla="*/ 4 w 6"/>
                  <a:gd name="T19" fmla="*/ 1 h 5"/>
                  <a:gd name="T20" fmla="*/ 4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4" y="0"/>
                    </a:moveTo>
                    <a:cubicBezTo>
                      <a:pt x="3" y="1"/>
                      <a:pt x="3" y="1"/>
                      <a:pt x="3" y="1"/>
                    </a:cubicBezTo>
                    <a:cubicBezTo>
                      <a:pt x="3" y="1"/>
                      <a:pt x="3" y="1"/>
                      <a:pt x="3" y="1"/>
                    </a:cubicBezTo>
                    <a:cubicBezTo>
                      <a:pt x="2" y="1"/>
                      <a:pt x="1" y="1"/>
                      <a:pt x="0" y="2"/>
                    </a:cubicBezTo>
                    <a:cubicBezTo>
                      <a:pt x="0" y="2"/>
                      <a:pt x="1" y="3"/>
                      <a:pt x="1" y="4"/>
                    </a:cubicBezTo>
                    <a:cubicBezTo>
                      <a:pt x="1" y="4"/>
                      <a:pt x="2" y="5"/>
                      <a:pt x="2" y="5"/>
                    </a:cubicBezTo>
                    <a:cubicBezTo>
                      <a:pt x="2" y="5"/>
                      <a:pt x="2" y="5"/>
                      <a:pt x="3" y="5"/>
                    </a:cubicBezTo>
                    <a:cubicBezTo>
                      <a:pt x="3" y="5"/>
                      <a:pt x="3" y="5"/>
                      <a:pt x="3" y="5"/>
                    </a:cubicBezTo>
                    <a:cubicBezTo>
                      <a:pt x="5" y="4"/>
                      <a:pt x="6" y="4"/>
                      <a:pt x="5" y="2"/>
                    </a:cubicBezTo>
                    <a:cubicBezTo>
                      <a:pt x="5" y="2"/>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 name="Freeform 49">
                <a:extLst>
                  <a:ext uri="{FF2B5EF4-FFF2-40B4-BE49-F238E27FC236}">
                    <a16:creationId xmlns:a16="http://schemas.microsoft.com/office/drawing/2014/main" id="{5435185B-D0E9-4126-8E24-FB5D702AD2C4}"/>
                  </a:ext>
                </a:extLst>
              </p:cNvPr>
              <p:cNvSpPr>
                <a:spLocks/>
              </p:cNvSpPr>
              <p:nvPr/>
            </p:nvSpPr>
            <p:spPr bwMode="auto">
              <a:xfrm>
                <a:off x="1212" y="3755"/>
                <a:ext cx="7" cy="11"/>
              </a:xfrm>
              <a:custGeom>
                <a:avLst/>
                <a:gdLst>
                  <a:gd name="T0" fmla="*/ 3 w 3"/>
                  <a:gd name="T1" fmla="*/ 0 h 5"/>
                  <a:gd name="T2" fmla="*/ 2 w 3"/>
                  <a:gd name="T3" fmla="*/ 1 h 5"/>
                  <a:gd name="T4" fmla="*/ 0 w 3"/>
                  <a:gd name="T5" fmla="*/ 5 h 5"/>
                  <a:gd name="T6" fmla="*/ 2 w 3"/>
                  <a:gd name="T7" fmla="*/ 1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2" y="1"/>
                      <a:pt x="2" y="1"/>
                      <a:pt x="2" y="1"/>
                    </a:cubicBezTo>
                    <a:cubicBezTo>
                      <a:pt x="1" y="2"/>
                      <a:pt x="1" y="3"/>
                      <a:pt x="0" y="5"/>
                    </a:cubicBezTo>
                    <a:cubicBezTo>
                      <a:pt x="1" y="4"/>
                      <a:pt x="2" y="3"/>
                      <a:pt x="2"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 name="Freeform 50">
                <a:extLst>
                  <a:ext uri="{FF2B5EF4-FFF2-40B4-BE49-F238E27FC236}">
                    <a16:creationId xmlns:a16="http://schemas.microsoft.com/office/drawing/2014/main" id="{C2E75C59-CC2C-408E-B34B-44BCD5C09FE3}"/>
                  </a:ext>
                </a:extLst>
              </p:cNvPr>
              <p:cNvSpPr>
                <a:spLocks/>
              </p:cNvSpPr>
              <p:nvPr/>
            </p:nvSpPr>
            <p:spPr bwMode="auto">
              <a:xfrm>
                <a:off x="1318" y="3771"/>
                <a:ext cx="35" cy="26"/>
              </a:xfrm>
              <a:custGeom>
                <a:avLst/>
                <a:gdLst>
                  <a:gd name="T0" fmla="*/ 7 w 15"/>
                  <a:gd name="T1" fmla="*/ 0 h 11"/>
                  <a:gd name="T2" fmla="*/ 6 w 15"/>
                  <a:gd name="T3" fmla="*/ 0 h 11"/>
                  <a:gd name="T4" fmla="*/ 4 w 15"/>
                  <a:gd name="T5" fmla="*/ 2 h 11"/>
                  <a:gd name="T6" fmla="*/ 0 w 15"/>
                  <a:gd name="T7" fmla="*/ 3 h 11"/>
                  <a:gd name="T8" fmla="*/ 4 w 15"/>
                  <a:gd name="T9" fmla="*/ 9 h 11"/>
                  <a:gd name="T10" fmla="*/ 5 w 15"/>
                  <a:gd name="T11" fmla="*/ 9 h 11"/>
                  <a:gd name="T12" fmla="*/ 6 w 15"/>
                  <a:gd name="T13" fmla="*/ 8 h 11"/>
                  <a:gd name="T14" fmla="*/ 8 w 15"/>
                  <a:gd name="T15" fmla="*/ 7 h 11"/>
                  <a:gd name="T16" fmla="*/ 8 w 15"/>
                  <a:gd name="T17" fmla="*/ 7 h 11"/>
                  <a:gd name="T18" fmla="*/ 11 w 15"/>
                  <a:gd name="T19" fmla="*/ 11 h 11"/>
                  <a:gd name="T20" fmla="*/ 15 w 15"/>
                  <a:gd name="T21" fmla="*/ 9 h 11"/>
                  <a:gd name="T22" fmla="*/ 7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7" y="0"/>
                    </a:moveTo>
                    <a:cubicBezTo>
                      <a:pt x="7" y="0"/>
                      <a:pt x="6" y="0"/>
                      <a:pt x="6" y="0"/>
                    </a:cubicBezTo>
                    <a:cubicBezTo>
                      <a:pt x="5" y="0"/>
                      <a:pt x="5" y="2"/>
                      <a:pt x="4" y="2"/>
                    </a:cubicBezTo>
                    <a:cubicBezTo>
                      <a:pt x="3" y="3"/>
                      <a:pt x="2" y="3"/>
                      <a:pt x="0" y="3"/>
                    </a:cubicBezTo>
                    <a:cubicBezTo>
                      <a:pt x="2" y="4"/>
                      <a:pt x="2" y="7"/>
                      <a:pt x="4" y="9"/>
                    </a:cubicBezTo>
                    <a:cubicBezTo>
                      <a:pt x="4" y="9"/>
                      <a:pt x="5" y="9"/>
                      <a:pt x="5" y="9"/>
                    </a:cubicBezTo>
                    <a:cubicBezTo>
                      <a:pt x="5" y="9"/>
                      <a:pt x="6" y="9"/>
                      <a:pt x="6" y="8"/>
                    </a:cubicBezTo>
                    <a:cubicBezTo>
                      <a:pt x="6" y="8"/>
                      <a:pt x="7" y="7"/>
                      <a:pt x="8" y="7"/>
                    </a:cubicBezTo>
                    <a:cubicBezTo>
                      <a:pt x="8" y="7"/>
                      <a:pt x="8" y="7"/>
                      <a:pt x="8" y="7"/>
                    </a:cubicBezTo>
                    <a:cubicBezTo>
                      <a:pt x="7" y="8"/>
                      <a:pt x="10" y="10"/>
                      <a:pt x="11" y="11"/>
                    </a:cubicBezTo>
                    <a:cubicBezTo>
                      <a:pt x="13" y="10"/>
                      <a:pt x="14" y="10"/>
                      <a:pt x="15" y="9"/>
                    </a:cubicBezTo>
                    <a:cubicBezTo>
                      <a:pt x="13" y="7"/>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 name="Freeform 51">
                <a:extLst>
                  <a:ext uri="{FF2B5EF4-FFF2-40B4-BE49-F238E27FC236}">
                    <a16:creationId xmlns:a16="http://schemas.microsoft.com/office/drawing/2014/main" id="{07DD88DA-6691-4545-8BA8-1A3410C950FC}"/>
                  </a:ext>
                </a:extLst>
              </p:cNvPr>
              <p:cNvSpPr>
                <a:spLocks/>
              </p:cNvSpPr>
              <p:nvPr/>
            </p:nvSpPr>
            <p:spPr bwMode="auto">
              <a:xfrm>
                <a:off x="1439" y="3854"/>
                <a:ext cx="71" cy="76"/>
              </a:xfrm>
              <a:custGeom>
                <a:avLst/>
                <a:gdLst>
                  <a:gd name="T0" fmla="*/ 6 w 30"/>
                  <a:gd name="T1" fmla="*/ 0 h 32"/>
                  <a:gd name="T2" fmla="*/ 5 w 30"/>
                  <a:gd name="T3" fmla="*/ 4 h 32"/>
                  <a:gd name="T4" fmla="*/ 5 w 30"/>
                  <a:gd name="T5" fmla="*/ 7 h 32"/>
                  <a:gd name="T6" fmla="*/ 2 w 30"/>
                  <a:gd name="T7" fmla="*/ 11 h 32"/>
                  <a:gd name="T8" fmla="*/ 3 w 30"/>
                  <a:gd name="T9" fmla="*/ 17 h 32"/>
                  <a:gd name="T10" fmla="*/ 4 w 30"/>
                  <a:gd name="T11" fmla="*/ 24 h 32"/>
                  <a:gd name="T12" fmla="*/ 10 w 30"/>
                  <a:gd name="T13" fmla="*/ 32 h 32"/>
                  <a:gd name="T14" fmla="*/ 30 w 30"/>
                  <a:gd name="T15" fmla="*/ 18 h 32"/>
                  <a:gd name="T16" fmla="*/ 26 w 30"/>
                  <a:gd name="T17" fmla="*/ 14 h 32"/>
                  <a:gd name="T18" fmla="*/ 24 w 30"/>
                  <a:gd name="T19" fmla="*/ 12 h 32"/>
                  <a:gd name="T20" fmla="*/ 21 w 30"/>
                  <a:gd name="T21" fmla="*/ 7 h 32"/>
                  <a:gd name="T22" fmla="*/ 17 w 30"/>
                  <a:gd name="T23" fmla="*/ 5 h 32"/>
                  <a:gd name="T24" fmla="*/ 10 w 30"/>
                  <a:gd name="T25" fmla="*/ 2 h 32"/>
                  <a:gd name="T26" fmla="*/ 6 w 30"/>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2">
                    <a:moveTo>
                      <a:pt x="6" y="0"/>
                    </a:moveTo>
                    <a:cubicBezTo>
                      <a:pt x="5" y="0"/>
                      <a:pt x="4" y="1"/>
                      <a:pt x="5" y="4"/>
                    </a:cubicBezTo>
                    <a:cubicBezTo>
                      <a:pt x="6" y="6"/>
                      <a:pt x="6" y="5"/>
                      <a:pt x="5" y="7"/>
                    </a:cubicBezTo>
                    <a:cubicBezTo>
                      <a:pt x="4" y="9"/>
                      <a:pt x="3" y="9"/>
                      <a:pt x="2" y="11"/>
                    </a:cubicBezTo>
                    <a:cubicBezTo>
                      <a:pt x="0" y="13"/>
                      <a:pt x="2" y="14"/>
                      <a:pt x="3" y="17"/>
                    </a:cubicBezTo>
                    <a:cubicBezTo>
                      <a:pt x="4" y="19"/>
                      <a:pt x="5" y="21"/>
                      <a:pt x="4" y="24"/>
                    </a:cubicBezTo>
                    <a:cubicBezTo>
                      <a:pt x="4" y="29"/>
                      <a:pt x="6" y="30"/>
                      <a:pt x="10" y="32"/>
                    </a:cubicBezTo>
                    <a:cubicBezTo>
                      <a:pt x="17" y="27"/>
                      <a:pt x="23" y="22"/>
                      <a:pt x="30" y="18"/>
                    </a:cubicBezTo>
                    <a:cubicBezTo>
                      <a:pt x="28" y="17"/>
                      <a:pt x="27" y="16"/>
                      <a:pt x="26" y="14"/>
                    </a:cubicBezTo>
                    <a:cubicBezTo>
                      <a:pt x="25" y="12"/>
                      <a:pt x="25" y="13"/>
                      <a:pt x="24" y="12"/>
                    </a:cubicBezTo>
                    <a:cubicBezTo>
                      <a:pt x="22" y="10"/>
                      <a:pt x="23" y="8"/>
                      <a:pt x="21" y="7"/>
                    </a:cubicBezTo>
                    <a:cubicBezTo>
                      <a:pt x="19" y="6"/>
                      <a:pt x="18" y="5"/>
                      <a:pt x="17" y="5"/>
                    </a:cubicBezTo>
                    <a:cubicBezTo>
                      <a:pt x="14" y="3"/>
                      <a:pt x="12" y="3"/>
                      <a:pt x="10"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 name="Freeform 52">
                <a:extLst>
                  <a:ext uri="{FF2B5EF4-FFF2-40B4-BE49-F238E27FC236}">
                    <a16:creationId xmlns:a16="http://schemas.microsoft.com/office/drawing/2014/main" id="{4CCAEA08-1C1B-4C4C-840E-96C8EB16DBF1}"/>
                  </a:ext>
                </a:extLst>
              </p:cNvPr>
              <p:cNvSpPr>
                <a:spLocks/>
              </p:cNvSpPr>
              <p:nvPr/>
            </p:nvSpPr>
            <p:spPr bwMode="auto">
              <a:xfrm>
                <a:off x="1403" y="3809"/>
                <a:ext cx="43" cy="26"/>
              </a:xfrm>
              <a:custGeom>
                <a:avLst/>
                <a:gdLst>
                  <a:gd name="T0" fmla="*/ 5 w 18"/>
                  <a:gd name="T1" fmla="*/ 0 h 11"/>
                  <a:gd name="T2" fmla="*/ 5 w 18"/>
                  <a:gd name="T3" fmla="*/ 1 h 11"/>
                  <a:gd name="T4" fmla="*/ 5 w 18"/>
                  <a:gd name="T5" fmla="*/ 2 h 11"/>
                  <a:gd name="T6" fmla="*/ 3 w 18"/>
                  <a:gd name="T7" fmla="*/ 1 h 11"/>
                  <a:gd name="T8" fmla="*/ 2 w 18"/>
                  <a:gd name="T9" fmla="*/ 1 h 11"/>
                  <a:gd name="T10" fmla="*/ 3 w 18"/>
                  <a:gd name="T11" fmla="*/ 5 h 11"/>
                  <a:gd name="T12" fmla="*/ 4 w 18"/>
                  <a:gd name="T13" fmla="*/ 6 h 11"/>
                  <a:gd name="T14" fmla="*/ 7 w 18"/>
                  <a:gd name="T15" fmla="*/ 7 h 11"/>
                  <a:gd name="T16" fmla="*/ 7 w 18"/>
                  <a:gd name="T17" fmla="*/ 8 h 11"/>
                  <a:gd name="T18" fmla="*/ 10 w 18"/>
                  <a:gd name="T19" fmla="*/ 11 h 11"/>
                  <a:gd name="T20" fmla="*/ 12 w 18"/>
                  <a:gd name="T21" fmla="*/ 10 h 11"/>
                  <a:gd name="T22" fmla="*/ 14 w 18"/>
                  <a:gd name="T23" fmla="*/ 10 h 11"/>
                  <a:gd name="T24" fmla="*/ 17 w 18"/>
                  <a:gd name="T25" fmla="*/ 9 h 11"/>
                  <a:gd name="T26" fmla="*/ 18 w 18"/>
                  <a:gd name="T27" fmla="*/ 7 h 11"/>
                  <a:gd name="T28" fmla="*/ 16 w 18"/>
                  <a:gd name="T29" fmla="*/ 5 h 11"/>
                  <a:gd name="T30" fmla="*/ 12 w 18"/>
                  <a:gd name="T31" fmla="*/ 2 h 11"/>
                  <a:gd name="T32" fmla="*/ 10 w 18"/>
                  <a:gd name="T33" fmla="*/ 2 h 11"/>
                  <a:gd name="T34" fmla="*/ 10 w 18"/>
                  <a:gd name="T35" fmla="*/ 2 h 11"/>
                  <a:gd name="T36" fmla="*/ 10 w 18"/>
                  <a:gd name="T37" fmla="*/ 2 h 11"/>
                  <a:gd name="T38" fmla="*/ 9 w 18"/>
                  <a:gd name="T39" fmla="*/ 2 h 11"/>
                  <a:gd name="T40" fmla="*/ 5 w 18"/>
                  <a:gd name="T41" fmla="*/ 1 h 11"/>
                  <a:gd name="T42" fmla="*/ 5 w 18"/>
                  <a:gd name="T4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1">
                    <a:moveTo>
                      <a:pt x="5" y="0"/>
                    </a:moveTo>
                    <a:cubicBezTo>
                      <a:pt x="5" y="1"/>
                      <a:pt x="5" y="1"/>
                      <a:pt x="5" y="1"/>
                    </a:cubicBezTo>
                    <a:cubicBezTo>
                      <a:pt x="5" y="2"/>
                      <a:pt x="5" y="2"/>
                      <a:pt x="5" y="2"/>
                    </a:cubicBezTo>
                    <a:cubicBezTo>
                      <a:pt x="4" y="1"/>
                      <a:pt x="3" y="1"/>
                      <a:pt x="3" y="1"/>
                    </a:cubicBezTo>
                    <a:cubicBezTo>
                      <a:pt x="2" y="1"/>
                      <a:pt x="2" y="1"/>
                      <a:pt x="2" y="1"/>
                    </a:cubicBezTo>
                    <a:cubicBezTo>
                      <a:pt x="0" y="3"/>
                      <a:pt x="1" y="4"/>
                      <a:pt x="3" y="5"/>
                    </a:cubicBezTo>
                    <a:cubicBezTo>
                      <a:pt x="3" y="5"/>
                      <a:pt x="4" y="6"/>
                      <a:pt x="4" y="6"/>
                    </a:cubicBezTo>
                    <a:cubicBezTo>
                      <a:pt x="5" y="7"/>
                      <a:pt x="6" y="7"/>
                      <a:pt x="7" y="7"/>
                    </a:cubicBezTo>
                    <a:cubicBezTo>
                      <a:pt x="7" y="8"/>
                      <a:pt x="7" y="8"/>
                      <a:pt x="7" y="8"/>
                    </a:cubicBezTo>
                    <a:cubicBezTo>
                      <a:pt x="8" y="10"/>
                      <a:pt x="9" y="11"/>
                      <a:pt x="10" y="11"/>
                    </a:cubicBezTo>
                    <a:cubicBezTo>
                      <a:pt x="10" y="11"/>
                      <a:pt x="11" y="10"/>
                      <a:pt x="12" y="10"/>
                    </a:cubicBezTo>
                    <a:cubicBezTo>
                      <a:pt x="13" y="10"/>
                      <a:pt x="14" y="10"/>
                      <a:pt x="14" y="10"/>
                    </a:cubicBezTo>
                    <a:cubicBezTo>
                      <a:pt x="15" y="9"/>
                      <a:pt x="16" y="9"/>
                      <a:pt x="17" y="9"/>
                    </a:cubicBezTo>
                    <a:cubicBezTo>
                      <a:pt x="17" y="8"/>
                      <a:pt x="18" y="8"/>
                      <a:pt x="18" y="7"/>
                    </a:cubicBezTo>
                    <a:cubicBezTo>
                      <a:pt x="18" y="7"/>
                      <a:pt x="17" y="6"/>
                      <a:pt x="16" y="5"/>
                    </a:cubicBezTo>
                    <a:cubicBezTo>
                      <a:pt x="15" y="4"/>
                      <a:pt x="12" y="3"/>
                      <a:pt x="12" y="2"/>
                    </a:cubicBezTo>
                    <a:cubicBezTo>
                      <a:pt x="11" y="2"/>
                      <a:pt x="11" y="2"/>
                      <a:pt x="10" y="2"/>
                    </a:cubicBezTo>
                    <a:cubicBezTo>
                      <a:pt x="10" y="2"/>
                      <a:pt x="10" y="2"/>
                      <a:pt x="10" y="2"/>
                    </a:cubicBezTo>
                    <a:cubicBezTo>
                      <a:pt x="10" y="2"/>
                      <a:pt x="10" y="2"/>
                      <a:pt x="10" y="2"/>
                    </a:cubicBezTo>
                    <a:cubicBezTo>
                      <a:pt x="10" y="2"/>
                      <a:pt x="9" y="2"/>
                      <a:pt x="9" y="2"/>
                    </a:cubicBezTo>
                    <a:cubicBezTo>
                      <a:pt x="8" y="1"/>
                      <a:pt x="7"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 name="Freeform 53">
                <a:extLst>
                  <a:ext uri="{FF2B5EF4-FFF2-40B4-BE49-F238E27FC236}">
                    <a16:creationId xmlns:a16="http://schemas.microsoft.com/office/drawing/2014/main" id="{AECA504D-B183-45C9-B6F9-D189384E0679}"/>
                  </a:ext>
                </a:extLst>
              </p:cNvPr>
              <p:cNvSpPr>
                <a:spLocks/>
              </p:cNvSpPr>
              <p:nvPr/>
            </p:nvSpPr>
            <p:spPr bwMode="auto">
              <a:xfrm>
                <a:off x="1372" y="3797"/>
                <a:ext cx="33" cy="10"/>
              </a:xfrm>
              <a:custGeom>
                <a:avLst/>
                <a:gdLst>
                  <a:gd name="T0" fmla="*/ 2 w 14"/>
                  <a:gd name="T1" fmla="*/ 0 h 4"/>
                  <a:gd name="T2" fmla="*/ 0 w 14"/>
                  <a:gd name="T3" fmla="*/ 3 h 4"/>
                  <a:gd name="T4" fmla="*/ 1 w 14"/>
                  <a:gd name="T5" fmla="*/ 4 h 4"/>
                  <a:gd name="T6" fmla="*/ 3 w 14"/>
                  <a:gd name="T7" fmla="*/ 3 h 4"/>
                  <a:gd name="T8" fmla="*/ 4 w 14"/>
                  <a:gd name="T9" fmla="*/ 3 h 4"/>
                  <a:gd name="T10" fmla="*/ 7 w 14"/>
                  <a:gd name="T11" fmla="*/ 4 h 4"/>
                  <a:gd name="T12" fmla="*/ 14 w 14"/>
                  <a:gd name="T13" fmla="*/ 2 h 4"/>
                  <a:gd name="T14" fmla="*/ 9 w 14"/>
                  <a:gd name="T15" fmla="*/ 1 h 4"/>
                  <a:gd name="T16" fmla="*/ 2 w 14"/>
                  <a:gd name="T17" fmla="*/ 0 h 4"/>
                  <a:gd name="T18" fmla="*/ 2 w 1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2" y="0"/>
                    </a:moveTo>
                    <a:cubicBezTo>
                      <a:pt x="0" y="0"/>
                      <a:pt x="1" y="2"/>
                      <a:pt x="0" y="3"/>
                    </a:cubicBezTo>
                    <a:cubicBezTo>
                      <a:pt x="0" y="4"/>
                      <a:pt x="1" y="4"/>
                      <a:pt x="1" y="4"/>
                    </a:cubicBezTo>
                    <a:cubicBezTo>
                      <a:pt x="2" y="4"/>
                      <a:pt x="2" y="4"/>
                      <a:pt x="3" y="3"/>
                    </a:cubicBezTo>
                    <a:cubicBezTo>
                      <a:pt x="3" y="3"/>
                      <a:pt x="4" y="3"/>
                      <a:pt x="4" y="3"/>
                    </a:cubicBezTo>
                    <a:cubicBezTo>
                      <a:pt x="5" y="3"/>
                      <a:pt x="6" y="4"/>
                      <a:pt x="7" y="4"/>
                    </a:cubicBezTo>
                    <a:cubicBezTo>
                      <a:pt x="9" y="3"/>
                      <a:pt x="12" y="3"/>
                      <a:pt x="14" y="2"/>
                    </a:cubicBezTo>
                    <a:cubicBezTo>
                      <a:pt x="13" y="1"/>
                      <a:pt x="11" y="2"/>
                      <a:pt x="9" y="1"/>
                    </a:cubicBezTo>
                    <a:cubicBezTo>
                      <a:pt x="7" y="1"/>
                      <a:pt x="5"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 name="Freeform 54">
                <a:extLst>
                  <a:ext uri="{FF2B5EF4-FFF2-40B4-BE49-F238E27FC236}">
                    <a16:creationId xmlns:a16="http://schemas.microsoft.com/office/drawing/2014/main" id="{2A9CA4D7-A2E2-4251-818D-0A7210C3E0FF}"/>
                  </a:ext>
                </a:extLst>
              </p:cNvPr>
              <p:cNvSpPr>
                <a:spLocks/>
              </p:cNvSpPr>
              <p:nvPr/>
            </p:nvSpPr>
            <p:spPr bwMode="auto">
              <a:xfrm>
                <a:off x="1233" y="3740"/>
                <a:ext cx="28" cy="19"/>
              </a:xfrm>
              <a:custGeom>
                <a:avLst/>
                <a:gdLst>
                  <a:gd name="T0" fmla="*/ 9 w 12"/>
                  <a:gd name="T1" fmla="*/ 0 h 8"/>
                  <a:gd name="T2" fmla="*/ 8 w 12"/>
                  <a:gd name="T3" fmla="*/ 0 h 8"/>
                  <a:gd name="T4" fmla="*/ 5 w 12"/>
                  <a:gd name="T5" fmla="*/ 1 h 8"/>
                  <a:gd name="T6" fmla="*/ 3 w 12"/>
                  <a:gd name="T7" fmla="*/ 3 h 8"/>
                  <a:gd name="T8" fmla="*/ 4 w 12"/>
                  <a:gd name="T9" fmla="*/ 7 h 8"/>
                  <a:gd name="T10" fmla="*/ 4 w 12"/>
                  <a:gd name="T11" fmla="*/ 7 h 8"/>
                  <a:gd name="T12" fmla="*/ 5 w 12"/>
                  <a:gd name="T13" fmla="*/ 7 h 8"/>
                  <a:gd name="T14" fmla="*/ 9 w 12"/>
                  <a:gd name="T15" fmla="*/ 8 h 8"/>
                  <a:gd name="T16" fmla="*/ 12 w 12"/>
                  <a:gd name="T17" fmla="*/ 4 h 8"/>
                  <a:gd name="T18" fmla="*/ 9 w 12"/>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9" y="0"/>
                    </a:moveTo>
                    <a:cubicBezTo>
                      <a:pt x="9" y="0"/>
                      <a:pt x="9" y="0"/>
                      <a:pt x="8" y="0"/>
                    </a:cubicBezTo>
                    <a:cubicBezTo>
                      <a:pt x="7" y="0"/>
                      <a:pt x="6" y="1"/>
                      <a:pt x="5" y="1"/>
                    </a:cubicBezTo>
                    <a:cubicBezTo>
                      <a:pt x="4" y="2"/>
                      <a:pt x="3" y="2"/>
                      <a:pt x="3" y="3"/>
                    </a:cubicBezTo>
                    <a:cubicBezTo>
                      <a:pt x="1" y="4"/>
                      <a:pt x="0" y="6"/>
                      <a:pt x="4" y="7"/>
                    </a:cubicBezTo>
                    <a:cubicBezTo>
                      <a:pt x="4" y="7"/>
                      <a:pt x="4" y="7"/>
                      <a:pt x="4" y="7"/>
                    </a:cubicBezTo>
                    <a:cubicBezTo>
                      <a:pt x="5" y="7"/>
                      <a:pt x="5" y="7"/>
                      <a:pt x="5" y="7"/>
                    </a:cubicBezTo>
                    <a:cubicBezTo>
                      <a:pt x="7" y="7"/>
                      <a:pt x="8" y="8"/>
                      <a:pt x="9" y="8"/>
                    </a:cubicBezTo>
                    <a:cubicBezTo>
                      <a:pt x="11" y="8"/>
                      <a:pt x="12" y="7"/>
                      <a:pt x="12" y="4"/>
                    </a:cubicBezTo>
                    <a:cubicBezTo>
                      <a:pt x="12" y="0"/>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 name="Freeform 55">
                <a:extLst>
                  <a:ext uri="{FF2B5EF4-FFF2-40B4-BE49-F238E27FC236}">
                    <a16:creationId xmlns:a16="http://schemas.microsoft.com/office/drawing/2014/main" id="{4E9C0074-ADE8-4E35-9B46-E642CA535E33}"/>
                  </a:ext>
                </a:extLst>
              </p:cNvPr>
              <p:cNvSpPr>
                <a:spLocks/>
              </p:cNvSpPr>
              <p:nvPr/>
            </p:nvSpPr>
            <p:spPr bwMode="auto">
              <a:xfrm>
                <a:off x="6050" y="3759"/>
                <a:ext cx="9" cy="5"/>
              </a:xfrm>
              <a:custGeom>
                <a:avLst/>
                <a:gdLst>
                  <a:gd name="T0" fmla="*/ 0 w 4"/>
                  <a:gd name="T1" fmla="*/ 0 h 2"/>
                  <a:gd name="T2" fmla="*/ 4 w 4"/>
                  <a:gd name="T3" fmla="*/ 2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3" y="2"/>
                      <a:pt x="4" y="2"/>
                    </a:cubicBezTo>
                    <a:cubicBezTo>
                      <a:pt x="4" y="2"/>
                      <a:pt x="4"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 name="Freeform 56">
                <a:extLst>
                  <a:ext uri="{FF2B5EF4-FFF2-40B4-BE49-F238E27FC236}">
                    <a16:creationId xmlns:a16="http://schemas.microsoft.com/office/drawing/2014/main" id="{C73BED45-F99E-42BB-AC97-15EBCC326A18}"/>
                  </a:ext>
                </a:extLst>
              </p:cNvPr>
              <p:cNvSpPr>
                <a:spLocks/>
              </p:cNvSpPr>
              <p:nvPr/>
            </p:nvSpPr>
            <p:spPr bwMode="auto">
              <a:xfrm>
                <a:off x="6062" y="3764"/>
                <a:ext cx="9" cy="2"/>
              </a:xfrm>
              <a:custGeom>
                <a:avLst/>
                <a:gdLst>
                  <a:gd name="T0" fmla="*/ 3 w 4"/>
                  <a:gd name="T1" fmla="*/ 0 h 1"/>
                  <a:gd name="T2" fmla="*/ 0 w 4"/>
                  <a:gd name="T3" fmla="*/ 1 h 1"/>
                  <a:gd name="T4" fmla="*/ 4 w 4"/>
                  <a:gd name="T5" fmla="*/ 1 h 1"/>
                  <a:gd name="T6" fmla="*/ 3 w 4"/>
                  <a:gd name="T7" fmla="*/ 0 h 1"/>
                </a:gdLst>
                <a:ahLst/>
                <a:cxnLst>
                  <a:cxn ang="0">
                    <a:pos x="T0" y="T1"/>
                  </a:cxn>
                  <a:cxn ang="0">
                    <a:pos x="T2" y="T3"/>
                  </a:cxn>
                  <a:cxn ang="0">
                    <a:pos x="T4" y="T5"/>
                  </a:cxn>
                  <a:cxn ang="0">
                    <a:pos x="T6" y="T7"/>
                  </a:cxn>
                </a:cxnLst>
                <a:rect l="0" t="0" r="r" b="b"/>
                <a:pathLst>
                  <a:path w="4" h="1">
                    <a:moveTo>
                      <a:pt x="3" y="0"/>
                    </a:moveTo>
                    <a:cubicBezTo>
                      <a:pt x="2" y="0"/>
                      <a:pt x="1" y="0"/>
                      <a:pt x="0" y="1"/>
                    </a:cubicBezTo>
                    <a:cubicBezTo>
                      <a:pt x="2" y="1"/>
                      <a:pt x="3" y="1"/>
                      <a:pt x="4"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 name="Freeform 57">
                <a:extLst>
                  <a:ext uri="{FF2B5EF4-FFF2-40B4-BE49-F238E27FC236}">
                    <a16:creationId xmlns:a16="http://schemas.microsoft.com/office/drawing/2014/main" id="{8211D768-523D-48E2-A247-B4574C5EFF36}"/>
                  </a:ext>
                </a:extLst>
              </p:cNvPr>
              <p:cNvSpPr>
                <a:spLocks noEditPoints="1"/>
              </p:cNvSpPr>
              <p:nvPr/>
            </p:nvSpPr>
            <p:spPr bwMode="auto">
              <a:xfrm>
                <a:off x="6033" y="3764"/>
                <a:ext cx="12" cy="2"/>
              </a:xfrm>
              <a:custGeom>
                <a:avLst/>
                <a:gdLst>
                  <a:gd name="T0" fmla="*/ 1 w 5"/>
                  <a:gd name="T1" fmla="*/ 1 h 1"/>
                  <a:gd name="T2" fmla="*/ 0 w 5"/>
                  <a:gd name="T3" fmla="*/ 1 h 1"/>
                  <a:gd name="T4" fmla="*/ 1 w 5"/>
                  <a:gd name="T5" fmla="*/ 1 h 1"/>
                  <a:gd name="T6" fmla="*/ 5 w 5"/>
                  <a:gd name="T7" fmla="*/ 0 h 1"/>
                  <a:gd name="T8" fmla="*/ 1 w 5"/>
                  <a:gd name="T9" fmla="*/ 1 h 1"/>
                  <a:gd name="T10" fmla="*/ 1 w 5"/>
                  <a:gd name="T11" fmla="*/ 1 h 1"/>
                  <a:gd name="T12" fmla="*/ 2 w 5"/>
                  <a:gd name="T13" fmla="*/ 1 h 1"/>
                  <a:gd name="T14" fmla="*/ 3 w 5"/>
                  <a:gd name="T15" fmla="*/ 1 h 1"/>
                  <a:gd name="T16" fmla="*/ 4 w 5"/>
                  <a:gd name="T17" fmla="*/ 1 h 1"/>
                  <a:gd name="T18" fmla="*/ 4 w 5"/>
                  <a:gd name="T19" fmla="*/ 1 h 1"/>
                  <a:gd name="T20" fmla="*/ 5 w 5"/>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0" y="1"/>
                      <a:pt x="0" y="1"/>
                    </a:cubicBezTo>
                    <a:cubicBezTo>
                      <a:pt x="0" y="1"/>
                      <a:pt x="1" y="1"/>
                      <a:pt x="1" y="1"/>
                    </a:cubicBezTo>
                    <a:moveTo>
                      <a:pt x="5" y="0"/>
                    </a:moveTo>
                    <a:cubicBezTo>
                      <a:pt x="4" y="1"/>
                      <a:pt x="2" y="1"/>
                      <a:pt x="1" y="1"/>
                    </a:cubicBezTo>
                    <a:cubicBezTo>
                      <a:pt x="1" y="1"/>
                      <a:pt x="1" y="1"/>
                      <a:pt x="1" y="1"/>
                    </a:cubicBezTo>
                    <a:cubicBezTo>
                      <a:pt x="2" y="1"/>
                      <a:pt x="2" y="1"/>
                      <a:pt x="2" y="1"/>
                    </a:cubicBezTo>
                    <a:cubicBezTo>
                      <a:pt x="2" y="1"/>
                      <a:pt x="3" y="1"/>
                      <a:pt x="3" y="1"/>
                    </a:cubicBezTo>
                    <a:cubicBezTo>
                      <a:pt x="3" y="1"/>
                      <a:pt x="4" y="1"/>
                      <a:pt x="4" y="1"/>
                    </a:cubicBezTo>
                    <a:cubicBezTo>
                      <a:pt x="4" y="1"/>
                      <a:pt x="4" y="1"/>
                      <a:pt x="4"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 name="Freeform 58">
                <a:extLst>
                  <a:ext uri="{FF2B5EF4-FFF2-40B4-BE49-F238E27FC236}">
                    <a16:creationId xmlns:a16="http://schemas.microsoft.com/office/drawing/2014/main" id="{4BB67253-1C50-403F-B184-1FA6664CABC1}"/>
                  </a:ext>
                </a:extLst>
              </p:cNvPr>
              <p:cNvSpPr>
                <a:spLocks/>
              </p:cNvSpPr>
              <p:nvPr/>
            </p:nvSpPr>
            <p:spPr bwMode="auto">
              <a:xfrm>
                <a:off x="6665" y="4355"/>
                <a:ext cx="19" cy="10"/>
              </a:xfrm>
              <a:custGeom>
                <a:avLst/>
                <a:gdLst>
                  <a:gd name="T0" fmla="*/ 7 w 8"/>
                  <a:gd name="T1" fmla="*/ 0 h 4"/>
                  <a:gd name="T2" fmla="*/ 0 w 8"/>
                  <a:gd name="T3" fmla="*/ 4 h 4"/>
                  <a:gd name="T4" fmla="*/ 1 w 8"/>
                  <a:gd name="T5" fmla="*/ 4 h 4"/>
                  <a:gd name="T6" fmla="*/ 4 w 8"/>
                  <a:gd name="T7" fmla="*/ 3 h 4"/>
                  <a:gd name="T8" fmla="*/ 7 w 8"/>
                  <a:gd name="T9" fmla="*/ 0 h 4"/>
                </a:gdLst>
                <a:ahLst/>
                <a:cxnLst>
                  <a:cxn ang="0">
                    <a:pos x="T0" y="T1"/>
                  </a:cxn>
                  <a:cxn ang="0">
                    <a:pos x="T2" y="T3"/>
                  </a:cxn>
                  <a:cxn ang="0">
                    <a:pos x="T4" y="T5"/>
                  </a:cxn>
                  <a:cxn ang="0">
                    <a:pos x="T6" y="T7"/>
                  </a:cxn>
                  <a:cxn ang="0">
                    <a:pos x="T8" y="T9"/>
                  </a:cxn>
                </a:cxnLst>
                <a:rect l="0" t="0" r="r" b="b"/>
                <a:pathLst>
                  <a:path w="8" h="4">
                    <a:moveTo>
                      <a:pt x="7" y="0"/>
                    </a:moveTo>
                    <a:cubicBezTo>
                      <a:pt x="4" y="1"/>
                      <a:pt x="2" y="2"/>
                      <a:pt x="0" y="4"/>
                    </a:cubicBezTo>
                    <a:cubicBezTo>
                      <a:pt x="0" y="4"/>
                      <a:pt x="0" y="4"/>
                      <a:pt x="1" y="4"/>
                    </a:cubicBezTo>
                    <a:cubicBezTo>
                      <a:pt x="2" y="4"/>
                      <a:pt x="3" y="4"/>
                      <a:pt x="4" y="3"/>
                    </a:cubicBezTo>
                    <a:cubicBezTo>
                      <a:pt x="6" y="3"/>
                      <a:pt x="8"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 name="Freeform 59">
                <a:extLst>
                  <a:ext uri="{FF2B5EF4-FFF2-40B4-BE49-F238E27FC236}">
                    <a16:creationId xmlns:a16="http://schemas.microsoft.com/office/drawing/2014/main" id="{8AC4CD08-12AE-4269-A6C9-8F67A2663A5F}"/>
                  </a:ext>
                </a:extLst>
              </p:cNvPr>
              <p:cNvSpPr>
                <a:spLocks/>
              </p:cNvSpPr>
              <p:nvPr/>
            </p:nvSpPr>
            <p:spPr bwMode="auto">
              <a:xfrm>
                <a:off x="6650" y="4202"/>
                <a:ext cx="12" cy="21"/>
              </a:xfrm>
              <a:custGeom>
                <a:avLst/>
                <a:gdLst>
                  <a:gd name="T0" fmla="*/ 4 w 5"/>
                  <a:gd name="T1" fmla="*/ 0 h 9"/>
                  <a:gd name="T2" fmla="*/ 1 w 5"/>
                  <a:gd name="T3" fmla="*/ 6 h 9"/>
                  <a:gd name="T4" fmla="*/ 3 w 5"/>
                  <a:gd name="T5" fmla="*/ 9 h 9"/>
                  <a:gd name="T6" fmla="*/ 5 w 5"/>
                  <a:gd name="T7" fmla="*/ 5 h 9"/>
                  <a:gd name="T8" fmla="*/ 4 w 5"/>
                  <a:gd name="T9" fmla="*/ 0 h 9"/>
                </a:gdLst>
                <a:ahLst/>
                <a:cxnLst>
                  <a:cxn ang="0">
                    <a:pos x="T0" y="T1"/>
                  </a:cxn>
                  <a:cxn ang="0">
                    <a:pos x="T2" y="T3"/>
                  </a:cxn>
                  <a:cxn ang="0">
                    <a:pos x="T4" y="T5"/>
                  </a:cxn>
                  <a:cxn ang="0">
                    <a:pos x="T6" y="T7"/>
                  </a:cxn>
                  <a:cxn ang="0">
                    <a:pos x="T8" y="T9"/>
                  </a:cxn>
                </a:cxnLst>
                <a:rect l="0" t="0" r="r" b="b"/>
                <a:pathLst>
                  <a:path w="5" h="9">
                    <a:moveTo>
                      <a:pt x="4" y="0"/>
                    </a:moveTo>
                    <a:cubicBezTo>
                      <a:pt x="3" y="1"/>
                      <a:pt x="0" y="4"/>
                      <a:pt x="1" y="6"/>
                    </a:cubicBezTo>
                    <a:cubicBezTo>
                      <a:pt x="1" y="8"/>
                      <a:pt x="3" y="8"/>
                      <a:pt x="3" y="9"/>
                    </a:cubicBezTo>
                    <a:cubicBezTo>
                      <a:pt x="4" y="8"/>
                      <a:pt x="4" y="6"/>
                      <a:pt x="5" y="5"/>
                    </a:cubicBezTo>
                    <a:cubicBezTo>
                      <a:pt x="5" y="3"/>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 name="Freeform 60">
                <a:extLst>
                  <a:ext uri="{FF2B5EF4-FFF2-40B4-BE49-F238E27FC236}">
                    <a16:creationId xmlns:a16="http://schemas.microsoft.com/office/drawing/2014/main" id="{AEB7FFF9-FC87-4C42-8B6F-CAE75BD6C65F}"/>
                  </a:ext>
                </a:extLst>
              </p:cNvPr>
              <p:cNvSpPr>
                <a:spLocks/>
              </p:cNvSpPr>
              <p:nvPr/>
            </p:nvSpPr>
            <p:spPr bwMode="auto">
              <a:xfrm>
                <a:off x="6553" y="4017"/>
                <a:ext cx="10" cy="7"/>
              </a:xfrm>
              <a:custGeom>
                <a:avLst/>
                <a:gdLst>
                  <a:gd name="T0" fmla="*/ 0 w 4"/>
                  <a:gd name="T1" fmla="*/ 0 h 3"/>
                  <a:gd name="T2" fmla="*/ 4 w 4"/>
                  <a:gd name="T3" fmla="*/ 3 h 3"/>
                  <a:gd name="T4" fmla="*/ 0 w 4"/>
                  <a:gd name="T5" fmla="*/ 0 h 3"/>
                </a:gdLst>
                <a:ahLst/>
                <a:cxnLst>
                  <a:cxn ang="0">
                    <a:pos x="T0" y="T1"/>
                  </a:cxn>
                  <a:cxn ang="0">
                    <a:pos x="T2" y="T3"/>
                  </a:cxn>
                  <a:cxn ang="0">
                    <a:pos x="T4" y="T5"/>
                  </a:cxn>
                </a:cxnLst>
                <a:rect l="0" t="0" r="r" b="b"/>
                <a:pathLst>
                  <a:path w="4" h="3">
                    <a:moveTo>
                      <a:pt x="0" y="0"/>
                    </a:moveTo>
                    <a:cubicBezTo>
                      <a:pt x="0" y="1"/>
                      <a:pt x="3" y="2"/>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 name="Freeform 61">
                <a:extLst>
                  <a:ext uri="{FF2B5EF4-FFF2-40B4-BE49-F238E27FC236}">
                    <a16:creationId xmlns:a16="http://schemas.microsoft.com/office/drawing/2014/main" id="{43171D13-156C-44FE-8D26-025A30831989}"/>
                  </a:ext>
                </a:extLst>
              </p:cNvPr>
              <p:cNvSpPr>
                <a:spLocks/>
              </p:cNvSpPr>
              <p:nvPr/>
            </p:nvSpPr>
            <p:spPr bwMode="auto">
              <a:xfrm>
                <a:off x="6312" y="3953"/>
                <a:ext cx="92" cy="33"/>
              </a:xfrm>
              <a:custGeom>
                <a:avLst/>
                <a:gdLst>
                  <a:gd name="T0" fmla="*/ 4 w 39"/>
                  <a:gd name="T1" fmla="*/ 0 h 14"/>
                  <a:gd name="T2" fmla="*/ 1 w 39"/>
                  <a:gd name="T3" fmla="*/ 4 h 14"/>
                  <a:gd name="T4" fmla="*/ 2 w 39"/>
                  <a:gd name="T5" fmla="*/ 9 h 14"/>
                  <a:gd name="T6" fmla="*/ 6 w 39"/>
                  <a:gd name="T7" fmla="*/ 13 h 14"/>
                  <a:gd name="T8" fmla="*/ 6 w 39"/>
                  <a:gd name="T9" fmla="*/ 13 h 14"/>
                  <a:gd name="T10" fmla="*/ 11 w 39"/>
                  <a:gd name="T11" fmla="*/ 13 h 14"/>
                  <a:gd name="T12" fmla="*/ 14 w 39"/>
                  <a:gd name="T13" fmla="*/ 12 h 14"/>
                  <a:gd name="T14" fmla="*/ 23 w 39"/>
                  <a:gd name="T15" fmla="*/ 13 h 14"/>
                  <a:gd name="T16" fmla="*/ 25 w 39"/>
                  <a:gd name="T17" fmla="*/ 14 h 14"/>
                  <a:gd name="T18" fmla="*/ 34 w 39"/>
                  <a:gd name="T19" fmla="*/ 11 h 14"/>
                  <a:gd name="T20" fmla="*/ 35 w 39"/>
                  <a:gd name="T21" fmla="*/ 3 h 14"/>
                  <a:gd name="T22" fmla="*/ 29 w 39"/>
                  <a:gd name="T23" fmla="*/ 1 h 14"/>
                  <a:gd name="T24" fmla="*/ 29 w 39"/>
                  <a:gd name="T25" fmla="*/ 1 h 14"/>
                  <a:gd name="T26" fmla="*/ 28 w 39"/>
                  <a:gd name="T27" fmla="*/ 2 h 14"/>
                  <a:gd name="T28" fmla="*/ 27 w 39"/>
                  <a:gd name="T29" fmla="*/ 2 h 14"/>
                  <a:gd name="T30" fmla="*/ 27 w 39"/>
                  <a:gd name="T31" fmla="*/ 2 h 14"/>
                  <a:gd name="T32" fmla="*/ 26 w 39"/>
                  <a:gd name="T33" fmla="*/ 1 h 14"/>
                  <a:gd name="T34" fmla="*/ 21 w 39"/>
                  <a:gd name="T35" fmla="*/ 1 h 14"/>
                  <a:gd name="T36" fmla="*/ 4 w 3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4">
                    <a:moveTo>
                      <a:pt x="4" y="0"/>
                    </a:moveTo>
                    <a:cubicBezTo>
                      <a:pt x="3" y="2"/>
                      <a:pt x="0" y="2"/>
                      <a:pt x="1" y="4"/>
                    </a:cubicBezTo>
                    <a:cubicBezTo>
                      <a:pt x="1" y="6"/>
                      <a:pt x="2" y="8"/>
                      <a:pt x="2" y="9"/>
                    </a:cubicBezTo>
                    <a:cubicBezTo>
                      <a:pt x="3" y="12"/>
                      <a:pt x="3" y="13"/>
                      <a:pt x="6" y="13"/>
                    </a:cubicBezTo>
                    <a:cubicBezTo>
                      <a:pt x="6" y="13"/>
                      <a:pt x="6" y="13"/>
                      <a:pt x="6" y="13"/>
                    </a:cubicBezTo>
                    <a:cubicBezTo>
                      <a:pt x="8" y="13"/>
                      <a:pt x="9" y="13"/>
                      <a:pt x="11" y="13"/>
                    </a:cubicBezTo>
                    <a:cubicBezTo>
                      <a:pt x="12" y="12"/>
                      <a:pt x="13" y="12"/>
                      <a:pt x="14" y="12"/>
                    </a:cubicBezTo>
                    <a:cubicBezTo>
                      <a:pt x="18" y="12"/>
                      <a:pt x="21" y="13"/>
                      <a:pt x="23" y="13"/>
                    </a:cubicBezTo>
                    <a:cubicBezTo>
                      <a:pt x="24" y="13"/>
                      <a:pt x="24" y="14"/>
                      <a:pt x="25" y="14"/>
                    </a:cubicBezTo>
                    <a:cubicBezTo>
                      <a:pt x="28" y="14"/>
                      <a:pt x="32" y="12"/>
                      <a:pt x="34" y="11"/>
                    </a:cubicBezTo>
                    <a:cubicBezTo>
                      <a:pt x="37" y="7"/>
                      <a:pt x="39" y="5"/>
                      <a:pt x="35" y="3"/>
                    </a:cubicBezTo>
                    <a:cubicBezTo>
                      <a:pt x="33" y="2"/>
                      <a:pt x="31" y="2"/>
                      <a:pt x="29" y="1"/>
                    </a:cubicBezTo>
                    <a:cubicBezTo>
                      <a:pt x="29" y="1"/>
                      <a:pt x="29" y="1"/>
                      <a:pt x="29" y="1"/>
                    </a:cubicBezTo>
                    <a:cubicBezTo>
                      <a:pt x="29" y="1"/>
                      <a:pt x="28" y="1"/>
                      <a:pt x="28" y="2"/>
                    </a:cubicBezTo>
                    <a:cubicBezTo>
                      <a:pt x="28" y="2"/>
                      <a:pt x="27" y="2"/>
                      <a:pt x="27" y="2"/>
                    </a:cubicBezTo>
                    <a:cubicBezTo>
                      <a:pt x="27" y="2"/>
                      <a:pt x="27" y="2"/>
                      <a:pt x="27" y="2"/>
                    </a:cubicBezTo>
                    <a:cubicBezTo>
                      <a:pt x="26" y="1"/>
                      <a:pt x="26" y="1"/>
                      <a:pt x="26" y="1"/>
                    </a:cubicBezTo>
                    <a:cubicBezTo>
                      <a:pt x="24" y="1"/>
                      <a:pt x="22" y="1"/>
                      <a:pt x="21" y="1"/>
                    </a:cubicBezTo>
                    <a:cubicBezTo>
                      <a:pt x="15" y="1"/>
                      <a:pt x="9"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 name="Freeform 62">
                <a:extLst>
                  <a:ext uri="{FF2B5EF4-FFF2-40B4-BE49-F238E27FC236}">
                    <a16:creationId xmlns:a16="http://schemas.microsoft.com/office/drawing/2014/main" id="{8E97102E-597A-4D29-8389-424E5A4073F2}"/>
                  </a:ext>
                </a:extLst>
              </p:cNvPr>
              <p:cNvSpPr>
                <a:spLocks/>
              </p:cNvSpPr>
              <p:nvPr/>
            </p:nvSpPr>
            <p:spPr bwMode="auto">
              <a:xfrm>
                <a:off x="6404" y="3975"/>
                <a:ext cx="12" cy="2"/>
              </a:xfrm>
              <a:custGeom>
                <a:avLst/>
                <a:gdLst>
                  <a:gd name="T0" fmla="*/ 5 w 5"/>
                  <a:gd name="T1" fmla="*/ 0 h 1"/>
                  <a:gd name="T2" fmla="*/ 0 w 5"/>
                  <a:gd name="T3" fmla="*/ 0 h 1"/>
                  <a:gd name="T4" fmla="*/ 3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3" y="0"/>
                      <a:pt x="2" y="0"/>
                      <a:pt x="0" y="0"/>
                    </a:cubicBezTo>
                    <a:cubicBezTo>
                      <a:pt x="1" y="1"/>
                      <a:pt x="2" y="1"/>
                      <a:pt x="3" y="1"/>
                    </a:cubicBezTo>
                    <a:cubicBezTo>
                      <a:pt x="4" y="1"/>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 name="Freeform 63">
                <a:extLst>
                  <a:ext uri="{FF2B5EF4-FFF2-40B4-BE49-F238E27FC236}">
                    <a16:creationId xmlns:a16="http://schemas.microsoft.com/office/drawing/2014/main" id="{1B316541-7243-45FD-BBE2-7AEE2BABE99D}"/>
                  </a:ext>
                </a:extLst>
              </p:cNvPr>
              <p:cNvSpPr>
                <a:spLocks/>
              </p:cNvSpPr>
              <p:nvPr/>
            </p:nvSpPr>
            <p:spPr bwMode="auto">
              <a:xfrm>
                <a:off x="6589" y="4048"/>
                <a:ext cx="2" cy="9"/>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3"/>
                      <a:pt x="0"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 name="Freeform 64">
                <a:extLst>
                  <a:ext uri="{FF2B5EF4-FFF2-40B4-BE49-F238E27FC236}">
                    <a16:creationId xmlns:a16="http://schemas.microsoft.com/office/drawing/2014/main" id="{C3554E9B-C787-4F72-A819-9E5B3DB1E60A}"/>
                  </a:ext>
                </a:extLst>
              </p:cNvPr>
              <p:cNvSpPr>
                <a:spLocks/>
              </p:cNvSpPr>
              <p:nvPr/>
            </p:nvSpPr>
            <p:spPr bwMode="auto">
              <a:xfrm>
                <a:off x="6641" y="4157"/>
                <a:ext cx="26" cy="23"/>
              </a:xfrm>
              <a:custGeom>
                <a:avLst/>
                <a:gdLst>
                  <a:gd name="T0" fmla="*/ 3 w 11"/>
                  <a:gd name="T1" fmla="*/ 0 h 10"/>
                  <a:gd name="T2" fmla="*/ 3 w 11"/>
                  <a:gd name="T3" fmla="*/ 6 h 10"/>
                  <a:gd name="T4" fmla="*/ 6 w 11"/>
                  <a:gd name="T5" fmla="*/ 9 h 10"/>
                  <a:gd name="T6" fmla="*/ 5 w 11"/>
                  <a:gd name="T7" fmla="*/ 8 h 10"/>
                  <a:gd name="T8" fmla="*/ 5 w 11"/>
                  <a:gd name="T9" fmla="*/ 10 h 10"/>
                  <a:gd name="T10" fmla="*/ 7 w 11"/>
                  <a:gd name="T11" fmla="*/ 10 h 10"/>
                  <a:gd name="T12" fmla="*/ 8 w 11"/>
                  <a:gd name="T13" fmla="*/ 10 h 10"/>
                  <a:gd name="T14" fmla="*/ 9 w 11"/>
                  <a:gd name="T15" fmla="*/ 10 h 10"/>
                  <a:gd name="T16" fmla="*/ 11 w 11"/>
                  <a:gd name="T17" fmla="*/ 10 h 10"/>
                  <a:gd name="T18" fmla="*/ 3 w 11"/>
                  <a:gd name="T19" fmla="*/ 1 h 10"/>
                  <a:gd name="T20" fmla="*/ 3 w 11"/>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3" y="0"/>
                    </a:moveTo>
                    <a:cubicBezTo>
                      <a:pt x="0" y="0"/>
                      <a:pt x="2" y="5"/>
                      <a:pt x="3" y="6"/>
                    </a:cubicBezTo>
                    <a:cubicBezTo>
                      <a:pt x="3" y="7"/>
                      <a:pt x="8" y="9"/>
                      <a:pt x="6" y="9"/>
                    </a:cubicBezTo>
                    <a:cubicBezTo>
                      <a:pt x="5" y="9"/>
                      <a:pt x="5" y="9"/>
                      <a:pt x="5" y="8"/>
                    </a:cubicBezTo>
                    <a:cubicBezTo>
                      <a:pt x="5" y="9"/>
                      <a:pt x="5" y="10"/>
                      <a:pt x="5" y="10"/>
                    </a:cubicBezTo>
                    <a:cubicBezTo>
                      <a:pt x="6" y="10"/>
                      <a:pt x="6" y="10"/>
                      <a:pt x="7" y="10"/>
                    </a:cubicBezTo>
                    <a:cubicBezTo>
                      <a:pt x="7" y="10"/>
                      <a:pt x="8" y="10"/>
                      <a:pt x="8" y="10"/>
                    </a:cubicBezTo>
                    <a:cubicBezTo>
                      <a:pt x="8" y="10"/>
                      <a:pt x="9" y="10"/>
                      <a:pt x="9" y="10"/>
                    </a:cubicBezTo>
                    <a:cubicBezTo>
                      <a:pt x="10" y="10"/>
                      <a:pt x="10" y="10"/>
                      <a:pt x="11" y="10"/>
                    </a:cubicBezTo>
                    <a:cubicBezTo>
                      <a:pt x="10" y="6"/>
                      <a:pt x="7" y="2"/>
                      <a:pt x="3" y="1"/>
                    </a:cubicBezTo>
                    <a:cubicBezTo>
                      <a:pt x="3"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 name="Freeform 65">
                <a:extLst>
                  <a:ext uri="{FF2B5EF4-FFF2-40B4-BE49-F238E27FC236}">
                    <a16:creationId xmlns:a16="http://schemas.microsoft.com/office/drawing/2014/main" id="{B8E567C4-2F2E-4CEA-86FA-8B54A69E3129}"/>
                  </a:ext>
                </a:extLst>
              </p:cNvPr>
              <p:cNvSpPr>
                <a:spLocks/>
              </p:cNvSpPr>
              <p:nvPr/>
            </p:nvSpPr>
            <p:spPr bwMode="auto">
              <a:xfrm>
                <a:off x="5705" y="3953"/>
                <a:ext cx="118" cy="45"/>
              </a:xfrm>
              <a:custGeom>
                <a:avLst/>
                <a:gdLst>
                  <a:gd name="T0" fmla="*/ 14 w 50"/>
                  <a:gd name="T1" fmla="*/ 0 h 19"/>
                  <a:gd name="T2" fmla="*/ 0 w 50"/>
                  <a:gd name="T3" fmla="*/ 5 h 19"/>
                  <a:gd name="T4" fmla="*/ 21 w 50"/>
                  <a:gd name="T5" fmla="*/ 16 h 19"/>
                  <a:gd name="T6" fmla="*/ 27 w 50"/>
                  <a:gd name="T7" fmla="*/ 19 h 19"/>
                  <a:gd name="T8" fmla="*/ 28 w 50"/>
                  <a:gd name="T9" fmla="*/ 19 h 19"/>
                  <a:gd name="T10" fmla="*/ 26 w 50"/>
                  <a:gd name="T11" fmla="*/ 18 h 19"/>
                  <a:gd name="T12" fmla="*/ 28 w 50"/>
                  <a:gd name="T13" fmla="*/ 15 h 19"/>
                  <a:gd name="T14" fmla="*/ 33 w 50"/>
                  <a:gd name="T15" fmla="*/ 14 h 19"/>
                  <a:gd name="T16" fmla="*/ 35 w 50"/>
                  <a:gd name="T17" fmla="*/ 13 h 19"/>
                  <a:gd name="T18" fmla="*/ 40 w 50"/>
                  <a:gd name="T19" fmla="*/ 14 h 19"/>
                  <a:gd name="T20" fmla="*/ 46 w 50"/>
                  <a:gd name="T21" fmla="*/ 15 h 19"/>
                  <a:gd name="T22" fmla="*/ 50 w 50"/>
                  <a:gd name="T23" fmla="*/ 15 h 19"/>
                  <a:gd name="T24" fmla="*/ 33 w 50"/>
                  <a:gd name="T25" fmla="*/ 4 h 19"/>
                  <a:gd name="T26" fmla="*/ 14 w 50"/>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9">
                    <a:moveTo>
                      <a:pt x="14" y="0"/>
                    </a:moveTo>
                    <a:cubicBezTo>
                      <a:pt x="9" y="1"/>
                      <a:pt x="5" y="3"/>
                      <a:pt x="0" y="5"/>
                    </a:cubicBezTo>
                    <a:cubicBezTo>
                      <a:pt x="6" y="9"/>
                      <a:pt x="14" y="15"/>
                      <a:pt x="21" y="16"/>
                    </a:cubicBezTo>
                    <a:cubicBezTo>
                      <a:pt x="23" y="16"/>
                      <a:pt x="25" y="19"/>
                      <a:pt x="27" y="19"/>
                    </a:cubicBezTo>
                    <a:cubicBezTo>
                      <a:pt x="27" y="19"/>
                      <a:pt x="28" y="19"/>
                      <a:pt x="28" y="19"/>
                    </a:cubicBezTo>
                    <a:cubicBezTo>
                      <a:pt x="26" y="18"/>
                      <a:pt x="26" y="18"/>
                      <a:pt x="26" y="18"/>
                    </a:cubicBezTo>
                    <a:cubicBezTo>
                      <a:pt x="27" y="17"/>
                      <a:pt x="27" y="16"/>
                      <a:pt x="28" y="15"/>
                    </a:cubicBezTo>
                    <a:cubicBezTo>
                      <a:pt x="29" y="14"/>
                      <a:pt x="32" y="14"/>
                      <a:pt x="33" y="14"/>
                    </a:cubicBezTo>
                    <a:cubicBezTo>
                      <a:pt x="34" y="13"/>
                      <a:pt x="35" y="13"/>
                      <a:pt x="35" y="13"/>
                    </a:cubicBezTo>
                    <a:cubicBezTo>
                      <a:pt x="37" y="13"/>
                      <a:pt x="38" y="14"/>
                      <a:pt x="40" y="14"/>
                    </a:cubicBezTo>
                    <a:cubicBezTo>
                      <a:pt x="42" y="15"/>
                      <a:pt x="44" y="15"/>
                      <a:pt x="46" y="15"/>
                    </a:cubicBezTo>
                    <a:cubicBezTo>
                      <a:pt x="47" y="15"/>
                      <a:pt x="48" y="15"/>
                      <a:pt x="50" y="15"/>
                    </a:cubicBezTo>
                    <a:cubicBezTo>
                      <a:pt x="48" y="9"/>
                      <a:pt x="38" y="6"/>
                      <a:pt x="33" y="4"/>
                    </a:cubicBezTo>
                    <a:cubicBezTo>
                      <a:pt x="27" y="1"/>
                      <a:pt x="20"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 name="Freeform 66">
                <a:extLst>
                  <a:ext uri="{FF2B5EF4-FFF2-40B4-BE49-F238E27FC236}">
                    <a16:creationId xmlns:a16="http://schemas.microsoft.com/office/drawing/2014/main" id="{6204E4EB-2EAF-4C20-A512-87A476CB0A80}"/>
                  </a:ext>
                </a:extLst>
              </p:cNvPr>
              <p:cNvSpPr>
                <a:spLocks/>
              </p:cNvSpPr>
              <p:nvPr/>
            </p:nvSpPr>
            <p:spPr bwMode="auto">
              <a:xfrm>
                <a:off x="5286" y="4067"/>
                <a:ext cx="7" cy="5"/>
              </a:xfrm>
              <a:custGeom>
                <a:avLst/>
                <a:gdLst>
                  <a:gd name="T0" fmla="*/ 3 w 3"/>
                  <a:gd name="T1" fmla="*/ 0 h 2"/>
                  <a:gd name="T2" fmla="*/ 0 w 3"/>
                  <a:gd name="T3" fmla="*/ 2 h 2"/>
                  <a:gd name="T4" fmla="*/ 3 w 3"/>
                  <a:gd name="T5" fmla="*/ 0 h 2"/>
                  <a:gd name="T6" fmla="*/ 3 w 3"/>
                  <a:gd name="T7" fmla="*/ 0 h 2"/>
                </a:gdLst>
                <a:ahLst/>
                <a:cxnLst>
                  <a:cxn ang="0">
                    <a:pos x="T0" y="T1"/>
                  </a:cxn>
                  <a:cxn ang="0">
                    <a:pos x="T2" y="T3"/>
                  </a:cxn>
                  <a:cxn ang="0">
                    <a:pos x="T4" y="T5"/>
                  </a:cxn>
                  <a:cxn ang="0">
                    <a:pos x="T6" y="T7"/>
                  </a:cxn>
                </a:cxnLst>
                <a:rect l="0" t="0" r="r" b="b"/>
                <a:pathLst>
                  <a:path w="3" h="2">
                    <a:moveTo>
                      <a:pt x="3" y="0"/>
                    </a:moveTo>
                    <a:cubicBezTo>
                      <a:pt x="1" y="0"/>
                      <a:pt x="1" y="1"/>
                      <a:pt x="0" y="2"/>
                    </a:cubicBezTo>
                    <a:cubicBezTo>
                      <a:pt x="1" y="1"/>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 name="Freeform 67">
                <a:extLst>
                  <a:ext uri="{FF2B5EF4-FFF2-40B4-BE49-F238E27FC236}">
                    <a16:creationId xmlns:a16="http://schemas.microsoft.com/office/drawing/2014/main" id="{FBBB2BD7-47C2-4FB1-9746-C643EA426E63}"/>
                  </a:ext>
                </a:extLst>
              </p:cNvPr>
              <p:cNvSpPr>
                <a:spLocks/>
              </p:cNvSpPr>
              <p:nvPr/>
            </p:nvSpPr>
            <p:spPr bwMode="auto">
              <a:xfrm>
                <a:off x="5981" y="3930"/>
                <a:ext cx="31" cy="11"/>
              </a:xfrm>
              <a:custGeom>
                <a:avLst/>
                <a:gdLst>
                  <a:gd name="T0" fmla="*/ 1 w 13"/>
                  <a:gd name="T1" fmla="*/ 0 h 5"/>
                  <a:gd name="T2" fmla="*/ 0 w 13"/>
                  <a:gd name="T3" fmla="*/ 0 h 5"/>
                  <a:gd name="T4" fmla="*/ 8 w 13"/>
                  <a:gd name="T5" fmla="*/ 4 h 5"/>
                  <a:gd name="T6" fmla="*/ 11 w 13"/>
                  <a:gd name="T7" fmla="*/ 5 h 5"/>
                  <a:gd name="T8" fmla="*/ 1 w 13"/>
                  <a:gd name="T9" fmla="*/ 0 h 5"/>
                </a:gdLst>
                <a:ahLst/>
                <a:cxnLst>
                  <a:cxn ang="0">
                    <a:pos x="T0" y="T1"/>
                  </a:cxn>
                  <a:cxn ang="0">
                    <a:pos x="T2" y="T3"/>
                  </a:cxn>
                  <a:cxn ang="0">
                    <a:pos x="T4" y="T5"/>
                  </a:cxn>
                  <a:cxn ang="0">
                    <a:pos x="T6" y="T7"/>
                  </a:cxn>
                  <a:cxn ang="0">
                    <a:pos x="T8" y="T9"/>
                  </a:cxn>
                </a:cxnLst>
                <a:rect l="0" t="0" r="r" b="b"/>
                <a:pathLst>
                  <a:path w="13" h="5">
                    <a:moveTo>
                      <a:pt x="1" y="0"/>
                    </a:moveTo>
                    <a:cubicBezTo>
                      <a:pt x="1" y="0"/>
                      <a:pt x="0" y="0"/>
                      <a:pt x="0" y="0"/>
                    </a:cubicBezTo>
                    <a:cubicBezTo>
                      <a:pt x="1" y="2"/>
                      <a:pt x="6" y="4"/>
                      <a:pt x="8" y="4"/>
                    </a:cubicBezTo>
                    <a:cubicBezTo>
                      <a:pt x="9" y="5"/>
                      <a:pt x="10" y="5"/>
                      <a:pt x="11" y="5"/>
                    </a:cubicBezTo>
                    <a:cubicBezTo>
                      <a:pt x="13" y="1"/>
                      <a:pt x="5"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 name="Freeform 68">
                <a:extLst>
                  <a:ext uri="{FF2B5EF4-FFF2-40B4-BE49-F238E27FC236}">
                    <a16:creationId xmlns:a16="http://schemas.microsoft.com/office/drawing/2014/main" id="{B0CAC15A-C90B-4238-B451-4A80D825A87E}"/>
                  </a:ext>
                </a:extLst>
              </p:cNvPr>
              <p:cNvSpPr>
                <a:spLocks/>
              </p:cNvSpPr>
              <p:nvPr/>
            </p:nvSpPr>
            <p:spPr bwMode="auto">
              <a:xfrm>
                <a:off x="6000" y="3863"/>
                <a:ext cx="19" cy="5"/>
              </a:xfrm>
              <a:custGeom>
                <a:avLst/>
                <a:gdLst>
                  <a:gd name="T0" fmla="*/ 0 w 8"/>
                  <a:gd name="T1" fmla="*/ 0 h 2"/>
                  <a:gd name="T2" fmla="*/ 2 w 8"/>
                  <a:gd name="T3" fmla="*/ 1 h 2"/>
                  <a:gd name="T4" fmla="*/ 7 w 8"/>
                  <a:gd name="T5" fmla="*/ 2 h 2"/>
                  <a:gd name="T6" fmla="*/ 8 w 8"/>
                  <a:gd name="T7" fmla="*/ 2 h 2"/>
                  <a:gd name="T8" fmla="*/ 8 w 8"/>
                  <a:gd name="T9" fmla="*/ 2 h 2"/>
                  <a:gd name="T10" fmla="*/ 8 w 8"/>
                  <a:gd name="T11" fmla="*/ 2 h 2"/>
                  <a:gd name="T12" fmla="*/ 7 w 8"/>
                  <a:gd name="T13" fmla="*/ 2 h 2"/>
                  <a:gd name="T14" fmla="*/ 6 w 8"/>
                  <a:gd name="T15" fmla="*/ 2 h 2"/>
                  <a:gd name="T16" fmla="*/ 5 w 8"/>
                  <a:gd name="T17" fmla="*/ 2 h 2"/>
                  <a:gd name="T18" fmla="*/ 0 w 8"/>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
                    <a:moveTo>
                      <a:pt x="0" y="0"/>
                    </a:moveTo>
                    <a:cubicBezTo>
                      <a:pt x="0" y="1"/>
                      <a:pt x="1" y="1"/>
                      <a:pt x="2" y="1"/>
                    </a:cubicBezTo>
                    <a:cubicBezTo>
                      <a:pt x="4" y="2"/>
                      <a:pt x="6" y="2"/>
                      <a:pt x="7" y="2"/>
                    </a:cubicBezTo>
                    <a:cubicBezTo>
                      <a:pt x="8" y="2"/>
                      <a:pt x="8" y="2"/>
                      <a:pt x="8" y="2"/>
                    </a:cubicBezTo>
                    <a:cubicBezTo>
                      <a:pt x="8" y="2"/>
                      <a:pt x="8" y="2"/>
                      <a:pt x="8" y="2"/>
                    </a:cubicBezTo>
                    <a:cubicBezTo>
                      <a:pt x="8" y="2"/>
                      <a:pt x="8" y="2"/>
                      <a:pt x="8" y="2"/>
                    </a:cubicBezTo>
                    <a:cubicBezTo>
                      <a:pt x="7" y="2"/>
                      <a:pt x="7" y="2"/>
                      <a:pt x="7" y="2"/>
                    </a:cubicBezTo>
                    <a:cubicBezTo>
                      <a:pt x="6" y="2"/>
                      <a:pt x="6" y="2"/>
                      <a:pt x="6" y="2"/>
                    </a:cubicBezTo>
                    <a:cubicBezTo>
                      <a:pt x="6" y="2"/>
                      <a:pt x="5" y="2"/>
                      <a:pt x="5" y="2"/>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 name="Freeform 69">
                <a:extLst>
                  <a:ext uri="{FF2B5EF4-FFF2-40B4-BE49-F238E27FC236}">
                    <a16:creationId xmlns:a16="http://schemas.microsoft.com/office/drawing/2014/main" id="{8C13EFD3-AD01-4F39-AE29-082AC5F6E46C}"/>
                  </a:ext>
                </a:extLst>
              </p:cNvPr>
              <p:cNvSpPr>
                <a:spLocks/>
              </p:cNvSpPr>
              <p:nvPr/>
            </p:nvSpPr>
            <p:spPr bwMode="auto">
              <a:xfrm>
                <a:off x="6622" y="4069"/>
                <a:ext cx="24" cy="14"/>
              </a:xfrm>
              <a:custGeom>
                <a:avLst/>
                <a:gdLst>
                  <a:gd name="T0" fmla="*/ 5 w 10"/>
                  <a:gd name="T1" fmla="*/ 0 h 6"/>
                  <a:gd name="T2" fmla="*/ 3 w 10"/>
                  <a:gd name="T3" fmla="*/ 6 h 6"/>
                  <a:gd name="T4" fmla="*/ 4 w 10"/>
                  <a:gd name="T5" fmla="*/ 6 h 6"/>
                  <a:gd name="T6" fmla="*/ 7 w 10"/>
                  <a:gd name="T7" fmla="*/ 5 h 6"/>
                  <a:gd name="T8" fmla="*/ 9 w 10"/>
                  <a:gd name="T9" fmla="*/ 5 h 6"/>
                  <a:gd name="T10" fmla="*/ 10 w 10"/>
                  <a:gd name="T11" fmla="*/ 5 h 6"/>
                  <a:gd name="T12" fmla="*/ 5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5" y="0"/>
                    </a:moveTo>
                    <a:cubicBezTo>
                      <a:pt x="3" y="1"/>
                      <a:pt x="0" y="5"/>
                      <a:pt x="3" y="6"/>
                    </a:cubicBezTo>
                    <a:cubicBezTo>
                      <a:pt x="4" y="6"/>
                      <a:pt x="4" y="6"/>
                      <a:pt x="4" y="6"/>
                    </a:cubicBezTo>
                    <a:cubicBezTo>
                      <a:pt x="5" y="6"/>
                      <a:pt x="6" y="6"/>
                      <a:pt x="7" y="5"/>
                    </a:cubicBezTo>
                    <a:cubicBezTo>
                      <a:pt x="7" y="5"/>
                      <a:pt x="8" y="5"/>
                      <a:pt x="9" y="5"/>
                    </a:cubicBezTo>
                    <a:cubicBezTo>
                      <a:pt x="10" y="5"/>
                      <a:pt x="10" y="5"/>
                      <a:pt x="10" y="5"/>
                    </a:cubicBezTo>
                    <a:cubicBezTo>
                      <a:pt x="9" y="4"/>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 name="Freeform 70">
                <a:extLst>
                  <a:ext uri="{FF2B5EF4-FFF2-40B4-BE49-F238E27FC236}">
                    <a16:creationId xmlns:a16="http://schemas.microsoft.com/office/drawing/2014/main" id="{892EDC0F-D445-494B-9A9F-4536EAC6AF1C}"/>
                  </a:ext>
                </a:extLst>
              </p:cNvPr>
              <p:cNvSpPr>
                <a:spLocks/>
              </p:cNvSpPr>
              <p:nvPr/>
            </p:nvSpPr>
            <p:spPr bwMode="auto">
              <a:xfrm>
                <a:off x="6639" y="4098"/>
                <a:ext cx="4" cy="4"/>
              </a:xfrm>
              <a:custGeom>
                <a:avLst/>
                <a:gdLst>
                  <a:gd name="T0" fmla="*/ 2 w 2"/>
                  <a:gd name="T1" fmla="*/ 0 h 2"/>
                  <a:gd name="T2" fmla="*/ 0 w 2"/>
                  <a:gd name="T3" fmla="*/ 0 h 2"/>
                  <a:gd name="T4" fmla="*/ 1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0"/>
                      <a:pt x="1" y="0"/>
                      <a:pt x="0" y="0"/>
                    </a:cubicBezTo>
                    <a:cubicBezTo>
                      <a:pt x="0" y="1"/>
                      <a:pt x="1" y="1"/>
                      <a:pt x="1" y="2"/>
                    </a:cubicBezTo>
                    <a:cubicBezTo>
                      <a:pt x="2" y="1"/>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 name="Freeform 71">
                <a:extLst>
                  <a:ext uri="{FF2B5EF4-FFF2-40B4-BE49-F238E27FC236}">
                    <a16:creationId xmlns:a16="http://schemas.microsoft.com/office/drawing/2014/main" id="{D478A2FD-31B3-4DCE-B7E4-545A76281CB8}"/>
                  </a:ext>
                </a:extLst>
              </p:cNvPr>
              <p:cNvSpPr>
                <a:spLocks/>
              </p:cNvSpPr>
              <p:nvPr/>
            </p:nvSpPr>
            <p:spPr bwMode="auto">
              <a:xfrm>
                <a:off x="6613" y="4079"/>
                <a:ext cx="14" cy="16"/>
              </a:xfrm>
              <a:custGeom>
                <a:avLst/>
                <a:gdLst>
                  <a:gd name="T0" fmla="*/ 4 w 6"/>
                  <a:gd name="T1" fmla="*/ 0 h 7"/>
                  <a:gd name="T2" fmla="*/ 0 w 6"/>
                  <a:gd name="T3" fmla="*/ 1 h 7"/>
                  <a:gd name="T4" fmla="*/ 3 w 6"/>
                  <a:gd name="T5" fmla="*/ 7 h 7"/>
                  <a:gd name="T6" fmla="*/ 4 w 6"/>
                  <a:gd name="T7" fmla="*/ 7 h 7"/>
                  <a:gd name="T8" fmla="*/ 4 w 6"/>
                  <a:gd name="T9" fmla="*/ 0 h 7"/>
                </a:gdLst>
                <a:ahLst/>
                <a:cxnLst>
                  <a:cxn ang="0">
                    <a:pos x="T0" y="T1"/>
                  </a:cxn>
                  <a:cxn ang="0">
                    <a:pos x="T2" y="T3"/>
                  </a:cxn>
                  <a:cxn ang="0">
                    <a:pos x="T4" y="T5"/>
                  </a:cxn>
                  <a:cxn ang="0">
                    <a:pos x="T6" y="T7"/>
                  </a:cxn>
                  <a:cxn ang="0">
                    <a:pos x="T8" y="T9"/>
                  </a:cxn>
                </a:cxnLst>
                <a:rect l="0" t="0" r="r" b="b"/>
                <a:pathLst>
                  <a:path w="6" h="7">
                    <a:moveTo>
                      <a:pt x="4" y="0"/>
                    </a:moveTo>
                    <a:cubicBezTo>
                      <a:pt x="2" y="0"/>
                      <a:pt x="1" y="0"/>
                      <a:pt x="0" y="1"/>
                    </a:cubicBezTo>
                    <a:cubicBezTo>
                      <a:pt x="0" y="3"/>
                      <a:pt x="0" y="7"/>
                      <a:pt x="3" y="7"/>
                    </a:cubicBezTo>
                    <a:cubicBezTo>
                      <a:pt x="3" y="7"/>
                      <a:pt x="3" y="7"/>
                      <a:pt x="4" y="7"/>
                    </a:cubicBezTo>
                    <a:cubicBezTo>
                      <a:pt x="6" y="7"/>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 name="Freeform 72">
                <a:extLst>
                  <a:ext uri="{FF2B5EF4-FFF2-40B4-BE49-F238E27FC236}">
                    <a16:creationId xmlns:a16="http://schemas.microsoft.com/office/drawing/2014/main" id="{DA2151CF-770F-4B92-961E-0D954A460669}"/>
                  </a:ext>
                </a:extLst>
              </p:cNvPr>
              <p:cNvSpPr>
                <a:spLocks/>
              </p:cNvSpPr>
              <p:nvPr/>
            </p:nvSpPr>
            <p:spPr bwMode="auto">
              <a:xfrm>
                <a:off x="6613" y="4306"/>
                <a:ext cx="9" cy="12"/>
              </a:xfrm>
              <a:custGeom>
                <a:avLst/>
                <a:gdLst>
                  <a:gd name="T0" fmla="*/ 3 w 4"/>
                  <a:gd name="T1" fmla="*/ 0 h 5"/>
                  <a:gd name="T2" fmla="*/ 0 w 4"/>
                  <a:gd name="T3" fmla="*/ 5 h 5"/>
                  <a:gd name="T4" fmla="*/ 4 w 4"/>
                  <a:gd name="T5" fmla="*/ 2 h 5"/>
                  <a:gd name="T6" fmla="*/ 3 w 4"/>
                  <a:gd name="T7" fmla="*/ 0 h 5"/>
                </a:gdLst>
                <a:ahLst/>
                <a:cxnLst>
                  <a:cxn ang="0">
                    <a:pos x="T0" y="T1"/>
                  </a:cxn>
                  <a:cxn ang="0">
                    <a:pos x="T2" y="T3"/>
                  </a:cxn>
                  <a:cxn ang="0">
                    <a:pos x="T4" y="T5"/>
                  </a:cxn>
                  <a:cxn ang="0">
                    <a:pos x="T6" y="T7"/>
                  </a:cxn>
                </a:cxnLst>
                <a:rect l="0" t="0" r="r" b="b"/>
                <a:pathLst>
                  <a:path w="4" h="5">
                    <a:moveTo>
                      <a:pt x="3" y="0"/>
                    </a:moveTo>
                    <a:cubicBezTo>
                      <a:pt x="2" y="0"/>
                      <a:pt x="0" y="5"/>
                      <a:pt x="0" y="5"/>
                    </a:cubicBezTo>
                    <a:cubicBezTo>
                      <a:pt x="1" y="4"/>
                      <a:pt x="3" y="3"/>
                      <a:pt x="4" y="2"/>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 name="Freeform 73">
                <a:extLst>
                  <a:ext uri="{FF2B5EF4-FFF2-40B4-BE49-F238E27FC236}">
                    <a16:creationId xmlns:a16="http://schemas.microsoft.com/office/drawing/2014/main" id="{9F8EF5B0-1D6C-4020-AF7F-C060961F7DE1}"/>
                  </a:ext>
                </a:extLst>
              </p:cNvPr>
              <p:cNvSpPr>
                <a:spLocks/>
              </p:cNvSpPr>
              <p:nvPr/>
            </p:nvSpPr>
            <p:spPr bwMode="auto">
              <a:xfrm>
                <a:off x="6229" y="3972"/>
                <a:ext cx="12" cy="3"/>
              </a:xfrm>
              <a:custGeom>
                <a:avLst/>
                <a:gdLst>
                  <a:gd name="T0" fmla="*/ 1 w 5"/>
                  <a:gd name="T1" fmla="*/ 0 h 1"/>
                  <a:gd name="T2" fmla="*/ 0 w 5"/>
                  <a:gd name="T3" fmla="*/ 0 h 1"/>
                  <a:gd name="T4" fmla="*/ 4 w 5"/>
                  <a:gd name="T5" fmla="*/ 1 h 1"/>
                  <a:gd name="T6" fmla="*/ 5 w 5"/>
                  <a:gd name="T7" fmla="*/ 1 h 1"/>
                  <a:gd name="T8" fmla="*/ 5 w 5"/>
                  <a:gd name="T9" fmla="*/ 1 h 1"/>
                  <a:gd name="T10" fmla="*/ 5 w 5"/>
                  <a:gd name="T11" fmla="*/ 1 h 1"/>
                  <a:gd name="T12" fmla="*/ 4 w 5"/>
                  <a:gd name="T13" fmla="*/ 1 h 1"/>
                  <a:gd name="T14" fmla="*/ 4 w 5"/>
                  <a:gd name="T15" fmla="*/ 1 h 1"/>
                  <a:gd name="T16" fmla="*/ 3 w 5"/>
                  <a:gd name="T17" fmla="*/ 0 h 1"/>
                  <a:gd name="T18" fmla="*/ 1 w 5"/>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
                    <a:moveTo>
                      <a:pt x="1" y="0"/>
                    </a:moveTo>
                    <a:cubicBezTo>
                      <a:pt x="1" y="0"/>
                      <a:pt x="0" y="0"/>
                      <a:pt x="0" y="0"/>
                    </a:cubicBezTo>
                    <a:cubicBezTo>
                      <a:pt x="1" y="1"/>
                      <a:pt x="3" y="1"/>
                      <a:pt x="4"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3" y="0"/>
                      <a:pt x="3" y="0"/>
                      <a:pt x="3"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 name="Freeform 74">
                <a:extLst>
                  <a:ext uri="{FF2B5EF4-FFF2-40B4-BE49-F238E27FC236}">
                    <a16:creationId xmlns:a16="http://schemas.microsoft.com/office/drawing/2014/main" id="{C1CF5A28-A952-48D7-B82A-E6D8C2D04030}"/>
                  </a:ext>
                </a:extLst>
              </p:cNvPr>
              <p:cNvSpPr>
                <a:spLocks/>
              </p:cNvSpPr>
              <p:nvPr/>
            </p:nvSpPr>
            <p:spPr bwMode="auto">
              <a:xfrm>
                <a:off x="6627" y="4116"/>
                <a:ext cx="19" cy="24"/>
              </a:xfrm>
              <a:custGeom>
                <a:avLst/>
                <a:gdLst>
                  <a:gd name="T0" fmla="*/ 2 w 8"/>
                  <a:gd name="T1" fmla="*/ 0 h 10"/>
                  <a:gd name="T2" fmla="*/ 4 w 8"/>
                  <a:gd name="T3" fmla="*/ 10 h 10"/>
                  <a:gd name="T4" fmla="*/ 2 w 8"/>
                  <a:gd name="T5" fmla="*/ 0 h 10"/>
                </a:gdLst>
                <a:ahLst/>
                <a:cxnLst>
                  <a:cxn ang="0">
                    <a:pos x="T0" y="T1"/>
                  </a:cxn>
                  <a:cxn ang="0">
                    <a:pos x="T2" y="T3"/>
                  </a:cxn>
                  <a:cxn ang="0">
                    <a:pos x="T4" y="T5"/>
                  </a:cxn>
                </a:cxnLst>
                <a:rect l="0" t="0" r="r" b="b"/>
                <a:pathLst>
                  <a:path w="8" h="10">
                    <a:moveTo>
                      <a:pt x="2" y="0"/>
                    </a:moveTo>
                    <a:cubicBezTo>
                      <a:pt x="0" y="2"/>
                      <a:pt x="2" y="7"/>
                      <a:pt x="4" y="10"/>
                    </a:cubicBezTo>
                    <a:cubicBezTo>
                      <a:pt x="8" y="5"/>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 name="Freeform 75">
                <a:extLst>
                  <a:ext uri="{FF2B5EF4-FFF2-40B4-BE49-F238E27FC236}">
                    <a16:creationId xmlns:a16="http://schemas.microsoft.com/office/drawing/2014/main" id="{CAA4B0B0-CA4E-4D52-914F-FF4BE8D025D4}"/>
                  </a:ext>
                </a:extLst>
              </p:cNvPr>
              <p:cNvSpPr>
                <a:spLocks/>
              </p:cNvSpPr>
              <p:nvPr/>
            </p:nvSpPr>
            <p:spPr bwMode="auto">
              <a:xfrm>
                <a:off x="5745" y="3759"/>
                <a:ext cx="7" cy="5"/>
              </a:xfrm>
              <a:custGeom>
                <a:avLst/>
                <a:gdLst>
                  <a:gd name="T0" fmla="*/ 0 w 3"/>
                  <a:gd name="T1" fmla="*/ 0 h 2"/>
                  <a:gd name="T2" fmla="*/ 3 w 3"/>
                  <a:gd name="T3" fmla="*/ 2 h 2"/>
                  <a:gd name="T4" fmla="*/ 2 w 3"/>
                  <a:gd name="T5" fmla="*/ 1 h 2"/>
                  <a:gd name="T6" fmla="*/ 0 w 3"/>
                  <a:gd name="T7" fmla="*/ 0 h 2"/>
                </a:gdLst>
                <a:ahLst/>
                <a:cxnLst>
                  <a:cxn ang="0">
                    <a:pos x="T0" y="T1"/>
                  </a:cxn>
                  <a:cxn ang="0">
                    <a:pos x="T2" y="T3"/>
                  </a:cxn>
                  <a:cxn ang="0">
                    <a:pos x="T4" y="T5"/>
                  </a:cxn>
                  <a:cxn ang="0">
                    <a:pos x="T6" y="T7"/>
                  </a:cxn>
                </a:cxnLst>
                <a:rect l="0" t="0" r="r" b="b"/>
                <a:pathLst>
                  <a:path w="3" h="2">
                    <a:moveTo>
                      <a:pt x="0" y="0"/>
                    </a:moveTo>
                    <a:cubicBezTo>
                      <a:pt x="1" y="1"/>
                      <a:pt x="2" y="2"/>
                      <a:pt x="3" y="2"/>
                    </a:cubicBezTo>
                    <a:cubicBezTo>
                      <a:pt x="3" y="1"/>
                      <a:pt x="2"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 name="Freeform 76">
                <a:extLst>
                  <a:ext uri="{FF2B5EF4-FFF2-40B4-BE49-F238E27FC236}">
                    <a16:creationId xmlns:a16="http://schemas.microsoft.com/office/drawing/2014/main" id="{50D835D9-6944-4074-92D3-25C38D70029D}"/>
                  </a:ext>
                </a:extLst>
              </p:cNvPr>
              <p:cNvSpPr>
                <a:spLocks/>
              </p:cNvSpPr>
              <p:nvPr/>
            </p:nvSpPr>
            <p:spPr bwMode="auto">
              <a:xfrm>
                <a:off x="5686" y="3721"/>
                <a:ext cx="19" cy="7"/>
              </a:xfrm>
              <a:custGeom>
                <a:avLst/>
                <a:gdLst>
                  <a:gd name="T0" fmla="*/ 0 w 8"/>
                  <a:gd name="T1" fmla="*/ 0 h 3"/>
                  <a:gd name="T2" fmla="*/ 8 w 8"/>
                  <a:gd name="T3" fmla="*/ 3 h 3"/>
                  <a:gd name="T4" fmla="*/ 7 w 8"/>
                  <a:gd name="T5" fmla="*/ 0 h 3"/>
                  <a:gd name="T6" fmla="*/ 5 w 8"/>
                  <a:gd name="T7" fmla="*/ 1 h 3"/>
                  <a:gd name="T8" fmla="*/ 3 w 8"/>
                  <a:gd name="T9" fmla="*/ 1 h 3"/>
                  <a:gd name="T10" fmla="*/ 3 w 8"/>
                  <a:gd name="T11" fmla="*/ 1 h 3"/>
                  <a:gd name="T12" fmla="*/ 0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0" y="0"/>
                    </a:moveTo>
                    <a:cubicBezTo>
                      <a:pt x="2" y="1"/>
                      <a:pt x="5" y="2"/>
                      <a:pt x="8" y="3"/>
                    </a:cubicBezTo>
                    <a:cubicBezTo>
                      <a:pt x="8" y="1"/>
                      <a:pt x="8" y="0"/>
                      <a:pt x="7" y="0"/>
                    </a:cubicBezTo>
                    <a:cubicBezTo>
                      <a:pt x="6" y="0"/>
                      <a:pt x="6" y="1"/>
                      <a:pt x="5" y="1"/>
                    </a:cubicBezTo>
                    <a:cubicBezTo>
                      <a:pt x="5" y="1"/>
                      <a:pt x="4" y="1"/>
                      <a:pt x="3"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 name="Freeform 77">
                <a:extLst>
                  <a:ext uri="{FF2B5EF4-FFF2-40B4-BE49-F238E27FC236}">
                    <a16:creationId xmlns:a16="http://schemas.microsoft.com/office/drawing/2014/main" id="{AAA10952-991E-484F-AD42-D66D81A9FE73}"/>
                  </a:ext>
                </a:extLst>
              </p:cNvPr>
              <p:cNvSpPr>
                <a:spLocks/>
              </p:cNvSpPr>
              <p:nvPr/>
            </p:nvSpPr>
            <p:spPr bwMode="auto">
              <a:xfrm>
                <a:off x="5534" y="3904"/>
                <a:ext cx="19" cy="7"/>
              </a:xfrm>
              <a:custGeom>
                <a:avLst/>
                <a:gdLst>
                  <a:gd name="T0" fmla="*/ 0 w 8"/>
                  <a:gd name="T1" fmla="*/ 0 h 3"/>
                  <a:gd name="T2" fmla="*/ 2 w 8"/>
                  <a:gd name="T3" fmla="*/ 3 h 3"/>
                  <a:gd name="T4" fmla="*/ 4 w 8"/>
                  <a:gd name="T5" fmla="*/ 3 h 3"/>
                  <a:gd name="T6" fmla="*/ 8 w 8"/>
                  <a:gd name="T7" fmla="*/ 1 h 3"/>
                  <a:gd name="T8" fmla="*/ 7 w 8"/>
                  <a:gd name="T9" fmla="*/ 1 h 3"/>
                  <a:gd name="T10" fmla="*/ 0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0" y="0"/>
                    </a:moveTo>
                    <a:cubicBezTo>
                      <a:pt x="2" y="1"/>
                      <a:pt x="0" y="3"/>
                      <a:pt x="2" y="3"/>
                    </a:cubicBezTo>
                    <a:cubicBezTo>
                      <a:pt x="3" y="3"/>
                      <a:pt x="3" y="3"/>
                      <a:pt x="4" y="3"/>
                    </a:cubicBezTo>
                    <a:cubicBezTo>
                      <a:pt x="5" y="2"/>
                      <a:pt x="7" y="2"/>
                      <a:pt x="8" y="1"/>
                    </a:cubicBezTo>
                    <a:cubicBezTo>
                      <a:pt x="8" y="1"/>
                      <a:pt x="8" y="1"/>
                      <a:pt x="7" y="1"/>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 name="Freeform 78">
                <a:extLst>
                  <a:ext uri="{FF2B5EF4-FFF2-40B4-BE49-F238E27FC236}">
                    <a16:creationId xmlns:a16="http://schemas.microsoft.com/office/drawing/2014/main" id="{4F6C0BDE-ED71-4711-8CDA-35D8461F0B7C}"/>
                  </a:ext>
                </a:extLst>
              </p:cNvPr>
              <p:cNvSpPr>
                <a:spLocks noEditPoints="1"/>
              </p:cNvSpPr>
              <p:nvPr/>
            </p:nvSpPr>
            <p:spPr bwMode="auto">
              <a:xfrm>
                <a:off x="5338" y="3686"/>
                <a:ext cx="598" cy="192"/>
              </a:xfrm>
              <a:custGeom>
                <a:avLst/>
                <a:gdLst>
                  <a:gd name="T0" fmla="*/ 12 w 253"/>
                  <a:gd name="T1" fmla="*/ 34 h 81"/>
                  <a:gd name="T2" fmla="*/ 12 w 253"/>
                  <a:gd name="T3" fmla="*/ 34 h 81"/>
                  <a:gd name="T4" fmla="*/ 48 w 253"/>
                  <a:gd name="T5" fmla="*/ 5 h 81"/>
                  <a:gd name="T6" fmla="*/ 16 w 253"/>
                  <a:gd name="T7" fmla="*/ 19 h 81"/>
                  <a:gd name="T8" fmla="*/ 14 w 253"/>
                  <a:gd name="T9" fmla="*/ 29 h 81"/>
                  <a:gd name="T10" fmla="*/ 12 w 253"/>
                  <a:gd name="T11" fmla="*/ 29 h 81"/>
                  <a:gd name="T12" fmla="*/ 5 w 253"/>
                  <a:gd name="T13" fmla="*/ 31 h 81"/>
                  <a:gd name="T14" fmla="*/ 6 w 253"/>
                  <a:gd name="T15" fmla="*/ 33 h 81"/>
                  <a:gd name="T16" fmla="*/ 9 w 253"/>
                  <a:gd name="T17" fmla="*/ 33 h 81"/>
                  <a:gd name="T18" fmla="*/ 12 w 253"/>
                  <a:gd name="T19" fmla="*/ 34 h 81"/>
                  <a:gd name="T20" fmla="*/ 20 w 253"/>
                  <a:gd name="T21" fmla="*/ 31 h 81"/>
                  <a:gd name="T22" fmla="*/ 26 w 253"/>
                  <a:gd name="T23" fmla="*/ 25 h 81"/>
                  <a:gd name="T24" fmla="*/ 33 w 253"/>
                  <a:gd name="T25" fmla="*/ 23 h 81"/>
                  <a:gd name="T26" fmla="*/ 39 w 253"/>
                  <a:gd name="T27" fmla="*/ 21 h 81"/>
                  <a:gd name="T28" fmla="*/ 55 w 253"/>
                  <a:gd name="T29" fmla="*/ 12 h 81"/>
                  <a:gd name="T30" fmla="*/ 65 w 253"/>
                  <a:gd name="T31" fmla="*/ 12 h 81"/>
                  <a:gd name="T32" fmla="*/ 68 w 253"/>
                  <a:gd name="T33" fmla="*/ 12 h 81"/>
                  <a:gd name="T34" fmla="*/ 74 w 253"/>
                  <a:gd name="T35" fmla="*/ 12 h 81"/>
                  <a:gd name="T36" fmla="*/ 74 w 253"/>
                  <a:gd name="T37" fmla="*/ 18 h 81"/>
                  <a:gd name="T38" fmla="*/ 73 w 253"/>
                  <a:gd name="T39" fmla="*/ 18 h 81"/>
                  <a:gd name="T40" fmla="*/ 72 w 253"/>
                  <a:gd name="T41" fmla="*/ 18 h 81"/>
                  <a:gd name="T42" fmla="*/ 69 w 253"/>
                  <a:gd name="T43" fmla="*/ 18 h 81"/>
                  <a:gd name="T44" fmla="*/ 74 w 253"/>
                  <a:gd name="T45" fmla="*/ 24 h 81"/>
                  <a:gd name="T46" fmla="*/ 88 w 253"/>
                  <a:gd name="T47" fmla="*/ 22 h 81"/>
                  <a:gd name="T48" fmla="*/ 96 w 253"/>
                  <a:gd name="T49" fmla="*/ 27 h 81"/>
                  <a:gd name="T50" fmla="*/ 99 w 253"/>
                  <a:gd name="T51" fmla="*/ 27 h 81"/>
                  <a:gd name="T52" fmla="*/ 115 w 253"/>
                  <a:gd name="T53" fmla="*/ 33 h 81"/>
                  <a:gd name="T54" fmla="*/ 146 w 253"/>
                  <a:gd name="T55" fmla="*/ 39 h 81"/>
                  <a:gd name="T56" fmla="*/ 151 w 253"/>
                  <a:gd name="T57" fmla="*/ 52 h 81"/>
                  <a:gd name="T58" fmla="*/ 175 w 253"/>
                  <a:gd name="T59" fmla="*/ 61 h 81"/>
                  <a:gd name="T60" fmla="*/ 176 w 253"/>
                  <a:gd name="T61" fmla="*/ 60 h 81"/>
                  <a:gd name="T62" fmla="*/ 178 w 253"/>
                  <a:gd name="T63" fmla="*/ 60 h 81"/>
                  <a:gd name="T64" fmla="*/ 181 w 253"/>
                  <a:gd name="T65" fmla="*/ 70 h 81"/>
                  <a:gd name="T66" fmla="*/ 169 w 253"/>
                  <a:gd name="T67" fmla="*/ 80 h 81"/>
                  <a:gd name="T68" fmla="*/ 202 w 253"/>
                  <a:gd name="T69" fmla="*/ 79 h 81"/>
                  <a:gd name="T70" fmla="*/ 219 w 253"/>
                  <a:gd name="T71" fmla="*/ 79 h 81"/>
                  <a:gd name="T72" fmla="*/ 227 w 253"/>
                  <a:gd name="T73" fmla="*/ 80 h 81"/>
                  <a:gd name="T74" fmla="*/ 231 w 253"/>
                  <a:gd name="T75" fmla="*/ 80 h 81"/>
                  <a:gd name="T76" fmla="*/ 242 w 253"/>
                  <a:gd name="T77" fmla="*/ 76 h 81"/>
                  <a:gd name="T78" fmla="*/ 245 w 253"/>
                  <a:gd name="T79" fmla="*/ 76 h 81"/>
                  <a:gd name="T80" fmla="*/ 252 w 253"/>
                  <a:gd name="T81" fmla="*/ 73 h 81"/>
                  <a:gd name="T82" fmla="*/ 227 w 253"/>
                  <a:gd name="T83" fmla="*/ 60 h 81"/>
                  <a:gd name="T84" fmla="*/ 213 w 253"/>
                  <a:gd name="T85" fmla="*/ 50 h 81"/>
                  <a:gd name="T86" fmla="*/ 209 w 253"/>
                  <a:gd name="T87" fmla="*/ 50 h 81"/>
                  <a:gd name="T88" fmla="*/ 194 w 253"/>
                  <a:gd name="T89" fmla="*/ 45 h 81"/>
                  <a:gd name="T90" fmla="*/ 182 w 253"/>
                  <a:gd name="T91" fmla="*/ 37 h 81"/>
                  <a:gd name="T92" fmla="*/ 177 w 253"/>
                  <a:gd name="T93" fmla="*/ 34 h 81"/>
                  <a:gd name="T94" fmla="*/ 164 w 253"/>
                  <a:gd name="T95" fmla="*/ 29 h 81"/>
                  <a:gd name="T96" fmla="*/ 137 w 253"/>
                  <a:gd name="T97" fmla="*/ 18 h 81"/>
                  <a:gd name="T98" fmla="*/ 111 w 253"/>
                  <a:gd name="T99" fmla="*/ 7 h 81"/>
                  <a:gd name="T100" fmla="*/ 101 w 253"/>
                  <a:gd name="T101" fmla="*/ 2 h 81"/>
                  <a:gd name="T102" fmla="*/ 94 w 253"/>
                  <a:gd name="T103" fmla="*/ 3 h 81"/>
                  <a:gd name="T104" fmla="*/ 87 w 253"/>
                  <a:gd name="T105" fmla="*/ 2 h 81"/>
                  <a:gd name="T106" fmla="*/ 83 w 253"/>
                  <a:gd name="T107" fmla="*/ 2 h 81"/>
                  <a:gd name="T108" fmla="*/ 68 w 253"/>
                  <a:gd name="T10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3" h="81">
                    <a:moveTo>
                      <a:pt x="12" y="34"/>
                    </a:moveTo>
                    <a:cubicBezTo>
                      <a:pt x="12" y="34"/>
                      <a:pt x="12" y="34"/>
                      <a:pt x="12" y="34"/>
                    </a:cubicBezTo>
                    <a:cubicBezTo>
                      <a:pt x="12" y="34"/>
                      <a:pt x="12" y="34"/>
                      <a:pt x="12" y="34"/>
                    </a:cubicBezTo>
                    <a:cubicBezTo>
                      <a:pt x="12" y="34"/>
                      <a:pt x="12" y="34"/>
                      <a:pt x="12" y="34"/>
                    </a:cubicBezTo>
                    <a:moveTo>
                      <a:pt x="68" y="0"/>
                    </a:moveTo>
                    <a:cubicBezTo>
                      <a:pt x="61" y="2"/>
                      <a:pt x="55" y="3"/>
                      <a:pt x="48" y="5"/>
                    </a:cubicBezTo>
                    <a:cubicBezTo>
                      <a:pt x="42" y="6"/>
                      <a:pt x="35" y="8"/>
                      <a:pt x="29" y="10"/>
                    </a:cubicBezTo>
                    <a:cubicBezTo>
                      <a:pt x="24" y="11"/>
                      <a:pt x="18" y="15"/>
                      <a:pt x="16" y="19"/>
                    </a:cubicBezTo>
                    <a:cubicBezTo>
                      <a:pt x="14" y="22"/>
                      <a:pt x="16" y="25"/>
                      <a:pt x="17" y="28"/>
                    </a:cubicBezTo>
                    <a:cubicBezTo>
                      <a:pt x="16" y="29"/>
                      <a:pt x="15" y="29"/>
                      <a:pt x="14" y="29"/>
                    </a:cubicBezTo>
                    <a:cubicBezTo>
                      <a:pt x="14" y="29"/>
                      <a:pt x="13" y="29"/>
                      <a:pt x="13" y="29"/>
                    </a:cubicBezTo>
                    <a:cubicBezTo>
                      <a:pt x="12" y="29"/>
                      <a:pt x="12" y="29"/>
                      <a:pt x="12" y="29"/>
                    </a:cubicBezTo>
                    <a:cubicBezTo>
                      <a:pt x="11" y="29"/>
                      <a:pt x="10" y="29"/>
                      <a:pt x="9" y="29"/>
                    </a:cubicBezTo>
                    <a:cubicBezTo>
                      <a:pt x="8" y="29"/>
                      <a:pt x="7" y="30"/>
                      <a:pt x="5" y="31"/>
                    </a:cubicBezTo>
                    <a:cubicBezTo>
                      <a:pt x="4" y="31"/>
                      <a:pt x="0" y="31"/>
                      <a:pt x="3" y="33"/>
                    </a:cubicBezTo>
                    <a:cubicBezTo>
                      <a:pt x="3" y="33"/>
                      <a:pt x="5" y="33"/>
                      <a:pt x="6" y="33"/>
                    </a:cubicBezTo>
                    <a:cubicBezTo>
                      <a:pt x="6" y="33"/>
                      <a:pt x="7" y="33"/>
                      <a:pt x="8" y="33"/>
                    </a:cubicBezTo>
                    <a:cubicBezTo>
                      <a:pt x="8" y="33"/>
                      <a:pt x="9" y="33"/>
                      <a:pt x="9" y="33"/>
                    </a:cubicBezTo>
                    <a:cubicBezTo>
                      <a:pt x="9" y="33"/>
                      <a:pt x="9" y="33"/>
                      <a:pt x="9" y="33"/>
                    </a:cubicBezTo>
                    <a:cubicBezTo>
                      <a:pt x="10" y="33"/>
                      <a:pt x="12" y="34"/>
                      <a:pt x="12" y="34"/>
                    </a:cubicBezTo>
                    <a:cubicBezTo>
                      <a:pt x="12" y="34"/>
                      <a:pt x="12" y="34"/>
                      <a:pt x="12" y="34"/>
                    </a:cubicBezTo>
                    <a:cubicBezTo>
                      <a:pt x="14" y="34"/>
                      <a:pt x="17" y="32"/>
                      <a:pt x="20" y="31"/>
                    </a:cubicBezTo>
                    <a:cubicBezTo>
                      <a:pt x="22" y="31"/>
                      <a:pt x="22" y="31"/>
                      <a:pt x="23" y="30"/>
                    </a:cubicBezTo>
                    <a:cubicBezTo>
                      <a:pt x="25" y="28"/>
                      <a:pt x="23" y="25"/>
                      <a:pt x="26" y="25"/>
                    </a:cubicBezTo>
                    <a:cubicBezTo>
                      <a:pt x="29" y="24"/>
                      <a:pt x="31" y="23"/>
                      <a:pt x="33" y="23"/>
                    </a:cubicBezTo>
                    <a:cubicBezTo>
                      <a:pt x="33" y="23"/>
                      <a:pt x="33" y="23"/>
                      <a:pt x="33" y="23"/>
                    </a:cubicBezTo>
                    <a:cubicBezTo>
                      <a:pt x="35" y="23"/>
                      <a:pt x="36" y="23"/>
                      <a:pt x="36" y="23"/>
                    </a:cubicBezTo>
                    <a:cubicBezTo>
                      <a:pt x="37" y="23"/>
                      <a:pt x="38" y="23"/>
                      <a:pt x="39" y="21"/>
                    </a:cubicBezTo>
                    <a:cubicBezTo>
                      <a:pt x="42" y="19"/>
                      <a:pt x="45" y="17"/>
                      <a:pt x="48" y="16"/>
                    </a:cubicBezTo>
                    <a:cubicBezTo>
                      <a:pt x="49" y="15"/>
                      <a:pt x="53" y="12"/>
                      <a:pt x="55" y="12"/>
                    </a:cubicBezTo>
                    <a:cubicBezTo>
                      <a:pt x="55" y="12"/>
                      <a:pt x="55" y="12"/>
                      <a:pt x="55" y="12"/>
                    </a:cubicBezTo>
                    <a:cubicBezTo>
                      <a:pt x="58" y="12"/>
                      <a:pt x="62" y="12"/>
                      <a:pt x="65" y="12"/>
                    </a:cubicBezTo>
                    <a:cubicBezTo>
                      <a:pt x="65" y="12"/>
                      <a:pt x="65" y="12"/>
                      <a:pt x="66" y="12"/>
                    </a:cubicBezTo>
                    <a:cubicBezTo>
                      <a:pt x="66" y="12"/>
                      <a:pt x="67" y="12"/>
                      <a:pt x="68" y="12"/>
                    </a:cubicBezTo>
                    <a:cubicBezTo>
                      <a:pt x="68" y="12"/>
                      <a:pt x="69" y="12"/>
                      <a:pt x="70" y="12"/>
                    </a:cubicBezTo>
                    <a:cubicBezTo>
                      <a:pt x="71" y="12"/>
                      <a:pt x="73" y="12"/>
                      <a:pt x="74" y="12"/>
                    </a:cubicBezTo>
                    <a:cubicBezTo>
                      <a:pt x="77" y="14"/>
                      <a:pt x="80" y="16"/>
                      <a:pt x="75" y="18"/>
                    </a:cubicBezTo>
                    <a:cubicBezTo>
                      <a:pt x="75" y="18"/>
                      <a:pt x="74" y="18"/>
                      <a:pt x="74" y="18"/>
                    </a:cubicBezTo>
                    <a:cubicBezTo>
                      <a:pt x="73" y="18"/>
                      <a:pt x="73" y="18"/>
                      <a:pt x="73" y="18"/>
                    </a:cubicBezTo>
                    <a:cubicBezTo>
                      <a:pt x="73" y="18"/>
                      <a:pt x="73" y="18"/>
                      <a:pt x="73" y="18"/>
                    </a:cubicBezTo>
                    <a:cubicBezTo>
                      <a:pt x="73" y="18"/>
                      <a:pt x="73" y="18"/>
                      <a:pt x="72" y="18"/>
                    </a:cubicBezTo>
                    <a:cubicBezTo>
                      <a:pt x="72" y="18"/>
                      <a:pt x="72" y="18"/>
                      <a:pt x="72" y="18"/>
                    </a:cubicBezTo>
                    <a:cubicBezTo>
                      <a:pt x="72" y="18"/>
                      <a:pt x="71" y="18"/>
                      <a:pt x="71" y="18"/>
                    </a:cubicBezTo>
                    <a:cubicBezTo>
                      <a:pt x="70" y="18"/>
                      <a:pt x="70" y="18"/>
                      <a:pt x="69" y="18"/>
                    </a:cubicBezTo>
                    <a:cubicBezTo>
                      <a:pt x="68" y="18"/>
                      <a:pt x="66" y="18"/>
                      <a:pt x="67" y="19"/>
                    </a:cubicBezTo>
                    <a:cubicBezTo>
                      <a:pt x="67" y="21"/>
                      <a:pt x="73" y="24"/>
                      <a:pt x="74" y="24"/>
                    </a:cubicBezTo>
                    <a:cubicBezTo>
                      <a:pt x="75" y="24"/>
                      <a:pt x="76" y="24"/>
                      <a:pt x="77" y="24"/>
                    </a:cubicBezTo>
                    <a:cubicBezTo>
                      <a:pt x="81" y="24"/>
                      <a:pt x="87" y="23"/>
                      <a:pt x="88" y="22"/>
                    </a:cubicBezTo>
                    <a:cubicBezTo>
                      <a:pt x="90" y="25"/>
                      <a:pt x="90" y="27"/>
                      <a:pt x="94" y="27"/>
                    </a:cubicBezTo>
                    <a:cubicBezTo>
                      <a:pt x="95" y="27"/>
                      <a:pt x="95" y="27"/>
                      <a:pt x="96" y="27"/>
                    </a:cubicBezTo>
                    <a:cubicBezTo>
                      <a:pt x="96" y="27"/>
                      <a:pt x="97" y="27"/>
                      <a:pt x="97" y="27"/>
                    </a:cubicBezTo>
                    <a:cubicBezTo>
                      <a:pt x="98" y="27"/>
                      <a:pt x="98" y="27"/>
                      <a:pt x="99" y="27"/>
                    </a:cubicBezTo>
                    <a:cubicBezTo>
                      <a:pt x="101" y="27"/>
                      <a:pt x="104" y="27"/>
                      <a:pt x="106" y="28"/>
                    </a:cubicBezTo>
                    <a:cubicBezTo>
                      <a:pt x="109" y="29"/>
                      <a:pt x="112" y="32"/>
                      <a:pt x="115" y="33"/>
                    </a:cubicBezTo>
                    <a:cubicBezTo>
                      <a:pt x="122" y="36"/>
                      <a:pt x="128" y="37"/>
                      <a:pt x="135" y="38"/>
                    </a:cubicBezTo>
                    <a:cubicBezTo>
                      <a:pt x="139" y="38"/>
                      <a:pt x="142" y="39"/>
                      <a:pt x="146" y="39"/>
                    </a:cubicBezTo>
                    <a:cubicBezTo>
                      <a:pt x="149" y="40"/>
                      <a:pt x="150" y="43"/>
                      <a:pt x="151" y="46"/>
                    </a:cubicBezTo>
                    <a:cubicBezTo>
                      <a:pt x="152" y="48"/>
                      <a:pt x="151" y="50"/>
                      <a:pt x="151" y="52"/>
                    </a:cubicBezTo>
                    <a:cubicBezTo>
                      <a:pt x="152" y="53"/>
                      <a:pt x="154" y="54"/>
                      <a:pt x="155" y="55"/>
                    </a:cubicBezTo>
                    <a:cubicBezTo>
                      <a:pt x="161" y="59"/>
                      <a:pt x="167" y="60"/>
                      <a:pt x="175" y="61"/>
                    </a:cubicBezTo>
                    <a:cubicBezTo>
                      <a:pt x="175" y="61"/>
                      <a:pt x="175" y="61"/>
                      <a:pt x="175" y="61"/>
                    </a:cubicBezTo>
                    <a:cubicBezTo>
                      <a:pt x="175" y="61"/>
                      <a:pt x="176" y="60"/>
                      <a:pt x="176" y="60"/>
                    </a:cubicBezTo>
                    <a:cubicBezTo>
                      <a:pt x="177" y="60"/>
                      <a:pt x="177" y="60"/>
                      <a:pt x="178" y="60"/>
                    </a:cubicBezTo>
                    <a:cubicBezTo>
                      <a:pt x="178" y="60"/>
                      <a:pt x="178" y="60"/>
                      <a:pt x="178" y="60"/>
                    </a:cubicBezTo>
                    <a:cubicBezTo>
                      <a:pt x="179" y="60"/>
                      <a:pt x="181" y="63"/>
                      <a:pt x="181" y="63"/>
                    </a:cubicBezTo>
                    <a:cubicBezTo>
                      <a:pt x="185" y="66"/>
                      <a:pt x="184" y="67"/>
                      <a:pt x="181" y="70"/>
                    </a:cubicBezTo>
                    <a:cubicBezTo>
                      <a:pt x="178" y="72"/>
                      <a:pt x="174" y="74"/>
                      <a:pt x="172" y="77"/>
                    </a:cubicBezTo>
                    <a:cubicBezTo>
                      <a:pt x="171" y="77"/>
                      <a:pt x="170" y="79"/>
                      <a:pt x="169" y="80"/>
                    </a:cubicBezTo>
                    <a:cubicBezTo>
                      <a:pt x="171" y="81"/>
                      <a:pt x="174" y="81"/>
                      <a:pt x="177" y="81"/>
                    </a:cubicBezTo>
                    <a:cubicBezTo>
                      <a:pt x="185" y="81"/>
                      <a:pt x="194" y="79"/>
                      <a:pt x="202" y="79"/>
                    </a:cubicBezTo>
                    <a:cubicBezTo>
                      <a:pt x="204" y="78"/>
                      <a:pt x="207" y="78"/>
                      <a:pt x="209" y="78"/>
                    </a:cubicBezTo>
                    <a:cubicBezTo>
                      <a:pt x="212" y="78"/>
                      <a:pt x="215" y="79"/>
                      <a:pt x="219" y="79"/>
                    </a:cubicBezTo>
                    <a:cubicBezTo>
                      <a:pt x="221" y="79"/>
                      <a:pt x="223" y="80"/>
                      <a:pt x="225" y="80"/>
                    </a:cubicBezTo>
                    <a:cubicBezTo>
                      <a:pt x="226" y="80"/>
                      <a:pt x="227" y="80"/>
                      <a:pt x="227" y="80"/>
                    </a:cubicBezTo>
                    <a:cubicBezTo>
                      <a:pt x="228" y="79"/>
                      <a:pt x="229" y="78"/>
                      <a:pt x="230" y="78"/>
                    </a:cubicBezTo>
                    <a:cubicBezTo>
                      <a:pt x="230" y="78"/>
                      <a:pt x="230" y="78"/>
                      <a:pt x="231" y="80"/>
                    </a:cubicBezTo>
                    <a:cubicBezTo>
                      <a:pt x="233" y="78"/>
                      <a:pt x="236" y="76"/>
                      <a:pt x="239" y="76"/>
                    </a:cubicBezTo>
                    <a:cubicBezTo>
                      <a:pt x="240" y="76"/>
                      <a:pt x="241" y="76"/>
                      <a:pt x="242" y="76"/>
                    </a:cubicBezTo>
                    <a:cubicBezTo>
                      <a:pt x="243" y="76"/>
                      <a:pt x="243" y="76"/>
                      <a:pt x="244" y="76"/>
                    </a:cubicBezTo>
                    <a:cubicBezTo>
                      <a:pt x="244" y="76"/>
                      <a:pt x="245" y="76"/>
                      <a:pt x="245" y="76"/>
                    </a:cubicBezTo>
                    <a:cubicBezTo>
                      <a:pt x="246" y="76"/>
                      <a:pt x="247" y="76"/>
                      <a:pt x="248" y="75"/>
                    </a:cubicBezTo>
                    <a:cubicBezTo>
                      <a:pt x="249" y="75"/>
                      <a:pt x="253" y="73"/>
                      <a:pt x="252" y="73"/>
                    </a:cubicBezTo>
                    <a:cubicBezTo>
                      <a:pt x="249" y="68"/>
                      <a:pt x="242" y="65"/>
                      <a:pt x="237" y="62"/>
                    </a:cubicBezTo>
                    <a:cubicBezTo>
                      <a:pt x="233" y="61"/>
                      <a:pt x="231" y="60"/>
                      <a:pt x="227" y="60"/>
                    </a:cubicBezTo>
                    <a:cubicBezTo>
                      <a:pt x="222" y="59"/>
                      <a:pt x="222" y="60"/>
                      <a:pt x="220" y="56"/>
                    </a:cubicBezTo>
                    <a:cubicBezTo>
                      <a:pt x="219" y="52"/>
                      <a:pt x="217" y="50"/>
                      <a:pt x="213" y="50"/>
                    </a:cubicBezTo>
                    <a:cubicBezTo>
                      <a:pt x="213" y="50"/>
                      <a:pt x="212" y="50"/>
                      <a:pt x="212" y="50"/>
                    </a:cubicBezTo>
                    <a:cubicBezTo>
                      <a:pt x="211" y="50"/>
                      <a:pt x="210" y="50"/>
                      <a:pt x="209" y="50"/>
                    </a:cubicBezTo>
                    <a:cubicBezTo>
                      <a:pt x="207" y="50"/>
                      <a:pt x="206" y="50"/>
                      <a:pt x="203" y="47"/>
                    </a:cubicBezTo>
                    <a:cubicBezTo>
                      <a:pt x="201" y="46"/>
                      <a:pt x="197" y="46"/>
                      <a:pt x="194" y="45"/>
                    </a:cubicBezTo>
                    <a:cubicBezTo>
                      <a:pt x="192" y="44"/>
                      <a:pt x="188" y="43"/>
                      <a:pt x="187" y="41"/>
                    </a:cubicBezTo>
                    <a:cubicBezTo>
                      <a:pt x="185" y="40"/>
                      <a:pt x="184" y="38"/>
                      <a:pt x="182" y="37"/>
                    </a:cubicBezTo>
                    <a:cubicBezTo>
                      <a:pt x="182" y="36"/>
                      <a:pt x="180" y="35"/>
                      <a:pt x="179" y="35"/>
                    </a:cubicBezTo>
                    <a:cubicBezTo>
                      <a:pt x="178" y="34"/>
                      <a:pt x="177" y="34"/>
                      <a:pt x="177" y="34"/>
                    </a:cubicBezTo>
                    <a:cubicBezTo>
                      <a:pt x="176" y="34"/>
                      <a:pt x="177" y="35"/>
                      <a:pt x="177" y="37"/>
                    </a:cubicBezTo>
                    <a:cubicBezTo>
                      <a:pt x="172" y="34"/>
                      <a:pt x="168" y="32"/>
                      <a:pt x="164" y="29"/>
                    </a:cubicBezTo>
                    <a:cubicBezTo>
                      <a:pt x="160" y="26"/>
                      <a:pt x="156" y="24"/>
                      <a:pt x="151" y="23"/>
                    </a:cubicBezTo>
                    <a:cubicBezTo>
                      <a:pt x="146" y="21"/>
                      <a:pt x="142" y="19"/>
                      <a:pt x="137" y="18"/>
                    </a:cubicBezTo>
                    <a:cubicBezTo>
                      <a:pt x="130" y="17"/>
                      <a:pt x="128" y="16"/>
                      <a:pt x="125" y="10"/>
                    </a:cubicBezTo>
                    <a:cubicBezTo>
                      <a:pt x="123" y="7"/>
                      <a:pt x="114" y="8"/>
                      <a:pt x="111" y="7"/>
                    </a:cubicBezTo>
                    <a:cubicBezTo>
                      <a:pt x="108" y="6"/>
                      <a:pt x="106" y="4"/>
                      <a:pt x="103" y="3"/>
                    </a:cubicBezTo>
                    <a:cubicBezTo>
                      <a:pt x="103" y="3"/>
                      <a:pt x="102" y="2"/>
                      <a:pt x="101" y="2"/>
                    </a:cubicBezTo>
                    <a:cubicBezTo>
                      <a:pt x="99" y="2"/>
                      <a:pt x="98" y="3"/>
                      <a:pt x="97" y="3"/>
                    </a:cubicBezTo>
                    <a:cubicBezTo>
                      <a:pt x="96" y="3"/>
                      <a:pt x="95" y="3"/>
                      <a:pt x="94" y="3"/>
                    </a:cubicBezTo>
                    <a:cubicBezTo>
                      <a:pt x="92" y="3"/>
                      <a:pt x="91" y="3"/>
                      <a:pt x="89" y="2"/>
                    </a:cubicBezTo>
                    <a:cubicBezTo>
                      <a:pt x="88" y="2"/>
                      <a:pt x="87" y="2"/>
                      <a:pt x="87" y="2"/>
                    </a:cubicBezTo>
                    <a:cubicBezTo>
                      <a:pt x="86" y="2"/>
                      <a:pt x="86" y="2"/>
                      <a:pt x="85" y="2"/>
                    </a:cubicBezTo>
                    <a:cubicBezTo>
                      <a:pt x="84" y="2"/>
                      <a:pt x="84" y="2"/>
                      <a:pt x="83" y="2"/>
                    </a:cubicBezTo>
                    <a:cubicBezTo>
                      <a:pt x="83" y="2"/>
                      <a:pt x="83" y="2"/>
                      <a:pt x="83" y="2"/>
                    </a:cubicBezTo>
                    <a:cubicBezTo>
                      <a:pt x="78" y="2"/>
                      <a:pt x="73" y="0"/>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 name="Freeform 79">
                <a:extLst>
                  <a:ext uri="{FF2B5EF4-FFF2-40B4-BE49-F238E27FC236}">
                    <a16:creationId xmlns:a16="http://schemas.microsoft.com/office/drawing/2014/main" id="{A9739CE9-CDA6-4D68-B925-A15871023304}"/>
                  </a:ext>
                </a:extLst>
              </p:cNvPr>
              <p:cNvSpPr>
                <a:spLocks/>
              </p:cNvSpPr>
              <p:nvPr/>
            </p:nvSpPr>
            <p:spPr bwMode="auto">
              <a:xfrm>
                <a:off x="5638" y="3710"/>
                <a:ext cx="5" cy="4"/>
              </a:xfrm>
              <a:custGeom>
                <a:avLst/>
                <a:gdLst>
                  <a:gd name="T0" fmla="*/ 0 w 2"/>
                  <a:gd name="T1" fmla="*/ 0 h 2"/>
                  <a:gd name="T2" fmla="*/ 2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cubicBezTo>
                      <a:pt x="1" y="1"/>
                      <a:pt x="1" y="2"/>
                      <a:pt x="2" y="2"/>
                    </a:cubicBezTo>
                    <a:cubicBezTo>
                      <a:pt x="2" y="2"/>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 name="Freeform 80">
                <a:extLst>
                  <a:ext uri="{FF2B5EF4-FFF2-40B4-BE49-F238E27FC236}">
                    <a16:creationId xmlns:a16="http://schemas.microsoft.com/office/drawing/2014/main" id="{5B7C20CF-E1BE-41D2-88BD-98D124592CBC}"/>
                  </a:ext>
                </a:extLst>
              </p:cNvPr>
              <p:cNvSpPr>
                <a:spLocks/>
              </p:cNvSpPr>
              <p:nvPr/>
            </p:nvSpPr>
            <p:spPr bwMode="auto">
              <a:xfrm>
                <a:off x="5634" y="3707"/>
                <a:ext cx="4" cy="3"/>
              </a:xfrm>
              <a:custGeom>
                <a:avLst/>
                <a:gdLst>
                  <a:gd name="T0" fmla="*/ 1 w 2"/>
                  <a:gd name="T1" fmla="*/ 0 h 1"/>
                  <a:gd name="T2" fmla="*/ 0 w 2"/>
                  <a:gd name="T3" fmla="*/ 0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1" y="0"/>
                      <a:pt x="0" y="0"/>
                    </a:cubicBezTo>
                    <a:cubicBezTo>
                      <a:pt x="1" y="1"/>
                      <a:pt x="1" y="1"/>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 name="Freeform 81">
                <a:extLst>
                  <a:ext uri="{FF2B5EF4-FFF2-40B4-BE49-F238E27FC236}">
                    <a16:creationId xmlns:a16="http://schemas.microsoft.com/office/drawing/2014/main" id="{DC5235A5-2481-43E3-B43A-F191D68B5DC8}"/>
                  </a:ext>
                </a:extLst>
              </p:cNvPr>
              <p:cNvSpPr>
                <a:spLocks noEditPoints="1"/>
              </p:cNvSpPr>
              <p:nvPr/>
            </p:nvSpPr>
            <p:spPr bwMode="auto">
              <a:xfrm>
                <a:off x="5643" y="3714"/>
                <a:ext cx="7" cy="5"/>
              </a:xfrm>
              <a:custGeom>
                <a:avLst/>
                <a:gdLst>
                  <a:gd name="T0" fmla="*/ 3 w 3"/>
                  <a:gd name="T1" fmla="*/ 1 h 2"/>
                  <a:gd name="T2" fmla="*/ 3 w 3"/>
                  <a:gd name="T3" fmla="*/ 2 h 2"/>
                  <a:gd name="T4" fmla="*/ 3 w 3"/>
                  <a:gd name="T5" fmla="*/ 1 h 2"/>
                  <a:gd name="T6" fmla="*/ 0 w 3"/>
                  <a:gd name="T7" fmla="*/ 0 h 2"/>
                  <a:gd name="T8" fmla="*/ 3 w 3"/>
                  <a:gd name="T9" fmla="*/ 1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1"/>
                      <a:pt x="3" y="2"/>
                      <a:pt x="3" y="2"/>
                    </a:cubicBezTo>
                    <a:cubicBezTo>
                      <a:pt x="3" y="2"/>
                      <a:pt x="3" y="1"/>
                      <a:pt x="3" y="1"/>
                    </a:cubicBezTo>
                    <a:moveTo>
                      <a:pt x="0" y="0"/>
                    </a:moveTo>
                    <a:cubicBezTo>
                      <a:pt x="1" y="0"/>
                      <a:pt x="2"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 name="Freeform 82">
                <a:extLst>
                  <a:ext uri="{FF2B5EF4-FFF2-40B4-BE49-F238E27FC236}">
                    <a16:creationId xmlns:a16="http://schemas.microsoft.com/office/drawing/2014/main" id="{E1A28143-C534-4965-855E-DF72616808ED}"/>
                  </a:ext>
                </a:extLst>
              </p:cNvPr>
              <p:cNvSpPr>
                <a:spLocks/>
              </p:cNvSpPr>
              <p:nvPr/>
            </p:nvSpPr>
            <p:spPr bwMode="auto">
              <a:xfrm>
                <a:off x="5712" y="3738"/>
                <a:ext cx="30" cy="21"/>
              </a:xfrm>
              <a:custGeom>
                <a:avLst/>
                <a:gdLst>
                  <a:gd name="T0" fmla="*/ 5 w 13"/>
                  <a:gd name="T1" fmla="*/ 0 h 9"/>
                  <a:gd name="T2" fmla="*/ 12 w 13"/>
                  <a:gd name="T3" fmla="*/ 9 h 9"/>
                  <a:gd name="T4" fmla="*/ 13 w 13"/>
                  <a:gd name="T5" fmla="*/ 6 h 9"/>
                  <a:gd name="T6" fmla="*/ 10 w 13"/>
                  <a:gd name="T7" fmla="*/ 4 h 9"/>
                  <a:gd name="T8" fmla="*/ 9 w 13"/>
                  <a:gd name="T9" fmla="*/ 6 h 9"/>
                  <a:gd name="T10" fmla="*/ 9 w 13"/>
                  <a:gd name="T11" fmla="*/ 4 h 9"/>
                  <a:gd name="T12" fmla="*/ 8 w 13"/>
                  <a:gd name="T13" fmla="*/ 4 h 9"/>
                  <a:gd name="T14" fmla="*/ 7 w 13"/>
                  <a:gd name="T15" fmla="*/ 1 h 9"/>
                  <a:gd name="T16" fmla="*/ 7 w 13"/>
                  <a:gd name="T17" fmla="*/ 1 h 9"/>
                  <a:gd name="T18" fmla="*/ 6 w 13"/>
                  <a:gd name="T19" fmla="*/ 1 h 9"/>
                  <a:gd name="T20" fmla="*/ 6 w 13"/>
                  <a:gd name="T21" fmla="*/ 1 h 9"/>
                  <a:gd name="T22" fmla="*/ 5 w 13"/>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5" y="0"/>
                    </a:moveTo>
                    <a:cubicBezTo>
                      <a:pt x="0" y="2"/>
                      <a:pt x="11" y="8"/>
                      <a:pt x="12" y="9"/>
                    </a:cubicBezTo>
                    <a:cubicBezTo>
                      <a:pt x="12" y="8"/>
                      <a:pt x="13" y="7"/>
                      <a:pt x="13" y="6"/>
                    </a:cubicBezTo>
                    <a:cubicBezTo>
                      <a:pt x="12" y="5"/>
                      <a:pt x="11" y="5"/>
                      <a:pt x="10" y="4"/>
                    </a:cubicBezTo>
                    <a:cubicBezTo>
                      <a:pt x="10" y="5"/>
                      <a:pt x="10" y="5"/>
                      <a:pt x="9" y="6"/>
                    </a:cubicBezTo>
                    <a:cubicBezTo>
                      <a:pt x="9" y="5"/>
                      <a:pt x="10" y="4"/>
                      <a:pt x="9" y="4"/>
                    </a:cubicBezTo>
                    <a:cubicBezTo>
                      <a:pt x="9" y="4"/>
                      <a:pt x="9" y="4"/>
                      <a:pt x="8" y="4"/>
                    </a:cubicBezTo>
                    <a:cubicBezTo>
                      <a:pt x="9" y="2"/>
                      <a:pt x="7" y="3"/>
                      <a:pt x="7" y="1"/>
                    </a:cubicBezTo>
                    <a:cubicBezTo>
                      <a:pt x="7" y="1"/>
                      <a:pt x="7" y="1"/>
                      <a:pt x="7" y="1"/>
                    </a:cubicBezTo>
                    <a:cubicBezTo>
                      <a:pt x="6" y="1"/>
                      <a:pt x="6" y="1"/>
                      <a:pt x="6" y="1"/>
                    </a:cubicBezTo>
                    <a:cubicBezTo>
                      <a:pt x="6" y="1"/>
                      <a:pt x="6" y="1"/>
                      <a:pt x="6" y="1"/>
                    </a:cubicBezTo>
                    <a:cubicBezTo>
                      <a:pt x="5"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 name="Freeform 83">
                <a:extLst>
                  <a:ext uri="{FF2B5EF4-FFF2-40B4-BE49-F238E27FC236}">
                    <a16:creationId xmlns:a16="http://schemas.microsoft.com/office/drawing/2014/main" id="{CAF9705C-4663-4A0E-B751-9EB72FC89E89}"/>
                  </a:ext>
                </a:extLst>
              </p:cNvPr>
              <p:cNvSpPr>
                <a:spLocks/>
              </p:cNvSpPr>
              <p:nvPr/>
            </p:nvSpPr>
            <p:spPr bwMode="auto">
              <a:xfrm>
                <a:off x="5697" y="3833"/>
                <a:ext cx="8" cy="4"/>
              </a:xfrm>
              <a:custGeom>
                <a:avLst/>
                <a:gdLst>
                  <a:gd name="T0" fmla="*/ 0 w 3"/>
                  <a:gd name="T1" fmla="*/ 0 h 2"/>
                  <a:gd name="T2" fmla="*/ 0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0"/>
                      <a:pt x="0" y="0"/>
                      <a:pt x="0" y="0"/>
                    </a:cubicBezTo>
                    <a:cubicBezTo>
                      <a:pt x="1" y="1"/>
                      <a:pt x="2" y="1"/>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 name="Freeform 84">
                <a:extLst>
                  <a:ext uri="{FF2B5EF4-FFF2-40B4-BE49-F238E27FC236}">
                    <a16:creationId xmlns:a16="http://schemas.microsoft.com/office/drawing/2014/main" id="{E7825F1E-8F9B-40EC-9D0D-81DF63F05508}"/>
                  </a:ext>
                </a:extLst>
              </p:cNvPr>
              <p:cNvSpPr>
                <a:spLocks/>
              </p:cNvSpPr>
              <p:nvPr/>
            </p:nvSpPr>
            <p:spPr bwMode="auto">
              <a:xfrm>
                <a:off x="5440" y="3757"/>
                <a:ext cx="35" cy="28"/>
              </a:xfrm>
              <a:custGeom>
                <a:avLst/>
                <a:gdLst>
                  <a:gd name="T0" fmla="*/ 6 w 15"/>
                  <a:gd name="T1" fmla="*/ 0 h 12"/>
                  <a:gd name="T2" fmla="*/ 2 w 15"/>
                  <a:gd name="T3" fmla="*/ 10 h 12"/>
                  <a:gd name="T4" fmla="*/ 8 w 15"/>
                  <a:gd name="T5" fmla="*/ 12 h 12"/>
                  <a:gd name="T6" fmla="*/ 12 w 15"/>
                  <a:gd name="T7" fmla="*/ 11 h 12"/>
                  <a:gd name="T8" fmla="*/ 14 w 15"/>
                  <a:gd name="T9" fmla="*/ 9 h 12"/>
                  <a:gd name="T10" fmla="*/ 11 w 15"/>
                  <a:gd name="T11" fmla="*/ 3 h 12"/>
                  <a:gd name="T12" fmla="*/ 7 w 15"/>
                  <a:gd name="T13" fmla="*/ 0 h 12"/>
                  <a:gd name="T14" fmla="*/ 6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6" y="0"/>
                    </a:moveTo>
                    <a:cubicBezTo>
                      <a:pt x="0" y="0"/>
                      <a:pt x="3" y="6"/>
                      <a:pt x="2" y="10"/>
                    </a:cubicBezTo>
                    <a:cubicBezTo>
                      <a:pt x="4" y="11"/>
                      <a:pt x="6" y="12"/>
                      <a:pt x="8" y="12"/>
                    </a:cubicBezTo>
                    <a:cubicBezTo>
                      <a:pt x="9" y="12"/>
                      <a:pt x="10" y="11"/>
                      <a:pt x="12" y="11"/>
                    </a:cubicBezTo>
                    <a:cubicBezTo>
                      <a:pt x="12" y="10"/>
                      <a:pt x="14" y="10"/>
                      <a:pt x="14" y="9"/>
                    </a:cubicBezTo>
                    <a:cubicBezTo>
                      <a:pt x="15" y="7"/>
                      <a:pt x="12" y="4"/>
                      <a:pt x="11" y="3"/>
                    </a:cubicBezTo>
                    <a:cubicBezTo>
                      <a:pt x="12" y="1"/>
                      <a:pt x="8"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 name="Freeform 85">
                <a:extLst>
                  <a:ext uri="{FF2B5EF4-FFF2-40B4-BE49-F238E27FC236}">
                    <a16:creationId xmlns:a16="http://schemas.microsoft.com/office/drawing/2014/main" id="{EAE6AF23-D59B-4752-8208-70C2B09F6E05}"/>
                  </a:ext>
                </a:extLst>
              </p:cNvPr>
              <p:cNvSpPr>
                <a:spLocks/>
              </p:cNvSpPr>
              <p:nvPr/>
            </p:nvSpPr>
            <p:spPr bwMode="auto">
              <a:xfrm>
                <a:off x="5655" y="3811"/>
                <a:ext cx="9" cy="5"/>
              </a:xfrm>
              <a:custGeom>
                <a:avLst/>
                <a:gdLst>
                  <a:gd name="T0" fmla="*/ 0 w 4"/>
                  <a:gd name="T1" fmla="*/ 0 h 2"/>
                  <a:gd name="T2" fmla="*/ 4 w 4"/>
                  <a:gd name="T3" fmla="*/ 2 h 2"/>
                  <a:gd name="T4" fmla="*/ 0 w 4"/>
                  <a:gd name="T5" fmla="*/ 0 h 2"/>
                </a:gdLst>
                <a:ahLst/>
                <a:cxnLst>
                  <a:cxn ang="0">
                    <a:pos x="T0" y="T1"/>
                  </a:cxn>
                  <a:cxn ang="0">
                    <a:pos x="T2" y="T3"/>
                  </a:cxn>
                  <a:cxn ang="0">
                    <a:pos x="T4" y="T5"/>
                  </a:cxn>
                </a:cxnLst>
                <a:rect l="0" t="0" r="r" b="b"/>
                <a:pathLst>
                  <a:path w="4" h="2">
                    <a:moveTo>
                      <a:pt x="0" y="0"/>
                    </a:moveTo>
                    <a:cubicBezTo>
                      <a:pt x="2" y="0"/>
                      <a:pt x="3" y="1"/>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 name="Freeform 86">
                <a:extLst>
                  <a:ext uri="{FF2B5EF4-FFF2-40B4-BE49-F238E27FC236}">
                    <a16:creationId xmlns:a16="http://schemas.microsoft.com/office/drawing/2014/main" id="{63D90065-2352-4A44-93D7-2DF54638AC47}"/>
                  </a:ext>
                </a:extLst>
              </p:cNvPr>
              <p:cNvSpPr>
                <a:spLocks/>
              </p:cNvSpPr>
              <p:nvPr/>
            </p:nvSpPr>
            <p:spPr bwMode="auto">
              <a:xfrm>
                <a:off x="5707" y="3728"/>
                <a:ext cx="16" cy="10"/>
              </a:xfrm>
              <a:custGeom>
                <a:avLst/>
                <a:gdLst>
                  <a:gd name="T0" fmla="*/ 2 w 7"/>
                  <a:gd name="T1" fmla="*/ 0 h 4"/>
                  <a:gd name="T2" fmla="*/ 0 w 7"/>
                  <a:gd name="T3" fmla="*/ 0 h 4"/>
                  <a:gd name="T4" fmla="*/ 7 w 7"/>
                  <a:gd name="T5" fmla="*/ 4 h 4"/>
                  <a:gd name="T6" fmla="*/ 2 w 7"/>
                  <a:gd name="T7" fmla="*/ 0 h 4"/>
                </a:gdLst>
                <a:ahLst/>
                <a:cxnLst>
                  <a:cxn ang="0">
                    <a:pos x="T0" y="T1"/>
                  </a:cxn>
                  <a:cxn ang="0">
                    <a:pos x="T2" y="T3"/>
                  </a:cxn>
                  <a:cxn ang="0">
                    <a:pos x="T4" y="T5"/>
                  </a:cxn>
                  <a:cxn ang="0">
                    <a:pos x="T6" y="T7"/>
                  </a:cxn>
                </a:cxnLst>
                <a:rect l="0" t="0" r="r" b="b"/>
                <a:pathLst>
                  <a:path w="7" h="4">
                    <a:moveTo>
                      <a:pt x="2" y="0"/>
                    </a:moveTo>
                    <a:cubicBezTo>
                      <a:pt x="1" y="0"/>
                      <a:pt x="1" y="0"/>
                      <a:pt x="0" y="0"/>
                    </a:cubicBezTo>
                    <a:cubicBezTo>
                      <a:pt x="2" y="2"/>
                      <a:pt x="4" y="3"/>
                      <a:pt x="7"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 name="Freeform 87">
                <a:extLst>
                  <a:ext uri="{FF2B5EF4-FFF2-40B4-BE49-F238E27FC236}">
                    <a16:creationId xmlns:a16="http://schemas.microsoft.com/office/drawing/2014/main" id="{4A935C68-CEE9-4A30-A226-37A43F14C0D8}"/>
                  </a:ext>
                </a:extLst>
              </p:cNvPr>
              <p:cNvSpPr>
                <a:spLocks/>
              </p:cNvSpPr>
              <p:nvPr/>
            </p:nvSpPr>
            <p:spPr bwMode="auto">
              <a:xfrm>
                <a:off x="5894" y="3655"/>
                <a:ext cx="4" cy="3"/>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0"/>
                      <a:pt x="0" y="1"/>
                    </a:cubicBezTo>
                    <a:cubicBezTo>
                      <a:pt x="1" y="1"/>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 name="Freeform 88">
                <a:extLst>
                  <a:ext uri="{FF2B5EF4-FFF2-40B4-BE49-F238E27FC236}">
                    <a16:creationId xmlns:a16="http://schemas.microsoft.com/office/drawing/2014/main" id="{67C4E34C-90D2-4A9D-8FF0-0F630BBFC809}"/>
                  </a:ext>
                </a:extLst>
              </p:cNvPr>
              <p:cNvSpPr>
                <a:spLocks noEditPoints="1"/>
              </p:cNvSpPr>
              <p:nvPr/>
            </p:nvSpPr>
            <p:spPr bwMode="auto">
              <a:xfrm>
                <a:off x="5835" y="3662"/>
                <a:ext cx="16" cy="7"/>
              </a:xfrm>
              <a:custGeom>
                <a:avLst/>
                <a:gdLst>
                  <a:gd name="T0" fmla="*/ 1 w 7"/>
                  <a:gd name="T1" fmla="*/ 0 h 3"/>
                  <a:gd name="T2" fmla="*/ 4 w 7"/>
                  <a:gd name="T3" fmla="*/ 3 h 3"/>
                  <a:gd name="T4" fmla="*/ 7 w 7"/>
                  <a:gd name="T5" fmla="*/ 3 h 3"/>
                  <a:gd name="T6" fmla="*/ 1 w 7"/>
                  <a:gd name="T7" fmla="*/ 0 h 3"/>
                  <a:gd name="T8" fmla="*/ 0 w 7"/>
                  <a:gd name="T9" fmla="*/ 0 h 3"/>
                  <a:gd name="T10" fmla="*/ 1 w 7"/>
                  <a:gd name="T11" fmla="*/ 0 h 3"/>
                  <a:gd name="T12" fmla="*/ 0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1" y="0"/>
                    </a:moveTo>
                    <a:cubicBezTo>
                      <a:pt x="2" y="1"/>
                      <a:pt x="3" y="2"/>
                      <a:pt x="4" y="3"/>
                    </a:cubicBezTo>
                    <a:cubicBezTo>
                      <a:pt x="5" y="3"/>
                      <a:pt x="6" y="3"/>
                      <a:pt x="7" y="3"/>
                    </a:cubicBezTo>
                    <a:cubicBezTo>
                      <a:pt x="5" y="2"/>
                      <a:pt x="3" y="1"/>
                      <a:pt x="1" y="0"/>
                    </a:cubicBezTo>
                    <a:moveTo>
                      <a:pt x="0" y="0"/>
                    </a:moveTo>
                    <a:cubicBezTo>
                      <a:pt x="1" y="0"/>
                      <a:pt x="1" y="0"/>
                      <a:pt x="1" y="0"/>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 name="Freeform 89">
                <a:extLst>
                  <a:ext uri="{FF2B5EF4-FFF2-40B4-BE49-F238E27FC236}">
                    <a16:creationId xmlns:a16="http://schemas.microsoft.com/office/drawing/2014/main" id="{25BA28DF-8178-4BBB-A994-DCF43C07F84C}"/>
                  </a:ext>
                </a:extLst>
              </p:cNvPr>
              <p:cNvSpPr>
                <a:spLocks/>
              </p:cNvSpPr>
              <p:nvPr/>
            </p:nvSpPr>
            <p:spPr bwMode="auto">
              <a:xfrm>
                <a:off x="5872" y="3676"/>
                <a:ext cx="19" cy="19"/>
              </a:xfrm>
              <a:custGeom>
                <a:avLst/>
                <a:gdLst>
                  <a:gd name="T0" fmla="*/ 4 w 8"/>
                  <a:gd name="T1" fmla="*/ 0 h 8"/>
                  <a:gd name="T2" fmla="*/ 3 w 8"/>
                  <a:gd name="T3" fmla="*/ 5 h 8"/>
                  <a:gd name="T4" fmla="*/ 8 w 8"/>
                  <a:gd name="T5" fmla="*/ 8 h 8"/>
                  <a:gd name="T6" fmla="*/ 4 w 8"/>
                  <a:gd name="T7" fmla="*/ 0 h 8"/>
                </a:gdLst>
                <a:ahLst/>
                <a:cxnLst>
                  <a:cxn ang="0">
                    <a:pos x="T0" y="T1"/>
                  </a:cxn>
                  <a:cxn ang="0">
                    <a:pos x="T2" y="T3"/>
                  </a:cxn>
                  <a:cxn ang="0">
                    <a:pos x="T4" y="T5"/>
                  </a:cxn>
                  <a:cxn ang="0">
                    <a:pos x="T6" y="T7"/>
                  </a:cxn>
                </a:cxnLst>
                <a:rect l="0" t="0" r="r" b="b"/>
                <a:pathLst>
                  <a:path w="8" h="8">
                    <a:moveTo>
                      <a:pt x="4" y="0"/>
                    </a:moveTo>
                    <a:cubicBezTo>
                      <a:pt x="5" y="3"/>
                      <a:pt x="0" y="2"/>
                      <a:pt x="3" y="5"/>
                    </a:cubicBezTo>
                    <a:cubicBezTo>
                      <a:pt x="5" y="7"/>
                      <a:pt x="7" y="6"/>
                      <a:pt x="8" y="8"/>
                    </a:cubicBezTo>
                    <a:cubicBezTo>
                      <a:pt x="7" y="6"/>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 name="Freeform 90">
                <a:extLst>
                  <a:ext uri="{FF2B5EF4-FFF2-40B4-BE49-F238E27FC236}">
                    <a16:creationId xmlns:a16="http://schemas.microsoft.com/office/drawing/2014/main" id="{5E912753-F042-44E4-B095-44AF985E5F52}"/>
                  </a:ext>
                </a:extLst>
              </p:cNvPr>
              <p:cNvSpPr>
                <a:spLocks noEditPoints="1"/>
              </p:cNvSpPr>
              <p:nvPr/>
            </p:nvSpPr>
            <p:spPr bwMode="auto">
              <a:xfrm>
                <a:off x="5726" y="3622"/>
                <a:ext cx="23" cy="33"/>
              </a:xfrm>
              <a:custGeom>
                <a:avLst/>
                <a:gdLst>
                  <a:gd name="T0" fmla="*/ 1 w 10"/>
                  <a:gd name="T1" fmla="*/ 5 h 14"/>
                  <a:gd name="T2" fmla="*/ 1 w 10"/>
                  <a:gd name="T3" fmla="*/ 5 h 14"/>
                  <a:gd name="T4" fmla="*/ 1 w 10"/>
                  <a:gd name="T5" fmla="*/ 5 h 14"/>
                  <a:gd name="T6" fmla="*/ 5 w 10"/>
                  <a:gd name="T7" fmla="*/ 0 h 14"/>
                  <a:gd name="T8" fmla="*/ 1 w 10"/>
                  <a:gd name="T9" fmla="*/ 5 h 14"/>
                  <a:gd name="T10" fmla="*/ 1 w 10"/>
                  <a:gd name="T11" fmla="*/ 4 h 14"/>
                  <a:gd name="T12" fmla="*/ 2 w 10"/>
                  <a:gd name="T13" fmla="*/ 6 h 14"/>
                  <a:gd name="T14" fmla="*/ 3 w 10"/>
                  <a:gd name="T15" fmla="*/ 7 h 14"/>
                  <a:gd name="T16" fmla="*/ 3 w 10"/>
                  <a:gd name="T17" fmla="*/ 7 h 14"/>
                  <a:gd name="T18" fmla="*/ 4 w 10"/>
                  <a:gd name="T19" fmla="*/ 11 h 14"/>
                  <a:gd name="T20" fmla="*/ 7 w 10"/>
                  <a:gd name="T21" fmla="*/ 14 h 14"/>
                  <a:gd name="T22" fmla="*/ 9 w 10"/>
                  <a:gd name="T23" fmla="*/ 12 h 14"/>
                  <a:gd name="T24" fmla="*/ 10 w 10"/>
                  <a:gd name="T25" fmla="*/ 12 h 14"/>
                  <a:gd name="T26" fmla="*/ 8 w 10"/>
                  <a:gd name="T27" fmla="*/ 2 h 14"/>
                  <a:gd name="T28" fmla="*/ 8 w 10"/>
                  <a:gd name="T29" fmla="*/ 2 h 14"/>
                  <a:gd name="T30" fmla="*/ 7 w 10"/>
                  <a:gd name="T31" fmla="*/ 2 h 14"/>
                  <a:gd name="T32" fmla="*/ 5 w 10"/>
                  <a:gd name="T33" fmla="*/ 3 h 14"/>
                  <a:gd name="T34" fmla="*/ 5 w 10"/>
                  <a:gd name="T35" fmla="*/ 3 h 14"/>
                  <a:gd name="T36" fmla="*/ 5 w 10"/>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4">
                    <a:moveTo>
                      <a:pt x="1" y="5"/>
                    </a:moveTo>
                    <a:cubicBezTo>
                      <a:pt x="1" y="5"/>
                      <a:pt x="1" y="5"/>
                      <a:pt x="1" y="5"/>
                    </a:cubicBezTo>
                    <a:cubicBezTo>
                      <a:pt x="1" y="5"/>
                      <a:pt x="1" y="5"/>
                      <a:pt x="1" y="5"/>
                    </a:cubicBezTo>
                    <a:moveTo>
                      <a:pt x="5" y="0"/>
                    </a:moveTo>
                    <a:cubicBezTo>
                      <a:pt x="4" y="0"/>
                      <a:pt x="0" y="3"/>
                      <a:pt x="1" y="5"/>
                    </a:cubicBezTo>
                    <a:cubicBezTo>
                      <a:pt x="1" y="5"/>
                      <a:pt x="1" y="4"/>
                      <a:pt x="1" y="4"/>
                    </a:cubicBezTo>
                    <a:cubicBezTo>
                      <a:pt x="1" y="4"/>
                      <a:pt x="1" y="5"/>
                      <a:pt x="2" y="6"/>
                    </a:cubicBezTo>
                    <a:cubicBezTo>
                      <a:pt x="3" y="7"/>
                      <a:pt x="3" y="7"/>
                      <a:pt x="3" y="7"/>
                    </a:cubicBezTo>
                    <a:cubicBezTo>
                      <a:pt x="3" y="7"/>
                      <a:pt x="3" y="7"/>
                      <a:pt x="3" y="7"/>
                    </a:cubicBezTo>
                    <a:cubicBezTo>
                      <a:pt x="3" y="8"/>
                      <a:pt x="3" y="11"/>
                      <a:pt x="4" y="11"/>
                    </a:cubicBezTo>
                    <a:cubicBezTo>
                      <a:pt x="3" y="14"/>
                      <a:pt x="6" y="13"/>
                      <a:pt x="7" y="14"/>
                    </a:cubicBezTo>
                    <a:cubicBezTo>
                      <a:pt x="7" y="13"/>
                      <a:pt x="8" y="12"/>
                      <a:pt x="9" y="12"/>
                    </a:cubicBezTo>
                    <a:cubicBezTo>
                      <a:pt x="9" y="12"/>
                      <a:pt x="9" y="12"/>
                      <a:pt x="10" y="12"/>
                    </a:cubicBezTo>
                    <a:cubicBezTo>
                      <a:pt x="9" y="11"/>
                      <a:pt x="9" y="2"/>
                      <a:pt x="8" y="2"/>
                    </a:cubicBezTo>
                    <a:cubicBezTo>
                      <a:pt x="8" y="2"/>
                      <a:pt x="8" y="2"/>
                      <a:pt x="8" y="2"/>
                    </a:cubicBezTo>
                    <a:cubicBezTo>
                      <a:pt x="8" y="2"/>
                      <a:pt x="8" y="2"/>
                      <a:pt x="7" y="2"/>
                    </a:cubicBezTo>
                    <a:cubicBezTo>
                      <a:pt x="7" y="3"/>
                      <a:pt x="6" y="3"/>
                      <a:pt x="5" y="3"/>
                    </a:cubicBezTo>
                    <a:cubicBezTo>
                      <a:pt x="5" y="3"/>
                      <a:pt x="5" y="3"/>
                      <a:pt x="5" y="3"/>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 name="Freeform 91">
                <a:extLst>
                  <a:ext uri="{FF2B5EF4-FFF2-40B4-BE49-F238E27FC236}">
                    <a16:creationId xmlns:a16="http://schemas.microsoft.com/office/drawing/2014/main" id="{9F43CE46-2233-4E48-BBED-5FC71DCC7D32}"/>
                  </a:ext>
                </a:extLst>
              </p:cNvPr>
              <p:cNvSpPr>
                <a:spLocks/>
              </p:cNvSpPr>
              <p:nvPr/>
            </p:nvSpPr>
            <p:spPr bwMode="auto">
              <a:xfrm>
                <a:off x="5934" y="3710"/>
                <a:ext cx="2" cy="2"/>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1" y="1"/>
                      <a:pt x="1" y="1"/>
                    </a:cubicBezTo>
                    <a:cubicBezTo>
                      <a:pt x="1" y="1"/>
                      <a:pt x="1" y="1"/>
                      <a:pt x="1"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 name="Freeform 92">
                <a:extLst>
                  <a:ext uri="{FF2B5EF4-FFF2-40B4-BE49-F238E27FC236}">
                    <a16:creationId xmlns:a16="http://schemas.microsoft.com/office/drawing/2014/main" id="{382A744A-C3BF-4F6A-BE8D-6F520E016826}"/>
                  </a:ext>
                </a:extLst>
              </p:cNvPr>
              <p:cNvSpPr>
                <a:spLocks/>
              </p:cNvSpPr>
              <p:nvPr/>
            </p:nvSpPr>
            <p:spPr bwMode="auto">
              <a:xfrm>
                <a:off x="5936" y="3712"/>
                <a:ext cx="5" cy="0"/>
              </a:xfrm>
              <a:custGeom>
                <a:avLst/>
                <a:gdLst>
                  <a:gd name="T0" fmla="*/ 1 w 2"/>
                  <a:gd name="T1" fmla="*/ 1 w 2"/>
                  <a:gd name="T2" fmla="*/ 1 w 2"/>
                  <a:gd name="T3" fmla="*/ 0 w 2"/>
                  <a:gd name="T4" fmla="*/ 2 w 2"/>
                  <a:gd name="T5" fmla="*/ 1 w 2"/>
                </a:gdLst>
                <a:ahLst/>
                <a:cxnLst>
                  <a:cxn ang="0">
                    <a:pos x="T0" y="0"/>
                  </a:cxn>
                  <a:cxn ang="0">
                    <a:pos x="T1" y="0"/>
                  </a:cxn>
                  <a:cxn ang="0">
                    <a:pos x="T2" y="0"/>
                  </a:cxn>
                  <a:cxn ang="0">
                    <a:pos x="T3" y="0"/>
                  </a:cxn>
                  <a:cxn ang="0">
                    <a:pos x="T4" y="0"/>
                  </a:cxn>
                  <a:cxn ang="0">
                    <a:pos x="T5" y="0"/>
                  </a:cxn>
                </a:cxnLst>
                <a:rect l="0" t="0" r="r" b="b"/>
                <a:pathLst>
                  <a:path w="2">
                    <a:moveTo>
                      <a:pt x="1" y="0"/>
                    </a:moveTo>
                    <a:cubicBezTo>
                      <a:pt x="1" y="0"/>
                      <a:pt x="1" y="0"/>
                      <a:pt x="1" y="0"/>
                    </a:cubicBezTo>
                    <a:cubicBezTo>
                      <a:pt x="1" y="0"/>
                      <a:pt x="1" y="0"/>
                      <a:pt x="1" y="0"/>
                    </a:cubicBezTo>
                    <a:cubicBezTo>
                      <a:pt x="0" y="0"/>
                      <a:pt x="0" y="0"/>
                      <a:pt x="0" y="0"/>
                    </a:cubicBezTo>
                    <a:cubicBezTo>
                      <a:pt x="1" y="0"/>
                      <a:pt x="1"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 name="Freeform 93">
                <a:extLst>
                  <a:ext uri="{FF2B5EF4-FFF2-40B4-BE49-F238E27FC236}">
                    <a16:creationId xmlns:a16="http://schemas.microsoft.com/office/drawing/2014/main" id="{4C4397E8-C794-4CAA-AB2D-74873DA7625E}"/>
                  </a:ext>
                </a:extLst>
              </p:cNvPr>
              <p:cNvSpPr>
                <a:spLocks/>
              </p:cNvSpPr>
              <p:nvPr/>
            </p:nvSpPr>
            <p:spPr bwMode="auto">
              <a:xfrm>
                <a:off x="5924" y="3707"/>
                <a:ext cx="10" cy="3"/>
              </a:xfrm>
              <a:custGeom>
                <a:avLst/>
                <a:gdLst>
                  <a:gd name="T0" fmla="*/ 2 w 4"/>
                  <a:gd name="T1" fmla="*/ 0 h 1"/>
                  <a:gd name="T2" fmla="*/ 0 w 4"/>
                  <a:gd name="T3" fmla="*/ 1 h 1"/>
                  <a:gd name="T4" fmla="*/ 4 w 4"/>
                  <a:gd name="T5" fmla="*/ 1 h 1"/>
                  <a:gd name="T6" fmla="*/ 2 w 4"/>
                  <a:gd name="T7" fmla="*/ 0 h 1"/>
                </a:gdLst>
                <a:ahLst/>
                <a:cxnLst>
                  <a:cxn ang="0">
                    <a:pos x="T0" y="T1"/>
                  </a:cxn>
                  <a:cxn ang="0">
                    <a:pos x="T2" y="T3"/>
                  </a:cxn>
                  <a:cxn ang="0">
                    <a:pos x="T4" y="T5"/>
                  </a:cxn>
                  <a:cxn ang="0">
                    <a:pos x="T6" y="T7"/>
                  </a:cxn>
                </a:cxnLst>
                <a:rect l="0" t="0" r="r" b="b"/>
                <a:pathLst>
                  <a:path w="4" h="1">
                    <a:moveTo>
                      <a:pt x="2" y="0"/>
                    </a:moveTo>
                    <a:cubicBezTo>
                      <a:pt x="1" y="0"/>
                      <a:pt x="1" y="1"/>
                      <a:pt x="0" y="1"/>
                    </a:cubicBezTo>
                    <a:cubicBezTo>
                      <a:pt x="2" y="1"/>
                      <a:pt x="3" y="1"/>
                      <a:pt x="4"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 name="Freeform 94">
                <a:extLst>
                  <a:ext uri="{FF2B5EF4-FFF2-40B4-BE49-F238E27FC236}">
                    <a16:creationId xmlns:a16="http://schemas.microsoft.com/office/drawing/2014/main" id="{ED86B218-0B5E-4574-A319-3D6847FAE784}"/>
                  </a:ext>
                </a:extLst>
              </p:cNvPr>
              <p:cNvSpPr>
                <a:spLocks/>
              </p:cNvSpPr>
              <p:nvPr/>
            </p:nvSpPr>
            <p:spPr bwMode="auto">
              <a:xfrm>
                <a:off x="5955" y="3792"/>
                <a:ext cx="45" cy="22"/>
              </a:xfrm>
              <a:custGeom>
                <a:avLst/>
                <a:gdLst>
                  <a:gd name="T0" fmla="*/ 17 w 19"/>
                  <a:gd name="T1" fmla="*/ 0 h 9"/>
                  <a:gd name="T2" fmla="*/ 16 w 19"/>
                  <a:gd name="T3" fmla="*/ 0 h 9"/>
                  <a:gd name="T4" fmla="*/ 14 w 19"/>
                  <a:gd name="T5" fmla="*/ 4 h 9"/>
                  <a:gd name="T6" fmla="*/ 12 w 19"/>
                  <a:gd name="T7" fmla="*/ 4 h 9"/>
                  <a:gd name="T8" fmla="*/ 9 w 19"/>
                  <a:gd name="T9" fmla="*/ 2 h 9"/>
                  <a:gd name="T10" fmla="*/ 5 w 19"/>
                  <a:gd name="T11" fmla="*/ 4 h 9"/>
                  <a:gd name="T12" fmla="*/ 2 w 19"/>
                  <a:gd name="T13" fmla="*/ 5 h 9"/>
                  <a:gd name="T14" fmla="*/ 3 w 19"/>
                  <a:gd name="T15" fmla="*/ 9 h 9"/>
                  <a:gd name="T16" fmla="*/ 5 w 19"/>
                  <a:gd name="T17" fmla="*/ 9 h 9"/>
                  <a:gd name="T18" fmla="*/ 6 w 19"/>
                  <a:gd name="T19" fmla="*/ 9 h 9"/>
                  <a:gd name="T20" fmla="*/ 8 w 19"/>
                  <a:gd name="T21" fmla="*/ 9 h 9"/>
                  <a:gd name="T22" fmla="*/ 15 w 19"/>
                  <a:gd name="T23" fmla="*/ 6 h 9"/>
                  <a:gd name="T24" fmla="*/ 17 w 19"/>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9">
                    <a:moveTo>
                      <a:pt x="17" y="0"/>
                    </a:moveTo>
                    <a:cubicBezTo>
                      <a:pt x="17" y="0"/>
                      <a:pt x="17" y="0"/>
                      <a:pt x="16" y="0"/>
                    </a:cubicBezTo>
                    <a:cubicBezTo>
                      <a:pt x="15" y="1"/>
                      <a:pt x="15" y="3"/>
                      <a:pt x="14" y="4"/>
                    </a:cubicBezTo>
                    <a:cubicBezTo>
                      <a:pt x="13" y="4"/>
                      <a:pt x="12" y="4"/>
                      <a:pt x="12" y="4"/>
                    </a:cubicBezTo>
                    <a:cubicBezTo>
                      <a:pt x="11" y="4"/>
                      <a:pt x="10" y="4"/>
                      <a:pt x="9" y="2"/>
                    </a:cubicBezTo>
                    <a:cubicBezTo>
                      <a:pt x="8" y="4"/>
                      <a:pt x="6" y="3"/>
                      <a:pt x="5" y="4"/>
                    </a:cubicBezTo>
                    <a:cubicBezTo>
                      <a:pt x="4" y="4"/>
                      <a:pt x="3" y="5"/>
                      <a:pt x="2" y="5"/>
                    </a:cubicBezTo>
                    <a:cubicBezTo>
                      <a:pt x="3" y="7"/>
                      <a:pt x="0" y="8"/>
                      <a:pt x="3" y="9"/>
                    </a:cubicBezTo>
                    <a:cubicBezTo>
                      <a:pt x="4" y="9"/>
                      <a:pt x="4" y="9"/>
                      <a:pt x="5" y="9"/>
                    </a:cubicBezTo>
                    <a:cubicBezTo>
                      <a:pt x="5" y="9"/>
                      <a:pt x="6" y="9"/>
                      <a:pt x="6" y="9"/>
                    </a:cubicBezTo>
                    <a:cubicBezTo>
                      <a:pt x="7" y="9"/>
                      <a:pt x="7" y="9"/>
                      <a:pt x="8" y="9"/>
                    </a:cubicBezTo>
                    <a:cubicBezTo>
                      <a:pt x="11" y="9"/>
                      <a:pt x="14" y="9"/>
                      <a:pt x="15" y="6"/>
                    </a:cubicBezTo>
                    <a:cubicBezTo>
                      <a:pt x="16" y="5"/>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 name="Freeform 95">
                <a:extLst>
                  <a:ext uri="{FF2B5EF4-FFF2-40B4-BE49-F238E27FC236}">
                    <a16:creationId xmlns:a16="http://schemas.microsoft.com/office/drawing/2014/main" id="{AB3D08F0-4AE9-4514-BA33-D318E460D8E7}"/>
                  </a:ext>
                </a:extLst>
              </p:cNvPr>
              <p:cNvSpPr>
                <a:spLocks/>
              </p:cNvSpPr>
              <p:nvPr/>
            </p:nvSpPr>
            <p:spPr bwMode="auto">
              <a:xfrm>
                <a:off x="5929" y="3712"/>
                <a:ext cx="24" cy="28"/>
              </a:xfrm>
              <a:custGeom>
                <a:avLst/>
                <a:gdLst>
                  <a:gd name="T0" fmla="*/ 9 w 10"/>
                  <a:gd name="T1" fmla="*/ 0 h 12"/>
                  <a:gd name="T2" fmla="*/ 7 w 10"/>
                  <a:gd name="T3" fmla="*/ 0 h 12"/>
                  <a:gd name="T4" fmla="*/ 7 w 10"/>
                  <a:gd name="T5" fmla="*/ 0 h 12"/>
                  <a:gd name="T6" fmla="*/ 6 w 10"/>
                  <a:gd name="T7" fmla="*/ 1 h 12"/>
                  <a:gd name="T8" fmla="*/ 5 w 10"/>
                  <a:gd name="T9" fmla="*/ 1 h 12"/>
                  <a:gd name="T10" fmla="*/ 5 w 10"/>
                  <a:gd name="T11" fmla="*/ 2 h 12"/>
                  <a:gd name="T12" fmla="*/ 6 w 10"/>
                  <a:gd name="T13" fmla="*/ 7 h 12"/>
                  <a:gd name="T14" fmla="*/ 0 w 10"/>
                  <a:gd name="T15" fmla="*/ 12 h 12"/>
                  <a:gd name="T16" fmla="*/ 9 w 10"/>
                  <a:gd name="T17" fmla="*/ 5 h 12"/>
                  <a:gd name="T18" fmla="*/ 9 w 10"/>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9" y="0"/>
                    </a:moveTo>
                    <a:cubicBezTo>
                      <a:pt x="8" y="0"/>
                      <a:pt x="8" y="0"/>
                      <a:pt x="7" y="0"/>
                    </a:cubicBezTo>
                    <a:cubicBezTo>
                      <a:pt x="7" y="0"/>
                      <a:pt x="7" y="0"/>
                      <a:pt x="7" y="0"/>
                    </a:cubicBezTo>
                    <a:cubicBezTo>
                      <a:pt x="6" y="1"/>
                      <a:pt x="6" y="1"/>
                      <a:pt x="6" y="1"/>
                    </a:cubicBezTo>
                    <a:cubicBezTo>
                      <a:pt x="6" y="1"/>
                      <a:pt x="5" y="1"/>
                      <a:pt x="5" y="1"/>
                    </a:cubicBezTo>
                    <a:cubicBezTo>
                      <a:pt x="5" y="1"/>
                      <a:pt x="5" y="2"/>
                      <a:pt x="5" y="2"/>
                    </a:cubicBezTo>
                    <a:cubicBezTo>
                      <a:pt x="10" y="4"/>
                      <a:pt x="9" y="5"/>
                      <a:pt x="6" y="7"/>
                    </a:cubicBezTo>
                    <a:cubicBezTo>
                      <a:pt x="4" y="8"/>
                      <a:pt x="2" y="9"/>
                      <a:pt x="0" y="12"/>
                    </a:cubicBezTo>
                    <a:cubicBezTo>
                      <a:pt x="3" y="10"/>
                      <a:pt x="6" y="8"/>
                      <a:pt x="9" y="5"/>
                    </a:cubicBezTo>
                    <a:cubicBezTo>
                      <a:pt x="10" y="4"/>
                      <a:pt x="9"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 name="Freeform 96">
                <a:extLst>
                  <a:ext uri="{FF2B5EF4-FFF2-40B4-BE49-F238E27FC236}">
                    <a16:creationId xmlns:a16="http://schemas.microsoft.com/office/drawing/2014/main" id="{12F445BB-7881-47AB-A89E-9A1DD70C7BDD}"/>
                  </a:ext>
                </a:extLst>
              </p:cNvPr>
              <p:cNvSpPr>
                <a:spLocks/>
              </p:cNvSpPr>
              <p:nvPr/>
            </p:nvSpPr>
            <p:spPr bwMode="auto">
              <a:xfrm>
                <a:off x="5988" y="3728"/>
                <a:ext cx="24" cy="5"/>
              </a:xfrm>
              <a:custGeom>
                <a:avLst/>
                <a:gdLst>
                  <a:gd name="T0" fmla="*/ 2 w 10"/>
                  <a:gd name="T1" fmla="*/ 0 h 2"/>
                  <a:gd name="T2" fmla="*/ 0 w 10"/>
                  <a:gd name="T3" fmla="*/ 1 h 2"/>
                  <a:gd name="T4" fmla="*/ 3 w 10"/>
                  <a:gd name="T5" fmla="*/ 2 h 2"/>
                  <a:gd name="T6" fmla="*/ 9 w 10"/>
                  <a:gd name="T7" fmla="*/ 2 h 2"/>
                  <a:gd name="T8" fmla="*/ 10 w 10"/>
                  <a:gd name="T9" fmla="*/ 2 h 2"/>
                  <a:gd name="T10" fmla="*/ 7 w 10"/>
                  <a:gd name="T11" fmla="*/ 1 h 2"/>
                  <a:gd name="T12" fmla="*/ 6 w 10"/>
                  <a:gd name="T13" fmla="*/ 1 h 2"/>
                  <a:gd name="T14" fmla="*/ 6 w 10"/>
                  <a:gd name="T15" fmla="*/ 1 h 2"/>
                  <a:gd name="T16" fmla="*/ 5 w 10"/>
                  <a:gd name="T17" fmla="*/ 1 h 2"/>
                  <a:gd name="T18" fmla="*/ 5 w 10"/>
                  <a:gd name="T19" fmla="*/ 1 h 2"/>
                  <a:gd name="T20" fmla="*/ 2 w 10"/>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2">
                    <a:moveTo>
                      <a:pt x="2" y="0"/>
                    </a:moveTo>
                    <a:cubicBezTo>
                      <a:pt x="1" y="0"/>
                      <a:pt x="1" y="0"/>
                      <a:pt x="0" y="1"/>
                    </a:cubicBezTo>
                    <a:cubicBezTo>
                      <a:pt x="0" y="2"/>
                      <a:pt x="1" y="2"/>
                      <a:pt x="3" y="2"/>
                    </a:cubicBezTo>
                    <a:cubicBezTo>
                      <a:pt x="5" y="2"/>
                      <a:pt x="7" y="2"/>
                      <a:pt x="9" y="2"/>
                    </a:cubicBezTo>
                    <a:cubicBezTo>
                      <a:pt x="9" y="2"/>
                      <a:pt x="10" y="2"/>
                      <a:pt x="10" y="2"/>
                    </a:cubicBezTo>
                    <a:cubicBezTo>
                      <a:pt x="9" y="2"/>
                      <a:pt x="8" y="1"/>
                      <a:pt x="7" y="1"/>
                    </a:cubicBezTo>
                    <a:cubicBezTo>
                      <a:pt x="7" y="1"/>
                      <a:pt x="6" y="1"/>
                      <a:pt x="6" y="1"/>
                    </a:cubicBezTo>
                    <a:cubicBezTo>
                      <a:pt x="6" y="1"/>
                      <a:pt x="6" y="1"/>
                      <a:pt x="6" y="1"/>
                    </a:cubicBezTo>
                    <a:cubicBezTo>
                      <a:pt x="6" y="1"/>
                      <a:pt x="5" y="1"/>
                      <a:pt x="5" y="1"/>
                    </a:cubicBezTo>
                    <a:cubicBezTo>
                      <a:pt x="5" y="1"/>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 name="Freeform 97">
                <a:extLst>
                  <a:ext uri="{FF2B5EF4-FFF2-40B4-BE49-F238E27FC236}">
                    <a16:creationId xmlns:a16="http://schemas.microsoft.com/office/drawing/2014/main" id="{F9D875F1-6C28-4622-9318-14D1648F9FF4}"/>
                  </a:ext>
                </a:extLst>
              </p:cNvPr>
              <p:cNvSpPr>
                <a:spLocks/>
              </p:cNvSpPr>
              <p:nvPr/>
            </p:nvSpPr>
            <p:spPr bwMode="auto">
              <a:xfrm>
                <a:off x="5913" y="3629"/>
                <a:ext cx="4" cy="10"/>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0" y="1"/>
                      <a:pt x="0" y="2"/>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 name="Freeform 98">
                <a:extLst>
                  <a:ext uri="{FF2B5EF4-FFF2-40B4-BE49-F238E27FC236}">
                    <a16:creationId xmlns:a16="http://schemas.microsoft.com/office/drawing/2014/main" id="{EA387559-C94C-46B5-8613-FCE13FFC8071}"/>
                  </a:ext>
                </a:extLst>
              </p:cNvPr>
              <p:cNvSpPr>
                <a:spLocks/>
              </p:cNvSpPr>
              <p:nvPr/>
            </p:nvSpPr>
            <p:spPr bwMode="auto">
              <a:xfrm>
                <a:off x="5993" y="3781"/>
                <a:ext cx="5" cy="7"/>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0" y="0"/>
                      <a:pt x="0" y="1"/>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 name="Freeform 99">
                <a:extLst>
                  <a:ext uri="{FF2B5EF4-FFF2-40B4-BE49-F238E27FC236}">
                    <a16:creationId xmlns:a16="http://schemas.microsoft.com/office/drawing/2014/main" id="{E3133AFC-4904-4060-8D8E-09367B673D16}"/>
                  </a:ext>
                </a:extLst>
              </p:cNvPr>
              <p:cNvSpPr>
                <a:spLocks/>
              </p:cNvSpPr>
              <p:nvPr/>
            </p:nvSpPr>
            <p:spPr bwMode="auto">
              <a:xfrm>
                <a:off x="6726" y="4247"/>
                <a:ext cx="19" cy="11"/>
              </a:xfrm>
              <a:custGeom>
                <a:avLst/>
                <a:gdLst>
                  <a:gd name="T0" fmla="*/ 3 w 8"/>
                  <a:gd name="T1" fmla="*/ 0 h 5"/>
                  <a:gd name="T2" fmla="*/ 4 w 8"/>
                  <a:gd name="T3" fmla="*/ 5 h 5"/>
                  <a:gd name="T4" fmla="*/ 4 w 8"/>
                  <a:gd name="T5" fmla="*/ 5 h 5"/>
                  <a:gd name="T6" fmla="*/ 3 w 8"/>
                  <a:gd name="T7" fmla="*/ 0 h 5"/>
                </a:gdLst>
                <a:ahLst/>
                <a:cxnLst>
                  <a:cxn ang="0">
                    <a:pos x="T0" y="T1"/>
                  </a:cxn>
                  <a:cxn ang="0">
                    <a:pos x="T2" y="T3"/>
                  </a:cxn>
                  <a:cxn ang="0">
                    <a:pos x="T4" y="T5"/>
                  </a:cxn>
                  <a:cxn ang="0">
                    <a:pos x="T6" y="T7"/>
                  </a:cxn>
                </a:cxnLst>
                <a:rect l="0" t="0" r="r" b="b"/>
                <a:pathLst>
                  <a:path w="8" h="5">
                    <a:moveTo>
                      <a:pt x="3" y="0"/>
                    </a:moveTo>
                    <a:cubicBezTo>
                      <a:pt x="0" y="0"/>
                      <a:pt x="1" y="5"/>
                      <a:pt x="4" y="5"/>
                    </a:cubicBezTo>
                    <a:cubicBezTo>
                      <a:pt x="4" y="5"/>
                      <a:pt x="4" y="5"/>
                      <a:pt x="4" y="5"/>
                    </a:cubicBezTo>
                    <a:cubicBezTo>
                      <a:pt x="8" y="5"/>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 name="Freeform 100">
                <a:extLst>
                  <a:ext uri="{FF2B5EF4-FFF2-40B4-BE49-F238E27FC236}">
                    <a16:creationId xmlns:a16="http://schemas.microsoft.com/office/drawing/2014/main" id="{74F7C35A-604B-47FD-B142-B0E4F59AB5E0}"/>
                  </a:ext>
                </a:extLst>
              </p:cNvPr>
              <p:cNvSpPr>
                <a:spLocks/>
              </p:cNvSpPr>
              <p:nvPr/>
            </p:nvSpPr>
            <p:spPr bwMode="auto">
              <a:xfrm>
                <a:off x="6537" y="3967"/>
                <a:ext cx="9" cy="5"/>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0"/>
                      <a:pt x="1" y="1"/>
                      <a:pt x="0" y="2"/>
                    </a:cubicBezTo>
                    <a:cubicBezTo>
                      <a:pt x="2"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 name="Freeform 101">
                <a:extLst>
                  <a:ext uri="{FF2B5EF4-FFF2-40B4-BE49-F238E27FC236}">
                    <a16:creationId xmlns:a16="http://schemas.microsoft.com/office/drawing/2014/main" id="{DC888712-F59E-40F2-BFE8-4ADA24C431BC}"/>
                  </a:ext>
                </a:extLst>
              </p:cNvPr>
              <p:cNvSpPr>
                <a:spLocks/>
              </p:cNvSpPr>
              <p:nvPr/>
            </p:nvSpPr>
            <p:spPr bwMode="auto">
              <a:xfrm>
                <a:off x="6605" y="4029"/>
                <a:ext cx="15" cy="9"/>
              </a:xfrm>
              <a:custGeom>
                <a:avLst/>
                <a:gdLst>
                  <a:gd name="T0" fmla="*/ 3 w 6"/>
                  <a:gd name="T1" fmla="*/ 0 h 4"/>
                  <a:gd name="T2" fmla="*/ 0 w 6"/>
                  <a:gd name="T3" fmla="*/ 3 h 4"/>
                  <a:gd name="T4" fmla="*/ 2 w 6"/>
                  <a:gd name="T5" fmla="*/ 4 h 4"/>
                  <a:gd name="T6" fmla="*/ 3 w 6"/>
                  <a:gd name="T7" fmla="*/ 4 h 4"/>
                  <a:gd name="T8" fmla="*/ 4 w 6"/>
                  <a:gd name="T9" fmla="*/ 4 h 4"/>
                  <a:gd name="T10" fmla="*/ 6 w 6"/>
                  <a:gd name="T11" fmla="*/ 3 h 4"/>
                  <a:gd name="T12" fmla="*/ 4 w 6"/>
                  <a:gd name="T13" fmla="*/ 0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2"/>
                      <a:pt x="0" y="3"/>
                    </a:cubicBezTo>
                    <a:cubicBezTo>
                      <a:pt x="1" y="4"/>
                      <a:pt x="2" y="4"/>
                      <a:pt x="2" y="4"/>
                    </a:cubicBezTo>
                    <a:cubicBezTo>
                      <a:pt x="3" y="4"/>
                      <a:pt x="3" y="4"/>
                      <a:pt x="3" y="4"/>
                    </a:cubicBezTo>
                    <a:cubicBezTo>
                      <a:pt x="3" y="4"/>
                      <a:pt x="4" y="4"/>
                      <a:pt x="4" y="4"/>
                    </a:cubicBezTo>
                    <a:cubicBezTo>
                      <a:pt x="4" y="4"/>
                      <a:pt x="5" y="3"/>
                      <a:pt x="6" y="3"/>
                    </a:cubicBezTo>
                    <a:cubicBezTo>
                      <a:pt x="5" y="2"/>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 name="Freeform 102">
                <a:extLst>
                  <a:ext uri="{FF2B5EF4-FFF2-40B4-BE49-F238E27FC236}">
                    <a16:creationId xmlns:a16="http://schemas.microsoft.com/office/drawing/2014/main" id="{7C9EEB7E-9490-4F18-8486-21F67A86489F}"/>
                  </a:ext>
                </a:extLst>
              </p:cNvPr>
              <p:cNvSpPr>
                <a:spLocks/>
              </p:cNvSpPr>
              <p:nvPr/>
            </p:nvSpPr>
            <p:spPr bwMode="auto">
              <a:xfrm>
                <a:off x="6605" y="3998"/>
                <a:ext cx="5" cy="7"/>
              </a:xfrm>
              <a:custGeom>
                <a:avLst/>
                <a:gdLst>
                  <a:gd name="T0" fmla="*/ 1 w 2"/>
                  <a:gd name="T1" fmla="*/ 0 h 3"/>
                  <a:gd name="T2" fmla="*/ 2 w 2"/>
                  <a:gd name="T3" fmla="*/ 3 h 3"/>
                  <a:gd name="T4" fmla="*/ 1 w 2"/>
                  <a:gd name="T5" fmla="*/ 0 h 3"/>
                </a:gdLst>
                <a:ahLst/>
                <a:cxnLst>
                  <a:cxn ang="0">
                    <a:pos x="T0" y="T1"/>
                  </a:cxn>
                  <a:cxn ang="0">
                    <a:pos x="T2" y="T3"/>
                  </a:cxn>
                  <a:cxn ang="0">
                    <a:pos x="T4" y="T5"/>
                  </a:cxn>
                </a:cxnLst>
                <a:rect l="0" t="0" r="r" b="b"/>
                <a:pathLst>
                  <a:path w="2" h="3">
                    <a:moveTo>
                      <a:pt x="1" y="0"/>
                    </a:moveTo>
                    <a:cubicBezTo>
                      <a:pt x="0" y="1"/>
                      <a:pt x="1" y="2"/>
                      <a:pt x="2" y="3"/>
                    </a:cubicBezTo>
                    <a:cubicBezTo>
                      <a:pt x="2"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 name="Freeform 103">
                <a:extLst>
                  <a:ext uri="{FF2B5EF4-FFF2-40B4-BE49-F238E27FC236}">
                    <a16:creationId xmlns:a16="http://schemas.microsoft.com/office/drawing/2014/main" id="{0EF6D37F-6D5F-4C06-BEA2-315A43D64E52}"/>
                  </a:ext>
                </a:extLst>
              </p:cNvPr>
              <p:cNvSpPr>
                <a:spLocks/>
              </p:cNvSpPr>
              <p:nvPr/>
            </p:nvSpPr>
            <p:spPr bwMode="auto">
              <a:xfrm>
                <a:off x="6442" y="3996"/>
                <a:ext cx="17" cy="5"/>
              </a:xfrm>
              <a:custGeom>
                <a:avLst/>
                <a:gdLst>
                  <a:gd name="T0" fmla="*/ 7 w 7"/>
                  <a:gd name="T1" fmla="*/ 0 h 2"/>
                  <a:gd name="T2" fmla="*/ 0 w 7"/>
                  <a:gd name="T3" fmla="*/ 2 h 2"/>
                  <a:gd name="T4" fmla="*/ 7 w 7"/>
                  <a:gd name="T5" fmla="*/ 0 h 2"/>
                </a:gdLst>
                <a:ahLst/>
                <a:cxnLst>
                  <a:cxn ang="0">
                    <a:pos x="T0" y="T1"/>
                  </a:cxn>
                  <a:cxn ang="0">
                    <a:pos x="T2" y="T3"/>
                  </a:cxn>
                  <a:cxn ang="0">
                    <a:pos x="T4" y="T5"/>
                  </a:cxn>
                </a:cxnLst>
                <a:rect l="0" t="0" r="r" b="b"/>
                <a:pathLst>
                  <a:path w="7" h="2">
                    <a:moveTo>
                      <a:pt x="7" y="0"/>
                    </a:moveTo>
                    <a:cubicBezTo>
                      <a:pt x="5" y="0"/>
                      <a:pt x="2" y="1"/>
                      <a:pt x="0" y="2"/>
                    </a:cubicBezTo>
                    <a:cubicBezTo>
                      <a:pt x="3" y="1"/>
                      <a:pt x="5"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 name="Freeform 104">
                <a:extLst>
                  <a:ext uri="{FF2B5EF4-FFF2-40B4-BE49-F238E27FC236}">
                    <a16:creationId xmlns:a16="http://schemas.microsoft.com/office/drawing/2014/main" id="{49415994-E937-4EEB-A67F-F8EC2620B27B}"/>
                  </a:ext>
                </a:extLst>
              </p:cNvPr>
              <p:cNvSpPr>
                <a:spLocks/>
              </p:cNvSpPr>
              <p:nvPr/>
            </p:nvSpPr>
            <p:spPr bwMode="auto">
              <a:xfrm>
                <a:off x="6435" y="3960"/>
                <a:ext cx="10" cy="5"/>
              </a:xfrm>
              <a:custGeom>
                <a:avLst/>
                <a:gdLst>
                  <a:gd name="T0" fmla="*/ 0 w 4"/>
                  <a:gd name="T1" fmla="*/ 0 h 2"/>
                  <a:gd name="T2" fmla="*/ 3 w 4"/>
                  <a:gd name="T3" fmla="*/ 2 h 2"/>
                  <a:gd name="T4" fmla="*/ 4 w 4"/>
                  <a:gd name="T5" fmla="*/ 1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2" y="2"/>
                      <a:pt x="3" y="2"/>
                    </a:cubicBezTo>
                    <a:cubicBezTo>
                      <a:pt x="4" y="2"/>
                      <a:pt x="4" y="1"/>
                      <a:pt x="4" y="1"/>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 name="Freeform 105">
                <a:extLst>
                  <a:ext uri="{FF2B5EF4-FFF2-40B4-BE49-F238E27FC236}">
                    <a16:creationId xmlns:a16="http://schemas.microsoft.com/office/drawing/2014/main" id="{1DA83909-2412-4AF3-BA94-1C2C16844946}"/>
                  </a:ext>
                </a:extLst>
              </p:cNvPr>
              <p:cNvSpPr>
                <a:spLocks/>
              </p:cNvSpPr>
              <p:nvPr/>
            </p:nvSpPr>
            <p:spPr bwMode="auto">
              <a:xfrm>
                <a:off x="6454" y="3953"/>
                <a:ext cx="10" cy="7"/>
              </a:xfrm>
              <a:custGeom>
                <a:avLst/>
                <a:gdLst>
                  <a:gd name="T0" fmla="*/ 3 w 4"/>
                  <a:gd name="T1" fmla="*/ 0 h 3"/>
                  <a:gd name="T2" fmla="*/ 0 w 4"/>
                  <a:gd name="T3" fmla="*/ 3 h 3"/>
                  <a:gd name="T4" fmla="*/ 3 w 4"/>
                  <a:gd name="T5" fmla="*/ 0 h 3"/>
                </a:gdLst>
                <a:ahLst/>
                <a:cxnLst>
                  <a:cxn ang="0">
                    <a:pos x="T0" y="T1"/>
                  </a:cxn>
                  <a:cxn ang="0">
                    <a:pos x="T2" y="T3"/>
                  </a:cxn>
                  <a:cxn ang="0">
                    <a:pos x="T4" y="T5"/>
                  </a:cxn>
                </a:cxnLst>
                <a:rect l="0" t="0" r="r" b="b"/>
                <a:pathLst>
                  <a:path w="4" h="3">
                    <a:moveTo>
                      <a:pt x="3" y="0"/>
                    </a:moveTo>
                    <a:cubicBezTo>
                      <a:pt x="2" y="1"/>
                      <a:pt x="1" y="2"/>
                      <a:pt x="0" y="3"/>
                    </a:cubicBezTo>
                    <a:cubicBezTo>
                      <a:pt x="2"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 name="Freeform 106">
                <a:extLst>
                  <a:ext uri="{FF2B5EF4-FFF2-40B4-BE49-F238E27FC236}">
                    <a16:creationId xmlns:a16="http://schemas.microsoft.com/office/drawing/2014/main" id="{EFBF9D14-9A21-48AE-B894-58153928843F}"/>
                  </a:ext>
                </a:extLst>
              </p:cNvPr>
              <p:cNvSpPr>
                <a:spLocks/>
              </p:cNvSpPr>
              <p:nvPr/>
            </p:nvSpPr>
            <p:spPr bwMode="auto">
              <a:xfrm>
                <a:off x="6641" y="4242"/>
                <a:ext cx="9" cy="14"/>
              </a:xfrm>
              <a:custGeom>
                <a:avLst/>
                <a:gdLst>
                  <a:gd name="T0" fmla="*/ 2 w 4"/>
                  <a:gd name="T1" fmla="*/ 0 h 6"/>
                  <a:gd name="T2" fmla="*/ 0 w 4"/>
                  <a:gd name="T3" fmla="*/ 3 h 6"/>
                  <a:gd name="T4" fmla="*/ 0 w 4"/>
                  <a:gd name="T5" fmla="*/ 4 h 6"/>
                  <a:gd name="T6" fmla="*/ 2 w 4"/>
                  <a:gd name="T7" fmla="*/ 6 h 6"/>
                  <a:gd name="T8" fmla="*/ 4 w 4"/>
                  <a:gd name="T9" fmla="*/ 3 h 6"/>
                  <a:gd name="T10" fmla="*/ 2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2" y="0"/>
                    </a:moveTo>
                    <a:cubicBezTo>
                      <a:pt x="1" y="0"/>
                      <a:pt x="0" y="1"/>
                      <a:pt x="0" y="3"/>
                    </a:cubicBezTo>
                    <a:cubicBezTo>
                      <a:pt x="0" y="3"/>
                      <a:pt x="0" y="4"/>
                      <a:pt x="0" y="4"/>
                    </a:cubicBezTo>
                    <a:cubicBezTo>
                      <a:pt x="1" y="5"/>
                      <a:pt x="1" y="6"/>
                      <a:pt x="2" y="6"/>
                    </a:cubicBezTo>
                    <a:cubicBezTo>
                      <a:pt x="3" y="6"/>
                      <a:pt x="3" y="4"/>
                      <a:pt x="4"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 name="Freeform 107">
                <a:extLst>
                  <a:ext uri="{FF2B5EF4-FFF2-40B4-BE49-F238E27FC236}">
                    <a16:creationId xmlns:a16="http://schemas.microsoft.com/office/drawing/2014/main" id="{3EB48252-7709-4A59-8BC9-A5D22F02E2B4}"/>
                  </a:ext>
                </a:extLst>
              </p:cNvPr>
              <p:cNvSpPr>
                <a:spLocks/>
              </p:cNvSpPr>
              <p:nvPr/>
            </p:nvSpPr>
            <p:spPr bwMode="auto">
              <a:xfrm>
                <a:off x="1888" y="1185"/>
                <a:ext cx="54" cy="48"/>
              </a:xfrm>
              <a:custGeom>
                <a:avLst/>
                <a:gdLst>
                  <a:gd name="T0" fmla="*/ 19 w 23"/>
                  <a:gd name="T1" fmla="*/ 0 h 20"/>
                  <a:gd name="T2" fmla="*/ 12 w 23"/>
                  <a:gd name="T3" fmla="*/ 8 h 20"/>
                  <a:gd name="T4" fmla="*/ 7 w 23"/>
                  <a:gd name="T5" fmla="*/ 12 h 20"/>
                  <a:gd name="T6" fmla="*/ 0 w 23"/>
                  <a:gd name="T7" fmla="*/ 20 h 20"/>
                  <a:gd name="T8" fmla="*/ 13 w 23"/>
                  <a:gd name="T9" fmla="*/ 13 h 20"/>
                  <a:gd name="T10" fmla="*/ 20 w 23"/>
                  <a:gd name="T11" fmla="*/ 6 h 20"/>
                  <a:gd name="T12" fmla="*/ 23 w 23"/>
                  <a:gd name="T13" fmla="*/ 3 h 20"/>
                  <a:gd name="T14" fmla="*/ 19 w 23"/>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0">
                    <a:moveTo>
                      <a:pt x="19" y="0"/>
                    </a:moveTo>
                    <a:cubicBezTo>
                      <a:pt x="15" y="0"/>
                      <a:pt x="14" y="6"/>
                      <a:pt x="12" y="8"/>
                    </a:cubicBezTo>
                    <a:cubicBezTo>
                      <a:pt x="11" y="10"/>
                      <a:pt x="9" y="11"/>
                      <a:pt x="7" y="12"/>
                    </a:cubicBezTo>
                    <a:cubicBezTo>
                      <a:pt x="5" y="14"/>
                      <a:pt x="0" y="17"/>
                      <a:pt x="0" y="20"/>
                    </a:cubicBezTo>
                    <a:cubicBezTo>
                      <a:pt x="4" y="18"/>
                      <a:pt x="8" y="16"/>
                      <a:pt x="13" y="13"/>
                    </a:cubicBezTo>
                    <a:cubicBezTo>
                      <a:pt x="15" y="9"/>
                      <a:pt x="17" y="8"/>
                      <a:pt x="20" y="6"/>
                    </a:cubicBezTo>
                    <a:cubicBezTo>
                      <a:pt x="20" y="5"/>
                      <a:pt x="23" y="4"/>
                      <a:pt x="23" y="3"/>
                    </a:cubicBezTo>
                    <a:cubicBezTo>
                      <a:pt x="23" y="1"/>
                      <a:pt x="18"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 name="Freeform 108">
                <a:extLst>
                  <a:ext uri="{FF2B5EF4-FFF2-40B4-BE49-F238E27FC236}">
                    <a16:creationId xmlns:a16="http://schemas.microsoft.com/office/drawing/2014/main" id="{D95210A1-C15A-4497-90DA-B9E69A89F64A}"/>
                  </a:ext>
                </a:extLst>
              </p:cNvPr>
              <p:cNvSpPr>
                <a:spLocks/>
              </p:cNvSpPr>
              <p:nvPr/>
            </p:nvSpPr>
            <p:spPr bwMode="auto">
              <a:xfrm>
                <a:off x="2663" y="1524"/>
                <a:ext cx="27" cy="16"/>
              </a:xfrm>
              <a:custGeom>
                <a:avLst/>
                <a:gdLst>
                  <a:gd name="T0" fmla="*/ 8 w 11"/>
                  <a:gd name="T1" fmla="*/ 0 h 7"/>
                  <a:gd name="T2" fmla="*/ 0 w 11"/>
                  <a:gd name="T3" fmla="*/ 7 h 7"/>
                  <a:gd name="T4" fmla="*/ 7 w 11"/>
                  <a:gd name="T5" fmla="*/ 6 h 7"/>
                  <a:gd name="T6" fmla="*/ 11 w 11"/>
                  <a:gd name="T7" fmla="*/ 1 h 7"/>
                  <a:gd name="T8" fmla="*/ 8 w 11"/>
                  <a:gd name="T9" fmla="*/ 0 h 7"/>
                </a:gdLst>
                <a:ahLst/>
                <a:cxnLst>
                  <a:cxn ang="0">
                    <a:pos x="T0" y="T1"/>
                  </a:cxn>
                  <a:cxn ang="0">
                    <a:pos x="T2" y="T3"/>
                  </a:cxn>
                  <a:cxn ang="0">
                    <a:pos x="T4" y="T5"/>
                  </a:cxn>
                  <a:cxn ang="0">
                    <a:pos x="T6" y="T7"/>
                  </a:cxn>
                  <a:cxn ang="0">
                    <a:pos x="T8" y="T9"/>
                  </a:cxn>
                </a:cxnLst>
                <a:rect l="0" t="0" r="r" b="b"/>
                <a:pathLst>
                  <a:path w="11" h="7">
                    <a:moveTo>
                      <a:pt x="8" y="0"/>
                    </a:moveTo>
                    <a:cubicBezTo>
                      <a:pt x="4" y="0"/>
                      <a:pt x="0" y="3"/>
                      <a:pt x="0" y="7"/>
                    </a:cubicBezTo>
                    <a:cubicBezTo>
                      <a:pt x="2" y="7"/>
                      <a:pt x="5" y="6"/>
                      <a:pt x="7" y="6"/>
                    </a:cubicBezTo>
                    <a:cubicBezTo>
                      <a:pt x="11" y="5"/>
                      <a:pt x="11" y="4"/>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 name="Freeform 109">
                <a:extLst>
                  <a:ext uri="{FF2B5EF4-FFF2-40B4-BE49-F238E27FC236}">
                    <a16:creationId xmlns:a16="http://schemas.microsoft.com/office/drawing/2014/main" id="{C4F0D509-07D8-42EA-A63F-25E018115E95}"/>
                  </a:ext>
                </a:extLst>
              </p:cNvPr>
              <p:cNvSpPr>
                <a:spLocks/>
              </p:cNvSpPr>
              <p:nvPr/>
            </p:nvSpPr>
            <p:spPr bwMode="auto">
              <a:xfrm>
                <a:off x="2517" y="1358"/>
                <a:ext cx="90" cy="62"/>
              </a:xfrm>
              <a:custGeom>
                <a:avLst/>
                <a:gdLst>
                  <a:gd name="T0" fmla="*/ 14 w 38"/>
                  <a:gd name="T1" fmla="*/ 0 h 26"/>
                  <a:gd name="T2" fmla="*/ 14 w 38"/>
                  <a:gd name="T3" fmla="*/ 0 h 26"/>
                  <a:gd name="T4" fmla="*/ 10 w 38"/>
                  <a:gd name="T5" fmla="*/ 3 h 26"/>
                  <a:gd name="T6" fmla="*/ 10 w 38"/>
                  <a:gd name="T7" fmla="*/ 3 h 26"/>
                  <a:gd name="T8" fmla="*/ 7 w 38"/>
                  <a:gd name="T9" fmla="*/ 2 h 26"/>
                  <a:gd name="T10" fmla="*/ 6 w 38"/>
                  <a:gd name="T11" fmla="*/ 4 h 26"/>
                  <a:gd name="T12" fmla="*/ 2 w 38"/>
                  <a:gd name="T13" fmla="*/ 2 h 26"/>
                  <a:gd name="T14" fmla="*/ 0 w 38"/>
                  <a:gd name="T15" fmla="*/ 5 h 26"/>
                  <a:gd name="T16" fmla="*/ 9 w 38"/>
                  <a:gd name="T17" fmla="*/ 14 h 26"/>
                  <a:gd name="T18" fmla="*/ 2 w 38"/>
                  <a:gd name="T19" fmla="*/ 10 h 26"/>
                  <a:gd name="T20" fmla="*/ 1 w 38"/>
                  <a:gd name="T21" fmla="*/ 15 h 26"/>
                  <a:gd name="T22" fmla="*/ 1 w 38"/>
                  <a:gd name="T23" fmla="*/ 14 h 26"/>
                  <a:gd name="T24" fmla="*/ 7 w 38"/>
                  <a:gd name="T25" fmla="*/ 19 h 26"/>
                  <a:gd name="T26" fmla="*/ 7 w 38"/>
                  <a:gd name="T27" fmla="*/ 21 h 26"/>
                  <a:gd name="T28" fmla="*/ 7 w 38"/>
                  <a:gd name="T29" fmla="*/ 21 h 26"/>
                  <a:gd name="T30" fmla="*/ 8 w 38"/>
                  <a:gd name="T31" fmla="*/ 21 h 26"/>
                  <a:gd name="T32" fmla="*/ 9 w 38"/>
                  <a:gd name="T33" fmla="*/ 23 h 26"/>
                  <a:gd name="T34" fmla="*/ 13 w 38"/>
                  <a:gd name="T35" fmla="*/ 26 h 26"/>
                  <a:gd name="T36" fmla="*/ 19 w 38"/>
                  <a:gd name="T37" fmla="*/ 26 h 26"/>
                  <a:gd name="T38" fmla="*/ 21 w 38"/>
                  <a:gd name="T39" fmla="*/ 26 h 26"/>
                  <a:gd name="T40" fmla="*/ 15 w 38"/>
                  <a:gd name="T41" fmla="*/ 17 h 26"/>
                  <a:gd name="T42" fmla="*/ 23 w 38"/>
                  <a:gd name="T43" fmla="*/ 21 h 26"/>
                  <a:gd name="T44" fmla="*/ 38 w 38"/>
                  <a:gd name="T45" fmla="*/ 25 h 26"/>
                  <a:gd name="T46" fmla="*/ 34 w 38"/>
                  <a:gd name="T47" fmla="*/ 17 h 26"/>
                  <a:gd name="T48" fmla="*/ 34 w 38"/>
                  <a:gd name="T49" fmla="*/ 17 h 26"/>
                  <a:gd name="T50" fmla="*/ 31 w 38"/>
                  <a:gd name="T51" fmla="*/ 17 h 26"/>
                  <a:gd name="T52" fmla="*/ 29 w 38"/>
                  <a:gd name="T53" fmla="*/ 18 h 26"/>
                  <a:gd name="T54" fmla="*/ 28 w 38"/>
                  <a:gd name="T55" fmla="*/ 18 h 26"/>
                  <a:gd name="T56" fmla="*/ 22 w 38"/>
                  <a:gd name="T57" fmla="*/ 13 h 26"/>
                  <a:gd name="T58" fmla="*/ 13 w 38"/>
                  <a:gd name="T59" fmla="*/ 9 h 26"/>
                  <a:gd name="T60" fmla="*/ 22 w 38"/>
                  <a:gd name="T61" fmla="*/ 13 h 26"/>
                  <a:gd name="T62" fmla="*/ 31 w 38"/>
                  <a:gd name="T63" fmla="*/ 16 h 26"/>
                  <a:gd name="T64" fmla="*/ 35 w 38"/>
                  <a:gd name="T65" fmla="*/ 15 h 26"/>
                  <a:gd name="T66" fmla="*/ 29 w 38"/>
                  <a:gd name="T67" fmla="*/ 11 h 26"/>
                  <a:gd name="T68" fmla="*/ 35 w 38"/>
                  <a:gd name="T69" fmla="*/ 14 h 26"/>
                  <a:gd name="T70" fmla="*/ 32 w 38"/>
                  <a:gd name="T71" fmla="*/ 6 h 26"/>
                  <a:gd name="T72" fmla="*/ 28 w 38"/>
                  <a:gd name="T73" fmla="*/ 5 h 26"/>
                  <a:gd name="T74" fmla="*/ 25 w 38"/>
                  <a:gd name="T75" fmla="*/ 4 h 26"/>
                  <a:gd name="T76" fmla="*/ 24 w 38"/>
                  <a:gd name="T77" fmla="*/ 4 h 26"/>
                  <a:gd name="T78" fmla="*/ 21 w 38"/>
                  <a:gd name="T79" fmla="*/ 8 h 26"/>
                  <a:gd name="T80" fmla="*/ 18 w 38"/>
                  <a:gd name="T81" fmla="*/ 10 h 26"/>
                  <a:gd name="T82" fmla="*/ 15 w 38"/>
                  <a:gd name="T83" fmla="*/ 9 h 26"/>
                  <a:gd name="T84" fmla="*/ 19 w 38"/>
                  <a:gd name="T85" fmla="*/ 8 h 26"/>
                  <a:gd name="T86" fmla="*/ 16 w 38"/>
                  <a:gd name="T87" fmla="*/ 7 h 26"/>
                  <a:gd name="T88" fmla="*/ 20 w 38"/>
                  <a:gd name="T89" fmla="*/ 2 h 26"/>
                  <a:gd name="T90" fmla="*/ 14 w 38"/>
                  <a:gd name="T9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14" y="0"/>
                    </a:moveTo>
                    <a:cubicBezTo>
                      <a:pt x="14" y="0"/>
                      <a:pt x="14" y="0"/>
                      <a:pt x="14" y="0"/>
                    </a:cubicBezTo>
                    <a:cubicBezTo>
                      <a:pt x="12" y="0"/>
                      <a:pt x="12" y="3"/>
                      <a:pt x="10" y="3"/>
                    </a:cubicBezTo>
                    <a:cubicBezTo>
                      <a:pt x="10" y="3"/>
                      <a:pt x="10" y="3"/>
                      <a:pt x="10" y="3"/>
                    </a:cubicBezTo>
                    <a:cubicBezTo>
                      <a:pt x="9" y="3"/>
                      <a:pt x="8" y="2"/>
                      <a:pt x="7" y="2"/>
                    </a:cubicBezTo>
                    <a:cubicBezTo>
                      <a:pt x="6" y="2"/>
                      <a:pt x="6" y="2"/>
                      <a:pt x="6" y="4"/>
                    </a:cubicBezTo>
                    <a:cubicBezTo>
                      <a:pt x="5" y="3"/>
                      <a:pt x="3" y="2"/>
                      <a:pt x="2" y="2"/>
                    </a:cubicBezTo>
                    <a:cubicBezTo>
                      <a:pt x="4" y="4"/>
                      <a:pt x="4" y="5"/>
                      <a:pt x="0" y="5"/>
                    </a:cubicBezTo>
                    <a:cubicBezTo>
                      <a:pt x="2" y="8"/>
                      <a:pt x="7" y="11"/>
                      <a:pt x="9" y="14"/>
                    </a:cubicBezTo>
                    <a:cubicBezTo>
                      <a:pt x="7" y="13"/>
                      <a:pt x="5" y="10"/>
                      <a:pt x="2" y="10"/>
                    </a:cubicBezTo>
                    <a:cubicBezTo>
                      <a:pt x="2" y="11"/>
                      <a:pt x="1" y="13"/>
                      <a:pt x="1" y="15"/>
                    </a:cubicBezTo>
                    <a:cubicBezTo>
                      <a:pt x="1" y="15"/>
                      <a:pt x="1" y="14"/>
                      <a:pt x="1" y="14"/>
                    </a:cubicBezTo>
                    <a:cubicBezTo>
                      <a:pt x="3" y="14"/>
                      <a:pt x="7" y="18"/>
                      <a:pt x="7" y="19"/>
                    </a:cubicBezTo>
                    <a:cubicBezTo>
                      <a:pt x="8" y="20"/>
                      <a:pt x="7" y="20"/>
                      <a:pt x="7" y="21"/>
                    </a:cubicBezTo>
                    <a:cubicBezTo>
                      <a:pt x="7" y="21"/>
                      <a:pt x="7" y="21"/>
                      <a:pt x="7" y="21"/>
                    </a:cubicBezTo>
                    <a:cubicBezTo>
                      <a:pt x="8" y="21"/>
                      <a:pt x="8" y="21"/>
                      <a:pt x="8" y="21"/>
                    </a:cubicBezTo>
                    <a:cubicBezTo>
                      <a:pt x="8" y="21"/>
                      <a:pt x="9" y="22"/>
                      <a:pt x="9" y="23"/>
                    </a:cubicBezTo>
                    <a:cubicBezTo>
                      <a:pt x="11" y="24"/>
                      <a:pt x="12" y="24"/>
                      <a:pt x="13" y="26"/>
                    </a:cubicBezTo>
                    <a:cubicBezTo>
                      <a:pt x="15" y="26"/>
                      <a:pt x="17" y="26"/>
                      <a:pt x="19" y="26"/>
                    </a:cubicBezTo>
                    <a:cubicBezTo>
                      <a:pt x="20" y="26"/>
                      <a:pt x="20" y="26"/>
                      <a:pt x="21" y="26"/>
                    </a:cubicBezTo>
                    <a:cubicBezTo>
                      <a:pt x="20" y="21"/>
                      <a:pt x="17" y="21"/>
                      <a:pt x="15" y="17"/>
                    </a:cubicBezTo>
                    <a:cubicBezTo>
                      <a:pt x="18" y="17"/>
                      <a:pt x="20" y="19"/>
                      <a:pt x="23" y="21"/>
                    </a:cubicBezTo>
                    <a:cubicBezTo>
                      <a:pt x="27" y="23"/>
                      <a:pt x="32" y="25"/>
                      <a:pt x="38" y="25"/>
                    </a:cubicBezTo>
                    <a:cubicBezTo>
                      <a:pt x="37" y="23"/>
                      <a:pt x="37" y="17"/>
                      <a:pt x="34" y="17"/>
                    </a:cubicBezTo>
                    <a:cubicBezTo>
                      <a:pt x="34" y="17"/>
                      <a:pt x="34" y="17"/>
                      <a:pt x="34" y="17"/>
                    </a:cubicBezTo>
                    <a:cubicBezTo>
                      <a:pt x="33" y="17"/>
                      <a:pt x="32" y="17"/>
                      <a:pt x="31" y="17"/>
                    </a:cubicBezTo>
                    <a:cubicBezTo>
                      <a:pt x="30" y="18"/>
                      <a:pt x="29" y="18"/>
                      <a:pt x="29" y="18"/>
                    </a:cubicBezTo>
                    <a:cubicBezTo>
                      <a:pt x="28" y="18"/>
                      <a:pt x="28" y="18"/>
                      <a:pt x="28" y="18"/>
                    </a:cubicBezTo>
                    <a:cubicBezTo>
                      <a:pt x="26" y="17"/>
                      <a:pt x="24" y="15"/>
                      <a:pt x="22" y="13"/>
                    </a:cubicBezTo>
                    <a:cubicBezTo>
                      <a:pt x="19" y="12"/>
                      <a:pt x="15" y="11"/>
                      <a:pt x="13" y="9"/>
                    </a:cubicBezTo>
                    <a:cubicBezTo>
                      <a:pt x="16" y="10"/>
                      <a:pt x="19" y="12"/>
                      <a:pt x="22" y="13"/>
                    </a:cubicBezTo>
                    <a:cubicBezTo>
                      <a:pt x="25" y="14"/>
                      <a:pt x="28" y="16"/>
                      <a:pt x="31" y="16"/>
                    </a:cubicBezTo>
                    <a:cubicBezTo>
                      <a:pt x="32" y="16"/>
                      <a:pt x="33" y="15"/>
                      <a:pt x="35" y="15"/>
                    </a:cubicBezTo>
                    <a:cubicBezTo>
                      <a:pt x="33" y="14"/>
                      <a:pt x="30" y="12"/>
                      <a:pt x="29" y="11"/>
                    </a:cubicBezTo>
                    <a:cubicBezTo>
                      <a:pt x="31" y="12"/>
                      <a:pt x="33" y="13"/>
                      <a:pt x="35" y="14"/>
                    </a:cubicBezTo>
                    <a:cubicBezTo>
                      <a:pt x="33" y="10"/>
                      <a:pt x="37" y="7"/>
                      <a:pt x="32" y="6"/>
                    </a:cubicBezTo>
                    <a:cubicBezTo>
                      <a:pt x="30" y="5"/>
                      <a:pt x="29" y="6"/>
                      <a:pt x="28" y="5"/>
                    </a:cubicBezTo>
                    <a:cubicBezTo>
                      <a:pt x="27" y="5"/>
                      <a:pt x="26" y="4"/>
                      <a:pt x="25" y="4"/>
                    </a:cubicBezTo>
                    <a:cubicBezTo>
                      <a:pt x="25" y="4"/>
                      <a:pt x="25" y="4"/>
                      <a:pt x="24" y="4"/>
                    </a:cubicBezTo>
                    <a:cubicBezTo>
                      <a:pt x="24" y="4"/>
                      <a:pt x="22" y="7"/>
                      <a:pt x="21" y="8"/>
                    </a:cubicBezTo>
                    <a:cubicBezTo>
                      <a:pt x="20" y="9"/>
                      <a:pt x="19" y="10"/>
                      <a:pt x="18" y="10"/>
                    </a:cubicBezTo>
                    <a:cubicBezTo>
                      <a:pt x="18" y="10"/>
                      <a:pt x="17" y="9"/>
                      <a:pt x="15" y="9"/>
                    </a:cubicBezTo>
                    <a:cubicBezTo>
                      <a:pt x="16" y="8"/>
                      <a:pt x="18" y="8"/>
                      <a:pt x="19" y="8"/>
                    </a:cubicBezTo>
                    <a:cubicBezTo>
                      <a:pt x="18" y="8"/>
                      <a:pt x="17" y="7"/>
                      <a:pt x="16" y="7"/>
                    </a:cubicBezTo>
                    <a:cubicBezTo>
                      <a:pt x="18" y="7"/>
                      <a:pt x="24" y="4"/>
                      <a:pt x="20" y="2"/>
                    </a:cubicBezTo>
                    <a:cubicBezTo>
                      <a:pt x="19" y="1"/>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 name="Freeform 110">
                <a:extLst>
                  <a:ext uri="{FF2B5EF4-FFF2-40B4-BE49-F238E27FC236}">
                    <a16:creationId xmlns:a16="http://schemas.microsoft.com/office/drawing/2014/main" id="{9E414780-43B5-4676-BA88-2FD8635B9857}"/>
                  </a:ext>
                </a:extLst>
              </p:cNvPr>
              <p:cNvSpPr>
                <a:spLocks/>
              </p:cNvSpPr>
              <p:nvPr/>
            </p:nvSpPr>
            <p:spPr bwMode="auto">
              <a:xfrm>
                <a:off x="1595" y="1339"/>
                <a:ext cx="71" cy="40"/>
              </a:xfrm>
              <a:custGeom>
                <a:avLst/>
                <a:gdLst>
                  <a:gd name="T0" fmla="*/ 15 w 30"/>
                  <a:gd name="T1" fmla="*/ 0 h 17"/>
                  <a:gd name="T2" fmla="*/ 14 w 30"/>
                  <a:gd name="T3" fmla="*/ 0 h 17"/>
                  <a:gd name="T4" fmla="*/ 9 w 30"/>
                  <a:gd name="T5" fmla="*/ 3 h 17"/>
                  <a:gd name="T6" fmla="*/ 11 w 30"/>
                  <a:gd name="T7" fmla="*/ 5 h 17"/>
                  <a:gd name="T8" fmla="*/ 12 w 30"/>
                  <a:gd name="T9" fmla="*/ 7 h 17"/>
                  <a:gd name="T10" fmla="*/ 6 w 30"/>
                  <a:gd name="T11" fmla="*/ 6 h 17"/>
                  <a:gd name="T12" fmla="*/ 6 w 30"/>
                  <a:gd name="T13" fmla="*/ 6 h 17"/>
                  <a:gd name="T14" fmla="*/ 8 w 30"/>
                  <a:gd name="T15" fmla="*/ 11 h 17"/>
                  <a:gd name="T16" fmla="*/ 4 w 30"/>
                  <a:gd name="T17" fmla="*/ 10 h 17"/>
                  <a:gd name="T18" fmla="*/ 2 w 30"/>
                  <a:gd name="T19" fmla="*/ 13 h 17"/>
                  <a:gd name="T20" fmla="*/ 3 w 30"/>
                  <a:gd name="T21" fmla="*/ 13 h 17"/>
                  <a:gd name="T22" fmla="*/ 3 w 30"/>
                  <a:gd name="T23" fmla="*/ 13 h 17"/>
                  <a:gd name="T24" fmla="*/ 4 w 30"/>
                  <a:gd name="T25" fmla="*/ 13 h 17"/>
                  <a:gd name="T26" fmla="*/ 4 w 30"/>
                  <a:gd name="T27" fmla="*/ 13 h 17"/>
                  <a:gd name="T28" fmla="*/ 5 w 30"/>
                  <a:gd name="T29" fmla="*/ 15 h 17"/>
                  <a:gd name="T30" fmla="*/ 9 w 30"/>
                  <a:gd name="T31" fmla="*/ 17 h 17"/>
                  <a:gd name="T32" fmla="*/ 16 w 30"/>
                  <a:gd name="T33" fmla="*/ 10 h 17"/>
                  <a:gd name="T34" fmla="*/ 21 w 30"/>
                  <a:gd name="T35" fmla="*/ 12 h 17"/>
                  <a:gd name="T36" fmla="*/ 22 w 30"/>
                  <a:gd name="T37" fmla="*/ 12 h 17"/>
                  <a:gd name="T38" fmla="*/ 23 w 30"/>
                  <a:gd name="T39" fmla="*/ 8 h 17"/>
                  <a:gd name="T40" fmla="*/ 27 w 30"/>
                  <a:gd name="T41" fmla="*/ 11 h 17"/>
                  <a:gd name="T42" fmla="*/ 29 w 30"/>
                  <a:gd name="T43" fmla="*/ 8 h 17"/>
                  <a:gd name="T44" fmla="*/ 30 w 30"/>
                  <a:gd name="T45" fmla="*/ 5 h 17"/>
                  <a:gd name="T46" fmla="*/ 27 w 30"/>
                  <a:gd name="T47" fmla="*/ 8 h 17"/>
                  <a:gd name="T48" fmla="*/ 26 w 30"/>
                  <a:gd name="T49" fmla="*/ 4 h 17"/>
                  <a:gd name="T50" fmla="*/ 25 w 30"/>
                  <a:gd name="T51" fmla="*/ 4 h 17"/>
                  <a:gd name="T52" fmla="*/ 25 w 30"/>
                  <a:gd name="T53" fmla="*/ 4 h 17"/>
                  <a:gd name="T54" fmla="*/ 24 w 30"/>
                  <a:gd name="T55" fmla="*/ 4 h 17"/>
                  <a:gd name="T56" fmla="*/ 23 w 30"/>
                  <a:gd name="T57" fmla="*/ 3 h 17"/>
                  <a:gd name="T58" fmla="*/ 22 w 30"/>
                  <a:gd name="T59" fmla="*/ 2 h 17"/>
                  <a:gd name="T60" fmla="*/ 20 w 30"/>
                  <a:gd name="T61" fmla="*/ 6 h 17"/>
                  <a:gd name="T62" fmla="*/ 15 w 30"/>
                  <a:gd name="T6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17">
                    <a:moveTo>
                      <a:pt x="15" y="0"/>
                    </a:moveTo>
                    <a:cubicBezTo>
                      <a:pt x="15" y="0"/>
                      <a:pt x="14" y="0"/>
                      <a:pt x="14" y="0"/>
                    </a:cubicBezTo>
                    <a:cubicBezTo>
                      <a:pt x="12" y="1"/>
                      <a:pt x="11" y="3"/>
                      <a:pt x="9" y="3"/>
                    </a:cubicBezTo>
                    <a:cubicBezTo>
                      <a:pt x="10" y="3"/>
                      <a:pt x="11" y="4"/>
                      <a:pt x="11" y="5"/>
                    </a:cubicBezTo>
                    <a:cubicBezTo>
                      <a:pt x="11" y="5"/>
                      <a:pt x="11" y="6"/>
                      <a:pt x="12" y="7"/>
                    </a:cubicBezTo>
                    <a:cubicBezTo>
                      <a:pt x="11" y="7"/>
                      <a:pt x="7" y="6"/>
                      <a:pt x="6" y="6"/>
                    </a:cubicBezTo>
                    <a:cubicBezTo>
                      <a:pt x="6" y="6"/>
                      <a:pt x="6" y="6"/>
                      <a:pt x="6" y="6"/>
                    </a:cubicBezTo>
                    <a:cubicBezTo>
                      <a:pt x="1" y="7"/>
                      <a:pt x="6" y="9"/>
                      <a:pt x="8" y="11"/>
                    </a:cubicBezTo>
                    <a:cubicBezTo>
                      <a:pt x="7" y="11"/>
                      <a:pt x="5" y="10"/>
                      <a:pt x="4" y="10"/>
                    </a:cubicBezTo>
                    <a:cubicBezTo>
                      <a:pt x="1" y="10"/>
                      <a:pt x="0" y="11"/>
                      <a:pt x="2" y="13"/>
                    </a:cubicBezTo>
                    <a:cubicBezTo>
                      <a:pt x="3" y="13"/>
                      <a:pt x="3" y="13"/>
                      <a:pt x="3" y="13"/>
                    </a:cubicBezTo>
                    <a:cubicBezTo>
                      <a:pt x="3" y="13"/>
                      <a:pt x="3" y="13"/>
                      <a:pt x="3" y="13"/>
                    </a:cubicBezTo>
                    <a:cubicBezTo>
                      <a:pt x="3" y="13"/>
                      <a:pt x="4" y="13"/>
                      <a:pt x="4" y="13"/>
                    </a:cubicBezTo>
                    <a:cubicBezTo>
                      <a:pt x="4" y="13"/>
                      <a:pt x="4" y="13"/>
                      <a:pt x="4" y="13"/>
                    </a:cubicBezTo>
                    <a:cubicBezTo>
                      <a:pt x="5" y="13"/>
                      <a:pt x="4" y="14"/>
                      <a:pt x="5" y="15"/>
                    </a:cubicBezTo>
                    <a:cubicBezTo>
                      <a:pt x="6" y="15"/>
                      <a:pt x="8" y="16"/>
                      <a:pt x="9" y="17"/>
                    </a:cubicBezTo>
                    <a:cubicBezTo>
                      <a:pt x="12" y="15"/>
                      <a:pt x="14" y="12"/>
                      <a:pt x="16" y="10"/>
                    </a:cubicBezTo>
                    <a:cubicBezTo>
                      <a:pt x="17" y="11"/>
                      <a:pt x="20" y="12"/>
                      <a:pt x="21" y="12"/>
                    </a:cubicBezTo>
                    <a:cubicBezTo>
                      <a:pt x="22" y="12"/>
                      <a:pt x="22" y="12"/>
                      <a:pt x="22" y="12"/>
                    </a:cubicBezTo>
                    <a:cubicBezTo>
                      <a:pt x="23" y="12"/>
                      <a:pt x="23" y="9"/>
                      <a:pt x="23" y="8"/>
                    </a:cubicBezTo>
                    <a:cubicBezTo>
                      <a:pt x="24" y="10"/>
                      <a:pt x="25" y="11"/>
                      <a:pt x="27" y="11"/>
                    </a:cubicBezTo>
                    <a:cubicBezTo>
                      <a:pt x="27" y="11"/>
                      <a:pt x="28" y="10"/>
                      <a:pt x="29" y="8"/>
                    </a:cubicBezTo>
                    <a:cubicBezTo>
                      <a:pt x="30" y="6"/>
                      <a:pt x="30" y="5"/>
                      <a:pt x="30" y="5"/>
                    </a:cubicBezTo>
                    <a:cubicBezTo>
                      <a:pt x="29" y="5"/>
                      <a:pt x="28" y="7"/>
                      <a:pt x="27" y="8"/>
                    </a:cubicBezTo>
                    <a:cubicBezTo>
                      <a:pt x="26" y="5"/>
                      <a:pt x="28" y="5"/>
                      <a:pt x="26" y="4"/>
                    </a:cubicBezTo>
                    <a:cubicBezTo>
                      <a:pt x="26" y="4"/>
                      <a:pt x="26" y="4"/>
                      <a:pt x="25" y="4"/>
                    </a:cubicBezTo>
                    <a:cubicBezTo>
                      <a:pt x="25" y="4"/>
                      <a:pt x="25" y="4"/>
                      <a:pt x="25" y="4"/>
                    </a:cubicBezTo>
                    <a:cubicBezTo>
                      <a:pt x="25" y="4"/>
                      <a:pt x="25" y="4"/>
                      <a:pt x="24" y="4"/>
                    </a:cubicBezTo>
                    <a:cubicBezTo>
                      <a:pt x="24" y="4"/>
                      <a:pt x="24" y="4"/>
                      <a:pt x="23" y="3"/>
                    </a:cubicBezTo>
                    <a:cubicBezTo>
                      <a:pt x="23" y="2"/>
                      <a:pt x="22" y="2"/>
                      <a:pt x="22" y="2"/>
                    </a:cubicBezTo>
                    <a:cubicBezTo>
                      <a:pt x="21" y="2"/>
                      <a:pt x="20" y="6"/>
                      <a:pt x="20" y="6"/>
                    </a:cubicBezTo>
                    <a:cubicBezTo>
                      <a:pt x="20" y="6"/>
                      <a:pt x="17"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 name="Freeform 111">
                <a:extLst>
                  <a:ext uri="{FF2B5EF4-FFF2-40B4-BE49-F238E27FC236}">
                    <a16:creationId xmlns:a16="http://schemas.microsoft.com/office/drawing/2014/main" id="{B0F966D4-FE01-4995-9733-10FC1B1963F6}"/>
                  </a:ext>
                </a:extLst>
              </p:cNvPr>
              <p:cNvSpPr>
                <a:spLocks/>
              </p:cNvSpPr>
              <p:nvPr/>
            </p:nvSpPr>
            <p:spPr bwMode="auto">
              <a:xfrm>
                <a:off x="2550" y="1431"/>
                <a:ext cx="19" cy="26"/>
              </a:xfrm>
              <a:custGeom>
                <a:avLst/>
                <a:gdLst>
                  <a:gd name="T0" fmla="*/ 1 w 8"/>
                  <a:gd name="T1" fmla="*/ 0 h 11"/>
                  <a:gd name="T2" fmla="*/ 0 w 8"/>
                  <a:gd name="T3" fmla="*/ 2 h 11"/>
                  <a:gd name="T4" fmla="*/ 2 w 8"/>
                  <a:gd name="T5" fmla="*/ 6 h 11"/>
                  <a:gd name="T6" fmla="*/ 0 w 8"/>
                  <a:gd name="T7" fmla="*/ 10 h 11"/>
                  <a:gd name="T8" fmla="*/ 2 w 8"/>
                  <a:gd name="T9" fmla="*/ 11 h 11"/>
                  <a:gd name="T10" fmla="*/ 4 w 8"/>
                  <a:gd name="T11" fmla="*/ 11 h 11"/>
                  <a:gd name="T12" fmla="*/ 3 w 8"/>
                  <a:gd name="T13" fmla="*/ 0 h 11"/>
                  <a:gd name="T14" fmla="*/ 1 w 8"/>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1" y="0"/>
                    </a:moveTo>
                    <a:cubicBezTo>
                      <a:pt x="0" y="0"/>
                      <a:pt x="0" y="1"/>
                      <a:pt x="0" y="2"/>
                    </a:cubicBezTo>
                    <a:cubicBezTo>
                      <a:pt x="0" y="4"/>
                      <a:pt x="0" y="5"/>
                      <a:pt x="2" y="6"/>
                    </a:cubicBezTo>
                    <a:cubicBezTo>
                      <a:pt x="3" y="7"/>
                      <a:pt x="0" y="8"/>
                      <a:pt x="0" y="10"/>
                    </a:cubicBezTo>
                    <a:cubicBezTo>
                      <a:pt x="0" y="11"/>
                      <a:pt x="1" y="11"/>
                      <a:pt x="2" y="11"/>
                    </a:cubicBezTo>
                    <a:cubicBezTo>
                      <a:pt x="3" y="11"/>
                      <a:pt x="4" y="11"/>
                      <a:pt x="4" y="11"/>
                    </a:cubicBezTo>
                    <a:cubicBezTo>
                      <a:pt x="8" y="9"/>
                      <a:pt x="5" y="3"/>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 name="Freeform 112">
                <a:extLst>
                  <a:ext uri="{FF2B5EF4-FFF2-40B4-BE49-F238E27FC236}">
                    <a16:creationId xmlns:a16="http://schemas.microsoft.com/office/drawing/2014/main" id="{1AE9CAAA-B5BD-4A75-B8EA-58CB50BA21C9}"/>
                  </a:ext>
                </a:extLst>
              </p:cNvPr>
              <p:cNvSpPr>
                <a:spLocks/>
              </p:cNvSpPr>
              <p:nvPr/>
            </p:nvSpPr>
            <p:spPr bwMode="auto">
              <a:xfrm>
                <a:off x="1510" y="1379"/>
                <a:ext cx="146" cy="100"/>
              </a:xfrm>
              <a:custGeom>
                <a:avLst/>
                <a:gdLst>
                  <a:gd name="T0" fmla="*/ 35 w 62"/>
                  <a:gd name="T1" fmla="*/ 0 h 42"/>
                  <a:gd name="T2" fmla="*/ 36 w 62"/>
                  <a:gd name="T3" fmla="*/ 3 h 42"/>
                  <a:gd name="T4" fmla="*/ 33 w 62"/>
                  <a:gd name="T5" fmla="*/ 6 h 42"/>
                  <a:gd name="T6" fmla="*/ 34 w 62"/>
                  <a:gd name="T7" fmla="*/ 9 h 42"/>
                  <a:gd name="T8" fmla="*/ 33 w 62"/>
                  <a:gd name="T9" fmla="*/ 9 h 42"/>
                  <a:gd name="T10" fmla="*/ 32 w 62"/>
                  <a:gd name="T11" fmla="*/ 9 h 42"/>
                  <a:gd name="T12" fmla="*/ 29 w 62"/>
                  <a:gd name="T13" fmla="*/ 5 h 42"/>
                  <a:gd name="T14" fmla="*/ 20 w 62"/>
                  <a:gd name="T15" fmla="*/ 7 h 42"/>
                  <a:gd name="T16" fmla="*/ 23 w 62"/>
                  <a:gd name="T17" fmla="*/ 11 h 42"/>
                  <a:gd name="T18" fmla="*/ 26 w 62"/>
                  <a:gd name="T19" fmla="*/ 15 h 42"/>
                  <a:gd name="T20" fmla="*/ 22 w 62"/>
                  <a:gd name="T21" fmla="*/ 14 h 42"/>
                  <a:gd name="T22" fmla="*/ 16 w 62"/>
                  <a:gd name="T23" fmla="*/ 15 h 42"/>
                  <a:gd name="T24" fmla="*/ 12 w 62"/>
                  <a:gd name="T25" fmla="*/ 11 h 42"/>
                  <a:gd name="T26" fmla="*/ 9 w 62"/>
                  <a:gd name="T27" fmla="*/ 14 h 42"/>
                  <a:gd name="T28" fmla="*/ 5 w 62"/>
                  <a:gd name="T29" fmla="*/ 15 h 42"/>
                  <a:gd name="T30" fmla="*/ 0 w 62"/>
                  <a:gd name="T31" fmla="*/ 22 h 42"/>
                  <a:gd name="T32" fmla="*/ 6 w 62"/>
                  <a:gd name="T33" fmla="*/ 30 h 42"/>
                  <a:gd name="T34" fmla="*/ 12 w 62"/>
                  <a:gd name="T35" fmla="*/ 38 h 42"/>
                  <a:gd name="T36" fmla="*/ 15 w 62"/>
                  <a:gd name="T37" fmla="*/ 33 h 42"/>
                  <a:gd name="T38" fmla="*/ 13 w 62"/>
                  <a:gd name="T39" fmla="*/ 28 h 42"/>
                  <a:gd name="T40" fmla="*/ 19 w 62"/>
                  <a:gd name="T41" fmla="*/ 29 h 42"/>
                  <a:gd name="T42" fmla="*/ 16 w 62"/>
                  <a:gd name="T43" fmla="*/ 34 h 42"/>
                  <a:gd name="T44" fmla="*/ 16 w 62"/>
                  <a:gd name="T45" fmla="*/ 42 h 42"/>
                  <a:gd name="T46" fmla="*/ 18 w 62"/>
                  <a:gd name="T47" fmla="*/ 41 h 42"/>
                  <a:gd name="T48" fmla="*/ 20 w 62"/>
                  <a:gd name="T49" fmla="*/ 41 h 42"/>
                  <a:gd name="T50" fmla="*/ 26 w 62"/>
                  <a:gd name="T51" fmla="*/ 35 h 42"/>
                  <a:gd name="T52" fmla="*/ 29 w 62"/>
                  <a:gd name="T53" fmla="*/ 30 h 42"/>
                  <a:gd name="T54" fmla="*/ 33 w 62"/>
                  <a:gd name="T55" fmla="*/ 28 h 42"/>
                  <a:gd name="T56" fmla="*/ 43 w 62"/>
                  <a:gd name="T57" fmla="*/ 24 h 42"/>
                  <a:gd name="T58" fmla="*/ 45 w 62"/>
                  <a:gd name="T59" fmla="*/ 23 h 42"/>
                  <a:gd name="T60" fmla="*/ 43 w 62"/>
                  <a:gd name="T61" fmla="*/ 16 h 42"/>
                  <a:gd name="T62" fmla="*/ 57 w 62"/>
                  <a:gd name="T63" fmla="*/ 17 h 42"/>
                  <a:gd name="T64" fmla="*/ 61 w 62"/>
                  <a:gd name="T65" fmla="*/ 12 h 42"/>
                  <a:gd name="T66" fmla="*/ 59 w 62"/>
                  <a:gd name="T67" fmla="*/ 12 h 42"/>
                  <a:gd name="T68" fmla="*/ 58 w 62"/>
                  <a:gd name="T69" fmla="*/ 12 h 42"/>
                  <a:gd name="T70" fmla="*/ 56 w 62"/>
                  <a:gd name="T71" fmla="*/ 10 h 42"/>
                  <a:gd name="T72" fmla="*/ 57 w 62"/>
                  <a:gd name="T73" fmla="*/ 5 h 42"/>
                  <a:gd name="T74" fmla="*/ 56 w 62"/>
                  <a:gd name="T75" fmla="*/ 5 h 42"/>
                  <a:gd name="T76" fmla="*/ 55 w 62"/>
                  <a:gd name="T77" fmla="*/ 5 h 42"/>
                  <a:gd name="T78" fmla="*/ 51 w 62"/>
                  <a:gd name="T79" fmla="*/ 4 h 42"/>
                  <a:gd name="T80" fmla="*/ 49 w 62"/>
                  <a:gd name="T81" fmla="*/ 4 h 42"/>
                  <a:gd name="T82" fmla="*/ 47 w 62"/>
                  <a:gd name="T83" fmla="*/ 4 h 42"/>
                  <a:gd name="T84" fmla="*/ 43 w 62"/>
                  <a:gd name="T85" fmla="*/ 2 h 42"/>
                  <a:gd name="T86" fmla="*/ 42 w 62"/>
                  <a:gd name="T87" fmla="*/ 2 h 42"/>
                  <a:gd name="T88" fmla="*/ 35 w 62"/>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2">
                    <a:moveTo>
                      <a:pt x="35" y="0"/>
                    </a:moveTo>
                    <a:cubicBezTo>
                      <a:pt x="35" y="0"/>
                      <a:pt x="35" y="0"/>
                      <a:pt x="35" y="0"/>
                    </a:cubicBezTo>
                    <a:cubicBezTo>
                      <a:pt x="35" y="0"/>
                      <a:pt x="40" y="4"/>
                      <a:pt x="40" y="5"/>
                    </a:cubicBezTo>
                    <a:cubicBezTo>
                      <a:pt x="39" y="5"/>
                      <a:pt x="38" y="4"/>
                      <a:pt x="36" y="3"/>
                    </a:cubicBezTo>
                    <a:cubicBezTo>
                      <a:pt x="37" y="4"/>
                      <a:pt x="38" y="6"/>
                      <a:pt x="37" y="7"/>
                    </a:cubicBezTo>
                    <a:cubicBezTo>
                      <a:pt x="37" y="6"/>
                      <a:pt x="34" y="6"/>
                      <a:pt x="33" y="6"/>
                    </a:cubicBezTo>
                    <a:cubicBezTo>
                      <a:pt x="32" y="5"/>
                      <a:pt x="32" y="5"/>
                      <a:pt x="31" y="5"/>
                    </a:cubicBezTo>
                    <a:cubicBezTo>
                      <a:pt x="30" y="5"/>
                      <a:pt x="34" y="8"/>
                      <a:pt x="34" y="9"/>
                    </a:cubicBezTo>
                    <a:cubicBezTo>
                      <a:pt x="35" y="9"/>
                      <a:pt x="34" y="9"/>
                      <a:pt x="34" y="9"/>
                    </a:cubicBezTo>
                    <a:cubicBezTo>
                      <a:pt x="34" y="9"/>
                      <a:pt x="33" y="9"/>
                      <a:pt x="33" y="9"/>
                    </a:cubicBezTo>
                    <a:cubicBezTo>
                      <a:pt x="33" y="9"/>
                      <a:pt x="32" y="7"/>
                      <a:pt x="32" y="7"/>
                    </a:cubicBezTo>
                    <a:cubicBezTo>
                      <a:pt x="31" y="7"/>
                      <a:pt x="31" y="8"/>
                      <a:pt x="32" y="9"/>
                    </a:cubicBezTo>
                    <a:cubicBezTo>
                      <a:pt x="32" y="9"/>
                      <a:pt x="32" y="10"/>
                      <a:pt x="32" y="10"/>
                    </a:cubicBezTo>
                    <a:cubicBezTo>
                      <a:pt x="31" y="10"/>
                      <a:pt x="29" y="6"/>
                      <a:pt x="29" y="5"/>
                    </a:cubicBezTo>
                    <a:cubicBezTo>
                      <a:pt x="28" y="4"/>
                      <a:pt x="26" y="3"/>
                      <a:pt x="24" y="3"/>
                    </a:cubicBezTo>
                    <a:cubicBezTo>
                      <a:pt x="22" y="3"/>
                      <a:pt x="21" y="4"/>
                      <a:pt x="20" y="7"/>
                    </a:cubicBezTo>
                    <a:cubicBezTo>
                      <a:pt x="20" y="11"/>
                      <a:pt x="27" y="9"/>
                      <a:pt x="28" y="13"/>
                    </a:cubicBezTo>
                    <a:cubicBezTo>
                      <a:pt x="27" y="13"/>
                      <a:pt x="25" y="11"/>
                      <a:pt x="23" y="11"/>
                    </a:cubicBezTo>
                    <a:cubicBezTo>
                      <a:pt x="23" y="11"/>
                      <a:pt x="22" y="11"/>
                      <a:pt x="22" y="11"/>
                    </a:cubicBezTo>
                    <a:cubicBezTo>
                      <a:pt x="21" y="12"/>
                      <a:pt x="25" y="14"/>
                      <a:pt x="26" y="15"/>
                    </a:cubicBezTo>
                    <a:cubicBezTo>
                      <a:pt x="26" y="15"/>
                      <a:pt x="26" y="15"/>
                      <a:pt x="26" y="15"/>
                    </a:cubicBezTo>
                    <a:cubicBezTo>
                      <a:pt x="25" y="15"/>
                      <a:pt x="23" y="14"/>
                      <a:pt x="22" y="14"/>
                    </a:cubicBezTo>
                    <a:cubicBezTo>
                      <a:pt x="23" y="14"/>
                      <a:pt x="23" y="15"/>
                      <a:pt x="23" y="16"/>
                    </a:cubicBezTo>
                    <a:cubicBezTo>
                      <a:pt x="21" y="16"/>
                      <a:pt x="19" y="16"/>
                      <a:pt x="16" y="15"/>
                    </a:cubicBezTo>
                    <a:cubicBezTo>
                      <a:pt x="20" y="12"/>
                      <a:pt x="17" y="11"/>
                      <a:pt x="14" y="11"/>
                    </a:cubicBezTo>
                    <a:cubicBezTo>
                      <a:pt x="14" y="11"/>
                      <a:pt x="13" y="11"/>
                      <a:pt x="12" y="11"/>
                    </a:cubicBezTo>
                    <a:cubicBezTo>
                      <a:pt x="11" y="12"/>
                      <a:pt x="10" y="12"/>
                      <a:pt x="8" y="14"/>
                    </a:cubicBezTo>
                    <a:cubicBezTo>
                      <a:pt x="9" y="14"/>
                      <a:pt x="9" y="14"/>
                      <a:pt x="9" y="14"/>
                    </a:cubicBezTo>
                    <a:cubicBezTo>
                      <a:pt x="9" y="14"/>
                      <a:pt x="8" y="14"/>
                      <a:pt x="8" y="14"/>
                    </a:cubicBezTo>
                    <a:cubicBezTo>
                      <a:pt x="7" y="14"/>
                      <a:pt x="6" y="14"/>
                      <a:pt x="5" y="15"/>
                    </a:cubicBezTo>
                    <a:cubicBezTo>
                      <a:pt x="4" y="16"/>
                      <a:pt x="4" y="17"/>
                      <a:pt x="4" y="18"/>
                    </a:cubicBezTo>
                    <a:cubicBezTo>
                      <a:pt x="3" y="19"/>
                      <a:pt x="0" y="20"/>
                      <a:pt x="0" y="22"/>
                    </a:cubicBezTo>
                    <a:cubicBezTo>
                      <a:pt x="0" y="25"/>
                      <a:pt x="1" y="23"/>
                      <a:pt x="3" y="24"/>
                    </a:cubicBezTo>
                    <a:cubicBezTo>
                      <a:pt x="6" y="25"/>
                      <a:pt x="6" y="27"/>
                      <a:pt x="6" y="30"/>
                    </a:cubicBezTo>
                    <a:cubicBezTo>
                      <a:pt x="7" y="33"/>
                      <a:pt x="7" y="32"/>
                      <a:pt x="9" y="34"/>
                    </a:cubicBezTo>
                    <a:cubicBezTo>
                      <a:pt x="10" y="35"/>
                      <a:pt x="11" y="36"/>
                      <a:pt x="12" y="38"/>
                    </a:cubicBezTo>
                    <a:cubicBezTo>
                      <a:pt x="12" y="36"/>
                      <a:pt x="14" y="37"/>
                      <a:pt x="13" y="35"/>
                    </a:cubicBezTo>
                    <a:cubicBezTo>
                      <a:pt x="14" y="35"/>
                      <a:pt x="15" y="34"/>
                      <a:pt x="15" y="33"/>
                    </a:cubicBezTo>
                    <a:cubicBezTo>
                      <a:pt x="15" y="31"/>
                      <a:pt x="9" y="30"/>
                      <a:pt x="7" y="29"/>
                    </a:cubicBezTo>
                    <a:cubicBezTo>
                      <a:pt x="9" y="29"/>
                      <a:pt x="12" y="29"/>
                      <a:pt x="13" y="28"/>
                    </a:cubicBezTo>
                    <a:cubicBezTo>
                      <a:pt x="13" y="28"/>
                      <a:pt x="13" y="28"/>
                      <a:pt x="14" y="28"/>
                    </a:cubicBezTo>
                    <a:cubicBezTo>
                      <a:pt x="15" y="28"/>
                      <a:pt x="17" y="29"/>
                      <a:pt x="19" y="29"/>
                    </a:cubicBezTo>
                    <a:cubicBezTo>
                      <a:pt x="18" y="30"/>
                      <a:pt x="15" y="32"/>
                      <a:pt x="16" y="33"/>
                    </a:cubicBezTo>
                    <a:cubicBezTo>
                      <a:pt x="16" y="34"/>
                      <a:pt x="16" y="34"/>
                      <a:pt x="16" y="34"/>
                    </a:cubicBezTo>
                    <a:cubicBezTo>
                      <a:pt x="18" y="34"/>
                      <a:pt x="22" y="28"/>
                      <a:pt x="24" y="28"/>
                    </a:cubicBezTo>
                    <a:cubicBezTo>
                      <a:pt x="21" y="33"/>
                      <a:pt x="17" y="36"/>
                      <a:pt x="16" y="42"/>
                    </a:cubicBezTo>
                    <a:cubicBezTo>
                      <a:pt x="16" y="41"/>
                      <a:pt x="17" y="41"/>
                      <a:pt x="17" y="41"/>
                    </a:cubicBezTo>
                    <a:cubicBezTo>
                      <a:pt x="17" y="41"/>
                      <a:pt x="18" y="41"/>
                      <a:pt x="18" y="41"/>
                    </a:cubicBezTo>
                    <a:cubicBezTo>
                      <a:pt x="18" y="41"/>
                      <a:pt x="19" y="41"/>
                      <a:pt x="19" y="41"/>
                    </a:cubicBezTo>
                    <a:cubicBezTo>
                      <a:pt x="19" y="41"/>
                      <a:pt x="20" y="41"/>
                      <a:pt x="20" y="41"/>
                    </a:cubicBezTo>
                    <a:cubicBezTo>
                      <a:pt x="21" y="41"/>
                      <a:pt x="22" y="39"/>
                      <a:pt x="23" y="38"/>
                    </a:cubicBezTo>
                    <a:cubicBezTo>
                      <a:pt x="24" y="38"/>
                      <a:pt x="25" y="36"/>
                      <a:pt x="26" y="35"/>
                    </a:cubicBezTo>
                    <a:cubicBezTo>
                      <a:pt x="31" y="33"/>
                      <a:pt x="28" y="34"/>
                      <a:pt x="24" y="31"/>
                    </a:cubicBezTo>
                    <a:cubicBezTo>
                      <a:pt x="25" y="31"/>
                      <a:pt x="29" y="31"/>
                      <a:pt x="29" y="30"/>
                    </a:cubicBezTo>
                    <a:cubicBezTo>
                      <a:pt x="30" y="29"/>
                      <a:pt x="29" y="27"/>
                      <a:pt x="30" y="27"/>
                    </a:cubicBezTo>
                    <a:cubicBezTo>
                      <a:pt x="31" y="27"/>
                      <a:pt x="32" y="27"/>
                      <a:pt x="33" y="28"/>
                    </a:cubicBezTo>
                    <a:cubicBezTo>
                      <a:pt x="34" y="28"/>
                      <a:pt x="35" y="27"/>
                      <a:pt x="37" y="26"/>
                    </a:cubicBezTo>
                    <a:cubicBezTo>
                      <a:pt x="38" y="26"/>
                      <a:pt x="41" y="25"/>
                      <a:pt x="43" y="24"/>
                    </a:cubicBezTo>
                    <a:cubicBezTo>
                      <a:pt x="42" y="23"/>
                      <a:pt x="40" y="23"/>
                      <a:pt x="39" y="22"/>
                    </a:cubicBezTo>
                    <a:cubicBezTo>
                      <a:pt x="40" y="22"/>
                      <a:pt x="43" y="23"/>
                      <a:pt x="45" y="23"/>
                    </a:cubicBezTo>
                    <a:cubicBezTo>
                      <a:pt x="49" y="23"/>
                      <a:pt x="52" y="22"/>
                      <a:pt x="50" y="19"/>
                    </a:cubicBezTo>
                    <a:cubicBezTo>
                      <a:pt x="48" y="18"/>
                      <a:pt x="45" y="18"/>
                      <a:pt x="43" y="16"/>
                    </a:cubicBezTo>
                    <a:cubicBezTo>
                      <a:pt x="47" y="16"/>
                      <a:pt x="50" y="18"/>
                      <a:pt x="54" y="18"/>
                    </a:cubicBezTo>
                    <a:cubicBezTo>
                      <a:pt x="55" y="18"/>
                      <a:pt x="56" y="18"/>
                      <a:pt x="57" y="17"/>
                    </a:cubicBezTo>
                    <a:cubicBezTo>
                      <a:pt x="58" y="17"/>
                      <a:pt x="62" y="13"/>
                      <a:pt x="61" y="12"/>
                    </a:cubicBezTo>
                    <a:cubicBezTo>
                      <a:pt x="61" y="12"/>
                      <a:pt x="61" y="12"/>
                      <a:pt x="61" y="12"/>
                    </a:cubicBezTo>
                    <a:cubicBezTo>
                      <a:pt x="60" y="12"/>
                      <a:pt x="60" y="12"/>
                      <a:pt x="60" y="12"/>
                    </a:cubicBezTo>
                    <a:cubicBezTo>
                      <a:pt x="59" y="12"/>
                      <a:pt x="59" y="12"/>
                      <a:pt x="59" y="12"/>
                    </a:cubicBezTo>
                    <a:cubicBezTo>
                      <a:pt x="59" y="12"/>
                      <a:pt x="59" y="12"/>
                      <a:pt x="59" y="12"/>
                    </a:cubicBezTo>
                    <a:cubicBezTo>
                      <a:pt x="59" y="12"/>
                      <a:pt x="58" y="12"/>
                      <a:pt x="58" y="12"/>
                    </a:cubicBezTo>
                    <a:cubicBezTo>
                      <a:pt x="57" y="12"/>
                      <a:pt x="56" y="12"/>
                      <a:pt x="55" y="13"/>
                    </a:cubicBezTo>
                    <a:cubicBezTo>
                      <a:pt x="55" y="12"/>
                      <a:pt x="55" y="11"/>
                      <a:pt x="56" y="10"/>
                    </a:cubicBezTo>
                    <a:cubicBezTo>
                      <a:pt x="55" y="11"/>
                      <a:pt x="54" y="11"/>
                      <a:pt x="54" y="11"/>
                    </a:cubicBezTo>
                    <a:cubicBezTo>
                      <a:pt x="55" y="9"/>
                      <a:pt x="57" y="7"/>
                      <a:pt x="57" y="5"/>
                    </a:cubicBezTo>
                    <a:cubicBezTo>
                      <a:pt x="57" y="5"/>
                      <a:pt x="57" y="5"/>
                      <a:pt x="57" y="5"/>
                    </a:cubicBezTo>
                    <a:cubicBezTo>
                      <a:pt x="57" y="5"/>
                      <a:pt x="56" y="5"/>
                      <a:pt x="56" y="5"/>
                    </a:cubicBezTo>
                    <a:cubicBezTo>
                      <a:pt x="56" y="6"/>
                      <a:pt x="56" y="6"/>
                      <a:pt x="55" y="6"/>
                    </a:cubicBezTo>
                    <a:cubicBezTo>
                      <a:pt x="55" y="6"/>
                      <a:pt x="55" y="5"/>
                      <a:pt x="55" y="5"/>
                    </a:cubicBezTo>
                    <a:cubicBezTo>
                      <a:pt x="56" y="4"/>
                      <a:pt x="53" y="2"/>
                      <a:pt x="52" y="2"/>
                    </a:cubicBezTo>
                    <a:cubicBezTo>
                      <a:pt x="51" y="2"/>
                      <a:pt x="50" y="3"/>
                      <a:pt x="51" y="4"/>
                    </a:cubicBezTo>
                    <a:cubicBezTo>
                      <a:pt x="50" y="4"/>
                      <a:pt x="50" y="4"/>
                      <a:pt x="50" y="4"/>
                    </a:cubicBezTo>
                    <a:cubicBezTo>
                      <a:pt x="49" y="4"/>
                      <a:pt x="49" y="4"/>
                      <a:pt x="49" y="4"/>
                    </a:cubicBezTo>
                    <a:cubicBezTo>
                      <a:pt x="49" y="5"/>
                      <a:pt x="48" y="5"/>
                      <a:pt x="48" y="5"/>
                    </a:cubicBezTo>
                    <a:cubicBezTo>
                      <a:pt x="48" y="5"/>
                      <a:pt x="47" y="5"/>
                      <a:pt x="47" y="4"/>
                    </a:cubicBezTo>
                    <a:cubicBezTo>
                      <a:pt x="45" y="3"/>
                      <a:pt x="46" y="2"/>
                      <a:pt x="44" y="2"/>
                    </a:cubicBezTo>
                    <a:cubicBezTo>
                      <a:pt x="44" y="2"/>
                      <a:pt x="44" y="2"/>
                      <a:pt x="43" y="2"/>
                    </a:cubicBezTo>
                    <a:cubicBezTo>
                      <a:pt x="43" y="2"/>
                      <a:pt x="43" y="2"/>
                      <a:pt x="42" y="2"/>
                    </a:cubicBezTo>
                    <a:cubicBezTo>
                      <a:pt x="42" y="2"/>
                      <a:pt x="42" y="2"/>
                      <a:pt x="42" y="2"/>
                    </a:cubicBezTo>
                    <a:cubicBezTo>
                      <a:pt x="42" y="2"/>
                      <a:pt x="42" y="2"/>
                      <a:pt x="41" y="2"/>
                    </a:cubicBezTo>
                    <a:cubicBezTo>
                      <a:pt x="41" y="2"/>
                      <a:pt x="37"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 name="Freeform 113">
                <a:extLst>
                  <a:ext uri="{FF2B5EF4-FFF2-40B4-BE49-F238E27FC236}">
                    <a16:creationId xmlns:a16="http://schemas.microsoft.com/office/drawing/2014/main" id="{CEA26D82-6C97-48F5-8B15-D77B64D7BD4E}"/>
                  </a:ext>
                </a:extLst>
              </p:cNvPr>
              <p:cNvSpPr>
                <a:spLocks/>
              </p:cNvSpPr>
              <p:nvPr/>
            </p:nvSpPr>
            <p:spPr bwMode="auto">
              <a:xfrm>
                <a:off x="2510" y="1372"/>
                <a:ext cx="14" cy="17"/>
              </a:xfrm>
              <a:custGeom>
                <a:avLst/>
                <a:gdLst>
                  <a:gd name="T0" fmla="*/ 3 w 6"/>
                  <a:gd name="T1" fmla="*/ 0 h 7"/>
                  <a:gd name="T2" fmla="*/ 1 w 6"/>
                  <a:gd name="T3" fmla="*/ 4 h 7"/>
                  <a:gd name="T4" fmla="*/ 3 w 6"/>
                  <a:gd name="T5" fmla="*/ 7 h 7"/>
                  <a:gd name="T6" fmla="*/ 3 w 6"/>
                  <a:gd name="T7" fmla="*/ 0 h 7"/>
                </a:gdLst>
                <a:ahLst/>
                <a:cxnLst>
                  <a:cxn ang="0">
                    <a:pos x="T0" y="T1"/>
                  </a:cxn>
                  <a:cxn ang="0">
                    <a:pos x="T2" y="T3"/>
                  </a:cxn>
                  <a:cxn ang="0">
                    <a:pos x="T4" y="T5"/>
                  </a:cxn>
                  <a:cxn ang="0">
                    <a:pos x="T6" y="T7"/>
                  </a:cxn>
                </a:cxnLst>
                <a:rect l="0" t="0" r="r" b="b"/>
                <a:pathLst>
                  <a:path w="6" h="7">
                    <a:moveTo>
                      <a:pt x="3" y="0"/>
                    </a:moveTo>
                    <a:cubicBezTo>
                      <a:pt x="1" y="1"/>
                      <a:pt x="0" y="2"/>
                      <a:pt x="1" y="4"/>
                    </a:cubicBezTo>
                    <a:cubicBezTo>
                      <a:pt x="1" y="5"/>
                      <a:pt x="2" y="6"/>
                      <a:pt x="3" y="7"/>
                    </a:cubicBezTo>
                    <a:cubicBezTo>
                      <a:pt x="5" y="4"/>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 name="Freeform 114">
                <a:extLst>
                  <a:ext uri="{FF2B5EF4-FFF2-40B4-BE49-F238E27FC236}">
                    <a16:creationId xmlns:a16="http://schemas.microsoft.com/office/drawing/2014/main" id="{0CB18FFC-3F42-4CEF-B121-2C8D7E923924}"/>
                  </a:ext>
                </a:extLst>
              </p:cNvPr>
              <p:cNvSpPr>
                <a:spLocks/>
              </p:cNvSpPr>
              <p:nvPr/>
            </p:nvSpPr>
            <p:spPr bwMode="auto">
              <a:xfrm>
                <a:off x="2739" y="1498"/>
                <a:ext cx="26" cy="28"/>
              </a:xfrm>
              <a:custGeom>
                <a:avLst/>
                <a:gdLst>
                  <a:gd name="T0" fmla="*/ 1 w 11"/>
                  <a:gd name="T1" fmla="*/ 0 h 12"/>
                  <a:gd name="T2" fmla="*/ 3 w 11"/>
                  <a:gd name="T3" fmla="*/ 9 h 12"/>
                  <a:gd name="T4" fmla="*/ 7 w 11"/>
                  <a:gd name="T5" fmla="*/ 11 h 12"/>
                  <a:gd name="T6" fmla="*/ 8 w 11"/>
                  <a:gd name="T7" fmla="*/ 12 h 12"/>
                  <a:gd name="T8" fmla="*/ 8 w 11"/>
                  <a:gd name="T9" fmla="*/ 12 h 12"/>
                  <a:gd name="T10" fmla="*/ 11 w 11"/>
                  <a:gd name="T11" fmla="*/ 10 h 12"/>
                  <a:gd name="T12" fmla="*/ 1 w 11"/>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1" y="0"/>
                    </a:moveTo>
                    <a:cubicBezTo>
                      <a:pt x="1" y="4"/>
                      <a:pt x="0" y="7"/>
                      <a:pt x="3" y="9"/>
                    </a:cubicBezTo>
                    <a:cubicBezTo>
                      <a:pt x="4" y="10"/>
                      <a:pt x="6" y="11"/>
                      <a:pt x="7" y="11"/>
                    </a:cubicBezTo>
                    <a:cubicBezTo>
                      <a:pt x="8" y="11"/>
                      <a:pt x="7" y="12"/>
                      <a:pt x="8" y="12"/>
                    </a:cubicBezTo>
                    <a:cubicBezTo>
                      <a:pt x="8" y="12"/>
                      <a:pt x="8" y="12"/>
                      <a:pt x="8" y="12"/>
                    </a:cubicBezTo>
                    <a:cubicBezTo>
                      <a:pt x="9" y="12"/>
                      <a:pt x="10" y="10"/>
                      <a:pt x="11" y="10"/>
                    </a:cubicBezTo>
                    <a:cubicBezTo>
                      <a:pt x="8" y="6"/>
                      <a:pt x="4"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 name="Freeform 115">
                <a:extLst>
                  <a:ext uri="{FF2B5EF4-FFF2-40B4-BE49-F238E27FC236}">
                    <a16:creationId xmlns:a16="http://schemas.microsoft.com/office/drawing/2014/main" id="{D734D410-D1E2-45B0-8541-5CE1C7BE765C}"/>
                  </a:ext>
                </a:extLst>
              </p:cNvPr>
              <p:cNvSpPr>
                <a:spLocks/>
              </p:cNvSpPr>
              <p:nvPr/>
            </p:nvSpPr>
            <p:spPr bwMode="auto">
              <a:xfrm>
                <a:off x="1171" y="1580"/>
                <a:ext cx="26" cy="22"/>
              </a:xfrm>
              <a:custGeom>
                <a:avLst/>
                <a:gdLst>
                  <a:gd name="T0" fmla="*/ 6 w 11"/>
                  <a:gd name="T1" fmla="*/ 0 h 9"/>
                  <a:gd name="T2" fmla="*/ 3 w 11"/>
                  <a:gd name="T3" fmla="*/ 9 h 9"/>
                  <a:gd name="T4" fmla="*/ 9 w 11"/>
                  <a:gd name="T5" fmla="*/ 8 h 9"/>
                  <a:gd name="T6" fmla="*/ 10 w 11"/>
                  <a:gd name="T7" fmla="*/ 8 h 9"/>
                  <a:gd name="T8" fmla="*/ 10 w 11"/>
                  <a:gd name="T9" fmla="*/ 8 h 9"/>
                  <a:gd name="T10" fmla="*/ 10 w 11"/>
                  <a:gd name="T11" fmla="*/ 8 h 9"/>
                  <a:gd name="T12" fmla="*/ 11 w 11"/>
                  <a:gd name="T13" fmla="*/ 7 h 9"/>
                  <a:gd name="T14" fmla="*/ 6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6" y="0"/>
                    </a:moveTo>
                    <a:cubicBezTo>
                      <a:pt x="0" y="1"/>
                      <a:pt x="4" y="6"/>
                      <a:pt x="3" y="9"/>
                    </a:cubicBezTo>
                    <a:cubicBezTo>
                      <a:pt x="5" y="9"/>
                      <a:pt x="8" y="9"/>
                      <a:pt x="9" y="8"/>
                    </a:cubicBezTo>
                    <a:cubicBezTo>
                      <a:pt x="10" y="8"/>
                      <a:pt x="10" y="8"/>
                      <a:pt x="10" y="8"/>
                    </a:cubicBezTo>
                    <a:cubicBezTo>
                      <a:pt x="10" y="8"/>
                      <a:pt x="10" y="8"/>
                      <a:pt x="10" y="8"/>
                    </a:cubicBezTo>
                    <a:cubicBezTo>
                      <a:pt x="10" y="8"/>
                      <a:pt x="10" y="8"/>
                      <a:pt x="10" y="8"/>
                    </a:cubicBezTo>
                    <a:cubicBezTo>
                      <a:pt x="11" y="8"/>
                      <a:pt x="11" y="8"/>
                      <a:pt x="11" y="7"/>
                    </a:cubicBezTo>
                    <a:cubicBezTo>
                      <a:pt x="10" y="4"/>
                      <a:pt x="8"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 name="Freeform 116">
                <a:extLst>
                  <a:ext uri="{FF2B5EF4-FFF2-40B4-BE49-F238E27FC236}">
                    <a16:creationId xmlns:a16="http://schemas.microsoft.com/office/drawing/2014/main" id="{C0D223AE-4D72-4B45-9EA8-633CB56D1D5C}"/>
                  </a:ext>
                </a:extLst>
              </p:cNvPr>
              <p:cNvSpPr>
                <a:spLocks/>
              </p:cNvSpPr>
              <p:nvPr/>
            </p:nvSpPr>
            <p:spPr bwMode="auto">
              <a:xfrm>
                <a:off x="1214" y="1592"/>
                <a:ext cx="19" cy="31"/>
              </a:xfrm>
              <a:custGeom>
                <a:avLst/>
                <a:gdLst>
                  <a:gd name="T0" fmla="*/ 7 w 8"/>
                  <a:gd name="T1" fmla="*/ 0 h 13"/>
                  <a:gd name="T2" fmla="*/ 0 w 8"/>
                  <a:gd name="T3" fmla="*/ 5 h 13"/>
                  <a:gd name="T4" fmla="*/ 2 w 8"/>
                  <a:gd name="T5" fmla="*/ 8 h 13"/>
                  <a:gd name="T6" fmla="*/ 0 w 8"/>
                  <a:gd name="T7" fmla="*/ 13 h 13"/>
                  <a:gd name="T8" fmla="*/ 4 w 8"/>
                  <a:gd name="T9" fmla="*/ 7 h 13"/>
                  <a:gd name="T10" fmla="*/ 6 w 8"/>
                  <a:gd name="T11" fmla="*/ 5 h 13"/>
                  <a:gd name="T12" fmla="*/ 6 w 8"/>
                  <a:gd name="T13" fmla="*/ 4 h 13"/>
                  <a:gd name="T14" fmla="*/ 7 w 8"/>
                  <a:gd name="T15" fmla="*/ 5 h 13"/>
                  <a:gd name="T16" fmla="*/ 8 w 8"/>
                  <a:gd name="T17" fmla="*/ 3 h 13"/>
                  <a:gd name="T18" fmla="*/ 8 w 8"/>
                  <a:gd name="T19" fmla="*/ 0 h 13"/>
                  <a:gd name="T20" fmla="*/ 7 w 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7" y="0"/>
                    </a:moveTo>
                    <a:cubicBezTo>
                      <a:pt x="6" y="0"/>
                      <a:pt x="1" y="3"/>
                      <a:pt x="0" y="5"/>
                    </a:cubicBezTo>
                    <a:cubicBezTo>
                      <a:pt x="0" y="5"/>
                      <a:pt x="2" y="7"/>
                      <a:pt x="2" y="8"/>
                    </a:cubicBezTo>
                    <a:cubicBezTo>
                      <a:pt x="2" y="9"/>
                      <a:pt x="0" y="11"/>
                      <a:pt x="0" y="13"/>
                    </a:cubicBezTo>
                    <a:cubicBezTo>
                      <a:pt x="1" y="10"/>
                      <a:pt x="2" y="9"/>
                      <a:pt x="4" y="7"/>
                    </a:cubicBezTo>
                    <a:cubicBezTo>
                      <a:pt x="4" y="7"/>
                      <a:pt x="6" y="6"/>
                      <a:pt x="6" y="5"/>
                    </a:cubicBezTo>
                    <a:cubicBezTo>
                      <a:pt x="5" y="5"/>
                      <a:pt x="5" y="4"/>
                      <a:pt x="6" y="4"/>
                    </a:cubicBezTo>
                    <a:cubicBezTo>
                      <a:pt x="6" y="4"/>
                      <a:pt x="7" y="5"/>
                      <a:pt x="7" y="5"/>
                    </a:cubicBezTo>
                    <a:cubicBezTo>
                      <a:pt x="7" y="5"/>
                      <a:pt x="8" y="4"/>
                      <a:pt x="8" y="3"/>
                    </a:cubicBezTo>
                    <a:cubicBezTo>
                      <a:pt x="8" y="3"/>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 name="Freeform 117">
                <a:extLst>
                  <a:ext uri="{FF2B5EF4-FFF2-40B4-BE49-F238E27FC236}">
                    <a16:creationId xmlns:a16="http://schemas.microsoft.com/office/drawing/2014/main" id="{8DF263A5-5260-42BE-8690-C38EAE92E240}"/>
                  </a:ext>
                </a:extLst>
              </p:cNvPr>
              <p:cNvSpPr>
                <a:spLocks/>
              </p:cNvSpPr>
              <p:nvPr/>
            </p:nvSpPr>
            <p:spPr bwMode="auto">
              <a:xfrm>
                <a:off x="795" y="1687"/>
                <a:ext cx="88" cy="57"/>
              </a:xfrm>
              <a:custGeom>
                <a:avLst/>
                <a:gdLst>
                  <a:gd name="T0" fmla="*/ 26 w 37"/>
                  <a:gd name="T1" fmla="*/ 0 h 24"/>
                  <a:gd name="T2" fmla="*/ 20 w 37"/>
                  <a:gd name="T3" fmla="*/ 1 h 24"/>
                  <a:gd name="T4" fmla="*/ 18 w 37"/>
                  <a:gd name="T5" fmla="*/ 6 h 24"/>
                  <a:gd name="T6" fmla="*/ 18 w 37"/>
                  <a:gd name="T7" fmla="*/ 8 h 24"/>
                  <a:gd name="T8" fmla="*/ 19 w 37"/>
                  <a:gd name="T9" fmla="*/ 8 h 24"/>
                  <a:gd name="T10" fmla="*/ 19 w 37"/>
                  <a:gd name="T11" fmla="*/ 8 h 24"/>
                  <a:gd name="T12" fmla="*/ 20 w 37"/>
                  <a:gd name="T13" fmla="*/ 8 h 24"/>
                  <a:gd name="T14" fmla="*/ 26 w 37"/>
                  <a:gd name="T15" fmla="*/ 9 h 24"/>
                  <a:gd name="T16" fmla="*/ 17 w 37"/>
                  <a:gd name="T17" fmla="*/ 15 h 24"/>
                  <a:gd name="T18" fmla="*/ 19 w 37"/>
                  <a:gd name="T19" fmla="*/ 15 h 24"/>
                  <a:gd name="T20" fmla="*/ 20 w 37"/>
                  <a:gd name="T21" fmla="*/ 15 h 24"/>
                  <a:gd name="T22" fmla="*/ 0 w 37"/>
                  <a:gd name="T23" fmla="*/ 22 h 24"/>
                  <a:gd name="T24" fmla="*/ 4 w 37"/>
                  <a:gd name="T25" fmla="*/ 24 h 24"/>
                  <a:gd name="T26" fmla="*/ 5 w 37"/>
                  <a:gd name="T27" fmla="*/ 24 h 24"/>
                  <a:gd name="T28" fmla="*/ 6 w 37"/>
                  <a:gd name="T29" fmla="*/ 24 h 24"/>
                  <a:gd name="T30" fmla="*/ 6 w 37"/>
                  <a:gd name="T31" fmla="*/ 24 h 24"/>
                  <a:gd name="T32" fmla="*/ 7 w 37"/>
                  <a:gd name="T33" fmla="*/ 24 h 24"/>
                  <a:gd name="T34" fmla="*/ 9 w 37"/>
                  <a:gd name="T35" fmla="*/ 22 h 24"/>
                  <a:gd name="T36" fmla="*/ 12 w 37"/>
                  <a:gd name="T37" fmla="*/ 21 h 24"/>
                  <a:gd name="T38" fmla="*/ 19 w 37"/>
                  <a:gd name="T39" fmla="*/ 18 h 24"/>
                  <a:gd name="T40" fmla="*/ 20 w 37"/>
                  <a:gd name="T41" fmla="*/ 18 h 24"/>
                  <a:gd name="T42" fmla="*/ 20 w 37"/>
                  <a:gd name="T43" fmla="*/ 17 h 24"/>
                  <a:gd name="T44" fmla="*/ 21 w 37"/>
                  <a:gd name="T45" fmla="*/ 18 h 24"/>
                  <a:gd name="T46" fmla="*/ 22 w 37"/>
                  <a:gd name="T47" fmla="*/ 17 h 24"/>
                  <a:gd name="T48" fmla="*/ 22 w 37"/>
                  <a:gd name="T49" fmla="*/ 17 h 24"/>
                  <a:gd name="T50" fmla="*/ 22 w 37"/>
                  <a:gd name="T51" fmla="*/ 18 h 24"/>
                  <a:gd name="T52" fmla="*/ 23 w 37"/>
                  <a:gd name="T53" fmla="*/ 18 h 24"/>
                  <a:gd name="T54" fmla="*/ 23 w 37"/>
                  <a:gd name="T55" fmla="*/ 18 h 24"/>
                  <a:gd name="T56" fmla="*/ 24 w 37"/>
                  <a:gd name="T57" fmla="*/ 15 h 24"/>
                  <a:gd name="T58" fmla="*/ 26 w 37"/>
                  <a:gd name="T59" fmla="*/ 16 h 24"/>
                  <a:gd name="T60" fmla="*/ 28 w 37"/>
                  <a:gd name="T61" fmla="*/ 14 h 24"/>
                  <a:gd name="T62" fmla="*/ 29 w 37"/>
                  <a:gd name="T63" fmla="*/ 15 h 24"/>
                  <a:gd name="T64" fmla="*/ 29 w 37"/>
                  <a:gd name="T65" fmla="*/ 13 h 24"/>
                  <a:gd name="T66" fmla="*/ 30 w 37"/>
                  <a:gd name="T67" fmla="*/ 14 h 24"/>
                  <a:gd name="T68" fmla="*/ 34 w 37"/>
                  <a:gd name="T69" fmla="*/ 11 h 24"/>
                  <a:gd name="T70" fmla="*/ 36 w 37"/>
                  <a:gd name="T71" fmla="*/ 10 h 24"/>
                  <a:gd name="T72" fmla="*/ 29 w 37"/>
                  <a:gd name="T73" fmla="*/ 9 h 24"/>
                  <a:gd name="T74" fmla="*/ 31 w 37"/>
                  <a:gd name="T75" fmla="*/ 8 h 24"/>
                  <a:gd name="T76" fmla="*/ 30 w 37"/>
                  <a:gd name="T77" fmla="*/ 7 h 24"/>
                  <a:gd name="T78" fmla="*/ 35 w 37"/>
                  <a:gd name="T79" fmla="*/ 4 h 24"/>
                  <a:gd name="T80" fmla="*/ 35 w 37"/>
                  <a:gd name="T81" fmla="*/ 4 h 24"/>
                  <a:gd name="T82" fmla="*/ 35 w 37"/>
                  <a:gd name="T83" fmla="*/ 4 h 24"/>
                  <a:gd name="T84" fmla="*/ 36 w 37"/>
                  <a:gd name="T85" fmla="*/ 4 h 24"/>
                  <a:gd name="T86" fmla="*/ 37 w 37"/>
                  <a:gd name="T87" fmla="*/ 4 h 24"/>
                  <a:gd name="T88" fmla="*/ 34 w 37"/>
                  <a:gd name="T89" fmla="*/ 0 h 24"/>
                  <a:gd name="T90" fmla="*/ 34 w 37"/>
                  <a:gd name="T91" fmla="*/ 0 h 24"/>
                  <a:gd name="T92" fmla="*/ 28 w 37"/>
                  <a:gd name="T93" fmla="*/ 4 h 24"/>
                  <a:gd name="T94" fmla="*/ 26 w 37"/>
                  <a:gd name="T95" fmla="*/ 0 h 24"/>
                  <a:gd name="T96" fmla="*/ 26 w 37"/>
                  <a:gd name="T9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 h="24">
                    <a:moveTo>
                      <a:pt x="26" y="0"/>
                    </a:moveTo>
                    <a:cubicBezTo>
                      <a:pt x="24" y="0"/>
                      <a:pt x="22" y="1"/>
                      <a:pt x="20" y="1"/>
                    </a:cubicBezTo>
                    <a:cubicBezTo>
                      <a:pt x="19" y="2"/>
                      <a:pt x="18" y="3"/>
                      <a:pt x="18" y="6"/>
                    </a:cubicBezTo>
                    <a:cubicBezTo>
                      <a:pt x="18" y="8"/>
                      <a:pt x="18" y="8"/>
                      <a:pt x="18" y="8"/>
                    </a:cubicBezTo>
                    <a:cubicBezTo>
                      <a:pt x="18" y="8"/>
                      <a:pt x="18" y="8"/>
                      <a:pt x="19" y="8"/>
                    </a:cubicBezTo>
                    <a:cubicBezTo>
                      <a:pt x="19" y="8"/>
                      <a:pt x="19" y="8"/>
                      <a:pt x="19" y="8"/>
                    </a:cubicBezTo>
                    <a:cubicBezTo>
                      <a:pt x="19" y="8"/>
                      <a:pt x="19" y="8"/>
                      <a:pt x="20" y="8"/>
                    </a:cubicBezTo>
                    <a:cubicBezTo>
                      <a:pt x="21" y="9"/>
                      <a:pt x="24" y="9"/>
                      <a:pt x="26" y="9"/>
                    </a:cubicBezTo>
                    <a:cubicBezTo>
                      <a:pt x="20" y="10"/>
                      <a:pt x="17" y="8"/>
                      <a:pt x="17" y="15"/>
                    </a:cubicBezTo>
                    <a:cubicBezTo>
                      <a:pt x="18" y="15"/>
                      <a:pt x="18" y="15"/>
                      <a:pt x="19" y="15"/>
                    </a:cubicBezTo>
                    <a:cubicBezTo>
                      <a:pt x="19" y="15"/>
                      <a:pt x="20" y="15"/>
                      <a:pt x="20" y="15"/>
                    </a:cubicBezTo>
                    <a:cubicBezTo>
                      <a:pt x="13" y="18"/>
                      <a:pt x="6" y="18"/>
                      <a:pt x="0" y="22"/>
                    </a:cubicBezTo>
                    <a:cubicBezTo>
                      <a:pt x="1" y="23"/>
                      <a:pt x="2" y="23"/>
                      <a:pt x="4" y="24"/>
                    </a:cubicBezTo>
                    <a:cubicBezTo>
                      <a:pt x="4" y="24"/>
                      <a:pt x="4" y="24"/>
                      <a:pt x="5" y="24"/>
                    </a:cubicBezTo>
                    <a:cubicBezTo>
                      <a:pt x="5" y="24"/>
                      <a:pt x="5" y="24"/>
                      <a:pt x="6" y="24"/>
                    </a:cubicBezTo>
                    <a:cubicBezTo>
                      <a:pt x="6" y="24"/>
                      <a:pt x="6" y="24"/>
                      <a:pt x="6" y="24"/>
                    </a:cubicBezTo>
                    <a:cubicBezTo>
                      <a:pt x="7" y="24"/>
                      <a:pt x="7" y="24"/>
                      <a:pt x="7" y="24"/>
                    </a:cubicBezTo>
                    <a:cubicBezTo>
                      <a:pt x="8" y="24"/>
                      <a:pt x="8" y="22"/>
                      <a:pt x="9" y="22"/>
                    </a:cubicBezTo>
                    <a:cubicBezTo>
                      <a:pt x="10" y="21"/>
                      <a:pt x="11" y="21"/>
                      <a:pt x="12" y="21"/>
                    </a:cubicBezTo>
                    <a:cubicBezTo>
                      <a:pt x="14" y="20"/>
                      <a:pt x="17" y="18"/>
                      <a:pt x="19" y="18"/>
                    </a:cubicBezTo>
                    <a:cubicBezTo>
                      <a:pt x="19" y="18"/>
                      <a:pt x="20" y="18"/>
                      <a:pt x="20" y="18"/>
                    </a:cubicBezTo>
                    <a:cubicBezTo>
                      <a:pt x="20" y="17"/>
                      <a:pt x="20" y="17"/>
                      <a:pt x="20" y="17"/>
                    </a:cubicBezTo>
                    <a:cubicBezTo>
                      <a:pt x="21" y="18"/>
                      <a:pt x="21" y="18"/>
                      <a:pt x="21" y="18"/>
                    </a:cubicBezTo>
                    <a:cubicBezTo>
                      <a:pt x="21" y="18"/>
                      <a:pt x="21" y="17"/>
                      <a:pt x="22" y="17"/>
                    </a:cubicBezTo>
                    <a:cubicBezTo>
                      <a:pt x="22" y="17"/>
                      <a:pt x="22" y="17"/>
                      <a:pt x="22" y="17"/>
                    </a:cubicBezTo>
                    <a:cubicBezTo>
                      <a:pt x="22" y="17"/>
                      <a:pt x="22" y="17"/>
                      <a:pt x="22" y="18"/>
                    </a:cubicBezTo>
                    <a:cubicBezTo>
                      <a:pt x="23" y="18"/>
                      <a:pt x="23" y="18"/>
                      <a:pt x="23" y="18"/>
                    </a:cubicBezTo>
                    <a:cubicBezTo>
                      <a:pt x="23" y="18"/>
                      <a:pt x="23" y="18"/>
                      <a:pt x="23" y="18"/>
                    </a:cubicBezTo>
                    <a:cubicBezTo>
                      <a:pt x="25" y="18"/>
                      <a:pt x="25" y="18"/>
                      <a:pt x="24" y="15"/>
                    </a:cubicBezTo>
                    <a:cubicBezTo>
                      <a:pt x="25" y="16"/>
                      <a:pt x="26" y="16"/>
                      <a:pt x="26" y="16"/>
                    </a:cubicBezTo>
                    <a:cubicBezTo>
                      <a:pt x="27" y="16"/>
                      <a:pt x="28" y="16"/>
                      <a:pt x="28" y="14"/>
                    </a:cubicBezTo>
                    <a:cubicBezTo>
                      <a:pt x="28" y="14"/>
                      <a:pt x="28" y="15"/>
                      <a:pt x="29" y="15"/>
                    </a:cubicBezTo>
                    <a:cubicBezTo>
                      <a:pt x="29" y="14"/>
                      <a:pt x="29" y="13"/>
                      <a:pt x="29" y="13"/>
                    </a:cubicBezTo>
                    <a:cubicBezTo>
                      <a:pt x="30" y="13"/>
                      <a:pt x="30" y="13"/>
                      <a:pt x="30" y="14"/>
                    </a:cubicBezTo>
                    <a:cubicBezTo>
                      <a:pt x="30" y="11"/>
                      <a:pt x="33" y="12"/>
                      <a:pt x="34" y="11"/>
                    </a:cubicBezTo>
                    <a:cubicBezTo>
                      <a:pt x="34" y="11"/>
                      <a:pt x="36" y="11"/>
                      <a:pt x="36" y="10"/>
                    </a:cubicBezTo>
                    <a:cubicBezTo>
                      <a:pt x="36" y="9"/>
                      <a:pt x="30" y="9"/>
                      <a:pt x="29" y="9"/>
                    </a:cubicBezTo>
                    <a:cubicBezTo>
                      <a:pt x="30" y="8"/>
                      <a:pt x="30" y="8"/>
                      <a:pt x="31" y="8"/>
                    </a:cubicBezTo>
                    <a:cubicBezTo>
                      <a:pt x="30" y="7"/>
                      <a:pt x="30" y="7"/>
                      <a:pt x="30" y="7"/>
                    </a:cubicBezTo>
                    <a:cubicBezTo>
                      <a:pt x="31" y="6"/>
                      <a:pt x="34" y="5"/>
                      <a:pt x="35" y="4"/>
                    </a:cubicBezTo>
                    <a:cubicBezTo>
                      <a:pt x="35" y="4"/>
                      <a:pt x="35" y="4"/>
                      <a:pt x="35" y="4"/>
                    </a:cubicBezTo>
                    <a:cubicBezTo>
                      <a:pt x="35" y="4"/>
                      <a:pt x="35" y="4"/>
                      <a:pt x="35" y="4"/>
                    </a:cubicBezTo>
                    <a:cubicBezTo>
                      <a:pt x="36" y="4"/>
                      <a:pt x="36" y="4"/>
                      <a:pt x="36" y="4"/>
                    </a:cubicBezTo>
                    <a:cubicBezTo>
                      <a:pt x="37" y="4"/>
                      <a:pt x="37" y="4"/>
                      <a:pt x="37" y="4"/>
                    </a:cubicBezTo>
                    <a:cubicBezTo>
                      <a:pt x="37" y="3"/>
                      <a:pt x="34" y="0"/>
                      <a:pt x="34" y="0"/>
                    </a:cubicBezTo>
                    <a:cubicBezTo>
                      <a:pt x="34" y="0"/>
                      <a:pt x="34" y="0"/>
                      <a:pt x="34" y="0"/>
                    </a:cubicBezTo>
                    <a:cubicBezTo>
                      <a:pt x="32" y="0"/>
                      <a:pt x="29" y="3"/>
                      <a:pt x="28" y="4"/>
                    </a:cubicBezTo>
                    <a:cubicBezTo>
                      <a:pt x="27" y="1"/>
                      <a:pt x="29" y="1"/>
                      <a:pt x="26" y="0"/>
                    </a:cubicBez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 name="Freeform 118">
                <a:extLst>
                  <a:ext uri="{FF2B5EF4-FFF2-40B4-BE49-F238E27FC236}">
                    <a16:creationId xmlns:a16="http://schemas.microsoft.com/office/drawing/2014/main" id="{1009CF08-1D09-4C02-BF55-1EF2C5476BB6}"/>
                  </a:ext>
                </a:extLst>
              </p:cNvPr>
              <p:cNvSpPr>
                <a:spLocks noEditPoints="1"/>
              </p:cNvSpPr>
              <p:nvPr/>
            </p:nvSpPr>
            <p:spPr bwMode="auto">
              <a:xfrm>
                <a:off x="888" y="1673"/>
                <a:ext cx="26" cy="11"/>
              </a:xfrm>
              <a:custGeom>
                <a:avLst/>
                <a:gdLst>
                  <a:gd name="T0" fmla="*/ 6 w 11"/>
                  <a:gd name="T1" fmla="*/ 0 h 5"/>
                  <a:gd name="T2" fmla="*/ 6 w 11"/>
                  <a:gd name="T3" fmla="*/ 0 h 5"/>
                  <a:gd name="T4" fmla="*/ 6 w 11"/>
                  <a:gd name="T5" fmla="*/ 0 h 5"/>
                  <a:gd name="T6" fmla="*/ 4 w 11"/>
                  <a:gd name="T7" fmla="*/ 0 h 5"/>
                  <a:gd name="T8" fmla="*/ 2 w 11"/>
                  <a:gd name="T9" fmla="*/ 1 h 5"/>
                  <a:gd name="T10" fmla="*/ 6 w 11"/>
                  <a:gd name="T11" fmla="*/ 5 h 5"/>
                  <a:gd name="T12" fmla="*/ 11 w 11"/>
                  <a:gd name="T13" fmla="*/ 3 h 5"/>
                  <a:gd name="T14" fmla="*/ 8 w 11"/>
                  <a:gd name="T15" fmla="*/ 1 h 5"/>
                  <a:gd name="T16" fmla="*/ 6 w 11"/>
                  <a:gd name="T17" fmla="*/ 0 h 5"/>
                  <a:gd name="T18" fmla="*/ 6 w 11"/>
                  <a:gd name="T19" fmla="*/ 0 h 5"/>
                  <a:gd name="T20" fmla="*/ 4 w 11"/>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5">
                    <a:moveTo>
                      <a:pt x="6" y="0"/>
                    </a:moveTo>
                    <a:cubicBezTo>
                      <a:pt x="6" y="0"/>
                      <a:pt x="6" y="0"/>
                      <a:pt x="6" y="0"/>
                    </a:cubicBezTo>
                    <a:cubicBezTo>
                      <a:pt x="6" y="0"/>
                      <a:pt x="6" y="0"/>
                      <a:pt x="6" y="0"/>
                    </a:cubicBezTo>
                    <a:moveTo>
                      <a:pt x="4" y="0"/>
                    </a:moveTo>
                    <a:cubicBezTo>
                      <a:pt x="3" y="0"/>
                      <a:pt x="2" y="0"/>
                      <a:pt x="2" y="1"/>
                    </a:cubicBezTo>
                    <a:cubicBezTo>
                      <a:pt x="0" y="3"/>
                      <a:pt x="3" y="4"/>
                      <a:pt x="6" y="5"/>
                    </a:cubicBezTo>
                    <a:cubicBezTo>
                      <a:pt x="6" y="5"/>
                      <a:pt x="11" y="4"/>
                      <a:pt x="11" y="3"/>
                    </a:cubicBezTo>
                    <a:cubicBezTo>
                      <a:pt x="11" y="2"/>
                      <a:pt x="9" y="2"/>
                      <a:pt x="8" y="1"/>
                    </a:cubicBezTo>
                    <a:cubicBezTo>
                      <a:pt x="8" y="1"/>
                      <a:pt x="6" y="0"/>
                      <a:pt x="6" y="0"/>
                    </a:cubicBezTo>
                    <a:cubicBezTo>
                      <a:pt x="6" y="0"/>
                      <a:pt x="6" y="0"/>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 name="Freeform 119">
                <a:extLst>
                  <a:ext uri="{FF2B5EF4-FFF2-40B4-BE49-F238E27FC236}">
                    <a16:creationId xmlns:a16="http://schemas.microsoft.com/office/drawing/2014/main" id="{4695CED5-C8CC-4018-844A-5335AEC379A0}"/>
                  </a:ext>
                </a:extLst>
              </p:cNvPr>
              <p:cNvSpPr>
                <a:spLocks/>
              </p:cNvSpPr>
              <p:nvPr/>
            </p:nvSpPr>
            <p:spPr bwMode="auto">
              <a:xfrm>
                <a:off x="1074" y="1651"/>
                <a:ext cx="10" cy="10"/>
              </a:xfrm>
              <a:custGeom>
                <a:avLst/>
                <a:gdLst>
                  <a:gd name="T0" fmla="*/ 0 w 4"/>
                  <a:gd name="T1" fmla="*/ 0 h 4"/>
                  <a:gd name="T2" fmla="*/ 3 w 4"/>
                  <a:gd name="T3" fmla="*/ 4 h 4"/>
                  <a:gd name="T4" fmla="*/ 4 w 4"/>
                  <a:gd name="T5" fmla="*/ 3 h 4"/>
                  <a:gd name="T6" fmla="*/ 0 w 4"/>
                  <a:gd name="T7" fmla="*/ 0 h 4"/>
                </a:gdLst>
                <a:ahLst/>
                <a:cxnLst>
                  <a:cxn ang="0">
                    <a:pos x="T0" y="T1"/>
                  </a:cxn>
                  <a:cxn ang="0">
                    <a:pos x="T2" y="T3"/>
                  </a:cxn>
                  <a:cxn ang="0">
                    <a:pos x="T4" y="T5"/>
                  </a:cxn>
                  <a:cxn ang="0">
                    <a:pos x="T6" y="T7"/>
                  </a:cxn>
                </a:cxnLst>
                <a:rect l="0" t="0" r="r" b="b"/>
                <a:pathLst>
                  <a:path w="4" h="4">
                    <a:moveTo>
                      <a:pt x="0" y="0"/>
                    </a:moveTo>
                    <a:cubicBezTo>
                      <a:pt x="0" y="2"/>
                      <a:pt x="1" y="4"/>
                      <a:pt x="3" y="4"/>
                    </a:cubicBezTo>
                    <a:cubicBezTo>
                      <a:pt x="3" y="4"/>
                      <a:pt x="4"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 name="Freeform 120">
                <a:extLst>
                  <a:ext uri="{FF2B5EF4-FFF2-40B4-BE49-F238E27FC236}">
                    <a16:creationId xmlns:a16="http://schemas.microsoft.com/office/drawing/2014/main" id="{FA0F6605-DBD5-4BD7-A888-45A613A6FD7C}"/>
                  </a:ext>
                </a:extLst>
              </p:cNvPr>
              <p:cNvSpPr>
                <a:spLocks/>
              </p:cNvSpPr>
              <p:nvPr/>
            </p:nvSpPr>
            <p:spPr bwMode="auto">
              <a:xfrm>
                <a:off x="2706" y="1472"/>
                <a:ext cx="26" cy="26"/>
              </a:xfrm>
              <a:custGeom>
                <a:avLst/>
                <a:gdLst>
                  <a:gd name="T0" fmla="*/ 2 w 11"/>
                  <a:gd name="T1" fmla="*/ 0 h 11"/>
                  <a:gd name="T2" fmla="*/ 2 w 11"/>
                  <a:gd name="T3" fmla="*/ 6 h 11"/>
                  <a:gd name="T4" fmla="*/ 1 w 11"/>
                  <a:gd name="T5" fmla="*/ 10 h 11"/>
                  <a:gd name="T6" fmla="*/ 3 w 11"/>
                  <a:gd name="T7" fmla="*/ 11 h 11"/>
                  <a:gd name="T8" fmla="*/ 8 w 11"/>
                  <a:gd name="T9" fmla="*/ 9 h 11"/>
                  <a:gd name="T10" fmla="*/ 10 w 11"/>
                  <a:gd name="T11" fmla="*/ 8 h 11"/>
                  <a:gd name="T12" fmla="*/ 4 w 11"/>
                  <a:gd name="T13" fmla="*/ 1 h 11"/>
                  <a:gd name="T14" fmla="*/ 2 w 11"/>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0"/>
                    </a:moveTo>
                    <a:cubicBezTo>
                      <a:pt x="0" y="0"/>
                      <a:pt x="3" y="4"/>
                      <a:pt x="2" y="6"/>
                    </a:cubicBezTo>
                    <a:cubicBezTo>
                      <a:pt x="2" y="6"/>
                      <a:pt x="0" y="8"/>
                      <a:pt x="1" y="10"/>
                    </a:cubicBezTo>
                    <a:cubicBezTo>
                      <a:pt x="2" y="11"/>
                      <a:pt x="3" y="11"/>
                      <a:pt x="3" y="11"/>
                    </a:cubicBezTo>
                    <a:cubicBezTo>
                      <a:pt x="5" y="11"/>
                      <a:pt x="7" y="10"/>
                      <a:pt x="8" y="9"/>
                    </a:cubicBezTo>
                    <a:cubicBezTo>
                      <a:pt x="8" y="9"/>
                      <a:pt x="10" y="9"/>
                      <a:pt x="10" y="8"/>
                    </a:cubicBezTo>
                    <a:cubicBezTo>
                      <a:pt x="11" y="7"/>
                      <a:pt x="5" y="2"/>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 name="Freeform 121">
                <a:extLst>
                  <a:ext uri="{FF2B5EF4-FFF2-40B4-BE49-F238E27FC236}">
                    <a16:creationId xmlns:a16="http://schemas.microsoft.com/office/drawing/2014/main" id="{8668F868-2D60-4D49-A15F-41EE72D88523}"/>
                  </a:ext>
                </a:extLst>
              </p:cNvPr>
              <p:cNvSpPr>
                <a:spLocks/>
              </p:cNvSpPr>
              <p:nvPr/>
            </p:nvSpPr>
            <p:spPr bwMode="auto">
              <a:xfrm>
                <a:off x="2649" y="1450"/>
                <a:ext cx="62" cy="52"/>
              </a:xfrm>
              <a:custGeom>
                <a:avLst/>
                <a:gdLst>
                  <a:gd name="T0" fmla="*/ 4 w 26"/>
                  <a:gd name="T1" fmla="*/ 0 h 22"/>
                  <a:gd name="T2" fmla="*/ 1 w 26"/>
                  <a:gd name="T3" fmla="*/ 3 h 22"/>
                  <a:gd name="T4" fmla="*/ 6 w 26"/>
                  <a:gd name="T5" fmla="*/ 7 h 22"/>
                  <a:gd name="T6" fmla="*/ 6 w 26"/>
                  <a:gd name="T7" fmla="*/ 7 h 22"/>
                  <a:gd name="T8" fmla="*/ 5 w 26"/>
                  <a:gd name="T9" fmla="*/ 7 h 22"/>
                  <a:gd name="T10" fmla="*/ 4 w 26"/>
                  <a:gd name="T11" fmla="*/ 7 h 22"/>
                  <a:gd name="T12" fmla="*/ 3 w 26"/>
                  <a:gd name="T13" fmla="*/ 7 h 22"/>
                  <a:gd name="T14" fmla="*/ 6 w 26"/>
                  <a:gd name="T15" fmla="*/ 8 h 22"/>
                  <a:gd name="T16" fmla="*/ 8 w 26"/>
                  <a:gd name="T17" fmla="*/ 8 h 22"/>
                  <a:gd name="T18" fmla="*/ 8 w 26"/>
                  <a:gd name="T19" fmla="*/ 13 h 22"/>
                  <a:gd name="T20" fmla="*/ 8 w 26"/>
                  <a:gd name="T21" fmla="*/ 17 h 22"/>
                  <a:gd name="T22" fmla="*/ 11 w 26"/>
                  <a:gd name="T23" fmla="*/ 22 h 22"/>
                  <a:gd name="T24" fmla="*/ 22 w 26"/>
                  <a:gd name="T25" fmla="*/ 17 h 22"/>
                  <a:gd name="T26" fmla="*/ 19 w 26"/>
                  <a:gd name="T27" fmla="*/ 15 h 22"/>
                  <a:gd name="T28" fmla="*/ 19 w 26"/>
                  <a:gd name="T29" fmla="*/ 15 h 22"/>
                  <a:gd name="T30" fmla="*/ 16 w 26"/>
                  <a:gd name="T31" fmla="*/ 8 h 22"/>
                  <a:gd name="T32" fmla="*/ 19 w 26"/>
                  <a:gd name="T33" fmla="*/ 10 h 22"/>
                  <a:gd name="T34" fmla="*/ 20 w 26"/>
                  <a:gd name="T35" fmla="*/ 12 h 22"/>
                  <a:gd name="T36" fmla="*/ 25 w 26"/>
                  <a:gd name="T37" fmla="*/ 15 h 22"/>
                  <a:gd name="T38" fmla="*/ 25 w 26"/>
                  <a:gd name="T39" fmla="*/ 15 h 22"/>
                  <a:gd name="T40" fmla="*/ 25 w 26"/>
                  <a:gd name="T41" fmla="*/ 13 h 22"/>
                  <a:gd name="T42" fmla="*/ 18 w 26"/>
                  <a:gd name="T43" fmla="*/ 3 h 22"/>
                  <a:gd name="T44" fmla="*/ 18 w 26"/>
                  <a:gd name="T45" fmla="*/ 3 h 22"/>
                  <a:gd name="T46" fmla="*/ 18 w 26"/>
                  <a:gd name="T47" fmla="*/ 5 h 22"/>
                  <a:gd name="T48" fmla="*/ 6 w 26"/>
                  <a:gd name="T49" fmla="*/ 1 h 22"/>
                  <a:gd name="T50" fmla="*/ 4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4" y="0"/>
                    </a:moveTo>
                    <a:cubicBezTo>
                      <a:pt x="2" y="0"/>
                      <a:pt x="0" y="1"/>
                      <a:pt x="1" y="3"/>
                    </a:cubicBezTo>
                    <a:cubicBezTo>
                      <a:pt x="2" y="4"/>
                      <a:pt x="5" y="6"/>
                      <a:pt x="6" y="7"/>
                    </a:cubicBezTo>
                    <a:cubicBezTo>
                      <a:pt x="6" y="7"/>
                      <a:pt x="6" y="7"/>
                      <a:pt x="6" y="7"/>
                    </a:cubicBezTo>
                    <a:cubicBezTo>
                      <a:pt x="6" y="7"/>
                      <a:pt x="5" y="7"/>
                      <a:pt x="5" y="7"/>
                    </a:cubicBezTo>
                    <a:cubicBezTo>
                      <a:pt x="5" y="7"/>
                      <a:pt x="4" y="7"/>
                      <a:pt x="4" y="7"/>
                    </a:cubicBezTo>
                    <a:cubicBezTo>
                      <a:pt x="4" y="7"/>
                      <a:pt x="4" y="7"/>
                      <a:pt x="3" y="7"/>
                    </a:cubicBezTo>
                    <a:cubicBezTo>
                      <a:pt x="5" y="8"/>
                      <a:pt x="5" y="8"/>
                      <a:pt x="6" y="8"/>
                    </a:cubicBezTo>
                    <a:cubicBezTo>
                      <a:pt x="7" y="8"/>
                      <a:pt x="7" y="8"/>
                      <a:pt x="8" y="8"/>
                    </a:cubicBezTo>
                    <a:cubicBezTo>
                      <a:pt x="8" y="10"/>
                      <a:pt x="8" y="11"/>
                      <a:pt x="8" y="13"/>
                    </a:cubicBezTo>
                    <a:cubicBezTo>
                      <a:pt x="8" y="14"/>
                      <a:pt x="9" y="16"/>
                      <a:pt x="8" y="17"/>
                    </a:cubicBezTo>
                    <a:cubicBezTo>
                      <a:pt x="9" y="18"/>
                      <a:pt x="9" y="20"/>
                      <a:pt x="11" y="22"/>
                    </a:cubicBezTo>
                    <a:cubicBezTo>
                      <a:pt x="13" y="21"/>
                      <a:pt x="22" y="20"/>
                      <a:pt x="22" y="17"/>
                    </a:cubicBezTo>
                    <a:cubicBezTo>
                      <a:pt x="22" y="16"/>
                      <a:pt x="21" y="15"/>
                      <a:pt x="19" y="15"/>
                    </a:cubicBezTo>
                    <a:cubicBezTo>
                      <a:pt x="19" y="15"/>
                      <a:pt x="19" y="15"/>
                      <a:pt x="19" y="15"/>
                    </a:cubicBezTo>
                    <a:cubicBezTo>
                      <a:pt x="20" y="11"/>
                      <a:pt x="16" y="12"/>
                      <a:pt x="16" y="8"/>
                    </a:cubicBezTo>
                    <a:cubicBezTo>
                      <a:pt x="17" y="9"/>
                      <a:pt x="18" y="9"/>
                      <a:pt x="19" y="10"/>
                    </a:cubicBezTo>
                    <a:cubicBezTo>
                      <a:pt x="19" y="11"/>
                      <a:pt x="19" y="12"/>
                      <a:pt x="20" y="12"/>
                    </a:cubicBezTo>
                    <a:cubicBezTo>
                      <a:pt x="21" y="14"/>
                      <a:pt x="23" y="15"/>
                      <a:pt x="25" y="15"/>
                    </a:cubicBezTo>
                    <a:cubicBezTo>
                      <a:pt x="25" y="15"/>
                      <a:pt x="25" y="15"/>
                      <a:pt x="25" y="15"/>
                    </a:cubicBezTo>
                    <a:cubicBezTo>
                      <a:pt x="26" y="15"/>
                      <a:pt x="25" y="14"/>
                      <a:pt x="25" y="13"/>
                    </a:cubicBezTo>
                    <a:cubicBezTo>
                      <a:pt x="25" y="7"/>
                      <a:pt x="24" y="3"/>
                      <a:pt x="18" y="3"/>
                    </a:cubicBezTo>
                    <a:cubicBezTo>
                      <a:pt x="18" y="3"/>
                      <a:pt x="18" y="3"/>
                      <a:pt x="18" y="3"/>
                    </a:cubicBezTo>
                    <a:cubicBezTo>
                      <a:pt x="18" y="4"/>
                      <a:pt x="18" y="5"/>
                      <a:pt x="18" y="5"/>
                    </a:cubicBezTo>
                    <a:cubicBezTo>
                      <a:pt x="15" y="2"/>
                      <a:pt x="10"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 name="Freeform 122">
                <a:extLst>
                  <a:ext uri="{FF2B5EF4-FFF2-40B4-BE49-F238E27FC236}">
                    <a16:creationId xmlns:a16="http://schemas.microsoft.com/office/drawing/2014/main" id="{DB0CC5B2-5F07-4C1E-BB34-DA920EE6436A}"/>
                  </a:ext>
                </a:extLst>
              </p:cNvPr>
              <p:cNvSpPr>
                <a:spLocks/>
              </p:cNvSpPr>
              <p:nvPr/>
            </p:nvSpPr>
            <p:spPr bwMode="auto">
              <a:xfrm>
                <a:off x="2559" y="1415"/>
                <a:ext cx="57" cy="106"/>
              </a:xfrm>
              <a:custGeom>
                <a:avLst/>
                <a:gdLst>
                  <a:gd name="T0" fmla="*/ 7 w 24"/>
                  <a:gd name="T1" fmla="*/ 0 h 45"/>
                  <a:gd name="T2" fmla="*/ 4 w 24"/>
                  <a:gd name="T3" fmla="*/ 1 h 45"/>
                  <a:gd name="T4" fmla="*/ 4 w 24"/>
                  <a:gd name="T5" fmla="*/ 3 h 45"/>
                  <a:gd name="T6" fmla="*/ 4 w 24"/>
                  <a:gd name="T7" fmla="*/ 6 h 45"/>
                  <a:gd name="T8" fmla="*/ 4 w 24"/>
                  <a:gd name="T9" fmla="*/ 6 h 45"/>
                  <a:gd name="T10" fmla="*/ 3 w 24"/>
                  <a:gd name="T11" fmla="*/ 6 h 45"/>
                  <a:gd name="T12" fmla="*/ 2 w 24"/>
                  <a:gd name="T13" fmla="*/ 6 h 45"/>
                  <a:gd name="T14" fmla="*/ 0 w 24"/>
                  <a:gd name="T15" fmla="*/ 6 h 45"/>
                  <a:gd name="T16" fmla="*/ 4 w 24"/>
                  <a:gd name="T17" fmla="*/ 10 h 45"/>
                  <a:gd name="T18" fmla="*/ 6 w 24"/>
                  <a:gd name="T19" fmla="*/ 10 h 45"/>
                  <a:gd name="T20" fmla="*/ 6 w 24"/>
                  <a:gd name="T21" fmla="*/ 10 h 45"/>
                  <a:gd name="T22" fmla="*/ 7 w 24"/>
                  <a:gd name="T23" fmla="*/ 10 h 45"/>
                  <a:gd name="T24" fmla="*/ 6 w 24"/>
                  <a:gd name="T25" fmla="*/ 13 h 45"/>
                  <a:gd name="T26" fmla="*/ 8 w 24"/>
                  <a:gd name="T27" fmla="*/ 12 h 45"/>
                  <a:gd name="T28" fmla="*/ 9 w 24"/>
                  <a:gd name="T29" fmla="*/ 17 h 45"/>
                  <a:gd name="T30" fmla="*/ 11 w 24"/>
                  <a:gd name="T31" fmla="*/ 17 h 45"/>
                  <a:gd name="T32" fmla="*/ 11 w 24"/>
                  <a:gd name="T33" fmla="*/ 17 h 45"/>
                  <a:gd name="T34" fmla="*/ 11 w 24"/>
                  <a:gd name="T35" fmla="*/ 17 h 45"/>
                  <a:gd name="T36" fmla="*/ 10 w 24"/>
                  <a:gd name="T37" fmla="*/ 18 h 45"/>
                  <a:gd name="T38" fmla="*/ 7 w 24"/>
                  <a:gd name="T39" fmla="*/ 20 h 45"/>
                  <a:gd name="T40" fmla="*/ 8 w 24"/>
                  <a:gd name="T41" fmla="*/ 21 h 45"/>
                  <a:gd name="T42" fmla="*/ 7 w 24"/>
                  <a:gd name="T43" fmla="*/ 24 h 45"/>
                  <a:gd name="T44" fmla="*/ 9 w 24"/>
                  <a:gd name="T45" fmla="*/ 25 h 45"/>
                  <a:gd name="T46" fmla="*/ 13 w 24"/>
                  <a:gd name="T47" fmla="*/ 24 h 45"/>
                  <a:gd name="T48" fmla="*/ 11 w 24"/>
                  <a:gd name="T49" fmla="*/ 28 h 45"/>
                  <a:gd name="T50" fmla="*/ 11 w 24"/>
                  <a:gd name="T51" fmla="*/ 28 h 45"/>
                  <a:gd name="T52" fmla="*/ 16 w 24"/>
                  <a:gd name="T53" fmla="*/ 26 h 45"/>
                  <a:gd name="T54" fmla="*/ 13 w 24"/>
                  <a:gd name="T55" fmla="*/ 31 h 45"/>
                  <a:gd name="T56" fmla="*/ 19 w 24"/>
                  <a:gd name="T57" fmla="*/ 29 h 45"/>
                  <a:gd name="T58" fmla="*/ 24 w 24"/>
                  <a:gd name="T59" fmla="*/ 45 h 45"/>
                  <a:gd name="T60" fmla="*/ 24 w 24"/>
                  <a:gd name="T61" fmla="*/ 42 h 45"/>
                  <a:gd name="T62" fmla="*/ 24 w 24"/>
                  <a:gd name="T63" fmla="*/ 43 h 45"/>
                  <a:gd name="T64" fmla="*/ 24 w 24"/>
                  <a:gd name="T65" fmla="*/ 41 h 45"/>
                  <a:gd name="T66" fmla="*/ 24 w 24"/>
                  <a:gd name="T67" fmla="*/ 39 h 45"/>
                  <a:gd name="T68" fmla="*/ 24 w 24"/>
                  <a:gd name="T69" fmla="*/ 34 h 45"/>
                  <a:gd name="T70" fmla="*/ 23 w 24"/>
                  <a:gd name="T71" fmla="*/ 22 h 45"/>
                  <a:gd name="T72" fmla="*/ 16 w 24"/>
                  <a:gd name="T73" fmla="*/ 5 h 45"/>
                  <a:gd name="T74" fmla="*/ 9 w 24"/>
                  <a:gd name="T75" fmla="*/ 2 h 45"/>
                  <a:gd name="T76" fmla="*/ 6 w 24"/>
                  <a:gd name="T77" fmla="*/ 3 h 45"/>
                  <a:gd name="T78" fmla="*/ 7 w 24"/>
                  <a:gd name="T7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5">
                    <a:moveTo>
                      <a:pt x="7" y="0"/>
                    </a:moveTo>
                    <a:cubicBezTo>
                      <a:pt x="6" y="0"/>
                      <a:pt x="5" y="0"/>
                      <a:pt x="4" y="1"/>
                    </a:cubicBezTo>
                    <a:cubicBezTo>
                      <a:pt x="3" y="1"/>
                      <a:pt x="4" y="2"/>
                      <a:pt x="4" y="3"/>
                    </a:cubicBezTo>
                    <a:cubicBezTo>
                      <a:pt x="3" y="5"/>
                      <a:pt x="1" y="5"/>
                      <a:pt x="4" y="6"/>
                    </a:cubicBezTo>
                    <a:cubicBezTo>
                      <a:pt x="4" y="6"/>
                      <a:pt x="4" y="6"/>
                      <a:pt x="4" y="6"/>
                    </a:cubicBezTo>
                    <a:cubicBezTo>
                      <a:pt x="3" y="6"/>
                      <a:pt x="3" y="6"/>
                      <a:pt x="3" y="6"/>
                    </a:cubicBezTo>
                    <a:cubicBezTo>
                      <a:pt x="2" y="6"/>
                      <a:pt x="2" y="6"/>
                      <a:pt x="2" y="6"/>
                    </a:cubicBezTo>
                    <a:cubicBezTo>
                      <a:pt x="1" y="6"/>
                      <a:pt x="0" y="6"/>
                      <a:pt x="0" y="6"/>
                    </a:cubicBezTo>
                    <a:cubicBezTo>
                      <a:pt x="1" y="8"/>
                      <a:pt x="3" y="10"/>
                      <a:pt x="4" y="10"/>
                    </a:cubicBezTo>
                    <a:cubicBezTo>
                      <a:pt x="5" y="10"/>
                      <a:pt x="5" y="10"/>
                      <a:pt x="6" y="10"/>
                    </a:cubicBezTo>
                    <a:cubicBezTo>
                      <a:pt x="6" y="10"/>
                      <a:pt x="6" y="10"/>
                      <a:pt x="6" y="10"/>
                    </a:cubicBezTo>
                    <a:cubicBezTo>
                      <a:pt x="6" y="10"/>
                      <a:pt x="7" y="10"/>
                      <a:pt x="7" y="10"/>
                    </a:cubicBezTo>
                    <a:cubicBezTo>
                      <a:pt x="8" y="10"/>
                      <a:pt x="8" y="10"/>
                      <a:pt x="6" y="13"/>
                    </a:cubicBezTo>
                    <a:cubicBezTo>
                      <a:pt x="7" y="12"/>
                      <a:pt x="7" y="12"/>
                      <a:pt x="8" y="12"/>
                    </a:cubicBezTo>
                    <a:cubicBezTo>
                      <a:pt x="6" y="14"/>
                      <a:pt x="7" y="16"/>
                      <a:pt x="9" y="17"/>
                    </a:cubicBezTo>
                    <a:cubicBezTo>
                      <a:pt x="10" y="17"/>
                      <a:pt x="10" y="17"/>
                      <a:pt x="11" y="17"/>
                    </a:cubicBezTo>
                    <a:cubicBezTo>
                      <a:pt x="11" y="17"/>
                      <a:pt x="11" y="17"/>
                      <a:pt x="11" y="17"/>
                    </a:cubicBezTo>
                    <a:cubicBezTo>
                      <a:pt x="11" y="17"/>
                      <a:pt x="11" y="17"/>
                      <a:pt x="11" y="17"/>
                    </a:cubicBezTo>
                    <a:cubicBezTo>
                      <a:pt x="11" y="17"/>
                      <a:pt x="11" y="17"/>
                      <a:pt x="10" y="18"/>
                    </a:cubicBezTo>
                    <a:cubicBezTo>
                      <a:pt x="9" y="19"/>
                      <a:pt x="8" y="19"/>
                      <a:pt x="7" y="20"/>
                    </a:cubicBezTo>
                    <a:cubicBezTo>
                      <a:pt x="6" y="20"/>
                      <a:pt x="8" y="20"/>
                      <a:pt x="8" y="21"/>
                    </a:cubicBezTo>
                    <a:cubicBezTo>
                      <a:pt x="7" y="22"/>
                      <a:pt x="7" y="23"/>
                      <a:pt x="7" y="24"/>
                    </a:cubicBezTo>
                    <a:cubicBezTo>
                      <a:pt x="8" y="25"/>
                      <a:pt x="8" y="25"/>
                      <a:pt x="9" y="25"/>
                    </a:cubicBezTo>
                    <a:cubicBezTo>
                      <a:pt x="10" y="25"/>
                      <a:pt x="11" y="24"/>
                      <a:pt x="13" y="24"/>
                    </a:cubicBezTo>
                    <a:cubicBezTo>
                      <a:pt x="12" y="25"/>
                      <a:pt x="11" y="26"/>
                      <a:pt x="11" y="28"/>
                    </a:cubicBezTo>
                    <a:cubicBezTo>
                      <a:pt x="11" y="28"/>
                      <a:pt x="11" y="28"/>
                      <a:pt x="11" y="28"/>
                    </a:cubicBezTo>
                    <a:cubicBezTo>
                      <a:pt x="12" y="28"/>
                      <a:pt x="15" y="26"/>
                      <a:pt x="16" y="26"/>
                    </a:cubicBezTo>
                    <a:cubicBezTo>
                      <a:pt x="13" y="27"/>
                      <a:pt x="13" y="29"/>
                      <a:pt x="13" y="31"/>
                    </a:cubicBezTo>
                    <a:cubicBezTo>
                      <a:pt x="15" y="30"/>
                      <a:pt x="17" y="29"/>
                      <a:pt x="19" y="29"/>
                    </a:cubicBezTo>
                    <a:cubicBezTo>
                      <a:pt x="15" y="33"/>
                      <a:pt x="21" y="41"/>
                      <a:pt x="24" y="45"/>
                    </a:cubicBezTo>
                    <a:cubicBezTo>
                      <a:pt x="24" y="44"/>
                      <a:pt x="24" y="43"/>
                      <a:pt x="24" y="42"/>
                    </a:cubicBezTo>
                    <a:cubicBezTo>
                      <a:pt x="24" y="43"/>
                      <a:pt x="24" y="43"/>
                      <a:pt x="24" y="43"/>
                    </a:cubicBezTo>
                    <a:cubicBezTo>
                      <a:pt x="24" y="43"/>
                      <a:pt x="24" y="41"/>
                      <a:pt x="24" y="41"/>
                    </a:cubicBezTo>
                    <a:cubicBezTo>
                      <a:pt x="24" y="40"/>
                      <a:pt x="24" y="40"/>
                      <a:pt x="24" y="39"/>
                    </a:cubicBezTo>
                    <a:cubicBezTo>
                      <a:pt x="24" y="37"/>
                      <a:pt x="24" y="36"/>
                      <a:pt x="24" y="34"/>
                    </a:cubicBezTo>
                    <a:cubicBezTo>
                      <a:pt x="24" y="31"/>
                      <a:pt x="24" y="26"/>
                      <a:pt x="23" y="22"/>
                    </a:cubicBezTo>
                    <a:cubicBezTo>
                      <a:pt x="21" y="16"/>
                      <a:pt x="20" y="9"/>
                      <a:pt x="16" y="5"/>
                    </a:cubicBezTo>
                    <a:cubicBezTo>
                      <a:pt x="14" y="3"/>
                      <a:pt x="12" y="2"/>
                      <a:pt x="9" y="2"/>
                    </a:cubicBezTo>
                    <a:cubicBezTo>
                      <a:pt x="8" y="2"/>
                      <a:pt x="7" y="2"/>
                      <a:pt x="6" y="3"/>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 name="Freeform 123">
                <a:extLst>
                  <a:ext uri="{FF2B5EF4-FFF2-40B4-BE49-F238E27FC236}">
                    <a16:creationId xmlns:a16="http://schemas.microsoft.com/office/drawing/2014/main" id="{685BF656-601B-4E63-966B-9AA6561B10E6}"/>
                  </a:ext>
                </a:extLst>
              </p:cNvPr>
              <p:cNvSpPr>
                <a:spLocks/>
              </p:cNvSpPr>
              <p:nvPr/>
            </p:nvSpPr>
            <p:spPr bwMode="auto">
              <a:xfrm>
                <a:off x="2628" y="1462"/>
                <a:ext cx="40" cy="73"/>
              </a:xfrm>
              <a:custGeom>
                <a:avLst/>
                <a:gdLst>
                  <a:gd name="T0" fmla="*/ 4 w 17"/>
                  <a:gd name="T1" fmla="*/ 0 h 31"/>
                  <a:gd name="T2" fmla="*/ 7 w 17"/>
                  <a:gd name="T3" fmla="*/ 3 h 31"/>
                  <a:gd name="T4" fmla="*/ 2 w 17"/>
                  <a:gd name="T5" fmla="*/ 2 h 31"/>
                  <a:gd name="T6" fmla="*/ 0 w 17"/>
                  <a:gd name="T7" fmla="*/ 3 h 31"/>
                  <a:gd name="T8" fmla="*/ 1 w 17"/>
                  <a:gd name="T9" fmla="*/ 7 h 31"/>
                  <a:gd name="T10" fmla="*/ 2 w 17"/>
                  <a:gd name="T11" fmla="*/ 8 h 31"/>
                  <a:gd name="T12" fmla="*/ 3 w 17"/>
                  <a:gd name="T13" fmla="*/ 8 h 31"/>
                  <a:gd name="T14" fmla="*/ 4 w 17"/>
                  <a:gd name="T15" fmla="*/ 8 h 31"/>
                  <a:gd name="T16" fmla="*/ 5 w 17"/>
                  <a:gd name="T17" fmla="*/ 9 h 31"/>
                  <a:gd name="T18" fmla="*/ 4 w 17"/>
                  <a:gd name="T19" fmla="*/ 11 h 31"/>
                  <a:gd name="T20" fmla="*/ 4 w 17"/>
                  <a:gd name="T21" fmla="*/ 11 h 31"/>
                  <a:gd name="T22" fmla="*/ 6 w 17"/>
                  <a:gd name="T23" fmla="*/ 10 h 31"/>
                  <a:gd name="T24" fmla="*/ 7 w 17"/>
                  <a:gd name="T25" fmla="*/ 10 h 31"/>
                  <a:gd name="T26" fmla="*/ 7 w 17"/>
                  <a:gd name="T27" fmla="*/ 10 h 31"/>
                  <a:gd name="T28" fmla="*/ 3 w 17"/>
                  <a:gd name="T29" fmla="*/ 12 h 31"/>
                  <a:gd name="T30" fmla="*/ 4 w 17"/>
                  <a:gd name="T31" fmla="*/ 12 h 31"/>
                  <a:gd name="T32" fmla="*/ 9 w 17"/>
                  <a:gd name="T33" fmla="*/ 15 h 31"/>
                  <a:gd name="T34" fmla="*/ 9 w 17"/>
                  <a:gd name="T35" fmla="*/ 19 h 31"/>
                  <a:gd name="T36" fmla="*/ 6 w 17"/>
                  <a:gd name="T37" fmla="*/ 17 h 31"/>
                  <a:gd name="T38" fmla="*/ 3 w 17"/>
                  <a:gd name="T39" fmla="*/ 21 h 31"/>
                  <a:gd name="T40" fmla="*/ 6 w 17"/>
                  <a:gd name="T41" fmla="*/ 20 h 31"/>
                  <a:gd name="T42" fmla="*/ 4 w 17"/>
                  <a:gd name="T43" fmla="*/ 25 h 31"/>
                  <a:gd name="T44" fmla="*/ 5 w 17"/>
                  <a:gd name="T45" fmla="*/ 26 h 31"/>
                  <a:gd name="T46" fmla="*/ 4 w 17"/>
                  <a:gd name="T47" fmla="*/ 27 h 31"/>
                  <a:gd name="T48" fmla="*/ 7 w 17"/>
                  <a:gd name="T49" fmla="*/ 31 h 31"/>
                  <a:gd name="T50" fmla="*/ 9 w 17"/>
                  <a:gd name="T51" fmla="*/ 21 h 31"/>
                  <a:gd name="T52" fmla="*/ 10 w 17"/>
                  <a:gd name="T53" fmla="*/ 25 h 31"/>
                  <a:gd name="T54" fmla="*/ 11 w 17"/>
                  <a:gd name="T55" fmla="*/ 25 h 31"/>
                  <a:gd name="T56" fmla="*/ 11 w 17"/>
                  <a:gd name="T57" fmla="*/ 19 h 31"/>
                  <a:gd name="T58" fmla="*/ 12 w 17"/>
                  <a:gd name="T59" fmla="*/ 21 h 31"/>
                  <a:gd name="T60" fmla="*/ 12 w 17"/>
                  <a:gd name="T61" fmla="*/ 11 h 31"/>
                  <a:gd name="T62" fmla="*/ 13 w 17"/>
                  <a:gd name="T63" fmla="*/ 11 h 31"/>
                  <a:gd name="T64" fmla="*/ 14 w 17"/>
                  <a:gd name="T65" fmla="*/ 11 h 31"/>
                  <a:gd name="T66" fmla="*/ 15 w 17"/>
                  <a:gd name="T67" fmla="*/ 11 h 31"/>
                  <a:gd name="T68" fmla="*/ 15 w 17"/>
                  <a:gd name="T69" fmla="*/ 11 h 31"/>
                  <a:gd name="T70" fmla="*/ 16 w 17"/>
                  <a:gd name="T71" fmla="*/ 6 h 31"/>
                  <a:gd name="T72" fmla="*/ 13 w 17"/>
                  <a:gd name="T73" fmla="*/ 5 h 31"/>
                  <a:gd name="T74" fmla="*/ 13 w 17"/>
                  <a:gd name="T75" fmla="*/ 8 h 31"/>
                  <a:gd name="T76" fmla="*/ 4 w 17"/>
                  <a:gd name="T7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31">
                    <a:moveTo>
                      <a:pt x="4" y="0"/>
                    </a:moveTo>
                    <a:cubicBezTo>
                      <a:pt x="5" y="1"/>
                      <a:pt x="6" y="2"/>
                      <a:pt x="7" y="3"/>
                    </a:cubicBezTo>
                    <a:cubicBezTo>
                      <a:pt x="6" y="3"/>
                      <a:pt x="4" y="2"/>
                      <a:pt x="2" y="2"/>
                    </a:cubicBezTo>
                    <a:cubicBezTo>
                      <a:pt x="2" y="2"/>
                      <a:pt x="1" y="2"/>
                      <a:pt x="0" y="3"/>
                    </a:cubicBezTo>
                    <a:cubicBezTo>
                      <a:pt x="1" y="7"/>
                      <a:pt x="1" y="7"/>
                      <a:pt x="1" y="7"/>
                    </a:cubicBezTo>
                    <a:cubicBezTo>
                      <a:pt x="1" y="8"/>
                      <a:pt x="2" y="8"/>
                      <a:pt x="2" y="8"/>
                    </a:cubicBezTo>
                    <a:cubicBezTo>
                      <a:pt x="3" y="8"/>
                      <a:pt x="3" y="8"/>
                      <a:pt x="3" y="8"/>
                    </a:cubicBezTo>
                    <a:cubicBezTo>
                      <a:pt x="3" y="8"/>
                      <a:pt x="3" y="8"/>
                      <a:pt x="4" y="8"/>
                    </a:cubicBezTo>
                    <a:cubicBezTo>
                      <a:pt x="4" y="8"/>
                      <a:pt x="4" y="8"/>
                      <a:pt x="5" y="9"/>
                    </a:cubicBezTo>
                    <a:cubicBezTo>
                      <a:pt x="5" y="9"/>
                      <a:pt x="2" y="10"/>
                      <a:pt x="4" y="11"/>
                    </a:cubicBezTo>
                    <a:cubicBezTo>
                      <a:pt x="4" y="11"/>
                      <a:pt x="4" y="11"/>
                      <a:pt x="4" y="11"/>
                    </a:cubicBezTo>
                    <a:cubicBezTo>
                      <a:pt x="4" y="11"/>
                      <a:pt x="5" y="10"/>
                      <a:pt x="6" y="10"/>
                    </a:cubicBezTo>
                    <a:cubicBezTo>
                      <a:pt x="6" y="10"/>
                      <a:pt x="7" y="10"/>
                      <a:pt x="7" y="10"/>
                    </a:cubicBezTo>
                    <a:cubicBezTo>
                      <a:pt x="7" y="10"/>
                      <a:pt x="7" y="10"/>
                      <a:pt x="7" y="10"/>
                    </a:cubicBezTo>
                    <a:cubicBezTo>
                      <a:pt x="6" y="10"/>
                      <a:pt x="4" y="11"/>
                      <a:pt x="3" y="12"/>
                    </a:cubicBezTo>
                    <a:cubicBezTo>
                      <a:pt x="3" y="12"/>
                      <a:pt x="4" y="12"/>
                      <a:pt x="4" y="12"/>
                    </a:cubicBezTo>
                    <a:cubicBezTo>
                      <a:pt x="6" y="12"/>
                      <a:pt x="8" y="13"/>
                      <a:pt x="9" y="15"/>
                    </a:cubicBezTo>
                    <a:cubicBezTo>
                      <a:pt x="7" y="16"/>
                      <a:pt x="10" y="17"/>
                      <a:pt x="9" y="19"/>
                    </a:cubicBezTo>
                    <a:cubicBezTo>
                      <a:pt x="8" y="18"/>
                      <a:pt x="7" y="17"/>
                      <a:pt x="6" y="17"/>
                    </a:cubicBezTo>
                    <a:cubicBezTo>
                      <a:pt x="5" y="17"/>
                      <a:pt x="3" y="19"/>
                      <a:pt x="3" y="21"/>
                    </a:cubicBezTo>
                    <a:cubicBezTo>
                      <a:pt x="4" y="21"/>
                      <a:pt x="5" y="21"/>
                      <a:pt x="6" y="20"/>
                    </a:cubicBezTo>
                    <a:cubicBezTo>
                      <a:pt x="4" y="22"/>
                      <a:pt x="4" y="23"/>
                      <a:pt x="4" y="25"/>
                    </a:cubicBezTo>
                    <a:cubicBezTo>
                      <a:pt x="4" y="26"/>
                      <a:pt x="5" y="25"/>
                      <a:pt x="5" y="26"/>
                    </a:cubicBezTo>
                    <a:cubicBezTo>
                      <a:pt x="5" y="26"/>
                      <a:pt x="4" y="27"/>
                      <a:pt x="4" y="27"/>
                    </a:cubicBezTo>
                    <a:cubicBezTo>
                      <a:pt x="5" y="28"/>
                      <a:pt x="5" y="30"/>
                      <a:pt x="7" y="31"/>
                    </a:cubicBezTo>
                    <a:cubicBezTo>
                      <a:pt x="7" y="27"/>
                      <a:pt x="7" y="24"/>
                      <a:pt x="9" y="21"/>
                    </a:cubicBezTo>
                    <a:cubicBezTo>
                      <a:pt x="10" y="23"/>
                      <a:pt x="8" y="24"/>
                      <a:pt x="10" y="25"/>
                    </a:cubicBezTo>
                    <a:cubicBezTo>
                      <a:pt x="11" y="25"/>
                      <a:pt x="11" y="25"/>
                      <a:pt x="11" y="25"/>
                    </a:cubicBezTo>
                    <a:cubicBezTo>
                      <a:pt x="13" y="25"/>
                      <a:pt x="11" y="20"/>
                      <a:pt x="11" y="19"/>
                    </a:cubicBezTo>
                    <a:cubicBezTo>
                      <a:pt x="12" y="20"/>
                      <a:pt x="12" y="21"/>
                      <a:pt x="12" y="21"/>
                    </a:cubicBezTo>
                    <a:cubicBezTo>
                      <a:pt x="14" y="21"/>
                      <a:pt x="12" y="11"/>
                      <a:pt x="12" y="11"/>
                    </a:cubicBezTo>
                    <a:cubicBezTo>
                      <a:pt x="12" y="11"/>
                      <a:pt x="12" y="11"/>
                      <a:pt x="13" y="11"/>
                    </a:cubicBezTo>
                    <a:cubicBezTo>
                      <a:pt x="13" y="11"/>
                      <a:pt x="13" y="11"/>
                      <a:pt x="14" y="11"/>
                    </a:cubicBezTo>
                    <a:cubicBezTo>
                      <a:pt x="14" y="11"/>
                      <a:pt x="15" y="11"/>
                      <a:pt x="15" y="11"/>
                    </a:cubicBezTo>
                    <a:cubicBezTo>
                      <a:pt x="15" y="11"/>
                      <a:pt x="15" y="11"/>
                      <a:pt x="15" y="11"/>
                    </a:cubicBezTo>
                    <a:cubicBezTo>
                      <a:pt x="17" y="10"/>
                      <a:pt x="17" y="7"/>
                      <a:pt x="16" y="6"/>
                    </a:cubicBezTo>
                    <a:cubicBezTo>
                      <a:pt x="16" y="5"/>
                      <a:pt x="14" y="5"/>
                      <a:pt x="13" y="5"/>
                    </a:cubicBezTo>
                    <a:cubicBezTo>
                      <a:pt x="13" y="6"/>
                      <a:pt x="13" y="7"/>
                      <a:pt x="13" y="8"/>
                    </a:cubicBezTo>
                    <a:cubicBezTo>
                      <a:pt x="10" y="3"/>
                      <a:pt x="10"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 name="Freeform 124">
                <a:extLst>
                  <a:ext uri="{FF2B5EF4-FFF2-40B4-BE49-F238E27FC236}">
                    <a16:creationId xmlns:a16="http://schemas.microsoft.com/office/drawing/2014/main" id="{100651A1-0634-438F-A232-C671E6F1F024}"/>
                  </a:ext>
                </a:extLst>
              </p:cNvPr>
              <p:cNvSpPr>
                <a:spLocks/>
              </p:cNvSpPr>
              <p:nvPr/>
            </p:nvSpPr>
            <p:spPr bwMode="auto">
              <a:xfrm>
                <a:off x="2720" y="1509"/>
                <a:ext cx="36" cy="34"/>
              </a:xfrm>
              <a:custGeom>
                <a:avLst/>
                <a:gdLst>
                  <a:gd name="T0" fmla="*/ 6 w 15"/>
                  <a:gd name="T1" fmla="*/ 0 h 14"/>
                  <a:gd name="T2" fmla="*/ 4 w 15"/>
                  <a:gd name="T3" fmla="*/ 2 h 14"/>
                  <a:gd name="T4" fmla="*/ 1 w 15"/>
                  <a:gd name="T5" fmla="*/ 5 h 14"/>
                  <a:gd name="T6" fmla="*/ 3 w 15"/>
                  <a:gd name="T7" fmla="*/ 8 h 14"/>
                  <a:gd name="T8" fmla="*/ 6 w 15"/>
                  <a:gd name="T9" fmla="*/ 9 h 14"/>
                  <a:gd name="T10" fmla="*/ 6 w 15"/>
                  <a:gd name="T11" fmla="*/ 10 h 14"/>
                  <a:gd name="T12" fmla="*/ 7 w 15"/>
                  <a:gd name="T13" fmla="*/ 10 h 14"/>
                  <a:gd name="T14" fmla="*/ 7 w 15"/>
                  <a:gd name="T15" fmla="*/ 10 h 14"/>
                  <a:gd name="T16" fmla="*/ 8 w 15"/>
                  <a:gd name="T17" fmla="*/ 10 h 14"/>
                  <a:gd name="T18" fmla="*/ 8 w 15"/>
                  <a:gd name="T19" fmla="*/ 10 h 14"/>
                  <a:gd name="T20" fmla="*/ 8 w 15"/>
                  <a:gd name="T21" fmla="*/ 12 h 14"/>
                  <a:gd name="T22" fmla="*/ 10 w 15"/>
                  <a:gd name="T23" fmla="*/ 14 h 14"/>
                  <a:gd name="T24" fmla="*/ 12 w 15"/>
                  <a:gd name="T25" fmla="*/ 13 h 14"/>
                  <a:gd name="T26" fmla="*/ 13 w 15"/>
                  <a:gd name="T27" fmla="*/ 13 h 14"/>
                  <a:gd name="T28" fmla="*/ 13 w 15"/>
                  <a:gd name="T29" fmla="*/ 13 h 14"/>
                  <a:gd name="T30" fmla="*/ 13 w 15"/>
                  <a:gd name="T31" fmla="*/ 13 h 14"/>
                  <a:gd name="T32" fmla="*/ 14 w 15"/>
                  <a:gd name="T33" fmla="*/ 12 h 14"/>
                  <a:gd name="T34" fmla="*/ 15 w 15"/>
                  <a:gd name="T35" fmla="*/ 8 h 14"/>
                  <a:gd name="T36" fmla="*/ 7 w 15"/>
                  <a:gd name="T37" fmla="*/ 5 h 14"/>
                  <a:gd name="T38" fmla="*/ 6 w 15"/>
                  <a:gd name="T39" fmla="*/ 5 h 14"/>
                  <a:gd name="T40" fmla="*/ 8 w 15"/>
                  <a:gd name="T41" fmla="*/ 0 h 14"/>
                  <a:gd name="T42" fmla="*/ 6 w 15"/>
                  <a:gd name="T4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4">
                    <a:moveTo>
                      <a:pt x="6" y="0"/>
                    </a:moveTo>
                    <a:cubicBezTo>
                      <a:pt x="5" y="0"/>
                      <a:pt x="5" y="1"/>
                      <a:pt x="4" y="2"/>
                    </a:cubicBezTo>
                    <a:cubicBezTo>
                      <a:pt x="2" y="4"/>
                      <a:pt x="1" y="3"/>
                      <a:pt x="1" y="5"/>
                    </a:cubicBezTo>
                    <a:cubicBezTo>
                      <a:pt x="0" y="7"/>
                      <a:pt x="1" y="7"/>
                      <a:pt x="3" y="8"/>
                    </a:cubicBezTo>
                    <a:cubicBezTo>
                      <a:pt x="4" y="9"/>
                      <a:pt x="5" y="8"/>
                      <a:pt x="6" y="9"/>
                    </a:cubicBezTo>
                    <a:cubicBezTo>
                      <a:pt x="7" y="9"/>
                      <a:pt x="6" y="10"/>
                      <a:pt x="6" y="10"/>
                    </a:cubicBezTo>
                    <a:cubicBezTo>
                      <a:pt x="7" y="10"/>
                      <a:pt x="7" y="10"/>
                      <a:pt x="7" y="10"/>
                    </a:cubicBezTo>
                    <a:cubicBezTo>
                      <a:pt x="7" y="10"/>
                      <a:pt x="7" y="10"/>
                      <a:pt x="7" y="10"/>
                    </a:cubicBezTo>
                    <a:cubicBezTo>
                      <a:pt x="7" y="10"/>
                      <a:pt x="8" y="10"/>
                      <a:pt x="8" y="10"/>
                    </a:cubicBezTo>
                    <a:cubicBezTo>
                      <a:pt x="8" y="10"/>
                      <a:pt x="8" y="10"/>
                      <a:pt x="8" y="10"/>
                    </a:cubicBezTo>
                    <a:cubicBezTo>
                      <a:pt x="9" y="11"/>
                      <a:pt x="7" y="12"/>
                      <a:pt x="8" y="12"/>
                    </a:cubicBezTo>
                    <a:cubicBezTo>
                      <a:pt x="8" y="13"/>
                      <a:pt x="9" y="14"/>
                      <a:pt x="10" y="14"/>
                    </a:cubicBezTo>
                    <a:cubicBezTo>
                      <a:pt x="11" y="14"/>
                      <a:pt x="11" y="13"/>
                      <a:pt x="12" y="13"/>
                    </a:cubicBezTo>
                    <a:cubicBezTo>
                      <a:pt x="12" y="13"/>
                      <a:pt x="13" y="13"/>
                      <a:pt x="13" y="13"/>
                    </a:cubicBezTo>
                    <a:cubicBezTo>
                      <a:pt x="13" y="13"/>
                      <a:pt x="13" y="13"/>
                      <a:pt x="13" y="13"/>
                    </a:cubicBezTo>
                    <a:cubicBezTo>
                      <a:pt x="13" y="13"/>
                      <a:pt x="13" y="13"/>
                      <a:pt x="13" y="13"/>
                    </a:cubicBezTo>
                    <a:cubicBezTo>
                      <a:pt x="14" y="13"/>
                      <a:pt x="14" y="13"/>
                      <a:pt x="14" y="12"/>
                    </a:cubicBezTo>
                    <a:cubicBezTo>
                      <a:pt x="14" y="12"/>
                      <a:pt x="15" y="8"/>
                      <a:pt x="15" y="8"/>
                    </a:cubicBezTo>
                    <a:cubicBezTo>
                      <a:pt x="13" y="6"/>
                      <a:pt x="10" y="5"/>
                      <a:pt x="7" y="5"/>
                    </a:cubicBezTo>
                    <a:cubicBezTo>
                      <a:pt x="7" y="5"/>
                      <a:pt x="7" y="5"/>
                      <a:pt x="6" y="5"/>
                    </a:cubicBezTo>
                    <a:cubicBezTo>
                      <a:pt x="6" y="3"/>
                      <a:pt x="7" y="1"/>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 name="Freeform 125">
                <a:extLst>
                  <a:ext uri="{FF2B5EF4-FFF2-40B4-BE49-F238E27FC236}">
                    <a16:creationId xmlns:a16="http://schemas.microsoft.com/office/drawing/2014/main" id="{05F168A2-88FC-4FEA-91E8-5F4A0688F95D}"/>
                  </a:ext>
                </a:extLst>
              </p:cNvPr>
              <p:cNvSpPr>
                <a:spLocks/>
              </p:cNvSpPr>
              <p:nvPr/>
            </p:nvSpPr>
            <p:spPr bwMode="auto">
              <a:xfrm>
                <a:off x="925" y="1682"/>
                <a:ext cx="10" cy="2"/>
              </a:xfrm>
              <a:custGeom>
                <a:avLst/>
                <a:gdLst>
                  <a:gd name="T0" fmla="*/ 1 w 4"/>
                  <a:gd name="T1" fmla="*/ 0 h 1"/>
                  <a:gd name="T2" fmla="*/ 0 w 4"/>
                  <a:gd name="T3" fmla="*/ 0 h 1"/>
                  <a:gd name="T4" fmla="*/ 4 w 4"/>
                  <a:gd name="T5" fmla="*/ 1 h 1"/>
                  <a:gd name="T6" fmla="*/ 1 w 4"/>
                  <a:gd name="T7" fmla="*/ 0 h 1"/>
                </a:gdLst>
                <a:ahLst/>
                <a:cxnLst>
                  <a:cxn ang="0">
                    <a:pos x="T0" y="T1"/>
                  </a:cxn>
                  <a:cxn ang="0">
                    <a:pos x="T2" y="T3"/>
                  </a:cxn>
                  <a:cxn ang="0">
                    <a:pos x="T4" y="T5"/>
                  </a:cxn>
                  <a:cxn ang="0">
                    <a:pos x="T6" y="T7"/>
                  </a:cxn>
                </a:cxnLst>
                <a:rect l="0" t="0" r="r" b="b"/>
                <a:pathLst>
                  <a:path w="4" h="1">
                    <a:moveTo>
                      <a:pt x="1" y="0"/>
                    </a:moveTo>
                    <a:cubicBezTo>
                      <a:pt x="0" y="0"/>
                      <a:pt x="0" y="0"/>
                      <a:pt x="0" y="0"/>
                    </a:cubicBezTo>
                    <a:cubicBezTo>
                      <a:pt x="1" y="0"/>
                      <a:pt x="2" y="1"/>
                      <a:pt x="4"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 name="Freeform 126">
                <a:extLst>
                  <a:ext uri="{FF2B5EF4-FFF2-40B4-BE49-F238E27FC236}">
                    <a16:creationId xmlns:a16="http://schemas.microsoft.com/office/drawing/2014/main" id="{5EA5DF84-2C11-4CCA-9126-6AACC955DD92}"/>
                  </a:ext>
                </a:extLst>
              </p:cNvPr>
              <p:cNvSpPr>
                <a:spLocks/>
              </p:cNvSpPr>
              <p:nvPr/>
            </p:nvSpPr>
            <p:spPr bwMode="auto">
              <a:xfrm>
                <a:off x="817" y="1183"/>
                <a:ext cx="106" cy="54"/>
              </a:xfrm>
              <a:custGeom>
                <a:avLst/>
                <a:gdLst>
                  <a:gd name="T0" fmla="*/ 30 w 45"/>
                  <a:gd name="T1" fmla="*/ 0 h 23"/>
                  <a:gd name="T2" fmla="*/ 24 w 45"/>
                  <a:gd name="T3" fmla="*/ 2 h 23"/>
                  <a:gd name="T4" fmla="*/ 23 w 45"/>
                  <a:gd name="T5" fmla="*/ 1 h 23"/>
                  <a:gd name="T6" fmla="*/ 19 w 45"/>
                  <a:gd name="T7" fmla="*/ 3 h 23"/>
                  <a:gd name="T8" fmla="*/ 15 w 45"/>
                  <a:gd name="T9" fmla="*/ 4 h 23"/>
                  <a:gd name="T10" fmla="*/ 12 w 45"/>
                  <a:gd name="T11" fmla="*/ 7 h 23"/>
                  <a:gd name="T12" fmla="*/ 12 w 45"/>
                  <a:gd name="T13" fmla="*/ 7 h 23"/>
                  <a:gd name="T14" fmla="*/ 6 w 45"/>
                  <a:gd name="T15" fmla="*/ 6 h 23"/>
                  <a:gd name="T16" fmla="*/ 5 w 45"/>
                  <a:gd name="T17" fmla="*/ 6 h 23"/>
                  <a:gd name="T18" fmla="*/ 0 w 45"/>
                  <a:gd name="T19" fmla="*/ 7 h 23"/>
                  <a:gd name="T20" fmla="*/ 29 w 45"/>
                  <a:gd name="T21" fmla="*/ 23 h 23"/>
                  <a:gd name="T22" fmla="*/ 29 w 45"/>
                  <a:gd name="T23" fmla="*/ 19 h 23"/>
                  <a:gd name="T24" fmla="*/ 30 w 45"/>
                  <a:gd name="T25" fmla="*/ 19 h 23"/>
                  <a:gd name="T26" fmla="*/ 31 w 45"/>
                  <a:gd name="T27" fmla="*/ 19 h 23"/>
                  <a:gd name="T28" fmla="*/ 33 w 45"/>
                  <a:gd name="T29" fmla="*/ 19 h 23"/>
                  <a:gd name="T30" fmla="*/ 38 w 45"/>
                  <a:gd name="T31" fmla="*/ 18 h 23"/>
                  <a:gd name="T32" fmla="*/ 39 w 45"/>
                  <a:gd name="T33" fmla="*/ 17 h 23"/>
                  <a:gd name="T34" fmla="*/ 39 w 45"/>
                  <a:gd name="T35" fmla="*/ 17 h 23"/>
                  <a:gd name="T36" fmla="*/ 40 w 45"/>
                  <a:gd name="T37" fmla="*/ 17 h 23"/>
                  <a:gd name="T38" fmla="*/ 40 w 45"/>
                  <a:gd name="T39" fmla="*/ 18 h 23"/>
                  <a:gd name="T40" fmla="*/ 40 w 45"/>
                  <a:gd name="T41" fmla="*/ 18 h 23"/>
                  <a:gd name="T42" fmla="*/ 43 w 45"/>
                  <a:gd name="T43" fmla="*/ 17 h 23"/>
                  <a:gd name="T44" fmla="*/ 40 w 45"/>
                  <a:gd name="T45" fmla="*/ 12 h 23"/>
                  <a:gd name="T46" fmla="*/ 41 w 45"/>
                  <a:gd name="T47" fmla="*/ 9 h 23"/>
                  <a:gd name="T48" fmla="*/ 40 w 45"/>
                  <a:gd name="T49" fmla="*/ 8 h 23"/>
                  <a:gd name="T50" fmla="*/ 41 w 45"/>
                  <a:gd name="T51" fmla="*/ 7 h 23"/>
                  <a:gd name="T52" fmla="*/ 36 w 45"/>
                  <a:gd name="T53" fmla="*/ 3 h 23"/>
                  <a:gd name="T54" fmla="*/ 35 w 45"/>
                  <a:gd name="T55" fmla="*/ 3 h 23"/>
                  <a:gd name="T56" fmla="*/ 33 w 45"/>
                  <a:gd name="T57" fmla="*/ 3 h 23"/>
                  <a:gd name="T58" fmla="*/ 32 w 45"/>
                  <a:gd name="T59" fmla="*/ 2 h 23"/>
                  <a:gd name="T60" fmla="*/ 31 w 45"/>
                  <a:gd name="T61" fmla="*/ 0 h 23"/>
                  <a:gd name="T62" fmla="*/ 30 w 45"/>
                  <a:gd name="T6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23">
                    <a:moveTo>
                      <a:pt x="30" y="0"/>
                    </a:moveTo>
                    <a:cubicBezTo>
                      <a:pt x="29" y="0"/>
                      <a:pt x="25" y="2"/>
                      <a:pt x="24" y="2"/>
                    </a:cubicBezTo>
                    <a:cubicBezTo>
                      <a:pt x="24" y="1"/>
                      <a:pt x="24" y="1"/>
                      <a:pt x="23" y="1"/>
                    </a:cubicBezTo>
                    <a:cubicBezTo>
                      <a:pt x="21" y="1"/>
                      <a:pt x="19" y="3"/>
                      <a:pt x="19" y="3"/>
                    </a:cubicBezTo>
                    <a:cubicBezTo>
                      <a:pt x="18" y="3"/>
                      <a:pt x="16" y="3"/>
                      <a:pt x="15" y="4"/>
                    </a:cubicBezTo>
                    <a:cubicBezTo>
                      <a:pt x="14" y="5"/>
                      <a:pt x="14" y="7"/>
                      <a:pt x="12" y="7"/>
                    </a:cubicBezTo>
                    <a:cubicBezTo>
                      <a:pt x="12" y="7"/>
                      <a:pt x="12" y="7"/>
                      <a:pt x="12" y="7"/>
                    </a:cubicBezTo>
                    <a:cubicBezTo>
                      <a:pt x="10" y="7"/>
                      <a:pt x="7" y="6"/>
                      <a:pt x="6" y="6"/>
                    </a:cubicBezTo>
                    <a:cubicBezTo>
                      <a:pt x="6" y="6"/>
                      <a:pt x="6" y="6"/>
                      <a:pt x="5" y="6"/>
                    </a:cubicBezTo>
                    <a:cubicBezTo>
                      <a:pt x="3" y="6"/>
                      <a:pt x="2" y="7"/>
                      <a:pt x="0" y="7"/>
                    </a:cubicBezTo>
                    <a:cubicBezTo>
                      <a:pt x="9" y="12"/>
                      <a:pt x="19" y="18"/>
                      <a:pt x="29" y="23"/>
                    </a:cubicBezTo>
                    <a:cubicBezTo>
                      <a:pt x="28" y="21"/>
                      <a:pt x="27" y="19"/>
                      <a:pt x="29" y="19"/>
                    </a:cubicBezTo>
                    <a:cubicBezTo>
                      <a:pt x="29" y="19"/>
                      <a:pt x="30" y="19"/>
                      <a:pt x="30" y="19"/>
                    </a:cubicBezTo>
                    <a:cubicBezTo>
                      <a:pt x="31" y="19"/>
                      <a:pt x="31" y="19"/>
                      <a:pt x="31" y="19"/>
                    </a:cubicBezTo>
                    <a:cubicBezTo>
                      <a:pt x="32" y="19"/>
                      <a:pt x="32" y="19"/>
                      <a:pt x="33" y="19"/>
                    </a:cubicBezTo>
                    <a:cubicBezTo>
                      <a:pt x="35" y="19"/>
                      <a:pt x="36" y="18"/>
                      <a:pt x="38" y="18"/>
                    </a:cubicBezTo>
                    <a:cubicBezTo>
                      <a:pt x="38" y="18"/>
                      <a:pt x="39" y="17"/>
                      <a:pt x="39" y="17"/>
                    </a:cubicBezTo>
                    <a:cubicBezTo>
                      <a:pt x="39" y="17"/>
                      <a:pt x="39" y="17"/>
                      <a:pt x="39" y="17"/>
                    </a:cubicBezTo>
                    <a:cubicBezTo>
                      <a:pt x="39" y="17"/>
                      <a:pt x="40" y="17"/>
                      <a:pt x="40" y="17"/>
                    </a:cubicBezTo>
                    <a:cubicBezTo>
                      <a:pt x="40" y="18"/>
                      <a:pt x="40" y="18"/>
                      <a:pt x="40" y="18"/>
                    </a:cubicBezTo>
                    <a:cubicBezTo>
                      <a:pt x="40" y="18"/>
                      <a:pt x="40" y="18"/>
                      <a:pt x="40" y="18"/>
                    </a:cubicBezTo>
                    <a:cubicBezTo>
                      <a:pt x="41" y="18"/>
                      <a:pt x="42" y="18"/>
                      <a:pt x="43" y="17"/>
                    </a:cubicBezTo>
                    <a:cubicBezTo>
                      <a:pt x="45" y="15"/>
                      <a:pt x="42" y="12"/>
                      <a:pt x="40" y="12"/>
                    </a:cubicBezTo>
                    <a:cubicBezTo>
                      <a:pt x="41" y="11"/>
                      <a:pt x="40" y="10"/>
                      <a:pt x="41" y="9"/>
                    </a:cubicBezTo>
                    <a:cubicBezTo>
                      <a:pt x="41" y="9"/>
                      <a:pt x="40" y="9"/>
                      <a:pt x="40" y="8"/>
                    </a:cubicBezTo>
                    <a:cubicBezTo>
                      <a:pt x="40" y="8"/>
                      <a:pt x="41" y="8"/>
                      <a:pt x="41" y="7"/>
                    </a:cubicBezTo>
                    <a:cubicBezTo>
                      <a:pt x="41" y="4"/>
                      <a:pt x="39" y="3"/>
                      <a:pt x="36" y="3"/>
                    </a:cubicBezTo>
                    <a:cubicBezTo>
                      <a:pt x="36" y="3"/>
                      <a:pt x="35" y="3"/>
                      <a:pt x="35" y="3"/>
                    </a:cubicBezTo>
                    <a:cubicBezTo>
                      <a:pt x="34" y="3"/>
                      <a:pt x="34" y="3"/>
                      <a:pt x="33" y="3"/>
                    </a:cubicBezTo>
                    <a:cubicBezTo>
                      <a:pt x="33" y="3"/>
                      <a:pt x="32" y="3"/>
                      <a:pt x="32" y="2"/>
                    </a:cubicBezTo>
                    <a:cubicBezTo>
                      <a:pt x="31" y="2"/>
                      <a:pt x="31" y="0"/>
                      <a:pt x="31" y="0"/>
                    </a:cubicBezTo>
                    <a:cubicBezTo>
                      <a:pt x="31"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 name="Freeform 127">
                <a:extLst>
                  <a:ext uri="{FF2B5EF4-FFF2-40B4-BE49-F238E27FC236}">
                    <a16:creationId xmlns:a16="http://schemas.microsoft.com/office/drawing/2014/main" id="{49A8CBCD-996B-4848-B8CC-528F0C9F1A5C}"/>
                  </a:ext>
                </a:extLst>
              </p:cNvPr>
              <p:cNvSpPr>
                <a:spLocks/>
              </p:cNvSpPr>
              <p:nvPr/>
            </p:nvSpPr>
            <p:spPr bwMode="auto">
              <a:xfrm>
                <a:off x="1632" y="1330"/>
                <a:ext cx="12" cy="4"/>
              </a:xfrm>
              <a:custGeom>
                <a:avLst/>
                <a:gdLst>
                  <a:gd name="T0" fmla="*/ 3 w 5"/>
                  <a:gd name="T1" fmla="*/ 0 h 2"/>
                  <a:gd name="T2" fmla="*/ 0 w 5"/>
                  <a:gd name="T3" fmla="*/ 2 h 2"/>
                  <a:gd name="T4" fmla="*/ 5 w 5"/>
                  <a:gd name="T5" fmla="*/ 1 h 2"/>
                  <a:gd name="T6" fmla="*/ 3 w 5"/>
                  <a:gd name="T7" fmla="*/ 0 h 2"/>
                </a:gdLst>
                <a:ahLst/>
                <a:cxnLst>
                  <a:cxn ang="0">
                    <a:pos x="T0" y="T1"/>
                  </a:cxn>
                  <a:cxn ang="0">
                    <a:pos x="T2" y="T3"/>
                  </a:cxn>
                  <a:cxn ang="0">
                    <a:pos x="T4" y="T5"/>
                  </a:cxn>
                  <a:cxn ang="0">
                    <a:pos x="T6" y="T7"/>
                  </a:cxn>
                </a:cxnLst>
                <a:rect l="0" t="0" r="r" b="b"/>
                <a:pathLst>
                  <a:path w="5" h="2">
                    <a:moveTo>
                      <a:pt x="3" y="0"/>
                    </a:moveTo>
                    <a:cubicBezTo>
                      <a:pt x="2" y="0"/>
                      <a:pt x="0" y="0"/>
                      <a:pt x="0" y="2"/>
                    </a:cubicBezTo>
                    <a:cubicBezTo>
                      <a:pt x="1" y="1"/>
                      <a:pt x="3"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 name="Freeform 128">
                <a:extLst>
                  <a:ext uri="{FF2B5EF4-FFF2-40B4-BE49-F238E27FC236}">
                    <a16:creationId xmlns:a16="http://schemas.microsoft.com/office/drawing/2014/main" id="{0E1A56B2-CE93-49FC-AC50-F6D7D1AFD245}"/>
                  </a:ext>
                </a:extLst>
              </p:cNvPr>
              <p:cNvSpPr>
                <a:spLocks/>
              </p:cNvSpPr>
              <p:nvPr/>
            </p:nvSpPr>
            <p:spPr bwMode="auto">
              <a:xfrm>
                <a:off x="5028" y="2195"/>
                <a:ext cx="7" cy="3"/>
              </a:xfrm>
              <a:custGeom>
                <a:avLst/>
                <a:gdLst>
                  <a:gd name="T0" fmla="*/ 3 w 3"/>
                  <a:gd name="T1" fmla="*/ 0 h 1"/>
                  <a:gd name="T2" fmla="*/ 0 w 3"/>
                  <a:gd name="T3" fmla="*/ 1 h 1"/>
                  <a:gd name="T4" fmla="*/ 3 w 3"/>
                  <a:gd name="T5" fmla="*/ 0 h 1"/>
                  <a:gd name="T6" fmla="*/ 3 w 3"/>
                  <a:gd name="T7" fmla="*/ 0 h 1"/>
                </a:gdLst>
                <a:ahLst/>
                <a:cxnLst>
                  <a:cxn ang="0">
                    <a:pos x="T0" y="T1"/>
                  </a:cxn>
                  <a:cxn ang="0">
                    <a:pos x="T2" y="T3"/>
                  </a:cxn>
                  <a:cxn ang="0">
                    <a:pos x="T4" y="T5"/>
                  </a:cxn>
                  <a:cxn ang="0">
                    <a:pos x="T6" y="T7"/>
                  </a:cxn>
                </a:cxnLst>
                <a:rect l="0" t="0" r="r" b="b"/>
                <a:pathLst>
                  <a:path w="3" h="1">
                    <a:moveTo>
                      <a:pt x="3" y="0"/>
                    </a:moveTo>
                    <a:cubicBezTo>
                      <a:pt x="2" y="0"/>
                      <a:pt x="1" y="1"/>
                      <a:pt x="0" y="1"/>
                    </a:cubicBezTo>
                    <a:cubicBezTo>
                      <a:pt x="1" y="1"/>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 name="Freeform 129">
                <a:extLst>
                  <a:ext uri="{FF2B5EF4-FFF2-40B4-BE49-F238E27FC236}">
                    <a16:creationId xmlns:a16="http://schemas.microsoft.com/office/drawing/2014/main" id="{EEBB05D4-0B64-42DC-BFC9-9407C45ED774}"/>
                  </a:ext>
                </a:extLst>
              </p:cNvPr>
              <p:cNvSpPr>
                <a:spLocks/>
              </p:cNvSpPr>
              <p:nvPr/>
            </p:nvSpPr>
            <p:spPr bwMode="auto">
              <a:xfrm>
                <a:off x="1588" y="1441"/>
                <a:ext cx="26" cy="9"/>
              </a:xfrm>
              <a:custGeom>
                <a:avLst/>
                <a:gdLst>
                  <a:gd name="T0" fmla="*/ 4 w 11"/>
                  <a:gd name="T1" fmla="*/ 0 h 4"/>
                  <a:gd name="T2" fmla="*/ 0 w 11"/>
                  <a:gd name="T3" fmla="*/ 4 h 4"/>
                  <a:gd name="T4" fmla="*/ 11 w 11"/>
                  <a:gd name="T5" fmla="*/ 2 h 4"/>
                  <a:gd name="T6" fmla="*/ 8 w 11"/>
                  <a:gd name="T7" fmla="*/ 1 h 4"/>
                  <a:gd name="T8" fmla="*/ 4 w 11"/>
                  <a:gd name="T9" fmla="*/ 2 h 4"/>
                  <a:gd name="T10" fmla="*/ 4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4" y="0"/>
                    </a:moveTo>
                    <a:cubicBezTo>
                      <a:pt x="2" y="1"/>
                      <a:pt x="0" y="3"/>
                      <a:pt x="0" y="4"/>
                    </a:cubicBezTo>
                    <a:cubicBezTo>
                      <a:pt x="4" y="4"/>
                      <a:pt x="8" y="3"/>
                      <a:pt x="11" y="2"/>
                    </a:cubicBezTo>
                    <a:cubicBezTo>
                      <a:pt x="10" y="2"/>
                      <a:pt x="9" y="1"/>
                      <a:pt x="8" y="1"/>
                    </a:cubicBezTo>
                    <a:cubicBezTo>
                      <a:pt x="6" y="1"/>
                      <a:pt x="5" y="2"/>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 name="Freeform 130">
                <a:extLst>
                  <a:ext uri="{FF2B5EF4-FFF2-40B4-BE49-F238E27FC236}">
                    <a16:creationId xmlns:a16="http://schemas.microsoft.com/office/drawing/2014/main" id="{97E8605A-DC8B-450C-8334-5F8FC50F658C}"/>
                  </a:ext>
                </a:extLst>
              </p:cNvPr>
              <p:cNvSpPr>
                <a:spLocks/>
              </p:cNvSpPr>
              <p:nvPr/>
            </p:nvSpPr>
            <p:spPr bwMode="auto">
              <a:xfrm>
                <a:off x="2597" y="1346"/>
                <a:ext cx="64" cy="109"/>
              </a:xfrm>
              <a:custGeom>
                <a:avLst/>
                <a:gdLst>
                  <a:gd name="T0" fmla="*/ 0 w 27"/>
                  <a:gd name="T1" fmla="*/ 0 h 46"/>
                  <a:gd name="T2" fmla="*/ 2 w 27"/>
                  <a:gd name="T3" fmla="*/ 5 h 46"/>
                  <a:gd name="T4" fmla="*/ 4 w 27"/>
                  <a:gd name="T5" fmla="*/ 8 h 46"/>
                  <a:gd name="T6" fmla="*/ 6 w 27"/>
                  <a:gd name="T7" fmla="*/ 7 h 46"/>
                  <a:gd name="T8" fmla="*/ 4 w 27"/>
                  <a:gd name="T9" fmla="*/ 13 h 46"/>
                  <a:gd name="T10" fmla="*/ 6 w 27"/>
                  <a:gd name="T11" fmla="*/ 17 h 46"/>
                  <a:gd name="T12" fmla="*/ 9 w 27"/>
                  <a:gd name="T13" fmla="*/ 30 h 46"/>
                  <a:gd name="T14" fmla="*/ 14 w 27"/>
                  <a:gd name="T15" fmla="*/ 29 h 46"/>
                  <a:gd name="T16" fmla="*/ 15 w 27"/>
                  <a:gd name="T17" fmla="*/ 35 h 46"/>
                  <a:gd name="T18" fmla="*/ 15 w 27"/>
                  <a:gd name="T19" fmla="*/ 36 h 46"/>
                  <a:gd name="T20" fmla="*/ 14 w 27"/>
                  <a:gd name="T21" fmla="*/ 36 h 46"/>
                  <a:gd name="T22" fmla="*/ 14 w 27"/>
                  <a:gd name="T23" fmla="*/ 35 h 46"/>
                  <a:gd name="T24" fmla="*/ 14 w 27"/>
                  <a:gd name="T25" fmla="*/ 35 h 46"/>
                  <a:gd name="T26" fmla="*/ 12 w 27"/>
                  <a:gd name="T27" fmla="*/ 35 h 46"/>
                  <a:gd name="T28" fmla="*/ 11 w 27"/>
                  <a:gd name="T29" fmla="*/ 38 h 46"/>
                  <a:gd name="T30" fmla="*/ 9 w 27"/>
                  <a:gd name="T31" fmla="*/ 46 h 46"/>
                  <a:gd name="T32" fmla="*/ 14 w 27"/>
                  <a:gd name="T33" fmla="*/ 44 h 46"/>
                  <a:gd name="T34" fmla="*/ 20 w 27"/>
                  <a:gd name="T35" fmla="*/ 37 h 46"/>
                  <a:gd name="T36" fmla="*/ 26 w 27"/>
                  <a:gd name="T37" fmla="*/ 34 h 46"/>
                  <a:gd name="T38" fmla="*/ 25 w 27"/>
                  <a:gd name="T39" fmla="*/ 30 h 46"/>
                  <a:gd name="T40" fmla="*/ 23 w 27"/>
                  <a:gd name="T41" fmla="*/ 26 h 46"/>
                  <a:gd name="T42" fmla="*/ 20 w 27"/>
                  <a:gd name="T43" fmla="*/ 22 h 46"/>
                  <a:gd name="T44" fmla="*/ 17 w 27"/>
                  <a:gd name="T45" fmla="*/ 19 h 46"/>
                  <a:gd name="T46" fmla="*/ 16 w 27"/>
                  <a:gd name="T47" fmla="*/ 19 h 46"/>
                  <a:gd name="T48" fmla="*/ 16 w 27"/>
                  <a:gd name="T49" fmla="*/ 11 h 46"/>
                  <a:gd name="T50" fmla="*/ 20 w 27"/>
                  <a:gd name="T51" fmla="*/ 18 h 46"/>
                  <a:gd name="T52" fmla="*/ 23 w 27"/>
                  <a:gd name="T53" fmla="*/ 21 h 46"/>
                  <a:gd name="T54" fmla="*/ 27 w 27"/>
                  <a:gd name="T55" fmla="*/ 27 h 46"/>
                  <a:gd name="T56" fmla="*/ 25 w 27"/>
                  <a:gd name="T57" fmla="*/ 22 h 46"/>
                  <a:gd name="T58" fmla="*/ 23 w 27"/>
                  <a:gd name="T59" fmla="*/ 18 h 46"/>
                  <a:gd name="T60" fmla="*/ 17 w 27"/>
                  <a:gd name="T61" fmla="*/ 8 h 46"/>
                  <a:gd name="T62" fmla="*/ 16 w 27"/>
                  <a:gd name="T63" fmla="*/ 8 h 46"/>
                  <a:gd name="T64" fmla="*/ 15 w 27"/>
                  <a:gd name="T65" fmla="*/ 8 h 46"/>
                  <a:gd name="T66" fmla="*/ 14 w 27"/>
                  <a:gd name="T67" fmla="*/ 8 h 46"/>
                  <a:gd name="T68" fmla="*/ 13 w 27"/>
                  <a:gd name="T69" fmla="*/ 8 h 46"/>
                  <a:gd name="T70" fmla="*/ 9 w 27"/>
                  <a:gd name="T71" fmla="*/ 8 h 46"/>
                  <a:gd name="T72" fmla="*/ 5 w 27"/>
                  <a:gd name="T73" fmla="*/ 5 h 46"/>
                  <a:gd name="T74" fmla="*/ 0 w 27"/>
                  <a:gd name="T7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46">
                    <a:moveTo>
                      <a:pt x="0" y="0"/>
                    </a:moveTo>
                    <a:cubicBezTo>
                      <a:pt x="0" y="2"/>
                      <a:pt x="0" y="5"/>
                      <a:pt x="2" y="5"/>
                    </a:cubicBezTo>
                    <a:cubicBezTo>
                      <a:pt x="1" y="7"/>
                      <a:pt x="2" y="8"/>
                      <a:pt x="4" y="8"/>
                    </a:cubicBezTo>
                    <a:cubicBezTo>
                      <a:pt x="5" y="8"/>
                      <a:pt x="5" y="8"/>
                      <a:pt x="6" y="7"/>
                    </a:cubicBezTo>
                    <a:cubicBezTo>
                      <a:pt x="5" y="8"/>
                      <a:pt x="4" y="12"/>
                      <a:pt x="4" y="13"/>
                    </a:cubicBezTo>
                    <a:cubicBezTo>
                      <a:pt x="4" y="14"/>
                      <a:pt x="6" y="16"/>
                      <a:pt x="6" y="17"/>
                    </a:cubicBezTo>
                    <a:cubicBezTo>
                      <a:pt x="7" y="22"/>
                      <a:pt x="7" y="25"/>
                      <a:pt x="9" y="30"/>
                    </a:cubicBezTo>
                    <a:cubicBezTo>
                      <a:pt x="11" y="30"/>
                      <a:pt x="13" y="29"/>
                      <a:pt x="14" y="29"/>
                    </a:cubicBezTo>
                    <a:cubicBezTo>
                      <a:pt x="14" y="31"/>
                      <a:pt x="16" y="33"/>
                      <a:pt x="15" y="35"/>
                    </a:cubicBezTo>
                    <a:cubicBezTo>
                      <a:pt x="15" y="36"/>
                      <a:pt x="15" y="36"/>
                      <a:pt x="15" y="36"/>
                    </a:cubicBezTo>
                    <a:cubicBezTo>
                      <a:pt x="15" y="36"/>
                      <a:pt x="14" y="36"/>
                      <a:pt x="14" y="36"/>
                    </a:cubicBezTo>
                    <a:cubicBezTo>
                      <a:pt x="14" y="35"/>
                      <a:pt x="14" y="35"/>
                      <a:pt x="14" y="35"/>
                    </a:cubicBezTo>
                    <a:cubicBezTo>
                      <a:pt x="14" y="35"/>
                      <a:pt x="14" y="35"/>
                      <a:pt x="14" y="35"/>
                    </a:cubicBezTo>
                    <a:cubicBezTo>
                      <a:pt x="12" y="35"/>
                      <a:pt x="12" y="35"/>
                      <a:pt x="12" y="35"/>
                    </a:cubicBezTo>
                    <a:cubicBezTo>
                      <a:pt x="11" y="38"/>
                      <a:pt x="11" y="38"/>
                      <a:pt x="11" y="38"/>
                    </a:cubicBezTo>
                    <a:cubicBezTo>
                      <a:pt x="10" y="41"/>
                      <a:pt x="9" y="44"/>
                      <a:pt x="9" y="46"/>
                    </a:cubicBezTo>
                    <a:cubicBezTo>
                      <a:pt x="11" y="46"/>
                      <a:pt x="12" y="45"/>
                      <a:pt x="14" y="44"/>
                    </a:cubicBezTo>
                    <a:cubicBezTo>
                      <a:pt x="13" y="43"/>
                      <a:pt x="23" y="39"/>
                      <a:pt x="20" y="37"/>
                    </a:cubicBezTo>
                    <a:cubicBezTo>
                      <a:pt x="22" y="36"/>
                      <a:pt x="25" y="36"/>
                      <a:pt x="26" y="34"/>
                    </a:cubicBezTo>
                    <a:cubicBezTo>
                      <a:pt x="27" y="32"/>
                      <a:pt x="26" y="32"/>
                      <a:pt x="25" y="30"/>
                    </a:cubicBezTo>
                    <a:cubicBezTo>
                      <a:pt x="25" y="29"/>
                      <a:pt x="24" y="27"/>
                      <a:pt x="23" y="26"/>
                    </a:cubicBezTo>
                    <a:cubicBezTo>
                      <a:pt x="22" y="25"/>
                      <a:pt x="21" y="23"/>
                      <a:pt x="20" y="22"/>
                    </a:cubicBezTo>
                    <a:cubicBezTo>
                      <a:pt x="19" y="21"/>
                      <a:pt x="18" y="19"/>
                      <a:pt x="17" y="19"/>
                    </a:cubicBezTo>
                    <a:cubicBezTo>
                      <a:pt x="17" y="19"/>
                      <a:pt x="17" y="19"/>
                      <a:pt x="16" y="19"/>
                    </a:cubicBezTo>
                    <a:cubicBezTo>
                      <a:pt x="17" y="15"/>
                      <a:pt x="17" y="15"/>
                      <a:pt x="16" y="11"/>
                    </a:cubicBezTo>
                    <a:cubicBezTo>
                      <a:pt x="18" y="12"/>
                      <a:pt x="19" y="15"/>
                      <a:pt x="20" y="18"/>
                    </a:cubicBezTo>
                    <a:cubicBezTo>
                      <a:pt x="21" y="19"/>
                      <a:pt x="22" y="20"/>
                      <a:pt x="23" y="21"/>
                    </a:cubicBezTo>
                    <a:cubicBezTo>
                      <a:pt x="24" y="24"/>
                      <a:pt x="24" y="25"/>
                      <a:pt x="27" y="27"/>
                    </a:cubicBezTo>
                    <a:cubicBezTo>
                      <a:pt x="26" y="25"/>
                      <a:pt x="25" y="24"/>
                      <a:pt x="25" y="22"/>
                    </a:cubicBezTo>
                    <a:cubicBezTo>
                      <a:pt x="25" y="20"/>
                      <a:pt x="24" y="20"/>
                      <a:pt x="23" y="18"/>
                    </a:cubicBezTo>
                    <a:cubicBezTo>
                      <a:pt x="22" y="15"/>
                      <a:pt x="19" y="9"/>
                      <a:pt x="17" y="8"/>
                    </a:cubicBezTo>
                    <a:cubicBezTo>
                      <a:pt x="17" y="8"/>
                      <a:pt x="16" y="8"/>
                      <a:pt x="16" y="8"/>
                    </a:cubicBezTo>
                    <a:cubicBezTo>
                      <a:pt x="16" y="8"/>
                      <a:pt x="15" y="8"/>
                      <a:pt x="15" y="8"/>
                    </a:cubicBezTo>
                    <a:cubicBezTo>
                      <a:pt x="15" y="8"/>
                      <a:pt x="15" y="8"/>
                      <a:pt x="14" y="8"/>
                    </a:cubicBezTo>
                    <a:cubicBezTo>
                      <a:pt x="14" y="8"/>
                      <a:pt x="13" y="8"/>
                      <a:pt x="13" y="8"/>
                    </a:cubicBezTo>
                    <a:cubicBezTo>
                      <a:pt x="11" y="8"/>
                      <a:pt x="10" y="8"/>
                      <a:pt x="9" y="8"/>
                    </a:cubicBezTo>
                    <a:cubicBezTo>
                      <a:pt x="7" y="8"/>
                      <a:pt x="7" y="7"/>
                      <a:pt x="5" y="5"/>
                    </a:cubicBezTo>
                    <a:cubicBezTo>
                      <a:pt x="4"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 name="Freeform 131">
                <a:extLst>
                  <a:ext uri="{FF2B5EF4-FFF2-40B4-BE49-F238E27FC236}">
                    <a16:creationId xmlns:a16="http://schemas.microsoft.com/office/drawing/2014/main" id="{010869C3-AC29-4557-BC68-E3A40A9AA25B}"/>
                  </a:ext>
                </a:extLst>
              </p:cNvPr>
              <p:cNvSpPr>
                <a:spLocks/>
              </p:cNvSpPr>
              <p:nvPr/>
            </p:nvSpPr>
            <p:spPr bwMode="auto">
              <a:xfrm>
                <a:off x="2678" y="1587"/>
                <a:ext cx="16" cy="10"/>
              </a:xfrm>
              <a:custGeom>
                <a:avLst/>
                <a:gdLst>
                  <a:gd name="T0" fmla="*/ 5 w 7"/>
                  <a:gd name="T1" fmla="*/ 0 h 4"/>
                  <a:gd name="T2" fmla="*/ 2 w 7"/>
                  <a:gd name="T3" fmla="*/ 3 h 4"/>
                  <a:gd name="T4" fmla="*/ 4 w 7"/>
                  <a:gd name="T5" fmla="*/ 4 h 4"/>
                  <a:gd name="T6" fmla="*/ 4 w 7"/>
                  <a:gd name="T7" fmla="*/ 4 h 4"/>
                  <a:gd name="T8" fmla="*/ 5 w 7"/>
                  <a:gd name="T9" fmla="*/ 4 h 4"/>
                  <a:gd name="T10" fmla="*/ 5 w 7"/>
                  <a:gd name="T11" fmla="*/ 4 h 4"/>
                  <a:gd name="T12" fmla="*/ 5 w 7"/>
                  <a:gd name="T13" fmla="*/ 4 h 4"/>
                  <a:gd name="T14" fmla="*/ 5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5" y="0"/>
                    </a:moveTo>
                    <a:cubicBezTo>
                      <a:pt x="4" y="0"/>
                      <a:pt x="0" y="0"/>
                      <a:pt x="2" y="3"/>
                    </a:cubicBezTo>
                    <a:cubicBezTo>
                      <a:pt x="2" y="4"/>
                      <a:pt x="3" y="4"/>
                      <a:pt x="4" y="4"/>
                    </a:cubicBezTo>
                    <a:cubicBezTo>
                      <a:pt x="4" y="4"/>
                      <a:pt x="4" y="4"/>
                      <a:pt x="4" y="4"/>
                    </a:cubicBezTo>
                    <a:cubicBezTo>
                      <a:pt x="4" y="4"/>
                      <a:pt x="5" y="4"/>
                      <a:pt x="5" y="4"/>
                    </a:cubicBezTo>
                    <a:cubicBezTo>
                      <a:pt x="5" y="4"/>
                      <a:pt x="5" y="4"/>
                      <a:pt x="5" y="4"/>
                    </a:cubicBezTo>
                    <a:cubicBezTo>
                      <a:pt x="5" y="4"/>
                      <a:pt x="5" y="4"/>
                      <a:pt x="5" y="4"/>
                    </a:cubicBezTo>
                    <a:cubicBezTo>
                      <a:pt x="7" y="4"/>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 name="Freeform 132">
                <a:extLst>
                  <a:ext uri="{FF2B5EF4-FFF2-40B4-BE49-F238E27FC236}">
                    <a16:creationId xmlns:a16="http://schemas.microsoft.com/office/drawing/2014/main" id="{418DD4F7-A324-4C43-90C6-ABDD55CF2453}"/>
                  </a:ext>
                </a:extLst>
              </p:cNvPr>
              <p:cNvSpPr>
                <a:spLocks/>
              </p:cNvSpPr>
              <p:nvPr/>
            </p:nvSpPr>
            <p:spPr bwMode="auto">
              <a:xfrm>
                <a:off x="2770" y="1540"/>
                <a:ext cx="50" cy="57"/>
              </a:xfrm>
              <a:custGeom>
                <a:avLst/>
                <a:gdLst>
                  <a:gd name="T0" fmla="*/ 12 w 21"/>
                  <a:gd name="T1" fmla="*/ 0 h 24"/>
                  <a:gd name="T2" fmla="*/ 11 w 21"/>
                  <a:gd name="T3" fmla="*/ 0 h 24"/>
                  <a:gd name="T4" fmla="*/ 7 w 21"/>
                  <a:gd name="T5" fmla="*/ 1 h 24"/>
                  <a:gd name="T6" fmla="*/ 9 w 21"/>
                  <a:gd name="T7" fmla="*/ 3 h 24"/>
                  <a:gd name="T8" fmla="*/ 8 w 21"/>
                  <a:gd name="T9" fmla="*/ 3 h 24"/>
                  <a:gd name="T10" fmla="*/ 7 w 21"/>
                  <a:gd name="T11" fmla="*/ 3 h 24"/>
                  <a:gd name="T12" fmla="*/ 6 w 21"/>
                  <a:gd name="T13" fmla="*/ 3 h 24"/>
                  <a:gd name="T14" fmla="*/ 3 w 21"/>
                  <a:gd name="T15" fmla="*/ 4 h 24"/>
                  <a:gd name="T16" fmla="*/ 4 w 21"/>
                  <a:gd name="T17" fmla="*/ 5 h 24"/>
                  <a:gd name="T18" fmla="*/ 5 w 21"/>
                  <a:gd name="T19" fmla="*/ 4 h 24"/>
                  <a:gd name="T20" fmla="*/ 6 w 21"/>
                  <a:gd name="T21" fmla="*/ 4 h 24"/>
                  <a:gd name="T22" fmla="*/ 8 w 21"/>
                  <a:gd name="T23" fmla="*/ 5 h 24"/>
                  <a:gd name="T24" fmla="*/ 3 w 21"/>
                  <a:gd name="T25" fmla="*/ 7 h 24"/>
                  <a:gd name="T26" fmla="*/ 3 w 21"/>
                  <a:gd name="T27" fmla="*/ 7 h 24"/>
                  <a:gd name="T28" fmla="*/ 5 w 21"/>
                  <a:gd name="T29" fmla="*/ 7 h 24"/>
                  <a:gd name="T30" fmla="*/ 7 w 21"/>
                  <a:gd name="T31" fmla="*/ 7 h 24"/>
                  <a:gd name="T32" fmla="*/ 7 w 21"/>
                  <a:gd name="T33" fmla="*/ 7 h 24"/>
                  <a:gd name="T34" fmla="*/ 7 w 21"/>
                  <a:gd name="T35" fmla="*/ 7 h 24"/>
                  <a:gd name="T36" fmla="*/ 3 w 21"/>
                  <a:gd name="T37" fmla="*/ 10 h 24"/>
                  <a:gd name="T38" fmla="*/ 4 w 21"/>
                  <a:gd name="T39" fmla="*/ 13 h 24"/>
                  <a:gd name="T40" fmla="*/ 1 w 21"/>
                  <a:gd name="T41" fmla="*/ 16 h 24"/>
                  <a:gd name="T42" fmla="*/ 5 w 21"/>
                  <a:gd name="T43" fmla="*/ 20 h 24"/>
                  <a:gd name="T44" fmla="*/ 9 w 21"/>
                  <a:gd name="T45" fmla="*/ 13 h 24"/>
                  <a:gd name="T46" fmla="*/ 11 w 21"/>
                  <a:gd name="T47" fmla="*/ 17 h 24"/>
                  <a:gd name="T48" fmla="*/ 12 w 21"/>
                  <a:gd name="T49" fmla="*/ 16 h 24"/>
                  <a:gd name="T50" fmla="*/ 11 w 21"/>
                  <a:gd name="T51" fmla="*/ 11 h 24"/>
                  <a:gd name="T52" fmla="*/ 13 w 21"/>
                  <a:gd name="T53" fmla="*/ 17 h 24"/>
                  <a:gd name="T54" fmla="*/ 11 w 21"/>
                  <a:gd name="T55" fmla="*/ 21 h 24"/>
                  <a:gd name="T56" fmla="*/ 12 w 21"/>
                  <a:gd name="T57" fmla="*/ 22 h 24"/>
                  <a:gd name="T58" fmla="*/ 14 w 21"/>
                  <a:gd name="T59" fmla="*/ 17 h 24"/>
                  <a:gd name="T60" fmla="*/ 16 w 21"/>
                  <a:gd name="T61" fmla="*/ 24 h 24"/>
                  <a:gd name="T62" fmla="*/ 18 w 21"/>
                  <a:gd name="T63" fmla="*/ 5 h 24"/>
                  <a:gd name="T64" fmla="*/ 12 w 21"/>
                  <a:gd name="T6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4">
                    <a:moveTo>
                      <a:pt x="12" y="0"/>
                    </a:moveTo>
                    <a:cubicBezTo>
                      <a:pt x="12" y="0"/>
                      <a:pt x="11" y="0"/>
                      <a:pt x="11" y="0"/>
                    </a:cubicBezTo>
                    <a:cubicBezTo>
                      <a:pt x="10" y="0"/>
                      <a:pt x="8" y="0"/>
                      <a:pt x="7" y="1"/>
                    </a:cubicBezTo>
                    <a:cubicBezTo>
                      <a:pt x="6" y="2"/>
                      <a:pt x="6" y="3"/>
                      <a:pt x="9" y="3"/>
                    </a:cubicBezTo>
                    <a:cubicBezTo>
                      <a:pt x="9" y="3"/>
                      <a:pt x="9" y="3"/>
                      <a:pt x="8" y="3"/>
                    </a:cubicBezTo>
                    <a:cubicBezTo>
                      <a:pt x="8" y="3"/>
                      <a:pt x="8" y="3"/>
                      <a:pt x="7" y="3"/>
                    </a:cubicBezTo>
                    <a:cubicBezTo>
                      <a:pt x="7" y="3"/>
                      <a:pt x="6" y="3"/>
                      <a:pt x="6" y="3"/>
                    </a:cubicBezTo>
                    <a:cubicBezTo>
                      <a:pt x="5" y="3"/>
                      <a:pt x="3" y="3"/>
                      <a:pt x="3" y="4"/>
                    </a:cubicBezTo>
                    <a:cubicBezTo>
                      <a:pt x="3" y="4"/>
                      <a:pt x="4" y="5"/>
                      <a:pt x="4" y="5"/>
                    </a:cubicBezTo>
                    <a:cubicBezTo>
                      <a:pt x="4" y="5"/>
                      <a:pt x="5" y="4"/>
                      <a:pt x="5" y="4"/>
                    </a:cubicBezTo>
                    <a:cubicBezTo>
                      <a:pt x="6" y="4"/>
                      <a:pt x="6" y="4"/>
                      <a:pt x="6" y="4"/>
                    </a:cubicBezTo>
                    <a:cubicBezTo>
                      <a:pt x="7" y="4"/>
                      <a:pt x="8" y="4"/>
                      <a:pt x="8" y="5"/>
                    </a:cubicBezTo>
                    <a:cubicBezTo>
                      <a:pt x="7" y="6"/>
                      <a:pt x="4" y="5"/>
                      <a:pt x="3" y="7"/>
                    </a:cubicBezTo>
                    <a:cubicBezTo>
                      <a:pt x="3" y="7"/>
                      <a:pt x="3" y="7"/>
                      <a:pt x="3" y="7"/>
                    </a:cubicBezTo>
                    <a:cubicBezTo>
                      <a:pt x="4" y="7"/>
                      <a:pt x="4" y="7"/>
                      <a:pt x="5" y="7"/>
                    </a:cubicBezTo>
                    <a:cubicBezTo>
                      <a:pt x="6" y="7"/>
                      <a:pt x="6" y="7"/>
                      <a:pt x="7" y="7"/>
                    </a:cubicBezTo>
                    <a:cubicBezTo>
                      <a:pt x="7" y="7"/>
                      <a:pt x="7" y="7"/>
                      <a:pt x="7" y="7"/>
                    </a:cubicBezTo>
                    <a:cubicBezTo>
                      <a:pt x="7" y="7"/>
                      <a:pt x="7" y="7"/>
                      <a:pt x="7" y="7"/>
                    </a:cubicBezTo>
                    <a:cubicBezTo>
                      <a:pt x="5" y="7"/>
                      <a:pt x="3" y="8"/>
                      <a:pt x="3" y="10"/>
                    </a:cubicBezTo>
                    <a:cubicBezTo>
                      <a:pt x="3" y="12"/>
                      <a:pt x="5" y="10"/>
                      <a:pt x="4" y="13"/>
                    </a:cubicBezTo>
                    <a:cubicBezTo>
                      <a:pt x="4" y="14"/>
                      <a:pt x="0" y="14"/>
                      <a:pt x="1" y="16"/>
                    </a:cubicBezTo>
                    <a:cubicBezTo>
                      <a:pt x="1" y="17"/>
                      <a:pt x="4" y="20"/>
                      <a:pt x="5" y="20"/>
                    </a:cubicBezTo>
                    <a:cubicBezTo>
                      <a:pt x="7" y="18"/>
                      <a:pt x="8" y="15"/>
                      <a:pt x="9" y="13"/>
                    </a:cubicBezTo>
                    <a:cubicBezTo>
                      <a:pt x="9" y="14"/>
                      <a:pt x="10" y="17"/>
                      <a:pt x="11" y="17"/>
                    </a:cubicBezTo>
                    <a:cubicBezTo>
                      <a:pt x="11" y="17"/>
                      <a:pt x="11" y="17"/>
                      <a:pt x="12" y="16"/>
                    </a:cubicBezTo>
                    <a:cubicBezTo>
                      <a:pt x="12" y="16"/>
                      <a:pt x="11" y="12"/>
                      <a:pt x="11" y="11"/>
                    </a:cubicBezTo>
                    <a:cubicBezTo>
                      <a:pt x="12" y="13"/>
                      <a:pt x="13" y="15"/>
                      <a:pt x="13" y="17"/>
                    </a:cubicBezTo>
                    <a:cubicBezTo>
                      <a:pt x="12" y="18"/>
                      <a:pt x="10" y="19"/>
                      <a:pt x="11" y="21"/>
                    </a:cubicBezTo>
                    <a:cubicBezTo>
                      <a:pt x="12" y="21"/>
                      <a:pt x="12" y="22"/>
                      <a:pt x="12" y="22"/>
                    </a:cubicBezTo>
                    <a:cubicBezTo>
                      <a:pt x="13" y="22"/>
                      <a:pt x="14" y="18"/>
                      <a:pt x="14" y="17"/>
                    </a:cubicBezTo>
                    <a:cubicBezTo>
                      <a:pt x="15" y="19"/>
                      <a:pt x="14" y="21"/>
                      <a:pt x="16" y="24"/>
                    </a:cubicBezTo>
                    <a:cubicBezTo>
                      <a:pt x="21" y="20"/>
                      <a:pt x="21" y="10"/>
                      <a:pt x="18" y="5"/>
                    </a:cubicBezTo>
                    <a:cubicBezTo>
                      <a:pt x="16" y="2"/>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 name="Freeform 133">
                <a:extLst>
                  <a:ext uri="{FF2B5EF4-FFF2-40B4-BE49-F238E27FC236}">
                    <a16:creationId xmlns:a16="http://schemas.microsoft.com/office/drawing/2014/main" id="{D43995CF-5809-470A-BB46-E820ADC848E2}"/>
                  </a:ext>
                </a:extLst>
              </p:cNvPr>
              <p:cNvSpPr>
                <a:spLocks/>
              </p:cNvSpPr>
              <p:nvPr/>
            </p:nvSpPr>
            <p:spPr bwMode="auto">
              <a:xfrm>
                <a:off x="786" y="1720"/>
                <a:ext cx="12" cy="14"/>
              </a:xfrm>
              <a:custGeom>
                <a:avLst/>
                <a:gdLst>
                  <a:gd name="T0" fmla="*/ 0 w 5"/>
                  <a:gd name="T1" fmla="*/ 0 h 6"/>
                  <a:gd name="T2" fmla="*/ 0 w 5"/>
                  <a:gd name="T3" fmla="*/ 6 h 6"/>
                  <a:gd name="T4" fmla="*/ 5 w 5"/>
                  <a:gd name="T5" fmla="*/ 2 h 6"/>
                  <a:gd name="T6" fmla="*/ 0 w 5"/>
                  <a:gd name="T7" fmla="*/ 0 h 6"/>
                </a:gdLst>
                <a:ahLst/>
                <a:cxnLst>
                  <a:cxn ang="0">
                    <a:pos x="T0" y="T1"/>
                  </a:cxn>
                  <a:cxn ang="0">
                    <a:pos x="T2" y="T3"/>
                  </a:cxn>
                  <a:cxn ang="0">
                    <a:pos x="T4" y="T5"/>
                  </a:cxn>
                  <a:cxn ang="0">
                    <a:pos x="T6" y="T7"/>
                  </a:cxn>
                </a:cxnLst>
                <a:rect l="0" t="0" r="r" b="b"/>
                <a:pathLst>
                  <a:path w="5" h="6">
                    <a:moveTo>
                      <a:pt x="0" y="0"/>
                    </a:moveTo>
                    <a:cubicBezTo>
                      <a:pt x="0" y="2"/>
                      <a:pt x="0" y="4"/>
                      <a:pt x="0" y="6"/>
                    </a:cubicBezTo>
                    <a:cubicBezTo>
                      <a:pt x="1" y="5"/>
                      <a:pt x="3" y="3"/>
                      <a:pt x="5" y="2"/>
                    </a:cubicBezTo>
                    <a:cubicBezTo>
                      <a:pt x="3" y="2"/>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 name="Freeform 134">
                <a:extLst>
                  <a:ext uri="{FF2B5EF4-FFF2-40B4-BE49-F238E27FC236}">
                    <a16:creationId xmlns:a16="http://schemas.microsoft.com/office/drawing/2014/main" id="{124B528F-64E9-44A4-8F51-8165A0984F45}"/>
                  </a:ext>
                </a:extLst>
              </p:cNvPr>
              <p:cNvSpPr>
                <a:spLocks/>
              </p:cNvSpPr>
              <p:nvPr/>
            </p:nvSpPr>
            <p:spPr bwMode="auto">
              <a:xfrm>
                <a:off x="5021" y="2203"/>
                <a:ext cx="12" cy="7"/>
              </a:xfrm>
              <a:custGeom>
                <a:avLst/>
                <a:gdLst>
                  <a:gd name="T0" fmla="*/ 5 w 5"/>
                  <a:gd name="T1" fmla="*/ 0 h 3"/>
                  <a:gd name="T2" fmla="*/ 0 w 5"/>
                  <a:gd name="T3" fmla="*/ 3 h 3"/>
                  <a:gd name="T4" fmla="*/ 5 w 5"/>
                  <a:gd name="T5" fmla="*/ 0 h 3"/>
                </a:gdLst>
                <a:ahLst/>
                <a:cxnLst>
                  <a:cxn ang="0">
                    <a:pos x="T0" y="T1"/>
                  </a:cxn>
                  <a:cxn ang="0">
                    <a:pos x="T2" y="T3"/>
                  </a:cxn>
                  <a:cxn ang="0">
                    <a:pos x="T4" y="T5"/>
                  </a:cxn>
                </a:cxnLst>
                <a:rect l="0" t="0" r="r" b="b"/>
                <a:pathLst>
                  <a:path w="5" h="3">
                    <a:moveTo>
                      <a:pt x="5" y="0"/>
                    </a:moveTo>
                    <a:cubicBezTo>
                      <a:pt x="3" y="0"/>
                      <a:pt x="1" y="1"/>
                      <a:pt x="0" y="3"/>
                    </a:cubicBezTo>
                    <a:cubicBezTo>
                      <a:pt x="2" y="2"/>
                      <a:pt x="3"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 name="Freeform 135">
                <a:extLst>
                  <a:ext uri="{FF2B5EF4-FFF2-40B4-BE49-F238E27FC236}">
                    <a16:creationId xmlns:a16="http://schemas.microsoft.com/office/drawing/2014/main" id="{05DDCBCD-C1F4-44FC-A86A-605C515ADF9D}"/>
                  </a:ext>
                </a:extLst>
              </p:cNvPr>
              <p:cNvSpPr>
                <a:spLocks/>
              </p:cNvSpPr>
              <p:nvPr/>
            </p:nvSpPr>
            <p:spPr bwMode="auto">
              <a:xfrm>
                <a:off x="2789" y="1614"/>
                <a:ext cx="14" cy="7"/>
              </a:xfrm>
              <a:custGeom>
                <a:avLst/>
                <a:gdLst>
                  <a:gd name="T0" fmla="*/ 6 w 6"/>
                  <a:gd name="T1" fmla="*/ 0 h 3"/>
                  <a:gd name="T2" fmla="*/ 0 w 6"/>
                  <a:gd name="T3" fmla="*/ 1 h 3"/>
                  <a:gd name="T4" fmla="*/ 3 w 6"/>
                  <a:gd name="T5" fmla="*/ 3 h 3"/>
                  <a:gd name="T6" fmla="*/ 6 w 6"/>
                  <a:gd name="T7" fmla="*/ 0 h 3"/>
                </a:gdLst>
                <a:ahLst/>
                <a:cxnLst>
                  <a:cxn ang="0">
                    <a:pos x="T0" y="T1"/>
                  </a:cxn>
                  <a:cxn ang="0">
                    <a:pos x="T2" y="T3"/>
                  </a:cxn>
                  <a:cxn ang="0">
                    <a:pos x="T4" y="T5"/>
                  </a:cxn>
                  <a:cxn ang="0">
                    <a:pos x="T6" y="T7"/>
                  </a:cxn>
                </a:cxnLst>
                <a:rect l="0" t="0" r="r" b="b"/>
                <a:pathLst>
                  <a:path w="6" h="3">
                    <a:moveTo>
                      <a:pt x="6" y="0"/>
                    </a:moveTo>
                    <a:cubicBezTo>
                      <a:pt x="5" y="0"/>
                      <a:pt x="1" y="0"/>
                      <a:pt x="0" y="1"/>
                    </a:cubicBezTo>
                    <a:cubicBezTo>
                      <a:pt x="0" y="2"/>
                      <a:pt x="2" y="3"/>
                      <a:pt x="3" y="3"/>
                    </a:cubicBezTo>
                    <a:cubicBezTo>
                      <a:pt x="4" y="3"/>
                      <a:pt x="5"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 name="Freeform 136">
                <a:extLst>
                  <a:ext uri="{FF2B5EF4-FFF2-40B4-BE49-F238E27FC236}">
                    <a16:creationId xmlns:a16="http://schemas.microsoft.com/office/drawing/2014/main" id="{8E1035B4-C049-4504-B51A-A55B99AF03F5}"/>
                  </a:ext>
                </a:extLst>
              </p:cNvPr>
              <p:cNvSpPr>
                <a:spLocks/>
              </p:cNvSpPr>
              <p:nvPr/>
            </p:nvSpPr>
            <p:spPr bwMode="auto">
              <a:xfrm>
                <a:off x="786" y="722"/>
                <a:ext cx="7" cy="7"/>
              </a:xfrm>
              <a:custGeom>
                <a:avLst/>
                <a:gdLst>
                  <a:gd name="T0" fmla="*/ 3 w 3"/>
                  <a:gd name="T1" fmla="*/ 0 h 3"/>
                  <a:gd name="T2" fmla="*/ 0 w 3"/>
                  <a:gd name="T3" fmla="*/ 1 h 3"/>
                  <a:gd name="T4" fmla="*/ 0 w 3"/>
                  <a:gd name="T5" fmla="*/ 3 h 3"/>
                  <a:gd name="T6" fmla="*/ 3 w 3"/>
                  <a:gd name="T7" fmla="*/ 0 h 3"/>
                </a:gdLst>
                <a:ahLst/>
                <a:cxnLst>
                  <a:cxn ang="0">
                    <a:pos x="T0" y="T1"/>
                  </a:cxn>
                  <a:cxn ang="0">
                    <a:pos x="T2" y="T3"/>
                  </a:cxn>
                  <a:cxn ang="0">
                    <a:pos x="T4" y="T5"/>
                  </a:cxn>
                  <a:cxn ang="0">
                    <a:pos x="T6" y="T7"/>
                  </a:cxn>
                </a:cxnLst>
                <a:rect l="0" t="0" r="r" b="b"/>
                <a:pathLst>
                  <a:path w="3" h="3">
                    <a:moveTo>
                      <a:pt x="3" y="0"/>
                    </a:moveTo>
                    <a:cubicBezTo>
                      <a:pt x="2" y="0"/>
                      <a:pt x="1" y="1"/>
                      <a:pt x="0" y="1"/>
                    </a:cubicBezTo>
                    <a:cubicBezTo>
                      <a:pt x="0" y="2"/>
                      <a:pt x="0"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 name="Freeform 137">
                <a:extLst>
                  <a:ext uri="{FF2B5EF4-FFF2-40B4-BE49-F238E27FC236}">
                    <a16:creationId xmlns:a16="http://schemas.microsoft.com/office/drawing/2014/main" id="{9D78BA1A-C42F-4F3D-BF7A-070234C08C93}"/>
                  </a:ext>
                </a:extLst>
              </p:cNvPr>
              <p:cNvSpPr>
                <a:spLocks noEditPoints="1"/>
              </p:cNvSpPr>
              <p:nvPr/>
            </p:nvSpPr>
            <p:spPr bwMode="auto">
              <a:xfrm>
                <a:off x="2671" y="1509"/>
                <a:ext cx="92" cy="126"/>
              </a:xfrm>
              <a:custGeom>
                <a:avLst/>
                <a:gdLst>
                  <a:gd name="T0" fmla="*/ 16 w 39"/>
                  <a:gd name="T1" fmla="*/ 23 h 53"/>
                  <a:gd name="T2" fmla="*/ 17 w 39"/>
                  <a:gd name="T3" fmla="*/ 23 h 53"/>
                  <a:gd name="T4" fmla="*/ 17 w 39"/>
                  <a:gd name="T5" fmla="*/ 23 h 53"/>
                  <a:gd name="T6" fmla="*/ 2 w 39"/>
                  <a:gd name="T7" fmla="*/ 0 h 53"/>
                  <a:gd name="T8" fmla="*/ 1 w 39"/>
                  <a:gd name="T9" fmla="*/ 4 h 53"/>
                  <a:gd name="T10" fmla="*/ 9 w 39"/>
                  <a:gd name="T11" fmla="*/ 11 h 53"/>
                  <a:gd name="T12" fmla="*/ 11 w 39"/>
                  <a:gd name="T13" fmla="*/ 15 h 53"/>
                  <a:gd name="T14" fmla="*/ 9 w 39"/>
                  <a:gd name="T15" fmla="*/ 25 h 53"/>
                  <a:gd name="T16" fmla="*/ 13 w 39"/>
                  <a:gd name="T17" fmla="*/ 25 h 53"/>
                  <a:gd name="T18" fmla="*/ 14 w 39"/>
                  <a:gd name="T19" fmla="*/ 29 h 53"/>
                  <a:gd name="T20" fmla="*/ 16 w 39"/>
                  <a:gd name="T21" fmla="*/ 32 h 53"/>
                  <a:gd name="T22" fmla="*/ 13 w 39"/>
                  <a:gd name="T23" fmla="*/ 32 h 53"/>
                  <a:gd name="T24" fmla="*/ 16 w 39"/>
                  <a:gd name="T25" fmla="*/ 35 h 53"/>
                  <a:gd name="T26" fmla="*/ 15 w 39"/>
                  <a:gd name="T27" fmla="*/ 37 h 53"/>
                  <a:gd name="T28" fmla="*/ 19 w 39"/>
                  <a:gd name="T29" fmla="*/ 35 h 53"/>
                  <a:gd name="T30" fmla="*/ 20 w 39"/>
                  <a:gd name="T31" fmla="*/ 38 h 53"/>
                  <a:gd name="T32" fmla="*/ 23 w 39"/>
                  <a:gd name="T33" fmla="*/ 35 h 53"/>
                  <a:gd name="T34" fmla="*/ 25 w 39"/>
                  <a:gd name="T35" fmla="*/ 40 h 53"/>
                  <a:gd name="T36" fmla="*/ 27 w 39"/>
                  <a:gd name="T37" fmla="*/ 46 h 53"/>
                  <a:gd name="T38" fmla="*/ 34 w 39"/>
                  <a:gd name="T39" fmla="*/ 52 h 53"/>
                  <a:gd name="T40" fmla="*/ 37 w 39"/>
                  <a:gd name="T41" fmla="*/ 52 h 53"/>
                  <a:gd name="T42" fmla="*/ 39 w 39"/>
                  <a:gd name="T43" fmla="*/ 43 h 53"/>
                  <a:gd name="T44" fmla="*/ 34 w 39"/>
                  <a:gd name="T45" fmla="*/ 44 h 53"/>
                  <a:gd name="T46" fmla="*/ 38 w 39"/>
                  <a:gd name="T47" fmla="*/ 35 h 53"/>
                  <a:gd name="T48" fmla="*/ 33 w 39"/>
                  <a:gd name="T49" fmla="*/ 30 h 53"/>
                  <a:gd name="T50" fmla="*/ 31 w 39"/>
                  <a:gd name="T51" fmla="*/ 30 h 53"/>
                  <a:gd name="T52" fmla="*/ 30 w 39"/>
                  <a:gd name="T53" fmla="*/ 31 h 53"/>
                  <a:gd name="T54" fmla="*/ 32 w 39"/>
                  <a:gd name="T55" fmla="*/ 29 h 53"/>
                  <a:gd name="T56" fmla="*/ 24 w 39"/>
                  <a:gd name="T57" fmla="*/ 28 h 53"/>
                  <a:gd name="T58" fmla="*/ 26 w 39"/>
                  <a:gd name="T59" fmla="*/ 23 h 53"/>
                  <a:gd name="T60" fmla="*/ 28 w 39"/>
                  <a:gd name="T61" fmla="*/ 25 h 53"/>
                  <a:gd name="T62" fmla="*/ 31 w 39"/>
                  <a:gd name="T63" fmla="*/ 25 h 53"/>
                  <a:gd name="T64" fmla="*/ 19 w 39"/>
                  <a:gd name="T65" fmla="*/ 10 h 53"/>
                  <a:gd name="T66" fmla="*/ 11 w 39"/>
                  <a:gd name="T67" fmla="*/ 1 h 53"/>
                  <a:gd name="T68" fmla="*/ 8 w 39"/>
                  <a:gd name="T6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53">
                    <a:moveTo>
                      <a:pt x="16" y="23"/>
                    </a:moveTo>
                    <a:cubicBezTo>
                      <a:pt x="16" y="23"/>
                      <a:pt x="16" y="23"/>
                      <a:pt x="16" y="23"/>
                    </a:cubicBezTo>
                    <a:cubicBezTo>
                      <a:pt x="16" y="23"/>
                      <a:pt x="16" y="23"/>
                      <a:pt x="16" y="23"/>
                    </a:cubicBezTo>
                    <a:moveTo>
                      <a:pt x="17" y="23"/>
                    </a:moveTo>
                    <a:cubicBezTo>
                      <a:pt x="17" y="23"/>
                      <a:pt x="17" y="23"/>
                      <a:pt x="17" y="23"/>
                    </a:cubicBezTo>
                    <a:cubicBezTo>
                      <a:pt x="17" y="23"/>
                      <a:pt x="17" y="23"/>
                      <a:pt x="17" y="23"/>
                    </a:cubicBezTo>
                    <a:cubicBezTo>
                      <a:pt x="17" y="23"/>
                      <a:pt x="17" y="23"/>
                      <a:pt x="17" y="23"/>
                    </a:cubicBezTo>
                    <a:moveTo>
                      <a:pt x="2" y="0"/>
                    </a:moveTo>
                    <a:cubicBezTo>
                      <a:pt x="1" y="0"/>
                      <a:pt x="1" y="0"/>
                      <a:pt x="1" y="0"/>
                    </a:cubicBezTo>
                    <a:cubicBezTo>
                      <a:pt x="1" y="0"/>
                      <a:pt x="0" y="3"/>
                      <a:pt x="1" y="4"/>
                    </a:cubicBezTo>
                    <a:cubicBezTo>
                      <a:pt x="2" y="6"/>
                      <a:pt x="7" y="4"/>
                      <a:pt x="9" y="7"/>
                    </a:cubicBezTo>
                    <a:cubicBezTo>
                      <a:pt x="9" y="7"/>
                      <a:pt x="9" y="10"/>
                      <a:pt x="9" y="11"/>
                    </a:cubicBezTo>
                    <a:cubicBezTo>
                      <a:pt x="9" y="12"/>
                      <a:pt x="9" y="12"/>
                      <a:pt x="9" y="13"/>
                    </a:cubicBezTo>
                    <a:cubicBezTo>
                      <a:pt x="10" y="14"/>
                      <a:pt x="11" y="14"/>
                      <a:pt x="11" y="15"/>
                    </a:cubicBezTo>
                    <a:cubicBezTo>
                      <a:pt x="13" y="19"/>
                      <a:pt x="4" y="19"/>
                      <a:pt x="6" y="23"/>
                    </a:cubicBezTo>
                    <a:cubicBezTo>
                      <a:pt x="7" y="24"/>
                      <a:pt x="8" y="25"/>
                      <a:pt x="9" y="25"/>
                    </a:cubicBezTo>
                    <a:cubicBezTo>
                      <a:pt x="11" y="25"/>
                      <a:pt x="14" y="24"/>
                      <a:pt x="16" y="23"/>
                    </a:cubicBezTo>
                    <a:cubicBezTo>
                      <a:pt x="15" y="24"/>
                      <a:pt x="14" y="24"/>
                      <a:pt x="13" y="25"/>
                    </a:cubicBezTo>
                    <a:cubicBezTo>
                      <a:pt x="12" y="27"/>
                      <a:pt x="13" y="27"/>
                      <a:pt x="15" y="29"/>
                    </a:cubicBezTo>
                    <a:cubicBezTo>
                      <a:pt x="14" y="29"/>
                      <a:pt x="14" y="29"/>
                      <a:pt x="14" y="29"/>
                    </a:cubicBezTo>
                    <a:cubicBezTo>
                      <a:pt x="15" y="30"/>
                      <a:pt x="17" y="31"/>
                      <a:pt x="18" y="32"/>
                    </a:cubicBezTo>
                    <a:cubicBezTo>
                      <a:pt x="17" y="32"/>
                      <a:pt x="17" y="32"/>
                      <a:pt x="16" y="32"/>
                    </a:cubicBezTo>
                    <a:cubicBezTo>
                      <a:pt x="15" y="32"/>
                      <a:pt x="15" y="32"/>
                      <a:pt x="14" y="32"/>
                    </a:cubicBezTo>
                    <a:cubicBezTo>
                      <a:pt x="14" y="32"/>
                      <a:pt x="13" y="32"/>
                      <a:pt x="13" y="32"/>
                    </a:cubicBezTo>
                    <a:cubicBezTo>
                      <a:pt x="11" y="32"/>
                      <a:pt x="10" y="32"/>
                      <a:pt x="9" y="33"/>
                    </a:cubicBezTo>
                    <a:cubicBezTo>
                      <a:pt x="10" y="35"/>
                      <a:pt x="13" y="34"/>
                      <a:pt x="16" y="35"/>
                    </a:cubicBezTo>
                    <a:cubicBezTo>
                      <a:pt x="15" y="35"/>
                      <a:pt x="15" y="36"/>
                      <a:pt x="14" y="37"/>
                    </a:cubicBezTo>
                    <a:cubicBezTo>
                      <a:pt x="14" y="37"/>
                      <a:pt x="15" y="37"/>
                      <a:pt x="15" y="37"/>
                    </a:cubicBezTo>
                    <a:cubicBezTo>
                      <a:pt x="16" y="37"/>
                      <a:pt x="16" y="36"/>
                      <a:pt x="17" y="36"/>
                    </a:cubicBezTo>
                    <a:cubicBezTo>
                      <a:pt x="18" y="36"/>
                      <a:pt x="19" y="35"/>
                      <a:pt x="19" y="35"/>
                    </a:cubicBezTo>
                    <a:cubicBezTo>
                      <a:pt x="19" y="35"/>
                      <a:pt x="19" y="35"/>
                      <a:pt x="19" y="35"/>
                    </a:cubicBezTo>
                    <a:cubicBezTo>
                      <a:pt x="20" y="35"/>
                      <a:pt x="20" y="37"/>
                      <a:pt x="20" y="38"/>
                    </a:cubicBezTo>
                    <a:cubicBezTo>
                      <a:pt x="21" y="38"/>
                      <a:pt x="21" y="38"/>
                      <a:pt x="21" y="38"/>
                    </a:cubicBezTo>
                    <a:cubicBezTo>
                      <a:pt x="22" y="38"/>
                      <a:pt x="22" y="37"/>
                      <a:pt x="23" y="35"/>
                    </a:cubicBezTo>
                    <a:cubicBezTo>
                      <a:pt x="25" y="38"/>
                      <a:pt x="23" y="39"/>
                      <a:pt x="24" y="41"/>
                    </a:cubicBezTo>
                    <a:cubicBezTo>
                      <a:pt x="24" y="41"/>
                      <a:pt x="25" y="40"/>
                      <a:pt x="25" y="40"/>
                    </a:cubicBezTo>
                    <a:cubicBezTo>
                      <a:pt x="26" y="40"/>
                      <a:pt x="26" y="41"/>
                      <a:pt x="27" y="42"/>
                    </a:cubicBezTo>
                    <a:cubicBezTo>
                      <a:pt x="24" y="44"/>
                      <a:pt x="24" y="45"/>
                      <a:pt x="27" y="46"/>
                    </a:cubicBezTo>
                    <a:cubicBezTo>
                      <a:pt x="30" y="48"/>
                      <a:pt x="34" y="48"/>
                      <a:pt x="32" y="53"/>
                    </a:cubicBezTo>
                    <a:cubicBezTo>
                      <a:pt x="32" y="52"/>
                      <a:pt x="33" y="52"/>
                      <a:pt x="34" y="52"/>
                    </a:cubicBezTo>
                    <a:cubicBezTo>
                      <a:pt x="34" y="52"/>
                      <a:pt x="35" y="52"/>
                      <a:pt x="36" y="52"/>
                    </a:cubicBezTo>
                    <a:cubicBezTo>
                      <a:pt x="36" y="52"/>
                      <a:pt x="37" y="52"/>
                      <a:pt x="37" y="52"/>
                    </a:cubicBezTo>
                    <a:cubicBezTo>
                      <a:pt x="38" y="52"/>
                      <a:pt x="39" y="52"/>
                      <a:pt x="39" y="49"/>
                    </a:cubicBezTo>
                    <a:cubicBezTo>
                      <a:pt x="39" y="47"/>
                      <a:pt x="39" y="45"/>
                      <a:pt x="39" y="43"/>
                    </a:cubicBezTo>
                    <a:cubicBezTo>
                      <a:pt x="37" y="43"/>
                      <a:pt x="36" y="44"/>
                      <a:pt x="35" y="44"/>
                    </a:cubicBezTo>
                    <a:cubicBezTo>
                      <a:pt x="35" y="44"/>
                      <a:pt x="34" y="44"/>
                      <a:pt x="34" y="44"/>
                    </a:cubicBezTo>
                    <a:cubicBezTo>
                      <a:pt x="35" y="43"/>
                      <a:pt x="38" y="41"/>
                      <a:pt x="38" y="39"/>
                    </a:cubicBezTo>
                    <a:cubicBezTo>
                      <a:pt x="38" y="38"/>
                      <a:pt x="39" y="35"/>
                      <a:pt x="38" y="35"/>
                    </a:cubicBezTo>
                    <a:cubicBezTo>
                      <a:pt x="37" y="35"/>
                      <a:pt x="37" y="35"/>
                      <a:pt x="37" y="36"/>
                    </a:cubicBezTo>
                    <a:cubicBezTo>
                      <a:pt x="36" y="34"/>
                      <a:pt x="34" y="31"/>
                      <a:pt x="33" y="30"/>
                    </a:cubicBezTo>
                    <a:cubicBezTo>
                      <a:pt x="32" y="30"/>
                      <a:pt x="32" y="30"/>
                      <a:pt x="32" y="30"/>
                    </a:cubicBezTo>
                    <a:cubicBezTo>
                      <a:pt x="32" y="30"/>
                      <a:pt x="31" y="30"/>
                      <a:pt x="31" y="30"/>
                    </a:cubicBezTo>
                    <a:cubicBezTo>
                      <a:pt x="31" y="31"/>
                      <a:pt x="30" y="31"/>
                      <a:pt x="30" y="31"/>
                    </a:cubicBezTo>
                    <a:cubicBezTo>
                      <a:pt x="30" y="31"/>
                      <a:pt x="30" y="31"/>
                      <a:pt x="30" y="31"/>
                    </a:cubicBezTo>
                    <a:cubicBezTo>
                      <a:pt x="30" y="31"/>
                      <a:pt x="28" y="30"/>
                      <a:pt x="27" y="30"/>
                    </a:cubicBezTo>
                    <a:cubicBezTo>
                      <a:pt x="29" y="29"/>
                      <a:pt x="30" y="30"/>
                      <a:pt x="32" y="29"/>
                    </a:cubicBezTo>
                    <a:cubicBezTo>
                      <a:pt x="30" y="28"/>
                      <a:pt x="29" y="27"/>
                      <a:pt x="27" y="27"/>
                    </a:cubicBezTo>
                    <a:cubicBezTo>
                      <a:pt x="26" y="27"/>
                      <a:pt x="25" y="28"/>
                      <a:pt x="24" y="28"/>
                    </a:cubicBezTo>
                    <a:cubicBezTo>
                      <a:pt x="23" y="28"/>
                      <a:pt x="23" y="28"/>
                      <a:pt x="23" y="28"/>
                    </a:cubicBezTo>
                    <a:cubicBezTo>
                      <a:pt x="24" y="27"/>
                      <a:pt x="25" y="23"/>
                      <a:pt x="26" y="23"/>
                    </a:cubicBezTo>
                    <a:cubicBezTo>
                      <a:pt x="26" y="23"/>
                      <a:pt x="26" y="23"/>
                      <a:pt x="26" y="23"/>
                    </a:cubicBezTo>
                    <a:cubicBezTo>
                      <a:pt x="27" y="23"/>
                      <a:pt x="27" y="25"/>
                      <a:pt x="28" y="25"/>
                    </a:cubicBezTo>
                    <a:cubicBezTo>
                      <a:pt x="29" y="26"/>
                      <a:pt x="32" y="27"/>
                      <a:pt x="35" y="28"/>
                    </a:cubicBezTo>
                    <a:cubicBezTo>
                      <a:pt x="34" y="26"/>
                      <a:pt x="32" y="26"/>
                      <a:pt x="31" y="25"/>
                    </a:cubicBezTo>
                    <a:cubicBezTo>
                      <a:pt x="30" y="24"/>
                      <a:pt x="29" y="22"/>
                      <a:pt x="28" y="20"/>
                    </a:cubicBezTo>
                    <a:cubicBezTo>
                      <a:pt x="26" y="16"/>
                      <a:pt x="23" y="13"/>
                      <a:pt x="19" y="10"/>
                    </a:cubicBezTo>
                    <a:cubicBezTo>
                      <a:pt x="17" y="9"/>
                      <a:pt x="16" y="9"/>
                      <a:pt x="14" y="9"/>
                    </a:cubicBezTo>
                    <a:cubicBezTo>
                      <a:pt x="10" y="7"/>
                      <a:pt x="15" y="4"/>
                      <a:pt x="11" y="1"/>
                    </a:cubicBezTo>
                    <a:cubicBezTo>
                      <a:pt x="11" y="0"/>
                      <a:pt x="10" y="0"/>
                      <a:pt x="9" y="0"/>
                    </a:cubicBezTo>
                    <a:cubicBezTo>
                      <a:pt x="9" y="0"/>
                      <a:pt x="8" y="0"/>
                      <a:pt x="8" y="0"/>
                    </a:cubicBezTo>
                    <a:cubicBezTo>
                      <a:pt x="6"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 name="Freeform 138">
                <a:extLst>
                  <a:ext uri="{FF2B5EF4-FFF2-40B4-BE49-F238E27FC236}">
                    <a16:creationId xmlns:a16="http://schemas.microsoft.com/office/drawing/2014/main" id="{FF938D35-036D-4C3A-9B87-DF515A773460}"/>
                  </a:ext>
                </a:extLst>
              </p:cNvPr>
              <p:cNvSpPr>
                <a:spLocks/>
              </p:cNvSpPr>
              <p:nvPr/>
            </p:nvSpPr>
            <p:spPr bwMode="auto">
              <a:xfrm>
                <a:off x="5537" y="3594"/>
                <a:ext cx="2" cy="7"/>
              </a:xfrm>
              <a:custGeom>
                <a:avLst/>
                <a:gdLst>
                  <a:gd name="T0" fmla="*/ 0 w 1"/>
                  <a:gd name="T1" fmla="*/ 0 h 3"/>
                  <a:gd name="T2" fmla="*/ 1 w 1"/>
                  <a:gd name="T3" fmla="*/ 2 h 3"/>
                  <a:gd name="T4" fmla="*/ 1 w 1"/>
                  <a:gd name="T5" fmla="*/ 3 h 3"/>
                  <a:gd name="T6" fmla="*/ 1 w 1"/>
                  <a:gd name="T7" fmla="*/ 3 h 3"/>
                  <a:gd name="T8" fmla="*/ 1 w 1"/>
                  <a:gd name="T9" fmla="*/ 3 h 3"/>
                  <a:gd name="T10" fmla="*/ 1 w 1"/>
                  <a:gd name="T11" fmla="*/ 3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cubicBezTo>
                      <a:pt x="0" y="1"/>
                      <a:pt x="0" y="1"/>
                      <a:pt x="1" y="2"/>
                    </a:cubicBezTo>
                    <a:cubicBezTo>
                      <a:pt x="1" y="2"/>
                      <a:pt x="1" y="3"/>
                      <a:pt x="1" y="3"/>
                    </a:cubicBezTo>
                    <a:cubicBezTo>
                      <a:pt x="1" y="3"/>
                      <a:pt x="1" y="3"/>
                      <a:pt x="1" y="3"/>
                    </a:cubicBezTo>
                    <a:cubicBezTo>
                      <a:pt x="1" y="3"/>
                      <a:pt x="1" y="3"/>
                      <a:pt x="1" y="3"/>
                    </a:cubicBezTo>
                    <a:cubicBezTo>
                      <a:pt x="1" y="3"/>
                      <a:pt x="1"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 name="Freeform 139">
                <a:extLst>
                  <a:ext uri="{FF2B5EF4-FFF2-40B4-BE49-F238E27FC236}">
                    <a16:creationId xmlns:a16="http://schemas.microsoft.com/office/drawing/2014/main" id="{1FF91BCB-7333-4F26-95FC-E86C745C050A}"/>
                  </a:ext>
                </a:extLst>
              </p:cNvPr>
              <p:cNvSpPr>
                <a:spLocks/>
              </p:cNvSpPr>
              <p:nvPr/>
            </p:nvSpPr>
            <p:spPr bwMode="auto">
              <a:xfrm>
                <a:off x="937" y="1677"/>
                <a:ext cx="14" cy="3"/>
              </a:xfrm>
              <a:custGeom>
                <a:avLst/>
                <a:gdLst>
                  <a:gd name="T0" fmla="*/ 5 w 6"/>
                  <a:gd name="T1" fmla="*/ 0 h 1"/>
                  <a:gd name="T2" fmla="*/ 0 w 6"/>
                  <a:gd name="T3" fmla="*/ 1 h 1"/>
                  <a:gd name="T4" fmla="*/ 1 w 6"/>
                  <a:gd name="T5" fmla="*/ 1 h 1"/>
                  <a:gd name="T6" fmla="*/ 6 w 6"/>
                  <a:gd name="T7" fmla="*/ 0 h 1"/>
                  <a:gd name="T8" fmla="*/ 5 w 6"/>
                  <a:gd name="T9" fmla="*/ 0 h 1"/>
                </a:gdLst>
                <a:ahLst/>
                <a:cxnLst>
                  <a:cxn ang="0">
                    <a:pos x="T0" y="T1"/>
                  </a:cxn>
                  <a:cxn ang="0">
                    <a:pos x="T2" y="T3"/>
                  </a:cxn>
                  <a:cxn ang="0">
                    <a:pos x="T4" y="T5"/>
                  </a:cxn>
                  <a:cxn ang="0">
                    <a:pos x="T6" y="T7"/>
                  </a:cxn>
                  <a:cxn ang="0">
                    <a:pos x="T8" y="T9"/>
                  </a:cxn>
                </a:cxnLst>
                <a:rect l="0" t="0" r="r" b="b"/>
                <a:pathLst>
                  <a:path w="6" h="1">
                    <a:moveTo>
                      <a:pt x="5" y="0"/>
                    </a:moveTo>
                    <a:cubicBezTo>
                      <a:pt x="3" y="0"/>
                      <a:pt x="1" y="0"/>
                      <a:pt x="0" y="1"/>
                    </a:cubicBezTo>
                    <a:cubicBezTo>
                      <a:pt x="1" y="1"/>
                      <a:pt x="1" y="1"/>
                      <a:pt x="1" y="1"/>
                    </a:cubicBezTo>
                    <a:cubicBezTo>
                      <a:pt x="3" y="1"/>
                      <a:pt x="4"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 name="Freeform 140">
                <a:extLst>
                  <a:ext uri="{FF2B5EF4-FFF2-40B4-BE49-F238E27FC236}">
                    <a16:creationId xmlns:a16="http://schemas.microsoft.com/office/drawing/2014/main" id="{9C3B8A58-7DC1-49EB-A865-B7988CA339B7}"/>
                  </a:ext>
                </a:extLst>
              </p:cNvPr>
              <p:cNvSpPr>
                <a:spLocks/>
              </p:cNvSpPr>
              <p:nvPr/>
            </p:nvSpPr>
            <p:spPr bwMode="auto">
              <a:xfrm>
                <a:off x="1583" y="1382"/>
                <a:ext cx="14" cy="12"/>
              </a:xfrm>
              <a:custGeom>
                <a:avLst/>
                <a:gdLst>
                  <a:gd name="T0" fmla="*/ 0 w 6"/>
                  <a:gd name="T1" fmla="*/ 0 h 5"/>
                  <a:gd name="T2" fmla="*/ 6 w 6"/>
                  <a:gd name="T3" fmla="*/ 5 h 5"/>
                  <a:gd name="T4" fmla="*/ 0 w 6"/>
                  <a:gd name="T5" fmla="*/ 0 h 5"/>
                </a:gdLst>
                <a:ahLst/>
                <a:cxnLst>
                  <a:cxn ang="0">
                    <a:pos x="T0" y="T1"/>
                  </a:cxn>
                  <a:cxn ang="0">
                    <a:pos x="T2" y="T3"/>
                  </a:cxn>
                  <a:cxn ang="0">
                    <a:pos x="T4" y="T5"/>
                  </a:cxn>
                </a:cxnLst>
                <a:rect l="0" t="0" r="r" b="b"/>
                <a:pathLst>
                  <a:path w="6" h="5">
                    <a:moveTo>
                      <a:pt x="0" y="0"/>
                    </a:moveTo>
                    <a:cubicBezTo>
                      <a:pt x="1" y="2"/>
                      <a:pt x="3" y="5"/>
                      <a:pt x="6" y="5"/>
                    </a:cubicBezTo>
                    <a:cubicBezTo>
                      <a:pt x="4"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 name="Freeform 141">
                <a:extLst>
                  <a:ext uri="{FF2B5EF4-FFF2-40B4-BE49-F238E27FC236}">
                    <a16:creationId xmlns:a16="http://schemas.microsoft.com/office/drawing/2014/main" id="{28A96191-1584-41F4-8240-03176183DCA9}"/>
                  </a:ext>
                </a:extLst>
              </p:cNvPr>
              <p:cNvSpPr>
                <a:spLocks/>
              </p:cNvSpPr>
              <p:nvPr/>
            </p:nvSpPr>
            <p:spPr bwMode="auto">
              <a:xfrm>
                <a:off x="4990" y="3324"/>
                <a:ext cx="12" cy="5"/>
              </a:xfrm>
              <a:custGeom>
                <a:avLst/>
                <a:gdLst>
                  <a:gd name="T0" fmla="*/ 0 w 5"/>
                  <a:gd name="T1" fmla="*/ 0 h 2"/>
                  <a:gd name="T2" fmla="*/ 1 w 5"/>
                  <a:gd name="T3" fmla="*/ 1 h 2"/>
                  <a:gd name="T4" fmla="*/ 1 w 5"/>
                  <a:gd name="T5" fmla="*/ 1 h 2"/>
                  <a:gd name="T6" fmla="*/ 2 w 5"/>
                  <a:gd name="T7" fmla="*/ 2 h 2"/>
                  <a:gd name="T8" fmla="*/ 3 w 5"/>
                  <a:gd name="T9" fmla="*/ 2 h 2"/>
                  <a:gd name="T10" fmla="*/ 4 w 5"/>
                  <a:gd name="T11" fmla="*/ 2 h 2"/>
                  <a:gd name="T12" fmla="*/ 5 w 5"/>
                  <a:gd name="T13" fmla="*/ 2 h 2"/>
                  <a:gd name="T14" fmla="*/ 1 w 5"/>
                  <a:gd name="T15" fmla="*/ 1 h 2"/>
                  <a:gd name="T16" fmla="*/ 1 w 5"/>
                  <a:gd name="T17" fmla="*/ 0 h 2"/>
                  <a:gd name="T18" fmla="*/ 1 w 5"/>
                  <a:gd name="T19" fmla="*/ 0 h 2"/>
                  <a:gd name="T20" fmla="*/ 0 w 5"/>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0" y="0"/>
                    </a:moveTo>
                    <a:cubicBezTo>
                      <a:pt x="1" y="1"/>
                      <a:pt x="1" y="1"/>
                      <a:pt x="1" y="1"/>
                    </a:cubicBezTo>
                    <a:cubicBezTo>
                      <a:pt x="1" y="1"/>
                      <a:pt x="1" y="1"/>
                      <a:pt x="1" y="1"/>
                    </a:cubicBezTo>
                    <a:cubicBezTo>
                      <a:pt x="1" y="1"/>
                      <a:pt x="2" y="1"/>
                      <a:pt x="2" y="2"/>
                    </a:cubicBezTo>
                    <a:cubicBezTo>
                      <a:pt x="3" y="2"/>
                      <a:pt x="3" y="2"/>
                      <a:pt x="3" y="2"/>
                    </a:cubicBezTo>
                    <a:cubicBezTo>
                      <a:pt x="4" y="2"/>
                      <a:pt x="4" y="2"/>
                      <a:pt x="4" y="2"/>
                    </a:cubicBezTo>
                    <a:cubicBezTo>
                      <a:pt x="5" y="2"/>
                      <a:pt x="5" y="2"/>
                      <a:pt x="5" y="2"/>
                    </a:cubicBezTo>
                    <a:cubicBezTo>
                      <a:pt x="4" y="2"/>
                      <a:pt x="3" y="1"/>
                      <a:pt x="1" y="1"/>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 name="Freeform 142">
                <a:extLst>
                  <a:ext uri="{FF2B5EF4-FFF2-40B4-BE49-F238E27FC236}">
                    <a16:creationId xmlns:a16="http://schemas.microsoft.com/office/drawing/2014/main" id="{70FA7DE1-7775-4D3E-958B-EB0177CD5864}"/>
                  </a:ext>
                </a:extLst>
              </p:cNvPr>
              <p:cNvSpPr>
                <a:spLocks/>
              </p:cNvSpPr>
              <p:nvPr/>
            </p:nvSpPr>
            <p:spPr bwMode="auto">
              <a:xfrm>
                <a:off x="1164" y="1313"/>
                <a:ext cx="22" cy="21"/>
              </a:xfrm>
              <a:custGeom>
                <a:avLst/>
                <a:gdLst>
                  <a:gd name="T0" fmla="*/ 9 w 9"/>
                  <a:gd name="T1" fmla="*/ 0 h 9"/>
                  <a:gd name="T2" fmla="*/ 0 w 9"/>
                  <a:gd name="T3" fmla="*/ 5 h 9"/>
                  <a:gd name="T4" fmla="*/ 2 w 9"/>
                  <a:gd name="T5" fmla="*/ 9 h 9"/>
                  <a:gd name="T6" fmla="*/ 9 w 9"/>
                  <a:gd name="T7" fmla="*/ 0 h 9"/>
                </a:gdLst>
                <a:ahLst/>
                <a:cxnLst>
                  <a:cxn ang="0">
                    <a:pos x="T0" y="T1"/>
                  </a:cxn>
                  <a:cxn ang="0">
                    <a:pos x="T2" y="T3"/>
                  </a:cxn>
                  <a:cxn ang="0">
                    <a:pos x="T4" y="T5"/>
                  </a:cxn>
                  <a:cxn ang="0">
                    <a:pos x="T6" y="T7"/>
                  </a:cxn>
                </a:cxnLst>
                <a:rect l="0" t="0" r="r" b="b"/>
                <a:pathLst>
                  <a:path w="9" h="9">
                    <a:moveTo>
                      <a:pt x="9" y="0"/>
                    </a:moveTo>
                    <a:cubicBezTo>
                      <a:pt x="6" y="1"/>
                      <a:pt x="3" y="4"/>
                      <a:pt x="0" y="5"/>
                    </a:cubicBezTo>
                    <a:cubicBezTo>
                      <a:pt x="0" y="8"/>
                      <a:pt x="1" y="9"/>
                      <a:pt x="2" y="9"/>
                    </a:cubicBezTo>
                    <a:cubicBezTo>
                      <a:pt x="4" y="9"/>
                      <a:pt x="8"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 name="Freeform 143">
                <a:extLst>
                  <a:ext uri="{FF2B5EF4-FFF2-40B4-BE49-F238E27FC236}">
                    <a16:creationId xmlns:a16="http://schemas.microsoft.com/office/drawing/2014/main" id="{F6F76EBE-1AA2-4441-A669-FDE8238C3D86}"/>
                  </a:ext>
                </a:extLst>
              </p:cNvPr>
              <p:cNvSpPr>
                <a:spLocks/>
              </p:cNvSpPr>
              <p:nvPr/>
            </p:nvSpPr>
            <p:spPr bwMode="auto">
              <a:xfrm>
                <a:off x="4678" y="3397"/>
                <a:ext cx="12" cy="14"/>
              </a:xfrm>
              <a:custGeom>
                <a:avLst/>
                <a:gdLst>
                  <a:gd name="T0" fmla="*/ 5 w 5"/>
                  <a:gd name="T1" fmla="*/ 0 h 6"/>
                  <a:gd name="T2" fmla="*/ 3 w 5"/>
                  <a:gd name="T3" fmla="*/ 1 h 6"/>
                  <a:gd name="T4" fmla="*/ 0 w 5"/>
                  <a:gd name="T5" fmla="*/ 6 h 6"/>
                  <a:gd name="T6" fmla="*/ 5 w 5"/>
                  <a:gd name="T7" fmla="*/ 0 h 6"/>
                </a:gdLst>
                <a:ahLst/>
                <a:cxnLst>
                  <a:cxn ang="0">
                    <a:pos x="T0" y="T1"/>
                  </a:cxn>
                  <a:cxn ang="0">
                    <a:pos x="T2" y="T3"/>
                  </a:cxn>
                  <a:cxn ang="0">
                    <a:pos x="T4" y="T5"/>
                  </a:cxn>
                  <a:cxn ang="0">
                    <a:pos x="T6" y="T7"/>
                  </a:cxn>
                </a:cxnLst>
                <a:rect l="0" t="0" r="r" b="b"/>
                <a:pathLst>
                  <a:path w="5" h="6">
                    <a:moveTo>
                      <a:pt x="5" y="0"/>
                    </a:moveTo>
                    <a:cubicBezTo>
                      <a:pt x="4" y="0"/>
                      <a:pt x="3" y="1"/>
                      <a:pt x="3" y="1"/>
                    </a:cubicBezTo>
                    <a:cubicBezTo>
                      <a:pt x="1" y="3"/>
                      <a:pt x="1" y="4"/>
                      <a:pt x="0" y="6"/>
                    </a:cubicBezTo>
                    <a:cubicBezTo>
                      <a:pt x="2" y="4"/>
                      <a:pt x="3"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 name="Freeform 144">
                <a:extLst>
                  <a:ext uri="{FF2B5EF4-FFF2-40B4-BE49-F238E27FC236}">
                    <a16:creationId xmlns:a16="http://schemas.microsoft.com/office/drawing/2014/main" id="{E35DE95F-36E3-4A8B-805B-E8306ACB3409}"/>
                  </a:ext>
                </a:extLst>
              </p:cNvPr>
              <p:cNvSpPr>
                <a:spLocks/>
              </p:cNvSpPr>
              <p:nvPr/>
            </p:nvSpPr>
            <p:spPr bwMode="auto">
              <a:xfrm>
                <a:off x="2701" y="1500"/>
                <a:ext cx="24" cy="17"/>
              </a:xfrm>
              <a:custGeom>
                <a:avLst/>
                <a:gdLst>
                  <a:gd name="T0" fmla="*/ 9 w 10"/>
                  <a:gd name="T1" fmla="*/ 0 h 7"/>
                  <a:gd name="T2" fmla="*/ 7 w 10"/>
                  <a:gd name="T3" fmla="*/ 0 h 7"/>
                  <a:gd name="T4" fmla="*/ 6 w 10"/>
                  <a:gd name="T5" fmla="*/ 0 h 7"/>
                  <a:gd name="T6" fmla="*/ 5 w 10"/>
                  <a:gd name="T7" fmla="*/ 0 h 7"/>
                  <a:gd name="T8" fmla="*/ 3 w 10"/>
                  <a:gd name="T9" fmla="*/ 1 h 7"/>
                  <a:gd name="T10" fmla="*/ 2 w 10"/>
                  <a:gd name="T11" fmla="*/ 4 h 7"/>
                  <a:gd name="T12" fmla="*/ 6 w 10"/>
                  <a:gd name="T13" fmla="*/ 7 h 7"/>
                  <a:gd name="T14" fmla="*/ 7 w 10"/>
                  <a:gd name="T15" fmla="*/ 7 h 7"/>
                  <a:gd name="T16" fmla="*/ 9 w 10"/>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9" y="0"/>
                    </a:moveTo>
                    <a:cubicBezTo>
                      <a:pt x="8" y="0"/>
                      <a:pt x="7" y="0"/>
                      <a:pt x="7" y="0"/>
                    </a:cubicBezTo>
                    <a:cubicBezTo>
                      <a:pt x="7" y="0"/>
                      <a:pt x="6" y="0"/>
                      <a:pt x="6" y="0"/>
                    </a:cubicBezTo>
                    <a:cubicBezTo>
                      <a:pt x="6" y="0"/>
                      <a:pt x="5" y="0"/>
                      <a:pt x="5" y="0"/>
                    </a:cubicBezTo>
                    <a:cubicBezTo>
                      <a:pt x="4" y="0"/>
                      <a:pt x="4" y="0"/>
                      <a:pt x="3" y="1"/>
                    </a:cubicBezTo>
                    <a:cubicBezTo>
                      <a:pt x="1" y="2"/>
                      <a:pt x="0" y="3"/>
                      <a:pt x="2" y="4"/>
                    </a:cubicBezTo>
                    <a:cubicBezTo>
                      <a:pt x="3" y="6"/>
                      <a:pt x="4" y="7"/>
                      <a:pt x="6" y="7"/>
                    </a:cubicBezTo>
                    <a:cubicBezTo>
                      <a:pt x="6" y="7"/>
                      <a:pt x="6" y="7"/>
                      <a:pt x="7" y="7"/>
                    </a:cubicBezTo>
                    <a:cubicBezTo>
                      <a:pt x="10" y="7"/>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 name="Freeform 145">
                <a:extLst>
                  <a:ext uri="{FF2B5EF4-FFF2-40B4-BE49-F238E27FC236}">
                    <a16:creationId xmlns:a16="http://schemas.microsoft.com/office/drawing/2014/main" id="{E4A68CAD-E63A-438A-BD61-D24B3BCE8180}"/>
                  </a:ext>
                </a:extLst>
              </p:cNvPr>
              <p:cNvSpPr>
                <a:spLocks/>
              </p:cNvSpPr>
              <p:nvPr/>
            </p:nvSpPr>
            <p:spPr bwMode="auto">
              <a:xfrm>
                <a:off x="1093" y="1614"/>
                <a:ext cx="10" cy="11"/>
              </a:xfrm>
              <a:custGeom>
                <a:avLst/>
                <a:gdLst>
                  <a:gd name="T0" fmla="*/ 2 w 4"/>
                  <a:gd name="T1" fmla="*/ 0 h 5"/>
                  <a:gd name="T2" fmla="*/ 0 w 4"/>
                  <a:gd name="T3" fmla="*/ 2 h 5"/>
                  <a:gd name="T4" fmla="*/ 1 w 4"/>
                  <a:gd name="T5" fmla="*/ 5 h 5"/>
                  <a:gd name="T6" fmla="*/ 4 w 4"/>
                  <a:gd name="T7" fmla="*/ 0 h 5"/>
                  <a:gd name="T8" fmla="*/ 2 w 4"/>
                  <a:gd name="T9" fmla="*/ 0 h 5"/>
                </a:gdLst>
                <a:ahLst/>
                <a:cxnLst>
                  <a:cxn ang="0">
                    <a:pos x="T0" y="T1"/>
                  </a:cxn>
                  <a:cxn ang="0">
                    <a:pos x="T2" y="T3"/>
                  </a:cxn>
                  <a:cxn ang="0">
                    <a:pos x="T4" y="T5"/>
                  </a:cxn>
                  <a:cxn ang="0">
                    <a:pos x="T6" y="T7"/>
                  </a:cxn>
                  <a:cxn ang="0">
                    <a:pos x="T8" y="T9"/>
                  </a:cxn>
                </a:cxnLst>
                <a:rect l="0" t="0" r="r" b="b"/>
                <a:pathLst>
                  <a:path w="4" h="5">
                    <a:moveTo>
                      <a:pt x="2" y="0"/>
                    </a:moveTo>
                    <a:cubicBezTo>
                      <a:pt x="1" y="0"/>
                      <a:pt x="0" y="1"/>
                      <a:pt x="0" y="2"/>
                    </a:cubicBezTo>
                    <a:cubicBezTo>
                      <a:pt x="0" y="4"/>
                      <a:pt x="0" y="5"/>
                      <a:pt x="1" y="5"/>
                    </a:cubicBezTo>
                    <a:cubicBezTo>
                      <a:pt x="2" y="5"/>
                      <a:pt x="3" y="1"/>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 name="Freeform 146">
                <a:extLst>
                  <a:ext uri="{FF2B5EF4-FFF2-40B4-BE49-F238E27FC236}">
                    <a16:creationId xmlns:a16="http://schemas.microsoft.com/office/drawing/2014/main" id="{C432AEFB-5577-431D-A364-08C96EDE39D8}"/>
                  </a:ext>
                </a:extLst>
              </p:cNvPr>
              <p:cNvSpPr>
                <a:spLocks/>
              </p:cNvSpPr>
              <p:nvPr/>
            </p:nvSpPr>
            <p:spPr bwMode="auto">
              <a:xfrm>
                <a:off x="1242" y="1595"/>
                <a:ext cx="14" cy="14"/>
              </a:xfrm>
              <a:custGeom>
                <a:avLst/>
                <a:gdLst>
                  <a:gd name="T0" fmla="*/ 4 w 6"/>
                  <a:gd name="T1" fmla="*/ 0 h 6"/>
                  <a:gd name="T2" fmla="*/ 2 w 6"/>
                  <a:gd name="T3" fmla="*/ 4 h 6"/>
                  <a:gd name="T4" fmla="*/ 1 w 6"/>
                  <a:gd name="T5" fmla="*/ 3 h 6"/>
                  <a:gd name="T6" fmla="*/ 2 w 6"/>
                  <a:gd name="T7" fmla="*/ 6 h 6"/>
                  <a:gd name="T8" fmla="*/ 2 w 6"/>
                  <a:gd name="T9" fmla="*/ 6 h 6"/>
                  <a:gd name="T10" fmla="*/ 4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4" y="0"/>
                    </a:moveTo>
                    <a:cubicBezTo>
                      <a:pt x="2" y="1"/>
                      <a:pt x="1" y="2"/>
                      <a:pt x="2" y="4"/>
                    </a:cubicBezTo>
                    <a:cubicBezTo>
                      <a:pt x="2" y="4"/>
                      <a:pt x="1" y="3"/>
                      <a:pt x="1" y="3"/>
                    </a:cubicBezTo>
                    <a:cubicBezTo>
                      <a:pt x="1" y="5"/>
                      <a:pt x="0" y="6"/>
                      <a:pt x="2" y="6"/>
                    </a:cubicBezTo>
                    <a:cubicBezTo>
                      <a:pt x="2" y="6"/>
                      <a:pt x="2" y="6"/>
                      <a:pt x="2" y="6"/>
                    </a:cubicBezTo>
                    <a:cubicBezTo>
                      <a:pt x="6" y="6"/>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 name="Freeform 147">
                <a:extLst>
                  <a:ext uri="{FF2B5EF4-FFF2-40B4-BE49-F238E27FC236}">
                    <a16:creationId xmlns:a16="http://schemas.microsoft.com/office/drawing/2014/main" id="{7D66DA04-025D-4894-8D88-F38BB3FFEAE7}"/>
                  </a:ext>
                </a:extLst>
              </p:cNvPr>
              <p:cNvSpPr>
                <a:spLocks/>
              </p:cNvSpPr>
              <p:nvPr/>
            </p:nvSpPr>
            <p:spPr bwMode="auto">
              <a:xfrm>
                <a:off x="5106" y="2113"/>
                <a:ext cx="43" cy="19"/>
              </a:xfrm>
              <a:custGeom>
                <a:avLst/>
                <a:gdLst>
                  <a:gd name="T0" fmla="*/ 18 w 18"/>
                  <a:gd name="T1" fmla="*/ 0 h 8"/>
                  <a:gd name="T2" fmla="*/ 1 w 18"/>
                  <a:gd name="T3" fmla="*/ 8 h 8"/>
                  <a:gd name="T4" fmla="*/ 18 w 18"/>
                  <a:gd name="T5" fmla="*/ 0 h 8"/>
                </a:gdLst>
                <a:ahLst/>
                <a:cxnLst>
                  <a:cxn ang="0">
                    <a:pos x="T0" y="T1"/>
                  </a:cxn>
                  <a:cxn ang="0">
                    <a:pos x="T2" y="T3"/>
                  </a:cxn>
                  <a:cxn ang="0">
                    <a:pos x="T4" y="T5"/>
                  </a:cxn>
                </a:cxnLst>
                <a:rect l="0" t="0" r="r" b="b"/>
                <a:pathLst>
                  <a:path w="18" h="8">
                    <a:moveTo>
                      <a:pt x="18" y="0"/>
                    </a:moveTo>
                    <a:cubicBezTo>
                      <a:pt x="15" y="0"/>
                      <a:pt x="0" y="5"/>
                      <a:pt x="1" y="8"/>
                    </a:cubicBezTo>
                    <a:cubicBezTo>
                      <a:pt x="7" y="6"/>
                      <a:pt x="12" y="3"/>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 name="Freeform 148">
                <a:extLst>
                  <a:ext uri="{FF2B5EF4-FFF2-40B4-BE49-F238E27FC236}">
                    <a16:creationId xmlns:a16="http://schemas.microsoft.com/office/drawing/2014/main" id="{21C994B3-D23F-44EE-BFC8-B19BE6047A92}"/>
                  </a:ext>
                </a:extLst>
              </p:cNvPr>
              <p:cNvSpPr>
                <a:spLocks/>
              </p:cNvSpPr>
              <p:nvPr/>
            </p:nvSpPr>
            <p:spPr bwMode="auto">
              <a:xfrm>
                <a:off x="911" y="1666"/>
                <a:ext cx="17" cy="14"/>
              </a:xfrm>
              <a:custGeom>
                <a:avLst/>
                <a:gdLst>
                  <a:gd name="T0" fmla="*/ 3 w 7"/>
                  <a:gd name="T1" fmla="*/ 0 h 6"/>
                  <a:gd name="T2" fmla="*/ 3 w 7"/>
                  <a:gd name="T3" fmla="*/ 6 h 6"/>
                  <a:gd name="T4" fmla="*/ 7 w 7"/>
                  <a:gd name="T5" fmla="*/ 4 h 6"/>
                  <a:gd name="T6" fmla="*/ 5 w 7"/>
                  <a:gd name="T7" fmla="*/ 0 h 6"/>
                  <a:gd name="T8" fmla="*/ 3 w 7"/>
                  <a:gd name="T9" fmla="*/ 0 h 6"/>
                </a:gdLst>
                <a:ahLst/>
                <a:cxnLst>
                  <a:cxn ang="0">
                    <a:pos x="T0" y="T1"/>
                  </a:cxn>
                  <a:cxn ang="0">
                    <a:pos x="T2" y="T3"/>
                  </a:cxn>
                  <a:cxn ang="0">
                    <a:pos x="T4" y="T5"/>
                  </a:cxn>
                  <a:cxn ang="0">
                    <a:pos x="T6" y="T7"/>
                  </a:cxn>
                  <a:cxn ang="0">
                    <a:pos x="T8" y="T9"/>
                  </a:cxn>
                </a:cxnLst>
                <a:rect l="0" t="0" r="r" b="b"/>
                <a:pathLst>
                  <a:path w="7" h="6">
                    <a:moveTo>
                      <a:pt x="3" y="0"/>
                    </a:moveTo>
                    <a:cubicBezTo>
                      <a:pt x="0" y="0"/>
                      <a:pt x="2" y="3"/>
                      <a:pt x="3" y="6"/>
                    </a:cubicBezTo>
                    <a:cubicBezTo>
                      <a:pt x="5" y="5"/>
                      <a:pt x="5" y="4"/>
                      <a:pt x="7" y="4"/>
                    </a:cubicBezTo>
                    <a:cubicBezTo>
                      <a:pt x="6" y="2"/>
                      <a:pt x="2" y="2"/>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 name="Freeform 149">
                <a:extLst>
                  <a:ext uri="{FF2B5EF4-FFF2-40B4-BE49-F238E27FC236}">
                    <a16:creationId xmlns:a16="http://schemas.microsoft.com/office/drawing/2014/main" id="{D3B6DDB4-9C01-4AEF-81D0-08047E0A19B7}"/>
                  </a:ext>
                </a:extLst>
              </p:cNvPr>
              <p:cNvSpPr>
                <a:spLocks/>
              </p:cNvSpPr>
              <p:nvPr/>
            </p:nvSpPr>
            <p:spPr bwMode="auto">
              <a:xfrm>
                <a:off x="956" y="1606"/>
                <a:ext cx="102" cy="52"/>
              </a:xfrm>
              <a:custGeom>
                <a:avLst/>
                <a:gdLst>
                  <a:gd name="T0" fmla="*/ 29 w 43"/>
                  <a:gd name="T1" fmla="*/ 0 h 22"/>
                  <a:gd name="T2" fmla="*/ 21 w 43"/>
                  <a:gd name="T3" fmla="*/ 3 h 22"/>
                  <a:gd name="T4" fmla="*/ 8 w 43"/>
                  <a:gd name="T5" fmla="*/ 7 h 22"/>
                  <a:gd name="T6" fmla="*/ 0 w 43"/>
                  <a:gd name="T7" fmla="*/ 15 h 22"/>
                  <a:gd name="T8" fmla="*/ 5 w 43"/>
                  <a:gd name="T9" fmla="*/ 22 h 22"/>
                  <a:gd name="T10" fmla="*/ 7 w 43"/>
                  <a:gd name="T11" fmla="*/ 22 h 22"/>
                  <a:gd name="T12" fmla="*/ 13 w 43"/>
                  <a:gd name="T13" fmla="*/ 19 h 22"/>
                  <a:gd name="T14" fmla="*/ 13 w 43"/>
                  <a:gd name="T15" fmla="*/ 17 h 22"/>
                  <a:gd name="T16" fmla="*/ 18 w 43"/>
                  <a:gd name="T17" fmla="*/ 17 h 22"/>
                  <a:gd name="T18" fmla="*/ 29 w 43"/>
                  <a:gd name="T19" fmla="*/ 15 h 22"/>
                  <a:gd name="T20" fmla="*/ 34 w 43"/>
                  <a:gd name="T21" fmla="*/ 12 h 22"/>
                  <a:gd name="T22" fmla="*/ 37 w 43"/>
                  <a:gd name="T23" fmla="*/ 12 h 22"/>
                  <a:gd name="T24" fmla="*/ 43 w 43"/>
                  <a:gd name="T25" fmla="*/ 13 h 22"/>
                  <a:gd name="T26" fmla="*/ 40 w 43"/>
                  <a:gd name="T27" fmla="*/ 11 h 22"/>
                  <a:gd name="T28" fmla="*/ 34 w 43"/>
                  <a:gd name="T29" fmla="*/ 7 h 22"/>
                  <a:gd name="T30" fmla="*/ 32 w 43"/>
                  <a:gd name="T31" fmla="*/ 1 h 22"/>
                  <a:gd name="T32" fmla="*/ 29 w 43"/>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22">
                    <a:moveTo>
                      <a:pt x="29" y="0"/>
                    </a:moveTo>
                    <a:cubicBezTo>
                      <a:pt x="26" y="0"/>
                      <a:pt x="22" y="2"/>
                      <a:pt x="21" y="3"/>
                    </a:cubicBezTo>
                    <a:cubicBezTo>
                      <a:pt x="16" y="5"/>
                      <a:pt x="11" y="3"/>
                      <a:pt x="8" y="7"/>
                    </a:cubicBezTo>
                    <a:cubicBezTo>
                      <a:pt x="5" y="10"/>
                      <a:pt x="4" y="12"/>
                      <a:pt x="0" y="15"/>
                    </a:cubicBezTo>
                    <a:cubicBezTo>
                      <a:pt x="1" y="20"/>
                      <a:pt x="1" y="22"/>
                      <a:pt x="5" y="22"/>
                    </a:cubicBezTo>
                    <a:cubicBezTo>
                      <a:pt x="5" y="22"/>
                      <a:pt x="6" y="22"/>
                      <a:pt x="7" y="22"/>
                    </a:cubicBezTo>
                    <a:cubicBezTo>
                      <a:pt x="10" y="21"/>
                      <a:pt x="11" y="21"/>
                      <a:pt x="13" y="19"/>
                    </a:cubicBezTo>
                    <a:cubicBezTo>
                      <a:pt x="13" y="18"/>
                      <a:pt x="13" y="18"/>
                      <a:pt x="13" y="17"/>
                    </a:cubicBezTo>
                    <a:cubicBezTo>
                      <a:pt x="14" y="17"/>
                      <a:pt x="17" y="17"/>
                      <a:pt x="18" y="17"/>
                    </a:cubicBezTo>
                    <a:cubicBezTo>
                      <a:pt x="21" y="16"/>
                      <a:pt x="25" y="16"/>
                      <a:pt x="29" y="15"/>
                    </a:cubicBezTo>
                    <a:cubicBezTo>
                      <a:pt x="31" y="15"/>
                      <a:pt x="32" y="14"/>
                      <a:pt x="34" y="12"/>
                    </a:cubicBezTo>
                    <a:cubicBezTo>
                      <a:pt x="35" y="12"/>
                      <a:pt x="36" y="12"/>
                      <a:pt x="37" y="12"/>
                    </a:cubicBezTo>
                    <a:cubicBezTo>
                      <a:pt x="39" y="12"/>
                      <a:pt x="41" y="13"/>
                      <a:pt x="43" y="13"/>
                    </a:cubicBezTo>
                    <a:cubicBezTo>
                      <a:pt x="42" y="12"/>
                      <a:pt x="41" y="11"/>
                      <a:pt x="40" y="11"/>
                    </a:cubicBezTo>
                    <a:cubicBezTo>
                      <a:pt x="37" y="10"/>
                      <a:pt x="35" y="10"/>
                      <a:pt x="34" y="7"/>
                    </a:cubicBezTo>
                    <a:cubicBezTo>
                      <a:pt x="33" y="5"/>
                      <a:pt x="33" y="3"/>
                      <a:pt x="32" y="1"/>
                    </a:cubicBezTo>
                    <a:cubicBezTo>
                      <a:pt x="31"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 name="Freeform 150">
                <a:extLst>
                  <a:ext uri="{FF2B5EF4-FFF2-40B4-BE49-F238E27FC236}">
                    <a16:creationId xmlns:a16="http://schemas.microsoft.com/office/drawing/2014/main" id="{0D578ECD-89C2-4ED9-BE64-F97C8F28C7EC}"/>
                  </a:ext>
                </a:extLst>
              </p:cNvPr>
              <p:cNvSpPr>
                <a:spLocks/>
              </p:cNvSpPr>
              <p:nvPr/>
            </p:nvSpPr>
            <p:spPr bwMode="auto">
              <a:xfrm>
                <a:off x="2694" y="1592"/>
                <a:ext cx="29" cy="45"/>
              </a:xfrm>
              <a:custGeom>
                <a:avLst/>
                <a:gdLst>
                  <a:gd name="T0" fmla="*/ 2 w 12"/>
                  <a:gd name="T1" fmla="*/ 0 h 19"/>
                  <a:gd name="T2" fmla="*/ 0 w 12"/>
                  <a:gd name="T3" fmla="*/ 7 h 19"/>
                  <a:gd name="T4" fmla="*/ 3 w 12"/>
                  <a:gd name="T5" fmla="*/ 11 h 19"/>
                  <a:gd name="T6" fmla="*/ 3 w 12"/>
                  <a:gd name="T7" fmla="*/ 11 h 19"/>
                  <a:gd name="T8" fmla="*/ 6 w 12"/>
                  <a:gd name="T9" fmla="*/ 14 h 19"/>
                  <a:gd name="T10" fmla="*/ 7 w 12"/>
                  <a:gd name="T11" fmla="*/ 14 h 19"/>
                  <a:gd name="T12" fmla="*/ 8 w 12"/>
                  <a:gd name="T13" fmla="*/ 17 h 19"/>
                  <a:gd name="T14" fmla="*/ 12 w 12"/>
                  <a:gd name="T15" fmla="*/ 19 h 19"/>
                  <a:gd name="T16" fmla="*/ 2 w 1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9">
                    <a:moveTo>
                      <a:pt x="2" y="0"/>
                    </a:moveTo>
                    <a:cubicBezTo>
                      <a:pt x="0" y="2"/>
                      <a:pt x="0" y="5"/>
                      <a:pt x="0" y="7"/>
                    </a:cubicBezTo>
                    <a:cubicBezTo>
                      <a:pt x="1" y="8"/>
                      <a:pt x="2" y="11"/>
                      <a:pt x="3" y="11"/>
                    </a:cubicBezTo>
                    <a:cubicBezTo>
                      <a:pt x="3" y="11"/>
                      <a:pt x="3" y="11"/>
                      <a:pt x="3" y="11"/>
                    </a:cubicBezTo>
                    <a:cubicBezTo>
                      <a:pt x="4" y="11"/>
                      <a:pt x="4" y="14"/>
                      <a:pt x="6" y="14"/>
                    </a:cubicBezTo>
                    <a:cubicBezTo>
                      <a:pt x="6" y="14"/>
                      <a:pt x="7" y="14"/>
                      <a:pt x="7" y="14"/>
                    </a:cubicBezTo>
                    <a:cubicBezTo>
                      <a:pt x="6" y="15"/>
                      <a:pt x="7" y="17"/>
                      <a:pt x="8" y="17"/>
                    </a:cubicBezTo>
                    <a:cubicBezTo>
                      <a:pt x="9" y="18"/>
                      <a:pt x="10" y="19"/>
                      <a:pt x="12" y="19"/>
                    </a:cubicBezTo>
                    <a:cubicBezTo>
                      <a:pt x="9" y="13"/>
                      <a:pt x="6" y="7"/>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 name="Freeform 151">
                <a:extLst>
                  <a:ext uri="{FF2B5EF4-FFF2-40B4-BE49-F238E27FC236}">
                    <a16:creationId xmlns:a16="http://schemas.microsoft.com/office/drawing/2014/main" id="{105334CE-F3BE-4DF8-A667-41E4FD85DDBC}"/>
                  </a:ext>
                </a:extLst>
              </p:cNvPr>
              <p:cNvSpPr>
                <a:spLocks/>
              </p:cNvSpPr>
              <p:nvPr/>
            </p:nvSpPr>
            <p:spPr bwMode="auto">
              <a:xfrm>
                <a:off x="2782" y="1592"/>
                <a:ext cx="16" cy="19"/>
              </a:xfrm>
              <a:custGeom>
                <a:avLst/>
                <a:gdLst>
                  <a:gd name="T0" fmla="*/ 2 w 7"/>
                  <a:gd name="T1" fmla="*/ 0 h 8"/>
                  <a:gd name="T2" fmla="*/ 2 w 7"/>
                  <a:gd name="T3" fmla="*/ 5 h 8"/>
                  <a:gd name="T4" fmla="*/ 2 w 7"/>
                  <a:gd name="T5" fmla="*/ 5 h 8"/>
                  <a:gd name="T6" fmla="*/ 1 w 7"/>
                  <a:gd name="T7" fmla="*/ 8 h 8"/>
                  <a:gd name="T8" fmla="*/ 5 w 7"/>
                  <a:gd name="T9" fmla="*/ 8 h 8"/>
                  <a:gd name="T10" fmla="*/ 3 w 7"/>
                  <a:gd name="T11" fmla="*/ 1 h 8"/>
                  <a:gd name="T12" fmla="*/ 2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2" y="0"/>
                    </a:moveTo>
                    <a:cubicBezTo>
                      <a:pt x="0" y="0"/>
                      <a:pt x="1" y="3"/>
                      <a:pt x="2" y="5"/>
                    </a:cubicBezTo>
                    <a:cubicBezTo>
                      <a:pt x="2" y="5"/>
                      <a:pt x="2" y="5"/>
                      <a:pt x="2" y="5"/>
                    </a:cubicBezTo>
                    <a:cubicBezTo>
                      <a:pt x="0" y="5"/>
                      <a:pt x="0" y="8"/>
                      <a:pt x="1" y="8"/>
                    </a:cubicBezTo>
                    <a:cubicBezTo>
                      <a:pt x="5" y="8"/>
                      <a:pt x="5" y="8"/>
                      <a:pt x="5" y="8"/>
                    </a:cubicBezTo>
                    <a:cubicBezTo>
                      <a:pt x="7" y="7"/>
                      <a:pt x="4" y="2"/>
                      <a:pt x="3"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 name="Freeform 152">
                <a:extLst>
                  <a:ext uri="{FF2B5EF4-FFF2-40B4-BE49-F238E27FC236}">
                    <a16:creationId xmlns:a16="http://schemas.microsoft.com/office/drawing/2014/main" id="{27913E1A-6FB2-4419-BB48-C6C0E179A679}"/>
                  </a:ext>
                </a:extLst>
              </p:cNvPr>
              <p:cNvSpPr>
                <a:spLocks/>
              </p:cNvSpPr>
              <p:nvPr/>
            </p:nvSpPr>
            <p:spPr bwMode="auto">
              <a:xfrm>
                <a:off x="2768" y="1580"/>
                <a:ext cx="14" cy="22"/>
              </a:xfrm>
              <a:custGeom>
                <a:avLst/>
                <a:gdLst>
                  <a:gd name="T0" fmla="*/ 1 w 6"/>
                  <a:gd name="T1" fmla="*/ 0 h 9"/>
                  <a:gd name="T2" fmla="*/ 3 w 6"/>
                  <a:gd name="T3" fmla="*/ 9 h 9"/>
                  <a:gd name="T4" fmla="*/ 5 w 6"/>
                  <a:gd name="T5" fmla="*/ 4 h 9"/>
                  <a:gd name="T6" fmla="*/ 6 w 6"/>
                  <a:gd name="T7" fmla="*/ 5 h 9"/>
                  <a:gd name="T8" fmla="*/ 1 w 6"/>
                  <a:gd name="T9" fmla="*/ 0 h 9"/>
                </a:gdLst>
                <a:ahLst/>
                <a:cxnLst>
                  <a:cxn ang="0">
                    <a:pos x="T0" y="T1"/>
                  </a:cxn>
                  <a:cxn ang="0">
                    <a:pos x="T2" y="T3"/>
                  </a:cxn>
                  <a:cxn ang="0">
                    <a:pos x="T4" y="T5"/>
                  </a:cxn>
                  <a:cxn ang="0">
                    <a:pos x="T6" y="T7"/>
                  </a:cxn>
                  <a:cxn ang="0">
                    <a:pos x="T8" y="T9"/>
                  </a:cxn>
                </a:cxnLst>
                <a:rect l="0" t="0" r="r" b="b"/>
                <a:pathLst>
                  <a:path w="6" h="9">
                    <a:moveTo>
                      <a:pt x="1" y="0"/>
                    </a:moveTo>
                    <a:cubicBezTo>
                      <a:pt x="0" y="3"/>
                      <a:pt x="0" y="7"/>
                      <a:pt x="3" y="9"/>
                    </a:cubicBezTo>
                    <a:cubicBezTo>
                      <a:pt x="4" y="7"/>
                      <a:pt x="4" y="6"/>
                      <a:pt x="5" y="4"/>
                    </a:cubicBezTo>
                    <a:cubicBezTo>
                      <a:pt x="6" y="5"/>
                      <a:pt x="6" y="5"/>
                      <a:pt x="6" y="5"/>
                    </a:cubicBezTo>
                    <a:cubicBezTo>
                      <a:pt x="5"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 name="Freeform 153">
                <a:extLst>
                  <a:ext uri="{FF2B5EF4-FFF2-40B4-BE49-F238E27FC236}">
                    <a16:creationId xmlns:a16="http://schemas.microsoft.com/office/drawing/2014/main" id="{CF0836B1-FED3-4D5C-A416-ABB013F42F12}"/>
                  </a:ext>
                </a:extLst>
              </p:cNvPr>
              <p:cNvSpPr>
                <a:spLocks/>
              </p:cNvSpPr>
              <p:nvPr/>
            </p:nvSpPr>
            <p:spPr bwMode="auto">
              <a:xfrm>
                <a:off x="6605" y="4384"/>
                <a:ext cx="55" cy="42"/>
              </a:xfrm>
              <a:custGeom>
                <a:avLst/>
                <a:gdLst>
                  <a:gd name="T0" fmla="*/ 22 w 23"/>
                  <a:gd name="T1" fmla="*/ 0 h 18"/>
                  <a:gd name="T2" fmla="*/ 17 w 23"/>
                  <a:gd name="T3" fmla="*/ 1 h 18"/>
                  <a:gd name="T4" fmla="*/ 6 w 23"/>
                  <a:gd name="T5" fmla="*/ 3 h 18"/>
                  <a:gd name="T6" fmla="*/ 10 w 23"/>
                  <a:gd name="T7" fmla="*/ 8 h 18"/>
                  <a:gd name="T8" fmla="*/ 10 w 23"/>
                  <a:gd name="T9" fmla="*/ 14 h 18"/>
                  <a:gd name="T10" fmla="*/ 6 w 23"/>
                  <a:gd name="T11" fmla="*/ 15 h 18"/>
                  <a:gd name="T12" fmla="*/ 0 w 23"/>
                  <a:gd name="T13" fmla="*/ 18 h 18"/>
                  <a:gd name="T14" fmla="*/ 2 w 23"/>
                  <a:gd name="T15" fmla="*/ 18 h 18"/>
                  <a:gd name="T16" fmla="*/ 5 w 23"/>
                  <a:gd name="T17" fmla="*/ 18 h 18"/>
                  <a:gd name="T18" fmla="*/ 8 w 23"/>
                  <a:gd name="T19" fmla="*/ 18 h 18"/>
                  <a:gd name="T20" fmla="*/ 9 w 23"/>
                  <a:gd name="T21" fmla="*/ 18 h 18"/>
                  <a:gd name="T22" fmla="*/ 13 w 23"/>
                  <a:gd name="T23" fmla="*/ 18 h 18"/>
                  <a:gd name="T24" fmla="*/ 19 w 23"/>
                  <a:gd name="T25" fmla="*/ 17 h 18"/>
                  <a:gd name="T26" fmla="*/ 20 w 23"/>
                  <a:gd name="T27" fmla="*/ 8 h 18"/>
                  <a:gd name="T28" fmla="*/ 23 w 23"/>
                  <a:gd name="T29" fmla="*/ 0 h 18"/>
                  <a:gd name="T30" fmla="*/ 22 w 23"/>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8">
                    <a:moveTo>
                      <a:pt x="22" y="0"/>
                    </a:moveTo>
                    <a:cubicBezTo>
                      <a:pt x="20" y="0"/>
                      <a:pt x="19" y="0"/>
                      <a:pt x="17" y="1"/>
                    </a:cubicBezTo>
                    <a:cubicBezTo>
                      <a:pt x="14" y="1"/>
                      <a:pt x="10" y="2"/>
                      <a:pt x="6" y="3"/>
                    </a:cubicBezTo>
                    <a:cubicBezTo>
                      <a:pt x="10" y="4"/>
                      <a:pt x="10" y="5"/>
                      <a:pt x="10" y="8"/>
                    </a:cubicBezTo>
                    <a:cubicBezTo>
                      <a:pt x="11" y="10"/>
                      <a:pt x="11" y="12"/>
                      <a:pt x="10" y="14"/>
                    </a:cubicBezTo>
                    <a:cubicBezTo>
                      <a:pt x="9" y="14"/>
                      <a:pt x="7" y="14"/>
                      <a:pt x="6" y="15"/>
                    </a:cubicBezTo>
                    <a:cubicBezTo>
                      <a:pt x="5" y="16"/>
                      <a:pt x="2" y="17"/>
                      <a:pt x="0" y="18"/>
                    </a:cubicBezTo>
                    <a:cubicBezTo>
                      <a:pt x="1" y="18"/>
                      <a:pt x="1" y="18"/>
                      <a:pt x="2" y="18"/>
                    </a:cubicBezTo>
                    <a:cubicBezTo>
                      <a:pt x="3" y="18"/>
                      <a:pt x="4" y="18"/>
                      <a:pt x="5" y="18"/>
                    </a:cubicBezTo>
                    <a:cubicBezTo>
                      <a:pt x="6" y="18"/>
                      <a:pt x="7" y="18"/>
                      <a:pt x="8" y="18"/>
                    </a:cubicBezTo>
                    <a:cubicBezTo>
                      <a:pt x="8" y="18"/>
                      <a:pt x="9" y="18"/>
                      <a:pt x="9" y="18"/>
                    </a:cubicBezTo>
                    <a:cubicBezTo>
                      <a:pt x="10" y="18"/>
                      <a:pt x="11" y="18"/>
                      <a:pt x="13" y="18"/>
                    </a:cubicBezTo>
                    <a:cubicBezTo>
                      <a:pt x="15" y="18"/>
                      <a:pt x="17" y="18"/>
                      <a:pt x="19" y="17"/>
                    </a:cubicBezTo>
                    <a:cubicBezTo>
                      <a:pt x="23" y="15"/>
                      <a:pt x="21" y="11"/>
                      <a:pt x="20" y="8"/>
                    </a:cubicBezTo>
                    <a:cubicBezTo>
                      <a:pt x="20" y="5"/>
                      <a:pt x="22" y="3"/>
                      <a:pt x="23" y="0"/>
                    </a:cubicBezTo>
                    <a:cubicBezTo>
                      <a:pt x="23"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 name="Freeform 154">
                <a:extLst>
                  <a:ext uri="{FF2B5EF4-FFF2-40B4-BE49-F238E27FC236}">
                    <a16:creationId xmlns:a16="http://schemas.microsoft.com/office/drawing/2014/main" id="{B68C7932-9ED0-4A0F-A07B-12AB62FF401F}"/>
                  </a:ext>
                </a:extLst>
              </p:cNvPr>
              <p:cNvSpPr>
                <a:spLocks/>
              </p:cNvSpPr>
              <p:nvPr/>
            </p:nvSpPr>
            <p:spPr bwMode="auto">
              <a:xfrm>
                <a:off x="5511" y="4561"/>
                <a:ext cx="14" cy="17"/>
              </a:xfrm>
              <a:custGeom>
                <a:avLst/>
                <a:gdLst>
                  <a:gd name="T0" fmla="*/ 3 w 6"/>
                  <a:gd name="T1" fmla="*/ 0 h 7"/>
                  <a:gd name="T2" fmla="*/ 0 w 6"/>
                  <a:gd name="T3" fmla="*/ 2 h 7"/>
                  <a:gd name="T4" fmla="*/ 6 w 6"/>
                  <a:gd name="T5" fmla="*/ 7 h 7"/>
                  <a:gd name="T6" fmla="*/ 6 w 6"/>
                  <a:gd name="T7" fmla="*/ 7 h 7"/>
                  <a:gd name="T8" fmla="*/ 3 w 6"/>
                  <a:gd name="T9" fmla="*/ 0 h 7"/>
                </a:gdLst>
                <a:ahLst/>
                <a:cxnLst>
                  <a:cxn ang="0">
                    <a:pos x="T0" y="T1"/>
                  </a:cxn>
                  <a:cxn ang="0">
                    <a:pos x="T2" y="T3"/>
                  </a:cxn>
                  <a:cxn ang="0">
                    <a:pos x="T4" y="T5"/>
                  </a:cxn>
                  <a:cxn ang="0">
                    <a:pos x="T6" y="T7"/>
                  </a:cxn>
                  <a:cxn ang="0">
                    <a:pos x="T8" y="T9"/>
                  </a:cxn>
                </a:cxnLst>
                <a:rect l="0" t="0" r="r" b="b"/>
                <a:pathLst>
                  <a:path w="6" h="7">
                    <a:moveTo>
                      <a:pt x="3" y="0"/>
                    </a:moveTo>
                    <a:cubicBezTo>
                      <a:pt x="1" y="0"/>
                      <a:pt x="1" y="2"/>
                      <a:pt x="0" y="2"/>
                    </a:cubicBezTo>
                    <a:cubicBezTo>
                      <a:pt x="0" y="5"/>
                      <a:pt x="3" y="7"/>
                      <a:pt x="6" y="7"/>
                    </a:cubicBezTo>
                    <a:cubicBezTo>
                      <a:pt x="6" y="7"/>
                      <a:pt x="6" y="7"/>
                      <a:pt x="6" y="7"/>
                    </a:cubicBezTo>
                    <a:cubicBezTo>
                      <a:pt x="6"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 name="Freeform 155">
                <a:extLst>
                  <a:ext uri="{FF2B5EF4-FFF2-40B4-BE49-F238E27FC236}">
                    <a16:creationId xmlns:a16="http://schemas.microsoft.com/office/drawing/2014/main" id="{E4E7D456-F084-4CB9-99E9-04E81918F71F}"/>
                  </a:ext>
                </a:extLst>
              </p:cNvPr>
              <p:cNvSpPr>
                <a:spLocks/>
              </p:cNvSpPr>
              <p:nvPr/>
            </p:nvSpPr>
            <p:spPr bwMode="auto">
              <a:xfrm>
                <a:off x="5553" y="4564"/>
                <a:ext cx="3" cy="2"/>
              </a:xfrm>
              <a:custGeom>
                <a:avLst/>
                <a:gdLst>
                  <a:gd name="T0" fmla="*/ 1 w 1"/>
                  <a:gd name="T1" fmla="*/ 0 h 1"/>
                  <a:gd name="T2" fmla="*/ 0 w 1"/>
                  <a:gd name="T3" fmla="*/ 1 h 1"/>
                  <a:gd name="T4" fmla="*/ 0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0" y="1"/>
                      <a:pt x="0" y="1"/>
                    </a:cubicBezTo>
                    <a:cubicBezTo>
                      <a:pt x="0" y="1"/>
                      <a:pt x="0" y="1"/>
                      <a:pt x="0" y="1"/>
                    </a:cubicBezTo>
                    <a:cubicBezTo>
                      <a:pt x="0" y="1"/>
                      <a:pt x="0" y="1"/>
                      <a:pt x="0" y="1"/>
                    </a:cubicBezTo>
                    <a:cubicBezTo>
                      <a:pt x="1" y="1"/>
                      <a:pt x="1" y="1"/>
                      <a:pt x="1"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 name="Freeform 156">
                <a:extLst>
                  <a:ext uri="{FF2B5EF4-FFF2-40B4-BE49-F238E27FC236}">
                    <a16:creationId xmlns:a16="http://schemas.microsoft.com/office/drawing/2014/main" id="{AC4040BF-46FE-436D-9169-BFC6AFBDFB2F}"/>
                  </a:ext>
                </a:extLst>
              </p:cNvPr>
              <p:cNvSpPr>
                <a:spLocks/>
              </p:cNvSpPr>
              <p:nvPr/>
            </p:nvSpPr>
            <p:spPr bwMode="auto">
              <a:xfrm>
                <a:off x="5551" y="4566"/>
                <a:ext cx="2"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 name="Freeform 157">
                <a:extLst>
                  <a:ext uri="{FF2B5EF4-FFF2-40B4-BE49-F238E27FC236}">
                    <a16:creationId xmlns:a16="http://schemas.microsoft.com/office/drawing/2014/main" id="{7B006D19-16A8-45DB-BBE5-7F7A71EE7D62}"/>
                  </a:ext>
                </a:extLst>
              </p:cNvPr>
              <p:cNvSpPr>
                <a:spLocks/>
              </p:cNvSpPr>
              <p:nvPr/>
            </p:nvSpPr>
            <p:spPr bwMode="auto">
              <a:xfrm>
                <a:off x="5494" y="4467"/>
                <a:ext cx="5" cy="4"/>
              </a:xfrm>
              <a:custGeom>
                <a:avLst/>
                <a:gdLst>
                  <a:gd name="T0" fmla="*/ 0 w 2"/>
                  <a:gd name="T1" fmla="*/ 0 h 2"/>
                  <a:gd name="T2" fmla="*/ 1 w 2"/>
                  <a:gd name="T3" fmla="*/ 2 h 2"/>
                  <a:gd name="T4" fmla="*/ 2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0" y="2"/>
                      <a:pt x="1" y="2"/>
                    </a:cubicBezTo>
                    <a:cubicBezTo>
                      <a:pt x="1" y="2"/>
                      <a:pt x="2" y="2"/>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 name="Freeform 158">
                <a:extLst>
                  <a:ext uri="{FF2B5EF4-FFF2-40B4-BE49-F238E27FC236}">
                    <a16:creationId xmlns:a16="http://schemas.microsoft.com/office/drawing/2014/main" id="{6C2CA65A-3061-40E8-9B5A-5FB2C0140CC5}"/>
                  </a:ext>
                </a:extLst>
              </p:cNvPr>
              <p:cNvSpPr>
                <a:spLocks/>
              </p:cNvSpPr>
              <p:nvPr/>
            </p:nvSpPr>
            <p:spPr bwMode="auto">
              <a:xfrm>
                <a:off x="5667" y="4514"/>
                <a:ext cx="9" cy="14"/>
              </a:xfrm>
              <a:custGeom>
                <a:avLst/>
                <a:gdLst>
                  <a:gd name="T0" fmla="*/ 4 w 4"/>
                  <a:gd name="T1" fmla="*/ 0 h 6"/>
                  <a:gd name="T2" fmla="*/ 3 w 4"/>
                  <a:gd name="T3" fmla="*/ 6 h 6"/>
                  <a:gd name="T4" fmla="*/ 4 w 4"/>
                  <a:gd name="T5" fmla="*/ 0 h 6"/>
                </a:gdLst>
                <a:ahLst/>
                <a:cxnLst>
                  <a:cxn ang="0">
                    <a:pos x="T0" y="T1"/>
                  </a:cxn>
                  <a:cxn ang="0">
                    <a:pos x="T2" y="T3"/>
                  </a:cxn>
                  <a:cxn ang="0">
                    <a:pos x="T4" y="T5"/>
                  </a:cxn>
                </a:cxnLst>
                <a:rect l="0" t="0" r="r" b="b"/>
                <a:pathLst>
                  <a:path w="4" h="6">
                    <a:moveTo>
                      <a:pt x="4" y="0"/>
                    </a:moveTo>
                    <a:cubicBezTo>
                      <a:pt x="0" y="1"/>
                      <a:pt x="2" y="5"/>
                      <a:pt x="3" y="6"/>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 name="Freeform 159">
                <a:extLst>
                  <a:ext uri="{FF2B5EF4-FFF2-40B4-BE49-F238E27FC236}">
                    <a16:creationId xmlns:a16="http://schemas.microsoft.com/office/drawing/2014/main" id="{EC3DD098-536A-4862-9D98-C7DB4B3FEC7F}"/>
                  </a:ext>
                </a:extLst>
              </p:cNvPr>
              <p:cNvSpPr>
                <a:spLocks/>
              </p:cNvSpPr>
              <p:nvPr/>
            </p:nvSpPr>
            <p:spPr bwMode="auto">
              <a:xfrm>
                <a:off x="6213" y="4301"/>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2"/>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7" name="Freeform 160">
                <a:extLst>
                  <a:ext uri="{FF2B5EF4-FFF2-40B4-BE49-F238E27FC236}">
                    <a16:creationId xmlns:a16="http://schemas.microsoft.com/office/drawing/2014/main" id="{95411E91-6777-4C38-BA32-3724C817A976}"/>
                  </a:ext>
                </a:extLst>
              </p:cNvPr>
              <p:cNvSpPr>
                <a:spLocks/>
              </p:cNvSpPr>
              <p:nvPr/>
            </p:nvSpPr>
            <p:spPr bwMode="auto">
              <a:xfrm>
                <a:off x="6220" y="4308"/>
                <a:ext cx="12" cy="7"/>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1" y="0"/>
                      <a:pt x="0" y="0"/>
                    </a:cubicBezTo>
                    <a:cubicBezTo>
                      <a:pt x="2" y="1"/>
                      <a:pt x="3" y="2"/>
                      <a:pt x="5" y="3"/>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8" name="Freeform 161">
                <a:extLst>
                  <a:ext uri="{FF2B5EF4-FFF2-40B4-BE49-F238E27FC236}">
                    <a16:creationId xmlns:a16="http://schemas.microsoft.com/office/drawing/2014/main" id="{62EE54D4-F0C4-4DAE-B8D9-2B5B1365828C}"/>
                  </a:ext>
                </a:extLst>
              </p:cNvPr>
              <p:cNvSpPr>
                <a:spLocks/>
              </p:cNvSpPr>
              <p:nvPr/>
            </p:nvSpPr>
            <p:spPr bwMode="auto">
              <a:xfrm>
                <a:off x="6208" y="4296"/>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9" name="Freeform 162">
                <a:extLst>
                  <a:ext uri="{FF2B5EF4-FFF2-40B4-BE49-F238E27FC236}">
                    <a16:creationId xmlns:a16="http://schemas.microsoft.com/office/drawing/2014/main" id="{C8D44DD8-97A9-4E92-A720-A70606E4B327}"/>
                  </a:ext>
                </a:extLst>
              </p:cNvPr>
              <p:cNvSpPr>
                <a:spLocks/>
              </p:cNvSpPr>
              <p:nvPr/>
            </p:nvSpPr>
            <p:spPr bwMode="auto">
              <a:xfrm>
                <a:off x="6251" y="4301"/>
                <a:ext cx="14" cy="17"/>
              </a:xfrm>
              <a:custGeom>
                <a:avLst/>
                <a:gdLst>
                  <a:gd name="T0" fmla="*/ 0 w 6"/>
                  <a:gd name="T1" fmla="*/ 0 h 7"/>
                  <a:gd name="T2" fmla="*/ 3 w 6"/>
                  <a:gd name="T3" fmla="*/ 7 h 7"/>
                  <a:gd name="T4" fmla="*/ 0 w 6"/>
                  <a:gd name="T5" fmla="*/ 0 h 7"/>
                </a:gdLst>
                <a:ahLst/>
                <a:cxnLst>
                  <a:cxn ang="0">
                    <a:pos x="T0" y="T1"/>
                  </a:cxn>
                  <a:cxn ang="0">
                    <a:pos x="T2" y="T3"/>
                  </a:cxn>
                  <a:cxn ang="0">
                    <a:pos x="T4" y="T5"/>
                  </a:cxn>
                </a:cxnLst>
                <a:rect l="0" t="0" r="r" b="b"/>
                <a:pathLst>
                  <a:path w="6" h="7">
                    <a:moveTo>
                      <a:pt x="0" y="0"/>
                    </a:moveTo>
                    <a:cubicBezTo>
                      <a:pt x="1" y="3"/>
                      <a:pt x="2" y="5"/>
                      <a:pt x="3" y="7"/>
                    </a:cubicBezTo>
                    <a:cubicBezTo>
                      <a:pt x="6"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0" name="Freeform 163">
                <a:extLst>
                  <a:ext uri="{FF2B5EF4-FFF2-40B4-BE49-F238E27FC236}">
                    <a16:creationId xmlns:a16="http://schemas.microsoft.com/office/drawing/2014/main" id="{A3C79D3D-1FB7-4F65-8600-6A18B2FDE45E}"/>
                  </a:ext>
                </a:extLst>
              </p:cNvPr>
              <p:cNvSpPr>
                <a:spLocks/>
              </p:cNvSpPr>
              <p:nvPr/>
            </p:nvSpPr>
            <p:spPr bwMode="auto">
              <a:xfrm>
                <a:off x="4151" y="3771"/>
                <a:ext cx="7" cy="10"/>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0" y="2"/>
                      <a:pt x="1" y="3"/>
                      <a:pt x="3"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1" name="Freeform 164">
                <a:extLst>
                  <a:ext uri="{FF2B5EF4-FFF2-40B4-BE49-F238E27FC236}">
                    <a16:creationId xmlns:a16="http://schemas.microsoft.com/office/drawing/2014/main" id="{AF718BE4-5AB8-4F56-8196-11BE8511D69C}"/>
                  </a:ext>
                </a:extLst>
              </p:cNvPr>
              <p:cNvSpPr>
                <a:spLocks/>
              </p:cNvSpPr>
              <p:nvPr/>
            </p:nvSpPr>
            <p:spPr bwMode="auto">
              <a:xfrm>
                <a:off x="3505" y="3331"/>
                <a:ext cx="7" cy="19"/>
              </a:xfrm>
              <a:custGeom>
                <a:avLst/>
                <a:gdLst>
                  <a:gd name="T0" fmla="*/ 3 w 3"/>
                  <a:gd name="T1" fmla="*/ 0 h 8"/>
                  <a:gd name="T2" fmla="*/ 3 w 3"/>
                  <a:gd name="T3" fmla="*/ 8 h 8"/>
                  <a:gd name="T4" fmla="*/ 3 w 3"/>
                  <a:gd name="T5" fmla="*/ 0 h 8"/>
                </a:gdLst>
                <a:ahLst/>
                <a:cxnLst>
                  <a:cxn ang="0">
                    <a:pos x="T0" y="T1"/>
                  </a:cxn>
                  <a:cxn ang="0">
                    <a:pos x="T2" y="T3"/>
                  </a:cxn>
                  <a:cxn ang="0">
                    <a:pos x="T4" y="T5"/>
                  </a:cxn>
                </a:cxnLst>
                <a:rect l="0" t="0" r="r" b="b"/>
                <a:pathLst>
                  <a:path w="3" h="8">
                    <a:moveTo>
                      <a:pt x="3" y="0"/>
                    </a:moveTo>
                    <a:cubicBezTo>
                      <a:pt x="0" y="1"/>
                      <a:pt x="3" y="5"/>
                      <a:pt x="3" y="8"/>
                    </a:cubicBezTo>
                    <a:cubicBezTo>
                      <a:pt x="3" y="5"/>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2" name="Freeform 165">
                <a:extLst>
                  <a:ext uri="{FF2B5EF4-FFF2-40B4-BE49-F238E27FC236}">
                    <a16:creationId xmlns:a16="http://schemas.microsoft.com/office/drawing/2014/main" id="{EE536081-1532-4F7E-B286-83CD5772A5BC}"/>
                  </a:ext>
                </a:extLst>
              </p:cNvPr>
              <p:cNvSpPr>
                <a:spLocks/>
              </p:cNvSpPr>
              <p:nvPr/>
            </p:nvSpPr>
            <p:spPr bwMode="auto">
              <a:xfrm>
                <a:off x="3673" y="3381"/>
                <a:ext cx="10" cy="21"/>
              </a:xfrm>
              <a:custGeom>
                <a:avLst/>
                <a:gdLst>
                  <a:gd name="T0" fmla="*/ 4 w 4"/>
                  <a:gd name="T1" fmla="*/ 0 h 9"/>
                  <a:gd name="T2" fmla="*/ 3 w 4"/>
                  <a:gd name="T3" fmla="*/ 4 h 9"/>
                  <a:gd name="T4" fmla="*/ 1 w 4"/>
                  <a:gd name="T5" fmla="*/ 6 h 9"/>
                  <a:gd name="T6" fmla="*/ 3 w 4"/>
                  <a:gd name="T7" fmla="*/ 9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cubicBezTo>
                      <a:pt x="3" y="1"/>
                      <a:pt x="3" y="3"/>
                      <a:pt x="3" y="4"/>
                    </a:cubicBezTo>
                    <a:cubicBezTo>
                      <a:pt x="3" y="4"/>
                      <a:pt x="2" y="5"/>
                      <a:pt x="1" y="6"/>
                    </a:cubicBezTo>
                    <a:cubicBezTo>
                      <a:pt x="1" y="8"/>
                      <a:pt x="0" y="7"/>
                      <a:pt x="3" y="9"/>
                    </a:cubicBezTo>
                    <a:cubicBezTo>
                      <a:pt x="4" y="6"/>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3" name="Freeform 166">
                <a:extLst>
                  <a:ext uri="{FF2B5EF4-FFF2-40B4-BE49-F238E27FC236}">
                    <a16:creationId xmlns:a16="http://schemas.microsoft.com/office/drawing/2014/main" id="{AB18A6EF-E84E-4144-98FD-6A69AAD84948}"/>
                  </a:ext>
                </a:extLst>
              </p:cNvPr>
              <p:cNvSpPr>
                <a:spLocks/>
              </p:cNvSpPr>
              <p:nvPr/>
            </p:nvSpPr>
            <p:spPr bwMode="auto">
              <a:xfrm>
                <a:off x="4971" y="3941"/>
                <a:ext cx="3" cy="3"/>
              </a:xfrm>
              <a:custGeom>
                <a:avLst/>
                <a:gdLst>
                  <a:gd name="T0" fmla="*/ 1 w 1"/>
                  <a:gd name="T1" fmla="*/ 0 h 1"/>
                  <a:gd name="T2" fmla="*/ 1 w 1"/>
                  <a:gd name="T3" fmla="*/ 0 h 1"/>
                  <a:gd name="T4" fmla="*/ 1 w 1"/>
                  <a:gd name="T5" fmla="*/ 0 h 1"/>
                  <a:gd name="T6" fmla="*/ 0 w 1"/>
                  <a:gd name="T7" fmla="*/ 0 h 1"/>
                  <a:gd name="T8" fmla="*/ 0 w 1"/>
                  <a:gd name="T9" fmla="*/ 1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1" y="0"/>
                      <a:pt x="1" y="0"/>
                      <a:pt x="1" y="0"/>
                    </a:cubicBezTo>
                    <a:cubicBezTo>
                      <a:pt x="0" y="0"/>
                      <a:pt x="0" y="0"/>
                      <a:pt x="0" y="0"/>
                    </a:cubicBezTo>
                    <a:cubicBezTo>
                      <a:pt x="0" y="1"/>
                      <a:pt x="0" y="1"/>
                      <a:pt x="0" y="1"/>
                    </a:cubicBezTo>
                    <a:cubicBezTo>
                      <a:pt x="1" y="1"/>
                      <a:pt x="1" y="1"/>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4" name="Freeform 167">
                <a:extLst>
                  <a:ext uri="{FF2B5EF4-FFF2-40B4-BE49-F238E27FC236}">
                    <a16:creationId xmlns:a16="http://schemas.microsoft.com/office/drawing/2014/main" id="{F5D9983F-44AC-4198-A9FB-AA8F2DE7B50D}"/>
                  </a:ext>
                </a:extLst>
              </p:cNvPr>
              <p:cNvSpPr>
                <a:spLocks/>
              </p:cNvSpPr>
              <p:nvPr/>
            </p:nvSpPr>
            <p:spPr bwMode="auto">
              <a:xfrm>
                <a:off x="3768" y="3307"/>
                <a:ext cx="28" cy="36"/>
              </a:xfrm>
              <a:custGeom>
                <a:avLst/>
                <a:gdLst>
                  <a:gd name="T0" fmla="*/ 1 w 12"/>
                  <a:gd name="T1" fmla="*/ 0 h 15"/>
                  <a:gd name="T2" fmla="*/ 12 w 12"/>
                  <a:gd name="T3" fmla="*/ 15 h 15"/>
                  <a:gd name="T4" fmla="*/ 11 w 12"/>
                  <a:gd name="T5" fmla="*/ 8 h 15"/>
                  <a:gd name="T6" fmla="*/ 9 w 12"/>
                  <a:gd name="T7" fmla="*/ 7 h 15"/>
                  <a:gd name="T8" fmla="*/ 8 w 12"/>
                  <a:gd name="T9" fmla="*/ 7 h 15"/>
                  <a:gd name="T10" fmla="*/ 8 w 12"/>
                  <a:gd name="T11" fmla="*/ 7 h 15"/>
                  <a:gd name="T12" fmla="*/ 6 w 12"/>
                  <a:gd name="T13" fmla="*/ 7 h 15"/>
                  <a:gd name="T14" fmla="*/ 6 w 12"/>
                  <a:gd name="T15" fmla="*/ 4 h 15"/>
                  <a:gd name="T16" fmla="*/ 5 w 12"/>
                  <a:gd name="T17" fmla="*/ 3 h 15"/>
                  <a:gd name="T18" fmla="*/ 1 w 1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5">
                    <a:moveTo>
                      <a:pt x="1" y="0"/>
                    </a:moveTo>
                    <a:cubicBezTo>
                      <a:pt x="0" y="7"/>
                      <a:pt x="7" y="11"/>
                      <a:pt x="12" y="15"/>
                    </a:cubicBezTo>
                    <a:cubicBezTo>
                      <a:pt x="12" y="14"/>
                      <a:pt x="11" y="8"/>
                      <a:pt x="11" y="8"/>
                    </a:cubicBezTo>
                    <a:cubicBezTo>
                      <a:pt x="10" y="8"/>
                      <a:pt x="10" y="7"/>
                      <a:pt x="9" y="7"/>
                    </a:cubicBezTo>
                    <a:cubicBezTo>
                      <a:pt x="9" y="7"/>
                      <a:pt x="9" y="7"/>
                      <a:pt x="8" y="7"/>
                    </a:cubicBezTo>
                    <a:cubicBezTo>
                      <a:pt x="8" y="7"/>
                      <a:pt x="8" y="7"/>
                      <a:pt x="8" y="7"/>
                    </a:cubicBezTo>
                    <a:cubicBezTo>
                      <a:pt x="7" y="7"/>
                      <a:pt x="6" y="7"/>
                      <a:pt x="6" y="7"/>
                    </a:cubicBezTo>
                    <a:cubicBezTo>
                      <a:pt x="6" y="6"/>
                      <a:pt x="6" y="5"/>
                      <a:pt x="6" y="4"/>
                    </a:cubicBezTo>
                    <a:cubicBezTo>
                      <a:pt x="6" y="3"/>
                      <a:pt x="5" y="3"/>
                      <a:pt x="5" y="3"/>
                    </a:cubicBezTo>
                    <a:cubicBezTo>
                      <a:pt x="4"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5" name="Freeform 168">
                <a:extLst>
                  <a:ext uri="{FF2B5EF4-FFF2-40B4-BE49-F238E27FC236}">
                    <a16:creationId xmlns:a16="http://schemas.microsoft.com/office/drawing/2014/main" id="{CA2AC617-6FC5-4F0F-8449-F011C50644B3}"/>
                  </a:ext>
                </a:extLst>
              </p:cNvPr>
              <p:cNvSpPr>
                <a:spLocks/>
              </p:cNvSpPr>
              <p:nvPr/>
            </p:nvSpPr>
            <p:spPr bwMode="auto">
              <a:xfrm>
                <a:off x="3827" y="3329"/>
                <a:ext cx="21" cy="28"/>
              </a:xfrm>
              <a:custGeom>
                <a:avLst/>
                <a:gdLst>
                  <a:gd name="T0" fmla="*/ 7 w 9"/>
                  <a:gd name="T1" fmla="*/ 0 h 12"/>
                  <a:gd name="T2" fmla="*/ 2 w 9"/>
                  <a:gd name="T3" fmla="*/ 3 h 12"/>
                  <a:gd name="T4" fmla="*/ 0 w 9"/>
                  <a:gd name="T5" fmla="*/ 9 h 12"/>
                  <a:gd name="T6" fmla="*/ 6 w 9"/>
                  <a:gd name="T7" fmla="*/ 12 h 12"/>
                  <a:gd name="T8" fmla="*/ 8 w 9"/>
                  <a:gd name="T9" fmla="*/ 5 h 12"/>
                  <a:gd name="T10" fmla="*/ 7 w 9"/>
                  <a:gd name="T11" fmla="*/ 0 h 12"/>
                </a:gdLst>
                <a:ahLst/>
                <a:cxnLst>
                  <a:cxn ang="0">
                    <a:pos x="T0" y="T1"/>
                  </a:cxn>
                  <a:cxn ang="0">
                    <a:pos x="T2" y="T3"/>
                  </a:cxn>
                  <a:cxn ang="0">
                    <a:pos x="T4" y="T5"/>
                  </a:cxn>
                  <a:cxn ang="0">
                    <a:pos x="T6" y="T7"/>
                  </a:cxn>
                  <a:cxn ang="0">
                    <a:pos x="T8" y="T9"/>
                  </a:cxn>
                  <a:cxn ang="0">
                    <a:pos x="T10" y="T11"/>
                  </a:cxn>
                </a:cxnLst>
                <a:rect l="0" t="0" r="r" b="b"/>
                <a:pathLst>
                  <a:path w="9" h="12">
                    <a:moveTo>
                      <a:pt x="7" y="0"/>
                    </a:moveTo>
                    <a:cubicBezTo>
                      <a:pt x="5" y="0"/>
                      <a:pt x="3" y="1"/>
                      <a:pt x="2" y="3"/>
                    </a:cubicBezTo>
                    <a:cubicBezTo>
                      <a:pt x="1" y="5"/>
                      <a:pt x="2" y="8"/>
                      <a:pt x="0" y="9"/>
                    </a:cubicBezTo>
                    <a:cubicBezTo>
                      <a:pt x="2" y="10"/>
                      <a:pt x="4" y="11"/>
                      <a:pt x="6" y="12"/>
                    </a:cubicBezTo>
                    <a:cubicBezTo>
                      <a:pt x="7" y="10"/>
                      <a:pt x="9" y="8"/>
                      <a:pt x="8" y="5"/>
                    </a:cubicBezTo>
                    <a:cubicBezTo>
                      <a:pt x="8"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6" name="Freeform 169">
                <a:extLst>
                  <a:ext uri="{FF2B5EF4-FFF2-40B4-BE49-F238E27FC236}">
                    <a16:creationId xmlns:a16="http://schemas.microsoft.com/office/drawing/2014/main" id="{5910EC9E-C2F0-4D50-9BCA-DA4715376DEC}"/>
                  </a:ext>
                </a:extLst>
              </p:cNvPr>
              <p:cNvSpPr>
                <a:spLocks/>
              </p:cNvSpPr>
              <p:nvPr/>
            </p:nvSpPr>
            <p:spPr bwMode="auto">
              <a:xfrm>
                <a:off x="5250" y="4072"/>
                <a:ext cx="22" cy="7"/>
              </a:xfrm>
              <a:custGeom>
                <a:avLst/>
                <a:gdLst>
                  <a:gd name="T0" fmla="*/ 8 w 9"/>
                  <a:gd name="T1" fmla="*/ 0 h 3"/>
                  <a:gd name="T2" fmla="*/ 0 w 9"/>
                  <a:gd name="T3" fmla="*/ 3 h 3"/>
                  <a:gd name="T4" fmla="*/ 9 w 9"/>
                  <a:gd name="T5" fmla="*/ 0 h 3"/>
                  <a:gd name="T6" fmla="*/ 8 w 9"/>
                  <a:gd name="T7" fmla="*/ 0 h 3"/>
                </a:gdLst>
                <a:ahLst/>
                <a:cxnLst>
                  <a:cxn ang="0">
                    <a:pos x="T0" y="T1"/>
                  </a:cxn>
                  <a:cxn ang="0">
                    <a:pos x="T2" y="T3"/>
                  </a:cxn>
                  <a:cxn ang="0">
                    <a:pos x="T4" y="T5"/>
                  </a:cxn>
                  <a:cxn ang="0">
                    <a:pos x="T6" y="T7"/>
                  </a:cxn>
                </a:cxnLst>
                <a:rect l="0" t="0" r="r" b="b"/>
                <a:pathLst>
                  <a:path w="9" h="3">
                    <a:moveTo>
                      <a:pt x="8" y="0"/>
                    </a:moveTo>
                    <a:cubicBezTo>
                      <a:pt x="6" y="0"/>
                      <a:pt x="2" y="2"/>
                      <a:pt x="0" y="3"/>
                    </a:cubicBezTo>
                    <a:cubicBezTo>
                      <a:pt x="3" y="2"/>
                      <a:pt x="6"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7" name="Freeform 170">
                <a:extLst>
                  <a:ext uri="{FF2B5EF4-FFF2-40B4-BE49-F238E27FC236}">
                    <a16:creationId xmlns:a16="http://schemas.microsoft.com/office/drawing/2014/main" id="{C54A8E51-71AB-4C5B-B108-43D57FA97AEE}"/>
                  </a:ext>
                </a:extLst>
              </p:cNvPr>
              <p:cNvSpPr>
                <a:spLocks/>
              </p:cNvSpPr>
              <p:nvPr/>
            </p:nvSpPr>
            <p:spPr bwMode="auto">
              <a:xfrm>
                <a:off x="5168" y="2063"/>
                <a:ext cx="19" cy="5"/>
              </a:xfrm>
              <a:custGeom>
                <a:avLst/>
                <a:gdLst>
                  <a:gd name="T0" fmla="*/ 4 w 8"/>
                  <a:gd name="T1" fmla="*/ 0 h 2"/>
                  <a:gd name="T2" fmla="*/ 2 w 8"/>
                  <a:gd name="T3" fmla="*/ 0 h 2"/>
                  <a:gd name="T4" fmla="*/ 1 w 8"/>
                  <a:gd name="T5" fmla="*/ 2 h 2"/>
                  <a:gd name="T6" fmla="*/ 8 w 8"/>
                  <a:gd name="T7" fmla="*/ 0 h 2"/>
                  <a:gd name="T8" fmla="*/ 4 w 8"/>
                  <a:gd name="T9" fmla="*/ 0 h 2"/>
                </a:gdLst>
                <a:ahLst/>
                <a:cxnLst>
                  <a:cxn ang="0">
                    <a:pos x="T0" y="T1"/>
                  </a:cxn>
                  <a:cxn ang="0">
                    <a:pos x="T2" y="T3"/>
                  </a:cxn>
                  <a:cxn ang="0">
                    <a:pos x="T4" y="T5"/>
                  </a:cxn>
                  <a:cxn ang="0">
                    <a:pos x="T6" y="T7"/>
                  </a:cxn>
                  <a:cxn ang="0">
                    <a:pos x="T8" y="T9"/>
                  </a:cxn>
                </a:cxnLst>
                <a:rect l="0" t="0" r="r" b="b"/>
                <a:pathLst>
                  <a:path w="8" h="2">
                    <a:moveTo>
                      <a:pt x="4" y="0"/>
                    </a:moveTo>
                    <a:cubicBezTo>
                      <a:pt x="4" y="0"/>
                      <a:pt x="3" y="0"/>
                      <a:pt x="2" y="0"/>
                    </a:cubicBezTo>
                    <a:cubicBezTo>
                      <a:pt x="0" y="2"/>
                      <a:pt x="0" y="2"/>
                      <a:pt x="1" y="2"/>
                    </a:cubicBezTo>
                    <a:cubicBezTo>
                      <a:pt x="3" y="2"/>
                      <a:pt x="7" y="1"/>
                      <a:pt x="8" y="0"/>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8" name="Freeform 171">
                <a:extLst>
                  <a:ext uri="{FF2B5EF4-FFF2-40B4-BE49-F238E27FC236}">
                    <a16:creationId xmlns:a16="http://schemas.microsoft.com/office/drawing/2014/main" id="{2938BEA3-7BF8-494D-A4BF-0621FA9A183D}"/>
                  </a:ext>
                </a:extLst>
              </p:cNvPr>
              <p:cNvSpPr>
                <a:spLocks/>
              </p:cNvSpPr>
              <p:nvPr/>
            </p:nvSpPr>
            <p:spPr bwMode="auto">
              <a:xfrm>
                <a:off x="5726" y="3466"/>
                <a:ext cx="52" cy="61"/>
              </a:xfrm>
              <a:custGeom>
                <a:avLst/>
                <a:gdLst>
                  <a:gd name="T0" fmla="*/ 4 w 22"/>
                  <a:gd name="T1" fmla="*/ 0 h 26"/>
                  <a:gd name="T2" fmla="*/ 0 w 22"/>
                  <a:gd name="T3" fmla="*/ 1 h 26"/>
                  <a:gd name="T4" fmla="*/ 1 w 22"/>
                  <a:gd name="T5" fmla="*/ 1 h 26"/>
                  <a:gd name="T6" fmla="*/ 6 w 22"/>
                  <a:gd name="T7" fmla="*/ 2 h 26"/>
                  <a:gd name="T8" fmla="*/ 12 w 22"/>
                  <a:gd name="T9" fmla="*/ 5 h 26"/>
                  <a:gd name="T10" fmla="*/ 16 w 22"/>
                  <a:gd name="T11" fmla="*/ 9 h 26"/>
                  <a:gd name="T12" fmla="*/ 17 w 22"/>
                  <a:gd name="T13" fmla="*/ 9 h 26"/>
                  <a:gd name="T14" fmla="*/ 18 w 22"/>
                  <a:gd name="T15" fmla="*/ 9 h 26"/>
                  <a:gd name="T16" fmla="*/ 18 w 22"/>
                  <a:gd name="T17" fmla="*/ 9 h 26"/>
                  <a:gd name="T18" fmla="*/ 18 w 22"/>
                  <a:gd name="T19" fmla="*/ 11 h 26"/>
                  <a:gd name="T20" fmla="*/ 13 w 22"/>
                  <a:gd name="T21" fmla="*/ 23 h 26"/>
                  <a:gd name="T22" fmla="*/ 17 w 22"/>
                  <a:gd name="T23" fmla="*/ 26 h 26"/>
                  <a:gd name="T24" fmla="*/ 21 w 22"/>
                  <a:gd name="T25" fmla="*/ 16 h 26"/>
                  <a:gd name="T26" fmla="*/ 22 w 22"/>
                  <a:gd name="T27" fmla="*/ 16 h 26"/>
                  <a:gd name="T28" fmla="*/ 20 w 22"/>
                  <a:gd name="T29" fmla="*/ 10 h 26"/>
                  <a:gd name="T30" fmla="*/ 15 w 22"/>
                  <a:gd name="T31" fmla="*/ 7 h 26"/>
                  <a:gd name="T32" fmla="*/ 16 w 22"/>
                  <a:gd name="T33" fmla="*/ 6 h 26"/>
                  <a:gd name="T34" fmla="*/ 10 w 22"/>
                  <a:gd name="T35" fmla="*/ 1 h 26"/>
                  <a:gd name="T36" fmla="*/ 4 w 22"/>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4" y="0"/>
                    </a:moveTo>
                    <a:cubicBezTo>
                      <a:pt x="2" y="0"/>
                      <a:pt x="1" y="0"/>
                      <a:pt x="0" y="1"/>
                    </a:cubicBezTo>
                    <a:cubicBezTo>
                      <a:pt x="1" y="1"/>
                      <a:pt x="1" y="1"/>
                      <a:pt x="1" y="1"/>
                    </a:cubicBezTo>
                    <a:cubicBezTo>
                      <a:pt x="3" y="1"/>
                      <a:pt x="4" y="1"/>
                      <a:pt x="6" y="2"/>
                    </a:cubicBezTo>
                    <a:cubicBezTo>
                      <a:pt x="10" y="2"/>
                      <a:pt x="10" y="2"/>
                      <a:pt x="12" y="5"/>
                    </a:cubicBezTo>
                    <a:cubicBezTo>
                      <a:pt x="13" y="6"/>
                      <a:pt x="15" y="8"/>
                      <a:pt x="16" y="9"/>
                    </a:cubicBezTo>
                    <a:cubicBezTo>
                      <a:pt x="17" y="9"/>
                      <a:pt x="17" y="9"/>
                      <a:pt x="17" y="9"/>
                    </a:cubicBezTo>
                    <a:cubicBezTo>
                      <a:pt x="18" y="9"/>
                      <a:pt x="18" y="9"/>
                      <a:pt x="18" y="9"/>
                    </a:cubicBezTo>
                    <a:cubicBezTo>
                      <a:pt x="18" y="9"/>
                      <a:pt x="18" y="9"/>
                      <a:pt x="18" y="9"/>
                    </a:cubicBezTo>
                    <a:cubicBezTo>
                      <a:pt x="18" y="9"/>
                      <a:pt x="18" y="9"/>
                      <a:pt x="18" y="11"/>
                    </a:cubicBezTo>
                    <a:cubicBezTo>
                      <a:pt x="19" y="14"/>
                      <a:pt x="16" y="21"/>
                      <a:pt x="13" y="23"/>
                    </a:cubicBezTo>
                    <a:cubicBezTo>
                      <a:pt x="14" y="24"/>
                      <a:pt x="16" y="25"/>
                      <a:pt x="17" y="26"/>
                    </a:cubicBezTo>
                    <a:cubicBezTo>
                      <a:pt x="18" y="24"/>
                      <a:pt x="17" y="16"/>
                      <a:pt x="21" y="16"/>
                    </a:cubicBezTo>
                    <a:cubicBezTo>
                      <a:pt x="21" y="16"/>
                      <a:pt x="21" y="16"/>
                      <a:pt x="22" y="16"/>
                    </a:cubicBezTo>
                    <a:cubicBezTo>
                      <a:pt x="22" y="14"/>
                      <a:pt x="21" y="11"/>
                      <a:pt x="20" y="10"/>
                    </a:cubicBezTo>
                    <a:cubicBezTo>
                      <a:pt x="19" y="8"/>
                      <a:pt x="16" y="9"/>
                      <a:pt x="15" y="7"/>
                    </a:cubicBezTo>
                    <a:cubicBezTo>
                      <a:pt x="16" y="6"/>
                      <a:pt x="16" y="6"/>
                      <a:pt x="16" y="6"/>
                    </a:cubicBezTo>
                    <a:cubicBezTo>
                      <a:pt x="13" y="6"/>
                      <a:pt x="12" y="3"/>
                      <a:pt x="10" y="1"/>
                    </a:cubicBezTo>
                    <a:cubicBezTo>
                      <a:pt x="9"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9" name="Freeform 172">
                <a:extLst>
                  <a:ext uri="{FF2B5EF4-FFF2-40B4-BE49-F238E27FC236}">
                    <a16:creationId xmlns:a16="http://schemas.microsoft.com/office/drawing/2014/main" id="{0B149AC6-53F7-45A7-AF77-50C037D1B764}"/>
                  </a:ext>
                </a:extLst>
              </p:cNvPr>
              <p:cNvSpPr>
                <a:spLocks/>
              </p:cNvSpPr>
              <p:nvPr/>
            </p:nvSpPr>
            <p:spPr bwMode="auto">
              <a:xfrm>
                <a:off x="5700" y="3568"/>
                <a:ext cx="40" cy="54"/>
              </a:xfrm>
              <a:custGeom>
                <a:avLst/>
                <a:gdLst>
                  <a:gd name="T0" fmla="*/ 5 w 17"/>
                  <a:gd name="T1" fmla="*/ 0 h 23"/>
                  <a:gd name="T2" fmla="*/ 4 w 17"/>
                  <a:gd name="T3" fmla="*/ 9 h 23"/>
                  <a:gd name="T4" fmla="*/ 3 w 17"/>
                  <a:gd name="T5" fmla="*/ 12 h 23"/>
                  <a:gd name="T6" fmla="*/ 5 w 17"/>
                  <a:gd name="T7" fmla="*/ 16 h 23"/>
                  <a:gd name="T8" fmla="*/ 2 w 17"/>
                  <a:gd name="T9" fmla="*/ 13 h 23"/>
                  <a:gd name="T10" fmla="*/ 0 w 17"/>
                  <a:gd name="T11" fmla="*/ 14 h 23"/>
                  <a:gd name="T12" fmla="*/ 5 w 17"/>
                  <a:gd name="T13" fmla="*/ 18 h 23"/>
                  <a:gd name="T14" fmla="*/ 8 w 17"/>
                  <a:gd name="T15" fmla="*/ 20 h 23"/>
                  <a:gd name="T16" fmla="*/ 9 w 17"/>
                  <a:gd name="T17" fmla="*/ 23 h 23"/>
                  <a:gd name="T18" fmla="*/ 10 w 17"/>
                  <a:gd name="T19" fmla="*/ 23 h 23"/>
                  <a:gd name="T20" fmla="*/ 13 w 17"/>
                  <a:gd name="T21" fmla="*/ 19 h 23"/>
                  <a:gd name="T22" fmla="*/ 16 w 17"/>
                  <a:gd name="T23" fmla="*/ 18 h 23"/>
                  <a:gd name="T24" fmla="*/ 14 w 17"/>
                  <a:gd name="T25" fmla="*/ 10 h 23"/>
                  <a:gd name="T26" fmla="*/ 5 w 17"/>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3">
                    <a:moveTo>
                      <a:pt x="5" y="0"/>
                    </a:moveTo>
                    <a:cubicBezTo>
                      <a:pt x="5" y="4"/>
                      <a:pt x="6" y="6"/>
                      <a:pt x="4" y="9"/>
                    </a:cubicBezTo>
                    <a:cubicBezTo>
                      <a:pt x="4" y="10"/>
                      <a:pt x="3" y="11"/>
                      <a:pt x="3" y="12"/>
                    </a:cubicBezTo>
                    <a:cubicBezTo>
                      <a:pt x="4" y="14"/>
                      <a:pt x="6" y="14"/>
                      <a:pt x="5" y="16"/>
                    </a:cubicBezTo>
                    <a:cubicBezTo>
                      <a:pt x="4" y="15"/>
                      <a:pt x="3" y="14"/>
                      <a:pt x="2" y="13"/>
                    </a:cubicBezTo>
                    <a:cubicBezTo>
                      <a:pt x="2" y="13"/>
                      <a:pt x="0" y="14"/>
                      <a:pt x="0" y="14"/>
                    </a:cubicBezTo>
                    <a:cubicBezTo>
                      <a:pt x="0" y="16"/>
                      <a:pt x="3" y="17"/>
                      <a:pt x="5" y="18"/>
                    </a:cubicBezTo>
                    <a:cubicBezTo>
                      <a:pt x="6" y="19"/>
                      <a:pt x="7" y="19"/>
                      <a:pt x="8" y="20"/>
                    </a:cubicBezTo>
                    <a:cubicBezTo>
                      <a:pt x="8" y="21"/>
                      <a:pt x="8" y="23"/>
                      <a:pt x="9" y="23"/>
                    </a:cubicBezTo>
                    <a:cubicBezTo>
                      <a:pt x="9" y="23"/>
                      <a:pt x="9" y="23"/>
                      <a:pt x="10" y="23"/>
                    </a:cubicBezTo>
                    <a:cubicBezTo>
                      <a:pt x="11" y="22"/>
                      <a:pt x="12" y="20"/>
                      <a:pt x="13" y="19"/>
                    </a:cubicBezTo>
                    <a:cubicBezTo>
                      <a:pt x="14" y="19"/>
                      <a:pt x="16" y="19"/>
                      <a:pt x="16" y="18"/>
                    </a:cubicBezTo>
                    <a:cubicBezTo>
                      <a:pt x="17" y="16"/>
                      <a:pt x="15" y="11"/>
                      <a:pt x="14" y="10"/>
                    </a:cubicBezTo>
                    <a:cubicBezTo>
                      <a:pt x="11" y="4"/>
                      <a:pt x="11"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0" name="Freeform 173">
                <a:extLst>
                  <a:ext uri="{FF2B5EF4-FFF2-40B4-BE49-F238E27FC236}">
                    <a16:creationId xmlns:a16="http://schemas.microsoft.com/office/drawing/2014/main" id="{35D2B1CA-11D3-4612-A44D-6D221AA1C57B}"/>
                  </a:ext>
                </a:extLst>
              </p:cNvPr>
              <p:cNvSpPr>
                <a:spLocks/>
              </p:cNvSpPr>
              <p:nvPr/>
            </p:nvSpPr>
            <p:spPr bwMode="auto">
              <a:xfrm>
                <a:off x="5752" y="3577"/>
                <a:ext cx="9" cy="2"/>
              </a:xfrm>
              <a:custGeom>
                <a:avLst/>
                <a:gdLst>
                  <a:gd name="T0" fmla="*/ 4 w 4"/>
                  <a:gd name="T1" fmla="*/ 0 h 1"/>
                  <a:gd name="T2" fmla="*/ 0 w 4"/>
                  <a:gd name="T3" fmla="*/ 1 h 1"/>
                  <a:gd name="T4" fmla="*/ 1 w 4"/>
                  <a:gd name="T5" fmla="*/ 1 h 1"/>
                  <a:gd name="T6" fmla="*/ 4 w 4"/>
                  <a:gd name="T7" fmla="*/ 0 h 1"/>
                </a:gdLst>
                <a:ahLst/>
                <a:cxnLst>
                  <a:cxn ang="0">
                    <a:pos x="T0" y="T1"/>
                  </a:cxn>
                  <a:cxn ang="0">
                    <a:pos x="T2" y="T3"/>
                  </a:cxn>
                  <a:cxn ang="0">
                    <a:pos x="T4" y="T5"/>
                  </a:cxn>
                  <a:cxn ang="0">
                    <a:pos x="T6" y="T7"/>
                  </a:cxn>
                </a:cxnLst>
                <a:rect l="0" t="0" r="r" b="b"/>
                <a:pathLst>
                  <a:path w="4" h="1">
                    <a:moveTo>
                      <a:pt x="4" y="0"/>
                    </a:moveTo>
                    <a:cubicBezTo>
                      <a:pt x="3" y="0"/>
                      <a:pt x="2" y="1"/>
                      <a:pt x="0" y="1"/>
                    </a:cubicBezTo>
                    <a:cubicBezTo>
                      <a:pt x="0" y="1"/>
                      <a:pt x="0" y="1"/>
                      <a:pt x="1" y="1"/>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1" name="Freeform 174">
                <a:extLst>
                  <a:ext uri="{FF2B5EF4-FFF2-40B4-BE49-F238E27FC236}">
                    <a16:creationId xmlns:a16="http://schemas.microsoft.com/office/drawing/2014/main" id="{0195CD52-F658-4C25-9B27-3833E43D108A}"/>
                  </a:ext>
                </a:extLst>
              </p:cNvPr>
              <p:cNvSpPr>
                <a:spLocks/>
              </p:cNvSpPr>
              <p:nvPr/>
            </p:nvSpPr>
            <p:spPr bwMode="auto">
              <a:xfrm>
                <a:off x="5669" y="3475"/>
                <a:ext cx="62" cy="17"/>
              </a:xfrm>
              <a:custGeom>
                <a:avLst/>
                <a:gdLst>
                  <a:gd name="T0" fmla="*/ 9 w 26"/>
                  <a:gd name="T1" fmla="*/ 0 h 7"/>
                  <a:gd name="T2" fmla="*/ 9 w 26"/>
                  <a:gd name="T3" fmla="*/ 0 h 7"/>
                  <a:gd name="T4" fmla="*/ 4 w 26"/>
                  <a:gd name="T5" fmla="*/ 5 h 7"/>
                  <a:gd name="T6" fmla="*/ 3 w 26"/>
                  <a:gd name="T7" fmla="*/ 4 h 7"/>
                  <a:gd name="T8" fmla="*/ 0 w 26"/>
                  <a:gd name="T9" fmla="*/ 2 h 7"/>
                  <a:gd name="T10" fmla="*/ 6 w 26"/>
                  <a:gd name="T11" fmla="*/ 7 h 7"/>
                  <a:gd name="T12" fmla="*/ 17 w 26"/>
                  <a:gd name="T13" fmla="*/ 4 h 7"/>
                  <a:gd name="T14" fmla="*/ 22 w 26"/>
                  <a:gd name="T15" fmla="*/ 3 h 7"/>
                  <a:gd name="T16" fmla="*/ 22 w 26"/>
                  <a:gd name="T17" fmla="*/ 3 h 7"/>
                  <a:gd name="T18" fmla="*/ 23 w 26"/>
                  <a:gd name="T19" fmla="*/ 3 h 7"/>
                  <a:gd name="T20" fmla="*/ 24 w 26"/>
                  <a:gd name="T21" fmla="*/ 3 h 7"/>
                  <a:gd name="T22" fmla="*/ 25 w 26"/>
                  <a:gd name="T23" fmla="*/ 0 h 7"/>
                  <a:gd name="T24" fmla="*/ 15 w 26"/>
                  <a:gd name="T25" fmla="*/ 2 h 7"/>
                  <a:gd name="T26" fmla="*/ 12 w 26"/>
                  <a:gd name="T27" fmla="*/ 1 h 7"/>
                  <a:gd name="T28" fmla="*/ 9 w 26"/>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7">
                    <a:moveTo>
                      <a:pt x="9" y="0"/>
                    </a:moveTo>
                    <a:cubicBezTo>
                      <a:pt x="9" y="0"/>
                      <a:pt x="9" y="0"/>
                      <a:pt x="9" y="0"/>
                    </a:cubicBezTo>
                    <a:cubicBezTo>
                      <a:pt x="7" y="0"/>
                      <a:pt x="6" y="5"/>
                      <a:pt x="4" y="5"/>
                    </a:cubicBezTo>
                    <a:cubicBezTo>
                      <a:pt x="3" y="4"/>
                      <a:pt x="3" y="4"/>
                      <a:pt x="3" y="4"/>
                    </a:cubicBezTo>
                    <a:cubicBezTo>
                      <a:pt x="2" y="4"/>
                      <a:pt x="1" y="2"/>
                      <a:pt x="0" y="2"/>
                    </a:cubicBezTo>
                    <a:cubicBezTo>
                      <a:pt x="2" y="4"/>
                      <a:pt x="4" y="5"/>
                      <a:pt x="6" y="7"/>
                    </a:cubicBezTo>
                    <a:cubicBezTo>
                      <a:pt x="10" y="6"/>
                      <a:pt x="13" y="4"/>
                      <a:pt x="17" y="4"/>
                    </a:cubicBezTo>
                    <a:cubicBezTo>
                      <a:pt x="18" y="3"/>
                      <a:pt x="20" y="3"/>
                      <a:pt x="22" y="3"/>
                    </a:cubicBezTo>
                    <a:cubicBezTo>
                      <a:pt x="22" y="3"/>
                      <a:pt x="22" y="3"/>
                      <a:pt x="22" y="3"/>
                    </a:cubicBezTo>
                    <a:cubicBezTo>
                      <a:pt x="23" y="3"/>
                      <a:pt x="23" y="3"/>
                      <a:pt x="23" y="3"/>
                    </a:cubicBezTo>
                    <a:cubicBezTo>
                      <a:pt x="24" y="3"/>
                      <a:pt x="24" y="3"/>
                      <a:pt x="24" y="3"/>
                    </a:cubicBezTo>
                    <a:cubicBezTo>
                      <a:pt x="25" y="3"/>
                      <a:pt x="26" y="3"/>
                      <a:pt x="25" y="0"/>
                    </a:cubicBezTo>
                    <a:cubicBezTo>
                      <a:pt x="22" y="1"/>
                      <a:pt x="18" y="2"/>
                      <a:pt x="15" y="2"/>
                    </a:cubicBezTo>
                    <a:cubicBezTo>
                      <a:pt x="14" y="2"/>
                      <a:pt x="13" y="2"/>
                      <a:pt x="12" y="1"/>
                    </a:cubicBezTo>
                    <a:cubicBezTo>
                      <a:pt x="11"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2" name="Freeform 175">
                <a:extLst>
                  <a:ext uri="{FF2B5EF4-FFF2-40B4-BE49-F238E27FC236}">
                    <a16:creationId xmlns:a16="http://schemas.microsoft.com/office/drawing/2014/main" id="{1D765D2E-E636-4639-A0DF-74CA90E37236}"/>
                  </a:ext>
                </a:extLst>
              </p:cNvPr>
              <p:cNvSpPr>
                <a:spLocks/>
              </p:cNvSpPr>
              <p:nvPr/>
            </p:nvSpPr>
            <p:spPr bwMode="auto">
              <a:xfrm>
                <a:off x="5816" y="3565"/>
                <a:ext cx="11" cy="36"/>
              </a:xfrm>
              <a:custGeom>
                <a:avLst/>
                <a:gdLst>
                  <a:gd name="T0" fmla="*/ 0 w 5"/>
                  <a:gd name="T1" fmla="*/ 0 h 15"/>
                  <a:gd name="T2" fmla="*/ 4 w 5"/>
                  <a:gd name="T3" fmla="*/ 3 h 15"/>
                  <a:gd name="T4" fmla="*/ 2 w 5"/>
                  <a:gd name="T5" fmla="*/ 9 h 15"/>
                  <a:gd name="T6" fmla="*/ 3 w 5"/>
                  <a:gd name="T7" fmla="*/ 9 h 15"/>
                  <a:gd name="T8" fmla="*/ 1 w 5"/>
                  <a:gd name="T9" fmla="*/ 11 h 15"/>
                  <a:gd name="T10" fmla="*/ 0 w 5"/>
                  <a:gd name="T11" fmla="*/ 11 h 15"/>
                  <a:gd name="T12" fmla="*/ 3 w 5"/>
                  <a:gd name="T13" fmla="*/ 15 h 15"/>
                  <a:gd name="T14" fmla="*/ 4 w 5"/>
                  <a:gd name="T15" fmla="*/ 7 h 15"/>
                  <a:gd name="T16" fmla="*/ 0 w 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5">
                    <a:moveTo>
                      <a:pt x="0" y="0"/>
                    </a:moveTo>
                    <a:cubicBezTo>
                      <a:pt x="1" y="2"/>
                      <a:pt x="3" y="2"/>
                      <a:pt x="4" y="3"/>
                    </a:cubicBezTo>
                    <a:cubicBezTo>
                      <a:pt x="5" y="6"/>
                      <a:pt x="2" y="7"/>
                      <a:pt x="2" y="9"/>
                    </a:cubicBezTo>
                    <a:cubicBezTo>
                      <a:pt x="3" y="9"/>
                      <a:pt x="3" y="9"/>
                      <a:pt x="3" y="9"/>
                    </a:cubicBezTo>
                    <a:cubicBezTo>
                      <a:pt x="3" y="10"/>
                      <a:pt x="2" y="11"/>
                      <a:pt x="1" y="11"/>
                    </a:cubicBezTo>
                    <a:cubicBezTo>
                      <a:pt x="1" y="11"/>
                      <a:pt x="0" y="11"/>
                      <a:pt x="0" y="11"/>
                    </a:cubicBezTo>
                    <a:cubicBezTo>
                      <a:pt x="2" y="12"/>
                      <a:pt x="2" y="13"/>
                      <a:pt x="3" y="15"/>
                    </a:cubicBezTo>
                    <a:cubicBezTo>
                      <a:pt x="4" y="12"/>
                      <a:pt x="4" y="9"/>
                      <a:pt x="4" y="7"/>
                    </a:cubicBezTo>
                    <a:cubicBezTo>
                      <a:pt x="4" y="3"/>
                      <a:pt x="5"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3" name="Freeform 176">
                <a:extLst>
                  <a:ext uri="{FF2B5EF4-FFF2-40B4-BE49-F238E27FC236}">
                    <a16:creationId xmlns:a16="http://schemas.microsoft.com/office/drawing/2014/main" id="{E671446B-B01E-4A37-A1A0-762BD5E078E2}"/>
                  </a:ext>
                </a:extLst>
              </p:cNvPr>
              <p:cNvSpPr>
                <a:spLocks/>
              </p:cNvSpPr>
              <p:nvPr/>
            </p:nvSpPr>
            <p:spPr bwMode="auto">
              <a:xfrm>
                <a:off x="5846" y="3598"/>
                <a:ext cx="24" cy="33"/>
              </a:xfrm>
              <a:custGeom>
                <a:avLst/>
                <a:gdLst>
                  <a:gd name="T0" fmla="*/ 0 w 10"/>
                  <a:gd name="T1" fmla="*/ 0 h 14"/>
                  <a:gd name="T2" fmla="*/ 4 w 10"/>
                  <a:gd name="T3" fmla="*/ 5 h 14"/>
                  <a:gd name="T4" fmla="*/ 7 w 10"/>
                  <a:gd name="T5" fmla="*/ 14 h 14"/>
                  <a:gd name="T6" fmla="*/ 8 w 10"/>
                  <a:gd name="T7" fmla="*/ 9 h 14"/>
                  <a:gd name="T8" fmla="*/ 0 w 10"/>
                  <a:gd name="T9" fmla="*/ 0 h 14"/>
                </a:gdLst>
                <a:ahLst/>
                <a:cxnLst>
                  <a:cxn ang="0">
                    <a:pos x="T0" y="T1"/>
                  </a:cxn>
                  <a:cxn ang="0">
                    <a:pos x="T2" y="T3"/>
                  </a:cxn>
                  <a:cxn ang="0">
                    <a:pos x="T4" y="T5"/>
                  </a:cxn>
                  <a:cxn ang="0">
                    <a:pos x="T6" y="T7"/>
                  </a:cxn>
                  <a:cxn ang="0">
                    <a:pos x="T8" y="T9"/>
                  </a:cxn>
                </a:cxnLst>
                <a:rect l="0" t="0" r="r" b="b"/>
                <a:pathLst>
                  <a:path w="10" h="14">
                    <a:moveTo>
                      <a:pt x="0" y="0"/>
                    </a:moveTo>
                    <a:cubicBezTo>
                      <a:pt x="0" y="1"/>
                      <a:pt x="4" y="4"/>
                      <a:pt x="4" y="5"/>
                    </a:cubicBezTo>
                    <a:cubicBezTo>
                      <a:pt x="6" y="8"/>
                      <a:pt x="9" y="10"/>
                      <a:pt x="7" y="14"/>
                    </a:cubicBezTo>
                    <a:cubicBezTo>
                      <a:pt x="10" y="11"/>
                      <a:pt x="10" y="11"/>
                      <a:pt x="8" y="9"/>
                    </a:cubicBezTo>
                    <a:cubicBezTo>
                      <a:pt x="6" y="6"/>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4" name="Freeform 177">
                <a:extLst>
                  <a:ext uri="{FF2B5EF4-FFF2-40B4-BE49-F238E27FC236}">
                    <a16:creationId xmlns:a16="http://schemas.microsoft.com/office/drawing/2014/main" id="{05BCDB17-6F16-4B70-8706-A2369723AA8C}"/>
                  </a:ext>
                </a:extLst>
              </p:cNvPr>
              <p:cNvSpPr>
                <a:spLocks/>
              </p:cNvSpPr>
              <p:nvPr/>
            </p:nvSpPr>
            <p:spPr bwMode="auto">
              <a:xfrm>
                <a:off x="6159" y="4284"/>
                <a:ext cx="9" cy="12"/>
              </a:xfrm>
              <a:custGeom>
                <a:avLst/>
                <a:gdLst>
                  <a:gd name="T0" fmla="*/ 0 w 4"/>
                  <a:gd name="T1" fmla="*/ 0 h 5"/>
                  <a:gd name="T2" fmla="*/ 1 w 4"/>
                  <a:gd name="T3" fmla="*/ 3 h 5"/>
                  <a:gd name="T4" fmla="*/ 4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1" y="1"/>
                      <a:pt x="1" y="2"/>
                      <a:pt x="1" y="3"/>
                    </a:cubicBezTo>
                    <a:cubicBezTo>
                      <a:pt x="2" y="4"/>
                      <a:pt x="3" y="4"/>
                      <a:pt x="4"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5" name="Freeform 178">
                <a:extLst>
                  <a:ext uri="{FF2B5EF4-FFF2-40B4-BE49-F238E27FC236}">
                    <a16:creationId xmlns:a16="http://schemas.microsoft.com/office/drawing/2014/main" id="{505DF8FC-6862-4122-9CC5-02B86590CE8D}"/>
                  </a:ext>
                </a:extLst>
              </p:cNvPr>
              <p:cNvSpPr>
                <a:spLocks/>
              </p:cNvSpPr>
              <p:nvPr/>
            </p:nvSpPr>
            <p:spPr bwMode="auto">
              <a:xfrm>
                <a:off x="6492" y="4386"/>
                <a:ext cx="5" cy="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6" name="Freeform 179">
                <a:extLst>
                  <a:ext uri="{FF2B5EF4-FFF2-40B4-BE49-F238E27FC236}">
                    <a16:creationId xmlns:a16="http://schemas.microsoft.com/office/drawing/2014/main" id="{9B843B6D-72C5-4170-BFC6-0A18A05F4934}"/>
                  </a:ext>
                </a:extLst>
              </p:cNvPr>
              <p:cNvSpPr>
                <a:spLocks/>
              </p:cNvSpPr>
              <p:nvPr/>
            </p:nvSpPr>
            <p:spPr bwMode="auto">
              <a:xfrm>
                <a:off x="6414" y="4377"/>
                <a:ext cx="9" cy="4"/>
              </a:xfrm>
              <a:custGeom>
                <a:avLst/>
                <a:gdLst>
                  <a:gd name="T0" fmla="*/ 2 w 4"/>
                  <a:gd name="T1" fmla="*/ 0 h 2"/>
                  <a:gd name="T2" fmla="*/ 0 w 4"/>
                  <a:gd name="T3" fmla="*/ 1 h 2"/>
                  <a:gd name="T4" fmla="*/ 3 w 4"/>
                  <a:gd name="T5" fmla="*/ 2 h 2"/>
                  <a:gd name="T6" fmla="*/ 4 w 4"/>
                  <a:gd name="T7" fmla="*/ 0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cubicBezTo>
                      <a:pt x="1" y="0"/>
                      <a:pt x="0" y="0"/>
                      <a:pt x="0" y="1"/>
                    </a:cubicBezTo>
                    <a:cubicBezTo>
                      <a:pt x="1" y="1"/>
                      <a:pt x="2" y="2"/>
                      <a:pt x="3" y="2"/>
                    </a:cubicBezTo>
                    <a:cubicBezTo>
                      <a:pt x="3" y="1"/>
                      <a:pt x="4" y="1"/>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7" name="Freeform 180">
                <a:extLst>
                  <a:ext uri="{FF2B5EF4-FFF2-40B4-BE49-F238E27FC236}">
                    <a16:creationId xmlns:a16="http://schemas.microsoft.com/office/drawing/2014/main" id="{55009465-CC4F-4285-8FCC-6D81537F24C4}"/>
                  </a:ext>
                </a:extLst>
              </p:cNvPr>
              <p:cNvSpPr>
                <a:spLocks/>
              </p:cNvSpPr>
              <p:nvPr/>
            </p:nvSpPr>
            <p:spPr bwMode="auto">
              <a:xfrm>
                <a:off x="6471" y="4365"/>
                <a:ext cx="33" cy="16"/>
              </a:xfrm>
              <a:custGeom>
                <a:avLst/>
                <a:gdLst>
                  <a:gd name="T0" fmla="*/ 11 w 14"/>
                  <a:gd name="T1" fmla="*/ 0 h 7"/>
                  <a:gd name="T2" fmla="*/ 6 w 14"/>
                  <a:gd name="T3" fmla="*/ 4 h 7"/>
                  <a:gd name="T4" fmla="*/ 6 w 14"/>
                  <a:gd name="T5" fmla="*/ 4 h 7"/>
                  <a:gd name="T6" fmla="*/ 4 w 14"/>
                  <a:gd name="T7" fmla="*/ 3 h 7"/>
                  <a:gd name="T8" fmla="*/ 2 w 14"/>
                  <a:gd name="T9" fmla="*/ 2 h 7"/>
                  <a:gd name="T10" fmla="*/ 0 w 14"/>
                  <a:gd name="T11" fmla="*/ 3 h 7"/>
                  <a:gd name="T12" fmla="*/ 7 w 14"/>
                  <a:gd name="T13" fmla="*/ 7 h 7"/>
                  <a:gd name="T14" fmla="*/ 13 w 14"/>
                  <a:gd name="T15" fmla="*/ 5 h 7"/>
                  <a:gd name="T16" fmla="*/ 11 w 1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11" y="0"/>
                    </a:moveTo>
                    <a:cubicBezTo>
                      <a:pt x="10" y="1"/>
                      <a:pt x="8" y="4"/>
                      <a:pt x="6" y="4"/>
                    </a:cubicBezTo>
                    <a:cubicBezTo>
                      <a:pt x="6" y="4"/>
                      <a:pt x="6" y="4"/>
                      <a:pt x="6" y="4"/>
                    </a:cubicBezTo>
                    <a:cubicBezTo>
                      <a:pt x="5" y="4"/>
                      <a:pt x="4" y="3"/>
                      <a:pt x="4" y="3"/>
                    </a:cubicBezTo>
                    <a:cubicBezTo>
                      <a:pt x="4" y="2"/>
                      <a:pt x="3" y="2"/>
                      <a:pt x="2" y="2"/>
                    </a:cubicBezTo>
                    <a:cubicBezTo>
                      <a:pt x="2" y="2"/>
                      <a:pt x="1" y="2"/>
                      <a:pt x="0" y="3"/>
                    </a:cubicBezTo>
                    <a:cubicBezTo>
                      <a:pt x="2" y="4"/>
                      <a:pt x="5" y="6"/>
                      <a:pt x="7" y="7"/>
                    </a:cubicBezTo>
                    <a:cubicBezTo>
                      <a:pt x="9" y="6"/>
                      <a:pt x="12" y="7"/>
                      <a:pt x="13" y="5"/>
                    </a:cubicBezTo>
                    <a:cubicBezTo>
                      <a:pt x="14" y="4"/>
                      <a:pt x="13"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8" name="Freeform 181">
                <a:extLst>
                  <a:ext uri="{FF2B5EF4-FFF2-40B4-BE49-F238E27FC236}">
                    <a16:creationId xmlns:a16="http://schemas.microsoft.com/office/drawing/2014/main" id="{020B5A05-F5F2-4BCB-A0E3-AC5A9629EA72}"/>
                  </a:ext>
                </a:extLst>
              </p:cNvPr>
              <p:cNvSpPr>
                <a:spLocks/>
              </p:cNvSpPr>
              <p:nvPr/>
            </p:nvSpPr>
            <p:spPr bwMode="auto">
              <a:xfrm>
                <a:off x="5172" y="3972"/>
                <a:ext cx="12" cy="17"/>
              </a:xfrm>
              <a:custGeom>
                <a:avLst/>
                <a:gdLst>
                  <a:gd name="T0" fmla="*/ 4 w 5"/>
                  <a:gd name="T1" fmla="*/ 0 h 7"/>
                  <a:gd name="T2" fmla="*/ 0 w 5"/>
                  <a:gd name="T3" fmla="*/ 7 h 7"/>
                  <a:gd name="T4" fmla="*/ 1 w 5"/>
                  <a:gd name="T5" fmla="*/ 6 h 7"/>
                  <a:gd name="T6" fmla="*/ 2 w 5"/>
                  <a:gd name="T7" fmla="*/ 5 h 7"/>
                  <a:gd name="T8" fmla="*/ 3 w 5"/>
                  <a:gd name="T9" fmla="*/ 4 h 7"/>
                  <a:gd name="T10" fmla="*/ 4 w 5"/>
                  <a:gd name="T11" fmla="*/ 1 h 7"/>
                  <a:gd name="T12" fmla="*/ 4 w 5"/>
                  <a:gd name="T13" fmla="*/ 1 h 7"/>
                  <a:gd name="T14" fmla="*/ 4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4" y="0"/>
                    </a:moveTo>
                    <a:cubicBezTo>
                      <a:pt x="3" y="2"/>
                      <a:pt x="2" y="5"/>
                      <a:pt x="0" y="7"/>
                    </a:cubicBezTo>
                    <a:cubicBezTo>
                      <a:pt x="1" y="6"/>
                      <a:pt x="1" y="6"/>
                      <a:pt x="1" y="6"/>
                    </a:cubicBezTo>
                    <a:cubicBezTo>
                      <a:pt x="2" y="5"/>
                      <a:pt x="2" y="5"/>
                      <a:pt x="2" y="5"/>
                    </a:cubicBezTo>
                    <a:cubicBezTo>
                      <a:pt x="2" y="5"/>
                      <a:pt x="3" y="4"/>
                      <a:pt x="3" y="4"/>
                    </a:cubicBezTo>
                    <a:cubicBezTo>
                      <a:pt x="4" y="3"/>
                      <a:pt x="4" y="2"/>
                      <a:pt x="4" y="1"/>
                    </a:cubicBezTo>
                    <a:cubicBezTo>
                      <a:pt x="4" y="1"/>
                      <a:pt x="4" y="1"/>
                      <a:pt x="4" y="1"/>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9" name="Freeform 182">
                <a:extLst>
                  <a:ext uri="{FF2B5EF4-FFF2-40B4-BE49-F238E27FC236}">
                    <a16:creationId xmlns:a16="http://schemas.microsoft.com/office/drawing/2014/main" id="{126E7764-B8A6-45B3-9F3D-D079D07CBD24}"/>
                  </a:ext>
                </a:extLst>
              </p:cNvPr>
              <p:cNvSpPr>
                <a:spLocks/>
              </p:cNvSpPr>
              <p:nvPr/>
            </p:nvSpPr>
            <p:spPr bwMode="auto">
              <a:xfrm>
                <a:off x="4953" y="3305"/>
                <a:ext cx="16" cy="5"/>
              </a:xfrm>
              <a:custGeom>
                <a:avLst/>
                <a:gdLst>
                  <a:gd name="T0" fmla="*/ 3 w 7"/>
                  <a:gd name="T1" fmla="*/ 0 h 2"/>
                  <a:gd name="T2" fmla="*/ 0 w 7"/>
                  <a:gd name="T3" fmla="*/ 1 h 2"/>
                  <a:gd name="T4" fmla="*/ 7 w 7"/>
                  <a:gd name="T5" fmla="*/ 2 h 2"/>
                  <a:gd name="T6" fmla="*/ 5 w 7"/>
                  <a:gd name="T7" fmla="*/ 1 h 2"/>
                  <a:gd name="T8" fmla="*/ 3 w 7"/>
                  <a:gd name="T9" fmla="*/ 0 h 2"/>
                </a:gdLst>
                <a:ahLst/>
                <a:cxnLst>
                  <a:cxn ang="0">
                    <a:pos x="T0" y="T1"/>
                  </a:cxn>
                  <a:cxn ang="0">
                    <a:pos x="T2" y="T3"/>
                  </a:cxn>
                  <a:cxn ang="0">
                    <a:pos x="T4" y="T5"/>
                  </a:cxn>
                  <a:cxn ang="0">
                    <a:pos x="T6" y="T7"/>
                  </a:cxn>
                  <a:cxn ang="0">
                    <a:pos x="T8" y="T9"/>
                  </a:cxn>
                </a:cxnLst>
                <a:rect l="0" t="0" r="r" b="b"/>
                <a:pathLst>
                  <a:path w="7" h="2">
                    <a:moveTo>
                      <a:pt x="3" y="0"/>
                    </a:moveTo>
                    <a:cubicBezTo>
                      <a:pt x="2" y="0"/>
                      <a:pt x="1" y="1"/>
                      <a:pt x="0" y="1"/>
                    </a:cubicBezTo>
                    <a:cubicBezTo>
                      <a:pt x="3" y="2"/>
                      <a:pt x="5" y="2"/>
                      <a:pt x="7" y="2"/>
                    </a:cubicBezTo>
                    <a:cubicBezTo>
                      <a:pt x="7" y="2"/>
                      <a:pt x="6" y="1"/>
                      <a:pt x="5"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0" name="Freeform 183">
                <a:extLst>
                  <a:ext uri="{FF2B5EF4-FFF2-40B4-BE49-F238E27FC236}">
                    <a16:creationId xmlns:a16="http://schemas.microsoft.com/office/drawing/2014/main" id="{6A689F83-006E-44DD-9087-D6E58F57AAD4}"/>
                  </a:ext>
                </a:extLst>
              </p:cNvPr>
              <p:cNvSpPr>
                <a:spLocks/>
              </p:cNvSpPr>
              <p:nvPr/>
            </p:nvSpPr>
            <p:spPr bwMode="auto">
              <a:xfrm>
                <a:off x="4666" y="3492"/>
                <a:ext cx="5" cy="24"/>
              </a:xfrm>
              <a:custGeom>
                <a:avLst/>
                <a:gdLst>
                  <a:gd name="T0" fmla="*/ 0 w 2"/>
                  <a:gd name="T1" fmla="*/ 0 h 10"/>
                  <a:gd name="T2" fmla="*/ 0 w 2"/>
                  <a:gd name="T3" fmla="*/ 0 h 10"/>
                  <a:gd name="T4" fmla="*/ 0 w 2"/>
                  <a:gd name="T5" fmla="*/ 0 h 10"/>
                  <a:gd name="T6" fmla="*/ 2 w 2"/>
                  <a:gd name="T7" fmla="*/ 10 h 10"/>
                  <a:gd name="T8" fmla="*/ 2 w 2"/>
                  <a:gd name="T9" fmla="*/ 6 h 10"/>
                  <a:gd name="T10" fmla="*/ 1 w 2"/>
                  <a:gd name="T11" fmla="*/ 5 h 10"/>
                  <a:gd name="T12" fmla="*/ 1 w 2"/>
                  <a:gd name="T13" fmla="*/ 3 h 10"/>
                  <a:gd name="T14" fmla="*/ 0 w 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0" y="0"/>
                    </a:moveTo>
                    <a:cubicBezTo>
                      <a:pt x="0" y="0"/>
                      <a:pt x="0" y="0"/>
                      <a:pt x="0" y="0"/>
                    </a:cubicBezTo>
                    <a:cubicBezTo>
                      <a:pt x="0" y="0"/>
                      <a:pt x="0" y="0"/>
                      <a:pt x="0" y="0"/>
                    </a:cubicBezTo>
                    <a:cubicBezTo>
                      <a:pt x="1" y="3"/>
                      <a:pt x="1" y="7"/>
                      <a:pt x="2" y="10"/>
                    </a:cubicBezTo>
                    <a:cubicBezTo>
                      <a:pt x="2" y="9"/>
                      <a:pt x="2" y="7"/>
                      <a:pt x="2" y="6"/>
                    </a:cubicBezTo>
                    <a:cubicBezTo>
                      <a:pt x="2" y="6"/>
                      <a:pt x="1" y="5"/>
                      <a:pt x="1" y="5"/>
                    </a:cubicBezTo>
                    <a:cubicBezTo>
                      <a:pt x="1" y="4"/>
                      <a:pt x="1" y="4"/>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1" name="Freeform 184">
                <a:extLst>
                  <a:ext uri="{FF2B5EF4-FFF2-40B4-BE49-F238E27FC236}">
                    <a16:creationId xmlns:a16="http://schemas.microsoft.com/office/drawing/2014/main" id="{116AD9BE-EBAD-40CD-A8F4-7166E92E2A3C}"/>
                  </a:ext>
                </a:extLst>
              </p:cNvPr>
              <p:cNvSpPr>
                <a:spLocks/>
              </p:cNvSpPr>
              <p:nvPr/>
            </p:nvSpPr>
            <p:spPr bwMode="auto">
              <a:xfrm>
                <a:off x="5135" y="3267"/>
                <a:ext cx="11" cy="3"/>
              </a:xfrm>
              <a:custGeom>
                <a:avLst/>
                <a:gdLst>
                  <a:gd name="T0" fmla="*/ 0 w 5"/>
                  <a:gd name="T1" fmla="*/ 0 h 1"/>
                  <a:gd name="T2" fmla="*/ 4 w 5"/>
                  <a:gd name="T3" fmla="*/ 1 h 1"/>
                  <a:gd name="T4" fmla="*/ 5 w 5"/>
                  <a:gd name="T5" fmla="*/ 1 h 1"/>
                  <a:gd name="T6" fmla="*/ 0 w 5"/>
                  <a:gd name="T7" fmla="*/ 0 h 1"/>
                </a:gdLst>
                <a:ahLst/>
                <a:cxnLst>
                  <a:cxn ang="0">
                    <a:pos x="T0" y="T1"/>
                  </a:cxn>
                  <a:cxn ang="0">
                    <a:pos x="T2" y="T3"/>
                  </a:cxn>
                  <a:cxn ang="0">
                    <a:pos x="T4" y="T5"/>
                  </a:cxn>
                  <a:cxn ang="0">
                    <a:pos x="T6" y="T7"/>
                  </a:cxn>
                </a:cxnLst>
                <a:rect l="0" t="0" r="r" b="b"/>
                <a:pathLst>
                  <a:path w="5" h="1">
                    <a:moveTo>
                      <a:pt x="0" y="0"/>
                    </a:moveTo>
                    <a:cubicBezTo>
                      <a:pt x="1" y="1"/>
                      <a:pt x="2" y="1"/>
                      <a:pt x="4" y="1"/>
                    </a:cubicBezTo>
                    <a:cubicBezTo>
                      <a:pt x="4" y="1"/>
                      <a:pt x="4" y="1"/>
                      <a:pt x="5"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2" name="Freeform 185">
                <a:extLst>
                  <a:ext uri="{FF2B5EF4-FFF2-40B4-BE49-F238E27FC236}">
                    <a16:creationId xmlns:a16="http://schemas.microsoft.com/office/drawing/2014/main" id="{697A4EDC-DB68-4723-AB61-92DDE75385D6}"/>
                  </a:ext>
                </a:extLst>
              </p:cNvPr>
              <p:cNvSpPr>
                <a:spLocks/>
              </p:cNvSpPr>
              <p:nvPr/>
            </p:nvSpPr>
            <p:spPr bwMode="auto">
              <a:xfrm>
                <a:off x="3245" y="2080"/>
                <a:ext cx="10" cy="11"/>
              </a:xfrm>
              <a:custGeom>
                <a:avLst/>
                <a:gdLst>
                  <a:gd name="T0" fmla="*/ 2 w 4"/>
                  <a:gd name="T1" fmla="*/ 0 h 5"/>
                  <a:gd name="T2" fmla="*/ 1 w 4"/>
                  <a:gd name="T3" fmla="*/ 4 h 5"/>
                  <a:gd name="T4" fmla="*/ 4 w 4"/>
                  <a:gd name="T5" fmla="*/ 5 h 5"/>
                  <a:gd name="T6" fmla="*/ 2 w 4"/>
                  <a:gd name="T7" fmla="*/ 0 h 5"/>
                </a:gdLst>
                <a:ahLst/>
                <a:cxnLst>
                  <a:cxn ang="0">
                    <a:pos x="T0" y="T1"/>
                  </a:cxn>
                  <a:cxn ang="0">
                    <a:pos x="T2" y="T3"/>
                  </a:cxn>
                  <a:cxn ang="0">
                    <a:pos x="T4" y="T5"/>
                  </a:cxn>
                  <a:cxn ang="0">
                    <a:pos x="T6" y="T7"/>
                  </a:cxn>
                </a:cxnLst>
                <a:rect l="0" t="0" r="r" b="b"/>
                <a:pathLst>
                  <a:path w="4" h="5">
                    <a:moveTo>
                      <a:pt x="2" y="0"/>
                    </a:moveTo>
                    <a:cubicBezTo>
                      <a:pt x="0" y="2"/>
                      <a:pt x="0" y="3"/>
                      <a:pt x="1" y="4"/>
                    </a:cubicBezTo>
                    <a:cubicBezTo>
                      <a:pt x="2" y="5"/>
                      <a:pt x="3" y="5"/>
                      <a:pt x="4" y="5"/>
                    </a:cubicBezTo>
                    <a:cubicBezTo>
                      <a:pt x="4"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3" name="Freeform 186">
                <a:extLst>
                  <a:ext uri="{FF2B5EF4-FFF2-40B4-BE49-F238E27FC236}">
                    <a16:creationId xmlns:a16="http://schemas.microsoft.com/office/drawing/2014/main" id="{361F9510-31E4-41B8-B25F-48DA8D6CBC0A}"/>
                  </a:ext>
                </a:extLst>
              </p:cNvPr>
              <p:cNvSpPr>
                <a:spLocks/>
              </p:cNvSpPr>
              <p:nvPr/>
            </p:nvSpPr>
            <p:spPr bwMode="auto">
              <a:xfrm>
                <a:off x="3269" y="2096"/>
                <a:ext cx="16" cy="29"/>
              </a:xfrm>
              <a:custGeom>
                <a:avLst/>
                <a:gdLst>
                  <a:gd name="T0" fmla="*/ 4 w 7"/>
                  <a:gd name="T1" fmla="*/ 0 h 12"/>
                  <a:gd name="T2" fmla="*/ 1 w 7"/>
                  <a:gd name="T3" fmla="*/ 2 h 12"/>
                  <a:gd name="T4" fmla="*/ 0 w 7"/>
                  <a:gd name="T5" fmla="*/ 3 h 12"/>
                  <a:gd name="T6" fmla="*/ 0 w 7"/>
                  <a:gd name="T7" fmla="*/ 3 h 12"/>
                  <a:gd name="T8" fmla="*/ 0 w 7"/>
                  <a:gd name="T9" fmla="*/ 4 h 12"/>
                  <a:gd name="T10" fmla="*/ 0 w 7"/>
                  <a:gd name="T11" fmla="*/ 4 h 12"/>
                  <a:gd name="T12" fmla="*/ 1 w 7"/>
                  <a:gd name="T13" fmla="*/ 6 h 12"/>
                  <a:gd name="T14" fmla="*/ 3 w 7"/>
                  <a:gd name="T15" fmla="*/ 7 h 12"/>
                  <a:gd name="T16" fmla="*/ 4 w 7"/>
                  <a:gd name="T17" fmla="*/ 11 h 12"/>
                  <a:gd name="T18" fmla="*/ 6 w 7"/>
                  <a:gd name="T19" fmla="*/ 12 h 12"/>
                  <a:gd name="T20" fmla="*/ 7 w 7"/>
                  <a:gd name="T21" fmla="*/ 12 h 12"/>
                  <a:gd name="T22" fmla="*/ 1 w 7"/>
                  <a:gd name="T23" fmla="*/ 5 h 12"/>
                  <a:gd name="T24" fmla="*/ 1 w 7"/>
                  <a:gd name="T25" fmla="*/ 5 h 12"/>
                  <a:gd name="T26" fmla="*/ 2 w 7"/>
                  <a:gd name="T27" fmla="*/ 4 h 12"/>
                  <a:gd name="T28" fmla="*/ 2 w 7"/>
                  <a:gd name="T29" fmla="*/ 4 h 12"/>
                  <a:gd name="T30" fmla="*/ 4 w 7"/>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12">
                    <a:moveTo>
                      <a:pt x="4" y="0"/>
                    </a:moveTo>
                    <a:cubicBezTo>
                      <a:pt x="3" y="0"/>
                      <a:pt x="1" y="1"/>
                      <a:pt x="1" y="2"/>
                    </a:cubicBezTo>
                    <a:cubicBezTo>
                      <a:pt x="1" y="2"/>
                      <a:pt x="0" y="3"/>
                      <a:pt x="0" y="3"/>
                    </a:cubicBezTo>
                    <a:cubicBezTo>
                      <a:pt x="0" y="3"/>
                      <a:pt x="0" y="3"/>
                      <a:pt x="0" y="3"/>
                    </a:cubicBezTo>
                    <a:cubicBezTo>
                      <a:pt x="0" y="4"/>
                      <a:pt x="0" y="4"/>
                      <a:pt x="0" y="4"/>
                    </a:cubicBezTo>
                    <a:cubicBezTo>
                      <a:pt x="0" y="4"/>
                      <a:pt x="0" y="4"/>
                      <a:pt x="0" y="4"/>
                    </a:cubicBezTo>
                    <a:cubicBezTo>
                      <a:pt x="0" y="5"/>
                      <a:pt x="0" y="5"/>
                      <a:pt x="1" y="6"/>
                    </a:cubicBezTo>
                    <a:cubicBezTo>
                      <a:pt x="1" y="6"/>
                      <a:pt x="2" y="6"/>
                      <a:pt x="3" y="7"/>
                    </a:cubicBezTo>
                    <a:cubicBezTo>
                      <a:pt x="3" y="8"/>
                      <a:pt x="4" y="10"/>
                      <a:pt x="4" y="11"/>
                    </a:cubicBezTo>
                    <a:cubicBezTo>
                      <a:pt x="4" y="11"/>
                      <a:pt x="5" y="12"/>
                      <a:pt x="6" y="12"/>
                    </a:cubicBezTo>
                    <a:cubicBezTo>
                      <a:pt x="6" y="12"/>
                      <a:pt x="6" y="12"/>
                      <a:pt x="7" y="12"/>
                    </a:cubicBezTo>
                    <a:cubicBezTo>
                      <a:pt x="5" y="10"/>
                      <a:pt x="4" y="5"/>
                      <a:pt x="1" y="5"/>
                    </a:cubicBezTo>
                    <a:cubicBezTo>
                      <a:pt x="1" y="5"/>
                      <a:pt x="1" y="5"/>
                      <a:pt x="1" y="5"/>
                    </a:cubicBezTo>
                    <a:cubicBezTo>
                      <a:pt x="2" y="4"/>
                      <a:pt x="2" y="4"/>
                      <a:pt x="2" y="4"/>
                    </a:cubicBezTo>
                    <a:cubicBezTo>
                      <a:pt x="2" y="4"/>
                      <a:pt x="2" y="4"/>
                      <a:pt x="2" y="4"/>
                    </a:cubicBezTo>
                    <a:cubicBezTo>
                      <a:pt x="4" y="3"/>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4" name="Freeform 187">
                <a:extLst>
                  <a:ext uri="{FF2B5EF4-FFF2-40B4-BE49-F238E27FC236}">
                    <a16:creationId xmlns:a16="http://schemas.microsoft.com/office/drawing/2014/main" id="{C1CF078B-15DE-4684-B40D-3B761F71FB12}"/>
                  </a:ext>
                </a:extLst>
              </p:cNvPr>
              <p:cNvSpPr>
                <a:spLocks noEditPoints="1"/>
              </p:cNvSpPr>
              <p:nvPr/>
            </p:nvSpPr>
            <p:spPr bwMode="auto">
              <a:xfrm>
                <a:off x="4785" y="3324"/>
                <a:ext cx="19" cy="14"/>
              </a:xfrm>
              <a:custGeom>
                <a:avLst/>
                <a:gdLst>
                  <a:gd name="T0" fmla="*/ 8 w 8"/>
                  <a:gd name="T1" fmla="*/ 0 h 6"/>
                  <a:gd name="T2" fmla="*/ 7 w 8"/>
                  <a:gd name="T3" fmla="*/ 0 h 6"/>
                  <a:gd name="T4" fmla="*/ 6 w 8"/>
                  <a:gd name="T5" fmla="*/ 1 h 6"/>
                  <a:gd name="T6" fmla="*/ 1 w 8"/>
                  <a:gd name="T7" fmla="*/ 4 h 6"/>
                  <a:gd name="T8" fmla="*/ 0 w 8"/>
                  <a:gd name="T9" fmla="*/ 6 h 6"/>
                  <a:gd name="T10" fmla="*/ 6 w 8"/>
                  <a:gd name="T11" fmla="*/ 1 h 6"/>
                  <a:gd name="T12" fmla="*/ 8 w 8"/>
                  <a:gd name="T13" fmla="*/ 0 h 6"/>
                  <a:gd name="T14" fmla="*/ 8 w 8"/>
                  <a:gd name="T15" fmla="*/ 0 h 6"/>
                  <a:gd name="T16" fmla="*/ 8 w 8"/>
                  <a:gd name="T17" fmla="*/ 0 h 6"/>
                  <a:gd name="T18" fmla="*/ 8 w 8"/>
                  <a:gd name="T19" fmla="*/ 0 h 6"/>
                  <a:gd name="T20" fmla="*/ 8 w 8"/>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
                    <a:moveTo>
                      <a:pt x="8" y="0"/>
                    </a:moveTo>
                    <a:cubicBezTo>
                      <a:pt x="7" y="0"/>
                      <a:pt x="7" y="0"/>
                      <a:pt x="7" y="0"/>
                    </a:cubicBezTo>
                    <a:cubicBezTo>
                      <a:pt x="6" y="1"/>
                      <a:pt x="6" y="1"/>
                      <a:pt x="6" y="1"/>
                    </a:cubicBezTo>
                    <a:cubicBezTo>
                      <a:pt x="5" y="2"/>
                      <a:pt x="3" y="3"/>
                      <a:pt x="1" y="4"/>
                    </a:cubicBezTo>
                    <a:cubicBezTo>
                      <a:pt x="1" y="4"/>
                      <a:pt x="0" y="5"/>
                      <a:pt x="0" y="6"/>
                    </a:cubicBezTo>
                    <a:cubicBezTo>
                      <a:pt x="2" y="4"/>
                      <a:pt x="4" y="3"/>
                      <a:pt x="6" y="1"/>
                    </a:cubicBezTo>
                    <a:cubicBezTo>
                      <a:pt x="7" y="1"/>
                      <a:pt x="7" y="0"/>
                      <a:pt x="8" y="0"/>
                    </a:cubicBezTo>
                    <a:moveTo>
                      <a:pt x="8" y="0"/>
                    </a:moveTo>
                    <a:cubicBezTo>
                      <a:pt x="8" y="0"/>
                      <a:pt x="8" y="0"/>
                      <a:pt x="8" y="0"/>
                    </a:cubicBezTo>
                    <a:cubicBezTo>
                      <a:pt x="8" y="0"/>
                      <a:pt x="8"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5" name="Freeform 188">
                <a:extLst>
                  <a:ext uri="{FF2B5EF4-FFF2-40B4-BE49-F238E27FC236}">
                    <a16:creationId xmlns:a16="http://schemas.microsoft.com/office/drawing/2014/main" id="{30D70DFC-3CEA-4DEE-9886-7AE0DA4C49E1}"/>
                  </a:ext>
                </a:extLst>
              </p:cNvPr>
              <p:cNvSpPr>
                <a:spLocks/>
              </p:cNvSpPr>
              <p:nvPr/>
            </p:nvSpPr>
            <p:spPr bwMode="auto">
              <a:xfrm>
                <a:off x="5494" y="3490"/>
                <a:ext cx="7" cy="7"/>
              </a:xfrm>
              <a:custGeom>
                <a:avLst/>
                <a:gdLst>
                  <a:gd name="T0" fmla="*/ 0 w 3"/>
                  <a:gd name="T1" fmla="*/ 0 h 3"/>
                  <a:gd name="T2" fmla="*/ 2 w 3"/>
                  <a:gd name="T3" fmla="*/ 3 h 3"/>
                  <a:gd name="T4" fmla="*/ 2 w 3"/>
                  <a:gd name="T5" fmla="*/ 3 h 3"/>
                  <a:gd name="T6" fmla="*/ 3 w 3"/>
                  <a:gd name="T7" fmla="*/ 3 h 3"/>
                  <a:gd name="T8" fmla="*/ 3 w 3"/>
                  <a:gd name="T9" fmla="*/ 2 h 3"/>
                  <a:gd name="T10" fmla="*/ 3 w 3"/>
                  <a:gd name="T11" fmla="*/ 2 h 3"/>
                  <a:gd name="T12" fmla="*/ 3 w 3"/>
                  <a:gd name="T13" fmla="*/ 2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cubicBezTo>
                      <a:pt x="0" y="2"/>
                      <a:pt x="1" y="3"/>
                      <a:pt x="2" y="3"/>
                    </a:cubicBezTo>
                    <a:cubicBezTo>
                      <a:pt x="2" y="3"/>
                      <a:pt x="2" y="3"/>
                      <a:pt x="2" y="3"/>
                    </a:cubicBezTo>
                    <a:cubicBezTo>
                      <a:pt x="3" y="3"/>
                      <a:pt x="3" y="3"/>
                      <a:pt x="3" y="3"/>
                    </a:cubicBezTo>
                    <a:cubicBezTo>
                      <a:pt x="3" y="2"/>
                      <a:pt x="3" y="2"/>
                      <a:pt x="3" y="2"/>
                    </a:cubicBezTo>
                    <a:cubicBezTo>
                      <a:pt x="3" y="2"/>
                      <a:pt x="3" y="2"/>
                      <a:pt x="3" y="2"/>
                    </a:cubicBezTo>
                    <a:cubicBezTo>
                      <a:pt x="3" y="2"/>
                      <a:pt x="3"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6" name="Freeform 189">
                <a:extLst>
                  <a:ext uri="{FF2B5EF4-FFF2-40B4-BE49-F238E27FC236}">
                    <a16:creationId xmlns:a16="http://schemas.microsoft.com/office/drawing/2014/main" id="{4231092B-C029-42DF-AE7A-9D0BBE9CCFA7}"/>
                  </a:ext>
                </a:extLst>
              </p:cNvPr>
              <p:cNvSpPr>
                <a:spLocks/>
              </p:cNvSpPr>
              <p:nvPr/>
            </p:nvSpPr>
            <p:spPr bwMode="auto">
              <a:xfrm>
                <a:off x="5161" y="3267"/>
                <a:ext cx="0" cy="3"/>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7" name="Freeform 190">
                <a:extLst>
                  <a:ext uri="{FF2B5EF4-FFF2-40B4-BE49-F238E27FC236}">
                    <a16:creationId xmlns:a16="http://schemas.microsoft.com/office/drawing/2014/main" id="{8CE4AA95-583E-4D76-9136-DD1A6377A4CA}"/>
                  </a:ext>
                </a:extLst>
              </p:cNvPr>
              <p:cNvSpPr>
                <a:spLocks/>
              </p:cNvSpPr>
              <p:nvPr/>
            </p:nvSpPr>
            <p:spPr bwMode="auto">
              <a:xfrm>
                <a:off x="4690" y="3378"/>
                <a:ext cx="24" cy="19"/>
              </a:xfrm>
              <a:custGeom>
                <a:avLst/>
                <a:gdLst>
                  <a:gd name="T0" fmla="*/ 10 w 10"/>
                  <a:gd name="T1" fmla="*/ 0 h 8"/>
                  <a:gd name="T2" fmla="*/ 9 w 10"/>
                  <a:gd name="T3" fmla="*/ 1 h 8"/>
                  <a:gd name="T4" fmla="*/ 8 w 10"/>
                  <a:gd name="T5" fmla="*/ 1 h 8"/>
                  <a:gd name="T6" fmla="*/ 7 w 10"/>
                  <a:gd name="T7" fmla="*/ 2 h 8"/>
                  <a:gd name="T8" fmla="*/ 3 w 10"/>
                  <a:gd name="T9" fmla="*/ 4 h 8"/>
                  <a:gd name="T10" fmla="*/ 1 w 10"/>
                  <a:gd name="T11" fmla="*/ 6 h 8"/>
                  <a:gd name="T12" fmla="*/ 0 w 10"/>
                  <a:gd name="T13" fmla="*/ 8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cubicBezTo>
                      <a:pt x="9" y="1"/>
                      <a:pt x="9" y="1"/>
                      <a:pt x="9" y="1"/>
                    </a:cubicBezTo>
                    <a:cubicBezTo>
                      <a:pt x="8" y="1"/>
                      <a:pt x="8" y="1"/>
                      <a:pt x="8" y="1"/>
                    </a:cubicBezTo>
                    <a:cubicBezTo>
                      <a:pt x="7" y="2"/>
                      <a:pt x="7" y="2"/>
                      <a:pt x="7" y="2"/>
                    </a:cubicBezTo>
                    <a:cubicBezTo>
                      <a:pt x="6" y="2"/>
                      <a:pt x="5" y="3"/>
                      <a:pt x="3" y="4"/>
                    </a:cubicBezTo>
                    <a:cubicBezTo>
                      <a:pt x="2" y="5"/>
                      <a:pt x="2" y="5"/>
                      <a:pt x="1" y="6"/>
                    </a:cubicBezTo>
                    <a:cubicBezTo>
                      <a:pt x="1" y="6"/>
                      <a:pt x="0" y="7"/>
                      <a:pt x="0" y="8"/>
                    </a:cubicBezTo>
                    <a:cubicBezTo>
                      <a:pt x="1" y="8"/>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8" name="Freeform 191">
                <a:extLst>
                  <a:ext uri="{FF2B5EF4-FFF2-40B4-BE49-F238E27FC236}">
                    <a16:creationId xmlns:a16="http://schemas.microsoft.com/office/drawing/2014/main" id="{058ABFE1-9622-4B37-8E55-0A156A554EEB}"/>
                  </a:ext>
                </a:extLst>
              </p:cNvPr>
              <p:cNvSpPr>
                <a:spLocks/>
              </p:cNvSpPr>
              <p:nvPr/>
            </p:nvSpPr>
            <p:spPr bwMode="auto">
              <a:xfrm>
                <a:off x="3255" y="2075"/>
                <a:ext cx="11" cy="7"/>
              </a:xfrm>
              <a:custGeom>
                <a:avLst/>
                <a:gdLst>
                  <a:gd name="T0" fmla="*/ 3 w 5"/>
                  <a:gd name="T1" fmla="*/ 0 h 3"/>
                  <a:gd name="T2" fmla="*/ 1 w 5"/>
                  <a:gd name="T3" fmla="*/ 0 h 3"/>
                  <a:gd name="T4" fmla="*/ 0 w 5"/>
                  <a:gd name="T5" fmla="*/ 2 h 3"/>
                  <a:gd name="T6" fmla="*/ 0 w 5"/>
                  <a:gd name="T7" fmla="*/ 2 h 3"/>
                  <a:gd name="T8" fmla="*/ 3 w 5"/>
                  <a:gd name="T9" fmla="*/ 3 h 3"/>
                  <a:gd name="T10" fmla="*/ 4 w 5"/>
                  <a:gd name="T11" fmla="*/ 3 h 3"/>
                  <a:gd name="T12" fmla="*/ 3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3" y="0"/>
                    </a:moveTo>
                    <a:cubicBezTo>
                      <a:pt x="2" y="0"/>
                      <a:pt x="2" y="0"/>
                      <a:pt x="1" y="0"/>
                    </a:cubicBezTo>
                    <a:cubicBezTo>
                      <a:pt x="1" y="1"/>
                      <a:pt x="0" y="1"/>
                      <a:pt x="0" y="2"/>
                    </a:cubicBezTo>
                    <a:cubicBezTo>
                      <a:pt x="0" y="2"/>
                      <a:pt x="0" y="2"/>
                      <a:pt x="0" y="2"/>
                    </a:cubicBezTo>
                    <a:cubicBezTo>
                      <a:pt x="0" y="2"/>
                      <a:pt x="1" y="3"/>
                      <a:pt x="3" y="3"/>
                    </a:cubicBezTo>
                    <a:cubicBezTo>
                      <a:pt x="3" y="3"/>
                      <a:pt x="4" y="3"/>
                      <a:pt x="4" y="3"/>
                    </a:cubicBezTo>
                    <a:cubicBezTo>
                      <a:pt x="5"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9" name="Rectangle 192">
                <a:extLst>
                  <a:ext uri="{FF2B5EF4-FFF2-40B4-BE49-F238E27FC236}">
                    <a16:creationId xmlns:a16="http://schemas.microsoft.com/office/drawing/2014/main" id="{9BEDD9D5-2150-4EBC-8F8C-33457ED0040A}"/>
                  </a:ext>
                </a:extLst>
              </p:cNvPr>
              <p:cNvSpPr>
                <a:spLocks noChangeArrowheads="1"/>
              </p:cNvSpPr>
              <p:nvPr/>
            </p:nvSpPr>
            <p:spPr bwMode="auto">
              <a:xfrm>
                <a:off x="5109" y="327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0" name="Freeform 193">
                <a:extLst>
                  <a:ext uri="{FF2B5EF4-FFF2-40B4-BE49-F238E27FC236}">
                    <a16:creationId xmlns:a16="http://schemas.microsoft.com/office/drawing/2014/main" id="{61CE2934-A1CD-486E-8CA1-5F4FC4C0D6C9}"/>
                  </a:ext>
                </a:extLst>
              </p:cNvPr>
              <p:cNvSpPr>
                <a:spLocks/>
              </p:cNvSpPr>
              <p:nvPr/>
            </p:nvSpPr>
            <p:spPr bwMode="auto">
              <a:xfrm>
                <a:off x="5109" y="327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1" name="Freeform 194">
                <a:extLst>
                  <a:ext uri="{FF2B5EF4-FFF2-40B4-BE49-F238E27FC236}">
                    <a16:creationId xmlns:a16="http://schemas.microsoft.com/office/drawing/2014/main" id="{10E4E7AA-C196-433E-B536-BC9D18ECA9DC}"/>
                  </a:ext>
                </a:extLst>
              </p:cNvPr>
              <p:cNvSpPr>
                <a:spLocks noEditPoints="1"/>
              </p:cNvSpPr>
              <p:nvPr/>
            </p:nvSpPr>
            <p:spPr bwMode="auto">
              <a:xfrm>
                <a:off x="5229" y="3260"/>
                <a:ext cx="24" cy="2"/>
              </a:xfrm>
              <a:custGeom>
                <a:avLst/>
                <a:gdLst>
                  <a:gd name="T0" fmla="*/ 0 w 10"/>
                  <a:gd name="T1" fmla="*/ 1 h 1"/>
                  <a:gd name="T2" fmla="*/ 0 w 10"/>
                  <a:gd name="T3" fmla="*/ 1 h 1"/>
                  <a:gd name="T4" fmla="*/ 0 w 10"/>
                  <a:gd name="T5" fmla="*/ 1 h 1"/>
                  <a:gd name="T6" fmla="*/ 7 w 10"/>
                  <a:gd name="T7" fmla="*/ 0 h 1"/>
                  <a:gd name="T8" fmla="*/ 0 w 10"/>
                  <a:gd name="T9" fmla="*/ 1 h 1"/>
                  <a:gd name="T10" fmla="*/ 10 w 10"/>
                  <a:gd name="T11" fmla="*/ 0 h 1"/>
                  <a:gd name="T12" fmla="*/ 8 w 10"/>
                  <a:gd name="T13" fmla="*/ 0 h 1"/>
                  <a:gd name="T14" fmla="*/ 7 w 10"/>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
                    <a:moveTo>
                      <a:pt x="0" y="1"/>
                    </a:moveTo>
                    <a:cubicBezTo>
                      <a:pt x="0" y="1"/>
                      <a:pt x="0" y="1"/>
                      <a:pt x="0" y="1"/>
                    </a:cubicBezTo>
                    <a:cubicBezTo>
                      <a:pt x="0" y="1"/>
                      <a:pt x="0" y="1"/>
                      <a:pt x="0" y="1"/>
                    </a:cubicBezTo>
                    <a:moveTo>
                      <a:pt x="7" y="0"/>
                    </a:moveTo>
                    <a:cubicBezTo>
                      <a:pt x="5" y="0"/>
                      <a:pt x="2" y="1"/>
                      <a:pt x="0" y="1"/>
                    </a:cubicBezTo>
                    <a:cubicBezTo>
                      <a:pt x="3" y="0"/>
                      <a:pt x="7" y="0"/>
                      <a:pt x="10" y="0"/>
                    </a:cubicBezTo>
                    <a:cubicBezTo>
                      <a:pt x="10" y="0"/>
                      <a:pt x="9"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2" name="Freeform 195">
                <a:extLst>
                  <a:ext uri="{FF2B5EF4-FFF2-40B4-BE49-F238E27FC236}">
                    <a16:creationId xmlns:a16="http://schemas.microsoft.com/office/drawing/2014/main" id="{FD42F751-6454-48BA-9A6D-14A58CA25E03}"/>
                  </a:ext>
                </a:extLst>
              </p:cNvPr>
              <p:cNvSpPr>
                <a:spLocks/>
              </p:cNvSpPr>
              <p:nvPr/>
            </p:nvSpPr>
            <p:spPr bwMode="auto">
              <a:xfrm>
                <a:off x="5213" y="3262"/>
                <a:ext cx="16" cy="3"/>
              </a:xfrm>
              <a:custGeom>
                <a:avLst/>
                <a:gdLst>
                  <a:gd name="T0" fmla="*/ 7 w 7"/>
                  <a:gd name="T1" fmla="*/ 0 h 1"/>
                  <a:gd name="T2" fmla="*/ 2 w 7"/>
                  <a:gd name="T3" fmla="*/ 0 h 1"/>
                  <a:gd name="T4" fmla="*/ 0 w 7"/>
                  <a:gd name="T5" fmla="*/ 0 h 1"/>
                  <a:gd name="T6" fmla="*/ 2 w 7"/>
                  <a:gd name="T7" fmla="*/ 1 h 1"/>
                  <a:gd name="T8" fmla="*/ 7 w 7"/>
                  <a:gd name="T9" fmla="*/ 0 h 1"/>
                </a:gdLst>
                <a:ahLst/>
                <a:cxnLst>
                  <a:cxn ang="0">
                    <a:pos x="T0" y="T1"/>
                  </a:cxn>
                  <a:cxn ang="0">
                    <a:pos x="T2" y="T3"/>
                  </a:cxn>
                  <a:cxn ang="0">
                    <a:pos x="T4" y="T5"/>
                  </a:cxn>
                  <a:cxn ang="0">
                    <a:pos x="T6" y="T7"/>
                  </a:cxn>
                  <a:cxn ang="0">
                    <a:pos x="T8" y="T9"/>
                  </a:cxn>
                </a:cxnLst>
                <a:rect l="0" t="0" r="r" b="b"/>
                <a:pathLst>
                  <a:path w="7" h="1">
                    <a:moveTo>
                      <a:pt x="7" y="0"/>
                    </a:moveTo>
                    <a:cubicBezTo>
                      <a:pt x="5" y="0"/>
                      <a:pt x="3" y="0"/>
                      <a:pt x="2" y="0"/>
                    </a:cubicBezTo>
                    <a:cubicBezTo>
                      <a:pt x="1" y="0"/>
                      <a:pt x="1" y="0"/>
                      <a:pt x="0" y="0"/>
                    </a:cubicBezTo>
                    <a:cubicBezTo>
                      <a:pt x="1" y="1"/>
                      <a:pt x="1" y="1"/>
                      <a:pt x="2" y="1"/>
                    </a:cubicBezTo>
                    <a:cubicBezTo>
                      <a:pt x="3" y="1"/>
                      <a:pt x="5"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3" name="Freeform 196">
                <a:extLst>
                  <a:ext uri="{FF2B5EF4-FFF2-40B4-BE49-F238E27FC236}">
                    <a16:creationId xmlns:a16="http://schemas.microsoft.com/office/drawing/2014/main" id="{FC7574E5-C21B-41FF-B7F8-7F208C96550C}"/>
                  </a:ext>
                </a:extLst>
              </p:cNvPr>
              <p:cNvSpPr>
                <a:spLocks noEditPoints="1"/>
              </p:cNvSpPr>
              <p:nvPr/>
            </p:nvSpPr>
            <p:spPr bwMode="auto">
              <a:xfrm>
                <a:off x="4716" y="3376"/>
                <a:ext cx="5" cy="2"/>
              </a:xfrm>
              <a:custGeom>
                <a:avLst/>
                <a:gdLst>
                  <a:gd name="T0" fmla="*/ 1 w 2"/>
                  <a:gd name="T1" fmla="*/ 1 h 1"/>
                  <a:gd name="T2" fmla="*/ 0 w 2"/>
                  <a:gd name="T3" fmla="*/ 1 h 1"/>
                  <a:gd name="T4" fmla="*/ 1 w 2"/>
                  <a:gd name="T5" fmla="*/ 1 h 1"/>
                  <a:gd name="T6" fmla="*/ 2 w 2"/>
                  <a:gd name="T7" fmla="*/ 0 h 1"/>
                  <a:gd name="T8" fmla="*/ 1 w 2"/>
                  <a:gd name="T9" fmla="*/ 1 h 1"/>
                  <a:gd name="T10" fmla="*/ 2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0" y="1"/>
                      <a:pt x="0" y="1"/>
                    </a:cubicBezTo>
                    <a:cubicBezTo>
                      <a:pt x="0" y="1"/>
                      <a:pt x="1" y="1"/>
                      <a:pt x="1" y="1"/>
                    </a:cubicBezTo>
                    <a:moveTo>
                      <a:pt x="2" y="0"/>
                    </a:moveTo>
                    <a:cubicBezTo>
                      <a:pt x="2" y="0"/>
                      <a:pt x="1" y="0"/>
                      <a:pt x="1" y="1"/>
                    </a:cubicBezTo>
                    <a:cubicBezTo>
                      <a:pt x="1" y="0"/>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4" name="Freeform 197">
                <a:extLst>
                  <a:ext uri="{FF2B5EF4-FFF2-40B4-BE49-F238E27FC236}">
                    <a16:creationId xmlns:a16="http://schemas.microsoft.com/office/drawing/2014/main" id="{0F0AEC97-4C82-41B8-AB7F-C2FBFF0DD87D}"/>
                  </a:ext>
                </a:extLst>
              </p:cNvPr>
              <p:cNvSpPr>
                <a:spLocks/>
              </p:cNvSpPr>
              <p:nvPr/>
            </p:nvSpPr>
            <p:spPr bwMode="auto">
              <a:xfrm>
                <a:off x="4659" y="3442"/>
                <a:ext cx="3" cy="7"/>
              </a:xfrm>
              <a:custGeom>
                <a:avLst/>
                <a:gdLst>
                  <a:gd name="T0" fmla="*/ 1 w 1"/>
                  <a:gd name="T1" fmla="*/ 0 h 3"/>
                  <a:gd name="T2" fmla="*/ 0 w 1"/>
                  <a:gd name="T3" fmla="*/ 2 h 3"/>
                  <a:gd name="T4" fmla="*/ 0 w 1"/>
                  <a:gd name="T5" fmla="*/ 2 h 3"/>
                  <a:gd name="T6" fmla="*/ 0 w 1"/>
                  <a:gd name="T7" fmla="*/ 2 h 3"/>
                  <a:gd name="T8" fmla="*/ 0 w 1"/>
                  <a:gd name="T9" fmla="*/ 3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1" y="1"/>
                      <a:pt x="1" y="1"/>
                      <a:pt x="0" y="2"/>
                    </a:cubicBezTo>
                    <a:cubicBezTo>
                      <a:pt x="0" y="2"/>
                      <a:pt x="0" y="2"/>
                      <a:pt x="0" y="2"/>
                    </a:cubicBezTo>
                    <a:cubicBezTo>
                      <a:pt x="0" y="2"/>
                      <a:pt x="0" y="2"/>
                      <a:pt x="0" y="2"/>
                    </a:cubicBezTo>
                    <a:cubicBezTo>
                      <a:pt x="0" y="3"/>
                      <a:pt x="0" y="3"/>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5" name="Freeform 198">
                <a:extLst>
                  <a:ext uri="{FF2B5EF4-FFF2-40B4-BE49-F238E27FC236}">
                    <a16:creationId xmlns:a16="http://schemas.microsoft.com/office/drawing/2014/main" id="{60AC2BB0-351D-46FE-9560-6A8DF3D6510A}"/>
                  </a:ext>
                </a:extLst>
              </p:cNvPr>
              <p:cNvSpPr>
                <a:spLocks/>
              </p:cNvSpPr>
              <p:nvPr/>
            </p:nvSpPr>
            <p:spPr bwMode="auto">
              <a:xfrm>
                <a:off x="4659" y="3447"/>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6" name="Freeform 199">
                <a:extLst>
                  <a:ext uri="{FF2B5EF4-FFF2-40B4-BE49-F238E27FC236}">
                    <a16:creationId xmlns:a16="http://schemas.microsoft.com/office/drawing/2014/main" id="{8A6786C9-406D-4C20-85B4-CE200503E492}"/>
                  </a:ext>
                </a:extLst>
              </p:cNvPr>
              <p:cNvSpPr>
                <a:spLocks/>
              </p:cNvSpPr>
              <p:nvPr/>
            </p:nvSpPr>
            <p:spPr bwMode="auto">
              <a:xfrm>
                <a:off x="4659" y="3447"/>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7" name="Freeform 200">
                <a:extLst>
                  <a:ext uri="{FF2B5EF4-FFF2-40B4-BE49-F238E27FC236}">
                    <a16:creationId xmlns:a16="http://schemas.microsoft.com/office/drawing/2014/main" id="{3BE52DF4-1BDE-4961-AD96-17D2F2DEA5AC}"/>
                  </a:ext>
                </a:extLst>
              </p:cNvPr>
              <p:cNvSpPr>
                <a:spLocks/>
              </p:cNvSpPr>
              <p:nvPr/>
            </p:nvSpPr>
            <p:spPr bwMode="auto">
              <a:xfrm>
                <a:off x="4662" y="3414"/>
                <a:ext cx="16" cy="28"/>
              </a:xfrm>
              <a:custGeom>
                <a:avLst/>
                <a:gdLst>
                  <a:gd name="T0" fmla="*/ 7 w 7"/>
                  <a:gd name="T1" fmla="*/ 0 h 12"/>
                  <a:gd name="T2" fmla="*/ 0 w 7"/>
                  <a:gd name="T3" fmla="*/ 12 h 12"/>
                  <a:gd name="T4" fmla="*/ 7 w 7"/>
                  <a:gd name="T5" fmla="*/ 0 h 12"/>
                </a:gdLst>
                <a:ahLst/>
                <a:cxnLst>
                  <a:cxn ang="0">
                    <a:pos x="T0" y="T1"/>
                  </a:cxn>
                  <a:cxn ang="0">
                    <a:pos x="T2" y="T3"/>
                  </a:cxn>
                  <a:cxn ang="0">
                    <a:pos x="T4" y="T5"/>
                  </a:cxn>
                </a:cxnLst>
                <a:rect l="0" t="0" r="r" b="b"/>
                <a:pathLst>
                  <a:path w="7" h="12">
                    <a:moveTo>
                      <a:pt x="7" y="0"/>
                    </a:moveTo>
                    <a:cubicBezTo>
                      <a:pt x="4" y="4"/>
                      <a:pt x="2" y="8"/>
                      <a:pt x="0" y="12"/>
                    </a:cubicBezTo>
                    <a:cubicBezTo>
                      <a:pt x="2" y="8"/>
                      <a:pt x="4"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8" name="Freeform 201">
                <a:extLst>
                  <a:ext uri="{FF2B5EF4-FFF2-40B4-BE49-F238E27FC236}">
                    <a16:creationId xmlns:a16="http://schemas.microsoft.com/office/drawing/2014/main" id="{E4EAF63C-53CA-4251-97B6-4621A41A606F}"/>
                  </a:ext>
                </a:extLst>
              </p:cNvPr>
              <p:cNvSpPr>
                <a:spLocks/>
              </p:cNvSpPr>
              <p:nvPr/>
            </p:nvSpPr>
            <p:spPr bwMode="auto">
              <a:xfrm>
                <a:off x="5582" y="3561"/>
                <a:ext cx="16" cy="21"/>
              </a:xfrm>
              <a:custGeom>
                <a:avLst/>
                <a:gdLst>
                  <a:gd name="T0" fmla="*/ 7 w 7"/>
                  <a:gd name="T1" fmla="*/ 0 h 9"/>
                  <a:gd name="T2" fmla="*/ 2 w 7"/>
                  <a:gd name="T3" fmla="*/ 7 h 9"/>
                  <a:gd name="T4" fmla="*/ 0 w 7"/>
                  <a:gd name="T5" fmla="*/ 8 h 9"/>
                  <a:gd name="T6" fmla="*/ 0 w 7"/>
                  <a:gd name="T7" fmla="*/ 9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cubicBezTo>
                      <a:pt x="5" y="2"/>
                      <a:pt x="4" y="4"/>
                      <a:pt x="2" y="7"/>
                    </a:cubicBezTo>
                    <a:cubicBezTo>
                      <a:pt x="1" y="7"/>
                      <a:pt x="1" y="8"/>
                      <a:pt x="0" y="8"/>
                    </a:cubicBezTo>
                    <a:cubicBezTo>
                      <a:pt x="0" y="9"/>
                      <a:pt x="0" y="9"/>
                      <a:pt x="0" y="9"/>
                    </a:cubicBezTo>
                    <a:cubicBezTo>
                      <a:pt x="3" y="7"/>
                      <a:pt x="5"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9" name="Freeform 202">
                <a:extLst>
                  <a:ext uri="{FF2B5EF4-FFF2-40B4-BE49-F238E27FC236}">
                    <a16:creationId xmlns:a16="http://schemas.microsoft.com/office/drawing/2014/main" id="{0CEFAADC-0A12-4242-B5B9-BF039ADEBA87}"/>
                  </a:ext>
                </a:extLst>
              </p:cNvPr>
              <p:cNvSpPr>
                <a:spLocks/>
              </p:cNvSpPr>
              <p:nvPr/>
            </p:nvSpPr>
            <p:spPr bwMode="auto">
              <a:xfrm>
                <a:off x="3929" y="3572"/>
                <a:ext cx="9" cy="15"/>
              </a:xfrm>
              <a:custGeom>
                <a:avLst/>
                <a:gdLst>
                  <a:gd name="T0" fmla="*/ 0 w 4"/>
                  <a:gd name="T1" fmla="*/ 0 h 6"/>
                  <a:gd name="T2" fmla="*/ 2 w 4"/>
                  <a:gd name="T3" fmla="*/ 5 h 6"/>
                  <a:gd name="T4" fmla="*/ 3 w 4"/>
                  <a:gd name="T5" fmla="*/ 6 h 6"/>
                  <a:gd name="T6" fmla="*/ 3 w 4"/>
                  <a:gd name="T7" fmla="*/ 6 h 6"/>
                  <a:gd name="T8" fmla="*/ 3 w 4"/>
                  <a:gd name="T9" fmla="*/ 6 h 6"/>
                  <a:gd name="T10" fmla="*/ 4 w 4"/>
                  <a:gd name="T11" fmla="*/ 6 h 6"/>
                  <a:gd name="T12" fmla="*/ 0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0"/>
                    </a:moveTo>
                    <a:cubicBezTo>
                      <a:pt x="1" y="3"/>
                      <a:pt x="1" y="4"/>
                      <a:pt x="2" y="5"/>
                    </a:cubicBezTo>
                    <a:cubicBezTo>
                      <a:pt x="2" y="6"/>
                      <a:pt x="3" y="6"/>
                      <a:pt x="3" y="6"/>
                    </a:cubicBezTo>
                    <a:cubicBezTo>
                      <a:pt x="3" y="6"/>
                      <a:pt x="3" y="6"/>
                      <a:pt x="3" y="6"/>
                    </a:cubicBezTo>
                    <a:cubicBezTo>
                      <a:pt x="3" y="6"/>
                      <a:pt x="3" y="6"/>
                      <a:pt x="3" y="6"/>
                    </a:cubicBezTo>
                    <a:cubicBezTo>
                      <a:pt x="3" y="6"/>
                      <a:pt x="3" y="6"/>
                      <a:pt x="4" y="6"/>
                    </a:cubicBezTo>
                    <a:cubicBezTo>
                      <a:pt x="3"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0" name="Freeform 203">
                <a:extLst>
                  <a:ext uri="{FF2B5EF4-FFF2-40B4-BE49-F238E27FC236}">
                    <a16:creationId xmlns:a16="http://schemas.microsoft.com/office/drawing/2014/main" id="{8B8D2958-80EF-4B1F-9F35-E306000427BF}"/>
                  </a:ext>
                </a:extLst>
              </p:cNvPr>
              <p:cNvSpPr>
                <a:spLocks/>
              </p:cNvSpPr>
              <p:nvPr/>
            </p:nvSpPr>
            <p:spPr bwMode="auto">
              <a:xfrm>
                <a:off x="3974" y="3617"/>
                <a:ext cx="4" cy="12"/>
              </a:xfrm>
              <a:custGeom>
                <a:avLst/>
                <a:gdLst>
                  <a:gd name="T0" fmla="*/ 0 w 2"/>
                  <a:gd name="T1" fmla="*/ 0 h 5"/>
                  <a:gd name="T2" fmla="*/ 2 w 2"/>
                  <a:gd name="T3" fmla="*/ 5 h 5"/>
                  <a:gd name="T4" fmla="*/ 0 w 2"/>
                  <a:gd name="T5" fmla="*/ 0 h 5"/>
                </a:gdLst>
                <a:ahLst/>
                <a:cxnLst>
                  <a:cxn ang="0">
                    <a:pos x="T0" y="T1"/>
                  </a:cxn>
                  <a:cxn ang="0">
                    <a:pos x="T2" y="T3"/>
                  </a:cxn>
                  <a:cxn ang="0">
                    <a:pos x="T4" y="T5"/>
                  </a:cxn>
                </a:cxnLst>
                <a:rect l="0" t="0" r="r" b="b"/>
                <a:pathLst>
                  <a:path w="2" h="5">
                    <a:moveTo>
                      <a:pt x="0" y="0"/>
                    </a:moveTo>
                    <a:cubicBezTo>
                      <a:pt x="0" y="2"/>
                      <a:pt x="1" y="4"/>
                      <a:pt x="2" y="5"/>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1" name="Freeform 204">
                <a:extLst>
                  <a:ext uri="{FF2B5EF4-FFF2-40B4-BE49-F238E27FC236}">
                    <a16:creationId xmlns:a16="http://schemas.microsoft.com/office/drawing/2014/main" id="{1F269861-B843-4C8F-9F9C-49C2686047DD}"/>
                  </a:ext>
                </a:extLst>
              </p:cNvPr>
              <p:cNvSpPr>
                <a:spLocks/>
              </p:cNvSpPr>
              <p:nvPr/>
            </p:nvSpPr>
            <p:spPr bwMode="auto">
              <a:xfrm>
                <a:off x="5227" y="3835"/>
                <a:ext cx="16" cy="19"/>
              </a:xfrm>
              <a:custGeom>
                <a:avLst/>
                <a:gdLst>
                  <a:gd name="T0" fmla="*/ 7 w 7"/>
                  <a:gd name="T1" fmla="*/ 0 h 8"/>
                  <a:gd name="T2" fmla="*/ 6 w 7"/>
                  <a:gd name="T3" fmla="*/ 0 h 8"/>
                  <a:gd name="T4" fmla="*/ 6 w 7"/>
                  <a:gd name="T5" fmla="*/ 1 h 8"/>
                  <a:gd name="T6" fmla="*/ 3 w 7"/>
                  <a:gd name="T7" fmla="*/ 1 h 8"/>
                  <a:gd name="T8" fmla="*/ 2 w 7"/>
                  <a:gd name="T9" fmla="*/ 1 h 8"/>
                  <a:gd name="T10" fmla="*/ 1 w 7"/>
                  <a:gd name="T11" fmla="*/ 8 h 8"/>
                  <a:gd name="T12" fmla="*/ 6 w 7"/>
                  <a:gd name="T13" fmla="*/ 1 h 8"/>
                  <a:gd name="T14" fmla="*/ 7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7" y="0"/>
                    </a:moveTo>
                    <a:cubicBezTo>
                      <a:pt x="6" y="0"/>
                      <a:pt x="6" y="0"/>
                      <a:pt x="6" y="0"/>
                    </a:cubicBezTo>
                    <a:cubicBezTo>
                      <a:pt x="6" y="1"/>
                      <a:pt x="6" y="1"/>
                      <a:pt x="6" y="1"/>
                    </a:cubicBezTo>
                    <a:cubicBezTo>
                      <a:pt x="5" y="1"/>
                      <a:pt x="4" y="1"/>
                      <a:pt x="3" y="1"/>
                    </a:cubicBezTo>
                    <a:cubicBezTo>
                      <a:pt x="3" y="1"/>
                      <a:pt x="3" y="1"/>
                      <a:pt x="2" y="1"/>
                    </a:cubicBezTo>
                    <a:cubicBezTo>
                      <a:pt x="0" y="3"/>
                      <a:pt x="0" y="6"/>
                      <a:pt x="1" y="8"/>
                    </a:cubicBezTo>
                    <a:cubicBezTo>
                      <a:pt x="3" y="6"/>
                      <a:pt x="5" y="3"/>
                      <a:pt x="6" y="1"/>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2" name="Freeform 205">
                <a:extLst>
                  <a:ext uri="{FF2B5EF4-FFF2-40B4-BE49-F238E27FC236}">
                    <a16:creationId xmlns:a16="http://schemas.microsoft.com/office/drawing/2014/main" id="{90764046-B152-4AC0-9D13-B0A321255F9A}"/>
                  </a:ext>
                </a:extLst>
              </p:cNvPr>
              <p:cNvSpPr>
                <a:spLocks/>
              </p:cNvSpPr>
              <p:nvPr/>
            </p:nvSpPr>
            <p:spPr bwMode="auto">
              <a:xfrm>
                <a:off x="3948" y="3608"/>
                <a:ext cx="2" cy="7"/>
              </a:xfrm>
              <a:custGeom>
                <a:avLst/>
                <a:gdLst>
                  <a:gd name="T0" fmla="*/ 0 w 1"/>
                  <a:gd name="T1" fmla="*/ 0 h 3"/>
                  <a:gd name="T2" fmla="*/ 0 w 1"/>
                  <a:gd name="T3" fmla="*/ 0 h 3"/>
                  <a:gd name="T4" fmla="*/ 1 w 1"/>
                  <a:gd name="T5" fmla="*/ 3 h 3"/>
                  <a:gd name="T6" fmla="*/ 1 w 1"/>
                  <a:gd name="T7" fmla="*/ 0 h 3"/>
                  <a:gd name="T8" fmla="*/ 1 w 1"/>
                  <a:gd name="T9" fmla="*/ 0 h 3"/>
                  <a:gd name="T10" fmla="*/ 1 w 1"/>
                  <a:gd name="T11" fmla="*/ 0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cubicBezTo>
                      <a:pt x="0" y="0"/>
                      <a:pt x="0" y="0"/>
                      <a:pt x="0" y="0"/>
                    </a:cubicBezTo>
                    <a:cubicBezTo>
                      <a:pt x="0" y="0"/>
                      <a:pt x="0" y="2"/>
                      <a:pt x="1" y="3"/>
                    </a:cubicBezTo>
                    <a:cubicBezTo>
                      <a:pt x="1" y="2"/>
                      <a:pt x="1" y="1"/>
                      <a:pt x="1" y="0"/>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3" name="Freeform 206">
                <a:extLst>
                  <a:ext uri="{FF2B5EF4-FFF2-40B4-BE49-F238E27FC236}">
                    <a16:creationId xmlns:a16="http://schemas.microsoft.com/office/drawing/2014/main" id="{A3FAF8F7-7DAB-406D-B328-B40E5A7DD9A1}"/>
                  </a:ext>
                </a:extLst>
              </p:cNvPr>
              <p:cNvSpPr>
                <a:spLocks/>
              </p:cNvSpPr>
              <p:nvPr/>
            </p:nvSpPr>
            <p:spPr bwMode="auto">
              <a:xfrm>
                <a:off x="3810" y="3362"/>
                <a:ext cx="5" cy="7"/>
              </a:xfrm>
              <a:custGeom>
                <a:avLst/>
                <a:gdLst>
                  <a:gd name="T0" fmla="*/ 0 w 2"/>
                  <a:gd name="T1" fmla="*/ 0 h 3"/>
                  <a:gd name="T2" fmla="*/ 2 w 2"/>
                  <a:gd name="T3" fmla="*/ 3 h 3"/>
                  <a:gd name="T4" fmla="*/ 1 w 2"/>
                  <a:gd name="T5" fmla="*/ 1 h 3"/>
                  <a:gd name="T6" fmla="*/ 1 w 2"/>
                  <a:gd name="T7" fmla="*/ 1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1" y="1"/>
                      <a:pt x="1" y="2"/>
                      <a:pt x="2" y="3"/>
                    </a:cubicBezTo>
                    <a:cubicBezTo>
                      <a:pt x="2" y="2"/>
                      <a:pt x="1"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4" name="Freeform 207">
                <a:extLst>
                  <a:ext uri="{FF2B5EF4-FFF2-40B4-BE49-F238E27FC236}">
                    <a16:creationId xmlns:a16="http://schemas.microsoft.com/office/drawing/2014/main" id="{D3CFA221-3581-478D-9052-675DE1E0977B}"/>
                  </a:ext>
                </a:extLst>
              </p:cNvPr>
              <p:cNvSpPr>
                <a:spLocks/>
              </p:cNvSpPr>
              <p:nvPr/>
            </p:nvSpPr>
            <p:spPr bwMode="auto">
              <a:xfrm>
                <a:off x="3900" y="3516"/>
                <a:ext cx="10" cy="14"/>
              </a:xfrm>
              <a:custGeom>
                <a:avLst/>
                <a:gdLst>
                  <a:gd name="T0" fmla="*/ 4 w 4"/>
                  <a:gd name="T1" fmla="*/ 0 h 6"/>
                  <a:gd name="T2" fmla="*/ 1 w 4"/>
                  <a:gd name="T3" fmla="*/ 2 h 6"/>
                  <a:gd name="T4" fmla="*/ 0 w 4"/>
                  <a:gd name="T5" fmla="*/ 4 h 6"/>
                  <a:gd name="T6" fmla="*/ 0 w 4"/>
                  <a:gd name="T7" fmla="*/ 4 h 6"/>
                  <a:gd name="T8" fmla="*/ 0 w 4"/>
                  <a:gd name="T9" fmla="*/ 4 h 6"/>
                  <a:gd name="T10" fmla="*/ 1 w 4"/>
                  <a:gd name="T11" fmla="*/ 6 h 6"/>
                  <a:gd name="T12" fmla="*/ 1 w 4"/>
                  <a:gd name="T13" fmla="*/ 6 h 6"/>
                  <a:gd name="T14" fmla="*/ 1 w 4"/>
                  <a:gd name="T15" fmla="*/ 6 h 6"/>
                  <a:gd name="T16" fmla="*/ 1 w 4"/>
                  <a:gd name="T17" fmla="*/ 6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cubicBezTo>
                      <a:pt x="2" y="1"/>
                      <a:pt x="1" y="1"/>
                      <a:pt x="1" y="2"/>
                    </a:cubicBezTo>
                    <a:cubicBezTo>
                      <a:pt x="1" y="3"/>
                      <a:pt x="0" y="3"/>
                      <a:pt x="0" y="4"/>
                    </a:cubicBezTo>
                    <a:cubicBezTo>
                      <a:pt x="0" y="4"/>
                      <a:pt x="0" y="4"/>
                      <a:pt x="0" y="4"/>
                    </a:cubicBezTo>
                    <a:cubicBezTo>
                      <a:pt x="0" y="4"/>
                      <a:pt x="0" y="4"/>
                      <a:pt x="0" y="4"/>
                    </a:cubicBezTo>
                    <a:cubicBezTo>
                      <a:pt x="0" y="5"/>
                      <a:pt x="0" y="5"/>
                      <a:pt x="1" y="6"/>
                    </a:cubicBezTo>
                    <a:cubicBezTo>
                      <a:pt x="1" y="6"/>
                      <a:pt x="1" y="6"/>
                      <a:pt x="1" y="6"/>
                    </a:cubicBezTo>
                    <a:cubicBezTo>
                      <a:pt x="1" y="6"/>
                      <a:pt x="1" y="6"/>
                      <a:pt x="1" y="6"/>
                    </a:cubicBezTo>
                    <a:cubicBezTo>
                      <a:pt x="1" y="6"/>
                      <a:pt x="1" y="6"/>
                      <a:pt x="1" y="6"/>
                    </a:cubicBezTo>
                    <a:cubicBezTo>
                      <a:pt x="2"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5" name="Freeform 208">
                <a:extLst>
                  <a:ext uri="{FF2B5EF4-FFF2-40B4-BE49-F238E27FC236}">
                    <a16:creationId xmlns:a16="http://schemas.microsoft.com/office/drawing/2014/main" id="{A2C562FF-C194-40F9-8D21-FABE9735949F}"/>
                  </a:ext>
                </a:extLst>
              </p:cNvPr>
              <p:cNvSpPr>
                <a:spLocks/>
              </p:cNvSpPr>
              <p:nvPr/>
            </p:nvSpPr>
            <p:spPr bwMode="auto">
              <a:xfrm>
                <a:off x="3843" y="3563"/>
                <a:ext cx="10" cy="42"/>
              </a:xfrm>
              <a:custGeom>
                <a:avLst/>
                <a:gdLst>
                  <a:gd name="T0" fmla="*/ 3 w 4"/>
                  <a:gd name="T1" fmla="*/ 0 h 18"/>
                  <a:gd name="T2" fmla="*/ 1 w 4"/>
                  <a:gd name="T3" fmla="*/ 5 h 18"/>
                  <a:gd name="T4" fmla="*/ 0 w 4"/>
                  <a:gd name="T5" fmla="*/ 11 h 18"/>
                  <a:gd name="T6" fmla="*/ 2 w 4"/>
                  <a:gd name="T7" fmla="*/ 15 h 18"/>
                  <a:gd name="T8" fmla="*/ 2 w 4"/>
                  <a:gd name="T9" fmla="*/ 16 h 18"/>
                  <a:gd name="T10" fmla="*/ 4 w 4"/>
                  <a:gd name="T11" fmla="*/ 18 h 18"/>
                  <a:gd name="T12" fmla="*/ 2 w 4"/>
                  <a:gd name="T13" fmla="*/ 11 h 18"/>
                  <a:gd name="T14" fmla="*/ 2 w 4"/>
                  <a:gd name="T15" fmla="*/ 6 h 18"/>
                  <a:gd name="T16" fmla="*/ 2 w 4"/>
                  <a:gd name="T17" fmla="*/ 5 h 18"/>
                  <a:gd name="T18" fmla="*/ 3 w 4"/>
                  <a:gd name="T19" fmla="*/ 1 h 18"/>
                  <a:gd name="T20" fmla="*/ 3 w 4"/>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8">
                    <a:moveTo>
                      <a:pt x="3" y="0"/>
                    </a:moveTo>
                    <a:cubicBezTo>
                      <a:pt x="2" y="2"/>
                      <a:pt x="2" y="3"/>
                      <a:pt x="1" y="5"/>
                    </a:cubicBezTo>
                    <a:cubicBezTo>
                      <a:pt x="1" y="7"/>
                      <a:pt x="0" y="9"/>
                      <a:pt x="0" y="11"/>
                    </a:cubicBezTo>
                    <a:cubicBezTo>
                      <a:pt x="1" y="12"/>
                      <a:pt x="2" y="13"/>
                      <a:pt x="2" y="15"/>
                    </a:cubicBezTo>
                    <a:cubicBezTo>
                      <a:pt x="2" y="15"/>
                      <a:pt x="2" y="15"/>
                      <a:pt x="2" y="16"/>
                    </a:cubicBezTo>
                    <a:cubicBezTo>
                      <a:pt x="3" y="17"/>
                      <a:pt x="4" y="18"/>
                      <a:pt x="4" y="18"/>
                    </a:cubicBezTo>
                    <a:cubicBezTo>
                      <a:pt x="4" y="16"/>
                      <a:pt x="3" y="12"/>
                      <a:pt x="2" y="11"/>
                    </a:cubicBezTo>
                    <a:cubicBezTo>
                      <a:pt x="2" y="9"/>
                      <a:pt x="2" y="8"/>
                      <a:pt x="2" y="6"/>
                    </a:cubicBezTo>
                    <a:cubicBezTo>
                      <a:pt x="2" y="5"/>
                      <a:pt x="2" y="5"/>
                      <a:pt x="2" y="5"/>
                    </a:cubicBezTo>
                    <a:cubicBezTo>
                      <a:pt x="2" y="4"/>
                      <a:pt x="3" y="3"/>
                      <a:pt x="3" y="1"/>
                    </a:cubicBezTo>
                    <a:cubicBezTo>
                      <a:pt x="3"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6" name="Freeform 210">
              <a:extLst>
                <a:ext uri="{FF2B5EF4-FFF2-40B4-BE49-F238E27FC236}">
                  <a16:creationId xmlns:a16="http://schemas.microsoft.com/office/drawing/2014/main" id="{5E099454-7576-498E-A05D-CC29F70663D9}"/>
                </a:ext>
              </a:extLst>
            </p:cNvPr>
            <p:cNvSpPr>
              <a:spLocks/>
            </p:cNvSpPr>
            <p:nvPr/>
          </p:nvSpPr>
          <p:spPr bwMode="auto">
            <a:xfrm>
              <a:off x="6251566" y="7468422"/>
              <a:ext cx="3175" cy="14288"/>
            </a:xfrm>
            <a:custGeom>
              <a:avLst/>
              <a:gdLst>
                <a:gd name="T0" fmla="*/ 1 w 1"/>
                <a:gd name="T1" fmla="*/ 0 h 4"/>
                <a:gd name="T2" fmla="*/ 0 w 1"/>
                <a:gd name="T3" fmla="*/ 1 h 4"/>
                <a:gd name="T4" fmla="*/ 0 w 1"/>
                <a:gd name="T5" fmla="*/ 1 h 4"/>
                <a:gd name="T6" fmla="*/ 0 w 1"/>
                <a:gd name="T7" fmla="*/ 2 h 4"/>
                <a:gd name="T8" fmla="*/ 0 w 1"/>
                <a:gd name="T9" fmla="*/ 2 h 4"/>
                <a:gd name="T10" fmla="*/ 0 w 1"/>
                <a:gd name="T11" fmla="*/ 3 h 4"/>
                <a:gd name="T12" fmla="*/ 1 w 1"/>
                <a:gd name="T13" fmla="*/ 4 h 4"/>
                <a:gd name="T14" fmla="*/ 1 w 1"/>
                <a:gd name="T15" fmla="*/ 3 h 4"/>
                <a:gd name="T16" fmla="*/ 1 w 1"/>
                <a:gd name="T17" fmla="*/ 3 h 4"/>
                <a:gd name="T18" fmla="*/ 1 w 1"/>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4">
                  <a:moveTo>
                    <a:pt x="1" y="0"/>
                  </a:moveTo>
                  <a:cubicBezTo>
                    <a:pt x="0" y="0"/>
                    <a:pt x="0" y="1"/>
                    <a:pt x="0" y="1"/>
                  </a:cubicBezTo>
                  <a:cubicBezTo>
                    <a:pt x="0" y="1"/>
                    <a:pt x="0" y="1"/>
                    <a:pt x="0" y="1"/>
                  </a:cubicBezTo>
                  <a:cubicBezTo>
                    <a:pt x="0" y="2"/>
                    <a:pt x="0" y="2"/>
                    <a:pt x="0" y="2"/>
                  </a:cubicBezTo>
                  <a:cubicBezTo>
                    <a:pt x="0" y="2"/>
                    <a:pt x="0" y="2"/>
                    <a:pt x="0" y="2"/>
                  </a:cubicBezTo>
                  <a:cubicBezTo>
                    <a:pt x="0" y="3"/>
                    <a:pt x="0" y="3"/>
                    <a:pt x="0" y="3"/>
                  </a:cubicBezTo>
                  <a:cubicBezTo>
                    <a:pt x="0" y="3"/>
                    <a:pt x="1" y="3"/>
                    <a:pt x="1" y="4"/>
                  </a:cubicBezTo>
                  <a:cubicBezTo>
                    <a:pt x="1" y="3"/>
                    <a:pt x="1" y="3"/>
                    <a:pt x="1" y="3"/>
                  </a:cubicBezTo>
                  <a:cubicBezTo>
                    <a:pt x="1" y="3"/>
                    <a:pt x="1" y="3"/>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211">
              <a:extLst>
                <a:ext uri="{FF2B5EF4-FFF2-40B4-BE49-F238E27FC236}">
                  <a16:creationId xmlns:a16="http://schemas.microsoft.com/office/drawing/2014/main" id="{6C231F5B-C544-4574-AE0E-E26C384066D4}"/>
                </a:ext>
              </a:extLst>
            </p:cNvPr>
            <p:cNvSpPr>
              <a:spLocks/>
            </p:cNvSpPr>
            <p:nvPr/>
          </p:nvSpPr>
          <p:spPr bwMode="auto">
            <a:xfrm>
              <a:off x="10545754" y="3550472"/>
              <a:ext cx="30163" cy="38100"/>
            </a:xfrm>
            <a:custGeom>
              <a:avLst/>
              <a:gdLst>
                <a:gd name="T0" fmla="*/ 6 w 8"/>
                <a:gd name="T1" fmla="*/ 0 h 10"/>
                <a:gd name="T2" fmla="*/ 0 w 8"/>
                <a:gd name="T3" fmla="*/ 8 h 10"/>
                <a:gd name="T4" fmla="*/ 3 w 8"/>
                <a:gd name="T5" fmla="*/ 7 h 10"/>
                <a:gd name="T6" fmla="*/ 3 w 8"/>
                <a:gd name="T7" fmla="*/ 7 h 10"/>
                <a:gd name="T8" fmla="*/ 7 w 8"/>
                <a:gd name="T9" fmla="*/ 10 h 10"/>
                <a:gd name="T10" fmla="*/ 7 w 8"/>
                <a:gd name="T11" fmla="*/ 9 h 10"/>
                <a:gd name="T12" fmla="*/ 8 w 8"/>
                <a:gd name="T13" fmla="*/ 9 h 10"/>
                <a:gd name="T14" fmla="*/ 8 w 8"/>
                <a:gd name="T15" fmla="*/ 8 h 10"/>
                <a:gd name="T16" fmla="*/ 8 w 8"/>
                <a:gd name="T17" fmla="*/ 6 h 10"/>
                <a:gd name="T18" fmla="*/ 6 w 8"/>
                <a:gd name="T19" fmla="*/ 5 h 10"/>
                <a:gd name="T20" fmla="*/ 4 w 8"/>
                <a:gd name="T21" fmla="*/ 5 h 10"/>
                <a:gd name="T22" fmla="*/ 4 w 8"/>
                <a:gd name="T23" fmla="*/ 5 h 10"/>
                <a:gd name="T24" fmla="*/ 3 w 8"/>
                <a:gd name="T25" fmla="*/ 5 h 10"/>
                <a:gd name="T26" fmla="*/ 5 w 8"/>
                <a:gd name="T27" fmla="*/ 2 h 10"/>
                <a:gd name="T28" fmla="*/ 5 w 8"/>
                <a:gd name="T29" fmla="*/ 2 h 10"/>
                <a:gd name="T30" fmla="*/ 6 w 8"/>
                <a:gd name="T31" fmla="*/ 3 h 10"/>
                <a:gd name="T32" fmla="*/ 6 w 8"/>
                <a:gd name="T33" fmla="*/ 3 h 10"/>
                <a:gd name="T34" fmla="*/ 6 w 8"/>
                <a:gd name="T35" fmla="*/ 2 h 10"/>
                <a:gd name="T36" fmla="*/ 8 w 8"/>
                <a:gd name="T37" fmla="*/ 0 h 10"/>
                <a:gd name="T38" fmla="*/ 6 w 8"/>
                <a:gd name="T3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10">
                  <a:moveTo>
                    <a:pt x="6" y="0"/>
                  </a:moveTo>
                  <a:cubicBezTo>
                    <a:pt x="2" y="0"/>
                    <a:pt x="1" y="3"/>
                    <a:pt x="0" y="8"/>
                  </a:cubicBezTo>
                  <a:cubicBezTo>
                    <a:pt x="1" y="7"/>
                    <a:pt x="2" y="7"/>
                    <a:pt x="3" y="7"/>
                  </a:cubicBezTo>
                  <a:cubicBezTo>
                    <a:pt x="3" y="7"/>
                    <a:pt x="3" y="7"/>
                    <a:pt x="3" y="7"/>
                  </a:cubicBezTo>
                  <a:cubicBezTo>
                    <a:pt x="4" y="7"/>
                    <a:pt x="5" y="10"/>
                    <a:pt x="7" y="10"/>
                  </a:cubicBezTo>
                  <a:cubicBezTo>
                    <a:pt x="7" y="10"/>
                    <a:pt x="7" y="10"/>
                    <a:pt x="7" y="9"/>
                  </a:cubicBezTo>
                  <a:cubicBezTo>
                    <a:pt x="8" y="9"/>
                    <a:pt x="8" y="9"/>
                    <a:pt x="8" y="9"/>
                  </a:cubicBezTo>
                  <a:cubicBezTo>
                    <a:pt x="8" y="8"/>
                    <a:pt x="8" y="8"/>
                    <a:pt x="8" y="8"/>
                  </a:cubicBezTo>
                  <a:cubicBezTo>
                    <a:pt x="8" y="7"/>
                    <a:pt x="8" y="6"/>
                    <a:pt x="8" y="6"/>
                  </a:cubicBezTo>
                  <a:cubicBezTo>
                    <a:pt x="7" y="5"/>
                    <a:pt x="7" y="5"/>
                    <a:pt x="6" y="5"/>
                  </a:cubicBezTo>
                  <a:cubicBezTo>
                    <a:pt x="5" y="5"/>
                    <a:pt x="5" y="5"/>
                    <a:pt x="4" y="5"/>
                  </a:cubicBezTo>
                  <a:cubicBezTo>
                    <a:pt x="4" y="5"/>
                    <a:pt x="4" y="5"/>
                    <a:pt x="4" y="5"/>
                  </a:cubicBezTo>
                  <a:cubicBezTo>
                    <a:pt x="4" y="5"/>
                    <a:pt x="3" y="5"/>
                    <a:pt x="3" y="5"/>
                  </a:cubicBezTo>
                  <a:cubicBezTo>
                    <a:pt x="4" y="4"/>
                    <a:pt x="4" y="4"/>
                    <a:pt x="5" y="2"/>
                  </a:cubicBezTo>
                  <a:cubicBezTo>
                    <a:pt x="5" y="2"/>
                    <a:pt x="5" y="2"/>
                    <a:pt x="5" y="2"/>
                  </a:cubicBezTo>
                  <a:cubicBezTo>
                    <a:pt x="6" y="3"/>
                    <a:pt x="6" y="3"/>
                    <a:pt x="6" y="3"/>
                  </a:cubicBezTo>
                  <a:cubicBezTo>
                    <a:pt x="6" y="3"/>
                    <a:pt x="6" y="3"/>
                    <a:pt x="6" y="3"/>
                  </a:cubicBezTo>
                  <a:cubicBezTo>
                    <a:pt x="6" y="2"/>
                    <a:pt x="6" y="2"/>
                    <a:pt x="6" y="2"/>
                  </a:cubicBezTo>
                  <a:cubicBezTo>
                    <a:pt x="7" y="2"/>
                    <a:pt x="8" y="1"/>
                    <a:pt x="8"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212">
              <a:extLst>
                <a:ext uri="{FF2B5EF4-FFF2-40B4-BE49-F238E27FC236}">
                  <a16:creationId xmlns:a16="http://schemas.microsoft.com/office/drawing/2014/main" id="{9B2C73D7-58E3-49E5-BCA2-2A9186DC8706}"/>
                </a:ext>
              </a:extLst>
            </p:cNvPr>
            <p:cNvSpPr>
              <a:spLocks/>
            </p:cNvSpPr>
            <p:nvPr/>
          </p:nvSpPr>
          <p:spPr bwMode="auto">
            <a:xfrm>
              <a:off x="4559291" y="3791772"/>
              <a:ext cx="25400" cy="14288"/>
            </a:xfrm>
            <a:custGeom>
              <a:avLst/>
              <a:gdLst>
                <a:gd name="T0" fmla="*/ 6 w 7"/>
                <a:gd name="T1" fmla="*/ 0 h 4"/>
                <a:gd name="T2" fmla="*/ 3 w 7"/>
                <a:gd name="T3" fmla="*/ 1 h 4"/>
                <a:gd name="T4" fmla="*/ 2 w 7"/>
                <a:gd name="T5" fmla="*/ 2 h 4"/>
                <a:gd name="T6" fmla="*/ 0 w 7"/>
                <a:gd name="T7" fmla="*/ 4 h 4"/>
                <a:gd name="T8" fmla="*/ 2 w 7"/>
                <a:gd name="T9" fmla="*/ 4 h 4"/>
                <a:gd name="T10" fmla="*/ 3 w 7"/>
                <a:gd name="T11" fmla="*/ 3 h 4"/>
                <a:gd name="T12" fmla="*/ 7 w 7"/>
                <a:gd name="T13" fmla="*/ 0 h 4"/>
                <a:gd name="T14" fmla="*/ 6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6" y="0"/>
                  </a:moveTo>
                  <a:cubicBezTo>
                    <a:pt x="5" y="0"/>
                    <a:pt x="4" y="1"/>
                    <a:pt x="3" y="1"/>
                  </a:cubicBezTo>
                  <a:cubicBezTo>
                    <a:pt x="3" y="1"/>
                    <a:pt x="3" y="2"/>
                    <a:pt x="2" y="2"/>
                  </a:cubicBezTo>
                  <a:cubicBezTo>
                    <a:pt x="1" y="3"/>
                    <a:pt x="0" y="3"/>
                    <a:pt x="0" y="4"/>
                  </a:cubicBezTo>
                  <a:cubicBezTo>
                    <a:pt x="1" y="4"/>
                    <a:pt x="1" y="4"/>
                    <a:pt x="2" y="4"/>
                  </a:cubicBezTo>
                  <a:cubicBezTo>
                    <a:pt x="3" y="3"/>
                    <a:pt x="3" y="3"/>
                    <a:pt x="3" y="3"/>
                  </a:cubicBezTo>
                  <a:cubicBezTo>
                    <a:pt x="4" y="3"/>
                    <a:pt x="6" y="2"/>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213">
              <a:extLst>
                <a:ext uri="{FF2B5EF4-FFF2-40B4-BE49-F238E27FC236}">
                  <a16:creationId xmlns:a16="http://schemas.microsoft.com/office/drawing/2014/main" id="{FC5811E9-F0B6-4EE6-A569-FD9E0EEA60B2}"/>
                </a:ext>
              </a:extLst>
            </p:cNvPr>
            <p:cNvSpPr>
              <a:spLocks/>
            </p:cNvSpPr>
            <p:nvPr/>
          </p:nvSpPr>
          <p:spPr bwMode="auto">
            <a:xfrm>
              <a:off x="3784591" y="1793109"/>
              <a:ext cx="38100" cy="19050"/>
            </a:xfrm>
            <a:custGeom>
              <a:avLst/>
              <a:gdLst>
                <a:gd name="T0" fmla="*/ 5 w 10"/>
                <a:gd name="T1" fmla="*/ 0 h 5"/>
                <a:gd name="T2" fmla="*/ 0 w 10"/>
                <a:gd name="T3" fmla="*/ 3 h 5"/>
                <a:gd name="T4" fmla="*/ 1 w 10"/>
                <a:gd name="T5" fmla="*/ 3 h 5"/>
                <a:gd name="T6" fmla="*/ 2 w 10"/>
                <a:gd name="T7" fmla="*/ 4 h 5"/>
                <a:gd name="T8" fmla="*/ 5 w 10"/>
                <a:gd name="T9" fmla="*/ 5 h 5"/>
                <a:gd name="T10" fmla="*/ 5 w 10"/>
                <a:gd name="T11" fmla="*/ 4 h 5"/>
                <a:gd name="T12" fmla="*/ 6 w 10"/>
                <a:gd name="T13" fmla="*/ 4 h 5"/>
                <a:gd name="T14" fmla="*/ 8 w 10"/>
                <a:gd name="T15" fmla="*/ 3 h 5"/>
                <a:gd name="T16" fmla="*/ 10 w 10"/>
                <a:gd name="T17" fmla="*/ 2 h 5"/>
                <a:gd name="T18" fmla="*/ 10 w 10"/>
                <a:gd name="T19" fmla="*/ 2 h 5"/>
                <a:gd name="T20" fmla="*/ 5 w 10"/>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5">
                  <a:moveTo>
                    <a:pt x="5" y="0"/>
                  </a:moveTo>
                  <a:cubicBezTo>
                    <a:pt x="4" y="0"/>
                    <a:pt x="2" y="1"/>
                    <a:pt x="0" y="3"/>
                  </a:cubicBezTo>
                  <a:cubicBezTo>
                    <a:pt x="1" y="3"/>
                    <a:pt x="1" y="3"/>
                    <a:pt x="1" y="3"/>
                  </a:cubicBezTo>
                  <a:cubicBezTo>
                    <a:pt x="1" y="3"/>
                    <a:pt x="2" y="4"/>
                    <a:pt x="2" y="4"/>
                  </a:cubicBezTo>
                  <a:cubicBezTo>
                    <a:pt x="3" y="4"/>
                    <a:pt x="4" y="4"/>
                    <a:pt x="5" y="5"/>
                  </a:cubicBezTo>
                  <a:cubicBezTo>
                    <a:pt x="5" y="4"/>
                    <a:pt x="5" y="4"/>
                    <a:pt x="5" y="4"/>
                  </a:cubicBezTo>
                  <a:cubicBezTo>
                    <a:pt x="6" y="4"/>
                    <a:pt x="6" y="4"/>
                    <a:pt x="6" y="4"/>
                  </a:cubicBezTo>
                  <a:cubicBezTo>
                    <a:pt x="7" y="3"/>
                    <a:pt x="7" y="3"/>
                    <a:pt x="8" y="3"/>
                  </a:cubicBezTo>
                  <a:cubicBezTo>
                    <a:pt x="9" y="2"/>
                    <a:pt x="9" y="2"/>
                    <a:pt x="10" y="2"/>
                  </a:cubicBezTo>
                  <a:cubicBezTo>
                    <a:pt x="10" y="2"/>
                    <a:pt x="10" y="2"/>
                    <a:pt x="10" y="2"/>
                  </a:cubicBezTo>
                  <a:cubicBezTo>
                    <a:pt x="9"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214">
              <a:extLst>
                <a:ext uri="{FF2B5EF4-FFF2-40B4-BE49-F238E27FC236}">
                  <a16:creationId xmlns:a16="http://schemas.microsoft.com/office/drawing/2014/main" id="{4FCC57D8-8895-4A60-8681-40C653F2178D}"/>
                </a:ext>
              </a:extLst>
            </p:cNvPr>
            <p:cNvSpPr>
              <a:spLocks/>
            </p:cNvSpPr>
            <p:nvPr/>
          </p:nvSpPr>
          <p:spPr bwMode="auto">
            <a:xfrm>
              <a:off x="6243629" y="1962972"/>
              <a:ext cx="34925" cy="6350"/>
            </a:xfrm>
            <a:custGeom>
              <a:avLst/>
              <a:gdLst>
                <a:gd name="T0" fmla="*/ 6 w 9"/>
                <a:gd name="T1" fmla="*/ 0 h 2"/>
                <a:gd name="T2" fmla="*/ 5 w 9"/>
                <a:gd name="T3" fmla="*/ 0 h 2"/>
                <a:gd name="T4" fmla="*/ 0 w 9"/>
                <a:gd name="T5" fmla="*/ 2 h 2"/>
                <a:gd name="T6" fmla="*/ 3 w 9"/>
                <a:gd name="T7" fmla="*/ 2 h 2"/>
                <a:gd name="T8" fmla="*/ 9 w 9"/>
                <a:gd name="T9" fmla="*/ 2 h 2"/>
                <a:gd name="T10" fmla="*/ 6 w 9"/>
                <a:gd name="T11" fmla="*/ 0 h 2"/>
              </a:gdLst>
              <a:ahLst/>
              <a:cxnLst>
                <a:cxn ang="0">
                  <a:pos x="T0" y="T1"/>
                </a:cxn>
                <a:cxn ang="0">
                  <a:pos x="T2" y="T3"/>
                </a:cxn>
                <a:cxn ang="0">
                  <a:pos x="T4" y="T5"/>
                </a:cxn>
                <a:cxn ang="0">
                  <a:pos x="T6" y="T7"/>
                </a:cxn>
                <a:cxn ang="0">
                  <a:pos x="T8" y="T9"/>
                </a:cxn>
                <a:cxn ang="0">
                  <a:pos x="T10" y="T11"/>
                </a:cxn>
              </a:cxnLst>
              <a:rect l="0" t="0" r="r" b="b"/>
              <a:pathLst>
                <a:path w="9" h="2">
                  <a:moveTo>
                    <a:pt x="6" y="0"/>
                  </a:moveTo>
                  <a:cubicBezTo>
                    <a:pt x="5" y="0"/>
                    <a:pt x="5" y="0"/>
                    <a:pt x="5" y="0"/>
                  </a:cubicBezTo>
                  <a:cubicBezTo>
                    <a:pt x="3" y="0"/>
                    <a:pt x="2" y="1"/>
                    <a:pt x="0" y="2"/>
                  </a:cubicBezTo>
                  <a:cubicBezTo>
                    <a:pt x="1" y="2"/>
                    <a:pt x="2" y="2"/>
                    <a:pt x="3" y="2"/>
                  </a:cubicBezTo>
                  <a:cubicBezTo>
                    <a:pt x="5" y="2"/>
                    <a:pt x="7" y="2"/>
                    <a:pt x="9" y="2"/>
                  </a:cubicBezTo>
                  <a:cubicBezTo>
                    <a:pt x="8"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215">
              <a:extLst>
                <a:ext uri="{FF2B5EF4-FFF2-40B4-BE49-F238E27FC236}">
                  <a16:creationId xmlns:a16="http://schemas.microsoft.com/office/drawing/2014/main" id="{F27D1018-963B-4BE0-92C1-8318C576C46D}"/>
                </a:ext>
              </a:extLst>
            </p:cNvPr>
            <p:cNvSpPr>
              <a:spLocks/>
            </p:cNvSpPr>
            <p:nvPr/>
          </p:nvSpPr>
          <p:spPr bwMode="auto">
            <a:xfrm>
              <a:off x="10845791" y="3794947"/>
              <a:ext cx="30163" cy="19050"/>
            </a:xfrm>
            <a:custGeom>
              <a:avLst/>
              <a:gdLst>
                <a:gd name="T0" fmla="*/ 7 w 8"/>
                <a:gd name="T1" fmla="*/ 0 h 5"/>
                <a:gd name="T2" fmla="*/ 4 w 8"/>
                <a:gd name="T3" fmla="*/ 1 h 5"/>
                <a:gd name="T4" fmla="*/ 1 w 8"/>
                <a:gd name="T5" fmla="*/ 2 h 5"/>
                <a:gd name="T6" fmla="*/ 1 w 8"/>
                <a:gd name="T7" fmla="*/ 2 h 5"/>
                <a:gd name="T8" fmla="*/ 1 w 8"/>
                <a:gd name="T9" fmla="*/ 2 h 5"/>
                <a:gd name="T10" fmla="*/ 1 w 8"/>
                <a:gd name="T11" fmla="*/ 3 h 5"/>
                <a:gd name="T12" fmla="*/ 4 w 8"/>
                <a:gd name="T13" fmla="*/ 5 h 5"/>
                <a:gd name="T14" fmla="*/ 5 w 8"/>
                <a:gd name="T15" fmla="*/ 5 h 5"/>
                <a:gd name="T16" fmla="*/ 6 w 8"/>
                <a:gd name="T17" fmla="*/ 5 h 5"/>
                <a:gd name="T18" fmla="*/ 7 w 8"/>
                <a:gd name="T19" fmla="*/ 4 h 5"/>
                <a:gd name="T20" fmla="*/ 8 w 8"/>
                <a:gd name="T21" fmla="*/ 2 h 5"/>
                <a:gd name="T22" fmla="*/ 7 w 8"/>
                <a:gd name="T23" fmla="*/ 1 h 5"/>
                <a:gd name="T24" fmla="*/ 7 w 8"/>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7" y="0"/>
                  </a:moveTo>
                  <a:cubicBezTo>
                    <a:pt x="7" y="0"/>
                    <a:pt x="5" y="1"/>
                    <a:pt x="4" y="1"/>
                  </a:cubicBezTo>
                  <a:cubicBezTo>
                    <a:pt x="3" y="1"/>
                    <a:pt x="2" y="1"/>
                    <a:pt x="1" y="2"/>
                  </a:cubicBezTo>
                  <a:cubicBezTo>
                    <a:pt x="1" y="2"/>
                    <a:pt x="1" y="2"/>
                    <a:pt x="1" y="2"/>
                  </a:cubicBezTo>
                  <a:cubicBezTo>
                    <a:pt x="1" y="2"/>
                    <a:pt x="1" y="2"/>
                    <a:pt x="1" y="2"/>
                  </a:cubicBezTo>
                  <a:cubicBezTo>
                    <a:pt x="0" y="2"/>
                    <a:pt x="1" y="3"/>
                    <a:pt x="1" y="3"/>
                  </a:cubicBezTo>
                  <a:cubicBezTo>
                    <a:pt x="2" y="5"/>
                    <a:pt x="3" y="5"/>
                    <a:pt x="4" y="5"/>
                  </a:cubicBezTo>
                  <a:cubicBezTo>
                    <a:pt x="4" y="5"/>
                    <a:pt x="5" y="5"/>
                    <a:pt x="5" y="5"/>
                  </a:cubicBezTo>
                  <a:cubicBezTo>
                    <a:pt x="5" y="5"/>
                    <a:pt x="5" y="5"/>
                    <a:pt x="6" y="5"/>
                  </a:cubicBezTo>
                  <a:cubicBezTo>
                    <a:pt x="6" y="5"/>
                    <a:pt x="7" y="5"/>
                    <a:pt x="7" y="4"/>
                  </a:cubicBezTo>
                  <a:cubicBezTo>
                    <a:pt x="8" y="4"/>
                    <a:pt x="8" y="3"/>
                    <a:pt x="8" y="2"/>
                  </a:cubicBezTo>
                  <a:cubicBezTo>
                    <a:pt x="8" y="2"/>
                    <a:pt x="8" y="1"/>
                    <a:pt x="7" y="1"/>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216">
              <a:extLst>
                <a:ext uri="{FF2B5EF4-FFF2-40B4-BE49-F238E27FC236}">
                  <a16:creationId xmlns:a16="http://schemas.microsoft.com/office/drawing/2014/main" id="{786F0706-5E2E-4326-84CD-C89E17BCA77F}"/>
                </a:ext>
              </a:extLst>
            </p:cNvPr>
            <p:cNvSpPr>
              <a:spLocks/>
            </p:cNvSpPr>
            <p:nvPr/>
          </p:nvSpPr>
          <p:spPr bwMode="auto">
            <a:xfrm>
              <a:off x="8270866" y="7600185"/>
              <a:ext cx="0" cy="6350"/>
            </a:xfrm>
            <a:custGeom>
              <a:avLst/>
              <a:gdLst>
                <a:gd name="T0" fmla="*/ 0 h 2"/>
                <a:gd name="T1" fmla="*/ 2 h 2"/>
                <a:gd name="T2" fmla="*/ 2 h 2"/>
                <a:gd name="T3" fmla="*/ 2 h 2"/>
                <a:gd name="T4" fmla="*/ 2 h 2"/>
                <a:gd name="T5" fmla="*/ 1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cubicBezTo>
                    <a:pt x="0" y="1"/>
                    <a:pt x="0" y="1"/>
                    <a:pt x="0" y="2"/>
                  </a:cubicBezTo>
                  <a:cubicBezTo>
                    <a:pt x="0" y="2"/>
                    <a:pt x="0" y="2"/>
                    <a:pt x="0" y="2"/>
                  </a:cubicBezTo>
                  <a:cubicBezTo>
                    <a:pt x="0" y="2"/>
                    <a:pt x="0" y="2"/>
                    <a:pt x="0" y="2"/>
                  </a:cubicBezTo>
                  <a:cubicBezTo>
                    <a:pt x="0" y="2"/>
                    <a:pt x="0" y="2"/>
                    <a:pt x="0" y="2"/>
                  </a:cubicBezTo>
                  <a:cubicBezTo>
                    <a:pt x="0" y="1"/>
                    <a:pt x="0" y="1"/>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Freeform 217">
              <a:extLst>
                <a:ext uri="{FF2B5EF4-FFF2-40B4-BE49-F238E27FC236}">
                  <a16:creationId xmlns:a16="http://schemas.microsoft.com/office/drawing/2014/main" id="{BC1EFBA3-31EB-4FD0-9940-0A3E6A68AA13}"/>
                </a:ext>
              </a:extLst>
            </p:cNvPr>
            <p:cNvSpPr>
              <a:spLocks/>
            </p:cNvSpPr>
            <p:nvPr/>
          </p:nvSpPr>
          <p:spPr bwMode="auto">
            <a:xfrm>
              <a:off x="8259754" y="7595422"/>
              <a:ext cx="11113" cy="19050"/>
            </a:xfrm>
            <a:custGeom>
              <a:avLst/>
              <a:gdLst>
                <a:gd name="T0" fmla="*/ 1 w 3"/>
                <a:gd name="T1" fmla="*/ 0 h 5"/>
                <a:gd name="T2" fmla="*/ 1 w 3"/>
                <a:gd name="T3" fmla="*/ 1 h 5"/>
                <a:gd name="T4" fmla="*/ 1 w 3"/>
                <a:gd name="T5" fmla="*/ 2 h 5"/>
                <a:gd name="T6" fmla="*/ 0 w 3"/>
                <a:gd name="T7" fmla="*/ 5 h 5"/>
                <a:gd name="T8" fmla="*/ 3 w 3"/>
                <a:gd name="T9" fmla="*/ 0 h 5"/>
                <a:gd name="T10" fmla="*/ 2 w 3"/>
                <a:gd name="T11" fmla="*/ 0 h 5"/>
                <a:gd name="T12" fmla="*/ 1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0"/>
                  </a:moveTo>
                  <a:cubicBezTo>
                    <a:pt x="1" y="1"/>
                    <a:pt x="1" y="1"/>
                    <a:pt x="1" y="1"/>
                  </a:cubicBezTo>
                  <a:cubicBezTo>
                    <a:pt x="1" y="1"/>
                    <a:pt x="1" y="1"/>
                    <a:pt x="1" y="2"/>
                  </a:cubicBezTo>
                  <a:cubicBezTo>
                    <a:pt x="1" y="3"/>
                    <a:pt x="0" y="4"/>
                    <a:pt x="0" y="5"/>
                  </a:cubicBezTo>
                  <a:cubicBezTo>
                    <a:pt x="1" y="3"/>
                    <a:pt x="2" y="2"/>
                    <a:pt x="3" y="0"/>
                  </a:cubicBezTo>
                  <a:cubicBezTo>
                    <a:pt x="3"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Freeform 218">
              <a:extLst>
                <a:ext uri="{FF2B5EF4-FFF2-40B4-BE49-F238E27FC236}">
                  <a16:creationId xmlns:a16="http://schemas.microsoft.com/office/drawing/2014/main" id="{F4D57878-509A-46C3-AD1B-B1EB674DC89D}"/>
                </a:ext>
              </a:extLst>
            </p:cNvPr>
            <p:cNvSpPr>
              <a:spLocks/>
            </p:cNvSpPr>
            <p:nvPr/>
          </p:nvSpPr>
          <p:spPr bwMode="auto">
            <a:xfrm>
              <a:off x="5203816" y="599309"/>
              <a:ext cx="401638" cy="123825"/>
            </a:xfrm>
            <a:custGeom>
              <a:avLst/>
              <a:gdLst>
                <a:gd name="T0" fmla="*/ 96 w 107"/>
                <a:gd name="T1" fmla="*/ 0 h 33"/>
                <a:gd name="T2" fmla="*/ 37 w 107"/>
                <a:gd name="T3" fmla="*/ 0 h 33"/>
                <a:gd name="T4" fmla="*/ 36 w 107"/>
                <a:gd name="T5" fmla="*/ 2 h 33"/>
                <a:gd name="T6" fmla="*/ 30 w 107"/>
                <a:gd name="T7" fmla="*/ 4 h 33"/>
                <a:gd name="T8" fmla="*/ 25 w 107"/>
                <a:gd name="T9" fmla="*/ 4 h 33"/>
                <a:gd name="T10" fmla="*/ 24 w 107"/>
                <a:gd name="T11" fmla="*/ 4 h 33"/>
                <a:gd name="T12" fmla="*/ 21 w 107"/>
                <a:gd name="T13" fmla="*/ 5 h 33"/>
                <a:gd name="T14" fmla="*/ 9 w 107"/>
                <a:gd name="T15" fmla="*/ 9 h 33"/>
                <a:gd name="T16" fmla="*/ 8 w 107"/>
                <a:gd name="T17" fmla="*/ 12 h 33"/>
                <a:gd name="T18" fmla="*/ 5 w 107"/>
                <a:gd name="T19" fmla="*/ 13 h 33"/>
                <a:gd name="T20" fmla="*/ 3 w 107"/>
                <a:gd name="T21" fmla="*/ 16 h 33"/>
                <a:gd name="T22" fmla="*/ 0 w 107"/>
                <a:gd name="T23" fmla="*/ 20 h 33"/>
                <a:gd name="T24" fmla="*/ 9 w 107"/>
                <a:gd name="T25" fmla="*/ 17 h 33"/>
                <a:gd name="T26" fmla="*/ 13 w 107"/>
                <a:gd name="T27" fmla="*/ 18 h 33"/>
                <a:gd name="T28" fmla="*/ 12 w 107"/>
                <a:gd name="T29" fmla="*/ 27 h 33"/>
                <a:gd name="T30" fmla="*/ 15 w 107"/>
                <a:gd name="T31" fmla="*/ 28 h 33"/>
                <a:gd name="T32" fmla="*/ 16 w 107"/>
                <a:gd name="T33" fmla="*/ 28 h 33"/>
                <a:gd name="T34" fmla="*/ 17 w 107"/>
                <a:gd name="T35" fmla="*/ 28 h 33"/>
                <a:gd name="T36" fmla="*/ 18 w 107"/>
                <a:gd name="T37" fmla="*/ 28 h 33"/>
                <a:gd name="T38" fmla="*/ 31 w 107"/>
                <a:gd name="T39" fmla="*/ 29 h 33"/>
                <a:gd name="T40" fmla="*/ 39 w 107"/>
                <a:gd name="T41" fmla="*/ 29 h 33"/>
                <a:gd name="T42" fmla="*/ 47 w 107"/>
                <a:gd name="T43" fmla="*/ 27 h 33"/>
                <a:gd name="T44" fmla="*/ 47 w 107"/>
                <a:gd name="T45" fmla="*/ 22 h 33"/>
                <a:gd name="T46" fmla="*/ 49 w 107"/>
                <a:gd name="T47" fmla="*/ 17 h 33"/>
                <a:gd name="T48" fmla="*/ 51 w 107"/>
                <a:gd name="T49" fmla="*/ 16 h 33"/>
                <a:gd name="T50" fmla="*/ 53 w 107"/>
                <a:gd name="T51" fmla="*/ 17 h 33"/>
                <a:gd name="T52" fmla="*/ 54 w 107"/>
                <a:gd name="T53" fmla="*/ 18 h 33"/>
                <a:gd name="T54" fmla="*/ 55 w 107"/>
                <a:gd name="T55" fmla="*/ 20 h 33"/>
                <a:gd name="T56" fmla="*/ 54 w 107"/>
                <a:gd name="T57" fmla="*/ 21 h 33"/>
                <a:gd name="T58" fmla="*/ 55 w 107"/>
                <a:gd name="T59" fmla="*/ 23 h 33"/>
                <a:gd name="T60" fmla="*/ 59 w 107"/>
                <a:gd name="T61" fmla="*/ 24 h 33"/>
                <a:gd name="T62" fmla="*/ 61 w 107"/>
                <a:gd name="T63" fmla="*/ 26 h 33"/>
                <a:gd name="T64" fmla="*/ 60 w 107"/>
                <a:gd name="T65" fmla="*/ 29 h 33"/>
                <a:gd name="T66" fmla="*/ 63 w 107"/>
                <a:gd name="T67" fmla="*/ 33 h 33"/>
                <a:gd name="T68" fmla="*/ 65 w 107"/>
                <a:gd name="T69" fmla="*/ 32 h 33"/>
                <a:gd name="T70" fmla="*/ 83 w 107"/>
                <a:gd name="T71" fmla="*/ 25 h 33"/>
                <a:gd name="T72" fmla="*/ 81 w 107"/>
                <a:gd name="T73" fmla="*/ 22 h 33"/>
                <a:gd name="T74" fmla="*/ 80 w 107"/>
                <a:gd name="T75" fmla="*/ 19 h 33"/>
                <a:gd name="T76" fmla="*/ 80 w 107"/>
                <a:gd name="T77" fmla="*/ 15 h 33"/>
                <a:gd name="T78" fmla="*/ 78 w 107"/>
                <a:gd name="T79" fmla="*/ 10 h 33"/>
                <a:gd name="T80" fmla="*/ 82 w 107"/>
                <a:gd name="T81" fmla="*/ 7 h 33"/>
                <a:gd name="T82" fmla="*/ 82 w 107"/>
                <a:gd name="T83" fmla="*/ 7 h 33"/>
                <a:gd name="T84" fmla="*/ 83 w 107"/>
                <a:gd name="T85" fmla="*/ 11 h 33"/>
                <a:gd name="T86" fmla="*/ 87 w 107"/>
                <a:gd name="T87" fmla="*/ 16 h 33"/>
                <a:gd name="T88" fmla="*/ 90 w 107"/>
                <a:gd name="T89" fmla="*/ 17 h 33"/>
                <a:gd name="T90" fmla="*/ 102 w 107"/>
                <a:gd name="T91" fmla="*/ 4 h 33"/>
                <a:gd name="T92" fmla="*/ 96 w 107"/>
                <a:gd name="T9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33">
                  <a:moveTo>
                    <a:pt x="96" y="0"/>
                  </a:moveTo>
                  <a:cubicBezTo>
                    <a:pt x="37" y="0"/>
                    <a:pt x="37" y="0"/>
                    <a:pt x="37" y="0"/>
                  </a:cubicBezTo>
                  <a:cubicBezTo>
                    <a:pt x="37" y="1"/>
                    <a:pt x="37" y="1"/>
                    <a:pt x="36" y="2"/>
                  </a:cubicBezTo>
                  <a:cubicBezTo>
                    <a:pt x="34" y="4"/>
                    <a:pt x="33" y="4"/>
                    <a:pt x="30" y="4"/>
                  </a:cubicBezTo>
                  <a:cubicBezTo>
                    <a:pt x="28" y="4"/>
                    <a:pt x="27" y="4"/>
                    <a:pt x="25" y="4"/>
                  </a:cubicBezTo>
                  <a:cubicBezTo>
                    <a:pt x="24" y="4"/>
                    <a:pt x="24" y="4"/>
                    <a:pt x="24" y="4"/>
                  </a:cubicBezTo>
                  <a:cubicBezTo>
                    <a:pt x="23" y="4"/>
                    <a:pt x="22" y="4"/>
                    <a:pt x="21" y="5"/>
                  </a:cubicBezTo>
                  <a:cubicBezTo>
                    <a:pt x="17" y="5"/>
                    <a:pt x="11" y="5"/>
                    <a:pt x="9" y="9"/>
                  </a:cubicBezTo>
                  <a:cubicBezTo>
                    <a:pt x="9" y="11"/>
                    <a:pt x="10" y="11"/>
                    <a:pt x="8" y="12"/>
                  </a:cubicBezTo>
                  <a:cubicBezTo>
                    <a:pt x="7" y="14"/>
                    <a:pt x="7" y="13"/>
                    <a:pt x="5" y="13"/>
                  </a:cubicBezTo>
                  <a:cubicBezTo>
                    <a:pt x="3" y="16"/>
                    <a:pt x="3" y="16"/>
                    <a:pt x="3" y="16"/>
                  </a:cubicBezTo>
                  <a:cubicBezTo>
                    <a:pt x="2" y="17"/>
                    <a:pt x="1" y="19"/>
                    <a:pt x="0" y="20"/>
                  </a:cubicBezTo>
                  <a:cubicBezTo>
                    <a:pt x="3" y="19"/>
                    <a:pt x="6" y="17"/>
                    <a:pt x="9" y="17"/>
                  </a:cubicBezTo>
                  <a:cubicBezTo>
                    <a:pt x="11" y="17"/>
                    <a:pt x="12" y="17"/>
                    <a:pt x="13" y="18"/>
                  </a:cubicBezTo>
                  <a:cubicBezTo>
                    <a:pt x="14" y="21"/>
                    <a:pt x="9" y="24"/>
                    <a:pt x="12" y="27"/>
                  </a:cubicBezTo>
                  <a:cubicBezTo>
                    <a:pt x="12" y="28"/>
                    <a:pt x="13" y="28"/>
                    <a:pt x="15" y="28"/>
                  </a:cubicBezTo>
                  <a:cubicBezTo>
                    <a:pt x="15" y="28"/>
                    <a:pt x="16" y="28"/>
                    <a:pt x="16" y="28"/>
                  </a:cubicBezTo>
                  <a:cubicBezTo>
                    <a:pt x="17" y="28"/>
                    <a:pt x="17" y="28"/>
                    <a:pt x="17" y="28"/>
                  </a:cubicBezTo>
                  <a:cubicBezTo>
                    <a:pt x="17" y="28"/>
                    <a:pt x="17" y="28"/>
                    <a:pt x="18" y="28"/>
                  </a:cubicBezTo>
                  <a:cubicBezTo>
                    <a:pt x="22" y="28"/>
                    <a:pt x="27" y="28"/>
                    <a:pt x="31" y="29"/>
                  </a:cubicBezTo>
                  <a:cubicBezTo>
                    <a:pt x="33" y="29"/>
                    <a:pt x="36" y="29"/>
                    <a:pt x="39" y="29"/>
                  </a:cubicBezTo>
                  <a:cubicBezTo>
                    <a:pt x="42" y="29"/>
                    <a:pt x="45" y="29"/>
                    <a:pt x="47" y="27"/>
                  </a:cubicBezTo>
                  <a:cubicBezTo>
                    <a:pt x="50" y="26"/>
                    <a:pt x="47" y="25"/>
                    <a:pt x="47" y="22"/>
                  </a:cubicBezTo>
                  <a:cubicBezTo>
                    <a:pt x="47" y="20"/>
                    <a:pt x="48" y="19"/>
                    <a:pt x="49" y="17"/>
                  </a:cubicBezTo>
                  <a:cubicBezTo>
                    <a:pt x="50" y="16"/>
                    <a:pt x="50" y="16"/>
                    <a:pt x="51" y="16"/>
                  </a:cubicBezTo>
                  <a:cubicBezTo>
                    <a:pt x="51" y="16"/>
                    <a:pt x="52" y="16"/>
                    <a:pt x="53" y="17"/>
                  </a:cubicBezTo>
                  <a:cubicBezTo>
                    <a:pt x="56" y="18"/>
                    <a:pt x="54" y="18"/>
                    <a:pt x="54" y="18"/>
                  </a:cubicBezTo>
                  <a:cubicBezTo>
                    <a:pt x="55" y="20"/>
                    <a:pt x="55" y="20"/>
                    <a:pt x="55" y="20"/>
                  </a:cubicBezTo>
                  <a:cubicBezTo>
                    <a:pt x="54" y="21"/>
                    <a:pt x="54" y="21"/>
                    <a:pt x="54" y="21"/>
                  </a:cubicBezTo>
                  <a:cubicBezTo>
                    <a:pt x="55" y="22"/>
                    <a:pt x="53" y="21"/>
                    <a:pt x="55" y="23"/>
                  </a:cubicBezTo>
                  <a:cubicBezTo>
                    <a:pt x="56" y="23"/>
                    <a:pt x="58" y="23"/>
                    <a:pt x="59" y="24"/>
                  </a:cubicBezTo>
                  <a:cubicBezTo>
                    <a:pt x="60" y="24"/>
                    <a:pt x="61" y="25"/>
                    <a:pt x="61" y="26"/>
                  </a:cubicBezTo>
                  <a:cubicBezTo>
                    <a:pt x="61" y="27"/>
                    <a:pt x="60" y="28"/>
                    <a:pt x="60" y="29"/>
                  </a:cubicBezTo>
                  <a:cubicBezTo>
                    <a:pt x="62" y="32"/>
                    <a:pt x="62" y="33"/>
                    <a:pt x="63" y="33"/>
                  </a:cubicBezTo>
                  <a:cubicBezTo>
                    <a:pt x="63" y="33"/>
                    <a:pt x="64" y="33"/>
                    <a:pt x="65" y="32"/>
                  </a:cubicBezTo>
                  <a:cubicBezTo>
                    <a:pt x="68" y="31"/>
                    <a:pt x="82" y="28"/>
                    <a:pt x="83" y="25"/>
                  </a:cubicBezTo>
                  <a:cubicBezTo>
                    <a:pt x="83" y="23"/>
                    <a:pt x="82" y="23"/>
                    <a:pt x="81" y="22"/>
                  </a:cubicBezTo>
                  <a:cubicBezTo>
                    <a:pt x="81" y="21"/>
                    <a:pt x="80" y="21"/>
                    <a:pt x="80" y="19"/>
                  </a:cubicBezTo>
                  <a:cubicBezTo>
                    <a:pt x="80" y="17"/>
                    <a:pt x="80" y="16"/>
                    <a:pt x="80" y="15"/>
                  </a:cubicBezTo>
                  <a:cubicBezTo>
                    <a:pt x="79" y="13"/>
                    <a:pt x="77" y="12"/>
                    <a:pt x="78" y="10"/>
                  </a:cubicBezTo>
                  <a:cubicBezTo>
                    <a:pt x="78" y="9"/>
                    <a:pt x="80" y="7"/>
                    <a:pt x="82" y="7"/>
                  </a:cubicBezTo>
                  <a:cubicBezTo>
                    <a:pt x="82" y="7"/>
                    <a:pt x="82" y="7"/>
                    <a:pt x="82" y="7"/>
                  </a:cubicBezTo>
                  <a:cubicBezTo>
                    <a:pt x="83" y="8"/>
                    <a:pt x="82" y="10"/>
                    <a:pt x="83" y="11"/>
                  </a:cubicBezTo>
                  <a:cubicBezTo>
                    <a:pt x="83" y="12"/>
                    <a:pt x="85" y="15"/>
                    <a:pt x="87" y="16"/>
                  </a:cubicBezTo>
                  <a:cubicBezTo>
                    <a:pt x="88" y="17"/>
                    <a:pt x="89" y="17"/>
                    <a:pt x="90" y="17"/>
                  </a:cubicBezTo>
                  <a:cubicBezTo>
                    <a:pt x="97" y="17"/>
                    <a:pt x="107" y="9"/>
                    <a:pt x="102" y="4"/>
                  </a:cubicBezTo>
                  <a:cubicBezTo>
                    <a:pt x="101" y="3"/>
                    <a:pt x="96" y="2"/>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Freeform 219">
              <a:extLst>
                <a:ext uri="{FF2B5EF4-FFF2-40B4-BE49-F238E27FC236}">
                  <a16:creationId xmlns:a16="http://schemas.microsoft.com/office/drawing/2014/main" id="{F436D0D8-3FFB-4349-936C-4B2E3A116511}"/>
                </a:ext>
              </a:extLst>
            </p:cNvPr>
            <p:cNvSpPr>
              <a:spLocks noEditPoints="1"/>
            </p:cNvSpPr>
            <p:nvPr/>
          </p:nvSpPr>
          <p:spPr bwMode="auto">
            <a:xfrm>
              <a:off x="5640379" y="599309"/>
              <a:ext cx="1103313" cy="371475"/>
            </a:xfrm>
            <a:custGeom>
              <a:avLst/>
              <a:gdLst>
                <a:gd name="T0" fmla="*/ 221 w 294"/>
                <a:gd name="T1" fmla="*/ 0 h 99"/>
                <a:gd name="T2" fmla="*/ 178 w 294"/>
                <a:gd name="T3" fmla="*/ 10 h 99"/>
                <a:gd name="T4" fmla="*/ 203 w 294"/>
                <a:gd name="T5" fmla="*/ 23 h 99"/>
                <a:gd name="T6" fmla="*/ 210 w 294"/>
                <a:gd name="T7" fmla="*/ 38 h 99"/>
                <a:gd name="T8" fmla="*/ 199 w 294"/>
                <a:gd name="T9" fmla="*/ 47 h 99"/>
                <a:gd name="T10" fmla="*/ 158 w 294"/>
                <a:gd name="T11" fmla="*/ 47 h 99"/>
                <a:gd name="T12" fmla="*/ 145 w 294"/>
                <a:gd name="T13" fmla="*/ 33 h 99"/>
                <a:gd name="T14" fmla="*/ 144 w 294"/>
                <a:gd name="T15" fmla="*/ 30 h 99"/>
                <a:gd name="T16" fmla="*/ 114 w 294"/>
                <a:gd name="T17" fmla="*/ 12 h 99"/>
                <a:gd name="T18" fmla="*/ 109 w 294"/>
                <a:gd name="T19" fmla="*/ 12 h 99"/>
                <a:gd name="T20" fmla="*/ 93 w 294"/>
                <a:gd name="T21" fmla="*/ 11 h 99"/>
                <a:gd name="T22" fmla="*/ 100 w 294"/>
                <a:gd name="T23" fmla="*/ 3 h 99"/>
                <a:gd name="T24" fmla="*/ 47 w 294"/>
                <a:gd name="T25" fmla="*/ 1 h 99"/>
                <a:gd name="T26" fmla="*/ 1 w 294"/>
                <a:gd name="T27" fmla="*/ 2 h 99"/>
                <a:gd name="T28" fmla="*/ 9 w 294"/>
                <a:gd name="T29" fmla="*/ 9 h 99"/>
                <a:gd name="T30" fmla="*/ 25 w 294"/>
                <a:gd name="T31" fmla="*/ 8 h 99"/>
                <a:gd name="T32" fmla="*/ 36 w 294"/>
                <a:gd name="T33" fmla="*/ 9 h 99"/>
                <a:gd name="T34" fmla="*/ 60 w 294"/>
                <a:gd name="T35" fmla="*/ 15 h 99"/>
                <a:gd name="T36" fmla="*/ 63 w 294"/>
                <a:gd name="T37" fmla="*/ 16 h 99"/>
                <a:gd name="T38" fmla="*/ 52 w 294"/>
                <a:gd name="T39" fmla="*/ 16 h 99"/>
                <a:gd name="T40" fmla="*/ 33 w 294"/>
                <a:gd name="T41" fmla="*/ 24 h 99"/>
                <a:gd name="T42" fmla="*/ 49 w 294"/>
                <a:gd name="T43" fmla="*/ 30 h 99"/>
                <a:gd name="T44" fmla="*/ 60 w 294"/>
                <a:gd name="T45" fmla="*/ 32 h 99"/>
                <a:gd name="T46" fmla="*/ 27 w 294"/>
                <a:gd name="T47" fmla="*/ 45 h 99"/>
                <a:gd name="T48" fmla="*/ 34 w 294"/>
                <a:gd name="T49" fmla="*/ 45 h 99"/>
                <a:gd name="T50" fmla="*/ 64 w 294"/>
                <a:gd name="T51" fmla="*/ 42 h 99"/>
                <a:gd name="T52" fmla="*/ 10 w 294"/>
                <a:gd name="T53" fmla="*/ 56 h 99"/>
                <a:gd name="T54" fmla="*/ 29 w 294"/>
                <a:gd name="T55" fmla="*/ 66 h 99"/>
                <a:gd name="T56" fmla="*/ 42 w 294"/>
                <a:gd name="T57" fmla="*/ 64 h 99"/>
                <a:gd name="T58" fmla="*/ 49 w 294"/>
                <a:gd name="T59" fmla="*/ 71 h 99"/>
                <a:gd name="T60" fmla="*/ 59 w 294"/>
                <a:gd name="T61" fmla="*/ 66 h 99"/>
                <a:gd name="T62" fmla="*/ 65 w 294"/>
                <a:gd name="T63" fmla="*/ 68 h 99"/>
                <a:gd name="T64" fmla="*/ 83 w 294"/>
                <a:gd name="T65" fmla="*/ 68 h 99"/>
                <a:gd name="T66" fmla="*/ 91 w 294"/>
                <a:gd name="T67" fmla="*/ 58 h 99"/>
                <a:gd name="T68" fmla="*/ 97 w 294"/>
                <a:gd name="T69" fmla="*/ 54 h 99"/>
                <a:gd name="T70" fmla="*/ 95 w 294"/>
                <a:gd name="T71" fmla="*/ 63 h 99"/>
                <a:gd name="T72" fmla="*/ 99 w 294"/>
                <a:gd name="T73" fmla="*/ 69 h 99"/>
                <a:gd name="T74" fmla="*/ 126 w 294"/>
                <a:gd name="T75" fmla="*/ 59 h 99"/>
                <a:gd name="T76" fmla="*/ 131 w 294"/>
                <a:gd name="T77" fmla="*/ 61 h 99"/>
                <a:gd name="T78" fmla="*/ 133 w 294"/>
                <a:gd name="T79" fmla="*/ 66 h 99"/>
                <a:gd name="T80" fmla="*/ 137 w 294"/>
                <a:gd name="T81" fmla="*/ 65 h 99"/>
                <a:gd name="T82" fmla="*/ 146 w 294"/>
                <a:gd name="T83" fmla="*/ 63 h 99"/>
                <a:gd name="T84" fmla="*/ 154 w 294"/>
                <a:gd name="T85" fmla="*/ 62 h 99"/>
                <a:gd name="T86" fmla="*/ 142 w 294"/>
                <a:gd name="T87" fmla="*/ 72 h 99"/>
                <a:gd name="T88" fmla="*/ 88 w 294"/>
                <a:gd name="T89" fmla="*/ 84 h 99"/>
                <a:gd name="T90" fmla="*/ 125 w 294"/>
                <a:gd name="T91" fmla="*/ 97 h 99"/>
                <a:gd name="T92" fmla="*/ 218 w 294"/>
                <a:gd name="T93" fmla="*/ 70 h 99"/>
                <a:gd name="T94" fmla="*/ 239 w 294"/>
                <a:gd name="T95" fmla="*/ 68 h 99"/>
                <a:gd name="T96" fmla="*/ 255 w 294"/>
                <a:gd name="T97" fmla="*/ 69 h 99"/>
                <a:gd name="T98" fmla="*/ 283 w 294"/>
                <a:gd name="T99" fmla="*/ 63 h 99"/>
                <a:gd name="T100" fmla="*/ 286 w 294"/>
                <a:gd name="T101" fmla="*/ 53 h 99"/>
                <a:gd name="T102" fmla="*/ 288 w 294"/>
                <a:gd name="T103" fmla="*/ 27 h 99"/>
                <a:gd name="T104" fmla="*/ 259 w 294"/>
                <a:gd name="T105" fmla="*/ 29 h 99"/>
                <a:gd name="T106" fmla="*/ 257 w 294"/>
                <a:gd name="T107" fmla="*/ 38 h 99"/>
                <a:gd name="T108" fmla="*/ 250 w 294"/>
                <a:gd name="T109" fmla="*/ 29 h 99"/>
                <a:gd name="T110" fmla="*/ 240 w 294"/>
                <a:gd name="T111" fmla="*/ 23 h 99"/>
                <a:gd name="T112" fmla="*/ 230 w 294"/>
                <a:gd name="T113" fmla="*/ 22 h 99"/>
                <a:gd name="T114" fmla="*/ 222 w 294"/>
                <a:gd name="T115" fmla="*/ 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99">
                  <a:moveTo>
                    <a:pt x="234" y="74"/>
                  </a:moveTo>
                  <a:cubicBezTo>
                    <a:pt x="234" y="74"/>
                    <a:pt x="234" y="74"/>
                    <a:pt x="234" y="74"/>
                  </a:cubicBezTo>
                  <a:cubicBezTo>
                    <a:pt x="234" y="74"/>
                    <a:pt x="234" y="74"/>
                    <a:pt x="234" y="74"/>
                  </a:cubicBezTo>
                  <a:moveTo>
                    <a:pt x="221" y="0"/>
                  </a:moveTo>
                  <a:cubicBezTo>
                    <a:pt x="192" y="0"/>
                    <a:pt x="192" y="0"/>
                    <a:pt x="192" y="0"/>
                  </a:cubicBezTo>
                  <a:cubicBezTo>
                    <a:pt x="191" y="1"/>
                    <a:pt x="189" y="1"/>
                    <a:pt x="187" y="1"/>
                  </a:cubicBezTo>
                  <a:cubicBezTo>
                    <a:pt x="187" y="1"/>
                    <a:pt x="187" y="1"/>
                    <a:pt x="186" y="1"/>
                  </a:cubicBezTo>
                  <a:cubicBezTo>
                    <a:pt x="184" y="3"/>
                    <a:pt x="177" y="5"/>
                    <a:pt x="178" y="10"/>
                  </a:cubicBezTo>
                  <a:cubicBezTo>
                    <a:pt x="178" y="11"/>
                    <a:pt x="181" y="11"/>
                    <a:pt x="182" y="11"/>
                  </a:cubicBezTo>
                  <a:cubicBezTo>
                    <a:pt x="185" y="12"/>
                    <a:pt x="187" y="14"/>
                    <a:pt x="190" y="15"/>
                  </a:cubicBezTo>
                  <a:cubicBezTo>
                    <a:pt x="194" y="18"/>
                    <a:pt x="199" y="20"/>
                    <a:pt x="203" y="23"/>
                  </a:cubicBezTo>
                  <a:cubicBezTo>
                    <a:pt x="203" y="23"/>
                    <a:pt x="203" y="23"/>
                    <a:pt x="203" y="23"/>
                  </a:cubicBezTo>
                  <a:cubicBezTo>
                    <a:pt x="201" y="23"/>
                    <a:pt x="197" y="25"/>
                    <a:pt x="196" y="26"/>
                  </a:cubicBezTo>
                  <a:cubicBezTo>
                    <a:pt x="193" y="27"/>
                    <a:pt x="190" y="28"/>
                    <a:pt x="187" y="29"/>
                  </a:cubicBezTo>
                  <a:cubicBezTo>
                    <a:pt x="184" y="30"/>
                    <a:pt x="193" y="33"/>
                    <a:pt x="194" y="33"/>
                  </a:cubicBezTo>
                  <a:cubicBezTo>
                    <a:pt x="199" y="35"/>
                    <a:pt x="205" y="36"/>
                    <a:pt x="210" y="38"/>
                  </a:cubicBezTo>
                  <a:cubicBezTo>
                    <a:pt x="214" y="39"/>
                    <a:pt x="214" y="40"/>
                    <a:pt x="213" y="44"/>
                  </a:cubicBezTo>
                  <a:cubicBezTo>
                    <a:pt x="213" y="45"/>
                    <a:pt x="212" y="49"/>
                    <a:pt x="211" y="49"/>
                  </a:cubicBezTo>
                  <a:cubicBezTo>
                    <a:pt x="211" y="49"/>
                    <a:pt x="211" y="49"/>
                    <a:pt x="211" y="49"/>
                  </a:cubicBezTo>
                  <a:cubicBezTo>
                    <a:pt x="207" y="49"/>
                    <a:pt x="203" y="48"/>
                    <a:pt x="199" y="47"/>
                  </a:cubicBezTo>
                  <a:cubicBezTo>
                    <a:pt x="194" y="47"/>
                    <a:pt x="190" y="46"/>
                    <a:pt x="185" y="46"/>
                  </a:cubicBezTo>
                  <a:cubicBezTo>
                    <a:pt x="184" y="46"/>
                    <a:pt x="184" y="46"/>
                    <a:pt x="183" y="46"/>
                  </a:cubicBezTo>
                  <a:cubicBezTo>
                    <a:pt x="175" y="47"/>
                    <a:pt x="166" y="47"/>
                    <a:pt x="158" y="47"/>
                  </a:cubicBezTo>
                  <a:cubicBezTo>
                    <a:pt x="158" y="47"/>
                    <a:pt x="158" y="47"/>
                    <a:pt x="158" y="47"/>
                  </a:cubicBezTo>
                  <a:cubicBezTo>
                    <a:pt x="155" y="47"/>
                    <a:pt x="155" y="43"/>
                    <a:pt x="154" y="42"/>
                  </a:cubicBezTo>
                  <a:cubicBezTo>
                    <a:pt x="154" y="39"/>
                    <a:pt x="155" y="35"/>
                    <a:pt x="152" y="32"/>
                  </a:cubicBezTo>
                  <a:cubicBezTo>
                    <a:pt x="152" y="32"/>
                    <a:pt x="151" y="32"/>
                    <a:pt x="150" y="32"/>
                  </a:cubicBezTo>
                  <a:cubicBezTo>
                    <a:pt x="148" y="32"/>
                    <a:pt x="146" y="33"/>
                    <a:pt x="145" y="33"/>
                  </a:cubicBezTo>
                  <a:cubicBezTo>
                    <a:pt x="142" y="33"/>
                    <a:pt x="139" y="33"/>
                    <a:pt x="136" y="33"/>
                  </a:cubicBezTo>
                  <a:cubicBezTo>
                    <a:pt x="136" y="33"/>
                    <a:pt x="135" y="33"/>
                    <a:pt x="135" y="33"/>
                  </a:cubicBezTo>
                  <a:cubicBezTo>
                    <a:pt x="137" y="33"/>
                    <a:pt x="136" y="31"/>
                    <a:pt x="138" y="30"/>
                  </a:cubicBezTo>
                  <a:cubicBezTo>
                    <a:pt x="140" y="30"/>
                    <a:pt x="142" y="30"/>
                    <a:pt x="144" y="30"/>
                  </a:cubicBezTo>
                  <a:cubicBezTo>
                    <a:pt x="139" y="27"/>
                    <a:pt x="135" y="24"/>
                    <a:pt x="131" y="21"/>
                  </a:cubicBezTo>
                  <a:cubicBezTo>
                    <a:pt x="127" y="18"/>
                    <a:pt x="123" y="14"/>
                    <a:pt x="119" y="12"/>
                  </a:cubicBezTo>
                  <a:cubicBezTo>
                    <a:pt x="118" y="12"/>
                    <a:pt x="118" y="12"/>
                    <a:pt x="118" y="12"/>
                  </a:cubicBezTo>
                  <a:cubicBezTo>
                    <a:pt x="116" y="12"/>
                    <a:pt x="116" y="12"/>
                    <a:pt x="114" y="12"/>
                  </a:cubicBezTo>
                  <a:cubicBezTo>
                    <a:pt x="114" y="12"/>
                    <a:pt x="114" y="12"/>
                    <a:pt x="114" y="12"/>
                  </a:cubicBezTo>
                  <a:cubicBezTo>
                    <a:pt x="113" y="12"/>
                    <a:pt x="113" y="12"/>
                    <a:pt x="112" y="12"/>
                  </a:cubicBezTo>
                  <a:cubicBezTo>
                    <a:pt x="111" y="12"/>
                    <a:pt x="111" y="12"/>
                    <a:pt x="110" y="12"/>
                  </a:cubicBezTo>
                  <a:cubicBezTo>
                    <a:pt x="110" y="12"/>
                    <a:pt x="109" y="12"/>
                    <a:pt x="109" y="12"/>
                  </a:cubicBezTo>
                  <a:cubicBezTo>
                    <a:pt x="106" y="13"/>
                    <a:pt x="102" y="14"/>
                    <a:pt x="99" y="14"/>
                  </a:cubicBezTo>
                  <a:cubicBezTo>
                    <a:pt x="99" y="14"/>
                    <a:pt x="98" y="14"/>
                    <a:pt x="97" y="14"/>
                  </a:cubicBezTo>
                  <a:cubicBezTo>
                    <a:pt x="95" y="14"/>
                    <a:pt x="92" y="14"/>
                    <a:pt x="93" y="13"/>
                  </a:cubicBezTo>
                  <a:cubicBezTo>
                    <a:pt x="94" y="13"/>
                    <a:pt x="94" y="12"/>
                    <a:pt x="93" y="11"/>
                  </a:cubicBezTo>
                  <a:cubicBezTo>
                    <a:pt x="92" y="11"/>
                    <a:pt x="91" y="11"/>
                    <a:pt x="91" y="10"/>
                  </a:cubicBezTo>
                  <a:cubicBezTo>
                    <a:pt x="94" y="10"/>
                    <a:pt x="96" y="9"/>
                    <a:pt x="99" y="9"/>
                  </a:cubicBezTo>
                  <a:cubicBezTo>
                    <a:pt x="102" y="8"/>
                    <a:pt x="104" y="3"/>
                    <a:pt x="101" y="3"/>
                  </a:cubicBezTo>
                  <a:cubicBezTo>
                    <a:pt x="101" y="3"/>
                    <a:pt x="100" y="3"/>
                    <a:pt x="100" y="3"/>
                  </a:cubicBezTo>
                  <a:cubicBezTo>
                    <a:pt x="102" y="2"/>
                    <a:pt x="100" y="2"/>
                    <a:pt x="101" y="1"/>
                  </a:cubicBezTo>
                  <a:cubicBezTo>
                    <a:pt x="101" y="1"/>
                    <a:pt x="101" y="0"/>
                    <a:pt x="102" y="0"/>
                  </a:cubicBezTo>
                  <a:cubicBezTo>
                    <a:pt x="49" y="0"/>
                    <a:pt x="49" y="0"/>
                    <a:pt x="49" y="0"/>
                  </a:cubicBezTo>
                  <a:cubicBezTo>
                    <a:pt x="48" y="0"/>
                    <a:pt x="48" y="1"/>
                    <a:pt x="47" y="1"/>
                  </a:cubicBezTo>
                  <a:cubicBezTo>
                    <a:pt x="46" y="1"/>
                    <a:pt x="45" y="0"/>
                    <a:pt x="44" y="0"/>
                  </a:cubicBezTo>
                  <a:cubicBezTo>
                    <a:pt x="1" y="0"/>
                    <a:pt x="1" y="0"/>
                    <a:pt x="1" y="0"/>
                  </a:cubicBezTo>
                  <a:cubicBezTo>
                    <a:pt x="1" y="0"/>
                    <a:pt x="1" y="0"/>
                    <a:pt x="1" y="0"/>
                  </a:cubicBezTo>
                  <a:cubicBezTo>
                    <a:pt x="1" y="2"/>
                    <a:pt x="1" y="2"/>
                    <a:pt x="1" y="2"/>
                  </a:cubicBezTo>
                  <a:cubicBezTo>
                    <a:pt x="0" y="4"/>
                    <a:pt x="0" y="4"/>
                    <a:pt x="1" y="6"/>
                  </a:cubicBezTo>
                  <a:cubicBezTo>
                    <a:pt x="3" y="7"/>
                    <a:pt x="4" y="9"/>
                    <a:pt x="6" y="9"/>
                  </a:cubicBezTo>
                  <a:cubicBezTo>
                    <a:pt x="7" y="9"/>
                    <a:pt x="7" y="9"/>
                    <a:pt x="7" y="9"/>
                  </a:cubicBezTo>
                  <a:cubicBezTo>
                    <a:pt x="7" y="9"/>
                    <a:pt x="8" y="9"/>
                    <a:pt x="9" y="9"/>
                  </a:cubicBezTo>
                  <a:cubicBezTo>
                    <a:pt x="10" y="9"/>
                    <a:pt x="12" y="9"/>
                    <a:pt x="14" y="10"/>
                  </a:cubicBezTo>
                  <a:cubicBezTo>
                    <a:pt x="16" y="10"/>
                    <a:pt x="17" y="10"/>
                    <a:pt x="19" y="10"/>
                  </a:cubicBezTo>
                  <a:cubicBezTo>
                    <a:pt x="20" y="10"/>
                    <a:pt x="22" y="10"/>
                    <a:pt x="23" y="10"/>
                  </a:cubicBezTo>
                  <a:cubicBezTo>
                    <a:pt x="24" y="9"/>
                    <a:pt x="25" y="8"/>
                    <a:pt x="25" y="8"/>
                  </a:cubicBezTo>
                  <a:cubicBezTo>
                    <a:pt x="26" y="8"/>
                    <a:pt x="26" y="8"/>
                    <a:pt x="27" y="8"/>
                  </a:cubicBezTo>
                  <a:cubicBezTo>
                    <a:pt x="27" y="8"/>
                    <a:pt x="27" y="8"/>
                    <a:pt x="28" y="8"/>
                  </a:cubicBezTo>
                  <a:cubicBezTo>
                    <a:pt x="28" y="8"/>
                    <a:pt x="28" y="8"/>
                    <a:pt x="28" y="8"/>
                  </a:cubicBezTo>
                  <a:cubicBezTo>
                    <a:pt x="31" y="8"/>
                    <a:pt x="33" y="8"/>
                    <a:pt x="36" y="9"/>
                  </a:cubicBezTo>
                  <a:cubicBezTo>
                    <a:pt x="37" y="9"/>
                    <a:pt x="38" y="11"/>
                    <a:pt x="40" y="12"/>
                  </a:cubicBezTo>
                  <a:cubicBezTo>
                    <a:pt x="42" y="12"/>
                    <a:pt x="43" y="13"/>
                    <a:pt x="45" y="13"/>
                  </a:cubicBezTo>
                  <a:cubicBezTo>
                    <a:pt x="49" y="14"/>
                    <a:pt x="52" y="14"/>
                    <a:pt x="56" y="14"/>
                  </a:cubicBezTo>
                  <a:cubicBezTo>
                    <a:pt x="57" y="15"/>
                    <a:pt x="59" y="15"/>
                    <a:pt x="60" y="15"/>
                  </a:cubicBezTo>
                  <a:cubicBezTo>
                    <a:pt x="62" y="15"/>
                    <a:pt x="64" y="14"/>
                    <a:pt x="66" y="14"/>
                  </a:cubicBezTo>
                  <a:cubicBezTo>
                    <a:pt x="70" y="15"/>
                    <a:pt x="74" y="15"/>
                    <a:pt x="78" y="17"/>
                  </a:cubicBezTo>
                  <a:cubicBezTo>
                    <a:pt x="77" y="17"/>
                    <a:pt x="76" y="17"/>
                    <a:pt x="74" y="17"/>
                  </a:cubicBezTo>
                  <a:cubicBezTo>
                    <a:pt x="70" y="17"/>
                    <a:pt x="66" y="16"/>
                    <a:pt x="63" y="16"/>
                  </a:cubicBezTo>
                  <a:cubicBezTo>
                    <a:pt x="61" y="16"/>
                    <a:pt x="60" y="15"/>
                    <a:pt x="59" y="15"/>
                  </a:cubicBezTo>
                  <a:cubicBezTo>
                    <a:pt x="58" y="15"/>
                    <a:pt x="57" y="16"/>
                    <a:pt x="56" y="16"/>
                  </a:cubicBezTo>
                  <a:cubicBezTo>
                    <a:pt x="55" y="16"/>
                    <a:pt x="55" y="16"/>
                    <a:pt x="54" y="16"/>
                  </a:cubicBezTo>
                  <a:cubicBezTo>
                    <a:pt x="53" y="16"/>
                    <a:pt x="52" y="16"/>
                    <a:pt x="52" y="16"/>
                  </a:cubicBezTo>
                  <a:cubicBezTo>
                    <a:pt x="49" y="15"/>
                    <a:pt x="47" y="15"/>
                    <a:pt x="45" y="15"/>
                  </a:cubicBezTo>
                  <a:cubicBezTo>
                    <a:pt x="44" y="15"/>
                    <a:pt x="44" y="15"/>
                    <a:pt x="43" y="15"/>
                  </a:cubicBezTo>
                  <a:cubicBezTo>
                    <a:pt x="40" y="15"/>
                    <a:pt x="30" y="18"/>
                    <a:pt x="31" y="22"/>
                  </a:cubicBezTo>
                  <a:cubicBezTo>
                    <a:pt x="31" y="23"/>
                    <a:pt x="33" y="23"/>
                    <a:pt x="33" y="24"/>
                  </a:cubicBezTo>
                  <a:cubicBezTo>
                    <a:pt x="34" y="25"/>
                    <a:pt x="30" y="26"/>
                    <a:pt x="30" y="28"/>
                  </a:cubicBezTo>
                  <a:cubicBezTo>
                    <a:pt x="30" y="30"/>
                    <a:pt x="34" y="30"/>
                    <a:pt x="36" y="30"/>
                  </a:cubicBezTo>
                  <a:cubicBezTo>
                    <a:pt x="38" y="31"/>
                    <a:pt x="40" y="31"/>
                    <a:pt x="42" y="31"/>
                  </a:cubicBezTo>
                  <a:cubicBezTo>
                    <a:pt x="45" y="31"/>
                    <a:pt x="47" y="31"/>
                    <a:pt x="49" y="30"/>
                  </a:cubicBezTo>
                  <a:cubicBezTo>
                    <a:pt x="56" y="29"/>
                    <a:pt x="64" y="29"/>
                    <a:pt x="71" y="29"/>
                  </a:cubicBezTo>
                  <a:cubicBezTo>
                    <a:pt x="71" y="29"/>
                    <a:pt x="71" y="29"/>
                    <a:pt x="72" y="29"/>
                  </a:cubicBezTo>
                  <a:cubicBezTo>
                    <a:pt x="75" y="29"/>
                    <a:pt x="76" y="31"/>
                    <a:pt x="72" y="31"/>
                  </a:cubicBezTo>
                  <a:cubicBezTo>
                    <a:pt x="68" y="32"/>
                    <a:pt x="64" y="32"/>
                    <a:pt x="60" y="32"/>
                  </a:cubicBezTo>
                  <a:cubicBezTo>
                    <a:pt x="54" y="32"/>
                    <a:pt x="50" y="32"/>
                    <a:pt x="45" y="33"/>
                  </a:cubicBezTo>
                  <a:cubicBezTo>
                    <a:pt x="39" y="34"/>
                    <a:pt x="30" y="33"/>
                    <a:pt x="25" y="36"/>
                  </a:cubicBezTo>
                  <a:cubicBezTo>
                    <a:pt x="23" y="37"/>
                    <a:pt x="22" y="40"/>
                    <a:pt x="20" y="41"/>
                  </a:cubicBezTo>
                  <a:cubicBezTo>
                    <a:pt x="16" y="45"/>
                    <a:pt x="22" y="45"/>
                    <a:pt x="27" y="45"/>
                  </a:cubicBezTo>
                  <a:cubicBezTo>
                    <a:pt x="28" y="45"/>
                    <a:pt x="28" y="45"/>
                    <a:pt x="29" y="45"/>
                  </a:cubicBezTo>
                  <a:cubicBezTo>
                    <a:pt x="29" y="45"/>
                    <a:pt x="29" y="45"/>
                    <a:pt x="30" y="45"/>
                  </a:cubicBezTo>
                  <a:cubicBezTo>
                    <a:pt x="30" y="45"/>
                    <a:pt x="30" y="45"/>
                    <a:pt x="30" y="45"/>
                  </a:cubicBezTo>
                  <a:cubicBezTo>
                    <a:pt x="32" y="45"/>
                    <a:pt x="33" y="45"/>
                    <a:pt x="34" y="45"/>
                  </a:cubicBezTo>
                  <a:cubicBezTo>
                    <a:pt x="38" y="45"/>
                    <a:pt x="42" y="45"/>
                    <a:pt x="47" y="43"/>
                  </a:cubicBezTo>
                  <a:cubicBezTo>
                    <a:pt x="54" y="41"/>
                    <a:pt x="63" y="39"/>
                    <a:pt x="70" y="39"/>
                  </a:cubicBezTo>
                  <a:cubicBezTo>
                    <a:pt x="70" y="39"/>
                    <a:pt x="70" y="39"/>
                    <a:pt x="70" y="39"/>
                  </a:cubicBezTo>
                  <a:cubicBezTo>
                    <a:pt x="68" y="39"/>
                    <a:pt x="66" y="41"/>
                    <a:pt x="64" y="42"/>
                  </a:cubicBezTo>
                  <a:cubicBezTo>
                    <a:pt x="62" y="44"/>
                    <a:pt x="59" y="44"/>
                    <a:pt x="56" y="44"/>
                  </a:cubicBezTo>
                  <a:cubicBezTo>
                    <a:pt x="53" y="45"/>
                    <a:pt x="51" y="47"/>
                    <a:pt x="47" y="47"/>
                  </a:cubicBezTo>
                  <a:cubicBezTo>
                    <a:pt x="37" y="49"/>
                    <a:pt x="27" y="51"/>
                    <a:pt x="16" y="52"/>
                  </a:cubicBezTo>
                  <a:cubicBezTo>
                    <a:pt x="13" y="53"/>
                    <a:pt x="13" y="54"/>
                    <a:pt x="10" y="56"/>
                  </a:cubicBezTo>
                  <a:cubicBezTo>
                    <a:pt x="8" y="58"/>
                    <a:pt x="8" y="59"/>
                    <a:pt x="10" y="61"/>
                  </a:cubicBezTo>
                  <a:cubicBezTo>
                    <a:pt x="13" y="63"/>
                    <a:pt x="19" y="64"/>
                    <a:pt x="23" y="64"/>
                  </a:cubicBezTo>
                  <a:cubicBezTo>
                    <a:pt x="25" y="65"/>
                    <a:pt x="26" y="65"/>
                    <a:pt x="29" y="66"/>
                  </a:cubicBezTo>
                  <a:cubicBezTo>
                    <a:pt x="29" y="66"/>
                    <a:pt x="29" y="66"/>
                    <a:pt x="29" y="66"/>
                  </a:cubicBezTo>
                  <a:cubicBezTo>
                    <a:pt x="31" y="66"/>
                    <a:pt x="32" y="64"/>
                    <a:pt x="34" y="63"/>
                  </a:cubicBezTo>
                  <a:cubicBezTo>
                    <a:pt x="35" y="63"/>
                    <a:pt x="36" y="63"/>
                    <a:pt x="37" y="63"/>
                  </a:cubicBezTo>
                  <a:cubicBezTo>
                    <a:pt x="38" y="63"/>
                    <a:pt x="40" y="62"/>
                    <a:pt x="41" y="62"/>
                  </a:cubicBezTo>
                  <a:cubicBezTo>
                    <a:pt x="41" y="62"/>
                    <a:pt x="42" y="62"/>
                    <a:pt x="42" y="64"/>
                  </a:cubicBezTo>
                  <a:cubicBezTo>
                    <a:pt x="41" y="65"/>
                    <a:pt x="39" y="66"/>
                    <a:pt x="40" y="67"/>
                  </a:cubicBezTo>
                  <a:cubicBezTo>
                    <a:pt x="40" y="67"/>
                    <a:pt x="40" y="67"/>
                    <a:pt x="41" y="67"/>
                  </a:cubicBezTo>
                  <a:cubicBezTo>
                    <a:pt x="42" y="67"/>
                    <a:pt x="43" y="67"/>
                    <a:pt x="43" y="67"/>
                  </a:cubicBezTo>
                  <a:cubicBezTo>
                    <a:pt x="39" y="70"/>
                    <a:pt x="47" y="70"/>
                    <a:pt x="49" y="71"/>
                  </a:cubicBezTo>
                  <a:cubicBezTo>
                    <a:pt x="51" y="72"/>
                    <a:pt x="53" y="73"/>
                    <a:pt x="55" y="73"/>
                  </a:cubicBezTo>
                  <a:cubicBezTo>
                    <a:pt x="56" y="73"/>
                    <a:pt x="57" y="72"/>
                    <a:pt x="57" y="71"/>
                  </a:cubicBezTo>
                  <a:cubicBezTo>
                    <a:pt x="59" y="69"/>
                    <a:pt x="56" y="67"/>
                    <a:pt x="56" y="65"/>
                  </a:cubicBezTo>
                  <a:cubicBezTo>
                    <a:pt x="58" y="65"/>
                    <a:pt x="59" y="66"/>
                    <a:pt x="59" y="66"/>
                  </a:cubicBezTo>
                  <a:cubicBezTo>
                    <a:pt x="60" y="66"/>
                    <a:pt x="61" y="65"/>
                    <a:pt x="63" y="64"/>
                  </a:cubicBezTo>
                  <a:cubicBezTo>
                    <a:pt x="63" y="64"/>
                    <a:pt x="64" y="64"/>
                    <a:pt x="65" y="64"/>
                  </a:cubicBezTo>
                  <a:cubicBezTo>
                    <a:pt x="66" y="64"/>
                    <a:pt x="66" y="65"/>
                    <a:pt x="66" y="66"/>
                  </a:cubicBezTo>
                  <a:cubicBezTo>
                    <a:pt x="66" y="67"/>
                    <a:pt x="65" y="68"/>
                    <a:pt x="65" y="68"/>
                  </a:cubicBezTo>
                  <a:cubicBezTo>
                    <a:pt x="66" y="70"/>
                    <a:pt x="67" y="71"/>
                    <a:pt x="68" y="72"/>
                  </a:cubicBezTo>
                  <a:cubicBezTo>
                    <a:pt x="69" y="73"/>
                    <a:pt x="70" y="73"/>
                    <a:pt x="71" y="73"/>
                  </a:cubicBezTo>
                  <a:cubicBezTo>
                    <a:pt x="72" y="73"/>
                    <a:pt x="72" y="73"/>
                    <a:pt x="74" y="72"/>
                  </a:cubicBezTo>
                  <a:cubicBezTo>
                    <a:pt x="77" y="71"/>
                    <a:pt x="81" y="70"/>
                    <a:pt x="83" y="68"/>
                  </a:cubicBezTo>
                  <a:cubicBezTo>
                    <a:pt x="84" y="67"/>
                    <a:pt x="87" y="65"/>
                    <a:pt x="87" y="63"/>
                  </a:cubicBezTo>
                  <a:cubicBezTo>
                    <a:pt x="87" y="62"/>
                    <a:pt x="82" y="59"/>
                    <a:pt x="82" y="57"/>
                  </a:cubicBezTo>
                  <a:cubicBezTo>
                    <a:pt x="84" y="58"/>
                    <a:pt x="86" y="60"/>
                    <a:pt x="88" y="60"/>
                  </a:cubicBezTo>
                  <a:cubicBezTo>
                    <a:pt x="89" y="60"/>
                    <a:pt x="90" y="60"/>
                    <a:pt x="91" y="58"/>
                  </a:cubicBezTo>
                  <a:cubicBezTo>
                    <a:pt x="93" y="55"/>
                    <a:pt x="91" y="52"/>
                    <a:pt x="92" y="50"/>
                  </a:cubicBezTo>
                  <a:cubicBezTo>
                    <a:pt x="92" y="50"/>
                    <a:pt x="93" y="50"/>
                    <a:pt x="93" y="50"/>
                  </a:cubicBezTo>
                  <a:cubicBezTo>
                    <a:pt x="93" y="50"/>
                    <a:pt x="96" y="54"/>
                    <a:pt x="96" y="54"/>
                  </a:cubicBezTo>
                  <a:cubicBezTo>
                    <a:pt x="96" y="54"/>
                    <a:pt x="96" y="54"/>
                    <a:pt x="97" y="54"/>
                  </a:cubicBezTo>
                  <a:cubicBezTo>
                    <a:pt x="98" y="54"/>
                    <a:pt x="100" y="53"/>
                    <a:pt x="102" y="53"/>
                  </a:cubicBezTo>
                  <a:cubicBezTo>
                    <a:pt x="101" y="54"/>
                    <a:pt x="99" y="55"/>
                    <a:pt x="98" y="57"/>
                  </a:cubicBezTo>
                  <a:cubicBezTo>
                    <a:pt x="97" y="58"/>
                    <a:pt x="97" y="59"/>
                    <a:pt x="97" y="60"/>
                  </a:cubicBezTo>
                  <a:cubicBezTo>
                    <a:pt x="96" y="61"/>
                    <a:pt x="96" y="62"/>
                    <a:pt x="95" y="63"/>
                  </a:cubicBezTo>
                  <a:cubicBezTo>
                    <a:pt x="95" y="63"/>
                    <a:pt x="96" y="64"/>
                    <a:pt x="95" y="65"/>
                  </a:cubicBezTo>
                  <a:cubicBezTo>
                    <a:pt x="95" y="65"/>
                    <a:pt x="95" y="65"/>
                    <a:pt x="95" y="66"/>
                  </a:cubicBezTo>
                  <a:cubicBezTo>
                    <a:pt x="94" y="69"/>
                    <a:pt x="95" y="69"/>
                    <a:pt x="98" y="69"/>
                  </a:cubicBezTo>
                  <a:cubicBezTo>
                    <a:pt x="98" y="69"/>
                    <a:pt x="98" y="69"/>
                    <a:pt x="99" y="69"/>
                  </a:cubicBezTo>
                  <a:cubicBezTo>
                    <a:pt x="100" y="69"/>
                    <a:pt x="102" y="69"/>
                    <a:pt x="103" y="68"/>
                  </a:cubicBezTo>
                  <a:cubicBezTo>
                    <a:pt x="107" y="67"/>
                    <a:pt x="123" y="69"/>
                    <a:pt x="124" y="64"/>
                  </a:cubicBezTo>
                  <a:cubicBezTo>
                    <a:pt x="124" y="63"/>
                    <a:pt x="124" y="59"/>
                    <a:pt x="125" y="59"/>
                  </a:cubicBezTo>
                  <a:cubicBezTo>
                    <a:pt x="125" y="59"/>
                    <a:pt x="125" y="59"/>
                    <a:pt x="126" y="59"/>
                  </a:cubicBezTo>
                  <a:cubicBezTo>
                    <a:pt x="126" y="60"/>
                    <a:pt x="125" y="62"/>
                    <a:pt x="125" y="62"/>
                  </a:cubicBezTo>
                  <a:cubicBezTo>
                    <a:pt x="126" y="62"/>
                    <a:pt x="126" y="62"/>
                    <a:pt x="126" y="62"/>
                  </a:cubicBezTo>
                  <a:cubicBezTo>
                    <a:pt x="127" y="62"/>
                    <a:pt x="128" y="62"/>
                    <a:pt x="129" y="61"/>
                  </a:cubicBezTo>
                  <a:cubicBezTo>
                    <a:pt x="130" y="61"/>
                    <a:pt x="130" y="61"/>
                    <a:pt x="131" y="61"/>
                  </a:cubicBezTo>
                  <a:cubicBezTo>
                    <a:pt x="132" y="61"/>
                    <a:pt x="132" y="61"/>
                    <a:pt x="132" y="62"/>
                  </a:cubicBezTo>
                  <a:cubicBezTo>
                    <a:pt x="131" y="64"/>
                    <a:pt x="128" y="64"/>
                    <a:pt x="131" y="66"/>
                  </a:cubicBezTo>
                  <a:cubicBezTo>
                    <a:pt x="131" y="66"/>
                    <a:pt x="131" y="66"/>
                    <a:pt x="131" y="66"/>
                  </a:cubicBezTo>
                  <a:cubicBezTo>
                    <a:pt x="132" y="66"/>
                    <a:pt x="132" y="66"/>
                    <a:pt x="133" y="66"/>
                  </a:cubicBezTo>
                  <a:cubicBezTo>
                    <a:pt x="133" y="66"/>
                    <a:pt x="134" y="66"/>
                    <a:pt x="134" y="66"/>
                  </a:cubicBezTo>
                  <a:cubicBezTo>
                    <a:pt x="134" y="66"/>
                    <a:pt x="134" y="66"/>
                    <a:pt x="134" y="66"/>
                  </a:cubicBezTo>
                  <a:cubicBezTo>
                    <a:pt x="134" y="66"/>
                    <a:pt x="134" y="66"/>
                    <a:pt x="134" y="66"/>
                  </a:cubicBezTo>
                  <a:cubicBezTo>
                    <a:pt x="135" y="66"/>
                    <a:pt x="136" y="65"/>
                    <a:pt x="137" y="65"/>
                  </a:cubicBezTo>
                  <a:cubicBezTo>
                    <a:pt x="138" y="65"/>
                    <a:pt x="139" y="65"/>
                    <a:pt x="140" y="65"/>
                  </a:cubicBezTo>
                  <a:cubicBezTo>
                    <a:pt x="140" y="65"/>
                    <a:pt x="140" y="65"/>
                    <a:pt x="141" y="65"/>
                  </a:cubicBezTo>
                  <a:cubicBezTo>
                    <a:pt x="141" y="65"/>
                    <a:pt x="141" y="65"/>
                    <a:pt x="141" y="65"/>
                  </a:cubicBezTo>
                  <a:cubicBezTo>
                    <a:pt x="143" y="65"/>
                    <a:pt x="144" y="63"/>
                    <a:pt x="146" y="63"/>
                  </a:cubicBezTo>
                  <a:cubicBezTo>
                    <a:pt x="146" y="63"/>
                    <a:pt x="146" y="63"/>
                    <a:pt x="146" y="63"/>
                  </a:cubicBezTo>
                  <a:cubicBezTo>
                    <a:pt x="147" y="63"/>
                    <a:pt x="147" y="64"/>
                    <a:pt x="148" y="64"/>
                  </a:cubicBezTo>
                  <a:cubicBezTo>
                    <a:pt x="148" y="64"/>
                    <a:pt x="148" y="64"/>
                    <a:pt x="148" y="64"/>
                  </a:cubicBezTo>
                  <a:cubicBezTo>
                    <a:pt x="150" y="64"/>
                    <a:pt x="152" y="63"/>
                    <a:pt x="154" y="62"/>
                  </a:cubicBezTo>
                  <a:cubicBezTo>
                    <a:pt x="155" y="61"/>
                    <a:pt x="157" y="59"/>
                    <a:pt x="159" y="59"/>
                  </a:cubicBezTo>
                  <a:cubicBezTo>
                    <a:pt x="159" y="59"/>
                    <a:pt x="159" y="59"/>
                    <a:pt x="159" y="59"/>
                  </a:cubicBezTo>
                  <a:cubicBezTo>
                    <a:pt x="156" y="66"/>
                    <a:pt x="151" y="72"/>
                    <a:pt x="144" y="72"/>
                  </a:cubicBezTo>
                  <a:cubicBezTo>
                    <a:pt x="143" y="72"/>
                    <a:pt x="143" y="72"/>
                    <a:pt x="142" y="72"/>
                  </a:cubicBezTo>
                  <a:cubicBezTo>
                    <a:pt x="141" y="71"/>
                    <a:pt x="140" y="71"/>
                    <a:pt x="138" y="71"/>
                  </a:cubicBezTo>
                  <a:cubicBezTo>
                    <a:pt x="135" y="71"/>
                    <a:pt x="131" y="72"/>
                    <a:pt x="127" y="73"/>
                  </a:cubicBezTo>
                  <a:cubicBezTo>
                    <a:pt x="118" y="76"/>
                    <a:pt x="109" y="78"/>
                    <a:pt x="100" y="81"/>
                  </a:cubicBezTo>
                  <a:cubicBezTo>
                    <a:pt x="96" y="82"/>
                    <a:pt x="92" y="83"/>
                    <a:pt x="88" y="84"/>
                  </a:cubicBezTo>
                  <a:cubicBezTo>
                    <a:pt x="87" y="84"/>
                    <a:pt x="84" y="85"/>
                    <a:pt x="84" y="85"/>
                  </a:cubicBezTo>
                  <a:cubicBezTo>
                    <a:pt x="81" y="90"/>
                    <a:pt x="102" y="97"/>
                    <a:pt x="106" y="98"/>
                  </a:cubicBezTo>
                  <a:cubicBezTo>
                    <a:pt x="108" y="99"/>
                    <a:pt x="111" y="99"/>
                    <a:pt x="114" y="99"/>
                  </a:cubicBezTo>
                  <a:cubicBezTo>
                    <a:pt x="118" y="99"/>
                    <a:pt x="121" y="98"/>
                    <a:pt x="125" y="97"/>
                  </a:cubicBezTo>
                  <a:cubicBezTo>
                    <a:pt x="143" y="92"/>
                    <a:pt x="160" y="87"/>
                    <a:pt x="178" y="81"/>
                  </a:cubicBezTo>
                  <a:cubicBezTo>
                    <a:pt x="190" y="78"/>
                    <a:pt x="201" y="73"/>
                    <a:pt x="213" y="69"/>
                  </a:cubicBezTo>
                  <a:cubicBezTo>
                    <a:pt x="213" y="68"/>
                    <a:pt x="214" y="68"/>
                    <a:pt x="214" y="68"/>
                  </a:cubicBezTo>
                  <a:cubicBezTo>
                    <a:pt x="216" y="68"/>
                    <a:pt x="217" y="69"/>
                    <a:pt x="218" y="70"/>
                  </a:cubicBezTo>
                  <a:cubicBezTo>
                    <a:pt x="223" y="72"/>
                    <a:pt x="228" y="74"/>
                    <a:pt x="234" y="74"/>
                  </a:cubicBezTo>
                  <a:cubicBezTo>
                    <a:pt x="233" y="74"/>
                    <a:pt x="233" y="74"/>
                    <a:pt x="233" y="74"/>
                  </a:cubicBezTo>
                  <a:cubicBezTo>
                    <a:pt x="234" y="73"/>
                    <a:pt x="235" y="72"/>
                    <a:pt x="236" y="71"/>
                  </a:cubicBezTo>
                  <a:cubicBezTo>
                    <a:pt x="236" y="70"/>
                    <a:pt x="237" y="68"/>
                    <a:pt x="239" y="68"/>
                  </a:cubicBezTo>
                  <a:cubicBezTo>
                    <a:pt x="239" y="68"/>
                    <a:pt x="239" y="68"/>
                    <a:pt x="239" y="68"/>
                  </a:cubicBezTo>
                  <a:cubicBezTo>
                    <a:pt x="240" y="68"/>
                    <a:pt x="240" y="68"/>
                    <a:pt x="240" y="68"/>
                  </a:cubicBezTo>
                  <a:cubicBezTo>
                    <a:pt x="240" y="68"/>
                    <a:pt x="240" y="68"/>
                    <a:pt x="240" y="68"/>
                  </a:cubicBezTo>
                  <a:cubicBezTo>
                    <a:pt x="245" y="68"/>
                    <a:pt x="251" y="69"/>
                    <a:pt x="255" y="69"/>
                  </a:cubicBezTo>
                  <a:cubicBezTo>
                    <a:pt x="263" y="69"/>
                    <a:pt x="271" y="69"/>
                    <a:pt x="278" y="69"/>
                  </a:cubicBezTo>
                  <a:cubicBezTo>
                    <a:pt x="278" y="69"/>
                    <a:pt x="278" y="69"/>
                    <a:pt x="278" y="69"/>
                  </a:cubicBezTo>
                  <a:cubicBezTo>
                    <a:pt x="281" y="69"/>
                    <a:pt x="276" y="67"/>
                    <a:pt x="279" y="66"/>
                  </a:cubicBezTo>
                  <a:cubicBezTo>
                    <a:pt x="280" y="66"/>
                    <a:pt x="283" y="65"/>
                    <a:pt x="283" y="63"/>
                  </a:cubicBezTo>
                  <a:cubicBezTo>
                    <a:pt x="283" y="62"/>
                    <a:pt x="281" y="63"/>
                    <a:pt x="281" y="62"/>
                  </a:cubicBezTo>
                  <a:cubicBezTo>
                    <a:pt x="280" y="59"/>
                    <a:pt x="284" y="58"/>
                    <a:pt x="285" y="57"/>
                  </a:cubicBezTo>
                  <a:cubicBezTo>
                    <a:pt x="286" y="57"/>
                    <a:pt x="286" y="56"/>
                    <a:pt x="287" y="55"/>
                  </a:cubicBezTo>
                  <a:cubicBezTo>
                    <a:pt x="289" y="54"/>
                    <a:pt x="286" y="53"/>
                    <a:pt x="286" y="53"/>
                  </a:cubicBezTo>
                  <a:cubicBezTo>
                    <a:pt x="287" y="50"/>
                    <a:pt x="291" y="50"/>
                    <a:pt x="286" y="49"/>
                  </a:cubicBezTo>
                  <a:cubicBezTo>
                    <a:pt x="287" y="47"/>
                    <a:pt x="289" y="45"/>
                    <a:pt x="291" y="43"/>
                  </a:cubicBezTo>
                  <a:cubicBezTo>
                    <a:pt x="294" y="40"/>
                    <a:pt x="293" y="38"/>
                    <a:pt x="292" y="34"/>
                  </a:cubicBezTo>
                  <a:cubicBezTo>
                    <a:pt x="292" y="31"/>
                    <a:pt x="290" y="29"/>
                    <a:pt x="288" y="27"/>
                  </a:cubicBezTo>
                  <a:cubicBezTo>
                    <a:pt x="284" y="25"/>
                    <a:pt x="280" y="24"/>
                    <a:pt x="276" y="23"/>
                  </a:cubicBezTo>
                  <a:cubicBezTo>
                    <a:pt x="274" y="22"/>
                    <a:pt x="271" y="22"/>
                    <a:pt x="268" y="22"/>
                  </a:cubicBezTo>
                  <a:cubicBezTo>
                    <a:pt x="266" y="22"/>
                    <a:pt x="265" y="22"/>
                    <a:pt x="263" y="23"/>
                  </a:cubicBezTo>
                  <a:cubicBezTo>
                    <a:pt x="261" y="26"/>
                    <a:pt x="259" y="26"/>
                    <a:pt x="259" y="29"/>
                  </a:cubicBezTo>
                  <a:cubicBezTo>
                    <a:pt x="258" y="33"/>
                    <a:pt x="261" y="32"/>
                    <a:pt x="264" y="34"/>
                  </a:cubicBezTo>
                  <a:cubicBezTo>
                    <a:pt x="264" y="34"/>
                    <a:pt x="263" y="34"/>
                    <a:pt x="263" y="34"/>
                  </a:cubicBezTo>
                  <a:cubicBezTo>
                    <a:pt x="259" y="34"/>
                    <a:pt x="259" y="37"/>
                    <a:pt x="259" y="41"/>
                  </a:cubicBezTo>
                  <a:cubicBezTo>
                    <a:pt x="258" y="41"/>
                    <a:pt x="257" y="39"/>
                    <a:pt x="257" y="38"/>
                  </a:cubicBezTo>
                  <a:cubicBezTo>
                    <a:pt x="257" y="36"/>
                    <a:pt x="256" y="35"/>
                    <a:pt x="256" y="34"/>
                  </a:cubicBezTo>
                  <a:cubicBezTo>
                    <a:pt x="255" y="32"/>
                    <a:pt x="256" y="31"/>
                    <a:pt x="254" y="30"/>
                  </a:cubicBezTo>
                  <a:cubicBezTo>
                    <a:pt x="254" y="29"/>
                    <a:pt x="251" y="29"/>
                    <a:pt x="251" y="29"/>
                  </a:cubicBezTo>
                  <a:cubicBezTo>
                    <a:pt x="250" y="29"/>
                    <a:pt x="250" y="29"/>
                    <a:pt x="250" y="29"/>
                  </a:cubicBezTo>
                  <a:cubicBezTo>
                    <a:pt x="249" y="29"/>
                    <a:pt x="248" y="29"/>
                    <a:pt x="247" y="29"/>
                  </a:cubicBezTo>
                  <a:cubicBezTo>
                    <a:pt x="247" y="29"/>
                    <a:pt x="246" y="29"/>
                    <a:pt x="245" y="29"/>
                  </a:cubicBezTo>
                  <a:cubicBezTo>
                    <a:pt x="245" y="29"/>
                    <a:pt x="244" y="29"/>
                    <a:pt x="244" y="29"/>
                  </a:cubicBezTo>
                  <a:cubicBezTo>
                    <a:pt x="241" y="29"/>
                    <a:pt x="242" y="25"/>
                    <a:pt x="240" y="23"/>
                  </a:cubicBezTo>
                  <a:cubicBezTo>
                    <a:pt x="238" y="22"/>
                    <a:pt x="236" y="21"/>
                    <a:pt x="234" y="21"/>
                  </a:cubicBezTo>
                  <a:cubicBezTo>
                    <a:pt x="234" y="21"/>
                    <a:pt x="233" y="21"/>
                    <a:pt x="233" y="21"/>
                  </a:cubicBezTo>
                  <a:cubicBezTo>
                    <a:pt x="232" y="22"/>
                    <a:pt x="231" y="22"/>
                    <a:pt x="230" y="22"/>
                  </a:cubicBezTo>
                  <a:cubicBezTo>
                    <a:pt x="230" y="22"/>
                    <a:pt x="230" y="22"/>
                    <a:pt x="230" y="22"/>
                  </a:cubicBezTo>
                  <a:cubicBezTo>
                    <a:pt x="228" y="22"/>
                    <a:pt x="229" y="19"/>
                    <a:pt x="229" y="17"/>
                  </a:cubicBezTo>
                  <a:cubicBezTo>
                    <a:pt x="230" y="16"/>
                    <a:pt x="232" y="11"/>
                    <a:pt x="230" y="10"/>
                  </a:cubicBezTo>
                  <a:cubicBezTo>
                    <a:pt x="229" y="10"/>
                    <a:pt x="228" y="8"/>
                    <a:pt x="228" y="8"/>
                  </a:cubicBezTo>
                  <a:cubicBezTo>
                    <a:pt x="226" y="6"/>
                    <a:pt x="223" y="6"/>
                    <a:pt x="222" y="5"/>
                  </a:cubicBezTo>
                  <a:cubicBezTo>
                    <a:pt x="221" y="4"/>
                    <a:pt x="221" y="2"/>
                    <a:pt x="2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Freeform 220">
              <a:extLst>
                <a:ext uri="{FF2B5EF4-FFF2-40B4-BE49-F238E27FC236}">
                  <a16:creationId xmlns:a16="http://schemas.microsoft.com/office/drawing/2014/main" id="{10776DE7-2C32-4450-8EF2-E0A3D8CF4C83}"/>
                </a:ext>
              </a:extLst>
            </p:cNvPr>
            <p:cNvSpPr>
              <a:spLocks/>
            </p:cNvSpPr>
            <p:nvPr/>
          </p:nvSpPr>
          <p:spPr bwMode="auto">
            <a:xfrm>
              <a:off x="5516554" y="670747"/>
              <a:ext cx="171450" cy="109538"/>
            </a:xfrm>
            <a:custGeom>
              <a:avLst/>
              <a:gdLst>
                <a:gd name="T0" fmla="*/ 42 w 46"/>
                <a:gd name="T1" fmla="*/ 0 h 29"/>
                <a:gd name="T2" fmla="*/ 35 w 46"/>
                <a:gd name="T3" fmla="*/ 3 h 29"/>
                <a:gd name="T4" fmla="*/ 32 w 46"/>
                <a:gd name="T5" fmla="*/ 4 h 29"/>
                <a:gd name="T6" fmla="*/ 31 w 46"/>
                <a:gd name="T7" fmla="*/ 6 h 29"/>
                <a:gd name="T8" fmla="*/ 25 w 46"/>
                <a:gd name="T9" fmla="*/ 7 h 29"/>
                <a:gd name="T10" fmla="*/ 13 w 46"/>
                <a:gd name="T11" fmla="*/ 14 h 29"/>
                <a:gd name="T12" fmla="*/ 4 w 46"/>
                <a:gd name="T13" fmla="*/ 21 h 29"/>
                <a:gd name="T14" fmla="*/ 8 w 46"/>
                <a:gd name="T15" fmla="*/ 26 h 29"/>
                <a:gd name="T16" fmla="*/ 13 w 46"/>
                <a:gd name="T17" fmla="*/ 28 h 29"/>
                <a:gd name="T18" fmla="*/ 14 w 46"/>
                <a:gd name="T19" fmla="*/ 28 h 29"/>
                <a:gd name="T20" fmla="*/ 19 w 46"/>
                <a:gd name="T21" fmla="*/ 29 h 29"/>
                <a:gd name="T22" fmla="*/ 19 w 46"/>
                <a:gd name="T23" fmla="*/ 29 h 29"/>
                <a:gd name="T24" fmla="*/ 31 w 46"/>
                <a:gd name="T25" fmla="*/ 21 h 29"/>
                <a:gd name="T26" fmla="*/ 42 w 46"/>
                <a:gd name="T27" fmla="*/ 9 h 29"/>
                <a:gd name="T28" fmla="*/ 43 w 46"/>
                <a:gd name="T29" fmla="*/ 0 h 29"/>
                <a:gd name="T30" fmla="*/ 42 w 46"/>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29">
                  <a:moveTo>
                    <a:pt x="42" y="0"/>
                  </a:moveTo>
                  <a:cubicBezTo>
                    <a:pt x="39" y="0"/>
                    <a:pt x="38" y="2"/>
                    <a:pt x="35" y="3"/>
                  </a:cubicBezTo>
                  <a:cubicBezTo>
                    <a:pt x="34" y="4"/>
                    <a:pt x="33" y="3"/>
                    <a:pt x="32" y="4"/>
                  </a:cubicBezTo>
                  <a:cubicBezTo>
                    <a:pt x="31" y="4"/>
                    <a:pt x="31" y="6"/>
                    <a:pt x="31" y="6"/>
                  </a:cubicBezTo>
                  <a:cubicBezTo>
                    <a:pt x="29" y="7"/>
                    <a:pt x="27" y="7"/>
                    <a:pt x="25" y="7"/>
                  </a:cubicBezTo>
                  <a:cubicBezTo>
                    <a:pt x="20" y="8"/>
                    <a:pt x="17" y="11"/>
                    <a:pt x="13" y="14"/>
                  </a:cubicBezTo>
                  <a:cubicBezTo>
                    <a:pt x="10" y="17"/>
                    <a:pt x="7" y="19"/>
                    <a:pt x="4" y="21"/>
                  </a:cubicBezTo>
                  <a:cubicBezTo>
                    <a:pt x="0" y="25"/>
                    <a:pt x="5" y="25"/>
                    <a:pt x="8" y="26"/>
                  </a:cubicBezTo>
                  <a:cubicBezTo>
                    <a:pt x="10" y="26"/>
                    <a:pt x="14" y="26"/>
                    <a:pt x="13" y="28"/>
                  </a:cubicBezTo>
                  <a:cubicBezTo>
                    <a:pt x="13" y="28"/>
                    <a:pt x="13" y="28"/>
                    <a:pt x="14" y="28"/>
                  </a:cubicBezTo>
                  <a:cubicBezTo>
                    <a:pt x="16" y="28"/>
                    <a:pt x="17" y="29"/>
                    <a:pt x="19" y="29"/>
                  </a:cubicBezTo>
                  <a:cubicBezTo>
                    <a:pt x="19" y="29"/>
                    <a:pt x="19" y="29"/>
                    <a:pt x="19" y="29"/>
                  </a:cubicBezTo>
                  <a:cubicBezTo>
                    <a:pt x="24" y="29"/>
                    <a:pt x="28" y="24"/>
                    <a:pt x="31" y="21"/>
                  </a:cubicBezTo>
                  <a:cubicBezTo>
                    <a:pt x="35" y="17"/>
                    <a:pt x="38" y="13"/>
                    <a:pt x="42" y="9"/>
                  </a:cubicBezTo>
                  <a:cubicBezTo>
                    <a:pt x="45" y="5"/>
                    <a:pt x="46" y="4"/>
                    <a:pt x="43" y="0"/>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Freeform 221">
              <a:extLst>
                <a:ext uri="{FF2B5EF4-FFF2-40B4-BE49-F238E27FC236}">
                  <a16:creationId xmlns:a16="http://schemas.microsoft.com/office/drawing/2014/main" id="{E23DE5EC-5C60-4678-BD89-36B89A961C98}"/>
                </a:ext>
              </a:extLst>
            </p:cNvPr>
            <p:cNvSpPr>
              <a:spLocks/>
            </p:cNvSpPr>
            <p:nvPr/>
          </p:nvSpPr>
          <p:spPr bwMode="auto">
            <a:xfrm>
              <a:off x="8991591" y="1786759"/>
              <a:ext cx="123825" cy="85725"/>
            </a:xfrm>
            <a:custGeom>
              <a:avLst/>
              <a:gdLst>
                <a:gd name="T0" fmla="*/ 25 w 33"/>
                <a:gd name="T1" fmla="*/ 0 h 23"/>
                <a:gd name="T2" fmla="*/ 9 w 33"/>
                <a:gd name="T3" fmla="*/ 16 h 23"/>
                <a:gd name="T4" fmla="*/ 6 w 33"/>
                <a:gd name="T5" fmla="*/ 23 h 23"/>
                <a:gd name="T6" fmla="*/ 6 w 33"/>
                <a:gd name="T7" fmla="*/ 23 h 23"/>
                <a:gd name="T8" fmla="*/ 13 w 33"/>
                <a:gd name="T9" fmla="*/ 20 h 23"/>
                <a:gd name="T10" fmla="*/ 19 w 33"/>
                <a:gd name="T11" fmla="*/ 17 h 23"/>
                <a:gd name="T12" fmla="*/ 20 w 33"/>
                <a:gd name="T13" fmla="*/ 15 h 23"/>
                <a:gd name="T14" fmla="*/ 23 w 33"/>
                <a:gd name="T15" fmla="*/ 12 h 23"/>
                <a:gd name="T16" fmla="*/ 25 w 33"/>
                <a:gd name="T17" fmla="*/ 8 h 23"/>
                <a:gd name="T18" fmla="*/ 25 w 33"/>
                <a:gd name="T19" fmla="*/ 7 h 23"/>
                <a:gd name="T20" fmla="*/ 25 w 33"/>
                <a:gd name="T21" fmla="*/ 7 h 23"/>
                <a:gd name="T22" fmla="*/ 26 w 33"/>
                <a:gd name="T23" fmla="*/ 7 h 23"/>
                <a:gd name="T24" fmla="*/ 27 w 33"/>
                <a:gd name="T25" fmla="*/ 7 h 23"/>
                <a:gd name="T26" fmla="*/ 27 w 33"/>
                <a:gd name="T27" fmla="*/ 7 h 23"/>
                <a:gd name="T28" fmla="*/ 30 w 33"/>
                <a:gd name="T29" fmla="*/ 5 h 23"/>
                <a:gd name="T30" fmla="*/ 25 w 33"/>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3">
                  <a:moveTo>
                    <a:pt x="25" y="0"/>
                  </a:moveTo>
                  <a:cubicBezTo>
                    <a:pt x="20" y="5"/>
                    <a:pt x="14" y="10"/>
                    <a:pt x="9" y="16"/>
                  </a:cubicBezTo>
                  <a:cubicBezTo>
                    <a:pt x="7" y="17"/>
                    <a:pt x="0" y="22"/>
                    <a:pt x="6" y="23"/>
                  </a:cubicBezTo>
                  <a:cubicBezTo>
                    <a:pt x="6" y="23"/>
                    <a:pt x="6" y="23"/>
                    <a:pt x="6" y="23"/>
                  </a:cubicBezTo>
                  <a:cubicBezTo>
                    <a:pt x="8" y="23"/>
                    <a:pt x="11" y="21"/>
                    <a:pt x="13" y="20"/>
                  </a:cubicBezTo>
                  <a:cubicBezTo>
                    <a:pt x="15" y="20"/>
                    <a:pt x="17" y="19"/>
                    <a:pt x="19" y="17"/>
                  </a:cubicBezTo>
                  <a:cubicBezTo>
                    <a:pt x="19" y="16"/>
                    <a:pt x="19" y="16"/>
                    <a:pt x="20" y="15"/>
                  </a:cubicBezTo>
                  <a:cubicBezTo>
                    <a:pt x="21" y="14"/>
                    <a:pt x="22" y="13"/>
                    <a:pt x="23" y="12"/>
                  </a:cubicBezTo>
                  <a:cubicBezTo>
                    <a:pt x="24" y="11"/>
                    <a:pt x="24" y="9"/>
                    <a:pt x="25" y="8"/>
                  </a:cubicBezTo>
                  <a:cubicBezTo>
                    <a:pt x="25" y="8"/>
                    <a:pt x="25" y="7"/>
                    <a:pt x="25" y="7"/>
                  </a:cubicBezTo>
                  <a:cubicBezTo>
                    <a:pt x="25" y="7"/>
                    <a:pt x="25" y="7"/>
                    <a:pt x="25" y="7"/>
                  </a:cubicBezTo>
                  <a:cubicBezTo>
                    <a:pt x="25" y="7"/>
                    <a:pt x="26" y="7"/>
                    <a:pt x="26" y="7"/>
                  </a:cubicBezTo>
                  <a:cubicBezTo>
                    <a:pt x="26" y="7"/>
                    <a:pt x="27" y="7"/>
                    <a:pt x="27" y="7"/>
                  </a:cubicBezTo>
                  <a:cubicBezTo>
                    <a:pt x="27" y="7"/>
                    <a:pt x="27" y="7"/>
                    <a:pt x="27" y="7"/>
                  </a:cubicBezTo>
                  <a:cubicBezTo>
                    <a:pt x="28" y="7"/>
                    <a:pt x="29" y="6"/>
                    <a:pt x="30" y="5"/>
                  </a:cubicBezTo>
                  <a:cubicBezTo>
                    <a:pt x="33" y="2"/>
                    <a:pt x="27"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222">
              <a:extLst>
                <a:ext uri="{FF2B5EF4-FFF2-40B4-BE49-F238E27FC236}">
                  <a16:creationId xmlns:a16="http://schemas.microsoft.com/office/drawing/2014/main" id="{E11D3E6F-3CD3-4C75-8BE2-D27F1C1E0436}"/>
                </a:ext>
              </a:extLst>
            </p:cNvPr>
            <p:cNvSpPr>
              <a:spLocks/>
            </p:cNvSpPr>
            <p:nvPr/>
          </p:nvSpPr>
          <p:spPr bwMode="auto">
            <a:xfrm>
              <a:off x="7505691" y="756472"/>
              <a:ext cx="280988" cy="177800"/>
            </a:xfrm>
            <a:custGeom>
              <a:avLst/>
              <a:gdLst>
                <a:gd name="T0" fmla="*/ 40 w 75"/>
                <a:gd name="T1" fmla="*/ 0 h 47"/>
                <a:gd name="T2" fmla="*/ 22 w 75"/>
                <a:gd name="T3" fmla="*/ 6 h 47"/>
                <a:gd name="T4" fmla="*/ 10 w 75"/>
                <a:gd name="T5" fmla="*/ 12 h 47"/>
                <a:gd name="T6" fmla="*/ 14 w 75"/>
                <a:gd name="T7" fmla="*/ 11 h 47"/>
                <a:gd name="T8" fmla="*/ 15 w 75"/>
                <a:gd name="T9" fmla="*/ 11 h 47"/>
                <a:gd name="T10" fmla="*/ 3 w 75"/>
                <a:gd name="T11" fmla="*/ 21 h 47"/>
                <a:gd name="T12" fmla="*/ 0 w 75"/>
                <a:gd name="T13" fmla="*/ 30 h 47"/>
                <a:gd name="T14" fmla="*/ 2 w 75"/>
                <a:gd name="T15" fmla="*/ 30 h 47"/>
                <a:gd name="T16" fmla="*/ 6 w 75"/>
                <a:gd name="T17" fmla="*/ 34 h 47"/>
                <a:gd name="T18" fmla="*/ 8 w 75"/>
                <a:gd name="T19" fmla="*/ 34 h 47"/>
                <a:gd name="T20" fmla="*/ 11 w 75"/>
                <a:gd name="T21" fmla="*/ 31 h 47"/>
                <a:gd name="T22" fmla="*/ 20 w 75"/>
                <a:gd name="T23" fmla="*/ 38 h 47"/>
                <a:gd name="T24" fmla="*/ 20 w 75"/>
                <a:gd name="T25" fmla="*/ 38 h 47"/>
                <a:gd name="T26" fmla="*/ 21 w 75"/>
                <a:gd name="T27" fmla="*/ 38 h 47"/>
                <a:gd name="T28" fmla="*/ 21 w 75"/>
                <a:gd name="T29" fmla="*/ 38 h 47"/>
                <a:gd name="T30" fmla="*/ 22 w 75"/>
                <a:gd name="T31" fmla="*/ 38 h 47"/>
                <a:gd name="T32" fmla="*/ 24 w 75"/>
                <a:gd name="T33" fmla="*/ 40 h 47"/>
                <a:gd name="T34" fmla="*/ 26 w 75"/>
                <a:gd name="T35" fmla="*/ 41 h 47"/>
                <a:gd name="T36" fmla="*/ 26 w 75"/>
                <a:gd name="T37" fmla="*/ 40 h 47"/>
                <a:gd name="T38" fmla="*/ 27 w 75"/>
                <a:gd name="T39" fmla="*/ 40 h 47"/>
                <a:gd name="T40" fmla="*/ 29 w 75"/>
                <a:gd name="T41" fmla="*/ 40 h 47"/>
                <a:gd name="T42" fmla="*/ 31 w 75"/>
                <a:gd name="T43" fmla="*/ 39 h 47"/>
                <a:gd name="T44" fmla="*/ 32 w 75"/>
                <a:gd name="T45" fmla="*/ 39 h 47"/>
                <a:gd name="T46" fmla="*/ 39 w 75"/>
                <a:gd name="T47" fmla="*/ 45 h 47"/>
                <a:gd name="T48" fmla="*/ 39 w 75"/>
                <a:gd name="T49" fmla="*/ 45 h 47"/>
                <a:gd name="T50" fmla="*/ 40 w 75"/>
                <a:gd name="T51" fmla="*/ 45 h 47"/>
                <a:gd name="T52" fmla="*/ 41 w 75"/>
                <a:gd name="T53" fmla="*/ 45 h 47"/>
                <a:gd name="T54" fmla="*/ 42 w 75"/>
                <a:gd name="T55" fmla="*/ 45 h 47"/>
                <a:gd name="T56" fmla="*/ 45 w 75"/>
                <a:gd name="T57" fmla="*/ 47 h 47"/>
                <a:gd name="T58" fmla="*/ 47 w 75"/>
                <a:gd name="T59" fmla="*/ 47 h 47"/>
                <a:gd name="T60" fmla="*/ 51 w 75"/>
                <a:gd name="T61" fmla="*/ 46 h 47"/>
                <a:gd name="T62" fmla="*/ 55 w 75"/>
                <a:gd name="T63" fmla="*/ 46 h 47"/>
                <a:gd name="T64" fmla="*/ 59 w 75"/>
                <a:gd name="T65" fmla="*/ 46 h 47"/>
                <a:gd name="T66" fmla="*/ 62 w 75"/>
                <a:gd name="T67" fmla="*/ 46 h 47"/>
                <a:gd name="T68" fmla="*/ 74 w 75"/>
                <a:gd name="T69" fmla="*/ 37 h 47"/>
                <a:gd name="T70" fmla="*/ 74 w 75"/>
                <a:gd name="T71" fmla="*/ 30 h 47"/>
                <a:gd name="T72" fmla="*/ 70 w 75"/>
                <a:gd name="T73" fmla="*/ 28 h 47"/>
                <a:gd name="T74" fmla="*/ 73 w 75"/>
                <a:gd name="T75" fmla="*/ 24 h 47"/>
                <a:gd name="T76" fmla="*/ 72 w 75"/>
                <a:gd name="T77" fmla="*/ 18 h 47"/>
                <a:gd name="T78" fmla="*/ 70 w 75"/>
                <a:gd name="T79" fmla="*/ 16 h 47"/>
                <a:gd name="T80" fmla="*/ 68 w 75"/>
                <a:gd name="T81" fmla="*/ 13 h 47"/>
                <a:gd name="T82" fmla="*/ 65 w 75"/>
                <a:gd name="T83" fmla="*/ 12 h 47"/>
                <a:gd name="T84" fmla="*/ 54 w 75"/>
                <a:gd name="T85" fmla="*/ 3 h 47"/>
                <a:gd name="T86" fmla="*/ 40 w 75"/>
                <a:gd name="T8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47">
                  <a:moveTo>
                    <a:pt x="40" y="0"/>
                  </a:moveTo>
                  <a:cubicBezTo>
                    <a:pt x="34" y="2"/>
                    <a:pt x="28" y="4"/>
                    <a:pt x="22" y="6"/>
                  </a:cubicBezTo>
                  <a:cubicBezTo>
                    <a:pt x="20" y="7"/>
                    <a:pt x="11" y="9"/>
                    <a:pt x="10" y="12"/>
                  </a:cubicBezTo>
                  <a:cubicBezTo>
                    <a:pt x="12" y="12"/>
                    <a:pt x="13" y="11"/>
                    <a:pt x="14" y="11"/>
                  </a:cubicBezTo>
                  <a:cubicBezTo>
                    <a:pt x="14" y="11"/>
                    <a:pt x="15" y="11"/>
                    <a:pt x="15" y="11"/>
                  </a:cubicBezTo>
                  <a:cubicBezTo>
                    <a:pt x="12" y="15"/>
                    <a:pt x="6" y="17"/>
                    <a:pt x="3" y="21"/>
                  </a:cubicBezTo>
                  <a:cubicBezTo>
                    <a:pt x="2" y="23"/>
                    <a:pt x="1" y="28"/>
                    <a:pt x="0" y="30"/>
                  </a:cubicBezTo>
                  <a:cubicBezTo>
                    <a:pt x="1" y="30"/>
                    <a:pt x="2" y="30"/>
                    <a:pt x="2" y="30"/>
                  </a:cubicBezTo>
                  <a:cubicBezTo>
                    <a:pt x="4" y="30"/>
                    <a:pt x="4" y="33"/>
                    <a:pt x="6" y="34"/>
                  </a:cubicBezTo>
                  <a:cubicBezTo>
                    <a:pt x="7" y="34"/>
                    <a:pt x="7" y="34"/>
                    <a:pt x="8" y="34"/>
                  </a:cubicBezTo>
                  <a:cubicBezTo>
                    <a:pt x="9" y="34"/>
                    <a:pt x="9" y="31"/>
                    <a:pt x="11" y="31"/>
                  </a:cubicBezTo>
                  <a:cubicBezTo>
                    <a:pt x="12" y="35"/>
                    <a:pt x="16" y="37"/>
                    <a:pt x="20" y="38"/>
                  </a:cubicBezTo>
                  <a:cubicBezTo>
                    <a:pt x="20" y="38"/>
                    <a:pt x="20" y="38"/>
                    <a:pt x="20" y="38"/>
                  </a:cubicBezTo>
                  <a:cubicBezTo>
                    <a:pt x="20" y="38"/>
                    <a:pt x="20" y="38"/>
                    <a:pt x="21" y="38"/>
                  </a:cubicBezTo>
                  <a:cubicBezTo>
                    <a:pt x="21" y="38"/>
                    <a:pt x="21" y="38"/>
                    <a:pt x="21" y="38"/>
                  </a:cubicBezTo>
                  <a:cubicBezTo>
                    <a:pt x="21" y="38"/>
                    <a:pt x="22" y="38"/>
                    <a:pt x="22" y="38"/>
                  </a:cubicBezTo>
                  <a:cubicBezTo>
                    <a:pt x="23" y="38"/>
                    <a:pt x="23" y="40"/>
                    <a:pt x="24" y="40"/>
                  </a:cubicBezTo>
                  <a:cubicBezTo>
                    <a:pt x="25" y="41"/>
                    <a:pt x="26" y="41"/>
                    <a:pt x="26" y="41"/>
                  </a:cubicBezTo>
                  <a:cubicBezTo>
                    <a:pt x="27" y="41"/>
                    <a:pt x="27" y="41"/>
                    <a:pt x="26" y="40"/>
                  </a:cubicBezTo>
                  <a:cubicBezTo>
                    <a:pt x="27" y="40"/>
                    <a:pt x="27" y="40"/>
                    <a:pt x="27" y="40"/>
                  </a:cubicBezTo>
                  <a:cubicBezTo>
                    <a:pt x="28" y="40"/>
                    <a:pt x="28" y="40"/>
                    <a:pt x="29" y="40"/>
                  </a:cubicBezTo>
                  <a:cubicBezTo>
                    <a:pt x="30" y="39"/>
                    <a:pt x="30" y="39"/>
                    <a:pt x="31" y="39"/>
                  </a:cubicBezTo>
                  <a:cubicBezTo>
                    <a:pt x="31" y="39"/>
                    <a:pt x="31" y="39"/>
                    <a:pt x="32" y="39"/>
                  </a:cubicBezTo>
                  <a:cubicBezTo>
                    <a:pt x="35" y="41"/>
                    <a:pt x="35" y="44"/>
                    <a:pt x="39" y="45"/>
                  </a:cubicBezTo>
                  <a:cubicBezTo>
                    <a:pt x="39" y="45"/>
                    <a:pt x="39" y="45"/>
                    <a:pt x="39" y="45"/>
                  </a:cubicBezTo>
                  <a:cubicBezTo>
                    <a:pt x="39" y="45"/>
                    <a:pt x="40" y="45"/>
                    <a:pt x="40" y="45"/>
                  </a:cubicBezTo>
                  <a:cubicBezTo>
                    <a:pt x="40" y="45"/>
                    <a:pt x="41" y="45"/>
                    <a:pt x="41" y="45"/>
                  </a:cubicBezTo>
                  <a:cubicBezTo>
                    <a:pt x="41" y="45"/>
                    <a:pt x="41" y="45"/>
                    <a:pt x="42" y="45"/>
                  </a:cubicBezTo>
                  <a:cubicBezTo>
                    <a:pt x="43" y="45"/>
                    <a:pt x="44" y="46"/>
                    <a:pt x="45" y="47"/>
                  </a:cubicBezTo>
                  <a:cubicBezTo>
                    <a:pt x="45" y="47"/>
                    <a:pt x="46" y="47"/>
                    <a:pt x="47" y="47"/>
                  </a:cubicBezTo>
                  <a:cubicBezTo>
                    <a:pt x="48" y="47"/>
                    <a:pt x="50" y="47"/>
                    <a:pt x="51" y="46"/>
                  </a:cubicBezTo>
                  <a:cubicBezTo>
                    <a:pt x="52" y="46"/>
                    <a:pt x="54" y="46"/>
                    <a:pt x="55" y="46"/>
                  </a:cubicBezTo>
                  <a:cubicBezTo>
                    <a:pt x="57" y="46"/>
                    <a:pt x="58" y="46"/>
                    <a:pt x="59" y="46"/>
                  </a:cubicBezTo>
                  <a:cubicBezTo>
                    <a:pt x="60" y="46"/>
                    <a:pt x="61" y="46"/>
                    <a:pt x="62" y="46"/>
                  </a:cubicBezTo>
                  <a:cubicBezTo>
                    <a:pt x="68" y="46"/>
                    <a:pt x="73" y="45"/>
                    <a:pt x="74" y="37"/>
                  </a:cubicBezTo>
                  <a:cubicBezTo>
                    <a:pt x="74" y="35"/>
                    <a:pt x="75" y="32"/>
                    <a:pt x="74" y="30"/>
                  </a:cubicBezTo>
                  <a:cubicBezTo>
                    <a:pt x="73" y="29"/>
                    <a:pt x="71" y="29"/>
                    <a:pt x="70" y="28"/>
                  </a:cubicBezTo>
                  <a:cubicBezTo>
                    <a:pt x="69" y="27"/>
                    <a:pt x="73" y="25"/>
                    <a:pt x="73" y="24"/>
                  </a:cubicBezTo>
                  <a:cubicBezTo>
                    <a:pt x="73" y="23"/>
                    <a:pt x="72" y="19"/>
                    <a:pt x="72" y="18"/>
                  </a:cubicBezTo>
                  <a:cubicBezTo>
                    <a:pt x="72" y="17"/>
                    <a:pt x="71" y="16"/>
                    <a:pt x="70" y="16"/>
                  </a:cubicBezTo>
                  <a:cubicBezTo>
                    <a:pt x="69" y="15"/>
                    <a:pt x="69" y="14"/>
                    <a:pt x="68" y="13"/>
                  </a:cubicBezTo>
                  <a:cubicBezTo>
                    <a:pt x="67" y="12"/>
                    <a:pt x="66" y="12"/>
                    <a:pt x="65" y="12"/>
                  </a:cubicBezTo>
                  <a:cubicBezTo>
                    <a:pt x="61" y="10"/>
                    <a:pt x="58" y="6"/>
                    <a:pt x="54" y="3"/>
                  </a:cubicBezTo>
                  <a:cubicBezTo>
                    <a:pt x="50" y="0"/>
                    <a:pt x="45"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Freeform 223">
              <a:extLst>
                <a:ext uri="{FF2B5EF4-FFF2-40B4-BE49-F238E27FC236}">
                  <a16:creationId xmlns:a16="http://schemas.microsoft.com/office/drawing/2014/main" id="{D2EE3AE1-48A4-4344-AF52-EC781B87E060}"/>
                </a:ext>
              </a:extLst>
            </p:cNvPr>
            <p:cNvSpPr>
              <a:spLocks/>
            </p:cNvSpPr>
            <p:nvPr/>
          </p:nvSpPr>
          <p:spPr bwMode="auto">
            <a:xfrm>
              <a:off x="9186854" y="1947097"/>
              <a:ext cx="211138" cy="161925"/>
            </a:xfrm>
            <a:custGeom>
              <a:avLst/>
              <a:gdLst>
                <a:gd name="T0" fmla="*/ 35 w 56"/>
                <a:gd name="T1" fmla="*/ 0 h 43"/>
                <a:gd name="T2" fmla="*/ 30 w 56"/>
                <a:gd name="T3" fmla="*/ 0 h 43"/>
                <a:gd name="T4" fmla="*/ 28 w 56"/>
                <a:gd name="T5" fmla="*/ 1 h 43"/>
                <a:gd name="T6" fmla="*/ 27 w 56"/>
                <a:gd name="T7" fmla="*/ 1 h 43"/>
                <a:gd name="T8" fmla="*/ 24 w 56"/>
                <a:gd name="T9" fmla="*/ 0 h 43"/>
                <a:gd name="T10" fmla="*/ 24 w 56"/>
                <a:gd name="T11" fmla="*/ 0 h 43"/>
                <a:gd name="T12" fmla="*/ 18 w 56"/>
                <a:gd name="T13" fmla="*/ 1 h 43"/>
                <a:gd name="T14" fmla="*/ 12 w 56"/>
                <a:gd name="T15" fmla="*/ 5 h 43"/>
                <a:gd name="T16" fmla="*/ 6 w 56"/>
                <a:gd name="T17" fmla="*/ 13 h 43"/>
                <a:gd name="T18" fmla="*/ 0 w 56"/>
                <a:gd name="T19" fmla="*/ 23 h 43"/>
                <a:gd name="T20" fmla="*/ 3 w 56"/>
                <a:gd name="T21" fmla="*/ 36 h 43"/>
                <a:gd name="T22" fmla="*/ 19 w 56"/>
                <a:gd name="T23" fmla="*/ 43 h 43"/>
                <a:gd name="T24" fmla="*/ 21 w 56"/>
                <a:gd name="T25" fmla="*/ 43 h 43"/>
                <a:gd name="T26" fmla="*/ 36 w 56"/>
                <a:gd name="T27" fmla="*/ 41 h 43"/>
                <a:gd name="T28" fmla="*/ 52 w 56"/>
                <a:gd name="T29" fmla="*/ 27 h 43"/>
                <a:gd name="T30" fmla="*/ 51 w 56"/>
                <a:gd name="T31" fmla="*/ 18 h 43"/>
                <a:gd name="T32" fmla="*/ 51 w 56"/>
                <a:gd name="T33" fmla="*/ 4 h 43"/>
                <a:gd name="T34" fmla="*/ 44 w 56"/>
                <a:gd name="T35" fmla="*/ 3 h 43"/>
                <a:gd name="T36" fmla="*/ 38 w 56"/>
                <a:gd name="T37" fmla="*/ 0 h 43"/>
                <a:gd name="T38" fmla="*/ 35 w 56"/>
                <a:gd name="T3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43">
                  <a:moveTo>
                    <a:pt x="35" y="0"/>
                  </a:moveTo>
                  <a:cubicBezTo>
                    <a:pt x="33" y="0"/>
                    <a:pt x="32" y="0"/>
                    <a:pt x="30" y="0"/>
                  </a:cubicBezTo>
                  <a:cubicBezTo>
                    <a:pt x="29" y="1"/>
                    <a:pt x="28" y="1"/>
                    <a:pt x="28" y="1"/>
                  </a:cubicBezTo>
                  <a:cubicBezTo>
                    <a:pt x="27" y="1"/>
                    <a:pt x="27" y="1"/>
                    <a:pt x="27" y="1"/>
                  </a:cubicBezTo>
                  <a:cubicBezTo>
                    <a:pt x="26" y="1"/>
                    <a:pt x="25" y="0"/>
                    <a:pt x="24" y="0"/>
                  </a:cubicBezTo>
                  <a:cubicBezTo>
                    <a:pt x="24" y="0"/>
                    <a:pt x="24" y="0"/>
                    <a:pt x="24" y="0"/>
                  </a:cubicBezTo>
                  <a:cubicBezTo>
                    <a:pt x="22" y="0"/>
                    <a:pt x="19" y="1"/>
                    <a:pt x="18" y="1"/>
                  </a:cubicBezTo>
                  <a:cubicBezTo>
                    <a:pt x="15" y="2"/>
                    <a:pt x="14" y="3"/>
                    <a:pt x="12" y="5"/>
                  </a:cubicBezTo>
                  <a:cubicBezTo>
                    <a:pt x="10" y="7"/>
                    <a:pt x="8" y="10"/>
                    <a:pt x="6" y="13"/>
                  </a:cubicBezTo>
                  <a:cubicBezTo>
                    <a:pt x="4" y="16"/>
                    <a:pt x="1" y="19"/>
                    <a:pt x="0" y="23"/>
                  </a:cubicBezTo>
                  <a:cubicBezTo>
                    <a:pt x="0" y="27"/>
                    <a:pt x="1" y="33"/>
                    <a:pt x="3" y="36"/>
                  </a:cubicBezTo>
                  <a:cubicBezTo>
                    <a:pt x="8" y="40"/>
                    <a:pt x="12" y="43"/>
                    <a:pt x="19" y="43"/>
                  </a:cubicBezTo>
                  <a:cubicBezTo>
                    <a:pt x="19" y="43"/>
                    <a:pt x="20" y="43"/>
                    <a:pt x="21" y="43"/>
                  </a:cubicBezTo>
                  <a:cubicBezTo>
                    <a:pt x="26" y="43"/>
                    <a:pt x="31" y="43"/>
                    <a:pt x="36" y="41"/>
                  </a:cubicBezTo>
                  <a:cubicBezTo>
                    <a:pt x="43" y="39"/>
                    <a:pt x="52" y="36"/>
                    <a:pt x="52" y="27"/>
                  </a:cubicBezTo>
                  <a:cubicBezTo>
                    <a:pt x="52" y="24"/>
                    <a:pt x="52" y="21"/>
                    <a:pt x="51" y="18"/>
                  </a:cubicBezTo>
                  <a:cubicBezTo>
                    <a:pt x="48" y="13"/>
                    <a:pt x="56" y="9"/>
                    <a:pt x="51" y="4"/>
                  </a:cubicBezTo>
                  <a:cubicBezTo>
                    <a:pt x="49" y="3"/>
                    <a:pt x="47" y="3"/>
                    <a:pt x="44" y="3"/>
                  </a:cubicBezTo>
                  <a:cubicBezTo>
                    <a:pt x="42" y="2"/>
                    <a:pt x="40" y="1"/>
                    <a:pt x="38" y="0"/>
                  </a:cubicBezTo>
                  <a:cubicBezTo>
                    <a:pt x="37" y="0"/>
                    <a:pt x="36"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Freeform 224">
              <a:extLst>
                <a:ext uri="{FF2B5EF4-FFF2-40B4-BE49-F238E27FC236}">
                  <a16:creationId xmlns:a16="http://schemas.microsoft.com/office/drawing/2014/main" id="{C7DF9F06-2825-48B9-898B-1E7F47DB593E}"/>
                </a:ext>
              </a:extLst>
            </p:cNvPr>
            <p:cNvSpPr>
              <a:spLocks/>
            </p:cNvSpPr>
            <p:nvPr/>
          </p:nvSpPr>
          <p:spPr bwMode="auto">
            <a:xfrm>
              <a:off x="6507154" y="1102547"/>
              <a:ext cx="38100" cy="11113"/>
            </a:xfrm>
            <a:custGeom>
              <a:avLst/>
              <a:gdLst>
                <a:gd name="T0" fmla="*/ 4 w 10"/>
                <a:gd name="T1" fmla="*/ 0 h 3"/>
                <a:gd name="T2" fmla="*/ 0 w 10"/>
                <a:gd name="T3" fmla="*/ 1 h 3"/>
                <a:gd name="T4" fmla="*/ 2 w 10"/>
                <a:gd name="T5" fmla="*/ 2 h 3"/>
                <a:gd name="T6" fmla="*/ 2 w 10"/>
                <a:gd name="T7" fmla="*/ 2 h 3"/>
                <a:gd name="T8" fmla="*/ 10 w 10"/>
                <a:gd name="T9" fmla="*/ 3 h 3"/>
                <a:gd name="T10" fmla="*/ 4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4" y="0"/>
                  </a:moveTo>
                  <a:cubicBezTo>
                    <a:pt x="2" y="0"/>
                    <a:pt x="1" y="0"/>
                    <a:pt x="0" y="1"/>
                  </a:cubicBezTo>
                  <a:cubicBezTo>
                    <a:pt x="0" y="2"/>
                    <a:pt x="1" y="2"/>
                    <a:pt x="2" y="2"/>
                  </a:cubicBezTo>
                  <a:cubicBezTo>
                    <a:pt x="2" y="2"/>
                    <a:pt x="2" y="2"/>
                    <a:pt x="2" y="2"/>
                  </a:cubicBezTo>
                  <a:cubicBezTo>
                    <a:pt x="5" y="3"/>
                    <a:pt x="8" y="2"/>
                    <a:pt x="10" y="3"/>
                  </a:cubicBezTo>
                  <a:cubicBezTo>
                    <a:pt x="9"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 name="Freeform 225">
              <a:extLst>
                <a:ext uri="{FF2B5EF4-FFF2-40B4-BE49-F238E27FC236}">
                  <a16:creationId xmlns:a16="http://schemas.microsoft.com/office/drawing/2014/main" id="{381249AC-DD1C-449A-96E1-02EE2CCB67F3}"/>
                </a:ext>
              </a:extLst>
            </p:cNvPr>
            <p:cNvSpPr>
              <a:spLocks/>
            </p:cNvSpPr>
            <p:nvPr/>
          </p:nvSpPr>
          <p:spPr bwMode="auto">
            <a:xfrm>
              <a:off x="9043979" y="3563172"/>
              <a:ext cx="26988" cy="36513"/>
            </a:xfrm>
            <a:custGeom>
              <a:avLst/>
              <a:gdLst>
                <a:gd name="T0" fmla="*/ 5 w 7"/>
                <a:gd name="T1" fmla="*/ 0 h 10"/>
                <a:gd name="T2" fmla="*/ 2 w 7"/>
                <a:gd name="T3" fmla="*/ 5 h 10"/>
                <a:gd name="T4" fmla="*/ 0 w 7"/>
                <a:gd name="T5" fmla="*/ 10 h 10"/>
                <a:gd name="T6" fmla="*/ 1 w 7"/>
                <a:gd name="T7" fmla="*/ 10 h 10"/>
                <a:gd name="T8" fmla="*/ 7 w 7"/>
                <a:gd name="T9" fmla="*/ 1 h 10"/>
                <a:gd name="T10" fmla="*/ 5 w 7"/>
                <a:gd name="T11" fmla="*/ 0 h 10"/>
              </a:gdLst>
              <a:ahLst/>
              <a:cxnLst>
                <a:cxn ang="0">
                  <a:pos x="T0" y="T1"/>
                </a:cxn>
                <a:cxn ang="0">
                  <a:pos x="T2" y="T3"/>
                </a:cxn>
                <a:cxn ang="0">
                  <a:pos x="T4" y="T5"/>
                </a:cxn>
                <a:cxn ang="0">
                  <a:pos x="T6" y="T7"/>
                </a:cxn>
                <a:cxn ang="0">
                  <a:pos x="T8" y="T9"/>
                </a:cxn>
                <a:cxn ang="0">
                  <a:pos x="T10" y="T11"/>
                </a:cxn>
              </a:cxnLst>
              <a:rect l="0" t="0" r="r" b="b"/>
              <a:pathLst>
                <a:path w="7" h="10">
                  <a:moveTo>
                    <a:pt x="5" y="0"/>
                  </a:moveTo>
                  <a:cubicBezTo>
                    <a:pt x="3" y="0"/>
                    <a:pt x="3" y="4"/>
                    <a:pt x="2" y="5"/>
                  </a:cubicBezTo>
                  <a:cubicBezTo>
                    <a:pt x="2" y="7"/>
                    <a:pt x="0" y="8"/>
                    <a:pt x="0" y="10"/>
                  </a:cubicBezTo>
                  <a:cubicBezTo>
                    <a:pt x="0" y="10"/>
                    <a:pt x="1" y="10"/>
                    <a:pt x="1" y="10"/>
                  </a:cubicBezTo>
                  <a:cubicBezTo>
                    <a:pt x="7" y="10"/>
                    <a:pt x="6" y="6"/>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Freeform 226">
              <a:extLst>
                <a:ext uri="{FF2B5EF4-FFF2-40B4-BE49-F238E27FC236}">
                  <a16:creationId xmlns:a16="http://schemas.microsoft.com/office/drawing/2014/main" id="{906AD833-7379-4115-8B08-4165BD8097AA}"/>
                </a:ext>
              </a:extLst>
            </p:cNvPr>
            <p:cNvSpPr>
              <a:spLocks/>
            </p:cNvSpPr>
            <p:nvPr/>
          </p:nvSpPr>
          <p:spPr bwMode="auto">
            <a:xfrm>
              <a:off x="9717079" y="2724972"/>
              <a:ext cx="85725" cy="49213"/>
            </a:xfrm>
            <a:custGeom>
              <a:avLst/>
              <a:gdLst>
                <a:gd name="T0" fmla="*/ 0 w 23"/>
                <a:gd name="T1" fmla="*/ 0 h 13"/>
                <a:gd name="T2" fmla="*/ 9 w 23"/>
                <a:gd name="T3" fmla="*/ 8 h 13"/>
                <a:gd name="T4" fmla="*/ 11 w 23"/>
                <a:gd name="T5" fmla="*/ 12 h 13"/>
                <a:gd name="T6" fmla="*/ 16 w 23"/>
                <a:gd name="T7" fmla="*/ 13 h 13"/>
                <a:gd name="T8" fmla="*/ 23 w 23"/>
                <a:gd name="T9" fmla="*/ 12 h 13"/>
                <a:gd name="T10" fmla="*/ 15 w 23"/>
                <a:gd name="T11" fmla="*/ 4 h 13"/>
                <a:gd name="T12" fmla="*/ 0 w 2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3" h="13">
                  <a:moveTo>
                    <a:pt x="0" y="0"/>
                  </a:moveTo>
                  <a:cubicBezTo>
                    <a:pt x="3" y="3"/>
                    <a:pt x="7" y="5"/>
                    <a:pt x="9" y="8"/>
                  </a:cubicBezTo>
                  <a:cubicBezTo>
                    <a:pt x="10" y="9"/>
                    <a:pt x="10" y="11"/>
                    <a:pt x="11" y="12"/>
                  </a:cubicBezTo>
                  <a:cubicBezTo>
                    <a:pt x="12" y="13"/>
                    <a:pt x="14" y="13"/>
                    <a:pt x="16" y="13"/>
                  </a:cubicBezTo>
                  <a:cubicBezTo>
                    <a:pt x="19" y="13"/>
                    <a:pt x="21" y="13"/>
                    <a:pt x="23" y="12"/>
                  </a:cubicBezTo>
                  <a:cubicBezTo>
                    <a:pt x="21" y="9"/>
                    <a:pt x="18" y="7"/>
                    <a:pt x="15" y="4"/>
                  </a:cubicBezTo>
                  <a:cubicBezTo>
                    <a:pt x="10" y="2"/>
                    <a:pt x="5"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 name="Freeform 227">
              <a:extLst>
                <a:ext uri="{FF2B5EF4-FFF2-40B4-BE49-F238E27FC236}">
                  <a16:creationId xmlns:a16="http://schemas.microsoft.com/office/drawing/2014/main" id="{15CC91DF-06DE-4E10-AD6C-B51618DA4695}"/>
                </a:ext>
              </a:extLst>
            </p:cNvPr>
            <p:cNvSpPr>
              <a:spLocks/>
            </p:cNvSpPr>
            <p:nvPr/>
          </p:nvSpPr>
          <p:spPr bwMode="auto">
            <a:xfrm>
              <a:off x="6597641" y="1080322"/>
              <a:ext cx="220663" cy="146050"/>
            </a:xfrm>
            <a:custGeom>
              <a:avLst/>
              <a:gdLst>
                <a:gd name="T0" fmla="*/ 41 w 59"/>
                <a:gd name="T1" fmla="*/ 0 h 39"/>
                <a:gd name="T2" fmla="*/ 39 w 59"/>
                <a:gd name="T3" fmla="*/ 0 h 39"/>
                <a:gd name="T4" fmla="*/ 38 w 59"/>
                <a:gd name="T5" fmla="*/ 0 h 39"/>
                <a:gd name="T6" fmla="*/ 38 w 59"/>
                <a:gd name="T7" fmla="*/ 0 h 39"/>
                <a:gd name="T8" fmla="*/ 36 w 59"/>
                <a:gd name="T9" fmla="*/ 0 h 39"/>
                <a:gd name="T10" fmla="*/ 26 w 59"/>
                <a:gd name="T11" fmla="*/ 1 h 39"/>
                <a:gd name="T12" fmla="*/ 26 w 59"/>
                <a:gd name="T13" fmla="*/ 1 h 39"/>
                <a:gd name="T14" fmla="*/ 20 w 59"/>
                <a:gd name="T15" fmla="*/ 1 h 39"/>
                <a:gd name="T16" fmla="*/ 17 w 59"/>
                <a:gd name="T17" fmla="*/ 1 h 39"/>
                <a:gd name="T18" fmla="*/ 16 w 59"/>
                <a:gd name="T19" fmla="*/ 1 h 39"/>
                <a:gd name="T20" fmla="*/ 13 w 59"/>
                <a:gd name="T21" fmla="*/ 2 h 39"/>
                <a:gd name="T22" fmla="*/ 11 w 59"/>
                <a:gd name="T23" fmla="*/ 2 h 39"/>
                <a:gd name="T24" fmla="*/ 10 w 59"/>
                <a:gd name="T25" fmla="*/ 3 h 39"/>
                <a:gd name="T26" fmla="*/ 9 w 59"/>
                <a:gd name="T27" fmla="*/ 3 h 39"/>
                <a:gd name="T28" fmla="*/ 9 w 59"/>
                <a:gd name="T29" fmla="*/ 3 h 39"/>
                <a:gd name="T30" fmla="*/ 6 w 59"/>
                <a:gd name="T31" fmla="*/ 6 h 39"/>
                <a:gd name="T32" fmla="*/ 4 w 59"/>
                <a:gd name="T33" fmla="*/ 9 h 39"/>
                <a:gd name="T34" fmla="*/ 3 w 59"/>
                <a:gd name="T35" fmla="*/ 9 h 39"/>
                <a:gd name="T36" fmla="*/ 1 w 59"/>
                <a:gd name="T37" fmla="*/ 13 h 39"/>
                <a:gd name="T38" fmla="*/ 1 w 59"/>
                <a:gd name="T39" fmla="*/ 13 h 39"/>
                <a:gd name="T40" fmla="*/ 8 w 59"/>
                <a:gd name="T41" fmla="*/ 14 h 39"/>
                <a:gd name="T42" fmla="*/ 13 w 59"/>
                <a:gd name="T43" fmla="*/ 17 h 39"/>
                <a:gd name="T44" fmla="*/ 15 w 59"/>
                <a:gd name="T45" fmla="*/ 18 h 39"/>
                <a:gd name="T46" fmla="*/ 20 w 59"/>
                <a:gd name="T47" fmla="*/ 22 h 39"/>
                <a:gd name="T48" fmla="*/ 20 w 59"/>
                <a:gd name="T49" fmla="*/ 22 h 39"/>
                <a:gd name="T50" fmla="*/ 21 w 59"/>
                <a:gd name="T51" fmla="*/ 23 h 39"/>
                <a:gd name="T52" fmla="*/ 22 w 59"/>
                <a:gd name="T53" fmla="*/ 23 h 39"/>
                <a:gd name="T54" fmla="*/ 22 w 59"/>
                <a:gd name="T55" fmla="*/ 25 h 39"/>
                <a:gd name="T56" fmla="*/ 22 w 59"/>
                <a:gd name="T57" fmla="*/ 25 h 39"/>
                <a:gd name="T58" fmla="*/ 24 w 59"/>
                <a:gd name="T59" fmla="*/ 26 h 39"/>
                <a:gd name="T60" fmla="*/ 27 w 59"/>
                <a:gd name="T61" fmla="*/ 29 h 39"/>
                <a:gd name="T62" fmla="*/ 34 w 59"/>
                <a:gd name="T63" fmla="*/ 35 h 39"/>
                <a:gd name="T64" fmla="*/ 38 w 59"/>
                <a:gd name="T65" fmla="*/ 39 h 39"/>
                <a:gd name="T66" fmla="*/ 39 w 59"/>
                <a:gd name="T67" fmla="*/ 38 h 39"/>
                <a:gd name="T68" fmla="*/ 41 w 59"/>
                <a:gd name="T69" fmla="*/ 38 h 39"/>
                <a:gd name="T70" fmla="*/ 45 w 59"/>
                <a:gd name="T71" fmla="*/ 35 h 39"/>
                <a:gd name="T72" fmla="*/ 46 w 59"/>
                <a:gd name="T73" fmla="*/ 35 h 39"/>
                <a:gd name="T74" fmla="*/ 46 w 59"/>
                <a:gd name="T75" fmla="*/ 35 h 39"/>
                <a:gd name="T76" fmla="*/ 57 w 59"/>
                <a:gd name="T77" fmla="*/ 19 h 39"/>
                <a:gd name="T78" fmla="*/ 58 w 59"/>
                <a:gd name="T79" fmla="*/ 13 h 39"/>
                <a:gd name="T80" fmla="*/ 59 w 59"/>
                <a:gd name="T81" fmla="*/ 11 h 39"/>
                <a:gd name="T82" fmla="*/ 59 w 59"/>
                <a:gd name="T83" fmla="*/ 10 h 39"/>
                <a:gd name="T84" fmla="*/ 59 w 59"/>
                <a:gd name="T85" fmla="*/ 9 h 39"/>
                <a:gd name="T86" fmla="*/ 56 w 59"/>
                <a:gd name="T87" fmla="*/ 7 h 39"/>
                <a:gd name="T88" fmla="*/ 54 w 59"/>
                <a:gd name="T89" fmla="*/ 6 h 39"/>
                <a:gd name="T90" fmla="*/ 50 w 59"/>
                <a:gd name="T91" fmla="*/ 4 h 39"/>
                <a:gd name="T92" fmla="*/ 44 w 59"/>
                <a:gd name="T93" fmla="*/ 0 h 39"/>
                <a:gd name="T94" fmla="*/ 41 w 59"/>
                <a:gd name="T9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 h="39">
                  <a:moveTo>
                    <a:pt x="41" y="0"/>
                  </a:moveTo>
                  <a:cubicBezTo>
                    <a:pt x="40" y="0"/>
                    <a:pt x="40" y="0"/>
                    <a:pt x="39" y="0"/>
                  </a:cubicBezTo>
                  <a:cubicBezTo>
                    <a:pt x="39" y="0"/>
                    <a:pt x="38" y="0"/>
                    <a:pt x="38" y="0"/>
                  </a:cubicBezTo>
                  <a:cubicBezTo>
                    <a:pt x="38" y="0"/>
                    <a:pt x="38" y="0"/>
                    <a:pt x="38" y="0"/>
                  </a:cubicBezTo>
                  <a:cubicBezTo>
                    <a:pt x="37" y="0"/>
                    <a:pt x="37" y="0"/>
                    <a:pt x="36" y="0"/>
                  </a:cubicBezTo>
                  <a:cubicBezTo>
                    <a:pt x="33" y="0"/>
                    <a:pt x="29" y="1"/>
                    <a:pt x="26" y="1"/>
                  </a:cubicBezTo>
                  <a:cubicBezTo>
                    <a:pt x="26" y="1"/>
                    <a:pt x="26" y="1"/>
                    <a:pt x="26" y="1"/>
                  </a:cubicBezTo>
                  <a:cubicBezTo>
                    <a:pt x="24" y="1"/>
                    <a:pt x="22" y="1"/>
                    <a:pt x="20" y="1"/>
                  </a:cubicBezTo>
                  <a:cubicBezTo>
                    <a:pt x="19" y="1"/>
                    <a:pt x="18" y="1"/>
                    <a:pt x="17" y="1"/>
                  </a:cubicBezTo>
                  <a:cubicBezTo>
                    <a:pt x="16" y="1"/>
                    <a:pt x="16" y="1"/>
                    <a:pt x="16" y="1"/>
                  </a:cubicBezTo>
                  <a:cubicBezTo>
                    <a:pt x="15" y="1"/>
                    <a:pt x="14" y="2"/>
                    <a:pt x="13" y="2"/>
                  </a:cubicBezTo>
                  <a:cubicBezTo>
                    <a:pt x="12" y="2"/>
                    <a:pt x="12" y="2"/>
                    <a:pt x="11" y="2"/>
                  </a:cubicBezTo>
                  <a:cubicBezTo>
                    <a:pt x="11" y="2"/>
                    <a:pt x="10" y="2"/>
                    <a:pt x="10" y="3"/>
                  </a:cubicBezTo>
                  <a:cubicBezTo>
                    <a:pt x="9" y="3"/>
                    <a:pt x="9" y="3"/>
                    <a:pt x="9" y="3"/>
                  </a:cubicBezTo>
                  <a:cubicBezTo>
                    <a:pt x="9" y="3"/>
                    <a:pt x="9" y="3"/>
                    <a:pt x="9" y="3"/>
                  </a:cubicBezTo>
                  <a:cubicBezTo>
                    <a:pt x="8" y="4"/>
                    <a:pt x="7" y="5"/>
                    <a:pt x="6" y="6"/>
                  </a:cubicBezTo>
                  <a:cubicBezTo>
                    <a:pt x="5" y="7"/>
                    <a:pt x="4" y="8"/>
                    <a:pt x="4" y="9"/>
                  </a:cubicBezTo>
                  <a:cubicBezTo>
                    <a:pt x="3" y="9"/>
                    <a:pt x="3" y="9"/>
                    <a:pt x="3" y="9"/>
                  </a:cubicBezTo>
                  <a:cubicBezTo>
                    <a:pt x="1" y="11"/>
                    <a:pt x="0" y="12"/>
                    <a:pt x="1" y="13"/>
                  </a:cubicBezTo>
                  <a:cubicBezTo>
                    <a:pt x="1" y="13"/>
                    <a:pt x="1" y="13"/>
                    <a:pt x="1" y="13"/>
                  </a:cubicBezTo>
                  <a:cubicBezTo>
                    <a:pt x="3" y="14"/>
                    <a:pt x="6" y="13"/>
                    <a:pt x="8" y="14"/>
                  </a:cubicBezTo>
                  <a:cubicBezTo>
                    <a:pt x="10" y="15"/>
                    <a:pt x="12" y="16"/>
                    <a:pt x="13" y="17"/>
                  </a:cubicBezTo>
                  <a:cubicBezTo>
                    <a:pt x="14" y="17"/>
                    <a:pt x="15" y="18"/>
                    <a:pt x="15" y="18"/>
                  </a:cubicBezTo>
                  <a:cubicBezTo>
                    <a:pt x="17" y="19"/>
                    <a:pt x="18" y="20"/>
                    <a:pt x="20" y="22"/>
                  </a:cubicBezTo>
                  <a:cubicBezTo>
                    <a:pt x="20" y="22"/>
                    <a:pt x="20" y="22"/>
                    <a:pt x="20" y="22"/>
                  </a:cubicBezTo>
                  <a:cubicBezTo>
                    <a:pt x="21" y="23"/>
                    <a:pt x="21" y="23"/>
                    <a:pt x="21" y="23"/>
                  </a:cubicBezTo>
                  <a:cubicBezTo>
                    <a:pt x="21" y="23"/>
                    <a:pt x="21" y="23"/>
                    <a:pt x="22" y="23"/>
                  </a:cubicBezTo>
                  <a:cubicBezTo>
                    <a:pt x="22" y="24"/>
                    <a:pt x="22" y="25"/>
                    <a:pt x="22" y="25"/>
                  </a:cubicBezTo>
                  <a:cubicBezTo>
                    <a:pt x="22" y="25"/>
                    <a:pt x="22" y="25"/>
                    <a:pt x="22" y="25"/>
                  </a:cubicBezTo>
                  <a:cubicBezTo>
                    <a:pt x="22" y="26"/>
                    <a:pt x="23" y="26"/>
                    <a:pt x="24" y="26"/>
                  </a:cubicBezTo>
                  <a:cubicBezTo>
                    <a:pt x="25" y="27"/>
                    <a:pt x="26" y="28"/>
                    <a:pt x="27" y="29"/>
                  </a:cubicBezTo>
                  <a:cubicBezTo>
                    <a:pt x="29" y="31"/>
                    <a:pt x="32" y="33"/>
                    <a:pt x="34" y="35"/>
                  </a:cubicBezTo>
                  <a:cubicBezTo>
                    <a:pt x="36" y="36"/>
                    <a:pt x="37" y="38"/>
                    <a:pt x="38" y="39"/>
                  </a:cubicBezTo>
                  <a:cubicBezTo>
                    <a:pt x="38" y="39"/>
                    <a:pt x="39" y="39"/>
                    <a:pt x="39" y="38"/>
                  </a:cubicBezTo>
                  <a:cubicBezTo>
                    <a:pt x="40" y="38"/>
                    <a:pt x="40" y="38"/>
                    <a:pt x="41" y="38"/>
                  </a:cubicBezTo>
                  <a:cubicBezTo>
                    <a:pt x="43" y="37"/>
                    <a:pt x="45" y="36"/>
                    <a:pt x="45" y="35"/>
                  </a:cubicBezTo>
                  <a:cubicBezTo>
                    <a:pt x="46" y="35"/>
                    <a:pt x="46" y="35"/>
                    <a:pt x="46" y="35"/>
                  </a:cubicBezTo>
                  <a:cubicBezTo>
                    <a:pt x="46" y="35"/>
                    <a:pt x="46" y="35"/>
                    <a:pt x="46" y="35"/>
                  </a:cubicBezTo>
                  <a:cubicBezTo>
                    <a:pt x="49" y="30"/>
                    <a:pt x="56" y="25"/>
                    <a:pt x="57" y="19"/>
                  </a:cubicBezTo>
                  <a:cubicBezTo>
                    <a:pt x="58" y="17"/>
                    <a:pt x="58" y="15"/>
                    <a:pt x="58" y="13"/>
                  </a:cubicBezTo>
                  <a:cubicBezTo>
                    <a:pt x="59" y="13"/>
                    <a:pt x="59" y="12"/>
                    <a:pt x="59" y="11"/>
                  </a:cubicBezTo>
                  <a:cubicBezTo>
                    <a:pt x="59" y="10"/>
                    <a:pt x="59" y="10"/>
                    <a:pt x="59" y="10"/>
                  </a:cubicBezTo>
                  <a:cubicBezTo>
                    <a:pt x="59" y="9"/>
                    <a:pt x="59" y="9"/>
                    <a:pt x="59" y="9"/>
                  </a:cubicBezTo>
                  <a:cubicBezTo>
                    <a:pt x="58" y="8"/>
                    <a:pt x="57" y="7"/>
                    <a:pt x="56" y="7"/>
                  </a:cubicBezTo>
                  <a:cubicBezTo>
                    <a:pt x="55" y="7"/>
                    <a:pt x="55" y="6"/>
                    <a:pt x="54" y="6"/>
                  </a:cubicBezTo>
                  <a:cubicBezTo>
                    <a:pt x="53" y="5"/>
                    <a:pt x="51" y="4"/>
                    <a:pt x="50" y="4"/>
                  </a:cubicBezTo>
                  <a:cubicBezTo>
                    <a:pt x="48" y="2"/>
                    <a:pt x="46" y="1"/>
                    <a:pt x="44" y="0"/>
                  </a:cubicBezTo>
                  <a:cubicBezTo>
                    <a:pt x="43" y="0"/>
                    <a:pt x="42"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 name="Freeform 228">
              <a:extLst>
                <a:ext uri="{FF2B5EF4-FFF2-40B4-BE49-F238E27FC236}">
                  <a16:creationId xmlns:a16="http://schemas.microsoft.com/office/drawing/2014/main" id="{FBCA0572-F39E-44AF-A4F9-C34F0AFE4872}"/>
                </a:ext>
              </a:extLst>
            </p:cNvPr>
            <p:cNvSpPr>
              <a:spLocks noEditPoints="1"/>
            </p:cNvSpPr>
            <p:nvPr/>
          </p:nvSpPr>
          <p:spPr bwMode="auto">
            <a:xfrm>
              <a:off x="8883641" y="1721672"/>
              <a:ext cx="130175" cy="49213"/>
            </a:xfrm>
            <a:custGeom>
              <a:avLst/>
              <a:gdLst>
                <a:gd name="T0" fmla="*/ 11 w 35"/>
                <a:gd name="T1" fmla="*/ 10 h 13"/>
                <a:gd name="T2" fmla="*/ 11 w 35"/>
                <a:gd name="T3" fmla="*/ 10 h 13"/>
                <a:gd name="T4" fmla="*/ 11 w 35"/>
                <a:gd name="T5" fmla="*/ 10 h 13"/>
                <a:gd name="T6" fmla="*/ 11 w 35"/>
                <a:gd name="T7" fmla="*/ 10 h 13"/>
                <a:gd name="T8" fmla="*/ 11 w 35"/>
                <a:gd name="T9" fmla="*/ 10 h 13"/>
                <a:gd name="T10" fmla="*/ 27 w 35"/>
                <a:gd name="T11" fmla="*/ 0 h 13"/>
                <a:gd name="T12" fmla="*/ 24 w 35"/>
                <a:gd name="T13" fmla="*/ 1 h 13"/>
                <a:gd name="T14" fmla="*/ 20 w 35"/>
                <a:gd name="T15" fmla="*/ 3 h 13"/>
                <a:gd name="T16" fmla="*/ 19 w 35"/>
                <a:gd name="T17" fmla="*/ 3 h 13"/>
                <a:gd name="T18" fmla="*/ 12 w 35"/>
                <a:gd name="T19" fmla="*/ 0 h 13"/>
                <a:gd name="T20" fmla="*/ 11 w 35"/>
                <a:gd name="T21" fmla="*/ 0 h 13"/>
                <a:gd name="T22" fmla="*/ 10 w 35"/>
                <a:gd name="T23" fmla="*/ 4 h 13"/>
                <a:gd name="T24" fmla="*/ 9 w 35"/>
                <a:gd name="T25" fmla="*/ 4 h 13"/>
                <a:gd name="T26" fmla="*/ 7 w 35"/>
                <a:gd name="T27" fmla="*/ 4 h 13"/>
                <a:gd name="T28" fmla="*/ 5 w 35"/>
                <a:gd name="T29" fmla="*/ 4 h 13"/>
                <a:gd name="T30" fmla="*/ 0 w 35"/>
                <a:gd name="T31" fmla="*/ 5 h 13"/>
                <a:gd name="T32" fmla="*/ 9 w 35"/>
                <a:gd name="T33" fmla="*/ 7 h 13"/>
                <a:gd name="T34" fmla="*/ 11 w 35"/>
                <a:gd name="T35" fmla="*/ 10 h 13"/>
                <a:gd name="T36" fmla="*/ 13 w 35"/>
                <a:gd name="T37" fmla="*/ 7 h 13"/>
                <a:gd name="T38" fmla="*/ 13 w 35"/>
                <a:gd name="T39" fmla="*/ 11 h 13"/>
                <a:gd name="T40" fmla="*/ 18 w 35"/>
                <a:gd name="T41" fmla="*/ 13 h 13"/>
                <a:gd name="T42" fmla="*/ 17 w 35"/>
                <a:gd name="T43" fmla="*/ 6 h 13"/>
                <a:gd name="T44" fmla="*/ 18 w 35"/>
                <a:gd name="T45" fmla="*/ 6 h 13"/>
                <a:gd name="T46" fmla="*/ 19 w 35"/>
                <a:gd name="T47" fmla="*/ 7 h 13"/>
                <a:gd name="T48" fmla="*/ 20 w 35"/>
                <a:gd name="T49" fmla="*/ 7 h 13"/>
                <a:gd name="T50" fmla="*/ 20 w 35"/>
                <a:gd name="T51" fmla="*/ 7 h 13"/>
                <a:gd name="T52" fmla="*/ 34 w 35"/>
                <a:gd name="T53" fmla="*/ 3 h 13"/>
                <a:gd name="T54" fmla="*/ 29 w 35"/>
                <a:gd name="T55" fmla="*/ 0 h 13"/>
                <a:gd name="T56" fmla="*/ 27 w 35"/>
                <a:gd name="T5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13">
                  <a:moveTo>
                    <a:pt x="11" y="10"/>
                  </a:moveTo>
                  <a:cubicBezTo>
                    <a:pt x="11" y="10"/>
                    <a:pt x="11" y="10"/>
                    <a:pt x="11" y="10"/>
                  </a:cubicBezTo>
                  <a:cubicBezTo>
                    <a:pt x="11" y="10"/>
                    <a:pt x="11" y="10"/>
                    <a:pt x="11" y="10"/>
                  </a:cubicBezTo>
                  <a:cubicBezTo>
                    <a:pt x="11" y="10"/>
                    <a:pt x="11" y="10"/>
                    <a:pt x="11" y="10"/>
                  </a:cubicBezTo>
                  <a:cubicBezTo>
                    <a:pt x="11" y="10"/>
                    <a:pt x="11" y="10"/>
                    <a:pt x="11" y="10"/>
                  </a:cubicBezTo>
                  <a:moveTo>
                    <a:pt x="27" y="0"/>
                  </a:moveTo>
                  <a:cubicBezTo>
                    <a:pt x="26" y="0"/>
                    <a:pt x="26" y="0"/>
                    <a:pt x="24" y="1"/>
                  </a:cubicBezTo>
                  <a:cubicBezTo>
                    <a:pt x="24" y="1"/>
                    <a:pt x="21" y="3"/>
                    <a:pt x="20" y="3"/>
                  </a:cubicBezTo>
                  <a:cubicBezTo>
                    <a:pt x="19" y="3"/>
                    <a:pt x="19" y="3"/>
                    <a:pt x="19" y="3"/>
                  </a:cubicBezTo>
                  <a:cubicBezTo>
                    <a:pt x="17" y="3"/>
                    <a:pt x="15" y="0"/>
                    <a:pt x="12" y="0"/>
                  </a:cubicBezTo>
                  <a:cubicBezTo>
                    <a:pt x="12" y="0"/>
                    <a:pt x="11" y="0"/>
                    <a:pt x="11" y="0"/>
                  </a:cubicBezTo>
                  <a:cubicBezTo>
                    <a:pt x="8" y="0"/>
                    <a:pt x="5" y="1"/>
                    <a:pt x="10" y="4"/>
                  </a:cubicBezTo>
                  <a:cubicBezTo>
                    <a:pt x="10" y="4"/>
                    <a:pt x="9" y="4"/>
                    <a:pt x="9" y="4"/>
                  </a:cubicBezTo>
                  <a:cubicBezTo>
                    <a:pt x="9" y="4"/>
                    <a:pt x="8" y="4"/>
                    <a:pt x="7" y="4"/>
                  </a:cubicBezTo>
                  <a:cubicBezTo>
                    <a:pt x="6" y="4"/>
                    <a:pt x="6" y="4"/>
                    <a:pt x="5" y="4"/>
                  </a:cubicBezTo>
                  <a:cubicBezTo>
                    <a:pt x="3" y="4"/>
                    <a:pt x="2" y="4"/>
                    <a:pt x="0" y="5"/>
                  </a:cubicBezTo>
                  <a:cubicBezTo>
                    <a:pt x="3" y="6"/>
                    <a:pt x="6" y="5"/>
                    <a:pt x="9" y="7"/>
                  </a:cubicBezTo>
                  <a:cubicBezTo>
                    <a:pt x="9" y="7"/>
                    <a:pt x="11" y="9"/>
                    <a:pt x="11" y="10"/>
                  </a:cubicBezTo>
                  <a:cubicBezTo>
                    <a:pt x="12" y="9"/>
                    <a:pt x="13" y="7"/>
                    <a:pt x="13" y="7"/>
                  </a:cubicBezTo>
                  <a:cubicBezTo>
                    <a:pt x="13" y="8"/>
                    <a:pt x="13" y="10"/>
                    <a:pt x="13" y="11"/>
                  </a:cubicBezTo>
                  <a:cubicBezTo>
                    <a:pt x="18" y="13"/>
                    <a:pt x="18" y="13"/>
                    <a:pt x="18" y="13"/>
                  </a:cubicBezTo>
                  <a:cubicBezTo>
                    <a:pt x="18" y="12"/>
                    <a:pt x="16" y="7"/>
                    <a:pt x="17" y="6"/>
                  </a:cubicBezTo>
                  <a:cubicBezTo>
                    <a:pt x="17" y="6"/>
                    <a:pt x="17" y="6"/>
                    <a:pt x="18" y="6"/>
                  </a:cubicBezTo>
                  <a:cubicBezTo>
                    <a:pt x="18" y="6"/>
                    <a:pt x="18" y="6"/>
                    <a:pt x="19" y="7"/>
                  </a:cubicBezTo>
                  <a:cubicBezTo>
                    <a:pt x="19" y="7"/>
                    <a:pt x="20" y="7"/>
                    <a:pt x="20" y="7"/>
                  </a:cubicBezTo>
                  <a:cubicBezTo>
                    <a:pt x="20" y="7"/>
                    <a:pt x="20" y="7"/>
                    <a:pt x="20" y="7"/>
                  </a:cubicBezTo>
                  <a:cubicBezTo>
                    <a:pt x="22" y="7"/>
                    <a:pt x="33" y="5"/>
                    <a:pt x="34" y="3"/>
                  </a:cubicBezTo>
                  <a:cubicBezTo>
                    <a:pt x="35" y="1"/>
                    <a:pt x="30" y="0"/>
                    <a:pt x="29"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Freeform 229">
              <a:extLst>
                <a:ext uri="{FF2B5EF4-FFF2-40B4-BE49-F238E27FC236}">
                  <a16:creationId xmlns:a16="http://schemas.microsoft.com/office/drawing/2014/main" id="{967DF744-DC06-418F-AC8E-DC3374974300}"/>
                </a:ext>
              </a:extLst>
            </p:cNvPr>
            <p:cNvSpPr>
              <a:spLocks/>
            </p:cNvSpPr>
            <p:nvPr/>
          </p:nvSpPr>
          <p:spPr bwMode="auto">
            <a:xfrm>
              <a:off x="6780204" y="791397"/>
              <a:ext cx="131763" cy="71438"/>
            </a:xfrm>
            <a:custGeom>
              <a:avLst/>
              <a:gdLst>
                <a:gd name="T0" fmla="*/ 18 w 35"/>
                <a:gd name="T1" fmla="*/ 0 h 19"/>
                <a:gd name="T2" fmla="*/ 7 w 35"/>
                <a:gd name="T3" fmla="*/ 5 h 19"/>
                <a:gd name="T4" fmla="*/ 1 w 35"/>
                <a:gd name="T5" fmla="*/ 12 h 19"/>
                <a:gd name="T6" fmla="*/ 3 w 35"/>
                <a:gd name="T7" fmla="*/ 16 h 19"/>
                <a:gd name="T8" fmla="*/ 9 w 35"/>
                <a:gd name="T9" fmla="*/ 18 h 19"/>
                <a:gd name="T10" fmla="*/ 15 w 35"/>
                <a:gd name="T11" fmla="*/ 19 h 19"/>
                <a:gd name="T12" fmla="*/ 22 w 35"/>
                <a:gd name="T13" fmla="*/ 18 h 19"/>
                <a:gd name="T14" fmla="*/ 28 w 35"/>
                <a:gd name="T15" fmla="*/ 10 h 19"/>
                <a:gd name="T16" fmla="*/ 26 w 35"/>
                <a:gd name="T17" fmla="*/ 4 h 19"/>
                <a:gd name="T18" fmla="*/ 18 w 35"/>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9">
                  <a:moveTo>
                    <a:pt x="18" y="0"/>
                  </a:moveTo>
                  <a:cubicBezTo>
                    <a:pt x="15" y="1"/>
                    <a:pt x="10" y="2"/>
                    <a:pt x="7" y="5"/>
                  </a:cubicBezTo>
                  <a:cubicBezTo>
                    <a:pt x="4" y="7"/>
                    <a:pt x="3" y="9"/>
                    <a:pt x="1" y="12"/>
                  </a:cubicBezTo>
                  <a:cubicBezTo>
                    <a:pt x="0" y="15"/>
                    <a:pt x="1" y="15"/>
                    <a:pt x="3" y="16"/>
                  </a:cubicBezTo>
                  <a:cubicBezTo>
                    <a:pt x="5" y="17"/>
                    <a:pt x="7" y="18"/>
                    <a:pt x="9" y="18"/>
                  </a:cubicBezTo>
                  <a:cubicBezTo>
                    <a:pt x="11" y="19"/>
                    <a:pt x="13" y="19"/>
                    <a:pt x="15" y="19"/>
                  </a:cubicBezTo>
                  <a:cubicBezTo>
                    <a:pt x="17" y="19"/>
                    <a:pt x="19" y="19"/>
                    <a:pt x="22" y="18"/>
                  </a:cubicBezTo>
                  <a:cubicBezTo>
                    <a:pt x="26" y="17"/>
                    <a:pt x="35" y="14"/>
                    <a:pt x="28" y="10"/>
                  </a:cubicBezTo>
                  <a:cubicBezTo>
                    <a:pt x="27" y="9"/>
                    <a:pt x="27" y="5"/>
                    <a:pt x="26" y="4"/>
                  </a:cubicBezTo>
                  <a:cubicBezTo>
                    <a:pt x="24" y="2"/>
                    <a:pt x="20" y="1"/>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 name="Freeform 230">
              <a:extLst>
                <a:ext uri="{FF2B5EF4-FFF2-40B4-BE49-F238E27FC236}">
                  <a16:creationId xmlns:a16="http://schemas.microsoft.com/office/drawing/2014/main" id="{6832342F-7ABD-4FD9-B0AB-66A27D1036CD}"/>
                </a:ext>
              </a:extLst>
            </p:cNvPr>
            <p:cNvSpPr>
              <a:spLocks noEditPoints="1"/>
            </p:cNvSpPr>
            <p:nvPr/>
          </p:nvSpPr>
          <p:spPr bwMode="auto">
            <a:xfrm>
              <a:off x="9180504" y="1778822"/>
              <a:ext cx="63500" cy="49213"/>
            </a:xfrm>
            <a:custGeom>
              <a:avLst/>
              <a:gdLst>
                <a:gd name="T0" fmla="*/ 10 w 17"/>
                <a:gd name="T1" fmla="*/ 13 h 13"/>
                <a:gd name="T2" fmla="*/ 10 w 17"/>
                <a:gd name="T3" fmla="*/ 13 h 13"/>
                <a:gd name="T4" fmla="*/ 10 w 17"/>
                <a:gd name="T5" fmla="*/ 13 h 13"/>
                <a:gd name="T6" fmla="*/ 6 w 17"/>
                <a:gd name="T7" fmla="*/ 0 h 13"/>
                <a:gd name="T8" fmla="*/ 1 w 17"/>
                <a:gd name="T9" fmla="*/ 2 h 13"/>
                <a:gd name="T10" fmla="*/ 0 w 17"/>
                <a:gd name="T11" fmla="*/ 6 h 13"/>
                <a:gd name="T12" fmla="*/ 6 w 17"/>
                <a:gd name="T13" fmla="*/ 12 h 13"/>
                <a:gd name="T14" fmla="*/ 8 w 17"/>
                <a:gd name="T15" fmla="*/ 12 h 13"/>
                <a:gd name="T16" fmla="*/ 8 w 17"/>
                <a:gd name="T17" fmla="*/ 12 h 13"/>
                <a:gd name="T18" fmla="*/ 10 w 17"/>
                <a:gd name="T19" fmla="*/ 13 h 13"/>
                <a:gd name="T20" fmla="*/ 13 w 17"/>
                <a:gd name="T21" fmla="*/ 7 h 13"/>
                <a:gd name="T22" fmla="*/ 17 w 17"/>
                <a:gd name="T23" fmla="*/ 4 h 13"/>
                <a:gd name="T24" fmla="*/ 6 w 17"/>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3">
                  <a:moveTo>
                    <a:pt x="10" y="13"/>
                  </a:moveTo>
                  <a:cubicBezTo>
                    <a:pt x="10" y="13"/>
                    <a:pt x="10" y="13"/>
                    <a:pt x="10" y="13"/>
                  </a:cubicBezTo>
                  <a:cubicBezTo>
                    <a:pt x="10" y="13"/>
                    <a:pt x="10" y="13"/>
                    <a:pt x="10" y="13"/>
                  </a:cubicBezTo>
                  <a:moveTo>
                    <a:pt x="6" y="0"/>
                  </a:moveTo>
                  <a:cubicBezTo>
                    <a:pt x="5" y="0"/>
                    <a:pt x="2" y="0"/>
                    <a:pt x="1" y="2"/>
                  </a:cubicBezTo>
                  <a:cubicBezTo>
                    <a:pt x="1" y="2"/>
                    <a:pt x="0" y="6"/>
                    <a:pt x="0" y="6"/>
                  </a:cubicBezTo>
                  <a:cubicBezTo>
                    <a:pt x="0" y="10"/>
                    <a:pt x="3" y="12"/>
                    <a:pt x="6" y="12"/>
                  </a:cubicBezTo>
                  <a:cubicBezTo>
                    <a:pt x="6" y="12"/>
                    <a:pt x="7" y="12"/>
                    <a:pt x="8" y="12"/>
                  </a:cubicBezTo>
                  <a:cubicBezTo>
                    <a:pt x="8" y="12"/>
                    <a:pt x="8" y="12"/>
                    <a:pt x="8" y="12"/>
                  </a:cubicBezTo>
                  <a:cubicBezTo>
                    <a:pt x="9" y="12"/>
                    <a:pt x="11" y="13"/>
                    <a:pt x="10" y="13"/>
                  </a:cubicBezTo>
                  <a:cubicBezTo>
                    <a:pt x="12" y="13"/>
                    <a:pt x="12" y="9"/>
                    <a:pt x="13" y="7"/>
                  </a:cubicBezTo>
                  <a:cubicBezTo>
                    <a:pt x="14" y="6"/>
                    <a:pt x="17" y="5"/>
                    <a:pt x="17" y="4"/>
                  </a:cubicBezTo>
                  <a:cubicBezTo>
                    <a:pt x="17" y="3"/>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 name="Freeform 231">
              <a:extLst>
                <a:ext uri="{FF2B5EF4-FFF2-40B4-BE49-F238E27FC236}">
                  <a16:creationId xmlns:a16="http://schemas.microsoft.com/office/drawing/2014/main" id="{2404F024-96B2-4F78-B50B-803750CBEACC}"/>
                </a:ext>
              </a:extLst>
            </p:cNvPr>
            <p:cNvSpPr>
              <a:spLocks/>
            </p:cNvSpPr>
            <p:nvPr/>
          </p:nvSpPr>
          <p:spPr bwMode="auto">
            <a:xfrm>
              <a:off x="8609004" y="2713859"/>
              <a:ext cx="184150" cy="112713"/>
            </a:xfrm>
            <a:custGeom>
              <a:avLst/>
              <a:gdLst>
                <a:gd name="T0" fmla="*/ 39 w 49"/>
                <a:gd name="T1" fmla="*/ 0 h 30"/>
                <a:gd name="T2" fmla="*/ 39 w 49"/>
                <a:gd name="T3" fmla="*/ 0 h 30"/>
                <a:gd name="T4" fmla="*/ 34 w 49"/>
                <a:gd name="T5" fmla="*/ 2 h 30"/>
                <a:gd name="T6" fmla="*/ 34 w 49"/>
                <a:gd name="T7" fmla="*/ 2 h 30"/>
                <a:gd name="T8" fmla="*/ 32 w 49"/>
                <a:gd name="T9" fmla="*/ 2 h 30"/>
                <a:gd name="T10" fmla="*/ 30 w 49"/>
                <a:gd name="T11" fmla="*/ 1 h 30"/>
                <a:gd name="T12" fmla="*/ 28 w 49"/>
                <a:gd name="T13" fmla="*/ 2 h 30"/>
                <a:gd name="T14" fmla="*/ 23 w 49"/>
                <a:gd name="T15" fmla="*/ 4 h 30"/>
                <a:gd name="T16" fmla="*/ 20 w 49"/>
                <a:gd name="T17" fmla="*/ 5 h 30"/>
                <a:gd name="T18" fmla="*/ 18 w 49"/>
                <a:gd name="T19" fmla="*/ 4 h 30"/>
                <a:gd name="T20" fmla="*/ 15 w 49"/>
                <a:gd name="T21" fmla="*/ 2 h 30"/>
                <a:gd name="T22" fmla="*/ 14 w 49"/>
                <a:gd name="T23" fmla="*/ 2 h 30"/>
                <a:gd name="T24" fmla="*/ 10 w 49"/>
                <a:gd name="T25" fmla="*/ 5 h 30"/>
                <a:gd name="T26" fmla="*/ 9 w 49"/>
                <a:gd name="T27" fmla="*/ 10 h 30"/>
                <a:gd name="T28" fmla="*/ 0 w 49"/>
                <a:gd name="T29" fmla="*/ 19 h 30"/>
                <a:gd name="T30" fmla="*/ 5 w 49"/>
                <a:gd name="T31" fmla="*/ 28 h 30"/>
                <a:gd name="T32" fmla="*/ 6 w 49"/>
                <a:gd name="T33" fmla="*/ 30 h 30"/>
                <a:gd name="T34" fmla="*/ 8 w 49"/>
                <a:gd name="T35" fmla="*/ 29 h 30"/>
                <a:gd name="T36" fmla="*/ 10 w 49"/>
                <a:gd name="T37" fmla="*/ 28 h 30"/>
                <a:gd name="T38" fmla="*/ 12 w 49"/>
                <a:gd name="T39" fmla="*/ 28 h 30"/>
                <a:gd name="T40" fmla="*/ 18 w 49"/>
                <a:gd name="T41" fmla="*/ 29 h 30"/>
                <a:gd name="T42" fmla="*/ 18 w 49"/>
                <a:gd name="T43" fmla="*/ 29 h 30"/>
                <a:gd name="T44" fmla="*/ 29 w 49"/>
                <a:gd name="T45" fmla="*/ 24 h 30"/>
                <a:gd name="T46" fmla="*/ 36 w 49"/>
                <a:gd name="T47" fmla="*/ 17 h 30"/>
                <a:gd name="T48" fmla="*/ 46 w 49"/>
                <a:gd name="T49" fmla="*/ 10 h 30"/>
                <a:gd name="T50" fmla="*/ 47 w 49"/>
                <a:gd name="T51" fmla="*/ 4 h 30"/>
                <a:gd name="T52" fmla="*/ 44 w 49"/>
                <a:gd name="T53" fmla="*/ 1 h 30"/>
                <a:gd name="T54" fmla="*/ 39 w 49"/>
                <a:gd name="T5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30">
                  <a:moveTo>
                    <a:pt x="39" y="0"/>
                  </a:moveTo>
                  <a:cubicBezTo>
                    <a:pt x="39" y="0"/>
                    <a:pt x="39" y="0"/>
                    <a:pt x="39" y="0"/>
                  </a:cubicBezTo>
                  <a:cubicBezTo>
                    <a:pt x="36" y="0"/>
                    <a:pt x="36" y="2"/>
                    <a:pt x="34" y="2"/>
                  </a:cubicBezTo>
                  <a:cubicBezTo>
                    <a:pt x="34" y="2"/>
                    <a:pt x="34" y="2"/>
                    <a:pt x="34" y="2"/>
                  </a:cubicBezTo>
                  <a:cubicBezTo>
                    <a:pt x="33" y="2"/>
                    <a:pt x="32" y="2"/>
                    <a:pt x="32" y="2"/>
                  </a:cubicBezTo>
                  <a:cubicBezTo>
                    <a:pt x="31" y="2"/>
                    <a:pt x="30" y="1"/>
                    <a:pt x="30" y="1"/>
                  </a:cubicBezTo>
                  <a:cubicBezTo>
                    <a:pt x="29" y="1"/>
                    <a:pt x="29" y="1"/>
                    <a:pt x="28" y="2"/>
                  </a:cubicBezTo>
                  <a:cubicBezTo>
                    <a:pt x="27" y="2"/>
                    <a:pt x="25" y="3"/>
                    <a:pt x="23" y="4"/>
                  </a:cubicBezTo>
                  <a:cubicBezTo>
                    <a:pt x="22" y="5"/>
                    <a:pt x="21" y="5"/>
                    <a:pt x="20" y="5"/>
                  </a:cubicBezTo>
                  <a:cubicBezTo>
                    <a:pt x="20" y="5"/>
                    <a:pt x="19" y="5"/>
                    <a:pt x="18" y="4"/>
                  </a:cubicBezTo>
                  <a:cubicBezTo>
                    <a:pt x="17" y="4"/>
                    <a:pt x="17" y="2"/>
                    <a:pt x="15" y="2"/>
                  </a:cubicBezTo>
                  <a:cubicBezTo>
                    <a:pt x="15" y="2"/>
                    <a:pt x="15" y="2"/>
                    <a:pt x="14" y="2"/>
                  </a:cubicBezTo>
                  <a:cubicBezTo>
                    <a:pt x="13" y="2"/>
                    <a:pt x="11" y="4"/>
                    <a:pt x="10" y="5"/>
                  </a:cubicBezTo>
                  <a:cubicBezTo>
                    <a:pt x="9" y="7"/>
                    <a:pt x="10" y="9"/>
                    <a:pt x="9" y="10"/>
                  </a:cubicBezTo>
                  <a:cubicBezTo>
                    <a:pt x="7" y="14"/>
                    <a:pt x="3" y="16"/>
                    <a:pt x="0" y="19"/>
                  </a:cubicBezTo>
                  <a:cubicBezTo>
                    <a:pt x="2" y="22"/>
                    <a:pt x="3" y="26"/>
                    <a:pt x="5" y="28"/>
                  </a:cubicBezTo>
                  <a:cubicBezTo>
                    <a:pt x="6" y="30"/>
                    <a:pt x="6" y="30"/>
                    <a:pt x="6" y="30"/>
                  </a:cubicBezTo>
                  <a:cubicBezTo>
                    <a:pt x="6" y="30"/>
                    <a:pt x="7" y="30"/>
                    <a:pt x="8" y="29"/>
                  </a:cubicBezTo>
                  <a:cubicBezTo>
                    <a:pt x="9" y="29"/>
                    <a:pt x="9" y="28"/>
                    <a:pt x="10" y="28"/>
                  </a:cubicBezTo>
                  <a:cubicBezTo>
                    <a:pt x="10" y="28"/>
                    <a:pt x="11" y="28"/>
                    <a:pt x="12" y="28"/>
                  </a:cubicBezTo>
                  <a:cubicBezTo>
                    <a:pt x="14" y="28"/>
                    <a:pt x="16" y="28"/>
                    <a:pt x="18" y="29"/>
                  </a:cubicBezTo>
                  <a:cubicBezTo>
                    <a:pt x="18" y="29"/>
                    <a:pt x="18" y="29"/>
                    <a:pt x="18" y="29"/>
                  </a:cubicBezTo>
                  <a:cubicBezTo>
                    <a:pt x="22" y="29"/>
                    <a:pt x="26" y="26"/>
                    <a:pt x="29" y="24"/>
                  </a:cubicBezTo>
                  <a:cubicBezTo>
                    <a:pt x="31" y="21"/>
                    <a:pt x="34" y="19"/>
                    <a:pt x="36" y="17"/>
                  </a:cubicBezTo>
                  <a:cubicBezTo>
                    <a:pt x="38" y="14"/>
                    <a:pt x="44" y="14"/>
                    <a:pt x="46" y="10"/>
                  </a:cubicBezTo>
                  <a:cubicBezTo>
                    <a:pt x="47" y="8"/>
                    <a:pt x="46" y="6"/>
                    <a:pt x="47" y="4"/>
                  </a:cubicBezTo>
                  <a:cubicBezTo>
                    <a:pt x="49" y="0"/>
                    <a:pt x="46" y="1"/>
                    <a:pt x="44" y="1"/>
                  </a:cubicBezTo>
                  <a:cubicBezTo>
                    <a:pt x="42" y="1"/>
                    <a:pt x="41"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Freeform 232">
              <a:extLst>
                <a:ext uri="{FF2B5EF4-FFF2-40B4-BE49-F238E27FC236}">
                  <a16:creationId xmlns:a16="http://schemas.microsoft.com/office/drawing/2014/main" id="{17F4E035-92D1-4F05-AFCB-E0C2546189AA}"/>
                </a:ext>
              </a:extLst>
            </p:cNvPr>
            <p:cNvSpPr>
              <a:spLocks/>
            </p:cNvSpPr>
            <p:nvPr/>
          </p:nvSpPr>
          <p:spPr bwMode="auto">
            <a:xfrm>
              <a:off x="8924916" y="2793234"/>
              <a:ext cx="93663" cy="112713"/>
            </a:xfrm>
            <a:custGeom>
              <a:avLst/>
              <a:gdLst>
                <a:gd name="T0" fmla="*/ 17 w 25"/>
                <a:gd name="T1" fmla="*/ 0 h 30"/>
                <a:gd name="T2" fmla="*/ 16 w 25"/>
                <a:gd name="T3" fmla="*/ 0 h 30"/>
                <a:gd name="T4" fmla="*/ 14 w 25"/>
                <a:gd name="T5" fmla="*/ 1 h 30"/>
                <a:gd name="T6" fmla="*/ 12 w 25"/>
                <a:gd name="T7" fmla="*/ 0 h 30"/>
                <a:gd name="T8" fmla="*/ 11 w 25"/>
                <a:gd name="T9" fmla="*/ 0 h 30"/>
                <a:gd name="T10" fmla="*/ 7 w 25"/>
                <a:gd name="T11" fmla="*/ 1 h 30"/>
                <a:gd name="T12" fmla="*/ 4 w 25"/>
                <a:gd name="T13" fmla="*/ 6 h 30"/>
                <a:gd name="T14" fmla="*/ 1 w 25"/>
                <a:gd name="T15" fmla="*/ 11 h 30"/>
                <a:gd name="T16" fmla="*/ 1 w 25"/>
                <a:gd name="T17" fmla="*/ 20 h 30"/>
                <a:gd name="T18" fmla="*/ 11 w 25"/>
                <a:gd name="T19" fmla="*/ 30 h 30"/>
                <a:gd name="T20" fmla="*/ 17 w 25"/>
                <a:gd name="T21" fmla="*/ 23 h 30"/>
                <a:gd name="T22" fmla="*/ 19 w 25"/>
                <a:gd name="T23" fmla="*/ 20 h 30"/>
                <a:gd name="T24" fmla="*/ 20 w 25"/>
                <a:gd name="T25" fmla="*/ 17 h 30"/>
                <a:gd name="T26" fmla="*/ 22 w 25"/>
                <a:gd name="T27" fmla="*/ 14 h 30"/>
                <a:gd name="T28" fmla="*/ 22 w 25"/>
                <a:gd name="T29" fmla="*/ 14 h 30"/>
                <a:gd name="T30" fmla="*/ 22 w 25"/>
                <a:gd name="T31" fmla="*/ 14 h 30"/>
                <a:gd name="T32" fmla="*/ 23 w 25"/>
                <a:gd name="T33" fmla="*/ 14 h 30"/>
                <a:gd name="T34" fmla="*/ 23 w 25"/>
                <a:gd name="T35" fmla="*/ 14 h 30"/>
                <a:gd name="T36" fmla="*/ 24 w 25"/>
                <a:gd name="T37" fmla="*/ 7 h 30"/>
                <a:gd name="T38" fmla="*/ 23 w 25"/>
                <a:gd name="T39" fmla="*/ 4 h 30"/>
                <a:gd name="T40" fmla="*/ 21 w 25"/>
                <a:gd name="T41" fmla="*/ 2 h 30"/>
                <a:gd name="T42" fmla="*/ 17 w 25"/>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0">
                  <a:moveTo>
                    <a:pt x="17" y="0"/>
                  </a:moveTo>
                  <a:cubicBezTo>
                    <a:pt x="17" y="0"/>
                    <a:pt x="16" y="0"/>
                    <a:pt x="16" y="0"/>
                  </a:cubicBezTo>
                  <a:cubicBezTo>
                    <a:pt x="15" y="0"/>
                    <a:pt x="15" y="1"/>
                    <a:pt x="14" y="1"/>
                  </a:cubicBezTo>
                  <a:cubicBezTo>
                    <a:pt x="14" y="1"/>
                    <a:pt x="12" y="0"/>
                    <a:pt x="12" y="0"/>
                  </a:cubicBezTo>
                  <a:cubicBezTo>
                    <a:pt x="12" y="0"/>
                    <a:pt x="11" y="0"/>
                    <a:pt x="11" y="0"/>
                  </a:cubicBezTo>
                  <a:cubicBezTo>
                    <a:pt x="10" y="0"/>
                    <a:pt x="8" y="0"/>
                    <a:pt x="7" y="1"/>
                  </a:cubicBezTo>
                  <a:cubicBezTo>
                    <a:pt x="6" y="2"/>
                    <a:pt x="5" y="5"/>
                    <a:pt x="4" y="6"/>
                  </a:cubicBezTo>
                  <a:cubicBezTo>
                    <a:pt x="3" y="8"/>
                    <a:pt x="2" y="9"/>
                    <a:pt x="1" y="11"/>
                  </a:cubicBezTo>
                  <a:cubicBezTo>
                    <a:pt x="1" y="14"/>
                    <a:pt x="0" y="18"/>
                    <a:pt x="1" y="20"/>
                  </a:cubicBezTo>
                  <a:cubicBezTo>
                    <a:pt x="2" y="24"/>
                    <a:pt x="8" y="27"/>
                    <a:pt x="11" y="30"/>
                  </a:cubicBezTo>
                  <a:cubicBezTo>
                    <a:pt x="16" y="28"/>
                    <a:pt x="15" y="26"/>
                    <a:pt x="17" y="23"/>
                  </a:cubicBezTo>
                  <a:cubicBezTo>
                    <a:pt x="17" y="22"/>
                    <a:pt x="18" y="21"/>
                    <a:pt x="19" y="20"/>
                  </a:cubicBezTo>
                  <a:cubicBezTo>
                    <a:pt x="19" y="19"/>
                    <a:pt x="20" y="18"/>
                    <a:pt x="20" y="17"/>
                  </a:cubicBezTo>
                  <a:cubicBezTo>
                    <a:pt x="21" y="16"/>
                    <a:pt x="21" y="15"/>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4" y="12"/>
                    <a:pt x="24" y="9"/>
                    <a:pt x="24" y="7"/>
                  </a:cubicBezTo>
                  <a:cubicBezTo>
                    <a:pt x="24" y="5"/>
                    <a:pt x="25" y="6"/>
                    <a:pt x="23" y="4"/>
                  </a:cubicBezTo>
                  <a:cubicBezTo>
                    <a:pt x="23" y="4"/>
                    <a:pt x="22" y="3"/>
                    <a:pt x="21" y="2"/>
                  </a:cubicBezTo>
                  <a:cubicBezTo>
                    <a:pt x="19" y="1"/>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233">
              <a:extLst>
                <a:ext uri="{FF2B5EF4-FFF2-40B4-BE49-F238E27FC236}">
                  <a16:creationId xmlns:a16="http://schemas.microsoft.com/office/drawing/2014/main" id="{A30237C7-C741-4A73-B41B-B3A40BB6094A}"/>
                </a:ext>
              </a:extLst>
            </p:cNvPr>
            <p:cNvSpPr>
              <a:spLocks/>
            </p:cNvSpPr>
            <p:nvPr/>
          </p:nvSpPr>
          <p:spPr bwMode="auto">
            <a:xfrm>
              <a:off x="10215554" y="2893247"/>
              <a:ext cx="71438" cy="41275"/>
            </a:xfrm>
            <a:custGeom>
              <a:avLst/>
              <a:gdLst>
                <a:gd name="T0" fmla="*/ 8 w 19"/>
                <a:gd name="T1" fmla="*/ 0 h 11"/>
                <a:gd name="T2" fmla="*/ 0 w 19"/>
                <a:gd name="T3" fmla="*/ 2 h 11"/>
                <a:gd name="T4" fmla="*/ 11 w 19"/>
                <a:gd name="T5" fmla="*/ 9 h 11"/>
                <a:gd name="T6" fmla="*/ 14 w 19"/>
                <a:gd name="T7" fmla="*/ 11 h 11"/>
                <a:gd name="T8" fmla="*/ 16 w 19"/>
                <a:gd name="T9" fmla="*/ 10 h 11"/>
                <a:gd name="T10" fmla="*/ 17 w 19"/>
                <a:gd name="T11" fmla="*/ 8 h 11"/>
                <a:gd name="T12" fmla="*/ 18 w 19"/>
                <a:gd name="T13" fmla="*/ 7 h 11"/>
                <a:gd name="T14" fmla="*/ 19 w 19"/>
                <a:gd name="T15" fmla="*/ 2 h 11"/>
                <a:gd name="T16" fmla="*/ 8 w 19"/>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8" y="0"/>
                  </a:moveTo>
                  <a:cubicBezTo>
                    <a:pt x="5" y="0"/>
                    <a:pt x="3" y="1"/>
                    <a:pt x="0" y="2"/>
                  </a:cubicBezTo>
                  <a:cubicBezTo>
                    <a:pt x="4" y="4"/>
                    <a:pt x="8" y="6"/>
                    <a:pt x="11" y="9"/>
                  </a:cubicBezTo>
                  <a:cubicBezTo>
                    <a:pt x="12" y="10"/>
                    <a:pt x="13" y="11"/>
                    <a:pt x="14" y="11"/>
                  </a:cubicBezTo>
                  <a:cubicBezTo>
                    <a:pt x="14" y="11"/>
                    <a:pt x="15" y="11"/>
                    <a:pt x="16" y="10"/>
                  </a:cubicBezTo>
                  <a:cubicBezTo>
                    <a:pt x="16" y="9"/>
                    <a:pt x="16" y="8"/>
                    <a:pt x="17" y="8"/>
                  </a:cubicBezTo>
                  <a:cubicBezTo>
                    <a:pt x="17" y="8"/>
                    <a:pt x="18" y="8"/>
                    <a:pt x="18" y="7"/>
                  </a:cubicBezTo>
                  <a:cubicBezTo>
                    <a:pt x="19" y="6"/>
                    <a:pt x="19" y="4"/>
                    <a:pt x="19" y="2"/>
                  </a:cubicBezTo>
                  <a:cubicBezTo>
                    <a:pt x="16" y="1"/>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 name="Freeform 234">
              <a:extLst>
                <a:ext uri="{FF2B5EF4-FFF2-40B4-BE49-F238E27FC236}">
                  <a16:creationId xmlns:a16="http://schemas.microsoft.com/office/drawing/2014/main" id="{B2C962A2-EFA2-41CF-8D5A-D56FE31A8C81}"/>
                </a:ext>
              </a:extLst>
            </p:cNvPr>
            <p:cNvSpPr>
              <a:spLocks/>
            </p:cNvSpPr>
            <p:nvPr/>
          </p:nvSpPr>
          <p:spPr bwMode="auto">
            <a:xfrm>
              <a:off x="6916729" y="692972"/>
              <a:ext cx="119063" cy="41275"/>
            </a:xfrm>
            <a:custGeom>
              <a:avLst/>
              <a:gdLst>
                <a:gd name="T0" fmla="*/ 27 w 32"/>
                <a:gd name="T1" fmla="*/ 0 h 11"/>
                <a:gd name="T2" fmla="*/ 26 w 32"/>
                <a:gd name="T3" fmla="*/ 0 h 11"/>
                <a:gd name="T4" fmla="*/ 15 w 32"/>
                <a:gd name="T5" fmla="*/ 2 h 11"/>
                <a:gd name="T6" fmla="*/ 14 w 32"/>
                <a:gd name="T7" fmla="*/ 2 h 11"/>
                <a:gd name="T8" fmla="*/ 14 w 32"/>
                <a:gd name="T9" fmla="*/ 3 h 11"/>
                <a:gd name="T10" fmla="*/ 9 w 32"/>
                <a:gd name="T11" fmla="*/ 4 h 11"/>
                <a:gd name="T12" fmla="*/ 8 w 32"/>
                <a:gd name="T13" fmla="*/ 4 h 11"/>
                <a:gd name="T14" fmla="*/ 7 w 32"/>
                <a:gd name="T15" fmla="*/ 5 h 11"/>
                <a:gd name="T16" fmla="*/ 0 w 32"/>
                <a:gd name="T17" fmla="*/ 11 h 11"/>
                <a:gd name="T18" fmla="*/ 32 w 32"/>
                <a:gd name="T19" fmla="*/ 3 h 11"/>
                <a:gd name="T20" fmla="*/ 32 w 32"/>
                <a:gd name="T21" fmla="*/ 3 h 11"/>
                <a:gd name="T22" fmla="*/ 32 w 32"/>
                <a:gd name="T23" fmla="*/ 3 h 11"/>
                <a:gd name="T24" fmla="*/ 32 w 32"/>
                <a:gd name="T25" fmla="*/ 2 h 11"/>
                <a:gd name="T26" fmla="*/ 32 w 32"/>
                <a:gd name="T27" fmla="*/ 2 h 11"/>
                <a:gd name="T28" fmla="*/ 30 w 32"/>
                <a:gd name="T29" fmla="*/ 2 h 11"/>
                <a:gd name="T30" fmla="*/ 30 w 32"/>
                <a:gd name="T31" fmla="*/ 1 h 11"/>
                <a:gd name="T32" fmla="*/ 29 w 32"/>
                <a:gd name="T33" fmla="*/ 1 h 11"/>
                <a:gd name="T34" fmla="*/ 27 w 32"/>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1">
                  <a:moveTo>
                    <a:pt x="27" y="0"/>
                  </a:moveTo>
                  <a:cubicBezTo>
                    <a:pt x="26" y="0"/>
                    <a:pt x="26" y="0"/>
                    <a:pt x="26" y="0"/>
                  </a:cubicBezTo>
                  <a:cubicBezTo>
                    <a:pt x="23" y="0"/>
                    <a:pt x="17" y="2"/>
                    <a:pt x="15" y="2"/>
                  </a:cubicBezTo>
                  <a:cubicBezTo>
                    <a:pt x="14" y="2"/>
                    <a:pt x="14" y="2"/>
                    <a:pt x="14" y="2"/>
                  </a:cubicBezTo>
                  <a:cubicBezTo>
                    <a:pt x="14" y="3"/>
                    <a:pt x="14" y="3"/>
                    <a:pt x="14" y="3"/>
                  </a:cubicBezTo>
                  <a:cubicBezTo>
                    <a:pt x="12" y="3"/>
                    <a:pt x="10" y="3"/>
                    <a:pt x="9" y="4"/>
                  </a:cubicBezTo>
                  <a:cubicBezTo>
                    <a:pt x="8" y="4"/>
                    <a:pt x="8" y="4"/>
                    <a:pt x="8" y="4"/>
                  </a:cubicBezTo>
                  <a:cubicBezTo>
                    <a:pt x="8" y="4"/>
                    <a:pt x="7" y="5"/>
                    <a:pt x="7" y="5"/>
                  </a:cubicBezTo>
                  <a:cubicBezTo>
                    <a:pt x="4" y="7"/>
                    <a:pt x="3" y="9"/>
                    <a:pt x="0" y="11"/>
                  </a:cubicBezTo>
                  <a:cubicBezTo>
                    <a:pt x="11" y="8"/>
                    <a:pt x="21" y="5"/>
                    <a:pt x="32" y="3"/>
                  </a:cubicBezTo>
                  <a:cubicBezTo>
                    <a:pt x="32" y="3"/>
                    <a:pt x="32" y="3"/>
                    <a:pt x="32" y="3"/>
                  </a:cubicBezTo>
                  <a:cubicBezTo>
                    <a:pt x="32" y="3"/>
                    <a:pt x="32" y="3"/>
                    <a:pt x="32" y="3"/>
                  </a:cubicBezTo>
                  <a:cubicBezTo>
                    <a:pt x="32" y="2"/>
                    <a:pt x="32" y="2"/>
                    <a:pt x="32" y="2"/>
                  </a:cubicBezTo>
                  <a:cubicBezTo>
                    <a:pt x="32" y="2"/>
                    <a:pt x="32" y="2"/>
                    <a:pt x="32" y="2"/>
                  </a:cubicBezTo>
                  <a:cubicBezTo>
                    <a:pt x="31" y="2"/>
                    <a:pt x="31" y="2"/>
                    <a:pt x="30" y="2"/>
                  </a:cubicBezTo>
                  <a:cubicBezTo>
                    <a:pt x="30" y="1"/>
                    <a:pt x="30" y="1"/>
                    <a:pt x="30" y="1"/>
                  </a:cubicBezTo>
                  <a:cubicBezTo>
                    <a:pt x="30" y="1"/>
                    <a:pt x="29" y="1"/>
                    <a:pt x="29" y="1"/>
                  </a:cubicBezTo>
                  <a:cubicBezTo>
                    <a:pt x="28" y="0"/>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 name="Freeform 235">
              <a:extLst>
                <a:ext uri="{FF2B5EF4-FFF2-40B4-BE49-F238E27FC236}">
                  <a16:creationId xmlns:a16="http://schemas.microsoft.com/office/drawing/2014/main" id="{D0FCC697-7782-49B3-8FF6-60BE207F8FDC}"/>
                </a:ext>
              </a:extLst>
            </p:cNvPr>
            <p:cNvSpPr>
              <a:spLocks/>
            </p:cNvSpPr>
            <p:nvPr/>
          </p:nvSpPr>
          <p:spPr bwMode="auto">
            <a:xfrm>
              <a:off x="9078904" y="2642422"/>
              <a:ext cx="93663" cy="55563"/>
            </a:xfrm>
            <a:custGeom>
              <a:avLst/>
              <a:gdLst>
                <a:gd name="T0" fmla="*/ 8 w 25"/>
                <a:gd name="T1" fmla="*/ 0 h 15"/>
                <a:gd name="T2" fmla="*/ 0 w 25"/>
                <a:gd name="T3" fmla="*/ 4 h 15"/>
                <a:gd name="T4" fmla="*/ 3 w 25"/>
                <a:gd name="T5" fmla="*/ 6 h 15"/>
                <a:gd name="T6" fmla="*/ 11 w 25"/>
                <a:gd name="T7" fmla="*/ 13 h 15"/>
                <a:gd name="T8" fmla="*/ 15 w 25"/>
                <a:gd name="T9" fmla="*/ 15 h 15"/>
                <a:gd name="T10" fmla="*/ 18 w 25"/>
                <a:gd name="T11" fmla="*/ 13 h 15"/>
                <a:gd name="T12" fmla="*/ 24 w 25"/>
                <a:gd name="T13" fmla="*/ 10 h 15"/>
                <a:gd name="T14" fmla="*/ 19 w 25"/>
                <a:gd name="T15" fmla="*/ 2 h 15"/>
                <a:gd name="T16" fmla="*/ 19 w 25"/>
                <a:gd name="T17" fmla="*/ 2 h 15"/>
                <a:gd name="T18" fmla="*/ 19 w 25"/>
                <a:gd name="T19" fmla="*/ 3 h 15"/>
                <a:gd name="T20" fmla="*/ 18 w 25"/>
                <a:gd name="T21" fmla="*/ 3 h 15"/>
                <a:gd name="T22" fmla="*/ 18 w 25"/>
                <a:gd name="T23" fmla="*/ 3 h 15"/>
                <a:gd name="T24" fmla="*/ 17 w 25"/>
                <a:gd name="T25" fmla="*/ 2 h 15"/>
                <a:gd name="T26" fmla="*/ 15 w 25"/>
                <a:gd name="T27" fmla="*/ 1 h 15"/>
                <a:gd name="T28" fmla="*/ 12 w 25"/>
                <a:gd name="T29" fmla="*/ 1 h 15"/>
                <a:gd name="T30" fmla="*/ 12 w 25"/>
                <a:gd name="T31" fmla="*/ 1 h 15"/>
                <a:gd name="T32" fmla="*/ 11 w 25"/>
                <a:gd name="T33" fmla="*/ 1 h 15"/>
                <a:gd name="T34" fmla="*/ 8 w 25"/>
                <a:gd name="T3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5">
                  <a:moveTo>
                    <a:pt x="8" y="0"/>
                  </a:moveTo>
                  <a:cubicBezTo>
                    <a:pt x="7" y="0"/>
                    <a:pt x="0" y="4"/>
                    <a:pt x="0" y="4"/>
                  </a:cubicBezTo>
                  <a:cubicBezTo>
                    <a:pt x="1" y="5"/>
                    <a:pt x="2" y="5"/>
                    <a:pt x="3" y="6"/>
                  </a:cubicBezTo>
                  <a:cubicBezTo>
                    <a:pt x="6" y="8"/>
                    <a:pt x="8" y="11"/>
                    <a:pt x="11" y="13"/>
                  </a:cubicBezTo>
                  <a:cubicBezTo>
                    <a:pt x="13" y="14"/>
                    <a:pt x="14" y="15"/>
                    <a:pt x="15" y="15"/>
                  </a:cubicBezTo>
                  <a:cubicBezTo>
                    <a:pt x="16" y="15"/>
                    <a:pt x="17" y="14"/>
                    <a:pt x="18" y="13"/>
                  </a:cubicBezTo>
                  <a:cubicBezTo>
                    <a:pt x="21" y="12"/>
                    <a:pt x="23" y="12"/>
                    <a:pt x="24" y="10"/>
                  </a:cubicBezTo>
                  <a:cubicBezTo>
                    <a:pt x="25" y="8"/>
                    <a:pt x="21" y="3"/>
                    <a:pt x="19" y="2"/>
                  </a:cubicBezTo>
                  <a:cubicBezTo>
                    <a:pt x="19" y="2"/>
                    <a:pt x="19" y="2"/>
                    <a:pt x="19" y="2"/>
                  </a:cubicBezTo>
                  <a:cubicBezTo>
                    <a:pt x="19" y="2"/>
                    <a:pt x="19" y="3"/>
                    <a:pt x="19" y="3"/>
                  </a:cubicBezTo>
                  <a:cubicBezTo>
                    <a:pt x="18" y="3"/>
                    <a:pt x="18" y="3"/>
                    <a:pt x="18" y="3"/>
                  </a:cubicBezTo>
                  <a:cubicBezTo>
                    <a:pt x="18" y="3"/>
                    <a:pt x="18" y="3"/>
                    <a:pt x="18" y="3"/>
                  </a:cubicBezTo>
                  <a:cubicBezTo>
                    <a:pt x="17" y="3"/>
                    <a:pt x="17" y="2"/>
                    <a:pt x="17" y="2"/>
                  </a:cubicBezTo>
                  <a:cubicBezTo>
                    <a:pt x="16" y="1"/>
                    <a:pt x="15" y="1"/>
                    <a:pt x="15" y="1"/>
                  </a:cubicBezTo>
                  <a:cubicBezTo>
                    <a:pt x="14" y="1"/>
                    <a:pt x="13" y="1"/>
                    <a:pt x="12" y="1"/>
                  </a:cubicBezTo>
                  <a:cubicBezTo>
                    <a:pt x="12" y="1"/>
                    <a:pt x="12" y="1"/>
                    <a:pt x="12" y="1"/>
                  </a:cubicBezTo>
                  <a:cubicBezTo>
                    <a:pt x="12" y="1"/>
                    <a:pt x="11" y="1"/>
                    <a:pt x="11" y="1"/>
                  </a:cubicBezTo>
                  <a:cubicBezTo>
                    <a:pt x="10" y="1"/>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Freeform 236">
              <a:extLst>
                <a:ext uri="{FF2B5EF4-FFF2-40B4-BE49-F238E27FC236}">
                  <a16:creationId xmlns:a16="http://schemas.microsoft.com/office/drawing/2014/main" id="{59454426-E81E-4838-9BBF-892E523292BA}"/>
                </a:ext>
              </a:extLst>
            </p:cNvPr>
            <p:cNvSpPr>
              <a:spLocks noEditPoints="1"/>
            </p:cNvSpPr>
            <p:nvPr/>
          </p:nvSpPr>
          <p:spPr bwMode="auto">
            <a:xfrm>
              <a:off x="4325929" y="3840984"/>
              <a:ext cx="127000" cy="119063"/>
            </a:xfrm>
            <a:custGeom>
              <a:avLst/>
              <a:gdLst>
                <a:gd name="T0" fmla="*/ 0 w 34"/>
                <a:gd name="T1" fmla="*/ 12 h 32"/>
                <a:gd name="T2" fmla="*/ 0 w 34"/>
                <a:gd name="T3" fmla="*/ 12 h 32"/>
                <a:gd name="T4" fmla="*/ 0 w 34"/>
                <a:gd name="T5" fmla="*/ 12 h 32"/>
                <a:gd name="T6" fmla="*/ 2 w 34"/>
                <a:gd name="T7" fmla="*/ 0 h 32"/>
                <a:gd name="T8" fmla="*/ 1 w 34"/>
                <a:gd name="T9" fmla="*/ 0 h 32"/>
                <a:gd name="T10" fmla="*/ 2 w 34"/>
                <a:gd name="T11" fmla="*/ 3 h 32"/>
                <a:gd name="T12" fmla="*/ 0 w 34"/>
                <a:gd name="T13" fmla="*/ 9 h 32"/>
                <a:gd name="T14" fmla="*/ 0 w 34"/>
                <a:gd name="T15" fmla="*/ 9 h 32"/>
                <a:gd name="T16" fmla="*/ 0 w 34"/>
                <a:gd name="T17" fmla="*/ 10 h 32"/>
                <a:gd name="T18" fmla="*/ 1 w 34"/>
                <a:gd name="T19" fmla="*/ 12 h 32"/>
                <a:gd name="T20" fmla="*/ 0 w 34"/>
                <a:gd name="T21" fmla="*/ 12 h 32"/>
                <a:gd name="T22" fmla="*/ 3 w 34"/>
                <a:gd name="T23" fmla="*/ 13 h 32"/>
                <a:gd name="T24" fmla="*/ 3 w 34"/>
                <a:gd name="T25" fmla="*/ 13 h 32"/>
                <a:gd name="T26" fmla="*/ 3 w 34"/>
                <a:gd name="T27" fmla="*/ 14 h 32"/>
                <a:gd name="T28" fmla="*/ 3 w 34"/>
                <a:gd name="T29" fmla="*/ 16 h 32"/>
                <a:gd name="T30" fmla="*/ 6 w 34"/>
                <a:gd name="T31" fmla="*/ 18 h 32"/>
                <a:gd name="T32" fmla="*/ 5 w 34"/>
                <a:gd name="T33" fmla="*/ 18 h 32"/>
                <a:gd name="T34" fmla="*/ 3 w 34"/>
                <a:gd name="T35" fmla="*/ 18 h 32"/>
                <a:gd name="T36" fmla="*/ 17 w 34"/>
                <a:gd name="T37" fmla="*/ 27 h 32"/>
                <a:gd name="T38" fmla="*/ 12 w 34"/>
                <a:gd name="T39" fmla="*/ 25 h 32"/>
                <a:gd name="T40" fmla="*/ 9 w 34"/>
                <a:gd name="T41" fmla="*/ 27 h 32"/>
                <a:gd name="T42" fmla="*/ 11 w 34"/>
                <a:gd name="T43" fmla="*/ 26 h 32"/>
                <a:gd name="T44" fmla="*/ 14 w 34"/>
                <a:gd name="T45" fmla="*/ 27 h 32"/>
                <a:gd name="T46" fmla="*/ 13 w 34"/>
                <a:gd name="T47" fmla="*/ 27 h 32"/>
                <a:gd name="T48" fmla="*/ 10 w 34"/>
                <a:gd name="T49" fmla="*/ 28 h 32"/>
                <a:gd name="T50" fmla="*/ 15 w 34"/>
                <a:gd name="T51" fmla="*/ 32 h 32"/>
                <a:gd name="T52" fmla="*/ 17 w 34"/>
                <a:gd name="T53" fmla="*/ 32 h 32"/>
                <a:gd name="T54" fmla="*/ 21 w 34"/>
                <a:gd name="T55" fmla="*/ 31 h 32"/>
                <a:gd name="T56" fmla="*/ 20 w 34"/>
                <a:gd name="T57" fmla="*/ 30 h 32"/>
                <a:gd name="T58" fmla="*/ 28 w 34"/>
                <a:gd name="T59" fmla="*/ 24 h 32"/>
                <a:gd name="T60" fmla="*/ 28 w 34"/>
                <a:gd name="T61" fmla="*/ 17 h 32"/>
                <a:gd name="T62" fmla="*/ 30 w 34"/>
                <a:gd name="T63" fmla="*/ 10 h 32"/>
                <a:gd name="T64" fmla="*/ 34 w 34"/>
                <a:gd name="T65" fmla="*/ 0 h 32"/>
                <a:gd name="T66" fmla="*/ 25 w 34"/>
                <a:gd name="T67" fmla="*/ 4 h 32"/>
                <a:gd name="T68" fmla="*/ 22 w 34"/>
                <a:gd name="T69" fmla="*/ 4 h 32"/>
                <a:gd name="T70" fmla="*/ 22 w 34"/>
                <a:gd name="T71" fmla="*/ 11 h 32"/>
                <a:gd name="T72" fmla="*/ 20 w 34"/>
                <a:gd name="T73" fmla="*/ 17 h 32"/>
                <a:gd name="T74" fmla="*/ 15 w 34"/>
                <a:gd name="T75" fmla="*/ 18 h 32"/>
                <a:gd name="T76" fmla="*/ 18 w 34"/>
                <a:gd name="T77" fmla="*/ 15 h 32"/>
                <a:gd name="T78" fmla="*/ 15 w 34"/>
                <a:gd name="T79" fmla="*/ 16 h 32"/>
                <a:gd name="T80" fmla="*/ 22 w 34"/>
                <a:gd name="T81" fmla="*/ 5 h 32"/>
                <a:gd name="T82" fmla="*/ 19 w 34"/>
                <a:gd name="T83" fmla="*/ 2 h 32"/>
                <a:gd name="T84" fmla="*/ 16 w 34"/>
                <a:gd name="T85" fmla="*/ 2 h 32"/>
                <a:gd name="T86" fmla="*/ 14 w 34"/>
                <a:gd name="T87" fmla="*/ 3 h 32"/>
                <a:gd name="T88" fmla="*/ 13 w 34"/>
                <a:gd name="T89" fmla="*/ 2 h 32"/>
                <a:gd name="T90" fmla="*/ 9 w 34"/>
                <a:gd name="T91" fmla="*/ 1 h 32"/>
                <a:gd name="T92" fmla="*/ 9 w 34"/>
                <a:gd name="T93" fmla="*/ 1 h 32"/>
                <a:gd name="T94" fmla="*/ 8 w 34"/>
                <a:gd name="T95" fmla="*/ 1 h 32"/>
                <a:gd name="T96" fmla="*/ 7 w 34"/>
                <a:gd name="T97" fmla="*/ 1 h 32"/>
                <a:gd name="T98" fmla="*/ 6 w 34"/>
                <a:gd name="T99" fmla="*/ 1 h 32"/>
                <a:gd name="T100" fmla="*/ 2 w 34"/>
                <a:gd name="T10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2">
                  <a:moveTo>
                    <a:pt x="0" y="12"/>
                  </a:moveTo>
                  <a:cubicBezTo>
                    <a:pt x="0" y="12"/>
                    <a:pt x="0" y="12"/>
                    <a:pt x="0" y="12"/>
                  </a:cubicBezTo>
                  <a:cubicBezTo>
                    <a:pt x="0" y="12"/>
                    <a:pt x="0" y="12"/>
                    <a:pt x="0" y="12"/>
                  </a:cubicBezTo>
                  <a:moveTo>
                    <a:pt x="2" y="0"/>
                  </a:moveTo>
                  <a:cubicBezTo>
                    <a:pt x="2" y="0"/>
                    <a:pt x="2" y="0"/>
                    <a:pt x="1" y="0"/>
                  </a:cubicBezTo>
                  <a:cubicBezTo>
                    <a:pt x="1" y="0"/>
                    <a:pt x="2" y="2"/>
                    <a:pt x="2" y="3"/>
                  </a:cubicBezTo>
                  <a:cubicBezTo>
                    <a:pt x="2" y="5"/>
                    <a:pt x="0" y="7"/>
                    <a:pt x="0" y="9"/>
                  </a:cubicBezTo>
                  <a:cubicBezTo>
                    <a:pt x="0" y="9"/>
                    <a:pt x="0" y="9"/>
                    <a:pt x="0" y="9"/>
                  </a:cubicBezTo>
                  <a:cubicBezTo>
                    <a:pt x="0" y="9"/>
                    <a:pt x="0" y="10"/>
                    <a:pt x="0" y="10"/>
                  </a:cubicBezTo>
                  <a:cubicBezTo>
                    <a:pt x="1" y="11"/>
                    <a:pt x="1" y="12"/>
                    <a:pt x="1" y="12"/>
                  </a:cubicBezTo>
                  <a:cubicBezTo>
                    <a:pt x="1" y="12"/>
                    <a:pt x="1" y="12"/>
                    <a:pt x="0" y="12"/>
                  </a:cubicBezTo>
                  <a:cubicBezTo>
                    <a:pt x="1" y="12"/>
                    <a:pt x="3" y="13"/>
                    <a:pt x="3" y="13"/>
                  </a:cubicBezTo>
                  <a:cubicBezTo>
                    <a:pt x="3" y="13"/>
                    <a:pt x="3" y="13"/>
                    <a:pt x="3" y="13"/>
                  </a:cubicBezTo>
                  <a:cubicBezTo>
                    <a:pt x="3" y="14"/>
                    <a:pt x="3" y="14"/>
                    <a:pt x="3" y="14"/>
                  </a:cubicBezTo>
                  <a:cubicBezTo>
                    <a:pt x="3" y="14"/>
                    <a:pt x="3" y="15"/>
                    <a:pt x="3" y="16"/>
                  </a:cubicBezTo>
                  <a:cubicBezTo>
                    <a:pt x="3" y="16"/>
                    <a:pt x="5" y="17"/>
                    <a:pt x="6" y="18"/>
                  </a:cubicBezTo>
                  <a:cubicBezTo>
                    <a:pt x="6" y="18"/>
                    <a:pt x="6" y="18"/>
                    <a:pt x="5" y="18"/>
                  </a:cubicBezTo>
                  <a:cubicBezTo>
                    <a:pt x="5" y="18"/>
                    <a:pt x="4" y="18"/>
                    <a:pt x="3" y="18"/>
                  </a:cubicBezTo>
                  <a:cubicBezTo>
                    <a:pt x="5" y="22"/>
                    <a:pt x="17" y="25"/>
                    <a:pt x="17" y="27"/>
                  </a:cubicBezTo>
                  <a:cubicBezTo>
                    <a:pt x="15" y="26"/>
                    <a:pt x="13" y="25"/>
                    <a:pt x="12" y="25"/>
                  </a:cubicBezTo>
                  <a:cubicBezTo>
                    <a:pt x="11" y="25"/>
                    <a:pt x="10" y="25"/>
                    <a:pt x="9" y="27"/>
                  </a:cubicBezTo>
                  <a:cubicBezTo>
                    <a:pt x="10" y="26"/>
                    <a:pt x="11" y="26"/>
                    <a:pt x="11" y="26"/>
                  </a:cubicBezTo>
                  <a:cubicBezTo>
                    <a:pt x="12" y="26"/>
                    <a:pt x="13" y="26"/>
                    <a:pt x="14" y="27"/>
                  </a:cubicBezTo>
                  <a:cubicBezTo>
                    <a:pt x="13" y="27"/>
                    <a:pt x="13" y="27"/>
                    <a:pt x="13" y="27"/>
                  </a:cubicBezTo>
                  <a:cubicBezTo>
                    <a:pt x="12" y="27"/>
                    <a:pt x="11" y="27"/>
                    <a:pt x="10" y="28"/>
                  </a:cubicBezTo>
                  <a:cubicBezTo>
                    <a:pt x="10" y="29"/>
                    <a:pt x="14" y="31"/>
                    <a:pt x="15" y="32"/>
                  </a:cubicBezTo>
                  <a:cubicBezTo>
                    <a:pt x="15" y="32"/>
                    <a:pt x="16" y="32"/>
                    <a:pt x="17" y="32"/>
                  </a:cubicBezTo>
                  <a:cubicBezTo>
                    <a:pt x="18" y="32"/>
                    <a:pt x="20" y="31"/>
                    <a:pt x="21" y="31"/>
                  </a:cubicBezTo>
                  <a:cubicBezTo>
                    <a:pt x="21" y="31"/>
                    <a:pt x="20" y="30"/>
                    <a:pt x="20" y="30"/>
                  </a:cubicBezTo>
                  <a:cubicBezTo>
                    <a:pt x="24" y="29"/>
                    <a:pt x="28" y="29"/>
                    <a:pt x="28" y="24"/>
                  </a:cubicBezTo>
                  <a:cubicBezTo>
                    <a:pt x="28" y="22"/>
                    <a:pt x="27" y="19"/>
                    <a:pt x="28" y="17"/>
                  </a:cubicBezTo>
                  <a:cubicBezTo>
                    <a:pt x="28" y="15"/>
                    <a:pt x="29" y="12"/>
                    <a:pt x="30" y="10"/>
                  </a:cubicBezTo>
                  <a:cubicBezTo>
                    <a:pt x="32" y="6"/>
                    <a:pt x="34" y="4"/>
                    <a:pt x="34" y="0"/>
                  </a:cubicBezTo>
                  <a:cubicBezTo>
                    <a:pt x="32" y="3"/>
                    <a:pt x="28" y="4"/>
                    <a:pt x="25" y="4"/>
                  </a:cubicBezTo>
                  <a:cubicBezTo>
                    <a:pt x="24" y="4"/>
                    <a:pt x="23" y="4"/>
                    <a:pt x="22" y="4"/>
                  </a:cubicBezTo>
                  <a:cubicBezTo>
                    <a:pt x="26" y="6"/>
                    <a:pt x="23" y="9"/>
                    <a:pt x="22" y="11"/>
                  </a:cubicBezTo>
                  <a:cubicBezTo>
                    <a:pt x="21" y="13"/>
                    <a:pt x="22" y="15"/>
                    <a:pt x="20" y="17"/>
                  </a:cubicBezTo>
                  <a:cubicBezTo>
                    <a:pt x="18" y="18"/>
                    <a:pt x="16" y="18"/>
                    <a:pt x="15" y="18"/>
                  </a:cubicBezTo>
                  <a:cubicBezTo>
                    <a:pt x="15" y="17"/>
                    <a:pt x="17" y="16"/>
                    <a:pt x="18" y="15"/>
                  </a:cubicBezTo>
                  <a:cubicBezTo>
                    <a:pt x="17" y="16"/>
                    <a:pt x="16" y="16"/>
                    <a:pt x="15" y="16"/>
                  </a:cubicBezTo>
                  <a:cubicBezTo>
                    <a:pt x="19" y="13"/>
                    <a:pt x="25" y="11"/>
                    <a:pt x="22" y="5"/>
                  </a:cubicBezTo>
                  <a:cubicBezTo>
                    <a:pt x="21" y="3"/>
                    <a:pt x="20" y="2"/>
                    <a:pt x="19" y="2"/>
                  </a:cubicBezTo>
                  <a:cubicBezTo>
                    <a:pt x="18" y="2"/>
                    <a:pt x="17" y="2"/>
                    <a:pt x="16" y="2"/>
                  </a:cubicBezTo>
                  <a:cubicBezTo>
                    <a:pt x="15" y="3"/>
                    <a:pt x="15" y="3"/>
                    <a:pt x="14" y="3"/>
                  </a:cubicBezTo>
                  <a:cubicBezTo>
                    <a:pt x="14" y="3"/>
                    <a:pt x="13" y="3"/>
                    <a:pt x="13" y="2"/>
                  </a:cubicBezTo>
                  <a:cubicBezTo>
                    <a:pt x="12" y="0"/>
                    <a:pt x="11" y="1"/>
                    <a:pt x="9" y="1"/>
                  </a:cubicBezTo>
                  <a:cubicBezTo>
                    <a:pt x="9" y="1"/>
                    <a:pt x="9" y="1"/>
                    <a:pt x="9" y="1"/>
                  </a:cubicBezTo>
                  <a:cubicBezTo>
                    <a:pt x="9" y="1"/>
                    <a:pt x="8" y="1"/>
                    <a:pt x="8" y="1"/>
                  </a:cubicBezTo>
                  <a:cubicBezTo>
                    <a:pt x="8" y="1"/>
                    <a:pt x="7" y="1"/>
                    <a:pt x="7" y="1"/>
                  </a:cubicBezTo>
                  <a:cubicBezTo>
                    <a:pt x="7" y="1"/>
                    <a:pt x="6" y="1"/>
                    <a:pt x="6" y="1"/>
                  </a:cubicBezTo>
                  <a:cubicBezTo>
                    <a:pt x="4"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 name="Freeform 237">
              <a:extLst>
                <a:ext uri="{FF2B5EF4-FFF2-40B4-BE49-F238E27FC236}">
                  <a16:creationId xmlns:a16="http://schemas.microsoft.com/office/drawing/2014/main" id="{09F81A4B-D848-49DF-850F-C1AD8AA3189C}"/>
                </a:ext>
              </a:extLst>
            </p:cNvPr>
            <p:cNvSpPr>
              <a:spLocks/>
            </p:cNvSpPr>
            <p:nvPr/>
          </p:nvSpPr>
          <p:spPr bwMode="auto">
            <a:xfrm>
              <a:off x="8774104" y="3953697"/>
              <a:ext cx="120650" cy="58738"/>
            </a:xfrm>
            <a:custGeom>
              <a:avLst/>
              <a:gdLst>
                <a:gd name="T0" fmla="*/ 16 w 32"/>
                <a:gd name="T1" fmla="*/ 0 h 16"/>
                <a:gd name="T2" fmla="*/ 8 w 32"/>
                <a:gd name="T3" fmla="*/ 1 h 16"/>
                <a:gd name="T4" fmla="*/ 0 w 32"/>
                <a:gd name="T5" fmla="*/ 5 h 16"/>
                <a:gd name="T6" fmla="*/ 11 w 32"/>
                <a:gd name="T7" fmla="*/ 10 h 16"/>
                <a:gd name="T8" fmla="*/ 21 w 32"/>
                <a:gd name="T9" fmla="*/ 13 h 16"/>
                <a:gd name="T10" fmla="*/ 31 w 32"/>
                <a:gd name="T11" fmla="*/ 16 h 16"/>
                <a:gd name="T12" fmla="*/ 22 w 32"/>
                <a:gd name="T13" fmla="*/ 1 h 16"/>
                <a:gd name="T14" fmla="*/ 16 w 32"/>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6">
                  <a:moveTo>
                    <a:pt x="16" y="0"/>
                  </a:moveTo>
                  <a:cubicBezTo>
                    <a:pt x="13" y="0"/>
                    <a:pt x="10" y="0"/>
                    <a:pt x="8" y="1"/>
                  </a:cubicBezTo>
                  <a:cubicBezTo>
                    <a:pt x="5" y="1"/>
                    <a:pt x="1" y="2"/>
                    <a:pt x="0" y="5"/>
                  </a:cubicBezTo>
                  <a:cubicBezTo>
                    <a:pt x="0" y="7"/>
                    <a:pt x="8" y="9"/>
                    <a:pt x="11" y="10"/>
                  </a:cubicBezTo>
                  <a:cubicBezTo>
                    <a:pt x="15" y="11"/>
                    <a:pt x="18" y="12"/>
                    <a:pt x="21" y="13"/>
                  </a:cubicBezTo>
                  <a:cubicBezTo>
                    <a:pt x="24" y="15"/>
                    <a:pt x="28" y="14"/>
                    <a:pt x="31" y="16"/>
                  </a:cubicBezTo>
                  <a:cubicBezTo>
                    <a:pt x="32" y="9"/>
                    <a:pt x="27" y="6"/>
                    <a:pt x="22" y="1"/>
                  </a:cubicBezTo>
                  <a:cubicBezTo>
                    <a:pt x="20" y="0"/>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 name="Freeform 238">
              <a:extLst>
                <a:ext uri="{FF2B5EF4-FFF2-40B4-BE49-F238E27FC236}">
                  <a16:creationId xmlns:a16="http://schemas.microsoft.com/office/drawing/2014/main" id="{839FBAFF-2F4F-43F1-8CBD-1DD510C03A04}"/>
                </a:ext>
              </a:extLst>
            </p:cNvPr>
            <p:cNvSpPr>
              <a:spLocks/>
            </p:cNvSpPr>
            <p:nvPr/>
          </p:nvSpPr>
          <p:spPr bwMode="auto">
            <a:xfrm>
              <a:off x="8950316" y="3539359"/>
              <a:ext cx="106363" cy="101600"/>
            </a:xfrm>
            <a:custGeom>
              <a:avLst/>
              <a:gdLst>
                <a:gd name="T0" fmla="*/ 17 w 28"/>
                <a:gd name="T1" fmla="*/ 0 h 27"/>
                <a:gd name="T2" fmla="*/ 16 w 28"/>
                <a:gd name="T3" fmla="*/ 7 h 27"/>
                <a:gd name="T4" fmla="*/ 14 w 28"/>
                <a:gd name="T5" fmla="*/ 14 h 27"/>
                <a:gd name="T6" fmla="*/ 10 w 28"/>
                <a:gd name="T7" fmla="*/ 16 h 27"/>
                <a:gd name="T8" fmla="*/ 13 w 28"/>
                <a:gd name="T9" fmla="*/ 2 h 27"/>
                <a:gd name="T10" fmla="*/ 11 w 28"/>
                <a:gd name="T11" fmla="*/ 12 h 27"/>
                <a:gd name="T12" fmla="*/ 6 w 28"/>
                <a:gd name="T13" fmla="*/ 16 h 27"/>
                <a:gd name="T14" fmla="*/ 0 w 28"/>
                <a:gd name="T15" fmla="*/ 22 h 27"/>
                <a:gd name="T16" fmla="*/ 3 w 28"/>
                <a:gd name="T17" fmla="*/ 26 h 27"/>
                <a:gd name="T18" fmla="*/ 11 w 28"/>
                <a:gd name="T19" fmla="*/ 17 h 27"/>
                <a:gd name="T20" fmla="*/ 12 w 28"/>
                <a:gd name="T21" fmla="*/ 17 h 27"/>
                <a:gd name="T22" fmla="*/ 11 w 28"/>
                <a:gd name="T23" fmla="*/ 19 h 27"/>
                <a:gd name="T24" fmla="*/ 6 w 28"/>
                <a:gd name="T25" fmla="*/ 27 h 27"/>
                <a:gd name="T26" fmla="*/ 15 w 28"/>
                <a:gd name="T27" fmla="*/ 21 h 27"/>
                <a:gd name="T28" fmla="*/ 20 w 28"/>
                <a:gd name="T29" fmla="*/ 13 h 27"/>
                <a:gd name="T30" fmla="*/ 17 w 28"/>
                <a:gd name="T31" fmla="*/ 25 h 27"/>
                <a:gd name="T32" fmla="*/ 22 w 28"/>
                <a:gd name="T33" fmla="*/ 13 h 27"/>
                <a:gd name="T34" fmla="*/ 22 w 28"/>
                <a:gd name="T35" fmla="*/ 13 h 27"/>
                <a:gd name="T36" fmla="*/ 24 w 28"/>
                <a:gd name="T37" fmla="*/ 8 h 27"/>
                <a:gd name="T38" fmla="*/ 19 w 28"/>
                <a:gd name="T39" fmla="*/ 24 h 27"/>
                <a:gd name="T40" fmla="*/ 24 w 28"/>
                <a:gd name="T41" fmla="*/ 14 h 27"/>
                <a:gd name="T42" fmla="*/ 25 w 28"/>
                <a:gd name="T43" fmla="*/ 6 h 27"/>
                <a:gd name="T44" fmla="*/ 25 w 28"/>
                <a:gd name="T45" fmla="*/ 6 h 27"/>
                <a:gd name="T46" fmla="*/ 24 w 28"/>
                <a:gd name="T47" fmla="*/ 6 h 27"/>
                <a:gd name="T48" fmla="*/ 23 w 28"/>
                <a:gd name="T49" fmla="*/ 6 h 27"/>
                <a:gd name="T50" fmla="*/ 22 w 28"/>
                <a:gd name="T51" fmla="*/ 6 h 27"/>
                <a:gd name="T52" fmla="*/ 20 w 28"/>
                <a:gd name="T53" fmla="*/ 3 h 27"/>
                <a:gd name="T54" fmla="*/ 17 w 28"/>
                <a:gd name="T5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27">
                  <a:moveTo>
                    <a:pt x="17" y="0"/>
                  </a:moveTo>
                  <a:cubicBezTo>
                    <a:pt x="16" y="2"/>
                    <a:pt x="17" y="5"/>
                    <a:pt x="16" y="7"/>
                  </a:cubicBezTo>
                  <a:cubicBezTo>
                    <a:pt x="16" y="9"/>
                    <a:pt x="15" y="12"/>
                    <a:pt x="14" y="14"/>
                  </a:cubicBezTo>
                  <a:cubicBezTo>
                    <a:pt x="13" y="15"/>
                    <a:pt x="11" y="14"/>
                    <a:pt x="10" y="16"/>
                  </a:cubicBezTo>
                  <a:cubicBezTo>
                    <a:pt x="12" y="11"/>
                    <a:pt x="14" y="8"/>
                    <a:pt x="13" y="2"/>
                  </a:cubicBezTo>
                  <a:cubicBezTo>
                    <a:pt x="12" y="4"/>
                    <a:pt x="13" y="9"/>
                    <a:pt x="11" y="12"/>
                  </a:cubicBezTo>
                  <a:cubicBezTo>
                    <a:pt x="9" y="14"/>
                    <a:pt x="7" y="15"/>
                    <a:pt x="6" y="16"/>
                  </a:cubicBezTo>
                  <a:cubicBezTo>
                    <a:pt x="4" y="18"/>
                    <a:pt x="3" y="21"/>
                    <a:pt x="0" y="22"/>
                  </a:cubicBezTo>
                  <a:cubicBezTo>
                    <a:pt x="1" y="24"/>
                    <a:pt x="2" y="25"/>
                    <a:pt x="3" y="26"/>
                  </a:cubicBezTo>
                  <a:cubicBezTo>
                    <a:pt x="4" y="23"/>
                    <a:pt x="9" y="18"/>
                    <a:pt x="11" y="17"/>
                  </a:cubicBezTo>
                  <a:cubicBezTo>
                    <a:pt x="12" y="17"/>
                    <a:pt x="12" y="17"/>
                    <a:pt x="12" y="17"/>
                  </a:cubicBezTo>
                  <a:cubicBezTo>
                    <a:pt x="13" y="17"/>
                    <a:pt x="12" y="18"/>
                    <a:pt x="11" y="19"/>
                  </a:cubicBezTo>
                  <a:cubicBezTo>
                    <a:pt x="9" y="22"/>
                    <a:pt x="7" y="24"/>
                    <a:pt x="6" y="27"/>
                  </a:cubicBezTo>
                  <a:cubicBezTo>
                    <a:pt x="10" y="25"/>
                    <a:pt x="13" y="25"/>
                    <a:pt x="15" y="21"/>
                  </a:cubicBezTo>
                  <a:cubicBezTo>
                    <a:pt x="17" y="19"/>
                    <a:pt x="18" y="16"/>
                    <a:pt x="20" y="13"/>
                  </a:cubicBezTo>
                  <a:cubicBezTo>
                    <a:pt x="22" y="17"/>
                    <a:pt x="18" y="21"/>
                    <a:pt x="17" y="25"/>
                  </a:cubicBezTo>
                  <a:cubicBezTo>
                    <a:pt x="19" y="22"/>
                    <a:pt x="21" y="16"/>
                    <a:pt x="22" y="13"/>
                  </a:cubicBezTo>
                  <a:cubicBezTo>
                    <a:pt x="22" y="13"/>
                    <a:pt x="22" y="13"/>
                    <a:pt x="22" y="13"/>
                  </a:cubicBezTo>
                  <a:cubicBezTo>
                    <a:pt x="20" y="13"/>
                    <a:pt x="24" y="9"/>
                    <a:pt x="24" y="8"/>
                  </a:cubicBezTo>
                  <a:cubicBezTo>
                    <a:pt x="24" y="13"/>
                    <a:pt x="20" y="18"/>
                    <a:pt x="19" y="24"/>
                  </a:cubicBezTo>
                  <a:cubicBezTo>
                    <a:pt x="20" y="21"/>
                    <a:pt x="22" y="17"/>
                    <a:pt x="24" y="14"/>
                  </a:cubicBezTo>
                  <a:cubicBezTo>
                    <a:pt x="25" y="12"/>
                    <a:pt x="28" y="9"/>
                    <a:pt x="25" y="6"/>
                  </a:cubicBezTo>
                  <a:cubicBezTo>
                    <a:pt x="25" y="6"/>
                    <a:pt x="25" y="6"/>
                    <a:pt x="25" y="6"/>
                  </a:cubicBezTo>
                  <a:cubicBezTo>
                    <a:pt x="24" y="6"/>
                    <a:pt x="24" y="6"/>
                    <a:pt x="24" y="6"/>
                  </a:cubicBezTo>
                  <a:cubicBezTo>
                    <a:pt x="24" y="6"/>
                    <a:pt x="23" y="6"/>
                    <a:pt x="23" y="6"/>
                  </a:cubicBezTo>
                  <a:cubicBezTo>
                    <a:pt x="23" y="6"/>
                    <a:pt x="23" y="6"/>
                    <a:pt x="22" y="6"/>
                  </a:cubicBezTo>
                  <a:cubicBezTo>
                    <a:pt x="21" y="5"/>
                    <a:pt x="21" y="3"/>
                    <a:pt x="20" y="3"/>
                  </a:cubicBezTo>
                  <a:cubicBezTo>
                    <a:pt x="20" y="2"/>
                    <a:pt x="18" y="1"/>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 name="Freeform 239">
              <a:extLst>
                <a:ext uri="{FF2B5EF4-FFF2-40B4-BE49-F238E27FC236}">
                  <a16:creationId xmlns:a16="http://schemas.microsoft.com/office/drawing/2014/main" id="{E090D4B2-47E3-4EDC-A112-6BD6E394264B}"/>
                </a:ext>
              </a:extLst>
            </p:cNvPr>
            <p:cNvSpPr>
              <a:spLocks noEditPoints="1"/>
            </p:cNvSpPr>
            <p:nvPr/>
          </p:nvSpPr>
          <p:spPr bwMode="auto">
            <a:xfrm>
              <a:off x="10561629" y="4655372"/>
              <a:ext cx="149225" cy="161925"/>
            </a:xfrm>
            <a:custGeom>
              <a:avLst/>
              <a:gdLst>
                <a:gd name="T0" fmla="*/ 23 w 40"/>
                <a:gd name="T1" fmla="*/ 27 h 43"/>
                <a:gd name="T2" fmla="*/ 29 w 40"/>
                <a:gd name="T3" fmla="*/ 24 h 43"/>
                <a:gd name="T4" fmla="*/ 19 w 40"/>
                <a:gd name="T5" fmla="*/ 31 h 43"/>
                <a:gd name="T6" fmla="*/ 18 w 40"/>
                <a:gd name="T7" fmla="*/ 33 h 43"/>
                <a:gd name="T8" fmla="*/ 19 w 40"/>
                <a:gd name="T9" fmla="*/ 34 h 43"/>
                <a:gd name="T10" fmla="*/ 26 w 40"/>
                <a:gd name="T11" fmla="*/ 31 h 43"/>
                <a:gd name="T12" fmla="*/ 19 w 40"/>
                <a:gd name="T13" fmla="*/ 36 h 43"/>
                <a:gd name="T14" fmla="*/ 18 w 40"/>
                <a:gd name="T15" fmla="*/ 38 h 43"/>
                <a:gd name="T16" fmla="*/ 9 w 40"/>
                <a:gd name="T17" fmla="*/ 39 h 43"/>
                <a:gd name="T18" fmla="*/ 12 w 40"/>
                <a:gd name="T19" fmla="*/ 36 h 43"/>
                <a:gd name="T20" fmla="*/ 11 w 40"/>
                <a:gd name="T21" fmla="*/ 35 h 43"/>
                <a:gd name="T22" fmla="*/ 10 w 40"/>
                <a:gd name="T23" fmla="*/ 35 h 43"/>
                <a:gd name="T24" fmla="*/ 10 w 40"/>
                <a:gd name="T25" fmla="*/ 34 h 43"/>
                <a:gd name="T26" fmla="*/ 13 w 40"/>
                <a:gd name="T27" fmla="*/ 33 h 43"/>
                <a:gd name="T28" fmla="*/ 16 w 40"/>
                <a:gd name="T29" fmla="*/ 32 h 43"/>
                <a:gd name="T30" fmla="*/ 17 w 40"/>
                <a:gd name="T31" fmla="*/ 31 h 43"/>
                <a:gd name="T32" fmla="*/ 18 w 40"/>
                <a:gd name="T33" fmla="*/ 29 h 43"/>
                <a:gd name="T34" fmla="*/ 17 w 40"/>
                <a:gd name="T35" fmla="*/ 28 h 43"/>
                <a:gd name="T36" fmla="*/ 22 w 40"/>
                <a:gd name="T37" fmla="*/ 26 h 43"/>
                <a:gd name="T38" fmla="*/ 22 w 40"/>
                <a:gd name="T39" fmla="*/ 26 h 43"/>
                <a:gd name="T40" fmla="*/ 22 w 40"/>
                <a:gd name="T41" fmla="*/ 0 h 43"/>
                <a:gd name="T42" fmla="*/ 21 w 40"/>
                <a:gd name="T43" fmla="*/ 1 h 43"/>
                <a:gd name="T44" fmla="*/ 20 w 40"/>
                <a:gd name="T45" fmla="*/ 3 h 43"/>
                <a:gd name="T46" fmla="*/ 16 w 40"/>
                <a:gd name="T47" fmla="*/ 7 h 43"/>
                <a:gd name="T48" fmla="*/ 14 w 40"/>
                <a:gd name="T49" fmla="*/ 10 h 43"/>
                <a:gd name="T50" fmla="*/ 13 w 40"/>
                <a:gd name="T51" fmla="*/ 12 h 43"/>
                <a:gd name="T52" fmla="*/ 11 w 40"/>
                <a:gd name="T53" fmla="*/ 13 h 43"/>
                <a:gd name="T54" fmla="*/ 11 w 40"/>
                <a:gd name="T55" fmla="*/ 13 h 43"/>
                <a:gd name="T56" fmla="*/ 11 w 40"/>
                <a:gd name="T57" fmla="*/ 14 h 43"/>
                <a:gd name="T58" fmla="*/ 9 w 40"/>
                <a:gd name="T59" fmla="*/ 18 h 43"/>
                <a:gd name="T60" fmla="*/ 4 w 40"/>
                <a:gd name="T61" fmla="*/ 25 h 43"/>
                <a:gd name="T62" fmla="*/ 1 w 40"/>
                <a:gd name="T63" fmla="*/ 27 h 43"/>
                <a:gd name="T64" fmla="*/ 0 w 40"/>
                <a:gd name="T65" fmla="*/ 30 h 43"/>
                <a:gd name="T66" fmla="*/ 1 w 40"/>
                <a:gd name="T67" fmla="*/ 37 h 43"/>
                <a:gd name="T68" fmla="*/ 7 w 40"/>
                <a:gd name="T69" fmla="*/ 43 h 43"/>
                <a:gd name="T70" fmla="*/ 9 w 40"/>
                <a:gd name="T71" fmla="*/ 43 h 43"/>
                <a:gd name="T72" fmla="*/ 9 w 40"/>
                <a:gd name="T73" fmla="*/ 43 h 43"/>
                <a:gd name="T74" fmla="*/ 12 w 40"/>
                <a:gd name="T75" fmla="*/ 42 h 43"/>
                <a:gd name="T76" fmla="*/ 19 w 40"/>
                <a:gd name="T77" fmla="*/ 43 h 43"/>
                <a:gd name="T78" fmla="*/ 26 w 40"/>
                <a:gd name="T79" fmla="*/ 41 h 43"/>
                <a:gd name="T80" fmla="*/ 30 w 40"/>
                <a:gd name="T81" fmla="*/ 39 h 43"/>
                <a:gd name="T82" fmla="*/ 35 w 40"/>
                <a:gd name="T83" fmla="*/ 34 h 43"/>
                <a:gd name="T84" fmla="*/ 40 w 40"/>
                <a:gd name="T85" fmla="*/ 32 h 43"/>
                <a:gd name="T86" fmla="*/ 40 w 40"/>
                <a:gd name="T87" fmla="*/ 27 h 43"/>
                <a:gd name="T88" fmla="*/ 38 w 40"/>
                <a:gd name="T89" fmla="*/ 25 h 43"/>
                <a:gd name="T90" fmla="*/ 33 w 40"/>
                <a:gd name="T91" fmla="*/ 23 h 43"/>
                <a:gd name="T92" fmla="*/ 29 w 40"/>
                <a:gd name="T93" fmla="*/ 22 h 43"/>
                <a:gd name="T94" fmla="*/ 23 w 40"/>
                <a:gd name="T95" fmla="*/ 25 h 43"/>
                <a:gd name="T96" fmla="*/ 25 w 40"/>
                <a:gd name="T97" fmla="*/ 21 h 43"/>
                <a:gd name="T98" fmla="*/ 25 w 40"/>
                <a:gd name="T99" fmla="*/ 17 h 43"/>
                <a:gd name="T100" fmla="*/ 26 w 40"/>
                <a:gd name="T101" fmla="*/ 16 h 43"/>
                <a:gd name="T102" fmla="*/ 26 w 40"/>
                <a:gd name="T103" fmla="*/ 16 h 43"/>
                <a:gd name="T104" fmla="*/ 27 w 40"/>
                <a:gd name="T105" fmla="*/ 11 h 43"/>
                <a:gd name="T106" fmla="*/ 28 w 40"/>
                <a:gd name="T107" fmla="*/ 5 h 43"/>
                <a:gd name="T108" fmla="*/ 26 w 40"/>
                <a:gd name="T109" fmla="*/ 1 h 43"/>
                <a:gd name="T110" fmla="*/ 23 w 40"/>
                <a:gd name="T111"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43">
                  <a:moveTo>
                    <a:pt x="21" y="29"/>
                  </a:moveTo>
                  <a:cubicBezTo>
                    <a:pt x="21" y="28"/>
                    <a:pt x="22" y="28"/>
                    <a:pt x="23" y="27"/>
                  </a:cubicBezTo>
                  <a:cubicBezTo>
                    <a:pt x="23" y="27"/>
                    <a:pt x="23" y="27"/>
                    <a:pt x="23" y="27"/>
                  </a:cubicBezTo>
                  <a:cubicBezTo>
                    <a:pt x="25" y="26"/>
                    <a:pt x="26" y="24"/>
                    <a:pt x="29" y="24"/>
                  </a:cubicBezTo>
                  <a:cubicBezTo>
                    <a:pt x="26" y="26"/>
                    <a:pt x="23" y="28"/>
                    <a:pt x="20" y="30"/>
                  </a:cubicBezTo>
                  <a:cubicBezTo>
                    <a:pt x="19" y="31"/>
                    <a:pt x="19" y="31"/>
                    <a:pt x="19" y="31"/>
                  </a:cubicBezTo>
                  <a:cubicBezTo>
                    <a:pt x="18" y="31"/>
                    <a:pt x="17" y="32"/>
                    <a:pt x="18" y="33"/>
                  </a:cubicBezTo>
                  <a:cubicBezTo>
                    <a:pt x="18" y="33"/>
                    <a:pt x="18" y="33"/>
                    <a:pt x="18" y="33"/>
                  </a:cubicBezTo>
                  <a:cubicBezTo>
                    <a:pt x="18" y="33"/>
                    <a:pt x="18" y="33"/>
                    <a:pt x="18" y="33"/>
                  </a:cubicBezTo>
                  <a:cubicBezTo>
                    <a:pt x="18" y="33"/>
                    <a:pt x="18" y="34"/>
                    <a:pt x="19" y="34"/>
                  </a:cubicBezTo>
                  <a:cubicBezTo>
                    <a:pt x="19" y="34"/>
                    <a:pt x="19" y="34"/>
                    <a:pt x="20" y="34"/>
                  </a:cubicBezTo>
                  <a:cubicBezTo>
                    <a:pt x="21" y="34"/>
                    <a:pt x="25" y="31"/>
                    <a:pt x="26" y="31"/>
                  </a:cubicBezTo>
                  <a:cubicBezTo>
                    <a:pt x="25" y="32"/>
                    <a:pt x="23" y="33"/>
                    <a:pt x="21" y="35"/>
                  </a:cubicBezTo>
                  <a:cubicBezTo>
                    <a:pt x="20" y="35"/>
                    <a:pt x="20" y="36"/>
                    <a:pt x="19" y="36"/>
                  </a:cubicBezTo>
                  <a:cubicBezTo>
                    <a:pt x="18" y="37"/>
                    <a:pt x="18" y="37"/>
                    <a:pt x="18" y="37"/>
                  </a:cubicBezTo>
                  <a:cubicBezTo>
                    <a:pt x="18" y="38"/>
                    <a:pt x="18" y="38"/>
                    <a:pt x="18" y="38"/>
                  </a:cubicBezTo>
                  <a:cubicBezTo>
                    <a:pt x="17" y="40"/>
                    <a:pt x="16" y="40"/>
                    <a:pt x="14" y="40"/>
                  </a:cubicBezTo>
                  <a:cubicBezTo>
                    <a:pt x="12" y="40"/>
                    <a:pt x="11" y="40"/>
                    <a:pt x="9" y="39"/>
                  </a:cubicBezTo>
                  <a:cubicBezTo>
                    <a:pt x="9" y="38"/>
                    <a:pt x="10" y="37"/>
                    <a:pt x="11" y="36"/>
                  </a:cubicBezTo>
                  <a:cubicBezTo>
                    <a:pt x="11" y="36"/>
                    <a:pt x="12" y="36"/>
                    <a:pt x="12" y="36"/>
                  </a:cubicBezTo>
                  <a:cubicBezTo>
                    <a:pt x="12" y="36"/>
                    <a:pt x="11" y="36"/>
                    <a:pt x="11" y="35"/>
                  </a:cubicBezTo>
                  <a:cubicBezTo>
                    <a:pt x="11" y="35"/>
                    <a:pt x="11" y="35"/>
                    <a:pt x="11" y="35"/>
                  </a:cubicBezTo>
                  <a:cubicBezTo>
                    <a:pt x="10" y="35"/>
                    <a:pt x="10" y="35"/>
                    <a:pt x="10" y="35"/>
                  </a:cubicBezTo>
                  <a:cubicBezTo>
                    <a:pt x="10" y="35"/>
                    <a:pt x="10" y="35"/>
                    <a:pt x="10" y="35"/>
                  </a:cubicBezTo>
                  <a:cubicBezTo>
                    <a:pt x="10" y="35"/>
                    <a:pt x="10" y="35"/>
                    <a:pt x="10" y="35"/>
                  </a:cubicBezTo>
                  <a:cubicBezTo>
                    <a:pt x="10" y="34"/>
                    <a:pt x="10" y="34"/>
                    <a:pt x="10" y="34"/>
                  </a:cubicBezTo>
                  <a:cubicBezTo>
                    <a:pt x="11" y="34"/>
                    <a:pt x="11" y="34"/>
                    <a:pt x="11" y="34"/>
                  </a:cubicBezTo>
                  <a:cubicBezTo>
                    <a:pt x="11" y="34"/>
                    <a:pt x="12" y="33"/>
                    <a:pt x="13" y="33"/>
                  </a:cubicBezTo>
                  <a:cubicBezTo>
                    <a:pt x="14" y="33"/>
                    <a:pt x="14" y="33"/>
                    <a:pt x="14" y="33"/>
                  </a:cubicBezTo>
                  <a:cubicBezTo>
                    <a:pt x="15" y="33"/>
                    <a:pt x="16" y="33"/>
                    <a:pt x="16" y="32"/>
                  </a:cubicBezTo>
                  <a:cubicBezTo>
                    <a:pt x="16" y="32"/>
                    <a:pt x="16" y="32"/>
                    <a:pt x="16" y="32"/>
                  </a:cubicBezTo>
                  <a:cubicBezTo>
                    <a:pt x="17" y="32"/>
                    <a:pt x="17" y="31"/>
                    <a:pt x="17" y="31"/>
                  </a:cubicBezTo>
                  <a:cubicBezTo>
                    <a:pt x="17" y="31"/>
                    <a:pt x="17" y="31"/>
                    <a:pt x="17" y="31"/>
                  </a:cubicBezTo>
                  <a:cubicBezTo>
                    <a:pt x="17" y="30"/>
                    <a:pt x="18" y="30"/>
                    <a:pt x="18" y="29"/>
                  </a:cubicBezTo>
                  <a:cubicBezTo>
                    <a:pt x="15" y="30"/>
                    <a:pt x="12" y="32"/>
                    <a:pt x="9" y="32"/>
                  </a:cubicBezTo>
                  <a:cubicBezTo>
                    <a:pt x="11" y="31"/>
                    <a:pt x="15" y="29"/>
                    <a:pt x="17" y="28"/>
                  </a:cubicBezTo>
                  <a:cubicBezTo>
                    <a:pt x="18" y="28"/>
                    <a:pt x="19" y="28"/>
                    <a:pt x="20" y="28"/>
                  </a:cubicBezTo>
                  <a:cubicBezTo>
                    <a:pt x="20" y="27"/>
                    <a:pt x="21" y="27"/>
                    <a:pt x="22" y="26"/>
                  </a:cubicBezTo>
                  <a:cubicBezTo>
                    <a:pt x="22" y="26"/>
                    <a:pt x="22" y="26"/>
                    <a:pt x="22" y="26"/>
                  </a:cubicBezTo>
                  <a:cubicBezTo>
                    <a:pt x="22" y="26"/>
                    <a:pt x="22" y="26"/>
                    <a:pt x="22" y="26"/>
                  </a:cubicBezTo>
                  <a:cubicBezTo>
                    <a:pt x="22" y="27"/>
                    <a:pt x="21" y="28"/>
                    <a:pt x="21" y="29"/>
                  </a:cubicBezTo>
                  <a:moveTo>
                    <a:pt x="22" y="0"/>
                  </a:moveTo>
                  <a:cubicBezTo>
                    <a:pt x="22" y="0"/>
                    <a:pt x="22" y="0"/>
                    <a:pt x="21" y="1"/>
                  </a:cubicBezTo>
                  <a:cubicBezTo>
                    <a:pt x="21" y="1"/>
                    <a:pt x="21" y="1"/>
                    <a:pt x="21" y="1"/>
                  </a:cubicBezTo>
                  <a:cubicBezTo>
                    <a:pt x="21" y="1"/>
                    <a:pt x="21" y="1"/>
                    <a:pt x="21" y="1"/>
                  </a:cubicBezTo>
                  <a:cubicBezTo>
                    <a:pt x="20" y="2"/>
                    <a:pt x="20" y="2"/>
                    <a:pt x="20" y="3"/>
                  </a:cubicBezTo>
                  <a:cubicBezTo>
                    <a:pt x="18" y="5"/>
                    <a:pt x="18" y="5"/>
                    <a:pt x="16" y="7"/>
                  </a:cubicBezTo>
                  <a:cubicBezTo>
                    <a:pt x="16" y="7"/>
                    <a:pt x="16" y="7"/>
                    <a:pt x="16" y="7"/>
                  </a:cubicBezTo>
                  <a:cubicBezTo>
                    <a:pt x="15" y="7"/>
                    <a:pt x="15" y="7"/>
                    <a:pt x="15" y="7"/>
                  </a:cubicBezTo>
                  <a:cubicBezTo>
                    <a:pt x="14" y="8"/>
                    <a:pt x="14" y="9"/>
                    <a:pt x="14" y="10"/>
                  </a:cubicBezTo>
                  <a:cubicBezTo>
                    <a:pt x="13" y="11"/>
                    <a:pt x="13" y="11"/>
                    <a:pt x="13" y="12"/>
                  </a:cubicBezTo>
                  <a:cubicBezTo>
                    <a:pt x="13" y="12"/>
                    <a:pt x="13" y="12"/>
                    <a:pt x="13" y="12"/>
                  </a:cubicBezTo>
                  <a:cubicBezTo>
                    <a:pt x="12" y="12"/>
                    <a:pt x="12" y="12"/>
                    <a:pt x="12" y="12"/>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5"/>
                    <a:pt x="11" y="15"/>
                    <a:pt x="10" y="16"/>
                  </a:cubicBezTo>
                  <a:cubicBezTo>
                    <a:pt x="10" y="17"/>
                    <a:pt x="10" y="17"/>
                    <a:pt x="9" y="18"/>
                  </a:cubicBezTo>
                  <a:cubicBezTo>
                    <a:pt x="8" y="20"/>
                    <a:pt x="6" y="23"/>
                    <a:pt x="4" y="24"/>
                  </a:cubicBezTo>
                  <a:cubicBezTo>
                    <a:pt x="4" y="25"/>
                    <a:pt x="4" y="25"/>
                    <a:pt x="4" y="25"/>
                  </a:cubicBezTo>
                  <a:cubicBezTo>
                    <a:pt x="3" y="25"/>
                    <a:pt x="2" y="26"/>
                    <a:pt x="2" y="27"/>
                  </a:cubicBezTo>
                  <a:cubicBezTo>
                    <a:pt x="1" y="27"/>
                    <a:pt x="1" y="27"/>
                    <a:pt x="1" y="27"/>
                  </a:cubicBezTo>
                  <a:cubicBezTo>
                    <a:pt x="0" y="28"/>
                    <a:pt x="0" y="28"/>
                    <a:pt x="0" y="28"/>
                  </a:cubicBezTo>
                  <a:cubicBezTo>
                    <a:pt x="0" y="29"/>
                    <a:pt x="0" y="30"/>
                    <a:pt x="0" y="30"/>
                  </a:cubicBezTo>
                  <a:cubicBezTo>
                    <a:pt x="0" y="31"/>
                    <a:pt x="0" y="32"/>
                    <a:pt x="0" y="32"/>
                  </a:cubicBezTo>
                  <a:cubicBezTo>
                    <a:pt x="0" y="34"/>
                    <a:pt x="1" y="35"/>
                    <a:pt x="1" y="37"/>
                  </a:cubicBezTo>
                  <a:cubicBezTo>
                    <a:pt x="2" y="39"/>
                    <a:pt x="4" y="43"/>
                    <a:pt x="6" y="43"/>
                  </a:cubicBezTo>
                  <a:cubicBezTo>
                    <a:pt x="6" y="43"/>
                    <a:pt x="6" y="43"/>
                    <a:pt x="7" y="43"/>
                  </a:cubicBezTo>
                  <a:cubicBezTo>
                    <a:pt x="7" y="43"/>
                    <a:pt x="7" y="42"/>
                    <a:pt x="7" y="42"/>
                  </a:cubicBezTo>
                  <a:cubicBezTo>
                    <a:pt x="8" y="43"/>
                    <a:pt x="8" y="43"/>
                    <a:pt x="9" y="43"/>
                  </a:cubicBezTo>
                  <a:cubicBezTo>
                    <a:pt x="9" y="43"/>
                    <a:pt x="9" y="43"/>
                    <a:pt x="9" y="43"/>
                  </a:cubicBezTo>
                  <a:cubicBezTo>
                    <a:pt x="9" y="43"/>
                    <a:pt x="9" y="43"/>
                    <a:pt x="9" y="43"/>
                  </a:cubicBezTo>
                  <a:cubicBezTo>
                    <a:pt x="10" y="43"/>
                    <a:pt x="10" y="43"/>
                    <a:pt x="10" y="43"/>
                  </a:cubicBezTo>
                  <a:cubicBezTo>
                    <a:pt x="10" y="43"/>
                    <a:pt x="11" y="43"/>
                    <a:pt x="12" y="42"/>
                  </a:cubicBezTo>
                  <a:cubicBezTo>
                    <a:pt x="12" y="42"/>
                    <a:pt x="14" y="42"/>
                    <a:pt x="15" y="41"/>
                  </a:cubicBezTo>
                  <a:cubicBezTo>
                    <a:pt x="16" y="42"/>
                    <a:pt x="17" y="43"/>
                    <a:pt x="19" y="43"/>
                  </a:cubicBezTo>
                  <a:cubicBezTo>
                    <a:pt x="19" y="43"/>
                    <a:pt x="20" y="43"/>
                    <a:pt x="20" y="43"/>
                  </a:cubicBezTo>
                  <a:cubicBezTo>
                    <a:pt x="22" y="42"/>
                    <a:pt x="25" y="42"/>
                    <a:pt x="26" y="41"/>
                  </a:cubicBezTo>
                  <a:cubicBezTo>
                    <a:pt x="27" y="41"/>
                    <a:pt x="27" y="41"/>
                    <a:pt x="27" y="40"/>
                  </a:cubicBezTo>
                  <a:cubicBezTo>
                    <a:pt x="28" y="40"/>
                    <a:pt x="30" y="39"/>
                    <a:pt x="30" y="39"/>
                  </a:cubicBezTo>
                  <a:cubicBezTo>
                    <a:pt x="33" y="37"/>
                    <a:pt x="31" y="34"/>
                    <a:pt x="34" y="34"/>
                  </a:cubicBezTo>
                  <a:cubicBezTo>
                    <a:pt x="35" y="34"/>
                    <a:pt x="35" y="34"/>
                    <a:pt x="35" y="34"/>
                  </a:cubicBezTo>
                  <a:cubicBezTo>
                    <a:pt x="36" y="34"/>
                    <a:pt x="37" y="34"/>
                    <a:pt x="38" y="33"/>
                  </a:cubicBezTo>
                  <a:cubicBezTo>
                    <a:pt x="39" y="33"/>
                    <a:pt x="39" y="33"/>
                    <a:pt x="40" y="32"/>
                  </a:cubicBezTo>
                  <a:cubicBezTo>
                    <a:pt x="40" y="31"/>
                    <a:pt x="40" y="30"/>
                    <a:pt x="40" y="29"/>
                  </a:cubicBezTo>
                  <a:cubicBezTo>
                    <a:pt x="40" y="28"/>
                    <a:pt x="40" y="28"/>
                    <a:pt x="40" y="27"/>
                  </a:cubicBezTo>
                  <a:cubicBezTo>
                    <a:pt x="40" y="27"/>
                    <a:pt x="40" y="26"/>
                    <a:pt x="39" y="26"/>
                  </a:cubicBezTo>
                  <a:cubicBezTo>
                    <a:pt x="39" y="26"/>
                    <a:pt x="39" y="25"/>
                    <a:pt x="38" y="25"/>
                  </a:cubicBezTo>
                  <a:cubicBezTo>
                    <a:pt x="37" y="25"/>
                    <a:pt x="35" y="24"/>
                    <a:pt x="33" y="23"/>
                  </a:cubicBezTo>
                  <a:cubicBezTo>
                    <a:pt x="33" y="23"/>
                    <a:pt x="33" y="23"/>
                    <a:pt x="33" y="23"/>
                  </a:cubicBezTo>
                  <a:cubicBezTo>
                    <a:pt x="32" y="23"/>
                    <a:pt x="31" y="22"/>
                    <a:pt x="30" y="22"/>
                  </a:cubicBezTo>
                  <a:cubicBezTo>
                    <a:pt x="30" y="22"/>
                    <a:pt x="29" y="22"/>
                    <a:pt x="29" y="22"/>
                  </a:cubicBezTo>
                  <a:cubicBezTo>
                    <a:pt x="27" y="22"/>
                    <a:pt x="25" y="23"/>
                    <a:pt x="23" y="25"/>
                  </a:cubicBezTo>
                  <a:cubicBezTo>
                    <a:pt x="23" y="25"/>
                    <a:pt x="23" y="25"/>
                    <a:pt x="23" y="25"/>
                  </a:cubicBezTo>
                  <a:cubicBezTo>
                    <a:pt x="24" y="24"/>
                    <a:pt x="24" y="24"/>
                    <a:pt x="24" y="24"/>
                  </a:cubicBezTo>
                  <a:cubicBezTo>
                    <a:pt x="25" y="23"/>
                    <a:pt x="25" y="22"/>
                    <a:pt x="25" y="21"/>
                  </a:cubicBezTo>
                  <a:cubicBezTo>
                    <a:pt x="24" y="22"/>
                    <a:pt x="23" y="23"/>
                    <a:pt x="21" y="24"/>
                  </a:cubicBezTo>
                  <a:cubicBezTo>
                    <a:pt x="22" y="22"/>
                    <a:pt x="24" y="19"/>
                    <a:pt x="25" y="17"/>
                  </a:cubicBezTo>
                  <a:cubicBezTo>
                    <a:pt x="26" y="16"/>
                    <a:pt x="26" y="16"/>
                    <a:pt x="26" y="16"/>
                  </a:cubicBezTo>
                  <a:cubicBezTo>
                    <a:pt x="26" y="16"/>
                    <a:pt x="26" y="16"/>
                    <a:pt x="26" y="16"/>
                  </a:cubicBezTo>
                  <a:cubicBezTo>
                    <a:pt x="26" y="16"/>
                    <a:pt x="26" y="16"/>
                    <a:pt x="26" y="16"/>
                  </a:cubicBezTo>
                  <a:cubicBezTo>
                    <a:pt x="26" y="16"/>
                    <a:pt x="26" y="16"/>
                    <a:pt x="26" y="16"/>
                  </a:cubicBezTo>
                  <a:cubicBezTo>
                    <a:pt x="26" y="14"/>
                    <a:pt x="26" y="13"/>
                    <a:pt x="27" y="12"/>
                  </a:cubicBezTo>
                  <a:cubicBezTo>
                    <a:pt x="27" y="11"/>
                    <a:pt x="27" y="11"/>
                    <a:pt x="27" y="11"/>
                  </a:cubicBezTo>
                  <a:cubicBezTo>
                    <a:pt x="28" y="8"/>
                    <a:pt x="28" y="7"/>
                    <a:pt x="28" y="7"/>
                  </a:cubicBezTo>
                  <a:cubicBezTo>
                    <a:pt x="28" y="6"/>
                    <a:pt x="28" y="6"/>
                    <a:pt x="28" y="5"/>
                  </a:cubicBezTo>
                  <a:cubicBezTo>
                    <a:pt x="28" y="5"/>
                    <a:pt x="25" y="5"/>
                    <a:pt x="24" y="4"/>
                  </a:cubicBezTo>
                  <a:cubicBezTo>
                    <a:pt x="25" y="3"/>
                    <a:pt x="26" y="2"/>
                    <a:pt x="26" y="1"/>
                  </a:cubicBezTo>
                  <a:cubicBezTo>
                    <a:pt x="26" y="1"/>
                    <a:pt x="25" y="1"/>
                    <a:pt x="25" y="1"/>
                  </a:cubicBezTo>
                  <a:cubicBezTo>
                    <a:pt x="24" y="1"/>
                    <a:pt x="24" y="1"/>
                    <a:pt x="23" y="1"/>
                  </a:cubicBezTo>
                  <a:cubicBezTo>
                    <a:pt x="23" y="1"/>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 name="Freeform 240">
              <a:extLst>
                <a:ext uri="{FF2B5EF4-FFF2-40B4-BE49-F238E27FC236}">
                  <a16:creationId xmlns:a16="http://schemas.microsoft.com/office/drawing/2014/main" id="{26C9FC41-4E3F-4302-9F4D-22DFCFFA0B29}"/>
                </a:ext>
              </a:extLst>
            </p:cNvPr>
            <p:cNvSpPr>
              <a:spLocks/>
            </p:cNvSpPr>
            <p:nvPr/>
          </p:nvSpPr>
          <p:spPr bwMode="auto">
            <a:xfrm>
              <a:off x="4659304" y="3998147"/>
              <a:ext cx="46038" cy="44450"/>
            </a:xfrm>
            <a:custGeom>
              <a:avLst/>
              <a:gdLst>
                <a:gd name="T0" fmla="*/ 1 w 12"/>
                <a:gd name="T1" fmla="*/ 0 h 12"/>
                <a:gd name="T2" fmla="*/ 4 w 12"/>
                <a:gd name="T3" fmla="*/ 8 h 12"/>
                <a:gd name="T4" fmla="*/ 7 w 12"/>
                <a:gd name="T5" fmla="*/ 12 h 12"/>
                <a:gd name="T6" fmla="*/ 1 w 12"/>
                <a:gd name="T7" fmla="*/ 0 h 12"/>
              </a:gdLst>
              <a:ahLst/>
              <a:cxnLst>
                <a:cxn ang="0">
                  <a:pos x="T0" y="T1"/>
                </a:cxn>
                <a:cxn ang="0">
                  <a:pos x="T2" y="T3"/>
                </a:cxn>
                <a:cxn ang="0">
                  <a:pos x="T4" y="T5"/>
                </a:cxn>
                <a:cxn ang="0">
                  <a:pos x="T6" y="T7"/>
                </a:cxn>
              </a:cxnLst>
              <a:rect l="0" t="0" r="r" b="b"/>
              <a:pathLst>
                <a:path w="12" h="12">
                  <a:moveTo>
                    <a:pt x="1" y="0"/>
                  </a:moveTo>
                  <a:cubicBezTo>
                    <a:pt x="0" y="3"/>
                    <a:pt x="2" y="6"/>
                    <a:pt x="4" y="8"/>
                  </a:cubicBezTo>
                  <a:cubicBezTo>
                    <a:pt x="5" y="9"/>
                    <a:pt x="7" y="9"/>
                    <a:pt x="7" y="12"/>
                  </a:cubicBezTo>
                  <a:cubicBezTo>
                    <a:pt x="12" y="9"/>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Freeform 241">
              <a:extLst>
                <a:ext uri="{FF2B5EF4-FFF2-40B4-BE49-F238E27FC236}">
                  <a16:creationId xmlns:a16="http://schemas.microsoft.com/office/drawing/2014/main" id="{9E5626C9-9D10-4434-B5B5-563B692D5FC8}"/>
                </a:ext>
              </a:extLst>
            </p:cNvPr>
            <p:cNvSpPr>
              <a:spLocks/>
            </p:cNvSpPr>
            <p:nvPr/>
          </p:nvSpPr>
          <p:spPr bwMode="auto">
            <a:xfrm>
              <a:off x="10693391" y="4985572"/>
              <a:ext cx="25400" cy="11113"/>
            </a:xfrm>
            <a:custGeom>
              <a:avLst/>
              <a:gdLst>
                <a:gd name="T0" fmla="*/ 7 w 7"/>
                <a:gd name="T1" fmla="*/ 0 h 3"/>
                <a:gd name="T2" fmla="*/ 0 w 7"/>
                <a:gd name="T3" fmla="*/ 3 h 3"/>
                <a:gd name="T4" fmla="*/ 1 w 7"/>
                <a:gd name="T5" fmla="*/ 3 h 3"/>
                <a:gd name="T6" fmla="*/ 7 w 7"/>
                <a:gd name="T7" fmla="*/ 0 h 3"/>
              </a:gdLst>
              <a:ahLst/>
              <a:cxnLst>
                <a:cxn ang="0">
                  <a:pos x="T0" y="T1"/>
                </a:cxn>
                <a:cxn ang="0">
                  <a:pos x="T2" y="T3"/>
                </a:cxn>
                <a:cxn ang="0">
                  <a:pos x="T4" y="T5"/>
                </a:cxn>
                <a:cxn ang="0">
                  <a:pos x="T6" y="T7"/>
                </a:cxn>
              </a:cxnLst>
              <a:rect l="0" t="0" r="r" b="b"/>
              <a:pathLst>
                <a:path w="7" h="3">
                  <a:moveTo>
                    <a:pt x="7" y="0"/>
                  </a:moveTo>
                  <a:cubicBezTo>
                    <a:pt x="5" y="1"/>
                    <a:pt x="3" y="2"/>
                    <a:pt x="0" y="3"/>
                  </a:cubicBezTo>
                  <a:cubicBezTo>
                    <a:pt x="1" y="3"/>
                    <a:pt x="1" y="3"/>
                    <a:pt x="1" y="3"/>
                  </a:cubicBezTo>
                  <a:cubicBezTo>
                    <a:pt x="3" y="3"/>
                    <a:pt x="5"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Freeform 242">
              <a:extLst>
                <a:ext uri="{FF2B5EF4-FFF2-40B4-BE49-F238E27FC236}">
                  <a16:creationId xmlns:a16="http://schemas.microsoft.com/office/drawing/2014/main" id="{2E89FB38-ED0B-4784-BD85-A842B783EA13}"/>
                </a:ext>
              </a:extLst>
            </p:cNvPr>
            <p:cNvSpPr>
              <a:spLocks/>
            </p:cNvSpPr>
            <p:nvPr/>
          </p:nvSpPr>
          <p:spPr bwMode="auto">
            <a:xfrm>
              <a:off x="10264766" y="2769422"/>
              <a:ext cx="49213" cy="26988"/>
            </a:xfrm>
            <a:custGeom>
              <a:avLst/>
              <a:gdLst>
                <a:gd name="T0" fmla="*/ 4 w 13"/>
                <a:gd name="T1" fmla="*/ 0 h 7"/>
                <a:gd name="T2" fmla="*/ 0 w 13"/>
                <a:gd name="T3" fmla="*/ 3 h 7"/>
                <a:gd name="T4" fmla="*/ 6 w 13"/>
                <a:gd name="T5" fmla="*/ 7 h 7"/>
                <a:gd name="T6" fmla="*/ 6 w 13"/>
                <a:gd name="T7" fmla="*/ 7 h 7"/>
                <a:gd name="T8" fmla="*/ 13 w 13"/>
                <a:gd name="T9" fmla="*/ 1 h 7"/>
                <a:gd name="T10" fmla="*/ 9 w 13"/>
                <a:gd name="T11" fmla="*/ 1 h 7"/>
                <a:gd name="T12" fmla="*/ 9 w 13"/>
                <a:gd name="T13" fmla="*/ 1 h 7"/>
                <a:gd name="T14" fmla="*/ 8 w 13"/>
                <a:gd name="T15" fmla="*/ 1 h 7"/>
                <a:gd name="T16" fmla="*/ 8 w 13"/>
                <a:gd name="T17" fmla="*/ 1 h 7"/>
                <a:gd name="T18" fmla="*/ 5 w 13"/>
                <a:gd name="T19" fmla="*/ 0 h 7"/>
                <a:gd name="T20" fmla="*/ 4 w 1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4" y="0"/>
                  </a:moveTo>
                  <a:cubicBezTo>
                    <a:pt x="1" y="0"/>
                    <a:pt x="2" y="3"/>
                    <a:pt x="0" y="3"/>
                  </a:cubicBezTo>
                  <a:cubicBezTo>
                    <a:pt x="1" y="5"/>
                    <a:pt x="4" y="7"/>
                    <a:pt x="6" y="7"/>
                  </a:cubicBezTo>
                  <a:cubicBezTo>
                    <a:pt x="6" y="7"/>
                    <a:pt x="6" y="7"/>
                    <a:pt x="6" y="7"/>
                  </a:cubicBezTo>
                  <a:cubicBezTo>
                    <a:pt x="9" y="7"/>
                    <a:pt x="11" y="4"/>
                    <a:pt x="13" y="1"/>
                  </a:cubicBezTo>
                  <a:cubicBezTo>
                    <a:pt x="11" y="1"/>
                    <a:pt x="10" y="1"/>
                    <a:pt x="9" y="1"/>
                  </a:cubicBezTo>
                  <a:cubicBezTo>
                    <a:pt x="9" y="1"/>
                    <a:pt x="9" y="1"/>
                    <a:pt x="9" y="1"/>
                  </a:cubicBezTo>
                  <a:cubicBezTo>
                    <a:pt x="9" y="1"/>
                    <a:pt x="9" y="1"/>
                    <a:pt x="8" y="1"/>
                  </a:cubicBezTo>
                  <a:cubicBezTo>
                    <a:pt x="8" y="1"/>
                    <a:pt x="8" y="1"/>
                    <a:pt x="8" y="1"/>
                  </a:cubicBezTo>
                  <a:cubicBezTo>
                    <a:pt x="7" y="1"/>
                    <a:pt x="5"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Freeform 243">
              <a:extLst>
                <a:ext uri="{FF2B5EF4-FFF2-40B4-BE49-F238E27FC236}">
                  <a16:creationId xmlns:a16="http://schemas.microsoft.com/office/drawing/2014/main" id="{4ECCE994-145B-487F-A0B3-4E6DC6B991FF}"/>
                </a:ext>
              </a:extLst>
            </p:cNvPr>
            <p:cNvSpPr>
              <a:spLocks/>
            </p:cNvSpPr>
            <p:nvPr/>
          </p:nvSpPr>
          <p:spPr bwMode="auto">
            <a:xfrm>
              <a:off x="4851391" y="4339459"/>
              <a:ext cx="38100" cy="30163"/>
            </a:xfrm>
            <a:custGeom>
              <a:avLst/>
              <a:gdLst>
                <a:gd name="T0" fmla="*/ 7 w 10"/>
                <a:gd name="T1" fmla="*/ 0 h 8"/>
                <a:gd name="T2" fmla="*/ 5 w 10"/>
                <a:gd name="T3" fmla="*/ 6 h 8"/>
                <a:gd name="T4" fmla="*/ 9 w 10"/>
                <a:gd name="T5" fmla="*/ 8 h 8"/>
                <a:gd name="T6" fmla="*/ 9 w 10"/>
                <a:gd name="T7" fmla="*/ 8 h 8"/>
                <a:gd name="T8" fmla="*/ 9 w 10"/>
                <a:gd name="T9" fmla="*/ 8 h 8"/>
                <a:gd name="T10" fmla="*/ 9 w 10"/>
                <a:gd name="T11" fmla="*/ 8 h 8"/>
                <a:gd name="T12" fmla="*/ 10 w 10"/>
                <a:gd name="T13" fmla="*/ 8 h 8"/>
                <a:gd name="T14" fmla="*/ 10 w 10"/>
                <a:gd name="T15" fmla="*/ 7 h 8"/>
                <a:gd name="T16" fmla="*/ 7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7" y="0"/>
                  </a:moveTo>
                  <a:cubicBezTo>
                    <a:pt x="3" y="1"/>
                    <a:pt x="0" y="3"/>
                    <a:pt x="5" y="6"/>
                  </a:cubicBezTo>
                  <a:cubicBezTo>
                    <a:pt x="6" y="7"/>
                    <a:pt x="7" y="8"/>
                    <a:pt x="9" y="8"/>
                  </a:cubicBezTo>
                  <a:cubicBezTo>
                    <a:pt x="9" y="8"/>
                    <a:pt x="9" y="8"/>
                    <a:pt x="9" y="8"/>
                  </a:cubicBezTo>
                  <a:cubicBezTo>
                    <a:pt x="9" y="8"/>
                    <a:pt x="9" y="8"/>
                    <a:pt x="9" y="8"/>
                  </a:cubicBezTo>
                  <a:cubicBezTo>
                    <a:pt x="9" y="8"/>
                    <a:pt x="9" y="8"/>
                    <a:pt x="9" y="8"/>
                  </a:cubicBezTo>
                  <a:cubicBezTo>
                    <a:pt x="9" y="8"/>
                    <a:pt x="9" y="8"/>
                    <a:pt x="10" y="8"/>
                  </a:cubicBezTo>
                  <a:cubicBezTo>
                    <a:pt x="10" y="8"/>
                    <a:pt x="10" y="8"/>
                    <a:pt x="10" y="7"/>
                  </a:cubicBezTo>
                  <a:cubicBezTo>
                    <a:pt x="10" y="5"/>
                    <a:pt x="8"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Freeform 244">
              <a:extLst>
                <a:ext uri="{FF2B5EF4-FFF2-40B4-BE49-F238E27FC236}">
                  <a16:creationId xmlns:a16="http://schemas.microsoft.com/office/drawing/2014/main" id="{FA938465-EAE9-4E5B-BBA2-DAE621A48F8A}"/>
                </a:ext>
              </a:extLst>
            </p:cNvPr>
            <p:cNvSpPr>
              <a:spLocks/>
            </p:cNvSpPr>
            <p:nvPr/>
          </p:nvSpPr>
          <p:spPr bwMode="auto">
            <a:xfrm>
              <a:off x="7156441" y="1839147"/>
              <a:ext cx="41275" cy="47625"/>
            </a:xfrm>
            <a:custGeom>
              <a:avLst/>
              <a:gdLst>
                <a:gd name="T0" fmla="*/ 4 w 11"/>
                <a:gd name="T1" fmla="*/ 0 h 13"/>
                <a:gd name="T2" fmla="*/ 3 w 11"/>
                <a:gd name="T3" fmla="*/ 1 h 13"/>
                <a:gd name="T4" fmla="*/ 3 w 11"/>
                <a:gd name="T5" fmla="*/ 0 h 13"/>
                <a:gd name="T6" fmla="*/ 0 w 11"/>
                <a:gd name="T7" fmla="*/ 3 h 13"/>
                <a:gd name="T8" fmla="*/ 0 w 11"/>
                <a:gd name="T9" fmla="*/ 5 h 13"/>
                <a:gd name="T10" fmla="*/ 0 w 11"/>
                <a:gd name="T11" fmla="*/ 8 h 13"/>
                <a:gd name="T12" fmla="*/ 0 w 11"/>
                <a:gd name="T13" fmla="*/ 10 h 13"/>
                <a:gd name="T14" fmla="*/ 0 w 11"/>
                <a:gd name="T15" fmla="*/ 10 h 13"/>
                <a:gd name="T16" fmla="*/ 1 w 11"/>
                <a:gd name="T17" fmla="*/ 11 h 13"/>
                <a:gd name="T18" fmla="*/ 2 w 11"/>
                <a:gd name="T19" fmla="*/ 11 h 13"/>
                <a:gd name="T20" fmla="*/ 4 w 11"/>
                <a:gd name="T21" fmla="*/ 13 h 13"/>
                <a:gd name="T22" fmla="*/ 5 w 11"/>
                <a:gd name="T23" fmla="*/ 13 h 13"/>
                <a:gd name="T24" fmla="*/ 6 w 11"/>
                <a:gd name="T25" fmla="*/ 13 h 13"/>
                <a:gd name="T26" fmla="*/ 9 w 11"/>
                <a:gd name="T27" fmla="*/ 11 h 13"/>
                <a:gd name="T28" fmla="*/ 7 w 11"/>
                <a:gd name="T29" fmla="*/ 2 h 13"/>
                <a:gd name="T30" fmla="*/ 7 w 11"/>
                <a:gd name="T31" fmla="*/ 2 h 13"/>
                <a:gd name="T32" fmla="*/ 7 w 11"/>
                <a:gd name="T33" fmla="*/ 2 h 13"/>
                <a:gd name="T34" fmla="*/ 4 w 11"/>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3">
                  <a:moveTo>
                    <a:pt x="4" y="0"/>
                  </a:moveTo>
                  <a:cubicBezTo>
                    <a:pt x="3" y="1"/>
                    <a:pt x="3" y="1"/>
                    <a:pt x="3" y="1"/>
                  </a:cubicBezTo>
                  <a:cubicBezTo>
                    <a:pt x="3" y="0"/>
                    <a:pt x="3" y="0"/>
                    <a:pt x="3" y="0"/>
                  </a:cubicBezTo>
                  <a:cubicBezTo>
                    <a:pt x="2" y="0"/>
                    <a:pt x="1" y="1"/>
                    <a:pt x="0" y="3"/>
                  </a:cubicBezTo>
                  <a:cubicBezTo>
                    <a:pt x="0" y="3"/>
                    <a:pt x="0" y="4"/>
                    <a:pt x="0" y="5"/>
                  </a:cubicBezTo>
                  <a:cubicBezTo>
                    <a:pt x="0" y="6"/>
                    <a:pt x="0" y="7"/>
                    <a:pt x="0" y="8"/>
                  </a:cubicBezTo>
                  <a:cubicBezTo>
                    <a:pt x="0" y="9"/>
                    <a:pt x="0" y="10"/>
                    <a:pt x="0" y="10"/>
                  </a:cubicBezTo>
                  <a:cubicBezTo>
                    <a:pt x="0" y="10"/>
                    <a:pt x="0" y="10"/>
                    <a:pt x="0" y="10"/>
                  </a:cubicBezTo>
                  <a:cubicBezTo>
                    <a:pt x="0" y="11"/>
                    <a:pt x="1" y="11"/>
                    <a:pt x="1" y="11"/>
                  </a:cubicBezTo>
                  <a:cubicBezTo>
                    <a:pt x="1" y="11"/>
                    <a:pt x="2" y="11"/>
                    <a:pt x="2" y="11"/>
                  </a:cubicBezTo>
                  <a:cubicBezTo>
                    <a:pt x="4" y="11"/>
                    <a:pt x="3" y="13"/>
                    <a:pt x="4" y="13"/>
                  </a:cubicBezTo>
                  <a:cubicBezTo>
                    <a:pt x="5" y="13"/>
                    <a:pt x="5" y="13"/>
                    <a:pt x="5" y="13"/>
                  </a:cubicBezTo>
                  <a:cubicBezTo>
                    <a:pt x="5" y="13"/>
                    <a:pt x="6" y="13"/>
                    <a:pt x="6" y="13"/>
                  </a:cubicBezTo>
                  <a:cubicBezTo>
                    <a:pt x="7" y="12"/>
                    <a:pt x="8" y="12"/>
                    <a:pt x="9" y="11"/>
                  </a:cubicBezTo>
                  <a:cubicBezTo>
                    <a:pt x="11" y="9"/>
                    <a:pt x="10" y="4"/>
                    <a:pt x="7" y="2"/>
                  </a:cubicBezTo>
                  <a:cubicBezTo>
                    <a:pt x="7" y="2"/>
                    <a:pt x="7" y="2"/>
                    <a:pt x="7" y="2"/>
                  </a:cubicBezTo>
                  <a:cubicBezTo>
                    <a:pt x="7" y="2"/>
                    <a:pt x="7" y="2"/>
                    <a:pt x="7" y="2"/>
                  </a:cubicBezTo>
                  <a:cubicBezTo>
                    <a:pt x="6" y="1"/>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 name="Freeform 245">
              <a:extLst>
                <a:ext uri="{FF2B5EF4-FFF2-40B4-BE49-F238E27FC236}">
                  <a16:creationId xmlns:a16="http://schemas.microsoft.com/office/drawing/2014/main" id="{C6DAAA4E-1522-4F41-8060-87DBC8117945}"/>
                </a:ext>
              </a:extLst>
            </p:cNvPr>
            <p:cNvSpPr>
              <a:spLocks/>
            </p:cNvSpPr>
            <p:nvPr/>
          </p:nvSpPr>
          <p:spPr bwMode="auto">
            <a:xfrm>
              <a:off x="10523529" y="4625209"/>
              <a:ext cx="26988" cy="11113"/>
            </a:xfrm>
            <a:custGeom>
              <a:avLst/>
              <a:gdLst>
                <a:gd name="T0" fmla="*/ 1 w 7"/>
                <a:gd name="T1" fmla="*/ 0 h 3"/>
                <a:gd name="T2" fmla="*/ 0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0" y="3"/>
                  </a:cubicBezTo>
                  <a:cubicBezTo>
                    <a:pt x="7"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 name="Freeform 246">
              <a:extLst>
                <a:ext uri="{FF2B5EF4-FFF2-40B4-BE49-F238E27FC236}">
                  <a16:creationId xmlns:a16="http://schemas.microsoft.com/office/drawing/2014/main" id="{BAAA4D71-DFFD-48B1-8041-33D08324BA31}"/>
                </a:ext>
              </a:extLst>
            </p:cNvPr>
            <p:cNvSpPr>
              <a:spLocks/>
            </p:cNvSpPr>
            <p:nvPr/>
          </p:nvSpPr>
          <p:spPr bwMode="auto">
            <a:xfrm>
              <a:off x="10526704" y="4622034"/>
              <a:ext cx="0" cy="31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 name="Freeform 247">
              <a:extLst>
                <a:ext uri="{FF2B5EF4-FFF2-40B4-BE49-F238E27FC236}">
                  <a16:creationId xmlns:a16="http://schemas.microsoft.com/office/drawing/2014/main" id="{6A76C429-C165-4715-8B00-405BF56C832F}"/>
                </a:ext>
              </a:extLst>
            </p:cNvPr>
            <p:cNvSpPr>
              <a:spLocks/>
            </p:cNvSpPr>
            <p:nvPr/>
          </p:nvSpPr>
          <p:spPr bwMode="auto">
            <a:xfrm>
              <a:off x="10526704" y="4622034"/>
              <a:ext cx="0" cy="31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 name="Freeform 248">
              <a:extLst>
                <a:ext uri="{FF2B5EF4-FFF2-40B4-BE49-F238E27FC236}">
                  <a16:creationId xmlns:a16="http://schemas.microsoft.com/office/drawing/2014/main" id="{D629FF3A-DA1F-4517-9E4B-538C783EA3AB}"/>
                </a:ext>
              </a:extLst>
            </p:cNvPr>
            <p:cNvSpPr>
              <a:spLocks/>
            </p:cNvSpPr>
            <p:nvPr/>
          </p:nvSpPr>
          <p:spPr bwMode="auto">
            <a:xfrm>
              <a:off x="10526704" y="4591872"/>
              <a:ext cx="30163" cy="30163"/>
            </a:xfrm>
            <a:custGeom>
              <a:avLst/>
              <a:gdLst>
                <a:gd name="T0" fmla="*/ 8 w 8"/>
                <a:gd name="T1" fmla="*/ 0 h 8"/>
                <a:gd name="T2" fmla="*/ 4 w 8"/>
                <a:gd name="T3" fmla="*/ 4 h 8"/>
                <a:gd name="T4" fmla="*/ 0 w 8"/>
                <a:gd name="T5" fmla="*/ 8 h 8"/>
                <a:gd name="T6" fmla="*/ 4 w 8"/>
                <a:gd name="T7" fmla="*/ 6 h 8"/>
                <a:gd name="T8" fmla="*/ 8 w 8"/>
                <a:gd name="T9" fmla="*/ 0 h 8"/>
              </a:gdLst>
              <a:ahLst/>
              <a:cxnLst>
                <a:cxn ang="0">
                  <a:pos x="T0" y="T1"/>
                </a:cxn>
                <a:cxn ang="0">
                  <a:pos x="T2" y="T3"/>
                </a:cxn>
                <a:cxn ang="0">
                  <a:pos x="T4" y="T5"/>
                </a:cxn>
                <a:cxn ang="0">
                  <a:pos x="T6" y="T7"/>
                </a:cxn>
                <a:cxn ang="0">
                  <a:pos x="T8" y="T9"/>
                </a:cxn>
              </a:cxnLst>
              <a:rect l="0" t="0" r="r" b="b"/>
              <a:pathLst>
                <a:path w="8" h="8">
                  <a:moveTo>
                    <a:pt x="8" y="0"/>
                  </a:moveTo>
                  <a:cubicBezTo>
                    <a:pt x="7" y="1"/>
                    <a:pt x="5" y="2"/>
                    <a:pt x="4" y="4"/>
                  </a:cubicBezTo>
                  <a:cubicBezTo>
                    <a:pt x="1" y="6"/>
                    <a:pt x="0" y="6"/>
                    <a:pt x="0" y="8"/>
                  </a:cubicBezTo>
                  <a:cubicBezTo>
                    <a:pt x="0" y="7"/>
                    <a:pt x="3" y="7"/>
                    <a:pt x="4" y="6"/>
                  </a:cubicBezTo>
                  <a:cubicBezTo>
                    <a:pt x="5" y="5"/>
                    <a:pt x="7"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 name="Freeform 249">
              <a:extLst>
                <a:ext uri="{FF2B5EF4-FFF2-40B4-BE49-F238E27FC236}">
                  <a16:creationId xmlns:a16="http://schemas.microsoft.com/office/drawing/2014/main" id="{15D1A36D-4CDA-4269-8373-84CEDFA3BDB7}"/>
                </a:ext>
              </a:extLst>
            </p:cNvPr>
            <p:cNvSpPr>
              <a:spLocks/>
            </p:cNvSpPr>
            <p:nvPr/>
          </p:nvSpPr>
          <p:spPr bwMode="auto">
            <a:xfrm>
              <a:off x="4483091" y="4042597"/>
              <a:ext cx="7938" cy="7938"/>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1"/>
                    <a:pt x="0" y="2"/>
                  </a:cubicBezTo>
                  <a:cubicBezTo>
                    <a:pt x="0"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Freeform 250">
              <a:extLst>
                <a:ext uri="{FF2B5EF4-FFF2-40B4-BE49-F238E27FC236}">
                  <a16:creationId xmlns:a16="http://schemas.microsoft.com/office/drawing/2014/main" id="{40AEB4EB-A064-4804-8870-103DF05F56B8}"/>
                </a:ext>
              </a:extLst>
            </p:cNvPr>
            <p:cNvSpPr>
              <a:spLocks/>
            </p:cNvSpPr>
            <p:nvPr/>
          </p:nvSpPr>
          <p:spPr bwMode="auto">
            <a:xfrm>
              <a:off x="4375141" y="3948934"/>
              <a:ext cx="130175" cy="131763"/>
            </a:xfrm>
            <a:custGeom>
              <a:avLst/>
              <a:gdLst>
                <a:gd name="T0" fmla="*/ 17 w 35"/>
                <a:gd name="T1" fmla="*/ 0 h 35"/>
                <a:gd name="T2" fmla="*/ 11 w 35"/>
                <a:gd name="T3" fmla="*/ 3 h 35"/>
                <a:gd name="T4" fmla="*/ 7 w 35"/>
                <a:gd name="T5" fmla="*/ 3 h 35"/>
                <a:gd name="T6" fmla="*/ 5 w 35"/>
                <a:gd name="T7" fmla="*/ 3 h 35"/>
                <a:gd name="T8" fmla="*/ 2 w 35"/>
                <a:gd name="T9" fmla="*/ 3 h 35"/>
                <a:gd name="T10" fmla="*/ 0 w 35"/>
                <a:gd name="T11" fmla="*/ 3 h 35"/>
                <a:gd name="T12" fmla="*/ 10 w 35"/>
                <a:gd name="T13" fmla="*/ 8 h 35"/>
                <a:gd name="T14" fmla="*/ 10 w 35"/>
                <a:gd name="T15" fmla="*/ 9 h 35"/>
                <a:gd name="T16" fmla="*/ 5 w 35"/>
                <a:gd name="T17" fmla="*/ 10 h 35"/>
                <a:gd name="T18" fmla="*/ 10 w 35"/>
                <a:gd name="T19" fmla="*/ 15 h 35"/>
                <a:gd name="T20" fmla="*/ 11 w 35"/>
                <a:gd name="T21" fmla="*/ 12 h 35"/>
                <a:gd name="T22" fmla="*/ 14 w 35"/>
                <a:gd name="T23" fmla="*/ 14 h 35"/>
                <a:gd name="T24" fmla="*/ 11 w 35"/>
                <a:gd name="T25" fmla="*/ 16 h 35"/>
                <a:gd name="T26" fmla="*/ 14 w 35"/>
                <a:gd name="T27" fmla="*/ 18 h 35"/>
                <a:gd name="T28" fmla="*/ 18 w 35"/>
                <a:gd name="T29" fmla="*/ 23 h 35"/>
                <a:gd name="T30" fmla="*/ 22 w 35"/>
                <a:gd name="T31" fmla="*/ 25 h 35"/>
                <a:gd name="T32" fmla="*/ 23 w 35"/>
                <a:gd name="T33" fmla="*/ 28 h 35"/>
                <a:gd name="T34" fmla="*/ 28 w 35"/>
                <a:gd name="T35" fmla="*/ 33 h 35"/>
                <a:gd name="T36" fmla="*/ 28 w 35"/>
                <a:gd name="T37" fmla="*/ 32 h 35"/>
                <a:gd name="T38" fmla="*/ 30 w 35"/>
                <a:gd name="T39" fmla="*/ 35 h 35"/>
                <a:gd name="T40" fmla="*/ 30 w 35"/>
                <a:gd name="T41" fmla="*/ 31 h 35"/>
                <a:gd name="T42" fmla="*/ 32 w 35"/>
                <a:gd name="T43" fmla="*/ 35 h 35"/>
                <a:gd name="T44" fmla="*/ 35 w 35"/>
                <a:gd name="T45" fmla="*/ 32 h 35"/>
                <a:gd name="T46" fmla="*/ 29 w 35"/>
                <a:gd name="T47" fmla="*/ 27 h 35"/>
                <a:gd name="T48" fmla="*/ 28 w 35"/>
                <a:gd name="T49" fmla="*/ 28 h 35"/>
                <a:gd name="T50" fmla="*/ 17 w 35"/>
                <a:gd name="T51" fmla="*/ 17 h 35"/>
                <a:gd name="T52" fmla="*/ 21 w 35"/>
                <a:gd name="T53" fmla="*/ 14 h 35"/>
                <a:gd name="T54" fmla="*/ 14 w 35"/>
                <a:gd name="T55" fmla="*/ 11 h 35"/>
                <a:gd name="T56" fmla="*/ 14 w 35"/>
                <a:gd name="T57" fmla="*/ 8 h 35"/>
                <a:gd name="T58" fmla="*/ 13 w 35"/>
                <a:gd name="T59" fmla="*/ 6 h 35"/>
                <a:gd name="T60" fmla="*/ 15 w 35"/>
                <a:gd name="T61" fmla="*/ 6 h 35"/>
                <a:gd name="T62" fmla="*/ 17 w 35"/>
                <a:gd name="T63" fmla="*/ 5 h 35"/>
                <a:gd name="T64" fmla="*/ 17 w 35"/>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 h="35">
                  <a:moveTo>
                    <a:pt x="17" y="0"/>
                  </a:moveTo>
                  <a:cubicBezTo>
                    <a:pt x="15" y="1"/>
                    <a:pt x="13" y="2"/>
                    <a:pt x="11" y="3"/>
                  </a:cubicBezTo>
                  <a:cubicBezTo>
                    <a:pt x="10" y="3"/>
                    <a:pt x="9" y="3"/>
                    <a:pt x="7" y="3"/>
                  </a:cubicBezTo>
                  <a:cubicBezTo>
                    <a:pt x="7" y="3"/>
                    <a:pt x="6" y="3"/>
                    <a:pt x="5" y="3"/>
                  </a:cubicBezTo>
                  <a:cubicBezTo>
                    <a:pt x="4" y="3"/>
                    <a:pt x="3" y="3"/>
                    <a:pt x="2" y="3"/>
                  </a:cubicBezTo>
                  <a:cubicBezTo>
                    <a:pt x="2" y="3"/>
                    <a:pt x="1" y="3"/>
                    <a:pt x="0" y="3"/>
                  </a:cubicBezTo>
                  <a:cubicBezTo>
                    <a:pt x="1" y="8"/>
                    <a:pt x="6" y="6"/>
                    <a:pt x="10" y="8"/>
                  </a:cubicBezTo>
                  <a:cubicBezTo>
                    <a:pt x="10" y="8"/>
                    <a:pt x="10" y="9"/>
                    <a:pt x="10" y="9"/>
                  </a:cubicBezTo>
                  <a:cubicBezTo>
                    <a:pt x="8" y="9"/>
                    <a:pt x="7" y="9"/>
                    <a:pt x="5" y="10"/>
                  </a:cubicBezTo>
                  <a:cubicBezTo>
                    <a:pt x="6" y="12"/>
                    <a:pt x="8" y="13"/>
                    <a:pt x="10" y="15"/>
                  </a:cubicBezTo>
                  <a:cubicBezTo>
                    <a:pt x="11" y="14"/>
                    <a:pt x="11" y="13"/>
                    <a:pt x="11" y="12"/>
                  </a:cubicBezTo>
                  <a:cubicBezTo>
                    <a:pt x="12" y="13"/>
                    <a:pt x="13" y="14"/>
                    <a:pt x="14" y="14"/>
                  </a:cubicBezTo>
                  <a:cubicBezTo>
                    <a:pt x="14" y="15"/>
                    <a:pt x="11" y="15"/>
                    <a:pt x="11" y="16"/>
                  </a:cubicBezTo>
                  <a:cubicBezTo>
                    <a:pt x="11" y="17"/>
                    <a:pt x="13" y="18"/>
                    <a:pt x="14" y="18"/>
                  </a:cubicBezTo>
                  <a:cubicBezTo>
                    <a:pt x="15" y="20"/>
                    <a:pt x="17" y="22"/>
                    <a:pt x="18" y="23"/>
                  </a:cubicBezTo>
                  <a:cubicBezTo>
                    <a:pt x="20" y="24"/>
                    <a:pt x="21" y="24"/>
                    <a:pt x="22" y="25"/>
                  </a:cubicBezTo>
                  <a:cubicBezTo>
                    <a:pt x="23" y="26"/>
                    <a:pt x="22" y="27"/>
                    <a:pt x="23" y="28"/>
                  </a:cubicBezTo>
                  <a:cubicBezTo>
                    <a:pt x="24" y="29"/>
                    <a:pt x="26" y="32"/>
                    <a:pt x="28" y="33"/>
                  </a:cubicBezTo>
                  <a:cubicBezTo>
                    <a:pt x="28" y="32"/>
                    <a:pt x="28" y="32"/>
                    <a:pt x="28" y="32"/>
                  </a:cubicBezTo>
                  <a:cubicBezTo>
                    <a:pt x="29" y="33"/>
                    <a:pt x="30" y="35"/>
                    <a:pt x="30" y="35"/>
                  </a:cubicBezTo>
                  <a:cubicBezTo>
                    <a:pt x="30" y="35"/>
                    <a:pt x="30" y="34"/>
                    <a:pt x="30" y="31"/>
                  </a:cubicBezTo>
                  <a:cubicBezTo>
                    <a:pt x="32" y="33"/>
                    <a:pt x="32" y="35"/>
                    <a:pt x="32" y="35"/>
                  </a:cubicBezTo>
                  <a:cubicBezTo>
                    <a:pt x="33" y="35"/>
                    <a:pt x="33" y="34"/>
                    <a:pt x="35" y="32"/>
                  </a:cubicBezTo>
                  <a:cubicBezTo>
                    <a:pt x="33" y="31"/>
                    <a:pt x="31" y="27"/>
                    <a:pt x="29" y="27"/>
                  </a:cubicBezTo>
                  <a:cubicBezTo>
                    <a:pt x="29" y="27"/>
                    <a:pt x="28" y="27"/>
                    <a:pt x="28" y="28"/>
                  </a:cubicBezTo>
                  <a:cubicBezTo>
                    <a:pt x="29" y="25"/>
                    <a:pt x="20" y="19"/>
                    <a:pt x="17" y="17"/>
                  </a:cubicBezTo>
                  <a:cubicBezTo>
                    <a:pt x="15" y="15"/>
                    <a:pt x="19" y="14"/>
                    <a:pt x="21" y="14"/>
                  </a:cubicBezTo>
                  <a:cubicBezTo>
                    <a:pt x="18" y="14"/>
                    <a:pt x="16" y="12"/>
                    <a:pt x="14" y="11"/>
                  </a:cubicBezTo>
                  <a:cubicBezTo>
                    <a:pt x="15" y="10"/>
                    <a:pt x="15" y="9"/>
                    <a:pt x="14" y="8"/>
                  </a:cubicBezTo>
                  <a:cubicBezTo>
                    <a:pt x="13" y="6"/>
                    <a:pt x="13" y="6"/>
                    <a:pt x="13" y="6"/>
                  </a:cubicBezTo>
                  <a:cubicBezTo>
                    <a:pt x="14" y="6"/>
                    <a:pt x="14" y="6"/>
                    <a:pt x="15" y="6"/>
                  </a:cubicBezTo>
                  <a:cubicBezTo>
                    <a:pt x="15" y="5"/>
                    <a:pt x="17" y="6"/>
                    <a:pt x="17" y="5"/>
                  </a:cubicBezTo>
                  <a:cubicBezTo>
                    <a:pt x="18" y="4"/>
                    <a:pt x="18" y="1"/>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 name="Freeform 251">
              <a:extLst>
                <a:ext uri="{FF2B5EF4-FFF2-40B4-BE49-F238E27FC236}">
                  <a16:creationId xmlns:a16="http://schemas.microsoft.com/office/drawing/2014/main" id="{3943E0A6-24A9-45E1-A54A-23C2CDF462AF}"/>
                </a:ext>
              </a:extLst>
            </p:cNvPr>
            <p:cNvSpPr>
              <a:spLocks/>
            </p:cNvSpPr>
            <p:nvPr/>
          </p:nvSpPr>
          <p:spPr bwMode="auto">
            <a:xfrm>
              <a:off x="4960929" y="945384"/>
              <a:ext cx="919163" cy="574675"/>
            </a:xfrm>
            <a:custGeom>
              <a:avLst/>
              <a:gdLst>
                <a:gd name="T0" fmla="*/ 75 w 245"/>
                <a:gd name="T1" fmla="*/ 4 h 153"/>
                <a:gd name="T2" fmla="*/ 25 w 245"/>
                <a:gd name="T3" fmla="*/ 10 h 153"/>
                <a:gd name="T4" fmla="*/ 35 w 245"/>
                <a:gd name="T5" fmla="*/ 26 h 153"/>
                <a:gd name="T6" fmla="*/ 44 w 245"/>
                <a:gd name="T7" fmla="*/ 33 h 153"/>
                <a:gd name="T8" fmla="*/ 41 w 245"/>
                <a:gd name="T9" fmla="*/ 45 h 153"/>
                <a:gd name="T10" fmla="*/ 28 w 245"/>
                <a:gd name="T11" fmla="*/ 60 h 153"/>
                <a:gd name="T12" fmla="*/ 26 w 245"/>
                <a:gd name="T13" fmla="*/ 69 h 153"/>
                <a:gd name="T14" fmla="*/ 25 w 245"/>
                <a:gd name="T15" fmla="*/ 75 h 153"/>
                <a:gd name="T16" fmla="*/ 21 w 245"/>
                <a:gd name="T17" fmla="*/ 76 h 153"/>
                <a:gd name="T18" fmla="*/ 18 w 245"/>
                <a:gd name="T19" fmla="*/ 76 h 153"/>
                <a:gd name="T20" fmla="*/ 18 w 245"/>
                <a:gd name="T21" fmla="*/ 83 h 153"/>
                <a:gd name="T22" fmla="*/ 13 w 245"/>
                <a:gd name="T23" fmla="*/ 93 h 153"/>
                <a:gd name="T24" fmla="*/ 10 w 245"/>
                <a:gd name="T25" fmla="*/ 96 h 153"/>
                <a:gd name="T26" fmla="*/ 7 w 245"/>
                <a:gd name="T27" fmla="*/ 101 h 153"/>
                <a:gd name="T28" fmla="*/ 6 w 245"/>
                <a:gd name="T29" fmla="*/ 103 h 153"/>
                <a:gd name="T30" fmla="*/ 2 w 245"/>
                <a:gd name="T31" fmla="*/ 108 h 153"/>
                <a:gd name="T32" fmla="*/ 2 w 245"/>
                <a:gd name="T33" fmla="*/ 115 h 153"/>
                <a:gd name="T34" fmla="*/ 14 w 245"/>
                <a:gd name="T35" fmla="*/ 115 h 153"/>
                <a:gd name="T36" fmla="*/ 14 w 245"/>
                <a:gd name="T37" fmla="*/ 116 h 153"/>
                <a:gd name="T38" fmla="*/ 41 w 245"/>
                <a:gd name="T39" fmla="*/ 127 h 153"/>
                <a:gd name="T40" fmla="*/ 57 w 245"/>
                <a:gd name="T41" fmla="*/ 145 h 153"/>
                <a:gd name="T42" fmla="*/ 68 w 245"/>
                <a:gd name="T43" fmla="*/ 153 h 153"/>
                <a:gd name="T44" fmla="*/ 81 w 245"/>
                <a:gd name="T45" fmla="*/ 147 h 153"/>
                <a:gd name="T46" fmla="*/ 97 w 245"/>
                <a:gd name="T47" fmla="*/ 137 h 153"/>
                <a:gd name="T48" fmla="*/ 101 w 245"/>
                <a:gd name="T49" fmla="*/ 140 h 153"/>
                <a:gd name="T50" fmla="*/ 105 w 245"/>
                <a:gd name="T51" fmla="*/ 140 h 153"/>
                <a:gd name="T52" fmla="*/ 126 w 245"/>
                <a:gd name="T53" fmla="*/ 121 h 153"/>
                <a:gd name="T54" fmla="*/ 132 w 245"/>
                <a:gd name="T55" fmla="*/ 108 h 153"/>
                <a:gd name="T56" fmla="*/ 131 w 245"/>
                <a:gd name="T57" fmla="*/ 102 h 153"/>
                <a:gd name="T58" fmla="*/ 136 w 245"/>
                <a:gd name="T59" fmla="*/ 104 h 153"/>
                <a:gd name="T60" fmla="*/ 138 w 245"/>
                <a:gd name="T61" fmla="*/ 104 h 153"/>
                <a:gd name="T62" fmla="*/ 139 w 245"/>
                <a:gd name="T63" fmla="*/ 104 h 153"/>
                <a:gd name="T64" fmla="*/ 152 w 245"/>
                <a:gd name="T65" fmla="*/ 94 h 153"/>
                <a:gd name="T66" fmla="*/ 158 w 245"/>
                <a:gd name="T67" fmla="*/ 85 h 153"/>
                <a:gd name="T68" fmla="*/ 171 w 245"/>
                <a:gd name="T69" fmla="*/ 80 h 153"/>
                <a:gd name="T70" fmla="*/ 198 w 245"/>
                <a:gd name="T71" fmla="*/ 68 h 153"/>
                <a:gd name="T72" fmla="*/ 211 w 245"/>
                <a:gd name="T73" fmla="*/ 62 h 153"/>
                <a:gd name="T74" fmla="*/ 240 w 245"/>
                <a:gd name="T75" fmla="*/ 51 h 153"/>
                <a:gd name="T76" fmla="*/ 237 w 245"/>
                <a:gd name="T77" fmla="*/ 40 h 153"/>
                <a:gd name="T78" fmla="*/ 213 w 245"/>
                <a:gd name="T79" fmla="*/ 25 h 153"/>
                <a:gd name="T80" fmla="*/ 179 w 245"/>
                <a:gd name="T81" fmla="*/ 13 h 153"/>
                <a:gd name="T82" fmla="*/ 165 w 245"/>
                <a:gd name="T83" fmla="*/ 16 h 153"/>
                <a:gd name="T84" fmla="*/ 158 w 245"/>
                <a:gd name="T85" fmla="*/ 24 h 153"/>
                <a:gd name="T86" fmla="*/ 155 w 245"/>
                <a:gd name="T87" fmla="*/ 24 h 153"/>
                <a:gd name="T88" fmla="*/ 153 w 245"/>
                <a:gd name="T89" fmla="*/ 15 h 153"/>
                <a:gd name="T90" fmla="*/ 145 w 245"/>
                <a:gd name="T91" fmla="*/ 17 h 153"/>
                <a:gd name="T92" fmla="*/ 144 w 245"/>
                <a:gd name="T93" fmla="*/ 15 h 153"/>
                <a:gd name="T94" fmla="*/ 113 w 245"/>
                <a:gd name="T95" fmla="*/ 6 h 153"/>
                <a:gd name="T96" fmla="*/ 108 w 245"/>
                <a:gd name="T97" fmla="*/ 2 h 153"/>
                <a:gd name="T98" fmla="*/ 98 w 245"/>
                <a:gd name="T9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153">
                  <a:moveTo>
                    <a:pt x="98" y="0"/>
                  </a:moveTo>
                  <a:cubicBezTo>
                    <a:pt x="90" y="0"/>
                    <a:pt x="83" y="4"/>
                    <a:pt x="75" y="4"/>
                  </a:cubicBezTo>
                  <a:cubicBezTo>
                    <a:pt x="67" y="5"/>
                    <a:pt x="58" y="5"/>
                    <a:pt x="50" y="6"/>
                  </a:cubicBezTo>
                  <a:cubicBezTo>
                    <a:pt x="42" y="7"/>
                    <a:pt x="33" y="7"/>
                    <a:pt x="25" y="10"/>
                  </a:cubicBezTo>
                  <a:cubicBezTo>
                    <a:pt x="30" y="11"/>
                    <a:pt x="31" y="16"/>
                    <a:pt x="33" y="20"/>
                  </a:cubicBezTo>
                  <a:cubicBezTo>
                    <a:pt x="33" y="22"/>
                    <a:pt x="34" y="24"/>
                    <a:pt x="35" y="26"/>
                  </a:cubicBezTo>
                  <a:cubicBezTo>
                    <a:pt x="36" y="27"/>
                    <a:pt x="37" y="28"/>
                    <a:pt x="38" y="29"/>
                  </a:cubicBezTo>
                  <a:cubicBezTo>
                    <a:pt x="40" y="33"/>
                    <a:pt x="41" y="31"/>
                    <a:pt x="44" y="33"/>
                  </a:cubicBezTo>
                  <a:cubicBezTo>
                    <a:pt x="48" y="34"/>
                    <a:pt x="48" y="37"/>
                    <a:pt x="45" y="39"/>
                  </a:cubicBezTo>
                  <a:cubicBezTo>
                    <a:pt x="41" y="42"/>
                    <a:pt x="41" y="41"/>
                    <a:pt x="41" y="45"/>
                  </a:cubicBezTo>
                  <a:cubicBezTo>
                    <a:pt x="41" y="48"/>
                    <a:pt x="38" y="48"/>
                    <a:pt x="36" y="49"/>
                  </a:cubicBezTo>
                  <a:cubicBezTo>
                    <a:pt x="32" y="51"/>
                    <a:pt x="30" y="57"/>
                    <a:pt x="28" y="60"/>
                  </a:cubicBezTo>
                  <a:cubicBezTo>
                    <a:pt x="27" y="63"/>
                    <a:pt x="25" y="63"/>
                    <a:pt x="24" y="65"/>
                  </a:cubicBezTo>
                  <a:cubicBezTo>
                    <a:pt x="23" y="67"/>
                    <a:pt x="24" y="68"/>
                    <a:pt x="26" y="69"/>
                  </a:cubicBezTo>
                  <a:cubicBezTo>
                    <a:pt x="27" y="69"/>
                    <a:pt x="29" y="70"/>
                    <a:pt x="30" y="71"/>
                  </a:cubicBezTo>
                  <a:cubicBezTo>
                    <a:pt x="32" y="74"/>
                    <a:pt x="27" y="75"/>
                    <a:pt x="25" y="75"/>
                  </a:cubicBezTo>
                  <a:cubicBezTo>
                    <a:pt x="24" y="75"/>
                    <a:pt x="22" y="76"/>
                    <a:pt x="21" y="76"/>
                  </a:cubicBezTo>
                  <a:cubicBezTo>
                    <a:pt x="21" y="76"/>
                    <a:pt x="21" y="76"/>
                    <a:pt x="21" y="76"/>
                  </a:cubicBezTo>
                  <a:cubicBezTo>
                    <a:pt x="21" y="76"/>
                    <a:pt x="20" y="76"/>
                    <a:pt x="20" y="76"/>
                  </a:cubicBezTo>
                  <a:cubicBezTo>
                    <a:pt x="19" y="76"/>
                    <a:pt x="19" y="76"/>
                    <a:pt x="18" y="76"/>
                  </a:cubicBezTo>
                  <a:cubicBezTo>
                    <a:pt x="18" y="76"/>
                    <a:pt x="18" y="76"/>
                    <a:pt x="18" y="76"/>
                  </a:cubicBezTo>
                  <a:cubicBezTo>
                    <a:pt x="16" y="76"/>
                    <a:pt x="18" y="81"/>
                    <a:pt x="18" y="83"/>
                  </a:cubicBezTo>
                  <a:cubicBezTo>
                    <a:pt x="18" y="85"/>
                    <a:pt x="18" y="85"/>
                    <a:pt x="17" y="87"/>
                  </a:cubicBezTo>
                  <a:cubicBezTo>
                    <a:pt x="17" y="91"/>
                    <a:pt x="16" y="90"/>
                    <a:pt x="13" y="93"/>
                  </a:cubicBezTo>
                  <a:cubicBezTo>
                    <a:pt x="12" y="93"/>
                    <a:pt x="11" y="94"/>
                    <a:pt x="11" y="95"/>
                  </a:cubicBezTo>
                  <a:cubicBezTo>
                    <a:pt x="11" y="96"/>
                    <a:pt x="10" y="95"/>
                    <a:pt x="10" y="96"/>
                  </a:cubicBezTo>
                  <a:cubicBezTo>
                    <a:pt x="9" y="97"/>
                    <a:pt x="10" y="97"/>
                    <a:pt x="10" y="98"/>
                  </a:cubicBezTo>
                  <a:cubicBezTo>
                    <a:pt x="9" y="99"/>
                    <a:pt x="8" y="99"/>
                    <a:pt x="7" y="101"/>
                  </a:cubicBezTo>
                  <a:cubicBezTo>
                    <a:pt x="7" y="101"/>
                    <a:pt x="7" y="102"/>
                    <a:pt x="7" y="102"/>
                  </a:cubicBezTo>
                  <a:cubicBezTo>
                    <a:pt x="7" y="103"/>
                    <a:pt x="6" y="103"/>
                    <a:pt x="6" y="103"/>
                  </a:cubicBezTo>
                  <a:cubicBezTo>
                    <a:pt x="5" y="104"/>
                    <a:pt x="4" y="103"/>
                    <a:pt x="4" y="105"/>
                  </a:cubicBezTo>
                  <a:cubicBezTo>
                    <a:pt x="4" y="107"/>
                    <a:pt x="2" y="107"/>
                    <a:pt x="2" y="108"/>
                  </a:cubicBezTo>
                  <a:cubicBezTo>
                    <a:pt x="1" y="110"/>
                    <a:pt x="4" y="114"/>
                    <a:pt x="0" y="115"/>
                  </a:cubicBezTo>
                  <a:cubicBezTo>
                    <a:pt x="1" y="115"/>
                    <a:pt x="1" y="115"/>
                    <a:pt x="2" y="115"/>
                  </a:cubicBezTo>
                  <a:cubicBezTo>
                    <a:pt x="4" y="115"/>
                    <a:pt x="6" y="115"/>
                    <a:pt x="8" y="115"/>
                  </a:cubicBezTo>
                  <a:cubicBezTo>
                    <a:pt x="10" y="115"/>
                    <a:pt x="12" y="115"/>
                    <a:pt x="14" y="115"/>
                  </a:cubicBezTo>
                  <a:cubicBezTo>
                    <a:pt x="16" y="115"/>
                    <a:pt x="18" y="115"/>
                    <a:pt x="20" y="115"/>
                  </a:cubicBezTo>
                  <a:cubicBezTo>
                    <a:pt x="18" y="116"/>
                    <a:pt x="16" y="116"/>
                    <a:pt x="14" y="116"/>
                  </a:cubicBezTo>
                  <a:cubicBezTo>
                    <a:pt x="19" y="119"/>
                    <a:pt x="26" y="122"/>
                    <a:pt x="32" y="124"/>
                  </a:cubicBezTo>
                  <a:cubicBezTo>
                    <a:pt x="35" y="125"/>
                    <a:pt x="39" y="125"/>
                    <a:pt x="41" y="127"/>
                  </a:cubicBezTo>
                  <a:cubicBezTo>
                    <a:pt x="43" y="128"/>
                    <a:pt x="45" y="130"/>
                    <a:pt x="46" y="132"/>
                  </a:cubicBezTo>
                  <a:cubicBezTo>
                    <a:pt x="50" y="136"/>
                    <a:pt x="53" y="140"/>
                    <a:pt x="57" y="145"/>
                  </a:cubicBezTo>
                  <a:cubicBezTo>
                    <a:pt x="60" y="149"/>
                    <a:pt x="62" y="153"/>
                    <a:pt x="67" y="153"/>
                  </a:cubicBezTo>
                  <a:cubicBezTo>
                    <a:pt x="68" y="153"/>
                    <a:pt x="68" y="153"/>
                    <a:pt x="68" y="153"/>
                  </a:cubicBezTo>
                  <a:cubicBezTo>
                    <a:pt x="71" y="153"/>
                    <a:pt x="72" y="152"/>
                    <a:pt x="74" y="150"/>
                  </a:cubicBezTo>
                  <a:cubicBezTo>
                    <a:pt x="76" y="149"/>
                    <a:pt x="78" y="148"/>
                    <a:pt x="81" y="147"/>
                  </a:cubicBezTo>
                  <a:cubicBezTo>
                    <a:pt x="86" y="145"/>
                    <a:pt x="88" y="143"/>
                    <a:pt x="92" y="140"/>
                  </a:cubicBezTo>
                  <a:cubicBezTo>
                    <a:pt x="94" y="138"/>
                    <a:pt x="95" y="137"/>
                    <a:pt x="97" y="137"/>
                  </a:cubicBezTo>
                  <a:cubicBezTo>
                    <a:pt x="98" y="137"/>
                    <a:pt x="98" y="137"/>
                    <a:pt x="99" y="137"/>
                  </a:cubicBezTo>
                  <a:cubicBezTo>
                    <a:pt x="100" y="138"/>
                    <a:pt x="100" y="140"/>
                    <a:pt x="101" y="140"/>
                  </a:cubicBezTo>
                  <a:cubicBezTo>
                    <a:pt x="101" y="140"/>
                    <a:pt x="102" y="141"/>
                    <a:pt x="102" y="141"/>
                  </a:cubicBezTo>
                  <a:cubicBezTo>
                    <a:pt x="103" y="141"/>
                    <a:pt x="104" y="140"/>
                    <a:pt x="105" y="140"/>
                  </a:cubicBezTo>
                  <a:cubicBezTo>
                    <a:pt x="110" y="139"/>
                    <a:pt x="117" y="138"/>
                    <a:pt x="122" y="136"/>
                  </a:cubicBezTo>
                  <a:cubicBezTo>
                    <a:pt x="127" y="132"/>
                    <a:pt x="126" y="126"/>
                    <a:pt x="126" y="121"/>
                  </a:cubicBezTo>
                  <a:cubicBezTo>
                    <a:pt x="126" y="117"/>
                    <a:pt x="126" y="116"/>
                    <a:pt x="128" y="113"/>
                  </a:cubicBezTo>
                  <a:cubicBezTo>
                    <a:pt x="129" y="112"/>
                    <a:pt x="132" y="110"/>
                    <a:pt x="132" y="108"/>
                  </a:cubicBezTo>
                  <a:cubicBezTo>
                    <a:pt x="132" y="106"/>
                    <a:pt x="129" y="104"/>
                    <a:pt x="129" y="103"/>
                  </a:cubicBezTo>
                  <a:cubicBezTo>
                    <a:pt x="130" y="103"/>
                    <a:pt x="131" y="102"/>
                    <a:pt x="131" y="102"/>
                  </a:cubicBezTo>
                  <a:cubicBezTo>
                    <a:pt x="132" y="102"/>
                    <a:pt x="132" y="102"/>
                    <a:pt x="133" y="103"/>
                  </a:cubicBezTo>
                  <a:cubicBezTo>
                    <a:pt x="133" y="104"/>
                    <a:pt x="134" y="104"/>
                    <a:pt x="136" y="104"/>
                  </a:cubicBezTo>
                  <a:cubicBezTo>
                    <a:pt x="136" y="104"/>
                    <a:pt x="136" y="104"/>
                    <a:pt x="137" y="104"/>
                  </a:cubicBezTo>
                  <a:cubicBezTo>
                    <a:pt x="137" y="104"/>
                    <a:pt x="137" y="104"/>
                    <a:pt x="138" y="104"/>
                  </a:cubicBezTo>
                  <a:cubicBezTo>
                    <a:pt x="138" y="104"/>
                    <a:pt x="138" y="104"/>
                    <a:pt x="139" y="104"/>
                  </a:cubicBezTo>
                  <a:cubicBezTo>
                    <a:pt x="139" y="104"/>
                    <a:pt x="139" y="104"/>
                    <a:pt x="139" y="104"/>
                  </a:cubicBezTo>
                  <a:cubicBezTo>
                    <a:pt x="142" y="104"/>
                    <a:pt x="151" y="100"/>
                    <a:pt x="152" y="98"/>
                  </a:cubicBezTo>
                  <a:cubicBezTo>
                    <a:pt x="152" y="96"/>
                    <a:pt x="152" y="95"/>
                    <a:pt x="152" y="94"/>
                  </a:cubicBezTo>
                  <a:cubicBezTo>
                    <a:pt x="153" y="93"/>
                    <a:pt x="154" y="92"/>
                    <a:pt x="154" y="91"/>
                  </a:cubicBezTo>
                  <a:cubicBezTo>
                    <a:pt x="155" y="88"/>
                    <a:pt x="154" y="87"/>
                    <a:pt x="158" y="85"/>
                  </a:cubicBezTo>
                  <a:cubicBezTo>
                    <a:pt x="160" y="84"/>
                    <a:pt x="162" y="83"/>
                    <a:pt x="164" y="82"/>
                  </a:cubicBezTo>
                  <a:cubicBezTo>
                    <a:pt x="166" y="81"/>
                    <a:pt x="169" y="81"/>
                    <a:pt x="171" y="80"/>
                  </a:cubicBezTo>
                  <a:cubicBezTo>
                    <a:pt x="175" y="77"/>
                    <a:pt x="180" y="76"/>
                    <a:pt x="185" y="73"/>
                  </a:cubicBezTo>
                  <a:cubicBezTo>
                    <a:pt x="189" y="71"/>
                    <a:pt x="194" y="68"/>
                    <a:pt x="198" y="68"/>
                  </a:cubicBezTo>
                  <a:cubicBezTo>
                    <a:pt x="200" y="68"/>
                    <a:pt x="203" y="66"/>
                    <a:pt x="205" y="65"/>
                  </a:cubicBezTo>
                  <a:cubicBezTo>
                    <a:pt x="207" y="64"/>
                    <a:pt x="209" y="63"/>
                    <a:pt x="211" y="62"/>
                  </a:cubicBezTo>
                  <a:cubicBezTo>
                    <a:pt x="216" y="60"/>
                    <a:pt x="220" y="58"/>
                    <a:pt x="225" y="57"/>
                  </a:cubicBezTo>
                  <a:cubicBezTo>
                    <a:pt x="230" y="55"/>
                    <a:pt x="235" y="54"/>
                    <a:pt x="240" y="51"/>
                  </a:cubicBezTo>
                  <a:cubicBezTo>
                    <a:pt x="243" y="50"/>
                    <a:pt x="245" y="48"/>
                    <a:pt x="242" y="45"/>
                  </a:cubicBezTo>
                  <a:cubicBezTo>
                    <a:pt x="241" y="44"/>
                    <a:pt x="237" y="40"/>
                    <a:pt x="237" y="40"/>
                  </a:cubicBezTo>
                  <a:cubicBezTo>
                    <a:pt x="232" y="39"/>
                    <a:pt x="229" y="36"/>
                    <a:pt x="225" y="33"/>
                  </a:cubicBezTo>
                  <a:cubicBezTo>
                    <a:pt x="221" y="31"/>
                    <a:pt x="217" y="28"/>
                    <a:pt x="213" y="25"/>
                  </a:cubicBezTo>
                  <a:cubicBezTo>
                    <a:pt x="206" y="19"/>
                    <a:pt x="197" y="15"/>
                    <a:pt x="187" y="14"/>
                  </a:cubicBezTo>
                  <a:cubicBezTo>
                    <a:pt x="184" y="14"/>
                    <a:pt x="182" y="13"/>
                    <a:pt x="179" y="13"/>
                  </a:cubicBezTo>
                  <a:cubicBezTo>
                    <a:pt x="177" y="13"/>
                    <a:pt x="176" y="13"/>
                    <a:pt x="174" y="14"/>
                  </a:cubicBezTo>
                  <a:cubicBezTo>
                    <a:pt x="171" y="14"/>
                    <a:pt x="168" y="15"/>
                    <a:pt x="165" y="16"/>
                  </a:cubicBezTo>
                  <a:cubicBezTo>
                    <a:pt x="164" y="16"/>
                    <a:pt x="162" y="16"/>
                    <a:pt x="163" y="18"/>
                  </a:cubicBezTo>
                  <a:cubicBezTo>
                    <a:pt x="164" y="21"/>
                    <a:pt x="161" y="22"/>
                    <a:pt x="158" y="24"/>
                  </a:cubicBezTo>
                  <a:cubicBezTo>
                    <a:pt x="157" y="25"/>
                    <a:pt x="156" y="26"/>
                    <a:pt x="155" y="26"/>
                  </a:cubicBezTo>
                  <a:cubicBezTo>
                    <a:pt x="155" y="26"/>
                    <a:pt x="155" y="25"/>
                    <a:pt x="155" y="24"/>
                  </a:cubicBezTo>
                  <a:cubicBezTo>
                    <a:pt x="155" y="21"/>
                    <a:pt x="157" y="18"/>
                    <a:pt x="156" y="16"/>
                  </a:cubicBezTo>
                  <a:cubicBezTo>
                    <a:pt x="155" y="16"/>
                    <a:pt x="154" y="15"/>
                    <a:pt x="153" y="15"/>
                  </a:cubicBezTo>
                  <a:cubicBezTo>
                    <a:pt x="152" y="15"/>
                    <a:pt x="151" y="16"/>
                    <a:pt x="150" y="16"/>
                  </a:cubicBezTo>
                  <a:cubicBezTo>
                    <a:pt x="148" y="16"/>
                    <a:pt x="147" y="15"/>
                    <a:pt x="145" y="17"/>
                  </a:cubicBezTo>
                  <a:cubicBezTo>
                    <a:pt x="143" y="19"/>
                    <a:pt x="142" y="21"/>
                    <a:pt x="139" y="22"/>
                  </a:cubicBezTo>
                  <a:cubicBezTo>
                    <a:pt x="140" y="19"/>
                    <a:pt x="145" y="18"/>
                    <a:pt x="144" y="15"/>
                  </a:cubicBezTo>
                  <a:cubicBezTo>
                    <a:pt x="138" y="14"/>
                    <a:pt x="133" y="13"/>
                    <a:pt x="127" y="11"/>
                  </a:cubicBezTo>
                  <a:cubicBezTo>
                    <a:pt x="123" y="10"/>
                    <a:pt x="116" y="9"/>
                    <a:pt x="113" y="6"/>
                  </a:cubicBezTo>
                  <a:cubicBezTo>
                    <a:pt x="112" y="5"/>
                    <a:pt x="112" y="4"/>
                    <a:pt x="111" y="3"/>
                  </a:cubicBezTo>
                  <a:cubicBezTo>
                    <a:pt x="110" y="2"/>
                    <a:pt x="109" y="2"/>
                    <a:pt x="108" y="2"/>
                  </a:cubicBezTo>
                  <a:cubicBezTo>
                    <a:pt x="106" y="2"/>
                    <a:pt x="103" y="1"/>
                    <a:pt x="101" y="1"/>
                  </a:cubicBezTo>
                  <a:cubicBezTo>
                    <a:pt x="100" y="0"/>
                    <a:pt x="99" y="0"/>
                    <a:pt x="9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 name="Freeform 252">
              <a:extLst>
                <a:ext uri="{FF2B5EF4-FFF2-40B4-BE49-F238E27FC236}">
                  <a16:creationId xmlns:a16="http://schemas.microsoft.com/office/drawing/2014/main" id="{953E0302-E527-4081-9AB7-D2FA7AF73C14}"/>
                </a:ext>
              </a:extLst>
            </p:cNvPr>
            <p:cNvSpPr>
              <a:spLocks/>
            </p:cNvSpPr>
            <p:nvPr/>
          </p:nvSpPr>
          <p:spPr bwMode="auto">
            <a:xfrm>
              <a:off x="4757729" y="4129909"/>
              <a:ext cx="22225" cy="33338"/>
            </a:xfrm>
            <a:custGeom>
              <a:avLst/>
              <a:gdLst>
                <a:gd name="T0" fmla="*/ 4 w 6"/>
                <a:gd name="T1" fmla="*/ 0 h 9"/>
                <a:gd name="T2" fmla="*/ 1 w 6"/>
                <a:gd name="T3" fmla="*/ 3 h 9"/>
                <a:gd name="T4" fmla="*/ 1 w 6"/>
                <a:gd name="T5" fmla="*/ 5 h 9"/>
                <a:gd name="T6" fmla="*/ 6 w 6"/>
                <a:gd name="T7" fmla="*/ 9 h 9"/>
                <a:gd name="T8" fmla="*/ 5 w 6"/>
                <a:gd name="T9" fmla="*/ 7 h 9"/>
                <a:gd name="T10" fmla="*/ 5 w 6"/>
                <a:gd name="T11" fmla="*/ 7 h 9"/>
                <a:gd name="T12" fmla="*/ 4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4" y="0"/>
                  </a:moveTo>
                  <a:cubicBezTo>
                    <a:pt x="1" y="1"/>
                    <a:pt x="0" y="1"/>
                    <a:pt x="1" y="3"/>
                  </a:cubicBezTo>
                  <a:cubicBezTo>
                    <a:pt x="1" y="4"/>
                    <a:pt x="1" y="4"/>
                    <a:pt x="1" y="5"/>
                  </a:cubicBezTo>
                  <a:cubicBezTo>
                    <a:pt x="2" y="8"/>
                    <a:pt x="4" y="7"/>
                    <a:pt x="6" y="9"/>
                  </a:cubicBezTo>
                  <a:cubicBezTo>
                    <a:pt x="5" y="8"/>
                    <a:pt x="6" y="8"/>
                    <a:pt x="5" y="7"/>
                  </a:cubicBezTo>
                  <a:cubicBezTo>
                    <a:pt x="5" y="7"/>
                    <a:pt x="5" y="7"/>
                    <a:pt x="5" y="7"/>
                  </a:cubicBezTo>
                  <a:cubicBezTo>
                    <a:pt x="5" y="5"/>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Freeform 253">
              <a:extLst>
                <a:ext uri="{FF2B5EF4-FFF2-40B4-BE49-F238E27FC236}">
                  <a16:creationId xmlns:a16="http://schemas.microsoft.com/office/drawing/2014/main" id="{175E6B31-0B75-404C-A6A3-ADE2DA680BCD}"/>
                </a:ext>
              </a:extLst>
            </p:cNvPr>
            <p:cNvSpPr>
              <a:spLocks/>
            </p:cNvSpPr>
            <p:nvPr/>
          </p:nvSpPr>
          <p:spPr bwMode="auto">
            <a:xfrm>
              <a:off x="4554529" y="3904484"/>
              <a:ext cx="79375" cy="55563"/>
            </a:xfrm>
            <a:custGeom>
              <a:avLst/>
              <a:gdLst>
                <a:gd name="T0" fmla="*/ 0 w 21"/>
                <a:gd name="T1" fmla="*/ 0 h 15"/>
                <a:gd name="T2" fmla="*/ 0 w 21"/>
                <a:gd name="T3" fmla="*/ 0 h 15"/>
                <a:gd name="T4" fmla="*/ 15 w 21"/>
                <a:gd name="T5" fmla="*/ 15 h 15"/>
                <a:gd name="T6" fmla="*/ 16 w 21"/>
                <a:gd name="T7" fmla="*/ 15 h 15"/>
                <a:gd name="T8" fmla="*/ 11 w 21"/>
                <a:gd name="T9" fmla="*/ 5 h 15"/>
                <a:gd name="T10" fmla="*/ 0 w 21"/>
                <a:gd name="T11" fmla="*/ 0 h 15"/>
              </a:gdLst>
              <a:ahLst/>
              <a:cxnLst>
                <a:cxn ang="0">
                  <a:pos x="T0" y="T1"/>
                </a:cxn>
                <a:cxn ang="0">
                  <a:pos x="T2" y="T3"/>
                </a:cxn>
                <a:cxn ang="0">
                  <a:pos x="T4" y="T5"/>
                </a:cxn>
                <a:cxn ang="0">
                  <a:pos x="T6" y="T7"/>
                </a:cxn>
                <a:cxn ang="0">
                  <a:pos x="T8" y="T9"/>
                </a:cxn>
                <a:cxn ang="0">
                  <a:pos x="T10" y="T11"/>
                </a:cxn>
              </a:cxnLst>
              <a:rect l="0" t="0" r="r" b="b"/>
              <a:pathLst>
                <a:path w="21" h="15">
                  <a:moveTo>
                    <a:pt x="0" y="0"/>
                  </a:moveTo>
                  <a:cubicBezTo>
                    <a:pt x="0" y="0"/>
                    <a:pt x="0" y="0"/>
                    <a:pt x="0" y="0"/>
                  </a:cubicBezTo>
                  <a:cubicBezTo>
                    <a:pt x="4" y="5"/>
                    <a:pt x="10" y="10"/>
                    <a:pt x="15" y="15"/>
                  </a:cubicBezTo>
                  <a:cubicBezTo>
                    <a:pt x="15" y="15"/>
                    <a:pt x="15" y="15"/>
                    <a:pt x="16" y="15"/>
                  </a:cubicBezTo>
                  <a:cubicBezTo>
                    <a:pt x="21" y="15"/>
                    <a:pt x="13" y="6"/>
                    <a:pt x="11" y="5"/>
                  </a:cubicBezTo>
                  <a:cubicBezTo>
                    <a:pt x="8" y="3"/>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Freeform 254">
              <a:extLst>
                <a:ext uri="{FF2B5EF4-FFF2-40B4-BE49-F238E27FC236}">
                  <a16:creationId xmlns:a16="http://schemas.microsoft.com/office/drawing/2014/main" id="{D9926964-0998-4AF5-91CC-13A2728D71BC}"/>
                </a:ext>
              </a:extLst>
            </p:cNvPr>
            <p:cNvSpPr>
              <a:spLocks/>
            </p:cNvSpPr>
            <p:nvPr/>
          </p:nvSpPr>
          <p:spPr bwMode="auto">
            <a:xfrm>
              <a:off x="4559291" y="3882259"/>
              <a:ext cx="28575" cy="30163"/>
            </a:xfrm>
            <a:custGeom>
              <a:avLst/>
              <a:gdLst>
                <a:gd name="T0" fmla="*/ 4 w 8"/>
                <a:gd name="T1" fmla="*/ 0 h 8"/>
                <a:gd name="T2" fmla="*/ 3 w 8"/>
                <a:gd name="T3" fmla="*/ 6 h 8"/>
                <a:gd name="T4" fmla="*/ 8 w 8"/>
                <a:gd name="T5" fmla="*/ 8 h 8"/>
                <a:gd name="T6" fmla="*/ 4 w 8"/>
                <a:gd name="T7" fmla="*/ 0 h 8"/>
              </a:gdLst>
              <a:ahLst/>
              <a:cxnLst>
                <a:cxn ang="0">
                  <a:pos x="T0" y="T1"/>
                </a:cxn>
                <a:cxn ang="0">
                  <a:pos x="T2" y="T3"/>
                </a:cxn>
                <a:cxn ang="0">
                  <a:pos x="T4" y="T5"/>
                </a:cxn>
                <a:cxn ang="0">
                  <a:pos x="T6" y="T7"/>
                </a:cxn>
              </a:cxnLst>
              <a:rect l="0" t="0" r="r" b="b"/>
              <a:pathLst>
                <a:path w="8" h="8">
                  <a:moveTo>
                    <a:pt x="4" y="0"/>
                  </a:moveTo>
                  <a:cubicBezTo>
                    <a:pt x="3" y="3"/>
                    <a:pt x="0" y="4"/>
                    <a:pt x="3" y="6"/>
                  </a:cubicBezTo>
                  <a:cubicBezTo>
                    <a:pt x="4" y="7"/>
                    <a:pt x="7" y="7"/>
                    <a:pt x="8" y="8"/>
                  </a:cubicBezTo>
                  <a:cubicBezTo>
                    <a:pt x="7" y="5"/>
                    <a:pt x="5"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 name="Freeform 255">
              <a:extLst>
                <a:ext uri="{FF2B5EF4-FFF2-40B4-BE49-F238E27FC236}">
                  <a16:creationId xmlns:a16="http://schemas.microsoft.com/office/drawing/2014/main" id="{422884FC-DB7B-4E4E-A6BD-07C3EEEA5449}"/>
                </a:ext>
              </a:extLst>
            </p:cNvPr>
            <p:cNvSpPr>
              <a:spLocks/>
            </p:cNvSpPr>
            <p:nvPr/>
          </p:nvSpPr>
          <p:spPr bwMode="auto">
            <a:xfrm>
              <a:off x="9172566" y="2615434"/>
              <a:ext cx="77788" cy="46038"/>
            </a:xfrm>
            <a:custGeom>
              <a:avLst/>
              <a:gdLst>
                <a:gd name="T0" fmla="*/ 8 w 21"/>
                <a:gd name="T1" fmla="*/ 0 h 12"/>
                <a:gd name="T2" fmla="*/ 1 w 21"/>
                <a:gd name="T3" fmla="*/ 2 h 12"/>
                <a:gd name="T4" fmla="*/ 0 w 21"/>
                <a:gd name="T5" fmla="*/ 3 h 12"/>
                <a:gd name="T6" fmla="*/ 1 w 21"/>
                <a:gd name="T7" fmla="*/ 2 h 12"/>
                <a:gd name="T8" fmla="*/ 1 w 21"/>
                <a:gd name="T9" fmla="*/ 3 h 12"/>
                <a:gd name="T10" fmla="*/ 7 w 21"/>
                <a:gd name="T11" fmla="*/ 7 h 12"/>
                <a:gd name="T12" fmla="*/ 17 w 21"/>
                <a:gd name="T13" fmla="*/ 12 h 12"/>
                <a:gd name="T14" fmla="*/ 21 w 21"/>
                <a:gd name="T15" fmla="*/ 8 h 12"/>
                <a:gd name="T16" fmla="*/ 18 w 21"/>
                <a:gd name="T17" fmla="*/ 8 h 12"/>
                <a:gd name="T18" fmla="*/ 8 w 21"/>
                <a:gd name="T19" fmla="*/ 0 h 12"/>
                <a:gd name="T20" fmla="*/ 8 w 21"/>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8" y="0"/>
                  </a:moveTo>
                  <a:cubicBezTo>
                    <a:pt x="6" y="0"/>
                    <a:pt x="3" y="1"/>
                    <a:pt x="1" y="2"/>
                  </a:cubicBezTo>
                  <a:cubicBezTo>
                    <a:pt x="1" y="2"/>
                    <a:pt x="0" y="2"/>
                    <a:pt x="0" y="3"/>
                  </a:cubicBezTo>
                  <a:cubicBezTo>
                    <a:pt x="1" y="2"/>
                    <a:pt x="1" y="2"/>
                    <a:pt x="1" y="2"/>
                  </a:cubicBezTo>
                  <a:cubicBezTo>
                    <a:pt x="1" y="3"/>
                    <a:pt x="1" y="3"/>
                    <a:pt x="1" y="3"/>
                  </a:cubicBezTo>
                  <a:cubicBezTo>
                    <a:pt x="1" y="4"/>
                    <a:pt x="6" y="6"/>
                    <a:pt x="7" y="7"/>
                  </a:cubicBezTo>
                  <a:cubicBezTo>
                    <a:pt x="9" y="9"/>
                    <a:pt x="13" y="12"/>
                    <a:pt x="17" y="12"/>
                  </a:cubicBezTo>
                  <a:cubicBezTo>
                    <a:pt x="18" y="12"/>
                    <a:pt x="20" y="11"/>
                    <a:pt x="21" y="8"/>
                  </a:cubicBezTo>
                  <a:cubicBezTo>
                    <a:pt x="20" y="8"/>
                    <a:pt x="19" y="8"/>
                    <a:pt x="18" y="8"/>
                  </a:cubicBezTo>
                  <a:cubicBezTo>
                    <a:pt x="16" y="5"/>
                    <a:pt x="12"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Freeform 256">
              <a:extLst>
                <a:ext uri="{FF2B5EF4-FFF2-40B4-BE49-F238E27FC236}">
                  <a16:creationId xmlns:a16="http://schemas.microsoft.com/office/drawing/2014/main" id="{F8A83408-AE96-43E0-ABEC-65F5EDF5A0A9}"/>
                </a:ext>
              </a:extLst>
            </p:cNvPr>
            <p:cNvSpPr>
              <a:spLocks/>
            </p:cNvSpPr>
            <p:nvPr/>
          </p:nvSpPr>
          <p:spPr bwMode="auto">
            <a:xfrm>
              <a:off x="10234604" y="2851972"/>
              <a:ext cx="44450" cy="30163"/>
            </a:xfrm>
            <a:custGeom>
              <a:avLst/>
              <a:gdLst>
                <a:gd name="T0" fmla="*/ 3 w 12"/>
                <a:gd name="T1" fmla="*/ 0 h 8"/>
                <a:gd name="T2" fmla="*/ 1 w 12"/>
                <a:gd name="T3" fmla="*/ 2 h 8"/>
                <a:gd name="T4" fmla="*/ 5 w 12"/>
                <a:gd name="T5" fmla="*/ 7 h 8"/>
                <a:gd name="T6" fmla="*/ 8 w 12"/>
                <a:gd name="T7" fmla="*/ 8 h 8"/>
                <a:gd name="T8" fmla="*/ 9 w 12"/>
                <a:gd name="T9" fmla="*/ 8 h 8"/>
                <a:gd name="T10" fmla="*/ 5 w 12"/>
                <a:gd name="T11" fmla="*/ 1 h 8"/>
                <a:gd name="T12" fmla="*/ 3 w 1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3" y="0"/>
                  </a:moveTo>
                  <a:cubicBezTo>
                    <a:pt x="2" y="0"/>
                    <a:pt x="1" y="1"/>
                    <a:pt x="1" y="2"/>
                  </a:cubicBezTo>
                  <a:cubicBezTo>
                    <a:pt x="0" y="5"/>
                    <a:pt x="4" y="6"/>
                    <a:pt x="5" y="7"/>
                  </a:cubicBezTo>
                  <a:cubicBezTo>
                    <a:pt x="6" y="7"/>
                    <a:pt x="7" y="8"/>
                    <a:pt x="8" y="8"/>
                  </a:cubicBezTo>
                  <a:cubicBezTo>
                    <a:pt x="9" y="8"/>
                    <a:pt x="9" y="8"/>
                    <a:pt x="9" y="8"/>
                  </a:cubicBezTo>
                  <a:cubicBezTo>
                    <a:pt x="12" y="7"/>
                    <a:pt x="6" y="2"/>
                    <a:pt x="5"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 name="Freeform 257">
              <a:extLst>
                <a:ext uri="{FF2B5EF4-FFF2-40B4-BE49-F238E27FC236}">
                  <a16:creationId xmlns:a16="http://schemas.microsoft.com/office/drawing/2014/main" id="{3313D94D-1AC9-46AC-BA10-1E0A5915E72A}"/>
                </a:ext>
              </a:extLst>
            </p:cNvPr>
            <p:cNvSpPr>
              <a:spLocks/>
            </p:cNvSpPr>
            <p:nvPr/>
          </p:nvSpPr>
          <p:spPr bwMode="auto">
            <a:xfrm>
              <a:off x="9420216" y="2747197"/>
              <a:ext cx="55563" cy="19050"/>
            </a:xfrm>
            <a:custGeom>
              <a:avLst/>
              <a:gdLst>
                <a:gd name="T0" fmla="*/ 4 w 15"/>
                <a:gd name="T1" fmla="*/ 0 h 5"/>
                <a:gd name="T2" fmla="*/ 0 w 15"/>
                <a:gd name="T3" fmla="*/ 0 h 5"/>
                <a:gd name="T4" fmla="*/ 13 w 15"/>
                <a:gd name="T5" fmla="*/ 5 h 5"/>
                <a:gd name="T6" fmla="*/ 15 w 15"/>
                <a:gd name="T7" fmla="*/ 5 h 5"/>
                <a:gd name="T8" fmla="*/ 4 w 15"/>
                <a:gd name="T9" fmla="*/ 0 h 5"/>
              </a:gdLst>
              <a:ahLst/>
              <a:cxnLst>
                <a:cxn ang="0">
                  <a:pos x="T0" y="T1"/>
                </a:cxn>
                <a:cxn ang="0">
                  <a:pos x="T2" y="T3"/>
                </a:cxn>
                <a:cxn ang="0">
                  <a:pos x="T4" y="T5"/>
                </a:cxn>
                <a:cxn ang="0">
                  <a:pos x="T6" y="T7"/>
                </a:cxn>
                <a:cxn ang="0">
                  <a:pos x="T8" y="T9"/>
                </a:cxn>
              </a:cxnLst>
              <a:rect l="0" t="0" r="r" b="b"/>
              <a:pathLst>
                <a:path w="15" h="5">
                  <a:moveTo>
                    <a:pt x="4" y="0"/>
                  </a:moveTo>
                  <a:cubicBezTo>
                    <a:pt x="2" y="0"/>
                    <a:pt x="1" y="0"/>
                    <a:pt x="0" y="0"/>
                  </a:cubicBezTo>
                  <a:cubicBezTo>
                    <a:pt x="4" y="3"/>
                    <a:pt x="9" y="5"/>
                    <a:pt x="13" y="5"/>
                  </a:cubicBezTo>
                  <a:cubicBezTo>
                    <a:pt x="14" y="5"/>
                    <a:pt x="15" y="5"/>
                    <a:pt x="15" y="5"/>
                  </a:cubicBezTo>
                  <a:cubicBezTo>
                    <a:pt x="12"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 name="Freeform 258">
              <a:extLst>
                <a:ext uri="{FF2B5EF4-FFF2-40B4-BE49-F238E27FC236}">
                  <a16:creationId xmlns:a16="http://schemas.microsoft.com/office/drawing/2014/main" id="{1B53D162-6689-4099-B2C6-D02C2B0F42D0}"/>
                </a:ext>
              </a:extLst>
            </p:cNvPr>
            <p:cNvSpPr>
              <a:spLocks/>
            </p:cNvSpPr>
            <p:nvPr/>
          </p:nvSpPr>
          <p:spPr bwMode="auto">
            <a:xfrm>
              <a:off x="8072429" y="599309"/>
              <a:ext cx="33338" cy="7938"/>
            </a:xfrm>
            <a:custGeom>
              <a:avLst/>
              <a:gdLst>
                <a:gd name="T0" fmla="*/ 9 w 9"/>
                <a:gd name="T1" fmla="*/ 0 h 2"/>
                <a:gd name="T2" fmla="*/ 0 w 9"/>
                <a:gd name="T3" fmla="*/ 0 h 2"/>
                <a:gd name="T4" fmla="*/ 2 w 9"/>
                <a:gd name="T5" fmla="*/ 1 h 2"/>
                <a:gd name="T6" fmla="*/ 3 w 9"/>
                <a:gd name="T7" fmla="*/ 2 h 2"/>
                <a:gd name="T8" fmla="*/ 7 w 9"/>
                <a:gd name="T9" fmla="*/ 1 h 2"/>
                <a:gd name="T10" fmla="*/ 9 w 9"/>
                <a:gd name="T11" fmla="*/ 1 h 2"/>
                <a:gd name="T12" fmla="*/ 9 w 9"/>
                <a:gd name="T13" fmla="*/ 0 h 2"/>
                <a:gd name="T14" fmla="*/ 9 w 9"/>
                <a:gd name="T15" fmla="*/ 0 h 2"/>
                <a:gd name="T16" fmla="*/ 9 w 9"/>
                <a:gd name="T17" fmla="*/ 0 h 2"/>
                <a:gd name="T18" fmla="*/ 9 w 9"/>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
                  <a:moveTo>
                    <a:pt x="9" y="0"/>
                  </a:moveTo>
                  <a:cubicBezTo>
                    <a:pt x="0" y="0"/>
                    <a:pt x="0" y="0"/>
                    <a:pt x="0" y="0"/>
                  </a:cubicBezTo>
                  <a:cubicBezTo>
                    <a:pt x="1" y="0"/>
                    <a:pt x="1" y="1"/>
                    <a:pt x="2" y="1"/>
                  </a:cubicBezTo>
                  <a:cubicBezTo>
                    <a:pt x="2" y="1"/>
                    <a:pt x="3" y="2"/>
                    <a:pt x="3" y="2"/>
                  </a:cubicBezTo>
                  <a:cubicBezTo>
                    <a:pt x="3" y="2"/>
                    <a:pt x="6" y="2"/>
                    <a:pt x="7" y="1"/>
                  </a:cubicBezTo>
                  <a:cubicBezTo>
                    <a:pt x="8" y="1"/>
                    <a:pt x="9" y="1"/>
                    <a:pt x="9" y="1"/>
                  </a:cubicBezTo>
                  <a:cubicBezTo>
                    <a:pt x="9" y="0"/>
                    <a:pt x="9" y="0"/>
                    <a:pt x="9" y="0"/>
                  </a:cubicBezTo>
                  <a:cubicBezTo>
                    <a:pt x="9" y="0"/>
                    <a:pt x="9" y="0"/>
                    <a:pt x="9" y="0"/>
                  </a:cubicBezTo>
                  <a:cubicBezTo>
                    <a:pt x="9" y="0"/>
                    <a:pt x="9"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Freeform 259">
              <a:extLst>
                <a:ext uri="{FF2B5EF4-FFF2-40B4-BE49-F238E27FC236}">
                  <a16:creationId xmlns:a16="http://schemas.microsoft.com/office/drawing/2014/main" id="{9AE869D9-8229-497A-BC6C-9DEFAEBD7840}"/>
                </a:ext>
              </a:extLst>
            </p:cNvPr>
            <p:cNvSpPr>
              <a:spLocks/>
            </p:cNvSpPr>
            <p:nvPr/>
          </p:nvSpPr>
          <p:spPr bwMode="auto">
            <a:xfrm>
              <a:off x="10283816" y="4556947"/>
              <a:ext cx="19050" cy="19050"/>
            </a:xfrm>
            <a:custGeom>
              <a:avLst/>
              <a:gdLst>
                <a:gd name="T0" fmla="*/ 5 w 5"/>
                <a:gd name="T1" fmla="*/ 0 h 5"/>
                <a:gd name="T2" fmla="*/ 5 w 5"/>
                <a:gd name="T3" fmla="*/ 1 h 5"/>
                <a:gd name="T4" fmla="*/ 0 w 5"/>
                <a:gd name="T5" fmla="*/ 4 h 5"/>
                <a:gd name="T6" fmla="*/ 1 w 5"/>
                <a:gd name="T7" fmla="*/ 5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5" y="1"/>
                    <a:pt x="5" y="1"/>
                    <a:pt x="5" y="1"/>
                  </a:cubicBezTo>
                  <a:cubicBezTo>
                    <a:pt x="3" y="2"/>
                    <a:pt x="0" y="1"/>
                    <a:pt x="0" y="4"/>
                  </a:cubicBezTo>
                  <a:cubicBezTo>
                    <a:pt x="0" y="4"/>
                    <a:pt x="0" y="4"/>
                    <a:pt x="1" y="5"/>
                  </a:cubicBezTo>
                  <a:cubicBezTo>
                    <a:pt x="2" y="4"/>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Freeform 260">
              <a:extLst>
                <a:ext uri="{FF2B5EF4-FFF2-40B4-BE49-F238E27FC236}">
                  <a16:creationId xmlns:a16="http://schemas.microsoft.com/office/drawing/2014/main" id="{8A0E9126-FA75-494E-8137-EF13D6A7C7F6}"/>
                </a:ext>
              </a:extLst>
            </p:cNvPr>
            <p:cNvSpPr>
              <a:spLocks/>
            </p:cNvSpPr>
            <p:nvPr/>
          </p:nvSpPr>
          <p:spPr bwMode="auto">
            <a:xfrm>
              <a:off x="4926004" y="4391847"/>
              <a:ext cx="11113" cy="19050"/>
            </a:xfrm>
            <a:custGeom>
              <a:avLst/>
              <a:gdLst>
                <a:gd name="T0" fmla="*/ 2 w 3"/>
                <a:gd name="T1" fmla="*/ 0 h 5"/>
                <a:gd name="T2" fmla="*/ 0 w 3"/>
                <a:gd name="T3" fmla="*/ 3 h 5"/>
                <a:gd name="T4" fmla="*/ 3 w 3"/>
                <a:gd name="T5" fmla="*/ 5 h 5"/>
                <a:gd name="T6" fmla="*/ 2 w 3"/>
                <a:gd name="T7" fmla="*/ 0 h 5"/>
                <a:gd name="T8" fmla="*/ 2 w 3"/>
                <a:gd name="T9" fmla="*/ 0 h 5"/>
              </a:gdLst>
              <a:ahLst/>
              <a:cxnLst>
                <a:cxn ang="0">
                  <a:pos x="T0" y="T1"/>
                </a:cxn>
                <a:cxn ang="0">
                  <a:pos x="T2" y="T3"/>
                </a:cxn>
                <a:cxn ang="0">
                  <a:pos x="T4" y="T5"/>
                </a:cxn>
                <a:cxn ang="0">
                  <a:pos x="T6" y="T7"/>
                </a:cxn>
                <a:cxn ang="0">
                  <a:pos x="T8" y="T9"/>
                </a:cxn>
              </a:cxnLst>
              <a:rect l="0" t="0" r="r" b="b"/>
              <a:pathLst>
                <a:path w="3" h="5">
                  <a:moveTo>
                    <a:pt x="2" y="0"/>
                  </a:moveTo>
                  <a:cubicBezTo>
                    <a:pt x="0" y="0"/>
                    <a:pt x="0" y="2"/>
                    <a:pt x="0" y="3"/>
                  </a:cubicBezTo>
                  <a:cubicBezTo>
                    <a:pt x="1" y="4"/>
                    <a:pt x="2" y="4"/>
                    <a:pt x="3" y="5"/>
                  </a:cubicBezTo>
                  <a:cubicBezTo>
                    <a:pt x="3" y="3"/>
                    <a:pt x="3" y="2"/>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 name="Freeform 261">
              <a:extLst>
                <a:ext uri="{FF2B5EF4-FFF2-40B4-BE49-F238E27FC236}">
                  <a16:creationId xmlns:a16="http://schemas.microsoft.com/office/drawing/2014/main" id="{26C130F7-4B6A-484F-A988-189D8ADE8E42}"/>
                </a:ext>
              </a:extLst>
            </p:cNvPr>
            <p:cNvSpPr>
              <a:spLocks/>
            </p:cNvSpPr>
            <p:nvPr/>
          </p:nvSpPr>
          <p:spPr bwMode="auto">
            <a:xfrm>
              <a:off x="6815129" y="632647"/>
              <a:ext cx="176213" cy="52388"/>
            </a:xfrm>
            <a:custGeom>
              <a:avLst/>
              <a:gdLst>
                <a:gd name="T0" fmla="*/ 37 w 47"/>
                <a:gd name="T1" fmla="*/ 0 h 14"/>
                <a:gd name="T2" fmla="*/ 18 w 47"/>
                <a:gd name="T3" fmla="*/ 3 h 14"/>
                <a:gd name="T4" fmla="*/ 12 w 47"/>
                <a:gd name="T5" fmla="*/ 5 h 14"/>
                <a:gd name="T6" fmla="*/ 6 w 47"/>
                <a:gd name="T7" fmla="*/ 5 h 14"/>
                <a:gd name="T8" fmla="*/ 3 w 47"/>
                <a:gd name="T9" fmla="*/ 7 h 14"/>
                <a:gd name="T10" fmla="*/ 6 w 47"/>
                <a:gd name="T11" fmla="*/ 11 h 14"/>
                <a:gd name="T12" fmla="*/ 11 w 47"/>
                <a:gd name="T13" fmla="*/ 13 h 14"/>
                <a:gd name="T14" fmla="*/ 12 w 47"/>
                <a:gd name="T15" fmla="*/ 13 h 14"/>
                <a:gd name="T16" fmla="*/ 13 w 47"/>
                <a:gd name="T17" fmla="*/ 13 h 14"/>
                <a:gd name="T18" fmla="*/ 14 w 47"/>
                <a:gd name="T19" fmla="*/ 13 h 14"/>
                <a:gd name="T20" fmla="*/ 15 w 47"/>
                <a:gd name="T21" fmla="*/ 13 h 14"/>
                <a:gd name="T22" fmla="*/ 14 w 47"/>
                <a:gd name="T23" fmla="*/ 14 h 14"/>
                <a:gd name="T24" fmla="*/ 19 w 47"/>
                <a:gd name="T25" fmla="*/ 14 h 14"/>
                <a:gd name="T26" fmla="*/ 28 w 47"/>
                <a:gd name="T27" fmla="*/ 14 h 14"/>
                <a:gd name="T28" fmla="*/ 41 w 47"/>
                <a:gd name="T29" fmla="*/ 11 h 14"/>
                <a:gd name="T30" fmla="*/ 44 w 47"/>
                <a:gd name="T31" fmla="*/ 2 h 14"/>
                <a:gd name="T32" fmla="*/ 37 w 47"/>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14">
                  <a:moveTo>
                    <a:pt x="37" y="0"/>
                  </a:moveTo>
                  <a:cubicBezTo>
                    <a:pt x="31" y="0"/>
                    <a:pt x="23" y="3"/>
                    <a:pt x="18" y="3"/>
                  </a:cubicBezTo>
                  <a:cubicBezTo>
                    <a:pt x="16" y="4"/>
                    <a:pt x="14" y="4"/>
                    <a:pt x="12" y="5"/>
                  </a:cubicBezTo>
                  <a:cubicBezTo>
                    <a:pt x="10" y="5"/>
                    <a:pt x="7" y="5"/>
                    <a:pt x="6" y="5"/>
                  </a:cubicBezTo>
                  <a:cubicBezTo>
                    <a:pt x="4" y="6"/>
                    <a:pt x="5" y="7"/>
                    <a:pt x="3" y="7"/>
                  </a:cubicBezTo>
                  <a:cubicBezTo>
                    <a:pt x="0" y="8"/>
                    <a:pt x="5" y="10"/>
                    <a:pt x="6" y="11"/>
                  </a:cubicBezTo>
                  <a:cubicBezTo>
                    <a:pt x="8" y="12"/>
                    <a:pt x="9" y="13"/>
                    <a:pt x="11" y="13"/>
                  </a:cubicBezTo>
                  <a:cubicBezTo>
                    <a:pt x="11" y="13"/>
                    <a:pt x="12" y="13"/>
                    <a:pt x="12" y="13"/>
                  </a:cubicBezTo>
                  <a:cubicBezTo>
                    <a:pt x="12" y="13"/>
                    <a:pt x="13" y="13"/>
                    <a:pt x="13" y="13"/>
                  </a:cubicBezTo>
                  <a:cubicBezTo>
                    <a:pt x="13" y="13"/>
                    <a:pt x="14" y="13"/>
                    <a:pt x="14" y="13"/>
                  </a:cubicBezTo>
                  <a:cubicBezTo>
                    <a:pt x="14" y="13"/>
                    <a:pt x="15" y="13"/>
                    <a:pt x="15" y="13"/>
                  </a:cubicBezTo>
                  <a:cubicBezTo>
                    <a:pt x="15" y="13"/>
                    <a:pt x="14" y="14"/>
                    <a:pt x="14" y="14"/>
                  </a:cubicBezTo>
                  <a:cubicBezTo>
                    <a:pt x="15" y="14"/>
                    <a:pt x="17" y="14"/>
                    <a:pt x="19" y="14"/>
                  </a:cubicBezTo>
                  <a:cubicBezTo>
                    <a:pt x="22" y="14"/>
                    <a:pt x="25" y="14"/>
                    <a:pt x="28" y="14"/>
                  </a:cubicBezTo>
                  <a:cubicBezTo>
                    <a:pt x="32" y="13"/>
                    <a:pt x="37" y="13"/>
                    <a:pt x="41" y="11"/>
                  </a:cubicBezTo>
                  <a:cubicBezTo>
                    <a:pt x="47" y="9"/>
                    <a:pt x="46" y="7"/>
                    <a:pt x="44" y="2"/>
                  </a:cubicBezTo>
                  <a:cubicBezTo>
                    <a:pt x="42" y="1"/>
                    <a:pt x="40"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Freeform 262">
              <a:extLst>
                <a:ext uri="{FF2B5EF4-FFF2-40B4-BE49-F238E27FC236}">
                  <a16:creationId xmlns:a16="http://schemas.microsoft.com/office/drawing/2014/main" id="{63B3FFDF-CEBF-4F54-A119-27CC643A9D2E}"/>
                </a:ext>
              </a:extLst>
            </p:cNvPr>
            <p:cNvSpPr>
              <a:spLocks/>
            </p:cNvSpPr>
            <p:nvPr/>
          </p:nvSpPr>
          <p:spPr bwMode="auto">
            <a:xfrm>
              <a:off x="4430704" y="3971159"/>
              <a:ext cx="26988" cy="12700"/>
            </a:xfrm>
            <a:custGeom>
              <a:avLst/>
              <a:gdLst>
                <a:gd name="T0" fmla="*/ 2 w 7"/>
                <a:gd name="T1" fmla="*/ 0 h 3"/>
                <a:gd name="T2" fmla="*/ 0 w 7"/>
                <a:gd name="T3" fmla="*/ 3 h 3"/>
                <a:gd name="T4" fmla="*/ 7 w 7"/>
                <a:gd name="T5" fmla="*/ 2 h 3"/>
                <a:gd name="T6" fmla="*/ 4 w 7"/>
                <a:gd name="T7" fmla="*/ 1 h 3"/>
                <a:gd name="T8" fmla="*/ 2 w 7"/>
                <a:gd name="T9" fmla="*/ 0 h 3"/>
              </a:gdLst>
              <a:ahLst/>
              <a:cxnLst>
                <a:cxn ang="0">
                  <a:pos x="T0" y="T1"/>
                </a:cxn>
                <a:cxn ang="0">
                  <a:pos x="T2" y="T3"/>
                </a:cxn>
                <a:cxn ang="0">
                  <a:pos x="T4" y="T5"/>
                </a:cxn>
                <a:cxn ang="0">
                  <a:pos x="T6" y="T7"/>
                </a:cxn>
                <a:cxn ang="0">
                  <a:pos x="T8" y="T9"/>
                </a:cxn>
              </a:cxnLst>
              <a:rect l="0" t="0" r="r" b="b"/>
              <a:pathLst>
                <a:path w="7" h="3">
                  <a:moveTo>
                    <a:pt x="2" y="0"/>
                  </a:moveTo>
                  <a:cubicBezTo>
                    <a:pt x="1" y="0"/>
                    <a:pt x="1" y="1"/>
                    <a:pt x="0" y="3"/>
                  </a:cubicBezTo>
                  <a:cubicBezTo>
                    <a:pt x="3" y="3"/>
                    <a:pt x="5" y="3"/>
                    <a:pt x="7" y="2"/>
                  </a:cubicBezTo>
                  <a:cubicBezTo>
                    <a:pt x="6" y="1"/>
                    <a:pt x="5" y="1"/>
                    <a:pt x="4" y="1"/>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 name="Freeform 263">
              <a:extLst>
                <a:ext uri="{FF2B5EF4-FFF2-40B4-BE49-F238E27FC236}">
                  <a16:creationId xmlns:a16="http://schemas.microsoft.com/office/drawing/2014/main" id="{51B6F84E-4CF2-403A-AD35-37EF8978B290}"/>
                </a:ext>
              </a:extLst>
            </p:cNvPr>
            <p:cNvSpPr>
              <a:spLocks/>
            </p:cNvSpPr>
            <p:nvPr/>
          </p:nvSpPr>
          <p:spPr bwMode="auto">
            <a:xfrm>
              <a:off x="9404341" y="1969322"/>
              <a:ext cx="131763" cy="65088"/>
            </a:xfrm>
            <a:custGeom>
              <a:avLst/>
              <a:gdLst>
                <a:gd name="T0" fmla="*/ 11 w 35"/>
                <a:gd name="T1" fmla="*/ 0 h 17"/>
                <a:gd name="T2" fmla="*/ 10 w 35"/>
                <a:gd name="T3" fmla="*/ 2 h 17"/>
                <a:gd name="T4" fmla="*/ 3 w 35"/>
                <a:gd name="T5" fmla="*/ 6 h 17"/>
                <a:gd name="T6" fmla="*/ 3 w 35"/>
                <a:gd name="T7" fmla="*/ 12 h 17"/>
                <a:gd name="T8" fmla="*/ 12 w 35"/>
                <a:gd name="T9" fmla="*/ 16 h 17"/>
                <a:gd name="T10" fmla="*/ 14 w 35"/>
                <a:gd name="T11" fmla="*/ 16 h 17"/>
                <a:gd name="T12" fmla="*/ 16 w 35"/>
                <a:gd name="T13" fmla="*/ 16 h 17"/>
                <a:gd name="T14" fmla="*/ 22 w 35"/>
                <a:gd name="T15" fmla="*/ 16 h 17"/>
                <a:gd name="T16" fmla="*/ 27 w 35"/>
                <a:gd name="T17" fmla="*/ 17 h 17"/>
                <a:gd name="T18" fmla="*/ 31 w 35"/>
                <a:gd name="T19" fmla="*/ 16 h 17"/>
                <a:gd name="T20" fmla="*/ 32 w 35"/>
                <a:gd name="T21" fmla="*/ 10 h 17"/>
                <a:gd name="T22" fmla="*/ 28 w 35"/>
                <a:gd name="T23" fmla="*/ 7 h 17"/>
                <a:gd name="T24" fmla="*/ 27 w 35"/>
                <a:gd name="T25" fmla="*/ 7 h 17"/>
                <a:gd name="T26" fmla="*/ 12 w 35"/>
                <a:gd name="T27" fmla="*/ 0 h 17"/>
                <a:gd name="T28" fmla="*/ 11 w 35"/>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17">
                  <a:moveTo>
                    <a:pt x="11" y="0"/>
                  </a:moveTo>
                  <a:cubicBezTo>
                    <a:pt x="10" y="0"/>
                    <a:pt x="11" y="1"/>
                    <a:pt x="10" y="2"/>
                  </a:cubicBezTo>
                  <a:cubicBezTo>
                    <a:pt x="8" y="4"/>
                    <a:pt x="5" y="5"/>
                    <a:pt x="3" y="6"/>
                  </a:cubicBezTo>
                  <a:cubicBezTo>
                    <a:pt x="0" y="8"/>
                    <a:pt x="1" y="9"/>
                    <a:pt x="3" y="12"/>
                  </a:cubicBezTo>
                  <a:cubicBezTo>
                    <a:pt x="5" y="15"/>
                    <a:pt x="8" y="16"/>
                    <a:pt x="12" y="16"/>
                  </a:cubicBezTo>
                  <a:cubicBezTo>
                    <a:pt x="13" y="16"/>
                    <a:pt x="14" y="16"/>
                    <a:pt x="14" y="16"/>
                  </a:cubicBezTo>
                  <a:cubicBezTo>
                    <a:pt x="15" y="16"/>
                    <a:pt x="16" y="16"/>
                    <a:pt x="16" y="16"/>
                  </a:cubicBezTo>
                  <a:cubicBezTo>
                    <a:pt x="18" y="16"/>
                    <a:pt x="20" y="16"/>
                    <a:pt x="22" y="16"/>
                  </a:cubicBezTo>
                  <a:cubicBezTo>
                    <a:pt x="24" y="16"/>
                    <a:pt x="26" y="17"/>
                    <a:pt x="27" y="17"/>
                  </a:cubicBezTo>
                  <a:cubicBezTo>
                    <a:pt x="29" y="17"/>
                    <a:pt x="30" y="17"/>
                    <a:pt x="31" y="16"/>
                  </a:cubicBezTo>
                  <a:cubicBezTo>
                    <a:pt x="35" y="15"/>
                    <a:pt x="33" y="13"/>
                    <a:pt x="32" y="10"/>
                  </a:cubicBezTo>
                  <a:cubicBezTo>
                    <a:pt x="32" y="7"/>
                    <a:pt x="31" y="7"/>
                    <a:pt x="28" y="7"/>
                  </a:cubicBezTo>
                  <a:cubicBezTo>
                    <a:pt x="28" y="7"/>
                    <a:pt x="27" y="7"/>
                    <a:pt x="27" y="7"/>
                  </a:cubicBezTo>
                  <a:cubicBezTo>
                    <a:pt x="22" y="5"/>
                    <a:pt x="17" y="2"/>
                    <a:pt x="12"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 name="Freeform 264">
              <a:extLst>
                <a:ext uri="{FF2B5EF4-FFF2-40B4-BE49-F238E27FC236}">
                  <a16:creationId xmlns:a16="http://schemas.microsoft.com/office/drawing/2014/main" id="{34951041-B961-4918-B3FC-800644309F4B}"/>
                </a:ext>
              </a:extLst>
            </p:cNvPr>
            <p:cNvSpPr>
              <a:spLocks/>
            </p:cNvSpPr>
            <p:nvPr/>
          </p:nvSpPr>
          <p:spPr bwMode="auto">
            <a:xfrm>
              <a:off x="9126529" y="2567809"/>
              <a:ext cx="34925" cy="6350"/>
            </a:xfrm>
            <a:custGeom>
              <a:avLst/>
              <a:gdLst>
                <a:gd name="T0" fmla="*/ 4 w 9"/>
                <a:gd name="T1" fmla="*/ 0 h 2"/>
                <a:gd name="T2" fmla="*/ 0 w 9"/>
                <a:gd name="T3" fmla="*/ 2 h 2"/>
                <a:gd name="T4" fmla="*/ 2 w 9"/>
                <a:gd name="T5" fmla="*/ 2 h 2"/>
                <a:gd name="T6" fmla="*/ 9 w 9"/>
                <a:gd name="T7" fmla="*/ 2 h 2"/>
                <a:gd name="T8" fmla="*/ 4 w 9"/>
                <a:gd name="T9" fmla="*/ 0 h 2"/>
              </a:gdLst>
              <a:ahLst/>
              <a:cxnLst>
                <a:cxn ang="0">
                  <a:pos x="T0" y="T1"/>
                </a:cxn>
                <a:cxn ang="0">
                  <a:pos x="T2" y="T3"/>
                </a:cxn>
                <a:cxn ang="0">
                  <a:pos x="T4" y="T5"/>
                </a:cxn>
                <a:cxn ang="0">
                  <a:pos x="T6" y="T7"/>
                </a:cxn>
                <a:cxn ang="0">
                  <a:pos x="T8" y="T9"/>
                </a:cxn>
              </a:cxnLst>
              <a:rect l="0" t="0" r="r" b="b"/>
              <a:pathLst>
                <a:path w="9" h="2">
                  <a:moveTo>
                    <a:pt x="4" y="0"/>
                  </a:moveTo>
                  <a:cubicBezTo>
                    <a:pt x="3" y="0"/>
                    <a:pt x="1" y="1"/>
                    <a:pt x="0" y="2"/>
                  </a:cubicBezTo>
                  <a:cubicBezTo>
                    <a:pt x="1" y="2"/>
                    <a:pt x="2" y="2"/>
                    <a:pt x="2" y="2"/>
                  </a:cubicBezTo>
                  <a:cubicBezTo>
                    <a:pt x="4" y="2"/>
                    <a:pt x="7" y="2"/>
                    <a:pt x="9" y="2"/>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 name="Freeform 265">
              <a:extLst>
                <a:ext uri="{FF2B5EF4-FFF2-40B4-BE49-F238E27FC236}">
                  <a16:creationId xmlns:a16="http://schemas.microsoft.com/office/drawing/2014/main" id="{7B802288-AC6B-4BA1-AE5E-31E5B3C835F2}"/>
                </a:ext>
              </a:extLst>
            </p:cNvPr>
            <p:cNvSpPr>
              <a:spLocks/>
            </p:cNvSpPr>
            <p:nvPr/>
          </p:nvSpPr>
          <p:spPr bwMode="auto">
            <a:xfrm>
              <a:off x="8947141" y="3569522"/>
              <a:ext cx="22225" cy="22225"/>
            </a:xfrm>
            <a:custGeom>
              <a:avLst/>
              <a:gdLst>
                <a:gd name="T0" fmla="*/ 5 w 6"/>
                <a:gd name="T1" fmla="*/ 0 h 6"/>
                <a:gd name="T2" fmla="*/ 5 w 6"/>
                <a:gd name="T3" fmla="*/ 1 h 6"/>
                <a:gd name="T4" fmla="*/ 5 w 6"/>
                <a:gd name="T5" fmla="*/ 1 h 6"/>
                <a:gd name="T6" fmla="*/ 3 w 6"/>
                <a:gd name="T7" fmla="*/ 2 h 6"/>
                <a:gd name="T8" fmla="*/ 0 w 6"/>
                <a:gd name="T9" fmla="*/ 6 h 6"/>
                <a:gd name="T10" fmla="*/ 6 w 6"/>
                <a:gd name="T11" fmla="*/ 0 h 6"/>
                <a:gd name="T12" fmla="*/ 5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5" y="0"/>
                  </a:moveTo>
                  <a:cubicBezTo>
                    <a:pt x="5" y="0"/>
                    <a:pt x="5" y="1"/>
                    <a:pt x="5" y="1"/>
                  </a:cubicBezTo>
                  <a:cubicBezTo>
                    <a:pt x="5" y="1"/>
                    <a:pt x="5" y="1"/>
                    <a:pt x="5" y="1"/>
                  </a:cubicBezTo>
                  <a:cubicBezTo>
                    <a:pt x="5" y="1"/>
                    <a:pt x="3" y="2"/>
                    <a:pt x="3" y="2"/>
                  </a:cubicBezTo>
                  <a:cubicBezTo>
                    <a:pt x="0" y="3"/>
                    <a:pt x="0" y="2"/>
                    <a:pt x="0" y="6"/>
                  </a:cubicBezTo>
                  <a:cubicBezTo>
                    <a:pt x="2" y="4"/>
                    <a:pt x="4" y="2"/>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Freeform 266">
              <a:extLst>
                <a:ext uri="{FF2B5EF4-FFF2-40B4-BE49-F238E27FC236}">
                  <a16:creationId xmlns:a16="http://schemas.microsoft.com/office/drawing/2014/main" id="{0E305922-BF6E-4DD0-9B7F-D8D9E5ED7911}"/>
                </a:ext>
              </a:extLst>
            </p:cNvPr>
            <p:cNvSpPr>
              <a:spLocks/>
            </p:cNvSpPr>
            <p:nvPr/>
          </p:nvSpPr>
          <p:spPr bwMode="auto">
            <a:xfrm>
              <a:off x="9964729" y="3036122"/>
              <a:ext cx="49213" cy="46038"/>
            </a:xfrm>
            <a:custGeom>
              <a:avLst/>
              <a:gdLst>
                <a:gd name="T0" fmla="*/ 7 w 13"/>
                <a:gd name="T1" fmla="*/ 0 h 12"/>
                <a:gd name="T2" fmla="*/ 4 w 13"/>
                <a:gd name="T3" fmla="*/ 4 h 12"/>
                <a:gd name="T4" fmla="*/ 0 w 13"/>
                <a:gd name="T5" fmla="*/ 10 h 12"/>
                <a:gd name="T6" fmla="*/ 2 w 13"/>
                <a:gd name="T7" fmla="*/ 12 h 12"/>
                <a:gd name="T8" fmla="*/ 7 w 13"/>
                <a:gd name="T9" fmla="*/ 10 h 12"/>
                <a:gd name="T10" fmla="*/ 10 w 13"/>
                <a:gd name="T11" fmla="*/ 0 h 12"/>
                <a:gd name="T12" fmla="*/ 7 w 1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7" y="0"/>
                  </a:moveTo>
                  <a:cubicBezTo>
                    <a:pt x="5" y="0"/>
                    <a:pt x="5" y="2"/>
                    <a:pt x="4" y="4"/>
                  </a:cubicBezTo>
                  <a:cubicBezTo>
                    <a:pt x="3" y="6"/>
                    <a:pt x="0" y="8"/>
                    <a:pt x="0" y="10"/>
                  </a:cubicBezTo>
                  <a:cubicBezTo>
                    <a:pt x="0" y="11"/>
                    <a:pt x="1" y="12"/>
                    <a:pt x="2" y="12"/>
                  </a:cubicBezTo>
                  <a:cubicBezTo>
                    <a:pt x="4" y="12"/>
                    <a:pt x="6" y="11"/>
                    <a:pt x="7" y="10"/>
                  </a:cubicBezTo>
                  <a:cubicBezTo>
                    <a:pt x="13" y="7"/>
                    <a:pt x="12" y="6"/>
                    <a:pt x="10"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Freeform 267">
              <a:extLst>
                <a:ext uri="{FF2B5EF4-FFF2-40B4-BE49-F238E27FC236}">
                  <a16:creationId xmlns:a16="http://schemas.microsoft.com/office/drawing/2014/main" id="{5DBE1BFA-5295-4274-A412-94439C010EF5}"/>
                </a:ext>
              </a:extLst>
            </p:cNvPr>
            <p:cNvSpPr>
              <a:spLocks/>
            </p:cNvSpPr>
            <p:nvPr/>
          </p:nvSpPr>
          <p:spPr bwMode="auto">
            <a:xfrm>
              <a:off x="9051916" y="1729609"/>
              <a:ext cx="93663" cy="44450"/>
            </a:xfrm>
            <a:custGeom>
              <a:avLst/>
              <a:gdLst>
                <a:gd name="T0" fmla="*/ 17 w 25"/>
                <a:gd name="T1" fmla="*/ 0 h 12"/>
                <a:gd name="T2" fmla="*/ 0 w 25"/>
                <a:gd name="T3" fmla="*/ 12 h 12"/>
                <a:gd name="T4" fmla="*/ 1 w 25"/>
                <a:gd name="T5" fmla="*/ 12 h 12"/>
                <a:gd name="T6" fmla="*/ 6 w 25"/>
                <a:gd name="T7" fmla="*/ 10 h 12"/>
                <a:gd name="T8" fmla="*/ 6 w 25"/>
                <a:gd name="T9" fmla="*/ 10 h 12"/>
                <a:gd name="T10" fmla="*/ 7 w 25"/>
                <a:gd name="T11" fmla="*/ 11 h 12"/>
                <a:gd name="T12" fmla="*/ 8 w 25"/>
                <a:gd name="T13" fmla="*/ 11 h 12"/>
                <a:gd name="T14" fmla="*/ 8 w 25"/>
                <a:gd name="T15" fmla="*/ 11 h 12"/>
                <a:gd name="T16" fmla="*/ 9 w 25"/>
                <a:gd name="T17" fmla="*/ 10 h 12"/>
                <a:gd name="T18" fmla="*/ 12 w 25"/>
                <a:gd name="T19" fmla="*/ 9 h 12"/>
                <a:gd name="T20" fmla="*/ 17 w 25"/>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2">
                  <a:moveTo>
                    <a:pt x="17" y="0"/>
                  </a:moveTo>
                  <a:cubicBezTo>
                    <a:pt x="11" y="4"/>
                    <a:pt x="5" y="7"/>
                    <a:pt x="0" y="12"/>
                  </a:cubicBezTo>
                  <a:cubicBezTo>
                    <a:pt x="0" y="12"/>
                    <a:pt x="0" y="12"/>
                    <a:pt x="1" y="12"/>
                  </a:cubicBezTo>
                  <a:cubicBezTo>
                    <a:pt x="2" y="12"/>
                    <a:pt x="5" y="10"/>
                    <a:pt x="6" y="10"/>
                  </a:cubicBezTo>
                  <a:cubicBezTo>
                    <a:pt x="6" y="10"/>
                    <a:pt x="6" y="10"/>
                    <a:pt x="6" y="10"/>
                  </a:cubicBezTo>
                  <a:cubicBezTo>
                    <a:pt x="6" y="10"/>
                    <a:pt x="7" y="10"/>
                    <a:pt x="7" y="11"/>
                  </a:cubicBezTo>
                  <a:cubicBezTo>
                    <a:pt x="7" y="11"/>
                    <a:pt x="7" y="11"/>
                    <a:pt x="8" y="11"/>
                  </a:cubicBezTo>
                  <a:cubicBezTo>
                    <a:pt x="8" y="11"/>
                    <a:pt x="8" y="11"/>
                    <a:pt x="8" y="11"/>
                  </a:cubicBezTo>
                  <a:cubicBezTo>
                    <a:pt x="8" y="11"/>
                    <a:pt x="8" y="10"/>
                    <a:pt x="9" y="10"/>
                  </a:cubicBezTo>
                  <a:cubicBezTo>
                    <a:pt x="10" y="10"/>
                    <a:pt x="11" y="9"/>
                    <a:pt x="12" y="9"/>
                  </a:cubicBezTo>
                  <a:cubicBezTo>
                    <a:pt x="17" y="7"/>
                    <a:pt x="25" y="4"/>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Freeform 268">
              <a:extLst>
                <a:ext uri="{FF2B5EF4-FFF2-40B4-BE49-F238E27FC236}">
                  <a16:creationId xmlns:a16="http://schemas.microsoft.com/office/drawing/2014/main" id="{5061ED90-75EA-4916-859F-85CB6649B808}"/>
                </a:ext>
              </a:extLst>
            </p:cNvPr>
            <p:cNvSpPr>
              <a:spLocks/>
            </p:cNvSpPr>
            <p:nvPr/>
          </p:nvSpPr>
          <p:spPr bwMode="auto">
            <a:xfrm>
              <a:off x="9337666" y="1886772"/>
              <a:ext cx="71438" cy="60325"/>
            </a:xfrm>
            <a:custGeom>
              <a:avLst/>
              <a:gdLst>
                <a:gd name="T0" fmla="*/ 8 w 19"/>
                <a:gd name="T1" fmla="*/ 0 h 16"/>
                <a:gd name="T2" fmla="*/ 7 w 19"/>
                <a:gd name="T3" fmla="*/ 0 h 16"/>
                <a:gd name="T4" fmla="*/ 13 w 19"/>
                <a:gd name="T5" fmla="*/ 16 h 16"/>
                <a:gd name="T6" fmla="*/ 14 w 19"/>
                <a:gd name="T7" fmla="*/ 16 h 16"/>
                <a:gd name="T8" fmla="*/ 16 w 19"/>
                <a:gd name="T9" fmla="*/ 16 h 16"/>
                <a:gd name="T10" fmla="*/ 17 w 19"/>
                <a:gd name="T11" fmla="*/ 16 h 16"/>
                <a:gd name="T12" fmla="*/ 18 w 19"/>
                <a:gd name="T13" fmla="*/ 15 h 16"/>
                <a:gd name="T14" fmla="*/ 19 w 19"/>
                <a:gd name="T15" fmla="*/ 10 h 16"/>
                <a:gd name="T16" fmla="*/ 15 w 19"/>
                <a:gd name="T17" fmla="*/ 6 h 16"/>
                <a:gd name="T18" fmla="*/ 14 w 19"/>
                <a:gd name="T19" fmla="*/ 3 h 16"/>
                <a:gd name="T20" fmla="*/ 10 w 19"/>
                <a:gd name="T21" fmla="*/ 1 h 16"/>
                <a:gd name="T22" fmla="*/ 8 w 19"/>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6">
                  <a:moveTo>
                    <a:pt x="8" y="0"/>
                  </a:moveTo>
                  <a:cubicBezTo>
                    <a:pt x="7" y="0"/>
                    <a:pt x="7" y="0"/>
                    <a:pt x="7" y="0"/>
                  </a:cubicBezTo>
                  <a:cubicBezTo>
                    <a:pt x="0" y="3"/>
                    <a:pt x="12" y="14"/>
                    <a:pt x="13" y="16"/>
                  </a:cubicBezTo>
                  <a:cubicBezTo>
                    <a:pt x="14" y="16"/>
                    <a:pt x="14" y="16"/>
                    <a:pt x="14" y="16"/>
                  </a:cubicBezTo>
                  <a:cubicBezTo>
                    <a:pt x="15" y="16"/>
                    <a:pt x="15" y="16"/>
                    <a:pt x="16" y="16"/>
                  </a:cubicBezTo>
                  <a:cubicBezTo>
                    <a:pt x="16" y="16"/>
                    <a:pt x="17" y="16"/>
                    <a:pt x="17" y="16"/>
                  </a:cubicBezTo>
                  <a:cubicBezTo>
                    <a:pt x="17" y="16"/>
                    <a:pt x="18" y="16"/>
                    <a:pt x="18" y="15"/>
                  </a:cubicBezTo>
                  <a:cubicBezTo>
                    <a:pt x="18" y="13"/>
                    <a:pt x="19" y="12"/>
                    <a:pt x="19" y="10"/>
                  </a:cubicBezTo>
                  <a:cubicBezTo>
                    <a:pt x="18" y="8"/>
                    <a:pt x="16" y="8"/>
                    <a:pt x="15" y="6"/>
                  </a:cubicBezTo>
                  <a:cubicBezTo>
                    <a:pt x="14" y="5"/>
                    <a:pt x="15" y="4"/>
                    <a:pt x="14" y="3"/>
                  </a:cubicBezTo>
                  <a:cubicBezTo>
                    <a:pt x="13" y="1"/>
                    <a:pt x="12" y="2"/>
                    <a:pt x="10" y="1"/>
                  </a:cubicBezTo>
                  <a:cubicBezTo>
                    <a:pt x="9" y="1"/>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 name="Freeform 269">
              <a:extLst>
                <a:ext uri="{FF2B5EF4-FFF2-40B4-BE49-F238E27FC236}">
                  <a16:creationId xmlns:a16="http://schemas.microsoft.com/office/drawing/2014/main" id="{65333317-FC55-4F05-ADDA-99C122EAD945}"/>
                </a:ext>
              </a:extLst>
            </p:cNvPr>
            <p:cNvSpPr>
              <a:spLocks/>
            </p:cNvSpPr>
            <p:nvPr/>
          </p:nvSpPr>
          <p:spPr bwMode="auto">
            <a:xfrm>
              <a:off x="6769091" y="1905822"/>
              <a:ext cx="57150" cy="30163"/>
            </a:xfrm>
            <a:custGeom>
              <a:avLst/>
              <a:gdLst>
                <a:gd name="T0" fmla="*/ 4 w 15"/>
                <a:gd name="T1" fmla="*/ 0 h 8"/>
                <a:gd name="T2" fmla="*/ 1 w 15"/>
                <a:gd name="T3" fmla="*/ 1 h 8"/>
                <a:gd name="T4" fmla="*/ 1 w 15"/>
                <a:gd name="T5" fmla="*/ 1 h 8"/>
                <a:gd name="T6" fmla="*/ 1 w 15"/>
                <a:gd name="T7" fmla="*/ 3 h 8"/>
                <a:gd name="T8" fmla="*/ 6 w 15"/>
                <a:gd name="T9" fmla="*/ 7 h 8"/>
                <a:gd name="T10" fmla="*/ 11 w 15"/>
                <a:gd name="T11" fmla="*/ 8 h 8"/>
                <a:gd name="T12" fmla="*/ 12 w 15"/>
                <a:gd name="T13" fmla="*/ 8 h 8"/>
                <a:gd name="T14" fmla="*/ 12 w 15"/>
                <a:gd name="T15" fmla="*/ 8 h 8"/>
                <a:gd name="T16" fmla="*/ 15 w 15"/>
                <a:gd name="T17" fmla="*/ 5 h 8"/>
                <a:gd name="T18" fmla="*/ 14 w 15"/>
                <a:gd name="T19" fmla="*/ 5 h 8"/>
                <a:gd name="T20" fmla="*/ 9 w 15"/>
                <a:gd name="T21" fmla="*/ 1 h 8"/>
                <a:gd name="T22" fmla="*/ 4 w 1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8">
                  <a:moveTo>
                    <a:pt x="4" y="0"/>
                  </a:moveTo>
                  <a:cubicBezTo>
                    <a:pt x="3" y="0"/>
                    <a:pt x="1" y="1"/>
                    <a:pt x="1" y="1"/>
                  </a:cubicBezTo>
                  <a:cubicBezTo>
                    <a:pt x="1" y="1"/>
                    <a:pt x="1" y="1"/>
                    <a:pt x="1" y="1"/>
                  </a:cubicBezTo>
                  <a:cubicBezTo>
                    <a:pt x="0" y="1"/>
                    <a:pt x="0" y="2"/>
                    <a:pt x="1" y="3"/>
                  </a:cubicBezTo>
                  <a:cubicBezTo>
                    <a:pt x="1" y="4"/>
                    <a:pt x="5" y="6"/>
                    <a:pt x="6" y="7"/>
                  </a:cubicBezTo>
                  <a:cubicBezTo>
                    <a:pt x="7" y="7"/>
                    <a:pt x="9" y="8"/>
                    <a:pt x="11" y="8"/>
                  </a:cubicBezTo>
                  <a:cubicBezTo>
                    <a:pt x="12" y="8"/>
                    <a:pt x="12" y="8"/>
                    <a:pt x="12" y="8"/>
                  </a:cubicBezTo>
                  <a:cubicBezTo>
                    <a:pt x="12" y="8"/>
                    <a:pt x="12" y="8"/>
                    <a:pt x="12" y="8"/>
                  </a:cubicBezTo>
                  <a:cubicBezTo>
                    <a:pt x="14" y="8"/>
                    <a:pt x="15" y="7"/>
                    <a:pt x="15" y="5"/>
                  </a:cubicBezTo>
                  <a:cubicBezTo>
                    <a:pt x="14" y="5"/>
                    <a:pt x="14" y="5"/>
                    <a:pt x="14" y="5"/>
                  </a:cubicBezTo>
                  <a:cubicBezTo>
                    <a:pt x="13" y="3"/>
                    <a:pt x="10" y="2"/>
                    <a:pt x="9" y="1"/>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 name="Freeform 270">
              <a:extLst>
                <a:ext uri="{FF2B5EF4-FFF2-40B4-BE49-F238E27FC236}">
                  <a16:creationId xmlns:a16="http://schemas.microsoft.com/office/drawing/2014/main" id="{3E88C29F-25D7-4E68-A524-A2478976D807}"/>
                </a:ext>
              </a:extLst>
            </p:cNvPr>
            <p:cNvSpPr>
              <a:spLocks/>
            </p:cNvSpPr>
            <p:nvPr/>
          </p:nvSpPr>
          <p:spPr bwMode="auto">
            <a:xfrm>
              <a:off x="8977304" y="670747"/>
              <a:ext cx="71438" cy="55563"/>
            </a:xfrm>
            <a:custGeom>
              <a:avLst/>
              <a:gdLst>
                <a:gd name="T0" fmla="*/ 16 w 19"/>
                <a:gd name="T1" fmla="*/ 0 h 15"/>
                <a:gd name="T2" fmla="*/ 15 w 19"/>
                <a:gd name="T3" fmla="*/ 0 h 15"/>
                <a:gd name="T4" fmla="*/ 13 w 19"/>
                <a:gd name="T5" fmla="*/ 2 h 15"/>
                <a:gd name="T6" fmla="*/ 8 w 19"/>
                <a:gd name="T7" fmla="*/ 5 h 15"/>
                <a:gd name="T8" fmla="*/ 6 w 19"/>
                <a:gd name="T9" fmla="*/ 6 h 15"/>
                <a:gd name="T10" fmla="*/ 4 w 19"/>
                <a:gd name="T11" fmla="*/ 8 h 15"/>
                <a:gd name="T12" fmla="*/ 0 w 19"/>
                <a:gd name="T13" fmla="*/ 11 h 15"/>
                <a:gd name="T14" fmla="*/ 5 w 19"/>
                <a:gd name="T15" fmla="*/ 15 h 15"/>
                <a:gd name="T16" fmla="*/ 6 w 19"/>
                <a:gd name="T17" fmla="*/ 15 h 15"/>
                <a:gd name="T18" fmla="*/ 6 w 19"/>
                <a:gd name="T19" fmla="*/ 15 h 15"/>
                <a:gd name="T20" fmla="*/ 11 w 19"/>
                <a:gd name="T21" fmla="*/ 13 h 15"/>
                <a:gd name="T22" fmla="*/ 15 w 19"/>
                <a:gd name="T23" fmla="*/ 12 h 15"/>
                <a:gd name="T24" fmla="*/ 16 w 19"/>
                <a:gd name="T25" fmla="*/ 12 h 15"/>
                <a:gd name="T26" fmla="*/ 16 w 19"/>
                <a:gd name="T27" fmla="*/ 13 h 15"/>
                <a:gd name="T28" fmla="*/ 16 w 19"/>
                <a:gd name="T29" fmla="*/ 13 h 15"/>
                <a:gd name="T30" fmla="*/ 17 w 19"/>
                <a:gd name="T31" fmla="*/ 13 h 15"/>
                <a:gd name="T32" fmla="*/ 18 w 19"/>
                <a:gd name="T33" fmla="*/ 13 h 15"/>
                <a:gd name="T34" fmla="*/ 18 w 19"/>
                <a:gd name="T35" fmla="*/ 13 h 15"/>
                <a:gd name="T36" fmla="*/ 18 w 19"/>
                <a:gd name="T37" fmla="*/ 12 h 15"/>
                <a:gd name="T38" fmla="*/ 17 w 19"/>
                <a:gd name="T39" fmla="*/ 12 h 15"/>
                <a:gd name="T40" fmla="*/ 13 w 19"/>
                <a:gd name="T41" fmla="*/ 9 h 15"/>
                <a:gd name="T42" fmla="*/ 13 w 19"/>
                <a:gd name="T43" fmla="*/ 8 h 15"/>
                <a:gd name="T44" fmla="*/ 14 w 19"/>
                <a:gd name="T45" fmla="*/ 6 h 15"/>
                <a:gd name="T46" fmla="*/ 19 w 19"/>
                <a:gd name="T47" fmla="*/ 0 h 15"/>
                <a:gd name="T48" fmla="*/ 16 w 19"/>
                <a:gd name="T4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5">
                  <a:moveTo>
                    <a:pt x="16" y="0"/>
                  </a:moveTo>
                  <a:cubicBezTo>
                    <a:pt x="16" y="0"/>
                    <a:pt x="15" y="0"/>
                    <a:pt x="15" y="0"/>
                  </a:cubicBezTo>
                  <a:cubicBezTo>
                    <a:pt x="14" y="0"/>
                    <a:pt x="14" y="2"/>
                    <a:pt x="13" y="2"/>
                  </a:cubicBezTo>
                  <a:cubicBezTo>
                    <a:pt x="11" y="3"/>
                    <a:pt x="10" y="5"/>
                    <a:pt x="8" y="5"/>
                  </a:cubicBezTo>
                  <a:cubicBezTo>
                    <a:pt x="7" y="5"/>
                    <a:pt x="6" y="6"/>
                    <a:pt x="6" y="6"/>
                  </a:cubicBezTo>
                  <a:cubicBezTo>
                    <a:pt x="5" y="7"/>
                    <a:pt x="5" y="7"/>
                    <a:pt x="4" y="8"/>
                  </a:cubicBezTo>
                  <a:cubicBezTo>
                    <a:pt x="3" y="9"/>
                    <a:pt x="2" y="11"/>
                    <a:pt x="0" y="11"/>
                  </a:cubicBezTo>
                  <a:cubicBezTo>
                    <a:pt x="0" y="12"/>
                    <a:pt x="3" y="14"/>
                    <a:pt x="5" y="15"/>
                  </a:cubicBezTo>
                  <a:cubicBezTo>
                    <a:pt x="5" y="15"/>
                    <a:pt x="6" y="15"/>
                    <a:pt x="6" y="15"/>
                  </a:cubicBezTo>
                  <a:cubicBezTo>
                    <a:pt x="6" y="15"/>
                    <a:pt x="6" y="15"/>
                    <a:pt x="6" y="15"/>
                  </a:cubicBezTo>
                  <a:cubicBezTo>
                    <a:pt x="8" y="15"/>
                    <a:pt x="9" y="14"/>
                    <a:pt x="11" y="13"/>
                  </a:cubicBezTo>
                  <a:cubicBezTo>
                    <a:pt x="12" y="13"/>
                    <a:pt x="14" y="12"/>
                    <a:pt x="15" y="12"/>
                  </a:cubicBezTo>
                  <a:cubicBezTo>
                    <a:pt x="15" y="12"/>
                    <a:pt x="16" y="12"/>
                    <a:pt x="16" y="12"/>
                  </a:cubicBezTo>
                  <a:cubicBezTo>
                    <a:pt x="15" y="13"/>
                    <a:pt x="15" y="13"/>
                    <a:pt x="16" y="13"/>
                  </a:cubicBezTo>
                  <a:cubicBezTo>
                    <a:pt x="16" y="13"/>
                    <a:pt x="16" y="13"/>
                    <a:pt x="16" y="13"/>
                  </a:cubicBezTo>
                  <a:cubicBezTo>
                    <a:pt x="16" y="13"/>
                    <a:pt x="17" y="13"/>
                    <a:pt x="17" y="13"/>
                  </a:cubicBezTo>
                  <a:cubicBezTo>
                    <a:pt x="18" y="13"/>
                    <a:pt x="18" y="13"/>
                    <a:pt x="18" y="13"/>
                  </a:cubicBezTo>
                  <a:cubicBezTo>
                    <a:pt x="18" y="13"/>
                    <a:pt x="18" y="13"/>
                    <a:pt x="18" y="13"/>
                  </a:cubicBezTo>
                  <a:cubicBezTo>
                    <a:pt x="19" y="13"/>
                    <a:pt x="19" y="13"/>
                    <a:pt x="18" y="12"/>
                  </a:cubicBezTo>
                  <a:cubicBezTo>
                    <a:pt x="17" y="12"/>
                    <a:pt x="17" y="12"/>
                    <a:pt x="17" y="12"/>
                  </a:cubicBezTo>
                  <a:cubicBezTo>
                    <a:pt x="16" y="10"/>
                    <a:pt x="14" y="10"/>
                    <a:pt x="13" y="9"/>
                  </a:cubicBezTo>
                  <a:cubicBezTo>
                    <a:pt x="13" y="8"/>
                    <a:pt x="13" y="8"/>
                    <a:pt x="13" y="8"/>
                  </a:cubicBezTo>
                  <a:cubicBezTo>
                    <a:pt x="13" y="8"/>
                    <a:pt x="14" y="7"/>
                    <a:pt x="14" y="6"/>
                  </a:cubicBezTo>
                  <a:cubicBezTo>
                    <a:pt x="16" y="4"/>
                    <a:pt x="17" y="2"/>
                    <a:pt x="19" y="0"/>
                  </a:cubicBezTo>
                  <a:cubicBezTo>
                    <a:pt x="19"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 name="Freeform 271">
              <a:extLst>
                <a:ext uri="{FF2B5EF4-FFF2-40B4-BE49-F238E27FC236}">
                  <a16:creationId xmlns:a16="http://schemas.microsoft.com/office/drawing/2014/main" id="{A2B6E225-47A6-47F1-82E5-DE297BF58460}"/>
                </a:ext>
              </a:extLst>
            </p:cNvPr>
            <p:cNvSpPr>
              <a:spLocks/>
            </p:cNvSpPr>
            <p:nvPr/>
          </p:nvSpPr>
          <p:spPr bwMode="auto">
            <a:xfrm>
              <a:off x="8391516" y="599309"/>
              <a:ext cx="165100" cy="41275"/>
            </a:xfrm>
            <a:custGeom>
              <a:avLst/>
              <a:gdLst>
                <a:gd name="T0" fmla="*/ 33 w 44"/>
                <a:gd name="T1" fmla="*/ 0 h 11"/>
                <a:gd name="T2" fmla="*/ 5 w 44"/>
                <a:gd name="T3" fmla="*/ 0 h 11"/>
                <a:gd name="T4" fmla="*/ 1 w 44"/>
                <a:gd name="T5" fmla="*/ 2 h 11"/>
                <a:gd name="T6" fmla="*/ 2 w 44"/>
                <a:gd name="T7" fmla="*/ 6 h 11"/>
                <a:gd name="T8" fmla="*/ 18 w 44"/>
                <a:gd name="T9" fmla="*/ 8 h 11"/>
                <a:gd name="T10" fmla="*/ 30 w 44"/>
                <a:gd name="T11" fmla="*/ 11 h 11"/>
                <a:gd name="T12" fmla="*/ 31 w 44"/>
                <a:gd name="T13" fmla="*/ 11 h 11"/>
                <a:gd name="T14" fmla="*/ 33 w 44"/>
                <a:gd name="T15" fmla="*/ 10 h 11"/>
                <a:gd name="T16" fmla="*/ 34 w 44"/>
                <a:gd name="T17" fmla="*/ 11 h 11"/>
                <a:gd name="T18" fmla="*/ 44 w 44"/>
                <a:gd name="T19" fmla="*/ 9 h 11"/>
                <a:gd name="T20" fmla="*/ 33 w 44"/>
                <a:gd name="T21" fmla="*/ 3 h 11"/>
                <a:gd name="T22" fmla="*/ 33 w 44"/>
                <a:gd name="T23" fmla="*/ 5 h 11"/>
                <a:gd name="T24" fmla="*/ 33 w 44"/>
                <a:gd name="T25" fmla="*/ 3 h 11"/>
                <a:gd name="T26" fmla="*/ 33 w 44"/>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11">
                  <a:moveTo>
                    <a:pt x="33" y="0"/>
                  </a:moveTo>
                  <a:cubicBezTo>
                    <a:pt x="5" y="0"/>
                    <a:pt x="5" y="0"/>
                    <a:pt x="5" y="0"/>
                  </a:cubicBezTo>
                  <a:cubicBezTo>
                    <a:pt x="3" y="1"/>
                    <a:pt x="1" y="1"/>
                    <a:pt x="1" y="2"/>
                  </a:cubicBezTo>
                  <a:cubicBezTo>
                    <a:pt x="0" y="3"/>
                    <a:pt x="1" y="6"/>
                    <a:pt x="2" y="6"/>
                  </a:cubicBezTo>
                  <a:cubicBezTo>
                    <a:pt x="7" y="7"/>
                    <a:pt x="13" y="7"/>
                    <a:pt x="18" y="8"/>
                  </a:cubicBezTo>
                  <a:cubicBezTo>
                    <a:pt x="22" y="9"/>
                    <a:pt x="26" y="11"/>
                    <a:pt x="30" y="11"/>
                  </a:cubicBezTo>
                  <a:cubicBezTo>
                    <a:pt x="31" y="11"/>
                    <a:pt x="31" y="11"/>
                    <a:pt x="31" y="11"/>
                  </a:cubicBezTo>
                  <a:cubicBezTo>
                    <a:pt x="33" y="11"/>
                    <a:pt x="33" y="11"/>
                    <a:pt x="33" y="10"/>
                  </a:cubicBezTo>
                  <a:cubicBezTo>
                    <a:pt x="33" y="10"/>
                    <a:pt x="34" y="11"/>
                    <a:pt x="34" y="11"/>
                  </a:cubicBezTo>
                  <a:cubicBezTo>
                    <a:pt x="37" y="10"/>
                    <a:pt x="41" y="11"/>
                    <a:pt x="44" y="9"/>
                  </a:cubicBezTo>
                  <a:cubicBezTo>
                    <a:pt x="44" y="5"/>
                    <a:pt x="35" y="6"/>
                    <a:pt x="33" y="3"/>
                  </a:cubicBezTo>
                  <a:cubicBezTo>
                    <a:pt x="33" y="4"/>
                    <a:pt x="33" y="4"/>
                    <a:pt x="33" y="5"/>
                  </a:cubicBezTo>
                  <a:cubicBezTo>
                    <a:pt x="33" y="4"/>
                    <a:pt x="33" y="3"/>
                    <a:pt x="33" y="3"/>
                  </a:cubicBezTo>
                  <a:cubicBezTo>
                    <a:pt x="33" y="2"/>
                    <a:pt x="33"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 name="Freeform 272">
              <a:extLst>
                <a:ext uri="{FF2B5EF4-FFF2-40B4-BE49-F238E27FC236}">
                  <a16:creationId xmlns:a16="http://schemas.microsoft.com/office/drawing/2014/main" id="{BAC21525-A34E-4E04-8673-666C10767A6C}"/>
                </a:ext>
              </a:extLst>
            </p:cNvPr>
            <p:cNvSpPr>
              <a:spLocks/>
            </p:cNvSpPr>
            <p:nvPr/>
          </p:nvSpPr>
          <p:spPr bwMode="auto">
            <a:xfrm>
              <a:off x="8124816" y="599309"/>
              <a:ext cx="60325" cy="14288"/>
            </a:xfrm>
            <a:custGeom>
              <a:avLst/>
              <a:gdLst>
                <a:gd name="T0" fmla="*/ 16 w 16"/>
                <a:gd name="T1" fmla="*/ 0 h 4"/>
                <a:gd name="T2" fmla="*/ 0 w 16"/>
                <a:gd name="T3" fmla="*/ 0 h 4"/>
                <a:gd name="T4" fmla="*/ 10 w 16"/>
                <a:gd name="T5" fmla="*/ 4 h 4"/>
                <a:gd name="T6" fmla="*/ 11 w 16"/>
                <a:gd name="T7" fmla="*/ 4 h 4"/>
                <a:gd name="T8" fmla="*/ 16 w 16"/>
                <a:gd name="T9" fmla="*/ 0 h 4"/>
              </a:gdLst>
              <a:ahLst/>
              <a:cxnLst>
                <a:cxn ang="0">
                  <a:pos x="T0" y="T1"/>
                </a:cxn>
                <a:cxn ang="0">
                  <a:pos x="T2" y="T3"/>
                </a:cxn>
                <a:cxn ang="0">
                  <a:pos x="T4" y="T5"/>
                </a:cxn>
                <a:cxn ang="0">
                  <a:pos x="T6" y="T7"/>
                </a:cxn>
                <a:cxn ang="0">
                  <a:pos x="T8" y="T9"/>
                </a:cxn>
              </a:cxnLst>
              <a:rect l="0" t="0" r="r" b="b"/>
              <a:pathLst>
                <a:path w="16" h="4">
                  <a:moveTo>
                    <a:pt x="16" y="0"/>
                  </a:moveTo>
                  <a:cubicBezTo>
                    <a:pt x="0" y="0"/>
                    <a:pt x="0" y="0"/>
                    <a:pt x="0" y="0"/>
                  </a:cubicBezTo>
                  <a:cubicBezTo>
                    <a:pt x="3" y="2"/>
                    <a:pt x="7" y="4"/>
                    <a:pt x="10" y="4"/>
                  </a:cubicBezTo>
                  <a:cubicBezTo>
                    <a:pt x="10" y="4"/>
                    <a:pt x="11" y="4"/>
                    <a:pt x="11" y="4"/>
                  </a:cubicBezTo>
                  <a:cubicBezTo>
                    <a:pt x="14" y="4"/>
                    <a:pt x="15"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 name="Freeform 273">
              <a:extLst>
                <a:ext uri="{FF2B5EF4-FFF2-40B4-BE49-F238E27FC236}">
                  <a16:creationId xmlns:a16="http://schemas.microsoft.com/office/drawing/2014/main" id="{C5ECF9A7-EF95-428B-91C7-206994E0BD90}"/>
                </a:ext>
              </a:extLst>
            </p:cNvPr>
            <p:cNvSpPr>
              <a:spLocks/>
            </p:cNvSpPr>
            <p:nvPr/>
          </p:nvSpPr>
          <p:spPr bwMode="auto">
            <a:xfrm>
              <a:off x="8305791" y="599309"/>
              <a:ext cx="88900" cy="30163"/>
            </a:xfrm>
            <a:custGeom>
              <a:avLst/>
              <a:gdLst>
                <a:gd name="T0" fmla="*/ 24 w 24"/>
                <a:gd name="T1" fmla="*/ 0 h 8"/>
                <a:gd name="T2" fmla="*/ 1 w 24"/>
                <a:gd name="T3" fmla="*/ 0 h 8"/>
                <a:gd name="T4" fmla="*/ 1 w 24"/>
                <a:gd name="T5" fmla="*/ 3 h 8"/>
                <a:gd name="T6" fmla="*/ 6 w 24"/>
                <a:gd name="T7" fmla="*/ 3 h 8"/>
                <a:gd name="T8" fmla="*/ 7 w 24"/>
                <a:gd name="T9" fmla="*/ 5 h 8"/>
                <a:gd name="T10" fmla="*/ 9 w 24"/>
                <a:gd name="T11" fmla="*/ 6 h 8"/>
                <a:gd name="T12" fmla="*/ 14 w 24"/>
                <a:gd name="T13" fmla="*/ 7 h 8"/>
                <a:gd name="T14" fmla="*/ 15 w 24"/>
                <a:gd name="T15" fmla="*/ 8 h 8"/>
                <a:gd name="T16" fmla="*/ 18 w 24"/>
                <a:gd name="T17" fmla="*/ 2 h 8"/>
                <a:gd name="T18" fmla="*/ 23 w 24"/>
                <a:gd name="T19" fmla="*/ 0 h 8"/>
                <a:gd name="T20" fmla="*/ 24 w 24"/>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
                  <a:moveTo>
                    <a:pt x="24" y="0"/>
                  </a:moveTo>
                  <a:cubicBezTo>
                    <a:pt x="1" y="0"/>
                    <a:pt x="1" y="0"/>
                    <a:pt x="1" y="0"/>
                  </a:cubicBezTo>
                  <a:cubicBezTo>
                    <a:pt x="1" y="1"/>
                    <a:pt x="0" y="2"/>
                    <a:pt x="1" y="3"/>
                  </a:cubicBezTo>
                  <a:cubicBezTo>
                    <a:pt x="2" y="3"/>
                    <a:pt x="4" y="3"/>
                    <a:pt x="6" y="3"/>
                  </a:cubicBezTo>
                  <a:cubicBezTo>
                    <a:pt x="8" y="4"/>
                    <a:pt x="6" y="5"/>
                    <a:pt x="7" y="5"/>
                  </a:cubicBezTo>
                  <a:cubicBezTo>
                    <a:pt x="7" y="6"/>
                    <a:pt x="8" y="6"/>
                    <a:pt x="9" y="6"/>
                  </a:cubicBezTo>
                  <a:cubicBezTo>
                    <a:pt x="10" y="7"/>
                    <a:pt x="12" y="7"/>
                    <a:pt x="14" y="7"/>
                  </a:cubicBezTo>
                  <a:cubicBezTo>
                    <a:pt x="15" y="8"/>
                    <a:pt x="15" y="8"/>
                    <a:pt x="15" y="8"/>
                  </a:cubicBezTo>
                  <a:cubicBezTo>
                    <a:pt x="18" y="8"/>
                    <a:pt x="17" y="4"/>
                    <a:pt x="18" y="2"/>
                  </a:cubicBezTo>
                  <a:cubicBezTo>
                    <a:pt x="19" y="1"/>
                    <a:pt x="22" y="1"/>
                    <a:pt x="23" y="0"/>
                  </a:cubicBez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 name="Freeform 274">
              <a:extLst>
                <a:ext uri="{FF2B5EF4-FFF2-40B4-BE49-F238E27FC236}">
                  <a16:creationId xmlns:a16="http://schemas.microsoft.com/office/drawing/2014/main" id="{E633F196-8551-4A56-9444-3AC08073A6CB}"/>
                </a:ext>
              </a:extLst>
            </p:cNvPr>
            <p:cNvSpPr>
              <a:spLocks/>
            </p:cNvSpPr>
            <p:nvPr/>
          </p:nvSpPr>
          <p:spPr bwMode="auto">
            <a:xfrm>
              <a:off x="8210541" y="599309"/>
              <a:ext cx="87313" cy="30163"/>
            </a:xfrm>
            <a:custGeom>
              <a:avLst/>
              <a:gdLst>
                <a:gd name="T0" fmla="*/ 23 w 23"/>
                <a:gd name="T1" fmla="*/ 0 h 8"/>
                <a:gd name="T2" fmla="*/ 3 w 23"/>
                <a:gd name="T3" fmla="*/ 0 h 8"/>
                <a:gd name="T4" fmla="*/ 2 w 23"/>
                <a:gd name="T5" fmla="*/ 2 h 8"/>
                <a:gd name="T6" fmla="*/ 5 w 23"/>
                <a:gd name="T7" fmla="*/ 6 h 8"/>
                <a:gd name="T8" fmla="*/ 13 w 23"/>
                <a:gd name="T9" fmla="*/ 7 h 8"/>
                <a:gd name="T10" fmla="*/ 17 w 23"/>
                <a:gd name="T11" fmla="*/ 8 h 8"/>
                <a:gd name="T12" fmla="*/ 20 w 23"/>
                <a:gd name="T13" fmla="*/ 7 h 8"/>
                <a:gd name="T14" fmla="*/ 23 w 23"/>
                <a:gd name="T15" fmla="*/ 1 h 8"/>
                <a:gd name="T16" fmla="*/ 23 w 23"/>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8">
                  <a:moveTo>
                    <a:pt x="23" y="0"/>
                  </a:moveTo>
                  <a:cubicBezTo>
                    <a:pt x="3" y="0"/>
                    <a:pt x="3" y="0"/>
                    <a:pt x="3" y="0"/>
                  </a:cubicBezTo>
                  <a:cubicBezTo>
                    <a:pt x="4" y="1"/>
                    <a:pt x="4" y="2"/>
                    <a:pt x="2" y="2"/>
                  </a:cubicBezTo>
                  <a:cubicBezTo>
                    <a:pt x="5" y="4"/>
                    <a:pt x="0" y="6"/>
                    <a:pt x="5" y="6"/>
                  </a:cubicBezTo>
                  <a:cubicBezTo>
                    <a:pt x="7" y="7"/>
                    <a:pt x="10" y="7"/>
                    <a:pt x="13" y="7"/>
                  </a:cubicBezTo>
                  <a:cubicBezTo>
                    <a:pt x="14" y="8"/>
                    <a:pt x="16" y="8"/>
                    <a:pt x="17" y="8"/>
                  </a:cubicBezTo>
                  <a:cubicBezTo>
                    <a:pt x="18" y="8"/>
                    <a:pt x="19" y="8"/>
                    <a:pt x="20" y="7"/>
                  </a:cubicBezTo>
                  <a:cubicBezTo>
                    <a:pt x="21" y="7"/>
                    <a:pt x="23" y="2"/>
                    <a:pt x="23" y="1"/>
                  </a:cubicBezTo>
                  <a:cubicBezTo>
                    <a:pt x="23"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 name="Freeform 275">
              <a:extLst>
                <a:ext uri="{FF2B5EF4-FFF2-40B4-BE49-F238E27FC236}">
                  <a16:creationId xmlns:a16="http://schemas.microsoft.com/office/drawing/2014/main" id="{293CA0E2-F051-4B63-9262-DCB9B2681089}"/>
                </a:ext>
              </a:extLst>
            </p:cNvPr>
            <p:cNvSpPr>
              <a:spLocks/>
            </p:cNvSpPr>
            <p:nvPr/>
          </p:nvSpPr>
          <p:spPr bwMode="auto">
            <a:xfrm>
              <a:off x="8526454" y="599309"/>
              <a:ext cx="49213" cy="14288"/>
            </a:xfrm>
            <a:custGeom>
              <a:avLst/>
              <a:gdLst>
                <a:gd name="T0" fmla="*/ 13 w 13"/>
                <a:gd name="T1" fmla="*/ 0 h 4"/>
                <a:gd name="T2" fmla="*/ 0 w 13"/>
                <a:gd name="T3" fmla="*/ 0 h 4"/>
                <a:gd name="T4" fmla="*/ 1 w 13"/>
                <a:gd name="T5" fmla="*/ 1 h 4"/>
                <a:gd name="T6" fmla="*/ 7 w 13"/>
                <a:gd name="T7" fmla="*/ 4 h 4"/>
                <a:gd name="T8" fmla="*/ 9 w 13"/>
                <a:gd name="T9" fmla="*/ 3 h 4"/>
                <a:gd name="T10" fmla="*/ 13 w 13"/>
                <a:gd name="T11" fmla="*/ 0 h 4"/>
              </a:gdLst>
              <a:ahLst/>
              <a:cxnLst>
                <a:cxn ang="0">
                  <a:pos x="T0" y="T1"/>
                </a:cxn>
                <a:cxn ang="0">
                  <a:pos x="T2" y="T3"/>
                </a:cxn>
                <a:cxn ang="0">
                  <a:pos x="T4" y="T5"/>
                </a:cxn>
                <a:cxn ang="0">
                  <a:pos x="T6" y="T7"/>
                </a:cxn>
                <a:cxn ang="0">
                  <a:pos x="T8" y="T9"/>
                </a:cxn>
                <a:cxn ang="0">
                  <a:pos x="T10" y="T11"/>
                </a:cxn>
              </a:cxnLst>
              <a:rect l="0" t="0" r="r" b="b"/>
              <a:pathLst>
                <a:path w="13" h="4">
                  <a:moveTo>
                    <a:pt x="13" y="0"/>
                  </a:moveTo>
                  <a:cubicBezTo>
                    <a:pt x="0" y="0"/>
                    <a:pt x="0" y="0"/>
                    <a:pt x="0" y="0"/>
                  </a:cubicBezTo>
                  <a:cubicBezTo>
                    <a:pt x="1" y="1"/>
                    <a:pt x="1" y="1"/>
                    <a:pt x="1" y="1"/>
                  </a:cubicBezTo>
                  <a:cubicBezTo>
                    <a:pt x="3" y="2"/>
                    <a:pt x="5" y="4"/>
                    <a:pt x="7" y="4"/>
                  </a:cubicBezTo>
                  <a:cubicBezTo>
                    <a:pt x="8" y="4"/>
                    <a:pt x="8" y="3"/>
                    <a:pt x="9" y="3"/>
                  </a:cubicBezTo>
                  <a:cubicBezTo>
                    <a:pt x="10" y="2"/>
                    <a:pt x="11"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3" name="Freeform 276">
              <a:extLst>
                <a:ext uri="{FF2B5EF4-FFF2-40B4-BE49-F238E27FC236}">
                  <a16:creationId xmlns:a16="http://schemas.microsoft.com/office/drawing/2014/main" id="{6DCEC4AA-E58F-4A43-AFE0-F31BFCEEAE9F}"/>
                </a:ext>
              </a:extLst>
            </p:cNvPr>
            <p:cNvSpPr>
              <a:spLocks/>
            </p:cNvSpPr>
            <p:nvPr/>
          </p:nvSpPr>
          <p:spPr bwMode="auto">
            <a:xfrm>
              <a:off x="8193079" y="599309"/>
              <a:ext cx="17463" cy="19050"/>
            </a:xfrm>
            <a:custGeom>
              <a:avLst/>
              <a:gdLst>
                <a:gd name="T0" fmla="*/ 5 w 5"/>
                <a:gd name="T1" fmla="*/ 0 h 5"/>
                <a:gd name="T2" fmla="*/ 2 w 5"/>
                <a:gd name="T3" fmla="*/ 0 h 5"/>
                <a:gd name="T4" fmla="*/ 2 w 5"/>
                <a:gd name="T5" fmla="*/ 2 h 5"/>
                <a:gd name="T6" fmla="*/ 2 w 5"/>
                <a:gd name="T7" fmla="*/ 5 h 5"/>
                <a:gd name="T8" fmla="*/ 2 w 5"/>
                <a:gd name="T9" fmla="*/ 5 h 5"/>
                <a:gd name="T10" fmla="*/ 5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5" y="0"/>
                  </a:moveTo>
                  <a:cubicBezTo>
                    <a:pt x="2" y="0"/>
                    <a:pt x="2" y="0"/>
                    <a:pt x="2" y="0"/>
                  </a:cubicBezTo>
                  <a:cubicBezTo>
                    <a:pt x="2" y="1"/>
                    <a:pt x="2" y="1"/>
                    <a:pt x="2" y="2"/>
                  </a:cubicBezTo>
                  <a:cubicBezTo>
                    <a:pt x="1" y="3"/>
                    <a:pt x="0" y="5"/>
                    <a:pt x="2" y="5"/>
                  </a:cubicBezTo>
                  <a:cubicBezTo>
                    <a:pt x="2" y="5"/>
                    <a:pt x="2" y="5"/>
                    <a:pt x="2" y="5"/>
                  </a:cubicBezTo>
                  <a:cubicBezTo>
                    <a:pt x="3" y="5"/>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4" name="Freeform 277">
              <a:extLst>
                <a:ext uri="{FF2B5EF4-FFF2-40B4-BE49-F238E27FC236}">
                  <a16:creationId xmlns:a16="http://schemas.microsoft.com/office/drawing/2014/main" id="{ED2CFA0F-DF2A-4BF0-8E1E-AA7965A37827}"/>
                </a:ext>
              </a:extLst>
            </p:cNvPr>
            <p:cNvSpPr>
              <a:spLocks/>
            </p:cNvSpPr>
            <p:nvPr/>
          </p:nvSpPr>
          <p:spPr bwMode="auto">
            <a:xfrm>
              <a:off x="8861416" y="599309"/>
              <a:ext cx="187325" cy="68263"/>
            </a:xfrm>
            <a:custGeom>
              <a:avLst/>
              <a:gdLst>
                <a:gd name="T0" fmla="*/ 50 w 50"/>
                <a:gd name="T1" fmla="*/ 0 h 18"/>
                <a:gd name="T2" fmla="*/ 0 w 50"/>
                <a:gd name="T3" fmla="*/ 0 h 18"/>
                <a:gd name="T4" fmla="*/ 4 w 50"/>
                <a:gd name="T5" fmla="*/ 4 h 18"/>
                <a:gd name="T6" fmla="*/ 6 w 50"/>
                <a:gd name="T7" fmla="*/ 4 h 18"/>
                <a:gd name="T8" fmla="*/ 5 w 50"/>
                <a:gd name="T9" fmla="*/ 8 h 18"/>
                <a:gd name="T10" fmla="*/ 0 w 50"/>
                <a:gd name="T11" fmla="*/ 18 h 18"/>
                <a:gd name="T12" fmla="*/ 21 w 50"/>
                <a:gd name="T13" fmla="*/ 14 h 18"/>
                <a:gd name="T14" fmla="*/ 34 w 50"/>
                <a:gd name="T15" fmla="*/ 12 h 18"/>
                <a:gd name="T16" fmla="*/ 40 w 50"/>
                <a:gd name="T17" fmla="*/ 10 h 18"/>
                <a:gd name="T18" fmla="*/ 50 w 50"/>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8">
                  <a:moveTo>
                    <a:pt x="50" y="0"/>
                  </a:moveTo>
                  <a:cubicBezTo>
                    <a:pt x="0" y="0"/>
                    <a:pt x="0" y="0"/>
                    <a:pt x="0" y="0"/>
                  </a:cubicBezTo>
                  <a:cubicBezTo>
                    <a:pt x="2" y="1"/>
                    <a:pt x="4" y="3"/>
                    <a:pt x="4" y="4"/>
                  </a:cubicBezTo>
                  <a:cubicBezTo>
                    <a:pt x="6" y="4"/>
                    <a:pt x="6" y="4"/>
                    <a:pt x="6" y="4"/>
                  </a:cubicBezTo>
                  <a:cubicBezTo>
                    <a:pt x="6" y="5"/>
                    <a:pt x="5" y="7"/>
                    <a:pt x="5" y="8"/>
                  </a:cubicBezTo>
                  <a:cubicBezTo>
                    <a:pt x="3" y="11"/>
                    <a:pt x="2" y="15"/>
                    <a:pt x="0" y="18"/>
                  </a:cubicBezTo>
                  <a:cubicBezTo>
                    <a:pt x="7" y="17"/>
                    <a:pt x="14" y="16"/>
                    <a:pt x="21" y="14"/>
                  </a:cubicBezTo>
                  <a:cubicBezTo>
                    <a:pt x="25" y="13"/>
                    <a:pt x="29" y="12"/>
                    <a:pt x="34" y="12"/>
                  </a:cubicBezTo>
                  <a:cubicBezTo>
                    <a:pt x="36" y="11"/>
                    <a:pt x="39" y="11"/>
                    <a:pt x="40" y="10"/>
                  </a:cubicBezTo>
                  <a:cubicBezTo>
                    <a:pt x="44" y="7"/>
                    <a:pt x="47" y="4"/>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5" name="Freeform 278">
              <a:extLst>
                <a:ext uri="{FF2B5EF4-FFF2-40B4-BE49-F238E27FC236}">
                  <a16:creationId xmlns:a16="http://schemas.microsoft.com/office/drawing/2014/main" id="{7A8F0AAA-A995-4706-8282-9EC71C866CF5}"/>
                </a:ext>
              </a:extLst>
            </p:cNvPr>
            <p:cNvSpPr>
              <a:spLocks/>
            </p:cNvSpPr>
            <p:nvPr/>
          </p:nvSpPr>
          <p:spPr bwMode="auto">
            <a:xfrm>
              <a:off x="8609004" y="599309"/>
              <a:ext cx="57150" cy="19050"/>
            </a:xfrm>
            <a:custGeom>
              <a:avLst/>
              <a:gdLst>
                <a:gd name="T0" fmla="*/ 15 w 15"/>
                <a:gd name="T1" fmla="*/ 0 h 5"/>
                <a:gd name="T2" fmla="*/ 0 w 15"/>
                <a:gd name="T3" fmla="*/ 0 h 5"/>
                <a:gd name="T4" fmla="*/ 7 w 15"/>
                <a:gd name="T5" fmla="*/ 4 h 5"/>
                <a:gd name="T6" fmla="*/ 12 w 15"/>
                <a:gd name="T7" fmla="*/ 5 h 5"/>
                <a:gd name="T8" fmla="*/ 15 w 15"/>
                <a:gd name="T9" fmla="*/ 1 h 5"/>
                <a:gd name="T10" fmla="*/ 15 w 15"/>
                <a:gd name="T11" fmla="*/ 0 h 5"/>
              </a:gdLst>
              <a:ahLst/>
              <a:cxnLst>
                <a:cxn ang="0">
                  <a:pos x="T0" y="T1"/>
                </a:cxn>
                <a:cxn ang="0">
                  <a:pos x="T2" y="T3"/>
                </a:cxn>
                <a:cxn ang="0">
                  <a:pos x="T4" y="T5"/>
                </a:cxn>
                <a:cxn ang="0">
                  <a:pos x="T6" y="T7"/>
                </a:cxn>
                <a:cxn ang="0">
                  <a:pos x="T8" y="T9"/>
                </a:cxn>
                <a:cxn ang="0">
                  <a:pos x="T10" y="T11"/>
                </a:cxn>
              </a:cxnLst>
              <a:rect l="0" t="0" r="r" b="b"/>
              <a:pathLst>
                <a:path w="15" h="5">
                  <a:moveTo>
                    <a:pt x="15" y="0"/>
                  </a:moveTo>
                  <a:cubicBezTo>
                    <a:pt x="0" y="0"/>
                    <a:pt x="0" y="0"/>
                    <a:pt x="0" y="0"/>
                  </a:cubicBezTo>
                  <a:cubicBezTo>
                    <a:pt x="2" y="2"/>
                    <a:pt x="5" y="3"/>
                    <a:pt x="7" y="4"/>
                  </a:cubicBezTo>
                  <a:cubicBezTo>
                    <a:pt x="9" y="5"/>
                    <a:pt x="10" y="5"/>
                    <a:pt x="12" y="5"/>
                  </a:cubicBezTo>
                  <a:cubicBezTo>
                    <a:pt x="13" y="5"/>
                    <a:pt x="15" y="4"/>
                    <a:pt x="15" y="1"/>
                  </a:cubicBezTo>
                  <a:cubicBezTo>
                    <a:pt x="15" y="1"/>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6" name="Freeform 279">
              <a:extLst>
                <a:ext uri="{FF2B5EF4-FFF2-40B4-BE49-F238E27FC236}">
                  <a16:creationId xmlns:a16="http://schemas.microsoft.com/office/drawing/2014/main" id="{53A44151-0CED-47DB-99EA-BAB72D2742A6}"/>
                </a:ext>
              </a:extLst>
            </p:cNvPr>
            <p:cNvSpPr>
              <a:spLocks/>
            </p:cNvSpPr>
            <p:nvPr/>
          </p:nvSpPr>
          <p:spPr bwMode="auto">
            <a:xfrm>
              <a:off x="9070966" y="599309"/>
              <a:ext cx="38100" cy="11113"/>
            </a:xfrm>
            <a:custGeom>
              <a:avLst/>
              <a:gdLst>
                <a:gd name="T0" fmla="*/ 10 w 10"/>
                <a:gd name="T1" fmla="*/ 0 h 3"/>
                <a:gd name="T2" fmla="*/ 0 w 10"/>
                <a:gd name="T3" fmla="*/ 0 h 3"/>
                <a:gd name="T4" fmla="*/ 3 w 10"/>
                <a:gd name="T5" fmla="*/ 3 h 3"/>
                <a:gd name="T6" fmla="*/ 4 w 10"/>
                <a:gd name="T7" fmla="*/ 3 h 3"/>
                <a:gd name="T8" fmla="*/ 10 w 10"/>
                <a:gd name="T9" fmla="*/ 0 h 3"/>
              </a:gdLst>
              <a:ahLst/>
              <a:cxnLst>
                <a:cxn ang="0">
                  <a:pos x="T0" y="T1"/>
                </a:cxn>
                <a:cxn ang="0">
                  <a:pos x="T2" y="T3"/>
                </a:cxn>
                <a:cxn ang="0">
                  <a:pos x="T4" y="T5"/>
                </a:cxn>
                <a:cxn ang="0">
                  <a:pos x="T6" y="T7"/>
                </a:cxn>
                <a:cxn ang="0">
                  <a:pos x="T8" y="T9"/>
                </a:cxn>
              </a:cxnLst>
              <a:rect l="0" t="0" r="r" b="b"/>
              <a:pathLst>
                <a:path w="10" h="3">
                  <a:moveTo>
                    <a:pt x="10" y="0"/>
                  </a:moveTo>
                  <a:cubicBezTo>
                    <a:pt x="0" y="0"/>
                    <a:pt x="0" y="0"/>
                    <a:pt x="0" y="0"/>
                  </a:cubicBezTo>
                  <a:cubicBezTo>
                    <a:pt x="1" y="1"/>
                    <a:pt x="2" y="3"/>
                    <a:pt x="3" y="3"/>
                  </a:cubicBezTo>
                  <a:cubicBezTo>
                    <a:pt x="3" y="3"/>
                    <a:pt x="4" y="3"/>
                    <a:pt x="4" y="3"/>
                  </a:cubicBezTo>
                  <a:cubicBezTo>
                    <a:pt x="5" y="2"/>
                    <a:pt x="8" y="1"/>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7" name="Freeform 280">
              <a:extLst>
                <a:ext uri="{FF2B5EF4-FFF2-40B4-BE49-F238E27FC236}">
                  <a16:creationId xmlns:a16="http://schemas.microsoft.com/office/drawing/2014/main" id="{ED4097F8-E1EC-4C0E-B616-559F865D4DCD}"/>
                </a:ext>
              </a:extLst>
            </p:cNvPr>
            <p:cNvSpPr>
              <a:spLocks/>
            </p:cNvSpPr>
            <p:nvPr/>
          </p:nvSpPr>
          <p:spPr bwMode="auto">
            <a:xfrm>
              <a:off x="8778866" y="599309"/>
              <a:ext cx="55563" cy="7938"/>
            </a:xfrm>
            <a:custGeom>
              <a:avLst/>
              <a:gdLst>
                <a:gd name="T0" fmla="*/ 15 w 15"/>
                <a:gd name="T1" fmla="*/ 0 h 2"/>
                <a:gd name="T2" fmla="*/ 0 w 15"/>
                <a:gd name="T3" fmla="*/ 0 h 2"/>
                <a:gd name="T4" fmla="*/ 10 w 15"/>
                <a:gd name="T5" fmla="*/ 2 h 2"/>
                <a:gd name="T6" fmla="*/ 12 w 15"/>
                <a:gd name="T7" fmla="*/ 2 h 2"/>
                <a:gd name="T8" fmla="*/ 15 w 15"/>
                <a:gd name="T9" fmla="*/ 0 h 2"/>
              </a:gdLst>
              <a:ahLst/>
              <a:cxnLst>
                <a:cxn ang="0">
                  <a:pos x="T0" y="T1"/>
                </a:cxn>
                <a:cxn ang="0">
                  <a:pos x="T2" y="T3"/>
                </a:cxn>
                <a:cxn ang="0">
                  <a:pos x="T4" y="T5"/>
                </a:cxn>
                <a:cxn ang="0">
                  <a:pos x="T6" y="T7"/>
                </a:cxn>
                <a:cxn ang="0">
                  <a:pos x="T8" y="T9"/>
                </a:cxn>
              </a:cxnLst>
              <a:rect l="0" t="0" r="r" b="b"/>
              <a:pathLst>
                <a:path w="15" h="2">
                  <a:moveTo>
                    <a:pt x="15" y="0"/>
                  </a:moveTo>
                  <a:cubicBezTo>
                    <a:pt x="0" y="0"/>
                    <a:pt x="0" y="0"/>
                    <a:pt x="0" y="0"/>
                  </a:cubicBezTo>
                  <a:cubicBezTo>
                    <a:pt x="3" y="1"/>
                    <a:pt x="7" y="2"/>
                    <a:pt x="10" y="2"/>
                  </a:cubicBezTo>
                  <a:cubicBezTo>
                    <a:pt x="11" y="2"/>
                    <a:pt x="11" y="2"/>
                    <a:pt x="12" y="2"/>
                  </a:cubicBezTo>
                  <a:cubicBezTo>
                    <a:pt x="13" y="2"/>
                    <a:pt x="14"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8" name="Freeform 281">
              <a:extLst>
                <a:ext uri="{FF2B5EF4-FFF2-40B4-BE49-F238E27FC236}">
                  <a16:creationId xmlns:a16="http://schemas.microsoft.com/office/drawing/2014/main" id="{65EB6708-73A9-45A0-A141-CE14FF4B1BDC}"/>
                </a:ext>
              </a:extLst>
            </p:cNvPr>
            <p:cNvSpPr>
              <a:spLocks/>
            </p:cNvSpPr>
            <p:nvPr/>
          </p:nvSpPr>
          <p:spPr bwMode="auto">
            <a:xfrm>
              <a:off x="8683616" y="599309"/>
              <a:ext cx="82550" cy="22225"/>
            </a:xfrm>
            <a:custGeom>
              <a:avLst/>
              <a:gdLst>
                <a:gd name="T0" fmla="*/ 22 w 22"/>
                <a:gd name="T1" fmla="*/ 0 h 6"/>
                <a:gd name="T2" fmla="*/ 0 w 22"/>
                <a:gd name="T3" fmla="*/ 0 h 6"/>
                <a:gd name="T4" fmla="*/ 0 w 22"/>
                <a:gd name="T5" fmla="*/ 3 h 6"/>
                <a:gd name="T6" fmla="*/ 4 w 22"/>
                <a:gd name="T7" fmla="*/ 5 h 6"/>
                <a:gd name="T8" fmla="*/ 9 w 22"/>
                <a:gd name="T9" fmla="*/ 6 h 6"/>
                <a:gd name="T10" fmla="*/ 9 w 22"/>
                <a:gd name="T11" fmla="*/ 6 h 6"/>
                <a:gd name="T12" fmla="*/ 15 w 22"/>
                <a:gd name="T13" fmla="*/ 6 h 6"/>
                <a:gd name="T14" fmla="*/ 15 w 22"/>
                <a:gd name="T15" fmla="*/ 6 h 6"/>
                <a:gd name="T16" fmla="*/ 17 w 22"/>
                <a:gd name="T17" fmla="*/ 6 h 6"/>
                <a:gd name="T18" fmla="*/ 20 w 22"/>
                <a:gd name="T19" fmla="*/ 5 h 6"/>
                <a:gd name="T20" fmla="*/ 22 w 22"/>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6">
                  <a:moveTo>
                    <a:pt x="22" y="0"/>
                  </a:moveTo>
                  <a:cubicBezTo>
                    <a:pt x="0" y="0"/>
                    <a:pt x="0" y="0"/>
                    <a:pt x="0" y="0"/>
                  </a:cubicBezTo>
                  <a:cubicBezTo>
                    <a:pt x="0" y="1"/>
                    <a:pt x="0" y="2"/>
                    <a:pt x="0" y="3"/>
                  </a:cubicBezTo>
                  <a:cubicBezTo>
                    <a:pt x="1" y="4"/>
                    <a:pt x="3" y="4"/>
                    <a:pt x="4" y="5"/>
                  </a:cubicBezTo>
                  <a:cubicBezTo>
                    <a:pt x="6" y="5"/>
                    <a:pt x="7" y="6"/>
                    <a:pt x="9" y="6"/>
                  </a:cubicBezTo>
                  <a:cubicBezTo>
                    <a:pt x="9" y="6"/>
                    <a:pt x="9" y="6"/>
                    <a:pt x="9" y="6"/>
                  </a:cubicBezTo>
                  <a:cubicBezTo>
                    <a:pt x="11" y="6"/>
                    <a:pt x="13" y="6"/>
                    <a:pt x="15" y="6"/>
                  </a:cubicBezTo>
                  <a:cubicBezTo>
                    <a:pt x="15" y="6"/>
                    <a:pt x="15" y="6"/>
                    <a:pt x="15" y="6"/>
                  </a:cubicBezTo>
                  <a:cubicBezTo>
                    <a:pt x="16" y="6"/>
                    <a:pt x="17" y="6"/>
                    <a:pt x="17" y="6"/>
                  </a:cubicBezTo>
                  <a:cubicBezTo>
                    <a:pt x="18" y="6"/>
                    <a:pt x="19" y="5"/>
                    <a:pt x="20" y="5"/>
                  </a:cubicBezTo>
                  <a:cubicBezTo>
                    <a:pt x="22" y="4"/>
                    <a:pt x="22" y="2"/>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9" name="Freeform 282">
              <a:extLst>
                <a:ext uri="{FF2B5EF4-FFF2-40B4-BE49-F238E27FC236}">
                  <a16:creationId xmlns:a16="http://schemas.microsoft.com/office/drawing/2014/main" id="{5CE27746-E051-4665-979C-914E485721F1}"/>
                </a:ext>
              </a:extLst>
            </p:cNvPr>
            <p:cNvSpPr>
              <a:spLocks/>
            </p:cNvSpPr>
            <p:nvPr/>
          </p:nvSpPr>
          <p:spPr bwMode="auto">
            <a:xfrm>
              <a:off x="7442191" y="794572"/>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0" name="Freeform 283">
              <a:extLst>
                <a:ext uri="{FF2B5EF4-FFF2-40B4-BE49-F238E27FC236}">
                  <a16:creationId xmlns:a16="http://schemas.microsoft.com/office/drawing/2014/main" id="{4A2E41CE-B8FB-43D6-AA16-E74C02AC5A0A}"/>
                </a:ext>
              </a:extLst>
            </p:cNvPr>
            <p:cNvSpPr>
              <a:spLocks/>
            </p:cNvSpPr>
            <p:nvPr/>
          </p:nvSpPr>
          <p:spPr bwMode="auto">
            <a:xfrm>
              <a:off x="6950066" y="599309"/>
              <a:ext cx="498475" cy="274638"/>
            </a:xfrm>
            <a:custGeom>
              <a:avLst/>
              <a:gdLst>
                <a:gd name="T0" fmla="*/ 96 w 133"/>
                <a:gd name="T1" fmla="*/ 4 h 73"/>
                <a:gd name="T2" fmla="*/ 90 w 133"/>
                <a:gd name="T3" fmla="*/ 5 h 73"/>
                <a:gd name="T4" fmla="*/ 87 w 133"/>
                <a:gd name="T5" fmla="*/ 0 h 73"/>
                <a:gd name="T6" fmla="*/ 49 w 133"/>
                <a:gd name="T7" fmla="*/ 0 h 73"/>
                <a:gd name="T8" fmla="*/ 60 w 133"/>
                <a:gd name="T9" fmla="*/ 7 h 73"/>
                <a:gd name="T10" fmla="*/ 65 w 133"/>
                <a:gd name="T11" fmla="*/ 7 h 73"/>
                <a:gd name="T12" fmla="*/ 69 w 133"/>
                <a:gd name="T13" fmla="*/ 10 h 73"/>
                <a:gd name="T14" fmla="*/ 68 w 133"/>
                <a:gd name="T15" fmla="*/ 12 h 73"/>
                <a:gd name="T16" fmla="*/ 58 w 133"/>
                <a:gd name="T17" fmla="*/ 12 h 73"/>
                <a:gd name="T18" fmla="*/ 73 w 133"/>
                <a:gd name="T19" fmla="*/ 16 h 73"/>
                <a:gd name="T20" fmla="*/ 83 w 133"/>
                <a:gd name="T21" fmla="*/ 17 h 73"/>
                <a:gd name="T22" fmla="*/ 68 w 133"/>
                <a:gd name="T23" fmla="*/ 17 h 73"/>
                <a:gd name="T24" fmla="*/ 73 w 133"/>
                <a:gd name="T25" fmla="*/ 27 h 73"/>
                <a:gd name="T26" fmla="*/ 76 w 133"/>
                <a:gd name="T27" fmla="*/ 28 h 73"/>
                <a:gd name="T28" fmla="*/ 56 w 133"/>
                <a:gd name="T29" fmla="*/ 20 h 73"/>
                <a:gd name="T30" fmla="*/ 55 w 133"/>
                <a:gd name="T31" fmla="*/ 19 h 73"/>
                <a:gd name="T32" fmla="*/ 30 w 133"/>
                <a:gd name="T33" fmla="*/ 3 h 73"/>
                <a:gd name="T34" fmla="*/ 24 w 133"/>
                <a:gd name="T35" fmla="*/ 7 h 73"/>
                <a:gd name="T36" fmla="*/ 20 w 133"/>
                <a:gd name="T37" fmla="*/ 13 h 73"/>
                <a:gd name="T38" fmla="*/ 23 w 133"/>
                <a:gd name="T39" fmla="*/ 14 h 73"/>
                <a:gd name="T40" fmla="*/ 33 w 133"/>
                <a:gd name="T41" fmla="*/ 13 h 73"/>
                <a:gd name="T42" fmla="*/ 30 w 133"/>
                <a:gd name="T43" fmla="*/ 25 h 73"/>
                <a:gd name="T44" fmla="*/ 35 w 133"/>
                <a:gd name="T45" fmla="*/ 32 h 73"/>
                <a:gd name="T46" fmla="*/ 48 w 133"/>
                <a:gd name="T47" fmla="*/ 34 h 73"/>
                <a:gd name="T48" fmla="*/ 23 w 133"/>
                <a:gd name="T49" fmla="*/ 30 h 73"/>
                <a:gd name="T50" fmla="*/ 21 w 133"/>
                <a:gd name="T51" fmla="*/ 35 h 73"/>
                <a:gd name="T52" fmla="*/ 13 w 133"/>
                <a:gd name="T53" fmla="*/ 37 h 73"/>
                <a:gd name="T54" fmla="*/ 10 w 133"/>
                <a:gd name="T55" fmla="*/ 48 h 73"/>
                <a:gd name="T56" fmla="*/ 22 w 133"/>
                <a:gd name="T57" fmla="*/ 46 h 73"/>
                <a:gd name="T58" fmla="*/ 36 w 133"/>
                <a:gd name="T59" fmla="*/ 43 h 73"/>
                <a:gd name="T60" fmla="*/ 39 w 133"/>
                <a:gd name="T61" fmla="*/ 44 h 73"/>
                <a:gd name="T62" fmla="*/ 49 w 133"/>
                <a:gd name="T63" fmla="*/ 43 h 73"/>
                <a:gd name="T64" fmla="*/ 79 w 133"/>
                <a:gd name="T65" fmla="*/ 39 h 73"/>
                <a:gd name="T66" fmla="*/ 91 w 133"/>
                <a:gd name="T67" fmla="*/ 38 h 73"/>
                <a:gd name="T68" fmla="*/ 85 w 133"/>
                <a:gd name="T69" fmla="*/ 40 h 73"/>
                <a:gd name="T70" fmla="*/ 77 w 133"/>
                <a:gd name="T71" fmla="*/ 43 h 73"/>
                <a:gd name="T72" fmla="*/ 70 w 133"/>
                <a:gd name="T73" fmla="*/ 48 h 73"/>
                <a:gd name="T74" fmla="*/ 62 w 133"/>
                <a:gd name="T75" fmla="*/ 51 h 73"/>
                <a:gd name="T76" fmla="*/ 52 w 133"/>
                <a:gd name="T77" fmla="*/ 55 h 73"/>
                <a:gd name="T78" fmla="*/ 62 w 133"/>
                <a:gd name="T79" fmla="*/ 57 h 73"/>
                <a:gd name="T80" fmla="*/ 60 w 133"/>
                <a:gd name="T81" fmla="*/ 70 h 73"/>
                <a:gd name="T82" fmla="*/ 79 w 133"/>
                <a:gd name="T83" fmla="*/ 73 h 73"/>
                <a:gd name="T84" fmla="*/ 114 w 133"/>
                <a:gd name="T85" fmla="*/ 71 h 73"/>
                <a:gd name="T86" fmla="*/ 119 w 133"/>
                <a:gd name="T87" fmla="*/ 64 h 73"/>
                <a:gd name="T88" fmla="*/ 121 w 133"/>
                <a:gd name="T89" fmla="*/ 63 h 73"/>
                <a:gd name="T90" fmla="*/ 122 w 133"/>
                <a:gd name="T91" fmla="*/ 45 h 73"/>
                <a:gd name="T92" fmla="*/ 129 w 133"/>
                <a:gd name="T93" fmla="*/ 39 h 73"/>
                <a:gd name="T94" fmla="*/ 125 w 133"/>
                <a:gd name="T95"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73">
                  <a:moveTo>
                    <a:pt x="120" y="0"/>
                  </a:moveTo>
                  <a:cubicBezTo>
                    <a:pt x="93" y="0"/>
                    <a:pt x="93" y="0"/>
                    <a:pt x="93" y="0"/>
                  </a:cubicBezTo>
                  <a:cubicBezTo>
                    <a:pt x="94" y="1"/>
                    <a:pt x="95" y="2"/>
                    <a:pt x="95" y="3"/>
                  </a:cubicBezTo>
                  <a:cubicBezTo>
                    <a:pt x="96" y="3"/>
                    <a:pt x="96" y="4"/>
                    <a:pt x="96" y="4"/>
                  </a:cubicBezTo>
                  <a:cubicBezTo>
                    <a:pt x="95" y="4"/>
                    <a:pt x="93" y="2"/>
                    <a:pt x="93" y="2"/>
                  </a:cubicBezTo>
                  <a:cubicBezTo>
                    <a:pt x="93" y="2"/>
                    <a:pt x="93" y="2"/>
                    <a:pt x="93" y="2"/>
                  </a:cubicBezTo>
                  <a:cubicBezTo>
                    <a:pt x="92" y="2"/>
                    <a:pt x="91" y="5"/>
                    <a:pt x="90" y="5"/>
                  </a:cubicBezTo>
                  <a:cubicBezTo>
                    <a:pt x="90" y="5"/>
                    <a:pt x="90" y="5"/>
                    <a:pt x="90" y="5"/>
                  </a:cubicBezTo>
                  <a:cubicBezTo>
                    <a:pt x="90" y="5"/>
                    <a:pt x="89" y="4"/>
                    <a:pt x="88" y="4"/>
                  </a:cubicBezTo>
                  <a:cubicBezTo>
                    <a:pt x="86" y="2"/>
                    <a:pt x="89" y="1"/>
                    <a:pt x="89" y="1"/>
                  </a:cubicBezTo>
                  <a:cubicBezTo>
                    <a:pt x="88" y="0"/>
                    <a:pt x="88" y="0"/>
                    <a:pt x="88" y="0"/>
                  </a:cubicBezTo>
                  <a:cubicBezTo>
                    <a:pt x="88" y="0"/>
                    <a:pt x="88" y="0"/>
                    <a:pt x="87" y="0"/>
                  </a:cubicBezTo>
                  <a:cubicBezTo>
                    <a:pt x="87" y="0"/>
                    <a:pt x="87" y="1"/>
                    <a:pt x="86" y="1"/>
                  </a:cubicBezTo>
                  <a:cubicBezTo>
                    <a:pt x="86" y="1"/>
                    <a:pt x="86" y="1"/>
                    <a:pt x="86" y="0"/>
                  </a:cubicBezTo>
                  <a:cubicBezTo>
                    <a:pt x="85" y="0"/>
                    <a:pt x="85" y="0"/>
                    <a:pt x="85" y="0"/>
                  </a:cubicBezTo>
                  <a:cubicBezTo>
                    <a:pt x="49" y="0"/>
                    <a:pt x="49" y="0"/>
                    <a:pt x="49" y="0"/>
                  </a:cubicBezTo>
                  <a:cubicBezTo>
                    <a:pt x="48" y="0"/>
                    <a:pt x="46" y="1"/>
                    <a:pt x="48" y="2"/>
                  </a:cubicBezTo>
                  <a:cubicBezTo>
                    <a:pt x="49" y="3"/>
                    <a:pt x="51" y="6"/>
                    <a:pt x="53" y="6"/>
                  </a:cubicBezTo>
                  <a:cubicBezTo>
                    <a:pt x="54" y="7"/>
                    <a:pt x="55" y="7"/>
                    <a:pt x="56" y="7"/>
                  </a:cubicBezTo>
                  <a:cubicBezTo>
                    <a:pt x="57" y="7"/>
                    <a:pt x="59" y="7"/>
                    <a:pt x="60" y="7"/>
                  </a:cubicBezTo>
                  <a:cubicBezTo>
                    <a:pt x="60" y="6"/>
                    <a:pt x="61" y="6"/>
                    <a:pt x="62" y="6"/>
                  </a:cubicBezTo>
                  <a:cubicBezTo>
                    <a:pt x="62" y="6"/>
                    <a:pt x="62" y="6"/>
                    <a:pt x="63" y="6"/>
                  </a:cubicBezTo>
                  <a:cubicBezTo>
                    <a:pt x="63" y="6"/>
                    <a:pt x="64" y="7"/>
                    <a:pt x="64" y="7"/>
                  </a:cubicBezTo>
                  <a:cubicBezTo>
                    <a:pt x="64" y="7"/>
                    <a:pt x="64" y="7"/>
                    <a:pt x="65" y="7"/>
                  </a:cubicBezTo>
                  <a:cubicBezTo>
                    <a:pt x="65" y="7"/>
                    <a:pt x="65" y="7"/>
                    <a:pt x="65" y="7"/>
                  </a:cubicBezTo>
                  <a:cubicBezTo>
                    <a:pt x="66" y="7"/>
                    <a:pt x="65" y="7"/>
                    <a:pt x="66" y="7"/>
                  </a:cubicBezTo>
                  <a:cubicBezTo>
                    <a:pt x="67" y="8"/>
                    <a:pt x="69" y="9"/>
                    <a:pt x="71" y="9"/>
                  </a:cubicBezTo>
                  <a:cubicBezTo>
                    <a:pt x="70" y="10"/>
                    <a:pt x="70" y="10"/>
                    <a:pt x="69" y="10"/>
                  </a:cubicBezTo>
                  <a:cubicBezTo>
                    <a:pt x="70" y="11"/>
                    <a:pt x="72" y="11"/>
                    <a:pt x="73" y="11"/>
                  </a:cubicBezTo>
                  <a:cubicBezTo>
                    <a:pt x="72" y="11"/>
                    <a:pt x="72" y="11"/>
                    <a:pt x="71" y="11"/>
                  </a:cubicBezTo>
                  <a:cubicBezTo>
                    <a:pt x="69" y="11"/>
                    <a:pt x="67" y="10"/>
                    <a:pt x="65" y="10"/>
                  </a:cubicBezTo>
                  <a:cubicBezTo>
                    <a:pt x="66" y="10"/>
                    <a:pt x="67" y="11"/>
                    <a:pt x="68" y="12"/>
                  </a:cubicBezTo>
                  <a:cubicBezTo>
                    <a:pt x="67" y="12"/>
                    <a:pt x="67" y="12"/>
                    <a:pt x="67" y="12"/>
                  </a:cubicBezTo>
                  <a:cubicBezTo>
                    <a:pt x="66" y="12"/>
                    <a:pt x="65" y="12"/>
                    <a:pt x="64" y="11"/>
                  </a:cubicBezTo>
                  <a:cubicBezTo>
                    <a:pt x="63" y="11"/>
                    <a:pt x="62" y="11"/>
                    <a:pt x="62" y="11"/>
                  </a:cubicBezTo>
                  <a:cubicBezTo>
                    <a:pt x="60" y="11"/>
                    <a:pt x="59" y="11"/>
                    <a:pt x="58" y="12"/>
                  </a:cubicBezTo>
                  <a:cubicBezTo>
                    <a:pt x="57" y="14"/>
                    <a:pt x="64" y="15"/>
                    <a:pt x="65" y="15"/>
                  </a:cubicBezTo>
                  <a:cubicBezTo>
                    <a:pt x="65" y="15"/>
                    <a:pt x="65" y="15"/>
                    <a:pt x="65" y="15"/>
                  </a:cubicBezTo>
                  <a:cubicBezTo>
                    <a:pt x="66" y="15"/>
                    <a:pt x="67" y="15"/>
                    <a:pt x="68" y="15"/>
                  </a:cubicBezTo>
                  <a:cubicBezTo>
                    <a:pt x="69" y="15"/>
                    <a:pt x="71" y="16"/>
                    <a:pt x="73" y="16"/>
                  </a:cubicBezTo>
                  <a:cubicBezTo>
                    <a:pt x="74" y="17"/>
                    <a:pt x="76" y="17"/>
                    <a:pt x="77" y="17"/>
                  </a:cubicBezTo>
                  <a:cubicBezTo>
                    <a:pt x="78" y="17"/>
                    <a:pt x="79" y="17"/>
                    <a:pt x="80" y="17"/>
                  </a:cubicBezTo>
                  <a:cubicBezTo>
                    <a:pt x="80" y="17"/>
                    <a:pt x="81" y="17"/>
                    <a:pt x="82" y="17"/>
                  </a:cubicBezTo>
                  <a:cubicBezTo>
                    <a:pt x="83" y="17"/>
                    <a:pt x="83" y="17"/>
                    <a:pt x="83" y="17"/>
                  </a:cubicBezTo>
                  <a:cubicBezTo>
                    <a:pt x="81" y="18"/>
                    <a:pt x="79" y="18"/>
                    <a:pt x="77" y="18"/>
                  </a:cubicBezTo>
                  <a:cubicBezTo>
                    <a:pt x="75" y="18"/>
                    <a:pt x="74" y="18"/>
                    <a:pt x="73" y="18"/>
                  </a:cubicBezTo>
                  <a:cubicBezTo>
                    <a:pt x="71" y="18"/>
                    <a:pt x="70" y="17"/>
                    <a:pt x="68" y="17"/>
                  </a:cubicBezTo>
                  <a:cubicBezTo>
                    <a:pt x="68" y="17"/>
                    <a:pt x="68" y="17"/>
                    <a:pt x="68" y="17"/>
                  </a:cubicBezTo>
                  <a:cubicBezTo>
                    <a:pt x="68" y="17"/>
                    <a:pt x="65" y="17"/>
                    <a:pt x="65" y="18"/>
                  </a:cubicBezTo>
                  <a:cubicBezTo>
                    <a:pt x="65" y="19"/>
                    <a:pt x="66" y="19"/>
                    <a:pt x="67" y="20"/>
                  </a:cubicBezTo>
                  <a:cubicBezTo>
                    <a:pt x="68" y="23"/>
                    <a:pt x="70" y="25"/>
                    <a:pt x="72" y="27"/>
                  </a:cubicBezTo>
                  <a:cubicBezTo>
                    <a:pt x="72" y="27"/>
                    <a:pt x="73" y="27"/>
                    <a:pt x="73" y="27"/>
                  </a:cubicBezTo>
                  <a:cubicBezTo>
                    <a:pt x="75" y="27"/>
                    <a:pt x="76" y="27"/>
                    <a:pt x="77" y="27"/>
                  </a:cubicBezTo>
                  <a:cubicBezTo>
                    <a:pt x="79" y="26"/>
                    <a:pt x="80" y="26"/>
                    <a:pt x="81" y="26"/>
                  </a:cubicBezTo>
                  <a:cubicBezTo>
                    <a:pt x="82" y="26"/>
                    <a:pt x="82" y="26"/>
                    <a:pt x="82" y="26"/>
                  </a:cubicBezTo>
                  <a:cubicBezTo>
                    <a:pt x="80" y="27"/>
                    <a:pt x="78" y="28"/>
                    <a:pt x="76" y="28"/>
                  </a:cubicBezTo>
                  <a:cubicBezTo>
                    <a:pt x="74" y="29"/>
                    <a:pt x="73" y="29"/>
                    <a:pt x="72" y="29"/>
                  </a:cubicBezTo>
                  <a:cubicBezTo>
                    <a:pt x="72" y="29"/>
                    <a:pt x="71" y="29"/>
                    <a:pt x="70" y="28"/>
                  </a:cubicBezTo>
                  <a:cubicBezTo>
                    <a:pt x="67" y="27"/>
                    <a:pt x="66" y="26"/>
                    <a:pt x="63" y="24"/>
                  </a:cubicBezTo>
                  <a:cubicBezTo>
                    <a:pt x="61" y="21"/>
                    <a:pt x="59" y="21"/>
                    <a:pt x="56" y="20"/>
                  </a:cubicBezTo>
                  <a:cubicBezTo>
                    <a:pt x="57" y="20"/>
                    <a:pt x="58" y="20"/>
                    <a:pt x="59" y="19"/>
                  </a:cubicBezTo>
                  <a:cubicBezTo>
                    <a:pt x="59" y="19"/>
                    <a:pt x="59" y="19"/>
                    <a:pt x="59" y="19"/>
                  </a:cubicBezTo>
                  <a:cubicBezTo>
                    <a:pt x="58" y="19"/>
                    <a:pt x="58" y="19"/>
                    <a:pt x="57" y="19"/>
                  </a:cubicBezTo>
                  <a:cubicBezTo>
                    <a:pt x="56" y="19"/>
                    <a:pt x="56" y="19"/>
                    <a:pt x="55" y="19"/>
                  </a:cubicBezTo>
                  <a:cubicBezTo>
                    <a:pt x="55" y="19"/>
                    <a:pt x="54" y="19"/>
                    <a:pt x="54" y="19"/>
                  </a:cubicBezTo>
                  <a:cubicBezTo>
                    <a:pt x="55" y="17"/>
                    <a:pt x="51" y="15"/>
                    <a:pt x="49" y="14"/>
                  </a:cubicBezTo>
                  <a:cubicBezTo>
                    <a:pt x="44" y="12"/>
                    <a:pt x="41" y="4"/>
                    <a:pt x="35" y="4"/>
                  </a:cubicBezTo>
                  <a:cubicBezTo>
                    <a:pt x="35" y="3"/>
                    <a:pt x="32" y="3"/>
                    <a:pt x="30" y="3"/>
                  </a:cubicBezTo>
                  <a:cubicBezTo>
                    <a:pt x="27" y="3"/>
                    <a:pt x="23" y="4"/>
                    <a:pt x="23" y="5"/>
                  </a:cubicBezTo>
                  <a:cubicBezTo>
                    <a:pt x="23" y="5"/>
                    <a:pt x="23" y="5"/>
                    <a:pt x="23" y="5"/>
                  </a:cubicBezTo>
                  <a:cubicBezTo>
                    <a:pt x="23" y="6"/>
                    <a:pt x="23" y="6"/>
                    <a:pt x="23" y="6"/>
                  </a:cubicBezTo>
                  <a:cubicBezTo>
                    <a:pt x="23" y="6"/>
                    <a:pt x="23" y="7"/>
                    <a:pt x="24" y="7"/>
                  </a:cubicBezTo>
                  <a:cubicBezTo>
                    <a:pt x="23" y="8"/>
                    <a:pt x="23" y="8"/>
                    <a:pt x="23" y="8"/>
                  </a:cubicBezTo>
                  <a:cubicBezTo>
                    <a:pt x="23" y="8"/>
                    <a:pt x="23" y="7"/>
                    <a:pt x="23" y="7"/>
                  </a:cubicBezTo>
                  <a:cubicBezTo>
                    <a:pt x="22" y="7"/>
                    <a:pt x="22" y="8"/>
                    <a:pt x="22" y="9"/>
                  </a:cubicBezTo>
                  <a:cubicBezTo>
                    <a:pt x="22" y="9"/>
                    <a:pt x="20" y="13"/>
                    <a:pt x="20" y="13"/>
                  </a:cubicBezTo>
                  <a:cubicBezTo>
                    <a:pt x="20" y="14"/>
                    <a:pt x="21" y="14"/>
                    <a:pt x="21" y="14"/>
                  </a:cubicBezTo>
                  <a:cubicBezTo>
                    <a:pt x="22" y="14"/>
                    <a:pt x="22" y="14"/>
                    <a:pt x="22" y="14"/>
                  </a:cubicBezTo>
                  <a:cubicBezTo>
                    <a:pt x="23" y="14"/>
                    <a:pt x="23" y="14"/>
                    <a:pt x="23" y="13"/>
                  </a:cubicBezTo>
                  <a:cubicBezTo>
                    <a:pt x="23" y="14"/>
                    <a:pt x="23" y="14"/>
                    <a:pt x="23" y="14"/>
                  </a:cubicBezTo>
                  <a:cubicBezTo>
                    <a:pt x="24" y="14"/>
                    <a:pt x="24" y="14"/>
                    <a:pt x="25" y="14"/>
                  </a:cubicBezTo>
                  <a:cubicBezTo>
                    <a:pt x="26" y="14"/>
                    <a:pt x="27" y="14"/>
                    <a:pt x="29" y="14"/>
                  </a:cubicBezTo>
                  <a:cubicBezTo>
                    <a:pt x="29" y="14"/>
                    <a:pt x="29" y="14"/>
                    <a:pt x="29" y="14"/>
                  </a:cubicBezTo>
                  <a:cubicBezTo>
                    <a:pt x="30" y="14"/>
                    <a:pt x="31" y="14"/>
                    <a:pt x="33" y="13"/>
                  </a:cubicBezTo>
                  <a:cubicBezTo>
                    <a:pt x="34" y="13"/>
                    <a:pt x="35" y="13"/>
                    <a:pt x="37" y="13"/>
                  </a:cubicBezTo>
                  <a:cubicBezTo>
                    <a:pt x="37" y="13"/>
                    <a:pt x="37" y="13"/>
                    <a:pt x="37" y="13"/>
                  </a:cubicBezTo>
                  <a:cubicBezTo>
                    <a:pt x="33" y="16"/>
                    <a:pt x="26" y="15"/>
                    <a:pt x="27" y="21"/>
                  </a:cubicBezTo>
                  <a:cubicBezTo>
                    <a:pt x="27" y="24"/>
                    <a:pt x="28" y="25"/>
                    <a:pt x="30" y="25"/>
                  </a:cubicBezTo>
                  <a:cubicBezTo>
                    <a:pt x="32" y="25"/>
                    <a:pt x="33" y="25"/>
                    <a:pt x="34" y="25"/>
                  </a:cubicBezTo>
                  <a:cubicBezTo>
                    <a:pt x="36" y="24"/>
                    <a:pt x="37" y="24"/>
                    <a:pt x="38" y="24"/>
                  </a:cubicBezTo>
                  <a:cubicBezTo>
                    <a:pt x="38" y="24"/>
                    <a:pt x="39" y="24"/>
                    <a:pt x="39" y="24"/>
                  </a:cubicBezTo>
                  <a:cubicBezTo>
                    <a:pt x="37" y="26"/>
                    <a:pt x="31" y="29"/>
                    <a:pt x="35" y="32"/>
                  </a:cubicBezTo>
                  <a:cubicBezTo>
                    <a:pt x="38" y="34"/>
                    <a:pt x="39" y="34"/>
                    <a:pt x="41" y="34"/>
                  </a:cubicBezTo>
                  <a:cubicBezTo>
                    <a:pt x="42" y="34"/>
                    <a:pt x="43" y="34"/>
                    <a:pt x="44" y="34"/>
                  </a:cubicBezTo>
                  <a:cubicBezTo>
                    <a:pt x="45" y="34"/>
                    <a:pt x="46" y="34"/>
                    <a:pt x="48" y="34"/>
                  </a:cubicBezTo>
                  <a:cubicBezTo>
                    <a:pt x="48" y="34"/>
                    <a:pt x="48" y="34"/>
                    <a:pt x="48" y="34"/>
                  </a:cubicBezTo>
                  <a:cubicBezTo>
                    <a:pt x="46" y="35"/>
                    <a:pt x="45" y="35"/>
                    <a:pt x="43" y="35"/>
                  </a:cubicBezTo>
                  <a:cubicBezTo>
                    <a:pt x="39" y="35"/>
                    <a:pt x="36" y="33"/>
                    <a:pt x="32" y="32"/>
                  </a:cubicBezTo>
                  <a:cubicBezTo>
                    <a:pt x="31" y="31"/>
                    <a:pt x="28" y="29"/>
                    <a:pt x="25" y="29"/>
                  </a:cubicBezTo>
                  <a:cubicBezTo>
                    <a:pt x="24" y="29"/>
                    <a:pt x="24" y="29"/>
                    <a:pt x="23" y="30"/>
                  </a:cubicBezTo>
                  <a:cubicBezTo>
                    <a:pt x="23" y="30"/>
                    <a:pt x="23" y="30"/>
                    <a:pt x="23" y="30"/>
                  </a:cubicBezTo>
                  <a:cubicBezTo>
                    <a:pt x="23" y="30"/>
                    <a:pt x="23" y="30"/>
                    <a:pt x="23" y="30"/>
                  </a:cubicBezTo>
                  <a:cubicBezTo>
                    <a:pt x="21" y="30"/>
                    <a:pt x="18" y="30"/>
                    <a:pt x="16" y="32"/>
                  </a:cubicBezTo>
                  <a:cubicBezTo>
                    <a:pt x="17" y="33"/>
                    <a:pt x="19" y="33"/>
                    <a:pt x="21" y="35"/>
                  </a:cubicBezTo>
                  <a:cubicBezTo>
                    <a:pt x="16" y="36"/>
                    <a:pt x="21" y="37"/>
                    <a:pt x="23" y="39"/>
                  </a:cubicBezTo>
                  <a:cubicBezTo>
                    <a:pt x="22" y="39"/>
                    <a:pt x="22" y="39"/>
                    <a:pt x="22" y="39"/>
                  </a:cubicBezTo>
                  <a:cubicBezTo>
                    <a:pt x="20" y="39"/>
                    <a:pt x="19" y="38"/>
                    <a:pt x="17" y="38"/>
                  </a:cubicBezTo>
                  <a:cubicBezTo>
                    <a:pt x="16" y="38"/>
                    <a:pt x="15" y="37"/>
                    <a:pt x="13" y="37"/>
                  </a:cubicBezTo>
                  <a:cubicBezTo>
                    <a:pt x="12" y="37"/>
                    <a:pt x="11" y="38"/>
                    <a:pt x="10" y="38"/>
                  </a:cubicBezTo>
                  <a:cubicBezTo>
                    <a:pt x="11" y="40"/>
                    <a:pt x="0" y="41"/>
                    <a:pt x="4" y="44"/>
                  </a:cubicBezTo>
                  <a:cubicBezTo>
                    <a:pt x="6" y="46"/>
                    <a:pt x="7" y="48"/>
                    <a:pt x="9" y="48"/>
                  </a:cubicBezTo>
                  <a:cubicBezTo>
                    <a:pt x="10" y="48"/>
                    <a:pt x="10" y="48"/>
                    <a:pt x="10" y="48"/>
                  </a:cubicBezTo>
                  <a:cubicBezTo>
                    <a:pt x="13" y="48"/>
                    <a:pt x="15" y="46"/>
                    <a:pt x="18" y="46"/>
                  </a:cubicBezTo>
                  <a:cubicBezTo>
                    <a:pt x="18" y="46"/>
                    <a:pt x="18" y="46"/>
                    <a:pt x="18" y="46"/>
                  </a:cubicBezTo>
                  <a:cubicBezTo>
                    <a:pt x="20" y="46"/>
                    <a:pt x="21" y="46"/>
                    <a:pt x="22" y="46"/>
                  </a:cubicBezTo>
                  <a:cubicBezTo>
                    <a:pt x="22" y="46"/>
                    <a:pt x="22" y="46"/>
                    <a:pt x="22" y="46"/>
                  </a:cubicBezTo>
                  <a:cubicBezTo>
                    <a:pt x="22" y="46"/>
                    <a:pt x="23" y="46"/>
                    <a:pt x="23" y="45"/>
                  </a:cubicBezTo>
                  <a:cubicBezTo>
                    <a:pt x="23" y="46"/>
                    <a:pt x="23" y="46"/>
                    <a:pt x="23" y="46"/>
                  </a:cubicBezTo>
                  <a:cubicBezTo>
                    <a:pt x="27" y="45"/>
                    <a:pt x="32" y="43"/>
                    <a:pt x="36" y="43"/>
                  </a:cubicBezTo>
                  <a:cubicBezTo>
                    <a:pt x="36" y="43"/>
                    <a:pt x="36" y="43"/>
                    <a:pt x="36" y="43"/>
                  </a:cubicBezTo>
                  <a:cubicBezTo>
                    <a:pt x="37" y="43"/>
                    <a:pt x="37" y="44"/>
                    <a:pt x="37" y="44"/>
                  </a:cubicBezTo>
                  <a:cubicBezTo>
                    <a:pt x="37" y="44"/>
                    <a:pt x="37" y="44"/>
                    <a:pt x="37" y="44"/>
                  </a:cubicBezTo>
                  <a:cubicBezTo>
                    <a:pt x="38" y="44"/>
                    <a:pt x="38" y="44"/>
                    <a:pt x="38" y="44"/>
                  </a:cubicBezTo>
                  <a:cubicBezTo>
                    <a:pt x="38" y="44"/>
                    <a:pt x="39" y="44"/>
                    <a:pt x="39" y="44"/>
                  </a:cubicBezTo>
                  <a:cubicBezTo>
                    <a:pt x="39" y="44"/>
                    <a:pt x="39" y="44"/>
                    <a:pt x="39" y="44"/>
                  </a:cubicBezTo>
                  <a:cubicBezTo>
                    <a:pt x="39" y="44"/>
                    <a:pt x="39" y="44"/>
                    <a:pt x="39" y="44"/>
                  </a:cubicBezTo>
                  <a:cubicBezTo>
                    <a:pt x="40" y="44"/>
                    <a:pt x="41" y="44"/>
                    <a:pt x="42" y="44"/>
                  </a:cubicBezTo>
                  <a:cubicBezTo>
                    <a:pt x="45" y="43"/>
                    <a:pt x="46" y="43"/>
                    <a:pt x="49" y="43"/>
                  </a:cubicBezTo>
                  <a:cubicBezTo>
                    <a:pt x="54" y="42"/>
                    <a:pt x="58" y="42"/>
                    <a:pt x="62" y="41"/>
                  </a:cubicBezTo>
                  <a:cubicBezTo>
                    <a:pt x="67" y="41"/>
                    <a:pt x="71" y="40"/>
                    <a:pt x="75" y="39"/>
                  </a:cubicBezTo>
                  <a:cubicBezTo>
                    <a:pt x="76" y="39"/>
                    <a:pt x="76" y="39"/>
                    <a:pt x="77" y="39"/>
                  </a:cubicBezTo>
                  <a:cubicBezTo>
                    <a:pt x="78" y="39"/>
                    <a:pt x="78" y="39"/>
                    <a:pt x="79" y="39"/>
                  </a:cubicBezTo>
                  <a:cubicBezTo>
                    <a:pt x="78" y="40"/>
                    <a:pt x="78" y="40"/>
                    <a:pt x="78" y="40"/>
                  </a:cubicBezTo>
                  <a:cubicBezTo>
                    <a:pt x="78" y="40"/>
                    <a:pt x="79" y="40"/>
                    <a:pt x="79" y="40"/>
                  </a:cubicBezTo>
                  <a:cubicBezTo>
                    <a:pt x="81" y="40"/>
                    <a:pt x="83" y="40"/>
                    <a:pt x="85" y="39"/>
                  </a:cubicBezTo>
                  <a:cubicBezTo>
                    <a:pt x="87" y="39"/>
                    <a:pt x="89" y="38"/>
                    <a:pt x="91" y="38"/>
                  </a:cubicBezTo>
                  <a:cubicBezTo>
                    <a:pt x="93" y="38"/>
                    <a:pt x="94" y="38"/>
                    <a:pt x="95" y="39"/>
                  </a:cubicBezTo>
                  <a:cubicBezTo>
                    <a:pt x="93" y="40"/>
                    <a:pt x="92" y="40"/>
                    <a:pt x="90" y="40"/>
                  </a:cubicBezTo>
                  <a:cubicBezTo>
                    <a:pt x="89" y="40"/>
                    <a:pt x="88" y="40"/>
                    <a:pt x="87" y="40"/>
                  </a:cubicBezTo>
                  <a:cubicBezTo>
                    <a:pt x="87" y="40"/>
                    <a:pt x="86" y="40"/>
                    <a:pt x="85" y="40"/>
                  </a:cubicBezTo>
                  <a:cubicBezTo>
                    <a:pt x="85" y="40"/>
                    <a:pt x="84" y="40"/>
                    <a:pt x="83" y="40"/>
                  </a:cubicBezTo>
                  <a:cubicBezTo>
                    <a:pt x="81" y="40"/>
                    <a:pt x="79" y="40"/>
                    <a:pt x="77" y="40"/>
                  </a:cubicBezTo>
                  <a:cubicBezTo>
                    <a:pt x="76" y="41"/>
                    <a:pt x="75" y="40"/>
                    <a:pt x="74" y="41"/>
                  </a:cubicBezTo>
                  <a:cubicBezTo>
                    <a:pt x="72" y="43"/>
                    <a:pt x="75" y="43"/>
                    <a:pt x="77" y="43"/>
                  </a:cubicBezTo>
                  <a:cubicBezTo>
                    <a:pt x="76" y="45"/>
                    <a:pt x="71" y="45"/>
                    <a:pt x="69" y="46"/>
                  </a:cubicBezTo>
                  <a:cubicBezTo>
                    <a:pt x="70" y="46"/>
                    <a:pt x="72" y="46"/>
                    <a:pt x="73" y="46"/>
                  </a:cubicBezTo>
                  <a:cubicBezTo>
                    <a:pt x="70" y="47"/>
                    <a:pt x="67" y="47"/>
                    <a:pt x="64" y="47"/>
                  </a:cubicBezTo>
                  <a:cubicBezTo>
                    <a:pt x="66" y="48"/>
                    <a:pt x="68" y="48"/>
                    <a:pt x="70" y="48"/>
                  </a:cubicBezTo>
                  <a:cubicBezTo>
                    <a:pt x="68" y="49"/>
                    <a:pt x="65" y="49"/>
                    <a:pt x="63" y="49"/>
                  </a:cubicBezTo>
                  <a:cubicBezTo>
                    <a:pt x="65" y="50"/>
                    <a:pt x="67" y="49"/>
                    <a:pt x="69" y="50"/>
                  </a:cubicBezTo>
                  <a:cubicBezTo>
                    <a:pt x="67" y="51"/>
                    <a:pt x="66" y="51"/>
                    <a:pt x="64" y="51"/>
                  </a:cubicBezTo>
                  <a:cubicBezTo>
                    <a:pt x="63" y="51"/>
                    <a:pt x="63" y="51"/>
                    <a:pt x="62" y="51"/>
                  </a:cubicBezTo>
                  <a:cubicBezTo>
                    <a:pt x="62" y="51"/>
                    <a:pt x="62" y="51"/>
                    <a:pt x="61" y="51"/>
                  </a:cubicBezTo>
                  <a:cubicBezTo>
                    <a:pt x="61" y="51"/>
                    <a:pt x="60" y="51"/>
                    <a:pt x="60" y="51"/>
                  </a:cubicBezTo>
                  <a:cubicBezTo>
                    <a:pt x="58" y="51"/>
                    <a:pt x="55" y="50"/>
                    <a:pt x="58" y="53"/>
                  </a:cubicBezTo>
                  <a:cubicBezTo>
                    <a:pt x="61" y="55"/>
                    <a:pt x="54" y="55"/>
                    <a:pt x="52" y="55"/>
                  </a:cubicBezTo>
                  <a:cubicBezTo>
                    <a:pt x="54" y="55"/>
                    <a:pt x="54" y="57"/>
                    <a:pt x="56" y="57"/>
                  </a:cubicBezTo>
                  <a:cubicBezTo>
                    <a:pt x="57" y="58"/>
                    <a:pt x="57" y="58"/>
                    <a:pt x="58" y="58"/>
                  </a:cubicBezTo>
                  <a:cubicBezTo>
                    <a:pt x="58" y="58"/>
                    <a:pt x="59" y="58"/>
                    <a:pt x="60" y="57"/>
                  </a:cubicBezTo>
                  <a:cubicBezTo>
                    <a:pt x="61" y="57"/>
                    <a:pt x="61" y="57"/>
                    <a:pt x="62" y="57"/>
                  </a:cubicBezTo>
                  <a:cubicBezTo>
                    <a:pt x="62" y="57"/>
                    <a:pt x="63" y="57"/>
                    <a:pt x="63" y="57"/>
                  </a:cubicBezTo>
                  <a:cubicBezTo>
                    <a:pt x="57" y="61"/>
                    <a:pt x="67" y="60"/>
                    <a:pt x="70" y="61"/>
                  </a:cubicBezTo>
                  <a:cubicBezTo>
                    <a:pt x="66" y="61"/>
                    <a:pt x="61" y="61"/>
                    <a:pt x="57" y="63"/>
                  </a:cubicBezTo>
                  <a:cubicBezTo>
                    <a:pt x="61" y="63"/>
                    <a:pt x="59" y="67"/>
                    <a:pt x="60" y="70"/>
                  </a:cubicBezTo>
                  <a:cubicBezTo>
                    <a:pt x="61" y="71"/>
                    <a:pt x="65" y="72"/>
                    <a:pt x="67" y="72"/>
                  </a:cubicBezTo>
                  <a:cubicBezTo>
                    <a:pt x="69" y="72"/>
                    <a:pt x="71" y="72"/>
                    <a:pt x="74" y="72"/>
                  </a:cubicBezTo>
                  <a:cubicBezTo>
                    <a:pt x="75" y="72"/>
                    <a:pt x="76" y="73"/>
                    <a:pt x="78" y="73"/>
                  </a:cubicBezTo>
                  <a:cubicBezTo>
                    <a:pt x="78" y="73"/>
                    <a:pt x="78" y="73"/>
                    <a:pt x="79" y="73"/>
                  </a:cubicBezTo>
                  <a:cubicBezTo>
                    <a:pt x="81" y="72"/>
                    <a:pt x="84" y="67"/>
                    <a:pt x="86" y="66"/>
                  </a:cubicBezTo>
                  <a:cubicBezTo>
                    <a:pt x="86" y="66"/>
                    <a:pt x="86" y="67"/>
                    <a:pt x="85" y="68"/>
                  </a:cubicBezTo>
                  <a:cubicBezTo>
                    <a:pt x="92" y="68"/>
                    <a:pt x="99" y="69"/>
                    <a:pt x="106" y="70"/>
                  </a:cubicBezTo>
                  <a:cubicBezTo>
                    <a:pt x="108" y="70"/>
                    <a:pt x="111" y="71"/>
                    <a:pt x="114" y="71"/>
                  </a:cubicBezTo>
                  <a:cubicBezTo>
                    <a:pt x="116" y="71"/>
                    <a:pt x="117" y="70"/>
                    <a:pt x="117" y="68"/>
                  </a:cubicBezTo>
                  <a:cubicBezTo>
                    <a:pt x="117" y="67"/>
                    <a:pt x="111" y="63"/>
                    <a:pt x="114" y="61"/>
                  </a:cubicBezTo>
                  <a:cubicBezTo>
                    <a:pt x="114" y="61"/>
                    <a:pt x="114" y="61"/>
                    <a:pt x="114" y="61"/>
                  </a:cubicBezTo>
                  <a:cubicBezTo>
                    <a:pt x="115" y="61"/>
                    <a:pt x="118" y="64"/>
                    <a:pt x="119" y="64"/>
                  </a:cubicBezTo>
                  <a:cubicBezTo>
                    <a:pt x="120" y="64"/>
                    <a:pt x="122" y="65"/>
                    <a:pt x="124" y="65"/>
                  </a:cubicBezTo>
                  <a:cubicBezTo>
                    <a:pt x="125" y="65"/>
                    <a:pt x="125" y="65"/>
                    <a:pt x="126" y="65"/>
                  </a:cubicBezTo>
                  <a:cubicBezTo>
                    <a:pt x="123" y="65"/>
                    <a:pt x="124" y="62"/>
                    <a:pt x="122" y="62"/>
                  </a:cubicBezTo>
                  <a:cubicBezTo>
                    <a:pt x="122" y="62"/>
                    <a:pt x="122" y="62"/>
                    <a:pt x="121" y="63"/>
                  </a:cubicBezTo>
                  <a:cubicBezTo>
                    <a:pt x="125" y="59"/>
                    <a:pt x="112" y="59"/>
                    <a:pt x="118" y="57"/>
                  </a:cubicBezTo>
                  <a:cubicBezTo>
                    <a:pt x="117" y="57"/>
                    <a:pt x="116" y="58"/>
                    <a:pt x="115" y="58"/>
                  </a:cubicBezTo>
                  <a:cubicBezTo>
                    <a:pt x="116" y="56"/>
                    <a:pt x="119" y="54"/>
                    <a:pt x="121" y="52"/>
                  </a:cubicBezTo>
                  <a:cubicBezTo>
                    <a:pt x="120" y="51"/>
                    <a:pt x="121" y="46"/>
                    <a:pt x="122" y="45"/>
                  </a:cubicBezTo>
                  <a:cubicBezTo>
                    <a:pt x="122" y="45"/>
                    <a:pt x="122" y="45"/>
                    <a:pt x="122" y="45"/>
                  </a:cubicBezTo>
                  <a:cubicBezTo>
                    <a:pt x="123" y="45"/>
                    <a:pt x="125" y="47"/>
                    <a:pt x="125" y="47"/>
                  </a:cubicBezTo>
                  <a:cubicBezTo>
                    <a:pt x="128" y="49"/>
                    <a:pt x="129" y="50"/>
                    <a:pt x="131" y="52"/>
                  </a:cubicBezTo>
                  <a:cubicBezTo>
                    <a:pt x="127" y="49"/>
                    <a:pt x="133" y="40"/>
                    <a:pt x="129" y="39"/>
                  </a:cubicBezTo>
                  <a:cubicBezTo>
                    <a:pt x="125" y="38"/>
                    <a:pt x="124" y="39"/>
                    <a:pt x="125" y="33"/>
                  </a:cubicBezTo>
                  <a:cubicBezTo>
                    <a:pt x="126" y="30"/>
                    <a:pt x="125" y="30"/>
                    <a:pt x="124" y="28"/>
                  </a:cubicBezTo>
                  <a:cubicBezTo>
                    <a:pt x="124" y="26"/>
                    <a:pt x="126" y="22"/>
                    <a:pt x="127" y="20"/>
                  </a:cubicBezTo>
                  <a:cubicBezTo>
                    <a:pt x="128" y="17"/>
                    <a:pt x="128" y="14"/>
                    <a:pt x="125" y="13"/>
                  </a:cubicBezTo>
                  <a:cubicBezTo>
                    <a:pt x="120" y="11"/>
                    <a:pt x="124" y="7"/>
                    <a:pt x="123" y="3"/>
                  </a:cubicBezTo>
                  <a:cubicBezTo>
                    <a:pt x="123" y="1"/>
                    <a:pt x="122" y="0"/>
                    <a:pt x="1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1" name="Freeform 284">
              <a:extLst>
                <a:ext uri="{FF2B5EF4-FFF2-40B4-BE49-F238E27FC236}">
                  <a16:creationId xmlns:a16="http://schemas.microsoft.com/office/drawing/2014/main" id="{10E254A4-88A3-4A72-A114-FBA99C43D472}"/>
                </a:ext>
              </a:extLst>
            </p:cNvPr>
            <p:cNvSpPr>
              <a:spLocks/>
            </p:cNvSpPr>
            <p:nvPr/>
          </p:nvSpPr>
          <p:spPr bwMode="auto">
            <a:xfrm>
              <a:off x="7032616" y="618359"/>
              <a:ext cx="3175" cy="3175"/>
            </a:xfrm>
            <a:custGeom>
              <a:avLst/>
              <a:gdLst>
                <a:gd name="T0" fmla="*/ 1 w 1"/>
                <a:gd name="T1" fmla="*/ 0 h 1"/>
                <a:gd name="T2" fmla="*/ 1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0" y="1"/>
                    <a:pt x="1" y="1"/>
                  </a:cubicBezTo>
                  <a:cubicBezTo>
                    <a:pt x="1" y="1"/>
                    <a:pt x="1" y="1"/>
                    <a:pt x="1" y="1"/>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2" name="Freeform 285">
              <a:extLst>
                <a:ext uri="{FF2B5EF4-FFF2-40B4-BE49-F238E27FC236}">
                  <a16:creationId xmlns:a16="http://schemas.microsoft.com/office/drawing/2014/main" id="{2F7D8D34-AC87-4964-B8A6-088282FCF456}"/>
                </a:ext>
              </a:extLst>
            </p:cNvPr>
            <p:cNvSpPr>
              <a:spLocks/>
            </p:cNvSpPr>
            <p:nvPr/>
          </p:nvSpPr>
          <p:spPr bwMode="auto">
            <a:xfrm>
              <a:off x="6969116" y="1050159"/>
              <a:ext cx="566738" cy="439738"/>
            </a:xfrm>
            <a:custGeom>
              <a:avLst/>
              <a:gdLst>
                <a:gd name="T0" fmla="*/ 59 w 151"/>
                <a:gd name="T1" fmla="*/ 5 h 117"/>
                <a:gd name="T2" fmla="*/ 67 w 151"/>
                <a:gd name="T3" fmla="*/ 2 h 117"/>
                <a:gd name="T4" fmla="*/ 63 w 151"/>
                <a:gd name="T5" fmla="*/ 7 h 117"/>
                <a:gd name="T6" fmla="*/ 52 w 151"/>
                <a:gd name="T7" fmla="*/ 4 h 117"/>
                <a:gd name="T8" fmla="*/ 45 w 151"/>
                <a:gd name="T9" fmla="*/ 6 h 117"/>
                <a:gd name="T10" fmla="*/ 41 w 151"/>
                <a:gd name="T11" fmla="*/ 9 h 117"/>
                <a:gd name="T12" fmla="*/ 41 w 151"/>
                <a:gd name="T13" fmla="*/ 12 h 117"/>
                <a:gd name="T14" fmla="*/ 48 w 151"/>
                <a:gd name="T15" fmla="*/ 15 h 117"/>
                <a:gd name="T16" fmla="*/ 50 w 151"/>
                <a:gd name="T17" fmla="*/ 22 h 117"/>
                <a:gd name="T18" fmla="*/ 38 w 151"/>
                <a:gd name="T19" fmla="*/ 15 h 117"/>
                <a:gd name="T20" fmla="*/ 29 w 151"/>
                <a:gd name="T21" fmla="*/ 22 h 117"/>
                <a:gd name="T22" fmla="*/ 50 w 151"/>
                <a:gd name="T23" fmla="*/ 30 h 117"/>
                <a:gd name="T24" fmla="*/ 58 w 151"/>
                <a:gd name="T25" fmla="*/ 26 h 117"/>
                <a:gd name="T26" fmla="*/ 67 w 151"/>
                <a:gd name="T27" fmla="*/ 34 h 117"/>
                <a:gd name="T28" fmla="*/ 54 w 151"/>
                <a:gd name="T29" fmla="*/ 31 h 117"/>
                <a:gd name="T30" fmla="*/ 54 w 151"/>
                <a:gd name="T31" fmla="*/ 38 h 117"/>
                <a:gd name="T32" fmla="*/ 59 w 151"/>
                <a:gd name="T33" fmla="*/ 36 h 117"/>
                <a:gd name="T34" fmla="*/ 61 w 151"/>
                <a:gd name="T35" fmla="*/ 47 h 117"/>
                <a:gd name="T36" fmla="*/ 58 w 151"/>
                <a:gd name="T37" fmla="*/ 45 h 117"/>
                <a:gd name="T38" fmla="*/ 55 w 151"/>
                <a:gd name="T39" fmla="*/ 46 h 117"/>
                <a:gd name="T40" fmla="*/ 46 w 151"/>
                <a:gd name="T41" fmla="*/ 53 h 117"/>
                <a:gd name="T42" fmla="*/ 43 w 151"/>
                <a:gd name="T43" fmla="*/ 56 h 117"/>
                <a:gd name="T44" fmla="*/ 27 w 151"/>
                <a:gd name="T45" fmla="*/ 44 h 117"/>
                <a:gd name="T46" fmla="*/ 18 w 151"/>
                <a:gd name="T47" fmla="*/ 39 h 117"/>
                <a:gd name="T48" fmla="*/ 11 w 151"/>
                <a:gd name="T49" fmla="*/ 39 h 117"/>
                <a:gd name="T50" fmla="*/ 3 w 151"/>
                <a:gd name="T51" fmla="*/ 48 h 117"/>
                <a:gd name="T52" fmla="*/ 18 w 151"/>
                <a:gd name="T53" fmla="*/ 64 h 117"/>
                <a:gd name="T54" fmla="*/ 25 w 151"/>
                <a:gd name="T55" fmla="*/ 73 h 117"/>
                <a:gd name="T56" fmla="*/ 28 w 151"/>
                <a:gd name="T57" fmla="*/ 73 h 117"/>
                <a:gd name="T58" fmla="*/ 36 w 151"/>
                <a:gd name="T59" fmla="*/ 71 h 117"/>
                <a:gd name="T60" fmla="*/ 44 w 151"/>
                <a:gd name="T61" fmla="*/ 77 h 117"/>
                <a:gd name="T62" fmla="*/ 65 w 151"/>
                <a:gd name="T63" fmla="*/ 92 h 117"/>
                <a:gd name="T64" fmla="*/ 74 w 151"/>
                <a:gd name="T65" fmla="*/ 100 h 117"/>
                <a:gd name="T66" fmla="*/ 78 w 151"/>
                <a:gd name="T67" fmla="*/ 106 h 117"/>
                <a:gd name="T68" fmla="*/ 86 w 151"/>
                <a:gd name="T69" fmla="*/ 113 h 117"/>
                <a:gd name="T70" fmla="*/ 93 w 151"/>
                <a:gd name="T71" fmla="*/ 117 h 117"/>
                <a:gd name="T72" fmla="*/ 110 w 151"/>
                <a:gd name="T73" fmla="*/ 106 h 117"/>
                <a:gd name="T74" fmla="*/ 104 w 151"/>
                <a:gd name="T75" fmla="*/ 99 h 117"/>
                <a:gd name="T76" fmla="*/ 104 w 151"/>
                <a:gd name="T77" fmla="*/ 92 h 117"/>
                <a:gd name="T78" fmla="*/ 105 w 151"/>
                <a:gd name="T79" fmla="*/ 92 h 117"/>
                <a:gd name="T80" fmla="*/ 110 w 151"/>
                <a:gd name="T81" fmla="*/ 101 h 117"/>
                <a:gd name="T82" fmla="*/ 115 w 151"/>
                <a:gd name="T83" fmla="*/ 101 h 117"/>
                <a:gd name="T84" fmla="*/ 143 w 151"/>
                <a:gd name="T85" fmla="*/ 91 h 117"/>
                <a:gd name="T86" fmla="*/ 143 w 151"/>
                <a:gd name="T87" fmla="*/ 85 h 117"/>
                <a:gd name="T88" fmla="*/ 143 w 151"/>
                <a:gd name="T89" fmla="*/ 74 h 117"/>
                <a:gd name="T90" fmla="*/ 147 w 151"/>
                <a:gd name="T91" fmla="*/ 69 h 117"/>
                <a:gd name="T92" fmla="*/ 144 w 151"/>
                <a:gd name="T93" fmla="*/ 53 h 117"/>
                <a:gd name="T94" fmla="*/ 132 w 151"/>
                <a:gd name="T95" fmla="*/ 52 h 117"/>
                <a:gd name="T96" fmla="*/ 120 w 151"/>
                <a:gd name="T97" fmla="*/ 41 h 117"/>
                <a:gd name="T98" fmla="*/ 101 w 151"/>
                <a:gd name="T99" fmla="*/ 48 h 117"/>
                <a:gd name="T100" fmla="*/ 109 w 151"/>
                <a:gd name="T101" fmla="*/ 36 h 117"/>
                <a:gd name="T102" fmla="*/ 130 w 151"/>
                <a:gd name="T103" fmla="*/ 22 h 117"/>
                <a:gd name="T104" fmla="*/ 127 w 151"/>
                <a:gd name="T105" fmla="*/ 21 h 117"/>
                <a:gd name="T106" fmla="*/ 123 w 151"/>
                <a:gd name="T107" fmla="*/ 20 h 117"/>
                <a:gd name="T108" fmla="*/ 120 w 151"/>
                <a:gd name="T109" fmla="*/ 19 h 117"/>
                <a:gd name="T110" fmla="*/ 121 w 151"/>
                <a:gd name="T111" fmla="*/ 19 h 117"/>
                <a:gd name="T112" fmla="*/ 125 w 151"/>
                <a:gd name="T113" fmla="*/ 17 h 117"/>
                <a:gd name="T114" fmla="*/ 126 w 151"/>
                <a:gd name="T115" fmla="*/ 3 h 117"/>
                <a:gd name="T116" fmla="*/ 116 w 151"/>
                <a:gd name="T117" fmla="*/ 1 h 117"/>
                <a:gd name="T118" fmla="*/ 99 w 151"/>
                <a:gd name="T119" fmla="*/ 7 h 117"/>
                <a:gd name="T120" fmla="*/ 89 w 151"/>
                <a:gd name="T121" fmla="*/ 9 h 117"/>
                <a:gd name="T122" fmla="*/ 84 w 151"/>
                <a:gd name="T123" fmla="*/ 10 h 117"/>
                <a:gd name="T124" fmla="*/ 74 w 151"/>
                <a:gd name="T125"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117">
                  <a:moveTo>
                    <a:pt x="66" y="0"/>
                  </a:moveTo>
                  <a:cubicBezTo>
                    <a:pt x="65" y="0"/>
                    <a:pt x="63" y="0"/>
                    <a:pt x="62" y="0"/>
                  </a:cubicBezTo>
                  <a:cubicBezTo>
                    <a:pt x="61" y="0"/>
                    <a:pt x="56" y="4"/>
                    <a:pt x="59" y="5"/>
                  </a:cubicBezTo>
                  <a:cubicBezTo>
                    <a:pt x="60" y="5"/>
                    <a:pt x="61" y="5"/>
                    <a:pt x="61" y="5"/>
                  </a:cubicBezTo>
                  <a:cubicBezTo>
                    <a:pt x="63" y="5"/>
                    <a:pt x="64" y="5"/>
                    <a:pt x="65" y="4"/>
                  </a:cubicBezTo>
                  <a:cubicBezTo>
                    <a:pt x="65" y="3"/>
                    <a:pt x="67" y="2"/>
                    <a:pt x="67" y="2"/>
                  </a:cubicBezTo>
                  <a:cubicBezTo>
                    <a:pt x="68" y="2"/>
                    <a:pt x="68" y="3"/>
                    <a:pt x="68" y="3"/>
                  </a:cubicBezTo>
                  <a:cubicBezTo>
                    <a:pt x="68" y="5"/>
                    <a:pt x="66" y="5"/>
                    <a:pt x="66" y="6"/>
                  </a:cubicBezTo>
                  <a:cubicBezTo>
                    <a:pt x="64" y="7"/>
                    <a:pt x="64" y="7"/>
                    <a:pt x="63" y="7"/>
                  </a:cubicBezTo>
                  <a:cubicBezTo>
                    <a:pt x="63" y="7"/>
                    <a:pt x="62" y="7"/>
                    <a:pt x="60" y="6"/>
                  </a:cubicBezTo>
                  <a:cubicBezTo>
                    <a:pt x="58" y="6"/>
                    <a:pt x="56" y="5"/>
                    <a:pt x="53" y="4"/>
                  </a:cubicBezTo>
                  <a:cubicBezTo>
                    <a:pt x="53" y="4"/>
                    <a:pt x="53" y="4"/>
                    <a:pt x="52" y="4"/>
                  </a:cubicBezTo>
                  <a:cubicBezTo>
                    <a:pt x="50" y="4"/>
                    <a:pt x="49" y="5"/>
                    <a:pt x="47" y="6"/>
                  </a:cubicBezTo>
                  <a:cubicBezTo>
                    <a:pt x="47" y="6"/>
                    <a:pt x="47" y="6"/>
                    <a:pt x="46" y="6"/>
                  </a:cubicBezTo>
                  <a:cubicBezTo>
                    <a:pt x="46" y="6"/>
                    <a:pt x="45" y="6"/>
                    <a:pt x="45" y="6"/>
                  </a:cubicBezTo>
                  <a:cubicBezTo>
                    <a:pt x="44" y="5"/>
                    <a:pt x="44" y="5"/>
                    <a:pt x="43" y="5"/>
                  </a:cubicBezTo>
                  <a:cubicBezTo>
                    <a:pt x="43" y="5"/>
                    <a:pt x="42" y="6"/>
                    <a:pt x="41" y="6"/>
                  </a:cubicBezTo>
                  <a:cubicBezTo>
                    <a:pt x="41" y="9"/>
                    <a:pt x="41" y="9"/>
                    <a:pt x="41" y="9"/>
                  </a:cubicBezTo>
                  <a:cubicBezTo>
                    <a:pt x="40" y="10"/>
                    <a:pt x="39" y="9"/>
                    <a:pt x="40" y="11"/>
                  </a:cubicBezTo>
                  <a:cubicBezTo>
                    <a:pt x="40" y="12"/>
                    <a:pt x="40" y="12"/>
                    <a:pt x="40" y="12"/>
                  </a:cubicBezTo>
                  <a:cubicBezTo>
                    <a:pt x="41" y="12"/>
                    <a:pt x="41" y="12"/>
                    <a:pt x="41" y="12"/>
                  </a:cubicBezTo>
                  <a:cubicBezTo>
                    <a:pt x="41" y="12"/>
                    <a:pt x="41" y="12"/>
                    <a:pt x="41" y="12"/>
                  </a:cubicBezTo>
                  <a:cubicBezTo>
                    <a:pt x="41" y="12"/>
                    <a:pt x="41" y="12"/>
                    <a:pt x="41" y="12"/>
                  </a:cubicBezTo>
                  <a:cubicBezTo>
                    <a:pt x="44" y="14"/>
                    <a:pt x="45" y="14"/>
                    <a:pt x="48" y="15"/>
                  </a:cubicBezTo>
                  <a:cubicBezTo>
                    <a:pt x="54" y="15"/>
                    <a:pt x="50" y="18"/>
                    <a:pt x="53" y="21"/>
                  </a:cubicBezTo>
                  <a:cubicBezTo>
                    <a:pt x="54" y="23"/>
                    <a:pt x="55" y="24"/>
                    <a:pt x="54" y="24"/>
                  </a:cubicBezTo>
                  <a:cubicBezTo>
                    <a:pt x="53" y="24"/>
                    <a:pt x="52" y="23"/>
                    <a:pt x="50" y="22"/>
                  </a:cubicBezTo>
                  <a:cubicBezTo>
                    <a:pt x="48" y="21"/>
                    <a:pt x="46" y="16"/>
                    <a:pt x="43" y="15"/>
                  </a:cubicBezTo>
                  <a:cubicBezTo>
                    <a:pt x="43" y="15"/>
                    <a:pt x="40" y="15"/>
                    <a:pt x="39" y="15"/>
                  </a:cubicBezTo>
                  <a:cubicBezTo>
                    <a:pt x="38" y="15"/>
                    <a:pt x="38" y="15"/>
                    <a:pt x="38" y="15"/>
                  </a:cubicBezTo>
                  <a:cubicBezTo>
                    <a:pt x="36" y="15"/>
                    <a:pt x="36" y="16"/>
                    <a:pt x="35" y="17"/>
                  </a:cubicBezTo>
                  <a:cubicBezTo>
                    <a:pt x="34" y="17"/>
                    <a:pt x="33" y="17"/>
                    <a:pt x="32" y="17"/>
                  </a:cubicBezTo>
                  <a:cubicBezTo>
                    <a:pt x="29" y="18"/>
                    <a:pt x="26" y="20"/>
                    <a:pt x="29" y="22"/>
                  </a:cubicBezTo>
                  <a:cubicBezTo>
                    <a:pt x="32" y="25"/>
                    <a:pt x="36" y="26"/>
                    <a:pt x="39" y="28"/>
                  </a:cubicBezTo>
                  <a:cubicBezTo>
                    <a:pt x="42" y="29"/>
                    <a:pt x="44" y="30"/>
                    <a:pt x="47" y="30"/>
                  </a:cubicBezTo>
                  <a:cubicBezTo>
                    <a:pt x="48" y="30"/>
                    <a:pt x="49" y="30"/>
                    <a:pt x="50" y="30"/>
                  </a:cubicBezTo>
                  <a:cubicBezTo>
                    <a:pt x="51" y="29"/>
                    <a:pt x="55" y="28"/>
                    <a:pt x="55" y="27"/>
                  </a:cubicBezTo>
                  <a:cubicBezTo>
                    <a:pt x="55" y="25"/>
                    <a:pt x="55" y="25"/>
                    <a:pt x="56" y="25"/>
                  </a:cubicBezTo>
                  <a:cubicBezTo>
                    <a:pt x="56" y="25"/>
                    <a:pt x="57" y="25"/>
                    <a:pt x="58" y="26"/>
                  </a:cubicBezTo>
                  <a:cubicBezTo>
                    <a:pt x="60" y="28"/>
                    <a:pt x="61" y="30"/>
                    <a:pt x="63" y="31"/>
                  </a:cubicBezTo>
                  <a:cubicBezTo>
                    <a:pt x="65" y="32"/>
                    <a:pt x="67" y="32"/>
                    <a:pt x="70" y="33"/>
                  </a:cubicBezTo>
                  <a:cubicBezTo>
                    <a:pt x="69" y="33"/>
                    <a:pt x="68" y="34"/>
                    <a:pt x="67" y="34"/>
                  </a:cubicBezTo>
                  <a:cubicBezTo>
                    <a:pt x="64" y="34"/>
                    <a:pt x="61" y="31"/>
                    <a:pt x="58" y="30"/>
                  </a:cubicBezTo>
                  <a:cubicBezTo>
                    <a:pt x="57" y="30"/>
                    <a:pt x="57" y="30"/>
                    <a:pt x="56" y="30"/>
                  </a:cubicBezTo>
                  <a:cubicBezTo>
                    <a:pt x="55" y="30"/>
                    <a:pt x="55" y="30"/>
                    <a:pt x="54" y="31"/>
                  </a:cubicBezTo>
                  <a:cubicBezTo>
                    <a:pt x="54" y="32"/>
                    <a:pt x="54" y="33"/>
                    <a:pt x="53" y="33"/>
                  </a:cubicBezTo>
                  <a:cubicBezTo>
                    <a:pt x="53" y="34"/>
                    <a:pt x="52" y="34"/>
                    <a:pt x="51" y="35"/>
                  </a:cubicBezTo>
                  <a:cubicBezTo>
                    <a:pt x="50" y="37"/>
                    <a:pt x="53" y="38"/>
                    <a:pt x="54" y="38"/>
                  </a:cubicBezTo>
                  <a:cubicBezTo>
                    <a:pt x="54" y="38"/>
                    <a:pt x="54" y="38"/>
                    <a:pt x="54" y="38"/>
                  </a:cubicBezTo>
                  <a:cubicBezTo>
                    <a:pt x="55" y="38"/>
                    <a:pt x="56" y="36"/>
                    <a:pt x="58" y="36"/>
                  </a:cubicBezTo>
                  <a:cubicBezTo>
                    <a:pt x="58" y="36"/>
                    <a:pt x="58" y="36"/>
                    <a:pt x="59" y="36"/>
                  </a:cubicBezTo>
                  <a:cubicBezTo>
                    <a:pt x="60" y="37"/>
                    <a:pt x="63" y="42"/>
                    <a:pt x="61" y="42"/>
                  </a:cubicBezTo>
                  <a:cubicBezTo>
                    <a:pt x="61" y="42"/>
                    <a:pt x="61" y="42"/>
                    <a:pt x="61" y="42"/>
                  </a:cubicBezTo>
                  <a:cubicBezTo>
                    <a:pt x="63" y="44"/>
                    <a:pt x="65" y="46"/>
                    <a:pt x="61" y="47"/>
                  </a:cubicBezTo>
                  <a:cubicBezTo>
                    <a:pt x="61" y="47"/>
                    <a:pt x="60" y="47"/>
                    <a:pt x="60" y="47"/>
                  </a:cubicBezTo>
                  <a:cubicBezTo>
                    <a:pt x="60" y="47"/>
                    <a:pt x="60" y="47"/>
                    <a:pt x="59" y="47"/>
                  </a:cubicBezTo>
                  <a:cubicBezTo>
                    <a:pt x="57" y="46"/>
                    <a:pt x="59" y="47"/>
                    <a:pt x="58" y="45"/>
                  </a:cubicBezTo>
                  <a:cubicBezTo>
                    <a:pt x="56" y="43"/>
                    <a:pt x="55" y="43"/>
                    <a:pt x="56" y="40"/>
                  </a:cubicBezTo>
                  <a:cubicBezTo>
                    <a:pt x="54" y="42"/>
                    <a:pt x="54" y="41"/>
                    <a:pt x="55" y="44"/>
                  </a:cubicBezTo>
                  <a:cubicBezTo>
                    <a:pt x="55" y="45"/>
                    <a:pt x="55" y="45"/>
                    <a:pt x="55" y="46"/>
                  </a:cubicBezTo>
                  <a:cubicBezTo>
                    <a:pt x="56" y="48"/>
                    <a:pt x="57" y="48"/>
                    <a:pt x="57" y="50"/>
                  </a:cubicBezTo>
                  <a:cubicBezTo>
                    <a:pt x="57" y="53"/>
                    <a:pt x="54" y="54"/>
                    <a:pt x="51" y="54"/>
                  </a:cubicBezTo>
                  <a:cubicBezTo>
                    <a:pt x="49" y="54"/>
                    <a:pt x="47" y="53"/>
                    <a:pt x="46" y="53"/>
                  </a:cubicBezTo>
                  <a:cubicBezTo>
                    <a:pt x="46" y="53"/>
                    <a:pt x="45" y="53"/>
                    <a:pt x="45" y="53"/>
                  </a:cubicBezTo>
                  <a:cubicBezTo>
                    <a:pt x="44" y="53"/>
                    <a:pt x="46" y="54"/>
                    <a:pt x="46" y="55"/>
                  </a:cubicBezTo>
                  <a:cubicBezTo>
                    <a:pt x="45" y="55"/>
                    <a:pt x="44" y="56"/>
                    <a:pt x="43" y="56"/>
                  </a:cubicBezTo>
                  <a:cubicBezTo>
                    <a:pt x="43" y="56"/>
                    <a:pt x="42" y="56"/>
                    <a:pt x="42" y="56"/>
                  </a:cubicBezTo>
                  <a:cubicBezTo>
                    <a:pt x="40" y="55"/>
                    <a:pt x="38" y="52"/>
                    <a:pt x="36" y="51"/>
                  </a:cubicBezTo>
                  <a:cubicBezTo>
                    <a:pt x="33" y="49"/>
                    <a:pt x="30" y="46"/>
                    <a:pt x="27" y="44"/>
                  </a:cubicBezTo>
                  <a:cubicBezTo>
                    <a:pt x="26" y="43"/>
                    <a:pt x="21" y="39"/>
                    <a:pt x="20" y="38"/>
                  </a:cubicBezTo>
                  <a:cubicBezTo>
                    <a:pt x="19" y="38"/>
                    <a:pt x="19" y="38"/>
                    <a:pt x="19" y="38"/>
                  </a:cubicBezTo>
                  <a:cubicBezTo>
                    <a:pt x="19" y="38"/>
                    <a:pt x="18" y="39"/>
                    <a:pt x="18" y="39"/>
                  </a:cubicBezTo>
                  <a:cubicBezTo>
                    <a:pt x="18" y="38"/>
                    <a:pt x="18" y="38"/>
                    <a:pt x="18" y="38"/>
                  </a:cubicBezTo>
                  <a:cubicBezTo>
                    <a:pt x="16" y="39"/>
                    <a:pt x="15" y="39"/>
                    <a:pt x="13" y="39"/>
                  </a:cubicBezTo>
                  <a:cubicBezTo>
                    <a:pt x="12" y="39"/>
                    <a:pt x="12" y="39"/>
                    <a:pt x="11" y="39"/>
                  </a:cubicBezTo>
                  <a:cubicBezTo>
                    <a:pt x="10" y="39"/>
                    <a:pt x="10" y="39"/>
                    <a:pt x="10" y="39"/>
                  </a:cubicBezTo>
                  <a:cubicBezTo>
                    <a:pt x="10" y="40"/>
                    <a:pt x="5" y="42"/>
                    <a:pt x="4" y="44"/>
                  </a:cubicBezTo>
                  <a:cubicBezTo>
                    <a:pt x="4" y="45"/>
                    <a:pt x="4" y="47"/>
                    <a:pt x="3" y="48"/>
                  </a:cubicBezTo>
                  <a:cubicBezTo>
                    <a:pt x="1" y="51"/>
                    <a:pt x="0" y="52"/>
                    <a:pt x="1" y="55"/>
                  </a:cubicBezTo>
                  <a:cubicBezTo>
                    <a:pt x="4" y="59"/>
                    <a:pt x="13" y="63"/>
                    <a:pt x="18" y="64"/>
                  </a:cubicBezTo>
                  <a:cubicBezTo>
                    <a:pt x="18" y="64"/>
                    <a:pt x="18" y="64"/>
                    <a:pt x="18" y="64"/>
                  </a:cubicBezTo>
                  <a:cubicBezTo>
                    <a:pt x="18" y="65"/>
                    <a:pt x="21" y="67"/>
                    <a:pt x="21" y="69"/>
                  </a:cubicBezTo>
                  <a:cubicBezTo>
                    <a:pt x="21" y="72"/>
                    <a:pt x="23" y="73"/>
                    <a:pt x="25" y="73"/>
                  </a:cubicBezTo>
                  <a:cubicBezTo>
                    <a:pt x="25" y="73"/>
                    <a:pt x="25" y="73"/>
                    <a:pt x="25" y="73"/>
                  </a:cubicBezTo>
                  <a:cubicBezTo>
                    <a:pt x="26" y="73"/>
                    <a:pt x="26" y="73"/>
                    <a:pt x="26" y="73"/>
                  </a:cubicBezTo>
                  <a:cubicBezTo>
                    <a:pt x="27" y="73"/>
                    <a:pt x="27" y="73"/>
                    <a:pt x="27" y="73"/>
                  </a:cubicBezTo>
                  <a:cubicBezTo>
                    <a:pt x="27" y="73"/>
                    <a:pt x="28" y="73"/>
                    <a:pt x="28" y="73"/>
                  </a:cubicBezTo>
                  <a:cubicBezTo>
                    <a:pt x="29" y="73"/>
                    <a:pt x="30" y="75"/>
                    <a:pt x="30" y="75"/>
                  </a:cubicBezTo>
                  <a:cubicBezTo>
                    <a:pt x="32" y="75"/>
                    <a:pt x="33" y="71"/>
                    <a:pt x="36" y="71"/>
                  </a:cubicBezTo>
                  <a:cubicBezTo>
                    <a:pt x="36" y="71"/>
                    <a:pt x="36" y="71"/>
                    <a:pt x="36" y="71"/>
                  </a:cubicBezTo>
                  <a:cubicBezTo>
                    <a:pt x="38" y="72"/>
                    <a:pt x="39" y="75"/>
                    <a:pt x="40" y="76"/>
                  </a:cubicBezTo>
                  <a:cubicBezTo>
                    <a:pt x="41" y="77"/>
                    <a:pt x="42" y="78"/>
                    <a:pt x="42" y="78"/>
                  </a:cubicBezTo>
                  <a:cubicBezTo>
                    <a:pt x="43" y="78"/>
                    <a:pt x="43" y="77"/>
                    <a:pt x="44" y="77"/>
                  </a:cubicBezTo>
                  <a:cubicBezTo>
                    <a:pt x="45" y="77"/>
                    <a:pt x="45" y="77"/>
                    <a:pt x="46" y="77"/>
                  </a:cubicBezTo>
                  <a:cubicBezTo>
                    <a:pt x="50" y="77"/>
                    <a:pt x="53" y="81"/>
                    <a:pt x="55" y="84"/>
                  </a:cubicBezTo>
                  <a:cubicBezTo>
                    <a:pt x="57" y="87"/>
                    <a:pt x="62" y="91"/>
                    <a:pt x="65" y="92"/>
                  </a:cubicBezTo>
                  <a:cubicBezTo>
                    <a:pt x="67" y="93"/>
                    <a:pt x="67" y="92"/>
                    <a:pt x="68" y="93"/>
                  </a:cubicBezTo>
                  <a:cubicBezTo>
                    <a:pt x="68" y="93"/>
                    <a:pt x="70" y="95"/>
                    <a:pt x="70" y="95"/>
                  </a:cubicBezTo>
                  <a:cubicBezTo>
                    <a:pt x="72" y="97"/>
                    <a:pt x="72" y="98"/>
                    <a:pt x="74" y="100"/>
                  </a:cubicBezTo>
                  <a:cubicBezTo>
                    <a:pt x="74" y="101"/>
                    <a:pt x="74" y="102"/>
                    <a:pt x="75" y="103"/>
                  </a:cubicBezTo>
                  <a:cubicBezTo>
                    <a:pt x="76" y="103"/>
                    <a:pt x="77" y="103"/>
                    <a:pt x="78" y="104"/>
                  </a:cubicBezTo>
                  <a:cubicBezTo>
                    <a:pt x="78" y="104"/>
                    <a:pt x="78" y="105"/>
                    <a:pt x="78" y="106"/>
                  </a:cubicBezTo>
                  <a:cubicBezTo>
                    <a:pt x="80" y="108"/>
                    <a:pt x="80" y="110"/>
                    <a:pt x="81" y="112"/>
                  </a:cubicBezTo>
                  <a:cubicBezTo>
                    <a:pt x="82" y="113"/>
                    <a:pt x="83" y="114"/>
                    <a:pt x="83" y="114"/>
                  </a:cubicBezTo>
                  <a:cubicBezTo>
                    <a:pt x="84" y="114"/>
                    <a:pt x="85" y="113"/>
                    <a:pt x="86" y="113"/>
                  </a:cubicBezTo>
                  <a:cubicBezTo>
                    <a:pt x="87" y="113"/>
                    <a:pt x="88" y="113"/>
                    <a:pt x="88" y="113"/>
                  </a:cubicBezTo>
                  <a:cubicBezTo>
                    <a:pt x="88" y="113"/>
                    <a:pt x="89" y="113"/>
                    <a:pt x="89" y="114"/>
                  </a:cubicBezTo>
                  <a:cubicBezTo>
                    <a:pt x="91" y="114"/>
                    <a:pt x="91" y="116"/>
                    <a:pt x="93" y="117"/>
                  </a:cubicBezTo>
                  <a:cubicBezTo>
                    <a:pt x="93" y="117"/>
                    <a:pt x="93" y="117"/>
                    <a:pt x="94" y="117"/>
                  </a:cubicBezTo>
                  <a:cubicBezTo>
                    <a:pt x="97" y="117"/>
                    <a:pt x="99" y="113"/>
                    <a:pt x="102" y="112"/>
                  </a:cubicBezTo>
                  <a:cubicBezTo>
                    <a:pt x="104" y="110"/>
                    <a:pt x="107" y="108"/>
                    <a:pt x="110" y="106"/>
                  </a:cubicBezTo>
                  <a:cubicBezTo>
                    <a:pt x="107" y="106"/>
                    <a:pt x="104" y="102"/>
                    <a:pt x="104" y="100"/>
                  </a:cubicBezTo>
                  <a:cubicBezTo>
                    <a:pt x="104" y="99"/>
                    <a:pt x="104" y="99"/>
                    <a:pt x="104" y="99"/>
                  </a:cubicBezTo>
                  <a:cubicBezTo>
                    <a:pt x="104" y="99"/>
                    <a:pt x="104" y="99"/>
                    <a:pt x="104" y="99"/>
                  </a:cubicBezTo>
                  <a:cubicBezTo>
                    <a:pt x="104" y="97"/>
                    <a:pt x="104" y="95"/>
                    <a:pt x="104" y="93"/>
                  </a:cubicBezTo>
                  <a:cubicBezTo>
                    <a:pt x="104" y="93"/>
                    <a:pt x="104" y="94"/>
                    <a:pt x="104" y="94"/>
                  </a:cubicBezTo>
                  <a:cubicBezTo>
                    <a:pt x="104" y="93"/>
                    <a:pt x="104" y="93"/>
                    <a:pt x="104" y="92"/>
                  </a:cubicBezTo>
                  <a:cubicBezTo>
                    <a:pt x="104" y="92"/>
                    <a:pt x="104" y="93"/>
                    <a:pt x="105" y="93"/>
                  </a:cubicBezTo>
                  <a:cubicBezTo>
                    <a:pt x="105" y="93"/>
                    <a:pt x="105" y="93"/>
                    <a:pt x="105" y="93"/>
                  </a:cubicBezTo>
                  <a:cubicBezTo>
                    <a:pt x="105" y="92"/>
                    <a:pt x="105" y="92"/>
                    <a:pt x="105" y="92"/>
                  </a:cubicBezTo>
                  <a:cubicBezTo>
                    <a:pt x="105" y="95"/>
                    <a:pt x="103" y="99"/>
                    <a:pt x="106" y="101"/>
                  </a:cubicBezTo>
                  <a:cubicBezTo>
                    <a:pt x="106" y="101"/>
                    <a:pt x="107" y="101"/>
                    <a:pt x="107" y="101"/>
                  </a:cubicBezTo>
                  <a:cubicBezTo>
                    <a:pt x="108" y="101"/>
                    <a:pt x="109" y="101"/>
                    <a:pt x="110" y="101"/>
                  </a:cubicBezTo>
                  <a:cubicBezTo>
                    <a:pt x="110" y="101"/>
                    <a:pt x="110" y="101"/>
                    <a:pt x="110" y="101"/>
                  </a:cubicBezTo>
                  <a:cubicBezTo>
                    <a:pt x="111" y="101"/>
                    <a:pt x="112" y="101"/>
                    <a:pt x="113" y="101"/>
                  </a:cubicBezTo>
                  <a:cubicBezTo>
                    <a:pt x="113" y="101"/>
                    <a:pt x="114" y="101"/>
                    <a:pt x="115" y="101"/>
                  </a:cubicBezTo>
                  <a:cubicBezTo>
                    <a:pt x="115" y="101"/>
                    <a:pt x="115" y="101"/>
                    <a:pt x="115" y="101"/>
                  </a:cubicBezTo>
                  <a:cubicBezTo>
                    <a:pt x="118" y="101"/>
                    <a:pt x="122" y="99"/>
                    <a:pt x="125" y="98"/>
                  </a:cubicBezTo>
                  <a:cubicBezTo>
                    <a:pt x="131" y="95"/>
                    <a:pt x="137" y="93"/>
                    <a:pt x="143" y="91"/>
                  </a:cubicBezTo>
                  <a:cubicBezTo>
                    <a:pt x="146" y="90"/>
                    <a:pt x="146" y="90"/>
                    <a:pt x="146" y="87"/>
                  </a:cubicBezTo>
                  <a:cubicBezTo>
                    <a:pt x="145" y="85"/>
                    <a:pt x="146" y="84"/>
                    <a:pt x="145" y="84"/>
                  </a:cubicBezTo>
                  <a:cubicBezTo>
                    <a:pt x="144" y="84"/>
                    <a:pt x="144" y="84"/>
                    <a:pt x="143" y="85"/>
                  </a:cubicBezTo>
                  <a:cubicBezTo>
                    <a:pt x="144" y="83"/>
                    <a:pt x="146" y="83"/>
                    <a:pt x="146" y="80"/>
                  </a:cubicBezTo>
                  <a:cubicBezTo>
                    <a:pt x="146" y="80"/>
                    <a:pt x="145" y="77"/>
                    <a:pt x="145" y="77"/>
                  </a:cubicBezTo>
                  <a:cubicBezTo>
                    <a:pt x="145" y="76"/>
                    <a:pt x="144" y="74"/>
                    <a:pt x="143" y="74"/>
                  </a:cubicBezTo>
                  <a:cubicBezTo>
                    <a:pt x="142" y="73"/>
                    <a:pt x="139" y="73"/>
                    <a:pt x="138" y="72"/>
                  </a:cubicBezTo>
                  <a:cubicBezTo>
                    <a:pt x="138" y="72"/>
                    <a:pt x="138" y="72"/>
                    <a:pt x="138" y="72"/>
                  </a:cubicBezTo>
                  <a:cubicBezTo>
                    <a:pt x="141" y="72"/>
                    <a:pt x="144" y="70"/>
                    <a:pt x="147" y="69"/>
                  </a:cubicBezTo>
                  <a:cubicBezTo>
                    <a:pt x="149" y="68"/>
                    <a:pt x="151" y="68"/>
                    <a:pt x="150" y="65"/>
                  </a:cubicBezTo>
                  <a:cubicBezTo>
                    <a:pt x="149" y="62"/>
                    <a:pt x="146" y="60"/>
                    <a:pt x="146" y="57"/>
                  </a:cubicBezTo>
                  <a:cubicBezTo>
                    <a:pt x="145" y="55"/>
                    <a:pt x="146" y="54"/>
                    <a:pt x="144" y="53"/>
                  </a:cubicBezTo>
                  <a:cubicBezTo>
                    <a:pt x="144" y="53"/>
                    <a:pt x="141" y="55"/>
                    <a:pt x="140" y="55"/>
                  </a:cubicBezTo>
                  <a:cubicBezTo>
                    <a:pt x="137" y="56"/>
                    <a:pt x="135" y="57"/>
                    <a:pt x="132" y="59"/>
                  </a:cubicBezTo>
                  <a:cubicBezTo>
                    <a:pt x="132" y="57"/>
                    <a:pt x="134" y="55"/>
                    <a:pt x="132" y="52"/>
                  </a:cubicBezTo>
                  <a:cubicBezTo>
                    <a:pt x="131" y="51"/>
                    <a:pt x="129" y="51"/>
                    <a:pt x="129" y="48"/>
                  </a:cubicBezTo>
                  <a:cubicBezTo>
                    <a:pt x="128" y="44"/>
                    <a:pt x="129" y="44"/>
                    <a:pt x="125" y="43"/>
                  </a:cubicBezTo>
                  <a:cubicBezTo>
                    <a:pt x="123" y="42"/>
                    <a:pt x="122" y="42"/>
                    <a:pt x="120" y="41"/>
                  </a:cubicBezTo>
                  <a:cubicBezTo>
                    <a:pt x="118" y="41"/>
                    <a:pt x="116" y="40"/>
                    <a:pt x="114" y="40"/>
                  </a:cubicBezTo>
                  <a:cubicBezTo>
                    <a:pt x="113" y="40"/>
                    <a:pt x="111" y="41"/>
                    <a:pt x="110" y="41"/>
                  </a:cubicBezTo>
                  <a:cubicBezTo>
                    <a:pt x="107" y="42"/>
                    <a:pt x="102" y="44"/>
                    <a:pt x="101" y="48"/>
                  </a:cubicBezTo>
                  <a:cubicBezTo>
                    <a:pt x="100" y="47"/>
                    <a:pt x="99" y="43"/>
                    <a:pt x="99" y="42"/>
                  </a:cubicBezTo>
                  <a:cubicBezTo>
                    <a:pt x="100" y="41"/>
                    <a:pt x="102" y="41"/>
                    <a:pt x="103" y="40"/>
                  </a:cubicBezTo>
                  <a:cubicBezTo>
                    <a:pt x="105" y="39"/>
                    <a:pt x="106" y="37"/>
                    <a:pt x="109" y="36"/>
                  </a:cubicBezTo>
                  <a:cubicBezTo>
                    <a:pt x="113" y="33"/>
                    <a:pt x="116" y="29"/>
                    <a:pt x="121" y="28"/>
                  </a:cubicBezTo>
                  <a:cubicBezTo>
                    <a:pt x="124" y="27"/>
                    <a:pt x="127" y="26"/>
                    <a:pt x="129" y="25"/>
                  </a:cubicBezTo>
                  <a:cubicBezTo>
                    <a:pt x="130" y="25"/>
                    <a:pt x="131" y="23"/>
                    <a:pt x="130" y="22"/>
                  </a:cubicBezTo>
                  <a:cubicBezTo>
                    <a:pt x="130" y="21"/>
                    <a:pt x="129" y="21"/>
                    <a:pt x="129" y="21"/>
                  </a:cubicBezTo>
                  <a:cubicBezTo>
                    <a:pt x="129" y="21"/>
                    <a:pt x="128" y="21"/>
                    <a:pt x="128" y="21"/>
                  </a:cubicBezTo>
                  <a:cubicBezTo>
                    <a:pt x="128" y="21"/>
                    <a:pt x="127" y="21"/>
                    <a:pt x="127" y="21"/>
                  </a:cubicBezTo>
                  <a:cubicBezTo>
                    <a:pt x="127" y="21"/>
                    <a:pt x="127" y="21"/>
                    <a:pt x="127" y="21"/>
                  </a:cubicBezTo>
                  <a:cubicBezTo>
                    <a:pt x="125" y="21"/>
                    <a:pt x="125" y="20"/>
                    <a:pt x="123" y="20"/>
                  </a:cubicBezTo>
                  <a:cubicBezTo>
                    <a:pt x="123" y="20"/>
                    <a:pt x="123" y="20"/>
                    <a:pt x="123" y="20"/>
                  </a:cubicBezTo>
                  <a:cubicBezTo>
                    <a:pt x="123" y="20"/>
                    <a:pt x="122" y="20"/>
                    <a:pt x="122" y="21"/>
                  </a:cubicBezTo>
                  <a:cubicBezTo>
                    <a:pt x="122" y="21"/>
                    <a:pt x="121" y="21"/>
                    <a:pt x="121" y="21"/>
                  </a:cubicBezTo>
                  <a:cubicBezTo>
                    <a:pt x="121" y="21"/>
                    <a:pt x="121" y="21"/>
                    <a:pt x="120" y="19"/>
                  </a:cubicBezTo>
                  <a:cubicBezTo>
                    <a:pt x="120" y="19"/>
                    <a:pt x="120" y="18"/>
                    <a:pt x="120" y="18"/>
                  </a:cubicBezTo>
                  <a:cubicBezTo>
                    <a:pt x="120" y="18"/>
                    <a:pt x="120" y="18"/>
                    <a:pt x="121" y="18"/>
                  </a:cubicBezTo>
                  <a:cubicBezTo>
                    <a:pt x="121" y="19"/>
                    <a:pt x="121" y="19"/>
                    <a:pt x="121" y="19"/>
                  </a:cubicBezTo>
                  <a:cubicBezTo>
                    <a:pt x="122" y="19"/>
                    <a:pt x="122" y="19"/>
                    <a:pt x="122" y="18"/>
                  </a:cubicBezTo>
                  <a:cubicBezTo>
                    <a:pt x="123" y="18"/>
                    <a:pt x="123" y="16"/>
                    <a:pt x="124" y="16"/>
                  </a:cubicBezTo>
                  <a:cubicBezTo>
                    <a:pt x="124" y="16"/>
                    <a:pt x="125" y="16"/>
                    <a:pt x="125" y="17"/>
                  </a:cubicBezTo>
                  <a:cubicBezTo>
                    <a:pt x="126" y="17"/>
                    <a:pt x="126" y="17"/>
                    <a:pt x="127" y="17"/>
                  </a:cubicBezTo>
                  <a:cubicBezTo>
                    <a:pt x="131" y="17"/>
                    <a:pt x="136" y="13"/>
                    <a:pt x="135" y="10"/>
                  </a:cubicBezTo>
                  <a:cubicBezTo>
                    <a:pt x="135" y="8"/>
                    <a:pt x="128" y="3"/>
                    <a:pt x="126" y="3"/>
                  </a:cubicBezTo>
                  <a:cubicBezTo>
                    <a:pt x="126" y="4"/>
                    <a:pt x="126" y="4"/>
                    <a:pt x="125" y="4"/>
                  </a:cubicBezTo>
                  <a:cubicBezTo>
                    <a:pt x="123" y="4"/>
                    <a:pt x="120" y="2"/>
                    <a:pt x="118" y="2"/>
                  </a:cubicBezTo>
                  <a:cubicBezTo>
                    <a:pt x="117" y="2"/>
                    <a:pt x="116" y="1"/>
                    <a:pt x="116" y="1"/>
                  </a:cubicBezTo>
                  <a:cubicBezTo>
                    <a:pt x="115" y="1"/>
                    <a:pt x="115" y="1"/>
                    <a:pt x="114" y="2"/>
                  </a:cubicBezTo>
                  <a:cubicBezTo>
                    <a:pt x="113" y="2"/>
                    <a:pt x="113" y="3"/>
                    <a:pt x="112" y="4"/>
                  </a:cubicBezTo>
                  <a:cubicBezTo>
                    <a:pt x="108" y="7"/>
                    <a:pt x="103" y="6"/>
                    <a:pt x="99" y="7"/>
                  </a:cubicBezTo>
                  <a:cubicBezTo>
                    <a:pt x="97" y="7"/>
                    <a:pt x="94" y="8"/>
                    <a:pt x="92" y="9"/>
                  </a:cubicBezTo>
                  <a:cubicBezTo>
                    <a:pt x="92" y="9"/>
                    <a:pt x="92" y="9"/>
                    <a:pt x="91" y="9"/>
                  </a:cubicBezTo>
                  <a:cubicBezTo>
                    <a:pt x="90" y="9"/>
                    <a:pt x="90" y="9"/>
                    <a:pt x="89" y="9"/>
                  </a:cubicBezTo>
                  <a:cubicBezTo>
                    <a:pt x="88" y="9"/>
                    <a:pt x="87" y="8"/>
                    <a:pt x="87" y="8"/>
                  </a:cubicBezTo>
                  <a:cubicBezTo>
                    <a:pt x="86" y="8"/>
                    <a:pt x="86" y="8"/>
                    <a:pt x="85" y="9"/>
                  </a:cubicBezTo>
                  <a:cubicBezTo>
                    <a:pt x="84" y="9"/>
                    <a:pt x="84" y="10"/>
                    <a:pt x="84" y="10"/>
                  </a:cubicBezTo>
                  <a:cubicBezTo>
                    <a:pt x="83" y="10"/>
                    <a:pt x="83" y="10"/>
                    <a:pt x="83" y="10"/>
                  </a:cubicBezTo>
                  <a:cubicBezTo>
                    <a:pt x="81" y="8"/>
                    <a:pt x="79" y="7"/>
                    <a:pt x="77" y="5"/>
                  </a:cubicBezTo>
                  <a:cubicBezTo>
                    <a:pt x="76" y="5"/>
                    <a:pt x="75" y="5"/>
                    <a:pt x="74" y="5"/>
                  </a:cubicBezTo>
                  <a:cubicBezTo>
                    <a:pt x="71" y="4"/>
                    <a:pt x="70" y="1"/>
                    <a:pt x="68" y="0"/>
                  </a:cubicBezTo>
                  <a:cubicBezTo>
                    <a:pt x="68" y="0"/>
                    <a:pt x="67" y="0"/>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3" name="Freeform 286">
              <a:extLst>
                <a:ext uri="{FF2B5EF4-FFF2-40B4-BE49-F238E27FC236}">
                  <a16:creationId xmlns:a16="http://schemas.microsoft.com/office/drawing/2014/main" id="{83C5EE60-5950-4122-A550-5D3CB50E62A8}"/>
                </a:ext>
              </a:extLst>
            </p:cNvPr>
            <p:cNvSpPr>
              <a:spLocks/>
            </p:cNvSpPr>
            <p:nvPr/>
          </p:nvSpPr>
          <p:spPr bwMode="auto">
            <a:xfrm>
              <a:off x="8323254" y="2301109"/>
              <a:ext cx="612775" cy="390525"/>
            </a:xfrm>
            <a:custGeom>
              <a:avLst/>
              <a:gdLst>
                <a:gd name="T0" fmla="*/ 33 w 163"/>
                <a:gd name="T1" fmla="*/ 3 h 104"/>
                <a:gd name="T2" fmla="*/ 26 w 163"/>
                <a:gd name="T3" fmla="*/ 17 h 104"/>
                <a:gd name="T4" fmla="*/ 26 w 163"/>
                <a:gd name="T5" fmla="*/ 22 h 104"/>
                <a:gd name="T6" fmla="*/ 25 w 163"/>
                <a:gd name="T7" fmla="*/ 27 h 104"/>
                <a:gd name="T8" fmla="*/ 23 w 163"/>
                <a:gd name="T9" fmla="*/ 36 h 104"/>
                <a:gd name="T10" fmla="*/ 24 w 163"/>
                <a:gd name="T11" fmla="*/ 40 h 104"/>
                <a:gd name="T12" fmla="*/ 22 w 163"/>
                <a:gd name="T13" fmla="*/ 44 h 104"/>
                <a:gd name="T14" fmla="*/ 19 w 163"/>
                <a:gd name="T15" fmla="*/ 53 h 104"/>
                <a:gd name="T16" fmla="*/ 20 w 163"/>
                <a:gd name="T17" fmla="*/ 58 h 104"/>
                <a:gd name="T18" fmla="*/ 20 w 163"/>
                <a:gd name="T19" fmla="*/ 62 h 104"/>
                <a:gd name="T20" fmla="*/ 15 w 163"/>
                <a:gd name="T21" fmla="*/ 72 h 104"/>
                <a:gd name="T22" fmla="*/ 0 w 163"/>
                <a:gd name="T23" fmla="*/ 86 h 104"/>
                <a:gd name="T24" fmla="*/ 33 w 163"/>
                <a:gd name="T25" fmla="*/ 81 h 104"/>
                <a:gd name="T26" fmla="*/ 35 w 163"/>
                <a:gd name="T27" fmla="*/ 82 h 104"/>
                <a:gd name="T28" fmla="*/ 38 w 163"/>
                <a:gd name="T29" fmla="*/ 86 h 104"/>
                <a:gd name="T30" fmla="*/ 36 w 163"/>
                <a:gd name="T31" fmla="*/ 95 h 104"/>
                <a:gd name="T32" fmla="*/ 46 w 163"/>
                <a:gd name="T33" fmla="*/ 104 h 104"/>
                <a:gd name="T34" fmla="*/ 64 w 163"/>
                <a:gd name="T35" fmla="*/ 93 h 104"/>
                <a:gd name="T36" fmla="*/ 73 w 163"/>
                <a:gd name="T37" fmla="*/ 86 h 104"/>
                <a:gd name="T38" fmla="*/ 83 w 163"/>
                <a:gd name="T39" fmla="*/ 80 h 104"/>
                <a:gd name="T40" fmla="*/ 82 w 163"/>
                <a:gd name="T41" fmla="*/ 73 h 104"/>
                <a:gd name="T42" fmla="*/ 95 w 163"/>
                <a:gd name="T43" fmla="*/ 73 h 104"/>
                <a:gd name="T44" fmla="*/ 111 w 163"/>
                <a:gd name="T45" fmla="*/ 83 h 104"/>
                <a:gd name="T46" fmla="*/ 128 w 163"/>
                <a:gd name="T47" fmla="*/ 87 h 104"/>
                <a:gd name="T48" fmla="*/ 144 w 163"/>
                <a:gd name="T49" fmla="*/ 93 h 104"/>
                <a:gd name="T50" fmla="*/ 163 w 163"/>
                <a:gd name="T51" fmla="*/ 81 h 104"/>
                <a:gd name="T52" fmla="*/ 146 w 163"/>
                <a:gd name="T53" fmla="*/ 68 h 104"/>
                <a:gd name="T54" fmla="*/ 139 w 163"/>
                <a:gd name="T55" fmla="*/ 70 h 104"/>
                <a:gd name="T56" fmla="*/ 135 w 163"/>
                <a:gd name="T57" fmla="*/ 69 h 104"/>
                <a:gd name="T58" fmla="*/ 121 w 163"/>
                <a:gd name="T59" fmla="*/ 73 h 104"/>
                <a:gd name="T60" fmla="*/ 127 w 163"/>
                <a:gd name="T61" fmla="*/ 62 h 104"/>
                <a:gd name="T62" fmla="*/ 117 w 163"/>
                <a:gd name="T63" fmla="*/ 46 h 104"/>
                <a:gd name="T64" fmla="*/ 88 w 163"/>
                <a:gd name="T65" fmla="*/ 30 h 104"/>
                <a:gd name="T66" fmla="*/ 67 w 163"/>
                <a:gd name="T67" fmla="*/ 22 h 104"/>
                <a:gd name="T68" fmla="*/ 60 w 163"/>
                <a:gd name="T69" fmla="*/ 18 h 104"/>
                <a:gd name="T70" fmla="*/ 51 w 163"/>
                <a:gd name="T71" fmla="*/ 23 h 104"/>
                <a:gd name="T72" fmla="*/ 45 w 163"/>
                <a:gd name="T73" fmla="*/ 16 h 104"/>
                <a:gd name="T74" fmla="*/ 46 w 163"/>
                <a:gd name="T75" fmla="*/ 4 h 104"/>
                <a:gd name="T76" fmla="*/ 43 w 163"/>
                <a:gd name="T77" fmla="*/ 4 h 104"/>
                <a:gd name="T78" fmla="*/ 40 w 163"/>
                <a:gd name="T79" fmla="*/ 5 h 104"/>
                <a:gd name="T80" fmla="*/ 39 w 163"/>
                <a:gd name="T8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04">
                  <a:moveTo>
                    <a:pt x="39" y="0"/>
                  </a:moveTo>
                  <a:cubicBezTo>
                    <a:pt x="37" y="0"/>
                    <a:pt x="34" y="2"/>
                    <a:pt x="33" y="3"/>
                  </a:cubicBezTo>
                  <a:cubicBezTo>
                    <a:pt x="29" y="6"/>
                    <a:pt x="29" y="8"/>
                    <a:pt x="27" y="13"/>
                  </a:cubicBezTo>
                  <a:cubicBezTo>
                    <a:pt x="27" y="14"/>
                    <a:pt x="26" y="16"/>
                    <a:pt x="26" y="17"/>
                  </a:cubicBezTo>
                  <a:cubicBezTo>
                    <a:pt x="25" y="18"/>
                    <a:pt x="25" y="19"/>
                    <a:pt x="25" y="20"/>
                  </a:cubicBezTo>
                  <a:cubicBezTo>
                    <a:pt x="25" y="21"/>
                    <a:pt x="26" y="21"/>
                    <a:pt x="26" y="22"/>
                  </a:cubicBezTo>
                  <a:cubicBezTo>
                    <a:pt x="26" y="23"/>
                    <a:pt x="25" y="23"/>
                    <a:pt x="24" y="24"/>
                  </a:cubicBezTo>
                  <a:cubicBezTo>
                    <a:pt x="24" y="25"/>
                    <a:pt x="25" y="26"/>
                    <a:pt x="25" y="27"/>
                  </a:cubicBezTo>
                  <a:cubicBezTo>
                    <a:pt x="25" y="28"/>
                    <a:pt x="25" y="30"/>
                    <a:pt x="25" y="31"/>
                  </a:cubicBezTo>
                  <a:cubicBezTo>
                    <a:pt x="25" y="33"/>
                    <a:pt x="23" y="34"/>
                    <a:pt x="23" y="36"/>
                  </a:cubicBezTo>
                  <a:cubicBezTo>
                    <a:pt x="23" y="37"/>
                    <a:pt x="24" y="37"/>
                    <a:pt x="24" y="38"/>
                  </a:cubicBezTo>
                  <a:cubicBezTo>
                    <a:pt x="25" y="39"/>
                    <a:pt x="24" y="39"/>
                    <a:pt x="24" y="40"/>
                  </a:cubicBezTo>
                  <a:cubicBezTo>
                    <a:pt x="24" y="42"/>
                    <a:pt x="24" y="42"/>
                    <a:pt x="24" y="42"/>
                  </a:cubicBezTo>
                  <a:cubicBezTo>
                    <a:pt x="24" y="42"/>
                    <a:pt x="22" y="43"/>
                    <a:pt x="22" y="44"/>
                  </a:cubicBezTo>
                  <a:cubicBezTo>
                    <a:pt x="21" y="45"/>
                    <a:pt x="20" y="47"/>
                    <a:pt x="20" y="49"/>
                  </a:cubicBezTo>
                  <a:cubicBezTo>
                    <a:pt x="19" y="51"/>
                    <a:pt x="19" y="51"/>
                    <a:pt x="19" y="53"/>
                  </a:cubicBezTo>
                  <a:cubicBezTo>
                    <a:pt x="19" y="54"/>
                    <a:pt x="19" y="55"/>
                    <a:pt x="19" y="56"/>
                  </a:cubicBezTo>
                  <a:cubicBezTo>
                    <a:pt x="19" y="57"/>
                    <a:pt x="20" y="57"/>
                    <a:pt x="20" y="58"/>
                  </a:cubicBezTo>
                  <a:cubicBezTo>
                    <a:pt x="20" y="58"/>
                    <a:pt x="20" y="59"/>
                    <a:pt x="20" y="60"/>
                  </a:cubicBezTo>
                  <a:cubicBezTo>
                    <a:pt x="20" y="61"/>
                    <a:pt x="20" y="61"/>
                    <a:pt x="20" y="62"/>
                  </a:cubicBezTo>
                  <a:cubicBezTo>
                    <a:pt x="21" y="64"/>
                    <a:pt x="23" y="65"/>
                    <a:pt x="24" y="66"/>
                  </a:cubicBezTo>
                  <a:cubicBezTo>
                    <a:pt x="25" y="70"/>
                    <a:pt x="18" y="71"/>
                    <a:pt x="15" y="72"/>
                  </a:cubicBezTo>
                  <a:cubicBezTo>
                    <a:pt x="11" y="74"/>
                    <a:pt x="8" y="75"/>
                    <a:pt x="5" y="78"/>
                  </a:cubicBezTo>
                  <a:cubicBezTo>
                    <a:pt x="2" y="81"/>
                    <a:pt x="1" y="83"/>
                    <a:pt x="0" y="86"/>
                  </a:cubicBezTo>
                  <a:cubicBezTo>
                    <a:pt x="7" y="85"/>
                    <a:pt x="14" y="84"/>
                    <a:pt x="22" y="83"/>
                  </a:cubicBezTo>
                  <a:cubicBezTo>
                    <a:pt x="26" y="83"/>
                    <a:pt x="29" y="82"/>
                    <a:pt x="33" y="81"/>
                  </a:cubicBezTo>
                  <a:cubicBezTo>
                    <a:pt x="34" y="81"/>
                    <a:pt x="34" y="81"/>
                    <a:pt x="34" y="81"/>
                  </a:cubicBezTo>
                  <a:cubicBezTo>
                    <a:pt x="35" y="81"/>
                    <a:pt x="34" y="82"/>
                    <a:pt x="35" y="82"/>
                  </a:cubicBezTo>
                  <a:cubicBezTo>
                    <a:pt x="35" y="83"/>
                    <a:pt x="35" y="83"/>
                    <a:pt x="36" y="84"/>
                  </a:cubicBezTo>
                  <a:cubicBezTo>
                    <a:pt x="37" y="85"/>
                    <a:pt x="37" y="85"/>
                    <a:pt x="38" y="86"/>
                  </a:cubicBezTo>
                  <a:cubicBezTo>
                    <a:pt x="38" y="87"/>
                    <a:pt x="38" y="90"/>
                    <a:pt x="37" y="91"/>
                  </a:cubicBezTo>
                  <a:cubicBezTo>
                    <a:pt x="37" y="92"/>
                    <a:pt x="36" y="94"/>
                    <a:pt x="36" y="95"/>
                  </a:cubicBezTo>
                  <a:cubicBezTo>
                    <a:pt x="37" y="99"/>
                    <a:pt x="42" y="103"/>
                    <a:pt x="45" y="104"/>
                  </a:cubicBezTo>
                  <a:cubicBezTo>
                    <a:pt x="45" y="104"/>
                    <a:pt x="46" y="104"/>
                    <a:pt x="46" y="104"/>
                  </a:cubicBezTo>
                  <a:cubicBezTo>
                    <a:pt x="50" y="104"/>
                    <a:pt x="54" y="101"/>
                    <a:pt x="57" y="100"/>
                  </a:cubicBezTo>
                  <a:cubicBezTo>
                    <a:pt x="60" y="98"/>
                    <a:pt x="62" y="97"/>
                    <a:pt x="64" y="93"/>
                  </a:cubicBezTo>
                  <a:cubicBezTo>
                    <a:pt x="65" y="92"/>
                    <a:pt x="64" y="91"/>
                    <a:pt x="65" y="90"/>
                  </a:cubicBezTo>
                  <a:cubicBezTo>
                    <a:pt x="67" y="88"/>
                    <a:pt x="71" y="88"/>
                    <a:pt x="73" y="86"/>
                  </a:cubicBezTo>
                  <a:cubicBezTo>
                    <a:pt x="75" y="86"/>
                    <a:pt x="76" y="84"/>
                    <a:pt x="77" y="83"/>
                  </a:cubicBezTo>
                  <a:cubicBezTo>
                    <a:pt x="79" y="82"/>
                    <a:pt x="83" y="82"/>
                    <a:pt x="83" y="80"/>
                  </a:cubicBezTo>
                  <a:cubicBezTo>
                    <a:pt x="84" y="79"/>
                    <a:pt x="84" y="77"/>
                    <a:pt x="83" y="76"/>
                  </a:cubicBezTo>
                  <a:cubicBezTo>
                    <a:pt x="83" y="75"/>
                    <a:pt x="84" y="74"/>
                    <a:pt x="82" y="73"/>
                  </a:cubicBezTo>
                  <a:cubicBezTo>
                    <a:pt x="87" y="70"/>
                    <a:pt x="93" y="67"/>
                    <a:pt x="98" y="66"/>
                  </a:cubicBezTo>
                  <a:cubicBezTo>
                    <a:pt x="100" y="68"/>
                    <a:pt x="96" y="71"/>
                    <a:pt x="95" y="73"/>
                  </a:cubicBezTo>
                  <a:cubicBezTo>
                    <a:pt x="98" y="73"/>
                    <a:pt x="111" y="72"/>
                    <a:pt x="113" y="77"/>
                  </a:cubicBezTo>
                  <a:cubicBezTo>
                    <a:pt x="113" y="79"/>
                    <a:pt x="104" y="82"/>
                    <a:pt x="111" y="83"/>
                  </a:cubicBezTo>
                  <a:cubicBezTo>
                    <a:pt x="115" y="84"/>
                    <a:pt x="118" y="84"/>
                    <a:pt x="121" y="85"/>
                  </a:cubicBezTo>
                  <a:cubicBezTo>
                    <a:pt x="124" y="86"/>
                    <a:pt x="126" y="86"/>
                    <a:pt x="128" y="87"/>
                  </a:cubicBezTo>
                  <a:cubicBezTo>
                    <a:pt x="132" y="89"/>
                    <a:pt x="137" y="90"/>
                    <a:pt x="141" y="92"/>
                  </a:cubicBezTo>
                  <a:cubicBezTo>
                    <a:pt x="141" y="92"/>
                    <a:pt x="143" y="93"/>
                    <a:pt x="144" y="93"/>
                  </a:cubicBezTo>
                  <a:cubicBezTo>
                    <a:pt x="145" y="93"/>
                    <a:pt x="146" y="92"/>
                    <a:pt x="146" y="91"/>
                  </a:cubicBezTo>
                  <a:cubicBezTo>
                    <a:pt x="151" y="87"/>
                    <a:pt x="157" y="84"/>
                    <a:pt x="163" y="81"/>
                  </a:cubicBezTo>
                  <a:cubicBezTo>
                    <a:pt x="160" y="80"/>
                    <a:pt x="155" y="79"/>
                    <a:pt x="152" y="76"/>
                  </a:cubicBezTo>
                  <a:cubicBezTo>
                    <a:pt x="149" y="74"/>
                    <a:pt x="148" y="70"/>
                    <a:pt x="146" y="68"/>
                  </a:cubicBezTo>
                  <a:cubicBezTo>
                    <a:pt x="146" y="70"/>
                    <a:pt x="145" y="70"/>
                    <a:pt x="144" y="70"/>
                  </a:cubicBezTo>
                  <a:cubicBezTo>
                    <a:pt x="142" y="70"/>
                    <a:pt x="141" y="70"/>
                    <a:pt x="139" y="70"/>
                  </a:cubicBezTo>
                  <a:cubicBezTo>
                    <a:pt x="138" y="69"/>
                    <a:pt x="136" y="69"/>
                    <a:pt x="135" y="69"/>
                  </a:cubicBezTo>
                  <a:cubicBezTo>
                    <a:pt x="135" y="69"/>
                    <a:pt x="135" y="69"/>
                    <a:pt x="135" y="69"/>
                  </a:cubicBezTo>
                  <a:cubicBezTo>
                    <a:pt x="133" y="70"/>
                    <a:pt x="135" y="71"/>
                    <a:pt x="133" y="71"/>
                  </a:cubicBezTo>
                  <a:cubicBezTo>
                    <a:pt x="129" y="72"/>
                    <a:pt x="125" y="72"/>
                    <a:pt x="121" y="73"/>
                  </a:cubicBezTo>
                  <a:cubicBezTo>
                    <a:pt x="122" y="68"/>
                    <a:pt x="129" y="71"/>
                    <a:pt x="130" y="67"/>
                  </a:cubicBezTo>
                  <a:cubicBezTo>
                    <a:pt x="131" y="65"/>
                    <a:pt x="128" y="64"/>
                    <a:pt x="127" y="62"/>
                  </a:cubicBezTo>
                  <a:cubicBezTo>
                    <a:pt x="126" y="60"/>
                    <a:pt x="127" y="59"/>
                    <a:pt x="127" y="57"/>
                  </a:cubicBezTo>
                  <a:cubicBezTo>
                    <a:pt x="126" y="54"/>
                    <a:pt x="120" y="48"/>
                    <a:pt x="117" y="46"/>
                  </a:cubicBezTo>
                  <a:cubicBezTo>
                    <a:pt x="114" y="45"/>
                    <a:pt x="111" y="43"/>
                    <a:pt x="108" y="41"/>
                  </a:cubicBezTo>
                  <a:cubicBezTo>
                    <a:pt x="101" y="38"/>
                    <a:pt x="95" y="33"/>
                    <a:pt x="88" y="30"/>
                  </a:cubicBezTo>
                  <a:cubicBezTo>
                    <a:pt x="85" y="29"/>
                    <a:pt x="83" y="29"/>
                    <a:pt x="80" y="29"/>
                  </a:cubicBezTo>
                  <a:cubicBezTo>
                    <a:pt x="74" y="27"/>
                    <a:pt x="71" y="27"/>
                    <a:pt x="67" y="22"/>
                  </a:cubicBezTo>
                  <a:cubicBezTo>
                    <a:pt x="66" y="20"/>
                    <a:pt x="64" y="17"/>
                    <a:pt x="62" y="17"/>
                  </a:cubicBezTo>
                  <a:cubicBezTo>
                    <a:pt x="62" y="17"/>
                    <a:pt x="61" y="17"/>
                    <a:pt x="60" y="18"/>
                  </a:cubicBezTo>
                  <a:cubicBezTo>
                    <a:pt x="56" y="21"/>
                    <a:pt x="58" y="25"/>
                    <a:pt x="53" y="27"/>
                  </a:cubicBezTo>
                  <a:cubicBezTo>
                    <a:pt x="53" y="25"/>
                    <a:pt x="52" y="24"/>
                    <a:pt x="51" y="23"/>
                  </a:cubicBezTo>
                  <a:cubicBezTo>
                    <a:pt x="51" y="22"/>
                    <a:pt x="52" y="21"/>
                    <a:pt x="51" y="20"/>
                  </a:cubicBezTo>
                  <a:cubicBezTo>
                    <a:pt x="50" y="18"/>
                    <a:pt x="46" y="18"/>
                    <a:pt x="45" y="16"/>
                  </a:cubicBezTo>
                  <a:cubicBezTo>
                    <a:pt x="43" y="13"/>
                    <a:pt x="47" y="15"/>
                    <a:pt x="49" y="13"/>
                  </a:cubicBezTo>
                  <a:cubicBezTo>
                    <a:pt x="51" y="11"/>
                    <a:pt x="48" y="5"/>
                    <a:pt x="46" y="4"/>
                  </a:cubicBezTo>
                  <a:cubicBezTo>
                    <a:pt x="45" y="4"/>
                    <a:pt x="45" y="4"/>
                    <a:pt x="45" y="4"/>
                  </a:cubicBezTo>
                  <a:cubicBezTo>
                    <a:pt x="44" y="4"/>
                    <a:pt x="43" y="4"/>
                    <a:pt x="43" y="4"/>
                  </a:cubicBezTo>
                  <a:cubicBezTo>
                    <a:pt x="42" y="5"/>
                    <a:pt x="41" y="5"/>
                    <a:pt x="41" y="5"/>
                  </a:cubicBezTo>
                  <a:cubicBezTo>
                    <a:pt x="40" y="5"/>
                    <a:pt x="40" y="5"/>
                    <a:pt x="40" y="5"/>
                  </a:cubicBezTo>
                  <a:cubicBezTo>
                    <a:pt x="38" y="4"/>
                    <a:pt x="40" y="1"/>
                    <a:pt x="39" y="0"/>
                  </a:cubicBezTo>
                  <a:cubicBezTo>
                    <a:pt x="39"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4" name="Freeform 287">
              <a:extLst>
                <a:ext uri="{FF2B5EF4-FFF2-40B4-BE49-F238E27FC236}">
                  <a16:creationId xmlns:a16="http://schemas.microsoft.com/office/drawing/2014/main" id="{8926B595-765D-4A94-BE38-C1B02AEF29A0}"/>
                </a:ext>
              </a:extLst>
            </p:cNvPr>
            <p:cNvSpPr>
              <a:spLocks/>
            </p:cNvSpPr>
            <p:nvPr/>
          </p:nvSpPr>
          <p:spPr bwMode="auto">
            <a:xfrm>
              <a:off x="7010391" y="1872484"/>
              <a:ext cx="52388" cy="38100"/>
            </a:xfrm>
            <a:custGeom>
              <a:avLst/>
              <a:gdLst>
                <a:gd name="T0" fmla="*/ 7 w 14"/>
                <a:gd name="T1" fmla="*/ 0 h 10"/>
                <a:gd name="T2" fmla="*/ 6 w 14"/>
                <a:gd name="T3" fmla="*/ 1 h 10"/>
                <a:gd name="T4" fmla="*/ 3 w 14"/>
                <a:gd name="T5" fmla="*/ 4 h 10"/>
                <a:gd name="T6" fmla="*/ 0 w 14"/>
                <a:gd name="T7" fmla="*/ 5 h 10"/>
                <a:gd name="T8" fmla="*/ 6 w 14"/>
                <a:gd name="T9" fmla="*/ 8 h 10"/>
                <a:gd name="T10" fmla="*/ 8 w 14"/>
                <a:gd name="T11" fmla="*/ 9 h 10"/>
                <a:gd name="T12" fmla="*/ 10 w 14"/>
                <a:gd name="T13" fmla="*/ 10 h 10"/>
                <a:gd name="T14" fmla="*/ 10 w 14"/>
                <a:gd name="T15" fmla="*/ 10 h 10"/>
                <a:gd name="T16" fmla="*/ 10 w 14"/>
                <a:gd name="T17" fmla="*/ 10 h 10"/>
                <a:gd name="T18" fmla="*/ 10 w 14"/>
                <a:gd name="T19" fmla="*/ 10 h 10"/>
                <a:gd name="T20" fmla="*/ 14 w 14"/>
                <a:gd name="T21" fmla="*/ 2 h 10"/>
                <a:gd name="T22" fmla="*/ 9 w 14"/>
                <a:gd name="T23" fmla="*/ 0 h 10"/>
                <a:gd name="T24" fmla="*/ 9 w 14"/>
                <a:gd name="T25" fmla="*/ 0 h 10"/>
                <a:gd name="T26" fmla="*/ 9 w 14"/>
                <a:gd name="T27" fmla="*/ 0 h 10"/>
                <a:gd name="T28" fmla="*/ 8 w 14"/>
                <a:gd name="T29" fmla="*/ 0 h 10"/>
                <a:gd name="T30" fmla="*/ 7 w 14"/>
                <a:gd name="T31" fmla="*/ 0 h 10"/>
                <a:gd name="T32" fmla="*/ 7 w 14"/>
                <a:gd name="T3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0">
                  <a:moveTo>
                    <a:pt x="7" y="0"/>
                  </a:moveTo>
                  <a:cubicBezTo>
                    <a:pt x="6" y="0"/>
                    <a:pt x="6" y="1"/>
                    <a:pt x="6" y="1"/>
                  </a:cubicBezTo>
                  <a:cubicBezTo>
                    <a:pt x="5" y="2"/>
                    <a:pt x="4" y="3"/>
                    <a:pt x="3" y="4"/>
                  </a:cubicBezTo>
                  <a:cubicBezTo>
                    <a:pt x="2" y="4"/>
                    <a:pt x="1" y="5"/>
                    <a:pt x="0" y="5"/>
                  </a:cubicBezTo>
                  <a:cubicBezTo>
                    <a:pt x="1" y="7"/>
                    <a:pt x="4" y="8"/>
                    <a:pt x="6" y="8"/>
                  </a:cubicBezTo>
                  <a:cubicBezTo>
                    <a:pt x="7" y="8"/>
                    <a:pt x="7" y="9"/>
                    <a:pt x="8" y="9"/>
                  </a:cubicBezTo>
                  <a:cubicBezTo>
                    <a:pt x="9" y="9"/>
                    <a:pt x="10" y="10"/>
                    <a:pt x="10" y="10"/>
                  </a:cubicBezTo>
                  <a:cubicBezTo>
                    <a:pt x="10" y="10"/>
                    <a:pt x="10" y="10"/>
                    <a:pt x="10" y="10"/>
                  </a:cubicBezTo>
                  <a:cubicBezTo>
                    <a:pt x="10" y="10"/>
                    <a:pt x="10" y="10"/>
                    <a:pt x="10" y="10"/>
                  </a:cubicBezTo>
                  <a:cubicBezTo>
                    <a:pt x="10" y="10"/>
                    <a:pt x="10" y="10"/>
                    <a:pt x="10" y="10"/>
                  </a:cubicBezTo>
                  <a:cubicBezTo>
                    <a:pt x="12" y="9"/>
                    <a:pt x="13" y="4"/>
                    <a:pt x="14" y="2"/>
                  </a:cubicBezTo>
                  <a:cubicBezTo>
                    <a:pt x="13" y="2"/>
                    <a:pt x="11" y="0"/>
                    <a:pt x="9" y="0"/>
                  </a:cubicBezTo>
                  <a:cubicBezTo>
                    <a:pt x="9" y="0"/>
                    <a:pt x="9" y="0"/>
                    <a:pt x="9" y="0"/>
                  </a:cubicBezTo>
                  <a:cubicBezTo>
                    <a:pt x="9" y="0"/>
                    <a:pt x="9" y="0"/>
                    <a:pt x="9" y="0"/>
                  </a:cubicBezTo>
                  <a:cubicBezTo>
                    <a:pt x="8" y="0"/>
                    <a:pt x="8" y="0"/>
                    <a:pt x="8" y="0"/>
                  </a:cubicBezTo>
                  <a:cubicBezTo>
                    <a:pt x="8" y="0"/>
                    <a:pt x="7" y="0"/>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5" name="Freeform 288">
              <a:extLst>
                <a:ext uri="{FF2B5EF4-FFF2-40B4-BE49-F238E27FC236}">
                  <a16:creationId xmlns:a16="http://schemas.microsoft.com/office/drawing/2014/main" id="{776C9214-D154-43D7-93C5-30EEC6EA97F0}"/>
                </a:ext>
              </a:extLst>
            </p:cNvPr>
            <p:cNvSpPr>
              <a:spLocks/>
            </p:cNvSpPr>
            <p:nvPr/>
          </p:nvSpPr>
          <p:spPr bwMode="auto">
            <a:xfrm>
              <a:off x="7959716" y="599309"/>
              <a:ext cx="63500" cy="11113"/>
            </a:xfrm>
            <a:custGeom>
              <a:avLst/>
              <a:gdLst>
                <a:gd name="T0" fmla="*/ 16 w 17"/>
                <a:gd name="T1" fmla="*/ 0 h 3"/>
                <a:gd name="T2" fmla="*/ 0 w 17"/>
                <a:gd name="T3" fmla="*/ 0 h 3"/>
                <a:gd name="T4" fmla="*/ 6 w 17"/>
                <a:gd name="T5" fmla="*/ 1 h 3"/>
                <a:gd name="T6" fmla="*/ 7 w 17"/>
                <a:gd name="T7" fmla="*/ 1 h 3"/>
                <a:gd name="T8" fmla="*/ 8 w 17"/>
                <a:gd name="T9" fmla="*/ 1 h 3"/>
                <a:gd name="T10" fmla="*/ 9 w 17"/>
                <a:gd name="T11" fmla="*/ 1 h 3"/>
                <a:gd name="T12" fmla="*/ 12 w 17"/>
                <a:gd name="T13" fmla="*/ 2 h 3"/>
                <a:gd name="T14" fmla="*/ 17 w 17"/>
                <a:gd name="T15" fmla="*/ 3 h 3"/>
                <a:gd name="T16" fmla="*/ 16 w 1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
                  <a:moveTo>
                    <a:pt x="16" y="0"/>
                  </a:moveTo>
                  <a:cubicBezTo>
                    <a:pt x="0" y="0"/>
                    <a:pt x="0" y="0"/>
                    <a:pt x="0" y="0"/>
                  </a:cubicBezTo>
                  <a:cubicBezTo>
                    <a:pt x="2" y="0"/>
                    <a:pt x="4" y="1"/>
                    <a:pt x="6" y="1"/>
                  </a:cubicBezTo>
                  <a:cubicBezTo>
                    <a:pt x="6" y="1"/>
                    <a:pt x="7" y="1"/>
                    <a:pt x="7" y="1"/>
                  </a:cubicBezTo>
                  <a:cubicBezTo>
                    <a:pt x="7" y="1"/>
                    <a:pt x="8" y="1"/>
                    <a:pt x="8" y="1"/>
                  </a:cubicBezTo>
                  <a:cubicBezTo>
                    <a:pt x="8" y="1"/>
                    <a:pt x="9" y="1"/>
                    <a:pt x="9" y="1"/>
                  </a:cubicBezTo>
                  <a:cubicBezTo>
                    <a:pt x="10" y="1"/>
                    <a:pt x="11" y="1"/>
                    <a:pt x="12" y="2"/>
                  </a:cubicBezTo>
                  <a:cubicBezTo>
                    <a:pt x="14" y="3"/>
                    <a:pt x="15" y="2"/>
                    <a:pt x="17" y="3"/>
                  </a:cubicBezTo>
                  <a:cubicBezTo>
                    <a:pt x="17" y="2"/>
                    <a:pt x="16" y="1"/>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6" name="Freeform 289">
              <a:extLst>
                <a:ext uri="{FF2B5EF4-FFF2-40B4-BE49-F238E27FC236}">
                  <a16:creationId xmlns:a16="http://schemas.microsoft.com/office/drawing/2014/main" id="{1D246522-4729-4A33-91DC-8A27691665D6}"/>
                </a:ext>
              </a:extLst>
            </p:cNvPr>
            <p:cNvSpPr>
              <a:spLocks/>
            </p:cNvSpPr>
            <p:nvPr/>
          </p:nvSpPr>
          <p:spPr bwMode="auto">
            <a:xfrm>
              <a:off x="7550141" y="599309"/>
              <a:ext cx="1460500" cy="360363"/>
            </a:xfrm>
            <a:custGeom>
              <a:avLst/>
              <a:gdLst>
                <a:gd name="T0" fmla="*/ 61 w 389"/>
                <a:gd name="T1" fmla="*/ 1 h 96"/>
                <a:gd name="T2" fmla="*/ 12 w 389"/>
                <a:gd name="T3" fmla="*/ 6 h 96"/>
                <a:gd name="T4" fmla="*/ 19 w 389"/>
                <a:gd name="T5" fmla="*/ 13 h 96"/>
                <a:gd name="T6" fmla="*/ 28 w 389"/>
                <a:gd name="T7" fmla="*/ 12 h 96"/>
                <a:gd name="T8" fmla="*/ 51 w 389"/>
                <a:gd name="T9" fmla="*/ 12 h 96"/>
                <a:gd name="T10" fmla="*/ 59 w 389"/>
                <a:gd name="T11" fmla="*/ 10 h 96"/>
                <a:gd name="T12" fmla="*/ 80 w 389"/>
                <a:gd name="T13" fmla="*/ 19 h 96"/>
                <a:gd name="T14" fmla="*/ 93 w 389"/>
                <a:gd name="T15" fmla="*/ 39 h 96"/>
                <a:gd name="T16" fmla="*/ 94 w 389"/>
                <a:gd name="T17" fmla="*/ 43 h 96"/>
                <a:gd name="T18" fmla="*/ 85 w 389"/>
                <a:gd name="T19" fmla="*/ 62 h 96"/>
                <a:gd name="T20" fmla="*/ 98 w 389"/>
                <a:gd name="T21" fmla="*/ 85 h 96"/>
                <a:gd name="T22" fmla="*/ 106 w 389"/>
                <a:gd name="T23" fmla="*/ 88 h 96"/>
                <a:gd name="T24" fmla="*/ 113 w 389"/>
                <a:gd name="T25" fmla="*/ 88 h 96"/>
                <a:gd name="T26" fmla="*/ 120 w 389"/>
                <a:gd name="T27" fmla="*/ 86 h 96"/>
                <a:gd name="T28" fmla="*/ 128 w 389"/>
                <a:gd name="T29" fmla="*/ 89 h 96"/>
                <a:gd name="T30" fmla="*/ 139 w 389"/>
                <a:gd name="T31" fmla="*/ 92 h 96"/>
                <a:gd name="T32" fmla="*/ 145 w 389"/>
                <a:gd name="T33" fmla="*/ 93 h 96"/>
                <a:gd name="T34" fmla="*/ 155 w 389"/>
                <a:gd name="T35" fmla="*/ 92 h 96"/>
                <a:gd name="T36" fmla="*/ 157 w 389"/>
                <a:gd name="T37" fmla="*/ 91 h 96"/>
                <a:gd name="T38" fmla="*/ 163 w 389"/>
                <a:gd name="T39" fmla="*/ 79 h 96"/>
                <a:gd name="T40" fmla="*/ 174 w 389"/>
                <a:gd name="T41" fmla="*/ 80 h 96"/>
                <a:gd name="T42" fmla="*/ 178 w 389"/>
                <a:gd name="T43" fmla="*/ 82 h 96"/>
                <a:gd name="T44" fmla="*/ 184 w 389"/>
                <a:gd name="T45" fmla="*/ 94 h 96"/>
                <a:gd name="T46" fmla="*/ 196 w 389"/>
                <a:gd name="T47" fmla="*/ 96 h 96"/>
                <a:gd name="T48" fmla="*/ 204 w 389"/>
                <a:gd name="T49" fmla="*/ 95 h 96"/>
                <a:gd name="T50" fmla="*/ 211 w 389"/>
                <a:gd name="T51" fmla="*/ 94 h 96"/>
                <a:gd name="T52" fmla="*/ 225 w 389"/>
                <a:gd name="T53" fmla="*/ 95 h 96"/>
                <a:gd name="T54" fmla="*/ 233 w 389"/>
                <a:gd name="T55" fmla="*/ 95 h 96"/>
                <a:gd name="T56" fmla="*/ 248 w 389"/>
                <a:gd name="T57" fmla="*/ 91 h 96"/>
                <a:gd name="T58" fmla="*/ 257 w 389"/>
                <a:gd name="T59" fmla="*/ 86 h 96"/>
                <a:gd name="T60" fmla="*/ 266 w 389"/>
                <a:gd name="T61" fmla="*/ 94 h 96"/>
                <a:gd name="T62" fmla="*/ 295 w 389"/>
                <a:gd name="T63" fmla="*/ 83 h 96"/>
                <a:gd name="T64" fmla="*/ 302 w 389"/>
                <a:gd name="T65" fmla="*/ 87 h 96"/>
                <a:gd name="T66" fmla="*/ 335 w 389"/>
                <a:gd name="T67" fmla="*/ 96 h 96"/>
                <a:gd name="T68" fmla="*/ 369 w 389"/>
                <a:gd name="T69" fmla="*/ 83 h 96"/>
                <a:gd name="T70" fmla="*/ 368 w 389"/>
                <a:gd name="T71" fmla="*/ 75 h 96"/>
                <a:gd name="T72" fmla="*/ 389 w 389"/>
                <a:gd name="T73" fmla="*/ 76 h 96"/>
                <a:gd name="T74" fmla="*/ 363 w 389"/>
                <a:gd name="T75" fmla="*/ 70 h 96"/>
                <a:gd name="T76" fmla="*/ 377 w 389"/>
                <a:gd name="T77" fmla="*/ 49 h 96"/>
                <a:gd name="T78" fmla="*/ 374 w 389"/>
                <a:gd name="T79" fmla="*/ 46 h 96"/>
                <a:gd name="T80" fmla="*/ 352 w 389"/>
                <a:gd name="T81" fmla="*/ 42 h 96"/>
                <a:gd name="T82" fmla="*/ 334 w 389"/>
                <a:gd name="T83" fmla="*/ 33 h 96"/>
                <a:gd name="T84" fmla="*/ 302 w 389"/>
                <a:gd name="T85" fmla="*/ 37 h 96"/>
                <a:gd name="T86" fmla="*/ 278 w 389"/>
                <a:gd name="T87" fmla="*/ 36 h 96"/>
                <a:gd name="T88" fmla="*/ 274 w 389"/>
                <a:gd name="T89" fmla="*/ 38 h 96"/>
                <a:gd name="T90" fmla="*/ 257 w 389"/>
                <a:gd name="T91" fmla="*/ 41 h 96"/>
                <a:gd name="T92" fmla="*/ 245 w 389"/>
                <a:gd name="T93" fmla="*/ 44 h 96"/>
                <a:gd name="T94" fmla="*/ 234 w 389"/>
                <a:gd name="T95" fmla="*/ 52 h 96"/>
                <a:gd name="T96" fmla="*/ 204 w 389"/>
                <a:gd name="T97" fmla="*/ 43 h 96"/>
                <a:gd name="T98" fmla="*/ 192 w 389"/>
                <a:gd name="T99" fmla="*/ 45 h 96"/>
                <a:gd name="T100" fmla="*/ 168 w 389"/>
                <a:gd name="T101" fmla="*/ 43 h 96"/>
                <a:gd name="T102" fmla="*/ 156 w 389"/>
                <a:gd name="T103" fmla="*/ 46 h 96"/>
                <a:gd name="T104" fmla="*/ 150 w 389"/>
                <a:gd name="T105" fmla="*/ 43 h 96"/>
                <a:gd name="T106" fmla="*/ 155 w 389"/>
                <a:gd name="T107" fmla="*/ 33 h 96"/>
                <a:gd name="T108" fmla="*/ 141 w 389"/>
                <a:gd name="T109" fmla="*/ 24 h 96"/>
                <a:gd name="T110" fmla="*/ 123 w 389"/>
                <a:gd name="T111" fmla="*/ 25 h 96"/>
                <a:gd name="T112" fmla="*/ 115 w 389"/>
                <a:gd name="T113" fmla="*/ 24 h 96"/>
                <a:gd name="T114" fmla="*/ 136 w 389"/>
                <a:gd name="T115" fmla="*/ 21 h 96"/>
                <a:gd name="T116" fmla="*/ 112 w 389"/>
                <a:gd name="T117" fmla="*/ 14 h 96"/>
                <a:gd name="T118" fmla="*/ 142 w 389"/>
                <a:gd name="T119" fmla="*/ 16 h 96"/>
                <a:gd name="T120" fmla="*/ 131 w 389"/>
                <a:gd name="T121"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96">
                  <a:moveTo>
                    <a:pt x="108" y="0"/>
                  </a:moveTo>
                  <a:cubicBezTo>
                    <a:pt x="66" y="0"/>
                    <a:pt x="66" y="0"/>
                    <a:pt x="66" y="0"/>
                  </a:cubicBezTo>
                  <a:cubicBezTo>
                    <a:pt x="64" y="2"/>
                    <a:pt x="61" y="5"/>
                    <a:pt x="59" y="5"/>
                  </a:cubicBezTo>
                  <a:cubicBezTo>
                    <a:pt x="59" y="5"/>
                    <a:pt x="59" y="5"/>
                    <a:pt x="59" y="5"/>
                  </a:cubicBezTo>
                  <a:cubicBezTo>
                    <a:pt x="54" y="4"/>
                    <a:pt x="60" y="2"/>
                    <a:pt x="61" y="1"/>
                  </a:cubicBezTo>
                  <a:cubicBezTo>
                    <a:pt x="61" y="1"/>
                    <a:pt x="62" y="1"/>
                    <a:pt x="62" y="0"/>
                  </a:cubicBezTo>
                  <a:cubicBezTo>
                    <a:pt x="3" y="0"/>
                    <a:pt x="3" y="0"/>
                    <a:pt x="3" y="0"/>
                  </a:cubicBezTo>
                  <a:cubicBezTo>
                    <a:pt x="2" y="0"/>
                    <a:pt x="1" y="1"/>
                    <a:pt x="0" y="1"/>
                  </a:cubicBezTo>
                  <a:cubicBezTo>
                    <a:pt x="3" y="4"/>
                    <a:pt x="6" y="5"/>
                    <a:pt x="10" y="6"/>
                  </a:cubicBezTo>
                  <a:cubicBezTo>
                    <a:pt x="11" y="6"/>
                    <a:pt x="11" y="6"/>
                    <a:pt x="12" y="6"/>
                  </a:cubicBezTo>
                  <a:cubicBezTo>
                    <a:pt x="14" y="7"/>
                    <a:pt x="14" y="7"/>
                    <a:pt x="15" y="7"/>
                  </a:cubicBezTo>
                  <a:cubicBezTo>
                    <a:pt x="20" y="8"/>
                    <a:pt x="25" y="8"/>
                    <a:pt x="30" y="9"/>
                  </a:cubicBezTo>
                  <a:cubicBezTo>
                    <a:pt x="29" y="9"/>
                    <a:pt x="28" y="9"/>
                    <a:pt x="27" y="9"/>
                  </a:cubicBezTo>
                  <a:cubicBezTo>
                    <a:pt x="23" y="9"/>
                    <a:pt x="19" y="9"/>
                    <a:pt x="17" y="11"/>
                  </a:cubicBezTo>
                  <a:cubicBezTo>
                    <a:pt x="16" y="13"/>
                    <a:pt x="17" y="13"/>
                    <a:pt x="19" y="13"/>
                  </a:cubicBezTo>
                  <a:cubicBezTo>
                    <a:pt x="19" y="13"/>
                    <a:pt x="20" y="13"/>
                    <a:pt x="20" y="13"/>
                  </a:cubicBezTo>
                  <a:cubicBezTo>
                    <a:pt x="21" y="13"/>
                    <a:pt x="21" y="13"/>
                    <a:pt x="21" y="13"/>
                  </a:cubicBezTo>
                  <a:cubicBezTo>
                    <a:pt x="22" y="13"/>
                    <a:pt x="22" y="13"/>
                    <a:pt x="22" y="13"/>
                  </a:cubicBezTo>
                  <a:cubicBezTo>
                    <a:pt x="22" y="13"/>
                    <a:pt x="23" y="13"/>
                    <a:pt x="23" y="13"/>
                  </a:cubicBezTo>
                  <a:cubicBezTo>
                    <a:pt x="25" y="13"/>
                    <a:pt x="26" y="13"/>
                    <a:pt x="28" y="12"/>
                  </a:cubicBezTo>
                  <a:cubicBezTo>
                    <a:pt x="29" y="12"/>
                    <a:pt x="30" y="10"/>
                    <a:pt x="31" y="10"/>
                  </a:cubicBezTo>
                  <a:cubicBezTo>
                    <a:pt x="31" y="10"/>
                    <a:pt x="32" y="10"/>
                    <a:pt x="32" y="10"/>
                  </a:cubicBezTo>
                  <a:cubicBezTo>
                    <a:pt x="33" y="10"/>
                    <a:pt x="32" y="10"/>
                    <a:pt x="33" y="11"/>
                  </a:cubicBezTo>
                  <a:cubicBezTo>
                    <a:pt x="37" y="12"/>
                    <a:pt x="43" y="11"/>
                    <a:pt x="47" y="12"/>
                  </a:cubicBezTo>
                  <a:cubicBezTo>
                    <a:pt x="48" y="12"/>
                    <a:pt x="49" y="12"/>
                    <a:pt x="51" y="12"/>
                  </a:cubicBezTo>
                  <a:cubicBezTo>
                    <a:pt x="52" y="12"/>
                    <a:pt x="53" y="12"/>
                    <a:pt x="54" y="12"/>
                  </a:cubicBezTo>
                  <a:cubicBezTo>
                    <a:pt x="54" y="12"/>
                    <a:pt x="55" y="9"/>
                    <a:pt x="56" y="9"/>
                  </a:cubicBezTo>
                  <a:cubicBezTo>
                    <a:pt x="56" y="9"/>
                    <a:pt x="56" y="9"/>
                    <a:pt x="56" y="10"/>
                  </a:cubicBezTo>
                  <a:cubicBezTo>
                    <a:pt x="57" y="10"/>
                    <a:pt x="57" y="10"/>
                    <a:pt x="57" y="10"/>
                  </a:cubicBezTo>
                  <a:cubicBezTo>
                    <a:pt x="58" y="10"/>
                    <a:pt x="59" y="10"/>
                    <a:pt x="59" y="10"/>
                  </a:cubicBezTo>
                  <a:cubicBezTo>
                    <a:pt x="61" y="10"/>
                    <a:pt x="63" y="8"/>
                    <a:pt x="65" y="7"/>
                  </a:cubicBezTo>
                  <a:cubicBezTo>
                    <a:pt x="66" y="7"/>
                    <a:pt x="67" y="7"/>
                    <a:pt x="68" y="7"/>
                  </a:cubicBezTo>
                  <a:cubicBezTo>
                    <a:pt x="68" y="7"/>
                    <a:pt x="68" y="7"/>
                    <a:pt x="69" y="7"/>
                  </a:cubicBezTo>
                  <a:cubicBezTo>
                    <a:pt x="70" y="8"/>
                    <a:pt x="69" y="8"/>
                    <a:pt x="70" y="10"/>
                  </a:cubicBezTo>
                  <a:cubicBezTo>
                    <a:pt x="73" y="14"/>
                    <a:pt x="77" y="15"/>
                    <a:pt x="80" y="19"/>
                  </a:cubicBezTo>
                  <a:cubicBezTo>
                    <a:pt x="80" y="20"/>
                    <a:pt x="80" y="21"/>
                    <a:pt x="80" y="23"/>
                  </a:cubicBezTo>
                  <a:cubicBezTo>
                    <a:pt x="80" y="24"/>
                    <a:pt x="81" y="24"/>
                    <a:pt x="82" y="25"/>
                  </a:cubicBezTo>
                  <a:cubicBezTo>
                    <a:pt x="84" y="26"/>
                    <a:pt x="86" y="28"/>
                    <a:pt x="88" y="29"/>
                  </a:cubicBezTo>
                  <a:cubicBezTo>
                    <a:pt x="91" y="30"/>
                    <a:pt x="93" y="30"/>
                    <a:pt x="93" y="33"/>
                  </a:cubicBezTo>
                  <a:cubicBezTo>
                    <a:pt x="92" y="36"/>
                    <a:pt x="90" y="37"/>
                    <a:pt x="93" y="39"/>
                  </a:cubicBezTo>
                  <a:cubicBezTo>
                    <a:pt x="94" y="39"/>
                    <a:pt x="94" y="40"/>
                    <a:pt x="95" y="41"/>
                  </a:cubicBezTo>
                  <a:cubicBezTo>
                    <a:pt x="95" y="41"/>
                    <a:pt x="95" y="40"/>
                    <a:pt x="95" y="40"/>
                  </a:cubicBezTo>
                  <a:cubicBezTo>
                    <a:pt x="94" y="40"/>
                    <a:pt x="94" y="41"/>
                    <a:pt x="94" y="42"/>
                  </a:cubicBezTo>
                  <a:cubicBezTo>
                    <a:pt x="94" y="43"/>
                    <a:pt x="94" y="43"/>
                    <a:pt x="94" y="43"/>
                  </a:cubicBezTo>
                  <a:cubicBezTo>
                    <a:pt x="94" y="43"/>
                    <a:pt x="94" y="43"/>
                    <a:pt x="94" y="43"/>
                  </a:cubicBezTo>
                  <a:cubicBezTo>
                    <a:pt x="94" y="44"/>
                    <a:pt x="95" y="44"/>
                    <a:pt x="93" y="45"/>
                  </a:cubicBezTo>
                  <a:cubicBezTo>
                    <a:pt x="93" y="45"/>
                    <a:pt x="91" y="45"/>
                    <a:pt x="91" y="46"/>
                  </a:cubicBezTo>
                  <a:cubicBezTo>
                    <a:pt x="88" y="47"/>
                    <a:pt x="82" y="53"/>
                    <a:pt x="87" y="54"/>
                  </a:cubicBezTo>
                  <a:cubicBezTo>
                    <a:pt x="86" y="55"/>
                    <a:pt x="85" y="56"/>
                    <a:pt x="85" y="57"/>
                  </a:cubicBezTo>
                  <a:cubicBezTo>
                    <a:pt x="83" y="60"/>
                    <a:pt x="84" y="60"/>
                    <a:pt x="85" y="62"/>
                  </a:cubicBezTo>
                  <a:cubicBezTo>
                    <a:pt x="87" y="65"/>
                    <a:pt x="89" y="65"/>
                    <a:pt x="90" y="68"/>
                  </a:cubicBezTo>
                  <a:cubicBezTo>
                    <a:pt x="90" y="71"/>
                    <a:pt x="92" y="72"/>
                    <a:pt x="93" y="74"/>
                  </a:cubicBezTo>
                  <a:cubicBezTo>
                    <a:pt x="95" y="76"/>
                    <a:pt x="94" y="77"/>
                    <a:pt x="94" y="79"/>
                  </a:cubicBezTo>
                  <a:cubicBezTo>
                    <a:pt x="93" y="82"/>
                    <a:pt x="95" y="81"/>
                    <a:pt x="96" y="82"/>
                  </a:cubicBezTo>
                  <a:cubicBezTo>
                    <a:pt x="98" y="85"/>
                    <a:pt x="98" y="85"/>
                    <a:pt x="98" y="85"/>
                  </a:cubicBezTo>
                  <a:cubicBezTo>
                    <a:pt x="98" y="85"/>
                    <a:pt x="99" y="85"/>
                    <a:pt x="99" y="85"/>
                  </a:cubicBezTo>
                  <a:cubicBezTo>
                    <a:pt x="100" y="85"/>
                    <a:pt x="100" y="84"/>
                    <a:pt x="101" y="84"/>
                  </a:cubicBezTo>
                  <a:cubicBezTo>
                    <a:pt x="101" y="84"/>
                    <a:pt x="101" y="84"/>
                    <a:pt x="101" y="84"/>
                  </a:cubicBezTo>
                  <a:cubicBezTo>
                    <a:pt x="102" y="84"/>
                    <a:pt x="102" y="86"/>
                    <a:pt x="103" y="87"/>
                  </a:cubicBezTo>
                  <a:cubicBezTo>
                    <a:pt x="104" y="87"/>
                    <a:pt x="106" y="88"/>
                    <a:pt x="106" y="88"/>
                  </a:cubicBezTo>
                  <a:cubicBezTo>
                    <a:pt x="106" y="88"/>
                    <a:pt x="106" y="88"/>
                    <a:pt x="107" y="88"/>
                  </a:cubicBezTo>
                  <a:cubicBezTo>
                    <a:pt x="108" y="88"/>
                    <a:pt x="109" y="87"/>
                    <a:pt x="109" y="87"/>
                  </a:cubicBezTo>
                  <a:cubicBezTo>
                    <a:pt x="110" y="86"/>
                    <a:pt x="110" y="85"/>
                    <a:pt x="110" y="85"/>
                  </a:cubicBezTo>
                  <a:cubicBezTo>
                    <a:pt x="111" y="85"/>
                    <a:pt x="111" y="86"/>
                    <a:pt x="111" y="87"/>
                  </a:cubicBezTo>
                  <a:cubicBezTo>
                    <a:pt x="112" y="88"/>
                    <a:pt x="112" y="88"/>
                    <a:pt x="113" y="88"/>
                  </a:cubicBezTo>
                  <a:cubicBezTo>
                    <a:pt x="113" y="88"/>
                    <a:pt x="114" y="88"/>
                    <a:pt x="114" y="87"/>
                  </a:cubicBezTo>
                  <a:cubicBezTo>
                    <a:pt x="113" y="84"/>
                    <a:pt x="113" y="84"/>
                    <a:pt x="115" y="83"/>
                  </a:cubicBezTo>
                  <a:cubicBezTo>
                    <a:pt x="118" y="81"/>
                    <a:pt x="121" y="78"/>
                    <a:pt x="124" y="77"/>
                  </a:cubicBezTo>
                  <a:cubicBezTo>
                    <a:pt x="125" y="80"/>
                    <a:pt x="119" y="83"/>
                    <a:pt x="118" y="85"/>
                  </a:cubicBezTo>
                  <a:cubicBezTo>
                    <a:pt x="119" y="86"/>
                    <a:pt x="119" y="86"/>
                    <a:pt x="120" y="86"/>
                  </a:cubicBezTo>
                  <a:cubicBezTo>
                    <a:pt x="120" y="86"/>
                    <a:pt x="121" y="85"/>
                    <a:pt x="121" y="85"/>
                  </a:cubicBezTo>
                  <a:cubicBezTo>
                    <a:pt x="122" y="85"/>
                    <a:pt x="122" y="84"/>
                    <a:pt x="123" y="84"/>
                  </a:cubicBezTo>
                  <a:cubicBezTo>
                    <a:pt x="123" y="84"/>
                    <a:pt x="123" y="84"/>
                    <a:pt x="123" y="84"/>
                  </a:cubicBezTo>
                  <a:cubicBezTo>
                    <a:pt x="124" y="85"/>
                    <a:pt x="124" y="86"/>
                    <a:pt x="125" y="87"/>
                  </a:cubicBezTo>
                  <a:cubicBezTo>
                    <a:pt x="125" y="88"/>
                    <a:pt x="127" y="89"/>
                    <a:pt x="128" y="89"/>
                  </a:cubicBezTo>
                  <a:cubicBezTo>
                    <a:pt x="129" y="90"/>
                    <a:pt x="130" y="90"/>
                    <a:pt x="131" y="90"/>
                  </a:cubicBezTo>
                  <a:cubicBezTo>
                    <a:pt x="131" y="90"/>
                    <a:pt x="131" y="90"/>
                    <a:pt x="131" y="90"/>
                  </a:cubicBezTo>
                  <a:cubicBezTo>
                    <a:pt x="131" y="90"/>
                    <a:pt x="131" y="90"/>
                    <a:pt x="131" y="90"/>
                  </a:cubicBezTo>
                  <a:cubicBezTo>
                    <a:pt x="133" y="90"/>
                    <a:pt x="132" y="90"/>
                    <a:pt x="134" y="90"/>
                  </a:cubicBezTo>
                  <a:cubicBezTo>
                    <a:pt x="136" y="91"/>
                    <a:pt x="137" y="92"/>
                    <a:pt x="139" y="92"/>
                  </a:cubicBezTo>
                  <a:cubicBezTo>
                    <a:pt x="140" y="92"/>
                    <a:pt x="140" y="92"/>
                    <a:pt x="140" y="92"/>
                  </a:cubicBezTo>
                  <a:cubicBezTo>
                    <a:pt x="140" y="92"/>
                    <a:pt x="140" y="91"/>
                    <a:pt x="141" y="91"/>
                  </a:cubicBezTo>
                  <a:cubicBezTo>
                    <a:pt x="141" y="91"/>
                    <a:pt x="141" y="91"/>
                    <a:pt x="141" y="91"/>
                  </a:cubicBezTo>
                  <a:cubicBezTo>
                    <a:pt x="142" y="91"/>
                    <a:pt x="142" y="92"/>
                    <a:pt x="142" y="92"/>
                  </a:cubicBezTo>
                  <a:cubicBezTo>
                    <a:pt x="143" y="92"/>
                    <a:pt x="143" y="93"/>
                    <a:pt x="145" y="93"/>
                  </a:cubicBezTo>
                  <a:cubicBezTo>
                    <a:pt x="145" y="93"/>
                    <a:pt x="145" y="93"/>
                    <a:pt x="145" y="93"/>
                  </a:cubicBezTo>
                  <a:cubicBezTo>
                    <a:pt x="147" y="93"/>
                    <a:pt x="149" y="92"/>
                    <a:pt x="150" y="92"/>
                  </a:cubicBezTo>
                  <a:cubicBezTo>
                    <a:pt x="151" y="92"/>
                    <a:pt x="151" y="92"/>
                    <a:pt x="151" y="92"/>
                  </a:cubicBezTo>
                  <a:cubicBezTo>
                    <a:pt x="152" y="93"/>
                    <a:pt x="152" y="93"/>
                    <a:pt x="152" y="93"/>
                  </a:cubicBezTo>
                  <a:cubicBezTo>
                    <a:pt x="153" y="93"/>
                    <a:pt x="154" y="92"/>
                    <a:pt x="155" y="92"/>
                  </a:cubicBezTo>
                  <a:cubicBezTo>
                    <a:pt x="155" y="92"/>
                    <a:pt x="155" y="91"/>
                    <a:pt x="156" y="91"/>
                  </a:cubicBezTo>
                  <a:cubicBezTo>
                    <a:pt x="156" y="91"/>
                    <a:pt x="156" y="91"/>
                    <a:pt x="156" y="91"/>
                  </a:cubicBezTo>
                  <a:cubicBezTo>
                    <a:pt x="156" y="91"/>
                    <a:pt x="157" y="91"/>
                    <a:pt x="157" y="91"/>
                  </a:cubicBezTo>
                  <a:cubicBezTo>
                    <a:pt x="157" y="91"/>
                    <a:pt x="157" y="91"/>
                    <a:pt x="157" y="91"/>
                  </a:cubicBezTo>
                  <a:cubicBezTo>
                    <a:pt x="157" y="91"/>
                    <a:pt x="157" y="91"/>
                    <a:pt x="157" y="91"/>
                  </a:cubicBezTo>
                  <a:cubicBezTo>
                    <a:pt x="160" y="90"/>
                    <a:pt x="162" y="91"/>
                    <a:pt x="162" y="88"/>
                  </a:cubicBezTo>
                  <a:cubicBezTo>
                    <a:pt x="161" y="86"/>
                    <a:pt x="159" y="85"/>
                    <a:pt x="159" y="83"/>
                  </a:cubicBezTo>
                  <a:cubicBezTo>
                    <a:pt x="160" y="83"/>
                    <a:pt x="161" y="84"/>
                    <a:pt x="162" y="84"/>
                  </a:cubicBezTo>
                  <a:cubicBezTo>
                    <a:pt x="163" y="84"/>
                    <a:pt x="163" y="84"/>
                    <a:pt x="163" y="84"/>
                  </a:cubicBezTo>
                  <a:cubicBezTo>
                    <a:pt x="164" y="84"/>
                    <a:pt x="163" y="80"/>
                    <a:pt x="163" y="79"/>
                  </a:cubicBezTo>
                  <a:cubicBezTo>
                    <a:pt x="164" y="80"/>
                    <a:pt x="166" y="81"/>
                    <a:pt x="167" y="83"/>
                  </a:cubicBezTo>
                  <a:cubicBezTo>
                    <a:pt x="167" y="84"/>
                    <a:pt x="167" y="87"/>
                    <a:pt x="168" y="87"/>
                  </a:cubicBezTo>
                  <a:cubicBezTo>
                    <a:pt x="168" y="87"/>
                    <a:pt x="169" y="87"/>
                    <a:pt x="169" y="87"/>
                  </a:cubicBezTo>
                  <a:cubicBezTo>
                    <a:pt x="170" y="86"/>
                    <a:pt x="172" y="79"/>
                    <a:pt x="173" y="79"/>
                  </a:cubicBezTo>
                  <a:cubicBezTo>
                    <a:pt x="173" y="79"/>
                    <a:pt x="173" y="79"/>
                    <a:pt x="174" y="80"/>
                  </a:cubicBezTo>
                  <a:cubicBezTo>
                    <a:pt x="174" y="79"/>
                    <a:pt x="175" y="76"/>
                    <a:pt x="176" y="76"/>
                  </a:cubicBezTo>
                  <a:cubicBezTo>
                    <a:pt x="176" y="76"/>
                    <a:pt x="176" y="77"/>
                    <a:pt x="177" y="78"/>
                  </a:cubicBezTo>
                  <a:cubicBezTo>
                    <a:pt x="177" y="79"/>
                    <a:pt x="177" y="81"/>
                    <a:pt x="177" y="81"/>
                  </a:cubicBezTo>
                  <a:cubicBezTo>
                    <a:pt x="177" y="82"/>
                    <a:pt x="180" y="81"/>
                    <a:pt x="181" y="82"/>
                  </a:cubicBezTo>
                  <a:cubicBezTo>
                    <a:pt x="180" y="82"/>
                    <a:pt x="179" y="82"/>
                    <a:pt x="178" y="82"/>
                  </a:cubicBezTo>
                  <a:cubicBezTo>
                    <a:pt x="180" y="86"/>
                    <a:pt x="170" y="93"/>
                    <a:pt x="178" y="95"/>
                  </a:cubicBezTo>
                  <a:cubicBezTo>
                    <a:pt x="179" y="95"/>
                    <a:pt x="180" y="95"/>
                    <a:pt x="181" y="95"/>
                  </a:cubicBezTo>
                  <a:cubicBezTo>
                    <a:pt x="181" y="95"/>
                    <a:pt x="181" y="95"/>
                    <a:pt x="181" y="95"/>
                  </a:cubicBezTo>
                  <a:cubicBezTo>
                    <a:pt x="182" y="95"/>
                    <a:pt x="184" y="94"/>
                    <a:pt x="184" y="94"/>
                  </a:cubicBezTo>
                  <a:cubicBezTo>
                    <a:pt x="184" y="94"/>
                    <a:pt x="184" y="94"/>
                    <a:pt x="184" y="94"/>
                  </a:cubicBezTo>
                  <a:cubicBezTo>
                    <a:pt x="186" y="94"/>
                    <a:pt x="187" y="96"/>
                    <a:pt x="189" y="96"/>
                  </a:cubicBezTo>
                  <a:cubicBezTo>
                    <a:pt x="190" y="96"/>
                    <a:pt x="190" y="96"/>
                    <a:pt x="190" y="96"/>
                  </a:cubicBezTo>
                  <a:cubicBezTo>
                    <a:pt x="191" y="96"/>
                    <a:pt x="192" y="94"/>
                    <a:pt x="193" y="94"/>
                  </a:cubicBezTo>
                  <a:cubicBezTo>
                    <a:pt x="193" y="94"/>
                    <a:pt x="193" y="94"/>
                    <a:pt x="193" y="94"/>
                  </a:cubicBezTo>
                  <a:cubicBezTo>
                    <a:pt x="193" y="94"/>
                    <a:pt x="195" y="96"/>
                    <a:pt x="196" y="96"/>
                  </a:cubicBezTo>
                  <a:cubicBezTo>
                    <a:pt x="196" y="96"/>
                    <a:pt x="196" y="96"/>
                    <a:pt x="196" y="96"/>
                  </a:cubicBezTo>
                  <a:cubicBezTo>
                    <a:pt x="197" y="96"/>
                    <a:pt x="198" y="96"/>
                    <a:pt x="199" y="96"/>
                  </a:cubicBezTo>
                  <a:cubicBezTo>
                    <a:pt x="200" y="96"/>
                    <a:pt x="201" y="94"/>
                    <a:pt x="201" y="94"/>
                  </a:cubicBezTo>
                  <a:cubicBezTo>
                    <a:pt x="201" y="94"/>
                    <a:pt x="201" y="94"/>
                    <a:pt x="201" y="94"/>
                  </a:cubicBezTo>
                  <a:cubicBezTo>
                    <a:pt x="202" y="94"/>
                    <a:pt x="203" y="94"/>
                    <a:pt x="204" y="95"/>
                  </a:cubicBezTo>
                  <a:cubicBezTo>
                    <a:pt x="204" y="95"/>
                    <a:pt x="205" y="96"/>
                    <a:pt x="207" y="96"/>
                  </a:cubicBezTo>
                  <a:cubicBezTo>
                    <a:pt x="207" y="96"/>
                    <a:pt x="207" y="96"/>
                    <a:pt x="207" y="96"/>
                  </a:cubicBezTo>
                  <a:cubicBezTo>
                    <a:pt x="208" y="96"/>
                    <a:pt x="209" y="96"/>
                    <a:pt x="210" y="95"/>
                  </a:cubicBezTo>
                  <a:cubicBezTo>
                    <a:pt x="210" y="95"/>
                    <a:pt x="210" y="94"/>
                    <a:pt x="211" y="94"/>
                  </a:cubicBezTo>
                  <a:cubicBezTo>
                    <a:pt x="211" y="94"/>
                    <a:pt x="211" y="94"/>
                    <a:pt x="211" y="94"/>
                  </a:cubicBezTo>
                  <a:cubicBezTo>
                    <a:pt x="211" y="94"/>
                    <a:pt x="211" y="95"/>
                    <a:pt x="212" y="96"/>
                  </a:cubicBezTo>
                  <a:cubicBezTo>
                    <a:pt x="213" y="96"/>
                    <a:pt x="215" y="96"/>
                    <a:pt x="217" y="96"/>
                  </a:cubicBezTo>
                  <a:cubicBezTo>
                    <a:pt x="218" y="96"/>
                    <a:pt x="219" y="96"/>
                    <a:pt x="220" y="96"/>
                  </a:cubicBezTo>
                  <a:cubicBezTo>
                    <a:pt x="218" y="95"/>
                    <a:pt x="216" y="92"/>
                    <a:pt x="216" y="89"/>
                  </a:cubicBezTo>
                  <a:cubicBezTo>
                    <a:pt x="217" y="91"/>
                    <a:pt x="221" y="95"/>
                    <a:pt x="225" y="95"/>
                  </a:cubicBezTo>
                  <a:cubicBezTo>
                    <a:pt x="226" y="95"/>
                    <a:pt x="226" y="95"/>
                    <a:pt x="227" y="95"/>
                  </a:cubicBezTo>
                  <a:cubicBezTo>
                    <a:pt x="228" y="94"/>
                    <a:pt x="229" y="90"/>
                    <a:pt x="230" y="90"/>
                  </a:cubicBezTo>
                  <a:cubicBezTo>
                    <a:pt x="230" y="90"/>
                    <a:pt x="230" y="90"/>
                    <a:pt x="231" y="91"/>
                  </a:cubicBezTo>
                  <a:cubicBezTo>
                    <a:pt x="232" y="93"/>
                    <a:pt x="231" y="95"/>
                    <a:pt x="233" y="95"/>
                  </a:cubicBezTo>
                  <a:cubicBezTo>
                    <a:pt x="233" y="95"/>
                    <a:pt x="233" y="95"/>
                    <a:pt x="233" y="95"/>
                  </a:cubicBezTo>
                  <a:cubicBezTo>
                    <a:pt x="234" y="95"/>
                    <a:pt x="235" y="95"/>
                    <a:pt x="236" y="95"/>
                  </a:cubicBezTo>
                  <a:cubicBezTo>
                    <a:pt x="238" y="95"/>
                    <a:pt x="240" y="95"/>
                    <a:pt x="243" y="95"/>
                  </a:cubicBezTo>
                  <a:cubicBezTo>
                    <a:pt x="248" y="95"/>
                    <a:pt x="245" y="91"/>
                    <a:pt x="245" y="87"/>
                  </a:cubicBezTo>
                  <a:cubicBezTo>
                    <a:pt x="245" y="87"/>
                    <a:pt x="245" y="86"/>
                    <a:pt x="245" y="86"/>
                  </a:cubicBezTo>
                  <a:cubicBezTo>
                    <a:pt x="246" y="86"/>
                    <a:pt x="248" y="90"/>
                    <a:pt x="248" y="91"/>
                  </a:cubicBezTo>
                  <a:cubicBezTo>
                    <a:pt x="249" y="94"/>
                    <a:pt x="249" y="95"/>
                    <a:pt x="252" y="95"/>
                  </a:cubicBezTo>
                  <a:cubicBezTo>
                    <a:pt x="252" y="95"/>
                    <a:pt x="252" y="95"/>
                    <a:pt x="253" y="95"/>
                  </a:cubicBezTo>
                  <a:cubicBezTo>
                    <a:pt x="259" y="94"/>
                    <a:pt x="254" y="88"/>
                    <a:pt x="257" y="86"/>
                  </a:cubicBezTo>
                  <a:cubicBezTo>
                    <a:pt x="257" y="85"/>
                    <a:pt x="257" y="84"/>
                    <a:pt x="257" y="83"/>
                  </a:cubicBezTo>
                  <a:cubicBezTo>
                    <a:pt x="257" y="84"/>
                    <a:pt x="257" y="85"/>
                    <a:pt x="257" y="86"/>
                  </a:cubicBezTo>
                  <a:cubicBezTo>
                    <a:pt x="258" y="88"/>
                    <a:pt x="258" y="93"/>
                    <a:pt x="260" y="94"/>
                  </a:cubicBezTo>
                  <a:cubicBezTo>
                    <a:pt x="260" y="94"/>
                    <a:pt x="260" y="94"/>
                    <a:pt x="261" y="94"/>
                  </a:cubicBezTo>
                  <a:cubicBezTo>
                    <a:pt x="261" y="94"/>
                    <a:pt x="262" y="94"/>
                    <a:pt x="263" y="94"/>
                  </a:cubicBezTo>
                  <a:cubicBezTo>
                    <a:pt x="263" y="94"/>
                    <a:pt x="264" y="94"/>
                    <a:pt x="264" y="94"/>
                  </a:cubicBezTo>
                  <a:cubicBezTo>
                    <a:pt x="265" y="94"/>
                    <a:pt x="265" y="94"/>
                    <a:pt x="266" y="94"/>
                  </a:cubicBezTo>
                  <a:cubicBezTo>
                    <a:pt x="268" y="94"/>
                    <a:pt x="269" y="94"/>
                    <a:pt x="271" y="94"/>
                  </a:cubicBezTo>
                  <a:cubicBezTo>
                    <a:pt x="273" y="94"/>
                    <a:pt x="276" y="94"/>
                    <a:pt x="278" y="93"/>
                  </a:cubicBezTo>
                  <a:cubicBezTo>
                    <a:pt x="283" y="92"/>
                    <a:pt x="287" y="93"/>
                    <a:pt x="291" y="92"/>
                  </a:cubicBezTo>
                  <a:cubicBezTo>
                    <a:pt x="293" y="91"/>
                    <a:pt x="293" y="89"/>
                    <a:pt x="294" y="87"/>
                  </a:cubicBezTo>
                  <a:cubicBezTo>
                    <a:pt x="295" y="85"/>
                    <a:pt x="295" y="85"/>
                    <a:pt x="295" y="83"/>
                  </a:cubicBezTo>
                  <a:cubicBezTo>
                    <a:pt x="295" y="81"/>
                    <a:pt x="292" y="79"/>
                    <a:pt x="292" y="76"/>
                  </a:cubicBezTo>
                  <a:cubicBezTo>
                    <a:pt x="294" y="76"/>
                    <a:pt x="296" y="80"/>
                    <a:pt x="299" y="80"/>
                  </a:cubicBezTo>
                  <a:cubicBezTo>
                    <a:pt x="299" y="80"/>
                    <a:pt x="299" y="80"/>
                    <a:pt x="299" y="80"/>
                  </a:cubicBezTo>
                  <a:cubicBezTo>
                    <a:pt x="299" y="80"/>
                    <a:pt x="299" y="80"/>
                    <a:pt x="299" y="80"/>
                  </a:cubicBezTo>
                  <a:cubicBezTo>
                    <a:pt x="304" y="80"/>
                    <a:pt x="300" y="83"/>
                    <a:pt x="302" y="87"/>
                  </a:cubicBezTo>
                  <a:cubicBezTo>
                    <a:pt x="303" y="90"/>
                    <a:pt x="308" y="94"/>
                    <a:pt x="313" y="94"/>
                  </a:cubicBezTo>
                  <a:cubicBezTo>
                    <a:pt x="314" y="94"/>
                    <a:pt x="316" y="94"/>
                    <a:pt x="316" y="92"/>
                  </a:cubicBezTo>
                  <a:cubicBezTo>
                    <a:pt x="316" y="94"/>
                    <a:pt x="324" y="96"/>
                    <a:pt x="326" y="96"/>
                  </a:cubicBezTo>
                  <a:cubicBezTo>
                    <a:pt x="329" y="96"/>
                    <a:pt x="331" y="96"/>
                    <a:pt x="333" y="96"/>
                  </a:cubicBezTo>
                  <a:cubicBezTo>
                    <a:pt x="333" y="96"/>
                    <a:pt x="334" y="96"/>
                    <a:pt x="335" y="96"/>
                  </a:cubicBezTo>
                  <a:cubicBezTo>
                    <a:pt x="342" y="95"/>
                    <a:pt x="350" y="94"/>
                    <a:pt x="357" y="93"/>
                  </a:cubicBezTo>
                  <a:cubicBezTo>
                    <a:pt x="361" y="92"/>
                    <a:pt x="367" y="93"/>
                    <a:pt x="369" y="90"/>
                  </a:cubicBezTo>
                  <a:cubicBezTo>
                    <a:pt x="370" y="88"/>
                    <a:pt x="369" y="89"/>
                    <a:pt x="369" y="88"/>
                  </a:cubicBezTo>
                  <a:cubicBezTo>
                    <a:pt x="369" y="87"/>
                    <a:pt x="370" y="86"/>
                    <a:pt x="370" y="85"/>
                  </a:cubicBezTo>
                  <a:cubicBezTo>
                    <a:pt x="369" y="83"/>
                    <a:pt x="369" y="83"/>
                    <a:pt x="369" y="83"/>
                  </a:cubicBezTo>
                  <a:cubicBezTo>
                    <a:pt x="369" y="82"/>
                    <a:pt x="371" y="82"/>
                    <a:pt x="371" y="80"/>
                  </a:cubicBezTo>
                  <a:cubicBezTo>
                    <a:pt x="370" y="78"/>
                    <a:pt x="367" y="78"/>
                    <a:pt x="367" y="75"/>
                  </a:cubicBezTo>
                  <a:cubicBezTo>
                    <a:pt x="367" y="75"/>
                    <a:pt x="367" y="75"/>
                    <a:pt x="367" y="75"/>
                  </a:cubicBezTo>
                  <a:cubicBezTo>
                    <a:pt x="367" y="75"/>
                    <a:pt x="367" y="75"/>
                    <a:pt x="368" y="75"/>
                  </a:cubicBezTo>
                  <a:cubicBezTo>
                    <a:pt x="368" y="75"/>
                    <a:pt x="368" y="75"/>
                    <a:pt x="368" y="75"/>
                  </a:cubicBezTo>
                  <a:cubicBezTo>
                    <a:pt x="369" y="75"/>
                    <a:pt x="369" y="75"/>
                    <a:pt x="370" y="75"/>
                  </a:cubicBezTo>
                  <a:cubicBezTo>
                    <a:pt x="371" y="76"/>
                    <a:pt x="369" y="77"/>
                    <a:pt x="370" y="78"/>
                  </a:cubicBezTo>
                  <a:cubicBezTo>
                    <a:pt x="370" y="78"/>
                    <a:pt x="371" y="78"/>
                    <a:pt x="371" y="78"/>
                  </a:cubicBezTo>
                  <a:cubicBezTo>
                    <a:pt x="374" y="78"/>
                    <a:pt x="378" y="77"/>
                    <a:pt x="379" y="77"/>
                  </a:cubicBezTo>
                  <a:cubicBezTo>
                    <a:pt x="382" y="77"/>
                    <a:pt x="386" y="77"/>
                    <a:pt x="389" y="76"/>
                  </a:cubicBezTo>
                  <a:cubicBezTo>
                    <a:pt x="385" y="74"/>
                    <a:pt x="385" y="71"/>
                    <a:pt x="382" y="70"/>
                  </a:cubicBezTo>
                  <a:cubicBezTo>
                    <a:pt x="381" y="70"/>
                    <a:pt x="380" y="70"/>
                    <a:pt x="380" y="70"/>
                  </a:cubicBezTo>
                  <a:cubicBezTo>
                    <a:pt x="378" y="70"/>
                    <a:pt x="377" y="71"/>
                    <a:pt x="376" y="71"/>
                  </a:cubicBezTo>
                  <a:cubicBezTo>
                    <a:pt x="373" y="73"/>
                    <a:pt x="371" y="73"/>
                    <a:pt x="368" y="74"/>
                  </a:cubicBezTo>
                  <a:cubicBezTo>
                    <a:pt x="370" y="71"/>
                    <a:pt x="365" y="71"/>
                    <a:pt x="363" y="70"/>
                  </a:cubicBezTo>
                  <a:cubicBezTo>
                    <a:pt x="371" y="66"/>
                    <a:pt x="379" y="62"/>
                    <a:pt x="386" y="59"/>
                  </a:cubicBezTo>
                  <a:cubicBezTo>
                    <a:pt x="385" y="58"/>
                    <a:pt x="385" y="57"/>
                    <a:pt x="385" y="55"/>
                  </a:cubicBezTo>
                  <a:cubicBezTo>
                    <a:pt x="385" y="53"/>
                    <a:pt x="384" y="54"/>
                    <a:pt x="384" y="53"/>
                  </a:cubicBezTo>
                  <a:cubicBezTo>
                    <a:pt x="382" y="50"/>
                    <a:pt x="383" y="50"/>
                    <a:pt x="380" y="49"/>
                  </a:cubicBezTo>
                  <a:cubicBezTo>
                    <a:pt x="379" y="49"/>
                    <a:pt x="378" y="49"/>
                    <a:pt x="377" y="49"/>
                  </a:cubicBezTo>
                  <a:cubicBezTo>
                    <a:pt x="376" y="49"/>
                    <a:pt x="375" y="49"/>
                    <a:pt x="373" y="50"/>
                  </a:cubicBezTo>
                  <a:cubicBezTo>
                    <a:pt x="372" y="50"/>
                    <a:pt x="371" y="50"/>
                    <a:pt x="369" y="50"/>
                  </a:cubicBezTo>
                  <a:cubicBezTo>
                    <a:pt x="368" y="50"/>
                    <a:pt x="367" y="50"/>
                    <a:pt x="366" y="49"/>
                  </a:cubicBezTo>
                  <a:cubicBezTo>
                    <a:pt x="368" y="48"/>
                    <a:pt x="372" y="48"/>
                    <a:pt x="374" y="46"/>
                  </a:cubicBezTo>
                  <a:cubicBezTo>
                    <a:pt x="374" y="46"/>
                    <a:pt x="374" y="46"/>
                    <a:pt x="374" y="46"/>
                  </a:cubicBezTo>
                  <a:cubicBezTo>
                    <a:pt x="372" y="46"/>
                    <a:pt x="371" y="44"/>
                    <a:pt x="369" y="43"/>
                  </a:cubicBezTo>
                  <a:cubicBezTo>
                    <a:pt x="367" y="42"/>
                    <a:pt x="364" y="41"/>
                    <a:pt x="362" y="41"/>
                  </a:cubicBezTo>
                  <a:cubicBezTo>
                    <a:pt x="362" y="41"/>
                    <a:pt x="361" y="41"/>
                    <a:pt x="361" y="41"/>
                  </a:cubicBezTo>
                  <a:cubicBezTo>
                    <a:pt x="359" y="41"/>
                    <a:pt x="356" y="42"/>
                    <a:pt x="354" y="42"/>
                  </a:cubicBezTo>
                  <a:cubicBezTo>
                    <a:pt x="353" y="42"/>
                    <a:pt x="352" y="42"/>
                    <a:pt x="352" y="42"/>
                  </a:cubicBezTo>
                  <a:cubicBezTo>
                    <a:pt x="351" y="42"/>
                    <a:pt x="351" y="42"/>
                    <a:pt x="351" y="42"/>
                  </a:cubicBezTo>
                  <a:cubicBezTo>
                    <a:pt x="348" y="41"/>
                    <a:pt x="349" y="38"/>
                    <a:pt x="347" y="36"/>
                  </a:cubicBezTo>
                  <a:cubicBezTo>
                    <a:pt x="346" y="34"/>
                    <a:pt x="340" y="34"/>
                    <a:pt x="338" y="34"/>
                  </a:cubicBezTo>
                  <a:cubicBezTo>
                    <a:pt x="337" y="33"/>
                    <a:pt x="336" y="33"/>
                    <a:pt x="335" y="33"/>
                  </a:cubicBezTo>
                  <a:cubicBezTo>
                    <a:pt x="335" y="33"/>
                    <a:pt x="334" y="33"/>
                    <a:pt x="334" y="33"/>
                  </a:cubicBezTo>
                  <a:cubicBezTo>
                    <a:pt x="333" y="33"/>
                    <a:pt x="333" y="33"/>
                    <a:pt x="332" y="33"/>
                  </a:cubicBezTo>
                  <a:cubicBezTo>
                    <a:pt x="332" y="33"/>
                    <a:pt x="331" y="33"/>
                    <a:pt x="331" y="33"/>
                  </a:cubicBezTo>
                  <a:cubicBezTo>
                    <a:pt x="327" y="33"/>
                    <a:pt x="323" y="32"/>
                    <a:pt x="320" y="32"/>
                  </a:cubicBezTo>
                  <a:cubicBezTo>
                    <a:pt x="318" y="32"/>
                    <a:pt x="317" y="32"/>
                    <a:pt x="316" y="33"/>
                  </a:cubicBezTo>
                  <a:cubicBezTo>
                    <a:pt x="311" y="33"/>
                    <a:pt x="307" y="36"/>
                    <a:pt x="302" y="37"/>
                  </a:cubicBezTo>
                  <a:cubicBezTo>
                    <a:pt x="302" y="37"/>
                    <a:pt x="301" y="37"/>
                    <a:pt x="300" y="37"/>
                  </a:cubicBezTo>
                  <a:cubicBezTo>
                    <a:pt x="298" y="37"/>
                    <a:pt x="295" y="36"/>
                    <a:pt x="293" y="35"/>
                  </a:cubicBezTo>
                  <a:cubicBezTo>
                    <a:pt x="289" y="34"/>
                    <a:pt x="286" y="33"/>
                    <a:pt x="282" y="33"/>
                  </a:cubicBezTo>
                  <a:cubicBezTo>
                    <a:pt x="282" y="33"/>
                    <a:pt x="282" y="33"/>
                    <a:pt x="282" y="33"/>
                  </a:cubicBezTo>
                  <a:cubicBezTo>
                    <a:pt x="284" y="34"/>
                    <a:pt x="280" y="35"/>
                    <a:pt x="278" y="36"/>
                  </a:cubicBezTo>
                  <a:cubicBezTo>
                    <a:pt x="278" y="36"/>
                    <a:pt x="278" y="36"/>
                    <a:pt x="278" y="36"/>
                  </a:cubicBezTo>
                  <a:cubicBezTo>
                    <a:pt x="278" y="36"/>
                    <a:pt x="277" y="36"/>
                    <a:pt x="277" y="36"/>
                  </a:cubicBezTo>
                  <a:cubicBezTo>
                    <a:pt x="277" y="36"/>
                    <a:pt x="277" y="36"/>
                    <a:pt x="277" y="36"/>
                  </a:cubicBezTo>
                  <a:cubicBezTo>
                    <a:pt x="276" y="36"/>
                    <a:pt x="276" y="36"/>
                    <a:pt x="276" y="36"/>
                  </a:cubicBezTo>
                  <a:cubicBezTo>
                    <a:pt x="275" y="36"/>
                    <a:pt x="275" y="38"/>
                    <a:pt x="274" y="38"/>
                  </a:cubicBezTo>
                  <a:cubicBezTo>
                    <a:pt x="271" y="40"/>
                    <a:pt x="261" y="38"/>
                    <a:pt x="269" y="42"/>
                  </a:cubicBezTo>
                  <a:cubicBezTo>
                    <a:pt x="268" y="42"/>
                    <a:pt x="268" y="42"/>
                    <a:pt x="267" y="42"/>
                  </a:cubicBezTo>
                  <a:cubicBezTo>
                    <a:pt x="266" y="42"/>
                    <a:pt x="264" y="42"/>
                    <a:pt x="263" y="41"/>
                  </a:cubicBezTo>
                  <a:cubicBezTo>
                    <a:pt x="261" y="41"/>
                    <a:pt x="260" y="41"/>
                    <a:pt x="258" y="41"/>
                  </a:cubicBezTo>
                  <a:cubicBezTo>
                    <a:pt x="258" y="41"/>
                    <a:pt x="258" y="41"/>
                    <a:pt x="257" y="41"/>
                  </a:cubicBezTo>
                  <a:cubicBezTo>
                    <a:pt x="257" y="41"/>
                    <a:pt x="257" y="41"/>
                    <a:pt x="257" y="41"/>
                  </a:cubicBezTo>
                  <a:cubicBezTo>
                    <a:pt x="257" y="41"/>
                    <a:pt x="257" y="41"/>
                    <a:pt x="257" y="41"/>
                  </a:cubicBezTo>
                  <a:cubicBezTo>
                    <a:pt x="257" y="41"/>
                    <a:pt x="256" y="41"/>
                    <a:pt x="256" y="41"/>
                  </a:cubicBezTo>
                  <a:cubicBezTo>
                    <a:pt x="258" y="42"/>
                    <a:pt x="247" y="44"/>
                    <a:pt x="252" y="45"/>
                  </a:cubicBezTo>
                  <a:cubicBezTo>
                    <a:pt x="250" y="45"/>
                    <a:pt x="247" y="44"/>
                    <a:pt x="245" y="44"/>
                  </a:cubicBezTo>
                  <a:cubicBezTo>
                    <a:pt x="245" y="44"/>
                    <a:pt x="244" y="44"/>
                    <a:pt x="244" y="44"/>
                  </a:cubicBezTo>
                  <a:cubicBezTo>
                    <a:pt x="243" y="44"/>
                    <a:pt x="241" y="46"/>
                    <a:pt x="239" y="46"/>
                  </a:cubicBezTo>
                  <a:cubicBezTo>
                    <a:pt x="236" y="46"/>
                    <a:pt x="234" y="46"/>
                    <a:pt x="231" y="48"/>
                  </a:cubicBezTo>
                  <a:cubicBezTo>
                    <a:pt x="236" y="50"/>
                    <a:pt x="241" y="51"/>
                    <a:pt x="245" y="53"/>
                  </a:cubicBezTo>
                  <a:cubicBezTo>
                    <a:pt x="241" y="53"/>
                    <a:pt x="238" y="52"/>
                    <a:pt x="234" y="52"/>
                  </a:cubicBezTo>
                  <a:cubicBezTo>
                    <a:pt x="233" y="52"/>
                    <a:pt x="232" y="52"/>
                    <a:pt x="232" y="52"/>
                  </a:cubicBezTo>
                  <a:cubicBezTo>
                    <a:pt x="229" y="52"/>
                    <a:pt x="226" y="54"/>
                    <a:pt x="223" y="54"/>
                  </a:cubicBezTo>
                  <a:cubicBezTo>
                    <a:pt x="221" y="54"/>
                    <a:pt x="220" y="53"/>
                    <a:pt x="218" y="52"/>
                  </a:cubicBezTo>
                  <a:cubicBezTo>
                    <a:pt x="215" y="50"/>
                    <a:pt x="208" y="43"/>
                    <a:pt x="204" y="43"/>
                  </a:cubicBezTo>
                  <a:cubicBezTo>
                    <a:pt x="204" y="43"/>
                    <a:pt x="204" y="43"/>
                    <a:pt x="204" y="43"/>
                  </a:cubicBezTo>
                  <a:cubicBezTo>
                    <a:pt x="202" y="43"/>
                    <a:pt x="200" y="45"/>
                    <a:pt x="199" y="47"/>
                  </a:cubicBezTo>
                  <a:cubicBezTo>
                    <a:pt x="198" y="48"/>
                    <a:pt x="198" y="49"/>
                    <a:pt x="197" y="49"/>
                  </a:cubicBezTo>
                  <a:cubicBezTo>
                    <a:pt x="197" y="49"/>
                    <a:pt x="196" y="48"/>
                    <a:pt x="195" y="47"/>
                  </a:cubicBezTo>
                  <a:cubicBezTo>
                    <a:pt x="195" y="45"/>
                    <a:pt x="194" y="45"/>
                    <a:pt x="194" y="45"/>
                  </a:cubicBezTo>
                  <a:cubicBezTo>
                    <a:pt x="193" y="45"/>
                    <a:pt x="193" y="45"/>
                    <a:pt x="192" y="45"/>
                  </a:cubicBezTo>
                  <a:cubicBezTo>
                    <a:pt x="190" y="46"/>
                    <a:pt x="185" y="49"/>
                    <a:pt x="182" y="49"/>
                  </a:cubicBezTo>
                  <a:cubicBezTo>
                    <a:pt x="182" y="49"/>
                    <a:pt x="182" y="49"/>
                    <a:pt x="182" y="49"/>
                  </a:cubicBezTo>
                  <a:cubicBezTo>
                    <a:pt x="180" y="48"/>
                    <a:pt x="175" y="40"/>
                    <a:pt x="172" y="40"/>
                  </a:cubicBezTo>
                  <a:cubicBezTo>
                    <a:pt x="171" y="40"/>
                    <a:pt x="171" y="40"/>
                    <a:pt x="171" y="40"/>
                  </a:cubicBezTo>
                  <a:cubicBezTo>
                    <a:pt x="168" y="43"/>
                    <a:pt x="168" y="43"/>
                    <a:pt x="168" y="43"/>
                  </a:cubicBezTo>
                  <a:cubicBezTo>
                    <a:pt x="168" y="44"/>
                    <a:pt x="168" y="43"/>
                    <a:pt x="168" y="44"/>
                  </a:cubicBezTo>
                  <a:cubicBezTo>
                    <a:pt x="167" y="44"/>
                    <a:pt x="169" y="46"/>
                    <a:pt x="169" y="46"/>
                  </a:cubicBezTo>
                  <a:cubicBezTo>
                    <a:pt x="168" y="46"/>
                    <a:pt x="167" y="46"/>
                    <a:pt x="165" y="46"/>
                  </a:cubicBezTo>
                  <a:cubicBezTo>
                    <a:pt x="163" y="46"/>
                    <a:pt x="160" y="46"/>
                    <a:pt x="158" y="46"/>
                  </a:cubicBezTo>
                  <a:cubicBezTo>
                    <a:pt x="157" y="46"/>
                    <a:pt x="157" y="46"/>
                    <a:pt x="156" y="46"/>
                  </a:cubicBezTo>
                  <a:cubicBezTo>
                    <a:pt x="156" y="46"/>
                    <a:pt x="156" y="46"/>
                    <a:pt x="155" y="46"/>
                  </a:cubicBezTo>
                  <a:cubicBezTo>
                    <a:pt x="155" y="46"/>
                    <a:pt x="155" y="46"/>
                    <a:pt x="154" y="46"/>
                  </a:cubicBezTo>
                  <a:cubicBezTo>
                    <a:pt x="152" y="46"/>
                    <a:pt x="149" y="46"/>
                    <a:pt x="147" y="44"/>
                  </a:cubicBezTo>
                  <a:cubicBezTo>
                    <a:pt x="148" y="44"/>
                    <a:pt x="149" y="43"/>
                    <a:pt x="150" y="43"/>
                  </a:cubicBezTo>
                  <a:cubicBezTo>
                    <a:pt x="150" y="43"/>
                    <a:pt x="150" y="43"/>
                    <a:pt x="150" y="43"/>
                  </a:cubicBezTo>
                  <a:cubicBezTo>
                    <a:pt x="151" y="43"/>
                    <a:pt x="151" y="43"/>
                    <a:pt x="151" y="43"/>
                  </a:cubicBezTo>
                  <a:cubicBezTo>
                    <a:pt x="151" y="43"/>
                    <a:pt x="152" y="43"/>
                    <a:pt x="152" y="43"/>
                  </a:cubicBezTo>
                  <a:cubicBezTo>
                    <a:pt x="152" y="43"/>
                    <a:pt x="152" y="43"/>
                    <a:pt x="152" y="43"/>
                  </a:cubicBezTo>
                  <a:cubicBezTo>
                    <a:pt x="154" y="43"/>
                    <a:pt x="158" y="43"/>
                    <a:pt x="159" y="42"/>
                  </a:cubicBezTo>
                  <a:cubicBezTo>
                    <a:pt x="161" y="39"/>
                    <a:pt x="156" y="34"/>
                    <a:pt x="155" y="33"/>
                  </a:cubicBezTo>
                  <a:cubicBezTo>
                    <a:pt x="154" y="32"/>
                    <a:pt x="153" y="31"/>
                    <a:pt x="152" y="31"/>
                  </a:cubicBezTo>
                  <a:cubicBezTo>
                    <a:pt x="150" y="31"/>
                    <a:pt x="149" y="33"/>
                    <a:pt x="147" y="34"/>
                  </a:cubicBezTo>
                  <a:cubicBezTo>
                    <a:pt x="146" y="33"/>
                    <a:pt x="148" y="32"/>
                    <a:pt x="148" y="31"/>
                  </a:cubicBezTo>
                  <a:cubicBezTo>
                    <a:pt x="147" y="30"/>
                    <a:pt x="144" y="24"/>
                    <a:pt x="142" y="24"/>
                  </a:cubicBezTo>
                  <a:cubicBezTo>
                    <a:pt x="142" y="24"/>
                    <a:pt x="142" y="24"/>
                    <a:pt x="141" y="24"/>
                  </a:cubicBezTo>
                  <a:cubicBezTo>
                    <a:pt x="140" y="24"/>
                    <a:pt x="141" y="25"/>
                    <a:pt x="139" y="26"/>
                  </a:cubicBezTo>
                  <a:cubicBezTo>
                    <a:pt x="139" y="26"/>
                    <a:pt x="138" y="26"/>
                    <a:pt x="137" y="26"/>
                  </a:cubicBezTo>
                  <a:cubicBezTo>
                    <a:pt x="137" y="26"/>
                    <a:pt x="136" y="26"/>
                    <a:pt x="135" y="26"/>
                  </a:cubicBezTo>
                  <a:cubicBezTo>
                    <a:pt x="133" y="26"/>
                    <a:pt x="128" y="25"/>
                    <a:pt x="125" y="25"/>
                  </a:cubicBezTo>
                  <a:cubicBezTo>
                    <a:pt x="124" y="25"/>
                    <a:pt x="124" y="25"/>
                    <a:pt x="123" y="25"/>
                  </a:cubicBezTo>
                  <a:cubicBezTo>
                    <a:pt x="122" y="25"/>
                    <a:pt x="122" y="27"/>
                    <a:pt x="121" y="28"/>
                  </a:cubicBezTo>
                  <a:cubicBezTo>
                    <a:pt x="119" y="29"/>
                    <a:pt x="117" y="31"/>
                    <a:pt x="115" y="32"/>
                  </a:cubicBezTo>
                  <a:cubicBezTo>
                    <a:pt x="116" y="29"/>
                    <a:pt x="115" y="30"/>
                    <a:pt x="117" y="28"/>
                  </a:cubicBezTo>
                  <a:cubicBezTo>
                    <a:pt x="118" y="27"/>
                    <a:pt x="119" y="28"/>
                    <a:pt x="119" y="27"/>
                  </a:cubicBezTo>
                  <a:cubicBezTo>
                    <a:pt x="119" y="26"/>
                    <a:pt x="116" y="24"/>
                    <a:pt x="115" y="24"/>
                  </a:cubicBezTo>
                  <a:cubicBezTo>
                    <a:pt x="116" y="23"/>
                    <a:pt x="117" y="23"/>
                    <a:pt x="118" y="23"/>
                  </a:cubicBezTo>
                  <a:cubicBezTo>
                    <a:pt x="118" y="23"/>
                    <a:pt x="119" y="23"/>
                    <a:pt x="119" y="23"/>
                  </a:cubicBezTo>
                  <a:cubicBezTo>
                    <a:pt x="120" y="24"/>
                    <a:pt x="121" y="24"/>
                    <a:pt x="121" y="24"/>
                  </a:cubicBezTo>
                  <a:cubicBezTo>
                    <a:pt x="122" y="24"/>
                    <a:pt x="122" y="24"/>
                    <a:pt x="122" y="24"/>
                  </a:cubicBezTo>
                  <a:cubicBezTo>
                    <a:pt x="127" y="23"/>
                    <a:pt x="132" y="23"/>
                    <a:pt x="136" y="21"/>
                  </a:cubicBezTo>
                  <a:cubicBezTo>
                    <a:pt x="127" y="20"/>
                    <a:pt x="118" y="19"/>
                    <a:pt x="109" y="17"/>
                  </a:cubicBezTo>
                  <a:cubicBezTo>
                    <a:pt x="110" y="17"/>
                    <a:pt x="110" y="16"/>
                    <a:pt x="111" y="16"/>
                  </a:cubicBezTo>
                  <a:cubicBezTo>
                    <a:pt x="109" y="14"/>
                    <a:pt x="106" y="13"/>
                    <a:pt x="104" y="12"/>
                  </a:cubicBezTo>
                  <a:cubicBezTo>
                    <a:pt x="105" y="12"/>
                    <a:pt x="105" y="12"/>
                    <a:pt x="105" y="12"/>
                  </a:cubicBezTo>
                  <a:cubicBezTo>
                    <a:pt x="108" y="12"/>
                    <a:pt x="110" y="13"/>
                    <a:pt x="112" y="14"/>
                  </a:cubicBezTo>
                  <a:cubicBezTo>
                    <a:pt x="115" y="15"/>
                    <a:pt x="117" y="15"/>
                    <a:pt x="120" y="16"/>
                  </a:cubicBezTo>
                  <a:cubicBezTo>
                    <a:pt x="124" y="17"/>
                    <a:pt x="128" y="16"/>
                    <a:pt x="133" y="18"/>
                  </a:cubicBezTo>
                  <a:cubicBezTo>
                    <a:pt x="132" y="17"/>
                    <a:pt x="132" y="17"/>
                    <a:pt x="131" y="16"/>
                  </a:cubicBezTo>
                  <a:cubicBezTo>
                    <a:pt x="132" y="16"/>
                    <a:pt x="133" y="16"/>
                    <a:pt x="134" y="16"/>
                  </a:cubicBezTo>
                  <a:cubicBezTo>
                    <a:pt x="136" y="16"/>
                    <a:pt x="139" y="16"/>
                    <a:pt x="142" y="16"/>
                  </a:cubicBezTo>
                  <a:cubicBezTo>
                    <a:pt x="145" y="17"/>
                    <a:pt x="148" y="17"/>
                    <a:pt x="150" y="17"/>
                  </a:cubicBezTo>
                  <a:cubicBezTo>
                    <a:pt x="154" y="17"/>
                    <a:pt x="157" y="16"/>
                    <a:pt x="157" y="14"/>
                  </a:cubicBezTo>
                  <a:cubicBezTo>
                    <a:pt x="158" y="10"/>
                    <a:pt x="155" y="10"/>
                    <a:pt x="152" y="9"/>
                  </a:cubicBezTo>
                  <a:cubicBezTo>
                    <a:pt x="149" y="9"/>
                    <a:pt x="147" y="9"/>
                    <a:pt x="145" y="8"/>
                  </a:cubicBezTo>
                  <a:cubicBezTo>
                    <a:pt x="140" y="7"/>
                    <a:pt x="136" y="6"/>
                    <a:pt x="131" y="5"/>
                  </a:cubicBezTo>
                  <a:cubicBezTo>
                    <a:pt x="123" y="5"/>
                    <a:pt x="114" y="3"/>
                    <a:pt x="106" y="1"/>
                  </a:cubicBezTo>
                  <a:cubicBezTo>
                    <a:pt x="106" y="0"/>
                    <a:pt x="107"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7" name="Freeform 290">
              <a:extLst>
                <a:ext uri="{FF2B5EF4-FFF2-40B4-BE49-F238E27FC236}">
                  <a16:creationId xmlns:a16="http://schemas.microsoft.com/office/drawing/2014/main" id="{9BBC18DA-A454-49C1-BB7A-95CF25108E2E}"/>
                </a:ext>
              </a:extLst>
            </p:cNvPr>
            <p:cNvSpPr>
              <a:spLocks/>
            </p:cNvSpPr>
            <p:nvPr/>
          </p:nvSpPr>
          <p:spPr bwMode="auto">
            <a:xfrm>
              <a:off x="7261216" y="1023172"/>
              <a:ext cx="153988" cy="49213"/>
            </a:xfrm>
            <a:custGeom>
              <a:avLst/>
              <a:gdLst>
                <a:gd name="T0" fmla="*/ 41 w 41"/>
                <a:gd name="T1" fmla="*/ 0 h 13"/>
                <a:gd name="T2" fmla="*/ 0 w 41"/>
                <a:gd name="T3" fmla="*/ 9 h 13"/>
                <a:gd name="T4" fmla="*/ 0 w 41"/>
                <a:gd name="T5" fmla="*/ 9 h 13"/>
                <a:gd name="T6" fmla="*/ 0 w 41"/>
                <a:gd name="T7" fmla="*/ 10 h 13"/>
                <a:gd name="T8" fmla="*/ 1 w 41"/>
                <a:gd name="T9" fmla="*/ 10 h 13"/>
                <a:gd name="T10" fmla="*/ 5 w 41"/>
                <a:gd name="T11" fmla="*/ 11 h 13"/>
                <a:gd name="T12" fmla="*/ 9 w 41"/>
                <a:gd name="T13" fmla="*/ 13 h 13"/>
                <a:gd name="T14" fmla="*/ 10 w 41"/>
                <a:gd name="T15" fmla="*/ 13 h 13"/>
                <a:gd name="T16" fmla="*/ 10 w 41"/>
                <a:gd name="T17" fmla="*/ 13 h 13"/>
                <a:gd name="T18" fmla="*/ 10 w 41"/>
                <a:gd name="T19" fmla="*/ 13 h 13"/>
                <a:gd name="T20" fmla="*/ 10 w 41"/>
                <a:gd name="T21" fmla="*/ 13 h 13"/>
                <a:gd name="T22" fmla="*/ 11 w 41"/>
                <a:gd name="T23" fmla="*/ 13 h 13"/>
                <a:gd name="T24" fmla="*/ 11 w 41"/>
                <a:gd name="T25" fmla="*/ 13 h 13"/>
                <a:gd name="T26" fmla="*/ 13 w 41"/>
                <a:gd name="T27" fmla="*/ 13 h 13"/>
                <a:gd name="T28" fmla="*/ 14 w 41"/>
                <a:gd name="T29" fmla="*/ 13 h 13"/>
                <a:gd name="T30" fmla="*/ 14 w 41"/>
                <a:gd name="T31" fmla="*/ 13 h 13"/>
                <a:gd name="T32" fmla="*/ 14 w 41"/>
                <a:gd name="T33" fmla="*/ 13 h 13"/>
                <a:gd name="T34" fmla="*/ 15 w 41"/>
                <a:gd name="T35" fmla="*/ 12 h 13"/>
                <a:gd name="T36" fmla="*/ 16 w 41"/>
                <a:gd name="T37" fmla="*/ 11 h 13"/>
                <a:gd name="T38" fmla="*/ 16 w 41"/>
                <a:gd name="T39" fmla="*/ 11 h 13"/>
                <a:gd name="T40" fmla="*/ 16 w 41"/>
                <a:gd name="T41" fmla="*/ 11 h 13"/>
                <a:gd name="T42" fmla="*/ 16 w 41"/>
                <a:gd name="T43" fmla="*/ 11 h 13"/>
                <a:gd name="T44" fmla="*/ 18 w 41"/>
                <a:gd name="T45" fmla="*/ 11 h 13"/>
                <a:gd name="T46" fmla="*/ 21 w 41"/>
                <a:gd name="T47" fmla="*/ 12 h 13"/>
                <a:gd name="T48" fmla="*/ 21 w 41"/>
                <a:gd name="T49" fmla="*/ 12 h 13"/>
                <a:gd name="T50" fmla="*/ 21 w 41"/>
                <a:gd name="T51" fmla="*/ 12 h 13"/>
                <a:gd name="T52" fmla="*/ 21 w 41"/>
                <a:gd name="T53" fmla="*/ 12 h 13"/>
                <a:gd name="T54" fmla="*/ 21 w 41"/>
                <a:gd name="T55" fmla="*/ 12 h 13"/>
                <a:gd name="T56" fmla="*/ 27 w 41"/>
                <a:gd name="T57" fmla="*/ 10 h 13"/>
                <a:gd name="T58" fmla="*/ 27 w 41"/>
                <a:gd name="T59" fmla="*/ 10 h 13"/>
                <a:gd name="T60" fmla="*/ 32 w 41"/>
                <a:gd name="T61" fmla="*/ 8 h 13"/>
                <a:gd name="T62" fmla="*/ 41 w 41"/>
                <a:gd name="T6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 h="13">
                  <a:moveTo>
                    <a:pt x="41" y="0"/>
                  </a:moveTo>
                  <a:cubicBezTo>
                    <a:pt x="27" y="3"/>
                    <a:pt x="13" y="6"/>
                    <a:pt x="0" y="9"/>
                  </a:cubicBezTo>
                  <a:cubicBezTo>
                    <a:pt x="0" y="9"/>
                    <a:pt x="0" y="9"/>
                    <a:pt x="0" y="9"/>
                  </a:cubicBezTo>
                  <a:cubicBezTo>
                    <a:pt x="0" y="10"/>
                    <a:pt x="0" y="10"/>
                    <a:pt x="0" y="10"/>
                  </a:cubicBezTo>
                  <a:cubicBezTo>
                    <a:pt x="1" y="10"/>
                    <a:pt x="1" y="10"/>
                    <a:pt x="1" y="10"/>
                  </a:cubicBezTo>
                  <a:cubicBezTo>
                    <a:pt x="2" y="11"/>
                    <a:pt x="4" y="11"/>
                    <a:pt x="5" y="11"/>
                  </a:cubicBezTo>
                  <a:cubicBezTo>
                    <a:pt x="7" y="12"/>
                    <a:pt x="7" y="13"/>
                    <a:pt x="9" y="13"/>
                  </a:cubicBezTo>
                  <a:cubicBezTo>
                    <a:pt x="9" y="13"/>
                    <a:pt x="10" y="13"/>
                    <a:pt x="10" y="13"/>
                  </a:cubicBezTo>
                  <a:cubicBezTo>
                    <a:pt x="10" y="13"/>
                    <a:pt x="10" y="13"/>
                    <a:pt x="10" y="13"/>
                  </a:cubicBezTo>
                  <a:cubicBezTo>
                    <a:pt x="10" y="13"/>
                    <a:pt x="10" y="13"/>
                    <a:pt x="10" y="13"/>
                  </a:cubicBezTo>
                  <a:cubicBezTo>
                    <a:pt x="10" y="13"/>
                    <a:pt x="10" y="13"/>
                    <a:pt x="10" y="13"/>
                  </a:cubicBezTo>
                  <a:cubicBezTo>
                    <a:pt x="11" y="13"/>
                    <a:pt x="11" y="13"/>
                    <a:pt x="11" y="13"/>
                  </a:cubicBezTo>
                  <a:cubicBezTo>
                    <a:pt x="11" y="13"/>
                    <a:pt x="11" y="13"/>
                    <a:pt x="11" y="13"/>
                  </a:cubicBezTo>
                  <a:cubicBezTo>
                    <a:pt x="12" y="13"/>
                    <a:pt x="12" y="13"/>
                    <a:pt x="13" y="13"/>
                  </a:cubicBezTo>
                  <a:cubicBezTo>
                    <a:pt x="13" y="13"/>
                    <a:pt x="13" y="13"/>
                    <a:pt x="14" y="13"/>
                  </a:cubicBezTo>
                  <a:cubicBezTo>
                    <a:pt x="14" y="13"/>
                    <a:pt x="14" y="13"/>
                    <a:pt x="14" y="13"/>
                  </a:cubicBezTo>
                  <a:cubicBezTo>
                    <a:pt x="14" y="13"/>
                    <a:pt x="14" y="13"/>
                    <a:pt x="14" y="13"/>
                  </a:cubicBezTo>
                  <a:cubicBezTo>
                    <a:pt x="15" y="13"/>
                    <a:pt x="15" y="13"/>
                    <a:pt x="15" y="12"/>
                  </a:cubicBezTo>
                  <a:cubicBezTo>
                    <a:pt x="15" y="12"/>
                    <a:pt x="15" y="12"/>
                    <a:pt x="16" y="11"/>
                  </a:cubicBezTo>
                  <a:cubicBezTo>
                    <a:pt x="16" y="11"/>
                    <a:pt x="16" y="11"/>
                    <a:pt x="16" y="11"/>
                  </a:cubicBezTo>
                  <a:cubicBezTo>
                    <a:pt x="16" y="11"/>
                    <a:pt x="16" y="11"/>
                    <a:pt x="16" y="11"/>
                  </a:cubicBezTo>
                  <a:cubicBezTo>
                    <a:pt x="16" y="11"/>
                    <a:pt x="16" y="11"/>
                    <a:pt x="16" y="11"/>
                  </a:cubicBezTo>
                  <a:cubicBezTo>
                    <a:pt x="17" y="11"/>
                    <a:pt x="17" y="11"/>
                    <a:pt x="18" y="11"/>
                  </a:cubicBezTo>
                  <a:cubicBezTo>
                    <a:pt x="19" y="12"/>
                    <a:pt x="20" y="12"/>
                    <a:pt x="21" y="12"/>
                  </a:cubicBezTo>
                  <a:cubicBezTo>
                    <a:pt x="21" y="12"/>
                    <a:pt x="21" y="12"/>
                    <a:pt x="21" y="12"/>
                  </a:cubicBezTo>
                  <a:cubicBezTo>
                    <a:pt x="21" y="12"/>
                    <a:pt x="21" y="12"/>
                    <a:pt x="21" y="12"/>
                  </a:cubicBezTo>
                  <a:cubicBezTo>
                    <a:pt x="21" y="12"/>
                    <a:pt x="21" y="12"/>
                    <a:pt x="21" y="12"/>
                  </a:cubicBezTo>
                  <a:cubicBezTo>
                    <a:pt x="21" y="12"/>
                    <a:pt x="21" y="12"/>
                    <a:pt x="21" y="12"/>
                  </a:cubicBezTo>
                  <a:cubicBezTo>
                    <a:pt x="23" y="11"/>
                    <a:pt x="25" y="11"/>
                    <a:pt x="27" y="10"/>
                  </a:cubicBezTo>
                  <a:cubicBezTo>
                    <a:pt x="27" y="10"/>
                    <a:pt x="27" y="10"/>
                    <a:pt x="27" y="10"/>
                  </a:cubicBezTo>
                  <a:cubicBezTo>
                    <a:pt x="29" y="10"/>
                    <a:pt x="30" y="9"/>
                    <a:pt x="32" y="8"/>
                  </a:cubicBezTo>
                  <a:cubicBezTo>
                    <a:pt x="36" y="5"/>
                    <a:pt x="39" y="6"/>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8" name="Freeform 291">
              <a:extLst>
                <a:ext uri="{FF2B5EF4-FFF2-40B4-BE49-F238E27FC236}">
                  <a16:creationId xmlns:a16="http://schemas.microsoft.com/office/drawing/2014/main" id="{913A780A-C1C2-45DE-98E4-E1EBA8A980A7}"/>
                </a:ext>
              </a:extLst>
            </p:cNvPr>
            <p:cNvSpPr>
              <a:spLocks/>
            </p:cNvSpPr>
            <p:nvPr/>
          </p:nvSpPr>
          <p:spPr bwMode="auto">
            <a:xfrm>
              <a:off x="8872529" y="1080322"/>
              <a:ext cx="423863" cy="173038"/>
            </a:xfrm>
            <a:custGeom>
              <a:avLst/>
              <a:gdLst>
                <a:gd name="T0" fmla="*/ 10 w 113"/>
                <a:gd name="T1" fmla="*/ 0 h 46"/>
                <a:gd name="T2" fmla="*/ 2 w 113"/>
                <a:gd name="T3" fmla="*/ 1 h 46"/>
                <a:gd name="T4" fmla="*/ 2 w 113"/>
                <a:gd name="T5" fmla="*/ 10 h 46"/>
                <a:gd name="T6" fmla="*/ 5 w 113"/>
                <a:gd name="T7" fmla="*/ 13 h 46"/>
                <a:gd name="T8" fmla="*/ 1 w 113"/>
                <a:gd name="T9" fmla="*/ 16 h 46"/>
                <a:gd name="T10" fmla="*/ 3 w 113"/>
                <a:gd name="T11" fmla="*/ 22 h 46"/>
                <a:gd name="T12" fmla="*/ 13 w 113"/>
                <a:gd name="T13" fmla="*/ 23 h 46"/>
                <a:gd name="T14" fmla="*/ 13 w 113"/>
                <a:gd name="T15" fmla="*/ 23 h 46"/>
                <a:gd name="T16" fmla="*/ 14 w 113"/>
                <a:gd name="T17" fmla="*/ 23 h 46"/>
                <a:gd name="T18" fmla="*/ 15 w 113"/>
                <a:gd name="T19" fmla="*/ 23 h 46"/>
                <a:gd name="T20" fmla="*/ 17 w 113"/>
                <a:gd name="T21" fmla="*/ 24 h 46"/>
                <a:gd name="T22" fmla="*/ 17 w 113"/>
                <a:gd name="T23" fmla="*/ 32 h 46"/>
                <a:gd name="T24" fmla="*/ 23 w 113"/>
                <a:gd name="T25" fmla="*/ 41 h 46"/>
                <a:gd name="T26" fmla="*/ 30 w 113"/>
                <a:gd name="T27" fmla="*/ 45 h 46"/>
                <a:gd name="T28" fmla="*/ 35 w 113"/>
                <a:gd name="T29" fmla="*/ 46 h 46"/>
                <a:gd name="T30" fmla="*/ 39 w 113"/>
                <a:gd name="T31" fmla="*/ 45 h 46"/>
                <a:gd name="T32" fmla="*/ 72 w 113"/>
                <a:gd name="T33" fmla="*/ 39 h 46"/>
                <a:gd name="T34" fmla="*/ 113 w 113"/>
                <a:gd name="T35" fmla="*/ 38 h 46"/>
                <a:gd name="T36" fmla="*/ 110 w 113"/>
                <a:gd name="T37" fmla="*/ 37 h 46"/>
                <a:gd name="T38" fmla="*/ 110 w 113"/>
                <a:gd name="T39" fmla="*/ 37 h 46"/>
                <a:gd name="T40" fmla="*/ 109 w 113"/>
                <a:gd name="T41" fmla="*/ 37 h 46"/>
                <a:gd name="T42" fmla="*/ 107 w 113"/>
                <a:gd name="T43" fmla="*/ 36 h 46"/>
                <a:gd name="T44" fmla="*/ 108 w 113"/>
                <a:gd name="T45" fmla="*/ 30 h 46"/>
                <a:gd name="T46" fmla="*/ 104 w 113"/>
                <a:gd name="T47" fmla="*/ 29 h 46"/>
                <a:gd name="T48" fmla="*/ 99 w 113"/>
                <a:gd name="T49" fmla="*/ 23 h 46"/>
                <a:gd name="T50" fmla="*/ 94 w 113"/>
                <a:gd name="T51" fmla="*/ 20 h 46"/>
                <a:gd name="T52" fmla="*/ 88 w 113"/>
                <a:gd name="T53" fmla="*/ 15 h 46"/>
                <a:gd name="T54" fmla="*/ 83 w 113"/>
                <a:gd name="T55" fmla="*/ 11 h 46"/>
                <a:gd name="T56" fmla="*/ 77 w 113"/>
                <a:gd name="T57" fmla="*/ 8 h 46"/>
                <a:gd name="T58" fmla="*/ 71 w 113"/>
                <a:gd name="T59" fmla="*/ 7 h 46"/>
                <a:gd name="T60" fmla="*/ 59 w 113"/>
                <a:gd name="T61" fmla="*/ 4 h 46"/>
                <a:gd name="T62" fmla="*/ 57 w 113"/>
                <a:gd name="T63" fmla="*/ 4 h 46"/>
                <a:gd name="T64" fmla="*/ 51 w 113"/>
                <a:gd name="T65" fmla="*/ 5 h 46"/>
                <a:gd name="T66" fmla="*/ 50 w 113"/>
                <a:gd name="T67" fmla="*/ 5 h 46"/>
                <a:gd name="T68" fmla="*/ 50 w 113"/>
                <a:gd name="T69" fmla="*/ 5 h 46"/>
                <a:gd name="T70" fmla="*/ 44 w 113"/>
                <a:gd name="T71" fmla="*/ 6 h 46"/>
                <a:gd name="T72" fmla="*/ 30 w 113"/>
                <a:gd name="T73" fmla="*/ 4 h 46"/>
                <a:gd name="T74" fmla="*/ 25 w 113"/>
                <a:gd name="T75" fmla="*/ 3 h 46"/>
                <a:gd name="T76" fmla="*/ 22 w 113"/>
                <a:gd name="T77" fmla="*/ 2 h 46"/>
                <a:gd name="T78" fmla="*/ 22 w 113"/>
                <a:gd name="T79" fmla="*/ 2 h 46"/>
                <a:gd name="T80" fmla="*/ 19 w 113"/>
                <a:gd name="T81" fmla="*/ 3 h 46"/>
                <a:gd name="T82" fmla="*/ 18 w 113"/>
                <a:gd name="T83" fmla="*/ 3 h 46"/>
                <a:gd name="T84" fmla="*/ 11 w 113"/>
                <a:gd name="T85" fmla="*/ 0 h 46"/>
                <a:gd name="T86" fmla="*/ 10 w 113"/>
                <a:gd name="T8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46">
                  <a:moveTo>
                    <a:pt x="10" y="0"/>
                  </a:moveTo>
                  <a:cubicBezTo>
                    <a:pt x="7" y="0"/>
                    <a:pt x="4" y="0"/>
                    <a:pt x="2" y="1"/>
                  </a:cubicBezTo>
                  <a:cubicBezTo>
                    <a:pt x="5" y="3"/>
                    <a:pt x="0" y="7"/>
                    <a:pt x="2" y="10"/>
                  </a:cubicBezTo>
                  <a:cubicBezTo>
                    <a:pt x="3" y="11"/>
                    <a:pt x="5" y="12"/>
                    <a:pt x="5" y="13"/>
                  </a:cubicBezTo>
                  <a:cubicBezTo>
                    <a:pt x="4" y="14"/>
                    <a:pt x="1" y="14"/>
                    <a:pt x="1" y="16"/>
                  </a:cubicBezTo>
                  <a:cubicBezTo>
                    <a:pt x="1" y="18"/>
                    <a:pt x="1" y="21"/>
                    <a:pt x="3" y="22"/>
                  </a:cubicBezTo>
                  <a:cubicBezTo>
                    <a:pt x="5" y="23"/>
                    <a:pt x="10" y="23"/>
                    <a:pt x="13" y="23"/>
                  </a:cubicBezTo>
                  <a:cubicBezTo>
                    <a:pt x="13" y="23"/>
                    <a:pt x="13" y="23"/>
                    <a:pt x="13" y="23"/>
                  </a:cubicBezTo>
                  <a:cubicBezTo>
                    <a:pt x="13" y="23"/>
                    <a:pt x="14" y="23"/>
                    <a:pt x="14" y="23"/>
                  </a:cubicBezTo>
                  <a:cubicBezTo>
                    <a:pt x="15" y="23"/>
                    <a:pt x="15" y="23"/>
                    <a:pt x="15" y="23"/>
                  </a:cubicBezTo>
                  <a:cubicBezTo>
                    <a:pt x="16" y="23"/>
                    <a:pt x="17" y="23"/>
                    <a:pt x="17" y="24"/>
                  </a:cubicBezTo>
                  <a:cubicBezTo>
                    <a:pt x="18" y="25"/>
                    <a:pt x="18" y="30"/>
                    <a:pt x="17" y="32"/>
                  </a:cubicBezTo>
                  <a:cubicBezTo>
                    <a:pt x="18" y="35"/>
                    <a:pt x="21" y="40"/>
                    <a:pt x="23" y="41"/>
                  </a:cubicBezTo>
                  <a:cubicBezTo>
                    <a:pt x="25" y="42"/>
                    <a:pt x="28" y="44"/>
                    <a:pt x="30" y="45"/>
                  </a:cubicBezTo>
                  <a:cubicBezTo>
                    <a:pt x="32" y="45"/>
                    <a:pt x="34" y="46"/>
                    <a:pt x="35" y="46"/>
                  </a:cubicBezTo>
                  <a:cubicBezTo>
                    <a:pt x="36" y="46"/>
                    <a:pt x="38" y="45"/>
                    <a:pt x="39" y="45"/>
                  </a:cubicBezTo>
                  <a:cubicBezTo>
                    <a:pt x="50" y="42"/>
                    <a:pt x="60" y="39"/>
                    <a:pt x="72" y="39"/>
                  </a:cubicBezTo>
                  <a:cubicBezTo>
                    <a:pt x="86" y="39"/>
                    <a:pt x="99" y="39"/>
                    <a:pt x="113" y="38"/>
                  </a:cubicBezTo>
                  <a:cubicBezTo>
                    <a:pt x="112" y="37"/>
                    <a:pt x="111" y="37"/>
                    <a:pt x="110" y="37"/>
                  </a:cubicBezTo>
                  <a:cubicBezTo>
                    <a:pt x="110" y="37"/>
                    <a:pt x="110" y="37"/>
                    <a:pt x="110" y="37"/>
                  </a:cubicBezTo>
                  <a:cubicBezTo>
                    <a:pt x="109" y="37"/>
                    <a:pt x="109" y="37"/>
                    <a:pt x="109" y="37"/>
                  </a:cubicBezTo>
                  <a:cubicBezTo>
                    <a:pt x="108" y="37"/>
                    <a:pt x="107" y="37"/>
                    <a:pt x="107" y="36"/>
                  </a:cubicBezTo>
                  <a:cubicBezTo>
                    <a:pt x="106" y="35"/>
                    <a:pt x="108" y="32"/>
                    <a:pt x="108" y="30"/>
                  </a:cubicBezTo>
                  <a:cubicBezTo>
                    <a:pt x="108" y="30"/>
                    <a:pt x="105" y="29"/>
                    <a:pt x="104" y="29"/>
                  </a:cubicBezTo>
                  <a:cubicBezTo>
                    <a:pt x="101" y="28"/>
                    <a:pt x="101" y="26"/>
                    <a:pt x="99" y="23"/>
                  </a:cubicBezTo>
                  <a:cubicBezTo>
                    <a:pt x="97" y="20"/>
                    <a:pt x="98" y="20"/>
                    <a:pt x="94" y="20"/>
                  </a:cubicBezTo>
                  <a:cubicBezTo>
                    <a:pt x="91" y="19"/>
                    <a:pt x="90" y="17"/>
                    <a:pt x="88" y="15"/>
                  </a:cubicBezTo>
                  <a:cubicBezTo>
                    <a:pt x="86" y="12"/>
                    <a:pt x="86" y="12"/>
                    <a:pt x="83" y="11"/>
                  </a:cubicBezTo>
                  <a:cubicBezTo>
                    <a:pt x="81" y="10"/>
                    <a:pt x="79" y="9"/>
                    <a:pt x="77" y="8"/>
                  </a:cubicBezTo>
                  <a:cubicBezTo>
                    <a:pt x="75" y="8"/>
                    <a:pt x="73" y="8"/>
                    <a:pt x="71" y="7"/>
                  </a:cubicBezTo>
                  <a:cubicBezTo>
                    <a:pt x="67" y="5"/>
                    <a:pt x="64" y="4"/>
                    <a:pt x="59" y="4"/>
                  </a:cubicBezTo>
                  <a:cubicBezTo>
                    <a:pt x="59" y="4"/>
                    <a:pt x="58" y="4"/>
                    <a:pt x="57" y="4"/>
                  </a:cubicBezTo>
                  <a:cubicBezTo>
                    <a:pt x="55" y="5"/>
                    <a:pt x="53" y="5"/>
                    <a:pt x="51" y="5"/>
                  </a:cubicBezTo>
                  <a:cubicBezTo>
                    <a:pt x="51" y="5"/>
                    <a:pt x="51" y="5"/>
                    <a:pt x="50" y="5"/>
                  </a:cubicBezTo>
                  <a:cubicBezTo>
                    <a:pt x="50" y="5"/>
                    <a:pt x="50" y="5"/>
                    <a:pt x="50" y="5"/>
                  </a:cubicBezTo>
                  <a:cubicBezTo>
                    <a:pt x="48" y="5"/>
                    <a:pt x="46" y="6"/>
                    <a:pt x="44" y="6"/>
                  </a:cubicBezTo>
                  <a:cubicBezTo>
                    <a:pt x="39" y="6"/>
                    <a:pt x="35" y="6"/>
                    <a:pt x="30" y="4"/>
                  </a:cubicBezTo>
                  <a:cubicBezTo>
                    <a:pt x="29" y="4"/>
                    <a:pt x="27" y="4"/>
                    <a:pt x="25" y="3"/>
                  </a:cubicBezTo>
                  <a:cubicBezTo>
                    <a:pt x="24" y="3"/>
                    <a:pt x="22" y="2"/>
                    <a:pt x="22" y="2"/>
                  </a:cubicBezTo>
                  <a:cubicBezTo>
                    <a:pt x="22" y="2"/>
                    <a:pt x="22" y="2"/>
                    <a:pt x="22" y="2"/>
                  </a:cubicBezTo>
                  <a:cubicBezTo>
                    <a:pt x="20" y="2"/>
                    <a:pt x="20" y="3"/>
                    <a:pt x="19" y="3"/>
                  </a:cubicBezTo>
                  <a:cubicBezTo>
                    <a:pt x="19" y="3"/>
                    <a:pt x="19" y="3"/>
                    <a:pt x="18" y="3"/>
                  </a:cubicBezTo>
                  <a:cubicBezTo>
                    <a:pt x="16" y="3"/>
                    <a:pt x="14" y="0"/>
                    <a:pt x="11" y="0"/>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9" name="Freeform 292">
              <a:extLst>
                <a:ext uri="{FF2B5EF4-FFF2-40B4-BE49-F238E27FC236}">
                  <a16:creationId xmlns:a16="http://schemas.microsoft.com/office/drawing/2014/main" id="{4095C357-2590-45CD-895F-FAF253110CEB}"/>
                </a:ext>
              </a:extLst>
            </p:cNvPr>
            <p:cNvSpPr>
              <a:spLocks/>
            </p:cNvSpPr>
            <p:nvPr/>
          </p:nvSpPr>
          <p:spPr bwMode="auto">
            <a:xfrm>
              <a:off x="7585066" y="1023172"/>
              <a:ext cx="479425" cy="354013"/>
            </a:xfrm>
            <a:custGeom>
              <a:avLst/>
              <a:gdLst>
                <a:gd name="T0" fmla="*/ 61 w 128"/>
                <a:gd name="T1" fmla="*/ 0 h 94"/>
                <a:gd name="T2" fmla="*/ 55 w 128"/>
                <a:gd name="T3" fmla="*/ 0 h 94"/>
                <a:gd name="T4" fmla="*/ 27 w 128"/>
                <a:gd name="T5" fmla="*/ 0 h 94"/>
                <a:gd name="T6" fmla="*/ 12 w 128"/>
                <a:gd name="T7" fmla="*/ 11 h 94"/>
                <a:gd name="T8" fmla="*/ 15 w 128"/>
                <a:gd name="T9" fmla="*/ 11 h 94"/>
                <a:gd name="T10" fmla="*/ 16 w 128"/>
                <a:gd name="T11" fmla="*/ 16 h 94"/>
                <a:gd name="T12" fmla="*/ 16 w 128"/>
                <a:gd name="T13" fmla="*/ 19 h 94"/>
                <a:gd name="T14" fmla="*/ 0 w 128"/>
                <a:gd name="T15" fmla="*/ 20 h 94"/>
                <a:gd name="T16" fmla="*/ 1 w 128"/>
                <a:gd name="T17" fmla="*/ 23 h 94"/>
                <a:gd name="T18" fmla="*/ 2 w 128"/>
                <a:gd name="T19" fmla="*/ 33 h 94"/>
                <a:gd name="T20" fmla="*/ 3 w 128"/>
                <a:gd name="T21" fmla="*/ 37 h 94"/>
                <a:gd name="T22" fmla="*/ 0 w 128"/>
                <a:gd name="T23" fmla="*/ 49 h 94"/>
                <a:gd name="T24" fmla="*/ 1 w 128"/>
                <a:gd name="T25" fmla="*/ 56 h 94"/>
                <a:gd name="T26" fmla="*/ 6 w 128"/>
                <a:gd name="T27" fmla="*/ 64 h 94"/>
                <a:gd name="T28" fmla="*/ 12 w 128"/>
                <a:gd name="T29" fmla="*/ 71 h 94"/>
                <a:gd name="T30" fmla="*/ 12 w 128"/>
                <a:gd name="T31" fmla="*/ 77 h 94"/>
                <a:gd name="T32" fmla="*/ 14 w 128"/>
                <a:gd name="T33" fmla="*/ 87 h 94"/>
                <a:gd name="T34" fmla="*/ 21 w 128"/>
                <a:gd name="T35" fmla="*/ 86 h 94"/>
                <a:gd name="T36" fmla="*/ 14 w 128"/>
                <a:gd name="T37" fmla="*/ 91 h 94"/>
                <a:gd name="T38" fmla="*/ 14 w 128"/>
                <a:gd name="T39" fmla="*/ 94 h 94"/>
                <a:gd name="T40" fmla="*/ 29 w 128"/>
                <a:gd name="T41" fmla="*/ 92 h 94"/>
                <a:gd name="T42" fmla="*/ 37 w 128"/>
                <a:gd name="T43" fmla="*/ 93 h 94"/>
                <a:gd name="T44" fmla="*/ 39 w 128"/>
                <a:gd name="T45" fmla="*/ 90 h 94"/>
                <a:gd name="T46" fmla="*/ 34 w 128"/>
                <a:gd name="T47" fmla="*/ 91 h 94"/>
                <a:gd name="T48" fmla="*/ 41 w 128"/>
                <a:gd name="T49" fmla="*/ 84 h 94"/>
                <a:gd name="T50" fmla="*/ 48 w 128"/>
                <a:gd name="T51" fmla="*/ 78 h 94"/>
                <a:gd name="T52" fmla="*/ 52 w 128"/>
                <a:gd name="T53" fmla="*/ 74 h 94"/>
                <a:gd name="T54" fmla="*/ 44 w 128"/>
                <a:gd name="T55" fmla="*/ 65 h 94"/>
                <a:gd name="T56" fmla="*/ 40 w 128"/>
                <a:gd name="T57" fmla="*/ 62 h 94"/>
                <a:gd name="T58" fmla="*/ 38 w 128"/>
                <a:gd name="T59" fmla="*/ 62 h 94"/>
                <a:gd name="T60" fmla="*/ 36 w 128"/>
                <a:gd name="T61" fmla="*/ 62 h 94"/>
                <a:gd name="T62" fmla="*/ 33 w 128"/>
                <a:gd name="T63" fmla="*/ 59 h 94"/>
                <a:gd name="T64" fmla="*/ 48 w 128"/>
                <a:gd name="T65" fmla="*/ 59 h 94"/>
                <a:gd name="T66" fmla="*/ 51 w 128"/>
                <a:gd name="T67" fmla="*/ 58 h 94"/>
                <a:gd name="T68" fmla="*/ 55 w 128"/>
                <a:gd name="T69" fmla="*/ 58 h 94"/>
                <a:gd name="T70" fmla="*/ 74 w 128"/>
                <a:gd name="T71" fmla="*/ 61 h 94"/>
                <a:gd name="T72" fmla="*/ 92 w 128"/>
                <a:gd name="T73" fmla="*/ 53 h 94"/>
                <a:gd name="T74" fmla="*/ 100 w 128"/>
                <a:gd name="T75" fmla="*/ 41 h 94"/>
                <a:gd name="T76" fmla="*/ 101 w 128"/>
                <a:gd name="T77" fmla="*/ 38 h 94"/>
                <a:gd name="T78" fmla="*/ 110 w 128"/>
                <a:gd name="T79" fmla="*/ 25 h 94"/>
                <a:gd name="T80" fmla="*/ 111 w 128"/>
                <a:gd name="T81" fmla="*/ 25 h 94"/>
                <a:gd name="T82" fmla="*/ 127 w 128"/>
                <a:gd name="T83" fmla="*/ 9 h 94"/>
                <a:gd name="T84" fmla="*/ 98 w 128"/>
                <a:gd name="T85" fmla="*/ 3 h 94"/>
                <a:gd name="T86" fmla="*/ 89 w 128"/>
                <a:gd name="T87" fmla="*/ 4 h 94"/>
                <a:gd name="T88" fmla="*/ 82 w 128"/>
                <a:gd name="T89" fmla="*/ 7 h 94"/>
                <a:gd name="T90" fmla="*/ 72 w 128"/>
                <a:gd name="T9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94">
                  <a:moveTo>
                    <a:pt x="67" y="0"/>
                  </a:moveTo>
                  <a:cubicBezTo>
                    <a:pt x="65" y="0"/>
                    <a:pt x="63" y="0"/>
                    <a:pt x="61" y="0"/>
                  </a:cubicBezTo>
                  <a:cubicBezTo>
                    <a:pt x="59" y="0"/>
                    <a:pt x="57" y="0"/>
                    <a:pt x="56" y="0"/>
                  </a:cubicBezTo>
                  <a:cubicBezTo>
                    <a:pt x="55" y="0"/>
                    <a:pt x="55" y="0"/>
                    <a:pt x="55" y="0"/>
                  </a:cubicBezTo>
                  <a:cubicBezTo>
                    <a:pt x="46" y="0"/>
                    <a:pt x="37" y="0"/>
                    <a:pt x="27" y="0"/>
                  </a:cubicBezTo>
                  <a:cubicBezTo>
                    <a:pt x="27" y="0"/>
                    <a:pt x="27" y="0"/>
                    <a:pt x="27" y="0"/>
                  </a:cubicBezTo>
                  <a:cubicBezTo>
                    <a:pt x="22" y="0"/>
                    <a:pt x="7" y="2"/>
                    <a:pt x="9" y="8"/>
                  </a:cubicBezTo>
                  <a:cubicBezTo>
                    <a:pt x="9" y="11"/>
                    <a:pt x="11" y="11"/>
                    <a:pt x="12" y="11"/>
                  </a:cubicBezTo>
                  <a:cubicBezTo>
                    <a:pt x="13" y="11"/>
                    <a:pt x="13" y="11"/>
                    <a:pt x="14" y="11"/>
                  </a:cubicBezTo>
                  <a:cubicBezTo>
                    <a:pt x="14" y="11"/>
                    <a:pt x="15" y="11"/>
                    <a:pt x="15" y="11"/>
                  </a:cubicBezTo>
                  <a:cubicBezTo>
                    <a:pt x="16" y="11"/>
                    <a:pt x="16" y="11"/>
                    <a:pt x="17" y="11"/>
                  </a:cubicBezTo>
                  <a:cubicBezTo>
                    <a:pt x="14" y="13"/>
                    <a:pt x="13" y="13"/>
                    <a:pt x="16" y="16"/>
                  </a:cubicBezTo>
                  <a:cubicBezTo>
                    <a:pt x="19" y="18"/>
                    <a:pt x="22" y="18"/>
                    <a:pt x="25" y="20"/>
                  </a:cubicBezTo>
                  <a:cubicBezTo>
                    <a:pt x="22" y="20"/>
                    <a:pt x="19" y="20"/>
                    <a:pt x="16" y="19"/>
                  </a:cubicBezTo>
                  <a:cubicBezTo>
                    <a:pt x="15" y="19"/>
                    <a:pt x="10" y="18"/>
                    <a:pt x="6" y="18"/>
                  </a:cubicBezTo>
                  <a:cubicBezTo>
                    <a:pt x="3" y="18"/>
                    <a:pt x="0" y="19"/>
                    <a:pt x="0" y="20"/>
                  </a:cubicBezTo>
                  <a:cubicBezTo>
                    <a:pt x="0" y="21"/>
                    <a:pt x="1" y="21"/>
                    <a:pt x="1" y="21"/>
                  </a:cubicBezTo>
                  <a:cubicBezTo>
                    <a:pt x="1" y="23"/>
                    <a:pt x="1" y="23"/>
                    <a:pt x="1" y="23"/>
                  </a:cubicBezTo>
                  <a:cubicBezTo>
                    <a:pt x="1" y="24"/>
                    <a:pt x="1" y="26"/>
                    <a:pt x="1" y="27"/>
                  </a:cubicBezTo>
                  <a:cubicBezTo>
                    <a:pt x="0" y="29"/>
                    <a:pt x="1" y="31"/>
                    <a:pt x="2" y="33"/>
                  </a:cubicBezTo>
                  <a:cubicBezTo>
                    <a:pt x="2" y="33"/>
                    <a:pt x="2" y="34"/>
                    <a:pt x="2" y="35"/>
                  </a:cubicBezTo>
                  <a:cubicBezTo>
                    <a:pt x="2" y="35"/>
                    <a:pt x="3" y="36"/>
                    <a:pt x="3" y="37"/>
                  </a:cubicBezTo>
                  <a:cubicBezTo>
                    <a:pt x="3" y="38"/>
                    <a:pt x="3" y="39"/>
                    <a:pt x="3" y="40"/>
                  </a:cubicBezTo>
                  <a:cubicBezTo>
                    <a:pt x="2" y="43"/>
                    <a:pt x="0" y="46"/>
                    <a:pt x="0" y="49"/>
                  </a:cubicBezTo>
                  <a:cubicBezTo>
                    <a:pt x="0" y="50"/>
                    <a:pt x="1" y="51"/>
                    <a:pt x="2" y="52"/>
                  </a:cubicBezTo>
                  <a:cubicBezTo>
                    <a:pt x="2" y="53"/>
                    <a:pt x="1" y="55"/>
                    <a:pt x="1" y="56"/>
                  </a:cubicBezTo>
                  <a:cubicBezTo>
                    <a:pt x="1" y="59"/>
                    <a:pt x="4" y="58"/>
                    <a:pt x="3" y="61"/>
                  </a:cubicBezTo>
                  <a:cubicBezTo>
                    <a:pt x="2" y="63"/>
                    <a:pt x="5" y="63"/>
                    <a:pt x="6" y="64"/>
                  </a:cubicBezTo>
                  <a:cubicBezTo>
                    <a:pt x="8" y="65"/>
                    <a:pt x="8" y="66"/>
                    <a:pt x="9" y="68"/>
                  </a:cubicBezTo>
                  <a:cubicBezTo>
                    <a:pt x="10" y="69"/>
                    <a:pt x="11" y="69"/>
                    <a:pt x="12" y="71"/>
                  </a:cubicBezTo>
                  <a:cubicBezTo>
                    <a:pt x="12" y="72"/>
                    <a:pt x="11" y="73"/>
                    <a:pt x="11" y="74"/>
                  </a:cubicBezTo>
                  <a:cubicBezTo>
                    <a:pt x="11" y="75"/>
                    <a:pt x="12" y="76"/>
                    <a:pt x="12" y="77"/>
                  </a:cubicBezTo>
                  <a:cubicBezTo>
                    <a:pt x="13" y="79"/>
                    <a:pt x="11" y="83"/>
                    <a:pt x="12" y="85"/>
                  </a:cubicBezTo>
                  <a:cubicBezTo>
                    <a:pt x="13" y="87"/>
                    <a:pt x="13" y="87"/>
                    <a:pt x="14" y="87"/>
                  </a:cubicBezTo>
                  <a:cubicBezTo>
                    <a:pt x="14" y="87"/>
                    <a:pt x="15" y="87"/>
                    <a:pt x="15" y="87"/>
                  </a:cubicBezTo>
                  <a:cubicBezTo>
                    <a:pt x="17" y="87"/>
                    <a:pt x="19" y="86"/>
                    <a:pt x="21" y="86"/>
                  </a:cubicBezTo>
                  <a:cubicBezTo>
                    <a:pt x="22" y="86"/>
                    <a:pt x="22" y="86"/>
                    <a:pt x="22" y="86"/>
                  </a:cubicBezTo>
                  <a:cubicBezTo>
                    <a:pt x="19" y="86"/>
                    <a:pt x="16" y="89"/>
                    <a:pt x="14" y="91"/>
                  </a:cubicBezTo>
                  <a:cubicBezTo>
                    <a:pt x="13" y="92"/>
                    <a:pt x="11" y="94"/>
                    <a:pt x="13" y="94"/>
                  </a:cubicBezTo>
                  <a:cubicBezTo>
                    <a:pt x="13" y="94"/>
                    <a:pt x="14" y="94"/>
                    <a:pt x="14" y="94"/>
                  </a:cubicBezTo>
                  <a:cubicBezTo>
                    <a:pt x="16" y="94"/>
                    <a:pt x="19" y="93"/>
                    <a:pt x="22" y="93"/>
                  </a:cubicBezTo>
                  <a:cubicBezTo>
                    <a:pt x="24" y="92"/>
                    <a:pt x="27" y="92"/>
                    <a:pt x="29" y="92"/>
                  </a:cubicBezTo>
                  <a:cubicBezTo>
                    <a:pt x="29" y="92"/>
                    <a:pt x="29" y="92"/>
                    <a:pt x="30" y="92"/>
                  </a:cubicBezTo>
                  <a:cubicBezTo>
                    <a:pt x="32" y="92"/>
                    <a:pt x="34" y="93"/>
                    <a:pt x="37" y="93"/>
                  </a:cubicBezTo>
                  <a:cubicBezTo>
                    <a:pt x="38" y="93"/>
                    <a:pt x="38" y="93"/>
                    <a:pt x="39" y="93"/>
                  </a:cubicBezTo>
                  <a:cubicBezTo>
                    <a:pt x="39" y="92"/>
                    <a:pt x="39" y="91"/>
                    <a:pt x="39" y="90"/>
                  </a:cubicBezTo>
                  <a:cubicBezTo>
                    <a:pt x="38" y="91"/>
                    <a:pt x="37" y="92"/>
                    <a:pt x="36" y="92"/>
                  </a:cubicBezTo>
                  <a:cubicBezTo>
                    <a:pt x="35" y="92"/>
                    <a:pt x="35" y="91"/>
                    <a:pt x="34" y="91"/>
                  </a:cubicBezTo>
                  <a:cubicBezTo>
                    <a:pt x="36" y="90"/>
                    <a:pt x="37" y="90"/>
                    <a:pt x="39" y="88"/>
                  </a:cubicBezTo>
                  <a:cubicBezTo>
                    <a:pt x="39" y="87"/>
                    <a:pt x="40" y="86"/>
                    <a:pt x="41" y="84"/>
                  </a:cubicBezTo>
                  <a:cubicBezTo>
                    <a:pt x="42" y="83"/>
                    <a:pt x="42" y="81"/>
                    <a:pt x="44" y="80"/>
                  </a:cubicBezTo>
                  <a:cubicBezTo>
                    <a:pt x="45" y="78"/>
                    <a:pt x="47" y="79"/>
                    <a:pt x="48" y="78"/>
                  </a:cubicBezTo>
                  <a:cubicBezTo>
                    <a:pt x="49" y="77"/>
                    <a:pt x="49" y="76"/>
                    <a:pt x="50" y="75"/>
                  </a:cubicBezTo>
                  <a:cubicBezTo>
                    <a:pt x="50" y="75"/>
                    <a:pt x="52" y="74"/>
                    <a:pt x="52" y="74"/>
                  </a:cubicBezTo>
                  <a:cubicBezTo>
                    <a:pt x="53" y="72"/>
                    <a:pt x="51" y="70"/>
                    <a:pt x="50" y="69"/>
                  </a:cubicBezTo>
                  <a:cubicBezTo>
                    <a:pt x="49" y="67"/>
                    <a:pt x="45" y="67"/>
                    <a:pt x="44" y="65"/>
                  </a:cubicBezTo>
                  <a:cubicBezTo>
                    <a:pt x="44" y="64"/>
                    <a:pt x="45" y="62"/>
                    <a:pt x="45" y="61"/>
                  </a:cubicBezTo>
                  <a:cubicBezTo>
                    <a:pt x="43" y="62"/>
                    <a:pt x="42" y="62"/>
                    <a:pt x="40" y="62"/>
                  </a:cubicBezTo>
                  <a:cubicBezTo>
                    <a:pt x="40" y="62"/>
                    <a:pt x="39" y="62"/>
                    <a:pt x="39" y="62"/>
                  </a:cubicBezTo>
                  <a:cubicBezTo>
                    <a:pt x="38" y="62"/>
                    <a:pt x="38" y="62"/>
                    <a:pt x="38" y="62"/>
                  </a:cubicBezTo>
                  <a:cubicBezTo>
                    <a:pt x="37" y="62"/>
                    <a:pt x="37" y="62"/>
                    <a:pt x="37" y="62"/>
                  </a:cubicBezTo>
                  <a:cubicBezTo>
                    <a:pt x="36" y="62"/>
                    <a:pt x="36" y="62"/>
                    <a:pt x="36" y="62"/>
                  </a:cubicBezTo>
                  <a:cubicBezTo>
                    <a:pt x="34" y="62"/>
                    <a:pt x="33" y="62"/>
                    <a:pt x="33" y="62"/>
                  </a:cubicBezTo>
                  <a:cubicBezTo>
                    <a:pt x="32" y="61"/>
                    <a:pt x="31" y="60"/>
                    <a:pt x="33" y="59"/>
                  </a:cubicBezTo>
                  <a:cubicBezTo>
                    <a:pt x="35" y="59"/>
                    <a:pt x="39" y="59"/>
                    <a:pt x="42" y="59"/>
                  </a:cubicBezTo>
                  <a:cubicBezTo>
                    <a:pt x="44" y="59"/>
                    <a:pt x="46" y="59"/>
                    <a:pt x="48" y="59"/>
                  </a:cubicBezTo>
                  <a:cubicBezTo>
                    <a:pt x="48" y="59"/>
                    <a:pt x="48" y="59"/>
                    <a:pt x="48" y="59"/>
                  </a:cubicBezTo>
                  <a:cubicBezTo>
                    <a:pt x="49" y="59"/>
                    <a:pt x="50" y="59"/>
                    <a:pt x="51" y="58"/>
                  </a:cubicBezTo>
                  <a:cubicBezTo>
                    <a:pt x="52" y="58"/>
                    <a:pt x="53" y="58"/>
                    <a:pt x="54" y="58"/>
                  </a:cubicBezTo>
                  <a:cubicBezTo>
                    <a:pt x="54" y="58"/>
                    <a:pt x="55" y="58"/>
                    <a:pt x="55" y="58"/>
                  </a:cubicBezTo>
                  <a:cubicBezTo>
                    <a:pt x="57" y="58"/>
                    <a:pt x="59" y="59"/>
                    <a:pt x="62" y="59"/>
                  </a:cubicBezTo>
                  <a:cubicBezTo>
                    <a:pt x="66" y="60"/>
                    <a:pt x="70" y="61"/>
                    <a:pt x="74" y="61"/>
                  </a:cubicBezTo>
                  <a:cubicBezTo>
                    <a:pt x="75" y="62"/>
                    <a:pt x="76" y="62"/>
                    <a:pt x="77" y="62"/>
                  </a:cubicBezTo>
                  <a:cubicBezTo>
                    <a:pt x="83" y="62"/>
                    <a:pt x="88" y="58"/>
                    <a:pt x="92" y="53"/>
                  </a:cubicBezTo>
                  <a:cubicBezTo>
                    <a:pt x="94" y="50"/>
                    <a:pt x="95" y="48"/>
                    <a:pt x="97" y="45"/>
                  </a:cubicBezTo>
                  <a:cubicBezTo>
                    <a:pt x="98" y="44"/>
                    <a:pt x="100" y="42"/>
                    <a:pt x="100" y="41"/>
                  </a:cubicBezTo>
                  <a:cubicBezTo>
                    <a:pt x="101" y="38"/>
                    <a:pt x="98" y="39"/>
                    <a:pt x="95" y="39"/>
                  </a:cubicBezTo>
                  <a:cubicBezTo>
                    <a:pt x="97" y="38"/>
                    <a:pt x="99" y="38"/>
                    <a:pt x="101" y="38"/>
                  </a:cubicBezTo>
                  <a:cubicBezTo>
                    <a:pt x="103" y="37"/>
                    <a:pt x="103" y="37"/>
                    <a:pt x="105" y="34"/>
                  </a:cubicBezTo>
                  <a:cubicBezTo>
                    <a:pt x="106" y="32"/>
                    <a:pt x="113" y="28"/>
                    <a:pt x="110" y="25"/>
                  </a:cubicBezTo>
                  <a:cubicBezTo>
                    <a:pt x="110" y="25"/>
                    <a:pt x="110" y="25"/>
                    <a:pt x="111" y="25"/>
                  </a:cubicBezTo>
                  <a:cubicBezTo>
                    <a:pt x="111" y="25"/>
                    <a:pt x="111" y="25"/>
                    <a:pt x="111" y="25"/>
                  </a:cubicBezTo>
                  <a:cubicBezTo>
                    <a:pt x="115" y="25"/>
                    <a:pt x="119" y="20"/>
                    <a:pt x="121" y="17"/>
                  </a:cubicBezTo>
                  <a:cubicBezTo>
                    <a:pt x="122" y="16"/>
                    <a:pt x="128" y="10"/>
                    <a:pt x="127" y="9"/>
                  </a:cubicBezTo>
                  <a:cubicBezTo>
                    <a:pt x="127" y="8"/>
                    <a:pt x="123" y="8"/>
                    <a:pt x="122" y="8"/>
                  </a:cubicBezTo>
                  <a:cubicBezTo>
                    <a:pt x="114" y="6"/>
                    <a:pt x="106" y="3"/>
                    <a:pt x="98" y="3"/>
                  </a:cubicBezTo>
                  <a:cubicBezTo>
                    <a:pt x="97" y="3"/>
                    <a:pt x="96" y="3"/>
                    <a:pt x="95" y="3"/>
                  </a:cubicBezTo>
                  <a:cubicBezTo>
                    <a:pt x="93" y="3"/>
                    <a:pt x="91" y="3"/>
                    <a:pt x="89" y="4"/>
                  </a:cubicBezTo>
                  <a:cubicBezTo>
                    <a:pt x="86" y="4"/>
                    <a:pt x="85" y="5"/>
                    <a:pt x="83" y="6"/>
                  </a:cubicBezTo>
                  <a:cubicBezTo>
                    <a:pt x="83" y="7"/>
                    <a:pt x="82" y="7"/>
                    <a:pt x="82" y="7"/>
                  </a:cubicBezTo>
                  <a:cubicBezTo>
                    <a:pt x="80" y="7"/>
                    <a:pt x="80" y="5"/>
                    <a:pt x="79" y="4"/>
                  </a:cubicBezTo>
                  <a:cubicBezTo>
                    <a:pt x="78" y="2"/>
                    <a:pt x="74" y="1"/>
                    <a:pt x="72" y="0"/>
                  </a:cubicBezTo>
                  <a:cubicBezTo>
                    <a:pt x="70" y="0"/>
                    <a:pt x="69"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0" name="Freeform 293">
              <a:extLst>
                <a:ext uri="{FF2B5EF4-FFF2-40B4-BE49-F238E27FC236}">
                  <a16:creationId xmlns:a16="http://schemas.microsoft.com/office/drawing/2014/main" id="{F6F41AF2-13F2-4F9E-8ABA-30506DA227EB}"/>
                </a:ext>
              </a:extLst>
            </p:cNvPr>
            <p:cNvSpPr>
              <a:spLocks/>
            </p:cNvSpPr>
            <p:nvPr/>
          </p:nvSpPr>
          <p:spPr bwMode="auto">
            <a:xfrm>
              <a:off x="5546716" y="1143822"/>
              <a:ext cx="1598613" cy="777875"/>
            </a:xfrm>
            <a:custGeom>
              <a:avLst/>
              <a:gdLst>
                <a:gd name="T0" fmla="*/ 21 w 426"/>
                <a:gd name="T1" fmla="*/ 34 h 207"/>
                <a:gd name="T2" fmla="*/ 0 w 426"/>
                <a:gd name="T3" fmla="*/ 71 h 207"/>
                <a:gd name="T4" fmla="*/ 22 w 426"/>
                <a:gd name="T5" fmla="*/ 77 h 207"/>
                <a:gd name="T6" fmla="*/ 28 w 426"/>
                <a:gd name="T7" fmla="*/ 88 h 207"/>
                <a:gd name="T8" fmla="*/ 39 w 426"/>
                <a:gd name="T9" fmla="*/ 84 h 207"/>
                <a:gd name="T10" fmla="*/ 21 w 426"/>
                <a:gd name="T11" fmla="*/ 102 h 207"/>
                <a:gd name="T12" fmla="*/ 42 w 426"/>
                <a:gd name="T13" fmla="*/ 120 h 207"/>
                <a:gd name="T14" fmla="*/ 74 w 426"/>
                <a:gd name="T15" fmla="*/ 121 h 207"/>
                <a:gd name="T16" fmla="*/ 108 w 426"/>
                <a:gd name="T17" fmla="*/ 118 h 207"/>
                <a:gd name="T18" fmla="*/ 128 w 426"/>
                <a:gd name="T19" fmla="*/ 118 h 207"/>
                <a:gd name="T20" fmla="*/ 144 w 426"/>
                <a:gd name="T21" fmla="*/ 123 h 207"/>
                <a:gd name="T22" fmla="*/ 154 w 426"/>
                <a:gd name="T23" fmla="*/ 124 h 207"/>
                <a:gd name="T24" fmla="*/ 170 w 426"/>
                <a:gd name="T25" fmla="*/ 131 h 207"/>
                <a:gd name="T26" fmla="*/ 160 w 426"/>
                <a:gd name="T27" fmla="*/ 134 h 207"/>
                <a:gd name="T28" fmla="*/ 144 w 426"/>
                <a:gd name="T29" fmla="*/ 136 h 207"/>
                <a:gd name="T30" fmla="*/ 111 w 426"/>
                <a:gd name="T31" fmla="*/ 132 h 207"/>
                <a:gd name="T32" fmla="*/ 74 w 426"/>
                <a:gd name="T33" fmla="*/ 175 h 207"/>
                <a:gd name="T34" fmla="*/ 130 w 426"/>
                <a:gd name="T35" fmla="*/ 180 h 207"/>
                <a:gd name="T36" fmla="*/ 127 w 426"/>
                <a:gd name="T37" fmla="*/ 190 h 207"/>
                <a:gd name="T38" fmla="*/ 250 w 426"/>
                <a:gd name="T39" fmla="*/ 189 h 207"/>
                <a:gd name="T40" fmla="*/ 292 w 426"/>
                <a:gd name="T41" fmla="*/ 167 h 207"/>
                <a:gd name="T42" fmla="*/ 316 w 426"/>
                <a:gd name="T43" fmla="*/ 181 h 207"/>
                <a:gd name="T44" fmla="*/ 327 w 426"/>
                <a:gd name="T45" fmla="*/ 187 h 207"/>
                <a:gd name="T46" fmla="*/ 364 w 426"/>
                <a:gd name="T47" fmla="*/ 194 h 207"/>
                <a:gd name="T48" fmla="*/ 400 w 426"/>
                <a:gd name="T49" fmla="*/ 185 h 207"/>
                <a:gd name="T50" fmla="*/ 395 w 426"/>
                <a:gd name="T51" fmla="*/ 179 h 207"/>
                <a:gd name="T52" fmla="*/ 397 w 426"/>
                <a:gd name="T53" fmla="*/ 169 h 207"/>
                <a:gd name="T54" fmla="*/ 370 w 426"/>
                <a:gd name="T55" fmla="*/ 182 h 207"/>
                <a:gd name="T56" fmla="*/ 372 w 426"/>
                <a:gd name="T57" fmla="*/ 169 h 207"/>
                <a:gd name="T58" fmla="*/ 385 w 426"/>
                <a:gd name="T59" fmla="*/ 163 h 207"/>
                <a:gd name="T60" fmla="*/ 394 w 426"/>
                <a:gd name="T61" fmla="*/ 152 h 207"/>
                <a:gd name="T62" fmla="*/ 400 w 426"/>
                <a:gd name="T63" fmla="*/ 156 h 207"/>
                <a:gd name="T64" fmla="*/ 421 w 426"/>
                <a:gd name="T65" fmla="*/ 142 h 207"/>
                <a:gd name="T66" fmla="*/ 411 w 426"/>
                <a:gd name="T67" fmla="*/ 139 h 207"/>
                <a:gd name="T68" fmla="*/ 407 w 426"/>
                <a:gd name="T69" fmla="*/ 140 h 207"/>
                <a:gd name="T70" fmla="*/ 394 w 426"/>
                <a:gd name="T71" fmla="*/ 132 h 207"/>
                <a:gd name="T72" fmla="*/ 377 w 426"/>
                <a:gd name="T73" fmla="*/ 121 h 207"/>
                <a:gd name="T74" fmla="*/ 357 w 426"/>
                <a:gd name="T75" fmla="*/ 117 h 207"/>
                <a:gd name="T76" fmla="*/ 343 w 426"/>
                <a:gd name="T77" fmla="*/ 90 h 207"/>
                <a:gd name="T78" fmla="*/ 320 w 426"/>
                <a:gd name="T79" fmla="*/ 32 h 207"/>
                <a:gd name="T80" fmla="*/ 307 w 426"/>
                <a:gd name="T81" fmla="*/ 15 h 207"/>
                <a:gd name="T82" fmla="*/ 284 w 426"/>
                <a:gd name="T83" fmla="*/ 3 h 207"/>
                <a:gd name="T84" fmla="*/ 255 w 426"/>
                <a:gd name="T85" fmla="*/ 4 h 207"/>
                <a:gd name="T86" fmla="*/ 253 w 426"/>
                <a:gd name="T87" fmla="*/ 16 h 207"/>
                <a:gd name="T88" fmla="*/ 261 w 426"/>
                <a:gd name="T89" fmla="*/ 43 h 207"/>
                <a:gd name="T90" fmla="*/ 272 w 426"/>
                <a:gd name="T91" fmla="*/ 64 h 207"/>
                <a:gd name="T92" fmla="*/ 263 w 426"/>
                <a:gd name="T93" fmla="*/ 74 h 207"/>
                <a:gd name="T94" fmla="*/ 255 w 426"/>
                <a:gd name="T95" fmla="*/ 73 h 207"/>
                <a:gd name="T96" fmla="*/ 249 w 426"/>
                <a:gd name="T97" fmla="*/ 60 h 207"/>
                <a:gd name="T98" fmla="*/ 244 w 426"/>
                <a:gd name="T99" fmla="*/ 37 h 207"/>
                <a:gd name="T100" fmla="*/ 233 w 426"/>
                <a:gd name="T101" fmla="*/ 31 h 207"/>
                <a:gd name="T102" fmla="*/ 220 w 426"/>
                <a:gd name="T103" fmla="*/ 24 h 207"/>
                <a:gd name="T104" fmla="*/ 214 w 426"/>
                <a:gd name="T105" fmla="*/ 19 h 207"/>
                <a:gd name="T106" fmla="*/ 209 w 426"/>
                <a:gd name="T107" fmla="*/ 28 h 207"/>
                <a:gd name="T108" fmla="*/ 205 w 426"/>
                <a:gd name="T109" fmla="*/ 32 h 207"/>
                <a:gd name="T110" fmla="*/ 206 w 426"/>
                <a:gd name="T111" fmla="*/ 37 h 207"/>
                <a:gd name="T112" fmla="*/ 188 w 426"/>
                <a:gd name="T113" fmla="*/ 42 h 207"/>
                <a:gd name="T114" fmla="*/ 170 w 426"/>
                <a:gd name="T115" fmla="*/ 52 h 207"/>
                <a:gd name="T116" fmla="*/ 182 w 426"/>
                <a:gd name="T117" fmla="*/ 36 h 207"/>
                <a:gd name="T118" fmla="*/ 129 w 426"/>
                <a:gd name="T119" fmla="*/ 28 h 207"/>
                <a:gd name="T120" fmla="*/ 105 w 426"/>
                <a:gd name="T121" fmla="*/ 35 h 207"/>
                <a:gd name="T122" fmla="*/ 119 w 426"/>
                <a:gd name="T123" fmla="*/ 26 h 207"/>
                <a:gd name="T124" fmla="*/ 105 w 426"/>
                <a:gd name="T12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 h="207">
                  <a:moveTo>
                    <a:pt x="104" y="0"/>
                  </a:moveTo>
                  <a:cubicBezTo>
                    <a:pt x="102" y="0"/>
                    <a:pt x="100" y="2"/>
                    <a:pt x="98" y="3"/>
                  </a:cubicBezTo>
                  <a:cubicBezTo>
                    <a:pt x="88" y="7"/>
                    <a:pt x="78" y="9"/>
                    <a:pt x="68" y="12"/>
                  </a:cubicBezTo>
                  <a:cubicBezTo>
                    <a:pt x="63" y="13"/>
                    <a:pt x="58" y="16"/>
                    <a:pt x="53" y="18"/>
                  </a:cubicBezTo>
                  <a:cubicBezTo>
                    <a:pt x="48" y="20"/>
                    <a:pt x="43" y="20"/>
                    <a:pt x="39" y="23"/>
                  </a:cubicBezTo>
                  <a:cubicBezTo>
                    <a:pt x="37" y="25"/>
                    <a:pt x="35" y="26"/>
                    <a:pt x="33" y="27"/>
                  </a:cubicBezTo>
                  <a:cubicBezTo>
                    <a:pt x="29" y="30"/>
                    <a:pt x="25" y="31"/>
                    <a:pt x="21" y="34"/>
                  </a:cubicBezTo>
                  <a:cubicBezTo>
                    <a:pt x="19" y="35"/>
                    <a:pt x="15" y="37"/>
                    <a:pt x="13" y="40"/>
                  </a:cubicBezTo>
                  <a:cubicBezTo>
                    <a:pt x="9" y="45"/>
                    <a:pt x="17" y="46"/>
                    <a:pt x="20" y="46"/>
                  </a:cubicBezTo>
                  <a:cubicBezTo>
                    <a:pt x="28" y="46"/>
                    <a:pt x="17" y="51"/>
                    <a:pt x="15" y="52"/>
                  </a:cubicBezTo>
                  <a:cubicBezTo>
                    <a:pt x="13" y="53"/>
                    <a:pt x="12" y="54"/>
                    <a:pt x="10" y="55"/>
                  </a:cubicBezTo>
                  <a:cubicBezTo>
                    <a:pt x="9" y="56"/>
                    <a:pt x="10" y="57"/>
                    <a:pt x="9" y="58"/>
                  </a:cubicBezTo>
                  <a:cubicBezTo>
                    <a:pt x="5" y="61"/>
                    <a:pt x="1" y="62"/>
                    <a:pt x="0" y="68"/>
                  </a:cubicBezTo>
                  <a:cubicBezTo>
                    <a:pt x="0" y="69"/>
                    <a:pt x="0" y="70"/>
                    <a:pt x="0" y="71"/>
                  </a:cubicBezTo>
                  <a:cubicBezTo>
                    <a:pt x="0" y="72"/>
                    <a:pt x="0" y="75"/>
                    <a:pt x="1" y="76"/>
                  </a:cubicBezTo>
                  <a:cubicBezTo>
                    <a:pt x="1" y="77"/>
                    <a:pt x="2" y="77"/>
                    <a:pt x="3" y="77"/>
                  </a:cubicBezTo>
                  <a:cubicBezTo>
                    <a:pt x="4" y="77"/>
                    <a:pt x="6" y="76"/>
                    <a:pt x="8" y="76"/>
                  </a:cubicBezTo>
                  <a:cubicBezTo>
                    <a:pt x="8" y="75"/>
                    <a:pt x="8" y="75"/>
                    <a:pt x="8" y="75"/>
                  </a:cubicBezTo>
                  <a:cubicBezTo>
                    <a:pt x="11" y="75"/>
                    <a:pt x="19" y="76"/>
                    <a:pt x="16" y="79"/>
                  </a:cubicBezTo>
                  <a:cubicBezTo>
                    <a:pt x="16" y="79"/>
                    <a:pt x="16" y="79"/>
                    <a:pt x="16" y="79"/>
                  </a:cubicBezTo>
                  <a:cubicBezTo>
                    <a:pt x="18" y="79"/>
                    <a:pt x="20" y="78"/>
                    <a:pt x="22" y="77"/>
                  </a:cubicBezTo>
                  <a:cubicBezTo>
                    <a:pt x="23" y="76"/>
                    <a:pt x="25" y="75"/>
                    <a:pt x="27" y="75"/>
                  </a:cubicBezTo>
                  <a:cubicBezTo>
                    <a:pt x="27" y="75"/>
                    <a:pt x="28" y="75"/>
                    <a:pt x="29" y="75"/>
                  </a:cubicBezTo>
                  <a:cubicBezTo>
                    <a:pt x="27" y="76"/>
                    <a:pt x="27" y="77"/>
                    <a:pt x="27" y="78"/>
                  </a:cubicBezTo>
                  <a:cubicBezTo>
                    <a:pt x="25" y="79"/>
                    <a:pt x="23" y="80"/>
                    <a:pt x="22" y="81"/>
                  </a:cubicBezTo>
                  <a:cubicBezTo>
                    <a:pt x="20" y="83"/>
                    <a:pt x="18" y="84"/>
                    <a:pt x="19" y="86"/>
                  </a:cubicBezTo>
                  <a:cubicBezTo>
                    <a:pt x="20" y="88"/>
                    <a:pt x="22" y="88"/>
                    <a:pt x="25" y="88"/>
                  </a:cubicBezTo>
                  <a:cubicBezTo>
                    <a:pt x="26" y="88"/>
                    <a:pt x="27" y="88"/>
                    <a:pt x="28" y="88"/>
                  </a:cubicBezTo>
                  <a:cubicBezTo>
                    <a:pt x="29" y="88"/>
                    <a:pt x="30" y="88"/>
                    <a:pt x="31" y="88"/>
                  </a:cubicBezTo>
                  <a:cubicBezTo>
                    <a:pt x="31" y="88"/>
                    <a:pt x="31" y="88"/>
                    <a:pt x="31" y="88"/>
                  </a:cubicBezTo>
                  <a:cubicBezTo>
                    <a:pt x="32" y="88"/>
                    <a:pt x="33" y="88"/>
                    <a:pt x="35" y="88"/>
                  </a:cubicBezTo>
                  <a:cubicBezTo>
                    <a:pt x="36" y="88"/>
                    <a:pt x="37" y="88"/>
                    <a:pt x="37" y="87"/>
                  </a:cubicBezTo>
                  <a:cubicBezTo>
                    <a:pt x="38" y="86"/>
                    <a:pt x="36" y="84"/>
                    <a:pt x="37" y="83"/>
                  </a:cubicBezTo>
                  <a:cubicBezTo>
                    <a:pt x="38" y="83"/>
                    <a:pt x="38" y="83"/>
                    <a:pt x="38" y="84"/>
                  </a:cubicBezTo>
                  <a:cubicBezTo>
                    <a:pt x="39" y="84"/>
                    <a:pt x="39" y="84"/>
                    <a:pt x="39" y="84"/>
                  </a:cubicBezTo>
                  <a:cubicBezTo>
                    <a:pt x="41" y="84"/>
                    <a:pt x="39" y="86"/>
                    <a:pt x="40" y="86"/>
                  </a:cubicBezTo>
                  <a:cubicBezTo>
                    <a:pt x="40" y="87"/>
                    <a:pt x="40" y="87"/>
                    <a:pt x="41" y="87"/>
                  </a:cubicBezTo>
                  <a:cubicBezTo>
                    <a:pt x="43" y="87"/>
                    <a:pt x="45" y="86"/>
                    <a:pt x="46" y="86"/>
                  </a:cubicBezTo>
                  <a:cubicBezTo>
                    <a:pt x="50" y="85"/>
                    <a:pt x="54" y="85"/>
                    <a:pt x="57" y="84"/>
                  </a:cubicBezTo>
                  <a:cubicBezTo>
                    <a:pt x="63" y="83"/>
                    <a:pt x="68" y="82"/>
                    <a:pt x="74" y="81"/>
                  </a:cubicBezTo>
                  <a:cubicBezTo>
                    <a:pt x="60" y="87"/>
                    <a:pt x="45" y="92"/>
                    <a:pt x="31" y="98"/>
                  </a:cubicBezTo>
                  <a:cubicBezTo>
                    <a:pt x="28" y="99"/>
                    <a:pt x="24" y="101"/>
                    <a:pt x="21" y="102"/>
                  </a:cubicBezTo>
                  <a:cubicBezTo>
                    <a:pt x="20" y="102"/>
                    <a:pt x="16" y="103"/>
                    <a:pt x="16" y="104"/>
                  </a:cubicBezTo>
                  <a:cubicBezTo>
                    <a:pt x="16" y="105"/>
                    <a:pt x="19" y="108"/>
                    <a:pt x="20" y="109"/>
                  </a:cubicBezTo>
                  <a:cubicBezTo>
                    <a:pt x="23" y="112"/>
                    <a:pt x="29" y="113"/>
                    <a:pt x="31" y="116"/>
                  </a:cubicBezTo>
                  <a:cubicBezTo>
                    <a:pt x="33" y="117"/>
                    <a:pt x="32" y="120"/>
                    <a:pt x="36" y="121"/>
                  </a:cubicBezTo>
                  <a:cubicBezTo>
                    <a:pt x="36" y="121"/>
                    <a:pt x="36" y="121"/>
                    <a:pt x="36" y="121"/>
                  </a:cubicBezTo>
                  <a:cubicBezTo>
                    <a:pt x="37" y="121"/>
                    <a:pt x="38" y="120"/>
                    <a:pt x="39" y="120"/>
                  </a:cubicBezTo>
                  <a:cubicBezTo>
                    <a:pt x="41" y="120"/>
                    <a:pt x="41" y="120"/>
                    <a:pt x="42" y="120"/>
                  </a:cubicBezTo>
                  <a:cubicBezTo>
                    <a:pt x="45" y="121"/>
                    <a:pt x="47" y="121"/>
                    <a:pt x="50" y="121"/>
                  </a:cubicBezTo>
                  <a:cubicBezTo>
                    <a:pt x="53" y="121"/>
                    <a:pt x="55" y="121"/>
                    <a:pt x="57" y="120"/>
                  </a:cubicBezTo>
                  <a:cubicBezTo>
                    <a:pt x="60" y="120"/>
                    <a:pt x="62" y="119"/>
                    <a:pt x="64" y="119"/>
                  </a:cubicBezTo>
                  <a:cubicBezTo>
                    <a:pt x="64" y="119"/>
                    <a:pt x="64" y="119"/>
                    <a:pt x="65" y="119"/>
                  </a:cubicBezTo>
                  <a:cubicBezTo>
                    <a:pt x="67" y="119"/>
                    <a:pt x="68" y="121"/>
                    <a:pt x="71" y="121"/>
                  </a:cubicBezTo>
                  <a:cubicBezTo>
                    <a:pt x="71" y="121"/>
                    <a:pt x="71" y="121"/>
                    <a:pt x="71" y="121"/>
                  </a:cubicBezTo>
                  <a:cubicBezTo>
                    <a:pt x="72" y="121"/>
                    <a:pt x="73" y="121"/>
                    <a:pt x="74" y="121"/>
                  </a:cubicBezTo>
                  <a:cubicBezTo>
                    <a:pt x="75" y="121"/>
                    <a:pt x="76" y="121"/>
                    <a:pt x="78" y="121"/>
                  </a:cubicBezTo>
                  <a:cubicBezTo>
                    <a:pt x="78" y="121"/>
                    <a:pt x="78" y="121"/>
                    <a:pt x="78" y="121"/>
                  </a:cubicBezTo>
                  <a:cubicBezTo>
                    <a:pt x="79" y="121"/>
                    <a:pt x="80" y="121"/>
                    <a:pt x="81" y="121"/>
                  </a:cubicBezTo>
                  <a:cubicBezTo>
                    <a:pt x="82" y="121"/>
                    <a:pt x="82" y="121"/>
                    <a:pt x="82" y="121"/>
                  </a:cubicBezTo>
                  <a:cubicBezTo>
                    <a:pt x="83" y="121"/>
                    <a:pt x="84" y="121"/>
                    <a:pt x="85" y="121"/>
                  </a:cubicBezTo>
                  <a:cubicBezTo>
                    <a:pt x="90" y="120"/>
                    <a:pt x="96" y="120"/>
                    <a:pt x="100" y="120"/>
                  </a:cubicBezTo>
                  <a:cubicBezTo>
                    <a:pt x="103" y="120"/>
                    <a:pt x="106" y="119"/>
                    <a:pt x="108" y="118"/>
                  </a:cubicBezTo>
                  <a:cubicBezTo>
                    <a:pt x="109" y="118"/>
                    <a:pt x="110" y="118"/>
                    <a:pt x="110" y="118"/>
                  </a:cubicBezTo>
                  <a:cubicBezTo>
                    <a:pt x="111" y="118"/>
                    <a:pt x="111" y="118"/>
                    <a:pt x="112" y="118"/>
                  </a:cubicBezTo>
                  <a:cubicBezTo>
                    <a:pt x="112" y="118"/>
                    <a:pt x="113" y="118"/>
                    <a:pt x="114" y="118"/>
                  </a:cubicBezTo>
                  <a:cubicBezTo>
                    <a:pt x="114" y="118"/>
                    <a:pt x="114" y="118"/>
                    <a:pt x="115" y="118"/>
                  </a:cubicBezTo>
                  <a:cubicBezTo>
                    <a:pt x="117" y="117"/>
                    <a:pt x="118" y="116"/>
                    <a:pt x="120" y="116"/>
                  </a:cubicBezTo>
                  <a:cubicBezTo>
                    <a:pt x="120" y="116"/>
                    <a:pt x="121" y="116"/>
                    <a:pt x="121" y="116"/>
                  </a:cubicBezTo>
                  <a:cubicBezTo>
                    <a:pt x="123" y="116"/>
                    <a:pt x="126" y="118"/>
                    <a:pt x="128" y="118"/>
                  </a:cubicBezTo>
                  <a:cubicBezTo>
                    <a:pt x="128" y="118"/>
                    <a:pt x="128" y="118"/>
                    <a:pt x="128" y="118"/>
                  </a:cubicBezTo>
                  <a:cubicBezTo>
                    <a:pt x="129" y="118"/>
                    <a:pt x="130" y="118"/>
                    <a:pt x="131" y="118"/>
                  </a:cubicBezTo>
                  <a:cubicBezTo>
                    <a:pt x="131" y="118"/>
                    <a:pt x="131" y="118"/>
                    <a:pt x="131" y="118"/>
                  </a:cubicBezTo>
                  <a:cubicBezTo>
                    <a:pt x="132" y="118"/>
                    <a:pt x="134" y="119"/>
                    <a:pt x="135" y="119"/>
                  </a:cubicBezTo>
                  <a:cubicBezTo>
                    <a:pt x="137" y="119"/>
                    <a:pt x="138" y="120"/>
                    <a:pt x="140" y="121"/>
                  </a:cubicBezTo>
                  <a:cubicBezTo>
                    <a:pt x="141" y="121"/>
                    <a:pt x="142" y="122"/>
                    <a:pt x="143" y="122"/>
                  </a:cubicBezTo>
                  <a:cubicBezTo>
                    <a:pt x="144" y="122"/>
                    <a:pt x="144" y="123"/>
                    <a:pt x="144" y="123"/>
                  </a:cubicBezTo>
                  <a:cubicBezTo>
                    <a:pt x="144" y="123"/>
                    <a:pt x="144" y="123"/>
                    <a:pt x="144" y="123"/>
                  </a:cubicBezTo>
                  <a:cubicBezTo>
                    <a:pt x="145" y="123"/>
                    <a:pt x="145" y="123"/>
                    <a:pt x="145" y="122"/>
                  </a:cubicBezTo>
                  <a:cubicBezTo>
                    <a:pt x="145" y="122"/>
                    <a:pt x="146" y="122"/>
                    <a:pt x="146" y="122"/>
                  </a:cubicBezTo>
                  <a:cubicBezTo>
                    <a:pt x="146" y="122"/>
                    <a:pt x="146" y="122"/>
                    <a:pt x="146" y="122"/>
                  </a:cubicBezTo>
                  <a:cubicBezTo>
                    <a:pt x="149" y="122"/>
                    <a:pt x="151" y="123"/>
                    <a:pt x="153" y="124"/>
                  </a:cubicBezTo>
                  <a:cubicBezTo>
                    <a:pt x="153" y="124"/>
                    <a:pt x="153" y="124"/>
                    <a:pt x="153" y="124"/>
                  </a:cubicBezTo>
                  <a:cubicBezTo>
                    <a:pt x="154" y="124"/>
                    <a:pt x="154" y="124"/>
                    <a:pt x="154" y="124"/>
                  </a:cubicBezTo>
                  <a:cubicBezTo>
                    <a:pt x="154" y="124"/>
                    <a:pt x="154" y="123"/>
                    <a:pt x="155" y="123"/>
                  </a:cubicBezTo>
                  <a:cubicBezTo>
                    <a:pt x="155" y="123"/>
                    <a:pt x="155" y="123"/>
                    <a:pt x="155" y="123"/>
                  </a:cubicBezTo>
                  <a:cubicBezTo>
                    <a:pt x="155" y="123"/>
                    <a:pt x="155" y="124"/>
                    <a:pt x="156" y="124"/>
                  </a:cubicBezTo>
                  <a:cubicBezTo>
                    <a:pt x="157" y="124"/>
                    <a:pt x="158" y="124"/>
                    <a:pt x="159" y="125"/>
                  </a:cubicBezTo>
                  <a:cubicBezTo>
                    <a:pt x="163" y="126"/>
                    <a:pt x="162" y="126"/>
                    <a:pt x="164" y="129"/>
                  </a:cubicBezTo>
                  <a:cubicBezTo>
                    <a:pt x="165" y="130"/>
                    <a:pt x="168" y="131"/>
                    <a:pt x="170" y="131"/>
                  </a:cubicBezTo>
                  <a:cubicBezTo>
                    <a:pt x="170" y="131"/>
                    <a:pt x="170" y="131"/>
                    <a:pt x="170" y="131"/>
                  </a:cubicBezTo>
                  <a:cubicBezTo>
                    <a:pt x="171" y="131"/>
                    <a:pt x="171" y="131"/>
                    <a:pt x="172" y="131"/>
                  </a:cubicBezTo>
                  <a:cubicBezTo>
                    <a:pt x="172" y="131"/>
                    <a:pt x="173" y="131"/>
                    <a:pt x="173" y="131"/>
                  </a:cubicBezTo>
                  <a:cubicBezTo>
                    <a:pt x="174" y="131"/>
                    <a:pt x="174" y="131"/>
                    <a:pt x="174" y="131"/>
                  </a:cubicBezTo>
                  <a:cubicBezTo>
                    <a:pt x="176" y="132"/>
                    <a:pt x="174" y="134"/>
                    <a:pt x="177" y="134"/>
                  </a:cubicBezTo>
                  <a:cubicBezTo>
                    <a:pt x="175" y="135"/>
                    <a:pt x="174" y="135"/>
                    <a:pt x="172" y="135"/>
                  </a:cubicBezTo>
                  <a:cubicBezTo>
                    <a:pt x="170" y="135"/>
                    <a:pt x="168" y="135"/>
                    <a:pt x="166" y="134"/>
                  </a:cubicBezTo>
                  <a:cubicBezTo>
                    <a:pt x="164" y="134"/>
                    <a:pt x="162" y="134"/>
                    <a:pt x="160" y="134"/>
                  </a:cubicBezTo>
                  <a:cubicBezTo>
                    <a:pt x="160" y="134"/>
                    <a:pt x="159" y="134"/>
                    <a:pt x="159" y="134"/>
                  </a:cubicBezTo>
                  <a:cubicBezTo>
                    <a:pt x="160" y="134"/>
                    <a:pt x="161" y="134"/>
                    <a:pt x="161" y="134"/>
                  </a:cubicBezTo>
                  <a:cubicBezTo>
                    <a:pt x="158" y="135"/>
                    <a:pt x="155" y="137"/>
                    <a:pt x="152" y="137"/>
                  </a:cubicBezTo>
                  <a:cubicBezTo>
                    <a:pt x="152" y="137"/>
                    <a:pt x="152" y="137"/>
                    <a:pt x="152" y="137"/>
                  </a:cubicBezTo>
                  <a:cubicBezTo>
                    <a:pt x="150" y="137"/>
                    <a:pt x="149" y="137"/>
                    <a:pt x="148" y="137"/>
                  </a:cubicBezTo>
                  <a:cubicBezTo>
                    <a:pt x="147" y="136"/>
                    <a:pt x="145" y="136"/>
                    <a:pt x="144" y="136"/>
                  </a:cubicBezTo>
                  <a:cubicBezTo>
                    <a:pt x="144" y="136"/>
                    <a:pt x="144" y="136"/>
                    <a:pt x="144" y="136"/>
                  </a:cubicBezTo>
                  <a:cubicBezTo>
                    <a:pt x="143" y="136"/>
                    <a:pt x="143" y="136"/>
                    <a:pt x="143" y="136"/>
                  </a:cubicBezTo>
                  <a:cubicBezTo>
                    <a:pt x="141" y="136"/>
                    <a:pt x="139" y="135"/>
                    <a:pt x="137" y="135"/>
                  </a:cubicBezTo>
                  <a:cubicBezTo>
                    <a:pt x="135" y="135"/>
                    <a:pt x="133" y="134"/>
                    <a:pt x="131" y="134"/>
                  </a:cubicBezTo>
                  <a:cubicBezTo>
                    <a:pt x="130" y="134"/>
                    <a:pt x="130" y="134"/>
                    <a:pt x="129" y="134"/>
                  </a:cubicBezTo>
                  <a:cubicBezTo>
                    <a:pt x="128" y="134"/>
                    <a:pt x="127" y="134"/>
                    <a:pt x="126" y="134"/>
                  </a:cubicBezTo>
                  <a:cubicBezTo>
                    <a:pt x="122" y="134"/>
                    <a:pt x="119" y="134"/>
                    <a:pt x="115" y="133"/>
                  </a:cubicBezTo>
                  <a:cubicBezTo>
                    <a:pt x="114" y="132"/>
                    <a:pt x="112" y="132"/>
                    <a:pt x="111" y="132"/>
                  </a:cubicBezTo>
                  <a:cubicBezTo>
                    <a:pt x="107" y="132"/>
                    <a:pt x="102" y="134"/>
                    <a:pt x="98" y="134"/>
                  </a:cubicBezTo>
                  <a:cubicBezTo>
                    <a:pt x="89" y="134"/>
                    <a:pt x="81" y="135"/>
                    <a:pt x="73" y="136"/>
                  </a:cubicBezTo>
                  <a:cubicBezTo>
                    <a:pt x="61" y="138"/>
                    <a:pt x="50" y="142"/>
                    <a:pt x="39" y="146"/>
                  </a:cubicBezTo>
                  <a:cubicBezTo>
                    <a:pt x="41" y="149"/>
                    <a:pt x="42" y="152"/>
                    <a:pt x="43" y="155"/>
                  </a:cubicBezTo>
                  <a:cubicBezTo>
                    <a:pt x="45" y="158"/>
                    <a:pt x="50" y="159"/>
                    <a:pt x="53" y="160"/>
                  </a:cubicBezTo>
                  <a:cubicBezTo>
                    <a:pt x="52" y="161"/>
                    <a:pt x="52" y="162"/>
                    <a:pt x="51" y="162"/>
                  </a:cubicBezTo>
                  <a:cubicBezTo>
                    <a:pt x="58" y="166"/>
                    <a:pt x="66" y="173"/>
                    <a:pt x="74" y="175"/>
                  </a:cubicBezTo>
                  <a:cubicBezTo>
                    <a:pt x="78" y="176"/>
                    <a:pt x="82" y="176"/>
                    <a:pt x="85" y="176"/>
                  </a:cubicBezTo>
                  <a:cubicBezTo>
                    <a:pt x="87" y="176"/>
                    <a:pt x="88" y="176"/>
                    <a:pt x="90" y="176"/>
                  </a:cubicBezTo>
                  <a:cubicBezTo>
                    <a:pt x="91" y="176"/>
                    <a:pt x="92" y="176"/>
                    <a:pt x="94" y="176"/>
                  </a:cubicBezTo>
                  <a:cubicBezTo>
                    <a:pt x="95" y="176"/>
                    <a:pt x="96" y="176"/>
                    <a:pt x="97" y="176"/>
                  </a:cubicBezTo>
                  <a:cubicBezTo>
                    <a:pt x="99" y="176"/>
                    <a:pt x="100" y="176"/>
                    <a:pt x="101" y="176"/>
                  </a:cubicBezTo>
                  <a:cubicBezTo>
                    <a:pt x="108" y="177"/>
                    <a:pt x="114" y="178"/>
                    <a:pt x="121" y="178"/>
                  </a:cubicBezTo>
                  <a:cubicBezTo>
                    <a:pt x="123" y="179"/>
                    <a:pt x="128" y="178"/>
                    <a:pt x="130" y="180"/>
                  </a:cubicBezTo>
                  <a:cubicBezTo>
                    <a:pt x="130" y="180"/>
                    <a:pt x="130" y="180"/>
                    <a:pt x="130" y="180"/>
                  </a:cubicBezTo>
                  <a:cubicBezTo>
                    <a:pt x="129" y="180"/>
                    <a:pt x="129" y="180"/>
                    <a:pt x="128" y="180"/>
                  </a:cubicBezTo>
                  <a:cubicBezTo>
                    <a:pt x="128" y="180"/>
                    <a:pt x="127" y="179"/>
                    <a:pt x="127" y="179"/>
                  </a:cubicBezTo>
                  <a:cubicBezTo>
                    <a:pt x="126" y="179"/>
                    <a:pt x="125" y="180"/>
                    <a:pt x="127" y="181"/>
                  </a:cubicBezTo>
                  <a:cubicBezTo>
                    <a:pt x="125" y="183"/>
                    <a:pt x="128" y="184"/>
                    <a:pt x="129" y="185"/>
                  </a:cubicBezTo>
                  <a:cubicBezTo>
                    <a:pt x="129" y="185"/>
                    <a:pt x="128" y="185"/>
                    <a:pt x="128" y="185"/>
                  </a:cubicBezTo>
                  <a:cubicBezTo>
                    <a:pt x="129" y="187"/>
                    <a:pt x="128" y="188"/>
                    <a:pt x="127" y="190"/>
                  </a:cubicBezTo>
                  <a:cubicBezTo>
                    <a:pt x="126" y="196"/>
                    <a:pt x="134" y="202"/>
                    <a:pt x="138" y="207"/>
                  </a:cubicBezTo>
                  <a:cubicBezTo>
                    <a:pt x="138" y="207"/>
                    <a:pt x="139" y="207"/>
                    <a:pt x="141" y="207"/>
                  </a:cubicBezTo>
                  <a:cubicBezTo>
                    <a:pt x="144" y="207"/>
                    <a:pt x="149" y="206"/>
                    <a:pt x="150" y="206"/>
                  </a:cubicBezTo>
                  <a:cubicBezTo>
                    <a:pt x="160" y="206"/>
                    <a:pt x="170" y="205"/>
                    <a:pt x="179" y="204"/>
                  </a:cubicBezTo>
                  <a:cubicBezTo>
                    <a:pt x="192" y="203"/>
                    <a:pt x="204" y="203"/>
                    <a:pt x="216" y="201"/>
                  </a:cubicBezTo>
                  <a:cubicBezTo>
                    <a:pt x="223" y="200"/>
                    <a:pt x="231" y="200"/>
                    <a:pt x="237" y="197"/>
                  </a:cubicBezTo>
                  <a:cubicBezTo>
                    <a:pt x="242" y="194"/>
                    <a:pt x="244" y="189"/>
                    <a:pt x="250" y="189"/>
                  </a:cubicBezTo>
                  <a:cubicBezTo>
                    <a:pt x="254" y="188"/>
                    <a:pt x="259" y="188"/>
                    <a:pt x="263" y="187"/>
                  </a:cubicBezTo>
                  <a:cubicBezTo>
                    <a:pt x="266" y="187"/>
                    <a:pt x="270" y="187"/>
                    <a:pt x="272" y="186"/>
                  </a:cubicBezTo>
                  <a:cubicBezTo>
                    <a:pt x="275" y="185"/>
                    <a:pt x="277" y="182"/>
                    <a:pt x="279" y="181"/>
                  </a:cubicBezTo>
                  <a:cubicBezTo>
                    <a:pt x="280" y="180"/>
                    <a:pt x="281" y="179"/>
                    <a:pt x="282" y="178"/>
                  </a:cubicBezTo>
                  <a:cubicBezTo>
                    <a:pt x="284" y="177"/>
                    <a:pt x="282" y="177"/>
                    <a:pt x="282" y="176"/>
                  </a:cubicBezTo>
                  <a:cubicBezTo>
                    <a:pt x="283" y="173"/>
                    <a:pt x="288" y="167"/>
                    <a:pt x="291" y="167"/>
                  </a:cubicBezTo>
                  <a:cubicBezTo>
                    <a:pt x="292" y="167"/>
                    <a:pt x="292" y="167"/>
                    <a:pt x="292" y="167"/>
                  </a:cubicBezTo>
                  <a:cubicBezTo>
                    <a:pt x="296" y="168"/>
                    <a:pt x="299" y="173"/>
                    <a:pt x="297" y="176"/>
                  </a:cubicBezTo>
                  <a:cubicBezTo>
                    <a:pt x="296" y="178"/>
                    <a:pt x="293" y="178"/>
                    <a:pt x="297" y="180"/>
                  </a:cubicBezTo>
                  <a:cubicBezTo>
                    <a:pt x="298" y="180"/>
                    <a:pt x="299" y="180"/>
                    <a:pt x="301" y="180"/>
                  </a:cubicBezTo>
                  <a:cubicBezTo>
                    <a:pt x="302" y="180"/>
                    <a:pt x="303" y="180"/>
                    <a:pt x="305" y="180"/>
                  </a:cubicBezTo>
                  <a:cubicBezTo>
                    <a:pt x="306" y="180"/>
                    <a:pt x="308" y="180"/>
                    <a:pt x="309" y="180"/>
                  </a:cubicBezTo>
                  <a:cubicBezTo>
                    <a:pt x="309" y="180"/>
                    <a:pt x="310" y="180"/>
                    <a:pt x="310" y="180"/>
                  </a:cubicBezTo>
                  <a:cubicBezTo>
                    <a:pt x="312" y="180"/>
                    <a:pt x="314" y="180"/>
                    <a:pt x="316" y="181"/>
                  </a:cubicBezTo>
                  <a:cubicBezTo>
                    <a:pt x="316" y="182"/>
                    <a:pt x="316" y="182"/>
                    <a:pt x="317" y="182"/>
                  </a:cubicBezTo>
                  <a:cubicBezTo>
                    <a:pt x="318" y="183"/>
                    <a:pt x="319" y="183"/>
                    <a:pt x="319" y="183"/>
                  </a:cubicBezTo>
                  <a:cubicBezTo>
                    <a:pt x="320" y="183"/>
                    <a:pt x="321" y="183"/>
                    <a:pt x="322" y="183"/>
                  </a:cubicBezTo>
                  <a:cubicBezTo>
                    <a:pt x="322" y="183"/>
                    <a:pt x="323" y="182"/>
                    <a:pt x="324" y="182"/>
                  </a:cubicBezTo>
                  <a:cubicBezTo>
                    <a:pt x="324" y="182"/>
                    <a:pt x="324" y="182"/>
                    <a:pt x="324" y="182"/>
                  </a:cubicBezTo>
                  <a:cubicBezTo>
                    <a:pt x="325" y="182"/>
                    <a:pt x="329" y="183"/>
                    <a:pt x="329" y="184"/>
                  </a:cubicBezTo>
                  <a:cubicBezTo>
                    <a:pt x="330" y="186"/>
                    <a:pt x="327" y="185"/>
                    <a:pt x="327" y="187"/>
                  </a:cubicBezTo>
                  <a:cubicBezTo>
                    <a:pt x="324" y="187"/>
                    <a:pt x="323" y="188"/>
                    <a:pt x="321" y="189"/>
                  </a:cubicBezTo>
                  <a:cubicBezTo>
                    <a:pt x="322" y="190"/>
                    <a:pt x="324" y="190"/>
                    <a:pt x="326" y="190"/>
                  </a:cubicBezTo>
                  <a:cubicBezTo>
                    <a:pt x="327" y="190"/>
                    <a:pt x="329" y="190"/>
                    <a:pt x="331" y="190"/>
                  </a:cubicBezTo>
                  <a:cubicBezTo>
                    <a:pt x="333" y="189"/>
                    <a:pt x="337" y="189"/>
                    <a:pt x="341" y="189"/>
                  </a:cubicBezTo>
                  <a:cubicBezTo>
                    <a:pt x="342" y="189"/>
                    <a:pt x="344" y="189"/>
                    <a:pt x="345" y="189"/>
                  </a:cubicBezTo>
                  <a:cubicBezTo>
                    <a:pt x="346" y="190"/>
                    <a:pt x="345" y="192"/>
                    <a:pt x="347" y="192"/>
                  </a:cubicBezTo>
                  <a:cubicBezTo>
                    <a:pt x="353" y="193"/>
                    <a:pt x="359" y="193"/>
                    <a:pt x="364" y="194"/>
                  </a:cubicBezTo>
                  <a:cubicBezTo>
                    <a:pt x="368" y="194"/>
                    <a:pt x="371" y="194"/>
                    <a:pt x="373" y="194"/>
                  </a:cubicBezTo>
                  <a:cubicBezTo>
                    <a:pt x="377" y="194"/>
                    <a:pt x="381" y="194"/>
                    <a:pt x="385" y="192"/>
                  </a:cubicBezTo>
                  <a:cubicBezTo>
                    <a:pt x="388" y="191"/>
                    <a:pt x="390" y="190"/>
                    <a:pt x="394" y="189"/>
                  </a:cubicBezTo>
                  <a:cubicBezTo>
                    <a:pt x="397" y="188"/>
                    <a:pt x="397" y="189"/>
                    <a:pt x="397" y="186"/>
                  </a:cubicBezTo>
                  <a:cubicBezTo>
                    <a:pt x="397" y="186"/>
                    <a:pt x="397" y="187"/>
                    <a:pt x="397" y="188"/>
                  </a:cubicBezTo>
                  <a:cubicBezTo>
                    <a:pt x="398" y="188"/>
                    <a:pt x="401" y="188"/>
                    <a:pt x="402" y="186"/>
                  </a:cubicBezTo>
                  <a:cubicBezTo>
                    <a:pt x="402" y="186"/>
                    <a:pt x="400" y="185"/>
                    <a:pt x="400" y="185"/>
                  </a:cubicBezTo>
                  <a:cubicBezTo>
                    <a:pt x="401" y="184"/>
                    <a:pt x="401" y="184"/>
                    <a:pt x="402" y="183"/>
                  </a:cubicBezTo>
                  <a:cubicBezTo>
                    <a:pt x="402" y="182"/>
                    <a:pt x="403" y="180"/>
                    <a:pt x="403" y="179"/>
                  </a:cubicBezTo>
                  <a:cubicBezTo>
                    <a:pt x="402" y="179"/>
                    <a:pt x="401" y="178"/>
                    <a:pt x="401" y="178"/>
                  </a:cubicBezTo>
                  <a:cubicBezTo>
                    <a:pt x="400" y="178"/>
                    <a:pt x="400" y="178"/>
                    <a:pt x="400" y="178"/>
                  </a:cubicBezTo>
                  <a:cubicBezTo>
                    <a:pt x="397" y="179"/>
                    <a:pt x="397" y="179"/>
                    <a:pt x="397" y="180"/>
                  </a:cubicBezTo>
                  <a:cubicBezTo>
                    <a:pt x="397" y="180"/>
                    <a:pt x="397" y="179"/>
                    <a:pt x="397" y="179"/>
                  </a:cubicBezTo>
                  <a:cubicBezTo>
                    <a:pt x="397" y="179"/>
                    <a:pt x="396" y="179"/>
                    <a:pt x="395" y="179"/>
                  </a:cubicBezTo>
                  <a:cubicBezTo>
                    <a:pt x="395" y="179"/>
                    <a:pt x="394" y="179"/>
                    <a:pt x="394" y="179"/>
                  </a:cubicBezTo>
                  <a:cubicBezTo>
                    <a:pt x="393" y="177"/>
                    <a:pt x="395" y="178"/>
                    <a:pt x="396" y="177"/>
                  </a:cubicBezTo>
                  <a:cubicBezTo>
                    <a:pt x="397" y="175"/>
                    <a:pt x="395" y="174"/>
                    <a:pt x="393" y="174"/>
                  </a:cubicBezTo>
                  <a:cubicBezTo>
                    <a:pt x="394" y="173"/>
                    <a:pt x="396" y="173"/>
                    <a:pt x="397" y="172"/>
                  </a:cubicBezTo>
                  <a:cubicBezTo>
                    <a:pt x="397" y="172"/>
                    <a:pt x="397" y="172"/>
                    <a:pt x="397" y="172"/>
                  </a:cubicBezTo>
                  <a:cubicBezTo>
                    <a:pt x="397" y="172"/>
                    <a:pt x="397" y="172"/>
                    <a:pt x="397" y="172"/>
                  </a:cubicBezTo>
                  <a:cubicBezTo>
                    <a:pt x="399" y="171"/>
                    <a:pt x="399" y="169"/>
                    <a:pt x="397" y="169"/>
                  </a:cubicBezTo>
                  <a:cubicBezTo>
                    <a:pt x="397" y="169"/>
                    <a:pt x="397" y="169"/>
                    <a:pt x="397" y="169"/>
                  </a:cubicBezTo>
                  <a:cubicBezTo>
                    <a:pt x="396" y="168"/>
                    <a:pt x="393" y="167"/>
                    <a:pt x="391" y="167"/>
                  </a:cubicBezTo>
                  <a:cubicBezTo>
                    <a:pt x="390" y="167"/>
                    <a:pt x="390" y="167"/>
                    <a:pt x="389" y="167"/>
                  </a:cubicBezTo>
                  <a:cubicBezTo>
                    <a:pt x="386" y="167"/>
                    <a:pt x="386" y="169"/>
                    <a:pt x="383" y="170"/>
                  </a:cubicBezTo>
                  <a:cubicBezTo>
                    <a:pt x="379" y="171"/>
                    <a:pt x="378" y="171"/>
                    <a:pt x="376" y="174"/>
                  </a:cubicBezTo>
                  <a:cubicBezTo>
                    <a:pt x="375" y="175"/>
                    <a:pt x="371" y="182"/>
                    <a:pt x="370" y="182"/>
                  </a:cubicBezTo>
                  <a:cubicBezTo>
                    <a:pt x="370" y="182"/>
                    <a:pt x="370" y="182"/>
                    <a:pt x="370" y="182"/>
                  </a:cubicBezTo>
                  <a:cubicBezTo>
                    <a:pt x="367" y="182"/>
                    <a:pt x="370" y="179"/>
                    <a:pt x="371" y="178"/>
                  </a:cubicBezTo>
                  <a:cubicBezTo>
                    <a:pt x="373" y="176"/>
                    <a:pt x="373" y="176"/>
                    <a:pt x="374" y="173"/>
                  </a:cubicBezTo>
                  <a:cubicBezTo>
                    <a:pt x="374" y="170"/>
                    <a:pt x="374" y="170"/>
                    <a:pt x="374" y="170"/>
                  </a:cubicBezTo>
                  <a:cubicBezTo>
                    <a:pt x="374" y="169"/>
                    <a:pt x="373" y="169"/>
                    <a:pt x="373" y="169"/>
                  </a:cubicBezTo>
                  <a:cubicBezTo>
                    <a:pt x="373" y="169"/>
                    <a:pt x="373" y="169"/>
                    <a:pt x="373" y="169"/>
                  </a:cubicBezTo>
                  <a:cubicBezTo>
                    <a:pt x="373" y="169"/>
                    <a:pt x="373" y="169"/>
                    <a:pt x="373" y="169"/>
                  </a:cubicBezTo>
                  <a:cubicBezTo>
                    <a:pt x="372" y="169"/>
                    <a:pt x="372" y="169"/>
                    <a:pt x="372" y="169"/>
                  </a:cubicBezTo>
                  <a:cubicBezTo>
                    <a:pt x="370" y="168"/>
                    <a:pt x="370" y="166"/>
                    <a:pt x="369" y="164"/>
                  </a:cubicBezTo>
                  <a:cubicBezTo>
                    <a:pt x="368" y="163"/>
                    <a:pt x="366" y="164"/>
                    <a:pt x="365" y="162"/>
                  </a:cubicBezTo>
                  <a:cubicBezTo>
                    <a:pt x="363" y="161"/>
                    <a:pt x="364" y="158"/>
                    <a:pt x="365" y="158"/>
                  </a:cubicBezTo>
                  <a:cubicBezTo>
                    <a:pt x="365" y="158"/>
                    <a:pt x="366" y="158"/>
                    <a:pt x="366" y="158"/>
                  </a:cubicBezTo>
                  <a:cubicBezTo>
                    <a:pt x="368" y="158"/>
                    <a:pt x="370" y="161"/>
                    <a:pt x="372" y="162"/>
                  </a:cubicBezTo>
                  <a:cubicBezTo>
                    <a:pt x="374" y="163"/>
                    <a:pt x="378" y="164"/>
                    <a:pt x="381" y="164"/>
                  </a:cubicBezTo>
                  <a:cubicBezTo>
                    <a:pt x="383" y="164"/>
                    <a:pt x="385" y="164"/>
                    <a:pt x="385" y="163"/>
                  </a:cubicBezTo>
                  <a:cubicBezTo>
                    <a:pt x="386" y="159"/>
                    <a:pt x="386" y="159"/>
                    <a:pt x="386" y="159"/>
                  </a:cubicBezTo>
                  <a:cubicBezTo>
                    <a:pt x="385" y="158"/>
                    <a:pt x="385" y="159"/>
                    <a:pt x="383" y="158"/>
                  </a:cubicBezTo>
                  <a:cubicBezTo>
                    <a:pt x="385" y="156"/>
                    <a:pt x="388" y="157"/>
                    <a:pt x="390" y="155"/>
                  </a:cubicBezTo>
                  <a:cubicBezTo>
                    <a:pt x="391" y="153"/>
                    <a:pt x="391" y="150"/>
                    <a:pt x="392" y="150"/>
                  </a:cubicBezTo>
                  <a:cubicBezTo>
                    <a:pt x="393" y="150"/>
                    <a:pt x="393" y="150"/>
                    <a:pt x="393" y="150"/>
                  </a:cubicBezTo>
                  <a:cubicBezTo>
                    <a:pt x="394" y="150"/>
                    <a:pt x="393" y="152"/>
                    <a:pt x="393" y="152"/>
                  </a:cubicBezTo>
                  <a:cubicBezTo>
                    <a:pt x="393" y="152"/>
                    <a:pt x="394" y="152"/>
                    <a:pt x="394" y="152"/>
                  </a:cubicBezTo>
                  <a:cubicBezTo>
                    <a:pt x="394" y="152"/>
                    <a:pt x="394" y="152"/>
                    <a:pt x="395" y="152"/>
                  </a:cubicBezTo>
                  <a:cubicBezTo>
                    <a:pt x="395" y="152"/>
                    <a:pt x="395" y="152"/>
                    <a:pt x="395" y="152"/>
                  </a:cubicBezTo>
                  <a:cubicBezTo>
                    <a:pt x="396" y="152"/>
                    <a:pt x="396" y="152"/>
                    <a:pt x="396" y="152"/>
                  </a:cubicBezTo>
                  <a:cubicBezTo>
                    <a:pt x="397" y="152"/>
                    <a:pt x="397" y="154"/>
                    <a:pt x="397" y="154"/>
                  </a:cubicBezTo>
                  <a:cubicBezTo>
                    <a:pt x="397" y="154"/>
                    <a:pt x="397" y="154"/>
                    <a:pt x="397" y="154"/>
                  </a:cubicBezTo>
                  <a:cubicBezTo>
                    <a:pt x="397" y="154"/>
                    <a:pt x="397" y="155"/>
                    <a:pt x="398" y="155"/>
                  </a:cubicBezTo>
                  <a:cubicBezTo>
                    <a:pt x="399" y="156"/>
                    <a:pt x="398" y="156"/>
                    <a:pt x="400" y="156"/>
                  </a:cubicBezTo>
                  <a:cubicBezTo>
                    <a:pt x="402" y="156"/>
                    <a:pt x="403" y="159"/>
                    <a:pt x="405" y="160"/>
                  </a:cubicBezTo>
                  <a:cubicBezTo>
                    <a:pt x="405" y="158"/>
                    <a:pt x="406" y="157"/>
                    <a:pt x="407" y="156"/>
                  </a:cubicBezTo>
                  <a:cubicBezTo>
                    <a:pt x="408" y="154"/>
                    <a:pt x="409" y="152"/>
                    <a:pt x="410" y="150"/>
                  </a:cubicBezTo>
                  <a:cubicBezTo>
                    <a:pt x="411" y="152"/>
                    <a:pt x="409" y="153"/>
                    <a:pt x="410" y="155"/>
                  </a:cubicBezTo>
                  <a:cubicBezTo>
                    <a:pt x="411" y="157"/>
                    <a:pt x="416" y="159"/>
                    <a:pt x="419" y="159"/>
                  </a:cubicBezTo>
                  <a:cubicBezTo>
                    <a:pt x="420" y="159"/>
                    <a:pt x="420" y="159"/>
                    <a:pt x="420" y="159"/>
                  </a:cubicBezTo>
                  <a:cubicBezTo>
                    <a:pt x="426" y="158"/>
                    <a:pt x="421" y="146"/>
                    <a:pt x="421" y="142"/>
                  </a:cubicBezTo>
                  <a:cubicBezTo>
                    <a:pt x="421" y="141"/>
                    <a:pt x="421" y="139"/>
                    <a:pt x="420" y="138"/>
                  </a:cubicBezTo>
                  <a:cubicBezTo>
                    <a:pt x="420" y="138"/>
                    <a:pt x="419" y="138"/>
                    <a:pt x="419" y="138"/>
                  </a:cubicBezTo>
                  <a:cubicBezTo>
                    <a:pt x="418" y="138"/>
                    <a:pt x="418" y="139"/>
                    <a:pt x="417" y="139"/>
                  </a:cubicBezTo>
                  <a:cubicBezTo>
                    <a:pt x="416" y="139"/>
                    <a:pt x="415" y="140"/>
                    <a:pt x="415" y="140"/>
                  </a:cubicBezTo>
                  <a:cubicBezTo>
                    <a:pt x="414" y="140"/>
                    <a:pt x="414" y="140"/>
                    <a:pt x="414" y="140"/>
                  </a:cubicBezTo>
                  <a:cubicBezTo>
                    <a:pt x="413" y="140"/>
                    <a:pt x="412" y="139"/>
                    <a:pt x="412" y="139"/>
                  </a:cubicBezTo>
                  <a:cubicBezTo>
                    <a:pt x="412" y="139"/>
                    <a:pt x="412" y="139"/>
                    <a:pt x="411" y="139"/>
                  </a:cubicBezTo>
                  <a:cubicBezTo>
                    <a:pt x="411" y="140"/>
                    <a:pt x="411" y="140"/>
                    <a:pt x="411" y="140"/>
                  </a:cubicBezTo>
                  <a:cubicBezTo>
                    <a:pt x="411" y="140"/>
                    <a:pt x="410" y="140"/>
                    <a:pt x="410" y="140"/>
                  </a:cubicBezTo>
                  <a:cubicBezTo>
                    <a:pt x="410" y="140"/>
                    <a:pt x="410" y="140"/>
                    <a:pt x="410" y="140"/>
                  </a:cubicBezTo>
                  <a:cubicBezTo>
                    <a:pt x="410" y="140"/>
                    <a:pt x="409" y="140"/>
                    <a:pt x="409" y="140"/>
                  </a:cubicBezTo>
                  <a:cubicBezTo>
                    <a:pt x="409" y="140"/>
                    <a:pt x="409" y="140"/>
                    <a:pt x="409" y="140"/>
                  </a:cubicBezTo>
                  <a:cubicBezTo>
                    <a:pt x="408" y="141"/>
                    <a:pt x="408" y="141"/>
                    <a:pt x="408" y="141"/>
                  </a:cubicBezTo>
                  <a:cubicBezTo>
                    <a:pt x="407" y="141"/>
                    <a:pt x="407" y="141"/>
                    <a:pt x="407" y="140"/>
                  </a:cubicBezTo>
                  <a:cubicBezTo>
                    <a:pt x="405" y="138"/>
                    <a:pt x="408" y="133"/>
                    <a:pt x="404" y="133"/>
                  </a:cubicBezTo>
                  <a:cubicBezTo>
                    <a:pt x="404" y="133"/>
                    <a:pt x="403" y="133"/>
                    <a:pt x="403" y="133"/>
                  </a:cubicBezTo>
                  <a:cubicBezTo>
                    <a:pt x="401" y="133"/>
                    <a:pt x="401" y="135"/>
                    <a:pt x="399" y="135"/>
                  </a:cubicBezTo>
                  <a:cubicBezTo>
                    <a:pt x="399" y="135"/>
                    <a:pt x="398" y="134"/>
                    <a:pt x="397" y="134"/>
                  </a:cubicBezTo>
                  <a:cubicBezTo>
                    <a:pt x="397" y="134"/>
                    <a:pt x="397" y="134"/>
                    <a:pt x="397" y="135"/>
                  </a:cubicBezTo>
                  <a:cubicBezTo>
                    <a:pt x="397" y="134"/>
                    <a:pt x="397" y="133"/>
                    <a:pt x="396" y="133"/>
                  </a:cubicBezTo>
                  <a:cubicBezTo>
                    <a:pt x="396" y="132"/>
                    <a:pt x="395" y="132"/>
                    <a:pt x="394" y="132"/>
                  </a:cubicBezTo>
                  <a:cubicBezTo>
                    <a:pt x="394" y="132"/>
                    <a:pt x="394" y="132"/>
                    <a:pt x="394" y="132"/>
                  </a:cubicBezTo>
                  <a:cubicBezTo>
                    <a:pt x="394" y="132"/>
                    <a:pt x="393" y="132"/>
                    <a:pt x="393" y="132"/>
                  </a:cubicBezTo>
                  <a:cubicBezTo>
                    <a:pt x="393" y="132"/>
                    <a:pt x="393" y="132"/>
                    <a:pt x="393" y="132"/>
                  </a:cubicBezTo>
                  <a:cubicBezTo>
                    <a:pt x="391" y="131"/>
                    <a:pt x="391" y="130"/>
                    <a:pt x="389" y="129"/>
                  </a:cubicBezTo>
                  <a:cubicBezTo>
                    <a:pt x="388" y="128"/>
                    <a:pt x="386" y="127"/>
                    <a:pt x="384" y="127"/>
                  </a:cubicBezTo>
                  <a:cubicBezTo>
                    <a:pt x="383" y="126"/>
                    <a:pt x="380" y="126"/>
                    <a:pt x="379" y="125"/>
                  </a:cubicBezTo>
                  <a:cubicBezTo>
                    <a:pt x="377" y="124"/>
                    <a:pt x="378" y="122"/>
                    <a:pt x="377" y="121"/>
                  </a:cubicBezTo>
                  <a:cubicBezTo>
                    <a:pt x="376" y="119"/>
                    <a:pt x="372" y="118"/>
                    <a:pt x="370" y="118"/>
                  </a:cubicBezTo>
                  <a:cubicBezTo>
                    <a:pt x="370" y="119"/>
                    <a:pt x="370" y="120"/>
                    <a:pt x="371" y="121"/>
                  </a:cubicBezTo>
                  <a:cubicBezTo>
                    <a:pt x="372" y="123"/>
                    <a:pt x="374" y="123"/>
                    <a:pt x="375" y="125"/>
                  </a:cubicBezTo>
                  <a:cubicBezTo>
                    <a:pt x="375" y="125"/>
                    <a:pt x="375" y="125"/>
                    <a:pt x="374" y="125"/>
                  </a:cubicBezTo>
                  <a:cubicBezTo>
                    <a:pt x="372" y="125"/>
                    <a:pt x="371" y="124"/>
                    <a:pt x="369" y="123"/>
                  </a:cubicBezTo>
                  <a:cubicBezTo>
                    <a:pt x="366" y="120"/>
                    <a:pt x="365" y="122"/>
                    <a:pt x="362" y="121"/>
                  </a:cubicBezTo>
                  <a:cubicBezTo>
                    <a:pt x="360" y="120"/>
                    <a:pt x="359" y="118"/>
                    <a:pt x="357" y="117"/>
                  </a:cubicBezTo>
                  <a:cubicBezTo>
                    <a:pt x="357" y="116"/>
                    <a:pt x="355" y="115"/>
                    <a:pt x="355" y="115"/>
                  </a:cubicBezTo>
                  <a:cubicBezTo>
                    <a:pt x="354" y="114"/>
                    <a:pt x="352" y="115"/>
                    <a:pt x="351" y="114"/>
                  </a:cubicBezTo>
                  <a:cubicBezTo>
                    <a:pt x="350" y="113"/>
                    <a:pt x="350" y="111"/>
                    <a:pt x="349" y="110"/>
                  </a:cubicBezTo>
                  <a:cubicBezTo>
                    <a:pt x="348" y="107"/>
                    <a:pt x="347" y="106"/>
                    <a:pt x="345" y="105"/>
                  </a:cubicBezTo>
                  <a:cubicBezTo>
                    <a:pt x="343" y="104"/>
                    <a:pt x="341" y="104"/>
                    <a:pt x="339" y="102"/>
                  </a:cubicBezTo>
                  <a:cubicBezTo>
                    <a:pt x="337" y="101"/>
                    <a:pt x="337" y="101"/>
                    <a:pt x="338" y="99"/>
                  </a:cubicBezTo>
                  <a:cubicBezTo>
                    <a:pt x="338" y="96"/>
                    <a:pt x="342" y="93"/>
                    <a:pt x="343" y="90"/>
                  </a:cubicBezTo>
                  <a:cubicBezTo>
                    <a:pt x="346" y="85"/>
                    <a:pt x="341" y="78"/>
                    <a:pt x="339" y="74"/>
                  </a:cubicBezTo>
                  <a:cubicBezTo>
                    <a:pt x="338" y="73"/>
                    <a:pt x="337" y="71"/>
                    <a:pt x="336" y="70"/>
                  </a:cubicBezTo>
                  <a:cubicBezTo>
                    <a:pt x="333" y="67"/>
                    <a:pt x="333" y="68"/>
                    <a:pt x="332" y="64"/>
                  </a:cubicBezTo>
                  <a:cubicBezTo>
                    <a:pt x="331" y="63"/>
                    <a:pt x="330" y="61"/>
                    <a:pt x="329" y="60"/>
                  </a:cubicBezTo>
                  <a:cubicBezTo>
                    <a:pt x="328" y="57"/>
                    <a:pt x="329" y="54"/>
                    <a:pt x="327" y="51"/>
                  </a:cubicBezTo>
                  <a:cubicBezTo>
                    <a:pt x="324" y="46"/>
                    <a:pt x="323" y="42"/>
                    <a:pt x="322" y="37"/>
                  </a:cubicBezTo>
                  <a:cubicBezTo>
                    <a:pt x="321" y="34"/>
                    <a:pt x="321" y="33"/>
                    <a:pt x="320" y="32"/>
                  </a:cubicBezTo>
                  <a:cubicBezTo>
                    <a:pt x="318" y="30"/>
                    <a:pt x="316" y="30"/>
                    <a:pt x="316" y="27"/>
                  </a:cubicBezTo>
                  <a:cubicBezTo>
                    <a:pt x="317" y="27"/>
                    <a:pt x="319" y="28"/>
                    <a:pt x="320" y="28"/>
                  </a:cubicBezTo>
                  <a:cubicBezTo>
                    <a:pt x="318" y="26"/>
                    <a:pt x="317" y="25"/>
                    <a:pt x="315" y="23"/>
                  </a:cubicBezTo>
                  <a:cubicBezTo>
                    <a:pt x="315" y="22"/>
                    <a:pt x="314" y="20"/>
                    <a:pt x="313" y="20"/>
                  </a:cubicBezTo>
                  <a:cubicBezTo>
                    <a:pt x="312" y="19"/>
                    <a:pt x="311" y="19"/>
                    <a:pt x="310" y="18"/>
                  </a:cubicBezTo>
                  <a:cubicBezTo>
                    <a:pt x="309" y="17"/>
                    <a:pt x="309" y="16"/>
                    <a:pt x="308" y="15"/>
                  </a:cubicBezTo>
                  <a:cubicBezTo>
                    <a:pt x="308" y="15"/>
                    <a:pt x="307" y="15"/>
                    <a:pt x="307" y="15"/>
                  </a:cubicBezTo>
                  <a:cubicBezTo>
                    <a:pt x="306" y="15"/>
                    <a:pt x="306" y="15"/>
                    <a:pt x="306" y="15"/>
                  </a:cubicBezTo>
                  <a:cubicBezTo>
                    <a:pt x="306" y="15"/>
                    <a:pt x="305" y="15"/>
                    <a:pt x="305" y="15"/>
                  </a:cubicBezTo>
                  <a:cubicBezTo>
                    <a:pt x="305" y="15"/>
                    <a:pt x="305" y="15"/>
                    <a:pt x="305" y="15"/>
                  </a:cubicBezTo>
                  <a:cubicBezTo>
                    <a:pt x="302" y="15"/>
                    <a:pt x="300" y="14"/>
                    <a:pt x="298" y="13"/>
                  </a:cubicBezTo>
                  <a:cubicBezTo>
                    <a:pt x="296" y="12"/>
                    <a:pt x="295" y="9"/>
                    <a:pt x="293" y="8"/>
                  </a:cubicBezTo>
                  <a:cubicBezTo>
                    <a:pt x="292" y="7"/>
                    <a:pt x="290" y="8"/>
                    <a:pt x="287" y="6"/>
                  </a:cubicBezTo>
                  <a:cubicBezTo>
                    <a:pt x="286" y="5"/>
                    <a:pt x="285" y="3"/>
                    <a:pt x="284" y="3"/>
                  </a:cubicBezTo>
                  <a:cubicBezTo>
                    <a:pt x="283" y="3"/>
                    <a:pt x="282" y="3"/>
                    <a:pt x="281" y="4"/>
                  </a:cubicBezTo>
                  <a:cubicBezTo>
                    <a:pt x="277" y="6"/>
                    <a:pt x="281" y="9"/>
                    <a:pt x="279" y="9"/>
                  </a:cubicBezTo>
                  <a:cubicBezTo>
                    <a:pt x="279" y="9"/>
                    <a:pt x="279" y="9"/>
                    <a:pt x="278" y="9"/>
                  </a:cubicBezTo>
                  <a:cubicBezTo>
                    <a:pt x="275" y="8"/>
                    <a:pt x="273" y="6"/>
                    <a:pt x="271" y="5"/>
                  </a:cubicBezTo>
                  <a:cubicBezTo>
                    <a:pt x="268" y="3"/>
                    <a:pt x="266" y="3"/>
                    <a:pt x="264" y="3"/>
                  </a:cubicBezTo>
                  <a:cubicBezTo>
                    <a:pt x="262" y="2"/>
                    <a:pt x="261" y="2"/>
                    <a:pt x="259" y="2"/>
                  </a:cubicBezTo>
                  <a:cubicBezTo>
                    <a:pt x="255" y="4"/>
                    <a:pt x="255" y="4"/>
                    <a:pt x="255" y="4"/>
                  </a:cubicBezTo>
                  <a:cubicBezTo>
                    <a:pt x="254" y="6"/>
                    <a:pt x="259" y="8"/>
                    <a:pt x="260" y="9"/>
                  </a:cubicBezTo>
                  <a:cubicBezTo>
                    <a:pt x="260" y="9"/>
                    <a:pt x="260" y="9"/>
                    <a:pt x="260" y="9"/>
                  </a:cubicBezTo>
                  <a:cubicBezTo>
                    <a:pt x="260" y="9"/>
                    <a:pt x="259" y="9"/>
                    <a:pt x="258" y="8"/>
                  </a:cubicBezTo>
                  <a:cubicBezTo>
                    <a:pt x="257" y="8"/>
                    <a:pt x="256" y="8"/>
                    <a:pt x="256" y="8"/>
                  </a:cubicBezTo>
                  <a:cubicBezTo>
                    <a:pt x="255" y="8"/>
                    <a:pt x="255" y="8"/>
                    <a:pt x="255" y="8"/>
                  </a:cubicBezTo>
                  <a:cubicBezTo>
                    <a:pt x="250" y="9"/>
                    <a:pt x="251" y="11"/>
                    <a:pt x="253" y="14"/>
                  </a:cubicBezTo>
                  <a:cubicBezTo>
                    <a:pt x="253" y="15"/>
                    <a:pt x="252" y="15"/>
                    <a:pt x="253" y="16"/>
                  </a:cubicBezTo>
                  <a:cubicBezTo>
                    <a:pt x="253" y="16"/>
                    <a:pt x="254" y="16"/>
                    <a:pt x="254" y="17"/>
                  </a:cubicBezTo>
                  <a:cubicBezTo>
                    <a:pt x="254" y="18"/>
                    <a:pt x="254" y="19"/>
                    <a:pt x="254" y="20"/>
                  </a:cubicBezTo>
                  <a:cubicBezTo>
                    <a:pt x="254" y="22"/>
                    <a:pt x="256" y="23"/>
                    <a:pt x="256" y="26"/>
                  </a:cubicBezTo>
                  <a:cubicBezTo>
                    <a:pt x="257" y="28"/>
                    <a:pt x="257" y="30"/>
                    <a:pt x="257" y="32"/>
                  </a:cubicBezTo>
                  <a:cubicBezTo>
                    <a:pt x="258" y="34"/>
                    <a:pt x="259" y="35"/>
                    <a:pt x="259" y="38"/>
                  </a:cubicBezTo>
                  <a:cubicBezTo>
                    <a:pt x="258" y="40"/>
                    <a:pt x="260" y="39"/>
                    <a:pt x="260" y="40"/>
                  </a:cubicBezTo>
                  <a:cubicBezTo>
                    <a:pt x="261" y="41"/>
                    <a:pt x="261" y="42"/>
                    <a:pt x="261" y="43"/>
                  </a:cubicBezTo>
                  <a:cubicBezTo>
                    <a:pt x="262" y="46"/>
                    <a:pt x="266" y="48"/>
                    <a:pt x="262" y="48"/>
                  </a:cubicBezTo>
                  <a:cubicBezTo>
                    <a:pt x="262" y="48"/>
                    <a:pt x="261" y="48"/>
                    <a:pt x="261" y="48"/>
                  </a:cubicBezTo>
                  <a:cubicBezTo>
                    <a:pt x="264" y="50"/>
                    <a:pt x="262" y="52"/>
                    <a:pt x="263" y="54"/>
                  </a:cubicBezTo>
                  <a:cubicBezTo>
                    <a:pt x="264" y="55"/>
                    <a:pt x="265" y="55"/>
                    <a:pt x="266" y="56"/>
                  </a:cubicBezTo>
                  <a:cubicBezTo>
                    <a:pt x="267" y="57"/>
                    <a:pt x="266" y="58"/>
                    <a:pt x="266" y="60"/>
                  </a:cubicBezTo>
                  <a:cubicBezTo>
                    <a:pt x="268" y="61"/>
                    <a:pt x="270" y="61"/>
                    <a:pt x="271" y="62"/>
                  </a:cubicBezTo>
                  <a:cubicBezTo>
                    <a:pt x="272" y="64"/>
                    <a:pt x="272" y="64"/>
                    <a:pt x="272" y="64"/>
                  </a:cubicBezTo>
                  <a:cubicBezTo>
                    <a:pt x="272" y="64"/>
                    <a:pt x="274" y="65"/>
                    <a:pt x="274" y="65"/>
                  </a:cubicBezTo>
                  <a:cubicBezTo>
                    <a:pt x="275" y="67"/>
                    <a:pt x="271" y="66"/>
                    <a:pt x="270" y="67"/>
                  </a:cubicBezTo>
                  <a:cubicBezTo>
                    <a:pt x="272" y="68"/>
                    <a:pt x="274" y="68"/>
                    <a:pt x="275" y="70"/>
                  </a:cubicBezTo>
                  <a:cubicBezTo>
                    <a:pt x="272" y="70"/>
                    <a:pt x="270" y="70"/>
                    <a:pt x="267" y="71"/>
                  </a:cubicBezTo>
                  <a:cubicBezTo>
                    <a:pt x="266" y="72"/>
                    <a:pt x="266" y="73"/>
                    <a:pt x="265" y="74"/>
                  </a:cubicBezTo>
                  <a:cubicBezTo>
                    <a:pt x="265" y="74"/>
                    <a:pt x="265" y="74"/>
                    <a:pt x="264" y="74"/>
                  </a:cubicBezTo>
                  <a:cubicBezTo>
                    <a:pt x="264" y="74"/>
                    <a:pt x="264" y="74"/>
                    <a:pt x="263" y="74"/>
                  </a:cubicBezTo>
                  <a:cubicBezTo>
                    <a:pt x="263" y="73"/>
                    <a:pt x="263" y="73"/>
                    <a:pt x="262" y="73"/>
                  </a:cubicBezTo>
                  <a:cubicBezTo>
                    <a:pt x="262" y="73"/>
                    <a:pt x="262" y="74"/>
                    <a:pt x="262" y="75"/>
                  </a:cubicBezTo>
                  <a:cubicBezTo>
                    <a:pt x="262" y="76"/>
                    <a:pt x="265" y="76"/>
                    <a:pt x="263" y="78"/>
                  </a:cubicBezTo>
                  <a:cubicBezTo>
                    <a:pt x="263" y="78"/>
                    <a:pt x="262" y="78"/>
                    <a:pt x="262" y="78"/>
                  </a:cubicBezTo>
                  <a:cubicBezTo>
                    <a:pt x="261" y="78"/>
                    <a:pt x="260" y="77"/>
                    <a:pt x="259" y="77"/>
                  </a:cubicBezTo>
                  <a:cubicBezTo>
                    <a:pt x="259" y="76"/>
                    <a:pt x="259" y="75"/>
                    <a:pt x="258" y="74"/>
                  </a:cubicBezTo>
                  <a:cubicBezTo>
                    <a:pt x="257" y="74"/>
                    <a:pt x="255" y="73"/>
                    <a:pt x="255" y="73"/>
                  </a:cubicBezTo>
                  <a:cubicBezTo>
                    <a:pt x="253" y="72"/>
                    <a:pt x="254" y="67"/>
                    <a:pt x="254" y="65"/>
                  </a:cubicBezTo>
                  <a:cubicBezTo>
                    <a:pt x="254" y="64"/>
                    <a:pt x="254" y="63"/>
                    <a:pt x="253" y="62"/>
                  </a:cubicBezTo>
                  <a:cubicBezTo>
                    <a:pt x="253" y="62"/>
                    <a:pt x="253" y="62"/>
                    <a:pt x="253" y="62"/>
                  </a:cubicBezTo>
                  <a:cubicBezTo>
                    <a:pt x="253" y="62"/>
                    <a:pt x="252" y="62"/>
                    <a:pt x="252" y="63"/>
                  </a:cubicBezTo>
                  <a:cubicBezTo>
                    <a:pt x="252" y="63"/>
                    <a:pt x="252" y="63"/>
                    <a:pt x="252" y="63"/>
                  </a:cubicBezTo>
                  <a:cubicBezTo>
                    <a:pt x="251" y="63"/>
                    <a:pt x="251" y="63"/>
                    <a:pt x="251" y="62"/>
                  </a:cubicBezTo>
                  <a:cubicBezTo>
                    <a:pt x="251" y="61"/>
                    <a:pt x="249" y="61"/>
                    <a:pt x="249" y="60"/>
                  </a:cubicBezTo>
                  <a:cubicBezTo>
                    <a:pt x="248" y="58"/>
                    <a:pt x="249" y="56"/>
                    <a:pt x="248" y="54"/>
                  </a:cubicBezTo>
                  <a:cubicBezTo>
                    <a:pt x="248" y="54"/>
                    <a:pt x="248" y="54"/>
                    <a:pt x="248" y="54"/>
                  </a:cubicBezTo>
                  <a:cubicBezTo>
                    <a:pt x="248" y="54"/>
                    <a:pt x="247" y="54"/>
                    <a:pt x="247" y="54"/>
                  </a:cubicBezTo>
                  <a:cubicBezTo>
                    <a:pt x="247" y="55"/>
                    <a:pt x="247" y="55"/>
                    <a:pt x="247" y="55"/>
                  </a:cubicBezTo>
                  <a:cubicBezTo>
                    <a:pt x="246" y="55"/>
                    <a:pt x="246" y="54"/>
                    <a:pt x="246" y="53"/>
                  </a:cubicBezTo>
                  <a:cubicBezTo>
                    <a:pt x="246" y="52"/>
                    <a:pt x="245" y="51"/>
                    <a:pt x="245" y="50"/>
                  </a:cubicBezTo>
                  <a:cubicBezTo>
                    <a:pt x="244" y="46"/>
                    <a:pt x="246" y="41"/>
                    <a:pt x="244" y="37"/>
                  </a:cubicBezTo>
                  <a:cubicBezTo>
                    <a:pt x="243" y="36"/>
                    <a:pt x="242" y="36"/>
                    <a:pt x="241" y="35"/>
                  </a:cubicBezTo>
                  <a:cubicBezTo>
                    <a:pt x="241" y="35"/>
                    <a:pt x="240" y="35"/>
                    <a:pt x="240" y="35"/>
                  </a:cubicBezTo>
                  <a:cubicBezTo>
                    <a:pt x="240" y="35"/>
                    <a:pt x="239" y="36"/>
                    <a:pt x="238" y="36"/>
                  </a:cubicBezTo>
                  <a:cubicBezTo>
                    <a:pt x="238" y="36"/>
                    <a:pt x="237" y="36"/>
                    <a:pt x="237" y="36"/>
                  </a:cubicBezTo>
                  <a:cubicBezTo>
                    <a:pt x="237" y="36"/>
                    <a:pt x="237" y="36"/>
                    <a:pt x="237" y="36"/>
                  </a:cubicBezTo>
                  <a:cubicBezTo>
                    <a:pt x="236" y="35"/>
                    <a:pt x="236" y="32"/>
                    <a:pt x="235" y="31"/>
                  </a:cubicBezTo>
                  <a:cubicBezTo>
                    <a:pt x="235" y="31"/>
                    <a:pt x="233" y="31"/>
                    <a:pt x="233" y="31"/>
                  </a:cubicBezTo>
                  <a:cubicBezTo>
                    <a:pt x="232" y="30"/>
                    <a:pt x="232" y="29"/>
                    <a:pt x="232" y="28"/>
                  </a:cubicBezTo>
                  <a:cubicBezTo>
                    <a:pt x="231" y="28"/>
                    <a:pt x="231" y="28"/>
                    <a:pt x="230" y="28"/>
                  </a:cubicBezTo>
                  <a:cubicBezTo>
                    <a:pt x="230" y="28"/>
                    <a:pt x="230" y="28"/>
                    <a:pt x="229" y="28"/>
                  </a:cubicBezTo>
                  <a:cubicBezTo>
                    <a:pt x="229" y="28"/>
                    <a:pt x="229" y="28"/>
                    <a:pt x="228" y="28"/>
                  </a:cubicBezTo>
                  <a:cubicBezTo>
                    <a:pt x="228" y="28"/>
                    <a:pt x="228" y="28"/>
                    <a:pt x="228" y="28"/>
                  </a:cubicBezTo>
                  <a:cubicBezTo>
                    <a:pt x="226" y="27"/>
                    <a:pt x="226" y="27"/>
                    <a:pt x="224" y="26"/>
                  </a:cubicBezTo>
                  <a:cubicBezTo>
                    <a:pt x="223" y="25"/>
                    <a:pt x="221" y="25"/>
                    <a:pt x="220" y="24"/>
                  </a:cubicBezTo>
                  <a:cubicBezTo>
                    <a:pt x="217" y="23"/>
                    <a:pt x="218" y="22"/>
                    <a:pt x="220" y="21"/>
                  </a:cubicBezTo>
                  <a:cubicBezTo>
                    <a:pt x="219" y="20"/>
                    <a:pt x="218" y="20"/>
                    <a:pt x="217" y="20"/>
                  </a:cubicBezTo>
                  <a:cubicBezTo>
                    <a:pt x="217" y="20"/>
                    <a:pt x="217" y="20"/>
                    <a:pt x="217" y="20"/>
                  </a:cubicBezTo>
                  <a:cubicBezTo>
                    <a:pt x="216" y="20"/>
                    <a:pt x="216" y="20"/>
                    <a:pt x="216" y="20"/>
                  </a:cubicBezTo>
                  <a:cubicBezTo>
                    <a:pt x="216" y="21"/>
                    <a:pt x="215" y="21"/>
                    <a:pt x="215" y="21"/>
                  </a:cubicBezTo>
                  <a:cubicBezTo>
                    <a:pt x="215" y="21"/>
                    <a:pt x="215" y="21"/>
                    <a:pt x="215" y="21"/>
                  </a:cubicBezTo>
                  <a:cubicBezTo>
                    <a:pt x="214" y="20"/>
                    <a:pt x="215" y="19"/>
                    <a:pt x="214" y="19"/>
                  </a:cubicBezTo>
                  <a:cubicBezTo>
                    <a:pt x="213" y="18"/>
                    <a:pt x="211" y="18"/>
                    <a:pt x="210" y="18"/>
                  </a:cubicBezTo>
                  <a:cubicBezTo>
                    <a:pt x="208" y="18"/>
                    <a:pt x="206" y="18"/>
                    <a:pt x="204" y="18"/>
                  </a:cubicBezTo>
                  <a:cubicBezTo>
                    <a:pt x="201" y="18"/>
                    <a:pt x="197" y="18"/>
                    <a:pt x="194" y="19"/>
                  </a:cubicBezTo>
                  <a:cubicBezTo>
                    <a:pt x="195" y="20"/>
                    <a:pt x="198" y="23"/>
                    <a:pt x="199" y="24"/>
                  </a:cubicBezTo>
                  <a:cubicBezTo>
                    <a:pt x="203" y="26"/>
                    <a:pt x="204" y="23"/>
                    <a:pt x="205" y="28"/>
                  </a:cubicBezTo>
                  <a:cubicBezTo>
                    <a:pt x="205" y="28"/>
                    <a:pt x="206" y="29"/>
                    <a:pt x="207" y="29"/>
                  </a:cubicBezTo>
                  <a:cubicBezTo>
                    <a:pt x="208" y="29"/>
                    <a:pt x="209" y="28"/>
                    <a:pt x="209" y="28"/>
                  </a:cubicBezTo>
                  <a:cubicBezTo>
                    <a:pt x="210" y="28"/>
                    <a:pt x="212" y="28"/>
                    <a:pt x="213" y="28"/>
                  </a:cubicBezTo>
                  <a:cubicBezTo>
                    <a:pt x="214" y="28"/>
                    <a:pt x="216" y="29"/>
                    <a:pt x="216" y="30"/>
                  </a:cubicBezTo>
                  <a:cubicBezTo>
                    <a:pt x="217" y="31"/>
                    <a:pt x="216" y="31"/>
                    <a:pt x="216" y="31"/>
                  </a:cubicBezTo>
                  <a:cubicBezTo>
                    <a:pt x="215" y="31"/>
                    <a:pt x="214" y="31"/>
                    <a:pt x="214" y="31"/>
                  </a:cubicBezTo>
                  <a:cubicBezTo>
                    <a:pt x="212" y="31"/>
                    <a:pt x="211" y="31"/>
                    <a:pt x="210" y="31"/>
                  </a:cubicBezTo>
                  <a:cubicBezTo>
                    <a:pt x="210" y="31"/>
                    <a:pt x="209" y="31"/>
                    <a:pt x="208" y="31"/>
                  </a:cubicBezTo>
                  <a:cubicBezTo>
                    <a:pt x="207" y="31"/>
                    <a:pt x="206" y="31"/>
                    <a:pt x="205" y="32"/>
                  </a:cubicBezTo>
                  <a:cubicBezTo>
                    <a:pt x="205" y="32"/>
                    <a:pt x="206" y="33"/>
                    <a:pt x="206" y="33"/>
                  </a:cubicBezTo>
                  <a:cubicBezTo>
                    <a:pt x="207" y="33"/>
                    <a:pt x="207" y="33"/>
                    <a:pt x="207" y="33"/>
                  </a:cubicBezTo>
                  <a:cubicBezTo>
                    <a:pt x="208" y="32"/>
                    <a:pt x="208" y="32"/>
                    <a:pt x="208" y="32"/>
                  </a:cubicBezTo>
                  <a:cubicBezTo>
                    <a:pt x="209" y="32"/>
                    <a:pt x="209" y="32"/>
                    <a:pt x="209" y="33"/>
                  </a:cubicBezTo>
                  <a:cubicBezTo>
                    <a:pt x="212" y="34"/>
                    <a:pt x="215" y="37"/>
                    <a:pt x="216" y="39"/>
                  </a:cubicBezTo>
                  <a:cubicBezTo>
                    <a:pt x="216" y="39"/>
                    <a:pt x="215" y="40"/>
                    <a:pt x="215" y="40"/>
                  </a:cubicBezTo>
                  <a:cubicBezTo>
                    <a:pt x="212" y="40"/>
                    <a:pt x="209" y="37"/>
                    <a:pt x="206" y="37"/>
                  </a:cubicBezTo>
                  <a:cubicBezTo>
                    <a:pt x="209" y="38"/>
                    <a:pt x="214" y="40"/>
                    <a:pt x="216" y="42"/>
                  </a:cubicBezTo>
                  <a:cubicBezTo>
                    <a:pt x="212" y="41"/>
                    <a:pt x="207" y="40"/>
                    <a:pt x="202" y="38"/>
                  </a:cubicBezTo>
                  <a:cubicBezTo>
                    <a:pt x="200" y="37"/>
                    <a:pt x="198" y="37"/>
                    <a:pt x="195" y="36"/>
                  </a:cubicBezTo>
                  <a:cubicBezTo>
                    <a:pt x="195" y="36"/>
                    <a:pt x="195" y="36"/>
                    <a:pt x="195" y="36"/>
                  </a:cubicBezTo>
                  <a:cubicBezTo>
                    <a:pt x="194" y="36"/>
                    <a:pt x="193" y="38"/>
                    <a:pt x="192" y="38"/>
                  </a:cubicBezTo>
                  <a:cubicBezTo>
                    <a:pt x="191" y="39"/>
                    <a:pt x="189" y="39"/>
                    <a:pt x="188" y="40"/>
                  </a:cubicBezTo>
                  <a:cubicBezTo>
                    <a:pt x="188" y="41"/>
                    <a:pt x="189" y="41"/>
                    <a:pt x="188" y="42"/>
                  </a:cubicBezTo>
                  <a:cubicBezTo>
                    <a:pt x="188" y="43"/>
                    <a:pt x="187" y="43"/>
                    <a:pt x="186" y="44"/>
                  </a:cubicBezTo>
                  <a:cubicBezTo>
                    <a:pt x="186" y="45"/>
                    <a:pt x="187" y="47"/>
                    <a:pt x="187" y="48"/>
                  </a:cubicBezTo>
                  <a:cubicBezTo>
                    <a:pt x="186" y="46"/>
                    <a:pt x="185" y="46"/>
                    <a:pt x="183" y="46"/>
                  </a:cubicBezTo>
                  <a:cubicBezTo>
                    <a:pt x="178" y="45"/>
                    <a:pt x="181" y="45"/>
                    <a:pt x="180" y="41"/>
                  </a:cubicBezTo>
                  <a:cubicBezTo>
                    <a:pt x="179" y="42"/>
                    <a:pt x="175" y="43"/>
                    <a:pt x="174" y="45"/>
                  </a:cubicBezTo>
                  <a:cubicBezTo>
                    <a:pt x="174" y="46"/>
                    <a:pt x="176" y="46"/>
                    <a:pt x="175" y="47"/>
                  </a:cubicBezTo>
                  <a:cubicBezTo>
                    <a:pt x="175" y="49"/>
                    <a:pt x="172" y="51"/>
                    <a:pt x="170" y="52"/>
                  </a:cubicBezTo>
                  <a:cubicBezTo>
                    <a:pt x="170" y="49"/>
                    <a:pt x="173" y="49"/>
                    <a:pt x="169" y="47"/>
                  </a:cubicBezTo>
                  <a:cubicBezTo>
                    <a:pt x="165" y="45"/>
                    <a:pt x="171" y="44"/>
                    <a:pt x="172" y="43"/>
                  </a:cubicBezTo>
                  <a:cubicBezTo>
                    <a:pt x="175" y="43"/>
                    <a:pt x="176" y="41"/>
                    <a:pt x="178" y="40"/>
                  </a:cubicBezTo>
                  <a:cubicBezTo>
                    <a:pt x="178" y="40"/>
                    <a:pt x="178" y="40"/>
                    <a:pt x="178" y="40"/>
                  </a:cubicBezTo>
                  <a:cubicBezTo>
                    <a:pt x="178" y="40"/>
                    <a:pt x="177" y="39"/>
                    <a:pt x="177" y="39"/>
                  </a:cubicBezTo>
                  <a:cubicBezTo>
                    <a:pt x="178" y="38"/>
                    <a:pt x="179" y="38"/>
                    <a:pt x="179" y="38"/>
                  </a:cubicBezTo>
                  <a:cubicBezTo>
                    <a:pt x="180" y="37"/>
                    <a:pt x="181" y="37"/>
                    <a:pt x="182" y="36"/>
                  </a:cubicBezTo>
                  <a:cubicBezTo>
                    <a:pt x="172" y="31"/>
                    <a:pt x="162" y="26"/>
                    <a:pt x="152" y="21"/>
                  </a:cubicBezTo>
                  <a:cubicBezTo>
                    <a:pt x="148" y="20"/>
                    <a:pt x="144" y="17"/>
                    <a:pt x="141" y="17"/>
                  </a:cubicBezTo>
                  <a:cubicBezTo>
                    <a:pt x="139" y="17"/>
                    <a:pt x="138" y="18"/>
                    <a:pt x="136" y="19"/>
                  </a:cubicBezTo>
                  <a:cubicBezTo>
                    <a:pt x="134" y="20"/>
                    <a:pt x="133" y="21"/>
                    <a:pt x="132" y="22"/>
                  </a:cubicBezTo>
                  <a:cubicBezTo>
                    <a:pt x="131" y="23"/>
                    <a:pt x="128" y="26"/>
                    <a:pt x="128" y="26"/>
                  </a:cubicBezTo>
                  <a:cubicBezTo>
                    <a:pt x="128" y="28"/>
                    <a:pt x="128" y="28"/>
                    <a:pt x="129" y="28"/>
                  </a:cubicBezTo>
                  <a:cubicBezTo>
                    <a:pt x="129" y="28"/>
                    <a:pt x="129" y="28"/>
                    <a:pt x="129" y="28"/>
                  </a:cubicBezTo>
                  <a:cubicBezTo>
                    <a:pt x="130" y="28"/>
                    <a:pt x="130" y="28"/>
                    <a:pt x="130" y="28"/>
                  </a:cubicBezTo>
                  <a:cubicBezTo>
                    <a:pt x="131" y="28"/>
                    <a:pt x="131" y="28"/>
                    <a:pt x="131" y="28"/>
                  </a:cubicBezTo>
                  <a:cubicBezTo>
                    <a:pt x="133" y="30"/>
                    <a:pt x="128" y="33"/>
                    <a:pt x="126" y="34"/>
                  </a:cubicBezTo>
                  <a:cubicBezTo>
                    <a:pt x="127" y="32"/>
                    <a:pt x="128" y="32"/>
                    <a:pt x="129" y="30"/>
                  </a:cubicBezTo>
                  <a:cubicBezTo>
                    <a:pt x="126" y="32"/>
                    <a:pt x="123" y="32"/>
                    <a:pt x="119" y="33"/>
                  </a:cubicBezTo>
                  <a:cubicBezTo>
                    <a:pt x="116" y="33"/>
                    <a:pt x="111" y="36"/>
                    <a:pt x="108" y="36"/>
                  </a:cubicBezTo>
                  <a:cubicBezTo>
                    <a:pt x="106" y="36"/>
                    <a:pt x="105" y="35"/>
                    <a:pt x="105" y="35"/>
                  </a:cubicBezTo>
                  <a:cubicBezTo>
                    <a:pt x="106" y="34"/>
                    <a:pt x="111" y="33"/>
                    <a:pt x="112" y="31"/>
                  </a:cubicBezTo>
                  <a:cubicBezTo>
                    <a:pt x="112" y="31"/>
                    <a:pt x="110" y="29"/>
                    <a:pt x="110" y="29"/>
                  </a:cubicBezTo>
                  <a:cubicBezTo>
                    <a:pt x="114" y="26"/>
                    <a:pt x="114" y="26"/>
                    <a:pt x="114" y="26"/>
                  </a:cubicBezTo>
                  <a:cubicBezTo>
                    <a:pt x="114" y="26"/>
                    <a:pt x="114" y="26"/>
                    <a:pt x="114" y="26"/>
                  </a:cubicBezTo>
                  <a:cubicBezTo>
                    <a:pt x="115" y="26"/>
                    <a:pt x="115" y="26"/>
                    <a:pt x="116" y="26"/>
                  </a:cubicBezTo>
                  <a:cubicBezTo>
                    <a:pt x="116" y="26"/>
                    <a:pt x="117" y="26"/>
                    <a:pt x="117" y="26"/>
                  </a:cubicBezTo>
                  <a:cubicBezTo>
                    <a:pt x="118" y="26"/>
                    <a:pt x="119" y="26"/>
                    <a:pt x="119" y="26"/>
                  </a:cubicBezTo>
                  <a:cubicBezTo>
                    <a:pt x="120" y="24"/>
                    <a:pt x="118" y="24"/>
                    <a:pt x="118" y="24"/>
                  </a:cubicBezTo>
                  <a:cubicBezTo>
                    <a:pt x="118" y="23"/>
                    <a:pt x="118" y="23"/>
                    <a:pt x="117" y="22"/>
                  </a:cubicBezTo>
                  <a:cubicBezTo>
                    <a:pt x="117" y="22"/>
                    <a:pt x="118" y="21"/>
                    <a:pt x="118" y="21"/>
                  </a:cubicBezTo>
                  <a:cubicBezTo>
                    <a:pt x="118" y="18"/>
                    <a:pt x="118" y="18"/>
                    <a:pt x="119" y="16"/>
                  </a:cubicBezTo>
                  <a:cubicBezTo>
                    <a:pt x="119" y="15"/>
                    <a:pt x="120" y="12"/>
                    <a:pt x="120" y="11"/>
                  </a:cubicBezTo>
                  <a:cubicBezTo>
                    <a:pt x="119" y="10"/>
                    <a:pt x="115" y="7"/>
                    <a:pt x="114" y="6"/>
                  </a:cubicBezTo>
                  <a:cubicBezTo>
                    <a:pt x="111" y="5"/>
                    <a:pt x="107" y="1"/>
                    <a:pt x="105" y="0"/>
                  </a:cubicBezTo>
                  <a:cubicBezTo>
                    <a:pt x="105" y="0"/>
                    <a:pt x="104" y="0"/>
                    <a:pt x="10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1" name="Freeform 294">
              <a:extLst>
                <a:ext uri="{FF2B5EF4-FFF2-40B4-BE49-F238E27FC236}">
                  <a16:creationId xmlns:a16="http://schemas.microsoft.com/office/drawing/2014/main" id="{730D51BC-5CF5-4E53-92C0-668C43809D56}"/>
                </a:ext>
              </a:extLst>
            </p:cNvPr>
            <p:cNvSpPr>
              <a:spLocks noEditPoints="1"/>
            </p:cNvSpPr>
            <p:nvPr/>
          </p:nvSpPr>
          <p:spPr bwMode="auto">
            <a:xfrm>
              <a:off x="7246929" y="1526409"/>
              <a:ext cx="382588" cy="409575"/>
            </a:xfrm>
            <a:custGeom>
              <a:avLst/>
              <a:gdLst>
                <a:gd name="T0" fmla="*/ 11 w 102"/>
                <a:gd name="T1" fmla="*/ 88 h 109"/>
                <a:gd name="T2" fmla="*/ 18 w 102"/>
                <a:gd name="T3" fmla="*/ 0 h 109"/>
                <a:gd name="T4" fmla="*/ 8 w 102"/>
                <a:gd name="T5" fmla="*/ 20 h 109"/>
                <a:gd name="T6" fmla="*/ 12 w 102"/>
                <a:gd name="T7" fmla="*/ 26 h 109"/>
                <a:gd name="T8" fmla="*/ 17 w 102"/>
                <a:gd name="T9" fmla="*/ 26 h 109"/>
                <a:gd name="T10" fmla="*/ 21 w 102"/>
                <a:gd name="T11" fmla="*/ 25 h 109"/>
                <a:gd name="T12" fmla="*/ 20 w 102"/>
                <a:gd name="T13" fmla="*/ 30 h 109"/>
                <a:gd name="T14" fmla="*/ 24 w 102"/>
                <a:gd name="T15" fmla="*/ 43 h 109"/>
                <a:gd name="T16" fmla="*/ 31 w 102"/>
                <a:gd name="T17" fmla="*/ 53 h 109"/>
                <a:gd name="T18" fmla="*/ 29 w 102"/>
                <a:gd name="T19" fmla="*/ 58 h 109"/>
                <a:gd name="T20" fmla="*/ 25 w 102"/>
                <a:gd name="T21" fmla="*/ 65 h 109"/>
                <a:gd name="T22" fmla="*/ 23 w 102"/>
                <a:gd name="T23" fmla="*/ 72 h 109"/>
                <a:gd name="T24" fmla="*/ 14 w 102"/>
                <a:gd name="T25" fmla="*/ 78 h 109"/>
                <a:gd name="T26" fmla="*/ 9 w 102"/>
                <a:gd name="T27" fmla="*/ 78 h 109"/>
                <a:gd name="T28" fmla="*/ 0 w 102"/>
                <a:gd name="T29" fmla="*/ 84 h 109"/>
                <a:gd name="T30" fmla="*/ 7 w 102"/>
                <a:gd name="T31" fmla="*/ 90 h 109"/>
                <a:gd name="T32" fmla="*/ 10 w 102"/>
                <a:gd name="T33" fmla="*/ 92 h 109"/>
                <a:gd name="T34" fmla="*/ 11 w 102"/>
                <a:gd name="T35" fmla="*/ 88 h 109"/>
                <a:gd name="T36" fmla="*/ 16 w 102"/>
                <a:gd name="T37" fmla="*/ 90 h 109"/>
                <a:gd name="T38" fmla="*/ 26 w 102"/>
                <a:gd name="T39" fmla="*/ 95 h 109"/>
                <a:gd name="T40" fmla="*/ 28 w 102"/>
                <a:gd name="T41" fmla="*/ 90 h 109"/>
                <a:gd name="T42" fmla="*/ 34 w 102"/>
                <a:gd name="T43" fmla="*/ 97 h 109"/>
                <a:gd name="T44" fmla="*/ 36 w 102"/>
                <a:gd name="T45" fmla="*/ 97 h 109"/>
                <a:gd name="T46" fmla="*/ 49 w 102"/>
                <a:gd name="T47" fmla="*/ 103 h 109"/>
                <a:gd name="T48" fmla="*/ 56 w 102"/>
                <a:gd name="T49" fmla="*/ 104 h 109"/>
                <a:gd name="T50" fmla="*/ 57 w 102"/>
                <a:gd name="T51" fmla="*/ 102 h 109"/>
                <a:gd name="T52" fmla="*/ 61 w 102"/>
                <a:gd name="T53" fmla="*/ 104 h 109"/>
                <a:gd name="T54" fmla="*/ 65 w 102"/>
                <a:gd name="T55" fmla="*/ 109 h 109"/>
                <a:gd name="T56" fmla="*/ 70 w 102"/>
                <a:gd name="T57" fmla="*/ 107 h 109"/>
                <a:gd name="T58" fmla="*/ 78 w 102"/>
                <a:gd name="T59" fmla="*/ 104 h 109"/>
                <a:gd name="T60" fmla="*/ 78 w 102"/>
                <a:gd name="T61" fmla="*/ 104 h 109"/>
                <a:gd name="T62" fmla="*/ 99 w 102"/>
                <a:gd name="T63" fmla="*/ 89 h 109"/>
                <a:gd name="T64" fmla="*/ 93 w 102"/>
                <a:gd name="T65" fmla="*/ 92 h 109"/>
                <a:gd name="T66" fmla="*/ 89 w 102"/>
                <a:gd name="T67" fmla="*/ 89 h 109"/>
                <a:gd name="T68" fmla="*/ 88 w 102"/>
                <a:gd name="T69" fmla="*/ 89 h 109"/>
                <a:gd name="T70" fmla="*/ 85 w 102"/>
                <a:gd name="T71" fmla="*/ 83 h 109"/>
                <a:gd name="T72" fmla="*/ 82 w 102"/>
                <a:gd name="T73" fmla="*/ 76 h 109"/>
                <a:gd name="T74" fmla="*/ 77 w 102"/>
                <a:gd name="T75" fmla="*/ 78 h 109"/>
                <a:gd name="T76" fmla="*/ 75 w 102"/>
                <a:gd name="T77" fmla="*/ 80 h 109"/>
                <a:gd name="T78" fmla="*/ 70 w 102"/>
                <a:gd name="T79" fmla="*/ 67 h 109"/>
                <a:gd name="T80" fmla="*/ 67 w 102"/>
                <a:gd name="T81" fmla="*/ 64 h 109"/>
                <a:gd name="T82" fmla="*/ 64 w 102"/>
                <a:gd name="T83" fmla="*/ 63 h 109"/>
                <a:gd name="T84" fmla="*/ 64 w 102"/>
                <a:gd name="T85" fmla="*/ 63 h 109"/>
                <a:gd name="T86" fmla="*/ 64 w 102"/>
                <a:gd name="T87" fmla="*/ 60 h 109"/>
                <a:gd name="T88" fmla="*/ 59 w 102"/>
                <a:gd name="T89" fmla="*/ 49 h 109"/>
                <a:gd name="T90" fmla="*/ 54 w 102"/>
                <a:gd name="T91" fmla="*/ 36 h 109"/>
                <a:gd name="T92" fmla="*/ 52 w 102"/>
                <a:gd name="T93" fmla="*/ 27 h 109"/>
                <a:gd name="T94" fmla="*/ 48 w 102"/>
                <a:gd name="T95" fmla="*/ 20 h 109"/>
                <a:gd name="T96" fmla="*/ 41 w 102"/>
                <a:gd name="T97" fmla="*/ 9 h 109"/>
                <a:gd name="T98" fmla="*/ 41 w 102"/>
                <a:gd name="T99" fmla="*/ 5 h 109"/>
                <a:gd name="T100" fmla="*/ 40 w 102"/>
                <a:gd name="T101" fmla="*/ 5 h 109"/>
                <a:gd name="T102" fmla="*/ 38 w 102"/>
                <a:gd name="T103" fmla="*/ 5 h 109"/>
                <a:gd name="T104" fmla="*/ 32 w 102"/>
                <a:gd name="T105" fmla="*/ 2 h 109"/>
                <a:gd name="T106" fmla="*/ 26 w 102"/>
                <a:gd name="T107" fmla="*/ 1 h 109"/>
                <a:gd name="T108" fmla="*/ 22 w 102"/>
                <a:gd name="T109"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109">
                  <a:moveTo>
                    <a:pt x="11" y="88"/>
                  </a:moveTo>
                  <a:cubicBezTo>
                    <a:pt x="11" y="88"/>
                    <a:pt x="11" y="88"/>
                    <a:pt x="11" y="88"/>
                  </a:cubicBezTo>
                  <a:cubicBezTo>
                    <a:pt x="11" y="88"/>
                    <a:pt x="11" y="88"/>
                    <a:pt x="11" y="88"/>
                  </a:cubicBezTo>
                  <a:moveTo>
                    <a:pt x="18" y="0"/>
                  </a:moveTo>
                  <a:cubicBezTo>
                    <a:pt x="17" y="0"/>
                    <a:pt x="16" y="0"/>
                    <a:pt x="14" y="1"/>
                  </a:cubicBezTo>
                  <a:cubicBezTo>
                    <a:pt x="11" y="6"/>
                    <a:pt x="10" y="15"/>
                    <a:pt x="8" y="20"/>
                  </a:cubicBezTo>
                  <a:cubicBezTo>
                    <a:pt x="8" y="20"/>
                    <a:pt x="8" y="21"/>
                    <a:pt x="8" y="22"/>
                  </a:cubicBezTo>
                  <a:cubicBezTo>
                    <a:pt x="11" y="22"/>
                    <a:pt x="11" y="25"/>
                    <a:pt x="12" y="26"/>
                  </a:cubicBezTo>
                  <a:cubicBezTo>
                    <a:pt x="13" y="26"/>
                    <a:pt x="15" y="26"/>
                    <a:pt x="16" y="26"/>
                  </a:cubicBezTo>
                  <a:cubicBezTo>
                    <a:pt x="16" y="26"/>
                    <a:pt x="16" y="26"/>
                    <a:pt x="17" y="26"/>
                  </a:cubicBezTo>
                  <a:cubicBezTo>
                    <a:pt x="18" y="26"/>
                    <a:pt x="18" y="26"/>
                    <a:pt x="20" y="25"/>
                  </a:cubicBezTo>
                  <a:cubicBezTo>
                    <a:pt x="20" y="25"/>
                    <a:pt x="21" y="25"/>
                    <a:pt x="21" y="25"/>
                  </a:cubicBezTo>
                  <a:cubicBezTo>
                    <a:pt x="23" y="25"/>
                    <a:pt x="25" y="26"/>
                    <a:pt x="27" y="26"/>
                  </a:cubicBezTo>
                  <a:cubicBezTo>
                    <a:pt x="25" y="28"/>
                    <a:pt x="21" y="27"/>
                    <a:pt x="20" y="30"/>
                  </a:cubicBezTo>
                  <a:cubicBezTo>
                    <a:pt x="18" y="34"/>
                    <a:pt x="18" y="35"/>
                    <a:pt x="20" y="38"/>
                  </a:cubicBezTo>
                  <a:cubicBezTo>
                    <a:pt x="21" y="40"/>
                    <a:pt x="23" y="41"/>
                    <a:pt x="24" y="43"/>
                  </a:cubicBezTo>
                  <a:cubicBezTo>
                    <a:pt x="26" y="45"/>
                    <a:pt x="27" y="47"/>
                    <a:pt x="28" y="48"/>
                  </a:cubicBezTo>
                  <a:cubicBezTo>
                    <a:pt x="30" y="50"/>
                    <a:pt x="31" y="51"/>
                    <a:pt x="31" y="53"/>
                  </a:cubicBezTo>
                  <a:cubicBezTo>
                    <a:pt x="31" y="53"/>
                    <a:pt x="31" y="53"/>
                    <a:pt x="31" y="53"/>
                  </a:cubicBezTo>
                  <a:cubicBezTo>
                    <a:pt x="29" y="55"/>
                    <a:pt x="30" y="56"/>
                    <a:pt x="29" y="58"/>
                  </a:cubicBezTo>
                  <a:cubicBezTo>
                    <a:pt x="28" y="61"/>
                    <a:pt x="26" y="59"/>
                    <a:pt x="24" y="61"/>
                  </a:cubicBezTo>
                  <a:cubicBezTo>
                    <a:pt x="22" y="63"/>
                    <a:pt x="23" y="64"/>
                    <a:pt x="25" y="65"/>
                  </a:cubicBezTo>
                  <a:cubicBezTo>
                    <a:pt x="21" y="65"/>
                    <a:pt x="23" y="67"/>
                    <a:pt x="25" y="69"/>
                  </a:cubicBezTo>
                  <a:cubicBezTo>
                    <a:pt x="29" y="72"/>
                    <a:pt x="28" y="72"/>
                    <a:pt x="23" y="72"/>
                  </a:cubicBezTo>
                  <a:cubicBezTo>
                    <a:pt x="20" y="73"/>
                    <a:pt x="21" y="76"/>
                    <a:pt x="19" y="77"/>
                  </a:cubicBezTo>
                  <a:cubicBezTo>
                    <a:pt x="18" y="78"/>
                    <a:pt x="16" y="78"/>
                    <a:pt x="14" y="78"/>
                  </a:cubicBezTo>
                  <a:cubicBezTo>
                    <a:pt x="13" y="78"/>
                    <a:pt x="12" y="78"/>
                    <a:pt x="11" y="78"/>
                  </a:cubicBezTo>
                  <a:cubicBezTo>
                    <a:pt x="10" y="78"/>
                    <a:pt x="9" y="78"/>
                    <a:pt x="9" y="78"/>
                  </a:cubicBezTo>
                  <a:cubicBezTo>
                    <a:pt x="7" y="78"/>
                    <a:pt x="5" y="78"/>
                    <a:pt x="4" y="79"/>
                  </a:cubicBezTo>
                  <a:cubicBezTo>
                    <a:pt x="2" y="80"/>
                    <a:pt x="0" y="82"/>
                    <a:pt x="0" y="84"/>
                  </a:cubicBezTo>
                  <a:cubicBezTo>
                    <a:pt x="0" y="85"/>
                    <a:pt x="1" y="84"/>
                    <a:pt x="2" y="86"/>
                  </a:cubicBezTo>
                  <a:cubicBezTo>
                    <a:pt x="3" y="88"/>
                    <a:pt x="4" y="89"/>
                    <a:pt x="7" y="90"/>
                  </a:cubicBezTo>
                  <a:cubicBezTo>
                    <a:pt x="8" y="91"/>
                    <a:pt x="9" y="92"/>
                    <a:pt x="9" y="92"/>
                  </a:cubicBezTo>
                  <a:cubicBezTo>
                    <a:pt x="9" y="92"/>
                    <a:pt x="10" y="92"/>
                    <a:pt x="10" y="92"/>
                  </a:cubicBezTo>
                  <a:cubicBezTo>
                    <a:pt x="11" y="91"/>
                    <a:pt x="10" y="89"/>
                    <a:pt x="11" y="88"/>
                  </a:cubicBezTo>
                  <a:cubicBezTo>
                    <a:pt x="11" y="88"/>
                    <a:pt x="11" y="88"/>
                    <a:pt x="11" y="88"/>
                  </a:cubicBezTo>
                  <a:cubicBezTo>
                    <a:pt x="12" y="88"/>
                    <a:pt x="15" y="87"/>
                    <a:pt x="14" y="87"/>
                  </a:cubicBezTo>
                  <a:cubicBezTo>
                    <a:pt x="16" y="87"/>
                    <a:pt x="16" y="88"/>
                    <a:pt x="16" y="90"/>
                  </a:cubicBezTo>
                  <a:cubicBezTo>
                    <a:pt x="17" y="93"/>
                    <a:pt x="21" y="92"/>
                    <a:pt x="22" y="93"/>
                  </a:cubicBezTo>
                  <a:cubicBezTo>
                    <a:pt x="24" y="94"/>
                    <a:pt x="25" y="95"/>
                    <a:pt x="26" y="95"/>
                  </a:cubicBezTo>
                  <a:cubicBezTo>
                    <a:pt x="26" y="95"/>
                    <a:pt x="27" y="94"/>
                    <a:pt x="27" y="92"/>
                  </a:cubicBezTo>
                  <a:cubicBezTo>
                    <a:pt x="27" y="91"/>
                    <a:pt x="27" y="90"/>
                    <a:pt x="28" y="90"/>
                  </a:cubicBezTo>
                  <a:cubicBezTo>
                    <a:pt x="29" y="90"/>
                    <a:pt x="31" y="95"/>
                    <a:pt x="31" y="96"/>
                  </a:cubicBezTo>
                  <a:cubicBezTo>
                    <a:pt x="32" y="97"/>
                    <a:pt x="33" y="97"/>
                    <a:pt x="34" y="97"/>
                  </a:cubicBezTo>
                  <a:cubicBezTo>
                    <a:pt x="34" y="97"/>
                    <a:pt x="35" y="97"/>
                    <a:pt x="35" y="97"/>
                  </a:cubicBezTo>
                  <a:cubicBezTo>
                    <a:pt x="35" y="97"/>
                    <a:pt x="36" y="97"/>
                    <a:pt x="36" y="97"/>
                  </a:cubicBezTo>
                  <a:cubicBezTo>
                    <a:pt x="36" y="97"/>
                    <a:pt x="37" y="97"/>
                    <a:pt x="37" y="97"/>
                  </a:cubicBezTo>
                  <a:cubicBezTo>
                    <a:pt x="42" y="98"/>
                    <a:pt x="45" y="102"/>
                    <a:pt x="49" y="103"/>
                  </a:cubicBezTo>
                  <a:cubicBezTo>
                    <a:pt x="50" y="104"/>
                    <a:pt x="52" y="104"/>
                    <a:pt x="53" y="104"/>
                  </a:cubicBezTo>
                  <a:cubicBezTo>
                    <a:pt x="53" y="104"/>
                    <a:pt x="55" y="104"/>
                    <a:pt x="56" y="104"/>
                  </a:cubicBezTo>
                  <a:cubicBezTo>
                    <a:pt x="56" y="104"/>
                    <a:pt x="56" y="104"/>
                    <a:pt x="56" y="104"/>
                  </a:cubicBezTo>
                  <a:cubicBezTo>
                    <a:pt x="58" y="103"/>
                    <a:pt x="56" y="102"/>
                    <a:pt x="57" y="102"/>
                  </a:cubicBezTo>
                  <a:cubicBezTo>
                    <a:pt x="58" y="102"/>
                    <a:pt x="58" y="102"/>
                    <a:pt x="58" y="102"/>
                  </a:cubicBezTo>
                  <a:cubicBezTo>
                    <a:pt x="59" y="102"/>
                    <a:pt x="60" y="103"/>
                    <a:pt x="61" y="104"/>
                  </a:cubicBezTo>
                  <a:cubicBezTo>
                    <a:pt x="61" y="106"/>
                    <a:pt x="62" y="108"/>
                    <a:pt x="65" y="109"/>
                  </a:cubicBezTo>
                  <a:cubicBezTo>
                    <a:pt x="65" y="109"/>
                    <a:pt x="65" y="109"/>
                    <a:pt x="65" y="109"/>
                  </a:cubicBezTo>
                  <a:cubicBezTo>
                    <a:pt x="67" y="109"/>
                    <a:pt x="69" y="108"/>
                    <a:pt x="69" y="107"/>
                  </a:cubicBezTo>
                  <a:cubicBezTo>
                    <a:pt x="70" y="107"/>
                    <a:pt x="70" y="107"/>
                    <a:pt x="70" y="107"/>
                  </a:cubicBezTo>
                  <a:cubicBezTo>
                    <a:pt x="70" y="107"/>
                    <a:pt x="71" y="107"/>
                    <a:pt x="72" y="107"/>
                  </a:cubicBezTo>
                  <a:cubicBezTo>
                    <a:pt x="74" y="107"/>
                    <a:pt x="76" y="106"/>
                    <a:pt x="78" y="104"/>
                  </a:cubicBezTo>
                  <a:cubicBezTo>
                    <a:pt x="78" y="104"/>
                    <a:pt x="78" y="104"/>
                    <a:pt x="78" y="104"/>
                  </a:cubicBezTo>
                  <a:cubicBezTo>
                    <a:pt x="78" y="104"/>
                    <a:pt x="78" y="104"/>
                    <a:pt x="78" y="104"/>
                  </a:cubicBezTo>
                  <a:cubicBezTo>
                    <a:pt x="86" y="100"/>
                    <a:pt x="94" y="95"/>
                    <a:pt x="102" y="91"/>
                  </a:cubicBezTo>
                  <a:cubicBezTo>
                    <a:pt x="100" y="90"/>
                    <a:pt x="99" y="89"/>
                    <a:pt x="99" y="89"/>
                  </a:cubicBezTo>
                  <a:cubicBezTo>
                    <a:pt x="97" y="89"/>
                    <a:pt x="96" y="91"/>
                    <a:pt x="93" y="91"/>
                  </a:cubicBezTo>
                  <a:cubicBezTo>
                    <a:pt x="93" y="92"/>
                    <a:pt x="93" y="92"/>
                    <a:pt x="93" y="92"/>
                  </a:cubicBezTo>
                  <a:cubicBezTo>
                    <a:pt x="91" y="92"/>
                    <a:pt x="91" y="90"/>
                    <a:pt x="90" y="90"/>
                  </a:cubicBezTo>
                  <a:cubicBezTo>
                    <a:pt x="89" y="89"/>
                    <a:pt x="89" y="89"/>
                    <a:pt x="89" y="89"/>
                  </a:cubicBezTo>
                  <a:cubicBezTo>
                    <a:pt x="88" y="89"/>
                    <a:pt x="88" y="89"/>
                    <a:pt x="88" y="89"/>
                  </a:cubicBezTo>
                  <a:cubicBezTo>
                    <a:pt x="88" y="89"/>
                    <a:pt x="88" y="89"/>
                    <a:pt x="88" y="89"/>
                  </a:cubicBezTo>
                  <a:cubicBezTo>
                    <a:pt x="87" y="89"/>
                    <a:pt x="87" y="89"/>
                    <a:pt x="87" y="87"/>
                  </a:cubicBezTo>
                  <a:cubicBezTo>
                    <a:pt x="87" y="85"/>
                    <a:pt x="85" y="85"/>
                    <a:pt x="85" y="83"/>
                  </a:cubicBezTo>
                  <a:cubicBezTo>
                    <a:pt x="85" y="81"/>
                    <a:pt x="84" y="80"/>
                    <a:pt x="84" y="78"/>
                  </a:cubicBezTo>
                  <a:cubicBezTo>
                    <a:pt x="83" y="76"/>
                    <a:pt x="82" y="76"/>
                    <a:pt x="82" y="76"/>
                  </a:cubicBezTo>
                  <a:cubicBezTo>
                    <a:pt x="81" y="76"/>
                    <a:pt x="81" y="81"/>
                    <a:pt x="80" y="83"/>
                  </a:cubicBezTo>
                  <a:cubicBezTo>
                    <a:pt x="79" y="82"/>
                    <a:pt x="78" y="80"/>
                    <a:pt x="77" y="78"/>
                  </a:cubicBezTo>
                  <a:cubicBezTo>
                    <a:pt x="77" y="79"/>
                    <a:pt x="76" y="80"/>
                    <a:pt x="75" y="80"/>
                  </a:cubicBezTo>
                  <a:cubicBezTo>
                    <a:pt x="75" y="80"/>
                    <a:pt x="75" y="80"/>
                    <a:pt x="75" y="80"/>
                  </a:cubicBezTo>
                  <a:cubicBezTo>
                    <a:pt x="78" y="78"/>
                    <a:pt x="80" y="74"/>
                    <a:pt x="77" y="71"/>
                  </a:cubicBezTo>
                  <a:cubicBezTo>
                    <a:pt x="76" y="70"/>
                    <a:pt x="72" y="68"/>
                    <a:pt x="70" y="67"/>
                  </a:cubicBezTo>
                  <a:cubicBezTo>
                    <a:pt x="69" y="67"/>
                    <a:pt x="68" y="66"/>
                    <a:pt x="67" y="66"/>
                  </a:cubicBezTo>
                  <a:cubicBezTo>
                    <a:pt x="67" y="65"/>
                    <a:pt x="67" y="65"/>
                    <a:pt x="67" y="64"/>
                  </a:cubicBezTo>
                  <a:cubicBezTo>
                    <a:pt x="66" y="64"/>
                    <a:pt x="65" y="64"/>
                    <a:pt x="65" y="63"/>
                  </a:cubicBezTo>
                  <a:cubicBezTo>
                    <a:pt x="65" y="63"/>
                    <a:pt x="64" y="63"/>
                    <a:pt x="64" y="63"/>
                  </a:cubicBezTo>
                  <a:cubicBezTo>
                    <a:pt x="64" y="63"/>
                    <a:pt x="64" y="63"/>
                    <a:pt x="64" y="63"/>
                  </a:cubicBezTo>
                  <a:cubicBezTo>
                    <a:pt x="64" y="63"/>
                    <a:pt x="64" y="63"/>
                    <a:pt x="64" y="63"/>
                  </a:cubicBezTo>
                  <a:cubicBezTo>
                    <a:pt x="63" y="63"/>
                    <a:pt x="63" y="63"/>
                    <a:pt x="63" y="62"/>
                  </a:cubicBezTo>
                  <a:cubicBezTo>
                    <a:pt x="63" y="62"/>
                    <a:pt x="64" y="61"/>
                    <a:pt x="64" y="60"/>
                  </a:cubicBezTo>
                  <a:cubicBezTo>
                    <a:pt x="64" y="59"/>
                    <a:pt x="62" y="58"/>
                    <a:pt x="62" y="57"/>
                  </a:cubicBezTo>
                  <a:cubicBezTo>
                    <a:pt x="60" y="55"/>
                    <a:pt x="59" y="52"/>
                    <a:pt x="59" y="49"/>
                  </a:cubicBezTo>
                  <a:cubicBezTo>
                    <a:pt x="59" y="46"/>
                    <a:pt x="58" y="46"/>
                    <a:pt x="57" y="43"/>
                  </a:cubicBezTo>
                  <a:cubicBezTo>
                    <a:pt x="56" y="40"/>
                    <a:pt x="55" y="38"/>
                    <a:pt x="54" y="36"/>
                  </a:cubicBezTo>
                  <a:cubicBezTo>
                    <a:pt x="53" y="35"/>
                    <a:pt x="52" y="34"/>
                    <a:pt x="51" y="33"/>
                  </a:cubicBezTo>
                  <a:cubicBezTo>
                    <a:pt x="50" y="30"/>
                    <a:pt x="50" y="29"/>
                    <a:pt x="52" y="27"/>
                  </a:cubicBezTo>
                  <a:cubicBezTo>
                    <a:pt x="50" y="27"/>
                    <a:pt x="51" y="25"/>
                    <a:pt x="50" y="24"/>
                  </a:cubicBezTo>
                  <a:cubicBezTo>
                    <a:pt x="49" y="22"/>
                    <a:pt x="49" y="21"/>
                    <a:pt x="48" y="20"/>
                  </a:cubicBezTo>
                  <a:cubicBezTo>
                    <a:pt x="46" y="17"/>
                    <a:pt x="45" y="14"/>
                    <a:pt x="44" y="12"/>
                  </a:cubicBezTo>
                  <a:cubicBezTo>
                    <a:pt x="43" y="11"/>
                    <a:pt x="42" y="10"/>
                    <a:pt x="41" y="9"/>
                  </a:cubicBezTo>
                  <a:cubicBezTo>
                    <a:pt x="41" y="8"/>
                    <a:pt x="42" y="6"/>
                    <a:pt x="41" y="5"/>
                  </a:cubicBezTo>
                  <a:cubicBezTo>
                    <a:pt x="41" y="5"/>
                    <a:pt x="41" y="5"/>
                    <a:pt x="41" y="5"/>
                  </a:cubicBezTo>
                  <a:cubicBezTo>
                    <a:pt x="40" y="5"/>
                    <a:pt x="41" y="5"/>
                    <a:pt x="40" y="5"/>
                  </a:cubicBezTo>
                  <a:cubicBezTo>
                    <a:pt x="40" y="5"/>
                    <a:pt x="40" y="5"/>
                    <a:pt x="40" y="5"/>
                  </a:cubicBezTo>
                  <a:cubicBezTo>
                    <a:pt x="39" y="5"/>
                    <a:pt x="39" y="5"/>
                    <a:pt x="38" y="5"/>
                  </a:cubicBezTo>
                  <a:cubicBezTo>
                    <a:pt x="38" y="5"/>
                    <a:pt x="38" y="5"/>
                    <a:pt x="38" y="5"/>
                  </a:cubicBezTo>
                  <a:cubicBezTo>
                    <a:pt x="37" y="5"/>
                    <a:pt x="37" y="5"/>
                    <a:pt x="36" y="5"/>
                  </a:cubicBezTo>
                  <a:cubicBezTo>
                    <a:pt x="35" y="4"/>
                    <a:pt x="34" y="2"/>
                    <a:pt x="32" y="2"/>
                  </a:cubicBezTo>
                  <a:cubicBezTo>
                    <a:pt x="31" y="1"/>
                    <a:pt x="29" y="1"/>
                    <a:pt x="28" y="1"/>
                  </a:cubicBezTo>
                  <a:cubicBezTo>
                    <a:pt x="27" y="1"/>
                    <a:pt x="26" y="1"/>
                    <a:pt x="26" y="1"/>
                  </a:cubicBezTo>
                  <a:cubicBezTo>
                    <a:pt x="25" y="1"/>
                    <a:pt x="24" y="1"/>
                    <a:pt x="24" y="1"/>
                  </a:cubicBezTo>
                  <a:cubicBezTo>
                    <a:pt x="23" y="1"/>
                    <a:pt x="23" y="1"/>
                    <a:pt x="22" y="1"/>
                  </a:cubicBezTo>
                  <a:cubicBezTo>
                    <a:pt x="21"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2" name="Freeform 295">
              <a:extLst>
                <a:ext uri="{FF2B5EF4-FFF2-40B4-BE49-F238E27FC236}">
                  <a16:creationId xmlns:a16="http://schemas.microsoft.com/office/drawing/2014/main" id="{C3BD4E8F-FBCD-40D8-B824-4946013D5A1B}"/>
                </a:ext>
              </a:extLst>
            </p:cNvPr>
            <p:cNvSpPr>
              <a:spLocks noEditPoints="1"/>
            </p:cNvSpPr>
            <p:nvPr/>
          </p:nvSpPr>
          <p:spPr bwMode="auto">
            <a:xfrm>
              <a:off x="9994891" y="2315397"/>
              <a:ext cx="19050" cy="33338"/>
            </a:xfrm>
            <a:custGeom>
              <a:avLst/>
              <a:gdLst>
                <a:gd name="T0" fmla="*/ 1 w 5"/>
                <a:gd name="T1" fmla="*/ 9 h 9"/>
                <a:gd name="T2" fmla="*/ 1 w 5"/>
                <a:gd name="T3" fmla="*/ 9 h 9"/>
                <a:gd name="T4" fmla="*/ 1 w 5"/>
                <a:gd name="T5" fmla="*/ 9 h 9"/>
                <a:gd name="T6" fmla="*/ 4 w 5"/>
                <a:gd name="T7" fmla="*/ 0 h 9"/>
                <a:gd name="T8" fmla="*/ 1 w 5"/>
                <a:gd name="T9" fmla="*/ 7 h 9"/>
                <a:gd name="T10" fmla="*/ 1 w 5"/>
                <a:gd name="T11" fmla="*/ 9 h 9"/>
                <a:gd name="T12" fmla="*/ 4 w 5"/>
                <a:gd name="T13" fmla="*/ 5 h 9"/>
                <a:gd name="T14" fmla="*/ 3 w 5"/>
                <a:gd name="T15" fmla="*/ 5 h 9"/>
                <a:gd name="T16" fmla="*/ 5 w 5"/>
                <a:gd name="T17" fmla="*/ 0 h 9"/>
                <a:gd name="T18" fmla="*/ 4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1" y="9"/>
                  </a:moveTo>
                  <a:cubicBezTo>
                    <a:pt x="1" y="9"/>
                    <a:pt x="1" y="9"/>
                    <a:pt x="1" y="9"/>
                  </a:cubicBezTo>
                  <a:cubicBezTo>
                    <a:pt x="1" y="9"/>
                    <a:pt x="1" y="9"/>
                    <a:pt x="1" y="9"/>
                  </a:cubicBezTo>
                  <a:moveTo>
                    <a:pt x="4" y="0"/>
                  </a:moveTo>
                  <a:cubicBezTo>
                    <a:pt x="1" y="0"/>
                    <a:pt x="1" y="5"/>
                    <a:pt x="1" y="7"/>
                  </a:cubicBezTo>
                  <a:cubicBezTo>
                    <a:pt x="1" y="8"/>
                    <a:pt x="1" y="8"/>
                    <a:pt x="1" y="9"/>
                  </a:cubicBezTo>
                  <a:cubicBezTo>
                    <a:pt x="1" y="7"/>
                    <a:pt x="3" y="6"/>
                    <a:pt x="4" y="5"/>
                  </a:cubicBezTo>
                  <a:cubicBezTo>
                    <a:pt x="3" y="5"/>
                    <a:pt x="3" y="5"/>
                    <a:pt x="3" y="5"/>
                  </a:cubicBezTo>
                  <a:cubicBezTo>
                    <a:pt x="0" y="5"/>
                    <a:pt x="4"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3" name="Freeform 296">
              <a:extLst>
                <a:ext uri="{FF2B5EF4-FFF2-40B4-BE49-F238E27FC236}">
                  <a16:creationId xmlns:a16="http://schemas.microsoft.com/office/drawing/2014/main" id="{468C64D0-5FDE-4570-B686-6802B69FC85F}"/>
                </a:ext>
              </a:extLst>
            </p:cNvPr>
            <p:cNvSpPr>
              <a:spLocks/>
            </p:cNvSpPr>
            <p:nvPr/>
          </p:nvSpPr>
          <p:spPr bwMode="auto">
            <a:xfrm>
              <a:off x="9998066" y="1864547"/>
              <a:ext cx="0" cy="4763"/>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1"/>
                    <a:pt x="0" y="1"/>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4" name="Freeform 297">
              <a:extLst>
                <a:ext uri="{FF2B5EF4-FFF2-40B4-BE49-F238E27FC236}">
                  <a16:creationId xmlns:a16="http://schemas.microsoft.com/office/drawing/2014/main" id="{9AFB8A1E-E9EA-4411-906A-912BA73792A0}"/>
                </a:ext>
              </a:extLst>
            </p:cNvPr>
            <p:cNvSpPr>
              <a:spLocks/>
            </p:cNvSpPr>
            <p:nvPr/>
          </p:nvSpPr>
          <p:spPr bwMode="auto">
            <a:xfrm>
              <a:off x="9998066" y="1872484"/>
              <a:ext cx="15875" cy="7938"/>
            </a:xfrm>
            <a:custGeom>
              <a:avLst/>
              <a:gdLst>
                <a:gd name="T0" fmla="*/ 0 w 4"/>
                <a:gd name="T1" fmla="*/ 0 h 2"/>
                <a:gd name="T2" fmla="*/ 0 w 4"/>
                <a:gd name="T3" fmla="*/ 1 h 2"/>
                <a:gd name="T4" fmla="*/ 0 w 4"/>
                <a:gd name="T5" fmla="*/ 1 h 2"/>
                <a:gd name="T6" fmla="*/ 0 w 4"/>
                <a:gd name="T7" fmla="*/ 1 h 2"/>
                <a:gd name="T8" fmla="*/ 0 w 4"/>
                <a:gd name="T9" fmla="*/ 1 h 2"/>
                <a:gd name="T10" fmla="*/ 3 w 4"/>
                <a:gd name="T11" fmla="*/ 2 h 2"/>
                <a:gd name="T12" fmla="*/ 4 w 4"/>
                <a:gd name="T13" fmla="*/ 2 h 2"/>
                <a:gd name="T14" fmla="*/ 0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0"/>
                  </a:moveTo>
                  <a:cubicBezTo>
                    <a:pt x="0" y="0"/>
                    <a:pt x="0" y="1"/>
                    <a:pt x="0" y="1"/>
                  </a:cubicBezTo>
                  <a:cubicBezTo>
                    <a:pt x="0" y="1"/>
                    <a:pt x="0" y="1"/>
                    <a:pt x="0" y="1"/>
                  </a:cubicBezTo>
                  <a:cubicBezTo>
                    <a:pt x="0" y="1"/>
                    <a:pt x="0" y="1"/>
                    <a:pt x="0" y="1"/>
                  </a:cubicBezTo>
                  <a:cubicBezTo>
                    <a:pt x="0" y="1"/>
                    <a:pt x="0" y="1"/>
                    <a:pt x="0" y="1"/>
                  </a:cubicBezTo>
                  <a:cubicBezTo>
                    <a:pt x="1" y="2"/>
                    <a:pt x="2" y="2"/>
                    <a:pt x="3" y="2"/>
                  </a:cubicBezTo>
                  <a:cubicBezTo>
                    <a:pt x="4" y="2"/>
                    <a:pt x="4" y="2"/>
                    <a:pt x="4"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5" name="Freeform 298">
              <a:extLst>
                <a:ext uri="{FF2B5EF4-FFF2-40B4-BE49-F238E27FC236}">
                  <a16:creationId xmlns:a16="http://schemas.microsoft.com/office/drawing/2014/main" id="{04D1AF34-9951-46C9-9477-54FEBB62D48E}"/>
                </a:ext>
              </a:extLst>
            </p:cNvPr>
            <p:cNvSpPr>
              <a:spLocks noEditPoints="1"/>
            </p:cNvSpPr>
            <p:nvPr/>
          </p:nvSpPr>
          <p:spPr bwMode="auto">
            <a:xfrm>
              <a:off x="8069254" y="1064447"/>
              <a:ext cx="2517775" cy="1800225"/>
            </a:xfrm>
            <a:custGeom>
              <a:avLst/>
              <a:gdLst>
                <a:gd name="T0" fmla="*/ 572 w 671"/>
                <a:gd name="T1" fmla="*/ 312 h 479"/>
                <a:gd name="T2" fmla="*/ 34 w 671"/>
                <a:gd name="T3" fmla="*/ 25 h 479"/>
                <a:gd name="T4" fmla="*/ 4 w 671"/>
                <a:gd name="T5" fmla="*/ 97 h 479"/>
                <a:gd name="T6" fmla="*/ 15 w 671"/>
                <a:gd name="T7" fmla="*/ 121 h 479"/>
                <a:gd name="T8" fmla="*/ 88 w 671"/>
                <a:gd name="T9" fmla="*/ 145 h 479"/>
                <a:gd name="T10" fmla="*/ 171 w 671"/>
                <a:gd name="T11" fmla="*/ 170 h 479"/>
                <a:gd name="T12" fmla="*/ 215 w 671"/>
                <a:gd name="T13" fmla="*/ 178 h 479"/>
                <a:gd name="T14" fmla="*/ 251 w 671"/>
                <a:gd name="T15" fmla="*/ 171 h 479"/>
                <a:gd name="T16" fmla="*/ 262 w 671"/>
                <a:gd name="T17" fmla="*/ 140 h 479"/>
                <a:gd name="T18" fmla="*/ 294 w 671"/>
                <a:gd name="T19" fmla="*/ 175 h 479"/>
                <a:gd name="T20" fmla="*/ 316 w 671"/>
                <a:gd name="T21" fmla="*/ 179 h 479"/>
                <a:gd name="T22" fmla="*/ 350 w 671"/>
                <a:gd name="T23" fmla="*/ 210 h 479"/>
                <a:gd name="T24" fmla="*/ 380 w 671"/>
                <a:gd name="T25" fmla="*/ 235 h 479"/>
                <a:gd name="T26" fmla="*/ 413 w 671"/>
                <a:gd name="T27" fmla="*/ 299 h 479"/>
                <a:gd name="T28" fmla="*/ 482 w 671"/>
                <a:gd name="T29" fmla="*/ 309 h 479"/>
                <a:gd name="T30" fmla="*/ 440 w 671"/>
                <a:gd name="T31" fmla="*/ 320 h 479"/>
                <a:gd name="T32" fmla="*/ 353 w 671"/>
                <a:gd name="T33" fmla="*/ 349 h 479"/>
                <a:gd name="T34" fmla="*/ 337 w 671"/>
                <a:gd name="T35" fmla="*/ 359 h 479"/>
                <a:gd name="T36" fmla="*/ 320 w 671"/>
                <a:gd name="T37" fmla="*/ 388 h 479"/>
                <a:gd name="T38" fmla="*/ 359 w 671"/>
                <a:gd name="T39" fmla="*/ 369 h 479"/>
                <a:gd name="T40" fmla="*/ 382 w 671"/>
                <a:gd name="T41" fmla="*/ 381 h 479"/>
                <a:gd name="T42" fmla="*/ 415 w 671"/>
                <a:gd name="T43" fmla="*/ 406 h 479"/>
                <a:gd name="T44" fmla="*/ 444 w 671"/>
                <a:gd name="T45" fmla="*/ 434 h 479"/>
                <a:gd name="T46" fmla="*/ 554 w 671"/>
                <a:gd name="T47" fmla="*/ 465 h 479"/>
                <a:gd name="T48" fmla="*/ 525 w 671"/>
                <a:gd name="T49" fmla="*/ 438 h 479"/>
                <a:gd name="T50" fmla="*/ 510 w 671"/>
                <a:gd name="T51" fmla="*/ 416 h 479"/>
                <a:gd name="T52" fmla="*/ 547 w 671"/>
                <a:gd name="T53" fmla="*/ 438 h 479"/>
                <a:gd name="T54" fmla="*/ 576 w 671"/>
                <a:gd name="T55" fmla="*/ 450 h 479"/>
                <a:gd name="T56" fmla="*/ 577 w 671"/>
                <a:gd name="T57" fmla="*/ 409 h 479"/>
                <a:gd name="T58" fmla="*/ 577 w 671"/>
                <a:gd name="T59" fmla="*/ 391 h 479"/>
                <a:gd name="T60" fmla="*/ 556 w 671"/>
                <a:gd name="T61" fmla="*/ 370 h 479"/>
                <a:gd name="T62" fmla="*/ 531 w 671"/>
                <a:gd name="T63" fmla="*/ 351 h 479"/>
                <a:gd name="T64" fmla="*/ 507 w 671"/>
                <a:gd name="T65" fmla="*/ 329 h 479"/>
                <a:gd name="T66" fmla="*/ 529 w 671"/>
                <a:gd name="T67" fmla="*/ 315 h 479"/>
                <a:gd name="T68" fmla="*/ 588 w 671"/>
                <a:gd name="T69" fmla="*/ 318 h 479"/>
                <a:gd name="T70" fmla="*/ 589 w 671"/>
                <a:gd name="T71" fmla="*/ 351 h 479"/>
                <a:gd name="T72" fmla="*/ 616 w 671"/>
                <a:gd name="T73" fmla="*/ 365 h 479"/>
                <a:gd name="T74" fmla="*/ 637 w 671"/>
                <a:gd name="T75" fmla="*/ 339 h 479"/>
                <a:gd name="T76" fmla="*/ 651 w 671"/>
                <a:gd name="T77" fmla="*/ 324 h 479"/>
                <a:gd name="T78" fmla="*/ 670 w 671"/>
                <a:gd name="T79" fmla="*/ 315 h 479"/>
                <a:gd name="T80" fmla="*/ 617 w 671"/>
                <a:gd name="T81" fmla="*/ 294 h 479"/>
                <a:gd name="T82" fmla="*/ 594 w 671"/>
                <a:gd name="T83" fmla="*/ 256 h 479"/>
                <a:gd name="T84" fmla="*/ 560 w 671"/>
                <a:gd name="T85" fmla="*/ 251 h 479"/>
                <a:gd name="T86" fmla="*/ 524 w 671"/>
                <a:gd name="T87" fmla="*/ 242 h 479"/>
                <a:gd name="T88" fmla="*/ 515 w 671"/>
                <a:gd name="T89" fmla="*/ 232 h 479"/>
                <a:gd name="T90" fmla="*/ 482 w 671"/>
                <a:gd name="T91" fmla="*/ 213 h 479"/>
                <a:gd name="T92" fmla="*/ 492 w 671"/>
                <a:gd name="T93" fmla="*/ 205 h 479"/>
                <a:gd name="T94" fmla="*/ 514 w 671"/>
                <a:gd name="T95" fmla="*/ 195 h 479"/>
                <a:gd name="T96" fmla="*/ 467 w 671"/>
                <a:gd name="T97" fmla="*/ 186 h 479"/>
                <a:gd name="T98" fmla="*/ 497 w 671"/>
                <a:gd name="T99" fmla="*/ 168 h 479"/>
                <a:gd name="T100" fmla="*/ 473 w 671"/>
                <a:gd name="T101" fmla="*/ 160 h 479"/>
                <a:gd name="T102" fmla="*/ 445 w 671"/>
                <a:gd name="T103" fmla="*/ 141 h 479"/>
                <a:gd name="T104" fmla="*/ 408 w 671"/>
                <a:gd name="T105" fmla="*/ 132 h 479"/>
                <a:gd name="T106" fmla="*/ 384 w 671"/>
                <a:gd name="T107" fmla="*/ 107 h 479"/>
                <a:gd name="T108" fmla="*/ 359 w 671"/>
                <a:gd name="T109" fmla="*/ 95 h 479"/>
                <a:gd name="T110" fmla="*/ 342 w 671"/>
                <a:gd name="T111" fmla="*/ 77 h 479"/>
                <a:gd name="T112" fmla="*/ 270 w 671"/>
                <a:gd name="T113" fmla="*/ 63 h 479"/>
                <a:gd name="T114" fmla="*/ 278 w 671"/>
                <a:gd name="T115" fmla="*/ 83 h 479"/>
                <a:gd name="T116" fmla="*/ 241 w 671"/>
                <a:gd name="T117" fmla="*/ 72 h 479"/>
                <a:gd name="T118" fmla="*/ 219 w 671"/>
                <a:gd name="T119" fmla="*/ 76 h 479"/>
                <a:gd name="T120" fmla="*/ 181 w 671"/>
                <a:gd name="T121" fmla="*/ 6 h 479"/>
                <a:gd name="T122" fmla="*/ 118 w 671"/>
                <a:gd name="T123" fmla="*/ 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479">
                  <a:moveTo>
                    <a:pt x="378" y="384"/>
                  </a:moveTo>
                  <a:cubicBezTo>
                    <a:pt x="378" y="384"/>
                    <a:pt x="378" y="384"/>
                    <a:pt x="378" y="384"/>
                  </a:cubicBezTo>
                  <a:cubicBezTo>
                    <a:pt x="378" y="384"/>
                    <a:pt x="378" y="384"/>
                    <a:pt x="378" y="384"/>
                  </a:cubicBezTo>
                  <a:moveTo>
                    <a:pt x="191" y="173"/>
                  </a:moveTo>
                  <a:cubicBezTo>
                    <a:pt x="191" y="173"/>
                    <a:pt x="191" y="173"/>
                    <a:pt x="191" y="173"/>
                  </a:cubicBezTo>
                  <a:cubicBezTo>
                    <a:pt x="191" y="173"/>
                    <a:pt x="191" y="173"/>
                    <a:pt x="191" y="173"/>
                  </a:cubicBezTo>
                  <a:cubicBezTo>
                    <a:pt x="191" y="173"/>
                    <a:pt x="191" y="173"/>
                    <a:pt x="191" y="173"/>
                  </a:cubicBezTo>
                  <a:moveTo>
                    <a:pt x="649" y="315"/>
                  </a:moveTo>
                  <a:cubicBezTo>
                    <a:pt x="649" y="315"/>
                    <a:pt x="649" y="315"/>
                    <a:pt x="649" y="315"/>
                  </a:cubicBezTo>
                  <a:cubicBezTo>
                    <a:pt x="649" y="315"/>
                    <a:pt x="650" y="314"/>
                    <a:pt x="650" y="314"/>
                  </a:cubicBezTo>
                  <a:cubicBezTo>
                    <a:pt x="651" y="314"/>
                    <a:pt x="651" y="314"/>
                    <a:pt x="652" y="315"/>
                  </a:cubicBezTo>
                  <a:cubicBezTo>
                    <a:pt x="652" y="315"/>
                    <a:pt x="652" y="315"/>
                    <a:pt x="652" y="315"/>
                  </a:cubicBezTo>
                  <a:cubicBezTo>
                    <a:pt x="652" y="315"/>
                    <a:pt x="652" y="315"/>
                    <a:pt x="652" y="315"/>
                  </a:cubicBezTo>
                  <a:cubicBezTo>
                    <a:pt x="652" y="315"/>
                    <a:pt x="652" y="315"/>
                    <a:pt x="651" y="315"/>
                  </a:cubicBezTo>
                  <a:cubicBezTo>
                    <a:pt x="651" y="315"/>
                    <a:pt x="651" y="315"/>
                    <a:pt x="651" y="315"/>
                  </a:cubicBezTo>
                  <a:cubicBezTo>
                    <a:pt x="651" y="315"/>
                    <a:pt x="651" y="315"/>
                    <a:pt x="651" y="315"/>
                  </a:cubicBezTo>
                  <a:cubicBezTo>
                    <a:pt x="651" y="315"/>
                    <a:pt x="651" y="315"/>
                    <a:pt x="650" y="315"/>
                  </a:cubicBezTo>
                  <a:cubicBezTo>
                    <a:pt x="650" y="315"/>
                    <a:pt x="650" y="315"/>
                    <a:pt x="650" y="315"/>
                  </a:cubicBezTo>
                  <a:cubicBezTo>
                    <a:pt x="650" y="315"/>
                    <a:pt x="650" y="315"/>
                    <a:pt x="650" y="315"/>
                  </a:cubicBezTo>
                  <a:cubicBezTo>
                    <a:pt x="650" y="315"/>
                    <a:pt x="650" y="315"/>
                    <a:pt x="650" y="315"/>
                  </a:cubicBezTo>
                  <a:cubicBezTo>
                    <a:pt x="650" y="315"/>
                    <a:pt x="650" y="315"/>
                    <a:pt x="649" y="315"/>
                  </a:cubicBezTo>
                  <a:cubicBezTo>
                    <a:pt x="649" y="315"/>
                    <a:pt x="649" y="315"/>
                    <a:pt x="649" y="315"/>
                  </a:cubicBezTo>
                  <a:cubicBezTo>
                    <a:pt x="649" y="315"/>
                    <a:pt x="649" y="315"/>
                    <a:pt x="649" y="315"/>
                  </a:cubicBezTo>
                  <a:cubicBezTo>
                    <a:pt x="649" y="315"/>
                    <a:pt x="649" y="315"/>
                    <a:pt x="649" y="315"/>
                  </a:cubicBezTo>
                  <a:cubicBezTo>
                    <a:pt x="649" y="315"/>
                    <a:pt x="649" y="315"/>
                    <a:pt x="649" y="315"/>
                  </a:cubicBezTo>
                  <a:cubicBezTo>
                    <a:pt x="649" y="315"/>
                    <a:pt x="649" y="315"/>
                    <a:pt x="649" y="315"/>
                  </a:cubicBezTo>
                  <a:moveTo>
                    <a:pt x="571" y="314"/>
                  </a:moveTo>
                  <a:cubicBezTo>
                    <a:pt x="571" y="313"/>
                    <a:pt x="571" y="313"/>
                    <a:pt x="572" y="312"/>
                  </a:cubicBezTo>
                  <a:cubicBezTo>
                    <a:pt x="572" y="312"/>
                    <a:pt x="572" y="312"/>
                    <a:pt x="572" y="312"/>
                  </a:cubicBezTo>
                  <a:cubicBezTo>
                    <a:pt x="572" y="312"/>
                    <a:pt x="571" y="313"/>
                    <a:pt x="571" y="313"/>
                  </a:cubicBezTo>
                  <a:cubicBezTo>
                    <a:pt x="571" y="313"/>
                    <a:pt x="571" y="313"/>
                    <a:pt x="571" y="313"/>
                  </a:cubicBezTo>
                  <a:cubicBezTo>
                    <a:pt x="571" y="313"/>
                    <a:pt x="571" y="313"/>
                    <a:pt x="571" y="313"/>
                  </a:cubicBezTo>
                  <a:cubicBezTo>
                    <a:pt x="571" y="313"/>
                    <a:pt x="571" y="314"/>
                    <a:pt x="570" y="315"/>
                  </a:cubicBezTo>
                  <a:cubicBezTo>
                    <a:pt x="570" y="314"/>
                    <a:pt x="570" y="314"/>
                    <a:pt x="570" y="314"/>
                  </a:cubicBezTo>
                  <a:cubicBezTo>
                    <a:pt x="570" y="314"/>
                    <a:pt x="570" y="315"/>
                    <a:pt x="569" y="315"/>
                  </a:cubicBezTo>
                  <a:cubicBezTo>
                    <a:pt x="570" y="315"/>
                    <a:pt x="570" y="314"/>
                    <a:pt x="571" y="314"/>
                  </a:cubicBezTo>
                  <a:cubicBezTo>
                    <a:pt x="570" y="314"/>
                    <a:pt x="570" y="314"/>
                    <a:pt x="570" y="314"/>
                  </a:cubicBezTo>
                  <a:cubicBezTo>
                    <a:pt x="571" y="313"/>
                    <a:pt x="571" y="313"/>
                    <a:pt x="571" y="313"/>
                  </a:cubicBezTo>
                  <a:cubicBezTo>
                    <a:pt x="571" y="314"/>
                    <a:pt x="571" y="314"/>
                    <a:pt x="571" y="314"/>
                  </a:cubicBezTo>
                  <a:moveTo>
                    <a:pt x="85" y="126"/>
                  </a:moveTo>
                  <a:cubicBezTo>
                    <a:pt x="86" y="125"/>
                    <a:pt x="86" y="125"/>
                    <a:pt x="86" y="125"/>
                  </a:cubicBezTo>
                  <a:cubicBezTo>
                    <a:pt x="85" y="126"/>
                    <a:pt x="85" y="126"/>
                    <a:pt x="85" y="126"/>
                  </a:cubicBezTo>
                  <a:moveTo>
                    <a:pt x="119" y="120"/>
                  </a:moveTo>
                  <a:cubicBezTo>
                    <a:pt x="120" y="119"/>
                    <a:pt x="120" y="119"/>
                    <a:pt x="120" y="119"/>
                  </a:cubicBezTo>
                  <a:cubicBezTo>
                    <a:pt x="120" y="119"/>
                    <a:pt x="120" y="119"/>
                    <a:pt x="119" y="120"/>
                  </a:cubicBezTo>
                  <a:moveTo>
                    <a:pt x="110" y="116"/>
                  </a:moveTo>
                  <a:cubicBezTo>
                    <a:pt x="110" y="116"/>
                    <a:pt x="110" y="116"/>
                    <a:pt x="110" y="116"/>
                  </a:cubicBezTo>
                  <a:cubicBezTo>
                    <a:pt x="110" y="116"/>
                    <a:pt x="110" y="116"/>
                    <a:pt x="110" y="116"/>
                  </a:cubicBezTo>
                  <a:moveTo>
                    <a:pt x="119" y="65"/>
                  </a:moveTo>
                  <a:cubicBezTo>
                    <a:pt x="119" y="65"/>
                    <a:pt x="119" y="65"/>
                    <a:pt x="119" y="65"/>
                  </a:cubicBezTo>
                  <a:cubicBezTo>
                    <a:pt x="119" y="65"/>
                    <a:pt x="119" y="65"/>
                    <a:pt x="119" y="65"/>
                  </a:cubicBezTo>
                  <a:moveTo>
                    <a:pt x="89" y="0"/>
                  </a:moveTo>
                  <a:cubicBezTo>
                    <a:pt x="86" y="0"/>
                    <a:pt x="82" y="0"/>
                    <a:pt x="79" y="1"/>
                  </a:cubicBezTo>
                  <a:cubicBezTo>
                    <a:pt x="71" y="2"/>
                    <a:pt x="63" y="3"/>
                    <a:pt x="55" y="7"/>
                  </a:cubicBezTo>
                  <a:cubicBezTo>
                    <a:pt x="51" y="8"/>
                    <a:pt x="48" y="10"/>
                    <a:pt x="44" y="12"/>
                  </a:cubicBezTo>
                  <a:cubicBezTo>
                    <a:pt x="41" y="14"/>
                    <a:pt x="39" y="17"/>
                    <a:pt x="36" y="18"/>
                  </a:cubicBezTo>
                  <a:cubicBezTo>
                    <a:pt x="33" y="20"/>
                    <a:pt x="32" y="22"/>
                    <a:pt x="30" y="23"/>
                  </a:cubicBezTo>
                  <a:cubicBezTo>
                    <a:pt x="31" y="24"/>
                    <a:pt x="33" y="24"/>
                    <a:pt x="34" y="25"/>
                  </a:cubicBezTo>
                  <a:cubicBezTo>
                    <a:pt x="33" y="25"/>
                    <a:pt x="31" y="25"/>
                    <a:pt x="29" y="25"/>
                  </a:cubicBezTo>
                  <a:cubicBezTo>
                    <a:pt x="28" y="25"/>
                    <a:pt x="27" y="25"/>
                    <a:pt x="26" y="26"/>
                  </a:cubicBezTo>
                  <a:cubicBezTo>
                    <a:pt x="26" y="27"/>
                    <a:pt x="25" y="28"/>
                    <a:pt x="25" y="29"/>
                  </a:cubicBezTo>
                  <a:cubicBezTo>
                    <a:pt x="24" y="30"/>
                    <a:pt x="23" y="30"/>
                    <a:pt x="23" y="31"/>
                  </a:cubicBezTo>
                  <a:cubicBezTo>
                    <a:pt x="21" y="33"/>
                    <a:pt x="20" y="36"/>
                    <a:pt x="19" y="38"/>
                  </a:cubicBezTo>
                  <a:cubicBezTo>
                    <a:pt x="19" y="39"/>
                    <a:pt x="19" y="39"/>
                    <a:pt x="19" y="40"/>
                  </a:cubicBezTo>
                  <a:cubicBezTo>
                    <a:pt x="19" y="41"/>
                    <a:pt x="19" y="42"/>
                    <a:pt x="19" y="43"/>
                  </a:cubicBezTo>
                  <a:cubicBezTo>
                    <a:pt x="19" y="43"/>
                    <a:pt x="18" y="44"/>
                    <a:pt x="18" y="44"/>
                  </a:cubicBezTo>
                  <a:cubicBezTo>
                    <a:pt x="18" y="45"/>
                    <a:pt x="17" y="45"/>
                    <a:pt x="17" y="46"/>
                  </a:cubicBezTo>
                  <a:cubicBezTo>
                    <a:pt x="17" y="46"/>
                    <a:pt x="18" y="48"/>
                    <a:pt x="18" y="48"/>
                  </a:cubicBezTo>
                  <a:cubicBezTo>
                    <a:pt x="18" y="48"/>
                    <a:pt x="18" y="49"/>
                    <a:pt x="17" y="49"/>
                  </a:cubicBezTo>
                  <a:cubicBezTo>
                    <a:pt x="17" y="49"/>
                    <a:pt x="17" y="48"/>
                    <a:pt x="17" y="48"/>
                  </a:cubicBezTo>
                  <a:cubicBezTo>
                    <a:pt x="16" y="48"/>
                    <a:pt x="16" y="48"/>
                    <a:pt x="16" y="48"/>
                  </a:cubicBezTo>
                  <a:cubicBezTo>
                    <a:pt x="16" y="48"/>
                    <a:pt x="16" y="48"/>
                    <a:pt x="15" y="48"/>
                  </a:cubicBezTo>
                  <a:cubicBezTo>
                    <a:pt x="12" y="48"/>
                    <a:pt x="14" y="49"/>
                    <a:pt x="14" y="52"/>
                  </a:cubicBezTo>
                  <a:cubicBezTo>
                    <a:pt x="14" y="54"/>
                    <a:pt x="13" y="55"/>
                    <a:pt x="12" y="55"/>
                  </a:cubicBezTo>
                  <a:cubicBezTo>
                    <a:pt x="12" y="55"/>
                    <a:pt x="12" y="55"/>
                    <a:pt x="12" y="55"/>
                  </a:cubicBezTo>
                  <a:cubicBezTo>
                    <a:pt x="12" y="55"/>
                    <a:pt x="12" y="55"/>
                    <a:pt x="11" y="55"/>
                  </a:cubicBezTo>
                  <a:cubicBezTo>
                    <a:pt x="11" y="55"/>
                    <a:pt x="10" y="55"/>
                    <a:pt x="9" y="56"/>
                  </a:cubicBezTo>
                  <a:cubicBezTo>
                    <a:pt x="8" y="57"/>
                    <a:pt x="9" y="60"/>
                    <a:pt x="8" y="61"/>
                  </a:cubicBezTo>
                  <a:cubicBezTo>
                    <a:pt x="8" y="62"/>
                    <a:pt x="6" y="62"/>
                    <a:pt x="6" y="63"/>
                  </a:cubicBezTo>
                  <a:cubicBezTo>
                    <a:pt x="5" y="64"/>
                    <a:pt x="6" y="65"/>
                    <a:pt x="6" y="66"/>
                  </a:cubicBezTo>
                  <a:cubicBezTo>
                    <a:pt x="6" y="67"/>
                    <a:pt x="4" y="69"/>
                    <a:pt x="5" y="71"/>
                  </a:cubicBezTo>
                  <a:cubicBezTo>
                    <a:pt x="6" y="74"/>
                    <a:pt x="14" y="73"/>
                    <a:pt x="12" y="76"/>
                  </a:cubicBezTo>
                  <a:cubicBezTo>
                    <a:pt x="11" y="77"/>
                    <a:pt x="7" y="78"/>
                    <a:pt x="5" y="78"/>
                  </a:cubicBezTo>
                  <a:cubicBezTo>
                    <a:pt x="3" y="79"/>
                    <a:pt x="4" y="80"/>
                    <a:pt x="3" y="82"/>
                  </a:cubicBezTo>
                  <a:cubicBezTo>
                    <a:pt x="3" y="85"/>
                    <a:pt x="0" y="84"/>
                    <a:pt x="2" y="87"/>
                  </a:cubicBezTo>
                  <a:cubicBezTo>
                    <a:pt x="3" y="90"/>
                    <a:pt x="5" y="92"/>
                    <a:pt x="6" y="95"/>
                  </a:cubicBezTo>
                  <a:cubicBezTo>
                    <a:pt x="7" y="96"/>
                    <a:pt x="4" y="96"/>
                    <a:pt x="4" y="97"/>
                  </a:cubicBezTo>
                  <a:cubicBezTo>
                    <a:pt x="3" y="99"/>
                    <a:pt x="4" y="102"/>
                    <a:pt x="3" y="103"/>
                  </a:cubicBezTo>
                  <a:cubicBezTo>
                    <a:pt x="5" y="108"/>
                    <a:pt x="5" y="109"/>
                    <a:pt x="11" y="111"/>
                  </a:cubicBezTo>
                  <a:cubicBezTo>
                    <a:pt x="14" y="112"/>
                    <a:pt x="18" y="113"/>
                    <a:pt x="21" y="113"/>
                  </a:cubicBezTo>
                  <a:cubicBezTo>
                    <a:pt x="26" y="113"/>
                    <a:pt x="31" y="114"/>
                    <a:pt x="37" y="115"/>
                  </a:cubicBezTo>
                  <a:cubicBezTo>
                    <a:pt x="39" y="115"/>
                    <a:pt x="43" y="115"/>
                    <a:pt x="46" y="115"/>
                  </a:cubicBezTo>
                  <a:cubicBezTo>
                    <a:pt x="47" y="115"/>
                    <a:pt x="48" y="115"/>
                    <a:pt x="49" y="115"/>
                  </a:cubicBezTo>
                  <a:cubicBezTo>
                    <a:pt x="51" y="115"/>
                    <a:pt x="52" y="114"/>
                    <a:pt x="53" y="114"/>
                  </a:cubicBezTo>
                  <a:cubicBezTo>
                    <a:pt x="54" y="114"/>
                    <a:pt x="55" y="115"/>
                    <a:pt x="57" y="116"/>
                  </a:cubicBezTo>
                  <a:cubicBezTo>
                    <a:pt x="60" y="120"/>
                    <a:pt x="62" y="122"/>
                    <a:pt x="66" y="123"/>
                  </a:cubicBezTo>
                  <a:cubicBezTo>
                    <a:pt x="68" y="124"/>
                    <a:pt x="71" y="124"/>
                    <a:pt x="73" y="125"/>
                  </a:cubicBezTo>
                  <a:cubicBezTo>
                    <a:pt x="71" y="125"/>
                    <a:pt x="70" y="124"/>
                    <a:pt x="68" y="124"/>
                  </a:cubicBezTo>
                  <a:cubicBezTo>
                    <a:pt x="68" y="124"/>
                    <a:pt x="67" y="124"/>
                    <a:pt x="67" y="124"/>
                  </a:cubicBezTo>
                  <a:cubicBezTo>
                    <a:pt x="65" y="125"/>
                    <a:pt x="66" y="126"/>
                    <a:pt x="65" y="127"/>
                  </a:cubicBezTo>
                  <a:cubicBezTo>
                    <a:pt x="64" y="127"/>
                    <a:pt x="64" y="127"/>
                    <a:pt x="63" y="127"/>
                  </a:cubicBezTo>
                  <a:cubicBezTo>
                    <a:pt x="62" y="127"/>
                    <a:pt x="61" y="127"/>
                    <a:pt x="60" y="127"/>
                  </a:cubicBezTo>
                  <a:cubicBezTo>
                    <a:pt x="59" y="127"/>
                    <a:pt x="58" y="127"/>
                    <a:pt x="57" y="127"/>
                  </a:cubicBezTo>
                  <a:cubicBezTo>
                    <a:pt x="57" y="127"/>
                    <a:pt x="57" y="127"/>
                    <a:pt x="57" y="127"/>
                  </a:cubicBezTo>
                  <a:cubicBezTo>
                    <a:pt x="54" y="127"/>
                    <a:pt x="51" y="128"/>
                    <a:pt x="48" y="128"/>
                  </a:cubicBezTo>
                  <a:cubicBezTo>
                    <a:pt x="46" y="128"/>
                    <a:pt x="45" y="127"/>
                    <a:pt x="43" y="127"/>
                  </a:cubicBezTo>
                  <a:cubicBezTo>
                    <a:pt x="40" y="126"/>
                    <a:pt x="39" y="123"/>
                    <a:pt x="35" y="123"/>
                  </a:cubicBezTo>
                  <a:cubicBezTo>
                    <a:pt x="35" y="123"/>
                    <a:pt x="35" y="123"/>
                    <a:pt x="35" y="123"/>
                  </a:cubicBezTo>
                  <a:cubicBezTo>
                    <a:pt x="34" y="123"/>
                    <a:pt x="33" y="123"/>
                    <a:pt x="32" y="123"/>
                  </a:cubicBezTo>
                  <a:cubicBezTo>
                    <a:pt x="32" y="123"/>
                    <a:pt x="31" y="123"/>
                    <a:pt x="31" y="123"/>
                  </a:cubicBezTo>
                  <a:cubicBezTo>
                    <a:pt x="31" y="123"/>
                    <a:pt x="30" y="123"/>
                    <a:pt x="30" y="123"/>
                  </a:cubicBezTo>
                  <a:cubicBezTo>
                    <a:pt x="29" y="123"/>
                    <a:pt x="29" y="123"/>
                    <a:pt x="28" y="123"/>
                  </a:cubicBezTo>
                  <a:cubicBezTo>
                    <a:pt x="28" y="123"/>
                    <a:pt x="28" y="123"/>
                    <a:pt x="28" y="123"/>
                  </a:cubicBezTo>
                  <a:cubicBezTo>
                    <a:pt x="26" y="123"/>
                    <a:pt x="25" y="123"/>
                    <a:pt x="24" y="123"/>
                  </a:cubicBezTo>
                  <a:cubicBezTo>
                    <a:pt x="23" y="123"/>
                    <a:pt x="22" y="123"/>
                    <a:pt x="21" y="122"/>
                  </a:cubicBezTo>
                  <a:cubicBezTo>
                    <a:pt x="21" y="122"/>
                    <a:pt x="17" y="121"/>
                    <a:pt x="15" y="121"/>
                  </a:cubicBezTo>
                  <a:cubicBezTo>
                    <a:pt x="15" y="121"/>
                    <a:pt x="14" y="121"/>
                    <a:pt x="14" y="121"/>
                  </a:cubicBezTo>
                  <a:cubicBezTo>
                    <a:pt x="14" y="121"/>
                    <a:pt x="14" y="121"/>
                    <a:pt x="14" y="121"/>
                  </a:cubicBezTo>
                  <a:cubicBezTo>
                    <a:pt x="15" y="123"/>
                    <a:pt x="17" y="125"/>
                    <a:pt x="18" y="128"/>
                  </a:cubicBezTo>
                  <a:cubicBezTo>
                    <a:pt x="14" y="128"/>
                    <a:pt x="20" y="134"/>
                    <a:pt x="21" y="135"/>
                  </a:cubicBezTo>
                  <a:cubicBezTo>
                    <a:pt x="26" y="139"/>
                    <a:pt x="32" y="143"/>
                    <a:pt x="37" y="147"/>
                  </a:cubicBezTo>
                  <a:cubicBezTo>
                    <a:pt x="39" y="148"/>
                    <a:pt x="42" y="149"/>
                    <a:pt x="45" y="150"/>
                  </a:cubicBezTo>
                  <a:cubicBezTo>
                    <a:pt x="47" y="151"/>
                    <a:pt x="49" y="153"/>
                    <a:pt x="52" y="153"/>
                  </a:cubicBezTo>
                  <a:cubicBezTo>
                    <a:pt x="51" y="153"/>
                    <a:pt x="51" y="153"/>
                    <a:pt x="51" y="153"/>
                  </a:cubicBezTo>
                  <a:cubicBezTo>
                    <a:pt x="50" y="153"/>
                    <a:pt x="49" y="153"/>
                    <a:pt x="48" y="153"/>
                  </a:cubicBezTo>
                  <a:cubicBezTo>
                    <a:pt x="47" y="153"/>
                    <a:pt x="46" y="153"/>
                    <a:pt x="46" y="153"/>
                  </a:cubicBezTo>
                  <a:cubicBezTo>
                    <a:pt x="45" y="153"/>
                    <a:pt x="44" y="153"/>
                    <a:pt x="44" y="153"/>
                  </a:cubicBezTo>
                  <a:cubicBezTo>
                    <a:pt x="46" y="154"/>
                    <a:pt x="50" y="156"/>
                    <a:pt x="54" y="156"/>
                  </a:cubicBezTo>
                  <a:cubicBezTo>
                    <a:pt x="55" y="156"/>
                    <a:pt x="56" y="156"/>
                    <a:pt x="57" y="156"/>
                  </a:cubicBezTo>
                  <a:cubicBezTo>
                    <a:pt x="57" y="156"/>
                    <a:pt x="58" y="155"/>
                    <a:pt x="58" y="155"/>
                  </a:cubicBezTo>
                  <a:cubicBezTo>
                    <a:pt x="59" y="155"/>
                    <a:pt x="58" y="154"/>
                    <a:pt x="58" y="154"/>
                  </a:cubicBezTo>
                  <a:cubicBezTo>
                    <a:pt x="58" y="154"/>
                    <a:pt x="58" y="154"/>
                    <a:pt x="58" y="154"/>
                  </a:cubicBezTo>
                  <a:cubicBezTo>
                    <a:pt x="59" y="153"/>
                    <a:pt x="59" y="153"/>
                    <a:pt x="60" y="153"/>
                  </a:cubicBezTo>
                  <a:cubicBezTo>
                    <a:pt x="61" y="153"/>
                    <a:pt x="62" y="153"/>
                    <a:pt x="63" y="154"/>
                  </a:cubicBezTo>
                  <a:cubicBezTo>
                    <a:pt x="65" y="154"/>
                    <a:pt x="69" y="155"/>
                    <a:pt x="72" y="155"/>
                  </a:cubicBezTo>
                  <a:cubicBezTo>
                    <a:pt x="72" y="155"/>
                    <a:pt x="72" y="155"/>
                    <a:pt x="73" y="155"/>
                  </a:cubicBezTo>
                  <a:cubicBezTo>
                    <a:pt x="77" y="153"/>
                    <a:pt x="70" y="151"/>
                    <a:pt x="68" y="151"/>
                  </a:cubicBezTo>
                  <a:cubicBezTo>
                    <a:pt x="69" y="149"/>
                    <a:pt x="71" y="147"/>
                    <a:pt x="73" y="147"/>
                  </a:cubicBezTo>
                  <a:cubicBezTo>
                    <a:pt x="74" y="147"/>
                    <a:pt x="75" y="148"/>
                    <a:pt x="75" y="148"/>
                  </a:cubicBezTo>
                  <a:cubicBezTo>
                    <a:pt x="81" y="151"/>
                    <a:pt x="76" y="150"/>
                    <a:pt x="76" y="152"/>
                  </a:cubicBezTo>
                  <a:cubicBezTo>
                    <a:pt x="75" y="153"/>
                    <a:pt x="78" y="153"/>
                    <a:pt x="80" y="153"/>
                  </a:cubicBezTo>
                  <a:cubicBezTo>
                    <a:pt x="81" y="153"/>
                    <a:pt x="81" y="153"/>
                    <a:pt x="81" y="153"/>
                  </a:cubicBezTo>
                  <a:cubicBezTo>
                    <a:pt x="81" y="151"/>
                    <a:pt x="81" y="151"/>
                    <a:pt x="81" y="151"/>
                  </a:cubicBezTo>
                  <a:cubicBezTo>
                    <a:pt x="81" y="151"/>
                    <a:pt x="82" y="149"/>
                    <a:pt x="83" y="149"/>
                  </a:cubicBezTo>
                  <a:cubicBezTo>
                    <a:pt x="84" y="148"/>
                    <a:pt x="90" y="148"/>
                    <a:pt x="88" y="145"/>
                  </a:cubicBezTo>
                  <a:cubicBezTo>
                    <a:pt x="91" y="146"/>
                    <a:pt x="83" y="150"/>
                    <a:pt x="83" y="152"/>
                  </a:cubicBezTo>
                  <a:cubicBezTo>
                    <a:pt x="82" y="158"/>
                    <a:pt x="90" y="162"/>
                    <a:pt x="94" y="164"/>
                  </a:cubicBezTo>
                  <a:cubicBezTo>
                    <a:pt x="97" y="165"/>
                    <a:pt x="100" y="167"/>
                    <a:pt x="103" y="167"/>
                  </a:cubicBezTo>
                  <a:cubicBezTo>
                    <a:pt x="104" y="167"/>
                    <a:pt x="104" y="167"/>
                    <a:pt x="104" y="167"/>
                  </a:cubicBezTo>
                  <a:cubicBezTo>
                    <a:pt x="104" y="167"/>
                    <a:pt x="105" y="167"/>
                    <a:pt x="105" y="167"/>
                  </a:cubicBezTo>
                  <a:cubicBezTo>
                    <a:pt x="107" y="167"/>
                    <a:pt x="108" y="167"/>
                    <a:pt x="109" y="167"/>
                  </a:cubicBezTo>
                  <a:cubicBezTo>
                    <a:pt x="111" y="167"/>
                    <a:pt x="112" y="167"/>
                    <a:pt x="114" y="167"/>
                  </a:cubicBezTo>
                  <a:cubicBezTo>
                    <a:pt x="114" y="167"/>
                    <a:pt x="114" y="167"/>
                    <a:pt x="114" y="167"/>
                  </a:cubicBezTo>
                  <a:cubicBezTo>
                    <a:pt x="111" y="165"/>
                    <a:pt x="108" y="164"/>
                    <a:pt x="104" y="164"/>
                  </a:cubicBezTo>
                  <a:cubicBezTo>
                    <a:pt x="103" y="164"/>
                    <a:pt x="102" y="164"/>
                    <a:pt x="100" y="165"/>
                  </a:cubicBezTo>
                  <a:cubicBezTo>
                    <a:pt x="101" y="163"/>
                    <a:pt x="104" y="162"/>
                    <a:pt x="107" y="162"/>
                  </a:cubicBezTo>
                  <a:cubicBezTo>
                    <a:pt x="112" y="162"/>
                    <a:pt x="117" y="163"/>
                    <a:pt x="119" y="164"/>
                  </a:cubicBezTo>
                  <a:cubicBezTo>
                    <a:pt x="119" y="163"/>
                    <a:pt x="119" y="163"/>
                    <a:pt x="119" y="163"/>
                  </a:cubicBezTo>
                  <a:cubicBezTo>
                    <a:pt x="120" y="163"/>
                    <a:pt x="120" y="164"/>
                    <a:pt x="120" y="164"/>
                  </a:cubicBezTo>
                  <a:cubicBezTo>
                    <a:pt x="120" y="164"/>
                    <a:pt x="120" y="164"/>
                    <a:pt x="120" y="164"/>
                  </a:cubicBezTo>
                  <a:cubicBezTo>
                    <a:pt x="121" y="164"/>
                    <a:pt x="122" y="163"/>
                    <a:pt x="123" y="162"/>
                  </a:cubicBezTo>
                  <a:cubicBezTo>
                    <a:pt x="123" y="162"/>
                    <a:pt x="123" y="162"/>
                    <a:pt x="123" y="162"/>
                  </a:cubicBezTo>
                  <a:cubicBezTo>
                    <a:pt x="126" y="162"/>
                    <a:pt x="127" y="165"/>
                    <a:pt x="129" y="166"/>
                  </a:cubicBezTo>
                  <a:cubicBezTo>
                    <a:pt x="130" y="167"/>
                    <a:pt x="133" y="167"/>
                    <a:pt x="135" y="167"/>
                  </a:cubicBezTo>
                  <a:cubicBezTo>
                    <a:pt x="136" y="168"/>
                    <a:pt x="136" y="168"/>
                    <a:pt x="137" y="168"/>
                  </a:cubicBezTo>
                  <a:cubicBezTo>
                    <a:pt x="138" y="168"/>
                    <a:pt x="138" y="168"/>
                    <a:pt x="139" y="168"/>
                  </a:cubicBezTo>
                  <a:cubicBezTo>
                    <a:pt x="139" y="167"/>
                    <a:pt x="140" y="167"/>
                    <a:pt x="140" y="167"/>
                  </a:cubicBezTo>
                  <a:cubicBezTo>
                    <a:pt x="141" y="167"/>
                    <a:pt x="142" y="168"/>
                    <a:pt x="143" y="168"/>
                  </a:cubicBezTo>
                  <a:cubicBezTo>
                    <a:pt x="145" y="168"/>
                    <a:pt x="147" y="169"/>
                    <a:pt x="150" y="169"/>
                  </a:cubicBezTo>
                  <a:cubicBezTo>
                    <a:pt x="150" y="169"/>
                    <a:pt x="150" y="169"/>
                    <a:pt x="150" y="169"/>
                  </a:cubicBezTo>
                  <a:cubicBezTo>
                    <a:pt x="155" y="169"/>
                    <a:pt x="158" y="166"/>
                    <a:pt x="162" y="166"/>
                  </a:cubicBezTo>
                  <a:cubicBezTo>
                    <a:pt x="162" y="166"/>
                    <a:pt x="162" y="166"/>
                    <a:pt x="162" y="166"/>
                  </a:cubicBezTo>
                  <a:cubicBezTo>
                    <a:pt x="164" y="166"/>
                    <a:pt x="166" y="167"/>
                    <a:pt x="168" y="168"/>
                  </a:cubicBezTo>
                  <a:cubicBezTo>
                    <a:pt x="169" y="169"/>
                    <a:pt x="170" y="170"/>
                    <a:pt x="171" y="170"/>
                  </a:cubicBezTo>
                  <a:cubicBezTo>
                    <a:pt x="171" y="170"/>
                    <a:pt x="172" y="170"/>
                    <a:pt x="172" y="170"/>
                  </a:cubicBezTo>
                  <a:cubicBezTo>
                    <a:pt x="172" y="170"/>
                    <a:pt x="172" y="170"/>
                    <a:pt x="172" y="170"/>
                  </a:cubicBezTo>
                  <a:cubicBezTo>
                    <a:pt x="172" y="170"/>
                    <a:pt x="172" y="170"/>
                    <a:pt x="172" y="170"/>
                  </a:cubicBezTo>
                  <a:cubicBezTo>
                    <a:pt x="172" y="170"/>
                    <a:pt x="173" y="170"/>
                    <a:pt x="173" y="170"/>
                  </a:cubicBezTo>
                  <a:cubicBezTo>
                    <a:pt x="175" y="171"/>
                    <a:pt x="177" y="173"/>
                    <a:pt x="179" y="173"/>
                  </a:cubicBezTo>
                  <a:cubicBezTo>
                    <a:pt x="182" y="173"/>
                    <a:pt x="184" y="173"/>
                    <a:pt x="186" y="175"/>
                  </a:cubicBezTo>
                  <a:cubicBezTo>
                    <a:pt x="186" y="174"/>
                    <a:pt x="187" y="173"/>
                    <a:pt x="188" y="172"/>
                  </a:cubicBezTo>
                  <a:cubicBezTo>
                    <a:pt x="188" y="172"/>
                    <a:pt x="188" y="172"/>
                    <a:pt x="189" y="172"/>
                  </a:cubicBezTo>
                  <a:cubicBezTo>
                    <a:pt x="189" y="172"/>
                    <a:pt x="189" y="172"/>
                    <a:pt x="190" y="172"/>
                  </a:cubicBezTo>
                  <a:cubicBezTo>
                    <a:pt x="190" y="173"/>
                    <a:pt x="190" y="173"/>
                    <a:pt x="191" y="173"/>
                  </a:cubicBezTo>
                  <a:cubicBezTo>
                    <a:pt x="191" y="173"/>
                    <a:pt x="191" y="173"/>
                    <a:pt x="191" y="173"/>
                  </a:cubicBezTo>
                  <a:cubicBezTo>
                    <a:pt x="191" y="173"/>
                    <a:pt x="192" y="172"/>
                    <a:pt x="193" y="172"/>
                  </a:cubicBezTo>
                  <a:cubicBezTo>
                    <a:pt x="193" y="172"/>
                    <a:pt x="194" y="172"/>
                    <a:pt x="194" y="172"/>
                  </a:cubicBezTo>
                  <a:cubicBezTo>
                    <a:pt x="194" y="172"/>
                    <a:pt x="194" y="172"/>
                    <a:pt x="194" y="172"/>
                  </a:cubicBezTo>
                  <a:cubicBezTo>
                    <a:pt x="195" y="171"/>
                    <a:pt x="195" y="171"/>
                    <a:pt x="195" y="171"/>
                  </a:cubicBezTo>
                  <a:cubicBezTo>
                    <a:pt x="195" y="171"/>
                    <a:pt x="195" y="171"/>
                    <a:pt x="195" y="171"/>
                  </a:cubicBezTo>
                  <a:cubicBezTo>
                    <a:pt x="195" y="171"/>
                    <a:pt x="195" y="171"/>
                    <a:pt x="195" y="171"/>
                  </a:cubicBezTo>
                  <a:cubicBezTo>
                    <a:pt x="194" y="171"/>
                    <a:pt x="194" y="171"/>
                    <a:pt x="195" y="171"/>
                  </a:cubicBezTo>
                  <a:cubicBezTo>
                    <a:pt x="195" y="170"/>
                    <a:pt x="195" y="170"/>
                    <a:pt x="196" y="169"/>
                  </a:cubicBezTo>
                  <a:cubicBezTo>
                    <a:pt x="194" y="168"/>
                    <a:pt x="192" y="168"/>
                    <a:pt x="191" y="167"/>
                  </a:cubicBezTo>
                  <a:cubicBezTo>
                    <a:pt x="190" y="167"/>
                    <a:pt x="189" y="166"/>
                    <a:pt x="188" y="165"/>
                  </a:cubicBezTo>
                  <a:cubicBezTo>
                    <a:pt x="186" y="163"/>
                    <a:pt x="183" y="162"/>
                    <a:pt x="180" y="161"/>
                  </a:cubicBezTo>
                  <a:cubicBezTo>
                    <a:pt x="178" y="160"/>
                    <a:pt x="175" y="159"/>
                    <a:pt x="172" y="158"/>
                  </a:cubicBezTo>
                  <a:cubicBezTo>
                    <a:pt x="170" y="157"/>
                    <a:pt x="168" y="156"/>
                    <a:pt x="165" y="154"/>
                  </a:cubicBezTo>
                  <a:cubicBezTo>
                    <a:pt x="171" y="156"/>
                    <a:pt x="176" y="159"/>
                    <a:pt x="182" y="160"/>
                  </a:cubicBezTo>
                  <a:cubicBezTo>
                    <a:pt x="186" y="162"/>
                    <a:pt x="189" y="165"/>
                    <a:pt x="194" y="167"/>
                  </a:cubicBezTo>
                  <a:cubicBezTo>
                    <a:pt x="196" y="168"/>
                    <a:pt x="198" y="168"/>
                    <a:pt x="201" y="169"/>
                  </a:cubicBezTo>
                  <a:cubicBezTo>
                    <a:pt x="203" y="171"/>
                    <a:pt x="206" y="172"/>
                    <a:pt x="208" y="174"/>
                  </a:cubicBezTo>
                  <a:cubicBezTo>
                    <a:pt x="210" y="175"/>
                    <a:pt x="212" y="178"/>
                    <a:pt x="215" y="178"/>
                  </a:cubicBezTo>
                  <a:cubicBezTo>
                    <a:pt x="215" y="178"/>
                    <a:pt x="215" y="178"/>
                    <a:pt x="215" y="178"/>
                  </a:cubicBezTo>
                  <a:cubicBezTo>
                    <a:pt x="220" y="177"/>
                    <a:pt x="215" y="173"/>
                    <a:pt x="213" y="172"/>
                  </a:cubicBezTo>
                  <a:cubicBezTo>
                    <a:pt x="211" y="170"/>
                    <a:pt x="209" y="168"/>
                    <a:pt x="207" y="167"/>
                  </a:cubicBezTo>
                  <a:cubicBezTo>
                    <a:pt x="206" y="166"/>
                    <a:pt x="206" y="166"/>
                    <a:pt x="205" y="166"/>
                  </a:cubicBezTo>
                  <a:cubicBezTo>
                    <a:pt x="205" y="166"/>
                    <a:pt x="204" y="166"/>
                    <a:pt x="204" y="166"/>
                  </a:cubicBezTo>
                  <a:cubicBezTo>
                    <a:pt x="204" y="166"/>
                    <a:pt x="203" y="167"/>
                    <a:pt x="202" y="167"/>
                  </a:cubicBezTo>
                  <a:cubicBezTo>
                    <a:pt x="202" y="167"/>
                    <a:pt x="202" y="167"/>
                    <a:pt x="202" y="167"/>
                  </a:cubicBezTo>
                  <a:cubicBezTo>
                    <a:pt x="202" y="167"/>
                    <a:pt x="200" y="165"/>
                    <a:pt x="200" y="164"/>
                  </a:cubicBezTo>
                  <a:cubicBezTo>
                    <a:pt x="198" y="164"/>
                    <a:pt x="197" y="164"/>
                    <a:pt x="196" y="163"/>
                  </a:cubicBezTo>
                  <a:cubicBezTo>
                    <a:pt x="194" y="162"/>
                    <a:pt x="195" y="162"/>
                    <a:pt x="196" y="162"/>
                  </a:cubicBezTo>
                  <a:cubicBezTo>
                    <a:pt x="198" y="162"/>
                    <a:pt x="202" y="163"/>
                    <a:pt x="202" y="163"/>
                  </a:cubicBezTo>
                  <a:cubicBezTo>
                    <a:pt x="203" y="163"/>
                    <a:pt x="203" y="163"/>
                    <a:pt x="204" y="163"/>
                  </a:cubicBezTo>
                  <a:cubicBezTo>
                    <a:pt x="204" y="163"/>
                    <a:pt x="205" y="163"/>
                    <a:pt x="206" y="163"/>
                  </a:cubicBezTo>
                  <a:cubicBezTo>
                    <a:pt x="206" y="163"/>
                    <a:pt x="207" y="163"/>
                    <a:pt x="208" y="163"/>
                  </a:cubicBezTo>
                  <a:cubicBezTo>
                    <a:pt x="209" y="163"/>
                    <a:pt x="209" y="163"/>
                    <a:pt x="210" y="163"/>
                  </a:cubicBezTo>
                  <a:cubicBezTo>
                    <a:pt x="213" y="163"/>
                    <a:pt x="215" y="164"/>
                    <a:pt x="218" y="164"/>
                  </a:cubicBezTo>
                  <a:cubicBezTo>
                    <a:pt x="221" y="165"/>
                    <a:pt x="223" y="165"/>
                    <a:pt x="225" y="166"/>
                  </a:cubicBezTo>
                  <a:cubicBezTo>
                    <a:pt x="226" y="167"/>
                    <a:pt x="227" y="167"/>
                    <a:pt x="227" y="167"/>
                  </a:cubicBezTo>
                  <a:cubicBezTo>
                    <a:pt x="228" y="167"/>
                    <a:pt x="229" y="166"/>
                    <a:pt x="230" y="166"/>
                  </a:cubicBezTo>
                  <a:cubicBezTo>
                    <a:pt x="230" y="166"/>
                    <a:pt x="230" y="166"/>
                    <a:pt x="231" y="166"/>
                  </a:cubicBezTo>
                  <a:cubicBezTo>
                    <a:pt x="233" y="166"/>
                    <a:pt x="235" y="167"/>
                    <a:pt x="237" y="168"/>
                  </a:cubicBezTo>
                  <a:cubicBezTo>
                    <a:pt x="237" y="168"/>
                    <a:pt x="237" y="168"/>
                    <a:pt x="237" y="168"/>
                  </a:cubicBezTo>
                  <a:cubicBezTo>
                    <a:pt x="238" y="168"/>
                    <a:pt x="238" y="168"/>
                    <a:pt x="238" y="168"/>
                  </a:cubicBezTo>
                  <a:cubicBezTo>
                    <a:pt x="238" y="168"/>
                    <a:pt x="238" y="168"/>
                    <a:pt x="238" y="168"/>
                  </a:cubicBezTo>
                  <a:cubicBezTo>
                    <a:pt x="238" y="168"/>
                    <a:pt x="239" y="168"/>
                    <a:pt x="240" y="169"/>
                  </a:cubicBezTo>
                  <a:cubicBezTo>
                    <a:pt x="241" y="171"/>
                    <a:pt x="242" y="173"/>
                    <a:pt x="243" y="173"/>
                  </a:cubicBezTo>
                  <a:cubicBezTo>
                    <a:pt x="243" y="173"/>
                    <a:pt x="244" y="173"/>
                    <a:pt x="244" y="173"/>
                  </a:cubicBezTo>
                  <a:cubicBezTo>
                    <a:pt x="246" y="173"/>
                    <a:pt x="248" y="171"/>
                    <a:pt x="250" y="171"/>
                  </a:cubicBezTo>
                  <a:cubicBezTo>
                    <a:pt x="251" y="171"/>
                    <a:pt x="251" y="171"/>
                    <a:pt x="251" y="171"/>
                  </a:cubicBezTo>
                  <a:cubicBezTo>
                    <a:pt x="252" y="171"/>
                    <a:pt x="253" y="171"/>
                    <a:pt x="254" y="171"/>
                  </a:cubicBezTo>
                  <a:cubicBezTo>
                    <a:pt x="255" y="171"/>
                    <a:pt x="256" y="172"/>
                    <a:pt x="257" y="172"/>
                  </a:cubicBezTo>
                  <a:cubicBezTo>
                    <a:pt x="257" y="172"/>
                    <a:pt x="258" y="172"/>
                    <a:pt x="258" y="172"/>
                  </a:cubicBezTo>
                  <a:cubicBezTo>
                    <a:pt x="262" y="171"/>
                    <a:pt x="267" y="172"/>
                    <a:pt x="266" y="167"/>
                  </a:cubicBezTo>
                  <a:cubicBezTo>
                    <a:pt x="266" y="163"/>
                    <a:pt x="263" y="156"/>
                    <a:pt x="260" y="153"/>
                  </a:cubicBezTo>
                  <a:cubicBezTo>
                    <a:pt x="259" y="153"/>
                    <a:pt x="258" y="153"/>
                    <a:pt x="258" y="153"/>
                  </a:cubicBezTo>
                  <a:cubicBezTo>
                    <a:pt x="257" y="153"/>
                    <a:pt x="257" y="153"/>
                    <a:pt x="257" y="153"/>
                  </a:cubicBezTo>
                  <a:cubicBezTo>
                    <a:pt x="256" y="153"/>
                    <a:pt x="256" y="154"/>
                    <a:pt x="255" y="154"/>
                  </a:cubicBezTo>
                  <a:cubicBezTo>
                    <a:pt x="255" y="154"/>
                    <a:pt x="254" y="154"/>
                    <a:pt x="254" y="154"/>
                  </a:cubicBezTo>
                  <a:cubicBezTo>
                    <a:pt x="253" y="153"/>
                    <a:pt x="252" y="152"/>
                    <a:pt x="251" y="152"/>
                  </a:cubicBezTo>
                  <a:cubicBezTo>
                    <a:pt x="251" y="152"/>
                    <a:pt x="251" y="152"/>
                    <a:pt x="251" y="152"/>
                  </a:cubicBezTo>
                  <a:cubicBezTo>
                    <a:pt x="250" y="152"/>
                    <a:pt x="250" y="152"/>
                    <a:pt x="249" y="152"/>
                  </a:cubicBezTo>
                  <a:cubicBezTo>
                    <a:pt x="249" y="152"/>
                    <a:pt x="249" y="152"/>
                    <a:pt x="249" y="152"/>
                  </a:cubicBezTo>
                  <a:cubicBezTo>
                    <a:pt x="249" y="152"/>
                    <a:pt x="248" y="152"/>
                    <a:pt x="248" y="152"/>
                  </a:cubicBezTo>
                  <a:cubicBezTo>
                    <a:pt x="246" y="151"/>
                    <a:pt x="246" y="151"/>
                    <a:pt x="246" y="151"/>
                  </a:cubicBezTo>
                  <a:cubicBezTo>
                    <a:pt x="245" y="148"/>
                    <a:pt x="248" y="149"/>
                    <a:pt x="249" y="148"/>
                  </a:cubicBezTo>
                  <a:cubicBezTo>
                    <a:pt x="250" y="148"/>
                    <a:pt x="250" y="146"/>
                    <a:pt x="252" y="146"/>
                  </a:cubicBezTo>
                  <a:cubicBezTo>
                    <a:pt x="252" y="146"/>
                    <a:pt x="252" y="146"/>
                    <a:pt x="252" y="146"/>
                  </a:cubicBezTo>
                  <a:cubicBezTo>
                    <a:pt x="252" y="148"/>
                    <a:pt x="253" y="149"/>
                    <a:pt x="254" y="149"/>
                  </a:cubicBezTo>
                  <a:cubicBezTo>
                    <a:pt x="255" y="149"/>
                    <a:pt x="255" y="148"/>
                    <a:pt x="255" y="147"/>
                  </a:cubicBezTo>
                  <a:cubicBezTo>
                    <a:pt x="255" y="144"/>
                    <a:pt x="258" y="143"/>
                    <a:pt x="259" y="141"/>
                  </a:cubicBezTo>
                  <a:cubicBezTo>
                    <a:pt x="258" y="141"/>
                    <a:pt x="258" y="141"/>
                    <a:pt x="258" y="141"/>
                  </a:cubicBezTo>
                  <a:cubicBezTo>
                    <a:pt x="257" y="141"/>
                    <a:pt x="257" y="141"/>
                    <a:pt x="257" y="141"/>
                  </a:cubicBezTo>
                  <a:cubicBezTo>
                    <a:pt x="257" y="141"/>
                    <a:pt x="256" y="141"/>
                    <a:pt x="256" y="141"/>
                  </a:cubicBezTo>
                  <a:cubicBezTo>
                    <a:pt x="256" y="141"/>
                    <a:pt x="255" y="141"/>
                    <a:pt x="255" y="141"/>
                  </a:cubicBezTo>
                  <a:cubicBezTo>
                    <a:pt x="256" y="139"/>
                    <a:pt x="257" y="139"/>
                    <a:pt x="257" y="139"/>
                  </a:cubicBezTo>
                  <a:cubicBezTo>
                    <a:pt x="258" y="139"/>
                    <a:pt x="259" y="140"/>
                    <a:pt x="261" y="140"/>
                  </a:cubicBezTo>
                  <a:cubicBezTo>
                    <a:pt x="261" y="141"/>
                    <a:pt x="261" y="141"/>
                    <a:pt x="261" y="141"/>
                  </a:cubicBezTo>
                  <a:cubicBezTo>
                    <a:pt x="261" y="141"/>
                    <a:pt x="261" y="141"/>
                    <a:pt x="262" y="140"/>
                  </a:cubicBezTo>
                  <a:cubicBezTo>
                    <a:pt x="262" y="140"/>
                    <a:pt x="262" y="140"/>
                    <a:pt x="262" y="140"/>
                  </a:cubicBezTo>
                  <a:cubicBezTo>
                    <a:pt x="262" y="140"/>
                    <a:pt x="262" y="140"/>
                    <a:pt x="262" y="140"/>
                  </a:cubicBezTo>
                  <a:cubicBezTo>
                    <a:pt x="263" y="141"/>
                    <a:pt x="264" y="142"/>
                    <a:pt x="265" y="143"/>
                  </a:cubicBezTo>
                  <a:cubicBezTo>
                    <a:pt x="263" y="142"/>
                    <a:pt x="263" y="142"/>
                    <a:pt x="262" y="142"/>
                  </a:cubicBezTo>
                  <a:cubicBezTo>
                    <a:pt x="261" y="142"/>
                    <a:pt x="260" y="143"/>
                    <a:pt x="259" y="143"/>
                  </a:cubicBezTo>
                  <a:cubicBezTo>
                    <a:pt x="260" y="143"/>
                    <a:pt x="260" y="144"/>
                    <a:pt x="261" y="144"/>
                  </a:cubicBezTo>
                  <a:cubicBezTo>
                    <a:pt x="260" y="144"/>
                    <a:pt x="256" y="143"/>
                    <a:pt x="257" y="146"/>
                  </a:cubicBezTo>
                  <a:cubicBezTo>
                    <a:pt x="258" y="147"/>
                    <a:pt x="261" y="149"/>
                    <a:pt x="262" y="150"/>
                  </a:cubicBezTo>
                  <a:cubicBezTo>
                    <a:pt x="262" y="149"/>
                    <a:pt x="262" y="148"/>
                    <a:pt x="262" y="147"/>
                  </a:cubicBezTo>
                  <a:cubicBezTo>
                    <a:pt x="262" y="149"/>
                    <a:pt x="264" y="148"/>
                    <a:pt x="265" y="149"/>
                  </a:cubicBezTo>
                  <a:cubicBezTo>
                    <a:pt x="267" y="152"/>
                    <a:pt x="267" y="152"/>
                    <a:pt x="267" y="152"/>
                  </a:cubicBezTo>
                  <a:cubicBezTo>
                    <a:pt x="267" y="153"/>
                    <a:pt x="268" y="153"/>
                    <a:pt x="268" y="153"/>
                  </a:cubicBezTo>
                  <a:cubicBezTo>
                    <a:pt x="269" y="153"/>
                    <a:pt x="269" y="152"/>
                    <a:pt x="270" y="152"/>
                  </a:cubicBezTo>
                  <a:cubicBezTo>
                    <a:pt x="270" y="152"/>
                    <a:pt x="270" y="152"/>
                    <a:pt x="271" y="152"/>
                  </a:cubicBezTo>
                  <a:cubicBezTo>
                    <a:pt x="273" y="152"/>
                    <a:pt x="272" y="153"/>
                    <a:pt x="270" y="154"/>
                  </a:cubicBezTo>
                  <a:cubicBezTo>
                    <a:pt x="270" y="155"/>
                    <a:pt x="272" y="156"/>
                    <a:pt x="272" y="157"/>
                  </a:cubicBezTo>
                  <a:cubicBezTo>
                    <a:pt x="274" y="158"/>
                    <a:pt x="273" y="157"/>
                    <a:pt x="275" y="158"/>
                  </a:cubicBezTo>
                  <a:cubicBezTo>
                    <a:pt x="276" y="157"/>
                    <a:pt x="276" y="157"/>
                    <a:pt x="276" y="157"/>
                  </a:cubicBezTo>
                  <a:cubicBezTo>
                    <a:pt x="277" y="157"/>
                    <a:pt x="277" y="159"/>
                    <a:pt x="278" y="159"/>
                  </a:cubicBezTo>
                  <a:cubicBezTo>
                    <a:pt x="278" y="159"/>
                    <a:pt x="278" y="159"/>
                    <a:pt x="278" y="159"/>
                  </a:cubicBezTo>
                  <a:cubicBezTo>
                    <a:pt x="279" y="158"/>
                    <a:pt x="279" y="157"/>
                    <a:pt x="278" y="156"/>
                  </a:cubicBezTo>
                  <a:cubicBezTo>
                    <a:pt x="279" y="157"/>
                    <a:pt x="280" y="157"/>
                    <a:pt x="281" y="157"/>
                  </a:cubicBezTo>
                  <a:cubicBezTo>
                    <a:pt x="282" y="157"/>
                    <a:pt x="282" y="157"/>
                    <a:pt x="283" y="157"/>
                  </a:cubicBezTo>
                  <a:cubicBezTo>
                    <a:pt x="284" y="156"/>
                    <a:pt x="284" y="156"/>
                    <a:pt x="285" y="156"/>
                  </a:cubicBezTo>
                  <a:cubicBezTo>
                    <a:pt x="286" y="156"/>
                    <a:pt x="287" y="157"/>
                    <a:pt x="288" y="158"/>
                  </a:cubicBezTo>
                  <a:cubicBezTo>
                    <a:pt x="291" y="162"/>
                    <a:pt x="290" y="169"/>
                    <a:pt x="290" y="174"/>
                  </a:cubicBezTo>
                  <a:cubicBezTo>
                    <a:pt x="291" y="176"/>
                    <a:pt x="291" y="177"/>
                    <a:pt x="291" y="177"/>
                  </a:cubicBezTo>
                  <a:cubicBezTo>
                    <a:pt x="292" y="177"/>
                    <a:pt x="292" y="177"/>
                    <a:pt x="292" y="176"/>
                  </a:cubicBezTo>
                  <a:cubicBezTo>
                    <a:pt x="293" y="176"/>
                    <a:pt x="293" y="175"/>
                    <a:pt x="294" y="175"/>
                  </a:cubicBezTo>
                  <a:cubicBezTo>
                    <a:pt x="294" y="175"/>
                    <a:pt x="294" y="175"/>
                    <a:pt x="294" y="175"/>
                  </a:cubicBezTo>
                  <a:cubicBezTo>
                    <a:pt x="294" y="175"/>
                    <a:pt x="292" y="174"/>
                    <a:pt x="291" y="174"/>
                  </a:cubicBezTo>
                  <a:cubicBezTo>
                    <a:pt x="291" y="174"/>
                    <a:pt x="291" y="174"/>
                    <a:pt x="291" y="174"/>
                  </a:cubicBezTo>
                  <a:cubicBezTo>
                    <a:pt x="295" y="172"/>
                    <a:pt x="300" y="171"/>
                    <a:pt x="305" y="169"/>
                  </a:cubicBezTo>
                  <a:cubicBezTo>
                    <a:pt x="304" y="171"/>
                    <a:pt x="301" y="170"/>
                    <a:pt x="300" y="171"/>
                  </a:cubicBezTo>
                  <a:cubicBezTo>
                    <a:pt x="298" y="173"/>
                    <a:pt x="299" y="174"/>
                    <a:pt x="301" y="174"/>
                  </a:cubicBezTo>
                  <a:cubicBezTo>
                    <a:pt x="301" y="174"/>
                    <a:pt x="301" y="174"/>
                    <a:pt x="302" y="174"/>
                  </a:cubicBezTo>
                  <a:cubicBezTo>
                    <a:pt x="302" y="174"/>
                    <a:pt x="303" y="173"/>
                    <a:pt x="304" y="173"/>
                  </a:cubicBezTo>
                  <a:cubicBezTo>
                    <a:pt x="304" y="173"/>
                    <a:pt x="304" y="173"/>
                    <a:pt x="304" y="173"/>
                  </a:cubicBezTo>
                  <a:cubicBezTo>
                    <a:pt x="306" y="173"/>
                    <a:pt x="305" y="174"/>
                    <a:pt x="306" y="174"/>
                  </a:cubicBezTo>
                  <a:cubicBezTo>
                    <a:pt x="306" y="174"/>
                    <a:pt x="306" y="174"/>
                    <a:pt x="307" y="174"/>
                  </a:cubicBezTo>
                  <a:cubicBezTo>
                    <a:pt x="308" y="174"/>
                    <a:pt x="309" y="174"/>
                    <a:pt x="309" y="174"/>
                  </a:cubicBezTo>
                  <a:cubicBezTo>
                    <a:pt x="306" y="176"/>
                    <a:pt x="310" y="176"/>
                    <a:pt x="310" y="177"/>
                  </a:cubicBezTo>
                  <a:cubicBezTo>
                    <a:pt x="309" y="179"/>
                    <a:pt x="308" y="179"/>
                    <a:pt x="307" y="179"/>
                  </a:cubicBezTo>
                  <a:cubicBezTo>
                    <a:pt x="307" y="179"/>
                    <a:pt x="307" y="179"/>
                    <a:pt x="306" y="179"/>
                  </a:cubicBezTo>
                  <a:cubicBezTo>
                    <a:pt x="306" y="179"/>
                    <a:pt x="306" y="179"/>
                    <a:pt x="305" y="179"/>
                  </a:cubicBezTo>
                  <a:cubicBezTo>
                    <a:pt x="305" y="179"/>
                    <a:pt x="305" y="179"/>
                    <a:pt x="305" y="179"/>
                  </a:cubicBezTo>
                  <a:cubicBezTo>
                    <a:pt x="301" y="179"/>
                    <a:pt x="299" y="181"/>
                    <a:pt x="304" y="182"/>
                  </a:cubicBezTo>
                  <a:cubicBezTo>
                    <a:pt x="304" y="182"/>
                    <a:pt x="305" y="183"/>
                    <a:pt x="305" y="183"/>
                  </a:cubicBezTo>
                  <a:cubicBezTo>
                    <a:pt x="305" y="183"/>
                    <a:pt x="306" y="183"/>
                    <a:pt x="306" y="183"/>
                  </a:cubicBezTo>
                  <a:cubicBezTo>
                    <a:pt x="306" y="183"/>
                    <a:pt x="306" y="183"/>
                    <a:pt x="307" y="183"/>
                  </a:cubicBezTo>
                  <a:cubicBezTo>
                    <a:pt x="307" y="183"/>
                    <a:pt x="307" y="182"/>
                    <a:pt x="307" y="182"/>
                  </a:cubicBezTo>
                  <a:cubicBezTo>
                    <a:pt x="307" y="182"/>
                    <a:pt x="307" y="182"/>
                    <a:pt x="307" y="182"/>
                  </a:cubicBezTo>
                  <a:cubicBezTo>
                    <a:pt x="309" y="183"/>
                    <a:pt x="308" y="183"/>
                    <a:pt x="309" y="184"/>
                  </a:cubicBezTo>
                  <a:cubicBezTo>
                    <a:pt x="310" y="184"/>
                    <a:pt x="310" y="185"/>
                    <a:pt x="311" y="185"/>
                  </a:cubicBezTo>
                  <a:cubicBezTo>
                    <a:pt x="311" y="185"/>
                    <a:pt x="312" y="185"/>
                    <a:pt x="312" y="185"/>
                  </a:cubicBezTo>
                  <a:cubicBezTo>
                    <a:pt x="313" y="185"/>
                    <a:pt x="314" y="183"/>
                    <a:pt x="314" y="182"/>
                  </a:cubicBezTo>
                  <a:cubicBezTo>
                    <a:pt x="315" y="182"/>
                    <a:pt x="318" y="180"/>
                    <a:pt x="314" y="180"/>
                  </a:cubicBezTo>
                  <a:cubicBezTo>
                    <a:pt x="315" y="179"/>
                    <a:pt x="315" y="179"/>
                    <a:pt x="316" y="179"/>
                  </a:cubicBezTo>
                  <a:cubicBezTo>
                    <a:pt x="317" y="179"/>
                    <a:pt x="318" y="179"/>
                    <a:pt x="319" y="180"/>
                  </a:cubicBezTo>
                  <a:cubicBezTo>
                    <a:pt x="321" y="180"/>
                    <a:pt x="322" y="181"/>
                    <a:pt x="323" y="181"/>
                  </a:cubicBezTo>
                  <a:cubicBezTo>
                    <a:pt x="323" y="181"/>
                    <a:pt x="323" y="181"/>
                    <a:pt x="323" y="180"/>
                  </a:cubicBezTo>
                  <a:cubicBezTo>
                    <a:pt x="323" y="181"/>
                    <a:pt x="322" y="181"/>
                    <a:pt x="321" y="181"/>
                  </a:cubicBezTo>
                  <a:cubicBezTo>
                    <a:pt x="321" y="181"/>
                    <a:pt x="321" y="181"/>
                    <a:pt x="321" y="181"/>
                  </a:cubicBezTo>
                  <a:cubicBezTo>
                    <a:pt x="320" y="181"/>
                    <a:pt x="320" y="181"/>
                    <a:pt x="320" y="181"/>
                  </a:cubicBezTo>
                  <a:cubicBezTo>
                    <a:pt x="320" y="181"/>
                    <a:pt x="319" y="181"/>
                    <a:pt x="319" y="181"/>
                  </a:cubicBezTo>
                  <a:cubicBezTo>
                    <a:pt x="317" y="182"/>
                    <a:pt x="317" y="181"/>
                    <a:pt x="316" y="183"/>
                  </a:cubicBezTo>
                  <a:cubicBezTo>
                    <a:pt x="312" y="185"/>
                    <a:pt x="315" y="186"/>
                    <a:pt x="317" y="188"/>
                  </a:cubicBezTo>
                  <a:cubicBezTo>
                    <a:pt x="319" y="190"/>
                    <a:pt x="319" y="191"/>
                    <a:pt x="320" y="191"/>
                  </a:cubicBezTo>
                  <a:cubicBezTo>
                    <a:pt x="321" y="191"/>
                    <a:pt x="321" y="191"/>
                    <a:pt x="322" y="191"/>
                  </a:cubicBezTo>
                  <a:cubicBezTo>
                    <a:pt x="322" y="191"/>
                    <a:pt x="323" y="191"/>
                    <a:pt x="323" y="191"/>
                  </a:cubicBezTo>
                  <a:cubicBezTo>
                    <a:pt x="325" y="191"/>
                    <a:pt x="327" y="192"/>
                    <a:pt x="329" y="193"/>
                  </a:cubicBezTo>
                  <a:cubicBezTo>
                    <a:pt x="331" y="193"/>
                    <a:pt x="334" y="195"/>
                    <a:pt x="335" y="196"/>
                  </a:cubicBezTo>
                  <a:cubicBezTo>
                    <a:pt x="337" y="198"/>
                    <a:pt x="338" y="198"/>
                    <a:pt x="336" y="200"/>
                  </a:cubicBezTo>
                  <a:cubicBezTo>
                    <a:pt x="334" y="202"/>
                    <a:pt x="333" y="204"/>
                    <a:pt x="331" y="206"/>
                  </a:cubicBezTo>
                  <a:cubicBezTo>
                    <a:pt x="330" y="207"/>
                    <a:pt x="329" y="207"/>
                    <a:pt x="328" y="207"/>
                  </a:cubicBezTo>
                  <a:cubicBezTo>
                    <a:pt x="326" y="207"/>
                    <a:pt x="325" y="207"/>
                    <a:pt x="323" y="206"/>
                  </a:cubicBezTo>
                  <a:cubicBezTo>
                    <a:pt x="322" y="206"/>
                    <a:pt x="320" y="206"/>
                    <a:pt x="319" y="206"/>
                  </a:cubicBezTo>
                  <a:cubicBezTo>
                    <a:pt x="318" y="206"/>
                    <a:pt x="318" y="206"/>
                    <a:pt x="317" y="206"/>
                  </a:cubicBezTo>
                  <a:cubicBezTo>
                    <a:pt x="316" y="206"/>
                    <a:pt x="313" y="206"/>
                    <a:pt x="314" y="208"/>
                  </a:cubicBezTo>
                  <a:cubicBezTo>
                    <a:pt x="315" y="213"/>
                    <a:pt x="317" y="212"/>
                    <a:pt x="314" y="216"/>
                  </a:cubicBezTo>
                  <a:cubicBezTo>
                    <a:pt x="311" y="219"/>
                    <a:pt x="313" y="220"/>
                    <a:pt x="316" y="220"/>
                  </a:cubicBezTo>
                  <a:cubicBezTo>
                    <a:pt x="318" y="220"/>
                    <a:pt x="322" y="220"/>
                    <a:pt x="323" y="219"/>
                  </a:cubicBezTo>
                  <a:cubicBezTo>
                    <a:pt x="326" y="218"/>
                    <a:pt x="329" y="216"/>
                    <a:pt x="332" y="214"/>
                  </a:cubicBezTo>
                  <a:cubicBezTo>
                    <a:pt x="334" y="214"/>
                    <a:pt x="336" y="213"/>
                    <a:pt x="338" y="212"/>
                  </a:cubicBezTo>
                  <a:cubicBezTo>
                    <a:pt x="340" y="211"/>
                    <a:pt x="340" y="209"/>
                    <a:pt x="341" y="207"/>
                  </a:cubicBezTo>
                  <a:cubicBezTo>
                    <a:pt x="343" y="209"/>
                    <a:pt x="345" y="212"/>
                    <a:pt x="348" y="212"/>
                  </a:cubicBezTo>
                  <a:cubicBezTo>
                    <a:pt x="348" y="212"/>
                    <a:pt x="349" y="211"/>
                    <a:pt x="350" y="210"/>
                  </a:cubicBezTo>
                  <a:cubicBezTo>
                    <a:pt x="351" y="208"/>
                    <a:pt x="351" y="207"/>
                    <a:pt x="353" y="206"/>
                  </a:cubicBezTo>
                  <a:cubicBezTo>
                    <a:pt x="354" y="205"/>
                    <a:pt x="354" y="205"/>
                    <a:pt x="355" y="205"/>
                  </a:cubicBezTo>
                  <a:cubicBezTo>
                    <a:pt x="356" y="205"/>
                    <a:pt x="357" y="205"/>
                    <a:pt x="359" y="206"/>
                  </a:cubicBezTo>
                  <a:cubicBezTo>
                    <a:pt x="357" y="207"/>
                    <a:pt x="353" y="207"/>
                    <a:pt x="351" y="209"/>
                  </a:cubicBezTo>
                  <a:cubicBezTo>
                    <a:pt x="352" y="209"/>
                    <a:pt x="352" y="209"/>
                    <a:pt x="352" y="209"/>
                  </a:cubicBezTo>
                  <a:cubicBezTo>
                    <a:pt x="353" y="209"/>
                    <a:pt x="354" y="209"/>
                    <a:pt x="355" y="209"/>
                  </a:cubicBezTo>
                  <a:cubicBezTo>
                    <a:pt x="354" y="209"/>
                    <a:pt x="353" y="210"/>
                    <a:pt x="352" y="210"/>
                  </a:cubicBezTo>
                  <a:cubicBezTo>
                    <a:pt x="353" y="210"/>
                    <a:pt x="353" y="210"/>
                    <a:pt x="354" y="210"/>
                  </a:cubicBezTo>
                  <a:cubicBezTo>
                    <a:pt x="354" y="210"/>
                    <a:pt x="355" y="210"/>
                    <a:pt x="355" y="210"/>
                  </a:cubicBezTo>
                  <a:cubicBezTo>
                    <a:pt x="354" y="211"/>
                    <a:pt x="352" y="211"/>
                    <a:pt x="351" y="211"/>
                  </a:cubicBezTo>
                  <a:cubicBezTo>
                    <a:pt x="351" y="211"/>
                    <a:pt x="351" y="211"/>
                    <a:pt x="351" y="211"/>
                  </a:cubicBezTo>
                  <a:cubicBezTo>
                    <a:pt x="352" y="211"/>
                    <a:pt x="353" y="211"/>
                    <a:pt x="354" y="211"/>
                  </a:cubicBezTo>
                  <a:cubicBezTo>
                    <a:pt x="355" y="211"/>
                    <a:pt x="357" y="210"/>
                    <a:pt x="358" y="210"/>
                  </a:cubicBezTo>
                  <a:cubicBezTo>
                    <a:pt x="358" y="210"/>
                    <a:pt x="359" y="210"/>
                    <a:pt x="359" y="211"/>
                  </a:cubicBezTo>
                  <a:cubicBezTo>
                    <a:pt x="361" y="213"/>
                    <a:pt x="354" y="215"/>
                    <a:pt x="352" y="215"/>
                  </a:cubicBezTo>
                  <a:cubicBezTo>
                    <a:pt x="353" y="216"/>
                    <a:pt x="356" y="217"/>
                    <a:pt x="358" y="217"/>
                  </a:cubicBezTo>
                  <a:cubicBezTo>
                    <a:pt x="359" y="217"/>
                    <a:pt x="360" y="216"/>
                    <a:pt x="359" y="215"/>
                  </a:cubicBezTo>
                  <a:cubicBezTo>
                    <a:pt x="360" y="215"/>
                    <a:pt x="360" y="214"/>
                    <a:pt x="361" y="214"/>
                  </a:cubicBezTo>
                  <a:cubicBezTo>
                    <a:pt x="362" y="214"/>
                    <a:pt x="362" y="215"/>
                    <a:pt x="361" y="217"/>
                  </a:cubicBezTo>
                  <a:cubicBezTo>
                    <a:pt x="361" y="218"/>
                    <a:pt x="360" y="219"/>
                    <a:pt x="360" y="220"/>
                  </a:cubicBezTo>
                  <a:cubicBezTo>
                    <a:pt x="360" y="221"/>
                    <a:pt x="362" y="221"/>
                    <a:pt x="362" y="221"/>
                  </a:cubicBezTo>
                  <a:cubicBezTo>
                    <a:pt x="363" y="223"/>
                    <a:pt x="363" y="224"/>
                    <a:pt x="365" y="225"/>
                  </a:cubicBezTo>
                  <a:cubicBezTo>
                    <a:pt x="367" y="226"/>
                    <a:pt x="369" y="227"/>
                    <a:pt x="371" y="227"/>
                  </a:cubicBezTo>
                  <a:cubicBezTo>
                    <a:pt x="372" y="227"/>
                    <a:pt x="373" y="227"/>
                    <a:pt x="375" y="227"/>
                  </a:cubicBezTo>
                  <a:cubicBezTo>
                    <a:pt x="376" y="227"/>
                    <a:pt x="377" y="227"/>
                    <a:pt x="377" y="227"/>
                  </a:cubicBezTo>
                  <a:cubicBezTo>
                    <a:pt x="379" y="223"/>
                    <a:pt x="367" y="219"/>
                    <a:pt x="373" y="219"/>
                  </a:cubicBezTo>
                  <a:cubicBezTo>
                    <a:pt x="373" y="219"/>
                    <a:pt x="374" y="219"/>
                    <a:pt x="375" y="219"/>
                  </a:cubicBezTo>
                  <a:cubicBezTo>
                    <a:pt x="379" y="219"/>
                    <a:pt x="381" y="220"/>
                    <a:pt x="380" y="225"/>
                  </a:cubicBezTo>
                  <a:cubicBezTo>
                    <a:pt x="380" y="228"/>
                    <a:pt x="376" y="233"/>
                    <a:pt x="380" y="235"/>
                  </a:cubicBezTo>
                  <a:cubicBezTo>
                    <a:pt x="382" y="236"/>
                    <a:pt x="385" y="235"/>
                    <a:pt x="384" y="238"/>
                  </a:cubicBezTo>
                  <a:cubicBezTo>
                    <a:pt x="386" y="236"/>
                    <a:pt x="388" y="235"/>
                    <a:pt x="390" y="234"/>
                  </a:cubicBezTo>
                  <a:cubicBezTo>
                    <a:pt x="390" y="233"/>
                    <a:pt x="391" y="232"/>
                    <a:pt x="391" y="232"/>
                  </a:cubicBezTo>
                  <a:cubicBezTo>
                    <a:pt x="392" y="232"/>
                    <a:pt x="392" y="232"/>
                    <a:pt x="392" y="232"/>
                  </a:cubicBezTo>
                  <a:cubicBezTo>
                    <a:pt x="394" y="233"/>
                    <a:pt x="393" y="237"/>
                    <a:pt x="393" y="238"/>
                  </a:cubicBezTo>
                  <a:cubicBezTo>
                    <a:pt x="394" y="239"/>
                    <a:pt x="395" y="240"/>
                    <a:pt x="396" y="240"/>
                  </a:cubicBezTo>
                  <a:cubicBezTo>
                    <a:pt x="396" y="240"/>
                    <a:pt x="396" y="240"/>
                    <a:pt x="396" y="240"/>
                  </a:cubicBezTo>
                  <a:cubicBezTo>
                    <a:pt x="396" y="240"/>
                    <a:pt x="397" y="239"/>
                    <a:pt x="397" y="239"/>
                  </a:cubicBezTo>
                  <a:cubicBezTo>
                    <a:pt x="397" y="239"/>
                    <a:pt x="397" y="238"/>
                    <a:pt x="398" y="238"/>
                  </a:cubicBezTo>
                  <a:cubicBezTo>
                    <a:pt x="398" y="238"/>
                    <a:pt x="398" y="238"/>
                    <a:pt x="398" y="238"/>
                  </a:cubicBezTo>
                  <a:cubicBezTo>
                    <a:pt x="399" y="239"/>
                    <a:pt x="398" y="242"/>
                    <a:pt x="399" y="243"/>
                  </a:cubicBezTo>
                  <a:cubicBezTo>
                    <a:pt x="399" y="245"/>
                    <a:pt x="401" y="248"/>
                    <a:pt x="399" y="251"/>
                  </a:cubicBezTo>
                  <a:cubicBezTo>
                    <a:pt x="400" y="251"/>
                    <a:pt x="400" y="251"/>
                    <a:pt x="400" y="251"/>
                  </a:cubicBezTo>
                  <a:cubicBezTo>
                    <a:pt x="401" y="251"/>
                    <a:pt x="400" y="253"/>
                    <a:pt x="402" y="254"/>
                  </a:cubicBezTo>
                  <a:cubicBezTo>
                    <a:pt x="402" y="254"/>
                    <a:pt x="402" y="254"/>
                    <a:pt x="402" y="254"/>
                  </a:cubicBezTo>
                  <a:cubicBezTo>
                    <a:pt x="402" y="254"/>
                    <a:pt x="402" y="254"/>
                    <a:pt x="403" y="254"/>
                  </a:cubicBezTo>
                  <a:cubicBezTo>
                    <a:pt x="403" y="254"/>
                    <a:pt x="403" y="254"/>
                    <a:pt x="404" y="254"/>
                  </a:cubicBezTo>
                  <a:cubicBezTo>
                    <a:pt x="404" y="254"/>
                    <a:pt x="404" y="254"/>
                    <a:pt x="404" y="254"/>
                  </a:cubicBezTo>
                  <a:cubicBezTo>
                    <a:pt x="405" y="255"/>
                    <a:pt x="405" y="255"/>
                    <a:pt x="405" y="255"/>
                  </a:cubicBezTo>
                  <a:cubicBezTo>
                    <a:pt x="408" y="258"/>
                    <a:pt x="407" y="257"/>
                    <a:pt x="406" y="260"/>
                  </a:cubicBezTo>
                  <a:cubicBezTo>
                    <a:pt x="405" y="262"/>
                    <a:pt x="409" y="262"/>
                    <a:pt x="410" y="263"/>
                  </a:cubicBezTo>
                  <a:cubicBezTo>
                    <a:pt x="410" y="263"/>
                    <a:pt x="411" y="266"/>
                    <a:pt x="411" y="267"/>
                  </a:cubicBezTo>
                  <a:cubicBezTo>
                    <a:pt x="411" y="268"/>
                    <a:pt x="411" y="269"/>
                    <a:pt x="411" y="270"/>
                  </a:cubicBezTo>
                  <a:cubicBezTo>
                    <a:pt x="411" y="270"/>
                    <a:pt x="412" y="271"/>
                    <a:pt x="412" y="272"/>
                  </a:cubicBezTo>
                  <a:cubicBezTo>
                    <a:pt x="413" y="274"/>
                    <a:pt x="412" y="274"/>
                    <a:pt x="414" y="276"/>
                  </a:cubicBezTo>
                  <a:cubicBezTo>
                    <a:pt x="414" y="276"/>
                    <a:pt x="416" y="276"/>
                    <a:pt x="416" y="277"/>
                  </a:cubicBezTo>
                  <a:cubicBezTo>
                    <a:pt x="415" y="280"/>
                    <a:pt x="415" y="280"/>
                    <a:pt x="415" y="280"/>
                  </a:cubicBezTo>
                  <a:cubicBezTo>
                    <a:pt x="411" y="287"/>
                    <a:pt x="403" y="291"/>
                    <a:pt x="398" y="297"/>
                  </a:cubicBezTo>
                  <a:cubicBezTo>
                    <a:pt x="404" y="299"/>
                    <a:pt x="408" y="298"/>
                    <a:pt x="413" y="299"/>
                  </a:cubicBezTo>
                  <a:cubicBezTo>
                    <a:pt x="418" y="299"/>
                    <a:pt x="423" y="300"/>
                    <a:pt x="428" y="301"/>
                  </a:cubicBezTo>
                  <a:cubicBezTo>
                    <a:pt x="429" y="301"/>
                    <a:pt x="431" y="303"/>
                    <a:pt x="433" y="303"/>
                  </a:cubicBezTo>
                  <a:cubicBezTo>
                    <a:pt x="434" y="303"/>
                    <a:pt x="434" y="303"/>
                    <a:pt x="434" y="302"/>
                  </a:cubicBezTo>
                  <a:cubicBezTo>
                    <a:pt x="437" y="301"/>
                    <a:pt x="437" y="297"/>
                    <a:pt x="438" y="295"/>
                  </a:cubicBezTo>
                  <a:cubicBezTo>
                    <a:pt x="439" y="294"/>
                    <a:pt x="439" y="294"/>
                    <a:pt x="440" y="292"/>
                  </a:cubicBezTo>
                  <a:cubicBezTo>
                    <a:pt x="441" y="289"/>
                    <a:pt x="440" y="289"/>
                    <a:pt x="439" y="286"/>
                  </a:cubicBezTo>
                  <a:cubicBezTo>
                    <a:pt x="441" y="286"/>
                    <a:pt x="441" y="286"/>
                    <a:pt x="443" y="286"/>
                  </a:cubicBezTo>
                  <a:cubicBezTo>
                    <a:pt x="444" y="287"/>
                    <a:pt x="445" y="287"/>
                    <a:pt x="447" y="288"/>
                  </a:cubicBezTo>
                  <a:cubicBezTo>
                    <a:pt x="447" y="288"/>
                    <a:pt x="448" y="288"/>
                    <a:pt x="448" y="288"/>
                  </a:cubicBezTo>
                  <a:cubicBezTo>
                    <a:pt x="452" y="288"/>
                    <a:pt x="451" y="289"/>
                    <a:pt x="453" y="292"/>
                  </a:cubicBezTo>
                  <a:cubicBezTo>
                    <a:pt x="453" y="292"/>
                    <a:pt x="452" y="293"/>
                    <a:pt x="452" y="293"/>
                  </a:cubicBezTo>
                  <a:cubicBezTo>
                    <a:pt x="452" y="293"/>
                    <a:pt x="452" y="293"/>
                    <a:pt x="453" y="293"/>
                  </a:cubicBezTo>
                  <a:cubicBezTo>
                    <a:pt x="453" y="293"/>
                    <a:pt x="453" y="293"/>
                    <a:pt x="454" y="293"/>
                  </a:cubicBezTo>
                  <a:cubicBezTo>
                    <a:pt x="454" y="294"/>
                    <a:pt x="453" y="294"/>
                    <a:pt x="453" y="295"/>
                  </a:cubicBezTo>
                  <a:cubicBezTo>
                    <a:pt x="454" y="295"/>
                    <a:pt x="454" y="295"/>
                    <a:pt x="455" y="296"/>
                  </a:cubicBezTo>
                  <a:cubicBezTo>
                    <a:pt x="456" y="297"/>
                    <a:pt x="458" y="298"/>
                    <a:pt x="461" y="298"/>
                  </a:cubicBezTo>
                  <a:cubicBezTo>
                    <a:pt x="461" y="298"/>
                    <a:pt x="461" y="298"/>
                    <a:pt x="461" y="298"/>
                  </a:cubicBezTo>
                  <a:cubicBezTo>
                    <a:pt x="464" y="299"/>
                    <a:pt x="468" y="299"/>
                    <a:pt x="471" y="301"/>
                  </a:cubicBezTo>
                  <a:cubicBezTo>
                    <a:pt x="474" y="302"/>
                    <a:pt x="475" y="303"/>
                    <a:pt x="477" y="303"/>
                  </a:cubicBezTo>
                  <a:cubicBezTo>
                    <a:pt x="478" y="303"/>
                    <a:pt x="480" y="304"/>
                    <a:pt x="481" y="304"/>
                  </a:cubicBezTo>
                  <a:cubicBezTo>
                    <a:pt x="481" y="304"/>
                    <a:pt x="481" y="305"/>
                    <a:pt x="482" y="305"/>
                  </a:cubicBezTo>
                  <a:cubicBezTo>
                    <a:pt x="482" y="305"/>
                    <a:pt x="483" y="304"/>
                    <a:pt x="483" y="304"/>
                  </a:cubicBezTo>
                  <a:cubicBezTo>
                    <a:pt x="483" y="304"/>
                    <a:pt x="483" y="304"/>
                    <a:pt x="483" y="304"/>
                  </a:cubicBezTo>
                  <a:cubicBezTo>
                    <a:pt x="483" y="304"/>
                    <a:pt x="483" y="304"/>
                    <a:pt x="483" y="304"/>
                  </a:cubicBezTo>
                  <a:cubicBezTo>
                    <a:pt x="483" y="304"/>
                    <a:pt x="484" y="304"/>
                    <a:pt x="484" y="304"/>
                  </a:cubicBezTo>
                  <a:cubicBezTo>
                    <a:pt x="484" y="304"/>
                    <a:pt x="484" y="304"/>
                    <a:pt x="484" y="304"/>
                  </a:cubicBezTo>
                  <a:cubicBezTo>
                    <a:pt x="484" y="304"/>
                    <a:pt x="485" y="304"/>
                    <a:pt x="485" y="304"/>
                  </a:cubicBezTo>
                  <a:cubicBezTo>
                    <a:pt x="486" y="305"/>
                    <a:pt x="482" y="308"/>
                    <a:pt x="482" y="309"/>
                  </a:cubicBezTo>
                  <a:cubicBezTo>
                    <a:pt x="482" y="309"/>
                    <a:pt x="482" y="309"/>
                    <a:pt x="482" y="309"/>
                  </a:cubicBezTo>
                  <a:cubicBezTo>
                    <a:pt x="483" y="309"/>
                    <a:pt x="483" y="309"/>
                    <a:pt x="484" y="309"/>
                  </a:cubicBezTo>
                  <a:cubicBezTo>
                    <a:pt x="484" y="309"/>
                    <a:pt x="485" y="309"/>
                    <a:pt x="486" y="309"/>
                  </a:cubicBezTo>
                  <a:cubicBezTo>
                    <a:pt x="487" y="309"/>
                    <a:pt x="488" y="309"/>
                    <a:pt x="487" y="311"/>
                  </a:cubicBezTo>
                  <a:cubicBezTo>
                    <a:pt x="481" y="314"/>
                    <a:pt x="481" y="314"/>
                    <a:pt x="481" y="314"/>
                  </a:cubicBezTo>
                  <a:cubicBezTo>
                    <a:pt x="479" y="315"/>
                    <a:pt x="480" y="315"/>
                    <a:pt x="479" y="316"/>
                  </a:cubicBezTo>
                  <a:cubicBezTo>
                    <a:pt x="479" y="317"/>
                    <a:pt x="479" y="317"/>
                    <a:pt x="478" y="318"/>
                  </a:cubicBezTo>
                  <a:cubicBezTo>
                    <a:pt x="479" y="318"/>
                    <a:pt x="479" y="318"/>
                    <a:pt x="479" y="318"/>
                  </a:cubicBezTo>
                  <a:cubicBezTo>
                    <a:pt x="478" y="318"/>
                    <a:pt x="478" y="319"/>
                    <a:pt x="477" y="319"/>
                  </a:cubicBezTo>
                  <a:cubicBezTo>
                    <a:pt x="475" y="319"/>
                    <a:pt x="472" y="316"/>
                    <a:pt x="470" y="316"/>
                  </a:cubicBezTo>
                  <a:cubicBezTo>
                    <a:pt x="470" y="316"/>
                    <a:pt x="469" y="316"/>
                    <a:pt x="469" y="316"/>
                  </a:cubicBezTo>
                  <a:cubicBezTo>
                    <a:pt x="467" y="316"/>
                    <a:pt x="466" y="316"/>
                    <a:pt x="464" y="317"/>
                  </a:cubicBezTo>
                  <a:cubicBezTo>
                    <a:pt x="462" y="317"/>
                    <a:pt x="461" y="318"/>
                    <a:pt x="459" y="318"/>
                  </a:cubicBezTo>
                  <a:cubicBezTo>
                    <a:pt x="459" y="318"/>
                    <a:pt x="459" y="318"/>
                    <a:pt x="459" y="318"/>
                  </a:cubicBezTo>
                  <a:cubicBezTo>
                    <a:pt x="456" y="318"/>
                    <a:pt x="458" y="318"/>
                    <a:pt x="456" y="316"/>
                  </a:cubicBezTo>
                  <a:cubicBezTo>
                    <a:pt x="456" y="316"/>
                    <a:pt x="456" y="316"/>
                    <a:pt x="456" y="316"/>
                  </a:cubicBezTo>
                  <a:cubicBezTo>
                    <a:pt x="456" y="316"/>
                    <a:pt x="456" y="316"/>
                    <a:pt x="455" y="315"/>
                  </a:cubicBezTo>
                  <a:cubicBezTo>
                    <a:pt x="455" y="315"/>
                    <a:pt x="454" y="315"/>
                    <a:pt x="454" y="315"/>
                  </a:cubicBezTo>
                  <a:cubicBezTo>
                    <a:pt x="454" y="315"/>
                    <a:pt x="454" y="315"/>
                    <a:pt x="454" y="315"/>
                  </a:cubicBezTo>
                  <a:cubicBezTo>
                    <a:pt x="453" y="313"/>
                    <a:pt x="453" y="313"/>
                    <a:pt x="453" y="313"/>
                  </a:cubicBezTo>
                  <a:cubicBezTo>
                    <a:pt x="453" y="315"/>
                    <a:pt x="452" y="316"/>
                    <a:pt x="452" y="317"/>
                  </a:cubicBezTo>
                  <a:cubicBezTo>
                    <a:pt x="452" y="318"/>
                    <a:pt x="451" y="318"/>
                    <a:pt x="450" y="319"/>
                  </a:cubicBezTo>
                  <a:cubicBezTo>
                    <a:pt x="449" y="320"/>
                    <a:pt x="447" y="321"/>
                    <a:pt x="446" y="322"/>
                  </a:cubicBezTo>
                  <a:cubicBezTo>
                    <a:pt x="444" y="324"/>
                    <a:pt x="442" y="326"/>
                    <a:pt x="440" y="328"/>
                  </a:cubicBezTo>
                  <a:cubicBezTo>
                    <a:pt x="440" y="327"/>
                    <a:pt x="443" y="323"/>
                    <a:pt x="442" y="323"/>
                  </a:cubicBezTo>
                  <a:cubicBezTo>
                    <a:pt x="442" y="323"/>
                    <a:pt x="442" y="323"/>
                    <a:pt x="442" y="323"/>
                  </a:cubicBezTo>
                  <a:cubicBezTo>
                    <a:pt x="441" y="323"/>
                    <a:pt x="441" y="323"/>
                    <a:pt x="440" y="323"/>
                  </a:cubicBezTo>
                  <a:cubicBezTo>
                    <a:pt x="440" y="323"/>
                    <a:pt x="439" y="323"/>
                    <a:pt x="439" y="323"/>
                  </a:cubicBezTo>
                  <a:cubicBezTo>
                    <a:pt x="439" y="323"/>
                    <a:pt x="438" y="323"/>
                    <a:pt x="438" y="323"/>
                  </a:cubicBezTo>
                  <a:cubicBezTo>
                    <a:pt x="437" y="323"/>
                    <a:pt x="440" y="321"/>
                    <a:pt x="440" y="320"/>
                  </a:cubicBezTo>
                  <a:cubicBezTo>
                    <a:pt x="441" y="318"/>
                    <a:pt x="441" y="318"/>
                    <a:pt x="441" y="318"/>
                  </a:cubicBezTo>
                  <a:cubicBezTo>
                    <a:pt x="441" y="318"/>
                    <a:pt x="440" y="316"/>
                    <a:pt x="440" y="316"/>
                  </a:cubicBezTo>
                  <a:cubicBezTo>
                    <a:pt x="440" y="316"/>
                    <a:pt x="440" y="316"/>
                    <a:pt x="440" y="316"/>
                  </a:cubicBezTo>
                  <a:cubicBezTo>
                    <a:pt x="441" y="316"/>
                    <a:pt x="442" y="313"/>
                    <a:pt x="442" y="313"/>
                  </a:cubicBezTo>
                  <a:cubicBezTo>
                    <a:pt x="442" y="312"/>
                    <a:pt x="440" y="312"/>
                    <a:pt x="440" y="312"/>
                  </a:cubicBezTo>
                  <a:cubicBezTo>
                    <a:pt x="440" y="311"/>
                    <a:pt x="439" y="311"/>
                    <a:pt x="439" y="310"/>
                  </a:cubicBezTo>
                  <a:cubicBezTo>
                    <a:pt x="438" y="309"/>
                    <a:pt x="438" y="308"/>
                    <a:pt x="438" y="307"/>
                  </a:cubicBezTo>
                  <a:cubicBezTo>
                    <a:pt x="435" y="303"/>
                    <a:pt x="430" y="303"/>
                    <a:pt x="426" y="302"/>
                  </a:cubicBezTo>
                  <a:cubicBezTo>
                    <a:pt x="423" y="301"/>
                    <a:pt x="419" y="300"/>
                    <a:pt x="416" y="300"/>
                  </a:cubicBezTo>
                  <a:cubicBezTo>
                    <a:pt x="413" y="300"/>
                    <a:pt x="411" y="300"/>
                    <a:pt x="408" y="300"/>
                  </a:cubicBezTo>
                  <a:cubicBezTo>
                    <a:pt x="407" y="300"/>
                    <a:pt x="405" y="300"/>
                    <a:pt x="404" y="300"/>
                  </a:cubicBezTo>
                  <a:cubicBezTo>
                    <a:pt x="401" y="299"/>
                    <a:pt x="399" y="299"/>
                    <a:pt x="397" y="299"/>
                  </a:cubicBezTo>
                  <a:cubicBezTo>
                    <a:pt x="396" y="299"/>
                    <a:pt x="394" y="299"/>
                    <a:pt x="392" y="301"/>
                  </a:cubicBezTo>
                  <a:cubicBezTo>
                    <a:pt x="383" y="308"/>
                    <a:pt x="374" y="315"/>
                    <a:pt x="364" y="322"/>
                  </a:cubicBezTo>
                  <a:cubicBezTo>
                    <a:pt x="366" y="325"/>
                    <a:pt x="369" y="326"/>
                    <a:pt x="371" y="328"/>
                  </a:cubicBezTo>
                  <a:cubicBezTo>
                    <a:pt x="374" y="331"/>
                    <a:pt x="376" y="332"/>
                    <a:pt x="379" y="334"/>
                  </a:cubicBezTo>
                  <a:cubicBezTo>
                    <a:pt x="380" y="334"/>
                    <a:pt x="382" y="336"/>
                    <a:pt x="382" y="337"/>
                  </a:cubicBezTo>
                  <a:cubicBezTo>
                    <a:pt x="383" y="337"/>
                    <a:pt x="382" y="338"/>
                    <a:pt x="382" y="339"/>
                  </a:cubicBezTo>
                  <a:cubicBezTo>
                    <a:pt x="382" y="339"/>
                    <a:pt x="383" y="339"/>
                    <a:pt x="384" y="340"/>
                  </a:cubicBezTo>
                  <a:cubicBezTo>
                    <a:pt x="384" y="340"/>
                    <a:pt x="383" y="341"/>
                    <a:pt x="384" y="341"/>
                  </a:cubicBezTo>
                  <a:cubicBezTo>
                    <a:pt x="384" y="342"/>
                    <a:pt x="385" y="343"/>
                    <a:pt x="385" y="343"/>
                  </a:cubicBezTo>
                  <a:cubicBezTo>
                    <a:pt x="386" y="344"/>
                    <a:pt x="386" y="346"/>
                    <a:pt x="387" y="347"/>
                  </a:cubicBezTo>
                  <a:cubicBezTo>
                    <a:pt x="383" y="346"/>
                    <a:pt x="379" y="344"/>
                    <a:pt x="375" y="344"/>
                  </a:cubicBezTo>
                  <a:cubicBezTo>
                    <a:pt x="374" y="344"/>
                    <a:pt x="374" y="344"/>
                    <a:pt x="373" y="344"/>
                  </a:cubicBezTo>
                  <a:cubicBezTo>
                    <a:pt x="370" y="344"/>
                    <a:pt x="368" y="348"/>
                    <a:pt x="365" y="350"/>
                  </a:cubicBezTo>
                  <a:cubicBezTo>
                    <a:pt x="363" y="350"/>
                    <a:pt x="363" y="351"/>
                    <a:pt x="362" y="351"/>
                  </a:cubicBezTo>
                  <a:cubicBezTo>
                    <a:pt x="361" y="351"/>
                    <a:pt x="360" y="350"/>
                    <a:pt x="359" y="349"/>
                  </a:cubicBezTo>
                  <a:cubicBezTo>
                    <a:pt x="359" y="348"/>
                    <a:pt x="359" y="348"/>
                    <a:pt x="358" y="348"/>
                  </a:cubicBezTo>
                  <a:cubicBezTo>
                    <a:pt x="357" y="348"/>
                    <a:pt x="353" y="349"/>
                    <a:pt x="353" y="349"/>
                  </a:cubicBezTo>
                  <a:cubicBezTo>
                    <a:pt x="350" y="350"/>
                    <a:pt x="349" y="349"/>
                    <a:pt x="349" y="352"/>
                  </a:cubicBezTo>
                  <a:cubicBezTo>
                    <a:pt x="350" y="353"/>
                    <a:pt x="350" y="354"/>
                    <a:pt x="348" y="354"/>
                  </a:cubicBezTo>
                  <a:cubicBezTo>
                    <a:pt x="348" y="354"/>
                    <a:pt x="347" y="354"/>
                    <a:pt x="347" y="354"/>
                  </a:cubicBezTo>
                  <a:cubicBezTo>
                    <a:pt x="345" y="354"/>
                    <a:pt x="342" y="354"/>
                    <a:pt x="340" y="354"/>
                  </a:cubicBezTo>
                  <a:cubicBezTo>
                    <a:pt x="339" y="353"/>
                    <a:pt x="338" y="353"/>
                    <a:pt x="337" y="353"/>
                  </a:cubicBezTo>
                  <a:cubicBezTo>
                    <a:pt x="338" y="352"/>
                    <a:pt x="338" y="352"/>
                    <a:pt x="338" y="352"/>
                  </a:cubicBezTo>
                  <a:cubicBezTo>
                    <a:pt x="337" y="352"/>
                    <a:pt x="337" y="352"/>
                    <a:pt x="336" y="352"/>
                  </a:cubicBezTo>
                  <a:cubicBezTo>
                    <a:pt x="335" y="352"/>
                    <a:pt x="335" y="352"/>
                    <a:pt x="334" y="352"/>
                  </a:cubicBezTo>
                  <a:cubicBezTo>
                    <a:pt x="333" y="352"/>
                    <a:pt x="332" y="352"/>
                    <a:pt x="331" y="352"/>
                  </a:cubicBezTo>
                  <a:cubicBezTo>
                    <a:pt x="331" y="352"/>
                    <a:pt x="331" y="352"/>
                    <a:pt x="330" y="352"/>
                  </a:cubicBezTo>
                  <a:cubicBezTo>
                    <a:pt x="332" y="356"/>
                    <a:pt x="336" y="357"/>
                    <a:pt x="338" y="358"/>
                  </a:cubicBezTo>
                  <a:cubicBezTo>
                    <a:pt x="340" y="359"/>
                    <a:pt x="341" y="360"/>
                    <a:pt x="342" y="362"/>
                  </a:cubicBezTo>
                  <a:cubicBezTo>
                    <a:pt x="343" y="363"/>
                    <a:pt x="343" y="364"/>
                    <a:pt x="344" y="364"/>
                  </a:cubicBezTo>
                  <a:cubicBezTo>
                    <a:pt x="344" y="364"/>
                    <a:pt x="345" y="364"/>
                    <a:pt x="346" y="363"/>
                  </a:cubicBezTo>
                  <a:cubicBezTo>
                    <a:pt x="345" y="364"/>
                    <a:pt x="345" y="365"/>
                    <a:pt x="345" y="365"/>
                  </a:cubicBezTo>
                  <a:cubicBezTo>
                    <a:pt x="344" y="367"/>
                    <a:pt x="341" y="368"/>
                    <a:pt x="339" y="369"/>
                  </a:cubicBezTo>
                  <a:cubicBezTo>
                    <a:pt x="340" y="369"/>
                    <a:pt x="341" y="369"/>
                    <a:pt x="343" y="369"/>
                  </a:cubicBezTo>
                  <a:cubicBezTo>
                    <a:pt x="343" y="369"/>
                    <a:pt x="343" y="369"/>
                    <a:pt x="344" y="369"/>
                  </a:cubicBezTo>
                  <a:cubicBezTo>
                    <a:pt x="342" y="371"/>
                    <a:pt x="344" y="373"/>
                    <a:pt x="345" y="374"/>
                  </a:cubicBezTo>
                  <a:cubicBezTo>
                    <a:pt x="343" y="373"/>
                    <a:pt x="342" y="371"/>
                    <a:pt x="341" y="370"/>
                  </a:cubicBezTo>
                  <a:cubicBezTo>
                    <a:pt x="340" y="370"/>
                    <a:pt x="339" y="370"/>
                    <a:pt x="338" y="370"/>
                  </a:cubicBezTo>
                  <a:cubicBezTo>
                    <a:pt x="338" y="370"/>
                    <a:pt x="337" y="366"/>
                    <a:pt x="336" y="366"/>
                  </a:cubicBezTo>
                  <a:cubicBezTo>
                    <a:pt x="336" y="366"/>
                    <a:pt x="336" y="366"/>
                    <a:pt x="336" y="366"/>
                  </a:cubicBezTo>
                  <a:cubicBezTo>
                    <a:pt x="336" y="366"/>
                    <a:pt x="337" y="366"/>
                    <a:pt x="338" y="366"/>
                  </a:cubicBezTo>
                  <a:cubicBezTo>
                    <a:pt x="338" y="366"/>
                    <a:pt x="338" y="366"/>
                    <a:pt x="338" y="366"/>
                  </a:cubicBezTo>
                  <a:cubicBezTo>
                    <a:pt x="339" y="366"/>
                    <a:pt x="339" y="366"/>
                    <a:pt x="339" y="366"/>
                  </a:cubicBezTo>
                  <a:cubicBezTo>
                    <a:pt x="340" y="366"/>
                    <a:pt x="341" y="366"/>
                    <a:pt x="342" y="365"/>
                  </a:cubicBezTo>
                  <a:cubicBezTo>
                    <a:pt x="342" y="364"/>
                    <a:pt x="342" y="363"/>
                    <a:pt x="341" y="362"/>
                  </a:cubicBezTo>
                  <a:cubicBezTo>
                    <a:pt x="340" y="360"/>
                    <a:pt x="338" y="360"/>
                    <a:pt x="337" y="359"/>
                  </a:cubicBezTo>
                  <a:cubicBezTo>
                    <a:pt x="335" y="358"/>
                    <a:pt x="335" y="358"/>
                    <a:pt x="334" y="357"/>
                  </a:cubicBezTo>
                  <a:cubicBezTo>
                    <a:pt x="331" y="354"/>
                    <a:pt x="327" y="354"/>
                    <a:pt x="324" y="353"/>
                  </a:cubicBezTo>
                  <a:cubicBezTo>
                    <a:pt x="320" y="352"/>
                    <a:pt x="316" y="350"/>
                    <a:pt x="312" y="349"/>
                  </a:cubicBezTo>
                  <a:cubicBezTo>
                    <a:pt x="309" y="348"/>
                    <a:pt x="305" y="348"/>
                    <a:pt x="302" y="348"/>
                  </a:cubicBezTo>
                  <a:cubicBezTo>
                    <a:pt x="301" y="347"/>
                    <a:pt x="300" y="347"/>
                    <a:pt x="299" y="347"/>
                  </a:cubicBezTo>
                  <a:cubicBezTo>
                    <a:pt x="299" y="347"/>
                    <a:pt x="299" y="347"/>
                    <a:pt x="299" y="347"/>
                  </a:cubicBezTo>
                  <a:cubicBezTo>
                    <a:pt x="297" y="347"/>
                    <a:pt x="296" y="353"/>
                    <a:pt x="296" y="354"/>
                  </a:cubicBezTo>
                  <a:cubicBezTo>
                    <a:pt x="296" y="355"/>
                    <a:pt x="298" y="356"/>
                    <a:pt x="298" y="356"/>
                  </a:cubicBezTo>
                  <a:cubicBezTo>
                    <a:pt x="297" y="358"/>
                    <a:pt x="294" y="358"/>
                    <a:pt x="292" y="359"/>
                  </a:cubicBezTo>
                  <a:cubicBezTo>
                    <a:pt x="290" y="359"/>
                    <a:pt x="287" y="360"/>
                    <a:pt x="285" y="362"/>
                  </a:cubicBezTo>
                  <a:cubicBezTo>
                    <a:pt x="280" y="364"/>
                    <a:pt x="278" y="370"/>
                    <a:pt x="275" y="375"/>
                  </a:cubicBezTo>
                  <a:cubicBezTo>
                    <a:pt x="274" y="377"/>
                    <a:pt x="279" y="381"/>
                    <a:pt x="280" y="382"/>
                  </a:cubicBezTo>
                  <a:cubicBezTo>
                    <a:pt x="281" y="383"/>
                    <a:pt x="282" y="385"/>
                    <a:pt x="282" y="385"/>
                  </a:cubicBezTo>
                  <a:cubicBezTo>
                    <a:pt x="282" y="385"/>
                    <a:pt x="282" y="385"/>
                    <a:pt x="282" y="385"/>
                  </a:cubicBezTo>
                  <a:cubicBezTo>
                    <a:pt x="282" y="385"/>
                    <a:pt x="282" y="386"/>
                    <a:pt x="282" y="386"/>
                  </a:cubicBezTo>
                  <a:cubicBezTo>
                    <a:pt x="282" y="386"/>
                    <a:pt x="284" y="387"/>
                    <a:pt x="285" y="388"/>
                  </a:cubicBezTo>
                  <a:cubicBezTo>
                    <a:pt x="288" y="390"/>
                    <a:pt x="293" y="392"/>
                    <a:pt x="297" y="392"/>
                  </a:cubicBezTo>
                  <a:cubicBezTo>
                    <a:pt x="297" y="392"/>
                    <a:pt x="297" y="392"/>
                    <a:pt x="297" y="392"/>
                  </a:cubicBezTo>
                  <a:cubicBezTo>
                    <a:pt x="298" y="392"/>
                    <a:pt x="299" y="392"/>
                    <a:pt x="300" y="391"/>
                  </a:cubicBezTo>
                  <a:cubicBezTo>
                    <a:pt x="301" y="391"/>
                    <a:pt x="302" y="391"/>
                    <a:pt x="303" y="391"/>
                  </a:cubicBezTo>
                  <a:cubicBezTo>
                    <a:pt x="304" y="391"/>
                    <a:pt x="305" y="391"/>
                    <a:pt x="306" y="392"/>
                  </a:cubicBezTo>
                  <a:cubicBezTo>
                    <a:pt x="308" y="392"/>
                    <a:pt x="310" y="393"/>
                    <a:pt x="313" y="394"/>
                  </a:cubicBezTo>
                  <a:cubicBezTo>
                    <a:pt x="312" y="393"/>
                    <a:pt x="311" y="392"/>
                    <a:pt x="312" y="390"/>
                  </a:cubicBezTo>
                  <a:cubicBezTo>
                    <a:pt x="312" y="390"/>
                    <a:pt x="313" y="390"/>
                    <a:pt x="313" y="390"/>
                  </a:cubicBezTo>
                  <a:cubicBezTo>
                    <a:pt x="315" y="390"/>
                    <a:pt x="318" y="391"/>
                    <a:pt x="319" y="391"/>
                  </a:cubicBezTo>
                  <a:cubicBezTo>
                    <a:pt x="319" y="391"/>
                    <a:pt x="318" y="390"/>
                    <a:pt x="317" y="390"/>
                  </a:cubicBezTo>
                  <a:cubicBezTo>
                    <a:pt x="319" y="390"/>
                    <a:pt x="321" y="391"/>
                    <a:pt x="322" y="391"/>
                  </a:cubicBezTo>
                  <a:cubicBezTo>
                    <a:pt x="322" y="391"/>
                    <a:pt x="322" y="391"/>
                    <a:pt x="323" y="391"/>
                  </a:cubicBezTo>
                  <a:cubicBezTo>
                    <a:pt x="326" y="390"/>
                    <a:pt x="321" y="389"/>
                    <a:pt x="320" y="388"/>
                  </a:cubicBezTo>
                  <a:cubicBezTo>
                    <a:pt x="320" y="388"/>
                    <a:pt x="320" y="388"/>
                    <a:pt x="320" y="388"/>
                  </a:cubicBezTo>
                  <a:cubicBezTo>
                    <a:pt x="321" y="388"/>
                    <a:pt x="321" y="388"/>
                    <a:pt x="321" y="388"/>
                  </a:cubicBezTo>
                  <a:cubicBezTo>
                    <a:pt x="322" y="388"/>
                    <a:pt x="322" y="388"/>
                    <a:pt x="323" y="388"/>
                  </a:cubicBezTo>
                  <a:cubicBezTo>
                    <a:pt x="323" y="388"/>
                    <a:pt x="323" y="388"/>
                    <a:pt x="323" y="388"/>
                  </a:cubicBezTo>
                  <a:cubicBezTo>
                    <a:pt x="323" y="388"/>
                    <a:pt x="324" y="388"/>
                    <a:pt x="324" y="388"/>
                  </a:cubicBezTo>
                  <a:cubicBezTo>
                    <a:pt x="325" y="388"/>
                    <a:pt x="324" y="387"/>
                    <a:pt x="326" y="387"/>
                  </a:cubicBezTo>
                  <a:cubicBezTo>
                    <a:pt x="326" y="387"/>
                    <a:pt x="327" y="387"/>
                    <a:pt x="328" y="387"/>
                  </a:cubicBezTo>
                  <a:cubicBezTo>
                    <a:pt x="330" y="387"/>
                    <a:pt x="332" y="387"/>
                    <a:pt x="335" y="388"/>
                  </a:cubicBezTo>
                  <a:cubicBezTo>
                    <a:pt x="334" y="387"/>
                    <a:pt x="332" y="386"/>
                    <a:pt x="333" y="385"/>
                  </a:cubicBezTo>
                  <a:cubicBezTo>
                    <a:pt x="332" y="385"/>
                    <a:pt x="331" y="384"/>
                    <a:pt x="331" y="383"/>
                  </a:cubicBezTo>
                  <a:cubicBezTo>
                    <a:pt x="333" y="384"/>
                    <a:pt x="335" y="384"/>
                    <a:pt x="337" y="385"/>
                  </a:cubicBezTo>
                  <a:cubicBezTo>
                    <a:pt x="335" y="384"/>
                    <a:pt x="333" y="382"/>
                    <a:pt x="332" y="381"/>
                  </a:cubicBezTo>
                  <a:cubicBezTo>
                    <a:pt x="333" y="380"/>
                    <a:pt x="333" y="380"/>
                    <a:pt x="333" y="380"/>
                  </a:cubicBezTo>
                  <a:cubicBezTo>
                    <a:pt x="331" y="379"/>
                    <a:pt x="332" y="379"/>
                    <a:pt x="333" y="379"/>
                  </a:cubicBezTo>
                  <a:cubicBezTo>
                    <a:pt x="334" y="379"/>
                    <a:pt x="334" y="379"/>
                    <a:pt x="335" y="379"/>
                  </a:cubicBezTo>
                  <a:cubicBezTo>
                    <a:pt x="340" y="381"/>
                    <a:pt x="345" y="382"/>
                    <a:pt x="350" y="384"/>
                  </a:cubicBezTo>
                  <a:cubicBezTo>
                    <a:pt x="353" y="385"/>
                    <a:pt x="356" y="387"/>
                    <a:pt x="359" y="387"/>
                  </a:cubicBezTo>
                  <a:cubicBezTo>
                    <a:pt x="361" y="387"/>
                    <a:pt x="362" y="386"/>
                    <a:pt x="363" y="384"/>
                  </a:cubicBezTo>
                  <a:cubicBezTo>
                    <a:pt x="362" y="384"/>
                    <a:pt x="359" y="382"/>
                    <a:pt x="361" y="382"/>
                  </a:cubicBezTo>
                  <a:cubicBezTo>
                    <a:pt x="361" y="382"/>
                    <a:pt x="362" y="382"/>
                    <a:pt x="362" y="382"/>
                  </a:cubicBezTo>
                  <a:cubicBezTo>
                    <a:pt x="361" y="382"/>
                    <a:pt x="361" y="382"/>
                    <a:pt x="360" y="381"/>
                  </a:cubicBezTo>
                  <a:cubicBezTo>
                    <a:pt x="361" y="381"/>
                    <a:pt x="362" y="382"/>
                    <a:pt x="362" y="382"/>
                  </a:cubicBezTo>
                  <a:cubicBezTo>
                    <a:pt x="364" y="382"/>
                    <a:pt x="363" y="379"/>
                    <a:pt x="360" y="378"/>
                  </a:cubicBezTo>
                  <a:cubicBezTo>
                    <a:pt x="358" y="375"/>
                    <a:pt x="355" y="374"/>
                    <a:pt x="352" y="372"/>
                  </a:cubicBezTo>
                  <a:cubicBezTo>
                    <a:pt x="352" y="372"/>
                    <a:pt x="352" y="372"/>
                    <a:pt x="353" y="372"/>
                  </a:cubicBezTo>
                  <a:cubicBezTo>
                    <a:pt x="353" y="372"/>
                    <a:pt x="354" y="372"/>
                    <a:pt x="355" y="372"/>
                  </a:cubicBezTo>
                  <a:cubicBezTo>
                    <a:pt x="356" y="372"/>
                    <a:pt x="356" y="372"/>
                    <a:pt x="357" y="372"/>
                  </a:cubicBezTo>
                  <a:cubicBezTo>
                    <a:pt x="358" y="372"/>
                    <a:pt x="358" y="372"/>
                    <a:pt x="358" y="372"/>
                  </a:cubicBezTo>
                  <a:cubicBezTo>
                    <a:pt x="359" y="371"/>
                    <a:pt x="357" y="369"/>
                    <a:pt x="359" y="369"/>
                  </a:cubicBezTo>
                  <a:cubicBezTo>
                    <a:pt x="359" y="369"/>
                    <a:pt x="359" y="369"/>
                    <a:pt x="360" y="369"/>
                  </a:cubicBezTo>
                  <a:cubicBezTo>
                    <a:pt x="360" y="369"/>
                    <a:pt x="359" y="368"/>
                    <a:pt x="360" y="368"/>
                  </a:cubicBezTo>
                  <a:cubicBezTo>
                    <a:pt x="360" y="368"/>
                    <a:pt x="360" y="368"/>
                    <a:pt x="360" y="368"/>
                  </a:cubicBezTo>
                  <a:cubicBezTo>
                    <a:pt x="362" y="369"/>
                    <a:pt x="361" y="371"/>
                    <a:pt x="360" y="372"/>
                  </a:cubicBezTo>
                  <a:cubicBezTo>
                    <a:pt x="359" y="375"/>
                    <a:pt x="358" y="374"/>
                    <a:pt x="360" y="376"/>
                  </a:cubicBezTo>
                  <a:cubicBezTo>
                    <a:pt x="361" y="377"/>
                    <a:pt x="362" y="378"/>
                    <a:pt x="363" y="378"/>
                  </a:cubicBezTo>
                  <a:cubicBezTo>
                    <a:pt x="364" y="378"/>
                    <a:pt x="364" y="377"/>
                    <a:pt x="365" y="377"/>
                  </a:cubicBezTo>
                  <a:cubicBezTo>
                    <a:pt x="366" y="377"/>
                    <a:pt x="367" y="376"/>
                    <a:pt x="367" y="376"/>
                  </a:cubicBezTo>
                  <a:cubicBezTo>
                    <a:pt x="368" y="376"/>
                    <a:pt x="368" y="376"/>
                    <a:pt x="368" y="377"/>
                  </a:cubicBezTo>
                  <a:cubicBezTo>
                    <a:pt x="369" y="377"/>
                    <a:pt x="369" y="377"/>
                    <a:pt x="370" y="377"/>
                  </a:cubicBezTo>
                  <a:cubicBezTo>
                    <a:pt x="371" y="377"/>
                    <a:pt x="372" y="375"/>
                    <a:pt x="372" y="374"/>
                  </a:cubicBezTo>
                  <a:cubicBezTo>
                    <a:pt x="373" y="376"/>
                    <a:pt x="372" y="378"/>
                    <a:pt x="375" y="380"/>
                  </a:cubicBezTo>
                  <a:cubicBezTo>
                    <a:pt x="374" y="380"/>
                    <a:pt x="374" y="380"/>
                    <a:pt x="374" y="380"/>
                  </a:cubicBezTo>
                  <a:cubicBezTo>
                    <a:pt x="372" y="380"/>
                    <a:pt x="369" y="380"/>
                    <a:pt x="373" y="382"/>
                  </a:cubicBezTo>
                  <a:cubicBezTo>
                    <a:pt x="372" y="382"/>
                    <a:pt x="372" y="382"/>
                    <a:pt x="372" y="382"/>
                  </a:cubicBezTo>
                  <a:cubicBezTo>
                    <a:pt x="372" y="382"/>
                    <a:pt x="373" y="384"/>
                    <a:pt x="373" y="384"/>
                  </a:cubicBezTo>
                  <a:cubicBezTo>
                    <a:pt x="373" y="385"/>
                    <a:pt x="373" y="385"/>
                    <a:pt x="373" y="385"/>
                  </a:cubicBezTo>
                  <a:cubicBezTo>
                    <a:pt x="372" y="385"/>
                    <a:pt x="372" y="385"/>
                    <a:pt x="371" y="384"/>
                  </a:cubicBezTo>
                  <a:cubicBezTo>
                    <a:pt x="373" y="385"/>
                    <a:pt x="373" y="386"/>
                    <a:pt x="372" y="388"/>
                  </a:cubicBezTo>
                  <a:cubicBezTo>
                    <a:pt x="378" y="386"/>
                    <a:pt x="374" y="387"/>
                    <a:pt x="376" y="384"/>
                  </a:cubicBezTo>
                  <a:cubicBezTo>
                    <a:pt x="378" y="384"/>
                    <a:pt x="378" y="384"/>
                    <a:pt x="378" y="384"/>
                  </a:cubicBezTo>
                  <a:cubicBezTo>
                    <a:pt x="378" y="384"/>
                    <a:pt x="378" y="384"/>
                    <a:pt x="378" y="384"/>
                  </a:cubicBezTo>
                  <a:cubicBezTo>
                    <a:pt x="378" y="384"/>
                    <a:pt x="378" y="384"/>
                    <a:pt x="378" y="384"/>
                  </a:cubicBezTo>
                  <a:cubicBezTo>
                    <a:pt x="378" y="384"/>
                    <a:pt x="378" y="383"/>
                    <a:pt x="379" y="383"/>
                  </a:cubicBezTo>
                  <a:cubicBezTo>
                    <a:pt x="379" y="383"/>
                    <a:pt x="379" y="384"/>
                    <a:pt x="380" y="384"/>
                  </a:cubicBezTo>
                  <a:cubicBezTo>
                    <a:pt x="378" y="382"/>
                    <a:pt x="378" y="381"/>
                    <a:pt x="376" y="379"/>
                  </a:cubicBezTo>
                  <a:cubicBezTo>
                    <a:pt x="376" y="379"/>
                    <a:pt x="376" y="379"/>
                    <a:pt x="376" y="379"/>
                  </a:cubicBezTo>
                  <a:cubicBezTo>
                    <a:pt x="377" y="379"/>
                    <a:pt x="378" y="379"/>
                    <a:pt x="379" y="380"/>
                  </a:cubicBezTo>
                  <a:cubicBezTo>
                    <a:pt x="380" y="380"/>
                    <a:pt x="381" y="381"/>
                    <a:pt x="382" y="381"/>
                  </a:cubicBezTo>
                  <a:cubicBezTo>
                    <a:pt x="382" y="381"/>
                    <a:pt x="383" y="381"/>
                    <a:pt x="383" y="380"/>
                  </a:cubicBezTo>
                  <a:cubicBezTo>
                    <a:pt x="383" y="380"/>
                    <a:pt x="382" y="378"/>
                    <a:pt x="382" y="377"/>
                  </a:cubicBezTo>
                  <a:cubicBezTo>
                    <a:pt x="382" y="377"/>
                    <a:pt x="383" y="377"/>
                    <a:pt x="383" y="377"/>
                  </a:cubicBezTo>
                  <a:cubicBezTo>
                    <a:pt x="384" y="377"/>
                    <a:pt x="387" y="378"/>
                    <a:pt x="387" y="379"/>
                  </a:cubicBezTo>
                  <a:cubicBezTo>
                    <a:pt x="387" y="380"/>
                    <a:pt x="387" y="382"/>
                    <a:pt x="388" y="382"/>
                  </a:cubicBezTo>
                  <a:cubicBezTo>
                    <a:pt x="388" y="382"/>
                    <a:pt x="388" y="382"/>
                    <a:pt x="388" y="382"/>
                  </a:cubicBezTo>
                  <a:cubicBezTo>
                    <a:pt x="390" y="381"/>
                    <a:pt x="390" y="381"/>
                    <a:pt x="391" y="380"/>
                  </a:cubicBezTo>
                  <a:cubicBezTo>
                    <a:pt x="391" y="379"/>
                    <a:pt x="389" y="378"/>
                    <a:pt x="391" y="377"/>
                  </a:cubicBezTo>
                  <a:cubicBezTo>
                    <a:pt x="392" y="380"/>
                    <a:pt x="392" y="381"/>
                    <a:pt x="390" y="383"/>
                  </a:cubicBezTo>
                  <a:cubicBezTo>
                    <a:pt x="390" y="384"/>
                    <a:pt x="386" y="383"/>
                    <a:pt x="389" y="385"/>
                  </a:cubicBezTo>
                  <a:cubicBezTo>
                    <a:pt x="389" y="385"/>
                    <a:pt x="389" y="385"/>
                    <a:pt x="388" y="385"/>
                  </a:cubicBezTo>
                  <a:cubicBezTo>
                    <a:pt x="387" y="385"/>
                    <a:pt x="387" y="386"/>
                    <a:pt x="387" y="387"/>
                  </a:cubicBezTo>
                  <a:cubicBezTo>
                    <a:pt x="387" y="387"/>
                    <a:pt x="388" y="387"/>
                    <a:pt x="388" y="388"/>
                  </a:cubicBezTo>
                  <a:cubicBezTo>
                    <a:pt x="389" y="389"/>
                    <a:pt x="389" y="389"/>
                    <a:pt x="389" y="389"/>
                  </a:cubicBezTo>
                  <a:cubicBezTo>
                    <a:pt x="389" y="391"/>
                    <a:pt x="389" y="391"/>
                    <a:pt x="389" y="391"/>
                  </a:cubicBezTo>
                  <a:cubicBezTo>
                    <a:pt x="389" y="391"/>
                    <a:pt x="389" y="391"/>
                    <a:pt x="390" y="391"/>
                  </a:cubicBezTo>
                  <a:cubicBezTo>
                    <a:pt x="390" y="391"/>
                    <a:pt x="390" y="390"/>
                    <a:pt x="391" y="390"/>
                  </a:cubicBezTo>
                  <a:cubicBezTo>
                    <a:pt x="392" y="390"/>
                    <a:pt x="392" y="390"/>
                    <a:pt x="392" y="390"/>
                  </a:cubicBezTo>
                  <a:cubicBezTo>
                    <a:pt x="396" y="390"/>
                    <a:pt x="399" y="395"/>
                    <a:pt x="401" y="398"/>
                  </a:cubicBezTo>
                  <a:cubicBezTo>
                    <a:pt x="398" y="398"/>
                    <a:pt x="400" y="399"/>
                    <a:pt x="401" y="401"/>
                  </a:cubicBezTo>
                  <a:cubicBezTo>
                    <a:pt x="402" y="402"/>
                    <a:pt x="402" y="402"/>
                    <a:pt x="403" y="402"/>
                  </a:cubicBezTo>
                  <a:cubicBezTo>
                    <a:pt x="404" y="402"/>
                    <a:pt x="405" y="400"/>
                    <a:pt x="405" y="398"/>
                  </a:cubicBezTo>
                  <a:cubicBezTo>
                    <a:pt x="406" y="400"/>
                    <a:pt x="406" y="401"/>
                    <a:pt x="407" y="403"/>
                  </a:cubicBezTo>
                  <a:cubicBezTo>
                    <a:pt x="407" y="404"/>
                    <a:pt x="406" y="403"/>
                    <a:pt x="406" y="404"/>
                  </a:cubicBezTo>
                  <a:cubicBezTo>
                    <a:pt x="406" y="407"/>
                    <a:pt x="406" y="407"/>
                    <a:pt x="406" y="407"/>
                  </a:cubicBezTo>
                  <a:cubicBezTo>
                    <a:pt x="407" y="408"/>
                    <a:pt x="408" y="409"/>
                    <a:pt x="408" y="409"/>
                  </a:cubicBezTo>
                  <a:cubicBezTo>
                    <a:pt x="410" y="409"/>
                    <a:pt x="411" y="408"/>
                    <a:pt x="412" y="407"/>
                  </a:cubicBezTo>
                  <a:cubicBezTo>
                    <a:pt x="413" y="406"/>
                    <a:pt x="414" y="405"/>
                    <a:pt x="415" y="405"/>
                  </a:cubicBezTo>
                  <a:cubicBezTo>
                    <a:pt x="415" y="405"/>
                    <a:pt x="415" y="406"/>
                    <a:pt x="415" y="406"/>
                  </a:cubicBezTo>
                  <a:cubicBezTo>
                    <a:pt x="415" y="404"/>
                    <a:pt x="415" y="405"/>
                    <a:pt x="415" y="403"/>
                  </a:cubicBezTo>
                  <a:cubicBezTo>
                    <a:pt x="415" y="404"/>
                    <a:pt x="416" y="410"/>
                    <a:pt x="415" y="410"/>
                  </a:cubicBezTo>
                  <a:cubicBezTo>
                    <a:pt x="415" y="410"/>
                    <a:pt x="415" y="410"/>
                    <a:pt x="415" y="410"/>
                  </a:cubicBezTo>
                  <a:cubicBezTo>
                    <a:pt x="415" y="410"/>
                    <a:pt x="414" y="410"/>
                    <a:pt x="414" y="410"/>
                  </a:cubicBezTo>
                  <a:cubicBezTo>
                    <a:pt x="414" y="410"/>
                    <a:pt x="414" y="410"/>
                    <a:pt x="413" y="410"/>
                  </a:cubicBezTo>
                  <a:cubicBezTo>
                    <a:pt x="413" y="410"/>
                    <a:pt x="413" y="410"/>
                    <a:pt x="413" y="410"/>
                  </a:cubicBezTo>
                  <a:cubicBezTo>
                    <a:pt x="413" y="410"/>
                    <a:pt x="414" y="412"/>
                    <a:pt x="413" y="413"/>
                  </a:cubicBezTo>
                  <a:cubicBezTo>
                    <a:pt x="414" y="413"/>
                    <a:pt x="416" y="410"/>
                    <a:pt x="416" y="410"/>
                  </a:cubicBezTo>
                  <a:cubicBezTo>
                    <a:pt x="416" y="410"/>
                    <a:pt x="416" y="410"/>
                    <a:pt x="417" y="410"/>
                  </a:cubicBezTo>
                  <a:cubicBezTo>
                    <a:pt x="418" y="410"/>
                    <a:pt x="420" y="412"/>
                    <a:pt x="421" y="412"/>
                  </a:cubicBezTo>
                  <a:cubicBezTo>
                    <a:pt x="422" y="412"/>
                    <a:pt x="422" y="412"/>
                    <a:pt x="423" y="412"/>
                  </a:cubicBezTo>
                  <a:cubicBezTo>
                    <a:pt x="425" y="412"/>
                    <a:pt x="424" y="410"/>
                    <a:pt x="422" y="409"/>
                  </a:cubicBezTo>
                  <a:cubicBezTo>
                    <a:pt x="422" y="409"/>
                    <a:pt x="423" y="409"/>
                    <a:pt x="423" y="409"/>
                  </a:cubicBezTo>
                  <a:cubicBezTo>
                    <a:pt x="425" y="409"/>
                    <a:pt x="428" y="411"/>
                    <a:pt x="430" y="412"/>
                  </a:cubicBezTo>
                  <a:cubicBezTo>
                    <a:pt x="432" y="413"/>
                    <a:pt x="431" y="415"/>
                    <a:pt x="431" y="417"/>
                  </a:cubicBezTo>
                  <a:cubicBezTo>
                    <a:pt x="432" y="416"/>
                    <a:pt x="434" y="415"/>
                    <a:pt x="435" y="415"/>
                  </a:cubicBezTo>
                  <a:cubicBezTo>
                    <a:pt x="435" y="415"/>
                    <a:pt x="435" y="415"/>
                    <a:pt x="435" y="415"/>
                  </a:cubicBezTo>
                  <a:cubicBezTo>
                    <a:pt x="436" y="415"/>
                    <a:pt x="437" y="416"/>
                    <a:pt x="438" y="416"/>
                  </a:cubicBezTo>
                  <a:cubicBezTo>
                    <a:pt x="437" y="420"/>
                    <a:pt x="434" y="420"/>
                    <a:pt x="431" y="421"/>
                  </a:cubicBezTo>
                  <a:cubicBezTo>
                    <a:pt x="431" y="421"/>
                    <a:pt x="432" y="422"/>
                    <a:pt x="430" y="423"/>
                  </a:cubicBezTo>
                  <a:cubicBezTo>
                    <a:pt x="430" y="423"/>
                    <a:pt x="429" y="423"/>
                    <a:pt x="429" y="423"/>
                  </a:cubicBezTo>
                  <a:cubicBezTo>
                    <a:pt x="428" y="423"/>
                    <a:pt x="426" y="422"/>
                    <a:pt x="425" y="422"/>
                  </a:cubicBezTo>
                  <a:cubicBezTo>
                    <a:pt x="424" y="422"/>
                    <a:pt x="419" y="422"/>
                    <a:pt x="418" y="422"/>
                  </a:cubicBezTo>
                  <a:cubicBezTo>
                    <a:pt x="418" y="422"/>
                    <a:pt x="418" y="422"/>
                    <a:pt x="418" y="422"/>
                  </a:cubicBezTo>
                  <a:cubicBezTo>
                    <a:pt x="417" y="423"/>
                    <a:pt x="423" y="426"/>
                    <a:pt x="424" y="427"/>
                  </a:cubicBezTo>
                  <a:cubicBezTo>
                    <a:pt x="427" y="428"/>
                    <a:pt x="426" y="430"/>
                    <a:pt x="428" y="431"/>
                  </a:cubicBezTo>
                  <a:cubicBezTo>
                    <a:pt x="427" y="433"/>
                    <a:pt x="432" y="433"/>
                    <a:pt x="433" y="433"/>
                  </a:cubicBezTo>
                  <a:cubicBezTo>
                    <a:pt x="436" y="434"/>
                    <a:pt x="440" y="434"/>
                    <a:pt x="443" y="434"/>
                  </a:cubicBezTo>
                  <a:cubicBezTo>
                    <a:pt x="444" y="434"/>
                    <a:pt x="444" y="434"/>
                    <a:pt x="444" y="434"/>
                  </a:cubicBezTo>
                  <a:cubicBezTo>
                    <a:pt x="444" y="433"/>
                    <a:pt x="445" y="432"/>
                    <a:pt x="446" y="432"/>
                  </a:cubicBezTo>
                  <a:cubicBezTo>
                    <a:pt x="446" y="434"/>
                    <a:pt x="445" y="436"/>
                    <a:pt x="444" y="437"/>
                  </a:cubicBezTo>
                  <a:cubicBezTo>
                    <a:pt x="444" y="437"/>
                    <a:pt x="443" y="437"/>
                    <a:pt x="443" y="437"/>
                  </a:cubicBezTo>
                  <a:cubicBezTo>
                    <a:pt x="443" y="437"/>
                    <a:pt x="443" y="437"/>
                    <a:pt x="442" y="437"/>
                  </a:cubicBezTo>
                  <a:cubicBezTo>
                    <a:pt x="442" y="437"/>
                    <a:pt x="442" y="437"/>
                    <a:pt x="442" y="437"/>
                  </a:cubicBezTo>
                  <a:cubicBezTo>
                    <a:pt x="441" y="437"/>
                    <a:pt x="441" y="437"/>
                    <a:pt x="441" y="438"/>
                  </a:cubicBezTo>
                  <a:cubicBezTo>
                    <a:pt x="440" y="442"/>
                    <a:pt x="470" y="446"/>
                    <a:pt x="473" y="447"/>
                  </a:cubicBezTo>
                  <a:cubicBezTo>
                    <a:pt x="472" y="446"/>
                    <a:pt x="470" y="445"/>
                    <a:pt x="472" y="445"/>
                  </a:cubicBezTo>
                  <a:cubicBezTo>
                    <a:pt x="472" y="445"/>
                    <a:pt x="472" y="445"/>
                    <a:pt x="472" y="445"/>
                  </a:cubicBezTo>
                  <a:cubicBezTo>
                    <a:pt x="474" y="445"/>
                    <a:pt x="479" y="447"/>
                    <a:pt x="481" y="447"/>
                  </a:cubicBezTo>
                  <a:cubicBezTo>
                    <a:pt x="480" y="448"/>
                    <a:pt x="479" y="449"/>
                    <a:pt x="480" y="450"/>
                  </a:cubicBezTo>
                  <a:cubicBezTo>
                    <a:pt x="479" y="450"/>
                    <a:pt x="479" y="450"/>
                    <a:pt x="478" y="450"/>
                  </a:cubicBezTo>
                  <a:cubicBezTo>
                    <a:pt x="477" y="450"/>
                    <a:pt x="477" y="450"/>
                    <a:pt x="478" y="451"/>
                  </a:cubicBezTo>
                  <a:cubicBezTo>
                    <a:pt x="478" y="453"/>
                    <a:pt x="479" y="454"/>
                    <a:pt x="480" y="454"/>
                  </a:cubicBezTo>
                  <a:cubicBezTo>
                    <a:pt x="481" y="454"/>
                    <a:pt x="482" y="453"/>
                    <a:pt x="484" y="452"/>
                  </a:cubicBezTo>
                  <a:cubicBezTo>
                    <a:pt x="483" y="457"/>
                    <a:pt x="485" y="458"/>
                    <a:pt x="489" y="460"/>
                  </a:cubicBezTo>
                  <a:cubicBezTo>
                    <a:pt x="496" y="464"/>
                    <a:pt x="506" y="466"/>
                    <a:pt x="514" y="468"/>
                  </a:cubicBezTo>
                  <a:cubicBezTo>
                    <a:pt x="514" y="467"/>
                    <a:pt x="514" y="467"/>
                    <a:pt x="514" y="466"/>
                  </a:cubicBezTo>
                  <a:cubicBezTo>
                    <a:pt x="515" y="467"/>
                    <a:pt x="515" y="468"/>
                    <a:pt x="517" y="469"/>
                  </a:cubicBezTo>
                  <a:cubicBezTo>
                    <a:pt x="525" y="471"/>
                    <a:pt x="534" y="474"/>
                    <a:pt x="543" y="476"/>
                  </a:cubicBezTo>
                  <a:cubicBezTo>
                    <a:pt x="547" y="477"/>
                    <a:pt x="550" y="478"/>
                    <a:pt x="553" y="479"/>
                  </a:cubicBezTo>
                  <a:cubicBezTo>
                    <a:pt x="554" y="479"/>
                    <a:pt x="554" y="479"/>
                    <a:pt x="555" y="479"/>
                  </a:cubicBezTo>
                  <a:cubicBezTo>
                    <a:pt x="557" y="479"/>
                    <a:pt x="559" y="479"/>
                    <a:pt x="561" y="478"/>
                  </a:cubicBezTo>
                  <a:cubicBezTo>
                    <a:pt x="561" y="477"/>
                    <a:pt x="558" y="475"/>
                    <a:pt x="557" y="474"/>
                  </a:cubicBezTo>
                  <a:cubicBezTo>
                    <a:pt x="557" y="472"/>
                    <a:pt x="557" y="471"/>
                    <a:pt x="556" y="470"/>
                  </a:cubicBezTo>
                  <a:cubicBezTo>
                    <a:pt x="556" y="471"/>
                    <a:pt x="558" y="472"/>
                    <a:pt x="559" y="472"/>
                  </a:cubicBezTo>
                  <a:cubicBezTo>
                    <a:pt x="559" y="472"/>
                    <a:pt x="559" y="472"/>
                    <a:pt x="560" y="472"/>
                  </a:cubicBezTo>
                  <a:cubicBezTo>
                    <a:pt x="561" y="471"/>
                    <a:pt x="559" y="468"/>
                    <a:pt x="562" y="467"/>
                  </a:cubicBezTo>
                  <a:cubicBezTo>
                    <a:pt x="560" y="465"/>
                    <a:pt x="557" y="467"/>
                    <a:pt x="554" y="465"/>
                  </a:cubicBezTo>
                  <a:cubicBezTo>
                    <a:pt x="555" y="465"/>
                    <a:pt x="555" y="465"/>
                    <a:pt x="555" y="465"/>
                  </a:cubicBezTo>
                  <a:cubicBezTo>
                    <a:pt x="555" y="465"/>
                    <a:pt x="555" y="465"/>
                    <a:pt x="555" y="465"/>
                  </a:cubicBezTo>
                  <a:cubicBezTo>
                    <a:pt x="556" y="465"/>
                    <a:pt x="556" y="465"/>
                    <a:pt x="556" y="465"/>
                  </a:cubicBezTo>
                  <a:cubicBezTo>
                    <a:pt x="556" y="465"/>
                    <a:pt x="556" y="465"/>
                    <a:pt x="556" y="465"/>
                  </a:cubicBezTo>
                  <a:cubicBezTo>
                    <a:pt x="555" y="463"/>
                    <a:pt x="554" y="462"/>
                    <a:pt x="554" y="462"/>
                  </a:cubicBezTo>
                  <a:cubicBezTo>
                    <a:pt x="553" y="462"/>
                    <a:pt x="553" y="463"/>
                    <a:pt x="552" y="463"/>
                  </a:cubicBezTo>
                  <a:cubicBezTo>
                    <a:pt x="552" y="463"/>
                    <a:pt x="552" y="463"/>
                    <a:pt x="551" y="463"/>
                  </a:cubicBezTo>
                  <a:cubicBezTo>
                    <a:pt x="551" y="463"/>
                    <a:pt x="550" y="463"/>
                    <a:pt x="549" y="462"/>
                  </a:cubicBezTo>
                  <a:cubicBezTo>
                    <a:pt x="550" y="462"/>
                    <a:pt x="551" y="461"/>
                    <a:pt x="552" y="461"/>
                  </a:cubicBezTo>
                  <a:cubicBezTo>
                    <a:pt x="552" y="459"/>
                    <a:pt x="549" y="459"/>
                    <a:pt x="549" y="459"/>
                  </a:cubicBezTo>
                  <a:cubicBezTo>
                    <a:pt x="548" y="459"/>
                    <a:pt x="548" y="459"/>
                    <a:pt x="548" y="459"/>
                  </a:cubicBezTo>
                  <a:cubicBezTo>
                    <a:pt x="548" y="457"/>
                    <a:pt x="548" y="456"/>
                    <a:pt x="547" y="454"/>
                  </a:cubicBezTo>
                  <a:cubicBezTo>
                    <a:pt x="547" y="453"/>
                    <a:pt x="545" y="453"/>
                    <a:pt x="544" y="452"/>
                  </a:cubicBezTo>
                  <a:cubicBezTo>
                    <a:pt x="544" y="452"/>
                    <a:pt x="542" y="450"/>
                    <a:pt x="542" y="450"/>
                  </a:cubicBezTo>
                  <a:cubicBezTo>
                    <a:pt x="541" y="450"/>
                    <a:pt x="541" y="450"/>
                    <a:pt x="541" y="450"/>
                  </a:cubicBezTo>
                  <a:cubicBezTo>
                    <a:pt x="540" y="450"/>
                    <a:pt x="540" y="450"/>
                    <a:pt x="539" y="450"/>
                  </a:cubicBezTo>
                  <a:cubicBezTo>
                    <a:pt x="538" y="450"/>
                    <a:pt x="538" y="451"/>
                    <a:pt x="537" y="451"/>
                  </a:cubicBezTo>
                  <a:cubicBezTo>
                    <a:pt x="537" y="451"/>
                    <a:pt x="536" y="450"/>
                    <a:pt x="536" y="449"/>
                  </a:cubicBezTo>
                  <a:cubicBezTo>
                    <a:pt x="535" y="447"/>
                    <a:pt x="534" y="446"/>
                    <a:pt x="533" y="445"/>
                  </a:cubicBezTo>
                  <a:cubicBezTo>
                    <a:pt x="532" y="444"/>
                    <a:pt x="531" y="446"/>
                    <a:pt x="531" y="443"/>
                  </a:cubicBezTo>
                  <a:cubicBezTo>
                    <a:pt x="530" y="443"/>
                    <a:pt x="530" y="443"/>
                    <a:pt x="529" y="443"/>
                  </a:cubicBezTo>
                  <a:cubicBezTo>
                    <a:pt x="532" y="443"/>
                    <a:pt x="530" y="442"/>
                    <a:pt x="528" y="440"/>
                  </a:cubicBezTo>
                  <a:cubicBezTo>
                    <a:pt x="528" y="441"/>
                    <a:pt x="528" y="441"/>
                    <a:pt x="528" y="441"/>
                  </a:cubicBezTo>
                  <a:cubicBezTo>
                    <a:pt x="527" y="440"/>
                    <a:pt x="527" y="439"/>
                    <a:pt x="526" y="439"/>
                  </a:cubicBezTo>
                  <a:cubicBezTo>
                    <a:pt x="526" y="439"/>
                    <a:pt x="526" y="439"/>
                    <a:pt x="526" y="439"/>
                  </a:cubicBezTo>
                  <a:cubicBezTo>
                    <a:pt x="525" y="439"/>
                    <a:pt x="524" y="439"/>
                    <a:pt x="524" y="440"/>
                  </a:cubicBezTo>
                  <a:cubicBezTo>
                    <a:pt x="523" y="440"/>
                    <a:pt x="522" y="441"/>
                    <a:pt x="521" y="441"/>
                  </a:cubicBezTo>
                  <a:cubicBezTo>
                    <a:pt x="521" y="441"/>
                    <a:pt x="521" y="441"/>
                    <a:pt x="521" y="441"/>
                  </a:cubicBezTo>
                  <a:cubicBezTo>
                    <a:pt x="522" y="440"/>
                    <a:pt x="524" y="439"/>
                    <a:pt x="525" y="438"/>
                  </a:cubicBezTo>
                  <a:cubicBezTo>
                    <a:pt x="524" y="437"/>
                    <a:pt x="524" y="437"/>
                    <a:pt x="523" y="437"/>
                  </a:cubicBezTo>
                  <a:cubicBezTo>
                    <a:pt x="522" y="437"/>
                    <a:pt x="521" y="438"/>
                    <a:pt x="520" y="438"/>
                  </a:cubicBezTo>
                  <a:cubicBezTo>
                    <a:pt x="520" y="438"/>
                    <a:pt x="520" y="440"/>
                    <a:pt x="520" y="440"/>
                  </a:cubicBezTo>
                  <a:cubicBezTo>
                    <a:pt x="519" y="440"/>
                    <a:pt x="519" y="439"/>
                    <a:pt x="519" y="438"/>
                  </a:cubicBezTo>
                  <a:cubicBezTo>
                    <a:pt x="520" y="437"/>
                    <a:pt x="521" y="436"/>
                    <a:pt x="523" y="436"/>
                  </a:cubicBezTo>
                  <a:cubicBezTo>
                    <a:pt x="522" y="436"/>
                    <a:pt x="517" y="434"/>
                    <a:pt x="517" y="434"/>
                  </a:cubicBezTo>
                  <a:cubicBezTo>
                    <a:pt x="517" y="434"/>
                    <a:pt x="517" y="434"/>
                    <a:pt x="517" y="434"/>
                  </a:cubicBezTo>
                  <a:cubicBezTo>
                    <a:pt x="516" y="434"/>
                    <a:pt x="515" y="436"/>
                    <a:pt x="515" y="436"/>
                  </a:cubicBezTo>
                  <a:cubicBezTo>
                    <a:pt x="514" y="436"/>
                    <a:pt x="514" y="435"/>
                    <a:pt x="514" y="433"/>
                  </a:cubicBezTo>
                  <a:cubicBezTo>
                    <a:pt x="514" y="434"/>
                    <a:pt x="514" y="434"/>
                    <a:pt x="514" y="434"/>
                  </a:cubicBezTo>
                  <a:cubicBezTo>
                    <a:pt x="514" y="433"/>
                    <a:pt x="513" y="432"/>
                    <a:pt x="513" y="432"/>
                  </a:cubicBezTo>
                  <a:cubicBezTo>
                    <a:pt x="512" y="432"/>
                    <a:pt x="512" y="432"/>
                    <a:pt x="512" y="432"/>
                  </a:cubicBezTo>
                  <a:cubicBezTo>
                    <a:pt x="511" y="433"/>
                    <a:pt x="511" y="433"/>
                    <a:pt x="511" y="433"/>
                  </a:cubicBezTo>
                  <a:cubicBezTo>
                    <a:pt x="511" y="433"/>
                    <a:pt x="510" y="433"/>
                    <a:pt x="510" y="433"/>
                  </a:cubicBezTo>
                  <a:cubicBezTo>
                    <a:pt x="508" y="432"/>
                    <a:pt x="508" y="429"/>
                    <a:pt x="507" y="427"/>
                  </a:cubicBezTo>
                  <a:cubicBezTo>
                    <a:pt x="505" y="425"/>
                    <a:pt x="502" y="422"/>
                    <a:pt x="499" y="420"/>
                  </a:cubicBezTo>
                  <a:cubicBezTo>
                    <a:pt x="498" y="419"/>
                    <a:pt x="497" y="418"/>
                    <a:pt x="496" y="417"/>
                  </a:cubicBezTo>
                  <a:cubicBezTo>
                    <a:pt x="495" y="416"/>
                    <a:pt x="492" y="414"/>
                    <a:pt x="492" y="412"/>
                  </a:cubicBezTo>
                  <a:cubicBezTo>
                    <a:pt x="491" y="411"/>
                    <a:pt x="491" y="411"/>
                    <a:pt x="491" y="411"/>
                  </a:cubicBezTo>
                  <a:cubicBezTo>
                    <a:pt x="492" y="411"/>
                    <a:pt x="493" y="411"/>
                    <a:pt x="494" y="411"/>
                  </a:cubicBezTo>
                  <a:cubicBezTo>
                    <a:pt x="495" y="411"/>
                    <a:pt x="495" y="411"/>
                    <a:pt x="496" y="411"/>
                  </a:cubicBezTo>
                  <a:cubicBezTo>
                    <a:pt x="496" y="408"/>
                    <a:pt x="499" y="405"/>
                    <a:pt x="502" y="405"/>
                  </a:cubicBezTo>
                  <a:cubicBezTo>
                    <a:pt x="506" y="405"/>
                    <a:pt x="509" y="408"/>
                    <a:pt x="509" y="411"/>
                  </a:cubicBezTo>
                  <a:cubicBezTo>
                    <a:pt x="509" y="412"/>
                    <a:pt x="508" y="414"/>
                    <a:pt x="508" y="414"/>
                  </a:cubicBezTo>
                  <a:cubicBezTo>
                    <a:pt x="508" y="414"/>
                    <a:pt x="508" y="414"/>
                    <a:pt x="508" y="414"/>
                  </a:cubicBezTo>
                  <a:cubicBezTo>
                    <a:pt x="509" y="415"/>
                    <a:pt x="509" y="416"/>
                    <a:pt x="509" y="416"/>
                  </a:cubicBezTo>
                  <a:cubicBezTo>
                    <a:pt x="508" y="416"/>
                    <a:pt x="509" y="416"/>
                    <a:pt x="509" y="416"/>
                  </a:cubicBezTo>
                  <a:cubicBezTo>
                    <a:pt x="509" y="416"/>
                    <a:pt x="509" y="416"/>
                    <a:pt x="509" y="416"/>
                  </a:cubicBezTo>
                  <a:cubicBezTo>
                    <a:pt x="509" y="416"/>
                    <a:pt x="509" y="416"/>
                    <a:pt x="510" y="416"/>
                  </a:cubicBezTo>
                  <a:cubicBezTo>
                    <a:pt x="510" y="416"/>
                    <a:pt x="510" y="416"/>
                    <a:pt x="510" y="416"/>
                  </a:cubicBezTo>
                  <a:cubicBezTo>
                    <a:pt x="511" y="417"/>
                    <a:pt x="512" y="418"/>
                    <a:pt x="514" y="419"/>
                  </a:cubicBezTo>
                  <a:cubicBezTo>
                    <a:pt x="514" y="418"/>
                    <a:pt x="514" y="418"/>
                    <a:pt x="514" y="418"/>
                  </a:cubicBezTo>
                  <a:cubicBezTo>
                    <a:pt x="514" y="419"/>
                    <a:pt x="514" y="419"/>
                    <a:pt x="514" y="419"/>
                  </a:cubicBezTo>
                  <a:cubicBezTo>
                    <a:pt x="515" y="420"/>
                    <a:pt x="517" y="422"/>
                    <a:pt x="518" y="423"/>
                  </a:cubicBezTo>
                  <a:cubicBezTo>
                    <a:pt x="519" y="424"/>
                    <a:pt x="520" y="425"/>
                    <a:pt x="520" y="425"/>
                  </a:cubicBezTo>
                  <a:cubicBezTo>
                    <a:pt x="521" y="425"/>
                    <a:pt x="521" y="423"/>
                    <a:pt x="520" y="421"/>
                  </a:cubicBezTo>
                  <a:cubicBezTo>
                    <a:pt x="519" y="419"/>
                    <a:pt x="519" y="418"/>
                    <a:pt x="518" y="416"/>
                  </a:cubicBezTo>
                  <a:cubicBezTo>
                    <a:pt x="518" y="416"/>
                    <a:pt x="516" y="412"/>
                    <a:pt x="516" y="411"/>
                  </a:cubicBezTo>
                  <a:cubicBezTo>
                    <a:pt x="516" y="411"/>
                    <a:pt x="516" y="411"/>
                    <a:pt x="516" y="411"/>
                  </a:cubicBezTo>
                  <a:cubicBezTo>
                    <a:pt x="518" y="411"/>
                    <a:pt x="518" y="414"/>
                    <a:pt x="519" y="415"/>
                  </a:cubicBezTo>
                  <a:cubicBezTo>
                    <a:pt x="519" y="415"/>
                    <a:pt x="519" y="415"/>
                    <a:pt x="519" y="415"/>
                  </a:cubicBezTo>
                  <a:cubicBezTo>
                    <a:pt x="519" y="415"/>
                    <a:pt x="520" y="415"/>
                    <a:pt x="520" y="414"/>
                  </a:cubicBezTo>
                  <a:cubicBezTo>
                    <a:pt x="520" y="414"/>
                    <a:pt x="521" y="414"/>
                    <a:pt x="521" y="414"/>
                  </a:cubicBezTo>
                  <a:cubicBezTo>
                    <a:pt x="521" y="414"/>
                    <a:pt x="521" y="414"/>
                    <a:pt x="521" y="414"/>
                  </a:cubicBezTo>
                  <a:cubicBezTo>
                    <a:pt x="521" y="414"/>
                    <a:pt x="522" y="416"/>
                    <a:pt x="522" y="417"/>
                  </a:cubicBezTo>
                  <a:cubicBezTo>
                    <a:pt x="523" y="418"/>
                    <a:pt x="524" y="419"/>
                    <a:pt x="525" y="420"/>
                  </a:cubicBezTo>
                  <a:cubicBezTo>
                    <a:pt x="525" y="421"/>
                    <a:pt x="526" y="423"/>
                    <a:pt x="527" y="423"/>
                  </a:cubicBezTo>
                  <a:cubicBezTo>
                    <a:pt x="527" y="423"/>
                    <a:pt x="528" y="423"/>
                    <a:pt x="528" y="423"/>
                  </a:cubicBezTo>
                  <a:cubicBezTo>
                    <a:pt x="529" y="426"/>
                    <a:pt x="533" y="428"/>
                    <a:pt x="536" y="428"/>
                  </a:cubicBezTo>
                  <a:cubicBezTo>
                    <a:pt x="536" y="428"/>
                    <a:pt x="536" y="428"/>
                    <a:pt x="536" y="428"/>
                  </a:cubicBezTo>
                  <a:cubicBezTo>
                    <a:pt x="537" y="428"/>
                    <a:pt x="537" y="427"/>
                    <a:pt x="537" y="427"/>
                  </a:cubicBezTo>
                  <a:cubicBezTo>
                    <a:pt x="538" y="427"/>
                    <a:pt x="538" y="428"/>
                    <a:pt x="538" y="428"/>
                  </a:cubicBezTo>
                  <a:cubicBezTo>
                    <a:pt x="538" y="428"/>
                    <a:pt x="537" y="429"/>
                    <a:pt x="537" y="430"/>
                  </a:cubicBezTo>
                  <a:cubicBezTo>
                    <a:pt x="538" y="430"/>
                    <a:pt x="538" y="430"/>
                    <a:pt x="538" y="431"/>
                  </a:cubicBezTo>
                  <a:cubicBezTo>
                    <a:pt x="539" y="432"/>
                    <a:pt x="540" y="433"/>
                    <a:pt x="541" y="433"/>
                  </a:cubicBezTo>
                  <a:cubicBezTo>
                    <a:pt x="541" y="433"/>
                    <a:pt x="542" y="432"/>
                    <a:pt x="543" y="431"/>
                  </a:cubicBezTo>
                  <a:cubicBezTo>
                    <a:pt x="542" y="433"/>
                    <a:pt x="542" y="434"/>
                    <a:pt x="543" y="436"/>
                  </a:cubicBezTo>
                  <a:cubicBezTo>
                    <a:pt x="544" y="437"/>
                    <a:pt x="546" y="437"/>
                    <a:pt x="547" y="438"/>
                  </a:cubicBezTo>
                  <a:cubicBezTo>
                    <a:pt x="547" y="437"/>
                    <a:pt x="545" y="436"/>
                    <a:pt x="545" y="435"/>
                  </a:cubicBezTo>
                  <a:cubicBezTo>
                    <a:pt x="545" y="435"/>
                    <a:pt x="546" y="435"/>
                    <a:pt x="546" y="435"/>
                  </a:cubicBezTo>
                  <a:cubicBezTo>
                    <a:pt x="549" y="435"/>
                    <a:pt x="545" y="430"/>
                    <a:pt x="543" y="428"/>
                  </a:cubicBezTo>
                  <a:cubicBezTo>
                    <a:pt x="549" y="429"/>
                    <a:pt x="546" y="436"/>
                    <a:pt x="551" y="438"/>
                  </a:cubicBezTo>
                  <a:cubicBezTo>
                    <a:pt x="552" y="439"/>
                    <a:pt x="554" y="440"/>
                    <a:pt x="556" y="440"/>
                  </a:cubicBezTo>
                  <a:cubicBezTo>
                    <a:pt x="556" y="440"/>
                    <a:pt x="557" y="440"/>
                    <a:pt x="557" y="440"/>
                  </a:cubicBezTo>
                  <a:cubicBezTo>
                    <a:pt x="557" y="440"/>
                    <a:pt x="557" y="440"/>
                    <a:pt x="557" y="439"/>
                  </a:cubicBezTo>
                  <a:cubicBezTo>
                    <a:pt x="557" y="437"/>
                    <a:pt x="555" y="435"/>
                    <a:pt x="554" y="434"/>
                  </a:cubicBezTo>
                  <a:cubicBezTo>
                    <a:pt x="554" y="434"/>
                    <a:pt x="554" y="434"/>
                    <a:pt x="554" y="434"/>
                  </a:cubicBezTo>
                  <a:cubicBezTo>
                    <a:pt x="556" y="434"/>
                    <a:pt x="556" y="435"/>
                    <a:pt x="557" y="436"/>
                  </a:cubicBezTo>
                  <a:cubicBezTo>
                    <a:pt x="558" y="437"/>
                    <a:pt x="558" y="437"/>
                    <a:pt x="558" y="437"/>
                  </a:cubicBezTo>
                  <a:cubicBezTo>
                    <a:pt x="558" y="437"/>
                    <a:pt x="558" y="437"/>
                    <a:pt x="558" y="437"/>
                  </a:cubicBezTo>
                  <a:cubicBezTo>
                    <a:pt x="558" y="437"/>
                    <a:pt x="558" y="437"/>
                    <a:pt x="558" y="437"/>
                  </a:cubicBezTo>
                  <a:cubicBezTo>
                    <a:pt x="558" y="437"/>
                    <a:pt x="559" y="436"/>
                    <a:pt x="559" y="436"/>
                  </a:cubicBezTo>
                  <a:cubicBezTo>
                    <a:pt x="559" y="436"/>
                    <a:pt x="559" y="436"/>
                    <a:pt x="559" y="437"/>
                  </a:cubicBezTo>
                  <a:cubicBezTo>
                    <a:pt x="560" y="437"/>
                    <a:pt x="559" y="439"/>
                    <a:pt x="561" y="439"/>
                  </a:cubicBezTo>
                  <a:cubicBezTo>
                    <a:pt x="561" y="439"/>
                    <a:pt x="561" y="439"/>
                    <a:pt x="561" y="439"/>
                  </a:cubicBezTo>
                  <a:cubicBezTo>
                    <a:pt x="562" y="439"/>
                    <a:pt x="563" y="437"/>
                    <a:pt x="564" y="437"/>
                  </a:cubicBezTo>
                  <a:cubicBezTo>
                    <a:pt x="564" y="438"/>
                    <a:pt x="561" y="440"/>
                    <a:pt x="561" y="440"/>
                  </a:cubicBezTo>
                  <a:cubicBezTo>
                    <a:pt x="561" y="441"/>
                    <a:pt x="563" y="441"/>
                    <a:pt x="563" y="441"/>
                  </a:cubicBezTo>
                  <a:cubicBezTo>
                    <a:pt x="564" y="442"/>
                    <a:pt x="565" y="442"/>
                    <a:pt x="565" y="442"/>
                  </a:cubicBezTo>
                  <a:cubicBezTo>
                    <a:pt x="566" y="442"/>
                    <a:pt x="566" y="441"/>
                    <a:pt x="567" y="439"/>
                  </a:cubicBezTo>
                  <a:cubicBezTo>
                    <a:pt x="566" y="442"/>
                    <a:pt x="569" y="445"/>
                    <a:pt x="572" y="445"/>
                  </a:cubicBezTo>
                  <a:cubicBezTo>
                    <a:pt x="573" y="445"/>
                    <a:pt x="575" y="444"/>
                    <a:pt x="576" y="443"/>
                  </a:cubicBezTo>
                  <a:cubicBezTo>
                    <a:pt x="576" y="444"/>
                    <a:pt x="576" y="444"/>
                    <a:pt x="577" y="444"/>
                  </a:cubicBezTo>
                  <a:cubicBezTo>
                    <a:pt x="577" y="444"/>
                    <a:pt x="577" y="444"/>
                    <a:pt x="577" y="444"/>
                  </a:cubicBezTo>
                  <a:cubicBezTo>
                    <a:pt x="575" y="445"/>
                    <a:pt x="575" y="446"/>
                    <a:pt x="576" y="446"/>
                  </a:cubicBezTo>
                  <a:cubicBezTo>
                    <a:pt x="577" y="446"/>
                    <a:pt x="577" y="446"/>
                    <a:pt x="578" y="446"/>
                  </a:cubicBezTo>
                  <a:cubicBezTo>
                    <a:pt x="577" y="447"/>
                    <a:pt x="575" y="450"/>
                    <a:pt x="576" y="450"/>
                  </a:cubicBezTo>
                  <a:cubicBezTo>
                    <a:pt x="576" y="450"/>
                    <a:pt x="576" y="450"/>
                    <a:pt x="577" y="449"/>
                  </a:cubicBezTo>
                  <a:cubicBezTo>
                    <a:pt x="577" y="451"/>
                    <a:pt x="578" y="454"/>
                    <a:pt x="579" y="454"/>
                  </a:cubicBezTo>
                  <a:cubicBezTo>
                    <a:pt x="579" y="454"/>
                    <a:pt x="579" y="454"/>
                    <a:pt x="580" y="454"/>
                  </a:cubicBezTo>
                  <a:cubicBezTo>
                    <a:pt x="581" y="454"/>
                    <a:pt x="583" y="452"/>
                    <a:pt x="585" y="452"/>
                  </a:cubicBezTo>
                  <a:cubicBezTo>
                    <a:pt x="584" y="449"/>
                    <a:pt x="581" y="446"/>
                    <a:pt x="580" y="443"/>
                  </a:cubicBezTo>
                  <a:cubicBezTo>
                    <a:pt x="579" y="442"/>
                    <a:pt x="578" y="440"/>
                    <a:pt x="577" y="440"/>
                  </a:cubicBezTo>
                  <a:cubicBezTo>
                    <a:pt x="578" y="440"/>
                    <a:pt x="580" y="440"/>
                    <a:pt x="581" y="441"/>
                  </a:cubicBezTo>
                  <a:cubicBezTo>
                    <a:pt x="580" y="440"/>
                    <a:pt x="581" y="439"/>
                    <a:pt x="581" y="438"/>
                  </a:cubicBezTo>
                  <a:cubicBezTo>
                    <a:pt x="581" y="440"/>
                    <a:pt x="583" y="442"/>
                    <a:pt x="585" y="443"/>
                  </a:cubicBezTo>
                  <a:cubicBezTo>
                    <a:pt x="586" y="443"/>
                    <a:pt x="586" y="443"/>
                    <a:pt x="587" y="443"/>
                  </a:cubicBezTo>
                  <a:cubicBezTo>
                    <a:pt x="588" y="443"/>
                    <a:pt x="588" y="443"/>
                    <a:pt x="589" y="442"/>
                  </a:cubicBezTo>
                  <a:cubicBezTo>
                    <a:pt x="590" y="442"/>
                    <a:pt x="590" y="442"/>
                    <a:pt x="591" y="442"/>
                  </a:cubicBezTo>
                  <a:cubicBezTo>
                    <a:pt x="591" y="442"/>
                    <a:pt x="591" y="442"/>
                    <a:pt x="592" y="442"/>
                  </a:cubicBezTo>
                  <a:cubicBezTo>
                    <a:pt x="591" y="441"/>
                    <a:pt x="588" y="440"/>
                    <a:pt x="587" y="439"/>
                  </a:cubicBezTo>
                  <a:cubicBezTo>
                    <a:pt x="587" y="438"/>
                    <a:pt x="591" y="436"/>
                    <a:pt x="589" y="434"/>
                  </a:cubicBezTo>
                  <a:cubicBezTo>
                    <a:pt x="587" y="433"/>
                    <a:pt x="585" y="432"/>
                    <a:pt x="584" y="432"/>
                  </a:cubicBezTo>
                  <a:cubicBezTo>
                    <a:pt x="584" y="431"/>
                    <a:pt x="580" y="431"/>
                    <a:pt x="584" y="430"/>
                  </a:cubicBezTo>
                  <a:cubicBezTo>
                    <a:pt x="582" y="430"/>
                    <a:pt x="581" y="430"/>
                    <a:pt x="580" y="428"/>
                  </a:cubicBezTo>
                  <a:cubicBezTo>
                    <a:pt x="581" y="428"/>
                    <a:pt x="582" y="429"/>
                    <a:pt x="583" y="429"/>
                  </a:cubicBezTo>
                  <a:cubicBezTo>
                    <a:pt x="583" y="429"/>
                    <a:pt x="583" y="429"/>
                    <a:pt x="583" y="428"/>
                  </a:cubicBezTo>
                  <a:cubicBezTo>
                    <a:pt x="584" y="428"/>
                    <a:pt x="585" y="429"/>
                    <a:pt x="585" y="429"/>
                  </a:cubicBezTo>
                  <a:cubicBezTo>
                    <a:pt x="586" y="429"/>
                    <a:pt x="586" y="429"/>
                    <a:pt x="585" y="428"/>
                  </a:cubicBezTo>
                  <a:cubicBezTo>
                    <a:pt x="584" y="427"/>
                    <a:pt x="581" y="424"/>
                    <a:pt x="581" y="423"/>
                  </a:cubicBezTo>
                  <a:cubicBezTo>
                    <a:pt x="580" y="422"/>
                    <a:pt x="583" y="422"/>
                    <a:pt x="582" y="421"/>
                  </a:cubicBezTo>
                  <a:cubicBezTo>
                    <a:pt x="582" y="420"/>
                    <a:pt x="582" y="419"/>
                    <a:pt x="582" y="418"/>
                  </a:cubicBezTo>
                  <a:cubicBezTo>
                    <a:pt x="582" y="417"/>
                    <a:pt x="583" y="417"/>
                    <a:pt x="583" y="417"/>
                  </a:cubicBezTo>
                  <a:cubicBezTo>
                    <a:pt x="583" y="416"/>
                    <a:pt x="584" y="417"/>
                    <a:pt x="582" y="415"/>
                  </a:cubicBezTo>
                  <a:cubicBezTo>
                    <a:pt x="581" y="413"/>
                    <a:pt x="579" y="411"/>
                    <a:pt x="577" y="409"/>
                  </a:cubicBezTo>
                  <a:cubicBezTo>
                    <a:pt x="577" y="409"/>
                    <a:pt x="577" y="409"/>
                    <a:pt x="577" y="409"/>
                  </a:cubicBezTo>
                  <a:cubicBezTo>
                    <a:pt x="580" y="409"/>
                    <a:pt x="581" y="412"/>
                    <a:pt x="582" y="414"/>
                  </a:cubicBezTo>
                  <a:cubicBezTo>
                    <a:pt x="583" y="415"/>
                    <a:pt x="585" y="414"/>
                    <a:pt x="585" y="416"/>
                  </a:cubicBezTo>
                  <a:cubicBezTo>
                    <a:pt x="586" y="417"/>
                    <a:pt x="586" y="418"/>
                    <a:pt x="587" y="420"/>
                  </a:cubicBezTo>
                  <a:cubicBezTo>
                    <a:pt x="588" y="422"/>
                    <a:pt x="589" y="427"/>
                    <a:pt x="591" y="428"/>
                  </a:cubicBezTo>
                  <a:cubicBezTo>
                    <a:pt x="591" y="429"/>
                    <a:pt x="592" y="429"/>
                    <a:pt x="593" y="429"/>
                  </a:cubicBezTo>
                  <a:cubicBezTo>
                    <a:pt x="594" y="429"/>
                    <a:pt x="595" y="429"/>
                    <a:pt x="595" y="428"/>
                  </a:cubicBezTo>
                  <a:cubicBezTo>
                    <a:pt x="595" y="428"/>
                    <a:pt x="594" y="427"/>
                    <a:pt x="593" y="427"/>
                  </a:cubicBezTo>
                  <a:cubicBezTo>
                    <a:pt x="593" y="427"/>
                    <a:pt x="593" y="427"/>
                    <a:pt x="593" y="427"/>
                  </a:cubicBezTo>
                  <a:cubicBezTo>
                    <a:pt x="596" y="427"/>
                    <a:pt x="595" y="421"/>
                    <a:pt x="595" y="419"/>
                  </a:cubicBezTo>
                  <a:cubicBezTo>
                    <a:pt x="594" y="415"/>
                    <a:pt x="595" y="413"/>
                    <a:pt x="590" y="411"/>
                  </a:cubicBezTo>
                  <a:cubicBezTo>
                    <a:pt x="587" y="409"/>
                    <a:pt x="582" y="411"/>
                    <a:pt x="586" y="406"/>
                  </a:cubicBezTo>
                  <a:cubicBezTo>
                    <a:pt x="587" y="405"/>
                    <a:pt x="590" y="403"/>
                    <a:pt x="592" y="403"/>
                  </a:cubicBezTo>
                  <a:cubicBezTo>
                    <a:pt x="591" y="402"/>
                    <a:pt x="589" y="401"/>
                    <a:pt x="588" y="401"/>
                  </a:cubicBezTo>
                  <a:cubicBezTo>
                    <a:pt x="588" y="401"/>
                    <a:pt x="587" y="401"/>
                    <a:pt x="587" y="401"/>
                  </a:cubicBezTo>
                  <a:cubicBezTo>
                    <a:pt x="586" y="401"/>
                    <a:pt x="586" y="403"/>
                    <a:pt x="585" y="403"/>
                  </a:cubicBezTo>
                  <a:cubicBezTo>
                    <a:pt x="585" y="403"/>
                    <a:pt x="585" y="403"/>
                    <a:pt x="585" y="403"/>
                  </a:cubicBezTo>
                  <a:cubicBezTo>
                    <a:pt x="585" y="403"/>
                    <a:pt x="582" y="401"/>
                    <a:pt x="582" y="401"/>
                  </a:cubicBezTo>
                  <a:cubicBezTo>
                    <a:pt x="581" y="401"/>
                    <a:pt x="580" y="401"/>
                    <a:pt x="579" y="401"/>
                  </a:cubicBezTo>
                  <a:cubicBezTo>
                    <a:pt x="580" y="400"/>
                    <a:pt x="581" y="400"/>
                    <a:pt x="582" y="399"/>
                  </a:cubicBezTo>
                  <a:cubicBezTo>
                    <a:pt x="578" y="399"/>
                    <a:pt x="580" y="397"/>
                    <a:pt x="577" y="395"/>
                  </a:cubicBezTo>
                  <a:cubicBezTo>
                    <a:pt x="577" y="395"/>
                    <a:pt x="577" y="395"/>
                    <a:pt x="577" y="395"/>
                  </a:cubicBezTo>
                  <a:cubicBezTo>
                    <a:pt x="576" y="395"/>
                    <a:pt x="575" y="396"/>
                    <a:pt x="575" y="396"/>
                  </a:cubicBezTo>
                  <a:cubicBezTo>
                    <a:pt x="575" y="395"/>
                    <a:pt x="576" y="394"/>
                    <a:pt x="577" y="394"/>
                  </a:cubicBezTo>
                  <a:cubicBezTo>
                    <a:pt x="575" y="392"/>
                    <a:pt x="573" y="393"/>
                    <a:pt x="571" y="392"/>
                  </a:cubicBezTo>
                  <a:cubicBezTo>
                    <a:pt x="572" y="392"/>
                    <a:pt x="573" y="391"/>
                    <a:pt x="574" y="391"/>
                  </a:cubicBezTo>
                  <a:cubicBezTo>
                    <a:pt x="572" y="390"/>
                    <a:pt x="570" y="391"/>
                    <a:pt x="568" y="390"/>
                  </a:cubicBezTo>
                  <a:cubicBezTo>
                    <a:pt x="569" y="390"/>
                    <a:pt x="570" y="390"/>
                    <a:pt x="570" y="390"/>
                  </a:cubicBezTo>
                  <a:cubicBezTo>
                    <a:pt x="571" y="390"/>
                    <a:pt x="572" y="390"/>
                    <a:pt x="573" y="390"/>
                  </a:cubicBezTo>
                  <a:cubicBezTo>
                    <a:pt x="575" y="391"/>
                    <a:pt x="576" y="391"/>
                    <a:pt x="577" y="391"/>
                  </a:cubicBezTo>
                  <a:cubicBezTo>
                    <a:pt x="578" y="391"/>
                    <a:pt x="578" y="391"/>
                    <a:pt x="579" y="390"/>
                  </a:cubicBezTo>
                  <a:cubicBezTo>
                    <a:pt x="580" y="389"/>
                    <a:pt x="579" y="388"/>
                    <a:pt x="579" y="387"/>
                  </a:cubicBezTo>
                  <a:cubicBezTo>
                    <a:pt x="579" y="387"/>
                    <a:pt x="581" y="386"/>
                    <a:pt x="581" y="386"/>
                  </a:cubicBezTo>
                  <a:cubicBezTo>
                    <a:pt x="582" y="383"/>
                    <a:pt x="580" y="384"/>
                    <a:pt x="577" y="383"/>
                  </a:cubicBezTo>
                  <a:cubicBezTo>
                    <a:pt x="577" y="384"/>
                    <a:pt x="577" y="384"/>
                    <a:pt x="576" y="384"/>
                  </a:cubicBezTo>
                  <a:cubicBezTo>
                    <a:pt x="574" y="385"/>
                    <a:pt x="574" y="385"/>
                    <a:pt x="574" y="385"/>
                  </a:cubicBezTo>
                  <a:cubicBezTo>
                    <a:pt x="571" y="384"/>
                    <a:pt x="571" y="384"/>
                    <a:pt x="571" y="384"/>
                  </a:cubicBezTo>
                  <a:cubicBezTo>
                    <a:pt x="571" y="383"/>
                    <a:pt x="571" y="383"/>
                    <a:pt x="570" y="383"/>
                  </a:cubicBezTo>
                  <a:cubicBezTo>
                    <a:pt x="570" y="383"/>
                    <a:pt x="569" y="383"/>
                    <a:pt x="569" y="383"/>
                  </a:cubicBezTo>
                  <a:cubicBezTo>
                    <a:pt x="569" y="383"/>
                    <a:pt x="568" y="383"/>
                    <a:pt x="568" y="383"/>
                  </a:cubicBezTo>
                  <a:cubicBezTo>
                    <a:pt x="568" y="383"/>
                    <a:pt x="568" y="383"/>
                    <a:pt x="568" y="383"/>
                  </a:cubicBezTo>
                  <a:cubicBezTo>
                    <a:pt x="565" y="382"/>
                    <a:pt x="570" y="379"/>
                    <a:pt x="570" y="377"/>
                  </a:cubicBezTo>
                  <a:cubicBezTo>
                    <a:pt x="571" y="375"/>
                    <a:pt x="569" y="374"/>
                    <a:pt x="568" y="374"/>
                  </a:cubicBezTo>
                  <a:cubicBezTo>
                    <a:pt x="567" y="374"/>
                    <a:pt x="567" y="374"/>
                    <a:pt x="567" y="376"/>
                  </a:cubicBezTo>
                  <a:cubicBezTo>
                    <a:pt x="566" y="374"/>
                    <a:pt x="568" y="373"/>
                    <a:pt x="567" y="372"/>
                  </a:cubicBezTo>
                  <a:cubicBezTo>
                    <a:pt x="567" y="372"/>
                    <a:pt x="565" y="372"/>
                    <a:pt x="565" y="371"/>
                  </a:cubicBezTo>
                  <a:cubicBezTo>
                    <a:pt x="565" y="371"/>
                    <a:pt x="564" y="369"/>
                    <a:pt x="564" y="369"/>
                  </a:cubicBezTo>
                  <a:cubicBezTo>
                    <a:pt x="564" y="369"/>
                    <a:pt x="563" y="369"/>
                    <a:pt x="563" y="369"/>
                  </a:cubicBezTo>
                  <a:cubicBezTo>
                    <a:pt x="563" y="369"/>
                    <a:pt x="563" y="369"/>
                    <a:pt x="563" y="369"/>
                  </a:cubicBezTo>
                  <a:cubicBezTo>
                    <a:pt x="562" y="368"/>
                    <a:pt x="562" y="368"/>
                    <a:pt x="562" y="368"/>
                  </a:cubicBezTo>
                  <a:cubicBezTo>
                    <a:pt x="562" y="368"/>
                    <a:pt x="562" y="368"/>
                    <a:pt x="562" y="368"/>
                  </a:cubicBezTo>
                  <a:cubicBezTo>
                    <a:pt x="560" y="370"/>
                    <a:pt x="563" y="376"/>
                    <a:pt x="564" y="378"/>
                  </a:cubicBezTo>
                  <a:cubicBezTo>
                    <a:pt x="562" y="376"/>
                    <a:pt x="562" y="375"/>
                    <a:pt x="560" y="373"/>
                  </a:cubicBezTo>
                  <a:cubicBezTo>
                    <a:pt x="560" y="375"/>
                    <a:pt x="560" y="375"/>
                    <a:pt x="560" y="375"/>
                  </a:cubicBezTo>
                  <a:cubicBezTo>
                    <a:pt x="560" y="375"/>
                    <a:pt x="559" y="373"/>
                    <a:pt x="558" y="372"/>
                  </a:cubicBezTo>
                  <a:cubicBezTo>
                    <a:pt x="557" y="373"/>
                    <a:pt x="557" y="376"/>
                    <a:pt x="557" y="376"/>
                  </a:cubicBezTo>
                  <a:cubicBezTo>
                    <a:pt x="556" y="376"/>
                    <a:pt x="556" y="376"/>
                    <a:pt x="556" y="376"/>
                  </a:cubicBezTo>
                  <a:cubicBezTo>
                    <a:pt x="555" y="376"/>
                    <a:pt x="554" y="373"/>
                    <a:pt x="553" y="373"/>
                  </a:cubicBezTo>
                  <a:cubicBezTo>
                    <a:pt x="555" y="373"/>
                    <a:pt x="557" y="373"/>
                    <a:pt x="556" y="370"/>
                  </a:cubicBezTo>
                  <a:cubicBezTo>
                    <a:pt x="556" y="369"/>
                    <a:pt x="556" y="368"/>
                    <a:pt x="555" y="368"/>
                  </a:cubicBezTo>
                  <a:cubicBezTo>
                    <a:pt x="555" y="368"/>
                    <a:pt x="554" y="368"/>
                    <a:pt x="554" y="369"/>
                  </a:cubicBezTo>
                  <a:cubicBezTo>
                    <a:pt x="553" y="369"/>
                    <a:pt x="553" y="369"/>
                    <a:pt x="553" y="369"/>
                  </a:cubicBezTo>
                  <a:cubicBezTo>
                    <a:pt x="553" y="369"/>
                    <a:pt x="553" y="369"/>
                    <a:pt x="553" y="369"/>
                  </a:cubicBezTo>
                  <a:cubicBezTo>
                    <a:pt x="552" y="369"/>
                    <a:pt x="553" y="367"/>
                    <a:pt x="552" y="367"/>
                  </a:cubicBezTo>
                  <a:cubicBezTo>
                    <a:pt x="552" y="367"/>
                    <a:pt x="552" y="366"/>
                    <a:pt x="552" y="366"/>
                  </a:cubicBezTo>
                  <a:cubicBezTo>
                    <a:pt x="552" y="366"/>
                    <a:pt x="552" y="367"/>
                    <a:pt x="552" y="367"/>
                  </a:cubicBezTo>
                  <a:cubicBezTo>
                    <a:pt x="552" y="367"/>
                    <a:pt x="552" y="367"/>
                    <a:pt x="551" y="367"/>
                  </a:cubicBezTo>
                  <a:cubicBezTo>
                    <a:pt x="551" y="367"/>
                    <a:pt x="551" y="367"/>
                    <a:pt x="551" y="367"/>
                  </a:cubicBezTo>
                  <a:cubicBezTo>
                    <a:pt x="550" y="367"/>
                    <a:pt x="548" y="366"/>
                    <a:pt x="548" y="366"/>
                  </a:cubicBezTo>
                  <a:cubicBezTo>
                    <a:pt x="548" y="365"/>
                    <a:pt x="546" y="363"/>
                    <a:pt x="545" y="363"/>
                  </a:cubicBezTo>
                  <a:cubicBezTo>
                    <a:pt x="545" y="363"/>
                    <a:pt x="544" y="363"/>
                    <a:pt x="544" y="363"/>
                  </a:cubicBezTo>
                  <a:cubicBezTo>
                    <a:pt x="544" y="363"/>
                    <a:pt x="544" y="363"/>
                    <a:pt x="544" y="363"/>
                  </a:cubicBezTo>
                  <a:cubicBezTo>
                    <a:pt x="544" y="363"/>
                    <a:pt x="544" y="369"/>
                    <a:pt x="544" y="369"/>
                  </a:cubicBezTo>
                  <a:cubicBezTo>
                    <a:pt x="544" y="371"/>
                    <a:pt x="545" y="373"/>
                    <a:pt x="544" y="373"/>
                  </a:cubicBezTo>
                  <a:cubicBezTo>
                    <a:pt x="544" y="373"/>
                    <a:pt x="544" y="372"/>
                    <a:pt x="543" y="371"/>
                  </a:cubicBezTo>
                  <a:cubicBezTo>
                    <a:pt x="542" y="369"/>
                    <a:pt x="541" y="365"/>
                    <a:pt x="539" y="363"/>
                  </a:cubicBezTo>
                  <a:cubicBezTo>
                    <a:pt x="539" y="362"/>
                    <a:pt x="545" y="359"/>
                    <a:pt x="543" y="358"/>
                  </a:cubicBezTo>
                  <a:cubicBezTo>
                    <a:pt x="543" y="358"/>
                    <a:pt x="543" y="358"/>
                    <a:pt x="543" y="358"/>
                  </a:cubicBezTo>
                  <a:cubicBezTo>
                    <a:pt x="542" y="358"/>
                    <a:pt x="540" y="360"/>
                    <a:pt x="539" y="361"/>
                  </a:cubicBezTo>
                  <a:cubicBezTo>
                    <a:pt x="539" y="362"/>
                    <a:pt x="539" y="362"/>
                    <a:pt x="539" y="362"/>
                  </a:cubicBezTo>
                  <a:cubicBezTo>
                    <a:pt x="538" y="362"/>
                    <a:pt x="538" y="362"/>
                    <a:pt x="538" y="361"/>
                  </a:cubicBezTo>
                  <a:cubicBezTo>
                    <a:pt x="538" y="361"/>
                    <a:pt x="537" y="361"/>
                    <a:pt x="537" y="361"/>
                  </a:cubicBezTo>
                  <a:cubicBezTo>
                    <a:pt x="537" y="361"/>
                    <a:pt x="537" y="361"/>
                    <a:pt x="537" y="361"/>
                  </a:cubicBezTo>
                  <a:cubicBezTo>
                    <a:pt x="537" y="361"/>
                    <a:pt x="535" y="362"/>
                    <a:pt x="535" y="362"/>
                  </a:cubicBezTo>
                  <a:cubicBezTo>
                    <a:pt x="537" y="361"/>
                    <a:pt x="538" y="361"/>
                    <a:pt x="538" y="359"/>
                  </a:cubicBezTo>
                  <a:cubicBezTo>
                    <a:pt x="538" y="356"/>
                    <a:pt x="536" y="357"/>
                    <a:pt x="535" y="356"/>
                  </a:cubicBezTo>
                  <a:cubicBezTo>
                    <a:pt x="535" y="356"/>
                    <a:pt x="534" y="356"/>
                    <a:pt x="533" y="356"/>
                  </a:cubicBezTo>
                  <a:cubicBezTo>
                    <a:pt x="533" y="354"/>
                    <a:pt x="534" y="351"/>
                    <a:pt x="531" y="351"/>
                  </a:cubicBezTo>
                  <a:cubicBezTo>
                    <a:pt x="531" y="351"/>
                    <a:pt x="531" y="351"/>
                    <a:pt x="531" y="351"/>
                  </a:cubicBezTo>
                  <a:cubicBezTo>
                    <a:pt x="533" y="351"/>
                    <a:pt x="535" y="350"/>
                    <a:pt x="535" y="349"/>
                  </a:cubicBezTo>
                  <a:cubicBezTo>
                    <a:pt x="534" y="347"/>
                    <a:pt x="533" y="347"/>
                    <a:pt x="530" y="346"/>
                  </a:cubicBezTo>
                  <a:cubicBezTo>
                    <a:pt x="530" y="346"/>
                    <a:pt x="530" y="346"/>
                    <a:pt x="530" y="346"/>
                  </a:cubicBezTo>
                  <a:cubicBezTo>
                    <a:pt x="530" y="346"/>
                    <a:pt x="530" y="347"/>
                    <a:pt x="529" y="347"/>
                  </a:cubicBezTo>
                  <a:cubicBezTo>
                    <a:pt x="529" y="347"/>
                    <a:pt x="529" y="347"/>
                    <a:pt x="529" y="347"/>
                  </a:cubicBezTo>
                  <a:cubicBezTo>
                    <a:pt x="528" y="347"/>
                    <a:pt x="528" y="347"/>
                    <a:pt x="527" y="346"/>
                  </a:cubicBezTo>
                  <a:cubicBezTo>
                    <a:pt x="526" y="344"/>
                    <a:pt x="527" y="344"/>
                    <a:pt x="528" y="342"/>
                  </a:cubicBezTo>
                  <a:cubicBezTo>
                    <a:pt x="528" y="341"/>
                    <a:pt x="530" y="339"/>
                    <a:pt x="528" y="339"/>
                  </a:cubicBezTo>
                  <a:cubicBezTo>
                    <a:pt x="528" y="338"/>
                    <a:pt x="528" y="338"/>
                    <a:pt x="527" y="338"/>
                  </a:cubicBezTo>
                  <a:cubicBezTo>
                    <a:pt x="526" y="338"/>
                    <a:pt x="525" y="339"/>
                    <a:pt x="524" y="339"/>
                  </a:cubicBezTo>
                  <a:cubicBezTo>
                    <a:pt x="522" y="340"/>
                    <a:pt x="521" y="340"/>
                    <a:pt x="519" y="341"/>
                  </a:cubicBezTo>
                  <a:cubicBezTo>
                    <a:pt x="518" y="341"/>
                    <a:pt x="517" y="342"/>
                    <a:pt x="516" y="343"/>
                  </a:cubicBezTo>
                  <a:cubicBezTo>
                    <a:pt x="515" y="344"/>
                    <a:pt x="514" y="345"/>
                    <a:pt x="514" y="346"/>
                  </a:cubicBezTo>
                  <a:cubicBezTo>
                    <a:pt x="514" y="346"/>
                    <a:pt x="514" y="346"/>
                    <a:pt x="514" y="346"/>
                  </a:cubicBezTo>
                  <a:cubicBezTo>
                    <a:pt x="513" y="346"/>
                    <a:pt x="513" y="346"/>
                    <a:pt x="513" y="346"/>
                  </a:cubicBezTo>
                  <a:cubicBezTo>
                    <a:pt x="513" y="342"/>
                    <a:pt x="514" y="338"/>
                    <a:pt x="514" y="335"/>
                  </a:cubicBezTo>
                  <a:cubicBezTo>
                    <a:pt x="514" y="335"/>
                    <a:pt x="514" y="335"/>
                    <a:pt x="514" y="335"/>
                  </a:cubicBezTo>
                  <a:cubicBezTo>
                    <a:pt x="513" y="335"/>
                    <a:pt x="513" y="334"/>
                    <a:pt x="512" y="334"/>
                  </a:cubicBezTo>
                  <a:cubicBezTo>
                    <a:pt x="511" y="334"/>
                    <a:pt x="511" y="334"/>
                    <a:pt x="510" y="334"/>
                  </a:cubicBezTo>
                  <a:cubicBezTo>
                    <a:pt x="510" y="334"/>
                    <a:pt x="510" y="334"/>
                    <a:pt x="509" y="334"/>
                  </a:cubicBezTo>
                  <a:cubicBezTo>
                    <a:pt x="509" y="333"/>
                    <a:pt x="511" y="329"/>
                    <a:pt x="511" y="329"/>
                  </a:cubicBezTo>
                  <a:cubicBezTo>
                    <a:pt x="511" y="329"/>
                    <a:pt x="510" y="329"/>
                    <a:pt x="510" y="329"/>
                  </a:cubicBezTo>
                  <a:cubicBezTo>
                    <a:pt x="510" y="329"/>
                    <a:pt x="510" y="329"/>
                    <a:pt x="509" y="329"/>
                  </a:cubicBezTo>
                  <a:cubicBezTo>
                    <a:pt x="509" y="329"/>
                    <a:pt x="508" y="329"/>
                    <a:pt x="508" y="329"/>
                  </a:cubicBezTo>
                  <a:cubicBezTo>
                    <a:pt x="508" y="329"/>
                    <a:pt x="508" y="329"/>
                    <a:pt x="508" y="329"/>
                  </a:cubicBezTo>
                  <a:cubicBezTo>
                    <a:pt x="508" y="329"/>
                    <a:pt x="508" y="329"/>
                    <a:pt x="508" y="329"/>
                  </a:cubicBezTo>
                  <a:cubicBezTo>
                    <a:pt x="508" y="329"/>
                    <a:pt x="507" y="329"/>
                    <a:pt x="507" y="329"/>
                  </a:cubicBezTo>
                  <a:cubicBezTo>
                    <a:pt x="507" y="329"/>
                    <a:pt x="507" y="329"/>
                    <a:pt x="507" y="329"/>
                  </a:cubicBezTo>
                  <a:cubicBezTo>
                    <a:pt x="507" y="329"/>
                    <a:pt x="507" y="329"/>
                    <a:pt x="506" y="329"/>
                  </a:cubicBezTo>
                  <a:cubicBezTo>
                    <a:pt x="506" y="328"/>
                    <a:pt x="506" y="326"/>
                    <a:pt x="506" y="325"/>
                  </a:cubicBezTo>
                  <a:cubicBezTo>
                    <a:pt x="507" y="325"/>
                    <a:pt x="509" y="327"/>
                    <a:pt x="510" y="327"/>
                  </a:cubicBezTo>
                  <a:cubicBezTo>
                    <a:pt x="510" y="327"/>
                    <a:pt x="510" y="327"/>
                    <a:pt x="510" y="327"/>
                  </a:cubicBezTo>
                  <a:cubicBezTo>
                    <a:pt x="512" y="326"/>
                    <a:pt x="512" y="324"/>
                    <a:pt x="512" y="323"/>
                  </a:cubicBezTo>
                  <a:cubicBezTo>
                    <a:pt x="511" y="322"/>
                    <a:pt x="510" y="322"/>
                    <a:pt x="509" y="321"/>
                  </a:cubicBezTo>
                  <a:cubicBezTo>
                    <a:pt x="511" y="322"/>
                    <a:pt x="512" y="322"/>
                    <a:pt x="514" y="323"/>
                  </a:cubicBezTo>
                  <a:cubicBezTo>
                    <a:pt x="514" y="322"/>
                    <a:pt x="514" y="322"/>
                    <a:pt x="514" y="322"/>
                  </a:cubicBezTo>
                  <a:cubicBezTo>
                    <a:pt x="514" y="322"/>
                    <a:pt x="514" y="323"/>
                    <a:pt x="515" y="323"/>
                  </a:cubicBezTo>
                  <a:cubicBezTo>
                    <a:pt x="514" y="323"/>
                    <a:pt x="514" y="324"/>
                    <a:pt x="514" y="325"/>
                  </a:cubicBezTo>
                  <a:cubicBezTo>
                    <a:pt x="514" y="325"/>
                    <a:pt x="514" y="325"/>
                    <a:pt x="514" y="325"/>
                  </a:cubicBezTo>
                  <a:cubicBezTo>
                    <a:pt x="514" y="326"/>
                    <a:pt x="514" y="326"/>
                    <a:pt x="514" y="326"/>
                  </a:cubicBezTo>
                  <a:cubicBezTo>
                    <a:pt x="514" y="327"/>
                    <a:pt x="515" y="329"/>
                    <a:pt x="515" y="330"/>
                  </a:cubicBezTo>
                  <a:cubicBezTo>
                    <a:pt x="516" y="331"/>
                    <a:pt x="518" y="331"/>
                    <a:pt x="519" y="331"/>
                  </a:cubicBezTo>
                  <a:cubicBezTo>
                    <a:pt x="521" y="331"/>
                    <a:pt x="523" y="331"/>
                    <a:pt x="525" y="330"/>
                  </a:cubicBezTo>
                  <a:cubicBezTo>
                    <a:pt x="527" y="330"/>
                    <a:pt x="529" y="329"/>
                    <a:pt x="530" y="329"/>
                  </a:cubicBezTo>
                  <a:cubicBezTo>
                    <a:pt x="531" y="329"/>
                    <a:pt x="532" y="329"/>
                    <a:pt x="532" y="330"/>
                  </a:cubicBezTo>
                  <a:cubicBezTo>
                    <a:pt x="532" y="328"/>
                    <a:pt x="530" y="327"/>
                    <a:pt x="530" y="326"/>
                  </a:cubicBezTo>
                  <a:cubicBezTo>
                    <a:pt x="530" y="325"/>
                    <a:pt x="531" y="325"/>
                    <a:pt x="531" y="324"/>
                  </a:cubicBezTo>
                  <a:cubicBezTo>
                    <a:pt x="530" y="321"/>
                    <a:pt x="529" y="322"/>
                    <a:pt x="527" y="321"/>
                  </a:cubicBezTo>
                  <a:cubicBezTo>
                    <a:pt x="526" y="320"/>
                    <a:pt x="526" y="320"/>
                    <a:pt x="525" y="319"/>
                  </a:cubicBezTo>
                  <a:cubicBezTo>
                    <a:pt x="524" y="319"/>
                    <a:pt x="523" y="318"/>
                    <a:pt x="521" y="317"/>
                  </a:cubicBezTo>
                  <a:cubicBezTo>
                    <a:pt x="520" y="317"/>
                    <a:pt x="520" y="317"/>
                    <a:pt x="520" y="317"/>
                  </a:cubicBezTo>
                  <a:cubicBezTo>
                    <a:pt x="520" y="316"/>
                    <a:pt x="521" y="316"/>
                    <a:pt x="521" y="316"/>
                  </a:cubicBezTo>
                  <a:cubicBezTo>
                    <a:pt x="520" y="315"/>
                    <a:pt x="520" y="314"/>
                    <a:pt x="520" y="313"/>
                  </a:cubicBezTo>
                  <a:cubicBezTo>
                    <a:pt x="518" y="310"/>
                    <a:pt x="516" y="309"/>
                    <a:pt x="514" y="307"/>
                  </a:cubicBezTo>
                  <a:cubicBezTo>
                    <a:pt x="517" y="308"/>
                    <a:pt x="520" y="310"/>
                    <a:pt x="523" y="312"/>
                  </a:cubicBezTo>
                  <a:cubicBezTo>
                    <a:pt x="524" y="312"/>
                    <a:pt x="527" y="315"/>
                    <a:pt x="529" y="315"/>
                  </a:cubicBezTo>
                  <a:cubicBezTo>
                    <a:pt x="529" y="315"/>
                    <a:pt x="529" y="315"/>
                    <a:pt x="529" y="315"/>
                  </a:cubicBezTo>
                  <a:cubicBezTo>
                    <a:pt x="532" y="314"/>
                    <a:pt x="528" y="311"/>
                    <a:pt x="528" y="311"/>
                  </a:cubicBezTo>
                  <a:cubicBezTo>
                    <a:pt x="528" y="309"/>
                    <a:pt x="529" y="309"/>
                    <a:pt x="531" y="309"/>
                  </a:cubicBezTo>
                  <a:cubicBezTo>
                    <a:pt x="531" y="309"/>
                    <a:pt x="531" y="309"/>
                    <a:pt x="531" y="309"/>
                  </a:cubicBezTo>
                  <a:cubicBezTo>
                    <a:pt x="532" y="309"/>
                    <a:pt x="532" y="309"/>
                    <a:pt x="532" y="309"/>
                  </a:cubicBezTo>
                  <a:cubicBezTo>
                    <a:pt x="533" y="309"/>
                    <a:pt x="533" y="309"/>
                    <a:pt x="534" y="309"/>
                  </a:cubicBezTo>
                  <a:cubicBezTo>
                    <a:pt x="532" y="308"/>
                    <a:pt x="531" y="307"/>
                    <a:pt x="529" y="306"/>
                  </a:cubicBezTo>
                  <a:cubicBezTo>
                    <a:pt x="528" y="305"/>
                    <a:pt x="520" y="305"/>
                    <a:pt x="520" y="304"/>
                  </a:cubicBezTo>
                  <a:cubicBezTo>
                    <a:pt x="524" y="303"/>
                    <a:pt x="524" y="303"/>
                    <a:pt x="524" y="303"/>
                  </a:cubicBezTo>
                  <a:cubicBezTo>
                    <a:pt x="525" y="303"/>
                    <a:pt x="525" y="302"/>
                    <a:pt x="525" y="302"/>
                  </a:cubicBezTo>
                  <a:cubicBezTo>
                    <a:pt x="528" y="302"/>
                    <a:pt x="531" y="304"/>
                    <a:pt x="534" y="304"/>
                  </a:cubicBezTo>
                  <a:cubicBezTo>
                    <a:pt x="535" y="304"/>
                    <a:pt x="537" y="305"/>
                    <a:pt x="538" y="305"/>
                  </a:cubicBezTo>
                  <a:cubicBezTo>
                    <a:pt x="539" y="305"/>
                    <a:pt x="540" y="305"/>
                    <a:pt x="539" y="304"/>
                  </a:cubicBezTo>
                  <a:cubicBezTo>
                    <a:pt x="539" y="303"/>
                    <a:pt x="536" y="302"/>
                    <a:pt x="536" y="301"/>
                  </a:cubicBezTo>
                  <a:cubicBezTo>
                    <a:pt x="538" y="302"/>
                    <a:pt x="541" y="303"/>
                    <a:pt x="543" y="303"/>
                  </a:cubicBezTo>
                  <a:cubicBezTo>
                    <a:pt x="541" y="306"/>
                    <a:pt x="540" y="305"/>
                    <a:pt x="541" y="309"/>
                  </a:cubicBezTo>
                  <a:cubicBezTo>
                    <a:pt x="542" y="311"/>
                    <a:pt x="543" y="311"/>
                    <a:pt x="545" y="311"/>
                  </a:cubicBezTo>
                  <a:cubicBezTo>
                    <a:pt x="546" y="311"/>
                    <a:pt x="548" y="310"/>
                    <a:pt x="550" y="310"/>
                  </a:cubicBezTo>
                  <a:cubicBezTo>
                    <a:pt x="547" y="313"/>
                    <a:pt x="547" y="312"/>
                    <a:pt x="551" y="316"/>
                  </a:cubicBezTo>
                  <a:cubicBezTo>
                    <a:pt x="552" y="316"/>
                    <a:pt x="553" y="316"/>
                    <a:pt x="554" y="316"/>
                  </a:cubicBezTo>
                  <a:cubicBezTo>
                    <a:pt x="555" y="316"/>
                    <a:pt x="556" y="316"/>
                    <a:pt x="556" y="315"/>
                  </a:cubicBezTo>
                  <a:cubicBezTo>
                    <a:pt x="556" y="316"/>
                    <a:pt x="555" y="317"/>
                    <a:pt x="554" y="318"/>
                  </a:cubicBezTo>
                  <a:cubicBezTo>
                    <a:pt x="557" y="320"/>
                    <a:pt x="559" y="321"/>
                    <a:pt x="561" y="321"/>
                  </a:cubicBezTo>
                  <a:cubicBezTo>
                    <a:pt x="563" y="321"/>
                    <a:pt x="564" y="321"/>
                    <a:pt x="565" y="320"/>
                  </a:cubicBezTo>
                  <a:cubicBezTo>
                    <a:pt x="567" y="319"/>
                    <a:pt x="568" y="318"/>
                    <a:pt x="569" y="316"/>
                  </a:cubicBezTo>
                  <a:cubicBezTo>
                    <a:pt x="568" y="318"/>
                    <a:pt x="567" y="319"/>
                    <a:pt x="567" y="319"/>
                  </a:cubicBezTo>
                  <a:cubicBezTo>
                    <a:pt x="567" y="319"/>
                    <a:pt x="567" y="319"/>
                    <a:pt x="567" y="319"/>
                  </a:cubicBezTo>
                  <a:cubicBezTo>
                    <a:pt x="565" y="322"/>
                    <a:pt x="563" y="324"/>
                    <a:pt x="562" y="327"/>
                  </a:cubicBezTo>
                  <a:cubicBezTo>
                    <a:pt x="566" y="325"/>
                    <a:pt x="571" y="324"/>
                    <a:pt x="576" y="322"/>
                  </a:cubicBezTo>
                  <a:cubicBezTo>
                    <a:pt x="580" y="321"/>
                    <a:pt x="585" y="320"/>
                    <a:pt x="588" y="318"/>
                  </a:cubicBezTo>
                  <a:cubicBezTo>
                    <a:pt x="589" y="317"/>
                    <a:pt x="590" y="316"/>
                    <a:pt x="591" y="315"/>
                  </a:cubicBezTo>
                  <a:cubicBezTo>
                    <a:pt x="593" y="315"/>
                    <a:pt x="594" y="314"/>
                    <a:pt x="596" y="313"/>
                  </a:cubicBezTo>
                  <a:cubicBezTo>
                    <a:pt x="594" y="315"/>
                    <a:pt x="591" y="316"/>
                    <a:pt x="590" y="318"/>
                  </a:cubicBezTo>
                  <a:cubicBezTo>
                    <a:pt x="589" y="319"/>
                    <a:pt x="589" y="321"/>
                    <a:pt x="589" y="322"/>
                  </a:cubicBezTo>
                  <a:cubicBezTo>
                    <a:pt x="588" y="325"/>
                    <a:pt x="586" y="325"/>
                    <a:pt x="590" y="327"/>
                  </a:cubicBezTo>
                  <a:cubicBezTo>
                    <a:pt x="584" y="328"/>
                    <a:pt x="577" y="327"/>
                    <a:pt x="574" y="331"/>
                  </a:cubicBezTo>
                  <a:cubicBezTo>
                    <a:pt x="573" y="332"/>
                    <a:pt x="572" y="334"/>
                    <a:pt x="572" y="335"/>
                  </a:cubicBezTo>
                  <a:cubicBezTo>
                    <a:pt x="572" y="336"/>
                    <a:pt x="573" y="336"/>
                    <a:pt x="573" y="336"/>
                  </a:cubicBezTo>
                  <a:cubicBezTo>
                    <a:pt x="573" y="336"/>
                    <a:pt x="573" y="336"/>
                    <a:pt x="573" y="336"/>
                  </a:cubicBezTo>
                  <a:cubicBezTo>
                    <a:pt x="573" y="336"/>
                    <a:pt x="573" y="336"/>
                    <a:pt x="573" y="336"/>
                  </a:cubicBezTo>
                  <a:cubicBezTo>
                    <a:pt x="573" y="336"/>
                    <a:pt x="574" y="336"/>
                    <a:pt x="574" y="336"/>
                  </a:cubicBezTo>
                  <a:cubicBezTo>
                    <a:pt x="573" y="338"/>
                    <a:pt x="573" y="338"/>
                    <a:pt x="573" y="338"/>
                  </a:cubicBezTo>
                  <a:cubicBezTo>
                    <a:pt x="574" y="339"/>
                    <a:pt x="575" y="339"/>
                    <a:pt x="575" y="339"/>
                  </a:cubicBezTo>
                  <a:cubicBezTo>
                    <a:pt x="576" y="339"/>
                    <a:pt x="576" y="339"/>
                    <a:pt x="577" y="339"/>
                  </a:cubicBezTo>
                  <a:cubicBezTo>
                    <a:pt x="577" y="339"/>
                    <a:pt x="577" y="339"/>
                    <a:pt x="578" y="339"/>
                  </a:cubicBezTo>
                  <a:cubicBezTo>
                    <a:pt x="578" y="339"/>
                    <a:pt x="579" y="339"/>
                    <a:pt x="579" y="339"/>
                  </a:cubicBezTo>
                  <a:cubicBezTo>
                    <a:pt x="583" y="340"/>
                    <a:pt x="578" y="340"/>
                    <a:pt x="576" y="341"/>
                  </a:cubicBezTo>
                  <a:cubicBezTo>
                    <a:pt x="575" y="343"/>
                    <a:pt x="577" y="344"/>
                    <a:pt x="580" y="344"/>
                  </a:cubicBezTo>
                  <a:cubicBezTo>
                    <a:pt x="582" y="344"/>
                    <a:pt x="585" y="343"/>
                    <a:pt x="586" y="343"/>
                  </a:cubicBezTo>
                  <a:cubicBezTo>
                    <a:pt x="585" y="345"/>
                    <a:pt x="580" y="345"/>
                    <a:pt x="580" y="346"/>
                  </a:cubicBezTo>
                  <a:cubicBezTo>
                    <a:pt x="579" y="347"/>
                    <a:pt x="581" y="350"/>
                    <a:pt x="582" y="350"/>
                  </a:cubicBezTo>
                  <a:cubicBezTo>
                    <a:pt x="583" y="350"/>
                    <a:pt x="583" y="350"/>
                    <a:pt x="584" y="350"/>
                  </a:cubicBezTo>
                  <a:cubicBezTo>
                    <a:pt x="587" y="350"/>
                    <a:pt x="591" y="349"/>
                    <a:pt x="593" y="348"/>
                  </a:cubicBezTo>
                  <a:cubicBezTo>
                    <a:pt x="594" y="348"/>
                    <a:pt x="596" y="348"/>
                    <a:pt x="596" y="348"/>
                  </a:cubicBezTo>
                  <a:cubicBezTo>
                    <a:pt x="597" y="348"/>
                    <a:pt x="597" y="348"/>
                    <a:pt x="595" y="349"/>
                  </a:cubicBezTo>
                  <a:cubicBezTo>
                    <a:pt x="592" y="350"/>
                    <a:pt x="588" y="350"/>
                    <a:pt x="586" y="351"/>
                  </a:cubicBezTo>
                  <a:cubicBezTo>
                    <a:pt x="586" y="351"/>
                    <a:pt x="586" y="351"/>
                    <a:pt x="586" y="351"/>
                  </a:cubicBezTo>
                  <a:cubicBezTo>
                    <a:pt x="587" y="351"/>
                    <a:pt x="587" y="351"/>
                    <a:pt x="588" y="351"/>
                  </a:cubicBezTo>
                  <a:cubicBezTo>
                    <a:pt x="588" y="351"/>
                    <a:pt x="588" y="351"/>
                    <a:pt x="589" y="351"/>
                  </a:cubicBezTo>
                  <a:cubicBezTo>
                    <a:pt x="589" y="351"/>
                    <a:pt x="590" y="351"/>
                    <a:pt x="591" y="351"/>
                  </a:cubicBezTo>
                  <a:cubicBezTo>
                    <a:pt x="590" y="352"/>
                    <a:pt x="588" y="353"/>
                    <a:pt x="586" y="353"/>
                  </a:cubicBezTo>
                  <a:cubicBezTo>
                    <a:pt x="586" y="355"/>
                    <a:pt x="587" y="355"/>
                    <a:pt x="589" y="355"/>
                  </a:cubicBezTo>
                  <a:cubicBezTo>
                    <a:pt x="590" y="355"/>
                    <a:pt x="591" y="355"/>
                    <a:pt x="591" y="355"/>
                  </a:cubicBezTo>
                  <a:cubicBezTo>
                    <a:pt x="589" y="356"/>
                    <a:pt x="591" y="357"/>
                    <a:pt x="590" y="358"/>
                  </a:cubicBezTo>
                  <a:cubicBezTo>
                    <a:pt x="590" y="358"/>
                    <a:pt x="591" y="358"/>
                    <a:pt x="591" y="358"/>
                  </a:cubicBezTo>
                  <a:cubicBezTo>
                    <a:pt x="592" y="358"/>
                    <a:pt x="592" y="359"/>
                    <a:pt x="592" y="360"/>
                  </a:cubicBezTo>
                  <a:cubicBezTo>
                    <a:pt x="593" y="360"/>
                    <a:pt x="593" y="360"/>
                    <a:pt x="594" y="361"/>
                  </a:cubicBezTo>
                  <a:cubicBezTo>
                    <a:pt x="595" y="358"/>
                    <a:pt x="595" y="355"/>
                    <a:pt x="596" y="353"/>
                  </a:cubicBezTo>
                  <a:cubicBezTo>
                    <a:pt x="597" y="351"/>
                    <a:pt x="599" y="350"/>
                    <a:pt x="600" y="348"/>
                  </a:cubicBezTo>
                  <a:cubicBezTo>
                    <a:pt x="599" y="350"/>
                    <a:pt x="599" y="352"/>
                    <a:pt x="598" y="354"/>
                  </a:cubicBezTo>
                  <a:cubicBezTo>
                    <a:pt x="598" y="355"/>
                    <a:pt x="597" y="355"/>
                    <a:pt x="598" y="357"/>
                  </a:cubicBezTo>
                  <a:cubicBezTo>
                    <a:pt x="598" y="358"/>
                    <a:pt x="599" y="358"/>
                    <a:pt x="599" y="358"/>
                  </a:cubicBezTo>
                  <a:cubicBezTo>
                    <a:pt x="600" y="358"/>
                    <a:pt x="601" y="358"/>
                    <a:pt x="602" y="357"/>
                  </a:cubicBezTo>
                  <a:cubicBezTo>
                    <a:pt x="603" y="357"/>
                    <a:pt x="604" y="357"/>
                    <a:pt x="605" y="357"/>
                  </a:cubicBezTo>
                  <a:cubicBezTo>
                    <a:pt x="605" y="357"/>
                    <a:pt x="605" y="357"/>
                    <a:pt x="605" y="357"/>
                  </a:cubicBezTo>
                  <a:cubicBezTo>
                    <a:pt x="603" y="358"/>
                    <a:pt x="601" y="359"/>
                    <a:pt x="600" y="360"/>
                  </a:cubicBezTo>
                  <a:cubicBezTo>
                    <a:pt x="601" y="360"/>
                    <a:pt x="601" y="360"/>
                    <a:pt x="601" y="360"/>
                  </a:cubicBezTo>
                  <a:cubicBezTo>
                    <a:pt x="602" y="360"/>
                    <a:pt x="602" y="361"/>
                    <a:pt x="603" y="362"/>
                  </a:cubicBezTo>
                  <a:cubicBezTo>
                    <a:pt x="603" y="362"/>
                    <a:pt x="604" y="362"/>
                    <a:pt x="605" y="362"/>
                  </a:cubicBezTo>
                  <a:cubicBezTo>
                    <a:pt x="605" y="362"/>
                    <a:pt x="606" y="362"/>
                    <a:pt x="607" y="362"/>
                  </a:cubicBezTo>
                  <a:cubicBezTo>
                    <a:pt x="607" y="362"/>
                    <a:pt x="608" y="362"/>
                    <a:pt x="609" y="362"/>
                  </a:cubicBezTo>
                  <a:cubicBezTo>
                    <a:pt x="609" y="362"/>
                    <a:pt x="609" y="362"/>
                    <a:pt x="610" y="362"/>
                  </a:cubicBezTo>
                  <a:cubicBezTo>
                    <a:pt x="610" y="363"/>
                    <a:pt x="610" y="363"/>
                    <a:pt x="611" y="363"/>
                  </a:cubicBezTo>
                  <a:cubicBezTo>
                    <a:pt x="612" y="363"/>
                    <a:pt x="614" y="363"/>
                    <a:pt x="615" y="363"/>
                  </a:cubicBezTo>
                  <a:cubicBezTo>
                    <a:pt x="614" y="363"/>
                    <a:pt x="611" y="364"/>
                    <a:pt x="611" y="365"/>
                  </a:cubicBezTo>
                  <a:cubicBezTo>
                    <a:pt x="611" y="365"/>
                    <a:pt x="612" y="365"/>
                    <a:pt x="614" y="365"/>
                  </a:cubicBezTo>
                  <a:cubicBezTo>
                    <a:pt x="614" y="365"/>
                    <a:pt x="615" y="365"/>
                    <a:pt x="615" y="365"/>
                  </a:cubicBezTo>
                  <a:cubicBezTo>
                    <a:pt x="615" y="365"/>
                    <a:pt x="616" y="365"/>
                    <a:pt x="616" y="365"/>
                  </a:cubicBezTo>
                  <a:cubicBezTo>
                    <a:pt x="616" y="365"/>
                    <a:pt x="616" y="365"/>
                    <a:pt x="616" y="365"/>
                  </a:cubicBezTo>
                  <a:cubicBezTo>
                    <a:pt x="615" y="366"/>
                    <a:pt x="615" y="367"/>
                    <a:pt x="615" y="367"/>
                  </a:cubicBezTo>
                  <a:cubicBezTo>
                    <a:pt x="615" y="368"/>
                    <a:pt x="616" y="368"/>
                    <a:pt x="617" y="368"/>
                  </a:cubicBezTo>
                  <a:cubicBezTo>
                    <a:pt x="618" y="365"/>
                    <a:pt x="621" y="359"/>
                    <a:pt x="618" y="357"/>
                  </a:cubicBezTo>
                  <a:cubicBezTo>
                    <a:pt x="619" y="357"/>
                    <a:pt x="620" y="357"/>
                    <a:pt x="620" y="357"/>
                  </a:cubicBezTo>
                  <a:cubicBezTo>
                    <a:pt x="621" y="357"/>
                    <a:pt x="622" y="357"/>
                    <a:pt x="622" y="357"/>
                  </a:cubicBezTo>
                  <a:cubicBezTo>
                    <a:pt x="620" y="355"/>
                    <a:pt x="620" y="356"/>
                    <a:pt x="620" y="354"/>
                  </a:cubicBezTo>
                  <a:cubicBezTo>
                    <a:pt x="620" y="353"/>
                    <a:pt x="620" y="353"/>
                    <a:pt x="620" y="353"/>
                  </a:cubicBezTo>
                  <a:cubicBezTo>
                    <a:pt x="620" y="352"/>
                    <a:pt x="620" y="352"/>
                    <a:pt x="620" y="351"/>
                  </a:cubicBezTo>
                  <a:cubicBezTo>
                    <a:pt x="619" y="351"/>
                    <a:pt x="619" y="351"/>
                    <a:pt x="619" y="351"/>
                  </a:cubicBezTo>
                  <a:cubicBezTo>
                    <a:pt x="618" y="349"/>
                    <a:pt x="617" y="348"/>
                    <a:pt x="615" y="346"/>
                  </a:cubicBezTo>
                  <a:cubicBezTo>
                    <a:pt x="617" y="347"/>
                    <a:pt x="620" y="348"/>
                    <a:pt x="623" y="348"/>
                  </a:cubicBezTo>
                  <a:cubicBezTo>
                    <a:pt x="620" y="345"/>
                    <a:pt x="615" y="346"/>
                    <a:pt x="616" y="342"/>
                  </a:cubicBezTo>
                  <a:cubicBezTo>
                    <a:pt x="617" y="343"/>
                    <a:pt x="618" y="344"/>
                    <a:pt x="619" y="344"/>
                  </a:cubicBezTo>
                  <a:cubicBezTo>
                    <a:pt x="620" y="344"/>
                    <a:pt x="620" y="344"/>
                    <a:pt x="620" y="344"/>
                  </a:cubicBezTo>
                  <a:cubicBezTo>
                    <a:pt x="622" y="343"/>
                    <a:pt x="621" y="341"/>
                    <a:pt x="620" y="340"/>
                  </a:cubicBezTo>
                  <a:cubicBezTo>
                    <a:pt x="618" y="339"/>
                    <a:pt x="615" y="340"/>
                    <a:pt x="613" y="339"/>
                  </a:cubicBezTo>
                  <a:cubicBezTo>
                    <a:pt x="614" y="338"/>
                    <a:pt x="616" y="338"/>
                    <a:pt x="618" y="338"/>
                  </a:cubicBezTo>
                  <a:cubicBezTo>
                    <a:pt x="619" y="338"/>
                    <a:pt x="620" y="338"/>
                    <a:pt x="622" y="339"/>
                  </a:cubicBezTo>
                  <a:cubicBezTo>
                    <a:pt x="621" y="336"/>
                    <a:pt x="617" y="332"/>
                    <a:pt x="618" y="329"/>
                  </a:cubicBezTo>
                  <a:cubicBezTo>
                    <a:pt x="620" y="332"/>
                    <a:pt x="622" y="335"/>
                    <a:pt x="623" y="338"/>
                  </a:cubicBezTo>
                  <a:cubicBezTo>
                    <a:pt x="624" y="339"/>
                    <a:pt x="625" y="340"/>
                    <a:pt x="626" y="340"/>
                  </a:cubicBezTo>
                  <a:cubicBezTo>
                    <a:pt x="626" y="340"/>
                    <a:pt x="626" y="340"/>
                    <a:pt x="627" y="340"/>
                  </a:cubicBezTo>
                  <a:cubicBezTo>
                    <a:pt x="627" y="340"/>
                    <a:pt x="628" y="340"/>
                    <a:pt x="628" y="340"/>
                  </a:cubicBezTo>
                  <a:cubicBezTo>
                    <a:pt x="629" y="340"/>
                    <a:pt x="630" y="341"/>
                    <a:pt x="630" y="342"/>
                  </a:cubicBezTo>
                  <a:cubicBezTo>
                    <a:pt x="631" y="340"/>
                    <a:pt x="631" y="338"/>
                    <a:pt x="631" y="336"/>
                  </a:cubicBezTo>
                  <a:cubicBezTo>
                    <a:pt x="633" y="337"/>
                    <a:pt x="633" y="339"/>
                    <a:pt x="634" y="341"/>
                  </a:cubicBezTo>
                  <a:cubicBezTo>
                    <a:pt x="635" y="342"/>
                    <a:pt x="636" y="341"/>
                    <a:pt x="638" y="342"/>
                  </a:cubicBezTo>
                  <a:cubicBezTo>
                    <a:pt x="638" y="341"/>
                    <a:pt x="638" y="339"/>
                    <a:pt x="637" y="339"/>
                  </a:cubicBezTo>
                  <a:cubicBezTo>
                    <a:pt x="637" y="337"/>
                    <a:pt x="636" y="338"/>
                    <a:pt x="636" y="337"/>
                  </a:cubicBezTo>
                  <a:cubicBezTo>
                    <a:pt x="635" y="337"/>
                    <a:pt x="634" y="337"/>
                    <a:pt x="633" y="336"/>
                  </a:cubicBezTo>
                  <a:cubicBezTo>
                    <a:pt x="635" y="336"/>
                    <a:pt x="637" y="336"/>
                    <a:pt x="639" y="337"/>
                  </a:cubicBezTo>
                  <a:cubicBezTo>
                    <a:pt x="638" y="333"/>
                    <a:pt x="634" y="333"/>
                    <a:pt x="633" y="330"/>
                  </a:cubicBezTo>
                  <a:cubicBezTo>
                    <a:pt x="636" y="331"/>
                    <a:pt x="637" y="333"/>
                    <a:pt x="640" y="333"/>
                  </a:cubicBezTo>
                  <a:cubicBezTo>
                    <a:pt x="640" y="334"/>
                    <a:pt x="641" y="334"/>
                    <a:pt x="641" y="334"/>
                  </a:cubicBezTo>
                  <a:cubicBezTo>
                    <a:pt x="642" y="334"/>
                    <a:pt x="642" y="334"/>
                    <a:pt x="643" y="334"/>
                  </a:cubicBezTo>
                  <a:cubicBezTo>
                    <a:pt x="644" y="333"/>
                    <a:pt x="644" y="333"/>
                    <a:pt x="645" y="333"/>
                  </a:cubicBezTo>
                  <a:cubicBezTo>
                    <a:pt x="645" y="333"/>
                    <a:pt x="645" y="333"/>
                    <a:pt x="646" y="333"/>
                  </a:cubicBezTo>
                  <a:cubicBezTo>
                    <a:pt x="645" y="333"/>
                    <a:pt x="645" y="331"/>
                    <a:pt x="644" y="330"/>
                  </a:cubicBezTo>
                  <a:cubicBezTo>
                    <a:pt x="644" y="330"/>
                    <a:pt x="643" y="330"/>
                    <a:pt x="643" y="329"/>
                  </a:cubicBezTo>
                  <a:cubicBezTo>
                    <a:pt x="642" y="328"/>
                    <a:pt x="643" y="328"/>
                    <a:pt x="641" y="327"/>
                  </a:cubicBezTo>
                  <a:cubicBezTo>
                    <a:pt x="641" y="326"/>
                    <a:pt x="641" y="326"/>
                    <a:pt x="640" y="326"/>
                  </a:cubicBezTo>
                  <a:cubicBezTo>
                    <a:pt x="639" y="326"/>
                    <a:pt x="639" y="326"/>
                    <a:pt x="638" y="326"/>
                  </a:cubicBezTo>
                  <a:cubicBezTo>
                    <a:pt x="638" y="326"/>
                    <a:pt x="637" y="326"/>
                    <a:pt x="637" y="326"/>
                  </a:cubicBezTo>
                  <a:cubicBezTo>
                    <a:pt x="637" y="326"/>
                    <a:pt x="636" y="326"/>
                    <a:pt x="636" y="326"/>
                  </a:cubicBezTo>
                  <a:cubicBezTo>
                    <a:pt x="635" y="326"/>
                    <a:pt x="634" y="326"/>
                    <a:pt x="634" y="325"/>
                  </a:cubicBezTo>
                  <a:cubicBezTo>
                    <a:pt x="633" y="325"/>
                    <a:pt x="633" y="324"/>
                    <a:pt x="632" y="323"/>
                  </a:cubicBezTo>
                  <a:cubicBezTo>
                    <a:pt x="631" y="323"/>
                    <a:pt x="630" y="322"/>
                    <a:pt x="628" y="322"/>
                  </a:cubicBezTo>
                  <a:cubicBezTo>
                    <a:pt x="629" y="322"/>
                    <a:pt x="629" y="322"/>
                    <a:pt x="630" y="322"/>
                  </a:cubicBezTo>
                  <a:cubicBezTo>
                    <a:pt x="631" y="322"/>
                    <a:pt x="631" y="322"/>
                    <a:pt x="633" y="323"/>
                  </a:cubicBezTo>
                  <a:cubicBezTo>
                    <a:pt x="635" y="325"/>
                    <a:pt x="637" y="325"/>
                    <a:pt x="639" y="325"/>
                  </a:cubicBezTo>
                  <a:cubicBezTo>
                    <a:pt x="641" y="325"/>
                    <a:pt x="641" y="325"/>
                    <a:pt x="643" y="326"/>
                  </a:cubicBezTo>
                  <a:cubicBezTo>
                    <a:pt x="643" y="326"/>
                    <a:pt x="645" y="327"/>
                    <a:pt x="645" y="327"/>
                  </a:cubicBezTo>
                  <a:cubicBezTo>
                    <a:pt x="645" y="327"/>
                    <a:pt x="646" y="327"/>
                    <a:pt x="646" y="327"/>
                  </a:cubicBezTo>
                  <a:cubicBezTo>
                    <a:pt x="647" y="327"/>
                    <a:pt x="648" y="327"/>
                    <a:pt x="650" y="326"/>
                  </a:cubicBezTo>
                  <a:cubicBezTo>
                    <a:pt x="651" y="326"/>
                    <a:pt x="652" y="326"/>
                    <a:pt x="653" y="326"/>
                  </a:cubicBezTo>
                  <a:cubicBezTo>
                    <a:pt x="654" y="326"/>
                    <a:pt x="654" y="326"/>
                    <a:pt x="654" y="326"/>
                  </a:cubicBezTo>
                  <a:cubicBezTo>
                    <a:pt x="653" y="325"/>
                    <a:pt x="651" y="325"/>
                    <a:pt x="651" y="324"/>
                  </a:cubicBezTo>
                  <a:cubicBezTo>
                    <a:pt x="650" y="323"/>
                    <a:pt x="650" y="321"/>
                    <a:pt x="648" y="320"/>
                  </a:cubicBezTo>
                  <a:cubicBezTo>
                    <a:pt x="647" y="320"/>
                    <a:pt x="643" y="319"/>
                    <a:pt x="642" y="319"/>
                  </a:cubicBezTo>
                  <a:cubicBezTo>
                    <a:pt x="641" y="318"/>
                    <a:pt x="641" y="318"/>
                    <a:pt x="640" y="318"/>
                  </a:cubicBezTo>
                  <a:cubicBezTo>
                    <a:pt x="640" y="318"/>
                    <a:pt x="640" y="318"/>
                    <a:pt x="640" y="318"/>
                  </a:cubicBezTo>
                  <a:cubicBezTo>
                    <a:pt x="639" y="318"/>
                    <a:pt x="639" y="318"/>
                    <a:pt x="638" y="318"/>
                  </a:cubicBezTo>
                  <a:cubicBezTo>
                    <a:pt x="638" y="318"/>
                    <a:pt x="638" y="318"/>
                    <a:pt x="637" y="318"/>
                  </a:cubicBezTo>
                  <a:cubicBezTo>
                    <a:pt x="637" y="318"/>
                    <a:pt x="637" y="318"/>
                    <a:pt x="636" y="318"/>
                  </a:cubicBezTo>
                  <a:cubicBezTo>
                    <a:pt x="634" y="318"/>
                    <a:pt x="634" y="316"/>
                    <a:pt x="633" y="314"/>
                  </a:cubicBezTo>
                  <a:cubicBezTo>
                    <a:pt x="635" y="315"/>
                    <a:pt x="636" y="317"/>
                    <a:pt x="637" y="318"/>
                  </a:cubicBezTo>
                  <a:cubicBezTo>
                    <a:pt x="639" y="316"/>
                    <a:pt x="643" y="312"/>
                    <a:pt x="641" y="311"/>
                  </a:cubicBezTo>
                  <a:cubicBezTo>
                    <a:pt x="641" y="310"/>
                    <a:pt x="641" y="310"/>
                    <a:pt x="641" y="310"/>
                  </a:cubicBezTo>
                  <a:cubicBezTo>
                    <a:pt x="640" y="310"/>
                    <a:pt x="640" y="311"/>
                    <a:pt x="639" y="311"/>
                  </a:cubicBezTo>
                  <a:cubicBezTo>
                    <a:pt x="639" y="311"/>
                    <a:pt x="638" y="311"/>
                    <a:pt x="638" y="311"/>
                  </a:cubicBezTo>
                  <a:cubicBezTo>
                    <a:pt x="637" y="311"/>
                    <a:pt x="637" y="311"/>
                    <a:pt x="637" y="311"/>
                  </a:cubicBezTo>
                  <a:cubicBezTo>
                    <a:pt x="637" y="310"/>
                    <a:pt x="638" y="310"/>
                    <a:pt x="639" y="310"/>
                  </a:cubicBezTo>
                  <a:cubicBezTo>
                    <a:pt x="641" y="310"/>
                    <a:pt x="645" y="312"/>
                    <a:pt x="648" y="313"/>
                  </a:cubicBezTo>
                  <a:cubicBezTo>
                    <a:pt x="648" y="314"/>
                    <a:pt x="648" y="315"/>
                    <a:pt x="648" y="315"/>
                  </a:cubicBezTo>
                  <a:cubicBezTo>
                    <a:pt x="648" y="316"/>
                    <a:pt x="648" y="317"/>
                    <a:pt x="649" y="318"/>
                  </a:cubicBezTo>
                  <a:cubicBezTo>
                    <a:pt x="649" y="319"/>
                    <a:pt x="650" y="320"/>
                    <a:pt x="651" y="321"/>
                  </a:cubicBezTo>
                  <a:cubicBezTo>
                    <a:pt x="652" y="322"/>
                    <a:pt x="653" y="322"/>
                    <a:pt x="654" y="322"/>
                  </a:cubicBezTo>
                  <a:cubicBezTo>
                    <a:pt x="655" y="322"/>
                    <a:pt x="656" y="322"/>
                    <a:pt x="657" y="322"/>
                  </a:cubicBezTo>
                  <a:cubicBezTo>
                    <a:pt x="658" y="321"/>
                    <a:pt x="661" y="321"/>
                    <a:pt x="663" y="320"/>
                  </a:cubicBezTo>
                  <a:cubicBezTo>
                    <a:pt x="662" y="319"/>
                    <a:pt x="659" y="316"/>
                    <a:pt x="656" y="315"/>
                  </a:cubicBezTo>
                  <a:cubicBezTo>
                    <a:pt x="657" y="314"/>
                    <a:pt x="657" y="314"/>
                    <a:pt x="658" y="313"/>
                  </a:cubicBezTo>
                  <a:cubicBezTo>
                    <a:pt x="658" y="313"/>
                    <a:pt x="658" y="313"/>
                    <a:pt x="658" y="313"/>
                  </a:cubicBezTo>
                  <a:cubicBezTo>
                    <a:pt x="659" y="314"/>
                    <a:pt x="659" y="314"/>
                    <a:pt x="659" y="314"/>
                  </a:cubicBezTo>
                  <a:cubicBezTo>
                    <a:pt x="662" y="315"/>
                    <a:pt x="662" y="318"/>
                    <a:pt x="665" y="318"/>
                  </a:cubicBezTo>
                  <a:cubicBezTo>
                    <a:pt x="665" y="318"/>
                    <a:pt x="666" y="318"/>
                    <a:pt x="666" y="317"/>
                  </a:cubicBezTo>
                  <a:cubicBezTo>
                    <a:pt x="667" y="317"/>
                    <a:pt x="670" y="316"/>
                    <a:pt x="670" y="315"/>
                  </a:cubicBezTo>
                  <a:cubicBezTo>
                    <a:pt x="671" y="313"/>
                    <a:pt x="663" y="306"/>
                    <a:pt x="662" y="305"/>
                  </a:cubicBezTo>
                  <a:cubicBezTo>
                    <a:pt x="660" y="303"/>
                    <a:pt x="659" y="302"/>
                    <a:pt x="657" y="302"/>
                  </a:cubicBezTo>
                  <a:cubicBezTo>
                    <a:pt x="656" y="302"/>
                    <a:pt x="655" y="303"/>
                    <a:pt x="654" y="303"/>
                  </a:cubicBezTo>
                  <a:cubicBezTo>
                    <a:pt x="650" y="303"/>
                    <a:pt x="650" y="304"/>
                    <a:pt x="650" y="307"/>
                  </a:cubicBezTo>
                  <a:cubicBezTo>
                    <a:pt x="649" y="307"/>
                    <a:pt x="649" y="306"/>
                    <a:pt x="649" y="306"/>
                  </a:cubicBezTo>
                  <a:cubicBezTo>
                    <a:pt x="648" y="305"/>
                    <a:pt x="648" y="304"/>
                    <a:pt x="648" y="303"/>
                  </a:cubicBezTo>
                  <a:cubicBezTo>
                    <a:pt x="648" y="301"/>
                    <a:pt x="648" y="300"/>
                    <a:pt x="648" y="298"/>
                  </a:cubicBezTo>
                  <a:cubicBezTo>
                    <a:pt x="649" y="294"/>
                    <a:pt x="651" y="290"/>
                    <a:pt x="653" y="286"/>
                  </a:cubicBezTo>
                  <a:cubicBezTo>
                    <a:pt x="653" y="286"/>
                    <a:pt x="653" y="286"/>
                    <a:pt x="652" y="286"/>
                  </a:cubicBezTo>
                  <a:cubicBezTo>
                    <a:pt x="651" y="286"/>
                    <a:pt x="648" y="286"/>
                    <a:pt x="647" y="287"/>
                  </a:cubicBezTo>
                  <a:cubicBezTo>
                    <a:pt x="647" y="288"/>
                    <a:pt x="647" y="289"/>
                    <a:pt x="647" y="289"/>
                  </a:cubicBezTo>
                  <a:cubicBezTo>
                    <a:pt x="646" y="289"/>
                    <a:pt x="644" y="290"/>
                    <a:pt x="643" y="291"/>
                  </a:cubicBezTo>
                  <a:cubicBezTo>
                    <a:pt x="642" y="294"/>
                    <a:pt x="647" y="295"/>
                    <a:pt x="646" y="298"/>
                  </a:cubicBezTo>
                  <a:cubicBezTo>
                    <a:pt x="644" y="296"/>
                    <a:pt x="642" y="290"/>
                    <a:pt x="640" y="290"/>
                  </a:cubicBezTo>
                  <a:cubicBezTo>
                    <a:pt x="640" y="290"/>
                    <a:pt x="639" y="290"/>
                    <a:pt x="639" y="290"/>
                  </a:cubicBezTo>
                  <a:cubicBezTo>
                    <a:pt x="636" y="290"/>
                    <a:pt x="636" y="293"/>
                    <a:pt x="635" y="294"/>
                  </a:cubicBezTo>
                  <a:cubicBezTo>
                    <a:pt x="635" y="295"/>
                    <a:pt x="636" y="295"/>
                    <a:pt x="636" y="296"/>
                  </a:cubicBezTo>
                  <a:cubicBezTo>
                    <a:pt x="636" y="296"/>
                    <a:pt x="635" y="297"/>
                    <a:pt x="634" y="298"/>
                  </a:cubicBezTo>
                  <a:cubicBezTo>
                    <a:pt x="634" y="299"/>
                    <a:pt x="634" y="301"/>
                    <a:pt x="632" y="301"/>
                  </a:cubicBezTo>
                  <a:cubicBezTo>
                    <a:pt x="632" y="299"/>
                    <a:pt x="634" y="297"/>
                    <a:pt x="634" y="294"/>
                  </a:cubicBezTo>
                  <a:cubicBezTo>
                    <a:pt x="634" y="292"/>
                    <a:pt x="633" y="291"/>
                    <a:pt x="634" y="289"/>
                  </a:cubicBezTo>
                  <a:cubicBezTo>
                    <a:pt x="633" y="289"/>
                    <a:pt x="633" y="289"/>
                    <a:pt x="633" y="289"/>
                  </a:cubicBezTo>
                  <a:cubicBezTo>
                    <a:pt x="630" y="289"/>
                    <a:pt x="623" y="290"/>
                    <a:pt x="622" y="292"/>
                  </a:cubicBezTo>
                  <a:cubicBezTo>
                    <a:pt x="622" y="292"/>
                    <a:pt x="622" y="295"/>
                    <a:pt x="622" y="296"/>
                  </a:cubicBezTo>
                  <a:cubicBezTo>
                    <a:pt x="622" y="297"/>
                    <a:pt x="621" y="298"/>
                    <a:pt x="620" y="299"/>
                  </a:cubicBezTo>
                  <a:cubicBezTo>
                    <a:pt x="620" y="297"/>
                    <a:pt x="620" y="294"/>
                    <a:pt x="620" y="291"/>
                  </a:cubicBezTo>
                  <a:cubicBezTo>
                    <a:pt x="617" y="294"/>
                    <a:pt x="617" y="295"/>
                    <a:pt x="614" y="295"/>
                  </a:cubicBezTo>
                  <a:cubicBezTo>
                    <a:pt x="613" y="295"/>
                    <a:pt x="612" y="295"/>
                    <a:pt x="611" y="295"/>
                  </a:cubicBezTo>
                  <a:cubicBezTo>
                    <a:pt x="613" y="294"/>
                    <a:pt x="615" y="295"/>
                    <a:pt x="617" y="294"/>
                  </a:cubicBezTo>
                  <a:cubicBezTo>
                    <a:pt x="618" y="293"/>
                    <a:pt x="616" y="292"/>
                    <a:pt x="617" y="291"/>
                  </a:cubicBezTo>
                  <a:cubicBezTo>
                    <a:pt x="619" y="290"/>
                    <a:pt x="622" y="291"/>
                    <a:pt x="624" y="289"/>
                  </a:cubicBezTo>
                  <a:cubicBezTo>
                    <a:pt x="627" y="286"/>
                    <a:pt x="621" y="284"/>
                    <a:pt x="626" y="282"/>
                  </a:cubicBezTo>
                  <a:cubicBezTo>
                    <a:pt x="627" y="281"/>
                    <a:pt x="630" y="281"/>
                    <a:pt x="630" y="279"/>
                  </a:cubicBezTo>
                  <a:cubicBezTo>
                    <a:pt x="631" y="277"/>
                    <a:pt x="630" y="276"/>
                    <a:pt x="629" y="276"/>
                  </a:cubicBezTo>
                  <a:cubicBezTo>
                    <a:pt x="628" y="276"/>
                    <a:pt x="626" y="277"/>
                    <a:pt x="626" y="277"/>
                  </a:cubicBezTo>
                  <a:cubicBezTo>
                    <a:pt x="622" y="279"/>
                    <a:pt x="622" y="277"/>
                    <a:pt x="620" y="280"/>
                  </a:cubicBezTo>
                  <a:cubicBezTo>
                    <a:pt x="620" y="282"/>
                    <a:pt x="620" y="283"/>
                    <a:pt x="617" y="285"/>
                  </a:cubicBezTo>
                  <a:cubicBezTo>
                    <a:pt x="615" y="286"/>
                    <a:pt x="613" y="285"/>
                    <a:pt x="612" y="289"/>
                  </a:cubicBezTo>
                  <a:cubicBezTo>
                    <a:pt x="611" y="284"/>
                    <a:pt x="620" y="284"/>
                    <a:pt x="619" y="279"/>
                  </a:cubicBezTo>
                  <a:cubicBezTo>
                    <a:pt x="618" y="279"/>
                    <a:pt x="617" y="279"/>
                    <a:pt x="615" y="279"/>
                  </a:cubicBezTo>
                  <a:cubicBezTo>
                    <a:pt x="610" y="279"/>
                    <a:pt x="606" y="280"/>
                    <a:pt x="601" y="281"/>
                  </a:cubicBezTo>
                  <a:cubicBezTo>
                    <a:pt x="599" y="282"/>
                    <a:pt x="596" y="282"/>
                    <a:pt x="594" y="283"/>
                  </a:cubicBezTo>
                  <a:cubicBezTo>
                    <a:pt x="592" y="284"/>
                    <a:pt x="593" y="287"/>
                    <a:pt x="591" y="287"/>
                  </a:cubicBezTo>
                  <a:cubicBezTo>
                    <a:pt x="590" y="282"/>
                    <a:pt x="594" y="281"/>
                    <a:pt x="599" y="280"/>
                  </a:cubicBezTo>
                  <a:cubicBezTo>
                    <a:pt x="602" y="280"/>
                    <a:pt x="607" y="280"/>
                    <a:pt x="607" y="277"/>
                  </a:cubicBezTo>
                  <a:cubicBezTo>
                    <a:pt x="607" y="277"/>
                    <a:pt x="607" y="277"/>
                    <a:pt x="607" y="277"/>
                  </a:cubicBezTo>
                  <a:cubicBezTo>
                    <a:pt x="604" y="277"/>
                    <a:pt x="600" y="278"/>
                    <a:pt x="596" y="278"/>
                  </a:cubicBezTo>
                  <a:cubicBezTo>
                    <a:pt x="593" y="278"/>
                    <a:pt x="591" y="280"/>
                    <a:pt x="589" y="280"/>
                  </a:cubicBezTo>
                  <a:cubicBezTo>
                    <a:pt x="592" y="276"/>
                    <a:pt x="597" y="279"/>
                    <a:pt x="601" y="276"/>
                  </a:cubicBezTo>
                  <a:cubicBezTo>
                    <a:pt x="597" y="275"/>
                    <a:pt x="593" y="276"/>
                    <a:pt x="589" y="274"/>
                  </a:cubicBezTo>
                  <a:cubicBezTo>
                    <a:pt x="589" y="274"/>
                    <a:pt x="590" y="274"/>
                    <a:pt x="591" y="274"/>
                  </a:cubicBezTo>
                  <a:cubicBezTo>
                    <a:pt x="593" y="274"/>
                    <a:pt x="596" y="274"/>
                    <a:pt x="598" y="275"/>
                  </a:cubicBezTo>
                  <a:cubicBezTo>
                    <a:pt x="601" y="275"/>
                    <a:pt x="603" y="276"/>
                    <a:pt x="606" y="276"/>
                  </a:cubicBezTo>
                  <a:cubicBezTo>
                    <a:pt x="606" y="276"/>
                    <a:pt x="606" y="275"/>
                    <a:pt x="607" y="275"/>
                  </a:cubicBezTo>
                  <a:cubicBezTo>
                    <a:pt x="609" y="275"/>
                    <a:pt x="609" y="275"/>
                    <a:pt x="608" y="273"/>
                  </a:cubicBezTo>
                  <a:cubicBezTo>
                    <a:pt x="607" y="270"/>
                    <a:pt x="606" y="269"/>
                    <a:pt x="605" y="267"/>
                  </a:cubicBezTo>
                  <a:cubicBezTo>
                    <a:pt x="607" y="267"/>
                    <a:pt x="603" y="262"/>
                    <a:pt x="602" y="261"/>
                  </a:cubicBezTo>
                  <a:cubicBezTo>
                    <a:pt x="599" y="259"/>
                    <a:pt x="597" y="256"/>
                    <a:pt x="594" y="256"/>
                  </a:cubicBezTo>
                  <a:cubicBezTo>
                    <a:pt x="593" y="256"/>
                    <a:pt x="591" y="256"/>
                    <a:pt x="590" y="258"/>
                  </a:cubicBezTo>
                  <a:cubicBezTo>
                    <a:pt x="589" y="258"/>
                    <a:pt x="589" y="260"/>
                    <a:pt x="588" y="260"/>
                  </a:cubicBezTo>
                  <a:cubicBezTo>
                    <a:pt x="588" y="260"/>
                    <a:pt x="588" y="260"/>
                    <a:pt x="588" y="260"/>
                  </a:cubicBezTo>
                  <a:cubicBezTo>
                    <a:pt x="587" y="260"/>
                    <a:pt x="587" y="259"/>
                    <a:pt x="587" y="259"/>
                  </a:cubicBezTo>
                  <a:cubicBezTo>
                    <a:pt x="587" y="259"/>
                    <a:pt x="587" y="258"/>
                    <a:pt x="586" y="258"/>
                  </a:cubicBezTo>
                  <a:cubicBezTo>
                    <a:pt x="586" y="258"/>
                    <a:pt x="586" y="258"/>
                    <a:pt x="586" y="258"/>
                  </a:cubicBezTo>
                  <a:cubicBezTo>
                    <a:pt x="585" y="258"/>
                    <a:pt x="584" y="258"/>
                    <a:pt x="584" y="258"/>
                  </a:cubicBezTo>
                  <a:cubicBezTo>
                    <a:pt x="581" y="259"/>
                    <a:pt x="580" y="259"/>
                    <a:pt x="580" y="262"/>
                  </a:cubicBezTo>
                  <a:cubicBezTo>
                    <a:pt x="580" y="261"/>
                    <a:pt x="580" y="260"/>
                    <a:pt x="580" y="258"/>
                  </a:cubicBezTo>
                  <a:cubicBezTo>
                    <a:pt x="581" y="258"/>
                    <a:pt x="582" y="258"/>
                    <a:pt x="582" y="257"/>
                  </a:cubicBezTo>
                  <a:cubicBezTo>
                    <a:pt x="583" y="256"/>
                    <a:pt x="583" y="255"/>
                    <a:pt x="581" y="254"/>
                  </a:cubicBezTo>
                  <a:cubicBezTo>
                    <a:pt x="581" y="254"/>
                    <a:pt x="582" y="254"/>
                    <a:pt x="582" y="254"/>
                  </a:cubicBezTo>
                  <a:cubicBezTo>
                    <a:pt x="584" y="254"/>
                    <a:pt x="585" y="252"/>
                    <a:pt x="584" y="250"/>
                  </a:cubicBezTo>
                  <a:cubicBezTo>
                    <a:pt x="584" y="251"/>
                    <a:pt x="585" y="251"/>
                    <a:pt x="585" y="251"/>
                  </a:cubicBezTo>
                  <a:cubicBezTo>
                    <a:pt x="587" y="251"/>
                    <a:pt x="588" y="250"/>
                    <a:pt x="590" y="249"/>
                  </a:cubicBezTo>
                  <a:cubicBezTo>
                    <a:pt x="584" y="249"/>
                    <a:pt x="573" y="249"/>
                    <a:pt x="571" y="256"/>
                  </a:cubicBezTo>
                  <a:cubicBezTo>
                    <a:pt x="571" y="258"/>
                    <a:pt x="573" y="257"/>
                    <a:pt x="575" y="259"/>
                  </a:cubicBezTo>
                  <a:cubicBezTo>
                    <a:pt x="575" y="260"/>
                    <a:pt x="576" y="263"/>
                    <a:pt x="576" y="264"/>
                  </a:cubicBezTo>
                  <a:cubicBezTo>
                    <a:pt x="574" y="262"/>
                    <a:pt x="572" y="259"/>
                    <a:pt x="571" y="257"/>
                  </a:cubicBezTo>
                  <a:cubicBezTo>
                    <a:pt x="570" y="255"/>
                    <a:pt x="571" y="255"/>
                    <a:pt x="571" y="254"/>
                  </a:cubicBezTo>
                  <a:cubicBezTo>
                    <a:pt x="572" y="252"/>
                    <a:pt x="573" y="250"/>
                    <a:pt x="573" y="248"/>
                  </a:cubicBezTo>
                  <a:cubicBezTo>
                    <a:pt x="571" y="249"/>
                    <a:pt x="569" y="249"/>
                    <a:pt x="567" y="250"/>
                  </a:cubicBezTo>
                  <a:cubicBezTo>
                    <a:pt x="566" y="251"/>
                    <a:pt x="566" y="251"/>
                    <a:pt x="565" y="252"/>
                  </a:cubicBezTo>
                  <a:cubicBezTo>
                    <a:pt x="565" y="253"/>
                    <a:pt x="562" y="254"/>
                    <a:pt x="562" y="255"/>
                  </a:cubicBezTo>
                  <a:cubicBezTo>
                    <a:pt x="561" y="256"/>
                    <a:pt x="562" y="258"/>
                    <a:pt x="561" y="259"/>
                  </a:cubicBezTo>
                  <a:cubicBezTo>
                    <a:pt x="561" y="260"/>
                    <a:pt x="561" y="261"/>
                    <a:pt x="560" y="263"/>
                  </a:cubicBezTo>
                  <a:cubicBezTo>
                    <a:pt x="560" y="261"/>
                    <a:pt x="560" y="257"/>
                    <a:pt x="560" y="255"/>
                  </a:cubicBezTo>
                  <a:cubicBezTo>
                    <a:pt x="560" y="255"/>
                    <a:pt x="561" y="254"/>
                    <a:pt x="561" y="253"/>
                  </a:cubicBezTo>
                  <a:cubicBezTo>
                    <a:pt x="562" y="252"/>
                    <a:pt x="560" y="252"/>
                    <a:pt x="560" y="251"/>
                  </a:cubicBezTo>
                  <a:cubicBezTo>
                    <a:pt x="560" y="248"/>
                    <a:pt x="566" y="245"/>
                    <a:pt x="562" y="242"/>
                  </a:cubicBezTo>
                  <a:cubicBezTo>
                    <a:pt x="561" y="246"/>
                    <a:pt x="562" y="246"/>
                    <a:pt x="559" y="248"/>
                  </a:cubicBezTo>
                  <a:cubicBezTo>
                    <a:pt x="557" y="248"/>
                    <a:pt x="554" y="249"/>
                    <a:pt x="553" y="250"/>
                  </a:cubicBezTo>
                  <a:cubicBezTo>
                    <a:pt x="552" y="252"/>
                    <a:pt x="553" y="253"/>
                    <a:pt x="552" y="255"/>
                  </a:cubicBezTo>
                  <a:cubicBezTo>
                    <a:pt x="552" y="256"/>
                    <a:pt x="552" y="256"/>
                    <a:pt x="552" y="256"/>
                  </a:cubicBezTo>
                  <a:cubicBezTo>
                    <a:pt x="551" y="256"/>
                    <a:pt x="551" y="256"/>
                    <a:pt x="550" y="256"/>
                  </a:cubicBezTo>
                  <a:cubicBezTo>
                    <a:pt x="548" y="255"/>
                    <a:pt x="546" y="254"/>
                    <a:pt x="543" y="253"/>
                  </a:cubicBezTo>
                  <a:cubicBezTo>
                    <a:pt x="544" y="253"/>
                    <a:pt x="544" y="253"/>
                    <a:pt x="544" y="253"/>
                  </a:cubicBezTo>
                  <a:cubicBezTo>
                    <a:pt x="545" y="253"/>
                    <a:pt x="546" y="253"/>
                    <a:pt x="547" y="253"/>
                  </a:cubicBezTo>
                  <a:cubicBezTo>
                    <a:pt x="548" y="254"/>
                    <a:pt x="548" y="254"/>
                    <a:pt x="549" y="254"/>
                  </a:cubicBezTo>
                  <a:cubicBezTo>
                    <a:pt x="550" y="254"/>
                    <a:pt x="550" y="254"/>
                    <a:pt x="551" y="253"/>
                  </a:cubicBezTo>
                  <a:cubicBezTo>
                    <a:pt x="552" y="253"/>
                    <a:pt x="552" y="250"/>
                    <a:pt x="553" y="249"/>
                  </a:cubicBezTo>
                  <a:cubicBezTo>
                    <a:pt x="554" y="247"/>
                    <a:pt x="558" y="247"/>
                    <a:pt x="554" y="245"/>
                  </a:cubicBezTo>
                  <a:cubicBezTo>
                    <a:pt x="553" y="245"/>
                    <a:pt x="553" y="245"/>
                    <a:pt x="553" y="245"/>
                  </a:cubicBezTo>
                  <a:cubicBezTo>
                    <a:pt x="550" y="245"/>
                    <a:pt x="545" y="247"/>
                    <a:pt x="544" y="249"/>
                  </a:cubicBezTo>
                  <a:cubicBezTo>
                    <a:pt x="544" y="247"/>
                    <a:pt x="544" y="245"/>
                    <a:pt x="545" y="243"/>
                  </a:cubicBezTo>
                  <a:cubicBezTo>
                    <a:pt x="543" y="244"/>
                    <a:pt x="539" y="247"/>
                    <a:pt x="539" y="247"/>
                  </a:cubicBezTo>
                  <a:cubicBezTo>
                    <a:pt x="539" y="247"/>
                    <a:pt x="539" y="247"/>
                    <a:pt x="539" y="247"/>
                  </a:cubicBezTo>
                  <a:cubicBezTo>
                    <a:pt x="537" y="247"/>
                    <a:pt x="540" y="243"/>
                    <a:pt x="541" y="242"/>
                  </a:cubicBezTo>
                  <a:cubicBezTo>
                    <a:pt x="540" y="242"/>
                    <a:pt x="540" y="242"/>
                    <a:pt x="540" y="242"/>
                  </a:cubicBezTo>
                  <a:cubicBezTo>
                    <a:pt x="540" y="242"/>
                    <a:pt x="541" y="241"/>
                    <a:pt x="541" y="241"/>
                  </a:cubicBezTo>
                  <a:cubicBezTo>
                    <a:pt x="542" y="238"/>
                    <a:pt x="541" y="238"/>
                    <a:pt x="538" y="238"/>
                  </a:cubicBezTo>
                  <a:cubicBezTo>
                    <a:pt x="538" y="238"/>
                    <a:pt x="537" y="238"/>
                    <a:pt x="537" y="238"/>
                  </a:cubicBezTo>
                  <a:cubicBezTo>
                    <a:pt x="536" y="238"/>
                    <a:pt x="535" y="238"/>
                    <a:pt x="535" y="238"/>
                  </a:cubicBezTo>
                  <a:cubicBezTo>
                    <a:pt x="535" y="238"/>
                    <a:pt x="535" y="238"/>
                    <a:pt x="535" y="238"/>
                  </a:cubicBezTo>
                  <a:cubicBezTo>
                    <a:pt x="534" y="238"/>
                    <a:pt x="534" y="238"/>
                    <a:pt x="533" y="238"/>
                  </a:cubicBezTo>
                  <a:cubicBezTo>
                    <a:pt x="529" y="238"/>
                    <a:pt x="532" y="239"/>
                    <a:pt x="530" y="242"/>
                  </a:cubicBezTo>
                  <a:cubicBezTo>
                    <a:pt x="529" y="243"/>
                    <a:pt x="528" y="243"/>
                    <a:pt x="528" y="243"/>
                  </a:cubicBezTo>
                  <a:cubicBezTo>
                    <a:pt x="526" y="243"/>
                    <a:pt x="525" y="242"/>
                    <a:pt x="524" y="242"/>
                  </a:cubicBezTo>
                  <a:cubicBezTo>
                    <a:pt x="525" y="242"/>
                    <a:pt x="526" y="242"/>
                    <a:pt x="527" y="242"/>
                  </a:cubicBezTo>
                  <a:cubicBezTo>
                    <a:pt x="528" y="242"/>
                    <a:pt x="529" y="242"/>
                    <a:pt x="529" y="241"/>
                  </a:cubicBezTo>
                  <a:cubicBezTo>
                    <a:pt x="530" y="240"/>
                    <a:pt x="529" y="239"/>
                    <a:pt x="530" y="237"/>
                  </a:cubicBezTo>
                  <a:cubicBezTo>
                    <a:pt x="532" y="236"/>
                    <a:pt x="534" y="236"/>
                    <a:pt x="537" y="235"/>
                  </a:cubicBezTo>
                  <a:cubicBezTo>
                    <a:pt x="535" y="235"/>
                    <a:pt x="532" y="235"/>
                    <a:pt x="530" y="235"/>
                  </a:cubicBezTo>
                  <a:cubicBezTo>
                    <a:pt x="528" y="235"/>
                    <a:pt x="526" y="235"/>
                    <a:pt x="525" y="236"/>
                  </a:cubicBezTo>
                  <a:cubicBezTo>
                    <a:pt x="524" y="236"/>
                    <a:pt x="525" y="237"/>
                    <a:pt x="524" y="238"/>
                  </a:cubicBezTo>
                  <a:cubicBezTo>
                    <a:pt x="524" y="238"/>
                    <a:pt x="522" y="238"/>
                    <a:pt x="521" y="238"/>
                  </a:cubicBezTo>
                  <a:cubicBezTo>
                    <a:pt x="524" y="238"/>
                    <a:pt x="523" y="236"/>
                    <a:pt x="525" y="235"/>
                  </a:cubicBezTo>
                  <a:cubicBezTo>
                    <a:pt x="524" y="235"/>
                    <a:pt x="524" y="235"/>
                    <a:pt x="523" y="235"/>
                  </a:cubicBezTo>
                  <a:cubicBezTo>
                    <a:pt x="521" y="235"/>
                    <a:pt x="519" y="236"/>
                    <a:pt x="517" y="238"/>
                  </a:cubicBezTo>
                  <a:cubicBezTo>
                    <a:pt x="518" y="234"/>
                    <a:pt x="521" y="234"/>
                    <a:pt x="524" y="234"/>
                  </a:cubicBezTo>
                  <a:cubicBezTo>
                    <a:pt x="526" y="233"/>
                    <a:pt x="528" y="232"/>
                    <a:pt x="530" y="232"/>
                  </a:cubicBezTo>
                  <a:cubicBezTo>
                    <a:pt x="530" y="232"/>
                    <a:pt x="530" y="232"/>
                    <a:pt x="530" y="232"/>
                  </a:cubicBezTo>
                  <a:cubicBezTo>
                    <a:pt x="532" y="232"/>
                    <a:pt x="535" y="234"/>
                    <a:pt x="536" y="234"/>
                  </a:cubicBezTo>
                  <a:cubicBezTo>
                    <a:pt x="537" y="234"/>
                    <a:pt x="537" y="234"/>
                    <a:pt x="537" y="234"/>
                  </a:cubicBezTo>
                  <a:cubicBezTo>
                    <a:pt x="539" y="233"/>
                    <a:pt x="539" y="231"/>
                    <a:pt x="540" y="231"/>
                  </a:cubicBezTo>
                  <a:cubicBezTo>
                    <a:pt x="541" y="231"/>
                    <a:pt x="541" y="231"/>
                    <a:pt x="542" y="232"/>
                  </a:cubicBezTo>
                  <a:cubicBezTo>
                    <a:pt x="542" y="230"/>
                    <a:pt x="544" y="231"/>
                    <a:pt x="545" y="231"/>
                  </a:cubicBezTo>
                  <a:cubicBezTo>
                    <a:pt x="544" y="231"/>
                    <a:pt x="543" y="231"/>
                    <a:pt x="542" y="231"/>
                  </a:cubicBezTo>
                  <a:cubicBezTo>
                    <a:pt x="541" y="231"/>
                    <a:pt x="541" y="231"/>
                    <a:pt x="541" y="231"/>
                  </a:cubicBezTo>
                  <a:cubicBezTo>
                    <a:pt x="541" y="231"/>
                    <a:pt x="540" y="231"/>
                    <a:pt x="540" y="231"/>
                  </a:cubicBezTo>
                  <a:cubicBezTo>
                    <a:pt x="534" y="231"/>
                    <a:pt x="528" y="231"/>
                    <a:pt x="523" y="233"/>
                  </a:cubicBezTo>
                  <a:cubicBezTo>
                    <a:pt x="523" y="231"/>
                    <a:pt x="522" y="229"/>
                    <a:pt x="523" y="228"/>
                  </a:cubicBezTo>
                  <a:cubicBezTo>
                    <a:pt x="523" y="227"/>
                    <a:pt x="524" y="227"/>
                    <a:pt x="524" y="227"/>
                  </a:cubicBezTo>
                  <a:cubicBezTo>
                    <a:pt x="524" y="227"/>
                    <a:pt x="524" y="227"/>
                    <a:pt x="524" y="227"/>
                  </a:cubicBezTo>
                  <a:cubicBezTo>
                    <a:pt x="524" y="227"/>
                    <a:pt x="524" y="227"/>
                    <a:pt x="524" y="227"/>
                  </a:cubicBezTo>
                  <a:cubicBezTo>
                    <a:pt x="525" y="227"/>
                    <a:pt x="525" y="227"/>
                    <a:pt x="525" y="227"/>
                  </a:cubicBezTo>
                  <a:cubicBezTo>
                    <a:pt x="522" y="227"/>
                    <a:pt x="518" y="230"/>
                    <a:pt x="515" y="232"/>
                  </a:cubicBezTo>
                  <a:cubicBezTo>
                    <a:pt x="515" y="231"/>
                    <a:pt x="515" y="231"/>
                    <a:pt x="515" y="230"/>
                  </a:cubicBezTo>
                  <a:cubicBezTo>
                    <a:pt x="515" y="230"/>
                    <a:pt x="514" y="229"/>
                    <a:pt x="514" y="228"/>
                  </a:cubicBezTo>
                  <a:cubicBezTo>
                    <a:pt x="514" y="228"/>
                    <a:pt x="514" y="227"/>
                    <a:pt x="514" y="227"/>
                  </a:cubicBezTo>
                  <a:cubicBezTo>
                    <a:pt x="514" y="228"/>
                    <a:pt x="514" y="228"/>
                    <a:pt x="514" y="228"/>
                  </a:cubicBezTo>
                  <a:cubicBezTo>
                    <a:pt x="514" y="227"/>
                    <a:pt x="514" y="227"/>
                    <a:pt x="514" y="227"/>
                  </a:cubicBezTo>
                  <a:cubicBezTo>
                    <a:pt x="514" y="227"/>
                    <a:pt x="514" y="228"/>
                    <a:pt x="514" y="228"/>
                  </a:cubicBezTo>
                  <a:cubicBezTo>
                    <a:pt x="514" y="227"/>
                    <a:pt x="513" y="226"/>
                    <a:pt x="510" y="225"/>
                  </a:cubicBezTo>
                  <a:cubicBezTo>
                    <a:pt x="509" y="225"/>
                    <a:pt x="507" y="224"/>
                    <a:pt x="506" y="224"/>
                  </a:cubicBezTo>
                  <a:cubicBezTo>
                    <a:pt x="505" y="224"/>
                    <a:pt x="505" y="224"/>
                    <a:pt x="504" y="224"/>
                  </a:cubicBezTo>
                  <a:cubicBezTo>
                    <a:pt x="502" y="225"/>
                    <a:pt x="500" y="225"/>
                    <a:pt x="499" y="225"/>
                  </a:cubicBezTo>
                  <a:cubicBezTo>
                    <a:pt x="498" y="225"/>
                    <a:pt x="497" y="225"/>
                    <a:pt x="496" y="225"/>
                  </a:cubicBezTo>
                  <a:cubicBezTo>
                    <a:pt x="497" y="224"/>
                    <a:pt x="499" y="224"/>
                    <a:pt x="499" y="223"/>
                  </a:cubicBezTo>
                  <a:cubicBezTo>
                    <a:pt x="500" y="222"/>
                    <a:pt x="500" y="222"/>
                    <a:pt x="501" y="222"/>
                  </a:cubicBezTo>
                  <a:cubicBezTo>
                    <a:pt x="501" y="222"/>
                    <a:pt x="501" y="222"/>
                    <a:pt x="501" y="222"/>
                  </a:cubicBezTo>
                  <a:cubicBezTo>
                    <a:pt x="502" y="222"/>
                    <a:pt x="503" y="222"/>
                    <a:pt x="503" y="222"/>
                  </a:cubicBezTo>
                  <a:cubicBezTo>
                    <a:pt x="504" y="223"/>
                    <a:pt x="504" y="223"/>
                    <a:pt x="505" y="223"/>
                  </a:cubicBezTo>
                  <a:cubicBezTo>
                    <a:pt x="505" y="223"/>
                    <a:pt x="505" y="223"/>
                    <a:pt x="505" y="223"/>
                  </a:cubicBezTo>
                  <a:cubicBezTo>
                    <a:pt x="507" y="223"/>
                    <a:pt x="508" y="222"/>
                    <a:pt x="509" y="222"/>
                  </a:cubicBezTo>
                  <a:cubicBezTo>
                    <a:pt x="510" y="222"/>
                    <a:pt x="511" y="222"/>
                    <a:pt x="512" y="223"/>
                  </a:cubicBezTo>
                  <a:cubicBezTo>
                    <a:pt x="509" y="218"/>
                    <a:pt x="500" y="218"/>
                    <a:pt x="495" y="217"/>
                  </a:cubicBezTo>
                  <a:cubicBezTo>
                    <a:pt x="495" y="217"/>
                    <a:pt x="495" y="217"/>
                    <a:pt x="495" y="217"/>
                  </a:cubicBezTo>
                  <a:cubicBezTo>
                    <a:pt x="495" y="217"/>
                    <a:pt x="494" y="218"/>
                    <a:pt x="493" y="218"/>
                  </a:cubicBezTo>
                  <a:cubicBezTo>
                    <a:pt x="492" y="218"/>
                    <a:pt x="492" y="218"/>
                    <a:pt x="491" y="218"/>
                  </a:cubicBezTo>
                  <a:cubicBezTo>
                    <a:pt x="491" y="218"/>
                    <a:pt x="491" y="218"/>
                    <a:pt x="491" y="218"/>
                  </a:cubicBezTo>
                  <a:cubicBezTo>
                    <a:pt x="491" y="218"/>
                    <a:pt x="492" y="217"/>
                    <a:pt x="491" y="216"/>
                  </a:cubicBezTo>
                  <a:cubicBezTo>
                    <a:pt x="490" y="215"/>
                    <a:pt x="484" y="215"/>
                    <a:pt x="482" y="215"/>
                  </a:cubicBezTo>
                  <a:cubicBezTo>
                    <a:pt x="482" y="215"/>
                    <a:pt x="483" y="214"/>
                    <a:pt x="483" y="214"/>
                  </a:cubicBezTo>
                  <a:cubicBezTo>
                    <a:pt x="483" y="214"/>
                    <a:pt x="482" y="213"/>
                    <a:pt x="482" y="213"/>
                  </a:cubicBezTo>
                  <a:cubicBezTo>
                    <a:pt x="482" y="213"/>
                    <a:pt x="482" y="213"/>
                    <a:pt x="482" y="213"/>
                  </a:cubicBezTo>
                  <a:cubicBezTo>
                    <a:pt x="482" y="213"/>
                    <a:pt x="483" y="213"/>
                    <a:pt x="484" y="213"/>
                  </a:cubicBezTo>
                  <a:cubicBezTo>
                    <a:pt x="489" y="213"/>
                    <a:pt x="494" y="216"/>
                    <a:pt x="499" y="216"/>
                  </a:cubicBezTo>
                  <a:cubicBezTo>
                    <a:pt x="499" y="216"/>
                    <a:pt x="499" y="216"/>
                    <a:pt x="499" y="216"/>
                  </a:cubicBezTo>
                  <a:cubicBezTo>
                    <a:pt x="502" y="216"/>
                    <a:pt x="504" y="215"/>
                    <a:pt x="506" y="215"/>
                  </a:cubicBezTo>
                  <a:cubicBezTo>
                    <a:pt x="506" y="215"/>
                    <a:pt x="506" y="215"/>
                    <a:pt x="507" y="215"/>
                  </a:cubicBezTo>
                  <a:cubicBezTo>
                    <a:pt x="509" y="215"/>
                    <a:pt x="512" y="216"/>
                    <a:pt x="514" y="216"/>
                  </a:cubicBezTo>
                  <a:cubicBezTo>
                    <a:pt x="514" y="216"/>
                    <a:pt x="514" y="216"/>
                    <a:pt x="514" y="216"/>
                  </a:cubicBezTo>
                  <a:cubicBezTo>
                    <a:pt x="514" y="216"/>
                    <a:pt x="514" y="216"/>
                    <a:pt x="514" y="216"/>
                  </a:cubicBezTo>
                  <a:cubicBezTo>
                    <a:pt x="513" y="213"/>
                    <a:pt x="504" y="213"/>
                    <a:pt x="502" y="212"/>
                  </a:cubicBezTo>
                  <a:cubicBezTo>
                    <a:pt x="503" y="212"/>
                    <a:pt x="503" y="212"/>
                    <a:pt x="503" y="212"/>
                  </a:cubicBezTo>
                  <a:cubicBezTo>
                    <a:pt x="507" y="212"/>
                    <a:pt x="510" y="213"/>
                    <a:pt x="514" y="214"/>
                  </a:cubicBezTo>
                  <a:cubicBezTo>
                    <a:pt x="514" y="214"/>
                    <a:pt x="514" y="214"/>
                    <a:pt x="514" y="214"/>
                  </a:cubicBezTo>
                  <a:cubicBezTo>
                    <a:pt x="514" y="213"/>
                    <a:pt x="514" y="213"/>
                    <a:pt x="514" y="213"/>
                  </a:cubicBezTo>
                  <a:cubicBezTo>
                    <a:pt x="514" y="210"/>
                    <a:pt x="510" y="209"/>
                    <a:pt x="506" y="209"/>
                  </a:cubicBezTo>
                  <a:cubicBezTo>
                    <a:pt x="504" y="209"/>
                    <a:pt x="502" y="209"/>
                    <a:pt x="501" y="209"/>
                  </a:cubicBezTo>
                  <a:cubicBezTo>
                    <a:pt x="501" y="209"/>
                    <a:pt x="501" y="209"/>
                    <a:pt x="501" y="209"/>
                  </a:cubicBezTo>
                  <a:cubicBezTo>
                    <a:pt x="503" y="208"/>
                    <a:pt x="505" y="208"/>
                    <a:pt x="507" y="208"/>
                  </a:cubicBezTo>
                  <a:cubicBezTo>
                    <a:pt x="507" y="208"/>
                    <a:pt x="508" y="208"/>
                    <a:pt x="509" y="208"/>
                  </a:cubicBezTo>
                  <a:cubicBezTo>
                    <a:pt x="510" y="208"/>
                    <a:pt x="512" y="209"/>
                    <a:pt x="513" y="209"/>
                  </a:cubicBezTo>
                  <a:cubicBezTo>
                    <a:pt x="513" y="209"/>
                    <a:pt x="514" y="209"/>
                    <a:pt x="514" y="209"/>
                  </a:cubicBezTo>
                  <a:cubicBezTo>
                    <a:pt x="514" y="208"/>
                    <a:pt x="514" y="208"/>
                    <a:pt x="514" y="208"/>
                  </a:cubicBezTo>
                  <a:cubicBezTo>
                    <a:pt x="514" y="208"/>
                    <a:pt x="514" y="208"/>
                    <a:pt x="514" y="208"/>
                  </a:cubicBezTo>
                  <a:cubicBezTo>
                    <a:pt x="515" y="208"/>
                    <a:pt x="519" y="207"/>
                    <a:pt x="520" y="207"/>
                  </a:cubicBezTo>
                  <a:cubicBezTo>
                    <a:pt x="519" y="205"/>
                    <a:pt x="516" y="204"/>
                    <a:pt x="514" y="204"/>
                  </a:cubicBezTo>
                  <a:cubicBezTo>
                    <a:pt x="514" y="204"/>
                    <a:pt x="514" y="205"/>
                    <a:pt x="514" y="205"/>
                  </a:cubicBezTo>
                  <a:cubicBezTo>
                    <a:pt x="514" y="204"/>
                    <a:pt x="513" y="204"/>
                    <a:pt x="513" y="203"/>
                  </a:cubicBezTo>
                  <a:cubicBezTo>
                    <a:pt x="512" y="202"/>
                    <a:pt x="510" y="202"/>
                    <a:pt x="509" y="202"/>
                  </a:cubicBezTo>
                  <a:cubicBezTo>
                    <a:pt x="508" y="201"/>
                    <a:pt x="506" y="201"/>
                    <a:pt x="505" y="201"/>
                  </a:cubicBezTo>
                  <a:cubicBezTo>
                    <a:pt x="501" y="201"/>
                    <a:pt x="496" y="203"/>
                    <a:pt x="492" y="205"/>
                  </a:cubicBezTo>
                  <a:cubicBezTo>
                    <a:pt x="492" y="204"/>
                    <a:pt x="492" y="203"/>
                    <a:pt x="491" y="203"/>
                  </a:cubicBezTo>
                  <a:cubicBezTo>
                    <a:pt x="490" y="203"/>
                    <a:pt x="489" y="204"/>
                    <a:pt x="489" y="204"/>
                  </a:cubicBezTo>
                  <a:cubicBezTo>
                    <a:pt x="491" y="202"/>
                    <a:pt x="495" y="203"/>
                    <a:pt x="497" y="202"/>
                  </a:cubicBezTo>
                  <a:cubicBezTo>
                    <a:pt x="499" y="202"/>
                    <a:pt x="500" y="200"/>
                    <a:pt x="502" y="200"/>
                  </a:cubicBezTo>
                  <a:cubicBezTo>
                    <a:pt x="500" y="200"/>
                    <a:pt x="499" y="199"/>
                    <a:pt x="498" y="199"/>
                  </a:cubicBezTo>
                  <a:cubicBezTo>
                    <a:pt x="498" y="199"/>
                    <a:pt x="497" y="199"/>
                    <a:pt x="497" y="199"/>
                  </a:cubicBezTo>
                  <a:cubicBezTo>
                    <a:pt x="496" y="199"/>
                    <a:pt x="496" y="199"/>
                    <a:pt x="496" y="199"/>
                  </a:cubicBezTo>
                  <a:cubicBezTo>
                    <a:pt x="494" y="199"/>
                    <a:pt x="493" y="199"/>
                    <a:pt x="492" y="199"/>
                  </a:cubicBezTo>
                  <a:cubicBezTo>
                    <a:pt x="494" y="199"/>
                    <a:pt x="497" y="198"/>
                    <a:pt x="500" y="198"/>
                  </a:cubicBezTo>
                  <a:cubicBezTo>
                    <a:pt x="501" y="198"/>
                    <a:pt x="503" y="199"/>
                    <a:pt x="504" y="199"/>
                  </a:cubicBezTo>
                  <a:cubicBezTo>
                    <a:pt x="506" y="199"/>
                    <a:pt x="507" y="199"/>
                    <a:pt x="509" y="199"/>
                  </a:cubicBezTo>
                  <a:cubicBezTo>
                    <a:pt x="509" y="199"/>
                    <a:pt x="509" y="199"/>
                    <a:pt x="509" y="199"/>
                  </a:cubicBezTo>
                  <a:cubicBezTo>
                    <a:pt x="509" y="199"/>
                    <a:pt x="510" y="199"/>
                    <a:pt x="510" y="199"/>
                  </a:cubicBezTo>
                  <a:cubicBezTo>
                    <a:pt x="510" y="199"/>
                    <a:pt x="510" y="199"/>
                    <a:pt x="510" y="199"/>
                  </a:cubicBezTo>
                  <a:cubicBezTo>
                    <a:pt x="510" y="199"/>
                    <a:pt x="511" y="199"/>
                    <a:pt x="511" y="199"/>
                  </a:cubicBezTo>
                  <a:cubicBezTo>
                    <a:pt x="511" y="199"/>
                    <a:pt x="511" y="199"/>
                    <a:pt x="511" y="198"/>
                  </a:cubicBezTo>
                  <a:cubicBezTo>
                    <a:pt x="510" y="197"/>
                    <a:pt x="509" y="197"/>
                    <a:pt x="508" y="196"/>
                  </a:cubicBezTo>
                  <a:cubicBezTo>
                    <a:pt x="507" y="196"/>
                    <a:pt x="507" y="196"/>
                    <a:pt x="507" y="196"/>
                  </a:cubicBezTo>
                  <a:cubicBezTo>
                    <a:pt x="506" y="196"/>
                    <a:pt x="506" y="196"/>
                    <a:pt x="505" y="196"/>
                  </a:cubicBezTo>
                  <a:cubicBezTo>
                    <a:pt x="505" y="197"/>
                    <a:pt x="504" y="197"/>
                    <a:pt x="504" y="197"/>
                  </a:cubicBezTo>
                  <a:cubicBezTo>
                    <a:pt x="504" y="197"/>
                    <a:pt x="503" y="197"/>
                    <a:pt x="503" y="197"/>
                  </a:cubicBezTo>
                  <a:cubicBezTo>
                    <a:pt x="501" y="196"/>
                    <a:pt x="499" y="196"/>
                    <a:pt x="497" y="195"/>
                  </a:cubicBezTo>
                  <a:cubicBezTo>
                    <a:pt x="495" y="195"/>
                    <a:pt x="493" y="194"/>
                    <a:pt x="492" y="194"/>
                  </a:cubicBezTo>
                  <a:cubicBezTo>
                    <a:pt x="491" y="194"/>
                    <a:pt x="491" y="194"/>
                    <a:pt x="491" y="194"/>
                  </a:cubicBezTo>
                  <a:cubicBezTo>
                    <a:pt x="489" y="195"/>
                    <a:pt x="487" y="196"/>
                    <a:pt x="485" y="196"/>
                  </a:cubicBezTo>
                  <a:cubicBezTo>
                    <a:pt x="487" y="194"/>
                    <a:pt x="489" y="194"/>
                    <a:pt x="492" y="194"/>
                  </a:cubicBezTo>
                  <a:cubicBezTo>
                    <a:pt x="496" y="194"/>
                    <a:pt x="499" y="195"/>
                    <a:pt x="502" y="195"/>
                  </a:cubicBezTo>
                  <a:cubicBezTo>
                    <a:pt x="507" y="196"/>
                    <a:pt x="510" y="195"/>
                    <a:pt x="514" y="197"/>
                  </a:cubicBezTo>
                  <a:cubicBezTo>
                    <a:pt x="514" y="197"/>
                    <a:pt x="514" y="196"/>
                    <a:pt x="514" y="195"/>
                  </a:cubicBezTo>
                  <a:cubicBezTo>
                    <a:pt x="514" y="196"/>
                    <a:pt x="514" y="197"/>
                    <a:pt x="515" y="198"/>
                  </a:cubicBezTo>
                  <a:cubicBezTo>
                    <a:pt x="516" y="199"/>
                    <a:pt x="518" y="199"/>
                    <a:pt x="519" y="200"/>
                  </a:cubicBezTo>
                  <a:cubicBezTo>
                    <a:pt x="521" y="201"/>
                    <a:pt x="523" y="201"/>
                    <a:pt x="525" y="201"/>
                  </a:cubicBezTo>
                  <a:cubicBezTo>
                    <a:pt x="526" y="201"/>
                    <a:pt x="526" y="201"/>
                    <a:pt x="527" y="201"/>
                  </a:cubicBezTo>
                  <a:cubicBezTo>
                    <a:pt x="528" y="201"/>
                    <a:pt x="528" y="201"/>
                    <a:pt x="529" y="201"/>
                  </a:cubicBezTo>
                  <a:cubicBezTo>
                    <a:pt x="529" y="201"/>
                    <a:pt x="530" y="201"/>
                    <a:pt x="530" y="201"/>
                  </a:cubicBezTo>
                  <a:cubicBezTo>
                    <a:pt x="531" y="201"/>
                    <a:pt x="532" y="202"/>
                    <a:pt x="532" y="202"/>
                  </a:cubicBezTo>
                  <a:cubicBezTo>
                    <a:pt x="533" y="202"/>
                    <a:pt x="533" y="201"/>
                    <a:pt x="534" y="201"/>
                  </a:cubicBezTo>
                  <a:cubicBezTo>
                    <a:pt x="534" y="201"/>
                    <a:pt x="535" y="200"/>
                    <a:pt x="536" y="200"/>
                  </a:cubicBezTo>
                  <a:cubicBezTo>
                    <a:pt x="537" y="200"/>
                    <a:pt x="539" y="202"/>
                    <a:pt x="541" y="202"/>
                  </a:cubicBezTo>
                  <a:cubicBezTo>
                    <a:pt x="541" y="202"/>
                    <a:pt x="541" y="202"/>
                    <a:pt x="541" y="202"/>
                  </a:cubicBezTo>
                  <a:cubicBezTo>
                    <a:pt x="545" y="202"/>
                    <a:pt x="545" y="198"/>
                    <a:pt x="543" y="195"/>
                  </a:cubicBezTo>
                  <a:cubicBezTo>
                    <a:pt x="542" y="193"/>
                    <a:pt x="539" y="193"/>
                    <a:pt x="537" y="191"/>
                  </a:cubicBezTo>
                  <a:cubicBezTo>
                    <a:pt x="532" y="189"/>
                    <a:pt x="529" y="189"/>
                    <a:pt x="523" y="188"/>
                  </a:cubicBezTo>
                  <a:cubicBezTo>
                    <a:pt x="523" y="188"/>
                    <a:pt x="523" y="188"/>
                    <a:pt x="522" y="188"/>
                  </a:cubicBezTo>
                  <a:cubicBezTo>
                    <a:pt x="521" y="188"/>
                    <a:pt x="520" y="188"/>
                    <a:pt x="519" y="189"/>
                  </a:cubicBezTo>
                  <a:cubicBezTo>
                    <a:pt x="518" y="189"/>
                    <a:pt x="517" y="189"/>
                    <a:pt x="516" y="189"/>
                  </a:cubicBezTo>
                  <a:cubicBezTo>
                    <a:pt x="515" y="189"/>
                    <a:pt x="514" y="189"/>
                    <a:pt x="514" y="189"/>
                  </a:cubicBezTo>
                  <a:cubicBezTo>
                    <a:pt x="514" y="189"/>
                    <a:pt x="514" y="190"/>
                    <a:pt x="514" y="190"/>
                  </a:cubicBezTo>
                  <a:cubicBezTo>
                    <a:pt x="514" y="188"/>
                    <a:pt x="513" y="189"/>
                    <a:pt x="511" y="188"/>
                  </a:cubicBezTo>
                  <a:cubicBezTo>
                    <a:pt x="509" y="187"/>
                    <a:pt x="507" y="186"/>
                    <a:pt x="505" y="185"/>
                  </a:cubicBezTo>
                  <a:cubicBezTo>
                    <a:pt x="502" y="184"/>
                    <a:pt x="500" y="184"/>
                    <a:pt x="497" y="184"/>
                  </a:cubicBezTo>
                  <a:cubicBezTo>
                    <a:pt x="496" y="184"/>
                    <a:pt x="494" y="184"/>
                    <a:pt x="492" y="185"/>
                  </a:cubicBezTo>
                  <a:cubicBezTo>
                    <a:pt x="489" y="186"/>
                    <a:pt x="486" y="187"/>
                    <a:pt x="483" y="187"/>
                  </a:cubicBezTo>
                  <a:cubicBezTo>
                    <a:pt x="482" y="187"/>
                    <a:pt x="481" y="186"/>
                    <a:pt x="479" y="186"/>
                  </a:cubicBezTo>
                  <a:cubicBezTo>
                    <a:pt x="478" y="186"/>
                    <a:pt x="476" y="185"/>
                    <a:pt x="475" y="185"/>
                  </a:cubicBezTo>
                  <a:cubicBezTo>
                    <a:pt x="474" y="185"/>
                    <a:pt x="473" y="185"/>
                    <a:pt x="473" y="186"/>
                  </a:cubicBezTo>
                  <a:cubicBezTo>
                    <a:pt x="471" y="186"/>
                    <a:pt x="470" y="187"/>
                    <a:pt x="469" y="187"/>
                  </a:cubicBezTo>
                  <a:cubicBezTo>
                    <a:pt x="468" y="187"/>
                    <a:pt x="467" y="187"/>
                    <a:pt x="467" y="186"/>
                  </a:cubicBezTo>
                  <a:cubicBezTo>
                    <a:pt x="469" y="185"/>
                    <a:pt x="472" y="185"/>
                    <a:pt x="475" y="185"/>
                  </a:cubicBezTo>
                  <a:cubicBezTo>
                    <a:pt x="476" y="185"/>
                    <a:pt x="476" y="185"/>
                    <a:pt x="477" y="185"/>
                  </a:cubicBezTo>
                  <a:cubicBezTo>
                    <a:pt x="480" y="185"/>
                    <a:pt x="482" y="186"/>
                    <a:pt x="484" y="186"/>
                  </a:cubicBezTo>
                  <a:cubicBezTo>
                    <a:pt x="485" y="186"/>
                    <a:pt x="485" y="186"/>
                    <a:pt x="485" y="186"/>
                  </a:cubicBezTo>
                  <a:cubicBezTo>
                    <a:pt x="490" y="186"/>
                    <a:pt x="494" y="182"/>
                    <a:pt x="499" y="182"/>
                  </a:cubicBezTo>
                  <a:cubicBezTo>
                    <a:pt x="500" y="182"/>
                    <a:pt x="500" y="182"/>
                    <a:pt x="500" y="182"/>
                  </a:cubicBezTo>
                  <a:cubicBezTo>
                    <a:pt x="501" y="182"/>
                    <a:pt x="502" y="182"/>
                    <a:pt x="503" y="182"/>
                  </a:cubicBezTo>
                  <a:cubicBezTo>
                    <a:pt x="506" y="182"/>
                    <a:pt x="507" y="181"/>
                    <a:pt x="509" y="179"/>
                  </a:cubicBezTo>
                  <a:cubicBezTo>
                    <a:pt x="510" y="178"/>
                    <a:pt x="512" y="177"/>
                    <a:pt x="513" y="176"/>
                  </a:cubicBezTo>
                  <a:cubicBezTo>
                    <a:pt x="514" y="175"/>
                    <a:pt x="514" y="174"/>
                    <a:pt x="514" y="173"/>
                  </a:cubicBezTo>
                  <a:cubicBezTo>
                    <a:pt x="514" y="174"/>
                    <a:pt x="514" y="175"/>
                    <a:pt x="514" y="176"/>
                  </a:cubicBezTo>
                  <a:cubicBezTo>
                    <a:pt x="514" y="176"/>
                    <a:pt x="514" y="176"/>
                    <a:pt x="514" y="176"/>
                  </a:cubicBezTo>
                  <a:cubicBezTo>
                    <a:pt x="515" y="176"/>
                    <a:pt x="515" y="176"/>
                    <a:pt x="516" y="176"/>
                  </a:cubicBezTo>
                  <a:cubicBezTo>
                    <a:pt x="517" y="176"/>
                    <a:pt x="518" y="176"/>
                    <a:pt x="518" y="176"/>
                  </a:cubicBezTo>
                  <a:cubicBezTo>
                    <a:pt x="519" y="176"/>
                    <a:pt x="519" y="176"/>
                    <a:pt x="520" y="176"/>
                  </a:cubicBezTo>
                  <a:cubicBezTo>
                    <a:pt x="523" y="176"/>
                    <a:pt x="525" y="178"/>
                    <a:pt x="528" y="178"/>
                  </a:cubicBezTo>
                  <a:cubicBezTo>
                    <a:pt x="529" y="178"/>
                    <a:pt x="529" y="179"/>
                    <a:pt x="530" y="179"/>
                  </a:cubicBezTo>
                  <a:cubicBezTo>
                    <a:pt x="532" y="179"/>
                    <a:pt x="534" y="178"/>
                    <a:pt x="534" y="176"/>
                  </a:cubicBezTo>
                  <a:cubicBezTo>
                    <a:pt x="534" y="175"/>
                    <a:pt x="533" y="174"/>
                    <a:pt x="532" y="172"/>
                  </a:cubicBezTo>
                  <a:cubicBezTo>
                    <a:pt x="532" y="171"/>
                    <a:pt x="532" y="170"/>
                    <a:pt x="532" y="169"/>
                  </a:cubicBezTo>
                  <a:cubicBezTo>
                    <a:pt x="531" y="167"/>
                    <a:pt x="529" y="166"/>
                    <a:pt x="528" y="165"/>
                  </a:cubicBezTo>
                  <a:cubicBezTo>
                    <a:pt x="527" y="164"/>
                    <a:pt x="526" y="163"/>
                    <a:pt x="525" y="162"/>
                  </a:cubicBezTo>
                  <a:cubicBezTo>
                    <a:pt x="522" y="158"/>
                    <a:pt x="518" y="156"/>
                    <a:pt x="514" y="155"/>
                  </a:cubicBezTo>
                  <a:cubicBezTo>
                    <a:pt x="514" y="155"/>
                    <a:pt x="514" y="155"/>
                    <a:pt x="514" y="156"/>
                  </a:cubicBezTo>
                  <a:cubicBezTo>
                    <a:pt x="514" y="155"/>
                    <a:pt x="513" y="154"/>
                    <a:pt x="513" y="154"/>
                  </a:cubicBezTo>
                  <a:cubicBezTo>
                    <a:pt x="513" y="154"/>
                    <a:pt x="512" y="154"/>
                    <a:pt x="512" y="154"/>
                  </a:cubicBezTo>
                  <a:cubicBezTo>
                    <a:pt x="510" y="154"/>
                    <a:pt x="509" y="157"/>
                    <a:pt x="509" y="159"/>
                  </a:cubicBezTo>
                  <a:cubicBezTo>
                    <a:pt x="509" y="162"/>
                    <a:pt x="510" y="162"/>
                    <a:pt x="507" y="163"/>
                  </a:cubicBezTo>
                  <a:cubicBezTo>
                    <a:pt x="503" y="164"/>
                    <a:pt x="501" y="166"/>
                    <a:pt x="497" y="168"/>
                  </a:cubicBezTo>
                  <a:cubicBezTo>
                    <a:pt x="495" y="169"/>
                    <a:pt x="491" y="169"/>
                    <a:pt x="488" y="170"/>
                  </a:cubicBezTo>
                  <a:cubicBezTo>
                    <a:pt x="485" y="172"/>
                    <a:pt x="483" y="175"/>
                    <a:pt x="479" y="175"/>
                  </a:cubicBezTo>
                  <a:cubicBezTo>
                    <a:pt x="479" y="175"/>
                    <a:pt x="479" y="175"/>
                    <a:pt x="479" y="175"/>
                  </a:cubicBezTo>
                  <a:cubicBezTo>
                    <a:pt x="477" y="175"/>
                    <a:pt x="477" y="174"/>
                    <a:pt x="475" y="174"/>
                  </a:cubicBezTo>
                  <a:cubicBezTo>
                    <a:pt x="475" y="174"/>
                    <a:pt x="475" y="174"/>
                    <a:pt x="475" y="175"/>
                  </a:cubicBezTo>
                  <a:cubicBezTo>
                    <a:pt x="473" y="175"/>
                    <a:pt x="472" y="176"/>
                    <a:pt x="470" y="176"/>
                  </a:cubicBezTo>
                  <a:cubicBezTo>
                    <a:pt x="471" y="174"/>
                    <a:pt x="474" y="174"/>
                    <a:pt x="476" y="174"/>
                  </a:cubicBezTo>
                  <a:cubicBezTo>
                    <a:pt x="477" y="174"/>
                    <a:pt x="477" y="174"/>
                    <a:pt x="478" y="174"/>
                  </a:cubicBezTo>
                  <a:cubicBezTo>
                    <a:pt x="478" y="174"/>
                    <a:pt x="479" y="174"/>
                    <a:pt x="479" y="174"/>
                  </a:cubicBezTo>
                  <a:cubicBezTo>
                    <a:pt x="482" y="174"/>
                    <a:pt x="482" y="173"/>
                    <a:pt x="485" y="170"/>
                  </a:cubicBezTo>
                  <a:cubicBezTo>
                    <a:pt x="487" y="168"/>
                    <a:pt x="496" y="166"/>
                    <a:pt x="497" y="163"/>
                  </a:cubicBezTo>
                  <a:cubicBezTo>
                    <a:pt x="497" y="159"/>
                    <a:pt x="496" y="158"/>
                    <a:pt x="495" y="158"/>
                  </a:cubicBezTo>
                  <a:cubicBezTo>
                    <a:pt x="494" y="158"/>
                    <a:pt x="494" y="159"/>
                    <a:pt x="494" y="159"/>
                  </a:cubicBezTo>
                  <a:cubicBezTo>
                    <a:pt x="493" y="159"/>
                    <a:pt x="493" y="159"/>
                    <a:pt x="493" y="159"/>
                  </a:cubicBezTo>
                  <a:cubicBezTo>
                    <a:pt x="492" y="159"/>
                    <a:pt x="492" y="159"/>
                    <a:pt x="491" y="159"/>
                  </a:cubicBezTo>
                  <a:cubicBezTo>
                    <a:pt x="490" y="158"/>
                    <a:pt x="489" y="158"/>
                    <a:pt x="488" y="158"/>
                  </a:cubicBezTo>
                  <a:cubicBezTo>
                    <a:pt x="488" y="158"/>
                    <a:pt x="488" y="158"/>
                    <a:pt x="488" y="158"/>
                  </a:cubicBezTo>
                  <a:cubicBezTo>
                    <a:pt x="487" y="158"/>
                    <a:pt x="485" y="159"/>
                    <a:pt x="484" y="159"/>
                  </a:cubicBezTo>
                  <a:cubicBezTo>
                    <a:pt x="482" y="159"/>
                    <a:pt x="479" y="160"/>
                    <a:pt x="477" y="161"/>
                  </a:cubicBezTo>
                  <a:cubicBezTo>
                    <a:pt x="475" y="162"/>
                    <a:pt x="475" y="161"/>
                    <a:pt x="474" y="164"/>
                  </a:cubicBezTo>
                  <a:cubicBezTo>
                    <a:pt x="473" y="168"/>
                    <a:pt x="471" y="168"/>
                    <a:pt x="468" y="168"/>
                  </a:cubicBezTo>
                  <a:cubicBezTo>
                    <a:pt x="465" y="169"/>
                    <a:pt x="461" y="173"/>
                    <a:pt x="458" y="173"/>
                  </a:cubicBezTo>
                  <a:cubicBezTo>
                    <a:pt x="457" y="173"/>
                    <a:pt x="457" y="173"/>
                    <a:pt x="457" y="173"/>
                  </a:cubicBezTo>
                  <a:cubicBezTo>
                    <a:pt x="460" y="169"/>
                    <a:pt x="466" y="167"/>
                    <a:pt x="471" y="167"/>
                  </a:cubicBezTo>
                  <a:cubicBezTo>
                    <a:pt x="471" y="167"/>
                    <a:pt x="471" y="167"/>
                    <a:pt x="471" y="167"/>
                  </a:cubicBezTo>
                  <a:cubicBezTo>
                    <a:pt x="471" y="165"/>
                    <a:pt x="469" y="164"/>
                    <a:pt x="468" y="164"/>
                  </a:cubicBezTo>
                  <a:cubicBezTo>
                    <a:pt x="466" y="164"/>
                    <a:pt x="465" y="165"/>
                    <a:pt x="463" y="166"/>
                  </a:cubicBezTo>
                  <a:cubicBezTo>
                    <a:pt x="465" y="164"/>
                    <a:pt x="467" y="164"/>
                    <a:pt x="469" y="163"/>
                  </a:cubicBezTo>
                  <a:cubicBezTo>
                    <a:pt x="471" y="162"/>
                    <a:pt x="472" y="161"/>
                    <a:pt x="473" y="160"/>
                  </a:cubicBezTo>
                  <a:cubicBezTo>
                    <a:pt x="475" y="158"/>
                    <a:pt x="477" y="158"/>
                    <a:pt x="479" y="157"/>
                  </a:cubicBezTo>
                  <a:cubicBezTo>
                    <a:pt x="484" y="156"/>
                    <a:pt x="488" y="155"/>
                    <a:pt x="493" y="154"/>
                  </a:cubicBezTo>
                  <a:cubicBezTo>
                    <a:pt x="494" y="154"/>
                    <a:pt x="496" y="154"/>
                    <a:pt x="496" y="153"/>
                  </a:cubicBezTo>
                  <a:cubicBezTo>
                    <a:pt x="498" y="153"/>
                    <a:pt x="499" y="151"/>
                    <a:pt x="500" y="151"/>
                  </a:cubicBezTo>
                  <a:cubicBezTo>
                    <a:pt x="500" y="151"/>
                    <a:pt x="500" y="151"/>
                    <a:pt x="501" y="151"/>
                  </a:cubicBezTo>
                  <a:cubicBezTo>
                    <a:pt x="501" y="151"/>
                    <a:pt x="501" y="151"/>
                    <a:pt x="502" y="151"/>
                  </a:cubicBezTo>
                  <a:cubicBezTo>
                    <a:pt x="502" y="151"/>
                    <a:pt x="502" y="151"/>
                    <a:pt x="503" y="151"/>
                  </a:cubicBezTo>
                  <a:cubicBezTo>
                    <a:pt x="503" y="151"/>
                    <a:pt x="503" y="151"/>
                    <a:pt x="503" y="151"/>
                  </a:cubicBezTo>
                  <a:cubicBezTo>
                    <a:pt x="504" y="149"/>
                    <a:pt x="507" y="144"/>
                    <a:pt x="506" y="143"/>
                  </a:cubicBezTo>
                  <a:cubicBezTo>
                    <a:pt x="505" y="141"/>
                    <a:pt x="500" y="141"/>
                    <a:pt x="498" y="140"/>
                  </a:cubicBezTo>
                  <a:cubicBezTo>
                    <a:pt x="495" y="139"/>
                    <a:pt x="493" y="138"/>
                    <a:pt x="491" y="137"/>
                  </a:cubicBezTo>
                  <a:cubicBezTo>
                    <a:pt x="488" y="136"/>
                    <a:pt x="486" y="134"/>
                    <a:pt x="483" y="134"/>
                  </a:cubicBezTo>
                  <a:cubicBezTo>
                    <a:pt x="482" y="134"/>
                    <a:pt x="482" y="134"/>
                    <a:pt x="481" y="134"/>
                  </a:cubicBezTo>
                  <a:cubicBezTo>
                    <a:pt x="478" y="134"/>
                    <a:pt x="476" y="135"/>
                    <a:pt x="473" y="137"/>
                  </a:cubicBezTo>
                  <a:cubicBezTo>
                    <a:pt x="470" y="138"/>
                    <a:pt x="467" y="141"/>
                    <a:pt x="463" y="141"/>
                  </a:cubicBezTo>
                  <a:cubicBezTo>
                    <a:pt x="463" y="141"/>
                    <a:pt x="463" y="141"/>
                    <a:pt x="463" y="141"/>
                  </a:cubicBezTo>
                  <a:cubicBezTo>
                    <a:pt x="463" y="141"/>
                    <a:pt x="462" y="141"/>
                    <a:pt x="462" y="141"/>
                  </a:cubicBezTo>
                  <a:cubicBezTo>
                    <a:pt x="461" y="141"/>
                    <a:pt x="461" y="141"/>
                    <a:pt x="461" y="141"/>
                  </a:cubicBezTo>
                  <a:cubicBezTo>
                    <a:pt x="460" y="141"/>
                    <a:pt x="460" y="141"/>
                    <a:pt x="460" y="141"/>
                  </a:cubicBezTo>
                  <a:cubicBezTo>
                    <a:pt x="458" y="142"/>
                    <a:pt x="460" y="144"/>
                    <a:pt x="460" y="146"/>
                  </a:cubicBezTo>
                  <a:cubicBezTo>
                    <a:pt x="459" y="145"/>
                    <a:pt x="455" y="142"/>
                    <a:pt x="457" y="141"/>
                  </a:cubicBezTo>
                  <a:cubicBezTo>
                    <a:pt x="458" y="140"/>
                    <a:pt x="461" y="140"/>
                    <a:pt x="462" y="140"/>
                  </a:cubicBezTo>
                  <a:cubicBezTo>
                    <a:pt x="464" y="139"/>
                    <a:pt x="465" y="138"/>
                    <a:pt x="466" y="138"/>
                  </a:cubicBezTo>
                  <a:cubicBezTo>
                    <a:pt x="468" y="137"/>
                    <a:pt x="470" y="135"/>
                    <a:pt x="471" y="134"/>
                  </a:cubicBezTo>
                  <a:cubicBezTo>
                    <a:pt x="473" y="131"/>
                    <a:pt x="472" y="130"/>
                    <a:pt x="470" y="130"/>
                  </a:cubicBezTo>
                  <a:cubicBezTo>
                    <a:pt x="470" y="130"/>
                    <a:pt x="469" y="130"/>
                    <a:pt x="468" y="131"/>
                  </a:cubicBezTo>
                  <a:cubicBezTo>
                    <a:pt x="463" y="133"/>
                    <a:pt x="458" y="134"/>
                    <a:pt x="454" y="136"/>
                  </a:cubicBezTo>
                  <a:cubicBezTo>
                    <a:pt x="452" y="137"/>
                    <a:pt x="451" y="138"/>
                    <a:pt x="449" y="139"/>
                  </a:cubicBezTo>
                  <a:cubicBezTo>
                    <a:pt x="448" y="140"/>
                    <a:pt x="445" y="140"/>
                    <a:pt x="445" y="141"/>
                  </a:cubicBezTo>
                  <a:cubicBezTo>
                    <a:pt x="442" y="145"/>
                    <a:pt x="441" y="151"/>
                    <a:pt x="439" y="155"/>
                  </a:cubicBezTo>
                  <a:cubicBezTo>
                    <a:pt x="439" y="157"/>
                    <a:pt x="437" y="159"/>
                    <a:pt x="437" y="161"/>
                  </a:cubicBezTo>
                  <a:cubicBezTo>
                    <a:pt x="437" y="156"/>
                    <a:pt x="438" y="153"/>
                    <a:pt x="439" y="148"/>
                  </a:cubicBezTo>
                  <a:cubicBezTo>
                    <a:pt x="440" y="147"/>
                    <a:pt x="441" y="145"/>
                    <a:pt x="440" y="144"/>
                  </a:cubicBezTo>
                  <a:cubicBezTo>
                    <a:pt x="439" y="144"/>
                    <a:pt x="438" y="143"/>
                    <a:pt x="437" y="143"/>
                  </a:cubicBezTo>
                  <a:cubicBezTo>
                    <a:pt x="436" y="143"/>
                    <a:pt x="435" y="143"/>
                    <a:pt x="434" y="144"/>
                  </a:cubicBezTo>
                  <a:cubicBezTo>
                    <a:pt x="435" y="143"/>
                    <a:pt x="434" y="143"/>
                    <a:pt x="434" y="143"/>
                  </a:cubicBezTo>
                  <a:cubicBezTo>
                    <a:pt x="433" y="143"/>
                    <a:pt x="431" y="144"/>
                    <a:pt x="429" y="145"/>
                  </a:cubicBezTo>
                  <a:cubicBezTo>
                    <a:pt x="430" y="145"/>
                    <a:pt x="430" y="144"/>
                    <a:pt x="431" y="144"/>
                  </a:cubicBezTo>
                  <a:cubicBezTo>
                    <a:pt x="432" y="142"/>
                    <a:pt x="429" y="141"/>
                    <a:pt x="432" y="141"/>
                  </a:cubicBezTo>
                  <a:cubicBezTo>
                    <a:pt x="432" y="141"/>
                    <a:pt x="432" y="141"/>
                    <a:pt x="432" y="141"/>
                  </a:cubicBezTo>
                  <a:cubicBezTo>
                    <a:pt x="434" y="141"/>
                    <a:pt x="436" y="142"/>
                    <a:pt x="438" y="142"/>
                  </a:cubicBezTo>
                  <a:cubicBezTo>
                    <a:pt x="438" y="142"/>
                    <a:pt x="438" y="142"/>
                    <a:pt x="438" y="142"/>
                  </a:cubicBezTo>
                  <a:cubicBezTo>
                    <a:pt x="441" y="142"/>
                    <a:pt x="442" y="140"/>
                    <a:pt x="445" y="138"/>
                  </a:cubicBezTo>
                  <a:cubicBezTo>
                    <a:pt x="448" y="136"/>
                    <a:pt x="450" y="136"/>
                    <a:pt x="452" y="132"/>
                  </a:cubicBezTo>
                  <a:cubicBezTo>
                    <a:pt x="454" y="129"/>
                    <a:pt x="456" y="128"/>
                    <a:pt x="454" y="124"/>
                  </a:cubicBezTo>
                  <a:cubicBezTo>
                    <a:pt x="453" y="122"/>
                    <a:pt x="452" y="120"/>
                    <a:pt x="449" y="120"/>
                  </a:cubicBezTo>
                  <a:cubicBezTo>
                    <a:pt x="449" y="120"/>
                    <a:pt x="449" y="120"/>
                    <a:pt x="449" y="120"/>
                  </a:cubicBezTo>
                  <a:cubicBezTo>
                    <a:pt x="447" y="120"/>
                    <a:pt x="442" y="122"/>
                    <a:pt x="441" y="124"/>
                  </a:cubicBezTo>
                  <a:cubicBezTo>
                    <a:pt x="440" y="125"/>
                    <a:pt x="441" y="130"/>
                    <a:pt x="439" y="130"/>
                  </a:cubicBezTo>
                  <a:cubicBezTo>
                    <a:pt x="439" y="130"/>
                    <a:pt x="439" y="130"/>
                    <a:pt x="439" y="130"/>
                  </a:cubicBezTo>
                  <a:cubicBezTo>
                    <a:pt x="438" y="130"/>
                    <a:pt x="437" y="130"/>
                    <a:pt x="437" y="130"/>
                  </a:cubicBezTo>
                  <a:cubicBezTo>
                    <a:pt x="436" y="130"/>
                    <a:pt x="435" y="130"/>
                    <a:pt x="434" y="130"/>
                  </a:cubicBezTo>
                  <a:cubicBezTo>
                    <a:pt x="429" y="131"/>
                    <a:pt x="425" y="133"/>
                    <a:pt x="420" y="134"/>
                  </a:cubicBezTo>
                  <a:cubicBezTo>
                    <a:pt x="418" y="134"/>
                    <a:pt x="415" y="135"/>
                    <a:pt x="413" y="137"/>
                  </a:cubicBezTo>
                  <a:cubicBezTo>
                    <a:pt x="414" y="137"/>
                    <a:pt x="414" y="136"/>
                    <a:pt x="414" y="136"/>
                  </a:cubicBezTo>
                  <a:cubicBezTo>
                    <a:pt x="413" y="133"/>
                    <a:pt x="419" y="133"/>
                    <a:pt x="416" y="131"/>
                  </a:cubicBezTo>
                  <a:cubicBezTo>
                    <a:pt x="415" y="131"/>
                    <a:pt x="415" y="130"/>
                    <a:pt x="414" y="130"/>
                  </a:cubicBezTo>
                  <a:cubicBezTo>
                    <a:pt x="412" y="130"/>
                    <a:pt x="410" y="131"/>
                    <a:pt x="408" y="132"/>
                  </a:cubicBezTo>
                  <a:cubicBezTo>
                    <a:pt x="407" y="132"/>
                    <a:pt x="405" y="133"/>
                    <a:pt x="403" y="133"/>
                  </a:cubicBezTo>
                  <a:cubicBezTo>
                    <a:pt x="403" y="133"/>
                    <a:pt x="403" y="133"/>
                    <a:pt x="403" y="133"/>
                  </a:cubicBezTo>
                  <a:cubicBezTo>
                    <a:pt x="406" y="132"/>
                    <a:pt x="409" y="132"/>
                    <a:pt x="412" y="130"/>
                  </a:cubicBezTo>
                  <a:cubicBezTo>
                    <a:pt x="414" y="129"/>
                    <a:pt x="416" y="126"/>
                    <a:pt x="418" y="125"/>
                  </a:cubicBezTo>
                  <a:cubicBezTo>
                    <a:pt x="420" y="122"/>
                    <a:pt x="422" y="120"/>
                    <a:pt x="425" y="120"/>
                  </a:cubicBezTo>
                  <a:cubicBezTo>
                    <a:pt x="426" y="120"/>
                    <a:pt x="426" y="121"/>
                    <a:pt x="427" y="121"/>
                  </a:cubicBezTo>
                  <a:cubicBezTo>
                    <a:pt x="429" y="121"/>
                    <a:pt x="431" y="122"/>
                    <a:pt x="432" y="122"/>
                  </a:cubicBezTo>
                  <a:cubicBezTo>
                    <a:pt x="433" y="122"/>
                    <a:pt x="433" y="122"/>
                    <a:pt x="434" y="122"/>
                  </a:cubicBezTo>
                  <a:cubicBezTo>
                    <a:pt x="436" y="121"/>
                    <a:pt x="437" y="117"/>
                    <a:pt x="439" y="116"/>
                  </a:cubicBezTo>
                  <a:cubicBezTo>
                    <a:pt x="439" y="115"/>
                    <a:pt x="441" y="115"/>
                    <a:pt x="441" y="114"/>
                  </a:cubicBezTo>
                  <a:cubicBezTo>
                    <a:pt x="441" y="113"/>
                    <a:pt x="439" y="110"/>
                    <a:pt x="438" y="110"/>
                  </a:cubicBezTo>
                  <a:cubicBezTo>
                    <a:pt x="435" y="106"/>
                    <a:pt x="432" y="103"/>
                    <a:pt x="427" y="102"/>
                  </a:cubicBezTo>
                  <a:cubicBezTo>
                    <a:pt x="425" y="102"/>
                    <a:pt x="423" y="100"/>
                    <a:pt x="420" y="100"/>
                  </a:cubicBezTo>
                  <a:cubicBezTo>
                    <a:pt x="417" y="100"/>
                    <a:pt x="415" y="98"/>
                    <a:pt x="412" y="98"/>
                  </a:cubicBezTo>
                  <a:cubicBezTo>
                    <a:pt x="411" y="98"/>
                    <a:pt x="410" y="97"/>
                    <a:pt x="409" y="97"/>
                  </a:cubicBezTo>
                  <a:cubicBezTo>
                    <a:pt x="408" y="97"/>
                    <a:pt x="408" y="97"/>
                    <a:pt x="408" y="97"/>
                  </a:cubicBezTo>
                  <a:cubicBezTo>
                    <a:pt x="406" y="98"/>
                    <a:pt x="402" y="101"/>
                    <a:pt x="403" y="104"/>
                  </a:cubicBezTo>
                  <a:cubicBezTo>
                    <a:pt x="403" y="108"/>
                    <a:pt x="401" y="106"/>
                    <a:pt x="399" y="107"/>
                  </a:cubicBezTo>
                  <a:cubicBezTo>
                    <a:pt x="397" y="108"/>
                    <a:pt x="395" y="113"/>
                    <a:pt x="396" y="114"/>
                  </a:cubicBezTo>
                  <a:cubicBezTo>
                    <a:pt x="396" y="114"/>
                    <a:pt x="395" y="114"/>
                    <a:pt x="394" y="115"/>
                  </a:cubicBezTo>
                  <a:cubicBezTo>
                    <a:pt x="395" y="114"/>
                    <a:pt x="395" y="114"/>
                    <a:pt x="395" y="113"/>
                  </a:cubicBezTo>
                  <a:cubicBezTo>
                    <a:pt x="393" y="112"/>
                    <a:pt x="392" y="110"/>
                    <a:pt x="390" y="110"/>
                  </a:cubicBezTo>
                  <a:cubicBezTo>
                    <a:pt x="389" y="110"/>
                    <a:pt x="387" y="111"/>
                    <a:pt x="386" y="113"/>
                  </a:cubicBezTo>
                  <a:cubicBezTo>
                    <a:pt x="384" y="116"/>
                    <a:pt x="381" y="122"/>
                    <a:pt x="377" y="122"/>
                  </a:cubicBezTo>
                  <a:cubicBezTo>
                    <a:pt x="380" y="120"/>
                    <a:pt x="381" y="120"/>
                    <a:pt x="382" y="116"/>
                  </a:cubicBezTo>
                  <a:cubicBezTo>
                    <a:pt x="383" y="113"/>
                    <a:pt x="384" y="112"/>
                    <a:pt x="386" y="110"/>
                  </a:cubicBezTo>
                  <a:cubicBezTo>
                    <a:pt x="386" y="109"/>
                    <a:pt x="389" y="106"/>
                    <a:pt x="388" y="106"/>
                  </a:cubicBezTo>
                  <a:cubicBezTo>
                    <a:pt x="387" y="106"/>
                    <a:pt x="387" y="106"/>
                    <a:pt x="387" y="106"/>
                  </a:cubicBezTo>
                  <a:cubicBezTo>
                    <a:pt x="386" y="107"/>
                    <a:pt x="385" y="107"/>
                    <a:pt x="384" y="107"/>
                  </a:cubicBezTo>
                  <a:cubicBezTo>
                    <a:pt x="384" y="107"/>
                    <a:pt x="383" y="106"/>
                    <a:pt x="383" y="105"/>
                  </a:cubicBezTo>
                  <a:cubicBezTo>
                    <a:pt x="383" y="104"/>
                    <a:pt x="385" y="102"/>
                    <a:pt x="385" y="101"/>
                  </a:cubicBezTo>
                  <a:cubicBezTo>
                    <a:pt x="384" y="100"/>
                    <a:pt x="383" y="100"/>
                    <a:pt x="382" y="100"/>
                  </a:cubicBezTo>
                  <a:cubicBezTo>
                    <a:pt x="382" y="100"/>
                    <a:pt x="381" y="100"/>
                    <a:pt x="380" y="101"/>
                  </a:cubicBezTo>
                  <a:cubicBezTo>
                    <a:pt x="377" y="105"/>
                    <a:pt x="375" y="114"/>
                    <a:pt x="369" y="116"/>
                  </a:cubicBezTo>
                  <a:cubicBezTo>
                    <a:pt x="370" y="114"/>
                    <a:pt x="373" y="108"/>
                    <a:pt x="372" y="106"/>
                  </a:cubicBezTo>
                  <a:cubicBezTo>
                    <a:pt x="371" y="106"/>
                    <a:pt x="371" y="106"/>
                    <a:pt x="371" y="106"/>
                  </a:cubicBezTo>
                  <a:cubicBezTo>
                    <a:pt x="371" y="106"/>
                    <a:pt x="368" y="107"/>
                    <a:pt x="367" y="107"/>
                  </a:cubicBezTo>
                  <a:cubicBezTo>
                    <a:pt x="369" y="106"/>
                    <a:pt x="371" y="106"/>
                    <a:pt x="372" y="105"/>
                  </a:cubicBezTo>
                  <a:cubicBezTo>
                    <a:pt x="375" y="104"/>
                    <a:pt x="374" y="105"/>
                    <a:pt x="376" y="102"/>
                  </a:cubicBezTo>
                  <a:cubicBezTo>
                    <a:pt x="376" y="101"/>
                    <a:pt x="377" y="99"/>
                    <a:pt x="378" y="98"/>
                  </a:cubicBezTo>
                  <a:cubicBezTo>
                    <a:pt x="379" y="97"/>
                    <a:pt x="382" y="96"/>
                    <a:pt x="383" y="94"/>
                  </a:cubicBezTo>
                  <a:cubicBezTo>
                    <a:pt x="385" y="92"/>
                    <a:pt x="383" y="92"/>
                    <a:pt x="381" y="92"/>
                  </a:cubicBezTo>
                  <a:cubicBezTo>
                    <a:pt x="380" y="92"/>
                    <a:pt x="379" y="92"/>
                    <a:pt x="379" y="92"/>
                  </a:cubicBezTo>
                  <a:cubicBezTo>
                    <a:pt x="375" y="92"/>
                    <a:pt x="370" y="96"/>
                    <a:pt x="369" y="100"/>
                  </a:cubicBezTo>
                  <a:cubicBezTo>
                    <a:pt x="368" y="98"/>
                    <a:pt x="374" y="93"/>
                    <a:pt x="371" y="93"/>
                  </a:cubicBezTo>
                  <a:cubicBezTo>
                    <a:pt x="371" y="93"/>
                    <a:pt x="371" y="93"/>
                    <a:pt x="370" y="93"/>
                  </a:cubicBezTo>
                  <a:cubicBezTo>
                    <a:pt x="366" y="94"/>
                    <a:pt x="361" y="98"/>
                    <a:pt x="358" y="101"/>
                  </a:cubicBezTo>
                  <a:cubicBezTo>
                    <a:pt x="357" y="103"/>
                    <a:pt x="360" y="105"/>
                    <a:pt x="360" y="107"/>
                  </a:cubicBezTo>
                  <a:cubicBezTo>
                    <a:pt x="360" y="109"/>
                    <a:pt x="357" y="111"/>
                    <a:pt x="356" y="112"/>
                  </a:cubicBezTo>
                  <a:cubicBezTo>
                    <a:pt x="354" y="114"/>
                    <a:pt x="352" y="117"/>
                    <a:pt x="350" y="117"/>
                  </a:cubicBezTo>
                  <a:cubicBezTo>
                    <a:pt x="350" y="117"/>
                    <a:pt x="349" y="117"/>
                    <a:pt x="349" y="117"/>
                  </a:cubicBezTo>
                  <a:cubicBezTo>
                    <a:pt x="351" y="115"/>
                    <a:pt x="359" y="109"/>
                    <a:pt x="357" y="107"/>
                  </a:cubicBezTo>
                  <a:cubicBezTo>
                    <a:pt x="356" y="106"/>
                    <a:pt x="356" y="106"/>
                    <a:pt x="355" y="105"/>
                  </a:cubicBezTo>
                  <a:cubicBezTo>
                    <a:pt x="353" y="105"/>
                    <a:pt x="354" y="104"/>
                    <a:pt x="353" y="103"/>
                  </a:cubicBezTo>
                  <a:cubicBezTo>
                    <a:pt x="353" y="103"/>
                    <a:pt x="353" y="102"/>
                    <a:pt x="352" y="102"/>
                  </a:cubicBezTo>
                  <a:cubicBezTo>
                    <a:pt x="352" y="102"/>
                    <a:pt x="352" y="103"/>
                    <a:pt x="351" y="103"/>
                  </a:cubicBezTo>
                  <a:cubicBezTo>
                    <a:pt x="355" y="101"/>
                    <a:pt x="362" y="99"/>
                    <a:pt x="359" y="96"/>
                  </a:cubicBezTo>
                  <a:cubicBezTo>
                    <a:pt x="359" y="96"/>
                    <a:pt x="359" y="95"/>
                    <a:pt x="359" y="95"/>
                  </a:cubicBezTo>
                  <a:cubicBezTo>
                    <a:pt x="356" y="95"/>
                    <a:pt x="344" y="102"/>
                    <a:pt x="342" y="103"/>
                  </a:cubicBezTo>
                  <a:cubicBezTo>
                    <a:pt x="343" y="101"/>
                    <a:pt x="353" y="98"/>
                    <a:pt x="353" y="97"/>
                  </a:cubicBezTo>
                  <a:cubicBezTo>
                    <a:pt x="353" y="95"/>
                    <a:pt x="351" y="95"/>
                    <a:pt x="349" y="95"/>
                  </a:cubicBezTo>
                  <a:cubicBezTo>
                    <a:pt x="347" y="95"/>
                    <a:pt x="343" y="96"/>
                    <a:pt x="342" y="96"/>
                  </a:cubicBezTo>
                  <a:cubicBezTo>
                    <a:pt x="344" y="94"/>
                    <a:pt x="346" y="94"/>
                    <a:pt x="349" y="94"/>
                  </a:cubicBezTo>
                  <a:cubicBezTo>
                    <a:pt x="349" y="94"/>
                    <a:pt x="350" y="94"/>
                    <a:pt x="350" y="94"/>
                  </a:cubicBezTo>
                  <a:cubicBezTo>
                    <a:pt x="351" y="94"/>
                    <a:pt x="352" y="94"/>
                    <a:pt x="352" y="94"/>
                  </a:cubicBezTo>
                  <a:cubicBezTo>
                    <a:pt x="354" y="94"/>
                    <a:pt x="356" y="94"/>
                    <a:pt x="357" y="93"/>
                  </a:cubicBezTo>
                  <a:cubicBezTo>
                    <a:pt x="359" y="93"/>
                    <a:pt x="361" y="90"/>
                    <a:pt x="363" y="90"/>
                  </a:cubicBezTo>
                  <a:cubicBezTo>
                    <a:pt x="363" y="90"/>
                    <a:pt x="363" y="90"/>
                    <a:pt x="363" y="90"/>
                  </a:cubicBezTo>
                  <a:cubicBezTo>
                    <a:pt x="364" y="90"/>
                    <a:pt x="364" y="90"/>
                    <a:pt x="365" y="90"/>
                  </a:cubicBezTo>
                  <a:cubicBezTo>
                    <a:pt x="366" y="90"/>
                    <a:pt x="366" y="90"/>
                    <a:pt x="367" y="90"/>
                  </a:cubicBezTo>
                  <a:cubicBezTo>
                    <a:pt x="367" y="90"/>
                    <a:pt x="368" y="90"/>
                    <a:pt x="369" y="90"/>
                  </a:cubicBezTo>
                  <a:cubicBezTo>
                    <a:pt x="371" y="88"/>
                    <a:pt x="372" y="84"/>
                    <a:pt x="371" y="81"/>
                  </a:cubicBezTo>
                  <a:cubicBezTo>
                    <a:pt x="369" y="78"/>
                    <a:pt x="368" y="78"/>
                    <a:pt x="365" y="78"/>
                  </a:cubicBezTo>
                  <a:cubicBezTo>
                    <a:pt x="363" y="78"/>
                    <a:pt x="361" y="78"/>
                    <a:pt x="359" y="78"/>
                  </a:cubicBezTo>
                  <a:cubicBezTo>
                    <a:pt x="357" y="78"/>
                    <a:pt x="354" y="76"/>
                    <a:pt x="352" y="76"/>
                  </a:cubicBezTo>
                  <a:cubicBezTo>
                    <a:pt x="352" y="76"/>
                    <a:pt x="351" y="76"/>
                    <a:pt x="351" y="76"/>
                  </a:cubicBezTo>
                  <a:cubicBezTo>
                    <a:pt x="348" y="77"/>
                    <a:pt x="347" y="81"/>
                    <a:pt x="344" y="82"/>
                  </a:cubicBezTo>
                  <a:cubicBezTo>
                    <a:pt x="343" y="82"/>
                    <a:pt x="342" y="82"/>
                    <a:pt x="342" y="82"/>
                  </a:cubicBezTo>
                  <a:cubicBezTo>
                    <a:pt x="342" y="82"/>
                    <a:pt x="342" y="82"/>
                    <a:pt x="341" y="82"/>
                  </a:cubicBezTo>
                  <a:cubicBezTo>
                    <a:pt x="341" y="82"/>
                    <a:pt x="341" y="82"/>
                    <a:pt x="341" y="82"/>
                  </a:cubicBezTo>
                  <a:cubicBezTo>
                    <a:pt x="340" y="82"/>
                    <a:pt x="339" y="82"/>
                    <a:pt x="338" y="84"/>
                  </a:cubicBezTo>
                  <a:cubicBezTo>
                    <a:pt x="337" y="87"/>
                    <a:pt x="335" y="92"/>
                    <a:pt x="333" y="94"/>
                  </a:cubicBezTo>
                  <a:cubicBezTo>
                    <a:pt x="331" y="95"/>
                    <a:pt x="328" y="94"/>
                    <a:pt x="326" y="95"/>
                  </a:cubicBezTo>
                  <a:cubicBezTo>
                    <a:pt x="329" y="94"/>
                    <a:pt x="331" y="94"/>
                    <a:pt x="333" y="92"/>
                  </a:cubicBezTo>
                  <a:cubicBezTo>
                    <a:pt x="335" y="90"/>
                    <a:pt x="336" y="88"/>
                    <a:pt x="337" y="85"/>
                  </a:cubicBezTo>
                  <a:cubicBezTo>
                    <a:pt x="338" y="82"/>
                    <a:pt x="339" y="81"/>
                    <a:pt x="343" y="81"/>
                  </a:cubicBezTo>
                  <a:cubicBezTo>
                    <a:pt x="347" y="80"/>
                    <a:pt x="346" y="78"/>
                    <a:pt x="342" y="77"/>
                  </a:cubicBezTo>
                  <a:cubicBezTo>
                    <a:pt x="341" y="77"/>
                    <a:pt x="339" y="77"/>
                    <a:pt x="338" y="77"/>
                  </a:cubicBezTo>
                  <a:cubicBezTo>
                    <a:pt x="335" y="77"/>
                    <a:pt x="332" y="77"/>
                    <a:pt x="330" y="79"/>
                  </a:cubicBezTo>
                  <a:cubicBezTo>
                    <a:pt x="327" y="80"/>
                    <a:pt x="324" y="84"/>
                    <a:pt x="322" y="86"/>
                  </a:cubicBezTo>
                  <a:cubicBezTo>
                    <a:pt x="321" y="87"/>
                    <a:pt x="321" y="88"/>
                    <a:pt x="320" y="89"/>
                  </a:cubicBezTo>
                  <a:cubicBezTo>
                    <a:pt x="319" y="89"/>
                    <a:pt x="319" y="89"/>
                    <a:pt x="319" y="89"/>
                  </a:cubicBezTo>
                  <a:cubicBezTo>
                    <a:pt x="318" y="89"/>
                    <a:pt x="322" y="85"/>
                    <a:pt x="322" y="84"/>
                  </a:cubicBezTo>
                  <a:cubicBezTo>
                    <a:pt x="324" y="82"/>
                    <a:pt x="325" y="81"/>
                    <a:pt x="326" y="79"/>
                  </a:cubicBezTo>
                  <a:cubicBezTo>
                    <a:pt x="328" y="78"/>
                    <a:pt x="331" y="77"/>
                    <a:pt x="334" y="76"/>
                  </a:cubicBezTo>
                  <a:cubicBezTo>
                    <a:pt x="335" y="76"/>
                    <a:pt x="337" y="76"/>
                    <a:pt x="339" y="76"/>
                  </a:cubicBezTo>
                  <a:cubicBezTo>
                    <a:pt x="339" y="76"/>
                    <a:pt x="340" y="76"/>
                    <a:pt x="340" y="76"/>
                  </a:cubicBezTo>
                  <a:cubicBezTo>
                    <a:pt x="342" y="76"/>
                    <a:pt x="343" y="76"/>
                    <a:pt x="345" y="76"/>
                  </a:cubicBezTo>
                  <a:cubicBezTo>
                    <a:pt x="345" y="76"/>
                    <a:pt x="346" y="76"/>
                    <a:pt x="347" y="75"/>
                  </a:cubicBezTo>
                  <a:cubicBezTo>
                    <a:pt x="349" y="74"/>
                    <a:pt x="352" y="72"/>
                    <a:pt x="352" y="70"/>
                  </a:cubicBezTo>
                  <a:cubicBezTo>
                    <a:pt x="352" y="68"/>
                    <a:pt x="348" y="64"/>
                    <a:pt x="347" y="62"/>
                  </a:cubicBezTo>
                  <a:cubicBezTo>
                    <a:pt x="346" y="60"/>
                    <a:pt x="346" y="60"/>
                    <a:pt x="343" y="59"/>
                  </a:cubicBezTo>
                  <a:cubicBezTo>
                    <a:pt x="340" y="59"/>
                    <a:pt x="338" y="58"/>
                    <a:pt x="336" y="57"/>
                  </a:cubicBezTo>
                  <a:cubicBezTo>
                    <a:pt x="334" y="57"/>
                    <a:pt x="332" y="56"/>
                    <a:pt x="331" y="56"/>
                  </a:cubicBezTo>
                  <a:cubicBezTo>
                    <a:pt x="330" y="56"/>
                    <a:pt x="330" y="56"/>
                    <a:pt x="330" y="56"/>
                  </a:cubicBezTo>
                  <a:cubicBezTo>
                    <a:pt x="328" y="57"/>
                    <a:pt x="327" y="59"/>
                    <a:pt x="326" y="59"/>
                  </a:cubicBezTo>
                  <a:cubicBezTo>
                    <a:pt x="325" y="59"/>
                    <a:pt x="325" y="59"/>
                    <a:pt x="325" y="59"/>
                  </a:cubicBezTo>
                  <a:cubicBezTo>
                    <a:pt x="323" y="59"/>
                    <a:pt x="326" y="58"/>
                    <a:pt x="324" y="56"/>
                  </a:cubicBezTo>
                  <a:cubicBezTo>
                    <a:pt x="323" y="55"/>
                    <a:pt x="320" y="55"/>
                    <a:pt x="318" y="55"/>
                  </a:cubicBezTo>
                  <a:cubicBezTo>
                    <a:pt x="317" y="55"/>
                    <a:pt x="316" y="55"/>
                    <a:pt x="316" y="54"/>
                  </a:cubicBezTo>
                  <a:cubicBezTo>
                    <a:pt x="315" y="54"/>
                    <a:pt x="314" y="54"/>
                    <a:pt x="313" y="54"/>
                  </a:cubicBezTo>
                  <a:cubicBezTo>
                    <a:pt x="312" y="53"/>
                    <a:pt x="314" y="53"/>
                    <a:pt x="313" y="53"/>
                  </a:cubicBezTo>
                  <a:cubicBezTo>
                    <a:pt x="310" y="50"/>
                    <a:pt x="305" y="49"/>
                    <a:pt x="301" y="49"/>
                  </a:cubicBezTo>
                  <a:cubicBezTo>
                    <a:pt x="296" y="49"/>
                    <a:pt x="291" y="50"/>
                    <a:pt x="288" y="51"/>
                  </a:cubicBezTo>
                  <a:cubicBezTo>
                    <a:pt x="283" y="52"/>
                    <a:pt x="279" y="53"/>
                    <a:pt x="275" y="55"/>
                  </a:cubicBezTo>
                  <a:cubicBezTo>
                    <a:pt x="272" y="57"/>
                    <a:pt x="268" y="59"/>
                    <a:pt x="270" y="63"/>
                  </a:cubicBezTo>
                  <a:cubicBezTo>
                    <a:pt x="271" y="66"/>
                    <a:pt x="275" y="67"/>
                    <a:pt x="278" y="67"/>
                  </a:cubicBezTo>
                  <a:cubicBezTo>
                    <a:pt x="282" y="69"/>
                    <a:pt x="287" y="71"/>
                    <a:pt x="291" y="73"/>
                  </a:cubicBezTo>
                  <a:cubicBezTo>
                    <a:pt x="292" y="73"/>
                    <a:pt x="293" y="73"/>
                    <a:pt x="294" y="73"/>
                  </a:cubicBezTo>
                  <a:cubicBezTo>
                    <a:pt x="295" y="73"/>
                    <a:pt x="295" y="73"/>
                    <a:pt x="295" y="73"/>
                  </a:cubicBezTo>
                  <a:cubicBezTo>
                    <a:pt x="296" y="73"/>
                    <a:pt x="296" y="73"/>
                    <a:pt x="296" y="73"/>
                  </a:cubicBezTo>
                  <a:cubicBezTo>
                    <a:pt x="297" y="73"/>
                    <a:pt x="297" y="73"/>
                    <a:pt x="298" y="73"/>
                  </a:cubicBezTo>
                  <a:cubicBezTo>
                    <a:pt x="300" y="74"/>
                    <a:pt x="303" y="75"/>
                    <a:pt x="305" y="76"/>
                  </a:cubicBezTo>
                  <a:cubicBezTo>
                    <a:pt x="302" y="76"/>
                    <a:pt x="300" y="74"/>
                    <a:pt x="297" y="74"/>
                  </a:cubicBezTo>
                  <a:cubicBezTo>
                    <a:pt x="296" y="74"/>
                    <a:pt x="296" y="74"/>
                    <a:pt x="296" y="74"/>
                  </a:cubicBezTo>
                  <a:cubicBezTo>
                    <a:pt x="295" y="74"/>
                    <a:pt x="293" y="74"/>
                    <a:pt x="293" y="74"/>
                  </a:cubicBezTo>
                  <a:cubicBezTo>
                    <a:pt x="290" y="75"/>
                    <a:pt x="291" y="75"/>
                    <a:pt x="290" y="77"/>
                  </a:cubicBezTo>
                  <a:cubicBezTo>
                    <a:pt x="290" y="74"/>
                    <a:pt x="290" y="73"/>
                    <a:pt x="287" y="72"/>
                  </a:cubicBezTo>
                  <a:cubicBezTo>
                    <a:pt x="286" y="71"/>
                    <a:pt x="284" y="71"/>
                    <a:pt x="283" y="70"/>
                  </a:cubicBezTo>
                  <a:cubicBezTo>
                    <a:pt x="283" y="70"/>
                    <a:pt x="283" y="70"/>
                    <a:pt x="283" y="70"/>
                  </a:cubicBezTo>
                  <a:cubicBezTo>
                    <a:pt x="283" y="70"/>
                    <a:pt x="283" y="71"/>
                    <a:pt x="282" y="71"/>
                  </a:cubicBezTo>
                  <a:cubicBezTo>
                    <a:pt x="282" y="71"/>
                    <a:pt x="282" y="71"/>
                    <a:pt x="282" y="71"/>
                  </a:cubicBezTo>
                  <a:cubicBezTo>
                    <a:pt x="282" y="71"/>
                    <a:pt x="282" y="71"/>
                    <a:pt x="282" y="71"/>
                  </a:cubicBezTo>
                  <a:cubicBezTo>
                    <a:pt x="281" y="71"/>
                    <a:pt x="282" y="70"/>
                    <a:pt x="281" y="70"/>
                  </a:cubicBezTo>
                  <a:cubicBezTo>
                    <a:pt x="279" y="69"/>
                    <a:pt x="277" y="69"/>
                    <a:pt x="275" y="68"/>
                  </a:cubicBezTo>
                  <a:cubicBezTo>
                    <a:pt x="274" y="68"/>
                    <a:pt x="273" y="68"/>
                    <a:pt x="273" y="68"/>
                  </a:cubicBezTo>
                  <a:cubicBezTo>
                    <a:pt x="271" y="68"/>
                    <a:pt x="271" y="70"/>
                    <a:pt x="270" y="72"/>
                  </a:cubicBezTo>
                  <a:cubicBezTo>
                    <a:pt x="269" y="70"/>
                    <a:pt x="270" y="67"/>
                    <a:pt x="268" y="66"/>
                  </a:cubicBezTo>
                  <a:cubicBezTo>
                    <a:pt x="263" y="67"/>
                    <a:pt x="263" y="67"/>
                    <a:pt x="263" y="67"/>
                  </a:cubicBezTo>
                  <a:cubicBezTo>
                    <a:pt x="260" y="70"/>
                    <a:pt x="263" y="73"/>
                    <a:pt x="265" y="74"/>
                  </a:cubicBezTo>
                  <a:cubicBezTo>
                    <a:pt x="267" y="75"/>
                    <a:pt x="270" y="75"/>
                    <a:pt x="272" y="77"/>
                  </a:cubicBezTo>
                  <a:cubicBezTo>
                    <a:pt x="273" y="78"/>
                    <a:pt x="274" y="79"/>
                    <a:pt x="274" y="81"/>
                  </a:cubicBezTo>
                  <a:cubicBezTo>
                    <a:pt x="274" y="83"/>
                    <a:pt x="275" y="83"/>
                    <a:pt x="276" y="83"/>
                  </a:cubicBezTo>
                  <a:cubicBezTo>
                    <a:pt x="276" y="83"/>
                    <a:pt x="277" y="83"/>
                    <a:pt x="277" y="83"/>
                  </a:cubicBezTo>
                  <a:cubicBezTo>
                    <a:pt x="277" y="83"/>
                    <a:pt x="278" y="83"/>
                    <a:pt x="278" y="83"/>
                  </a:cubicBezTo>
                  <a:cubicBezTo>
                    <a:pt x="278" y="83"/>
                    <a:pt x="279" y="83"/>
                    <a:pt x="279" y="83"/>
                  </a:cubicBezTo>
                  <a:cubicBezTo>
                    <a:pt x="280" y="83"/>
                    <a:pt x="282" y="86"/>
                    <a:pt x="283" y="87"/>
                  </a:cubicBezTo>
                  <a:cubicBezTo>
                    <a:pt x="285" y="89"/>
                    <a:pt x="286" y="90"/>
                    <a:pt x="288" y="90"/>
                  </a:cubicBezTo>
                  <a:cubicBezTo>
                    <a:pt x="288" y="90"/>
                    <a:pt x="287" y="90"/>
                    <a:pt x="286" y="90"/>
                  </a:cubicBezTo>
                  <a:cubicBezTo>
                    <a:pt x="282" y="90"/>
                    <a:pt x="281" y="84"/>
                    <a:pt x="277" y="83"/>
                  </a:cubicBezTo>
                  <a:cubicBezTo>
                    <a:pt x="277" y="83"/>
                    <a:pt x="277" y="83"/>
                    <a:pt x="277" y="83"/>
                  </a:cubicBezTo>
                  <a:cubicBezTo>
                    <a:pt x="273" y="83"/>
                    <a:pt x="276" y="87"/>
                    <a:pt x="277" y="88"/>
                  </a:cubicBezTo>
                  <a:cubicBezTo>
                    <a:pt x="279" y="90"/>
                    <a:pt x="282" y="91"/>
                    <a:pt x="284" y="92"/>
                  </a:cubicBezTo>
                  <a:cubicBezTo>
                    <a:pt x="280" y="91"/>
                    <a:pt x="276" y="90"/>
                    <a:pt x="274" y="86"/>
                  </a:cubicBezTo>
                  <a:cubicBezTo>
                    <a:pt x="272" y="84"/>
                    <a:pt x="273" y="79"/>
                    <a:pt x="270" y="77"/>
                  </a:cubicBezTo>
                  <a:cubicBezTo>
                    <a:pt x="269" y="77"/>
                    <a:pt x="265" y="75"/>
                    <a:pt x="264" y="75"/>
                  </a:cubicBezTo>
                  <a:cubicBezTo>
                    <a:pt x="263" y="75"/>
                    <a:pt x="263" y="75"/>
                    <a:pt x="263" y="75"/>
                  </a:cubicBezTo>
                  <a:cubicBezTo>
                    <a:pt x="261" y="75"/>
                    <a:pt x="262" y="76"/>
                    <a:pt x="261" y="79"/>
                  </a:cubicBezTo>
                  <a:cubicBezTo>
                    <a:pt x="260" y="82"/>
                    <a:pt x="263" y="83"/>
                    <a:pt x="265" y="84"/>
                  </a:cubicBezTo>
                  <a:cubicBezTo>
                    <a:pt x="266" y="84"/>
                    <a:pt x="267" y="84"/>
                    <a:pt x="268" y="85"/>
                  </a:cubicBezTo>
                  <a:cubicBezTo>
                    <a:pt x="269" y="85"/>
                    <a:pt x="268" y="87"/>
                    <a:pt x="270" y="87"/>
                  </a:cubicBezTo>
                  <a:cubicBezTo>
                    <a:pt x="270" y="87"/>
                    <a:pt x="269" y="87"/>
                    <a:pt x="269" y="87"/>
                  </a:cubicBezTo>
                  <a:cubicBezTo>
                    <a:pt x="267" y="87"/>
                    <a:pt x="264" y="85"/>
                    <a:pt x="262" y="85"/>
                  </a:cubicBezTo>
                  <a:cubicBezTo>
                    <a:pt x="260" y="84"/>
                    <a:pt x="259" y="84"/>
                    <a:pt x="257" y="84"/>
                  </a:cubicBezTo>
                  <a:cubicBezTo>
                    <a:pt x="257" y="84"/>
                    <a:pt x="256" y="84"/>
                    <a:pt x="255" y="84"/>
                  </a:cubicBezTo>
                  <a:cubicBezTo>
                    <a:pt x="255" y="84"/>
                    <a:pt x="255" y="84"/>
                    <a:pt x="255" y="84"/>
                  </a:cubicBezTo>
                  <a:cubicBezTo>
                    <a:pt x="252" y="84"/>
                    <a:pt x="257" y="80"/>
                    <a:pt x="258" y="79"/>
                  </a:cubicBezTo>
                  <a:cubicBezTo>
                    <a:pt x="259" y="77"/>
                    <a:pt x="260" y="73"/>
                    <a:pt x="260" y="71"/>
                  </a:cubicBezTo>
                  <a:cubicBezTo>
                    <a:pt x="259" y="70"/>
                    <a:pt x="254" y="66"/>
                    <a:pt x="252" y="65"/>
                  </a:cubicBezTo>
                  <a:cubicBezTo>
                    <a:pt x="252" y="65"/>
                    <a:pt x="252" y="65"/>
                    <a:pt x="252" y="65"/>
                  </a:cubicBezTo>
                  <a:cubicBezTo>
                    <a:pt x="249" y="65"/>
                    <a:pt x="248" y="68"/>
                    <a:pt x="245" y="70"/>
                  </a:cubicBezTo>
                  <a:cubicBezTo>
                    <a:pt x="245" y="70"/>
                    <a:pt x="243" y="71"/>
                    <a:pt x="242" y="72"/>
                  </a:cubicBezTo>
                  <a:cubicBezTo>
                    <a:pt x="242" y="72"/>
                    <a:pt x="242" y="73"/>
                    <a:pt x="242" y="73"/>
                  </a:cubicBezTo>
                  <a:cubicBezTo>
                    <a:pt x="241" y="73"/>
                    <a:pt x="241" y="72"/>
                    <a:pt x="241" y="72"/>
                  </a:cubicBezTo>
                  <a:cubicBezTo>
                    <a:pt x="240" y="72"/>
                    <a:pt x="241" y="71"/>
                    <a:pt x="242" y="70"/>
                  </a:cubicBezTo>
                  <a:cubicBezTo>
                    <a:pt x="244" y="68"/>
                    <a:pt x="245" y="68"/>
                    <a:pt x="243" y="65"/>
                  </a:cubicBezTo>
                  <a:cubicBezTo>
                    <a:pt x="241" y="64"/>
                    <a:pt x="242" y="64"/>
                    <a:pt x="241" y="63"/>
                  </a:cubicBezTo>
                  <a:cubicBezTo>
                    <a:pt x="241" y="62"/>
                    <a:pt x="243" y="61"/>
                    <a:pt x="242" y="61"/>
                  </a:cubicBezTo>
                  <a:cubicBezTo>
                    <a:pt x="241" y="61"/>
                    <a:pt x="241" y="61"/>
                    <a:pt x="241" y="61"/>
                  </a:cubicBezTo>
                  <a:cubicBezTo>
                    <a:pt x="241" y="60"/>
                    <a:pt x="240" y="60"/>
                    <a:pt x="240" y="60"/>
                  </a:cubicBezTo>
                  <a:cubicBezTo>
                    <a:pt x="239" y="60"/>
                    <a:pt x="237" y="64"/>
                    <a:pt x="236" y="64"/>
                  </a:cubicBezTo>
                  <a:cubicBezTo>
                    <a:pt x="235" y="65"/>
                    <a:pt x="232" y="66"/>
                    <a:pt x="232" y="67"/>
                  </a:cubicBezTo>
                  <a:cubicBezTo>
                    <a:pt x="231" y="72"/>
                    <a:pt x="240" y="75"/>
                    <a:pt x="243" y="76"/>
                  </a:cubicBezTo>
                  <a:cubicBezTo>
                    <a:pt x="242" y="76"/>
                    <a:pt x="242" y="76"/>
                    <a:pt x="241" y="76"/>
                  </a:cubicBezTo>
                  <a:cubicBezTo>
                    <a:pt x="237" y="76"/>
                    <a:pt x="235" y="73"/>
                    <a:pt x="232" y="70"/>
                  </a:cubicBezTo>
                  <a:cubicBezTo>
                    <a:pt x="232" y="70"/>
                    <a:pt x="231" y="69"/>
                    <a:pt x="230" y="69"/>
                  </a:cubicBezTo>
                  <a:cubicBezTo>
                    <a:pt x="229" y="69"/>
                    <a:pt x="229" y="70"/>
                    <a:pt x="228" y="71"/>
                  </a:cubicBezTo>
                  <a:cubicBezTo>
                    <a:pt x="228" y="72"/>
                    <a:pt x="229" y="73"/>
                    <a:pt x="228" y="74"/>
                  </a:cubicBezTo>
                  <a:cubicBezTo>
                    <a:pt x="228" y="74"/>
                    <a:pt x="228" y="74"/>
                    <a:pt x="227" y="74"/>
                  </a:cubicBezTo>
                  <a:cubicBezTo>
                    <a:pt x="227" y="74"/>
                    <a:pt x="227" y="74"/>
                    <a:pt x="226" y="74"/>
                  </a:cubicBezTo>
                  <a:cubicBezTo>
                    <a:pt x="226" y="74"/>
                    <a:pt x="226" y="74"/>
                    <a:pt x="226" y="74"/>
                  </a:cubicBezTo>
                  <a:cubicBezTo>
                    <a:pt x="226" y="74"/>
                    <a:pt x="226" y="74"/>
                    <a:pt x="226" y="74"/>
                  </a:cubicBezTo>
                  <a:cubicBezTo>
                    <a:pt x="224" y="75"/>
                    <a:pt x="229" y="77"/>
                    <a:pt x="225" y="80"/>
                  </a:cubicBezTo>
                  <a:cubicBezTo>
                    <a:pt x="224" y="81"/>
                    <a:pt x="222" y="82"/>
                    <a:pt x="221" y="82"/>
                  </a:cubicBezTo>
                  <a:cubicBezTo>
                    <a:pt x="218" y="82"/>
                    <a:pt x="217" y="87"/>
                    <a:pt x="214" y="87"/>
                  </a:cubicBezTo>
                  <a:cubicBezTo>
                    <a:pt x="214" y="87"/>
                    <a:pt x="214" y="87"/>
                    <a:pt x="213" y="87"/>
                  </a:cubicBezTo>
                  <a:cubicBezTo>
                    <a:pt x="214" y="85"/>
                    <a:pt x="218" y="84"/>
                    <a:pt x="217" y="81"/>
                  </a:cubicBezTo>
                  <a:cubicBezTo>
                    <a:pt x="216" y="80"/>
                    <a:pt x="212" y="81"/>
                    <a:pt x="210" y="80"/>
                  </a:cubicBezTo>
                  <a:cubicBezTo>
                    <a:pt x="212" y="77"/>
                    <a:pt x="214" y="78"/>
                    <a:pt x="216" y="78"/>
                  </a:cubicBezTo>
                  <a:cubicBezTo>
                    <a:pt x="216" y="78"/>
                    <a:pt x="217" y="78"/>
                    <a:pt x="217" y="78"/>
                  </a:cubicBezTo>
                  <a:cubicBezTo>
                    <a:pt x="218" y="78"/>
                    <a:pt x="218" y="79"/>
                    <a:pt x="220" y="79"/>
                  </a:cubicBezTo>
                  <a:cubicBezTo>
                    <a:pt x="221" y="79"/>
                    <a:pt x="221" y="79"/>
                    <a:pt x="221" y="79"/>
                  </a:cubicBezTo>
                  <a:cubicBezTo>
                    <a:pt x="223" y="79"/>
                    <a:pt x="220" y="77"/>
                    <a:pt x="219" y="76"/>
                  </a:cubicBezTo>
                  <a:cubicBezTo>
                    <a:pt x="217" y="75"/>
                    <a:pt x="215" y="75"/>
                    <a:pt x="213" y="73"/>
                  </a:cubicBezTo>
                  <a:cubicBezTo>
                    <a:pt x="217" y="73"/>
                    <a:pt x="215" y="73"/>
                    <a:pt x="216" y="70"/>
                  </a:cubicBezTo>
                  <a:cubicBezTo>
                    <a:pt x="217" y="69"/>
                    <a:pt x="219" y="68"/>
                    <a:pt x="220" y="67"/>
                  </a:cubicBezTo>
                  <a:cubicBezTo>
                    <a:pt x="222" y="65"/>
                    <a:pt x="222" y="66"/>
                    <a:pt x="223" y="64"/>
                  </a:cubicBezTo>
                  <a:cubicBezTo>
                    <a:pt x="224" y="63"/>
                    <a:pt x="225" y="60"/>
                    <a:pt x="223" y="60"/>
                  </a:cubicBezTo>
                  <a:cubicBezTo>
                    <a:pt x="223" y="60"/>
                    <a:pt x="222" y="59"/>
                    <a:pt x="222" y="59"/>
                  </a:cubicBezTo>
                  <a:cubicBezTo>
                    <a:pt x="219" y="59"/>
                    <a:pt x="214" y="64"/>
                    <a:pt x="213" y="66"/>
                  </a:cubicBezTo>
                  <a:cubicBezTo>
                    <a:pt x="210" y="68"/>
                    <a:pt x="207" y="71"/>
                    <a:pt x="204" y="71"/>
                  </a:cubicBezTo>
                  <a:cubicBezTo>
                    <a:pt x="205" y="70"/>
                    <a:pt x="207" y="70"/>
                    <a:pt x="208" y="69"/>
                  </a:cubicBezTo>
                  <a:cubicBezTo>
                    <a:pt x="208" y="69"/>
                    <a:pt x="208" y="68"/>
                    <a:pt x="208" y="67"/>
                  </a:cubicBezTo>
                  <a:cubicBezTo>
                    <a:pt x="209" y="66"/>
                    <a:pt x="210" y="66"/>
                    <a:pt x="211" y="65"/>
                  </a:cubicBezTo>
                  <a:cubicBezTo>
                    <a:pt x="213" y="63"/>
                    <a:pt x="215" y="61"/>
                    <a:pt x="218" y="59"/>
                  </a:cubicBezTo>
                  <a:cubicBezTo>
                    <a:pt x="219" y="59"/>
                    <a:pt x="220" y="58"/>
                    <a:pt x="221" y="57"/>
                  </a:cubicBezTo>
                  <a:cubicBezTo>
                    <a:pt x="223" y="57"/>
                    <a:pt x="222" y="56"/>
                    <a:pt x="223" y="55"/>
                  </a:cubicBezTo>
                  <a:cubicBezTo>
                    <a:pt x="223" y="54"/>
                    <a:pt x="229" y="50"/>
                    <a:pt x="229" y="50"/>
                  </a:cubicBezTo>
                  <a:cubicBezTo>
                    <a:pt x="229" y="50"/>
                    <a:pt x="229" y="50"/>
                    <a:pt x="229" y="50"/>
                  </a:cubicBezTo>
                  <a:cubicBezTo>
                    <a:pt x="227" y="46"/>
                    <a:pt x="221" y="45"/>
                    <a:pt x="221" y="40"/>
                  </a:cubicBezTo>
                  <a:cubicBezTo>
                    <a:pt x="220" y="36"/>
                    <a:pt x="225" y="32"/>
                    <a:pt x="218" y="30"/>
                  </a:cubicBezTo>
                  <a:cubicBezTo>
                    <a:pt x="214" y="29"/>
                    <a:pt x="207" y="28"/>
                    <a:pt x="207" y="24"/>
                  </a:cubicBezTo>
                  <a:cubicBezTo>
                    <a:pt x="207" y="22"/>
                    <a:pt x="208" y="20"/>
                    <a:pt x="208" y="18"/>
                  </a:cubicBezTo>
                  <a:cubicBezTo>
                    <a:pt x="207" y="15"/>
                    <a:pt x="207" y="13"/>
                    <a:pt x="205" y="12"/>
                  </a:cubicBezTo>
                  <a:cubicBezTo>
                    <a:pt x="204" y="11"/>
                    <a:pt x="203" y="10"/>
                    <a:pt x="202" y="9"/>
                  </a:cubicBezTo>
                  <a:cubicBezTo>
                    <a:pt x="201" y="8"/>
                    <a:pt x="202" y="7"/>
                    <a:pt x="200" y="6"/>
                  </a:cubicBezTo>
                  <a:cubicBezTo>
                    <a:pt x="199" y="6"/>
                    <a:pt x="198" y="6"/>
                    <a:pt x="197" y="6"/>
                  </a:cubicBezTo>
                  <a:cubicBezTo>
                    <a:pt x="197" y="6"/>
                    <a:pt x="196" y="6"/>
                    <a:pt x="196" y="6"/>
                  </a:cubicBezTo>
                  <a:cubicBezTo>
                    <a:pt x="195" y="6"/>
                    <a:pt x="195" y="6"/>
                    <a:pt x="194" y="6"/>
                  </a:cubicBezTo>
                  <a:cubicBezTo>
                    <a:pt x="194" y="6"/>
                    <a:pt x="194" y="6"/>
                    <a:pt x="194" y="6"/>
                  </a:cubicBezTo>
                  <a:cubicBezTo>
                    <a:pt x="193" y="6"/>
                    <a:pt x="191" y="6"/>
                    <a:pt x="190" y="6"/>
                  </a:cubicBezTo>
                  <a:cubicBezTo>
                    <a:pt x="187" y="6"/>
                    <a:pt x="184" y="6"/>
                    <a:pt x="181" y="6"/>
                  </a:cubicBezTo>
                  <a:cubicBezTo>
                    <a:pt x="180" y="6"/>
                    <a:pt x="180" y="6"/>
                    <a:pt x="180" y="6"/>
                  </a:cubicBezTo>
                  <a:cubicBezTo>
                    <a:pt x="179" y="6"/>
                    <a:pt x="178" y="6"/>
                    <a:pt x="176" y="6"/>
                  </a:cubicBezTo>
                  <a:cubicBezTo>
                    <a:pt x="175" y="5"/>
                    <a:pt x="173" y="5"/>
                    <a:pt x="172" y="5"/>
                  </a:cubicBezTo>
                  <a:cubicBezTo>
                    <a:pt x="171" y="5"/>
                    <a:pt x="170" y="5"/>
                    <a:pt x="169" y="6"/>
                  </a:cubicBezTo>
                  <a:cubicBezTo>
                    <a:pt x="167" y="6"/>
                    <a:pt x="166" y="9"/>
                    <a:pt x="164" y="9"/>
                  </a:cubicBezTo>
                  <a:cubicBezTo>
                    <a:pt x="162" y="9"/>
                    <a:pt x="159" y="9"/>
                    <a:pt x="157" y="10"/>
                  </a:cubicBezTo>
                  <a:cubicBezTo>
                    <a:pt x="153" y="11"/>
                    <a:pt x="149" y="12"/>
                    <a:pt x="146" y="14"/>
                  </a:cubicBezTo>
                  <a:cubicBezTo>
                    <a:pt x="145" y="14"/>
                    <a:pt x="144" y="15"/>
                    <a:pt x="144" y="15"/>
                  </a:cubicBezTo>
                  <a:cubicBezTo>
                    <a:pt x="143" y="16"/>
                    <a:pt x="147" y="17"/>
                    <a:pt x="148" y="17"/>
                  </a:cubicBezTo>
                  <a:cubicBezTo>
                    <a:pt x="151" y="18"/>
                    <a:pt x="152" y="20"/>
                    <a:pt x="150" y="23"/>
                  </a:cubicBezTo>
                  <a:cubicBezTo>
                    <a:pt x="148" y="19"/>
                    <a:pt x="144" y="17"/>
                    <a:pt x="139" y="17"/>
                  </a:cubicBezTo>
                  <a:cubicBezTo>
                    <a:pt x="139" y="17"/>
                    <a:pt x="138" y="17"/>
                    <a:pt x="137" y="17"/>
                  </a:cubicBezTo>
                  <a:cubicBezTo>
                    <a:pt x="135" y="17"/>
                    <a:pt x="133" y="19"/>
                    <a:pt x="131" y="19"/>
                  </a:cubicBezTo>
                  <a:cubicBezTo>
                    <a:pt x="129" y="20"/>
                    <a:pt x="129" y="20"/>
                    <a:pt x="129" y="22"/>
                  </a:cubicBezTo>
                  <a:cubicBezTo>
                    <a:pt x="130" y="24"/>
                    <a:pt x="133" y="26"/>
                    <a:pt x="134" y="28"/>
                  </a:cubicBezTo>
                  <a:cubicBezTo>
                    <a:pt x="133" y="27"/>
                    <a:pt x="129" y="26"/>
                    <a:pt x="127" y="24"/>
                  </a:cubicBezTo>
                  <a:cubicBezTo>
                    <a:pt x="125" y="23"/>
                    <a:pt x="126" y="21"/>
                    <a:pt x="123" y="21"/>
                  </a:cubicBezTo>
                  <a:cubicBezTo>
                    <a:pt x="123" y="21"/>
                    <a:pt x="123" y="21"/>
                    <a:pt x="123" y="21"/>
                  </a:cubicBezTo>
                  <a:cubicBezTo>
                    <a:pt x="121" y="21"/>
                    <a:pt x="120" y="22"/>
                    <a:pt x="120" y="24"/>
                  </a:cubicBezTo>
                  <a:cubicBezTo>
                    <a:pt x="119" y="23"/>
                    <a:pt x="119" y="23"/>
                    <a:pt x="119" y="23"/>
                  </a:cubicBezTo>
                  <a:cubicBezTo>
                    <a:pt x="119" y="23"/>
                    <a:pt x="118" y="23"/>
                    <a:pt x="118" y="24"/>
                  </a:cubicBezTo>
                  <a:cubicBezTo>
                    <a:pt x="120" y="22"/>
                    <a:pt x="119" y="22"/>
                    <a:pt x="119" y="19"/>
                  </a:cubicBezTo>
                  <a:cubicBezTo>
                    <a:pt x="119" y="17"/>
                    <a:pt x="120" y="9"/>
                    <a:pt x="119" y="9"/>
                  </a:cubicBezTo>
                  <a:cubicBezTo>
                    <a:pt x="119" y="9"/>
                    <a:pt x="118" y="10"/>
                    <a:pt x="118" y="10"/>
                  </a:cubicBezTo>
                  <a:cubicBezTo>
                    <a:pt x="118" y="9"/>
                    <a:pt x="119" y="8"/>
                    <a:pt x="119" y="7"/>
                  </a:cubicBezTo>
                  <a:cubicBezTo>
                    <a:pt x="120" y="8"/>
                    <a:pt x="119" y="8"/>
                    <a:pt x="120" y="9"/>
                  </a:cubicBezTo>
                  <a:cubicBezTo>
                    <a:pt x="124" y="7"/>
                    <a:pt x="123" y="5"/>
                    <a:pt x="119" y="3"/>
                  </a:cubicBezTo>
                  <a:cubicBezTo>
                    <a:pt x="119" y="4"/>
                    <a:pt x="119" y="4"/>
                    <a:pt x="119" y="4"/>
                  </a:cubicBezTo>
                  <a:cubicBezTo>
                    <a:pt x="119" y="3"/>
                    <a:pt x="119" y="2"/>
                    <a:pt x="118" y="2"/>
                  </a:cubicBezTo>
                  <a:cubicBezTo>
                    <a:pt x="114" y="1"/>
                    <a:pt x="109" y="2"/>
                    <a:pt x="105" y="1"/>
                  </a:cubicBezTo>
                  <a:cubicBezTo>
                    <a:pt x="100" y="0"/>
                    <a:pt x="94"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6" name="Freeform 299">
              <a:extLst>
                <a:ext uri="{FF2B5EF4-FFF2-40B4-BE49-F238E27FC236}">
                  <a16:creationId xmlns:a16="http://schemas.microsoft.com/office/drawing/2014/main" id="{8E0A3D40-F36F-487C-896D-C386149F9937}"/>
                </a:ext>
              </a:extLst>
            </p:cNvPr>
            <p:cNvSpPr>
              <a:spLocks/>
            </p:cNvSpPr>
            <p:nvPr/>
          </p:nvSpPr>
          <p:spPr bwMode="auto">
            <a:xfrm>
              <a:off x="9994891" y="2277297"/>
              <a:ext cx="3175" cy="15875"/>
            </a:xfrm>
            <a:custGeom>
              <a:avLst/>
              <a:gdLst>
                <a:gd name="T0" fmla="*/ 1 w 1"/>
                <a:gd name="T1" fmla="*/ 0 h 4"/>
                <a:gd name="T2" fmla="*/ 1 w 1"/>
                <a:gd name="T3" fmla="*/ 4 h 4"/>
                <a:gd name="T4" fmla="*/ 1 w 1"/>
                <a:gd name="T5" fmla="*/ 3 h 4"/>
                <a:gd name="T6" fmla="*/ 1 w 1"/>
                <a:gd name="T7" fmla="*/ 2 h 4"/>
                <a:gd name="T8" fmla="*/ 1 w 1"/>
                <a:gd name="T9" fmla="*/ 2 h 4"/>
                <a:gd name="T10" fmla="*/ 1 w 1"/>
                <a:gd name="T11" fmla="*/ 2 h 4"/>
                <a:gd name="T12" fmla="*/ 1 w 1"/>
                <a:gd name="T13" fmla="*/ 1 h 4"/>
                <a:gd name="T14" fmla="*/ 1 w 1"/>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1" y="0"/>
                  </a:moveTo>
                  <a:cubicBezTo>
                    <a:pt x="0" y="1"/>
                    <a:pt x="0" y="3"/>
                    <a:pt x="1" y="4"/>
                  </a:cubicBezTo>
                  <a:cubicBezTo>
                    <a:pt x="1" y="3"/>
                    <a:pt x="1" y="3"/>
                    <a:pt x="1" y="3"/>
                  </a:cubicBezTo>
                  <a:cubicBezTo>
                    <a:pt x="1" y="3"/>
                    <a:pt x="1" y="3"/>
                    <a:pt x="1" y="2"/>
                  </a:cubicBezTo>
                  <a:cubicBezTo>
                    <a:pt x="1" y="2"/>
                    <a:pt x="1" y="2"/>
                    <a:pt x="1" y="2"/>
                  </a:cubicBezTo>
                  <a:cubicBezTo>
                    <a:pt x="1" y="2"/>
                    <a:pt x="1" y="2"/>
                    <a:pt x="1" y="2"/>
                  </a:cubicBezTo>
                  <a:cubicBezTo>
                    <a:pt x="1"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7" name="Freeform 300">
              <a:extLst>
                <a:ext uri="{FF2B5EF4-FFF2-40B4-BE49-F238E27FC236}">
                  <a16:creationId xmlns:a16="http://schemas.microsoft.com/office/drawing/2014/main" id="{26CDFB79-ED0D-4273-A5CA-5A30D85E240E}"/>
                </a:ext>
              </a:extLst>
            </p:cNvPr>
            <p:cNvSpPr>
              <a:spLocks/>
            </p:cNvSpPr>
            <p:nvPr/>
          </p:nvSpPr>
          <p:spPr bwMode="auto">
            <a:xfrm>
              <a:off x="7186604" y="1823272"/>
              <a:ext cx="22225" cy="30163"/>
            </a:xfrm>
            <a:custGeom>
              <a:avLst/>
              <a:gdLst>
                <a:gd name="T0" fmla="*/ 3 w 6"/>
                <a:gd name="T1" fmla="*/ 0 h 8"/>
                <a:gd name="T2" fmla="*/ 3 w 6"/>
                <a:gd name="T3" fmla="*/ 0 h 8"/>
                <a:gd name="T4" fmla="*/ 2 w 6"/>
                <a:gd name="T5" fmla="*/ 1 h 8"/>
                <a:gd name="T6" fmla="*/ 1 w 6"/>
                <a:gd name="T7" fmla="*/ 2 h 8"/>
                <a:gd name="T8" fmla="*/ 6 w 6"/>
                <a:gd name="T9" fmla="*/ 8 h 8"/>
                <a:gd name="T10" fmla="*/ 6 w 6"/>
                <a:gd name="T11" fmla="*/ 7 h 8"/>
                <a:gd name="T12" fmla="*/ 6 w 6"/>
                <a:gd name="T13" fmla="*/ 5 h 8"/>
                <a:gd name="T14" fmla="*/ 6 w 6"/>
                <a:gd name="T15" fmla="*/ 4 h 8"/>
                <a:gd name="T16" fmla="*/ 5 w 6"/>
                <a:gd name="T17" fmla="*/ 1 h 8"/>
                <a:gd name="T18" fmla="*/ 3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3" y="0"/>
                  </a:moveTo>
                  <a:cubicBezTo>
                    <a:pt x="3" y="0"/>
                    <a:pt x="3" y="0"/>
                    <a:pt x="3" y="0"/>
                  </a:cubicBezTo>
                  <a:cubicBezTo>
                    <a:pt x="3" y="0"/>
                    <a:pt x="2" y="1"/>
                    <a:pt x="2" y="1"/>
                  </a:cubicBezTo>
                  <a:cubicBezTo>
                    <a:pt x="1" y="2"/>
                    <a:pt x="1" y="2"/>
                    <a:pt x="1" y="2"/>
                  </a:cubicBezTo>
                  <a:cubicBezTo>
                    <a:pt x="0" y="5"/>
                    <a:pt x="5" y="7"/>
                    <a:pt x="6" y="8"/>
                  </a:cubicBezTo>
                  <a:cubicBezTo>
                    <a:pt x="6" y="7"/>
                    <a:pt x="6" y="7"/>
                    <a:pt x="6" y="7"/>
                  </a:cubicBezTo>
                  <a:cubicBezTo>
                    <a:pt x="6" y="6"/>
                    <a:pt x="6" y="6"/>
                    <a:pt x="6" y="5"/>
                  </a:cubicBezTo>
                  <a:cubicBezTo>
                    <a:pt x="6" y="4"/>
                    <a:pt x="6" y="4"/>
                    <a:pt x="6" y="4"/>
                  </a:cubicBezTo>
                  <a:cubicBezTo>
                    <a:pt x="6" y="3"/>
                    <a:pt x="6" y="2"/>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8" name="Freeform 301">
              <a:extLst>
                <a:ext uri="{FF2B5EF4-FFF2-40B4-BE49-F238E27FC236}">
                  <a16:creationId xmlns:a16="http://schemas.microsoft.com/office/drawing/2014/main" id="{CC43644F-0650-43F8-9052-ACEE4E08D555}"/>
                </a:ext>
              </a:extLst>
            </p:cNvPr>
            <p:cNvSpPr>
              <a:spLocks/>
            </p:cNvSpPr>
            <p:nvPr/>
          </p:nvSpPr>
          <p:spPr bwMode="auto">
            <a:xfrm>
              <a:off x="10272704" y="3051997"/>
              <a:ext cx="36513" cy="19050"/>
            </a:xfrm>
            <a:custGeom>
              <a:avLst/>
              <a:gdLst>
                <a:gd name="T0" fmla="*/ 0 w 10"/>
                <a:gd name="T1" fmla="*/ 0 h 5"/>
                <a:gd name="T2" fmla="*/ 1 w 10"/>
                <a:gd name="T3" fmla="*/ 2 h 5"/>
                <a:gd name="T4" fmla="*/ 1 w 10"/>
                <a:gd name="T5" fmla="*/ 2 h 5"/>
                <a:gd name="T6" fmla="*/ 2 w 10"/>
                <a:gd name="T7" fmla="*/ 3 h 5"/>
                <a:gd name="T8" fmla="*/ 3 w 10"/>
                <a:gd name="T9" fmla="*/ 3 h 5"/>
                <a:gd name="T10" fmla="*/ 8 w 10"/>
                <a:gd name="T11" fmla="*/ 5 h 5"/>
                <a:gd name="T12" fmla="*/ 10 w 10"/>
                <a:gd name="T13" fmla="*/ 3 h 5"/>
                <a:gd name="T14" fmla="*/ 3 w 10"/>
                <a:gd name="T15" fmla="*/ 0 h 5"/>
                <a:gd name="T16" fmla="*/ 1 w 10"/>
                <a:gd name="T17" fmla="*/ 0 h 5"/>
                <a:gd name="T18" fmla="*/ 1 w 10"/>
                <a:gd name="T19" fmla="*/ 0 h 5"/>
                <a:gd name="T20" fmla="*/ 0 w 10"/>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5">
                  <a:moveTo>
                    <a:pt x="0" y="0"/>
                  </a:moveTo>
                  <a:cubicBezTo>
                    <a:pt x="0" y="1"/>
                    <a:pt x="0" y="1"/>
                    <a:pt x="1" y="2"/>
                  </a:cubicBezTo>
                  <a:cubicBezTo>
                    <a:pt x="1" y="2"/>
                    <a:pt x="1" y="2"/>
                    <a:pt x="1" y="2"/>
                  </a:cubicBezTo>
                  <a:cubicBezTo>
                    <a:pt x="2" y="3"/>
                    <a:pt x="2" y="3"/>
                    <a:pt x="2" y="3"/>
                  </a:cubicBezTo>
                  <a:cubicBezTo>
                    <a:pt x="3" y="3"/>
                    <a:pt x="3" y="3"/>
                    <a:pt x="3" y="3"/>
                  </a:cubicBezTo>
                  <a:cubicBezTo>
                    <a:pt x="4" y="4"/>
                    <a:pt x="6" y="4"/>
                    <a:pt x="8" y="5"/>
                  </a:cubicBezTo>
                  <a:cubicBezTo>
                    <a:pt x="8" y="4"/>
                    <a:pt x="9" y="4"/>
                    <a:pt x="10" y="3"/>
                  </a:cubicBezTo>
                  <a:cubicBezTo>
                    <a:pt x="7" y="2"/>
                    <a:pt x="5" y="1"/>
                    <a:pt x="3" y="0"/>
                  </a:cubicBezTo>
                  <a:cubicBezTo>
                    <a:pt x="2"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9" name="Freeform 302">
              <a:extLst>
                <a:ext uri="{FF2B5EF4-FFF2-40B4-BE49-F238E27FC236}">
                  <a16:creationId xmlns:a16="http://schemas.microsoft.com/office/drawing/2014/main" id="{3CF84CD6-675E-489B-A4A7-9FA51B5CAE5E}"/>
                </a:ext>
              </a:extLst>
            </p:cNvPr>
            <p:cNvSpPr>
              <a:spLocks/>
            </p:cNvSpPr>
            <p:nvPr/>
          </p:nvSpPr>
          <p:spPr bwMode="auto">
            <a:xfrm>
              <a:off x="7148504" y="1583559"/>
              <a:ext cx="46038" cy="36513"/>
            </a:xfrm>
            <a:custGeom>
              <a:avLst/>
              <a:gdLst>
                <a:gd name="T0" fmla="*/ 1 w 12"/>
                <a:gd name="T1" fmla="*/ 0 h 10"/>
                <a:gd name="T2" fmla="*/ 0 w 12"/>
                <a:gd name="T3" fmla="*/ 4 h 10"/>
                <a:gd name="T4" fmla="*/ 2 w 12"/>
                <a:gd name="T5" fmla="*/ 6 h 10"/>
                <a:gd name="T6" fmla="*/ 3 w 12"/>
                <a:gd name="T7" fmla="*/ 6 h 10"/>
                <a:gd name="T8" fmla="*/ 6 w 12"/>
                <a:gd name="T9" fmla="*/ 8 h 10"/>
                <a:gd name="T10" fmla="*/ 11 w 12"/>
                <a:gd name="T11" fmla="*/ 10 h 10"/>
                <a:gd name="T12" fmla="*/ 11 w 12"/>
                <a:gd name="T13" fmla="*/ 10 h 10"/>
                <a:gd name="T14" fmla="*/ 11 w 12"/>
                <a:gd name="T15" fmla="*/ 5 h 10"/>
                <a:gd name="T16" fmla="*/ 6 w 12"/>
                <a:gd name="T17" fmla="*/ 1 h 10"/>
                <a:gd name="T18" fmla="*/ 2 w 12"/>
                <a:gd name="T19" fmla="*/ 1 h 10"/>
                <a:gd name="T20" fmla="*/ 1 w 12"/>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 y="0"/>
                  </a:moveTo>
                  <a:cubicBezTo>
                    <a:pt x="0" y="2"/>
                    <a:pt x="0" y="3"/>
                    <a:pt x="0" y="4"/>
                  </a:cubicBezTo>
                  <a:cubicBezTo>
                    <a:pt x="1" y="5"/>
                    <a:pt x="1" y="6"/>
                    <a:pt x="2" y="6"/>
                  </a:cubicBezTo>
                  <a:cubicBezTo>
                    <a:pt x="3" y="6"/>
                    <a:pt x="3" y="6"/>
                    <a:pt x="3" y="6"/>
                  </a:cubicBezTo>
                  <a:cubicBezTo>
                    <a:pt x="4" y="7"/>
                    <a:pt x="5" y="8"/>
                    <a:pt x="6" y="8"/>
                  </a:cubicBezTo>
                  <a:cubicBezTo>
                    <a:pt x="8" y="9"/>
                    <a:pt x="10" y="10"/>
                    <a:pt x="11" y="10"/>
                  </a:cubicBezTo>
                  <a:cubicBezTo>
                    <a:pt x="11" y="10"/>
                    <a:pt x="11" y="10"/>
                    <a:pt x="11" y="10"/>
                  </a:cubicBezTo>
                  <a:cubicBezTo>
                    <a:pt x="12" y="8"/>
                    <a:pt x="12" y="6"/>
                    <a:pt x="11" y="5"/>
                  </a:cubicBezTo>
                  <a:cubicBezTo>
                    <a:pt x="10" y="3"/>
                    <a:pt x="8" y="2"/>
                    <a:pt x="6" y="1"/>
                  </a:cubicBezTo>
                  <a:cubicBezTo>
                    <a:pt x="4" y="1"/>
                    <a:pt x="3" y="1"/>
                    <a:pt x="2"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0" name="Freeform 303">
              <a:extLst>
                <a:ext uri="{FF2B5EF4-FFF2-40B4-BE49-F238E27FC236}">
                  <a16:creationId xmlns:a16="http://schemas.microsoft.com/office/drawing/2014/main" id="{FD37BB69-FF70-4F68-B7E8-72D40DDAE1EA}"/>
                </a:ext>
              </a:extLst>
            </p:cNvPr>
            <p:cNvSpPr>
              <a:spLocks/>
            </p:cNvSpPr>
            <p:nvPr/>
          </p:nvSpPr>
          <p:spPr bwMode="auto">
            <a:xfrm>
              <a:off x="6499216" y="2045522"/>
              <a:ext cx="19050" cy="25400"/>
            </a:xfrm>
            <a:custGeom>
              <a:avLst/>
              <a:gdLst>
                <a:gd name="T0" fmla="*/ 3 w 5"/>
                <a:gd name="T1" fmla="*/ 0 h 7"/>
                <a:gd name="T2" fmla="*/ 1 w 5"/>
                <a:gd name="T3" fmla="*/ 0 h 7"/>
                <a:gd name="T4" fmla="*/ 1 w 5"/>
                <a:gd name="T5" fmla="*/ 1 h 7"/>
                <a:gd name="T6" fmla="*/ 1 w 5"/>
                <a:gd name="T7" fmla="*/ 1 h 7"/>
                <a:gd name="T8" fmla="*/ 1 w 5"/>
                <a:gd name="T9" fmla="*/ 1 h 7"/>
                <a:gd name="T10" fmla="*/ 1 w 5"/>
                <a:gd name="T11" fmla="*/ 5 h 7"/>
                <a:gd name="T12" fmla="*/ 1 w 5"/>
                <a:gd name="T13" fmla="*/ 6 h 7"/>
                <a:gd name="T14" fmla="*/ 2 w 5"/>
                <a:gd name="T15" fmla="*/ 7 h 7"/>
                <a:gd name="T16" fmla="*/ 2 w 5"/>
                <a:gd name="T17" fmla="*/ 7 h 7"/>
                <a:gd name="T18" fmla="*/ 2 w 5"/>
                <a:gd name="T19" fmla="*/ 7 h 7"/>
                <a:gd name="T20" fmla="*/ 2 w 5"/>
                <a:gd name="T21" fmla="*/ 7 h 7"/>
                <a:gd name="T22" fmla="*/ 5 w 5"/>
                <a:gd name="T23" fmla="*/ 4 h 7"/>
                <a:gd name="T24" fmla="*/ 5 w 5"/>
                <a:gd name="T25" fmla="*/ 3 h 7"/>
                <a:gd name="T26" fmla="*/ 4 w 5"/>
                <a:gd name="T27" fmla="*/ 1 h 7"/>
                <a:gd name="T28" fmla="*/ 4 w 5"/>
                <a:gd name="T29" fmla="*/ 1 h 7"/>
                <a:gd name="T30" fmla="*/ 4 w 5"/>
                <a:gd name="T31" fmla="*/ 1 h 7"/>
                <a:gd name="T32" fmla="*/ 4 w 5"/>
                <a:gd name="T33" fmla="*/ 1 h 7"/>
                <a:gd name="T34" fmla="*/ 3 w 5"/>
                <a:gd name="T3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7">
                  <a:moveTo>
                    <a:pt x="3" y="0"/>
                  </a:moveTo>
                  <a:cubicBezTo>
                    <a:pt x="2" y="0"/>
                    <a:pt x="2" y="0"/>
                    <a:pt x="1" y="0"/>
                  </a:cubicBezTo>
                  <a:cubicBezTo>
                    <a:pt x="1" y="1"/>
                    <a:pt x="1" y="1"/>
                    <a:pt x="1" y="1"/>
                  </a:cubicBezTo>
                  <a:cubicBezTo>
                    <a:pt x="1" y="1"/>
                    <a:pt x="1" y="1"/>
                    <a:pt x="1" y="1"/>
                  </a:cubicBezTo>
                  <a:cubicBezTo>
                    <a:pt x="1" y="1"/>
                    <a:pt x="1" y="1"/>
                    <a:pt x="1" y="1"/>
                  </a:cubicBezTo>
                  <a:cubicBezTo>
                    <a:pt x="0" y="2"/>
                    <a:pt x="0" y="4"/>
                    <a:pt x="1" y="5"/>
                  </a:cubicBezTo>
                  <a:cubicBezTo>
                    <a:pt x="1" y="6"/>
                    <a:pt x="1" y="6"/>
                    <a:pt x="1" y="6"/>
                  </a:cubicBezTo>
                  <a:cubicBezTo>
                    <a:pt x="1" y="6"/>
                    <a:pt x="1" y="7"/>
                    <a:pt x="2" y="7"/>
                  </a:cubicBezTo>
                  <a:cubicBezTo>
                    <a:pt x="2" y="7"/>
                    <a:pt x="2" y="7"/>
                    <a:pt x="2" y="7"/>
                  </a:cubicBezTo>
                  <a:cubicBezTo>
                    <a:pt x="2" y="7"/>
                    <a:pt x="2" y="7"/>
                    <a:pt x="2" y="7"/>
                  </a:cubicBezTo>
                  <a:cubicBezTo>
                    <a:pt x="2" y="7"/>
                    <a:pt x="2" y="7"/>
                    <a:pt x="2" y="7"/>
                  </a:cubicBezTo>
                  <a:cubicBezTo>
                    <a:pt x="5" y="7"/>
                    <a:pt x="5" y="5"/>
                    <a:pt x="5" y="4"/>
                  </a:cubicBezTo>
                  <a:cubicBezTo>
                    <a:pt x="5" y="3"/>
                    <a:pt x="5" y="3"/>
                    <a:pt x="5" y="3"/>
                  </a:cubicBezTo>
                  <a:cubicBezTo>
                    <a:pt x="5" y="3"/>
                    <a:pt x="5" y="2"/>
                    <a:pt x="4" y="1"/>
                  </a:cubicBezTo>
                  <a:cubicBezTo>
                    <a:pt x="4" y="1"/>
                    <a:pt x="4" y="1"/>
                    <a:pt x="4" y="1"/>
                  </a:cubicBezTo>
                  <a:cubicBezTo>
                    <a:pt x="4" y="1"/>
                    <a:pt x="4" y="1"/>
                    <a:pt x="4" y="1"/>
                  </a:cubicBezTo>
                  <a:cubicBezTo>
                    <a:pt x="4" y="1"/>
                    <a:pt x="4" y="1"/>
                    <a:pt x="4"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1" name="Freeform 304">
              <a:extLst>
                <a:ext uri="{FF2B5EF4-FFF2-40B4-BE49-F238E27FC236}">
                  <a16:creationId xmlns:a16="http://schemas.microsoft.com/office/drawing/2014/main" id="{FA1BCE2F-CAEC-4DA5-AE01-DF5A853D6CC4}"/>
                </a:ext>
              </a:extLst>
            </p:cNvPr>
            <p:cNvSpPr>
              <a:spLocks/>
            </p:cNvSpPr>
            <p:nvPr/>
          </p:nvSpPr>
          <p:spPr bwMode="auto">
            <a:xfrm>
              <a:off x="8342304" y="1951859"/>
              <a:ext cx="52388" cy="85725"/>
            </a:xfrm>
            <a:custGeom>
              <a:avLst/>
              <a:gdLst>
                <a:gd name="T0" fmla="*/ 8 w 14"/>
                <a:gd name="T1" fmla="*/ 0 h 23"/>
                <a:gd name="T2" fmla="*/ 8 w 14"/>
                <a:gd name="T3" fmla="*/ 0 h 23"/>
                <a:gd name="T4" fmla="*/ 4 w 14"/>
                <a:gd name="T5" fmla="*/ 3 h 23"/>
                <a:gd name="T6" fmla="*/ 1 w 14"/>
                <a:gd name="T7" fmla="*/ 7 h 23"/>
                <a:gd name="T8" fmla="*/ 0 w 14"/>
                <a:gd name="T9" fmla="*/ 8 h 23"/>
                <a:gd name="T10" fmla="*/ 2 w 14"/>
                <a:gd name="T11" fmla="*/ 11 h 23"/>
                <a:gd name="T12" fmla="*/ 4 w 14"/>
                <a:gd name="T13" fmla="*/ 14 h 23"/>
                <a:gd name="T14" fmla="*/ 2 w 14"/>
                <a:gd name="T15" fmla="*/ 15 h 23"/>
                <a:gd name="T16" fmla="*/ 1 w 14"/>
                <a:gd name="T17" fmla="*/ 16 h 23"/>
                <a:gd name="T18" fmla="*/ 2 w 14"/>
                <a:gd name="T19" fmla="*/ 17 h 23"/>
                <a:gd name="T20" fmla="*/ 2 w 14"/>
                <a:gd name="T21" fmla="*/ 17 h 23"/>
                <a:gd name="T22" fmla="*/ 3 w 14"/>
                <a:gd name="T23" fmla="*/ 19 h 23"/>
                <a:gd name="T24" fmla="*/ 5 w 14"/>
                <a:gd name="T25" fmla="*/ 21 h 23"/>
                <a:gd name="T26" fmla="*/ 7 w 14"/>
                <a:gd name="T27" fmla="*/ 22 h 23"/>
                <a:gd name="T28" fmla="*/ 9 w 14"/>
                <a:gd name="T29" fmla="*/ 23 h 23"/>
                <a:gd name="T30" fmla="*/ 13 w 14"/>
                <a:gd name="T31" fmla="*/ 19 h 23"/>
                <a:gd name="T32" fmla="*/ 13 w 14"/>
                <a:gd name="T33" fmla="*/ 5 h 23"/>
                <a:gd name="T34" fmla="*/ 13 w 14"/>
                <a:gd name="T35" fmla="*/ 5 h 23"/>
                <a:gd name="T36" fmla="*/ 13 w 14"/>
                <a:gd name="T37" fmla="*/ 5 h 23"/>
                <a:gd name="T38" fmla="*/ 11 w 14"/>
                <a:gd name="T39" fmla="*/ 2 h 23"/>
                <a:gd name="T40" fmla="*/ 8 w 14"/>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3">
                  <a:moveTo>
                    <a:pt x="8" y="0"/>
                  </a:moveTo>
                  <a:cubicBezTo>
                    <a:pt x="8" y="0"/>
                    <a:pt x="8" y="0"/>
                    <a:pt x="8" y="0"/>
                  </a:cubicBezTo>
                  <a:cubicBezTo>
                    <a:pt x="6" y="0"/>
                    <a:pt x="5" y="2"/>
                    <a:pt x="4" y="3"/>
                  </a:cubicBezTo>
                  <a:cubicBezTo>
                    <a:pt x="3" y="4"/>
                    <a:pt x="2" y="6"/>
                    <a:pt x="1" y="7"/>
                  </a:cubicBezTo>
                  <a:cubicBezTo>
                    <a:pt x="1" y="7"/>
                    <a:pt x="0" y="8"/>
                    <a:pt x="0" y="8"/>
                  </a:cubicBezTo>
                  <a:cubicBezTo>
                    <a:pt x="0" y="9"/>
                    <a:pt x="1" y="10"/>
                    <a:pt x="2" y="11"/>
                  </a:cubicBezTo>
                  <a:cubicBezTo>
                    <a:pt x="3" y="12"/>
                    <a:pt x="4" y="12"/>
                    <a:pt x="4" y="14"/>
                  </a:cubicBezTo>
                  <a:cubicBezTo>
                    <a:pt x="3" y="14"/>
                    <a:pt x="2" y="14"/>
                    <a:pt x="2" y="15"/>
                  </a:cubicBezTo>
                  <a:cubicBezTo>
                    <a:pt x="1" y="16"/>
                    <a:pt x="1" y="16"/>
                    <a:pt x="1" y="16"/>
                  </a:cubicBezTo>
                  <a:cubicBezTo>
                    <a:pt x="1" y="16"/>
                    <a:pt x="2" y="16"/>
                    <a:pt x="2" y="17"/>
                  </a:cubicBezTo>
                  <a:cubicBezTo>
                    <a:pt x="2" y="17"/>
                    <a:pt x="2" y="17"/>
                    <a:pt x="2" y="17"/>
                  </a:cubicBezTo>
                  <a:cubicBezTo>
                    <a:pt x="2" y="18"/>
                    <a:pt x="3" y="19"/>
                    <a:pt x="3" y="19"/>
                  </a:cubicBezTo>
                  <a:cubicBezTo>
                    <a:pt x="3" y="20"/>
                    <a:pt x="4" y="20"/>
                    <a:pt x="5" y="21"/>
                  </a:cubicBezTo>
                  <a:cubicBezTo>
                    <a:pt x="6" y="22"/>
                    <a:pt x="6" y="22"/>
                    <a:pt x="7" y="22"/>
                  </a:cubicBezTo>
                  <a:cubicBezTo>
                    <a:pt x="8" y="23"/>
                    <a:pt x="8" y="23"/>
                    <a:pt x="9" y="23"/>
                  </a:cubicBezTo>
                  <a:cubicBezTo>
                    <a:pt x="11" y="23"/>
                    <a:pt x="13" y="21"/>
                    <a:pt x="13" y="19"/>
                  </a:cubicBezTo>
                  <a:cubicBezTo>
                    <a:pt x="14" y="14"/>
                    <a:pt x="14" y="8"/>
                    <a:pt x="13" y="5"/>
                  </a:cubicBezTo>
                  <a:cubicBezTo>
                    <a:pt x="13" y="5"/>
                    <a:pt x="13" y="5"/>
                    <a:pt x="13" y="5"/>
                  </a:cubicBezTo>
                  <a:cubicBezTo>
                    <a:pt x="13" y="5"/>
                    <a:pt x="13" y="5"/>
                    <a:pt x="13" y="5"/>
                  </a:cubicBezTo>
                  <a:cubicBezTo>
                    <a:pt x="13" y="4"/>
                    <a:pt x="12" y="3"/>
                    <a:pt x="11" y="2"/>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2" name="Freeform 305">
              <a:extLst>
                <a:ext uri="{FF2B5EF4-FFF2-40B4-BE49-F238E27FC236}">
                  <a16:creationId xmlns:a16="http://schemas.microsoft.com/office/drawing/2014/main" id="{C0DE8606-56D8-4775-8554-667FFC8BB163}"/>
                </a:ext>
              </a:extLst>
            </p:cNvPr>
            <p:cNvSpPr>
              <a:spLocks/>
            </p:cNvSpPr>
            <p:nvPr/>
          </p:nvSpPr>
          <p:spPr bwMode="auto">
            <a:xfrm>
              <a:off x="9067791" y="3005959"/>
              <a:ext cx="41275" cy="12700"/>
            </a:xfrm>
            <a:custGeom>
              <a:avLst/>
              <a:gdLst>
                <a:gd name="T0" fmla="*/ 11 w 11"/>
                <a:gd name="T1" fmla="*/ 0 h 3"/>
                <a:gd name="T2" fmla="*/ 8 w 11"/>
                <a:gd name="T3" fmla="*/ 0 h 3"/>
                <a:gd name="T4" fmla="*/ 1 w 11"/>
                <a:gd name="T5" fmla="*/ 2 h 3"/>
                <a:gd name="T6" fmla="*/ 1 w 11"/>
                <a:gd name="T7" fmla="*/ 2 h 3"/>
                <a:gd name="T8" fmla="*/ 0 w 11"/>
                <a:gd name="T9" fmla="*/ 3 h 3"/>
                <a:gd name="T10" fmla="*/ 1 w 11"/>
                <a:gd name="T11" fmla="*/ 3 h 3"/>
                <a:gd name="T12" fmla="*/ 11 w 1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1" y="0"/>
                  </a:moveTo>
                  <a:cubicBezTo>
                    <a:pt x="10" y="0"/>
                    <a:pt x="9" y="0"/>
                    <a:pt x="8" y="0"/>
                  </a:cubicBezTo>
                  <a:cubicBezTo>
                    <a:pt x="5" y="1"/>
                    <a:pt x="3" y="2"/>
                    <a:pt x="1" y="2"/>
                  </a:cubicBezTo>
                  <a:cubicBezTo>
                    <a:pt x="1" y="2"/>
                    <a:pt x="1" y="2"/>
                    <a:pt x="1" y="2"/>
                  </a:cubicBezTo>
                  <a:cubicBezTo>
                    <a:pt x="0" y="3"/>
                    <a:pt x="0" y="3"/>
                    <a:pt x="0" y="3"/>
                  </a:cubicBezTo>
                  <a:cubicBezTo>
                    <a:pt x="0" y="3"/>
                    <a:pt x="1" y="3"/>
                    <a:pt x="1" y="3"/>
                  </a:cubicBezTo>
                  <a:cubicBezTo>
                    <a:pt x="4" y="3"/>
                    <a:pt x="8"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3" name="Freeform 306">
              <a:extLst>
                <a:ext uri="{FF2B5EF4-FFF2-40B4-BE49-F238E27FC236}">
                  <a16:creationId xmlns:a16="http://schemas.microsoft.com/office/drawing/2014/main" id="{F45CFBB3-1DD2-4D6A-800F-F74357B8AEF6}"/>
                </a:ext>
              </a:extLst>
            </p:cNvPr>
            <p:cNvSpPr>
              <a:spLocks/>
            </p:cNvSpPr>
            <p:nvPr/>
          </p:nvSpPr>
          <p:spPr bwMode="auto">
            <a:xfrm>
              <a:off x="7461241" y="1177159"/>
              <a:ext cx="47625" cy="46038"/>
            </a:xfrm>
            <a:custGeom>
              <a:avLst/>
              <a:gdLst>
                <a:gd name="T0" fmla="*/ 8 w 13"/>
                <a:gd name="T1" fmla="*/ 0 h 12"/>
                <a:gd name="T2" fmla="*/ 6 w 13"/>
                <a:gd name="T3" fmla="*/ 0 h 12"/>
                <a:gd name="T4" fmla="*/ 6 w 13"/>
                <a:gd name="T5" fmla="*/ 0 h 12"/>
                <a:gd name="T6" fmla="*/ 2 w 13"/>
                <a:gd name="T7" fmla="*/ 1 h 12"/>
                <a:gd name="T8" fmla="*/ 2 w 13"/>
                <a:gd name="T9" fmla="*/ 1 h 12"/>
                <a:gd name="T10" fmla="*/ 1 w 13"/>
                <a:gd name="T11" fmla="*/ 2 h 12"/>
                <a:gd name="T12" fmla="*/ 1 w 13"/>
                <a:gd name="T13" fmla="*/ 3 h 12"/>
                <a:gd name="T14" fmla="*/ 1 w 13"/>
                <a:gd name="T15" fmla="*/ 3 h 12"/>
                <a:gd name="T16" fmla="*/ 0 w 13"/>
                <a:gd name="T17" fmla="*/ 4 h 12"/>
                <a:gd name="T18" fmla="*/ 0 w 13"/>
                <a:gd name="T19" fmla="*/ 7 h 12"/>
                <a:gd name="T20" fmla="*/ 4 w 13"/>
                <a:gd name="T21" fmla="*/ 11 h 12"/>
                <a:gd name="T22" fmla="*/ 6 w 13"/>
                <a:gd name="T23" fmla="*/ 12 h 12"/>
                <a:gd name="T24" fmla="*/ 10 w 13"/>
                <a:gd name="T25" fmla="*/ 11 h 12"/>
                <a:gd name="T26" fmla="*/ 13 w 13"/>
                <a:gd name="T27" fmla="*/ 8 h 12"/>
                <a:gd name="T28" fmla="*/ 12 w 13"/>
                <a:gd name="T29" fmla="*/ 5 h 12"/>
                <a:gd name="T30" fmla="*/ 11 w 13"/>
                <a:gd name="T31" fmla="*/ 3 h 12"/>
                <a:gd name="T32" fmla="*/ 8 w 13"/>
                <a:gd name="T33" fmla="*/ 0 h 12"/>
                <a:gd name="T34" fmla="*/ 8 w 13"/>
                <a:gd name="T3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2">
                  <a:moveTo>
                    <a:pt x="8" y="0"/>
                  </a:moveTo>
                  <a:cubicBezTo>
                    <a:pt x="7" y="0"/>
                    <a:pt x="7" y="0"/>
                    <a:pt x="6" y="0"/>
                  </a:cubicBezTo>
                  <a:cubicBezTo>
                    <a:pt x="6" y="0"/>
                    <a:pt x="6" y="0"/>
                    <a:pt x="6" y="0"/>
                  </a:cubicBezTo>
                  <a:cubicBezTo>
                    <a:pt x="5" y="0"/>
                    <a:pt x="4" y="0"/>
                    <a:pt x="2" y="1"/>
                  </a:cubicBezTo>
                  <a:cubicBezTo>
                    <a:pt x="2" y="1"/>
                    <a:pt x="2" y="1"/>
                    <a:pt x="2" y="1"/>
                  </a:cubicBezTo>
                  <a:cubicBezTo>
                    <a:pt x="2" y="2"/>
                    <a:pt x="2" y="2"/>
                    <a:pt x="1" y="2"/>
                  </a:cubicBezTo>
                  <a:cubicBezTo>
                    <a:pt x="1" y="3"/>
                    <a:pt x="1" y="3"/>
                    <a:pt x="1" y="3"/>
                  </a:cubicBezTo>
                  <a:cubicBezTo>
                    <a:pt x="1" y="3"/>
                    <a:pt x="1" y="3"/>
                    <a:pt x="1" y="3"/>
                  </a:cubicBezTo>
                  <a:cubicBezTo>
                    <a:pt x="0" y="4"/>
                    <a:pt x="0" y="4"/>
                    <a:pt x="0" y="4"/>
                  </a:cubicBezTo>
                  <a:cubicBezTo>
                    <a:pt x="0" y="5"/>
                    <a:pt x="0" y="6"/>
                    <a:pt x="0" y="7"/>
                  </a:cubicBezTo>
                  <a:cubicBezTo>
                    <a:pt x="1" y="9"/>
                    <a:pt x="2" y="11"/>
                    <a:pt x="4" y="11"/>
                  </a:cubicBezTo>
                  <a:cubicBezTo>
                    <a:pt x="4" y="12"/>
                    <a:pt x="5" y="12"/>
                    <a:pt x="6" y="12"/>
                  </a:cubicBezTo>
                  <a:cubicBezTo>
                    <a:pt x="7" y="12"/>
                    <a:pt x="9" y="11"/>
                    <a:pt x="10" y="11"/>
                  </a:cubicBezTo>
                  <a:cubicBezTo>
                    <a:pt x="12" y="10"/>
                    <a:pt x="12" y="9"/>
                    <a:pt x="13" y="8"/>
                  </a:cubicBezTo>
                  <a:cubicBezTo>
                    <a:pt x="13" y="6"/>
                    <a:pt x="13" y="5"/>
                    <a:pt x="12" y="5"/>
                  </a:cubicBezTo>
                  <a:cubicBezTo>
                    <a:pt x="12" y="4"/>
                    <a:pt x="12" y="4"/>
                    <a:pt x="11" y="3"/>
                  </a:cubicBezTo>
                  <a:cubicBezTo>
                    <a:pt x="10" y="2"/>
                    <a:pt x="9"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4" name="Freeform 307">
              <a:extLst>
                <a:ext uri="{FF2B5EF4-FFF2-40B4-BE49-F238E27FC236}">
                  <a16:creationId xmlns:a16="http://schemas.microsoft.com/office/drawing/2014/main" id="{7BA513FE-611F-4A6A-BAAA-3C03618D3951}"/>
                </a:ext>
              </a:extLst>
            </p:cNvPr>
            <p:cNvSpPr>
              <a:spLocks/>
            </p:cNvSpPr>
            <p:nvPr/>
          </p:nvSpPr>
          <p:spPr bwMode="auto">
            <a:xfrm>
              <a:off x="8193079" y="4606159"/>
              <a:ext cx="85725" cy="57150"/>
            </a:xfrm>
            <a:custGeom>
              <a:avLst/>
              <a:gdLst>
                <a:gd name="T0" fmla="*/ 17 w 23"/>
                <a:gd name="T1" fmla="*/ 0 h 15"/>
                <a:gd name="T2" fmla="*/ 8 w 23"/>
                <a:gd name="T3" fmla="*/ 3 h 15"/>
                <a:gd name="T4" fmla="*/ 7 w 23"/>
                <a:gd name="T5" fmla="*/ 11 h 15"/>
                <a:gd name="T6" fmla="*/ 7 w 23"/>
                <a:gd name="T7" fmla="*/ 15 h 15"/>
                <a:gd name="T8" fmla="*/ 17 w 23"/>
                <a:gd name="T9" fmla="*/ 5 h 15"/>
                <a:gd name="T10" fmla="*/ 20 w 23"/>
                <a:gd name="T11" fmla="*/ 3 h 15"/>
                <a:gd name="T12" fmla="*/ 21 w 23"/>
                <a:gd name="T13" fmla="*/ 3 h 15"/>
                <a:gd name="T14" fmla="*/ 21 w 23"/>
                <a:gd name="T15" fmla="*/ 3 h 15"/>
                <a:gd name="T16" fmla="*/ 23 w 23"/>
                <a:gd name="T17" fmla="*/ 2 h 15"/>
                <a:gd name="T18" fmla="*/ 17 w 2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5">
                  <a:moveTo>
                    <a:pt x="17" y="0"/>
                  </a:moveTo>
                  <a:cubicBezTo>
                    <a:pt x="13" y="0"/>
                    <a:pt x="10" y="1"/>
                    <a:pt x="8" y="3"/>
                  </a:cubicBezTo>
                  <a:cubicBezTo>
                    <a:pt x="4" y="5"/>
                    <a:pt x="0" y="10"/>
                    <a:pt x="7" y="11"/>
                  </a:cubicBezTo>
                  <a:cubicBezTo>
                    <a:pt x="5" y="12"/>
                    <a:pt x="6" y="13"/>
                    <a:pt x="7" y="15"/>
                  </a:cubicBezTo>
                  <a:cubicBezTo>
                    <a:pt x="11" y="11"/>
                    <a:pt x="14" y="8"/>
                    <a:pt x="17" y="5"/>
                  </a:cubicBezTo>
                  <a:cubicBezTo>
                    <a:pt x="19" y="3"/>
                    <a:pt x="19" y="3"/>
                    <a:pt x="20" y="3"/>
                  </a:cubicBezTo>
                  <a:cubicBezTo>
                    <a:pt x="20" y="3"/>
                    <a:pt x="21" y="3"/>
                    <a:pt x="21" y="3"/>
                  </a:cubicBezTo>
                  <a:cubicBezTo>
                    <a:pt x="21" y="3"/>
                    <a:pt x="21" y="3"/>
                    <a:pt x="21" y="3"/>
                  </a:cubicBezTo>
                  <a:cubicBezTo>
                    <a:pt x="22" y="3"/>
                    <a:pt x="22" y="3"/>
                    <a:pt x="23" y="2"/>
                  </a:cubicBezTo>
                  <a:cubicBezTo>
                    <a:pt x="21" y="1"/>
                    <a:pt x="19"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5" name="Freeform 308">
              <a:extLst>
                <a:ext uri="{FF2B5EF4-FFF2-40B4-BE49-F238E27FC236}">
                  <a16:creationId xmlns:a16="http://schemas.microsoft.com/office/drawing/2014/main" id="{4F4BE059-E4BA-4405-A2B3-5E661BFECC05}"/>
                </a:ext>
              </a:extLst>
            </p:cNvPr>
            <p:cNvSpPr>
              <a:spLocks/>
            </p:cNvSpPr>
            <p:nvPr/>
          </p:nvSpPr>
          <p:spPr bwMode="auto">
            <a:xfrm>
              <a:off x="5599104" y="6104760"/>
              <a:ext cx="14288" cy="15875"/>
            </a:xfrm>
            <a:custGeom>
              <a:avLst/>
              <a:gdLst>
                <a:gd name="T0" fmla="*/ 0 w 4"/>
                <a:gd name="T1" fmla="*/ 0 h 4"/>
                <a:gd name="T2" fmla="*/ 3 w 4"/>
                <a:gd name="T3" fmla="*/ 4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cubicBezTo>
                    <a:pt x="0" y="2"/>
                    <a:pt x="1" y="4"/>
                    <a:pt x="3" y="4"/>
                  </a:cubicBezTo>
                  <a:cubicBezTo>
                    <a:pt x="3" y="4"/>
                    <a:pt x="3" y="4"/>
                    <a:pt x="4" y="4"/>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6" name="Freeform 309">
              <a:extLst>
                <a:ext uri="{FF2B5EF4-FFF2-40B4-BE49-F238E27FC236}">
                  <a16:creationId xmlns:a16="http://schemas.microsoft.com/office/drawing/2014/main" id="{B8E9C98B-5DFA-4D0C-977C-3CEFABF741A6}"/>
                </a:ext>
              </a:extLst>
            </p:cNvPr>
            <p:cNvSpPr>
              <a:spLocks/>
            </p:cNvSpPr>
            <p:nvPr/>
          </p:nvSpPr>
          <p:spPr bwMode="auto">
            <a:xfrm>
              <a:off x="9255116" y="5914260"/>
              <a:ext cx="25400" cy="33338"/>
            </a:xfrm>
            <a:custGeom>
              <a:avLst/>
              <a:gdLst>
                <a:gd name="T0" fmla="*/ 7 w 7"/>
                <a:gd name="T1" fmla="*/ 0 h 9"/>
                <a:gd name="T2" fmla="*/ 5 w 7"/>
                <a:gd name="T3" fmla="*/ 2 h 9"/>
                <a:gd name="T4" fmla="*/ 5 w 7"/>
                <a:gd name="T5" fmla="*/ 3 h 9"/>
                <a:gd name="T6" fmla="*/ 3 w 7"/>
                <a:gd name="T7" fmla="*/ 5 h 9"/>
                <a:gd name="T8" fmla="*/ 2 w 7"/>
                <a:gd name="T9" fmla="*/ 6 h 9"/>
                <a:gd name="T10" fmla="*/ 0 w 7"/>
                <a:gd name="T11" fmla="*/ 9 h 9"/>
                <a:gd name="T12" fmla="*/ 7 w 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7" y="0"/>
                  </a:moveTo>
                  <a:cubicBezTo>
                    <a:pt x="6" y="1"/>
                    <a:pt x="6" y="1"/>
                    <a:pt x="5" y="2"/>
                  </a:cubicBezTo>
                  <a:cubicBezTo>
                    <a:pt x="5" y="3"/>
                    <a:pt x="5" y="3"/>
                    <a:pt x="5" y="3"/>
                  </a:cubicBezTo>
                  <a:cubicBezTo>
                    <a:pt x="4" y="3"/>
                    <a:pt x="3" y="4"/>
                    <a:pt x="3" y="5"/>
                  </a:cubicBezTo>
                  <a:cubicBezTo>
                    <a:pt x="2" y="5"/>
                    <a:pt x="2" y="5"/>
                    <a:pt x="2" y="6"/>
                  </a:cubicBezTo>
                  <a:cubicBezTo>
                    <a:pt x="1" y="7"/>
                    <a:pt x="0" y="8"/>
                    <a:pt x="0" y="9"/>
                  </a:cubicBezTo>
                  <a:cubicBezTo>
                    <a:pt x="2" y="6"/>
                    <a:pt x="5"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7" name="Freeform 310">
              <a:extLst>
                <a:ext uri="{FF2B5EF4-FFF2-40B4-BE49-F238E27FC236}">
                  <a16:creationId xmlns:a16="http://schemas.microsoft.com/office/drawing/2014/main" id="{E36CCF2C-A957-40A7-ADC1-AE7C3B8EE980}"/>
                </a:ext>
              </a:extLst>
            </p:cNvPr>
            <p:cNvSpPr>
              <a:spLocks/>
            </p:cNvSpPr>
            <p:nvPr/>
          </p:nvSpPr>
          <p:spPr bwMode="auto">
            <a:xfrm>
              <a:off x="9321791" y="5872985"/>
              <a:ext cx="23813" cy="14288"/>
            </a:xfrm>
            <a:custGeom>
              <a:avLst/>
              <a:gdLst>
                <a:gd name="T0" fmla="*/ 5 w 6"/>
                <a:gd name="T1" fmla="*/ 0 h 4"/>
                <a:gd name="T2" fmla="*/ 0 w 6"/>
                <a:gd name="T3" fmla="*/ 4 h 4"/>
                <a:gd name="T4" fmla="*/ 5 w 6"/>
                <a:gd name="T5" fmla="*/ 0 h 4"/>
              </a:gdLst>
              <a:ahLst/>
              <a:cxnLst>
                <a:cxn ang="0">
                  <a:pos x="T0" y="T1"/>
                </a:cxn>
                <a:cxn ang="0">
                  <a:pos x="T2" y="T3"/>
                </a:cxn>
                <a:cxn ang="0">
                  <a:pos x="T4" y="T5"/>
                </a:cxn>
              </a:cxnLst>
              <a:rect l="0" t="0" r="r" b="b"/>
              <a:pathLst>
                <a:path w="6" h="4">
                  <a:moveTo>
                    <a:pt x="5" y="0"/>
                  </a:moveTo>
                  <a:cubicBezTo>
                    <a:pt x="4" y="2"/>
                    <a:pt x="2" y="3"/>
                    <a:pt x="0" y="4"/>
                  </a:cubicBezTo>
                  <a:cubicBezTo>
                    <a:pt x="3" y="3"/>
                    <a:pt x="6"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8" name="Freeform 311">
              <a:extLst>
                <a:ext uri="{FF2B5EF4-FFF2-40B4-BE49-F238E27FC236}">
                  <a16:creationId xmlns:a16="http://schemas.microsoft.com/office/drawing/2014/main" id="{DD5707B5-D851-46C8-A56C-06D9119C4864}"/>
                </a:ext>
              </a:extLst>
            </p:cNvPr>
            <p:cNvSpPr>
              <a:spLocks/>
            </p:cNvSpPr>
            <p:nvPr/>
          </p:nvSpPr>
          <p:spPr bwMode="auto">
            <a:xfrm>
              <a:off x="9161454" y="2628134"/>
              <a:ext cx="11113" cy="3175"/>
            </a:xfrm>
            <a:custGeom>
              <a:avLst/>
              <a:gdLst>
                <a:gd name="T0" fmla="*/ 7 w 7"/>
                <a:gd name="T1" fmla="*/ 0 h 2"/>
                <a:gd name="T2" fmla="*/ 4 w 7"/>
                <a:gd name="T3" fmla="*/ 0 h 2"/>
                <a:gd name="T4" fmla="*/ 2 w 7"/>
                <a:gd name="T5" fmla="*/ 0 h 2"/>
                <a:gd name="T6" fmla="*/ 2 w 7"/>
                <a:gd name="T7" fmla="*/ 0 h 2"/>
                <a:gd name="T8" fmla="*/ 0 w 7"/>
                <a:gd name="T9" fmla="*/ 0 h 2"/>
                <a:gd name="T10" fmla="*/ 0 w 7"/>
                <a:gd name="T11" fmla="*/ 2 h 2"/>
                <a:gd name="T12" fmla="*/ 2 w 7"/>
                <a:gd name="T13" fmla="*/ 2 h 2"/>
                <a:gd name="T14" fmla="*/ 2 w 7"/>
                <a:gd name="T15" fmla="*/ 2 h 2"/>
                <a:gd name="T16" fmla="*/ 2 w 7"/>
                <a:gd name="T17" fmla="*/ 0 h 2"/>
                <a:gd name="T18" fmla="*/ 4 w 7"/>
                <a:gd name="T19" fmla="*/ 0 h 2"/>
                <a:gd name="T20" fmla="*/ 7 w 7"/>
                <a:gd name="T21" fmla="*/ 0 h 2"/>
                <a:gd name="T22" fmla="*/ 7 w 7"/>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lnTo>
                    <a:pt x="4" y="0"/>
                  </a:lnTo>
                  <a:lnTo>
                    <a:pt x="2" y="0"/>
                  </a:lnTo>
                  <a:lnTo>
                    <a:pt x="2" y="0"/>
                  </a:lnTo>
                  <a:lnTo>
                    <a:pt x="0" y="0"/>
                  </a:lnTo>
                  <a:lnTo>
                    <a:pt x="0" y="2"/>
                  </a:lnTo>
                  <a:lnTo>
                    <a:pt x="2" y="2"/>
                  </a:lnTo>
                  <a:lnTo>
                    <a:pt x="2" y="2"/>
                  </a:lnTo>
                  <a:lnTo>
                    <a:pt x="2" y="0"/>
                  </a:lnTo>
                  <a:lnTo>
                    <a:pt x="4"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9" name="Freeform 312">
              <a:extLst>
                <a:ext uri="{FF2B5EF4-FFF2-40B4-BE49-F238E27FC236}">
                  <a16:creationId xmlns:a16="http://schemas.microsoft.com/office/drawing/2014/main" id="{1F26D35A-2C59-463D-A579-944A1C2F3E7A}"/>
                </a:ext>
              </a:extLst>
            </p:cNvPr>
            <p:cNvSpPr>
              <a:spLocks/>
            </p:cNvSpPr>
            <p:nvPr/>
          </p:nvSpPr>
          <p:spPr bwMode="auto">
            <a:xfrm>
              <a:off x="9161454" y="2628134"/>
              <a:ext cx="11113" cy="3175"/>
            </a:xfrm>
            <a:custGeom>
              <a:avLst/>
              <a:gdLst>
                <a:gd name="T0" fmla="*/ 7 w 7"/>
                <a:gd name="T1" fmla="*/ 0 h 2"/>
                <a:gd name="T2" fmla="*/ 4 w 7"/>
                <a:gd name="T3" fmla="*/ 0 h 2"/>
                <a:gd name="T4" fmla="*/ 2 w 7"/>
                <a:gd name="T5" fmla="*/ 0 h 2"/>
                <a:gd name="T6" fmla="*/ 2 w 7"/>
                <a:gd name="T7" fmla="*/ 0 h 2"/>
                <a:gd name="T8" fmla="*/ 0 w 7"/>
                <a:gd name="T9" fmla="*/ 0 h 2"/>
                <a:gd name="T10" fmla="*/ 0 w 7"/>
                <a:gd name="T11" fmla="*/ 2 h 2"/>
                <a:gd name="T12" fmla="*/ 2 w 7"/>
                <a:gd name="T13" fmla="*/ 2 h 2"/>
                <a:gd name="T14" fmla="*/ 2 w 7"/>
                <a:gd name="T15" fmla="*/ 2 h 2"/>
                <a:gd name="T16" fmla="*/ 2 w 7"/>
                <a:gd name="T17" fmla="*/ 0 h 2"/>
                <a:gd name="T18" fmla="*/ 4 w 7"/>
                <a:gd name="T19" fmla="*/ 0 h 2"/>
                <a:gd name="T20" fmla="*/ 7 w 7"/>
                <a:gd name="T21" fmla="*/ 0 h 2"/>
                <a:gd name="T22" fmla="*/ 7 w 7"/>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lnTo>
                    <a:pt x="4" y="0"/>
                  </a:lnTo>
                  <a:lnTo>
                    <a:pt x="2" y="0"/>
                  </a:lnTo>
                  <a:lnTo>
                    <a:pt x="2" y="0"/>
                  </a:lnTo>
                  <a:lnTo>
                    <a:pt x="0" y="0"/>
                  </a:lnTo>
                  <a:lnTo>
                    <a:pt x="0" y="2"/>
                  </a:lnTo>
                  <a:lnTo>
                    <a:pt x="2" y="2"/>
                  </a:lnTo>
                  <a:lnTo>
                    <a:pt x="2" y="2"/>
                  </a:lnTo>
                  <a:lnTo>
                    <a:pt x="2" y="0"/>
                  </a:lnTo>
                  <a:lnTo>
                    <a:pt x="4" y="0"/>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0" name="Freeform 313">
              <a:extLst>
                <a:ext uri="{FF2B5EF4-FFF2-40B4-BE49-F238E27FC236}">
                  <a16:creationId xmlns:a16="http://schemas.microsoft.com/office/drawing/2014/main" id="{08ABB313-B8B0-4262-8202-CF11A5A817E2}"/>
                </a:ext>
              </a:extLst>
            </p:cNvPr>
            <p:cNvSpPr>
              <a:spLocks/>
            </p:cNvSpPr>
            <p:nvPr/>
          </p:nvSpPr>
          <p:spPr bwMode="auto">
            <a:xfrm>
              <a:off x="7351704" y="1462909"/>
              <a:ext cx="63500" cy="79375"/>
            </a:xfrm>
            <a:custGeom>
              <a:avLst/>
              <a:gdLst>
                <a:gd name="T0" fmla="*/ 8 w 17"/>
                <a:gd name="T1" fmla="*/ 0 h 21"/>
                <a:gd name="T2" fmla="*/ 2 w 17"/>
                <a:gd name="T3" fmla="*/ 12 h 21"/>
                <a:gd name="T4" fmla="*/ 6 w 17"/>
                <a:gd name="T5" fmla="*/ 18 h 21"/>
                <a:gd name="T6" fmla="*/ 12 w 17"/>
                <a:gd name="T7" fmla="*/ 21 h 21"/>
                <a:gd name="T8" fmla="*/ 11 w 17"/>
                <a:gd name="T9" fmla="*/ 18 h 21"/>
                <a:gd name="T10" fmla="*/ 10 w 17"/>
                <a:gd name="T11" fmla="*/ 17 h 21"/>
                <a:gd name="T12" fmla="*/ 10 w 17"/>
                <a:gd name="T13" fmla="*/ 16 h 21"/>
                <a:gd name="T14" fmla="*/ 11 w 17"/>
                <a:gd name="T15" fmla="*/ 14 h 21"/>
                <a:gd name="T16" fmla="*/ 15 w 17"/>
                <a:gd name="T17" fmla="*/ 10 h 21"/>
                <a:gd name="T18" fmla="*/ 15 w 17"/>
                <a:gd name="T19" fmla="*/ 10 h 21"/>
                <a:gd name="T20" fmla="*/ 13 w 17"/>
                <a:gd name="T21" fmla="*/ 12 h 21"/>
                <a:gd name="T22" fmla="*/ 13 w 17"/>
                <a:gd name="T23" fmla="*/ 12 h 21"/>
                <a:gd name="T24" fmla="*/ 12 w 17"/>
                <a:gd name="T25" fmla="*/ 12 h 21"/>
                <a:gd name="T26" fmla="*/ 11 w 17"/>
                <a:gd name="T27" fmla="*/ 12 h 21"/>
                <a:gd name="T28" fmla="*/ 11 w 17"/>
                <a:gd name="T29" fmla="*/ 12 h 21"/>
                <a:gd name="T30" fmla="*/ 9 w 17"/>
                <a:gd name="T31" fmla="*/ 13 h 21"/>
                <a:gd name="T32" fmla="*/ 7 w 17"/>
                <a:gd name="T33" fmla="*/ 15 h 21"/>
                <a:gd name="T34" fmla="*/ 6 w 17"/>
                <a:gd name="T35" fmla="*/ 15 h 21"/>
                <a:gd name="T36" fmla="*/ 5 w 17"/>
                <a:gd name="T37" fmla="*/ 12 h 21"/>
                <a:gd name="T38" fmla="*/ 5 w 17"/>
                <a:gd name="T39" fmla="*/ 8 h 21"/>
                <a:gd name="T40" fmla="*/ 14 w 17"/>
                <a:gd name="T41" fmla="*/ 3 h 21"/>
                <a:gd name="T42" fmla="*/ 13 w 17"/>
                <a:gd name="T43" fmla="*/ 3 h 21"/>
                <a:gd name="T44" fmla="*/ 12 w 17"/>
                <a:gd name="T45" fmla="*/ 3 h 21"/>
                <a:gd name="T46" fmla="*/ 11 w 17"/>
                <a:gd name="T47" fmla="*/ 3 h 21"/>
                <a:gd name="T48" fmla="*/ 11 w 17"/>
                <a:gd name="T49" fmla="*/ 3 h 21"/>
                <a:gd name="T50" fmla="*/ 8 w 17"/>
                <a:gd name="T5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21">
                  <a:moveTo>
                    <a:pt x="8" y="0"/>
                  </a:moveTo>
                  <a:cubicBezTo>
                    <a:pt x="6" y="4"/>
                    <a:pt x="4" y="8"/>
                    <a:pt x="2" y="12"/>
                  </a:cubicBezTo>
                  <a:cubicBezTo>
                    <a:pt x="0" y="16"/>
                    <a:pt x="5" y="16"/>
                    <a:pt x="6" y="18"/>
                  </a:cubicBezTo>
                  <a:cubicBezTo>
                    <a:pt x="9" y="20"/>
                    <a:pt x="8" y="21"/>
                    <a:pt x="12" y="21"/>
                  </a:cubicBezTo>
                  <a:cubicBezTo>
                    <a:pt x="12" y="20"/>
                    <a:pt x="11" y="19"/>
                    <a:pt x="11" y="18"/>
                  </a:cubicBezTo>
                  <a:cubicBezTo>
                    <a:pt x="10" y="17"/>
                    <a:pt x="10" y="17"/>
                    <a:pt x="10" y="17"/>
                  </a:cubicBezTo>
                  <a:cubicBezTo>
                    <a:pt x="10" y="16"/>
                    <a:pt x="10" y="16"/>
                    <a:pt x="10" y="16"/>
                  </a:cubicBezTo>
                  <a:cubicBezTo>
                    <a:pt x="10" y="14"/>
                    <a:pt x="9" y="15"/>
                    <a:pt x="11" y="14"/>
                  </a:cubicBezTo>
                  <a:cubicBezTo>
                    <a:pt x="12" y="13"/>
                    <a:pt x="17" y="10"/>
                    <a:pt x="15" y="10"/>
                  </a:cubicBezTo>
                  <a:cubicBezTo>
                    <a:pt x="15" y="10"/>
                    <a:pt x="15" y="10"/>
                    <a:pt x="15" y="10"/>
                  </a:cubicBezTo>
                  <a:cubicBezTo>
                    <a:pt x="14" y="10"/>
                    <a:pt x="14" y="12"/>
                    <a:pt x="13" y="12"/>
                  </a:cubicBezTo>
                  <a:cubicBezTo>
                    <a:pt x="13" y="12"/>
                    <a:pt x="13" y="12"/>
                    <a:pt x="13" y="12"/>
                  </a:cubicBezTo>
                  <a:cubicBezTo>
                    <a:pt x="12" y="12"/>
                    <a:pt x="12" y="12"/>
                    <a:pt x="12" y="12"/>
                  </a:cubicBezTo>
                  <a:cubicBezTo>
                    <a:pt x="12" y="12"/>
                    <a:pt x="12" y="12"/>
                    <a:pt x="11" y="12"/>
                  </a:cubicBezTo>
                  <a:cubicBezTo>
                    <a:pt x="11" y="12"/>
                    <a:pt x="11" y="12"/>
                    <a:pt x="11" y="12"/>
                  </a:cubicBezTo>
                  <a:cubicBezTo>
                    <a:pt x="10" y="12"/>
                    <a:pt x="9" y="13"/>
                    <a:pt x="9" y="13"/>
                  </a:cubicBezTo>
                  <a:cubicBezTo>
                    <a:pt x="8" y="14"/>
                    <a:pt x="7" y="15"/>
                    <a:pt x="7" y="15"/>
                  </a:cubicBezTo>
                  <a:cubicBezTo>
                    <a:pt x="7" y="15"/>
                    <a:pt x="6" y="15"/>
                    <a:pt x="6" y="15"/>
                  </a:cubicBezTo>
                  <a:cubicBezTo>
                    <a:pt x="2" y="14"/>
                    <a:pt x="5" y="13"/>
                    <a:pt x="5" y="12"/>
                  </a:cubicBezTo>
                  <a:cubicBezTo>
                    <a:pt x="5" y="11"/>
                    <a:pt x="5" y="9"/>
                    <a:pt x="5" y="8"/>
                  </a:cubicBezTo>
                  <a:cubicBezTo>
                    <a:pt x="6" y="5"/>
                    <a:pt x="11" y="6"/>
                    <a:pt x="14" y="3"/>
                  </a:cubicBezTo>
                  <a:cubicBezTo>
                    <a:pt x="13" y="3"/>
                    <a:pt x="13" y="3"/>
                    <a:pt x="13" y="3"/>
                  </a:cubicBezTo>
                  <a:cubicBezTo>
                    <a:pt x="13" y="3"/>
                    <a:pt x="12" y="3"/>
                    <a:pt x="12" y="3"/>
                  </a:cubicBezTo>
                  <a:cubicBezTo>
                    <a:pt x="11" y="3"/>
                    <a:pt x="11" y="3"/>
                    <a:pt x="11" y="3"/>
                  </a:cubicBezTo>
                  <a:cubicBezTo>
                    <a:pt x="11" y="3"/>
                    <a:pt x="11" y="3"/>
                    <a:pt x="11" y="3"/>
                  </a:cubicBezTo>
                  <a:cubicBezTo>
                    <a:pt x="10" y="3"/>
                    <a:pt x="11"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1" name="Freeform 314">
              <a:extLst>
                <a:ext uri="{FF2B5EF4-FFF2-40B4-BE49-F238E27FC236}">
                  <a16:creationId xmlns:a16="http://schemas.microsoft.com/office/drawing/2014/main" id="{44C660E1-3F5B-4FBE-807F-487518C14A54}"/>
                </a:ext>
              </a:extLst>
            </p:cNvPr>
            <p:cNvSpPr>
              <a:spLocks/>
            </p:cNvSpPr>
            <p:nvPr/>
          </p:nvSpPr>
          <p:spPr bwMode="auto">
            <a:xfrm>
              <a:off x="9731366" y="2153472"/>
              <a:ext cx="4763" cy="0"/>
            </a:xfrm>
            <a:custGeom>
              <a:avLst/>
              <a:gdLst>
                <a:gd name="T0" fmla="*/ 0 w 1"/>
                <a:gd name="T1" fmla="*/ 0 w 1"/>
                <a:gd name="T2" fmla="*/ 0 w 1"/>
                <a:gd name="T3" fmla="*/ 0 w 1"/>
                <a:gd name="T4" fmla="*/ 1 w 1"/>
                <a:gd name="T5" fmla="*/ 1 w 1"/>
                <a:gd name="T6" fmla="*/ 1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2" name="Rectangle 315">
              <a:extLst>
                <a:ext uri="{FF2B5EF4-FFF2-40B4-BE49-F238E27FC236}">
                  <a16:creationId xmlns:a16="http://schemas.microsoft.com/office/drawing/2014/main" id="{68603171-03E8-4B29-8438-06E3BAB3DBC8}"/>
                </a:ext>
              </a:extLst>
            </p:cNvPr>
            <p:cNvSpPr>
              <a:spLocks noChangeArrowheads="1"/>
            </p:cNvSpPr>
            <p:nvPr/>
          </p:nvSpPr>
          <p:spPr bwMode="auto">
            <a:xfrm>
              <a:off x="8305791" y="6393685"/>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3" name="Freeform 316">
              <a:extLst>
                <a:ext uri="{FF2B5EF4-FFF2-40B4-BE49-F238E27FC236}">
                  <a16:creationId xmlns:a16="http://schemas.microsoft.com/office/drawing/2014/main" id="{BE9D2B55-30B9-4EA8-A3AB-E93DCEB853DC}"/>
                </a:ext>
              </a:extLst>
            </p:cNvPr>
            <p:cNvSpPr>
              <a:spLocks/>
            </p:cNvSpPr>
            <p:nvPr/>
          </p:nvSpPr>
          <p:spPr bwMode="auto">
            <a:xfrm>
              <a:off x="8305791" y="639368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4" name="Freeform 317">
              <a:extLst>
                <a:ext uri="{FF2B5EF4-FFF2-40B4-BE49-F238E27FC236}">
                  <a16:creationId xmlns:a16="http://schemas.microsoft.com/office/drawing/2014/main" id="{9287967C-6F0C-4EC8-9668-781739F55751}"/>
                </a:ext>
              </a:extLst>
            </p:cNvPr>
            <p:cNvSpPr>
              <a:spLocks/>
            </p:cNvSpPr>
            <p:nvPr/>
          </p:nvSpPr>
          <p:spPr bwMode="auto">
            <a:xfrm>
              <a:off x="8721716" y="5158610"/>
              <a:ext cx="11113" cy="26988"/>
            </a:xfrm>
            <a:custGeom>
              <a:avLst/>
              <a:gdLst>
                <a:gd name="T0" fmla="*/ 3 w 3"/>
                <a:gd name="T1" fmla="*/ 0 h 7"/>
                <a:gd name="T2" fmla="*/ 0 w 3"/>
                <a:gd name="T3" fmla="*/ 5 h 7"/>
                <a:gd name="T4" fmla="*/ 0 w 3"/>
                <a:gd name="T5" fmla="*/ 5 h 7"/>
                <a:gd name="T6" fmla="*/ 0 w 3"/>
                <a:gd name="T7" fmla="*/ 5 h 7"/>
                <a:gd name="T8" fmla="*/ 0 w 3"/>
                <a:gd name="T9" fmla="*/ 7 h 7"/>
                <a:gd name="T10" fmla="*/ 0 w 3"/>
                <a:gd name="T11" fmla="*/ 7 h 7"/>
                <a:gd name="T12" fmla="*/ 0 w 3"/>
                <a:gd name="T13" fmla="*/ 7 h 7"/>
                <a:gd name="T14" fmla="*/ 1 w 3"/>
                <a:gd name="T15" fmla="*/ 6 h 7"/>
                <a:gd name="T16" fmla="*/ 3 w 3"/>
                <a:gd name="T17" fmla="*/ 0 h 7"/>
                <a:gd name="T18" fmla="*/ 3 w 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3" y="0"/>
                  </a:moveTo>
                  <a:cubicBezTo>
                    <a:pt x="2" y="2"/>
                    <a:pt x="1" y="3"/>
                    <a:pt x="0" y="5"/>
                  </a:cubicBezTo>
                  <a:cubicBezTo>
                    <a:pt x="0" y="5"/>
                    <a:pt x="0" y="5"/>
                    <a:pt x="0" y="5"/>
                  </a:cubicBezTo>
                  <a:cubicBezTo>
                    <a:pt x="0" y="5"/>
                    <a:pt x="0" y="5"/>
                    <a:pt x="0" y="5"/>
                  </a:cubicBezTo>
                  <a:cubicBezTo>
                    <a:pt x="0" y="5"/>
                    <a:pt x="0" y="6"/>
                    <a:pt x="0" y="7"/>
                  </a:cubicBezTo>
                  <a:cubicBezTo>
                    <a:pt x="0" y="7"/>
                    <a:pt x="0" y="7"/>
                    <a:pt x="0" y="7"/>
                  </a:cubicBezTo>
                  <a:cubicBezTo>
                    <a:pt x="0" y="7"/>
                    <a:pt x="0" y="7"/>
                    <a:pt x="0" y="7"/>
                  </a:cubicBezTo>
                  <a:cubicBezTo>
                    <a:pt x="1" y="6"/>
                    <a:pt x="1" y="6"/>
                    <a:pt x="1" y="6"/>
                  </a:cubicBezTo>
                  <a:cubicBezTo>
                    <a:pt x="1" y="4"/>
                    <a:pt x="2" y="2"/>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5" name="Freeform 318">
              <a:extLst>
                <a:ext uri="{FF2B5EF4-FFF2-40B4-BE49-F238E27FC236}">
                  <a16:creationId xmlns:a16="http://schemas.microsoft.com/office/drawing/2014/main" id="{186C2BB1-1CD9-447E-BFFC-85204548F25E}"/>
                </a:ext>
              </a:extLst>
            </p:cNvPr>
            <p:cNvSpPr>
              <a:spLocks/>
            </p:cNvSpPr>
            <p:nvPr/>
          </p:nvSpPr>
          <p:spPr bwMode="auto">
            <a:xfrm>
              <a:off x="9032866" y="5117335"/>
              <a:ext cx="0" cy="3175"/>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6" name="Freeform 319">
              <a:extLst>
                <a:ext uri="{FF2B5EF4-FFF2-40B4-BE49-F238E27FC236}">
                  <a16:creationId xmlns:a16="http://schemas.microsoft.com/office/drawing/2014/main" id="{81609124-3121-4A1A-B6FD-A210C25F3613}"/>
                </a:ext>
              </a:extLst>
            </p:cNvPr>
            <p:cNvSpPr>
              <a:spLocks/>
            </p:cNvSpPr>
            <p:nvPr/>
          </p:nvSpPr>
          <p:spPr bwMode="auto">
            <a:xfrm>
              <a:off x="9032866" y="5117335"/>
              <a:ext cx="0" cy="3175"/>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7" name="Freeform 320">
              <a:extLst>
                <a:ext uri="{FF2B5EF4-FFF2-40B4-BE49-F238E27FC236}">
                  <a16:creationId xmlns:a16="http://schemas.microsoft.com/office/drawing/2014/main" id="{DFFE27D5-E4BA-4CE4-A8C2-F23D67206FA1}"/>
                </a:ext>
              </a:extLst>
            </p:cNvPr>
            <p:cNvSpPr>
              <a:spLocks/>
            </p:cNvSpPr>
            <p:nvPr/>
          </p:nvSpPr>
          <p:spPr bwMode="auto">
            <a:xfrm>
              <a:off x="9678979" y="743826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8" name="Freeform 321">
              <a:extLst>
                <a:ext uri="{FF2B5EF4-FFF2-40B4-BE49-F238E27FC236}">
                  <a16:creationId xmlns:a16="http://schemas.microsoft.com/office/drawing/2014/main" id="{E1C33202-0ACB-4843-8D4D-8282E4038AFE}"/>
                </a:ext>
              </a:extLst>
            </p:cNvPr>
            <p:cNvSpPr>
              <a:spLocks/>
            </p:cNvSpPr>
            <p:nvPr/>
          </p:nvSpPr>
          <p:spPr bwMode="auto">
            <a:xfrm>
              <a:off x="8462954" y="8117710"/>
              <a:ext cx="19050" cy="15875"/>
            </a:xfrm>
            <a:custGeom>
              <a:avLst/>
              <a:gdLst>
                <a:gd name="T0" fmla="*/ 0 w 5"/>
                <a:gd name="T1" fmla="*/ 0 h 4"/>
                <a:gd name="T2" fmla="*/ 4 w 5"/>
                <a:gd name="T3" fmla="*/ 4 h 4"/>
                <a:gd name="T4" fmla="*/ 0 w 5"/>
                <a:gd name="T5" fmla="*/ 0 h 4"/>
              </a:gdLst>
              <a:ahLst/>
              <a:cxnLst>
                <a:cxn ang="0">
                  <a:pos x="T0" y="T1"/>
                </a:cxn>
                <a:cxn ang="0">
                  <a:pos x="T2" y="T3"/>
                </a:cxn>
                <a:cxn ang="0">
                  <a:pos x="T4" y="T5"/>
                </a:cxn>
              </a:cxnLst>
              <a:rect l="0" t="0" r="r" b="b"/>
              <a:pathLst>
                <a:path w="5" h="4">
                  <a:moveTo>
                    <a:pt x="0" y="0"/>
                  </a:moveTo>
                  <a:cubicBezTo>
                    <a:pt x="0" y="2"/>
                    <a:pt x="3" y="4"/>
                    <a:pt x="4" y="4"/>
                  </a:cubicBezTo>
                  <a:cubicBezTo>
                    <a:pt x="5" y="4"/>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9" name="Oval 322">
              <a:extLst>
                <a:ext uri="{FF2B5EF4-FFF2-40B4-BE49-F238E27FC236}">
                  <a16:creationId xmlns:a16="http://schemas.microsoft.com/office/drawing/2014/main" id="{ED15A2CB-C40F-4BF9-BBD0-082EC9F9383C}"/>
                </a:ext>
              </a:extLst>
            </p:cNvPr>
            <p:cNvSpPr>
              <a:spLocks noChangeArrowheads="1"/>
            </p:cNvSpPr>
            <p:nvPr/>
          </p:nvSpPr>
          <p:spPr bwMode="auto">
            <a:xfrm>
              <a:off x="9855191" y="5031610"/>
              <a:ext cx="1588" cy="15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0" name="Freeform 323">
              <a:extLst>
                <a:ext uri="{FF2B5EF4-FFF2-40B4-BE49-F238E27FC236}">
                  <a16:creationId xmlns:a16="http://schemas.microsoft.com/office/drawing/2014/main" id="{2B5BAF0C-EC89-411A-92E3-2664C098DCF5}"/>
                </a:ext>
              </a:extLst>
            </p:cNvPr>
            <p:cNvSpPr>
              <a:spLocks/>
            </p:cNvSpPr>
            <p:nvPr/>
          </p:nvSpPr>
          <p:spPr bwMode="auto">
            <a:xfrm>
              <a:off x="9480541" y="533164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1" name="Freeform 324">
              <a:extLst>
                <a:ext uri="{FF2B5EF4-FFF2-40B4-BE49-F238E27FC236}">
                  <a16:creationId xmlns:a16="http://schemas.microsoft.com/office/drawing/2014/main" id="{9CEE6F09-BF64-4AB7-BFF0-51C0CFB534D5}"/>
                </a:ext>
              </a:extLst>
            </p:cNvPr>
            <p:cNvSpPr>
              <a:spLocks/>
            </p:cNvSpPr>
            <p:nvPr/>
          </p:nvSpPr>
          <p:spPr bwMode="auto">
            <a:xfrm>
              <a:off x="9480541" y="5331647"/>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2" name="Freeform 325">
              <a:extLst>
                <a:ext uri="{FF2B5EF4-FFF2-40B4-BE49-F238E27FC236}">
                  <a16:creationId xmlns:a16="http://schemas.microsoft.com/office/drawing/2014/main" id="{C425BA25-93C5-4BA9-9246-00F2AA1594BC}"/>
                </a:ext>
              </a:extLst>
            </p:cNvPr>
            <p:cNvSpPr>
              <a:spLocks noEditPoints="1"/>
            </p:cNvSpPr>
            <p:nvPr/>
          </p:nvSpPr>
          <p:spPr bwMode="auto">
            <a:xfrm>
              <a:off x="9480541" y="5315772"/>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close/>
                  <a:moveTo>
                    <a:pt x="0" y="0"/>
                  </a:move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3" name="Freeform 326">
              <a:extLst>
                <a:ext uri="{FF2B5EF4-FFF2-40B4-BE49-F238E27FC236}">
                  <a16:creationId xmlns:a16="http://schemas.microsoft.com/office/drawing/2014/main" id="{89579009-D9E6-4C8A-8078-D5A2755C85C0}"/>
                </a:ext>
              </a:extLst>
            </p:cNvPr>
            <p:cNvSpPr>
              <a:spLocks noEditPoints="1"/>
            </p:cNvSpPr>
            <p:nvPr/>
          </p:nvSpPr>
          <p:spPr bwMode="auto">
            <a:xfrm>
              <a:off x="9480541" y="5315772"/>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4" name="Freeform 327">
              <a:extLst>
                <a:ext uri="{FF2B5EF4-FFF2-40B4-BE49-F238E27FC236}">
                  <a16:creationId xmlns:a16="http://schemas.microsoft.com/office/drawing/2014/main" id="{E7F49C21-13D1-4A4A-90D5-7D6435A28A5C}"/>
                </a:ext>
              </a:extLst>
            </p:cNvPr>
            <p:cNvSpPr>
              <a:spLocks/>
            </p:cNvSpPr>
            <p:nvPr/>
          </p:nvSpPr>
          <p:spPr bwMode="auto">
            <a:xfrm>
              <a:off x="9186854" y="501891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5" name="Freeform 328">
              <a:extLst>
                <a:ext uri="{FF2B5EF4-FFF2-40B4-BE49-F238E27FC236}">
                  <a16:creationId xmlns:a16="http://schemas.microsoft.com/office/drawing/2014/main" id="{74D3DE06-E1F4-4504-8161-03A4559C19C6}"/>
                </a:ext>
              </a:extLst>
            </p:cNvPr>
            <p:cNvSpPr>
              <a:spLocks/>
            </p:cNvSpPr>
            <p:nvPr/>
          </p:nvSpPr>
          <p:spPr bwMode="auto">
            <a:xfrm>
              <a:off x="9186854" y="501891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6" name="Freeform 329">
              <a:extLst>
                <a:ext uri="{FF2B5EF4-FFF2-40B4-BE49-F238E27FC236}">
                  <a16:creationId xmlns:a16="http://schemas.microsoft.com/office/drawing/2014/main" id="{1BC88648-2FC6-469D-9450-4F946DCCDA0C}"/>
                </a:ext>
              </a:extLst>
            </p:cNvPr>
            <p:cNvSpPr>
              <a:spLocks/>
            </p:cNvSpPr>
            <p:nvPr/>
          </p:nvSpPr>
          <p:spPr bwMode="auto">
            <a:xfrm>
              <a:off x="9480541" y="531577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7" name="Freeform 330">
              <a:extLst>
                <a:ext uri="{FF2B5EF4-FFF2-40B4-BE49-F238E27FC236}">
                  <a16:creationId xmlns:a16="http://schemas.microsoft.com/office/drawing/2014/main" id="{87239AFB-F09D-4F09-9B82-293FF70641D1}"/>
                </a:ext>
              </a:extLst>
            </p:cNvPr>
            <p:cNvSpPr>
              <a:spLocks/>
            </p:cNvSpPr>
            <p:nvPr/>
          </p:nvSpPr>
          <p:spPr bwMode="auto">
            <a:xfrm>
              <a:off x="9480541" y="5315772"/>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8" name="Freeform 331">
              <a:extLst>
                <a:ext uri="{FF2B5EF4-FFF2-40B4-BE49-F238E27FC236}">
                  <a16:creationId xmlns:a16="http://schemas.microsoft.com/office/drawing/2014/main" id="{5B1A8A9D-31AB-45B7-9C34-3CE2C60CD00E}"/>
                </a:ext>
              </a:extLst>
            </p:cNvPr>
            <p:cNvSpPr>
              <a:spLocks noEditPoints="1"/>
            </p:cNvSpPr>
            <p:nvPr/>
          </p:nvSpPr>
          <p:spPr bwMode="auto">
            <a:xfrm>
              <a:off x="9480541" y="5342760"/>
              <a:ext cx="3175" cy="11113"/>
            </a:xfrm>
            <a:custGeom>
              <a:avLst/>
              <a:gdLst>
                <a:gd name="T0" fmla="*/ 1 w 1"/>
                <a:gd name="T1" fmla="*/ 0 h 3"/>
                <a:gd name="T2" fmla="*/ 0 w 1"/>
                <a:gd name="T3" fmla="*/ 3 h 3"/>
                <a:gd name="T4" fmla="*/ 1 w 1"/>
                <a:gd name="T5" fmla="*/ 0 h 3"/>
                <a:gd name="T6" fmla="*/ 1 w 1"/>
                <a:gd name="T7" fmla="*/ 0 h 3"/>
                <a:gd name="T8" fmla="*/ 1 w 1"/>
                <a:gd name="T9" fmla="*/ 0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1" y="1"/>
                    <a:pt x="0" y="2"/>
                    <a:pt x="0" y="3"/>
                  </a:cubicBezTo>
                  <a:cubicBezTo>
                    <a:pt x="0" y="2"/>
                    <a:pt x="1" y="1"/>
                    <a:pt x="1" y="0"/>
                  </a:cubicBezTo>
                  <a:moveTo>
                    <a:pt x="1" y="0"/>
                  </a:move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9" name="Freeform 332">
              <a:extLst>
                <a:ext uri="{FF2B5EF4-FFF2-40B4-BE49-F238E27FC236}">
                  <a16:creationId xmlns:a16="http://schemas.microsoft.com/office/drawing/2014/main" id="{18F65816-61B9-428C-BE55-5B4B17394CD0}"/>
                </a:ext>
              </a:extLst>
            </p:cNvPr>
            <p:cNvSpPr>
              <a:spLocks/>
            </p:cNvSpPr>
            <p:nvPr/>
          </p:nvSpPr>
          <p:spPr bwMode="auto">
            <a:xfrm>
              <a:off x="9863129" y="503161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0" name="Freeform 333">
              <a:extLst>
                <a:ext uri="{FF2B5EF4-FFF2-40B4-BE49-F238E27FC236}">
                  <a16:creationId xmlns:a16="http://schemas.microsoft.com/office/drawing/2014/main" id="{6F5AEBC3-98BD-42A8-A710-DCA5201EDF6C}"/>
                </a:ext>
              </a:extLst>
            </p:cNvPr>
            <p:cNvSpPr>
              <a:spLocks/>
            </p:cNvSpPr>
            <p:nvPr/>
          </p:nvSpPr>
          <p:spPr bwMode="auto">
            <a:xfrm>
              <a:off x="9802804" y="5304660"/>
              <a:ext cx="19050" cy="15875"/>
            </a:xfrm>
            <a:custGeom>
              <a:avLst/>
              <a:gdLst>
                <a:gd name="T0" fmla="*/ 5 w 5"/>
                <a:gd name="T1" fmla="*/ 0 h 4"/>
                <a:gd name="T2" fmla="*/ 0 w 5"/>
                <a:gd name="T3" fmla="*/ 3 h 4"/>
                <a:gd name="T4" fmla="*/ 5 w 5"/>
                <a:gd name="T5" fmla="*/ 4 h 4"/>
                <a:gd name="T6" fmla="*/ 5 w 5"/>
                <a:gd name="T7" fmla="*/ 0 h 4"/>
              </a:gdLst>
              <a:ahLst/>
              <a:cxnLst>
                <a:cxn ang="0">
                  <a:pos x="T0" y="T1"/>
                </a:cxn>
                <a:cxn ang="0">
                  <a:pos x="T2" y="T3"/>
                </a:cxn>
                <a:cxn ang="0">
                  <a:pos x="T4" y="T5"/>
                </a:cxn>
                <a:cxn ang="0">
                  <a:pos x="T6" y="T7"/>
                </a:cxn>
              </a:cxnLst>
              <a:rect l="0" t="0" r="r" b="b"/>
              <a:pathLst>
                <a:path w="5" h="4">
                  <a:moveTo>
                    <a:pt x="5" y="0"/>
                  </a:moveTo>
                  <a:cubicBezTo>
                    <a:pt x="3" y="2"/>
                    <a:pt x="2" y="3"/>
                    <a:pt x="0" y="3"/>
                  </a:cubicBezTo>
                  <a:cubicBezTo>
                    <a:pt x="2" y="4"/>
                    <a:pt x="3" y="4"/>
                    <a:pt x="5" y="4"/>
                  </a:cubicBezTo>
                  <a:cubicBezTo>
                    <a:pt x="5"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1" name="Freeform 334">
              <a:extLst>
                <a:ext uri="{FF2B5EF4-FFF2-40B4-BE49-F238E27FC236}">
                  <a16:creationId xmlns:a16="http://schemas.microsoft.com/office/drawing/2014/main" id="{87BABE04-E1DF-4EFE-B5A8-AEDA0B3045B7}"/>
                </a:ext>
              </a:extLst>
            </p:cNvPr>
            <p:cNvSpPr>
              <a:spLocks/>
            </p:cNvSpPr>
            <p:nvPr/>
          </p:nvSpPr>
          <p:spPr bwMode="auto">
            <a:xfrm>
              <a:off x="9758354" y="5298310"/>
              <a:ext cx="22225" cy="14288"/>
            </a:xfrm>
            <a:custGeom>
              <a:avLst/>
              <a:gdLst>
                <a:gd name="T0" fmla="*/ 4 w 6"/>
                <a:gd name="T1" fmla="*/ 0 h 4"/>
                <a:gd name="T2" fmla="*/ 0 w 6"/>
                <a:gd name="T3" fmla="*/ 3 h 4"/>
                <a:gd name="T4" fmla="*/ 3 w 6"/>
                <a:gd name="T5" fmla="*/ 4 h 4"/>
                <a:gd name="T6" fmla="*/ 5 w 6"/>
                <a:gd name="T7" fmla="*/ 0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cubicBezTo>
                    <a:pt x="2" y="0"/>
                    <a:pt x="1" y="2"/>
                    <a:pt x="0" y="3"/>
                  </a:cubicBezTo>
                  <a:cubicBezTo>
                    <a:pt x="1" y="3"/>
                    <a:pt x="2" y="4"/>
                    <a:pt x="3" y="4"/>
                  </a:cubicBezTo>
                  <a:cubicBezTo>
                    <a:pt x="5" y="4"/>
                    <a:pt x="6" y="3"/>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2" name="Freeform 335">
              <a:extLst>
                <a:ext uri="{FF2B5EF4-FFF2-40B4-BE49-F238E27FC236}">
                  <a16:creationId xmlns:a16="http://schemas.microsoft.com/office/drawing/2014/main" id="{CCDE2AF4-8305-4E16-9930-CDE255B6C26C}"/>
                </a:ext>
              </a:extLst>
            </p:cNvPr>
            <p:cNvSpPr>
              <a:spLocks/>
            </p:cNvSpPr>
            <p:nvPr/>
          </p:nvSpPr>
          <p:spPr bwMode="auto">
            <a:xfrm>
              <a:off x="9494829" y="5331647"/>
              <a:ext cx="165100" cy="52388"/>
            </a:xfrm>
            <a:custGeom>
              <a:avLst/>
              <a:gdLst>
                <a:gd name="T0" fmla="*/ 35 w 44"/>
                <a:gd name="T1" fmla="*/ 0 h 14"/>
                <a:gd name="T2" fmla="*/ 20 w 44"/>
                <a:gd name="T3" fmla="*/ 5 h 14"/>
                <a:gd name="T4" fmla="*/ 13 w 44"/>
                <a:gd name="T5" fmla="*/ 6 h 14"/>
                <a:gd name="T6" fmla="*/ 11 w 44"/>
                <a:gd name="T7" fmla="*/ 6 h 14"/>
                <a:gd name="T8" fmla="*/ 9 w 44"/>
                <a:gd name="T9" fmla="*/ 6 h 14"/>
                <a:gd name="T10" fmla="*/ 8 w 44"/>
                <a:gd name="T11" fmla="*/ 6 h 14"/>
                <a:gd name="T12" fmla="*/ 3 w 44"/>
                <a:gd name="T13" fmla="*/ 9 h 14"/>
                <a:gd name="T14" fmla="*/ 2 w 44"/>
                <a:gd name="T15" fmla="*/ 8 h 14"/>
                <a:gd name="T16" fmla="*/ 2 w 44"/>
                <a:gd name="T17" fmla="*/ 8 h 14"/>
                <a:gd name="T18" fmla="*/ 1 w 44"/>
                <a:gd name="T19" fmla="*/ 9 h 14"/>
                <a:gd name="T20" fmla="*/ 1 w 44"/>
                <a:gd name="T21" fmla="*/ 9 h 14"/>
                <a:gd name="T22" fmla="*/ 0 w 44"/>
                <a:gd name="T23" fmla="*/ 9 h 14"/>
                <a:gd name="T24" fmla="*/ 0 w 44"/>
                <a:gd name="T25" fmla="*/ 10 h 14"/>
                <a:gd name="T26" fmla="*/ 1 w 44"/>
                <a:gd name="T27" fmla="*/ 12 h 14"/>
                <a:gd name="T28" fmla="*/ 0 w 44"/>
                <a:gd name="T29" fmla="*/ 14 h 14"/>
                <a:gd name="T30" fmla="*/ 0 w 44"/>
                <a:gd name="T31" fmla="*/ 14 h 14"/>
                <a:gd name="T32" fmla="*/ 8 w 44"/>
                <a:gd name="T33" fmla="*/ 13 h 14"/>
                <a:gd name="T34" fmla="*/ 11 w 44"/>
                <a:gd name="T35" fmla="*/ 13 h 14"/>
                <a:gd name="T36" fmla="*/ 15 w 44"/>
                <a:gd name="T37" fmla="*/ 12 h 14"/>
                <a:gd name="T38" fmla="*/ 22 w 44"/>
                <a:gd name="T39" fmla="*/ 11 h 14"/>
                <a:gd name="T40" fmla="*/ 24 w 44"/>
                <a:gd name="T41" fmla="*/ 10 h 14"/>
                <a:gd name="T42" fmla="*/ 25 w 44"/>
                <a:gd name="T43" fmla="*/ 10 h 14"/>
                <a:gd name="T44" fmla="*/ 29 w 44"/>
                <a:gd name="T45" fmla="*/ 9 h 14"/>
                <a:gd name="T46" fmla="*/ 30 w 44"/>
                <a:gd name="T47" fmla="*/ 8 h 14"/>
                <a:gd name="T48" fmla="*/ 31 w 44"/>
                <a:gd name="T49" fmla="*/ 8 h 14"/>
                <a:gd name="T50" fmla="*/ 32 w 44"/>
                <a:gd name="T51" fmla="*/ 8 h 14"/>
                <a:gd name="T52" fmla="*/ 35 w 44"/>
                <a:gd name="T53" fmla="*/ 6 h 14"/>
                <a:gd name="T54" fmla="*/ 44 w 44"/>
                <a:gd name="T55" fmla="*/ 3 h 14"/>
                <a:gd name="T56" fmla="*/ 31 w 44"/>
                <a:gd name="T57" fmla="*/ 3 h 14"/>
                <a:gd name="T58" fmla="*/ 35 w 44"/>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14">
                  <a:moveTo>
                    <a:pt x="35" y="0"/>
                  </a:moveTo>
                  <a:cubicBezTo>
                    <a:pt x="30" y="1"/>
                    <a:pt x="25" y="3"/>
                    <a:pt x="20" y="5"/>
                  </a:cubicBezTo>
                  <a:cubicBezTo>
                    <a:pt x="17" y="5"/>
                    <a:pt x="15" y="5"/>
                    <a:pt x="13" y="6"/>
                  </a:cubicBezTo>
                  <a:cubicBezTo>
                    <a:pt x="12" y="6"/>
                    <a:pt x="11" y="6"/>
                    <a:pt x="11" y="6"/>
                  </a:cubicBezTo>
                  <a:cubicBezTo>
                    <a:pt x="10" y="6"/>
                    <a:pt x="10" y="6"/>
                    <a:pt x="9" y="6"/>
                  </a:cubicBezTo>
                  <a:cubicBezTo>
                    <a:pt x="9" y="6"/>
                    <a:pt x="8" y="6"/>
                    <a:pt x="8" y="6"/>
                  </a:cubicBezTo>
                  <a:cubicBezTo>
                    <a:pt x="5" y="6"/>
                    <a:pt x="2" y="6"/>
                    <a:pt x="3" y="9"/>
                  </a:cubicBezTo>
                  <a:cubicBezTo>
                    <a:pt x="2" y="8"/>
                    <a:pt x="2" y="8"/>
                    <a:pt x="2" y="8"/>
                  </a:cubicBezTo>
                  <a:cubicBezTo>
                    <a:pt x="2" y="8"/>
                    <a:pt x="2" y="8"/>
                    <a:pt x="2" y="8"/>
                  </a:cubicBezTo>
                  <a:cubicBezTo>
                    <a:pt x="1" y="8"/>
                    <a:pt x="1" y="8"/>
                    <a:pt x="1" y="9"/>
                  </a:cubicBezTo>
                  <a:cubicBezTo>
                    <a:pt x="1" y="9"/>
                    <a:pt x="1" y="9"/>
                    <a:pt x="1" y="9"/>
                  </a:cubicBezTo>
                  <a:cubicBezTo>
                    <a:pt x="0" y="9"/>
                    <a:pt x="0" y="9"/>
                    <a:pt x="0" y="9"/>
                  </a:cubicBezTo>
                  <a:cubicBezTo>
                    <a:pt x="0" y="10"/>
                    <a:pt x="0" y="10"/>
                    <a:pt x="0" y="10"/>
                  </a:cubicBezTo>
                  <a:cubicBezTo>
                    <a:pt x="1" y="10"/>
                    <a:pt x="1" y="11"/>
                    <a:pt x="1" y="12"/>
                  </a:cubicBezTo>
                  <a:cubicBezTo>
                    <a:pt x="1" y="13"/>
                    <a:pt x="1" y="13"/>
                    <a:pt x="0" y="14"/>
                  </a:cubicBezTo>
                  <a:cubicBezTo>
                    <a:pt x="0" y="14"/>
                    <a:pt x="0" y="14"/>
                    <a:pt x="0" y="14"/>
                  </a:cubicBezTo>
                  <a:cubicBezTo>
                    <a:pt x="3" y="14"/>
                    <a:pt x="6" y="14"/>
                    <a:pt x="8" y="13"/>
                  </a:cubicBezTo>
                  <a:cubicBezTo>
                    <a:pt x="9" y="13"/>
                    <a:pt x="10" y="13"/>
                    <a:pt x="11" y="13"/>
                  </a:cubicBezTo>
                  <a:cubicBezTo>
                    <a:pt x="12" y="12"/>
                    <a:pt x="14" y="12"/>
                    <a:pt x="15" y="12"/>
                  </a:cubicBezTo>
                  <a:cubicBezTo>
                    <a:pt x="16" y="12"/>
                    <a:pt x="20" y="11"/>
                    <a:pt x="22" y="11"/>
                  </a:cubicBezTo>
                  <a:cubicBezTo>
                    <a:pt x="23" y="10"/>
                    <a:pt x="23" y="10"/>
                    <a:pt x="24" y="10"/>
                  </a:cubicBezTo>
                  <a:cubicBezTo>
                    <a:pt x="25" y="10"/>
                    <a:pt x="25" y="10"/>
                    <a:pt x="25" y="10"/>
                  </a:cubicBezTo>
                  <a:cubicBezTo>
                    <a:pt x="26" y="9"/>
                    <a:pt x="27" y="10"/>
                    <a:pt x="29" y="9"/>
                  </a:cubicBezTo>
                  <a:cubicBezTo>
                    <a:pt x="29" y="9"/>
                    <a:pt x="30" y="9"/>
                    <a:pt x="30" y="8"/>
                  </a:cubicBezTo>
                  <a:cubicBezTo>
                    <a:pt x="30" y="8"/>
                    <a:pt x="31" y="8"/>
                    <a:pt x="31" y="8"/>
                  </a:cubicBezTo>
                  <a:cubicBezTo>
                    <a:pt x="32" y="8"/>
                    <a:pt x="32" y="8"/>
                    <a:pt x="32" y="8"/>
                  </a:cubicBezTo>
                  <a:cubicBezTo>
                    <a:pt x="33" y="7"/>
                    <a:pt x="34" y="7"/>
                    <a:pt x="35" y="6"/>
                  </a:cubicBezTo>
                  <a:cubicBezTo>
                    <a:pt x="38" y="5"/>
                    <a:pt x="41" y="4"/>
                    <a:pt x="44" y="3"/>
                  </a:cubicBezTo>
                  <a:cubicBezTo>
                    <a:pt x="40" y="3"/>
                    <a:pt x="35" y="3"/>
                    <a:pt x="31" y="3"/>
                  </a:cubicBezTo>
                  <a:cubicBezTo>
                    <a:pt x="32" y="2"/>
                    <a:pt x="33"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3" name="Freeform 336">
              <a:extLst>
                <a:ext uri="{FF2B5EF4-FFF2-40B4-BE49-F238E27FC236}">
                  <a16:creationId xmlns:a16="http://schemas.microsoft.com/office/drawing/2014/main" id="{17ED6A78-2A4E-463B-AC01-3C21E825C8FF}"/>
                </a:ext>
              </a:extLst>
            </p:cNvPr>
            <p:cNvSpPr>
              <a:spLocks/>
            </p:cNvSpPr>
            <p:nvPr/>
          </p:nvSpPr>
          <p:spPr bwMode="auto">
            <a:xfrm>
              <a:off x="10306041" y="4655372"/>
              <a:ext cx="217488" cy="120650"/>
            </a:xfrm>
            <a:custGeom>
              <a:avLst/>
              <a:gdLst>
                <a:gd name="T0" fmla="*/ 11 w 58"/>
                <a:gd name="T1" fmla="*/ 0 h 32"/>
                <a:gd name="T2" fmla="*/ 7 w 58"/>
                <a:gd name="T3" fmla="*/ 3 h 32"/>
                <a:gd name="T4" fmla="*/ 4 w 58"/>
                <a:gd name="T5" fmla="*/ 7 h 32"/>
                <a:gd name="T6" fmla="*/ 3 w 58"/>
                <a:gd name="T7" fmla="*/ 12 h 32"/>
                <a:gd name="T8" fmla="*/ 7 w 58"/>
                <a:gd name="T9" fmla="*/ 13 h 32"/>
                <a:gd name="T10" fmla="*/ 9 w 58"/>
                <a:gd name="T11" fmla="*/ 12 h 32"/>
                <a:gd name="T12" fmla="*/ 10 w 58"/>
                <a:gd name="T13" fmla="*/ 19 h 32"/>
                <a:gd name="T14" fmla="*/ 10 w 58"/>
                <a:gd name="T15" fmla="*/ 19 h 32"/>
                <a:gd name="T16" fmla="*/ 11 w 58"/>
                <a:gd name="T17" fmla="*/ 19 h 32"/>
                <a:gd name="T18" fmla="*/ 12 w 58"/>
                <a:gd name="T19" fmla="*/ 19 h 32"/>
                <a:gd name="T20" fmla="*/ 13 w 58"/>
                <a:gd name="T21" fmla="*/ 19 h 32"/>
                <a:gd name="T22" fmla="*/ 16 w 58"/>
                <a:gd name="T23" fmla="*/ 22 h 32"/>
                <a:gd name="T24" fmla="*/ 23 w 58"/>
                <a:gd name="T25" fmla="*/ 25 h 32"/>
                <a:gd name="T26" fmla="*/ 27 w 58"/>
                <a:gd name="T27" fmla="*/ 26 h 32"/>
                <a:gd name="T28" fmla="*/ 28 w 58"/>
                <a:gd name="T29" fmla="*/ 26 h 32"/>
                <a:gd name="T30" fmla="*/ 28 w 58"/>
                <a:gd name="T31" fmla="*/ 26 h 32"/>
                <a:gd name="T32" fmla="*/ 30 w 58"/>
                <a:gd name="T33" fmla="*/ 23 h 32"/>
                <a:gd name="T34" fmla="*/ 33 w 58"/>
                <a:gd name="T35" fmla="*/ 27 h 32"/>
                <a:gd name="T36" fmla="*/ 37 w 58"/>
                <a:gd name="T37" fmla="*/ 31 h 32"/>
                <a:gd name="T38" fmla="*/ 41 w 58"/>
                <a:gd name="T39" fmla="*/ 32 h 32"/>
                <a:gd name="T40" fmla="*/ 46 w 58"/>
                <a:gd name="T41" fmla="*/ 30 h 32"/>
                <a:gd name="T42" fmla="*/ 44 w 58"/>
                <a:gd name="T43" fmla="*/ 29 h 32"/>
                <a:gd name="T44" fmla="*/ 46 w 58"/>
                <a:gd name="T45" fmla="*/ 28 h 32"/>
                <a:gd name="T46" fmla="*/ 43 w 58"/>
                <a:gd name="T47" fmla="*/ 25 h 32"/>
                <a:gd name="T48" fmla="*/ 44 w 58"/>
                <a:gd name="T49" fmla="*/ 25 h 32"/>
                <a:gd name="T50" fmla="*/ 45 w 58"/>
                <a:gd name="T51" fmla="*/ 25 h 32"/>
                <a:gd name="T52" fmla="*/ 45 w 58"/>
                <a:gd name="T53" fmla="*/ 24 h 32"/>
                <a:gd name="T54" fmla="*/ 46 w 58"/>
                <a:gd name="T55" fmla="*/ 24 h 32"/>
                <a:gd name="T56" fmla="*/ 46 w 58"/>
                <a:gd name="T57" fmla="*/ 23 h 32"/>
                <a:gd name="T58" fmla="*/ 47 w 58"/>
                <a:gd name="T59" fmla="*/ 23 h 32"/>
                <a:gd name="T60" fmla="*/ 48 w 58"/>
                <a:gd name="T61" fmla="*/ 22 h 32"/>
                <a:gd name="T62" fmla="*/ 49 w 58"/>
                <a:gd name="T63" fmla="*/ 21 h 32"/>
                <a:gd name="T64" fmla="*/ 58 w 58"/>
                <a:gd name="T65" fmla="*/ 17 h 32"/>
                <a:gd name="T66" fmla="*/ 53 w 58"/>
                <a:gd name="T67" fmla="*/ 17 h 32"/>
                <a:gd name="T68" fmla="*/ 49 w 58"/>
                <a:gd name="T69" fmla="*/ 17 h 32"/>
                <a:gd name="T70" fmla="*/ 13 w 58"/>
                <a:gd name="T71" fmla="*/ 17 h 32"/>
                <a:gd name="T72" fmla="*/ 13 w 58"/>
                <a:gd name="T73" fmla="*/ 13 h 32"/>
                <a:gd name="T74" fmla="*/ 9 w 58"/>
                <a:gd name="T75" fmla="*/ 7 h 32"/>
                <a:gd name="T76" fmla="*/ 11 w 58"/>
                <a:gd name="T77" fmla="*/ 5 h 32"/>
                <a:gd name="T78" fmla="*/ 11 w 58"/>
                <a:gd name="T7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 h="32">
                  <a:moveTo>
                    <a:pt x="11" y="0"/>
                  </a:moveTo>
                  <a:cubicBezTo>
                    <a:pt x="9" y="1"/>
                    <a:pt x="8" y="2"/>
                    <a:pt x="7" y="3"/>
                  </a:cubicBezTo>
                  <a:cubicBezTo>
                    <a:pt x="5" y="4"/>
                    <a:pt x="5" y="6"/>
                    <a:pt x="4" y="7"/>
                  </a:cubicBezTo>
                  <a:cubicBezTo>
                    <a:pt x="2" y="10"/>
                    <a:pt x="0" y="11"/>
                    <a:pt x="3" y="12"/>
                  </a:cubicBezTo>
                  <a:cubicBezTo>
                    <a:pt x="4" y="13"/>
                    <a:pt x="5" y="13"/>
                    <a:pt x="7" y="13"/>
                  </a:cubicBezTo>
                  <a:cubicBezTo>
                    <a:pt x="8" y="13"/>
                    <a:pt x="9" y="13"/>
                    <a:pt x="9" y="12"/>
                  </a:cubicBezTo>
                  <a:cubicBezTo>
                    <a:pt x="10" y="15"/>
                    <a:pt x="5" y="19"/>
                    <a:pt x="10" y="19"/>
                  </a:cubicBezTo>
                  <a:cubicBezTo>
                    <a:pt x="10" y="19"/>
                    <a:pt x="10" y="19"/>
                    <a:pt x="10" y="19"/>
                  </a:cubicBezTo>
                  <a:cubicBezTo>
                    <a:pt x="11" y="19"/>
                    <a:pt x="11" y="19"/>
                    <a:pt x="11" y="19"/>
                  </a:cubicBezTo>
                  <a:cubicBezTo>
                    <a:pt x="12" y="19"/>
                    <a:pt x="12" y="19"/>
                    <a:pt x="12" y="19"/>
                  </a:cubicBezTo>
                  <a:cubicBezTo>
                    <a:pt x="12" y="19"/>
                    <a:pt x="13" y="19"/>
                    <a:pt x="13" y="19"/>
                  </a:cubicBezTo>
                  <a:cubicBezTo>
                    <a:pt x="14" y="19"/>
                    <a:pt x="15" y="20"/>
                    <a:pt x="16" y="22"/>
                  </a:cubicBezTo>
                  <a:cubicBezTo>
                    <a:pt x="19" y="24"/>
                    <a:pt x="20" y="24"/>
                    <a:pt x="23" y="25"/>
                  </a:cubicBezTo>
                  <a:cubicBezTo>
                    <a:pt x="24" y="25"/>
                    <a:pt x="26" y="26"/>
                    <a:pt x="27" y="26"/>
                  </a:cubicBezTo>
                  <a:cubicBezTo>
                    <a:pt x="27" y="26"/>
                    <a:pt x="28" y="26"/>
                    <a:pt x="28" y="26"/>
                  </a:cubicBezTo>
                  <a:cubicBezTo>
                    <a:pt x="28" y="26"/>
                    <a:pt x="28" y="26"/>
                    <a:pt x="28" y="26"/>
                  </a:cubicBezTo>
                  <a:cubicBezTo>
                    <a:pt x="27" y="26"/>
                    <a:pt x="30" y="23"/>
                    <a:pt x="30" y="23"/>
                  </a:cubicBezTo>
                  <a:cubicBezTo>
                    <a:pt x="31" y="24"/>
                    <a:pt x="33" y="25"/>
                    <a:pt x="33" y="27"/>
                  </a:cubicBezTo>
                  <a:cubicBezTo>
                    <a:pt x="33" y="28"/>
                    <a:pt x="36" y="30"/>
                    <a:pt x="37" y="31"/>
                  </a:cubicBezTo>
                  <a:cubicBezTo>
                    <a:pt x="38" y="32"/>
                    <a:pt x="40" y="32"/>
                    <a:pt x="41" y="32"/>
                  </a:cubicBezTo>
                  <a:cubicBezTo>
                    <a:pt x="43" y="32"/>
                    <a:pt x="45" y="31"/>
                    <a:pt x="46" y="30"/>
                  </a:cubicBezTo>
                  <a:cubicBezTo>
                    <a:pt x="46" y="30"/>
                    <a:pt x="45" y="29"/>
                    <a:pt x="44" y="29"/>
                  </a:cubicBezTo>
                  <a:cubicBezTo>
                    <a:pt x="45" y="29"/>
                    <a:pt x="46" y="29"/>
                    <a:pt x="46" y="28"/>
                  </a:cubicBezTo>
                  <a:cubicBezTo>
                    <a:pt x="46" y="27"/>
                    <a:pt x="44" y="25"/>
                    <a:pt x="43" y="25"/>
                  </a:cubicBezTo>
                  <a:cubicBezTo>
                    <a:pt x="43" y="25"/>
                    <a:pt x="43" y="25"/>
                    <a:pt x="44" y="25"/>
                  </a:cubicBezTo>
                  <a:cubicBezTo>
                    <a:pt x="44" y="25"/>
                    <a:pt x="45" y="25"/>
                    <a:pt x="45" y="25"/>
                  </a:cubicBezTo>
                  <a:cubicBezTo>
                    <a:pt x="45" y="24"/>
                    <a:pt x="45" y="24"/>
                    <a:pt x="45" y="24"/>
                  </a:cubicBezTo>
                  <a:cubicBezTo>
                    <a:pt x="45" y="24"/>
                    <a:pt x="45" y="24"/>
                    <a:pt x="46" y="24"/>
                  </a:cubicBezTo>
                  <a:cubicBezTo>
                    <a:pt x="47" y="24"/>
                    <a:pt x="48" y="23"/>
                    <a:pt x="46" y="23"/>
                  </a:cubicBezTo>
                  <a:cubicBezTo>
                    <a:pt x="46" y="23"/>
                    <a:pt x="47" y="23"/>
                    <a:pt x="47" y="23"/>
                  </a:cubicBezTo>
                  <a:cubicBezTo>
                    <a:pt x="48" y="23"/>
                    <a:pt x="49" y="23"/>
                    <a:pt x="48" y="22"/>
                  </a:cubicBezTo>
                  <a:cubicBezTo>
                    <a:pt x="49" y="21"/>
                    <a:pt x="49" y="21"/>
                    <a:pt x="49" y="21"/>
                  </a:cubicBezTo>
                  <a:cubicBezTo>
                    <a:pt x="49" y="21"/>
                    <a:pt x="56" y="18"/>
                    <a:pt x="58" y="17"/>
                  </a:cubicBezTo>
                  <a:cubicBezTo>
                    <a:pt x="56" y="17"/>
                    <a:pt x="54" y="17"/>
                    <a:pt x="53" y="17"/>
                  </a:cubicBezTo>
                  <a:cubicBezTo>
                    <a:pt x="51" y="17"/>
                    <a:pt x="50" y="17"/>
                    <a:pt x="49" y="17"/>
                  </a:cubicBezTo>
                  <a:cubicBezTo>
                    <a:pt x="37" y="17"/>
                    <a:pt x="25" y="17"/>
                    <a:pt x="13" y="17"/>
                  </a:cubicBezTo>
                  <a:cubicBezTo>
                    <a:pt x="10" y="17"/>
                    <a:pt x="17" y="14"/>
                    <a:pt x="13" y="13"/>
                  </a:cubicBezTo>
                  <a:cubicBezTo>
                    <a:pt x="15" y="11"/>
                    <a:pt x="9" y="9"/>
                    <a:pt x="9" y="7"/>
                  </a:cubicBezTo>
                  <a:cubicBezTo>
                    <a:pt x="9" y="7"/>
                    <a:pt x="11" y="5"/>
                    <a:pt x="11" y="5"/>
                  </a:cubicBezTo>
                  <a:cubicBezTo>
                    <a:pt x="11" y="4"/>
                    <a:pt x="11"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4" name="Freeform 337">
              <a:extLst>
                <a:ext uri="{FF2B5EF4-FFF2-40B4-BE49-F238E27FC236}">
                  <a16:creationId xmlns:a16="http://schemas.microsoft.com/office/drawing/2014/main" id="{99D50982-32A2-4846-86B9-0C13738EFF8F}"/>
                </a:ext>
              </a:extLst>
            </p:cNvPr>
            <p:cNvSpPr>
              <a:spLocks/>
            </p:cNvSpPr>
            <p:nvPr/>
          </p:nvSpPr>
          <p:spPr bwMode="auto">
            <a:xfrm>
              <a:off x="9340841" y="5830122"/>
              <a:ext cx="7938" cy="42863"/>
            </a:xfrm>
            <a:custGeom>
              <a:avLst/>
              <a:gdLst>
                <a:gd name="T0" fmla="*/ 0 w 2"/>
                <a:gd name="T1" fmla="*/ 0 h 11"/>
                <a:gd name="T2" fmla="*/ 0 w 2"/>
                <a:gd name="T3" fmla="*/ 11 h 11"/>
                <a:gd name="T4" fmla="*/ 1 w 2"/>
                <a:gd name="T5" fmla="*/ 10 h 11"/>
                <a:gd name="T6" fmla="*/ 2 w 2"/>
                <a:gd name="T7" fmla="*/ 5 h 11"/>
                <a:gd name="T8" fmla="*/ 2 w 2"/>
                <a:gd name="T9" fmla="*/ 5 h 11"/>
                <a:gd name="T10" fmla="*/ 1 w 2"/>
                <a:gd name="T11" fmla="*/ 3 h 11"/>
                <a:gd name="T12" fmla="*/ 0 w 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 h="11">
                  <a:moveTo>
                    <a:pt x="0" y="0"/>
                  </a:moveTo>
                  <a:cubicBezTo>
                    <a:pt x="1" y="4"/>
                    <a:pt x="0" y="8"/>
                    <a:pt x="0" y="11"/>
                  </a:cubicBezTo>
                  <a:cubicBezTo>
                    <a:pt x="1" y="11"/>
                    <a:pt x="1" y="10"/>
                    <a:pt x="1" y="10"/>
                  </a:cubicBezTo>
                  <a:cubicBezTo>
                    <a:pt x="1" y="8"/>
                    <a:pt x="2" y="7"/>
                    <a:pt x="2" y="5"/>
                  </a:cubicBezTo>
                  <a:cubicBezTo>
                    <a:pt x="2" y="5"/>
                    <a:pt x="2" y="5"/>
                    <a:pt x="2" y="5"/>
                  </a:cubicBezTo>
                  <a:cubicBezTo>
                    <a:pt x="2" y="4"/>
                    <a:pt x="1" y="4"/>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5" name="Freeform 338">
              <a:extLst>
                <a:ext uri="{FF2B5EF4-FFF2-40B4-BE49-F238E27FC236}">
                  <a16:creationId xmlns:a16="http://schemas.microsoft.com/office/drawing/2014/main" id="{D3FDD455-7EF3-44A5-B848-88FF0F6E1B59}"/>
                </a:ext>
              </a:extLst>
            </p:cNvPr>
            <p:cNvSpPr>
              <a:spLocks/>
            </p:cNvSpPr>
            <p:nvPr/>
          </p:nvSpPr>
          <p:spPr bwMode="auto">
            <a:xfrm>
              <a:off x="9480541" y="533164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6" name="Freeform 339">
              <a:extLst>
                <a:ext uri="{FF2B5EF4-FFF2-40B4-BE49-F238E27FC236}">
                  <a16:creationId xmlns:a16="http://schemas.microsoft.com/office/drawing/2014/main" id="{CD607588-6713-47CE-B7CA-0E65ADCACF69}"/>
                </a:ext>
              </a:extLst>
            </p:cNvPr>
            <p:cNvSpPr>
              <a:spLocks/>
            </p:cNvSpPr>
            <p:nvPr/>
          </p:nvSpPr>
          <p:spPr bwMode="auto">
            <a:xfrm>
              <a:off x="9480541" y="5331647"/>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7" name="Freeform 340">
              <a:extLst>
                <a:ext uri="{FF2B5EF4-FFF2-40B4-BE49-F238E27FC236}">
                  <a16:creationId xmlns:a16="http://schemas.microsoft.com/office/drawing/2014/main" id="{56CE38F2-441B-49F2-9CF0-F0EB641B71DE}"/>
                </a:ext>
              </a:extLst>
            </p:cNvPr>
            <p:cNvSpPr>
              <a:spLocks/>
            </p:cNvSpPr>
            <p:nvPr/>
          </p:nvSpPr>
          <p:spPr bwMode="auto">
            <a:xfrm>
              <a:off x="9161454" y="5018910"/>
              <a:ext cx="63500" cy="26988"/>
            </a:xfrm>
            <a:custGeom>
              <a:avLst/>
              <a:gdLst>
                <a:gd name="T0" fmla="*/ 12 w 17"/>
                <a:gd name="T1" fmla="*/ 0 h 7"/>
                <a:gd name="T2" fmla="*/ 7 w 17"/>
                <a:gd name="T3" fmla="*/ 0 h 7"/>
                <a:gd name="T4" fmla="*/ 7 w 17"/>
                <a:gd name="T5" fmla="*/ 0 h 7"/>
                <a:gd name="T6" fmla="*/ 7 w 17"/>
                <a:gd name="T7" fmla="*/ 0 h 7"/>
                <a:gd name="T8" fmla="*/ 7 w 17"/>
                <a:gd name="T9" fmla="*/ 0 h 7"/>
                <a:gd name="T10" fmla="*/ 4 w 17"/>
                <a:gd name="T11" fmla="*/ 0 h 7"/>
                <a:gd name="T12" fmla="*/ 3 w 17"/>
                <a:gd name="T13" fmla="*/ 0 h 7"/>
                <a:gd name="T14" fmla="*/ 1 w 17"/>
                <a:gd name="T15" fmla="*/ 1 h 7"/>
                <a:gd name="T16" fmla="*/ 0 w 17"/>
                <a:gd name="T17" fmla="*/ 3 h 7"/>
                <a:gd name="T18" fmla="*/ 1 w 17"/>
                <a:gd name="T19" fmla="*/ 3 h 7"/>
                <a:gd name="T20" fmla="*/ 2 w 17"/>
                <a:gd name="T21" fmla="*/ 3 h 7"/>
                <a:gd name="T22" fmla="*/ 1 w 17"/>
                <a:gd name="T23" fmla="*/ 3 h 7"/>
                <a:gd name="T24" fmla="*/ 2 w 17"/>
                <a:gd name="T25" fmla="*/ 4 h 7"/>
                <a:gd name="T26" fmla="*/ 2 w 17"/>
                <a:gd name="T27" fmla="*/ 4 h 7"/>
                <a:gd name="T28" fmla="*/ 2 w 17"/>
                <a:gd name="T29" fmla="*/ 4 h 7"/>
                <a:gd name="T30" fmla="*/ 3 w 17"/>
                <a:gd name="T31" fmla="*/ 5 h 7"/>
                <a:gd name="T32" fmla="*/ 3 w 17"/>
                <a:gd name="T33" fmla="*/ 5 h 7"/>
                <a:gd name="T34" fmla="*/ 7 w 17"/>
                <a:gd name="T35" fmla="*/ 4 h 7"/>
                <a:gd name="T36" fmla="*/ 7 w 17"/>
                <a:gd name="T37" fmla="*/ 5 h 7"/>
                <a:gd name="T38" fmla="*/ 8 w 17"/>
                <a:gd name="T39" fmla="*/ 5 h 7"/>
                <a:gd name="T40" fmla="*/ 8 w 17"/>
                <a:gd name="T41" fmla="*/ 5 h 7"/>
                <a:gd name="T42" fmla="*/ 8 w 17"/>
                <a:gd name="T43" fmla="*/ 5 h 7"/>
                <a:gd name="T44" fmla="*/ 8 w 17"/>
                <a:gd name="T45" fmla="*/ 5 h 7"/>
                <a:gd name="T46" fmla="*/ 7 w 17"/>
                <a:gd name="T47" fmla="*/ 5 h 7"/>
                <a:gd name="T48" fmla="*/ 7 w 17"/>
                <a:gd name="T49" fmla="*/ 5 h 7"/>
                <a:gd name="T50" fmla="*/ 7 w 17"/>
                <a:gd name="T51" fmla="*/ 6 h 7"/>
                <a:gd name="T52" fmla="*/ 8 w 17"/>
                <a:gd name="T53" fmla="*/ 6 h 7"/>
                <a:gd name="T54" fmla="*/ 8 w 17"/>
                <a:gd name="T55" fmla="*/ 6 h 7"/>
                <a:gd name="T56" fmla="*/ 9 w 17"/>
                <a:gd name="T57" fmla="*/ 6 h 7"/>
                <a:gd name="T58" fmla="*/ 9 w 17"/>
                <a:gd name="T59" fmla="*/ 6 h 7"/>
                <a:gd name="T60" fmla="*/ 9 w 17"/>
                <a:gd name="T61" fmla="*/ 6 h 7"/>
                <a:gd name="T62" fmla="*/ 9 w 17"/>
                <a:gd name="T63" fmla="*/ 6 h 7"/>
                <a:gd name="T64" fmla="*/ 9 w 17"/>
                <a:gd name="T65" fmla="*/ 6 h 7"/>
                <a:gd name="T66" fmla="*/ 9 w 17"/>
                <a:gd name="T67" fmla="*/ 7 h 7"/>
                <a:gd name="T68" fmla="*/ 9 w 17"/>
                <a:gd name="T69" fmla="*/ 7 h 7"/>
                <a:gd name="T70" fmla="*/ 10 w 17"/>
                <a:gd name="T71" fmla="*/ 7 h 7"/>
                <a:gd name="T72" fmla="*/ 10 w 17"/>
                <a:gd name="T73" fmla="*/ 7 h 7"/>
                <a:gd name="T74" fmla="*/ 11 w 17"/>
                <a:gd name="T75" fmla="*/ 7 h 7"/>
                <a:gd name="T76" fmla="*/ 16 w 17"/>
                <a:gd name="T77" fmla="*/ 2 h 7"/>
                <a:gd name="T78" fmla="*/ 17 w 17"/>
                <a:gd name="T79" fmla="*/ 0 h 7"/>
                <a:gd name="T80" fmla="*/ 17 w 17"/>
                <a:gd name="T81" fmla="*/ 0 h 7"/>
                <a:gd name="T82" fmla="*/ 17 w 17"/>
                <a:gd name="T83" fmla="*/ 0 h 7"/>
                <a:gd name="T84" fmla="*/ 17 w 17"/>
                <a:gd name="T85" fmla="*/ 0 h 7"/>
                <a:gd name="T86" fmla="*/ 13 w 17"/>
                <a:gd name="T87" fmla="*/ 2 h 7"/>
                <a:gd name="T88" fmla="*/ 12 w 17"/>
                <a:gd name="T89" fmla="*/ 2 h 7"/>
                <a:gd name="T90" fmla="*/ 11 w 17"/>
                <a:gd name="T91" fmla="*/ 2 h 7"/>
                <a:gd name="T92" fmla="*/ 12 w 17"/>
                <a:gd name="T9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 h="7">
                  <a:moveTo>
                    <a:pt x="12" y="0"/>
                  </a:moveTo>
                  <a:cubicBezTo>
                    <a:pt x="12" y="0"/>
                    <a:pt x="12" y="0"/>
                    <a:pt x="12" y="0"/>
                  </a:cubicBezTo>
                  <a:cubicBezTo>
                    <a:pt x="10" y="0"/>
                    <a:pt x="10" y="0"/>
                    <a:pt x="10" y="0"/>
                  </a:cubicBezTo>
                  <a:cubicBezTo>
                    <a:pt x="9" y="0"/>
                    <a:pt x="8"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4" y="0"/>
                    <a:pt x="4" y="0"/>
                    <a:pt x="4" y="0"/>
                  </a:cubicBezTo>
                  <a:cubicBezTo>
                    <a:pt x="3" y="0"/>
                    <a:pt x="3" y="0"/>
                    <a:pt x="3" y="0"/>
                  </a:cubicBezTo>
                  <a:cubicBezTo>
                    <a:pt x="3" y="0"/>
                    <a:pt x="3" y="0"/>
                    <a:pt x="3" y="0"/>
                  </a:cubicBezTo>
                  <a:cubicBezTo>
                    <a:pt x="2" y="0"/>
                    <a:pt x="2" y="0"/>
                    <a:pt x="2" y="0"/>
                  </a:cubicBezTo>
                  <a:cubicBezTo>
                    <a:pt x="1" y="1"/>
                    <a:pt x="1" y="1"/>
                    <a:pt x="1" y="1"/>
                  </a:cubicBezTo>
                  <a:cubicBezTo>
                    <a:pt x="1" y="1"/>
                    <a:pt x="1" y="1"/>
                    <a:pt x="1" y="1"/>
                  </a:cubicBezTo>
                  <a:cubicBezTo>
                    <a:pt x="0" y="3"/>
                    <a:pt x="0" y="3"/>
                    <a:pt x="0" y="3"/>
                  </a:cubicBezTo>
                  <a:cubicBezTo>
                    <a:pt x="0" y="3"/>
                    <a:pt x="0" y="3"/>
                    <a:pt x="0"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4"/>
                    <a:pt x="1"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3" y="5"/>
                    <a:pt x="2" y="5"/>
                    <a:pt x="3" y="5"/>
                  </a:cubicBezTo>
                  <a:cubicBezTo>
                    <a:pt x="3" y="5"/>
                    <a:pt x="3" y="5"/>
                    <a:pt x="3" y="5"/>
                  </a:cubicBezTo>
                  <a:cubicBezTo>
                    <a:pt x="3" y="5"/>
                    <a:pt x="3" y="5"/>
                    <a:pt x="3" y="5"/>
                  </a:cubicBezTo>
                  <a:cubicBezTo>
                    <a:pt x="3" y="5"/>
                    <a:pt x="3" y="5"/>
                    <a:pt x="3" y="5"/>
                  </a:cubicBezTo>
                  <a:cubicBezTo>
                    <a:pt x="4" y="5"/>
                    <a:pt x="6" y="4"/>
                    <a:pt x="7" y="4"/>
                  </a:cubicBezTo>
                  <a:cubicBezTo>
                    <a:pt x="7" y="4"/>
                    <a:pt x="7" y="4"/>
                    <a:pt x="7" y="4"/>
                  </a:cubicBezTo>
                  <a:cubicBezTo>
                    <a:pt x="7" y="4"/>
                    <a:pt x="7" y="4"/>
                    <a:pt x="7" y="4"/>
                  </a:cubicBezTo>
                  <a:cubicBezTo>
                    <a:pt x="7" y="5"/>
                    <a:pt x="7" y="5"/>
                    <a:pt x="7"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7" y="5"/>
                    <a:pt x="7" y="5"/>
                    <a:pt x="7" y="5"/>
                  </a:cubicBezTo>
                  <a:cubicBezTo>
                    <a:pt x="7" y="5"/>
                    <a:pt x="7" y="5"/>
                    <a:pt x="7" y="5"/>
                  </a:cubicBezTo>
                  <a:cubicBezTo>
                    <a:pt x="7" y="5"/>
                    <a:pt x="7" y="5"/>
                    <a:pt x="7" y="5"/>
                  </a:cubicBezTo>
                  <a:cubicBezTo>
                    <a:pt x="7" y="5"/>
                    <a:pt x="7" y="5"/>
                    <a:pt x="7" y="5"/>
                  </a:cubicBezTo>
                  <a:cubicBezTo>
                    <a:pt x="7" y="6"/>
                    <a:pt x="7" y="6"/>
                    <a:pt x="7" y="6"/>
                  </a:cubicBezTo>
                  <a:cubicBezTo>
                    <a:pt x="7" y="6"/>
                    <a:pt x="7" y="6"/>
                    <a:pt x="7" y="6"/>
                  </a:cubicBezTo>
                  <a:cubicBezTo>
                    <a:pt x="7" y="6"/>
                    <a:pt x="7" y="6"/>
                    <a:pt x="7" y="6"/>
                  </a:cubicBezTo>
                  <a:cubicBezTo>
                    <a:pt x="8" y="6"/>
                    <a:pt x="8" y="6"/>
                    <a:pt x="8" y="6"/>
                  </a:cubicBezTo>
                  <a:cubicBezTo>
                    <a:pt x="8" y="6"/>
                    <a:pt x="8" y="6"/>
                    <a:pt x="8" y="6"/>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10" y="7"/>
                    <a:pt x="10" y="7"/>
                    <a:pt x="10" y="7"/>
                  </a:cubicBezTo>
                  <a:cubicBezTo>
                    <a:pt x="10" y="7"/>
                    <a:pt x="10" y="7"/>
                    <a:pt x="10" y="7"/>
                  </a:cubicBezTo>
                  <a:cubicBezTo>
                    <a:pt x="10" y="7"/>
                    <a:pt x="10" y="7"/>
                    <a:pt x="10" y="7"/>
                  </a:cubicBezTo>
                  <a:cubicBezTo>
                    <a:pt x="11" y="7"/>
                    <a:pt x="11" y="7"/>
                    <a:pt x="11" y="7"/>
                  </a:cubicBezTo>
                  <a:cubicBezTo>
                    <a:pt x="11" y="7"/>
                    <a:pt x="11" y="7"/>
                    <a:pt x="11" y="7"/>
                  </a:cubicBezTo>
                  <a:cubicBezTo>
                    <a:pt x="13" y="5"/>
                    <a:pt x="13" y="5"/>
                    <a:pt x="13" y="5"/>
                  </a:cubicBezTo>
                  <a:cubicBezTo>
                    <a:pt x="16" y="2"/>
                    <a:pt x="16" y="2"/>
                    <a:pt x="16" y="2"/>
                  </a:cubicBezTo>
                  <a:cubicBezTo>
                    <a:pt x="17" y="1"/>
                    <a:pt x="17" y="1"/>
                    <a:pt x="17" y="1"/>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4" y="2"/>
                    <a:pt x="14" y="2"/>
                    <a:pt x="13" y="2"/>
                  </a:cubicBezTo>
                  <a:cubicBezTo>
                    <a:pt x="13" y="2"/>
                    <a:pt x="13" y="2"/>
                    <a:pt x="13" y="2"/>
                  </a:cubicBezTo>
                  <a:cubicBezTo>
                    <a:pt x="13" y="2"/>
                    <a:pt x="13" y="2"/>
                    <a:pt x="12" y="2"/>
                  </a:cubicBezTo>
                  <a:cubicBezTo>
                    <a:pt x="12" y="2"/>
                    <a:pt x="12" y="2"/>
                    <a:pt x="12" y="2"/>
                  </a:cubicBezTo>
                  <a:cubicBezTo>
                    <a:pt x="11" y="2"/>
                    <a:pt x="11" y="2"/>
                    <a:pt x="11" y="2"/>
                  </a:cubicBezTo>
                  <a:cubicBezTo>
                    <a:pt x="11" y="2"/>
                    <a:pt x="11" y="2"/>
                    <a:pt x="11" y="2"/>
                  </a:cubicBezTo>
                  <a:cubicBezTo>
                    <a:pt x="11" y="2"/>
                    <a:pt x="11" y="2"/>
                    <a:pt x="11" y="2"/>
                  </a:cubicBezTo>
                  <a:cubicBezTo>
                    <a:pt x="12" y="1"/>
                    <a:pt x="12" y="1"/>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8" name="Freeform 341">
              <a:extLst>
                <a:ext uri="{FF2B5EF4-FFF2-40B4-BE49-F238E27FC236}">
                  <a16:creationId xmlns:a16="http://schemas.microsoft.com/office/drawing/2014/main" id="{30DD8115-75F6-4DC0-8BEC-AC17BA9F6BF4}"/>
                </a:ext>
              </a:extLst>
            </p:cNvPr>
            <p:cNvSpPr>
              <a:spLocks/>
            </p:cNvSpPr>
            <p:nvPr/>
          </p:nvSpPr>
          <p:spPr bwMode="auto">
            <a:xfrm>
              <a:off x="9480541" y="5315772"/>
              <a:ext cx="0" cy="11113"/>
            </a:xfrm>
            <a:custGeom>
              <a:avLst/>
              <a:gdLst>
                <a:gd name="T0" fmla="*/ 0 h 3"/>
                <a:gd name="T1" fmla="*/ 0 h 3"/>
                <a:gd name="T2" fmla="*/ 3 h 3"/>
                <a:gd name="T3" fmla="*/ 3 h 3"/>
                <a:gd name="T4" fmla="*/ 3 h 3"/>
                <a:gd name="T5" fmla="*/ 0 h 3"/>
                <a:gd name="T6" fmla="*/ 0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cubicBezTo>
                    <a:pt x="0" y="0"/>
                    <a:pt x="0" y="0"/>
                    <a:pt x="0" y="0"/>
                  </a:cubicBezTo>
                  <a:cubicBezTo>
                    <a:pt x="0" y="1"/>
                    <a:pt x="0" y="2"/>
                    <a:pt x="0" y="3"/>
                  </a:cubicBezTo>
                  <a:cubicBezTo>
                    <a:pt x="0" y="3"/>
                    <a:pt x="0" y="3"/>
                    <a:pt x="0" y="3"/>
                  </a:cubicBezTo>
                  <a:cubicBezTo>
                    <a:pt x="0" y="3"/>
                    <a:pt x="0" y="3"/>
                    <a:pt x="0" y="3"/>
                  </a:cubicBezTo>
                  <a:cubicBezTo>
                    <a:pt x="0" y="2"/>
                    <a:pt x="0" y="1"/>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9" name="Freeform 342">
              <a:extLst>
                <a:ext uri="{FF2B5EF4-FFF2-40B4-BE49-F238E27FC236}">
                  <a16:creationId xmlns:a16="http://schemas.microsoft.com/office/drawing/2014/main" id="{572C5CE4-08ED-48EE-9FB1-E05F5810F13E}"/>
                </a:ext>
              </a:extLst>
            </p:cNvPr>
            <p:cNvSpPr>
              <a:spLocks noEditPoints="1"/>
            </p:cNvSpPr>
            <p:nvPr/>
          </p:nvSpPr>
          <p:spPr bwMode="auto">
            <a:xfrm>
              <a:off x="1289041" y="1515297"/>
              <a:ext cx="2781300" cy="2290763"/>
            </a:xfrm>
            <a:custGeom>
              <a:avLst/>
              <a:gdLst>
                <a:gd name="T0" fmla="*/ 223 w 741"/>
                <a:gd name="T1" fmla="*/ 25 h 610"/>
                <a:gd name="T2" fmla="*/ 199 w 741"/>
                <a:gd name="T3" fmla="*/ 38 h 610"/>
                <a:gd name="T4" fmla="*/ 167 w 741"/>
                <a:gd name="T5" fmla="*/ 43 h 610"/>
                <a:gd name="T6" fmla="*/ 133 w 741"/>
                <a:gd name="T7" fmla="*/ 53 h 610"/>
                <a:gd name="T8" fmla="*/ 36 w 741"/>
                <a:gd name="T9" fmla="*/ 125 h 610"/>
                <a:gd name="T10" fmla="*/ 118 w 741"/>
                <a:gd name="T11" fmla="*/ 180 h 610"/>
                <a:gd name="T12" fmla="*/ 150 w 741"/>
                <a:gd name="T13" fmla="*/ 181 h 610"/>
                <a:gd name="T14" fmla="*/ 160 w 741"/>
                <a:gd name="T15" fmla="*/ 206 h 610"/>
                <a:gd name="T16" fmla="*/ 101 w 741"/>
                <a:gd name="T17" fmla="*/ 216 h 610"/>
                <a:gd name="T18" fmla="*/ 44 w 741"/>
                <a:gd name="T19" fmla="*/ 214 h 610"/>
                <a:gd name="T20" fmla="*/ 7 w 741"/>
                <a:gd name="T21" fmla="*/ 230 h 610"/>
                <a:gd name="T22" fmla="*/ 25 w 741"/>
                <a:gd name="T23" fmla="*/ 251 h 610"/>
                <a:gd name="T24" fmla="*/ 87 w 741"/>
                <a:gd name="T25" fmla="*/ 273 h 610"/>
                <a:gd name="T26" fmla="*/ 125 w 741"/>
                <a:gd name="T27" fmla="*/ 276 h 610"/>
                <a:gd name="T28" fmla="*/ 156 w 741"/>
                <a:gd name="T29" fmla="*/ 275 h 610"/>
                <a:gd name="T30" fmla="*/ 139 w 741"/>
                <a:gd name="T31" fmla="*/ 312 h 610"/>
                <a:gd name="T32" fmla="*/ 74 w 741"/>
                <a:gd name="T33" fmla="*/ 333 h 610"/>
                <a:gd name="T34" fmla="*/ 48 w 741"/>
                <a:gd name="T35" fmla="*/ 383 h 610"/>
                <a:gd name="T36" fmla="*/ 70 w 741"/>
                <a:gd name="T37" fmla="*/ 402 h 610"/>
                <a:gd name="T38" fmla="*/ 98 w 741"/>
                <a:gd name="T39" fmla="*/ 403 h 610"/>
                <a:gd name="T40" fmla="*/ 87 w 741"/>
                <a:gd name="T41" fmla="*/ 414 h 610"/>
                <a:gd name="T42" fmla="*/ 69 w 741"/>
                <a:gd name="T43" fmla="*/ 418 h 610"/>
                <a:gd name="T44" fmla="*/ 126 w 741"/>
                <a:gd name="T45" fmla="*/ 427 h 610"/>
                <a:gd name="T46" fmla="*/ 132 w 741"/>
                <a:gd name="T47" fmla="*/ 431 h 610"/>
                <a:gd name="T48" fmla="*/ 144 w 741"/>
                <a:gd name="T49" fmla="*/ 474 h 610"/>
                <a:gd name="T50" fmla="*/ 165 w 741"/>
                <a:gd name="T51" fmla="*/ 476 h 610"/>
                <a:gd name="T52" fmla="*/ 190 w 741"/>
                <a:gd name="T53" fmla="*/ 477 h 610"/>
                <a:gd name="T54" fmla="*/ 226 w 741"/>
                <a:gd name="T55" fmla="*/ 470 h 610"/>
                <a:gd name="T56" fmla="*/ 243 w 741"/>
                <a:gd name="T57" fmla="*/ 497 h 610"/>
                <a:gd name="T58" fmla="*/ 209 w 741"/>
                <a:gd name="T59" fmla="*/ 544 h 610"/>
                <a:gd name="T60" fmla="*/ 162 w 741"/>
                <a:gd name="T61" fmla="*/ 576 h 610"/>
                <a:gd name="T62" fmla="*/ 111 w 741"/>
                <a:gd name="T63" fmla="*/ 601 h 610"/>
                <a:gd name="T64" fmla="*/ 136 w 741"/>
                <a:gd name="T65" fmla="*/ 601 h 610"/>
                <a:gd name="T66" fmla="*/ 168 w 741"/>
                <a:gd name="T67" fmla="*/ 590 h 610"/>
                <a:gd name="T68" fmla="*/ 215 w 741"/>
                <a:gd name="T69" fmla="*/ 573 h 610"/>
                <a:gd name="T70" fmla="*/ 217 w 741"/>
                <a:gd name="T71" fmla="*/ 563 h 610"/>
                <a:gd name="T72" fmla="*/ 287 w 741"/>
                <a:gd name="T73" fmla="*/ 513 h 610"/>
                <a:gd name="T74" fmla="*/ 324 w 741"/>
                <a:gd name="T75" fmla="*/ 492 h 610"/>
                <a:gd name="T76" fmla="*/ 320 w 741"/>
                <a:gd name="T77" fmla="*/ 470 h 610"/>
                <a:gd name="T78" fmla="*/ 342 w 741"/>
                <a:gd name="T79" fmla="*/ 443 h 610"/>
                <a:gd name="T80" fmla="*/ 415 w 741"/>
                <a:gd name="T81" fmla="*/ 390 h 610"/>
                <a:gd name="T82" fmla="*/ 392 w 741"/>
                <a:gd name="T83" fmla="*/ 410 h 610"/>
                <a:gd name="T84" fmla="*/ 385 w 741"/>
                <a:gd name="T85" fmla="*/ 457 h 610"/>
                <a:gd name="T86" fmla="*/ 409 w 741"/>
                <a:gd name="T87" fmla="*/ 456 h 610"/>
                <a:gd name="T88" fmla="*/ 444 w 741"/>
                <a:gd name="T89" fmla="*/ 439 h 610"/>
                <a:gd name="T90" fmla="*/ 458 w 741"/>
                <a:gd name="T91" fmla="*/ 422 h 610"/>
                <a:gd name="T92" fmla="*/ 460 w 741"/>
                <a:gd name="T93" fmla="*/ 400 h 610"/>
                <a:gd name="T94" fmla="*/ 472 w 741"/>
                <a:gd name="T95" fmla="*/ 402 h 610"/>
                <a:gd name="T96" fmla="*/ 496 w 741"/>
                <a:gd name="T97" fmla="*/ 404 h 610"/>
                <a:gd name="T98" fmla="*/ 509 w 741"/>
                <a:gd name="T99" fmla="*/ 410 h 610"/>
                <a:gd name="T100" fmla="*/ 538 w 741"/>
                <a:gd name="T101" fmla="*/ 428 h 610"/>
                <a:gd name="T102" fmla="*/ 655 w 741"/>
                <a:gd name="T103" fmla="*/ 442 h 610"/>
                <a:gd name="T104" fmla="*/ 659 w 741"/>
                <a:gd name="T105" fmla="*/ 451 h 610"/>
                <a:gd name="T106" fmla="*/ 731 w 741"/>
                <a:gd name="T107" fmla="*/ 495 h 610"/>
                <a:gd name="T108" fmla="*/ 713 w 741"/>
                <a:gd name="T109" fmla="*/ 475 h 610"/>
                <a:gd name="T110" fmla="*/ 667 w 741"/>
                <a:gd name="T111" fmla="*/ 431 h 610"/>
                <a:gd name="T112" fmla="*/ 623 w 741"/>
                <a:gd name="T113" fmla="*/ 213 h 610"/>
                <a:gd name="T114" fmla="*/ 497 w 741"/>
                <a:gd name="T115" fmla="*/ 52 h 610"/>
                <a:gd name="T116" fmla="*/ 366 w 741"/>
                <a:gd name="T117" fmla="*/ 35 h 610"/>
                <a:gd name="T118" fmla="*/ 311 w 741"/>
                <a:gd name="T119" fmla="*/ 24 h 610"/>
                <a:gd name="T120" fmla="*/ 285 w 741"/>
                <a:gd name="T121" fmla="*/ 24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41" h="610">
                  <a:moveTo>
                    <a:pt x="341" y="476"/>
                  </a:moveTo>
                  <a:cubicBezTo>
                    <a:pt x="341" y="476"/>
                    <a:pt x="341" y="476"/>
                    <a:pt x="341" y="476"/>
                  </a:cubicBezTo>
                  <a:cubicBezTo>
                    <a:pt x="341" y="476"/>
                    <a:pt x="341" y="476"/>
                    <a:pt x="341" y="476"/>
                  </a:cubicBezTo>
                  <a:moveTo>
                    <a:pt x="466" y="407"/>
                  </a:moveTo>
                  <a:cubicBezTo>
                    <a:pt x="466" y="407"/>
                    <a:pt x="466" y="407"/>
                    <a:pt x="466" y="407"/>
                  </a:cubicBezTo>
                  <a:cubicBezTo>
                    <a:pt x="466" y="407"/>
                    <a:pt x="466" y="407"/>
                    <a:pt x="466" y="407"/>
                  </a:cubicBezTo>
                  <a:moveTo>
                    <a:pt x="432" y="386"/>
                  </a:moveTo>
                  <a:cubicBezTo>
                    <a:pt x="432" y="386"/>
                    <a:pt x="433" y="385"/>
                    <a:pt x="434" y="385"/>
                  </a:cubicBezTo>
                  <a:cubicBezTo>
                    <a:pt x="434" y="385"/>
                    <a:pt x="434" y="385"/>
                    <a:pt x="434" y="385"/>
                  </a:cubicBezTo>
                  <a:cubicBezTo>
                    <a:pt x="433" y="385"/>
                    <a:pt x="432" y="386"/>
                    <a:pt x="432" y="386"/>
                  </a:cubicBezTo>
                  <a:moveTo>
                    <a:pt x="267" y="0"/>
                  </a:moveTo>
                  <a:cubicBezTo>
                    <a:pt x="266" y="0"/>
                    <a:pt x="265" y="2"/>
                    <a:pt x="263" y="3"/>
                  </a:cubicBezTo>
                  <a:cubicBezTo>
                    <a:pt x="259" y="6"/>
                    <a:pt x="255" y="9"/>
                    <a:pt x="251" y="12"/>
                  </a:cubicBezTo>
                  <a:cubicBezTo>
                    <a:pt x="246" y="16"/>
                    <a:pt x="242" y="20"/>
                    <a:pt x="236" y="23"/>
                  </a:cubicBezTo>
                  <a:cubicBezTo>
                    <a:pt x="233" y="24"/>
                    <a:pt x="230" y="25"/>
                    <a:pt x="227" y="25"/>
                  </a:cubicBezTo>
                  <a:cubicBezTo>
                    <a:pt x="225" y="25"/>
                    <a:pt x="223" y="24"/>
                    <a:pt x="220" y="24"/>
                  </a:cubicBezTo>
                  <a:cubicBezTo>
                    <a:pt x="221" y="24"/>
                    <a:pt x="222" y="25"/>
                    <a:pt x="223" y="25"/>
                  </a:cubicBezTo>
                  <a:cubicBezTo>
                    <a:pt x="220" y="26"/>
                    <a:pt x="217" y="26"/>
                    <a:pt x="215" y="26"/>
                  </a:cubicBezTo>
                  <a:cubicBezTo>
                    <a:pt x="213" y="26"/>
                    <a:pt x="212" y="26"/>
                    <a:pt x="211" y="26"/>
                  </a:cubicBezTo>
                  <a:cubicBezTo>
                    <a:pt x="210" y="26"/>
                    <a:pt x="209" y="26"/>
                    <a:pt x="209" y="26"/>
                  </a:cubicBezTo>
                  <a:cubicBezTo>
                    <a:pt x="206" y="26"/>
                    <a:pt x="204" y="26"/>
                    <a:pt x="202" y="28"/>
                  </a:cubicBezTo>
                  <a:cubicBezTo>
                    <a:pt x="201" y="27"/>
                    <a:pt x="200" y="27"/>
                    <a:pt x="199" y="27"/>
                  </a:cubicBezTo>
                  <a:cubicBezTo>
                    <a:pt x="200" y="26"/>
                    <a:pt x="203" y="25"/>
                    <a:pt x="205" y="25"/>
                  </a:cubicBezTo>
                  <a:cubicBezTo>
                    <a:pt x="204" y="24"/>
                    <a:pt x="202" y="24"/>
                    <a:pt x="201" y="24"/>
                  </a:cubicBezTo>
                  <a:cubicBezTo>
                    <a:pt x="201" y="24"/>
                    <a:pt x="201" y="24"/>
                    <a:pt x="200" y="24"/>
                  </a:cubicBezTo>
                  <a:cubicBezTo>
                    <a:pt x="201" y="24"/>
                    <a:pt x="202" y="23"/>
                    <a:pt x="203" y="23"/>
                  </a:cubicBezTo>
                  <a:cubicBezTo>
                    <a:pt x="199" y="24"/>
                    <a:pt x="194" y="24"/>
                    <a:pt x="191" y="28"/>
                  </a:cubicBezTo>
                  <a:cubicBezTo>
                    <a:pt x="189" y="30"/>
                    <a:pt x="186" y="31"/>
                    <a:pt x="183" y="32"/>
                  </a:cubicBezTo>
                  <a:cubicBezTo>
                    <a:pt x="185" y="33"/>
                    <a:pt x="186" y="32"/>
                    <a:pt x="188" y="34"/>
                  </a:cubicBezTo>
                  <a:cubicBezTo>
                    <a:pt x="189" y="35"/>
                    <a:pt x="189" y="36"/>
                    <a:pt x="190" y="37"/>
                  </a:cubicBezTo>
                  <a:cubicBezTo>
                    <a:pt x="191" y="38"/>
                    <a:pt x="192" y="38"/>
                    <a:pt x="193" y="38"/>
                  </a:cubicBezTo>
                  <a:cubicBezTo>
                    <a:pt x="194" y="38"/>
                    <a:pt x="195" y="38"/>
                    <a:pt x="196" y="38"/>
                  </a:cubicBezTo>
                  <a:cubicBezTo>
                    <a:pt x="197" y="38"/>
                    <a:pt x="198" y="37"/>
                    <a:pt x="198" y="37"/>
                  </a:cubicBezTo>
                  <a:cubicBezTo>
                    <a:pt x="199" y="37"/>
                    <a:pt x="199" y="37"/>
                    <a:pt x="199" y="38"/>
                  </a:cubicBezTo>
                  <a:cubicBezTo>
                    <a:pt x="197" y="38"/>
                    <a:pt x="194" y="40"/>
                    <a:pt x="192" y="40"/>
                  </a:cubicBezTo>
                  <a:cubicBezTo>
                    <a:pt x="192" y="40"/>
                    <a:pt x="191" y="39"/>
                    <a:pt x="190" y="39"/>
                  </a:cubicBezTo>
                  <a:cubicBezTo>
                    <a:pt x="189" y="41"/>
                    <a:pt x="189" y="44"/>
                    <a:pt x="189" y="47"/>
                  </a:cubicBezTo>
                  <a:cubicBezTo>
                    <a:pt x="190" y="48"/>
                    <a:pt x="191" y="49"/>
                    <a:pt x="191" y="50"/>
                  </a:cubicBezTo>
                  <a:cubicBezTo>
                    <a:pt x="190" y="50"/>
                    <a:pt x="188" y="48"/>
                    <a:pt x="188" y="47"/>
                  </a:cubicBezTo>
                  <a:cubicBezTo>
                    <a:pt x="188" y="47"/>
                    <a:pt x="188" y="45"/>
                    <a:pt x="187" y="45"/>
                  </a:cubicBezTo>
                  <a:cubicBezTo>
                    <a:pt x="187" y="44"/>
                    <a:pt x="186" y="44"/>
                    <a:pt x="186" y="44"/>
                  </a:cubicBezTo>
                  <a:cubicBezTo>
                    <a:pt x="185" y="44"/>
                    <a:pt x="184" y="46"/>
                    <a:pt x="183" y="46"/>
                  </a:cubicBezTo>
                  <a:cubicBezTo>
                    <a:pt x="184" y="43"/>
                    <a:pt x="186" y="41"/>
                    <a:pt x="186" y="39"/>
                  </a:cubicBezTo>
                  <a:cubicBezTo>
                    <a:pt x="185" y="39"/>
                    <a:pt x="184" y="40"/>
                    <a:pt x="182" y="40"/>
                  </a:cubicBezTo>
                  <a:cubicBezTo>
                    <a:pt x="182" y="40"/>
                    <a:pt x="182" y="40"/>
                    <a:pt x="181" y="40"/>
                  </a:cubicBezTo>
                  <a:cubicBezTo>
                    <a:pt x="183" y="38"/>
                    <a:pt x="189" y="38"/>
                    <a:pt x="185" y="35"/>
                  </a:cubicBezTo>
                  <a:cubicBezTo>
                    <a:pt x="185" y="35"/>
                    <a:pt x="185" y="35"/>
                    <a:pt x="184" y="35"/>
                  </a:cubicBezTo>
                  <a:cubicBezTo>
                    <a:pt x="184" y="35"/>
                    <a:pt x="184" y="35"/>
                    <a:pt x="184" y="35"/>
                  </a:cubicBezTo>
                  <a:cubicBezTo>
                    <a:pt x="183" y="35"/>
                    <a:pt x="183" y="35"/>
                    <a:pt x="183" y="35"/>
                  </a:cubicBezTo>
                  <a:cubicBezTo>
                    <a:pt x="183" y="35"/>
                    <a:pt x="182" y="35"/>
                    <a:pt x="182" y="34"/>
                  </a:cubicBezTo>
                  <a:cubicBezTo>
                    <a:pt x="177" y="38"/>
                    <a:pt x="172" y="40"/>
                    <a:pt x="167" y="43"/>
                  </a:cubicBezTo>
                  <a:cubicBezTo>
                    <a:pt x="168" y="42"/>
                    <a:pt x="169" y="42"/>
                    <a:pt x="170" y="42"/>
                  </a:cubicBezTo>
                  <a:cubicBezTo>
                    <a:pt x="166" y="46"/>
                    <a:pt x="158" y="48"/>
                    <a:pt x="152" y="49"/>
                  </a:cubicBezTo>
                  <a:cubicBezTo>
                    <a:pt x="152" y="49"/>
                    <a:pt x="152" y="49"/>
                    <a:pt x="152" y="49"/>
                  </a:cubicBezTo>
                  <a:cubicBezTo>
                    <a:pt x="151" y="49"/>
                    <a:pt x="151" y="49"/>
                    <a:pt x="150" y="48"/>
                  </a:cubicBezTo>
                  <a:cubicBezTo>
                    <a:pt x="150" y="48"/>
                    <a:pt x="150" y="48"/>
                    <a:pt x="149" y="48"/>
                  </a:cubicBezTo>
                  <a:cubicBezTo>
                    <a:pt x="149" y="48"/>
                    <a:pt x="148" y="48"/>
                    <a:pt x="148" y="49"/>
                  </a:cubicBezTo>
                  <a:cubicBezTo>
                    <a:pt x="146" y="49"/>
                    <a:pt x="146" y="50"/>
                    <a:pt x="145" y="51"/>
                  </a:cubicBezTo>
                  <a:cubicBezTo>
                    <a:pt x="142" y="52"/>
                    <a:pt x="140" y="52"/>
                    <a:pt x="137" y="53"/>
                  </a:cubicBezTo>
                  <a:cubicBezTo>
                    <a:pt x="139" y="51"/>
                    <a:pt x="142" y="53"/>
                    <a:pt x="144" y="50"/>
                  </a:cubicBezTo>
                  <a:cubicBezTo>
                    <a:pt x="143" y="50"/>
                    <a:pt x="142" y="49"/>
                    <a:pt x="142" y="49"/>
                  </a:cubicBezTo>
                  <a:cubicBezTo>
                    <a:pt x="142" y="49"/>
                    <a:pt x="143" y="49"/>
                    <a:pt x="143" y="49"/>
                  </a:cubicBezTo>
                  <a:cubicBezTo>
                    <a:pt x="143" y="49"/>
                    <a:pt x="144" y="49"/>
                    <a:pt x="144" y="49"/>
                  </a:cubicBezTo>
                  <a:cubicBezTo>
                    <a:pt x="144" y="49"/>
                    <a:pt x="144" y="49"/>
                    <a:pt x="144" y="49"/>
                  </a:cubicBezTo>
                  <a:cubicBezTo>
                    <a:pt x="145" y="49"/>
                    <a:pt x="145" y="49"/>
                    <a:pt x="145" y="49"/>
                  </a:cubicBezTo>
                  <a:cubicBezTo>
                    <a:pt x="144" y="48"/>
                    <a:pt x="143" y="46"/>
                    <a:pt x="141" y="46"/>
                  </a:cubicBezTo>
                  <a:cubicBezTo>
                    <a:pt x="141" y="46"/>
                    <a:pt x="140" y="46"/>
                    <a:pt x="140" y="47"/>
                  </a:cubicBezTo>
                  <a:cubicBezTo>
                    <a:pt x="138" y="48"/>
                    <a:pt x="136" y="51"/>
                    <a:pt x="133" y="53"/>
                  </a:cubicBezTo>
                  <a:cubicBezTo>
                    <a:pt x="128" y="57"/>
                    <a:pt x="124" y="63"/>
                    <a:pt x="118" y="67"/>
                  </a:cubicBezTo>
                  <a:cubicBezTo>
                    <a:pt x="114" y="70"/>
                    <a:pt x="112" y="79"/>
                    <a:pt x="110" y="83"/>
                  </a:cubicBezTo>
                  <a:cubicBezTo>
                    <a:pt x="108" y="87"/>
                    <a:pt x="107" y="89"/>
                    <a:pt x="105" y="92"/>
                  </a:cubicBezTo>
                  <a:cubicBezTo>
                    <a:pt x="98" y="100"/>
                    <a:pt x="89" y="102"/>
                    <a:pt x="79" y="103"/>
                  </a:cubicBezTo>
                  <a:cubicBezTo>
                    <a:pt x="73" y="104"/>
                    <a:pt x="67" y="105"/>
                    <a:pt x="61" y="106"/>
                  </a:cubicBezTo>
                  <a:cubicBezTo>
                    <a:pt x="60" y="106"/>
                    <a:pt x="59" y="106"/>
                    <a:pt x="58" y="106"/>
                  </a:cubicBezTo>
                  <a:cubicBezTo>
                    <a:pt x="56" y="106"/>
                    <a:pt x="54" y="106"/>
                    <a:pt x="52" y="105"/>
                  </a:cubicBezTo>
                  <a:cubicBezTo>
                    <a:pt x="49" y="105"/>
                    <a:pt x="47" y="105"/>
                    <a:pt x="45" y="105"/>
                  </a:cubicBezTo>
                  <a:cubicBezTo>
                    <a:pt x="45" y="105"/>
                    <a:pt x="45" y="105"/>
                    <a:pt x="44" y="105"/>
                  </a:cubicBezTo>
                  <a:cubicBezTo>
                    <a:pt x="44" y="105"/>
                    <a:pt x="44" y="105"/>
                    <a:pt x="44" y="105"/>
                  </a:cubicBezTo>
                  <a:cubicBezTo>
                    <a:pt x="44" y="105"/>
                    <a:pt x="44" y="105"/>
                    <a:pt x="44" y="105"/>
                  </a:cubicBezTo>
                  <a:cubicBezTo>
                    <a:pt x="44" y="105"/>
                    <a:pt x="43" y="105"/>
                    <a:pt x="43" y="105"/>
                  </a:cubicBezTo>
                  <a:cubicBezTo>
                    <a:pt x="42" y="105"/>
                    <a:pt x="41" y="105"/>
                    <a:pt x="41" y="108"/>
                  </a:cubicBezTo>
                  <a:cubicBezTo>
                    <a:pt x="41" y="110"/>
                    <a:pt x="41" y="113"/>
                    <a:pt x="41" y="115"/>
                  </a:cubicBezTo>
                  <a:cubicBezTo>
                    <a:pt x="41" y="117"/>
                    <a:pt x="40" y="119"/>
                    <a:pt x="39" y="120"/>
                  </a:cubicBezTo>
                  <a:cubicBezTo>
                    <a:pt x="39" y="121"/>
                    <a:pt x="39" y="122"/>
                    <a:pt x="38" y="123"/>
                  </a:cubicBezTo>
                  <a:cubicBezTo>
                    <a:pt x="37" y="124"/>
                    <a:pt x="37" y="124"/>
                    <a:pt x="36" y="125"/>
                  </a:cubicBezTo>
                  <a:cubicBezTo>
                    <a:pt x="35" y="126"/>
                    <a:pt x="33" y="126"/>
                    <a:pt x="31" y="126"/>
                  </a:cubicBezTo>
                  <a:cubicBezTo>
                    <a:pt x="31" y="126"/>
                    <a:pt x="30" y="126"/>
                    <a:pt x="29" y="126"/>
                  </a:cubicBezTo>
                  <a:cubicBezTo>
                    <a:pt x="30" y="125"/>
                    <a:pt x="32" y="125"/>
                    <a:pt x="33" y="125"/>
                  </a:cubicBezTo>
                  <a:cubicBezTo>
                    <a:pt x="31" y="125"/>
                    <a:pt x="29" y="126"/>
                    <a:pt x="28" y="126"/>
                  </a:cubicBezTo>
                  <a:cubicBezTo>
                    <a:pt x="33" y="128"/>
                    <a:pt x="37" y="127"/>
                    <a:pt x="42" y="130"/>
                  </a:cubicBezTo>
                  <a:cubicBezTo>
                    <a:pt x="44" y="132"/>
                    <a:pt x="45" y="133"/>
                    <a:pt x="47" y="135"/>
                  </a:cubicBezTo>
                  <a:cubicBezTo>
                    <a:pt x="49" y="136"/>
                    <a:pt x="52" y="136"/>
                    <a:pt x="54" y="137"/>
                  </a:cubicBezTo>
                  <a:cubicBezTo>
                    <a:pt x="63" y="138"/>
                    <a:pt x="68" y="146"/>
                    <a:pt x="76" y="148"/>
                  </a:cubicBezTo>
                  <a:cubicBezTo>
                    <a:pt x="76" y="148"/>
                    <a:pt x="76" y="147"/>
                    <a:pt x="76" y="147"/>
                  </a:cubicBezTo>
                  <a:cubicBezTo>
                    <a:pt x="77" y="147"/>
                    <a:pt x="79" y="149"/>
                    <a:pt x="80" y="150"/>
                  </a:cubicBezTo>
                  <a:cubicBezTo>
                    <a:pt x="81" y="151"/>
                    <a:pt x="83" y="152"/>
                    <a:pt x="85" y="153"/>
                  </a:cubicBezTo>
                  <a:cubicBezTo>
                    <a:pt x="89" y="155"/>
                    <a:pt x="91" y="157"/>
                    <a:pt x="94" y="160"/>
                  </a:cubicBezTo>
                  <a:cubicBezTo>
                    <a:pt x="95" y="162"/>
                    <a:pt x="96" y="164"/>
                    <a:pt x="97" y="166"/>
                  </a:cubicBezTo>
                  <a:cubicBezTo>
                    <a:pt x="98" y="169"/>
                    <a:pt x="97" y="172"/>
                    <a:pt x="98" y="174"/>
                  </a:cubicBezTo>
                  <a:cubicBezTo>
                    <a:pt x="100" y="177"/>
                    <a:pt x="108" y="177"/>
                    <a:pt x="112" y="178"/>
                  </a:cubicBezTo>
                  <a:cubicBezTo>
                    <a:pt x="113" y="178"/>
                    <a:pt x="116" y="180"/>
                    <a:pt x="118" y="180"/>
                  </a:cubicBezTo>
                  <a:cubicBezTo>
                    <a:pt x="118" y="180"/>
                    <a:pt x="118" y="180"/>
                    <a:pt x="118" y="180"/>
                  </a:cubicBezTo>
                  <a:cubicBezTo>
                    <a:pt x="120" y="180"/>
                    <a:pt x="120" y="178"/>
                    <a:pt x="122" y="178"/>
                  </a:cubicBezTo>
                  <a:cubicBezTo>
                    <a:pt x="122" y="178"/>
                    <a:pt x="122" y="178"/>
                    <a:pt x="123" y="178"/>
                  </a:cubicBezTo>
                  <a:cubicBezTo>
                    <a:pt x="124" y="178"/>
                    <a:pt x="124" y="180"/>
                    <a:pt x="125" y="180"/>
                  </a:cubicBezTo>
                  <a:cubicBezTo>
                    <a:pt x="125" y="180"/>
                    <a:pt x="125" y="180"/>
                    <a:pt x="126" y="179"/>
                  </a:cubicBezTo>
                  <a:cubicBezTo>
                    <a:pt x="126" y="179"/>
                    <a:pt x="127" y="178"/>
                    <a:pt x="128" y="178"/>
                  </a:cubicBezTo>
                  <a:cubicBezTo>
                    <a:pt x="129" y="177"/>
                    <a:pt x="130" y="175"/>
                    <a:pt x="131" y="174"/>
                  </a:cubicBezTo>
                  <a:cubicBezTo>
                    <a:pt x="131" y="177"/>
                    <a:pt x="127" y="180"/>
                    <a:pt x="130" y="180"/>
                  </a:cubicBezTo>
                  <a:cubicBezTo>
                    <a:pt x="130" y="180"/>
                    <a:pt x="130" y="180"/>
                    <a:pt x="131" y="180"/>
                  </a:cubicBezTo>
                  <a:cubicBezTo>
                    <a:pt x="131" y="180"/>
                    <a:pt x="132" y="179"/>
                    <a:pt x="132" y="179"/>
                  </a:cubicBezTo>
                  <a:cubicBezTo>
                    <a:pt x="133" y="179"/>
                    <a:pt x="132" y="178"/>
                    <a:pt x="133" y="178"/>
                  </a:cubicBezTo>
                  <a:cubicBezTo>
                    <a:pt x="133" y="178"/>
                    <a:pt x="133" y="178"/>
                    <a:pt x="133" y="178"/>
                  </a:cubicBezTo>
                  <a:cubicBezTo>
                    <a:pt x="133" y="178"/>
                    <a:pt x="133" y="178"/>
                    <a:pt x="133" y="178"/>
                  </a:cubicBezTo>
                  <a:cubicBezTo>
                    <a:pt x="134" y="179"/>
                    <a:pt x="134" y="179"/>
                    <a:pt x="134" y="179"/>
                  </a:cubicBezTo>
                  <a:cubicBezTo>
                    <a:pt x="134" y="179"/>
                    <a:pt x="134" y="179"/>
                    <a:pt x="134" y="179"/>
                  </a:cubicBezTo>
                  <a:cubicBezTo>
                    <a:pt x="135" y="179"/>
                    <a:pt x="136" y="179"/>
                    <a:pt x="138" y="179"/>
                  </a:cubicBezTo>
                  <a:cubicBezTo>
                    <a:pt x="139" y="178"/>
                    <a:pt x="140" y="178"/>
                    <a:pt x="141" y="178"/>
                  </a:cubicBezTo>
                  <a:cubicBezTo>
                    <a:pt x="144" y="178"/>
                    <a:pt x="147" y="180"/>
                    <a:pt x="150" y="181"/>
                  </a:cubicBezTo>
                  <a:cubicBezTo>
                    <a:pt x="147" y="185"/>
                    <a:pt x="139" y="187"/>
                    <a:pt x="143" y="192"/>
                  </a:cubicBezTo>
                  <a:cubicBezTo>
                    <a:pt x="144" y="194"/>
                    <a:pt x="150" y="195"/>
                    <a:pt x="150" y="197"/>
                  </a:cubicBezTo>
                  <a:cubicBezTo>
                    <a:pt x="149" y="197"/>
                    <a:pt x="148" y="197"/>
                    <a:pt x="147" y="197"/>
                  </a:cubicBezTo>
                  <a:cubicBezTo>
                    <a:pt x="144" y="197"/>
                    <a:pt x="140" y="197"/>
                    <a:pt x="138" y="194"/>
                  </a:cubicBezTo>
                  <a:cubicBezTo>
                    <a:pt x="137" y="191"/>
                    <a:pt x="139" y="191"/>
                    <a:pt x="139" y="189"/>
                  </a:cubicBezTo>
                  <a:cubicBezTo>
                    <a:pt x="139" y="188"/>
                    <a:pt x="135" y="186"/>
                    <a:pt x="134" y="185"/>
                  </a:cubicBezTo>
                  <a:cubicBezTo>
                    <a:pt x="133" y="184"/>
                    <a:pt x="132" y="182"/>
                    <a:pt x="130" y="182"/>
                  </a:cubicBezTo>
                  <a:cubicBezTo>
                    <a:pt x="130" y="182"/>
                    <a:pt x="129" y="182"/>
                    <a:pt x="128" y="183"/>
                  </a:cubicBezTo>
                  <a:cubicBezTo>
                    <a:pt x="126" y="186"/>
                    <a:pt x="125" y="189"/>
                    <a:pt x="128" y="190"/>
                  </a:cubicBezTo>
                  <a:cubicBezTo>
                    <a:pt x="130" y="191"/>
                    <a:pt x="133" y="190"/>
                    <a:pt x="135" y="192"/>
                  </a:cubicBezTo>
                  <a:cubicBezTo>
                    <a:pt x="137" y="193"/>
                    <a:pt x="137" y="195"/>
                    <a:pt x="139" y="196"/>
                  </a:cubicBezTo>
                  <a:cubicBezTo>
                    <a:pt x="141" y="198"/>
                    <a:pt x="142" y="198"/>
                    <a:pt x="142" y="201"/>
                  </a:cubicBezTo>
                  <a:cubicBezTo>
                    <a:pt x="142" y="203"/>
                    <a:pt x="140" y="204"/>
                    <a:pt x="140" y="206"/>
                  </a:cubicBezTo>
                  <a:cubicBezTo>
                    <a:pt x="140" y="207"/>
                    <a:pt x="140" y="208"/>
                    <a:pt x="141" y="208"/>
                  </a:cubicBezTo>
                  <a:cubicBezTo>
                    <a:pt x="142" y="208"/>
                    <a:pt x="143" y="204"/>
                    <a:pt x="144" y="204"/>
                  </a:cubicBezTo>
                  <a:cubicBezTo>
                    <a:pt x="145" y="203"/>
                    <a:pt x="146" y="203"/>
                    <a:pt x="148" y="203"/>
                  </a:cubicBezTo>
                  <a:cubicBezTo>
                    <a:pt x="152" y="203"/>
                    <a:pt x="158" y="205"/>
                    <a:pt x="160" y="206"/>
                  </a:cubicBezTo>
                  <a:cubicBezTo>
                    <a:pt x="161" y="207"/>
                    <a:pt x="162" y="209"/>
                    <a:pt x="162" y="211"/>
                  </a:cubicBezTo>
                  <a:cubicBezTo>
                    <a:pt x="162" y="212"/>
                    <a:pt x="161" y="214"/>
                    <a:pt x="160" y="214"/>
                  </a:cubicBezTo>
                  <a:cubicBezTo>
                    <a:pt x="159" y="214"/>
                    <a:pt x="159" y="213"/>
                    <a:pt x="160" y="212"/>
                  </a:cubicBezTo>
                  <a:cubicBezTo>
                    <a:pt x="160" y="210"/>
                    <a:pt x="160" y="210"/>
                    <a:pt x="160" y="210"/>
                  </a:cubicBezTo>
                  <a:cubicBezTo>
                    <a:pt x="159" y="210"/>
                    <a:pt x="158" y="210"/>
                    <a:pt x="157" y="210"/>
                  </a:cubicBezTo>
                  <a:cubicBezTo>
                    <a:pt x="155" y="210"/>
                    <a:pt x="151" y="210"/>
                    <a:pt x="149" y="211"/>
                  </a:cubicBezTo>
                  <a:cubicBezTo>
                    <a:pt x="147" y="212"/>
                    <a:pt x="146" y="214"/>
                    <a:pt x="144" y="216"/>
                  </a:cubicBezTo>
                  <a:cubicBezTo>
                    <a:pt x="145" y="216"/>
                    <a:pt x="145" y="216"/>
                    <a:pt x="145" y="216"/>
                  </a:cubicBezTo>
                  <a:cubicBezTo>
                    <a:pt x="144" y="216"/>
                    <a:pt x="142" y="218"/>
                    <a:pt x="144" y="219"/>
                  </a:cubicBezTo>
                  <a:cubicBezTo>
                    <a:pt x="144" y="219"/>
                    <a:pt x="143" y="219"/>
                    <a:pt x="143" y="219"/>
                  </a:cubicBezTo>
                  <a:cubicBezTo>
                    <a:pt x="141" y="219"/>
                    <a:pt x="138" y="219"/>
                    <a:pt x="135" y="219"/>
                  </a:cubicBezTo>
                  <a:cubicBezTo>
                    <a:pt x="132" y="218"/>
                    <a:pt x="129" y="218"/>
                    <a:pt x="126" y="218"/>
                  </a:cubicBezTo>
                  <a:cubicBezTo>
                    <a:pt x="125" y="218"/>
                    <a:pt x="124" y="218"/>
                    <a:pt x="124" y="219"/>
                  </a:cubicBezTo>
                  <a:cubicBezTo>
                    <a:pt x="118" y="217"/>
                    <a:pt x="112" y="215"/>
                    <a:pt x="107" y="215"/>
                  </a:cubicBezTo>
                  <a:cubicBezTo>
                    <a:pt x="107" y="215"/>
                    <a:pt x="107" y="215"/>
                    <a:pt x="106" y="215"/>
                  </a:cubicBezTo>
                  <a:cubicBezTo>
                    <a:pt x="106" y="215"/>
                    <a:pt x="105" y="215"/>
                    <a:pt x="104" y="216"/>
                  </a:cubicBezTo>
                  <a:cubicBezTo>
                    <a:pt x="103" y="216"/>
                    <a:pt x="102" y="216"/>
                    <a:pt x="101" y="216"/>
                  </a:cubicBezTo>
                  <a:cubicBezTo>
                    <a:pt x="101" y="216"/>
                    <a:pt x="101" y="216"/>
                    <a:pt x="101" y="216"/>
                  </a:cubicBezTo>
                  <a:cubicBezTo>
                    <a:pt x="98" y="216"/>
                    <a:pt x="92" y="213"/>
                    <a:pt x="92" y="210"/>
                  </a:cubicBezTo>
                  <a:cubicBezTo>
                    <a:pt x="92" y="210"/>
                    <a:pt x="92" y="210"/>
                    <a:pt x="92" y="210"/>
                  </a:cubicBezTo>
                  <a:cubicBezTo>
                    <a:pt x="97" y="210"/>
                    <a:pt x="95" y="205"/>
                    <a:pt x="97" y="201"/>
                  </a:cubicBezTo>
                  <a:cubicBezTo>
                    <a:pt x="97" y="200"/>
                    <a:pt x="100" y="199"/>
                    <a:pt x="97" y="197"/>
                  </a:cubicBezTo>
                  <a:cubicBezTo>
                    <a:pt x="97" y="196"/>
                    <a:pt x="96" y="196"/>
                    <a:pt x="95" y="196"/>
                  </a:cubicBezTo>
                  <a:cubicBezTo>
                    <a:pt x="92" y="196"/>
                    <a:pt x="88" y="197"/>
                    <a:pt x="87" y="197"/>
                  </a:cubicBezTo>
                  <a:cubicBezTo>
                    <a:pt x="83" y="197"/>
                    <a:pt x="80" y="197"/>
                    <a:pt x="76" y="197"/>
                  </a:cubicBezTo>
                  <a:cubicBezTo>
                    <a:pt x="75" y="197"/>
                    <a:pt x="71" y="201"/>
                    <a:pt x="70" y="202"/>
                  </a:cubicBezTo>
                  <a:cubicBezTo>
                    <a:pt x="69" y="203"/>
                    <a:pt x="69" y="203"/>
                    <a:pt x="68" y="203"/>
                  </a:cubicBezTo>
                  <a:cubicBezTo>
                    <a:pt x="68" y="203"/>
                    <a:pt x="68" y="202"/>
                    <a:pt x="65" y="202"/>
                  </a:cubicBezTo>
                  <a:cubicBezTo>
                    <a:pt x="65" y="202"/>
                    <a:pt x="65" y="202"/>
                    <a:pt x="65" y="202"/>
                  </a:cubicBezTo>
                  <a:cubicBezTo>
                    <a:pt x="61" y="202"/>
                    <a:pt x="55" y="204"/>
                    <a:pt x="52" y="206"/>
                  </a:cubicBezTo>
                  <a:cubicBezTo>
                    <a:pt x="49" y="208"/>
                    <a:pt x="48" y="209"/>
                    <a:pt x="51" y="210"/>
                  </a:cubicBezTo>
                  <a:cubicBezTo>
                    <a:pt x="54" y="211"/>
                    <a:pt x="56" y="212"/>
                    <a:pt x="58" y="213"/>
                  </a:cubicBezTo>
                  <a:cubicBezTo>
                    <a:pt x="56" y="214"/>
                    <a:pt x="53" y="215"/>
                    <a:pt x="50" y="215"/>
                  </a:cubicBezTo>
                  <a:cubicBezTo>
                    <a:pt x="48" y="215"/>
                    <a:pt x="45" y="214"/>
                    <a:pt x="44" y="214"/>
                  </a:cubicBezTo>
                  <a:cubicBezTo>
                    <a:pt x="42" y="213"/>
                    <a:pt x="42" y="212"/>
                    <a:pt x="41" y="212"/>
                  </a:cubicBezTo>
                  <a:cubicBezTo>
                    <a:pt x="41" y="212"/>
                    <a:pt x="41" y="212"/>
                    <a:pt x="41" y="212"/>
                  </a:cubicBezTo>
                  <a:cubicBezTo>
                    <a:pt x="40" y="212"/>
                    <a:pt x="38" y="213"/>
                    <a:pt x="38" y="213"/>
                  </a:cubicBezTo>
                  <a:cubicBezTo>
                    <a:pt x="35" y="214"/>
                    <a:pt x="33" y="214"/>
                    <a:pt x="31" y="216"/>
                  </a:cubicBezTo>
                  <a:cubicBezTo>
                    <a:pt x="29" y="217"/>
                    <a:pt x="28" y="218"/>
                    <a:pt x="27" y="219"/>
                  </a:cubicBezTo>
                  <a:cubicBezTo>
                    <a:pt x="27" y="219"/>
                    <a:pt x="26" y="219"/>
                    <a:pt x="26" y="219"/>
                  </a:cubicBezTo>
                  <a:cubicBezTo>
                    <a:pt x="26" y="219"/>
                    <a:pt x="26" y="219"/>
                    <a:pt x="26" y="219"/>
                  </a:cubicBezTo>
                  <a:cubicBezTo>
                    <a:pt x="26" y="219"/>
                    <a:pt x="25" y="219"/>
                    <a:pt x="25" y="219"/>
                  </a:cubicBezTo>
                  <a:cubicBezTo>
                    <a:pt x="25" y="219"/>
                    <a:pt x="25" y="219"/>
                    <a:pt x="24" y="220"/>
                  </a:cubicBezTo>
                  <a:cubicBezTo>
                    <a:pt x="23" y="220"/>
                    <a:pt x="24" y="222"/>
                    <a:pt x="23" y="223"/>
                  </a:cubicBezTo>
                  <a:cubicBezTo>
                    <a:pt x="22" y="224"/>
                    <a:pt x="21" y="224"/>
                    <a:pt x="20" y="224"/>
                  </a:cubicBezTo>
                  <a:cubicBezTo>
                    <a:pt x="19" y="224"/>
                    <a:pt x="18" y="223"/>
                    <a:pt x="16" y="223"/>
                  </a:cubicBezTo>
                  <a:cubicBezTo>
                    <a:pt x="16" y="223"/>
                    <a:pt x="16" y="223"/>
                    <a:pt x="16" y="223"/>
                  </a:cubicBezTo>
                  <a:cubicBezTo>
                    <a:pt x="15" y="223"/>
                    <a:pt x="12" y="225"/>
                    <a:pt x="11" y="226"/>
                  </a:cubicBezTo>
                  <a:cubicBezTo>
                    <a:pt x="10" y="227"/>
                    <a:pt x="10" y="229"/>
                    <a:pt x="9" y="229"/>
                  </a:cubicBezTo>
                  <a:cubicBezTo>
                    <a:pt x="9" y="230"/>
                    <a:pt x="8" y="230"/>
                    <a:pt x="8" y="230"/>
                  </a:cubicBezTo>
                  <a:cubicBezTo>
                    <a:pt x="7" y="230"/>
                    <a:pt x="7" y="230"/>
                    <a:pt x="7" y="230"/>
                  </a:cubicBezTo>
                  <a:cubicBezTo>
                    <a:pt x="7" y="230"/>
                    <a:pt x="6" y="230"/>
                    <a:pt x="6" y="230"/>
                  </a:cubicBezTo>
                  <a:cubicBezTo>
                    <a:pt x="6" y="230"/>
                    <a:pt x="6" y="230"/>
                    <a:pt x="5" y="230"/>
                  </a:cubicBezTo>
                  <a:cubicBezTo>
                    <a:pt x="4" y="230"/>
                    <a:pt x="2" y="231"/>
                    <a:pt x="0" y="232"/>
                  </a:cubicBezTo>
                  <a:cubicBezTo>
                    <a:pt x="0" y="236"/>
                    <a:pt x="12" y="241"/>
                    <a:pt x="16" y="241"/>
                  </a:cubicBezTo>
                  <a:cubicBezTo>
                    <a:pt x="21" y="242"/>
                    <a:pt x="25" y="243"/>
                    <a:pt x="30" y="244"/>
                  </a:cubicBezTo>
                  <a:cubicBezTo>
                    <a:pt x="28" y="243"/>
                    <a:pt x="27" y="243"/>
                    <a:pt x="25" y="243"/>
                  </a:cubicBezTo>
                  <a:cubicBezTo>
                    <a:pt x="26" y="242"/>
                    <a:pt x="26" y="242"/>
                    <a:pt x="27" y="242"/>
                  </a:cubicBezTo>
                  <a:cubicBezTo>
                    <a:pt x="30" y="242"/>
                    <a:pt x="33" y="244"/>
                    <a:pt x="36" y="244"/>
                  </a:cubicBezTo>
                  <a:cubicBezTo>
                    <a:pt x="39" y="245"/>
                    <a:pt x="42" y="245"/>
                    <a:pt x="45" y="247"/>
                  </a:cubicBezTo>
                  <a:cubicBezTo>
                    <a:pt x="44" y="247"/>
                    <a:pt x="44" y="247"/>
                    <a:pt x="43" y="247"/>
                  </a:cubicBezTo>
                  <a:cubicBezTo>
                    <a:pt x="42" y="247"/>
                    <a:pt x="42" y="247"/>
                    <a:pt x="41" y="247"/>
                  </a:cubicBezTo>
                  <a:cubicBezTo>
                    <a:pt x="40" y="247"/>
                    <a:pt x="39" y="247"/>
                    <a:pt x="39" y="247"/>
                  </a:cubicBezTo>
                  <a:cubicBezTo>
                    <a:pt x="39" y="247"/>
                    <a:pt x="38" y="247"/>
                    <a:pt x="38" y="247"/>
                  </a:cubicBezTo>
                  <a:cubicBezTo>
                    <a:pt x="38" y="247"/>
                    <a:pt x="36" y="247"/>
                    <a:pt x="36" y="247"/>
                  </a:cubicBezTo>
                  <a:cubicBezTo>
                    <a:pt x="35" y="249"/>
                    <a:pt x="36" y="249"/>
                    <a:pt x="35" y="250"/>
                  </a:cubicBezTo>
                  <a:cubicBezTo>
                    <a:pt x="34" y="252"/>
                    <a:pt x="32" y="252"/>
                    <a:pt x="30" y="252"/>
                  </a:cubicBezTo>
                  <a:cubicBezTo>
                    <a:pt x="29" y="252"/>
                    <a:pt x="27" y="252"/>
                    <a:pt x="25" y="251"/>
                  </a:cubicBezTo>
                  <a:cubicBezTo>
                    <a:pt x="28" y="254"/>
                    <a:pt x="32" y="258"/>
                    <a:pt x="35" y="260"/>
                  </a:cubicBezTo>
                  <a:cubicBezTo>
                    <a:pt x="35" y="259"/>
                    <a:pt x="35" y="259"/>
                    <a:pt x="35" y="259"/>
                  </a:cubicBezTo>
                  <a:cubicBezTo>
                    <a:pt x="38" y="260"/>
                    <a:pt x="36" y="262"/>
                    <a:pt x="35" y="264"/>
                  </a:cubicBezTo>
                  <a:cubicBezTo>
                    <a:pt x="35" y="268"/>
                    <a:pt x="38" y="269"/>
                    <a:pt x="41" y="271"/>
                  </a:cubicBezTo>
                  <a:cubicBezTo>
                    <a:pt x="44" y="273"/>
                    <a:pt x="49" y="273"/>
                    <a:pt x="53" y="274"/>
                  </a:cubicBezTo>
                  <a:cubicBezTo>
                    <a:pt x="57" y="275"/>
                    <a:pt x="64" y="278"/>
                    <a:pt x="70" y="278"/>
                  </a:cubicBezTo>
                  <a:cubicBezTo>
                    <a:pt x="72" y="278"/>
                    <a:pt x="73" y="277"/>
                    <a:pt x="75" y="277"/>
                  </a:cubicBezTo>
                  <a:cubicBezTo>
                    <a:pt x="74" y="277"/>
                    <a:pt x="73" y="277"/>
                    <a:pt x="72" y="277"/>
                  </a:cubicBezTo>
                  <a:cubicBezTo>
                    <a:pt x="71" y="277"/>
                    <a:pt x="71" y="276"/>
                    <a:pt x="72" y="275"/>
                  </a:cubicBezTo>
                  <a:cubicBezTo>
                    <a:pt x="73" y="275"/>
                    <a:pt x="74" y="275"/>
                    <a:pt x="75" y="275"/>
                  </a:cubicBezTo>
                  <a:cubicBezTo>
                    <a:pt x="75" y="275"/>
                    <a:pt x="76" y="275"/>
                    <a:pt x="76" y="275"/>
                  </a:cubicBezTo>
                  <a:cubicBezTo>
                    <a:pt x="76" y="275"/>
                    <a:pt x="76" y="275"/>
                    <a:pt x="76" y="275"/>
                  </a:cubicBezTo>
                  <a:cubicBezTo>
                    <a:pt x="77" y="275"/>
                    <a:pt x="77" y="275"/>
                    <a:pt x="77" y="275"/>
                  </a:cubicBezTo>
                  <a:cubicBezTo>
                    <a:pt x="80" y="274"/>
                    <a:pt x="83" y="272"/>
                    <a:pt x="86" y="272"/>
                  </a:cubicBezTo>
                  <a:cubicBezTo>
                    <a:pt x="86" y="272"/>
                    <a:pt x="86" y="272"/>
                    <a:pt x="86" y="272"/>
                  </a:cubicBezTo>
                  <a:cubicBezTo>
                    <a:pt x="85" y="273"/>
                    <a:pt x="85" y="273"/>
                    <a:pt x="85" y="273"/>
                  </a:cubicBezTo>
                  <a:cubicBezTo>
                    <a:pt x="86" y="273"/>
                    <a:pt x="86" y="273"/>
                    <a:pt x="87" y="273"/>
                  </a:cubicBezTo>
                  <a:cubicBezTo>
                    <a:pt x="88" y="273"/>
                    <a:pt x="90" y="273"/>
                    <a:pt x="91" y="273"/>
                  </a:cubicBezTo>
                  <a:cubicBezTo>
                    <a:pt x="91" y="273"/>
                    <a:pt x="91" y="273"/>
                    <a:pt x="91" y="273"/>
                  </a:cubicBezTo>
                  <a:cubicBezTo>
                    <a:pt x="93" y="273"/>
                    <a:pt x="94" y="272"/>
                    <a:pt x="96" y="272"/>
                  </a:cubicBezTo>
                  <a:cubicBezTo>
                    <a:pt x="96" y="272"/>
                    <a:pt x="97" y="272"/>
                    <a:pt x="97" y="272"/>
                  </a:cubicBezTo>
                  <a:cubicBezTo>
                    <a:pt x="100" y="272"/>
                    <a:pt x="104" y="273"/>
                    <a:pt x="106" y="274"/>
                  </a:cubicBezTo>
                  <a:cubicBezTo>
                    <a:pt x="108" y="275"/>
                    <a:pt x="109" y="276"/>
                    <a:pt x="110" y="277"/>
                  </a:cubicBezTo>
                  <a:cubicBezTo>
                    <a:pt x="111" y="278"/>
                    <a:pt x="112" y="279"/>
                    <a:pt x="112" y="279"/>
                  </a:cubicBezTo>
                  <a:cubicBezTo>
                    <a:pt x="113" y="279"/>
                    <a:pt x="113" y="278"/>
                    <a:pt x="113" y="277"/>
                  </a:cubicBezTo>
                  <a:cubicBezTo>
                    <a:pt x="114" y="276"/>
                    <a:pt x="115" y="276"/>
                    <a:pt x="115" y="275"/>
                  </a:cubicBezTo>
                  <a:cubicBezTo>
                    <a:pt x="115" y="274"/>
                    <a:pt x="112" y="274"/>
                    <a:pt x="111" y="274"/>
                  </a:cubicBezTo>
                  <a:cubicBezTo>
                    <a:pt x="110" y="273"/>
                    <a:pt x="109" y="273"/>
                    <a:pt x="107" y="272"/>
                  </a:cubicBezTo>
                  <a:cubicBezTo>
                    <a:pt x="109" y="271"/>
                    <a:pt x="110" y="270"/>
                    <a:pt x="111" y="270"/>
                  </a:cubicBezTo>
                  <a:cubicBezTo>
                    <a:pt x="112" y="270"/>
                    <a:pt x="113" y="271"/>
                    <a:pt x="115" y="272"/>
                  </a:cubicBezTo>
                  <a:cubicBezTo>
                    <a:pt x="117" y="274"/>
                    <a:pt x="119" y="275"/>
                    <a:pt x="120" y="277"/>
                  </a:cubicBezTo>
                  <a:cubicBezTo>
                    <a:pt x="121" y="279"/>
                    <a:pt x="120" y="281"/>
                    <a:pt x="121" y="281"/>
                  </a:cubicBezTo>
                  <a:cubicBezTo>
                    <a:pt x="121" y="281"/>
                    <a:pt x="122" y="281"/>
                    <a:pt x="123" y="280"/>
                  </a:cubicBezTo>
                  <a:cubicBezTo>
                    <a:pt x="125" y="279"/>
                    <a:pt x="124" y="279"/>
                    <a:pt x="125" y="276"/>
                  </a:cubicBezTo>
                  <a:cubicBezTo>
                    <a:pt x="126" y="273"/>
                    <a:pt x="131" y="273"/>
                    <a:pt x="133" y="271"/>
                  </a:cubicBezTo>
                  <a:cubicBezTo>
                    <a:pt x="135" y="269"/>
                    <a:pt x="135" y="268"/>
                    <a:pt x="137" y="268"/>
                  </a:cubicBezTo>
                  <a:cubicBezTo>
                    <a:pt x="138" y="268"/>
                    <a:pt x="141" y="268"/>
                    <a:pt x="142" y="267"/>
                  </a:cubicBezTo>
                  <a:cubicBezTo>
                    <a:pt x="144" y="266"/>
                    <a:pt x="145" y="264"/>
                    <a:pt x="146" y="264"/>
                  </a:cubicBezTo>
                  <a:cubicBezTo>
                    <a:pt x="146" y="264"/>
                    <a:pt x="146" y="264"/>
                    <a:pt x="146" y="264"/>
                  </a:cubicBezTo>
                  <a:cubicBezTo>
                    <a:pt x="147" y="265"/>
                    <a:pt x="149" y="266"/>
                    <a:pt x="150" y="266"/>
                  </a:cubicBezTo>
                  <a:cubicBezTo>
                    <a:pt x="151" y="266"/>
                    <a:pt x="152" y="266"/>
                    <a:pt x="152" y="265"/>
                  </a:cubicBezTo>
                  <a:cubicBezTo>
                    <a:pt x="156" y="264"/>
                    <a:pt x="156" y="259"/>
                    <a:pt x="160" y="259"/>
                  </a:cubicBezTo>
                  <a:cubicBezTo>
                    <a:pt x="160" y="259"/>
                    <a:pt x="160" y="259"/>
                    <a:pt x="161" y="259"/>
                  </a:cubicBezTo>
                  <a:cubicBezTo>
                    <a:pt x="161" y="259"/>
                    <a:pt x="161" y="259"/>
                    <a:pt x="161" y="259"/>
                  </a:cubicBezTo>
                  <a:cubicBezTo>
                    <a:pt x="161" y="259"/>
                    <a:pt x="162" y="259"/>
                    <a:pt x="162" y="259"/>
                  </a:cubicBezTo>
                  <a:cubicBezTo>
                    <a:pt x="162" y="259"/>
                    <a:pt x="162" y="259"/>
                    <a:pt x="162" y="259"/>
                  </a:cubicBezTo>
                  <a:cubicBezTo>
                    <a:pt x="162" y="259"/>
                    <a:pt x="162" y="260"/>
                    <a:pt x="163" y="261"/>
                  </a:cubicBezTo>
                  <a:cubicBezTo>
                    <a:pt x="163" y="263"/>
                    <a:pt x="164" y="262"/>
                    <a:pt x="165" y="263"/>
                  </a:cubicBezTo>
                  <a:cubicBezTo>
                    <a:pt x="167" y="266"/>
                    <a:pt x="168" y="267"/>
                    <a:pt x="165" y="269"/>
                  </a:cubicBezTo>
                  <a:cubicBezTo>
                    <a:pt x="162" y="272"/>
                    <a:pt x="160" y="273"/>
                    <a:pt x="156" y="275"/>
                  </a:cubicBezTo>
                  <a:cubicBezTo>
                    <a:pt x="156" y="275"/>
                    <a:pt x="156" y="275"/>
                    <a:pt x="156" y="275"/>
                  </a:cubicBezTo>
                  <a:cubicBezTo>
                    <a:pt x="155" y="275"/>
                    <a:pt x="155" y="275"/>
                    <a:pt x="155" y="274"/>
                  </a:cubicBezTo>
                  <a:cubicBezTo>
                    <a:pt x="154" y="274"/>
                    <a:pt x="154" y="274"/>
                    <a:pt x="154" y="274"/>
                  </a:cubicBezTo>
                  <a:cubicBezTo>
                    <a:pt x="153" y="274"/>
                    <a:pt x="153" y="274"/>
                    <a:pt x="153" y="275"/>
                  </a:cubicBezTo>
                  <a:cubicBezTo>
                    <a:pt x="152" y="276"/>
                    <a:pt x="153" y="278"/>
                    <a:pt x="154" y="279"/>
                  </a:cubicBezTo>
                  <a:cubicBezTo>
                    <a:pt x="154" y="279"/>
                    <a:pt x="155" y="279"/>
                    <a:pt x="155" y="279"/>
                  </a:cubicBezTo>
                  <a:cubicBezTo>
                    <a:pt x="155" y="279"/>
                    <a:pt x="155" y="279"/>
                    <a:pt x="156" y="279"/>
                  </a:cubicBezTo>
                  <a:cubicBezTo>
                    <a:pt x="156" y="279"/>
                    <a:pt x="157" y="278"/>
                    <a:pt x="157" y="278"/>
                  </a:cubicBezTo>
                  <a:cubicBezTo>
                    <a:pt x="157" y="278"/>
                    <a:pt x="157" y="278"/>
                    <a:pt x="158" y="279"/>
                  </a:cubicBezTo>
                  <a:cubicBezTo>
                    <a:pt x="158" y="279"/>
                    <a:pt x="159" y="282"/>
                    <a:pt x="160" y="283"/>
                  </a:cubicBezTo>
                  <a:cubicBezTo>
                    <a:pt x="161" y="284"/>
                    <a:pt x="163" y="284"/>
                    <a:pt x="164" y="286"/>
                  </a:cubicBezTo>
                  <a:cubicBezTo>
                    <a:pt x="164" y="288"/>
                    <a:pt x="163" y="290"/>
                    <a:pt x="164" y="292"/>
                  </a:cubicBezTo>
                  <a:cubicBezTo>
                    <a:pt x="164" y="293"/>
                    <a:pt x="165" y="295"/>
                    <a:pt x="166" y="296"/>
                  </a:cubicBezTo>
                  <a:cubicBezTo>
                    <a:pt x="168" y="301"/>
                    <a:pt x="168" y="303"/>
                    <a:pt x="164" y="306"/>
                  </a:cubicBezTo>
                  <a:cubicBezTo>
                    <a:pt x="163" y="308"/>
                    <a:pt x="162" y="310"/>
                    <a:pt x="160" y="311"/>
                  </a:cubicBezTo>
                  <a:cubicBezTo>
                    <a:pt x="158" y="312"/>
                    <a:pt x="155" y="312"/>
                    <a:pt x="152" y="312"/>
                  </a:cubicBezTo>
                  <a:cubicBezTo>
                    <a:pt x="149" y="312"/>
                    <a:pt x="145" y="312"/>
                    <a:pt x="143" y="312"/>
                  </a:cubicBezTo>
                  <a:cubicBezTo>
                    <a:pt x="142" y="312"/>
                    <a:pt x="140" y="312"/>
                    <a:pt x="139" y="312"/>
                  </a:cubicBezTo>
                  <a:cubicBezTo>
                    <a:pt x="138" y="312"/>
                    <a:pt x="137" y="312"/>
                    <a:pt x="135" y="312"/>
                  </a:cubicBezTo>
                  <a:cubicBezTo>
                    <a:pt x="135" y="312"/>
                    <a:pt x="134" y="311"/>
                    <a:pt x="133" y="311"/>
                  </a:cubicBezTo>
                  <a:cubicBezTo>
                    <a:pt x="133" y="311"/>
                    <a:pt x="133" y="311"/>
                    <a:pt x="132" y="311"/>
                  </a:cubicBezTo>
                  <a:cubicBezTo>
                    <a:pt x="131" y="312"/>
                    <a:pt x="129" y="316"/>
                    <a:pt x="128" y="318"/>
                  </a:cubicBezTo>
                  <a:cubicBezTo>
                    <a:pt x="127" y="319"/>
                    <a:pt x="126" y="321"/>
                    <a:pt x="124" y="322"/>
                  </a:cubicBezTo>
                  <a:cubicBezTo>
                    <a:pt x="123" y="322"/>
                    <a:pt x="122" y="323"/>
                    <a:pt x="121" y="323"/>
                  </a:cubicBezTo>
                  <a:cubicBezTo>
                    <a:pt x="119" y="324"/>
                    <a:pt x="120" y="324"/>
                    <a:pt x="119" y="325"/>
                  </a:cubicBezTo>
                  <a:cubicBezTo>
                    <a:pt x="116" y="328"/>
                    <a:pt x="113" y="329"/>
                    <a:pt x="110" y="329"/>
                  </a:cubicBezTo>
                  <a:cubicBezTo>
                    <a:pt x="107" y="329"/>
                    <a:pt x="104" y="328"/>
                    <a:pt x="101" y="325"/>
                  </a:cubicBezTo>
                  <a:cubicBezTo>
                    <a:pt x="99" y="323"/>
                    <a:pt x="98" y="323"/>
                    <a:pt x="95" y="322"/>
                  </a:cubicBezTo>
                  <a:cubicBezTo>
                    <a:pt x="95" y="322"/>
                    <a:pt x="94" y="322"/>
                    <a:pt x="94" y="322"/>
                  </a:cubicBezTo>
                  <a:cubicBezTo>
                    <a:pt x="89" y="322"/>
                    <a:pt x="84" y="325"/>
                    <a:pt x="79" y="326"/>
                  </a:cubicBezTo>
                  <a:cubicBezTo>
                    <a:pt x="81" y="327"/>
                    <a:pt x="84" y="328"/>
                    <a:pt x="85" y="330"/>
                  </a:cubicBezTo>
                  <a:cubicBezTo>
                    <a:pt x="84" y="330"/>
                    <a:pt x="83" y="330"/>
                    <a:pt x="82" y="330"/>
                  </a:cubicBezTo>
                  <a:cubicBezTo>
                    <a:pt x="82" y="330"/>
                    <a:pt x="81" y="330"/>
                    <a:pt x="81" y="330"/>
                  </a:cubicBezTo>
                  <a:cubicBezTo>
                    <a:pt x="80" y="330"/>
                    <a:pt x="80" y="330"/>
                    <a:pt x="79" y="330"/>
                  </a:cubicBezTo>
                  <a:cubicBezTo>
                    <a:pt x="77" y="330"/>
                    <a:pt x="75" y="330"/>
                    <a:pt x="74" y="333"/>
                  </a:cubicBezTo>
                  <a:cubicBezTo>
                    <a:pt x="73" y="335"/>
                    <a:pt x="72" y="337"/>
                    <a:pt x="72" y="339"/>
                  </a:cubicBezTo>
                  <a:cubicBezTo>
                    <a:pt x="73" y="343"/>
                    <a:pt x="73" y="344"/>
                    <a:pt x="74" y="344"/>
                  </a:cubicBezTo>
                  <a:cubicBezTo>
                    <a:pt x="76" y="344"/>
                    <a:pt x="78" y="340"/>
                    <a:pt x="81" y="340"/>
                  </a:cubicBezTo>
                  <a:cubicBezTo>
                    <a:pt x="79" y="343"/>
                    <a:pt x="77" y="345"/>
                    <a:pt x="75" y="348"/>
                  </a:cubicBezTo>
                  <a:cubicBezTo>
                    <a:pt x="74" y="349"/>
                    <a:pt x="74" y="349"/>
                    <a:pt x="74" y="349"/>
                  </a:cubicBezTo>
                  <a:cubicBezTo>
                    <a:pt x="74" y="349"/>
                    <a:pt x="74" y="348"/>
                    <a:pt x="73" y="348"/>
                  </a:cubicBezTo>
                  <a:cubicBezTo>
                    <a:pt x="72" y="348"/>
                    <a:pt x="71" y="348"/>
                    <a:pt x="70" y="348"/>
                  </a:cubicBezTo>
                  <a:cubicBezTo>
                    <a:pt x="69" y="348"/>
                    <a:pt x="68" y="348"/>
                    <a:pt x="66" y="350"/>
                  </a:cubicBezTo>
                  <a:cubicBezTo>
                    <a:pt x="62" y="353"/>
                    <a:pt x="58" y="357"/>
                    <a:pt x="54" y="362"/>
                  </a:cubicBezTo>
                  <a:cubicBezTo>
                    <a:pt x="52" y="365"/>
                    <a:pt x="52" y="367"/>
                    <a:pt x="54" y="371"/>
                  </a:cubicBezTo>
                  <a:cubicBezTo>
                    <a:pt x="55" y="374"/>
                    <a:pt x="46" y="373"/>
                    <a:pt x="44" y="373"/>
                  </a:cubicBezTo>
                  <a:cubicBezTo>
                    <a:pt x="46" y="375"/>
                    <a:pt x="49" y="376"/>
                    <a:pt x="51" y="378"/>
                  </a:cubicBezTo>
                  <a:cubicBezTo>
                    <a:pt x="49" y="379"/>
                    <a:pt x="47" y="380"/>
                    <a:pt x="44" y="380"/>
                  </a:cubicBezTo>
                  <a:cubicBezTo>
                    <a:pt x="44" y="380"/>
                    <a:pt x="43" y="380"/>
                    <a:pt x="42" y="379"/>
                  </a:cubicBezTo>
                  <a:cubicBezTo>
                    <a:pt x="41" y="383"/>
                    <a:pt x="43" y="383"/>
                    <a:pt x="47" y="383"/>
                  </a:cubicBezTo>
                  <a:cubicBezTo>
                    <a:pt x="47" y="383"/>
                    <a:pt x="47" y="383"/>
                    <a:pt x="47" y="383"/>
                  </a:cubicBezTo>
                  <a:cubicBezTo>
                    <a:pt x="47" y="383"/>
                    <a:pt x="47" y="383"/>
                    <a:pt x="48" y="383"/>
                  </a:cubicBezTo>
                  <a:cubicBezTo>
                    <a:pt x="48" y="383"/>
                    <a:pt x="48" y="383"/>
                    <a:pt x="49" y="383"/>
                  </a:cubicBezTo>
                  <a:cubicBezTo>
                    <a:pt x="49" y="383"/>
                    <a:pt x="50" y="383"/>
                    <a:pt x="50" y="383"/>
                  </a:cubicBezTo>
                  <a:cubicBezTo>
                    <a:pt x="52" y="385"/>
                    <a:pt x="49" y="386"/>
                    <a:pt x="49" y="387"/>
                  </a:cubicBezTo>
                  <a:cubicBezTo>
                    <a:pt x="47" y="392"/>
                    <a:pt x="54" y="390"/>
                    <a:pt x="55" y="392"/>
                  </a:cubicBezTo>
                  <a:cubicBezTo>
                    <a:pt x="56" y="394"/>
                    <a:pt x="54" y="396"/>
                    <a:pt x="55" y="398"/>
                  </a:cubicBezTo>
                  <a:cubicBezTo>
                    <a:pt x="56" y="399"/>
                    <a:pt x="59" y="399"/>
                    <a:pt x="61" y="399"/>
                  </a:cubicBezTo>
                  <a:cubicBezTo>
                    <a:pt x="61" y="399"/>
                    <a:pt x="61" y="399"/>
                    <a:pt x="61" y="399"/>
                  </a:cubicBezTo>
                  <a:cubicBezTo>
                    <a:pt x="61" y="398"/>
                    <a:pt x="61" y="395"/>
                    <a:pt x="61" y="394"/>
                  </a:cubicBezTo>
                  <a:cubicBezTo>
                    <a:pt x="62" y="393"/>
                    <a:pt x="64" y="394"/>
                    <a:pt x="64" y="392"/>
                  </a:cubicBezTo>
                  <a:cubicBezTo>
                    <a:pt x="65" y="394"/>
                    <a:pt x="62" y="394"/>
                    <a:pt x="61" y="395"/>
                  </a:cubicBezTo>
                  <a:cubicBezTo>
                    <a:pt x="63" y="396"/>
                    <a:pt x="64" y="396"/>
                    <a:pt x="66" y="397"/>
                  </a:cubicBezTo>
                  <a:cubicBezTo>
                    <a:pt x="66" y="395"/>
                    <a:pt x="67" y="395"/>
                    <a:pt x="68" y="394"/>
                  </a:cubicBezTo>
                  <a:cubicBezTo>
                    <a:pt x="67" y="396"/>
                    <a:pt x="66" y="397"/>
                    <a:pt x="65" y="398"/>
                  </a:cubicBezTo>
                  <a:cubicBezTo>
                    <a:pt x="66" y="398"/>
                    <a:pt x="69" y="399"/>
                    <a:pt x="71" y="399"/>
                  </a:cubicBezTo>
                  <a:cubicBezTo>
                    <a:pt x="72" y="399"/>
                    <a:pt x="74" y="398"/>
                    <a:pt x="74" y="398"/>
                  </a:cubicBezTo>
                  <a:cubicBezTo>
                    <a:pt x="73" y="400"/>
                    <a:pt x="70" y="399"/>
                    <a:pt x="71" y="402"/>
                  </a:cubicBezTo>
                  <a:cubicBezTo>
                    <a:pt x="70" y="402"/>
                    <a:pt x="70" y="402"/>
                    <a:pt x="70" y="402"/>
                  </a:cubicBezTo>
                  <a:cubicBezTo>
                    <a:pt x="68" y="402"/>
                    <a:pt x="66" y="402"/>
                    <a:pt x="65" y="403"/>
                  </a:cubicBezTo>
                  <a:cubicBezTo>
                    <a:pt x="66" y="404"/>
                    <a:pt x="67" y="404"/>
                    <a:pt x="68" y="404"/>
                  </a:cubicBezTo>
                  <a:cubicBezTo>
                    <a:pt x="69" y="404"/>
                    <a:pt x="69" y="404"/>
                    <a:pt x="70" y="404"/>
                  </a:cubicBezTo>
                  <a:cubicBezTo>
                    <a:pt x="70" y="404"/>
                    <a:pt x="71" y="404"/>
                    <a:pt x="71" y="404"/>
                  </a:cubicBezTo>
                  <a:cubicBezTo>
                    <a:pt x="72" y="404"/>
                    <a:pt x="72" y="404"/>
                    <a:pt x="72" y="404"/>
                  </a:cubicBezTo>
                  <a:cubicBezTo>
                    <a:pt x="73" y="404"/>
                    <a:pt x="74" y="405"/>
                    <a:pt x="75" y="405"/>
                  </a:cubicBezTo>
                  <a:cubicBezTo>
                    <a:pt x="75" y="405"/>
                    <a:pt x="75" y="405"/>
                    <a:pt x="75" y="405"/>
                  </a:cubicBezTo>
                  <a:cubicBezTo>
                    <a:pt x="75" y="405"/>
                    <a:pt x="76" y="405"/>
                    <a:pt x="76" y="405"/>
                  </a:cubicBezTo>
                  <a:cubicBezTo>
                    <a:pt x="76" y="405"/>
                    <a:pt x="77" y="405"/>
                    <a:pt x="77" y="405"/>
                  </a:cubicBezTo>
                  <a:cubicBezTo>
                    <a:pt x="77" y="405"/>
                    <a:pt x="77" y="405"/>
                    <a:pt x="77" y="405"/>
                  </a:cubicBezTo>
                  <a:cubicBezTo>
                    <a:pt x="79" y="405"/>
                    <a:pt x="80" y="407"/>
                    <a:pt x="82" y="407"/>
                  </a:cubicBezTo>
                  <a:cubicBezTo>
                    <a:pt x="83" y="407"/>
                    <a:pt x="83" y="407"/>
                    <a:pt x="84" y="407"/>
                  </a:cubicBezTo>
                  <a:cubicBezTo>
                    <a:pt x="85" y="407"/>
                    <a:pt x="86" y="407"/>
                    <a:pt x="88" y="407"/>
                  </a:cubicBezTo>
                  <a:cubicBezTo>
                    <a:pt x="89" y="407"/>
                    <a:pt x="90" y="407"/>
                    <a:pt x="91" y="407"/>
                  </a:cubicBezTo>
                  <a:cubicBezTo>
                    <a:pt x="92" y="407"/>
                    <a:pt x="92" y="407"/>
                    <a:pt x="93" y="407"/>
                  </a:cubicBezTo>
                  <a:cubicBezTo>
                    <a:pt x="94" y="407"/>
                    <a:pt x="94" y="406"/>
                    <a:pt x="95" y="405"/>
                  </a:cubicBezTo>
                  <a:cubicBezTo>
                    <a:pt x="96" y="405"/>
                    <a:pt x="98" y="403"/>
                    <a:pt x="98" y="403"/>
                  </a:cubicBezTo>
                  <a:cubicBezTo>
                    <a:pt x="99" y="403"/>
                    <a:pt x="99" y="403"/>
                    <a:pt x="99" y="403"/>
                  </a:cubicBezTo>
                  <a:cubicBezTo>
                    <a:pt x="100" y="403"/>
                    <a:pt x="100" y="403"/>
                    <a:pt x="100" y="404"/>
                  </a:cubicBezTo>
                  <a:cubicBezTo>
                    <a:pt x="100" y="405"/>
                    <a:pt x="102" y="405"/>
                    <a:pt x="103" y="405"/>
                  </a:cubicBezTo>
                  <a:cubicBezTo>
                    <a:pt x="102" y="407"/>
                    <a:pt x="101" y="407"/>
                    <a:pt x="100" y="407"/>
                  </a:cubicBezTo>
                  <a:cubicBezTo>
                    <a:pt x="99" y="407"/>
                    <a:pt x="99" y="407"/>
                    <a:pt x="98" y="407"/>
                  </a:cubicBezTo>
                  <a:cubicBezTo>
                    <a:pt x="98" y="407"/>
                    <a:pt x="98" y="407"/>
                    <a:pt x="97" y="407"/>
                  </a:cubicBezTo>
                  <a:cubicBezTo>
                    <a:pt x="96" y="407"/>
                    <a:pt x="96" y="407"/>
                    <a:pt x="95" y="407"/>
                  </a:cubicBezTo>
                  <a:cubicBezTo>
                    <a:pt x="97" y="408"/>
                    <a:pt x="104" y="408"/>
                    <a:pt x="106" y="411"/>
                  </a:cubicBezTo>
                  <a:cubicBezTo>
                    <a:pt x="107" y="413"/>
                    <a:pt x="102" y="417"/>
                    <a:pt x="99" y="417"/>
                  </a:cubicBezTo>
                  <a:cubicBezTo>
                    <a:pt x="98" y="417"/>
                    <a:pt x="98" y="417"/>
                    <a:pt x="98" y="417"/>
                  </a:cubicBezTo>
                  <a:cubicBezTo>
                    <a:pt x="95" y="416"/>
                    <a:pt x="97" y="410"/>
                    <a:pt x="94" y="410"/>
                  </a:cubicBezTo>
                  <a:cubicBezTo>
                    <a:pt x="93" y="410"/>
                    <a:pt x="93" y="410"/>
                    <a:pt x="93" y="410"/>
                  </a:cubicBezTo>
                  <a:cubicBezTo>
                    <a:pt x="91" y="411"/>
                    <a:pt x="91" y="413"/>
                    <a:pt x="90" y="413"/>
                  </a:cubicBezTo>
                  <a:cubicBezTo>
                    <a:pt x="89" y="414"/>
                    <a:pt x="87" y="414"/>
                    <a:pt x="86" y="415"/>
                  </a:cubicBezTo>
                  <a:cubicBezTo>
                    <a:pt x="85" y="416"/>
                    <a:pt x="84" y="418"/>
                    <a:pt x="83" y="418"/>
                  </a:cubicBezTo>
                  <a:cubicBezTo>
                    <a:pt x="83" y="417"/>
                    <a:pt x="84" y="416"/>
                    <a:pt x="85" y="415"/>
                  </a:cubicBezTo>
                  <a:cubicBezTo>
                    <a:pt x="87" y="414"/>
                    <a:pt x="87" y="414"/>
                    <a:pt x="87" y="414"/>
                  </a:cubicBezTo>
                  <a:cubicBezTo>
                    <a:pt x="88" y="411"/>
                    <a:pt x="86" y="410"/>
                    <a:pt x="83" y="409"/>
                  </a:cubicBezTo>
                  <a:cubicBezTo>
                    <a:pt x="82" y="409"/>
                    <a:pt x="79" y="409"/>
                    <a:pt x="77" y="409"/>
                  </a:cubicBezTo>
                  <a:cubicBezTo>
                    <a:pt x="76" y="408"/>
                    <a:pt x="76" y="406"/>
                    <a:pt x="75" y="406"/>
                  </a:cubicBezTo>
                  <a:cubicBezTo>
                    <a:pt x="75" y="406"/>
                    <a:pt x="75" y="406"/>
                    <a:pt x="75" y="406"/>
                  </a:cubicBezTo>
                  <a:cubicBezTo>
                    <a:pt x="75" y="406"/>
                    <a:pt x="74" y="406"/>
                    <a:pt x="74" y="406"/>
                  </a:cubicBezTo>
                  <a:cubicBezTo>
                    <a:pt x="74" y="407"/>
                    <a:pt x="73" y="407"/>
                    <a:pt x="73" y="407"/>
                  </a:cubicBezTo>
                  <a:cubicBezTo>
                    <a:pt x="73" y="407"/>
                    <a:pt x="73" y="407"/>
                    <a:pt x="73" y="407"/>
                  </a:cubicBezTo>
                  <a:cubicBezTo>
                    <a:pt x="72" y="407"/>
                    <a:pt x="72" y="405"/>
                    <a:pt x="71" y="405"/>
                  </a:cubicBezTo>
                  <a:cubicBezTo>
                    <a:pt x="71" y="405"/>
                    <a:pt x="71" y="405"/>
                    <a:pt x="71" y="405"/>
                  </a:cubicBezTo>
                  <a:cubicBezTo>
                    <a:pt x="70" y="406"/>
                    <a:pt x="71" y="408"/>
                    <a:pt x="71" y="409"/>
                  </a:cubicBezTo>
                  <a:cubicBezTo>
                    <a:pt x="71" y="410"/>
                    <a:pt x="69" y="410"/>
                    <a:pt x="69" y="410"/>
                  </a:cubicBezTo>
                  <a:cubicBezTo>
                    <a:pt x="68" y="411"/>
                    <a:pt x="70" y="412"/>
                    <a:pt x="69" y="413"/>
                  </a:cubicBezTo>
                  <a:cubicBezTo>
                    <a:pt x="67" y="416"/>
                    <a:pt x="62" y="416"/>
                    <a:pt x="60" y="418"/>
                  </a:cubicBezTo>
                  <a:cubicBezTo>
                    <a:pt x="61" y="419"/>
                    <a:pt x="64" y="419"/>
                    <a:pt x="66" y="419"/>
                  </a:cubicBezTo>
                  <a:cubicBezTo>
                    <a:pt x="66" y="419"/>
                    <a:pt x="66" y="419"/>
                    <a:pt x="66" y="419"/>
                  </a:cubicBezTo>
                  <a:cubicBezTo>
                    <a:pt x="67" y="419"/>
                    <a:pt x="68" y="418"/>
                    <a:pt x="69" y="418"/>
                  </a:cubicBezTo>
                  <a:cubicBezTo>
                    <a:pt x="69" y="418"/>
                    <a:pt x="69" y="418"/>
                    <a:pt x="69" y="418"/>
                  </a:cubicBezTo>
                  <a:cubicBezTo>
                    <a:pt x="71" y="419"/>
                    <a:pt x="67" y="421"/>
                    <a:pt x="67" y="421"/>
                  </a:cubicBezTo>
                  <a:cubicBezTo>
                    <a:pt x="67" y="423"/>
                    <a:pt x="66" y="422"/>
                    <a:pt x="68" y="423"/>
                  </a:cubicBezTo>
                  <a:cubicBezTo>
                    <a:pt x="69" y="425"/>
                    <a:pt x="73" y="426"/>
                    <a:pt x="75" y="426"/>
                  </a:cubicBezTo>
                  <a:cubicBezTo>
                    <a:pt x="75" y="427"/>
                    <a:pt x="75" y="427"/>
                    <a:pt x="76" y="427"/>
                  </a:cubicBezTo>
                  <a:cubicBezTo>
                    <a:pt x="76" y="427"/>
                    <a:pt x="76" y="426"/>
                    <a:pt x="76" y="426"/>
                  </a:cubicBezTo>
                  <a:cubicBezTo>
                    <a:pt x="77" y="426"/>
                    <a:pt x="77" y="426"/>
                    <a:pt x="77" y="426"/>
                  </a:cubicBezTo>
                  <a:cubicBezTo>
                    <a:pt x="78" y="426"/>
                    <a:pt x="78" y="426"/>
                    <a:pt x="78" y="427"/>
                  </a:cubicBezTo>
                  <a:cubicBezTo>
                    <a:pt x="82" y="431"/>
                    <a:pt x="85" y="438"/>
                    <a:pt x="89" y="442"/>
                  </a:cubicBezTo>
                  <a:cubicBezTo>
                    <a:pt x="91" y="444"/>
                    <a:pt x="96" y="444"/>
                    <a:pt x="99" y="444"/>
                  </a:cubicBezTo>
                  <a:cubicBezTo>
                    <a:pt x="99" y="444"/>
                    <a:pt x="99" y="444"/>
                    <a:pt x="99" y="444"/>
                  </a:cubicBezTo>
                  <a:cubicBezTo>
                    <a:pt x="102" y="444"/>
                    <a:pt x="123" y="442"/>
                    <a:pt x="122" y="437"/>
                  </a:cubicBezTo>
                  <a:cubicBezTo>
                    <a:pt x="123" y="438"/>
                    <a:pt x="124" y="438"/>
                    <a:pt x="124" y="438"/>
                  </a:cubicBezTo>
                  <a:cubicBezTo>
                    <a:pt x="126" y="438"/>
                    <a:pt x="128" y="437"/>
                    <a:pt x="128" y="435"/>
                  </a:cubicBezTo>
                  <a:cubicBezTo>
                    <a:pt x="129" y="431"/>
                    <a:pt x="129" y="431"/>
                    <a:pt x="129" y="431"/>
                  </a:cubicBezTo>
                  <a:cubicBezTo>
                    <a:pt x="128" y="429"/>
                    <a:pt x="125" y="429"/>
                    <a:pt x="123" y="428"/>
                  </a:cubicBezTo>
                  <a:cubicBezTo>
                    <a:pt x="124" y="428"/>
                    <a:pt x="124" y="428"/>
                    <a:pt x="124" y="428"/>
                  </a:cubicBezTo>
                  <a:cubicBezTo>
                    <a:pt x="126" y="428"/>
                    <a:pt x="125" y="428"/>
                    <a:pt x="126" y="427"/>
                  </a:cubicBezTo>
                  <a:cubicBezTo>
                    <a:pt x="126" y="426"/>
                    <a:pt x="126" y="426"/>
                    <a:pt x="126" y="426"/>
                  </a:cubicBezTo>
                  <a:cubicBezTo>
                    <a:pt x="127" y="425"/>
                    <a:pt x="127" y="425"/>
                    <a:pt x="127" y="425"/>
                  </a:cubicBezTo>
                  <a:cubicBezTo>
                    <a:pt x="128" y="425"/>
                    <a:pt x="129" y="424"/>
                    <a:pt x="129" y="424"/>
                  </a:cubicBezTo>
                  <a:cubicBezTo>
                    <a:pt x="130" y="424"/>
                    <a:pt x="129" y="423"/>
                    <a:pt x="129" y="422"/>
                  </a:cubicBezTo>
                  <a:cubicBezTo>
                    <a:pt x="129" y="422"/>
                    <a:pt x="129" y="422"/>
                    <a:pt x="129" y="422"/>
                  </a:cubicBezTo>
                  <a:cubicBezTo>
                    <a:pt x="129" y="422"/>
                    <a:pt x="129" y="422"/>
                    <a:pt x="130" y="422"/>
                  </a:cubicBezTo>
                  <a:cubicBezTo>
                    <a:pt x="130" y="422"/>
                    <a:pt x="130" y="422"/>
                    <a:pt x="130" y="422"/>
                  </a:cubicBezTo>
                  <a:cubicBezTo>
                    <a:pt x="130" y="422"/>
                    <a:pt x="130" y="422"/>
                    <a:pt x="130" y="422"/>
                  </a:cubicBezTo>
                  <a:cubicBezTo>
                    <a:pt x="131" y="421"/>
                    <a:pt x="132" y="418"/>
                    <a:pt x="132" y="417"/>
                  </a:cubicBezTo>
                  <a:cubicBezTo>
                    <a:pt x="134" y="415"/>
                    <a:pt x="137" y="415"/>
                    <a:pt x="136" y="412"/>
                  </a:cubicBezTo>
                  <a:cubicBezTo>
                    <a:pt x="137" y="413"/>
                    <a:pt x="137" y="413"/>
                    <a:pt x="138" y="413"/>
                  </a:cubicBezTo>
                  <a:cubicBezTo>
                    <a:pt x="139" y="413"/>
                    <a:pt x="140" y="413"/>
                    <a:pt x="141" y="413"/>
                  </a:cubicBezTo>
                  <a:cubicBezTo>
                    <a:pt x="140" y="415"/>
                    <a:pt x="137" y="414"/>
                    <a:pt x="135" y="416"/>
                  </a:cubicBezTo>
                  <a:cubicBezTo>
                    <a:pt x="133" y="418"/>
                    <a:pt x="133" y="421"/>
                    <a:pt x="132" y="423"/>
                  </a:cubicBezTo>
                  <a:cubicBezTo>
                    <a:pt x="131" y="423"/>
                    <a:pt x="129" y="427"/>
                    <a:pt x="129" y="427"/>
                  </a:cubicBezTo>
                  <a:cubicBezTo>
                    <a:pt x="129" y="427"/>
                    <a:pt x="129" y="427"/>
                    <a:pt x="129" y="427"/>
                  </a:cubicBezTo>
                  <a:cubicBezTo>
                    <a:pt x="129" y="428"/>
                    <a:pt x="131" y="430"/>
                    <a:pt x="132" y="431"/>
                  </a:cubicBezTo>
                  <a:cubicBezTo>
                    <a:pt x="132" y="432"/>
                    <a:pt x="132" y="432"/>
                    <a:pt x="132" y="432"/>
                  </a:cubicBezTo>
                  <a:cubicBezTo>
                    <a:pt x="132" y="432"/>
                    <a:pt x="133" y="430"/>
                    <a:pt x="133" y="429"/>
                  </a:cubicBezTo>
                  <a:cubicBezTo>
                    <a:pt x="133" y="430"/>
                    <a:pt x="134" y="430"/>
                    <a:pt x="134" y="430"/>
                  </a:cubicBezTo>
                  <a:cubicBezTo>
                    <a:pt x="134" y="430"/>
                    <a:pt x="135" y="429"/>
                    <a:pt x="135" y="429"/>
                  </a:cubicBezTo>
                  <a:cubicBezTo>
                    <a:pt x="135" y="432"/>
                    <a:pt x="135" y="434"/>
                    <a:pt x="136" y="437"/>
                  </a:cubicBezTo>
                  <a:cubicBezTo>
                    <a:pt x="136" y="438"/>
                    <a:pt x="137" y="439"/>
                    <a:pt x="137" y="441"/>
                  </a:cubicBezTo>
                  <a:cubicBezTo>
                    <a:pt x="137" y="442"/>
                    <a:pt x="139" y="444"/>
                    <a:pt x="140" y="445"/>
                  </a:cubicBezTo>
                  <a:cubicBezTo>
                    <a:pt x="141" y="446"/>
                    <a:pt x="141" y="448"/>
                    <a:pt x="142" y="450"/>
                  </a:cubicBezTo>
                  <a:cubicBezTo>
                    <a:pt x="143" y="451"/>
                    <a:pt x="144" y="452"/>
                    <a:pt x="145" y="453"/>
                  </a:cubicBezTo>
                  <a:cubicBezTo>
                    <a:pt x="146" y="456"/>
                    <a:pt x="143" y="456"/>
                    <a:pt x="141" y="458"/>
                  </a:cubicBezTo>
                  <a:cubicBezTo>
                    <a:pt x="138" y="461"/>
                    <a:pt x="138" y="463"/>
                    <a:pt x="140" y="467"/>
                  </a:cubicBezTo>
                  <a:cubicBezTo>
                    <a:pt x="140" y="469"/>
                    <a:pt x="141" y="469"/>
                    <a:pt x="142" y="469"/>
                  </a:cubicBezTo>
                  <a:cubicBezTo>
                    <a:pt x="143" y="469"/>
                    <a:pt x="144" y="469"/>
                    <a:pt x="144" y="468"/>
                  </a:cubicBezTo>
                  <a:cubicBezTo>
                    <a:pt x="145" y="468"/>
                    <a:pt x="146" y="467"/>
                    <a:pt x="147" y="467"/>
                  </a:cubicBezTo>
                  <a:cubicBezTo>
                    <a:pt x="148" y="467"/>
                    <a:pt x="148" y="467"/>
                    <a:pt x="149" y="468"/>
                  </a:cubicBezTo>
                  <a:cubicBezTo>
                    <a:pt x="148" y="468"/>
                    <a:pt x="143" y="469"/>
                    <a:pt x="143" y="470"/>
                  </a:cubicBezTo>
                  <a:cubicBezTo>
                    <a:pt x="142" y="471"/>
                    <a:pt x="144" y="473"/>
                    <a:pt x="144" y="474"/>
                  </a:cubicBezTo>
                  <a:cubicBezTo>
                    <a:pt x="144" y="475"/>
                    <a:pt x="145" y="478"/>
                    <a:pt x="144" y="479"/>
                  </a:cubicBezTo>
                  <a:cubicBezTo>
                    <a:pt x="145" y="478"/>
                    <a:pt x="146" y="478"/>
                    <a:pt x="146" y="478"/>
                  </a:cubicBezTo>
                  <a:cubicBezTo>
                    <a:pt x="147" y="478"/>
                    <a:pt x="147" y="479"/>
                    <a:pt x="146" y="479"/>
                  </a:cubicBezTo>
                  <a:cubicBezTo>
                    <a:pt x="143" y="481"/>
                    <a:pt x="139" y="482"/>
                    <a:pt x="135" y="484"/>
                  </a:cubicBezTo>
                  <a:cubicBezTo>
                    <a:pt x="136" y="484"/>
                    <a:pt x="137" y="484"/>
                    <a:pt x="138" y="484"/>
                  </a:cubicBezTo>
                  <a:cubicBezTo>
                    <a:pt x="139" y="484"/>
                    <a:pt x="139" y="484"/>
                    <a:pt x="139" y="484"/>
                  </a:cubicBezTo>
                  <a:cubicBezTo>
                    <a:pt x="140" y="484"/>
                    <a:pt x="140" y="484"/>
                    <a:pt x="140" y="484"/>
                  </a:cubicBezTo>
                  <a:cubicBezTo>
                    <a:pt x="142" y="484"/>
                    <a:pt x="144" y="484"/>
                    <a:pt x="145" y="485"/>
                  </a:cubicBezTo>
                  <a:cubicBezTo>
                    <a:pt x="145" y="485"/>
                    <a:pt x="145" y="484"/>
                    <a:pt x="145" y="484"/>
                  </a:cubicBezTo>
                  <a:cubicBezTo>
                    <a:pt x="146" y="485"/>
                    <a:pt x="146" y="486"/>
                    <a:pt x="146" y="486"/>
                  </a:cubicBezTo>
                  <a:cubicBezTo>
                    <a:pt x="147" y="485"/>
                    <a:pt x="150" y="485"/>
                    <a:pt x="152" y="484"/>
                  </a:cubicBezTo>
                  <a:cubicBezTo>
                    <a:pt x="154" y="483"/>
                    <a:pt x="154" y="483"/>
                    <a:pt x="155" y="482"/>
                  </a:cubicBezTo>
                  <a:cubicBezTo>
                    <a:pt x="156" y="481"/>
                    <a:pt x="155" y="479"/>
                    <a:pt x="157" y="479"/>
                  </a:cubicBezTo>
                  <a:cubicBezTo>
                    <a:pt x="156" y="479"/>
                    <a:pt x="156" y="479"/>
                    <a:pt x="156" y="479"/>
                  </a:cubicBezTo>
                  <a:cubicBezTo>
                    <a:pt x="156" y="479"/>
                    <a:pt x="156" y="479"/>
                    <a:pt x="156" y="479"/>
                  </a:cubicBezTo>
                  <a:cubicBezTo>
                    <a:pt x="157" y="479"/>
                    <a:pt x="158" y="478"/>
                    <a:pt x="160" y="477"/>
                  </a:cubicBezTo>
                  <a:cubicBezTo>
                    <a:pt x="162" y="477"/>
                    <a:pt x="163" y="476"/>
                    <a:pt x="165" y="476"/>
                  </a:cubicBezTo>
                  <a:cubicBezTo>
                    <a:pt x="165" y="476"/>
                    <a:pt x="166" y="476"/>
                    <a:pt x="166" y="477"/>
                  </a:cubicBezTo>
                  <a:cubicBezTo>
                    <a:pt x="167" y="476"/>
                    <a:pt x="168" y="475"/>
                    <a:pt x="169" y="474"/>
                  </a:cubicBezTo>
                  <a:cubicBezTo>
                    <a:pt x="170" y="473"/>
                    <a:pt x="175" y="470"/>
                    <a:pt x="177" y="470"/>
                  </a:cubicBezTo>
                  <a:cubicBezTo>
                    <a:pt x="177" y="470"/>
                    <a:pt x="177" y="470"/>
                    <a:pt x="177" y="470"/>
                  </a:cubicBezTo>
                  <a:cubicBezTo>
                    <a:pt x="179" y="470"/>
                    <a:pt x="180" y="472"/>
                    <a:pt x="180" y="474"/>
                  </a:cubicBezTo>
                  <a:cubicBezTo>
                    <a:pt x="180" y="475"/>
                    <a:pt x="180" y="475"/>
                    <a:pt x="180" y="475"/>
                  </a:cubicBezTo>
                  <a:cubicBezTo>
                    <a:pt x="180" y="475"/>
                    <a:pt x="180" y="475"/>
                    <a:pt x="180" y="475"/>
                  </a:cubicBezTo>
                  <a:cubicBezTo>
                    <a:pt x="181" y="474"/>
                    <a:pt x="181" y="474"/>
                    <a:pt x="181" y="474"/>
                  </a:cubicBezTo>
                  <a:cubicBezTo>
                    <a:pt x="181" y="474"/>
                    <a:pt x="181" y="474"/>
                    <a:pt x="182" y="474"/>
                  </a:cubicBezTo>
                  <a:cubicBezTo>
                    <a:pt x="182" y="475"/>
                    <a:pt x="182" y="476"/>
                    <a:pt x="183" y="476"/>
                  </a:cubicBezTo>
                  <a:cubicBezTo>
                    <a:pt x="183" y="476"/>
                    <a:pt x="183" y="476"/>
                    <a:pt x="183" y="476"/>
                  </a:cubicBezTo>
                  <a:cubicBezTo>
                    <a:pt x="183" y="476"/>
                    <a:pt x="183" y="476"/>
                    <a:pt x="184" y="476"/>
                  </a:cubicBezTo>
                  <a:cubicBezTo>
                    <a:pt x="184" y="476"/>
                    <a:pt x="184" y="476"/>
                    <a:pt x="185" y="476"/>
                  </a:cubicBezTo>
                  <a:cubicBezTo>
                    <a:pt x="185" y="476"/>
                    <a:pt x="185" y="476"/>
                    <a:pt x="186" y="476"/>
                  </a:cubicBezTo>
                  <a:cubicBezTo>
                    <a:pt x="186" y="476"/>
                    <a:pt x="186" y="478"/>
                    <a:pt x="187" y="478"/>
                  </a:cubicBezTo>
                  <a:cubicBezTo>
                    <a:pt x="187" y="479"/>
                    <a:pt x="188" y="479"/>
                    <a:pt x="188" y="479"/>
                  </a:cubicBezTo>
                  <a:cubicBezTo>
                    <a:pt x="189" y="479"/>
                    <a:pt x="189" y="478"/>
                    <a:pt x="190" y="477"/>
                  </a:cubicBezTo>
                  <a:cubicBezTo>
                    <a:pt x="191" y="476"/>
                    <a:pt x="192" y="473"/>
                    <a:pt x="193" y="473"/>
                  </a:cubicBezTo>
                  <a:cubicBezTo>
                    <a:pt x="194" y="473"/>
                    <a:pt x="194" y="473"/>
                    <a:pt x="194" y="473"/>
                  </a:cubicBezTo>
                  <a:cubicBezTo>
                    <a:pt x="195" y="474"/>
                    <a:pt x="195" y="476"/>
                    <a:pt x="195" y="477"/>
                  </a:cubicBezTo>
                  <a:cubicBezTo>
                    <a:pt x="195" y="477"/>
                    <a:pt x="197" y="478"/>
                    <a:pt x="197" y="478"/>
                  </a:cubicBezTo>
                  <a:cubicBezTo>
                    <a:pt x="202" y="482"/>
                    <a:pt x="205" y="490"/>
                    <a:pt x="210" y="492"/>
                  </a:cubicBezTo>
                  <a:cubicBezTo>
                    <a:pt x="210" y="492"/>
                    <a:pt x="211" y="492"/>
                    <a:pt x="211" y="492"/>
                  </a:cubicBezTo>
                  <a:cubicBezTo>
                    <a:pt x="213" y="492"/>
                    <a:pt x="214" y="491"/>
                    <a:pt x="215" y="490"/>
                  </a:cubicBezTo>
                  <a:cubicBezTo>
                    <a:pt x="216" y="488"/>
                    <a:pt x="214" y="487"/>
                    <a:pt x="212" y="485"/>
                  </a:cubicBezTo>
                  <a:cubicBezTo>
                    <a:pt x="212" y="483"/>
                    <a:pt x="211" y="481"/>
                    <a:pt x="211" y="480"/>
                  </a:cubicBezTo>
                  <a:cubicBezTo>
                    <a:pt x="211" y="477"/>
                    <a:pt x="216" y="476"/>
                    <a:pt x="213" y="473"/>
                  </a:cubicBezTo>
                  <a:cubicBezTo>
                    <a:pt x="215" y="474"/>
                    <a:pt x="214" y="476"/>
                    <a:pt x="215" y="476"/>
                  </a:cubicBezTo>
                  <a:cubicBezTo>
                    <a:pt x="215" y="476"/>
                    <a:pt x="216" y="476"/>
                    <a:pt x="216" y="475"/>
                  </a:cubicBezTo>
                  <a:cubicBezTo>
                    <a:pt x="217" y="475"/>
                    <a:pt x="218" y="474"/>
                    <a:pt x="219" y="473"/>
                  </a:cubicBezTo>
                  <a:cubicBezTo>
                    <a:pt x="219" y="472"/>
                    <a:pt x="221" y="470"/>
                    <a:pt x="221" y="470"/>
                  </a:cubicBezTo>
                  <a:cubicBezTo>
                    <a:pt x="221" y="469"/>
                    <a:pt x="222" y="469"/>
                    <a:pt x="220" y="468"/>
                  </a:cubicBezTo>
                  <a:cubicBezTo>
                    <a:pt x="219" y="467"/>
                    <a:pt x="219" y="467"/>
                    <a:pt x="219" y="466"/>
                  </a:cubicBezTo>
                  <a:cubicBezTo>
                    <a:pt x="222" y="469"/>
                    <a:pt x="223" y="469"/>
                    <a:pt x="226" y="470"/>
                  </a:cubicBezTo>
                  <a:cubicBezTo>
                    <a:pt x="229" y="471"/>
                    <a:pt x="231" y="471"/>
                    <a:pt x="231" y="474"/>
                  </a:cubicBezTo>
                  <a:cubicBezTo>
                    <a:pt x="229" y="472"/>
                    <a:pt x="227" y="471"/>
                    <a:pt x="224" y="471"/>
                  </a:cubicBezTo>
                  <a:cubicBezTo>
                    <a:pt x="224" y="471"/>
                    <a:pt x="224" y="471"/>
                    <a:pt x="224" y="471"/>
                  </a:cubicBezTo>
                  <a:cubicBezTo>
                    <a:pt x="223" y="471"/>
                    <a:pt x="221" y="471"/>
                    <a:pt x="220" y="472"/>
                  </a:cubicBezTo>
                  <a:cubicBezTo>
                    <a:pt x="220" y="474"/>
                    <a:pt x="219" y="476"/>
                    <a:pt x="219" y="478"/>
                  </a:cubicBezTo>
                  <a:cubicBezTo>
                    <a:pt x="219" y="479"/>
                    <a:pt x="220" y="479"/>
                    <a:pt x="221" y="479"/>
                  </a:cubicBezTo>
                  <a:cubicBezTo>
                    <a:pt x="222" y="480"/>
                    <a:pt x="223" y="479"/>
                    <a:pt x="223" y="480"/>
                  </a:cubicBezTo>
                  <a:cubicBezTo>
                    <a:pt x="224" y="481"/>
                    <a:pt x="224" y="482"/>
                    <a:pt x="224" y="483"/>
                  </a:cubicBezTo>
                  <a:cubicBezTo>
                    <a:pt x="225" y="484"/>
                    <a:pt x="226" y="485"/>
                    <a:pt x="228" y="485"/>
                  </a:cubicBezTo>
                  <a:cubicBezTo>
                    <a:pt x="228" y="485"/>
                    <a:pt x="228" y="485"/>
                    <a:pt x="228" y="485"/>
                  </a:cubicBezTo>
                  <a:cubicBezTo>
                    <a:pt x="231" y="485"/>
                    <a:pt x="235" y="482"/>
                    <a:pt x="238" y="481"/>
                  </a:cubicBezTo>
                  <a:cubicBezTo>
                    <a:pt x="242" y="479"/>
                    <a:pt x="246" y="478"/>
                    <a:pt x="249" y="477"/>
                  </a:cubicBezTo>
                  <a:cubicBezTo>
                    <a:pt x="253" y="476"/>
                    <a:pt x="254" y="473"/>
                    <a:pt x="257" y="472"/>
                  </a:cubicBezTo>
                  <a:cubicBezTo>
                    <a:pt x="256" y="474"/>
                    <a:pt x="252" y="481"/>
                    <a:pt x="255" y="481"/>
                  </a:cubicBezTo>
                  <a:cubicBezTo>
                    <a:pt x="255" y="481"/>
                    <a:pt x="256" y="481"/>
                    <a:pt x="256" y="481"/>
                  </a:cubicBezTo>
                  <a:cubicBezTo>
                    <a:pt x="252" y="485"/>
                    <a:pt x="248" y="489"/>
                    <a:pt x="244" y="493"/>
                  </a:cubicBezTo>
                  <a:cubicBezTo>
                    <a:pt x="242" y="494"/>
                    <a:pt x="241" y="496"/>
                    <a:pt x="243" y="497"/>
                  </a:cubicBezTo>
                  <a:cubicBezTo>
                    <a:pt x="244" y="498"/>
                    <a:pt x="245" y="498"/>
                    <a:pt x="247" y="498"/>
                  </a:cubicBezTo>
                  <a:cubicBezTo>
                    <a:pt x="247" y="498"/>
                    <a:pt x="247" y="498"/>
                    <a:pt x="247" y="498"/>
                  </a:cubicBezTo>
                  <a:cubicBezTo>
                    <a:pt x="249" y="498"/>
                    <a:pt x="251" y="498"/>
                    <a:pt x="252" y="500"/>
                  </a:cubicBezTo>
                  <a:cubicBezTo>
                    <a:pt x="250" y="500"/>
                    <a:pt x="248" y="499"/>
                    <a:pt x="247" y="499"/>
                  </a:cubicBezTo>
                  <a:cubicBezTo>
                    <a:pt x="244" y="499"/>
                    <a:pt x="242" y="501"/>
                    <a:pt x="241" y="505"/>
                  </a:cubicBezTo>
                  <a:cubicBezTo>
                    <a:pt x="240" y="508"/>
                    <a:pt x="240" y="510"/>
                    <a:pt x="240" y="512"/>
                  </a:cubicBezTo>
                  <a:cubicBezTo>
                    <a:pt x="239" y="513"/>
                    <a:pt x="239" y="514"/>
                    <a:pt x="239" y="516"/>
                  </a:cubicBezTo>
                  <a:cubicBezTo>
                    <a:pt x="239" y="518"/>
                    <a:pt x="239" y="517"/>
                    <a:pt x="240" y="519"/>
                  </a:cubicBezTo>
                  <a:cubicBezTo>
                    <a:pt x="240" y="519"/>
                    <a:pt x="243" y="520"/>
                    <a:pt x="241" y="521"/>
                  </a:cubicBezTo>
                  <a:cubicBezTo>
                    <a:pt x="241" y="522"/>
                    <a:pt x="241" y="522"/>
                    <a:pt x="241" y="522"/>
                  </a:cubicBezTo>
                  <a:cubicBezTo>
                    <a:pt x="240" y="522"/>
                    <a:pt x="239" y="521"/>
                    <a:pt x="239" y="520"/>
                  </a:cubicBezTo>
                  <a:cubicBezTo>
                    <a:pt x="235" y="520"/>
                    <a:pt x="229" y="527"/>
                    <a:pt x="226" y="529"/>
                  </a:cubicBezTo>
                  <a:cubicBezTo>
                    <a:pt x="223" y="532"/>
                    <a:pt x="219" y="534"/>
                    <a:pt x="217" y="537"/>
                  </a:cubicBezTo>
                  <a:cubicBezTo>
                    <a:pt x="215" y="541"/>
                    <a:pt x="217" y="543"/>
                    <a:pt x="217" y="547"/>
                  </a:cubicBezTo>
                  <a:cubicBezTo>
                    <a:pt x="217" y="547"/>
                    <a:pt x="217" y="547"/>
                    <a:pt x="217" y="547"/>
                  </a:cubicBezTo>
                  <a:cubicBezTo>
                    <a:pt x="215" y="547"/>
                    <a:pt x="214" y="546"/>
                    <a:pt x="213" y="546"/>
                  </a:cubicBezTo>
                  <a:cubicBezTo>
                    <a:pt x="212" y="545"/>
                    <a:pt x="210" y="544"/>
                    <a:pt x="209" y="544"/>
                  </a:cubicBezTo>
                  <a:cubicBezTo>
                    <a:pt x="209" y="544"/>
                    <a:pt x="209" y="544"/>
                    <a:pt x="209" y="544"/>
                  </a:cubicBezTo>
                  <a:cubicBezTo>
                    <a:pt x="210" y="544"/>
                    <a:pt x="211" y="543"/>
                    <a:pt x="212" y="542"/>
                  </a:cubicBezTo>
                  <a:cubicBezTo>
                    <a:pt x="204" y="547"/>
                    <a:pt x="195" y="552"/>
                    <a:pt x="187" y="557"/>
                  </a:cubicBezTo>
                  <a:cubicBezTo>
                    <a:pt x="183" y="560"/>
                    <a:pt x="177" y="562"/>
                    <a:pt x="175" y="566"/>
                  </a:cubicBezTo>
                  <a:cubicBezTo>
                    <a:pt x="175" y="567"/>
                    <a:pt x="174" y="569"/>
                    <a:pt x="173" y="570"/>
                  </a:cubicBezTo>
                  <a:cubicBezTo>
                    <a:pt x="173" y="571"/>
                    <a:pt x="172" y="572"/>
                    <a:pt x="172" y="572"/>
                  </a:cubicBezTo>
                  <a:cubicBezTo>
                    <a:pt x="172" y="572"/>
                    <a:pt x="173" y="573"/>
                    <a:pt x="172" y="574"/>
                  </a:cubicBezTo>
                  <a:cubicBezTo>
                    <a:pt x="173" y="574"/>
                    <a:pt x="173" y="574"/>
                    <a:pt x="173" y="574"/>
                  </a:cubicBezTo>
                  <a:cubicBezTo>
                    <a:pt x="175" y="574"/>
                    <a:pt x="178" y="576"/>
                    <a:pt x="180" y="577"/>
                  </a:cubicBezTo>
                  <a:cubicBezTo>
                    <a:pt x="179" y="578"/>
                    <a:pt x="178" y="579"/>
                    <a:pt x="180" y="579"/>
                  </a:cubicBezTo>
                  <a:cubicBezTo>
                    <a:pt x="176" y="578"/>
                    <a:pt x="172" y="577"/>
                    <a:pt x="168" y="576"/>
                  </a:cubicBezTo>
                  <a:cubicBezTo>
                    <a:pt x="167" y="579"/>
                    <a:pt x="171" y="580"/>
                    <a:pt x="170" y="582"/>
                  </a:cubicBezTo>
                  <a:cubicBezTo>
                    <a:pt x="167" y="581"/>
                    <a:pt x="165" y="579"/>
                    <a:pt x="164" y="577"/>
                  </a:cubicBezTo>
                  <a:cubicBezTo>
                    <a:pt x="163" y="576"/>
                    <a:pt x="163" y="576"/>
                    <a:pt x="163" y="576"/>
                  </a:cubicBezTo>
                  <a:cubicBezTo>
                    <a:pt x="163" y="576"/>
                    <a:pt x="163" y="576"/>
                    <a:pt x="163" y="576"/>
                  </a:cubicBezTo>
                  <a:cubicBezTo>
                    <a:pt x="163" y="576"/>
                    <a:pt x="163" y="576"/>
                    <a:pt x="163" y="576"/>
                  </a:cubicBezTo>
                  <a:cubicBezTo>
                    <a:pt x="162" y="576"/>
                    <a:pt x="162" y="576"/>
                    <a:pt x="162" y="576"/>
                  </a:cubicBezTo>
                  <a:cubicBezTo>
                    <a:pt x="162" y="576"/>
                    <a:pt x="162" y="576"/>
                    <a:pt x="162" y="575"/>
                  </a:cubicBezTo>
                  <a:cubicBezTo>
                    <a:pt x="162" y="573"/>
                    <a:pt x="165" y="574"/>
                    <a:pt x="165" y="573"/>
                  </a:cubicBezTo>
                  <a:cubicBezTo>
                    <a:pt x="166" y="572"/>
                    <a:pt x="163" y="572"/>
                    <a:pt x="160" y="572"/>
                  </a:cubicBezTo>
                  <a:cubicBezTo>
                    <a:pt x="160" y="572"/>
                    <a:pt x="160" y="572"/>
                    <a:pt x="159" y="572"/>
                  </a:cubicBezTo>
                  <a:cubicBezTo>
                    <a:pt x="159" y="572"/>
                    <a:pt x="158" y="572"/>
                    <a:pt x="158" y="572"/>
                  </a:cubicBezTo>
                  <a:cubicBezTo>
                    <a:pt x="158" y="572"/>
                    <a:pt x="158" y="572"/>
                    <a:pt x="157" y="572"/>
                  </a:cubicBezTo>
                  <a:cubicBezTo>
                    <a:pt x="158" y="572"/>
                    <a:pt x="158" y="572"/>
                    <a:pt x="158" y="572"/>
                  </a:cubicBezTo>
                  <a:cubicBezTo>
                    <a:pt x="149" y="575"/>
                    <a:pt x="139" y="578"/>
                    <a:pt x="132" y="584"/>
                  </a:cubicBezTo>
                  <a:cubicBezTo>
                    <a:pt x="127" y="588"/>
                    <a:pt x="121" y="593"/>
                    <a:pt x="116" y="597"/>
                  </a:cubicBezTo>
                  <a:cubicBezTo>
                    <a:pt x="115" y="598"/>
                    <a:pt x="115" y="598"/>
                    <a:pt x="114" y="598"/>
                  </a:cubicBezTo>
                  <a:cubicBezTo>
                    <a:pt x="114" y="598"/>
                    <a:pt x="114" y="598"/>
                    <a:pt x="115" y="597"/>
                  </a:cubicBezTo>
                  <a:cubicBezTo>
                    <a:pt x="114" y="598"/>
                    <a:pt x="112" y="598"/>
                    <a:pt x="110" y="599"/>
                  </a:cubicBezTo>
                  <a:cubicBezTo>
                    <a:pt x="109" y="601"/>
                    <a:pt x="109" y="600"/>
                    <a:pt x="109" y="602"/>
                  </a:cubicBezTo>
                  <a:cubicBezTo>
                    <a:pt x="109" y="603"/>
                    <a:pt x="110" y="605"/>
                    <a:pt x="110" y="606"/>
                  </a:cubicBezTo>
                  <a:cubicBezTo>
                    <a:pt x="109" y="607"/>
                    <a:pt x="108" y="609"/>
                    <a:pt x="108" y="610"/>
                  </a:cubicBezTo>
                  <a:cubicBezTo>
                    <a:pt x="109" y="609"/>
                    <a:pt x="111" y="607"/>
                    <a:pt x="113" y="605"/>
                  </a:cubicBezTo>
                  <a:cubicBezTo>
                    <a:pt x="111" y="604"/>
                    <a:pt x="110" y="602"/>
                    <a:pt x="111" y="601"/>
                  </a:cubicBezTo>
                  <a:cubicBezTo>
                    <a:pt x="111" y="600"/>
                    <a:pt x="112" y="600"/>
                    <a:pt x="112" y="600"/>
                  </a:cubicBezTo>
                  <a:cubicBezTo>
                    <a:pt x="114" y="600"/>
                    <a:pt x="116" y="603"/>
                    <a:pt x="118" y="604"/>
                  </a:cubicBezTo>
                  <a:cubicBezTo>
                    <a:pt x="115" y="606"/>
                    <a:pt x="118" y="606"/>
                    <a:pt x="121" y="606"/>
                  </a:cubicBezTo>
                  <a:cubicBezTo>
                    <a:pt x="124" y="606"/>
                    <a:pt x="126" y="606"/>
                    <a:pt x="126" y="606"/>
                  </a:cubicBezTo>
                  <a:cubicBezTo>
                    <a:pt x="126" y="604"/>
                    <a:pt x="125" y="603"/>
                    <a:pt x="125" y="602"/>
                  </a:cubicBezTo>
                  <a:cubicBezTo>
                    <a:pt x="125" y="600"/>
                    <a:pt x="125" y="600"/>
                    <a:pt x="125" y="600"/>
                  </a:cubicBezTo>
                  <a:cubicBezTo>
                    <a:pt x="125" y="599"/>
                    <a:pt x="125" y="599"/>
                    <a:pt x="125" y="599"/>
                  </a:cubicBezTo>
                  <a:cubicBezTo>
                    <a:pt x="124" y="598"/>
                    <a:pt x="124" y="598"/>
                    <a:pt x="124" y="598"/>
                  </a:cubicBezTo>
                  <a:cubicBezTo>
                    <a:pt x="123" y="598"/>
                    <a:pt x="122" y="598"/>
                    <a:pt x="122" y="597"/>
                  </a:cubicBezTo>
                  <a:cubicBezTo>
                    <a:pt x="122" y="596"/>
                    <a:pt x="123" y="595"/>
                    <a:pt x="123" y="595"/>
                  </a:cubicBezTo>
                  <a:cubicBezTo>
                    <a:pt x="125" y="595"/>
                    <a:pt x="130" y="601"/>
                    <a:pt x="131" y="601"/>
                  </a:cubicBezTo>
                  <a:cubicBezTo>
                    <a:pt x="130" y="602"/>
                    <a:pt x="129" y="602"/>
                    <a:pt x="128" y="603"/>
                  </a:cubicBezTo>
                  <a:cubicBezTo>
                    <a:pt x="129" y="603"/>
                    <a:pt x="132" y="604"/>
                    <a:pt x="132" y="604"/>
                  </a:cubicBezTo>
                  <a:cubicBezTo>
                    <a:pt x="132" y="604"/>
                    <a:pt x="132" y="604"/>
                    <a:pt x="132" y="604"/>
                  </a:cubicBezTo>
                  <a:cubicBezTo>
                    <a:pt x="134" y="603"/>
                    <a:pt x="134" y="601"/>
                    <a:pt x="135" y="601"/>
                  </a:cubicBezTo>
                  <a:cubicBezTo>
                    <a:pt x="135" y="601"/>
                    <a:pt x="135" y="600"/>
                    <a:pt x="135" y="600"/>
                  </a:cubicBezTo>
                  <a:cubicBezTo>
                    <a:pt x="136" y="600"/>
                    <a:pt x="136" y="601"/>
                    <a:pt x="136" y="601"/>
                  </a:cubicBezTo>
                  <a:cubicBezTo>
                    <a:pt x="137" y="601"/>
                    <a:pt x="137" y="602"/>
                    <a:pt x="137" y="602"/>
                  </a:cubicBezTo>
                  <a:cubicBezTo>
                    <a:pt x="138" y="602"/>
                    <a:pt x="138" y="602"/>
                    <a:pt x="138" y="602"/>
                  </a:cubicBezTo>
                  <a:cubicBezTo>
                    <a:pt x="139" y="601"/>
                    <a:pt x="138" y="598"/>
                    <a:pt x="138" y="598"/>
                  </a:cubicBezTo>
                  <a:cubicBezTo>
                    <a:pt x="139" y="597"/>
                    <a:pt x="140" y="596"/>
                    <a:pt x="142" y="595"/>
                  </a:cubicBezTo>
                  <a:cubicBezTo>
                    <a:pt x="143" y="594"/>
                    <a:pt x="145" y="593"/>
                    <a:pt x="145" y="592"/>
                  </a:cubicBezTo>
                  <a:cubicBezTo>
                    <a:pt x="147" y="590"/>
                    <a:pt x="145" y="588"/>
                    <a:pt x="147" y="586"/>
                  </a:cubicBezTo>
                  <a:cubicBezTo>
                    <a:pt x="148" y="585"/>
                    <a:pt x="149" y="585"/>
                    <a:pt x="151" y="585"/>
                  </a:cubicBezTo>
                  <a:cubicBezTo>
                    <a:pt x="152" y="585"/>
                    <a:pt x="154" y="585"/>
                    <a:pt x="155" y="586"/>
                  </a:cubicBezTo>
                  <a:cubicBezTo>
                    <a:pt x="156" y="586"/>
                    <a:pt x="158" y="587"/>
                    <a:pt x="159" y="587"/>
                  </a:cubicBezTo>
                  <a:cubicBezTo>
                    <a:pt x="157" y="587"/>
                    <a:pt x="156" y="587"/>
                    <a:pt x="155" y="587"/>
                  </a:cubicBezTo>
                  <a:cubicBezTo>
                    <a:pt x="154" y="587"/>
                    <a:pt x="153" y="587"/>
                    <a:pt x="152" y="589"/>
                  </a:cubicBezTo>
                  <a:cubicBezTo>
                    <a:pt x="151" y="590"/>
                    <a:pt x="150" y="592"/>
                    <a:pt x="150" y="593"/>
                  </a:cubicBezTo>
                  <a:cubicBezTo>
                    <a:pt x="151" y="593"/>
                    <a:pt x="151" y="593"/>
                    <a:pt x="151" y="593"/>
                  </a:cubicBezTo>
                  <a:cubicBezTo>
                    <a:pt x="152" y="593"/>
                    <a:pt x="154" y="592"/>
                    <a:pt x="155" y="592"/>
                  </a:cubicBezTo>
                  <a:cubicBezTo>
                    <a:pt x="155" y="592"/>
                    <a:pt x="156" y="593"/>
                    <a:pt x="157" y="593"/>
                  </a:cubicBezTo>
                  <a:cubicBezTo>
                    <a:pt x="158" y="593"/>
                    <a:pt x="159" y="592"/>
                    <a:pt x="159" y="592"/>
                  </a:cubicBezTo>
                  <a:cubicBezTo>
                    <a:pt x="161" y="592"/>
                    <a:pt x="167" y="591"/>
                    <a:pt x="168" y="590"/>
                  </a:cubicBezTo>
                  <a:cubicBezTo>
                    <a:pt x="170" y="588"/>
                    <a:pt x="167" y="587"/>
                    <a:pt x="170" y="586"/>
                  </a:cubicBezTo>
                  <a:cubicBezTo>
                    <a:pt x="170" y="585"/>
                    <a:pt x="171" y="585"/>
                    <a:pt x="171" y="585"/>
                  </a:cubicBezTo>
                  <a:cubicBezTo>
                    <a:pt x="173" y="585"/>
                    <a:pt x="172" y="589"/>
                    <a:pt x="173" y="589"/>
                  </a:cubicBezTo>
                  <a:cubicBezTo>
                    <a:pt x="173" y="589"/>
                    <a:pt x="173" y="589"/>
                    <a:pt x="173" y="589"/>
                  </a:cubicBezTo>
                  <a:cubicBezTo>
                    <a:pt x="174" y="589"/>
                    <a:pt x="176" y="585"/>
                    <a:pt x="175" y="584"/>
                  </a:cubicBezTo>
                  <a:cubicBezTo>
                    <a:pt x="181" y="581"/>
                    <a:pt x="188" y="580"/>
                    <a:pt x="194" y="578"/>
                  </a:cubicBezTo>
                  <a:cubicBezTo>
                    <a:pt x="192" y="580"/>
                    <a:pt x="195" y="582"/>
                    <a:pt x="192" y="583"/>
                  </a:cubicBezTo>
                  <a:cubicBezTo>
                    <a:pt x="196" y="583"/>
                    <a:pt x="193" y="585"/>
                    <a:pt x="192" y="586"/>
                  </a:cubicBezTo>
                  <a:cubicBezTo>
                    <a:pt x="192" y="586"/>
                    <a:pt x="192" y="586"/>
                    <a:pt x="192" y="586"/>
                  </a:cubicBezTo>
                  <a:cubicBezTo>
                    <a:pt x="196" y="586"/>
                    <a:pt x="198" y="579"/>
                    <a:pt x="196" y="576"/>
                  </a:cubicBezTo>
                  <a:cubicBezTo>
                    <a:pt x="197" y="577"/>
                    <a:pt x="198" y="579"/>
                    <a:pt x="199" y="579"/>
                  </a:cubicBezTo>
                  <a:cubicBezTo>
                    <a:pt x="199" y="579"/>
                    <a:pt x="199" y="579"/>
                    <a:pt x="199" y="579"/>
                  </a:cubicBezTo>
                  <a:cubicBezTo>
                    <a:pt x="201" y="579"/>
                    <a:pt x="204" y="576"/>
                    <a:pt x="205" y="576"/>
                  </a:cubicBezTo>
                  <a:cubicBezTo>
                    <a:pt x="208" y="575"/>
                    <a:pt x="211" y="574"/>
                    <a:pt x="215" y="573"/>
                  </a:cubicBezTo>
                  <a:cubicBezTo>
                    <a:pt x="214" y="573"/>
                    <a:pt x="214" y="573"/>
                    <a:pt x="214" y="573"/>
                  </a:cubicBezTo>
                  <a:cubicBezTo>
                    <a:pt x="215" y="573"/>
                    <a:pt x="215" y="573"/>
                    <a:pt x="215" y="573"/>
                  </a:cubicBezTo>
                  <a:cubicBezTo>
                    <a:pt x="215" y="573"/>
                    <a:pt x="215" y="573"/>
                    <a:pt x="215" y="573"/>
                  </a:cubicBezTo>
                  <a:cubicBezTo>
                    <a:pt x="215" y="573"/>
                    <a:pt x="215" y="573"/>
                    <a:pt x="215" y="573"/>
                  </a:cubicBezTo>
                  <a:cubicBezTo>
                    <a:pt x="216" y="573"/>
                    <a:pt x="216" y="573"/>
                    <a:pt x="216" y="573"/>
                  </a:cubicBezTo>
                  <a:cubicBezTo>
                    <a:pt x="216" y="572"/>
                    <a:pt x="216" y="569"/>
                    <a:pt x="216" y="569"/>
                  </a:cubicBezTo>
                  <a:cubicBezTo>
                    <a:pt x="216" y="568"/>
                    <a:pt x="216" y="566"/>
                    <a:pt x="217" y="566"/>
                  </a:cubicBezTo>
                  <a:cubicBezTo>
                    <a:pt x="217" y="566"/>
                    <a:pt x="217" y="566"/>
                    <a:pt x="217" y="566"/>
                  </a:cubicBezTo>
                  <a:cubicBezTo>
                    <a:pt x="218" y="568"/>
                    <a:pt x="217" y="571"/>
                    <a:pt x="219" y="571"/>
                  </a:cubicBezTo>
                  <a:cubicBezTo>
                    <a:pt x="219" y="571"/>
                    <a:pt x="220" y="570"/>
                    <a:pt x="220" y="570"/>
                  </a:cubicBezTo>
                  <a:cubicBezTo>
                    <a:pt x="219" y="571"/>
                    <a:pt x="219" y="572"/>
                    <a:pt x="221" y="572"/>
                  </a:cubicBezTo>
                  <a:cubicBezTo>
                    <a:pt x="221" y="572"/>
                    <a:pt x="221" y="572"/>
                    <a:pt x="221" y="572"/>
                  </a:cubicBezTo>
                  <a:cubicBezTo>
                    <a:pt x="221" y="570"/>
                    <a:pt x="220" y="570"/>
                    <a:pt x="221" y="568"/>
                  </a:cubicBezTo>
                  <a:cubicBezTo>
                    <a:pt x="221" y="567"/>
                    <a:pt x="223" y="566"/>
                    <a:pt x="223" y="565"/>
                  </a:cubicBezTo>
                  <a:cubicBezTo>
                    <a:pt x="222" y="565"/>
                    <a:pt x="222" y="565"/>
                    <a:pt x="222" y="565"/>
                  </a:cubicBezTo>
                  <a:cubicBezTo>
                    <a:pt x="223" y="564"/>
                    <a:pt x="225" y="561"/>
                    <a:pt x="224" y="561"/>
                  </a:cubicBezTo>
                  <a:cubicBezTo>
                    <a:pt x="224" y="561"/>
                    <a:pt x="223" y="562"/>
                    <a:pt x="222" y="562"/>
                  </a:cubicBezTo>
                  <a:cubicBezTo>
                    <a:pt x="222" y="561"/>
                    <a:pt x="222" y="561"/>
                    <a:pt x="221" y="561"/>
                  </a:cubicBezTo>
                  <a:cubicBezTo>
                    <a:pt x="221" y="561"/>
                    <a:pt x="220" y="561"/>
                    <a:pt x="220" y="562"/>
                  </a:cubicBezTo>
                  <a:cubicBezTo>
                    <a:pt x="219" y="562"/>
                    <a:pt x="218" y="563"/>
                    <a:pt x="217" y="563"/>
                  </a:cubicBezTo>
                  <a:cubicBezTo>
                    <a:pt x="217" y="563"/>
                    <a:pt x="217" y="563"/>
                    <a:pt x="217" y="563"/>
                  </a:cubicBezTo>
                  <a:cubicBezTo>
                    <a:pt x="216" y="562"/>
                    <a:pt x="220" y="560"/>
                    <a:pt x="221" y="559"/>
                  </a:cubicBezTo>
                  <a:cubicBezTo>
                    <a:pt x="224" y="556"/>
                    <a:pt x="229" y="554"/>
                    <a:pt x="233" y="551"/>
                  </a:cubicBezTo>
                  <a:cubicBezTo>
                    <a:pt x="234" y="550"/>
                    <a:pt x="236" y="550"/>
                    <a:pt x="237" y="550"/>
                  </a:cubicBezTo>
                  <a:cubicBezTo>
                    <a:pt x="239" y="550"/>
                    <a:pt x="241" y="551"/>
                    <a:pt x="243" y="552"/>
                  </a:cubicBezTo>
                  <a:cubicBezTo>
                    <a:pt x="244" y="550"/>
                    <a:pt x="243" y="549"/>
                    <a:pt x="241" y="548"/>
                  </a:cubicBezTo>
                  <a:cubicBezTo>
                    <a:pt x="244" y="546"/>
                    <a:pt x="247" y="547"/>
                    <a:pt x="250" y="547"/>
                  </a:cubicBezTo>
                  <a:cubicBezTo>
                    <a:pt x="253" y="546"/>
                    <a:pt x="256" y="543"/>
                    <a:pt x="259" y="542"/>
                  </a:cubicBezTo>
                  <a:cubicBezTo>
                    <a:pt x="259" y="542"/>
                    <a:pt x="259" y="542"/>
                    <a:pt x="259" y="542"/>
                  </a:cubicBezTo>
                  <a:cubicBezTo>
                    <a:pt x="260" y="540"/>
                    <a:pt x="261" y="539"/>
                    <a:pt x="262" y="539"/>
                  </a:cubicBezTo>
                  <a:cubicBezTo>
                    <a:pt x="263" y="539"/>
                    <a:pt x="264" y="539"/>
                    <a:pt x="265" y="540"/>
                  </a:cubicBezTo>
                  <a:cubicBezTo>
                    <a:pt x="264" y="538"/>
                    <a:pt x="263" y="538"/>
                    <a:pt x="264" y="536"/>
                  </a:cubicBezTo>
                  <a:cubicBezTo>
                    <a:pt x="266" y="533"/>
                    <a:pt x="268" y="531"/>
                    <a:pt x="269" y="529"/>
                  </a:cubicBezTo>
                  <a:cubicBezTo>
                    <a:pt x="268" y="529"/>
                    <a:pt x="267" y="529"/>
                    <a:pt x="265" y="530"/>
                  </a:cubicBezTo>
                  <a:cubicBezTo>
                    <a:pt x="265" y="527"/>
                    <a:pt x="276" y="523"/>
                    <a:pt x="278" y="522"/>
                  </a:cubicBezTo>
                  <a:cubicBezTo>
                    <a:pt x="282" y="521"/>
                    <a:pt x="285" y="518"/>
                    <a:pt x="287" y="515"/>
                  </a:cubicBezTo>
                  <a:cubicBezTo>
                    <a:pt x="287" y="513"/>
                    <a:pt x="287" y="513"/>
                    <a:pt x="287" y="513"/>
                  </a:cubicBezTo>
                  <a:cubicBezTo>
                    <a:pt x="287" y="513"/>
                    <a:pt x="287" y="513"/>
                    <a:pt x="288" y="513"/>
                  </a:cubicBezTo>
                  <a:cubicBezTo>
                    <a:pt x="288" y="513"/>
                    <a:pt x="289" y="513"/>
                    <a:pt x="290" y="514"/>
                  </a:cubicBezTo>
                  <a:cubicBezTo>
                    <a:pt x="290" y="514"/>
                    <a:pt x="291" y="514"/>
                    <a:pt x="292" y="514"/>
                  </a:cubicBezTo>
                  <a:cubicBezTo>
                    <a:pt x="292" y="514"/>
                    <a:pt x="292" y="514"/>
                    <a:pt x="292" y="514"/>
                  </a:cubicBezTo>
                  <a:cubicBezTo>
                    <a:pt x="293" y="514"/>
                    <a:pt x="295" y="511"/>
                    <a:pt x="296" y="510"/>
                  </a:cubicBezTo>
                  <a:cubicBezTo>
                    <a:pt x="297" y="509"/>
                    <a:pt x="298" y="509"/>
                    <a:pt x="299" y="508"/>
                  </a:cubicBezTo>
                  <a:cubicBezTo>
                    <a:pt x="299" y="508"/>
                    <a:pt x="301" y="505"/>
                    <a:pt x="301" y="505"/>
                  </a:cubicBezTo>
                  <a:cubicBezTo>
                    <a:pt x="303" y="504"/>
                    <a:pt x="314" y="502"/>
                    <a:pt x="313" y="499"/>
                  </a:cubicBezTo>
                  <a:cubicBezTo>
                    <a:pt x="315" y="500"/>
                    <a:pt x="316" y="502"/>
                    <a:pt x="317" y="503"/>
                  </a:cubicBezTo>
                  <a:cubicBezTo>
                    <a:pt x="318" y="500"/>
                    <a:pt x="318" y="499"/>
                    <a:pt x="321" y="498"/>
                  </a:cubicBezTo>
                  <a:cubicBezTo>
                    <a:pt x="320" y="498"/>
                    <a:pt x="320" y="497"/>
                    <a:pt x="319" y="497"/>
                  </a:cubicBezTo>
                  <a:cubicBezTo>
                    <a:pt x="320" y="497"/>
                    <a:pt x="321" y="496"/>
                    <a:pt x="322" y="496"/>
                  </a:cubicBezTo>
                  <a:cubicBezTo>
                    <a:pt x="321" y="495"/>
                    <a:pt x="321" y="495"/>
                    <a:pt x="320" y="495"/>
                  </a:cubicBezTo>
                  <a:cubicBezTo>
                    <a:pt x="320" y="495"/>
                    <a:pt x="319" y="495"/>
                    <a:pt x="319" y="495"/>
                  </a:cubicBezTo>
                  <a:cubicBezTo>
                    <a:pt x="318" y="495"/>
                    <a:pt x="318" y="495"/>
                    <a:pt x="317" y="495"/>
                  </a:cubicBezTo>
                  <a:cubicBezTo>
                    <a:pt x="317" y="495"/>
                    <a:pt x="317" y="495"/>
                    <a:pt x="317" y="495"/>
                  </a:cubicBezTo>
                  <a:cubicBezTo>
                    <a:pt x="319" y="494"/>
                    <a:pt x="322" y="493"/>
                    <a:pt x="324" y="492"/>
                  </a:cubicBezTo>
                  <a:cubicBezTo>
                    <a:pt x="324" y="492"/>
                    <a:pt x="322" y="491"/>
                    <a:pt x="323" y="490"/>
                  </a:cubicBezTo>
                  <a:cubicBezTo>
                    <a:pt x="323" y="488"/>
                    <a:pt x="323" y="490"/>
                    <a:pt x="325" y="488"/>
                  </a:cubicBezTo>
                  <a:cubicBezTo>
                    <a:pt x="327" y="487"/>
                    <a:pt x="327" y="485"/>
                    <a:pt x="328" y="484"/>
                  </a:cubicBezTo>
                  <a:cubicBezTo>
                    <a:pt x="331" y="483"/>
                    <a:pt x="336" y="483"/>
                    <a:pt x="338" y="480"/>
                  </a:cubicBezTo>
                  <a:cubicBezTo>
                    <a:pt x="340" y="479"/>
                    <a:pt x="339" y="477"/>
                    <a:pt x="341" y="476"/>
                  </a:cubicBezTo>
                  <a:cubicBezTo>
                    <a:pt x="341" y="476"/>
                    <a:pt x="341" y="476"/>
                    <a:pt x="341" y="476"/>
                  </a:cubicBezTo>
                  <a:cubicBezTo>
                    <a:pt x="340" y="476"/>
                    <a:pt x="340" y="476"/>
                    <a:pt x="340" y="476"/>
                  </a:cubicBezTo>
                  <a:cubicBezTo>
                    <a:pt x="343" y="474"/>
                    <a:pt x="334" y="472"/>
                    <a:pt x="333" y="471"/>
                  </a:cubicBezTo>
                  <a:cubicBezTo>
                    <a:pt x="333" y="471"/>
                    <a:pt x="332" y="470"/>
                    <a:pt x="332" y="469"/>
                  </a:cubicBezTo>
                  <a:cubicBezTo>
                    <a:pt x="331" y="469"/>
                    <a:pt x="331" y="469"/>
                    <a:pt x="331" y="469"/>
                  </a:cubicBezTo>
                  <a:cubicBezTo>
                    <a:pt x="330" y="469"/>
                    <a:pt x="330" y="469"/>
                    <a:pt x="329" y="469"/>
                  </a:cubicBezTo>
                  <a:cubicBezTo>
                    <a:pt x="329" y="469"/>
                    <a:pt x="328" y="469"/>
                    <a:pt x="328" y="469"/>
                  </a:cubicBezTo>
                  <a:cubicBezTo>
                    <a:pt x="328" y="469"/>
                    <a:pt x="328" y="469"/>
                    <a:pt x="328" y="469"/>
                  </a:cubicBezTo>
                  <a:cubicBezTo>
                    <a:pt x="328" y="469"/>
                    <a:pt x="327" y="469"/>
                    <a:pt x="327" y="469"/>
                  </a:cubicBezTo>
                  <a:cubicBezTo>
                    <a:pt x="326" y="469"/>
                    <a:pt x="325" y="469"/>
                    <a:pt x="324" y="470"/>
                  </a:cubicBezTo>
                  <a:cubicBezTo>
                    <a:pt x="323" y="470"/>
                    <a:pt x="322" y="470"/>
                    <a:pt x="322" y="470"/>
                  </a:cubicBezTo>
                  <a:cubicBezTo>
                    <a:pt x="321" y="470"/>
                    <a:pt x="321" y="470"/>
                    <a:pt x="320" y="470"/>
                  </a:cubicBezTo>
                  <a:cubicBezTo>
                    <a:pt x="321" y="467"/>
                    <a:pt x="319" y="468"/>
                    <a:pt x="319" y="467"/>
                  </a:cubicBezTo>
                  <a:cubicBezTo>
                    <a:pt x="319" y="466"/>
                    <a:pt x="320" y="466"/>
                    <a:pt x="322" y="464"/>
                  </a:cubicBezTo>
                  <a:cubicBezTo>
                    <a:pt x="320" y="462"/>
                    <a:pt x="324" y="460"/>
                    <a:pt x="325" y="459"/>
                  </a:cubicBezTo>
                  <a:cubicBezTo>
                    <a:pt x="325" y="459"/>
                    <a:pt x="324" y="460"/>
                    <a:pt x="323" y="460"/>
                  </a:cubicBezTo>
                  <a:cubicBezTo>
                    <a:pt x="322" y="460"/>
                    <a:pt x="322" y="459"/>
                    <a:pt x="321" y="459"/>
                  </a:cubicBezTo>
                  <a:cubicBezTo>
                    <a:pt x="323" y="458"/>
                    <a:pt x="331" y="457"/>
                    <a:pt x="331" y="455"/>
                  </a:cubicBezTo>
                  <a:cubicBezTo>
                    <a:pt x="331" y="454"/>
                    <a:pt x="329" y="453"/>
                    <a:pt x="328" y="453"/>
                  </a:cubicBezTo>
                  <a:cubicBezTo>
                    <a:pt x="330" y="452"/>
                    <a:pt x="332" y="452"/>
                    <a:pt x="334" y="451"/>
                  </a:cubicBezTo>
                  <a:cubicBezTo>
                    <a:pt x="333" y="450"/>
                    <a:pt x="332" y="450"/>
                    <a:pt x="332" y="450"/>
                  </a:cubicBezTo>
                  <a:cubicBezTo>
                    <a:pt x="333" y="449"/>
                    <a:pt x="338" y="447"/>
                    <a:pt x="337" y="445"/>
                  </a:cubicBezTo>
                  <a:cubicBezTo>
                    <a:pt x="338" y="446"/>
                    <a:pt x="340" y="448"/>
                    <a:pt x="338" y="449"/>
                  </a:cubicBezTo>
                  <a:cubicBezTo>
                    <a:pt x="338" y="450"/>
                    <a:pt x="339" y="450"/>
                    <a:pt x="339" y="450"/>
                  </a:cubicBezTo>
                  <a:cubicBezTo>
                    <a:pt x="342" y="450"/>
                    <a:pt x="348" y="447"/>
                    <a:pt x="348" y="445"/>
                  </a:cubicBezTo>
                  <a:cubicBezTo>
                    <a:pt x="348" y="443"/>
                    <a:pt x="347" y="443"/>
                    <a:pt x="345" y="443"/>
                  </a:cubicBezTo>
                  <a:cubicBezTo>
                    <a:pt x="345" y="443"/>
                    <a:pt x="344" y="443"/>
                    <a:pt x="344" y="443"/>
                  </a:cubicBezTo>
                  <a:cubicBezTo>
                    <a:pt x="343" y="443"/>
                    <a:pt x="342" y="443"/>
                    <a:pt x="342" y="443"/>
                  </a:cubicBezTo>
                  <a:cubicBezTo>
                    <a:pt x="342" y="443"/>
                    <a:pt x="342" y="443"/>
                    <a:pt x="342" y="443"/>
                  </a:cubicBezTo>
                  <a:cubicBezTo>
                    <a:pt x="344" y="439"/>
                    <a:pt x="353" y="441"/>
                    <a:pt x="356" y="437"/>
                  </a:cubicBezTo>
                  <a:cubicBezTo>
                    <a:pt x="358" y="435"/>
                    <a:pt x="357" y="435"/>
                    <a:pt x="356" y="433"/>
                  </a:cubicBezTo>
                  <a:cubicBezTo>
                    <a:pt x="353" y="431"/>
                    <a:pt x="349" y="427"/>
                    <a:pt x="346" y="427"/>
                  </a:cubicBezTo>
                  <a:cubicBezTo>
                    <a:pt x="346" y="427"/>
                    <a:pt x="346" y="427"/>
                    <a:pt x="346" y="427"/>
                  </a:cubicBezTo>
                  <a:cubicBezTo>
                    <a:pt x="352" y="425"/>
                    <a:pt x="359" y="426"/>
                    <a:pt x="365" y="424"/>
                  </a:cubicBezTo>
                  <a:cubicBezTo>
                    <a:pt x="360" y="422"/>
                    <a:pt x="366" y="417"/>
                    <a:pt x="368" y="416"/>
                  </a:cubicBezTo>
                  <a:cubicBezTo>
                    <a:pt x="370" y="416"/>
                    <a:pt x="371" y="414"/>
                    <a:pt x="372" y="413"/>
                  </a:cubicBezTo>
                  <a:cubicBezTo>
                    <a:pt x="373" y="412"/>
                    <a:pt x="376" y="411"/>
                    <a:pt x="376" y="410"/>
                  </a:cubicBezTo>
                  <a:cubicBezTo>
                    <a:pt x="377" y="409"/>
                    <a:pt x="375" y="409"/>
                    <a:pt x="376" y="408"/>
                  </a:cubicBezTo>
                  <a:cubicBezTo>
                    <a:pt x="377" y="404"/>
                    <a:pt x="382" y="402"/>
                    <a:pt x="386" y="401"/>
                  </a:cubicBezTo>
                  <a:cubicBezTo>
                    <a:pt x="388" y="400"/>
                    <a:pt x="390" y="400"/>
                    <a:pt x="392" y="398"/>
                  </a:cubicBezTo>
                  <a:cubicBezTo>
                    <a:pt x="392" y="398"/>
                    <a:pt x="393" y="397"/>
                    <a:pt x="393" y="396"/>
                  </a:cubicBezTo>
                  <a:cubicBezTo>
                    <a:pt x="396" y="394"/>
                    <a:pt x="399" y="394"/>
                    <a:pt x="402" y="392"/>
                  </a:cubicBezTo>
                  <a:cubicBezTo>
                    <a:pt x="403" y="392"/>
                    <a:pt x="403" y="390"/>
                    <a:pt x="404" y="390"/>
                  </a:cubicBezTo>
                  <a:cubicBezTo>
                    <a:pt x="405" y="389"/>
                    <a:pt x="406" y="389"/>
                    <a:pt x="407" y="389"/>
                  </a:cubicBezTo>
                  <a:cubicBezTo>
                    <a:pt x="409" y="389"/>
                    <a:pt x="411" y="390"/>
                    <a:pt x="413" y="390"/>
                  </a:cubicBezTo>
                  <a:cubicBezTo>
                    <a:pt x="413" y="390"/>
                    <a:pt x="414" y="390"/>
                    <a:pt x="415" y="390"/>
                  </a:cubicBezTo>
                  <a:cubicBezTo>
                    <a:pt x="415" y="390"/>
                    <a:pt x="416" y="390"/>
                    <a:pt x="416" y="390"/>
                  </a:cubicBezTo>
                  <a:cubicBezTo>
                    <a:pt x="417" y="389"/>
                    <a:pt x="418" y="388"/>
                    <a:pt x="420" y="388"/>
                  </a:cubicBezTo>
                  <a:cubicBezTo>
                    <a:pt x="420" y="388"/>
                    <a:pt x="420" y="388"/>
                    <a:pt x="421" y="389"/>
                  </a:cubicBezTo>
                  <a:cubicBezTo>
                    <a:pt x="422" y="389"/>
                    <a:pt x="423" y="389"/>
                    <a:pt x="424" y="390"/>
                  </a:cubicBezTo>
                  <a:cubicBezTo>
                    <a:pt x="424" y="390"/>
                    <a:pt x="424" y="390"/>
                    <a:pt x="424" y="390"/>
                  </a:cubicBezTo>
                  <a:cubicBezTo>
                    <a:pt x="424" y="390"/>
                    <a:pt x="424" y="390"/>
                    <a:pt x="424" y="390"/>
                  </a:cubicBezTo>
                  <a:cubicBezTo>
                    <a:pt x="425" y="391"/>
                    <a:pt x="426" y="393"/>
                    <a:pt x="426" y="395"/>
                  </a:cubicBezTo>
                  <a:cubicBezTo>
                    <a:pt x="426" y="397"/>
                    <a:pt x="425" y="399"/>
                    <a:pt x="422" y="400"/>
                  </a:cubicBezTo>
                  <a:cubicBezTo>
                    <a:pt x="427" y="403"/>
                    <a:pt x="432" y="405"/>
                    <a:pt x="437" y="407"/>
                  </a:cubicBezTo>
                  <a:cubicBezTo>
                    <a:pt x="433" y="405"/>
                    <a:pt x="428" y="405"/>
                    <a:pt x="424" y="404"/>
                  </a:cubicBezTo>
                  <a:cubicBezTo>
                    <a:pt x="423" y="404"/>
                    <a:pt x="423" y="404"/>
                    <a:pt x="422" y="404"/>
                  </a:cubicBezTo>
                  <a:cubicBezTo>
                    <a:pt x="420" y="404"/>
                    <a:pt x="418" y="405"/>
                    <a:pt x="416" y="405"/>
                  </a:cubicBezTo>
                  <a:cubicBezTo>
                    <a:pt x="416" y="405"/>
                    <a:pt x="416" y="406"/>
                    <a:pt x="416" y="406"/>
                  </a:cubicBezTo>
                  <a:cubicBezTo>
                    <a:pt x="412" y="406"/>
                    <a:pt x="408" y="403"/>
                    <a:pt x="405" y="402"/>
                  </a:cubicBezTo>
                  <a:cubicBezTo>
                    <a:pt x="405" y="402"/>
                    <a:pt x="405" y="402"/>
                    <a:pt x="405" y="402"/>
                  </a:cubicBezTo>
                  <a:cubicBezTo>
                    <a:pt x="403" y="402"/>
                    <a:pt x="402" y="404"/>
                    <a:pt x="401" y="405"/>
                  </a:cubicBezTo>
                  <a:cubicBezTo>
                    <a:pt x="398" y="407"/>
                    <a:pt x="395" y="409"/>
                    <a:pt x="392" y="410"/>
                  </a:cubicBezTo>
                  <a:cubicBezTo>
                    <a:pt x="390" y="410"/>
                    <a:pt x="387" y="410"/>
                    <a:pt x="386" y="412"/>
                  </a:cubicBezTo>
                  <a:cubicBezTo>
                    <a:pt x="384" y="413"/>
                    <a:pt x="385" y="414"/>
                    <a:pt x="386" y="416"/>
                  </a:cubicBezTo>
                  <a:cubicBezTo>
                    <a:pt x="387" y="417"/>
                    <a:pt x="388" y="418"/>
                    <a:pt x="388" y="420"/>
                  </a:cubicBezTo>
                  <a:cubicBezTo>
                    <a:pt x="388" y="421"/>
                    <a:pt x="388" y="422"/>
                    <a:pt x="387" y="423"/>
                  </a:cubicBezTo>
                  <a:cubicBezTo>
                    <a:pt x="387" y="424"/>
                    <a:pt x="386" y="424"/>
                    <a:pt x="386" y="424"/>
                  </a:cubicBezTo>
                  <a:cubicBezTo>
                    <a:pt x="384" y="428"/>
                    <a:pt x="385" y="430"/>
                    <a:pt x="381" y="433"/>
                  </a:cubicBezTo>
                  <a:cubicBezTo>
                    <a:pt x="379" y="435"/>
                    <a:pt x="377" y="437"/>
                    <a:pt x="376" y="440"/>
                  </a:cubicBezTo>
                  <a:cubicBezTo>
                    <a:pt x="375" y="444"/>
                    <a:pt x="372" y="446"/>
                    <a:pt x="377" y="448"/>
                  </a:cubicBezTo>
                  <a:cubicBezTo>
                    <a:pt x="378" y="449"/>
                    <a:pt x="381" y="449"/>
                    <a:pt x="382" y="450"/>
                  </a:cubicBezTo>
                  <a:cubicBezTo>
                    <a:pt x="383" y="450"/>
                    <a:pt x="383" y="450"/>
                    <a:pt x="384" y="450"/>
                  </a:cubicBezTo>
                  <a:cubicBezTo>
                    <a:pt x="386" y="450"/>
                    <a:pt x="387" y="448"/>
                    <a:pt x="388" y="447"/>
                  </a:cubicBezTo>
                  <a:cubicBezTo>
                    <a:pt x="390" y="446"/>
                    <a:pt x="391" y="445"/>
                    <a:pt x="393" y="445"/>
                  </a:cubicBezTo>
                  <a:cubicBezTo>
                    <a:pt x="393" y="447"/>
                    <a:pt x="391" y="448"/>
                    <a:pt x="390" y="449"/>
                  </a:cubicBezTo>
                  <a:cubicBezTo>
                    <a:pt x="390" y="451"/>
                    <a:pt x="390" y="450"/>
                    <a:pt x="389" y="451"/>
                  </a:cubicBezTo>
                  <a:cubicBezTo>
                    <a:pt x="388" y="453"/>
                    <a:pt x="387" y="452"/>
                    <a:pt x="385" y="453"/>
                  </a:cubicBezTo>
                  <a:cubicBezTo>
                    <a:pt x="383" y="455"/>
                    <a:pt x="385" y="454"/>
                    <a:pt x="385" y="455"/>
                  </a:cubicBezTo>
                  <a:cubicBezTo>
                    <a:pt x="385" y="456"/>
                    <a:pt x="385" y="457"/>
                    <a:pt x="385" y="457"/>
                  </a:cubicBezTo>
                  <a:cubicBezTo>
                    <a:pt x="385" y="457"/>
                    <a:pt x="384" y="456"/>
                    <a:pt x="382" y="456"/>
                  </a:cubicBezTo>
                  <a:cubicBezTo>
                    <a:pt x="381" y="456"/>
                    <a:pt x="381" y="456"/>
                    <a:pt x="380" y="456"/>
                  </a:cubicBezTo>
                  <a:cubicBezTo>
                    <a:pt x="379" y="456"/>
                    <a:pt x="379" y="456"/>
                    <a:pt x="377" y="456"/>
                  </a:cubicBezTo>
                  <a:cubicBezTo>
                    <a:pt x="376" y="457"/>
                    <a:pt x="371" y="458"/>
                    <a:pt x="375" y="460"/>
                  </a:cubicBezTo>
                  <a:cubicBezTo>
                    <a:pt x="375" y="459"/>
                    <a:pt x="375" y="459"/>
                    <a:pt x="374" y="459"/>
                  </a:cubicBezTo>
                  <a:cubicBezTo>
                    <a:pt x="373" y="459"/>
                    <a:pt x="371" y="460"/>
                    <a:pt x="372" y="462"/>
                  </a:cubicBezTo>
                  <a:cubicBezTo>
                    <a:pt x="372" y="463"/>
                    <a:pt x="375" y="465"/>
                    <a:pt x="376" y="465"/>
                  </a:cubicBezTo>
                  <a:cubicBezTo>
                    <a:pt x="377" y="465"/>
                    <a:pt x="377" y="466"/>
                    <a:pt x="378" y="466"/>
                  </a:cubicBezTo>
                  <a:cubicBezTo>
                    <a:pt x="383" y="466"/>
                    <a:pt x="390" y="462"/>
                    <a:pt x="394" y="461"/>
                  </a:cubicBezTo>
                  <a:cubicBezTo>
                    <a:pt x="398" y="460"/>
                    <a:pt x="400" y="458"/>
                    <a:pt x="403" y="456"/>
                  </a:cubicBezTo>
                  <a:cubicBezTo>
                    <a:pt x="403" y="456"/>
                    <a:pt x="403" y="456"/>
                    <a:pt x="403" y="456"/>
                  </a:cubicBezTo>
                  <a:cubicBezTo>
                    <a:pt x="405" y="455"/>
                    <a:pt x="404" y="454"/>
                    <a:pt x="402" y="453"/>
                  </a:cubicBezTo>
                  <a:cubicBezTo>
                    <a:pt x="403" y="453"/>
                    <a:pt x="404" y="452"/>
                    <a:pt x="405" y="451"/>
                  </a:cubicBezTo>
                  <a:cubicBezTo>
                    <a:pt x="406" y="453"/>
                    <a:pt x="406" y="454"/>
                    <a:pt x="406" y="456"/>
                  </a:cubicBezTo>
                  <a:cubicBezTo>
                    <a:pt x="408" y="453"/>
                    <a:pt x="409" y="449"/>
                    <a:pt x="412" y="447"/>
                  </a:cubicBezTo>
                  <a:cubicBezTo>
                    <a:pt x="412" y="450"/>
                    <a:pt x="410" y="451"/>
                    <a:pt x="410" y="453"/>
                  </a:cubicBezTo>
                  <a:cubicBezTo>
                    <a:pt x="409" y="454"/>
                    <a:pt x="409" y="455"/>
                    <a:pt x="409" y="456"/>
                  </a:cubicBezTo>
                  <a:cubicBezTo>
                    <a:pt x="411" y="455"/>
                    <a:pt x="417" y="450"/>
                    <a:pt x="415" y="448"/>
                  </a:cubicBezTo>
                  <a:cubicBezTo>
                    <a:pt x="416" y="447"/>
                    <a:pt x="418" y="447"/>
                    <a:pt x="419" y="447"/>
                  </a:cubicBezTo>
                  <a:cubicBezTo>
                    <a:pt x="418" y="446"/>
                    <a:pt x="417" y="445"/>
                    <a:pt x="417" y="444"/>
                  </a:cubicBezTo>
                  <a:cubicBezTo>
                    <a:pt x="419" y="445"/>
                    <a:pt x="421" y="447"/>
                    <a:pt x="423" y="449"/>
                  </a:cubicBezTo>
                  <a:cubicBezTo>
                    <a:pt x="423" y="448"/>
                    <a:pt x="423" y="446"/>
                    <a:pt x="423" y="445"/>
                  </a:cubicBezTo>
                  <a:cubicBezTo>
                    <a:pt x="423" y="444"/>
                    <a:pt x="421" y="443"/>
                    <a:pt x="421" y="443"/>
                  </a:cubicBezTo>
                  <a:cubicBezTo>
                    <a:pt x="421" y="442"/>
                    <a:pt x="423" y="442"/>
                    <a:pt x="424" y="441"/>
                  </a:cubicBezTo>
                  <a:cubicBezTo>
                    <a:pt x="424" y="439"/>
                    <a:pt x="424" y="439"/>
                    <a:pt x="424" y="439"/>
                  </a:cubicBezTo>
                  <a:cubicBezTo>
                    <a:pt x="425" y="440"/>
                    <a:pt x="427" y="446"/>
                    <a:pt x="426" y="446"/>
                  </a:cubicBezTo>
                  <a:cubicBezTo>
                    <a:pt x="427" y="446"/>
                    <a:pt x="427" y="447"/>
                    <a:pt x="428" y="447"/>
                  </a:cubicBezTo>
                  <a:cubicBezTo>
                    <a:pt x="427" y="444"/>
                    <a:pt x="426" y="444"/>
                    <a:pt x="427" y="442"/>
                  </a:cubicBezTo>
                  <a:cubicBezTo>
                    <a:pt x="428" y="440"/>
                    <a:pt x="429" y="440"/>
                    <a:pt x="430" y="439"/>
                  </a:cubicBezTo>
                  <a:cubicBezTo>
                    <a:pt x="432" y="437"/>
                    <a:pt x="429" y="436"/>
                    <a:pt x="431" y="433"/>
                  </a:cubicBezTo>
                  <a:cubicBezTo>
                    <a:pt x="434" y="436"/>
                    <a:pt x="434" y="438"/>
                    <a:pt x="434" y="442"/>
                  </a:cubicBezTo>
                  <a:cubicBezTo>
                    <a:pt x="435" y="440"/>
                    <a:pt x="436" y="435"/>
                    <a:pt x="438" y="435"/>
                  </a:cubicBezTo>
                  <a:cubicBezTo>
                    <a:pt x="438" y="435"/>
                    <a:pt x="438" y="435"/>
                    <a:pt x="438" y="435"/>
                  </a:cubicBezTo>
                  <a:cubicBezTo>
                    <a:pt x="441" y="435"/>
                    <a:pt x="442" y="439"/>
                    <a:pt x="444" y="439"/>
                  </a:cubicBezTo>
                  <a:cubicBezTo>
                    <a:pt x="445" y="440"/>
                    <a:pt x="446" y="440"/>
                    <a:pt x="447" y="440"/>
                  </a:cubicBezTo>
                  <a:cubicBezTo>
                    <a:pt x="448" y="440"/>
                    <a:pt x="449" y="439"/>
                    <a:pt x="451" y="438"/>
                  </a:cubicBezTo>
                  <a:cubicBezTo>
                    <a:pt x="452" y="436"/>
                    <a:pt x="454" y="436"/>
                    <a:pt x="455" y="435"/>
                  </a:cubicBezTo>
                  <a:cubicBezTo>
                    <a:pt x="456" y="434"/>
                    <a:pt x="455" y="433"/>
                    <a:pt x="456" y="432"/>
                  </a:cubicBezTo>
                  <a:cubicBezTo>
                    <a:pt x="457" y="431"/>
                    <a:pt x="466" y="430"/>
                    <a:pt x="458" y="429"/>
                  </a:cubicBezTo>
                  <a:cubicBezTo>
                    <a:pt x="459" y="429"/>
                    <a:pt x="459" y="429"/>
                    <a:pt x="459" y="429"/>
                  </a:cubicBezTo>
                  <a:cubicBezTo>
                    <a:pt x="459" y="429"/>
                    <a:pt x="459" y="429"/>
                    <a:pt x="459" y="429"/>
                  </a:cubicBezTo>
                  <a:cubicBezTo>
                    <a:pt x="458" y="429"/>
                    <a:pt x="458" y="429"/>
                    <a:pt x="458" y="429"/>
                  </a:cubicBezTo>
                  <a:cubicBezTo>
                    <a:pt x="457" y="429"/>
                    <a:pt x="457" y="429"/>
                    <a:pt x="457" y="429"/>
                  </a:cubicBezTo>
                  <a:cubicBezTo>
                    <a:pt x="456" y="429"/>
                    <a:pt x="455" y="429"/>
                    <a:pt x="455" y="428"/>
                  </a:cubicBezTo>
                  <a:cubicBezTo>
                    <a:pt x="455" y="427"/>
                    <a:pt x="458" y="426"/>
                    <a:pt x="459" y="425"/>
                  </a:cubicBezTo>
                  <a:cubicBezTo>
                    <a:pt x="459" y="425"/>
                    <a:pt x="459" y="425"/>
                    <a:pt x="459" y="425"/>
                  </a:cubicBezTo>
                  <a:cubicBezTo>
                    <a:pt x="459" y="425"/>
                    <a:pt x="457" y="425"/>
                    <a:pt x="458" y="424"/>
                  </a:cubicBezTo>
                  <a:cubicBezTo>
                    <a:pt x="460" y="423"/>
                    <a:pt x="460" y="423"/>
                    <a:pt x="460" y="423"/>
                  </a:cubicBezTo>
                  <a:cubicBezTo>
                    <a:pt x="461" y="423"/>
                    <a:pt x="468" y="422"/>
                    <a:pt x="464" y="421"/>
                  </a:cubicBezTo>
                  <a:cubicBezTo>
                    <a:pt x="466" y="419"/>
                    <a:pt x="463" y="418"/>
                    <a:pt x="462" y="416"/>
                  </a:cubicBezTo>
                  <a:cubicBezTo>
                    <a:pt x="461" y="418"/>
                    <a:pt x="460" y="421"/>
                    <a:pt x="458" y="422"/>
                  </a:cubicBezTo>
                  <a:cubicBezTo>
                    <a:pt x="458" y="422"/>
                    <a:pt x="457" y="422"/>
                    <a:pt x="457" y="422"/>
                  </a:cubicBezTo>
                  <a:cubicBezTo>
                    <a:pt x="456" y="422"/>
                    <a:pt x="455" y="422"/>
                    <a:pt x="454" y="421"/>
                  </a:cubicBezTo>
                  <a:cubicBezTo>
                    <a:pt x="453" y="421"/>
                    <a:pt x="452" y="421"/>
                    <a:pt x="451" y="421"/>
                  </a:cubicBezTo>
                  <a:cubicBezTo>
                    <a:pt x="450" y="421"/>
                    <a:pt x="449" y="421"/>
                    <a:pt x="449" y="422"/>
                  </a:cubicBezTo>
                  <a:cubicBezTo>
                    <a:pt x="449" y="420"/>
                    <a:pt x="451" y="419"/>
                    <a:pt x="452" y="418"/>
                  </a:cubicBezTo>
                  <a:cubicBezTo>
                    <a:pt x="454" y="417"/>
                    <a:pt x="457" y="417"/>
                    <a:pt x="458" y="416"/>
                  </a:cubicBezTo>
                  <a:cubicBezTo>
                    <a:pt x="460" y="414"/>
                    <a:pt x="457" y="413"/>
                    <a:pt x="458" y="411"/>
                  </a:cubicBezTo>
                  <a:cubicBezTo>
                    <a:pt x="457" y="412"/>
                    <a:pt x="456" y="414"/>
                    <a:pt x="454" y="415"/>
                  </a:cubicBezTo>
                  <a:cubicBezTo>
                    <a:pt x="454" y="414"/>
                    <a:pt x="456" y="411"/>
                    <a:pt x="455" y="410"/>
                  </a:cubicBezTo>
                  <a:cubicBezTo>
                    <a:pt x="455" y="410"/>
                    <a:pt x="455" y="410"/>
                    <a:pt x="455" y="410"/>
                  </a:cubicBezTo>
                  <a:cubicBezTo>
                    <a:pt x="453" y="410"/>
                    <a:pt x="449" y="413"/>
                    <a:pt x="448" y="414"/>
                  </a:cubicBezTo>
                  <a:cubicBezTo>
                    <a:pt x="448" y="411"/>
                    <a:pt x="451" y="410"/>
                    <a:pt x="453" y="409"/>
                  </a:cubicBezTo>
                  <a:cubicBezTo>
                    <a:pt x="453" y="409"/>
                    <a:pt x="452" y="409"/>
                    <a:pt x="452" y="409"/>
                  </a:cubicBezTo>
                  <a:cubicBezTo>
                    <a:pt x="451" y="409"/>
                    <a:pt x="450" y="409"/>
                    <a:pt x="448" y="409"/>
                  </a:cubicBezTo>
                  <a:cubicBezTo>
                    <a:pt x="450" y="408"/>
                    <a:pt x="461" y="406"/>
                    <a:pt x="456" y="404"/>
                  </a:cubicBezTo>
                  <a:cubicBezTo>
                    <a:pt x="457" y="403"/>
                    <a:pt x="461" y="403"/>
                    <a:pt x="460" y="401"/>
                  </a:cubicBezTo>
                  <a:cubicBezTo>
                    <a:pt x="460" y="400"/>
                    <a:pt x="460" y="400"/>
                    <a:pt x="460" y="400"/>
                  </a:cubicBezTo>
                  <a:cubicBezTo>
                    <a:pt x="458" y="400"/>
                    <a:pt x="455" y="402"/>
                    <a:pt x="454" y="403"/>
                  </a:cubicBezTo>
                  <a:cubicBezTo>
                    <a:pt x="454" y="399"/>
                    <a:pt x="461" y="398"/>
                    <a:pt x="464" y="397"/>
                  </a:cubicBezTo>
                  <a:cubicBezTo>
                    <a:pt x="467" y="397"/>
                    <a:pt x="468" y="395"/>
                    <a:pt x="470" y="393"/>
                  </a:cubicBezTo>
                  <a:cubicBezTo>
                    <a:pt x="470" y="397"/>
                    <a:pt x="465" y="400"/>
                    <a:pt x="464" y="403"/>
                  </a:cubicBezTo>
                  <a:cubicBezTo>
                    <a:pt x="463" y="404"/>
                    <a:pt x="463" y="403"/>
                    <a:pt x="464" y="405"/>
                  </a:cubicBezTo>
                  <a:cubicBezTo>
                    <a:pt x="464" y="405"/>
                    <a:pt x="464" y="405"/>
                    <a:pt x="464" y="405"/>
                  </a:cubicBezTo>
                  <a:cubicBezTo>
                    <a:pt x="464" y="405"/>
                    <a:pt x="464" y="405"/>
                    <a:pt x="465" y="406"/>
                  </a:cubicBezTo>
                  <a:cubicBezTo>
                    <a:pt x="466" y="407"/>
                    <a:pt x="466" y="407"/>
                    <a:pt x="466" y="407"/>
                  </a:cubicBezTo>
                  <a:cubicBezTo>
                    <a:pt x="466" y="407"/>
                    <a:pt x="466" y="407"/>
                    <a:pt x="466" y="407"/>
                  </a:cubicBezTo>
                  <a:cubicBezTo>
                    <a:pt x="466" y="407"/>
                    <a:pt x="467" y="407"/>
                    <a:pt x="467" y="407"/>
                  </a:cubicBezTo>
                  <a:cubicBezTo>
                    <a:pt x="468" y="407"/>
                    <a:pt x="468" y="406"/>
                    <a:pt x="470" y="405"/>
                  </a:cubicBezTo>
                  <a:cubicBezTo>
                    <a:pt x="470" y="404"/>
                    <a:pt x="471" y="404"/>
                    <a:pt x="472" y="404"/>
                  </a:cubicBezTo>
                  <a:cubicBezTo>
                    <a:pt x="472" y="404"/>
                    <a:pt x="472" y="404"/>
                    <a:pt x="472" y="404"/>
                  </a:cubicBezTo>
                  <a:cubicBezTo>
                    <a:pt x="472" y="404"/>
                    <a:pt x="473" y="404"/>
                    <a:pt x="473" y="404"/>
                  </a:cubicBezTo>
                  <a:cubicBezTo>
                    <a:pt x="473" y="404"/>
                    <a:pt x="473" y="404"/>
                    <a:pt x="473" y="404"/>
                  </a:cubicBezTo>
                  <a:cubicBezTo>
                    <a:pt x="473" y="403"/>
                    <a:pt x="473" y="403"/>
                    <a:pt x="472" y="402"/>
                  </a:cubicBezTo>
                  <a:cubicBezTo>
                    <a:pt x="472" y="402"/>
                    <a:pt x="472" y="402"/>
                    <a:pt x="472" y="402"/>
                  </a:cubicBezTo>
                  <a:cubicBezTo>
                    <a:pt x="474" y="402"/>
                    <a:pt x="473" y="400"/>
                    <a:pt x="474" y="399"/>
                  </a:cubicBezTo>
                  <a:cubicBezTo>
                    <a:pt x="474" y="399"/>
                    <a:pt x="474" y="397"/>
                    <a:pt x="474" y="397"/>
                  </a:cubicBezTo>
                  <a:cubicBezTo>
                    <a:pt x="474" y="397"/>
                    <a:pt x="475" y="397"/>
                    <a:pt x="475" y="398"/>
                  </a:cubicBezTo>
                  <a:cubicBezTo>
                    <a:pt x="475" y="400"/>
                    <a:pt x="475" y="403"/>
                    <a:pt x="474" y="405"/>
                  </a:cubicBezTo>
                  <a:cubicBezTo>
                    <a:pt x="475" y="404"/>
                    <a:pt x="476" y="403"/>
                    <a:pt x="477" y="402"/>
                  </a:cubicBezTo>
                  <a:cubicBezTo>
                    <a:pt x="477" y="404"/>
                    <a:pt x="477" y="405"/>
                    <a:pt x="478" y="405"/>
                  </a:cubicBezTo>
                  <a:cubicBezTo>
                    <a:pt x="479" y="405"/>
                    <a:pt x="480" y="403"/>
                    <a:pt x="482" y="402"/>
                  </a:cubicBezTo>
                  <a:cubicBezTo>
                    <a:pt x="482" y="402"/>
                    <a:pt x="483" y="402"/>
                    <a:pt x="484" y="402"/>
                  </a:cubicBezTo>
                  <a:cubicBezTo>
                    <a:pt x="484" y="402"/>
                    <a:pt x="485" y="402"/>
                    <a:pt x="486" y="402"/>
                  </a:cubicBezTo>
                  <a:cubicBezTo>
                    <a:pt x="487" y="402"/>
                    <a:pt x="488" y="403"/>
                    <a:pt x="489" y="403"/>
                  </a:cubicBezTo>
                  <a:cubicBezTo>
                    <a:pt x="490" y="403"/>
                    <a:pt x="490" y="402"/>
                    <a:pt x="491" y="402"/>
                  </a:cubicBezTo>
                  <a:cubicBezTo>
                    <a:pt x="492" y="402"/>
                    <a:pt x="494" y="399"/>
                    <a:pt x="495" y="399"/>
                  </a:cubicBezTo>
                  <a:cubicBezTo>
                    <a:pt x="497" y="398"/>
                    <a:pt x="499" y="398"/>
                    <a:pt x="500" y="398"/>
                  </a:cubicBezTo>
                  <a:cubicBezTo>
                    <a:pt x="501" y="398"/>
                    <a:pt x="502" y="398"/>
                    <a:pt x="503" y="398"/>
                  </a:cubicBezTo>
                  <a:cubicBezTo>
                    <a:pt x="501" y="399"/>
                    <a:pt x="494" y="399"/>
                    <a:pt x="497" y="401"/>
                  </a:cubicBezTo>
                  <a:cubicBezTo>
                    <a:pt x="496" y="401"/>
                    <a:pt x="496" y="401"/>
                    <a:pt x="496" y="401"/>
                  </a:cubicBezTo>
                  <a:cubicBezTo>
                    <a:pt x="494" y="401"/>
                    <a:pt x="493" y="404"/>
                    <a:pt x="496" y="404"/>
                  </a:cubicBezTo>
                  <a:cubicBezTo>
                    <a:pt x="495" y="404"/>
                    <a:pt x="494" y="404"/>
                    <a:pt x="493" y="404"/>
                  </a:cubicBezTo>
                  <a:cubicBezTo>
                    <a:pt x="493" y="405"/>
                    <a:pt x="494" y="407"/>
                    <a:pt x="496" y="408"/>
                  </a:cubicBezTo>
                  <a:cubicBezTo>
                    <a:pt x="496" y="408"/>
                    <a:pt x="498" y="408"/>
                    <a:pt x="499" y="408"/>
                  </a:cubicBezTo>
                  <a:cubicBezTo>
                    <a:pt x="501" y="408"/>
                    <a:pt x="504" y="408"/>
                    <a:pt x="505" y="406"/>
                  </a:cubicBezTo>
                  <a:cubicBezTo>
                    <a:pt x="504" y="410"/>
                    <a:pt x="502" y="410"/>
                    <a:pt x="499" y="410"/>
                  </a:cubicBezTo>
                  <a:cubicBezTo>
                    <a:pt x="499" y="410"/>
                    <a:pt x="498" y="410"/>
                    <a:pt x="498" y="410"/>
                  </a:cubicBezTo>
                  <a:cubicBezTo>
                    <a:pt x="499" y="411"/>
                    <a:pt x="499" y="411"/>
                    <a:pt x="499" y="411"/>
                  </a:cubicBezTo>
                  <a:cubicBezTo>
                    <a:pt x="498" y="411"/>
                    <a:pt x="498" y="411"/>
                    <a:pt x="498" y="411"/>
                  </a:cubicBezTo>
                  <a:cubicBezTo>
                    <a:pt x="497" y="411"/>
                    <a:pt x="497" y="411"/>
                    <a:pt x="496" y="411"/>
                  </a:cubicBezTo>
                  <a:cubicBezTo>
                    <a:pt x="496" y="411"/>
                    <a:pt x="495" y="411"/>
                    <a:pt x="495" y="411"/>
                  </a:cubicBezTo>
                  <a:cubicBezTo>
                    <a:pt x="495" y="411"/>
                    <a:pt x="495" y="411"/>
                    <a:pt x="494" y="411"/>
                  </a:cubicBezTo>
                  <a:cubicBezTo>
                    <a:pt x="495" y="412"/>
                    <a:pt x="495" y="413"/>
                    <a:pt x="496" y="413"/>
                  </a:cubicBezTo>
                  <a:cubicBezTo>
                    <a:pt x="498" y="413"/>
                    <a:pt x="501" y="411"/>
                    <a:pt x="503" y="411"/>
                  </a:cubicBezTo>
                  <a:cubicBezTo>
                    <a:pt x="503" y="411"/>
                    <a:pt x="503" y="411"/>
                    <a:pt x="503" y="411"/>
                  </a:cubicBezTo>
                  <a:cubicBezTo>
                    <a:pt x="504" y="411"/>
                    <a:pt x="504" y="411"/>
                    <a:pt x="505" y="411"/>
                  </a:cubicBezTo>
                  <a:cubicBezTo>
                    <a:pt x="505" y="411"/>
                    <a:pt x="506" y="411"/>
                    <a:pt x="506" y="411"/>
                  </a:cubicBezTo>
                  <a:cubicBezTo>
                    <a:pt x="507" y="411"/>
                    <a:pt x="509" y="411"/>
                    <a:pt x="509" y="410"/>
                  </a:cubicBezTo>
                  <a:cubicBezTo>
                    <a:pt x="508" y="412"/>
                    <a:pt x="506" y="413"/>
                    <a:pt x="504" y="415"/>
                  </a:cubicBezTo>
                  <a:cubicBezTo>
                    <a:pt x="507" y="415"/>
                    <a:pt x="509" y="413"/>
                    <a:pt x="512" y="413"/>
                  </a:cubicBezTo>
                  <a:cubicBezTo>
                    <a:pt x="512" y="413"/>
                    <a:pt x="512" y="413"/>
                    <a:pt x="512" y="413"/>
                  </a:cubicBezTo>
                  <a:cubicBezTo>
                    <a:pt x="513" y="413"/>
                    <a:pt x="514" y="413"/>
                    <a:pt x="515" y="413"/>
                  </a:cubicBezTo>
                  <a:cubicBezTo>
                    <a:pt x="516" y="414"/>
                    <a:pt x="517" y="414"/>
                    <a:pt x="518" y="414"/>
                  </a:cubicBezTo>
                  <a:cubicBezTo>
                    <a:pt x="518" y="414"/>
                    <a:pt x="518" y="414"/>
                    <a:pt x="518" y="414"/>
                  </a:cubicBezTo>
                  <a:cubicBezTo>
                    <a:pt x="518" y="417"/>
                    <a:pt x="514" y="419"/>
                    <a:pt x="512" y="421"/>
                  </a:cubicBezTo>
                  <a:cubicBezTo>
                    <a:pt x="515" y="422"/>
                    <a:pt x="518" y="422"/>
                    <a:pt x="522" y="422"/>
                  </a:cubicBezTo>
                  <a:cubicBezTo>
                    <a:pt x="525" y="422"/>
                    <a:pt x="528" y="422"/>
                    <a:pt x="530" y="422"/>
                  </a:cubicBezTo>
                  <a:cubicBezTo>
                    <a:pt x="532" y="422"/>
                    <a:pt x="533" y="420"/>
                    <a:pt x="534" y="418"/>
                  </a:cubicBezTo>
                  <a:cubicBezTo>
                    <a:pt x="535" y="417"/>
                    <a:pt x="537" y="417"/>
                    <a:pt x="538" y="415"/>
                  </a:cubicBezTo>
                  <a:cubicBezTo>
                    <a:pt x="539" y="414"/>
                    <a:pt x="540" y="413"/>
                    <a:pt x="542" y="412"/>
                  </a:cubicBezTo>
                  <a:cubicBezTo>
                    <a:pt x="539" y="414"/>
                    <a:pt x="539" y="415"/>
                    <a:pt x="538" y="418"/>
                  </a:cubicBezTo>
                  <a:cubicBezTo>
                    <a:pt x="536" y="421"/>
                    <a:pt x="537" y="421"/>
                    <a:pt x="537" y="423"/>
                  </a:cubicBezTo>
                  <a:cubicBezTo>
                    <a:pt x="537" y="423"/>
                    <a:pt x="537" y="423"/>
                    <a:pt x="537" y="423"/>
                  </a:cubicBezTo>
                  <a:cubicBezTo>
                    <a:pt x="535" y="423"/>
                    <a:pt x="536" y="424"/>
                    <a:pt x="536" y="425"/>
                  </a:cubicBezTo>
                  <a:cubicBezTo>
                    <a:pt x="536" y="427"/>
                    <a:pt x="534" y="427"/>
                    <a:pt x="538" y="428"/>
                  </a:cubicBezTo>
                  <a:cubicBezTo>
                    <a:pt x="541" y="430"/>
                    <a:pt x="545" y="431"/>
                    <a:pt x="549" y="433"/>
                  </a:cubicBezTo>
                  <a:cubicBezTo>
                    <a:pt x="551" y="433"/>
                    <a:pt x="556" y="434"/>
                    <a:pt x="556" y="436"/>
                  </a:cubicBezTo>
                  <a:cubicBezTo>
                    <a:pt x="562" y="436"/>
                    <a:pt x="568" y="435"/>
                    <a:pt x="574" y="435"/>
                  </a:cubicBezTo>
                  <a:cubicBezTo>
                    <a:pt x="578" y="435"/>
                    <a:pt x="583" y="434"/>
                    <a:pt x="587" y="434"/>
                  </a:cubicBezTo>
                  <a:cubicBezTo>
                    <a:pt x="589" y="434"/>
                    <a:pt x="591" y="434"/>
                    <a:pt x="592" y="435"/>
                  </a:cubicBezTo>
                  <a:cubicBezTo>
                    <a:pt x="597" y="435"/>
                    <a:pt x="602" y="436"/>
                    <a:pt x="606" y="437"/>
                  </a:cubicBezTo>
                  <a:cubicBezTo>
                    <a:pt x="608" y="438"/>
                    <a:pt x="609" y="438"/>
                    <a:pt x="611" y="438"/>
                  </a:cubicBezTo>
                  <a:cubicBezTo>
                    <a:pt x="612" y="438"/>
                    <a:pt x="612" y="438"/>
                    <a:pt x="613" y="438"/>
                  </a:cubicBezTo>
                  <a:cubicBezTo>
                    <a:pt x="614" y="438"/>
                    <a:pt x="617" y="437"/>
                    <a:pt x="617" y="436"/>
                  </a:cubicBezTo>
                  <a:cubicBezTo>
                    <a:pt x="618" y="435"/>
                    <a:pt x="614" y="434"/>
                    <a:pt x="616" y="433"/>
                  </a:cubicBezTo>
                  <a:cubicBezTo>
                    <a:pt x="616" y="433"/>
                    <a:pt x="616" y="432"/>
                    <a:pt x="616" y="432"/>
                  </a:cubicBezTo>
                  <a:cubicBezTo>
                    <a:pt x="618" y="432"/>
                    <a:pt x="621" y="438"/>
                    <a:pt x="620" y="439"/>
                  </a:cubicBezTo>
                  <a:cubicBezTo>
                    <a:pt x="619" y="440"/>
                    <a:pt x="616" y="441"/>
                    <a:pt x="616" y="441"/>
                  </a:cubicBezTo>
                  <a:cubicBezTo>
                    <a:pt x="622" y="445"/>
                    <a:pt x="632" y="448"/>
                    <a:pt x="640" y="448"/>
                  </a:cubicBezTo>
                  <a:cubicBezTo>
                    <a:pt x="640" y="448"/>
                    <a:pt x="640" y="448"/>
                    <a:pt x="640" y="448"/>
                  </a:cubicBezTo>
                  <a:cubicBezTo>
                    <a:pt x="644" y="448"/>
                    <a:pt x="647" y="446"/>
                    <a:pt x="651" y="444"/>
                  </a:cubicBezTo>
                  <a:cubicBezTo>
                    <a:pt x="653" y="444"/>
                    <a:pt x="653" y="443"/>
                    <a:pt x="655" y="442"/>
                  </a:cubicBezTo>
                  <a:cubicBezTo>
                    <a:pt x="656" y="441"/>
                    <a:pt x="658" y="440"/>
                    <a:pt x="659" y="439"/>
                  </a:cubicBezTo>
                  <a:cubicBezTo>
                    <a:pt x="660" y="438"/>
                    <a:pt x="659" y="436"/>
                    <a:pt x="661" y="436"/>
                  </a:cubicBezTo>
                  <a:cubicBezTo>
                    <a:pt x="661" y="436"/>
                    <a:pt x="661" y="436"/>
                    <a:pt x="662" y="436"/>
                  </a:cubicBezTo>
                  <a:cubicBezTo>
                    <a:pt x="666" y="437"/>
                    <a:pt x="671" y="442"/>
                    <a:pt x="675" y="444"/>
                  </a:cubicBezTo>
                  <a:cubicBezTo>
                    <a:pt x="673" y="443"/>
                    <a:pt x="671" y="443"/>
                    <a:pt x="669" y="443"/>
                  </a:cubicBezTo>
                  <a:cubicBezTo>
                    <a:pt x="668" y="443"/>
                    <a:pt x="667" y="443"/>
                    <a:pt x="666" y="444"/>
                  </a:cubicBezTo>
                  <a:cubicBezTo>
                    <a:pt x="665" y="445"/>
                    <a:pt x="666" y="448"/>
                    <a:pt x="667" y="449"/>
                  </a:cubicBezTo>
                  <a:cubicBezTo>
                    <a:pt x="667" y="451"/>
                    <a:pt x="666" y="452"/>
                    <a:pt x="666" y="452"/>
                  </a:cubicBezTo>
                  <a:cubicBezTo>
                    <a:pt x="666" y="452"/>
                    <a:pt x="665" y="451"/>
                    <a:pt x="665" y="450"/>
                  </a:cubicBezTo>
                  <a:cubicBezTo>
                    <a:pt x="666" y="448"/>
                    <a:pt x="665" y="446"/>
                    <a:pt x="665" y="443"/>
                  </a:cubicBezTo>
                  <a:cubicBezTo>
                    <a:pt x="665" y="442"/>
                    <a:pt x="665" y="443"/>
                    <a:pt x="665" y="441"/>
                  </a:cubicBezTo>
                  <a:cubicBezTo>
                    <a:pt x="665" y="441"/>
                    <a:pt x="664" y="440"/>
                    <a:pt x="663" y="439"/>
                  </a:cubicBezTo>
                  <a:cubicBezTo>
                    <a:pt x="663" y="439"/>
                    <a:pt x="663" y="439"/>
                    <a:pt x="662" y="439"/>
                  </a:cubicBezTo>
                  <a:cubicBezTo>
                    <a:pt x="660" y="439"/>
                    <a:pt x="659" y="440"/>
                    <a:pt x="658" y="442"/>
                  </a:cubicBezTo>
                  <a:cubicBezTo>
                    <a:pt x="658" y="443"/>
                    <a:pt x="660" y="445"/>
                    <a:pt x="660" y="446"/>
                  </a:cubicBezTo>
                  <a:cubicBezTo>
                    <a:pt x="661" y="449"/>
                    <a:pt x="661" y="447"/>
                    <a:pt x="660" y="449"/>
                  </a:cubicBezTo>
                  <a:cubicBezTo>
                    <a:pt x="659" y="451"/>
                    <a:pt x="659" y="451"/>
                    <a:pt x="659" y="451"/>
                  </a:cubicBezTo>
                  <a:cubicBezTo>
                    <a:pt x="658" y="452"/>
                    <a:pt x="656" y="453"/>
                    <a:pt x="655" y="453"/>
                  </a:cubicBezTo>
                  <a:cubicBezTo>
                    <a:pt x="655" y="453"/>
                    <a:pt x="654" y="453"/>
                    <a:pt x="653" y="453"/>
                  </a:cubicBezTo>
                  <a:cubicBezTo>
                    <a:pt x="653" y="453"/>
                    <a:pt x="653" y="453"/>
                    <a:pt x="653" y="453"/>
                  </a:cubicBezTo>
                  <a:cubicBezTo>
                    <a:pt x="656" y="455"/>
                    <a:pt x="659" y="456"/>
                    <a:pt x="662" y="458"/>
                  </a:cubicBezTo>
                  <a:cubicBezTo>
                    <a:pt x="668" y="460"/>
                    <a:pt x="674" y="464"/>
                    <a:pt x="680" y="466"/>
                  </a:cubicBezTo>
                  <a:cubicBezTo>
                    <a:pt x="680" y="466"/>
                    <a:pt x="680" y="466"/>
                    <a:pt x="681" y="466"/>
                  </a:cubicBezTo>
                  <a:cubicBezTo>
                    <a:pt x="682" y="466"/>
                    <a:pt x="684" y="465"/>
                    <a:pt x="685" y="465"/>
                  </a:cubicBezTo>
                  <a:cubicBezTo>
                    <a:pt x="685" y="467"/>
                    <a:pt x="683" y="468"/>
                    <a:pt x="682" y="468"/>
                  </a:cubicBezTo>
                  <a:cubicBezTo>
                    <a:pt x="682" y="468"/>
                    <a:pt x="682" y="467"/>
                    <a:pt x="682" y="467"/>
                  </a:cubicBezTo>
                  <a:cubicBezTo>
                    <a:pt x="688" y="473"/>
                    <a:pt x="695" y="477"/>
                    <a:pt x="701" y="481"/>
                  </a:cubicBezTo>
                  <a:cubicBezTo>
                    <a:pt x="709" y="486"/>
                    <a:pt x="717" y="492"/>
                    <a:pt x="725" y="497"/>
                  </a:cubicBezTo>
                  <a:cubicBezTo>
                    <a:pt x="726" y="498"/>
                    <a:pt x="726" y="498"/>
                    <a:pt x="726" y="498"/>
                  </a:cubicBezTo>
                  <a:cubicBezTo>
                    <a:pt x="727" y="498"/>
                    <a:pt x="727" y="497"/>
                    <a:pt x="727" y="496"/>
                  </a:cubicBezTo>
                  <a:cubicBezTo>
                    <a:pt x="727" y="495"/>
                    <a:pt x="727" y="494"/>
                    <a:pt x="727" y="494"/>
                  </a:cubicBezTo>
                  <a:cubicBezTo>
                    <a:pt x="727" y="494"/>
                    <a:pt x="727" y="494"/>
                    <a:pt x="727" y="494"/>
                  </a:cubicBezTo>
                  <a:cubicBezTo>
                    <a:pt x="728" y="494"/>
                    <a:pt x="728" y="494"/>
                    <a:pt x="729" y="494"/>
                  </a:cubicBezTo>
                  <a:cubicBezTo>
                    <a:pt x="729" y="494"/>
                    <a:pt x="730" y="494"/>
                    <a:pt x="731" y="495"/>
                  </a:cubicBezTo>
                  <a:cubicBezTo>
                    <a:pt x="732" y="495"/>
                    <a:pt x="733" y="495"/>
                    <a:pt x="733" y="495"/>
                  </a:cubicBezTo>
                  <a:cubicBezTo>
                    <a:pt x="735" y="495"/>
                    <a:pt x="731" y="492"/>
                    <a:pt x="730" y="491"/>
                  </a:cubicBezTo>
                  <a:cubicBezTo>
                    <a:pt x="733" y="491"/>
                    <a:pt x="737" y="494"/>
                    <a:pt x="739" y="494"/>
                  </a:cubicBezTo>
                  <a:cubicBezTo>
                    <a:pt x="740" y="494"/>
                    <a:pt x="741" y="493"/>
                    <a:pt x="741" y="492"/>
                  </a:cubicBezTo>
                  <a:cubicBezTo>
                    <a:pt x="741" y="489"/>
                    <a:pt x="739" y="486"/>
                    <a:pt x="738" y="485"/>
                  </a:cubicBezTo>
                  <a:cubicBezTo>
                    <a:pt x="738" y="484"/>
                    <a:pt x="737" y="484"/>
                    <a:pt x="736" y="484"/>
                  </a:cubicBezTo>
                  <a:cubicBezTo>
                    <a:pt x="735" y="484"/>
                    <a:pt x="732" y="485"/>
                    <a:pt x="731" y="485"/>
                  </a:cubicBezTo>
                  <a:cubicBezTo>
                    <a:pt x="732" y="484"/>
                    <a:pt x="734" y="483"/>
                    <a:pt x="734" y="482"/>
                  </a:cubicBezTo>
                  <a:cubicBezTo>
                    <a:pt x="734" y="480"/>
                    <a:pt x="729" y="479"/>
                    <a:pt x="727" y="478"/>
                  </a:cubicBezTo>
                  <a:cubicBezTo>
                    <a:pt x="729" y="478"/>
                    <a:pt x="730" y="479"/>
                    <a:pt x="731" y="479"/>
                  </a:cubicBezTo>
                  <a:cubicBezTo>
                    <a:pt x="730" y="476"/>
                    <a:pt x="724" y="476"/>
                    <a:pt x="721" y="476"/>
                  </a:cubicBezTo>
                  <a:cubicBezTo>
                    <a:pt x="721" y="476"/>
                    <a:pt x="721" y="476"/>
                    <a:pt x="720" y="476"/>
                  </a:cubicBezTo>
                  <a:cubicBezTo>
                    <a:pt x="718" y="476"/>
                    <a:pt x="718" y="476"/>
                    <a:pt x="717" y="478"/>
                  </a:cubicBezTo>
                  <a:cubicBezTo>
                    <a:pt x="718" y="473"/>
                    <a:pt x="722" y="476"/>
                    <a:pt x="720" y="472"/>
                  </a:cubicBezTo>
                  <a:cubicBezTo>
                    <a:pt x="719" y="472"/>
                    <a:pt x="719" y="472"/>
                    <a:pt x="719" y="472"/>
                  </a:cubicBezTo>
                  <a:cubicBezTo>
                    <a:pt x="718" y="472"/>
                    <a:pt x="716" y="473"/>
                    <a:pt x="714" y="474"/>
                  </a:cubicBezTo>
                  <a:cubicBezTo>
                    <a:pt x="714" y="474"/>
                    <a:pt x="714" y="474"/>
                    <a:pt x="713" y="475"/>
                  </a:cubicBezTo>
                  <a:cubicBezTo>
                    <a:pt x="712" y="475"/>
                    <a:pt x="712" y="475"/>
                    <a:pt x="712" y="475"/>
                  </a:cubicBezTo>
                  <a:cubicBezTo>
                    <a:pt x="711" y="476"/>
                    <a:pt x="710" y="476"/>
                    <a:pt x="710" y="477"/>
                  </a:cubicBezTo>
                  <a:cubicBezTo>
                    <a:pt x="709" y="477"/>
                    <a:pt x="709" y="477"/>
                    <a:pt x="709" y="477"/>
                  </a:cubicBezTo>
                  <a:cubicBezTo>
                    <a:pt x="709" y="477"/>
                    <a:pt x="709" y="477"/>
                    <a:pt x="708" y="477"/>
                  </a:cubicBezTo>
                  <a:cubicBezTo>
                    <a:pt x="706" y="477"/>
                    <a:pt x="705" y="476"/>
                    <a:pt x="705" y="475"/>
                  </a:cubicBezTo>
                  <a:cubicBezTo>
                    <a:pt x="704" y="474"/>
                    <a:pt x="704" y="474"/>
                    <a:pt x="704" y="474"/>
                  </a:cubicBezTo>
                  <a:cubicBezTo>
                    <a:pt x="705" y="472"/>
                    <a:pt x="705" y="472"/>
                    <a:pt x="705" y="472"/>
                  </a:cubicBezTo>
                  <a:cubicBezTo>
                    <a:pt x="704" y="468"/>
                    <a:pt x="704" y="468"/>
                    <a:pt x="704" y="468"/>
                  </a:cubicBezTo>
                  <a:cubicBezTo>
                    <a:pt x="704" y="467"/>
                    <a:pt x="703" y="465"/>
                    <a:pt x="703" y="465"/>
                  </a:cubicBezTo>
                  <a:cubicBezTo>
                    <a:pt x="702" y="465"/>
                    <a:pt x="702" y="465"/>
                    <a:pt x="702" y="465"/>
                  </a:cubicBezTo>
                  <a:cubicBezTo>
                    <a:pt x="701" y="463"/>
                    <a:pt x="698" y="461"/>
                    <a:pt x="696" y="460"/>
                  </a:cubicBezTo>
                  <a:cubicBezTo>
                    <a:pt x="696" y="460"/>
                    <a:pt x="696" y="460"/>
                    <a:pt x="696" y="460"/>
                  </a:cubicBezTo>
                  <a:cubicBezTo>
                    <a:pt x="695" y="459"/>
                    <a:pt x="694" y="458"/>
                    <a:pt x="693" y="458"/>
                  </a:cubicBezTo>
                  <a:cubicBezTo>
                    <a:pt x="680" y="447"/>
                    <a:pt x="680" y="447"/>
                    <a:pt x="680" y="447"/>
                  </a:cubicBezTo>
                  <a:cubicBezTo>
                    <a:pt x="676" y="445"/>
                    <a:pt x="673" y="442"/>
                    <a:pt x="670" y="440"/>
                  </a:cubicBezTo>
                  <a:cubicBezTo>
                    <a:pt x="669" y="439"/>
                    <a:pt x="669" y="439"/>
                    <a:pt x="669" y="439"/>
                  </a:cubicBezTo>
                  <a:cubicBezTo>
                    <a:pt x="667" y="436"/>
                    <a:pt x="666" y="434"/>
                    <a:pt x="667" y="431"/>
                  </a:cubicBezTo>
                  <a:cubicBezTo>
                    <a:pt x="667" y="429"/>
                    <a:pt x="667" y="428"/>
                    <a:pt x="667" y="428"/>
                  </a:cubicBezTo>
                  <a:cubicBezTo>
                    <a:pt x="667" y="428"/>
                    <a:pt x="666" y="428"/>
                    <a:pt x="664" y="428"/>
                  </a:cubicBezTo>
                  <a:cubicBezTo>
                    <a:pt x="663" y="428"/>
                    <a:pt x="663" y="428"/>
                    <a:pt x="663" y="428"/>
                  </a:cubicBezTo>
                  <a:cubicBezTo>
                    <a:pt x="662" y="428"/>
                    <a:pt x="661" y="428"/>
                    <a:pt x="661" y="428"/>
                  </a:cubicBezTo>
                  <a:cubicBezTo>
                    <a:pt x="660" y="428"/>
                    <a:pt x="659" y="428"/>
                    <a:pt x="658" y="428"/>
                  </a:cubicBezTo>
                  <a:cubicBezTo>
                    <a:pt x="657" y="428"/>
                    <a:pt x="656" y="429"/>
                    <a:pt x="655" y="430"/>
                  </a:cubicBezTo>
                  <a:cubicBezTo>
                    <a:pt x="654" y="431"/>
                    <a:pt x="652" y="433"/>
                    <a:pt x="649" y="433"/>
                  </a:cubicBezTo>
                  <a:cubicBezTo>
                    <a:pt x="649" y="433"/>
                    <a:pt x="648" y="433"/>
                    <a:pt x="648" y="433"/>
                  </a:cubicBezTo>
                  <a:cubicBezTo>
                    <a:pt x="627" y="430"/>
                    <a:pt x="627" y="430"/>
                    <a:pt x="627" y="430"/>
                  </a:cubicBezTo>
                  <a:cubicBezTo>
                    <a:pt x="625" y="429"/>
                    <a:pt x="623" y="428"/>
                    <a:pt x="623" y="424"/>
                  </a:cubicBezTo>
                  <a:cubicBezTo>
                    <a:pt x="623" y="423"/>
                    <a:pt x="623" y="423"/>
                    <a:pt x="623" y="423"/>
                  </a:cubicBezTo>
                  <a:cubicBezTo>
                    <a:pt x="623" y="421"/>
                    <a:pt x="623" y="418"/>
                    <a:pt x="623" y="416"/>
                  </a:cubicBezTo>
                  <a:cubicBezTo>
                    <a:pt x="623" y="404"/>
                    <a:pt x="623" y="404"/>
                    <a:pt x="623" y="404"/>
                  </a:cubicBezTo>
                  <a:cubicBezTo>
                    <a:pt x="623" y="397"/>
                    <a:pt x="623" y="389"/>
                    <a:pt x="623" y="382"/>
                  </a:cubicBezTo>
                  <a:cubicBezTo>
                    <a:pt x="623" y="369"/>
                    <a:pt x="623" y="356"/>
                    <a:pt x="623" y="343"/>
                  </a:cubicBezTo>
                  <a:cubicBezTo>
                    <a:pt x="623" y="286"/>
                    <a:pt x="623" y="286"/>
                    <a:pt x="623" y="286"/>
                  </a:cubicBezTo>
                  <a:cubicBezTo>
                    <a:pt x="623" y="262"/>
                    <a:pt x="623" y="237"/>
                    <a:pt x="623" y="213"/>
                  </a:cubicBezTo>
                  <a:cubicBezTo>
                    <a:pt x="623" y="212"/>
                    <a:pt x="623" y="212"/>
                    <a:pt x="623" y="212"/>
                  </a:cubicBezTo>
                  <a:cubicBezTo>
                    <a:pt x="623" y="183"/>
                    <a:pt x="623" y="144"/>
                    <a:pt x="623" y="110"/>
                  </a:cubicBezTo>
                  <a:cubicBezTo>
                    <a:pt x="623" y="73"/>
                    <a:pt x="623" y="73"/>
                    <a:pt x="623" y="73"/>
                  </a:cubicBezTo>
                  <a:cubicBezTo>
                    <a:pt x="621" y="72"/>
                    <a:pt x="618" y="71"/>
                    <a:pt x="616" y="70"/>
                  </a:cubicBezTo>
                  <a:cubicBezTo>
                    <a:pt x="608" y="67"/>
                    <a:pt x="600" y="64"/>
                    <a:pt x="592" y="61"/>
                  </a:cubicBezTo>
                  <a:cubicBezTo>
                    <a:pt x="587" y="59"/>
                    <a:pt x="582" y="59"/>
                    <a:pt x="576" y="58"/>
                  </a:cubicBezTo>
                  <a:cubicBezTo>
                    <a:pt x="572" y="58"/>
                    <a:pt x="566" y="57"/>
                    <a:pt x="561" y="57"/>
                  </a:cubicBezTo>
                  <a:cubicBezTo>
                    <a:pt x="559" y="57"/>
                    <a:pt x="557" y="58"/>
                    <a:pt x="556" y="58"/>
                  </a:cubicBezTo>
                  <a:cubicBezTo>
                    <a:pt x="555" y="58"/>
                    <a:pt x="556" y="59"/>
                    <a:pt x="554" y="59"/>
                  </a:cubicBezTo>
                  <a:cubicBezTo>
                    <a:pt x="554" y="59"/>
                    <a:pt x="553" y="59"/>
                    <a:pt x="553" y="59"/>
                  </a:cubicBezTo>
                  <a:cubicBezTo>
                    <a:pt x="551" y="59"/>
                    <a:pt x="549" y="58"/>
                    <a:pt x="546" y="58"/>
                  </a:cubicBezTo>
                  <a:cubicBezTo>
                    <a:pt x="546" y="58"/>
                    <a:pt x="546" y="58"/>
                    <a:pt x="545" y="58"/>
                  </a:cubicBezTo>
                  <a:cubicBezTo>
                    <a:pt x="543" y="59"/>
                    <a:pt x="542" y="60"/>
                    <a:pt x="539" y="60"/>
                  </a:cubicBezTo>
                  <a:cubicBezTo>
                    <a:pt x="539" y="60"/>
                    <a:pt x="539" y="60"/>
                    <a:pt x="539" y="60"/>
                  </a:cubicBezTo>
                  <a:cubicBezTo>
                    <a:pt x="534" y="60"/>
                    <a:pt x="530" y="60"/>
                    <a:pt x="525" y="58"/>
                  </a:cubicBezTo>
                  <a:cubicBezTo>
                    <a:pt x="519" y="56"/>
                    <a:pt x="516" y="52"/>
                    <a:pt x="509" y="52"/>
                  </a:cubicBezTo>
                  <a:cubicBezTo>
                    <a:pt x="505" y="52"/>
                    <a:pt x="501" y="52"/>
                    <a:pt x="497" y="52"/>
                  </a:cubicBezTo>
                  <a:cubicBezTo>
                    <a:pt x="494" y="52"/>
                    <a:pt x="492" y="52"/>
                    <a:pt x="489" y="52"/>
                  </a:cubicBezTo>
                  <a:cubicBezTo>
                    <a:pt x="488" y="52"/>
                    <a:pt x="487" y="52"/>
                    <a:pt x="486" y="52"/>
                  </a:cubicBezTo>
                  <a:cubicBezTo>
                    <a:pt x="483" y="52"/>
                    <a:pt x="481" y="52"/>
                    <a:pt x="479" y="51"/>
                  </a:cubicBezTo>
                  <a:cubicBezTo>
                    <a:pt x="465" y="49"/>
                    <a:pt x="452" y="47"/>
                    <a:pt x="438" y="45"/>
                  </a:cubicBezTo>
                  <a:cubicBezTo>
                    <a:pt x="431" y="43"/>
                    <a:pt x="423" y="41"/>
                    <a:pt x="415" y="41"/>
                  </a:cubicBezTo>
                  <a:cubicBezTo>
                    <a:pt x="414" y="41"/>
                    <a:pt x="412" y="41"/>
                    <a:pt x="410" y="42"/>
                  </a:cubicBezTo>
                  <a:cubicBezTo>
                    <a:pt x="410" y="42"/>
                    <a:pt x="410" y="42"/>
                    <a:pt x="410" y="42"/>
                  </a:cubicBezTo>
                  <a:cubicBezTo>
                    <a:pt x="409" y="42"/>
                    <a:pt x="407" y="41"/>
                    <a:pt x="404" y="41"/>
                  </a:cubicBezTo>
                  <a:cubicBezTo>
                    <a:pt x="402" y="41"/>
                    <a:pt x="399" y="41"/>
                    <a:pt x="396" y="41"/>
                  </a:cubicBezTo>
                  <a:cubicBezTo>
                    <a:pt x="392" y="41"/>
                    <a:pt x="388" y="41"/>
                    <a:pt x="390" y="43"/>
                  </a:cubicBezTo>
                  <a:cubicBezTo>
                    <a:pt x="390" y="43"/>
                    <a:pt x="390" y="43"/>
                    <a:pt x="389" y="43"/>
                  </a:cubicBezTo>
                  <a:cubicBezTo>
                    <a:pt x="387" y="43"/>
                    <a:pt x="385" y="42"/>
                    <a:pt x="382" y="42"/>
                  </a:cubicBezTo>
                  <a:cubicBezTo>
                    <a:pt x="378" y="41"/>
                    <a:pt x="378" y="40"/>
                    <a:pt x="375" y="38"/>
                  </a:cubicBezTo>
                  <a:cubicBezTo>
                    <a:pt x="376" y="37"/>
                    <a:pt x="376" y="37"/>
                    <a:pt x="377" y="36"/>
                  </a:cubicBezTo>
                  <a:cubicBezTo>
                    <a:pt x="375" y="36"/>
                    <a:pt x="374" y="36"/>
                    <a:pt x="372" y="36"/>
                  </a:cubicBezTo>
                  <a:cubicBezTo>
                    <a:pt x="367" y="36"/>
                    <a:pt x="363" y="36"/>
                    <a:pt x="358" y="36"/>
                  </a:cubicBezTo>
                  <a:cubicBezTo>
                    <a:pt x="360" y="35"/>
                    <a:pt x="364" y="35"/>
                    <a:pt x="366" y="35"/>
                  </a:cubicBezTo>
                  <a:cubicBezTo>
                    <a:pt x="366" y="35"/>
                    <a:pt x="366" y="35"/>
                    <a:pt x="366" y="35"/>
                  </a:cubicBezTo>
                  <a:cubicBezTo>
                    <a:pt x="366" y="35"/>
                    <a:pt x="367" y="35"/>
                    <a:pt x="367" y="35"/>
                  </a:cubicBezTo>
                  <a:cubicBezTo>
                    <a:pt x="367" y="35"/>
                    <a:pt x="368" y="35"/>
                    <a:pt x="368" y="35"/>
                  </a:cubicBezTo>
                  <a:cubicBezTo>
                    <a:pt x="369" y="35"/>
                    <a:pt x="369" y="35"/>
                    <a:pt x="369" y="35"/>
                  </a:cubicBezTo>
                  <a:cubicBezTo>
                    <a:pt x="366" y="33"/>
                    <a:pt x="363" y="32"/>
                    <a:pt x="360" y="30"/>
                  </a:cubicBezTo>
                  <a:cubicBezTo>
                    <a:pt x="360" y="30"/>
                    <a:pt x="365" y="27"/>
                    <a:pt x="365" y="25"/>
                  </a:cubicBezTo>
                  <a:cubicBezTo>
                    <a:pt x="365" y="25"/>
                    <a:pt x="366" y="24"/>
                    <a:pt x="364" y="24"/>
                  </a:cubicBezTo>
                  <a:cubicBezTo>
                    <a:pt x="361" y="24"/>
                    <a:pt x="358" y="23"/>
                    <a:pt x="355" y="23"/>
                  </a:cubicBezTo>
                  <a:cubicBezTo>
                    <a:pt x="349" y="23"/>
                    <a:pt x="343" y="22"/>
                    <a:pt x="337" y="22"/>
                  </a:cubicBezTo>
                  <a:cubicBezTo>
                    <a:pt x="337" y="22"/>
                    <a:pt x="336" y="22"/>
                    <a:pt x="336" y="22"/>
                  </a:cubicBezTo>
                  <a:cubicBezTo>
                    <a:pt x="336" y="22"/>
                    <a:pt x="336" y="22"/>
                    <a:pt x="336" y="22"/>
                  </a:cubicBezTo>
                  <a:cubicBezTo>
                    <a:pt x="335" y="22"/>
                    <a:pt x="334" y="22"/>
                    <a:pt x="333" y="22"/>
                  </a:cubicBezTo>
                  <a:cubicBezTo>
                    <a:pt x="332" y="22"/>
                    <a:pt x="331" y="22"/>
                    <a:pt x="330" y="22"/>
                  </a:cubicBezTo>
                  <a:cubicBezTo>
                    <a:pt x="329" y="22"/>
                    <a:pt x="329" y="22"/>
                    <a:pt x="328" y="22"/>
                  </a:cubicBezTo>
                  <a:cubicBezTo>
                    <a:pt x="326" y="22"/>
                    <a:pt x="325" y="24"/>
                    <a:pt x="323" y="25"/>
                  </a:cubicBezTo>
                  <a:cubicBezTo>
                    <a:pt x="322" y="26"/>
                    <a:pt x="320" y="26"/>
                    <a:pt x="319" y="26"/>
                  </a:cubicBezTo>
                  <a:cubicBezTo>
                    <a:pt x="316" y="26"/>
                    <a:pt x="314" y="25"/>
                    <a:pt x="311" y="24"/>
                  </a:cubicBezTo>
                  <a:cubicBezTo>
                    <a:pt x="308" y="21"/>
                    <a:pt x="311" y="18"/>
                    <a:pt x="310" y="16"/>
                  </a:cubicBezTo>
                  <a:cubicBezTo>
                    <a:pt x="310" y="15"/>
                    <a:pt x="308" y="14"/>
                    <a:pt x="307" y="14"/>
                  </a:cubicBezTo>
                  <a:cubicBezTo>
                    <a:pt x="306" y="14"/>
                    <a:pt x="305" y="15"/>
                    <a:pt x="304" y="15"/>
                  </a:cubicBezTo>
                  <a:cubicBezTo>
                    <a:pt x="302" y="16"/>
                    <a:pt x="301" y="16"/>
                    <a:pt x="301" y="16"/>
                  </a:cubicBezTo>
                  <a:cubicBezTo>
                    <a:pt x="301" y="16"/>
                    <a:pt x="300" y="16"/>
                    <a:pt x="300" y="16"/>
                  </a:cubicBezTo>
                  <a:cubicBezTo>
                    <a:pt x="299" y="15"/>
                    <a:pt x="301" y="12"/>
                    <a:pt x="300" y="11"/>
                  </a:cubicBezTo>
                  <a:cubicBezTo>
                    <a:pt x="300" y="11"/>
                    <a:pt x="300" y="11"/>
                    <a:pt x="300" y="11"/>
                  </a:cubicBezTo>
                  <a:cubicBezTo>
                    <a:pt x="298" y="11"/>
                    <a:pt x="296" y="13"/>
                    <a:pt x="295" y="14"/>
                  </a:cubicBezTo>
                  <a:cubicBezTo>
                    <a:pt x="297" y="15"/>
                    <a:pt x="297" y="15"/>
                    <a:pt x="297" y="15"/>
                  </a:cubicBezTo>
                  <a:cubicBezTo>
                    <a:pt x="297" y="17"/>
                    <a:pt x="297" y="17"/>
                    <a:pt x="296" y="17"/>
                  </a:cubicBezTo>
                  <a:cubicBezTo>
                    <a:pt x="296" y="17"/>
                    <a:pt x="296" y="17"/>
                    <a:pt x="295" y="17"/>
                  </a:cubicBezTo>
                  <a:cubicBezTo>
                    <a:pt x="295" y="17"/>
                    <a:pt x="294" y="17"/>
                    <a:pt x="294" y="17"/>
                  </a:cubicBezTo>
                  <a:cubicBezTo>
                    <a:pt x="293" y="17"/>
                    <a:pt x="293" y="17"/>
                    <a:pt x="292" y="17"/>
                  </a:cubicBezTo>
                  <a:cubicBezTo>
                    <a:pt x="290" y="19"/>
                    <a:pt x="290" y="19"/>
                    <a:pt x="290" y="19"/>
                  </a:cubicBezTo>
                  <a:cubicBezTo>
                    <a:pt x="289" y="20"/>
                    <a:pt x="290" y="22"/>
                    <a:pt x="289" y="22"/>
                  </a:cubicBezTo>
                  <a:cubicBezTo>
                    <a:pt x="288" y="24"/>
                    <a:pt x="287" y="24"/>
                    <a:pt x="285" y="24"/>
                  </a:cubicBezTo>
                  <a:cubicBezTo>
                    <a:pt x="285" y="24"/>
                    <a:pt x="285" y="24"/>
                    <a:pt x="285" y="24"/>
                  </a:cubicBezTo>
                  <a:cubicBezTo>
                    <a:pt x="285" y="24"/>
                    <a:pt x="284" y="24"/>
                    <a:pt x="284" y="24"/>
                  </a:cubicBezTo>
                  <a:cubicBezTo>
                    <a:pt x="284" y="24"/>
                    <a:pt x="284" y="24"/>
                    <a:pt x="283" y="24"/>
                  </a:cubicBezTo>
                  <a:cubicBezTo>
                    <a:pt x="283" y="24"/>
                    <a:pt x="283" y="24"/>
                    <a:pt x="283" y="24"/>
                  </a:cubicBezTo>
                  <a:cubicBezTo>
                    <a:pt x="283" y="24"/>
                    <a:pt x="283" y="24"/>
                    <a:pt x="283" y="24"/>
                  </a:cubicBezTo>
                  <a:cubicBezTo>
                    <a:pt x="283" y="24"/>
                    <a:pt x="282" y="24"/>
                    <a:pt x="282" y="24"/>
                  </a:cubicBezTo>
                  <a:cubicBezTo>
                    <a:pt x="282" y="24"/>
                    <a:pt x="281" y="24"/>
                    <a:pt x="280" y="25"/>
                  </a:cubicBezTo>
                  <a:cubicBezTo>
                    <a:pt x="280" y="25"/>
                    <a:pt x="281" y="27"/>
                    <a:pt x="280" y="27"/>
                  </a:cubicBezTo>
                  <a:cubicBezTo>
                    <a:pt x="280" y="27"/>
                    <a:pt x="280" y="27"/>
                    <a:pt x="280" y="27"/>
                  </a:cubicBezTo>
                  <a:cubicBezTo>
                    <a:pt x="279" y="27"/>
                    <a:pt x="278" y="20"/>
                    <a:pt x="279" y="19"/>
                  </a:cubicBezTo>
                  <a:cubicBezTo>
                    <a:pt x="280" y="18"/>
                    <a:pt x="281" y="18"/>
                    <a:pt x="283" y="18"/>
                  </a:cubicBezTo>
                  <a:cubicBezTo>
                    <a:pt x="284" y="17"/>
                    <a:pt x="287" y="16"/>
                    <a:pt x="288" y="14"/>
                  </a:cubicBezTo>
                  <a:cubicBezTo>
                    <a:pt x="289" y="12"/>
                    <a:pt x="288" y="12"/>
                    <a:pt x="285" y="12"/>
                  </a:cubicBezTo>
                  <a:cubicBezTo>
                    <a:pt x="282" y="11"/>
                    <a:pt x="279" y="11"/>
                    <a:pt x="276" y="10"/>
                  </a:cubicBezTo>
                  <a:cubicBezTo>
                    <a:pt x="272" y="8"/>
                    <a:pt x="267" y="6"/>
                    <a:pt x="265" y="3"/>
                  </a:cubicBezTo>
                  <a:cubicBezTo>
                    <a:pt x="266" y="2"/>
                    <a:pt x="268" y="1"/>
                    <a:pt x="270" y="1"/>
                  </a:cubicBezTo>
                  <a:cubicBezTo>
                    <a:pt x="269" y="1"/>
                    <a:pt x="268" y="0"/>
                    <a:pt x="2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0" name="Rectangle 343">
              <a:extLst>
                <a:ext uri="{FF2B5EF4-FFF2-40B4-BE49-F238E27FC236}">
                  <a16:creationId xmlns:a16="http://schemas.microsoft.com/office/drawing/2014/main" id="{4E3416B8-D7AD-43A4-B30C-F421B829D30C}"/>
                </a:ext>
              </a:extLst>
            </p:cNvPr>
            <p:cNvSpPr>
              <a:spLocks noChangeArrowheads="1"/>
            </p:cNvSpPr>
            <p:nvPr/>
          </p:nvSpPr>
          <p:spPr bwMode="auto">
            <a:xfrm>
              <a:off x="4584691" y="370922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1" name="Rectangle 344">
              <a:extLst>
                <a:ext uri="{FF2B5EF4-FFF2-40B4-BE49-F238E27FC236}">
                  <a16:creationId xmlns:a16="http://schemas.microsoft.com/office/drawing/2014/main" id="{D9912CB7-1030-43B6-BC02-FF40BDB1A222}"/>
                </a:ext>
              </a:extLst>
            </p:cNvPr>
            <p:cNvSpPr>
              <a:spLocks noChangeArrowheads="1"/>
            </p:cNvSpPr>
            <p:nvPr/>
          </p:nvSpPr>
          <p:spPr bwMode="auto">
            <a:xfrm>
              <a:off x="4584691" y="370922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2" name="Freeform 345">
              <a:extLst>
                <a:ext uri="{FF2B5EF4-FFF2-40B4-BE49-F238E27FC236}">
                  <a16:creationId xmlns:a16="http://schemas.microsoft.com/office/drawing/2014/main" id="{0E0592B7-F74A-4EC2-9AC7-D6A246DD2312}"/>
                </a:ext>
              </a:extLst>
            </p:cNvPr>
            <p:cNvSpPr>
              <a:spLocks/>
            </p:cNvSpPr>
            <p:nvPr/>
          </p:nvSpPr>
          <p:spPr bwMode="auto">
            <a:xfrm>
              <a:off x="3995729" y="3198047"/>
              <a:ext cx="269875" cy="187325"/>
            </a:xfrm>
            <a:custGeom>
              <a:avLst/>
              <a:gdLst>
                <a:gd name="T0" fmla="*/ 30 w 72"/>
                <a:gd name="T1" fmla="*/ 0 h 50"/>
                <a:gd name="T2" fmla="*/ 27 w 72"/>
                <a:gd name="T3" fmla="*/ 2 h 50"/>
                <a:gd name="T4" fmla="*/ 21 w 72"/>
                <a:gd name="T5" fmla="*/ 4 h 50"/>
                <a:gd name="T6" fmla="*/ 18 w 72"/>
                <a:gd name="T7" fmla="*/ 4 h 50"/>
                <a:gd name="T8" fmla="*/ 18 w 72"/>
                <a:gd name="T9" fmla="*/ 5 h 50"/>
                <a:gd name="T10" fmla="*/ 14 w 72"/>
                <a:gd name="T11" fmla="*/ 10 h 50"/>
                <a:gd name="T12" fmla="*/ 13 w 72"/>
                <a:gd name="T13" fmla="*/ 11 h 50"/>
                <a:gd name="T14" fmla="*/ 11 w 72"/>
                <a:gd name="T15" fmla="*/ 18 h 50"/>
                <a:gd name="T16" fmla="*/ 7 w 72"/>
                <a:gd name="T17" fmla="*/ 21 h 50"/>
                <a:gd name="T18" fmla="*/ 4 w 72"/>
                <a:gd name="T19" fmla="*/ 21 h 50"/>
                <a:gd name="T20" fmla="*/ 3 w 72"/>
                <a:gd name="T21" fmla="*/ 21 h 50"/>
                <a:gd name="T22" fmla="*/ 0 w 72"/>
                <a:gd name="T23" fmla="*/ 23 h 50"/>
                <a:gd name="T24" fmla="*/ 5 w 72"/>
                <a:gd name="T25" fmla="*/ 23 h 50"/>
                <a:gd name="T26" fmla="*/ 10 w 72"/>
                <a:gd name="T27" fmla="*/ 29 h 50"/>
                <a:gd name="T28" fmla="*/ 19 w 72"/>
                <a:gd name="T29" fmla="*/ 29 h 50"/>
                <a:gd name="T30" fmla="*/ 21 w 72"/>
                <a:gd name="T31" fmla="*/ 28 h 50"/>
                <a:gd name="T32" fmla="*/ 25 w 72"/>
                <a:gd name="T33" fmla="*/ 27 h 50"/>
                <a:gd name="T34" fmla="*/ 20 w 72"/>
                <a:gd name="T35" fmla="*/ 30 h 50"/>
                <a:gd name="T36" fmla="*/ 25 w 72"/>
                <a:gd name="T37" fmla="*/ 42 h 50"/>
                <a:gd name="T38" fmla="*/ 23 w 72"/>
                <a:gd name="T39" fmla="*/ 44 h 50"/>
                <a:gd name="T40" fmla="*/ 27 w 72"/>
                <a:gd name="T41" fmla="*/ 44 h 50"/>
                <a:gd name="T42" fmla="*/ 31 w 72"/>
                <a:gd name="T43" fmla="*/ 44 h 50"/>
                <a:gd name="T44" fmla="*/ 34 w 72"/>
                <a:gd name="T45" fmla="*/ 44 h 50"/>
                <a:gd name="T46" fmla="*/ 33 w 72"/>
                <a:gd name="T47" fmla="*/ 43 h 50"/>
                <a:gd name="T48" fmla="*/ 33 w 72"/>
                <a:gd name="T49" fmla="*/ 41 h 50"/>
                <a:gd name="T50" fmla="*/ 36 w 72"/>
                <a:gd name="T51" fmla="*/ 47 h 50"/>
                <a:gd name="T52" fmla="*/ 41 w 72"/>
                <a:gd name="T53" fmla="*/ 49 h 50"/>
                <a:gd name="T54" fmla="*/ 40 w 72"/>
                <a:gd name="T55" fmla="*/ 37 h 50"/>
                <a:gd name="T56" fmla="*/ 39 w 72"/>
                <a:gd name="T57" fmla="*/ 31 h 50"/>
                <a:gd name="T58" fmla="*/ 36 w 72"/>
                <a:gd name="T59" fmla="*/ 22 h 50"/>
                <a:gd name="T60" fmla="*/ 32 w 72"/>
                <a:gd name="T61" fmla="*/ 16 h 50"/>
                <a:gd name="T62" fmla="*/ 37 w 72"/>
                <a:gd name="T63" fmla="*/ 17 h 50"/>
                <a:gd name="T64" fmla="*/ 34 w 72"/>
                <a:gd name="T65" fmla="*/ 13 h 50"/>
                <a:gd name="T66" fmla="*/ 36 w 72"/>
                <a:gd name="T67" fmla="*/ 14 h 50"/>
                <a:gd name="T68" fmla="*/ 40 w 72"/>
                <a:gd name="T69" fmla="*/ 23 h 50"/>
                <a:gd name="T70" fmla="*/ 43 w 72"/>
                <a:gd name="T71" fmla="*/ 32 h 50"/>
                <a:gd name="T72" fmla="*/ 44 w 72"/>
                <a:gd name="T73" fmla="*/ 31 h 50"/>
                <a:gd name="T74" fmla="*/ 46 w 72"/>
                <a:gd name="T75" fmla="*/ 31 h 50"/>
                <a:gd name="T76" fmla="*/ 45 w 72"/>
                <a:gd name="T77" fmla="*/ 35 h 50"/>
                <a:gd name="T78" fmla="*/ 50 w 72"/>
                <a:gd name="T79" fmla="*/ 43 h 50"/>
                <a:gd name="T80" fmla="*/ 65 w 72"/>
                <a:gd name="T81" fmla="*/ 49 h 50"/>
                <a:gd name="T82" fmla="*/ 66 w 72"/>
                <a:gd name="T83" fmla="*/ 47 h 50"/>
                <a:gd name="T84" fmla="*/ 68 w 72"/>
                <a:gd name="T85" fmla="*/ 41 h 50"/>
                <a:gd name="T86" fmla="*/ 72 w 72"/>
                <a:gd name="T87" fmla="*/ 40 h 50"/>
                <a:gd name="T88" fmla="*/ 57 w 72"/>
                <a:gd name="T89" fmla="*/ 25 h 50"/>
                <a:gd name="T90" fmla="*/ 50 w 72"/>
                <a:gd name="T91" fmla="*/ 19 h 50"/>
                <a:gd name="T92" fmla="*/ 47 w 72"/>
                <a:gd name="T93" fmla="*/ 18 h 50"/>
                <a:gd name="T94" fmla="*/ 35 w 72"/>
                <a:gd name="T95"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50">
                  <a:moveTo>
                    <a:pt x="32" y="0"/>
                  </a:moveTo>
                  <a:cubicBezTo>
                    <a:pt x="31" y="0"/>
                    <a:pt x="31" y="0"/>
                    <a:pt x="30" y="0"/>
                  </a:cubicBezTo>
                  <a:cubicBezTo>
                    <a:pt x="29" y="1"/>
                    <a:pt x="29" y="1"/>
                    <a:pt x="28" y="1"/>
                  </a:cubicBezTo>
                  <a:cubicBezTo>
                    <a:pt x="27" y="2"/>
                    <a:pt x="27" y="2"/>
                    <a:pt x="27" y="2"/>
                  </a:cubicBezTo>
                  <a:cubicBezTo>
                    <a:pt x="26" y="2"/>
                    <a:pt x="25" y="3"/>
                    <a:pt x="25" y="3"/>
                  </a:cubicBezTo>
                  <a:cubicBezTo>
                    <a:pt x="23" y="3"/>
                    <a:pt x="22" y="3"/>
                    <a:pt x="21" y="4"/>
                  </a:cubicBezTo>
                  <a:cubicBezTo>
                    <a:pt x="19" y="4"/>
                    <a:pt x="19" y="4"/>
                    <a:pt x="19" y="4"/>
                  </a:cubicBezTo>
                  <a:cubicBezTo>
                    <a:pt x="18" y="4"/>
                    <a:pt x="18" y="4"/>
                    <a:pt x="18" y="4"/>
                  </a:cubicBezTo>
                  <a:cubicBezTo>
                    <a:pt x="18" y="4"/>
                    <a:pt x="18" y="4"/>
                    <a:pt x="18" y="4"/>
                  </a:cubicBezTo>
                  <a:cubicBezTo>
                    <a:pt x="18" y="5"/>
                    <a:pt x="18" y="5"/>
                    <a:pt x="18" y="5"/>
                  </a:cubicBezTo>
                  <a:cubicBezTo>
                    <a:pt x="18" y="6"/>
                    <a:pt x="18" y="6"/>
                    <a:pt x="18" y="6"/>
                  </a:cubicBezTo>
                  <a:cubicBezTo>
                    <a:pt x="18" y="8"/>
                    <a:pt x="16" y="9"/>
                    <a:pt x="14" y="10"/>
                  </a:cubicBezTo>
                  <a:cubicBezTo>
                    <a:pt x="13" y="11"/>
                    <a:pt x="13" y="11"/>
                    <a:pt x="13" y="11"/>
                  </a:cubicBezTo>
                  <a:cubicBezTo>
                    <a:pt x="13" y="11"/>
                    <a:pt x="13" y="11"/>
                    <a:pt x="13" y="11"/>
                  </a:cubicBezTo>
                  <a:cubicBezTo>
                    <a:pt x="13" y="12"/>
                    <a:pt x="13" y="12"/>
                    <a:pt x="13" y="12"/>
                  </a:cubicBezTo>
                  <a:cubicBezTo>
                    <a:pt x="13" y="15"/>
                    <a:pt x="12" y="17"/>
                    <a:pt x="11" y="18"/>
                  </a:cubicBezTo>
                  <a:cubicBezTo>
                    <a:pt x="10" y="19"/>
                    <a:pt x="10" y="19"/>
                    <a:pt x="10" y="19"/>
                  </a:cubicBezTo>
                  <a:cubicBezTo>
                    <a:pt x="9" y="20"/>
                    <a:pt x="8" y="20"/>
                    <a:pt x="7" y="21"/>
                  </a:cubicBezTo>
                  <a:cubicBezTo>
                    <a:pt x="6" y="21"/>
                    <a:pt x="6" y="21"/>
                    <a:pt x="5" y="21"/>
                  </a:cubicBezTo>
                  <a:cubicBezTo>
                    <a:pt x="4" y="21"/>
                    <a:pt x="4" y="21"/>
                    <a:pt x="4" y="21"/>
                  </a:cubicBezTo>
                  <a:cubicBezTo>
                    <a:pt x="4" y="21"/>
                    <a:pt x="4" y="21"/>
                    <a:pt x="4" y="21"/>
                  </a:cubicBezTo>
                  <a:cubicBezTo>
                    <a:pt x="3" y="21"/>
                    <a:pt x="3" y="21"/>
                    <a:pt x="3" y="21"/>
                  </a:cubicBezTo>
                  <a:cubicBezTo>
                    <a:pt x="2" y="21"/>
                    <a:pt x="1" y="22"/>
                    <a:pt x="0" y="22"/>
                  </a:cubicBezTo>
                  <a:cubicBezTo>
                    <a:pt x="0" y="23"/>
                    <a:pt x="0" y="23"/>
                    <a:pt x="0" y="23"/>
                  </a:cubicBezTo>
                  <a:cubicBezTo>
                    <a:pt x="3" y="24"/>
                    <a:pt x="6" y="26"/>
                    <a:pt x="7" y="26"/>
                  </a:cubicBezTo>
                  <a:cubicBezTo>
                    <a:pt x="6" y="25"/>
                    <a:pt x="5" y="24"/>
                    <a:pt x="5" y="23"/>
                  </a:cubicBezTo>
                  <a:cubicBezTo>
                    <a:pt x="6" y="23"/>
                    <a:pt x="9" y="24"/>
                    <a:pt x="10" y="25"/>
                  </a:cubicBezTo>
                  <a:cubicBezTo>
                    <a:pt x="10" y="26"/>
                    <a:pt x="9" y="28"/>
                    <a:pt x="10" y="29"/>
                  </a:cubicBezTo>
                  <a:cubicBezTo>
                    <a:pt x="11" y="30"/>
                    <a:pt x="13" y="31"/>
                    <a:pt x="15" y="31"/>
                  </a:cubicBezTo>
                  <a:cubicBezTo>
                    <a:pt x="17" y="31"/>
                    <a:pt x="18" y="30"/>
                    <a:pt x="19" y="29"/>
                  </a:cubicBezTo>
                  <a:cubicBezTo>
                    <a:pt x="20" y="28"/>
                    <a:pt x="18" y="24"/>
                    <a:pt x="18" y="23"/>
                  </a:cubicBezTo>
                  <a:cubicBezTo>
                    <a:pt x="19" y="24"/>
                    <a:pt x="19" y="28"/>
                    <a:pt x="21" y="28"/>
                  </a:cubicBezTo>
                  <a:cubicBezTo>
                    <a:pt x="21" y="28"/>
                    <a:pt x="21" y="28"/>
                    <a:pt x="22" y="28"/>
                  </a:cubicBezTo>
                  <a:cubicBezTo>
                    <a:pt x="23" y="27"/>
                    <a:pt x="24" y="27"/>
                    <a:pt x="25" y="27"/>
                  </a:cubicBezTo>
                  <a:cubicBezTo>
                    <a:pt x="25" y="27"/>
                    <a:pt x="26" y="27"/>
                    <a:pt x="26" y="27"/>
                  </a:cubicBezTo>
                  <a:cubicBezTo>
                    <a:pt x="25" y="28"/>
                    <a:pt x="22" y="28"/>
                    <a:pt x="20" y="30"/>
                  </a:cubicBezTo>
                  <a:cubicBezTo>
                    <a:pt x="20" y="31"/>
                    <a:pt x="21" y="31"/>
                    <a:pt x="22" y="33"/>
                  </a:cubicBezTo>
                  <a:cubicBezTo>
                    <a:pt x="23" y="36"/>
                    <a:pt x="25" y="39"/>
                    <a:pt x="25" y="42"/>
                  </a:cubicBezTo>
                  <a:cubicBezTo>
                    <a:pt x="24" y="42"/>
                    <a:pt x="24" y="42"/>
                    <a:pt x="24" y="42"/>
                  </a:cubicBezTo>
                  <a:cubicBezTo>
                    <a:pt x="22" y="42"/>
                    <a:pt x="23" y="43"/>
                    <a:pt x="23" y="44"/>
                  </a:cubicBezTo>
                  <a:cubicBezTo>
                    <a:pt x="24" y="44"/>
                    <a:pt x="24" y="44"/>
                    <a:pt x="24" y="44"/>
                  </a:cubicBezTo>
                  <a:cubicBezTo>
                    <a:pt x="25" y="44"/>
                    <a:pt x="26" y="44"/>
                    <a:pt x="27" y="44"/>
                  </a:cubicBezTo>
                  <a:cubicBezTo>
                    <a:pt x="28" y="44"/>
                    <a:pt x="29" y="44"/>
                    <a:pt x="30" y="44"/>
                  </a:cubicBezTo>
                  <a:cubicBezTo>
                    <a:pt x="31" y="44"/>
                    <a:pt x="31" y="44"/>
                    <a:pt x="31" y="44"/>
                  </a:cubicBezTo>
                  <a:cubicBezTo>
                    <a:pt x="32" y="44"/>
                    <a:pt x="33" y="45"/>
                    <a:pt x="33" y="45"/>
                  </a:cubicBezTo>
                  <a:cubicBezTo>
                    <a:pt x="33" y="45"/>
                    <a:pt x="34" y="45"/>
                    <a:pt x="34" y="44"/>
                  </a:cubicBezTo>
                  <a:cubicBezTo>
                    <a:pt x="34" y="44"/>
                    <a:pt x="33" y="43"/>
                    <a:pt x="33" y="43"/>
                  </a:cubicBezTo>
                  <a:cubicBezTo>
                    <a:pt x="33" y="43"/>
                    <a:pt x="33" y="43"/>
                    <a:pt x="33" y="43"/>
                  </a:cubicBezTo>
                  <a:cubicBezTo>
                    <a:pt x="33" y="43"/>
                    <a:pt x="33" y="42"/>
                    <a:pt x="33" y="42"/>
                  </a:cubicBezTo>
                  <a:cubicBezTo>
                    <a:pt x="33" y="42"/>
                    <a:pt x="33" y="41"/>
                    <a:pt x="33" y="41"/>
                  </a:cubicBezTo>
                  <a:cubicBezTo>
                    <a:pt x="33" y="41"/>
                    <a:pt x="33" y="41"/>
                    <a:pt x="33" y="42"/>
                  </a:cubicBezTo>
                  <a:cubicBezTo>
                    <a:pt x="34" y="43"/>
                    <a:pt x="34" y="45"/>
                    <a:pt x="36" y="47"/>
                  </a:cubicBezTo>
                  <a:cubicBezTo>
                    <a:pt x="37" y="49"/>
                    <a:pt x="37" y="49"/>
                    <a:pt x="39" y="49"/>
                  </a:cubicBezTo>
                  <a:cubicBezTo>
                    <a:pt x="40" y="49"/>
                    <a:pt x="40" y="49"/>
                    <a:pt x="41" y="49"/>
                  </a:cubicBezTo>
                  <a:cubicBezTo>
                    <a:pt x="44" y="48"/>
                    <a:pt x="43" y="44"/>
                    <a:pt x="42" y="42"/>
                  </a:cubicBezTo>
                  <a:cubicBezTo>
                    <a:pt x="42" y="41"/>
                    <a:pt x="38" y="37"/>
                    <a:pt x="40" y="37"/>
                  </a:cubicBezTo>
                  <a:cubicBezTo>
                    <a:pt x="40" y="37"/>
                    <a:pt x="41" y="37"/>
                    <a:pt x="41" y="37"/>
                  </a:cubicBezTo>
                  <a:cubicBezTo>
                    <a:pt x="40" y="35"/>
                    <a:pt x="39" y="33"/>
                    <a:pt x="39" y="31"/>
                  </a:cubicBezTo>
                  <a:cubicBezTo>
                    <a:pt x="38" y="28"/>
                    <a:pt x="36" y="27"/>
                    <a:pt x="35" y="25"/>
                  </a:cubicBezTo>
                  <a:cubicBezTo>
                    <a:pt x="35" y="24"/>
                    <a:pt x="36" y="23"/>
                    <a:pt x="36" y="22"/>
                  </a:cubicBezTo>
                  <a:cubicBezTo>
                    <a:pt x="35" y="20"/>
                    <a:pt x="35" y="21"/>
                    <a:pt x="34" y="19"/>
                  </a:cubicBezTo>
                  <a:cubicBezTo>
                    <a:pt x="32" y="16"/>
                    <a:pt x="32" y="16"/>
                    <a:pt x="32" y="16"/>
                  </a:cubicBezTo>
                  <a:cubicBezTo>
                    <a:pt x="32" y="16"/>
                    <a:pt x="32" y="16"/>
                    <a:pt x="33" y="16"/>
                  </a:cubicBezTo>
                  <a:cubicBezTo>
                    <a:pt x="34" y="16"/>
                    <a:pt x="36" y="17"/>
                    <a:pt x="37" y="17"/>
                  </a:cubicBezTo>
                  <a:cubicBezTo>
                    <a:pt x="35" y="16"/>
                    <a:pt x="34" y="14"/>
                    <a:pt x="32" y="13"/>
                  </a:cubicBezTo>
                  <a:cubicBezTo>
                    <a:pt x="33" y="13"/>
                    <a:pt x="33" y="13"/>
                    <a:pt x="34" y="13"/>
                  </a:cubicBezTo>
                  <a:cubicBezTo>
                    <a:pt x="36" y="13"/>
                    <a:pt x="36" y="10"/>
                    <a:pt x="36" y="8"/>
                  </a:cubicBezTo>
                  <a:cubicBezTo>
                    <a:pt x="37" y="10"/>
                    <a:pt x="36" y="12"/>
                    <a:pt x="36" y="14"/>
                  </a:cubicBezTo>
                  <a:cubicBezTo>
                    <a:pt x="36" y="15"/>
                    <a:pt x="37" y="15"/>
                    <a:pt x="38" y="17"/>
                  </a:cubicBezTo>
                  <a:cubicBezTo>
                    <a:pt x="39" y="19"/>
                    <a:pt x="40" y="21"/>
                    <a:pt x="40" y="23"/>
                  </a:cubicBezTo>
                  <a:cubicBezTo>
                    <a:pt x="41" y="25"/>
                    <a:pt x="41" y="29"/>
                    <a:pt x="42" y="30"/>
                  </a:cubicBezTo>
                  <a:cubicBezTo>
                    <a:pt x="43" y="32"/>
                    <a:pt x="43" y="32"/>
                    <a:pt x="43" y="32"/>
                  </a:cubicBezTo>
                  <a:cubicBezTo>
                    <a:pt x="43" y="32"/>
                    <a:pt x="43" y="32"/>
                    <a:pt x="43" y="32"/>
                  </a:cubicBezTo>
                  <a:cubicBezTo>
                    <a:pt x="44" y="32"/>
                    <a:pt x="44" y="32"/>
                    <a:pt x="44" y="31"/>
                  </a:cubicBezTo>
                  <a:cubicBezTo>
                    <a:pt x="44" y="31"/>
                    <a:pt x="45" y="31"/>
                    <a:pt x="45" y="31"/>
                  </a:cubicBezTo>
                  <a:cubicBezTo>
                    <a:pt x="45" y="31"/>
                    <a:pt x="45" y="31"/>
                    <a:pt x="46" y="31"/>
                  </a:cubicBezTo>
                  <a:cubicBezTo>
                    <a:pt x="47" y="32"/>
                    <a:pt x="47" y="35"/>
                    <a:pt x="46" y="35"/>
                  </a:cubicBezTo>
                  <a:cubicBezTo>
                    <a:pt x="46" y="35"/>
                    <a:pt x="45" y="35"/>
                    <a:pt x="45" y="35"/>
                  </a:cubicBezTo>
                  <a:cubicBezTo>
                    <a:pt x="45" y="36"/>
                    <a:pt x="47" y="38"/>
                    <a:pt x="48" y="39"/>
                  </a:cubicBezTo>
                  <a:cubicBezTo>
                    <a:pt x="49" y="40"/>
                    <a:pt x="49" y="42"/>
                    <a:pt x="50" y="43"/>
                  </a:cubicBezTo>
                  <a:cubicBezTo>
                    <a:pt x="51" y="45"/>
                    <a:pt x="59" y="50"/>
                    <a:pt x="63" y="50"/>
                  </a:cubicBezTo>
                  <a:cubicBezTo>
                    <a:pt x="64" y="50"/>
                    <a:pt x="65" y="50"/>
                    <a:pt x="65" y="49"/>
                  </a:cubicBezTo>
                  <a:cubicBezTo>
                    <a:pt x="66" y="49"/>
                    <a:pt x="64" y="48"/>
                    <a:pt x="64" y="48"/>
                  </a:cubicBezTo>
                  <a:cubicBezTo>
                    <a:pt x="65" y="47"/>
                    <a:pt x="66" y="47"/>
                    <a:pt x="66" y="47"/>
                  </a:cubicBezTo>
                  <a:cubicBezTo>
                    <a:pt x="66" y="46"/>
                    <a:pt x="67" y="44"/>
                    <a:pt x="67" y="43"/>
                  </a:cubicBezTo>
                  <a:cubicBezTo>
                    <a:pt x="68" y="41"/>
                    <a:pt x="68" y="41"/>
                    <a:pt x="68" y="41"/>
                  </a:cubicBezTo>
                  <a:cubicBezTo>
                    <a:pt x="69" y="40"/>
                    <a:pt x="70" y="40"/>
                    <a:pt x="71" y="40"/>
                  </a:cubicBezTo>
                  <a:cubicBezTo>
                    <a:pt x="72" y="40"/>
                    <a:pt x="72" y="40"/>
                    <a:pt x="72" y="40"/>
                  </a:cubicBezTo>
                  <a:cubicBezTo>
                    <a:pt x="68" y="37"/>
                    <a:pt x="68" y="37"/>
                    <a:pt x="68" y="37"/>
                  </a:cubicBezTo>
                  <a:cubicBezTo>
                    <a:pt x="63" y="33"/>
                    <a:pt x="60" y="30"/>
                    <a:pt x="57" y="25"/>
                  </a:cubicBezTo>
                  <a:cubicBezTo>
                    <a:pt x="55" y="23"/>
                    <a:pt x="54" y="21"/>
                    <a:pt x="52" y="20"/>
                  </a:cubicBezTo>
                  <a:cubicBezTo>
                    <a:pt x="51" y="20"/>
                    <a:pt x="51" y="20"/>
                    <a:pt x="50" y="19"/>
                  </a:cubicBezTo>
                  <a:cubicBezTo>
                    <a:pt x="50" y="19"/>
                    <a:pt x="50" y="19"/>
                    <a:pt x="50" y="19"/>
                  </a:cubicBezTo>
                  <a:cubicBezTo>
                    <a:pt x="49" y="19"/>
                    <a:pt x="48" y="18"/>
                    <a:pt x="47" y="18"/>
                  </a:cubicBezTo>
                  <a:cubicBezTo>
                    <a:pt x="45" y="17"/>
                    <a:pt x="43" y="15"/>
                    <a:pt x="42" y="13"/>
                  </a:cubicBezTo>
                  <a:cubicBezTo>
                    <a:pt x="39" y="9"/>
                    <a:pt x="37" y="6"/>
                    <a:pt x="35" y="3"/>
                  </a:cubicBezTo>
                  <a:cubicBezTo>
                    <a:pt x="33" y="1"/>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3" name="Freeform 346">
              <a:extLst>
                <a:ext uri="{FF2B5EF4-FFF2-40B4-BE49-F238E27FC236}">
                  <a16:creationId xmlns:a16="http://schemas.microsoft.com/office/drawing/2014/main" id="{4AB6064D-E101-4136-87EA-E19D28C58228}"/>
                </a:ext>
              </a:extLst>
            </p:cNvPr>
            <p:cNvSpPr>
              <a:spLocks/>
            </p:cNvSpPr>
            <p:nvPr/>
          </p:nvSpPr>
          <p:spPr bwMode="auto">
            <a:xfrm>
              <a:off x="4243379" y="3348859"/>
              <a:ext cx="349250" cy="465138"/>
            </a:xfrm>
            <a:custGeom>
              <a:avLst/>
              <a:gdLst>
                <a:gd name="T0" fmla="*/ 2 w 93"/>
                <a:gd name="T1" fmla="*/ 5 h 124"/>
                <a:gd name="T2" fmla="*/ 0 w 93"/>
                <a:gd name="T3" fmla="*/ 9 h 124"/>
                <a:gd name="T4" fmla="*/ 2 w 93"/>
                <a:gd name="T5" fmla="*/ 16 h 124"/>
                <a:gd name="T6" fmla="*/ 9 w 93"/>
                <a:gd name="T7" fmla="*/ 13 h 124"/>
                <a:gd name="T8" fmla="*/ 9 w 93"/>
                <a:gd name="T9" fmla="*/ 19 h 124"/>
                <a:gd name="T10" fmla="*/ 7 w 93"/>
                <a:gd name="T11" fmla="*/ 19 h 124"/>
                <a:gd name="T12" fmla="*/ 6 w 93"/>
                <a:gd name="T13" fmla="*/ 21 h 124"/>
                <a:gd name="T14" fmla="*/ 13 w 93"/>
                <a:gd name="T15" fmla="*/ 20 h 124"/>
                <a:gd name="T16" fmla="*/ 19 w 93"/>
                <a:gd name="T17" fmla="*/ 21 h 124"/>
                <a:gd name="T18" fmla="*/ 17 w 93"/>
                <a:gd name="T19" fmla="*/ 21 h 124"/>
                <a:gd name="T20" fmla="*/ 12 w 93"/>
                <a:gd name="T21" fmla="*/ 22 h 124"/>
                <a:gd name="T22" fmla="*/ 11 w 93"/>
                <a:gd name="T23" fmla="*/ 28 h 124"/>
                <a:gd name="T24" fmla="*/ 14 w 93"/>
                <a:gd name="T25" fmla="*/ 31 h 124"/>
                <a:gd name="T26" fmla="*/ 14 w 93"/>
                <a:gd name="T27" fmla="*/ 36 h 124"/>
                <a:gd name="T28" fmla="*/ 16 w 93"/>
                <a:gd name="T29" fmla="*/ 42 h 124"/>
                <a:gd name="T30" fmla="*/ 22 w 93"/>
                <a:gd name="T31" fmla="*/ 46 h 124"/>
                <a:gd name="T32" fmla="*/ 29 w 93"/>
                <a:gd name="T33" fmla="*/ 48 h 124"/>
                <a:gd name="T34" fmla="*/ 28 w 93"/>
                <a:gd name="T35" fmla="*/ 52 h 124"/>
                <a:gd name="T36" fmla="*/ 27 w 93"/>
                <a:gd name="T37" fmla="*/ 52 h 124"/>
                <a:gd name="T38" fmla="*/ 35 w 93"/>
                <a:gd name="T39" fmla="*/ 58 h 124"/>
                <a:gd name="T40" fmla="*/ 37 w 93"/>
                <a:gd name="T41" fmla="*/ 62 h 124"/>
                <a:gd name="T42" fmla="*/ 35 w 93"/>
                <a:gd name="T43" fmla="*/ 63 h 124"/>
                <a:gd name="T44" fmla="*/ 43 w 93"/>
                <a:gd name="T45" fmla="*/ 69 h 124"/>
                <a:gd name="T46" fmla="*/ 49 w 93"/>
                <a:gd name="T47" fmla="*/ 74 h 124"/>
                <a:gd name="T48" fmla="*/ 49 w 93"/>
                <a:gd name="T49" fmla="*/ 84 h 124"/>
                <a:gd name="T50" fmla="*/ 47 w 93"/>
                <a:gd name="T51" fmla="*/ 90 h 124"/>
                <a:gd name="T52" fmla="*/ 44 w 93"/>
                <a:gd name="T53" fmla="*/ 93 h 124"/>
                <a:gd name="T54" fmla="*/ 44 w 93"/>
                <a:gd name="T55" fmla="*/ 97 h 124"/>
                <a:gd name="T56" fmla="*/ 49 w 93"/>
                <a:gd name="T57" fmla="*/ 99 h 124"/>
                <a:gd name="T58" fmla="*/ 54 w 93"/>
                <a:gd name="T59" fmla="*/ 91 h 124"/>
                <a:gd name="T60" fmla="*/ 59 w 93"/>
                <a:gd name="T61" fmla="*/ 85 h 124"/>
                <a:gd name="T62" fmla="*/ 67 w 93"/>
                <a:gd name="T63" fmla="*/ 85 h 124"/>
                <a:gd name="T64" fmla="*/ 74 w 93"/>
                <a:gd name="T65" fmla="*/ 95 h 124"/>
                <a:gd name="T66" fmla="*/ 76 w 93"/>
                <a:gd name="T67" fmla="*/ 106 h 124"/>
                <a:gd name="T68" fmla="*/ 77 w 93"/>
                <a:gd name="T69" fmla="*/ 106 h 124"/>
                <a:gd name="T70" fmla="*/ 77 w 93"/>
                <a:gd name="T71" fmla="*/ 107 h 124"/>
                <a:gd name="T72" fmla="*/ 76 w 93"/>
                <a:gd name="T73" fmla="*/ 107 h 124"/>
                <a:gd name="T74" fmla="*/ 73 w 93"/>
                <a:gd name="T75" fmla="*/ 113 h 124"/>
                <a:gd name="T76" fmla="*/ 71 w 93"/>
                <a:gd name="T77" fmla="*/ 116 h 124"/>
                <a:gd name="T78" fmla="*/ 76 w 93"/>
                <a:gd name="T79" fmla="*/ 124 h 124"/>
                <a:gd name="T80" fmla="*/ 88 w 93"/>
                <a:gd name="T81" fmla="*/ 117 h 124"/>
                <a:gd name="T82" fmla="*/ 89 w 93"/>
                <a:gd name="T83" fmla="*/ 116 h 124"/>
                <a:gd name="T84" fmla="*/ 93 w 93"/>
                <a:gd name="T85" fmla="*/ 107 h 124"/>
                <a:gd name="T86" fmla="*/ 89 w 93"/>
                <a:gd name="T87" fmla="*/ 99 h 124"/>
                <a:gd name="T88" fmla="*/ 90 w 93"/>
                <a:gd name="T89" fmla="*/ 96 h 124"/>
                <a:gd name="T90" fmla="*/ 89 w 93"/>
                <a:gd name="T91" fmla="*/ 95 h 124"/>
                <a:gd name="T92" fmla="*/ 91 w 93"/>
                <a:gd name="T93" fmla="*/ 86 h 124"/>
                <a:gd name="T94" fmla="*/ 90 w 93"/>
                <a:gd name="T95" fmla="*/ 83 h 124"/>
                <a:gd name="T96" fmla="*/ 77 w 93"/>
                <a:gd name="T97" fmla="*/ 76 h 124"/>
                <a:gd name="T98" fmla="*/ 71 w 93"/>
                <a:gd name="T99" fmla="*/ 73 h 124"/>
                <a:gd name="T100" fmla="*/ 65 w 93"/>
                <a:gd name="T101" fmla="*/ 71 h 124"/>
                <a:gd name="T102" fmla="*/ 60 w 93"/>
                <a:gd name="T103" fmla="*/ 69 h 124"/>
                <a:gd name="T104" fmla="*/ 50 w 93"/>
                <a:gd name="T105" fmla="*/ 65 h 124"/>
                <a:gd name="T106" fmla="*/ 49 w 93"/>
                <a:gd name="T107" fmla="*/ 63 h 124"/>
                <a:gd name="T108" fmla="*/ 43 w 93"/>
                <a:gd name="T109" fmla="*/ 56 h 124"/>
                <a:gd name="T110" fmla="*/ 43 w 93"/>
                <a:gd name="T111" fmla="*/ 55 h 124"/>
                <a:gd name="T112" fmla="*/ 39 w 93"/>
                <a:gd name="T113" fmla="*/ 45 h 124"/>
                <a:gd name="T114" fmla="*/ 38 w 93"/>
                <a:gd name="T115" fmla="*/ 41 h 124"/>
                <a:gd name="T116" fmla="*/ 29 w 93"/>
                <a:gd name="T117" fmla="*/ 30 h 124"/>
                <a:gd name="T118" fmla="*/ 24 w 93"/>
                <a:gd name="T119" fmla="*/ 22 h 124"/>
                <a:gd name="T120" fmla="*/ 17 w 93"/>
                <a:gd name="T121" fmla="*/ 11 h 124"/>
                <a:gd name="T122" fmla="*/ 13 w 93"/>
                <a:gd name="T123" fmla="*/ 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 h="124">
                  <a:moveTo>
                    <a:pt x="6" y="0"/>
                  </a:moveTo>
                  <a:cubicBezTo>
                    <a:pt x="3" y="1"/>
                    <a:pt x="2" y="2"/>
                    <a:pt x="2" y="5"/>
                  </a:cubicBezTo>
                  <a:cubicBezTo>
                    <a:pt x="1" y="6"/>
                    <a:pt x="2" y="7"/>
                    <a:pt x="1" y="8"/>
                  </a:cubicBezTo>
                  <a:cubicBezTo>
                    <a:pt x="0" y="9"/>
                    <a:pt x="0" y="9"/>
                    <a:pt x="0" y="9"/>
                  </a:cubicBezTo>
                  <a:cubicBezTo>
                    <a:pt x="0" y="10"/>
                    <a:pt x="0" y="10"/>
                    <a:pt x="0" y="10"/>
                  </a:cubicBezTo>
                  <a:cubicBezTo>
                    <a:pt x="0" y="13"/>
                    <a:pt x="0" y="16"/>
                    <a:pt x="2" y="16"/>
                  </a:cubicBezTo>
                  <a:cubicBezTo>
                    <a:pt x="3" y="17"/>
                    <a:pt x="4" y="17"/>
                    <a:pt x="4" y="17"/>
                  </a:cubicBezTo>
                  <a:cubicBezTo>
                    <a:pt x="7" y="17"/>
                    <a:pt x="7" y="13"/>
                    <a:pt x="9" y="13"/>
                  </a:cubicBezTo>
                  <a:cubicBezTo>
                    <a:pt x="8" y="15"/>
                    <a:pt x="6" y="15"/>
                    <a:pt x="8" y="18"/>
                  </a:cubicBezTo>
                  <a:cubicBezTo>
                    <a:pt x="9" y="19"/>
                    <a:pt x="9" y="19"/>
                    <a:pt x="9" y="19"/>
                  </a:cubicBezTo>
                  <a:cubicBezTo>
                    <a:pt x="9" y="19"/>
                    <a:pt x="8" y="19"/>
                    <a:pt x="8" y="19"/>
                  </a:cubicBezTo>
                  <a:cubicBezTo>
                    <a:pt x="8" y="19"/>
                    <a:pt x="7" y="19"/>
                    <a:pt x="7" y="19"/>
                  </a:cubicBezTo>
                  <a:cubicBezTo>
                    <a:pt x="7" y="19"/>
                    <a:pt x="7" y="19"/>
                    <a:pt x="7" y="19"/>
                  </a:cubicBezTo>
                  <a:cubicBezTo>
                    <a:pt x="5" y="19"/>
                    <a:pt x="5" y="19"/>
                    <a:pt x="6" y="21"/>
                  </a:cubicBezTo>
                  <a:cubicBezTo>
                    <a:pt x="7" y="22"/>
                    <a:pt x="8" y="23"/>
                    <a:pt x="8" y="24"/>
                  </a:cubicBezTo>
                  <a:cubicBezTo>
                    <a:pt x="10" y="22"/>
                    <a:pt x="11" y="21"/>
                    <a:pt x="13" y="20"/>
                  </a:cubicBezTo>
                  <a:cubicBezTo>
                    <a:pt x="13" y="20"/>
                    <a:pt x="13" y="20"/>
                    <a:pt x="14" y="20"/>
                  </a:cubicBezTo>
                  <a:cubicBezTo>
                    <a:pt x="16" y="20"/>
                    <a:pt x="18" y="21"/>
                    <a:pt x="19" y="21"/>
                  </a:cubicBezTo>
                  <a:cubicBezTo>
                    <a:pt x="19" y="21"/>
                    <a:pt x="19" y="21"/>
                    <a:pt x="19" y="21"/>
                  </a:cubicBezTo>
                  <a:cubicBezTo>
                    <a:pt x="18" y="21"/>
                    <a:pt x="17" y="21"/>
                    <a:pt x="17" y="21"/>
                  </a:cubicBezTo>
                  <a:cubicBezTo>
                    <a:pt x="16" y="21"/>
                    <a:pt x="15" y="21"/>
                    <a:pt x="14" y="21"/>
                  </a:cubicBezTo>
                  <a:cubicBezTo>
                    <a:pt x="13" y="21"/>
                    <a:pt x="12" y="21"/>
                    <a:pt x="12" y="22"/>
                  </a:cubicBezTo>
                  <a:cubicBezTo>
                    <a:pt x="11" y="25"/>
                    <a:pt x="15" y="28"/>
                    <a:pt x="17" y="30"/>
                  </a:cubicBezTo>
                  <a:cubicBezTo>
                    <a:pt x="15" y="29"/>
                    <a:pt x="13" y="28"/>
                    <a:pt x="11" y="28"/>
                  </a:cubicBezTo>
                  <a:cubicBezTo>
                    <a:pt x="11" y="28"/>
                    <a:pt x="10" y="28"/>
                    <a:pt x="10" y="28"/>
                  </a:cubicBezTo>
                  <a:cubicBezTo>
                    <a:pt x="8" y="31"/>
                    <a:pt x="11" y="31"/>
                    <a:pt x="14" y="31"/>
                  </a:cubicBezTo>
                  <a:cubicBezTo>
                    <a:pt x="15" y="31"/>
                    <a:pt x="16" y="31"/>
                    <a:pt x="17" y="31"/>
                  </a:cubicBezTo>
                  <a:cubicBezTo>
                    <a:pt x="14" y="33"/>
                    <a:pt x="13" y="33"/>
                    <a:pt x="14" y="36"/>
                  </a:cubicBezTo>
                  <a:cubicBezTo>
                    <a:pt x="14" y="40"/>
                    <a:pt x="17" y="40"/>
                    <a:pt x="22" y="40"/>
                  </a:cubicBezTo>
                  <a:cubicBezTo>
                    <a:pt x="20" y="42"/>
                    <a:pt x="18" y="41"/>
                    <a:pt x="16" y="42"/>
                  </a:cubicBezTo>
                  <a:cubicBezTo>
                    <a:pt x="12" y="42"/>
                    <a:pt x="15" y="44"/>
                    <a:pt x="12" y="45"/>
                  </a:cubicBezTo>
                  <a:cubicBezTo>
                    <a:pt x="15" y="45"/>
                    <a:pt x="19" y="45"/>
                    <a:pt x="22" y="46"/>
                  </a:cubicBezTo>
                  <a:cubicBezTo>
                    <a:pt x="23" y="46"/>
                    <a:pt x="26" y="49"/>
                    <a:pt x="28" y="49"/>
                  </a:cubicBezTo>
                  <a:cubicBezTo>
                    <a:pt x="29" y="49"/>
                    <a:pt x="29" y="48"/>
                    <a:pt x="29" y="48"/>
                  </a:cubicBezTo>
                  <a:cubicBezTo>
                    <a:pt x="31" y="51"/>
                    <a:pt x="30" y="52"/>
                    <a:pt x="29" y="52"/>
                  </a:cubicBezTo>
                  <a:cubicBezTo>
                    <a:pt x="29" y="52"/>
                    <a:pt x="29" y="52"/>
                    <a:pt x="28" y="52"/>
                  </a:cubicBezTo>
                  <a:cubicBezTo>
                    <a:pt x="28" y="52"/>
                    <a:pt x="28" y="52"/>
                    <a:pt x="28" y="52"/>
                  </a:cubicBezTo>
                  <a:cubicBezTo>
                    <a:pt x="27" y="52"/>
                    <a:pt x="27" y="52"/>
                    <a:pt x="27" y="52"/>
                  </a:cubicBezTo>
                  <a:cubicBezTo>
                    <a:pt x="28" y="53"/>
                    <a:pt x="29" y="55"/>
                    <a:pt x="30" y="56"/>
                  </a:cubicBezTo>
                  <a:cubicBezTo>
                    <a:pt x="32" y="57"/>
                    <a:pt x="33" y="58"/>
                    <a:pt x="35" y="58"/>
                  </a:cubicBezTo>
                  <a:cubicBezTo>
                    <a:pt x="36" y="58"/>
                    <a:pt x="38" y="57"/>
                    <a:pt x="39" y="57"/>
                  </a:cubicBezTo>
                  <a:cubicBezTo>
                    <a:pt x="38" y="59"/>
                    <a:pt x="35" y="60"/>
                    <a:pt x="37" y="62"/>
                  </a:cubicBezTo>
                  <a:cubicBezTo>
                    <a:pt x="37" y="62"/>
                    <a:pt x="37" y="62"/>
                    <a:pt x="37" y="62"/>
                  </a:cubicBezTo>
                  <a:cubicBezTo>
                    <a:pt x="36" y="62"/>
                    <a:pt x="35" y="62"/>
                    <a:pt x="35" y="63"/>
                  </a:cubicBezTo>
                  <a:cubicBezTo>
                    <a:pt x="36" y="64"/>
                    <a:pt x="37" y="64"/>
                    <a:pt x="39" y="65"/>
                  </a:cubicBezTo>
                  <a:cubicBezTo>
                    <a:pt x="40" y="66"/>
                    <a:pt x="42" y="68"/>
                    <a:pt x="43" y="69"/>
                  </a:cubicBezTo>
                  <a:cubicBezTo>
                    <a:pt x="44" y="70"/>
                    <a:pt x="44" y="71"/>
                    <a:pt x="44" y="71"/>
                  </a:cubicBezTo>
                  <a:cubicBezTo>
                    <a:pt x="45" y="72"/>
                    <a:pt x="47" y="73"/>
                    <a:pt x="49" y="74"/>
                  </a:cubicBezTo>
                  <a:cubicBezTo>
                    <a:pt x="50" y="75"/>
                    <a:pt x="51" y="77"/>
                    <a:pt x="52" y="78"/>
                  </a:cubicBezTo>
                  <a:cubicBezTo>
                    <a:pt x="47" y="78"/>
                    <a:pt x="50" y="81"/>
                    <a:pt x="49" y="84"/>
                  </a:cubicBezTo>
                  <a:cubicBezTo>
                    <a:pt x="49" y="86"/>
                    <a:pt x="48" y="85"/>
                    <a:pt x="47" y="86"/>
                  </a:cubicBezTo>
                  <a:cubicBezTo>
                    <a:pt x="47" y="90"/>
                    <a:pt x="47" y="90"/>
                    <a:pt x="47" y="90"/>
                  </a:cubicBezTo>
                  <a:cubicBezTo>
                    <a:pt x="46" y="90"/>
                    <a:pt x="46" y="90"/>
                    <a:pt x="46" y="90"/>
                  </a:cubicBezTo>
                  <a:cubicBezTo>
                    <a:pt x="44" y="90"/>
                    <a:pt x="44" y="91"/>
                    <a:pt x="44" y="93"/>
                  </a:cubicBezTo>
                  <a:cubicBezTo>
                    <a:pt x="43" y="92"/>
                    <a:pt x="43" y="92"/>
                    <a:pt x="43" y="92"/>
                  </a:cubicBezTo>
                  <a:cubicBezTo>
                    <a:pt x="42" y="92"/>
                    <a:pt x="43" y="95"/>
                    <a:pt x="44" y="97"/>
                  </a:cubicBezTo>
                  <a:cubicBezTo>
                    <a:pt x="44" y="98"/>
                    <a:pt x="47" y="100"/>
                    <a:pt x="48" y="100"/>
                  </a:cubicBezTo>
                  <a:cubicBezTo>
                    <a:pt x="49" y="100"/>
                    <a:pt x="49" y="99"/>
                    <a:pt x="49" y="99"/>
                  </a:cubicBezTo>
                  <a:cubicBezTo>
                    <a:pt x="49" y="97"/>
                    <a:pt x="49" y="96"/>
                    <a:pt x="48" y="95"/>
                  </a:cubicBezTo>
                  <a:cubicBezTo>
                    <a:pt x="50" y="94"/>
                    <a:pt x="53" y="93"/>
                    <a:pt x="54" y="91"/>
                  </a:cubicBezTo>
                  <a:cubicBezTo>
                    <a:pt x="54" y="89"/>
                    <a:pt x="51" y="90"/>
                    <a:pt x="50" y="88"/>
                  </a:cubicBezTo>
                  <a:cubicBezTo>
                    <a:pt x="53" y="87"/>
                    <a:pt x="56" y="87"/>
                    <a:pt x="59" y="85"/>
                  </a:cubicBezTo>
                  <a:cubicBezTo>
                    <a:pt x="62" y="83"/>
                    <a:pt x="67" y="83"/>
                    <a:pt x="70" y="81"/>
                  </a:cubicBezTo>
                  <a:cubicBezTo>
                    <a:pt x="70" y="82"/>
                    <a:pt x="67" y="84"/>
                    <a:pt x="67" y="85"/>
                  </a:cubicBezTo>
                  <a:cubicBezTo>
                    <a:pt x="67" y="86"/>
                    <a:pt x="69" y="87"/>
                    <a:pt x="70" y="88"/>
                  </a:cubicBezTo>
                  <a:cubicBezTo>
                    <a:pt x="72" y="90"/>
                    <a:pt x="73" y="92"/>
                    <a:pt x="74" y="95"/>
                  </a:cubicBezTo>
                  <a:cubicBezTo>
                    <a:pt x="74" y="98"/>
                    <a:pt x="74" y="100"/>
                    <a:pt x="74" y="103"/>
                  </a:cubicBezTo>
                  <a:cubicBezTo>
                    <a:pt x="74" y="106"/>
                    <a:pt x="75" y="106"/>
                    <a:pt x="76" y="106"/>
                  </a:cubicBezTo>
                  <a:cubicBezTo>
                    <a:pt x="76" y="106"/>
                    <a:pt x="76" y="106"/>
                    <a:pt x="77" y="106"/>
                  </a:cubicBezTo>
                  <a:cubicBezTo>
                    <a:pt x="77" y="106"/>
                    <a:pt x="77" y="106"/>
                    <a:pt x="77" y="106"/>
                  </a:cubicBezTo>
                  <a:cubicBezTo>
                    <a:pt x="78" y="106"/>
                    <a:pt x="79" y="106"/>
                    <a:pt x="80" y="107"/>
                  </a:cubicBezTo>
                  <a:cubicBezTo>
                    <a:pt x="79" y="107"/>
                    <a:pt x="78" y="107"/>
                    <a:pt x="77" y="107"/>
                  </a:cubicBezTo>
                  <a:cubicBezTo>
                    <a:pt x="77" y="107"/>
                    <a:pt x="77" y="107"/>
                    <a:pt x="77" y="107"/>
                  </a:cubicBezTo>
                  <a:cubicBezTo>
                    <a:pt x="76" y="107"/>
                    <a:pt x="76" y="107"/>
                    <a:pt x="76" y="107"/>
                  </a:cubicBezTo>
                  <a:cubicBezTo>
                    <a:pt x="74" y="107"/>
                    <a:pt x="71" y="107"/>
                    <a:pt x="70" y="110"/>
                  </a:cubicBezTo>
                  <a:cubicBezTo>
                    <a:pt x="69" y="112"/>
                    <a:pt x="71" y="113"/>
                    <a:pt x="73" y="113"/>
                  </a:cubicBezTo>
                  <a:cubicBezTo>
                    <a:pt x="73" y="113"/>
                    <a:pt x="74" y="113"/>
                    <a:pt x="75" y="113"/>
                  </a:cubicBezTo>
                  <a:cubicBezTo>
                    <a:pt x="73" y="114"/>
                    <a:pt x="71" y="114"/>
                    <a:pt x="71" y="116"/>
                  </a:cubicBezTo>
                  <a:cubicBezTo>
                    <a:pt x="71" y="117"/>
                    <a:pt x="73" y="118"/>
                    <a:pt x="73" y="119"/>
                  </a:cubicBezTo>
                  <a:cubicBezTo>
                    <a:pt x="74" y="121"/>
                    <a:pt x="73" y="124"/>
                    <a:pt x="76" y="124"/>
                  </a:cubicBezTo>
                  <a:cubicBezTo>
                    <a:pt x="77" y="124"/>
                    <a:pt x="78" y="124"/>
                    <a:pt x="78" y="124"/>
                  </a:cubicBezTo>
                  <a:cubicBezTo>
                    <a:pt x="82" y="123"/>
                    <a:pt x="86" y="120"/>
                    <a:pt x="88" y="117"/>
                  </a:cubicBezTo>
                  <a:cubicBezTo>
                    <a:pt x="89" y="116"/>
                    <a:pt x="89" y="116"/>
                    <a:pt x="89" y="116"/>
                  </a:cubicBezTo>
                  <a:cubicBezTo>
                    <a:pt x="89" y="116"/>
                    <a:pt x="89" y="116"/>
                    <a:pt x="89" y="116"/>
                  </a:cubicBezTo>
                  <a:cubicBezTo>
                    <a:pt x="89" y="115"/>
                    <a:pt x="89" y="115"/>
                    <a:pt x="89" y="115"/>
                  </a:cubicBezTo>
                  <a:cubicBezTo>
                    <a:pt x="90" y="112"/>
                    <a:pt x="92" y="107"/>
                    <a:pt x="93" y="107"/>
                  </a:cubicBezTo>
                  <a:cubicBezTo>
                    <a:pt x="93" y="106"/>
                    <a:pt x="92" y="104"/>
                    <a:pt x="91" y="103"/>
                  </a:cubicBezTo>
                  <a:cubicBezTo>
                    <a:pt x="90" y="101"/>
                    <a:pt x="90" y="100"/>
                    <a:pt x="89" y="99"/>
                  </a:cubicBezTo>
                  <a:cubicBezTo>
                    <a:pt x="89" y="98"/>
                    <a:pt x="89" y="98"/>
                    <a:pt x="89" y="98"/>
                  </a:cubicBezTo>
                  <a:cubicBezTo>
                    <a:pt x="89" y="97"/>
                    <a:pt x="89" y="96"/>
                    <a:pt x="90" y="96"/>
                  </a:cubicBezTo>
                  <a:cubicBezTo>
                    <a:pt x="90" y="96"/>
                    <a:pt x="90" y="96"/>
                    <a:pt x="90" y="96"/>
                  </a:cubicBezTo>
                  <a:cubicBezTo>
                    <a:pt x="89" y="95"/>
                    <a:pt x="89" y="95"/>
                    <a:pt x="89" y="95"/>
                  </a:cubicBezTo>
                  <a:cubicBezTo>
                    <a:pt x="89" y="94"/>
                    <a:pt x="89" y="94"/>
                    <a:pt x="89" y="94"/>
                  </a:cubicBezTo>
                  <a:cubicBezTo>
                    <a:pt x="89" y="91"/>
                    <a:pt x="90" y="89"/>
                    <a:pt x="91" y="86"/>
                  </a:cubicBezTo>
                  <a:cubicBezTo>
                    <a:pt x="91" y="86"/>
                    <a:pt x="92" y="85"/>
                    <a:pt x="90" y="84"/>
                  </a:cubicBezTo>
                  <a:cubicBezTo>
                    <a:pt x="90" y="83"/>
                    <a:pt x="90" y="83"/>
                    <a:pt x="90" y="83"/>
                  </a:cubicBezTo>
                  <a:cubicBezTo>
                    <a:pt x="89" y="81"/>
                    <a:pt x="81" y="77"/>
                    <a:pt x="78" y="76"/>
                  </a:cubicBezTo>
                  <a:cubicBezTo>
                    <a:pt x="77" y="76"/>
                    <a:pt x="77" y="76"/>
                    <a:pt x="77" y="76"/>
                  </a:cubicBezTo>
                  <a:cubicBezTo>
                    <a:pt x="77" y="75"/>
                    <a:pt x="76" y="75"/>
                    <a:pt x="76" y="75"/>
                  </a:cubicBezTo>
                  <a:cubicBezTo>
                    <a:pt x="74" y="74"/>
                    <a:pt x="72" y="74"/>
                    <a:pt x="71" y="73"/>
                  </a:cubicBezTo>
                  <a:cubicBezTo>
                    <a:pt x="70" y="73"/>
                    <a:pt x="70" y="73"/>
                    <a:pt x="70" y="73"/>
                  </a:cubicBezTo>
                  <a:cubicBezTo>
                    <a:pt x="68" y="72"/>
                    <a:pt x="67" y="72"/>
                    <a:pt x="65" y="71"/>
                  </a:cubicBezTo>
                  <a:cubicBezTo>
                    <a:pt x="63" y="70"/>
                    <a:pt x="62" y="69"/>
                    <a:pt x="60" y="69"/>
                  </a:cubicBezTo>
                  <a:cubicBezTo>
                    <a:pt x="60" y="69"/>
                    <a:pt x="60" y="69"/>
                    <a:pt x="60" y="69"/>
                  </a:cubicBezTo>
                  <a:cubicBezTo>
                    <a:pt x="58" y="68"/>
                    <a:pt x="57" y="68"/>
                    <a:pt x="56" y="67"/>
                  </a:cubicBezTo>
                  <a:cubicBezTo>
                    <a:pt x="53" y="67"/>
                    <a:pt x="52" y="67"/>
                    <a:pt x="50" y="65"/>
                  </a:cubicBezTo>
                  <a:cubicBezTo>
                    <a:pt x="50" y="64"/>
                    <a:pt x="50" y="64"/>
                    <a:pt x="50" y="64"/>
                  </a:cubicBezTo>
                  <a:cubicBezTo>
                    <a:pt x="49" y="63"/>
                    <a:pt x="49" y="63"/>
                    <a:pt x="49" y="63"/>
                  </a:cubicBezTo>
                  <a:cubicBezTo>
                    <a:pt x="49" y="63"/>
                    <a:pt x="48" y="62"/>
                    <a:pt x="47" y="61"/>
                  </a:cubicBezTo>
                  <a:cubicBezTo>
                    <a:pt x="46" y="60"/>
                    <a:pt x="45" y="58"/>
                    <a:pt x="43" y="56"/>
                  </a:cubicBezTo>
                  <a:cubicBezTo>
                    <a:pt x="43" y="56"/>
                    <a:pt x="43" y="56"/>
                    <a:pt x="43" y="56"/>
                  </a:cubicBezTo>
                  <a:cubicBezTo>
                    <a:pt x="43" y="55"/>
                    <a:pt x="43" y="55"/>
                    <a:pt x="43" y="55"/>
                  </a:cubicBezTo>
                  <a:cubicBezTo>
                    <a:pt x="42" y="54"/>
                    <a:pt x="41" y="53"/>
                    <a:pt x="40" y="52"/>
                  </a:cubicBezTo>
                  <a:cubicBezTo>
                    <a:pt x="37" y="48"/>
                    <a:pt x="38" y="46"/>
                    <a:pt x="39" y="45"/>
                  </a:cubicBezTo>
                  <a:cubicBezTo>
                    <a:pt x="40" y="44"/>
                    <a:pt x="40" y="44"/>
                    <a:pt x="40" y="44"/>
                  </a:cubicBezTo>
                  <a:cubicBezTo>
                    <a:pt x="39" y="43"/>
                    <a:pt x="38" y="42"/>
                    <a:pt x="38" y="41"/>
                  </a:cubicBezTo>
                  <a:cubicBezTo>
                    <a:pt x="35" y="37"/>
                    <a:pt x="32" y="34"/>
                    <a:pt x="30" y="30"/>
                  </a:cubicBezTo>
                  <a:cubicBezTo>
                    <a:pt x="29" y="30"/>
                    <a:pt x="29" y="30"/>
                    <a:pt x="29" y="30"/>
                  </a:cubicBezTo>
                  <a:cubicBezTo>
                    <a:pt x="28" y="27"/>
                    <a:pt x="28" y="27"/>
                    <a:pt x="28" y="27"/>
                  </a:cubicBezTo>
                  <a:cubicBezTo>
                    <a:pt x="26" y="25"/>
                    <a:pt x="25" y="24"/>
                    <a:pt x="24" y="22"/>
                  </a:cubicBezTo>
                  <a:cubicBezTo>
                    <a:pt x="22" y="20"/>
                    <a:pt x="21" y="18"/>
                    <a:pt x="19" y="16"/>
                  </a:cubicBezTo>
                  <a:cubicBezTo>
                    <a:pt x="19" y="14"/>
                    <a:pt x="18" y="12"/>
                    <a:pt x="17" y="11"/>
                  </a:cubicBezTo>
                  <a:cubicBezTo>
                    <a:pt x="16" y="10"/>
                    <a:pt x="16" y="10"/>
                    <a:pt x="16" y="10"/>
                  </a:cubicBezTo>
                  <a:cubicBezTo>
                    <a:pt x="15" y="8"/>
                    <a:pt x="14" y="6"/>
                    <a:pt x="13" y="5"/>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4" name="Freeform 347">
              <a:extLst>
                <a:ext uri="{FF2B5EF4-FFF2-40B4-BE49-F238E27FC236}">
                  <a16:creationId xmlns:a16="http://schemas.microsoft.com/office/drawing/2014/main" id="{851E1B06-697E-4D90-9F4F-697AF0E1B215}"/>
                </a:ext>
              </a:extLst>
            </p:cNvPr>
            <p:cNvSpPr>
              <a:spLocks/>
            </p:cNvSpPr>
            <p:nvPr/>
          </p:nvSpPr>
          <p:spPr bwMode="auto">
            <a:xfrm>
              <a:off x="8435966" y="8166922"/>
              <a:ext cx="274638" cy="233363"/>
            </a:xfrm>
            <a:custGeom>
              <a:avLst/>
              <a:gdLst>
                <a:gd name="T0" fmla="*/ 6 w 73"/>
                <a:gd name="T1" fmla="*/ 1 h 62"/>
                <a:gd name="T2" fmla="*/ 4 w 73"/>
                <a:gd name="T3" fmla="*/ 1 h 62"/>
                <a:gd name="T4" fmla="*/ 2 w 73"/>
                <a:gd name="T5" fmla="*/ 2 h 62"/>
                <a:gd name="T6" fmla="*/ 6 w 73"/>
                <a:gd name="T7" fmla="*/ 6 h 62"/>
                <a:gd name="T8" fmla="*/ 3 w 73"/>
                <a:gd name="T9" fmla="*/ 13 h 62"/>
                <a:gd name="T10" fmla="*/ 11 w 73"/>
                <a:gd name="T11" fmla="*/ 28 h 62"/>
                <a:gd name="T12" fmla="*/ 18 w 73"/>
                <a:gd name="T13" fmla="*/ 34 h 62"/>
                <a:gd name="T14" fmla="*/ 19 w 73"/>
                <a:gd name="T15" fmla="*/ 35 h 62"/>
                <a:gd name="T16" fmla="*/ 25 w 73"/>
                <a:gd name="T17" fmla="*/ 29 h 62"/>
                <a:gd name="T18" fmla="*/ 15 w 73"/>
                <a:gd name="T19" fmla="*/ 18 h 62"/>
                <a:gd name="T20" fmla="*/ 27 w 73"/>
                <a:gd name="T21" fmla="*/ 25 h 62"/>
                <a:gd name="T22" fmla="*/ 36 w 73"/>
                <a:gd name="T23" fmla="*/ 36 h 62"/>
                <a:gd name="T24" fmla="*/ 40 w 73"/>
                <a:gd name="T25" fmla="*/ 37 h 62"/>
                <a:gd name="T26" fmla="*/ 51 w 73"/>
                <a:gd name="T27" fmla="*/ 45 h 62"/>
                <a:gd name="T28" fmla="*/ 55 w 73"/>
                <a:gd name="T29" fmla="*/ 60 h 62"/>
                <a:gd name="T30" fmla="*/ 57 w 73"/>
                <a:gd name="T31" fmla="*/ 55 h 62"/>
                <a:gd name="T32" fmla="*/ 65 w 73"/>
                <a:gd name="T33" fmla="*/ 59 h 62"/>
                <a:gd name="T34" fmla="*/ 66 w 73"/>
                <a:gd name="T35" fmla="*/ 60 h 62"/>
                <a:gd name="T36" fmla="*/ 68 w 73"/>
                <a:gd name="T37" fmla="*/ 58 h 62"/>
                <a:gd name="T38" fmla="*/ 70 w 73"/>
                <a:gd name="T39" fmla="*/ 50 h 62"/>
                <a:gd name="T40" fmla="*/ 67 w 73"/>
                <a:gd name="T41" fmla="*/ 48 h 62"/>
                <a:gd name="T42" fmla="*/ 67 w 73"/>
                <a:gd name="T43" fmla="*/ 46 h 62"/>
                <a:gd name="T44" fmla="*/ 67 w 73"/>
                <a:gd name="T45" fmla="*/ 44 h 62"/>
                <a:gd name="T46" fmla="*/ 70 w 73"/>
                <a:gd name="T47" fmla="*/ 32 h 62"/>
                <a:gd name="T48" fmla="*/ 71 w 73"/>
                <a:gd name="T49" fmla="*/ 31 h 62"/>
                <a:gd name="T50" fmla="*/ 73 w 73"/>
                <a:gd name="T51" fmla="*/ 31 h 62"/>
                <a:gd name="T52" fmla="*/ 54 w 73"/>
                <a:gd name="T53" fmla="*/ 6 h 62"/>
                <a:gd name="T54" fmla="*/ 49 w 73"/>
                <a:gd name="T55" fmla="*/ 9 h 62"/>
                <a:gd name="T56" fmla="*/ 48 w 73"/>
                <a:gd name="T57" fmla="*/ 9 h 62"/>
                <a:gd name="T58" fmla="*/ 45 w 73"/>
                <a:gd name="T59" fmla="*/ 9 h 62"/>
                <a:gd name="T60" fmla="*/ 36 w 73"/>
                <a:gd name="T61" fmla="*/ 6 h 62"/>
                <a:gd name="T62" fmla="*/ 32 w 73"/>
                <a:gd name="T63" fmla="*/ 4 h 62"/>
                <a:gd name="T64" fmla="*/ 31 w 73"/>
                <a:gd name="T65" fmla="*/ 3 h 62"/>
                <a:gd name="T66" fmla="*/ 31 w 73"/>
                <a:gd name="T67" fmla="*/ 3 h 62"/>
                <a:gd name="T68" fmla="*/ 25 w 73"/>
                <a:gd name="T69" fmla="*/ 5 h 62"/>
                <a:gd name="T70" fmla="*/ 23 w 73"/>
                <a:gd name="T71" fmla="*/ 5 h 62"/>
                <a:gd name="T72" fmla="*/ 10 w 73"/>
                <a:gd name="T7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62">
                  <a:moveTo>
                    <a:pt x="8" y="0"/>
                  </a:moveTo>
                  <a:cubicBezTo>
                    <a:pt x="8" y="0"/>
                    <a:pt x="7" y="0"/>
                    <a:pt x="6" y="1"/>
                  </a:cubicBezTo>
                  <a:cubicBezTo>
                    <a:pt x="5" y="2"/>
                    <a:pt x="5" y="2"/>
                    <a:pt x="5" y="2"/>
                  </a:cubicBezTo>
                  <a:cubicBezTo>
                    <a:pt x="4" y="1"/>
                    <a:pt x="4" y="1"/>
                    <a:pt x="4" y="1"/>
                  </a:cubicBezTo>
                  <a:cubicBezTo>
                    <a:pt x="3" y="3"/>
                    <a:pt x="3" y="3"/>
                    <a:pt x="3" y="3"/>
                  </a:cubicBezTo>
                  <a:cubicBezTo>
                    <a:pt x="3" y="3"/>
                    <a:pt x="2" y="2"/>
                    <a:pt x="2" y="2"/>
                  </a:cubicBezTo>
                  <a:cubicBezTo>
                    <a:pt x="1" y="2"/>
                    <a:pt x="0" y="3"/>
                    <a:pt x="0" y="3"/>
                  </a:cubicBezTo>
                  <a:cubicBezTo>
                    <a:pt x="1" y="4"/>
                    <a:pt x="5" y="5"/>
                    <a:pt x="6" y="6"/>
                  </a:cubicBezTo>
                  <a:cubicBezTo>
                    <a:pt x="6" y="7"/>
                    <a:pt x="7" y="10"/>
                    <a:pt x="6" y="10"/>
                  </a:cubicBezTo>
                  <a:cubicBezTo>
                    <a:pt x="6" y="10"/>
                    <a:pt x="3" y="12"/>
                    <a:pt x="3" y="13"/>
                  </a:cubicBezTo>
                  <a:cubicBezTo>
                    <a:pt x="4" y="16"/>
                    <a:pt x="4" y="20"/>
                    <a:pt x="5" y="24"/>
                  </a:cubicBezTo>
                  <a:cubicBezTo>
                    <a:pt x="6" y="26"/>
                    <a:pt x="9" y="27"/>
                    <a:pt x="11" y="28"/>
                  </a:cubicBezTo>
                  <a:cubicBezTo>
                    <a:pt x="14" y="29"/>
                    <a:pt x="15" y="31"/>
                    <a:pt x="18" y="33"/>
                  </a:cubicBezTo>
                  <a:cubicBezTo>
                    <a:pt x="18" y="34"/>
                    <a:pt x="18" y="34"/>
                    <a:pt x="18" y="34"/>
                  </a:cubicBezTo>
                  <a:cubicBezTo>
                    <a:pt x="19" y="34"/>
                    <a:pt x="18" y="35"/>
                    <a:pt x="19" y="35"/>
                  </a:cubicBezTo>
                  <a:cubicBezTo>
                    <a:pt x="19" y="35"/>
                    <a:pt x="19" y="35"/>
                    <a:pt x="19" y="35"/>
                  </a:cubicBezTo>
                  <a:cubicBezTo>
                    <a:pt x="19" y="35"/>
                    <a:pt x="21" y="32"/>
                    <a:pt x="22" y="32"/>
                  </a:cubicBezTo>
                  <a:cubicBezTo>
                    <a:pt x="22" y="31"/>
                    <a:pt x="23" y="29"/>
                    <a:pt x="25" y="29"/>
                  </a:cubicBezTo>
                  <a:cubicBezTo>
                    <a:pt x="23" y="27"/>
                    <a:pt x="20" y="26"/>
                    <a:pt x="18" y="24"/>
                  </a:cubicBezTo>
                  <a:cubicBezTo>
                    <a:pt x="17" y="23"/>
                    <a:pt x="16" y="20"/>
                    <a:pt x="15" y="18"/>
                  </a:cubicBezTo>
                  <a:cubicBezTo>
                    <a:pt x="16" y="20"/>
                    <a:pt x="17" y="20"/>
                    <a:pt x="20" y="21"/>
                  </a:cubicBezTo>
                  <a:cubicBezTo>
                    <a:pt x="22" y="22"/>
                    <a:pt x="25" y="24"/>
                    <a:pt x="27" y="25"/>
                  </a:cubicBezTo>
                  <a:cubicBezTo>
                    <a:pt x="29" y="26"/>
                    <a:pt x="28" y="30"/>
                    <a:pt x="29" y="32"/>
                  </a:cubicBezTo>
                  <a:cubicBezTo>
                    <a:pt x="30" y="34"/>
                    <a:pt x="33" y="35"/>
                    <a:pt x="36" y="36"/>
                  </a:cubicBezTo>
                  <a:cubicBezTo>
                    <a:pt x="37" y="36"/>
                    <a:pt x="39" y="37"/>
                    <a:pt x="40" y="37"/>
                  </a:cubicBezTo>
                  <a:cubicBezTo>
                    <a:pt x="40" y="37"/>
                    <a:pt x="40" y="37"/>
                    <a:pt x="40" y="37"/>
                  </a:cubicBezTo>
                  <a:cubicBezTo>
                    <a:pt x="42" y="39"/>
                    <a:pt x="45" y="40"/>
                    <a:pt x="48" y="42"/>
                  </a:cubicBezTo>
                  <a:cubicBezTo>
                    <a:pt x="49" y="43"/>
                    <a:pt x="50" y="44"/>
                    <a:pt x="51" y="45"/>
                  </a:cubicBezTo>
                  <a:cubicBezTo>
                    <a:pt x="53" y="46"/>
                    <a:pt x="53" y="46"/>
                    <a:pt x="53" y="48"/>
                  </a:cubicBezTo>
                  <a:cubicBezTo>
                    <a:pt x="54" y="54"/>
                    <a:pt x="48" y="56"/>
                    <a:pt x="55" y="60"/>
                  </a:cubicBezTo>
                  <a:cubicBezTo>
                    <a:pt x="56" y="61"/>
                    <a:pt x="60" y="62"/>
                    <a:pt x="61" y="62"/>
                  </a:cubicBezTo>
                  <a:cubicBezTo>
                    <a:pt x="60" y="60"/>
                    <a:pt x="59" y="58"/>
                    <a:pt x="57" y="55"/>
                  </a:cubicBezTo>
                  <a:cubicBezTo>
                    <a:pt x="58" y="55"/>
                    <a:pt x="59" y="55"/>
                    <a:pt x="60" y="55"/>
                  </a:cubicBezTo>
                  <a:cubicBezTo>
                    <a:pt x="62" y="55"/>
                    <a:pt x="65" y="56"/>
                    <a:pt x="65" y="59"/>
                  </a:cubicBezTo>
                  <a:cubicBezTo>
                    <a:pt x="65" y="60"/>
                    <a:pt x="65" y="61"/>
                    <a:pt x="65" y="61"/>
                  </a:cubicBezTo>
                  <a:cubicBezTo>
                    <a:pt x="65" y="61"/>
                    <a:pt x="65" y="60"/>
                    <a:pt x="66" y="60"/>
                  </a:cubicBezTo>
                  <a:cubicBezTo>
                    <a:pt x="66" y="59"/>
                    <a:pt x="66" y="59"/>
                    <a:pt x="66" y="59"/>
                  </a:cubicBezTo>
                  <a:cubicBezTo>
                    <a:pt x="67" y="59"/>
                    <a:pt x="68" y="58"/>
                    <a:pt x="68" y="58"/>
                  </a:cubicBezTo>
                  <a:cubicBezTo>
                    <a:pt x="67" y="57"/>
                    <a:pt x="67" y="55"/>
                    <a:pt x="67" y="54"/>
                  </a:cubicBezTo>
                  <a:cubicBezTo>
                    <a:pt x="67" y="52"/>
                    <a:pt x="68" y="51"/>
                    <a:pt x="70" y="50"/>
                  </a:cubicBezTo>
                  <a:cubicBezTo>
                    <a:pt x="69" y="49"/>
                    <a:pt x="69" y="49"/>
                    <a:pt x="69" y="49"/>
                  </a:cubicBezTo>
                  <a:cubicBezTo>
                    <a:pt x="67" y="48"/>
                    <a:pt x="67" y="48"/>
                    <a:pt x="67" y="48"/>
                  </a:cubicBezTo>
                  <a:cubicBezTo>
                    <a:pt x="67" y="46"/>
                    <a:pt x="67" y="46"/>
                    <a:pt x="67" y="46"/>
                  </a:cubicBezTo>
                  <a:cubicBezTo>
                    <a:pt x="67" y="46"/>
                    <a:pt x="67" y="46"/>
                    <a:pt x="67" y="46"/>
                  </a:cubicBezTo>
                  <a:cubicBezTo>
                    <a:pt x="67" y="46"/>
                    <a:pt x="67" y="45"/>
                    <a:pt x="67" y="44"/>
                  </a:cubicBezTo>
                  <a:cubicBezTo>
                    <a:pt x="67" y="44"/>
                    <a:pt x="67" y="44"/>
                    <a:pt x="67" y="44"/>
                  </a:cubicBezTo>
                  <a:cubicBezTo>
                    <a:pt x="67" y="42"/>
                    <a:pt x="67" y="39"/>
                    <a:pt x="67" y="37"/>
                  </a:cubicBezTo>
                  <a:cubicBezTo>
                    <a:pt x="68" y="34"/>
                    <a:pt x="68" y="33"/>
                    <a:pt x="70" y="32"/>
                  </a:cubicBezTo>
                  <a:cubicBezTo>
                    <a:pt x="70" y="31"/>
                    <a:pt x="70" y="31"/>
                    <a:pt x="70" y="31"/>
                  </a:cubicBezTo>
                  <a:cubicBezTo>
                    <a:pt x="71" y="31"/>
                    <a:pt x="71" y="31"/>
                    <a:pt x="71" y="31"/>
                  </a:cubicBezTo>
                  <a:cubicBezTo>
                    <a:pt x="71" y="31"/>
                    <a:pt x="72" y="31"/>
                    <a:pt x="72" y="31"/>
                  </a:cubicBezTo>
                  <a:cubicBezTo>
                    <a:pt x="72" y="31"/>
                    <a:pt x="73" y="31"/>
                    <a:pt x="73" y="31"/>
                  </a:cubicBezTo>
                  <a:cubicBezTo>
                    <a:pt x="69" y="28"/>
                    <a:pt x="66" y="25"/>
                    <a:pt x="63" y="21"/>
                  </a:cubicBezTo>
                  <a:cubicBezTo>
                    <a:pt x="59" y="16"/>
                    <a:pt x="57" y="11"/>
                    <a:pt x="54" y="6"/>
                  </a:cubicBezTo>
                  <a:cubicBezTo>
                    <a:pt x="53" y="7"/>
                    <a:pt x="52" y="8"/>
                    <a:pt x="52" y="8"/>
                  </a:cubicBezTo>
                  <a:cubicBezTo>
                    <a:pt x="51" y="9"/>
                    <a:pt x="50" y="9"/>
                    <a:pt x="49" y="9"/>
                  </a:cubicBezTo>
                  <a:cubicBezTo>
                    <a:pt x="49" y="9"/>
                    <a:pt x="49" y="9"/>
                    <a:pt x="49" y="9"/>
                  </a:cubicBezTo>
                  <a:cubicBezTo>
                    <a:pt x="48" y="9"/>
                    <a:pt x="48" y="9"/>
                    <a:pt x="48" y="9"/>
                  </a:cubicBezTo>
                  <a:cubicBezTo>
                    <a:pt x="47" y="9"/>
                    <a:pt x="47" y="9"/>
                    <a:pt x="47" y="9"/>
                  </a:cubicBezTo>
                  <a:cubicBezTo>
                    <a:pt x="45" y="9"/>
                    <a:pt x="45" y="9"/>
                    <a:pt x="45" y="9"/>
                  </a:cubicBezTo>
                  <a:cubicBezTo>
                    <a:pt x="42" y="9"/>
                    <a:pt x="40" y="9"/>
                    <a:pt x="37" y="7"/>
                  </a:cubicBezTo>
                  <a:cubicBezTo>
                    <a:pt x="37" y="7"/>
                    <a:pt x="37" y="7"/>
                    <a:pt x="36" y="6"/>
                  </a:cubicBezTo>
                  <a:cubicBezTo>
                    <a:pt x="36" y="6"/>
                    <a:pt x="36" y="6"/>
                    <a:pt x="36" y="6"/>
                  </a:cubicBezTo>
                  <a:cubicBezTo>
                    <a:pt x="34" y="5"/>
                    <a:pt x="33" y="4"/>
                    <a:pt x="32" y="4"/>
                  </a:cubicBezTo>
                  <a:cubicBezTo>
                    <a:pt x="32" y="3"/>
                    <a:pt x="32" y="3"/>
                    <a:pt x="32" y="3"/>
                  </a:cubicBezTo>
                  <a:cubicBezTo>
                    <a:pt x="31" y="3"/>
                    <a:pt x="31" y="3"/>
                    <a:pt x="31" y="3"/>
                  </a:cubicBezTo>
                  <a:cubicBezTo>
                    <a:pt x="31" y="3"/>
                    <a:pt x="31" y="3"/>
                    <a:pt x="31" y="3"/>
                  </a:cubicBezTo>
                  <a:cubicBezTo>
                    <a:pt x="31" y="3"/>
                    <a:pt x="31" y="3"/>
                    <a:pt x="31" y="3"/>
                  </a:cubicBezTo>
                  <a:cubicBezTo>
                    <a:pt x="31" y="3"/>
                    <a:pt x="29" y="4"/>
                    <a:pt x="29" y="4"/>
                  </a:cubicBezTo>
                  <a:cubicBezTo>
                    <a:pt x="27" y="4"/>
                    <a:pt x="26" y="5"/>
                    <a:pt x="25" y="5"/>
                  </a:cubicBezTo>
                  <a:cubicBezTo>
                    <a:pt x="25" y="5"/>
                    <a:pt x="25" y="5"/>
                    <a:pt x="24" y="5"/>
                  </a:cubicBezTo>
                  <a:cubicBezTo>
                    <a:pt x="24" y="5"/>
                    <a:pt x="24" y="5"/>
                    <a:pt x="23" y="5"/>
                  </a:cubicBezTo>
                  <a:cubicBezTo>
                    <a:pt x="20" y="4"/>
                    <a:pt x="17" y="2"/>
                    <a:pt x="13" y="1"/>
                  </a:cubicBezTo>
                  <a:cubicBezTo>
                    <a:pt x="12" y="1"/>
                    <a:pt x="11" y="0"/>
                    <a:pt x="10"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5" name="Rectangle 348">
              <a:extLst>
                <a:ext uri="{FF2B5EF4-FFF2-40B4-BE49-F238E27FC236}">
                  <a16:creationId xmlns:a16="http://schemas.microsoft.com/office/drawing/2014/main" id="{9B59EFBC-6DBC-44E2-B7BB-17348CF5BA29}"/>
                </a:ext>
              </a:extLst>
            </p:cNvPr>
            <p:cNvSpPr>
              <a:spLocks noChangeArrowheads="1"/>
            </p:cNvSpPr>
            <p:nvPr/>
          </p:nvSpPr>
          <p:spPr bwMode="auto">
            <a:xfrm>
              <a:off x="8308966" y="7998647"/>
              <a:ext cx="3175"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6" name="Freeform 349">
              <a:extLst>
                <a:ext uri="{FF2B5EF4-FFF2-40B4-BE49-F238E27FC236}">
                  <a16:creationId xmlns:a16="http://schemas.microsoft.com/office/drawing/2014/main" id="{036A0A31-9B61-443E-945D-6D47B0335ED5}"/>
                </a:ext>
              </a:extLst>
            </p:cNvPr>
            <p:cNvSpPr>
              <a:spLocks/>
            </p:cNvSpPr>
            <p:nvPr/>
          </p:nvSpPr>
          <p:spPr bwMode="auto">
            <a:xfrm>
              <a:off x="8308966" y="7998647"/>
              <a:ext cx="3175" cy="0"/>
            </a:xfrm>
            <a:custGeom>
              <a:avLst/>
              <a:gdLst>
                <a:gd name="T0" fmla="*/ 2 w 2"/>
                <a:gd name="T1" fmla="*/ 0 w 2"/>
                <a:gd name="T2" fmla="*/ 0 w 2"/>
                <a:gd name="T3" fmla="*/ 2 w 2"/>
              </a:gdLst>
              <a:ahLst/>
              <a:cxnLst>
                <a:cxn ang="0">
                  <a:pos x="T0" y="0"/>
                </a:cxn>
                <a:cxn ang="0">
                  <a:pos x="T1" y="0"/>
                </a:cxn>
                <a:cxn ang="0">
                  <a:pos x="T2" y="0"/>
                </a:cxn>
                <a:cxn ang="0">
                  <a:pos x="T3" y="0"/>
                </a:cxn>
              </a:cxnLst>
              <a:rect l="0" t="0" r="r" b="b"/>
              <a:pathLst>
                <a:path w="2">
                  <a:moveTo>
                    <a:pt x="2" y="0"/>
                  </a:move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7" name="Freeform 350">
              <a:extLst>
                <a:ext uri="{FF2B5EF4-FFF2-40B4-BE49-F238E27FC236}">
                  <a16:creationId xmlns:a16="http://schemas.microsoft.com/office/drawing/2014/main" id="{95045055-E0EB-4E85-A934-5E4F07BE3446}"/>
                </a:ext>
              </a:extLst>
            </p:cNvPr>
            <p:cNvSpPr>
              <a:spLocks/>
            </p:cNvSpPr>
            <p:nvPr/>
          </p:nvSpPr>
          <p:spPr bwMode="auto">
            <a:xfrm>
              <a:off x="8278804" y="7836722"/>
              <a:ext cx="398463" cy="341313"/>
            </a:xfrm>
            <a:custGeom>
              <a:avLst/>
              <a:gdLst>
                <a:gd name="T0" fmla="*/ 96 w 106"/>
                <a:gd name="T1" fmla="*/ 1 h 91"/>
                <a:gd name="T2" fmla="*/ 85 w 106"/>
                <a:gd name="T3" fmla="*/ 4 h 91"/>
                <a:gd name="T4" fmla="*/ 83 w 106"/>
                <a:gd name="T5" fmla="*/ 4 h 91"/>
                <a:gd name="T6" fmla="*/ 81 w 106"/>
                <a:gd name="T7" fmla="*/ 5 h 91"/>
                <a:gd name="T8" fmla="*/ 78 w 106"/>
                <a:gd name="T9" fmla="*/ 6 h 91"/>
                <a:gd name="T10" fmla="*/ 70 w 106"/>
                <a:gd name="T11" fmla="*/ 4 h 91"/>
                <a:gd name="T12" fmla="*/ 67 w 106"/>
                <a:gd name="T13" fmla="*/ 2 h 91"/>
                <a:gd name="T14" fmla="*/ 66 w 106"/>
                <a:gd name="T15" fmla="*/ 3 h 91"/>
                <a:gd name="T16" fmla="*/ 63 w 106"/>
                <a:gd name="T17" fmla="*/ 7 h 91"/>
                <a:gd name="T18" fmla="*/ 61 w 106"/>
                <a:gd name="T19" fmla="*/ 13 h 91"/>
                <a:gd name="T20" fmla="*/ 58 w 106"/>
                <a:gd name="T21" fmla="*/ 15 h 91"/>
                <a:gd name="T22" fmla="*/ 51 w 106"/>
                <a:gd name="T23" fmla="*/ 21 h 91"/>
                <a:gd name="T24" fmla="*/ 46 w 106"/>
                <a:gd name="T25" fmla="*/ 25 h 91"/>
                <a:gd name="T26" fmla="*/ 40 w 106"/>
                <a:gd name="T27" fmla="*/ 21 h 91"/>
                <a:gd name="T28" fmla="*/ 39 w 106"/>
                <a:gd name="T29" fmla="*/ 21 h 91"/>
                <a:gd name="T30" fmla="*/ 31 w 106"/>
                <a:gd name="T31" fmla="*/ 27 h 91"/>
                <a:gd name="T32" fmla="*/ 27 w 106"/>
                <a:gd name="T33" fmla="*/ 26 h 91"/>
                <a:gd name="T34" fmla="*/ 25 w 106"/>
                <a:gd name="T35" fmla="*/ 27 h 91"/>
                <a:gd name="T36" fmla="*/ 26 w 106"/>
                <a:gd name="T37" fmla="*/ 31 h 91"/>
                <a:gd name="T38" fmla="*/ 25 w 106"/>
                <a:gd name="T39" fmla="*/ 37 h 91"/>
                <a:gd name="T40" fmla="*/ 22 w 106"/>
                <a:gd name="T41" fmla="*/ 38 h 91"/>
                <a:gd name="T42" fmla="*/ 20 w 106"/>
                <a:gd name="T43" fmla="*/ 41 h 91"/>
                <a:gd name="T44" fmla="*/ 12 w 106"/>
                <a:gd name="T45" fmla="*/ 45 h 91"/>
                <a:gd name="T46" fmla="*/ 10 w 106"/>
                <a:gd name="T47" fmla="*/ 45 h 91"/>
                <a:gd name="T48" fmla="*/ 8 w 106"/>
                <a:gd name="T49" fmla="*/ 44 h 91"/>
                <a:gd name="T50" fmla="*/ 4 w 106"/>
                <a:gd name="T51" fmla="*/ 40 h 91"/>
                <a:gd name="T52" fmla="*/ 14 w 106"/>
                <a:gd name="T53" fmla="*/ 55 h 91"/>
                <a:gd name="T54" fmla="*/ 25 w 106"/>
                <a:gd name="T55" fmla="*/ 65 h 91"/>
                <a:gd name="T56" fmla="*/ 46 w 106"/>
                <a:gd name="T57" fmla="*/ 84 h 91"/>
                <a:gd name="T58" fmla="*/ 47 w 106"/>
                <a:gd name="T59" fmla="*/ 83 h 91"/>
                <a:gd name="T60" fmla="*/ 50 w 106"/>
                <a:gd name="T61" fmla="*/ 81 h 91"/>
                <a:gd name="T62" fmla="*/ 51 w 106"/>
                <a:gd name="T63" fmla="*/ 82 h 91"/>
                <a:gd name="T64" fmla="*/ 53 w 106"/>
                <a:gd name="T65" fmla="*/ 82 h 91"/>
                <a:gd name="T66" fmla="*/ 43 w 106"/>
                <a:gd name="T67" fmla="*/ 69 h 91"/>
                <a:gd name="T68" fmla="*/ 49 w 106"/>
                <a:gd name="T69" fmla="*/ 64 h 91"/>
                <a:gd name="T70" fmla="*/ 73 w 106"/>
                <a:gd name="T71" fmla="*/ 86 h 91"/>
                <a:gd name="T72" fmla="*/ 74 w 106"/>
                <a:gd name="T73" fmla="*/ 86 h 91"/>
                <a:gd name="T74" fmla="*/ 82 w 106"/>
                <a:gd name="T75" fmla="*/ 90 h 91"/>
                <a:gd name="T76" fmla="*/ 89 w 106"/>
                <a:gd name="T77" fmla="*/ 91 h 91"/>
                <a:gd name="T78" fmla="*/ 91 w 106"/>
                <a:gd name="T79" fmla="*/ 91 h 91"/>
                <a:gd name="T80" fmla="*/ 92 w 106"/>
                <a:gd name="T81" fmla="*/ 89 h 91"/>
                <a:gd name="T82" fmla="*/ 95 w 106"/>
                <a:gd name="T83" fmla="*/ 75 h 91"/>
                <a:gd name="T84" fmla="*/ 94 w 106"/>
                <a:gd name="T85" fmla="*/ 66 h 91"/>
                <a:gd name="T86" fmla="*/ 92 w 106"/>
                <a:gd name="T87" fmla="*/ 54 h 91"/>
                <a:gd name="T88" fmla="*/ 97 w 106"/>
                <a:gd name="T89" fmla="*/ 49 h 91"/>
                <a:gd name="T90" fmla="*/ 96 w 106"/>
                <a:gd name="T91" fmla="*/ 57 h 91"/>
                <a:gd name="T92" fmla="*/ 98 w 106"/>
                <a:gd name="T93" fmla="*/ 49 h 91"/>
                <a:gd name="T94" fmla="*/ 103 w 106"/>
                <a:gd name="T95" fmla="*/ 15 h 91"/>
                <a:gd name="T96" fmla="*/ 101 w 106"/>
                <a:gd name="T9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91">
                  <a:moveTo>
                    <a:pt x="101" y="0"/>
                  </a:moveTo>
                  <a:cubicBezTo>
                    <a:pt x="100" y="0"/>
                    <a:pt x="98" y="0"/>
                    <a:pt x="96" y="1"/>
                  </a:cubicBezTo>
                  <a:cubicBezTo>
                    <a:pt x="93" y="2"/>
                    <a:pt x="93" y="2"/>
                    <a:pt x="93" y="2"/>
                  </a:cubicBezTo>
                  <a:cubicBezTo>
                    <a:pt x="90" y="2"/>
                    <a:pt x="87" y="3"/>
                    <a:pt x="85" y="4"/>
                  </a:cubicBezTo>
                  <a:cubicBezTo>
                    <a:pt x="84" y="4"/>
                    <a:pt x="84" y="4"/>
                    <a:pt x="84" y="4"/>
                  </a:cubicBezTo>
                  <a:cubicBezTo>
                    <a:pt x="83" y="4"/>
                    <a:pt x="83" y="4"/>
                    <a:pt x="83" y="4"/>
                  </a:cubicBezTo>
                  <a:cubicBezTo>
                    <a:pt x="82" y="4"/>
                    <a:pt x="82" y="4"/>
                    <a:pt x="82" y="4"/>
                  </a:cubicBezTo>
                  <a:cubicBezTo>
                    <a:pt x="82" y="4"/>
                    <a:pt x="82" y="5"/>
                    <a:pt x="81" y="5"/>
                  </a:cubicBezTo>
                  <a:cubicBezTo>
                    <a:pt x="81" y="5"/>
                    <a:pt x="80" y="5"/>
                    <a:pt x="79" y="6"/>
                  </a:cubicBezTo>
                  <a:cubicBezTo>
                    <a:pt x="78" y="6"/>
                    <a:pt x="78" y="6"/>
                    <a:pt x="78" y="6"/>
                  </a:cubicBezTo>
                  <a:cubicBezTo>
                    <a:pt x="78" y="6"/>
                    <a:pt x="77" y="6"/>
                    <a:pt x="77" y="6"/>
                  </a:cubicBezTo>
                  <a:cubicBezTo>
                    <a:pt x="74" y="6"/>
                    <a:pt x="72" y="5"/>
                    <a:pt x="70" y="4"/>
                  </a:cubicBezTo>
                  <a:cubicBezTo>
                    <a:pt x="70" y="3"/>
                    <a:pt x="70" y="3"/>
                    <a:pt x="70" y="3"/>
                  </a:cubicBezTo>
                  <a:cubicBezTo>
                    <a:pt x="69" y="3"/>
                    <a:pt x="68" y="2"/>
                    <a:pt x="67" y="2"/>
                  </a:cubicBezTo>
                  <a:cubicBezTo>
                    <a:pt x="67" y="2"/>
                    <a:pt x="67" y="2"/>
                    <a:pt x="67" y="2"/>
                  </a:cubicBezTo>
                  <a:cubicBezTo>
                    <a:pt x="66" y="2"/>
                    <a:pt x="66" y="3"/>
                    <a:pt x="66" y="3"/>
                  </a:cubicBezTo>
                  <a:cubicBezTo>
                    <a:pt x="66" y="4"/>
                    <a:pt x="66" y="5"/>
                    <a:pt x="65" y="6"/>
                  </a:cubicBezTo>
                  <a:cubicBezTo>
                    <a:pt x="64" y="7"/>
                    <a:pt x="64" y="7"/>
                    <a:pt x="63" y="7"/>
                  </a:cubicBezTo>
                  <a:cubicBezTo>
                    <a:pt x="63" y="8"/>
                    <a:pt x="63" y="9"/>
                    <a:pt x="63" y="10"/>
                  </a:cubicBezTo>
                  <a:cubicBezTo>
                    <a:pt x="63" y="11"/>
                    <a:pt x="62" y="12"/>
                    <a:pt x="61" y="13"/>
                  </a:cubicBezTo>
                  <a:cubicBezTo>
                    <a:pt x="60" y="13"/>
                    <a:pt x="59" y="14"/>
                    <a:pt x="58" y="15"/>
                  </a:cubicBezTo>
                  <a:cubicBezTo>
                    <a:pt x="58" y="15"/>
                    <a:pt x="58" y="15"/>
                    <a:pt x="58" y="15"/>
                  </a:cubicBezTo>
                  <a:cubicBezTo>
                    <a:pt x="56" y="16"/>
                    <a:pt x="54" y="18"/>
                    <a:pt x="52" y="19"/>
                  </a:cubicBezTo>
                  <a:cubicBezTo>
                    <a:pt x="52" y="20"/>
                    <a:pt x="51" y="20"/>
                    <a:pt x="51" y="21"/>
                  </a:cubicBezTo>
                  <a:cubicBezTo>
                    <a:pt x="51" y="21"/>
                    <a:pt x="51" y="21"/>
                    <a:pt x="51" y="21"/>
                  </a:cubicBezTo>
                  <a:cubicBezTo>
                    <a:pt x="50" y="23"/>
                    <a:pt x="49" y="25"/>
                    <a:pt x="46" y="25"/>
                  </a:cubicBezTo>
                  <a:cubicBezTo>
                    <a:pt x="45" y="25"/>
                    <a:pt x="44" y="24"/>
                    <a:pt x="43" y="24"/>
                  </a:cubicBezTo>
                  <a:cubicBezTo>
                    <a:pt x="42" y="23"/>
                    <a:pt x="41" y="22"/>
                    <a:pt x="40" y="21"/>
                  </a:cubicBezTo>
                  <a:cubicBezTo>
                    <a:pt x="39" y="21"/>
                    <a:pt x="39" y="21"/>
                    <a:pt x="39" y="21"/>
                  </a:cubicBezTo>
                  <a:cubicBezTo>
                    <a:pt x="39" y="21"/>
                    <a:pt x="39" y="21"/>
                    <a:pt x="39" y="21"/>
                  </a:cubicBezTo>
                  <a:cubicBezTo>
                    <a:pt x="37" y="22"/>
                    <a:pt x="36" y="24"/>
                    <a:pt x="35" y="25"/>
                  </a:cubicBezTo>
                  <a:cubicBezTo>
                    <a:pt x="34" y="26"/>
                    <a:pt x="32" y="27"/>
                    <a:pt x="31" y="27"/>
                  </a:cubicBezTo>
                  <a:cubicBezTo>
                    <a:pt x="30" y="27"/>
                    <a:pt x="29" y="27"/>
                    <a:pt x="29" y="26"/>
                  </a:cubicBezTo>
                  <a:cubicBezTo>
                    <a:pt x="28" y="26"/>
                    <a:pt x="28" y="26"/>
                    <a:pt x="27" y="26"/>
                  </a:cubicBezTo>
                  <a:cubicBezTo>
                    <a:pt x="27" y="26"/>
                    <a:pt x="26" y="26"/>
                    <a:pt x="25" y="26"/>
                  </a:cubicBezTo>
                  <a:cubicBezTo>
                    <a:pt x="25" y="27"/>
                    <a:pt x="25" y="27"/>
                    <a:pt x="25" y="27"/>
                  </a:cubicBezTo>
                  <a:cubicBezTo>
                    <a:pt x="26" y="28"/>
                    <a:pt x="26" y="29"/>
                    <a:pt x="26" y="30"/>
                  </a:cubicBezTo>
                  <a:cubicBezTo>
                    <a:pt x="26" y="31"/>
                    <a:pt x="26" y="31"/>
                    <a:pt x="26" y="31"/>
                  </a:cubicBezTo>
                  <a:cubicBezTo>
                    <a:pt x="27" y="32"/>
                    <a:pt x="27" y="32"/>
                    <a:pt x="27" y="33"/>
                  </a:cubicBezTo>
                  <a:cubicBezTo>
                    <a:pt x="27" y="35"/>
                    <a:pt x="26" y="36"/>
                    <a:pt x="25" y="37"/>
                  </a:cubicBezTo>
                  <a:cubicBezTo>
                    <a:pt x="24" y="38"/>
                    <a:pt x="24" y="38"/>
                    <a:pt x="24" y="38"/>
                  </a:cubicBezTo>
                  <a:cubicBezTo>
                    <a:pt x="23" y="38"/>
                    <a:pt x="23" y="38"/>
                    <a:pt x="22" y="38"/>
                  </a:cubicBezTo>
                  <a:cubicBezTo>
                    <a:pt x="22" y="38"/>
                    <a:pt x="22" y="38"/>
                    <a:pt x="22" y="38"/>
                  </a:cubicBezTo>
                  <a:cubicBezTo>
                    <a:pt x="22" y="39"/>
                    <a:pt x="21" y="40"/>
                    <a:pt x="20" y="41"/>
                  </a:cubicBezTo>
                  <a:cubicBezTo>
                    <a:pt x="19" y="42"/>
                    <a:pt x="19" y="42"/>
                    <a:pt x="19" y="42"/>
                  </a:cubicBezTo>
                  <a:cubicBezTo>
                    <a:pt x="17" y="44"/>
                    <a:pt x="15" y="45"/>
                    <a:pt x="12" y="45"/>
                  </a:cubicBezTo>
                  <a:cubicBezTo>
                    <a:pt x="11" y="45"/>
                    <a:pt x="11" y="45"/>
                    <a:pt x="11" y="45"/>
                  </a:cubicBezTo>
                  <a:cubicBezTo>
                    <a:pt x="10" y="45"/>
                    <a:pt x="10" y="45"/>
                    <a:pt x="10" y="45"/>
                  </a:cubicBezTo>
                  <a:cubicBezTo>
                    <a:pt x="9" y="44"/>
                    <a:pt x="9" y="44"/>
                    <a:pt x="9" y="44"/>
                  </a:cubicBezTo>
                  <a:cubicBezTo>
                    <a:pt x="8" y="44"/>
                    <a:pt x="8" y="44"/>
                    <a:pt x="8" y="44"/>
                  </a:cubicBezTo>
                  <a:cubicBezTo>
                    <a:pt x="8" y="44"/>
                    <a:pt x="8" y="44"/>
                    <a:pt x="8" y="44"/>
                  </a:cubicBezTo>
                  <a:cubicBezTo>
                    <a:pt x="6" y="43"/>
                    <a:pt x="6" y="41"/>
                    <a:pt x="4" y="40"/>
                  </a:cubicBezTo>
                  <a:cubicBezTo>
                    <a:pt x="3" y="42"/>
                    <a:pt x="0" y="43"/>
                    <a:pt x="2" y="45"/>
                  </a:cubicBezTo>
                  <a:cubicBezTo>
                    <a:pt x="6" y="48"/>
                    <a:pt x="10" y="52"/>
                    <a:pt x="14" y="55"/>
                  </a:cubicBezTo>
                  <a:cubicBezTo>
                    <a:pt x="17" y="56"/>
                    <a:pt x="19" y="58"/>
                    <a:pt x="21" y="60"/>
                  </a:cubicBezTo>
                  <a:cubicBezTo>
                    <a:pt x="23" y="61"/>
                    <a:pt x="24" y="63"/>
                    <a:pt x="25" y="65"/>
                  </a:cubicBezTo>
                  <a:cubicBezTo>
                    <a:pt x="29" y="73"/>
                    <a:pt x="38" y="79"/>
                    <a:pt x="45" y="85"/>
                  </a:cubicBezTo>
                  <a:cubicBezTo>
                    <a:pt x="46" y="84"/>
                    <a:pt x="46" y="84"/>
                    <a:pt x="46" y="84"/>
                  </a:cubicBezTo>
                  <a:cubicBezTo>
                    <a:pt x="46" y="83"/>
                    <a:pt x="46" y="83"/>
                    <a:pt x="46" y="83"/>
                  </a:cubicBezTo>
                  <a:cubicBezTo>
                    <a:pt x="47" y="83"/>
                    <a:pt x="47" y="83"/>
                    <a:pt x="47" y="83"/>
                  </a:cubicBezTo>
                  <a:cubicBezTo>
                    <a:pt x="48" y="82"/>
                    <a:pt x="48" y="82"/>
                    <a:pt x="48" y="82"/>
                  </a:cubicBezTo>
                  <a:cubicBezTo>
                    <a:pt x="48" y="82"/>
                    <a:pt x="49" y="81"/>
                    <a:pt x="50" y="81"/>
                  </a:cubicBezTo>
                  <a:cubicBezTo>
                    <a:pt x="50" y="81"/>
                    <a:pt x="50" y="82"/>
                    <a:pt x="50" y="82"/>
                  </a:cubicBezTo>
                  <a:cubicBezTo>
                    <a:pt x="50" y="82"/>
                    <a:pt x="51" y="82"/>
                    <a:pt x="51" y="82"/>
                  </a:cubicBezTo>
                  <a:cubicBezTo>
                    <a:pt x="51" y="82"/>
                    <a:pt x="52" y="82"/>
                    <a:pt x="52" y="82"/>
                  </a:cubicBezTo>
                  <a:cubicBezTo>
                    <a:pt x="53" y="82"/>
                    <a:pt x="53" y="82"/>
                    <a:pt x="53" y="82"/>
                  </a:cubicBezTo>
                  <a:cubicBezTo>
                    <a:pt x="50" y="81"/>
                    <a:pt x="48" y="80"/>
                    <a:pt x="46" y="77"/>
                  </a:cubicBezTo>
                  <a:cubicBezTo>
                    <a:pt x="44" y="75"/>
                    <a:pt x="44" y="72"/>
                    <a:pt x="43" y="69"/>
                  </a:cubicBezTo>
                  <a:cubicBezTo>
                    <a:pt x="43" y="66"/>
                    <a:pt x="43" y="63"/>
                    <a:pt x="46" y="63"/>
                  </a:cubicBezTo>
                  <a:cubicBezTo>
                    <a:pt x="47" y="63"/>
                    <a:pt x="48" y="63"/>
                    <a:pt x="49" y="64"/>
                  </a:cubicBezTo>
                  <a:cubicBezTo>
                    <a:pt x="54" y="65"/>
                    <a:pt x="71" y="80"/>
                    <a:pt x="69" y="86"/>
                  </a:cubicBezTo>
                  <a:cubicBezTo>
                    <a:pt x="70" y="86"/>
                    <a:pt x="72" y="86"/>
                    <a:pt x="73" y="86"/>
                  </a:cubicBezTo>
                  <a:cubicBezTo>
                    <a:pt x="73" y="86"/>
                    <a:pt x="74" y="86"/>
                    <a:pt x="74" y="86"/>
                  </a:cubicBezTo>
                  <a:cubicBezTo>
                    <a:pt x="74" y="86"/>
                    <a:pt x="74" y="86"/>
                    <a:pt x="74" y="86"/>
                  </a:cubicBezTo>
                  <a:cubicBezTo>
                    <a:pt x="76" y="86"/>
                    <a:pt x="78" y="87"/>
                    <a:pt x="81" y="89"/>
                  </a:cubicBezTo>
                  <a:cubicBezTo>
                    <a:pt x="82" y="90"/>
                    <a:pt x="82" y="90"/>
                    <a:pt x="82" y="90"/>
                  </a:cubicBezTo>
                  <a:cubicBezTo>
                    <a:pt x="84" y="91"/>
                    <a:pt x="85" y="91"/>
                    <a:pt x="87" y="91"/>
                  </a:cubicBezTo>
                  <a:cubicBezTo>
                    <a:pt x="89" y="91"/>
                    <a:pt x="89" y="91"/>
                    <a:pt x="89" y="91"/>
                  </a:cubicBezTo>
                  <a:cubicBezTo>
                    <a:pt x="90" y="91"/>
                    <a:pt x="90" y="91"/>
                    <a:pt x="90" y="91"/>
                  </a:cubicBezTo>
                  <a:cubicBezTo>
                    <a:pt x="91" y="91"/>
                    <a:pt x="91" y="91"/>
                    <a:pt x="91" y="91"/>
                  </a:cubicBezTo>
                  <a:cubicBezTo>
                    <a:pt x="91" y="91"/>
                    <a:pt x="91" y="91"/>
                    <a:pt x="91" y="91"/>
                  </a:cubicBezTo>
                  <a:cubicBezTo>
                    <a:pt x="91" y="91"/>
                    <a:pt x="92" y="90"/>
                    <a:pt x="92" y="89"/>
                  </a:cubicBezTo>
                  <a:cubicBezTo>
                    <a:pt x="91" y="87"/>
                    <a:pt x="90" y="84"/>
                    <a:pt x="90" y="82"/>
                  </a:cubicBezTo>
                  <a:cubicBezTo>
                    <a:pt x="90" y="80"/>
                    <a:pt x="92" y="75"/>
                    <a:pt x="95" y="75"/>
                  </a:cubicBezTo>
                  <a:cubicBezTo>
                    <a:pt x="91" y="68"/>
                    <a:pt x="90" y="70"/>
                    <a:pt x="92" y="62"/>
                  </a:cubicBezTo>
                  <a:cubicBezTo>
                    <a:pt x="93" y="63"/>
                    <a:pt x="94" y="65"/>
                    <a:pt x="94" y="66"/>
                  </a:cubicBezTo>
                  <a:cubicBezTo>
                    <a:pt x="95" y="62"/>
                    <a:pt x="94" y="59"/>
                    <a:pt x="93" y="55"/>
                  </a:cubicBezTo>
                  <a:cubicBezTo>
                    <a:pt x="93" y="54"/>
                    <a:pt x="92" y="54"/>
                    <a:pt x="92" y="54"/>
                  </a:cubicBezTo>
                  <a:cubicBezTo>
                    <a:pt x="92" y="54"/>
                    <a:pt x="92" y="54"/>
                    <a:pt x="92" y="54"/>
                  </a:cubicBezTo>
                  <a:cubicBezTo>
                    <a:pt x="92" y="52"/>
                    <a:pt x="96" y="52"/>
                    <a:pt x="97" y="49"/>
                  </a:cubicBezTo>
                  <a:cubicBezTo>
                    <a:pt x="97" y="52"/>
                    <a:pt x="96" y="54"/>
                    <a:pt x="96" y="57"/>
                  </a:cubicBezTo>
                  <a:cubicBezTo>
                    <a:pt x="96" y="57"/>
                    <a:pt x="96" y="57"/>
                    <a:pt x="96" y="57"/>
                  </a:cubicBezTo>
                  <a:cubicBezTo>
                    <a:pt x="96" y="57"/>
                    <a:pt x="97" y="57"/>
                    <a:pt x="97" y="57"/>
                  </a:cubicBezTo>
                  <a:cubicBezTo>
                    <a:pt x="100" y="57"/>
                    <a:pt x="98" y="50"/>
                    <a:pt x="98" y="49"/>
                  </a:cubicBezTo>
                  <a:cubicBezTo>
                    <a:pt x="98" y="41"/>
                    <a:pt x="99" y="36"/>
                    <a:pt x="100" y="28"/>
                  </a:cubicBezTo>
                  <a:cubicBezTo>
                    <a:pt x="101" y="24"/>
                    <a:pt x="102" y="19"/>
                    <a:pt x="103" y="15"/>
                  </a:cubicBezTo>
                  <a:cubicBezTo>
                    <a:pt x="104" y="14"/>
                    <a:pt x="105" y="13"/>
                    <a:pt x="105" y="12"/>
                  </a:cubicBezTo>
                  <a:cubicBezTo>
                    <a:pt x="106" y="9"/>
                    <a:pt x="104" y="1"/>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8" name="Rectangle 351">
              <a:extLst>
                <a:ext uri="{FF2B5EF4-FFF2-40B4-BE49-F238E27FC236}">
                  <a16:creationId xmlns:a16="http://schemas.microsoft.com/office/drawing/2014/main" id="{6E5FCEE9-2F8D-4230-AF20-93CAE48A1135}"/>
                </a:ext>
              </a:extLst>
            </p:cNvPr>
            <p:cNvSpPr>
              <a:spLocks noChangeArrowheads="1"/>
            </p:cNvSpPr>
            <p:nvPr/>
          </p:nvSpPr>
          <p:spPr bwMode="auto">
            <a:xfrm>
              <a:off x="8099416" y="7903397"/>
              <a:ext cx="15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9" name="Freeform 352">
              <a:extLst>
                <a:ext uri="{FF2B5EF4-FFF2-40B4-BE49-F238E27FC236}">
                  <a16:creationId xmlns:a16="http://schemas.microsoft.com/office/drawing/2014/main" id="{90C10320-2F5B-47E8-B0C3-E0CE8BEADE33}"/>
                </a:ext>
              </a:extLst>
            </p:cNvPr>
            <p:cNvSpPr>
              <a:spLocks/>
            </p:cNvSpPr>
            <p:nvPr/>
          </p:nvSpPr>
          <p:spPr bwMode="auto">
            <a:xfrm>
              <a:off x="8099416" y="7903397"/>
              <a:ext cx="0" cy="4763"/>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0" name="Freeform 353">
              <a:extLst>
                <a:ext uri="{FF2B5EF4-FFF2-40B4-BE49-F238E27FC236}">
                  <a16:creationId xmlns:a16="http://schemas.microsoft.com/office/drawing/2014/main" id="{F200CEA7-1EB5-4A4A-8008-6030D1D94C4F}"/>
                </a:ext>
              </a:extLst>
            </p:cNvPr>
            <p:cNvSpPr>
              <a:spLocks/>
            </p:cNvSpPr>
            <p:nvPr/>
          </p:nvSpPr>
          <p:spPr bwMode="auto">
            <a:xfrm>
              <a:off x="8132754" y="7877997"/>
              <a:ext cx="3175"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1" name="Freeform 354">
              <a:extLst>
                <a:ext uri="{FF2B5EF4-FFF2-40B4-BE49-F238E27FC236}">
                  <a16:creationId xmlns:a16="http://schemas.microsoft.com/office/drawing/2014/main" id="{4D3C42CC-F950-442D-8C1C-3899119795FF}"/>
                </a:ext>
              </a:extLst>
            </p:cNvPr>
            <p:cNvSpPr>
              <a:spLocks/>
            </p:cNvSpPr>
            <p:nvPr/>
          </p:nvSpPr>
          <p:spPr bwMode="auto">
            <a:xfrm>
              <a:off x="8132754" y="7877997"/>
              <a:ext cx="3175"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2" name="Freeform 355">
              <a:extLst>
                <a:ext uri="{FF2B5EF4-FFF2-40B4-BE49-F238E27FC236}">
                  <a16:creationId xmlns:a16="http://schemas.microsoft.com/office/drawing/2014/main" id="{A162F594-16CB-4EDB-88FF-C3B21A4EF5C5}"/>
                </a:ext>
              </a:extLst>
            </p:cNvPr>
            <p:cNvSpPr>
              <a:spLocks/>
            </p:cNvSpPr>
            <p:nvPr/>
          </p:nvSpPr>
          <p:spPr bwMode="auto">
            <a:xfrm>
              <a:off x="8083541" y="7877997"/>
              <a:ext cx="187325" cy="101600"/>
            </a:xfrm>
            <a:custGeom>
              <a:avLst/>
              <a:gdLst>
                <a:gd name="T0" fmla="*/ 16 w 50"/>
                <a:gd name="T1" fmla="*/ 0 h 27"/>
                <a:gd name="T2" fmla="*/ 15 w 50"/>
                <a:gd name="T3" fmla="*/ 1 h 27"/>
                <a:gd name="T4" fmla="*/ 15 w 50"/>
                <a:gd name="T5" fmla="*/ 0 h 27"/>
                <a:gd name="T6" fmla="*/ 13 w 50"/>
                <a:gd name="T7" fmla="*/ 1 h 27"/>
                <a:gd name="T8" fmla="*/ 13 w 50"/>
                <a:gd name="T9" fmla="*/ 3 h 27"/>
                <a:gd name="T10" fmla="*/ 9 w 50"/>
                <a:gd name="T11" fmla="*/ 6 h 27"/>
                <a:gd name="T12" fmla="*/ 8 w 50"/>
                <a:gd name="T13" fmla="*/ 6 h 27"/>
                <a:gd name="T14" fmla="*/ 8 w 50"/>
                <a:gd name="T15" fmla="*/ 6 h 27"/>
                <a:gd name="T16" fmla="*/ 8 w 50"/>
                <a:gd name="T17" fmla="*/ 6 h 27"/>
                <a:gd name="T18" fmla="*/ 9 w 50"/>
                <a:gd name="T19" fmla="*/ 14 h 27"/>
                <a:gd name="T20" fmla="*/ 4 w 50"/>
                <a:gd name="T21" fmla="*/ 9 h 27"/>
                <a:gd name="T22" fmla="*/ 4 w 50"/>
                <a:gd name="T23" fmla="*/ 9 h 27"/>
                <a:gd name="T24" fmla="*/ 2 w 50"/>
                <a:gd name="T25" fmla="*/ 10 h 27"/>
                <a:gd name="T26" fmla="*/ 0 w 50"/>
                <a:gd name="T27" fmla="*/ 14 h 27"/>
                <a:gd name="T28" fmla="*/ 0 w 50"/>
                <a:gd name="T29" fmla="*/ 15 h 27"/>
                <a:gd name="T30" fmla="*/ 12 w 50"/>
                <a:gd name="T31" fmla="*/ 19 h 27"/>
                <a:gd name="T32" fmla="*/ 27 w 50"/>
                <a:gd name="T33" fmla="*/ 25 h 27"/>
                <a:gd name="T34" fmla="*/ 43 w 50"/>
                <a:gd name="T35" fmla="*/ 27 h 27"/>
                <a:gd name="T36" fmla="*/ 47 w 50"/>
                <a:gd name="T37" fmla="*/ 27 h 27"/>
                <a:gd name="T38" fmla="*/ 48 w 50"/>
                <a:gd name="T39" fmla="*/ 27 h 27"/>
                <a:gd name="T40" fmla="*/ 50 w 50"/>
                <a:gd name="T41" fmla="*/ 23 h 27"/>
                <a:gd name="T42" fmla="*/ 49 w 50"/>
                <a:gd name="T43" fmla="*/ 23 h 27"/>
                <a:gd name="T44" fmla="*/ 49 w 50"/>
                <a:gd name="T45" fmla="*/ 22 h 27"/>
                <a:gd name="T46" fmla="*/ 49 w 50"/>
                <a:gd name="T47" fmla="*/ 20 h 27"/>
                <a:gd name="T48" fmla="*/ 49 w 50"/>
                <a:gd name="T49" fmla="*/ 20 h 27"/>
                <a:gd name="T50" fmla="*/ 49 w 50"/>
                <a:gd name="T51" fmla="*/ 16 h 27"/>
                <a:gd name="T52" fmla="*/ 49 w 50"/>
                <a:gd name="T53" fmla="*/ 15 h 27"/>
                <a:gd name="T54" fmla="*/ 50 w 50"/>
                <a:gd name="T55" fmla="*/ 13 h 27"/>
                <a:gd name="T56" fmla="*/ 49 w 50"/>
                <a:gd name="T57" fmla="*/ 13 h 27"/>
                <a:gd name="T58" fmla="*/ 48 w 50"/>
                <a:gd name="T59" fmla="*/ 13 h 27"/>
                <a:gd name="T60" fmla="*/ 48 w 50"/>
                <a:gd name="T61" fmla="*/ 13 h 27"/>
                <a:gd name="T62" fmla="*/ 47 w 50"/>
                <a:gd name="T63" fmla="*/ 13 h 27"/>
                <a:gd name="T64" fmla="*/ 47 w 50"/>
                <a:gd name="T65" fmla="*/ 13 h 27"/>
                <a:gd name="T66" fmla="*/ 46 w 50"/>
                <a:gd name="T67" fmla="*/ 12 h 27"/>
                <a:gd name="T68" fmla="*/ 43 w 50"/>
                <a:gd name="T69" fmla="*/ 11 h 27"/>
                <a:gd name="T70" fmla="*/ 43 w 50"/>
                <a:gd name="T71" fmla="*/ 10 h 27"/>
                <a:gd name="T72" fmla="*/ 42 w 50"/>
                <a:gd name="T73" fmla="*/ 10 h 27"/>
                <a:gd name="T74" fmla="*/ 42 w 50"/>
                <a:gd name="T75" fmla="*/ 10 h 27"/>
                <a:gd name="T76" fmla="*/ 41 w 50"/>
                <a:gd name="T77" fmla="*/ 11 h 27"/>
                <a:gd name="T78" fmla="*/ 39 w 50"/>
                <a:gd name="T79" fmla="*/ 12 h 27"/>
                <a:gd name="T80" fmla="*/ 37 w 50"/>
                <a:gd name="T81" fmla="*/ 13 h 27"/>
                <a:gd name="T82" fmla="*/ 35 w 50"/>
                <a:gd name="T83" fmla="*/ 13 h 27"/>
                <a:gd name="T84" fmla="*/ 31 w 50"/>
                <a:gd name="T85" fmla="*/ 14 h 27"/>
                <a:gd name="T86" fmla="*/ 32 w 50"/>
                <a:gd name="T87" fmla="*/ 10 h 27"/>
                <a:gd name="T88" fmla="*/ 31 w 50"/>
                <a:gd name="T89" fmla="*/ 10 h 27"/>
                <a:gd name="T90" fmla="*/ 30 w 50"/>
                <a:gd name="T91" fmla="*/ 10 h 27"/>
                <a:gd name="T92" fmla="*/ 27 w 50"/>
                <a:gd name="T93" fmla="*/ 7 h 27"/>
                <a:gd name="T94" fmla="*/ 27 w 50"/>
                <a:gd name="T95" fmla="*/ 7 h 27"/>
                <a:gd name="T96" fmla="*/ 25 w 50"/>
                <a:gd name="T97" fmla="*/ 6 h 27"/>
                <a:gd name="T98" fmla="*/ 21 w 50"/>
                <a:gd name="T99" fmla="*/ 10 h 27"/>
                <a:gd name="T100" fmla="*/ 24 w 50"/>
                <a:gd name="T101" fmla="*/ 5 h 27"/>
                <a:gd name="T102" fmla="*/ 21 w 50"/>
                <a:gd name="T103" fmla="*/ 3 h 27"/>
                <a:gd name="T104" fmla="*/ 19 w 50"/>
                <a:gd name="T105" fmla="*/ 1 h 27"/>
                <a:gd name="T106" fmla="*/ 19 w 50"/>
                <a:gd name="T107" fmla="*/ 1 h 27"/>
                <a:gd name="T108" fmla="*/ 16 w 50"/>
                <a:gd name="T109" fmla="*/ 0 h 27"/>
                <a:gd name="T110" fmla="*/ 16 w 50"/>
                <a:gd name="T11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27">
                  <a:moveTo>
                    <a:pt x="16" y="0"/>
                  </a:moveTo>
                  <a:cubicBezTo>
                    <a:pt x="15" y="1"/>
                    <a:pt x="15" y="1"/>
                    <a:pt x="15" y="1"/>
                  </a:cubicBezTo>
                  <a:cubicBezTo>
                    <a:pt x="15" y="0"/>
                    <a:pt x="15" y="0"/>
                    <a:pt x="15" y="0"/>
                  </a:cubicBezTo>
                  <a:cubicBezTo>
                    <a:pt x="13" y="1"/>
                    <a:pt x="13" y="1"/>
                    <a:pt x="13" y="1"/>
                  </a:cubicBezTo>
                  <a:cubicBezTo>
                    <a:pt x="13" y="2"/>
                    <a:pt x="13" y="2"/>
                    <a:pt x="13" y="3"/>
                  </a:cubicBezTo>
                  <a:cubicBezTo>
                    <a:pt x="12" y="5"/>
                    <a:pt x="10" y="6"/>
                    <a:pt x="9" y="6"/>
                  </a:cubicBezTo>
                  <a:cubicBezTo>
                    <a:pt x="8" y="6"/>
                    <a:pt x="8" y="6"/>
                    <a:pt x="8" y="6"/>
                  </a:cubicBezTo>
                  <a:cubicBezTo>
                    <a:pt x="8" y="6"/>
                    <a:pt x="8" y="6"/>
                    <a:pt x="8" y="6"/>
                  </a:cubicBezTo>
                  <a:cubicBezTo>
                    <a:pt x="8" y="6"/>
                    <a:pt x="8" y="6"/>
                    <a:pt x="8" y="6"/>
                  </a:cubicBezTo>
                  <a:cubicBezTo>
                    <a:pt x="9" y="14"/>
                    <a:pt x="9" y="14"/>
                    <a:pt x="9" y="14"/>
                  </a:cubicBezTo>
                  <a:cubicBezTo>
                    <a:pt x="4" y="9"/>
                    <a:pt x="4" y="9"/>
                    <a:pt x="4" y="9"/>
                  </a:cubicBezTo>
                  <a:cubicBezTo>
                    <a:pt x="4" y="9"/>
                    <a:pt x="4" y="9"/>
                    <a:pt x="4" y="9"/>
                  </a:cubicBezTo>
                  <a:cubicBezTo>
                    <a:pt x="3" y="9"/>
                    <a:pt x="2" y="10"/>
                    <a:pt x="2" y="10"/>
                  </a:cubicBezTo>
                  <a:cubicBezTo>
                    <a:pt x="2" y="10"/>
                    <a:pt x="1" y="11"/>
                    <a:pt x="0" y="14"/>
                  </a:cubicBezTo>
                  <a:cubicBezTo>
                    <a:pt x="0" y="15"/>
                    <a:pt x="0" y="15"/>
                    <a:pt x="0" y="15"/>
                  </a:cubicBezTo>
                  <a:cubicBezTo>
                    <a:pt x="3" y="17"/>
                    <a:pt x="7" y="18"/>
                    <a:pt x="12" y="19"/>
                  </a:cubicBezTo>
                  <a:cubicBezTo>
                    <a:pt x="17" y="21"/>
                    <a:pt x="21" y="23"/>
                    <a:pt x="27" y="25"/>
                  </a:cubicBezTo>
                  <a:cubicBezTo>
                    <a:pt x="32" y="27"/>
                    <a:pt x="38" y="26"/>
                    <a:pt x="43" y="27"/>
                  </a:cubicBezTo>
                  <a:cubicBezTo>
                    <a:pt x="44" y="27"/>
                    <a:pt x="46" y="27"/>
                    <a:pt x="47" y="27"/>
                  </a:cubicBezTo>
                  <a:cubicBezTo>
                    <a:pt x="48" y="27"/>
                    <a:pt x="48" y="27"/>
                    <a:pt x="48" y="27"/>
                  </a:cubicBezTo>
                  <a:cubicBezTo>
                    <a:pt x="49" y="27"/>
                    <a:pt x="49" y="25"/>
                    <a:pt x="50" y="23"/>
                  </a:cubicBezTo>
                  <a:cubicBezTo>
                    <a:pt x="49" y="23"/>
                    <a:pt x="49" y="23"/>
                    <a:pt x="49" y="23"/>
                  </a:cubicBezTo>
                  <a:cubicBezTo>
                    <a:pt x="49" y="22"/>
                    <a:pt x="49" y="22"/>
                    <a:pt x="49" y="22"/>
                  </a:cubicBezTo>
                  <a:cubicBezTo>
                    <a:pt x="49" y="21"/>
                    <a:pt x="49" y="21"/>
                    <a:pt x="49" y="20"/>
                  </a:cubicBezTo>
                  <a:cubicBezTo>
                    <a:pt x="49" y="20"/>
                    <a:pt x="49" y="20"/>
                    <a:pt x="49" y="20"/>
                  </a:cubicBezTo>
                  <a:cubicBezTo>
                    <a:pt x="48" y="18"/>
                    <a:pt x="48" y="17"/>
                    <a:pt x="49" y="16"/>
                  </a:cubicBezTo>
                  <a:cubicBezTo>
                    <a:pt x="49" y="15"/>
                    <a:pt x="49" y="15"/>
                    <a:pt x="49" y="15"/>
                  </a:cubicBezTo>
                  <a:cubicBezTo>
                    <a:pt x="49" y="14"/>
                    <a:pt x="50" y="13"/>
                    <a:pt x="50" y="13"/>
                  </a:cubicBezTo>
                  <a:cubicBezTo>
                    <a:pt x="49" y="13"/>
                    <a:pt x="49" y="13"/>
                    <a:pt x="49" y="13"/>
                  </a:cubicBezTo>
                  <a:cubicBezTo>
                    <a:pt x="49" y="13"/>
                    <a:pt x="49" y="13"/>
                    <a:pt x="48" y="13"/>
                  </a:cubicBezTo>
                  <a:cubicBezTo>
                    <a:pt x="48" y="13"/>
                    <a:pt x="48" y="13"/>
                    <a:pt x="48" y="13"/>
                  </a:cubicBezTo>
                  <a:cubicBezTo>
                    <a:pt x="48" y="13"/>
                    <a:pt x="48" y="13"/>
                    <a:pt x="47" y="13"/>
                  </a:cubicBezTo>
                  <a:cubicBezTo>
                    <a:pt x="47" y="13"/>
                    <a:pt x="47" y="13"/>
                    <a:pt x="47" y="13"/>
                  </a:cubicBezTo>
                  <a:cubicBezTo>
                    <a:pt x="46" y="12"/>
                    <a:pt x="46" y="12"/>
                    <a:pt x="46" y="12"/>
                  </a:cubicBezTo>
                  <a:cubicBezTo>
                    <a:pt x="44" y="12"/>
                    <a:pt x="44" y="11"/>
                    <a:pt x="43" y="11"/>
                  </a:cubicBezTo>
                  <a:cubicBezTo>
                    <a:pt x="43" y="10"/>
                    <a:pt x="43" y="10"/>
                    <a:pt x="43" y="10"/>
                  </a:cubicBezTo>
                  <a:cubicBezTo>
                    <a:pt x="42" y="10"/>
                    <a:pt x="42" y="10"/>
                    <a:pt x="42" y="10"/>
                  </a:cubicBezTo>
                  <a:cubicBezTo>
                    <a:pt x="42" y="10"/>
                    <a:pt x="42" y="10"/>
                    <a:pt x="42" y="10"/>
                  </a:cubicBezTo>
                  <a:cubicBezTo>
                    <a:pt x="42" y="11"/>
                    <a:pt x="41" y="11"/>
                    <a:pt x="41" y="11"/>
                  </a:cubicBezTo>
                  <a:cubicBezTo>
                    <a:pt x="40" y="12"/>
                    <a:pt x="40" y="12"/>
                    <a:pt x="39" y="12"/>
                  </a:cubicBezTo>
                  <a:cubicBezTo>
                    <a:pt x="37" y="13"/>
                    <a:pt x="37" y="13"/>
                    <a:pt x="37" y="13"/>
                  </a:cubicBezTo>
                  <a:cubicBezTo>
                    <a:pt x="36" y="13"/>
                    <a:pt x="36" y="13"/>
                    <a:pt x="35" y="13"/>
                  </a:cubicBezTo>
                  <a:cubicBezTo>
                    <a:pt x="31" y="14"/>
                    <a:pt x="31" y="14"/>
                    <a:pt x="31" y="14"/>
                  </a:cubicBezTo>
                  <a:cubicBezTo>
                    <a:pt x="32" y="10"/>
                    <a:pt x="32" y="10"/>
                    <a:pt x="32" y="10"/>
                  </a:cubicBezTo>
                  <a:cubicBezTo>
                    <a:pt x="31" y="10"/>
                    <a:pt x="31" y="10"/>
                    <a:pt x="31" y="10"/>
                  </a:cubicBezTo>
                  <a:cubicBezTo>
                    <a:pt x="30" y="10"/>
                    <a:pt x="30" y="10"/>
                    <a:pt x="30" y="10"/>
                  </a:cubicBezTo>
                  <a:cubicBezTo>
                    <a:pt x="29" y="9"/>
                    <a:pt x="28" y="8"/>
                    <a:pt x="27" y="7"/>
                  </a:cubicBezTo>
                  <a:cubicBezTo>
                    <a:pt x="27" y="7"/>
                    <a:pt x="27" y="7"/>
                    <a:pt x="27" y="7"/>
                  </a:cubicBezTo>
                  <a:cubicBezTo>
                    <a:pt x="26" y="7"/>
                    <a:pt x="25" y="6"/>
                    <a:pt x="25" y="6"/>
                  </a:cubicBezTo>
                  <a:cubicBezTo>
                    <a:pt x="21" y="10"/>
                    <a:pt x="21" y="10"/>
                    <a:pt x="21" y="10"/>
                  </a:cubicBezTo>
                  <a:cubicBezTo>
                    <a:pt x="24" y="5"/>
                    <a:pt x="24" y="5"/>
                    <a:pt x="24" y="5"/>
                  </a:cubicBezTo>
                  <a:cubicBezTo>
                    <a:pt x="23" y="5"/>
                    <a:pt x="22" y="4"/>
                    <a:pt x="21" y="3"/>
                  </a:cubicBezTo>
                  <a:cubicBezTo>
                    <a:pt x="20" y="2"/>
                    <a:pt x="20" y="1"/>
                    <a:pt x="19" y="1"/>
                  </a:cubicBezTo>
                  <a:cubicBezTo>
                    <a:pt x="19" y="1"/>
                    <a:pt x="19" y="1"/>
                    <a:pt x="19" y="1"/>
                  </a:cubicBezTo>
                  <a:cubicBezTo>
                    <a:pt x="18" y="0"/>
                    <a:pt x="17" y="0"/>
                    <a:pt x="16" y="0"/>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3" name="Freeform 356">
              <a:extLst>
                <a:ext uri="{FF2B5EF4-FFF2-40B4-BE49-F238E27FC236}">
                  <a16:creationId xmlns:a16="http://schemas.microsoft.com/office/drawing/2014/main" id="{BA1B5E0F-D566-4BC3-842C-1CFC260DC4FC}"/>
                </a:ext>
              </a:extLst>
            </p:cNvPr>
            <p:cNvSpPr>
              <a:spLocks/>
            </p:cNvSpPr>
            <p:nvPr/>
          </p:nvSpPr>
          <p:spPr bwMode="auto">
            <a:xfrm>
              <a:off x="8162916" y="7724010"/>
              <a:ext cx="509588" cy="261938"/>
            </a:xfrm>
            <a:custGeom>
              <a:avLst/>
              <a:gdLst>
                <a:gd name="T0" fmla="*/ 60 w 136"/>
                <a:gd name="T1" fmla="*/ 6 h 70"/>
                <a:gd name="T2" fmla="*/ 53 w 136"/>
                <a:gd name="T3" fmla="*/ 6 h 70"/>
                <a:gd name="T4" fmla="*/ 32 w 136"/>
                <a:gd name="T5" fmla="*/ 3 h 70"/>
                <a:gd name="T6" fmla="*/ 23 w 136"/>
                <a:gd name="T7" fmla="*/ 8 h 70"/>
                <a:gd name="T8" fmla="*/ 16 w 136"/>
                <a:gd name="T9" fmla="*/ 14 h 70"/>
                <a:gd name="T10" fmla="*/ 7 w 136"/>
                <a:gd name="T11" fmla="*/ 21 h 70"/>
                <a:gd name="T12" fmla="*/ 1 w 136"/>
                <a:gd name="T13" fmla="*/ 25 h 70"/>
                <a:gd name="T14" fmla="*/ 3 w 136"/>
                <a:gd name="T15" fmla="*/ 25 h 70"/>
                <a:gd name="T16" fmla="*/ 1 w 136"/>
                <a:gd name="T17" fmla="*/ 32 h 70"/>
                <a:gd name="T18" fmla="*/ 0 w 136"/>
                <a:gd name="T19" fmla="*/ 36 h 70"/>
                <a:gd name="T20" fmla="*/ 7 w 136"/>
                <a:gd name="T21" fmla="*/ 42 h 70"/>
                <a:gd name="T22" fmla="*/ 14 w 136"/>
                <a:gd name="T23" fmla="*/ 46 h 70"/>
                <a:gd name="T24" fmla="*/ 17 w 136"/>
                <a:gd name="T25" fmla="*/ 48 h 70"/>
                <a:gd name="T26" fmla="*/ 21 w 136"/>
                <a:gd name="T27" fmla="*/ 45 h 70"/>
                <a:gd name="T28" fmla="*/ 26 w 136"/>
                <a:gd name="T29" fmla="*/ 48 h 70"/>
                <a:gd name="T30" fmla="*/ 34 w 136"/>
                <a:gd name="T31" fmla="*/ 54 h 70"/>
                <a:gd name="T32" fmla="*/ 33 w 136"/>
                <a:gd name="T33" fmla="*/ 58 h 70"/>
                <a:gd name="T34" fmla="*/ 33 w 136"/>
                <a:gd name="T35" fmla="*/ 62 h 70"/>
                <a:gd name="T36" fmla="*/ 36 w 136"/>
                <a:gd name="T37" fmla="*/ 65 h 70"/>
                <a:gd name="T38" fmla="*/ 42 w 136"/>
                <a:gd name="T39" fmla="*/ 69 h 70"/>
                <a:gd name="T40" fmla="*/ 47 w 136"/>
                <a:gd name="T41" fmla="*/ 67 h 70"/>
                <a:gd name="T42" fmla="*/ 48 w 136"/>
                <a:gd name="T43" fmla="*/ 65 h 70"/>
                <a:gd name="T44" fmla="*/ 52 w 136"/>
                <a:gd name="T45" fmla="*/ 62 h 70"/>
                <a:gd name="T46" fmla="*/ 59 w 136"/>
                <a:gd name="T47" fmla="*/ 50 h 70"/>
                <a:gd name="T48" fmla="*/ 66 w 136"/>
                <a:gd name="T49" fmla="*/ 47 h 70"/>
                <a:gd name="T50" fmla="*/ 72 w 136"/>
                <a:gd name="T51" fmla="*/ 43 h 70"/>
                <a:gd name="T52" fmla="*/ 74 w 136"/>
                <a:gd name="T53" fmla="*/ 47 h 70"/>
                <a:gd name="T54" fmla="*/ 77 w 136"/>
                <a:gd name="T55" fmla="*/ 48 h 70"/>
                <a:gd name="T56" fmla="*/ 86 w 136"/>
                <a:gd name="T57" fmla="*/ 40 h 70"/>
                <a:gd name="T58" fmla="*/ 88 w 136"/>
                <a:gd name="T59" fmla="*/ 37 h 70"/>
                <a:gd name="T60" fmla="*/ 91 w 136"/>
                <a:gd name="T61" fmla="*/ 32 h 70"/>
                <a:gd name="T62" fmla="*/ 99 w 136"/>
                <a:gd name="T63" fmla="*/ 26 h 70"/>
                <a:gd name="T64" fmla="*/ 104 w 136"/>
                <a:gd name="T65" fmla="*/ 29 h 70"/>
                <a:gd name="T66" fmla="*/ 109 w 136"/>
                <a:gd name="T67" fmla="*/ 30 h 70"/>
                <a:gd name="T68" fmla="*/ 112 w 136"/>
                <a:gd name="T69" fmla="*/ 29 h 70"/>
                <a:gd name="T70" fmla="*/ 123 w 136"/>
                <a:gd name="T71" fmla="*/ 26 h 70"/>
                <a:gd name="T72" fmla="*/ 134 w 136"/>
                <a:gd name="T73" fmla="*/ 23 h 70"/>
                <a:gd name="T74" fmla="*/ 124 w 136"/>
                <a:gd name="T75" fmla="*/ 20 h 70"/>
                <a:gd name="T76" fmla="*/ 117 w 136"/>
                <a:gd name="T77" fmla="*/ 17 h 70"/>
                <a:gd name="T78" fmla="*/ 124 w 136"/>
                <a:gd name="T79" fmla="*/ 15 h 70"/>
                <a:gd name="T80" fmla="*/ 110 w 136"/>
                <a:gd name="T81" fmla="*/ 6 h 70"/>
                <a:gd name="T82" fmla="*/ 95 w 136"/>
                <a:gd name="T83" fmla="*/ 1 h 70"/>
                <a:gd name="T84" fmla="*/ 87 w 136"/>
                <a:gd name="T85" fmla="*/ 3 h 70"/>
                <a:gd name="T86" fmla="*/ 72 w 136"/>
                <a:gd name="T8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0">
                  <a:moveTo>
                    <a:pt x="72" y="0"/>
                  </a:moveTo>
                  <a:cubicBezTo>
                    <a:pt x="74" y="1"/>
                    <a:pt x="73" y="2"/>
                    <a:pt x="71" y="3"/>
                  </a:cubicBezTo>
                  <a:cubicBezTo>
                    <a:pt x="67" y="4"/>
                    <a:pt x="63" y="6"/>
                    <a:pt x="60" y="6"/>
                  </a:cubicBezTo>
                  <a:cubicBezTo>
                    <a:pt x="59" y="6"/>
                    <a:pt x="59" y="6"/>
                    <a:pt x="59" y="6"/>
                  </a:cubicBezTo>
                  <a:cubicBezTo>
                    <a:pt x="58" y="6"/>
                    <a:pt x="57" y="6"/>
                    <a:pt x="57" y="6"/>
                  </a:cubicBezTo>
                  <a:cubicBezTo>
                    <a:pt x="55" y="6"/>
                    <a:pt x="54" y="6"/>
                    <a:pt x="53" y="6"/>
                  </a:cubicBezTo>
                  <a:cubicBezTo>
                    <a:pt x="52" y="6"/>
                    <a:pt x="50" y="6"/>
                    <a:pt x="49" y="6"/>
                  </a:cubicBezTo>
                  <a:cubicBezTo>
                    <a:pt x="48" y="6"/>
                    <a:pt x="47" y="6"/>
                    <a:pt x="46" y="6"/>
                  </a:cubicBezTo>
                  <a:cubicBezTo>
                    <a:pt x="41" y="5"/>
                    <a:pt x="37" y="4"/>
                    <a:pt x="32" y="3"/>
                  </a:cubicBezTo>
                  <a:cubicBezTo>
                    <a:pt x="32" y="3"/>
                    <a:pt x="32" y="3"/>
                    <a:pt x="32" y="3"/>
                  </a:cubicBezTo>
                  <a:cubicBezTo>
                    <a:pt x="29" y="3"/>
                    <a:pt x="25" y="5"/>
                    <a:pt x="22" y="7"/>
                  </a:cubicBezTo>
                  <a:cubicBezTo>
                    <a:pt x="23" y="8"/>
                    <a:pt x="23" y="8"/>
                    <a:pt x="23" y="8"/>
                  </a:cubicBezTo>
                  <a:cubicBezTo>
                    <a:pt x="22" y="9"/>
                    <a:pt x="22" y="9"/>
                    <a:pt x="22" y="9"/>
                  </a:cubicBezTo>
                  <a:cubicBezTo>
                    <a:pt x="20" y="10"/>
                    <a:pt x="18" y="12"/>
                    <a:pt x="17" y="13"/>
                  </a:cubicBezTo>
                  <a:cubicBezTo>
                    <a:pt x="16" y="14"/>
                    <a:pt x="16" y="14"/>
                    <a:pt x="16" y="14"/>
                  </a:cubicBezTo>
                  <a:cubicBezTo>
                    <a:pt x="15" y="15"/>
                    <a:pt x="15" y="15"/>
                    <a:pt x="14" y="16"/>
                  </a:cubicBezTo>
                  <a:cubicBezTo>
                    <a:pt x="12" y="17"/>
                    <a:pt x="10" y="19"/>
                    <a:pt x="8" y="21"/>
                  </a:cubicBezTo>
                  <a:cubicBezTo>
                    <a:pt x="7" y="21"/>
                    <a:pt x="7" y="21"/>
                    <a:pt x="7" y="21"/>
                  </a:cubicBezTo>
                  <a:cubicBezTo>
                    <a:pt x="6" y="22"/>
                    <a:pt x="5" y="23"/>
                    <a:pt x="4" y="23"/>
                  </a:cubicBezTo>
                  <a:cubicBezTo>
                    <a:pt x="3" y="24"/>
                    <a:pt x="3" y="24"/>
                    <a:pt x="3" y="24"/>
                  </a:cubicBezTo>
                  <a:cubicBezTo>
                    <a:pt x="2" y="24"/>
                    <a:pt x="1" y="24"/>
                    <a:pt x="1" y="25"/>
                  </a:cubicBezTo>
                  <a:cubicBezTo>
                    <a:pt x="1" y="25"/>
                    <a:pt x="1" y="26"/>
                    <a:pt x="0" y="26"/>
                  </a:cubicBezTo>
                  <a:cubicBezTo>
                    <a:pt x="0" y="27"/>
                    <a:pt x="0" y="27"/>
                    <a:pt x="0" y="27"/>
                  </a:cubicBezTo>
                  <a:cubicBezTo>
                    <a:pt x="3" y="25"/>
                    <a:pt x="3" y="25"/>
                    <a:pt x="3" y="25"/>
                  </a:cubicBezTo>
                  <a:cubicBezTo>
                    <a:pt x="0" y="29"/>
                    <a:pt x="0" y="29"/>
                    <a:pt x="0" y="29"/>
                  </a:cubicBezTo>
                  <a:cubicBezTo>
                    <a:pt x="1" y="29"/>
                    <a:pt x="1" y="29"/>
                    <a:pt x="1" y="30"/>
                  </a:cubicBezTo>
                  <a:cubicBezTo>
                    <a:pt x="1" y="31"/>
                    <a:pt x="1" y="31"/>
                    <a:pt x="1" y="32"/>
                  </a:cubicBezTo>
                  <a:cubicBezTo>
                    <a:pt x="1" y="33"/>
                    <a:pt x="1" y="34"/>
                    <a:pt x="1" y="34"/>
                  </a:cubicBezTo>
                  <a:cubicBezTo>
                    <a:pt x="1" y="35"/>
                    <a:pt x="1" y="35"/>
                    <a:pt x="1" y="35"/>
                  </a:cubicBezTo>
                  <a:cubicBezTo>
                    <a:pt x="0" y="35"/>
                    <a:pt x="0" y="36"/>
                    <a:pt x="0" y="36"/>
                  </a:cubicBezTo>
                  <a:cubicBezTo>
                    <a:pt x="1" y="36"/>
                    <a:pt x="2" y="37"/>
                    <a:pt x="4" y="39"/>
                  </a:cubicBezTo>
                  <a:cubicBezTo>
                    <a:pt x="5" y="40"/>
                    <a:pt x="6" y="41"/>
                    <a:pt x="6" y="42"/>
                  </a:cubicBezTo>
                  <a:cubicBezTo>
                    <a:pt x="7" y="42"/>
                    <a:pt x="7" y="42"/>
                    <a:pt x="7" y="42"/>
                  </a:cubicBezTo>
                  <a:cubicBezTo>
                    <a:pt x="8" y="43"/>
                    <a:pt x="9" y="43"/>
                    <a:pt x="9" y="44"/>
                  </a:cubicBezTo>
                  <a:cubicBezTo>
                    <a:pt x="10" y="44"/>
                    <a:pt x="10" y="45"/>
                    <a:pt x="11" y="45"/>
                  </a:cubicBezTo>
                  <a:cubicBezTo>
                    <a:pt x="12" y="45"/>
                    <a:pt x="13" y="46"/>
                    <a:pt x="14" y="46"/>
                  </a:cubicBezTo>
                  <a:cubicBezTo>
                    <a:pt x="15" y="47"/>
                    <a:pt x="16" y="47"/>
                    <a:pt x="16" y="48"/>
                  </a:cubicBezTo>
                  <a:cubicBezTo>
                    <a:pt x="16" y="48"/>
                    <a:pt x="16" y="48"/>
                    <a:pt x="16" y="48"/>
                  </a:cubicBezTo>
                  <a:cubicBezTo>
                    <a:pt x="17" y="48"/>
                    <a:pt x="17" y="48"/>
                    <a:pt x="17" y="48"/>
                  </a:cubicBezTo>
                  <a:cubicBezTo>
                    <a:pt x="17" y="48"/>
                    <a:pt x="17" y="48"/>
                    <a:pt x="17" y="48"/>
                  </a:cubicBezTo>
                  <a:cubicBezTo>
                    <a:pt x="17" y="47"/>
                    <a:pt x="18" y="47"/>
                    <a:pt x="18" y="46"/>
                  </a:cubicBezTo>
                  <a:cubicBezTo>
                    <a:pt x="19" y="46"/>
                    <a:pt x="20" y="45"/>
                    <a:pt x="21" y="45"/>
                  </a:cubicBezTo>
                  <a:cubicBezTo>
                    <a:pt x="23" y="45"/>
                    <a:pt x="24" y="46"/>
                    <a:pt x="25" y="47"/>
                  </a:cubicBezTo>
                  <a:cubicBezTo>
                    <a:pt x="25" y="47"/>
                    <a:pt x="25" y="47"/>
                    <a:pt x="25" y="47"/>
                  </a:cubicBezTo>
                  <a:cubicBezTo>
                    <a:pt x="26" y="47"/>
                    <a:pt x="26" y="48"/>
                    <a:pt x="26" y="48"/>
                  </a:cubicBezTo>
                  <a:cubicBezTo>
                    <a:pt x="28" y="48"/>
                    <a:pt x="30" y="48"/>
                    <a:pt x="32" y="49"/>
                  </a:cubicBezTo>
                  <a:cubicBezTo>
                    <a:pt x="32" y="49"/>
                    <a:pt x="32" y="49"/>
                    <a:pt x="32" y="49"/>
                  </a:cubicBezTo>
                  <a:cubicBezTo>
                    <a:pt x="34" y="50"/>
                    <a:pt x="34" y="52"/>
                    <a:pt x="34" y="54"/>
                  </a:cubicBezTo>
                  <a:cubicBezTo>
                    <a:pt x="34" y="55"/>
                    <a:pt x="34" y="56"/>
                    <a:pt x="34" y="57"/>
                  </a:cubicBezTo>
                  <a:cubicBezTo>
                    <a:pt x="33" y="58"/>
                    <a:pt x="33" y="58"/>
                    <a:pt x="33" y="58"/>
                  </a:cubicBezTo>
                  <a:cubicBezTo>
                    <a:pt x="33" y="58"/>
                    <a:pt x="33" y="58"/>
                    <a:pt x="33" y="58"/>
                  </a:cubicBezTo>
                  <a:cubicBezTo>
                    <a:pt x="33" y="59"/>
                    <a:pt x="33" y="59"/>
                    <a:pt x="33" y="60"/>
                  </a:cubicBezTo>
                  <a:cubicBezTo>
                    <a:pt x="33" y="61"/>
                    <a:pt x="33" y="61"/>
                    <a:pt x="33" y="61"/>
                  </a:cubicBezTo>
                  <a:cubicBezTo>
                    <a:pt x="33" y="62"/>
                    <a:pt x="33" y="62"/>
                    <a:pt x="33" y="62"/>
                  </a:cubicBezTo>
                  <a:cubicBezTo>
                    <a:pt x="33" y="62"/>
                    <a:pt x="34" y="62"/>
                    <a:pt x="34" y="62"/>
                  </a:cubicBezTo>
                  <a:cubicBezTo>
                    <a:pt x="36" y="62"/>
                    <a:pt x="37" y="62"/>
                    <a:pt x="39" y="63"/>
                  </a:cubicBezTo>
                  <a:cubicBezTo>
                    <a:pt x="39" y="63"/>
                    <a:pt x="36" y="65"/>
                    <a:pt x="36" y="65"/>
                  </a:cubicBezTo>
                  <a:cubicBezTo>
                    <a:pt x="36" y="67"/>
                    <a:pt x="40" y="68"/>
                    <a:pt x="40" y="70"/>
                  </a:cubicBezTo>
                  <a:cubicBezTo>
                    <a:pt x="41" y="69"/>
                    <a:pt x="41" y="69"/>
                    <a:pt x="41" y="69"/>
                  </a:cubicBezTo>
                  <a:cubicBezTo>
                    <a:pt x="42" y="69"/>
                    <a:pt x="42" y="69"/>
                    <a:pt x="42" y="69"/>
                  </a:cubicBezTo>
                  <a:cubicBezTo>
                    <a:pt x="43" y="69"/>
                    <a:pt x="43" y="69"/>
                    <a:pt x="43" y="69"/>
                  </a:cubicBezTo>
                  <a:cubicBezTo>
                    <a:pt x="44" y="69"/>
                    <a:pt x="45" y="69"/>
                    <a:pt x="47" y="67"/>
                  </a:cubicBezTo>
                  <a:cubicBezTo>
                    <a:pt x="47" y="67"/>
                    <a:pt x="47" y="67"/>
                    <a:pt x="47" y="67"/>
                  </a:cubicBezTo>
                  <a:cubicBezTo>
                    <a:pt x="47" y="67"/>
                    <a:pt x="47" y="67"/>
                    <a:pt x="47" y="67"/>
                  </a:cubicBezTo>
                  <a:cubicBezTo>
                    <a:pt x="47" y="66"/>
                    <a:pt x="47" y="66"/>
                    <a:pt x="48" y="65"/>
                  </a:cubicBezTo>
                  <a:cubicBezTo>
                    <a:pt x="48" y="65"/>
                    <a:pt x="48" y="65"/>
                    <a:pt x="48" y="65"/>
                  </a:cubicBezTo>
                  <a:cubicBezTo>
                    <a:pt x="49" y="63"/>
                    <a:pt x="51" y="63"/>
                    <a:pt x="52" y="63"/>
                  </a:cubicBezTo>
                  <a:cubicBezTo>
                    <a:pt x="52" y="62"/>
                    <a:pt x="52" y="62"/>
                    <a:pt x="52" y="62"/>
                  </a:cubicBezTo>
                  <a:cubicBezTo>
                    <a:pt x="52" y="62"/>
                    <a:pt x="52" y="62"/>
                    <a:pt x="52" y="62"/>
                  </a:cubicBezTo>
                  <a:cubicBezTo>
                    <a:pt x="51" y="60"/>
                    <a:pt x="51" y="59"/>
                    <a:pt x="51" y="58"/>
                  </a:cubicBezTo>
                  <a:cubicBezTo>
                    <a:pt x="50" y="56"/>
                    <a:pt x="50" y="53"/>
                    <a:pt x="52" y="52"/>
                  </a:cubicBezTo>
                  <a:cubicBezTo>
                    <a:pt x="53" y="51"/>
                    <a:pt x="58" y="50"/>
                    <a:pt x="59" y="50"/>
                  </a:cubicBezTo>
                  <a:cubicBezTo>
                    <a:pt x="60" y="50"/>
                    <a:pt x="61" y="51"/>
                    <a:pt x="61" y="51"/>
                  </a:cubicBezTo>
                  <a:cubicBezTo>
                    <a:pt x="62" y="51"/>
                    <a:pt x="62" y="51"/>
                    <a:pt x="62" y="51"/>
                  </a:cubicBezTo>
                  <a:cubicBezTo>
                    <a:pt x="63" y="49"/>
                    <a:pt x="65" y="48"/>
                    <a:pt x="66" y="47"/>
                  </a:cubicBezTo>
                  <a:cubicBezTo>
                    <a:pt x="68" y="46"/>
                    <a:pt x="68" y="46"/>
                    <a:pt x="68" y="46"/>
                  </a:cubicBezTo>
                  <a:cubicBezTo>
                    <a:pt x="69" y="45"/>
                    <a:pt x="70" y="44"/>
                    <a:pt x="71" y="44"/>
                  </a:cubicBezTo>
                  <a:cubicBezTo>
                    <a:pt x="72" y="43"/>
                    <a:pt x="72" y="43"/>
                    <a:pt x="72" y="43"/>
                  </a:cubicBezTo>
                  <a:cubicBezTo>
                    <a:pt x="73" y="45"/>
                    <a:pt x="73" y="45"/>
                    <a:pt x="73" y="45"/>
                  </a:cubicBezTo>
                  <a:cubicBezTo>
                    <a:pt x="74" y="45"/>
                    <a:pt x="74" y="46"/>
                    <a:pt x="74" y="47"/>
                  </a:cubicBezTo>
                  <a:cubicBezTo>
                    <a:pt x="74" y="47"/>
                    <a:pt x="74" y="47"/>
                    <a:pt x="74" y="47"/>
                  </a:cubicBezTo>
                  <a:cubicBezTo>
                    <a:pt x="75" y="48"/>
                    <a:pt x="76" y="48"/>
                    <a:pt x="77" y="49"/>
                  </a:cubicBezTo>
                  <a:cubicBezTo>
                    <a:pt x="77" y="49"/>
                    <a:pt x="77" y="49"/>
                    <a:pt x="77" y="49"/>
                  </a:cubicBezTo>
                  <a:cubicBezTo>
                    <a:pt x="77" y="48"/>
                    <a:pt x="77" y="48"/>
                    <a:pt x="77" y="48"/>
                  </a:cubicBezTo>
                  <a:cubicBezTo>
                    <a:pt x="77" y="48"/>
                    <a:pt x="77" y="48"/>
                    <a:pt x="77" y="48"/>
                  </a:cubicBezTo>
                  <a:cubicBezTo>
                    <a:pt x="78" y="47"/>
                    <a:pt x="79" y="46"/>
                    <a:pt x="79" y="45"/>
                  </a:cubicBezTo>
                  <a:cubicBezTo>
                    <a:pt x="81" y="43"/>
                    <a:pt x="84" y="42"/>
                    <a:pt x="86" y="40"/>
                  </a:cubicBezTo>
                  <a:cubicBezTo>
                    <a:pt x="87" y="40"/>
                    <a:pt x="87" y="39"/>
                    <a:pt x="88" y="39"/>
                  </a:cubicBezTo>
                  <a:cubicBezTo>
                    <a:pt x="88" y="38"/>
                    <a:pt x="88" y="38"/>
                    <a:pt x="88" y="37"/>
                  </a:cubicBezTo>
                  <a:cubicBezTo>
                    <a:pt x="88" y="37"/>
                    <a:pt x="88" y="37"/>
                    <a:pt x="88" y="37"/>
                  </a:cubicBezTo>
                  <a:cubicBezTo>
                    <a:pt x="88" y="36"/>
                    <a:pt x="88" y="36"/>
                    <a:pt x="88" y="36"/>
                  </a:cubicBezTo>
                  <a:cubicBezTo>
                    <a:pt x="88" y="35"/>
                    <a:pt x="88" y="35"/>
                    <a:pt x="88" y="35"/>
                  </a:cubicBezTo>
                  <a:cubicBezTo>
                    <a:pt x="88" y="34"/>
                    <a:pt x="89" y="32"/>
                    <a:pt x="91" y="32"/>
                  </a:cubicBezTo>
                  <a:cubicBezTo>
                    <a:pt x="92" y="29"/>
                    <a:pt x="95" y="27"/>
                    <a:pt x="97" y="26"/>
                  </a:cubicBezTo>
                  <a:cubicBezTo>
                    <a:pt x="97" y="26"/>
                    <a:pt x="98" y="26"/>
                    <a:pt x="99" y="26"/>
                  </a:cubicBezTo>
                  <a:cubicBezTo>
                    <a:pt x="99" y="26"/>
                    <a:pt x="99" y="26"/>
                    <a:pt x="99" y="26"/>
                  </a:cubicBezTo>
                  <a:cubicBezTo>
                    <a:pt x="100" y="26"/>
                    <a:pt x="100" y="26"/>
                    <a:pt x="100" y="26"/>
                  </a:cubicBezTo>
                  <a:cubicBezTo>
                    <a:pt x="101" y="26"/>
                    <a:pt x="101" y="26"/>
                    <a:pt x="101" y="26"/>
                  </a:cubicBezTo>
                  <a:cubicBezTo>
                    <a:pt x="102" y="27"/>
                    <a:pt x="103" y="28"/>
                    <a:pt x="104" y="29"/>
                  </a:cubicBezTo>
                  <a:cubicBezTo>
                    <a:pt x="106" y="30"/>
                    <a:pt x="107" y="30"/>
                    <a:pt x="108" y="30"/>
                  </a:cubicBezTo>
                  <a:cubicBezTo>
                    <a:pt x="108" y="30"/>
                    <a:pt x="108" y="30"/>
                    <a:pt x="108" y="30"/>
                  </a:cubicBezTo>
                  <a:cubicBezTo>
                    <a:pt x="109" y="30"/>
                    <a:pt x="109" y="30"/>
                    <a:pt x="109" y="30"/>
                  </a:cubicBezTo>
                  <a:cubicBezTo>
                    <a:pt x="109" y="30"/>
                    <a:pt x="109" y="30"/>
                    <a:pt x="109" y="30"/>
                  </a:cubicBezTo>
                  <a:cubicBezTo>
                    <a:pt x="110" y="30"/>
                    <a:pt x="110" y="30"/>
                    <a:pt x="110" y="30"/>
                  </a:cubicBezTo>
                  <a:cubicBezTo>
                    <a:pt x="110" y="29"/>
                    <a:pt x="111" y="29"/>
                    <a:pt x="112" y="29"/>
                  </a:cubicBezTo>
                  <a:cubicBezTo>
                    <a:pt x="113" y="29"/>
                    <a:pt x="113" y="29"/>
                    <a:pt x="113" y="29"/>
                  </a:cubicBezTo>
                  <a:cubicBezTo>
                    <a:pt x="114" y="28"/>
                    <a:pt x="114" y="28"/>
                    <a:pt x="114" y="28"/>
                  </a:cubicBezTo>
                  <a:cubicBezTo>
                    <a:pt x="117" y="28"/>
                    <a:pt x="120" y="27"/>
                    <a:pt x="123" y="26"/>
                  </a:cubicBezTo>
                  <a:cubicBezTo>
                    <a:pt x="127" y="25"/>
                    <a:pt x="132" y="24"/>
                    <a:pt x="136" y="23"/>
                  </a:cubicBezTo>
                  <a:cubicBezTo>
                    <a:pt x="136" y="23"/>
                    <a:pt x="136" y="23"/>
                    <a:pt x="136" y="23"/>
                  </a:cubicBezTo>
                  <a:cubicBezTo>
                    <a:pt x="135" y="23"/>
                    <a:pt x="135" y="23"/>
                    <a:pt x="134" y="23"/>
                  </a:cubicBezTo>
                  <a:cubicBezTo>
                    <a:pt x="132" y="22"/>
                    <a:pt x="129" y="21"/>
                    <a:pt x="127" y="21"/>
                  </a:cubicBezTo>
                  <a:cubicBezTo>
                    <a:pt x="128" y="20"/>
                    <a:pt x="129" y="19"/>
                    <a:pt x="129" y="18"/>
                  </a:cubicBezTo>
                  <a:cubicBezTo>
                    <a:pt x="128" y="18"/>
                    <a:pt x="125" y="20"/>
                    <a:pt x="124" y="20"/>
                  </a:cubicBezTo>
                  <a:cubicBezTo>
                    <a:pt x="124" y="20"/>
                    <a:pt x="124" y="20"/>
                    <a:pt x="124" y="20"/>
                  </a:cubicBezTo>
                  <a:cubicBezTo>
                    <a:pt x="123" y="20"/>
                    <a:pt x="122" y="19"/>
                    <a:pt x="121" y="19"/>
                  </a:cubicBezTo>
                  <a:cubicBezTo>
                    <a:pt x="119" y="18"/>
                    <a:pt x="119" y="19"/>
                    <a:pt x="117" y="17"/>
                  </a:cubicBezTo>
                  <a:cubicBezTo>
                    <a:pt x="116" y="16"/>
                    <a:pt x="115" y="12"/>
                    <a:pt x="117" y="12"/>
                  </a:cubicBezTo>
                  <a:cubicBezTo>
                    <a:pt x="119" y="13"/>
                    <a:pt x="119" y="13"/>
                    <a:pt x="119" y="13"/>
                  </a:cubicBezTo>
                  <a:cubicBezTo>
                    <a:pt x="120" y="13"/>
                    <a:pt x="122" y="15"/>
                    <a:pt x="124" y="15"/>
                  </a:cubicBezTo>
                  <a:cubicBezTo>
                    <a:pt x="124" y="15"/>
                    <a:pt x="124" y="15"/>
                    <a:pt x="124" y="15"/>
                  </a:cubicBezTo>
                  <a:cubicBezTo>
                    <a:pt x="121" y="13"/>
                    <a:pt x="119" y="11"/>
                    <a:pt x="116" y="9"/>
                  </a:cubicBezTo>
                  <a:cubicBezTo>
                    <a:pt x="113" y="6"/>
                    <a:pt x="112" y="6"/>
                    <a:pt x="110" y="6"/>
                  </a:cubicBezTo>
                  <a:cubicBezTo>
                    <a:pt x="109" y="6"/>
                    <a:pt x="108" y="6"/>
                    <a:pt x="108" y="6"/>
                  </a:cubicBezTo>
                  <a:cubicBezTo>
                    <a:pt x="107" y="6"/>
                    <a:pt x="107" y="6"/>
                    <a:pt x="106" y="6"/>
                  </a:cubicBezTo>
                  <a:cubicBezTo>
                    <a:pt x="102" y="6"/>
                    <a:pt x="100" y="4"/>
                    <a:pt x="95" y="1"/>
                  </a:cubicBezTo>
                  <a:cubicBezTo>
                    <a:pt x="95" y="1"/>
                    <a:pt x="94" y="1"/>
                    <a:pt x="94" y="1"/>
                  </a:cubicBezTo>
                  <a:cubicBezTo>
                    <a:pt x="93" y="1"/>
                    <a:pt x="92" y="2"/>
                    <a:pt x="90" y="2"/>
                  </a:cubicBezTo>
                  <a:cubicBezTo>
                    <a:pt x="89" y="3"/>
                    <a:pt x="88" y="3"/>
                    <a:pt x="87" y="3"/>
                  </a:cubicBezTo>
                  <a:cubicBezTo>
                    <a:pt x="87" y="3"/>
                    <a:pt x="87" y="3"/>
                    <a:pt x="86" y="3"/>
                  </a:cubicBezTo>
                  <a:cubicBezTo>
                    <a:pt x="83" y="3"/>
                    <a:pt x="80" y="2"/>
                    <a:pt x="77" y="1"/>
                  </a:cubicBezTo>
                  <a:cubicBezTo>
                    <a:pt x="75" y="1"/>
                    <a:pt x="74" y="1"/>
                    <a:pt x="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4" name="Rectangle 357">
              <a:extLst>
                <a:ext uri="{FF2B5EF4-FFF2-40B4-BE49-F238E27FC236}">
                  <a16:creationId xmlns:a16="http://schemas.microsoft.com/office/drawing/2014/main" id="{F263DE83-8612-44A2-9D9F-083890E426CB}"/>
                </a:ext>
              </a:extLst>
            </p:cNvPr>
            <p:cNvSpPr>
              <a:spLocks noChangeArrowheads="1"/>
            </p:cNvSpPr>
            <p:nvPr/>
          </p:nvSpPr>
          <p:spPr bwMode="auto">
            <a:xfrm>
              <a:off x="8147041" y="7817672"/>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5" name="Freeform 358">
              <a:extLst>
                <a:ext uri="{FF2B5EF4-FFF2-40B4-BE49-F238E27FC236}">
                  <a16:creationId xmlns:a16="http://schemas.microsoft.com/office/drawing/2014/main" id="{651DEAB2-0CF3-48AB-80D7-DC0794E1C5FB}"/>
                </a:ext>
              </a:extLst>
            </p:cNvPr>
            <p:cNvSpPr>
              <a:spLocks/>
            </p:cNvSpPr>
            <p:nvPr/>
          </p:nvSpPr>
          <p:spPr bwMode="auto">
            <a:xfrm>
              <a:off x="8147041" y="781767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6" name="Freeform 359">
              <a:extLst>
                <a:ext uri="{FF2B5EF4-FFF2-40B4-BE49-F238E27FC236}">
                  <a16:creationId xmlns:a16="http://schemas.microsoft.com/office/drawing/2014/main" id="{8BE0303D-B0E1-43CF-B468-C759AA8DBE49}"/>
                </a:ext>
              </a:extLst>
            </p:cNvPr>
            <p:cNvSpPr>
              <a:spLocks/>
            </p:cNvSpPr>
            <p:nvPr/>
          </p:nvSpPr>
          <p:spPr bwMode="auto">
            <a:xfrm>
              <a:off x="7896216" y="7573197"/>
              <a:ext cx="330200" cy="349250"/>
            </a:xfrm>
            <a:custGeom>
              <a:avLst/>
              <a:gdLst>
                <a:gd name="T0" fmla="*/ 29 w 88"/>
                <a:gd name="T1" fmla="*/ 0 h 93"/>
                <a:gd name="T2" fmla="*/ 29 w 88"/>
                <a:gd name="T3" fmla="*/ 10 h 93"/>
                <a:gd name="T4" fmla="*/ 29 w 88"/>
                <a:gd name="T5" fmla="*/ 11 h 93"/>
                <a:gd name="T6" fmla="*/ 24 w 88"/>
                <a:gd name="T7" fmla="*/ 14 h 93"/>
                <a:gd name="T8" fmla="*/ 29 w 88"/>
                <a:gd name="T9" fmla="*/ 18 h 93"/>
                <a:gd name="T10" fmla="*/ 32 w 88"/>
                <a:gd name="T11" fmla="*/ 21 h 93"/>
                <a:gd name="T12" fmla="*/ 38 w 88"/>
                <a:gd name="T13" fmla="*/ 27 h 93"/>
                <a:gd name="T14" fmla="*/ 41 w 88"/>
                <a:gd name="T15" fmla="*/ 29 h 93"/>
                <a:gd name="T16" fmla="*/ 43 w 88"/>
                <a:gd name="T17" fmla="*/ 34 h 93"/>
                <a:gd name="T18" fmla="*/ 43 w 88"/>
                <a:gd name="T19" fmla="*/ 36 h 93"/>
                <a:gd name="T20" fmla="*/ 38 w 88"/>
                <a:gd name="T21" fmla="*/ 42 h 93"/>
                <a:gd name="T22" fmla="*/ 23 w 88"/>
                <a:gd name="T23" fmla="*/ 42 h 93"/>
                <a:gd name="T24" fmla="*/ 15 w 88"/>
                <a:gd name="T25" fmla="*/ 42 h 93"/>
                <a:gd name="T26" fmla="*/ 11 w 88"/>
                <a:gd name="T27" fmla="*/ 44 h 93"/>
                <a:gd name="T28" fmla="*/ 9 w 88"/>
                <a:gd name="T29" fmla="*/ 46 h 93"/>
                <a:gd name="T30" fmla="*/ 2 w 88"/>
                <a:gd name="T31" fmla="*/ 56 h 93"/>
                <a:gd name="T32" fmla="*/ 2 w 88"/>
                <a:gd name="T33" fmla="*/ 58 h 93"/>
                <a:gd name="T34" fmla="*/ 2 w 88"/>
                <a:gd name="T35" fmla="*/ 58 h 93"/>
                <a:gd name="T36" fmla="*/ 2 w 88"/>
                <a:gd name="T37" fmla="*/ 59 h 93"/>
                <a:gd name="T38" fmla="*/ 3 w 88"/>
                <a:gd name="T39" fmla="*/ 64 h 93"/>
                <a:gd name="T40" fmla="*/ 3 w 88"/>
                <a:gd name="T41" fmla="*/ 66 h 93"/>
                <a:gd name="T42" fmla="*/ 2 w 88"/>
                <a:gd name="T43" fmla="*/ 69 h 93"/>
                <a:gd name="T44" fmla="*/ 2 w 88"/>
                <a:gd name="T45" fmla="*/ 71 h 93"/>
                <a:gd name="T46" fmla="*/ 2 w 88"/>
                <a:gd name="T47" fmla="*/ 73 h 93"/>
                <a:gd name="T48" fmla="*/ 1 w 88"/>
                <a:gd name="T49" fmla="*/ 76 h 93"/>
                <a:gd name="T50" fmla="*/ 1 w 88"/>
                <a:gd name="T51" fmla="*/ 78 h 93"/>
                <a:gd name="T52" fmla="*/ 26 w 88"/>
                <a:gd name="T53" fmla="*/ 90 h 93"/>
                <a:gd name="T54" fmla="*/ 31 w 88"/>
                <a:gd name="T55" fmla="*/ 90 h 93"/>
                <a:gd name="T56" fmla="*/ 35 w 88"/>
                <a:gd name="T57" fmla="*/ 90 h 93"/>
                <a:gd name="T58" fmla="*/ 44 w 88"/>
                <a:gd name="T59" fmla="*/ 93 h 93"/>
                <a:gd name="T60" fmla="*/ 47 w 88"/>
                <a:gd name="T61" fmla="*/ 88 h 93"/>
                <a:gd name="T62" fmla="*/ 53 w 88"/>
                <a:gd name="T63" fmla="*/ 84 h 93"/>
                <a:gd name="T64" fmla="*/ 57 w 88"/>
                <a:gd name="T65" fmla="*/ 82 h 93"/>
                <a:gd name="T66" fmla="*/ 61 w 88"/>
                <a:gd name="T67" fmla="*/ 75 h 93"/>
                <a:gd name="T68" fmla="*/ 64 w 88"/>
                <a:gd name="T69" fmla="*/ 75 h 93"/>
                <a:gd name="T70" fmla="*/ 67 w 88"/>
                <a:gd name="T71" fmla="*/ 72 h 93"/>
                <a:gd name="T72" fmla="*/ 65 w 88"/>
                <a:gd name="T73" fmla="*/ 69 h 93"/>
                <a:gd name="T74" fmla="*/ 66 w 88"/>
                <a:gd name="T75" fmla="*/ 65 h 93"/>
                <a:gd name="T76" fmla="*/ 66 w 88"/>
                <a:gd name="T77" fmla="*/ 63 h 93"/>
                <a:gd name="T78" fmla="*/ 72 w 88"/>
                <a:gd name="T79" fmla="*/ 59 h 93"/>
                <a:gd name="T80" fmla="*/ 73 w 88"/>
                <a:gd name="T81" fmla="*/ 58 h 93"/>
                <a:gd name="T82" fmla="*/ 75 w 88"/>
                <a:gd name="T83" fmla="*/ 56 h 93"/>
                <a:gd name="T84" fmla="*/ 83 w 88"/>
                <a:gd name="T85" fmla="*/ 50 h 93"/>
                <a:gd name="T86" fmla="*/ 88 w 88"/>
                <a:gd name="T87" fmla="*/ 46 h 93"/>
                <a:gd name="T88" fmla="*/ 84 w 88"/>
                <a:gd name="T89" fmla="*/ 44 h 93"/>
                <a:gd name="T90" fmla="*/ 76 w 88"/>
                <a:gd name="T91" fmla="*/ 44 h 93"/>
                <a:gd name="T92" fmla="*/ 76 w 88"/>
                <a:gd name="T93" fmla="*/ 45 h 93"/>
                <a:gd name="T94" fmla="*/ 75 w 88"/>
                <a:gd name="T95" fmla="*/ 46 h 93"/>
                <a:gd name="T96" fmla="*/ 73 w 88"/>
                <a:gd name="T97" fmla="*/ 47 h 93"/>
                <a:gd name="T98" fmla="*/ 72 w 88"/>
                <a:gd name="T99" fmla="*/ 46 h 93"/>
                <a:gd name="T100" fmla="*/ 69 w 88"/>
                <a:gd name="T101" fmla="*/ 46 h 93"/>
                <a:gd name="T102" fmla="*/ 65 w 88"/>
                <a:gd name="T103" fmla="*/ 42 h 93"/>
                <a:gd name="T104" fmla="*/ 66 w 88"/>
                <a:gd name="T105" fmla="*/ 12 h 93"/>
                <a:gd name="T106" fmla="*/ 66 w 88"/>
                <a:gd name="T107" fmla="*/ 4 h 93"/>
                <a:gd name="T108" fmla="*/ 37 w 88"/>
                <a:gd name="T109" fmla="*/ 0 h 93"/>
                <a:gd name="T110" fmla="*/ 34 w 88"/>
                <a:gd name="T11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93">
                  <a:moveTo>
                    <a:pt x="29" y="0"/>
                  </a:moveTo>
                  <a:cubicBezTo>
                    <a:pt x="29" y="0"/>
                    <a:pt x="29" y="0"/>
                    <a:pt x="29" y="0"/>
                  </a:cubicBezTo>
                  <a:cubicBezTo>
                    <a:pt x="29" y="2"/>
                    <a:pt x="29" y="6"/>
                    <a:pt x="29" y="7"/>
                  </a:cubicBezTo>
                  <a:cubicBezTo>
                    <a:pt x="29" y="8"/>
                    <a:pt x="29" y="9"/>
                    <a:pt x="29" y="10"/>
                  </a:cubicBezTo>
                  <a:cubicBezTo>
                    <a:pt x="30" y="11"/>
                    <a:pt x="30" y="11"/>
                    <a:pt x="30" y="11"/>
                  </a:cubicBezTo>
                  <a:cubicBezTo>
                    <a:pt x="29" y="11"/>
                    <a:pt x="29" y="11"/>
                    <a:pt x="29" y="11"/>
                  </a:cubicBezTo>
                  <a:cubicBezTo>
                    <a:pt x="28" y="13"/>
                    <a:pt x="27" y="14"/>
                    <a:pt x="25" y="14"/>
                  </a:cubicBezTo>
                  <a:cubicBezTo>
                    <a:pt x="24" y="14"/>
                    <a:pt x="24" y="14"/>
                    <a:pt x="24" y="14"/>
                  </a:cubicBezTo>
                  <a:cubicBezTo>
                    <a:pt x="26" y="15"/>
                    <a:pt x="26" y="15"/>
                    <a:pt x="26" y="15"/>
                  </a:cubicBezTo>
                  <a:cubicBezTo>
                    <a:pt x="27" y="16"/>
                    <a:pt x="28" y="17"/>
                    <a:pt x="29" y="18"/>
                  </a:cubicBezTo>
                  <a:cubicBezTo>
                    <a:pt x="29" y="19"/>
                    <a:pt x="30" y="20"/>
                    <a:pt x="31" y="21"/>
                  </a:cubicBezTo>
                  <a:cubicBezTo>
                    <a:pt x="32" y="21"/>
                    <a:pt x="32" y="21"/>
                    <a:pt x="32" y="21"/>
                  </a:cubicBezTo>
                  <a:cubicBezTo>
                    <a:pt x="34" y="23"/>
                    <a:pt x="36" y="25"/>
                    <a:pt x="38" y="27"/>
                  </a:cubicBezTo>
                  <a:cubicBezTo>
                    <a:pt x="38" y="27"/>
                    <a:pt x="38" y="27"/>
                    <a:pt x="38" y="27"/>
                  </a:cubicBezTo>
                  <a:cubicBezTo>
                    <a:pt x="39" y="27"/>
                    <a:pt x="39" y="27"/>
                    <a:pt x="39" y="27"/>
                  </a:cubicBezTo>
                  <a:cubicBezTo>
                    <a:pt x="40" y="28"/>
                    <a:pt x="41" y="28"/>
                    <a:pt x="41" y="29"/>
                  </a:cubicBezTo>
                  <a:cubicBezTo>
                    <a:pt x="42" y="29"/>
                    <a:pt x="42" y="29"/>
                    <a:pt x="42" y="29"/>
                  </a:cubicBezTo>
                  <a:cubicBezTo>
                    <a:pt x="43" y="31"/>
                    <a:pt x="44" y="32"/>
                    <a:pt x="43" y="34"/>
                  </a:cubicBezTo>
                  <a:cubicBezTo>
                    <a:pt x="43" y="35"/>
                    <a:pt x="43" y="35"/>
                    <a:pt x="43" y="36"/>
                  </a:cubicBezTo>
                  <a:cubicBezTo>
                    <a:pt x="43" y="36"/>
                    <a:pt x="43" y="36"/>
                    <a:pt x="43" y="36"/>
                  </a:cubicBezTo>
                  <a:cubicBezTo>
                    <a:pt x="43" y="37"/>
                    <a:pt x="42" y="38"/>
                    <a:pt x="42" y="39"/>
                  </a:cubicBezTo>
                  <a:cubicBezTo>
                    <a:pt x="42" y="40"/>
                    <a:pt x="41" y="42"/>
                    <a:pt x="38" y="42"/>
                  </a:cubicBezTo>
                  <a:cubicBezTo>
                    <a:pt x="27" y="42"/>
                    <a:pt x="27" y="42"/>
                    <a:pt x="27" y="42"/>
                  </a:cubicBezTo>
                  <a:cubicBezTo>
                    <a:pt x="23" y="42"/>
                    <a:pt x="23" y="42"/>
                    <a:pt x="23" y="42"/>
                  </a:cubicBezTo>
                  <a:cubicBezTo>
                    <a:pt x="22" y="42"/>
                    <a:pt x="21" y="42"/>
                    <a:pt x="20" y="42"/>
                  </a:cubicBezTo>
                  <a:cubicBezTo>
                    <a:pt x="19" y="42"/>
                    <a:pt x="17" y="42"/>
                    <a:pt x="15" y="42"/>
                  </a:cubicBezTo>
                  <a:cubicBezTo>
                    <a:pt x="14" y="42"/>
                    <a:pt x="13" y="43"/>
                    <a:pt x="12" y="43"/>
                  </a:cubicBezTo>
                  <a:cubicBezTo>
                    <a:pt x="11" y="44"/>
                    <a:pt x="11" y="44"/>
                    <a:pt x="11" y="44"/>
                  </a:cubicBezTo>
                  <a:cubicBezTo>
                    <a:pt x="11" y="44"/>
                    <a:pt x="11" y="44"/>
                    <a:pt x="11" y="44"/>
                  </a:cubicBezTo>
                  <a:cubicBezTo>
                    <a:pt x="10" y="44"/>
                    <a:pt x="9" y="45"/>
                    <a:pt x="9" y="46"/>
                  </a:cubicBezTo>
                  <a:cubicBezTo>
                    <a:pt x="8" y="47"/>
                    <a:pt x="8" y="47"/>
                    <a:pt x="8" y="47"/>
                  </a:cubicBezTo>
                  <a:cubicBezTo>
                    <a:pt x="6" y="50"/>
                    <a:pt x="4" y="53"/>
                    <a:pt x="2" y="56"/>
                  </a:cubicBezTo>
                  <a:cubicBezTo>
                    <a:pt x="2" y="58"/>
                    <a:pt x="2" y="58"/>
                    <a:pt x="2" y="58"/>
                  </a:cubicBezTo>
                  <a:cubicBezTo>
                    <a:pt x="2" y="58"/>
                    <a:pt x="2" y="58"/>
                    <a:pt x="2" y="58"/>
                  </a:cubicBezTo>
                  <a:cubicBezTo>
                    <a:pt x="2" y="58"/>
                    <a:pt x="2" y="58"/>
                    <a:pt x="2" y="58"/>
                  </a:cubicBezTo>
                  <a:cubicBezTo>
                    <a:pt x="2" y="58"/>
                    <a:pt x="2" y="58"/>
                    <a:pt x="2" y="58"/>
                  </a:cubicBezTo>
                  <a:cubicBezTo>
                    <a:pt x="2" y="59"/>
                    <a:pt x="2" y="59"/>
                    <a:pt x="2" y="59"/>
                  </a:cubicBezTo>
                  <a:cubicBezTo>
                    <a:pt x="2" y="59"/>
                    <a:pt x="2" y="59"/>
                    <a:pt x="2" y="59"/>
                  </a:cubicBezTo>
                  <a:cubicBezTo>
                    <a:pt x="4" y="61"/>
                    <a:pt x="4" y="62"/>
                    <a:pt x="4" y="64"/>
                  </a:cubicBezTo>
                  <a:cubicBezTo>
                    <a:pt x="3" y="64"/>
                    <a:pt x="3" y="64"/>
                    <a:pt x="3" y="64"/>
                  </a:cubicBezTo>
                  <a:cubicBezTo>
                    <a:pt x="3" y="65"/>
                    <a:pt x="3" y="65"/>
                    <a:pt x="3" y="65"/>
                  </a:cubicBezTo>
                  <a:cubicBezTo>
                    <a:pt x="3" y="66"/>
                    <a:pt x="3" y="66"/>
                    <a:pt x="3" y="66"/>
                  </a:cubicBezTo>
                  <a:cubicBezTo>
                    <a:pt x="3" y="67"/>
                    <a:pt x="3" y="67"/>
                    <a:pt x="3" y="67"/>
                  </a:cubicBezTo>
                  <a:cubicBezTo>
                    <a:pt x="3" y="68"/>
                    <a:pt x="2" y="68"/>
                    <a:pt x="2" y="69"/>
                  </a:cubicBezTo>
                  <a:cubicBezTo>
                    <a:pt x="2" y="69"/>
                    <a:pt x="2" y="69"/>
                    <a:pt x="2" y="70"/>
                  </a:cubicBezTo>
                  <a:cubicBezTo>
                    <a:pt x="2" y="70"/>
                    <a:pt x="2" y="70"/>
                    <a:pt x="2" y="71"/>
                  </a:cubicBezTo>
                  <a:cubicBezTo>
                    <a:pt x="2" y="71"/>
                    <a:pt x="2" y="71"/>
                    <a:pt x="2" y="71"/>
                  </a:cubicBezTo>
                  <a:cubicBezTo>
                    <a:pt x="2" y="72"/>
                    <a:pt x="2" y="73"/>
                    <a:pt x="2" y="73"/>
                  </a:cubicBezTo>
                  <a:cubicBezTo>
                    <a:pt x="1" y="75"/>
                    <a:pt x="1" y="75"/>
                    <a:pt x="1" y="75"/>
                  </a:cubicBezTo>
                  <a:cubicBezTo>
                    <a:pt x="1" y="75"/>
                    <a:pt x="1" y="75"/>
                    <a:pt x="1" y="76"/>
                  </a:cubicBezTo>
                  <a:cubicBezTo>
                    <a:pt x="0" y="77"/>
                    <a:pt x="0" y="77"/>
                    <a:pt x="0" y="77"/>
                  </a:cubicBezTo>
                  <a:cubicBezTo>
                    <a:pt x="0" y="78"/>
                    <a:pt x="1" y="78"/>
                    <a:pt x="1" y="78"/>
                  </a:cubicBezTo>
                  <a:cubicBezTo>
                    <a:pt x="3" y="80"/>
                    <a:pt x="6" y="82"/>
                    <a:pt x="8" y="84"/>
                  </a:cubicBezTo>
                  <a:cubicBezTo>
                    <a:pt x="14" y="87"/>
                    <a:pt x="19" y="89"/>
                    <a:pt x="26" y="90"/>
                  </a:cubicBezTo>
                  <a:cubicBezTo>
                    <a:pt x="26" y="90"/>
                    <a:pt x="27" y="90"/>
                    <a:pt x="28" y="90"/>
                  </a:cubicBezTo>
                  <a:cubicBezTo>
                    <a:pt x="29" y="90"/>
                    <a:pt x="30" y="90"/>
                    <a:pt x="31" y="90"/>
                  </a:cubicBezTo>
                  <a:cubicBezTo>
                    <a:pt x="32" y="90"/>
                    <a:pt x="33" y="90"/>
                    <a:pt x="34" y="90"/>
                  </a:cubicBezTo>
                  <a:cubicBezTo>
                    <a:pt x="34" y="90"/>
                    <a:pt x="34" y="90"/>
                    <a:pt x="35" y="90"/>
                  </a:cubicBezTo>
                  <a:cubicBezTo>
                    <a:pt x="38" y="90"/>
                    <a:pt x="41" y="92"/>
                    <a:pt x="44" y="93"/>
                  </a:cubicBezTo>
                  <a:cubicBezTo>
                    <a:pt x="44" y="93"/>
                    <a:pt x="44" y="93"/>
                    <a:pt x="44" y="93"/>
                  </a:cubicBezTo>
                  <a:cubicBezTo>
                    <a:pt x="45" y="93"/>
                    <a:pt x="45" y="93"/>
                    <a:pt x="45" y="93"/>
                  </a:cubicBezTo>
                  <a:cubicBezTo>
                    <a:pt x="47" y="88"/>
                    <a:pt x="47" y="88"/>
                    <a:pt x="47" y="88"/>
                  </a:cubicBezTo>
                  <a:cubicBezTo>
                    <a:pt x="48" y="86"/>
                    <a:pt x="50" y="85"/>
                    <a:pt x="51" y="85"/>
                  </a:cubicBezTo>
                  <a:cubicBezTo>
                    <a:pt x="52" y="84"/>
                    <a:pt x="53" y="84"/>
                    <a:pt x="53" y="84"/>
                  </a:cubicBezTo>
                  <a:cubicBezTo>
                    <a:pt x="54" y="83"/>
                    <a:pt x="55" y="82"/>
                    <a:pt x="57" y="82"/>
                  </a:cubicBezTo>
                  <a:cubicBezTo>
                    <a:pt x="57" y="82"/>
                    <a:pt x="57" y="82"/>
                    <a:pt x="57" y="82"/>
                  </a:cubicBezTo>
                  <a:cubicBezTo>
                    <a:pt x="56" y="81"/>
                    <a:pt x="56" y="80"/>
                    <a:pt x="56" y="79"/>
                  </a:cubicBezTo>
                  <a:cubicBezTo>
                    <a:pt x="57" y="77"/>
                    <a:pt x="59" y="76"/>
                    <a:pt x="61" y="75"/>
                  </a:cubicBezTo>
                  <a:cubicBezTo>
                    <a:pt x="62" y="75"/>
                    <a:pt x="62" y="75"/>
                    <a:pt x="63" y="75"/>
                  </a:cubicBezTo>
                  <a:cubicBezTo>
                    <a:pt x="64" y="75"/>
                    <a:pt x="64" y="75"/>
                    <a:pt x="64" y="75"/>
                  </a:cubicBezTo>
                  <a:cubicBezTo>
                    <a:pt x="65" y="74"/>
                    <a:pt x="65" y="74"/>
                    <a:pt x="65" y="74"/>
                  </a:cubicBezTo>
                  <a:cubicBezTo>
                    <a:pt x="65" y="73"/>
                    <a:pt x="66" y="72"/>
                    <a:pt x="67" y="72"/>
                  </a:cubicBezTo>
                  <a:cubicBezTo>
                    <a:pt x="66" y="72"/>
                    <a:pt x="66" y="72"/>
                    <a:pt x="66" y="72"/>
                  </a:cubicBezTo>
                  <a:cubicBezTo>
                    <a:pt x="66" y="71"/>
                    <a:pt x="66" y="70"/>
                    <a:pt x="65" y="69"/>
                  </a:cubicBezTo>
                  <a:cubicBezTo>
                    <a:pt x="65" y="68"/>
                    <a:pt x="66" y="66"/>
                    <a:pt x="66" y="65"/>
                  </a:cubicBezTo>
                  <a:cubicBezTo>
                    <a:pt x="66" y="65"/>
                    <a:pt x="66" y="65"/>
                    <a:pt x="66" y="65"/>
                  </a:cubicBezTo>
                  <a:cubicBezTo>
                    <a:pt x="66" y="65"/>
                    <a:pt x="66" y="65"/>
                    <a:pt x="66" y="65"/>
                  </a:cubicBezTo>
                  <a:cubicBezTo>
                    <a:pt x="66" y="64"/>
                    <a:pt x="66" y="64"/>
                    <a:pt x="66" y="63"/>
                  </a:cubicBezTo>
                  <a:cubicBezTo>
                    <a:pt x="66" y="61"/>
                    <a:pt x="69" y="60"/>
                    <a:pt x="72" y="59"/>
                  </a:cubicBezTo>
                  <a:cubicBezTo>
                    <a:pt x="72" y="59"/>
                    <a:pt x="72" y="59"/>
                    <a:pt x="72" y="59"/>
                  </a:cubicBezTo>
                  <a:cubicBezTo>
                    <a:pt x="72" y="58"/>
                    <a:pt x="72" y="58"/>
                    <a:pt x="72" y="58"/>
                  </a:cubicBezTo>
                  <a:cubicBezTo>
                    <a:pt x="73" y="58"/>
                    <a:pt x="73" y="58"/>
                    <a:pt x="73" y="58"/>
                  </a:cubicBezTo>
                  <a:cubicBezTo>
                    <a:pt x="73" y="58"/>
                    <a:pt x="74" y="57"/>
                    <a:pt x="75" y="57"/>
                  </a:cubicBezTo>
                  <a:cubicBezTo>
                    <a:pt x="75" y="56"/>
                    <a:pt x="75" y="56"/>
                    <a:pt x="75" y="56"/>
                  </a:cubicBezTo>
                  <a:cubicBezTo>
                    <a:pt x="78" y="55"/>
                    <a:pt x="80" y="53"/>
                    <a:pt x="82" y="51"/>
                  </a:cubicBezTo>
                  <a:cubicBezTo>
                    <a:pt x="82" y="51"/>
                    <a:pt x="83" y="50"/>
                    <a:pt x="83" y="50"/>
                  </a:cubicBezTo>
                  <a:cubicBezTo>
                    <a:pt x="84" y="49"/>
                    <a:pt x="84" y="49"/>
                    <a:pt x="84" y="49"/>
                  </a:cubicBezTo>
                  <a:cubicBezTo>
                    <a:pt x="85" y="48"/>
                    <a:pt x="87" y="47"/>
                    <a:pt x="88" y="46"/>
                  </a:cubicBezTo>
                  <a:cubicBezTo>
                    <a:pt x="86" y="44"/>
                    <a:pt x="84" y="43"/>
                    <a:pt x="82" y="42"/>
                  </a:cubicBezTo>
                  <a:cubicBezTo>
                    <a:pt x="83" y="43"/>
                    <a:pt x="84" y="44"/>
                    <a:pt x="84" y="44"/>
                  </a:cubicBezTo>
                  <a:cubicBezTo>
                    <a:pt x="83" y="45"/>
                    <a:pt x="82" y="46"/>
                    <a:pt x="81" y="46"/>
                  </a:cubicBezTo>
                  <a:cubicBezTo>
                    <a:pt x="79" y="46"/>
                    <a:pt x="78" y="45"/>
                    <a:pt x="76" y="44"/>
                  </a:cubicBezTo>
                  <a:cubicBezTo>
                    <a:pt x="76" y="44"/>
                    <a:pt x="76" y="44"/>
                    <a:pt x="76" y="44"/>
                  </a:cubicBezTo>
                  <a:cubicBezTo>
                    <a:pt x="76" y="45"/>
                    <a:pt x="76" y="45"/>
                    <a:pt x="76" y="45"/>
                  </a:cubicBezTo>
                  <a:cubicBezTo>
                    <a:pt x="75" y="46"/>
                    <a:pt x="75" y="46"/>
                    <a:pt x="75" y="46"/>
                  </a:cubicBezTo>
                  <a:cubicBezTo>
                    <a:pt x="75" y="46"/>
                    <a:pt x="75" y="46"/>
                    <a:pt x="75" y="46"/>
                  </a:cubicBezTo>
                  <a:cubicBezTo>
                    <a:pt x="74" y="46"/>
                    <a:pt x="74" y="46"/>
                    <a:pt x="74" y="46"/>
                  </a:cubicBezTo>
                  <a:cubicBezTo>
                    <a:pt x="73" y="47"/>
                    <a:pt x="73" y="47"/>
                    <a:pt x="73" y="47"/>
                  </a:cubicBezTo>
                  <a:cubicBezTo>
                    <a:pt x="73" y="46"/>
                    <a:pt x="73" y="46"/>
                    <a:pt x="73" y="46"/>
                  </a:cubicBezTo>
                  <a:cubicBezTo>
                    <a:pt x="72" y="46"/>
                    <a:pt x="72" y="46"/>
                    <a:pt x="72" y="46"/>
                  </a:cubicBezTo>
                  <a:cubicBezTo>
                    <a:pt x="71" y="46"/>
                    <a:pt x="71" y="46"/>
                    <a:pt x="71" y="46"/>
                  </a:cubicBezTo>
                  <a:cubicBezTo>
                    <a:pt x="70" y="46"/>
                    <a:pt x="70" y="46"/>
                    <a:pt x="69" y="46"/>
                  </a:cubicBezTo>
                  <a:cubicBezTo>
                    <a:pt x="64" y="46"/>
                    <a:pt x="64" y="46"/>
                    <a:pt x="64" y="46"/>
                  </a:cubicBezTo>
                  <a:cubicBezTo>
                    <a:pt x="65" y="42"/>
                    <a:pt x="65" y="42"/>
                    <a:pt x="65" y="42"/>
                  </a:cubicBezTo>
                  <a:cubicBezTo>
                    <a:pt x="65" y="31"/>
                    <a:pt x="66" y="22"/>
                    <a:pt x="66" y="13"/>
                  </a:cubicBezTo>
                  <a:cubicBezTo>
                    <a:pt x="66" y="12"/>
                    <a:pt x="66" y="12"/>
                    <a:pt x="66" y="12"/>
                  </a:cubicBezTo>
                  <a:cubicBezTo>
                    <a:pt x="66" y="10"/>
                    <a:pt x="66" y="8"/>
                    <a:pt x="66" y="6"/>
                  </a:cubicBezTo>
                  <a:cubicBezTo>
                    <a:pt x="66" y="4"/>
                    <a:pt x="66" y="4"/>
                    <a:pt x="66" y="4"/>
                  </a:cubicBezTo>
                  <a:cubicBezTo>
                    <a:pt x="66" y="3"/>
                    <a:pt x="66" y="2"/>
                    <a:pt x="66" y="0"/>
                  </a:cubicBezTo>
                  <a:cubicBezTo>
                    <a:pt x="37" y="0"/>
                    <a:pt x="37" y="0"/>
                    <a:pt x="37" y="0"/>
                  </a:cubicBezTo>
                  <a:cubicBezTo>
                    <a:pt x="36" y="0"/>
                    <a:pt x="36" y="0"/>
                    <a:pt x="35" y="0"/>
                  </a:cubicBezTo>
                  <a:cubicBezTo>
                    <a:pt x="34" y="0"/>
                    <a:pt x="34" y="0"/>
                    <a:pt x="34" y="0"/>
                  </a:cubicBezTo>
                  <a:cubicBezTo>
                    <a:pt x="31"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7" name="Freeform 360">
              <a:extLst>
                <a:ext uri="{FF2B5EF4-FFF2-40B4-BE49-F238E27FC236}">
                  <a16:creationId xmlns:a16="http://schemas.microsoft.com/office/drawing/2014/main" id="{EC8816FC-8DF3-4984-8891-593AD2C32942}"/>
                </a:ext>
              </a:extLst>
            </p:cNvPr>
            <p:cNvSpPr>
              <a:spLocks noEditPoints="1"/>
            </p:cNvSpPr>
            <p:nvPr/>
          </p:nvSpPr>
          <p:spPr bwMode="auto">
            <a:xfrm>
              <a:off x="8699491" y="8298685"/>
              <a:ext cx="487363" cy="203200"/>
            </a:xfrm>
            <a:custGeom>
              <a:avLst/>
              <a:gdLst>
                <a:gd name="T0" fmla="*/ 104 w 130"/>
                <a:gd name="T1" fmla="*/ 28 h 54"/>
                <a:gd name="T2" fmla="*/ 104 w 130"/>
                <a:gd name="T3" fmla="*/ 28 h 54"/>
                <a:gd name="T4" fmla="*/ 108 w 130"/>
                <a:gd name="T5" fmla="*/ 24 h 54"/>
                <a:gd name="T6" fmla="*/ 109 w 130"/>
                <a:gd name="T7" fmla="*/ 24 h 54"/>
                <a:gd name="T8" fmla="*/ 109 w 130"/>
                <a:gd name="T9" fmla="*/ 24 h 54"/>
                <a:gd name="T10" fmla="*/ 109 w 130"/>
                <a:gd name="T11" fmla="*/ 24 h 54"/>
                <a:gd name="T12" fmla="*/ 109 w 130"/>
                <a:gd name="T13" fmla="*/ 24 h 54"/>
                <a:gd name="T14" fmla="*/ 81 w 130"/>
                <a:gd name="T15" fmla="*/ 0 h 54"/>
                <a:gd name="T16" fmla="*/ 51 w 130"/>
                <a:gd name="T17" fmla="*/ 14 h 54"/>
                <a:gd name="T18" fmla="*/ 37 w 130"/>
                <a:gd name="T19" fmla="*/ 17 h 54"/>
                <a:gd name="T20" fmla="*/ 26 w 130"/>
                <a:gd name="T21" fmla="*/ 13 h 54"/>
                <a:gd name="T22" fmla="*/ 20 w 130"/>
                <a:gd name="T23" fmla="*/ 14 h 54"/>
                <a:gd name="T24" fmla="*/ 16 w 130"/>
                <a:gd name="T25" fmla="*/ 9 h 54"/>
                <a:gd name="T26" fmla="*/ 9 w 130"/>
                <a:gd name="T27" fmla="*/ 2 h 54"/>
                <a:gd name="T28" fmla="*/ 3 w 130"/>
                <a:gd name="T29" fmla="*/ 2 h 54"/>
                <a:gd name="T30" fmla="*/ 3 w 130"/>
                <a:gd name="T31" fmla="*/ 3 h 54"/>
                <a:gd name="T32" fmla="*/ 2 w 130"/>
                <a:gd name="T33" fmla="*/ 9 h 54"/>
                <a:gd name="T34" fmla="*/ 4 w 130"/>
                <a:gd name="T35" fmla="*/ 11 h 54"/>
                <a:gd name="T36" fmla="*/ 9 w 130"/>
                <a:gd name="T37" fmla="*/ 14 h 54"/>
                <a:gd name="T38" fmla="*/ 5 w 130"/>
                <a:gd name="T39" fmla="*/ 18 h 54"/>
                <a:gd name="T40" fmla="*/ 3 w 130"/>
                <a:gd name="T41" fmla="*/ 20 h 54"/>
                <a:gd name="T42" fmla="*/ 3 w 130"/>
                <a:gd name="T43" fmla="*/ 26 h 54"/>
                <a:gd name="T44" fmla="*/ 0 w 130"/>
                <a:gd name="T45" fmla="*/ 28 h 54"/>
                <a:gd name="T46" fmla="*/ 0 w 130"/>
                <a:gd name="T47" fmla="*/ 29 h 54"/>
                <a:gd name="T48" fmla="*/ 6 w 130"/>
                <a:gd name="T49" fmla="*/ 29 h 54"/>
                <a:gd name="T50" fmla="*/ 18 w 130"/>
                <a:gd name="T51" fmla="*/ 32 h 54"/>
                <a:gd name="T52" fmla="*/ 22 w 130"/>
                <a:gd name="T53" fmla="*/ 31 h 54"/>
                <a:gd name="T54" fmla="*/ 24 w 130"/>
                <a:gd name="T55" fmla="*/ 32 h 54"/>
                <a:gd name="T56" fmla="*/ 27 w 130"/>
                <a:gd name="T57" fmla="*/ 32 h 54"/>
                <a:gd name="T58" fmla="*/ 35 w 130"/>
                <a:gd name="T59" fmla="*/ 44 h 54"/>
                <a:gd name="T60" fmla="*/ 42 w 130"/>
                <a:gd name="T61" fmla="*/ 39 h 54"/>
                <a:gd name="T62" fmla="*/ 45 w 130"/>
                <a:gd name="T63" fmla="*/ 45 h 54"/>
                <a:gd name="T64" fmla="*/ 46 w 130"/>
                <a:gd name="T65" fmla="*/ 54 h 54"/>
                <a:gd name="T66" fmla="*/ 56 w 130"/>
                <a:gd name="T67" fmla="*/ 53 h 54"/>
                <a:gd name="T68" fmla="*/ 60 w 130"/>
                <a:gd name="T69" fmla="*/ 39 h 54"/>
                <a:gd name="T70" fmla="*/ 60 w 130"/>
                <a:gd name="T71" fmla="*/ 29 h 54"/>
                <a:gd name="T72" fmla="*/ 73 w 130"/>
                <a:gd name="T73" fmla="*/ 21 h 54"/>
                <a:gd name="T74" fmla="*/ 72 w 130"/>
                <a:gd name="T75" fmla="*/ 21 h 54"/>
                <a:gd name="T76" fmla="*/ 74 w 130"/>
                <a:gd name="T77" fmla="*/ 16 h 54"/>
                <a:gd name="T78" fmla="*/ 88 w 130"/>
                <a:gd name="T79" fmla="*/ 11 h 54"/>
                <a:gd name="T80" fmla="*/ 100 w 130"/>
                <a:gd name="T81" fmla="*/ 19 h 54"/>
                <a:gd name="T82" fmla="*/ 104 w 130"/>
                <a:gd name="T83" fmla="*/ 28 h 54"/>
                <a:gd name="T84" fmla="*/ 104 w 130"/>
                <a:gd name="T85" fmla="*/ 24 h 54"/>
                <a:gd name="T86" fmla="*/ 106 w 130"/>
                <a:gd name="T87" fmla="*/ 24 h 54"/>
                <a:gd name="T88" fmla="*/ 108 w 130"/>
                <a:gd name="T89" fmla="*/ 27 h 54"/>
                <a:gd name="T90" fmla="*/ 112 w 130"/>
                <a:gd name="T91" fmla="*/ 26 h 54"/>
                <a:gd name="T92" fmla="*/ 118 w 130"/>
                <a:gd name="T93" fmla="*/ 32 h 54"/>
                <a:gd name="T94" fmla="*/ 115 w 130"/>
                <a:gd name="T95" fmla="*/ 30 h 54"/>
                <a:gd name="T96" fmla="*/ 113 w 130"/>
                <a:gd name="T97" fmla="*/ 30 h 54"/>
                <a:gd name="T98" fmla="*/ 111 w 130"/>
                <a:gd name="T99" fmla="*/ 27 h 54"/>
                <a:gd name="T100" fmla="*/ 104 w 130"/>
                <a:gd name="T101" fmla="*/ 34 h 54"/>
                <a:gd name="T102" fmla="*/ 115 w 130"/>
                <a:gd name="T103" fmla="*/ 51 h 54"/>
                <a:gd name="T104" fmla="*/ 116 w 130"/>
                <a:gd name="T105" fmla="*/ 50 h 54"/>
                <a:gd name="T106" fmla="*/ 117 w 130"/>
                <a:gd name="T107" fmla="*/ 47 h 54"/>
                <a:gd name="T108" fmla="*/ 117 w 130"/>
                <a:gd name="T109" fmla="*/ 44 h 54"/>
                <a:gd name="T110" fmla="*/ 117 w 130"/>
                <a:gd name="T111" fmla="*/ 41 h 54"/>
                <a:gd name="T112" fmla="*/ 122 w 130"/>
                <a:gd name="T113" fmla="*/ 40 h 54"/>
                <a:gd name="T114" fmla="*/ 124 w 130"/>
                <a:gd name="T115" fmla="*/ 43 h 54"/>
                <a:gd name="T116" fmla="*/ 130 w 130"/>
                <a:gd name="T117" fmla="*/ 37 h 54"/>
                <a:gd name="T118" fmla="*/ 125 w 130"/>
                <a:gd name="T119" fmla="*/ 26 h 54"/>
                <a:gd name="T120" fmla="*/ 116 w 130"/>
                <a:gd name="T121" fmla="*/ 10 h 54"/>
                <a:gd name="T122" fmla="*/ 81 w 130"/>
                <a:gd name="T1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54">
                  <a:moveTo>
                    <a:pt x="104" y="28"/>
                  </a:moveTo>
                  <a:cubicBezTo>
                    <a:pt x="104" y="28"/>
                    <a:pt x="104" y="28"/>
                    <a:pt x="104" y="28"/>
                  </a:cubicBezTo>
                  <a:cubicBezTo>
                    <a:pt x="104" y="28"/>
                    <a:pt x="104" y="28"/>
                    <a:pt x="104" y="28"/>
                  </a:cubicBezTo>
                  <a:cubicBezTo>
                    <a:pt x="104" y="28"/>
                    <a:pt x="104" y="28"/>
                    <a:pt x="104" y="28"/>
                  </a:cubicBezTo>
                  <a:moveTo>
                    <a:pt x="108" y="24"/>
                  </a:moveTo>
                  <a:cubicBezTo>
                    <a:pt x="108" y="24"/>
                    <a:pt x="108" y="24"/>
                    <a:pt x="108" y="24"/>
                  </a:cubicBezTo>
                  <a:cubicBezTo>
                    <a:pt x="108" y="24"/>
                    <a:pt x="108" y="24"/>
                    <a:pt x="108" y="24"/>
                  </a:cubicBezTo>
                  <a:cubicBezTo>
                    <a:pt x="108" y="24"/>
                    <a:pt x="108"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9" y="24"/>
                    <a:pt x="109" y="24"/>
                  </a:cubicBezTo>
                  <a:cubicBezTo>
                    <a:pt x="109" y="24"/>
                    <a:pt x="108" y="24"/>
                    <a:pt x="108" y="24"/>
                  </a:cubicBezTo>
                  <a:moveTo>
                    <a:pt x="81" y="0"/>
                  </a:moveTo>
                  <a:cubicBezTo>
                    <a:pt x="77" y="0"/>
                    <a:pt x="70" y="3"/>
                    <a:pt x="67" y="6"/>
                  </a:cubicBezTo>
                  <a:cubicBezTo>
                    <a:pt x="63" y="10"/>
                    <a:pt x="56" y="12"/>
                    <a:pt x="51" y="14"/>
                  </a:cubicBezTo>
                  <a:cubicBezTo>
                    <a:pt x="48" y="16"/>
                    <a:pt x="44" y="18"/>
                    <a:pt x="40" y="18"/>
                  </a:cubicBezTo>
                  <a:cubicBezTo>
                    <a:pt x="39" y="18"/>
                    <a:pt x="38" y="17"/>
                    <a:pt x="37" y="17"/>
                  </a:cubicBezTo>
                  <a:cubicBezTo>
                    <a:pt x="33" y="15"/>
                    <a:pt x="27" y="12"/>
                    <a:pt x="24" y="9"/>
                  </a:cubicBezTo>
                  <a:cubicBezTo>
                    <a:pt x="25" y="10"/>
                    <a:pt x="26" y="12"/>
                    <a:pt x="26" y="13"/>
                  </a:cubicBezTo>
                  <a:cubicBezTo>
                    <a:pt x="25" y="14"/>
                    <a:pt x="23" y="15"/>
                    <a:pt x="21" y="15"/>
                  </a:cubicBezTo>
                  <a:cubicBezTo>
                    <a:pt x="20" y="15"/>
                    <a:pt x="20" y="15"/>
                    <a:pt x="20" y="14"/>
                  </a:cubicBezTo>
                  <a:cubicBezTo>
                    <a:pt x="18" y="14"/>
                    <a:pt x="14" y="11"/>
                    <a:pt x="16" y="9"/>
                  </a:cubicBezTo>
                  <a:cubicBezTo>
                    <a:pt x="16" y="9"/>
                    <a:pt x="16" y="9"/>
                    <a:pt x="16" y="9"/>
                  </a:cubicBezTo>
                  <a:cubicBezTo>
                    <a:pt x="14" y="9"/>
                    <a:pt x="11" y="5"/>
                    <a:pt x="10" y="2"/>
                  </a:cubicBezTo>
                  <a:cubicBezTo>
                    <a:pt x="9" y="2"/>
                    <a:pt x="9" y="2"/>
                    <a:pt x="9" y="2"/>
                  </a:cubicBezTo>
                  <a:cubicBezTo>
                    <a:pt x="6" y="2"/>
                    <a:pt x="5" y="2"/>
                    <a:pt x="4" y="2"/>
                  </a:cubicBezTo>
                  <a:cubicBezTo>
                    <a:pt x="3" y="2"/>
                    <a:pt x="3" y="2"/>
                    <a:pt x="3" y="2"/>
                  </a:cubicBezTo>
                  <a:cubicBezTo>
                    <a:pt x="3" y="2"/>
                    <a:pt x="3" y="2"/>
                    <a:pt x="3" y="2"/>
                  </a:cubicBezTo>
                  <a:cubicBezTo>
                    <a:pt x="3" y="3"/>
                    <a:pt x="3" y="3"/>
                    <a:pt x="3" y="3"/>
                  </a:cubicBezTo>
                  <a:cubicBezTo>
                    <a:pt x="3" y="3"/>
                    <a:pt x="3" y="3"/>
                    <a:pt x="3" y="3"/>
                  </a:cubicBezTo>
                  <a:cubicBezTo>
                    <a:pt x="3" y="5"/>
                    <a:pt x="3" y="7"/>
                    <a:pt x="2" y="9"/>
                  </a:cubicBezTo>
                  <a:cubicBezTo>
                    <a:pt x="2" y="10"/>
                    <a:pt x="2" y="10"/>
                    <a:pt x="2" y="10"/>
                  </a:cubicBezTo>
                  <a:cubicBezTo>
                    <a:pt x="3" y="11"/>
                    <a:pt x="4" y="11"/>
                    <a:pt x="4" y="11"/>
                  </a:cubicBezTo>
                  <a:cubicBezTo>
                    <a:pt x="5" y="12"/>
                    <a:pt x="5" y="12"/>
                    <a:pt x="6" y="12"/>
                  </a:cubicBezTo>
                  <a:cubicBezTo>
                    <a:pt x="9" y="14"/>
                    <a:pt x="9" y="14"/>
                    <a:pt x="9" y="14"/>
                  </a:cubicBezTo>
                  <a:cubicBezTo>
                    <a:pt x="6" y="17"/>
                    <a:pt x="6" y="17"/>
                    <a:pt x="6" y="17"/>
                  </a:cubicBezTo>
                  <a:cubicBezTo>
                    <a:pt x="6" y="17"/>
                    <a:pt x="6" y="17"/>
                    <a:pt x="5" y="18"/>
                  </a:cubicBezTo>
                  <a:cubicBezTo>
                    <a:pt x="5" y="18"/>
                    <a:pt x="5" y="18"/>
                    <a:pt x="5" y="18"/>
                  </a:cubicBezTo>
                  <a:cubicBezTo>
                    <a:pt x="4" y="19"/>
                    <a:pt x="3" y="19"/>
                    <a:pt x="3" y="20"/>
                  </a:cubicBezTo>
                  <a:cubicBezTo>
                    <a:pt x="4" y="20"/>
                    <a:pt x="4" y="21"/>
                    <a:pt x="4" y="22"/>
                  </a:cubicBezTo>
                  <a:cubicBezTo>
                    <a:pt x="4" y="24"/>
                    <a:pt x="3" y="25"/>
                    <a:pt x="3" y="26"/>
                  </a:cubicBezTo>
                  <a:cubicBezTo>
                    <a:pt x="2" y="26"/>
                    <a:pt x="2" y="26"/>
                    <a:pt x="2" y="26"/>
                  </a:cubicBezTo>
                  <a:cubicBezTo>
                    <a:pt x="2" y="27"/>
                    <a:pt x="1" y="28"/>
                    <a:pt x="0" y="28"/>
                  </a:cubicBezTo>
                  <a:cubicBezTo>
                    <a:pt x="0" y="29"/>
                    <a:pt x="0" y="29"/>
                    <a:pt x="0" y="29"/>
                  </a:cubicBezTo>
                  <a:cubicBezTo>
                    <a:pt x="0" y="29"/>
                    <a:pt x="0" y="29"/>
                    <a:pt x="0" y="29"/>
                  </a:cubicBezTo>
                  <a:cubicBezTo>
                    <a:pt x="2" y="33"/>
                    <a:pt x="2" y="33"/>
                    <a:pt x="2" y="33"/>
                  </a:cubicBezTo>
                  <a:cubicBezTo>
                    <a:pt x="3" y="31"/>
                    <a:pt x="4" y="29"/>
                    <a:pt x="6" y="29"/>
                  </a:cubicBezTo>
                  <a:cubicBezTo>
                    <a:pt x="9" y="29"/>
                    <a:pt x="13" y="29"/>
                    <a:pt x="16" y="28"/>
                  </a:cubicBezTo>
                  <a:cubicBezTo>
                    <a:pt x="16" y="30"/>
                    <a:pt x="16" y="32"/>
                    <a:pt x="18" y="32"/>
                  </a:cubicBezTo>
                  <a:cubicBezTo>
                    <a:pt x="17" y="32"/>
                    <a:pt x="17" y="32"/>
                    <a:pt x="17" y="32"/>
                  </a:cubicBezTo>
                  <a:cubicBezTo>
                    <a:pt x="19" y="32"/>
                    <a:pt x="21" y="31"/>
                    <a:pt x="22" y="31"/>
                  </a:cubicBezTo>
                  <a:cubicBezTo>
                    <a:pt x="22" y="31"/>
                    <a:pt x="23" y="31"/>
                    <a:pt x="23" y="31"/>
                  </a:cubicBezTo>
                  <a:cubicBezTo>
                    <a:pt x="23" y="31"/>
                    <a:pt x="24" y="31"/>
                    <a:pt x="24" y="32"/>
                  </a:cubicBezTo>
                  <a:cubicBezTo>
                    <a:pt x="25" y="32"/>
                    <a:pt x="25" y="32"/>
                    <a:pt x="26" y="32"/>
                  </a:cubicBezTo>
                  <a:cubicBezTo>
                    <a:pt x="26" y="32"/>
                    <a:pt x="26" y="32"/>
                    <a:pt x="27" y="32"/>
                  </a:cubicBezTo>
                  <a:cubicBezTo>
                    <a:pt x="29" y="36"/>
                    <a:pt x="30" y="39"/>
                    <a:pt x="33" y="42"/>
                  </a:cubicBezTo>
                  <a:cubicBezTo>
                    <a:pt x="31" y="43"/>
                    <a:pt x="34" y="44"/>
                    <a:pt x="35" y="44"/>
                  </a:cubicBezTo>
                  <a:cubicBezTo>
                    <a:pt x="37" y="44"/>
                    <a:pt x="38" y="45"/>
                    <a:pt x="39" y="45"/>
                  </a:cubicBezTo>
                  <a:cubicBezTo>
                    <a:pt x="39" y="42"/>
                    <a:pt x="38" y="39"/>
                    <a:pt x="42" y="39"/>
                  </a:cubicBezTo>
                  <a:cubicBezTo>
                    <a:pt x="42" y="39"/>
                    <a:pt x="42" y="39"/>
                    <a:pt x="42" y="39"/>
                  </a:cubicBezTo>
                  <a:cubicBezTo>
                    <a:pt x="44" y="39"/>
                    <a:pt x="44" y="43"/>
                    <a:pt x="45" y="45"/>
                  </a:cubicBezTo>
                  <a:cubicBezTo>
                    <a:pt x="45" y="47"/>
                    <a:pt x="47" y="50"/>
                    <a:pt x="47" y="51"/>
                  </a:cubicBezTo>
                  <a:cubicBezTo>
                    <a:pt x="47" y="52"/>
                    <a:pt x="46" y="53"/>
                    <a:pt x="46" y="54"/>
                  </a:cubicBezTo>
                  <a:cubicBezTo>
                    <a:pt x="48" y="54"/>
                    <a:pt x="49" y="54"/>
                    <a:pt x="51" y="54"/>
                  </a:cubicBezTo>
                  <a:cubicBezTo>
                    <a:pt x="52" y="54"/>
                    <a:pt x="54" y="54"/>
                    <a:pt x="56" y="53"/>
                  </a:cubicBezTo>
                  <a:cubicBezTo>
                    <a:pt x="60" y="51"/>
                    <a:pt x="63" y="49"/>
                    <a:pt x="68" y="48"/>
                  </a:cubicBezTo>
                  <a:cubicBezTo>
                    <a:pt x="66" y="44"/>
                    <a:pt x="63" y="42"/>
                    <a:pt x="60" y="39"/>
                  </a:cubicBezTo>
                  <a:cubicBezTo>
                    <a:pt x="58" y="36"/>
                    <a:pt x="54" y="33"/>
                    <a:pt x="59" y="29"/>
                  </a:cubicBezTo>
                  <a:cubicBezTo>
                    <a:pt x="59" y="29"/>
                    <a:pt x="59" y="29"/>
                    <a:pt x="60" y="29"/>
                  </a:cubicBezTo>
                  <a:cubicBezTo>
                    <a:pt x="64" y="29"/>
                    <a:pt x="72" y="23"/>
                    <a:pt x="74" y="21"/>
                  </a:cubicBezTo>
                  <a:cubicBezTo>
                    <a:pt x="74" y="21"/>
                    <a:pt x="74" y="21"/>
                    <a:pt x="73" y="21"/>
                  </a:cubicBezTo>
                  <a:cubicBezTo>
                    <a:pt x="73" y="21"/>
                    <a:pt x="73" y="21"/>
                    <a:pt x="73" y="21"/>
                  </a:cubicBezTo>
                  <a:cubicBezTo>
                    <a:pt x="72" y="21"/>
                    <a:pt x="72" y="21"/>
                    <a:pt x="72" y="21"/>
                  </a:cubicBezTo>
                  <a:cubicBezTo>
                    <a:pt x="72" y="21"/>
                    <a:pt x="72" y="21"/>
                    <a:pt x="71" y="21"/>
                  </a:cubicBezTo>
                  <a:cubicBezTo>
                    <a:pt x="72" y="20"/>
                    <a:pt x="73" y="18"/>
                    <a:pt x="74" y="16"/>
                  </a:cubicBezTo>
                  <a:cubicBezTo>
                    <a:pt x="75" y="16"/>
                    <a:pt x="78" y="15"/>
                    <a:pt x="79" y="14"/>
                  </a:cubicBezTo>
                  <a:cubicBezTo>
                    <a:pt x="81" y="12"/>
                    <a:pt x="86" y="14"/>
                    <a:pt x="88" y="11"/>
                  </a:cubicBezTo>
                  <a:cubicBezTo>
                    <a:pt x="88" y="13"/>
                    <a:pt x="89" y="13"/>
                    <a:pt x="91" y="14"/>
                  </a:cubicBezTo>
                  <a:cubicBezTo>
                    <a:pt x="94" y="15"/>
                    <a:pt x="96" y="17"/>
                    <a:pt x="100" y="19"/>
                  </a:cubicBezTo>
                  <a:cubicBezTo>
                    <a:pt x="99" y="18"/>
                    <a:pt x="99" y="18"/>
                    <a:pt x="99" y="18"/>
                  </a:cubicBezTo>
                  <a:cubicBezTo>
                    <a:pt x="101" y="21"/>
                    <a:pt x="103" y="25"/>
                    <a:pt x="104" y="28"/>
                  </a:cubicBezTo>
                  <a:cubicBezTo>
                    <a:pt x="104" y="28"/>
                    <a:pt x="104" y="27"/>
                    <a:pt x="104" y="26"/>
                  </a:cubicBezTo>
                  <a:cubicBezTo>
                    <a:pt x="104" y="25"/>
                    <a:pt x="104" y="24"/>
                    <a:pt x="104" y="24"/>
                  </a:cubicBezTo>
                  <a:cubicBezTo>
                    <a:pt x="104" y="24"/>
                    <a:pt x="104" y="24"/>
                    <a:pt x="104" y="24"/>
                  </a:cubicBezTo>
                  <a:cubicBezTo>
                    <a:pt x="105" y="24"/>
                    <a:pt x="105" y="24"/>
                    <a:pt x="106" y="24"/>
                  </a:cubicBezTo>
                  <a:cubicBezTo>
                    <a:pt x="107" y="24"/>
                    <a:pt x="108" y="24"/>
                    <a:pt x="108" y="24"/>
                  </a:cubicBezTo>
                  <a:cubicBezTo>
                    <a:pt x="109" y="25"/>
                    <a:pt x="108" y="27"/>
                    <a:pt x="108" y="27"/>
                  </a:cubicBezTo>
                  <a:cubicBezTo>
                    <a:pt x="109" y="26"/>
                    <a:pt x="110" y="25"/>
                    <a:pt x="111" y="25"/>
                  </a:cubicBezTo>
                  <a:cubicBezTo>
                    <a:pt x="111" y="25"/>
                    <a:pt x="111" y="25"/>
                    <a:pt x="112" y="26"/>
                  </a:cubicBezTo>
                  <a:cubicBezTo>
                    <a:pt x="111" y="25"/>
                    <a:pt x="111" y="24"/>
                    <a:pt x="111" y="23"/>
                  </a:cubicBezTo>
                  <a:cubicBezTo>
                    <a:pt x="113" y="26"/>
                    <a:pt x="117" y="29"/>
                    <a:pt x="118" y="32"/>
                  </a:cubicBezTo>
                  <a:cubicBezTo>
                    <a:pt x="118" y="32"/>
                    <a:pt x="117" y="31"/>
                    <a:pt x="116" y="31"/>
                  </a:cubicBezTo>
                  <a:cubicBezTo>
                    <a:pt x="116" y="30"/>
                    <a:pt x="115" y="30"/>
                    <a:pt x="115" y="30"/>
                  </a:cubicBezTo>
                  <a:cubicBezTo>
                    <a:pt x="115" y="30"/>
                    <a:pt x="115" y="30"/>
                    <a:pt x="115" y="30"/>
                  </a:cubicBezTo>
                  <a:cubicBezTo>
                    <a:pt x="114" y="30"/>
                    <a:pt x="114" y="30"/>
                    <a:pt x="113" y="30"/>
                  </a:cubicBezTo>
                  <a:cubicBezTo>
                    <a:pt x="113" y="30"/>
                    <a:pt x="112" y="28"/>
                    <a:pt x="111" y="28"/>
                  </a:cubicBezTo>
                  <a:cubicBezTo>
                    <a:pt x="111" y="28"/>
                    <a:pt x="111" y="27"/>
                    <a:pt x="111" y="27"/>
                  </a:cubicBezTo>
                  <a:cubicBezTo>
                    <a:pt x="111" y="27"/>
                    <a:pt x="111" y="27"/>
                    <a:pt x="111" y="27"/>
                  </a:cubicBezTo>
                  <a:cubicBezTo>
                    <a:pt x="109" y="27"/>
                    <a:pt x="105" y="33"/>
                    <a:pt x="104" y="34"/>
                  </a:cubicBezTo>
                  <a:cubicBezTo>
                    <a:pt x="103" y="40"/>
                    <a:pt x="110" y="47"/>
                    <a:pt x="114" y="52"/>
                  </a:cubicBezTo>
                  <a:cubicBezTo>
                    <a:pt x="115" y="51"/>
                    <a:pt x="115" y="51"/>
                    <a:pt x="115" y="51"/>
                  </a:cubicBezTo>
                  <a:cubicBezTo>
                    <a:pt x="115" y="51"/>
                    <a:pt x="115" y="51"/>
                    <a:pt x="115" y="50"/>
                  </a:cubicBezTo>
                  <a:cubicBezTo>
                    <a:pt x="116" y="50"/>
                    <a:pt x="116" y="50"/>
                    <a:pt x="116" y="50"/>
                  </a:cubicBezTo>
                  <a:cubicBezTo>
                    <a:pt x="116" y="49"/>
                    <a:pt x="117" y="48"/>
                    <a:pt x="117" y="47"/>
                  </a:cubicBezTo>
                  <a:cubicBezTo>
                    <a:pt x="117" y="47"/>
                    <a:pt x="117" y="47"/>
                    <a:pt x="117" y="47"/>
                  </a:cubicBezTo>
                  <a:cubicBezTo>
                    <a:pt x="117" y="46"/>
                    <a:pt x="117" y="46"/>
                    <a:pt x="117" y="46"/>
                  </a:cubicBezTo>
                  <a:cubicBezTo>
                    <a:pt x="117" y="44"/>
                    <a:pt x="117" y="44"/>
                    <a:pt x="117" y="44"/>
                  </a:cubicBezTo>
                  <a:cubicBezTo>
                    <a:pt x="117" y="44"/>
                    <a:pt x="117" y="43"/>
                    <a:pt x="117" y="42"/>
                  </a:cubicBezTo>
                  <a:cubicBezTo>
                    <a:pt x="117" y="41"/>
                    <a:pt x="117" y="41"/>
                    <a:pt x="117" y="41"/>
                  </a:cubicBezTo>
                  <a:cubicBezTo>
                    <a:pt x="120" y="42"/>
                    <a:pt x="120" y="42"/>
                    <a:pt x="120" y="42"/>
                  </a:cubicBezTo>
                  <a:cubicBezTo>
                    <a:pt x="122" y="40"/>
                    <a:pt x="122" y="40"/>
                    <a:pt x="122" y="40"/>
                  </a:cubicBezTo>
                  <a:cubicBezTo>
                    <a:pt x="123" y="41"/>
                    <a:pt x="123" y="41"/>
                    <a:pt x="123" y="41"/>
                  </a:cubicBezTo>
                  <a:cubicBezTo>
                    <a:pt x="123" y="41"/>
                    <a:pt x="123" y="42"/>
                    <a:pt x="124" y="43"/>
                  </a:cubicBezTo>
                  <a:cubicBezTo>
                    <a:pt x="124" y="43"/>
                    <a:pt x="124" y="42"/>
                    <a:pt x="124" y="42"/>
                  </a:cubicBezTo>
                  <a:cubicBezTo>
                    <a:pt x="126" y="40"/>
                    <a:pt x="128" y="38"/>
                    <a:pt x="130" y="37"/>
                  </a:cubicBezTo>
                  <a:cubicBezTo>
                    <a:pt x="129" y="35"/>
                    <a:pt x="128" y="33"/>
                    <a:pt x="127" y="31"/>
                  </a:cubicBezTo>
                  <a:cubicBezTo>
                    <a:pt x="126" y="29"/>
                    <a:pt x="126" y="28"/>
                    <a:pt x="125" y="26"/>
                  </a:cubicBezTo>
                  <a:cubicBezTo>
                    <a:pt x="123" y="24"/>
                    <a:pt x="124" y="22"/>
                    <a:pt x="126" y="20"/>
                  </a:cubicBezTo>
                  <a:cubicBezTo>
                    <a:pt x="122" y="18"/>
                    <a:pt x="119" y="11"/>
                    <a:pt x="116" y="10"/>
                  </a:cubicBezTo>
                  <a:cubicBezTo>
                    <a:pt x="109" y="8"/>
                    <a:pt x="103" y="5"/>
                    <a:pt x="96" y="3"/>
                  </a:cubicBezTo>
                  <a:cubicBezTo>
                    <a:pt x="90" y="1"/>
                    <a:pt x="87" y="0"/>
                    <a:pt x="81" y="0"/>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8" name="Freeform 361">
              <a:extLst>
                <a:ext uri="{FF2B5EF4-FFF2-40B4-BE49-F238E27FC236}">
                  <a16:creationId xmlns:a16="http://schemas.microsoft.com/office/drawing/2014/main" id="{BB0B70AC-875F-4227-B70D-BF4A6A8795A0}"/>
                </a:ext>
              </a:extLst>
            </p:cNvPr>
            <p:cNvSpPr>
              <a:spLocks noEditPoints="1"/>
            </p:cNvSpPr>
            <p:nvPr/>
          </p:nvSpPr>
          <p:spPr bwMode="auto">
            <a:xfrm>
              <a:off x="5726104" y="6187310"/>
              <a:ext cx="2638425" cy="1660525"/>
            </a:xfrm>
            <a:custGeom>
              <a:avLst/>
              <a:gdLst>
                <a:gd name="T0" fmla="*/ 594 w 703"/>
                <a:gd name="T1" fmla="*/ 341 h 442"/>
                <a:gd name="T2" fmla="*/ 37 w 703"/>
                <a:gd name="T3" fmla="*/ 2 h 442"/>
                <a:gd name="T4" fmla="*/ 17 w 703"/>
                <a:gd name="T5" fmla="*/ 42 h 442"/>
                <a:gd name="T6" fmla="*/ 42 w 703"/>
                <a:gd name="T7" fmla="*/ 80 h 442"/>
                <a:gd name="T8" fmla="*/ 67 w 703"/>
                <a:gd name="T9" fmla="*/ 119 h 442"/>
                <a:gd name="T10" fmla="*/ 73 w 703"/>
                <a:gd name="T11" fmla="*/ 131 h 442"/>
                <a:gd name="T12" fmla="*/ 62 w 703"/>
                <a:gd name="T13" fmla="*/ 122 h 442"/>
                <a:gd name="T14" fmla="*/ 70 w 703"/>
                <a:gd name="T15" fmla="*/ 143 h 442"/>
                <a:gd name="T16" fmla="*/ 90 w 703"/>
                <a:gd name="T17" fmla="*/ 143 h 442"/>
                <a:gd name="T18" fmla="*/ 115 w 703"/>
                <a:gd name="T19" fmla="*/ 192 h 442"/>
                <a:gd name="T20" fmla="*/ 175 w 703"/>
                <a:gd name="T21" fmla="*/ 238 h 442"/>
                <a:gd name="T22" fmla="*/ 165 w 703"/>
                <a:gd name="T23" fmla="*/ 216 h 442"/>
                <a:gd name="T24" fmla="*/ 136 w 703"/>
                <a:gd name="T25" fmla="*/ 171 h 442"/>
                <a:gd name="T26" fmla="*/ 118 w 703"/>
                <a:gd name="T27" fmla="*/ 141 h 442"/>
                <a:gd name="T28" fmla="*/ 93 w 703"/>
                <a:gd name="T29" fmla="*/ 105 h 442"/>
                <a:gd name="T30" fmla="*/ 56 w 703"/>
                <a:gd name="T31" fmla="*/ 56 h 442"/>
                <a:gd name="T32" fmla="*/ 69 w 703"/>
                <a:gd name="T33" fmla="*/ 29 h 442"/>
                <a:gd name="T34" fmla="*/ 92 w 703"/>
                <a:gd name="T35" fmla="*/ 43 h 442"/>
                <a:gd name="T36" fmla="*/ 130 w 703"/>
                <a:gd name="T37" fmla="*/ 110 h 442"/>
                <a:gd name="T38" fmla="*/ 149 w 703"/>
                <a:gd name="T39" fmla="*/ 123 h 442"/>
                <a:gd name="T40" fmla="*/ 179 w 703"/>
                <a:gd name="T41" fmla="*/ 163 h 442"/>
                <a:gd name="T42" fmla="*/ 181 w 703"/>
                <a:gd name="T43" fmla="*/ 176 h 442"/>
                <a:gd name="T44" fmla="*/ 189 w 703"/>
                <a:gd name="T45" fmla="*/ 177 h 442"/>
                <a:gd name="T46" fmla="*/ 217 w 703"/>
                <a:gd name="T47" fmla="*/ 205 h 442"/>
                <a:gd name="T48" fmla="*/ 219 w 703"/>
                <a:gd name="T49" fmla="*/ 207 h 442"/>
                <a:gd name="T50" fmla="*/ 267 w 703"/>
                <a:gd name="T51" fmla="*/ 295 h 442"/>
                <a:gd name="T52" fmla="*/ 304 w 703"/>
                <a:gd name="T53" fmla="*/ 342 h 442"/>
                <a:gd name="T54" fmla="*/ 351 w 703"/>
                <a:gd name="T55" fmla="*/ 363 h 442"/>
                <a:gd name="T56" fmla="*/ 453 w 703"/>
                <a:gd name="T57" fmla="*/ 411 h 442"/>
                <a:gd name="T58" fmla="*/ 512 w 703"/>
                <a:gd name="T59" fmla="*/ 405 h 442"/>
                <a:gd name="T60" fmla="*/ 518 w 703"/>
                <a:gd name="T61" fmla="*/ 405 h 442"/>
                <a:gd name="T62" fmla="*/ 558 w 703"/>
                <a:gd name="T63" fmla="*/ 427 h 442"/>
                <a:gd name="T64" fmla="*/ 575 w 703"/>
                <a:gd name="T65" fmla="*/ 435 h 442"/>
                <a:gd name="T66" fmla="*/ 575 w 703"/>
                <a:gd name="T67" fmla="*/ 424 h 442"/>
                <a:gd name="T68" fmla="*/ 599 w 703"/>
                <a:gd name="T69" fmla="*/ 405 h 442"/>
                <a:gd name="T70" fmla="*/ 615 w 703"/>
                <a:gd name="T71" fmla="*/ 402 h 442"/>
                <a:gd name="T72" fmla="*/ 601 w 703"/>
                <a:gd name="T73" fmla="*/ 389 h 442"/>
                <a:gd name="T74" fmla="*/ 607 w 703"/>
                <a:gd name="T75" fmla="*/ 363 h 442"/>
                <a:gd name="T76" fmla="*/ 645 w 703"/>
                <a:gd name="T77" fmla="*/ 363 h 442"/>
                <a:gd name="T78" fmla="*/ 653 w 703"/>
                <a:gd name="T79" fmla="*/ 361 h 442"/>
                <a:gd name="T80" fmla="*/ 664 w 703"/>
                <a:gd name="T81" fmla="*/ 348 h 442"/>
                <a:gd name="T82" fmla="*/ 672 w 703"/>
                <a:gd name="T83" fmla="*/ 350 h 442"/>
                <a:gd name="T84" fmla="*/ 685 w 703"/>
                <a:gd name="T85" fmla="*/ 328 h 442"/>
                <a:gd name="T86" fmla="*/ 698 w 703"/>
                <a:gd name="T87" fmla="*/ 296 h 442"/>
                <a:gd name="T88" fmla="*/ 689 w 703"/>
                <a:gd name="T89" fmla="*/ 276 h 442"/>
                <a:gd name="T90" fmla="*/ 619 w 703"/>
                <a:gd name="T91" fmla="*/ 293 h 442"/>
                <a:gd name="T92" fmla="*/ 599 w 703"/>
                <a:gd name="T93" fmla="*/ 339 h 442"/>
                <a:gd name="T94" fmla="*/ 586 w 703"/>
                <a:gd name="T95" fmla="*/ 353 h 442"/>
                <a:gd name="T96" fmla="*/ 566 w 703"/>
                <a:gd name="T97" fmla="*/ 351 h 442"/>
                <a:gd name="T98" fmla="*/ 519 w 703"/>
                <a:gd name="T99" fmla="*/ 354 h 442"/>
                <a:gd name="T100" fmla="*/ 495 w 703"/>
                <a:gd name="T101" fmla="*/ 345 h 442"/>
                <a:gd name="T102" fmla="*/ 481 w 703"/>
                <a:gd name="T103" fmla="*/ 328 h 442"/>
                <a:gd name="T104" fmla="*/ 455 w 703"/>
                <a:gd name="T105" fmla="*/ 280 h 442"/>
                <a:gd name="T106" fmla="*/ 448 w 703"/>
                <a:gd name="T107" fmla="*/ 221 h 442"/>
                <a:gd name="T108" fmla="*/ 453 w 703"/>
                <a:gd name="T109" fmla="*/ 181 h 442"/>
                <a:gd name="T110" fmla="*/ 454 w 703"/>
                <a:gd name="T111" fmla="*/ 172 h 442"/>
                <a:gd name="T112" fmla="*/ 413 w 703"/>
                <a:gd name="T113" fmla="*/ 156 h 442"/>
                <a:gd name="T114" fmla="*/ 366 w 703"/>
                <a:gd name="T115" fmla="*/ 79 h 442"/>
                <a:gd name="T116" fmla="*/ 344 w 703"/>
                <a:gd name="T117" fmla="*/ 73 h 442"/>
                <a:gd name="T118" fmla="*/ 321 w 703"/>
                <a:gd name="T119" fmla="*/ 94 h 442"/>
                <a:gd name="T120" fmla="*/ 255 w 703"/>
                <a:gd name="T121" fmla="*/ 34 h 442"/>
                <a:gd name="T122" fmla="*/ 208 w 703"/>
                <a:gd name="T123" fmla="*/ 26 h 442"/>
                <a:gd name="T124" fmla="*/ 48 w 703"/>
                <a:gd name="T125" fmla="*/ 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3" h="442">
                  <a:moveTo>
                    <a:pt x="595" y="341"/>
                  </a:moveTo>
                  <a:cubicBezTo>
                    <a:pt x="595" y="341"/>
                    <a:pt x="595" y="341"/>
                    <a:pt x="594" y="341"/>
                  </a:cubicBezTo>
                  <a:cubicBezTo>
                    <a:pt x="594" y="341"/>
                    <a:pt x="594" y="341"/>
                    <a:pt x="595" y="341"/>
                  </a:cubicBezTo>
                  <a:cubicBezTo>
                    <a:pt x="595" y="341"/>
                    <a:pt x="595" y="341"/>
                    <a:pt x="595" y="341"/>
                  </a:cubicBezTo>
                  <a:moveTo>
                    <a:pt x="594" y="341"/>
                  </a:moveTo>
                  <a:cubicBezTo>
                    <a:pt x="594" y="341"/>
                    <a:pt x="594" y="341"/>
                    <a:pt x="594" y="341"/>
                  </a:cubicBezTo>
                  <a:cubicBezTo>
                    <a:pt x="594" y="341"/>
                    <a:pt x="594" y="341"/>
                    <a:pt x="594" y="341"/>
                  </a:cubicBezTo>
                  <a:cubicBezTo>
                    <a:pt x="594" y="341"/>
                    <a:pt x="594" y="341"/>
                    <a:pt x="594" y="341"/>
                  </a:cubicBezTo>
                  <a:moveTo>
                    <a:pt x="179" y="176"/>
                  </a:moveTo>
                  <a:cubicBezTo>
                    <a:pt x="178" y="176"/>
                    <a:pt x="178" y="176"/>
                    <a:pt x="178" y="176"/>
                  </a:cubicBezTo>
                  <a:cubicBezTo>
                    <a:pt x="178" y="176"/>
                    <a:pt x="178" y="176"/>
                    <a:pt x="179" y="176"/>
                  </a:cubicBezTo>
                  <a:moveTo>
                    <a:pt x="50" y="0"/>
                  </a:moveTo>
                  <a:cubicBezTo>
                    <a:pt x="47" y="0"/>
                    <a:pt x="44" y="1"/>
                    <a:pt x="41" y="1"/>
                  </a:cubicBezTo>
                  <a:cubicBezTo>
                    <a:pt x="39" y="1"/>
                    <a:pt x="38" y="1"/>
                    <a:pt x="37" y="2"/>
                  </a:cubicBezTo>
                  <a:cubicBezTo>
                    <a:pt x="36" y="2"/>
                    <a:pt x="32" y="2"/>
                    <a:pt x="29" y="2"/>
                  </a:cubicBezTo>
                  <a:cubicBezTo>
                    <a:pt x="25" y="2"/>
                    <a:pt x="25" y="2"/>
                    <a:pt x="25" y="2"/>
                  </a:cubicBezTo>
                  <a:cubicBezTo>
                    <a:pt x="20" y="3"/>
                    <a:pt x="15" y="3"/>
                    <a:pt x="13" y="4"/>
                  </a:cubicBezTo>
                  <a:cubicBezTo>
                    <a:pt x="10" y="4"/>
                    <a:pt x="7" y="4"/>
                    <a:pt x="4" y="4"/>
                  </a:cubicBezTo>
                  <a:cubicBezTo>
                    <a:pt x="0" y="6"/>
                    <a:pt x="0" y="6"/>
                    <a:pt x="0" y="6"/>
                  </a:cubicBezTo>
                  <a:cubicBezTo>
                    <a:pt x="4" y="12"/>
                    <a:pt x="6" y="18"/>
                    <a:pt x="8" y="25"/>
                  </a:cubicBezTo>
                  <a:cubicBezTo>
                    <a:pt x="10" y="30"/>
                    <a:pt x="13" y="37"/>
                    <a:pt x="17" y="42"/>
                  </a:cubicBezTo>
                  <a:cubicBezTo>
                    <a:pt x="18" y="43"/>
                    <a:pt x="21" y="44"/>
                    <a:pt x="23" y="46"/>
                  </a:cubicBezTo>
                  <a:cubicBezTo>
                    <a:pt x="24" y="48"/>
                    <a:pt x="23" y="51"/>
                    <a:pt x="24" y="53"/>
                  </a:cubicBezTo>
                  <a:cubicBezTo>
                    <a:pt x="24" y="54"/>
                    <a:pt x="23" y="55"/>
                    <a:pt x="24" y="57"/>
                  </a:cubicBezTo>
                  <a:cubicBezTo>
                    <a:pt x="24" y="56"/>
                    <a:pt x="25" y="55"/>
                    <a:pt x="25" y="55"/>
                  </a:cubicBezTo>
                  <a:cubicBezTo>
                    <a:pt x="27" y="55"/>
                    <a:pt x="28" y="60"/>
                    <a:pt x="29" y="61"/>
                  </a:cubicBezTo>
                  <a:cubicBezTo>
                    <a:pt x="29" y="63"/>
                    <a:pt x="29" y="65"/>
                    <a:pt x="29" y="67"/>
                  </a:cubicBezTo>
                  <a:cubicBezTo>
                    <a:pt x="30" y="73"/>
                    <a:pt x="37" y="76"/>
                    <a:pt x="42" y="80"/>
                  </a:cubicBezTo>
                  <a:cubicBezTo>
                    <a:pt x="43" y="81"/>
                    <a:pt x="44" y="81"/>
                    <a:pt x="46" y="82"/>
                  </a:cubicBezTo>
                  <a:cubicBezTo>
                    <a:pt x="47" y="82"/>
                    <a:pt x="48" y="82"/>
                    <a:pt x="49" y="83"/>
                  </a:cubicBezTo>
                  <a:cubicBezTo>
                    <a:pt x="53" y="86"/>
                    <a:pt x="57" y="91"/>
                    <a:pt x="60" y="95"/>
                  </a:cubicBezTo>
                  <a:cubicBezTo>
                    <a:pt x="62" y="97"/>
                    <a:pt x="64" y="99"/>
                    <a:pt x="66" y="101"/>
                  </a:cubicBezTo>
                  <a:cubicBezTo>
                    <a:pt x="70" y="105"/>
                    <a:pt x="68" y="111"/>
                    <a:pt x="66" y="116"/>
                  </a:cubicBezTo>
                  <a:cubicBezTo>
                    <a:pt x="65" y="120"/>
                    <a:pt x="65" y="120"/>
                    <a:pt x="65" y="120"/>
                  </a:cubicBezTo>
                  <a:cubicBezTo>
                    <a:pt x="65" y="119"/>
                    <a:pt x="66" y="119"/>
                    <a:pt x="67" y="119"/>
                  </a:cubicBezTo>
                  <a:cubicBezTo>
                    <a:pt x="67" y="121"/>
                    <a:pt x="67" y="122"/>
                    <a:pt x="68" y="125"/>
                  </a:cubicBezTo>
                  <a:cubicBezTo>
                    <a:pt x="69" y="124"/>
                    <a:pt x="69" y="124"/>
                    <a:pt x="69" y="123"/>
                  </a:cubicBezTo>
                  <a:cubicBezTo>
                    <a:pt x="70" y="123"/>
                    <a:pt x="71" y="123"/>
                    <a:pt x="71" y="123"/>
                  </a:cubicBezTo>
                  <a:cubicBezTo>
                    <a:pt x="71" y="123"/>
                    <a:pt x="71" y="121"/>
                    <a:pt x="71" y="121"/>
                  </a:cubicBezTo>
                  <a:cubicBezTo>
                    <a:pt x="70" y="120"/>
                    <a:pt x="70" y="119"/>
                    <a:pt x="70" y="119"/>
                  </a:cubicBezTo>
                  <a:cubicBezTo>
                    <a:pt x="70" y="119"/>
                    <a:pt x="72" y="121"/>
                    <a:pt x="72" y="122"/>
                  </a:cubicBezTo>
                  <a:cubicBezTo>
                    <a:pt x="74" y="125"/>
                    <a:pt x="75" y="129"/>
                    <a:pt x="73" y="131"/>
                  </a:cubicBezTo>
                  <a:cubicBezTo>
                    <a:pt x="73" y="130"/>
                    <a:pt x="73" y="127"/>
                    <a:pt x="72" y="127"/>
                  </a:cubicBezTo>
                  <a:cubicBezTo>
                    <a:pt x="72" y="126"/>
                    <a:pt x="71" y="126"/>
                    <a:pt x="70" y="126"/>
                  </a:cubicBezTo>
                  <a:cubicBezTo>
                    <a:pt x="70" y="126"/>
                    <a:pt x="70" y="126"/>
                    <a:pt x="70" y="126"/>
                  </a:cubicBezTo>
                  <a:cubicBezTo>
                    <a:pt x="70" y="126"/>
                    <a:pt x="69" y="126"/>
                    <a:pt x="69" y="126"/>
                  </a:cubicBezTo>
                  <a:cubicBezTo>
                    <a:pt x="68" y="126"/>
                    <a:pt x="68" y="126"/>
                    <a:pt x="67" y="126"/>
                  </a:cubicBezTo>
                  <a:cubicBezTo>
                    <a:pt x="66" y="125"/>
                    <a:pt x="65" y="124"/>
                    <a:pt x="64" y="123"/>
                  </a:cubicBezTo>
                  <a:cubicBezTo>
                    <a:pt x="63" y="122"/>
                    <a:pt x="62" y="122"/>
                    <a:pt x="62" y="122"/>
                  </a:cubicBezTo>
                  <a:cubicBezTo>
                    <a:pt x="61" y="122"/>
                    <a:pt x="61" y="123"/>
                    <a:pt x="60" y="123"/>
                  </a:cubicBezTo>
                  <a:cubicBezTo>
                    <a:pt x="59" y="123"/>
                    <a:pt x="58" y="123"/>
                    <a:pt x="58" y="123"/>
                  </a:cubicBezTo>
                  <a:cubicBezTo>
                    <a:pt x="54" y="123"/>
                    <a:pt x="51" y="122"/>
                    <a:pt x="48" y="122"/>
                  </a:cubicBezTo>
                  <a:cubicBezTo>
                    <a:pt x="47" y="122"/>
                    <a:pt x="46" y="122"/>
                    <a:pt x="46" y="122"/>
                  </a:cubicBezTo>
                  <a:cubicBezTo>
                    <a:pt x="46" y="122"/>
                    <a:pt x="46" y="122"/>
                    <a:pt x="47" y="124"/>
                  </a:cubicBezTo>
                  <a:cubicBezTo>
                    <a:pt x="50" y="128"/>
                    <a:pt x="56" y="132"/>
                    <a:pt x="60" y="136"/>
                  </a:cubicBezTo>
                  <a:cubicBezTo>
                    <a:pt x="62" y="138"/>
                    <a:pt x="66" y="141"/>
                    <a:pt x="70" y="143"/>
                  </a:cubicBezTo>
                  <a:cubicBezTo>
                    <a:pt x="72" y="145"/>
                    <a:pt x="75" y="147"/>
                    <a:pt x="78" y="148"/>
                  </a:cubicBezTo>
                  <a:cubicBezTo>
                    <a:pt x="79" y="148"/>
                    <a:pt x="79" y="148"/>
                    <a:pt x="80" y="148"/>
                  </a:cubicBezTo>
                  <a:cubicBezTo>
                    <a:pt x="81" y="148"/>
                    <a:pt x="81" y="148"/>
                    <a:pt x="83" y="148"/>
                  </a:cubicBezTo>
                  <a:cubicBezTo>
                    <a:pt x="83" y="148"/>
                    <a:pt x="84" y="148"/>
                    <a:pt x="85" y="148"/>
                  </a:cubicBezTo>
                  <a:cubicBezTo>
                    <a:pt x="86" y="148"/>
                    <a:pt x="86" y="148"/>
                    <a:pt x="87" y="148"/>
                  </a:cubicBezTo>
                  <a:cubicBezTo>
                    <a:pt x="87" y="148"/>
                    <a:pt x="87" y="148"/>
                    <a:pt x="88" y="147"/>
                  </a:cubicBezTo>
                  <a:cubicBezTo>
                    <a:pt x="89" y="146"/>
                    <a:pt x="89" y="144"/>
                    <a:pt x="90" y="143"/>
                  </a:cubicBezTo>
                  <a:cubicBezTo>
                    <a:pt x="90" y="144"/>
                    <a:pt x="89" y="148"/>
                    <a:pt x="89" y="148"/>
                  </a:cubicBezTo>
                  <a:cubicBezTo>
                    <a:pt x="93" y="152"/>
                    <a:pt x="98" y="155"/>
                    <a:pt x="102" y="159"/>
                  </a:cubicBezTo>
                  <a:cubicBezTo>
                    <a:pt x="106" y="162"/>
                    <a:pt x="112" y="164"/>
                    <a:pt x="113" y="169"/>
                  </a:cubicBezTo>
                  <a:cubicBezTo>
                    <a:pt x="114" y="174"/>
                    <a:pt x="115" y="178"/>
                    <a:pt x="115" y="183"/>
                  </a:cubicBezTo>
                  <a:cubicBezTo>
                    <a:pt x="115" y="185"/>
                    <a:pt x="114" y="186"/>
                    <a:pt x="114" y="188"/>
                  </a:cubicBezTo>
                  <a:cubicBezTo>
                    <a:pt x="114" y="190"/>
                    <a:pt x="114" y="193"/>
                    <a:pt x="113" y="196"/>
                  </a:cubicBezTo>
                  <a:cubicBezTo>
                    <a:pt x="114" y="194"/>
                    <a:pt x="114" y="193"/>
                    <a:pt x="115" y="192"/>
                  </a:cubicBezTo>
                  <a:cubicBezTo>
                    <a:pt x="114" y="193"/>
                    <a:pt x="114" y="196"/>
                    <a:pt x="114" y="197"/>
                  </a:cubicBezTo>
                  <a:cubicBezTo>
                    <a:pt x="118" y="200"/>
                    <a:pt x="123" y="201"/>
                    <a:pt x="127" y="204"/>
                  </a:cubicBezTo>
                  <a:cubicBezTo>
                    <a:pt x="134" y="210"/>
                    <a:pt x="140" y="215"/>
                    <a:pt x="147" y="220"/>
                  </a:cubicBezTo>
                  <a:cubicBezTo>
                    <a:pt x="150" y="223"/>
                    <a:pt x="153" y="225"/>
                    <a:pt x="156" y="228"/>
                  </a:cubicBezTo>
                  <a:cubicBezTo>
                    <a:pt x="160" y="232"/>
                    <a:pt x="163" y="239"/>
                    <a:pt x="165" y="244"/>
                  </a:cubicBezTo>
                  <a:cubicBezTo>
                    <a:pt x="167" y="243"/>
                    <a:pt x="169" y="241"/>
                    <a:pt x="170" y="240"/>
                  </a:cubicBezTo>
                  <a:cubicBezTo>
                    <a:pt x="172" y="239"/>
                    <a:pt x="173" y="239"/>
                    <a:pt x="175" y="238"/>
                  </a:cubicBezTo>
                  <a:cubicBezTo>
                    <a:pt x="177" y="236"/>
                    <a:pt x="177" y="233"/>
                    <a:pt x="177" y="231"/>
                  </a:cubicBezTo>
                  <a:cubicBezTo>
                    <a:pt x="176" y="226"/>
                    <a:pt x="171" y="226"/>
                    <a:pt x="170" y="223"/>
                  </a:cubicBezTo>
                  <a:cubicBezTo>
                    <a:pt x="170" y="221"/>
                    <a:pt x="169" y="217"/>
                    <a:pt x="168" y="216"/>
                  </a:cubicBezTo>
                  <a:cubicBezTo>
                    <a:pt x="168" y="216"/>
                    <a:pt x="168" y="216"/>
                    <a:pt x="167" y="216"/>
                  </a:cubicBezTo>
                  <a:cubicBezTo>
                    <a:pt x="167" y="216"/>
                    <a:pt x="167" y="216"/>
                    <a:pt x="166" y="216"/>
                  </a:cubicBezTo>
                  <a:cubicBezTo>
                    <a:pt x="166" y="216"/>
                    <a:pt x="166" y="216"/>
                    <a:pt x="165" y="216"/>
                  </a:cubicBezTo>
                  <a:cubicBezTo>
                    <a:pt x="165" y="216"/>
                    <a:pt x="165" y="216"/>
                    <a:pt x="165" y="216"/>
                  </a:cubicBezTo>
                  <a:cubicBezTo>
                    <a:pt x="162" y="215"/>
                    <a:pt x="160" y="208"/>
                    <a:pt x="157" y="208"/>
                  </a:cubicBezTo>
                  <a:cubicBezTo>
                    <a:pt x="157" y="208"/>
                    <a:pt x="157" y="208"/>
                    <a:pt x="157" y="208"/>
                  </a:cubicBezTo>
                  <a:cubicBezTo>
                    <a:pt x="155" y="208"/>
                    <a:pt x="156" y="210"/>
                    <a:pt x="156" y="212"/>
                  </a:cubicBezTo>
                  <a:cubicBezTo>
                    <a:pt x="154" y="212"/>
                    <a:pt x="151" y="212"/>
                    <a:pt x="150" y="211"/>
                  </a:cubicBezTo>
                  <a:cubicBezTo>
                    <a:pt x="147" y="208"/>
                    <a:pt x="147" y="202"/>
                    <a:pt x="147" y="199"/>
                  </a:cubicBezTo>
                  <a:cubicBezTo>
                    <a:pt x="148" y="194"/>
                    <a:pt x="144" y="190"/>
                    <a:pt x="142" y="185"/>
                  </a:cubicBezTo>
                  <a:cubicBezTo>
                    <a:pt x="140" y="181"/>
                    <a:pt x="138" y="176"/>
                    <a:pt x="136" y="171"/>
                  </a:cubicBezTo>
                  <a:cubicBezTo>
                    <a:pt x="136" y="171"/>
                    <a:pt x="136" y="171"/>
                    <a:pt x="136" y="171"/>
                  </a:cubicBezTo>
                  <a:cubicBezTo>
                    <a:pt x="135" y="172"/>
                    <a:pt x="135" y="172"/>
                    <a:pt x="135" y="172"/>
                  </a:cubicBezTo>
                  <a:cubicBezTo>
                    <a:pt x="136" y="169"/>
                    <a:pt x="133" y="165"/>
                    <a:pt x="132" y="162"/>
                  </a:cubicBezTo>
                  <a:cubicBezTo>
                    <a:pt x="131" y="160"/>
                    <a:pt x="131" y="158"/>
                    <a:pt x="130" y="155"/>
                  </a:cubicBezTo>
                  <a:cubicBezTo>
                    <a:pt x="128" y="151"/>
                    <a:pt x="125" y="147"/>
                    <a:pt x="121" y="145"/>
                  </a:cubicBezTo>
                  <a:cubicBezTo>
                    <a:pt x="122" y="147"/>
                    <a:pt x="123" y="150"/>
                    <a:pt x="123" y="152"/>
                  </a:cubicBezTo>
                  <a:cubicBezTo>
                    <a:pt x="120" y="152"/>
                    <a:pt x="119" y="144"/>
                    <a:pt x="118" y="141"/>
                  </a:cubicBezTo>
                  <a:cubicBezTo>
                    <a:pt x="118" y="140"/>
                    <a:pt x="116" y="139"/>
                    <a:pt x="113" y="138"/>
                  </a:cubicBezTo>
                  <a:cubicBezTo>
                    <a:pt x="111" y="137"/>
                    <a:pt x="109" y="132"/>
                    <a:pt x="107" y="130"/>
                  </a:cubicBezTo>
                  <a:cubicBezTo>
                    <a:pt x="105" y="126"/>
                    <a:pt x="103" y="120"/>
                    <a:pt x="99" y="117"/>
                  </a:cubicBezTo>
                  <a:cubicBezTo>
                    <a:pt x="100" y="117"/>
                    <a:pt x="100" y="117"/>
                    <a:pt x="100" y="117"/>
                  </a:cubicBezTo>
                  <a:cubicBezTo>
                    <a:pt x="99" y="115"/>
                    <a:pt x="98" y="113"/>
                    <a:pt x="98" y="110"/>
                  </a:cubicBezTo>
                  <a:cubicBezTo>
                    <a:pt x="97" y="109"/>
                    <a:pt x="98" y="107"/>
                    <a:pt x="97" y="106"/>
                  </a:cubicBezTo>
                  <a:cubicBezTo>
                    <a:pt x="95" y="106"/>
                    <a:pt x="94" y="106"/>
                    <a:pt x="93" y="105"/>
                  </a:cubicBezTo>
                  <a:cubicBezTo>
                    <a:pt x="88" y="103"/>
                    <a:pt x="86" y="97"/>
                    <a:pt x="83" y="93"/>
                  </a:cubicBezTo>
                  <a:cubicBezTo>
                    <a:pt x="83" y="94"/>
                    <a:pt x="83" y="94"/>
                    <a:pt x="83" y="94"/>
                  </a:cubicBezTo>
                  <a:cubicBezTo>
                    <a:pt x="81" y="94"/>
                    <a:pt x="78" y="88"/>
                    <a:pt x="77" y="87"/>
                  </a:cubicBezTo>
                  <a:cubicBezTo>
                    <a:pt x="74" y="83"/>
                    <a:pt x="71" y="79"/>
                    <a:pt x="68" y="75"/>
                  </a:cubicBezTo>
                  <a:cubicBezTo>
                    <a:pt x="66" y="73"/>
                    <a:pt x="65" y="73"/>
                    <a:pt x="64" y="73"/>
                  </a:cubicBezTo>
                  <a:cubicBezTo>
                    <a:pt x="62" y="72"/>
                    <a:pt x="60" y="70"/>
                    <a:pt x="59" y="68"/>
                  </a:cubicBezTo>
                  <a:cubicBezTo>
                    <a:pt x="57" y="64"/>
                    <a:pt x="57" y="60"/>
                    <a:pt x="56" y="56"/>
                  </a:cubicBezTo>
                  <a:cubicBezTo>
                    <a:pt x="55" y="50"/>
                    <a:pt x="51" y="44"/>
                    <a:pt x="52" y="38"/>
                  </a:cubicBezTo>
                  <a:cubicBezTo>
                    <a:pt x="52" y="34"/>
                    <a:pt x="52" y="31"/>
                    <a:pt x="52" y="28"/>
                  </a:cubicBezTo>
                  <a:cubicBezTo>
                    <a:pt x="53" y="24"/>
                    <a:pt x="51" y="23"/>
                    <a:pt x="50" y="20"/>
                  </a:cubicBezTo>
                  <a:cubicBezTo>
                    <a:pt x="50" y="19"/>
                    <a:pt x="50" y="19"/>
                    <a:pt x="50" y="18"/>
                  </a:cubicBezTo>
                  <a:cubicBezTo>
                    <a:pt x="50" y="19"/>
                    <a:pt x="51" y="19"/>
                    <a:pt x="52" y="20"/>
                  </a:cubicBezTo>
                  <a:cubicBezTo>
                    <a:pt x="56" y="22"/>
                    <a:pt x="60" y="24"/>
                    <a:pt x="65" y="27"/>
                  </a:cubicBezTo>
                  <a:cubicBezTo>
                    <a:pt x="66" y="28"/>
                    <a:pt x="67" y="29"/>
                    <a:pt x="69" y="29"/>
                  </a:cubicBezTo>
                  <a:cubicBezTo>
                    <a:pt x="70" y="29"/>
                    <a:pt x="70" y="28"/>
                    <a:pt x="71" y="27"/>
                  </a:cubicBezTo>
                  <a:cubicBezTo>
                    <a:pt x="72" y="27"/>
                    <a:pt x="71" y="26"/>
                    <a:pt x="71" y="26"/>
                  </a:cubicBezTo>
                  <a:cubicBezTo>
                    <a:pt x="72" y="25"/>
                    <a:pt x="71" y="25"/>
                    <a:pt x="71" y="24"/>
                  </a:cubicBezTo>
                  <a:cubicBezTo>
                    <a:pt x="71" y="24"/>
                    <a:pt x="72" y="24"/>
                    <a:pt x="72" y="24"/>
                  </a:cubicBezTo>
                  <a:cubicBezTo>
                    <a:pt x="73" y="24"/>
                    <a:pt x="78" y="29"/>
                    <a:pt x="79" y="30"/>
                  </a:cubicBezTo>
                  <a:cubicBezTo>
                    <a:pt x="83" y="32"/>
                    <a:pt x="87" y="35"/>
                    <a:pt x="90" y="37"/>
                  </a:cubicBezTo>
                  <a:cubicBezTo>
                    <a:pt x="93" y="39"/>
                    <a:pt x="93" y="39"/>
                    <a:pt x="92" y="43"/>
                  </a:cubicBezTo>
                  <a:cubicBezTo>
                    <a:pt x="91" y="46"/>
                    <a:pt x="91" y="47"/>
                    <a:pt x="93" y="50"/>
                  </a:cubicBezTo>
                  <a:cubicBezTo>
                    <a:pt x="96" y="56"/>
                    <a:pt x="99" y="61"/>
                    <a:pt x="101" y="68"/>
                  </a:cubicBezTo>
                  <a:cubicBezTo>
                    <a:pt x="103" y="72"/>
                    <a:pt x="105" y="76"/>
                    <a:pt x="107" y="80"/>
                  </a:cubicBezTo>
                  <a:cubicBezTo>
                    <a:pt x="107" y="81"/>
                    <a:pt x="107" y="83"/>
                    <a:pt x="108" y="84"/>
                  </a:cubicBezTo>
                  <a:cubicBezTo>
                    <a:pt x="108" y="85"/>
                    <a:pt x="112" y="85"/>
                    <a:pt x="112" y="86"/>
                  </a:cubicBezTo>
                  <a:cubicBezTo>
                    <a:pt x="113" y="87"/>
                    <a:pt x="112" y="92"/>
                    <a:pt x="113" y="93"/>
                  </a:cubicBezTo>
                  <a:cubicBezTo>
                    <a:pt x="119" y="99"/>
                    <a:pt x="124" y="104"/>
                    <a:pt x="130" y="110"/>
                  </a:cubicBezTo>
                  <a:cubicBezTo>
                    <a:pt x="133" y="113"/>
                    <a:pt x="139" y="120"/>
                    <a:pt x="144" y="120"/>
                  </a:cubicBezTo>
                  <a:cubicBezTo>
                    <a:pt x="146" y="120"/>
                    <a:pt x="147" y="120"/>
                    <a:pt x="149" y="120"/>
                  </a:cubicBezTo>
                  <a:cubicBezTo>
                    <a:pt x="153" y="121"/>
                    <a:pt x="150" y="121"/>
                    <a:pt x="150" y="122"/>
                  </a:cubicBezTo>
                  <a:cubicBezTo>
                    <a:pt x="150" y="122"/>
                    <a:pt x="150" y="122"/>
                    <a:pt x="150" y="122"/>
                  </a:cubicBezTo>
                  <a:cubicBezTo>
                    <a:pt x="150" y="122"/>
                    <a:pt x="150" y="122"/>
                    <a:pt x="150" y="122"/>
                  </a:cubicBezTo>
                  <a:cubicBezTo>
                    <a:pt x="149" y="123"/>
                    <a:pt x="149" y="123"/>
                    <a:pt x="149" y="123"/>
                  </a:cubicBezTo>
                  <a:cubicBezTo>
                    <a:pt x="149" y="123"/>
                    <a:pt x="149" y="123"/>
                    <a:pt x="149" y="123"/>
                  </a:cubicBezTo>
                  <a:cubicBezTo>
                    <a:pt x="147" y="130"/>
                    <a:pt x="153" y="137"/>
                    <a:pt x="159" y="139"/>
                  </a:cubicBezTo>
                  <a:cubicBezTo>
                    <a:pt x="161" y="139"/>
                    <a:pt x="162" y="139"/>
                    <a:pt x="164" y="140"/>
                  </a:cubicBezTo>
                  <a:cubicBezTo>
                    <a:pt x="165" y="140"/>
                    <a:pt x="166" y="144"/>
                    <a:pt x="166" y="145"/>
                  </a:cubicBezTo>
                  <a:cubicBezTo>
                    <a:pt x="167" y="147"/>
                    <a:pt x="171" y="147"/>
                    <a:pt x="173" y="148"/>
                  </a:cubicBezTo>
                  <a:cubicBezTo>
                    <a:pt x="178" y="150"/>
                    <a:pt x="183" y="156"/>
                    <a:pt x="184" y="162"/>
                  </a:cubicBezTo>
                  <a:cubicBezTo>
                    <a:pt x="184" y="161"/>
                    <a:pt x="183" y="160"/>
                    <a:pt x="183" y="159"/>
                  </a:cubicBezTo>
                  <a:cubicBezTo>
                    <a:pt x="182" y="161"/>
                    <a:pt x="180" y="161"/>
                    <a:pt x="179" y="163"/>
                  </a:cubicBezTo>
                  <a:cubicBezTo>
                    <a:pt x="179" y="165"/>
                    <a:pt x="177" y="168"/>
                    <a:pt x="177" y="170"/>
                  </a:cubicBezTo>
                  <a:cubicBezTo>
                    <a:pt x="177" y="173"/>
                    <a:pt x="177" y="173"/>
                    <a:pt x="177" y="175"/>
                  </a:cubicBezTo>
                  <a:cubicBezTo>
                    <a:pt x="177" y="174"/>
                    <a:pt x="178" y="173"/>
                    <a:pt x="178" y="173"/>
                  </a:cubicBezTo>
                  <a:cubicBezTo>
                    <a:pt x="179" y="173"/>
                    <a:pt x="180" y="175"/>
                    <a:pt x="180" y="176"/>
                  </a:cubicBezTo>
                  <a:cubicBezTo>
                    <a:pt x="180" y="176"/>
                    <a:pt x="179" y="176"/>
                    <a:pt x="179" y="176"/>
                  </a:cubicBezTo>
                  <a:cubicBezTo>
                    <a:pt x="179" y="176"/>
                    <a:pt x="179" y="176"/>
                    <a:pt x="180" y="176"/>
                  </a:cubicBezTo>
                  <a:cubicBezTo>
                    <a:pt x="180" y="176"/>
                    <a:pt x="181" y="176"/>
                    <a:pt x="181" y="176"/>
                  </a:cubicBezTo>
                  <a:cubicBezTo>
                    <a:pt x="181" y="175"/>
                    <a:pt x="181" y="175"/>
                    <a:pt x="181" y="175"/>
                  </a:cubicBezTo>
                  <a:cubicBezTo>
                    <a:pt x="181" y="175"/>
                    <a:pt x="181" y="175"/>
                    <a:pt x="182" y="175"/>
                  </a:cubicBezTo>
                  <a:cubicBezTo>
                    <a:pt x="183" y="176"/>
                    <a:pt x="183" y="177"/>
                    <a:pt x="184" y="177"/>
                  </a:cubicBezTo>
                  <a:cubicBezTo>
                    <a:pt x="184" y="177"/>
                    <a:pt x="184" y="177"/>
                    <a:pt x="184" y="177"/>
                  </a:cubicBezTo>
                  <a:cubicBezTo>
                    <a:pt x="185" y="177"/>
                    <a:pt x="186" y="177"/>
                    <a:pt x="187" y="177"/>
                  </a:cubicBezTo>
                  <a:cubicBezTo>
                    <a:pt x="187" y="177"/>
                    <a:pt x="188" y="177"/>
                    <a:pt x="189" y="177"/>
                  </a:cubicBezTo>
                  <a:cubicBezTo>
                    <a:pt x="189" y="177"/>
                    <a:pt x="189" y="177"/>
                    <a:pt x="189" y="177"/>
                  </a:cubicBezTo>
                  <a:cubicBezTo>
                    <a:pt x="188" y="178"/>
                    <a:pt x="187" y="179"/>
                    <a:pt x="186" y="181"/>
                  </a:cubicBezTo>
                  <a:cubicBezTo>
                    <a:pt x="193" y="182"/>
                    <a:pt x="200" y="184"/>
                    <a:pt x="205" y="188"/>
                  </a:cubicBezTo>
                  <a:cubicBezTo>
                    <a:pt x="206" y="190"/>
                    <a:pt x="208" y="191"/>
                    <a:pt x="210" y="193"/>
                  </a:cubicBezTo>
                  <a:cubicBezTo>
                    <a:pt x="210" y="193"/>
                    <a:pt x="210" y="196"/>
                    <a:pt x="210" y="197"/>
                  </a:cubicBezTo>
                  <a:cubicBezTo>
                    <a:pt x="211" y="199"/>
                    <a:pt x="211" y="202"/>
                    <a:pt x="214" y="204"/>
                  </a:cubicBezTo>
                  <a:cubicBezTo>
                    <a:pt x="213" y="203"/>
                    <a:pt x="213" y="203"/>
                    <a:pt x="212" y="202"/>
                  </a:cubicBezTo>
                  <a:cubicBezTo>
                    <a:pt x="214" y="203"/>
                    <a:pt x="215" y="204"/>
                    <a:pt x="217" y="205"/>
                  </a:cubicBezTo>
                  <a:cubicBezTo>
                    <a:pt x="218" y="205"/>
                    <a:pt x="218" y="205"/>
                    <a:pt x="219" y="205"/>
                  </a:cubicBezTo>
                  <a:cubicBezTo>
                    <a:pt x="219" y="205"/>
                    <a:pt x="219" y="205"/>
                    <a:pt x="219" y="205"/>
                  </a:cubicBezTo>
                  <a:cubicBezTo>
                    <a:pt x="219" y="205"/>
                    <a:pt x="220" y="205"/>
                    <a:pt x="220" y="205"/>
                  </a:cubicBezTo>
                  <a:cubicBezTo>
                    <a:pt x="220" y="204"/>
                    <a:pt x="220" y="204"/>
                    <a:pt x="221" y="204"/>
                  </a:cubicBezTo>
                  <a:cubicBezTo>
                    <a:pt x="221" y="204"/>
                    <a:pt x="221" y="204"/>
                    <a:pt x="221" y="204"/>
                  </a:cubicBezTo>
                  <a:cubicBezTo>
                    <a:pt x="223" y="205"/>
                    <a:pt x="221" y="207"/>
                    <a:pt x="219" y="207"/>
                  </a:cubicBezTo>
                  <a:cubicBezTo>
                    <a:pt x="219" y="207"/>
                    <a:pt x="219" y="207"/>
                    <a:pt x="219" y="207"/>
                  </a:cubicBezTo>
                  <a:cubicBezTo>
                    <a:pt x="227" y="213"/>
                    <a:pt x="233" y="219"/>
                    <a:pt x="239" y="227"/>
                  </a:cubicBezTo>
                  <a:cubicBezTo>
                    <a:pt x="246" y="236"/>
                    <a:pt x="253" y="243"/>
                    <a:pt x="261" y="251"/>
                  </a:cubicBezTo>
                  <a:cubicBezTo>
                    <a:pt x="264" y="254"/>
                    <a:pt x="265" y="260"/>
                    <a:pt x="264" y="264"/>
                  </a:cubicBezTo>
                  <a:cubicBezTo>
                    <a:pt x="264" y="269"/>
                    <a:pt x="269" y="274"/>
                    <a:pt x="272" y="277"/>
                  </a:cubicBezTo>
                  <a:cubicBezTo>
                    <a:pt x="274" y="280"/>
                    <a:pt x="275" y="280"/>
                    <a:pt x="274" y="282"/>
                  </a:cubicBezTo>
                  <a:cubicBezTo>
                    <a:pt x="272" y="285"/>
                    <a:pt x="271" y="289"/>
                    <a:pt x="270" y="292"/>
                  </a:cubicBezTo>
                  <a:cubicBezTo>
                    <a:pt x="270" y="293"/>
                    <a:pt x="268" y="294"/>
                    <a:pt x="267" y="295"/>
                  </a:cubicBezTo>
                  <a:cubicBezTo>
                    <a:pt x="268" y="296"/>
                    <a:pt x="270" y="296"/>
                    <a:pt x="271" y="296"/>
                  </a:cubicBezTo>
                  <a:cubicBezTo>
                    <a:pt x="272" y="297"/>
                    <a:pt x="273" y="297"/>
                    <a:pt x="273" y="297"/>
                  </a:cubicBezTo>
                  <a:cubicBezTo>
                    <a:pt x="273" y="299"/>
                    <a:pt x="275" y="300"/>
                    <a:pt x="273" y="300"/>
                  </a:cubicBezTo>
                  <a:cubicBezTo>
                    <a:pt x="271" y="301"/>
                    <a:pt x="266" y="302"/>
                    <a:pt x="265" y="303"/>
                  </a:cubicBezTo>
                  <a:cubicBezTo>
                    <a:pt x="262" y="307"/>
                    <a:pt x="271" y="318"/>
                    <a:pt x="273" y="321"/>
                  </a:cubicBezTo>
                  <a:cubicBezTo>
                    <a:pt x="276" y="327"/>
                    <a:pt x="282" y="331"/>
                    <a:pt x="288" y="334"/>
                  </a:cubicBezTo>
                  <a:cubicBezTo>
                    <a:pt x="293" y="337"/>
                    <a:pt x="299" y="339"/>
                    <a:pt x="304" y="342"/>
                  </a:cubicBezTo>
                  <a:cubicBezTo>
                    <a:pt x="308" y="345"/>
                    <a:pt x="310" y="349"/>
                    <a:pt x="314" y="353"/>
                  </a:cubicBezTo>
                  <a:cubicBezTo>
                    <a:pt x="316" y="355"/>
                    <a:pt x="319" y="356"/>
                    <a:pt x="322" y="357"/>
                  </a:cubicBezTo>
                  <a:cubicBezTo>
                    <a:pt x="329" y="360"/>
                    <a:pt x="336" y="362"/>
                    <a:pt x="343" y="364"/>
                  </a:cubicBezTo>
                  <a:cubicBezTo>
                    <a:pt x="344" y="364"/>
                    <a:pt x="344" y="364"/>
                    <a:pt x="344" y="364"/>
                  </a:cubicBezTo>
                  <a:cubicBezTo>
                    <a:pt x="345" y="364"/>
                    <a:pt x="346" y="363"/>
                    <a:pt x="347" y="363"/>
                  </a:cubicBezTo>
                  <a:cubicBezTo>
                    <a:pt x="347" y="363"/>
                    <a:pt x="348" y="363"/>
                    <a:pt x="349" y="363"/>
                  </a:cubicBezTo>
                  <a:cubicBezTo>
                    <a:pt x="349" y="363"/>
                    <a:pt x="350" y="363"/>
                    <a:pt x="351" y="363"/>
                  </a:cubicBezTo>
                  <a:cubicBezTo>
                    <a:pt x="356" y="367"/>
                    <a:pt x="360" y="371"/>
                    <a:pt x="366" y="375"/>
                  </a:cubicBezTo>
                  <a:cubicBezTo>
                    <a:pt x="377" y="382"/>
                    <a:pt x="390" y="385"/>
                    <a:pt x="401" y="391"/>
                  </a:cubicBezTo>
                  <a:cubicBezTo>
                    <a:pt x="407" y="394"/>
                    <a:pt x="413" y="395"/>
                    <a:pt x="420" y="396"/>
                  </a:cubicBezTo>
                  <a:cubicBezTo>
                    <a:pt x="423" y="397"/>
                    <a:pt x="424" y="397"/>
                    <a:pt x="427" y="400"/>
                  </a:cubicBezTo>
                  <a:cubicBezTo>
                    <a:pt x="429" y="403"/>
                    <a:pt x="432" y="403"/>
                    <a:pt x="435" y="404"/>
                  </a:cubicBezTo>
                  <a:cubicBezTo>
                    <a:pt x="438" y="405"/>
                    <a:pt x="441" y="406"/>
                    <a:pt x="443" y="408"/>
                  </a:cubicBezTo>
                  <a:cubicBezTo>
                    <a:pt x="447" y="410"/>
                    <a:pt x="448" y="410"/>
                    <a:pt x="453" y="411"/>
                  </a:cubicBezTo>
                  <a:cubicBezTo>
                    <a:pt x="455" y="411"/>
                    <a:pt x="458" y="411"/>
                    <a:pt x="461" y="412"/>
                  </a:cubicBezTo>
                  <a:cubicBezTo>
                    <a:pt x="463" y="413"/>
                    <a:pt x="465" y="415"/>
                    <a:pt x="468" y="416"/>
                  </a:cubicBezTo>
                  <a:cubicBezTo>
                    <a:pt x="472" y="417"/>
                    <a:pt x="474" y="417"/>
                    <a:pt x="477" y="417"/>
                  </a:cubicBezTo>
                  <a:cubicBezTo>
                    <a:pt x="479" y="417"/>
                    <a:pt x="482" y="417"/>
                    <a:pt x="485" y="416"/>
                  </a:cubicBezTo>
                  <a:cubicBezTo>
                    <a:pt x="490" y="415"/>
                    <a:pt x="494" y="412"/>
                    <a:pt x="500" y="411"/>
                  </a:cubicBezTo>
                  <a:cubicBezTo>
                    <a:pt x="502" y="410"/>
                    <a:pt x="504" y="407"/>
                    <a:pt x="506" y="406"/>
                  </a:cubicBezTo>
                  <a:cubicBezTo>
                    <a:pt x="508" y="406"/>
                    <a:pt x="510" y="405"/>
                    <a:pt x="512" y="405"/>
                  </a:cubicBezTo>
                  <a:cubicBezTo>
                    <a:pt x="513" y="405"/>
                    <a:pt x="514" y="405"/>
                    <a:pt x="515" y="405"/>
                  </a:cubicBezTo>
                  <a:cubicBezTo>
                    <a:pt x="515" y="405"/>
                    <a:pt x="515" y="405"/>
                    <a:pt x="515" y="405"/>
                  </a:cubicBezTo>
                  <a:cubicBezTo>
                    <a:pt x="513" y="404"/>
                    <a:pt x="512" y="404"/>
                    <a:pt x="510" y="403"/>
                  </a:cubicBezTo>
                  <a:cubicBezTo>
                    <a:pt x="512" y="402"/>
                    <a:pt x="514" y="401"/>
                    <a:pt x="516" y="400"/>
                  </a:cubicBezTo>
                  <a:cubicBezTo>
                    <a:pt x="516" y="402"/>
                    <a:pt x="516" y="403"/>
                    <a:pt x="517" y="403"/>
                  </a:cubicBezTo>
                  <a:cubicBezTo>
                    <a:pt x="517" y="403"/>
                    <a:pt x="518" y="403"/>
                    <a:pt x="520" y="402"/>
                  </a:cubicBezTo>
                  <a:cubicBezTo>
                    <a:pt x="520" y="403"/>
                    <a:pt x="519" y="404"/>
                    <a:pt x="518" y="405"/>
                  </a:cubicBezTo>
                  <a:cubicBezTo>
                    <a:pt x="520" y="406"/>
                    <a:pt x="523" y="406"/>
                    <a:pt x="525" y="406"/>
                  </a:cubicBezTo>
                  <a:cubicBezTo>
                    <a:pt x="528" y="406"/>
                    <a:pt x="531" y="408"/>
                    <a:pt x="533" y="409"/>
                  </a:cubicBezTo>
                  <a:cubicBezTo>
                    <a:pt x="532" y="406"/>
                    <a:pt x="527" y="406"/>
                    <a:pt x="525" y="404"/>
                  </a:cubicBezTo>
                  <a:cubicBezTo>
                    <a:pt x="525" y="404"/>
                    <a:pt x="526" y="403"/>
                    <a:pt x="527" y="403"/>
                  </a:cubicBezTo>
                  <a:cubicBezTo>
                    <a:pt x="530" y="403"/>
                    <a:pt x="536" y="408"/>
                    <a:pt x="538" y="410"/>
                  </a:cubicBezTo>
                  <a:cubicBezTo>
                    <a:pt x="543" y="414"/>
                    <a:pt x="548" y="418"/>
                    <a:pt x="553" y="422"/>
                  </a:cubicBezTo>
                  <a:cubicBezTo>
                    <a:pt x="555" y="423"/>
                    <a:pt x="556" y="426"/>
                    <a:pt x="558" y="427"/>
                  </a:cubicBezTo>
                  <a:cubicBezTo>
                    <a:pt x="560" y="428"/>
                    <a:pt x="563" y="429"/>
                    <a:pt x="564" y="430"/>
                  </a:cubicBezTo>
                  <a:cubicBezTo>
                    <a:pt x="567" y="435"/>
                    <a:pt x="570" y="439"/>
                    <a:pt x="573" y="442"/>
                  </a:cubicBezTo>
                  <a:cubicBezTo>
                    <a:pt x="574" y="441"/>
                    <a:pt x="574" y="441"/>
                    <a:pt x="574" y="441"/>
                  </a:cubicBezTo>
                  <a:cubicBezTo>
                    <a:pt x="574" y="441"/>
                    <a:pt x="574" y="441"/>
                    <a:pt x="574" y="441"/>
                  </a:cubicBezTo>
                  <a:cubicBezTo>
                    <a:pt x="574" y="440"/>
                    <a:pt x="574" y="440"/>
                    <a:pt x="574" y="440"/>
                  </a:cubicBezTo>
                  <a:cubicBezTo>
                    <a:pt x="574" y="439"/>
                    <a:pt x="574" y="439"/>
                    <a:pt x="574" y="439"/>
                  </a:cubicBezTo>
                  <a:cubicBezTo>
                    <a:pt x="574" y="438"/>
                    <a:pt x="574" y="437"/>
                    <a:pt x="575" y="435"/>
                  </a:cubicBezTo>
                  <a:cubicBezTo>
                    <a:pt x="575" y="435"/>
                    <a:pt x="575" y="435"/>
                    <a:pt x="575" y="435"/>
                  </a:cubicBezTo>
                  <a:cubicBezTo>
                    <a:pt x="575" y="435"/>
                    <a:pt x="575" y="433"/>
                    <a:pt x="575" y="432"/>
                  </a:cubicBezTo>
                  <a:cubicBezTo>
                    <a:pt x="576" y="432"/>
                    <a:pt x="576" y="432"/>
                    <a:pt x="576" y="432"/>
                  </a:cubicBezTo>
                  <a:cubicBezTo>
                    <a:pt x="574" y="430"/>
                    <a:pt x="574" y="428"/>
                    <a:pt x="574" y="426"/>
                  </a:cubicBezTo>
                  <a:cubicBezTo>
                    <a:pt x="575" y="425"/>
                    <a:pt x="575" y="425"/>
                    <a:pt x="575" y="425"/>
                  </a:cubicBezTo>
                  <a:cubicBezTo>
                    <a:pt x="575" y="425"/>
                    <a:pt x="575" y="425"/>
                    <a:pt x="575" y="425"/>
                  </a:cubicBezTo>
                  <a:cubicBezTo>
                    <a:pt x="575" y="424"/>
                    <a:pt x="575" y="424"/>
                    <a:pt x="575" y="424"/>
                  </a:cubicBezTo>
                  <a:cubicBezTo>
                    <a:pt x="575" y="423"/>
                    <a:pt x="575" y="423"/>
                    <a:pt x="575" y="423"/>
                  </a:cubicBezTo>
                  <a:cubicBezTo>
                    <a:pt x="576" y="420"/>
                    <a:pt x="579" y="416"/>
                    <a:pt x="581" y="413"/>
                  </a:cubicBezTo>
                  <a:cubicBezTo>
                    <a:pt x="582" y="411"/>
                    <a:pt x="582" y="411"/>
                    <a:pt x="582" y="411"/>
                  </a:cubicBezTo>
                  <a:cubicBezTo>
                    <a:pt x="583" y="410"/>
                    <a:pt x="584" y="409"/>
                    <a:pt x="586" y="408"/>
                  </a:cubicBezTo>
                  <a:cubicBezTo>
                    <a:pt x="586" y="408"/>
                    <a:pt x="587" y="407"/>
                    <a:pt x="587" y="407"/>
                  </a:cubicBezTo>
                  <a:cubicBezTo>
                    <a:pt x="589" y="406"/>
                    <a:pt x="591" y="406"/>
                    <a:pt x="592" y="406"/>
                  </a:cubicBezTo>
                  <a:cubicBezTo>
                    <a:pt x="594" y="405"/>
                    <a:pt x="597" y="405"/>
                    <a:pt x="599" y="405"/>
                  </a:cubicBezTo>
                  <a:cubicBezTo>
                    <a:pt x="600" y="405"/>
                    <a:pt x="601" y="405"/>
                    <a:pt x="602" y="405"/>
                  </a:cubicBezTo>
                  <a:cubicBezTo>
                    <a:pt x="603" y="405"/>
                    <a:pt x="604" y="405"/>
                    <a:pt x="605" y="405"/>
                  </a:cubicBezTo>
                  <a:cubicBezTo>
                    <a:pt x="615" y="405"/>
                    <a:pt x="615" y="405"/>
                    <a:pt x="615" y="405"/>
                  </a:cubicBezTo>
                  <a:cubicBezTo>
                    <a:pt x="615" y="404"/>
                    <a:pt x="615" y="404"/>
                    <a:pt x="615" y="404"/>
                  </a:cubicBezTo>
                  <a:cubicBezTo>
                    <a:pt x="615" y="404"/>
                    <a:pt x="615" y="404"/>
                    <a:pt x="615" y="404"/>
                  </a:cubicBezTo>
                  <a:cubicBezTo>
                    <a:pt x="615" y="403"/>
                    <a:pt x="615" y="403"/>
                    <a:pt x="616" y="402"/>
                  </a:cubicBezTo>
                  <a:cubicBezTo>
                    <a:pt x="615" y="402"/>
                    <a:pt x="615" y="402"/>
                    <a:pt x="615" y="402"/>
                  </a:cubicBezTo>
                  <a:cubicBezTo>
                    <a:pt x="615" y="402"/>
                    <a:pt x="615" y="402"/>
                    <a:pt x="615" y="402"/>
                  </a:cubicBezTo>
                  <a:cubicBezTo>
                    <a:pt x="615" y="401"/>
                    <a:pt x="614" y="401"/>
                    <a:pt x="613" y="401"/>
                  </a:cubicBezTo>
                  <a:cubicBezTo>
                    <a:pt x="610" y="399"/>
                    <a:pt x="608" y="397"/>
                    <a:pt x="606" y="394"/>
                  </a:cubicBezTo>
                  <a:cubicBezTo>
                    <a:pt x="606" y="394"/>
                    <a:pt x="606" y="394"/>
                    <a:pt x="606" y="394"/>
                  </a:cubicBezTo>
                  <a:cubicBezTo>
                    <a:pt x="605" y="394"/>
                    <a:pt x="605" y="394"/>
                    <a:pt x="605" y="394"/>
                  </a:cubicBezTo>
                  <a:cubicBezTo>
                    <a:pt x="605" y="393"/>
                    <a:pt x="604" y="392"/>
                    <a:pt x="603" y="391"/>
                  </a:cubicBezTo>
                  <a:cubicBezTo>
                    <a:pt x="602" y="391"/>
                    <a:pt x="601" y="390"/>
                    <a:pt x="601" y="389"/>
                  </a:cubicBezTo>
                  <a:cubicBezTo>
                    <a:pt x="598" y="387"/>
                    <a:pt x="598" y="387"/>
                    <a:pt x="598" y="387"/>
                  </a:cubicBezTo>
                  <a:cubicBezTo>
                    <a:pt x="596" y="385"/>
                    <a:pt x="594" y="383"/>
                    <a:pt x="592" y="382"/>
                  </a:cubicBezTo>
                  <a:cubicBezTo>
                    <a:pt x="586" y="377"/>
                    <a:pt x="586" y="377"/>
                    <a:pt x="586" y="377"/>
                  </a:cubicBezTo>
                  <a:cubicBezTo>
                    <a:pt x="602" y="377"/>
                    <a:pt x="602" y="377"/>
                    <a:pt x="602" y="377"/>
                  </a:cubicBezTo>
                  <a:cubicBezTo>
                    <a:pt x="602" y="377"/>
                    <a:pt x="602" y="377"/>
                    <a:pt x="602" y="377"/>
                  </a:cubicBezTo>
                  <a:cubicBezTo>
                    <a:pt x="601" y="370"/>
                    <a:pt x="601" y="366"/>
                    <a:pt x="603" y="365"/>
                  </a:cubicBezTo>
                  <a:cubicBezTo>
                    <a:pt x="603" y="363"/>
                    <a:pt x="605" y="363"/>
                    <a:pt x="607" y="363"/>
                  </a:cubicBezTo>
                  <a:cubicBezTo>
                    <a:pt x="609" y="363"/>
                    <a:pt x="610" y="363"/>
                    <a:pt x="612" y="363"/>
                  </a:cubicBezTo>
                  <a:cubicBezTo>
                    <a:pt x="614" y="363"/>
                    <a:pt x="614" y="363"/>
                    <a:pt x="614" y="363"/>
                  </a:cubicBezTo>
                  <a:cubicBezTo>
                    <a:pt x="614" y="364"/>
                    <a:pt x="614" y="364"/>
                    <a:pt x="615" y="364"/>
                  </a:cubicBezTo>
                  <a:cubicBezTo>
                    <a:pt x="629" y="364"/>
                    <a:pt x="629" y="364"/>
                    <a:pt x="629" y="364"/>
                  </a:cubicBezTo>
                  <a:cubicBezTo>
                    <a:pt x="634" y="364"/>
                    <a:pt x="639" y="364"/>
                    <a:pt x="644" y="364"/>
                  </a:cubicBezTo>
                  <a:cubicBezTo>
                    <a:pt x="645" y="363"/>
                    <a:pt x="645" y="363"/>
                    <a:pt x="645" y="363"/>
                  </a:cubicBezTo>
                  <a:cubicBezTo>
                    <a:pt x="645" y="363"/>
                    <a:pt x="645" y="363"/>
                    <a:pt x="645" y="363"/>
                  </a:cubicBezTo>
                  <a:cubicBezTo>
                    <a:pt x="646" y="363"/>
                    <a:pt x="646" y="363"/>
                    <a:pt x="646" y="363"/>
                  </a:cubicBezTo>
                  <a:cubicBezTo>
                    <a:pt x="646" y="362"/>
                    <a:pt x="646" y="362"/>
                    <a:pt x="646" y="362"/>
                  </a:cubicBezTo>
                  <a:cubicBezTo>
                    <a:pt x="647" y="361"/>
                    <a:pt x="647" y="361"/>
                    <a:pt x="647" y="361"/>
                  </a:cubicBezTo>
                  <a:cubicBezTo>
                    <a:pt x="647" y="361"/>
                    <a:pt x="648" y="361"/>
                    <a:pt x="648" y="361"/>
                  </a:cubicBezTo>
                  <a:cubicBezTo>
                    <a:pt x="649" y="360"/>
                    <a:pt x="650" y="360"/>
                    <a:pt x="650" y="360"/>
                  </a:cubicBezTo>
                  <a:cubicBezTo>
                    <a:pt x="650" y="360"/>
                    <a:pt x="650" y="360"/>
                    <a:pt x="651" y="360"/>
                  </a:cubicBezTo>
                  <a:cubicBezTo>
                    <a:pt x="652" y="360"/>
                    <a:pt x="652" y="361"/>
                    <a:pt x="653" y="361"/>
                  </a:cubicBezTo>
                  <a:cubicBezTo>
                    <a:pt x="653" y="361"/>
                    <a:pt x="653" y="361"/>
                    <a:pt x="653" y="361"/>
                  </a:cubicBezTo>
                  <a:cubicBezTo>
                    <a:pt x="653" y="361"/>
                    <a:pt x="654" y="361"/>
                    <a:pt x="655" y="359"/>
                  </a:cubicBezTo>
                  <a:cubicBezTo>
                    <a:pt x="656" y="358"/>
                    <a:pt x="656" y="357"/>
                    <a:pt x="657" y="356"/>
                  </a:cubicBezTo>
                  <a:cubicBezTo>
                    <a:pt x="657" y="355"/>
                    <a:pt x="657" y="355"/>
                    <a:pt x="657" y="355"/>
                  </a:cubicBezTo>
                  <a:cubicBezTo>
                    <a:pt x="658" y="355"/>
                    <a:pt x="658" y="355"/>
                    <a:pt x="658" y="355"/>
                  </a:cubicBezTo>
                  <a:cubicBezTo>
                    <a:pt x="658" y="353"/>
                    <a:pt x="658" y="353"/>
                    <a:pt x="658" y="353"/>
                  </a:cubicBezTo>
                  <a:cubicBezTo>
                    <a:pt x="660" y="349"/>
                    <a:pt x="662" y="348"/>
                    <a:pt x="664" y="348"/>
                  </a:cubicBezTo>
                  <a:cubicBezTo>
                    <a:pt x="664" y="348"/>
                    <a:pt x="665" y="348"/>
                    <a:pt x="665" y="348"/>
                  </a:cubicBezTo>
                  <a:cubicBezTo>
                    <a:pt x="666" y="348"/>
                    <a:pt x="666" y="348"/>
                    <a:pt x="667" y="348"/>
                  </a:cubicBezTo>
                  <a:cubicBezTo>
                    <a:pt x="668" y="348"/>
                    <a:pt x="668" y="348"/>
                    <a:pt x="668" y="348"/>
                  </a:cubicBezTo>
                  <a:cubicBezTo>
                    <a:pt x="669" y="348"/>
                    <a:pt x="669" y="348"/>
                    <a:pt x="669" y="348"/>
                  </a:cubicBezTo>
                  <a:cubicBezTo>
                    <a:pt x="669" y="347"/>
                    <a:pt x="670" y="345"/>
                    <a:pt x="669" y="344"/>
                  </a:cubicBezTo>
                  <a:cubicBezTo>
                    <a:pt x="671" y="344"/>
                    <a:pt x="671" y="343"/>
                    <a:pt x="672" y="342"/>
                  </a:cubicBezTo>
                  <a:cubicBezTo>
                    <a:pt x="673" y="344"/>
                    <a:pt x="672" y="348"/>
                    <a:pt x="672" y="350"/>
                  </a:cubicBezTo>
                  <a:cubicBezTo>
                    <a:pt x="672" y="353"/>
                    <a:pt x="676" y="356"/>
                    <a:pt x="677" y="358"/>
                  </a:cubicBezTo>
                  <a:cubicBezTo>
                    <a:pt x="680" y="349"/>
                    <a:pt x="681" y="338"/>
                    <a:pt x="686" y="331"/>
                  </a:cubicBezTo>
                  <a:cubicBezTo>
                    <a:pt x="686" y="331"/>
                    <a:pt x="685" y="330"/>
                    <a:pt x="685" y="330"/>
                  </a:cubicBezTo>
                  <a:cubicBezTo>
                    <a:pt x="683" y="330"/>
                    <a:pt x="684" y="332"/>
                    <a:pt x="683" y="333"/>
                  </a:cubicBezTo>
                  <a:cubicBezTo>
                    <a:pt x="682" y="333"/>
                    <a:pt x="682" y="333"/>
                    <a:pt x="682" y="333"/>
                  </a:cubicBezTo>
                  <a:cubicBezTo>
                    <a:pt x="680" y="333"/>
                    <a:pt x="684" y="329"/>
                    <a:pt x="685" y="328"/>
                  </a:cubicBezTo>
                  <a:cubicBezTo>
                    <a:pt x="685" y="328"/>
                    <a:pt x="685" y="328"/>
                    <a:pt x="685" y="328"/>
                  </a:cubicBezTo>
                  <a:cubicBezTo>
                    <a:pt x="686" y="328"/>
                    <a:pt x="687" y="326"/>
                    <a:pt x="687" y="324"/>
                  </a:cubicBezTo>
                  <a:cubicBezTo>
                    <a:pt x="686" y="325"/>
                    <a:pt x="684" y="325"/>
                    <a:pt x="683" y="325"/>
                  </a:cubicBezTo>
                  <a:cubicBezTo>
                    <a:pt x="681" y="325"/>
                    <a:pt x="679" y="325"/>
                    <a:pt x="680" y="322"/>
                  </a:cubicBezTo>
                  <a:cubicBezTo>
                    <a:pt x="680" y="320"/>
                    <a:pt x="685" y="320"/>
                    <a:pt x="686" y="319"/>
                  </a:cubicBezTo>
                  <a:cubicBezTo>
                    <a:pt x="687" y="318"/>
                    <a:pt x="686" y="315"/>
                    <a:pt x="686" y="314"/>
                  </a:cubicBezTo>
                  <a:cubicBezTo>
                    <a:pt x="686" y="313"/>
                    <a:pt x="686" y="311"/>
                    <a:pt x="687" y="310"/>
                  </a:cubicBezTo>
                  <a:cubicBezTo>
                    <a:pt x="688" y="305"/>
                    <a:pt x="695" y="301"/>
                    <a:pt x="698" y="296"/>
                  </a:cubicBezTo>
                  <a:cubicBezTo>
                    <a:pt x="699" y="293"/>
                    <a:pt x="701" y="290"/>
                    <a:pt x="703" y="287"/>
                  </a:cubicBezTo>
                  <a:cubicBezTo>
                    <a:pt x="703" y="286"/>
                    <a:pt x="702" y="283"/>
                    <a:pt x="701" y="282"/>
                  </a:cubicBezTo>
                  <a:cubicBezTo>
                    <a:pt x="701" y="280"/>
                    <a:pt x="699" y="278"/>
                    <a:pt x="697" y="277"/>
                  </a:cubicBezTo>
                  <a:cubicBezTo>
                    <a:pt x="697" y="276"/>
                    <a:pt x="696" y="276"/>
                    <a:pt x="696" y="276"/>
                  </a:cubicBezTo>
                  <a:cubicBezTo>
                    <a:pt x="694" y="276"/>
                    <a:pt x="693" y="277"/>
                    <a:pt x="692" y="277"/>
                  </a:cubicBezTo>
                  <a:cubicBezTo>
                    <a:pt x="692" y="277"/>
                    <a:pt x="689" y="276"/>
                    <a:pt x="689" y="276"/>
                  </a:cubicBezTo>
                  <a:cubicBezTo>
                    <a:pt x="689" y="276"/>
                    <a:pt x="689" y="276"/>
                    <a:pt x="689" y="276"/>
                  </a:cubicBezTo>
                  <a:cubicBezTo>
                    <a:pt x="688" y="276"/>
                    <a:pt x="687" y="277"/>
                    <a:pt x="686" y="278"/>
                  </a:cubicBezTo>
                  <a:cubicBezTo>
                    <a:pt x="682" y="277"/>
                    <a:pt x="677" y="276"/>
                    <a:pt x="673" y="276"/>
                  </a:cubicBezTo>
                  <a:cubicBezTo>
                    <a:pt x="672" y="276"/>
                    <a:pt x="671" y="276"/>
                    <a:pt x="670" y="276"/>
                  </a:cubicBezTo>
                  <a:cubicBezTo>
                    <a:pt x="664" y="276"/>
                    <a:pt x="660" y="278"/>
                    <a:pt x="654" y="280"/>
                  </a:cubicBezTo>
                  <a:cubicBezTo>
                    <a:pt x="649" y="282"/>
                    <a:pt x="642" y="282"/>
                    <a:pt x="636" y="283"/>
                  </a:cubicBezTo>
                  <a:cubicBezTo>
                    <a:pt x="633" y="283"/>
                    <a:pt x="630" y="283"/>
                    <a:pt x="627" y="285"/>
                  </a:cubicBezTo>
                  <a:cubicBezTo>
                    <a:pt x="625" y="287"/>
                    <a:pt x="620" y="290"/>
                    <a:pt x="619" y="293"/>
                  </a:cubicBezTo>
                  <a:cubicBezTo>
                    <a:pt x="618" y="296"/>
                    <a:pt x="617" y="300"/>
                    <a:pt x="617" y="303"/>
                  </a:cubicBezTo>
                  <a:cubicBezTo>
                    <a:pt x="616" y="306"/>
                    <a:pt x="617" y="310"/>
                    <a:pt x="616" y="312"/>
                  </a:cubicBezTo>
                  <a:cubicBezTo>
                    <a:pt x="615" y="315"/>
                    <a:pt x="612" y="317"/>
                    <a:pt x="612" y="320"/>
                  </a:cubicBezTo>
                  <a:cubicBezTo>
                    <a:pt x="611" y="322"/>
                    <a:pt x="611" y="325"/>
                    <a:pt x="611" y="327"/>
                  </a:cubicBezTo>
                  <a:cubicBezTo>
                    <a:pt x="611" y="329"/>
                    <a:pt x="610" y="330"/>
                    <a:pt x="609" y="331"/>
                  </a:cubicBezTo>
                  <a:cubicBezTo>
                    <a:pt x="608" y="332"/>
                    <a:pt x="597" y="340"/>
                    <a:pt x="595" y="341"/>
                  </a:cubicBezTo>
                  <a:cubicBezTo>
                    <a:pt x="596" y="340"/>
                    <a:pt x="598" y="340"/>
                    <a:pt x="599" y="339"/>
                  </a:cubicBezTo>
                  <a:cubicBezTo>
                    <a:pt x="598" y="341"/>
                    <a:pt x="597" y="342"/>
                    <a:pt x="596" y="344"/>
                  </a:cubicBezTo>
                  <a:cubicBezTo>
                    <a:pt x="596" y="344"/>
                    <a:pt x="596" y="344"/>
                    <a:pt x="596" y="344"/>
                  </a:cubicBezTo>
                  <a:cubicBezTo>
                    <a:pt x="597" y="344"/>
                    <a:pt x="597" y="343"/>
                    <a:pt x="597" y="343"/>
                  </a:cubicBezTo>
                  <a:cubicBezTo>
                    <a:pt x="598" y="343"/>
                    <a:pt x="598" y="346"/>
                    <a:pt x="597" y="347"/>
                  </a:cubicBezTo>
                  <a:cubicBezTo>
                    <a:pt x="598" y="347"/>
                    <a:pt x="599" y="347"/>
                    <a:pt x="600" y="346"/>
                  </a:cubicBezTo>
                  <a:cubicBezTo>
                    <a:pt x="596" y="349"/>
                    <a:pt x="591" y="350"/>
                    <a:pt x="586" y="352"/>
                  </a:cubicBezTo>
                  <a:cubicBezTo>
                    <a:pt x="586" y="353"/>
                    <a:pt x="586" y="353"/>
                    <a:pt x="586" y="353"/>
                  </a:cubicBezTo>
                  <a:cubicBezTo>
                    <a:pt x="584" y="353"/>
                    <a:pt x="584" y="348"/>
                    <a:pt x="581" y="347"/>
                  </a:cubicBezTo>
                  <a:cubicBezTo>
                    <a:pt x="582" y="347"/>
                    <a:pt x="582" y="347"/>
                    <a:pt x="583" y="347"/>
                  </a:cubicBezTo>
                  <a:cubicBezTo>
                    <a:pt x="583" y="347"/>
                    <a:pt x="584" y="347"/>
                    <a:pt x="584" y="347"/>
                  </a:cubicBezTo>
                  <a:cubicBezTo>
                    <a:pt x="584" y="347"/>
                    <a:pt x="583" y="345"/>
                    <a:pt x="582" y="345"/>
                  </a:cubicBezTo>
                  <a:cubicBezTo>
                    <a:pt x="582" y="345"/>
                    <a:pt x="581" y="345"/>
                    <a:pt x="580" y="345"/>
                  </a:cubicBezTo>
                  <a:cubicBezTo>
                    <a:pt x="577" y="345"/>
                    <a:pt x="574" y="346"/>
                    <a:pt x="571" y="346"/>
                  </a:cubicBezTo>
                  <a:cubicBezTo>
                    <a:pt x="569" y="347"/>
                    <a:pt x="567" y="349"/>
                    <a:pt x="566" y="351"/>
                  </a:cubicBezTo>
                  <a:cubicBezTo>
                    <a:pt x="565" y="349"/>
                    <a:pt x="565" y="348"/>
                    <a:pt x="564" y="348"/>
                  </a:cubicBezTo>
                  <a:cubicBezTo>
                    <a:pt x="564" y="348"/>
                    <a:pt x="564" y="348"/>
                    <a:pt x="563" y="348"/>
                  </a:cubicBezTo>
                  <a:cubicBezTo>
                    <a:pt x="561" y="348"/>
                    <a:pt x="557" y="351"/>
                    <a:pt x="554" y="351"/>
                  </a:cubicBezTo>
                  <a:cubicBezTo>
                    <a:pt x="548" y="352"/>
                    <a:pt x="546" y="352"/>
                    <a:pt x="541" y="354"/>
                  </a:cubicBezTo>
                  <a:cubicBezTo>
                    <a:pt x="537" y="357"/>
                    <a:pt x="534" y="357"/>
                    <a:pt x="529" y="358"/>
                  </a:cubicBezTo>
                  <a:cubicBezTo>
                    <a:pt x="528" y="358"/>
                    <a:pt x="527" y="358"/>
                    <a:pt x="526" y="358"/>
                  </a:cubicBezTo>
                  <a:cubicBezTo>
                    <a:pt x="523" y="358"/>
                    <a:pt x="521" y="357"/>
                    <a:pt x="519" y="354"/>
                  </a:cubicBezTo>
                  <a:cubicBezTo>
                    <a:pt x="517" y="352"/>
                    <a:pt x="516" y="350"/>
                    <a:pt x="515" y="349"/>
                  </a:cubicBezTo>
                  <a:cubicBezTo>
                    <a:pt x="514" y="349"/>
                    <a:pt x="511" y="348"/>
                    <a:pt x="510" y="348"/>
                  </a:cubicBezTo>
                  <a:cubicBezTo>
                    <a:pt x="508" y="347"/>
                    <a:pt x="506" y="345"/>
                    <a:pt x="504" y="345"/>
                  </a:cubicBezTo>
                  <a:cubicBezTo>
                    <a:pt x="504" y="345"/>
                    <a:pt x="504" y="345"/>
                    <a:pt x="504" y="345"/>
                  </a:cubicBezTo>
                  <a:cubicBezTo>
                    <a:pt x="503" y="345"/>
                    <a:pt x="502" y="345"/>
                    <a:pt x="501" y="345"/>
                  </a:cubicBezTo>
                  <a:cubicBezTo>
                    <a:pt x="500" y="345"/>
                    <a:pt x="500" y="345"/>
                    <a:pt x="499" y="345"/>
                  </a:cubicBezTo>
                  <a:cubicBezTo>
                    <a:pt x="497" y="345"/>
                    <a:pt x="496" y="345"/>
                    <a:pt x="495" y="345"/>
                  </a:cubicBezTo>
                  <a:cubicBezTo>
                    <a:pt x="493" y="345"/>
                    <a:pt x="491" y="345"/>
                    <a:pt x="491" y="349"/>
                  </a:cubicBezTo>
                  <a:cubicBezTo>
                    <a:pt x="490" y="349"/>
                    <a:pt x="489" y="350"/>
                    <a:pt x="487" y="351"/>
                  </a:cubicBezTo>
                  <a:cubicBezTo>
                    <a:pt x="488" y="349"/>
                    <a:pt x="489" y="348"/>
                    <a:pt x="490" y="346"/>
                  </a:cubicBezTo>
                  <a:cubicBezTo>
                    <a:pt x="491" y="343"/>
                    <a:pt x="490" y="344"/>
                    <a:pt x="489" y="342"/>
                  </a:cubicBezTo>
                  <a:cubicBezTo>
                    <a:pt x="490" y="342"/>
                    <a:pt x="492" y="343"/>
                    <a:pt x="493" y="343"/>
                  </a:cubicBezTo>
                  <a:cubicBezTo>
                    <a:pt x="493" y="343"/>
                    <a:pt x="493" y="343"/>
                    <a:pt x="493" y="343"/>
                  </a:cubicBezTo>
                  <a:cubicBezTo>
                    <a:pt x="490" y="338"/>
                    <a:pt x="483" y="334"/>
                    <a:pt x="481" y="328"/>
                  </a:cubicBezTo>
                  <a:cubicBezTo>
                    <a:pt x="480" y="325"/>
                    <a:pt x="480" y="320"/>
                    <a:pt x="478" y="317"/>
                  </a:cubicBezTo>
                  <a:cubicBezTo>
                    <a:pt x="476" y="314"/>
                    <a:pt x="473" y="311"/>
                    <a:pt x="471" y="309"/>
                  </a:cubicBezTo>
                  <a:cubicBezTo>
                    <a:pt x="468" y="306"/>
                    <a:pt x="465" y="303"/>
                    <a:pt x="463" y="300"/>
                  </a:cubicBezTo>
                  <a:cubicBezTo>
                    <a:pt x="460" y="297"/>
                    <a:pt x="459" y="293"/>
                    <a:pt x="457" y="289"/>
                  </a:cubicBezTo>
                  <a:cubicBezTo>
                    <a:pt x="454" y="282"/>
                    <a:pt x="451" y="276"/>
                    <a:pt x="449" y="268"/>
                  </a:cubicBezTo>
                  <a:cubicBezTo>
                    <a:pt x="451" y="271"/>
                    <a:pt x="453" y="273"/>
                    <a:pt x="455" y="276"/>
                  </a:cubicBezTo>
                  <a:cubicBezTo>
                    <a:pt x="456" y="278"/>
                    <a:pt x="456" y="277"/>
                    <a:pt x="455" y="280"/>
                  </a:cubicBezTo>
                  <a:cubicBezTo>
                    <a:pt x="455" y="281"/>
                    <a:pt x="455" y="282"/>
                    <a:pt x="455" y="283"/>
                  </a:cubicBezTo>
                  <a:cubicBezTo>
                    <a:pt x="456" y="282"/>
                    <a:pt x="458" y="279"/>
                    <a:pt x="458" y="278"/>
                  </a:cubicBezTo>
                  <a:cubicBezTo>
                    <a:pt x="458" y="272"/>
                    <a:pt x="449" y="267"/>
                    <a:pt x="447" y="262"/>
                  </a:cubicBezTo>
                  <a:cubicBezTo>
                    <a:pt x="446" y="258"/>
                    <a:pt x="446" y="253"/>
                    <a:pt x="446" y="249"/>
                  </a:cubicBezTo>
                  <a:cubicBezTo>
                    <a:pt x="445" y="245"/>
                    <a:pt x="446" y="241"/>
                    <a:pt x="447" y="237"/>
                  </a:cubicBezTo>
                  <a:cubicBezTo>
                    <a:pt x="448" y="229"/>
                    <a:pt x="448" y="221"/>
                    <a:pt x="449" y="214"/>
                  </a:cubicBezTo>
                  <a:cubicBezTo>
                    <a:pt x="449" y="216"/>
                    <a:pt x="448" y="219"/>
                    <a:pt x="448" y="221"/>
                  </a:cubicBezTo>
                  <a:cubicBezTo>
                    <a:pt x="447" y="215"/>
                    <a:pt x="444" y="208"/>
                    <a:pt x="447" y="202"/>
                  </a:cubicBezTo>
                  <a:cubicBezTo>
                    <a:pt x="448" y="200"/>
                    <a:pt x="451" y="195"/>
                    <a:pt x="449" y="193"/>
                  </a:cubicBezTo>
                  <a:cubicBezTo>
                    <a:pt x="447" y="191"/>
                    <a:pt x="448" y="186"/>
                    <a:pt x="448" y="183"/>
                  </a:cubicBezTo>
                  <a:cubicBezTo>
                    <a:pt x="449" y="183"/>
                    <a:pt x="451" y="185"/>
                    <a:pt x="453" y="185"/>
                  </a:cubicBezTo>
                  <a:cubicBezTo>
                    <a:pt x="453" y="185"/>
                    <a:pt x="453" y="185"/>
                    <a:pt x="453" y="185"/>
                  </a:cubicBezTo>
                  <a:cubicBezTo>
                    <a:pt x="454" y="184"/>
                    <a:pt x="452" y="183"/>
                    <a:pt x="454" y="183"/>
                  </a:cubicBezTo>
                  <a:cubicBezTo>
                    <a:pt x="453" y="183"/>
                    <a:pt x="453" y="181"/>
                    <a:pt x="453" y="181"/>
                  </a:cubicBezTo>
                  <a:cubicBezTo>
                    <a:pt x="454" y="181"/>
                    <a:pt x="455" y="181"/>
                    <a:pt x="455" y="182"/>
                  </a:cubicBezTo>
                  <a:cubicBezTo>
                    <a:pt x="455" y="186"/>
                    <a:pt x="453" y="190"/>
                    <a:pt x="452" y="195"/>
                  </a:cubicBezTo>
                  <a:cubicBezTo>
                    <a:pt x="454" y="187"/>
                    <a:pt x="457" y="179"/>
                    <a:pt x="460" y="172"/>
                  </a:cubicBezTo>
                  <a:cubicBezTo>
                    <a:pt x="460" y="171"/>
                    <a:pt x="460" y="171"/>
                    <a:pt x="460" y="171"/>
                  </a:cubicBezTo>
                  <a:cubicBezTo>
                    <a:pt x="460" y="171"/>
                    <a:pt x="460" y="171"/>
                    <a:pt x="460" y="171"/>
                  </a:cubicBezTo>
                  <a:cubicBezTo>
                    <a:pt x="459" y="172"/>
                    <a:pt x="458" y="172"/>
                    <a:pt x="457" y="172"/>
                  </a:cubicBezTo>
                  <a:cubicBezTo>
                    <a:pt x="456" y="172"/>
                    <a:pt x="455" y="172"/>
                    <a:pt x="454" y="172"/>
                  </a:cubicBezTo>
                  <a:cubicBezTo>
                    <a:pt x="454" y="172"/>
                    <a:pt x="454" y="172"/>
                    <a:pt x="454" y="172"/>
                  </a:cubicBezTo>
                  <a:cubicBezTo>
                    <a:pt x="452" y="172"/>
                    <a:pt x="451" y="172"/>
                    <a:pt x="450" y="171"/>
                  </a:cubicBezTo>
                  <a:cubicBezTo>
                    <a:pt x="449" y="170"/>
                    <a:pt x="446" y="169"/>
                    <a:pt x="444" y="169"/>
                  </a:cubicBezTo>
                  <a:cubicBezTo>
                    <a:pt x="441" y="169"/>
                    <a:pt x="436" y="167"/>
                    <a:pt x="433" y="166"/>
                  </a:cubicBezTo>
                  <a:cubicBezTo>
                    <a:pt x="433" y="166"/>
                    <a:pt x="432" y="166"/>
                    <a:pt x="431" y="165"/>
                  </a:cubicBezTo>
                  <a:cubicBezTo>
                    <a:pt x="429" y="164"/>
                    <a:pt x="427" y="163"/>
                    <a:pt x="422" y="162"/>
                  </a:cubicBezTo>
                  <a:cubicBezTo>
                    <a:pt x="416" y="160"/>
                    <a:pt x="414" y="159"/>
                    <a:pt x="413" y="156"/>
                  </a:cubicBezTo>
                  <a:cubicBezTo>
                    <a:pt x="404" y="135"/>
                    <a:pt x="404" y="134"/>
                    <a:pt x="404" y="133"/>
                  </a:cubicBezTo>
                  <a:cubicBezTo>
                    <a:pt x="405" y="129"/>
                    <a:pt x="404" y="129"/>
                    <a:pt x="404" y="129"/>
                  </a:cubicBezTo>
                  <a:cubicBezTo>
                    <a:pt x="401" y="127"/>
                    <a:pt x="397" y="126"/>
                    <a:pt x="397" y="123"/>
                  </a:cubicBezTo>
                  <a:cubicBezTo>
                    <a:pt x="396" y="122"/>
                    <a:pt x="394" y="119"/>
                    <a:pt x="393" y="117"/>
                  </a:cubicBezTo>
                  <a:cubicBezTo>
                    <a:pt x="388" y="110"/>
                    <a:pt x="384" y="104"/>
                    <a:pt x="379" y="94"/>
                  </a:cubicBezTo>
                  <a:cubicBezTo>
                    <a:pt x="375" y="86"/>
                    <a:pt x="371" y="84"/>
                    <a:pt x="369" y="81"/>
                  </a:cubicBezTo>
                  <a:cubicBezTo>
                    <a:pt x="368" y="81"/>
                    <a:pt x="367" y="80"/>
                    <a:pt x="366" y="79"/>
                  </a:cubicBezTo>
                  <a:cubicBezTo>
                    <a:pt x="362" y="75"/>
                    <a:pt x="360" y="75"/>
                    <a:pt x="360" y="75"/>
                  </a:cubicBezTo>
                  <a:cubicBezTo>
                    <a:pt x="359" y="75"/>
                    <a:pt x="359" y="75"/>
                    <a:pt x="359" y="75"/>
                  </a:cubicBezTo>
                  <a:cubicBezTo>
                    <a:pt x="359" y="75"/>
                    <a:pt x="358" y="75"/>
                    <a:pt x="357" y="75"/>
                  </a:cubicBezTo>
                  <a:cubicBezTo>
                    <a:pt x="354" y="75"/>
                    <a:pt x="351" y="74"/>
                    <a:pt x="348" y="73"/>
                  </a:cubicBezTo>
                  <a:cubicBezTo>
                    <a:pt x="348" y="73"/>
                    <a:pt x="348" y="73"/>
                    <a:pt x="348" y="73"/>
                  </a:cubicBezTo>
                  <a:cubicBezTo>
                    <a:pt x="347" y="73"/>
                    <a:pt x="346" y="73"/>
                    <a:pt x="345" y="73"/>
                  </a:cubicBezTo>
                  <a:cubicBezTo>
                    <a:pt x="345" y="73"/>
                    <a:pt x="344" y="73"/>
                    <a:pt x="344" y="73"/>
                  </a:cubicBezTo>
                  <a:cubicBezTo>
                    <a:pt x="343" y="73"/>
                    <a:pt x="343" y="73"/>
                    <a:pt x="343" y="73"/>
                  </a:cubicBezTo>
                  <a:cubicBezTo>
                    <a:pt x="342" y="75"/>
                    <a:pt x="339" y="75"/>
                    <a:pt x="338" y="75"/>
                  </a:cubicBezTo>
                  <a:cubicBezTo>
                    <a:pt x="336" y="75"/>
                    <a:pt x="334" y="78"/>
                    <a:pt x="332" y="83"/>
                  </a:cubicBezTo>
                  <a:cubicBezTo>
                    <a:pt x="331" y="85"/>
                    <a:pt x="330" y="87"/>
                    <a:pt x="329" y="89"/>
                  </a:cubicBezTo>
                  <a:cubicBezTo>
                    <a:pt x="328" y="91"/>
                    <a:pt x="326" y="93"/>
                    <a:pt x="323" y="94"/>
                  </a:cubicBezTo>
                  <a:cubicBezTo>
                    <a:pt x="322" y="94"/>
                    <a:pt x="322" y="94"/>
                    <a:pt x="322" y="94"/>
                  </a:cubicBezTo>
                  <a:cubicBezTo>
                    <a:pt x="322" y="94"/>
                    <a:pt x="321" y="94"/>
                    <a:pt x="321" y="94"/>
                  </a:cubicBezTo>
                  <a:cubicBezTo>
                    <a:pt x="316" y="94"/>
                    <a:pt x="311" y="91"/>
                    <a:pt x="307" y="89"/>
                  </a:cubicBezTo>
                  <a:cubicBezTo>
                    <a:pt x="307" y="89"/>
                    <a:pt x="307" y="89"/>
                    <a:pt x="307" y="89"/>
                  </a:cubicBezTo>
                  <a:cubicBezTo>
                    <a:pt x="307" y="89"/>
                    <a:pt x="306" y="89"/>
                    <a:pt x="306" y="88"/>
                  </a:cubicBezTo>
                  <a:cubicBezTo>
                    <a:pt x="305" y="88"/>
                    <a:pt x="305" y="88"/>
                    <a:pt x="305" y="88"/>
                  </a:cubicBezTo>
                  <a:cubicBezTo>
                    <a:pt x="299" y="85"/>
                    <a:pt x="286" y="78"/>
                    <a:pt x="284" y="68"/>
                  </a:cubicBezTo>
                  <a:cubicBezTo>
                    <a:pt x="283" y="58"/>
                    <a:pt x="277" y="51"/>
                    <a:pt x="277" y="51"/>
                  </a:cubicBezTo>
                  <a:cubicBezTo>
                    <a:pt x="267" y="44"/>
                    <a:pt x="256" y="35"/>
                    <a:pt x="255" y="34"/>
                  </a:cubicBezTo>
                  <a:cubicBezTo>
                    <a:pt x="253" y="33"/>
                    <a:pt x="249" y="32"/>
                    <a:pt x="248" y="28"/>
                  </a:cubicBezTo>
                  <a:cubicBezTo>
                    <a:pt x="247" y="28"/>
                    <a:pt x="247" y="28"/>
                    <a:pt x="247" y="28"/>
                  </a:cubicBezTo>
                  <a:cubicBezTo>
                    <a:pt x="247" y="25"/>
                    <a:pt x="246" y="24"/>
                    <a:pt x="244" y="24"/>
                  </a:cubicBezTo>
                  <a:cubicBezTo>
                    <a:pt x="242" y="24"/>
                    <a:pt x="237" y="24"/>
                    <a:pt x="231" y="24"/>
                  </a:cubicBezTo>
                  <a:cubicBezTo>
                    <a:pt x="223" y="24"/>
                    <a:pt x="212" y="24"/>
                    <a:pt x="208" y="24"/>
                  </a:cubicBezTo>
                  <a:cubicBezTo>
                    <a:pt x="208" y="25"/>
                    <a:pt x="208" y="25"/>
                    <a:pt x="208" y="25"/>
                  </a:cubicBezTo>
                  <a:cubicBezTo>
                    <a:pt x="208" y="26"/>
                    <a:pt x="208" y="26"/>
                    <a:pt x="208" y="26"/>
                  </a:cubicBezTo>
                  <a:cubicBezTo>
                    <a:pt x="208" y="26"/>
                    <a:pt x="208" y="27"/>
                    <a:pt x="208" y="27"/>
                  </a:cubicBezTo>
                  <a:cubicBezTo>
                    <a:pt x="208" y="29"/>
                    <a:pt x="207" y="31"/>
                    <a:pt x="205" y="34"/>
                  </a:cubicBezTo>
                  <a:cubicBezTo>
                    <a:pt x="205" y="36"/>
                    <a:pt x="205" y="36"/>
                    <a:pt x="205" y="36"/>
                  </a:cubicBezTo>
                  <a:cubicBezTo>
                    <a:pt x="177" y="36"/>
                    <a:pt x="177" y="36"/>
                    <a:pt x="177" y="36"/>
                  </a:cubicBezTo>
                  <a:cubicBezTo>
                    <a:pt x="150" y="36"/>
                    <a:pt x="144" y="35"/>
                    <a:pt x="115" y="27"/>
                  </a:cubicBezTo>
                  <a:cubicBezTo>
                    <a:pt x="105" y="25"/>
                    <a:pt x="64" y="10"/>
                    <a:pt x="51" y="6"/>
                  </a:cubicBezTo>
                  <a:cubicBezTo>
                    <a:pt x="48" y="5"/>
                    <a:pt x="48" y="5"/>
                    <a:pt x="48" y="5"/>
                  </a:cubicBezTo>
                  <a:cubicBezTo>
                    <a:pt x="49" y="2"/>
                    <a:pt x="49" y="2"/>
                    <a:pt x="49" y="2"/>
                  </a:cubicBezTo>
                  <a:cubicBezTo>
                    <a:pt x="49" y="2"/>
                    <a:pt x="49" y="1"/>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9" name="Rectangle 362">
              <a:extLst>
                <a:ext uri="{FF2B5EF4-FFF2-40B4-BE49-F238E27FC236}">
                  <a16:creationId xmlns:a16="http://schemas.microsoft.com/office/drawing/2014/main" id="{D5F86798-BCDD-43C3-8C90-C857390CE33D}"/>
                </a:ext>
              </a:extLst>
            </p:cNvPr>
            <p:cNvSpPr>
              <a:spLocks noChangeArrowheads="1"/>
            </p:cNvSpPr>
            <p:nvPr/>
          </p:nvSpPr>
          <p:spPr bwMode="auto">
            <a:xfrm>
              <a:off x="5932479" y="618731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0" name="Freeform 363">
              <a:extLst>
                <a:ext uri="{FF2B5EF4-FFF2-40B4-BE49-F238E27FC236}">
                  <a16:creationId xmlns:a16="http://schemas.microsoft.com/office/drawing/2014/main" id="{6436A1DB-BF7C-48C1-8F87-94346465D601}"/>
                </a:ext>
              </a:extLst>
            </p:cNvPr>
            <p:cNvSpPr>
              <a:spLocks/>
            </p:cNvSpPr>
            <p:nvPr/>
          </p:nvSpPr>
          <p:spPr bwMode="auto">
            <a:xfrm>
              <a:off x="5932479" y="61873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1" name="Freeform 364">
              <a:extLst>
                <a:ext uri="{FF2B5EF4-FFF2-40B4-BE49-F238E27FC236}">
                  <a16:creationId xmlns:a16="http://schemas.microsoft.com/office/drawing/2014/main" id="{08B00D3A-B529-43EA-9896-54950690EED0}"/>
                </a:ext>
              </a:extLst>
            </p:cNvPr>
            <p:cNvSpPr>
              <a:spLocks/>
            </p:cNvSpPr>
            <p:nvPr/>
          </p:nvSpPr>
          <p:spPr bwMode="auto">
            <a:xfrm>
              <a:off x="9664691" y="7374760"/>
              <a:ext cx="303213" cy="209550"/>
            </a:xfrm>
            <a:custGeom>
              <a:avLst/>
              <a:gdLst>
                <a:gd name="T0" fmla="*/ 14 w 81"/>
                <a:gd name="T1" fmla="*/ 2 h 56"/>
                <a:gd name="T2" fmla="*/ 2 w 81"/>
                <a:gd name="T3" fmla="*/ 2 h 56"/>
                <a:gd name="T4" fmla="*/ 3 w 81"/>
                <a:gd name="T5" fmla="*/ 3 h 56"/>
                <a:gd name="T6" fmla="*/ 5 w 81"/>
                <a:gd name="T7" fmla="*/ 7 h 56"/>
                <a:gd name="T8" fmla="*/ 6 w 81"/>
                <a:gd name="T9" fmla="*/ 10 h 56"/>
                <a:gd name="T10" fmla="*/ 5 w 81"/>
                <a:gd name="T11" fmla="*/ 13 h 56"/>
                <a:gd name="T12" fmla="*/ 7 w 81"/>
                <a:gd name="T13" fmla="*/ 14 h 56"/>
                <a:gd name="T14" fmla="*/ 8 w 81"/>
                <a:gd name="T15" fmla="*/ 15 h 56"/>
                <a:gd name="T16" fmla="*/ 4 w 81"/>
                <a:gd name="T17" fmla="*/ 26 h 56"/>
                <a:gd name="T18" fmla="*/ 4 w 81"/>
                <a:gd name="T19" fmla="*/ 29 h 56"/>
                <a:gd name="T20" fmla="*/ 4 w 81"/>
                <a:gd name="T21" fmla="*/ 30 h 56"/>
                <a:gd name="T22" fmla="*/ 0 w 81"/>
                <a:gd name="T23" fmla="*/ 33 h 56"/>
                <a:gd name="T24" fmla="*/ 2 w 81"/>
                <a:gd name="T25" fmla="*/ 35 h 56"/>
                <a:gd name="T26" fmla="*/ 5 w 81"/>
                <a:gd name="T27" fmla="*/ 40 h 56"/>
                <a:gd name="T28" fmla="*/ 4 w 81"/>
                <a:gd name="T29" fmla="*/ 43 h 56"/>
                <a:gd name="T30" fmla="*/ 3 w 81"/>
                <a:gd name="T31" fmla="*/ 46 h 56"/>
                <a:gd name="T32" fmla="*/ 3 w 81"/>
                <a:gd name="T33" fmla="*/ 47 h 56"/>
                <a:gd name="T34" fmla="*/ 4 w 81"/>
                <a:gd name="T35" fmla="*/ 52 h 56"/>
                <a:gd name="T36" fmla="*/ 9 w 81"/>
                <a:gd name="T37" fmla="*/ 56 h 56"/>
                <a:gd name="T38" fmla="*/ 11 w 81"/>
                <a:gd name="T39" fmla="*/ 52 h 56"/>
                <a:gd name="T40" fmla="*/ 18 w 81"/>
                <a:gd name="T41" fmla="*/ 39 h 56"/>
                <a:gd name="T42" fmla="*/ 19 w 81"/>
                <a:gd name="T43" fmla="*/ 39 h 56"/>
                <a:gd name="T44" fmla="*/ 22 w 81"/>
                <a:gd name="T45" fmla="*/ 39 h 56"/>
                <a:gd name="T46" fmla="*/ 27 w 81"/>
                <a:gd name="T47" fmla="*/ 36 h 56"/>
                <a:gd name="T48" fmla="*/ 29 w 81"/>
                <a:gd name="T49" fmla="*/ 39 h 56"/>
                <a:gd name="T50" fmla="*/ 36 w 81"/>
                <a:gd name="T51" fmla="*/ 40 h 56"/>
                <a:gd name="T52" fmla="*/ 47 w 81"/>
                <a:gd name="T53" fmla="*/ 35 h 56"/>
                <a:gd name="T54" fmla="*/ 59 w 81"/>
                <a:gd name="T55" fmla="*/ 37 h 56"/>
                <a:gd name="T56" fmla="*/ 65 w 81"/>
                <a:gd name="T57" fmla="*/ 36 h 56"/>
                <a:gd name="T58" fmla="*/ 74 w 81"/>
                <a:gd name="T59" fmla="*/ 41 h 56"/>
                <a:gd name="T60" fmla="*/ 80 w 81"/>
                <a:gd name="T61" fmla="*/ 35 h 56"/>
                <a:gd name="T62" fmla="*/ 75 w 81"/>
                <a:gd name="T63" fmla="*/ 26 h 56"/>
                <a:gd name="T64" fmla="*/ 56 w 81"/>
                <a:gd name="T65" fmla="*/ 21 h 56"/>
                <a:gd name="T66" fmla="*/ 53 w 81"/>
                <a:gd name="T67" fmla="*/ 17 h 56"/>
                <a:gd name="T68" fmla="*/ 61 w 81"/>
                <a:gd name="T69" fmla="*/ 13 h 56"/>
                <a:gd name="T70" fmla="*/ 58 w 81"/>
                <a:gd name="T71" fmla="*/ 15 h 56"/>
                <a:gd name="T72" fmla="*/ 53 w 81"/>
                <a:gd name="T73" fmla="*/ 15 h 56"/>
                <a:gd name="T74" fmla="*/ 49 w 81"/>
                <a:gd name="T75" fmla="*/ 16 h 56"/>
                <a:gd name="T76" fmla="*/ 45 w 81"/>
                <a:gd name="T77" fmla="*/ 7 h 56"/>
                <a:gd name="T78" fmla="*/ 41 w 81"/>
                <a:gd name="T79" fmla="*/ 7 h 56"/>
                <a:gd name="T80" fmla="*/ 23 w 81"/>
                <a:gd name="T81"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56">
                  <a:moveTo>
                    <a:pt x="19" y="0"/>
                  </a:moveTo>
                  <a:cubicBezTo>
                    <a:pt x="18" y="0"/>
                    <a:pt x="17" y="1"/>
                    <a:pt x="14" y="2"/>
                  </a:cubicBezTo>
                  <a:cubicBezTo>
                    <a:pt x="11" y="2"/>
                    <a:pt x="7" y="1"/>
                    <a:pt x="4" y="1"/>
                  </a:cubicBezTo>
                  <a:cubicBezTo>
                    <a:pt x="4" y="2"/>
                    <a:pt x="3" y="1"/>
                    <a:pt x="2" y="2"/>
                  </a:cubicBezTo>
                  <a:cubicBezTo>
                    <a:pt x="2" y="3"/>
                    <a:pt x="2" y="3"/>
                    <a:pt x="2" y="4"/>
                  </a:cubicBezTo>
                  <a:cubicBezTo>
                    <a:pt x="3" y="3"/>
                    <a:pt x="3" y="3"/>
                    <a:pt x="3" y="3"/>
                  </a:cubicBezTo>
                  <a:cubicBezTo>
                    <a:pt x="4" y="5"/>
                    <a:pt x="4" y="5"/>
                    <a:pt x="4" y="5"/>
                  </a:cubicBezTo>
                  <a:cubicBezTo>
                    <a:pt x="4" y="6"/>
                    <a:pt x="5" y="7"/>
                    <a:pt x="5" y="7"/>
                  </a:cubicBezTo>
                  <a:cubicBezTo>
                    <a:pt x="5" y="8"/>
                    <a:pt x="5" y="8"/>
                    <a:pt x="5" y="8"/>
                  </a:cubicBezTo>
                  <a:cubicBezTo>
                    <a:pt x="5" y="9"/>
                    <a:pt x="5" y="10"/>
                    <a:pt x="6" y="10"/>
                  </a:cubicBezTo>
                  <a:cubicBezTo>
                    <a:pt x="5" y="12"/>
                    <a:pt x="5" y="13"/>
                    <a:pt x="5" y="13"/>
                  </a:cubicBezTo>
                  <a:cubicBezTo>
                    <a:pt x="5" y="13"/>
                    <a:pt x="5" y="13"/>
                    <a:pt x="5" y="13"/>
                  </a:cubicBezTo>
                  <a:cubicBezTo>
                    <a:pt x="6" y="14"/>
                    <a:pt x="6" y="14"/>
                    <a:pt x="6" y="14"/>
                  </a:cubicBezTo>
                  <a:cubicBezTo>
                    <a:pt x="7" y="14"/>
                    <a:pt x="7" y="14"/>
                    <a:pt x="7" y="14"/>
                  </a:cubicBezTo>
                  <a:cubicBezTo>
                    <a:pt x="7" y="15"/>
                    <a:pt x="7" y="15"/>
                    <a:pt x="7" y="15"/>
                  </a:cubicBezTo>
                  <a:cubicBezTo>
                    <a:pt x="8" y="15"/>
                    <a:pt x="8" y="15"/>
                    <a:pt x="8" y="15"/>
                  </a:cubicBezTo>
                  <a:cubicBezTo>
                    <a:pt x="7" y="18"/>
                    <a:pt x="7" y="18"/>
                    <a:pt x="7" y="18"/>
                  </a:cubicBezTo>
                  <a:cubicBezTo>
                    <a:pt x="4" y="26"/>
                    <a:pt x="4" y="26"/>
                    <a:pt x="4" y="26"/>
                  </a:cubicBezTo>
                  <a:cubicBezTo>
                    <a:pt x="5" y="27"/>
                    <a:pt x="5" y="27"/>
                    <a:pt x="5" y="28"/>
                  </a:cubicBezTo>
                  <a:cubicBezTo>
                    <a:pt x="4" y="29"/>
                    <a:pt x="4" y="29"/>
                    <a:pt x="4" y="29"/>
                  </a:cubicBezTo>
                  <a:cubicBezTo>
                    <a:pt x="4" y="31"/>
                    <a:pt x="4" y="31"/>
                    <a:pt x="4" y="31"/>
                  </a:cubicBezTo>
                  <a:cubicBezTo>
                    <a:pt x="4" y="30"/>
                    <a:pt x="4" y="30"/>
                    <a:pt x="4" y="30"/>
                  </a:cubicBezTo>
                  <a:cubicBezTo>
                    <a:pt x="3" y="31"/>
                    <a:pt x="3" y="31"/>
                    <a:pt x="3" y="31"/>
                  </a:cubicBezTo>
                  <a:cubicBezTo>
                    <a:pt x="2" y="32"/>
                    <a:pt x="1" y="32"/>
                    <a:pt x="0" y="33"/>
                  </a:cubicBezTo>
                  <a:cubicBezTo>
                    <a:pt x="1" y="33"/>
                    <a:pt x="1" y="34"/>
                    <a:pt x="2" y="34"/>
                  </a:cubicBezTo>
                  <a:cubicBezTo>
                    <a:pt x="2" y="35"/>
                    <a:pt x="2" y="35"/>
                    <a:pt x="2" y="35"/>
                  </a:cubicBezTo>
                  <a:cubicBezTo>
                    <a:pt x="3" y="35"/>
                    <a:pt x="3" y="35"/>
                    <a:pt x="3" y="35"/>
                  </a:cubicBezTo>
                  <a:cubicBezTo>
                    <a:pt x="5" y="37"/>
                    <a:pt x="5" y="39"/>
                    <a:pt x="5" y="40"/>
                  </a:cubicBezTo>
                  <a:cubicBezTo>
                    <a:pt x="5" y="41"/>
                    <a:pt x="5" y="41"/>
                    <a:pt x="5" y="41"/>
                  </a:cubicBezTo>
                  <a:cubicBezTo>
                    <a:pt x="4" y="42"/>
                    <a:pt x="4" y="43"/>
                    <a:pt x="4" y="43"/>
                  </a:cubicBezTo>
                  <a:cubicBezTo>
                    <a:pt x="4" y="44"/>
                    <a:pt x="4" y="44"/>
                    <a:pt x="4" y="44"/>
                  </a:cubicBezTo>
                  <a:cubicBezTo>
                    <a:pt x="3" y="46"/>
                    <a:pt x="3" y="46"/>
                    <a:pt x="3" y="46"/>
                  </a:cubicBezTo>
                  <a:cubicBezTo>
                    <a:pt x="3" y="46"/>
                    <a:pt x="3" y="46"/>
                    <a:pt x="3" y="46"/>
                  </a:cubicBezTo>
                  <a:cubicBezTo>
                    <a:pt x="3" y="47"/>
                    <a:pt x="3" y="47"/>
                    <a:pt x="3" y="47"/>
                  </a:cubicBezTo>
                  <a:cubicBezTo>
                    <a:pt x="2" y="47"/>
                    <a:pt x="2" y="47"/>
                    <a:pt x="2" y="47"/>
                  </a:cubicBezTo>
                  <a:cubicBezTo>
                    <a:pt x="2" y="49"/>
                    <a:pt x="3" y="51"/>
                    <a:pt x="4" y="52"/>
                  </a:cubicBezTo>
                  <a:cubicBezTo>
                    <a:pt x="4" y="51"/>
                    <a:pt x="4" y="51"/>
                    <a:pt x="4" y="51"/>
                  </a:cubicBezTo>
                  <a:cubicBezTo>
                    <a:pt x="5" y="53"/>
                    <a:pt x="7" y="56"/>
                    <a:pt x="9" y="56"/>
                  </a:cubicBezTo>
                  <a:cubicBezTo>
                    <a:pt x="9" y="56"/>
                    <a:pt x="9" y="56"/>
                    <a:pt x="10" y="55"/>
                  </a:cubicBezTo>
                  <a:cubicBezTo>
                    <a:pt x="11" y="55"/>
                    <a:pt x="11" y="53"/>
                    <a:pt x="11" y="52"/>
                  </a:cubicBezTo>
                  <a:cubicBezTo>
                    <a:pt x="13" y="50"/>
                    <a:pt x="14" y="48"/>
                    <a:pt x="15" y="45"/>
                  </a:cubicBezTo>
                  <a:cubicBezTo>
                    <a:pt x="15" y="44"/>
                    <a:pt x="16" y="39"/>
                    <a:pt x="18" y="39"/>
                  </a:cubicBezTo>
                  <a:cubicBezTo>
                    <a:pt x="18" y="39"/>
                    <a:pt x="18" y="39"/>
                    <a:pt x="18" y="39"/>
                  </a:cubicBezTo>
                  <a:cubicBezTo>
                    <a:pt x="18" y="39"/>
                    <a:pt x="19" y="39"/>
                    <a:pt x="19" y="39"/>
                  </a:cubicBezTo>
                  <a:cubicBezTo>
                    <a:pt x="19" y="40"/>
                    <a:pt x="20" y="40"/>
                    <a:pt x="20" y="40"/>
                  </a:cubicBezTo>
                  <a:cubicBezTo>
                    <a:pt x="21" y="40"/>
                    <a:pt x="21" y="39"/>
                    <a:pt x="22" y="39"/>
                  </a:cubicBezTo>
                  <a:cubicBezTo>
                    <a:pt x="23" y="38"/>
                    <a:pt x="26" y="36"/>
                    <a:pt x="27" y="36"/>
                  </a:cubicBezTo>
                  <a:cubicBezTo>
                    <a:pt x="27" y="36"/>
                    <a:pt x="27" y="36"/>
                    <a:pt x="27" y="36"/>
                  </a:cubicBezTo>
                  <a:cubicBezTo>
                    <a:pt x="28" y="36"/>
                    <a:pt x="29" y="36"/>
                    <a:pt x="29" y="37"/>
                  </a:cubicBezTo>
                  <a:cubicBezTo>
                    <a:pt x="29" y="37"/>
                    <a:pt x="29" y="39"/>
                    <a:pt x="29" y="39"/>
                  </a:cubicBezTo>
                  <a:cubicBezTo>
                    <a:pt x="29" y="40"/>
                    <a:pt x="32" y="40"/>
                    <a:pt x="32" y="40"/>
                  </a:cubicBezTo>
                  <a:cubicBezTo>
                    <a:pt x="34" y="40"/>
                    <a:pt x="35" y="40"/>
                    <a:pt x="36" y="40"/>
                  </a:cubicBezTo>
                  <a:cubicBezTo>
                    <a:pt x="38" y="40"/>
                    <a:pt x="39" y="40"/>
                    <a:pt x="41" y="38"/>
                  </a:cubicBezTo>
                  <a:cubicBezTo>
                    <a:pt x="43" y="36"/>
                    <a:pt x="45" y="35"/>
                    <a:pt x="47" y="35"/>
                  </a:cubicBezTo>
                  <a:cubicBezTo>
                    <a:pt x="51" y="35"/>
                    <a:pt x="55" y="36"/>
                    <a:pt x="58" y="37"/>
                  </a:cubicBezTo>
                  <a:cubicBezTo>
                    <a:pt x="58" y="37"/>
                    <a:pt x="58" y="37"/>
                    <a:pt x="59" y="37"/>
                  </a:cubicBezTo>
                  <a:cubicBezTo>
                    <a:pt x="59" y="37"/>
                    <a:pt x="61" y="36"/>
                    <a:pt x="62" y="36"/>
                  </a:cubicBezTo>
                  <a:cubicBezTo>
                    <a:pt x="63" y="36"/>
                    <a:pt x="64" y="36"/>
                    <a:pt x="65" y="36"/>
                  </a:cubicBezTo>
                  <a:cubicBezTo>
                    <a:pt x="66" y="36"/>
                    <a:pt x="67" y="36"/>
                    <a:pt x="68" y="37"/>
                  </a:cubicBezTo>
                  <a:cubicBezTo>
                    <a:pt x="70" y="37"/>
                    <a:pt x="72" y="40"/>
                    <a:pt x="74" y="41"/>
                  </a:cubicBezTo>
                  <a:cubicBezTo>
                    <a:pt x="74" y="39"/>
                    <a:pt x="76" y="39"/>
                    <a:pt x="78" y="38"/>
                  </a:cubicBezTo>
                  <a:cubicBezTo>
                    <a:pt x="78" y="38"/>
                    <a:pt x="79" y="35"/>
                    <a:pt x="80" y="35"/>
                  </a:cubicBezTo>
                  <a:cubicBezTo>
                    <a:pt x="81" y="31"/>
                    <a:pt x="81" y="31"/>
                    <a:pt x="79" y="29"/>
                  </a:cubicBezTo>
                  <a:cubicBezTo>
                    <a:pt x="77" y="28"/>
                    <a:pt x="76" y="27"/>
                    <a:pt x="75" y="26"/>
                  </a:cubicBezTo>
                  <a:cubicBezTo>
                    <a:pt x="72" y="23"/>
                    <a:pt x="70" y="23"/>
                    <a:pt x="65" y="22"/>
                  </a:cubicBezTo>
                  <a:cubicBezTo>
                    <a:pt x="62" y="22"/>
                    <a:pt x="59" y="21"/>
                    <a:pt x="56" y="21"/>
                  </a:cubicBezTo>
                  <a:cubicBezTo>
                    <a:pt x="52" y="20"/>
                    <a:pt x="52" y="20"/>
                    <a:pt x="51" y="17"/>
                  </a:cubicBezTo>
                  <a:cubicBezTo>
                    <a:pt x="52" y="17"/>
                    <a:pt x="53" y="17"/>
                    <a:pt x="53" y="17"/>
                  </a:cubicBezTo>
                  <a:cubicBezTo>
                    <a:pt x="56" y="17"/>
                    <a:pt x="60" y="16"/>
                    <a:pt x="62" y="15"/>
                  </a:cubicBezTo>
                  <a:cubicBezTo>
                    <a:pt x="61" y="14"/>
                    <a:pt x="61" y="13"/>
                    <a:pt x="61" y="13"/>
                  </a:cubicBezTo>
                  <a:cubicBezTo>
                    <a:pt x="60" y="13"/>
                    <a:pt x="59" y="15"/>
                    <a:pt x="58" y="15"/>
                  </a:cubicBezTo>
                  <a:cubicBezTo>
                    <a:pt x="58" y="15"/>
                    <a:pt x="58" y="15"/>
                    <a:pt x="58" y="15"/>
                  </a:cubicBezTo>
                  <a:cubicBezTo>
                    <a:pt x="57" y="15"/>
                    <a:pt x="56" y="15"/>
                    <a:pt x="55" y="15"/>
                  </a:cubicBezTo>
                  <a:cubicBezTo>
                    <a:pt x="55" y="15"/>
                    <a:pt x="54" y="15"/>
                    <a:pt x="53" y="15"/>
                  </a:cubicBezTo>
                  <a:cubicBezTo>
                    <a:pt x="53" y="15"/>
                    <a:pt x="53" y="15"/>
                    <a:pt x="52" y="15"/>
                  </a:cubicBezTo>
                  <a:cubicBezTo>
                    <a:pt x="52" y="15"/>
                    <a:pt x="50" y="16"/>
                    <a:pt x="49" y="16"/>
                  </a:cubicBezTo>
                  <a:cubicBezTo>
                    <a:pt x="49" y="16"/>
                    <a:pt x="49" y="15"/>
                    <a:pt x="49" y="15"/>
                  </a:cubicBezTo>
                  <a:cubicBezTo>
                    <a:pt x="47" y="14"/>
                    <a:pt x="47" y="9"/>
                    <a:pt x="45" y="7"/>
                  </a:cubicBezTo>
                  <a:cubicBezTo>
                    <a:pt x="44" y="6"/>
                    <a:pt x="44" y="6"/>
                    <a:pt x="43" y="6"/>
                  </a:cubicBezTo>
                  <a:cubicBezTo>
                    <a:pt x="43" y="6"/>
                    <a:pt x="42" y="6"/>
                    <a:pt x="41" y="7"/>
                  </a:cubicBezTo>
                  <a:cubicBezTo>
                    <a:pt x="40" y="7"/>
                    <a:pt x="40" y="7"/>
                    <a:pt x="39" y="7"/>
                  </a:cubicBezTo>
                  <a:cubicBezTo>
                    <a:pt x="35" y="7"/>
                    <a:pt x="27" y="2"/>
                    <a:pt x="23" y="1"/>
                  </a:cubicBezTo>
                  <a:cubicBezTo>
                    <a:pt x="21" y="0"/>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2" name="Freeform 365">
              <a:extLst>
                <a:ext uri="{FF2B5EF4-FFF2-40B4-BE49-F238E27FC236}">
                  <a16:creationId xmlns:a16="http://schemas.microsoft.com/office/drawing/2014/main" id="{77940E02-CAD9-47D6-8891-50C126157EA9}"/>
                </a:ext>
              </a:extLst>
            </p:cNvPr>
            <p:cNvSpPr>
              <a:spLocks/>
            </p:cNvSpPr>
            <p:nvPr/>
          </p:nvSpPr>
          <p:spPr bwMode="auto">
            <a:xfrm>
              <a:off x="9431329" y="7369997"/>
              <a:ext cx="233363" cy="177800"/>
            </a:xfrm>
            <a:custGeom>
              <a:avLst/>
              <a:gdLst>
                <a:gd name="T0" fmla="*/ 31 w 62"/>
                <a:gd name="T1" fmla="*/ 2 h 47"/>
                <a:gd name="T2" fmla="*/ 31 w 62"/>
                <a:gd name="T3" fmla="*/ 8 h 47"/>
                <a:gd name="T4" fmla="*/ 31 w 62"/>
                <a:gd name="T5" fmla="*/ 8 h 47"/>
                <a:gd name="T6" fmla="*/ 38 w 62"/>
                <a:gd name="T7" fmla="*/ 10 h 47"/>
                <a:gd name="T8" fmla="*/ 39 w 62"/>
                <a:gd name="T9" fmla="*/ 11 h 47"/>
                <a:gd name="T10" fmla="*/ 40 w 62"/>
                <a:gd name="T11" fmla="*/ 13 h 47"/>
                <a:gd name="T12" fmla="*/ 41 w 62"/>
                <a:gd name="T13" fmla="*/ 13 h 47"/>
                <a:gd name="T14" fmla="*/ 40 w 62"/>
                <a:gd name="T15" fmla="*/ 17 h 47"/>
                <a:gd name="T16" fmla="*/ 42 w 62"/>
                <a:gd name="T17" fmla="*/ 22 h 47"/>
                <a:gd name="T18" fmla="*/ 50 w 62"/>
                <a:gd name="T19" fmla="*/ 31 h 47"/>
                <a:gd name="T20" fmla="*/ 49 w 62"/>
                <a:gd name="T21" fmla="*/ 34 h 47"/>
                <a:gd name="T22" fmla="*/ 49 w 62"/>
                <a:gd name="T23" fmla="*/ 34 h 47"/>
                <a:gd name="T24" fmla="*/ 45 w 62"/>
                <a:gd name="T25" fmla="*/ 34 h 47"/>
                <a:gd name="T26" fmla="*/ 45 w 62"/>
                <a:gd name="T27" fmla="*/ 34 h 47"/>
                <a:gd name="T28" fmla="*/ 40 w 62"/>
                <a:gd name="T29" fmla="*/ 37 h 47"/>
                <a:gd name="T30" fmla="*/ 26 w 62"/>
                <a:gd name="T31" fmla="*/ 35 h 47"/>
                <a:gd name="T32" fmla="*/ 24 w 62"/>
                <a:gd name="T33" fmla="*/ 35 h 47"/>
                <a:gd name="T34" fmla="*/ 8 w 62"/>
                <a:gd name="T35" fmla="*/ 32 h 47"/>
                <a:gd name="T36" fmla="*/ 7 w 62"/>
                <a:gd name="T37" fmla="*/ 31 h 47"/>
                <a:gd name="T38" fmla="*/ 5 w 62"/>
                <a:gd name="T39" fmla="*/ 31 h 47"/>
                <a:gd name="T40" fmla="*/ 3 w 62"/>
                <a:gd name="T41" fmla="*/ 39 h 47"/>
                <a:gd name="T42" fmla="*/ 5 w 62"/>
                <a:gd name="T43" fmla="*/ 40 h 47"/>
                <a:gd name="T44" fmla="*/ 23 w 62"/>
                <a:gd name="T45" fmla="*/ 41 h 47"/>
                <a:gd name="T46" fmla="*/ 41 w 62"/>
                <a:gd name="T47" fmla="*/ 44 h 47"/>
                <a:gd name="T48" fmla="*/ 53 w 62"/>
                <a:gd name="T49" fmla="*/ 42 h 47"/>
                <a:gd name="T50" fmla="*/ 55 w 62"/>
                <a:gd name="T51" fmla="*/ 42 h 47"/>
                <a:gd name="T52" fmla="*/ 60 w 62"/>
                <a:gd name="T53" fmla="*/ 44 h 47"/>
                <a:gd name="T54" fmla="*/ 61 w 62"/>
                <a:gd name="T55" fmla="*/ 41 h 47"/>
                <a:gd name="T56" fmla="*/ 60 w 62"/>
                <a:gd name="T57" fmla="*/ 40 h 47"/>
                <a:gd name="T58" fmla="*/ 56 w 62"/>
                <a:gd name="T59" fmla="*/ 31 h 47"/>
                <a:gd name="T60" fmla="*/ 58 w 62"/>
                <a:gd name="T61" fmla="*/ 29 h 47"/>
                <a:gd name="T62" fmla="*/ 60 w 62"/>
                <a:gd name="T63" fmla="*/ 28 h 47"/>
                <a:gd name="T64" fmla="*/ 57 w 62"/>
                <a:gd name="T65" fmla="*/ 24 h 47"/>
                <a:gd name="T66" fmla="*/ 59 w 62"/>
                <a:gd name="T67" fmla="*/ 22 h 47"/>
                <a:gd name="T68" fmla="*/ 60 w 62"/>
                <a:gd name="T69" fmla="*/ 20 h 47"/>
                <a:gd name="T70" fmla="*/ 62 w 62"/>
                <a:gd name="T71" fmla="*/ 19 h 47"/>
                <a:gd name="T72" fmla="*/ 61 w 62"/>
                <a:gd name="T73" fmla="*/ 14 h 47"/>
                <a:gd name="T74" fmla="*/ 62 w 62"/>
                <a:gd name="T75" fmla="*/ 12 h 47"/>
                <a:gd name="T76" fmla="*/ 60 w 62"/>
                <a:gd name="T77" fmla="*/ 7 h 47"/>
                <a:gd name="T78" fmla="*/ 60 w 62"/>
                <a:gd name="T79" fmla="*/ 6 h 47"/>
                <a:gd name="T80" fmla="*/ 53 w 62"/>
                <a:gd name="T81" fmla="*/ 5 h 47"/>
                <a:gd name="T82" fmla="*/ 52 w 62"/>
                <a:gd name="T83" fmla="*/ 5 h 47"/>
                <a:gd name="T84" fmla="*/ 43 w 62"/>
                <a:gd name="T85" fmla="*/ 1 h 47"/>
                <a:gd name="T86" fmla="*/ 39 w 62"/>
                <a:gd name="T8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47">
                  <a:moveTo>
                    <a:pt x="39" y="0"/>
                  </a:moveTo>
                  <a:cubicBezTo>
                    <a:pt x="36" y="0"/>
                    <a:pt x="33" y="1"/>
                    <a:pt x="31" y="2"/>
                  </a:cubicBezTo>
                  <a:cubicBezTo>
                    <a:pt x="28" y="3"/>
                    <a:pt x="27" y="4"/>
                    <a:pt x="24" y="6"/>
                  </a:cubicBezTo>
                  <a:cubicBezTo>
                    <a:pt x="27" y="7"/>
                    <a:pt x="28" y="8"/>
                    <a:pt x="31" y="8"/>
                  </a:cubicBezTo>
                  <a:cubicBezTo>
                    <a:pt x="31" y="8"/>
                    <a:pt x="31" y="8"/>
                    <a:pt x="31" y="8"/>
                  </a:cubicBezTo>
                  <a:cubicBezTo>
                    <a:pt x="31" y="8"/>
                    <a:pt x="31" y="8"/>
                    <a:pt x="31" y="8"/>
                  </a:cubicBezTo>
                  <a:cubicBezTo>
                    <a:pt x="34" y="8"/>
                    <a:pt x="36" y="9"/>
                    <a:pt x="38" y="10"/>
                  </a:cubicBezTo>
                  <a:cubicBezTo>
                    <a:pt x="38" y="10"/>
                    <a:pt x="38" y="10"/>
                    <a:pt x="38" y="10"/>
                  </a:cubicBezTo>
                  <a:cubicBezTo>
                    <a:pt x="38" y="11"/>
                    <a:pt x="38" y="11"/>
                    <a:pt x="38" y="11"/>
                  </a:cubicBezTo>
                  <a:cubicBezTo>
                    <a:pt x="39" y="11"/>
                    <a:pt x="39" y="11"/>
                    <a:pt x="39" y="11"/>
                  </a:cubicBezTo>
                  <a:cubicBezTo>
                    <a:pt x="40" y="12"/>
                    <a:pt x="40" y="12"/>
                    <a:pt x="40" y="12"/>
                  </a:cubicBezTo>
                  <a:cubicBezTo>
                    <a:pt x="40" y="13"/>
                    <a:pt x="40" y="13"/>
                    <a:pt x="40" y="13"/>
                  </a:cubicBezTo>
                  <a:cubicBezTo>
                    <a:pt x="41" y="13"/>
                    <a:pt x="41" y="13"/>
                    <a:pt x="41" y="13"/>
                  </a:cubicBezTo>
                  <a:cubicBezTo>
                    <a:pt x="41" y="13"/>
                    <a:pt x="41" y="13"/>
                    <a:pt x="41" y="13"/>
                  </a:cubicBezTo>
                  <a:cubicBezTo>
                    <a:pt x="41" y="14"/>
                    <a:pt x="41" y="14"/>
                    <a:pt x="41" y="15"/>
                  </a:cubicBezTo>
                  <a:cubicBezTo>
                    <a:pt x="42" y="17"/>
                    <a:pt x="40" y="16"/>
                    <a:pt x="40" y="17"/>
                  </a:cubicBezTo>
                  <a:cubicBezTo>
                    <a:pt x="40" y="19"/>
                    <a:pt x="41" y="21"/>
                    <a:pt x="42" y="22"/>
                  </a:cubicBezTo>
                  <a:cubicBezTo>
                    <a:pt x="42" y="22"/>
                    <a:pt x="42" y="22"/>
                    <a:pt x="42" y="22"/>
                  </a:cubicBezTo>
                  <a:cubicBezTo>
                    <a:pt x="42" y="23"/>
                    <a:pt x="42" y="23"/>
                    <a:pt x="42" y="23"/>
                  </a:cubicBezTo>
                  <a:cubicBezTo>
                    <a:pt x="43" y="25"/>
                    <a:pt x="48" y="28"/>
                    <a:pt x="50" y="31"/>
                  </a:cubicBezTo>
                  <a:cubicBezTo>
                    <a:pt x="50" y="31"/>
                    <a:pt x="50" y="32"/>
                    <a:pt x="50" y="32"/>
                  </a:cubicBezTo>
                  <a:cubicBezTo>
                    <a:pt x="50" y="34"/>
                    <a:pt x="50" y="34"/>
                    <a:pt x="49" y="34"/>
                  </a:cubicBezTo>
                  <a:cubicBezTo>
                    <a:pt x="49" y="34"/>
                    <a:pt x="49" y="34"/>
                    <a:pt x="49" y="34"/>
                  </a:cubicBezTo>
                  <a:cubicBezTo>
                    <a:pt x="49" y="34"/>
                    <a:pt x="49" y="34"/>
                    <a:pt x="49" y="34"/>
                  </a:cubicBezTo>
                  <a:cubicBezTo>
                    <a:pt x="48" y="34"/>
                    <a:pt x="47" y="34"/>
                    <a:pt x="47" y="34"/>
                  </a:cubicBezTo>
                  <a:cubicBezTo>
                    <a:pt x="46" y="34"/>
                    <a:pt x="46" y="34"/>
                    <a:pt x="45" y="34"/>
                  </a:cubicBezTo>
                  <a:cubicBezTo>
                    <a:pt x="45" y="34"/>
                    <a:pt x="45" y="34"/>
                    <a:pt x="45" y="34"/>
                  </a:cubicBezTo>
                  <a:cubicBezTo>
                    <a:pt x="45" y="34"/>
                    <a:pt x="45" y="34"/>
                    <a:pt x="45" y="34"/>
                  </a:cubicBezTo>
                  <a:cubicBezTo>
                    <a:pt x="45" y="35"/>
                    <a:pt x="44" y="35"/>
                    <a:pt x="43" y="36"/>
                  </a:cubicBezTo>
                  <a:cubicBezTo>
                    <a:pt x="42" y="36"/>
                    <a:pt x="41" y="37"/>
                    <a:pt x="40" y="37"/>
                  </a:cubicBezTo>
                  <a:cubicBezTo>
                    <a:pt x="39" y="37"/>
                    <a:pt x="39" y="37"/>
                    <a:pt x="39" y="36"/>
                  </a:cubicBezTo>
                  <a:cubicBezTo>
                    <a:pt x="34" y="36"/>
                    <a:pt x="30" y="35"/>
                    <a:pt x="26" y="35"/>
                  </a:cubicBezTo>
                  <a:cubicBezTo>
                    <a:pt x="25" y="35"/>
                    <a:pt x="25" y="35"/>
                    <a:pt x="25" y="35"/>
                  </a:cubicBezTo>
                  <a:cubicBezTo>
                    <a:pt x="25" y="35"/>
                    <a:pt x="24" y="35"/>
                    <a:pt x="24" y="35"/>
                  </a:cubicBezTo>
                  <a:cubicBezTo>
                    <a:pt x="21" y="35"/>
                    <a:pt x="18" y="35"/>
                    <a:pt x="15" y="34"/>
                  </a:cubicBezTo>
                  <a:cubicBezTo>
                    <a:pt x="12" y="33"/>
                    <a:pt x="10" y="32"/>
                    <a:pt x="8" y="32"/>
                  </a:cubicBezTo>
                  <a:cubicBezTo>
                    <a:pt x="8" y="31"/>
                    <a:pt x="8" y="31"/>
                    <a:pt x="8" y="31"/>
                  </a:cubicBezTo>
                  <a:cubicBezTo>
                    <a:pt x="7" y="31"/>
                    <a:pt x="7" y="31"/>
                    <a:pt x="7" y="31"/>
                  </a:cubicBezTo>
                  <a:cubicBezTo>
                    <a:pt x="6" y="31"/>
                    <a:pt x="6" y="31"/>
                    <a:pt x="6" y="31"/>
                  </a:cubicBezTo>
                  <a:cubicBezTo>
                    <a:pt x="6" y="31"/>
                    <a:pt x="6" y="31"/>
                    <a:pt x="5" y="31"/>
                  </a:cubicBezTo>
                  <a:cubicBezTo>
                    <a:pt x="4" y="31"/>
                    <a:pt x="3" y="31"/>
                    <a:pt x="2" y="32"/>
                  </a:cubicBezTo>
                  <a:cubicBezTo>
                    <a:pt x="1" y="34"/>
                    <a:pt x="0" y="38"/>
                    <a:pt x="3" y="39"/>
                  </a:cubicBezTo>
                  <a:cubicBezTo>
                    <a:pt x="3" y="39"/>
                    <a:pt x="4" y="39"/>
                    <a:pt x="4" y="39"/>
                  </a:cubicBezTo>
                  <a:cubicBezTo>
                    <a:pt x="5" y="40"/>
                    <a:pt x="5" y="40"/>
                    <a:pt x="5" y="40"/>
                  </a:cubicBezTo>
                  <a:cubicBezTo>
                    <a:pt x="9" y="41"/>
                    <a:pt x="11" y="43"/>
                    <a:pt x="15" y="47"/>
                  </a:cubicBezTo>
                  <a:cubicBezTo>
                    <a:pt x="15" y="42"/>
                    <a:pt x="19" y="41"/>
                    <a:pt x="23" y="41"/>
                  </a:cubicBezTo>
                  <a:cubicBezTo>
                    <a:pt x="29" y="41"/>
                    <a:pt x="37" y="43"/>
                    <a:pt x="40" y="44"/>
                  </a:cubicBezTo>
                  <a:cubicBezTo>
                    <a:pt x="40" y="44"/>
                    <a:pt x="41" y="44"/>
                    <a:pt x="41" y="44"/>
                  </a:cubicBezTo>
                  <a:cubicBezTo>
                    <a:pt x="43" y="44"/>
                    <a:pt x="45" y="43"/>
                    <a:pt x="47" y="43"/>
                  </a:cubicBezTo>
                  <a:cubicBezTo>
                    <a:pt x="49" y="42"/>
                    <a:pt x="51" y="42"/>
                    <a:pt x="53" y="42"/>
                  </a:cubicBezTo>
                  <a:cubicBezTo>
                    <a:pt x="53" y="42"/>
                    <a:pt x="53" y="42"/>
                    <a:pt x="53" y="42"/>
                  </a:cubicBezTo>
                  <a:cubicBezTo>
                    <a:pt x="54" y="42"/>
                    <a:pt x="55" y="42"/>
                    <a:pt x="55" y="42"/>
                  </a:cubicBezTo>
                  <a:cubicBezTo>
                    <a:pt x="56" y="42"/>
                    <a:pt x="56" y="42"/>
                    <a:pt x="56" y="42"/>
                  </a:cubicBezTo>
                  <a:cubicBezTo>
                    <a:pt x="58" y="42"/>
                    <a:pt x="59" y="43"/>
                    <a:pt x="60" y="44"/>
                  </a:cubicBezTo>
                  <a:cubicBezTo>
                    <a:pt x="60" y="43"/>
                    <a:pt x="61" y="43"/>
                    <a:pt x="61" y="42"/>
                  </a:cubicBezTo>
                  <a:cubicBezTo>
                    <a:pt x="61" y="42"/>
                    <a:pt x="61" y="41"/>
                    <a:pt x="61" y="41"/>
                  </a:cubicBezTo>
                  <a:cubicBezTo>
                    <a:pt x="61" y="41"/>
                    <a:pt x="61" y="40"/>
                    <a:pt x="61" y="40"/>
                  </a:cubicBezTo>
                  <a:cubicBezTo>
                    <a:pt x="60" y="40"/>
                    <a:pt x="60" y="40"/>
                    <a:pt x="60" y="40"/>
                  </a:cubicBezTo>
                  <a:cubicBezTo>
                    <a:pt x="58" y="38"/>
                    <a:pt x="55" y="36"/>
                    <a:pt x="55" y="33"/>
                  </a:cubicBezTo>
                  <a:cubicBezTo>
                    <a:pt x="55" y="32"/>
                    <a:pt x="55" y="31"/>
                    <a:pt x="56" y="31"/>
                  </a:cubicBezTo>
                  <a:cubicBezTo>
                    <a:pt x="55" y="30"/>
                    <a:pt x="55" y="30"/>
                    <a:pt x="55" y="30"/>
                  </a:cubicBezTo>
                  <a:cubicBezTo>
                    <a:pt x="58" y="29"/>
                    <a:pt x="58" y="29"/>
                    <a:pt x="58" y="29"/>
                  </a:cubicBezTo>
                  <a:cubicBezTo>
                    <a:pt x="59" y="29"/>
                    <a:pt x="60" y="28"/>
                    <a:pt x="61" y="28"/>
                  </a:cubicBezTo>
                  <a:cubicBezTo>
                    <a:pt x="60" y="28"/>
                    <a:pt x="60" y="28"/>
                    <a:pt x="60" y="28"/>
                  </a:cubicBezTo>
                  <a:cubicBezTo>
                    <a:pt x="59" y="27"/>
                    <a:pt x="59" y="26"/>
                    <a:pt x="58" y="25"/>
                  </a:cubicBezTo>
                  <a:cubicBezTo>
                    <a:pt x="57" y="24"/>
                    <a:pt x="57" y="24"/>
                    <a:pt x="57" y="24"/>
                  </a:cubicBezTo>
                  <a:cubicBezTo>
                    <a:pt x="59" y="22"/>
                    <a:pt x="59" y="22"/>
                    <a:pt x="59" y="22"/>
                  </a:cubicBezTo>
                  <a:cubicBezTo>
                    <a:pt x="59" y="22"/>
                    <a:pt x="59" y="22"/>
                    <a:pt x="59" y="22"/>
                  </a:cubicBezTo>
                  <a:cubicBezTo>
                    <a:pt x="60" y="21"/>
                    <a:pt x="60" y="21"/>
                    <a:pt x="60" y="21"/>
                  </a:cubicBezTo>
                  <a:cubicBezTo>
                    <a:pt x="60" y="20"/>
                    <a:pt x="60" y="20"/>
                    <a:pt x="60" y="20"/>
                  </a:cubicBezTo>
                  <a:cubicBezTo>
                    <a:pt x="61" y="20"/>
                    <a:pt x="61" y="19"/>
                    <a:pt x="62" y="19"/>
                  </a:cubicBezTo>
                  <a:cubicBezTo>
                    <a:pt x="62" y="19"/>
                    <a:pt x="62" y="19"/>
                    <a:pt x="62" y="19"/>
                  </a:cubicBezTo>
                  <a:cubicBezTo>
                    <a:pt x="62" y="18"/>
                    <a:pt x="61" y="18"/>
                    <a:pt x="61" y="17"/>
                  </a:cubicBezTo>
                  <a:cubicBezTo>
                    <a:pt x="61" y="16"/>
                    <a:pt x="61" y="15"/>
                    <a:pt x="61" y="14"/>
                  </a:cubicBezTo>
                  <a:cubicBezTo>
                    <a:pt x="61" y="14"/>
                    <a:pt x="61" y="14"/>
                    <a:pt x="62" y="13"/>
                  </a:cubicBezTo>
                  <a:cubicBezTo>
                    <a:pt x="62" y="13"/>
                    <a:pt x="62" y="12"/>
                    <a:pt x="62" y="12"/>
                  </a:cubicBezTo>
                  <a:cubicBezTo>
                    <a:pt x="62" y="11"/>
                    <a:pt x="62" y="11"/>
                    <a:pt x="62" y="10"/>
                  </a:cubicBezTo>
                  <a:cubicBezTo>
                    <a:pt x="61" y="9"/>
                    <a:pt x="61" y="8"/>
                    <a:pt x="60" y="7"/>
                  </a:cubicBezTo>
                  <a:cubicBezTo>
                    <a:pt x="60" y="6"/>
                    <a:pt x="60" y="6"/>
                    <a:pt x="60" y="6"/>
                  </a:cubicBezTo>
                  <a:cubicBezTo>
                    <a:pt x="60" y="6"/>
                    <a:pt x="60" y="6"/>
                    <a:pt x="60" y="6"/>
                  </a:cubicBezTo>
                  <a:cubicBezTo>
                    <a:pt x="60" y="6"/>
                    <a:pt x="60" y="6"/>
                    <a:pt x="60" y="6"/>
                  </a:cubicBezTo>
                  <a:cubicBezTo>
                    <a:pt x="58" y="6"/>
                    <a:pt x="56" y="6"/>
                    <a:pt x="53" y="5"/>
                  </a:cubicBezTo>
                  <a:cubicBezTo>
                    <a:pt x="53" y="5"/>
                    <a:pt x="53" y="5"/>
                    <a:pt x="53" y="5"/>
                  </a:cubicBezTo>
                  <a:cubicBezTo>
                    <a:pt x="52" y="5"/>
                    <a:pt x="52" y="5"/>
                    <a:pt x="52" y="5"/>
                  </a:cubicBezTo>
                  <a:cubicBezTo>
                    <a:pt x="51" y="5"/>
                    <a:pt x="50" y="5"/>
                    <a:pt x="50" y="5"/>
                  </a:cubicBezTo>
                  <a:cubicBezTo>
                    <a:pt x="48" y="3"/>
                    <a:pt x="45" y="2"/>
                    <a:pt x="43" y="1"/>
                  </a:cubicBezTo>
                  <a:cubicBezTo>
                    <a:pt x="42" y="1"/>
                    <a:pt x="41" y="1"/>
                    <a:pt x="40" y="0"/>
                  </a:cubicBezTo>
                  <a:cubicBezTo>
                    <a:pt x="40" y="0"/>
                    <a:pt x="40"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3" name="Rectangle 366">
              <a:extLst>
                <a:ext uri="{FF2B5EF4-FFF2-40B4-BE49-F238E27FC236}">
                  <a16:creationId xmlns:a16="http://schemas.microsoft.com/office/drawing/2014/main" id="{15B3B3F9-CF55-471A-9BDE-B4468C18C72C}"/>
                </a:ext>
              </a:extLst>
            </p:cNvPr>
            <p:cNvSpPr>
              <a:spLocks noChangeArrowheads="1"/>
            </p:cNvSpPr>
            <p:nvPr/>
          </p:nvSpPr>
          <p:spPr bwMode="auto">
            <a:xfrm>
              <a:off x="9664691" y="747636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4" name="Freeform 367">
              <a:extLst>
                <a:ext uri="{FF2B5EF4-FFF2-40B4-BE49-F238E27FC236}">
                  <a16:creationId xmlns:a16="http://schemas.microsoft.com/office/drawing/2014/main" id="{6511E4F4-0C5F-46B6-8B23-CEFFB6451A60}"/>
                </a:ext>
              </a:extLst>
            </p:cNvPr>
            <p:cNvSpPr>
              <a:spLocks/>
            </p:cNvSpPr>
            <p:nvPr/>
          </p:nvSpPr>
          <p:spPr bwMode="auto">
            <a:xfrm>
              <a:off x="9664691" y="747636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 name="Freeform 368">
              <a:extLst>
                <a:ext uri="{FF2B5EF4-FFF2-40B4-BE49-F238E27FC236}">
                  <a16:creationId xmlns:a16="http://schemas.microsoft.com/office/drawing/2014/main" id="{394C7931-E4F2-4FB6-9661-060232234A3F}"/>
                </a:ext>
              </a:extLst>
            </p:cNvPr>
            <p:cNvSpPr>
              <a:spLocks/>
            </p:cNvSpPr>
            <p:nvPr/>
          </p:nvSpPr>
          <p:spPr bwMode="auto">
            <a:xfrm>
              <a:off x="8158154" y="7512872"/>
              <a:ext cx="87313" cy="222250"/>
            </a:xfrm>
            <a:custGeom>
              <a:avLst/>
              <a:gdLst>
                <a:gd name="T0" fmla="*/ 23 w 23"/>
                <a:gd name="T1" fmla="*/ 0 h 59"/>
                <a:gd name="T2" fmla="*/ 22 w 23"/>
                <a:gd name="T3" fmla="*/ 1 h 59"/>
                <a:gd name="T4" fmla="*/ 21 w 23"/>
                <a:gd name="T5" fmla="*/ 1 h 59"/>
                <a:gd name="T6" fmla="*/ 20 w 23"/>
                <a:gd name="T7" fmla="*/ 1 h 59"/>
                <a:gd name="T8" fmla="*/ 20 w 23"/>
                <a:gd name="T9" fmla="*/ 1 h 59"/>
                <a:gd name="T10" fmla="*/ 20 w 23"/>
                <a:gd name="T11" fmla="*/ 1 h 59"/>
                <a:gd name="T12" fmla="*/ 20 w 23"/>
                <a:gd name="T13" fmla="*/ 1 h 59"/>
                <a:gd name="T14" fmla="*/ 19 w 23"/>
                <a:gd name="T15" fmla="*/ 1 h 59"/>
                <a:gd name="T16" fmla="*/ 18 w 23"/>
                <a:gd name="T17" fmla="*/ 1 h 59"/>
                <a:gd name="T18" fmla="*/ 18 w 23"/>
                <a:gd name="T19" fmla="*/ 0 h 59"/>
                <a:gd name="T20" fmla="*/ 17 w 23"/>
                <a:gd name="T21" fmla="*/ 0 h 59"/>
                <a:gd name="T22" fmla="*/ 15 w 23"/>
                <a:gd name="T23" fmla="*/ 2 h 59"/>
                <a:gd name="T24" fmla="*/ 14 w 23"/>
                <a:gd name="T25" fmla="*/ 5 h 59"/>
                <a:gd name="T26" fmla="*/ 12 w 23"/>
                <a:gd name="T27" fmla="*/ 9 h 59"/>
                <a:gd name="T28" fmla="*/ 8 w 23"/>
                <a:gd name="T29" fmla="*/ 13 h 59"/>
                <a:gd name="T30" fmla="*/ 5 w 23"/>
                <a:gd name="T31" fmla="*/ 14 h 59"/>
                <a:gd name="T32" fmla="*/ 5 w 23"/>
                <a:gd name="T33" fmla="*/ 14 h 59"/>
                <a:gd name="T34" fmla="*/ 5 w 23"/>
                <a:gd name="T35" fmla="*/ 14 h 59"/>
                <a:gd name="T36" fmla="*/ 3 w 23"/>
                <a:gd name="T37" fmla="*/ 13 h 59"/>
                <a:gd name="T38" fmla="*/ 2 w 23"/>
                <a:gd name="T39" fmla="*/ 13 h 59"/>
                <a:gd name="T40" fmla="*/ 2 w 23"/>
                <a:gd name="T41" fmla="*/ 13 h 59"/>
                <a:gd name="T42" fmla="*/ 2 w 23"/>
                <a:gd name="T43" fmla="*/ 14 h 59"/>
                <a:gd name="T44" fmla="*/ 2 w 23"/>
                <a:gd name="T45" fmla="*/ 14 h 59"/>
                <a:gd name="T46" fmla="*/ 2 w 23"/>
                <a:gd name="T47" fmla="*/ 15 h 59"/>
                <a:gd name="T48" fmla="*/ 2 w 23"/>
                <a:gd name="T49" fmla="*/ 18 h 59"/>
                <a:gd name="T50" fmla="*/ 2 w 23"/>
                <a:gd name="T51" fmla="*/ 22 h 59"/>
                <a:gd name="T52" fmla="*/ 2 w 23"/>
                <a:gd name="T53" fmla="*/ 29 h 59"/>
                <a:gd name="T54" fmla="*/ 0 w 23"/>
                <a:gd name="T55" fmla="*/ 57 h 59"/>
                <a:gd name="T56" fmla="*/ 1 w 23"/>
                <a:gd name="T57" fmla="*/ 57 h 59"/>
                <a:gd name="T58" fmla="*/ 4 w 23"/>
                <a:gd name="T59" fmla="*/ 56 h 59"/>
                <a:gd name="T60" fmla="*/ 5 w 23"/>
                <a:gd name="T61" fmla="*/ 56 h 59"/>
                <a:gd name="T62" fmla="*/ 5 w 23"/>
                <a:gd name="T63" fmla="*/ 59 h 59"/>
                <a:gd name="T64" fmla="*/ 5 w 23"/>
                <a:gd name="T65" fmla="*/ 58 h 59"/>
                <a:gd name="T66" fmla="*/ 14 w 23"/>
                <a:gd name="T67" fmla="*/ 49 h 59"/>
                <a:gd name="T68" fmla="*/ 17 w 23"/>
                <a:gd name="T69" fmla="*/ 43 h 59"/>
                <a:gd name="T70" fmla="*/ 21 w 23"/>
                <a:gd name="T71" fmla="*/ 34 h 59"/>
                <a:gd name="T72" fmla="*/ 19 w 23"/>
                <a:gd name="T73" fmla="*/ 29 h 59"/>
                <a:gd name="T74" fmla="*/ 21 w 23"/>
                <a:gd name="T75" fmla="*/ 16 h 59"/>
                <a:gd name="T76" fmla="*/ 23 w 23"/>
                <a:gd name="T7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59">
                  <a:moveTo>
                    <a:pt x="23" y="0"/>
                  </a:moveTo>
                  <a:cubicBezTo>
                    <a:pt x="23" y="1"/>
                    <a:pt x="22" y="1"/>
                    <a:pt x="22" y="1"/>
                  </a:cubicBezTo>
                  <a:cubicBezTo>
                    <a:pt x="22" y="1"/>
                    <a:pt x="22" y="1"/>
                    <a:pt x="21" y="1"/>
                  </a:cubicBezTo>
                  <a:cubicBezTo>
                    <a:pt x="21" y="1"/>
                    <a:pt x="21" y="1"/>
                    <a:pt x="20" y="1"/>
                  </a:cubicBezTo>
                  <a:cubicBezTo>
                    <a:pt x="20" y="1"/>
                    <a:pt x="20" y="1"/>
                    <a:pt x="20" y="1"/>
                  </a:cubicBezTo>
                  <a:cubicBezTo>
                    <a:pt x="20" y="1"/>
                    <a:pt x="20" y="1"/>
                    <a:pt x="20" y="1"/>
                  </a:cubicBezTo>
                  <a:cubicBezTo>
                    <a:pt x="20" y="1"/>
                    <a:pt x="20" y="1"/>
                    <a:pt x="20" y="1"/>
                  </a:cubicBezTo>
                  <a:cubicBezTo>
                    <a:pt x="19" y="1"/>
                    <a:pt x="19" y="1"/>
                    <a:pt x="19" y="1"/>
                  </a:cubicBezTo>
                  <a:cubicBezTo>
                    <a:pt x="18" y="1"/>
                    <a:pt x="18" y="1"/>
                    <a:pt x="18" y="1"/>
                  </a:cubicBezTo>
                  <a:cubicBezTo>
                    <a:pt x="18" y="0"/>
                    <a:pt x="18" y="0"/>
                    <a:pt x="18" y="0"/>
                  </a:cubicBezTo>
                  <a:cubicBezTo>
                    <a:pt x="17" y="0"/>
                    <a:pt x="17" y="0"/>
                    <a:pt x="17" y="0"/>
                  </a:cubicBezTo>
                  <a:cubicBezTo>
                    <a:pt x="16" y="1"/>
                    <a:pt x="16" y="1"/>
                    <a:pt x="15" y="2"/>
                  </a:cubicBezTo>
                  <a:cubicBezTo>
                    <a:pt x="14" y="5"/>
                    <a:pt x="14" y="5"/>
                    <a:pt x="14" y="5"/>
                  </a:cubicBezTo>
                  <a:cubicBezTo>
                    <a:pt x="13" y="7"/>
                    <a:pt x="12" y="8"/>
                    <a:pt x="12" y="9"/>
                  </a:cubicBezTo>
                  <a:cubicBezTo>
                    <a:pt x="11" y="11"/>
                    <a:pt x="9" y="13"/>
                    <a:pt x="8" y="13"/>
                  </a:cubicBezTo>
                  <a:cubicBezTo>
                    <a:pt x="7" y="14"/>
                    <a:pt x="6" y="14"/>
                    <a:pt x="5" y="14"/>
                  </a:cubicBezTo>
                  <a:cubicBezTo>
                    <a:pt x="5" y="14"/>
                    <a:pt x="5" y="14"/>
                    <a:pt x="5" y="14"/>
                  </a:cubicBezTo>
                  <a:cubicBezTo>
                    <a:pt x="5" y="14"/>
                    <a:pt x="5" y="14"/>
                    <a:pt x="5" y="14"/>
                  </a:cubicBezTo>
                  <a:cubicBezTo>
                    <a:pt x="4" y="14"/>
                    <a:pt x="3" y="14"/>
                    <a:pt x="3" y="13"/>
                  </a:cubicBezTo>
                  <a:cubicBezTo>
                    <a:pt x="2" y="13"/>
                    <a:pt x="2" y="13"/>
                    <a:pt x="2" y="13"/>
                  </a:cubicBezTo>
                  <a:cubicBezTo>
                    <a:pt x="2" y="13"/>
                    <a:pt x="2" y="13"/>
                    <a:pt x="2" y="13"/>
                  </a:cubicBezTo>
                  <a:cubicBezTo>
                    <a:pt x="2" y="13"/>
                    <a:pt x="2" y="14"/>
                    <a:pt x="2" y="14"/>
                  </a:cubicBezTo>
                  <a:cubicBezTo>
                    <a:pt x="2" y="14"/>
                    <a:pt x="2" y="14"/>
                    <a:pt x="2" y="14"/>
                  </a:cubicBezTo>
                  <a:cubicBezTo>
                    <a:pt x="2" y="15"/>
                    <a:pt x="2" y="15"/>
                    <a:pt x="2" y="15"/>
                  </a:cubicBezTo>
                  <a:cubicBezTo>
                    <a:pt x="2" y="16"/>
                    <a:pt x="2" y="17"/>
                    <a:pt x="2" y="18"/>
                  </a:cubicBezTo>
                  <a:cubicBezTo>
                    <a:pt x="2" y="22"/>
                    <a:pt x="2" y="22"/>
                    <a:pt x="2" y="22"/>
                  </a:cubicBezTo>
                  <a:cubicBezTo>
                    <a:pt x="2" y="24"/>
                    <a:pt x="2" y="26"/>
                    <a:pt x="2" y="29"/>
                  </a:cubicBezTo>
                  <a:cubicBezTo>
                    <a:pt x="2" y="38"/>
                    <a:pt x="1" y="48"/>
                    <a:pt x="0" y="57"/>
                  </a:cubicBezTo>
                  <a:cubicBezTo>
                    <a:pt x="1" y="57"/>
                    <a:pt x="1" y="57"/>
                    <a:pt x="1" y="57"/>
                  </a:cubicBezTo>
                  <a:cubicBezTo>
                    <a:pt x="2" y="57"/>
                    <a:pt x="3" y="57"/>
                    <a:pt x="4" y="56"/>
                  </a:cubicBezTo>
                  <a:cubicBezTo>
                    <a:pt x="5" y="56"/>
                    <a:pt x="5" y="56"/>
                    <a:pt x="5" y="56"/>
                  </a:cubicBezTo>
                  <a:cubicBezTo>
                    <a:pt x="5" y="59"/>
                    <a:pt x="5" y="59"/>
                    <a:pt x="5" y="59"/>
                  </a:cubicBezTo>
                  <a:cubicBezTo>
                    <a:pt x="5" y="58"/>
                    <a:pt x="5" y="58"/>
                    <a:pt x="5" y="58"/>
                  </a:cubicBezTo>
                  <a:cubicBezTo>
                    <a:pt x="8" y="55"/>
                    <a:pt x="11" y="52"/>
                    <a:pt x="14" y="49"/>
                  </a:cubicBezTo>
                  <a:cubicBezTo>
                    <a:pt x="15" y="47"/>
                    <a:pt x="17" y="45"/>
                    <a:pt x="17" y="43"/>
                  </a:cubicBezTo>
                  <a:cubicBezTo>
                    <a:pt x="18" y="40"/>
                    <a:pt x="21" y="36"/>
                    <a:pt x="21" y="34"/>
                  </a:cubicBezTo>
                  <a:cubicBezTo>
                    <a:pt x="21" y="32"/>
                    <a:pt x="19" y="31"/>
                    <a:pt x="19" y="29"/>
                  </a:cubicBezTo>
                  <a:cubicBezTo>
                    <a:pt x="20" y="24"/>
                    <a:pt x="20" y="20"/>
                    <a:pt x="21" y="16"/>
                  </a:cubicBezTo>
                  <a:cubicBezTo>
                    <a:pt x="22" y="11"/>
                    <a:pt x="23" y="6"/>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 name="Freeform 369">
              <a:extLst>
                <a:ext uri="{FF2B5EF4-FFF2-40B4-BE49-F238E27FC236}">
                  <a16:creationId xmlns:a16="http://schemas.microsoft.com/office/drawing/2014/main" id="{A0C4D0BF-AF82-4E35-A093-811442015AE0}"/>
                </a:ext>
              </a:extLst>
            </p:cNvPr>
            <p:cNvSpPr>
              <a:spLocks/>
            </p:cNvSpPr>
            <p:nvPr/>
          </p:nvSpPr>
          <p:spPr bwMode="auto">
            <a:xfrm>
              <a:off x="10985491" y="1008884"/>
              <a:ext cx="3175" cy="3175"/>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0"/>
                  </a:cubicBezTo>
                  <a:cubicBezTo>
                    <a:pt x="0"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 name="Freeform 370">
              <a:extLst>
                <a:ext uri="{FF2B5EF4-FFF2-40B4-BE49-F238E27FC236}">
                  <a16:creationId xmlns:a16="http://schemas.microsoft.com/office/drawing/2014/main" id="{C381A1FE-3889-4EAB-B54B-127B8B0E5CF5}"/>
                </a:ext>
              </a:extLst>
            </p:cNvPr>
            <p:cNvSpPr>
              <a:spLocks/>
            </p:cNvSpPr>
            <p:nvPr/>
          </p:nvSpPr>
          <p:spPr bwMode="auto">
            <a:xfrm>
              <a:off x="10936279" y="1050159"/>
              <a:ext cx="52388" cy="19050"/>
            </a:xfrm>
            <a:custGeom>
              <a:avLst/>
              <a:gdLst>
                <a:gd name="T0" fmla="*/ 14 w 14"/>
                <a:gd name="T1" fmla="*/ 0 h 5"/>
                <a:gd name="T2" fmla="*/ 10 w 14"/>
                <a:gd name="T3" fmla="*/ 1 h 5"/>
                <a:gd name="T4" fmla="*/ 7 w 14"/>
                <a:gd name="T5" fmla="*/ 2 h 5"/>
                <a:gd name="T6" fmla="*/ 7 w 14"/>
                <a:gd name="T7" fmla="*/ 2 h 5"/>
                <a:gd name="T8" fmla="*/ 6 w 14"/>
                <a:gd name="T9" fmla="*/ 2 h 5"/>
                <a:gd name="T10" fmla="*/ 5 w 14"/>
                <a:gd name="T11" fmla="*/ 2 h 5"/>
                <a:gd name="T12" fmla="*/ 4 w 14"/>
                <a:gd name="T13" fmla="*/ 3 h 5"/>
                <a:gd name="T14" fmla="*/ 4 w 14"/>
                <a:gd name="T15" fmla="*/ 3 h 5"/>
                <a:gd name="T16" fmla="*/ 1 w 14"/>
                <a:gd name="T17" fmla="*/ 4 h 5"/>
                <a:gd name="T18" fmla="*/ 3 w 14"/>
                <a:gd name="T19" fmla="*/ 5 h 5"/>
                <a:gd name="T20" fmla="*/ 4 w 14"/>
                <a:gd name="T21" fmla="*/ 5 h 5"/>
                <a:gd name="T22" fmla="*/ 14 w 14"/>
                <a:gd name="T23" fmla="*/ 3 h 5"/>
                <a:gd name="T24" fmla="*/ 14 w 14"/>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5">
                  <a:moveTo>
                    <a:pt x="14" y="0"/>
                  </a:moveTo>
                  <a:cubicBezTo>
                    <a:pt x="13" y="1"/>
                    <a:pt x="12" y="0"/>
                    <a:pt x="10" y="1"/>
                  </a:cubicBezTo>
                  <a:cubicBezTo>
                    <a:pt x="9" y="1"/>
                    <a:pt x="8" y="2"/>
                    <a:pt x="7" y="2"/>
                  </a:cubicBezTo>
                  <a:cubicBezTo>
                    <a:pt x="7" y="2"/>
                    <a:pt x="7" y="2"/>
                    <a:pt x="7" y="2"/>
                  </a:cubicBezTo>
                  <a:cubicBezTo>
                    <a:pt x="6" y="2"/>
                    <a:pt x="6" y="2"/>
                    <a:pt x="6" y="2"/>
                  </a:cubicBezTo>
                  <a:cubicBezTo>
                    <a:pt x="6" y="2"/>
                    <a:pt x="5" y="2"/>
                    <a:pt x="5" y="2"/>
                  </a:cubicBezTo>
                  <a:cubicBezTo>
                    <a:pt x="4" y="2"/>
                    <a:pt x="4" y="2"/>
                    <a:pt x="4" y="3"/>
                  </a:cubicBezTo>
                  <a:cubicBezTo>
                    <a:pt x="4" y="3"/>
                    <a:pt x="4" y="3"/>
                    <a:pt x="4" y="3"/>
                  </a:cubicBezTo>
                  <a:cubicBezTo>
                    <a:pt x="4" y="3"/>
                    <a:pt x="2" y="3"/>
                    <a:pt x="1" y="4"/>
                  </a:cubicBezTo>
                  <a:cubicBezTo>
                    <a:pt x="0" y="5"/>
                    <a:pt x="0" y="5"/>
                    <a:pt x="3" y="5"/>
                  </a:cubicBezTo>
                  <a:cubicBezTo>
                    <a:pt x="3" y="5"/>
                    <a:pt x="4" y="5"/>
                    <a:pt x="4" y="5"/>
                  </a:cubicBezTo>
                  <a:cubicBezTo>
                    <a:pt x="7" y="5"/>
                    <a:pt x="11" y="4"/>
                    <a:pt x="14" y="3"/>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 name="Freeform 371">
              <a:extLst>
                <a:ext uri="{FF2B5EF4-FFF2-40B4-BE49-F238E27FC236}">
                  <a16:creationId xmlns:a16="http://schemas.microsoft.com/office/drawing/2014/main" id="{C48B555E-B2AC-4FDA-B821-43B459800CF8}"/>
                </a:ext>
              </a:extLst>
            </p:cNvPr>
            <p:cNvSpPr>
              <a:spLocks noEditPoints="1"/>
            </p:cNvSpPr>
            <p:nvPr/>
          </p:nvSpPr>
          <p:spPr bwMode="auto">
            <a:xfrm>
              <a:off x="9832966" y="599309"/>
              <a:ext cx="1155700" cy="376238"/>
            </a:xfrm>
            <a:custGeom>
              <a:avLst/>
              <a:gdLst>
                <a:gd name="T0" fmla="*/ 125 w 308"/>
                <a:gd name="T1" fmla="*/ 30 h 100"/>
                <a:gd name="T2" fmla="*/ 308 w 308"/>
                <a:gd name="T3" fmla="*/ 0 h 100"/>
                <a:gd name="T4" fmla="*/ 13 w 308"/>
                <a:gd name="T5" fmla="*/ 3 h 100"/>
                <a:gd name="T6" fmla="*/ 29 w 308"/>
                <a:gd name="T7" fmla="*/ 5 h 100"/>
                <a:gd name="T8" fmla="*/ 43 w 308"/>
                <a:gd name="T9" fmla="*/ 5 h 100"/>
                <a:gd name="T10" fmla="*/ 47 w 308"/>
                <a:gd name="T11" fmla="*/ 5 h 100"/>
                <a:gd name="T12" fmla="*/ 38 w 308"/>
                <a:gd name="T13" fmla="*/ 10 h 100"/>
                <a:gd name="T14" fmla="*/ 33 w 308"/>
                <a:gd name="T15" fmla="*/ 9 h 100"/>
                <a:gd name="T16" fmla="*/ 15 w 308"/>
                <a:gd name="T17" fmla="*/ 16 h 100"/>
                <a:gd name="T18" fmla="*/ 11 w 308"/>
                <a:gd name="T19" fmla="*/ 20 h 100"/>
                <a:gd name="T20" fmla="*/ 29 w 308"/>
                <a:gd name="T21" fmla="*/ 30 h 100"/>
                <a:gd name="T22" fmla="*/ 46 w 308"/>
                <a:gd name="T23" fmla="*/ 34 h 100"/>
                <a:gd name="T24" fmla="*/ 69 w 308"/>
                <a:gd name="T25" fmla="*/ 34 h 100"/>
                <a:gd name="T26" fmla="*/ 68 w 308"/>
                <a:gd name="T27" fmla="*/ 29 h 100"/>
                <a:gd name="T28" fmla="*/ 71 w 308"/>
                <a:gd name="T29" fmla="*/ 24 h 100"/>
                <a:gd name="T30" fmla="*/ 76 w 308"/>
                <a:gd name="T31" fmla="*/ 28 h 100"/>
                <a:gd name="T32" fmla="*/ 84 w 308"/>
                <a:gd name="T33" fmla="*/ 32 h 100"/>
                <a:gd name="T34" fmla="*/ 89 w 308"/>
                <a:gd name="T35" fmla="*/ 24 h 100"/>
                <a:gd name="T36" fmla="*/ 103 w 308"/>
                <a:gd name="T37" fmla="*/ 26 h 100"/>
                <a:gd name="T38" fmla="*/ 100 w 308"/>
                <a:gd name="T39" fmla="*/ 28 h 100"/>
                <a:gd name="T40" fmla="*/ 108 w 308"/>
                <a:gd name="T41" fmla="*/ 35 h 100"/>
                <a:gd name="T42" fmla="*/ 123 w 308"/>
                <a:gd name="T43" fmla="*/ 31 h 100"/>
                <a:gd name="T44" fmla="*/ 125 w 308"/>
                <a:gd name="T45" fmla="*/ 30 h 100"/>
                <a:gd name="T46" fmla="*/ 125 w 308"/>
                <a:gd name="T47" fmla="*/ 29 h 100"/>
                <a:gd name="T48" fmla="*/ 125 w 308"/>
                <a:gd name="T49" fmla="*/ 29 h 100"/>
                <a:gd name="T50" fmla="*/ 126 w 308"/>
                <a:gd name="T51" fmla="*/ 28 h 100"/>
                <a:gd name="T52" fmla="*/ 128 w 308"/>
                <a:gd name="T53" fmla="*/ 26 h 100"/>
                <a:gd name="T54" fmla="*/ 134 w 308"/>
                <a:gd name="T55" fmla="*/ 24 h 100"/>
                <a:gd name="T56" fmla="*/ 140 w 308"/>
                <a:gd name="T57" fmla="*/ 31 h 100"/>
                <a:gd name="T58" fmla="*/ 147 w 308"/>
                <a:gd name="T59" fmla="*/ 27 h 100"/>
                <a:gd name="T60" fmla="*/ 197 w 308"/>
                <a:gd name="T61" fmla="*/ 29 h 100"/>
                <a:gd name="T62" fmla="*/ 202 w 308"/>
                <a:gd name="T63" fmla="*/ 29 h 100"/>
                <a:gd name="T64" fmla="*/ 212 w 308"/>
                <a:gd name="T65" fmla="*/ 30 h 100"/>
                <a:gd name="T66" fmla="*/ 223 w 308"/>
                <a:gd name="T67" fmla="*/ 34 h 100"/>
                <a:gd name="T68" fmla="*/ 268 w 308"/>
                <a:gd name="T69" fmla="*/ 51 h 100"/>
                <a:gd name="T70" fmla="*/ 271 w 308"/>
                <a:gd name="T71" fmla="*/ 54 h 100"/>
                <a:gd name="T72" fmla="*/ 274 w 308"/>
                <a:gd name="T73" fmla="*/ 61 h 100"/>
                <a:gd name="T74" fmla="*/ 271 w 308"/>
                <a:gd name="T75" fmla="*/ 64 h 100"/>
                <a:gd name="T76" fmla="*/ 264 w 308"/>
                <a:gd name="T77" fmla="*/ 68 h 100"/>
                <a:gd name="T78" fmla="*/ 270 w 308"/>
                <a:gd name="T79" fmla="*/ 67 h 100"/>
                <a:gd name="T80" fmla="*/ 271 w 308"/>
                <a:gd name="T81" fmla="*/ 68 h 100"/>
                <a:gd name="T82" fmla="*/ 270 w 308"/>
                <a:gd name="T83" fmla="*/ 69 h 100"/>
                <a:gd name="T84" fmla="*/ 270 w 308"/>
                <a:gd name="T85" fmla="*/ 69 h 100"/>
                <a:gd name="T86" fmla="*/ 269 w 308"/>
                <a:gd name="T87" fmla="*/ 69 h 100"/>
                <a:gd name="T88" fmla="*/ 278 w 308"/>
                <a:gd name="T89" fmla="*/ 74 h 100"/>
                <a:gd name="T90" fmla="*/ 296 w 308"/>
                <a:gd name="T91" fmla="*/ 88 h 100"/>
                <a:gd name="T92" fmla="*/ 298 w 308"/>
                <a:gd name="T93" fmla="*/ 88 h 100"/>
                <a:gd name="T94" fmla="*/ 299 w 308"/>
                <a:gd name="T95" fmla="*/ 88 h 100"/>
                <a:gd name="T96" fmla="*/ 303 w 308"/>
                <a:gd name="T97" fmla="*/ 94 h 100"/>
                <a:gd name="T98" fmla="*/ 300 w 308"/>
                <a:gd name="T99" fmla="*/ 94 h 100"/>
                <a:gd name="T100" fmla="*/ 299 w 308"/>
                <a:gd name="T101" fmla="*/ 96 h 100"/>
                <a:gd name="T102" fmla="*/ 308 w 308"/>
                <a:gd name="T103" fmla="*/ 100 h 100"/>
                <a:gd name="T104" fmla="*/ 308 w 308"/>
                <a:gd name="T10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 h="100">
                  <a:moveTo>
                    <a:pt x="125" y="30"/>
                  </a:moveTo>
                  <a:cubicBezTo>
                    <a:pt x="125" y="30"/>
                    <a:pt x="125" y="30"/>
                    <a:pt x="125" y="30"/>
                  </a:cubicBezTo>
                  <a:cubicBezTo>
                    <a:pt x="125" y="30"/>
                    <a:pt x="125" y="30"/>
                    <a:pt x="125" y="30"/>
                  </a:cubicBezTo>
                  <a:moveTo>
                    <a:pt x="308" y="0"/>
                  </a:moveTo>
                  <a:cubicBezTo>
                    <a:pt x="0" y="0"/>
                    <a:pt x="0" y="0"/>
                    <a:pt x="0" y="0"/>
                  </a:cubicBezTo>
                  <a:cubicBezTo>
                    <a:pt x="2" y="2"/>
                    <a:pt x="11" y="3"/>
                    <a:pt x="13" y="3"/>
                  </a:cubicBezTo>
                  <a:cubicBezTo>
                    <a:pt x="17" y="4"/>
                    <a:pt x="21" y="5"/>
                    <a:pt x="25" y="5"/>
                  </a:cubicBezTo>
                  <a:cubicBezTo>
                    <a:pt x="26" y="5"/>
                    <a:pt x="28" y="5"/>
                    <a:pt x="29" y="5"/>
                  </a:cubicBezTo>
                  <a:cubicBezTo>
                    <a:pt x="31" y="5"/>
                    <a:pt x="34" y="5"/>
                    <a:pt x="36" y="5"/>
                  </a:cubicBezTo>
                  <a:cubicBezTo>
                    <a:pt x="38" y="5"/>
                    <a:pt x="41" y="5"/>
                    <a:pt x="43" y="5"/>
                  </a:cubicBezTo>
                  <a:cubicBezTo>
                    <a:pt x="44" y="5"/>
                    <a:pt x="45" y="5"/>
                    <a:pt x="45" y="5"/>
                  </a:cubicBezTo>
                  <a:cubicBezTo>
                    <a:pt x="46" y="5"/>
                    <a:pt x="46" y="5"/>
                    <a:pt x="47" y="5"/>
                  </a:cubicBezTo>
                  <a:cubicBezTo>
                    <a:pt x="45" y="8"/>
                    <a:pt x="49" y="9"/>
                    <a:pt x="43" y="9"/>
                  </a:cubicBezTo>
                  <a:cubicBezTo>
                    <a:pt x="42" y="9"/>
                    <a:pt x="40" y="10"/>
                    <a:pt x="38" y="10"/>
                  </a:cubicBezTo>
                  <a:cubicBezTo>
                    <a:pt x="37" y="10"/>
                    <a:pt x="36" y="10"/>
                    <a:pt x="35" y="9"/>
                  </a:cubicBezTo>
                  <a:cubicBezTo>
                    <a:pt x="34" y="9"/>
                    <a:pt x="34" y="9"/>
                    <a:pt x="33" y="9"/>
                  </a:cubicBezTo>
                  <a:cubicBezTo>
                    <a:pt x="28" y="9"/>
                    <a:pt x="27" y="12"/>
                    <a:pt x="22" y="14"/>
                  </a:cubicBezTo>
                  <a:cubicBezTo>
                    <a:pt x="19" y="15"/>
                    <a:pt x="17" y="15"/>
                    <a:pt x="15" y="16"/>
                  </a:cubicBezTo>
                  <a:cubicBezTo>
                    <a:pt x="13" y="16"/>
                    <a:pt x="12" y="16"/>
                    <a:pt x="11" y="17"/>
                  </a:cubicBezTo>
                  <a:cubicBezTo>
                    <a:pt x="8" y="19"/>
                    <a:pt x="10" y="19"/>
                    <a:pt x="11" y="20"/>
                  </a:cubicBezTo>
                  <a:cubicBezTo>
                    <a:pt x="13" y="22"/>
                    <a:pt x="15" y="22"/>
                    <a:pt x="18" y="23"/>
                  </a:cubicBezTo>
                  <a:cubicBezTo>
                    <a:pt x="22" y="24"/>
                    <a:pt x="25" y="28"/>
                    <a:pt x="29" y="30"/>
                  </a:cubicBezTo>
                  <a:cubicBezTo>
                    <a:pt x="33" y="31"/>
                    <a:pt x="35" y="33"/>
                    <a:pt x="39" y="33"/>
                  </a:cubicBezTo>
                  <a:cubicBezTo>
                    <a:pt x="42" y="33"/>
                    <a:pt x="44" y="34"/>
                    <a:pt x="46" y="34"/>
                  </a:cubicBezTo>
                  <a:cubicBezTo>
                    <a:pt x="59" y="36"/>
                    <a:pt x="70" y="39"/>
                    <a:pt x="82" y="41"/>
                  </a:cubicBezTo>
                  <a:cubicBezTo>
                    <a:pt x="82" y="36"/>
                    <a:pt x="71" y="37"/>
                    <a:pt x="69" y="34"/>
                  </a:cubicBezTo>
                  <a:cubicBezTo>
                    <a:pt x="69" y="33"/>
                    <a:pt x="70" y="32"/>
                    <a:pt x="69" y="32"/>
                  </a:cubicBezTo>
                  <a:cubicBezTo>
                    <a:pt x="69" y="31"/>
                    <a:pt x="69" y="30"/>
                    <a:pt x="68" y="29"/>
                  </a:cubicBezTo>
                  <a:cubicBezTo>
                    <a:pt x="67" y="27"/>
                    <a:pt x="67" y="25"/>
                    <a:pt x="70" y="24"/>
                  </a:cubicBezTo>
                  <a:cubicBezTo>
                    <a:pt x="70" y="24"/>
                    <a:pt x="70" y="24"/>
                    <a:pt x="71" y="24"/>
                  </a:cubicBezTo>
                  <a:cubicBezTo>
                    <a:pt x="73" y="24"/>
                    <a:pt x="75" y="27"/>
                    <a:pt x="77" y="27"/>
                  </a:cubicBezTo>
                  <a:cubicBezTo>
                    <a:pt x="77" y="27"/>
                    <a:pt x="76" y="28"/>
                    <a:pt x="76" y="28"/>
                  </a:cubicBezTo>
                  <a:cubicBezTo>
                    <a:pt x="77" y="29"/>
                    <a:pt x="81" y="32"/>
                    <a:pt x="84" y="32"/>
                  </a:cubicBezTo>
                  <a:cubicBezTo>
                    <a:pt x="84" y="32"/>
                    <a:pt x="84" y="32"/>
                    <a:pt x="84" y="32"/>
                  </a:cubicBezTo>
                  <a:cubicBezTo>
                    <a:pt x="85" y="32"/>
                    <a:pt x="85" y="30"/>
                    <a:pt x="85" y="29"/>
                  </a:cubicBezTo>
                  <a:cubicBezTo>
                    <a:pt x="86" y="28"/>
                    <a:pt x="87" y="25"/>
                    <a:pt x="89" y="24"/>
                  </a:cubicBezTo>
                  <a:cubicBezTo>
                    <a:pt x="90" y="24"/>
                    <a:pt x="92" y="23"/>
                    <a:pt x="94" y="23"/>
                  </a:cubicBezTo>
                  <a:cubicBezTo>
                    <a:pt x="97" y="23"/>
                    <a:pt x="102" y="24"/>
                    <a:pt x="103" y="26"/>
                  </a:cubicBezTo>
                  <a:cubicBezTo>
                    <a:pt x="102" y="26"/>
                    <a:pt x="100" y="26"/>
                    <a:pt x="99" y="27"/>
                  </a:cubicBezTo>
                  <a:cubicBezTo>
                    <a:pt x="99" y="27"/>
                    <a:pt x="100" y="28"/>
                    <a:pt x="100" y="28"/>
                  </a:cubicBezTo>
                  <a:cubicBezTo>
                    <a:pt x="95" y="30"/>
                    <a:pt x="103" y="34"/>
                    <a:pt x="106" y="35"/>
                  </a:cubicBezTo>
                  <a:cubicBezTo>
                    <a:pt x="106" y="35"/>
                    <a:pt x="107" y="35"/>
                    <a:pt x="108" y="35"/>
                  </a:cubicBezTo>
                  <a:cubicBezTo>
                    <a:pt x="109" y="35"/>
                    <a:pt x="110" y="35"/>
                    <a:pt x="113" y="34"/>
                  </a:cubicBezTo>
                  <a:cubicBezTo>
                    <a:pt x="116" y="33"/>
                    <a:pt x="120" y="33"/>
                    <a:pt x="123" y="31"/>
                  </a:cubicBezTo>
                  <a:cubicBezTo>
                    <a:pt x="125" y="31"/>
                    <a:pt x="125" y="30"/>
                    <a:pt x="125" y="30"/>
                  </a:cubicBezTo>
                  <a:cubicBezTo>
                    <a:pt x="125" y="30"/>
                    <a:pt x="125" y="30"/>
                    <a:pt x="125" y="30"/>
                  </a:cubicBezTo>
                  <a:cubicBezTo>
                    <a:pt x="125" y="30"/>
                    <a:pt x="125" y="30"/>
                    <a:pt x="125" y="30"/>
                  </a:cubicBezTo>
                  <a:cubicBezTo>
                    <a:pt x="125" y="29"/>
                    <a:pt x="125" y="29"/>
                    <a:pt x="125" y="29"/>
                  </a:cubicBezTo>
                  <a:cubicBezTo>
                    <a:pt x="125" y="29"/>
                    <a:pt x="125" y="29"/>
                    <a:pt x="125" y="29"/>
                  </a:cubicBezTo>
                  <a:cubicBezTo>
                    <a:pt x="125" y="29"/>
                    <a:pt x="125" y="29"/>
                    <a:pt x="125" y="29"/>
                  </a:cubicBezTo>
                  <a:cubicBezTo>
                    <a:pt x="125" y="29"/>
                    <a:pt x="126" y="29"/>
                    <a:pt x="126" y="29"/>
                  </a:cubicBezTo>
                  <a:cubicBezTo>
                    <a:pt x="126" y="28"/>
                    <a:pt x="126" y="28"/>
                    <a:pt x="126" y="28"/>
                  </a:cubicBezTo>
                  <a:cubicBezTo>
                    <a:pt x="126" y="28"/>
                    <a:pt x="126" y="28"/>
                    <a:pt x="126" y="28"/>
                  </a:cubicBezTo>
                  <a:cubicBezTo>
                    <a:pt x="126" y="27"/>
                    <a:pt x="127" y="27"/>
                    <a:pt x="128" y="26"/>
                  </a:cubicBezTo>
                  <a:cubicBezTo>
                    <a:pt x="129" y="25"/>
                    <a:pt x="131" y="24"/>
                    <a:pt x="133" y="22"/>
                  </a:cubicBezTo>
                  <a:cubicBezTo>
                    <a:pt x="133" y="23"/>
                    <a:pt x="133" y="23"/>
                    <a:pt x="134" y="24"/>
                  </a:cubicBezTo>
                  <a:cubicBezTo>
                    <a:pt x="135" y="25"/>
                    <a:pt x="137" y="30"/>
                    <a:pt x="140" y="30"/>
                  </a:cubicBezTo>
                  <a:cubicBezTo>
                    <a:pt x="140" y="30"/>
                    <a:pt x="140" y="31"/>
                    <a:pt x="140" y="31"/>
                  </a:cubicBezTo>
                  <a:cubicBezTo>
                    <a:pt x="141" y="31"/>
                    <a:pt x="142" y="30"/>
                    <a:pt x="143" y="30"/>
                  </a:cubicBezTo>
                  <a:cubicBezTo>
                    <a:pt x="146" y="29"/>
                    <a:pt x="145" y="27"/>
                    <a:pt x="147" y="27"/>
                  </a:cubicBezTo>
                  <a:cubicBezTo>
                    <a:pt x="147" y="27"/>
                    <a:pt x="147" y="27"/>
                    <a:pt x="147" y="27"/>
                  </a:cubicBezTo>
                  <a:cubicBezTo>
                    <a:pt x="164" y="28"/>
                    <a:pt x="181" y="28"/>
                    <a:pt x="197" y="29"/>
                  </a:cubicBezTo>
                  <a:cubicBezTo>
                    <a:pt x="198" y="29"/>
                    <a:pt x="198" y="29"/>
                    <a:pt x="199" y="29"/>
                  </a:cubicBezTo>
                  <a:cubicBezTo>
                    <a:pt x="200" y="29"/>
                    <a:pt x="201" y="29"/>
                    <a:pt x="202" y="29"/>
                  </a:cubicBezTo>
                  <a:cubicBezTo>
                    <a:pt x="203" y="29"/>
                    <a:pt x="204" y="29"/>
                    <a:pt x="205" y="29"/>
                  </a:cubicBezTo>
                  <a:cubicBezTo>
                    <a:pt x="208" y="29"/>
                    <a:pt x="210" y="29"/>
                    <a:pt x="212" y="30"/>
                  </a:cubicBezTo>
                  <a:cubicBezTo>
                    <a:pt x="213" y="30"/>
                    <a:pt x="212" y="31"/>
                    <a:pt x="214" y="32"/>
                  </a:cubicBezTo>
                  <a:cubicBezTo>
                    <a:pt x="216" y="34"/>
                    <a:pt x="220" y="34"/>
                    <a:pt x="223" y="34"/>
                  </a:cubicBezTo>
                  <a:cubicBezTo>
                    <a:pt x="236" y="37"/>
                    <a:pt x="248" y="42"/>
                    <a:pt x="261" y="47"/>
                  </a:cubicBezTo>
                  <a:cubicBezTo>
                    <a:pt x="262" y="48"/>
                    <a:pt x="272" y="51"/>
                    <a:pt x="268" y="51"/>
                  </a:cubicBezTo>
                  <a:cubicBezTo>
                    <a:pt x="268" y="51"/>
                    <a:pt x="267" y="51"/>
                    <a:pt x="267" y="51"/>
                  </a:cubicBezTo>
                  <a:cubicBezTo>
                    <a:pt x="268" y="52"/>
                    <a:pt x="271" y="53"/>
                    <a:pt x="271" y="54"/>
                  </a:cubicBezTo>
                  <a:cubicBezTo>
                    <a:pt x="271" y="55"/>
                    <a:pt x="269" y="55"/>
                    <a:pt x="269" y="56"/>
                  </a:cubicBezTo>
                  <a:cubicBezTo>
                    <a:pt x="270" y="59"/>
                    <a:pt x="275" y="58"/>
                    <a:pt x="274" y="61"/>
                  </a:cubicBezTo>
                  <a:cubicBezTo>
                    <a:pt x="274" y="63"/>
                    <a:pt x="273" y="64"/>
                    <a:pt x="272" y="64"/>
                  </a:cubicBezTo>
                  <a:cubicBezTo>
                    <a:pt x="271" y="64"/>
                    <a:pt x="271" y="64"/>
                    <a:pt x="271" y="64"/>
                  </a:cubicBezTo>
                  <a:cubicBezTo>
                    <a:pt x="271" y="64"/>
                    <a:pt x="271" y="64"/>
                    <a:pt x="271" y="64"/>
                  </a:cubicBezTo>
                  <a:cubicBezTo>
                    <a:pt x="269" y="64"/>
                    <a:pt x="265" y="67"/>
                    <a:pt x="264" y="68"/>
                  </a:cubicBezTo>
                  <a:cubicBezTo>
                    <a:pt x="267" y="68"/>
                    <a:pt x="270" y="66"/>
                    <a:pt x="273" y="65"/>
                  </a:cubicBezTo>
                  <a:cubicBezTo>
                    <a:pt x="272" y="66"/>
                    <a:pt x="271" y="67"/>
                    <a:pt x="270" y="67"/>
                  </a:cubicBezTo>
                  <a:cubicBezTo>
                    <a:pt x="270" y="68"/>
                    <a:pt x="271" y="68"/>
                    <a:pt x="271" y="68"/>
                  </a:cubicBezTo>
                  <a:cubicBezTo>
                    <a:pt x="271" y="68"/>
                    <a:pt x="271" y="68"/>
                    <a:pt x="271" y="68"/>
                  </a:cubicBezTo>
                  <a:cubicBezTo>
                    <a:pt x="271" y="68"/>
                    <a:pt x="271" y="68"/>
                    <a:pt x="271" y="69"/>
                  </a:cubicBezTo>
                  <a:cubicBezTo>
                    <a:pt x="271" y="69"/>
                    <a:pt x="270" y="69"/>
                    <a:pt x="270" y="69"/>
                  </a:cubicBezTo>
                  <a:cubicBezTo>
                    <a:pt x="270" y="69"/>
                    <a:pt x="270" y="69"/>
                    <a:pt x="270" y="69"/>
                  </a:cubicBezTo>
                  <a:cubicBezTo>
                    <a:pt x="270" y="69"/>
                    <a:pt x="270" y="69"/>
                    <a:pt x="270" y="69"/>
                  </a:cubicBezTo>
                  <a:cubicBezTo>
                    <a:pt x="270" y="69"/>
                    <a:pt x="269" y="69"/>
                    <a:pt x="269" y="69"/>
                  </a:cubicBezTo>
                  <a:cubicBezTo>
                    <a:pt x="269" y="69"/>
                    <a:pt x="269" y="69"/>
                    <a:pt x="269" y="69"/>
                  </a:cubicBezTo>
                  <a:cubicBezTo>
                    <a:pt x="269" y="69"/>
                    <a:pt x="269" y="70"/>
                    <a:pt x="270" y="71"/>
                  </a:cubicBezTo>
                  <a:cubicBezTo>
                    <a:pt x="271" y="73"/>
                    <a:pt x="275" y="73"/>
                    <a:pt x="278" y="74"/>
                  </a:cubicBezTo>
                  <a:cubicBezTo>
                    <a:pt x="283" y="77"/>
                    <a:pt x="286" y="83"/>
                    <a:pt x="292" y="86"/>
                  </a:cubicBezTo>
                  <a:cubicBezTo>
                    <a:pt x="293" y="86"/>
                    <a:pt x="294" y="88"/>
                    <a:pt x="296" y="88"/>
                  </a:cubicBezTo>
                  <a:cubicBezTo>
                    <a:pt x="296" y="88"/>
                    <a:pt x="296" y="88"/>
                    <a:pt x="297" y="88"/>
                  </a:cubicBezTo>
                  <a:cubicBezTo>
                    <a:pt x="297" y="88"/>
                    <a:pt x="297" y="88"/>
                    <a:pt x="298" y="88"/>
                  </a:cubicBezTo>
                  <a:cubicBezTo>
                    <a:pt x="298" y="88"/>
                    <a:pt x="298" y="88"/>
                    <a:pt x="299" y="88"/>
                  </a:cubicBezTo>
                  <a:cubicBezTo>
                    <a:pt x="299" y="88"/>
                    <a:pt x="299" y="88"/>
                    <a:pt x="299" y="88"/>
                  </a:cubicBezTo>
                  <a:cubicBezTo>
                    <a:pt x="302" y="88"/>
                    <a:pt x="302" y="91"/>
                    <a:pt x="305" y="91"/>
                  </a:cubicBezTo>
                  <a:cubicBezTo>
                    <a:pt x="307" y="92"/>
                    <a:pt x="304" y="94"/>
                    <a:pt x="303" y="94"/>
                  </a:cubicBezTo>
                  <a:cubicBezTo>
                    <a:pt x="303" y="95"/>
                    <a:pt x="302" y="95"/>
                    <a:pt x="302" y="95"/>
                  </a:cubicBezTo>
                  <a:cubicBezTo>
                    <a:pt x="301" y="95"/>
                    <a:pt x="301" y="94"/>
                    <a:pt x="300" y="94"/>
                  </a:cubicBezTo>
                  <a:cubicBezTo>
                    <a:pt x="300" y="94"/>
                    <a:pt x="299" y="94"/>
                    <a:pt x="299" y="94"/>
                  </a:cubicBezTo>
                  <a:cubicBezTo>
                    <a:pt x="298" y="94"/>
                    <a:pt x="297" y="94"/>
                    <a:pt x="299" y="96"/>
                  </a:cubicBezTo>
                  <a:cubicBezTo>
                    <a:pt x="301" y="97"/>
                    <a:pt x="303" y="97"/>
                    <a:pt x="305" y="98"/>
                  </a:cubicBezTo>
                  <a:cubicBezTo>
                    <a:pt x="306" y="98"/>
                    <a:pt x="307" y="99"/>
                    <a:pt x="308" y="100"/>
                  </a:cubicBezTo>
                  <a:cubicBezTo>
                    <a:pt x="308" y="100"/>
                    <a:pt x="308" y="100"/>
                    <a:pt x="308" y="100"/>
                  </a:cubicBezTo>
                  <a:cubicBezTo>
                    <a:pt x="308" y="0"/>
                    <a:pt x="308" y="0"/>
                    <a:pt x="3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 name="Freeform 372">
              <a:extLst>
                <a:ext uri="{FF2B5EF4-FFF2-40B4-BE49-F238E27FC236}">
                  <a16:creationId xmlns:a16="http://schemas.microsoft.com/office/drawing/2014/main" id="{2C8DADE3-C13B-4F73-9ABC-6F9C320A74BE}"/>
                </a:ext>
              </a:extLst>
            </p:cNvPr>
            <p:cNvSpPr>
              <a:spLocks/>
            </p:cNvSpPr>
            <p:nvPr/>
          </p:nvSpPr>
          <p:spPr bwMode="auto">
            <a:xfrm>
              <a:off x="6810366" y="599309"/>
              <a:ext cx="139700" cy="38100"/>
            </a:xfrm>
            <a:custGeom>
              <a:avLst/>
              <a:gdLst>
                <a:gd name="T0" fmla="*/ 28 w 37"/>
                <a:gd name="T1" fmla="*/ 0 h 10"/>
                <a:gd name="T2" fmla="*/ 0 w 37"/>
                <a:gd name="T3" fmla="*/ 0 h 10"/>
                <a:gd name="T4" fmla="*/ 0 w 37"/>
                <a:gd name="T5" fmla="*/ 0 h 10"/>
                <a:gd name="T6" fmla="*/ 2 w 37"/>
                <a:gd name="T7" fmla="*/ 1 h 10"/>
                <a:gd name="T8" fmla="*/ 3 w 37"/>
                <a:gd name="T9" fmla="*/ 1 h 10"/>
                <a:gd name="T10" fmla="*/ 3 w 37"/>
                <a:gd name="T11" fmla="*/ 1 h 10"/>
                <a:gd name="T12" fmla="*/ 3 w 37"/>
                <a:gd name="T13" fmla="*/ 6 h 10"/>
                <a:gd name="T14" fmla="*/ 4 w 37"/>
                <a:gd name="T15" fmla="*/ 6 h 10"/>
                <a:gd name="T16" fmla="*/ 5 w 37"/>
                <a:gd name="T17" fmla="*/ 8 h 10"/>
                <a:gd name="T18" fmla="*/ 8 w 37"/>
                <a:gd name="T19" fmla="*/ 9 h 10"/>
                <a:gd name="T20" fmla="*/ 8 w 37"/>
                <a:gd name="T21" fmla="*/ 9 h 10"/>
                <a:gd name="T22" fmla="*/ 8 w 37"/>
                <a:gd name="T23" fmla="*/ 9 h 10"/>
                <a:gd name="T24" fmla="*/ 9 w 37"/>
                <a:gd name="T25" fmla="*/ 9 h 10"/>
                <a:gd name="T26" fmla="*/ 19 w 37"/>
                <a:gd name="T27" fmla="*/ 10 h 10"/>
                <a:gd name="T28" fmla="*/ 21 w 37"/>
                <a:gd name="T29" fmla="*/ 10 h 10"/>
                <a:gd name="T30" fmla="*/ 37 w 37"/>
                <a:gd name="T31" fmla="*/ 4 h 10"/>
                <a:gd name="T32" fmla="*/ 28 w 37"/>
                <a:gd name="T3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10">
                  <a:moveTo>
                    <a:pt x="28" y="0"/>
                  </a:moveTo>
                  <a:cubicBezTo>
                    <a:pt x="0" y="0"/>
                    <a:pt x="0" y="0"/>
                    <a:pt x="0" y="0"/>
                  </a:cubicBezTo>
                  <a:cubicBezTo>
                    <a:pt x="0" y="0"/>
                    <a:pt x="0" y="0"/>
                    <a:pt x="0" y="0"/>
                  </a:cubicBezTo>
                  <a:cubicBezTo>
                    <a:pt x="1" y="1"/>
                    <a:pt x="1" y="1"/>
                    <a:pt x="2" y="1"/>
                  </a:cubicBezTo>
                  <a:cubicBezTo>
                    <a:pt x="3" y="1"/>
                    <a:pt x="3" y="1"/>
                    <a:pt x="3" y="1"/>
                  </a:cubicBezTo>
                  <a:cubicBezTo>
                    <a:pt x="3" y="1"/>
                    <a:pt x="3" y="1"/>
                    <a:pt x="3" y="1"/>
                  </a:cubicBezTo>
                  <a:cubicBezTo>
                    <a:pt x="6" y="1"/>
                    <a:pt x="5" y="5"/>
                    <a:pt x="3" y="6"/>
                  </a:cubicBezTo>
                  <a:cubicBezTo>
                    <a:pt x="3" y="6"/>
                    <a:pt x="4" y="6"/>
                    <a:pt x="4" y="6"/>
                  </a:cubicBezTo>
                  <a:cubicBezTo>
                    <a:pt x="7" y="6"/>
                    <a:pt x="4" y="8"/>
                    <a:pt x="5" y="8"/>
                  </a:cubicBezTo>
                  <a:cubicBezTo>
                    <a:pt x="5" y="9"/>
                    <a:pt x="6" y="9"/>
                    <a:pt x="8" y="9"/>
                  </a:cubicBezTo>
                  <a:cubicBezTo>
                    <a:pt x="8" y="9"/>
                    <a:pt x="8" y="9"/>
                    <a:pt x="8" y="9"/>
                  </a:cubicBezTo>
                  <a:cubicBezTo>
                    <a:pt x="8" y="9"/>
                    <a:pt x="8" y="9"/>
                    <a:pt x="8" y="9"/>
                  </a:cubicBezTo>
                  <a:cubicBezTo>
                    <a:pt x="8" y="9"/>
                    <a:pt x="9" y="9"/>
                    <a:pt x="9" y="9"/>
                  </a:cubicBezTo>
                  <a:cubicBezTo>
                    <a:pt x="12" y="9"/>
                    <a:pt x="15" y="10"/>
                    <a:pt x="19" y="10"/>
                  </a:cubicBezTo>
                  <a:cubicBezTo>
                    <a:pt x="19" y="10"/>
                    <a:pt x="20" y="10"/>
                    <a:pt x="21" y="10"/>
                  </a:cubicBezTo>
                  <a:cubicBezTo>
                    <a:pt x="26" y="10"/>
                    <a:pt x="34" y="8"/>
                    <a:pt x="37" y="4"/>
                  </a:cubicBezTo>
                  <a:cubicBezTo>
                    <a:pt x="34" y="3"/>
                    <a:pt x="31" y="1"/>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 name="Freeform 377">
              <a:extLst>
                <a:ext uri="{FF2B5EF4-FFF2-40B4-BE49-F238E27FC236}">
                  <a16:creationId xmlns:a16="http://schemas.microsoft.com/office/drawing/2014/main" id="{A8E66C9D-0015-4341-ACD4-ED2C607519EC}"/>
                </a:ext>
              </a:extLst>
            </p:cNvPr>
            <p:cNvSpPr>
              <a:spLocks noEditPoints="1"/>
            </p:cNvSpPr>
            <p:nvPr/>
          </p:nvSpPr>
          <p:spPr bwMode="auto">
            <a:xfrm>
              <a:off x="4427529" y="1831209"/>
              <a:ext cx="3697288" cy="2200275"/>
            </a:xfrm>
            <a:custGeom>
              <a:avLst/>
              <a:gdLst>
                <a:gd name="T0" fmla="*/ 73 w 985"/>
                <a:gd name="T1" fmla="*/ 586 h 586"/>
                <a:gd name="T2" fmla="*/ 73 w 985"/>
                <a:gd name="T3" fmla="*/ 586 h 586"/>
                <a:gd name="T4" fmla="*/ 73 w 985"/>
                <a:gd name="T5" fmla="*/ 586 h 586"/>
                <a:gd name="T6" fmla="*/ 985 w 985"/>
                <a:gd name="T7" fmla="*/ 212 h 586"/>
                <a:gd name="T8" fmla="*/ 985 w 985"/>
                <a:gd name="T9" fmla="*/ 212 h 586"/>
                <a:gd name="T10" fmla="*/ 985 w 985"/>
                <a:gd name="T11" fmla="*/ 212 h 586"/>
                <a:gd name="T12" fmla="*/ 831 w 985"/>
                <a:gd name="T13" fmla="*/ 98 h 586"/>
                <a:gd name="T14" fmla="*/ 831 w 985"/>
                <a:gd name="T15" fmla="*/ 98 h 586"/>
                <a:gd name="T16" fmla="*/ 831 w 985"/>
                <a:gd name="T17" fmla="*/ 98 h 586"/>
                <a:gd name="T18" fmla="*/ 848 w 985"/>
                <a:gd name="T19" fmla="*/ 91 h 586"/>
                <a:gd name="T20" fmla="*/ 848 w 985"/>
                <a:gd name="T21" fmla="*/ 91 h 586"/>
                <a:gd name="T22" fmla="*/ 848 w 985"/>
                <a:gd name="T23" fmla="*/ 91 h 586"/>
                <a:gd name="T24" fmla="*/ 846 w 985"/>
                <a:gd name="T25" fmla="*/ 89 h 586"/>
                <a:gd name="T26" fmla="*/ 846 w 985"/>
                <a:gd name="T27" fmla="*/ 89 h 586"/>
                <a:gd name="T28" fmla="*/ 846 w 985"/>
                <a:gd name="T29" fmla="*/ 89 h 586"/>
                <a:gd name="T30" fmla="*/ 874 w 985"/>
                <a:gd name="T31" fmla="*/ 4 h 586"/>
                <a:gd name="T32" fmla="*/ 874 w 985"/>
                <a:gd name="T33" fmla="*/ 4 h 586"/>
                <a:gd name="T34" fmla="*/ 874 w 985"/>
                <a:gd name="T35" fmla="*/ 4 h 586"/>
                <a:gd name="T36" fmla="*/ 1 w 985"/>
                <a:gd name="T37" fmla="*/ 0 h 586"/>
                <a:gd name="T38" fmla="*/ 0 w 985"/>
                <a:gd name="T39" fmla="*/ 0 h 586"/>
                <a:gd name="T40" fmla="*/ 1 w 985"/>
                <a:gd name="T41"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5" h="586">
                  <a:moveTo>
                    <a:pt x="73" y="586"/>
                  </a:moveTo>
                  <a:cubicBezTo>
                    <a:pt x="73" y="586"/>
                    <a:pt x="73" y="586"/>
                    <a:pt x="73" y="586"/>
                  </a:cubicBezTo>
                  <a:cubicBezTo>
                    <a:pt x="73" y="586"/>
                    <a:pt x="73" y="586"/>
                    <a:pt x="73" y="586"/>
                  </a:cubicBezTo>
                  <a:moveTo>
                    <a:pt x="985" y="212"/>
                  </a:moveTo>
                  <a:cubicBezTo>
                    <a:pt x="985" y="212"/>
                    <a:pt x="985" y="212"/>
                    <a:pt x="985" y="212"/>
                  </a:cubicBezTo>
                  <a:cubicBezTo>
                    <a:pt x="985" y="212"/>
                    <a:pt x="985" y="212"/>
                    <a:pt x="985" y="212"/>
                  </a:cubicBezTo>
                  <a:moveTo>
                    <a:pt x="831" y="98"/>
                  </a:moveTo>
                  <a:cubicBezTo>
                    <a:pt x="831" y="98"/>
                    <a:pt x="831" y="98"/>
                    <a:pt x="831" y="98"/>
                  </a:cubicBezTo>
                  <a:cubicBezTo>
                    <a:pt x="831" y="98"/>
                    <a:pt x="831" y="98"/>
                    <a:pt x="831" y="98"/>
                  </a:cubicBezTo>
                  <a:moveTo>
                    <a:pt x="848" y="91"/>
                  </a:moveTo>
                  <a:cubicBezTo>
                    <a:pt x="848" y="91"/>
                    <a:pt x="848" y="91"/>
                    <a:pt x="848" y="91"/>
                  </a:cubicBezTo>
                  <a:cubicBezTo>
                    <a:pt x="848" y="91"/>
                    <a:pt x="848" y="91"/>
                    <a:pt x="848" y="91"/>
                  </a:cubicBezTo>
                  <a:moveTo>
                    <a:pt x="846" y="89"/>
                  </a:moveTo>
                  <a:cubicBezTo>
                    <a:pt x="846" y="89"/>
                    <a:pt x="846" y="89"/>
                    <a:pt x="846" y="89"/>
                  </a:cubicBezTo>
                  <a:cubicBezTo>
                    <a:pt x="846" y="89"/>
                    <a:pt x="846" y="89"/>
                    <a:pt x="846" y="89"/>
                  </a:cubicBezTo>
                  <a:moveTo>
                    <a:pt x="874" y="4"/>
                  </a:moveTo>
                  <a:cubicBezTo>
                    <a:pt x="874" y="4"/>
                    <a:pt x="874" y="4"/>
                    <a:pt x="874" y="4"/>
                  </a:cubicBezTo>
                  <a:cubicBezTo>
                    <a:pt x="874" y="4"/>
                    <a:pt x="874" y="4"/>
                    <a:pt x="874" y="4"/>
                  </a:cubicBezTo>
                  <a:moveTo>
                    <a:pt x="1" y="0"/>
                  </a:move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 name="Freeform 378">
              <a:extLst>
                <a:ext uri="{FF2B5EF4-FFF2-40B4-BE49-F238E27FC236}">
                  <a16:creationId xmlns:a16="http://schemas.microsoft.com/office/drawing/2014/main" id="{D1C5644D-D733-436A-B269-5139EAD84EBE}"/>
                </a:ext>
              </a:extLst>
            </p:cNvPr>
            <p:cNvSpPr>
              <a:spLocks/>
            </p:cNvSpPr>
            <p:nvPr/>
          </p:nvSpPr>
          <p:spPr bwMode="auto">
            <a:xfrm>
              <a:off x="9145579" y="8043097"/>
              <a:ext cx="890588" cy="671513"/>
            </a:xfrm>
            <a:custGeom>
              <a:avLst/>
              <a:gdLst>
                <a:gd name="T0" fmla="*/ 132 w 237"/>
                <a:gd name="T1" fmla="*/ 5 h 179"/>
                <a:gd name="T2" fmla="*/ 106 w 237"/>
                <a:gd name="T3" fmla="*/ 26 h 179"/>
                <a:gd name="T4" fmla="*/ 87 w 237"/>
                <a:gd name="T5" fmla="*/ 26 h 179"/>
                <a:gd name="T6" fmla="*/ 78 w 237"/>
                <a:gd name="T7" fmla="*/ 40 h 179"/>
                <a:gd name="T8" fmla="*/ 76 w 237"/>
                <a:gd name="T9" fmla="*/ 35 h 179"/>
                <a:gd name="T10" fmla="*/ 79 w 237"/>
                <a:gd name="T11" fmla="*/ 35 h 179"/>
                <a:gd name="T12" fmla="*/ 78 w 237"/>
                <a:gd name="T13" fmla="*/ 34 h 179"/>
                <a:gd name="T14" fmla="*/ 67 w 237"/>
                <a:gd name="T15" fmla="*/ 31 h 179"/>
                <a:gd name="T16" fmla="*/ 58 w 237"/>
                <a:gd name="T17" fmla="*/ 41 h 179"/>
                <a:gd name="T18" fmla="*/ 52 w 237"/>
                <a:gd name="T19" fmla="*/ 52 h 179"/>
                <a:gd name="T20" fmla="*/ 47 w 237"/>
                <a:gd name="T21" fmla="*/ 71 h 179"/>
                <a:gd name="T22" fmla="*/ 41 w 237"/>
                <a:gd name="T23" fmla="*/ 72 h 179"/>
                <a:gd name="T24" fmla="*/ 21 w 237"/>
                <a:gd name="T25" fmla="*/ 90 h 179"/>
                <a:gd name="T26" fmla="*/ 24 w 237"/>
                <a:gd name="T27" fmla="*/ 106 h 179"/>
                <a:gd name="T28" fmla="*/ 11 w 237"/>
                <a:gd name="T29" fmla="*/ 91 h 179"/>
                <a:gd name="T30" fmla="*/ 17 w 237"/>
                <a:gd name="T31" fmla="*/ 104 h 179"/>
                <a:gd name="T32" fmla="*/ 10 w 237"/>
                <a:gd name="T33" fmla="*/ 113 h 179"/>
                <a:gd name="T34" fmla="*/ 3 w 237"/>
                <a:gd name="T35" fmla="*/ 118 h 179"/>
                <a:gd name="T36" fmla="*/ 1 w 237"/>
                <a:gd name="T37" fmla="*/ 125 h 179"/>
                <a:gd name="T38" fmla="*/ 10 w 237"/>
                <a:gd name="T39" fmla="*/ 137 h 179"/>
                <a:gd name="T40" fmla="*/ 12 w 237"/>
                <a:gd name="T41" fmla="*/ 156 h 179"/>
                <a:gd name="T42" fmla="*/ 10 w 237"/>
                <a:gd name="T43" fmla="*/ 179 h 179"/>
                <a:gd name="T44" fmla="*/ 228 w 237"/>
                <a:gd name="T45" fmla="*/ 168 h 179"/>
                <a:gd name="T46" fmla="*/ 232 w 237"/>
                <a:gd name="T47" fmla="*/ 158 h 179"/>
                <a:gd name="T48" fmla="*/ 236 w 237"/>
                <a:gd name="T49" fmla="*/ 152 h 179"/>
                <a:gd name="T50" fmla="*/ 230 w 237"/>
                <a:gd name="T51" fmla="*/ 147 h 179"/>
                <a:gd name="T52" fmla="*/ 211 w 237"/>
                <a:gd name="T53" fmla="*/ 149 h 179"/>
                <a:gd name="T54" fmla="*/ 202 w 237"/>
                <a:gd name="T55" fmla="*/ 150 h 179"/>
                <a:gd name="T56" fmla="*/ 183 w 237"/>
                <a:gd name="T57" fmla="*/ 140 h 179"/>
                <a:gd name="T58" fmla="*/ 179 w 237"/>
                <a:gd name="T59" fmla="*/ 134 h 179"/>
                <a:gd name="T60" fmla="*/ 161 w 237"/>
                <a:gd name="T61" fmla="*/ 129 h 179"/>
                <a:gd name="T62" fmla="*/ 148 w 237"/>
                <a:gd name="T63" fmla="*/ 130 h 179"/>
                <a:gd name="T64" fmla="*/ 138 w 237"/>
                <a:gd name="T65" fmla="*/ 130 h 179"/>
                <a:gd name="T66" fmla="*/ 129 w 237"/>
                <a:gd name="T67" fmla="*/ 124 h 179"/>
                <a:gd name="T68" fmla="*/ 127 w 237"/>
                <a:gd name="T69" fmla="*/ 121 h 179"/>
                <a:gd name="T70" fmla="*/ 122 w 237"/>
                <a:gd name="T71" fmla="*/ 103 h 179"/>
                <a:gd name="T72" fmla="*/ 120 w 237"/>
                <a:gd name="T73" fmla="*/ 94 h 179"/>
                <a:gd name="T74" fmla="*/ 112 w 237"/>
                <a:gd name="T75" fmla="*/ 81 h 179"/>
                <a:gd name="T76" fmla="*/ 109 w 237"/>
                <a:gd name="T77" fmla="*/ 78 h 179"/>
                <a:gd name="T78" fmla="*/ 100 w 237"/>
                <a:gd name="T79" fmla="*/ 79 h 179"/>
                <a:gd name="T80" fmla="*/ 102 w 237"/>
                <a:gd name="T81" fmla="*/ 71 h 179"/>
                <a:gd name="T82" fmla="*/ 109 w 237"/>
                <a:gd name="T83" fmla="*/ 58 h 179"/>
                <a:gd name="T84" fmla="*/ 114 w 237"/>
                <a:gd name="T85" fmla="*/ 40 h 179"/>
                <a:gd name="T86" fmla="*/ 116 w 237"/>
                <a:gd name="T87" fmla="*/ 36 h 179"/>
                <a:gd name="T88" fmla="*/ 125 w 237"/>
                <a:gd name="T89" fmla="*/ 28 h 179"/>
                <a:gd name="T90" fmla="*/ 128 w 237"/>
                <a:gd name="T91" fmla="*/ 23 h 179"/>
                <a:gd name="T92" fmla="*/ 141 w 237"/>
                <a:gd name="T93" fmla="*/ 14 h 179"/>
                <a:gd name="T94" fmla="*/ 151 w 237"/>
                <a:gd name="T95" fmla="*/ 12 h 179"/>
                <a:gd name="T96" fmla="*/ 154 w 237"/>
                <a:gd name="T97"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 h="179">
                  <a:moveTo>
                    <a:pt x="143" y="0"/>
                  </a:moveTo>
                  <a:cubicBezTo>
                    <a:pt x="143" y="0"/>
                    <a:pt x="143" y="0"/>
                    <a:pt x="142" y="0"/>
                  </a:cubicBezTo>
                  <a:cubicBezTo>
                    <a:pt x="139" y="0"/>
                    <a:pt x="134" y="3"/>
                    <a:pt x="132" y="5"/>
                  </a:cubicBezTo>
                  <a:cubicBezTo>
                    <a:pt x="129" y="6"/>
                    <a:pt x="128" y="11"/>
                    <a:pt x="126" y="14"/>
                  </a:cubicBezTo>
                  <a:cubicBezTo>
                    <a:pt x="122" y="16"/>
                    <a:pt x="118" y="18"/>
                    <a:pt x="114" y="20"/>
                  </a:cubicBezTo>
                  <a:cubicBezTo>
                    <a:pt x="111" y="22"/>
                    <a:pt x="109" y="25"/>
                    <a:pt x="106" y="26"/>
                  </a:cubicBezTo>
                  <a:cubicBezTo>
                    <a:pt x="103" y="27"/>
                    <a:pt x="100" y="28"/>
                    <a:pt x="97" y="28"/>
                  </a:cubicBezTo>
                  <a:cubicBezTo>
                    <a:pt x="94" y="28"/>
                    <a:pt x="92" y="27"/>
                    <a:pt x="89" y="27"/>
                  </a:cubicBezTo>
                  <a:cubicBezTo>
                    <a:pt x="88" y="26"/>
                    <a:pt x="87" y="26"/>
                    <a:pt x="87" y="26"/>
                  </a:cubicBezTo>
                  <a:cubicBezTo>
                    <a:pt x="86" y="26"/>
                    <a:pt x="86" y="26"/>
                    <a:pt x="85" y="26"/>
                  </a:cubicBezTo>
                  <a:cubicBezTo>
                    <a:pt x="83" y="28"/>
                    <a:pt x="82" y="33"/>
                    <a:pt x="81" y="36"/>
                  </a:cubicBezTo>
                  <a:cubicBezTo>
                    <a:pt x="80" y="38"/>
                    <a:pt x="79" y="40"/>
                    <a:pt x="78" y="40"/>
                  </a:cubicBezTo>
                  <a:cubicBezTo>
                    <a:pt x="77" y="40"/>
                    <a:pt x="76" y="39"/>
                    <a:pt x="74" y="38"/>
                  </a:cubicBezTo>
                  <a:cubicBezTo>
                    <a:pt x="74" y="39"/>
                    <a:pt x="74" y="39"/>
                    <a:pt x="74" y="39"/>
                  </a:cubicBezTo>
                  <a:cubicBezTo>
                    <a:pt x="74" y="38"/>
                    <a:pt x="75" y="36"/>
                    <a:pt x="76" y="35"/>
                  </a:cubicBezTo>
                  <a:cubicBezTo>
                    <a:pt x="76" y="34"/>
                    <a:pt x="77" y="34"/>
                    <a:pt x="77" y="34"/>
                  </a:cubicBezTo>
                  <a:cubicBezTo>
                    <a:pt x="78" y="34"/>
                    <a:pt x="78" y="34"/>
                    <a:pt x="78" y="35"/>
                  </a:cubicBezTo>
                  <a:cubicBezTo>
                    <a:pt x="79" y="35"/>
                    <a:pt x="79" y="35"/>
                    <a:pt x="79" y="35"/>
                  </a:cubicBezTo>
                  <a:cubicBezTo>
                    <a:pt x="80" y="35"/>
                    <a:pt x="80" y="35"/>
                    <a:pt x="80" y="35"/>
                  </a:cubicBezTo>
                  <a:cubicBezTo>
                    <a:pt x="80" y="35"/>
                    <a:pt x="81" y="34"/>
                    <a:pt x="81" y="34"/>
                  </a:cubicBezTo>
                  <a:cubicBezTo>
                    <a:pt x="80" y="34"/>
                    <a:pt x="79" y="34"/>
                    <a:pt x="78" y="34"/>
                  </a:cubicBezTo>
                  <a:cubicBezTo>
                    <a:pt x="77" y="34"/>
                    <a:pt x="76" y="34"/>
                    <a:pt x="75" y="34"/>
                  </a:cubicBezTo>
                  <a:cubicBezTo>
                    <a:pt x="74" y="33"/>
                    <a:pt x="70" y="31"/>
                    <a:pt x="68" y="31"/>
                  </a:cubicBezTo>
                  <a:cubicBezTo>
                    <a:pt x="68" y="31"/>
                    <a:pt x="67" y="31"/>
                    <a:pt x="67" y="31"/>
                  </a:cubicBezTo>
                  <a:cubicBezTo>
                    <a:pt x="66" y="33"/>
                    <a:pt x="64" y="36"/>
                    <a:pt x="62" y="37"/>
                  </a:cubicBezTo>
                  <a:cubicBezTo>
                    <a:pt x="61" y="37"/>
                    <a:pt x="59" y="38"/>
                    <a:pt x="59" y="39"/>
                  </a:cubicBezTo>
                  <a:cubicBezTo>
                    <a:pt x="59" y="40"/>
                    <a:pt x="59" y="40"/>
                    <a:pt x="58" y="41"/>
                  </a:cubicBezTo>
                  <a:cubicBezTo>
                    <a:pt x="57" y="42"/>
                    <a:pt x="54" y="42"/>
                    <a:pt x="52" y="44"/>
                  </a:cubicBezTo>
                  <a:cubicBezTo>
                    <a:pt x="50" y="47"/>
                    <a:pt x="51" y="51"/>
                    <a:pt x="48" y="54"/>
                  </a:cubicBezTo>
                  <a:cubicBezTo>
                    <a:pt x="49" y="53"/>
                    <a:pt x="51" y="52"/>
                    <a:pt x="52" y="52"/>
                  </a:cubicBezTo>
                  <a:cubicBezTo>
                    <a:pt x="52" y="55"/>
                    <a:pt x="50" y="59"/>
                    <a:pt x="49" y="63"/>
                  </a:cubicBezTo>
                  <a:cubicBezTo>
                    <a:pt x="47" y="65"/>
                    <a:pt x="51" y="65"/>
                    <a:pt x="50" y="67"/>
                  </a:cubicBezTo>
                  <a:cubicBezTo>
                    <a:pt x="49" y="68"/>
                    <a:pt x="49" y="71"/>
                    <a:pt x="47" y="71"/>
                  </a:cubicBezTo>
                  <a:cubicBezTo>
                    <a:pt x="47" y="71"/>
                    <a:pt x="47" y="71"/>
                    <a:pt x="47" y="71"/>
                  </a:cubicBezTo>
                  <a:cubicBezTo>
                    <a:pt x="46" y="71"/>
                    <a:pt x="46" y="71"/>
                    <a:pt x="46" y="71"/>
                  </a:cubicBezTo>
                  <a:cubicBezTo>
                    <a:pt x="44" y="71"/>
                    <a:pt x="43" y="71"/>
                    <a:pt x="41" y="72"/>
                  </a:cubicBezTo>
                  <a:cubicBezTo>
                    <a:pt x="37" y="74"/>
                    <a:pt x="36" y="79"/>
                    <a:pt x="34" y="82"/>
                  </a:cubicBezTo>
                  <a:cubicBezTo>
                    <a:pt x="32" y="85"/>
                    <a:pt x="26" y="88"/>
                    <a:pt x="23" y="89"/>
                  </a:cubicBezTo>
                  <a:cubicBezTo>
                    <a:pt x="23" y="89"/>
                    <a:pt x="21" y="89"/>
                    <a:pt x="21" y="90"/>
                  </a:cubicBezTo>
                  <a:cubicBezTo>
                    <a:pt x="18" y="92"/>
                    <a:pt x="21" y="94"/>
                    <a:pt x="23" y="97"/>
                  </a:cubicBezTo>
                  <a:cubicBezTo>
                    <a:pt x="23" y="98"/>
                    <a:pt x="24" y="102"/>
                    <a:pt x="24" y="103"/>
                  </a:cubicBezTo>
                  <a:cubicBezTo>
                    <a:pt x="24" y="104"/>
                    <a:pt x="24" y="106"/>
                    <a:pt x="24" y="106"/>
                  </a:cubicBezTo>
                  <a:cubicBezTo>
                    <a:pt x="24" y="106"/>
                    <a:pt x="23" y="106"/>
                    <a:pt x="23" y="106"/>
                  </a:cubicBezTo>
                  <a:cubicBezTo>
                    <a:pt x="22" y="106"/>
                    <a:pt x="22" y="105"/>
                    <a:pt x="21" y="104"/>
                  </a:cubicBezTo>
                  <a:cubicBezTo>
                    <a:pt x="19" y="99"/>
                    <a:pt x="15" y="95"/>
                    <a:pt x="11" y="91"/>
                  </a:cubicBezTo>
                  <a:cubicBezTo>
                    <a:pt x="11" y="91"/>
                    <a:pt x="11" y="92"/>
                    <a:pt x="11" y="92"/>
                  </a:cubicBezTo>
                  <a:cubicBezTo>
                    <a:pt x="12" y="93"/>
                    <a:pt x="12" y="95"/>
                    <a:pt x="13" y="97"/>
                  </a:cubicBezTo>
                  <a:cubicBezTo>
                    <a:pt x="14" y="98"/>
                    <a:pt x="15" y="101"/>
                    <a:pt x="17" y="104"/>
                  </a:cubicBezTo>
                  <a:cubicBezTo>
                    <a:pt x="18" y="107"/>
                    <a:pt x="18" y="107"/>
                    <a:pt x="18" y="107"/>
                  </a:cubicBezTo>
                  <a:cubicBezTo>
                    <a:pt x="16" y="108"/>
                    <a:pt x="16" y="108"/>
                    <a:pt x="16" y="108"/>
                  </a:cubicBezTo>
                  <a:cubicBezTo>
                    <a:pt x="13" y="110"/>
                    <a:pt x="12" y="111"/>
                    <a:pt x="10" y="113"/>
                  </a:cubicBezTo>
                  <a:cubicBezTo>
                    <a:pt x="8" y="116"/>
                    <a:pt x="7" y="118"/>
                    <a:pt x="5" y="118"/>
                  </a:cubicBezTo>
                  <a:cubicBezTo>
                    <a:pt x="5" y="118"/>
                    <a:pt x="5" y="118"/>
                    <a:pt x="5" y="118"/>
                  </a:cubicBezTo>
                  <a:cubicBezTo>
                    <a:pt x="3" y="118"/>
                    <a:pt x="3" y="118"/>
                    <a:pt x="3" y="118"/>
                  </a:cubicBezTo>
                  <a:cubicBezTo>
                    <a:pt x="3" y="119"/>
                    <a:pt x="2" y="120"/>
                    <a:pt x="1" y="121"/>
                  </a:cubicBezTo>
                  <a:cubicBezTo>
                    <a:pt x="1" y="122"/>
                    <a:pt x="1" y="122"/>
                    <a:pt x="1" y="122"/>
                  </a:cubicBezTo>
                  <a:cubicBezTo>
                    <a:pt x="1" y="125"/>
                    <a:pt x="1" y="125"/>
                    <a:pt x="1" y="125"/>
                  </a:cubicBezTo>
                  <a:cubicBezTo>
                    <a:pt x="0" y="125"/>
                    <a:pt x="0" y="125"/>
                    <a:pt x="0" y="125"/>
                  </a:cubicBezTo>
                  <a:cubicBezTo>
                    <a:pt x="2" y="128"/>
                    <a:pt x="4" y="130"/>
                    <a:pt x="6" y="133"/>
                  </a:cubicBezTo>
                  <a:cubicBezTo>
                    <a:pt x="7" y="134"/>
                    <a:pt x="9" y="136"/>
                    <a:pt x="10" y="137"/>
                  </a:cubicBezTo>
                  <a:cubicBezTo>
                    <a:pt x="10" y="140"/>
                    <a:pt x="7" y="142"/>
                    <a:pt x="7" y="145"/>
                  </a:cubicBezTo>
                  <a:cubicBezTo>
                    <a:pt x="7" y="148"/>
                    <a:pt x="10" y="151"/>
                    <a:pt x="11" y="154"/>
                  </a:cubicBezTo>
                  <a:cubicBezTo>
                    <a:pt x="11" y="154"/>
                    <a:pt x="12" y="155"/>
                    <a:pt x="12" y="156"/>
                  </a:cubicBezTo>
                  <a:cubicBezTo>
                    <a:pt x="12" y="159"/>
                    <a:pt x="6" y="160"/>
                    <a:pt x="6" y="162"/>
                  </a:cubicBezTo>
                  <a:cubicBezTo>
                    <a:pt x="8" y="164"/>
                    <a:pt x="10" y="167"/>
                    <a:pt x="10" y="169"/>
                  </a:cubicBezTo>
                  <a:cubicBezTo>
                    <a:pt x="10" y="172"/>
                    <a:pt x="10" y="175"/>
                    <a:pt x="10" y="179"/>
                  </a:cubicBezTo>
                  <a:cubicBezTo>
                    <a:pt x="227" y="179"/>
                    <a:pt x="227" y="179"/>
                    <a:pt x="227" y="179"/>
                  </a:cubicBezTo>
                  <a:cubicBezTo>
                    <a:pt x="227" y="178"/>
                    <a:pt x="227" y="177"/>
                    <a:pt x="227" y="176"/>
                  </a:cubicBezTo>
                  <a:cubicBezTo>
                    <a:pt x="227" y="174"/>
                    <a:pt x="228" y="171"/>
                    <a:pt x="228" y="168"/>
                  </a:cubicBezTo>
                  <a:cubicBezTo>
                    <a:pt x="228" y="167"/>
                    <a:pt x="228" y="167"/>
                    <a:pt x="228" y="167"/>
                  </a:cubicBezTo>
                  <a:cubicBezTo>
                    <a:pt x="228" y="164"/>
                    <a:pt x="230" y="162"/>
                    <a:pt x="231" y="160"/>
                  </a:cubicBezTo>
                  <a:cubicBezTo>
                    <a:pt x="232" y="159"/>
                    <a:pt x="232" y="159"/>
                    <a:pt x="232" y="158"/>
                  </a:cubicBezTo>
                  <a:cubicBezTo>
                    <a:pt x="233" y="158"/>
                    <a:pt x="233" y="157"/>
                    <a:pt x="234" y="157"/>
                  </a:cubicBezTo>
                  <a:cubicBezTo>
                    <a:pt x="234" y="156"/>
                    <a:pt x="234" y="156"/>
                    <a:pt x="234" y="156"/>
                  </a:cubicBezTo>
                  <a:cubicBezTo>
                    <a:pt x="235" y="155"/>
                    <a:pt x="236" y="154"/>
                    <a:pt x="236" y="152"/>
                  </a:cubicBezTo>
                  <a:cubicBezTo>
                    <a:pt x="237" y="151"/>
                    <a:pt x="237" y="150"/>
                    <a:pt x="237" y="149"/>
                  </a:cubicBezTo>
                  <a:cubicBezTo>
                    <a:pt x="237" y="147"/>
                    <a:pt x="233" y="147"/>
                    <a:pt x="232" y="147"/>
                  </a:cubicBezTo>
                  <a:cubicBezTo>
                    <a:pt x="231" y="147"/>
                    <a:pt x="230" y="147"/>
                    <a:pt x="230" y="147"/>
                  </a:cubicBezTo>
                  <a:cubicBezTo>
                    <a:pt x="227" y="147"/>
                    <a:pt x="223" y="147"/>
                    <a:pt x="220" y="148"/>
                  </a:cubicBezTo>
                  <a:cubicBezTo>
                    <a:pt x="218" y="148"/>
                    <a:pt x="216" y="148"/>
                    <a:pt x="214" y="149"/>
                  </a:cubicBezTo>
                  <a:cubicBezTo>
                    <a:pt x="211" y="149"/>
                    <a:pt x="211" y="149"/>
                    <a:pt x="211" y="149"/>
                  </a:cubicBezTo>
                  <a:cubicBezTo>
                    <a:pt x="209" y="149"/>
                    <a:pt x="207" y="149"/>
                    <a:pt x="204" y="150"/>
                  </a:cubicBezTo>
                  <a:cubicBezTo>
                    <a:pt x="204" y="150"/>
                    <a:pt x="204" y="150"/>
                    <a:pt x="204" y="150"/>
                  </a:cubicBezTo>
                  <a:cubicBezTo>
                    <a:pt x="204" y="150"/>
                    <a:pt x="203" y="150"/>
                    <a:pt x="202" y="150"/>
                  </a:cubicBezTo>
                  <a:cubicBezTo>
                    <a:pt x="199" y="151"/>
                    <a:pt x="197" y="151"/>
                    <a:pt x="195" y="151"/>
                  </a:cubicBezTo>
                  <a:cubicBezTo>
                    <a:pt x="194" y="151"/>
                    <a:pt x="193" y="151"/>
                    <a:pt x="192" y="150"/>
                  </a:cubicBezTo>
                  <a:cubicBezTo>
                    <a:pt x="189" y="149"/>
                    <a:pt x="186" y="145"/>
                    <a:pt x="183" y="140"/>
                  </a:cubicBezTo>
                  <a:cubicBezTo>
                    <a:pt x="183" y="139"/>
                    <a:pt x="182" y="139"/>
                    <a:pt x="182" y="138"/>
                  </a:cubicBezTo>
                  <a:cubicBezTo>
                    <a:pt x="181" y="137"/>
                    <a:pt x="181" y="137"/>
                    <a:pt x="181" y="137"/>
                  </a:cubicBezTo>
                  <a:cubicBezTo>
                    <a:pt x="180" y="136"/>
                    <a:pt x="179" y="135"/>
                    <a:pt x="179" y="134"/>
                  </a:cubicBezTo>
                  <a:cubicBezTo>
                    <a:pt x="176" y="131"/>
                    <a:pt x="176" y="131"/>
                    <a:pt x="172" y="130"/>
                  </a:cubicBezTo>
                  <a:cubicBezTo>
                    <a:pt x="170" y="129"/>
                    <a:pt x="167" y="129"/>
                    <a:pt x="165" y="128"/>
                  </a:cubicBezTo>
                  <a:cubicBezTo>
                    <a:pt x="164" y="128"/>
                    <a:pt x="162" y="129"/>
                    <a:pt x="161" y="129"/>
                  </a:cubicBezTo>
                  <a:cubicBezTo>
                    <a:pt x="159" y="130"/>
                    <a:pt x="158" y="130"/>
                    <a:pt x="156" y="130"/>
                  </a:cubicBezTo>
                  <a:cubicBezTo>
                    <a:pt x="155" y="131"/>
                    <a:pt x="154" y="131"/>
                    <a:pt x="153" y="131"/>
                  </a:cubicBezTo>
                  <a:cubicBezTo>
                    <a:pt x="151" y="131"/>
                    <a:pt x="150" y="130"/>
                    <a:pt x="148" y="130"/>
                  </a:cubicBezTo>
                  <a:cubicBezTo>
                    <a:pt x="147" y="130"/>
                    <a:pt x="146" y="130"/>
                    <a:pt x="145" y="130"/>
                  </a:cubicBezTo>
                  <a:cubicBezTo>
                    <a:pt x="144" y="130"/>
                    <a:pt x="143" y="130"/>
                    <a:pt x="142" y="130"/>
                  </a:cubicBezTo>
                  <a:cubicBezTo>
                    <a:pt x="141" y="130"/>
                    <a:pt x="140" y="130"/>
                    <a:pt x="138" y="130"/>
                  </a:cubicBezTo>
                  <a:cubicBezTo>
                    <a:pt x="137" y="130"/>
                    <a:pt x="137" y="130"/>
                    <a:pt x="136" y="130"/>
                  </a:cubicBezTo>
                  <a:cubicBezTo>
                    <a:pt x="135" y="130"/>
                    <a:pt x="134" y="130"/>
                    <a:pt x="133" y="129"/>
                  </a:cubicBezTo>
                  <a:cubicBezTo>
                    <a:pt x="131" y="128"/>
                    <a:pt x="130" y="126"/>
                    <a:pt x="129" y="124"/>
                  </a:cubicBezTo>
                  <a:cubicBezTo>
                    <a:pt x="129" y="124"/>
                    <a:pt x="129" y="123"/>
                    <a:pt x="129" y="123"/>
                  </a:cubicBezTo>
                  <a:cubicBezTo>
                    <a:pt x="129" y="122"/>
                    <a:pt x="128" y="122"/>
                    <a:pt x="128" y="122"/>
                  </a:cubicBezTo>
                  <a:cubicBezTo>
                    <a:pt x="128" y="121"/>
                    <a:pt x="128" y="121"/>
                    <a:pt x="127" y="121"/>
                  </a:cubicBezTo>
                  <a:cubicBezTo>
                    <a:pt x="126" y="121"/>
                    <a:pt x="126" y="121"/>
                    <a:pt x="125" y="120"/>
                  </a:cubicBezTo>
                  <a:cubicBezTo>
                    <a:pt x="122" y="120"/>
                    <a:pt x="121" y="118"/>
                    <a:pt x="121" y="115"/>
                  </a:cubicBezTo>
                  <a:cubicBezTo>
                    <a:pt x="120" y="110"/>
                    <a:pt x="120" y="106"/>
                    <a:pt x="122" y="103"/>
                  </a:cubicBezTo>
                  <a:cubicBezTo>
                    <a:pt x="122" y="103"/>
                    <a:pt x="123" y="102"/>
                    <a:pt x="123" y="102"/>
                  </a:cubicBezTo>
                  <a:cubicBezTo>
                    <a:pt x="122" y="99"/>
                    <a:pt x="122" y="97"/>
                    <a:pt x="121" y="95"/>
                  </a:cubicBezTo>
                  <a:cubicBezTo>
                    <a:pt x="120" y="94"/>
                    <a:pt x="120" y="94"/>
                    <a:pt x="120" y="94"/>
                  </a:cubicBezTo>
                  <a:cubicBezTo>
                    <a:pt x="116" y="86"/>
                    <a:pt x="116" y="86"/>
                    <a:pt x="116" y="86"/>
                  </a:cubicBezTo>
                  <a:cubicBezTo>
                    <a:pt x="116" y="84"/>
                    <a:pt x="115" y="82"/>
                    <a:pt x="114" y="81"/>
                  </a:cubicBezTo>
                  <a:cubicBezTo>
                    <a:pt x="114" y="81"/>
                    <a:pt x="113" y="81"/>
                    <a:pt x="112" y="81"/>
                  </a:cubicBezTo>
                  <a:cubicBezTo>
                    <a:pt x="111" y="81"/>
                    <a:pt x="110" y="80"/>
                    <a:pt x="110" y="80"/>
                  </a:cubicBezTo>
                  <a:cubicBezTo>
                    <a:pt x="109" y="79"/>
                    <a:pt x="109" y="79"/>
                    <a:pt x="109" y="79"/>
                  </a:cubicBezTo>
                  <a:cubicBezTo>
                    <a:pt x="109" y="79"/>
                    <a:pt x="109" y="78"/>
                    <a:pt x="109" y="78"/>
                  </a:cubicBezTo>
                  <a:cubicBezTo>
                    <a:pt x="107" y="79"/>
                    <a:pt x="105" y="79"/>
                    <a:pt x="104" y="80"/>
                  </a:cubicBezTo>
                  <a:cubicBezTo>
                    <a:pt x="102" y="80"/>
                    <a:pt x="102" y="80"/>
                    <a:pt x="102" y="80"/>
                  </a:cubicBezTo>
                  <a:cubicBezTo>
                    <a:pt x="100" y="79"/>
                    <a:pt x="100" y="79"/>
                    <a:pt x="100" y="79"/>
                  </a:cubicBezTo>
                  <a:cubicBezTo>
                    <a:pt x="99" y="77"/>
                    <a:pt x="100" y="74"/>
                    <a:pt x="101" y="73"/>
                  </a:cubicBezTo>
                  <a:cubicBezTo>
                    <a:pt x="101" y="72"/>
                    <a:pt x="101" y="72"/>
                    <a:pt x="101" y="72"/>
                  </a:cubicBezTo>
                  <a:cubicBezTo>
                    <a:pt x="102" y="72"/>
                    <a:pt x="102" y="71"/>
                    <a:pt x="102" y="71"/>
                  </a:cubicBezTo>
                  <a:cubicBezTo>
                    <a:pt x="102" y="71"/>
                    <a:pt x="102" y="71"/>
                    <a:pt x="102" y="71"/>
                  </a:cubicBezTo>
                  <a:cubicBezTo>
                    <a:pt x="105" y="67"/>
                    <a:pt x="107" y="64"/>
                    <a:pt x="108" y="60"/>
                  </a:cubicBezTo>
                  <a:cubicBezTo>
                    <a:pt x="108" y="59"/>
                    <a:pt x="108" y="59"/>
                    <a:pt x="109" y="58"/>
                  </a:cubicBezTo>
                  <a:cubicBezTo>
                    <a:pt x="109" y="56"/>
                    <a:pt x="109" y="55"/>
                    <a:pt x="109" y="53"/>
                  </a:cubicBezTo>
                  <a:cubicBezTo>
                    <a:pt x="109" y="51"/>
                    <a:pt x="110" y="49"/>
                    <a:pt x="110" y="47"/>
                  </a:cubicBezTo>
                  <a:cubicBezTo>
                    <a:pt x="111" y="44"/>
                    <a:pt x="112" y="42"/>
                    <a:pt x="114" y="40"/>
                  </a:cubicBezTo>
                  <a:cubicBezTo>
                    <a:pt x="114" y="40"/>
                    <a:pt x="114" y="40"/>
                    <a:pt x="114" y="40"/>
                  </a:cubicBezTo>
                  <a:cubicBezTo>
                    <a:pt x="114" y="39"/>
                    <a:pt x="115" y="38"/>
                    <a:pt x="115" y="37"/>
                  </a:cubicBezTo>
                  <a:cubicBezTo>
                    <a:pt x="116" y="36"/>
                    <a:pt x="116" y="36"/>
                    <a:pt x="116" y="36"/>
                  </a:cubicBezTo>
                  <a:cubicBezTo>
                    <a:pt x="116" y="36"/>
                    <a:pt x="116" y="36"/>
                    <a:pt x="116" y="36"/>
                  </a:cubicBezTo>
                  <a:cubicBezTo>
                    <a:pt x="117" y="34"/>
                    <a:pt x="118" y="31"/>
                    <a:pt x="121" y="30"/>
                  </a:cubicBezTo>
                  <a:cubicBezTo>
                    <a:pt x="122" y="29"/>
                    <a:pt x="124" y="28"/>
                    <a:pt x="125" y="28"/>
                  </a:cubicBezTo>
                  <a:cubicBezTo>
                    <a:pt x="126" y="28"/>
                    <a:pt x="126" y="27"/>
                    <a:pt x="127" y="27"/>
                  </a:cubicBezTo>
                  <a:cubicBezTo>
                    <a:pt x="127" y="26"/>
                    <a:pt x="127" y="26"/>
                    <a:pt x="127" y="26"/>
                  </a:cubicBezTo>
                  <a:cubicBezTo>
                    <a:pt x="127" y="25"/>
                    <a:pt x="128" y="24"/>
                    <a:pt x="128" y="23"/>
                  </a:cubicBezTo>
                  <a:cubicBezTo>
                    <a:pt x="130" y="20"/>
                    <a:pt x="131" y="17"/>
                    <a:pt x="133" y="16"/>
                  </a:cubicBezTo>
                  <a:cubicBezTo>
                    <a:pt x="134" y="15"/>
                    <a:pt x="137" y="14"/>
                    <a:pt x="139" y="14"/>
                  </a:cubicBezTo>
                  <a:cubicBezTo>
                    <a:pt x="140" y="14"/>
                    <a:pt x="140" y="14"/>
                    <a:pt x="141" y="14"/>
                  </a:cubicBezTo>
                  <a:cubicBezTo>
                    <a:pt x="144" y="13"/>
                    <a:pt x="144" y="13"/>
                    <a:pt x="144" y="13"/>
                  </a:cubicBezTo>
                  <a:cubicBezTo>
                    <a:pt x="145" y="12"/>
                    <a:pt x="147" y="12"/>
                    <a:pt x="149" y="12"/>
                  </a:cubicBezTo>
                  <a:cubicBezTo>
                    <a:pt x="151" y="12"/>
                    <a:pt x="151" y="12"/>
                    <a:pt x="151" y="12"/>
                  </a:cubicBezTo>
                  <a:cubicBezTo>
                    <a:pt x="151" y="13"/>
                    <a:pt x="151" y="13"/>
                    <a:pt x="151" y="13"/>
                  </a:cubicBezTo>
                  <a:cubicBezTo>
                    <a:pt x="151" y="12"/>
                    <a:pt x="152" y="12"/>
                    <a:pt x="152" y="11"/>
                  </a:cubicBezTo>
                  <a:cubicBezTo>
                    <a:pt x="154" y="9"/>
                    <a:pt x="155" y="10"/>
                    <a:pt x="154" y="7"/>
                  </a:cubicBezTo>
                  <a:cubicBezTo>
                    <a:pt x="153" y="5"/>
                    <a:pt x="152" y="3"/>
                    <a:pt x="150" y="2"/>
                  </a:cubicBezTo>
                  <a:cubicBezTo>
                    <a:pt x="148" y="1"/>
                    <a:pt x="145" y="0"/>
                    <a:pt x="1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 name="Freeform 379">
              <a:extLst>
                <a:ext uri="{FF2B5EF4-FFF2-40B4-BE49-F238E27FC236}">
                  <a16:creationId xmlns:a16="http://schemas.microsoft.com/office/drawing/2014/main" id="{B1069BED-38EC-418C-B1BE-6455686C0E91}"/>
                </a:ext>
              </a:extLst>
            </p:cNvPr>
            <p:cNvSpPr>
              <a:spLocks noEditPoints="1"/>
            </p:cNvSpPr>
            <p:nvPr/>
          </p:nvSpPr>
          <p:spPr bwMode="auto">
            <a:xfrm>
              <a:off x="9555154" y="8065322"/>
              <a:ext cx="1141413" cy="649288"/>
            </a:xfrm>
            <a:custGeom>
              <a:avLst/>
              <a:gdLst>
                <a:gd name="T0" fmla="*/ 256 w 304"/>
                <a:gd name="T1" fmla="*/ 54 h 173"/>
                <a:gd name="T2" fmla="*/ 256 w 304"/>
                <a:gd name="T3" fmla="*/ 54 h 173"/>
                <a:gd name="T4" fmla="*/ 66 w 304"/>
                <a:gd name="T5" fmla="*/ 4 h 173"/>
                <a:gd name="T6" fmla="*/ 71 w 304"/>
                <a:gd name="T7" fmla="*/ 13 h 173"/>
                <a:gd name="T8" fmla="*/ 71 w 304"/>
                <a:gd name="T9" fmla="*/ 16 h 173"/>
                <a:gd name="T10" fmla="*/ 40 w 304"/>
                <a:gd name="T11" fmla="*/ 28 h 173"/>
                <a:gd name="T12" fmla="*/ 36 w 304"/>
                <a:gd name="T13" fmla="*/ 74 h 173"/>
                <a:gd name="T14" fmla="*/ 23 w 304"/>
                <a:gd name="T15" fmla="*/ 57 h 173"/>
                <a:gd name="T16" fmla="*/ 32 w 304"/>
                <a:gd name="T17" fmla="*/ 28 h 173"/>
                <a:gd name="T18" fmla="*/ 23 w 304"/>
                <a:gd name="T19" fmla="*/ 23 h 173"/>
                <a:gd name="T20" fmla="*/ 11 w 304"/>
                <a:gd name="T21" fmla="*/ 34 h 173"/>
                <a:gd name="T22" fmla="*/ 7 w 304"/>
                <a:gd name="T23" fmla="*/ 42 h 173"/>
                <a:gd name="T24" fmla="*/ 0 w 304"/>
                <a:gd name="T25" fmla="*/ 66 h 173"/>
                <a:gd name="T26" fmla="*/ 5 w 304"/>
                <a:gd name="T27" fmla="*/ 69 h 173"/>
                <a:gd name="T28" fmla="*/ 10 w 304"/>
                <a:gd name="T29" fmla="*/ 72 h 173"/>
                <a:gd name="T30" fmla="*/ 19 w 304"/>
                <a:gd name="T31" fmla="*/ 97 h 173"/>
                <a:gd name="T32" fmla="*/ 24 w 304"/>
                <a:gd name="T33" fmla="*/ 113 h 173"/>
                <a:gd name="T34" fmla="*/ 27 w 304"/>
                <a:gd name="T35" fmla="*/ 118 h 173"/>
                <a:gd name="T36" fmla="*/ 37 w 304"/>
                <a:gd name="T37" fmla="*/ 118 h 173"/>
                <a:gd name="T38" fmla="*/ 46 w 304"/>
                <a:gd name="T39" fmla="*/ 119 h 173"/>
                <a:gd name="T40" fmla="*/ 74 w 304"/>
                <a:gd name="T41" fmla="*/ 124 h 173"/>
                <a:gd name="T42" fmla="*/ 86 w 304"/>
                <a:gd name="T43" fmla="*/ 139 h 173"/>
                <a:gd name="T44" fmla="*/ 102 w 304"/>
                <a:gd name="T45" fmla="*/ 137 h 173"/>
                <a:gd name="T46" fmla="*/ 123 w 304"/>
                <a:gd name="T47" fmla="*/ 135 h 173"/>
                <a:gd name="T48" fmla="*/ 128 w 304"/>
                <a:gd name="T49" fmla="*/ 155 h 173"/>
                <a:gd name="T50" fmla="*/ 124 w 304"/>
                <a:gd name="T51" fmla="*/ 170 h 173"/>
                <a:gd name="T52" fmla="*/ 281 w 304"/>
                <a:gd name="T53" fmla="*/ 167 h 173"/>
                <a:gd name="T54" fmla="*/ 286 w 304"/>
                <a:gd name="T55" fmla="*/ 167 h 173"/>
                <a:gd name="T56" fmla="*/ 280 w 304"/>
                <a:gd name="T57" fmla="*/ 161 h 173"/>
                <a:gd name="T58" fmla="*/ 273 w 304"/>
                <a:gd name="T59" fmla="*/ 141 h 173"/>
                <a:gd name="T60" fmla="*/ 274 w 304"/>
                <a:gd name="T61" fmla="*/ 134 h 173"/>
                <a:gd name="T62" fmla="*/ 279 w 304"/>
                <a:gd name="T63" fmla="*/ 125 h 173"/>
                <a:gd name="T64" fmla="*/ 286 w 304"/>
                <a:gd name="T65" fmla="*/ 124 h 173"/>
                <a:gd name="T66" fmla="*/ 293 w 304"/>
                <a:gd name="T67" fmla="*/ 121 h 173"/>
                <a:gd name="T68" fmla="*/ 289 w 304"/>
                <a:gd name="T69" fmla="*/ 120 h 173"/>
                <a:gd name="T70" fmla="*/ 286 w 304"/>
                <a:gd name="T71" fmla="*/ 116 h 173"/>
                <a:gd name="T72" fmla="*/ 287 w 304"/>
                <a:gd name="T73" fmla="*/ 104 h 173"/>
                <a:gd name="T74" fmla="*/ 304 w 304"/>
                <a:gd name="T75" fmla="*/ 91 h 173"/>
                <a:gd name="T76" fmla="*/ 300 w 304"/>
                <a:gd name="T77" fmla="*/ 84 h 173"/>
                <a:gd name="T78" fmla="*/ 274 w 304"/>
                <a:gd name="T79" fmla="*/ 89 h 173"/>
                <a:gd name="T80" fmla="*/ 269 w 304"/>
                <a:gd name="T81" fmla="*/ 84 h 173"/>
                <a:gd name="T82" fmla="*/ 274 w 304"/>
                <a:gd name="T83" fmla="*/ 85 h 173"/>
                <a:gd name="T84" fmla="*/ 266 w 304"/>
                <a:gd name="T85" fmla="*/ 54 h 173"/>
                <a:gd name="T86" fmla="*/ 253 w 304"/>
                <a:gd name="T87" fmla="*/ 59 h 173"/>
                <a:gd name="T88" fmla="*/ 244 w 304"/>
                <a:gd name="T89" fmla="*/ 48 h 173"/>
                <a:gd name="T90" fmla="*/ 238 w 304"/>
                <a:gd name="T91" fmla="*/ 50 h 173"/>
                <a:gd name="T92" fmla="*/ 241 w 304"/>
                <a:gd name="T93" fmla="*/ 50 h 173"/>
                <a:gd name="T94" fmla="*/ 234 w 304"/>
                <a:gd name="T95" fmla="*/ 40 h 173"/>
                <a:gd name="T96" fmla="*/ 260 w 304"/>
                <a:gd name="T97" fmla="*/ 34 h 173"/>
                <a:gd name="T98" fmla="*/ 208 w 304"/>
                <a:gd name="T99" fmla="*/ 37 h 173"/>
                <a:gd name="T100" fmla="*/ 214 w 304"/>
                <a:gd name="T101" fmla="*/ 39 h 173"/>
                <a:gd name="T102" fmla="*/ 182 w 304"/>
                <a:gd name="T103" fmla="*/ 49 h 173"/>
                <a:gd name="T104" fmla="*/ 149 w 304"/>
                <a:gd name="T105" fmla="*/ 40 h 173"/>
                <a:gd name="T106" fmla="*/ 122 w 304"/>
                <a:gd name="T107" fmla="*/ 40 h 173"/>
                <a:gd name="T108" fmla="*/ 88 w 304"/>
                <a:gd name="T109" fmla="*/ 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4" h="173">
                  <a:moveTo>
                    <a:pt x="205" y="36"/>
                  </a:moveTo>
                  <a:cubicBezTo>
                    <a:pt x="205" y="36"/>
                    <a:pt x="205" y="36"/>
                    <a:pt x="205" y="36"/>
                  </a:cubicBezTo>
                  <a:cubicBezTo>
                    <a:pt x="205" y="36"/>
                    <a:pt x="205" y="36"/>
                    <a:pt x="205" y="36"/>
                  </a:cubicBezTo>
                  <a:moveTo>
                    <a:pt x="256" y="54"/>
                  </a:move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moveTo>
                    <a:pt x="71" y="0"/>
                  </a:moveTo>
                  <a:cubicBezTo>
                    <a:pt x="69" y="0"/>
                    <a:pt x="67" y="1"/>
                    <a:pt x="66" y="4"/>
                  </a:cubicBezTo>
                  <a:cubicBezTo>
                    <a:pt x="65" y="6"/>
                    <a:pt x="65" y="7"/>
                    <a:pt x="66" y="9"/>
                  </a:cubicBezTo>
                  <a:cubicBezTo>
                    <a:pt x="67" y="11"/>
                    <a:pt x="67" y="13"/>
                    <a:pt x="69" y="13"/>
                  </a:cubicBezTo>
                  <a:cubicBezTo>
                    <a:pt x="69" y="13"/>
                    <a:pt x="69" y="13"/>
                    <a:pt x="69" y="13"/>
                  </a:cubicBezTo>
                  <a:cubicBezTo>
                    <a:pt x="70" y="13"/>
                    <a:pt x="70" y="13"/>
                    <a:pt x="70" y="13"/>
                  </a:cubicBezTo>
                  <a:cubicBezTo>
                    <a:pt x="71" y="13"/>
                    <a:pt x="71" y="13"/>
                    <a:pt x="71" y="13"/>
                  </a:cubicBezTo>
                  <a:cubicBezTo>
                    <a:pt x="73" y="13"/>
                    <a:pt x="74" y="12"/>
                    <a:pt x="76" y="12"/>
                  </a:cubicBezTo>
                  <a:cubicBezTo>
                    <a:pt x="77" y="13"/>
                    <a:pt x="77" y="15"/>
                    <a:pt x="77" y="16"/>
                  </a:cubicBezTo>
                  <a:cubicBezTo>
                    <a:pt x="77" y="16"/>
                    <a:pt x="76" y="16"/>
                    <a:pt x="75" y="16"/>
                  </a:cubicBezTo>
                  <a:cubicBezTo>
                    <a:pt x="72" y="16"/>
                    <a:pt x="70" y="16"/>
                    <a:pt x="69" y="15"/>
                  </a:cubicBezTo>
                  <a:cubicBezTo>
                    <a:pt x="69" y="15"/>
                    <a:pt x="70" y="16"/>
                    <a:pt x="71" y="16"/>
                  </a:cubicBezTo>
                  <a:cubicBezTo>
                    <a:pt x="70" y="18"/>
                    <a:pt x="68" y="19"/>
                    <a:pt x="67" y="19"/>
                  </a:cubicBezTo>
                  <a:cubicBezTo>
                    <a:pt x="61" y="20"/>
                    <a:pt x="55" y="23"/>
                    <a:pt x="50" y="24"/>
                  </a:cubicBezTo>
                  <a:cubicBezTo>
                    <a:pt x="47" y="25"/>
                    <a:pt x="44" y="27"/>
                    <a:pt x="42" y="28"/>
                  </a:cubicBezTo>
                  <a:cubicBezTo>
                    <a:pt x="42" y="28"/>
                    <a:pt x="41" y="28"/>
                    <a:pt x="41" y="28"/>
                  </a:cubicBezTo>
                  <a:cubicBezTo>
                    <a:pt x="41" y="28"/>
                    <a:pt x="40" y="28"/>
                    <a:pt x="40" y="28"/>
                  </a:cubicBezTo>
                  <a:cubicBezTo>
                    <a:pt x="40" y="28"/>
                    <a:pt x="39" y="28"/>
                    <a:pt x="39" y="28"/>
                  </a:cubicBezTo>
                  <a:cubicBezTo>
                    <a:pt x="39" y="28"/>
                    <a:pt x="38" y="28"/>
                    <a:pt x="38" y="29"/>
                  </a:cubicBezTo>
                  <a:cubicBezTo>
                    <a:pt x="32" y="32"/>
                    <a:pt x="43" y="52"/>
                    <a:pt x="45" y="56"/>
                  </a:cubicBezTo>
                  <a:cubicBezTo>
                    <a:pt x="48" y="62"/>
                    <a:pt x="48" y="67"/>
                    <a:pt x="43" y="71"/>
                  </a:cubicBezTo>
                  <a:cubicBezTo>
                    <a:pt x="41" y="72"/>
                    <a:pt x="39" y="73"/>
                    <a:pt x="36" y="74"/>
                  </a:cubicBezTo>
                  <a:cubicBezTo>
                    <a:pt x="36" y="74"/>
                    <a:pt x="35" y="74"/>
                    <a:pt x="34" y="74"/>
                  </a:cubicBezTo>
                  <a:cubicBezTo>
                    <a:pt x="34" y="74"/>
                    <a:pt x="33" y="74"/>
                    <a:pt x="33" y="73"/>
                  </a:cubicBezTo>
                  <a:cubicBezTo>
                    <a:pt x="31" y="73"/>
                    <a:pt x="32" y="70"/>
                    <a:pt x="31" y="68"/>
                  </a:cubicBezTo>
                  <a:cubicBezTo>
                    <a:pt x="31" y="66"/>
                    <a:pt x="30" y="65"/>
                    <a:pt x="28" y="64"/>
                  </a:cubicBezTo>
                  <a:cubicBezTo>
                    <a:pt x="27" y="63"/>
                    <a:pt x="24" y="59"/>
                    <a:pt x="23" y="57"/>
                  </a:cubicBezTo>
                  <a:cubicBezTo>
                    <a:pt x="22" y="55"/>
                    <a:pt x="24" y="53"/>
                    <a:pt x="26" y="50"/>
                  </a:cubicBezTo>
                  <a:cubicBezTo>
                    <a:pt x="27" y="47"/>
                    <a:pt x="30" y="45"/>
                    <a:pt x="32" y="42"/>
                  </a:cubicBezTo>
                  <a:cubicBezTo>
                    <a:pt x="34" y="39"/>
                    <a:pt x="33" y="37"/>
                    <a:pt x="33" y="33"/>
                  </a:cubicBezTo>
                  <a:cubicBezTo>
                    <a:pt x="33" y="32"/>
                    <a:pt x="32" y="29"/>
                    <a:pt x="31" y="28"/>
                  </a:cubicBezTo>
                  <a:cubicBezTo>
                    <a:pt x="31" y="28"/>
                    <a:pt x="32" y="28"/>
                    <a:pt x="32" y="28"/>
                  </a:cubicBezTo>
                  <a:cubicBezTo>
                    <a:pt x="33" y="28"/>
                    <a:pt x="33" y="28"/>
                    <a:pt x="34" y="28"/>
                  </a:cubicBezTo>
                  <a:cubicBezTo>
                    <a:pt x="31" y="26"/>
                    <a:pt x="29" y="24"/>
                    <a:pt x="27" y="21"/>
                  </a:cubicBezTo>
                  <a:cubicBezTo>
                    <a:pt x="27" y="20"/>
                    <a:pt x="26" y="18"/>
                    <a:pt x="26" y="17"/>
                  </a:cubicBezTo>
                  <a:cubicBezTo>
                    <a:pt x="26" y="17"/>
                    <a:pt x="25" y="18"/>
                    <a:pt x="25" y="20"/>
                  </a:cubicBezTo>
                  <a:cubicBezTo>
                    <a:pt x="24" y="21"/>
                    <a:pt x="24" y="22"/>
                    <a:pt x="23" y="23"/>
                  </a:cubicBezTo>
                  <a:cubicBezTo>
                    <a:pt x="23" y="24"/>
                    <a:pt x="22" y="24"/>
                    <a:pt x="22" y="24"/>
                  </a:cubicBezTo>
                  <a:cubicBezTo>
                    <a:pt x="21" y="26"/>
                    <a:pt x="19" y="27"/>
                    <a:pt x="17" y="27"/>
                  </a:cubicBezTo>
                  <a:cubicBezTo>
                    <a:pt x="16" y="28"/>
                    <a:pt x="16" y="28"/>
                    <a:pt x="15" y="28"/>
                  </a:cubicBezTo>
                  <a:cubicBezTo>
                    <a:pt x="14" y="29"/>
                    <a:pt x="13" y="31"/>
                    <a:pt x="12" y="33"/>
                  </a:cubicBezTo>
                  <a:cubicBezTo>
                    <a:pt x="11" y="34"/>
                    <a:pt x="11" y="34"/>
                    <a:pt x="11" y="34"/>
                  </a:cubicBezTo>
                  <a:cubicBezTo>
                    <a:pt x="11" y="35"/>
                    <a:pt x="10" y="36"/>
                    <a:pt x="9" y="37"/>
                  </a:cubicBezTo>
                  <a:cubicBezTo>
                    <a:pt x="8" y="37"/>
                    <a:pt x="8" y="37"/>
                    <a:pt x="8" y="37"/>
                  </a:cubicBezTo>
                  <a:cubicBezTo>
                    <a:pt x="8" y="37"/>
                    <a:pt x="8" y="37"/>
                    <a:pt x="8" y="37"/>
                  </a:cubicBezTo>
                  <a:cubicBezTo>
                    <a:pt x="9" y="38"/>
                    <a:pt x="9" y="38"/>
                    <a:pt x="9" y="38"/>
                  </a:cubicBezTo>
                  <a:cubicBezTo>
                    <a:pt x="8" y="39"/>
                    <a:pt x="7" y="41"/>
                    <a:pt x="7" y="42"/>
                  </a:cubicBezTo>
                  <a:cubicBezTo>
                    <a:pt x="6" y="44"/>
                    <a:pt x="6" y="46"/>
                    <a:pt x="6" y="48"/>
                  </a:cubicBezTo>
                  <a:cubicBezTo>
                    <a:pt x="6" y="48"/>
                    <a:pt x="6" y="48"/>
                    <a:pt x="6" y="48"/>
                  </a:cubicBezTo>
                  <a:cubicBezTo>
                    <a:pt x="6" y="50"/>
                    <a:pt x="5" y="51"/>
                    <a:pt x="5" y="53"/>
                  </a:cubicBezTo>
                  <a:cubicBezTo>
                    <a:pt x="5" y="54"/>
                    <a:pt x="5" y="55"/>
                    <a:pt x="4" y="56"/>
                  </a:cubicBezTo>
                  <a:cubicBezTo>
                    <a:pt x="3" y="60"/>
                    <a:pt x="2" y="63"/>
                    <a:pt x="0" y="66"/>
                  </a:cubicBezTo>
                  <a:cubicBezTo>
                    <a:pt x="0" y="66"/>
                    <a:pt x="1" y="65"/>
                    <a:pt x="1" y="65"/>
                  </a:cubicBezTo>
                  <a:cubicBezTo>
                    <a:pt x="4" y="64"/>
                    <a:pt x="4" y="64"/>
                    <a:pt x="4" y="64"/>
                  </a:cubicBezTo>
                  <a:cubicBezTo>
                    <a:pt x="5" y="67"/>
                    <a:pt x="5" y="67"/>
                    <a:pt x="5" y="67"/>
                  </a:cubicBezTo>
                  <a:cubicBezTo>
                    <a:pt x="5" y="68"/>
                    <a:pt x="5" y="68"/>
                    <a:pt x="5" y="69"/>
                  </a:cubicBezTo>
                  <a:cubicBezTo>
                    <a:pt x="5" y="69"/>
                    <a:pt x="5" y="69"/>
                    <a:pt x="5" y="69"/>
                  </a:cubicBezTo>
                  <a:cubicBezTo>
                    <a:pt x="5" y="69"/>
                    <a:pt x="5" y="69"/>
                    <a:pt x="5" y="69"/>
                  </a:cubicBezTo>
                  <a:cubicBezTo>
                    <a:pt x="6" y="69"/>
                    <a:pt x="6" y="69"/>
                    <a:pt x="6" y="69"/>
                  </a:cubicBezTo>
                  <a:cubicBezTo>
                    <a:pt x="6" y="69"/>
                    <a:pt x="6" y="69"/>
                    <a:pt x="6" y="69"/>
                  </a:cubicBezTo>
                  <a:cubicBezTo>
                    <a:pt x="7" y="69"/>
                    <a:pt x="7" y="69"/>
                    <a:pt x="7" y="69"/>
                  </a:cubicBezTo>
                  <a:cubicBezTo>
                    <a:pt x="9" y="70"/>
                    <a:pt x="9" y="71"/>
                    <a:pt x="10" y="72"/>
                  </a:cubicBezTo>
                  <a:cubicBezTo>
                    <a:pt x="11" y="74"/>
                    <a:pt x="12" y="76"/>
                    <a:pt x="13" y="79"/>
                  </a:cubicBezTo>
                  <a:cubicBezTo>
                    <a:pt x="17" y="86"/>
                    <a:pt x="17" y="86"/>
                    <a:pt x="17" y="86"/>
                  </a:cubicBezTo>
                  <a:cubicBezTo>
                    <a:pt x="18" y="89"/>
                    <a:pt x="19" y="92"/>
                    <a:pt x="19" y="96"/>
                  </a:cubicBezTo>
                  <a:cubicBezTo>
                    <a:pt x="19" y="96"/>
                    <a:pt x="19" y="96"/>
                    <a:pt x="19" y="96"/>
                  </a:cubicBezTo>
                  <a:cubicBezTo>
                    <a:pt x="19" y="97"/>
                    <a:pt x="19" y="97"/>
                    <a:pt x="19" y="97"/>
                  </a:cubicBezTo>
                  <a:cubicBezTo>
                    <a:pt x="19" y="98"/>
                    <a:pt x="19" y="99"/>
                    <a:pt x="18" y="100"/>
                  </a:cubicBezTo>
                  <a:cubicBezTo>
                    <a:pt x="17" y="102"/>
                    <a:pt x="17" y="105"/>
                    <a:pt x="17" y="108"/>
                  </a:cubicBezTo>
                  <a:cubicBezTo>
                    <a:pt x="17" y="108"/>
                    <a:pt x="18" y="109"/>
                    <a:pt x="18" y="109"/>
                  </a:cubicBezTo>
                  <a:cubicBezTo>
                    <a:pt x="18" y="109"/>
                    <a:pt x="18" y="109"/>
                    <a:pt x="19" y="109"/>
                  </a:cubicBezTo>
                  <a:cubicBezTo>
                    <a:pt x="20" y="110"/>
                    <a:pt x="23" y="110"/>
                    <a:pt x="24" y="113"/>
                  </a:cubicBezTo>
                  <a:cubicBezTo>
                    <a:pt x="24" y="113"/>
                    <a:pt x="24" y="113"/>
                    <a:pt x="24" y="113"/>
                  </a:cubicBezTo>
                  <a:cubicBezTo>
                    <a:pt x="25" y="114"/>
                    <a:pt x="25" y="114"/>
                    <a:pt x="25" y="114"/>
                  </a:cubicBezTo>
                  <a:cubicBezTo>
                    <a:pt x="25" y="115"/>
                    <a:pt x="25" y="115"/>
                    <a:pt x="26" y="116"/>
                  </a:cubicBezTo>
                  <a:cubicBezTo>
                    <a:pt x="26" y="117"/>
                    <a:pt x="27" y="118"/>
                    <a:pt x="27" y="118"/>
                  </a:cubicBezTo>
                  <a:cubicBezTo>
                    <a:pt x="27" y="118"/>
                    <a:pt x="27" y="118"/>
                    <a:pt x="27" y="118"/>
                  </a:cubicBezTo>
                  <a:cubicBezTo>
                    <a:pt x="27" y="118"/>
                    <a:pt x="27" y="118"/>
                    <a:pt x="27" y="118"/>
                  </a:cubicBezTo>
                  <a:cubicBezTo>
                    <a:pt x="27" y="118"/>
                    <a:pt x="27" y="118"/>
                    <a:pt x="27" y="118"/>
                  </a:cubicBezTo>
                  <a:cubicBezTo>
                    <a:pt x="27" y="118"/>
                    <a:pt x="27" y="118"/>
                    <a:pt x="28" y="118"/>
                  </a:cubicBezTo>
                  <a:cubicBezTo>
                    <a:pt x="30" y="118"/>
                    <a:pt x="32" y="118"/>
                    <a:pt x="33" y="118"/>
                  </a:cubicBezTo>
                  <a:cubicBezTo>
                    <a:pt x="35" y="118"/>
                    <a:pt x="36" y="118"/>
                    <a:pt x="37" y="118"/>
                  </a:cubicBezTo>
                  <a:cubicBezTo>
                    <a:pt x="38" y="118"/>
                    <a:pt x="39" y="118"/>
                    <a:pt x="39" y="118"/>
                  </a:cubicBezTo>
                  <a:cubicBezTo>
                    <a:pt x="40" y="118"/>
                    <a:pt x="40" y="118"/>
                    <a:pt x="40" y="118"/>
                  </a:cubicBezTo>
                  <a:cubicBezTo>
                    <a:pt x="41" y="119"/>
                    <a:pt x="43" y="119"/>
                    <a:pt x="44" y="119"/>
                  </a:cubicBezTo>
                  <a:cubicBezTo>
                    <a:pt x="45" y="119"/>
                    <a:pt x="45" y="119"/>
                    <a:pt x="46" y="119"/>
                  </a:cubicBezTo>
                  <a:cubicBezTo>
                    <a:pt x="46" y="119"/>
                    <a:pt x="46" y="119"/>
                    <a:pt x="46" y="119"/>
                  </a:cubicBezTo>
                  <a:cubicBezTo>
                    <a:pt x="47" y="119"/>
                    <a:pt x="49" y="118"/>
                    <a:pt x="50" y="118"/>
                  </a:cubicBezTo>
                  <a:cubicBezTo>
                    <a:pt x="52" y="117"/>
                    <a:pt x="54" y="117"/>
                    <a:pt x="56" y="117"/>
                  </a:cubicBezTo>
                  <a:cubicBezTo>
                    <a:pt x="56" y="117"/>
                    <a:pt x="56" y="117"/>
                    <a:pt x="56" y="117"/>
                  </a:cubicBezTo>
                  <a:cubicBezTo>
                    <a:pt x="59" y="117"/>
                    <a:pt x="62" y="118"/>
                    <a:pt x="65" y="118"/>
                  </a:cubicBezTo>
                  <a:cubicBezTo>
                    <a:pt x="70" y="119"/>
                    <a:pt x="71" y="121"/>
                    <a:pt x="74" y="124"/>
                  </a:cubicBezTo>
                  <a:cubicBezTo>
                    <a:pt x="75" y="125"/>
                    <a:pt x="76" y="126"/>
                    <a:pt x="76" y="127"/>
                  </a:cubicBezTo>
                  <a:cubicBezTo>
                    <a:pt x="77" y="128"/>
                    <a:pt x="77" y="128"/>
                    <a:pt x="77" y="128"/>
                  </a:cubicBezTo>
                  <a:cubicBezTo>
                    <a:pt x="78" y="129"/>
                    <a:pt x="78" y="130"/>
                    <a:pt x="79" y="131"/>
                  </a:cubicBezTo>
                  <a:cubicBezTo>
                    <a:pt x="82" y="136"/>
                    <a:pt x="85" y="139"/>
                    <a:pt x="86" y="139"/>
                  </a:cubicBezTo>
                  <a:cubicBezTo>
                    <a:pt x="86" y="139"/>
                    <a:pt x="86" y="139"/>
                    <a:pt x="86" y="139"/>
                  </a:cubicBezTo>
                  <a:cubicBezTo>
                    <a:pt x="86" y="139"/>
                    <a:pt x="86" y="139"/>
                    <a:pt x="86" y="139"/>
                  </a:cubicBezTo>
                  <a:cubicBezTo>
                    <a:pt x="87" y="139"/>
                    <a:pt x="91" y="139"/>
                    <a:pt x="92" y="139"/>
                  </a:cubicBezTo>
                  <a:cubicBezTo>
                    <a:pt x="92" y="138"/>
                    <a:pt x="92" y="138"/>
                    <a:pt x="92" y="138"/>
                  </a:cubicBezTo>
                  <a:cubicBezTo>
                    <a:pt x="93" y="138"/>
                    <a:pt x="94" y="138"/>
                    <a:pt x="94" y="138"/>
                  </a:cubicBezTo>
                  <a:cubicBezTo>
                    <a:pt x="97" y="138"/>
                    <a:pt x="99" y="137"/>
                    <a:pt x="102" y="137"/>
                  </a:cubicBezTo>
                  <a:cubicBezTo>
                    <a:pt x="105" y="137"/>
                    <a:pt x="105" y="137"/>
                    <a:pt x="105" y="137"/>
                  </a:cubicBezTo>
                  <a:cubicBezTo>
                    <a:pt x="106" y="137"/>
                    <a:pt x="107" y="136"/>
                    <a:pt x="109" y="136"/>
                  </a:cubicBezTo>
                  <a:cubicBezTo>
                    <a:pt x="110" y="136"/>
                    <a:pt x="110" y="136"/>
                    <a:pt x="110" y="136"/>
                  </a:cubicBezTo>
                  <a:cubicBezTo>
                    <a:pt x="113" y="135"/>
                    <a:pt x="117" y="135"/>
                    <a:pt x="121" y="135"/>
                  </a:cubicBezTo>
                  <a:cubicBezTo>
                    <a:pt x="122" y="135"/>
                    <a:pt x="122" y="135"/>
                    <a:pt x="123" y="135"/>
                  </a:cubicBezTo>
                  <a:cubicBezTo>
                    <a:pt x="131" y="136"/>
                    <a:pt x="133" y="139"/>
                    <a:pt x="134" y="142"/>
                  </a:cubicBezTo>
                  <a:cubicBezTo>
                    <a:pt x="134" y="144"/>
                    <a:pt x="134" y="146"/>
                    <a:pt x="133" y="149"/>
                  </a:cubicBezTo>
                  <a:cubicBezTo>
                    <a:pt x="132" y="151"/>
                    <a:pt x="130" y="153"/>
                    <a:pt x="130" y="154"/>
                  </a:cubicBezTo>
                  <a:cubicBezTo>
                    <a:pt x="129" y="154"/>
                    <a:pt x="129" y="154"/>
                    <a:pt x="129" y="154"/>
                  </a:cubicBezTo>
                  <a:cubicBezTo>
                    <a:pt x="129" y="155"/>
                    <a:pt x="129" y="155"/>
                    <a:pt x="128" y="155"/>
                  </a:cubicBezTo>
                  <a:cubicBezTo>
                    <a:pt x="128" y="156"/>
                    <a:pt x="128" y="156"/>
                    <a:pt x="127" y="157"/>
                  </a:cubicBezTo>
                  <a:cubicBezTo>
                    <a:pt x="127" y="157"/>
                    <a:pt x="127" y="157"/>
                    <a:pt x="127" y="157"/>
                  </a:cubicBezTo>
                  <a:cubicBezTo>
                    <a:pt x="126" y="159"/>
                    <a:pt x="125" y="160"/>
                    <a:pt x="125" y="161"/>
                  </a:cubicBezTo>
                  <a:cubicBezTo>
                    <a:pt x="125" y="163"/>
                    <a:pt x="125" y="163"/>
                    <a:pt x="125" y="163"/>
                  </a:cubicBezTo>
                  <a:cubicBezTo>
                    <a:pt x="124" y="166"/>
                    <a:pt x="124" y="168"/>
                    <a:pt x="124" y="170"/>
                  </a:cubicBezTo>
                  <a:cubicBezTo>
                    <a:pt x="124" y="171"/>
                    <a:pt x="124" y="171"/>
                    <a:pt x="124" y="171"/>
                  </a:cubicBezTo>
                  <a:cubicBezTo>
                    <a:pt x="124" y="171"/>
                    <a:pt x="124" y="172"/>
                    <a:pt x="124" y="173"/>
                  </a:cubicBezTo>
                  <a:cubicBezTo>
                    <a:pt x="282" y="173"/>
                    <a:pt x="282" y="173"/>
                    <a:pt x="282" y="173"/>
                  </a:cubicBezTo>
                  <a:cubicBezTo>
                    <a:pt x="283" y="172"/>
                    <a:pt x="284" y="171"/>
                    <a:pt x="285" y="170"/>
                  </a:cubicBezTo>
                  <a:cubicBezTo>
                    <a:pt x="281" y="167"/>
                    <a:pt x="281" y="167"/>
                    <a:pt x="281" y="167"/>
                  </a:cubicBezTo>
                  <a:cubicBezTo>
                    <a:pt x="286" y="169"/>
                    <a:pt x="286" y="169"/>
                    <a:pt x="286" y="169"/>
                  </a:cubicBezTo>
                  <a:cubicBezTo>
                    <a:pt x="286" y="169"/>
                    <a:pt x="286" y="169"/>
                    <a:pt x="286" y="169"/>
                  </a:cubicBezTo>
                  <a:cubicBezTo>
                    <a:pt x="286" y="168"/>
                    <a:pt x="286" y="168"/>
                    <a:pt x="286" y="168"/>
                  </a:cubicBezTo>
                  <a:cubicBezTo>
                    <a:pt x="286" y="168"/>
                    <a:pt x="286" y="168"/>
                    <a:pt x="286" y="168"/>
                  </a:cubicBezTo>
                  <a:cubicBezTo>
                    <a:pt x="286" y="167"/>
                    <a:pt x="286" y="167"/>
                    <a:pt x="286" y="167"/>
                  </a:cubicBezTo>
                  <a:cubicBezTo>
                    <a:pt x="286" y="166"/>
                    <a:pt x="286" y="166"/>
                    <a:pt x="286" y="166"/>
                  </a:cubicBezTo>
                  <a:cubicBezTo>
                    <a:pt x="285" y="166"/>
                    <a:pt x="285" y="166"/>
                    <a:pt x="285" y="166"/>
                  </a:cubicBezTo>
                  <a:cubicBezTo>
                    <a:pt x="284" y="165"/>
                    <a:pt x="284" y="165"/>
                    <a:pt x="284" y="165"/>
                  </a:cubicBezTo>
                  <a:cubicBezTo>
                    <a:pt x="283" y="164"/>
                    <a:pt x="282" y="162"/>
                    <a:pt x="281" y="161"/>
                  </a:cubicBezTo>
                  <a:cubicBezTo>
                    <a:pt x="280" y="161"/>
                    <a:pt x="280" y="161"/>
                    <a:pt x="280" y="161"/>
                  </a:cubicBezTo>
                  <a:cubicBezTo>
                    <a:pt x="280" y="160"/>
                    <a:pt x="280" y="160"/>
                    <a:pt x="279" y="159"/>
                  </a:cubicBezTo>
                  <a:cubicBezTo>
                    <a:pt x="270" y="149"/>
                    <a:pt x="270" y="149"/>
                    <a:pt x="270" y="149"/>
                  </a:cubicBezTo>
                  <a:cubicBezTo>
                    <a:pt x="269" y="148"/>
                    <a:pt x="269" y="146"/>
                    <a:pt x="269" y="144"/>
                  </a:cubicBezTo>
                  <a:cubicBezTo>
                    <a:pt x="270" y="144"/>
                    <a:pt x="270" y="144"/>
                    <a:pt x="270" y="144"/>
                  </a:cubicBezTo>
                  <a:cubicBezTo>
                    <a:pt x="271" y="143"/>
                    <a:pt x="272" y="142"/>
                    <a:pt x="273" y="141"/>
                  </a:cubicBezTo>
                  <a:cubicBezTo>
                    <a:pt x="273" y="140"/>
                    <a:pt x="274" y="140"/>
                    <a:pt x="275" y="139"/>
                  </a:cubicBezTo>
                  <a:cubicBezTo>
                    <a:pt x="275" y="139"/>
                    <a:pt x="275" y="139"/>
                    <a:pt x="275" y="139"/>
                  </a:cubicBezTo>
                  <a:cubicBezTo>
                    <a:pt x="275" y="138"/>
                    <a:pt x="275" y="138"/>
                    <a:pt x="275" y="138"/>
                  </a:cubicBezTo>
                  <a:cubicBezTo>
                    <a:pt x="274" y="137"/>
                    <a:pt x="274" y="136"/>
                    <a:pt x="274" y="134"/>
                  </a:cubicBezTo>
                  <a:cubicBezTo>
                    <a:pt x="274" y="134"/>
                    <a:pt x="274" y="134"/>
                    <a:pt x="274" y="134"/>
                  </a:cubicBezTo>
                  <a:cubicBezTo>
                    <a:pt x="274" y="133"/>
                    <a:pt x="274" y="133"/>
                    <a:pt x="274" y="133"/>
                  </a:cubicBezTo>
                  <a:cubicBezTo>
                    <a:pt x="274" y="131"/>
                    <a:pt x="274" y="128"/>
                    <a:pt x="276" y="126"/>
                  </a:cubicBezTo>
                  <a:cubicBezTo>
                    <a:pt x="276" y="125"/>
                    <a:pt x="276" y="125"/>
                    <a:pt x="276" y="125"/>
                  </a:cubicBezTo>
                  <a:cubicBezTo>
                    <a:pt x="279" y="125"/>
                    <a:pt x="279" y="125"/>
                    <a:pt x="279" y="125"/>
                  </a:cubicBezTo>
                  <a:cubicBezTo>
                    <a:pt x="279" y="125"/>
                    <a:pt x="279" y="125"/>
                    <a:pt x="279" y="125"/>
                  </a:cubicBezTo>
                  <a:cubicBezTo>
                    <a:pt x="279" y="125"/>
                    <a:pt x="279" y="125"/>
                    <a:pt x="279" y="125"/>
                  </a:cubicBezTo>
                  <a:cubicBezTo>
                    <a:pt x="280" y="124"/>
                    <a:pt x="281" y="124"/>
                    <a:pt x="283" y="123"/>
                  </a:cubicBezTo>
                  <a:cubicBezTo>
                    <a:pt x="283" y="123"/>
                    <a:pt x="283" y="123"/>
                    <a:pt x="283" y="123"/>
                  </a:cubicBezTo>
                  <a:cubicBezTo>
                    <a:pt x="284" y="123"/>
                    <a:pt x="284" y="123"/>
                    <a:pt x="285" y="124"/>
                  </a:cubicBezTo>
                  <a:cubicBezTo>
                    <a:pt x="286" y="124"/>
                    <a:pt x="286" y="124"/>
                    <a:pt x="286" y="124"/>
                  </a:cubicBezTo>
                  <a:cubicBezTo>
                    <a:pt x="286" y="124"/>
                    <a:pt x="286" y="124"/>
                    <a:pt x="286" y="124"/>
                  </a:cubicBezTo>
                  <a:cubicBezTo>
                    <a:pt x="286" y="124"/>
                    <a:pt x="286" y="124"/>
                    <a:pt x="286" y="124"/>
                  </a:cubicBezTo>
                  <a:cubicBezTo>
                    <a:pt x="287" y="123"/>
                    <a:pt x="288" y="123"/>
                    <a:pt x="289" y="123"/>
                  </a:cubicBezTo>
                  <a:cubicBezTo>
                    <a:pt x="291" y="122"/>
                    <a:pt x="291" y="122"/>
                    <a:pt x="291" y="122"/>
                  </a:cubicBezTo>
                  <a:cubicBezTo>
                    <a:pt x="292" y="121"/>
                    <a:pt x="292" y="121"/>
                    <a:pt x="293" y="121"/>
                  </a:cubicBezTo>
                  <a:cubicBezTo>
                    <a:pt x="293" y="121"/>
                    <a:pt x="293" y="121"/>
                    <a:pt x="293" y="121"/>
                  </a:cubicBezTo>
                  <a:cubicBezTo>
                    <a:pt x="293" y="120"/>
                    <a:pt x="293" y="120"/>
                    <a:pt x="293" y="120"/>
                  </a:cubicBezTo>
                  <a:cubicBezTo>
                    <a:pt x="293" y="120"/>
                    <a:pt x="293" y="120"/>
                    <a:pt x="293" y="120"/>
                  </a:cubicBezTo>
                  <a:cubicBezTo>
                    <a:pt x="292" y="120"/>
                    <a:pt x="292" y="120"/>
                    <a:pt x="292" y="120"/>
                  </a:cubicBezTo>
                  <a:cubicBezTo>
                    <a:pt x="291" y="120"/>
                    <a:pt x="290" y="120"/>
                    <a:pt x="289" y="120"/>
                  </a:cubicBezTo>
                  <a:cubicBezTo>
                    <a:pt x="289" y="120"/>
                    <a:pt x="289" y="120"/>
                    <a:pt x="289" y="120"/>
                  </a:cubicBezTo>
                  <a:cubicBezTo>
                    <a:pt x="288" y="119"/>
                    <a:pt x="288" y="119"/>
                    <a:pt x="288" y="119"/>
                  </a:cubicBezTo>
                  <a:cubicBezTo>
                    <a:pt x="287" y="119"/>
                    <a:pt x="287" y="118"/>
                    <a:pt x="286" y="117"/>
                  </a:cubicBezTo>
                  <a:cubicBezTo>
                    <a:pt x="286" y="116"/>
                    <a:pt x="286" y="116"/>
                    <a:pt x="286" y="116"/>
                  </a:cubicBezTo>
                  <a:cubicBezTo>
                    <a:pt x="286" y="116"/>
                    <a:pt x="286" y="116"/>
                    <a:pt x="286" y="116"/>
                  </a:cubicBezTo>
                  <a:cubicBezTo>
                    <a:pt x="286" y="115"/>
                    <a:pt x="285" y="113"/>
                    <a:pt x="285" y="112"/>
                  </a:cubicBezTo>
                  <a:cubicBezTo>
                    <a:pt x="285" y="112"/>
                    <a:pt x="285" y="112"/>
                    <a:pt x="285" y="112"/>
                  </a:cubicBezTo>
                  <a:cubicBezTo>
                    <a:pt x="285" y="111"/>
                    <a:pt x="285" y="111"/>
                    <a:pt x="285" y="111"/>
                  </a:cubicBezTo>
                  <a:cubicBezTo>
                    <a:pt x="284" y="109"/>
                    <a:pt x="284" y="107"/>
                    <a:pt x="286" y="106"/>
                  </a:cubicBezTo>
                  <a:cubicBezTo>
                    <a:pt x="287" y="105"/>
                    <a:pt x="287" y="105"/>
                    <a:pt x="287" y="104"/>
                  </a:cubicBezTo>
                  <a:cubicBezTo>
                    <a:pt x="288" y="103"/>
                    <a:pt x="289" y="102"/>
                    <a:pt x="291" y="100"/>
                  </a:cubicBezTo>
                  <a:cubicBezTo>
                    <a:pt x="292" y="100"/>
                    <a:pt x="292" y="100"/>
                    <a:pt x="292" y="100"/>
                  </a:cubicBezTo>
                  <a:cubicBezTo>
                    <a:pt x="294" y="99"/>
                    <a:pt x="296" y="97"/>
                    <a:pt x="299" y="95"/>
                  </a:cubicBezTo>
                  <a:cubicBezTo>
                    <a:pt x="300" y="94"/>
                    <a:pt x="301" y="94"/>
                    <a:pt x="301" y="93"/>
                  </a:cubicBezTo>
                  <a:cubicBezTo>
                    <a:pt x="302" y="93"/>
                    <a:pt x="304" y="92"/>
                    <a:pt x="304" y="91"/>
                  </a:cubicBezTo>
                  <a:cubicBezTo>
                    <a:pt x="304" y="91"/>
                    <a:pt x="303" y="89"/>
                    <a:pt x="301" y="87"/>
                  </a:cubicBezTo>
                  <a:cubicBezTo>
                    <a:pt x="300" y="86"/>
                    <a:pt x="300" y="86"/>
                    <a:pt x="300" y="86"/>
                  </a:cubicBezTo>
                  <a:cubicBezTo>
                    <a:pt x="301" y="85"/>
                    <a:pt x="301" y="85"/>
                    <a:pt x="301" y="85"/>
                  </a:cubicBezTo>
                  <a:cubicBezTo>
                    <a:pt x="300" y="84"/>
                    <a:pt x="300" y="84"/>
                    <a:pt x="300" y="84"/>
                  </a:cubicBezTo>
                  <a:cubicBezTo>
                    <a:pt x="300" y="84"/>
                    <a:pt x="300" y="84"/>
                    <a:pt x="300" y="84"/>
                  </a:cubicBezTo>
                  <a:cubicBezTo>
                    <a:pt x="299" y="84"/>
                    <a:pt x="298" y="83"/>
                    <a:pt x="296" y="83"/>
                  </a:cubicBezTo>
                  <a:cubicBezTo>
                    <a:pt x="296" y="83"/>
                    <a:pt x="295" y="83"/>
                    <a:pt x="295" y="83"/>
                  </a:cubicBezTo>
                  <a:cubicBezTo>
                    <a:pt x="290" y="83"/>
                    <a:pt x="284" y="86"/>
                    <a:pt x="279" y="87"/>
                  </a:cubicBezTo>
                  <a:cubicBezTo>
                    <a:pt x="280" y="87"/>
                    <a:pt x="280" y="87"/>
                    <a:pt x="280" y="87"/>
                  </a:cubicBezTo>
                  <a:cubicBezTo>
                    <a:pt x="278" y="87"/>
                    <a:pt x="276" y="89"/>
                    <a:pt x="274" y="89"/>
                  </a:cubicBezTo>
                  <a:cubicBezTo>
                    <a:pt x="274" y="89"/>
                    <a:pt x="273" y="89"/>
                    <a:pt x="273" y="89"/>
                  </a:cubicBezTo>
                  <a:cubicBezTo>
                    <a:pt x="271" y="88"/>
                    <a:pt x="267" y="86"/>
                    <a:pt x="265" y="85"/>
                  </a:cubicBezTo>
                  <a:cubicBezTo>
                    <a:pt x="265" y="84"/>
                    <a:pt x="265" y="84"/>
                    <a:pt x="266" y="84"/>
                  </a:cubicBezTo>
                  <a:cubicBezTo>
                    <a:pt x="267" y="84"/>
                    <a:pt x="268" y="84"/>
                    <a:pt x="269" y="84"/>
                  </a:cubicBezTo>
                  <a:cubicBezTo>
                    <a:pt x="269" y="84"/>
                    <a:pt x="269" y="84"/>
                    <a:pt x="269" y="84"/>
                  </a:cubicBezTo>
                  <a:cubicBezTo>
                    <a:pt x="269" y="84"/>
                    <a:pt x="269" y="84"/>
                    <a:pt x="270" y="84"/>
                  </a:cubicBezTo>
                  <a:cubicBezTo>
                    <a:pt x="270" y="84"/>
                    <a:pt x="270" y="84"/>
                    <a:pt x="271" y="84"/>
                  </a:cubicBezTo>
                  <a:cubicBezTo>
                    <a:pt x="271" y="84"/>
                    <a:pt x="271" y="84"/>
                    <a:pt x="271" y="84"/>
                  </a:cubicBezTo>
                  <a:cubicBezTo>
                    <a:pt x="271" y="84"/>
                    <a:pt x="273" y="85"/>
                    <a:pt x="274" y="85"/>
                  </a:cubicBezTo>
                  <a:cubicBezTo>
                    <a:pt x="274" y="85"/>
                    <a:pt x="274" y="85"/>
                    <a:pt x="274" y="85"/>
                  </a:cubicBezTo>
                  <a:cubicBezTo>
                    <a:pt x="277" y="84"/>
                    <a:pt x="279" y="75"/>
                    <a:pt x="280" y="72"/>
                  </a:cubicBezTo>
                  <a:cubicBezTo>
                    <a:pt x="279" y="73"/>
                    <a:pt x="278" y="73"/>
                    <a:pt x="278" y="74"/>
                  </a:cubicBezTo>
                  <a:cubicBezTo>
                    <a:pt x="278" y="71"/>
                    <a:pt x="283" y="68"/>
                    <a:pt x="285" y="67"/>
                  </a:cubicBezTo>
                  <a:cubicBezTo>
                    <a:pt x="280" y="63"/>
                    <a:pt x="274" y="60"/>
                    <a:pt x="270" y="56"/>
                  </a:cubicBezTo>
                  <a:cubicBezTo>
                    <a:pt x="269" y="55"/>
                    <a:pt x="268" y="54"/>
                    <a:pt x="266" y="54"/>
                  </a:cubicBezTo>
                  <a:cubicBezTo>
                    <a:pt x="268" y="58"/>
                    <a:pt x="263" y="57"/>
                    <a:pt x="263" y="61"/>
                  </a:cubicBezTo>
                  <a:cubicBezTo>
                    <a:pt x="260" y="56"/>
                    <a:pt x="258" y="53"/>
                    <a:pt x="253" y="51"/>
                  </a:cubicBezTo>
                  <a:cubicBezTo>
                    <a:pt x="253" y="52"/>
                    <a:pt x="254" y="53"/>
                    <a:pt x="255" y="54"/>
                  </a:cubicBezTo>
                  <a:cubicBezTo>
                    <a:pt x="254" y="53"/>
                    <a:pt x="254" y="53"/>
                    <a:pt x="253" y="53"/>
                  </a:cubicBezTo>
                  <a:cubicBezTo>
                    <a:pt x="253" y="55"/>
                    <a:pt x="254" y="57"/>
                    <a:pt x="253" y="59"/>
                  </a:cubicBezTo>
                  <a:cubicBezTo>
                    <a:pt x="253" y="56"/>
                    <a:pt x="253" y="55"/>
                    <a:pt x="251" y="52"/>
                  </a:cubicBezTo>
                  <a:cubicBezTo>
                    <a:pt x="251" y="54"/>
                    <a:pt x="250" y="56"/>
                    <a:pt x="250" y="58"/>
                  </a:cubicBezTo>
                  <a:cubicBezTo>
                    <a:pt x="248" y="55"/>
                    <a:pt x="248" y="52"/>
                    <a:pt x="246" y="49"/>
                  </a:cubicBezTo>
                  <a:cubicBezTo>
                    <a:pt x="246" y="48"/>
                    <a:pt x="245" y="47"/>
                    <a:pt x="245" y="47"/>
                  </a:cubicBezTo>
                  <a:cubicBezTo>
                    <a:pt x="245" y="47"/>
                    <a:pt x="244" y="47"/>
                    <a:pt x="244" y="48"/>
                  </a:cubicBezTo>
                  <a:cubicBezTo>
                    <a:pt x="242" y="50"/>
                    <a:pt x="240" y="51"/>
                    <a:pt x="239" y="51"/>
                  </a:cubicBezTo>
                  <a:cubicBezTo>
                    <a:pt x="238" y="51"/>
                    <a:pt x="236" y="50"/>
                    <a:pt x="233" y="49"/>
                  </a:cubicBezTo>
                  <a:cubicBezTo>
                    <a:pt x="234" y="49"/>
                    <a:pt x="234" y="49"/>
                    <a:pt x="235" y="49"/>
                  </a:cubicBezTo>
                  <a:cubicBezTo>
                    <a:pt x="236" y="49"/>
                    <a:pt x="237" y="50"/>
                    <a:pt x="238" y="50"/>
                  </a:cubicBezTo>
                  <a:cubicBezTo>
                    <a:pt x="238" y="50"/>
                    <a:pt x="238" y="50"/>
                    <a:pt x="238" y="50"/>
                  </a:cubicBezTo>
                  <a:cubicBezTo>
                    <a:pt x="238" y="50"/>
                    <a:pt x="238" y="50"/>
                    <a:pt x="238" y="50"/>
                  </a:cubicBezTo>
                  <a:cubicBezTo>
                    <a:pt x="239" y="50"/>
                    <a:pt x="239" y="49"/>
                    <a:pt x="239" y="49"/>
                  </a:cubicBezTo>
                  <a:cubicBezTo>
                    <a:pt x="239" y="49"/>
                    <a:pt x="239" y="49"/>
                    <a:pt x="239" y="49"/>
                  </a:cubicBezTo>
                  <a:cubicBezTo>
                    <a:pt x="240" y="49"/>
                    <a:pt x="240" y="49"/>
                    <a:pt x="240" y="50"/>
                  </a:cubicBezTo>
                  <a:cubicBezTo>
                    <a:pt x="241" y="50"/>
                    <a:pt x="241" y="50"/>
                    <a:pt x="241" y="50"/>
                  </a:cubicBezTo>
                  <a:cubicBezTo>
                    <a:pt x="241" y="50"/>
                    <a:pt x="242" y="50"/>
                    <a:pt x="242" y="49"/>
                  </a:cubicBezTo>
                  <a:cubicBezTo>
                    <a:pt x="244" y="47"/>
                    <a:pt x="239" y="43"/>
                    <a:pt x="236" y="43"/>
                  </a:cubicBezTo>
                  <a:cubicBezTo>
                    <a:pt x="236" y="43"/>
                    <a:pt x="236" y="43"/>
                    <a:pt x="235" y="43"/>
                  </a:cubicBezTo>
                  <a:cubicBezTo>
                    <a:pt x="236" y="43"/>
                    <a:pt x="237" y="42"/>
                    <a:pt x="238" y="42"/>
                  </a:cubicBezTo>
                  <a:cubicBezTo>
                    <a:pt x="237" y="41"/>
                    <a:pt x="236" y="41"/>
                    <a:pt x="234" y="40"/>
                  </a:cubicBezTo>
                  <a:cubicBezTo>
                    <a:pt x="236" y="39"/>
                    <a:pt x="237" y="39"/>
                    <a:pt x="239" y="39"/>
                  </a:cubicBezTo>
                  <a:cubicBezTo>
                    <a:pt x="240" y="39"/>
                    <a:pt x="241" y="39"/>
                    <a:pt x="242" y="39"/>
                  </a:cubicBezTo>
                  <a:cubicBezTo>
                    <a:pt x="243" y="39"/>
                    <a:pt x="244" y="39"/>
                    <a:pt x="245" y="39"/>
                  </a:cubicBezTo>
                  <a:cubicBezTo>
                    <a:pt x="246" y="39"/>
                    <a:pt x="246" y="39"/>
                    <a:pt x="247" y="39"/>
                  </a:cubicBezTo>
                  <a:cubicBezTo>
                    <a:pt x="251" y="37"/>
                    <a:pt x="256" y="36"/>
                    <a:pt x="260" y="34"/>
                  </a:cubicBezTo>
                  <a:cubicBezTo>
                    <a:pt x="250" y="35"/>
                    <a:pt x="240" y="35"/>
                    <a:pt x="230" y="35"/>
                  </a:cubicBezTo>
                  <a:cubicBezTo>
                    <a:pt x="228" y="35"/>
                    <a:pt x="223" y="37"/>
                    <a:pt x="220" y="37"/>
                  </a:cubicBezTo>
                  <a:cubicBezTo>
                    <a:pt x="218" y="37"/>
                    <a:pt x="216" y="36"/>
                    <a:pt x="215" y="35"/>
                  </a:cubicBezTo>
                  <a:cubicBezTo>
                    <a:pt x="215" y="36"/>
                    <a:pt x="212" y="37"/>
                    <a:pt x="211" y="37"/>
                  </a:cubicBezTo>
                  <a:cubicBezTo>
                    <a:pt x="210" y="37"/>
                    <a:pt x="209" y="37"/>
                    <a:pt x="208" y="37"/>
                  </a:cubicBezTo>
                  <a:cubicBezTo>
                    <a:pt x="208" y="37"/>
                    <a:pt x="205" y="36"/>
                    <a:pt x="205" y="36"/>
                  </a:cubicBezTo>
                  <a:cubicBezTo>
                    <a:pt x="203" y="37"/>
                    <a:pt x="206" y="39"/>
                    <a:pt x="207" y="39"/>
                  </a:cubicBezTo>
                  <a:cubicBezTo>
                    <a:pt x="208" y="39"/>
                    <a:pt x="209" y="40"/>
                    <a:pt x="210" y="40"/>
                  </a:cubicBezTo>
                  <a:cubicBezTo>
                    <a:pt x="211" y="40"/>
                    <a:pt x="211" y="39"/>
                    <a:pt x="212" y="39"/>
                  </a:cubicBezTo>
                  <a:cubicBezTo>
                    <a:pt x="213" y="39"/>
                    <a:pt x="213" y="39"/>
                    <a:pt x="214" y="39"/>
                  </a:cubicBezTo>
                  <a:cubicBezTo>
                    <a:pt x="215" y="39"/>
                    <a:pt x="217" y="40"/>
                    <a:pt x="218" y="40"/>
                  </a:cubicBezTo>
                  <a:cubicBezTo>
                    <a:pt x="211" y="41"/>
                    <a:pt x="205" y="43"/>
                    <a:pt x="199" y="45"/>
                  </a:cubicBezTo>
                  <a:cubicBezTo>
                    <a:pt x="196" y="46"/>
                    <a:pt x="193" y="48"/>
                    <a:pt x="190" y="49"/>
                  </a:cubicBezTo>
                  <a:cubicBezTo>
                    <a:pt x="190" y="50"/>
                    <a:pt x="189" y="50"/>
                    <a:pt x="189" y="50"/>
                  </a:cubicBezTo>
                  <a:cubicBezTo>
                    <a:pt x="186" y="50"/>
                    <a:pt x="183" y="49"/>
                    <a:pt x="182" y="49"/>
                  </a:cubicBezTo>
                  <a:cubicBezTo>
                    <a:pt x="177" y="48"/>
                    <a:pt x="172" y="48"/>
                    <a:pt x="168" y="46"/>
                  </a:cubicBezTo>
                  <a:cubicBezTo>
                    <a:pt x="166" y="45"/>
                    <a:pt x="162" y="41"/>
                    <a:pt x="163" y="38"/>
                  </a:cubicBezTo>
                  <a:cubicBezTo>
                    <a:pt x="161" y="37"/>
                    <a:pt x="158" y="37"/>
                    <a:pt x="156" y="37"/>
                  </a:cubicBezTo>
                  <a:cubicBezTo>
                    <a:pt x="154" y="37"/>
                    <a:pt x="151" y="37"/>
                    <a:pt x="149" y="37"/>
                  </a:cubicBezTo>
                  <a:cubicBezTo>
                    <a:pt x="149" y="38"/>
                    <a:pt x="149" y="39"/>
                    <a:pt x="149" y="40"/>
                  </a:cubicBezTo>
                  <a:cubicBezTo>
                    <a:pt x="149" y="43"/>
                    <a:pt x="146" y="46"/>
                    <a:pt x="143" y="46"/>
                  </a:cubicBezTo>
                  <a:cubicBezTo>
                    <a:pt x="140" y="46"/>
                    <a:pt x="137" y="43"/>
                    <a:pt x="137" y="40"/>
                  </a:cubicBezTo>
                  <a:cubicBezTo>
                    <a:pt x="137" y="39"/>
                    <a:pt x="137" y="39"/>
                    <a:pt x="137" y="38"/>
                  </a:cubicBezTo>
                  <a:cubicBezTo>
                    <a:pt x="134" y="38"/>
                    <a:pt x="130" y="39"/>
                    <a:pt x="127" y="39"/>
                  </a:cubicBezTo>
                  <a:cubicBezTo>
                    <a:pt x="125" y="40"/>
                    <a:pt x="123" y="40"/>
                    <a:pt x="122" y="40"/>
                  </a:cubicBezTo>
                  <a:cubicBezTo>
                    <a:pt x="120" y="40"/>
                    <a:pt x="119" y="40"/>
                    <a:pt x="118" y="39"/>
                  </a:cubicBezTo>
                  <a:cubicBezTo>
                    <a:pt x="113" y="38"/>
                    <a:pt x="112" y="38"/>
                    <a:pt x="111" y="34"/>
                  </a:cubicBezTo>
                  <a:cubicBezTo>
                    <a:pt x="111" y="31"/>
                    <a:pt x="111" y="27"/>
                    <a:pt x="109" y="25"/>
                  </a:cubicBezTo>
                  <a:cubicBezTo>
                    <a:pt x="107" y="24"/>
                    <a:pt x="104" y="20"/>
                    <a:pt x="101" y="20"/>
                  </a:cubicBezTo>
                  <a:cubicBezTo>
                    <a:pt x="97" y="19"/>
                    <a:pt x="93" y="18"/>
                    <a:pt x="88" y="17"/>
                  </a:cubicBezTo>
                  <a:cubicBezTo>
                    <a:pt x="86" y="17"/>
                    <a:pt x="83" y="17"/>
                    <a:pt x="81" y="16"/>
                  </a:cubicBezTo>
                  <a:cubicBezTo>
                    <a:pt x="78" y="15"/>
                    <a:pt x="78" y="15"/>
                    <a:pt x="77" y="12"/>
                  </a:cubicBezTo>
                  <a:cubicBezTo>
                    <a:pt x="76" y="10"/>
                    <a:pt x="76" y="8"/>
                    <a:pt x="76" y="6"/>
                  </a:cubicBezTo>
                  <a:cubicBezTo>
                    <a:pt x="75" y="3"/>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 name="Freeform 380">
              <a:extLst>
                <a:ext uri="{FF2B5EF4-FFF2-40B4-BE49-F238E27FC236}">
                  <a16:creationId xmlns:a16="http://schemas.microsoft.com/office/drawing/2014/main" id="{2EB65A47-02D5-47CB-B894-84F5451C66FA}"/>
                </a:ext>
              </a:extLst>
            </p:cNvPr>
            <p:cNvSpPr>
              <a:spLocks/>
            </p:cNvSpPr>
            <p:nvPr/>
          </p:nvSpPr>
          <p:spPr bwMode="auto">
            <a:xfrm>
              <a:off x="10587029" y="8403460"/>
              <a:ext cx="354013" cy="311150"/>
            </a:xfrm>
            <a:custGeom>
              <a:avLst/>
              <a:gdLst>
                <a:gd name="T0" fmla="*/ 34 w 94"/>
                <a:gd name="T1" fmla="*/ 4 h 83"/>
                <a:gd name="T2" fmla="*/ 28 w 94"/>
                <a:gd name="T3" fmla="*/ 10 h 83"/>
                <a:gd name="T4" fmla="*/ 19 w 94"/>
                <a:gd name="T5" fmla="*/ 15 h 83"/>
                <a:gd name="T6" fmla="*/ 16 w 94"/>
                <a:gd name="T7" fmla="*/ 19 h 83"/>
                <a:gd name="T8" fmla="*/ 15 w 94"/>
                <a:gd name="T9" fmla="*/ 21 h 83"/>
                <a:gd name="T10" fmla="*/ 17 w 94"/>
                <a:gd name="T11" fmla="*/ 24 h 83"/>
                <a:gd name="T12" fmla="*/ 24 w 94"/>
                <a:gd name="T13" fmla="*/ 28 h 83"/>
                <a:gd name="T14" fmla="*/ 24 w 94"/>
                <a:gd name="T15" fmla="*/ 30 h 83"/>
                <a:gd name="T16" fmla="*/ 21 w 94"/>
                <a:gd name="T17" fmla="*/ 35 h 83"/>
                <a:gd name="T18" fmla="*/ 17 w 94"/>
                <a:gd name="T19" fmla="*/ 38 h 83"/>
                <a:gd name="T20" fmla="*/ 12 w 94"/>
                <a:gd name="T21" fmla="*/ 40 h 83"/>
                <a:gd name="T22" fmla="*/ 9 w 94"/>
                <a:gd name="T23" fmla="*/ 39 h 83"/>
                <a:gd name="T24" fmla="*/ 7 w 94"/>
                <a:gd name="T25" fmla="*/ 40 h 83"/>
                <a:gd name="T26" fmla="*/ 5 w 94"/>
                <a:gd name="T27" fmla="*/ 41 h 83"/>
                <a:gd name="T28" fmla="*/ 5 w 94"/>
                <a:gd name="T29" fmla="*/ 43 h 83"/>
                <a:gd name="T30" fmla="*/ 5 w 94"/>
                <a:gd name="T31" fmla="*/ 47 h 83"/>
                <a:gd name="T32" fmla="*/ 5 w 94"/>
                <a:gd name="T33" fmla="*/ 52 h 83"/>
                <a:gd name="T34" fmla="*/ 1 w 94"/>
                <a:gd name="T35" fmla="*/ 56 h 83"/>
                <a:gd name="T36" fmla="*/ 8 w 94"/>
                <a:gd name="T37" fmla="*/ 66 h 83"/>
                <a:gd name="T38" fmla="*/ 10 w 94"/>
                <a:gd name="T39" fmla="*/ 67 h 83"/>
                <a:gd name="T40" fmla="*/ 13 w 94"/>
                <a:gd name="T41" fmla="*/ 70 h 83"/>
                <a:gd name="T42" fmla="*/ 14 w 94"/>
                <a:gd name="T43" fmla="*/ 70 h 83"/>
                <a:gd name="T44" fmla="*/ 16 w 94"/>
                <a:gd name="T45" fmla="*/ 70 h 83"/>
                <a:gd name="T46" fmla="*/ 19 w 94"/>
                <a:gd name="T47" fmla="*/ 70 h 83"/>
                <a:gd name="T48" fmla="*/ 21 w 94"/>
                <a:gd name="T49" fmla="*/ 69 h 83"/>
                <a:gd name="T50" fmla="*/ 21 w 94"/>
                <a:gd name="T51" fmla="*/ 70 h 83"/>
                <a:gd name="T52" fmla="*/ 24 w 94"/>
                <a:gd name="T53" fmla="*/ 70 h 83"/>
                <a:gd name="T54" fmla="*/ 25 w 94"/>
                <a:gd name="T55" fmla="*/ 70 h 83"/>
                <a:gd name="T56" fmla="*/ 27 w 94"/>
                <a:gd name="T57" fmla="*/ 71 h 83"/>
                <a:gd name="T58" fmla="*/ 29 w 94"/>
                <a:gd name="T59" fmla="*/ 73 h 83"/>
                <a:gd name="T60" fmla="*/ 76 w 94"/>
                <a:gd name="T61" fmla="*/ 83 h 83"/>
                <a:gd name="T62" fmla="*/ 76 w 94"/>
                <a:gd name="T63" fmla="*/ 79 h 83"/>
                <a:gd name="T64" fmla="*/ 84 w 94"/>
                <a:gd name="T65" fmla="*/ 75 h 83"/>
                <a:gd name="T66" fmla="*/ 88 w 94"/>
                <a:gd name="T67" fmla="*/ 75 h 83"/>
                <a:gd name="T68" fmla="*/ 89 w 94"/>
                <a:gd name="T69" fmla="*/ 74 h 83"/>
                <a:gd name="T70" fmla="*/ 90 w 94"/>
                <a:gd name="T71" fmla="*/ 69 h 83"/>
                <a:gd name="T72" fmla="*/ 91 w 94"/>
                <a:gd name="T73" fmla="*/ 61 h 83"/>
                <a:gd name="T74" fmla="*/ 92 w 94"/>
                <a:gd name="T75" fmla="*/ 58 h 83"/>
                <a:gd name="T76" fmla="*/ 93 w 94"/>
                <a:gd name="T77" fmla="*/ 57 h 83"/>
                <a:gd name="T78" fmla="*/ 94 w 94"/>
                <a:gd name="T79" fmla="*/ 56 h 83"/>
                <a:gd name="T80" fmla="*/ 86 w 94"/>
                <a:gd name="T81" fmla="*/ 49 h 83"/>
                <a:gd name="T82" fmla="*/ 77 w 94"/>
                <a:gd name="T83" fmla="*/ 38 h 83"/>
                <a:gd name="T84" fmla="*/ 67 w 94"/>
                <a:gd name="T85" fmla="*/ 34 h 83"/>
                <a:gd name="T86" fmla="*/ 64 w 94"/>
                <a:gd name="T87" fmla="*/ 29 h 83"/>
                <a:gd name="T88" fmla="*/ 45 w 94"/>
                <a:gd name="T8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83">
                  <a:moveTo>
                    <a:pt x="35" y="0"/>
                  </a:moveTo>
                  <a:cubicBezTo>
                    <a:pt x="35" y="2"/>
                    <a:pt x="35" y="3"/>
                    <a:pt x="34" y="4"/>
                  </a:cubicBezTo>
                  <a:cubicBezTo>
                    <a:pt x="34" y="6"/>
                    <a:pt x="32" y="7"/>
                    <a:pt x="30" y="8"/>
                  </a:cubicBezTo>
                  <a:cubicBezTo>
                    <a:pt x="29" y="9"/>
                    <a:pt x="28" y="9"/>
                    <a:pt x="28" y="10"/>
                  </a:cubicBezTo>
                  <a:cubicBezTo>
                    <a:pt x="25" y="11"/>
                    <a:pt x="23" y="13"/>
                    <a:pt x="20" y="15"/>
                  </a:cubicBezTo>
                  <a:cubicBezTo>
                    <a:pt x="19" y="15"/>
                    <a:pt x="19" y="15"/>
                    <a:pt x="19" y="15"/>
                  </a:cubicBezTo>
                  <a:cubicBezTo>
                    <a:pt x="18" y="16"/>
                    <a:pt x="18" y="16"/>
                    <a:pt x="17" y="17"/>
                  </a:cubicBezTo>
                  <a:cubicBezTo>
                    <a:pt x="17" y="18"/>
                    <a:pt x="17" y="18"/>
                    <a:pt x="16" y="19"/>
                  </a:cubicBezTo>
                  <a:cubicBezTo>
                    <a:pt x="16" y="19"/>
                    <a:pt x="16" y="20"/>
                    <a:pt x="15" y="20"/>
                  </a:cubicBezTo>
                  <a:cubicBezTo>
                    <a:pt x="15" y="21"/>
                    <a:pt x="15" y="21"/>
                    <a:pt x="15" y="21"/>
                  </a:cubicBezTo>
                  <a:cubicBezTo>
                    <a:pt x="16" y="22"/>
                    <a:pt x="16" y="23"/>
                    <a:pt x="16" y="24"/>
                  </a:cubicBezTo>
                  <a:cubicBezTo>
                    <a:pt x="17" y="24"/>
                    <a:pt x="17" y="24"/>
                    <a:pt x="17" y="24"/>
                  </a:cubicBezTo>
                  <a:cubicBezTo>
                    <a:pt x="18" y="24"/>
                    <a:pt x="18" y="24"/>
                    <a:pt x="18" y="24"/>
                  </a:cubicBezTo>
                  <a:cubicBezTo>
                    <a:pt x="20" y="25"/>
                    <a:pt x="23" y="25"/>
                    <a:pt x="24" y="28"/>
                  </a:cubicBezTo>
                  <a:cubicBezTo>
                    <a:pt x="24" y="28"/>
                    <a:pt x="24" y="28"/>
                    <a:pt x="24" y="29"/>
                  </a:cubicBezTo>
                  <a:cubicBezTo>
                    <a:pt x="24" y="30"/>
                    <a:pt x="24" y="30"/>
                    <a:pt x="24" y="30"/>
                  </a:cubicBezTo>
                  <a:cubicBezTo>
                    <a:pt x="24" y="31"/>
                    <a:pt x="24" y="33"/>
                    <a:pt x="22" y="34"/>
                  </a:cubicBezTo>
                  <a:cubicBezTo>
                    <a:pt x="22" y="35"/>
                    <a:pt x="22" y="35"/>
                    <a:pt x="21" y="35"/>
                  </a:cubicBezTo>
                  <a:cubicBezTo>
                    <a:pt x="20" y="36"/>
                    <a:pt x="19" y="37"/>
                    <a:pt x="17" y="37"/>
                  </a:cubicBezTo>
                  <a:cubicBezTo>
                    <a:pt x="17" y="38"/>
                    <a:pt x="17" y="38"/>
                    <a:pt x="17" y="38"/>
                  </a:cubicBezTo>
                  <a:cubicBezTo>
                    <a:pt x="16" y="38"/>
                    <a:pt x="15" y="39"/>
                    <a:pt x="14" y="39"/>
                  </a:cubicBezTo>
                  <a:cubicBezTo>
                    <a:pt x="13" y="39"/>
                    <a:pt x="13" y="40"/>
                    <a:pt x="12" y="40"/>
                  </a:cubicBezTo>
                  <a:cubicBezTo>
                    <a:pt x="12" y="40"/>
                    <a:pt x="12" y="40"/>
                    <a:pt x="11" y="40"/>
                  </a:cubicBezTo>
                  <a:cubicBezTo>
                    <a:pt x="10" y="40"/>
                    <a:pt x="10" y="40"/>
                    <a:pt x="9" y="39"/>
                  </a:cubicBezTo>
                  <a:cubicBezTo>
                    <a:pt x="8" y="39"/>
                    <a:pt x="8" y="39"/>
                    <a:pt x="8" y="39"/>
                  </a:cubicBezTo>
                  <a:cubicBezTo>
                    <a:pt x="7" y="40"/>
                    <a:pt x="7" y="40"/>
                    <a:pt x="7" y="40"/>
                  </a:cubicBezTo>
                  <a:cubicBezTo>
                    <a:pt x="7" y="40"/>
                    <a:pt x="6" y="40"/>
                    <a:pt x="6" y="41"/>
                  </a:cubicBezTo>
                  <a:cubicBezTo>
                    <a:pt x="6" y="41"/>
                    <a:pt x="5" y="41"/>
                    <a:pt x="5" y="41"/>
                  </a:cubicBezTo>
                  <a:cubicBezTo>
                    <a:pt x="5" y="42"/>
                    <a:pt x="5" y="42"/>
                    <a:pt x="5" y="43"/>
                  </a:cubicBezTo>
                  <a:cubicBezTo>
                    <a:pt x="5" y="43"/>
                    <a:pt x="5" y="43"/>
                    <a:pt x="5" y="43"/>
                  </a:cubicBezTo>
                  <a:cubicBezTo>
                    <a:pt x="5" y="44"/>
                    <a:pt x="5" y="44"/>
                    <a:pt x="5" y="45"/>
                  </a:cubicBezTo>
                  <a:cubicBezTo>
                    <a:pt x="5" y="46"/>
                    <a:pt x="5" y="46"/>
                    <a:pt x="5" y="47"/>
                  </a:cubicBezTo>
                  <a:cubicBezTo>
                    <a:pt x="5" y="47"/>
                    <a:pt x="5" y="48"/>
                    <a:pt x="5" y="48"/>
                  </a:cubicBezTo>
                  <a:cubicBezTo>
                    <a:pt x="6" y="49"/>
                    <a:pt x="6" y="50"/>
                    <a:pt x="5" y="52"/>
                  </a:cubicBezTo>
                  <a:cubicBezTo>
                    <a:pt x="4" y="53"/>
                    <a:pt x="3" y="54"/>
                    <a:pt x="1" y="55"/>
                  </a:cubicBezTo>
                  <a:cubicBezTo>
                    <a:pt x="1" y="56"/>
                    <a:pt x="1" y="56"/>
                    <a:pt x="1" y="56"/>
                  </a:cubicBezTo>
                  <a:cubicBezTo>
                    <a:pt x="0" y="56"/>
                    <a:pt x="0" y="56"/>
                    <a:pt x="0" y="56"/>
                  </a:cubicBezTo>
                  <a:cubicBezTo>
                    <a:pt x="8" y="66"/>
                    <a:pt x="8" y="66"/>
                    <a:pt x="8" y="66"/>
                  </a:cubicBezTo>
                  <a:cubicBezTo>
                    <a:pt x="9" y="67"/>
                    <a:pt x="9" y="67"/>
                    <a:pt x="9" y="67"/>
                  </a:cubicBezTo>
                  <a:cubicBezTo>
                    <a:pt x="10" y="67"/>
                    <a:pt x="10" y="67"/>
                    <a:pt x="10" y="67"/>
                  </a:cubicBezTo>
                  <a:cubicBezTo>
                    <a:pt x="11" y="68"/>
                    <a:pt x="12" y="69"/>
                    <a:pt x="13" y="70"/>
                  </a:cubicBezTo>
                  <a:cubicBezTo>
                    <a:pt x="13" y="70"/>
                    <a:pt x="13" y="70"/>
                    <a:pt x="13" y="70"/>
                  </a:cubicBezTo>
                  <a:cubicBezTo>
                    <a:pt x="14" y="70"/>
                    <a:pt x="14" y="70"/>
                    <a:pt x="14" y="70"/>
                  </a:cubicBezTo>
                  <a:cubicBezTo>
                    <a:pt x="14" y="70"/>
                    <a:pt x="14" y="70"/>
                    <a:pt x="14" y="70"/>
                  </a:cubicBezTo>
                  <a:cubicBezTo>
                    <a:pt x="15" y="70"/>
                    <a:pt x="15" y="70"/>
                    <a:pt x="15" y="70"/>
                  </a:cubicBezTo>
                  <a:cubicBezTo>
                    <a:pt x="16" y="70"/>
                    <a:pt x="16" y="70"/>
                    <a:pt x="16" y="70"/>
                  </a:cubicBezTo>
                  <a:cubicBezTo>
                    <a:pt x="17" y="70"/>
                    <a:pt x="17" y="70"/>
                    <a:pt x="18" y="70"/>
                  </a:cubicBezTo>
                  <a:cubicBezTo>
                    <a:pt x="19" y="70"/>
                    <a:pt x="19" y="70"/>
                    <a:pt x="19" y="70"/>
                  </a:cubicBezTo>
                  <a:cubicBezTo>
                    <a:pt x="19" y="69"/>
                    <a:pt x="20" y="69"/>
                    <a:pt x="20" y="69"/>
                  </a:cubicBezTo>
                  <a:cubicBezTo>
                    <a:pt x="21" y="69"/>
                    <a:pt x="21" y="69"/>
                    <a:pt x="21" y="69"/>
                  </a:cubicBezTo>
                  <a:cubicBezTo>
                    <a:pt x="21" y="70"/>
                    <a:pt x="21" y="70"/>
                    <a:pt x="21" y="70"/>
                  </a:cubicBezTo>
                  <a:cubicBezTo>
                    <a:pt x="21" y="70"/>
                    <a:pt x="21" y="70"/>
                    <a:pt x="21" y="70"/>
                  </a:cubicBezTo>
                  <a:cubicBezTo>
                    <a:pt x="22" y="70"/>
                    <a:pt x="22" y="70"/>
                    <a:pt x="22" y="70"/>
                  </a:cubicBezTo>
                  <a:cubicBezTo>
                    <a:pt x="23" y="70"/>
                    <a:pt x="23" y="70"/>
                    <a:pt x="24" y="70"/>
                  </a:cubicBezTo>
                  <a:cubicBezTo>
                    <a:pt x="24" y="70"/>
                    <a:pt x="24" y="70"/>
                    <a:pt x="24" y="70"/>
                  </a:cubicBezTo>
                  <a:cubicBezTo>
                    <a:pt x="25" y="70"/>
                    <a:pt x="25" y="70"/>
                    <a:pt x="25" y="70"/>
                  </a:cubicBezTo>
                  <a:cubicBezTo>
                    <a:pt x="26" y="70"/>
                    <a:pt x="26" y="70"/>
                    <a:pt x="27" y="71"/>
                  </a:cubicBezTo>
                  <a:cubicBezTo>
                    <a:pt x="27" y="71"/>
                    <a:pt x="27" y="71"/>
                    <a:pt x="27" y="71"/>
                  </a:cubicBezTo>
                  <a:cubicBezTo>
                    <a:pt x="27" y="71"/>
                    <a:pt x="27" y="71"/>
                    <a:pt x="27" y="71"/>
                  </a:cubicBezTo>
                  <a:cubicBezTo>
                    <a:pt x="28" y="72"/>
                    <a:pt x="29" y="72"/>
                    <a:pt x="29" y="73"/>
                  </a:cubicBezTo>
                  <a:cubicBezTo>
                    <a:pt x="31" y="75"/>
                    <a:pt x="32" y="78"/>
                    <a:pt x="31" y="83"/>
                  </a:cubicBezTo>
                  <a:cubicBezTo>
                    <a:pt x="76" y="83"/>
                    <a:pt x="76" y="83"/>
                    <a:pt x="76" y="83"/>
                  </a:cubicBezTo>
                  <a:cubicBezTo>
                    <a:pt x="76" y="81"/>
                    <a:pt x="76" y="81"/>
                    <a:pt x="76" y="81"/>
                  </a:cubicBezTo>
                  <a:cubicBezTo>
                    <a:pt x="76" y="81"/>
                    <a:pt x="76" y="80"/>
                    <a:pt x="76" y="79"/>
                  </a:cubicBezTo>
                  <a:cubicBezTo>
                    <a:pt x="77" y="78"/>
                    <a:pt x="79" y="76"/>
                    <a:pt x="81" y="75"/>
                  </a:cubicBezTo>
                  <a:cubicBezTo>
                    <a:pt x="82" y="75"/>
                    <a:pt x="83" y="75"/>
                    <a:pt x="84" y="75"/>
                  </a:cubicBezTo>
                  <a:cubicBezTo>
                    <a:pt x="85" y="75"/>
                    <a:pt x="86" y="75"/>
                    <a:pt x="86" y="75"/>
                  </a:cubicBezTo>
                  <a:cubicBezTo>
                    <a:pt x="87" y="75"/>
                    <a:pt x="88" y="75"/>
                    <a:pt x="88" y="75"/>
                  </a:cubicBezTo>
                  <a:cubicBezTo>
                    <a:pt x="89" y="75"/>
                    <a:pt x="89" y="75"/>
                    <a:pt x="89" y="75"/>
                  </a:cubicBezTo>
                  <a:cubicBezTo>
                    <a:pt x="89" y="75"/>
                    <a:pt x="89" y="74"/>
                    <a:pt x="89" y="74"/>
                  </a:cubicBezTo>
                  <a:cubicBezTo>
                    <a:pt x="89" y="73"/>
                    <a:pt x="89" y="73"/>
                    <a:pt x="89" y="73"/>
                  </a:cubicBezTo>
                  <a:cubicBezTo>
                    <a:pt x="89" y="72"/>
                    <a:pt x="90" y="70"/>
                    <a:pt x="90" y="69"/>
                  </a:cubicBezTo>
                  <a:cubicBezTo>
                    <a:pt x="89" y="68"/>
                    <a:pt x="89" y="68"/>
                    <a:pt x="89" y="68"/>
                  </a:cubicBezTo>
                  <a:cubicBezTo>
                    <a:pt x="89" y="66"/>
                    <a:pt x="90" y="63"/>
                    <a:pt x="91" y="61"/>
                  </a:cubicBezTo>
                  <a:cubicBezTo>
                    <a:pt x="91" y="60"/>
                    <a:pt x="91" y="59"/>
                    <a:pt x="91" y="59"/>
                  </a:cubicBezTo>
                  <a:cubicBezTo>
                    <a:pt x="92" y="58"/>
                    <a:pt x="92" y="58"/>
                    <a:pt x="92" y="58"/>
                  </a:cubicBezTo>
                  <a:cubicBezTo>
                    <a:pt x="93" y="57"/>
                    <a:pt x="93" y="57"/>
                    <a:pt x="93" y="57"/>
                  </a:cubicBezTo>
                  <a:cubicBezTo>
                    <a:pt x="93" y="57"/>
                    <a:pt x="93" y="57"/>
                    <a:pt x="93" y="57"/>
                  </a:cubicBezTo>
                  <a:cubicBezTo>
                    <a:pt x="93" y="56"/>
                    <a:pt x="93" y="56"/>
                    <a:pt x="93" y="56"/>
                  </a:cubicBezTo>
                  <a:cubicBezTo>
                    <a:pt x="94" y="56"/>
                    <a:pt x="94" y="56"/>
                    <a:pt x="94" y="56"/>
                  </a:cubicBezTo>
                  <a:cubicBezTo>
                    <a:pt x="94" y="53"/>
                    <a:pt x="93" y="51"/>
                    <a:pt x="92" y="50"/>
                  </a:cubicBezTo>
                  <a:cubicBezTo>
                    <a:pt x="91" y="49"/>
                    <a:pt x="88" y="49"/>
                    <a:pt x="86" y="49"/>
                  </a:cubicBezTo>
                  <a:cubicBezTo>
                    <a:pt x="85" y="48"/>
                    <a:pt x="84" y="47"/>
                    <a:pt x="84" y="46"/>
                  </a:cubicBezTo>
                  <a:cubicBezTo>
                    <a:pt x="82" y="43"/>
                    <a:pt x="80" y="41"/>
                    <a:pt x="77" y="38"/>
                  </a:cubicBezTo>
                  <a:cubicBezTo>
                    <a:pt x="74" y="36"/>
                    <a:pt x="72" y="36"/>
                    <a:pt x="69" y="34"/>
                  </a:cubicBezTo>
                  <a:cubicBezTo>
                    <a:pt x="68" y="34"/>
                    <a:pt x="67" y="34"/>
                    <a:pt x="67" y="34"/>
                  </a:cubicBezTo>
                  <a:cubicBezTo>
                    <a:pt x="63" y="34"/>
                    <a:pt x="62" y="43"/>
                    <a:pt x="61" y="45"/>
                  </a:cubicBezTo>
                  <a:cubicBezTo>
                    <a:pt x="59" y="40"/>
                    <a:pt x="64" y="34"/>
                    <a:pt x="64" y="29"/>
                  </a:cubicBezTo>
                  <a:cubicBezTo>
                    <a:pt x="64" y="22"/>
                    <a:pt x="59" y="18"/>
                    <a:pt x="55" y="14"/>
                  </a:cubicBezTo>
                  <a:cubicBezTo>
                    <a:pt x="52" y="10"/>
                    <a:pt x="49" y="8"/>
                    <a:pt x="45" y="5"/>
                  </a:cubicBezTo>
                  <a:cubicBezTo>
                    <a:pt x="41" y="4"/>
                    <a:pt x="38" y="2"/>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 name="Freeform 381">
              <a:extLst>
                <a:ext uri="{FF2B5EF4-FFF2-40B4-BE49-F238E27FC236}">
                  <a16:creationId xmlns:a16="http://schemas.microsoft.com/office/drawing/2014/main" id="{79C03A0C-A792-4CC9-A63E-7EF6210095E3}"/>
                </a:ext>
              </a:extLst>
            </p:cNvPr>
            <p:cNvSpPr>
              <a:spLocks/>
            </p:cNvSpPr>
            <p:nvPr/>
          </p:nvSpPr>
          <p:spPr bwMode="auto">
            <a:xfrm>
              <a:off x="10891829" y="8613010"/>
              <a:ext cx="96838" cy="101600"/>
            </a:xfrm>
            <a:custGeom>
              <a:avLst/>
              <a:gdLst>
                <a:gd name="T0" fmla="*/ 18 w 26"/>
                <a:gd name="T1" fmla="*/ 0 h 27"/>
                <a:gd name="T2" fmla="*/ 15 w 26"/>
                <a:gd name="T3" fmla="*/ 0 h 27"/>
                <a:gd name="T4" fmla="*/ 15 w 26"/>
                <a:gd name="T5" fmla="*/ 1 h 27"/>
                <a:gd name="T6" fmla="*/ 17 w 26"/>
                <a:gd name="T7" fmla="*/ 1 h 27"/>
                <a:gd name="T8" fmla="*/ 17 w 26"/>
                <a:gd name="T9" fmla="*/ 2 h 27"/>
                <a:gd name="T10" fmla="*/ 16 w 26"/>
                <a:gd name="T11" fmla="*/ 5 h 27"/>
                <a:gd name="T12" fmla="*/ 16 w 26"/>
                <a:gd name="T13" fmla="*/ 5 h 27"/>
                <a:gd name="T14" fmla="*/ 15 w 26"/>
                <a:gd name="T15" fmla="*/ 6 h 27"/>
                <a:gd name="T16" fmla="*/ 14 w 26"/>
                <a:gd name="T17" fmla="*/ 12 h 27"/>
                <a:gd name="T18" fmla="*/ 14 w 26"/>
                <a:gd name="T19" fmla="*/ 13 h 27"/>
                <a:gd name="T20" fmla="*/ 14 w 26"/>
                <a:gd name="T21" fmla="*/ 13 h 27"/>
                <a:gd name="T22" fmla="*/ 14 w 26"/>
                <a:gd name="T23" fmla="*/ 18 h 27"/>
                <a:gd name="T24" fmla="*/ 14 w 26"/>
                <a:gd name="T25" fmla="*/ 19 h 27"/>
                <a:gd name="T26" fmla="*/ 13 w 26"/>
                <a:gd name="T27" fmla="*/ 21 h 27"/>
                <a:gd name="T28" fmla="*/ 13 w 26"/>
                <a:gd name="T29" fmla="*/ 22 h 27"/>
                <a:gd name="T30" fmla="*/ 12 w 26"/>
                <a:gd name="T31" fmla="*/ 23 h 27"/>
                <a:gd name="T32" fmla="*/ 9 w 26"/>
                <a:gd name="T33" fmla="*/ 25 h 27"/>
                <a:gd name="T34" fmla="*/ 7 w 26"/>
                <a:gd name="T35" fmla="*/ 25 h 27"/>
                <a:gd name="T36" fmla="*/ 5 w 26"/>
                <a:gd name="T37" fmla="*/ 25 h 27"/>
                <a:gd name="T38" fmla="*/ 3 w 26"/>
                <a:gd name="T39" fmla="*/ 24 h 27"/>
                <a:gd name="T40" fmla="*/ 2 w 26"/>
                <a:gd name="T41" fmla="*/ 25 h 27"/>
                <a:gd name="T42" fmla="*/ 0 w 26"/>
                <a:gd name="T43" fmla="*/ 26 h 27"/>
                <a:gd name="T44" fmla="*/ 0 w 26"/>
                <a:gd name="T45" fmla="*/ 27 h 27"/>
                <a:gd name="T46" fmla="*/ 26 w 26"/>
                <a:gd name="T47" fmla="*/ 27 h 27"/>
                <a:gd name="T48" fmla="*/ 26 w 26"/>
                <a:gd name="T49" fmla="*/ 0 h 27"/>
                <a:gd name="T50" fmla="*/ 24 w 26"/>
                <a:gd name="T51" fmla="*/ 0 h 27"/>
                <a:gd name="T52" fmla="*/ 18 w 26"/>
                <a:gd name="T5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27">
                  <a:moveTo>
                    <a:pt x="18" y="0"/>
                  </a:moveTo>
                  <a:cubicBezTo>
                    <a:pt x="17" y="0"/>
                    <a:pt x="16" y="0"/>
                    <a:pt x="15" y="0"/>
                  </a:cubicBezTo>
                  <a:cubicBezTo>
                    <a:pt x="15" y="1"/>
                    <a:pt x="15" y="1"/>
                    <a:pt x="15" y="1"/>
                  </a:cubicBezTo>
                  <a:cubicBezTo>
                    <a:pt x="17" y="1"/>
                    <a:pt x="17" y="1"/>
                    <a:pt x="17" y="1"/>
                  </a:cubicBezTo>
                  <a:cubicBezTo>
                    <a:pt x="17" y="2"/>
                    <a:pt x="17" y="2"/>
                    <a:pt x="17" y="2"/>
                  </a:cubicBezTo>
                  <a:cubicBezTo>
                    <a:pt x="17" y="3"/>
                    <a:pt x="16" y="4"/>
                    <a:pt x="16" y="5"/>
                  </a:cubicBezTo>
                  <a:cubicBezTo>
                    <a:pt x="16" y="5"/>
                    <a:pt x="16" y="5"/>
                    <a:pt x="16" y="5"/>
                  </a:cubicBezTo>
                  <a:cubicBezTo>
                    <a:pt x="16" y="6"/>
                    <a:pt x="15" y="6"/>
                    <a:pt x="15" y="6"/>
                  </a:cubicBezTo>
                  <a:cubicBezTo>
                    <a:pt x="15" y="8"/>
                    <a:pt x="14" y="10"/>
                    <a:pt x="14" y="12"/>
                  </a:cubicBezTo>
                  <a:cubicBezTo>
                    <a:pt x="14" y="13"/>
                    <a:pt x="14" y="13"/>
                    <a:pt x="14" y="13"/>
                  </a:cubicBezTo>
                  <a:cubicBezTo>
                    <a:pt x="14" y="13"/>
                    <a:pt x="14" y="13"/>
                    <a:pt x="14" y="13"/>
                  </a:cubicBezTo>
                  <a:cubicBezTo>
                    <a:pt x="14" y="15"/>
                    <a:pt x="14" y="17"/>
                    <a:pt x="14" y="18"/>
                  </a:cubicBezTo>
                  <a:cubicBezTo>
                    <a:pt x="14" y="19"/>
                    <a:pt x="14" y="19"/>
                    <a:pt x="14" y="19"/>
                  </a:cubicBezTo>
                  <a:cubicBezTo>
                    <a:pt x="14" y="19"/>
                    <a:pt x="13" y="20"/>
                    <a:pt x="13" y="21"/>
                  </a:cubicBezTo>
                  <a:cubicBezTo>
                    <a:pt x="13" y="22"/>
                    <a:pt x="13" y="22"/>
                    <a:pt x="13" y="22"/>
                  </a:cubicBezTo>
                  <a:cubicBezTo>
                    <a:pt x="12" y="23"/>
                    <a:pt x="12" y="23"/>
                    <a:pt x="12" y="23"/>
                  </a:cubicBezTo>
                  <a:cubicBezTo>
                    <a:pt x="12" y="24"/>
                    <a:pt x="10" y="25"/>
                    <a:pt x="9" y="25"/>
                  </a:cubicBezTo>
                  <a:cubicBezTo>
                    <a:pt x="8" y="25"/>
                    <a:pt x="8" y="25"/>
                    <a:pt x="7" y="25"/>
                  </a:cubicBezTo>
                  <a:cubicBezTo>
                    <a:pt x="6" y="25"/>
                    <a:pt x="5" y="25"/>
                    <a:pt x="5" y="25"/>
                  </a:cubicBezTo>
                  <a:cubicBezTo>
                    <a:pt x="4" y="25"/>
                    <a:pt x="3" y="25"/>
                    <a:pt x="3" y="24"/>
                  </a:cubicBezTo>
                  <a:cubicBezTo>
                    <a:pt x="2" y="25"/>
                    <a:pt x="2" y="25"/>
                    <a:pt x="2" y="25"/>
                  </a:cubicBezTo>
                  <a:cubicBezTo>
                    <a:pt x="1" y="25"/>
                    <a:pt x="1" y="25"/>
                    <a:pt x="0" y="26"/>
                  </a:cubicBezTo>
                  <a:cubicBezTo>
                    <a:pt x="0" y="27"/>
                    <a:pt x="0" y="27"/>
                    <a:pt x="0" y="27"/>
                  </a:cubicBezTo>
                  <a:cubicBezTo>
                    <a:pt x="26" y="27"/>
                    <a:pt x="26" y="27"/>
                    <a:pt x="26" y="27"/>
                  </a:cubicBezTo>
                  <a:cubicBezTo>
                    <a:pt x="26" y="0"/>
                    <a:pt x="26" y="0"/>
                    <a:pt x="26" y="0"/>
                  </a:cubicBezTo>
                  <a:cubicBezTo>
                    <a:pt x="26" y="0"/>
                    <a:pt x="25" y="0"/>
                    <a:pt x="24" y="0"/>
                  </a:cubicBezTo>
                  <a:cubicBezTo>
                    <a:pt x="23"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 name="Freeform 5">
              <a:extLst>
                <a:ext uri="{FF2B5EF4-FFF2-40B4-BE49-F238E27FC236}">
                  <a16:creationId xmlns:a16="http://schemas.microsoft.com/office/drawing/2014/main" id="{2B069DB0-638B-4A6B-B8D0-ACBBFEBED9BD}"/>
                </a:ext>
              </a:extLst>
            </p:cNvPr>
            <p:cNvSpPr>
              <a:spLocks noEditPoints="1"/>
            </p:cNvSpPr>
            <p:nvPr/>
          </p:nvSpPr>
          <p:spPr bwMode="auto">
            <a:xfrm>
              <a:off x="3648399" y="1406918"/>
              <a:ext cx="7340600" cy="3843338"/>
            </a:xfrm>
            <a:custGeom>
              <a:avLst/>
              <a:gdLst>
                <a:gd name="T0" fmla="*/ 1866 w 1955"/>
                <a:gd name="T1" fmla="*/ 627 h 1022"/>
                <a:gd name="T2" fmla="*/ 1798 w 1955"/>
                <a:gd name="T3" fmla="*/ 492 h 1022"/>
                <a:gd name="T4" fmla="*/ 1752 w 1955"/>
                <a:gd name="T5" fmla="*/ 470 h 1022"/>
                <a:gd name="T6" fmla="*/ 1748 w 1955"/>
                <a:gd name="T7" fmla="*/ 488 h 1022"/>
                <a:gd name="T8" fmla="*/ 1736 w 1955"/>
                <a:gd name="T9" fmla="*/ 508 h 1022"/>
                <a:gd name="T10" fmla="*/ 1731 w 1955"/>
                <a:gd name="T11" fmla="*/ 505 h 1022"/>
                <a:gd name="T12" fmla="*/ 1694 w 1955"/>
                <a:gd name="T13" fmla="*/ 524 h 1022"/>
                <a:gd name="T14" fmla="*/ 1670 w 1955"/>
                <a:gd name="T15" fmla="*/ 534 h 1022"/>
                <a:gd name="T16" fmla="*/ 1681 w 1955"/>
                <a:gd name="T17" fmla="*/ 505 h 1022"/>
                <a:gd name="T18" fmla="*/ 1647 w 1955"/>
                <a:gd name="T19" fmla="*/ 503 h 1022"/>
                <a:gd name="T20" fmla="*/ 1662 w 1955"/>
                <a:gd name="T21" fmla="*/ 490 h 1022"/>
                <a:gd name="T22" fmla="*/ 1657 w 1955"/>
                <a:gd name="T23" fmla="*/ 431 h 1022"/>
                <a:gd name="T24" fmla="*/ 1456 w 1955"/>
                <a:gd name="T25" fmla="*/ 383 h 1022"/>
                <a:gd name="T26" fmla="*/ 1466 w 1955"/>
                <a:gd name="T27" fmla="*/ 475 h 1022"/>
                <a:gd name="T28" fmla="*/ 1449 w 1955"/>
                <a:gd name="T29" fmla="*/ 500 h 1022"/>
                <a:gd name="T30" fmla="*/ 1473 w 1955"/>
                <a:gd name="T31" fmla="*/ 528 h 1022"/>
                <a:gd name="T32" fmla="*/ 1492 w 1955"/>
                <a:gd name="T33" fmla="*/ 590 h 1022"/>
                <a:gd name="T34" fmla="*/ 1434 w 1955"/>
                <a:gd name="T35" fmla="*/ 658 h 1022"/>
                <a:gd name="T36" fmla="*/ 1438 w 1955"/>
                <a:gd name="T37" fmla="*/ 695 h 1022"/>
                <a:gd name="T38" fmla="*/ 1438 w 1955"/>
                <a:gd name="T39" fmla="*/ 748 h 1022"/>
                <a:gd name="T40" fmla="*/ 1394 w 1955"/>
                <a:gd name="T41" fmla="*/ 753 h 1022"/>
                <a:gd name="T42" fmla="*/ 1384 w 1955"/>
                <a:gd name="T43" fmla="*/ 724 h 1022"/>
                <a:gd name="T44" fmla="*/ 1359 w 1955"/>
                <a:gd name="T45" fmla="*/ 660 h 1022"/>
                <a:gd name="T46" fmla="*/ 1298 w 1955"/>
                <a:gd name="T47" fmla="*/ 622 h 1022"/>
                <a:gd name="T48" fmla="*/ 1228 w 1955"/>
                <a:gd name="T49" fmla="*/ 585 h 1022"/>
                <a:gd name="T50" fmla="*/ 1124 w 1955"/>
                <a:gd name="T51" fmla="*/ 328 h 1022"/>
                <a:gd name="T52" fmla="*/ 1303 w 1955"/>
                <a:gd name="T53" fmla="*/ 250 h 1022"/>
                <a:gd name="T54" fmla="*/ 1286 w 1955"/>
                <a:gd name="T55" fmla="*/ 109 h 1022"/>
                <a:gd name="T56" fmla="*/ 1135 w 1955"/>
                <a:gd name="T57" fmla="*/ 84 h 1022"/>
                <a:gd name="T58" fmla="*/ 1081 w 1955"/>
                <a:gd name="T59" fmla="*/ 122 h 1022"/>
                <a:gd name="T60" fmla="*/ 950 w 1955"/>
                <a:gd name="T61" fmla="*/ 175 h 1022"/>
                <a:gd name="T62" fmla="*/ 740 w 1955"/>
                <a:gd name="T63" fmla="*/ 184 h 1022"/>
                <a:gd name="T64" fmla="*/ 268 w 1955"/>
                <a:gd name="T65" fmla="*/ 93 h 1022"/>
                <a:gd name="T66" fmla="*/ 138 w 1955"/>
                <a:gd name="T67" fmla="*/ 95 h 1022"/>
                <a:gd name="T68" fmla="*/ 131 w 1955"/>
                <a:gd name="T69" fmla="*/ 475 h 1022"/>
                <a:gd name="T70" fmla="*/ 246 w 1955"/>
                <a:gd name="T71" fmla="*/ 655 h 1022"/>
                <a:gd name="T72" fmla="*/ 288 w 1955"/>
                <a:gd name="T73" fmla="*/ 701 h 1022"/>
                <a:gd name="T74" fmla="*/ 312 w 1955"/>
                <a:gd name="T75" fmla="*/ 737 h 1022"/>
                <a:gd name="T76" fmla="*/ 383 w 1955"/>
                <a:gd name="T77" fmla="*/ 772 h 1022"/>
                <a:gd name="T78" fmla="*/ 1140 w 1955"/>
                <a:gd name="T79" fmla="*/ 838 h 1022"/>
                <a:gd name="T80" fmla="*/ 1207 w 1955"/>
                <a:gd name="T81" fmla="*/ 831 h 1022"/>
                <a:gd name="T82" fmla="*/ 1218 w 1955"/>
                <a:gd name="T83" fmla="*/ 823 h 1022"/>
                <a:gd name="T84" fmla="*/ 1224 w 1955"/>
                <a:gd name="T85" fmla="*/ 818 h 1022"/>
                <a:gd name="T86" fmla="*/ 1271 w 1955"/>
                <a:gd name="T87" fmla="*/ 841 h 1022"/>
                <a:gd name="T88" fmla="*/ 1306 w 1955"/>
                <a:gd name="T89" fmla="*/ 867 h 1022"/>
                <a:gd name="T90" fmla="*/ 1318 w 1955"/>
                <a:gd name="T91" fmla="*/ 896 h 1022"/>
                <a:gd name="T92" fmla="*/ 1382 w 1955"/>
                <a:gd name="T93" fmla="*/ 907 h 1022"/>
                <a:gd name="T94" fmla="*/ 1400 w 1955"/>
                <a:gd name="T95" fmla="*/ 946 h 1022"/>
                <a:gd name="T96" fmla="*/ 1379 w 1955"/>
                <a:gd name="T97" fmla="*/ 933 h 1022"/>
                <a:gd name="T98" fmla="*/ 1356 w 1955"/>
                <a:gd name="T99" fmla="*/ 992 h 1022"/>
                <a:gd name="T100" fmla="*/ 1421 w 1955"/>
                <a:gd name="T101" fmla="*/ 977 h 1022"/>
                <a:gd name="T102" fmla="*/ 1667 w 1955"/>
                <a:gd name="T103" fmla="*/ 861 h 1022"/>
                <a:gd name="T104" fmla="*/ 1765 w 1955"/>
                <a:gd name="T105" fmla="*/ 875 h 1022"/>
                <a:gd name="T106" fmla="*/ 1779 w 1955"/>
                <a:gd name="T107" fmla="*/ 832 h 1022"/>
                <a:gd name="T108" fmla="*/ 1707 w 1955"/>
                <a:gd name="T109" fmla="*/ 820 h 1022"/>
                <a:gd name="T110" fmla="*/ 1642 w 1955"/>
                <a:gd name="T111" fmla="*/ 857 h 1022"/>
                <a:gd name="T112" fmla="*/ 1620 w 1955"/>
                <a:gd name="T113" fmla="*/ 834 h 1022"/>
                <a:gd name="T114" fmla="*/ 1672 w 1955"/>
                <a:gd name="T115" fmla="*/ 821 h 1022"/>
                <a:gd name="T116" fmla="*/ 1735 w 1955"/>
                <a:gd name="T117" fmla="*/ 782 h 1022"/>
                <a:gd name="T118" fmla="*/ 1912 w 1955"/>
                <a:gd name="T119" fmla="*/ 804 h 1022"/>
                <a:gd name="T120" fmla="*/ 466 w 1955"/>
                <a:gd name="T121" fmla="*/ 277 h 1022"/>
                <a:gd name="T122" fmla="*/ 707 w 1955"/>
                <a:gd name="T123" fmla="*/ 374 h 1022"/>
                <a:gd name="T124" fmla="*/ 1034 w 1955"/>
                <a:gd name="T125" fmla="*/ 768 h 1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55" h="1022">
                  <a:moveTo>
                    <a:pt x="1952" y="846"/>
                  </a:moveTo>
                  <a:cubicBezTo>
                    <a:pt x="1953" y="846"/>
                    <a:pt x="1954" y="846"/>
                    <a:pt x="1955" y="846"/>
                  </a:cubicBezTo>
                  <a:cubicBezTo>
                    <a:pt x="1955" y="781"/>
                    <a:pt x="1955" y="781"/>
                    <a:pt x="1955" y="781"/>
                  </a:cubicBezTo>
                  <a:cubicBezTo>
                    <a:pt x="1953" y="783"/>
                    <a:pt x="1951" y="788"/>
                    <a:pt x="1950" y="789"/>
                  </a:cubicBezTo>
                  <a:cubicBezTo>
                    <a:pt x="1950" y="787"/>
                    <a:pt x="1950" y="786"/>
                    <a:pt x="1950" y="784"/>
                  </a:cubicBezTo>
                  <a:cubicBezTo>
                    <a:pt x="1950" y="784"/>
                    <a:pt x="1949" y="783"/>
                    <a:pt x="1948" y="783"/>
                  </a:cubicBezTo>
                  <a:cubicBezTo>
                    <a:pt x="1949" y="781"/>
                    <a:pt x="1950" y="778"/>
                    <a:pt x="1951" y="776"/>
                  </a:cubicBezTo>
                  <a:cubicBezTo>
                    <a:pt x="1952" y="774"/>
                    <a:pt x="1952" y="773"/>
                    <a:pt x="1953" y="772"/>
                  </a:cubicBezTo>
                  <a:cubicBezTo>
                    <a:pt x="1954" y="771"/>
                    <a:pt x="1955" y="769"/>
                    <a:pt x="1955" y="768"/>
                  </a:cubicBezTo>
                  <a:cubicBezTo>
                    <a:pt x="1955" y="674"/>
                    <a:pt x="1955" y="674"/>
                    <a:pt x="1955" y="674"/>
                  </a:cubicBezTo>
                  <a:cubicBezTo>
                    <a:pt x="1955" y="674"/>
                    <a:pt x="1954" y="674"/>
                    <a:pt x="1953" y="674"/>
                  </a:cubicBezTo>
                  <a:cubicBezTo>
                    <a:pt x="1953" y="674"/>
                    <a:pt x="1954" y="674"/>
                    <a:pt x="1955" y="673"/>
                  </a:cubicBezTo>
                  <a:cubicBezTo>
                    <a:pt x="1955" y="671"/>
                    <a:pt x="1955" y="671"/>
                    <a:pt x="1955" y="671"/>
                  </a:cubicBezTo>
                  <a:cubicBezTo>
                    <a:pt x="1955" y="671"/>
                    <a:pt x="1955" y="671"/>
                    <a:pt x="1955" y="671"/>
                  </a:cubicBezTo>
                  <a:cubicBezTo>
                    <a:pt x="1955" y="672"/>
                    <a:pt x="1955" y="672"/>
                    <a:pt x="1955" y="673"/>
                  </a:cubicBezTo>
                  <a:cubicBezTo>
                    <a:pt x="1952" y="672"/>
                    <a:pt x="1948" y="671"/>
                    <a:pt x="1945" y="674"/>
                  </a:cubicBezTo>
                  <a:cubicBezTo>
                    <a:pt x="1943" y="675"/>
                    <a:pt x="1943" y="677"/>
                    <a:pt x="1942" y="678"/>
                  </a:cubicBezTo>
                  <a:cubicBezTo>
                    <a:pt x="1941" y="680"/>
                    <a:pt x="1939" y="682"/>
                    <a:pt x="1938" y="681"/>
                  </a:cubicBezTo>
                  <a:cubicBezTo>
                    <a:pt x="1939" y="678"/>
                    <a:pt x="1939" y="674"/>
                    <a:pt x="1934" y="677"/>
                  </a:cubicBezTo>
                  <a:cubicBezTo>
                    <a:pt x="1935" y="675"/>
                    <a:pt x="1938" y="674"/>
                    <a:pt x="1940" y="673"/>
                  </a:cubicBezTo>
                  <a:cubicBezTo>
                    <a:pt x="1941" y="673"/>
                    <a:pt x="1943" y="672"/>
                    <a:pt x="1943" y="672"/>
                  </a:cubicBezTo>
                  <a:cubicBezTo>
                    <a:pt x="1944" y="671"/>
                    <a:pt x="1943" y="670"/>
                    <a:pt x="1944" y="669"/>
                  </a:cubicBezTo>
                  <a:cubicBezTo>
                    <a:pt x="1944" y="668"/>
                    <a:pt x="1943" y="667"/>
                    <a:pt x="1942" y="666"/>
                  </a:cubicBezTo>
                  <a:cubicBezTo>
                    <a:pt x="1942" y="665"/>
                    <a:pt x="1943" y="666"/>
                    <a:pt x="1943" y="665"/>
                  </a:cubicBezTo>
                  <a:cubicBezTo>
                    <a:pt x="1939" y="662"/>
                    <a:pt x="1934" y="658"/>
                    <a:pt x="1929" y="657"/>
                  </a:cubicBezTo>
                  <a:cubicBezTo>
                    <a:pt x="1927" y="657"/>
                    <a:pt x="1926" y="657"/>
                    <a:pt x="1923" y="656"/>
                  </a:cubicBezTo>
                  <a:cubicBezTo>
                    <a:pt x="1921" y="656"/>
                    <a:pt x="1914" y="655"/>
                    <a:pt x="1913" y="659"/>
                  </a:cubicBezTo>
                  <a:cubicBezTo>
                    <a:pt x="1918" y="661"/>
                    <a:pt x="1923" y="658"/>
                    <a:pt x="1927" y="661"/>
                  </a:cubicBezTo>
                  <a:cubicBezTo>
                    <a:pt x="1925" y="661"/>
                    <a:pt x="1923" y="661"/>
                    <a:pt x="1921" y="661"/>
                  </a:cubicBezTo>
                  <a:cubicBezTo>
                    <a:pt x="1919" y="661"/>
                    <a:pt x="1919" y="661"/>
                    <a:pt x="1917" y="661"/>
                  </a:cubicBezTo>
                  <a:cubicBezTo>
                    <a:pt x="1915" y="662"/>
                    <a:pt x="1912" y="663"/>
                    <a:pt x="1910" y="663"/>
                  </a:cubicBezTo>
                  <a:cubicBezTo>
                    <a:pt x="1908" y="664"/>
                    <a:pt x="1905" y="665"/>
                    <a:pt x="1903" y="666"/>
                  </a:cubicBezTo>
                  <a:cubicBezTo>
                    <a:pt x="1902" y="666"/>
                    <a:pt x="1901" y="668"/>
                    <a:pt x="1900" y="669"/>
                  </a:cubicBezTo>
                  <a:cubicBezTo>
                    <a:pt x="1900" y="669"/>
                    <a:pt x="1899" y="669"/>
                    <a:pt x="1898" y="670"/>
                  </a:cubicBezTo>
                  <a:cubicBezTo>
                    <a:pt x="1898" y="670"/>
                    <a:pt x="1899" y="671"/>
                    <a:pt x="1899" y="672"/>
                  </a:cubicBezTo>
                  <a:cubicBezTo>
                    <a:pt x="1899" y="674"/>
                    <a:pt x="1896" y="673"/>
                    <a:pt x="1895" y="673"/>
                  </a:cubicBezTo>
                  <a:cubicBezTo>
                    <a:pt x="1892" y="674"/>
                    <a:pt x="1891" y="675"/>
                    <a:pt x="1889" y="676"/>
                  </a:cubicBezTo>
                  <a:cubicBezTo>
                    <a:pt x="1887" y="678"/>
                    <a:pt x="1886" y="679"/>
                    <a:pt x="1883" y="679"/>
                  </a:cubicBezTo>
                  <a:cubicBezTo>
                    <a:pt x="1879" y="679"/>
                    <a:pt x="1879" y="678"/>
                    <a:pt x="1879" y="681"/>
                  </a:cubicBezTo>
                  <a:cubicBezTo>
                    <a:pt x="1878" y="681"/>
                    <a:pt x="1877" y="683"/>
                    <a:pt x="1876" y="684"/>
                  </a:cubicBezTo>
                  <a:cubicBezTo>
                    <a:pt x="1875" y="685"/>
                    <a:pt x="1872" y="684"/>
                    <a:pt x="1874" y="686"/>
                  </a:cubicBezTo>
                  <a:cubicBezTo>
                    <a:pt x="1873" y="685"/>
                    <a:pt x="1869" y="687"/>
                    <a:pt x="1867" y="687"/>
                  </a:cubicBezTo>
                  <a:cubicBezTo>
                    <a:pt x="1869" y="686"/>
                    <a:pt x="1871" y="686"/>
                    <a:pt x="1872" y="684"/>
                  </a:cubicBezTo>
                  <a:cubicBezTo>
                    <a:pt x="1871" y="684"/>
                    <a:pt x="1869" y="684"/>
                    <a:pt x="1867" y="685"/>
                  </a:cubicBezTo>
                  <a:cubicBezTo>
                    <a:pt x="1868" y="683"/>
                    <a:pt x="1873" y="680"/>
                    <a:pt x="1876" y="681"/>
                  </a:cubicBezTo>
                  <a:cubicBezTo>
                    <a:pt x="1876" y="679"/>
                    <a:pt x="1868" y="676"/>
                    <a:pt x="1866" y="675"/>
                  </a:cubicBezTo>
                  <a:cubicBezTo>
                    <a:pt x="1863" y="673"/>
                    <a:pt x="1859" y="672"/>
                    <a:pt x="1855" y="673"/>
                  </a:cubicBezTo>
                  <a:cubicBezTo>
                    <a:pt x="1856" y="671"/>
                    <a:pt x="1856" y="670"/>
                    <a:pt x="1856" y="669"/>
                  </a:cubicBezTo>
                  <a:cubicBezTo>
                    <a:pt x="1859" y="673"/>
                    <a:pt x="1864" y="672"/>
                    <a:pt x="1868" y="674"/>
                  </a:cubicBezTo>
                  <a:cubicBezTo>
                    <a:pt x="1869" y="675"/>
                    <a:pt x="1872" y="678"/>
                    <a:pt x="1873" y="678"/>
                  </a:cubicBezTo>
                  <a:cubicBezTo>
                    <a:pt x="1877" y="678"/>
                    <a:pt x="1872" y="672"/>
                    <a:pt x="1876" y="673"/>
                  </a:cubicBezTo>
                  <a:cubicBezTo>
                    <a:pt x="1875" y="670"/>
                    <a:pt x="1877" y="671"/>
                    <a:pt x="1879" y="670"/>
                  </a:cubicBezTo>
                  <a:cubicBezTo>
                    <a:pt x="1879" y="670"/>
                    <a:pt x="1881" y="669"/>
                    <a:pt x="1881" y="669"/>
                  </a:cubicBezTo>
                  <a:cubicBezTo>
                    <a:pt x="1881" y="669"/>
                    <a:pt x="1881" y="669"/>
                    <a:pt x="1882" y="669"/>
                  </a:cubicBezTo>
                  <a:cubicBezTo>
                    <a:pt x="1882" y="668"/>
                    <a:pt x="1882" y="669"/>
                    <a:pt x="1883" y="669"/>
                  </a:cubicBezTo>
                  <a:cubicBezTo>
                    <a:pt x="1886" y="668"/>
                    <a:pt x="1888" y="669"/>
                    <a:pt x="1891" y="667"/>
                  </a:cubicBezTo>
                  <a:cubicBezTo>
                    <a:pt x="1894" y="666"/>
                    <a:pt x="1898" y="666"/>
                    <a:pt x="1900" y="665"/>
                  </a:cubicBezTo>
                  <a:cubicBezTo>
                    <a:pt x="1901" y="664"/>
                    <a:pt x="1901" y="662"/>
                    <a:pt x="1902" y="662"/>
                  </a:cubicBezTo>
                  <a:cubicBezTo>
                    <a:pt x="1904" y="661"/>
                    <a:pt x="1906" y="663"/>
                    <a:pt x="1907" y="662"/>
                  </a:cubicBezTo>
                  <a:cubicBezTo>
                    <a:pt x="1910" y="662"/>
                    <a:pt x="1912" y="658"/>
                    <a:pt x="1914" y="656"/>
                  </a:cubicBezTo>
                  <a:cubicBezTo>
                    <a:pt x="1909" y="658"/>
                    <a:pt x="1906" y="660"/>
                    <a:pt x="1901" y="661"/>
                  </a:cubicBezTo>
                  <a:cubicBezTo>
                    <a:pt x="1898" y="662"/>
                    <a:pt x="1889" y="665"/>
                    <a:pt x="1886" y="662"/>
                  </a:cubicBezTo>
                  <a:cubicBezTo>
                    <a:pt x="1889" y="661"/>
                    <a:pt x="1893" y="661"/>
                    <a:pt x="1897" y="660"/>
                  </a:cubicBezTo>
                  <a:cubicBezTo>
                    <a:pt x="1899" y="660"/>
                    <a:pt x="1902" y="659"/>
                    <a:pt x="1905" y="659"/>
                  </a:cubicBezTo>
                  <a:cubicBezTo>
                    <a:pt x="1908" y="659"/>
                    <a:pt x="1909" y="657"/>
                    <a:pt x="1912" y="656"/>
                  </a:cubicBezTo>
                  <a:cubicBezTo>
                    <a:pt x="1914" y="656"/>
                    <a:pt x="1915" y="656"/>
                    <a:pt x="1916" y="655"/>
                  </a:cubicBezTo>
                  <a:cubicBezTo>
                    <a:pt x="1917" y="655"/>
                    <a:pt x="1920" y="654"/>
                    <a:pt x="1920" y="653"/>
                  </a:cubicBezTo>
                  <a:cubicBezTo>
                    <a:pt x="1920" y="653"/>
                    <a:pt x="1920" y="653"/>
                    <a:pt x="1920" y="653"/>
                  </a:cubicBezTo>
                  <a:cubicBezTo>
                    <a:pt x="1919" y="653"/>
                    <a:pt x="1918" y="653"/>
                    <a:pt x="1917" y="654"/>
                  </a:cubicBezTo>
                  <a:cubicBezTo>
                    <a:pt x="1921" y="649"/>
                    <a:pt x="1932" y="654"/>
                    <a:pt x="1935" y="649"/>
                  </a:cubicBezTo>
                  <a:cubicBezTo>
                    <a:pt x="1933" y="649"/>
                    <a:pt x="1932" y="648"/>
                    <a:pt x="1930" y="649"/>
                  </a:cubicBezTo>
                  <a:cubicBezTo>
                    <a:pt x="1934" y="647"/>
                    <a:pt x="1936" y="649"/>
                    <a:pt x="1938" y="645"/>
                  </a:cubicBezTo>
                  <a:cubicBezTo>
                    <a:pt x="1935" y="644"/>
                    <a:pt x="1933" y="644"/>
                    <a:pt x="1931" y="643"/>
                  </a:cubicBezTo>
                  <a:cubicBezTo>
                    <a:pt x="1929" y="643"/>
                    <a:pt x="1927" y="640"/>
                    <a:pt x="1925" y="640"/>
                  </a:cubicBezTo>
                  <a:cubicBezTo>
                    <a:pt x="1924" y="639"/>
                    <a:pt x="1923" y="640"/>
                    <a:pt x="1922" y="640"/>
                  </a:cubicBezTo>
                  <a:cubicBezTo>
                    <a:pt x="1920" y="640"/>
                    <a:pt x="1919" y="639"/>
                    <a:pt x="1917" y="638"/>
                  </a:cubicBezTo>
                  <a:cubicBezTo>
                    <a:pt x="1916" y="638"/>
                    <a:pt x="1915" y="638"/>
                    <a:pt x="1914" y="638"/>
                  </a:cubicBezTo>
                  <a:cubicBezTo>
                    <a:pt x="1913" y="638"/>
                    <a:pt x="1914" y="641"/>
                    <a:pt x="1912" y="639"/>
                  </a:cubicBezTo>
                  <a:cubicBezTo>
                    <a:pt x="1911" y="638"/>
                    <a:pt x="1911" y="639"/>
                    <a:pt x="1910" y="639"/>
                  </a:cubicBezTo>
                  <a:cubicBezTo>
                    <a:pt x="1910" y="639"/>
                    <a:pt x="1909" y="638"/>
                    <a:pt x="1908" y="637"/>
                  </a:cubicBezTo>
                  <a:cubicBezTo>
                    <a:pt x="1907" y="637"/>
                    <a:pt x="1906" y="636"/>
                    <a:pt x="1905" y="638"/>
                  </a:cubicBezTo>
                  <a:cubicBezTo>
                    <a:pt x="1904" y="637"/>
                    <a:pt x="1901" y="635"/>
                    <a:pt x="1900" y="635"/>
                  </a:cubicBezTo>
                  <a:cubicBezTo>
                    <a:pt x="1903" y="632"/>
                    <a:pt x="1901" y="634"/>
                    <a:pt x="1901" y="630"/>
                  </a:cubicBezTo>
                  <a:cubicBezTo>
                    <a:pt x="1900" y="629"/>
                    <a:pt x="1900" y="628"/>
                    <a:pt x="1901" y="627"/>
                  </a:cubicBezTo>
                  <a:cubicBezTo>
                    <a:pt x="1899" y="627"/>
                    <a:pt x="1898" y="629"/>
                    <a:pt x="1896" y="628"/>
                  </a:cubicBezTo>
                  <a:cubicBezTo>
                    <a:pt x="1896" y="629"/>
                    <a:pt x="1896" y="629"/>
                    <a:pt x="1896" y="629"/>
                  </a:cubicBezTo>
                  <a:cubicBezTo>
                    <a:pt x="1895" y="629"/>
                    <a:pt x="1894" y="630"/>
                    <a:pt x="1894" y="630"/>
                  </a:cubicBezTo>
                  <a:cubicBezTo>
                    <a:pt x="1893" y="630"/>
                    <a:pt x="1891" y="631"/>
                    <a:pt x="1891" y="632"/>
                  </a:cubicBezTo>
                  <a:cubicBezTo>
                    <a:pt x="1892" y="631"/>
                    <a:pt x="1897" y="626"/>
                    <a:pt x="1897" y="625"/>
                  </a:cubicBezTo>
                  <a:cubicBezTo>
                    <a:pt x="1896" y="622"/>
                    <a:pt x="1893" y="626"/>
                    <a:pt x="1892" y="627"/>
                  </a:cubicBezTo>
                  <a:cubicBezTo>
                    <a:pt x="1891" y="628"/>
                    <a:pt x="1890" y="631"/>
                    <a:pt x="1890" y="630"/>
                  </a:cubicBezTo>
                  <a:cubicBezTo>
                    <a:pt x="1889" y="630"/>
                    <a:pt x="1884" y="634"/>
                    <a:pt x="1883" y="634"/>
                  </a:cubicBezTo>
                  <a:cubicBezTo>
                    <a:pt x="1881" y="636"/>
                    <a:pt x="1882" y="640"/>
                    <a:pt x="1878" y="640"/>
                  </a:cubicBezTo>
                  <a:cubicBezTo>
                    <a:pt x="1880" y="637"/>
                    <a:pt x="1881" y="634"/>
                    <a:pt x="1883" y="632"/>
                  </a:cubicBezTo>
                  <a:cubicBezTo>
                    <a:pt x="1884" y="631"/>
                    <a:pt x="1886" y="631"/>
                    <a:pt x="1887" y="630"/>
                  </a:cubicBezTo>
                  <a:cubicBezTo>
                    <a:pt x="1888" y="630"/>
                    <a:pt x="1890" y="627"/>
                    <a:pt x="1890" y="627"/>
                  </a:cubicBezTo>
                  <a:cubicBezTo>
                    <a:pt x="1889" y="625"/>
                    <a:pt x="1886" y="627"/>
                    <a:pt x="1885" y="627"/>
                  </a:cubicBezTo>
                  <a:cubicBezTo>
                    <a:pt x="1883" y="627"/>
                    <a:pt x="1879" y="627"/>
                    <a:pt x="1878" y="628"/>
                  </a:cubicBezTo>
                  <a:cubicBezTo>
                    <a:pt x="1879" y="626"/>
                    <a:pt x="1882" y="626"/>
                    <a:pt x="1883" y="625"/>
                  </a:cubicBezTo>
                  <a:cubicBezTo>
                    <a:pt x="1882" y="625"/>
                    <a:pt x="1883" y="622"/>
                    <a:pt x="1883" y="623"/>
                  </a:cubicBezTo>
                  <a:cubicBezTo>
                    <a:pt x="1882" y="621"/>
                    <a:pt x="1880" y="623"/>
                    <a:pt x="1878" y="623"/>
                  </a:cubicBezTo>
                  <a:cubicBezTo>
                    <a:pt x="1879" y="623"/>
                    <a:pt x="1876" y="624"/>
                    <a:pt x="1876" y="624"/>
                  </a:cubicBezTo>
                  <a:cubicBezTo>
                    <a:pt x="1876" y="624"/>
                    <a:pt x="1875" y="625"/>
                    <a:pt x="1875" y="626"/>
                  </a:cubicBezTo>
                  <a:cubicBezTo>
                    <a:pt x="1873" y="628"/>
                    <a:pt x="1871" y="629"/>
                    <a:pt x="1870" y="631"/>
                  </a:cubicBezTo>
                  <a:cubicBezTo>
                    <a:pt x="1871" y="629"/>
                    <a:pt x="1874" y="625"/>
                    <a:pt x="1876" y="623"/>
                  </a:cubicBezTo>
                  <a:cubicBezTo>
                    <a:pt x="1874" y="623"/>
                    <a:pt x="1873" y="624"/>
                    <a:pt x="1872" y="625"/>
                  </a:cubicBezTo>
                  <a:cubicBezTo>
                    <a:pt x="1872" y="625"/>
                    <a:pt x="1872" y="624"/>
                    <a:pt x="1872" y="623"/>
                  </a:cubicBezTo>
                  <a:cubicBezTo>
                    <a:pt x="1870" y="623"/>
                    <a:pt x="1870" y="624"/>
                    <a:pt x="1869" y="625"/>
                  </a:cubicBezTo>
                  <a:cubicBezTo>
                    <a:pt x="1867" y="626"/>
                    <a:pt x="1867" y="626"/>
                    <a:pt x="1866" y="627"/>
                  </a:cubicBezTo>
                  <a:cubicBezTo>
                    <a:pt x="1864" y="628"/>
                    <a:pt x="1863" y="630"/>
                    <a:pt x="1861" y="631"/>
                  </a:cubicBezTo>
                  <a:cubicBezTo>
                    <a:pt x="1862" y="628"/>
                    <a:pt x="1866" y="626"/>
                    <a:pt x="1868" y="623"/>
                  </a:cubicBezTo>
                  <a:cubicBezTo>
                    <a:pt x="1865" y="623"/>
                    <a:pt x="1865" y="625"/>
                    <a:pt x="1863" y="626"/>
                  </a:cubicBezTo>
                  <a:cubicBezTo>
                    <a:pt x="1863" y="625"/>
                    <a:pt x="1865" y="623"/>
                    <a:pt x="1866" y="622"/>
                  </a:cubicBezTo>
                  <a:cubicBezTo>
                    <a:pt x="1866" y="622"/>
                    <a:pt x="1866" y="623"/>
                    <a:pt x="1867" y="622"/>
                  </a:cubicBezTo>
                  <a:cubicBezTo>
                    <a:pt x="1867" y="622"/>
                    <a:pt x="1867" y="621"/>
                    <a:pt x="1868" y="620"/>
                  </a:cubicBezTo>
                  <a:cubicBezTo>
                    <a:pt x="1869" y="619"/>
                    <a:pt x="1869" y="619"/>
                    <a:pt x="1870" y="618"/>
                  </a:cubicBezTo>
                  <a:cubicBezTo>
                    <a:pt x="1871" y="617"/>
                    <a:pt x="1873" y="618"/>
                    <a:pt x="1872" y="616"/>
                  </a:cubicBezTo>
                  <a:cubicBezTo>
                    <a:pt x="1870" y="617"/>
                    <a:pt x="1868" y="617"/>
                    <a:pt x="1867" y="617"/>
                  </a:cubicBezTo>
                  <a:cubicBezTo>
                    <a:pt x="1866" y="618"/>
                    <a:pt x="1867" y="619"/>
                    <a:pt x="1866" y="620"/>
                  </a:cubicBezTo>
                  <a:cubicBezTo>
                    <a:pt x="1866" y="617"/>
                    <a:pt x="1870" y="615"/>
                    <a:pt x="1869" y="613"/>
                  </a:cubicBezTo>
                  <a:cubicBezTo>
                    <a:pt x="1868" y="614"/>
                    <a:pt x="1867" y="614"/>
                    <a:pt x="1866" y="615"/>
                  </a:cubicBezTo>
                  <a:cubicBezTo>
                    <a:pt x="1868" y="612"/>
                    <a:pt x="1867" y="613"/>
                    <a:pt x="1865" y="612"/>
                  </a:cubicBezTo>
                  <a:cubicBezTo>
                    <a:pt x="1863" y="611"/>
                    <a:pt x="1867" y="610"/>
                    <a:pt x="1867" y="610"/>
                  </a:cubicBezTo>
                  <a:cubicBezTo>
                    <a:pt x="1868" y="608"/>
                    <a:pt x="1870" y="606"/>
                    <a:pt x="1867" y="606"/>
                  </a:cubicBezTo>
                  <a:cubicBezTo>
                    <a:pt x="1864" y="605"/>
                    <a:pt x="1863" y="611"/>
                    <a:pt x="1861" y="613"/>
                  </a:cubicBezTo>
                  <a:cubicBezTo>
                    <a:pt x="1861" y="611"/>
                    <a:pt x="1862" y="610"/>
                    <a:pt x="1863" y="608"/>
                  </a:cubicBezTo>
                  <a:cubicBezTo>
                    <a:pt x="1863" y="607"/>
                    <a:pt x="1862" y="606"/>
                    <a:pt x="1863" y="605"/>
                  </a:cubicBezTo>
                  <a:cubicBezTo>
                    <a:pt x="1861" y="606"/>
                    <a:pt x="1860" y="607"/>
                    <a:pt x="1858" y="607"/>
                  </a:cubicBezTo>
                  <a:cubicBezTo>
                    <a:pt x="1857" y="608"/>
                    <a:pt x="1855" y="608"/>
                    <a:pt x="1854" y="608"/>
                  </a:cubicBezTo>
                  <a:cubicBezTo>
                    <a:pt x="1856" y="606"/>
                    <a:pt x="1864" y="605"/>
                    <a:pt x="1856" y="604"/>
                  </a:cubicBezTo>
                  <a:cubicBezTo>
                    <a:pt x="1854" y="603"/>
                    <a:pt x="1851" y="605"/>
                    <a:pt x="1849" y="603"/>
                  </a:cubicBezTo>
                  <a:cubicBezTo>
                    <a:pt x="1856" y="602"/>
                    <a:pt x="1843" y="600"/>
                    <a:pt x="1842" y="599"/>
                  </a:cubicBezTo>
                  <a:cubicBezTo>
                    <a:pt x="1844" y="598"/>
                    <a:pt x="1846" y="599"/>
                    <a:pt x="1847" y="598"/>
                  </a:cubicBezTo>
                  <a:cubicBezTo>
                    <a:pt x="1846" y="597"/>
                    <a:pt x="1844" y="598"/>
                    <a:pt x="1843" y="597"/>
                  </a:cubicBezTo>
                  <a:cubicBezTo>
                    <a:pt x="1846" y="595"/>
                    <a:pt x="1847" y="592"/>
                    <a:pt x="1843" y="592"/>
                  </a:cubicBezTo>
                  <a:cubicBezTo>
                    <a:pt x="1841" y="592"/>
                    <a:pt x="1840" y="592"/>
                    <a:pt x="1838" y="592"/>
                  </a:cubicBezTo>
                  <a:cubicBezTo>
                    <a:pt x="1835" y="591"/>
                    <a:pt x="1831" y="593"/>
                    <a:pt x="1829" y="590"/>
                  </a:cubicBezTo>
                  <a:cubicBezTo>
                    <a:pt x="1830" y="590"/>
                    <a:pt x="1832" y="589"/>
                    <a:pt x="1834" y="589"/>
                  </a:cubicBezTo>
                  <a:cubicBezTo>
                    <a:pt x="1835" y="589"/>
                    <a:pt x="1836" y="591"/>
                    <a:pt x="1838" y="590"/>
                  </a:cubicBezTo>
                  <a:cubicBezTo>
                    <a:pt x="1837" y="590"/>
                    <a:pt x="1836" y="589"/>
                    <a:pt x="1835" y="589"/>
                  </a:cubicBezTo>
                  <a:cubicBezTo>
                    <a:pt x="1837" y="589"/>
                    <a:pt x="1838" y="589"/>
                    <a:pt x="1840" y="590"/>
                  </a:cubicBezTo>
                  <a:cubicBezTo>
                    <a:pt x="1838" y="589"/>
                    <a:pt x="1836" y="588"/>
                    <a:pt x="1835" y="587"/>
                  </a:cubicBezTo>
                  <a:cubicBezTo>
                    <a:pt x="1834" y="587"/>
                    <a:pt x="1833" y="585"/>
                    <a:pt x="1832" y="585"/>
                  </a:cubicBezTo>
                  <a:cubicBezTo>
                    <a:pt x="1831" y="584"/>
                    <a:pt x="1829" y="586"/>
                    <a:pt x="1827" y="584"/>
                  </a:cubicBezTo>
                  <a:cubicBezTo>
                    <a:pt x="1828" y="584"/>
                    <a:pt x="1830" y="584"/>
                    <a:pt x="1831" y="584"/>
                  </a:cubicBezTo>
                  <a:cubicBezTo>
                    <a:pt x="1830" y="584"/>
                    <a:pt x="1830" y="583"/>
                    <a:pt x="1829" y="583"/>
                  </a:cubicBezTo>
                  <a:cubicBezTo>
                    <a:pt x="1830" y="582"/>
                    <a:pt x="1842" y="583"/>
                    <a:pt x="1836" y="581"/>
                  </a:cubicBezTo>
                  <a:cubicBezTo>
                    <a:pt x="1832" y="579"/>
                    <a:pt x="1829" y="580"/>
                    <a:pt x="1825" y="579"/>
                  </a:cubicBezTo>
                  <a:cubicBezTo>
                    <a:pt x="1827" y="578"/>
                    <a:pt x="1830" y="579"/>
                    <a:pt x="1832" y="579"/>
                  </a:cubicBezTo>
                  <a:cubicBezTo>
                    <a:pt x="1827" y="577"/>
                    <a:pt x="1821" y="576"/>
                    <a:pt x="1817" y="573"/>
                  </a:cubicBezTo>
                  <a:cubicBezTo>
                    <a:pt x="1818" y="570"/>
                    <a:pt x="1826" y="571"/>
                    <a:pt x="1829" y="571"/>
                  </a:cubicBezTo>
                  <a:cubicBezTo>
                    <a:pt x="1826" y="573"/>
                    <a:pt x="1822" y="572"/>
                    <a:pt x="1818" y="573"/>
                  </a:cubicBezTo>
                  <a:cubicBezTo>
                    <a:pt x="1821" y="575"/>
                    <a:pt x="1826" y="576"/>
                    <a:pt x="1830" y="577"/>
                  </a:cubicBezTo>
                  <a:cubicBezTo>
                    <a:pt x="1830" y="577"/>
                    <a:pt x="1831" y="577"/>
                    <a:pt x="1831" y="577"/>
                  </a:cubicBezTo>
                  <a:cubicBezTo>
                    <a:pt x="1831" y="577"/>
                    <a:pt x="1832" y="576"/>
                    <a:pt x="1832" y="577"/>
                  </a:cubicBezTo>
                  <a:cubicBezTo>
                    <a:pt x="1833" y="577"/>
                    <a:pt x="1833" y="578"/>
                    <a:pt x="1833" y="578"/>
                  </a:cubicBezTo>
                  <a:cubicBezTo>
                    <a:pt x="1835" y="578"/>
                    <a:pt x="1837" y="579"/>
                    <a:pt x="1838" y="578"/>
                  </a:cubicBezTo>
                  <a:cubicBezTo>
                    <a:pt x="1837" y="577"/>
                    <a:pt x="1836" y="577"/>
                    <a:pt x="1835" y="576"/>
                  </a:cubicBezTo>
                  <a:cubicBezTo>
                    <a:pt x="1836" y="576"/>
                    <a:pt x="1836" y="575"/>
                    <a:pt x="1836" y="575"/>
                  </a:cubicBezTo>
                  <a:cubicBezTo>
                    <a:pt x="1835" y="574"/>
                    <a:pt x="1833" y="574"/>
                    <a:pt x="1833" y="576"/>
                  </a:cubicBezTo>
                  <a:cubicBezTo>
                    <a:pt x="1833" y="573"/>
                    <a:pt x="1835" y="574"/>
                    <a:pt x="1836" y="572"/>
                  </a:cubicBezTo>
                  <a:cubicBezTo>
                    <a:pt x="1838" y="571"/>
                    <a:pt x="1837" y="572"/>
                    <a:pt x="1839" y="570"/>
                  </a:cubicBezTo>
                  <a:cubicBezTo>
                    <a:pt x="1840" y="568"/>
                    <a:pt x="1844" y="565"/>
                    <a:pt x="1845" y="568"/>
                  </a:cubicBezTo>
                  <a:cubicBezTo>
                    <a:pt x="1845" y="564"/>
                    <a:pt x="1845" y="563"/>
                    <a:pt x="1841" y="562"/>
                  </a:cubicBezTo>
                  <a:cubicBezTo>
                    <a:pt x="1840" y="561"/>
                    <a:pt x="1836" y="562"/>
                    <a:pt x="1838" y="559"/>
                  </a:cubicBezTo>
                  <a:cubicBezTo>
                    <a:pt x="1835" y="560"/>
                    <a:pt x="1836" y="561"/>
                    <a:pt x="1834" y="560"/>
                  </a:cubicBezTo>
                  <a:cubicBezTo>
                    <a:pt x="1833" y="560"/>
                    <a:pt x="1832" y="559"/>
                    <a:pt x="1830" y="558"/>
                  </a:cubicBezTo>
                  <a:cubicBezTo>
                    <a:pt x="1831" y="557"/>
                    <a:pt x="1832" y="557"/>
                    <a:pt x="1833" y="556"/>
                  </a:cubicBezTo>
                  <a:cubicBezTo>
                    <a:pt x="1834" y="555"/>
                    <a:pt x="1832" y="554"/>
                    <a:pt x="1835" y="554"/>
                  </a:cubicBezTo>
                  <a:cubicBezTo>
                    <a:pt x="1831" y="551"/>
                    <a:pt x="1828" y="550"/>
                    <a:pt x="1824" y="551"/>
                  </a:cubicBezTo>
                  <a:cubicBezTo>
                    <a:pt x="1821" y="552"/>
                    <a:pt x="1820" y="552"/>
                    <a:pt x="1817" y="549"/>
                  </a:cubicBezTo>
                  <a:cubicBezTo>
                    <a:pt x="1818" y="550"/>
                    <a:pt x="1821" y="551"/>
                    <a:pt x="1822" y="551"/>
                  </a:cubicBezTo>
                  <a:cubicBezTo>
                    <a:pt x="1823" y="550"/>
                    <a:pt x="1823" y="549"/>
                    <a:pt x="1823" y="549"/>
                  </a:cubicBezTo>
                  <a:cubicBezTo>
                    <a:pt x="1825" y="548"/>
                    <a:pt x="1827" y="548"/>
                    <a:pt x="1828" y="547"/>
                  </a:cubicBezTo>
                  <a:cubicBezTo>
                    <a:pt x="1828" y="547"/>
                    <a:pt x="1833" y="545"/>
                    <a:pt x="1833" y="545"/>
                  </a:cubicBezTo>
                  <a:cubicBezTo>
                    <a:pt x="1834" y="542"/>
                    <a:pt x="1823" y="536"/>
                    <a:pt x="1821" y="535"/>
                  </a:cubicBezTo>
                  <a:cubicBezTo>
                    <a:pt x="1822" y="540"/>
                    <a:pt x="1819" y="534"/>
                    <a:pt x="1818" y="534"/>
                  </a:cubicBezTo>
                  <a:cubicBezTo>
                    <a:pt x="1817" y="533"/>
                    <a:pt x="1816" y="534"/>
                    <a:pt x="1815" y="535"/>
                  </a:cubicBezTo>
                  <a:cubicBezTo>
                    <a:pt x="1817" y="533"/>
                    <a:pt x="1817" y="533"/>
                    <a:pt x="1819" y="532"/>
                  </a:cubicBezTo>
                  <a:cubicBezTo>
                    <a:pt x="1821" y="532"/>
                    <a:pt x="1822" y="533"/>
                    <a:pt x="1823" y="531"/>
                  </a:cubicBezTo>
                  <a:cubicBezTo>
                    <a:pt x="1822" y="531"/>
                    <a:pt x="1820" y="530"/>
                    <a:pt x="1818" y="531"/>
                  </a:cubicBezTo>
                  <a:cubicBezTo>
                    <a:pt x="1819" y="529"/>
                    <a:pt x="1819" y="528"/>
                    <a:pt x="1820" y="527"/>
                  </a:cubicBezTo>
                  <a:cubicBezTo>
                    <a:pt x="1816" y="530"/>
                    <a:pt x="1812" y="527"/>
                    <a:pt x="1808" y="528"/>
                  </a:cubicBezTo>
                  <a:cubicBezTo>
                    <a:pt x="1807" y="529"/>
                    <a:pt x="1805" y="531"/>
                    <a:pt x="1805" y="532"/>
                  </a:cubicBezTo>
                  <a:cubicBezTo>
                    <a:pt x="1803" y="533"/>
                    <a:pt x="1801" y="533"/>
                    <a:pt x="1799" y="533"/>
                  </a:cubicBezTo>
                  <a:cubicBezTo>
                    <a:pt x="1800" y="533"/>
                    <a:pt x="1802" y="533"/>
                    <a:pt x="1803" y="532"/>
                  </a:cubicBezTo>
                  <a:cubicBezTo>
                    <a:pt x="1803" y="531"/>
                    <a:pt x="1803" y="530"/>
                    <a:pt x="1804" y="530"/>
                  </a:cubicBezTo>
                  <a:cubicBezTo>
                    <a:pt x="1805" y="529"/>
                    <a:pt x="1807" y="528"/>
                    <a:pt x="1808" y="527"/>
                  </a:cubicBezTo>
                  <a:cubicBezTo>
                    <a:pt x="1811" y="526"/>
                    <a:pt x="1814" y="528"/>
                    <a:pt x="1817" y="525"/>
                  </a:cubicBezTo>
                  <a:cubicBezTo>
                    <a:pt x="1814" y="524"/>
                    <a:pt x="1811" y="523"/>
                    <a:pt x="1809" y="526"/>
                  </a:cubicBezTo>
                  <a:cubicBezTo>
                    <a:pt x="1811" y="523"/>
                    <a:pt x="1814" y="524"/>
                    <a:pt x="1815" y="523"/>
                  </a:cubicBezTo>
                  <a:cubicBezTo>
                    <a:pt x="1817" y="521"/>
                    <a:pt x="1815" y="518"/>
                    <a:pt x="1817" y="517"/>
                  </a:cubicBezTo>
                  <a:cubicBezTo>
                    <a:pt x="1816" y="516"/>
                    <a:pt x="1814" y="516"/>
                    <a:pt x="1813" y="516"/>
                  </a:cubicBezTo>
                  <a:cubicBezTo>
                    <a:pt x="1812" y="516"/>
                    <a:pt x="1812" y="517"/>
                    <a:pt x="1812" y="517"/>
                  </a:cubicBezTo>
                  <a:cubicBezTo>
                    <a:pt x="1811" y="517"/>
                    <a:pt x="1810" y="517"/>
                    <a:pt x="1809" y="517"/>
                  </a:cubicBezTo>
                  <a:cubicBezTo>
                    <a:pt x="1806" y="517"/>
                    <a:pt x="1805" y="518"/>
                    <a:pt x="1803" y="520"/>
                  </a:cubicBezTo>
                  <a:cubicBezTo>
                    <a:pt x="1807" y="516"/>
                    <a:pt x="1801" y="517"/>
                    <a:pt x="1799" y="519"/>
                  </a:cubicBezTo>
                  <a:cubicBezTo>
                    <a:pt x="1797" y="520"/>
                    <a:pt x="1795" y="522"/>
                    <a:pt x="1793" y="522"/>
                  </a:cubicBezTo>
                  <a:cubicBezTo>
                    <a:pt x="1795" y="520"/>
                    <a:pt x="1797" y="519"/>
                    <a:pt x="1799" y="517"/>
                  </a:cubicBezTo>
                  <a:cubicBezTo>
                    <a:pt x="1798" y="516"/>
                    <a:pt x="1796" y="516"/>
                    <a:pt x="1795" y="517"/>
                  </a:cubicBezTo>
                  <a:cubicBezTo>
                    <a:pt x="1796" y="515"/>
                    <a:pt x="1799" y="516"/>
                    <a:pt x="1800" y="516"/>
                  </a:cubicBezTo>
                  <a:cubicBezTo>
                    <a:pt x="1802" y="515"/>
                    <a:pt x="1803" y="515"/>
                    <a:pt x="1804" y="514"/>
                  </a:cubicBezTo>
                  <a:cubicBezTo>
                    <a:pt x="1806" y="514"/>
                    <a:pt x="1808" y="513"/>
                    <a:pt x="1809" y="512"/>
                  </a:cubicBezTo>
                  <a:cubicBezTo>
                    <a:pt x="1812" y="509"/>
                    <a:pt x="1809" y="510"/>
                    <a:pt x="1806" y="509"/>
                  </a:cubicBezTo>
                  <a:cubicBezTo>
                    <a:pt x="1811" y="507"/>
                    <a:pt x="1809" y="504"/>
                    <a:pt x="1804" y="504"/>
                  </a:cubicBezTo>
                  <a:cubicBezTo>
                    <a:pt x="1804" y="504"/>
                    <a:pt x="1804" y="505"/>
                    <a:pt x="1803" y="505"/>
                  </a:cubicBezTo>
                  <a:cubicBezTo>
                    <a:pt x="1803" y="504"/>
                    <a:pt x="1802" y="504"/>
                    <a:pt x="1802" y="504"/>
                  </a:cubicBezTo>
                  <a:cubicBezTo>
                    <a:pt x="1801" y="504"/>
                    <a:pt x="1800" y="503"/>
                    <a:pt x="1799" y="504"/>
                  </a:cubicBezTo>
                  <a:cubicBezTo>
                    <a:pt x="1801" y="503"/>
                    <a:pt x="1803" y="502"/>
                    <a:pt x="1803" y="500"/>
                  </a:cubicBezTo>
                  <a:cubicBezTo>
                    <a:pt x="1802" y="500"/>
                    <a:pt x="1801" y="500"/>
                    <a:pt x="1800" y="501"/>
                  </a:cubicBezTo>
                  <a:cubicBezTo>
                    <a:pt x="1801" y="498"/>
                    <a:pt x="1802" y="498"/>
                    <a:pt x="1804" y="497"/>
                  </a:cubicBezTo>
                  <a:cubicBezTo>
                    <a:pt x="1798" y="493"/>
                    <a:pt x="1796" y="498"/>
                    <a:pt x="1791" y="498"/>
                  </a:cubicBezTo>
                  <a:cubicBezTo>
                    <a:pt x="1791" y="498"/>
                    <a:pt x="1788" y="498"/>
                    <a:pt x="1788" y="497"/>
                  </a:cubicBezTo>
                  <a:cubicBezTo>
                    <a:pt x="1787" y="498"/>
                    <a:pt x="1787" y="498"/>
                    <a:pt x="1787" y="499"/>
                  </a:cubicBezTo>
                  <a:cubicBezTo>
                    <a:pt x="1786" y="499"/>
                    <a:pt x="1788" y="500"/>
                    <a:pt x="1786" y="500"/>
                  </a:cubicBezTo>
                  <a:cubicBezTo>
                    <a:pt x="1785" y="500"/>
                    <a:pt x="1785" y="497"/>
                    <a:pt x="1783" y="498"/>
                  </a:cubicBezTo>
                  <a:cubicBezTo>
                    <a:pt x="1785" y="494"/>
                    <a:pt x="1789" y="497"/>
                    <a:pt x="1793" y="496"/>
                  </a:cubicBezTo>
                  <a:cubicBezTo>
                    <a:pt x="1795" y="496"/>
                    <a:pt x="1797" y="494"/>
                    <a:pt x="1798" y="492"/>
                  </a:cubicBezTo>
                  <a:cubicBezTo>
                    <a:pt x="1796" y="491"/>
                    <a:pt x="1794" y="491"/>
                    <a:pt x="1792" y="491"/>
                  </a:cubicBezTo>
                  <a:cubicBezTo>
                    <a:pt x="1794" y="490"/>
                    <a:pt x="1797" y="485"/>
                    <a:pt x="1791" y="487"/>
                  </a:cubicBezTo>
                  <a:cubicBezTo>
                    <a:pt x="1790" y="488"/>
                    <a:pt x="1791" y="490"/>
                    <a:pt x="1788" y="490"/>
                  </a:cubicBezTo>
                  <a:cubicBezTo>
                    <a:pt x="1790" y="487"/>
                    <a:pt x="1792" y="487"/>
                    <a:pt x="1787" y="486"/>
                  </a:cubicBezTo>
                  <a:cubicBezTo>
                    <a:pt x="1786" y="485"/>
                    <a:pt x="1784" y="485"/>
                    <a:pt x="1783" y="486"/>
                  </a:cubicBezTo>
                  <a:cubicBezTo>
                    <a:pt x="1785" y="483"/>
                    <a:pt x="1788" y="486"/>
                    <a:pt x="1789" y="483"/>
                  </a:cubicBezTo>
                  <a:cubicBezTo>
                    <a:pt x="1791" y="480"/>
                    <a:pt x="1786" y="479"/>
                    <a:pt x="1784" y="481"/>
                  </a:cubicBezTo>
                  <a:cubicBezTo>
                    <a:pt x="1785" y="481"/>
                    <a:pt x="1787" y="479"/>
                    <a:pt x="1787" y="479"/>
                  </a:cubicBezTo>
                  <a:cubicBezTo>
                    <a:pt x="1787" y="477"/>
                    <a:pt x="1784" y="477"/>
                    <a:pt x="1783" y="478"/>
                  </a:cubicBezTo>
                  <a:cubicBezTo>
                    <a:pt x="1782" y="478"/>
                    <a:pt x="1783" y="480"/>
                    <a:pt x="1781" y="481"/>
                  </a:cubicBezTo>
                  <a:cubicBezTo>
                    <a:pt x="1782" y="478"/>
                    <a:pt x="1782" y="476"/>
                    <a:pt x="1785" y="476"/>
                  </a:cubicBezTo>
                  <a:cubicBezTo>
                    <a:pt x="1783" y="475"/>
                    <a:pt x="1780" y="476"/>
                    <a:pt x="1779" y="474"/>
                  </a:cubicBezTo>
                  <a:cubicBezTo>
                    <a:pt x="1777" y="472"/>
                    <a:pt x="1780" y="470"/>
                    <a:pt x="1781" y="468"/>
                  </a:cubicBezTo>
                  <a:cubicBezTo>
                    <a:pt x="1780" y="468"/>
                    <a:pt x="1779" y="468"/>
                    <a:pt x="1778" y="469"/>
                  </a:cubicBezTo>
                  <a:cubicBezTo>
                    <a:pt x="1778" y="467"/>
                    <a:pt x="1779" y="466"/>
                    <a:pt x="1780" y="465"/>
                  </a:cubicBezTo>
                  <a:cubicBezTo>
                    <a:pt x="1779" y="464"/>
                    <a:pt x="1777" y="464"/>
                    <a:pt x="1776" y="463"/>
                  </a:cubicBezTo>
                  <a:cubicBezTo>
                    <a:pt x="1777" y="465"/>
                    <a:pt x="1775" y="467"/>
                    <a:pt x="1774" y="467"/>
                  </a:cubicBezTo>
                  <a:cubicBezTo>
                    <a:pt x="1772" y="468"/>
                    <a:pt x="1772" y="469"/>
                    <a:pt x="1771" y="466"/>
                  </a:cubicBezTo>
                  <a:cubicBezTo>
                    <a:pt x="1769" y="463"/>
                    <a:pt x="1773" y="466"/>
                    <a:pt x="1774" y="464"/>
                  </a:cubicBezTo>
                  <a:cubicBezTo>
                    <a:pt x="1776" y="462"/>
                    <a:pt x="1771" y="462"/>
                    <a:pt x="1769" y="463"/>
                  </a:cubicBezTo>
                  <a:cubicBezTo>
                    <a:pt x="1768" y="463"/>
                    <a:pt x="1766" y="464"/>
                    <a:pt x="1765" y="465"/>
                  </a:cubicBezTo>
                  <a:cubicBezTo>
                    <a:pt x="1765" y="465"/>
                    <a:pt x="1765" y="465"/>
                    <a:pt x="1765" y="465"/>
                  </a:cubicBezTo>
                  <a:cubicBezTo>
                    <a:pt x="1765" y="465"/>
                    <a:pt x="1765" y="465"/>
                    <a:pt x="1765" y="465"/>
                  </a:cubicBezTo>
                  <a:cubicBezTo>
                    <a:pt x="1765" y="465"/>
                    <a:pt x="1765" y="465"/>
                    <a:pt x="1765" y="465"/>
                  </a:cubicBezTo>
                  <a:cubicBezTo>
                    <a:pt x="1765" y="464"/>
                    <a:pt x="1767" y="461"/>
                    <a:pt x="1767" y="461"/>
                  </a:cubicBezTo>
                  <a:cubicBezTo>
                    <a:pt x="1767" y="461"/>
                    <a:pt x="1767" y="461"/>
                    <a:pt x="1767" y="461"/>
                  </a:cubicBezTo>
                  <a:cubicBezTo>
                    <a:pt x="1767" y="461"/>
                    <a:pt x="1767" y="461"/>
                    <a:pt x="1767" y="461"/>
                  </a:cubicBezTo>
                  <a:cubicBezTo>
                    <a:pt x="1769" y="458"/>
                    <a:pt x="1769" y="458"/>
                    <a:pt x="1769" y="458"/>
                  </a:cubicBezTo>
                  <a:cubicBezTo>
                    <a:pt x="1769" y="458"/>
                    <a:pt x="1769" y="458"/>
                    <a:pt x="1769" y="458"/>
                  </a:cubicBezTo>
                  <a:cubicBezTo>
                    <a:pt x="1768" y="458"/>
                    <a:pt x="1768" y="458"/>
                    <a:pt x="1768" y="458"/>
                  </a:cubicBezTo>
                  <a:cubicBezTo>
                    <a:pt x="1768" y="458"/>
                    <a:pt x="1768" y="458"/>
                    <a:pt x="1768" y="458"/>
                  </a:cubicBezTo>
                  <a:cubicBezTo>
                    <a:pt x="1768" y="458"/>
                    <a:pt x="1768" y="458"/>
                    <a:pt x="1768" y="458"/>
                  </a:cubicBezTo>
                  <a:cubicBezTo>
                    <a:pt x="1768" y="458"/>
                    <a:pt x="1768" y="458"/>
                    <a:pt x="1768" y="458"/>
                  </a:cubicBezTo>
                  <a:cubicBezTo>
                    <a:pt x="1769" y="458"/>
                    <a:pt x="1770" y="457"/>
                    <a:pt x="1770" y="455"/>
                  </a:cubicBezTo>
                  <a:cubicBezTo>
                    <a:pt x="1772" y="456"/>
                    <a:pt x="1773" y="456"/>
                    <a:pt x="1775" y="456"/>
                  </a:cubicBezTo>
                  <a:cubicBezTo>
                    <a:pt x="1773" y="455"/>
                    <a:pt x="1772" y="454"/>
                    <a:pt x="1770" y="454"/>
                  </a:cubicBezTo>
                  <a:cubicBezTo>
                    <a:pt x="1771" y="454"/>
                    <a:pt x="1771" y="454"/>
                    <a:pt x="1771" y="454"/>
                  </a:cubicBezTo>
                  <a:cubicBezTo>
                    <a:pt x="1769" y="452"/>
                    <a:pt x="1769" y="452"/>
                    <a:pt x="1769" y="452"/>
                  </a:cubicBezTo>
                  <a:cubicBezTo>
                    <a:pt x="1769" y="452"/>
                    <a:pt x="1769" y="452"/>
                    <a:pt x="1769" y="452"/>
                  </a:cubicBezTo>
                  <a:cubicBezTo>
                    <a:pt x="1767" y="452"/>
                    <a:pt x="1768" y="453"/>
                    <a:pt x="1766" y="452"/>
                  </a:cubicBezTo>
                  <a:cubicBezTo>
                    <a:pt x="1766" y="452"/>
                    <a:pt x="1766" y="452"/>
                    <a:pt x="1766" y="452"/>
                  </a:cubicBezTo>
                  <a:cubicBezTo>
                    <a:pt x="1766" y="452"/>
                    <a:pt x="1766" y="452"/>
                    <a:pt x="1766" y="452"/>
                  </a:cubicBezTo>
                  <a:cubicBezTo>
                    <a:pt x="1766" y="452"/>
                    <a:pt x="1766" y="452"/>
                    <a:pt x="1766" y="452"/>
                  </a:cubicBezTo>
                  <a:cubicBezTo>
                    <a:pt x="1766" y="452"/>
                    <a:pt x="1766" y="452"/>
                    <a:pt x="1766"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5" y="452"/>
                    <a:pt x="1765" y="452"/>
                    <a:pt x="1765" y="452"/>
                  </a:cubicBezTo>
                  <a:cubicBezTo>
                    <a:pt x="1764" y="452"/>
                    <a:pt x="1764" y="452"/>
                    <a:pt x="1764" y="452"/>
                  </a:cubicBezTo>
                  <a:cubicBezTo>
                    <a:pt x="1764" y="452"/>
                    <a:pt x="1764" y="452"/>
                    <a:pt x="1764" y="452"/>
                  </a:cubicBezTo>
                  <a:cubicBezTo>
                    <a:pt x="1764" y="452"/>
                    <a:pt x="1764" y="452"/>
                    <a:pt x="1764" y="452"/>
                  </a:cubicBezTo>
                  <a:cubicBezTo>
                    <a:pt x="1764" y="452"/>
                    <a:pt x="1764" y="452"/>
                    <a:pt x="1764" y="452"/>
                  </a:cubicBezTo>
                  <a:cubicBezTo>
                    <a:pt x="1764" y="453"/>
                    <a:pt x="1764" y="453"/>
                    <a:pt x="1764" y="453"/>
                  </a:cubicBezTo>
                  <a:cubicBezTo>
                    <a:pt x="1763" y="456"/>
                    <a:pt x="1763" y="456"/>
                    <a:pt x="1763" y="456"/>
                  </a:cubicBezTo>
                  <a:cubicBezTo>
                    <a:pt x="1763" y="457"/>
                    <a:pt x="1763" y="457"/>
                    <a:pt x="1763" y="457"/>
                  </a:cubicBezTo>
                  <a:cubicBezTo>
                    <a:pt x="1763" y="457"/>
                    <a:pt x="1763" y="457"/>
                    <a:pt x="1763" y="457"/>
                  </a:cubicBezTo>
                  <a:cubicBezTo>
                    <a:pt x="1763" y="458"/>
                    <a:pt x="1763" y="458"/>
                    <a:pt x="1763" y="458"/>
                  </a:cubicBezTo>
                  <a:cubicBezTo>
                    <a:pt x="1762" y="458"/>
                    <a:pt x="1762" y="458"/>
                    <a:pt x="1762" y="458"/>
                  </a:cubicBezTo>
                  <a:cubicBezTo>
                    <a:pt x="1761" y="460"/>
                    <a:pt x="1761" y="460"/>
                    <a:pt x="1761" y="460"/>
                  </a:cubicBezTo>
                  <a:cubicBezTo>
                    <a:pt x="1760" y="462"/>
                    <a:pt x="1759" y="463"/>
                    <a:pt x="1758" y="464"/>
                  </a:cubicBezTo>
                  <a:cubicBezTo>
                    <a:pt x="1758" y="464"/>
                    <a:pt x="1758" y="464"/>
                    <a:pt x="1758" y="464"/>
                  </a:cubicBezTo>
                  <a:cubicBezTo>
                    <a:pt x="1758" y="464"/>
                    <a:pt x="1758" y="464"/>
                    <a:pt x="1758" y="464"/>
                  </a:cubicBezTo>
                  <a:cubicBezTo>
                    <a:pt x="1758" y="464"/>
                    <a:pt x="1758" y="464"/>
                    <a:pt x="1758" y="464"/>
                  </a:cubicBezTo>
                  <a:cubicBezTo>
                    <a:pt x="1758" y="464"/>
                    <a:pt x="1758" y="464"/>
                    <a:pt x="1758" y="464"/>
                  </a:cubicBezTo>
                  <a:cubicBezTo>
                    <a:pt x="1759" y="465"/>
                    <a:pt x="1759" y="465"/>
                    <a:pt x="1759" y="465"/>
                  </a:cubicBezTo>
                  <a:cubicBezTo>
                    <a:pt x="1759" y="465"/>
                    <a:pt x="1759" y="465"/>
                    <a:pt x="1759" y="466"/>
                  </a:cubicBezTo>
                  <a:cubicBezTo>
                    <a:pt x="1759" y="466"/>
                    <a:pt x="1759" y="466"/>
                    <a:pt x="1759" y="466"/>
                  </a:cubicBezTo>
                  <a:cubicBezTo>
                    <a:pt x="1759" y="466"/>
                    <a:pt x="1759" y="466"/>
                    <a:pt x="1759" y="466"/>
                  </a:cubicBezTo>
                  <a:cubicBezTo>
                    <a:pt x="1759" y="466"/>
                    <a:pt x="1759" y="466"/>
                    <a:pt x="1759" y="466"/>
                  </a:cubicBezTo>
                  <a:cubicBezTo>
                    <a:pt x="1759" y="467"/>
                    <a:pt x="1759" y="467"/>
                    <a:pt x="1759" y="467"/>
                  </a:cubicBezTo>
                  <a:cubicBezTo>
                    <a:pt x="1758" y="467"/>
                    <a:pt x="1758" y="467"/>
                    <a:pt x="1758" y="467"/>
                  </a:cubicBezTo>
                  <a:cubicBezTo>
                    <a:pt x="1758" y="468"/>
                    <a:pt x="1758" y="468"/>
                    <a:pt x="1758" y="468"/>
                  </a:cubicBezTo>
                  <a:cubicBezTo>
                    <a:pt x="1758" y="468"/>
                    <a:pt x="1758" y="468"/>
                    <a:pt x="1758" y="468"/>
                  </a:cubicBezTo>
                  <a:cubicBezTo>
                    <a:pt x="1757" y="469"/>
                    <a:pt x="1757" y="469"/>
                    <a:pt x="1757" y="469"/>
                  </a:cubicBezTo>
                  <a:cubicBezTo>
                    <a:pt x="1757" y="469"/>
                    <a:pt x="1757" y="469"/>
                    <a:pt x="1757" y="469"/>
                  </a:cubicBezTo>
                  <a:cubicBezTo>
                    <a:pt x="1757" y="470"/>
                    <a:pt x="1757" y="470"/>
                    <a:pt x="1757" y="470"/>
                  </a:cubicBezTo>
                  <a:cubicBezTo>
                    <a:pt x="1757" y="470"/>
                    <a:pt x="1757" y="470"/>
                    <a:pt x="1757" y="470"/>
                  </a:cubicBezTo>
                  <a:cubicBezTo>
                    <a:pt x="1757" y="471"/>
                    <a:pt x="1757" y="471"/>
                    <a:pt x="1757" y="471"/>
                  </a:cubicBezTo>
                  <a:cubicBezTo>
                    <a:pt x="1757" y="471"/>
                    <a:pt x="1757" y="471"/>
                    <a:pt x="1757" y="471"/>
                  </a:cubicBezTo>
                  <a:cubicBezTo>
                    <a:pt x="1757" y="471"/>
                    <a:pt x="1757" y="471"/>
                    <a:pt x="1757" y="471"/>
                  </a:cubicBezTo>
                  <a:cubicBezTo>
                    <a:pt x="1757" y="471"/>
                    <a:pt x="1758" y="471"/>
                    <a:pt x="1758" y="471"/>
                  </a:cubicBezTo>
                  <a:cubicBezTo>
                    <a:pt x="1759" y="471"/>
                    <a:pt x="1759" y="471"/>
                    <a:pt x="1759" y="471"/>
                  </a:cubicBezTo>
                  <a:cubicBezTo>
                    <a:pt x="1759" y="472"/>
                    <a:pt x="1759" y="472"/>
                    <a:pt x="1759" y="472"/>
                  </a:cubicBezTo>
                  <a:cubicBezTo>
                    <a:pt x="1759" y="472"/>
                    <a:pt x="1760" y="472"/>
                    <a:pt x="1760" y="472"/>
                  </a:cubicBezTo>
                  <a:cubicBezTo>
                    <a:pt x="1760" y="472"/>
                    <a:pt x="1760" y="472"/>
                    <a:pt x="1760" y="472"/>
                  </a:cubicBezTo>
                  <a:cubicBezTo>
                    <a:pt x="1761" y="472"/>
                    <a:pt x="1761" y="472"/>
                    <a:pt x="1761" y="472"/>
                  </a:cubicBezTo>
                  <a:cubicBezTo>
                    <a:pt x="1761" y="472"/>
                    <a:pt x="1761" y="472"/>
                    <a:pt x="1761" y="472"/>
                  </a:cubicBezTo>
                  <a:cubicBezTo>
                    <a:pt x="1760" y="472"/>
                    <a:pt x="1760" y="472"/>
                    <a:pt x="1760" y="472"/>
                  </a:cubicBezTo>
                  <a:cubicBezTo>
                    <a:pt x="1760" y="472"/>
                    <a:pt x="1760" y="472"/>
                    <a:pt x="1760" y="472"/>
                  </a:cubicBezTo>
                  <a:cubicBezTo>
                    <a:pt x="1758" y="472"/>
                    <a:pt x="1758" y="472"/>
                    <a:pt x="1758" y="472"/>
                  </a:cubicBezTo>
                  <a:cubicBezTo>
                    <a:pt x="1757" y="472"/>
                    <a:pt x="1757" y="472"/>
                    <a:pt x="1757" y="472"/>
                  </a:cubicBezTo>
                  <a:cubicBezTo>
                    <a:pt x="1757" y="472"/>
                    <a:pt x="1757" y="472"/>
                    <a:pt x="1757" y="472"/>
                  </a:cubicBezTo>
                  <a:cubicBezTo>
                    <a:pt x="1757" y="472"/>
                    <a:pt x="1757" y="472"/>
                    <a:pt x="1757" y="472"/>
                  </a:cubicBezTo>
                  <a:cubicBezTo>
                    <a:pt x="1756" y="471"/>
                    <a:pt x="1756" y="471"/>
                    <a:pt x="1756" y="471"/>
                  </a:cubicBezTo>
                  <a:cubicBezTo>
                    <a:pt x="1756" y="471"/>
                    <a:pt x="1756" y="471"/>
                    <a:pt x="1756" y="471"/>
                  </a:cubicBezTo>
                  <a:cubicBezTo>
                    <a:pt x="1756" y="471"/>
                    <a:pt x="1756" y="471"/>
                    <a:pt x="1756" y="471"/>
                  </a:cubicBezTo>
                  <a:cubicBezTo>
                    <a:pt x="1756" y="471"/>
                    <a:pt x="1756" y="471"/>
                    <a:pt x="1756" y="471"/>
                  </a:cubicBezTo>
                  <a:cubicBezTo>
                    <a:pt x="1756" y="471"/>
                    <a:pt x="1756" y="471"/>
                    <a:pt x="1756" y="471"/>
                  </a:cubicBezTo>
                  <a:cubicBezTo>
                    <a:pt x="1756" y="471"/>
                    <a:pt x="1755" y="470"/>
                    <a:pt x="1755" y="470"/>
                  </a:cubicBezTo>
                  <a:cubicBezTo>
                    <a:pt x="1754" y="470"/>
                    <a:pt x="1754" y="470"/>
                    <a:pt x="1754" y="470"/>
                  </a:cubicBezTo>
                  <a:cubicBezTo>
                    <a:pt x="1754" y="470"/>
                    <a:pt x="1754" y="470"/>
                    <a:pt x="1754" y="470"/>
                  </a:cubicBezTo>
                  <a:cubicBezTo>
                    <a:pt x="1754" y="470"/>
                    <a:pt x="1754" y="470"/>
                    <a:pt x="1754" y="470"/>
                  </a:cubicBezTo>
                  <a:cubicBezTo>
                    <a:pt x="1754" y="470"/>
                    <a:pt x="1754" y="470"/>
                    <a:pt x="1754" y="470"/>
                  </a:cubicBezTo>
                  <a:cubicBezTo>
                    <a:pt x="1753" y="470"/>
                    <a:pt x="1753" y="469"/>
                    <a:pt x="1752" y="470"/>
                  </a:cubicBezTo>
                  <a:cubicBezTo>
                    <a:pt x="1752" y="470"/>
                    <a:pt x="1752" y="470"/>
                    <a:pt x="1752" y="470"/>
                  </a:cubicBezTo>
                  <a:cubicBezTo>
                    <a:pt x="1752" y="470"/>
                    <a:pt x="1752" y="470"/>
                    <a:pt x="1752" y="470"/>
                  </a:cubicBezTo>
                  <a:cubicBezTo>
                    <a:pt x="1751" y="471"/>
                    <a:pt x="1751" y="471"/>
                    <a:pt x="1751" y="471"/>
                  </a:cubicBezTo>
                  <a:cubicBezTo>
                    <a:pt x="1751" y="471"/>
                    <a:pt x="1751" y="471"/>
                    <a:pt x="1751" y="471"/>
                  </a:cubicBezTo>
                  <a:cubicBezTo>
                    <a:pt x="1751" y="471"/>
                    <a:pt x="1751" y="471"/>
                    <a:pt x="1751" y="471"/>
                  </a:cubicBezTo>
                  <a:cubicBezTo>
                    <a:pt x="1751" y="471"/>
                    <a:pt x="1751" y="471"/>
                    <a:pt x="1751" y="471"/>
                  </a:cubicBezTo>
                  <a:cubicBezTo>
                    <a:pt x="1750" y="471"/>
                    <a:pt x="1750" y="471"/>
                    <a:pt x="1750" y="471"/>
                  </a:cubicBezTo>
                  <a:cubicBezTo>
                    <a:pt x="1750" y="471"/>
                    <a:pt x="1750" y="471"/>
                    <a:pt x="1750" y="471"/>
                  </a:cubicBezTo>
                  <a:cubicBezTo>
                    <a:pt x="1750" y="471"/>
                    <a:pt x="1750" y="471"/>
                    <a:pt x="1750" y="471"/>
                  </a:cubicBezTo>
                  <a:cubicBezTo>
                    <a:pt x="1749" y="471"/>
                    <a:pt x="1749" y="471"/>
                    <a:pt x="1749" y="471"/>
                  </a:cubicBezTo>
                  <a:cubicBezTo>
                    <a:pt x="1749" y="471"/>
                    <a:pt x="1749" y="471"/>
                    <a:pt x="1749" y="471"/>
                  </a:cubicBezTo>
                  <a:cubicBezTo>
                    <a:pt x="1749" y="471"/>
                    <a:pt x="1749" y="471"/>
                    <a:pt x="1749" y="471"/>
                  </a:cubicBezTo>
                  <a:cubicBezTo>
                    <a:pt x="1749" y="472"/>
                    <a:pt x="1749" y="472"/>
                    <a:pt x="1749" y="472"/>
                  </a:cubicBezTo>
                  <a:cubicBezTo>
                    <a:pt x="1749" y="473"/>
                    <a:pt x="1749" y="473"/>
                    <a:pt x="1749" y="473"/>
                  </a:cubicBezTo>
                  <a:cubicBezTo>
                    <a:pt x="1749" y="475"/>
                    <a:pt x="1749" y="475"/>
                    <a:pt x="1749" y="475"/>
                  </a:cubicBezTo>
                  <a:cubicBezTo>
                    <a:pt x="1749" y="476"/>
                    <a:pt x="1749" y="476"/>
                    <a:pt x="1749" y="476"/>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7"/>
                    <a:pt x="1749" y="477"/>
                    <a:pt x="1749" y="477"/>
                  </a:cubicBezTo>
                  <a:cubicBezTo>
                    <a:pt x="1749" y="478"/>
                    <a:pt x="1749" y="478"/>
                    <a:pt x="1749" y="478"/>
                  </a:cubicBezTo>
                  <a:cubicBezTo>
                    <a:pt x="1749" y="478"/>
                    <a:pt x="1749" y="478"/>
                    <a:pt x="1749" y="478"/>
                  </a:cubicBezTo>
                  <a:cubicBezTo>
                    <a:pt x="1749" y="478"/>
                    <a:pt x="1749" y="478"/>
                    <a:pt x="1749" y="478"/>
                  </a:cubicBezTo>
                  <a:cubicBezTo>
                    <a:pt x="1750" y="478"/>
                    <a:pt x="1750" y="479"/>
                    <a:pt x="1750" y="479"/>
                  </a:cubicBezTo>
                  <a:cubicBezTo>
                    <a:pt x="1750" y="479"/>
                    <a:pt x="1750" y="479"/>
                    <a:pt x="1750" y="479"/>
                  </a:cubicBezTo>
                  <a:cubicBezTo>
                    <a:pt x="1750" y="480"/>
                    <a:pt x="1750" y="480"/>
                    <a:pt x="1750" y="480"/>
                  </a:cubicBezTo>
                  <a:cubicBezTo>
                    <a:pt x="1750" y="480"/>
                    <a:pt x="1750" y="480"/>
                    <a:pt x="1750" y="480"/>
                  </a:cubicBezTo>
                  <a:cubicBezTo>
                    <a:pt x="1751" y="482"/>
                    <a:pt x="1751" y="481"/>
                    <a:pt x="1753" y="481"/>
                  </a:cubicBezTo>
                  <a:cubicBezTo>
                    <a:pt x="1753" y="481"/>
                    <a:pt x="1753" y="481"/>
                    <a:pt x="1753" y="481"/>
                  </a:cubicBezTo>
                  <a:cubicBezTo>
                    <a:pt x="1754" y="481"/>
                    <a:pt x="1754" y="481"/>
                    <a:pt x="1754" y="481"/>
                  </a:cubicBezTo>
                  <a:cubicBezTo>
                    <a:pt x="1754" y="481"/>
                    <a:pt x="1754" y="481"/>
                    <a:pt x="1754" y="481"/>
                  </a:cubicBezTo>
                  <a:cubicBezTo>
                    <a:pt x="1754" y="481"/>
                    <a:pt x="1754" y="481"/>
                    <a:pt x="1754" y="481"/>
                  </a:cubicBezTo>
                  <a:cubicBezTo>
                    <a:pt x="1754" y="481"/>
                    <a:pt x="1754" y="481"/>
                    <a:pt x="1754" y="481"/>
                  </a:cubicBezTo>
                  <a:cubicBezTo>
                    <a:pt x="1754" y="482"/>
                    <a:pt x="1754" y="482"/>
                    <a:pt x="1755" y="482"/>
                  </a:cubicBezTo>
                  <a:cubicBezTo>
                    <a:pt x="1755" y="482"/>
                    <a:pt x="1755" y="482"/>
                    <a:pt x="1755" y="482"/>
                  </a:cubicBezTo>
                  <a:cubicBezTo>
                    <a:pt x="1755" y="482"/>
                    <a:pt x="1755" y="482"/>
                    <a:pt x="1755" y="482"/>
                  </a:cubicBezTo>
                  <a:cubicBezTo>
                    <a:pt x="1755" y="482"/>
                    <a:pt x="1755" y="482"/>
                    <a:pt x="1755" y="482"/>
                  </a:cubicBezTo>
                  <a:cubicBezTo>
                    <a:pt x="1755" y="482"/>
                    <a:pt x="1755" y="482"/>
                    <a:pt x="1755"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2"/>
                    <a:pt x="1756" y="482"/>
                    <a:pt x="1756" y="482"/>
                  </a:cubicBezTo>
                  <a:cubicBezTo>
                    <a:pt x="1756" y="483"/>
                    <a:pt x="1756" y="483"/>
                    <a:pt x="1756" y="483"/>
                  </a:cubicBezTo>
                  <a:cubicBezTo>
                    <a:pt x="1757" y="483"/>
                    <a:pt x="1757" y="483"/>
                    <a:pt x="1757" y="483"/>
                  </a:cubicBezTo>
                  <a:cubicBezTo>
                    <a:pt x="1757" y="483"/>
                    <a:pt x="1757" y="483"/>
                    <a:pt x="1757" y="483"/>
                  </a:cubicBezTo>
                  <a:cubicBezTo>
                    <a:pt x="1757" y="483"/>
                    <a:pt x="1757" y="483"/>
                    <a:pt x="1757" y="483"/>
                  </a:cubicBezTo>
                  <a:cubicBezTo>
                    <a:pt x="1757" y="483"/>
                    <a:pt x="1757" y="483"/>
                    <a:pt x="1757" y="483"/>
                  </a:cubicBezTo>
                  <a:cubicBezTo>
                    <a:pt x="1757" y="484"/>
                    <a:pt x="1757" y="484"/>
                    <a:pt x="1758" y="484"/>
                  </a:cubicBezTo>
                  <a:cubicBezTo>
                    <a:pt x="1758" y="484"/>
                    <a:pt x="1758" y="484"/>
                    <a:pt x="1758" y="484"/>
                  </a:cubicBezTo>
                  <a:cubicBezTo>
                    <a:pt x="1758" y="484"/>
                    <a:pt x="1758" y="484"/>
                    <a:pt x="1758" y="484"/>
                  </a:cubicBezTo>
                  <a:cubicBezTo>
                    <a:pt x="1759" y="485"/>
                    <a:pt x="1759" y="485"/>
                    <a:pt x="1760" y="485"/>
                  </a:cubicBezTo>
                  <a:cubicBezTo>
                    <a:pt x="1760" y="485"/>
                    <a:pt x="1760" y="485"/>
                    <a:pt x="1760" y="485"/>
                  </a:cubicBezTo>
                  <a:cubicBezTo>
                    <a:pt x="1760" y="485"/>
                    <a:pt x="1760" y="485"/>
                    <a:pt x="1760" y="485"/>
                  </a:cubicBezTo>
                  <a:cubicBezTo>
                    <a:pt x="1760" y="486"/>
                    <a:pt x="1760" y="486"/>
                    <a:pt x="1760" y="486"/>
                  </a:cubicBezTo>
                  <a:cubicBezTo>
                    <a:pt x="1761" y="486"/>
                    <a:pt x="1761" y="486"/>
                    <a:pt x="1761" y="486"/>
                  </a:cubicBezTo>
                  <a:cubicBezTo>
                    <a:pt x="1760" y="486"/>
                    <a:pt x="1760" y="486"/>
                    <a:pt x="1760" y="486"/>
                  </a:cubicBezTo>
                  <a:cubicBezTo>
                    <a:pt x="1760" y="485"/>
                    <a:pt x="1760" y="485"/>
                    <a:pt x="1760" y="485"/>
                  </a:cubicBezTo>
                  <a:cubicBezTo>
                    <a:pt x="1758" y="485"/>
                    <a:pt x="1758" y="485"/>
                    <a:pt x="1758" y="485"/>
                  </a:cubicBezTo>
                  <a:cubicBezTo>
                    <a:pt x="1757" y="484"/>
                    <a:pt x="1756" y="484"/>
                    <a:pt x="1756" y="483"/>
                  </a:cubicBezTo>
                  <a:cubicBezTo>
                    <a:pt x="1756" y="483"/>
                    <a:pt x="1756" y="483"/>
                    <a:pt x="1756" y="483"/>
                  </a:cubicBezTo>
                  <a:cubicBezTo>
                    <a:pt x="1756" y="483"/>
                    <a:pt x="1756" y="483"/>
                    <a:pt x="1756" y="483"/>
                  </a:cubicBezTo>
                  <a:cubicBezTo>
                    <a:pt x="1755" y="483"/>
                    <a:pt x="1754" y="483"/>
                    <a:pt x="1753" y="482"/>
                  </a:cubicBezTo>
                  <a:cubicBezTo>
                    <a:pt x="1753" y="482"/>
                    <a:pt x="1753" y="482"/>
                    <a:pt x="1753" y="482"/>
                  </a:cubicBezTo>
                  <a:cubicBezTo>
                    <a:pt x="1753" y="482"/>
                    <a:pt x="1753" y="482"/>
                    <a:pt x="1753" y="482"/>
                  </a:cubicBezTo>
                  <a:cubicBezTo>
                    <a:pt x="1753" y="482"/>
                    <a:pt x="1753" y="482"/>
                    <a:pt x="1753" y="482"/>
                  </a:cubicBezTo>
                  <a:cubicBezTo>
                    <a:pt x="1753" y="482"/>
                    <a:pt x="1753" y="482"/>
                    <a:pt x="1753" y="482"/>
                  </a:cubicBezTo>
                  <a:cubicBezTo>
                    <a:pt x="1751" y="482"/>
                    <a:pt x="1751" y="483"/>
                    <a:pt x="1750" y="483"/>
                  </a:cubicBezTo>
                  <a:cubicBezTo>
                    <a:pt x="1750" y="483"/>
                    <a:pt x="1750" y="483"/>
                    <a:pt x="1750" y="483"/>
                  </a:cubicBezTo>
                  <a:cubicBezTo>
                    <a:pt x="1750" y="482"/>
                    <a:pt x="1750" y="482"/>
                    <a:pt x="1750" y="482"/>
                  </a:cubicBezTo>
                  <a:cubicBezTo>
                    <a:pt x="1749" y="482"/>
                    <a:pt x="1749" y="483"/>
                    <a:pt x="1748" y="482"/>
                  </a:cubicBezTo>
                  <a:cubicBezTo>
                    <a:pt x="1748" y="482"/>
                    <a:pt x="1748" y="482"/>
                    <a:pt x="1748" y="482"/>
                  </a:cubicBezTo>
                  <a:cubicBezTo>
                    <a:pt x="1748" y="482"/>
                    <a:pt x="1748" y="482"/>
                    <a:pt x="1748" y="482"/>
                  </a:cubicBezTo>
                  <a:cubicBezTo>
                    <a:pt x="1748" y="482"/>
                    <a:pt x="1748" y="482"/>
                    <a:pt x="1748" y="482"/>
                  </a:cubicBezTo>
                  <a:cubicBezTo>
                    <a:pt x="1748" y="482"/>
                    <a:pt x="1748" y="482"/>
                    <a:pt x="1748" y="482"/>
                  </a:cubicBezTo>
                  <a:cubicBezTo>
                    <a:pt x="1749" y="483"/>
                    <a:pt x="1750" y="484"/>
                    <a:pt x="1751" y="485"/>
                  </a:cubicBezTo>
                  <a:cubicBezTo>
                    <a:pt x="1751" y="485"/>
                    <a:pt x="1751" y="485"/>
                    <a:pt x="1751" y="485"/>
                  </a:cubicBezTo>
                  <a:cubicBezTo>
                    <a:pt x="1751" y="485"/>
                    <a:pt x="1751" y="485"/>
                    <a:pt x="1751" y="485"/>
                  </a:cubicBezTo>
                  <a:cubicBezTo>
                    <a:pt x="1751" y="485"/>
                    <a:pt x="1751" y="485"/>
                    <a:pt x="1751" y="485"/>
                  </a:cubicBezTo>
                  <a:cubicBezTo>
                    <a:pt x="1751" y="486"/>
                    <a:pt x="1751" y="486"/>
                    <a:pt x="1751" y="486"/>
                  </a:cubicBezTo>
                  <a:cubicBezTo>
                    <a:pt x="1750" y="487"/>
                    <a:pt x="1750" y="487"/>
                    <a:pt x="1750" y="487"/>
                  </a:cubicBezTo>
                  <a:cubicBezTo>
                    <a:pt x="1750" y="487"/>
                    <a:pt x="1750" y="487"/>
                    <a:pt x="1750" y="487"/>
                  </a:cubicBezTo>
                  <a:cubicBezTo>
                    <a:pt x="1750" y="487"/>
                    <a:pt x="1750" y="487"/>
                    <a:pt x="1750" y="487"/>
                  </a:cubicBezTo>
                  <a:cubicBezTo>
                    <a:pt x="1750" y="487"/>
                    <a:pt x="1750" y="487"/>
                    <a:pt x="1750" y="487"/>
                  </a:cubicBezTo>
                  <a:cubicBezTo>
                    <a:pt x="1751" y="487"/>
                    <a:pt x="1751" y="487"/>
                    <a:pt x="1751" y="488"/>
                  </a:cubicBezTo>
                  <a:cubicBezTo>
                    <a:pt x="1751" y="488"/>
                    <a:pt x="1751" y="488"/>
                    <a:pt x="1751" y="488"/>
                  </a:cubicBezTo>
                  <a:cubicBezTo>
                    <a:pt x="1751" y="488"/>
                    <a:pt x="1751" y="488"/>
                    <a:pt x="1751" y="488"/>
                  </a:cubicBezTo>
                  <a:cubicBezTo>
                    <a:pt x="1752" y="488"/>
                    <a:pt x="1752" y="488"/>
                    <a:pt x="1752" y="489"/>
                  </a:cubicBezTo>
                  <a:cubicBezTo>
                    <a:pt x="1752" y="489"/>
                    <a:pt x="1752" y="489"/>
                    <a:pt x="1752" y="489"/>
                  </a:cubicBezTo>
                  <a:cubicBezTo>
                    <a:pt x="1752" y="489"/>
                    <a:pt x="1752" y="489"/>
                    <a:pt x="1752" y="489"/>
                  </a:cubicBezTo>
                  <a:cubicBezTo>
                    <a:pt x="1752" y="489"/>
                    <a:pt x="1752" y="489"/>
                    <a:pt x="1752" y="489"/>
                  </a:cubicBezTo>
                  <a:cubicBezTo>
                    <a:pt x="1751" y="489"/>
                    <a:pt x="1751" y="489"/>
                    <a:pt x="1751" y="489"/>
                  </a:cubicBezTo>
                  <a:cubicBezTo>
                    <a:pt x="1750" y="488"/>
                    <a:pt x="1750" y="488"/>
                    <a:pt x="1750" y="488"/>
                  </a:cubicBezTo>
                  <a:cubicBezTo>
                    <a:pt x="1750" y="487"/>
                    <a:pt x="1750" y="487"/>
                    <a:pt x="1750"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9" y="487"/>
                    <a:pt x="1749" y="487"/>
                    <a:pt x="1749" y="487"/>
                  </a:cubicBezTo>
                  <a:cubicBezTo>
                    <a:pt x="1748" y="486"/>
                    <a:pt x="1748" y="486"/>
                    <a:pt x="1748" y="486"/>
                  </a:cubicBezTo>
                  <a:cubicBezTo>
                    <a:pt x="1748" y="486"/>
                    <a:pt x="1748" y="486"/>
                    <a:pt x="1747" y="486"/>
                  </a:cubicBezTo>
                  <a:cubicBezTo>
                    <a:pt x="1747" y="486"/>
                    <a:pt x="1747" y="486"/>
                    <a:pt x="1747" y="486"/>
                  </a:cubicBezTo>
                  <a:cubicBezTo>
                    <a:pt x="1747" y="486"/>
                    <a:pt x="1747" y="486"/>
                    <a:pt x="1747" y="486"/>
                  </a:cubicBezTo>
                  <a:cubicBezTo>
                    <a:pt x="1747" y="486"/>
                    <a:pt x="1747" y="486"/>
                    <a:pt x="1747" y="486"/>
                  </a:cubicBezTo>
                  <a:cubicBezTo>
                    <a:pt x="1747" y="487"/>
                    <a:pt x="1747" y="487"/>
                    <a:pt x="1747" y="487"/>
                  </a:cubicBezTo>
                  <a:cubicBezTo>
                    <a:pt x="1748" y="488"/>
                    <a:pt x="1748" y="488"/>
                    <a:pt x="1748" y="488"/>
                  </a:cubicBezTo>
                  <a:cubicBezTo>
                    <a:pt x="1748" y="489"/>
                    <a:pt x="1748" y="489"/>
                    <a:pt x="1748" y="489"/>
                  </a:cubicBezTo>
                  <a:cubicBezTo>
                    <a:pt x="1748" y="489"/>
                    <a:pt x="1748" y="489"/>
                    <a:pt x="1748" y="489"/>
                  </a:cubicBezTo>
                  <a:cubicBezTo>
                    <a:pt x="1748" y="489"/>
                    <a:pt x="1748" y="489"/>
                    <a:pt x="1748" y="489"/>
                  </a:cubicBezTo>
                  <a:cubicBezTo>
                    <a:pt x="1749" y="489"/>
                    <a:pt x="1749" y="489"/>
                    <a:pt x="1749" y="489"/>
                  </a:cubicBezTo>
                  <a:cubicBezTo>
                    <a:pt x="1749" y="490"/>
                    <a:pt x="1749" y="490"/>
                    <a:pt x="1749" y="490"/>
                  </a:cubicBezTo>
                  <a:cubicBezTo>
                    <a:pt x="1749" y="490"/>
                    <a:pt x="1749" y="490"/>
                    <a:pt x="1749" y="490"/>
                  </a:cubicBezTo>
                  <a:cubicBezTo>
                    <a:pt x="1749" y="490"/>
                    <a:pt x="1749" y="490"/>
                    <a:pt x="1749" y="490"/>
                  </a:cubicBezTo>
                  <a:cubicBezTo>
                    <a:pt x="1749" y="490"/>
                    <a:pt x="1749" y="490"/>
                    <a:pt x="1749" y="490"/>
                  </a:cubicBezTo>
                  <a:cubicBezTo>
                    <a:pt x="1749" y="490"/>
                    <a:pt x="1749" y="490"/>
                    <a:pt x="1749" y="490"/>
                  </a:cubicBezTo>
                  <a:cubicBezTo>
                    <a:pt x="1748" y="491"/>
                    <a:pt x="1748" y="491"/>
                    <a:pt x="1748" y="491"/>
                  </a:cubicBezTo>
                  <a:cubicBezTo>
                    <a:pt x="1747" y="491"/>
                    <a:pt x="1747" y="491"/>
                    <a:pt x="1747" y="491"/>
                  </a:cubicBezTo>
                  <a:cubicBezTo>
                    <a:pt x="1747" y="492"/>
                    <a:pt x="1747" y="492"/>
                    <a:pt x="1747" y="492"/>
                  </a:cubicBezTo>
                  <a:cubicBezTo>
                    <a:pt x="1747" y="492"/>
                    <a:pt x="1747" y="492"/>
                    <a:pt x="1747" y="492"/>
                  </a:cubicBezTo>
                  <a:cubicBezTo>
                    <a:pt x="1746" y="492"/>
                    <a:pt x="1746" y="492"/>
                    <a:pt x="1746" y="492"/>
                  </a:cubicBezTo>
                  <a:cubicBezTo>
                    <a:pt x="1745" y="490"/>
                    <a:pt x="1745" y="490"/>
                    <a:pt x="1745" y="490"/>
                  </a:cubicBezTo>
                  <a:cubicBezTo>
                    <a:pt x="1745" y="490"/>
                    <a:pt x="1745" y="490"/>
                    <a:pt x="1745" y="490"/>
                  </a:cubicBezTo>
                  <a:cubicBezTo>
                    <a:pt x="1744" y="490"/>
                    <a:pt x="1744" y="490"/>
                    <a:pt x="1744" y="490"/>
                  </a:cubicBezTo>
                  <a:cubicBezTo>
                    <a:pt x="1744" y="490"/>
                    <a:pt x="1744" y="490"/>
                    <a:pt x="1744" y="490"/>
                  </a:cubicBezTo>
                  <a:cubicBezTo>
                    <a:pt x="1744" y="489"/>
                    <a:pt x="1744" y="489"/>
                    <a:pt x="1744" y="489"/>
                  </a:cubicBezTo>
                  <a:cubicBezTo>
                    <a:pt x="1744" y="489"/>
                    <a:pt x="1744" y="489"/>
                    <a:pt x="1744" y="489"/>
                  </a:cubicBezTo>
                  <a:cubicBezTo>
                    <a:pt x="1744" y="489"/>
                    <a:pt x="1744" y="489"/>
                    <a:pt x="1744" y="489"/>
                  </a:cubicBezTo>
                  <a:cubicBezTo>
                    <a:pt x="1743" y="489"/>
                    <a:pt x="1743" y="489"/>
                    <a:pt x="1743" y="489"/>
                  </a:cubicBezTo>
                  <a:cubicBezTo>
                    <a:pt x="1743" y="489"/>
                    <a:pt x="1743" y="489"/>
                    <a:pt x="1743" y="489"/>
                  </a:cubicBezTo>
                  <a:cubicBezTo>
                    <a:pt x="1743" y="490"/>
                    <a:pt x="1743" y="490"/>
                    <a:pt x="1743" y="490"/>
                  </a:cubicBezTo>
                  <a:cubicBezTo>
                    <a:pt x="1743" y="491"/>
                    <a:pt x="1743" y="491"/>
                    <a:pt x="1743" y="491"/>
                  </a:cubicBezTo>
                  <a:cubicBezTo>
                    <a:pt x="1744" y="492"/>
                    <a:pt x="1744" y="492"/>
                    <a:pt x="1744" y="492"/>
                  </a:cubicBezTo>
                  <a:cubicBezTo>
                    <a:pt x="1744" y="494"/>
                    <a:pt x="1744" y="493"/>
                    <a:pt x="1745" y="495"/>
                  </a:cubicBezTo>
                  <a:cubicBezTo>
                    <a:pt x="1745" y="495"/>
                    <a:pt x="1745" y="495"/>
                    <a:pt x="1745" y="495"/>
                  </a:cubicBezTo>
                  <a:cubicBezTo>
                    <a:pt x="1745" y="495"/>
                    <a:pt x="1745" y="495"/>
                    <a:pt x="1745" y="495"/>
                  </a:cubicBezTo>
                  <a:cubicBezTo>
                    <a:pt x="1745" y="495"/>
                    <a:pt x="1745" y="495"/>
                    <a:pt x="1745" y="495"/>
                  </a:cubicBezTo>
                  <a:cubicBezTo>
                    <a:pt x="1745" y="495"/>
                    <a:pt x="1745" y="495"/>
                    <a:pt x="1745" y="495"/>
                  </a:cubicBezTo>
                  <a:cubicBezTo>
                    <a:pt x="1745" y="495"/>
                    <a:pt x="1745" y="495"/>
                    <a:pt x="1745" y="495"/>
                  </a:cubicBezTo>
                  <a:cubicBezTo>
                    <a:pt x="1745" y="496"/>
                    <a:pt x="1745" y="496"/>
                    <a:pt x="1745" y="496"/>
                  </a:cubicBezTo>
                  <a:cubicBezTo>
                    <a:pt x="1745" y="496"/>
                    <a:pt x="1745" y="496"/>
                    <a:pt x="1745" y="496"/>
                  </a:cubicBezTo>
                  <a:cubicBezTo>
                    <a:pt x="1745" y="496"/>
                    <a:pt x="1745" y="496"/>
                    <a:pt x="1745" y="496"/>
                  </a:cubicBezTo>
                  <a:cubicBezTo>
                    <a:pt x="1745" y="496"/>
                    <a:pt x="1745" y="496"/>
                    <a:pt x="1745" y="496"/>
                  </a:cubicBezTo>
                  <a:cubicBezTo>
                    <a:pt x="1745" y="496"/>
                    <a:pt x="1745" y="496"/>
                    <a:pt x="1746" y="496"/>
                  </a:cubicBezTo>
                  <a:cubicBezTo>
                    <a:pt x="1746" y="496"/>
                    <a:pt x="1746" y="496"/>
                    <a:pt x="1746" y="496"/>
                  </a:cubicBezTo>
                  <a:cubicBezTo>
                    <a:pt x="1746" y="496"/>
                    <a:pt x="1746" y="496"/>
                    <a:pt x="1746" y="496"/>
                  </a:cubicBezTo>
                  <a:cubicBezTo>
                    <a:pt x="1746" y="496"/>
                    <a:pt x="1746" y="496"/>
                    <a:pt x="1746" y="496"/>
                  </a:cubicBezTo>
                  <a:cubicBezTo>
                    <a:pt x="1746" y="496"/>
                    <a:pt x="1746" y="496"/>
                    <a:pt x="1746" y="496"/>
                  </a:cubicBezTo>
                  <a:cubicBezTo>
                    <a:pt x="1748" y="496"/>
                    <a:pt x="1747" y="495"/>
                    <a:pt x="1750" y="496"/>
                  </a:cubicBezTo>
                  <a:cubicBezTo>
                    <a:pt x="1750" y="496"/>
                    <a:pt x="1750" y="496"/>
                    <a:pt x="1750" y="496"/>
                  </a:cubicBezTo>
                  <a:cubicBezTo>
                    <a:pt x="1750" y="496"/>
                    <a:pt x="1750" y="496"/>
                    <a:pt x="1750" y="496"/>
                  </a:cubicBezTo>
                  <a:cubicBezTo>
                    <a:pt x="1752" y="497"/>
                    <a:pt x="1752" y="496"/>
                    <a:pt x="1753" y="497"/>
                  </a:cubicBezTo>
                  <a:cubicBezTo>
                    <a:pt x="1753" y="497"/>
                    <a:pt x="1753" y="497"/>
                    <a:pt x="1753" y="497"/>
                  </a:cubicBezTo>
                  <a:cubicBezTo>
                    <a:pt x="1753" y="497"/>
                    <a:pt x="1753" y="497"/>
                    <a:pt x="1753" y="497"/>
                  </a:cubicBezTo>
                  <a:cubicBezTo>
                    <a:pt x="1753" y="497"/>
                    <a:pt x="1753" y="497"/>
                    <a:pt x="1753" y="497"/>
                  </a:cubicBezTo>
                  <a:cubicBezTo>
                    <a:pt x="1752" y="497"/>
                    <a:pt x="1752" y="497"/>
                    <a:pt x="1752" y="497"/>
                  </a:cubicBezTo>
                  <a:cubicBezTo>
                    <a:pt x="1751" y="497"/>
                    <a:pt x="1751" y="497"/>
                    <a:pt x="1751" y="497"/>
                  </a:cubicBezTo>
                  <a:cubicBezTo>
                    <a:pt x="1748" y="497"/>
                    <a:pt x="1748" y="497"/>
                    <a:pt x="1748" y="497"/>
                  </a:cubicBezTo>
                  <a:cubicBezTo>
                    <a:pt x="1746" y="497"/>
                    <a:pt x="1746" y="497"/>
                    <a:pt x="1746"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5" y="497"/>
                    <a:pt x="1745" y="497"/>
                    <a:pt x="1745" y="497"/>
                  </a:cubicBezTo>
                  <a:cubicBezTo>
                    <a:pt x="1744" y="497"/>
                    <a:pt x="1744" y="497"/>
                    <a:pt x="1743" y="498"/>
                  </a:cubicBezTo>
                  <a:cubicBezTo>
                    <a:pt x="1743" y="498"/>
                    <a:pt x="1743" y="498"/>
                    <a:pt x="1743" y="498"/>
                  </a:cubicBezTo>
                  <a:cubicBezTo>
                    <a:pt x="1743" y="498"/>
                    <a:pt x="1743" y="498"/>
                    <a:pt x="1743" y="498"/>
                  </a:cubicBezTo>
                  <a:cubicBezTo>
                    <a:pt x="1743" y="498"/>
                    <a:pt x="1743" y="498"/>
                    <a:pt x="1743" y="498"/>
                  </a:cubicBezTo>
                  <a:cubicBezTo>
                    <a:pt x="1743" y="498"/>
                    <a:pt x="1743" y="498"/>
                    <a:pt x="1743" y="498"/>
                  </a:cubicBezTo>
                  <a:cubicBezTo>
                    <a:pt x="1744" y="499"/>
                    <a:pt x="1744" y="499"/>
                    <a:pt x="1744" y="499"/>
                  </a:cubicBezTo>
                  <a:cubicBezTo>
                    <a:pt x="1745" y="500"/>
                    <a:pt x="1745" y="500"/>
                    <a:pt x="1745" y="500"/>
                  </a:cubicBezTo>
                  <a:cubicBezTo>
                    <a:pt x="1745" y="500"/>
                    <a:pt x="1745" y="500"/>
                    <a:pt x="1745" y="500"/>
                  </a:cubicBezTo>
                  <a:cubicBezTo>
                    <a:pt x="1745" y="500"/>
                    <a:pt x="1745" y="500"/>
                    <a:pt x="1745" y="500"/>
                  </a:cubicBezTo>
                  <a:cubicBezTo>
                    <a:pt x="1745" y="500"/>
                    <a:pt x="1745" y="500"/>
                    <a:pt x="1745" y="500"/>
                  </a:cubicBezTo>
                  <a:cubicBezTo>
                    <a:pt x="1745" y="501"/>
                    <a:pt x="1745" y="501"/>
                    <a:pt x="1745" y="501"/>
                  </a:cubicBezTo>
                  <a:cubicBezTo>
                    <a:pt x="1745" y="501"/>
                    <a:pt x="1745" y="501"/>
                    <a:pt x="1745" y="501"/>
                  </a:cubicBezTo>
                  <a:cubicBezTo>
                    <a:pt x="1745" y="501"/>
                    <a:pt x="1745" y="501"/>
                    <a:pt x="1745" y="501"/>
                  </a:cubicBezTo>
                  <a:cubicBezTo>
                    <a:pt x="1744" y="501"/>
                    <a:pt x="1744" y="501"/>
                    <a:pt x="1744" y="501"/>
                  </a:cubicBezTo>
                  <a:cubicBezTo>
                    <a:pt x="1744" y="501"/>
                    <a:pt x="1744" y="501"/>
                    <a:pt x="1744" y="501"/>
                  </a:cubicBezTo>
                  <a:cubicBezTo>
                    <a:pt x="1742" y="500"/>
                    <a:pt x="1742" y="500"/>
                    <a:pt x="1742" y="500"/>
                  </a:cubicBezTo>
                  <a:cubicBezTo>
                    <a:pt x="1742" y="499"/>
                    <a:pt x="1742" y="499"/>
                    <a:pt x="1742"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1" y="499"/>
                    <a:pt x="1741" y="499"/>
                    <a:pt x="1741" y="499"/>
                  </a:cubicBezTo>
                  <a:cubicBezTo>
                    <a:pt x="1740" y="498"/>
                    <a:pt x="1740" y="498"/>
                    <a:pt x="1740" y="498"/>
                  </a:cubicBezTo>
                  <a:cubicBezTo>
                    <a:pt x="1740" y="498"/>
                    <a:pt x="1740" y="498"/>
                    <a:pt x="1740" y="498"/>
                  </a:cubicBezTo>
                  <a:cubicBezTo>
                    <a:pt x="1740" y="499"/>
                    <a:pt x="1740" y="499"/>
                    <a:pt x="1740" y="499"/>
                  </a:cubicBezTo>
                  <a:cubicBezTo>
                    <a:pt x="1740" y="499"/>
                    <a:pt x="1740" y="499"/>
                    <a:pt x="1740" y="499"/>
                  </a:cubicBezTo>
                  <a:cubicBezTo>
                    <a:pt x="1739" y="502"/>
                    <a:pt x="1739" y="502"/>
                    <a:pt x="1739" y="502"/>
                  </a:cubicBezTo>
                  <a:cubicBezTo>
                    <a:pt x="1739" y="502"/>
                    <a:pt x="1739" y="502"/>
                    <a:pt x="1739" y="502"/>
                  </a:cubicBezTo>
                  <a:cubicBezTo>
                    <a:pt x="1739" y="503"/>
                    <a:pt x="1739" y="503"/>
                    <a:pt x="1739" y="503"/>
                  </a:cubicBezTo>
                  <a:cubicBezTo>
                    <a:pt x="1739" y="503"/>
                    <a:pt x="1739" y="503"/>
                    <a:pt x="1739"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0" y="503"/>
                    <a:pt x="1740" y="503"/>
                    <a:pt x="1740" y="503"/>
                  </a:cubicBezTo>
                  <a:cubicBezTo>
                    <a:pt x="1741" y="503"/>
                    <a:pt x="1741" y="503"/>
                    <a:pt x="1741" y="503"/>
                  </a:cubicBezTo>
                  <a:cubicBezTo>
                    <a:pt x="1741" y="503"/>
                    <a:pt x="1741" y="503"/>
                    <a:pt x="1741" y="503"/>
                  </a:cubicBezTo>
                  <a:cubicBezTo>
                    <a:pt x="1741" y="503"/>
                    <a:pt x="1741" y="503"/>
                    <a:pt x="1741" y="503"/>
                  </a:cubicBezTo>
                  <a:cubicBezTo>
                    <a:pt x="1741" y="503"/>
                    <a:pt x="1741" y="503"/>
                    <a:pt x="1741" y="503"/>
                  </a:cubicBezTo>
                  <a:cubicBezTo>
                    <a:pt x="1742" y="503"/>
                    <a:pt x="1742" y="503"/>
                    <a:pt x="1742" y="503"/>
                  </a:cubicBezTo>
                  <a:cubicBezTo>
                    <a:pt x="1742" y="503"/>
                    <a:pt x="1742" y="503"/>
                    <a:pt x="1742" y="503"/>
                  </a:cubicBezTo>
                  <a:cubicBezTo>
                    <a:pt x="1742" y="503"/>
                    <a:pt x="1742" y="503"/>
                    <a:pt x="1742" y="503"/>
                  </a:cubicBezTo>
                  <a:cubicBezTo>
                    <a:pt x="1742" y="503"/>
                    <a:pt x="1742" y="503"/>
                    <a:pt x="1742" y="503"/>
                  </a:cubicBezTo>
                  <a:cubicBezTo>
                    <a:pt x="1742" y="503"/>
                    <a:pt x="1742" y="503"/>
                    <a:pt x="1742" y="503"/>
                  </a:cubicBezTo>
                  <a:cubicBezTo>
                    <a:pt x="1742" y="504"/>
                    <a:pt x="1742" y="504"/>
                    <a:pt x="1742" y="504"/>
                  </a:cubicBezTo>
                  <a:cubicBezTo>
                    <a:pt x="1742" y="504"/>
                    <a:pt x="1742" y="504"/>
                    <a:pt x="1742" y="504"/>
                  </a:cubicBezTo>
                  <a:cubicBezTo>
                    <a:pt x="1742" y="504"/>
                    <a:pt x="1742" y="504"/>
                    <a:pt x="1742" y="504"/>
                  </a:cubicBezTo>
                  <a:cubicBezTo>
                    <a:pt x="1740" y="505"/>
                    <a:pt x="1738" y="506"/>
                    <a:pt x="1736" y="508"/>
                  </a:cubicBezTo>
                  <a:cubicBezTo>
                    <a:pt x="1736" y="508"/>
                    <a:pt x="1736" y="508"/>
                    <a:pt x="1736" y="508"/>
                  </a:cubicBezTo>
                  <a:cubicBezTo>
                    <a:pt x="1736" y="508"/>
                    <a:pt x="1736" y="508"/>
                    <a:pt x="1736" y="508"/>
                  </a:cubicBezTo>
                  <a:cubicBezTo>
                    <a:pt x="1737" y="509"/>
                    <a:pt x="1737" y="509"/>
                    <a:pt x="1737" y="509"/>
                  </a:cubicBezTo>
                  <a:cubicBezTo>
                    <a:pt x="1736" y="509"/>
                    <a:pt x="1736" y="509"/>
                    <a:pt x="1736" y="509"/>
                  </a:cubicBezTo>
                  <a:cubicBezTo>
                    <a:pt x="1736" y="509"/>
                    <a:pt x="1736" y="509"/>
                    <a:pt x="1736" y="509"/>
                  </a:cubicBezTo>
                  <a:cubicBezTo>
                    <a:pt x="1736" y="509"/>
                    <a:pt x="1736" y="509"/>
                    <a:pt x="1736"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7" y="509"/>
                    <a:pt x="1737" y="509"/>
                    <a:pt x="1737" y="509"/>
                  </a:cubicBezTo>
                  <a:cubicBezTo>
                    <a:pt x="1739" y="509"/>
                    <a:pt x="1738" y="510"/>
                    <a:pt x="1739" y="511"/>
                  </a:cubicBezTo>
                  <a:cubicBezTo>
                    <a:pt x="1739" y="511"/>
                    <a:pt x="1739" y="511"/>
                    <a:pt x="1739" y="511"/>
                  </a:cubicBezTo>
                  <a:cubicBezTo>
                    <a:pt x="1739" y="511"/>
                    <a:pt x="1739" y="511"/>
                    <a:pt x="1739" y="511"/>
                  </a:cubicBezTo>
                  <a:cubicBezTo>
                    <a:pt x="1739" y="511"/>
                    <a:pt x="1739" y="511"/>
                    <a:pt x="1739" y="511"/>
                  </a:cubicBezTo>
                  <a:cubicBezTo>
                    <a:pt x="1739" y="511"/>
                    <a:pt x="1739" y="511"/>
                    <a:pt x="1739" y="511"/>
                  </a:cubicBezTo>
                  <a:cubicBezTo>
                    <a:pt x="1740" y="511"/>
                    <a:pt x="1740" y="511"/>
                    <a:pt x="1740" y="511"/>
                  </a:cubicBezTo>
                  <a:cubicBezTo>
                    <a:pt x="1740" y="511"/>
                    <a:pt x="1740" y="511"/>
                    <a:pt x="1740" y="511"/>
                  </a:cubicBezTo>
                  <a:cubicBezTo>
                    <a:pt x="1740" y="511"/>
                    <a:pt x="1740" y="511"/>
                    <a:pt x="1740" y="511"/>
                  </a:cubicBezTo>
                  <a:cubicBezTo>
                    <a:pt x="1740" y="511"/>
                    <a:pt x="1740" y="511"/>
                    <a:pt x="1740" y="511"/>
                  </a:cubicBezTo>
                  <a:cubicBezTo>
                    <a:pt x="1740" y="512"/>
                    <a:pt x="1740" y="512"/>
                    <a:pt x="1740" y="512"/>
                  </a:cubicBezTo>
                  <a:cubicBezTo>
                    <a:pt x="1740" y="512"/>
                    <a:pt x="1740" y="512"/>
                    <a:pt x="1740" y="512"/>
                  </a:cubicBezTo>
                  <a:cubicBezTo>
                    <a:pt x="1740" y="512"/>
                    <a:pt x="1740" y="512"/>
                    <a:pt x="1741" y="513"/>
                  </a:cubicBezTo>
                  <a:cubicBezTo>
                    <a:pt x="1741" y="513"/>
                    <a:pt x="1741" y="513"/>
                    <a:pt x="1741" y="513"/>
                  </a:cubicBezTo>
                  <a:cubicBezTo>
                    <a:pt x="1741" y="513"/>
                    <a:pt x="1741" y="513"/>
                    <a:pt x="1741" y="513"/>
                  </a:cubicBezTo>
                  <a:cubicBezTo>
                    <a:pt x="1741" y="513"/>
                    <a:pt x="1741" y="513"/>
                    <a:pt x="1741" y="513"/>
                  </a:cubicBezTo>
                  <a:cubicBezTo>
                    <a:pt x="1741" y="513"/>
                    <a:pt x="1741" y="513"/>
                    <a:pt x="1741" y="513"/>
                  </a:cubicBezTo>
                  <a:cubicBezTo>
                    <a:pt x="1741" y="513"/>
                    <a:pt x="1741" y="513"/>
                    <a:pt x="1741" y="513"/>
                  </a:cubicBezTo>
                  <a:cubicBezTo>
                    <a:pt x="1740" y="514"/>
                    <a:pt x="1740" y="514"/>
                    <a:pt x="1740" y="514"/>
                  </a:cubicBezTo>
                  <a:cubicBezTo>
                    <a:pt x="1739" y="516"/>
                    <a:pt x="1739" y="516"/>
                    <a:pt x="1739" y="516"/>
                  </a:cubicBezTo>
                  <a:cubicBezTo>
                    <a:pt x="1739" y="517"/>
                    <a:pt x="1739" y="517"/>
                    <a:pt x="1739" y="517"/>
                  </a:cubicBezTo>
                  <a:cubicBezTo>
                    <a:pt x="1738" y="517"/>
                    <a:pt x="1738" y="517"/>
                    <a:pt x="1738"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7"/>
                    <a:pt x="1739" y="517"/>
                    <a:pt x="1739" y="517"/>
                  </a:cubicBezTo>
                  <a:cubicBezTo>
                    <a:pt x="1739" y="518"/>
                    <a:pt x="1739" y="518"/>
                    <a:pt x="1739" y="518"/>
                  </a:cubicBezTo>
                  <a:cubicBezTo>
                    <a:pt x="1739" y="518"/>
                    <a:pt x="1739" y="518"/>
                    <a:pt x="1739" y="518"/>
                  </a:cubicBezTo>
                  <a:cubicBezTo>
                    <a:pt x="1738" y="518"/>
                    <a:pt x="1738" y="518"/>
                    <a:pt x="1738" y="518"/>
                  </a:cubicBezTo>
                  <a:cubicBezTo>
                    <a:pt x="1738" y="519"/>
                    <a:pt x="1739" y="519"/>
                    <a:pt x="1738" y="520"/>
                  </a:cubicBezTo>
                  <a:cubicBezTo>
                    <a:pt x="1737" y="521"/>
                    <a:pt x="1737" y="521"/>
                    <a:pt x="1737" y="521"/>
                  </a:cubicBezTo>
                  <a:cubicBezTo>
                    <a:pt x="1736" y="521"/>
                    <a:pt x="1736" y="521"/>
                    <a:pt x="1736" y="521"/>
                  </a:cubicBezTo>
                  <a:cubicBezTo>
                    <a:pt x="1736" y="521"/>
                    <a:pt x="1736" y="521"/>
                    <a:pt x="1736" y="521"/>
                  </a:cubicBezTo>
                  <a:cubicBezTo>
                    <a:pt x="1736" y="521"/>
                    <a:pt x="1736" y="521"/>
                    <a:pt x="1736" y="521"/>
                  </a:cubicBezTo>
                  <a:cubicBezTo>
                    <a:pt x="1737" y="519"/>
                    <a:pt x="1737" y="519"/>
                    <a:pt x="1737" y="519"/>
                  </a:cubicBezTo>
                  <a:cubicBezTo>
                    <a:pt x="1737" y="518"/>
                    <a:pt x="1737" y="518"/>
                    <a:pt x="1737" y="518"/>
                  </a:cubicBezTo>
                  <a:cubicBezTo>
                    <a:pt x="1738" y="517"/>
                    <a:pt x="1736" y="517"/>
                    <a:pt x="1737" y="515"/>
                  </a:cubicBezTo>
                  <a:cubicBezTo>
                    <a:pt x="1737" y="515"/>
                    <a:pt x="1737" y="515"/>
                    <a:pt x="1737" y="515"/>
                  </a:cubicBezTo>
                  <a:cubicBezTo>
                    <a:pt x="1738" y="514"/>
                    <a:pt x="1738" y="514"/>
                    <a:pt x="1738" y="514"/>
                  </a:cubicBezTo>
                  <a:cubicBezTo>
                    <a:pt x="1738" y="514"/>
                    <a:pt x="1738" y="514"/>
                    <a:pt x="1738" y="514"/>
                  </a:cubicBezTo>
                  <a:cubicBezTo>
                    <a:pt x="1738" y="513"/>
                    <a:pt x="1738" y="514"/>
                    <a:pt x="1739" y="512"/>
                  </a:cubicBezTo>
                  <a:cubicBezTo>
                    <a:pt x="1739" y="512"/>
                    <a:pt x="1739" y="512"/>
                    <a:pt x="1739" y="512"/>
                  </a:cubicBezTo>
                  <a:cubicBezTo>
                    <a:pt x="1739" y="512"/>
                    <a:pt x="1739" y="512"/>
                    <a:pt x="1739" y="512"/>
                  </a:cubicBezTo>
                  <a:cubicBezTo>
                    <a:pt x="1739" y="512"/>
                    <a:pt x="1739" y="512"/>
                    <a:pt x="1739" y="512"/>
                  </a:cubicBezTo>
                  <a:cubicBezTo>
                    <a:pt x="1739" y="512"/>
                    <a:pt x="1739" y="512"/>
                    <a:pt x="1739" y="512"/>
                  </a:cubicBezTo>
                  <a:cubicBezTo>
                    <a:pt x="1739" y="512"/>
                    <a:pt x="1739" y="512"/>
                    <a:pt x="1739" y="512"/>
                  </a:cubicBezTo>
                  <a:cubicBezTo>
                    <a:pt x="1738" y="512"/>
                    <a:pt x="1738" y="512"/>
                    <a:pt x="1738" y="512"/>
                  </a:cubicBezTo>
                  <a:cubicBezTo>
                    <a:pt x="1738" y="512"/>
                    <a:pt x="1738" y="512"/>
                    <a:pt x="1738" y="512"/>
                  </a:cubicBezTo>
                  <a:cubicBezTo>
                    <a:pt x="1738" y="512"/>
                    <a:pt x="1738" y="512"/>
                    <a:pt x="1738" y="512"/>
                  </a:cubicBezTo>
                  <a:cubicBezTo>
                    <a:pt x="1738" y="512"/>
                    <a:pt x="1738" y="512"/>
                    <a:pt x="1738" y="512"/>
                  </a:cubicBezTo>
                  <a:cubicBezTo>
                    <a:pt x="1738" y="512"/>
                    <a:pt x="1738" y="512"/>
                    <a:pt x="1738" y="512"/>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1"/>
                    <a:pt x="1737" y="511"/>
                    <a:pt x="1737" y="511"/>
                  </a:cubicBezTo>
                  <a:cubicBezTo>
                    <a:pt x="1737" y="510"/>
                    <a:pt x="1737" y="510"/>
                    <a:pt x="1737" y="510"/>
                  </a:cubicBezTo>
                  <a:cubicBezTo>
                    <a:pt x="1737" y="510"/>
                    <a:pt x="1737" y="510"/>
                    <a:pt x="1737" y="510"/>
                  </a:cubicBezTo>
                  <a:cubicBezTo>
                    <a:pt x="1737" y="510"/>
                    <a:pt x="1737" y="510"/>
                    <a:pt x="1737" y="510"/>
                  </a:cubicBezTo>
                  <a:cubicBezTo>
                    <a:pt x="1737" y="510"/>
                    <a:pt x="1737" y="510"/>
                    <a:pt x="1737" y="510"/>
                  </a:cubicBezTo>
                  <a:cubicBezTo>
                    <a:pt x="1736" y="510"/>
                    <a:pt x="1736" y="510"/>
                    <a:pt x="1736" y="510"/>
                  </a:cubicBezTo>
                  <a:cubicBezTo>
                    <a:pt x="1735" y="510"/>
                    <a:pt x="1735" y="510"/>
                    <a:pt x="1735" y="510"/>
                  </a:cubicBezTo>
                  <a:cubicBezTo>
                    <a:pt x="1735" y="510"/>
                    <a:pt x="1735" y="510"/>
                    <a:pt x="1735" y="510"/>
                  </a:cubicBezTo>
                  <a:cubicBezTo>
                    <a:pt x="1735" y="510"/>
                    <a:pt x="1735" y="510"/>
                    <a:pt x="1735" y="510"/>
                  </a:cubicBezTo>
                  <a:cubicBezTo>
                    <a:pt x="1735" y="510"/>
                    <a:pt x="1735" y="510"/>
                    <a:pt x="1735" y="510"/>
                  </a:cubicBezTo>
                  <a:cubicBezTo>
                    <a:pt x="1735" y="510"/>
                    <a:pt x="1735" y="510"/>
                    <a:pt x="1735" y="510"/>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9"/>
                    <a:pt x="1735" y="509"/>
                    <a:pt x="1735" y="509"/>
                  </a:cubicBezTo>
                  <a:cubicBezTo>
                    <a:pt x="1735" y="508"/>
                    <a:pt x="1735" y="508"/>
                    <a:pt x="1735" y="508"/>
                  </a:cubicBezTo>
                  <a:cubicBezTo>
                    <a:pt x="1735" y="508"/>
                    <a:pt x="1735" y="508"/>
                    <a:pt x="1735" y="508"/>
                  </a:cubicBezTo>
                  <a:cubicBezTo>
                    <a:pt x="1735" y="508"/>
                    <a:pt x="1735" y="508"/>
                    <a:pt x="1735" y="508"/>
                  </a:cubicBezTo>
                  <a:cubicBezTo>
                    <a:pt x="1734" y="508"/>
                    <a:pt x="1734" y="508"/>
                    <a:pt x="1734" y="508"/>
                  </a:cubicBezTo>
                  <a:cubicBezTo>
                    <a:pt x="1734" y="508"/>
                    <a:pt x="1734" y="508"/>
                    <a:pt x="1734" y="508"/>
                  </a:cubicBezTo>
                  <a:cubicBezTo>
                    <a:pt x="1734" y="508"/>
                    <a:pt x="1734" y="508"/>
                    <a:pt x="1734" y="508"/>
                  </a:cubicBezTo>
                  <a:cubicBezTo>
                    <a:pt x="1734" y="508"/>
                    <a:pt x="1734" y="508"/>
                    <a:pt x="1734" y="508"/>
                  </a:cubicBezTo>
                  <a:cubicBezTo>
                    <a:pt x="1734" y="508"/>
                    <a:pt x="1734" y="508"/>
                    <a:pt x="1734" y="508"/>
                  </a:cubicBezTo>
                  <a:cubicBezTo>
                    <a:pt x="1733" y="508"/>
                    <a:pt x="1733" y="508"/>
                    <a:pt x="1733" y="508"/>
                  </a:cubicBezTo>
                  <a:cubicBezTo>
                    <a:pt x="1733" y="507"/>
                    <a:pt x="1733" y="507"/>
                    <a:pt x="1733" y="507"/>
                  </a:cubicBezTo>
                  <a:cubicBezTo>
                    <a:pt x="1733" y="507"/>
                    <a:pt x="1733" y="507"/>
                    <a:pt x="1733" y="507"/>
                  </a:cubicBezTo>
                  <a:cubicBezTo>
                    <a:pt x="1733" y="507"/>
                    <a:pt x="1733" y="507"/>
                    <a:pt x="1733" y="507"/>
                  </a:cubicBezTo>
                  <a:cubicBezTo>
                    <a:pt x="1732" y="507"/>
                    <a:pt x="1732" y="506"/>
                    <a:pt x="1731" y="506"/>
                  </a:cubicBezTo>
                  <a:cubicBezTo>
                    <a:pt x="1731" y="506"/>
                    <a:pt x="1731" y="506"/>
                    <a:pt x="1731" y="506"/>
                  </a:cubicBezTo>
                  <a:cubicBezTo>
                    <a:pt x="1731" y="506"/>
                    <a:pt x="1731" y="506"/>
                    <a:pt x="1731" y="506"/>
                  </a:cubicBezTo>
                  <a:cubicBezTo>
                    <a:pt x="1731" y="506"/>
                    <a:pt x="1731" y="506"/>
                    <a:pt x="1731" y="506"/>
                  </a:cubicBezTo>
                  <a:cubicBezTo>
                    <a:pt x="1731" y="505"/>
                    <a:pt x="1731" y="505"/>
                    <a:pt x="1731"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30" y="505"/>
                    <a:pt x="1730" y="505"/>
                    <a:pt x="1730" y="505"/>
                  </a:cubicBezTo>
                  <a:cubicBezTo>
                    <a:pt x="1729" y="505"/>
                    <a:pt x="1729" y="505"/>
                    <a:pt x="1729" y="505"/>
                  </a:cubicBezTo>
                  <a:cubicBezTo>
                    <a:pt x="1729" y="505"/>
                    <a:pt x="1729" y="505"/>
                    <a:pt x="1729" y="505"/>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9" y="504"/>
                    <a:pt x="1729" y="504"/>
                    <a:pt x="1729" y="504"/>
                  </a:cubicBezTo>
                  <a:cubicBezTo>
                    <a:pt x="1728" y="504"/>
                    <a:pt x="1728" y="504"/>
                    <a:pt x="1728" y="504"/>
                  </a:cubicBezTo>
                  <a:cubicBezTo>
                    <a:pt x="1727" y="506"/>
                    <a:pt x="1727" y="506"/>
                    <a:pt x="1727" y="506"/>
                  </a:cubicBezTo>
                  <a:cubicBezTo>
                    <a:pt x="1725" y="509"/>
                    <a:pt x="1725" y="509"/>
                    <a:pt x="1725" y="509"/>
                  </a:cubicBezTo>
                  <a:cubicBezTo>
                    <a:pt x="1724" y="511"/>
                    <a:pt x="1724" y="511"/>
                    <a:pt x="1724" y="511"/>
                  </a:cubicBezTo>
                  <a:cubicBezTo>
                    <a:pt x="1724" y="512"/>
                    <a:pt x="1724" y="512"/>
                    <a:pt x="1724" y="512"/>
                  </a:cubicBezTo>
                  <a:cubicBezTo>
                    <a:pt x="1723" y="512"/>
                    <a:pt x="1723" y="512"/>
                    <a:pt x="1723" y="512"/>
                  </a:cubicBezTo>
                  <a:cubicBezTo>
                    <a:pt x="1723" y="512"/>
                    <a:pt x="1723" y="512"/>
                    <a:pt x="1723" y="512"/>
                  </a:cubicBezTo>
                  <a:cubicBezTo>
                    <a:pt x="1723" y="512"/>
                    <a:pt x="1723" y="512"/>
                    <a:pt x="1723" y="512"/>
                  </a:cubicBezTo>
                  <a:cubicBezTo>
                    <a:pt x="1723" y="513"/>
                    <a:pt x="1723" y="513"/>
                    <a:pt x="1723" y="513"/>
                  </a:cubicBezTo>
                  <a:cubicBezTo>
                    <a:pt x="1723" y="513"/>
                    <a:pt x="1723" y="513"/>
                    <a:pt x="1723" y="513"/>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3" y="514"/>
                    <a:pt x="1723" y="514"/>
                    <a:pt x="1723" y="514"/>
                  </a:cubicBezTo>
                  <a:cubicBezTo>
                    <a:pt x="1722" y="515"/>
                    <a:pt x="1722" y="515"/>
                    <a:pt x="1722" y="515"/>
                  </a:cubicBezTo>
                  <a:cubicBezTo>
                    <a:pt x="1722" y="515"/>
                    <a:pt x="1722" y="515"/>
                    <a:pt x="1722" y="515"/>
                  </a:cubicBezTo>
                  <a:cubicBezTo>
                    <a:pt x="1722" y="515"/>
                    <a:pt x="1722" y="515"/>
                    <a:pt x="1722" y="515"/>
                  </a:cubicBezTo>
                  <a:cubicBezTo>
                    <a:pt x="1722" y="515"/>
                    <a:pt x="1722" y="515"/>
                    <a:pt x="1722" y="515"/>
                  </a:cubicBezTo>
                  <a:cubicBezTo>
                    <a:pt x="1722" y="515"/>
                    <a:pt x="1723" y="515"/>
                    <a:pt x="1723" y="516"/>
                  </a:cubicBezTo>
                  <a:cubicBezTo>
                    <a:pt x="1723" y="516"/>
                    <a:pt x="1723" y="516"/>
                    <a:pt x="1723" y="516"/>
                  </a:cubicBezTo>
                  <a:cubicBezTo>
                    <a:pt x="1723" y="516"/>
                    <a:pt x="1723" y="516"/>
                    <a:pt x="1723" y="516"/>
                  </a:cubicBezTo>
                  <a:cubicBezTo>
                    <a:pt x="1723" y="516"/>
                    <a:pt x="1723" y="516"/>
                    <a:pt x="1723" y="516"/>
                  </a:cubicBezTo>
                  <a:cubicBezTo>
                    <a:pt x="1721" y="517"/>
                    <a:pt x="1721" y="517"/>
                    <a:pt x="1721" y="517"/>
                  </a:cubicBezTo>
                  <a:cubicBezTo>
                    <a:pt x="1719" y="517"/>
                    <a:pt x="1719" y="517"/>
                    <a:pt x="1719" y="517"/>
                  </a:cubicBezTo>
                  <a:cubicBezTo>
                    <a:pt x="1702" y="524"/>
                    <a:pt x="1702" y="524"/>
                    <a:pt x="1702" y="524"/>
                  </a:cubicBezTo>
                  <a:cubicBezTo>
                    <a:pt x="1701" y="525"/>
                    <a:pt x="1700" y="526"/>
                    <a:pt x="1700" y="527"/>
                  </a:cubicBezTo>
                  <a:cubicBezTo>
                    <a:pt x="1699" y="528"/>
                    <a:pt x="1699" y="528"/>
                    <a:pt x="1699" y="528"/>
                  </a:cubicBezTo>
                  <a:cubicBezTo>
                    <a:pt x="1699" y="528"/>
                    <a:pt x="1699" y="528"/>
                    <a:pt x="1699" y="528"/>
                  </a:cubicBezTo>
                  <a:cubicBezTo>
                    <a:pt x="1699" y="528"/>
                    <a:pt x="1699" y="529"/>
                    <a:pt x="1699" y="530"/>
                  </a:cubicBezTo>
                  <a:cubicBezTo>
                    <a:pt x="1699" y="530"/>
                    <a:pt x="1699" y="530"/>
                    <a:pt x="1699" y="530"/>
                  </a:cubicBezTo>
                  <a:cubicBezTo>
                    <a:pt x="1699" y="530"/>
                    <a:pt x="1699" y="530"/>
                    <a:pt x="1699" y="530"/>
                  </a:cubicBezTo>
                  <a:cubicBezTo>
                    <a:pt x="1699" y="530"/>
                    <a:pt x="1699" y="530"/>
                    <a:pt x="1699" y="530"/>
                  </a:cubicBezTo>
                  <a:cubicBezTo>
                    <a:pt x="1699" y="530"/>
                    <a:pt x="1699" y="530"/>
                    <a:pt x="1699" y="530"/>
                  </a:cubicBezTo>
                  <a:cubicBezTo>
                    <a:pt x="1700" y="531"/>
                    <a:pt x="1699" y="531"/>
                    <a:pt x="1699" y="532"/>
                  </a:cubicBezTo>
                  <a:cubicBezTo>
                    <a:pt x="1698" y="532"/>
                    <a:pt x="1698" y="532"/>
                    <a:pt x="1698" y="532"/>
                  </a:cubicBezTo>
                  <a:cubicBezTo>
                    <a:pt x="1698" y="532"/>
                    <a:pt x="1698" y="532"/>
                    <a:pt x="1698" y="532"/>
                  </a:cubicBezTo>
                  <a:cubicBezTo>
                    <a:pt x="1698" y="532"/>
                    <a:pt x="1698" y="532"/>
                    <a:pt x="1698" y="532"/>
                  </a:cubicBezTo>
                  <a:cubicBezTo>
                    <a:pt x="1698" y="532"/>
                    <a:pt x="1698" y="532"/>
                    <a:pt x="1698" y="532"/>
                  </a:cubicBezTo>
                  <a:cubicBezTo>
                    <a:pt x="1698" y="532"/>
                    <a:pt x="1698" y="532"/>
                    <a:pt x="1698" y="532"/>
                  </a:cubicBezTo>
                  <a:cubicBezTo>
                    <a:pt x="1698" y="533"/>
                    <a:pt x="1698" y="533"/>
                    <a:pt x="1698" y="533"/>
                  </a:cubicBezTo>
                  <a:cubicBezTo>
                    <a:pt x="1698" y="533"/>
                    <a:pt x="1698" y="533"/>
                    <a:pt x="1698" y="533"/>
                  </a:cubicBezTo>
                  <a:cubicBezTo>
                    <a:pt x="1698" y="534"/>
                    <a:pt x="1698" y="534"/>
                    <a:pt x="1698" y="534"/>
                  </a:cubicBezTo>
                  <a:cubicBezTo>
                    <a:pt x="1697" y="533"/>
                    <a:pt x="1698" y="533"/>
                    <a:pt x="1698" y="532"/>
                  </a:cubicBezTo>
                  <a:cubicBezTo>
                    <a:pt x="1698" y="532"/>
                    <a:pt x="1698" y="532"/>
                    <a:pt x="1698" y="532"/>
                  </a:cubicBezTo>
                  <a:cubicBezTo>
                    <a:pt x="1698" y="531"/>
                    <a:pt x="1698" y="531"/>
                    <a:pt x="1698" y="531"/>
                  </a:cubicBezTo>
                  <a:cubicBezTo>
                    <a:pt x="1699" y="530"/>
                    <a:pt x="1698" y="530"/>
                    <a:pt x="1698" y="529"/>
                  </a:cubicBezTo>
                  <a:cubicBezTo>
                    <a:pt x="1698" y="529"/>
                    <a:pt x="1698" y="529"/>
                    <a:pt x="1698" y="529"/>
                  </a:cubicBezTo>
                  <a:cubicBezTo>
                    <a:pt x="1698" y="529"/>
                    <a:pt x="1698" y="529"/>
                    <a:pt x="1698" y="529"/>
                  </a:cubicBezTo>
                  <a:cubicBezTo>
                    <a:pt x="1698" y="529"/>
                    <a:pt x="1698" y="529"/>
                    <a:pt x="1698" y="529"/>
                  </a:cubicBezTo>
                  <a:cubicBezTo>
                    <a:pt x="1698" y="528"/>
                    <a:pt x="1698" y="528"/>
                    <a:pt x="1698" y="528"/>
                  </a:cubicBezTo>
                  <a:cubicBezTo>
                    <a:pt x="1698" y="528"/>
                    <a:pt x="1698" y="527"/>
                    <a:pt x="1698" y="526"/>
                  </a:cubicBezTo>
                  <a:cubicBezTo>
                    <a:pt x="1698" y="526"/>
                    <a:pt x="1698" y="526"/>
                    <a:pt x="1698" y="526"/>
                  </a:cubicBezTo>
                  <a:cubicBezTo>
                    <a:pt x="1698" y="526"/>
                    <a:pt x="1698" y="526"/>
                    <a:pt x="1698" y="526"/>
                  </a:cubicBezTo>
                  <a:cubicBezTo>
                    <a:pt x="1698" y="526"/>
                    <a:pt x="1698" y="526"/>
                    <a:pt x="1698" y="526"/>
                  </a:cubicBezTo>
                  <a:cubicBezTo>
                    <a:pt x="1699" y="526"/>
                    <a:pt x="1699" y="526"/>
                    <a:pt x="1699" y="526"/>
                  </a:cubicBezTo>
                  <a:cubicBezTo>
                    <a:pt x="1699" y="526"/>
                    <a:pt x="1699" y="526"/>
                    <a:pt x="1699" y="526"/>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5"/>
                    <a:pt x="1699" y="525"/>
                    <a:pt x="1699" y="525"/>
                  </a:cubicBezTo>
                  <a:cubicBezTo>
                    <a:pt x="1699" y="524"/>
                    <a:pt x="1699" y="524"/>
                    <a:pt x="1699" y="524"/>
                  </a:cubicBezTo>
                  <a:cubicBezTo>
                    <a:pt x="1699" y="524"/>
                    <a:pt x="1699" y="524"/>
                    <a:pt x="1699" y="524"/>
                  </a:cubicBezTo>
                  <a:cubicBezTo>
                    <a:pt x="1699" y="524"/>
                    <a:pt x="1699" y="524"/>
                    <a:pt x="1699" y="524"/>
                  </a:cubicBezTo>
                  <a:cubicBezTo>
                    <a:pt x="1698" y="523"/>
                    <a:pt x="1698" y="523"/>
                    <a:pt x="1698" y="523"/>
                  </a:cubicBezTo>
                  <a:cubicBezTo>
                    <a:pt x="1697" y="522"/>
                    <a:pt x="1697" y="522"/>
                    <a:pt x="1697" y="522"/>
                  </a:cubicBezTo>
                  <a:cubicBezTo>
                    <a:pt x="1697" y="522"/>
                    <a:pt x="1697" y="522"/>
                    <a:pt x="1697" y="522"/>
                  </a:cubicBezTo>
                  <a:cubicBezTo>
                    <a:pt x="1697" y="521"/>
                    <a:pt x="1697" y="521"/>
                    <a:pt x="1697" y="521"/>
                  </a:cubicBezTo>
                  <a:cubicBezTo>
                    <a:pt x="1697" y="521"/>
                    <a:pt x="1697" y="521"/>
                    <a:pt x="1697" y="521"/>
                  </a:cubicBezTo>
                  <a:cubicBezTo>
                    <a:pt x="1699" y="520"/>
                    <a:pt x="1697" y="521"/>
                    <a:pt x="1698" y="518"/>
                  </a:cubicBezTo>
                  <a:cubicBezTo>
                    <a:pt x="1698" y="518"/>
                    <a:pt x="1698" y="518"/>
                    <a:pt x="1698" y="518"/>
                  </a:cubicBezTo>
                  <a:cubicBezTo>
                    <a:pt x="1698" y="518"/>
                    <a:pt x="1698" y="518"/>
                    <a:pt x="1698" y="518"/>
                  </a:cubicBezTo>
                  <a:cubicBezTo>
                    <a:pt x="1698" y="518"/>
                    <a:pt x="1698" y="518"/>
                    <a:pt x="1698" y="518"/>
                  </a:cubicBezTo>
                  <a:cubicBezTo>
                    <a:pt x="1696" y="519"/>
                    <a:pt x="1696" y="519"/>
                    <a:pt x="1696" y="519"/>
                  </a:cubicBezTo>
                  <a:cubicBezTo>
                    <a:pt x="1695" y="519"/>
                    <a:pt x="1695" y="519"/>
                    <a:pt x="1695" y="519"/>
                  </a:cubicBezTo>
                  <a:cubicBezTo>
                    <a:pt x="1695" y="520"/>
                    <a:pt x="1695" y="520"/>
                    <a:pt x="1695" y="520"/>
                  </a:cubicBezTo>
                  <a:cubicBezTo>
                    <a:pt x="1695" y="520"/>
                    <a:pt x="1695" y="520"/>
                    <a:pt x="1695" y="520"/>
                  </a:cubicBezTo>
                  <a:cubicBezTo>
                    <a:pt x="1695" y="520"/>
                    <a:pt x="1695" y="520"/>
                    <a:pt x="1695" y="520"/>
                  </a:cubicBezTo>
                  <a:cubicBezTo>
                    <a:pt x="1695" y="520"/>
                    <a:pt x="1695" y="520"/>
                    <a:pt x="1695" y="520"/>
                  </a:cubicBezTo>
                  <a:cubicBezTo>
                    <a:pt x="1695" y="521"/>
                    <a:pt x="1695" y="521"/>
                    <a:pt x="1695" y="521"/>
                  </a:cubicBezTo>
                  <a:cubicBezTo>
                    <a:pt x="1695" y="521"/>
                    <a:pt x="1695" y="521"/>
                    <a:pt x="1695" y="521"/>
                  </a:cubicBezTo>
                  <a:cubicBezTo>
                    <a:pt x="1695" y="521"/>
                    <a:pt x="1695" y="521"/>
                    <a:pt x="1695" y="521"/>
                  </a:cubicBezTo>
                  <a:cubicBezTo>
                    <a:pt x="1695" y="521"/>
                    <a:pt x="1695" y="521"/>
                    <a:pt x="1695" y="521"/>
                  </a:cubicBezTo>
                  <a:cubicBezTo>
                    <a:pt x="1695" y="522"/>
                    <a:pt x="1695" y="522"/>
                    <a:pt x="1695" y="522"/>
                  </a:cubicBezTo>
                  <a:cubicBezTo>
                    <a:pt x="1695" y="522"/>
                    <a:pt x="1695" y="522"/>
                    <a:pt x="1695" y="522"/>
                  </a:cubicBezTo>
                  <a:cubicBezTo>
                    <a:pt x="1695" y="523"/>
                    <a:pt x="1695" y="523"/>
                    <a:pt x="1695" y="523"/>
                  </a:cubicBezTo>
                  <a:cubicBezTo>
                    <a:pt x="1695" y="523"/>
                    <a:pt x="1695" y="523"/>
                    <a:pt x="1695" y="523"/>
                  </a:cubicBezTo>
                  <a:cubicBezTo>
                    <a:pt x="1695" y="523"/>
                    <a:pt x="1695" y="523"/>
                    <a:pt x="1695" y="523"/>
                  </a:cubicBezTo>
                  <a:cubicBezTo>
                    <a:pt x="1695" y="523"/>
                    <a:pt x="1695" y="523"/>
                    <a:pt x="1694" y="524"/>
                  </a:cubicBezTo>
                  <a:cubicBezTo>
                    <a:pt x="1694" y="524"/>
                    <a:pt x="1694" y="524"/>
                    <a:pt x="1694" y="524"/>
                  </a:cubicBezTo>
                  <a:cubicBezTo>
                    <a:pt x="1694" y="524"/>
                    <a:pt x="1694" y="524"/>
                    <a:pt x="1694" y="524"/>
                  </a:cubicBezTo>
                  <a:cubicBezTo>
                    <a:pt x="1694" y="524"/>
                    <a:pt x="1694" y="524"/>
                    <a:pt x="1694" y="524"/>
                  </a:cubicBezTo>
                  <a:cubicBezTo>
                    <a:pt x="1694" y="524"/>
                    <a:pt x="1694" y="524"/>
                    <a:pt x="1694" y="524"/>
                  </a:cubicBezTo>
                  <a:cubicBezTo>
                    <a:pt x="1694" y="524"/>
                    <a:pt x="1694" y="524"/>
                    <a:pt x="1694" y="524"/>
                  </a:cubicBezTo>
                  <a:cubicBezTo>
                    <a:pt x="1694" y="525"/>
                    <a:pt x="1694" y="525"/>
                    <a:pt x="1694" y="525"/>
                  </a:cubicBezTo>
                  <a:cubicBezTo>
                    <a:pt x="1694" y="525"/>
                    <a:pt x="1694" y="525"/>
                    <a:pt x="1694" y="525"/>
                  </a:cubicBezTo>
                  <a:cubicBezTo>
                    <a:pt x="1694" y="525"/>
                    <a:pt x="1694" y="525"/>
                    <a:pt x="1694" y="525"/>
                  </a:cubicBezTo>
                  <a:cubicBezTo>
                    <a:pt x="1694" y="525"/>
                    <a:pt x="1694" y="525"/>
                    <a:pt x="1694" y="525"/>
                  </a:cubicBezTo>
                  <a:cubicBezTo>
                    <a:pt x="1694" y="525"/>
                    <a:pt x="1694" y="525"/>
                    <a:pt x="1694" y="525"/>
                  </a:cubicBezTo>
                  <a:cubicBezTo>
                    <a:pt x="1693" y="525"/>
                    <a:pt x="1693" y="525"/>
                    <a:pt x="1693" y="525"/>
                  </a:cubicBezTo>
                  <a:cubicBezTo>
                    <a:pt x="1693" y="525"/>
                    <a:pt x="1693" y="525"/>
                    <a:pt x="1693" y="525"/>
                  </a:cubicBezTo>
                  <a:cubicBezTo>
                    <a:pt x="1693" y="525"/>
                    <a:pt x="1693" y="525"/>
                    <a:pt x="1693" y="525"/>
                  </a:cubicBezTo>
                  <a:cubicBezTo>
                    <a:pt x="1693" y="525"/>
                    <a:pt x="1693" y="525"/>
                    <a:pt x="1693" y="525"/>
                  </a:cubicBezTo>
                  <a:cubicBezTo>
                    <a:pt x="1693" y="525"/>
                    <a:pt x="1693" y="525"/>
                    <a:pt x="1693" y="525"/>
                  </a:cubicBezTo>
                  <a:cubicBezTo>
                    <a:pt x="1693" y="525"/>
                    <a:pt x="1692" y="525"/>
                    <a:pt x="1692" y="525"/>
                  </a:cubicBezTo>
                  <a:cubicBezTo>
                    <a:pt x="1692" y="526"/>
                    <a:pt x="1692" y="526"/>
                    <a:pt x="1692" y="526"/>
                  </a:cubicBezTo>
                  <a:cubicBezTo>
                    <a:pt x="1692" y="526"/>
                    <a:pt x="1692" y="526"/>
                    <a:pt x="1692" y="526"/>
                  </a:cubicBezTo>
                  <a:cubicBezTo>
                    <a:pt x="1691" y="526"/>
                    <a:pt x="1692" y="527"/>
                    <a:pt x="1691" y="527"/>
                  </a:cubicBezTo>
                  <a:cubicBezTo>
                    <a:pt x="1691" y="527"/>
                    <a:pt x="1691" y="527"/>
                    <a:pt x="1691" y="527"/>
                  </a:cubicBezTo>
                  <a:cubicBezTo>
                    <a:pt x="1691" y="527"/>
                    <a:pt x="1691" y="527"/>
                    <a:pt x="1691" y="527"/>
                  </a:cubicBezTo>
                  <a:cubicBezTo>
                    <a:pt x="1691" y="528"/>
                    <a:pt x="1691" y="528"/>
                    <a:pt x="1691" y="528"/>
                  </a:cubicBezTo>
                  <a:cubicBezTo>
                    <a:pt x="1691" y="528"/>
                    <a:pt x="1691" y="528"/>
                    <a:pt x="1691" y="528"/>
                  </a:cubicBezTo>
                  <a:cubicBezTo>
                    <a:pt x="1691" y="528"/>
                    <a:pt x="1690" y="528"/>
                    <a:pt x="1690" y="529"/>
                  </a:cubicBezTo>
                  <a:cubicBezTo>
                    <a:pt x="1690" y="529"/>
                    <a:pt x="1690" y="529"/>
                    <a:pt x="1690" y="529"/>
                  </a:cubicBezTo>
                  <a:cubicBezTo>
                    <a:pt x="1690" y="529"/>
                    <a:pt x="1690" y="529"/>
                    <a:pt x="1690" y="529"/>
                  </a:cubicBezTo>
                  <a:cubicBezTo>
                    <a:pt x="1689" y="529"/>
                    <a:pt x="1689" y="529"/>
                    <a:pt x="1689" y="530"/>
                  </a:cubicBezTo>
                  <a:cubicBezTo>
                    <a:pt x="1689" y="530"/>
                    <a:pt x="1689" y="530"/>
                    <a:pt x="1689" y="530"/>
                  </a:cubicBezTo>
                  <a:cubicBezTo>
                    <a:pt x="1689" y="530"/>
                    <a:pt x="1689" y="530"/>
                    <a:pt x="1689" y="530"/>
                  </a:cubicBezTo>
                  <a:cubicBezTo>
                    <a:pt x="1688" y="530"/>
                    <a:pt x="1688" y="530"/>
                    <a:pt x="1688" y="530"/>
                  </a:cubicBezTo>
                  <a:cubicBezTo>
                    <a:pt x="1688" y="530"/>
                    <a:pt x="1688" y="530"/>
                    <a:pt x="1688" y="530"/>
                  </a:cubicBezTo>
                  <a:cubicBezTo>
                    <a:pt x="1688" y="530"/>
                    <a:pt x="1688" y="530"/>
                    <a:pt x="1688" y="530"/>
                  </a:cubicBezTo>
                  <a:cubicBezTo>
                    <a:pt x="1688" y="529"/>
                    <a:pt x="1688" y="529"/>
                    <a:pt x="1688" y="529"/>
                  </a:cubicBezTo>
                  <a:cubicBezTo>
                    <a:pt x="1689" y="528"/>
                    <a:pt x="1689" y="528"/>
                    <a:pt x="1689" y="528"/>
                  </a:cubicBezTo>
                  <a:cubicBezTo>
                    <a:pt x="1689" y="527"/>
                    <a:pt x="1689" y="527"/>
                    <a:pt x="1689" y="527"/>
                  </a:cubicBezTo>
                  <a:cubicBezTo>
                    <a:pt x="1690" y="527"/>
                    <a:pt x="1690" y="527"/>
                    <a:pt x="1690" y="527"/>
                  </a:cubicBezTo>
                  <a:cubicBezTo>
                    <a:pt x="1690" y="526"/>
                    <a:pt x="1691" y="526"/>
                    <a:pt x="1692" y="525"/>
                  </a:cubicBezTo>
                  <a:cubicBezTo>
                    <a:pt x="1692" y="525"/>
                    <a:pt x="1692" y="525"/>
                    <a:pt x="1692" y="525"/>
                  </a:cubicBezTo>
                  <a:cubicBezTo>
                    <a:pt x="1692" y="525"/>
                    <a:pt x="1692" y="525"/>
                    <a:pt x="1692" y="525"/>
                  </a:cubicBezTo>
                  <a:cubicBezTo>
                    <a:pt x="1693" y="524"/>
                    <a:pt x="1694" y="523"/>
                    <a:pt x="1694" y="522"/>
                  </a:cubicBezTo>
                  <a:cubicBezTo>
                    <a:pt x="1694" y="522"/>
                    <a:pt x="1694" y="522"/>
                    <a:pt x="1694" y="522"/>
                  </a:cubicBezTo>
                  <a:cubicBezTo>
                    <a:pt x="1694" y="522"/>
                    <a:pt x="1694" y="522"/>
                    <a:pt x="1694" y="522"/>
                  </a:cubicBezTo>
                  <a:cubicBezTo>
                    <a:pt x="1694" y="521"/>
                    <a:pt x="1694" y="521"/>
                    <a:pt x="1694" y="521"/>
                  </a:cubicBezTo>
                  <a:cubicBezTo>
                    <a:pt x="1694" y="521"/>
                    <a:pt x="1694" y="521"/>
                    <a:pt x="1694" y="521"/>
                  </a:cubicBezTo>
                  <a:cubicBezTo>
                    <a:pt x="1693" y="520"/>
                    <a:pt x="1693" y="520"/>
                    <a:pt x="1693" y="520"/>
                  </a:cubicBezTo>
                  <a:cubicBezTo>
                    <a:pt x="1693" y="520"/>
                    <a:pt x="1693" y="520"/>
                    <a:pt x="1693" y="519"/>
                  </a:cubicBezTo>
                  <a:cubicBezTo>
                    <a:pt x="1693" y="519"/>
                    <a:pt x="1693" y="519"/>
                    <a:pt x="1693" y="519"/>
                  </a:cubicBezTo>
                  <a:cubicBezTo>
                    <a:pt x="1693" y="519"/>
                    <a:pt x="1693" y="519"/>
                    <a:pt x="1693" y="519"/>
                  </a:cubicBezTo>
                  <a:cubicBezTo>
                    <a:pt x="1693" y="518"/>
                    <a:pt x="1693" y="518"/>
                    <a:pt x="1693" y="518"/>
                  </a:cubicBezTo>
                  <a:cubicBezTo>
                    <a:pt x="1693" y="517"/>
                    <a:pt x="1693" y="517"/>
                    <a:pt x="1693" y="517"/>
                  </a:cubicBezTo>
                  <a:cubicBezTo>
                    <a:pt x="1693" y="517"/>
                    <a:pt x="1693" y="517"/>
                    <a:pt x="1693" y="517"/>
                  </a:cubicBezTo>
                  <a:cubicBezTo>
                    <a:pt x="1693" y="517"/>
                    <a:pt x="1693" y="517"/>
                    <a:pt x="1693" y="517"/>
                  </a:cubicBezTo>
                  <a:cubicBezTo>
                    <a:pt x="1693" y="517"/>
                    <a:pt x="1693" y="517"/>
                    <a:pt x="1693" y="517"/>
                  </a:cubicBezTo>
                  <a:cubicBezTo>
                    <a:pt x="1693" y="517"/>
                    <a:pt x="1693" y="516"/>
                    <a:pt x="1693" y="516"/>
                  </a:cubicBezTo>
                  <a:cubicBezTo>
                    <a:pt x="1693" y="516"/>
                    <a:pt x="1693" y="516"/>
                    <a:pt x="1693" y="516"/>
                  </a:cubicBezTo>
                  <a:cubicBezTo>
                    <a:pt x="1693" y="516"/>
                    <a:pt x="1693" y="516"/>
                    <a:pt x="1693" y="516"/>
                  </a:cubicBezTo>
                  <a:cubicBezTo>
                    <a:pt x="1691" y="514"/>
                    <a:pt x="1692" y="513"/>
                    <a:pt x="1689"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8" y="515"/>
                    <a:pt x="1688" y="515"/>
                    <a:pt x="1688" y="515"/>
                  </a:cubicBezTo>
                  <a:cubicBezTo>
                    <a:pt x="1687" y="516"/>
                    <a:pt x="1687" y="516"/>
                    <a:pt x="1687" y="517"/>
                  </a:cubicBezTo>
                  <a:cubicBezTo>
                    <a:pt x="1687" y="518"/>
                    <a:pt x="1687" y="518"/>
                    <a:pt x="1687" y="518"/>
                  </a:cubicBezTo>
                  <a:cubicBezTo>
                    <a:pt x="1687" y="518"/>
                    <a:pt x="1687" y="518"/>
                    <a:pt x="1687" y="518"/>
                  </a:cubicBezTo>
                  <a:cubicBezTo>
                    <a:pt x="1687" y="518"/>
                    <a:pt x="1687" y="518"/>
                    <a:pt x="1687" y="518"/>
                  </a:cubicBezTo>
                  <a:cubicBezTo>
                    <a:pt x="1687" y="518"/>
                    <a:pt x="1687" y="519"/>
                    <a:pt x="1687" y="519"/>
                  </a:cubicBezTo>
                  <a:cubicBezTo>
                    <a:pt x="1687" y="519"/>
                    <a:pt x="1687" y="519"/>
                    <a:pt x="1687" y="519"/>
                  </a:cubicBezTo>
                  <a:cubicBezTo>
                    <a:pt x="1687" y="519"/>
                    <a:pt x="1687" y="519"/>
                    <a:pt x="1687" y="519"/>
                  </a:cubicBezTo>
                  <a:cubicBezTo>
                    <a:pt x="1686" y="520"/>
                    <a:pt x="1687" y="520"/>
                    <a:pt x="1686" y="521"/>
                  </a:cubicBezTo>
                  <a:cubicBezTo>
                    <a:pt x="1686" y="521"/>
                    <a:pt x="1686" y="521"/>
                    <a:pt x="1686" y="521"/>
                  </a:cubicBezTo>
                  <a:cubicBezTo>
                    <a:pt x="1686" y="521"/>
                    <a:pt x="1686" y="521"/>
                    <a:pt x="1686" y="521"/>
                  </a:cubicBezTo>
                  <a:cubicBezTo>
                    <a:pt x="1686" y="521"/>
                    <a:pt x="1686" y="521"/>
                    <a:pt x="1686" y="521"/>
                  </a:cubicBezTo>
                  <a:cubicBezTo>
                    <a:pt x="1686" y="521"/>
                    <a:pt x="1686" y="521"/>
                    <a:pt x="1686" y="521"/>
                  </a:cubicBezTo>
                  <a:cubicBezTo>
                    <a:pt x="1686" y="521"/>
                    <a:pt x="1686" y="521"/>
                    <a:pt x="1686" y="521"/>
                  </a:cubicBezTo>
                  <a:cubicBezTo>
                    <a:pt x="1685" y="523"/>
                    <a:pt x="1686" y="523"/>
                    <a:pt x="1685" y="524"/>
                  </a:cubicBezTo>
                  <a:cubicBezTo>
                    <a:pt x="1685" y="524"/>
                    <a:pt x="1685" y="524"/>
                    <a:pt x="1685" y="524"/>
                  </a:cubicBezTo>
                  <a:cubicBezTo>
                    <a:pt x="1685" y="524"/>
                    <a:pt x="1685" y="524"/>
                    <a:pt x="1685" y="524"/>
                  </a:cubicBezTo>
                  <a:cubicBezTo>
                    <a:pt x="1684" y="525"/>
                    <a:pt x="1684" y="525"/>
                    <a:pt x="1684" y="527"/>
                  </a:cubicBezTo>
                  <a:cubicBezTo>
                    <a:pt x="1684" y="527"/>
                    <a:pt x="1684" y="527"/>
                    <a:pt x="1684" y="527"/>
                  </a:cubicBezTo>
                  <a:cubicBezTo>
                    <a:pt x="1684" y="527"/>
                    <a:pt x="1684" y="527"/>
                    <a:pt x="1684" y="527"/>
                  </a:cubicBezTo>
                  <a:cubicBezTo>
                    <a:pt x="1684" y="527"/>
                    <a:pt x="1684" y="527"/>
                    <a:pt x="1684" y="527"/>
                  </a:cubicBezTo>
                  <a:cubicBezTo>
                    <a:pt x="1684" y="527"/>
                    <a:pt x="1684" y="527"/>
                    <a:pt x="1684" y="527"/>
                  </a:cubicBezTo>
                  <a:cubicBezTo>
                    <a:pt x="1684" y="527"/>
                    <a:pt x="1684" y="527"/>
                    <a:pt x="1684" y="527"/>
                  </a:cubicBezTo>
                  <a:cubicBezTo>
                    <a:pt x="1684" y="528"/>
                    <a:pt x="1684" y="528"/>
                    <a:pt x="1684" y="528"/>
                  </a:cubicBezTo>
                  <a:cubicBezTo>
                    <a:pt x="1684" y="528"/>
                    <a:pt x="1684" y="528"/>
                    <a:pt x="1684" y="528"/>
                  </a:cubicBezTo>
                  <a:cubicBezTo>
                    <a:pt x="1684" y="528"/>
                    <a:pt x="1684" y="528"/>
                    <a:pt x="1684" y="528"/>
                  </a:cubicBezTo>
                  <a:cubicBezTo>
                    <a:pt x="1684" y="529"/>
                    <a:pt x="1683" y="530"/>
                    <a:pt x="1682" y="530"/>
                  </a:cubicBezTo>
                  <a:cubicBezTo>
                    <a:pt x="1682" y="530"/>
                    <a:pt x="1682" y="530"/>
                    <a:pt x="1682" y="530"/>
                  </a:cubicBezTo>
                  <a:cubicBezTo>
                    <a:pt x="1682" y="530"/>
                    <a:pt x="1682" y="530"/>
                    <a:pt x="1682" y="530"/>
                  </a:cubicBezTo>
                  <a:cubicBezTo>
                    <a:pt x="1682" y="530"/>
                    <a:pt x="1682" y="530"/>
                    <a:pt x="1682" y="530"/>
                  </a:cubicBezTo>
                  <a:cubicBezTo>
                    <a:pt x="1682" y="531"/>
                    <a:pt x="1682" y="531"/>
                    <a:pt x="1682" y="531"/>
                  </a:cubicBezTo>
                  <a:cubicBezTo>
                    <a:pt x="1681" y="531"/>
                    <a:pt x="1681" y="531"/>
                    <a:pt x="1681" y="531"/>
                  </a:cubicBezTo>
                  <a:cubicBezTo>
                    <a:pt x="1681" y="531"/>
                    <a:pt x="1681" y="531"/>
                    <a:pt x="1681" y="531"/>
                  </a:cubicBezTo>
                  <a:cubicBezTo>
                    <a:pt x="1681" y="531"/>
                    <a:pt x="1681" y="532"/>
                    <a:pt x="1680" y="532"/>
                  </a:cubicBezTo>
                  <a:cubicBezTo>
                    <a:pt x="1680" y="532"/>
                    <a:pt x="1680" y="532"/>
                    <a:pt x="1680" y="532"/>
                  </a:cubicBezTo>
                  <a:cubicBezTo>
                    <a:pt x="1680" y="532"/>
                    <a:pt x="1680" y="532"/>
                    <a:pt x="1680" y="532"/>
                  </a:cubicBezTo>
                  <a:cubicBezTo>
                    <a:pt x="1680" y="532"/>
                    <a:pt x="1680" y="532"/>
                    <a:pt x="1680" y="532"/>
                  </a:cubicBezTo>
                  <a:cubicBezTo>
                    <a:pt x="1679" y="532"/>
                    <a:pt x="1679" y="532"/>
                    <a:pt x="1679" y="532"/>
                  </a:cubicBezTo>
                  <a:cubicBezTo>
                    <a:pt x="1677" y="533"/>
                    <a:pt x="1676" y="532"/>
                    <a:pt x="1672" y="534"/>
                  </a:cubicBezTo>
                  <a:cubicBezTo>
                    <a:pt x="1672" y="534"/>
                    <a:pt x="1672" y="534"/>
                    <a:pt x="1672"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1" y="534"/>
                    <a:pt x="1671" y="534"/>
                    <a:pt x="1671"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70" y="534"/>
                    <a:pt x="1670" y="534"/>
                    <a:pt x="1670" y="534"/>
                  </a:cubicBezTo>
                  <a:cubicBezTo>
                    <a:pt x="1669" y="534"/>
                    <a:pt x="1669" y="534"/>
                    <a:pt x="1669" y="534"/>
                  </a:cubicBezTo>
                  <a:cubicBezTo>
                    <a:pt x="1669" y="535"/>
                    <a:pt x="1669" y="535"/>
                    <a:pt x="1668" y="535"/>
                  </a:cubicBezTo>
                  <a:cubicBezTo>
                    <a:pt x="1668" y="535"/>
                    <a:pt x="1668" y="535"/>
                    <a:pt x="1668" y="535"/>
                  </a:cubicBezTo>
                  <a:cubicBezTo>
                    <a:pt x="1668" y="535"/>
                    <a:pt x="1668" y="535"/>
                    <a:pt x="1668" y="535"/>
                  </a:cubicBezTo>
                  <a:cubicBezTo>
                    <a:pt x="1668" y="535"/>
                    <a:pt x="1668" y="535"/>
                    <a:pt x="1668" y="535"/>
                  </a:cubicBezTo>
                  <a:cubicBezTo>
                    <a:pt x="1667" y="536"/>
                    <a:pt x="1667" y="536"/>
                    <a:pt x="1665" y="536"/>
                  </a:cubicBezTo>
                  <a:cubicBezTo>
                    <a:pt x="1665" y="536"/>
                    <a:pt x="1665" y="536"/>
                    <a:pt x="1665" y="536"/>
                  </a:cubicBezTo>
                  <a:cubicBezTo>
                    <a:pt x="1665" y="536"/>
                    <a:pt x="1665" y="536"/>
                    <a:pt x="1665" y="536"/>
                  </a:cubicBezTo>
                  <a:cubicBezTo>
                    <a:pt x="1665" y="536"/>
                    <a:pt x="1665" y="536"/>
                    <a:pt x="1665" y="536"/>
                  </a:cubicBezTo>
                  <a:cubicBezTo>
                    <a:pt x="1665" y="536"/>
                    <a:pt x="1665" y="536"/>
                    <a:pt x="1665" y="536"/>
                  </a:cubicBezTo>
                  <a:cubicBezTo>
                    <a:pt x="1664" y="537"/>
                    <a:pt x="1664" y="538"/>
                    <a:pt x="1663" y="538"/>
                  </a:cubicBezTo>
                  <a:cubicBezTo>
                    <a:pt x="1663" y="538"/>
                    <a:pt x="1663" y="538"/>
                    <a:pt x="1663" y="538"/>
                  </a:cubicBezTo>
                  <a:cubicBezTo>
                    <a:pt x="1662" y="538"/>
                    <a:pt x="1662" y="538"/>
                    <a:pt x="1662" y="538"/>
                  </a:cubicBezTo>
                  <a:cubicBezTo>
                    <a:pt x="1662" y="539"/>
                    <a:pt x="1661" y="540"/>
                    <a:pt x="1660" y="540"/>
                  </a:cubicBezTo>
                  <a:cubicBezTo>
                    <a:pt x="1660" y="540"/>
                    <a:pt x="1660" y="540"/>
                    <a:pt x="1660" y="540"/>
                  </a:cubicBezTo>
                  <a:cubicBezTo>
                    <a:pt x="1660" y="540"/>
                    <a:pt x="1660" y="540"/>
                    <a:pt x="1660" y="540"/>
                  </a:cubicBezTo>
                  <a:cubicBezTo>
                    <a:pt x="1659" y="540"/>
                    <a:pt x="1659" y="540"/>
                    <a:pt x="1659" y="540"/>
                  </a:cubicBezTo>
                  <a:cubicBezTo>
                    <a:pt x="1659" y="540"/>
                    <a:pt x="1659" y="540"/>
                    <a:pt x="1659" y="540"/>
                  </a:cubicBezTo>
                  <a:cubicBezTo>
                    <a:pt x="1659" y="540"/>
                    <a:pt x="1659" y="540"/>
                    <a:pt x="1659" y="540"/>
                  </a:cubicBezTo>
                  <a:cubicBezTo>
                    <a:pt x="1659" y="540"/>
                    <a:pt x="1659" y="540"/>
                    <a:pt x="1659" y="540"/>
                  </a:cubicBezTo>
                  <a:cubicBezTo>
                    <a:pt x="1660" y="540"/>
                    <a:pt x="1660" y="540"/>
                    <a:pt x="1660" y="540"/>
                  </a:cubicBezTo>
                  <a:cubicBezTo>
                    <a:pt x="1661" y="539"/>
                    <a:pt x="1661" y="539"/>
                    <a:pt x="1661" y="539"/>
                  </a:cubicBezTo>
                  <a:cubicBezTo>
                    <a:pt x="1661" y="539"/>
                    <a:pt x="1661" y="539"/>
                    <a:pt x="1661" y="539"/>
                  </a:cubicBezTo>
                  <a:cubicBezTo>
                    <a:pt x="1665" y="535"/>
                    <a:pt x="1666" y="537"/>
                    <a:pt x="1668" y="534"/>
                  </a:cubicBezTo>
                  <a:cubicBezTo>
                    <a:pt x="1668" y="534"/>
                    <a:pt x="1668" y="534"/>
                    <a:pt x="1668" y="534"/>
                  </a:cubicBezTo>
                  <a:cubicBezTo>
                    <a:pt x="1668" y="534"/>
                    <a:pt x="1668" y="534"/>
                    <a:pt x="1668" y="534"/>
                  </a:cubicBezTo>
                  <a:cubicBezTo>
                    <a:pt x="1668" y="534"/>
                    <a:pt x="1668" y="534"/>
                    <a:pt x="1668" y="534"/>
                  </a:cubicBezTo>
                  <a:cubicBezTo>
                    <a:pt x="1669" y="534"/>
                    <a:pt x="1669" y="534"/>
                    <a:pt x="1669" y="534"/>
                  </a:cubicBezTo>
                  <a:cubicBezTo>
                    <a:pt x="1669" y="534"/>
                    <a:pt x="1670" y="534"/>
                    <a:pt x="1670" y="534"/>
                  </a:cubicBezTo>
                  <a:cubicBezTo>
                    <a:pt x="1670" y="534"/>
                    <a:pt x="1670" y="534"/>
                    <a:pt x="1670" y="534"/>
                  </a:cubicBezTo>
                  <a:cubicBezTo>
                    <a:pt x="1670" y="534"/>
                    <a:pt x="1670" y="534"/>
                    <a:pt x="1670" y="534"/>
                  </a:cubicBezTo>
                  <a:cubicBezTo>
                    <a:pt x="1671" y="533"/>
                    <a:pt x="1671" y="533"/>
                    <a:pt x="1672" y="533"/>
                  </a:cubicBezTo>
                  <a:cubicBezTo>
                    <a:pt x="1672" y="533"/>
                    <a:pt x="1672" y="533"/>
                    <a:pt x="1672" y="533"/>
                  </a:cubicBezTo>
                  <a:cubicBezTo>
                    <a:pt x="1672" y="533"/>
                    <a:pt x="1672" y="533"/>
                    <a:pt x="1672" y="533"/>
                  </a:cubicBezTo>
                  <a:cubicBezTo>
                    <a:pt x="1672" y="533"/>
                    <a:pt x="1672" y="533"/>
                    <a:pt x="1672" y="533"/>
                  </a:cubicBezTo>
                  <a:cubicBezTo>
                    <a:pt x="1674" y="532"/>
                    <a:pt x="1674" y="532"/>
                    <a:pt x="1676" y="532"/>
                  </a:cubicBezTo>
                  <a:cubicBezTo>
                    <a:pt x="1676" y="532"/>
                    <a:pt x="1676" y="532"/>
                    <a:pt x="1676" y="532"/>
                  </a:cubicBezTo>
                  <a:cubicBezTo>
                    <a:pt x="1676" y="532"/>
                    <a:pt x="1676" y="532"/>
                    <a:pt x="1676" y="532"/>
                  </a:cubicBezTo>
                  <a:cubicBezTo>
                    <a:pt x="1676" y="532"/>
                    <a:pt x="1676" y="532"/>
                    <a:pt x="1676" y="532"/>
                  </a:cubicBezTo>
                  <a:cubicBezTo>
                    <a:pt x="1677" y="532"/>
                    <a:pt x="1677" y="532"/>
                    <a:pt x="1677" y="532"/>
                  </a:cubicBezTo>
                  <a:cubicBezTo>
                    <a:pt x="1677" y="532"/>
                    <a:pt x="1677" y="532"/>
                    <a:pt x="1677" y="532"/>
                  </a:cubicBezTo>
                  <a:cubicBezTo>
                    <a:pt x="1677" y="532"/>
                    <a:pt x="1677" y="532"/>
                    <a:pt x="1677" y="532"/>
                  </a:cubicBezTo>
                  <a:cubicBezTo>
                    <a:pt x="1679" y="531"/>
                    <a:pt x="1679" y="532"/>
                    <a:pt x="1681" y="530"/>
                  </a:cubicBezTo>
                  <a:cubicBezTo>
                    <a:pt x="1681" y="530"/>
                    <a:pt x="1681" y="530"/>
                    <a:pt x="1681" y="530"/>
                  </a:cubicBezTo>
                  <a:cubicBezTo>
                    <a:pt x="1681" y="530"/>
                    <a:pt x="1681" y="530"/>
                    <a:pt x="1681" y="530"/>
                  </a:cubicBezTo>
                  <a:cubicBezTo>
                    <a:pt x="1681" y="530"/>
                    <a:pt x="1681" y="530"/>
                    <a:pt x="1681" y="530"/>
                  </a:cubicBezTo>
                  <a:cubicBezTo>
                    <a:pt x="1681" y="530"/>
                    <a:pt x="1681" y="529"/>
                    <a:pt x="1682" y="529"/>
                  </a:cubicBezTo>
                  <a:cubicBezTo>
                    <a:pt x="1682" y="529"/>
                    <a:pt x="1682" y="529"/>
                    <a:pt x="1682" y="529"/>
                  </a:cubicBezTo>
                  <a:cubicBezTo>
                    <a:pt x="1682" y="529"/>
                    <a:pt x="1682" y="529"/>
                    <a:pt x="1682" y="529"/>
                  </a:cubicBezTo>
                  <a:cubicBezTo>
                    <a:pt x="1682" y="529"/>
                    <a:pt x="1683" y="529"/>
                    <a:pt x="1683" y="528"/>
                  </a:cubicBezTo>
                  <a:cubicBezTo>
                    <a:pt x="1683" y="528"/>
                    <a:pt x="1683" y="528"/>
                    <a:pt x="1683" y="528"/>
                  </a:cubicBezTo>
                  <a:cubicBezTo>
                    <a:pt x="1683" y="528"/>
                    <a:pt x="1683" y="528"/>
                    <a:pt x="1683" y="528"/>
                  </a:cubicBezTo>
                  <a:cubicBezTo>
                    <a:pt x="1683" y="527"/>
                    <a:pt x="1683" y="527"/>
                    <a:pt x="1683" y="527"/>
                  </a:cubicBezTo>
                  <a:cubicBezTo>
                    <a:pt x="1683" y="527"/>
                    <a:pt x="1683" y="527"/>
                    <a:pt x="1683" y="527"/>
                  </a:cubicBezTo>
                  <a:cubicBezTo>
                    <a:pt x="1683" y="527"/>
                    <a:pt x="1683" y="527"/>
                    <a:pt x="1683" y="527"/>
                  </a:cubicBezTo>
                  <a:cubicBezTo>
                    <a:pt x="1683" y="527"/>
                    <a:pt x="1683" y="527"/>
                    <a:pt x="1683" y="527"/>
                  </a:cubicBezTo>
                  <a:cubicBezTo>
                    <a:pt x="1683" y="526"/>
                    <a:pt x="1683" y="526"/>
                    <a:pt x="1683" y="525"/>
                  </a:cubicBezTo>
                  <a:cubicBezTo>
                    <a:pt x="1683" y="525"/>
                    <a:pt x="1683" y="525"/>
                    <a:pt x="1683" y="525"/>
                  </a:cubicBezTo>
                  <a:cubicBezTo>
                    <a:pt x="1683" y="525"/>
                    <a:pt x="1683" y="525"/>
                    <a:pt x="1683" y="525"/>
                  </a:cubicBezTo>
                  <a:cubicBezTo>
                    <a:pt x="1684" y="524"/>
                    <a:pt x="1684" y="524"/>
                    <a:pt x="1684" y="524"/>
                  </a:cubicBezTo>
                  <a:cubicBezTo>
                    <a:pt x="1684" y="523"/>
                    <a:pt x="1684" y="523"/>
                    <a:pt x="1684" y="523"/>
                  </a:cubicBezTo>
                  <a:cubicBezTo>
                    <a:pt x="1684" y="523"/>
                    <a:pt x="1684" y="523"/>
                    <a:pt x="1684" y="523"/>
                  </a:cubicBezTo>
                  <a:cubicBezTo>
                    <a:pt x="1684" y="523"/>
                    <a:pt x="1684" y="523"/>
                    <a:pt x="1684" y="523"/>
                  </a:cubicBezTo>
                  <a:cubicBezTo>
                    <a:pt x="1684" y="523"/>
                    <a:pt x="1684" y="523"/>
                    <a:pt x="1684" y="523"/>
                  </a:cubicBezTo>
                  <a:cubicBezTo>
                    <a:pt x="1684" y="523"/>
                    <a:pt x="1685" y="522"/>
                    <a:pt x="1685" y="522"/>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1"/>
                    <a:pt x="1685" y="521"/>
                    <a:pt x="1685" y="521"/>
                  </a:cubicBezTo>
                  <a:cubicBezTo>
                    <a:pt x="1685" y="520"/>
                    <a:pt x="1685" y="520"/>
                    <a:pt x="1685" y="520"/>
                  </a:cubicBezTo>
                  <a:cubicBezTo>
                    <a:pt x="1685" y="520"/>
                    <a:pt x="1685" y="520"/>
                    <a:pt x="1685" y="520"/>
                  </a:cubicBezTo>
                  <a:cubicBezTo>
                    <a:pt x="1685" y="520"/>
                    <a:pt x="1685" y="520"/>
                    <a:pt x="1685" y="520"/>
                  </a:cubicBezTo>
                  <a:cubicBezTo>
                    <a:pt x="1686" y="520"/>
                    <a:pt x="1686" y="520"/>
                    <a:pt x="1686" y="520"/>
                  </a:cubicBezTo>
                  <a:cubicBezTo>
                    <a:pt x="1686" y="520"/>
                    <a:pt x="1686" y="520"/>
                    <a:pt x="1686" y="520"/>
                  </a:cubicBezTo>
                  <a:cubicBezTo>
                    <a:pt x="1686" y="520"/>
                    <a:pt x="1686" y="520"/>
                    <a:pt x="1686" y="520"/>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9"/>
                    <a:pt x="1686" y="519"/>
                    <a:pt x="1686" y="519"/>
                  </a:cubicBezTo>
                  <a:cubicBezTo>
                    <a:pt x="1686" y="518"/>
                    <a:pt x="1686" y="518"/>
                    <a:pt x="1686" y="517"/>
                  </a:cubicBezTo>
                  <a:cubicBezTo>
                    <a:pt x="1686" y="517"/>
                    <a:pt x="1686" y="517"/>
                    <a:pt x="1686" y="517"/>
                  </a:cubicBezTo>
                  <a:cubicBezTo>
                    <a:pt x="1686" y="517"/>
                    <a:pt x="1686" y="517"/>
                    <a:pt x="1686" y="517"/>
                  </a:cubicBezTo>
                  <a:cubicBezTo>
                    <a:pt x="1686" y="516"/>
                    <a:pt x="1686" y="516"/>
                    <a:pt x="1686" y="515"/>
                  </a:cubicBezTo>
                  <a:cubicBezTo>
                    <a:pt x="1686" y="515"/>
                    <a:pt x="1686" y="515"/>
                    <a:pt x="1686" y="515"/>
                  </a:cubicBezTo>
                  <a:cubicBezTo>
                    <a:pt x="1686" y="515"/>
                    <a:pt x="1686" y="515"/>
                    <a:pt x="1686" y="515"/>
                  </a:cubicBezTo>
                  <a:cubicBezTo>
                    <a:pt x="1686" y="515"/>
                    <a:pt x="1686" y="515"/>
                    <a:pt x="1686" y="515"/>
                  </a:cubicBezTo>
                  <a:cubicBezTo>
                    <a:pt x="1686" y="514"/>
                    <a:pt x="1686" y="514"/>
                    <a:pt x="1686" y="514"/>
                  </a:cubicBezTo>
                  <a:cubicBezTo>
                    <a:pt x="1685" y="512"/>
                    <a:pt x="1685" y="512"/>
                    <a:pt x="1685" y="512"/>
                  </a:cubicBezTo>
                  <a:cubicBezTo>
                    <a:pt x="1684" y="509"/>
                    <a:pt x="1684" y="509"/>
                    <a:pt x="1684" y="509"/>
                  </a:cubicBezTo>
                  <a:cubicBezTo>
                    <a:pt x="1683" y="507"/>
                    <a:pt x="1683" y="507"/>
                    <a:pt x="1683" y="507"/>
                  </a:cubicBezTo>
                  <a:cubicBezTo>
                    <a:pt x="1683" y="507"/>
                    <a:pt x="1683" y="507"/>
                    <a:pt x="1683" y="507"/>
                  </a:cubicBezTo>
                  <a:cubicBezTo>
                    <a:pt x="1683" y="506"/>
                    <a:pt x="1683" y="506"/>
                    <a:pt x="1683" y="506"/>
                  </a:cubicBezTo>
                  <a:cubicBezTo>
                    <a:pt x="1682" y="506"/>
                    <a:pt x="1682" y="506"/>
                    <a:pt x="1682" y="506"/>
                  </a:cubicBezTo>
                  <a:cubicBezTo>
                    <a:pt x="1682" y="506"/>
                    <a:pt x="1682" y="506"/>
                    <a:pt x="1682" y="506"/>
                  </a:cubicBezTo>
                  <a:cubicBezTo>
                    <a:pt x="1682" y="506"/>
                    <a:pt x="1682" y="506"/>
                    <a:pt x="1682" y="506"/>
                  </a:cubicBezTo>
                  <a:cubicBezTo>
                    <a:pt x="1682" y="505"/>
                    <a:pt x="1682" y="505"/>
                    <a:pt x="1682" y="505"/>
                  </a:cubicBezTo>
                  <a:cubicBezTo>
                    <a:pt x="1682" y="505"/>
                    <a:pt x="1682" y="505"/>
                    <a:pt x="1682" y="505"/>
                  </a:cubicBezTo>
                  <a:cubicBezTo>
                    <a:pt x="1681" y="505"/>
                    <a:pt x="1681" y="505"/>
                    <a:pt x="1681" y="505"/>
                  </a:cubicBezTo>
                  <a:cubicBezTo>
                    <a:pt x="1679" y="504"/>
                    <a:pt x="1679" y="504"/>
                    <a:pt x="1679" y="504"/>
                  </a:cubicBezTo>
                  <a:cubicBezTo>
                    <a:pt x="1675" y="503"/>
                    <a:pt x="1675" y="503"/>
                    <a:pt x="1675" y="503"/>
                  </a:cubicBezTo>
                  <a:cubicBezTo>
                    <a:pt x="1673" y="502"/>
                    <a:pt x="1673" y="502"/>
                    <a:pt x="1673" y="502"/>
                  </a:cubicBezTo>
                  <a:cubicBezTo>
                    <a:pt x="1672" y="502"/>
                    <a:pt x="1672" y="502"/>
                    <a:pt x="1672" y="502"/>
                  </a:cubicBezTo>
                  <a:cubicBezTo>
                    <a:pt x="1672" y="502"/>
                    <a:pt x="1672" y="502"/>
                    <a:pt x="1672" y="502"/>
                  </a:cubicBezTo>
                  <a:cubicBezTo>
                    <a:pt x="1672" y="502"/>
                    <a:pt x="1672" y="502"/>
                    <a:pt x="1672" y="502"/>
                  </a:cubicBezTo>
                  <a:cubicBezTo>
                    <a:pt x="1671" y="502"/>
                    <a:pt x="1671" y="502"/>
                    <a:pt x="1671" y="502"/>
                  </a:cubicBezTo>
                  <a:cubicBezTo>
                    <a:pt x="1671" y="502"/>
                    <a:pt x="1671" y="502"/>
                    <a:pt x="1671" y="502"/>
                  </a:cubicBezTo>
                  <a:cubicBezTo>
                    <a:pt x="1671" y="502"/>
                    <a:pt x="1671" y="502"/>
                    <a:pt x="1671" y="502"/>
                  </a:cubicBezTo>
                  <a:cubicBezTo>
                    <a:pt x="1671" y="503"/>
                    <a:pt x="1671" y="503"/>
                    <a:pt x="1671" y="503"/>
                  </a:cubicBezTo>
                  <a:cubicBezTo>
                    <a:pt x="1671" y="503"/>
                    <a:pt x="1671" y="503"/>
                    <a:pt x="1671" y="503"/>
                  </a:cubicBezTo>
                  <a:cubicBezTo>
                    <a:pt x="1671" y="503"/>
                    <a:pt x="1671" y="503"/>
                    <a:pt x="1671" y="503"/>
                  </a:cubicBezTo>
                  <a:cubicBezTo>
                    <a:pt x="1670" y="503"/>
                    <a:pt x="1670" y="503"/>
                    <a:pt x="1670" y="503"/>
                  </a:cubicBezTo>
                  <a:cubicBezTo>
                    <a:pt x="1668" y="503"/>
                    <a:pt x="1668" y="502"/>
                    <a:pt x="1665" y="502"/>
                  </a:cubicBezTo>
                  <a:cubicBezTo>
                    <a:pt x="1665" y="502"/>
                    <a:pt x="1665" y="502"/>
                    <a:pt x="1665" y="502"/>
                  </a:cubicBezTo>
                  <a:cubicBezTo>
                    <a:pt x="1665" y="502"/>
                    <a:pt x="1665" y="502"/>
                    <a:pt x="1665" y="502"/>
                  </a:cubicBezTo>
                  <a:cubicBezTo>
                    <a:pt x="1665" y="502"/>
                    <a:pt x="1665" y="502"/>
                    <a:pt x="1665" y="502"/>
                  </a:cubicBezTo>
                  <a:cubicBezTo>
                    <a:pt x="1664" y="502"/>
                    <a:pt x="1664" y="502"/>
                    <a:pt x="1663" y="502"/>
                  </a:cubicBezTo>
                  <a:cubicBezTo>
                    <a:pt x="1663" y="502"/>
                    <a:pt x="1663" y="502"/>
                    <a:pt x="1663" y="502"/>
                  </a:cubicBezTo>
                  <a:cubicBezTo>
                    <a:pt x="1663" y="502"/>
                    <a:pt x="1663" y="502"/>
                    <a:pt x="1663" y="502"/>
                  </a:cubicBezTo>
                  <a:cubicBezTo>
                    <a:pt x="1662" y="503"/>
                    <a:pt x="1662" y="502"/>
                    <a:pt x="1661" y="502"/>
                  </a:cubicBezTo>
                  <a:cubicBezTo>
                    <a:pt x="1661" y="502"/>
                    <a:pt x="1661" y="502"/>
                    <a:pt x="1661" y="502"/>
                  </a:cubicBezTo>
                  <a:cubicBezTo>
                    <a:pt x="1661" y="502"/>
                    <a:pt x="1661" y="502"/>
                    <a:pt x="1661" y="502"/>
                  </a:cubicBezTo>
                  <a:cubicBezTo>
                    <a:pt x="1661" y="503"/>
                    <a:pt x="1661" y="503"/>
                    <a:pt x="1661" y="503"/>
                  </a:cubicBezTo>
                  <a:cubicBezTo>
                    <a:pt x="1661" y="503"/>
                    <a:pt x="1661" y="503"/>
                    <a:pt x="1661" y="503"/>
                  </a:cubicBezTo>
                  <a:cubicBezTo>
                    <a:pt x="1661" y="503"/>
                    <a:pt x="1661" y="503"/>
                    <a:pt x="1661" y="503"/>
                  </a:cubicBezTo>
                  <a:cubicBezTo>
                    <a:pt x="1661" y="503"/>
                    <a:pt x="1661" y="503"/>
                    <a:pt x="1661" y="503"/>
                  </a:cubicBezTo>
                  <a:cubicBezTo>
                    <a:pt x="1660" y="503"/>
                    <a:pt x="1660" y="503"/>
                    <a:pt x="1660" y="503"/>
                  </a:cubicBezTo>
                  <a:cubicBezTo>
                    <a:pt x="1660" y="503"/>
                    <a:pt x="1660" y="503"/>
                    <a:pt x="1660" y="503"/>
                  </a:cubicBezTo>
                  <a:cubicBezTo>
                    <a:pt x="1660" y="503"/>
                    <a:pt x="1659" y="503"/>
                    <a:pt x="1659" y="503"/>
                  </a:cubicBezTo>
                  <a:cubicBezTo>
                    <a:pt x="1659" y="503"/>
                    <a:pt x="1659" y="503"/>
                    <a:pt x="1659" y="503"/>
                  </a:cubicBezTo>
                  <a:cubicBezTo>
                    <a:pt x="1659" y="504"/>
                    <a:pt x="1659" y="504"/>
                    <a:pt x="1659" y="504"/>
                  </a:cubicBezTo>
                  <a:cubicBezTo>
                    <a:pt x="1658" y="504"/>
                    <a:pt x="1658" y="504"/>
                    <a:pt x="1658" y="505"/>
                  </a:cubicBezTo>
                  <a:cubicBezTo>
                    <a:pt x="1658" y="505"/>
                    <a:pt x="1658" y="505"/>
                    <a:pt x="1658" y="505"/>
                  </a:cubicBezTo>
                  <a:cubicBezTo>
                    <a:pt x="1658" y="505"/>
                    <a:pt x="1658" y="505"/>
                    <a:pt x="1658" y="505"/>
                  </a:cubicBezTo>
                  <a:cubicBezTo>
                    <a:pt x="1658" y="505"/>
                    <a:pt x="1658" y="505"/>
                    <a:pt x="1658" y="505"/>
                  </a:cubicBezTo>
                  <a:cubicBezTo>
                    <a:pt x="1658" y="505"/>
                    <a:pt x="1658" y="505"/>
                    <a:pt x="1658" y="505"/>
                  </a:cubicBezTo>
                  <a:cubicBezTo>
                    <a:pt x="1657" y="505"/>
                    <a:pt x="1657" y="505"/>
                    <a:pt x="1657" y="506"/>
                  </a:cubicBezTo>
                  <a:cubicBezTo>
                    <a:pt x="1656" y="506"/>
                    <a:pt x="1656" y="506"/>
                    <a:pt x="1656" y="506"/>
                  </a:cubicBezTo>
                  <a:cubicBezTo>
                    <a:pt x="1656" y="506"/>
                    <a:pt x="1656" y="506"/>
                    <a:pt x="1656" y="506"/>
                  </a:cubicBezTo>
                  <a:cubicBezTo>
                    <a:pt x="1656" y="507"/>
                    <a:pt x="1656" y="506"/>
                    <a:pt x="1655" y="506"/>
                  </a:cubicBezTo>
                  <a:cubicBezTo>
                    <a:pt x="1655" y="506"/>
                    <a:pt x="1655" y="506"/>
                    <a:pt x="1655" y="506"/>
                  </a:cubicBezTo>
                  <a:cubicBezTo>
                    <a:pt x="1654" y="507"/>
                    <a:pt x="1654" y="507"/>
                    <a:pt x="1654" y="507"/>
                  </a:cubicBezTo>
                  <a:cubicBezTo>
                    <a:pt x="1654" y="507"/>
                    <a:pt x="1654" y="507"/>
                    <a:pt x="1654" y="507"/>
                  </a:cubicBezTo>
                  <a:cubicBezTo>
                    <a:pt x="1654" y="507"/>
                    <a:pt x="1654" y="507"/>
                    <a:pt x="1654" y="507"/>
                  </a:cubicBezTo>
                  <a:cubicBezTo>
                    <a:pt x="1654" y="507"/>
                    <a:pt x="1654" y="507"/>
                    <a:pt x="1654" y="507"/>
                  </a:cubicBezTo>
                  <a:cubicBezTo>
                    <a:pt x="1652" y="508"/>
                    <a:pt x="1653" y="509"/>
                    <a:pt x="1652" y="509"/>
                  </a:cubicBezTo>
                  <a:cubicBezTo>
                    <a:pt x="1652" y="509"/>
                    <a:pt x="1652" y="509"/>
                    <a:pt x="1652" y="509"/>
                  </a:cubicBezTo>
                  <a:cubicBezTo>
                    <a:pt x="1652" y="509"/>
                    <a:pt x="1652" y="509"/>
                    <a:pt x="1652" y="509"/>
                  </a:cubicBezTo>
                  <a:cubicBezTo>
                    <a:pt x="1652" y="509"/>
                    <a:pt x="1652" y="509"/>
                    <a:pt x="1652" y="509"/>
                  </a:cubicBezTo>
                  <a:cubicBezTo>
                    <a:pt x="1651" y="509"/>
                    <a:pt x="1651" y="509"/>
                    <a:pt x="1651" y="509"/>
                  </a:cubicBezTo>
                  <a:cubicBezTo>
                    <a:pt x="1651" y="509"/>
                    <a:pt x="1651" y="509"/>
                    <a:pt x="1651" y="509"/>
                  </a:cubicBezTo>
                  <a:cubicBezTo>
                    <a:pt x="1651" y="509"/>
                    <a:pt x="1651" y="509"/>
                    <a:pt x="1651" y="509"/>
                  </a:cubicBezTo>
                  <a:cubicBezTo>
                    <a:pt x="1651" y="509"/>
                    <a:pt x="1651" y="509"/>
                    <a:pt x="1651" y="509"/>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1" y="510"/>
                    <a:pt x="1651" y="510"/>
                    <a:pt x="1651" y="510"/>
                  </a:cubicBezTo>
                  <a:cubicBezTo>
                    <a:pt x="1650" y="511"/>
                    <a:pt x="1650" y="511"/>
                    <a:pt x="1649" y="512"/>
                  </a:cubicBezTo>
                  <a:cubicBezTo>
                    <a:pt x="1649" y="512"/>
                    <a:pt x="1649" y="512"/>
                    <a:pt x="1649" y="512"/>
                  </a:cubicBezTo>
                  <a:cubicBezTo>
                    <a:pt x="1649" y="512"/>
                    <a:pt x="1649" y="512"/>
                    <a:pt x="1649" y="512"/>
                  </a:cubicBezTo>
                  <a:cubicBezTo>
                    <a:pt x="1649" y="512"/>
                    <a:pt x="1649" y="512"/>
                    <a:pt x="1649" y="512"/>
                  </a:cubicBezTo>
                  <a:cubicBezTo>
                    <a:pt x="1649" y="512"/>
                    <a:pt x="1649" y="512"/>
                    <a:pt x="1649" y="512"/>
                  </a:cubicBezTo>
                  <a:cubicBezTo>
                    <a:pt x="1649" y="512"/>
                    <a:pt x="1649" y="512"/>
                    <a:pt x="1649" y="512"/>
                  </a:cubicBezTo>
                  <a:cubicBezTo>
                    <a:pt x="1649" y="513"/>
                    <a:pt x="1649" y="513"/>
                    <a:pt x="1649" y="513"/>
                  </a:cubicBezTo>
                  <a:cubicBezTo>
                    <a:pt x="1648" y="512"/>
                    <a:pt x="1648" y="512"/>
                    <a:pt x="1648" y="512"/>
                  </a:cubicBezTo>
                  <a:cubicBezTo>
                    <a:pt x="1647" y="511"/>
                    <a:pt x="1647" y="511"/>
                    <a:pt x="1647" y="511"/>
                  </a:cubicBezTo>
                  <a:cubicBezTo>
                    <a:pt x="1645" y="509"/>
                    <a:pt x="1645" y="509"/>
                    <a:pt x="1645" y="509"/>
                  </a:cubicBezTo>
                  <a:cubicBezTo>
                    <a:pt x="1644" y="508"/>
                    <a:pt x="1644" y="508"/>
                    <a:pt x="1644" y="508"/>
                  </a:cubicBezTo>
                  <a:cubicBezTo>
                    <a:pt x="1643" y="508"/>
                    <a:pt x="1643" y="508"/>
                    <a:pt x="1643" y="508"/>
                  </a:cubicBezTo>
                  <a:cubicBezTo>
                    <a:pt x="1643" y="507"/>
                    <a:pt x="1643" y="507"/>
                    <a:pt x="1643" y="507"/>
                  </a:cubicBezTo>
                  <a:cubicBezTo>
                    <a:pt x="1643" y="507"/>
                    <a:pt x="1643" y="507"/>
                    <a:pt x="1643" y="507"/>
                  </a:cubicBezTo>
                  <a:cubicBezTo>
                    <a:pt x="1643" y="507"/>
                    <a:pt x="1643" y="507"/>
                    <a:pt x="1643" y="507"/>
                  </a:cubicBezTo>
                  <a:cubicBezTo>
                    <a:pt x="1643" y="507"/>
                    <a:pt x="1643" y="507"/>
                    <a:pt x="1643" y="507"/>
                  </a:cubicBezTo>
                  <a:cubicBezTo>
                    <a:pt x="1643" y="507"/>
                    <a:pt x="1643" y="507"/>
                    <a:pt x="1643" y="507"/>
                  </a:cubicBezTo>
                  <a:cubicBezTo>
                    <a:pt x="1642" y="507"/>
                    <a:pt x="1642" y="507"/>
                    <a:pt x="1642" y="507"/>
                  </a:cubicBezTo>
                  <a:cubicBezTo>
                    <a:pt x="1642" y="507"/>
                    <a:pt x="1642" y="507"/>
                    <a:pt x="1642" y="507"/>
                  </a:cubicBezTo>
                  <a:cubicBezTo>
                    <a:pt x="1642" y="507"/>
                    <a:pt x="1642" y="507"/>
                    <a:pt x="1642" y="507"/>
                  </a:cubicBezTo>
                  <a:cubicBezTo>
                    <a:pt x="1641" y="507"/>
                    <a:pt x="1641" y="507"/>
                    <a:pt x="1641" y="507"/>
                  </a:cubicBezTo>
                  <a:cubicBezTo>
                    <a:pt x="1641" y="507"/>
                    <a:pt x="1641" y="507"/>
                    <a:pt x="1641" y="507"/>
                  </a:cubicBezTo>
                  <a:cubicBezTo>
                    <a:pt x="1641" y="507"/>
                    <a:pt x="1641" y="507"/>
                    <a:pt x="1641" y="507"/>
                  </a:cubicBezTo>
                  <a:cubicBezTo>
                    <a:pt x="1641" y="507"/>
                    <a:pt x="1641" y="507"/>
                    <a:pt x="1641" y="507"/>
                  </a:cubicBezTo>
                  <a:cubicBezTo>
                    <a:pt x="1640" y="506"/>
                    <a:pt x="1640" y="506"/>
                    <a:pt x="1640" y="506"/>
                  </a:cubicBezTo>
                  <a:cubicBezTo>
                    <a:pt x="1640" y="506"/>
                    <a:pt x="1640" y="506"/>
                    <a:pt x="1640" y="506"/>
                  </a:cubicBezTo>
                  <a:cubicBezTo>
                    <a:pt x="1640" y="506"/>
                    <a:pt x="1640" y="506"/>
                    <a:pt x="1640" y="506"/>
                  </a:cubicBezTo>
                  <a:cubicBezTo>
                    <a:pt x="1639" y="506"/>
                    <a:pt x="1639" y="506"/>
                    <a:pt x="1639" y="506"/>
                  </a:cubicBezTo>
                  <a:cubicBezTo>
                    <a:pt x="1639" y="506"/>
                    <a:pt x="1639" y="506"/>
                    <a:pt x="1639" y="506"/>
                  </a:cubicBezTo>
                  <a:cubicBezTo>
                    <a:pt x="1639" y="506"/>
                    <a:pt x="1639" y="506"/>
                    <a:pt x="1639" y="506"/>
                  </a:cubicBezTo>
                  <a:cubicBezTo>
                    <a:pt x="1640" y="506"/>
                    <a:pt x="1640" y="506"/>
                    <a:pt x="1640" y="506"/>
                  </a:cubicBezTo>
                  <a:cubicBezTo>
                    <a:pt x="1641" y="506"/>
                    <a:pt x="1643" y="506"/>
                    <a:pt x="1643" y="505"/>
                  </a:cubicBezTo>
                  <a:cubicBezTo>
                    <a:pt x="1644" y="505"/>
                    <a:pt x="1644" y="505"/>
                    <a:pt x="1644" y="505"/>
                  </a:cubicBezTo>
                  <a:cubicBezTo>
                    <a:pt x="1644" y="505"/>
                    <a:pt x="1644" y="505"/>
                    <a:pt x="1644" y="505"/>
                  </a:cubicBezTo>
                  <a:cubicBezTo>
                    <a:pt x="1644" y="505"/>
                    <a:pt x="1644" y="505"/>
                    <a:pt x="1644" y="505"/>
                  </a:cubicBezTo>
                  <a:cubicBezTo>
                    <a:pt x="1644" y="505"/>
                    <a:pt x="1644" y="505"/>
                    <a:pt x="1645" y="505"/>
                  </a:cubicBezTo>
                  <a:cubicBezTo>
                    <a:pt x="1645" y="505"/>
                    <a:pt x="1645" y="505"/>
                    <a:pt x="1645" y="505"/>
                  </a:cubicBezTo>
                  <a:cubicBezTo>
                    <a:pt x="1645" y="505"/>
                    <a:pt x="1645" y="505"/>
                    <a:pt x="1645" y="505"/>
                  </a:cubicBezTo>
                  <a:cubicBezTo>
                    <a:pt x="1646" y="505"/>
                    <a:pt x="1646" y="505"/>
                    <a:pt x="1646" y="505"/>
                  </a:cubicBezTo>
                  <a:cubicBezTo>
                    <a:pt x="1647" y="505"/>
                    <a:pt x="1647" y="505"/>
                    <a:pt x="1647" y="505"/>
                  </a:cubicBezTo>
                  <a:cubicBezTo>
                    <a:pt x="1647" y="505"/>
                    <a:pt x="1647" y="505"/>
                    <a:pt x="1647" y="505"/>
                  </a:cubicBezTo>
                  <a:cubicBezTo>
                    <a:pt x="1647" y="504"/>
                    <a:pt x="1647" y="504"/>
                    <a:pt x="1647" y="504"/>
                  </a:cubicBezTo>
                  <a:cubicBezTo>
                    <a:pt x="1647" y="504"/>
                    <a:pt x="1647" y="504"/>
                    <a:pt x="1647" y="504"/>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7" y="503"/>
                    <a:pt x="1647" y="503"/>
                    <a:pt x="1647" y="503"/>
                  </a:cubicBezTo>
                  <a:cubicBezTo>
                    <a:pt x="1648" y="503"/>
                    <a:pt x="1648" y="503"/>
                    <a:pt x="1648" y="503"/>
                  </a:cubicBezTo>
                  <a:cubicBezTo>
                    <a:pt x="1648" y="504"/>
                    <a:pt x="1648" y="504"/>
                    <a:pt x="1648" y="504"/>
                  </a:cubicBezTo>
                  <a:cubicBezTo>
                    <a:pt x="1648" y="504"/>
                    <a:pt x="1648" y="504"/>
                    <a:pt x="1648" y="504"/>
                  </a:cubicBezTo>
                  <a:cubicBezTo>
                    <a:pt x="1648" y="504"/>
                    <a:pt x="1648" y="504"/>
                    <a:pt x="1648" y="504"/>
                  </a:cubicBezTo>
                  <a:cubicBezTo>
                    <a:pt x="1648" y="504"/>
                    <a:pt x="1648" y="504"/>
                    <a:pt x="1648" y="505"/>
                  </a:cubicBezTo>
                  <a:cubicBezTo>
                    <a:pt x="1649" y="505"/>
                    <a:pt x="1649" y="505"/>
                    <a:pt x="1649" y="505"/>
                  </a:cubicBezTo>
                  <a:cubicBezTo>
                    <a:pt x="1649" y="505"/>
                    <a:pt x="1649" y="505"/>
                    <a:pt x="1649" y="505"/>
                  </a:cubicBezTo>
                  <a:cubicBezTo>
                    <a:pt x="1649" y="505"/>
                    <a:pt x="1649" y="505"/>
                    <a:pt x="1649" y="505"/>
                  </a:cubicBezTo>
                  <a:cubicBezTo>
                    <a:pt x="1649" y="505"/>
                    <a:pt x="1649" y="505"/>
                    <a:pt x="1649" y="505"/>
                  </a:cubicBezTo>
                  <a:cubicBezTo>
                    <a:pt x="1649" y="505"/>
                    <a:pt x="1649" y="505"/>
                    <a:pt x="1649" y="505"/>
                  </a:cubicBezTo>
                  <a:cubicBezTo>
                    <a:pt x="1649" y="504"/>
                    <a:pt x="1649" y="504"/>
                    <a:pt x="1649" y="504"/>
                  </a:cubicBezTo>
                  <a:cubicBezTo>
                    <a:pt x="1649" y="504"/>
                    <a:pt x="1649" y="504"/>
                    <a:pt x="1649" y="504"/>
                  </a:cubicBezTo>
                  <a:cubicBezTo>
                    <a:pt x="1649" y="504"/>
                    <a:pt x="1649" y="504"/>
                    <a:pt x="1649" y="504"/>
                  </a:cubicBezTo>
                  <a:cubicBezTo>
                    <a:pt x="1649" y="503"/>
                    <a:pt x="1649" y="503"/>
                    <a:pt x="1649" y="503"/>
                  </a:cubicBezTo>
                  <a:cubicBezTo>
                    <a:pt x="1649" y="503"/>
                    <a:pt x="1649" y="503"/>
                    <a:pt x="1649" y="503"/>
                  </a:cubicBezTo>
                  <a:cubicBezTo>
                    <a:pt x="1649" y="502"/>
                    <a:pt x="1649" y="502"/>
                    <a:pt x="1649" y="502"/>
                  </a:cubicBezTo>
                  <a:cubicBezTo>
                    <a:pt x="1649" y="502"/>
                    <a:pt x="1649" y="502"/>
                    <a:pt x="1649" y="502"/>
                  </a:cubicBezTo>
                  <a:cubicBezTo>
                    <a:pt x="1649" y="502"/>
                    <a:pt x="1649" y="501"/>
                    <a:pt x="1649" y="501"/>
                  </a:cubicBezTo>
                  <a:cubicBezTo>
                    <a:pt x="1649" y="500"/>
                    <a:pt x="1649" y="500"/>
                    <a:pt x="1649" y="500"/>
                  </a:cubicBezTo>
                  <a:cubicBezTo>
                    <a:pt x="1648" y="498"/>
                    <a:pt x="1648" y="498"/>
                    <a:pt x="1648" y="498"/>
                  </a:cubicBezTo>
                  <a:cubicBezTo>
                    <a:pt x="1648" y="498"/>
                    <a:pt x="1648" y="498"/>
                    <a:pt x="1648" y="498"/>
                  </a:cubicBezTo>
                  <a:cubicBezTo>
                    <a:pt x="1648" y="498"/>
                    <a:pt x="1648" y="498"/>
                    <a:pt x="1648" y="498"/>
                  </a:cubicBezTo>
                  <a:cubicBezTo>
                    <a:pt x="1648" y="498"/>
                    <a:pt x="1648" y="498"/>
                    <a:pt x="1648" y="498"/>
                  </a:cubicBezTo>
                  <a:cubicBezTo>
                    <a:pt x="1649" y="498"/>
                    <a:pt x="1649" y="498"/>
                    <a:pt x="1649" y="498"/>
                  </a:cubicBezTo>
                  <a:cubicBezTo>
                    <a:pt x="1649" y="499"/>
                    <a:pt x="1649" y="499"/>
                    <a:pt x="1649" y="499"/>
                  </a:cubicBezTo>
                  <a:cubicBezTo>
                    <a:pt x="1649" y="499"/>
                    <a:pt x="1649" y="499"/>
                    <a:pt x="1649" y="499"/>
                  </a:cubicBezTo>
                  <a:cubicBezTo>
                    <a:pt x="1649" y="499"/>
                    <a:pt x="1649" y="499"/>
                    <a:pt x="1649" y="499"/>
                  </a:cubicBezTo>
                  <a:cubicBezTo>
                    <a:pt x="1649" y="500"/>
                    <a:pt x="1649" y="500"/>
                    <a:pt x="1649" y="500"/>
                  </a:cubicBezTo>
                  <a:cubicBezTo>
                    <a:pt x="1649" y="500"/>
                    <a:pt x="1649" y="500"/>
                    <a:pt x="1649" y="500"/>
                  </a:cubicBezTo>
                  <a:cubicBezTo>
                    <a:pt x="1649" y="500"/>
                    <a:pt x="1649" y="500"/>
                    <a:pt x="1649" y="500"/>
                  </a:cubicBezTo>
                  <a:cubicBezTo>
                    <a:pt x="1650" y="500"/>
                    <a:pt x="1650" y="500"/>
                    <a:pt x="1650" y="500"/>
                  </a:cubicBezTo>
                  <a:cubicBezTo>
                    <a:pt x="1650" y="500"/>
                    <a:pt x="1650" y="500"/>
                    <a:pt x="1650" y="500"/>
                  </a:cubicBezTo>
                  <a:cubicBezTo>
                    <a:pt x="1650" y="500"/>
                    <a:pt x="1650" y="500"/>
                    <a:pt x="1650" y="500"/>
                  </a:cubicBezTo>
                  <a:cubicBezTo>
                    <a:pt x="1650" y="500"/>
                    <a:pt x="1650" y="500"/>
                    <a:pt x="1650" y="500"/>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0" y="499"/>
                    <a:pt x="1650" y="499"/>
                    <a:pt x="1650" y="499"/>
                  </a:cubicBezTo>
                  <a:cubicBezTo>
                    <a:pt x="1651" y="499"/>
                    <a:pt x="1651" y="499"/>
                    <a:pt x="1651" y="499"/>
                  </a:cubicBezTo>
                  <a:cubicBezTo>
                    <a:pt x="1651" y="499"/>
                    <a:pt x="1651" y="499"/>
                    <a:pt x="1651" y="499"/>
                  </a:cubicBezTo>
                  <a:cubicBezTo>
                    <a:pt x="1651" y="500"/>
                    <a:pt x="1651" y="500"/>
                    <a:pt x="1651" y="500"/>
                  </a:cubicBezTo>
                  <a:cubicBezTo>
                    <a:pt x="1651" y="500"/>
                    <a:pt x="1651" y="500"/>
                    <a:pt x="1651" y="500"/>
                  </a:cubicBezTo>
                  <a:cubicBezTo>
                    <a:pt x="1652" y="502"/>
                    <a:pt x="1652" y="500"/>
                    <a:pt x="1653" y="502"/>
                  </a:cubicBezTo>
                  <a:cubicBezTo>
                    <a:pt x="1653" y="505"/>
                    <a:pt x="1653" y="505"/>
                    <a:pt x="1653" y="505"/>
                  </a:cubicBezTo>
                  <a:cubicBezTo>
                    <a:pt x="1654" y="505"/>
                    <a:pt x="1654" y="505"/>
                    <a:pt x="1654" y="505"/>
                  </a:cubicBezTo>
                  <a:cubicBezTo>
                    <a:pt x="1654" y="506"/>
                    <a:pt x="1654" y="506"/>
                    <a:pt x="1654" y="506"/>
                  </a:cubicBezTo>
                  <a:cubicBezTo>
                    <a:pt x="1654" y="506"/>
                    <a:pt x="1654" y="506"/>
                    <a:pt x="1654" y="506"/>
                  </a:cubicBezTo>
                  <a:cubicBezTo>
                    <a:pt x="1654" y="506"/>
                    <a:pt x="1654" y="506"/>
                    <a:pt x="1654" y="506"/>
                  </a:cubicBezTo>
                  <a:cubicBezTo>
                    <a:pt x="1654" y="505"/>
                    <a:pt x="1654" y="505"/>
                    <a:pt x="1654" y="505"/>
                  </a:cubicBezTo>
                  <a:cubicBezTo>
                    <a:pt x="1655" y="505"/>
                    <a:pt x="1655" y="505"/>
                    <a:pt x="1655" y="504"/>
                  </a:cubicBezTo>
                  <a:cubicBezTo>
                    <a:pt x="1655" y="504"/>
                    <a:pt x="1655" y="504"/>
                    <a:pt x="1655" y="504"/>
                  </a:cubicBezTo>
                  <a:cubicBezTo>
                    <a:pt x="1655" y="504"/>
                    <a:pt x="1655" y="504"/>
                    <a:pt x="1655" y="504"/>
                  </a:cubicBezTo>
                  <a:cubicBezTo>
                    <a:pt x="1655" y="504"/>
                    <a:pt x="1655" y="504"/>
                    <a:pt x="1655" y="504"/>
                  </a:cubicBezTo>
                  <a:cubicBezTo>
                    <a:pt x="1655" y="504"/>
                    <a:pt x="1655" y="504"/>
                    <a:pt x="1655" y="504"/>
                  </a:cubicBezTo>
                  <a:cubicBezTo>
                    <a:pt x="1655" y="503"/>
                    <a:pt x="1655" y="503"/>
                    <a:pt x="1655" y="503"/>
                  </a:cubicBezTo>
                  <a:cubicBezTo>
                    <a:pt x="1655" y="503"/>
                    <a:pt x="1655" y="503"/>
                    <a:pt x="1655" y="503"/>
                  </a:cubicBezTo>
                  <a:cubicBezTo>
                    <a:pt x="1655" y="503"/>
                    <a:pt x="1655" y="503"/>
                    <a:pt x="1655" y="503"/>
                  </a:cubicBezTo>
                  <a:cubicBezTo>
                    <a:pt x="1655" y="503"/>
                    <a:pt x="1655" y="503"/>
                    <a:pt x="1655"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6" y="503"/>
                    <a:pt x="1656" y="503"/>
                    <a:pt x="1656" y="503"/>
                  </a:cubicBezTo>
                  <a:cubicBezTo>
                    <a:pt x="1657" y="503"/>
                    <a:pt x="1657" y="503"/>
                    <a:pt x="1657" y="502"/>
                  </a:cubicBezTo>
                  <a:cubicBezTo>
                    <a:pt x="1657" y="502"/>
                    <a:pt x="1657" y="502"/>
                    <a:pt x="1657" y="502"/>
                  </a:cubicBezTo>
                  <a:cubicBezTo>
                    <a:pt x="1657" y="502"/>
                    <a:pt x="1657" y="502"/>
                    <a:pt x="1657" y="502"/>
                  </a:cubicBezTo>
                  <a:cubicBezTo>
                    <a:pt x="1657" y="500"/>
                    <a:pt x="1656" y="499"/>
                    <a:pt x="1656" y="497"/>
                  </a:cubicBezTo>
                  <a:cubicBezTo>
                    <a:pt x="1656" y="497"/>
                    <a:pt x="1656" y="497"/>
                    <a:pt x="1656" y="497"/>
                  </a:cubicBezTo>
                  <a:cubicBezTo>
                    <a:pt x="1656" y="496"/>
                    <a:pt x="1656" y="496"/>
                    <a:pt x="1656" y="496"/>
                  </a:cubicBezTo>
                  <a:cubicBezTo>
                    <a:pt x="1656" y="496"/>
                    <a:pt x="1656" y="496"/>
                    <a:pt x="1656" y="496"/>
                  </a:cubicBezTo>
                  <a:cubicBezTo>
                    <a:pt x="1656" y="496"/>
                    <a:pt x="1656" y="496"/>
                    <a:pt x="1656" y="496"/>
                  </a:cubicBezTo>
                  <a:cubicBezTo>
                    <a:pt x="1656" y="496"/>
                    <a:pt x="1656" y="496"/>
                    <a:pt x="1656" y="496"/>
                  </a:cubicBezTo>
                  <a:cubicBezTo>
                    <a:pt x="1657" y="497"/>
                    <a:pt x="1657" y="499"/>
                    <a:pt x="1658" y="497"/>
                  </a:cubicBezTo>
                  <a:cubicBezTo>
                    <a:pt x="1658" y="497"/>
                    <a:pt x="1658" y="497"/>
                    <a:pt x="1658" y="497"/>
                  </a:cubicBezTo>
                  <a:cubicBezTo>
                    <a:pt x="1658" y="497"/>
                    <a:pt x="1658" y="497"/>
                    <a:pt x="1658" y="497"/>
                  </a:cubicBezTo>
                  <a:cubicBezTo>
                    <a:pt x="1658" y="497"/>
                    <a:pt x="1658" y="497"/>
                    <a:pt x="1658" y="497"/>
                  </a:cubicBezTo>
                  <a:cubicBezTo>
                    <a:pt x="1658" y="496"/>
                    <a:pt x="1659" y="496"/>
                    <a:pt x="1659" y="496"/>
                  </a:cubicBezTo>
                  <a:cubicBezTo>
                    <a:pt x="1659" y="496"/>
                    <a:pt x="1659" y="496"/>
                    <a:pt x="1659" y="496"/>
                  </a:cubicBezTo>
                  <a:cubicBezTo>
                    <a:pt x="1659" y="496"/>
                    <a:pt x="1659" y="496"/>
                    <a:pt x="1659" y="496"/>
                  </a:cubicBezTo>
                  <a:cubicBezTo>
                    <a:pt x="1660" y="495"/>
                    <a:pt x="1659" y="493"/>
                    <a:pt x="1659" y="492"/>
                  </a:cubicBezTo>
                  <a:cubicBezTo>
                    <a:pt x="1659" y="491"/>
                    <a:pt x="1659" y="491"/>
                    <a:pt x="1659" y="491"/>
                  </a:cubicBezTo>
                  <a:cubicBezTo>
                    <a:pt x="1659" y="491"/>
                    <a:pt x="1659" y="491"/>
                    <a:pt x="1659" y="491"/>
                  </a:cubicBezTo>
                  <a:cubicBezTo>
                    <a:pt x="1659" y="490"/>
                    <a:pt x="1659" y="490"/>
                    <a:pt x="1659" y="490"/>
                  </a:cubicBezTo>
                  <a:cubicBezTo>
                    <a:pt x="1660" y="490"/>
                    <a:pt x="1660" y="490"/>
                    <a:pt x="1660" y="490"/>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0" y="491"/>
                    <a:pt x="1660" y="491"/>
                    <a:pt x="1660" y="491"/>
                  </a:cubicBezTo>
                  <a:cubicBezTo>
                    <a:pt x="1661" y="491"/>
                    <a:pt x="1661" y="491"/>
                    <a:pt x="1661" y="491"/>
                  </a:cubicBezTo>
                  <a:cubicBezTo>
                    <a:pt x="1661" y="492"/>
                    <a:pt x="1661" y="492"/>
                    <a:pt x="1661" y="491"/>
                  </a:cubicBezTo>
                  <a:cubicBezTo>
                    <a:pt x="1661" y="491"/>
                    <a:pt x="1661" y="491"/>
                    <a:pt x="1661"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1"/>
                    <a:pt x="1662" y="491"/>
                    <a:pt x="1662" y="491"/>
                  </a:cubicBezTo>
                  <a:cubicBezTo>
                    <a:pt x="1662" y="490"/>
                    <a:pt x="1662" y="490"/>
                    <a:pt x="1662" y="490"/>
                  </a:cubicBezTo>
                  <a:cubicBezTo>
                    <a:pt x="1662" y="490"/>
                    <a:pt x="1662" y="490"/>
                    <a:pt x="1662" y="490"/>
                  </a:cubicBezTo>
                  <a:cubicBezTo>
                    <a:pt x="1662" y="490"/>
                    <a:pt x="1662" y="489"/>
                    <a:pt x="1662" y="488"/>
                  </a:cubicBezTo>
                  <a:cubicBezTo>
                    <a:pt x="1662" y="488"/>
                    <a:pt x="1662" y="488"/>
                    <a:pt x="1662" y="488"/>
                  </a:cubicBezTo>
                  <a:cubicBezTo>
                    <a:pt x="1662" y="488"/>
                    <a:pt x="1662" y="488"/>
                    <a:pt x="1662" y="488"/>
                  </a:cubicBezTo>
                  <a:cubicBezTo>
                    <a:pt x="1662" y="488"/>
                    <a:pt x="1662" y="488"/>
                    <a:pt x="1662" y="488"/>
                  </a:cubicBezTo>
                  <a:cubicBezTo>
                    <a:pt x="1661" y="488"/>
                    <a:pt x="1661" y="488"/>
                    <a:pt x="1661" y="488"/>
                  </a:cubicBezTo>
                  <a:cubicBezTo>
                    <a:pt x="1660" y="488"/>
                    <a:pt x="1660" y="488"/>
                    <a:pt x="1660" y="488"/>
                  </a:cubicBezTo>
                  <a:cubicBezTo>
                    <a:pt x="1657" y="487"/>
                    <a:pt x="1657" y="487"/>
                    <a:pt x="1657" y="487"/>
                  </a:cubicBezTo>
                  <a:cubicBezTo>
                    <a:pt x="1656" y="487"/>
                    <a:pt x="1656" y="487"/>
                    <a:pt x="1655" y="487"/>
                  </a:cubicBezTo>
                  <a:cubicBezTo>
                    <a:pt x="1654" y="487"/>
                    <a:pt x="1654" y="487"/>
                    <a:pt x="1654" y="487"/>
                  </a:cubicBezTo>
                  <a:cubicBezTo>
                    <a:pt x="1654" y="487"/>
                    <a:pt x="1654" y="487"/>
                    <a:pt x="1654" y="487"/>
                  </a:cubicBezTo>
                  <a:cubicBezTo>
                    <a:pt x="1654" y="488"/>
                    <a:pt x="1654" y="488"/>
                    <a:pt x="1654" y="488"/>
                  </a:cubicBezTo>
                  <a:cubicBezTo>
                    <a:pt x="1654" y="488"/>
                    <a:pt x="1654" y="488"/>
                    <a:pt x="1654" y="488"/>
                  </a:cubicBezTo>
                  <a:cubicBezTo>
                    <a:pt x="1654" y="488"/>
                    <a:pt x="1654" y="488"/>
                    <a:pt x="1654" y="488"/>
                  </a:cubicBezTo>
                  <a:cubicBezTo>
                    <a:pt x="1653" y="488"/>
                    <a:pt x="1653" y="488"/>
                    <a:pt x="1653" y="488"/>
                  </a:cubicBezTo>
                  <a:cubicBezTo>
                    <a:pt x="1653" y="489"/>
                    <a:pt x="1652" y="488"/>
                    <a:pt x="1651" y="488"/>
                  </a:cubicBezTo>
                  <a:cubicBezTo>
                    <a:pt x="1651" y="488"/>
                    <a:pt x="1651" y="488"/>
                    <a:pt x="1651" y="488"/>
                  </a:cubicBezTo>
                  <a:cubicBezTo>
                    <a:pt x="1651" y="488"/>
                    <a:pt x="1651" y="488"/>
                    <a:pt x="1651" y="488"/>
                  </a:cubicBezTo>
                  <a:cubicBezTo>
                    <a:pt x="1651" y="488"/>
                    <a:pt x="1651" y="488"/>
                    <a:pt x="1651" y="488"/>
                  </a:cubicBezTo>
                  <a:cubicBezTo>
                    <a:pt x="1651" y="488"/>
                    <a:pt x="1651" y="488"/>
                    <a:pt x="1651" y="488"/>
                  </a:cubicBezTo>
                  <a:cubicBezTo>
                    <a:pt x="1652" y="487"/>
                    <a:pt x="1652" y="487"/>
                    <a:pt x="1652" y="487"/>
                  </a:cubicBezTo>
                  <a:cubicBezTo>
                    <a:pt x="1653" y="486"/>
                    <a:pt x="1653" y="486"/>
                    <a:pt x="1653" y="486"/>
                  </a:cubicBezTo>
                  <a:cubicBezTo>
                    <a:pt x="1653" y="486"/>
                    <a:pt x="1653" y="486"/>
                    <a:pt x="1653" y="485"/>
                  </a:cubicBezTo>
                  <a:cubicBezTo>
                    <a:pt x="1653" y="485"/>
                    <a:pt x="1653" y="485"/>
                    <a:pt x="1653" y="485"/>
                  </a:cubicBezTo>
                  <a:cubicBezTo>
                    <a:pt x="1653" y="485"/>
                    <a:pt x="1653" y="485"/>
                    <a:pt x="1653" y="485"/>
                  </a:cubicBezTo>
                  <a:cubicBezTo>
                    <a:pt x="1653" y="484"/>
                    <a:pt x="1653" y="484"/>
                    <a:pt x="1652" y="484"/>
                  </a:cubicBezTo>
                  <a:cubicBezTo>
                    <a:pt x="1652" y="484"/>
                    <a:pt x="1652" y="484"/>
                    <a:pt x="1652" y="484"/>
                  </a:cubicBezTo>
                  <a:cubicBezTo>
                    <a:pt x="1652" y="484"/>
                    <a:pt x="1652" y="484"/>
                    <a:pt x="1652" y="484"/>
                  </a:cubicBezTo>
                  <a:cubicBezTo>
                    <a:pt x="1652" y="483"/>
                    <a:pt x="1652" y="483"/>
                    <a:pt x="1652" y="483"/>
                  </a:cubicBezTo>
                  <a:cubicBezTo>
                    <a:pt x="1652" y="483"/>
                    <a:pt x="1652" y="483"/>
                    <a:pt x="1652" y="483"/>
                  </a:cubicBezTo>
                  <a:cubicBezTo>
                    <a:pt x="1652" y="482"/>
                    <a:pt x="1651" y="482"/>
                    <a:pt x="1651" y="481"/>
                  </a:cubicBezTo>
                  <a:cubicBezTo>
                    <a:pt x="1651" y="480"/>
                    <a:pt x="1651" y="480"/>
                    <a:pt x="1651" y="480"/>
                  </a:cubicBezTo>
                  <a:cubicBezTo>
                    <a:pt x="1651" y="480"/>
                    <a:pt x="1651" y="480"/>
                    <a:pt x="1651" y="480"/>
                  </a:cubicBezTo>
                  <a:cubicBezTo>
                    <a:pt x="1651" y="480"/>
                    <a:pt x="1651" y="480"/>
                    <a:pt x="1651" y="480"/>
                  </a:cubicBezTo>
                  <a:cubicBezTo>
                    <a:pt x="1652" y="480"/>
                    <a:pt x="1652" y="480"/>
                    <a:pt x="1652" y="480"/>
                  </a:cubicBezTo>
                  <a:cubicBezTo>
                    <a:pt x="1652" y="479"/>
                    <a:pt x="1652" y="479"/>
                    <a:pt x="1652" y="479"/>
                  </a:cubicBezTo>
                  <a:cubicBezTo>
                    <a:pt x="1652" y="479"/>
                    <a:pt x="1652" y="479"/>
                    <a:pt x="1652" y="479"/>
                  </a:cubicBezTo>
                  <a:cubicBezTo>
                    <a:pt x="1652" y="479"/>
                    <a:pt x="1652" y="479"/>
                    <a:pt x="1652" y="479"/>
                  </a:cubicBezTo>
                  <a:cubicBezTo>
                    <a:pt x="1652" y="479"/>
                    <a:pt x="1652" y="479"/>
                    <a:pt x="1652" y="479"/>
                  </a:cubicBezTo>
                  <a:cubicBezTo>
                    <a:pt x="1654" y="478"/>
                    <a:pt x="1654" y="479"/>
                    <a:pt x="1655" y="478"/>
                  </a:cubicBezTo>
                  <a:cubicBezTo>
                    <a:pt x="1655" y="478"/>
                    <a:pt x="1655" y="478"/>
                    <a:pt x="1655" y="478"/>
                  </a:cubicBezTo>
                  <a:cubicBezTo>
                    <a:pt x="1655" y="478"/>
                    <a:pt x="1655" y="478"/>
                    <a:pt x="1655" y="478"/>
                  </a:cubicBezTo>
                  <a:cubicBezTo>
                    <a:pt x="1655" y="478"/>
                    <a:pt x="1655" y="478"/>
                    <a:pt x="1655" y="478"/>
                  </a:cubicBezTo>
                  <a:cubicBezTo>
                    <a:pt x="1655" y="478"/>
                    <a:pt x="1655" y="477"/>
                    <a:pt x="1655" y="477"/>
                  </a:cubicBezTo>
                  <a:cubicBezTo>
                    <a:pt x="1655" y="477"/>
                    <a:pt x="1655" y="477"/>
                    <a:pt x="1655" y="477"/>
                  </a:cubicBezTo>
                  <a:cubicBezTo>
                    <a:pt x="1655" y="477"/>
                    <a:pt x="1655" y="477"/>
                    <a:pt x="1655" y="477"/>
                  </a:cubicBezTo>
                  <a:cubicBezTo>
                    <a:pt x="1655" y="477"/>
                    <a:pt x="1655" y="477"/>
                    <a:pt x="1655" y="477"/>
                  </a:cubicBezTo>
                  <a:cubicBezTo>
                    <a:pt x="1656" y="476"/>
                    <a:pt x="1656" y="476"/>
                    <a:pt x="1656" y="476"/>
                  </a:cubicBezTo>
                  <a:cubicBezTo>
                    <a:pt x="1656" y="476"/>
                    <a:pt x="1656" y="476"/>
                    <a:pt x="1656" y="476"/>
                  </a:cubicBezTo>
                  <a:cubicBezTo>
                    <a:pt x="1656" y="476"/>
                    <a:pt x="1656" y="476"/>
                    <a:pt x="1656" y="476"/>
                  </a:cubicBezTo>
                  <a:cubicBezTo>
                    <a:pt x="1656" y="476"/>
                    <a:pt x="1656" y="476"/>
                    <a:pt x="1656" y="476"/>
                  </a:cubicBezTo>
                  <a:cubicBezTo>
                    <a:pt x="1655" y="476"/>
                    <a:pt x="1655" y="476"/>
                    <a:pt x="1655" y="476"/>
                  </a:cubicBezTo>
                  <a:cubicBezTo>
                    <a:pt x="1655" y="475"/>
                    <a:pt x="1655" y="475"/>
                    <a:pt x="1655" y="475"/>
                  </a:cubicBezTo>
                  <a:cubicBezTo>
                    <a:pt x="1654" y="474"/>
                    <a:pt x="1654" y="474"/>
                    <a:pt x="1654" y="474"/>
                  </a:cubicBezTo>
                  <a:cubicBezTo>
                    <a:pt x="1654" y="474"/>
                    <a:pt x="1654" y="474"/>
                    <a:pt x="1654" y="474"/>
                  </a:cubicBezTo>
                  <a:cubicBezTo>
                    <a:pt x="1654" y="474"/>
                    <a:pt x="1654" y="474"/>
                    <a:pt x="1654" y="474"/>
                  </a:cubicBezTo>
                  <a:cubicBezTo>
                    <a:pt x="1654" y="474"/>
                    <a:pt x="1654" y="474"/>
                    <a:pt x="1654" y="474"/>
                  </a:cubicBezTo>
                  <a:cubicBezTo>
                    <a:pt x="1655" y="473"/>
                    <a:pt x="1654" y="473"/>
                    <a:pt x="1655" y="473"/>
                  </a:cubicBezTo>
                  <a:cubicBezTo>
                    <a:pt x="1655" y="473"/>
                    <a:pt x="1655" y="473"/>
                    <a:pt x="1655" y="473"/>
                  </a:cubicBezTo>
                  <a:cubicBezTo>
                    <a:pt x="1655" y="472"/>
                    <a:pt x="1655" y="472"/>
                    <a:pt x="1655" y="472"/>
                  </a:cubicBezTo>
                  <a:cubicBezTo>
                    <a:pt x="1655" y="472"/>
                    <a:pt x="1655" y="472"/>
                    <a:pt x="1655" y="472"/>
                  </a:cubicBezTo>
                  <a:cubicBezTo>
                    <a:pt x="1653" y="471"/>
                    <a:pt x="1654" y="471"/>
                    <a:pt x="1654" y="471"/>
                  </a:cubicBezTo>
                  <a:cubicBezTo>
                    <a:pt x="1654" y="470"/>
                    <a:pt x="1654" y="470"/>
                    <a:pt x="1654" y="470"/>
                  </a:cubicBezTo>
                  <a:cubicBezTo>
                    <a:pt x="1654" y="470"/>
                    <a:pt x="1654" y="470"/>
                    <a:pt x="1654" y="470"/>
                  </a:cubicBezTo>
                  <a:cubicBezTo>
                    <a:pt x="1654" y="470"/>
                    <a:pt x="1654" y="470"/>
                    <a:pt x="1655" y="469"/>
                  </a:cubicBezTo>
                  <a:cubicBezTo>
                    <a:pt x="1655" y="469"/>
                    <a:pt x="1655" y="469"/>
                    <a:pt x="1655" y="469"/>
                  </a:cubicBezTo>
                  <a:cubicBezTo>
                    <a:pt x="1655" y="469"/>
                    <a:pt x="1655" y="469"/>
                    <a:pt x="1655" y="469"/>
                  </a:cubicBezTo>
                  <a:cubicBezTo>
                    <a:pt x="1654" y="469"/>
                    <a:pt x="1654" y="469"/>
                    <a:pt x="1654" y="469"/>
                  </a:cubicBezTo>
                  <a:cubicBezTo>
                    <a:pt x="1654" y="468"/>
                    <a:pt x="1654" y="468"/>
                    <a:pt x="1654" y="468"/>
                  </a:cubicBezTo>
                  <a:cubicBezTo>
                    <a:pt x="1652" y="467"/>
                    <a:pt x="1652" y="467"/>
                    <a:pt x="1652" y="467"/>
                  </a:cubicBezTo>
                  <a:cubicBezTo>
                    <a:pt x="1651" y="466"/>
                    <a:pt x="1651" y="466"/>
                    <a:pt x="1651" y="466"/>
                  </a:cubicBezTo>
                  <a:cubicBezTo>
                    <a:pt x="1651" y="466"/>
                    <a:pt x="1651" y="466"/>
                    <a:pt x="1651" y="466"/>
                  </a:cubicBezTo>
                  <a:cubicBezTo>
                    <a:pt x="1651" y="466"/>
                    <a:pt x="1651" y="466"/>
                    <a:pt x="1651" y="466"/>
                  </a:cubicBezTo>
                  <a:cubicBezTo>
                    <a:pt x="1651" y="466"/>
                    <a:pt x="1651" y="466"/>
                    <a:pt x="1651" y="466"/>
                  </a:cubicBezTo>
                  <a:cubicBezTo>
                    <a:pt x="1647" y="465"/>
                    <a:pt x="1647" y="465"/>
                    <a:pt x="1647" y="465"/>
                  </a:cubicBezTo>
                  <a:cubicBezTo>
                    <a:pt x="1631" y="464"/>
                    <a:pt x="1631" y="464"/>
                    <a:pt x="1631" y="464"/>
                  </a:cubicBezTo>
                  <a:cubicBezTo>
                    <a:pt x="1633" y="464"/>
                    <a:pt x="1634" y="464"/>
                    <a:pt x="1635" y="464"/>
                  </a:cubicBezTo>
                  <a:cubicBezTo>
                    <a:pt x="1636" y="464"/>
                    <a:pt x="1637" y="464"/>
                    <a:pt x="1637" y="464"/>
                  </a:cubicBezTo>
                  <a:cubicBezTo>
                    <a:pt x="1637" y="464"/>
                    <a:pt x="1637" y="464"/>
                    <a:pt x="1637" y="463"/>
                  </a:cubicBezTo>
                  <a:cubicBezTo>
                    <a:pt x="1639" y="464"/>
                    <a:pt x="1640" y="464"/>
                    <a:pt x="1642" y="464"/>
                  </a:cubicBezTo>
                  <a:cubicBezTo>
                    <a:pt x="1644" y="464"/>
                    <a:pt x="1646" y="465"/>
                    <a:pt x="1648" y="465"/>
                  </a:cubicBezTo>
                  <a:cubicBezTo>
                    <a:pt x="1649" y="465"/>
                    <a:pt x="1649" y="465"/>
                    <a:pt x="1650" y="464"/>
                  </a:cubicBezTo>
                  <a:cubicBezTo>
                    <a:pt x="1650" y="463"/>
                    <a:pt x="1647" y="463"/>
                    <a:pt x="1649" y="462"/>
                  </a:cubicBezTo>
                  <a:cubicBezTo>
                    <a:pt x="1649" y="462"/>
                    <a:pt x="1650" y="462"/>
                    <a:pt x="1650" y="462"/>
                  </a:cubicBezTo>
                  <a:cubicBezTo>
                    <a:pt x="1651" y="462"/>
                    <a:pt x="1653" y="462"/>
                    <a:pt x="1653" y="462"/>
                  </a:cubicBezTo>
                  <a:cubicBezTo>
                    <a:pt x="1653" y="461"/>
                    <a:pt x="1654" y="458"/>
                    <a:pt x="1654" y="458"/>
                  </a:cubicBezTo>
                  <a:cubicBezTo>
                    <a:pt x="1654" y="458"/>
                    <a:pt x="1653" y="458"/>
                    <a:pt x="1653" y="458"/>
                  </a:cubicBezTo>
                  <a:cubicBezTo>
                    <a:pt x="1653" y="457"/>
                    <a:pt x="1653" y="457"/>
                    <a:pt x="1653" y="457"/>
                  </a:cubicBezTo>
                  <a:cubicBezTo>
                    <a:pt x="1653" y="457"/>
                    <a:pt x="1653" y="456"/>
                    <a:pt x="1653" y="456"/>
                  </a:cubicBezTo>
                  <a:cubicBezTo>
                    <a:pt x="1653" y="456"/>
                    <a:pt x="1652" y="456"/>
                    <a:pt x="1652" y="455"/>
                  </a:cubicBezTo>
                  <a:cubicBezTo>
                    <a:pt x="1652" y="455"/>
                    <a:pt x="1651" y="454"/>
                    <a:pt x="1651" y="454"/>
                  </a:cubicBezTo>
                  <a:cubicBezTo>
                    <a:pt x="1650" y="454"/>
                    <a:pt x="1650" y="453"/>
                    <a:pt x="1650" y="453"/>
                  </a:cubicBezTo>
                  <a:cubicBezTo>
                    <a:pt x="1650" y="452"/>
                    <a:pt x="1651" y="452"/>
                    <a:pt x="1651" y="451"/>
                  </a:cubicBezTo>
                  <a:cubicBezTo>
                    <a:pt x="1651" y="451"/>
                    <a:pt x="1651" y="451"/>
                    <a:pt x="1651" y="451"/>
                  </a:cubicBezTo>
                  <a:cubicBezTo>
                    <a:pt x="1651" y="451"/>
                    <a:pt x="1651" y="451"/>
                    <a:pt x="1651" y="451"/>
                  </a:cubicBezTo>
                  <a:cubicBezTo>
                    <a:pt x="1651" y="450"/>
                    <a:pt x="1650" y="449"/>
                    <a:pt x="1650" y="449"/>
                  </a:cubicBezTo>
                  <a:cubicBezTo>
                    <a:pt x="1649" y="447"/>
                    <a:pt x="1649" y="447"/>
                    <a:pt x="1650" y="446"/>
                  </a:cubicBezTo>
                  <a:cubicBezTo>
                    <a:pt x="1650" y="446"/>
                    <a:pt x="1650" y="445"/>
                    <a:pt x="1650" y="445"/>
                  </a:cubicBezTo>
                  <a:cubicBezTo>
                    <a:pt x="1650" y="445"/>
                    <a:pt x="1650" y="445"/>
                    <a:pt x="1651" y="445"/>
                  </a:cubicBezTo>
                  <a:cubicBezTo>
                    <a:pt x="1651" y="445"/>
                    <a:pt x="1651" y="445"/>
                    <a:pt x="1652" y="445"/>
                  </a:cubicBezTo>
                  <a:cubicBezTo>
                    <a:pt x="1652" y="445"/>
                    <a:pt x="1653" y="444"/>
                    <a:pt x="1652" y="443"/>
                  </a:cubicBezTo>
                  <a:cubicBezTo>
                    <a:pt x="1652" y="443"/>
                    <a:pt x="1652" y="443"/>
                    <a:pt x="1652" y="443"/>
                  </a:cubicBezTo>
                  <a:cubicBezTo>
                    <a:pt x="1652" y="443"/>
                    <a:pt x="1652" y="443"/>
                    <a:pt x="1652" y="443"/>
                  </a:cubicBezTo>
                  <a:cubicBezTo>
                    <a:pt x="1652" y="442"/>
                    <a:pt x="1652" y="441"/>
                    <a:pt x="1652" y="441"/>
                  </a:cubicBezTo>
                  <a:cubicBezTo>
                    <a:pt x="1652" y="440"/>
                    <a:pt x="1652" y="440"/>
                    <a:pt x="1653" y="440"/>
                  </a:cubicBezTo>
                  <a:cubicBezTo>
                    <a:pt x="1653" y="439"/>
                    <a:pt x="1653" y="439"/>
                    <a:pt x="1654" y="439"/>
                  </a:cubicBezTo>
                  <a:cubicBezTo>
                    <a:pt x="1655" y="438"/>
                    <a:pt x="1657" y="438"/>
                    <a:pt x="1658" y="437"/>
                  </a:cubicBezTo>
                  <a:cubicBezTo>
                    <a:pt x="1660" y="436"/>
                    <a:pt x="1659" y="434"/>
                    <a:pt x="1658" y="432"/>
                  </a:cubicBezTo>
                  <a:cubicBezTo>
                    <a:pt x="1658" y="432"/>
                    <a:pt x="1658" y="431"/>
                    <a:pt x="1657" y="431"/>
                  </a:cubicBezTo>
                  <a:cubicBezTo>
                    <a:pt x="1657" y="430"/>
                    <a:pt x="1657" y="430"/>
                    <a:pt x="1657" y="430"/>
                  </a:cubicBezTo>
                  <a:cubicBezTo>
                    <a:pt x="1657" y="430"/>
                    <a:pt x="1657" y="429"/>
                    <a:pt x="1656" y="428"/>
                  </a:cubicBezTo>
                  <a:cubicBezTo>
                    <a:pt x="1656" y="428"/>
                    <a:pt x="1656" y="428"/>
                    <a:pt x="1656" y="428"/>
                  </a:cubicBezTo>
                  <a:cubicBezTo>
                    <a:pt x="1656" y="427"/>
                    <a:pt x="1656" y="427"/>
                    <a:pt x="1655" y="427"/>
                  </a:cubicBezTo>
                  <a:cubicBezTo>
                    <a:pt x="1655" y="427"/>
                    <a:pt x="1655" y="427"/>
                    <a:pt x="1654" y="428"/>
                  </a:cubicBezTo>
                  <a:cubicBezTo>
                    <a:pt x="1652" y="428"/>
                    <a:pt x="1652" y="429"/>
                    <a:pt x="1652" y="430"/>
                  </a:cubicBezTo>
                  <a:cubicBezTo>
                    <a:pt x="1652" y="430"/>
                    <a:pt x="1652" y="430"/>
                    <a:pt x="1652" y="430"/>
                  </a:cubicBezTo>
                  <a:cubicBezTo>
                    <a:pt x="1652" y="431"/>
                    <a:pt x="1653" y="432"/>
                    <a:pt x="1653" y="432"/>
                  </a:cubicBezTo>
                  <a:cubicBezTo>
                    <a:pt x="1652" y="435"/>
                    <a:pt x="1650" y="433"/>
                    <a:pt x="1648" y="434"/>
                  </a:cubicBezTo>
                  <a:cubicBezTo>
                    <a:pt x="1647" y="434"/>
                    <a:pt x="1647" y="434"/>
                    <a:pt x="1647" y="434"/>
                  </a:cubicBezTo>
                  <a:cubicBezTo>
                    <a:pt x="1647" y="434"/>
                    <a:pt x="1647" y="434"/>
                    <a:pt x="1647" y="434"/>
                  </a:cubicBezTo>
                  <a:cubicBezTo>
                    <a:pt x="1647" y="434"/>
                    <a:pt x="1647" y="434"/>
                    <a:pt x="1647" y="435"/>
                  </a:cubicBezTo>
                  <a:cubicBezTo>
                    <a:pt x="1646" y="435"/>
                    <a:pt x="1646" y="435"/>
                    <a:pt x="1646" y="435"/>
                  </a:cubicBezTo>
                  <a:cubicBezTo>
                    <a:pt x="1645" y="435"/>
                    <a:pt x="1644" y="434"/>
                    <a:pt x="1643" y="433"/>
                  </a:cubicBezTo>
                  <a:cubicBezTo>
                    <a:pt x="1642" y="431"/>
                    <a:pt x="1642" y="429"/>
                    <a:pt x="1642" y="428"/>
                  </a:cubicBezTo>
                  <a:cubicBezTo>
                    <a:pt x="1642" y="428"/>
                    <a:pt x="1642" y="428"/>
                    <a:pt x="1642" y="427"/>
                  </a:cubicBezTo>
                  <a:cubicBezTo>
                    <a:pt x="1642" y="427"/>
                    <a:pt x="1642" y="427"/>
                    <a:pt x="1642" y="427"/>
                  </a:cubicBezTo>
                  <a:cubicBezTo>
                    <a:pt x="1642" y="427"/>
                    <a:pt x="1642" y="427"/>
                    <a:pt x="1642" y="427"/>
                  </a:cubicBezTo>
                  <a:cubicBezTo>
                    <a:pt x="1642" y="427"/>
                    <a:pt x="1642" y="427"/>
                    <a:pt x="1642" y="427"/>
                  </a:cubicBezTo>
                  <a:cubicBezTo>
                    <a:pt x="1642" y="427"/>
                    <a:pt x="1642" y="427"/>
                    <a:pt x="1641" y="427"/>
                  </a:cubicBezTo>
                  <a:cubicBezTo>
                    <a:pt x="1641" y="426"/>
                    <a:pt x="1641" y="427"/>
                    <a:pt x="1640" y="427"/>
                  </a:cubicBezTo>
                  <a:cubicBezTo>
                    <a:pt x="1637" y="427"/>
                    <a:pt x="1633" y="428"/>
                    <a:pt x="1631" y="428"/>
                  </a:cubicBezTo>
                  <a:cubicBezTo>
                    <a:pt x="1632" y="428"/>
                    <a:pt x="1632" y="429"/>
                    <a:pt x="1632" y="429"/>
                  </a:cubicBezTo>
                  <a:cubicBezTo>
                    <a:pt x="1632" y="429"/>
                    <a:pt x="1632" y="429"/>
                    <a:pt x="1632" y="429"/>
                  </a:cubicBezTo>
                  <a:cubicBezTo>
                    <a:pt x="1630" y="429"/>
                    <a:pt x="1628" y="429"/>
                    <a:pt x="1626" y="428"/>
                  </a:cubicBezTo>
                  <a:cubicBezTo>
                    <a:pt x="1626" y="428"/>
                    <a:pt x="1625" y="428"/>
                    <a:pt x="1625" y="428"/>
                  </a:cubicBezTo>
                  <a:cubicBezTo>
                    <a:pt x="1619" y="427"/>
                    <a:pt x="1613" y="425"/>
                    <a:pt x="1609" y="422"/>
                  </a:cubicBezTo>
                  <a:cubicBezTo>
                    <a:pt x="1607" y="421"/>
                    <a:pt x="1606" y="420"/>
                    <a:pt x="1605" y="420"/>
                  </a:cubicBezTo>
                  <a:cubicBezTo>
                    <a:pt x="1605" y="420"/>
                    <a:pt x="1605" y="420"/>
                    <a:pt x="1605" y="420"/>
                  </a:cubicBezTo>
                  <a:cubicBezTo>
                    <a:pt x="1605" y="419"/>
                    <a:pt x="1605" y="419"/>
                    <a:pt x="1605" y="419"/>
                  </a:cubicBezTo>
                  <a:cubicBezTo>
                    <a:pt x="1605" y="419"/>
                    <a:pt x="1605" y="419"/>
                    <a:pt x="1605" y="419"/>
                  </a:cubicBezTo>
                  <a:cubicBezTo>
                    <a:pt x="1605" y="419"/>
                    <a:pt x="1605" y="418"/>
                    <a:pt x="1606" y="418"/>
                  </a:cubicBezTo>
                  <a:cubicBezTo>
                    <a:pt x="1606" y="418"/>
                    <a:pt x="1606" y="418"/>
                    <a:pt x="1606" y="418"/>
                  </a:cubicBezTo>
                  <a:cubicBezTo>
                    <a:pt x="1605" y="417"/>
                    <a:pt x="1603" y="417"/>
                    <a:pt x="1602" y="416"/>
                  </a:cubicBezTo>
                  <a:cubicBezTo>
                    <a:pt x="1605" y="416"/>
                    <a:pt x="1605" y="416"/>
                    <a:pt x="1608" y="415"/>
                  </a:cubicBezTo>
                  <a:cubicBezTo>
                    <a:pt x="1606" y="414"/>
                    <a:pt x="1604" y="414"/>
                    <a:pt x="1603" y="413"/>
                  </a:cubicBezTo>
                  <a:cubicBezTo>
                    <a:pt x="1603" y="413"/>
                    <a:pt x="1604" y="413"/>
                    <a:pt x="1604" y="413"/>
                  </a:cubicBezTo>
                  <a:cubicBezTo>
                    <a:pt x="1603" y="412"/>
                    <a:pt x="1603" y="411"/>
                    <a:pt x="1602" y="410"/>
                  </a:cubicBezTo>
                  <a:cubicBezTo>
                    <a:pt x="1604" y="410"/>
                    <a:pt x="1610" y="410"/>
                    <a:pt x="1608" y="408"/>
                  </a:cubicBezTo>
                  <a:cubicBezTo>
                    <a:pt x="1608" y="408"/>
                    <a:pt x="1607" y="407"/>
                    <a:pt x="1606" y="407"/>
                  </a:cubicBezTo>
                  <a:cubicBezTo>
                    <a:pt x="1605" y="406"/>
                    <a:pt x="1604" y="405"/>
                    <a:pt x="1604" y="405"/>
                  </a:cubicBezTo>
                  <a:cubicBezTo>
                    <a:pt x="1603" y="405"/>
                    <a:pt x="1603" y="405"/>
                    <a:pt x="1602" y="406"/>
                  </a:cubicBezTo>
                  <a:cubicBezTo>
                    <a:pt x="1602" y="406"/>
                    <a:pt x="1602" y="406"/>
                    <a:pt x="1602" y="406"/>
                  </a:cubicBezTo>
                  <a:cubicBezTo>
                    <a:pt x="1602" y="406"/>
                    <a:pt x="1602" y="406"/>
                    <a:pt x="1602" y="406"/>
                  </a:cubicBezTo>
                  <a:cubicBezTo>
                    <a:pt x="1601" y="406"/>
                    <a:pt x="1600" y="406"/>
                    <a:pt x="1600" y="407"/>
                  </a:cubicBezTo>
                  <a:cubicBezTo>
                    <a:pt x="1599" y="407"/>
                    <a:pt x="1598" y="408"/>
                    <a:pt x="1597" y="408"/>
                  </a:cubicBezTo>
                  <a:cubicBezTo>
                    <a:pt x="1596" y="409"/>
                    <a:pt x="1595" y="409"/>
                    <a:pt x="1593" y="408"/>
                  </a:cubicBezTo>
                  <a:cubicBezTo>
                    <a:pt x="1595" y="408"/>
                    <a:pt x="1598" y="407"/>
                    <a:pt x="1598" y="405"/>
                  </a:cubicBezTo>
                  <a:cubicBezTo>
                    <a:pt x="1598" y="404"/>
                    <a:pt x="1595" y="403"/>
                    <a:pt x="1594" y="402"/>
                  </a:cubicBezTo>
                  <a:cubicBezTo>
                    <a:pt x="1594" y="402"/>
                    <a:pt x="1594" y="402"/>
                    <a:pt x="1593" y="401"/>
                  </a:cubicBezTo>
                  <a:cubicBezTo>
                    <a:pt x="1594" y="401"/>
                    <a:pt x="1595" y="401"/>
                    <a:pt x="1595" y="401"/>
                  </a:cubicBezTo>
                  <a:cubicBezTo>
                    <a:pt x="1594" y="400"/>
                    <a:pt x="1594" y="399"/>
                    <a:pt x="1593" y="398"/>
                  </a:cubicBezTo>
                  <a:cubicBezTo>
                    <a:pt x="1591" y="397"/>
                    <a:pt x="1587" y="397"/>
                    <a:pt x="1585" y="396"/>
                  </a:cubicBezTo>
                  <a:cubicBezTo>
                    <a:pt x="1584" y="398"/>
                    <a:pt x="1584" y="399"/>
                    <a:pt x="1584" y="401"/>
                  </a:cubicBezTo>
                  <a:cubicBezTo>
                    <a:pt x="1584" y="400"/>
                    <a:pt x="1582" y="397"/>
                    <a:pt x="1582" y="396"/>
                  </a:cubicBezTo>
                  <a:cubicBezTo>
                    <a:pt x="1582" y="395"/>
                    <a:pt x="1584" y="396"/>
                    <a:pt x="1584" y="395"/>
                  </a:cubicBezTo>
                  <a:cubicBezTo>
                    <a:pt x="1584" y="395"/>
                    <a:pt x="1584" y="395"/>
                    <a:pt x="1584" y="395"/>
                  </a:cubicBezTo>
                  <a:cubicBezTo>
                    <a:pt x="1584" y="395"/>
                    <a:pt x="1584" y="395"/>
                    <a:pt x="1584" y="395"/>
                  </a:cubicBezTo>
                  <a:cubicBezTo>
                    <a:pt x="1584" y="394"/>
                    <a:pt x="1584" y="393"/>
                    <a:pt x="1584" y="393"/>
                  </a:cubicBezTo>
                  <a:cubicBezTo>
                    <a:pt x="1584" y="392"/>
                    <a:pt x="1584" y="392"/>
                    <a:pt x="1584" y="392"/>
                  </a:cubicBezTo>
                  <a:cubicBezTo>
                    <a:pt x="1583" y="390"/>
                    <a:pt x="1584" y="390"/>
                    <a:pt x="1582" y="389"/>
                  </a:cubicBezTo>
                  <a:cubicBezTo>
                    <a:pt x="1582" y="389"/>
                    <a:pt x="1582" y="389"/>
                    <a:pt x="1581" y="389"/>
                  </a:cubicBezTo>
                  <a:cubicBezTo>
                    <a:pt x="1581" y="389"/>
                    <a:pt x="1581" y="389"/>
                    <a:pt x="1581" y="389"/>
                  </a:cubicBezTo>
                  <a:cubicBezTo>
                    <a:pt x="1578" y="388"/>
                    <a:pt x="1575" y="387"/>
                    <a:pt x="1573" y="386"/>
                  </a:cubicBezTo>
                  <a:cubicBezTo>
                    <a:pt x="1572" y="385"/>
                    <a:pt x="1571" y="385"/>
                    <a:pt x="1571" y="384"/>
                  </a:cubicBezTo>
                  <a:cubicBezTo>
                    <a:pt x="1570" y="384"/>
                    <a:pt x="1570" y="384"/>
                    <a:pt x="1570" y="384"/>
                  </a:cubicBezTo>
                  <a:cubicBezTo>
                    <a:pt x="1570" y="383"/>
                    <a:pt x="1570" y="383"/>
                    <a:pt x="1569" y="383"/>
                  </a:cubicBezTo>
                  <a:cubicBezTo>
                    <a:pt x="1569" y="382"/>
                    <a:pt x="1568" y="382"/>
                    <a:pt x="1567" y="381"/>
                  </a:cubicBezTo>
                  <a:cubicBezTo>
                    <a:pt x="1566" y="381"/>
                    <a:pt x="1565" y="380"/>
                    <a:pt x="1563" y="379"/>
                  </a:cubicBezTo>
                  <a:cubicBezTo>
                    <a:pt x="1562" y="378"/>
                    <a:pt x="1561" y="377"/>
                    <a:pt x="1560" y="377"/>
                  </a:cubicBezTo>
                  <a:cubicBezTo>
                    <a:pt x="1558" y="377"/>
                    <a:pt x="1556" y="379"/>
                    <a:pt x="1554" y="380"/>
                  </a:cubicBezTo>
                  <a:cubicBezTo>
                    <a:pt x="1553" y="380"/>
                    <a:pt x="1552" y="381"/>
                    <a:pt x="1551" y="381"/>
                  </a:cubicBezTo>
                  <a:cubicBezTo>
                    <a:pt x="1550" y="381"/>
                    <a:pt x="1550" y="381"/>
                    <a:pt x="1549" y="382"/>
                  </a:cubicBezTo>
                  <a:cubicBezTo>
                    <a:pt x="1548" y="382"/>
                    <a:pt x="1547" y="382"/>
                    <a:pt x="1546" y="383"/>
                  </a:cubicBezTo>
                  <a:cubicBezTo>
                    <a:pt x="1545" y="383"/>
                    <a:pt x="1545" y="383"/>
                    <a:pt x="1545" y="383"/>
                  </a:cubicBezTo>
                  <a:cubicBezTo>
                    <a:pt x="1543" y="384"/>
                    <a:pt x="1542" y="385"/>
                    <a:pt x="1540" y="385"/>
                  </a:cubicBezTo>
                  <a:cubicBezTo>
                    <a:pt x="1540" y="385"/>
                    <a:pt x="1540" y="385"/>
                    <a:pt x="1540" y="385"/>
                  </a:cubicBezTo>
                  <a:cubicBezTo>
                    <a:pt x="1538" y="385"/>
                    <a:pt x="1536" y="385"/>
                    <a:pt x="1535" y="386"/>
                  </a:cubicBezTo>
                  <a:cubicBezTo>
                    <a:pt x="1535" y="386"/>
                    <a:pt x="1535" y="386"/>
                    <a:pt x="1535" y="386"/>
                  </a:cubicBezTo>
                  <a:cubicBezTo>
                    <a:pt x="1535" y="386"/>
                    <a:pt x="1535" y="386"/>
                    <a:pt x="1535" y="386"/>
                  </a:cubicBezTo>
                  <a:cubicBezTo>
                    <a:pt x="1535" y="386"/>
                    <a:pt x="1535" y="386"/>
                    <a:pt x="1535" y="386"/>
                  </a:cubicBezTo>
                  <a:cubicBezTo>
                    <a:pt x="1535" y="386"/>
                    <a:pt x="1534" y="386"/>
                    <a:pt x="1535" y="387"/>
                  </a:cubicBezTo>
                  <a:cubicBezTo>
                    <a:pt x="1535" y="387"/>
                    <a:pt x="1535" y="387"/>
                    <a:pt x="1535" y="387"/>
                  </a:cubicBezTo>
                  <a:cubicBezTo>
                    <a:pt x="1535" y="387"/>
                    <a:pt x="1535" y="387"/>
                    <a:pt x="1535" y="387"/>
                  </a:cubicBezTo>
                  <a:cubicBezTo>
                    <a:pt x="1535" y="388"/>
                    <a:pt x="1538" y="389"/>
                    <a:pt x="1539" y="390"/>
                  </a:cubicBezTo>
                  <a:cubicBezTo>
                    <a:pt x="1539" y="390"/>
                    <a:pt x="1539" y="390"/>
                    <a:pt x="1539" y="390"/>
                  </a:cubicBezTo>
                  <a:cubicBezTo>
                    <a:pt x="1536" y="389"/>
                    <a:pt x="1534" y="388"/>
                    <a:pt x="1533" y="387"/>
                  </a:cubicBezTo>
                  <a:cubicBezTo>
                    <a:pt x="1530" y="385"/>
                    <a:pt x="1528" y="384"/>
                    <a:pt x="1524" y="383"/>
                  </a:cubicBezTo>
                  <a:cubicBezTo>
                    <a:pt x="1519" y="382"/>
                    <a:pt x="1513" y="385"/>
                    <a:pt x="1509" y="388"/>
                  </a:cubicBezTo>
                  <a:cubicBezTo>
                    <a:pt x="1509" y="388"/>
                    <a:pt x="1509" y="388"/>
                    <a:pt x="1510" y="387"/>
                  </a:cubicBezTo>
                  <a:cubicBezTo>
                    <a:pt x="1510" y="387"/>
                    <a:pt x="1510" y="387"/>
                    <a:pt x="1511" y="386"/>
                  </a:cubicBezTo>
                  <a:cubicBezTo>
                    <a:pt x="1512" y="386"/>
                    <a:pt x="1514" y="385"/>
                    <a:pt x="1514" y="384"/>
                  </a:cubicBezTo>
                  <a:cubicBezTo>
                    <a:pt x="1514" y="384"/>
                    <a:pt x="1514" y="384"/>
                    <a:pt x="1514" y="384"/>
                  </a:cubicBezTo>
                  <a:cubicBezTo>
                    <a:pt x="1514" y="384"/>
                    <a:pt x="1514" y="384"/>
                    <a:pt x="1514" y="384"/>
                  </a:cubicBezTo>
                  <a:cubicBezTo>
                    <a:pt x="1514" y="384"/>
                    <a:pt x="1514" y="384"/>
                    <a:pt x="1514" y="384"/>
                  </a:cubicBezTo>
                  <a:cubicBezTo>
                    <a:pt x="1514" y="383"/>
                    <a:pt x="1513" y="383"/>
                    <a:pt x="1513" y="383"/>
                  </a:cubicBezTo>
                  <a:cubicBezTo>
                    <a:pt x="1513" y="383"/>
                    <a:pt x="1513" y="383"/>
                    <a:pt x="1513" y="383"/>
                  </a:cubicBezTo>
                  <a:cubicBezTo>
                    <a:pt x="1511" y="383"/>
                    <a:pt x="1508" y="382"/>
                    <a:pt x="1507" y="382"/>
                  </a:cubicBezTo>
                  <a:cubicBezTo>
                    <a:pt x="1504" y="381"/>
                    <a:pt x="1501" y="380"/>
                    <a:pt x="1498" y="379"/>
                  </a:cubicBezTo>
                  <a:cubicBezTo>
                    <a:pt x="1497" y="379"/>
                    <a:pt x="1496" y="379"/>
                    <a:pt x="1496" y="378"/>
                  </a:cubicBezTo>
                  <a:cubicBezTo>
                    <a:pt x="1493" y="378"/>
                    <a:pt x="1490" y="377"/>
                    <a:pt x="1487" y="376"/>
                  </a:cubicBezTo>
                  <a:cubicBezTo>
                    <a:pt x="1487" y="376"/>
                    <a:pt x="1487" y="375"/>
                    <a:pt x="1486" y="375"/>
                  </a:cubicBezTo>
                  <a:cubicBezTo>
                    <a:pt x="1486" y="375"/>
                    <a:pt x="1486" y="375"/>
                    <a:pt x="1486" y="375"/>
                  </a:cubicBezTo>
                  <a:cubicBezTo>
                    <a:pt x="1485" y="375"/>
                    <a:pt x="1483" y="375"/>
                    <a:pt x="1482" y="375"/>
                  </a:cubicBezTo>
                  <a:cubicBezTo>
                    <a:pt x="1479" y="374"/>
                    <a:pt x="1475" y="373"/>
                    <a:pt x="1473" y="373"/>
                  </a:cubicBezTo>
                  <a:cubicBezTo>
                    <a:pt x="1472" y="373"/>
                    <a:pt x="1472" y="373"/>
                    <a:pt x="1470" y="374"/>
                  </a:cubicBezTo>
                  <a:cubicBezTo>
                    <a:pt x="1470" y="374"/>
                    <a:pt x="1470" y="374"/>
                    <a:pt x="1470" y="374"/>
                  </a:cubicBezTo>
                  <a:cubicBezTo>
                    <a:pt x="1466" y="375"/>
                    <a:pt x="1462" y="378"/>
                    <a:pt x="1459" y="381"/>
                  </a:cubicBezTo>
                  <a:cubicBezTo>
                    <a:pt x="1458" y="382"/>
                    <a:pt x="1457" y="382"/>
                    <a:pt x="1456" y="383"/>
                  </a:cubicBezTo>
                  <a:cubicBezTo>
                    <a:pt x="1456" y="383"/>
                    <a:pt x="1456" y="383"/>
                    <a:pt x="1455" y="384"/>
                  </a:cubicBezTo>
                  <a:cubicBezTo>
                    <a:pt x="1458" y="390"/>
                    <a:pt x="1460" y="398"/>
                    <a:pt x="1463" y="404"/>
                  </a:cubicBezTo>
                  <a:cubicBezTo>
                    <a:pt x="1464" y="405"/>
                    <a:pt x="1464" y="406"/>
                    <a:pt x="1465" y="407"/>
                  </a:cubicBezTo>
                  <a:cubicBezTo>
                    <a:pt x="1466" y="408"/>
                    <a:pt x="1466" y="408"/>
                    <a:pt x="1467" y="408"/>
                  </a:cubicBezTo>
                  <a:cubicBezTo>
                    <a:pt x="1467" y="408"/>
                    <a:pt x="1467" y="408"/>
                    <a:pt x="1467" y="408"/>
                  </a:cubicBezTo>
                  <a:cubicBezTo>
                    <a:pt x="1468" y="408"/>
                    <a:pt x="1470" y="409"/>
                    <a:pt x="1471" y="410"/>
                  </a:cubicBezTo>
                  <a:cubicBezTo>
                    <a:pt x="1470" y="410"/>
                    <a:pt x="1468" y="409"/>
                    <a:pt x="1467" y="410"/>
                  </a:cubicBezTo>
                  <a:cubicBezTo>
                    <a:pt x="1466" y="411"/>
                    <a:pt x="1468" y="411"/>
                    <a:pt x="1468" y="412"/>
                  </a:cubicBezTo>
                  <a:cubicBezTo>
                    <a:pt x="1468" y="412"/>
                    <a:pt x="1468" y="412"/>
                    <a:pt x="1469" y="412"/>
                  </a:cubicBezTo>
                  <a:cubicBezTo>
                    <a:pt x="1469" y="412"/>
                    <a:pt x="1469" y="412"/>
                    <a:pt x="1469" y="412"/>
                  </a:cubicBezTo>
                  <a:cubicBezTo>
                    <a:pt x="1469" y="412"/>
                    <a:pt x="1468" y="412"/>
                    <a:pt x="1468" y="413"/>
                  </a:cubicBezTo>
                  <a:cubicBezTo>
                    <a:pt x="1467" y="413"/>
                    <a:pt x="1467" y="414"/>
                    <a:pt x="1466" y="414"/>
                  </a:cubicBezTo>
                  <a:cubicBezTo>
                    <a:pt x="1466" y="414"/>
                    <a:pt x="1465" y="414"/>
                    <a:pt x="1465" y="413"/>
                  </a:cubicBezTo>
                  <a:cubicBezTo>
                    <a:pt x="1465" y="413"/>
                    <a:pt x="1464" y="413"/>
                    <a:pt x="1464" y="413"/>
                  </a:cubicBezTo>
                  <a:cubicBezTo>
                    <a:pt x="1463" y="414"/>
                    <a:pt x="1463" y="418"/>
                    <a:pt x="1464" y="421"/>
                  </a:cubicBezTo>
                  <a:cubicBezTo>
                    <a:pt x="1464" y="422"/>
                    <a:pt x="1464" y="424"/>
                    <a:pt x="1464" y="425"/>
                  </a:cubicBezTo>
                  <a:cubicBezTo>
                    <a:pt x="1464" y="425"/>
                    <a:pt x="1463" y="425"/>
                    <a:pt x="1463" y="426"/>
                  </a:cubicBezTo>
                  <a:cubicBezTo>
                    <a:pt x="1463" y="426"/>
                    <a:pt x="1463" y="427"/>
                    <a:pt x="1462" y="427"/>
                  </a:cubicBezTo>
                  <a:cubicBezTo>
                    <a:pt x="1462" y="428"/>
                    <a:pt x="1462" y="428"/>
                    <a:pt x="1461" y="428"/>
                  </a:cubicBezTo>
                  <a:cubicBezTo>
                    <a:pt x="1460" y="430"/>
                    <a:pt x="1457" y="432"/>
                    <a:pt x="1456" y="433"/>
                  </a:cubicBezTo>
                  <a:cubicBezTo>
                    <a:pt x="1455" y="434"/>
                    <a:pt x="1455" y="434"/>
                    <a:pt x="1455" y="434"/>
                  </a:cubicBezTo>
                  <a:cubicBezTo>
                    <a:pt x="1455" y="434"/>
                    <a:pt x="1455" y="434"/>
                    <a:pt x="1455" y="434"/>
                  </a:cubicBezTo>
                  <a:cubicBezTo>
                    <a:pt x="1455" y="434"/>
                    <a:pt x="1455" y="434"/>
                    <a:pt x="1455" y="434"/>
                  </a:cubicBezTo>
                  <a:cubicBezTo>
                    <a:pt x="1455" y="435"/>
                    <a:pt x="1455" y="435"/>
                    <a:pt x="1455" y="435"/>
                  </a:cubicBezTo>
                  <a:cubicBezTo>
                    <a:pt x="1455" y="436"/>
                    <a:pt x="1455" y="436"/>
                    <a:pt x="1455" y="436"/>
                  </a:cubicBezTo>
                  <a:cubicBezTo>
                    <a:pt x="1455" y="436"/>
                    <a:pt x="1455" y="436"/>
                    <a:pt x="1456" y="436"/>
                  </a:cubicBezTo>
                  <a:cubicBezTo>
                    <a:pt x="1457" y="436"/>
                    <a:pt x="1457" y="436"/>
                    <a:pt x="1458" y="436"/>
                  </a:cubicBezTo>
                  <a:cubicBezTo>
                    <a:pt x="1458" y="436"/>
                    <a:pt x="1459" y="436"/>
                    <a:pt x="1459" y="436"/>
                  </a:cubicBezTo>
                  <a:cubicBezTo>
                    <a:pt x="1461" y="436"/>
                    <a:pt x="1462" y="436"/>
                    <a:pt x="1463" y="436"/>
                  </a:cubicBezTo>
                  <a:cubicBezTo>
                    <a:pt x="1463" y="437"/>
                    <a:pt x="1463" y="437"/>
                    <a:pt x="1464" y="437"/>
                  </a:cubicBezTo>
                  <a:cubicBezTo>
                    <a:pt x="1466" y="437"/>
                    <a:pt x="1468" y="436"/>
                    <a:pt x="1470" y="435"/>
                  </a:cubicBezTo>
                  <a:cubicBezTo>
                    <a:pt x="1468" y="436"/>
                    <a:pt x="1467" y="437"/>
                    <a:pt x="1465" y="437"/>
                  </a:cubicBezTo>
                  <a:cubicBezTo>
                    <a:pt x="1470" y="437"/>
                    <a:pt x="1464" y="441"/>
                    <a:pt x="1463" y="442"/>
                  </a:cubicBezTo>
                  <a:cubicBezTo>
                    <a:pt x="1466" y="445"/>
                    <a:pt x="1469" y="443"/>
                    <a:pt x="1472" y="445"/>
                  </a:cubicBezTo>
                  <a:cubicBezTo>
                    <a:pt x="1471" y="445"/>
                    <a:pt x="1470" y="445"/>
                    <a:pt x="1470" y="446"/>
                  </a:cubicBezTo>
                  <a:cubicBezTo>
                    <a:pt x="1469" y="446"/>
                    <a:pt x="1469" y="446"/>
                    <a:pt x="1469" y="446"/>
                  </a:cubicBezTo>
                  <a:cubicBezTo>
                    <a:pt x="1468" y="446"/>
                    <a:pt x="1467" y="447"/>
                    <a:pt x="1467" y="447"/>
                  </a:cubicBezTo>
                  <a:cubicBezTo>
                    <a:pt x="1466" y="448"/>
                    <a:pt x="1466" y="448"/>
                    <a:pt x="1466" y="448"/>
                  </a:cubicBezTo>
                  <a:cubicBezTo>
                    <a:pt x="1466" y="448"/>
                    <a:pt x="1466" y="448"/>
                    <a:pt x="1465" y="449"/>
                  </a:cubicBezTo>
                  <a:cubicBezTo>
                    <a:pt x="1465" y="449"/>
                    <a:pt x="1465" y="449"/>
                    <a:pt x="1465" y="449"/>
                  </a:cubicBezTo>
                  <a:cubicBezTo>
                    <a:pt x="1465" y="449"/>
                    <a:pt x="1465" y="449"/>
                    <a:pt x="1465" y="449"/>
                  </a:cubicBezTo>
                  <a:cubicBezTo>
                    <a:pt x="1465" y="449"/>
                    <a:pt x="1465" y="449"/>
                    <a:pt x="1465" y="450"/>
                  </a:cubicBezTo>
                  <a:cubicBezTo>
                    <a:pt x="1465" y="450"/>
                    <a:pt x="1465" y="450"/>
                    <a:pt x="1465" y="450"/>
                  </a:cubicBezTo>
                  <a:cubicBezTo>
                    <a:pt x="1465" y="451"/>
                    <a:pt x="1465" y="451"/>
                    <a:pt x="1465" y="451"/>
                  </a:cubicBezTo>
                  <a:cubicBezTo>
                    <a:pt x="1466" y="453"/>
                    <a:pt x="1467" y="455"/>
                    <a:pt x="1468" y="457"/>
                  </a:cubicBezTo>
                  <a:cubicBezTo>
                    <a:pt x="1468" y="457"/>
                    <a:pt x="1468" y="457"/>
                    <a:pt x="1468" y="458"/>
                  </a:cubicBezTo>
                  <a:cubicBezTo>
                    <a:pt x="1468" y="458"/>
                    <a:pt x="1468" y="458"/>
                    <a:pt x="1468" y="458"/>
                  </a:cubicBezTo>
                  <a:cubicBezTo>
                    <a:pt x="1468" y="458"/>
                    <a:pt x="1468" y="459"/>
                    <a:pt x="1469" y="459"/>
                  </a:cubicBezTo>
                  <a:cubicBezTo>
                    <a:pt x="1469" y="459"/>
                    <a:pt x="1469" y="459"/>
                    <a:pt x="1469" y="459"/>
                  </a:cubicBezTo>
                  <a:cubicBezTo>
                    <a:pt x="1469" y="460"/>
                    <a:pt x="1469" y="460"/>
                    <a:pt x="1469" y="461"/>
                  </a:cubicBezTo>
                  <a:cubicBezTo>
                    <a:pt x="1468" y="461"/>
                    <a:pt x="1468" y="461"/>
                    <a:pt x="1468" y="462"/>
                  </a:cubicBezTo>
                  <a:cubicBezTo>
                    <a:pt x="1470" y="463"/>
                    <a:pt x="1473" y="464"/>
                    <a:pt x="1475" y="464"/>
                  </a:cubicBezTo>
                  <a:cubicBezTo>
                    <a:pt x="1475" y="464"/>
                    <a:pt x="1476" y="464"/>
                    <a:pt x="1476" y="464"/>
                  </a:cubicBezTo>
                  <a:cubicBezTo>
                    <a:pt x="1476" y="464"/>
                    <a:pt x="1477" y="464"/>
                    <a:pt x="1477" y="464"/>
                  </a:cubicBezTo>
                  <a:cubicBezTo>
                    <a:pt x="1477" y="464"/>
                    <a:pt x="1477" y="464"/>
                    <a:pt x="1477" y="464"/>
                  </a:cubicBezTo>
                  <a:cubicBezTo>
                    <a:pt x="1474" y="466"/>
                    <a:pt x="1474" y="466"/>
                    <a:pt x="1474" y="466"/>
                  </a:cubicBezTo>
                  <a:cubicBezTo>
                    <a:pt x="1473" y="466"/>
                    <a:pt x="1473" y="466"/>
                    <a:pt x="1473" y="466"/>
                  </a:cubicBezTo>
                  <a:cubicBezTo>
                    <a:pt x="1473" y="466"/>
                    <a:pt x="1473" y="466"/>
                    <a:pt x="1473" y="466"/>
                  </a:cubicBezTo>
                  <a:cubicBezTo>
                    <a:pt x="1473" y="467"/>
                    <a:pt x="1473" y="467"/>
                    <a:pt x="1473" y="467"/>
                  </a:cubicBezTo>
                  <a:cubicBezTo>
                    <a:pt x="1472" y="467"/>
                    <a:pt x="1472" y="467"/>
                    <a:pt x="1472" y="467"/>
                  </a:cubicBezTo>
                  <a:cubicBezTo>
                    <a:pt x="1472" y="467"/>
                    <a:pt x="1472" y="467"/>
                    <a:pt x="1472" y="467"/>
                  </a:cubicBezTo>
                  <a:cubicBezTo>
                    <a:pt x="1472" y="467"/>
                    <a:pt x="1472" y="467"/>
                    <a:pt x="1472" y="467"/>
                  </a:cubicBezTo>
                  <a:cubicBezTo>
                    <a:pt x="1474" y="469"/>
                    <a:pt x="1474" y="469"/>
                    <a:pt x="1475" y="471"/>
                  </a:cubicBezTo>
                  <a:cubicBezTo>
                    <a:pt x="1475" y="471"/>
                    <a:pt x="1475" y="471"/>
                    <a:pt x="1475" y="471"/>
                  </a:cubicBezTo>
                  <a:cubicBezTo>
                    <a:pt x="1475" y="471"/>
                    <a:pt x="1475" y="471"/>
                    <a:pt x="1475" y="471"/>
                  </a:cubicBezTo>
                  <a:cubicBezTo>
                    <a:pt x="1474" y="471"/>
                    <a:pt x="1474" y="471"/>
                    <a:pt x="1474" y="471"/>
                  </a:cubicBezTo>
                  <a:cubicBezTo>
                    <a:pt x="1473" y="472"/>
                    <a:pt x="1473" y="472"/>
                    <a:pt x="1473" y="472"/>
                  </a:cubicBezTo>
                  <a:cubicBezTo>
                    <a:pt x="1472" y="472"/>
                    <a:pt x="1472" y="472"/>
                    <a:pt x="1472" y="472"/>
                  </a:cubicBezTo>
                  <a:cubicBezTo>
                    <a:pt x="1472" y="472"/>
                    <a:pt x="1472" y="472"/>
                    <a:pt x="1472" y="472"/>
                  </a:cubicBezTo>
                  <a:cubicBezTo>
                    <a:pt x="1472" y="472"/>
                    <a:pt x="1472" y="472"/>
                    <a:pt x="1472" y="472"/>
                  </a:cubicBezTo>
                  <a:cubicBezTo>
                    <a:pt x="1472" y="472"/>
                    <a:pt x="1472" y="472"/>
                    <a:pt x="1472" y="472"/>
                  </a:cubicBezTo>
                  <a:cubicBezTo>
                    <a:pt x="1472" y="472"/>
                    <a:pt x="1472" y="472"/>
                    <a:pt x="1472" y="472"/>
                  </a:cubicBezTo>
                  <a:cubicBezTo>
                    <a:pt x="1471" y="472"/>
                    <a:pt x="1471" y="472"/>
                    <a:pt x="1471" y="472"/>
                  </a:cubicBezTo>
                  <a:cubicBezTo>
                    <a:pt x="1471" y="473"/>
                    <a:pt x="1471" y="473"/>
                    <a:pt x="1471" y="473"/>
                  </a:cubicBezTo>
                  <a:cubicBezTo>
                    <a:pt x="1471" y="474"/>
                    <a:pt x="1470" y="473"/>
                    <a:pt x="1470" y="473"/>
                  </a:cubicBezTo>
                  <a:cubicBezTo>
                    <a:pt x="1470" y="473"/>
                    <a:pt x="1470" y="473"/>
                    <a:pt x="1470" y="473"/>
                  </a:cubicBezTo>
                  <a:cubicBezTo>
                    <a:pt x="1470" y="473"/>
                    <a:pt x="1470" y="473"/>
                    <a:pt x="1470" y="473"/>
                  </a:cubicBezTo>
                  <a:cubicBezTo>
                    <a:pt x="1470" y="473"/>
                    <a:pt x="1470" y="473"/>
                    <a:pt x="1470" y="473"/>
                  </a:cubicBezTo>
                  <a:cubicBezTo>
                    <a:pt x="1470" y="474"/>
                    <a:pt x="1470" y="474"/>
                    <a:pt x="1470" y="474"/>
                  </a:cubicBezTo>
                  <a:cubicBezTo>
                    <a:pt x="1471" y="476"/>
                    <a:pt x="1472" y="476"/>
                    <a:pt x="1472" y="478"/>
                  </a:cubicBezTo>
                  <a:cubicBezTo>
                    <a:pt x="1472" y="478"/>
                    <a:pt x="1472" y="478"/>
                    <a:pt x="1472" y="478"/>
                  </a:cubicBezTo>
                  <a:cubicBezTo>
                    <a:pt x="1472" y="478"/>
                    <a:pt x="1472" y="478"/>
                    <a:pt x="1472" y="478"/>
                  </a:cubicBezTo>
                  <a:cubicBezTo>
                    <a:pt x="1472" y="479"/>
                    <a:pt x="1474" y="479"/>
                    <a:pt x="1475" y="479"/>
                  </a:cubicBezTo>
                  <a:cubicBezTo>
                    <a:pt x="1475" y="479"/>
                    <a:pt x="1475" y="479"/>
                    <a:pt x="1475" y="479"/>
                  </a:cubicBezTo>
                  <a:cubicBezTo>
                    <a:pt x="1475" y="479"/>
                    <a:pt x="1475" y="479"/>
                    <a:pt x="1475" y="479"/>
                  </a:cubicBezTo>
                  <a:cubicBezTo>
                    <a:pt x="1475" y="479"/>
                    <a:pt x="1475" y="479"/>
                    <a:pt x="1475" y="479"/>
                  </a:cubicBezTo>
                  <a:cubicBezTo>
                    <a:pt x="1474" y="479"/>
                    <a:pt x="1474" y="479"/>
                    <a:pt x="1474" y="479"/>
                  </a:cubicBezTo>
                  <a:cubicBezTo>
                    <a:pt x="1473" y="479"/>
                    <a:pt x="1473" y="479"/>
                    <a:pt x="1473" y="479"/>
                  </a:cubicBezTo>
                  <a:cubicBezTo>
                    <a:pt x="1470" y="479"/>
                    <a:pt x="1473" y="477"/>
                    <a:pt x="1470" y="476"/>
                  </a:cubicBezTo>
                  <a:cubicBezTo>
                    <a:pt x="1469" y="476"/>
                    <a:pt x="1469" y="476"/>
                    <a:pt x="1469" y="476"/>
                  </a:cubicBezTo>
                  <a:cubicBezTo>
                    <a:pt x="1469" y="476"/>
                    <a:pt x="1469" y="476"/>
                    <a:pt x="1469" y="476"/>
                  </a:cubicBezTo>
                  <a:cubicBezTo>
                    <a:pt x="1469" y="476"/>
                    <a:pt x="1469" y="476"/>
                    <a:pt x="1469" y="476"/>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9" y="475"/>
                    <a:pt x="1469" y="475"/>
                    <a:pt x="1469" y="475"/>
                  </a:cubicBezTo>
                  <a:cubicBezTo>
                    <a:pt x="1468" y="475"/>
                    <a:pt x="1468" y="475"/>
                    <a:pt x="1468" y="475"/>
                  </a:cubicBezTo>
                  <a:cubicBezTo>
                    <a:pt x="1468" y="475"/>
                    <a:pt x="1468" y="475"/>
                    <a:pt x="1468" y="475"/>
                  </a:cubicBezTo>
                  <a:cubicBezTo>
                    <a:pt x="1468" y="475"/>
                    <a:pt x="1468" y="475"/>
                    <a:pt x="1468" y="475"/>
                  </a:cubicBezTo>
                  <a:cubicBezTo>
                    <a:pt x="1468" y="475"/>
                    <a:pt x="1468" y="475"/>
                    <a:pt x="1468" y="475"/>
                  </a:cubicBezTo>
                  <a:cubicBezTo>
                    <a:pt x="1468" y="475"/>
                    <a:pt x="1468" y="475"/>
                    <a:pt x="1468" y="475"/>
                  </a:cubicBezTo>
                  <a:cubicBezTo>
                    <a:pt x="1467" y="475"/>
                    <a:pt x="1466" y="476"/>
                    <a:pt x="1466" y="475"/>
                  </a:cubicBezTo>
                  <a:cubicBezTo>
                    <a:pt x="1466" y="475"/>
                    <a:pt x="1466" y="475"/>
                    <a:pt x="1466" y="475"/>
                  </a:cubicBezTo>
                  <a:cubicBezTo>
                    <a:pt x="1466" y="475"/>
                    <a:pt x="1466" y="475"/>
                    <a:pt x="1466" y="475"/>
                  </a:cubicBezTo>
                  <a:cubicBezTo>
                    <a:pt x="1466" y="475"/>
                    <a:pt x="1466" y="475"/>
                    <a:pt x="1466" y="475"/>
                  </a:cubicBezTo>
                  <a:cubicBezTo>
                    <a:pt x="1466" y="475"/>
                    <a:pt x="1466" y="475"/>
                    <a:pt x="1466" y="475"/>
                  </a:cubicBezTo>
                  <a:cubicBezTo>
                    <a:pt x="1466" y="475"/>
                    <a:pt x="1466" y="475"/>
                    <a:pt x="1466" y="475"/>
                  </a:cubicBezTo>
                  <a:cubicBezTo>
                    <a:pt x="1466" y="474"/>
                    <a:pt x="1466" y="474"/>
                    <a:pt x="1466" y="474"/>
                  </a:cubicBezTo>
                  <a:cubicBezTo>
                    <a:pt x="1465" y="474"/>
                    <a:pt x="1465" y="474"/>
                    <a:pt x="1465" y="474"/>
                  </a:cubicBezTo>
                  <a:cubicBezTo>
                    <a:pt x="1465" y="474"/>
                    <a:pt x="1465" y="474"/>
                    <a:pt x="1465" y="474"/>
                  </a:cubicBezTo>
                  <a:cubicBezTo>
                    <a:pt x="1465" y="474"/>
                    <a:pt x="1465" y="474"/>
                    <a:pt x="1465" y="474"/>
                  </a:cubicBezTo>
                  <a:cubicBezTo>
                    <a:pt x="1465" y="474"/>
                    <a:pt x="1465" y="474"/>
                    <a:pt x="1465" y="474"/>
                  </a:cubicBezTo>
                  <a:cubicBezTo>
                    <a:pt x="1464" y="474"/>
                    <a:pt x="1464" y="474"/>
                    <a:pt x="1464" y="474"/>
                  </a:cubicBezTo>
                  <a:cubicBezTo>
                    <a:pt x="1464" y="475"/>
                    <a:pt x="1464" y="475"/>
                    <a:pt x="1464" y="475"/>
                  </a:cubicBezTo>
                  <a:cubicBezTo>
                    <a:pt x="1464" y="475"/>
                    <a:pt x="1464" y="475"/>
                    <a:pt x="1464" y="475"/>
                  </a:cubicBezTo>
                  <a:cubicBezTo>
                    <a:pt x="1464" y="475"/>
                    <a:pt x="1464" y="475"/>
                    <a:pt x="1464" y="475"/>
                  </a:cubicBezTo>
                  <a:cubicBezTo>
                    <a:pt x="1464" y="476"/>
                    <a:pt x="1464" y="476"/>
                    <a:pt x="1464" y="476"/>
                  </a:cubicBezTo>
                  <a:cubicBezTo>
                    <a:pt x="1465" y="477"/>
                    <a:pt x="1465" y="477"/>
                    <a:pt x="1465" y="477"/>
                  </a:cubicBezTo>
                  <a:cubicBezTo>
                    <a:pt x="1465" y="478"/>
                    <a:pt x="1465" y="478"/>
                    <a:pt x="1465" y="478"/>
                  </a:cubicBezTo>
                  <a:cubicBezTo>
                    <a:pt x="1465" y="478"/>
                    <a:pt x="1465" y="478"/>
                    <a:pt x="1465" y="478"/>
                  </a:cubicBezTo>
                  <a:cubicBezTo>
                    <a:pt x="1465" y="479"/>
                    <a:pt x="1465" y="479"/>
                    <a:pt x="1465" y="479"/>
                  </a:cubicBezTo>
                  <a:cubicBezTo>
                    <a:pt x="1465" y="479"/>
                    <a:pt x="1465" y="479"/>
                    <a:pt x="1465" y="479"/>
                  </a:cubicBezTo>
                  <a:cubicBezTo>
                    <a:pt x="1465" y="480"/>
                    <a:pt x="1465" y="480"/>
                    <a:pt x="1465" y="480"/>
                  </a:cubicBezTo>
                  <a:cubicBezTo>
                    <a:pt x="1465" y="480"/>
                    <a:pt x="1465" y="480"/>
                    <a:pt x="1465" y="480"/>
                  </a:cubicBezTo>
                  <a:cubicBezTo>
                    <a:pt x="1465" y="480"/>
                    <a:pt x="1465" y="480"/>
                    <a:pt x="1465" y="480"/>
                  </a:cubicBezTo>
                  <a:cubicBezTo>
                    <a:pt x="1465" y="480"/>
                    <a:pt x="1465" y="480"/>
                    <a:pt x="1465" y="480"/>
                  </a:cubicBezTo>
                  <a:cubicBezTo>
                    <a:pt x="1463" y="481"/>
                    <a:pt x="1463" y="481"/>
                    <a:pt x="1463" y="481"/>
                  </a:cubicBezTo>
                  <a:cubicBezTo>
                    <a:pt x="1462" y="481"/>
                    <a:pt x="1462" y="481"/>
                    <a:pt x="1462" y="481"/>
                  </a:cubicBezTo>
                  <a:cubicBezTo>
                    <a:pt x="1462" y="481"/>
                    <a:pt x="1462" y="481"/>
                    <a:pt x="1462" y="481"/>
                  </a:cubicBezTo>
                  <a:cubicBezTo>
                    <a:pt x="1462" y="481"/>
                    <a:pt x="1462" y="481"/>
                    <a:pt x="1462" y="481"/>
                  </a:cubicBezTo>
                  <a:cubicBezTo>
                    <a:pt x="1462" y="482"/>
                    <a:pt x="1462" y="482"/>
                    <a:pt x="1462" y="482"/>
                  </a:cubicBezTo>
                  <a:cubicBezTo>
                    <a:pt x="1462" y="482"/>
                    <a:pt x="1462" y="482"/>
                    <a:pt x="1462" y="482"/>
                  </a:cubicBezTo>
                  <a:cubicBezTo>
                    <a:pt x="1462" y="482"/>
                    <a:pt x="1462" y="482"/>
                    <a:pt x="1462" y="482"/>
                  </a:cubicBezTo>
                  <a:cubicBezTo>
                    <a:pt x="1462" y="482"/>
                    <a:pt x="1462" y="482"/>
                    <a:pt x="1462" y="482"/>
                  </a:cubicBezTo>
                  <a:cubicBezTo>
                    <a:pt x="1461" y="483"/>
                    <a:pt x="1461" y="483"/>
                    <a:pt x="1461" y="483"/>
                  </a:cubicBezTo>
                  <a:cubicBezTo>
                    <a:pt x="1461" y="484"/>
                    <a:pt x="1461" y="484"/>
                    <a:pt x="1461" y="484"/>
                  </a:cubicBezTo>
                  <a:cubicBezTo>
                    <a:pt x="1462" y="484"/>
                    <a:pt x="1462" y="484"/>
                    <a:pt x="1462" y="484"/>
                  </a:cubicBezTo>
                  <a:cubicBezTo>
                    <a:pt x="1463" y="484"/>
                    <a:pt x="1463" y="484"/>
                    <a:pt x="1463" y="484"/>
                  </a:cubicBezTo>
                  <a:cubicBezTo>
                    <a:pt x="1464" y="484"/>
                    <a:pt x="1464" y="484"/>
                    <a:pt x="1464" y="484"/>
                  </a:cubicBezTo>
                  <a:cubicBezTo>
                    <a:pt x="1464" y="484"/>
                    <a:pt x="1464" y="484"/>
                    <a:pt x="1464" y="484"/>
                  </a:cubicBezTo>
                  <a:cubicBezTo>
                    <a:pt x="1464" y="484"/>
                    <a:pt x="1464" y="484"/>
                    <a:pt x="1464" y="484"/>
                  </a:cubicBezTo>
                  <a:cubicBezTo>
                    <a:pt x="1464" y="484"/>
                    <a:pt x="1464" y="484"/>
                    <a:pt x="1464" y="484"/>
                  </a:cubicBezTo>
                  <a:cubicBezTo>
                    <a:pt x="1464" y="484"/>
                    <a:pt x="1464" y="484"/>
                    <a:pt x="1464" y="484"/>
                  </a:cubicBezTo>
                  <a:cubicBezTo>
                    <a:pt x="1464" y="485"/>
                    <a:pt x="1464" y="485"/>
                    <a:pt x="1464" y="485"/>
                  </a:cubicBezTo>
                  <a:cubicBezTo>
                    <a:pt x="1464" y="485"/>
                    <a:pt x="1464" y="485"/>
                    <a:pt x="1464" y="485"/>
                  </a:cubicBezTo>
                  <a:cubicBezTo>
                    <a:pt x="1464" y="485"/>
                    <a:pt x="1464" y="485"/>
                    <a:pt x="1464" y="485"/>
                  </a:cubicBezTo>
                  <a:cubicBezTo>
                    <a:pt x="1464" y="485"/>
                    <a:pt x="1464" y="485"/>
                    <a:pt x="1464"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5" y="485"/>
                    <a:pt x="1465" y="485"/>
                    <a:pt x="1465"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6" y="485"/>
                    <a:pt x="1466" y="485"/>
                    <a:pt x="1466" y="485"/>
                  </a:cubicBezTo>
                  <a:cubicBezTo>
                    <a:pt x="1464" y="486"/>
                    <a:pt x="1464" y="486"/>
                    <a:pt x="1464" y="486"/>
                  </a:cubicBezTo>
                  <a:cubicBezTo>
                    <a:pt x="1462" y="489"/>
                    <a:pt x="1462" y="487"/>
                    <a:pt x="1461" y="488"/>
                  </a:cubicBezTo>
                  <a:cubicBezTo>
                    <a:pt x="1461" y="489"/>
                    <a:pt x="1461" y="489"/>
                    <a:pt x="1461" y="489"/>
                  </a:cubicBezTo>
                  <a:cubicBezTo>
                    <a:pt x="1461" y="489"/>
                    <a:pt x="1461" y="489"/>
                    <a:pt x="1461" y="489"/>
                  </a:cubicBezTo>
                  <a:cubicBezTo>
                    <a:pt x="1460" y="490"/>
                    <a:pt x="1460" y="490"/>
                    <a:pt x="1459" y="490"/>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9" y="491"/>
                    <a:pt x="1459" y="491"/>
                    <a:pt x="1459" y="491"/>
                  </a:cubicBezTo>
                  <a:cubicBezTo>
                    <a:pt x="1458" y="491"/>
                    <a:pt x="1458" y="491"/>
                    <a:pt x="1458" y="491"/>
                  </a:cubicBezTo>
                  <a:cubicBezTo>
                    <a:pt x="1458" y="491"/>
                    <a:pt x="1458" y="491"/>
                    <a:pt x="1458" y="491"/>
                  </a:cubicBezTo>
                  <a:cubicBezTo>
                    <a:pt x="1458" y="491"/>
                    <a:pt x="1458" y="491"/>
                    <a:pt x="1458" y="491"/>
                  </a:cubicBezTo>
                  <a:cubicBezTo>
                    <a:pt x="1458" y="491"/>
                    <a:pt x="1458" y="491"/>
                    <a:pt x="1458" y="491"/>
                  </a:cubicBezTo>
                  <a:cubicBezTo>
                    <a:pt x="1458" y="491"/>
                    <a:pt x="1458" y="491"/>
                    <a:pt x="1458"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7" y="491"/>
                    <a:pt x="1457" y="491"/>
                    <a:pt x="1457" y="491"/>
                  </a:cubicBezTo>
                  <a:cubicBezTo>
                    <a:pt x="1456" y="492"/>
                    <a:pt x="1456" y="492"/>
                    <a:pt x="1456" y="492"/>
                  </a:cubicBezTo>
                  <a:cubicBezTo>
                    <a:pt x="1456" y="492"/>
                    <a:pt x="1456" y="492"/>
                    <a:pt x="1456" y="492"/>
                  </a:cubicBezTo>
                  <a:cubicBezTo>
                    <a:pt x="1456" y="493"/>
                    <a:pt x="1456" y="493"/>
                    <a:pt x="1456" y="493"/>
                  </a:cubicBezTo>
                  <a:cubicBezTo>
                    <a:pt x="1456" y="493"/>
                    <a:pt x="1456" y="493"/>
                    <a:pt x="1456" y="493"/>
                  </a:cubicBezTo>
                  <a:cubicBezTo>
                    <a:pt x="1455" y="494"/>
                    <a:pt x="1455" y="494"/>
                    <a:pt x="1455" y="494"/>
                  </a:cubicBezTo>
                  <a:cubicBezTo>
                    <a:pt x="1455" y="494"/>
                    <a:pt x="1455" y="494"/>
                    <a:pt x="1455" y="494"/>
                  </a:cubicBezTo>
                  <a:cubicBezTo>
                    <a:pt x="1455" y="495"/>
                    <a:pt x="1455" y="495"/>
                    <a:pt x="1455" y="495"/>
                  </a:cubicBezTo>
                  <a:cubicBezTo>
                    <a:pt x="1455" y="495"/>
                    <a:pt x="1455" y="495"/>
                    <a:pt x="1455"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4" y="495"/>
                    <a:pt x="1454" y="495"/>
                    <a:pt x="1454" y="495"/>
                  </a:cubicBezTo>
                  <a:cubicBezTo>
                    <a:pt x="1453" y="496"/>
                    <a:pt x="1453" y="496"/>
                    <a:pt x="1453" y="496"/>
                  </a:cubicBezTo>
                  <a:cubicBezTo>
                    <a:pt x="1453" y="496"/>
                    <a:pt x="1453" y="496"/>
                    <a:pt x="1453" y="496"/>
                  </a:cubicBezTo>
                  <a:cubicBezTo>
                    <a:pt x="1453" y="496"/>
                    <a:pt x="1453" y="496"/>
                    <a:pt x="1453" y="496"/>
                  </a:cubicBezTo>
                  <a:cubicBezTo>
                    <a:pt x="1453" y="496"/>
                    <a:pt x="1453" y="496"/>
                    <a:pt x="1453" y="496"/>
                  </a:cubicBezTo>
                  <a:cubicBezTo>
                    <a:pt x="1453" y="497"/>
                    <a:pt x="1453" y="497"/>
                    <a:pt x="1453" y="497"/>
                  </a:cubicBezTo>
                  <a:cubicBezTo>
                    <a:pt x="1453" y="497"/>
                    <a:pt x="1453" y="497"/>
                    <a:pt x="1453" y="497"/>
                  </a:cubicBezTo>
                  <a:cubicBezTo>
                    <a:pt x="1452" y="498"/>
                    <a:pt x="1452" y="500"/>
                    <a:pt x="1451" y="501"/>
                  </a:cubicBezTo>
                  <a:cubicBezTo>
                    <a:pt x="1451" y="501"/>
                    <a:pt x="1451" y="501"/>
                    <a:pt x="1451" y="501"/>
                  </a:cubicBezTo>
                  <a:cubicBezTo>
                    <a:pt x="1450" y="501"/>
                    <a:pt x="1450" y="501"/>
                    <a:pt x="1450" y="501"/>
                  </a:cubicBezTo>
                  <a:cubicBezTo>
                    <a:pt x="1450" y="501"/>
                    <a:pt x="1450" y="501"/>
                    <a:pt x="1450" y="501"/>
                  </a:cubicBezTo>
                  <a:cubicBezTo>
                    <a:pt x="1451" y="500"/>
                    <a:pt x="1451" y="500"/>
                    <a:pt x="1451" y="500"/>
                  </a:cubicBezTo>
                  <a:cubicBezTo>
                    <a:pt x="1450" y="500"/>
                    <a:pt x="1450" y="500"/>
                    <a:pt x="1450" y="500"/>
                  </a:cubicBezTo>
                  <a:cubicBezTo>
                    <a:pt x="1450" y="500"/>
                    <a:pt x="1450" y="500"/>
                    <a:pt x="1450" y="500"/>
                  </a:cubicBezTo>
                  <a:cubicBezTo>
                    <a:pt x="1450" y="500"/>
                    <a:pt x="1450" y="500"/>
                    <a:pt x="1450" y="500"/>
                  </a:cubicBezTo>
                  <a:cubicBezTo>
                    <a:pt x="1450" y="500"/>
                    <a:pt x="1450" y="500"/>
                    <a:pt x="1450" y="500"/>
                  </a:cubicBezTo>
                  <a:cubicBezTo>
                    <a:pt x="1450" y="500"/>
                    <a:pt x="1450" y="500"/>
                    <a:pt x="1450" y="500"/>
                  </a:cubicBezTo>
                  <a:cubicBezTo>
                    <a:pt x="1449" y="500"/>
                    <a:pt x="1449" y="500"/>
                    <a:pt x="1449" y="500"/>
                  </a:cubicBezTo>
                  <a:cubicBezTo>
                    <a:pt x="1449" y="500"/>
                    <a:pt x="1449" y="500"/>
                    <a:pt x="1449" y="500"/>
                  </a:cubicBezTo>
                  <a:cubicBezTo>
                    <a:pt x="1449" y="500"/>
                    <a:pt x="1449" y="500"/>
                    <a:pt x="1449" y="500"/>
                  </a:cubicBezTo>
                  <a:cubicBezTo>
                    <a:pt x="1449" y="500"/>
                    <a:pt x="1449"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8" y="501"/>
                    <a:pt x="1448" y="501"/>
                    <a:pt x="1448" y="501"/>
                  </a:cubicBezTo>
                  <a:cubicBezTo>
                    <a:pt x="1447" y="501"/>
                    <a:pt x="1447" y="501"/>
                    <a:pt x="1447" y="501"/>
                  </a:cubicBezTo>
                  <a:cubicBezTo>
                    <a:pt x="1447" y="501"/>
                    <a:pt x="1447" y="501"/>
                    <a:pt x="1447" y="501"/>
                  </a:cubicBezTo>
                  <a:cubicBezTo>
                    <a:pt x="1447" y="500"/>
                    <a:pt x="1447" y="500"/>
                    <a:pt x="1447" y="500"/>
                  </a:cubicBezTo>
                  <a:cubicBezTo>
                    <a:pt x="1447" y="500"/>
                    <a:pt x="1447" y="500"/>
                    <a:pt x="1447" y="500"/>
                  </a:cubicBezTo>
                  <a:cubicBezTo>
                    <a:pt x="1447" y="500"/>
                    <a:pt x="1446" y="500"/>
                    <a:pt x="1446" y="500"/>
                  </a:cubicBezTo>
                  <a:cubicBezTo>
                    <a:pt x="1446" y="500"/>
                    <a:pt x="1446" y="500"/>
                    <a:pt x="1446" y="500"/>
                  </a:cubicBezTo>
                  <a:cubicBezTo>
                    <a:pt x="1446" y="500"/>
                    <a:pt x="1446" y="500"/>
                    <a:pt x="1446" y="500"/>
                  </a:cubicBezTo>
                  <a:cubicBezTo>
                    <a:pt x="1446" y="500"/>
                    <a:pt x="1446" y="500"/>
                    <a:pt x="1446" y="500"/>
                  </a:cubicBezTo>
                  <a:cubicBezTo>
                    <a:pt x="1446" y="501"/>
                    <a:pt x="1446" y="501"/>
                    <a:pt x="1446" y="501"/>
                  </a:cubicBezTo>
                  <a:cubicBezTo>
                    <a:pt x="1447" y="503"/>
                    <a:pt x="1447" y="503"/>
                    <a:pt x="1447" y="503"/>
                  </a:cubicBezTo>
                  <a:cubicBezTo>
                    <a:pt x="1448" y="505"/>
                    <a:pt x="1448" y="504"/>
                    <a:pt x="1448" y="506"/>
                  </a:cubicBezTo>
                  <a:cubicBezTo>
                    <a:pt x="1447" y="506"/>
                    <a:pt x="1447" y="506"/>
                    <a:pt x="1447" y="506"/>
                  </a:cubicBezTo>
                  <a:cubicBezTo>
                    <a:pt x="1447" y="507"/>
                    <a:pt x="1447" y="507"/>
                    <a:pt x="1447" y="507"/>
                  </a:cubicBezTo>
                  <a:cubicBezTo>
                    <a:pt x="1448" y="509"/>
                    <a:pt x="1448" y="508"/>
                    <a:pt x="1448" y="510"/>
                  </a:cubicBezTo>
                  <a:cubicBezTo>
                    <a:pt x="1448" y="511"/>
                    <a:pt x="1448" y="511"/>
                    <a:pt x="1448" y="511"/>
                  </a:cubicBezTo>
                  <a:cubicBezTo>
                    <a:pt x="1448" y="512"/>
                    <a:pt x="1448" y="512"/>
                    <a:pt x="1448" y="512"/>
                  </a:cubicBezTo>
                  <a:cubicBezTo>
                    <a:pt x="1448" y="512"/>
                    <a:pt x="1448" y="512"/>
                    <a:pt x="1448" y="512"/>
                  </a:cubicBezTo>
                  <a:cubicBezTo>
                    <a:pt x="1448" y="512"/>
                    <a:pt x="1448" y="512"/>
                    <a:pt x="1448" y="512"/>
                  </a:cubicBezTo>
                  <a:cubicBezTo>
                    <a:pt x="1449" y="512"/>
                    <a:pt x="1448" y="513"/>
                    <a:pt x="1449" y="513"/>
                  </a:cubicBezTo>
                  <a:cubicBezTo>
                    <a:pt x="1449" y="513"/>
                    <a:pt x="1449" y="513"/>
                    <a:pt x="1449" y="513"/>
                  </a:cubicBezTo>
                  <a:cubicBezTo>
                    <a:pt x="1449" y="513"/>
                    <a:pt x="1449" y="513"/>
                    <a:pt x="1449" y="513"/>
                  </a:cubicBezTo>
                  <a:cubicBezTo>
                    <a:pt x="1450" y="514"/>
                    <a:pt x="1450" y="514"/>
                    <a:pt x="1450" y="514"/>
                  </a:cubicBezTo>
                  <a:cubicBezTo>
                    <a:pt x="1451" y="514"/>
                    <a:pt x="1451" y="514"/>
                    <a:pt x="1451" y="514"/>
                  </a:cubicBezTo>
                  <a:cubicBezTo>
                    <a:pt x="1451" y="514"/>
                    <a:pt x="1451" y="514"/>
                    <a:pt x="1451" y="514"/>
                  </a:cubicBezTo>
                  <a:cubicBezTo>
                    <a:pt x="1451" y="514"/>
                    <a:pt x="1451" y="514"/>
                    <a:pt x="1451" y="514"/>
                  </a:cubicBezTo>
                  <a:cubicBezTo>
                    <a:pt x="1451" y="514"/>
                    <a:pt x="1451" y="514"/>
                    <a:pt x="1451" y="514"/>
                  </a:cubicBezTo>
                  <a:cubicBezTo>
                    <a:pt x="1451" y="513"/>
                    <a:pt x="1450" y="513"/>
                    <a:pt x="1449" y="512"/>
                  </a:cubicBezTo>
                  <a:cubicBezTo>
                    <a:pt x="1449" y="512"/>
                    <a:pt x="1449" y="512"/>
                    <a:pt x="1449" y="512"/>
                  </a:cubicBezTo>
                  <a:cubicBezTo>
                    <a:pt x="1449" y="512"/>
                    <a:pt x="1449" y="512"/>
                    <a:pt x="1449" y="512"/>
                  </a:cubicBezTo>
                  <a:cubicBezTo>
                    <a:pt x="1450" y="512"/>
                    <a:pt x="1450" y="512"/>
                    <a:pt x="1450" y="512"/>
                  </a:cubicBezTo>
                  <a:cubicBezTo>
                    <a:pt x="1451" y="512"/>
                    <a:pt x="1451" y="512"/>
                    <a:pt x="1451" y="512"/>
                  </a:cubicBezTo>
                  <a:cubicBezTo>
                    <a:pt x="1451" y="513"/>
                    <a:pt x="1451" y="513"/>
                    <a:pt x="1451" y="513"/>
                  </a:cubicBezTo>
                  <a:cubicBezTo>
                    <a:pt x="1451" y="513"/>
                    <a:pt x="1451" y="513"/>
                    <a:pt x="1451" y="513"/>
                  </a:cubicBezTo>
                  <a:cubicBezTo>
                    <a:pt x="1451" y="513"/>
                    <a:pt x="1451" y="513"/>
                    <a:pt x="1451" y="513"/>
                  </a:cubicBezTo>
                  <a:cubicBezTo>
                    <a:pt x="1453" y="514"/>
                    <a:pt x="1452" y="515"/>
                    <a:pt x="1454" y="515"/>
                  </a:cubicBezTo>
                  <a:cubicBezTo>
                    <a:pt x="1454" y="516"/>
                    <a:pt x="1454" y="516"/>
                    <a:pt x="1454" y="516"/>
                  </a:cubicBezTo>
                  <a:cubicBezTo>
                    <a:pt x="1454" y="516"/>
                    <a:pt x="1454" y="516"/>
                    <a:pt x="1454" y="516"/>
                  </a:cubicBezTo>
                  <a:cubicBezTo>
                    <a:pt x="1454" y="516"/>
                    <a:pt x="1454" y="516"/>
                    <a:pt x="1454" y="516"/>
                  </a:cubicBezTo>
                  <a:cubicBezTo>
                    <a:pt x="1454" y="516"/>
                    <a:pt x="1455" y="516"/>
                    <a:pt x="1455" y="516"/>
                  </a:cubicBezTo>
                  <a:cubicBezTo>
                    <a:pt x="1455" y="516"/>
                    <a:pt x="1455" y="516"/>
                    <a:pt x="1455" y="516"/>
                  </a:cubicBezTo>
                  <a:cubicBezTo>
                    <a:pt x="1455" y="517"/>
                    <a:pt x="1455" y="517"/>
                    <a:pt x="1455"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6" y="517"/>
                    <a:pt x="1456" y="517"/>
                    <a:pt x="1456"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7"/>
                  </a:cubicBezTo>
                  <a:cubicBezTo>
                    <a:pt x="1457" y="517"/>
                    <a:pt x="1457" y="517"/>
                    <a:pt x="1457" y="518"/>
                  </a:cubicBezTo>
                  <a:cubicBezTo>
                    <a:pt x="1457" y="518"/>
                    <a:pt x="1457" y="518"/>
                    <a:pt x="1457" y="518"/>
                  </a:cubicBezTo>
                  <a:cubicBezTo>
                    <a:pt x="1457" y="518"/>
                    <a:pt x="1457" y="518"/>
                    <a:pt x="1457" y="518"/>
                  </a:cubicBezTo>
                  <a:cubicBezTo>
                    <a:pt x="1458" y="518"/>
                    <a:pt x="1458" y="518"/>
                    <a:pt x="1458" y="518"/>
                  </a:cubicBezTo>
                  <a:cubicBezTo>
                    <a:pt x="1458" y="518"/>
                    <a:pt x="1458" y="518"/>
                    <a:pt x="1458" y="518"/>
                  </a:cubicBezTo>
                  <a:cubicBezTo>
                    <a:pt x="1459" y="519"/>
                    <a:pt x="1459" y="519"/>
                    <a:pt x="1459" y="519"/>
                  </a:cubicBezTo>
                  <a:cubicBezTo>
                    <a:pt x="1459" y="519"/>
                    <a:pt x="1459" y="519"/>
                    <a:pt x="1459" y="519"/>
                  </a:cubicBezTo>
                  <a:cubicBezTo>
                    <a:pt x="1459" y="519"/>
                    <a:pt x="1459" y="519"/>
                    <a:pt x="1459" y="519"/>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59" y="520"/>
                    <a:pt x="1459" y="520"/>
                    <a:pt x="1459" y="520"/>
                  </a:cubicBezTo>
                  <a:cubicBezTo>
                    <a:pt x="1460" y="520"/>
                    <a:pt x="1460" y="520"/>
                    <a:pt x="1460" y="520"/>
                  </a:cubicBezTo>
                  <a:cubicBezTo>
                    <a:pt x="1460" y="520"/>
                    <a:pt x="1460" y="520"/>
                    <a:pt x="1460" y="520"/>
                  </a:cubicBezTo>
                  <a:cubicBezTo>
                    <a:pt x="1460" y="520"/>
                    <a:pt x="1460" y="520"/>
                    <a:pt x="1460" y="520"/>
                  </a:cubicBezTo>
                  <a:cubicBezTo>
                    <a:pt x="1460" y="521"/>
                    <a:pt x="1461" y="521"/>
                    <a:pt x="1461" y="521"/>
                  </a:cubicBezTo>
                  <a:cubicBezTo>
                    <a:pt x="1461" y="521"/>
                    <a:pt x="1461" y="521"/>
                    <a:pt x="1461" y="521"/>
                  </a:cubicBezTo>
                  <a:cubicBezTo>
                    <a:pt x="1462" y="521"/>
                    <a:pt x="1462" y="521"/>
                    <a:pt x="1462" y="521"/>
                  </a:cubicBezTo>
                  <a:cubicBezTo>
                    <a:pt x="1462" y="521"/>
                    <a:pt x="1462" y="521"/>
                    <a:pt x="1462" y="521"/>
                  </a:cubicBezTo>
                  <a:cubicBezTo>
                    <a:pt x="1462" y="521"/>
                    <a:pt x="1462" y="521"/>
                    <a:pt x="1462" y="521"/>
                  </a:cubicBezTo>
                  <a:cubicBezTo>
                    <a:pt x="1462" y="521"/>
                    <a:pt x="1462" y="521"/>
                    <a:pt x="1462" y="521"/>
                  </a:cubicBezTo>
                  <a:cubicBezTo>
                    <a:pt x="1462" y="521"/>
                    <a:pt x="1462" y="521"/>
                    <a:pt x="1462" y="521"/>
                  </a:cubicBezTo>
                  <a:cubicBezTo>
                    <a:pt x="1463" y="521"/>
                    <a:pt x="1463" y="521"/>
                    <a:pt x="1463" y="521"/>
                  </a:cubicBezTo>
                  <a:cubicBezTo>
                    <a:pt x="1464" y="522"/>
                    <a:pt x="1465" y="523"/>
                    <a:pt x="1466" y="523"/>
                  </a:cubicBezTo>
                  <a:cubicBezTo>
                    <a:pt x="1467" y="523"/>
                    <a:pt x="1467" y="523"/>
                    <a:pt x="1467" y="523"/>
                  </a:cubicBezTo>
                  <a:cubicBezTo>
                    <a:pt x="1467" y="523"/>
                    <a:pt x="1467" y="523"/>
                    <a:pt x="1467" y="523"/>
                  </a:cubicBezTo>
                  <a:cubicBezTo>
                    <a:pt x="1469" y="523"/>
                    <a:pt x="1469" y="525"/>
                    <a:pt x="1470" y="525"/>
                  </a:cubicBezTo>
                  <a:cubicBezTo>
                    <a:pt x="1470" y="525"/>
                    <a:pt x="1470" y="525"/>
                    <a:pt x="1470" y="525"/>
                  </a:cubicBezTo>
                  <a:cubicBezTo>
                    <a:pt x="1470" y="525"/>
                    <a:pt x="1470" y="525"/>
                    <a:pt x="1470" y="525"/>
                  </a:cubicBezTo>
                  <a:cubicBezTo>
                    <a:pt x="1471" y="525"/>
                    <a:pt x="1471" y="525"/>
                    <a:pt x="1471" y="525"/>
                  </a:cubicBezTo>
                  <a:cubicBezTo>
                    <a:pt x="1471" y="525"/>
                    <a:pt x="1471" y="525"/>
                    <a:pt x="1471" y="525"/>
                  </a:cubicBezTo>
                  <a:cubicBezTo>
                    <a:pt x="1471" y="525"/>
                    <a:pt x="1471" y="525"/>
                    <a:pt x="1471" y="525"/>
                  </a:cubicBezTo>
                  <a:cubicBezTo>
                    <a:pt x="1471" y="526"/>
                    <a:pt x="1472" y="526"/>
                    <a:pt x="1472" y="527"/>
                  </a:cubicBezTo>
                  <a:cubicBezTo>
                    <a:pt x="1472" y="527"/>
                    <a:pt x="1472" y="527"/>
                    <a:pt x="1472" y="527"/>
                  </a:cubicBezTo>
                  <a:cubicBezTo>
                    <a:pt x="1472" y="527"/>
                    <a:pt x="1472" y="527"/>
                    <a:pt x="1472" y="527"/>
                  </a:cubicBezTo>
                  <a:cubicBezTo>
                    <a:pt x="1472" y="528"/>
                    <a:pt x="1472" y="528"/>
                    <a:pt x="1472" y="528"/>
                  </a:cubicBezTo>
                  <a:cubicBezTo>
                    <a:pt x="1472" y="528"/>
                    <a:pt x="1472" y="528"/>
                    <a:pt x="1472" y="528"/>
                  </a:cubicBezTo>
                  <a:cubicBezTo>
                    <a:pt x="1472" y="528"/>
                    <a:pt x="1472" y="528"/>
                    <a:pt x="1472"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3" y="528"/>
                    <a:pt x="1473" y="528"/>
                    <a:pt x="1473" y="528"/>
                  </a:cubicBezTo>
                  <a:cubicBezTo>
                    <a:pt x="1474" y="529"/>
                    <a:pt x="1474" y="529"/>
                    <a:pt x="1474" y="529"/>
                  </a:cubicBezTo>
                  <a:cubicBezTo>
                    <a:pt x="1475" y="529"/>
                    <a:pt x="1475" y="529"/>
                    <a:pt x="1475" y="529"/>
                  </a:cubicBezTo>
                  <a:cubicBezTo>
                    <a:pt x="1475" y="529"/>
                    <a:pt x="1475" y="529"/>
                    <a:pt x="1475" y="529"/>
                  </a:cubicBezTo>
                  <a:cubicBezTo>
                    <a:pt x="1475" y="530"/>
                    <a:pt x="1476" y="530"/>
                    <a:pt x="1476" y="530"/>
                  </a:cubicBezTo>
                  <a:cubicBezTo>
                    <a:pt x="1476" y="530"/>
                    <a:pt x="1476" y="530"/>
                    <a:pt x="1476" y="530"/>
                  </a:cubicBezTo>
                  <a:cubicBezTo>
                    <a:pt x="1477" y="530"/>
                    <a:pt x="1477" y="530"/>
                    <a:pt x="1477" y="530"/>
                  </a:cubicBezTo>
                  <a:cubicBezTo>
                    <a:pt x="1477" y="530"/>
                    <a:pt x="1477" y="530"/>
                    <a:pt x="1477" y="530"/>
                  </a:cubicBezTo>
                  <a:cubicBezTo>
                    <a:pt x="1477" y="531"/>
                    <a:pt x="1477" y="531"/>
                    <a:pt x="1477" y="531"/>
                  </a:cubicBezTo>
                  <a:cubicBezTo>
                    <a:pt x="1477" y="531"/>
                    <a:pt x="1477" y="531"/>
                    <a:pt x="1477" y="531"/>
                  </a:cubicBezTo>
                  <a:cubicBezTo>
                    <a:pt x="1477" y="531"/>
                    <a:pt x="1477" y="531"/>
                    <a:pt x="1477" y="531"/>
                  </a:cubicBezTo>
                  <a:cubicBezTo>
                    <a:pt x="1477" y="531"/>
                    <a:pt x="1477" y="531"/>
                    <a:pt x="1477" y="531"/>
                  </a:cubicBezTo>
                  <a:cubicBezTo>
                    <a:pt x="1478" y="531"/>
                    <a:pt x="1478" y="531"/>
                    <a:pt x="1478" y="531"/>
                  </a:cubicBezTo>
                  <a:cubicBezTo>
                    <a:pt x="1478" y="531"/>
                    <a:pt x="1478" y="531"/>
                    <a:pt x="1478" y="531"/>
                  </a:cubicBezTo>
                  <a:cubicBezTo>
                    <a:pt x="1478" y="531"/>
                    <a:pt x="1478" y="531"/>
                    <a:pt x="1478" y="531"/>
                  </a:cubicBezTo>
                  <a:cubicBezTo>
                    <a:pt x="1478" y="531"/>
                    <a:pt x="1478" y="531"/>
                    <a:pt x="1478" y="531"/>
                  </a:cubicBezTo>
                  <a:cubicBezTo>
                    <a:pt x="1478" y="531"/>
                    <a:pt x="1478" y="531"/>
                    <a:pt x="1478" y="531"/>
                  </a:cubicBezTo>
                  <a:cubicBezTo>
                    <a:pt x="1478" y="532"/>
                    <a:pt x="1478" y="532"/>
                    <a:pt x="1478" y="532"/>
                  </a:cubicBezTo>
                  <a:cubicBezTo>
                    <a:pt x="1478" y="532"/>
                    <a:pt x="1478" y="532"/>
                    <a:pt x="1478" y="532"/>
                  </a:cubicBezTo>
                  <a:cubicBezTo>
                    <a:pt x="1479" y="532"/>
                    <a:pt x="1479" y="532"/>
                    <a:pt x="1479" y="532"/>
                  </a:cubicBezTo>
                  <a:cubicBezTo>
                    <a:pt x="1479" y="532"/>
                    <a:pt x="1479" y="532"/>
                    <a:pt x="1479" y="532"/>
                  </a:cubicBezTo>
                  <a:cubicBezTo>
                    <a:pt x="1479" y="532"/>
                    <a:pt x="1479" y="532"/>
                    <a:pt x="1479" y="532"/>
                  </a:cubicBezTo>
                  <a:cubicBezTo>
                    <a:pt x="1479" y="532"/>
                    <a:pt x="1479" y="532"/>
                    <a:pt x="1479" y="532"/>
                  </a:cubicBezTo>
                  <a:cubicBezTo>
                    <a:pt x="1479" y="532"/>
                    <a:pt x="1479" y="532"/>
                    <a:pt x="1479" y="532"/>
                  </a:cubicBezTo>
                  <a:cubicBezTo>
                    <a:pt x="1479" y="533"/>
                    <a:pt x="1479" y="533"/>
                    <a:pt x="1479" y="533"/>
                  </a:cubicBezTo>
                  <a:cubicBezTo>
                    <a:pt x="1479" y="533"/>
                    <a:pt x="1479" y="533"/>
                    <a:pt x="1479" y="533"/>
                  </a:cubicBezTo>
                  <a:cubicBezTo>
                    <a:pt x="1479" y="534"/>
                    <a:pt x="1479" y="534"/>
                    <a:pt x="1479" y="534"/>
                  </a:cubicBezTo>
                  <a:cubicBezTo>
                    <a:pt x="1479" y="534"/>
                    <a:pt x="1479" y="534"/>
                    <a:pt x="1479" y="534"/>
                  </a:cubicBezTo>
                  <a:cubicBezTo>
                    <a:pt x="1480" y="534"/>
                    <a:pt x="1480" y="534"/>
                    <a:pt x="1480" y="534"/>
                  </a:cubicBezTo>
                  <a:cubicBezTo>
                    <a:pt x="1480" y="534"/>
                    <a:pt x="1480" y="534"/>
                    <a:pt x="1480" y="534"/>
                  </a:cubicBezTo>
                  <a:cubicBezTo>
                    <a:pt x="1481" y="535"/>
                    <a:pt x="1481" y="535"/>
                    <a:pt x="1481" y="535"/>
                  </a:cubicBezTo>
                  <a:cubicBezTo>
                    <a:pt x="1481" y="535"/>
                    <a:pt x="1481" y="535"/>
                    <a:pt x="1481" y="535"/>
                  </a:cubicBezTo>
                  <a:cubicBezTo>
                    <a:pt x="1481" y="535"/>
                    <a:pt x="1481" y="535"/>
                    <a:pt x="1481" y="536"/>
                  </a:cubicBezTo>
                  <a:cubicBezTo>
                    <a:pt x="1481" y="536"/>
                    <a:pt x="1481" y="536"/>
                    <a:pt x="1481" y="536"/>
                  </a:cubicBezTo>
                  <a:cubicBezTo>
                    <a:pt x="1481" y="536"/>
                    <a:pt x="1481" y="536"/>
                    <a:pt x="1481" y="536"/>
                  </a:cubicBezTo>
                  <a:cubicBezTo>
                    <a:pt x="1481" y="536"/>
                    <a:pt x="1481" y="536"/>
                    <a:pt x="1481" y="536"/>
                  </a:cubicBezTo>
                  <a:cubicBezTo>
                    <a:pt x="1482" y="536"/>
                    <a:pt x="1482" y="536"/>
                    <a:pt x="1482" y="536"/>
                  </a:cubicBezTo>
                  <a:cubicBezTo>
                    <a:pt x="1482" y="537"/>
                    <a:pt x="1482" y="537"/>
                    <a:pt x="1482" y="537"/>
                  </a:cubicBezTo>
                  <a:cubicBezTo>
                    <a:pt x="1482" y="538"/>
                    <a:pt x="1483" y="538"/>
                    <a:pt x="1483" y="539"/>
                  </a:cubicBezTo>
                  <a:cubicBezTo>
                    <a:pt x="1483" y="539"/>
                    <a:pt x="1483" y="539"/>
                    <a:pt x="1483" y="539"/>
                  </a:cubicBezTo>
                  <a:cubicBezTo>
                    <a:pt x="1483" y="539"/>
                    <a:pt x="1483" y="539"/>
                    <a:pt x="1483" y="539"/>
                  </a:cubicBezTo>
                  <a:cubicBezTo>
                    <a:pt x="1484" y="540"/>
                    <a:pt x="1485" y="541"/>
                    <a:pt x="1485" y="542"/>
                  </a:cubicBezTo>
                  <a:cubicBezTo>
                    <a:pt x="1485" y="542"/>
                    <a:pt x="1485" y="542"/>
                    <a:pt x="1485" y="542"/>
                  </a:cubicBezTo>
                  <a:cubicBezTo>
                    <a:pt x="1486" y="542"/>
                    <a:pt x="1486" y="542"/>
                    <a:pt x="1486" y="542"/>
                  </a:cubicBezTo>
                  <a:cubicBezTo>
                    <a:pt x="1486" y="542"/>
                    <a:pt x="1486" y="542"/>
                    <a:pt x="1486" y="542"/>
                  </a:cubicBezTo>
                  <a:cubicBezTo>
                    <a:pt x="1486" y="542"/>
                    <a:pt x="1486" y="542"/>
                    <a:pt x="1486" y="542"/>
                  </a:cubicBezTo>
                  <a:cubicBezTo>
                    <a:pt x="1486" y="543"/>
                    <a:pt x="1486" y="543"/>
                    <a:pt x="1486" y="543"/>
                  </a:cubicBezTo>
                  <a:cubicBezTo>
                    <a:pt x="1486" y="543"/>
                    <a:pt x="1486" y="543"/>
                    <a:pt x="1486" y="543"/>
                  </a:cubicBezTo>
                  <a:cubicBezTo>
                    <a:pt x="1487" y="545"/>
                    <a:pt x="1486" y="544"/>
                    <a:pt x="1487" y="546"/>
                  </a:cubicBezTo>
                  <a:cubicBezTo>
                    <a:pt x="1487" y="547"/>
                    <a:pt x="1487" y="547"/>
                    <a:pt x="1487" y="547"/>
                  </a:cubicBezTo>
                  <a:cubicBezTo>
                    <a:pt x="1487" y="547"/>
                    <a:pt x="1487" y="547"/>
                    <a:pt x="1487" y="547"/>
                  </a:cubicBezTo>
                  <a:cubicBezTo>
                    <a:pt x="1488" y="548"/>
                    <a:pt x="1488" y="548"/>
                    <a:pt x="1488" y="550"/>
                  </a:cubicBezTo>
                  <a:cubicBezTo>
                    <a:pt x="1488" y="550"/>
                    <a:pt x="1488" y="550"/>
                    <a:pt x="1488" y="550"/>
                  </a:cubicBezTo>
                  <a:cubicBezTo>
                    <a:pt x="1488" y="550"/>
                    <a:pt x="1488" y="550"/>
                    <a:pt x="1488" y="550"/>
                  </a:cubicBezTo>
                  <a:cubicBezTo>
                    <a:pt x="1488" y="550"/>
                    <a:pt x="1488" y="550"/>
                    <a:pt x="1488" y="550"/>
                  </a:cubicBezTo>
                  <a:cubicBezTo>
                    <a:pt x="1489" y="550"/>
                    <a:pt x="1489" y="550"/>
                    <a:pt x="1489" y="550"/>
                  </a:cubicBezTo>
                  <a:cubicBezTo>
                    <a:pt x="1489" y="550"/>
                    <a:pt x="1489" y="550"/>
                    <a:pt x="1489" y="550"/>
                  </a:cubicBezTo>
                  <a:cubicBezTo>
                    <a:pt x="1489" y="551"/>
                    <a:pt x="1489" y="550"/>
                    <a:pt x="1489" y="551"/>
                  </a:cubicBezTo>
                  <a:cubicBezTo>
                    <a:pt x="1489" y="551"/>
                    <a:pt x="1489" y="551"/>
                    <a:pt x="1489" y="551"/>
                  </a:cubicBezTo>
                  <a:cubicBezTo>
                    <a:pt x="1489" y="551"/>
                    <a:pt x="1489" y="551"/>
                    <a:pt x="1489" y="551"/>
                  </a:cubicBezTo>
                  <a:cubicBezTo>
                    <a:pt x="1489" y="552"/>
                    <a:pt x="1490" y="552"/>
                    <a:pt x="1490" y="553"/>
                  </a:cubicBezTo>
                  <a:cubicBezTo>
                    <a:pt x="1490" y="553"/>
                    <a:pt x="1490" y="553"/>
                    <a:pt x="1490" y="553"/>
                  </a:cubicBezTo>
                  <a:cubicBezTo>
                    <a:pt x="1490" y="553"/>
                    <a:pt x="1490" y="553"/>
                    <a:pt x="1490" y="553"/>
                  </a:cubicBezTo>
                  <a:cubicBezTo>
                    <a:pt x="1490" y="553"/>
                    <a:pt x="1490" y="553"/>
                    <a:pt x="1490" y="553"/>
                  </a:cubicBezTo>
                  <a:cubicBezTo>
                    <a:pt x="1490" y="553"/>
                    <a:pt x="1490" y="553"/>
                    <a:pt x="1490" y="553"/>
                  </a:cubicBezTo>
                  <a:cubicBezTo>
                    <a:pt x="1490" y="554"/>
                    <a:pt x="1491" y="554"/>
                    <a:pt x="1491" y="554"/>
                  </a:cubicBezTo>
                  <a:cubicBezTo>
                    <a:pt x="1491" y="555"/>
                    <a:pt x="1491" y="555"/>
                    <a:pt x="1491" y="555"/>
                  </a:cubicBezTo>
                  <a:cubicBezTo>
                    <a:pt x="1491" y="555"/>
                    <a:pt x="1491" y="555"/>
                    <a:pt x="1491" y="555"/>
                  </a:cubicBezTo>
                  <a:cubicBezTo>
                    <a:pt x="1491" y="555"/>
                    <a:pt x="1491" y="555"/>
                    <a:pt x="1491" y="556"/>
                  </a:cubicBezTo>
                  <a:cubicBezTo>
                    <a:pt x="1491" y="556"/>
                    <a:pt x="1491" y="556"/>
                    <a:pt x="1491" y="556"/>
                  </a:cubicBezTo>
                  <a:cubicBezTo>
                    <a:pt x="1491" y="556"/>
                    <a:pt x="1491" y="556"/>
                    <a:pt x="1491" y="556"/>
                  </a:cubicBezTo>
                  <a:cubicBezTo>
                    <a:pt x="1491" y="556"/>
                    <a:pt x="1491" y="556"/>
                    <a:pt x="1491" y="556"/>
                  </a:cubicBezTo>
                  <a:cubicBezTo>
                    <a:pt x="1491" y="556"/>
                    <a:pt x="1491" y="556"/>
                    <a:pt x="1491" y="556"/>
                  </a:cubicBezTo>
                  <a:cubicBezTo>
                    <a:pt x="1491" y="556"/>
                    <a:pt x="1491" y="556"/>
                    <a:pt x="1491" y="556"/>
                  </a:cubicBezTo>
                  <a:cubicBezTo>
                    <a:pt x="1491" y="557"/>
                    <a:pt x="1491" y="557"/>
                    <a:pt x="1491" y="557"/>
                  </a:cubicBezTo>
                  <a:cubicBezTo>
                    <a:pt x="1491" y="557"/>
                    <a:pt x="1491" y="557"/>
                    <a:pt x="1491" y="557"/>
                  </a:cubicBezTo>
                  <a:cubicBezTo>
                    <a:pt x="1492" y="557"/>
                    <a:pt x="1492" y="557"/>
                    <a:pt x="1492" y="557"/>
                  </a:cubicBezTo>
                  <a:cubicBezTo>
                    <a:pt x="1492" y="557"/>
                    <a:pt x="1492" y="557"/>
                    <a:pt x="1492" y="557"/>
                  </a:cubicBezTo>
                  <a:cubicBezTo>
                    <a:pt x="1492" y="557"/>
                    <a:pt x="1492" y="557"/>
                    <a:pt x="1492" y="557"/>
                  </a:cubicBezTo>
                  <a:cubicBezTo>
                    <a:pt x="1492" y="557"/>
                    <a:pt x="1492" y="557"/>
                    <a:pt x="1492" y="557"/>
                  </a:cubicBezTo>
                  <a:cubicBezTo>
                    <a:pt x="1492" y="559"/>
                    <a:pt x="1493" y="559"/>
                    <a:pt x="1492" y="560"/>
                  </a:cubicBezTo>
                  <a:cubicBezTo>
                    <a:pt x="1492" y="561"/>
                    <a:pt x="1492" y="561"/>
                    <a:pt x="1492" y="561"/>
                  </a:cubicBezTo>
                  <a:cubicBezTo>
                    <a:pt x="1492" y="561"/>
                    <a:pt x="1492" y="561"/>
                    <a:pt x="1492" y="561"/>
                  </a:cubicBezTo>
                  <a:cubicBezTo>
                    <a:pt x="1492" y="561"/>
                    <a:pt x="1492" y="561"/>
                    <a:pt x="1492" y="561"/>
                  </a:cubicBezTo>
                  <a:cubicBezTo>
                    <a:pt x="1492" y="561"/>
                    <a:pt x="1493" y="562"/>
                    <a:pt x="1493" y="562"/>
                  </a:cubicBezTo>
                  <a:cubicBezTo>
                    <a:pt x="1493" y="562"/>
                    <a:pt x="1493" y="562"/>
                    <a:pt x="1493" y="562"/>
                  </a:cubicBezTo>
                  <a:cubicBezTo>
                    <a:pt x="1493" y="562"/>
                    <a:pt x="1493" y="562"/>
                    <a:pt x="1493" y="562"/>
                  </a:cubicBezTo>
                  <a:cubicBezTo>
                    <a:pt x="1493" y="563"/>
                    <a:pt x="1493" y="564"/>
                    <a:pt x="1493" y="565"/>
                  </a:cubicBezTo>
                  <a:cubicBezTo>
                    <a:pt x="1492" y="565"/>
                    <a:pt x="1492" y="565"/>
                    <a:pt x="1492" y="565"/>
                  </a:cubicBezTo>
                  <a:cubicBezTo>
                    <a:pt x="1492" y="565"/>
                    <a:pt x="1492" y="565"/>
                    <a:pt x="1492" y="565"/>
                  </a:cubicBezTo>
                  <a:cubicBezTo>
                    <a:pt x="1492" y="566"/>
                    <a:pt x="1492" y="566"/>
                    <a:pt x="1492" y="566"/>
                  </a:cubicBezTo>
                  <a:cubicBezTo>
                    <a:pt x="1493" y="568"/>
                    <a:pt x="1493" y="570"/>
                    <a:pt x="1493" y="572"/>
                  </a:cubicBezTo>
                  <a:cubicBezTo>
                    <a:pt x="1493" y="572"/>
                    <a:pt x="1493" y="572"/>
                    <a:pt x="1493" y="572"/>
                  </a:cubicBezTo>
                  <a:cubicBezTo>
                    <a:pt x="1493" y="572"/>
                    <a:pt x="1493" y="572"/>
                    <a:pt x="1493" y="572"/>
                  </a:cubicBezTo>
                  <a:cubicBezTo>
                    <a:pt x="1493" y="572"/>
                    <a:pt x="1493" y="572"/>
                    <a:pt x="1493" y="572"/>
                  </a:cubicBezTo>
                  <a:cubicBezTo>
                    <a:pt x="1494" y="572"/>
                    <a:pt x="1494" y="572"/>
                    <a:pt x="1494" y="572"/>
                  </a:cubicBezTo>
                  <a:cubicBezTo>
                    <a:pt x="1494" y="575"/>
                    <a:pt x="1493" y="577"/>
                    <a:pt x="1493" y="580"/>
                  </a:cubicBezTo>
                  <a:cubicBezTo>
                    <a:pt x="1493" y="580"/>
                    <a:pt x="1493" y="580"/>
                    <a:pt x="1493" y="580"/>
                  </a:cubicBezTo>
                  <a:cubicBezTo>
                    <a:pt x="1493" y="580"/>
                    <a:pt x="1493" y="580"/>
                    <a:pt x="1493" y="580"/>
                  </a:cubicBezTo>
                  <a:cubicBezTo>
                    <a:pt x="1493" y="580"/>
                    <a:pt x="1493" y="580"/>
                    <a:pt x="1493" y="580"/>
                  </a:cubicBezTo>
                  <a:cubicBezTo>
                    <a:pt x="1493" y="582"/>
                    <a:pt x="1493" y="582"/>
                    <a:pt x="1493" y="584"/>
                  </a:cubicBezTo>
                  <a:cubicBezTo>
                    <a:pt x="1493" y="584"/>
                    <a:pt x="1493" y="584"/>
                    <a:pt x="1493" y="584"/>
                  </a:cubicBezTo>
                  <a:cubicBezTo>
                    <a:pt x="1493" y="584"/>
                    <a:pt x="1493" y="584"/>
                    <a:pt x="1493" y="584"/>
                  </a:cubicBezTo>
                  <a:cubicBezTo>
                    <a:pt x="1493" y="586"/>
                    <a:pt x="1493" y="587"/>
                    <a:pt x="1493" y="589"/>
                  </a:cubicBezTo>
                  <a:cubicBezTo>
                    <a:pt x="1493" y="589"/>
                    <a:pt x="1493" y="589"/>
                    <a:pt x="1493" y="589"/>
                  </a:cubicBezTo>
                  <a:cubicBezTo>
                    <a:pt x="1492" y="590"/>
                    <a:pt x="1492" y="590"/>
                    <a:pt x="1492" y="590"/>
                  </a:cubicBezTo>
                  <a:cubicBezTo>
                    <a:pt x="1491" y="593"/>
                    <a:pt x="1491" y="593"/>
                    <a:pt x="1491" y="593"/>
                  </a:cubicBezTo>
                  <a:cubicBezTo>
                    <a:pt x="1491" y="594"/>
                    <a:pt x="1491" y="594"/>
                    <a:pt x="1491" y="594"/>
                  </a:cubicBezTo>
                  <a:cubicBezTo>
                    <a:pt x="1491" y="595"/>
                    <a:pt x="1491" y="595"/>
                    <a:pt x="1491" y="595"/>
                  </a:cubicBezTo>
                  <a:cubicBezTo>
                    <a:pt x="1491" y="595"/>
                    <a:pt x="1491" y="595"/>
                    <a:pt x="1491" y="595"/>
                  </a:cubicBezTo>
                  <a:cubicBezTo>
                    <a:pt x="1491" y="595"/>
                    <a:pt x="1491" y="595"/>
                    <a:pt x="1491" y="595"/>
                  </a:cubicBezTo>
                  <a:cubicBezTo>
                    <a:pt x="1491" y="595"/>
                    <a:pt x="1491" y="595"/>
                    <a:pt x="1491" y="595"/>
                  </a:cubicBezTo>
                  <a:cubicBezTo>
                    <a:pt x="1491" y="595"/>
                    <a:pt x="1491" y="595"/>
                    <a:pt x="1491" y="595"/>
                  </a:cubicBezTo>
                  <a:cubicBezTo>
                    <a:pt x="1491" y="595"/>
                    <a:pt x="1490" y="596"/>
                    <a:pt x="1490" y="596"/>
                  </a:cubicBezTo>
                  <a:cubicBezTo>
                    <a:pt x="1490" y="596"/>
                    <a:pt x="1490" y="596"/>
                    <a:pt x="1490" y="596"/>
                  </a:cubicBezTo>
                  <a:cubicBezTo>
                    <a:pt x="1490" y="596"/>
                    <a:pt x="1490" y="596"/>
                    <a:pt x="1490" y="596"/>
                  </a:cubicBezTo>
                  <a:cubicBezTo>
                    <a:pt x="1490" y="597"/>
                    <a:pt x="1490" y="597"/>
                    <a:pt x="1490" y="598"/>
                  </a:cubicBezTo>
                  <a:cubicBezTo>
                    <a:pt x="1490" y="598"/>
                    <a:pt x="1490" y="598"/>
                    <a:pt x="1490" y="598"/>
                  </a:cubicBezTo>
                  <a:cubicBezTo>
                    <a:pt x="1489" y="598"/>
                    <a:pt x="1489" y="598"/>
                    <a:pt x="1489" y="598"/>
                  </a:cubicBezTo>
                  <a:cubicBezTo>
                    <a:pt x="1489" y="598"/>
                    <a:pt x="1489" y="598"/>
                    <a:pt x="1489" y="598"/>
                  </a:cubicBezTo>
                  <a:cubicBezTo>
                    <a:pt x="1489" y="598"/>
                    <a:pt x="1489" y="598"/>
                    <a:pt x="1489" y="598"/>
                  </a:cubicBezTo>
                  <a:cubicBezTo>
                    <a:pt x="1489" y="599"/>
                    <a:pt x="1488" y="599"/>
                    <a:pt x="1487" y="600"/>
                  </a:cubicBezTo>
                  <a:cubicBezTo>
                    <a:pt x="1486" y="600"/>
                    <a:pt x="1486" y="600"/>
                    <a:pt x="1486" y="600"/>
                  </a:cubicBezTo>
                  <a:cubicBezTo>
                    <a:pt x="1486" y="601"/>
                    <a:pt x="1486" y="601"/>
                    <a:pt x="1486" y="601"/>
                  </a:cubicBezTo>
                  <a:cubicBezTo>
                    <a:pt x="1486" y="601"/>
                    <a:pt x="1485" y="602"/>
                    <a:pt x="1485" y="602"/>
                  </a:cubicBezTo>
                  <a:cubicBezTo>
                    <a:pt x="1485" y="602"/>
                    <a:pt x="1485" y="602"/>
                    <a:pt x="1485" y="602"/>
                  </a:cubicBezTo>
                  <a:cubicBezTo>
                    <a:pt x="1484" y="602"/>
                    <a:pt x="1484" y="602"/>
                    <a:pt x="1484" y="602"/>
                  </a:cubicBezTo>
                  <a:cubicBezTo>
                    <a:pt x="1484" y="603"/>
                    <a:pt x="1484" y="603"/>
                    <a:pt x="1484" y="603"/>
                  </a:cubicBezTo>
                  <a:cubicBezTo>
                    <a:pt x="1484" y="603"/>
                    <a:pt x="1484" y="603"/>
                    <a:pt x="1484" y="603"/>
                  </a:cubicBezTo>
                  <a:cubicBezTo>
                    <a:pt x="1482" y="604"/>
                    <a:pt x="1481" y="607"/>
                    <a:pt x="1479" y="608"/>
                  </a:cubicBezTo>
                  <a:cubicBezTo>
                    <a:pt x="1478" y="609"/>
                    <a:pt x="1478" y="609"/>
                    <a:pt x="1478" y="609"/>
                  </a:cubicBezTo>
                  <a:cubicBezTo>
                    <a:pt x="1478" y="609"/>
                    <a:pt x="1478" y="609"/>
                    <a:pt x="1478" y="609"/>
                  </a:cubicBezTo>
                  <a:cubicBezTo>
                    <a:pt x="1478" y="609"/>
                    <a:pt x="1478" y="609"/>
                    <a:pt x="1478" y="609"/>
                  </a:cubicBezTo>
                  <a:cubicBezTo>
                    <a:pt x="1478" y="609"/>
                    <a:pt x="1478" y="609"/>
                    <a:pt x="1478" y="609"/>
                  </a:cubicBezTo>
                  <a:cubicBezTo>
                    <a:pt x="1478" y="609"/>
                    <a:pt x="1478" y="609"/>
                    <a:pt x="1478" y="609"/>
                  </a:cubicBezTo>
                  <a:cubicBezTo>
                    <a:pt x="1478" y="610"/>
                    <a:pt x="1481" y="607"/>
                    <a:pt x="1480" y="609"/>
                  </a:cubicBezTo>
                  <a:cubicBezTo>
                    <a:pt x="1480" y="609"/>
                    <a:pt x="1480" y="609"/>
                    <a:pt x="1480" y="609"/>
                  </a:cubicBezTo>
                  <a:cubicBezTo>
                    <a:pt x="1480" y="609"/>
                    <a:pt x="1480" y="609"/>
                    <a:pt x="1480" y="609"/>
                  </a:cubicBezTo>
                  <a:cubicBezTo>
                    <a:pt x="1479" y="610"/>
                    <a:pt x="1478" y="610"/>
                    <a:pt x="1478" y="611"/>
                  </a:cubicBezTo>
                  <a:cubicBezTo>
                    <a:pt x="1477" y="612"/>
                    <a:pt x="1477" y="612"/>
                    <a:pt x="1477" y="612"/>
                  </a:cubicBezTo>
                  <a:cubicBezTo>
                    <a:pt x="1477" y="612"/>
                    <a:pt x="1477" y="612"/>
                    <a:pt x="1477" y="612"/>
                  </a:cubicBezTo>
                  <a:cubicBezTo>
                    <a:pt x="1477" y="612"/>
                    <a:pt x="1477" y="612"/>
                    <a:pt x="1477" y="612"/>
                  </a:cubicBezTo>
                  <a:cubicBezTo>
                    <a:pt x="1477" y="612"/>
                    <a:pt x="1477" y="612"/>
                    <a:pt x="1477" y="612"/>
                  </a:cubicBezTo>
                  <a:cubicBezTo>
                    <a:pt x="1477" y="612"/>
                    <a:pt x="1477" y="612"/>
                    <a:pt x="1477" y="612"/>
                  </a:cubicBezTo>
                  <a:cubicBezTo>
                    <a:pt x="1476" y="613"/>
                    <a:pt x="1475" y="614"/>
                    <a:pt x="1474" y="615"/>
                  </a:cubicBezTo>
                  <a:cubicBezTo>
                    <a:pt x="1473" y="615"/>
                    <a:pt x="1473" y="615"/>
                    <a:pt x="1473" y="615"/>
                  </a:cubicBezTo>
                  <a:cubicBezTo>
                    <a:pt x="1473" y="615"/>
                    <a:pt x="1473" y="615"/>
                    <a:pt x="1473" y="615"/>
                  </a:cubicBezTo>
                  <a:cubicBezTo>
                    <a:pt x="1473" y="615"/>
                    <a:pt x="1472" y="616"/>
                    <a:pt x="1472" y="616"/>
                  </a:cubicBezTo>
                  <a:cubicBezTo>
                    <a:pt x="1472" y="616"/>
                    <a:pt x="1472" y="616"/>
                    <a:pt x="1472" y="616"/>
                  </a:cubicBezTo>
                  <a:cubicBezTo>
                    <a:pt x="1472" y="616"/>
                    <a:pt x="1472" y="616"/>
                    <a:pt x="1472" y="616"/>
                  </a:cubicBezTo>
                  <a:cubicBezTo>
                    <a:pt x="1472" y="616"/>
                    <a:pt x="1472" y="616"/>
                    <a:pt x="1472" y="616"/>
                  </a:cubicBezTo>
                  <a:cubicBezTo>
                    <a:pt x="1470" y="618"/>
                    <a:pt x="1465" y="621"/>
                    <a:pt x="1464" y="622"/>
                  </a:cubicBezTo>
                  <a:cubicBezTo>
                    <a:pt x="1464" y="622"/>
                    <a:pt x="1464" y="622"/>
                    <a:pt x="1464" y="622"/>
                  </a:cubicBezTo>
                  <a:cubicBezTo>
                    <a:pt x="1464" y="622"/>
                    <a:pt x="1464" y="622"/>
                    <a:pt x="1464" y="622"/>
                  </a:cubicBezTo>
                  <a:cubicBezTo>
                    <a:pt x="1464" y="622"/>
                    <a:pt x="1464" y="622"/>
                    <a:pt x="1464" y="622"/>
                  </a:cubicBezTo>
                  <a:cubicBezTo>
                    <a:pt x="1464" y="623"/>
                    <a:pt x="1464" y="623"/>
                    <a:pt x="1464" y="623"/>
                  </a:cubicBezTo>
                  <a:cubicBezTo>
                    <a:pt x="1464" y="623"/>
                    <a:pt x="1464" y="623"/>
                    <a:pt x="1464" y="623"/>
                  </a:cubicBezTo>
                  <a:cubicBezTo>
                    <a:pt x="1418" y="642"/>
                    <a:pt x="1418" y="642"/>
                    <a:pt x="1418" y="642"/>
                  </a:cubicBezTo>
                  <a:cubicBezTo>
                    <a:pt x="1420" y="642"/>
                    <a:pt x="1420" y="642"/>
                    <a:pt x="1420" y="642"/>
                  </a:cubicBezTo>
                  <a:cubicBezTo>
                    <a:pt x="1420" y="642"/>
                    <a:pt x="1420" y="642"/>
                    <a:pt x="1420" y="642"/>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1" y="643"/>
                    <a:pt x="1421" y="643"/>
                    <a:pt x="1421" y="643"/>
                  </a:cubicBezTo>
                  <a:cubicBezTo>
                    <a:pt x="1422" y="643"/>
                    <a:pt x="1422" y="643"/>
                    <a:pt x="1422" y="643"/>
                  </a:cubicBezTo>
                  <a:cubicBezTo>
                    <a:pt x="1422" y="643"/>
                    <a:pt x="1422" y="643"/>
                    <a:pt x="1422" y="643"/>
                  </a:cubicBezTo>
                  <a:cubicBezTo>
                    <a:pt x="1422" y="643"/>
                    <a:pt x="1422" y="643"/>
                    <a:pt x="1422" y="643"/>
                  </a:cubicBezTo>
                  <a:cubicBezTo>
                    <a:pt x="1422" y="643"/>
                    <a:pt x="1422" y="643"/>
                    <a:pt x="1422" y="643"/>
                  </a:cubicBezTo>
                  <a:cubicBezTo>
                    <a:pt x="1422" y="643"/>
                    <a:pt x="1422" y="643"/>
                    <a:pt x="1422" y="643"/>
                  </a:cubicBezTo>
                  <a:cubicBezTo>
                    <a:pt x="1422" y="644"/>
                    <a:pt x="1422" y="644"/>
                    <a:pt x="1422" y="644"/>
                  </a:cubicBezTo>
                  <a:cubicBezTo>
                    <a:pt x="1422" y="644"/>
                    <a:pt x="1422" y="644"/>
                    <a:pt x="1422" y="644"/>
                  </a:cubicBezTo>
                  <a:cubicBezTo>
                    <a:pt x="1422" y="644"/>
                    <a:pt x="1422" y="644"/>
                    <a:pt x="1422" y="644"/>
                  </a:cubicBezTo>
                  <a:cubicBezTo>
                    <a:pt x="1422" y="644"/>
                    <a:pt x="1422" y="644"/>
                    <a:pt x="1422"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4"/>
                    <a:pt x="1423" y="644"/>
                    <a:pt x="1423" y="644"/>
                  </a:cubicBezTo>
                  <a:cubicBezTo>
                    <a:pt x="1423" y="645"/>
                    <a:pt x="1423" y="645"/>
                    <a:pt x="1423" y="645"/>
                  </a:cubicBezTo>
                  <a:cubicBezTo>
                    <a:pt x="1424" y="645"/>
                    <a:pt x="1424" y="645"/>
                    <a:pt x="1424" y="645"/>
                  </a:cubicBezTo>
                  <a:cubicBezTo>
                    <a:pt x="1424" y="647"/>
                    <a:pt x="1424" y="647"/>
                    <a:pt x="1424" y="647"/>
                  </a:cubicBezTo>
                  <a:cubicBezTo>
                    <a:pt x="1424" y="648"/>
                    <a:pt x="1424" y="648"/>
                    <a:pt x="1424" y="648"/>
                  </a:cubicBezTo>
                  <a:cubicBezTo>
                    <a:pt x="1424" y="648"/>
                    <a:pt x="1424" y="648"/>
                    <a:pt x="1424" y="648"/>
                  </a:cubicBezTo>
                  <a:cubicBezTo>
                    <a:pt x="1425" y="649"/>
                    <a:pt x="1424" y="649"/>
                    <a:pt x="1425" y="650"/>
                  </a:cubicBezTo>
                  <a:cubicBezTo>
                    <a:pt x="1425" y="651"/>
                    <a:pt x="1425" y="651"/>
                    <a:pt x="1425" y="651"/>
                  </a:cubicBezTo>
                  <a:cubicBezTo>
                    <a:pt x="1426" y="653"/>
                    <a:pt x="1426" y="653"/>
                    <a:pt x="1426" y="653"/>
                  </a:cubicBezTo>
                  <a:cubicBezTo>
                    <a:pt x="1426" y="653"/>
                    <a:pt x="1426" y="653"/>
                    <a:pt x="1426" y="653"/>
                  </a:cubicBezTo>
                  <a:cubicBezTo>
                    <a:pt x="1426" y="654"/>
                    <a:pt x="1426" y="654"/>
                    <a:pt x="1426" y="654"/>
                  </a:cubicBezTo>
                  <a:cubicBezTo>
                    <a:pt x="1426" y="655"/>
                    <a:pt x="1426" y="655"/>
                    <a:pt x="1427" y="655"/>
                  </a:cubicBezTo>
                  <a:cubicBezTo>
                    <a:pt x="1427" y="655"/>
                    <a:pt x="1427" y="655"/>
                    <a:pt x="1427" y="655"/>
                  </a:cubicBezTo>
                  <a:cubicBezTo>
                    <a:pt x="1427" y="655"/>
                    <a:pt x="1427" y="655"/>
                    <a:pt x="1427" y="655"/>
                  </a:cubicBezTo>
                  <a:cubicBezTo>
                    <a:pt x="1429" y="655"/>
                    <a:pt x="1429" y="655"/>
                    <a:pt x="1429" y="656"/>
                  </a:cubicBezTo>
                  <a:cubicBezTo>
                    <a:pt x="1429" y="657"/>
                    <a:pt x="1429" y="657"/>
                    <a:pt x="1429" y="657"/>
                  </a:cubicBezTo>
                  <a:cubicBezTo>
                    <a:pt x="1429" y="658"/>
                    <a:pt x="1429" y="658"/>
                    <a:pt x="1429"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0" y="658"/>
                    <a:pt x="1430" y="658"/>
                    <a:pt x="1430"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1" y="658"/>
                    <a:pt x="1431" y="658"/>
                    <a:pt x="1431" y="658"/>
                  </a:cubicBezTo>
                  <a:cubicBezTo>
                    <a:pt x="1432" y="658"/>
                    <a:pt x="1432" y="658"/>
                    <a:pt x="1432" y="658"/>
                  </a:cubicBezTo>
                  <a:cubicBezTo>
                    <a:pt x="1432" y="658"/>
                    <a:pt x="1432" y="658"/>
                    <a:pt x="1432" y="658"/>
                  </a:cubicBezTo>
                  <a:cubicBezTo>
                    <a:pt x="1432" y="658"/>
                    <a:pt x="1433" y="658"/>
                    <a:pt x="1434" y="658"/>
                  </a:cubicBezTo>
                  <a:cubicBezTo>
                    <a:pt x="1434" y="658"/>
                    <a:pt x="1434" y="658"/>
                    <a:pt x="1434" y="658"/>
                  </a:cubicBezTo>
                  <a:cubicBezTo>
                    <a:pt x="1434" y="658"/>
                    <a:pt x="1434" y="658"/>
                    <a:pt x="1434" y="658"/>
                  </a:cubicBezTo>
                  <a:cubicBezTo>
                    <a:pt x="1434" y="658"/>
                    <a:pt x="1434" y="658"/>
                    <a:pt x="1434" y="658"/>
                  </a:cubicBezTo>
                  <a:cubicBezTo>
                    <a:pt x="1434" y="658"/>
                    <a:pt x="1434" y="658"/>
                    <a:pt x="1434" y="658"/>
                  </a:cubicBezTo>
                  <a:cubicBezTo>
                    <a:pt x="1432" y="659"/>
                    <a:pt x="1432" y="659"/>
                    <a:pt x="1432" y="659"/>
                  </a:cubicBezTo>
                  <a:cubicBezTo>
                    <a:pt x="1432" y="660"/>
                    <a:pt x="1432" y="660"/>
                    <a:pt x="1432" y="660"/>
                  </a:cubicBezTo>
                  <a:cubicBezTo>
                    <a:pt x="1431" y="660"/>
                    <a:pt x="1431" y="660"/>
                    <a:pt x="1431" y="660"/>
                  </a:cubicBezTo>
                  <a:cubicBezTo>
                    <a:pt x="1431" y="660"/>
                    <a:pt x="1431" y="660"/>
                    <a:pt x="1431" y="660"/>
                  </a:cubicBezTo>
                  <a:cubicBezTo>
                    <a:pt x="1431" y="661"/>
                    <a:pt x="1431" y="661"/>
                    <a:pt x="1431" y="661"/>
                  </a:cubicBezTo>
                  <a:cubicBezTo>
                    <a:pt x="1431" y="661"/>
                    <a:pt x="1431" y="661"/>
                    <a:pt x="1431" y="661"/>
                  </a:cubicBezTo>
                  <a:cubicBezTo>
                    <a:pt x="1430" y="661"/>
                    <a:pt x="1430" y="660"/>
                    <a:pt x="1430" y="660"/>
                  </a:cubicBezTo>
                  <a:cubicBezTo>
                    <a:pt x="1429" y="660"/>
                    <a:pt x="1429" y="660"/>
                    <a:pt x="1429" y="660"/>
                  </a:cubicBezTo>
                  <a:cubicBezTo>
                    <a:pt x="1429" y="660"/>
                    <a:pt x="1429" y="660"/>
                    <a:pt x="1429" y="660"/>
                  </a:cubicBezTo>
                  <a:cubicBezTo>
                    <a:pt x="1429" y="661"/>
                    <a:pt x="1429" y="661"/>
                    <a:pt x="1429" y="661"/>
                  </a:cubicBezTo>
                  <a:cubicBezTo>
                    <a:pt x="1430" y="661"/>
                    <a:pt x="1430" y="661"/>
                    <a:pt x="1430" y="661"/>
                  </a:cubicBezTo>
                  <a:cubicBezTo>
                    <a:pt x="1431" y="661"/>
                    <a:pt x="1431" y="661"/>
                    <a:pt x="1431" y="661"/>
                  </a:cubicBezTo>
                  <a:cubicBezTo>
                    <a:pt x="1431" y="661"/>
                    <a:pt x="1431" y="661"/>
                    <a:pt x="1431" y="661"/>
                  </a:cubicBezTo>
                  <a:cubicBezTo>
                    <a:pt x="1432" y="661"/>
                    <a:pt x="1432" y="661"/>
                    <a:pt x="1432" y="661"/>
                  </a:cubicBezTo>
                  <a:cubicBezTo>
                    <a:pt x="1432" y="661"/>
                    <a:pt x="1432" y="661"/>
                    <a:pt x="1432" y="661"/>
                  </a:cubicBezTo>
                  <a:cubicBezTo>
                    <a:pt x="1432" y="661"/>
                    <a:pt x="1432" y="661"/>
                    <a:pt x="1432" y="661"/>
                  </a:cubicBezTo>
                  <a:cubicBezTo>
                    <a:pt x="1432" y="661"/>
                    <a:pt x="1432" y="661"/>
                    <a:pt x="1432" y="661"/>
                  </a:cubicBezTo>
                  <a:cubicBezTo>
                    <a:pt x="1433" y="661"/>
                    <a:pt x="1433" y="661"/>
                    <a:pt x="1433" y="661"/>
                  </a:cubicBezTo>
                  <a:cubicBezTo>
                    <a:pt x="1433" y="661"/>
                    <a:pt x="1433" y="661"/>
                    <a:pt x="1433" y="661"/>
                  </a:cubicBezTo>
                  <a:cubicBezTo>
                    <a:pt x="1433" y="661"/>
                    <a:pt x="1433" y="661"/>
                    <a:pt x="1433" y="661"/>
                  </a:cubicBezTo>
                  <a:cubicBezTo>
                    <a:pt x="1433" y="661"/>
                    <a:pt x="1434" y="661"/>
                    <a:pt x="1434" y="662"/>
                  </a:cubicBezTo>
                  <a:cubicBezTo>
                    <a:pt x="1434" y="662"/>
                    <a:pt x="1434" y="662"/>
                    <a:pt x="1434" y="662"/>
                  </a:cubicBezTo>
                  <a:cubicBezTo>
                    <a:pt x="1434" y="662"/>
                    <a:pt x="1434" y="662"/>
                    <a:pt x="1434" y="662"/>
                  </a:cubicBezTo>
                  <a:cubicBezTo>
                    <a:pt x="1434" y="662"/>
                    <a:pt x="1434" y="662"/>
                    <a:pt x="1434" y="662"/>
                  </a:cubicBezTo>
                  <a:cubicBezTo>
                    <a:pt x="1434" y="662"/>
                    <a:pt x="1434" y="662"/>
                    <a:pt x="1434" y="662"/>
                  </a:cubicBezTo>
                  <a:cubicBezTo>
                    <a:pt x="1435" y="662"/>
                    <a:pt x="1435" y="662"/>
                    <a:pt x="1435" y="662"/>
                  </a:cubicBezTo>
                  <a:cubicBezTo>
                    <a:pt x="1435" y="662"/>
                    <a:pt x="1435" y="662"/>
                    <a:pt x="1435" y="662"/>
                  </a:cubicBezTo>
                  <a:cubicBezTo>
                    <a:pt x="1435" y="662"/>
                    <a:pt x="1435" y="662"/>
                    <a:pt x="1435" y="662"/>
                  </a:cubicBezTo>
                  <a:cubicBezTo>
                    <a:pt x="1435" y="663"/>
                    <a:pt x="1436" y="663"/>
                    <a:pt x="1436" y="663"/>
                  </a:cubicBezTo>
                  <a:cubicBezTo>
                    <a:pt x="1436" y="663"/>
                    <a:pt x="1436" y="663"/>
                    <a:pt x="1436" y="663"/>
                  </a:cubicBezTo>
                  <a:cubicBezTo>
                    <a:pt x="1436" y="663"/>
                    <a:pt x="1436" y="663"/>
                    <a:pt x="1436" y="663"/>
                  </a:cubicBezTo>
                  <a:cubicBezTo>
                    <a:pt x="1436" y="663"/>
                    <a:pt x="1436" y="663"/>
                    <a:pt x="1436" y="663"/>
                  </a:cubicBezTo>
                  <a:cubicBezTo>
                    <a:pt x="1436" y="663"/>
                    <a:pt x="1436" y="663"/>
                    <a:pt x="1436" y="663"/>
                  </a:cubicBezTo>
                  <a:cubicBezTo>
                    <a:pt x="1436" y="663"/>
                    <a:pt x="1436" y="663"/>
                    <a:pt x="1436" y="663"/>
                  </a:cubicBezTo>
                  <a:cubicBezTo>
                    <a:pt x="1435" y="663"/>
                    <a:pt x="1435" y="663"/>
                    <a:pt x="1435" y="663"/>
                  </a:cubicBezTo>
                  <a:cubicBezTo>
                    <a:pt x="1434" y="663"/>
                    <a:pt x="1434" y="663"/>
                    <a:pt x="1434" y="663"/>
                  </a:cubicBezTo>
                  <a:cubicBezTo>
                    <a:pt x="1434" y="663"/>
                    <a:pt x="1434" y="663"/>
                    <a:pt x="1434" y="663"/>
                  </a:cubicBezTo>
                  <a:cubicBezTo>
                    <a:pt x="1434" y="664"/>
                    <a:pt x="1434" y="664"/>
                    <a:pt x="1434" y="664"/>
                  </a:cubicBezTo>
                  <a:cubicBezTo>
                    <a:pt x="1434" y="664"/>
                    <a:pt x="1434" y="664"/>
                    <a:pt x="1434" y="664"/>
                  </a:cubicBezTo>
                  <a:cubicBezTo>
                    <a:pt x="1434" y="664"/>
                    <a:pt x="1434" y="664"/>
                    <a:pt x="1434" y="664"/>
                  </a:cubicBezTo>
                  <a:cubicBezTo>
                    <a:pt x="1433" y="664"/>
                    <a:pt x="1433" y="664"/>
                    <a:pt x="1433" y="664"/>
                  </a:cubicBezTo>
                  <a:cubicBezTo>
                    <a:pt x="1433" y="665"/>
                    <a:pt x="1433" y="665"/>
                    <a:pt x="1433" y="665"/>
                  </a:cubicBezTo>
                  <a:cubicBezTo>
                    <a:pt x="1433" y="665"/>
                    <a:pt x="1433" y="665"/>
                    <a:pt x="1433" y="665"/>
                  </a:cubicBezTo>
                  <a:cubicBezTo>
                    <a:pt x="1433" y="665"/>
                    <a:pt x="1433" y="665"/>
                    <a:pt x="1433" y="665"/>
                  </a:cubicBezTo>
                  <a:cubicBezTo>
                    <a:pt x="1433" y="665"/>
                    <a:pt x="1433" y="665"/>
                    <a:pt x="1433" y="665"/>
                  </a:cubicBezTo>
                  <a:cubicBezTo>
                    <a:pt x="1434" y="665"/>
                    <a:pt x="1435" y="665"/>
                    <a:pt x="1436" y="666"/>
                  </a:cubicBezTo>
                  <a:cubicBezTo>
                    <a:pt x="1436" y="666"/>
                    <a:pt x="1436" y="666"/>
                    <a:pt x="1436" y="666"/>
                  </a:cubicBezTo>
                  <a:cubicBezTo>
                    <a:pt x="1435" y="666"/>
                    <a:pt x="1435" y="666"/>
                    <a:pt x="1435" y="666"/>
                  </a:cubicBezTo>
                  <a:cubicBezTo>
                    <a:pt x="1435" y="666"/>
                    <a:pt x="1435" y="666"/>
                    <a:pt x="1435" y="666"/>
                  </a:cubicBezTo>
                  <a:cubicBezTo>
                    <a:pt x="1434" y="666"/>
                    <a:pt x="1434" y="666"/>
                    <a:pt x="1434" y="666"/>
                  </a:cubicBezTo>
                  <a:cubicBezTo>
                    <a:pt x="1434" y="667"/>
                    <a:pt x="1434" y="667"/>
                    <a:pt x="1434" y="667"/>
                  </a:cubicBezTo>
                  <a:cubicBezTo>
                    <a:pt x="1435" y="668"/>
                    <a:pt x="1435" y="668"/>
                    <a:pt x="1435" y="668"/>
                  </a:cubicBezTo>
                  <a:cubicBezTo>
                    <a:pt x="1436" y="668"/>
                    <a:pt x="1437" y="668"/>
                    <a:pt x="1438" y="669"/>
                  </a:cubicBezTo>
                  <a:cubicBezTo>
                    <a:pt x="1438" y="669"/>
                    <a:pt x="1438" y="669"/>
                    <a:pt x="1438" y="669"/>
                  </a:cubicBezTo>
                  <a:cubicBezTo>
                    <a:pt x="1438" y="669"/>
                    <a:pt x="1438" y="669"/>
                    <a:pt x="1438" y="669"/>
                  </a:cubicBezTo>
                  <a:cubicBezTo>
                    <a:pt x="1437" y="669"/>
                    <a:pt x="1437" y="669"/>
                    <a:pt x="1437" y="669"/>
                  </a:cubicBezTo>
                  <a:cubicBezTo>
                    <a:pt x="1436" y="669"/>
                    <a:pt x="1436" y="668"/>
                    <a:pt x="1435" y="669"/>
                  </a:cubicBezTo>
                  <a:cubicBezTo>
                    <a:pt x="1435" y="669"/>
                    <a:pt x="1435" y="669"/>
                    <a:pt x="1435" y="669"/>
                  </a:cubicBezTo>
                  <a:cubicBezTo>
                    <a:pt x="1434" y="669"/>
                    <a:pt x="1434" y="669"/>
                    <a:pt x="1434" y="669"/>
                  </a:cubicBezTo>
                  <a:cubicBezTo>
                    <a:pt x="1434" y="670"/>
                    <a:pt x="1434" y="671"/>
                    <a:pt x="1433" y="672"/>
                  </a:cubicBezTo>
                  <a:cubicBezTo>
                    <a:pt x="1433" y="672"/>
                    <a:pt x="1433" y="672"/>
                    <a:pt x="1433" y="672"/>
                  </a:cubicBezTo>
                  <a:cubicBezTo>
                    <a:pt x="1432" y="672"/>
                    <a:pt x="1432" y="672"/>
                    <a:pt x="1432" y="672"/>
                  </a:cubicBezTo>
                  <a:cubicBezTo>
                    <a:pt x="1433" y="673"/>
                    <a:pt x="1433" y="673"/>
                    <a:pt x="1433" y="673"/>
                  </a:cubicBezTo>
                  <a:cubicBezTo>
                    <a:pt x="1435" y="674"/>
                    <a:pt x="1436" y="672"/>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6" y="676"/>
                    <a:pt x="1436" y="676"/>
                    <a:pt x="1436" y="676"/>
                  </a:cubicBezTo>
                  <a:cubicBezTo>
                    <a:pt x="1437" y="676"/>
                    <a:pt x="1437" y="676"/>
                    <a:pt x="1437" y="676"/>
                  </a:cubicBezTo>
                  <a:cubicBezTo>
                    <a:pt x="1437" y="676"/>
                    <a:pt x="1437" y="676"/>
                    <a:pt x="1437" y="676"/>
                  </a:cubicBezTo>
                  <a:cubicBezTo>
                    <a:pt x="1437" y="676"/>
                    <a:pt x="1437" y="676"/>
                    <a:pt x="1437" y="676"/>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7" y="677"/>
                    <a:pt x="1437" y="677"/>
                    <a:pt x="1437" y="677"/>
                  </a:cubicBezTo>
                  <a:cubicBezTo>
                    <a:pt x="1436" y="677"/>
                    <a:pt x="1436" y="677"/>
                    <a:pt x="1436" y="677"/>
                  </a:cubicBezTo>
                  <a:cubicBezTo>
                    <a:pt x="1435" y="678"/>
                    <a:pt x="1435" y="678"/>
                    <a:pt x="1435" y="678"/>
                  </a:cubicBezTo>
                  <a:cubicBezTo>
                    <a:pt x="1435" y="678"/>
                    <a:pt x="1435" y="678"/>
                    <a:pt x="1435" y="678"/>
                  </a:cubicBezTo>
                  <a:cubicBezTo>
                    <a:pt x="1435" y="678"/>
                    <a:pt x="1435" y="678"/>
                    <a:pt x="1435" y="678"/>
                  </a:cubicBezTo>
                  <a:cubicBezTo>
                    <a:pt x="1434" y="678"/>
                    <a:pt x="1434" y="678"/>
                    <a:pt x="1434" y="678"/>
                  </a:cubicBezTo>
                  <a:cubicBezTo>
                    <a:pt x="1434" y="678"/>
                    <a:pt x="1434" y="678"/>
                    <a:pt x="1434" y="678"/>
                  </a:cubicBezTo>
                  <a:cubicBezTo>
                    <a:pt x="1434" y="678"/>
                    <a:pt x="1434" y="678"/>
                    <a:pt x="1434" y="678"/>
                  </a:cubicBezTo>
                  <a:cubicBezTo>
                    <a:pt x="1434" y="678"/>
                    <a:pt x="1434" y="678"/>
                    <a:pt x="1434" y="678"/>
                  </a:cubicBezTo>
                  <a:cubicBezTo>
                    <a:pt x="1434" y="679"/>
                    <a:pt x="1434" y="679"/>
                    <a:pt x="1434" y="679"/>
                  </a:cubicBezTo>
                  <a:cubicBezTo>
                    <a:pt x="1434" y="679"/>
                    <a:pt x="1434" y="679"/>
                    <a:pt x="1434" y="679"/>
                  </a:cubicBezTo>
                  <a:cubicBezTo>
                    <a:pt x="1433" y="679"/>
                    <a:pt x="1433" y="679"/>
                    <a:pt x="1433" y="679"/>
                  </a:cubicBezTo>
                  <a:cubicBezTo>
                    <a:pt x="1433" y="679"/>
                    <a:pt x="1433" y="679"/>
                    <a:pt x="1433" y="679"/>
                  </a:cubicBezTo>
                  <a:cubicBezTo>
                    <a:pt x="1433" y="679"/>
                    <a:pt x="1433" y="679"/>
                    <a:pt x="1433" y="679"/>
                  </a:cubicBezTo>
                  <a:cubicBezTo>
                    <a:pt x="1434" y="680"/>
                    <a:pt x="1434" y="680"/>
                    <a:pt x="1434" y="680"/>
                  </a:cubicBezTo>
                  <a:cubicBezTo>
                    <a:pt x="1435" y="680"/>
                    <a:pt x="1435" y="680"/>
                    <a:pt x="1435" y="680"/>
                  </a:cubicBezTo>
                  <a:cubicBezTo>
                    <a:pt x="1436" y="681"/>
                    <a:pt x="1436" y="681"/>
                    <a:pt x="1436" y="682"/>
                  </a:cubicBezTo>
                  <a:cubicBezTo>
                    <a:pt x="1437" y="682"/>
                    <a:pt x="1437" y="682"/>
                    <a:pt x="1437" y="682"/>
                  </a:cubicBezTo>
                  <a:cubicBezTo>
                    <a:pt x="1437" y="682"/>
                    <a:pt x="1437" y="682"/>
                    <a:pt x="1437" y="682"/>
                  </a:cubicBezTo>
                  <a:cubicBezTo>
                    <a:pt x="1437" y="683"/>
                    <a:pt x="1437" y="685"/>
                    <a:pt x="1437" y="686"/>
                  </a:cubicBezTo>
                  <a:cubicBezTo>
                    <a:pt x="1437" y="686"/>
                    <a:pt x="1437" y="686"/>
                    <a:pt x="1437" y="686"/>
                  </a:cubicBezTo>
                  <a:cubicBezTo>
                    <a:pt x="1438" y="686"/>
                    <a:pt x="1438" y="686"/>
                    <a:pt x="1438" y="686"/>
                  </a:cubicBezTo>
                  <a:cubicBezTo>
                    <a:pt x="1438" y="687"/>
                    <a:pt x="1438" y="687"/>
                    <a:pt x="1438" y="687"/>
                  </a:cubicBezTo>
                  <a:cubicBezTo>
                    <a:pt x="1438" y="687"/>
                    <a:pt x="1438" y="687"/>
                    <a:pt x="1438" y="687"/>
                  </a:cubicBezTo>
                  <a:cubicBezTo>
                    <a:pt x="1439" y="687"/>
                    <a:pt x="1437" y="695"/>
                    <a:pt x="1438" y="695"/>
                  </a:cubicBezTo>
                  <a:cubicBezTo>
                    <a:pt x="1438" y="695"/>
                    <a:pt x="1438" y="695"/>
                    <a:pt x="1438" y="695"/>
                  </a:cubicBezTo>
                  <a:cubicBezTo>
                    <a:pt x="1438" y="695"/>
                    <a:pt x="1438" y="695"/>
                    <a:pt x="1438" y="695"/>
                  </a:cubicBezTo>
                  <a:cubicBezTo>
                    <a:pt x="1438" y="695"/>
                    <a:pt x="1438" y="695"/>
                    <a:pt x="1438"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39" y="695"/>
                    <a:pt x="1439" y="695"/>
                    <a:pt x="1439" y="695"/>
                  </a:cubicBezTo>
                  <a:cubicBezTo>
                    <a:pt x="1440" y="696"/>
                    <a:pt x="1440" y="696"/>
                    <a:pt x="1440" y="696"/>
                  </a:cubicBezTo>
                  <a:cubicBezTo>
                    <a:pt x="1440" y="696"/>
                    <a:pt x="1440" y="696"/>
                    <a:pt x="1440" y="696"/>
                  </a:cubicBezTo>
                  <a:cubicBezTo>
                    <a:pt x="1440" y="696"/>
                    <a:pt x="1440" y="696"/>
                    <a:pt x="1440" y="696"/>
                  </a:cubicBezTo>
                  <a:cubicBezTo>
                    <a:pt x="1440" y="696"/>
                    <a:pt x="1440" y="696"/>
                    <a:pt x="1440" y="696"/>
                  </a:cubicBezTo>
                  <a:cubicBezTo>
                    <a:pt x="1441" y="696"/>
                    <a:pt x="1441" y="696"/>
                    <a:pt x="1441" y="696"/>
                  </a:cubicBezTo>
                  <a:cubicBezTo>
                    <a:pt x="1441" y="697"/>
                    <a:pt x="1441" y="697"/>
                    <a:pt x="1441" y="697"/>
                  </a:cubicBezTo>
                  <a:cubicBezTo>
                    <a:pt x="1441" y="698"/>
                    <a:pt x="1441" y="698"/>
                    <a:pt x="1441" y="698"/>
                  </a:cubicBezTo>
                  <a:cubicBezTo>
                    <a:pt x="1441" y="699"/>
                    <a:pt x="1441" y="699"/>
                    <a:pt x="1441" y="699"/>
                  </a:cubicBezTo>
                  <a:cubicBezTo>
                    <a:pt x="1441" y="699"/>
                    <a:pt x="1441" y="699"/>
                    <a:pt x="1441" y="699"/>
                  </a:cubicBezTo>
                  <a:cubicBezTo>
                    <a:pt x="1442" y="699"/>
                    <a:pt x="1442" y="699"/>
                    <a:pt x="1442" y="699"/>
                  </a:cubicBezTo>
                  <a:cubicBezTo>
                    <a:pt x="1442" y="699"/>
                    <a:pt x="1442" y="699"/>
                    <a:pt x="1442" y="699"/>
                  </a:cubicBezTo>
                  <a:cubicBezTo>
                    <a:pt x="1443" y="699"/>
                    <a:pt x="1443" y="699"/>
                    <a:pt x="1443" y="699"/>
                  </a:cubicBezTo>
                  <a:cubicBezTo>
                    <a:pt x="1443" y="699"/>
                    <a:pt x="1443" y="699"/>
                    <a:pt x="1443" y="699"/>
                  </a:cubicBezTo>
                  <a:cubicBezTo>
                    <a:pt x="1443" y="701"/>
                    <a:pt x="1443" y="701"/>
                    <a:pt x="1443" y="701"/>
                  </a:cubicBezTo>
                  <a:cubicBezTo>
                    <a:pt x="1442" y="705"/>
                    <a:pt x="1442" y="705"/>
                    <a:pt x="1442" y="705"/>
                  </a:cubicBezTo>
                  <a:cubicBezTo>
                    <a:pt x="1442" y="706"/>
                    <a:pt x="1442" y="706"/>
                    <a:pt x="1442" y="706"/>
                  </a:cubicBezTo>
                  <a:cubicBezTo>
                    <a:pt x="1442" y="707"/>
                    <a:pt x="1442" y="707"/>
                    <a:pt x="1442" y="707"/>
                  </a:cubicBezTo>
                  <a:cubicBezTo>
                    <a:pt x="1442" y="707"/>
                    <a:pt x="1442" y="707"/>
                    <a:pt x="1442" y="707"/>
                  </a:cubicBezTo>
                  <a:cubicBezTo>
                    <a:pt x="1442" y="707"/>
                    <a:pt x="1442" y="707"/>
                    <a:pt x="1442" y="707"/>
                  </a:cubicBezTo>
                  <a:cubicBezTo>
                    <a:pt x="1443" y="707"/>
                    <a:pt x="1443" y="707"/>
                    <a:pt x="1443" y="707"/>
                  </a:cubicBezTo>
                  <a:cubicBezTo>
                    <a:pt x="1443" y="708"/>
                    <a:pt x="1443" y="708"/>
                    <a:pt x="1443" y="708"/>
                  </a:cubicBezTo>
                  <a:cubicBezTo>
                    <a:pt x="1443" y="708"/>
                    <a:pt x="1443" y="708"/>
                    <a:pt x="1443" y="708"/>
                  </a:cubicBezTo>
                  <a:cubicBezTo>
                    <a:pt x="1442" y="709"/>
                    <a:pt x="1442" y="709"/>
                    <a:pt x="1442" y="709"/>
                  </a:cubicBezTo>
                  <a:cubicBezTo>
                    <a:pt x="1442" y="709"/>
                    <a:pt x="1442" y="709"/>
                    <a:pt x="1442" y="709"/>
                  </a:cubicBezTo>
                  <a:cubicBezTo>
                    <a:pt x="1442" y="709"/>
                    <a:pt x="1442" y="709"/>
                    <a:pt x="1442" y="709"/>
                  </a:cubicBezTo>
                  <a:cubicBezTo>
                    <a:pt x="1442" y="709"/>
                    <a:pt x="1442" y="709"/>
                    <a:pt x="1442"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3" y="709"/>
                    <a:pt x="1443" y="709"/>
                    <a:pt x="1443" y="709"/>
                  </a:cubicBezTo>
                  <a:cubicBezTo>
                    <a:pt x="1444" y="709"/>
                    <a:pt x="1444" y="709"/>
                    <a:pt x="1444" y="709"/>
                  </a:cubicBezTo>
                  <a:cubicBezTo>
                    <a:pt x="1444" y="709"/>
                    <a:pt x="1444" y="709"/>
                    <a:pt x="1444" y="709"/>
                  </a:cubicBezTo>
                  <a:cubicBezTo>
                    <a:pt x="1444" y="710"/>
                    <a:pt x="1444" y="710"/>
                    <a:pt x="1444" y="710"/>
                  </a:cubicBezTo>
                  <a:cubicBezTo>
                    <a:pt x="1444" y="710"/>
                    <a:pt x="1444" y="710"/>
                    <a:pt x="1444" y="710"/>
                  </a:cubicBezTo>
                  <a:cubicBezTo>
                    <a:pt x="1444" y="710"/>
                    <a:pt x="1444" y="710"/>
                    <a:pt x="1444" y="710"/>
                  </a:cubicBezTo>
                  <a:cubicBezTo>
                    <a:pt x="1444" y="710"/>
                    <a:pt x="1444" y="710"/>
                    <a:pt x="1444" y="710"/>
                  </a:cubicBezTo>
                  <a:cubicBezTo>
                    <a:pt x="1445" y="710"/>
                    <a:pt x="1445" y="710"/>
                    <a:pt x="1445" y="710"/>
                  </a:cubicBezTo>
                  <a:cubicBezTo>
                    <a:pt x="1445" y="709"/>
                    <a:pt x="1446" y="709"/>
                    <a:pt x="1446" y="710"/>
                  </a:cubicBezTo>
                  <a:cubicBezTo>
                    <a:pt x="1446" y="710"/>
                    <a:pt x="1446" y="710"/>
                    <a:pt x="1446" y="710"/>
                  </a:cubicBezTo>
                  <a:cubicBezTo>
                    <a:pt x="1446" y="710"/>
                    <a:pt x="1446" y="710"/>
                    <a:pt x="1446" y="710"/>
                  </a:cubicBezTo>
                  <a:cubicBezTo>
                    <a:pt x="1446" y="710"/>
                    <a:pt x="1446" y="710"/>
                    <a:pt x="1446" y="710"/>
                  </a:cubicBezTo>
                  <a:cubicBezTo>
                    <a:pt x="1446" y="711"/>
                    <a:pt x="1446" y="711"/>
                    <a:pt x="1446" y="711"/>
                  </a:cubicBezTo>
                  <a:cubicBezTo>
                    <a:pt x="1446" y="711"/>
                    <a:pt x="1446" y="711"/>
                    <a:pt x="1446" y="711"/>
                  </a:cubicBezTo>
                  <a:cubicBezTo>
                    <a:pt x="1447" y="711"/>
                    <a:pt x="1447" y="711"/>
                    <a:pt x="1447" y="711"/>
                  </a:cubicBezTo>
                  <a:cubicBezTo>
                    <a:pt x="1447" y="711"/>
                    <a:pt x="1447" y="711"/>
                    <a:pt x="1447" y="711"/>
                  </a:cubicBezTo>
                  <a:cubicBezTo>
                    <a:pt x="1447" y="711"/>
                    <a:pt x="1447" y="711"/>
                    <a:pt x="1447" y="711"/>
                  </a:cubicBezTo>
                  <a:cubicBezTo>
                    <a:pt x="1447" y="712"/>
                    <a:pt x="1447" y="712"/>
                    <a:pt x="1447" y="712"/>
                  </a:cubicBezTo>
                  <a:cubicBezTo>
                    <a:pt x="1447" y="712"/>
                    <a:pt x="1447" y="712"/>
                    <a:pt x="1447" y="712"/>
                  </a:cubicBezTo>
                  <a:cubicBezTo>
                    <a:pt x="1447" y="713"/>
                    <a:pt x="1447" y="713"/>
                    <a:pt x="1447" y="713"/>
                  </a:cubicBezTo>
                  <a:cubicBezTo>
                    <a:pt x="1447" y="714"/>
                    <a:pt x="1447" y="714"/>
                    <a:pt x="1447" y="714"/>
                  </a:cubicBezTo>
                  <a:cubicBezTo>
                    <a:pt x="1447" y="715"/>
                    <a:pt x="1447" y="715"/>
                    <a:pt x="1447" y="715"/>
                  </a:cubicBezTo>
                  <a:cubicBezTo>
                    <a:pt x="1447" y="716"/>
                    <a:pt x="1447" y="716"/>
                    <a:pt x="1447" y="716"/>
                  </a:cubicBezTo>
                  <a:cubicBezTo>
                    <a:pt x="1448" y="717"/>
                    <a:pt x="1448" y="717"/>
                    <a:pt x="1448" y="717"/>
                  </a:cubicBezTo>
                  <a:cubicBezTo>
                    <a:pt x="1448" y="718"/>
                    <a:pt x="1448" y="717"/>
                    <a:pt x="1449" y="718"/>
                  </a:cubicBezTo>
                  <a:cubicBezTo>
                    <a:pt x="1449" y="718"/>
                    <a:pt x="1449" y="718"/>
                    <a:pt x="1449" y="718"/>
                  </a:cubicBezTo>
                  <a:cubicBezTo>
                    <a:pt x="1449" y="719"/>
                    <a:pt x="1449" y="719"/>
                    <a:pt x="1449" y="719"/>
                  </a:cubicBezTo>
                  <a:cubicBezTo>
                    <a:pt x="1449" y="719"/>
                    <a:pt x="1449" y="719"/>
                    <a:pt x="1449" y="719"/>
                  </a:cubicBezTo>
                  <a:cubicBezTo>
                    <a:pt x="1448" y="720"/>
                    <a:pt x="1448" y="720"/>
                    <a:pt x="1448" y="720"/>
                  </a:cubicBezTo>
                  <a:cubicBezTo>
                    <a:pt x="1446" y="723"/>
                    <a:pt x="1446" y="723"/>
                    <a:pt x="1446" y="723"/>
                  </a:cubicBezTo>
                  <a:cubicBezTo>
                    <a:pt x="1440" y="731"/>
                    <a:pt x="1440" y="731"/>
                    <a:pt x="1440" y="731"/>
                  </a:cubicBezTo>
                  <a:cubicBezTo>
                    <a:pt x="1437" y="733"/>
                    <a:pt x="1437" y="733"/>
                    <a:pt x="1437" y="733"/>
                  </a:cubicBezTo>
                  <a:cubicBezTo>
                    <a:pt x="1436" y="735"/>
                    <a:pt x="1436" y="735"/>
                    <a:pt x="1436" y="735"/>
                  </a:cubicBezTo>
                  <a:cubicBezTo>
                    <a:pt x="1436" y="735"/>
                    <a:pt x="1436" y="735"/>
                    <a:pt x="1436" y="735"/>
                  </a:cubicBezTo>
                  <a:cubicBezTo>
                    <a:pt x="1437" y="735"/>
                    <a:pt x="1437" y="735"/>
                    <a:pt x="1437" y="735"/>
                  </a:cubicBezTo>
                  <a:cubicBezTo>
                    <a:pt x="1438" y="736"/>
                    <a:pt x="1436" y="737"/>
                    <a:pt x="1438" y="737"/>
                  </a:cubicBezTo>
                  <a:cubicBezTo>
                    <a:pt x="1437" y="738"/>
                    <a:pt x="1438" y="738"/>
                    <a:pt x="1439" y="739"/>
                  </a:cubicBezTo>
                  <a:cubicBezTo>
                    <a:pt x="1439" y="739"/>
                    <a:pt x="1439" y="739"/>
                    <a:pt x="1439" y="739"/>
                  </a:cubicBezTo>
                  <a:cubicBezTo>
                    <a:pt x="1439" y="739"/>
                    <a:pt x="1439" y="739"/>
                    <a:pt x="1439" y="739"/>
                  </a:cubicBezTo>
                  <a:cubicBezTo>
                    <a:pt x="1439" y="739"/>
                    <a:pt x="1439" y="739"/>
                    <a:pt x="1439" y="739"/>
                  </a:cubicBezTo>
                  <a:cubicBezTo>
                    <a:pt x="1439" y="739"/>
                    <a:pt x="1439" y="739"/>
                    <a:pt x="1439" y="739"/>
                  </a:cubicBezTo>
                  <a:cubicBezTo>
                    <a:pt x="1439" y="738"/>
                    <a:pt x="1439" y="738"/>
                    <a:pt x="1439" y="738"/>
                  </a:cubicBezTo>
                  <a:cubicBezTo>
                    <a:pt x="1438" y="737"/>
                    <a:pt x="1438" y="737"/>
                    <a:pt x="1438" y="737"/>
                  </a:cubicBezTo>
                  <a:cubicBezTo>
                    <a:pt x="1438" y="737"/>
                    <a:pt x="1438" y="737"/>
                    <a:pt x="1438" y="737"/>
                  </a:cubicBezTo>
                  <a:cubicBezTo>
                    <a:pt x="1439" y="737"/>
                    <a:pt x="1439" y="738"/>
                    <a:pt x="1440" y="738"/>
                  </a:cubicBezTo>
                  <a:cubicBezTo>
                    <a:pt x="1440" y="738"/>
                    <a:pt x="1440" y="738"/>
                    <a:pt x="1440" y="738"/>
                  </a:cubicBezTo>
                  <a:cubicBezTo>
                    <a:pt x="1440" y="739"/>
                    <a:pt x="1440" y="739"/>
                    <a:pt x="1440" y="739"/>
                  </a:cubicBezTo>
                  <a:cubicBezTo>
                    <a:pt x="1440" y="739"/>
                    <a:pt x="1440" y="739"/>
                    <a:pt x="1440" y="739"/>
                  </a:cubicBezTo>
                  <a:cubicBezTo>
                    <a:pt x="1440" y="739"/>
                    <a:pt x="1440" y="739"/>
                    <a:pt x="1440" y="739"/>
                  </a:cubicBezTo>
                  <a:cubicBezTo>
                    <a:pt x="1440" y="740"/>
                    <a:pt x="1439" y="741"/>
                    <a:pt x="1440" y="742"/>
                  </a:cubicBezTo>
                  <a:cubicBezTo>
                    <a:pt x="1440" y="742"/>
                    <a:pt x="1440" y="742"/>
                    <a:pt x="1440" y="742"/>
                  </a:cubicBezTo>
                  <a:cubicBezTo>
                    <a:pt x="1441" y="742"/>
                    <a:pt x="1441" y="742"/>
                    <a:pt x="1441" y="742"/>
                  </a:cubicBezTo>
                  <a:cubicBezTo>
                    <a:pt x="1441" y="742"/>
                    <a:pt x="1442" y="741"/>
                    <a:pt x="1443" y="742"/>
                  </a:cubicBezTo>
                  <a:cubicBezTo>
                    <a:pt x="1443" y="742"/>
                    <a:pt x="1443" y="742"/>
                    <a:pt x="1443" y="742"/>
                  </a:cubicBezTo>
                  <a:cubicBezTo>
                    <a:pt x="1443" y="742"/>
                    <a:pt x="1443" y="742"/>
                    <a:pt x="1443" y="742"/>
                  </a:cubicBezTo>
                  <a:cubicBezTo>
                    <a:pt x="1442" y="742"/>
                    <a:pt x="1442" y="742"/>
                    <a:pt x="1442" y="742"/>
                  </a:cubicBezTo>
                  <a:cubicBezTo>
                    <a:pt x="1442" y="743"/>
                    <a:pt x="1442" y="743"/>
                    <a:pt x="1442" y="743"/>
                  </a:cubicBezTo>
                  <a:cubicBezTo>
                    <a:pt x="1440" y="745"/>
                    <a:pt x="1440" y="745"/>
                    <a:pt x="1440" y="745"/>
                  </a:cubicBezTo>
                  <a:cubicBezTo>
                    <a:pt x="1439" y="745"/>
                    <a:pt x="1439" y="745"/>
                    <a:pt x="1439" y="745"/>
                  </a:cubicBezTo>
                  <a:cubicBezTo>
                    <a:pt x="1439" y="746"/>
                    <a:pt x="1439" y="746"/>
                    <a:pt x="1439" y="746"/>
                  </a:cubicBezTo>
                  <a:cubicBezTo>
                    <a:pt x="1439" y="746"/>
                    <a:pt x="1439" y="746"/>
                    <a:pt x="1439" y="746"/>
                  </a:cubicBezTo>
                  <a:cubicBezTo>
                    <a:pt x="1439" y="746"/>
                    <a:pt x="1439" y="746"/>
                    <a:pt x="1439" y="746"/>
                  </a:cubicBezTo>
                  <a:cubicBezTo>
                    <a:pt x="1439" y="746"/>
                    <a:pt x="1439" y="746"/>
                    <a:pt x="1439" y="746"/>
                  </a:cubicBezTo>
                  <a:cubicBezTo>
                    <a:pt x="1439" y="746"/>
                    <a:pt x="1439" y="746"/>
                    <a:pt x="1439" y="746"/>
                  </a:cubicBezTo>
                  <a:cubicBezTo>
                    <a:pt x="1440" y="746"/>
                    <a:pt x="1440" y="746"/>
                    <a:pt x="1440" y="746"/>
                  </a:cubicBezTo>
                  <a:cubicBezTo>
                    <a:pt x="1439" y="746"/>
                    <a:pt x="1439" y="746"/>
                    <a:pt x="1439" y="746"/>
                  </a:cubicBezTo>
                  <a:cubicBezTo>
                    <a:pt x="1439" y="747"/>
                    <a:pt x="1439" y="747"/>
                    <a:pt x="1439" y="747"/>
                  </a:cubicBezTo>
                  <a:cubicBezTo>
                    <a:pt x="1438" y="748"/>
                    <a:pt x="1438" y="748"/>
                    <a:pt x="1438" y="748"/>
                  </a:cubicBezTo>
                  <a:cubicBezTo>
                    <a:pt x="1438" y="748"/>
                    <a:pt x="1438" y="748"/>
                    <a:pt x="1438" y="748"/>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8" y="749"/>
                    <a:pt x="1438" y="749"/>
                    <a:pt x="1438" y="749"/>
                  </a:cubicBezTo>
                  <a:cubicBezTo>
                    <a:pt x="1437" y="748"/>
                    <a:pt x="1437" y="747"/>
                    <a:pt x="1437" y="747"/>
                  </a:cubicBezTo>
                  <a:cubicBezTo>
                    <a:pt x="1437" y="746"/>
                    <a:pt x="1437" y="746"/>
                    <a:pt x="1437" y="746"/>
                  </a:cubicBezTo>
                  <a:cubicBezTo>
                    <a:pt x="1437" y="746"/>
                    <a:pt x="1437" y="746"/>
                    <a:pt x="1437" y="746"/>
                  </a:cubicBezTo>
                  <a:cubicBezTo>
                    <a:pt x="1436" y="746"/>
                    <a:pt x="1436" y="746"/>
                    <a:pt x="1436" y="745"/>
                  </a:cubicBezTo>
                  <a:cubicBezTo>
                    <a:pt x="1436" y="745"/>
                    <a:pt x="1436" y="745"/>
                    <a:pt x="1436" y="745"/>
                  </a:cubicBezTo>
                  <a:cubicBezTo>
                    <a:pt x="1436" y="745"/>
                    <a:pt x="1436" y="745"/>
                    <a:pt x="1436" y="745"/>
                  </a:cubicBezTo>
                  <a:cubicBezTo>
                    <a:pt x="1436" y="745"/>
                    <a:pt x="1436" y="745"/>
                    <a:pt x="1436" y="745"/>
                  </a:cubicBezTo>
                  <a:cubicBezTo>
                    <a:pt x="1436" y="745"/>
                    <a:pt x="1436" y="745"/>
                    <a:pt x="1436" y="745"/>
                  </a:cubicBezTo>
                  <a:cubicBezTo>
                    <a:pt x="1436" y="745"/>
                    <a:pt x="1436" y="745"/>
                    <a:pt x="1436" y="745"/>
                  </a:cubicBezTo>
                  <a:cubicBezTo>
                    <a:pt x="1435" y="744"/>
                    <a:pt x="1436" y="743"/>
                    <a:pt x="1435" y="742"/>
                  </a:cubicBezTo>
                  <a:cubicBezTo>
                    <a:pt x="1435" y="742"/>
                    <a:pt x="1435" y="742"/>
                    <a:pt x="1435" y="742"/>
                  </a:cubicBezTo>
                  <a:cubicBezTo>
                    <a:pt x="1435" y="742"/>
                    <a:pt x="1435" y="742"/>
                    <a:pt x="1435" y="742"/>
                  </a:cubicBezTo>
                  <a:cubicBezTo>
                    <a:pt x="1434" y="742"/>
                    <a:pt x="1433" y="741"/>
                    <a:pt x="1432" y="740"/>
                  </a:cubicBezTo>
                  <a:cubicBezTo>
                    <a:pt x="1431" y="739"/>
                    <a:pt x="1431" y="739"/>
                    <a:pt x="1431" y="739"/>
                  </a:cubicBezTo>
                  <a:cubicBezTo>
                    <a:pt x="1430" y="739"/>
                    <a:pt x="1430" y="739"/>
                    <a:pt x="1430" y="739"/>
                  </a:cubicBezTo>
                  <a:cubicBezTo>
                    <a:pt x="1430" y="738"/>
                    <a:pt x="1430" y="738"/>
                    <a:pt x="1430" y="738"/>
                  </a:cubicBezTo>
                  <a:cubicBezTo>
                    <a:pt x="1430" y="738"/>
                    <a:pt x="1430" y="738"/>
                    <a:pt x="1430" y="738"/>
                  </a:cubicBezTo>
                  <a:cubicBezTo>
                    <a:pt x="1430" y="738"/>
                    <a:pt x="1430" y="738"/>
                    <a:pt x="1430" y="738"/>
                  </a:cubicBezTo>
                  <a:cubicBezTo>
                    <a:pt x="1430" y="738"/>
                    <a:pt x="1430" y="738"/>
                    <a:pt x="1430" y="738"/>
                  </a:cubicBezTo>
                  <a:cubicBezTo>
                    <a:pt x="1430" y="738"/>
                    <a:pt x="1430" y="738"/>
                    <a:pt x="1430" y="738"/>
                  </a:cubicBezTo>
                  <a:cubicBezTo>
                    <a:pt x="1429" y="738"/>
                    <a:pt x="1429" y="738"/>
                    <a:pt x="1429" y="738"/>
                  </a:cubicBezTo>
                  <a:cubicBezTo>
                    <a:pt x="1429" y="738"/>
                    <a:pt x="1429" y="738"/>
                    <a:pt x="1429" y="738"/>
                  </a:cubicBezTo>
                  <a:cubicBezTo>
                    <a:pt x="1423" y="743"/>
                    <a:pt x="1423" y="743"/>
                    <a:pt x="1423" y="743"/>
                  </a:cubicBezTo>
                  <a:cubicBezTo>
                    <a:pt x="1421" y="744"/>
                    <a:pt x="1421" y="744"/>
                    <a:pt x="1421" y="744"/>
                  </a:cubicBezTo>
                  <a:cubicBezTo>
                    <a:pt x="1421" y="744"/>
                    <a:pt x="1421" y="744"/>
                    <a:pt x="1421" y="744"/>
                  </a:cubicBezTo>
                  <a:cubicBezTo>
                    <a:pt x="1420" y="745"/>
                    <a:pt x="1420" y="745"/>
                    <a:pt x="1420" y="745"/>
                  </a:cubicBezTo>
                  <a:cubicBezTo>
                    <a:pt x="1420" y="745"/>
                    <a:pt x="1420" y="745"/>
                    <a:pt x="1420" y="745"/>
                  </a:cubicBezTo>
                  <a:cubicBezTo>
                    <a:pt x="1420" y="745"/>
                    <a:pt x="1420" y="745"/>
                    <a:pt x="1420" y="745"/>
                  </a:cubicBezTo>
                  <a:cubicBezTo>
                    <a:pt x="1420" y="745"/>
                    <a:pt x="1420" y="745"/>
                    <a:pt x="1420" y="745"/>
                  </a:cubicBezTo>
                  <a:cubicBezTo>
                    <a:pt x="1420" y="745"/>
                    <a:pt x="1420" y="745"/>
                    <a:pt x="1420" y="745"/>
                  </a:cubicBezTo>
                  <a:cubicBezTo>
                    <a:pt x="1419" y="745"/>
                    <a:pt x="1419" y="745"/>
                    <a:pt x="1419" y="745"/>
                  </a:cubicBezTo>
                  <a:cubicBezTo>
                    <a:pt x="1419" y="745"/>
                    <a:pt x="1419" y="745"/>
                    <a:pt x="1419" y="745"/>
                  </a:cubicBezTo>
                  <a:cubicBezTo>
                    <a:pt x="1419" y="746"/>
                    <a:pt x="1419" y="746"/>
                    <a:pt x="1419" y="746"/>
                  </a:cubicBezTo>
                  <a:cubicBezTo>
                    <a:pt x="1419" y="748"/>
                    <a:pt x="1419" y="748"/>
                    <a:pt x="1419" y="748"/>
                  </a:cubicBezTo>
                  <a:cubicBezTo>
                    <a:pt x="1419" y="749"/>
                    <a:pt x="1419" y="749"/>
                    <a:pt x="1419" y="749"/>
                  </a:cubicBezTo>
                  <a:cubicBezTo>
                    <a:pt x="1419" y="749"/>
                    <a:pt x="1419" y="749"/>
                    <a:pt x="1419" y="749"/>
                  </a:cubicBezTo>
                  <a:cubicBezTo>
                    <a:pt x="1419" y="750"/>
                    <a:pt x="1419" y="750"/>
                    <a:pt x="1418" y="751"/>
                  </a:cubicBezTo>
                  <a:cubicBezTo>
                    <a:pt x="1419" y="752"/>
                    <a:pt x="1419" y="752"/>
                    <a:pt x="1419" y="752"/>
                  </a:cubicBezTo>
                  <a:cubicBezTo>
                    <a:pt x="1419" y="752"/>
                    <a:pt x="1419" y="752"/>
                    <a:pt x="1419" y="752"/>
                  </a:cubicBezTo>
                  <a:cubicBezTo>
                    <a:pt x="1423" y="758"/>
                    <a:pt x="1423" y="758"/>
                    <a:pt x="1423" y="758"/>
                  </a:cubicBezTo>
                  <a:cubicBezTo>
                    <a:pt x="1425" y="760"/>
                    <a:pt x="1425" y="760"/>
                    <a:pt x="1425" y="760"/>
                  </a:cubicBezTo>
                  <a:cubicBezTo>
                    <a:pt x="1426" y="761"/>
                    <a:pt x="1426" y="761"/>
                    <a:pt x="1427" y="762"/>
                  </a:cubicBezTo>
                  <a:cubicBezTo>
                    <a:pt x="1427" y="762"/>
                    <a:pt x="1427" y="762"/>
                    <a:pt x="1427" y="762"/>
                  </a:cubicBezTo>
                  <a:cubicBezTo>
                    <a:pt x="1427" y="762"/>
                    <a:pt x="1427" y="762"/>
                    <a:pt x="1427" y="762"/>
                  </a:cubicBezTo>
                  <a:cubicBezTo>
                    <a:pt x="1427" y="763"/>
                    <a:pt x="1427" y="763"/>
                    <a:pt x="1428" y="764"/>
                  </a:cubicBezTo>
                  <a:cubicBezTo>
                    <a:pt x="1428" y="764"/>
                    <a:pt x="1428" y="764"/>
                    <a:pt x="1428" y="764"/>
                  </a:cubicBezTo>
                  <a:cubicBezTo>
                    <a:pt x="1428" y="764"/>
                    <a:pt x="1428" y="764"/>
                    <a:pt x="1428" y="764"/>
                  </a:cubicBezTo>
                  <a:cubicBezTo>
                    <a:pt x="1428" y="764"/>
                    <a:pt x="1428" y="764"/>
                    <a:pt x="1428" y="764"/>
                  </a:cubicBezTo>
                  <a:cubicBezTo>
                    <a:pt x="1428" y="764"/>
                    <a:pt x="1428" y="764"/>
                    <a:pt x="1428" y="764"/>
                  </a:cubicBezTo>
                  <a:cubicBezTo>
                    <a:pt x="1427" y="763"/>
                    <a:pt x="1427" y="763"/>
                    <a:pt x="1427" y="763"/>
                  </a:cubicBezTo>
                  <a:cubicBezTo>
                    <a:pt x="1423" y="758"/>
                    <a:pt x="1423" y="758"/>
                    <a:pt x="1423" y="758"/>
                  </a:cubicBezTo>
                  <a:cubicBezTo>
                    <a:pt x="1419" y="754"/>
                    <a:pt x="1419" y="754"/>
                    <a:pt x="1419" y="754"/>
                  </a:cubicBezTo>
                  <a:cubicBezTo>
                    <a:pt x="1418" y="753"/>
                    <a:pt x="1418" y="753"/>
                    <a:pt x="1418" y="753"/>
                  </a:cubicBezTo>
                  <a:cubicBezTo>
                    <a:pt x="1418" y="753"/>
                    <a:pt x="1417" y="752"/>
                    <a:pt x="1417" y="752"/>
                  </a:cubicBezTo>
                  <a:cubicBezTo>
                    <a:pt x="1416" y="752"/>
                    <a:pt x="1416" y="752"/>
                    <a:pt x="1416" y="752"/>
                  </a:cubicBezTo>
                  <a:cubicBezTo>
                    <a:pt x="1416" y="752"/>
                    <a:pt x="1416" y="752"/>
                    <a:pt x="1416" y="752"/>
                  </a:cubicBezTo>
                  <a:cubicBezTo>
                    <a:pt x="1416" y="752"/>
                    <a:pt x="1415" y="752"/>
                    <a:pt x="1415" y="751"/>
                  </a:cubicBezTo>
                  <a:cubicBezTo>
                    <a:pt x="1415" y="751"/>
                    <a:pt x="1415" y="751"/>
                    <a:pt x="1415" y="751"/>
                  </a:cubicBezTo>
                  <a:cubicBezTo>
                    <a:pt x="1415" y="751"/>
                    <a:pt x="1415" y="751"/>
                    <a:pt x="1415" y="751"/>
                  </a:cubicBezTo>
                  <a:cubicBezTo>
                    <a:pt x="1414" y="751"/>
                    <a:pt x="1414" y="751"/>
                    <a:pt x="1414" y="751"/>
                  </a:cubicBezTo>
                  <a:cubicBezTo>
                    <a:pt x="1414" y="750"/>
                    <a:pt x="1413" y="749"/>
                    <a:pt x="1412" y="749"/>
                  </a:cubicBezTo>
                  <a:cubicBezTo>
                    <a:pt x="1412" y="749"/>
                    <a:pt x="1412" y="749"/>
                    <a:pt x="1412" y="749"/>
                  </a:cubicBezTo>
                  <a:cubicBezTo>
                    <a:pt x="1411" y="749"/>
                    <a:pt x="1411" y="749"/>
                    <a:pt x="1411" y="749"/>
                  </a:cubicBezTo>
                  <a:cubicBezTo>
                    <a:pt x="1411" y="749"/>
                    <a:pt x="1411" y="749"/>
                    <a:pt x="1411" y="749"/>
                  </a:cubicBezTo>
                  <a:cubicBezTo>
                    <a:pt x="1411" y="749"/>
                    <a:pt x="1411" y="749"/>
                    <a:pt x="1411" y="749"/>
                  </a:cubicBezTo>
                  <a:cubicBezTo>
                    <a:pt x="1411" y="749"/>
                    <a:pt x="1411" y="749"/>
                    <a:pt x="1411" y="749"/>
                  </a:cubicBezTo>
                  <a:cubicBezTo>
                    <a:pt x="1410" y="749"/>
                    <a:pt x="1410" y="748"/>
                    <a:pt x="1410" y="748"/>
                  </a:cubicBezTo>
                  <a:cubicBezTo>
                    <a:pt x="1409" y="748"/>
                    <a:pt x="1409" y="748"/>
                    <a:pt x="1409" y="748"/>
                  </a:cubicBezTo>
                  <a:cubicBezTo>
                    <a:pt x="1409" y="748"/>
                    <a:pt x="1409" y="748"/>
                    <a:pt x="1409" y="748"/>
                  </a:cubicBezTo>
                  <a:cubicBezTo>
                    <a:pt x="1408" y="748"/>
                    <a:pt x="1408" y="748"/>
                    <a:pt x="1407" y="748"/>
                  </a:cubicBezTo>
                  <a:cubicBezTo>
                    <a:pt x="1407" y="748"/>
                    <a:pt x="1407" y="748"/>
                    <a:pt x="1407" y="748"/>
                  </a:cubicBezTo>
                  <a:cubicBezTo>
                    <a:pt x="1407" y="748"/>
                    <a:pt x="1407" y="748"/>
                    <a:pt x="1407" y="748"/>
                  </a:cubicBezTo>
                  <a:cubicBezTo>
                    <a:pt x="1407" y="748"/>
                    <a:pt x="1407" y="748"/>
                    <a:pt x="1407" y="748"/>
                  </a:cubicBezTo>
                  <a:cubicBezTo>
                    <a:pt x="1406" y="747"/>
                    <a:pt x="1406" y="747"/>
                    <a:pt x="1406" y="747"/>
                  </a:cubicBezTo>
                  <a:cubicBezTo>
                    <a:pt x="1406" y="747"/>
                    <a:pt x="1405" y="747"/>
                    <a:pt x="1405" y="747"/>
                  </a:cubicBezTo>
                  <a:cubicBezTo>
                    <a:pt x="1405" y="747"/>
                    <a:pt x="1405" y="747"/>
                    <a:pt x="1405" y="747"/>
                  </a:cubicBezTo>
                  <a:cubicBezTo>
                    <a:pt x="1404" y="747"/>
                    <a:pt x="1404" y="747"/>
                    <a:pt x="1404" y="747"/>
                  </a:cubicBezTo>
                  <a:cubicBezTo>
                    <a:pt x="1404" y="747"/>
                    <a:pt x="1403" y="747"/>
                    <a:pt x="1403" y="747"/>
                  </a:cubicBezTo>
                  <a:cubicBezTo>
                    <a:pt x="1403" y="747"/>
                    <a:pt x="1403" y="747"/>
                    <a:pt x="1403" y="747"/>
                  </a:cubicBezTo>
                  <a:cubicBezTo>
                    <a:pt x="1402" y="747"/>
                    <a:pt x="1402" y="747"/>
                    <a:pt x="1402" y="747"/>
                  </a:cubicBezTo>
                  <a:cubicBezTo>
                    <a:pt x="1402" y="747"/>
                    <a:pt x="1402" y="747"/>
                    <a:pt x="1402" y="747"/>
                  </a:cubicBezTo>
                  <a:cubicBezTo>
                    <a:pt x="1402" y="747"/>
                    <a:pt x="1402" y="747"/>
                    <a:pt x="1402" y="747"/>
                  </a:cubicBezTo>
                  <a:cubicBezTo>
                    <a:pt x="1402" y="747"/>
                    <a:pt x="1402" y="747"/>
                    <a:pt x="1402" y="747"/>
                  </a:cubicBezTo>
                  <a:cubicBezTo>
                    <a:pt x="1402" y="747"/>
                    <a:pt x="1402" y="747"/>
                    <a:pt x="1402" y="747"/>
                  </a:cubicBezTo>
                  <a:cubicBezTo>
                    <a:pt x="1402" y="748"/>
                    <a:pt x="1402" y="748"/>
                    <a:pt x="1402" y="748"/>
                  </a:cubicBezTo>
                  <a:cubicBezTo>
                    <a:pt x="1401" y="748"/>
                    <a:pt x="1400" y="749"/>
                    <a:pt x="1399" y="749"/>
                  </a:cubicBezTo>
                  <a:cubicBezTo>
                    <a:pt x="1399" y="750"/>
                    <a:pt x="1399" y="750"/>
                    <a:pt x="1399" y="750"/>
                  </a:cubicBezTo>
                  <a:cubicBezTo>
                    <a:pt x="1399" y="750"/>
                    <a:pt x="1399" y="750"/>
                    <a:pt x="1399" y="750"/>
                  </a:cubicBezTo>
                  <a:cubicBezTo>
                    <a:pt x="1399" y="750"/>
                    <a:pt x="1399" y="750"/>
                    <a:pt x="1399" y="750"/>
                  </a:cubicBezTo>
                  <a:cubicBezTo>
                    <a:pt x="1398" y="750"/>
                    <a:pt x="1398" y="750"/>
                    <a:pt x="1398" y="751"/>
                  </a:cubicBezTo>
                  <a:cubicBezTo>
                    <a:pt x="1398" y="751"/>
                    <a:pt x="1398" y="751"/>
                    <a:pt x="1398" y="751"/>
                  </a:cubicBezTo>
                  <a:cubicBezTo>
                    <a:pt x="1398" y="751"/>
                    <a:pt x="1398" y="751"/>
                    <a:pt x="1398" y="751"/>
                  </a:cubicBezTo>
                  <a:cubicBezTo>
                    <a:pt x="1397" y="751"/>
                    <a:pt x="1397" y="752"/>
                    <a:pt x="1397" y="752"/>
                  </a:cubicBezTo>
                  <a:cubicBezTo>
                    <a:pt x="1396" y="752"/>
                    <a:pt x="1396" y="752"/>
                    <a:pt x="1396" y="752"/>
                  </a:cubicBezTo>
                  <a:cubicBezTo>
                    <a:pt x="1396" y="752"/>
                    <a:pt x="1396" y="752"/>
                    <a:pt x="1396" y="752"/>
                  </a:cubicBezTo>
                  <a:cubicBezTo>
                    <a:pt x="1396" y="752"/>
                    <a:pt x="1396" y="752"/>
                    <a:pt x="1396" y="752"/>
                  </a:cubicBezTo>
                  <a:cubicBezTo>
                    <a:pt x="1396" y="752"/>
                    <a:pt x="1396" y="752"/>
                    <a:pt x="1396" y="752"/>
                  </a:cubicBezTo>
                  <a:cubicBezTo>
                    <a:pt x="1396" y="752"/>
                    <a:pt x="1396" y="752"/>
                    <a:pt x="1396" y="752"/>
                  </a:cubicBezTo>
                  <a:cubicBezTo>
                    <a:pt x="1396" y="753"/>
                    <a:pt x="1396" y="753"/>
                    <a:pt x="1396" y="753"/>
                  </a:cubicBezTo>
                  <a:cubicBezTo>
                    <a:pt x="1395" y="753"/>
                    <a:pt x="1395" y="753"/>
                    <a:pt x="1394" y="753"/>
                  </a:cubicBezTo>
                  <a:cubicBezTo>
                    <a:pt x="1394" y="753"/>
                    <a:pt x="1394" y="753"/>
                    <a:pt x="1394" y="753"/>
                  </a:cubicBezTo>
                  <a:cubicBezTo>
                    <a:pt x="1394" y="753"/>
                    <a:pt x="1394" y="753"/>
                    <a:pt x="1394" y="753"/>
                  </a:cubicBezTo>
                  <a:cubicBezTo>
                    <a:pt x="1393" y="753"/>
                    <a:pt x="1393" y="753"/>
                    <a:pt x="1392" y="754"/>
                  </a:cubicBezTo>
                  <a:cubicBezTo>
                    <a:pt x="1392" y="754"/>
                    <a:pt x="1392" y="754"/>
                    <a:pt x="1392" y="754"/>
                  </a:cubicBezTo>
                  <a:cubicBezTo>
                    <a:pt x="1392" y="754"/>
                    <a:pt x="1392" y="754"/>
                    <a:pt x="1392" y="754"/>
                  </a:cubicBezTo>
                  <a:cubicBezTo>
                    <a:pt x="1392" y="754"/>
                    <a:pt x="1392" y="754"/>
                    <a:pt x="1392" y="754"/>
                  </a:cubicBezTo>
                  <a:cubicBezTo>
                    <a:pt x="1392" y="754"/>
                    <a:pt x="1392" y="754"/>
                    <a:pt x="1392" y="754"/>
                  </a:cubicBezTo>
                  <a:cubicBezTo>
                    <a:pt x="1392" y="755"/>
                    <a:pt x="1392" y="755"/>
                    <a:pt x="1392" y="756"/>
                  </a:cubicBezTo>
                  <a:cubicBezTo>
                    <a:pt x="1392" y="756"/>
                    <a:pt x="1392" y="756"/>
                    <a:pt x="1392" y="756"/>
                  </a:cubicBezTo>
                  <a:cubicBezTo>
                    <a:pt x="1391" y="756"/>
                    <a:pt x="1391" y="756"/>
                    <a:pt x="1391" y="756"/>
                  </a:cubicBezTo>
                  <a:cubicBezTo>
                    <a:pt x="1391" y="756"/>
                    <a:pt x="1391" y="756"/>
                    <a:pt x="1391" y="756"/>
                  </a:cubicBezTo>
                  <a:cubicBezTo>
                    <a:pt x="1391" y="756"/>
                    <a:pt x="1391" y="756"/>
                    <a:pt x="1391" y="756"/>
                  </a:cubicBezTo>
                  <a:cubicBezTo>
                    <a:pt x="1391" y="756"/>
                    <a:pt x="1391" y="756"/>
                    <a:pt x="1391" y="756"/>
                  </a:cubicBezTo>
                  <a:cubicBezTo>
                    <a:pt x="1391" y="756"/>
                    <a:pt x="1391" y="756"/>
                    <a:pt x="1391" y="756"/>
                  </a:cubicBezTo>
                  <a:cubicBezTo>
                    <a:pt x="1391" y="757"/>
                    <a:pt x="1391" y="757"/>
                    <a:pt x="1391" y="757"/>
                  </a:cubicBezTo>
                  <a:cubicBezTo>
                    <a:pt x="1391" y="757"/>
                    <a:pt x="1391" y="757"/>
                    <a:pt x="1391" y="757"/>
                  </a:cubicBezTo>
                  <a:cubicBezTo>
                    <a:pt x="1391" y="757"/>
                    <a:pt x="1391" y="757"/>
                    <a:pt x="1391" y="757"/>
                  </a:cubicBezTo>
                  <a:cubicBezTo>
                    <a:pt x="1391" y="757"/>
                    <a:pt x="1391" y="757"/>
                    <a:pt x="1391" y="757"/>
                  </a:cubicBezTo>
                  <a:cubicBezTo>
                    <a:pt x="1390" y="757"/>
                    <a:pt x="1390" y="757"/>
                    <a:pt x="1390" y="757"/>
                  </a:cubicBezTo>
                  <a:cubicBezTo>
                    <a:pt x="1390" y="756"/>
                    <a:pt x="1390" y="756"/>
                    <a:pt x="1390" y="756"/>
                  </a:cubicBezTo>
                  <a:cubicBezTo>
                    <a:pt x="1390" y="756"/>
                    <a:pt x="1390" y="756"/>
                    <a:pt x="1390" y="756"/>
                  </a:cubicBezTo>
                  <a:cubicBezTo>
                    <a:pt x="1389" y="756"/>
                    <a:pt x="1389" y="756"/>
                    <a:pt x="1389" y="756"/>
                  </a:cubicBezTo>
                  <a:cubicBezTo>
                    <a:pt x="1389" y="756"/>
                    <a:pt x="1389" y="756"/>
                    <a:pt x="1389" y="756"/>
                  </a:cubicBezTo>
                  <a:cubicBezTo>
                    <a:pt x="1389" y="756"/>
                    <a:pt x="1389" y="756"/>
                    <a:pt x="1389" y="756"/>
                  </a:cubicBezTo>
                  <a:cubicBezTo>
                    <a:pt x="1389" y="756"/>
                    <a:pt x="1389" y="756"/>
                    <a:pt x="1389" y="756"/>
                  </a:cubicBezTo>
                  <a:cubicBezTo>
                    <a:pt x="1390" y="756"/>
                    <a:pt x="1390" y="756"/>
                    <a:pt x="1390" y="756"/>
                  </a:cubicBezTo>
                  <a:cubicBezTo>
                    <a:pt x="1391" y="755"/>
                    <a:pt x="1391" y="755"/>
                    <a:pt x="1391" y="755"/>
                  </a:cubicBezTo>
                  <a:cubicBezTo>
                    <a:pt x="1391" y="755"/>
                    <a:pt x="1391" y="755"/>
                    <a:pt x="1391" y="755"/>
                  </a:cubicBezTo>
                  <a:cubicBezTo>
                    <a:pt x="1391" y="754"/>
                    <a:pt x="1391" y="754"/>
                    <a:pt x="1391" y="754"/>
                  </a:cubicBezTo>
                  <a:cubicBezTo>
                    <a:pt x="1392" y="754"/>
                    <a:pt x="1392" y="753"/>
                    <a:pt x="1393" y="753"/>
                  </a:cubicBezTo>
                  <a:cubicBezTo>
                    <a:pt x="1393" y="753"/>
                    <a:pt x="1393" y="753"/>
                    <a:pt x="1393" y="753"/>
                  </a:cubicBezTo>
                  <a:cubicBezTo>
                    <a:pt x="1393" y="752"/>
                    <a:pt x="1393" y="752"/>
                    <a:pt x="1393" y="752"/>
                  </a:cubicBezTo>
                  <a:cubicBezTo>
                    <a:pt x="1394" y="752"/>
                    <a:pt x="1394" y="752"/>
                    <a:pt x="1395" y="752"/>
                  </a:cubicBezTo>
                  <a:cubicBezTo>
                    <a:pt x="1395" y="751"/>
                    <a:pt x="1395" y="751"/>
                    <a:pt x="1395" y="751"/>
                  </a:cubicBezTo>
                  <a:cubicBezTo>
                    <a:pt x="1395" y="751"/>
                    <a:pt x="1395" y="751"/>
                    <a:pt x="1395" y="751"/>
                  </a:cubicBezTo>
                  <a:cubicBezTo>
                    <a:pt x="1395" y="751"/>
                    <a:pt x="1395" y="751"/>
                    <a:pt x="1395" y="751"/>
                  </a:cubicBezTo>
                  <a:cubicBezTo>
                    <a:pt x="1396" y="749"/>
                    <a:pt x="1397" y="749"/>
                    <a:pt x="1399" y="748"/>
                  </a:cubicBezTo>
                  <a:cubicBezTo>
                    <a:pt x="1399" y="747"/>
                    <a:pt x="1399" y="747"/>
                    <a:pt x="1399" y="747"/>
                  </a:cubicBezTo>
                  <a:cubicBezTo>
                    <a:pt x="1399" y="747"/>
                    <a:pt x="1399" y="747"/>
                    <a:pt x="1399" y="747"/>
                  </a:cubicBezTo>
                  <a:cubicBezTo>
                    <a:pt x="1400" y="747"/>
                    <a:pt x="1400" y="747"/>
                    <a:pt x="1400" y="747"/>
                  </a:cubicBezTo>
                  <a:cubicBezTo>
                    <a:pt x="1400" y="747"/>
                    <a:pt x="1400" y="747"/>
                    <a:pt x="1400" y="747"/>
                  </a:cubicBezTo>
                  <a:cubicBezTo>
                    <a:pt x="1401" y="747"/>
                    <a:pt x="1401" y="747"/>
                    <a:pt x="1402" y="746"/>
                  </a:cubicBezTo>
                  <a:cubicBezTo>
                    <a:pt x="1402" y="746"/>
                    <a:pt x="1402" y="746"/>
                    <a:pt x="1402" y="746"/>
                  </a:cubicBezTo>
                  <a:cubicBezTo>
                    <a:pt x="1402" y="746"/>
                    <a:pt x="1402" y="746"/>
                    <a:pt x="1402" y="746"/>
                  </a:cubicBezTo>
                  <a:cubicBezTo>
                    <a:pt x="1402" y="746"/>
                    <a:pt x="1402" y="746"/>
                    <a:pt x="1402" y="746"/>
                  </a:cubicBezTo>
                  <a:cubicBezTo>
                    <a:pt x="1403" y="746"/>
                    <a:pt x="1403" y="746"/>
                    <a:pt x="1403" y="746"/>
                  </a:cubicBezTo>
                  <a:cubicBezTo>
                    <a:pt x="1403" y="746"/>
                    <a:pt x="1403" y="746"/>
                    <a:pt x="1403" y="746"/>
                  </a:cubicBezTo>
                  <a:cubicBezTo>
                    <a:pt x="1403" y="746"/>
                    <a:pt x="1403" y="746"/>
                    <a:pt x="1403" y="746"/>
                  </a:cubicBezTo>
                  <a:cubicBezTo>
                    <a:pt x="1403" y="745"/>
                    <a:pt x="1403" y="745"/>
                    <a:pt x="1403" y="745"/>
                  </a:cubicBezTo>
                  <a:cubicBezTo>
                    <a:pt x="1402" y="745"/>
                    <a:pt x="1402" y="745"/>
                    <a:pt x="1402" y="745"/>
                  </a:cubicBezTo>
                  <a:cubicBezTo>
                    <a:pt x="1402" y="744"/>
                    <a:pt x="1402" y="744"/>
                    <a:pt x="1402" y="744"/>
                  </a:cubicBezTo>
                  <a:cubicBezTo>
                    <a:pt x="1402" y="744"/>
                    <a:pt x="1402" y="744"/>
                    <a:pt x="1402" y="743"/>
                  </a:cubicBezTo>
                  <a:cubicBezTo>
                    <a:pt x="1402" y="743"/>
                    <a:pt x="1402" y="743"/>
                    <a:pt x="1402" y="743"/>
                  </a:cubicBezTo>
                  <a:cubicBezTo>
                    <a:pt x="1402" y="742"/>
                    <a:pt x="1402" y="742"/>
                    <a:pt x="1402" y="742"/>
                  </a:cubicBezTo>
                  <a:cubicBezTo>
                    <a:pt x="1401" y="740"/>
                    <a:pt x="1401" y="740"/>
                    <a:pt x="1401" y="740"/>
                  </a:cubicBezTo>
                  <a:cubicBezTo>
                    <a:pt x="1397" y="735"/>
                    <a:pt x="1397" y="735"/>
                    <a:pt x="1397" y="735"/>
                  </a:cubicBezTo>
                  <a:cubicBezTo>
                    <a:pt x="1396" y="733"/>
                    <a:pt x="1396" y="733"/>
                    <a:pt x="1396" y="733"/>
                  </a:cubicBezTo>
                  <a:cubicBezTo>
                    <a:pt x="1395" y="732"/>
                    <a:pt x="1395" y="732"/>
                    <a:pt x="1395" y="732"/>
                  </a:cubicBezTo>
                  <a:cubicBezTo>
                    <a:pt x="1395" y="732"/>
                    <a:pt x="1395" y="732"/>
                    <a:pt x="1395" y="732"/>
                  </a:cubicBezTo>
                  <a:cubicBezTo>
                    <a:pt x="1395" y="732"/>
                    <a:pt x="1395" y="732"/>
                    <a:pt x="1395" y="732"/>
                  </a:cubicBezTo>
                  <a:cubicBezTo>
                    <a:pt x="1395" y="732"/>
                    <a:pt x="1395" y="732"/>
                    <a:pt x="1395" y="732"/>
                  </a:cubicBezTo>
                  <a:cubicBezTo>
                    <a:pt x="1395" y="731"/>
                    <a:pt x="1395" y="731"/>
                    <a:pt x="1395" y="731"/>
                  </a:cubicBezTo>
                  <a:cubicBezTo>
                    <a:pt x="1395" y="731"/>
                    <a:pt x="1395" y="731"/>
                    <a:pt x="1395" y="731"/>
                  </a:cubicBezTo>
                  <a:cubicBezTo>
                    <a:pt x="1395" y="731"/>
                    <a:pt x="1395" y="731"/>
                    <a:pt x="1395" y="731"/>
                  </a:cubicBezTo>
                  <a:cubicBezTo>
                    <a:pt x="1394" y="731"/>
                    <a:pt x="1394" y="731"/>
                    <a:pt x="1394" y="731"/>
                  </a:cubicBezTo>
                  <a:cubicBezTo>
                    <a:pt x="1394" y="731"/>
                    <a:pt x="1394" y="731"/>
                    <a:pt x="1394" y="731"/>
                  </a:cubicBezTo>
                  <a:cubicBezTo>
                    <a:pt x="1394" y="731"/>
                    <a:pt x="1394" y="731"/>
                    <a:pt x="1394" y="731"/>
                  </a:cubicBezTo>
                  <a:cubicBezTo>
                    <a:pt x="1394" y="731"/>
                    <a:pt x="1394" y="731"/>
                    <a:pt x="1394" y="731"/>
                  </a:cubicBezTo>
                  <a:cubicBezTo>
                    <a:pt x="1394" y="731"/>
                    <a:pt x="1394" y="731"/>
                    <a:pt x="1394" y="731"/>
                  </a:cubicBezTo>
                  <a:cubicBezTo>
                    <a:pt x="1394" y="730"/>
                    <a:pt x="1394" y="730"/>
                    <a:pt x="1394" y="730"/>
                  </a:cubicBezTo>
                  <a:cubicBezTo>
                    <a:pt x="1393" y="730"/>
                    <a:pt x="1393" y="730"/>
                    <a:pt x="1393" y="730"/>
                  </a:cubicBezTo>
                  <a:cubicBezTo>
                    <a:pt x="1393" y="730"/>
                    <a:pt x="1393" y="730"/>
                    <a:pt x="1393" y="730"/>
                  </a:cubicBezTo>
                  <a:cubicBezTo>
                    <a:pt x="1392" y="730"/>
                    <a:pt x="1392" y="730"/>
                    <a:pt x="1391" y="729"/>
                  </a:cubicBezTo>
                  <a:cubicBezTo>
                    <a:pt x="1391" y="729"/>
                    <a:pt x="1391" y="729"/>
                    <a:pt x="1391" y="729"/>
                  </a:cubicBezTo>
                  <a:cubicBezTo>
                    <a:pt x="1391" y="729"/>
                    <a:pt x="1391" y="729"/>
                    <a:pt x="1391" y="729"/>
                  </a:cubicBezTo>
                  <a:cubicBezTo>
                    <a:pt x="1391" y="728"/>
                    <a:pt x="1391" y="728"/>
                    <a:pt x="1391" y="728"/>
                  </a:cubicBezTo>
                  <a:cubicBezTo>
                    <a:pt x="1391" y="728"/>
                    <a:pt x="1391" y="728"/>
                    <a:pt x="1391" y="728"/>
                  </a:cubicBezTo>
                  <a:cubicBezTo>
                    <a:pt x="1391" y="728"/>
                    <a:pt x="1391" y="728"/>
                    <a:pt x="1391" y="728"/>
                  </a:cubicBezTo>
                  <a:cubicBezTo>
                    <a:pt x="1391" y="728"/>
                    <a:pt x="1391" y="728"/>
                    <a:pt x="1391" y="728"/>
                  </a:cubicBezTo>
                  <a:cubicBezTo>
                    <a:pt x="1390" y="728"/>
                    <a:pt x="1390" y="728"/>
                    <a:pt x="1390" y="728"/>
                  </a:cubicBezTo>
                  <a:cubicBezTo>
                    <a:pt x="1390" y="728"/>
                    <a:pt x="1390" y="728"/>
                    <a:pt x="1390" y="728"/>
                  </a:cubicBezTo>
                  <a:cubicBezTo>
                    <a:pt x="1390" y="727"/>
                    <a:pt x="1390" y="727"/>
                    <a:pt x="1390" y="727"/>
                  </a:cubicBezTo>
                  <a:cubicBezTo>
                    <a:pt x="1390" y="727"/>
                    <a:pt x="1390" y="727"/>
                    <a:pt x="1390" y="727"/>
                  </a:cubicBezTo>
                  <a:cubicBezTo>
                    <a:pt x="1390" y="727"/>
                    <a:pt x="1390" y="727"/>
                    <a:pt x="1390" y="727"/>
                  </a:cubicBezTo>
                  <a:cubicBezTo>
                    <a:pt x="1390" y="727"/>
                    <a:pt x="1390" y="727"/>
                    <a:pt x="1390" y="727"/>
                  </a:cubicBezTo>
                  <a:cubicBezTo>
                    <a:pt x="1390" y="727"/>
                    <a:pt x="1390" y="727"/>
                    <a:pt x="1390" y="727"/>
                  </a:cubicBezTo>
                  <a:cubicBezTo>
                    <a:pt x="1390" y="726"/>
                    <a:pt x="1390" y="726"/>
                    <a:pt x="1390"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9" y="726"/>
                    <a:pt x="1389" y="726"/>
                    <a:pt x="1389" y="726"/>
                  </a:cubicBezTo>
                  <a:cubicBezTo>
                    <a:pt x="1388" y="726"/>
                    <a:pt x="1388" y="726"/>
                    <a:pt x="1388" y="726"/>
                  </a:cubicBezTo>
                  <a:cubicBezTo>
                    <a:pt x="1388" y="725"/>
                    <a:pt x="1388" y="725"/>
                    <a:pt x="1388" y="725"/>
                  </a:cubicBezTo>
                  <a:cubicBezTo>
                    <a:pt x="1388" y="725"/>
                    <a:pt x="1388" y="725"/>
                    <a:pt x="1388" y="725"/>
                  </a:cubicBezTo>
                  <a:cubicBezTo>
                    <a:pt x="1388" y="725"/>
                    <a:pt x="1388" y="725"/>
                    <a:pt x="1388" y="725"/>
                  </a:cubicBezTo>
                  <a:cubicBezTo>
                    <a:pt x="1388" y="725"/>
                    <a:pt x="1388" y="725"/>
                    <a:pt x="1388" y="725"/>
                  </a:cubicBezTo>
                  <a:cubicBezTo>
                    <a:pt x="1388" y="725"/>
                    <a:pt x="1388" y="725"/>
                    <a:pt x="1388" y="725"/>
                  </a:cubicBezTo>
                  <a:cubicBezTo>
                    <a:pt x="1387" y="725"/>
                    <a:pt x="1387" y="725"/>
                    <a:pt x="1387" y="725"/>
                  </a:cubicBezTo>
                  <a:cubicBezTo>
                    <a:pt x="1387" y="725"/>
                    <a:pt x="1387" y="725"/>
                    <a:pt x="1387" y="725"/>
                  </a:cubicBezTo>
                  <a:cubicBezTo>
                    <a:pt x="1387" y="725"/>
                    <a:pt x="1387" y="725"/>
                    <a:pt x="1387" y="725"/>
                  </a:cubicBezTo>
                  <a:cubicBezTo>
                    <a:pt x="1387" y="725"/>
                    <a:pt x="1387" y="725"/>
                    <a:pt x="1387" y="725"/>
                  </a:cubicBezTo>
                  <a:cubicBezTo>
                    <a:pt x="1387" y="724"/>
                    <a:pt x="1387" y="725"/>
                    <a:pt x="1387" y="725"/>
                  </a:cubicBezTo>
                  <a:cubicBezTo>
                    <a:pt x="1386" y="725"/>
                    <a:pt x="1386" y="725"/>
                    <a:pt x="1386" y="725"/>
                  </a:cubicBezTo>
                  <a:cubicBezTo>
                    <a:pt x="1386" y="725"/>
                    <a:pt x="1386" y="725"/>
                    <a:pt x="1386" y="725"/>
                  </a:cubicBezTo>
                  <a:cubicBezTo>
                    <a:pt x="1386" y="725"/>
                    <a:pt x="1386" y="725"/>
                    <a:pt x="1386" y="725"/>
                  </a:cubicBezTo>
                  <a:cubicBezTo>
                    <a:pt x="1386" y="725"/>
                    <a:pt x="1386" y="725"/>
                    <a:pt x="1386" y="725"/>
                  </a:cubicBezTo>
                  <a:cubicBezTo>
                    <a:pt x="1386" y="725"/>
                    <a:pt x="1386" y="725"/>
                    <a:pt x="1386" y="725"/>
                  </a:cubicBezTo>
                  <a:cubicBezTo>
                    <a:pt x="1385" y="725"/>
                    <a:pt x="1384" y="724"/>
                    <a:pt x="1384" y="724"/>
                  </a:cubicBezTo>
                  <a:cubicBezTo>
                    <a:pt x="1383" y="724"/>
                    <a:pt x="1383" y="724"/>
                    <a:pt x="1383" y="724"/>
                  </a:cubicBezTo>
                  <a:cubicBezTo>
                    <a:pt x="1383" y="724"/>
                    <a:pt x="1383" y="724"/>
                    <a:pt x="1383" y="724"/>
                  </a:cubicBezTo>
                  <a:cubicBezTo>
                    <a:pt x="1382" y="723"/>
                    <a:pt x="1381" y="723"/>
                    <a:pt x="1381" y="723"/>
                  </a:cubicBezTo>
                  <a:cubicBezTo>
                    <a:pt x="1381" y="723"/>
                    <a:pt x="1381" y="723"/>
                    <a:pt x="1381" y="723"/>
                  </a:cubicBezTo>
                  <a:cubicBezTo>
                    <a:pt x="1380" y="723"/>
                    <a:pt x="1380" y="723"/>
                    <a:pt x="1380" y="723"/>
                  </a:cubicBezTo>
                  <a:cubicBezTo>
                    <a:pt x="1380" y="722"/>
                    <a:pt x="1380" y="722"/>
                    <a:pt x="1380" y="722"/>
                  </a:cubicBezTo>
                  <a:cubicBezTo>
                    <a:pt x="1380" y="722"/>
                    <a:pt x="1380" y="722"/>
                    <a:pt x="1380" y="722"/>
                  </a:cubicBezTo>
                  <a:cubicBezTo>
                    <a:pt x="1380" y="722"/>
                    <a:pt x="1380" y="722"/>
                    <a:pt x="1380" y="722"/>
                  </a:cubicBezTo>
                  <a:cubicBezTo>
                    <a:pt x="1378" y="721"/>
                    <a:pt x="1379" y="719"/>
                    <a:pt x="1376" y="719"/>
                  </a:cubicBezTo>
                  <a:cubicBezTo>
                    <a:pt x="1376" y="719"/>
                    <a:pt x="1376" y="719"/>
                    <a:pt x="1376" y="719"/>
                  </a:cubicBezTo>
                  <a:cubicBezTo>
                    <a:pt x="1375" y="719"/>
                    <a:pt x="1375" y="719"/>
                    <a:pt x="1375" y="719"/>
                  </a:cubicBezTo>
                  <a:cubicBezTo>
                    <a:pt x="1375" y="719"/>
                    <a:pt x="1375" y="719"/>
                    <a:pt x="1375" y="719"/>
                  </a:cubicBezTo>
                  <a:cubicBezTo>
                    <a:pt x="1374" y="719"/>
                    <a:pt x="1374" y="719"/>
                    <a:pt x="1372" y="719"/>
                  </a:cubicBezTo>
                  <a:cubicBezTo>
                    <a:pt x="1372" y="719"/>
                    <a:pt x="1372" y="719"/>
                    <a:pt x="1372" y="719"/>
                  </a:cubicBezTo>
                  <a:cubicBezTo>
                    <a:pt x="1372" y="719"/>
                    <a:pt x="1372" y="719"/>
                    <a:pt x="1372" y="719"/>
                  </a:cubicBezTo>
                  <a:cubicBezTo>
                    <a:pt x="1371" y="719"/>
                    <a:pt x="1371" y="720"/>
                    <a:pt x="1370" y="720"/>
                  </a:cubicBezTo>
                  <a:cubicBezTo>
                    <a:pt x="1370" y="720"/>
                    <a:pt x="1370" y="720"/>
                    <a:pt x="1370" y="720"/>
                  </a:cubicBezTo>
                  <a:cubicBezTo>
                    <a:pt x="1370" y="720"/>
                    <a:pt x="1370" y="720"/>
                    <a:pt x="1370" y="720"/>
                  </a:cubicBezTo>
                  <a:cubicBezTo>
                    <a:pt x="1369" y="720"/>
                    <a:pt x="1369" y="720"/>
                    <a:pt x="1369" y="720"/>
                  </a:cubicBezTo>
                  <a:cubicBezTo>
                    <a:pt x="1369" y="720"/>
                    <a:pt x="1369" y="720"/>
                    <a:pt x="1369" y="720"/>
                  </a:cubicBezTo>
                  <a:cubicBezTo>
                    <a:pt x="1369" y="720"/>
                    <a:pt x="1369" y="720"/>
                    <a:pt x="1369" y="720"/>
                  </a:cubicBezTo>
                  <a:cubicBezTo>
                    <a:pt x="1369" y="720"/>
                    <a:pt x="1369" y="720"/>
                    <a:pt x="1369" y="720"/>
                  </a:cubicBezTo>
                  <a:cubicBezTo>
                    <a:pt x="1369" y="720"/>
                    <a:pt x="1369" y="720"/>
                    <a:pt x="1369" y="720"/>
                  </a:cubicBezTo>
                  <a:cubicBezTo>
                    <a:pt x="1370" y="719"/>
                    <a:pt x="1370" y="719"/>
                    <a:pt x="1370" y="719"/>
                  </a:cubicBezTo>
                  <a:cubicBezTo>
                    <a:pt x="1371" y="718"/>
                    <a:pt x="1371" y="718"/>
                    <a:pt x="1371" y="718"/>
                  </a:cubicBezTo>
                  <a:cubicBezTo>
                    <a:pt x="1371" y="718"/>
                    <a:pt x="1371" y="718"/>
                    <a:pt x="1371" y="718"/>
                  </a:cubicBezTo>
                  <a:cubicBezTo>
                    <a:pt x="1371" y="718"/>
                    <a:pt x="1371" y="718"/>
                    <a:pt x="1371" y="718"/>
                  </a:cubicBezTo>
                  <a:cubicBezTo>
                    <a:pt x="1372" y="718"/>
                    <a:pt x="1372" y="718"/>
                    <a:pt x="1372" y="718"/>
                  </a:cubicBezTo>
                  <a:cubicBezTo>
                    <a:pt x="1372" y="718"/>
                    <a:pt x="1372" y="718"/>
                    <a:pt x="1372" y="718"/>
                  </a:cubicBezTo>
                  <a:cubicBezTo>
                    <a:pt x="1372" y="718"/>
                    <a:pt x="1372" y="718"/>
                    <a:pt x="1373" y="718"/>
                  </a:cubicBezTo>
                  <a:cubicBezTo>
                    <a:pt x="1373" y="718"/>
                    <a:pt x="1373" y="718"/>
                    <a:pt x="1373" y="718"/>
                  </a:cubicBezTo>
                  <a:cubicBezTo>
                    <a:pt x="1373" y="718"/>
                    <a:pt x="1373" y="718"/>
                    <a:pt x="1373" y="718"/>
                  </a:cubicBezTo>
                  <a:cubicBezTo>
                    <a:pt x="1373" y="717"/>
                    <a:pt x="1374" y="717"/>
                    <a:pt x="1374" y="717"/>
                  </a:cubicBezTo>
                  <a:cubicBezTo>
                    <a:pt x="1374" y="717"/>
                    <a:pt x="1374" y="717"/>
                    <a:pt x="1374" y="717"/>
                  </a:cubicBezTo>
                  <a:cubicBezTo>
                    <a:pt x="1374" y="717"/>
                    <a:pt x="1374" y="717"/>
                    <a:pt x="1374" y="717"/>
                  </a:cubicBezTo>
                  <a:cubicBezTo>
                    <a:pt x="1374" y="717"/>
                    <a:pt x="1374" y="717"/>
                    <a:pt x="1374" y="717"/>
                  </a:cubicBezTo>
                  <a:cubicBezTo>
                    <a:pt x="1377" y="717"/>
                    <a:pt x="1376" y="716"/>
                    <a:pt x="1377" y="717"/>
                  </a:cubicBezTo>
                  <a:cubicBezTo>
                    <a:pt x="1378" y="717"/>
                    <a:pt x="1378" y="717"/>
                    <a:pt x="1378" y="717"/>
                  </a:cubicBezTo>
                  <a:cubicBezTo>
                    <a:pt x="1378" y="717"/>
                    <a:pt x="1378" y="717"/>
                    <a:pt x="1378" y="717"/>
                  </a:cubicBezTo>
                  <a:cubicBezTo>
                    <a:pt x="1378" y="716"/>
                    <a:pt x="1378" y="716"/>
                    <a:pt x="1378" y="716"/>
                  </a:cubicBezTo>
                  <a:cubicBezTo>
                    <a:pt x="1377" y="715"/>
                    <a:pt x="1377" y="715"/>
                    <a:pt x="1377" y="715"/>
                  </a:cubicBezTo>
                  <a:cubicBezTo>
                    <a:pt x="1375" y="713"/>
                    <a:pt x="1375" y="713"/>
                    <a:pt x="1375" y="713"/>
                  </a:cubicBezTo>
                  <a:cubicBezTo>
                    <a:pt x="1375" y="711"/>
                    <a:pt x="1375" y="711"/>
                    <a:pt x="1375" y="711"/>
                  </a:cubicBezTo>
                  <a:cubicBezTo>
                    <a:pt x="1374" y="711"/>
                    <a:pt x="1374" y="710"/>
                    <a:pt x="1373" y="710"/>
                  </a:cubicBezTo>
                  <a:cubicBezTo>
                    <a:pt x="1373" y="710"/>
                    <a:pt x="1373" y="710"/>
                    <a:pt x="1373" y="710"/>
                  </a:cubicBezTo>
                  <a:cubicBezTo>
                    <a:pt x="1373" y="710"/>
                    <a:pt x="1373" y="710"/>
                    <a:pt x="1373" y="710"/>
                  </a:cubicBezTo>
                  <a:cubicBezTo>
                    <a:pt x="1373" y="709"/>
                    <a:pt x="1372" y="709"/>
                    <a:pt x="1372" y="708"/>
                  </a:cubicBezTo>
                  <a:cubicBezTo>
                    <a:pt x="1372" y="708"/>
                    <a:pt x="1372" y="708"/>
                    <a:pt x="1372" y="708"/>
                  </a:cubicBezTo>
                  <a:cubicBezTo>
                    <a:pt x="1372" y="708"/>
                    <a:pt x="1372" y="708"/>
                    <a:pt x="1372" y="708"/>
                  </a:cubicBezTo>
                  <a:cubicBezTo>
                    <a:pt x="1372" y="708"/>
                    <a:pt x="1372" y="708"/>
                    <a:pt x="1372" y="708"/>
                  </a:cubicBezTo>
                  <a:cubicBezTo>
                    <a:pt x="1371" y="708"/>
                    <a:pt x="1371" y="708"/>
                    <a:pt x="1371" y="708"/>
                  </a:cubicBezTo>
                  <a:cubicBezTo>
                    <a:pt x="1371" y="707"/>
                    <a:pt x="1371" y="707"/>
                    <a:pt x="1370" y="707"/>
                  </a:cubicBezTo>
                  <a:cubicBezTo>
                    <a:pt x="1370" y="706"/>
                    <a:pt x="1370" y="706"/>
                    <a:pt x="1370" y="706"/>
                  </a:cubicBezTo>
                  <a:cubicBezTo>
                    <a:pt x="1370" y="706"/>
                    <a:pt x="1370" y="706"/>
                    <a:pt x="1370" y="706"/>
                  </a:cubicBezTo>
                  <a:cubicBezTo>
                    <a:pt x="1369" y="706"/>
                    <a:pt x="1369" y="706"/>
                    <a:pt x="1368" y="705"/>
                  </a:cubicBezTo>
                  <a:cubicBezTo>
                    <a:pt x="1368" y="705"/>
                    <a:pt x="1368" y="705"/>
                    <a:pt x="1368" y="705"/>
                  </a:cubicBezTo>
                  <a:cubicBezTo>
                    <a:pt x="1368" y="705"/>
                    <a:pt x="1368" y="705"/>
                    <a:pt x="1368" y="705"/>
                  </a:cubicBezTo>
                  <a:cubicBezTo>
                    <a:pt x="1368" y="705"/>
                    <a:pt x="1368" y="705"/>
                    <a:pt x="1368" y="705"/>
                  </a:cubicBezTo>
                  <a:cubicBezTo>
                    <a:pt x="1368" y="705"/>
                    <a:pt x="1368" y="705"/>
                    <a:pt x="1368" y="705"/>
                  </a:cubicBezTo>
                  <a:cubicBezTo>
                    <a:pt x="1368" y="705"/>
                    <a:pt x="1368" y="705"/>
                    <a:pt x="1368" y="705"/>
                  </a:cubicBezTo>
                  <a:cubicBezTo>
                    <a:pt x="1368" y="704"/>
                    <a:pt x="1368" y="704"/>
                    <a:pt x="1368" y="704"/>
                  </a:cubicBezTo>
                  <a:cubicBezTo>
                    <a:pt x="1367" y="703"/>
                    <a:pt x="1367" y="703"/>
                    <a:pt x="1367" y="702"/>
                  </a:cubicBezTo>
                  <a:cubicBezTo>
                    <a:pt x="1366" y="702"/>
                    <a:pt x="1366" y="702"/>
                    <a:pt x="1366" y="702"/>
                  </a:cubicBezTo>
                  <a:cubicBezTo>
                    <a:pt x="1366" y="701"/>
                    <a:pt x="1366" y="701"/>
                    <a:pt x="1366" y="701"/>
                  </a:cubicBezTo>
                  <a:cubicBezTo>
                    <a:pt x="1366" y="701"/>
                    <a:pt x="1366" y="701"/>
                    <a:pt x="1366" y="701"/>
                  </a:cubicBezTo>
                  <a:cubicBezTo>
                    <a:pt x="1366" y="701"/>
                    <a:pt x="1366" y="701"/>
                    <a:pt x="1366" y="701"/>
                  </a:cubicBezTo>
                  <a:cubicBezTo>
                    <a:pt x="1366" y="701"/>
                    <a:pt x="1366" y="701"/>
                    <a:pt x="1366" y="701"/>
                  </a:cubicBezTo>
                  <a:cubicBezTo>
                    <a:pt x="1366" y="701"/>
                    <a:pt x="1366" y="701"/>
                    <a:pt x="1366" y="701"/>
                  </a:cubicBezTo>
                  <a:cubicBezTo>
                    <a:pt x="1365" y="701"/>
                    <a:pt x="1365" y="701"/>
                    <a:pt x="1365" y="701"/>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5" y="700"/>
                    <a:pt x="1365" y="700"/>
                    <a:pt x="1365" y="700"/>
                  </a:cubicBezTo>
                  <a:cubicBezTo>
                    <a:pt x="1364" y="700"/>
                    <a:pt x="1364" y="700"/>
                    <a:pt x="1364" y="700"/>
                  </a:cubicBezTo>
                  <a:cubicBezTo>
                    <a:pt x="1364" y="699"/>
                    <a:pt x="1364" y="699"/>
                    <a:pt x="1364" y="699"/>
                  </a:cubicBezTo>
                  <a:cubicBezTo>
                    <a:pt x="1364" y="699"/>
                    <a:pt x="1364" y="699"/>
                    <a:pt x="1364" y="699"/>
                  </a:cubicBezTo>
                  <a:cubicBezTo>
                    <a:pt x="1364" y="699"/>
                    <a:pt x="1363" y="698"/>
                    <a:pt x="1362" y="698"/>
                  </a:cubicBezTo>
                  <a:cubicBezTo>
                    <a:pt x="1362" y="698"/>
                    <a:pt x="1362" y="698"/>
                    <a:pt x="1362" y="698"/>
                  </a:cubicBezTo>
                  <a:cubicBezTo>
                    <a:pt x="1362" y="698"/>
                    <a:pt x="1362" y="698"/>
                    <a:pt x="1362" y="698"/>
                  </a:cubicBezTo>
                  <a:cubicBezTo>
                    <a:pt x="1362" y="698"/>
                    <a:pt x="1361" y="698"/>
                    <a:pt x="1360" y="697"/>
                  </a:cubicBezTo>
                  <a:cubicBezTo>
                    <a:pt x="1360" y="697"/>
                    <a:pt x="1360" y="697"/>
                    <a:pt x="1360" y="697"/>
                  </a:cubicBezTo>
                  <a:cubicBezTo>
                    <a:pt x="1360" y="697"/>
                    <a:pt x="1360" y="697"/>
                    <a:pt x="1360" y="697"/>
                  </a:cubicBezTo>
                  <a:cubicBezTo>
                    <a:pt x="1360" y="696"/>
                    <a:pt x="1360" y="696"/>
                    <a:pt x="1360" y="696"/>
                  </a:cubicBezTo>
                  <a:cubicBezTo>
                    <a:pt x="1360" y="696"/>
                    <a:pt x="1360" y="696"/>
                    <a:pt x="1360" y="696"/>
                  </a:cubicBezTo>
                  <a:cubicBezTo>
                    <a:pt x="1360" y="695"/>
                    <a:pt x="1360" y="695"/>
                    <a:pt x="1360" y="695"/>
                  </a:cubicBezTo>
                  <a:cubicBezTo>
                    <a:pt x="1360" y="694"/>
                    <a:pt x="1360" y="694"/>
                    <a:pt x="1360" y="694"/>
                  </a:cubicBezTo>
                  <a:cubicBezTo>
                    <a:pt x="1361" y="690"/>
                    <a:pt x="1361" y="690"/>
                    <a:pt x="1361" y="690"/>
                  </a:cubicBezTo>
                  <a:cubicBezTo>
                    <a:pt x="1362" y="688"/>
                    <a:pt x="1362" y="688"/>
                    <a:pt x="1362" y="688"/>
                  </a:cubicBezTo>
                  <a:cubicBezTo>
                    <a:pt x="1362" y="688"/>
                    <a:pt x="1362" y="688"/>
                    <a:pt x="1362" y="688"/>
                  </a:cubicBezTo>
                  <a:cubicBezTo>
                    <a:pt x="1362" y="687"/>
                    <a:pt x="1362" y="687"/>
                    <a:pt x="1362" y="687"/>
                  </a:cubicBezTo>
                  <a:cubicBezTo>
                    <a:pt x="1362" y="687"/>
                    <a:pt x="1362" y="687"/>
                    <a:pt x="1362" y="687"/>
                  </a:cubicBezTo>
                  <a:cubicBezTo>
                    <a:pt x="1362" y="687"/>
                    <a:pt x="1362" y="687"/>
                    <a:pt x="1362" y="687"/>
                  </a:cubicBezTo>
                  <a:cubicBezTo>
                    <a:pt x="1362" y="687"/>
                    <a:pt x="1362" y="687"/>
                    <a:pt x="1362"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7"/>
                    <a:pt x="1363" y="687"/>
                    <a:pt x="1363" y="687"/>
                  </a:cubicBezTo>
                  <a:cubicBezTo>
                    <a:pt x="1363" y="684"/>
                    <a:pt x="1363" y="684"/>
                    <a:pt x="1363" y="684"/>
                  </a:cubicBezTo>
                  <a:cubicBezTo>
                    <a:pt x="1362" y="679"/>
                    <a:pt x="1362" y="679"/>
                    <a:pt x="1362" y="679"/>
                  </a:cubicBezTo>
                  <a:cubicBezTo>
                    <a:pt x="1361" y="667"/>
                    <a:pt x="1361" y="667"/>
                    <a:pt x="1361" y="667"/>
                  </a:cubicBezTo>
                  <a:cubicBezTo>
                    <a:pt x="1360" y="663"/>
                    <a:pt x="1360" y="663"/>
                    <a:pt x="1360" y="663"/>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9" y="660"/>
                    <a:pt x="1359" y="660"/>
                    <a:pt x="1359" y="660"/>
                  </a:cubicBezTo>
                  <a:cubicBezTo>
                    <a:pt x="1358" y="659"/>
                    <a:pt x="1357" y="661"/>
                    <a:pt x="1357" y="659"/>
                  </a:cubicBezTo>
                  <a:cubicBezTo>
                    <a:pt x="1357" y="658"/>
                    <a:pt x="1357" y="658"/>
                    <a:pt x="1357" y="658"/>
                  </a:cubicBezTo>
                  <a:cubicBezTo>
                    <a:pt x="1357" y="658"/>
                    <a:pt x="1357" y="658"/>
                    <a:pt x="1357" y="658"/>
                  </a:cubicBezTo>
                  <a:cubicBezTo>
                    <a:pt x="1357" y="658"/>
                    <a:pt x="1357" y="658"/>
                    <a:pt x="1357" y="658"/>
                  </a:cubicBezTo>
                  <a:cubicBezTo>
                    <a:pt x="1357" y="658"/>
                    <a:pt x="1357" y="658"/>
                    <a:pt x="1357" y="658"/>
                  </a:cubicBezTo>
                  <a:cubicBezTo>
                    <a:pt x="1357" y="658"/>
                    <a:pt x="1357" y="658"/>
                    <a:pt x="1357" y="658"/>
                  </a:cubicBezTo>
                  <a:cubicBezTo>
                    <a:pt x="1357" y="657"/>
                    <a:pt x="1357" y="657"/>
                    <a:pt x="1357" y="657"/>
                  </a:cubicBezTo>
                  <a:cubicBezTo>
                    <a:pt x="1356" y="657"/>
                    <a:pt x="1356" y="657"/>
                    <a:pt x="1356" y="657"/>
                  </a:cubicBezTo>
                  <a:cubicBezTo>
                    <a:pt x="1356" y="657"/>
                    <a:pt x="1356" y="657"/>
                    <a:pt x="1356" y="657"/>
                  </a:cubicBezTo>
                  <a:cubicBezTo>
                    <a:pt x="1356" y="657"/>
                    <a:pt x="1356" y="657"/>
                    <a:pt x="1356" y="657"/>
                  </a:cubicBezTo>
                  <a:cubicBezTo>
                    <a:pt x="1357" y="655"/>
                    <a:pt x="1357" y="655"/>
                    <a:pt x="1357" y="655"/>
                  </a:cubicBezTo>
                  <a:cubicBezTo>
                    <a:pt x="1357" y="651"/>
                    <a:pt x="1357" y="651"/>
                    <a:pt x="1357" y="651"/>
                  </a:cubicBezTo>
                  <a:cubicBezTo>
                    <a:pt x="1360" y="641"/>
                    <a:pt x="1360" y="641"/>
                    <a:pt x="1360" y="641"/>
                  </a:cubicBezTo>
                  <a:cubicBezTo>
                    <a:pt x="1361" y="637"/>
                    <a:pt x="1361" y="637"/>
                    <a:pt x="1361" y="637"/>
                  </a:cubicBezTo>
                  <a:cubicBezTo>
                    <a:pt x="1360" y="628"/>
                    <a:pt x="1360" y="628"/>
                    <a:pt x="1360" y="628"/>
                  </a:cubicBezTo>
                  <a:cubicBezTo>
                    <a:pt x="1349" y="627"/>
                    <a:pt x="1349" y="627"/>
                    <a:pt x="1349" y="627"/>
                  </a:cubicBezTo>
                  <a:cubicBezTo>
                    <a:pt x="1348" y="627"/>
                    <a:pt x="1348" y="627"/>
                    <a:pt x="1348" y="627"/>
                  </a:cubicBezTo>
                  <a:cubicBezTo>
                    <a:pt x="1347" y="627"/>
                    <a:pt x="1347" y="627"/>
                    <a:pt x="1347" y="627"/>
                  </a:cubicBezTo>
                  <a:cubicBezTo>
                    <a:pt x="1347" y="627"/>
                    <a:pt x="1347" y="627"/>
                    <a:pt x="1347" y="627"/>
                  </a:cubicBezTo>
                  <a:cubicBezTo>
                    <a:pt x="1346" y="627"/>
                    <a:pt x="1346" y="627"/>
                    <a:pt x="1346" y="627"/>
                  </a:cubicBezTo>
                  <a:cubicBezTo>
                    <a:pt x="1346" y="626"/>
                    <a:pt x="1346" y="626"/>
                    <a:pt x="1346" y="626"/>
                  </a:cubicBezTo>
                  <a:cubicBezTo>
                    <a:pt x="1346" y="626"/>
                    <a:pt x="1346" y="626"/>
                    <a:pt x="1346" y="626"/>
                  </a:cubicBezTo>
                  <a:cubicBezTo>
                    <a:pt x="1345" y="626"/>
                    <a:pt x="1345" y="626"/>
                    <a:pt x="1345" y="626"/>
                  </a:cubicBezTo>
                  <a:cubicBezTo>
                    <a:pt x="1345" y="627"/>
                    <a:pt x="1345" y="627"/>
                    <a:pt x="1345" y="627"/>
                  </a:cubicBezTo>
                  <a:cubicBezTo>
                    <a:pt x="1345" y="627"/>
                    <a:pt x="1345" y="627"/>
                    <a:pt x="1345" y="627"/>
                  </a:cubicBezTo>
                  <a:cubicBezTo>
                    <a:pt x="1345" y="628"/>
                    <a:pt x="1345" y="628"/>
                    <a:pt x="1345" y="628"/>
                  </a:cubicBezTo>
                  <a:cubicBezTo>
                    <a:pt x="1344" y="628"/>
                    <a:pt x="1344" y="628"/>
                    <a:pt x="1344" y="628"/>
                  </a:cubicBezTo>
                  <a:cubicBezTo>
                    <a:pt x="1344" y="628"/>
                    <a:pt x="1344" y="628"/>
                    <a:pt x="1344" y="628"/>
                  </a:cubicBezTo>
                  <a:cubicBezTo>
                    <a:pt x="1344" y="627"/>
                    <a:pt x="1344" y="627"/>
                    <a:pt x="1344" y="627"/>
                  </a:cubicBezTo>
                  <a:cubicBezTo>
                    <a:pt x="1345" y="626"/>
                    <a:pt x="1345" y="626"/>
                    <a:pt x="1345" y="626"/>
                  </a:cubicBezTo>
                  <a:cubicBezTo>
                    <a:pt x="1345" y="625"/>
                    <a:pt x="1345" y="625"/>
                    <a:pt x="1345" y="625"/>
                  </a:cubicBezTo>
                  <a:cubicBezTo>
                    <a:pt x="1345" y="625"/>
                    <a:pt x="1345" y="625"/>
                    <a:pt x="1345" y="625"/>
                  </a:cubicBezTo>
                  <a:cubicBezTo>
                    <a:pt x="1345" y="624"/>
                    <a:pt x="1345" y="624"/>
                    <a:pt x="1345" y="624"/>
                  </a:cubicBezTo>
                  <a:cubicBezTo>
                    <a:pt x="1344" y="624"/>
                    <a:pt x="1344" y="624"/>
                    <a:pt x="1344" y="624"/>
                  </a:cubicBezTo>
                  <a:cubicBezTo>
                    <a:pt x="1344" y="624"/>
                    <a:pt x="1344" y="624"/>
                    <a:pt x="1344" y="624"/>
                  </a:cubicBezTo>
                  <a:cubicBezTo>
                    <a:pt x="1344" y="624"/>
                    <a:pt x="1344" y="624"/>
                    <a:pt x="1344" y="624"/>
                  </a:cubicBezTo>
                  <a:cubicBezTo>
                    <a:pt x="1343" y="624"/>
                    <a:pt x="1343" y="624"/>
                    <a:pt x="1343" y="624"/>
                  </a:cubicBezTo>
                  <a:cubicBezTo>
                    <a:pt x="1342" y="624"/>
                    <a:pt x="1342" y="624"/>
                    <a:pt x="1342" y="624"/>
                  </a:cubicBezTo>
                  <a:cubicBezTo>
                    <a:pt x="1338" y="624"/>
                    <a:pt x="1338" y="624"/>
                    <a:pt x="1338" y="624"/>
                  </a:cubicBezTo>
                  <a:cubicBezTo>
                    <a:pt x="1336" y="624"/>
                    <a:pt x="1336" y="624"/>
                    <a:pt x="1336" y="624"/>
                  </a:cubicBezTo>
                  <a:cubicBezTo>
                    <a:pt x="1335" y="624"/>
                    <a:pt x="1335" y="624"/>
                    <a:pt x="1335" y="624"/>
                  </a:cubicBezTo>
                  <a:cubicBezTo>
                    <a:pt x="1335" y="624"/>
                    <a:pt x="1335" y="624"/>
                    <a:pt x="1335" y="624"/>
                  </a:cubicBezTo>
                  <a:cubicBezTo>
                    <a:pt x="1334" y="624"/>
                    <a:pt x="1334" y="624"/>
                    <a:pt x="1334" y="624"/>
                  </a:cubicBezTo>
                  <a:cubicBezTo>
                    <a:pt x="1334" y="624"/>
                    <a:pt x="1334" y="624"/>
                    <a:pt x="1334" y="624"/>
                  </a:cubicBezTo>
                  <a:cubicBezTo>
                    <a:pt x="1333" y="624"/>
                    <a:pt x="1333" y="624"/>
                    <a:pt x="1333" y="624"/>
                  </a:cubicBezTo>
                  <a:cubicBezTo>
                    <a:pt x="1333" y="624"/>
                    <a:pt x="1333" y="624"/>
                    <a:pt x="1333" y="624"/>
                  </a:cubicBezTo>
                  <a:cubicBezTo>
                    <a:pt x="1332" y="624"/>
                    <a:pt x="1332" y="624"/>
                    <a:pt x="1332" y="624"/>
                  </a:cubicBezTo>
                  <a:cubicBezTo>
                    <a:pt x="1332" y="624"/>
                    <a:pt x="1332" y="624"/>
                    <a:pt x="1332" y="624"/>
                  </a:cubicBezTo>
                  <a:cubicBezTo>
                    <a:pt x="1332" y="624"/>
                    <a:pt x="1332" y="624"/>
                    <a:pt x="1332" y="624"/>
                  </a:cubicBezTo>
                  <a:cubicBezTo>
                    <a:pt x="1332" y="624"/>
                    <a:pt x="1332" y="624"/>
                    <a:pt x="1332" y="624"/>
                  </a:cubicBezTo>
                  <a:cubicBezTo>
                    <a:pt x="1331" y="624"/>
                    <a:pt x="1331" y="624"/>
                    <a:pt x="1331" y="624"/>
                  </a:cubicBezTo>
                  <a:cubicBezTo>
                    <a:pt x="1330" y="623"/>
                    <a:pt x="1330" y="623"/>
                    <a:pt x="1330" y="623"/>
                  </a:cubicBezTo>
                  <a:cubicBezTo>
                    <a:pt x="1329" y="623"/>
                    <a:pt x="1329" y="623"/>
                    <a:pt x="1329" y="623"/>
                  </a:cubicBezTo>
                  <a:cubicBezTo>
                    <a:pt x="1328" y="623"/>
                    <a:pt x="1328" y="623"/>
                    <a:pt x="1328" y="623"/>
                  </a:cubicBezTo>
                  <a:cubicBezTo>
                    <a:pt x="1327" y="622"/>
                    <a:pt x="1327" y="622"/>
                    <a:pt x="1327" y="622"/>
                  </a:cubicBezTo>
                  <a:cubicBezTo>
                    <a:pt x="1327" y="622"/>
                    <a:pt x="1327" y="622"/>
                    <a:pt x="1327" y="622"/>
                  </a:cubicBezTo>
                  <a:cubicBezTo>
                    <a:pt x="1327" y="622"/>
                    <a:pt x="1327" y="622"/>
                    <a:pt x="1327" y="622"/>
                  </a:cubicBezTo>
                  <a:cubicBezTo>
                    <a:pt x="1326" y="622"/>
                    <a:pt x="1326" y="622"/>
                    <a:pt x="1326" y="622"/>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7" y="623"/>
                    <a:pt x="1327" y="623"/>
                    <a:pt x="1327" y="623"/>
                  </a:cubicBezTo>
                  <a:cubicBezTo>
                    <a:pt x="1328" y="623"/>
                    <a:pt x="1328" y="623"/>
                    <a:pt x="1328" y="623"/>
                  </a:cubicBezTo>
                  <a:cubicBezTo>
                    <a:pt x="1328" y="624"/>
                    <a:pt x="1328" y="624"/>
                    <a:pt x="1328" y="624"/>
                  </a:cubicBezTo>
                  <a:cubicBezTo>
                    <a:pt x="1329" y="624"/>
                    <a:pt x="1329" y="624"/>
                    <a:pt x="1329" y="624"/>
                  </a:cubicBezTo>
                  <a:cubicBezTo>
                    <a:pt x="1329" y="624"/>
                    <a:pt x="1329" y="624"/>
                    <a:pt x="1329" y="624"/>
                  </a:cubicBezTo>
                  <a:cubicBezTo>
                    <a:pt x="1329" y="624"/>
                    <a:pt x="1329" y="624"/>
                    <a:pt x="1329" y="624"/>
                  </a:cubicBezTo>
                  <a:cubicBezTo>
                    <a:pt x="1329" y="625"/>
                    <a:pt x="1329" y="625"/>
                    <a:pt x="1329" y="625"/>
                  </a:cubicBezTo>
                  <a:cubicBezTo>
                    <a:pt x="1330" y="625"/>
                    <a:pt x="1330" y="625"/>
                    <a:pt x="1330" y="625"/>
                  </a:cubicBezTo>
                  <a:cubicBezTo>
                    <a:pt x="1330" y="625"/>
                    <a:pt x="1330" y="625"/>
                    <a:pt x="1330" y="625"/>
                  </a:cubicBezTo>
                  <a:cubicBezTo>
                    <a:pt x="1330" y="625"/>
                    <a:pt x="1330" y="625"/>
                    <a:pt x="1330" y="625"/>
                  </a:cubicBezTo>
                  <a:cubicBezTo>
                    <a:pt x="1330" y="625"/>
                    <a:pt x="1330" y="625"/>
                    <a:pt x="1330" y="625"/>
                  </a:cubicBezTo>
                  <a:cubicBezTo>
                    <a:pt x="1330" y="625"/>
                    <a:pt x="1330" y="625"/>
                    <a:pt x="1330" y="625"/>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6"/>
                    <a:pt x="1330" y="626"/>
                    <a:pt x="1330" y="626"/>
                  </a:cubicBezTo>
                  <a:cubicBezTo>
                    <a:pt x="1330" y="627"/>
                    <a:pt x="1330" y="627"/>
                    <a:pt x="1330" y="627"/>
                  </a:cubicBezTo>
                  <a:cubicBezTo>
                    <a:pt x="1330" y="627"/>
                    <a:pt x="1330" y="627"/>
                    <a:pt x="1330" y="627"/>
                  </a:cubicBezTo>
                  <a:cubicBezTo>
                    <a:pt x="1330" y="627"/>
                    <a:pt x="1330" y="627"/>
                    <a:pt x="1330" y="627"/>
                  </a:cubicBezTo>
                  <a:cubicBezTo>
                    <a:pt x="1329" y="627"/>
                    <a:pt x="1329" y="627"/>
                    <a:pt x="1329" y="627"/>
                  </a:cubicBezTo>
                  <a:cubicBezTo>
                    <a:pt x="1326" y="626"/>
                    <a:pt x="1326" y="626"/>
                    <a:pt x="1326" y="626"/>
                  </a:cubicBezTo>
                  <a:cubicBezTo>
                    <a:pt x="1320" y="624"/>
                    <a:pt x="1320" y="624"/>
                    <a:pt x="1320" y="624"/>
                  </a:cubicBezTo>
                  <a:cubicBezTo>
                    <a:pt x="1318" y="623"/>
                    <a:pt x="1318" y="623"/>
                    <a:pt x="1318" y="623"/>
                  </a:cubicBezTo>
                  <a:cubicBezTo>
                    <a:pt x="1317" y="623"/>
                    <a:pt x="1317" y="623"/>
                    <a:pt x="1317" y="623"/>
                  </a:cubicBezTo>
                  <a:cubicBezTo>
                    <a:pt x="1316" y="622"/>
                    <a:pt x="1315" y="622"/>
                    <a:pt x="1314" y="622"/>
                  </a:cubicBezTo>
                  <a:cubicBezTo>
                    <a:pt x="1314" y="622"/>
                    <a:pt x="1314" y="622"/>
                    <a:pt x="1314" y="622"/>
                  </a:cubicBezTo>
                  <a:cubicBezTo>
                    <a:pt x="1314" y="622"/>
                    <a:pt x="1314" y="622"/>
                    <a:pt x="1314" y="622"/>
                  </a:cubicBezTo>
                  <a:cubicBezTo>
                    <a:pt x="1313" y="622"/>
                    <a:pt x="1313" y="622"/>
                    <a:pt x="1312" y="622"/>
                  </a:cubicBezTo>
                  <a:cubicBezTo>
                    <a:pt x="1312" y="622"/>
                    <a:pt x="1312" y="622"/>
                    <a:pt x="1312" y="622"/>
                  </a:cubicBezTo>
                  <a:cubicBezTo>
                    <a:pt x="1312" y="622"/>
                    <a:pt x="1312" y="622"/>
                    <a:pt x="1312" y="622"/>
                  </a:cubicBezTo>
                  <a:cubicBezTo>
                    <a:pt x="1312" y="622"/>
                    <a:pt x="1312" y="622"/>
                    <a:pt x="1312" y="622"/>
                  </a:cubicBezTo>
                  <a:cubicBezTo>
                    <a:pt x="1310" y="622"/>
                    <a:pt x="1311" y="622"/>
                    <a:pt x="1309" y="623"/>
                  </a:cubicBezTo>
                  <a:cubicBezTo>
                    <a:pt x="1309" y="623"/>
                    <a:pt x="1309" y="623"/>
                    <a:pt x="1309" y="623"/>
                  </a:cubicBezTo>
                  <a:cubicBezTo>
                    <a:pt x="1308" y="623"/>
                    <a:pt x="1308" y="623"/>
                    <a:pt x="1308" y="623"/>
                  </a:cubicBezTo>
                  <a:cubicBezTo>
                    <a:pt x="1308" y="623"/>
                    <a:pt x="1308" y="623"/>
                    <a:pt x="1308" y="623"/>
                  </a:cubicBezTo>
                  <a:cubicBezTo>
                    <a:pt x="1304" y="624"/>
                    <a:pt x="1302" y="623"/>
                    <a:pt x="1298" y="622"/>
                  </a:cubicBezTo>
                  <a:cubicBezTo>
                    <a:pt x="1298" y="622"/>
                    <a:pt x="1298" y="622"/>
                    <a:pt x="1298" y="622"/>
                  </a:cubicBezTo>
                  <a:cubicBezTo>
                    <a:pt x="1298" y="622"/>
                    <a:pt x="1298" y="622"/>
                    <a:pt x="1298" y="622"/>
                  </a:cubicBezTo>
                  <a:cubicBezTo>
                    <a:pt x="1298" y="622"/>
                    <a:pt x="1298" y="622"/>
                    <a:pt x="1298" y="622"/>
                  </a:cubicBezTo>
                  <a:cubicBezTo>
                    <a:pt x="1298" y="622"/>
                    <a:pt x="1298" y="622"/>
                    <a:pt x="1298" y="622"/>
                  </a:cubicBezTo>
                  <a:cubicBezTo>
                    <a:pt x="1296" y="621"/>
                    <a:pt x="1292" y="623"/>
                    <a:pt x="1291" y="625"/>
                  </a:cubicBezTo>
                  <a:cubicBezTo>
                    <a:pt x="1291" y="625"/>
                    <a:pt x="1291" y="625"/>
                    <a:pt x="1291" y="625"/>
                  </a:cubicBezTo>
                  <a:cubicBezTo>
                    <a:pt x="1291" y="625"/>
                    <a:pt x="1291" y="625"/>
                    <a:pt x="1291" y="625"/>
                  </a:cubicBezTo>
                  <a:cubicBezTo>
                    <a:pt x="1291" y="625"/>
                    <a:pt x="1291" y="625"/>
                    <a:pt x="1291" y="625"/>
                  </a:cubicBezTo>
                  <a:cubicBezTo>
                    <a:pt x="1290" y="627"/>
                    <a:pt x="1289" y="627"/>
                    <a:pt x="1289" y="628"/>
                  </a:cubicBezTo>
                  <a:cubicBezTo>
                    <a:pt x="1289" y="628"/>
                    <a:pt x="1289" y="628"/>
                    <a:pt x="1289" y="628"/>
                  </a:cubicBezTo>
                  <a:cubicBezTo>
                    <a:pt x="1288" y="629"/>
                    <a:pt x="1288" y="629"/>
                    <a:pt x="1288" y="629"/>
                  </a:cubicBezTo>
                  <a:cubicBezTo>
                    <a:pt x="1288" y="630"/>
                    <a:pt x="1288" y="630"/>
                    <a:pt x="1287" y="631"/>
                  </a:cubicBezTo>
                  <a:cubicBezTo>
                    <a:pt x="1287" y="631"/>
                    <a:pt x="1287" y="631"/>
                    <a:pt x="1287" y="631"/>
                  </a:cubicBezTo>
                  <a:cubicBezTo>
                    <a:pt x="1287" y="631"/>
                    <a:pt x="1287" y="631"/>
                    <a:pt x="1287" y="631"/>
                  </a:cubicBezTo>
                  <a:cubicBezTo>
                    <a:pt x="1287" y="631"/>
                    <a:pt x="1287" y="631"/>
                    <a:pt x="1287" y="631"/>
                  </a:cubicBezTo>
                  <a:cubicBezTo>
                    <a:pt x="1287" y="632"/>
                    <a:pt x="1287" y="632"/>
                    <a:pt x="1287" y="632"/>
                  </a:cubicBezTo>
                  <a:cubicBezTo>
                    <a:pt x="1287" y="631"/>
                    <a:pt x="1287" y="631"/>
                    <a:pt x="1287" y="631"/>
                  </a:cubicBezTo>
                  <a:cubicBezTo>
                    <a:pt x="1287" y="631"/>
                    <a:pt x="1287" y="631"/>
                    <a:pt x="1287" y="631"/>
                  </a:cubicBezTo>
                  <a:cubicBezTo>
                    <a:pt x="1287" y="629"/>
                    <a:pt x="1287" y="629"/>
                    <a:pt x="1287" y="629"/>
                  </a:cubicBezTo>
                  <a:cubicBezTo>
                    <a:pt x="1287" y="629"/>
                    <a:pt x="1287" y="629"/>
                    <a:pt x="1287" y="629"/>
                  </a:cubicBezTo>
                  <a:cubicBezTo>
                    <a:pt x="1287" y="628"/>
                    <a:pt x="1287" y="628"/>
                    <a:pt x="1287" y="628"/>
                  </a:cubicBezTo>
                  <a:cubicBezTo>
                    <a:pt x="1287" y="628"/>
                    <a:pt x="1287" y="628"/>
                    <a:pt x="1287" y="628"/>
                  </a:cubicBezTo>
                  <a:cubicBezTo>
                    <a:pt x="1288" y="628"/>
                    <a:pt x="1288" y="628"/>
                    <a:pt x="1288" y="628"/>
                  </a:cubicBezTo>
                  <a:cubicBezTo>
                    <a:pt x="1288" y="628"/>
                    <a:pt x="1288" y="628"/>
                    <a:pt x="1288" y="628"/>
                  </a:cubicBezTo>
                  <a:cubicBezTo>
                    <a:pt x="1288" y="628"/>
                    <a:pt x="1288" y="628"/>
                    <a:pt x="1288" y="628"/>
                  </a:cubicBezTo>
                  <a:cubicBezTo>
                    <a:pt x="1288" y="627"/>
                    <a:pt x="1288" y="627"/>
                    <a:pt x="1288" y="627"/>
                  </a:cubicBezTo>
                  <a:cubicBezTo>
                    <a:pt x="1288" y="627"/>
                    <a:pt x="1288" y="627"/>
                    <a:pt x="1288" y="627"/>
                  </a:cubicBezTo>
                  <a:cubicBezTo>
                    <a:pt x="1288" y="627"/>
                    <a:pt x="1288" y="627"/>
                    <a:pt x="1288" y="627"/>
                  </a:cubicBezTo>
                  <a:cubicBezTo>
                    <a:pt x="1289" y="627"/>
                    <a:pt x="1289" y="627"/>
                    <a:pt x="1289" y="627"/>
                  </a:cubicBezTo>
                  <a:cubicBezTo>
                    <a:pt x="1289" y="627"/>
                    <a:pt x="1289" y="627"/>
                    <a:pt x="1289" y="627"/>
                  </a:cubicBezTo>
                  <a:cubicBezTo>
                    <a:pt x="1289" y="627"/>
                    <a:pt x="1289" y="627"/>
                    <a:pt x="1289" y="627"/>
                  </a:cubicBezTo>
                  <a:cubicBezTo>
                    <a:pt x="1289" y="627"/>
                    <a:pt x="1289" y="627"/>
                    <a:pt x="1289" y="627"/>
                  </a:cubicBezTo>
                  <a:cubicBezTo>
                    <a:pt x="1289" y="626"/>
                    <a:pt x="1289" y="626"/>
                    <a:pt x="1289" y="626"/>
                  </a:cubicBezTo>
                  <a:cubicBezTo>
                    <a:pt x="1290" y="626"/>
                    <a:pt x="1289" y="625"/>
                    <a:pt x="1290" y="625"/>
                  </a:cubicBezTo>
                  <a:cubicBezTo>
                    <a:pt x="1290" y="624"/>
                    <a:pt x="1290" y="624"/>
                    <a:pt x="1290" y="624"/>
                  </a:cubicBezTo>
                  <a:cubicBezTo>
                    <a:pt x="1290" y="624"/>
                    <a:pt x="1290" y="624"/>
                    <a:pt x="1290" y="624"/>
                  </a:cubicBezTo>
                  <a:cubicBezTo>
                    <a:pt x="1290" y="624"/>
                    <a:pt x="1290" y="624"/>
                    <a:pt x="1290" y="624"/>
                  </a:cubicBezTo>
                  <a:cubicBezTo>
                    <a:pt x="1290" y="624"/>
                    <a:pt x="1290" y="624"/>
                    <a:pt x="1290" y="624"/>
                  </a:cubicBezTo>
                  <a:cubicBezTo>
                    <a:pt x="1291" y="624"/>
                    <a:pt x="1291" y="624"/>
                    <a:pt x="1291" y="624"/>
                  </a:cubicBezTo>
                  <a:cubicBezTo>
                    <a:pt x="1291" y="624"/>
                    <a:pt x="1291" y="624"/>
                    <a:pt x="1291" y="624"/>
                  </a:cubicBezTo>
                  <a:cubicBezTo>
                    <a:pt x="1291" y="624"/>
                    <a:pt x="1291" y="624"/>
                    <a:pt x="1291" y="624"/>
                  </a:cubicBezTo>
                  <a:cubicBezTo>
                    <a:pt x="1291" y="623"/>
                    <a:pt x="1291" y="623"/>
                    <a:pt x="1291" y="623"/>
                  </a:cubicBezTo>
                  <a:cubicBezTo>
                    <a:pt x="1291" y="623"/>
                    <a:pt x="1291" y="623"/>
                    <a:pt x="1291" y="623"/>
                  </a:cubicBezTo>
                  <a:cubicBezTo>
                    <a:pt x="1291" y="623"/>
                    <a:pt x="1291" y="623"/>
                    <a:pt x="1291" y="623"/>
                  </a:cubicBezTo>
                  <a:cubicBezTo>
                    <a:pt x="1292" y="623"/>
                    <a:pt x="1292" y="623"/>
                    <a:pt x="1292" y="623"/>
                  </a:cubicBezTo>
                  <a:cubicBezTo>
                    <a:pt x="1292" y="623"/>
                    <a:pt x="1292" y="623"/>
                    <a:pt x="1292" y="623"/>
                  </a:cubicBezTo>
                  <a:cubicBezTo>
                    <a:pt x="1292" y="623"/>
                    <a:pt x="1292" y="623"/>
                    <a:pt x="1292" y="623"/>
                  </a:cubicBezTo>
                  <a:cubicBezTo>
                    <a:pt x="1292" y="623"/>
                    <a:pt x="1292" y="623"/>
                    <a:pt x="1292" y="623"/>
                  </a:cubicBezTo>
                  <a:cubicBezTo>
                    <a:pt x="1292" y="622"/>
                    <a:pt x="1292" y="622"/>
                    <a:pt x="1292" y="622"/>
                  </a:cubicBezTo>
                  <a:cubicBezTo>
                    <a:pt x="1292" y="622"/>
                    <a:pt x="1292" y="622"/>
                    <a:pt x="1292" y="622"/>
                  </a:cubicBezTo>
                  <a:cubicBezTo>
                    <a:pt x="1292" y="622"/>
                    <a:pt x="1292" y="622"/>
                    <a:pt x="1292" y="622"/>
                  </a:cubicBezTo>
                  <a:cubicBezTo>
                    <a:pt x="1292" y="622"/>
                    <a:pt x="1292" y="622"/>
                    <a:pt x="1292" y="622"/>
                  </a:cubicBezTo>
                  <a:cubicBezTo>
                    <a:pt x="1293" y="622"/>
                    <a:pt x="1294" y="622"/>
                    <a:pt x="1294" y="621"/>
                  </a:cubicBezTo>
                  <a:cubicBezTo>
                    <a:pt x="1294" y="621"/>
                    <a:pt x="1294" y="621"/>
                    <a:pt x="1294" y="621"/>
                  </a:cubicBezTo>
                  <a:cubicBezTo>
                    <a:pt x="1294" y="621"/>
                    <a:pt x="1294" y="621"/>
                    <a:pt x="1294" y="621"/>
                  </a:cubicBezTo>
                  <a:cubicBezTo>
                    <a:pt x="1294" y="620"/>
                    <a:pt x="1294" y="620"/>
                    <a:pt x="1294" y="620"/>
                  </a:cubicBezTo>
                  <a:cubicBezTo>
                    <a:pt x="1294" y="620"/>
                    <a:pt x="1294" y="620"/>
                    <a:pt x="1294" y="620"/>
                  </a:cubicBezTo>
                  <a:cubicBezTo>
                    <a:pt x="1293" y="620"/>
                    <a:pt x="1293" y="620"/>
                    <a:pt x="1293" y="620"/>
                  </a:cubicBezTo>
                  <a:cubicBezTo>
                    <a:pt x="1255" y="603"/>
                    <a:pt x="1255" y="603"/>
                    <a:pt x="1255" y="603"/>
                  </a:cubicBezTo>
                  <a:cubicBezTo>
                    <a:pt x="1254" y="603"/>
                    <a:pt x="1253" y="602"/>
                    <a:pt x="1252" y="602"/>
                  </a:cubicBezTo>
                  <a:cubicBezTo>
                    <a:pt x="1252" y="602"/>
                    <a:pt x="1252" y="602"/>
                    <a:pt x="1252" y="602"/>
                  </a:cubicBezTo>
                  <a:cubicBezTo>
                    <a:pt x="1251" y="602"/>
                    <a:pt x="1251" y="602"/>
                    <a:pt x="1251" y="602"/>
                  </a:cubicBezTo>
                  <a:cubicBezTo>
                    <a:pt x="1251" y="602"/>
                    <a:pt x="1251" y="602"/>
                    <a:pt x="1251" y="602"/>
                  </a:cubicBezTo>
                  <a:cubicBezTo>
                    <a:pt x="1251" y="602"/>
                    <a:pt x="1251" y="602"/>
                    <a:pt x="1251" y="602"/>
                  </a:cubicBezTo>
                  <a:cubicBezTo>
                    <a:pt x="1251" y="602"/>
                    <a:pt x="1251" y="602"/>
                    <a:pt x="1251" y="602"/>
                  </a:cubicBezTo>
                  <a:cubicBezTo>
                    <a:pt x="1250" y="601"/>
                    <a:pt x="1250" y="601"/>
                    <a:pt x="1250" y="601"/>
                  </a:cubicBezTo>
                  <a:cubicBezTo>
                    <a:pt x="1249" y="601"/>
                    <a:pt x="1249" y="601"/>
                    <a:pt x="1249" y="601"/>
                  </a:cubicBezTo>
                  <a:cubicBezTo>
                    <a:pt x="1249" y="601"/>
                    <a:pt x="1249" y="601"/>
                    <a:pt x="1249" y="601"/>
                  </a:cubicBezTo>
                  <a:cubicBezTo>
                    <a:pt x="1249" y="601"/>
                    <a:pt x="1249" y="601"/>
                    <a:pt x="1249" y="601"/>
                  </a:cubicBezTo>
                  <a:cubicBezTo>
                    <a:pt x="1249" y="601"/>
                    <a:pt x="1249" y="601"/>
                    <a:pt x="1249" y="601"/>
                  </a:cubicBezTo>
                  <a:cubicBezTo>
                    <a:pt x="1248" y="601"/>
                    <a:pt x="1248" y="601"/>
                    <a:pt x="1248" y="601"/>
                  </a:cubicBezTo>
                  <a:cubicBezTo>
                    <a:pt x="1248" y="601"/>
                    <a:pt x="1248" y="601"/>
                    <a:pt x="1248" y="601"/>
                  </a:cubicBezTo>
                  <a:cubicBezTo>
                    <a:pt x="1248" y="601"/>
                    <a:pt x="1248" y="601"/>
                    <a:pt x="1248" y="601"/>
                  </a:cubicBezTo>
                  <a:cubicBezTo>
                    <a:pt x="1248" y="601"/>
                    <a:pt x="1248" y="601"/>
                    <a:pt x="1248" y="601"/>
                  </a:cubicBezTo>
                  <a:cubicBezTo>
                    <a:pt x="1248" y="601"/>
                    <a:pt x="1248" y="601"/>
                    <a:pt x="1248" y="601"/>
                  </a:cubicBezTo>
                  <a:cubicBezTo>
                    <a:pt x="1247" y="601"/>
                    <a:pt x="1247" y="601"/>
                    <a:pt x="1247" y="601"/>
                  </a:cubicBezTo>
                  <a:cubicBezTo>
                    <a:pt x="1247" y="601"/>
                    <a:pt x="1247" y="601"/>
                    <a:pt x="1247" y="601"/>
                  </a:cubicBezTo>
                  <a:cubicBezTo>
                    <a:pt x="1246" y="601"/>
                    <a:pt x="1246" y="601"/>
                    <a:pt x="1245" y="601"/>
                  </a:cubicBezTo>
                  <a:cubicBezTo>
                    <a:pt x="1244" y="601"/>
                    <a:pt x="1244" y="601"/>
                    <a:pt x="1244" y="601"/>
                  </a:cubicBezTo>
                  <a:cubicBezTo>
                    <a:pt x="1244" y="601"/>
                    <a:pt x="1244" y="601"/>
                    <a:pt x="1244" y="601"/>
                  </a:cubicBezTo>
                  <a:cubicBezTo>
                    <a:pt x="1242" y="600"/>
                    <a:pt x="1243" y="601"/>
                    <a:pt x="1241" y="600"/>
                  </a:cubicBezTo>
                  <a:cubicBezTo>
                    <a:pt x="1240" y="600"/>
                    <a:pt x="1240" y="600"/>
                    <a:pt x="1240" y="600"/>
                  </a:cubicBezTo>
                  <a:cubicBezTo>
                    <a:pt x="1238" y="599"/>
                    <a:pt x="1238" y="599"/>
                    <a:pt x="1238" y="599"/>
                  </a:cubicBezTo>
                  <a:cubicBezTo>
                    <a:pt x="1237" y="598"/>
                    <a:pt x="1237" y="598"/>
                    <a:pt x="1237" y="598"/>
                  </a:cubicBezTo>
                  <a:cubicBezTo>
                    <a:pt x="1236" y="598"/>
                    <a:pt x="1236" y="598"/>
                    <a:pt x="1236" y="598"/>
                  </a:cubicBezTo>
                  <a:cubicBezTo>
                    <a:pt x="1236" y="598"/>
                    <a:pt x="1236" y="598"/>
                    <a:pt x="1236" y="598"/>
                  </a:cubicBezTo>
                  <a:cubicBezTo>
                    <a:pt x="1236" y="598"/>
                    <a:pt x="1236" y="598"/>
                    <a:pt x="1236" y="598"/>
                  </a:cubicBezTo>
                  <a:cubicBezTo>
                    <a:pt x="1236" y="599"/>
                    <a:pt x="1236" y="599"/>
                    <a:pt x="1236" y="599"/>
                  </a:cubicBezTo>
                  <a:cubicBezTo>
                    <a:pt x="1236" y="599"/>
                    <a:pt x="1236" y="599"/>
                    <a:pt x="1236" y="599"/>
                  </a:cubicBezTo>
                  <a:cubicBezTo>
                    <a:pt x="1236" y="599"/>
                    <a:pt x="1236" y="599"/>
                    <a:pt x="1236" y="599"/>
                  </a:cubicBezTo>
                  <a:cubicBezTo>
                    <a:pt x="1236" y="599"/>
                    <a:pt x="1236" y="599"/>
                    <a:pt x="1236" y="599"/>
                  </a:cubicBezTo>
                  <a:cubicBezTo>
                    <a:pt x="1236" y="599"/>
                    <a:pt x="1236" y="599"/>
                    <a:pt x="1236" y="599"/>
                  </a:cubicBezTo>
                  <a:cubicBezTo>
                    <a:pt x="1236" y="598"/>
                    <a:pt x="1236" y="598"/>
                    <a:pt x="1236" y="598"/>
                  </a:cubicBezTo>
                  <a:cubicBezTo>
                    <a:pt x="1235" y="597"/>
                    <a:pt x="1235" y="597"/>
                    <a:pt x="1235" y="597"/>
                  </a:cubicBezTo>
                  <a:cubicBezTo>
                    <a:pt x="1233" y="592"/>
                    <a:pt x="1234" y="593"/>
                    <a:pt x="1232" y="590"/>
                  </a:cubicBezTo>
                  <a:cubicBezTo>
                    <a:pt x="1231" y="590"/>
                    <a:pt x="1231" y="590"/>
                    <a:pt x="1231" y="590"/>
                  </a:cubicBezTo>
                  <a:cubicBezTo>
                    <a:pt x="1231" y="590"/>
                    <a:pt x="1231" y="590"/>
                    <a:pt x="1231" y="590"/>
                  </a:cubicBezTo>
                  <a:cubicBezTo>
                    <a:pt x="1231" y="589"/>
                    <a:pt x="1231" y="589"/>
                    <a:pt x="1231" y="589"/>
                  </a:cubicBezTo>
                  <a:cubicBezTo>
                    <a:pt x="1231" y="589"/>
                    <a:pt x="1231" y="589"/>
                    <a:pt x="1230" y="588"/>
                  </a:cubicBezTo>
                  <a:cubicBezTo>
                    <a:pt x="1230" y="588"/>
                    <a:pt x="1230" y="588"/>
                    <a:pt x="1230" y="588"/>
                  </a:cubicBezTo>
                  <a:cubicBezTo>
                    <a:pt x="1230" y="588"/>
                    <a:pt x="1230" y="588"/>
                    <a:pt x="1230" y="588"/>
                  </a:cubicBezTo>
                  <a:cubicBezTo>
                    <a:pt x="1229" y="587"/>
                    <a:pt x="1229" y="587"/>
                    <a:pt x="1229" y="587"/>
                  </a:cubicBezTo>
                  <a:cubicBezTo>
                    <a:pt x="1228" y="586"/>
                    <a:pt x="1228" y="586"/>
                    <a:pt x="1228" y="586"/>
                  </a:cubicBezTo>
                  <a:cubicBezTo>
                    <a:pt x="1228" y="586"/>
                    <a:pt x="1228" y="586"/>
                    <a:pt x="1228" y="586"/>
                  </a:cubicBezTo>
                  <a:cubicBezTo>
                    <a:pt x="1228" y="586"/>
                    <a:pt x="1228" y="586"/>
                    <a:pt x="1228" y="586"/>
                  </a:cubicBezTo>
                  <a:cubicBezTo>
                    <a:pt x="1228" y="586"/>
                    <a:pt x="1228" y="586"/>
                    <a:pt x="1228" y="586"/>
                  </a:cubicBezTo>
                  <a:cubicBezTo>
                    <a:pt x="1228" y="585"/>
                    <a:pt x="1228" y="585"/>
                    <a:pt x="1228" y="585"/>
                  </a:cubicBezTo>
                  <a:cubicBezTo>
                    <a:pt x="1228" y="585"/>
                    <a:pt x="1228" y="585"/>
                    <a:pt x="1228" y="585"/>
                  </a:cubicBezTo>
                  <a:cubicBezTo>
                    <a:pt x="1228" y="585"/>
                    <a:pt x="1228" y="585"/>
                    <a:pt x="1228" y="585"/>
                  </a:cubicBezTo>
                  <a:cubicBezTo>
                    <a:pt x="1228" y="585"/>
                    <a:pt x="1228" y="585"/>
                    <a:pt x="1228" y="585"/>
                  </a:cubicBezTo>
                  <a:cubicBezTo>
                    <a:pt x="1227" y="585"/>
                    <a:pt x="1227" y="585"/>
                    <a:pt x="1227" y="585"/>
                  </a:cubicBezTo>
                  <a:cubicBezTo>
                    <a:pt x="1227" y="585"/>
                    <a:pt x="1227" y="585"/>
                    <a:pt x="1227" y="585"/>
                  </a:cubicBezTo>
                  <a:cubicBezTo>
                    <a:pt x="1227" y="585"/>
                    <a:pt x="1227" y="585"/>
                    <a:pt x="1227" y="585"/>
                  </a:cubicBezTo>
                  <a:cubicBezTo>
                    <a:pt x="1204" y="571"/>
                    <a:pt x="1204" y="571"/>
                    <a:pt x="1204" y="571"/>
                  </a:cubicBezTo>
                  <a:cubicBezTo>
                    <a:pt x="1202" y="571"/>
                    <a:pt x="1202" y="571"/>
                    <a:pt x="1202" y="571"/>
                  </a:cubicBezTo>
                  <a:cubicBezTo>
                    <a:pt x="1195" y="569"/>
                    <a:pt x="1188" y="567"/>
                    <a:pt x="1180" y="565"/>
                  </a:cubicBezTo>
                  <a:cubicBezTo>
                    <a:pt x="1180" y="566"/>
                    <a:pt x="1180" y="567"/>
                    <a:pt x="1180" y="567"/>
                  </a:cubicBezTo>
                  <a:cubicBezTo>
                    <a:pt x="1180" y="565"/>
                    <a:pt x="1180" y="565"/>
                    <a:pt x="1177" y="564"/>
                  </a:cubicBezTo>
                  <a:cubicBezTo>
                    <a:pt x="1170" y="562"/>
                    <a:pt x="1161" y="556"/>
                    <a:pt x="1154" y="558"/>
                  </a:cubicBezTo>
                  <a:cubicBezTo>
                    <a:pt x="1151" y="559"/>
                    <a:pt x="1148" y="560"/>
                    <a:pt x="1146" y="561"/>
                  </a:cubicBezTo>
                  <a:cubicBezTo>
                    <a:pt x="1138" y="563"/>
                    <a:pt x="1131" y="566"/>
                    <a:pt x="1123" y="568"/>
                  </a:cubicBezTo>
                  <a:cubicBezTo>
                    <a:pt x="1125" y="567"/>
                    <a:pt x="1127" y="566"/>
                    <a:pt x="1128" y="564"/>
                  </a:cubicBezTo>
                  <a:cubicBezTo>
                    <a:pt x="1123" y="564"/>
                    <a:pt x="1118" y="567"/>
                    <a:pt x="1114" y="569"/>
                  </a:cubicBezTo>
                  <a:cubicBezTo>
                    <a:pt x="1120" y="566"/>
                    <a:pt x="1126" y="560"/>
                    <a:pt x="1124" y="553"/>
                  </a:cubicBezTo>
                  <a:cubicBezTo>
                    <a:pt x="1123" y="550"/>
                    <a:pt x="1121" y="547"/>
                    <a:pt x="1120" y="544"/>
                  </a:cubicBezTo>
                  <a:cubicBezTo>
                    <a:pt x="1120" y="543"/>
                    <a:pt x="1119" y="542"/>
                    <a:pt x="1118" y="541"/>
                  </a:cubicBezTo>
                  <a:cubicBezTo>
                    <a:pt x="1118" y="540"/>
                    <a:pt x="1117" y="539"/>
                    <a:pt x="1116" y="539"/>
                  </a:cubicBezTo>
                  <a:cubicBezTo>
                    <a:pt x="1116" y="538"/>
                    <a:pt x="1117" y="537"/>
                    <a:pt x="1117" y="536"/>
                  </a:cubicBezTo>
                  <a:cubicBezTo>
                    <a:pt x="1116" y="534"/>
                    <a:pt x="1116" y="531"/>
                    <a:pt x="1115" y="529"/>
                  </a:cubicBezTo>
                  <a:cubicBezTo>
                    <a:pt x="1113" y="526"/>
                    <a:pt x="1112" y="524"/>
                    <a:pt x="1110" y="521"/>
                  </a:cubicBezTo>
                  <a:cubicBezTo>
                    <a:pt x="1109" y="518"/>
                    <a:pt x="1109" y="516"/>
                    <a:pt x="1108" y="513"/>
                  </a:cubicBezTo>
                  <a:cubicBezTo>
                    <a:pt x="1108" y="512"/>
                    <a:pt x="1107" y="509"/>
                    <a:pt x="1106" y="508"/>
                  </a:cubicBezTo>
                  <a:cubicBezTo>
                    <a:pt x="1105" y="506"/>
                    <a:pt x="1105" y="507"/>
                    <a:pt x="1103" y="507"/>
                  </a:cubicBezTo>
                  <a:cubicBezTo>
                    <a:pt x="1102" y="507"/>
                    <a:pt x="1098" y="506"/>
                    <a:pt x="1096" y="506"/>
                  </a:cubicBezTo>
                  <a:cubicBezTo>
                    <a:pt x="1092" y="506"/>
                    <a:pt x="1088" y="507"/>
                    <a:pt x="1084" y="507"/>
                  </a:cubicBezTo>
                  <a:cubicBezTo>
                    <a:pt x="1085" y="508"/>
                    <a:pt x="1084" y="509"/>
                    <a:pt x="1083" y="511"/>
                  </a:cubicBezTo>
                  <a:cubicBezTo>
                    <a:pt x="1082" y="513"/>
                    <a:pt x="1082" y="513"/>
                    <a:pt x="1082" y="515"/>
                  </a:cubicBezTo>
                  <a:cubicBezTo>
                    <a:pt x="1082" y="519"/>
                    <a:pt x="1082" y="521"/>
                    <a:pt x="1079" y="525"/>
                  </a:cubicBezTo>
                  <a:cubicBezTo>
                    <a:pt x="1080" y="522"/>
                    <a:pt x="1081" y="519"/>
                    <a:pt x="1081" y="517"/>
                  </a:cubicBezTo>
                  <a:cubicBezTo>
                    <a:pt x="1081" y="515"/>
                    <a:pt x="1080" y="514"/>
                    <a:pt x="1081" y="513"/>
                  </a:cubicBezTo>
                  <a:cubicBezTo>
                    <a:pt x="1081" y="510"/>
                    <a:pt x="1083" y="510"/>
                    <a:pt x="1083" y="507"/>
                  </a:cubicBezTo>
                  <a:cubicBezTo>
                    <a:pt x="1083" y="504"/>
                    <a:pt x="1082" y="506"/>
                    <a:pt x="1081" y="506"/>
                  </a:cubicBezTo>
                  <a:cubicBezTo>
                    <a:pt x="1078" y="506"/>
                    <a:pt x="1076" y="506"/>
                    <a:pt x="1073" y="505"/>
                  </a:cubicBezTo>
                  <a:cubicBezTo>
                    <a:pt x="1071" y="504"/>
                    <a:pt x="1064" y="498"/>
                    <a:pt x="1065" y="496"/>
                  </a:cubicBezTo>
                  <a:cubicBezTo>
                    <a:pt x="1065" y="495"/>
                    <a:pt x="1069" y="496"/>
                    <a:pt x="1069" y="495"/>
                  </a:cubicBezTo>
                  <a:cubicBezTo>
                    <a:pt x="1070" y="494"/>
                    <a:pt x="1069" y="492"/>
                    <a:pt x="1070" y="491"/>
                  </a:cubicBezTo>
                  <a:cubicBezTo>
                    <a:pt x="1070" y="488"/>
                    <a:pt x="1071" y="488"/>
                    <a:pt x="1071" y="485"/>
                  </a:cubicBezTo>
                  <a:cubicBezTo>
                    <a:pt x="1070" y="483"/>
                    <a:pt x="1069" y="481"/>
                    <a:pt x="1069" y="478"/>
                  </a:cubicBezTo>
                  <a:cubicBezTo>
                    <a:pt x="1069" y="477"/>
                    <a:pt x="1069" y="475"/>
                    <a:pt x="1069" y="473"/>
                  </a:cubicBezTo>
                  <a:cubicBezTo>
                    <a:pt x="1070" y="470"/>
                    <a:pt x="1069" y="468"/>
                    <a:pt x="1069" y="464"/>
                  </a:cubicBezTo>
                  <a:cubicBezTo>
                    <a:pt x="1069" y="464"/>
                    <a:pt x="1069" y="464"/>
                    <a:pt x="1068" y="464"/>
                  </a:cubicBezTo>
                  <a:cubicBezTo>
                    <a:pt x="1071" y="464"/>
                    <a:pt x="1072" y="454"/>
                    <a:pt x="1073" y="451"/>
                  </a:cubicBezTo>
                  <a:cubicBezTo>
                    <a:pt x="1074" y="449"/>
                    <a:pt x="1071" y="447"/>
                    <a:pt x="1069" y="447"/>
                  </a:cubicBezTo>
                  <a:cubicBezTo>
                    <a:pt x="1071" y="445"/>
                    <a:pt x="1072" y="446"/>
                    <a:pt x="1073" y="446"/>
                  </a:cubicBezTo>
                  <a:cubicBezTo>
                    <a:pt x="1076" y="444"/>
                    <a:pt x="1077" y="438"/>
                    <a:pt x="1079" y="435"/>
                  </a:cubicBezTo>
                  <a:cubicBezTo>
                    <a:pt x="1080" y="434"/>
                    <a:pt x="1081" y="433"/>
                    <a:pt x="1082" y="431"/>
                  </a:cubicBezTo>
                  <a:cubicBezTo>
                    <a:pt x="1084" y="428"/>
                    <a:pt x="1085" y="428"/>
                    <a:pt x="1088" y="426"/>
                  </a:cubicBezTo>
                  <a:cubicBezTo>
                    <a:pt x="1088" y="426"/>
                    <a:pt x="1087" y="426"/>
                    <a:pt x="1087" y="426"/>
                  </a:cubicBezTo>
                  <a:cubicBezTo>
                    <a:pt x="1087" y="422"/>
                    <a:pt x="1088" y="421"/>
                    <a:pt x="1085" y="418"/>
                  </a:cubicBezTo>
                  <a:cubicBezTo>
                    <a:pt x="1087" y="419"/>
                    <a:pt x="1088" y="419"/>
                    <a:pt x="1089" y="418"/>
                  </a:cubicBezTo>
                  <a:cubicBezTo>
                    <a:pt x="1092" y="418"/>
                    <a:pt x="1092" y="417"/>
                    <a:pt x="1091" y="416"/>
                  </a:cubicBezTo>
                  <a:cubicBezTo>
                    <a:pt x="1090" y="415"/>
                    <a:pt x="1088" y="415"/>
                    <a:pt x="1089" y="413"/>
                  </a:cubicBezTo>
                  <a:cubicBezTo>
                    <a:pt x="1089" y="412"/>
                    <a:pt x="1091" y="410"/>
                    <a:pt x="1091" y="410"/>
                  </a:cubicBezTo>
                  <a:cubicBezTo>
                    <a:pt x="1092" y="409"/>
                    <a:pt x="1092" y="410"/>
                    <a:pt x="1093" y="410"/>
                  </a:cubicBezTo>
                  <a:cubicBezTo>
                    <a:pt x="1094" y="409"/>
                    <a:pt x="1094" y="408"/>
                    <a:pt x="1095" y="407"/>
                  </a:cubicBezTo>
                  <a:cubicBezTo>
                    <a:pt x="1098" y="406"/>
                    <a:pt x="1101" y="405"/>
                    <a:pt x="1103" y="403"/>
                  </a:cubicBezTo>
                  <a:cubicBezTo>
                    <a:pt x="1102" y="404"/>
                    <a:pt x="1101" y="403"/>
                    <a:pt x="1100" y="402"/>
                  </a:cubicBezTo>
                  <a:cubicBezTo>
                    <a:pt x="1101" y="402"/>
                    <a:pt x="1105" y="403"/>
                    <a:pt x="1105" y="402"/>
                  </a:cubicBezTo>
                  <a:cubicBezTo>
                    <a:pt x="1105" y="401"/>
                    <a:pt x="1103" y="402"/>
                    <a:pt x="1103" y="401"/>
                  </a:cubicBezTo>
                  <a:cubicBezTo>
                    <a:pt x="1103" y="400"/>
                    <a:pt x="1100" y="400"/>
                    <a:pt x="1099" y="399"/>
                  </a:cubicBezTo>
                  <a:cubicBezTo>
                    <a:pt x="1099" y="399"/>
                    <a:pt x="1099" y="398"/>
                    <a:pt x="1099" y="397"/>
                  </a:cubicBezTo>
                  <a:cubicBezTo>
                    <a:pt x="1099" y="397"/>
                    <a:pt x="1097" y="396"/>
                    <a:pt x="1097" y="395"/>
                  </a:cubicBezTo>
                  <a:cubicBezTo>
                    <a:pt x="1099" y="396"/>
                    <a:pt x="1101" y="397"/>
                    <a:pt x="1104" y="398"/>
                  </a:cubicBezTo>
                  <a:cubicBezTo>
                    <a:pt x="1104" y="397"/>
                    <a:pt x="1103" y="396"/>
                    <a:pt x="1102" y="396"/>
                  </a:cubicBezTo>
                  <a:cubicBezTo>
                    <a:pt x="1103" y="395"/>
                    <a:pt x="1105" y="396"/>
                    <a:pt x="1106" y="395"/>
                  </a:cubicBezTo>
                  <a:cubicBezTo>
                    <a:pt x="1104" y="395"/>
                    <a:pt x="1103" y="394"/>
                    <a:pt x="1102" y="393"/>
                  </a:cubicBezTo>
                  <a:cubicBezTo>
                    <a:pt x="1103" y="392"/>
                    <a:pt x="1105" y="392"/>
                    <a:pt x="1106" y="394"/>
                  </a:cubicBezTo>
                  <a:cubicBezTo>
                    <a:pt x="1107" y="391"/>
                    <a:pt x="1110" y="391"/>
                    <a:pt x="1112" y="390"/>
                  </a:cubicBezTo>
                  <a:cubicBezTo>
                    <a:pt x="1110" y="389"/>
                    <a:pt x="1107" y="388"/>
                    <a:pt x="1111" y="387"/>
                  </a:cubicBezTo>
                  <a:cubicBezTo>
                    <a:pt x="1113" y="386"/>
                    <a:pt x="1118" y="388"/>
                    <a:pt x="1115" y="385"/>
                  </a:cubicBezTo>
                  <a:cubicBezTo>
                    <a:pt x="1113" y="383"/>
                    <a:pt x="1108" y="383"/>
                    <a:pt x="1105" y="381"/>
                  </a:cubicBezTo>
                  <a:cubicBezTo>
                    <a:pt x="1109" y="382"/>
                    <a:pt x="1113" y="382"/>
                    <a:pt x="1116" y="384"/>
                  </a:cubicBezTo>
                  <a:cubicBezTo>
                    <a:pt x="1119" y="385"/>
                    <a:pt x="1120" y="389"/>
                    <a:pt x="1123" y="388"/>
                  </a:cubicBezTo>
                  <a:cubicBezTo>
                    <a:pt x="1120" y="387"/>
                    <a:pt x="1121" y="384"/>
                    <a:pt x="1120" y="382"/>
                  </a:cubicBezTo>
                  <a:cubicBezTo>
                    <a:pt x="1119" y="381"/>
                    <a:pt x="1114" y="380"/>
                    <a:pt x="1118" y="377"/>
                  </a:cubicBezTo>
                  <a:cubicBezTo>
                    <a:pt x="1119" y="376"/>
                    <a:pt x="1123" y="379"/>
                    <a:pt x="1122" y="375"/>
                  </a:cubicBezTo>
                  <a:cubicBezTo>
                    <a:pt x="1121" y="376"/>
                    <a:pt x="1121" y="373"/>
                    <a:pt x="1120" y="371"/>
                  </a:cubicBezTo>
                  <a:cubicBezTo>
                    <a:pt x="1121" y="372"/>
                    <a:pt x="1122" y="373"/>
                    <a:pt x="1122" y="373"/>
                  </a:cubicBezTo>
                  <a:cubicBezTo>
                    <a:pt x="1124" y="372"/>
                    <a:pt x="1122" y="374"/>
                    <a:pt x="1123" y="374"/>
                  </a:cubicBezTo>
                  <a:cubicBezTo>
                    <a:pt x="1126" y="375"/>
                    <a:pt x="1128" y="371"/>
                    <a:pt x="1130" y="372"/>
                  </a:cubicBezTo>
                  <a:cubicBezTo>
                    <a:pt x="1130" y="372"/>
                    <a:pt x="1130" y="374"/>
                    <a:pt x="1131" y="374"/>
                  </a:cubicBezTo>
                  <a:cubicBezTo>
                    <a:pt x="1132" y="375"/>
                    <a:pt x="1137" y="373"/>
                    <a:pt x="1137" y="372"/>
                  </a:cubicBezTo>
                  <a:cubicBezTo>
                    <a:pt x="1137" y="370"/>
                    <a:pt x="1133" y="370"/>
                    <a:pt x="1132" y="370"/>
                  </a:cubicBezTo>
                  <a:cubicBezTo>
                    <a:pt x="1129" y="370"/>
                    <a:pt x="1120" y="364"/>
                    <a:pt x="1127" y="364"/>
                  </a:cubicBezTo>
                  <a:cubicBezTo>
                    <a:pt x="1129" y="363"/>
                    <a:pt x="1131" y="363"/>
                    <a:pt x="1134" y="363"/>
                  </a:cubicBezTo>
                  <a:cubicBezTo>
                    <a:pt x="1136" y="363"/>
                    <a:pt x="1138" y="364"/>
                    <a:pt x="1140" y="364"/>
                  </a:cubicBezTo>
                  <a:cubicBezTo>
                    <a:pt x="1144" y="365"/>
                    <a:pt x="1146" y="366"/>
                    <a:pt x="1149" y="364"/>
                  </a:cubicBezTo>
                  <a:cubicBezTo>
                    <a:pt x="1151" y="363"/>
                    <a:pt x="1152" y="362"/>
                    <a:pt x="1154" y="361"/>
                  </a:cubicBezTo>
                  <a:cubicBezTo>
                    <a:pt x="1155" y="360"/>
                    <a:pt x="1157" y="360"/>
                    <a:pt x="1158" y="360"/>
                  </a:cubicBezTo>
                  <a:cubicBezTo>
                    <a:pt x="1161" y="358"/>
                    <a:pt x="1165" y="357"/>
                    <a:pt x="1165" y="354"/>
                  </a:cubicBezTo>
                  <a:cubicBezTo>
                    <a:pt x="1165" y="353"/>
                    <a:pt x="1165" y="351"/>
                    <a:pt x="1164" y="349"/>
                  </a:cubicBezTo>
                  <a:cubicBezTo>
                    <a:pt x="1164" y="346"/>
                    <a:pt x="1165" y="346"/>
                    <a:pt x="1163" y="345"/>
                  </a:cubicBezTo>
                  <a:cubicBezTo>
                    <a:pt x="1162" y="344"/>
                    <a:pt x="1160" y="344"/>
                    <a:pt x="1158" y="342"/>
                  </a:cubicBezTo>
                  <a:cubicBezTo>
                    <a:pt x="1159" y="343"/>
                    <a:pt x="1161" y="343"/>
                    <a:pt x="1162" y="343"/>
                  </a:cubicBezTo>
                  <a:cubicBezTo>
                    <a:pt x="1158" y="342"/>
                    <a:pt x="1155" y="340"/>
                    <a:pt x="1151" y="340"/>
                  </a:cubicBezTo>
                  <a:cubicBezTo>
                    <a:pt x="1150" y="339"/>
                    <a:pt x="1149" y="340"/>
                    <a:pt x="1149" y="340"/>
                  </a:cubicBezTo>
                  <a:cubicBezTo>
                    <a:pt x="1149" y="340"/>
                    <a:pt x="1147" y="338"/>
                    <a:pt x="1146" y="338"/>
                  </a:cubicBezTo>
                  <a:cubicBezTo>
                    <a:pt x="1146" y="338"/>
                    <a:pt x="1144" y="337"/>
                    <a:pt x="1144" y="337"/>
                  </a:cubicBezTo>
                  <a:cubicBezTo>
                    <a:pt x="1143" y="336"/>
                    <a:pt x="1144" y="335"/>
                    <a:pt x="1143" y="334"/>
                  </a:cubicBezTo>
                  <a:cubicBezTo>
                    <a:pt x="1140" y="330"/>
                    <a:pt x="1136" y="333"/>
                    <a:pt x="1133" y="334"/>
                  </a:cubicBezTo>
                  <a:cubicBezTo>
                    <a:pt x="1132" y="335"/>
                    <a:pt x="1131" y="335"/>
                    <a:pt x="1130" y="335"/>
                  </a:cubicBezTo>
                  <a:cubicBezTo>
                    <a:pt x="1129" y="337"/>
                    <a:pt x="1129" y="337"/>
                    <a:pt x="1128" y="338"/>
                  </a:cubicBezTo>
                  <a:cubicBezTo>
                    <a:pt x="1129" y="337"/>
                    <a:pt x="1125" y="338"/>
                    <a:pt x="1126" y="338"/>
                  </a:cubicBezTo>
                  <a:cubicBezTo>
                    <a:pt x="1124" y="338"/>
                    <a:pt x="1123" y="338"/>
                    <a:pt x="1122" y="337"/>
                  </a:cubicBezTo>
                  <a:cubicBezTo>
                    <a:pt x="1123" y="337"/>
                    <a:pt x="1125" y="337"/>
                    <a:pt x="1126" y="335"/>
                  </a:cubicBezTo>
                  <a:cubicBezTo>
                    <a:pt x="1127" y="333"/>
                    <a:pt x="1130" y="335"/>
                    <a:pt x="1131" y="332"/>
                  </a:cubicBezTo>
                  <a:cubicBezTo>
                    <a:pt x="1130" y="331"/>
                    <a:pt x="1128" y="331"/>
                    <a:pt x="1126" y="331"/>
                  </a:cubicBezTo>
                  <a:cubicBezTo>
                    <a:pt x="1126" y="330"/>
                    <a:pt x="1125" y="331"/>
                    <a:pt x="1124" y="330"/>
                  </a:cubicBezTo>
                  <a:cubicBezTo>
                    <a:pt x="1124" y="330"/>
                    <a:pt x="1124" y="329"/>
                    <a:pt x="1124" y="328"/>
                  </a:cubicBezTo>
                  <a:cubicBezTo>
                    <a:pt x="1121" y="327"/>
                    <a:pt x="1121" y="329"/>
                    <a:pt x="1119" y="329"/>
                  </a:cubicBezTo>
                  <a:cubicBezTo>
                    <a:pt x="1118" y="329"/>
                    <a:pt x="1115" y="327"/>
                    <a:pt x="1114" y="327"/>
                  </a:cubicBezTo>
                  <a:cubicBezTo>
                    <a:pt x="1111" y="326"/>
                    <a:pt x="1108" y="325"/>
                    <a:pt x="1104" y="324"/>
                  </a:cubicBezTo>
                  <a:cubicBezTo>
                    <a:pt x="1098" y="321"/>
                    <a:pt x="1102" y="326"/>
                    <a:pt x="1106" y="327"/>
                  </a:cubicBezTo>
                  <a:cubicBezTo>
                    <a:pt x="1103" y="327"/>
                    <a:pt x="1101" y="328"/>
                    <a:pt x="1099" y="327"/>
                  </a:cubicBezTo>
                  <a:cubicBezTo>
                    <a:pt x="1096" y="326"/>
                    <a:pt x="1094" y="324"/>
                    <a:pt x="1094" y="321"/>
                  </a:cubicBezTo>
                  <a:cubicBezTo>
                    <a:pt x="1095" y="321"/>
                    <a:pt x="1096" y="321"/>
                    <a:pt x="1098" y="321"/>
                  </a:cubicBezTo>
                  <a:cubicBezTo>
                    <a:pt x="1099" y="321"/>
                    <a:pt x="1097" y="319"/>
                    <a:pt x="1097" y="319"/>
                  </a:cubicBezTo>
                  <a:cubicBezTo>
                    <a:pt x="1096" y="317"/>
                    <a:pt x="1094" y="316"/>
                    <a:pt x="1093" y="314"/>
                  </a:cubicBezTo>
                  <a:cubicBezTo>
                    <a:pt x="1094" y="315"/>
                    <a:pt x="1095" y="315"/>
                    <a:pt x="1095" y="315"/>
                  </a:cubicBezTo>
                  <a:cubicBezTo>
                    <a:pt x="1096" y="315"/>
                    <a:pt x="1096" y="315"/>
                    <a:pt x="1097" y="315"/>
                  </a:cubicBezTo>
                  <a:cubicBezTo>
                    <a:pt x="1097" y="316"/>
                    <a:pt x="1096" y="316"/>
                    <a:pt x="1096" y="317"/>
                  </a:cubicBezTo>
                  <a:cubicBezTo>
                    <a:pt x="1097" y="318"/>
                    <a:pt x="1099" y="319"/>
                    <a:pt x="1100" y="320"/>
                  </a:cubicBezTo>
                  <a:cubicBezTo>
                    <a:pt x="1104" y="322"/>
                    <a:pt x="1108" y="323"/>
                    <a:pt x="1112" y="324"/>
                  </a:cubicBezTo>
                  <a:cubicBezTo>
                    <a:pt x="1112" y="324"/>
                    <a:pt x="1114" y="325"/>
                    <a:pt x="1114" y="325"/>
                  </a:cubicBezTo>
                  <a:cubicBezTo>
                    <a:pt x="1115" y="325"/>
                    <a:pt x="1116" y="325"/>
                    <a:pt x="1117" y="326"/>
                  </a:cubicBezTo>
                  <a:cubicBezTo>
                    <a:pt x="1117" y="326"/>
                    <a:pt x="1118" y="327"/>
                    <a:pt x="1119" y="327"/>
                  </a:cubicBezTo>
                  <a:cubicBezTo>
                    <a:pt x="1120" y="327"/>
                    <a:pt x="1121" y="327"/>
                    <a:pt x="1122" y="327"/>
                  </a:cubicBezTo>
                  <a:cubicBezTo>
                    <a:pt x="1123" y="328"/>
                    <a:pt x="1124" y="329"/>
                    <a:pt x="1125" y="329"/>
                  </a:cubicBezTo>
                  <a:cubicBezTo>
                    <a:pt x="1126" y="329"/>
                    <a:pt x="1127" y="329"/>
                    <a:pt x="1128" y="329"/>
                  </a:cubicBezTo>
                  <a:cubicBezTo>
                    <a:pt x="1132" y="330"/>
                    <a:pt x="1131" y="330"/>
                    <a:pt x="1135" y="328"/>
                  </a:cubicBezTo>
                  <a:cubicBezTo>
                    <a:pt x="1134" y="331"/>
                    <a:pt x="1137" y="331"/>
                    <a:pt x="1139" y="331"/>
                  </a:cubicBezTo>
                  <a:cubicBezTo>
                    <a:pt x="1141" y="330"/>
                    <a:pt x="1141" y="330"/>
                    <a:pt x="1142" y="330"/>
                  </a:cubicBezTo>
                  <a:cubicBezTo>
                    <a:pt x="1142" y="330"/>
                    <a:pt x="1141" y="331"/>
                    <a:pt x="1142" y="331"/>
                  </a:cubicBezTo>
                  <a:cubicBezTo>
                    <a:pt x="1142" y="332"/>
                    <a:pt x="1143" y="331"/>
                    <a:pt x="1144" y="332"/>
                  </a:cubicBezTo>
                  <a:cubicBezTo>
                    <a:pt x="1144" y="332"/>
                    <a:pt x="1146" y="331"/>
                    <a:pt x="1147" y="332"/>
                  </a:cubicBezTo>
                  <a:cubicBezTo>
                    <a:pt x="1148" y="332"/>
                    <a:pt x="1148" y="333"/>
                    <a:pt x="1149" y="334"/>
                  </a:cubicBezTo>
                  <a:cubicBezTo>
                    <a:pt x="1151" y="335"/>
                    <a:pt x="1153" y="335"/>
                    <a:pt x="1155" y="335"/>
                  </a:cubicBezTo>
                  <a:cubicBezTo>
                    <a:pt x="1156" y="336"/>
                    <a:pt x="1158" y="337"/>
                    <a:pt x="1160" y="337"/>
                  </a:cubicBezTo>
                  <a:cubicBezTo>
                    <a:pt x="1162" y="337"/>
                    <a:pt x="1168" y="336"/>
                    <a:pt x="1168" y="335"/>
                  </a:cubicBezTo>
                  <a:cubicBezTo>
                    <a:pt x="1167" y="334"/>
                    <a:pt x="1164" y="334"/>
                    <a:pt x="1165" y="332"/>
                  </a:cubicBezTo>
                  <a:cubicBezTo>
                    <a:pt x="1167" y="331"/>
                    <a:pt x="1168" y="333"/>
                    <a:pt x="1168" y="334"/>
                  </a:cubicBezTo>
                  <a:cubicBezTo>
                    <a:pt x="1170" y="335"/>
                    <a:pt x="1171" y="336"/>
                    <a:pt x="1174" y="334"/>
                  </a:cubicBezTo>
                  <a:cubicBezTo>
                    <a:pt x="1175" y="333"/>
                    <a:pt x="1181" y="330"/>
                    <a:pt x="1181" y="329"/>
                  </a:cubicBezTo>
                  <a:cubicBezTo>
                    <a:pt x="1182" y="327"/>
                    <a:pt x="1180" y="327"/>
                    <a:pt x="1179" y="326"/>
                  </a:cubicBezTo>
                  <a:cubicBezTo>
                    <a:pt x="1179" y="326"/>
                    <a:pt x="1178" y="324"/>
                    <a:pt x="1178" y="324"/>
                  </a:cubicBezTo>
                  <a:cubicBezTo>
                    <a:pt x="1177" y="323"/>
                    <a:pt x="1175" y="322"/>
                    <a:pt x="1174" y="321"/>
                  </a:cubicBezTo>
                  <a:cubicBezTo>
                    <a:pt x="1176" y="320"/>
                    <a:pt x="1177" y="322"/>
                    <a:pt x="1178" y="322"/>
                  </a:cubicBezTo>
                  <a:cubicBezTo>
                    <a:pt x="1179" y="322"/>
                    <a:pt x="1180" y="322"/>
                    <a:pt x="1181" y="322"/>
                  </a:cubicBezTo>
                  <a:cubicBezTo>
                    <a:pt x="1180" y="322"/>
                    <a:pt x="1183" y="326"/>
                    <a:pt x="1185" y="323"/>
                  </a:cubicBezTo>
                  <a:cubicBezTo>
                    <a:pt x="1186" y="322"/>
                    <a:pt x="1183" y="320"/>
                    <a:pt x="1182" y="319"/>
                  </a:cubicBezTo>
                  <a:cubicBezTo>
                    <a:pt x="1181" y="318"/>
                    <a:pt x="1181" y="316"/>
                    <a:pt x="1181" y="315"/>
                  </a:cubicBezTo>
                  <a:cubicBezTo>
                    <a:pt x="1182" y="314"/>
                    <a:pt x="1184" y="313"/>
                    <a:pt x="1185" y="313"/>
                  </a:cubicBezTo>
                  <a:cubicBezTo>
                    <a:pt x="1187" y="312"/>
                    <a:pt x="1186" y="313"/>
                    <a:pt x="1186" y="315"/>
                  </a:cubicBezTo>
                  <a:cubicBezTo>
                    <a:pt x="1188" y="317"/>
                    <a:pt x="1190" y="320"/>
                    <a:pt x="1192" y="323"/>
                  </a:cubicBezTo>
                  <a:cubicBezTo>
                    <a:pt x="1192" y="323"/>
                    <a:pt x="1192" y="322"/>
                    <a:pt x="1191" y="321"/>
                  </a:cubicBezTo>
                  <a:cubicBezTo>
                    <a:pt x="1198" y="321"/>
                    <a:pt x="1205" y="321"/>
                    <a:pt x="1211" y="322"/>
                  </a:cubicBezTo>
                  <a:cubicBezTo>
                    <a:pt x="1214" y="322"/>
                    <a:pt x="1218" y="318"/>
                    <a:pt x="1220" y="317"/>
                  </a:cubicBezTo>
                  <a:cubicBezTo>
                    <a:pt x="1222" y="316"/>
                    <a:pt x="1226" y="315"/>
                    <a:pt x="1227" y="314"/>
                  </a:cubicBezTo>
                  <a:cubicBezTo>
                    <a:pt x="1227" y="313"/>
                    <a:pt x="1226" y="313"/>
                    <a:pt x="1226" y="312"/>
                  </a:cubicBezTo>
                  <a:cubicBezTo>
                    <a:pt x="1227" y="311"/>
                    <a:pt x="1228" y="311"/>
                    <a:pt x="1228" y="310"/>
                  </a:cubicBezTo>
                  <a:cubicBezTo>
                    <a:pt x="1229" y="309"/>
                    <a:pt x="1230" y="307"/>
                    <a:pt x="1231" y="306"/>
                  </a:cubicBezTo>
                  <a:cubicBezTo>
                    <a:pt x="1235" y="302"/>
                    <a:pt x="1239" y="298"/>
                    <a:pt x="1242" y="293"/>
                  </a:cubicBezTo>
                  <a:cubicBezTo>
                    <a:pt x="1244" y="291"/>
                    <a:pt x="1245" y="289"/>
                    <a:pt x="1246" y="287"/>
                  </a:cubicBezTo>
                  <a:cubicBezTo>
                    <a:pt x="1247" y="285"/>
                    <a:pt x="1252" y="280"/>
                    <a:pt x="1251" y="278"/>
                  </a:cubicBezTo>
                  <a:cubicBezTo>
                    <a:pt x="1251" y="275"/>
                    <a:pt x="1247" y="274"/>
                    <a:pt x="1245" y="274"/>
                  </a:cubicBezTo>
                  <a:cubicBezTo>
                    <a:pt x="1243" y="274"/>
                    <a:pt x="1241" y="274"/>
                    <a:pt x="1239" y="273"/>
                  </a:cubicBezTo>
                  <a:cubicBezTo>
                    <a:pt x="1238" y="273"/>
                    <a:pt x="1236" y="273"/>
                    <a:pt x="1236" y="273"/>
                  </a:cubicBezTo>
                  <a:cubicBezTo>
                    <a:pt x="1234" y="273"/>
                    <a:pt x="1233" y="274"/>
                    <a:pt x="1233" y="274"/>
                  </a:cubicBezTo>
                  <a:cubicBezTo>
                    <a:pt x="1231" y="274"/>
                    <a:pt x="1228" y="273"/>
                    <a:pt x="1226" y="273"/>
                  </a:cubicBezTo>
                  <a:cubicBezTo>
                    <a:pt x="1224" y="274"/>
                    <a:pt x="1222" y="273"/>
                    <a:pt x="1220" y="273"/>
                  </a:cubicBezTo>
                  <a:cubicBezTo>
                    <a:pt x="1215" y="273"/>
                    <a:pt x="1211" y="272"/>
                    <a:pt x="1206" y="272"/>
                  </a:cubicBezTo>
                  <a:cubicBezTo>
                    <a:pt x="1204" y="271"/>
                    <a:pt x="1203" y="271"/>
                    <a:pt x="1201" y="270"/>
                  </a:cubicBezTo>
                  <a:cubicBezTo>
                    <a:pt x="1200" y="269"/>
                    <a:pt x="1200" y="268"/>
                    <a:pt x="1199" y="267"/>
                  </a:cubicBezTo>
                  <a:cubicBezTo>
                    <a:pt x="1198" y="266"/>
                    <a:pt x="1196" y="266"/>
                    <a:pt x="1195" y="265"/>
                  </a:cubicBezTo>
                  <a:cubicBezTo>
                    <a:pt x="1194" y="264"/>
                    <a:pt x="1194" y="262"/>
                    <a:pt x="1192" y="260"/>
                  </a:cubicBezTo>
                  <a:cubicBezTo>
                    <a:pt x="1191" y="260"/>
                    <a:pt x="1190" y="259"/>
                    <a:pt x="1189" y="259"/>
                  </a:cubicBezTo>
                  <a:cubicBezTo>
                    <a:pt x="1187" y="257"/>
                    <a:pt x="1186" y="256"/>
                    <a:pt x="1183" y="255"/>
                  </a:cubicBezTo>
                  <a:cubicBezTo>
                    <a:pt x="1182" y="254"/>
                    <a:pt x="1181" y="254"/>
                    <a:pt x="1180" y="253"/>
                  </a:cubicBezTo>
                  <a:cubicBezTo>
                    <a:pt x="1180" y="253"/>
                    <a:pt x="1180" y="254"/>
                    <a:pt x="1180" y="254"/>
                  </a:cubicBezTo>
                  <a:cubicBezTo>
                    <a:pt x="1180" y="254"/>
                    <a:pt x="1180" y="253"/>
                    <a:pt x="1180" y="253"/>
                  </a:cubicBezTo>
                  <a:cubicBezTo>
                    <a:pt x="1177" y="253"/>
                    <a:pt x="1173" y="252"/>
                    <a:pt x="1170" y="252"/>
                  </a:cubicBezTo>
                  <a:cubicBezTo>
                    <a:pt x="1162" y="250"/>
                    <a:pt x="1154" y="249"/>
                    <a:pt x="1146" y="248"/>
                  </a:cubicBezTo>
                  <a:cubicBezTo>
                    <a:pt x="1146" y="248"/>
                    <a:pt x="1146" y="248"/>
                    <a:pt x="1146" y="248"/>
                  </a:cubicBezTo>
                  <a:cubicBezTo>
                    <a:pt x="1149" y="247"/>
                    <a:pt x="1151" y="247"/>
                    <a:pt x="1154" y="248"/>
                  </a:cubicBezTo>
                  <a:cubicBezTo>
                    <a:pt x="1157" y="248"/>
                    <a:pt x="1160" y="249"/>
                    <a:pt x="1163" y="249"/>
                  </a:cubicBezTo>
                  <a:cubicBezTo>
                    <a:pt x="1164" y="249"/>
                    <a:pt x="1166" y="250"/>
                    <a:pt x="1167" y="250"/>
                  </a:cubicBezTo>
                  <a:cubicBezTo>
                    <a:pt x="1169" y="250"/>
                    <a:pt x="1169" y="250"/>
                    <a:pt x="1171" y="250"/>
                  </a:cubicBezTo>
                  <a:cubicBezTo>
                    <a:pt x="1174" y="251"/>
                    <a:pt x="1177" y="250"/>
                    <a:pt x="1180" y="250"/>
                  </a:cubicBezTo>
                  <a:cubicBezTo>
                    <a:pt x="1183" y="250"/>
                    <a:pt x="1185" y="249"/>
                    <a:pt x="1187" y="248"/>
                  </a:cubicBezTo>
                  <a:cubicBezTo>
                    <a:pt x="1190" y="248"/>
                    <a:pt x="1195" y="251"/>
                    <a:pt x="1198" y="252"/>
                  </a:cubicBezTo>
                  <a:cubicBezTo>
                    <a:pt x="1204" y="255"/>
                    <a:pt x="1212" y="256"/>
                    <a:pt x="1217" y="260"/>
                  </a:cubicBezTo>
                  <a:cubicBezTo>
                    <a:pt x="1216" y="260"/>
                    <a:pt x="1212" y="260"/>
                    <a:pt x="1210" y="259"/>
                  </a:cubicBezTo>
                  <a:cubicBezTo>
                    <a:pt x="1215" y="263"/>
                    <a:pt x="1220" y="267"/>
                    <a:pt x="1226" y="270"/>
                  </a:cubicBezTo>
                  <a:cubicBezTo>
                    <a:pt x="1230" y="273"/>
                    <a:pt x="1236" y="271"/>
                    <a:pt x="1240" y="271"/>
                  </a:cubicBezTo>
                  <a:cubicBezTo>
                    <a:pt x="1242" y="271"/>
                    <a:pt x="1248" y="270"/>
                    <a:pt x="1249" y="268"/>
                  </a:cubicBezTo>
                  <a:cubicBezTo>
                    <a:pt x="1249" y="267"/>
                    <a:pt x="1246" y="267"/>
                    <a:pt x="1248" y="266"/>
                  </a:cubicBezTo>
                  <a:cubicBezTo>
                    <a:pt x="1249" y="266"/>
                    <a:pt x="1250" y="265"/>
                    <a:pt x="1251" y="264"/>
                  </a:cubicBezTo>
                  <a:cubicBezTo>
                    <a:pt x="1253" y="263"/>
                    <a:pt x="1255" y="261"/>
                    <a:pt x="1257" y="260"/>
                  </a:cubicBezTo>
                  <a:cubicBezTo>
                    <a:pt x="1258" y="259"/>
                    <a:pt x="1262" y="258"/>
                    <a:pt x="1263" y="256"/>
                  </a:cubicBezTo>
                  <a:cubicBezTo>
                    <a:pt x="1263" y="253"/>
                    <a:pt x="1261" y="253"/>
                    <a:pt x="1263" y="251"/>
                  </a:cubicBezTo>
                  <a:cubicBezTo>
                    <a:pt x="1264" y="249"/>
                    <a:pt x="1268" y="248"/>
                    <a:pt x="1270" y="246"/>
                  </a:cubicBezTo>
                  <a:cubicBezTo>
                    <a:pt x="1272" y="245"/>
                    <a:pt x="1273" y="245"/>
                    <a:pt x="1274" y="243"/>
                  </a:cubicBezTo>
                  <a:cubicBezTo>
                    <a:pt x="1274" y="242"/>
                    <a:pt x="1273" y="242"/>
                    <a:pt x="1273" y="241"/>
                  </a:cubicBezTo>
                  <a:cubicBezTo>
                    <a:pt x="1274" y="241"/>
                    <a:pt x="1276" y="240"/>
                    <a:pt x="1276" y="239"/>
                  </a:cubicBezTo>
                  <a:cubicBezTo>
                    <a:pt x="1275" y="237"/>
                    <a:pt x="1264" y="234"/>
                    <a:pt x="1262" y="234"/>
                  </a:cubicBezTo>
                  <a:cubicBezTo>
                    <a:pt x="1260" y="234"/>
                    <a:pt x="1257" y="233"/>
                    <a:pt x="1256" y="231"/>
                  </a:cubicBezTo>
                  <a:cubicBezTo>
                    <a:pt x="1256" y="229"/>
                    <a:pt x="1258" y="229"/>
                    <a:pt x="1259" y="228"/>
                  </a:cubicBezTo>
                  <a:cubicBezTo>
                    <a:pt x="1261" y="225"/>
                    <a:pt x="1260" y="225"/>
                    <a:pt x="1262" y="225"/>
                  </a:cubicBezTo>
                  <a:cubicBezTo>
                    <a:pt x="1262" y="222"/>
                    <a:pt x="1265" y="219"/>
                    <a:pt x="1268" y="219"/>
                  </a:cubicBezTo>
                  <a:cubicBezTo>
                    <a:pt x="1271" y="219"/>
                    <a:pt x="1273" y="221"/>
                    <a:pt x="1274" y="224"/>
                  </a:cubicBezTo>
                  <a:cubicBezTo>
                    <a:pt x="1277" y="224"/>
                    <a:pt x="1280" y="224"/>
                    <a:pt x="1283" y="223"/>
                  </a:cubicBezTo>
                  <a:cubicBezTo>
                    <a:pt x="1285" y="223"/>
                    <a:pt x="1288" y="225"/>
                    <a:pt x="1289" y="227"/>
                  </a:cubicBezTo>
                  <a:cubicBezTo>
                    <a:pt x="1289" y="228"/>
                    <a:pt x="1290" y="232"/>
                    <a:pt x="1289" y="233"/>
                  </a:cubicBezTo>
                  <a:cubicBezTo>
                    <a:pt x="1290" y="233"/>
                    <a:pt x="1291" y="233"/>
                    <a:pt x="1292" y="233"/>
                  </a:cubicBezTo>
                  <a:cubicBezTo>
                    <a:pt x="1292" y="234"/>
                    <a:pt x="1292" y="234"/>
                    <a:pt x="1292" y="235"/>
                  </a:cubicBezTo>
                  <a:cubicBezTo>
                    <a:pt x="1293" y="240"/>
                    <a:pt x="1293" y="242"/>
                    <a:pt x="1297" y="245"/>
                  </a:cubicBezTo>
                  <a:cubicBezTo>
                    <a:pt x="1299" y="246"/>
                    <a:pt x="1299" y="246"/>
                    <a:pt x="1300" y="248"/>
                  </a:cubicBezTo>
                  <a:cubicBezTo>
                    <a:pt x="1301" y="249"/>
                    <a:pt x="1301" y="251"/>
                    <a:pt x="1303" y="250"/>
                  </a:cubicBezTo>
                  <a:cubicBezTo>
                    <a:pt x="1310" y="250"/>
                    <a:pt x="1304" y="240"/>
                    <a:pt x="1300" y="236"/>
                  </a:cubicBezTo>
                  <a:cubicBezTo>
                    <a:pt x="1304" y="237"/>
                    <a:pt x="1307" y="239"/>
                    <a:pt x="1311" y="239"/>
                  </a:cubicBezTo>
                  <a:cubicBezTo>
                    <a:pt x="1310" y="235"/>
                    <a:pt x="1305" y="236"/>
                    <a:pt x="1308" y="230"/>
                  </a:cubicBezTo>
                  <a:cubicBezTo>
                    <a:pt x="1308" y="231"/>
                    <a:pt x="1309" y="232"/>
                    <a:pt x="1310" y="232"/>
                  </a:cubicBezTo>
                  <a:cubicBezTo>
                    <a:pt x="1310" y="232"/>
                    <a:pt x="1310" y="233"/>
                    <a:pt x="1310" y="233"/>
                  </a:cubicBezTo>
                  <a:cubicBezTo>
                    <a:pt x="1311" y="233"/>
                    <a:pt x="1311" y="233"/>
                    <a:pt x="1312" y="233"/>
                  </a:cubicBezTo>
                  <a:cubicBezTo>
                    <a:pt x="1314" y="235"/>
                    <a:pt x="1317" y="236"/>
                    <a:pt x="1317" y="240"/>
                  </a:cubicBezTo>
                  <a:cubicBezTo>
                    <a:pt x="1317" y="242"/>
                    <a:pt x="1315" y="242"/>
                    <a:pt x="1318" y="243"/>
                  </a:cubicBezTo>
                  <a:cubicBezTo>
                    <a:pt x="1320" y="243"/>
                    <a:pt x="1320" y="243"/>
                    <a:pt x="1322" y="242"/>
                  </a:cubicBezTo>
                  <a:cubicBezTo>
                    <a:pt x="1323" y="242"/>
                    <a:pt x="1323" y="241"/>
                    <a:pt x="1325" y="241"/>
                  </a:cubicBezTo>
                  <a:cubicBezTo>
                    <a:pt x="1325" y="241"/>
                    <a:pt x="1326" y="243"/>
                    <a:pt x="1327" y="243"/>
                  </a:cubicBezTo>
                  <a:cubicBezTo>
                    <a:pt x="1326" y="243"/>
                    <a:pt x="1323" y="245"/>
                    <a:pt x="1323" y="246"/>
                  </a:cubicBezTo>
                  <a:cubicBezTo>
                    <a:pt x="1323" y="246"/>
                    <a:pt x="1327" y="247"/>
                    <a:pt x="1328" y="247"/>
                  </a:cubicBezTo>
                  <a:cubicBezTo>
                    <a:pt x="1328" y="246"/>
                    <a:pt x="1329" y="245"/>
                    <a:pt x="1329" y="245"/>
                  </a:cubicBezTo>
                  <a:cubicBezTo>
                    <a:pt x="1330" y="245"/>
                    <a:pt x="1329" y="246"/>
                    <a:pt x="1330" y="246"/>
                  </a:cubicBezTo>
                  <a:cubicBezTo>
                    <a:pt x="1331" y="246"/>
                    <a:pt x="1334" y="248"/>
                    <a:pt x="1334" y="248"/>
                  </a:cubicBezTo>
                  <a:cubicBezTo>
                    <a:pt x="1336" y="248"/>
                    <a:pt x="1338" y="247"/>
                    <a:pt x="1337" y="245"/>
                  </a:cubicBezTo>
                  <a:cubicBezTo>
                    <a:pt x="1336" y="244"/>
                    <a:pt x="1333" y="244"/>
                    <a:pt x="1332" y="244"/>
                  </a:cubicBezTo>
                  <a:cubicBezTo>
                    <a:pt x="1330" y="244"/>
                    <a:pt x="1329" y="243"/>
                    <a:pt x="1327" y="242"/>
                  </a:cubicBezTo>
                  <a:cubicBezTo>
                    <a:pt x="1323" y="239"/>
                    <a:pt x="1326" y="241"/>
                    <a:pt x="1327" y="238"/>
                  </a:cubicBezTo>
                  <a:cubicBezTo>
                    <a:pt x="1327" y="238"/>
                    <a:pt x="1327" y="238"/>
                    <a:pt x="1327" y="238"/>
                  </a:cubicBezTo>
                  <a:cubicBezTo>
                    <a:pt x="1327" y="236"/>
                    <a:pt x="1326" y="235"/>
                    <a:pt x="1325" y="235"/>
                  </a:cubicBezTo>
                  <a:cubicBezTo>
                    <a:pt x="1324" y="234"/>
                    <a:pt x="1323" y="233"/>
                    <a:pt x="1323" y="232"/>
                  </a:cubicBezTo>
                  <a:cubicBezTo>
                    <a:pt x="1322" y="231"/>
                    <a:pt x="1323" y="230"/>
                    <a:pt x="1321" y="228"/>
                  </a:cubicBezTo>
                  <a:cubicBezTo>
                    <a:pt x="1320" y="226"/>
                    <a:pt x="1317" y="225"/>
                    <a:pt x="1316" y="224"/>
                  </a:cubicBezTo>
                  <a:cubicBezTo>
                    <a:pt x="1315" y="222"/>
                    <a:pt x="1316" y="224"/>
                    <a:pt x="1316" y="222"/>
                  </a:cubicBezTo>
                  <a:cubicBezTo>
                    <a:pt x="1316" y="221"/>
                    <a:pt x="1317" y="220"/>
                    <a:pt x="1316" y="219"/>
                  </a:cubicBezTo>
                  <a:cubicBezTo>
                    <a:pt x="1315" y="218"/>
                    <a:pt x="1311" y="220"/>
                    <a:pt x="1310" y="218"/>
                  </a:cubicBezTo>
                  <a:cubicBezTo>
                    <a:pt x="1309" y="217"/>
                    <a:pt x="1311" y="217"/>
                    <a:pt x="1312" y="216"/>
                  </a:cubicBezTo>
                  <a:cubicBezTo>
                    <a:pt x="1310" y="215"/>
                    <a:pt x="1309" y="215"/>
                    <a:pt x="1307" y="214"/>
                  </a:cubicBezTo>
                  <a:cubicBezTo>
                    <a:pt x="1308" y="213"/>
                    <a:pt x="1306" y="213"/>
                    <a:pt x="1305" y="212"/>
                  </a:cubicBezTo>
                  <a:cubicBezTo>
                    <a:pt x="1305" y="211"/>
                    <a:pt x="1306" y="211"/>
                    <a:pt x="1306" y="210"/>
                  </a:cubicBezTo>
                  <a:cubicBezTo>
                    <a:pt x="1303" y="210"/>
                    <a:pt x="1300" y="211"/>
                    <a:pt x="1298" y="212"/>
                  </a:cubicBezTo>
                  <a:cubicBezTo>
                    <a:pt x="1297" y="213"/>
                    <a:pt x="1297" y="213"/>
                    <a:pt x="1296" y="214"/>
                  </a:cubicBezTo>
                  <a:cubicBezTo>
                    <a:pt x="1296" y="213"/>
                    <a:pt x="1296" y="213"/>
                    <a:pt x="1296" y="213"/>
                  </a:cubicBezTo>
                  <a:cubicBezTo>
                    <a:pt x="1295" y="213"/>
                    <a:pt x="1294" y="213"/>
                    <a:pt x="1293" y="213"/>
                  </a:cubicBezTo>
                  <a:cubicBezTo>
                    <a:pt x="1294" y="212"/>
                    <a:pt x="1296" y="212"/>
                    <a:pt x="1296" y="211"/>
                  </a:cubicBezTo>
                  <a:cubicBezTo>
                    <a:pt x="1296" y="211"/>
                    <a:pt x="1296" y="211"/>
                    <a:pt x="1296" y="211"/>
                  </a:cubicBezTo>
                  <a:cubicBezTo>
                    <a:pt x="1298" y="211"/>
                    <a:pt x="1300" y="210"/>
                    <a:pt x="1302" y="209"/>
                  </a:cubicBezTo>
                  <a:cubicBezTo>
                    <a:pt x="1303" y="209"/>
                    <a:pt x="1303" y="208"/>
                    <a:pt x="1304" y="207"/>
                  </a:cubicBezTo>
                  <a:cubicBezTo>
                    <a:pt x="1303" y="207"/>
                    <a:pt x="1300" y="206"/>
                    <a:pt x="1299" y="205"/>
                  </a:cubicBezTo>
                  <a:cubicBezTo>
                    <a:pt x="1301" y="206"/>
                    <a:pt x="1305" y="207"/>
                    <a:pt x="1308" y="207"/>
                  </a:cubicBezTo>
                  <a:cubicBezTo>
                    <a:pt x="1308" y="207"/>
                    <a:pt x="1307" y="208"/>
                    <a:pt x="1307" y="208"/>
                  </a:cubicBezTo>
                  <a:cubicBezTo>
                    <a:pt x="1308" y="209"/>
                    <a:pt x="1309" y="209"/>
                    <a:pt x="1311" y="210"/>
                  </a:cubicBezTo>
                  <a:cubicBezTo>
                    <a:pt x="1311" y="210"/>
                    <a:pt x="1310" y="212"/>
                    <a:pt x="1312" y="213"/>
                  </a:cubicBezTo>
                  <a:cubicBezTo>
                    <a:pt x="1309" y="213"/>
                    <a:pt x="1310" y="214"/>
                    <a:pt x="1312" y="215"/>
                  </a:cubicBezTo>
                  <a:cubicBezTo>
                    <a:pt x="1313" y="216"/>
                    <a:pt x="1316" y="218"/>
                    <a:pt x="1317" y="218"/>
                  </a:cubicBezTo>
                  <a:cubicBezTo>
                    <a:pt x="1318" y="216"/>
                    <a:pt x="1320" y="213"/>
                    <a:pt x="1322" y="212"/>
                  </a:cubicBezTo>
                  <a:cubicBezTo>
                    <a:pt x="1323" y="215"/>
                    <a:pt x="1319" y="216"/>
                    <a:pt x="1321" y="218"/>
                  </a:cubicBezTo>
                  <a:cubicBezTo>
                    <a:pt x="1317" y="218"/>
                    <a:pt x="1321" y="223"/>
                    <a:pt x="1322" y="224"/>
                  </a:cubicBezTo>
                  <a:cubicBezTo>
                    <a:pt x="1323" y="224"/>
                    <a:pt x="1326" y="224"/>
                    <a:pt x="1327" y="225"/>
                  </a:cubicBezTo>
                  <a:cubicBezTo>
                    <a:pt x="1328" y="226"/>
                    <a:pt x="1328" y="229"/>
                    <a:pt x="1329" y="229"/>
                  </a:cubicBezTo>
                  <a:cubicBezTo>
                    <a:pt x="1332" y="231"/>
                    <a:pt x="1334" y="232"/>
                    <a:pt x="1337" y="230"/>
                  </a:cubicBezTo>
                  <a:cubicBezTo>
                    <a:pt x="1340" y="229"/>
                    <a:pt x="1341" y="228"/>
                    <a:pt x="1344" y="227"/>
                  </a:cubicBezTo>
                  <a:cubicBezTo>
                    <a:pt x="1346" y="226"/>
                    <a:pt x="1350" y="225"/>
                    <a:pt x="1351" y="224"/>
                  </a:cubicBezTo>
                  <a:cubicBezTo>
                    <a:pt x="1352" y="223"/>
                    <a:pt x="1352" y="223"/>
                    <a:pt x="1353" y="222"/>
                  </a:cubicBezTo>
                  <a:cubicBezTo>
                    <a:pt x="1356" y="220"/>
                    <a:pt x="1359" y="220"/>
                    <a:pt x="1362" y="218"/>
                  </a:cubicBezTo>
                  <a:cubicBezTo>
                    <a:pt x="1361" y="216"/>
                    <a:pt x="1363" y="214"/>
                    <a:pt x="1364" y="213"/>
                  </a:cubicBezTo>
                  <a:cubicBezTo>
                    <a:pt x="1365" y="212"/>
                    <a:pt x="1365" y="212"/>
                    <a:pt x="1367" y="211"/>
                  </a:cubicBezTo>
                  <a:cubicBezTo>
                    <a:pt x="1370" y="209"/>
                    <a:pt x="1373" y="209"/>
                    <a:pt x="1376" y="208"/>
                  </a:cubicBezTo>
                  <a:cubicBezTo>
                    <a:pt x="1379" y="206"/>
                    <a:pt x="1380" y="202"/>
                    <a:pt x="1381" y="199"/>
                  </a:cubicBezTo>
                  <a:cubicBezTo>
                    <a:pt x="1381" y="196"/>
                    <a:pt x="1382" y="195"/>
                    <a:pt x="1382" y="193"/>
                  </a:cubicBezTo>
                  <a:cubicBezTo>
                    <a:pt x="1384" y="189"/>
                    <a:pt x="1384" y="188"/>
                    <a:pt x="1381" y="185"/>
                  </a:cubicBezTo>
                  <a:cubicBezTo>
                    <a:pt x="1378" y="182"/>
                    <a:pt x="1374" y="179"/>
                    <a:pt x="1370" y="177"/>
                  </a:cubicBezTo>
                  <a:cubicBezTo>
                    <a:pt x="1370" y="176"/>
                    <a:pt x="1371" y="176"/>
                    <a:pt x="1370" y="176"/>
                  </a:cubicBezTo>
                  <a:cubicBezTo>
                    <a:pt x="1370" y="175"/>
                    <a:pt x="1369" y="175"/>
                    <a:pt x="1369" y="175"/>
                  </a:cubicBezTo>
                  <a:cubicBezTo>
                    <a:pt x="1368" y="175"/>
                    <a:pt x="1367" y="173"/>
                    <a:pt x="1367" y="173"/>
                  </a:cubicBezTo>
                  <a:cubicBezTo>
                    <a:pt x="1365" y="172"/>
                    <a:pt x="1364" y="172"/>
                    <a:pt x="1363" y="169"/>
                  </a:cubicBezTo>
                  <a:cubicBezTo>
                    <a:pt x="1361" y="165"/>
                    <a:pt x="1365" y="165"/>
                    <a:pt x="1366" y="161"/>
                  </a:cubicBezTo>
                  <a:cubicBezTo>
                    <a:pt x="1364" y="162"/>
                    <a:pt x="1358" y="164"/>
                    <a:pt x="1358" y="160"/>
                  </a:cubicBezTo>
                  <a:cubicBezTo>
                    <a:pt x="1358" y="159"/>
                    <a:pt x="1362" y="158"/>
                    <a:pt x="1359" y="156"/>
                  </a:cubicBezTo>
                  <a:cubicBezTo>
                    <a:pt x="1359" y="156"/>
                    <a:pt x="1355" y="158"/>
                    <a:pt x="1356" y="156"/>
                  </a:cubicBezTo>
                  <a:cubicBezTo>
                    <a:pt x="1357" y="154"/>
                    <a:pt x="1358" y="155"/>
                    <a:pt x="1357" y="153"/>
                  </a:cubicBezTo>
                  <a:cubicBezTo>
                    <a:pt x="1355" y="151"/>
                    <a:pt x="1350" y="152"/>
                    <a:pt x="1352" y="148"/>
                  </a:cubicBezTo>
                  <a:cubicBezTo>
                    <a:pt x="1353" y="145"/>
                    <a:pt x="1353" y="147"/>
                    <a:pt x="1354" y="147"/>
                  </a:cubicBezTo>
                  <a:cubicBezTo>
                    <a:pt x="1356" y="147"/>
                    <a:pt x="1358" y="147"/>
                    <a:pt x="1360" y="146"/>
                  </a:cubicBezTo>
                  <a:cubicBezTo>
                    <a:pt x="1361" y="146"/>
                    <a:pt x="1363" y="147"/>
                    <a:pt x="1364" y="147"/>
                  </a:cubicBezTo>
                  <a:cubicBezTo>
                    <a:pt x="1367" y="148"/>
                    <a:pt x="1369" y="147"/>
                    <a:pt x="1372" y="147"/>
                  </a:cubicBezTo>
                  <a:cubicBezTo>
                    <a:pt x="1377" y="146"/>
                    <a:pt x="1383" y="144"/>
                    <a:pt x="1384" y="139"/>
                  </a:cubicBezTo>
                  <a:cubicBezTo>
                    <a:pt x="1384" y="137"/>
                    <a:pt x="1383" y="133"/>
                    <a:pt x="1381" y="133"/>
                  </a:cubicBezTo>
                  <a:cubicBezTo>
                    <a:pt x="1378" y="132"/>
                    <a:pt x="1373" y="136"/>
                    <a:pt x="1377" y="131"/>
                  </a:cubicBezTo>
                  <a:cubicBezTo>
                    <a:pt x="1379" y="128"/>
                    <a:pt x="1384" y="124"/>
                    <a:pt x="1382" y="121"/>
                  </a:cubicBezTo>
                  <a:cubicBezTo>
                    <a:pt x="1380" y="118"/>
                    <a:pt x="1378" y="119"/>
                    <a:pt x="1375" y="118"/>
                  </a:cubicBezTo>
                  <a:cubicBezTo>
                    <a:pt x="1373" y="117"/>
                    <a:pt x="1370" y="116"/>
                    <a:pt x="1367" y="116"/>
                  </a:cubicBezTo>
                  <a:cubicBezTo>
                    <a:pt x="1364" y="117"/>
                    <a:pt x="1364" y="118"/>
                    <a:pt x="1362" y="114"/>
                  </a:cubicBezTo>
                  <a:cubicBezTo>
                    <a:pt x="1361" y="111"/>
                    <a:pt x="1360" y="110"/>
                    <a:pt x="1356" y="109"/>
                  </a:cubicBezTo>
                  <a:cubicBezTo>
                    <a:pt x="1351" y="108"/>
                    <a:pt x="1345" y="108"/>
                    <a:pt x="1340" y="106"/>
                  </a:cubicBezTo>
                  <a:cubicBezTo>
                    <a:pt x="1339" y="105"/>
                    <a:pt x="1338" y="105"/>
                    <a:pt x="1337" y="104"/>
                  </a:cubicBezTo>
                  <a:cubicBezTo>
                    <a:pt x="1343" y="105"/>
                    <a:pt x="1349" y="108"/>
                    <a:pt x="1355" y="106"/>
                  </a:cubicBezTo>
                  <a:cubicBezTo>
                    <a:pt x="1353" y="105"/>
                    <a:pt x="1351" y="103"/>
                    <a:pt x="1352" y="101"/>
                  </a:cubicBezTo>
                  <a:cubicBezTo>
                    <a:pt x="1352" y="100"/>
                    <a:pt x="1359" y="101"/>
                    <a:pt x="1360" y="101"/>
                  </a:cubicBezTo>
                  <a:cubicBezTo>
                    <a:pt x="1358" y="101"/>
                    <a:pt x="1357" y="101"/>
                    <a:pt x="1356" y="101"/>
                  </a:cubicBezTo>
                  <a:cubicBezTo>
                    <a:pt x="1354" y="100"/>
                    <a:pt x="1353" y="99"/>
                    <a:pt x="1352" y="99"/>
                  </a:cubicBezTo>
                  <a:cubicBezTo>
                    <a:pt x="1351" y="99"/>
                    <a:pt x="1349" y="99"/>
                    <a:pt x="1348" y="99"/>
                  </a:cubicBezTo>
                  <a:cubicBezTo>
                    <a:pt x="1347" y="99"/>
                    <a:pt x="1345" y="99"/>
                    <a:pt x="1344" y="99"/>
                  </a:cubicBezTo>
                  <a:cubicBezTo>
                    <a:pt x="1341" y="99"/>
                    <a:pt x="1339" y="98"/>
                    <a:pt x="1336" y="99"/>
                  </a:cubicBezTo>
                  <a:cubicBezTo>
                    <a:pt x="1335" y="99"/>
                    <a:pt x="1334" y="99"/>
                    <a:pt x="1332" y="99"/>
                  </a:cubicBezTo>
                  <a:cubicBezTo>
                    <a:pt x="1331" y="99"/>
                    <a:pt x="1330" y="99"/>
                    <a:pt x="1328" y="99"/>
                  </a:cubicBezTo>
                  <a:cubicBezTo>
                    <a:pt x="1322" y="98"/>
                    <a:pt x="1318" y="94"/>
                    <a:pt x="1313" y="93"/>
                  </a:cubicBezTo>
                  <a:cubicBezTo>
                    <a:pt x="1310" y="92"/>
                    <a:pt x="1308" y="92"/>
                    <a:pt x="1305" y="92"/>
                  </a:cubicBezTo>
                  <a:cubicBezTo>
                    <a:pt x="1303" y="93"/>
                    <a:pt x="1298" y="93"/>
                    <a:pt x="1297" y="94"/>
                  </a:cubicBezTo>
                  <a:cubicBezTo>
                    <a:pt x="1297" y="94"/>
                    <a:pt x="1297" y="95"/>
                    <a:pt x="1296" y="95"/>
                  </a:cubicBezTo>
                  <a:cubicBezTo>
                    <a:pt x="1296" y="95"/>
                    <a:pt x="1296" y="95"/>
                    <a:pt x="1296" y="94"/>
                  </a:cubicBezTo>
                  <a:cubicBezTo>
                    <a:pt x="1294" y="98"/>
                    <a:pt x="1288" y="91"/>
                    <a:pt x="1284" y="92"/>
                  </a:cubicBezTo>
                  <a:cubicBezTo>
                    <a:pt x="1281" y="93"/>
                    <a:pt x="1285" y="93"/>
                    <a:pt x="1286" y="93"/>
                  </a:cubicBezTo>
                  <a:cubicBezTo>
                    <a:pt x="1290" y="95"/>
                    <a:pt x="1287" y="96"/>
                    <a:pt x="1285" y="96"/>
                  </a:cubicBezTo>
                  <a:cubicBezTo>
                    <a:pt x="1288" y="97"/>
                    <a:pt x="1284" y="98"/>
                    <a:pt x="1284" y="100"/>
                  </a:cubicBezTo>
                  <a:cubicBezTo>
                    <a:pt x="1284" y="102"/>
                    <a:pt x="1286" y="102"/>
                    <a:pt x="1286" y="103"/>
                  </a:cubicBezTo>
                  <a:cubicBezTo>
                    <a:pt x="1286" y="104"/>
                    <a:pt x="1282" y="112"/>
                    <a:pt x="1286" y="109"/>
                  </a:cubicBezTo>
                  <a:cubicBezTo>
                    <a:pt x="1284" y="111"/>
                    <a:pt x="1286" y="111"/>
                    <a:pt x="1287" y="114"/>
                  </a:cubicBezTo>
                  <a:cubicBezTo>
                    <a:pt x="1282" y="114"/>
                    <a:pt x="1288" y="118"/>
                    <a:pt x="1289" y="119"/>
                  </a:cubicBezTo>
                  <a:cubicBezTo>
                    <a:pt x="1289" y="120"/>
                    <a:pt x="1291" y="119"/>
                    <a:pt x="1290" y="120"/>
                  </a:cubicBezTo>
                  <a:cubicBezTo>
                    <a:pt x="1289" y="121"/>
                    <a:pt x="1289" y="121"/>
                    <a:pt x="1290" y="122"/>
                  </a:cubicBezTo>
                  <a:cubicBezTo>
                    <a:pt x="1292" y="122"/>
                    <a:pt x="1293" y="120"/>
                    <a:pt x="1295" y="120"/>
                  </a:cubicBezTo>
                  <a:cubicBezTo>
                    <a:pt x="1292" y="123"/>
                    <a:pt x="1295" y="122"/>
                    <a:pt x="1296" y="121"/>
                  </a:cubicBezTo>
                  <a:cubicBezTo>
                    <a:pt x="1296" y="122"/>
                    <a:pt x="1296" y="122"/>
                    <a:pt x="1296" y="123"/>
                  </a:cubicBezTo>
                  <a:cubicBezTo>
                    <a:pt x="1297" y="123"/>
                    <a:pt x="1297" y="124"/>
                    <a:pt x="1298" y="124"/>
                  </a:cubicBezTo>
                  <a:cubicBezTo>
                    <a:pt x="1299" y="124"/>
                    <a:pt x="1300" y="123"/>
                    <a:pt x="1301" y="124"/>
                  </a:cubicBezTo>
                  <a:cubicBezTo>
                    <a:pt x="1302" y="124"/>
                    <a:pt x="1302" y="125"/>
                    <a:pt x="1302" y="126"/>
                  </a:cubicBezTo>
                  <a:cubicBezTo>
                    <a:pt x="1304" y="126"/>
                    <a:pt x="1306" y="126"/>
                    <a:pt x="1307" y="127"/>
                  </a:cubicBezTo>
                  <a:cubicBezTo>
                    <a:pt x="1305" y="128"/>
                    <a:pt x="1300" y="127"/>
                    <a:pt x="1297" y="127"/>
                  </a:cubicBezTo>
                  <a:cubicBezTo>
                    <a:pt x="1298" y="128"/>
                    <a:pt x="1300" y="129"/>
                    <a:pt x="1301" y="130"/>
                  </a:cubicBezTo>
                  <a:cubicBezTo>
                    <a:pt x="1299" y="130"/>
                    <a:pt x="1298" y="130"/>
                    <a:pt x="1296" y="129"/>
                  </a:cubicBezTo>
                  <a:cubicBezTo>
                    <a:pt x="1296" y="130"/>
                    <a:pt x="1296" y="130"/>
                    <a:pt x="1296" y="130"/>
                  </a:cubicBezTo>
                  <a:cubicBezTo>
                    <a:pt x="1296" y="129"/>
                    <a:pt x="1296" y="129"/>
                    <a:pt x="1294" y="129"/>
                  </a:cubicBezTo>
                  <a:cubicBezTo>
                    <a:pt x="1294" y="129"/>
                    <a:pt x="1294" y="129"/>
                    <a:pt x="1293" y="130"/>
                  </a:cubicBezTo>
                  <a:cubicBezTo>
                    <a:pt x="1294" y="131"/>
                    <a:pt x="1292" y="132"/>
                    <a:pt x="1293" y="134"/>
                  </a:cubicBezTo>
                  <a:cubicBezTo>
                    <a:pt x="1293" y="135"/>
                    <a:pt x="1295" y="135"/>
                    <a:pt x="1296" y="135"/>
                  </a:cubicBezTo>
                  <a:cubicBezTo>
                    <a:pt x="1296" y="135"/>
                    <a:pt x="1296" y="135"/>
                    <a:pt x="1296" y="135"/>
                  </a:cubicBezTo>
                  <a:cubicBezTo>
                    <a:pt x="1300" y="134"/>
                    <a:pt x="1305" y="138"/>
                    <a:pt x="1299" y="138"/>
                  </a:cubicBezTo>
                  <a:cubicBezTo>
                    <a:pt x="1298" y="138"/>
                    <a:pt x="1296" y="136"/>
                    <a:pt x="1296" y="138"/>
                  </a:cubicBezTo>
                  <a:cubicBezTo>
                    <a:pt x="1296" y="138"/>
                    <a:pt x="1296" y="137"/>
                    <a:pt x="1296" y="137"/>
                  </a:cubicBezTo>
                  <a:cubicBezTo>
                    <a:pt x="1295" y="137"/>
                    <a:pt x="1294" y="137"/>
                    <a:pt x="1293" y="137"/>
                  </a:cubicBezTo>
                  <a:cubicBezTo>
                    <a:pt x="1293" y="137"/>
                    <a:pt x="1292" y="137"/>
                    <a:pt x="1292" y="137"/>
                  </a:cubicBezTo>
                  <a:cubicBezTo>
                    <a:pt x="1291" y="138"/>
                    <a:pt x="1292" y="139"/>
                    <a:pt x="1291" y="139"/>
                  </a:cubicBezTo>
                  <a:cubicBezTo>
                    <a:pt x="1289" y="139"/>
                    <a:pt x="1289" y="137"/>
                    <a:pt x="1288" y="137"/>
                  </a:cubicBezTo>
                  <a:cubicBezTo>
                    <a:pt x="1286" y="137"/>
                    <a:pt x="1287" y="138"/>
                    <a:pt x="1285" y="138"/>
                  </a:cubicBezTo>
                  <a:cubicBezTo>
                    <a:pt x="1282" y="138"/>
                    <a:pt x="1282" y="137"/>
                    <a:pt x="1281" y="140"/>
                  </a:cubicBezTo>
                  <a:cubicBezTo>
                    <a:pt x="1280" y="142"/>
                    <a:pt x="1279" y="143"/>
                    <a:pt x="1279" y="145"/>
                  </a:cubicBezTo>
                  <a:cubicBezTo>
                    <a:pt x="1280" y="148"/>
                    <a:pt x="1281" y="149"/>
                    <a:pt x="1279" y="152"/>
                  </a:cubicBezTo>
                  <a:cubicBezTo>
                    <a:pt x="1279" y="153"/>
                    <a:pt x="1277" y="154"/>
                    <a:pt x="1277" y="155"/>
                  </a:cubicBezTo>
                  <a:cubicBezTo>
                    <a:pt x="1277" y="157"/>
                    <a:pt x="1278" y="158"/>
                    <a:pt x="1277" y="160"/>
                  </a:cubicBezTo>
                  <a:cubicBezTo>
                    <a:pt x="1277" y="161"/>
                    <a:pt x="1276" y="165"/>
                    <a:pt x="1275" y="166"/>
                  </a:cubicBezTo>
                  <a:cubicBezTo>
                    <a:pt x="1274" y="167"/>
                    <a:pt x="1271" y="169"/>
                    <a:pt x="1271" y="167"/>
                  </a:cubicBezTo>
                  <a:cubicBezTo>
                    <a:pt x="1270" y="172"/>
                    <a:pt x="1264" y="174"/>
                    <a:pt x="1262" y="178"/>
                  </a:cubicBezTo>
                  <a:cubicBezTo>
                    <a:pt x="1261" y="181"/>
                    <a:pt x="1263" y="185"/>
                    <a:pt x="1262" y="189"/>
                  </a:cubicBezTo>
                  <a:cubicBezTo>
                    <a:pt x="1262" y="190"/>
                    <a:pt x="1262" y="192"/>
                    <a:pt x="1261" y="193"/>
                  </a:cubicBezTo>
                  <a:cubicBezTo>
                    <a:pt x="1260" y="194"/>
                    <a:pt x="1259" y="193"/>
                    <a:pt x="1259" y="191"/>
                  </a:cubicBezTo>
                  <a:cubicBezTo>
                    <a:pt x="1258" y="194"/>
                    <a:pt x="1256" y="190"/>
                    <a:pt x="1254" y="191"/>
                  </a:cubicBezTo>
                  <a:cubicBezTo>
                    <a:pt x="1252" y="191"/>
                    <a:pt x="1250" y="193"/>
                    <a:pt x="1249" y="193"/>
                  </a:cubicBezTo>
                  <a:cubicBezTo>
                    <a:pt x="1247" y="194"/>
                    <a:pt x="1250" y="196"/>
                    <a:pt x="1251" y="197"/>
                  </a:cubicBezTo>
                  <a:cubicBezTo>
                    <a:pt x="1249" y="197"/>
                    <a:pt x="1248" y="198"/>
                    <a:pt x="1248" y="200"/>
                  </a:cubicBezTo>
                  <a:cubicBezTo>
                    <a:pt x="1247" y="196"/>
                    <a:pt x="1245" y="199"/>
                    <a:pt x="1244" y="200"/>
                  </a:cubicBezTo>
                  <a:cubicBezTo>
                    <a:pt x="1243" y="203"/>
                    <a:pt x="1243" y="204"/>
                    <a:pt x="1242" y="200"/>
                  </a:cubicBezTo>
                  <a:cubicBezTo>
                    <a:pt x="1242" y="199"/>
                    <a:pt x="1241" y="197"/>
                    <a:pt x="1241" y="196"/>
                  </a:cubicBezTo>
                  <a:cubicBezTo>
                    <a:pt x="1241" y="196"/>
                    <a:pt x="1240" y="196"/>
                    <a:pt x="1240" y="196"/>
                  </a:cubicBezTo>
                  <a:cubicBezTo>
                    <a:pt x="1240" y="196"/>
                    <a:pt x="1240" y="195"/>
                    <a:pt x="1240" y="194"/>
                  </a:cubicBezTo>
                  <a:cubicBezTo>
                    <a:pt x="1238" y="193"/>
                    <a:pt x="1237" y="191"/>
                    <a:pt x="1235" y="190"/>
                  </a:cubicBezTo>
                  <a:cubicBezTo>
                    <a:pt x="1233" y="188"/>
                    <a:pt x="1232" y="187"/>
                    <a:pt x="1230" y="185"/>
                  </a:cubicBezTo>
                  <a:cubicBezTo>
                    <a:pt x="1229" y="184"/>
                    <a:pt x="1227" y="183"/>
                    <a:pt x="1225" y="182"/>
                  </a:cubicBezTo>
                  <a:cubicBezTo>
                    <a:pt x="1223" y="180"/>
                    <a:pt x="1223" y="179"/>
                    <a:pt x="1222" y="177"/>
                  </a:cubicBezTo>
                  <a:cubicBezTo>
                    <a:pt x="1221" y="175"/>
                    <a:pt x="1220" y="174"/>
                    <a:pt x="1219" y="172"/>
                  </a:cubicBezTo>
                  <a:cubicBezTo>
                    <a:pt x="1218" y="169"/>
                    <a:pt x="1219" y="168"/>
                    <a:pt x="1220" y="165"/>
                  </a:cubicBezTo>
                  <a:cubicBezTo>
                    <a:pt x="1220" y="162"/>
                    <a:pt x="1220" y="160"/>
                    <a:pt x="1218" y="157"/>
                  </a:cubicBezTo>
                  <a:cubicBezTo>
                    <a:pt x="1217" y="155"/>
                    <a:pt x="1219" y="156"/>
                    <a:pt x="1219" y="155"/>
                  </a:cubicBezTo>
                  <a:cubicBezTo>
                    <a:pt x="1220" y="155"/>
                    <a:pt x="1222" y="153"/>
                    <a:pt x="1222" y="153"/>
                  </a:cubicBezTo>
                  <a:cubicBezTo>
                    <a:pt x="1224" y="152"/>
                    <a:pt x="1222" y="156"/>
                    <a:pt x="1223" y="157"/>
                  </a:cubicBezTo>
                  <a:cubicBezTo>
                    <a:pt x="1223" y="158"/>
                    <a:pt x="1226" y="158"/>
                    <a:pt x="1227" y="157"/>
                  </a:cubicBezTo>
                  <a:cubicBezTo>
                    <a:pt x="1232" y="155"/>
                    <a:pt x="1232" y="153"/>
                    <a:pt x="1231" y="149"/>
                  </a:cubicBezTo>
                  <a:cubicBezTo>
                    <a:pt x="1230" y="148"/>
                    <a:pt x="1229" y="146"/>
                    <a:pt x="1229" y="145"/>
                  </a:cubicBezTo>
                  <a:cubicBezTo>
                    <a:pt x="1228" y="142"/>
                    <a:pt x="1229" y="140"/>
                    <a:pt x="1228" y="138"/>
                  </a:cubicBezTo>
                  <a:cubicBezTo>
                    <a:pt x="1224" y="129"/>
                    <a:pt x="1215" y="128"/>
                    <a:pt x="1208" y="123"/>
                  </a:cubicBezTo>
                  <a:cubicBezTo>
                    <a:pt x="1205" y="120"/>
                    <a:pt x="1205" y="115"/>
                    <a:pt x="1199" y="116"/>
                  </a:cubicBezTo>
                  <a:cubicBezTo>
                    <a:pt x="1196" y="117"/>
                    <a:pt x="1195" y="118"/>
                    <a:pt x="1194" y="121"/>
                  </a:cubicBezTo>
                  <a:cubicBezTo>
                    <a:pt x="1192" y="123"/>
                    <a:pt x="1190" y="124"/>
                    <a:pt x="1188" y="126"/>
                  </a:cubicBezTo>
                  <a:cubicBezTo>
                    <a:pt x="1188" y="129"/>
                    <a:pt x="1189" y="140"/>
                    <a:pt x="1186" y="142"/>
                  </a:cubicBezTo>
                  <a:cubicBezTo>
                    <a:pt x="1187" y="141"/>
                    <a:pt x="1186" y="140"/>
                    <a:pt x="1186" y="140"/>
                  </a:cubicBezTo>
                  <a:cubicBezTo>
                    <a:pt x="1182" y="140"/>
                    <a:pt x="1182" y="146"/>
                    <a:pt x="1183" y="147"/>
                  </a:cubicBezTo>
                  <a:cubicBezTo>
                    <a:pt x="1183" y="148"/>
                    <a:pt x="1183" y="149"/>
                    <a:pt x="1183" y="150"/>
                  </a:cubicBezTo>
                  <a:cubicBezTo>
                    <a:pt x="1183" y="150"/>
                    <a:pt x="1183" y="149"/>
                    <a:pt x="1183" y="149"/>
                  </a:cubicBezTo>
                  <a:cubicBezTo>
                    <a:pt x="1181" y="151"/>
                    <a:pt x="1181" y="153"/>
                    <a:pt x="1180" y="155"/>
                  </a:cubicBezTo>
                  <a:cubicBezTo>
                    <a:pt x="1180" y="154"/>
                    <a:pt x="1180" y="153"/>
                    <a:pt x="1180" y="152"/>
                  </a:cubicBezTo>
                  <a:cubicBezTo>
                    <a:pt x="1180" y="153"/>
                    <a:pt x="1176" y="158"/>
                    <a:pt x="1175" y="158"/>
                  </a:cubicBezTo>
                  <a:cubicBezTo>
                    <a:pt x="1174" y="158"/>
                    <a:pt x="1174" y="156"/>
                    <a:pt x="1173" y="156"/>
                  </a:cubicBezTo>
                  <a:cubicBezTo>
                    <a:pt x="1171" y="154"/>
                    <a:pt x="1169" y="152"/>
                    <a:pt x="1167" y="150"/>
                  </a:cubicBezTo>
                  <a:cubicBezTo>
                    <a:pt x="1166" y="149"/>
                    <a:pt x="1169" y="148"/>
                    <a:pt x="1169" y="147"/>
                  </a:cubicBezTo>
                  <a:cubicBezTo>
                    <a:pt x="1169" y="146"/>
                    <a:pt x="1168" y="144"/>
                    <a:pt x="1168" y="143"/>
                  </a:cubicBezTo>
                  <a:cubicBezTo>
                    <a:pt x="1168" y="142"/>
                    <a:pt x="1169" y="141"/>
                    <a:pt x="1169" y="141"/>
                  </a:cubicBezTo>
                  <a:cubicBezTo>
                    <a:pt x="1169" y="140"/>
                    <a:pt x="1168" y="138"/>
                    <a:pt x="1168" y="137"/>
                  </a:cubicBezTo>
                  <a:cubicBezTo>
                    <a:pt x="1170" y="135"/>
                    <a:pt x="1170" y="134"/>
                    <a:pt x="1167" y="135"/>
                  </a:cubicBezTo>
                  <a:cubicBezTo>
                    <a:pt x="1168" y="134"/>
                    <a:pt x="1169" y="134"/>
                    <a:pt x="1170" y="133"/>
                  </a:cubicBezTo>
                  <a:cubicBezTo>
                    <a:pt x="1167" y="128"/>
                    <a:pt x="1165" y="124"/>
                    <a:pt x="1160" y="121"/>
                  </a:cubicBezTo>
                  <a:cubicBezTo>
                    <a:pt x="1156" y="118"/>
                    <a:pt x="1152" y="116"/>
                    <a:pt x="1147" y="113"/>
                  </a:cubicBezTo>
                  <a:cubicBezTo>
                    <a:pt x="1153" y="115"/>
                    <a:pt x="1153" y="116"/>
                    <a:pt x="1158" y="113"/>
                  </a:cubicBezTo>
                  <a:cubicBezTo>
                    <a:pt x="1158" y="113"/>
                    <a:pt x="1155" y="115"/>
                    <a:pt x="1155" y="116"/>
                  </a:cubicBezTo>
                  <a:cubicBezTo>
                    <a:pt x="1155" y="117"/>
                    <a:pt x="1157" y="116"/>
                    <a:pt x="1158" y="116"/>
                  </a:cubicBezTo>
                  <a:cubicBezTo>
                    <a:pt x="1158" y="116"/>
                    <a:pt x="1159" y="118"/>
                    <a:pt x="1160" y="117"/>
                  </a:cubicBezTo>
                  <a:cubicBezTo>
                    <a:pt x="1161" y="116"/>
                    <a:pt x="1162" y="114"/>
                    <a:pt x="1162" y="112"/>
                  </a:cubicBezTo>
                  <a:cubicBezTo>
                    <a:pt x="1163" y="111"/>
                    <a:pt x="1164" y="111"/>
                    <a:pt x="1164" y="109"/>
                  </a:cubicBezTo>
                  <a:cubicBezTo>
                    <a:pt x="1164" y="108"/>
                    <a:pt x="1166" y="110"/>
                    <a:pt x="1167" y="110"/>
                  </a:cubicBezTo>
                  <a:cubicBezTo>
                    <a:pt x="1168" y="110"/>
                    <a:pt x="1171" y="110"/>
                    <a:pt x="1173" y="109"/>
                  </a:cubicBezTo>
                  <a:cubicBezTo>
                    <a:pt x="1170" y="107"/>
                    <a:pt x="1168" y="107"/>
                    <a:pt x="1166" y="106"/>
                  </a:cubicBezTo>
                  <a:cubicBezTo>
                    <a:pt x="1162" y="104"/>
                    <a:pt x="1165" y="109"/>
                    <a:pt x="1160" y="106"/>
                  </a:cubicBezTo>
                  <a:cubicBezTo>
                    <a:pt x="1160" y="105"/>
                    <a:pt x="1158" y="106"/>
                    <a:pt x="1157" y="106"/>
                  </a:cubicBezTo>
                  <a:cubicBezTo>
                    <a:pt x="1155" y="106"/>
                    <a:pt x="1155" y="105"/>
                    <a:pt x="1153" y="104"/>
                  </a:cubicBezTo>
                  <a:cubicBezTo>
                    <a:pt x="1152" y="104"/>
                    <a:pt x="1150" y="106"/>
                    <a:pt x="1149" y="106"/>
                  </a:cubicBezTo>
                  <a:cubicBezTo>
                    <a:pt x="1148" y="106"/>
                    <a:pt x="1146" y="106"/>
                    <a:pt x="1144" y="106"/>
                  </a:cubicBezTo>
                  <a:cubicBezTo>
                    <a:pt x="1146" y="105"/>
                    <a:pt x="1148" y="105"/>
                    <a:pt x="1150" y="104"/>
                  </a:cubicBezTo>
                  <a:cubicBezTo>
                    <a:pt x="1152" y="103"/>
                    <a:pt x="1152" y="102"/>
                    <a:pt x="1155" y="101"/>
                  </a:cubicBezTo>
                  <a:cubicBezTo>
                    <a:pt x="1153" y="100"/>
                    <a:pt x="1150" y="100"/>
                    <a:pt x="1148" y="100"/>
                  </a:cubicBezTo>
                  <a:cubicBezTo>
                    <a:pt x="1145" y="100"/>
                    <a:pt x="1145" y="102"/>
                    <a:pt x="1144" y="103"/>
                  </a:cubicBezTo>
                  <a:cubicBezTo>
                    <a:pt x="1143" y="104"/>
                    <a:pt x="1140" y="106"/>
                    <a:pt x="1139" y="106"/>
                  </a:cubicBezTo>
                  <a:cubicBezTo>
                    <a:pt x="1134" y="104"/>
                    <a:pt x="1128" y="101"/>
                    <a:pt x="1123" y="99"/>
                  </a:cubicBezTo>
                  <a:cubicBezTo>
                    <a:pt x="1120" y="99"/>
                    <a:pt x="1116" y="100"/>
                    <a:pt x="1113" y="99"/>
                  </a:cubicBezTo>
                  <a:cubicBezTo>
                    <a:pt x="1114" y="99"/>
                    <a:pt x="1115" y="98"/>
                    <a:pt x="1116" y="98"/>
                  </a:cubicBezTo>
                  <a:cubicBezTo>
                    <a:pt x="1118" y="96"/>
                    <a:pt x="1119" y="95"/>
                    <a:pt x="1121" y="94"/>
                  </a:cubicBezTo>
                  <a:cubicBezTo>
                    <a:pt x="1121" y="94"/>
                    <a:pt x="1121" y="94"/>
                    <a:pt x="1121" y="94"/>
                  </a:cubicBezTo>
                  <a:cubicBezTo>
                    <a:pt x="1122" y="95"/>
                    <a:pt x="1135" y="86"/>
                    <a:pt x="1135" y="84"/>
                  </a:cubicBezTo>
                  <a:cubicBezTo>
                    <a:pt x="1133" y="79"/>
                    <a:pt x="1123" y="85"/>
                    <a:pt x="1121" y="83"/>
                  </a:cubicBezTo>
                  <a:cubicBezTo>
                    <a:pt x="1121" y="83"/>
                    <a:pt x="1122" y="82"/>
                    <a:pt x="1122" y="82"/>
                  </a:cubicBezTo>
                  <a:cubicBezTo>
                    <a:pt x="1122" y="81"/>
                    <a:pt x="1124" y="81"/>
                    <a:pt x="1123" y="80"/>
                  </a:cubicBezTo>
                  <a:cubicBezTo>
                    <a:pt x="1123" y="80"/>
                    <a:pt x="1123" y="79"/>
                    <a:pt x="1123" y="79"/>
                  </a:cubicBezTo>
                  <a:cubicBezTo>
                    <a:pt x="1124" y="78"/>
                    <a:pt x="1130" y="79"/>
                    <a:pt x="1126" y="76"/>
                  </a:cubicBezTo>
                  <a:cubicBezTo>
                    <a:pt x="1128" y="75"/>
                    <a:pt x="1128" y="77"/>
                    <a:pt x="1129" y="78"/>
                  </a:cubicBezTo>
                  <a:cubicBezTo>
                    <a:pt x="1130" y="79"/>
                    <a:pt x="1133" y="81"/>
                    <a:pt x="1134" y="81"/>
                  </a:cubicBezTo>
                  <a:cubicBezTo>
                    <a:pt x="1136" y="82"/>
                    <a:pt x="1145" y="81"/>
                    <a:pt x="1145" y="80"/>
                  </a:cubicBezTo>
                  <a:cubicBezTo>
                    <a:pt x="1146" y="78"/>
                    <a:pt x="1142" y="77"/>
                    <a:pt x="1141" y="78"/>
                  </a:cubicBezTo>
                  <a:cubicBezTo>
                    <a:pt x="1141" y="77"/>
                    <a:pt x="1141" y="75"/>
                    <a:pt x="1141" y="74"/>
                  </a:cubicBezTo>
                  <a:cubicBezTo>
                    <a:pt x="1141" y="71"/>
                    <a:pt x="1140" y="72"/>
                    <a:pt x="1139" y="72"/>
                  </a:cubicBezTo>
                  <a:cubicBezTo>
                    <a:pt x="1138" y="72"/>
                    <a:pt x="1138" y="72"/>
                    <a:pt x="1138" y="72"/>
                  </a:cubicBezTo>
                  <a:cubicBezTo>
                    <a:pt x="1138" y="72"/>
                    <a:pt x="1138" y="72"/>
                    <a:pt x="1137" y="73"/>
                  </a:cubicBezTo>
                  <a:cubicBezTo>
                    <a:pt x="1137" y="74"/>
                    <a:pt x="1136" y="74"/>
                    <a:pt x="1135" y="75"/>
                  </a:cubicBezTo>
                  <a:cubicBezTo>
                    <a:pt x="1135" y="74"/>
                    <a:pt x="1135" y="72"/>
                    <a:pt x="1134" y="70"/>
                  </a:cubicBezTo>
                  <a:cubicBezTo>
                    <a:pt x="1134" y="69"/>
                    <a:pt x="1132" y="68"/>
                    <a:pt x="1132" y="67"/>
                  </a:cubicBezTo>
                  <a:cubicBezTo>
                    <a:pt x="1131" y="67"/>
                    <a:pt x="1128" y="57"/>
                    <a:pt x="1128" y="62"/>
                  </a:cubicBezTo>
                  <a:cubicBezTo>
                    <a:pt x="1127" y="57"/>
                    <a:pt x="1122" y="59"/>
                    <a:pt x="1120" y="57"/>
                  </a:cubicBezTo>
                  <a:cubicBezTo>
                    <a:pt x="1118" y="55"/>
                    <a:pt x="1119" y="54"/>
                    <a:pt x="1116" y="53"/>
                  </a:cubicBezTo>
                  <a:cubicBezTo>
                    <a:pt x="1114" y="52"/>
                    <a:pt x="1112" y="51"/>
                    <a:pt x="1110" y="49"/>
                  </a:cubicBezTo>
                  <a:cubicBezTo>
                    <a:pt x="1111" y="50"/>
                    <a:pt x="1111" y="50"/>
                    <a:pt x="1112" y="51"/>
                  </a:cubicBezTo>
                  <a:cubicBezTo>
                    <a:pt x="1112" y="46"/>
                    <a:pt x="1112" y="40"/>
                    <a:pt x="1111" y="35"/>
                  </a:cubicBezTo>
                  <a:cubicBezTo>
                    <a:pt x="1111" y="34"/>
                    <a:pt x="1112" y="31"/>
                    <a:pt x="1111" y="29"/>
                  </a:cubicBezTo>
                  <a:cubicBezTo>
                    <a:pt x="1110" y="28"/>
                    <a:pt x="1108" y="27"/>
                    <a:pt x="1107" y="26"/>
                  </a:cubicBezTo>
                  <a:cubicBezTo>
                    <a:pt x="1104" y="22"/>
                    <a:pt x="1099" y="22"/>
                    <a:pt x="1095" y="19"/>
                  </a:cubicBezTo>
                  <a:cubicBezTo>
                    <a:pt x="1093" y="17"/>
                    <a:pt x="1092" y="17"/>
                    <a:pt x="1093" y="15"/>
                  </a:cubicBezTo>
                  <a:cubicBezTo>
                    <a:pt x="1093" y="14"/>
                    <a:pt x="1095" y="12"/>
                    <a:pt x="1093" y="11"/>
                  </a:cubicBezTo>
                  <a:cubicBezTo>
                    <a:pt x="1092" y="11"/>
                    <a:pt x="1091" y="12"/>
                    <a:pt x="1090" y="12"/>
                  </a:cubicBezTo>
                  <a:cubicBezTo>
                    <a:pt x="1088" y="13"/>
                    <a:pt x="1088" y="11"/>
                    <a:pt x="1087" y="11"/>
                  </a:cubicBezTo>
                  <a:cubicBezTo>
                    <a:pt x="1086" y="11"/>
                    <a:pt x="1086" y="12"/>
                    <a:pt x="1085" y="12"/>
                  </a:cubicBezTo>
                  <a:cubicBezTo>
                    <a:pt x="1084" y="12"/>
                    <a:pt x="1084" y="10"/>
                    <a:pt x="1083" y="11"/>
                  </a:cubicBezTo>
                  <a:cubicBezTo>
                    <a:pt x="1082" y="11"/>
                    <a:pt x="1082" y="12"/>
                    <a:pt x="1081" y="13"/>
                  </a:cubicBezTo>
                  <a:cubicBezTo>
                    <a:pt x="1081" y="14"/>
                    <a:pt x="1079" y="15"/>
                    <a:pt x="1078" y="15"/>
                  </a:cubicBezTo>
                  <a:cubicBezTo>
                    <a:pt x="1079" y="14"/>
                    <a:pt x="1079" y="12"/>
                    <a:pt x="1079" y="11"/>
                  </a:cubicBezTo>
                  <a:cubicBezTo>
                    <a:pt x="1079" y="9"/>
                    <a:pt x="1078" y="10"/>
                    <a:pt x="1078" y="10"/>
                  </a:cubicBezTo>
                  <a:cubicBezTo>
                    <a:pt x="1076" y="10"/>
                    <a:pt x="1077" y="9"/>
                    <a:pt x="1076" y="10"/>
                  </a:cubicBezTo>
                  <a:cubicBezTo>
                    <a:pt x="1075" y="10"/>
                    <a:pt x="1074" y="11"/>
                    <a:pt x="1073" y="12"/>
                  </a:cubicBezTo>
                  <a:cubicBezTo>
                    <a:pt x="1072" y="9"/>
                    <a:pt x="1074" y="9"/>
                    <a:pt x="1075" y="8"/>
                  </a:cubicBezTo>
                  <a:cubicBezTo>
                    <a:pt x="1076" y="8"/>
                    <a:pt x="1076" y="8"/>
                    <a:pt x="1077" y="7"/>
                  </a:cubicBezTo>
                  <a:cubicBezTo>
                    <a:pt x="1077" y="7"/>
                    <a:pt x="1077" y="6"/>
                    <a:pt x="1077" y="5"/>
                  </a:cubicBezTo>
                  <a:cubicBezTo>
                    <a:pt x="1079" y="4"/>
                    <a:pt x="1078" y="3"/>
                    <a:pt x="1076" y="2"/>
                  </a:cubicBezTo>
                  <a:cubicBezTo>
                    <a:pt x="1074" y="0"/>
                    <a:pt x="1067" y="2"/>
                    <a:pt x="1065" y="3"/>
                  </a:cubicBezTo>
                  <a:cubicBezTo>
                    <a:pt x="1062" y="3"/>
                    <a:pt x="1060" y="3"/>
                    <a:pt x="1059" y="5"/>
                  </a:cubicBezTo>
                  <a:cubicBezTo>
                    <a:pt x="1059" y="6"/>
                    <a:pt x="1058" y="8"/>
                    <a:pt x="1060" y="8"/>
                  </a:cubicBezTo>
                  <a:cubicBezTo>
                    <a:pt x="1061" y="9"/>
                    <a:pt x="1065" y="8"/>
                    <a:pt x="1066" y="8"/>
                  </a:cubicBezTo>
                  <a:cubicBezTo>
                    <a:pt x="1069" y="8"/>
                    <a:pt x="1071" y="8"/>
                    <a:pt x="1073" y="7"/>
                  </a:cubicBezTo>
                  <a:cubicBezTo>
                    <a:pt x="1070" y="10"/>
                    <a:pt x="1064" y="7"/>
                    <a:pt x="1060" y="9"/>
                  </a:cubicBezTo>
                  <a:cubicBezTo>
                    <a:pt x="1058" y="10"/>
                    <a:pt x="1059" y="13"/>
                    <a:pt x="1058" y="13"/>
                  </a:cubicBezTo>
                  <a:cubicBezTo>
                    <a:pt x="1057" y="14"/>
                    <a:pt x="1053" y="14"/>
                    <a:pt x="1051" y="14"/>
                  </a:cubicBezTo>
                  <a:cubicBezTo>
                    <a:pt x="1049" y="15"/>
                    <a:pt x="1048" y="17"/>
                    <a:pt x="1046" y="17"/>
                  </a:cubicBezTo>
                  <a:cubicBezTo>
                    <a:pt x="1045" y="18"/>
                    <a:pt x="1042" y="19"/>
                    <a:pt x="1043" y="21"/>
                  </a:cubicBezTo>
                  <a:cubicBezTo>
                    <a:pt x="1043" y="22"/>
                    <a:pt x="1047" y="23"/>
                    <a:pt x="1048" y="23"/>
                  </a:cubicBezTo>
                  <a:cubicBezTo>
                    <a:pt x="1051" y="23"/>
                    <a:pt x="1053" y="23"/>
                    <a:pt x="1055" y="23"/>
                  </a:cubicBezTo>
                  <a:cubicBezTo>
                    <a:pt x="1052" y="24"/>
                    <a:pt x="1052" y="26"/>
                    <a:pt x="1054" y="28"/>
                  </a:cubicBezTo>
                  <a:cubicBezTo>
                    <a:pt x="1053" y="29"/>
                    <a:pt x="1052" y="29"/>
                    <a:pt x="1051" y="29"/>
                  </a:cubicBezTo>
                  <a:cubicBezTo>
                    <a:pt x="1053" y="30"/>
                    <a:pt x="1052" y="31"/>
                    <a:pt x="1051" y="32"/>
                  </a:cubicBezTo>
                  <a:cubicBezTo>
                    <a:pt x="1049" y="33"/>
                    <a:pt x="1043" y="29"/>
                    <a:pt x="1041" y="28"/>
                  </a:cubicBezTo>
                  <a:cubicBezTo>
                    <a:pt x="1037" y="27"/>
                    <a:pt x="1038" y="28"/>
                    <a:pt x="1035" y="30"/>
                  </a:cubicBezTo>
                  <a:cubicBezTo>
                    <a:pt x="1034" y="31"/>
                    <a:pt x="1031" y="31"/>
                    <a:pt x="1030" y="32"/>
                  </a:cubicBezTo>
                  <a:cubicBezTo>
                    <a:pt x="1032" y="33"/>
                    <a:pt x="1031" y="34"/>
                    <a:pt x="1031" y="36"/>
                  </a:cubicBezTo>
                  <a:cubicBezTo>
                    <a:pt x="1031" y="36"/>
                    <a:pt x="1031" y="36"/>
                    <a:pt x="1031" y="36"/>
                  </a:cubicBezTo>
                  <a:cubicBezTo>
                    <a:pt x="1031" y="37"/>
                    <a:pt x="1029" y="37"/>
                    <a:pt x="1029" y="38"/>
                  </a:cubicBezTo>
                  <a:cubicBezTo>
                    <a:pt x="1029" y="40"/>
                    <a:pt x="1028" y="39"/>
                    <a:pt x="1030" y="40"/>
                  </a:cubicBezTo>
                  <a:cubicBezTo>
                    <a:pt x="1031" y="40"/>
                    <a:pt x="1032" y="39"/>
                    <a:pt x="1033" y="40"/>
                  </a:cubicBezTo>
                  <a:cubicBezTo>
                    <a:pt x="1033" y="41"/>
                    <a:pt x="1031" y="42"/>
                    <a:pt x="1030" y="42"/>
                  </a:cubicBezTo>
                  <a:cubicBezTo>
                    <a:pt x="1029" y="43"/>
                    <a:pt x="1030" y="45"/>
                    <a:pt x="1029" y="47"/>
                  </a:cubicBezTo>
                  <a:cubicBezTo>
                    <a:pt x="1029" y="48"/>
                    <a:pt x="1027" y="50"/>
                    <a:pt x="1027" y="52"/>
                  </a:cubicBezTo>
                  <a:cubicBezTo>
                    <a:pt x="1027" y="54"/>
                    <a:pt x="1030" y="54"/>
                    <a:pt x="1031" y="56"/>
                  </a:cubicBezTo>
                  <a:cubicBezTo>
                    <a:pt x="1033" y="57"/>
                    <a:pt x="1033" y="59"/>
                    <a:pt x="1036" y="59"/>
                  </a:cubicBezTo>
                  <a:cubicBezTo>
                    <a:pt x="1039" y="60"/>
                    <a:pt x="1042" y="57"/>
                    <a:pt x="1044" y="57"/>
                  </a:cubicBezTo>
                  <a:cubicBezTo>
                    <a:pt x="1041" y="58"/>
                    <a:pt x="1038" y="60"/>
                    <a:pt x="1036" y="63"/>
                  </a:cubicBezTo>
                  <a:cubicBezTo>
                    <a:pt x="1034" y="64"/>
                    <a:pt x="1034" y="66"/>
                    <a:pt x="1033" y="68"/>
                  </a:cubicBezTo>
                  <a:cubicBezTo>
                    <a:pt x="1031" y="70"/>
                    <a:pt x="1029" y="71"/>
                    <a:pt x="1028" y="73"/>
                  </a:cubicBezTo>
                  <a:cubicBezTo>
                    <a:pt x="1028" y="75"/>
                    <a:pt x="1028" y="77"/>
                    <a:pt x="1029" y="79"/>
                  </a:cubicBezTo>
                  <a:cubicBezTo>
                    <a:pt x="1030" y="81"/>
                    <a:pt x="1030" y="83"/>
                    <a:pt x="1032" y="84"/>
                  </a:cubicBezTo>
                  <a:cubicBezTo>
                    <a:pt x="1033" y="85"/>
                    <a:pt x="1033" y="86"/>
                    <a:pt x="1034" y="87"/>
                  </a:cubicBezTo>
                  <a:cubicBezTo>
                    <a:pt x="1035" y="87"/>
                    <a:pt x="1037" y="87"/>
                    <a:pt x="1037" y="88"/>
                  </a:cubicBezTo>
                  <a:cubicBezTo>
                    <a:pt x="1039" y="88"/>
                    <a:pt x="1038" y="88"/>
                    <a:pt x="1039" y="89"/>
                  </a:cubicBezTo>
                  <a:cubicBezTo>
                    <a:pt x="1039" y="90"/>
                    <a:pt x="1038" y="90"/>
                    <a:pt x="1038" y="91"/>
                  </a:cubicBezTo>
                  <a:cubicBezTo>
                    <a:pt x="1038" y="92"/>
                    <a:pt x="1037" y="92"/>
                    <a:pt x="1037" y="92"/>
                  </a:cubicBezTo>
                  <a:cubicBezTo>
                    <a:pt x="1038" y="92"/>
                    <a:pt x="1038" y="92"/>
                    <a:pt x="1039" y="92"/>
                  </a:cubicBezTo>
                  <a:cubicBezTo>
                    <a:pt x="1039" y="93"/>
                    <a:pt x="1040" y="94"/>
                    <a:pt x="1041" y="94"/>
                  </a:cubicBezTo>
                  <a:cubicBezTo>
                    <a:pt x="1041" y="94"/>
                    <a:pt x="1041" y="94"/>
                    <a:pt x="1042" y="94"/>
                  </a:cubicBezTo>
                  <a:cubicBezTo>
                    <a:pt x="1041" y="96"/>
                    <a:pt x="1041" y="98"/>
                    <a:pt x="1041" y="99"/>
                  </a:cubicBezTo>
                  <a:cubicBezTo>
                    <a:pt x="1042" y="99"/>
                    <a:pt x="1042" y="99"/>
                    <a:pt x="1043" y="98"/>
                  </a:cubicBezTo>
                  <a:cubicBezTo>
                    <a:pt x="1043" y="97"/>
                    <a:pt x="1044" y="96"/>
                    <a:pt x="1044" y="95"/>
                  </a:cubicBezTo>
                  <a:cubicBezTo>
                    <a:pt x="1045" y="95"/>
                    <a:pt x="1046" y="95"/>
                    <a:pt x="1046" y="95"/>
                  </a:cubicBezTo>
                  <a:cubicBezTo>
                    <a:pt x="1046" y="95"/>
                    <a:pt x="1047" y="95"/>
                    <a:pt x="1048" y="95"/>
                  </a:cubicBezTo>
                  <a:cubicBezTo>
                    <a:pt x="1049" y="96"/>
                    <a:pt x="1049" y="97"/>
                    <a:pt x="1049" y="98"/>
                  </a:cubicBezTo>
                  <a:cubicBezTo>
                    <a:pt x="1049" y="99"/>
                    <a:pt x="1048" y="99"/>
                    <a:pt x="1048" y="100"/>
                  </a:cubicBezTo>
                  <a:cubicBezTo>
                    <a:pt x="1047" y="100"/>
                    <a:pt x="1047" y="101"/>
                    <a:pt x="1048" y="101"/>
                  </a:cubicBezTo>
                  <a:cubicBezTo>
                    <a:pt x="1048" y="101"/>
                    <a:pt x="1048" y="101"/>
                    <a:pt x="1048" y="101"/>
                  </a:cubicBezTo>
                  <a:cubicBezTo>
                    <a:pt x="1048" y="101"/>
                    <a:pt x="1048" y="101"/>
                    <a:pt x="1048" y="101"/>
                  </a:cubicBezTo>
                  <a:cubicBezTo>
                    <a:pt x="1048" y="102"/>
                    <a:pt x="1049" y="102"/>
                    <a:pt x="1050" y="102"/>
                  </a:cubicBezTo>
                  <a:cubicBezTo>
                    <a:pt x="1052" y="102"/>
                    <a:pt x="1054" y="100"/>
                    <a:pt x="1055" y="99"/>
                  </a:cubicBezTo>
                  <a:cubicBezTo>
                    <a:pt x="1056" y="99"/>
                    <a:pt x="1056" y="100"/>
                    <a:pt x="1057" y="100"/>
                  </a:cubicBezTo>
                  <a:cubicBezTo>
                    <a:pt x="1060" y="101"/>
                    <a:pt x="1061" y="102"/>
                    <a:pt x="1064" y="102"/>
                  </a:cubicBezTo>
                  <a:cubicBezTo>
                    <a:pt x="1067" y="102"/>
                    <a:pt x="1070" y="100"/>
                    <a:pt x="1073" y="99"/>
                  </a:cubicBezTo>
                  <a:cubicBezTo>
                    <a:pt x="1073" y="100"/>
                    <a:pt x="1077" y="107"/>
                    <a:pt x="1079" y="108"/>
                  </a:cubicBezTo>
                  <a:cubicBezTo>
                    <a:pt x="1083" y="110"/>
                    <a:pt x="1091" y="107"/>
                    <a:pt x="1095" y="106"/>
                  </a:cubicBezTo>
                  <a:cubicBezTo>
                    <a:pt x="1097" y="106"/>
                    <a:pt x="1097" y="105"/>
                    <a:pt x="1098" y="104"/>
                  </a:cubicBezTo>
                  <a:cubicBezTo>
                    <a:pt x="1098" y="105"/>
                    <a:pt x="1098" y="106"/>
                    <a:pt x="1098" y="106"/>
                  </a:cubicBezTo>
                  <a:cubicBezTo>
                    <a:pt x="1101" y="108"/>
                    <a:pt x="1099" y="109"/>
                    <a:pt x="1098" y="112"/>
                  </a:cubicBezTo>
                  <a:cubicBezTo>
                    <a:pt x="1100" y="112"/>
                    <a:pt x="1102" y="112"/>
                    <a:pt x="1105" y="112"/>
                  </a:cubicBezTo>
                  <a:cubicBezTo>
                    <a:pt x="1103" y="112"/>
                    <a:pt x="1102" y="113"/>
                    <a:pt x="1100" y="114"/>
                  </a:cubicBezTo>
                  <a:cubicBezTo>
                    <a:pt x="1097" y="116"/>
                    <a:pt x="1094" y="118"/>
                    <a:pt x="1091" y="120"/>
                  </a:cubicBezTo>
                  <a:cubicBezTo>
                    <a:pt x="1093" y="117"/>
                    <a:pt x="1083" y="113"/>
                    <a:pt x="1081" y="115"/>
                  </a:cubicBezTo>
                  <a:cubicBezTo>
                    <a:pt x="1081" y="114"/>
                    <a:pt x="1081" y="118"/>
                    <a:pt x="1081" y="118"/>
                  </a:cubicBezTo>
                  <a:cubicBezTo>
                    <a:pt x="1081" y="119"/>
                    <a:pt x="1079" y="121"/>
                    <a:pt x="1081" y="122"/>
                  </a:cubicBezTo>
                  <a:cubicBezTo>
                    <a:pt x="1079" y="125"/>
                    <a:pt x="1075" y="127"/>
                    <a:pt x="1074" y="129"/>
                  </a:cubicBezTo>
                  <a:cubicBezTo>
                    <a:pt x="1074" y="131"/>
                    <a:pt x="1073" y="135"/>
                    <a:pt x="1073" y="137"/>
                  </a:cubicBezTo>
                  <a:cubicBezTo>
                    <a:pt x="1075" y="136"/>
                    <a:pt x="1075" y="138"/>
                    <a:pt x="1076" y="138"/>
                  </a:cubicBezTo>
                  <a:cubicBezTo>
                    <a:pt x="1078" y="139"/>
                    <a:pt x="1079" y="138"/>
                    <a:pt x="1080" y="138"/>
                  </a:cubicBezTo>
                  <a:cubicBezTo>
                    <a:pt x="1085" y="137"/>
                    <a:pt x="1088" y="135"/>
                    <a:pt x="1092" y="132"/>
                  </a:cubicBezTo>
                  <a:cubicBezTo>
                    <a:pt x="1090" y="133"/>
                    <a:pt x="1085" y="134"/>
                    <a:pt x="1087" y="131"/>
                  </a:cubicBezTo>
                  <a:cubicBezTo>
                    <a:pt x="1087" y="130"/>
                    <a:pt x="1088" y="129"/>
                    <a:pt x="1089" y="129"/>
                  </a:cubicBezTo>
                  <a:cubicBezTo>
                    <a:pt x="1089" y="128"/>
                    <a:pt x="1089" y="127"/>
                    <a:pt x="1090" y="126"/>
                  </a:cubicBezTo>
                  <a:cubicBezTo>
                    <a:pt x="1090" y="127"/>
                    <a:pt x="1090" y="127"/>
                    <a:pt x="1090" y="127"/>
                  </a:cubicBezTo>
                  <a:cubicBezTo>
                    <a:pt x="1090" y="130"/>
                    <a:pt x="1092" y="127"/>
                    <a:pt x="1094" y="128"/>
                  </a:cubicBezTo>
                  <a:cubicBezTo>
                    <a:pt x="1096" y="130"/>
                    <a:pt x="1094" y="140"/>
                    <a:pt x="1094" y="143"/>
                  </a:cubicBezTo>
                  <a:cubicBezTo>
                    <a:pt x="1096" y="142"/>
                    <a:pt x="1100" y="142"/>
                    <a:pt x="1102" y="142"/>
                  </a:cubicBezTo>
                  <a:cubicBezTo>
                    <a:pt x="1098" y="144"/>
                    <a:pt x="1095" y="146"/>
                    <a:pt x="1092" y="148"/>
                  </a:cubicBezTo>
                  <a:cubicBezTo>
                    <a:pt x="1088" y="150"/>
                    <a:pt x="1086" y="154"/>
                    <a:pt x="1083" y="156"/>
                  </a:cubicBezTo>
                  <a:cubicBezTo>
                    <a:pt x="1082" y="157"/>
                    <a:pt x="1080" y="158"/>
                    <a:pt x="1078" y="159"/>
                  </a:cubicBezTo>
                  <a:cubicBezTo>
                    <a:pt x="1074" y="162"/>
                    <a:pt x="1072" y="166"/>
                    <a:pt x="1067" y="166"/>
                  </a:cubicBezTo>
                  <a:cubicBezTo>
                    <a:pt x="1066" y="166"/>
                    <a:pt x="1064" y="165"/>
                    <a:pt x="1063" y="165"/>
                  </a:cubicBezTo>
                  <a:cubicBezTo>
                    <a:pt x="1061" y="165"/>
                    <a:pt x="1061" y="165"/>
                    <a:pt x="1059" y="166"/>
                  </a:cubicBezTo>
                  <a:cubicBezTo>
                    <a:pt x="1060" y="164"/>
                    <a:pt x="1059" y="165"/>
                    <a:pt x="1057" y="164"/>
                  </a:cubicBezTo>
                  <a:cubicBezTo>
                    <a:pt x="1054" y="164"/>
                    <a:pt x="1053" y="167"/>
                    <a:pt x="1052" y="169"/>
                  </a:cubicBezTo>
                  <a:cubicBezTo>
                    <a:pt x="1051" y="171"/>
                    <a:pt x="1048" y="175"/>
                    <a:pt x="1048" y="177"/>
                  </a:cubicBezTo>
                  <a:cubicBezTo>
                    <a:pt x="1048" y="180"/>
                    <a:pt x="1049" y="179"/>
                    <a:pt x="1050" y="180"/>
                  </a:cubicBezTo>
                  <a:cubicBezTo>
                    <a:pt x="1052" y="181"/>
                    <a:pt x="1054" y="182"/>
                    <a:pt x="1055" y="184"/>
                  </a:cubicBezTo>
                  <a:cubicBezTo>
                    <a:pt x="1056" y="186"/>
                    <a:pt x="1055" y="188"/>
                    <a:pt x="1056" y="191"/>
                  </a:cubicBezTo>
                  <a:cubicBezTo>
                    <a:pt x="1056" y="192"/>
                    <a:pt x="1058" y="195"/>
                    <a:pt x="1058" y="196"/>
                  </a:cubicBezTo>
                  <a:cubicBezTo>
                    <a:pt x="1058" y="200"/>
                    <a:pt x="1057" y="201"/>
                    <a:pt x="1057" y="205"/>
                  </a:cubicBezTo>
                  <a:cubicBezTo>
                    <a:pt x="1058" y="206"/>
                    <a:pt x="1059" y="210"/>
                    <a:pt x="1058" y="211"/>
                  </a:cubicBezTo>
                  <a:cubicBezTo>
                    <a:pt x="1056" y="212"/>
                    <a:pt x="1056" y="210"/>
                    <a:pt x="1055" y="210"/>
                  </a:cubicBezTo>
                  <a:cubicBezTo>
                    <a:pt x="1053" y="210"/>
                    <a:pt x="1051" y="211"/>
                    <a:pt x="1048" y="210"/>
                  </a:cubicBezTo>
                  <a:cubicBezTo>
                    <a:pt x="1046" y="210"/>
                    <a:pt x="1043" y="209"/>
                    <a:pt x="1039" y="210"/>
                  </a:cubicBezTo>
                  <a:cubicBezTo>
                    <a:pt x="1042" y="213"/>
                    <a:pt x="1049" y="219"/>
                    <a:pt x="1046" y="223"/>
                  </a:cubicBezTo>
                  <a:cubicBezTo>
                    <a:pt x="1045" y="221"/>
                    <a:pt x="1046" y="218"/>
                    <a:pt x="1045" y="216"/>
                  </a:cubicBezTo>
                  <a:cubicBezTo>
                    <a:pt x="1043" y="215"/>
                    <a:pt x="1041" y="215"/>
                    <a:pt x="1039" y="214"/>
                  </a:cubicBezTo>
                  <a:cubicBezTo>
                    <a:pt x="1039" y="213"/>
                    <a:pt x="1038" y="212"/>
                    <a:pt x="1037" y="211"/>
                  </a:cubicBezTo>
                  <a:cubicBezTo>
                    <a:pt x="1036" y="210"/>
                    <a:pt x="1035" y="209"/>
                    <a:pt x="1034" y="208"/>
                  </a:cubicBezTo>
                  <a:cubicBezTo>
                    <a:pt x="1032" y="206"/>
                    <a:pt x="1029" y="204"/>
                    <a:pt x="1033" y="204"/>
                  </a:cubicBezTo>
                  <a:cubicBezTo>
                    <a:pt x="1036" y="203"/>
                    <a:pt x="1034" y="206"/>
                    <a:pt x="1035" y="207"/>
                  </a:cubicBezTo>
                  <a:cubicBezTo>
                    <a:pt x="1035" y="207"/>
                    <a:pt x="1039" y="208"/>
                    <a:pt x="1038" y="209"/>
                  </a:cubicBezTo>
                  <a:cubicBezTo>
                    <a:pt x="1040" y="208"/>
                    <a:pt x="1041" y="205"/>
                    <a:pt x="1042" y="204"/>
                  </a:cubicBezTo>
                  <a:cubicBezTo>
                    <a:pt x="1040" y="207"/>
                    <a:pt x="1044" y="209"/>
                    <a:pt x="1047" y="209"/>
                  </a:cubicBezTo>
                  <a:cubicBezTo>
                    <a:pt x="1047" y="208"/>
                    <a:pt x="1048" y="208"/>
                    <a:pt x="1049" y="208"/>
                  </a:cubicBezTo>
                  <a:cubicBezTo>
                    <a:pt x="1050" y="208"/>
                    <a:pt x="1049" y="209"/>
                    <a:pt x="1050" y="209"/>
                  </a:cubicBezTo>
                  <a:cubicBezTo>
                    <a:pt x="1052" y="209"/>
                    <a:pt x="1056" y="209"/>
                    <a:pt x="1057" y="207"/>
                  </a:cubicBezTo>
                  <a:cubicBezTo>
                    <a:pt x="1057" y="206"/>
                    <a:pt x="1056" y="206"/>
                    <a:pt x="1056" y="205"/>
                  </a:cubicBezTo>
                  <a:cubicBezTo>
                    <a:pt x="1055" y="204"/>
                    <a:pt x="1055" y="203"/>
                    <a:pt x="1055" y="202"/>
                  </a:cubicBezTo>
                  <a:cubicBezTo>
                    <a:pt x="1055" y="203"/>
                    <a:pt x="1053" y="200"/>
                    <a:pt x="1053" y="200"/>
                  </a:cubicBezTo>
                  <a:cubicBezTo>
                    <a:pt x="1053" y="200"/>
                    <a:pt x="1053" y="199"/>
                    <a:pt x="1053" y="199"/>
                  </a:cubicBezTo>
                  <a:cubicBezTo>
                    <a:pt x="1051" y="198"/>
                    <a:pt x="1047" y="200"/>
                    <a:pt x="1045" y="200"/>
                  </a:cubicBezTo>
                  <a:cubicBezTo>
                    <a:pt x="1046" y="199"/>
                    <a:pt x="1048" y="197"/>
                    <a:pt x="1050" y="196"/>
                  </a:cubicBezTo>
                  <a:cubicBezTo>
                    <a:pt x="1051" y="195"/>
                    <a:pt x="1053" y="191"/>
                    <a:pt x="1050" y="193"/>
                  </a:cubicBezTo>
                  <a:cubicBezTo>
                    <a:pt x="1048" y="195"/>
                    <a:pt x="1049" y="192"/>
                    <a:pt x="1048" y="192"/>
                  </a:cubicBezTo>
                  <a:cubicBezTo>
                    <a:pt x="1045" y="193"/>
                    <a:pt x="1041" y="197"/>
                    <a:pt x="1038" y="198"/>
                  </a:cubicBezTo>
                  <a:cubicBezTo>
                    <a:pt x="1038" y="196"/>
                    <a:pt x="1035" y="198"/>
                    <a:pt x="1036" y="195"/>
                  </a:cubicBezTo>
                  <a:cubicBezTo>
                    <a:pt x="1037" y="193"/>
                    <a:pt x="1039" y="192"/>
                    <a:pt x="1039" y="190"/>
                  </a:cubicBezTo>
                  <a:cubicBezTo>
                    <a:pt x="1037" y="191"/>
                    <a:pt x="1034" y="190"/>
                    <a:pt x="1033" y="189"/>
                  </a:cubicBezTo>
                  <a:cubicBezTo>
                    <a:pt x="1030" y="187"/>
                    <a:pt x="1032" y="187"/>
                    <a:pt x="1031" y="185"/>
                  </a:cubicBezTo>
                  <a:cubicBezTo>
                    <a:pt x="1034" y="184"/>
                    <a:pt x="1033" y="182"/>
                    <a:pt x="1034" y="180"/>
                  </a:cubicBezTo>
                  <a:cubicBezTo>
                    <a:pt x="1035" y="181"/>
                    <a:pt x="1036" y="183"/>
                    <a:pt x="1037" y="181"/>
                  </a:cubicBezTo>
                  <a:cubicBezTo>
                    <a:pt x="1038" y="180"/>
                    <a:pt x="1036" y="180"/>
                    <a:pt x="1036" y="180"/>
                  </a:cubicBezTo>
                  <a:cubicBezTo>
                    <a:pt x="1036" y="179"/>
                    <a:pt x="1037" y="179"/>
                    <a:pt x="1037" y="178"/>
                  </a:cubicBezTo>
                  <a:cubicBezTo>
                    <a:pt x="1036" y="175"/>
                    <a:pt x="1036" y="174"/>
                    <a:pt x="1038" y="172"/>
                  </a:cubicBezTo>
                  <a:cubicBezTo>
                    <a:pt x="1038" y="169"/>
                    <a:pt x="1039" y="167"/>
                    <a:pt x="1040" y="165"/>
                  </a:cubicBezTo>
                  <a:cubicBezTo>
                    <a:pt x="1040" y="165"/>
                    <a:pt x="1041" y="164"/>
                    <a:pt x="1041" y="164"/>
                  </a:cubicBezTo>
                  <a:cubicBezTo>
                    <a:pt x="1041" y="163"/>
                    <a:pt x="1040" y="162"/>
                    <a:pt x="1040" y="162"/>
                  </a:cubicBezTo>
                  <a:cubicBezTo>
                    <a:pt x="1040" y="163"/>
                    <a:pt x="1040" y="160"/>
                    <a:pt x="1040" y="161"/>
                  </a:cubicBezTo>
                  <a:cubicBezTo>
                    <a:pt x="1040" y="160"/>
                    <a:pt x="1041" y="159"/>
                    <a:pt x="1041" y="159"/>
                  </a:cubicBezTo>
                  <a:cubicBezTo>
                    <a:pt x="1039" y="159"/>
                    <a:pt x="1037" y="160"/>
                    <a:pt x="1036" y="161"/>
                  </a:cubicBezTo>
                  <a:cubicBezTo>
                    <a:pt x="1033" y="162"/>
                    <a:pt x="1033" y="164"/>
                    <a:pt x="1030" y="165"/>
                  </a:cubicBezTo>
                  <a:cubicBezTo>
                    <a:pt x="1029" y="166"/>
                    <a:pt x="1025" y="168"/>
                    <a:pt x="1023" y="167"/>
                  </a:cubicBezTo>
                  <a:cubicBezTo>
                    <a:pt x="1021" y="165"/>
                    <a:pt x="1025" y="164"/>
                    <a:pt x="1026" y="163"/>
                  </a:cubicBezTo>
                  <a:cubicBezTo>
                    <a:pt x="1027" y="162"/>
                    <a:pt x="1028" y="161"/>
                    <a:pt x="1029" y="160"/>
                  </a:cubicBezTo>
                  <a:cubicBezTo>
                    <a:pt x="1027" y="161"/>
                    <a:pt x="1024" y="159"/>
                    <a:pt x="1027" y="157"/>
                  </a:cubicBezTo>
                  <a:cubicBezTo>
                    <a:pt x="1025" y="156"/>
                    <a:pt x="1024" y="157"/>
                    <a:pt x="1022" y="157"/>
                  </a:cubicBezTo>
                  <a:cubicBezTo>
                    <a:pt x="1019" y="158"/>
                    <a:pt x="1018" y="157"/>
                    <a:pt x="1016" y="157"/>
                  </a:cubicBezTo>
                  <a:cubicBezTo>
                    <a:pt x="1018" y="156"/>
                    <a:pt x="1019" y="155"/>
                    <a:pt x="1018" y="153"/>
                  </a:cubicBezTo>
                  <a:cubicBezTo>
                    <a:pt x="1017" y="153"/>
                    <a:pt x="1014" y="153"/>
                    <a:pt x="1015" y="152"/>
                  </a:cubicBezTo>
                  <a:cubicBezTo>
                    <a:pt x="1016" y="152"/>
                    <a:pt x="1014" y="151"/>
                    <a:pt x="1013" y="151"/>
                  </a:cubicBezTo>
                  <a:cubicBezTo>
                    <a:pt x="1010" y="149"/>
                    <a:pt x="1008" y="151"/>
                    <a:pt x="1005" y="150"/>
                  </a:cubicBezTo>
                  <a:cubicBezTo>
                    <a:pt x="1004" y="150"/>
                    <a:pt x="1004" y="149"/>
                    <a:pt x="1003" y="149"/>
                  </a:cubicBezTo>
                  <a:cubicBezTo>
                    <a:pt x="1002" y="148"/>
                    <a:pt x="1001" y="147"/>
                    <a:pt x="998" y="147"/>
                  </a:cubicBezTo>
                  <a:cubicBezTo>
                    <a:pt x="988" y="144"/>
                    <a:pt x="1003" y="152"/>
                    <a:pt x="997" y="154"/>
                  </a:cubicBezTo>
                  <a:cubicBezTo>
                    <a:pt x="995" y="154"/>
                    <a:pt x="992" y="155"/>
                    <a:pt x="989" y="155"/>
                  </a:cubicBezTo>
                  <a:cubicBezTo>
                    <a:pt x="986" y="154"/>
                    <a:pt x="982" y="152"/>
                    <a:pt x="978" y="153"/>
                  </a:cubicBezTo>
                  <a:cubicBezTo>
                    <a:pt x="979" y="154"/>
                    <a:pt x="980" y="155"/>
                    <a:pt x="980" y="155"/>
                  </a:cubicBezTo>
                  <a:cubicBezTo>
                    <a:pt x="981" y="156"/>
                    <a:pt x="982" y="156"/>
                    <a:pt x="982" y="157"/>
                  </a:cubicBezTo>
                  <a:cubicBezTo>
                    <a:pt x="982" y="157"/>
                    <a:pt x="982" y="158"/>
                    <a:pt x="983" y="158"/>
                  </a:cubicBezTo>
                  <a:cubicBezTo>
                    <a:pt x="984" y="160"/>
                    <a:pt x="986" y="159"/>
                    <a:pt x="986" y="162"/>
                  </a:cubicBezTo>
                  <a:cubicBezTo>
                    <a:pt x="986" y="166"/>
                    <a:pt x="984" y="163"/>
                    <a:pt x="981" y="162"/>
                  </a:cubicBezTo>
                  <a:cubicBezTo>
                    <a:pt x="983" y="163"/>
                    <a:pt x="984" y="165"/>
                    <a:pt x="985" y="166"/>
                  </a:cubicBezTo>
                  <a:cubicBezTo>
                    <a:pt x="986" y="167"/>
                    <a:pt x="988" y="168"/>
                    <a:pt x="989" y="170"/>
                  </a:cubicBezTo>
                  <a:cubicBezTo>
                    <a:pt x="991" y="172"/>
                    <a:pt x="992" y="174"/>
                    <a:pt x="995" y="170"/>
                  </a:cubicBezTo>
                  <a:cubicBezTo>
                    <a:pt x="995" y="170"/>
                    <a:pt x="1001" y="167"/>
                    <a:pt x="1002" y="167"/>
                  </a:cubicBezTo>
                  <a:cubicBezTo>
                    <a:pt x="1003" y="167"/>
                    <a:pt x="1006" y="169"/>
                    <a:pt x="1007" y="170"/>
                  </a:cubicBezTo>
                  <a:cubicBezTo>
                    <a:pt x="1007" y="170"/>
                    <a:pt x="1008" y="172"/>
                    <a:pt x="1008" y="172"/>
                  </a:cubicBezTo>
                  <a:cubicBezTo>
                    <a:pt x="1010" y="172"/>
                    <a:pt x="1011" y="170"/>
                    <a:pt x="1013" y="171"/>
                  </a:cubicBezTo>
                  <a:cubicBezTo>
                    <a:pt x="1013" y="171"/>
                    <a:pt x="1015" y="175"/>
                    <a:pt x="1015" y="175"/>
                  </a:cubicBezTo>
                  <a:cubicBezTo>
                    <a:pt x="1015" y="177"/>
                    <a:pt x="1014" y="177"/>
                    <a:pt x="1014" y="178"/>
                  </a:cubicBezTo>
                  <a:cubicBezTo>
                    <a:pt x="1014" y="180"/>
                    <a:pt x="1016" y="180"/>
                    <a:pt x="1014" y="182"/>
                  </a:cubicBezTo>
                  <a:cubicBezTo>
                    <a:pt x="1012" y="183"/>
                    <a:pt x="1008" y="184"/>
                    <a:pt x="1006" y="183"/>
                  </a:cubicBezTo>
                  <a:cubicBezTo>
                    <a:pt x="1004" y="183"/>
                    <a:pt x="1004" y="183"/>
                    <a:pt x="1003" y="182"/>
                  </a:cubicBezTo>
                  <a:cubicBezTo>
                    <a:pt x="1001" y="181"/>
                    <a:pt x="999" y="181"/>
                    <a:pt x="998" y="180"/>
                  </a:cubicBezTo>
                  <a:cubicBezTo>
                    <a:pt x="995" y="178"/>
                    <a:pt x="993" y="177"/>
                    <a:pt x="991" y="173"/>
                  </a:cubicBezTo>
                  <a:cubicBezTo>
                    <a:pt x="989" y="171"/>
                    <a:pt x="986" y="167"/>
                    <a:pt x="983" y="166"/>
                  </a:cubicBezTo>
                  <a:cubicBezTo>
                    <a:pt x="980" y="165"/>
                    <a:pt x="977" y="164"/>
                    <a:pt x="978" y="167"/>
                  </a:cubicBezTo>
                  <a:cubicBezTo>
                    <a:pt x="978" y="169"/>
                    <a:pt x="979" y="170"/>
                    <a:pt x="981" y="171"/>
                  </a:cubicBezTo>
                  <a:cubicBezTo>
                    <a:pt x="979" y="173"/>
                    <a:pt x="977" y="175"/>
                    <a:pt x="975" y="177"/>
                  </a:cubicBezTo>
                  <a:cubicBezTo>
                    <a:pt x="973" y="179"/>
                    <a:pt x="973" y="179"/>
                    <a:pt x="970" y="179"/>
                  </a:cubicBezTo>
                  <a:cubicBezTo>
                    <a:pt x="967" y="179"/>
                    <a:pt x="965" y="178"/>
                    <a:pt x="963" y="177"/>
                  </a:cubicBezTo>
                  <a:cubicBezTo>
                    <a:pt x="959" y="175"/>
                    <a:pt x="955" y="175"/>
                    <a:pt x="950" y="175"/>
                  </a:cubicBezTo>
                  <a:cubicBezTo>
                    <a:pt x="948" y="175"/>
                    <a:pt x="946" y="174"/>
                    <a:pt x="944" y="174"/>
                  </a:cubicBezTo>
                  <a:cubicBezTo>
                    <a:pt x="939" y="173"/>
                    <a:pt x="932" y="176"/>
                    <a:pt x="926" y="177"/>
                  </a:cubicBezTo>
                  <a:cubicBezTo>
                    <a:pt x="922" y="178"/>
                    <a:pt x="916" y="181"/>
                    <a:pt x="911" y="180"/>
                  </a:cubicBezTo>
                  <a:cubicBezTo>
                    <a:pt x="909" y="179"/>
                    <a:pt x="903" y="178"/>
                    <a:pt x="902" y="180"/>
                  </a:cubicBezTo>
                  <a:cubicBezTo>
                    <a:pt x="902" y="180"/>
                    <a:pt x="902" y="180"/>
                    <a:pt x="902" y="179"/>
                  </a:cubicBezTo>
                  <a:cubicBezTo>
                    <a:pt x="897" y="180"/>
                    <a:pt x="896" y="179"/>
                    <a:pt x="892" y="176"/>
                  </a:cubicBezTo>
                  <a:cubicBezTo>
                    <a:pt x="889" y="175"/>
                    <a:pt x="885" y="176"/>
                    <a:pt x="882" y="174"/>
                  </a:cubicBezTo>
                  <a:cubicBezTo>
                    <a:pt x="882" y="173"/>
                    <a:pt x="881" y="172"/>
                    <a:pt x="880" y="171"/>
                  </a:cubicBezTo>
                  <a:cubicBezTo>
                    <a:pt x="879" y="171"/>
                    <a:pt x="877" y="170"/>
                    <a:pt x="876" y="170"/>
                  </a:cubicBezTo>
                  <a:cubicBezTo>
                    <a:pt x="875" y="169"/>
                    <a:pt x="871" y="168"/>
                    <a:pt x="870" y="166"/>
                  </a:cubicBezTo>
                  <a:cubicBezTo>
                    <a:pt x="865" y="165"/>
                    <a:pt x="859" y="167"/>
                    <a:pt x="853" y="167"/>
                  </a:cubicBezTo>
                  <a:cubicBezTo>
                    <a:pt x="851" y="167"/>
                    <a:pt x="849" y="166"/>
                    <a:pt x="847" y="166"/>
                  </a:cubicBezTo>
                  <a:cubicBezTo>
                    <a:pt x="846" y="166"/>
                    <a:pt x="845" y="166"/>
                    <a:pt x="844" y="166"/>
                  </a:cubicBezTo>
                  <a:cubicBezTo>
                    <a:pt x="843" y="166"/>
                    <a:pt x="844" y="165"/>
                    <a:pt x="844" y="165"/>
                  </a:cubicBezTo>
                  <a:cubicBezTo>
                    <a:pt x="842" y="164"/>
                    <a:pt x="843" y="164"/>
                    <a:pt x="842" y="163"/>
                  </a:cubicBezTo>
                  <a:cubicBezTo>
                    <a:pt x="842" y="162"/>
                    <a:pt x="840" y="162"/>
                    <a:pt x="840" y="162"/>
                  </a:cubicBezTo>
                  <a:cubicBezTo>
                    <a:pt x="840" y="161"/>
                    <a:pt x="841" y="161"/>
                    <a:pt x="841" y="160"/>
                  </a:cubicBezTo>
                  <a:cubicBezTo>
                    <a:pt x="841" y="158"/>
                    <a:pt x="843" y="158"/>
                    <a:pt x="838" y="158"/>
                  </a:cubicBezTo>
                  <a:cubicBezTo>
                    <a:pt x="837" y="158"/>
                    <a:pt x="833" y="159"/>
                    <a:pt x="834" y="157"/>
                  </a:cubicBezTo>
                  <a:cubicBezTo>
                    <a:pt x="831" y="157"/>
                    <a:pt x="829" y="156"/>
                    <a:pt x="827" y="155"/>
                  </a:cubicBezTo>
                  <a:cubicBezTo>
                    <a:pt x="826" y="154"/>
                    <a:pt x="825" y="153"/>
                    <a:pt x="825" y="153"/>
                  </a:cubicBezTo>
                  <a:cubicBezTo>
                    <a:pt x="824" y="152"/>
                    <a:pt x="825" y="152"/>
                    <a:pt x="825" y="151"/>
                  </a:cubicBezTo>
                  <a:cubicBezTo>
                    <a:pt x="824" y="151"/>
                    <a:pt x="822" y="152"/>
                    <a:pt x="821" y="151"/>
                  </a:cubicBezTo>
                  <a:cubicBezTo>
                    <a:pt x="817" y="149"/>
                    <a:pt x="825" y="150"/>
                    <a:pt x="825" y="148"/>
                  </a:cubicBezTo>
                  <a:cubicBezTo>
                    <a:pt x="825" y="148"/>
                    <a:pt x="822" y="145"/>
                    <a:pt x="822" y="144"/>
                  </a:cubicBezTo>
                  <a:cubicBezTo>
                    <a:pt x="821" y="143"/>
                    <a:pt x="820" y="142"/>
                    <a:pt x="820" y="142"/>
                  </a:cubicBezTo>
                  <a:cubicBezTo>
                    <a:pt x="820" y="140"/>
                    <a:pt x="822" y="140"/>
                    <a:pt x="821" y="139"/>
                  </a:cubicBezTo>
                  <a:cubicBezTo>
                    <a:pt x="821" y="138"/>
                    <a:pt x="819" y="136"/>
                    <a:pt x="817" y="135"/>
                  </a:cubicBezTo>
                  <a:cubicBezTo>
                    <a:pt x="814" y="133"/>
                    <a:pt x="809" y="130"/>
                    <a:pt x="805" y="130"/>
                  </a:cubicBezTo>
                  <a:cubicBezTo>
                    <a:pt x="803" y="130"/>
                    <a:pt x="800" y="132"/>
                    <a:pt x="798" y="133"/>
                  </a:cubicBezTo>
                  <a:cubicBezTo>
                    <a:pt x="793" y="135"/>
                    <a:pt x="788" y="136"/>
                    <a:pt x="783" y="137"/>
                  </a:cubicBezTo>
                  <a:cubicBezTo>
                    <a:pt x="775" y="139"/>
                    <a:pt x="767" y="140"/>
                    <a:pt x="759" y="142"/>
                  </a:cubicBezTo>
                  <a:cubicBezTo>
                    <a:pt x="756" y="143"/>
                    <a:pt x="755" y="143"/>
                    <a:pt x="753" y="146"/>
                  </a:cubicBezTo>
                  <a:cubicBezTo>
                    <a:pt x="752" y="147"/>
                    <a:pt x="751" y="149"/>
                    <a:pt x="750" y="151"/>
                  </a:cubicBezTo>
                  <a:cubicBezTo>
                    <a:pt x="748" y="152"/>
                    <a:pt x="747" y="153"/>
                    <a:pt x="745" y="155"/>
                  </a:cubicBezTo>
                  <a:cubicBezTo>
                    <a:pt x="740" y="161"/>
                    <a:pt x="757" y="151"/>
                    <a:pt x="753" y="158"/>
                  </a:cubicBezTo>
                  <a:cubicBezTo>
                    <a:pt x="759" y="158"/>
                    <a:pt x="766" y="161"/>
                    <a:pt x="772" y="161"/>
                  </a:cubicBezTo>
                  <a:cubicBezTo>
                    <a:pt x="770" y="159"/>
                    <a:pt x="767" y="159"/>
                    <a:pt x="767" y="155"/>
                  </a:cubicBezTo>
                  <a:cubicBezTo>
                    <a:pt x="767" y="153"/>
                    <a:pt x="772" y="153"/>
                    <a:pt x="774" y="154"/>
                  </a:cubicBezTo>
                  <a:cubicBezTo>
                    <a:pt x="776" y="154"/>
                    <a:pt x="777" y="156"/>
                    <a:pt x="779" y="156"/>
                  </a:cubicBezTo>
                  <a:cubicBezTo>
                    <a:pt x="783" y="157"/>
                    <a:pt x="784" y="156"/>
                    <a:pt x="786" y="154"/>
                  </a:cubicBezTo>
                  <a:cubicBezTo>
                    <a:pt x="788" y="153"/>
                    <a:pt x="790" y="151"/>
                    <a:pt x="792" y="152"/>
                  </a:cubicBezTo>
                  <a:cubicBezTo>
                    <a:pt x="794" y="152"/>
                    <a:pt x="795" y="155"/>
                    <a:pt x="797" y="156"/>
                  </a:cubicBezTo>
                  <a:cubicBezTo>
                    <a:pt x="795" y="154"/>
                    <a:pt x="798" y="153"/>
                    <a:pt x="798" y="152"/>
                  </a:cubicBezTo>
                  <a:cubicBezTo>
                    <a:pt x="798" y="151"/>
                    <a:pt x="796" y="149"/>
                    <a:pt x="797" y="148"/>
                  </a:cubicBezTo>
                  <a:cubicBezTo>
                    <a:pt x="797" y="146"/>
                    <a:pt x="799" y="146"/>
                    <a:pt x="801" y="145"/>
                  </a:cubicBezTo>
                  <a:cubicBezTo>
                    <a:pt x="806" y="144"/>
                    <a:pt x="812" y="141"/>
                    <a:pt x="817" y="142"/>
                  </a:cubicBezTo>
                  <a:cubicBezTo>
                    <a:pt x="817" y="142"/>
                    <a:pt x="815" y="145"/>
                    <a:pt x="815" y="145"/>
                  </a:cubicBezTo>
                  <a:cubicBezTo>
                    <a:pt x="815" y="146"/>
                    <a:pt x="816" y="147"/>
                    <a:pt x="816" y="148"/>
                  </a:cubicBezTo>
                  <a:cubicBezTo>
                    <a:pt x="816" y="151"/>
                    <a:pt x="805" y="152"/>
                    <a:pt x="803" y="152"/>
                  </a:cubicBezTo>
                  <a:cubicBezTo>
                    <a:pt x="799" y="154"/>
                    <a:pt x="799" y="154"/>
                    <a:pt x="799" y="158"/>
                  </a:cubicBezTo>
                  <a:cubicBezTo>
                    <a:pt x="798" y="163"/>
                    <a:pt x="798" y="158"/>
                    <a:pt x="794" y="158"/>
                  </a:cubicBezTo>
                  <a:cubicBezTo>
                    <a:pt x="793" y="158"/>
                    <a:pt x="790" y="158"/>
                    <a:pt x="791" y="160"/>
                  </a:cubicBezTo>
                  <a:cubicBezTo>
                    <a:pt x="785" y="162"/>
                    <a:pt x="778" y="164"/>
                    <a:pt x="772" y="167"/>
                  </a:cubicBezTo>
                  <a:cubicBezTo>
                    <a:pt x="766" y="169"/>
                    <a:pt x="768" y="168"/>
                    <a:pt x="766" y="164"/>
                  </a:cubicBezTo>
                  <a:cubicBezTo>
                    <a:pt x="766" y="164"/>
                    <a:pt x="765" y="166"/>
                    <a:pt x="765" y="166"/>
                  </a:cubicBezTo>
                  <a:cubicBezTo>
                    <a:pt x="765" y="167"/>
                    <a:pt x="765" y="167"/>
                    <a:pt x="765" y="167"/>
                  </a:cubicBezTo>
                  <a:cubicBezTo>
                    <a:pt x="765" y="167"/>
                    <a:pt x="766" y="168"/>
                    <a:pt x="766" y="168"/>
                  </a:cubicBezTo>
                  <a:cubicBezTo>
                    <a:pt x="768" y="169"/>
                    <a:pt x="772" y="169"/>
                    <a:pt x="770" y="171"/>
                  </a:cubicBezTo>
                  <a:cubicBezTo>
                    <a:pt x="768" y="174"/>
                    <a:pt x="763" y="173"/>
                    <a:pt x="763" y="177"/>
                  </a:cubicBezTo>
                  <a:cubicBezTo>
                    <a:pt x="762" y="177"/>
                    <a:pt x="762" y="177"/>
                    <a:pt x="761" y="178"/>
                  </a:cubicBezTo>
                  <a:cubicBezTo>
                    <a:pt x="761" y="178"/>
                    <a:pt x="760" y="178"/>
                    <a:pt x="760" y="178"/>
                  </a:cubicBezTo>
                  <a:cubicBezTo>
                    <a:pt x="760" y="179"/>
                    <a:pt x="762" y="181"/>
                    <a:pt x="763" y="182"/>
                  </a:cubicBezTo>
                  <a:cubicBezTo>
                    <a:pt x="763" y="182"/>
                    <a:pt x="764" y="182"/>
                    <a:pt x="764" y="182"/>
                  </a:cubicBezTo>
                  <a:cubicBezTo>
                    <a:pt x="764" y="182"/>
                    <a:pt x="765" y="182"/>
                    <a:pt x="765" y="181"/>
                  </a:cubicBezTo>
                  <a:cubicBezTo>
                    <a:pt x="765" y="181"/>
                    <a:pt x="765" y="181"/>
                    <a:pt x="765" y="181"/>
                  </a:cubicBezTo>
                  <a:cubicBezTo>
                    <a:pt x="767" y="183"/>
                    <a:pt x="769" y="184"/>
                    <a:pt x="770" y="185"/>
                  </a:cubicBezTo>
                  <a:cubicBezTo>
                    <a:pt x="773" y="188"/>
                    <a:pt x="773" y="187"/>
                    <a:pt x="771" y="189"/>
                  </a:cubicBezTo>
                  <a:cubicBezTo>
                    <a:pt x="770" y="192"/>
                    <a:pt x="769" y="189"/>
                    <a:pt x="770" y="192"/>
                  </a:cubicBezTo>
                  <a:cubicBezTo>
                    <a:pt x="770" y="192"/>
                    <a:pt x="771" y="193"/>
                    <a:pt x="772" y="194"/>
                  </a:cubicBezTo>
                  <a:cubicBezTo>
                    <a:pt x="773" y="195"/>
                    <a:pt x="773" y="197"/>
                    <a:pt x="774" y="199"/>
                  </a:cubicBezTo>
                  <a:cubicBezTo>
                    <a:pt x="775" y="201"/>
                    <a:pt x="779" y="202"/>
                    <a:pt x="781" y="202"/>
                  </a:cubicBezTo>
                  <a:cubicBezTo>
                    <a:pt x="780" y="203"/>
                    <a:pt x="778" y="204"/>
                    <a:pt x="777" y="205"/>
                  </a:cubicBezTo>
                  <a:cubicBezTo>
                    <a:pt x="777" y="206"/>
                    <a:pt x="778" y="206"/>
                    <a:pt x="779" y="207"/>
                  </a:cubicBezTo>
                  <a:cubicBezTo>
                    <a:pt x="781" y="208"/>
                    <a:pt x="783" y="211"/>
                    <a:pt x="783" y="214"/>
                  </a:cubicBezTo>
                  <a:cubicBezTo>
                    <a:pt x="781" y="211"/>
                    <a:pt x="779" y="209"/>
                    <a:pt x="776" y="208"/>
                  </a:cubicBezTo>
                  <a:cubicBezTo>
                    <a:pt x="777" y="210"/>
                    <a:pt x="777" y="213"/>
                    <a:pt x="776" y="214"/>
                  </a:cubicBezTo>
                  <a:cubicBezTo>
                    <a:pt x="775" y="214"/>
                    <a:pt x="774" y="214"/>
                    <a:pt x="773" y="213"/>
                  </a:cubicBezTo>
                  <a:cubicBezTo>
                    <a:pt x="773" y="213"/>
                    <a:pt x="774" y="212"/>
                    <a:pt x="772" y="211"/>
                  </a:cubicBezTo>
                  <a:cubicBezTo>
                    <a:pt x="773" y="210"/>
                    <a:pt x="775" y="211"/>
                    <a:pt x="774" y="209"/>
                  </a:cubicBezTo>
                  <a:cubicBezTo>
                    <a:pt x="774" y="207"/>
                    <a:pt x="772" y="205"/>
                    <a:pt x="771" y="204"/>
                  </a:cubicBezTo>
                  <a:cubicBezTo>
                    <a:pt x="771" y="206"/>
                    <a:pt x="769" y="206"/>
                    <a:pt x="768" y="208"/>
                  </a:cubicBezTo>
                  <a:cubicBezTo>
                    <a:pt x="768" y="209"/>
                    <a:pt x="769" y="210"/>
                    <a:pt x="769" y="211"/>
                  </a:cubicBezTo>
                  <a:cubicBezTo>
                    <a:pt x="769" y="212"/>
                    <a:pt x="770" y="214"/>
                    <a:pt x="769" y="215"/>
                  </a:cubicBezTo>
                  <a:cubicBezTo>
                    <a:pt x="767" y="217"/>
                    <a:pt x="768" y="216"/>
                    <a:pt x="770" y="218"/>
                  </a:cubicBezTo>
                  <a:cubicBezTo>
                    <a:pt x="771" y="219"/>
                    <a:pt x="772" y="220"/>
                    <a:pt x="772" y="221"/>
                  </a:cubicBezTo>
                  <a:cubicBezTo>
                    <a:pt x="773" y="222"/>
                    <a:pt x="774" y="223"/>
                    <a:pt x="775" y="224"/>
                  </a:cubicBezTo>
                  <a:cubicBezTo>
                    <a:pt x="777" y="226"/>
                    <a:pt x="780" y="229"/>
                    <a:pt x="780" y="232"/>
                  </a:cubicBezTo>
                  <a:cubicBezTo>
                    <a:pt x="778" y="231"/>
                    <a:pt x="777" y="228"/>
                    <a:pt x="775" y="227"/>
                  </a:cubicBezTo>
                  <a:cubicBezTo>
                    <a:pt x="773" y="225"/>
                    <a:pt x="771" y="224"/>
                    <a:pt x="770" y="222"/>
                  </a:cubicBezTo>
                  <a:cubicBezTo>
                    <a:pt x="769" y="221"/>
                    <a:pt x="770" y="220"/>
                    <a:pt x="767" y="220"/>
                  </a:cubicBezTo>
                  <a:cubicBezTo>
                    <a:pt x="766" y="220"/>
                    <a:pt x="765" y="219"/>
                    <a:pt x="764" y="218"/>
                  </a:cubicBezTo>
                  <a:cubicBezTo>
                    <a:pt x="764" y="216"/>
                    <a:pt x="765" y="216"/>
                    <a:pt x="763" y="214"/>
                  </a:cubicBezTo>
                  <a:cubicBezTo>
                    <a:pt x="762" y="213"/>
                    <a:pt x="759" y="214"/>
                    <a:pt x="758" y="213"/>
                  </a:cubicBezTo>
                  <a:cubicBezTo>
                    <a:pt x="763" y="212"/>
                    <a:pt x="759" y="209"/>
                    <a:pt x="757" y="208"/>
                  </a:cubicBezTo>
                  <a:cubicBezTo>
                    <a:pt x="756" y="207"/>
                    <a:pt x="755" y="206"/>
                    <a:pt x="753" y="206"/>
                  </a:cubicBezTo>
                  <a:cubicBezTo>
                    <a:pt x="752" y="205"/>
                    <a:pt x="751" y="206"/>
                    <a:pt x="750" y="205"/>
                  </a:cubicBezTo>
                  <a:cubicBezTo>
                    <a:pt x="750" y="204"/>
                    <a:pt x="749" y="202"/>
                    <a:pt x="749" y="201"/>
                  </a:cubicBezTo>
                  <a:cubicBezTo>
                    <a:pt x="752" y="203"/>
                    <a:pt x="754" y="205"/>
                    <a:pt x="757" y="206"/>
                  </a:cubicBezTo>
                  <a:cubicBezTo>
                    <a:pt x="759" y="206"/>
                    <a:pt x="761" y="205"/>
                    <a:pt x="763" y="205"/>
                  </a:cubicBezTo>
                  <a:cubicBezTo>
                    <a:pt x="766" y="205"/>
                    <a:pt x="765" y="205"/>
                    <a:pt x="765" y="203"/>
                  </a:cubicBezTo>
                  <a:cubicBezTo>
                    <a:pt x="766" y="200"/>
                    <a:pt x="764" y="196"/>
                    <a:pt x="761" y="195"/>
                  </a:cubicBezTo>
                  <a:cubicBezTo>
                    <a:pt x="758" y="193"/>
                    <a:pt x="753" y="194"/>
                    <a:pt x="751" y="192"/>
                  </a:cubicBezTo>
                  <a:cubicBezTo>
                    <a:pt x="750" y="190"/>
                    <a:pt x="751" y="188"/>
                    <a:pt x="750" y="187"/>
                  </a:cubicBezTo>
                  <a:cubicBezTo>
                    <a:pt x="749" y="184"/>
                    <a:pt x="747" y="181"/>
                    <a:pt x="746" y="185"/>
                  </a:cubicBezTo>
                  <a:cubicBezTo>
                    <a:pt x="745" y="188"/>
                    <a:pt x="746" y="190"/>
                    <a:pt x="744" y="193"/>
                  </a:cubicBezTo>
                  <a:cubicBezTo>
                    <a:pt x="743" y="190"/>
                    <a:pt x="739" y="191"/>
                    <a:pt x="739" y="189"/>
                  </a:cubicBezTo>
                  <a:cubicBezTo>
                    <a:pt x="739" y="187"/>
                    <a:pt x="741" y="188"/>
                    <a:pt x="741" y="186"/>
                  </a:cubicBezTo>
                  <a:cubicBezTo>
                    <a:pt x="741" y="185"/>
                    <a:pt x="740" y="185"/>
                    <a:pt x="740" y="184"/>
                  </a:cubicBezTo>
                  <a:cubicBezTo>
                    <a:pt x="740" y="182"/>
                    <a:pt x="740" y="180"/>
                    <a:pt x="738" y="179"/>
                  </a:cubicBezTo>
                  <a:cubicBezTo>
                    <a:pt x="736" y="178"/>
                    <a:pt x="731" y="179"/>
                    <a:pt x="728" y="180"/>
                  </a:cubicBezTo>
                  <a:cubicBezTo>
                    <a:pt x="726" y="180"/>
                    <a:pt x="725" y="179"/>
                    <a:pt x="723" y="179"/>
                  </a:cubicBezTo>
                  <a:cubicBezTo>
                    <a:pt x="724" y="179"/>
                    <a:pt x="724" y="178"/>
                    <a:pt x="725" y="178"/>
                  </a:cubicBezTo>
                  <a:cubicBezTo>
                    <a:pt x="722" y="176"/>
                    <a:pt x="724" y="176"/>
                    <a:pt x="722" y="174"/>
                  </a:cubicBezTo>
                  <a:cubicBezTo>
                    <a:pt x="720" y="173"/>
                    <a:pt x="714" y="174"/>
                    <a:pt x="712" y="175"/>
                  </a:cubicBezTo>
                  <a:cubicBezTo>
                    <a:pt x="693" y="176"/>
                    <a:pt x="675" y="178"/>
                    <a:pt x="657" y="180"/>
                  </a:cubicBezTo>
                  <a:cubicBezTo>
                    <a:pt x="647" y="181"/>
                    <a:pt x="638" y="180"/>
                    <a:pt x="628" y="180"/>
                  </a:cubicBezTo>
                  <a:cubicBezTo>
                    <a:pt x="621" y="180"/>
                    <a:pt x="615" y="177"/>
                    <a:pt x="608" y="176"/>
                  </a:cubicBezTo>
                  <a:cubicBezTo>
                    <a:pt x="604" y="176"/>
                    <a:pt x="600" y="176"/>
                    <a:pt x="596" y="175"/>
                  </a:cubicBezTo>
                  <a:cubicBezTo>
                    <a:pt x="596" y="174"/>
                    <a:pt x="595" y="173"/>
                    <a:pt x="594" y="173"/>
                  </a:cubicBezTo>
                  <a:cubicBezTo>
                    <a:pt x="593" y="172"/>
                    <a:pt x="591" y="173"/>
                    <a:pt x="589" y="172"/>
                  </a:cubicBezTo>
                  <a:cubicBezTo>
                    <a:pt x="586" y="170"/>
                    <a:pt x="590" y="170"/>
                    <a:pt x="592" y="169"/>
                  </a:cubicBezTo>
                  <a:cubicBezTo>
                    <a:pt x="594" y="169"/>
                    <a:pt x="596" y="168"/>
                    <a:pt x="598" y="167"/>
                  </a:cubicBezTo>
                  <a:cubicBezTo>
                    <a:pt x="596" y="166"/>
                    <a:pt x="594" y="165"/>
                    <a:pt x="596" y="163"/>
                  </a:cubicBezTo>
                  <a:cubicBezTo>
                    <a:pt x="597" y="161"/>
                    <a:pt x="600" y="162"/>
                    <a:pt x="602" y="162"/>
                  </a:cubicBezTo>
                  <a:cubicBezTo>
                    <a:pt x="604" y="161"/>
                    <a:pt x="604" y="160"/>
                    <a:pt x="606" y="160"/>
                  </a:cubicBezTo>
                  <a:cubicBezTo>
                    <a:pt x="606" y="160"/>
                    <a:pt x="605" y="159"/>
                    <a:pt x="605" y="159"/>
                  </a:cubicBezTo>
                  <a:cubicBezTo>
                    <a:pt x="610" y="158"/>
                    <a:pt x="615" y="158"/>
                    <a:pt x="621" y="158"/>
                  </a:cubicBezTo>
                  <a:cubicBezTo>
                    <a:pt x="624" y="158"/>
                    <a:pt x="622" y="157"/>
                    <a:pt x="623" y="154"/>
                  </a:cubicBezTo>
                  <a:cubicBezTo>
                    <a:pt x="623" y="154"/>
                    <a:pt x="625" y="153"/>
                    <a:pt x="625" y="152"/>
                  </a:cubicBezTo>
                  <a:cubicBezTo>
                    <a:pt x="625" y="151"/>
                    <a:pt x="622" y="152"/>
                    <a:pt x="621" y="151"/>
                  </a:cubicBezTo>
                  <a:cubicBezTo>
                    <a:pt x="621" y="150"/>
                    <a:pt x="622" y="150"/>
                    <a:pt x="622" y="149"/>
                  </a:cubicBezTo>
                  <a:cubicBezTo>
                    <a:pt x="622" y="147"/>
                    <a:pt x="621" y="147"/>
                    <a:pt x="620" y="146"/>
                  </a:cubicBezTo>
                  <a:cubicBezTo>
                    <a:pt x="619" y="145"/>
                    <a:pt x="619" y="145"/>
                    <a:pt x="618" y="144"/>
                  </a:cubicBezTo>
                  <a:cubicBezTo>
                    <a:pt x="617" y="144"/>
                    <a:pt x="615" y="144"/>
                    <a:pt x="615" y="143"/>
                  </a:cubicBezTo>
                  <a:cubicBezTo>
                    <a:pt x="613" y="141"/>
                    <a:pt x="614" y="140"/>
                    <a:pt x="611" y="139"/>
                  </a:cubicBezTo>
                  <a:cubicBezTo>
                    <a:pt x="610" y="138"/>
                    <a:pt x="609" y="138"/>
                    <a:pt x="608" y="138"/>
                  </a:cubicBezTo>
                  <a:cubicBezTo>
                    <a:pt x="606" y="137"/>
                    <a:pt x="606" y="136"/>
                    <a:pt x="605" y="136"/>
                  </a:cubicBezTo>
                  <a:cubicBezTo>
                    <a:pt x="603" y="134"/>
                    <a:pt x="601" y="134"/>
                    <a:pt x="598" y="133"/>
                  </a:cubicBezTo>
                  <a:cubicBezTo>
                    <a:pt x="592" y="131"/>
                    <a:pt x="585" y="127"/>
                    <a:pt x="578" y="127"/>
                  </a:cubicBezTo>
                  <a:cubicBezTo>
                    <a:pt x="576" y="127"/>
                    <a:pt x="569" y="127"/>
                    <a:pt x="570" y="130"/>
                  </a:cubicBezTo>
                  <a:cubicBezTo>
                    <a:pt x="571" y="130"/>
                    <a:pt x="573" y="131"/>
                    <a:pt x="573" y="131"/>
                  </a:cubicBezTo>
                  <a:cubicBezTo>
                    <a:pt x="575" y="132"/>
                    <a:pt x="577" y="133"/>
                    <a:pt x="578" y="135"/>
                  </a:cubicBezTo>
                  <a:cubicBezTo>
                    <a:pt x="572" y="134"/>
                    <a:pt x="566" y="133"/>
                    <a:pt x="560" y="132"/>
                  </a:cubicBezTo>
                  <a:cubicBezTo>
                    <a:pt x="556" y="132"/>
                    <a:pt x="552" y="132"/>
                    <a:pt x="548" y="131"/>
                  </a:cubicBezTo>
                  <a:cubicBezTo>
                    <a:pt x="545" y="129"/>
                    <a:pt x="543" y="129"/>
                    <a:pt x="541" y="128"/>
                  </a:cubicBezTo>
                  <a:cubicBezTo>
                    <a:pt x="535" y="128"/>
                    <a:pt x="532" y="127"/>
                    <a:pt x="527" y="125"/>
                  </a:cubicBezTo>
                  <a:cubicBezTo>
                    <a:pt x="525" y="124"/>
                    <a:pt x="522" y="123"/>
                    <a:pt x="520" y="122"/>
                  </a:cubicBezTo>
                  <a:cubicBezTo>
                    <a:pt x="518" y="121"/>
                    <a:pt x="517" y="119"/>
                    <a:pt x="515" y="118"/>
                  </a:cubicBezTo>
                  <a:cubicBezTo>
                    <a:pt x="512" y="116"/>
                    <a:pt x="507" y="116"/>
                    <a:pt x="504" y="116"/>
                  </a:cubicBezTo>
                  <a:cubicBezTo>
                    <a:pt x="497" y="115"/>
                    <a:pt x="491" y="114"/>
                    <a:pt x="484" y="113"/>
                  </a:cubicBezTo>
                  <a:cubicBezTo>
                    <a:pt x="484" y="113"/>
                    <a:pt x="484" y="113"/>
                    <a:pt x="484" y="114"/>
                  </a:cubicBezTo>
                  <a:cubicBezTo>
                    <a:pt x="485" y="116"/>
                    <a:pt x="484" y="121"/>
                    <a:pt x="484" y="122"/>
                  </a:cubicBezTo>
                  <a:cubicBezTo>
                    <a:pt x="484" y="119"/>
                    <a:pt x="484" y="117"/>
                    <a:pt x="484" y="114"/>
                  </a:cubicBezTo>
                  <a:cubicBezTo>
                    <a:pt x="484" y="113"/>
                    <a:pt x="484" y="113"/>
                    <a:pt x="484" y="113"/>
                  </a:cubicBezTo>
                  <a:cubicBezTo>
                    <a:pt x="478" y="109"/>
                    <a:pt x="472" y="106"/>
                    <a:pt x="465" y="103"/>
                  </a:cubicBezTo>
                  <a:cubicBezTo>
                    <a:pt x="459" y="100"/>
                    <a:pt x="453" y="96"/>
                    <a:pt x="447" y="95"/>
                  </a:cubicBezTo>
                  <a:cubicBezTo>
                    <a:pt x="443" y="94"/>
                    <a:pt x="439" y="94"/>
                    <a:pt x="434" y="94"/>
                  </a:cubicBezTo>
                  <a:cubicBezTo>
                    <a:pt x="429" y="94"/>
                    <a:pt x="420" y="91"/>
                    <a:pt x="415" y="94"/>
                  </a:cubicBezTo>
                  <a:cubicBezTo>
                    <a:pt x="414" y="94"/>
                    <a:pt x="412" y="95"/>
                    <a:pt x="412" y="95"/>
                  </a:cubicBezTo>
                  <a:cubicBezTo>
                    <a:pt x="412" y="96"/>
                    <a:pt x="412" y="97"/>
                    <a:pt x="412" y="98"/>
                  </a:cubicBezTo>
                  <a:cubicBezTo>
                    <a:pt x="412" y="99"/>
                    <a:pt x="412" y="100"/>
                    <a:pt x="412" y="100"/>
                  </a:cubicBezTo>
                  <a:cubicBezTo>
                    <a:pt x="412" y="101"/>
                    <a:pt x="411" y="101"/>
                    <a:pt x="411" y="102"/>
                  </a:cubicBezTo>
                  <a:cubicBezTo>
                    <a:pt x="411" y="102"/>
                    <a:pt x="412" y="103"/>
                    <a:pt x="412" y="103"/>
                  </a:cubicBezTo>
                  <a:cubicBezTo>
                    <a:pt x="411" y="107"/>
                    <a:pt x="408" y="107"/>
                    <a:pt x="403" y="108"/>
                  </a:cubicBezTo>
                  <a:cubicBezTo>
                    <a:pt x="397" y="110"/>
                    <a:pt x="388" y="114"/>
                    <a:pt x="382" y="112"/>
                  </a:cubicBezTo>
                  <a:cubicBezTo>
                    <a:pt x="381" y="112"/>
                    <a:pt x="380" y="112"/>
                    <a:pt x="380" y="111"/>
                  </a:cubicBezTo>
                  <a:cubicBezTo>
                    <a:pt x="380" y="110"/>
                    <a:pt x="381" y="111"/>
                    <a:pt x="381" y="110"/>
                  </a:cubicBezTo>
                  <a:cubicBezTo>
                    <a:pt x="381" y="111"/>
                    <a:pt x="382" y="109"/>
                    <a:pt x="382" y="109"/>
                  </a:cubicBezTo>
                  <a:cubicBezTo>
                    <a:pt x="382" y="109"/>
                    <a:pt x="382" y="107"/>
                    <a:pt x="383" y="107"/>
                  </a:cubicBezTo>
                  <a:cubicBezTo>
                    <a:pt x="384" y="106"/>
                    <a:pt x="385" y="106"/>
                    <a:pt x="386" y="105"/>
                  </a:cubicBezTo>
                  <a:cubicBezTo>
                    <a:pt x="388" y="103"/>
                    <a:pt x="387" y="101"/>
                    <a:pt x="389" y="100"/>
                  </a:cubicBezTo>
                  <a:cubicBezTo>
                    <a:pt x="387" y="99"/>
                    <a:pt x="381" y="99"/>
                    <a:pt x="380" y="96"/>
                  </a:cubicBezTo>
                  <a:cubicBezTo>
                    <a:pt x="380" y="95"/>
                    <a:pt x="381" y="94"/>
                    <a:pt x="382" y="92"/>
                  </a:cubicBezTo>
                  <a:cubicBezTo>
                    <a:pt x="379" y="89"/>
                    <a:pt x="381" y="89"/>
                    <a:pt x="382" y="85"/>
                  </a:cubicBezTo>
                  <a:cubicBezTo>
                    <a:pt x="382" y="83"/>
                    <a:pt x="383" y="81"/>
                    <a:pt x="382" y="80"/>
                  </a:cubicBezTo>
                  <a:cubicBezTo>
                    <a:pt x="381" y="79"/>
                    <a:pt x="378" y="80"/>
                    <a:pt x="376" y="79"/>
                  </a:cubicBezTo>
                  <a:cubicBezTo>
                    <a:pt x="377" y="79"/>
                    <a:pt x="378" y="78"/>
                    <a:pt x="379" y="78"/>
                  </a:cubicBezTo>
                  <a:cubicBezTo>
                    <a:pt x="378" y="78"/>
                    <a:pt x="375" y="77"/>
                    <a:pt x="375" y="78"/>
                  </a:cubicBezTo>
                  <a:cubicBezTo>
                    <a:pt x="373" y="79"/>
                    <a:pt x="375" y="78"/>
                    <a:pt x="375" y="79"/>
                  </a:cubicBezTo>
                  <a:cubicBezTo>
                    <a:pt x="375" y="80"/>
                    <a:pt x="374" y="81"/>
                    <a:pt x="375" y="81"/>
                  </a:cubicBezTo>
                  <a:cubicBezTo>
                    <a:pt x="376" y="82"/>
                    <a:pt x="377" y="81"/>
                    <a:pt x="379" y="82"/>
                  </a:cubicBezTo>
                  <a:cubicBezTo>
                    <a:pt x="375" y="83"/>
                    <a:pt x="371" y="84"/>
                    <a:pt x="368" y="85"/>
                  </a:cubicBezTo>
                  <a:cubicBezTo>
                    <a:pt x="366" y="85"/>
                    <a:pt x="365" y="86"/>
                    <a:pt x="364" y="87"/>
                  </a:cubicBezTo>
                  <a:cubicBezTo>
                    <a:pt x="364" y="87"/>
                    <a:pt x="364" y="89"/>
                    <a:pt x="364" y="89"/>
                  </a:cubicBezTo>
                  <a:cubicBezTo>
                    <a:pt x="364" y="89"/>
                    <a:pt x="367" y="87"/>
                    <a:pt x="368" y="86"/>
                  </a:cubicBezTo>
                  <a:cubicBezTo>
                    <a:pt x="369" y="86"/>
                    <a:pt x="370" y="86"/>
                    <a:pt x="372" y="86"/>
                  </a:cubicBezTo>
                  <a:cubicBezTo>
                    <a:pt x="370" y="88"/>
                    <a:pt x="360" y="94"/>
                    <a:pt x="364" y="96"/>
                  </a:cubicBezTo>
                  <a:cubicBezTo>
                    <a:pt x="364" y="96"/>
                    <a:pt x="367" y="96"/>
                    <a:pt x="368" y="96"/>
                  </a:cubicBezTo>
                  <a:cubicBezTo>
                    <a:pt x="370" y="97"/>
                    <a:pt x="370" y="99"/>
                    <a:pt x="370" y="101"/>
                  </a:cubicBezTo>
                  <a:cubicBezTo>
                    <a:pt x="370" y="96"/>
                    <a:pt x="358" y="98"/>
                    <a:pt x="359" y="102"/>
                  </a:cubicBezTo>
                  <a:cubicBezTo>
                    <a:pt x="359" y="103"/>
                    <a:pt x="363" y="103"/>
                    <a:pt x="362" y="104"/>
                  </a:cubicBezTo>
                  <a:cubicBezTo>
                    <a:pt x="361" y="106"/>
                    <a:pt x="364" y="106"/>
                    <a:pt x="365" y="107"/>
                  </a:cubicBezTo>
                  <a:cubicBezTo>
                    <a:pt x="362" y="106"/>
                    <a:pt x="355" y="107"/>
                    <a:pt x="354" y="110"/>
                  </a:cubicBezTo>
                  <a:cubicBezTo>
                    <a:pt x="356" y="109"/>
                    <a:pt x="359" y="108"/>
                    <a:pt x="361" y="108"/>
                  </a:cubicBezTo>
                  <a:cubicBezTo>
                    <a:pt x="366" y="109"/>
                    <a:pt x="361" y="115"/>
                    <a:pt x="357" y="114"/>
                  </a:cubicBezTo>
                  <a:cubicBezTo>
                    <a:pt x="352" y="112"/>
                    <a:pt x="347" y="110"/>
                    <a:pt x="342" y="107"/>
                  </a:cubicBezTo>
                  <a:cubicBezTo>
                    <a:pt x="337" y="104"/>
                    <a:pt x="327" y="96"/>
                    <a:pt x="327" y="90"/>
                  </a:cubicBezTo>
                  <a:cubicBezTo>
                    <a:pt x="326" y="89"/>
                    <a:pt x="327" y="89"/>
                    <a:pt x="327" y="87"/>
                  </a:cubicBezTo>
                  <a:cubicBezTo>
                    <a:pt x="327" y="87"/>
                    <a:pt x="325" y="87"/>
                    <a:pt x="325" y="86"/>
                  </a:cubicBezTo>
                  <a:cubicBezTo>
                    <a:pt x="324" y="84"/>
                    <a:pt x="322" y="82"/>
                    <a:pt x="322" y="81"/>
                  </a:cubicBezTo>
                  <a:cubicBezTo>
                    <a:pt x="316" y="72"/>
                    <a:pt x="308" y="67"/>
                    <a:pt x="299" y="62"/>
                  </a:cubicBezTo>
                  <a:cubicBezTo>
                    <a:pt x="298" y="63"/>
                    <a:pt x="294" y="69"/>
                    <a:pt x="295" y="70"/>
                  </a:cubicBezTo>
                  <a:cubicBezTo>
                    <a:pt x="296" y="71"/>
                    <a:pt x="300" y="70"/>
                    <a:pt x="301" y="70"/>
                  </a:cubicBezTo>
                  <a:cubicBezTo>
                    <a:pt x="300" y="73"/>
                    <a:pt x="296" y="73"/>
                    <a:pt x="300" y="75"/>
                  </a:cubicBezTo>
                  <a:cubicBezTo>
                    <a:pt x="303" y="76"/>
                    <a:pt x="306" y="76"/>
                    <a:pt x="309" y="77"/>
                  </a:cubicBezTo>
                  <a:cubicBezTo>
                    <a:pt x="308" y="76"/>
                    <a:pt x="304" y="77"/>
                    <a:pt x="303" y="78"/>
                  </a:cubicBezTo>
                  <a:cubicBezTo>
                    <a:pt x="301" y="78"/>
                    <a:pt x="298" y="78"/>
                    <a:pt x="296" y="79"/>
                  </a:cubicBezTo>
                  <a:cubicBezTo>
                    <a:pt x="294" y="79"/>
                    <a:pt x="290" y="81"/>
                    <a:pt x="291" y="84"/>
                  </a:cubicBezTo>
                  <a:cubicBezTo>
                    <a:pt x="291" y="88"/>
                    <a:pt x="291" y="88"/>
                    <a:pt x="288" y="90"/>
                  </a:cubicBezTo>
                  <a:cubicBezTo>
                    <a:pt x="285" y="92"/>
                    <a:pt x="282" y="94"/>
                    <a:pt x="280" y="97"/>
                  </a:cubicBezTo>
                  <a:cubicBezTo>
                    <a:pt x="278" y="98"/>
                    <a:pt x="277" y="99"/>
                    <a:pt x="276" y="99"/>
                  </a:cubicBezTo>
                  <a:cubicBezTo>
                    <a:pt x="276" y="99"/>
                    <a:pt x="272" y="99"/>
                    <a:pt x="272" y="99"/>
                  </a:cubicBezTo>
                  <a:cubicBezTo>
                    <a:pt x="272" y="98"/>
                    <a:pt x="272" y="93"/>
                    <a:pt x="273" y="93"/>
                  </a:cubicBezTo>
                  <a:cubicBezTo>
                    <a:pt x="274" y="92"/>
                    <a:pt x="276" y="93"/>
                    <a:pt x="277" y="92"/>
                  </a:cubicBezTo>
                  <a:cubicBezTo>
                    <a:pt x="277" y="92"/>
                    <a:pt x="277" y="90"/>
                    <a:pt x="278" y="89"/>
                  </a:cubicBezTo>
                  <a:cubicBezTo>
                    <a:pt x="276" y="90"/>
                    <a:pt x="274" y="92"/>
                    <a:pt x="272" y="92"/>
                  </a:cubicBezTo>
                  <a:cubicBezTo>
                    <a:pt x="271" y="93"/>
                    <a:pt x="269" y="92"/>
                    <a:pt x="268" y="93"/>
                  </a:cubicBezTo>
                  <a:cubicBezTo>
                    <a:pt x="264" y="93"/>
                    <a:pt x="262" y="94"/>
                    <a:pt x="259" y="95"/>
                  </a:cubicBezTo>
                  <a:cubicBezTo>
                    <a:pt x="254" y="97"/>
                    <a:pt x="249" y="97"/>
                    <a:pt x="245" y="99"/>
                  </a:cubicBezTo>
                  <a:cubicBezTo>
                    <a:pt x="244" y="100"/>
                    <a:pt x="243" y="101"/>
                    <a:pt x="242" y="102"/>
                  </a:cubicBezTo>
                  <a:cubicBezTo>
                    <a:pt x="240" y="104"/>
                    <a:pt x="237" y="106"/>
                    <a:pt x="235" y="109"/>
                  </a:cubicBezTo>
                  <a:cubicBezTo>
                    <a:pt x="236" y="109"/>
                    <a:pt x="236" y="109"/>
                    <a:pt x="236" y="109"/>
                  </a:cubicBezTo>
                  <a:cubicBezTo>
                    <a:pt x="235" y="111"/>
                    <a:pt x="233" y="113"/>
                    <a:pt x="231" y="115"/>
                  </a:cubicBezTo>
                  <a:cubicBezTo>
                    <a:pt x="231" y="117"/>
                    <a:pt x="231" y="121"/>
                    <a:pt x="230" y="122"/>
                  </a:cubicBezTo>
                  <a:cubicBezTo>
                    <a:pt x="227" y="122"/>
                    <a:pt x="231" y="115"/>
                    <a:pt x="231" y="114"/>
                  </a:cubicBezTo>
                  <a:cubicBezTo>
                    <a:pt x="228" y="114"/>
                    <a:pt x="228" y="115"/>
                    <a:pt x="230" y="112"/>
                  </a:cubicBezTo>
                  <a:cubicBezTo>
                    <a:pt x="231" y="109"/>
                    <a:pt x="232" y="108"/>
                    <a:pt x="230" y="105"/>
                  </a:cubicBezTo>
                  <a:cubicBezTo>
                    <a:pt x="230" y="108"/>
                    <a:pt x="228" y="111"/>
                    <a:pt x="227" y="114"/>
                  </a:cubicBezTo>
                  <a:cubicBezTo>
                    <a:pt x="229" y="110"/>
                    <a:pt x="230" y="105"/>
                    <a:pt x="225" y="103"/>
                  </a:cubicBezTo>
                  <a:cubicBezTo>
                    <a:pt x="225" y="104"/>
                    <a:pt x="227" y="104"/>
                    <a:pt x="227" y="106"/>
                  </a:cubicBezTo>
                  <a:cubicBezTo>
                    <a:pt x="228" y="107"/>
                    <a:pt x="227" y="110"/>
                    <a:pt x="226" y="112"/>
                  </a:cubicBezTo>
                  <a:cubicBezTo>
                    <a:pt x="227" y="109"/>
                    <a:pt x="227" y="105"/>
                    <a:pt x="223" y="104"/>
                  </a:cubicBezTo>
                  <a:cubicBezTo>
                    <a:pt x="225" y="107"/>
                    <a:pt x="226" y="107"/>
                    <a:pt x="223" y="111"/>
                  </a:cubicBezTo>
                  <a:cubicBezTo>
                    <a:pt x="221" y="112"/>
                    <a:pt x="219" y="113"/>
                    <a:pt x="217" y="114"/>
                  </a:cubicBezTo>
                  <a:cubicBezTo>
                    <a:pt x="217" y="114"/>
                    <a:pt x="219" y="109"/>
                    <a:pt x="219" y="110"/>
                  </a:cubicBezTo>
                  <a:cubicBezTo>
                    <a:pt x="219" y="108"/>
                    <a:pt x="209" y="110"/>
                    <a:pt x="207" y="111"/>
                  </a:cubicBezTo>
                  <a:cubicBezTo>
                    <a:pt x="213" y="109"/>
                    <a:pt x="204" y="118"/>
                    <a:pt x="203" y="119"/>
                  </a:cubicBezTo>
                  <a:cubicBezTo>
                    <a:pt x="199" y="123"/>
                    <a:pt x="191" y="123"/>
                    <a:pt x="186" y="125"/>
                  </a:cubicBezTo>
                  <a:cubicBezTo>
                    <a:pt x="187" y="126"/>
                    <a:pt x="186" y="126"/>
                    <a:pt x="186" y="127"/>
                  </a:cubicBezTo>
                  <a:cubicBezTo>
                    <a:pt x="186" y="128"/>
                    <a:pt x="187" y="128"/>
                    <a:pt x="188" y="128"/>
                  </a:cubicBezTo>
                  <a:cubicBezTo>
                    <a:pt x="188" y="129"/>
                    <a:pt x="187" y="130"/>
                    <a:pt x="187" y="131"/>
                  </a:cubicBezTo>
                  <a:cubicBezTo>
                    <a:pt x="187" y="132"/>
                    <a:pt x="189" y="131"/>
                    <a:pt x="188" y="133"/>
                  </a:cubicBezTo>
                  <a:cubicBezTo>
                    <a:pt x="189" y="133"/>
                    <a:pt x="197" y="128"/>
                    <a:pt x="195" y="134"/>
                  </a:cubicBezTo>
                  <a:cubicBezTo>
                    <a:pt x="194" y="136"/>
                    <a:pt x="191" y="135"/>
                    <a:pt x="189" y="135"/>
                  </a:cubicBezTo>
                  <a:cubicBezTo>
                    <a:pt x="188" y="135"/>
                    <a:pt x="187" y="135"/>
                    <a:pt x="186" y="135"/>
                  </a:cubicBezTo>
                  <a:cubicBezTo>
                    <a:pt x="185" y="134"/>
                    <a:pt x="184" y="135"/>
                    <a:pt x="182" y="135"/>
                  </a:cubicBezTo>
                  <a:cubicBezTo>
                    <a:pt x="180" y="135"/>
                    <a:pt x="177" y="134"/>
                    <a:pt x="174" y="134"/>
                  </a:cubicBezTo>
                  <a:cubicBezTo>
                    <a:pt x="174" y="135"/>
                    <a:pt x="175" y="136"/>
                    <a:pt x="177" y="136"/>
                  </a:cubicBezTo>
                  <a:cubicBezTo>
                    <a:pt x="176" y="138"/>
                    <a:pt x="183" y="139"/>
                    <a:pt x="184" y="139"/>
                  </a:cubicBezTo>
                  <a:cubicBezTo>
                    <a:pt x="182" y="140"/>
                    <a:pt x="171" y="137"/>
                    <a:pt x="172" y="134"/>
                  </a:cubicBezTo>
                  <a:cubicBezTo>
                    <a:pt x="172" y="133"/>
                    <a:pt x="175" y="132"/>
                    <a:pt x="176" y="131"/>
                  </a:cubicBezTo>
                  <a:cubicBezTo>
                    <a:pt x="178" y="130"/>
                    <a:pt x="177" y="129"/>
                    <a:pt x="179" y="127"/>
                  </a:cubicBezTo>
                  <a:cubicBezTo>
                    <a:pt x="180" y="123"/>
                    <a:pt x="185" y="124"/>
                    <a:pt x="186" y="128"/>
                  </a:cubicBezTo>
                  <a:cubicBezTo>
                    <a:pt x="185" y="126"/>
                    <a:pt x="185" y="124"/>
                    <a:pt x="187" y="123"/>
                  </a:cubicBezTo>
                  <a:cubicBezTo>
                    <a:pt x="186" y="123"/>
                    <a:pt x="186" y="123"/>
                    <a:pt x="186" y="123"/>
                  </a:cubicBezTo>
                  <a:cubicBezTo>
                    <a:pt x="186" y="120"/>
                    <a:pt x="189" y="116"/>
                    <a:pt x="191" y="116"/>
                  </a:cubicBezTo>
                  <a:cubicBezTo>
                    <a:pt x="195" y="115"/>
                    <a:pt x="194" y="118"/>
                    <a:pt x="195" y="120"/>
                  </a:cubicBezTo>
                  <a:cubicBezTo>
                    <a:pt x="195" y="119"/>
                    <a:pt x="196" y="118"/>
                    <a:pt x="197" y="118"/>
                  </a:cubicBezTo>
                  <a:cubicBezTo>
                    <a:pt x="199" y="117"/>
                    <a:pt x="198" y="116"/>
                    <a:pt x="199" y="115"/>
                  </a:cubicBezTo>
                  <a:cubicBezTo>
                    <a:pt x="201" y="114"/>
                    <a:pt x="203" y="113"/>
                    <a:pt x="204" y="111"/>
                  </a:cubicBezTo>
                  <a:cubicBezTo>
                    <a:pt x="205" y="109"/>
                    <a:pt x="205" y="107"/>
                    <a:pt x="207" y="105"/>
                  </a:cubicBezTo>
                  <a:cubicBezTo>
                    <a:pt x="211" y="103"/>
                    <a:pt x="218" y="104"/>
                    <a:pt x="222" y="103"/>
                  </a:cubicBezTo>
                  <a:cubicBezTo>
                    <a:pt x="225" y="102"/>
                    <a:pt x="228" y="100"/>
                    <a:pt x="230" y="103"/>
                  </a:cubicBezTo>
                  <a:cubicBezTo>
                    <a:pt x="232" y="105"/>
                    <a:pt x="234" y="100"/>
                    <a:pt x="236" y="100"/>
                  </a:cubicBezTo>
                  <a:cubicBezTo>
                    <a:pt x="239" y="98"/>
                    <a:pt x="239" y="96"/>
                    <a:pt x="243" y="95"/>
                  </a:cubicBezTo>
                  <a:cubicBezTo>
                    <a:pt x="246" y="93"/>
                    <a:pt x="250" y="92"/>
                    <a:pt x="253" y="90"/>
                  </a:cubicBezTo>
                  <a:cubicBezTo>
                    <a:pt x="256" y="89"/>
                    <a:pt x="260" y="88"/>
                    <a:pt x="263" y="86"/>
                  </a:cubicBezTo>
                  <a:cubicBezTo>
                    <a:pt x="263" y="86"/>
                    <a:pt x="266" y="84"/>
                    <a:pt x="266" y="83"/>
                  </a:cubicBezTo>
                  <a:cubicBezTo>
                    <a:pt x="266" y="82"/>
                    <a:pt x="263" y="82"/>
                    <a:pt x="265" y="80"/>
                  </a:cubicBezTo>
                  <a:cubicBezTo>
                    <a:pt x="264" y="80"/>
                    <a:pt x="263" y="80"/>
                    <a:pt x="263" y="79"/>
                  </a:cubicBezTo>
                  <a:cubicBezTo>
                    <a:pt x="261" y="78"/>
                    <a:pt x="262" y="79"/>
                    <a:pt x="260" y="77"/>
                  </a:cubicBezTo>
                  <a:cubicBezTo>
                    <a:pt x="258" y="73"/>
                    <a:pt x="255" y="83"/>
                    <a:pt x="253" y="83"/>
                  </a:cubicBezTo>
                  <a:cubicBezTo>
                    <a:pt x="253" y="83"/>
                    <a:pt x="253" y="83"/>
                    <a:pt x="254" y="82"/>
                  </a:cubicBezTo>
                  <a:cubicBezTo>
                    <a:pt x="252" y="83"/>
                    <a:pt x="250" y="84"/>
                    <a:pt x="248" y="84"/>
                  </a:cubicBezTo>
                  <a:cubicBezTo>
                    <a:pt x="248" y="82"/>
                    <a:pt x="242" y="82"/>
                    <a:pt x="241" y="82"/>
                  </a:cubicBezTo>
                  <a:cubicBezTo>
                    <a:pt x="236" y="82"/>
                    <a:pt x="232" y="81"/>
                    <a:pt x="229" y="85"/>
                  </a:cubicBezTo>
                  <a:cubicBezTo>
                    <a:pt x="229" y="85"/>
                    <a:pt x="230" y="85"/>
                    <a:pt x="231" y="85"/>
                  </a:cubicBezTo>
                  <a:cubicBezTo>
                    <a:pt x="228" y="86"/>
                    <a:pt x="227" y="91"/>
                    <a:pt x="225" y="93"/>
                  </a:cubicBezTo>
                  <a:cubicBezTo>
                    <a:pt x="224" y="84"/>
                    <a:pt x="211" y="94"/>
                    <a:pt x="208" y="96"/>
                  </a:cubicBezTo>
                  <a:cubicBezTo>
                    <a:pt x="204" y="99"/>
                    <a:pt x="202" y="99"/>
                    <a:pt x="198" y="98"/>
                  </a:cubicBezTo>
                  <a:cubicBezTo>
                    <a:pt x="193" y="97"/>
                    <a:pt x="192" y="97"/>
                    <a:pt x="196" y="101"/>
                  </a:cubicBezTo>
                  <a:cubicBezTo>
                    <a:pt x="192" y="102"/>
                    <a:pt x="188" y="100"/>
                    <a:pt x="184" y="102"/>
                  </a:cubicBezTo>
                  <a:cubicBezTo>
                    <a:pt x="178" y="105"/>
                    <a:pt x="171" y="109"/>
                    <a:pt x="165" y="112"/>
                  </a:cubicBezTo>
                  <a:cubicBezTo>
                    <a:pt x="161" y="114"/>
                    <a:pt x="157" y="116"/>
                    <a:pt x="155" y="118"/>
                  </a:cubicBezTo>
                  <a:cubicBezTo>
                    <a:pt x="154" y="119"/>
                    <a:pt x="153" y="119"/>
                    <a:pt x="153" y="120"/>
                  </a:cubicBezTo>
                  <a:cubicBezTo>
                    <a:pt x="153" y="120"/>
                    <a:pt x="153" y="120"/>
                    <a:pt x="153" y="120"/>
                  </a:cubicBezTo>
                  <a:cubicBezTo>
                    <a:pt x="152" y="121"/>
                    <a:pt x="151" y="122"/>
                    <a:pt x="150" y="122"/>
                  </a:cubicBezTo>
                  <a:cubicBezTo>
                    <a:pt x="149" y="122"/>
                    <a:pt x="149" y="122"/>
                    <a:pt x="149" y="122"/>
                  </a:cubicBezTo>
                  <a:cubicBezTo>
                    <a:pt x="149" y="121"/>
                    <a:pt x="148" y="120"/>
                    <a:pt x="148" y="120"/>
                  </a:cubicBezTo>
                  <a:cubicBezTo>
                    <a:pt x="147" y="119"/>
                    <a:pt x="147" y="119"/>
                    <a:pt x="147" y="118"/>
                  </a:cubicBezTo>
                  <a:cubicBezTo>
                    <a:pt x="147" y="118"/>
                    <a:pt x="147" y="118"/>
                    <a:pt x="146" y="118"/>
                  </a:cubicBezTo>
                  <a:cubicBezTo>
                    <a:pt x="145" y="117"/>
                    <a:pt x="144" y="117"/>
                    <a:pt x="144" y="116"/>
                  </a:cubicBezTo>
                  <a:cubicBezTo>
                    <a:pt x="144" y="115"/>
                    <a:pt x="144" y="115"/>
                    <a:pt x="144" y="114"/>
                  </a:cubicBezTo>
                  <a:cubicBezTo>
                    <a:pt x="144" y="114"/>
                    <a:pt x="144" y="114"/>
                    <a:pt x="145" y="113"/>
                  </a:cubicBezTo>
                  <a:cubicBezTo>
                    <a:pt x="145" y="112"/>
                    <a:pt x="146" y="111"/>
                    <a:pt x="146" y="111"/>
                  </a:cubicBezTo>
                  <a:cubicBezTo>
                    <a:pt x="147" y="110"/>
                    <a:pt x="148" y="110"/>
                    <a:pt x="149" y="110"/>
                  </a:cubicBezTo>
                  <a:cubicBezTo>
                    <a:pt x="150" y="109"/>
                    <a:pt x="150" y="109"/>
                    <a:pt x="151" y="108"/>
                  </a:cubicBezTo>
                  <a:cubicBezTo>
                    <a:pt x="152" y="108"/>
                    <a:pt x="152" y="107"/>
                    <a:pt x="153" y="107"/>
                  </a:cubicBezTo>
                  <a:cubicBezTo>
                    <a:pt x="153" y="106"/>
                    <a:pt x="153" y="106"/>
                    <a:pt x="153" y="106"/>
                  </a:cubicBezTo>
                  <a:cubicBezTo>
                    <a:pt x="153" y="105"/>
                    <a:pt x="154" y="105"/>
                    <a:pt x="154" y="105"/>
                  </a:cubicBezTo>
                  <a:cubicBezTo>
                    <a:pt x="154" y="105"/>
                    <a:pt x="154" y="104"/>
                    <a:pt x="155" y="104"/>
                  </a:cubicBezTo>
                  <a:cubicBezTo>
                    <a:pt x="155" y="103"/>
                    <a:pt x="156" y="103"/>
                    <a:pt x="157" y="103"/>
                  </a:cubicBezTo>
                  <a:cubicBezTo>
                    <a:pt x="157" y="103"/>
                    <a:pt x="157" y="102"/>
                    <a:pt x="157" y="102"/>
                  </a:cubicBezTo>
                  <a:cubicBezTo>
                    <a:pt x="158" y="102"/>
                    <a:pt x="158" y="101"/>
                    <a:pt x="159" y="100"/>
                  </a:cubicBezTo>
                  <a:cubicBezTo>
                    <a:pt x="159" y="100"/>
                    <a:pt x="160" y="99"/>
                    <a:pt x="160" y="98"/>
                  </a:cubicBezTo>
                  <a:cubicBezTo>
                    <a:pt x="161" y="98"/>
                    <a:pt x="163" y="97"/>
                    <a:pt x="164" y="96"/>
                  </a:cubicBezTo>
                  <a:cubicBezTo>
                    <a:pt x="165" y="94"/>
                    <a:pt x="165" y="93"/>
                    <a:pt x="165" y="91"/>
                  </a:cubicBezTo>
                  <a:cubicBezTo>
                    <a:pt x="164" y="92"/>
                    <a:pt x="164" y="92"/>
                    <a:pt x="164" y="93"/>
                  </a:cubicBezTo>
                  <a:cubicBezTo>
                    <a:pt x="164" y="93"/>
                    <a:pt x="163" y="93"/>
                    <a:pt x="163" y="93"/>
                  </a:cubicBezTo>
                  <a:cubicBezTo>
                    <a:pt x="163" y="93"/>
                    <a:pt x="162" y="94"/>
                    <a:pt x="160" y="93"/>
                  </a:cubicBezTo>
                  <a:cubicBezTo>
                    <a:pt x="160" y="93"/>
                    <a:pt x="160" y="93"/>
                    <a:pt x="160" y="93"/>
                  </a:cubicBezTo>
                  <a:cubicBezTo>
                    <a:pt x="160" y="93"/>
                    <a:pt x="160" y="93"/>
                    <a:pt x="160" y="93"/>
                  </a:cubicBezTo>
                  <a:cubicBezTo>
                    <a:pt x="160" y="93"/>
                    <a:pt x="160" y="93"/>
                    <a:pt x="160" y="93"/>
                  </a:cubicBezTo>
                  <a:cubicBezTo>
                    <a:pt x="159" y="93"/>
                    <a:pt x="159" y="92"/>
                    <a:pt x="159" y="92"/>
                  </a:cubicBezTo>
                  <a:cubicBezTo>
                    <a:pt x="158" y="92"/>
                    <a:pt x="158" y="92"/>
                    <a:pt x="158" y="92"/>
                  </a:cubicBezTo>
                  <a:cubicBezTo>
                    <a:pt x="157" y="92"/>
                    <a:pt x="157" y="92"/>
                    <a:pt x="157" y="92"/>
                  </a:cubicBezTo>
                  <a:cubicBezTo>
                    <a:pt x="157" y="92"/>
                    <a:pt x="157" y="92"/>
                    <a:pt x="157" y="92"/>
                  </a:cubicBezTo>
                  <a:cubicBezTo>
                    <a:pt x="156" y="91"/>
                    <a:pt x="156" y="89"/>
                    <a:pt x="155" y="88"/>
                  </a:cubicBezTo>
                  <a:cubicBezTo>
                    <a:pt x="155" y="87"/>
                    <a:pt x="154" y="87"/>
                    <a:pt x="153" y="87"/>
                  </a:cubicBezTo>
                  <a:cubicBezTo>
                    <a:pt x="152" y="86"/>
                    <a:pt x="151" y="85"/>
                    <a:pt x="151" y="85"/>
                  </a:cubicBezTo>
                  <a:cubicBezTo>
                    <a:pt x="151" y="86"/>
                    <a:pt x="150" y="86"/>
                    <a:pt x="150" y="87"/>
                  </a:cubicBezTo>
                  <a:cubicBezTo>
                    <a:pt x="150" y="87"/>
                    <a:pt x="150" y="87"/>
                    <a:pt x="150" y="88"/>
                  </a:cubicBezTo>
                  <a:cubicBezTo>
                    <a:pt x="150" y="90"/>
                    <a:pt x="150" y="92"/>
                    <a:pt x="150" y="94"/>
                  </a:cubicBezTo>
                  <a:cubicBezTo>
                    <a:pt x="150" y="97"/>
                    <a:pt x="148" y="96"/>
                    <a:pt x="146" y="96"/>
                  </a:cubicBezTo>
                  <a:cubicBezTo>
                    <a:pt x="144" y="95"/>
                    <a:pt x="142" y="95"/>
                    <a:pt x="140" y="95"/>
                  </a:cubicBezTo>
                  <a:cubicBezTo>
                    <a:pt x="140" y="95"/>
                    <a:pt x="139" y="95"/>
                    <a:pt x="138" y="95"/>
                  </a:cubicBezTo>
                  <a:cubicBezTo>
                    <a:pt x="138" y="95"/>
                    <a:pt x="137" y="95"/>
                    <a:pt x="136" y="95"/>
                  </a:cubicBezTo>
                  <a:cubicBezTo>
                    <a:pt x="135" y="95"/>
                    <a:pt x="135" y="95"/>
                    <a:pt x="135" y="95"/>
                  </a:cubicBezTo>
                  <a:cubicBezTo>
                    <a:pt x="132" y="96"/>
                    <a:pt x="130" y="97"/>
                    <a:pt x="130" y="99"/>
                  </a:cubicBezTo>
                  <a:cubicBezTo>
                    <a:pt x="131" y="100"/>
                    <a:pt x="132" y="102"/>
                    <a:pt x="132" y="104"/>
                  </a:cubicBezTo>
                  <a:cubicBezTo>
                    <a:pt x="128" y="103"/>
                    <a:pt x="122" y="99"/>
                    <a:pt x="123" y="105"/>
                  </a:cubicBezTo>
                  <a:cubicBezTo>
                    <a:pt x="122" y="104"/>
                    <a:pt x="119" y="103"/>
                    <a:pt x="117" y="103"/>
                  </a:cubicBezTo>
                  <a:cubicBezTo>
                    <a:pt x="117" y="107"/>
                    <a:pt x="124" y="109"/>
                    <a:pt x="126" y="110"/>
                  </a:cubicBezTo>
                  <a:cubicBezTo>
                    <a:pt x="125" y="110"/>
                    <a:pt x="123" y="109"/>
                    <a:pt x="121" y="109"/>
                  </a:cubicBezTo>
                  <a:cubicBezTo>
                    <a:pt x="121" y="109"/>
                    <a:pt x="121" y="108"/>
                    <a:pt x="121" y="108"/>
                  </a:cubicBezTo>
                  <a:cubicBezTo>
                    <a:pt x="120" y="108"/>
                    <a:pt x="120" y="108"/>
                    <a:pt x="120" y="108"/>
                  </a:cubicBezTo>
                  <a:cubicBezTo>
                    <a:pt x="120" y="108"/>
                    <a:pt x="120" y="108"/>
                    <a:pt x="120" y="108"/>
                  </a:cubicBezTo>
                  <a:cubicBezTo>
                    <a:pt x="120" y="108"/>
                    <a:pt x="120" y="108"/>
                    <a:pt x="120" y="108"/>
                  </a:cubicBezTo>
                  <a:cubicBezTo>
                    <a:pt x="118" y="107"/>
                    <a:pt x="116" y="105"/>
                    <a:pt x="115" y="105"/>
                  </a:cubicBezTo>
                  <a:cubicBezTo>
                    <a:pt x="115" y="105"/>
                    <a:pt x="115" y="105"/>
                    <a:pt x="115" y="105"/>
                  </a:cubicBezTo>
                  <a:cubicBezTo>
                    <a:pt x="115" y="105"/>
                    <a:pt x="114" y="106"/>
                    <a:pt x="114" y="107"/>
                  </a:cubicBezTo>
                  <a:cubicBezTo>
                    <a:pt x="114" y="108"/>
                    <a:pt x="114" y="109"/>
                    <a:pt x="114" y="109"/>
                  </a:cubicBezTo>
                  <a:cubicBezTo>
                    <a:pt x="114" y="109"/>
                    <a:pt x="115" y="109"/>
                    <a:pt x="115" y="110"/>
                  </a:cubicBezTo>
                  <a:cubicBezTo>
                    <a:pt x="115" y="110"/>
                    <a:pt x="115" y="110"/>
                    <a:pt x="115" y="110"/>
                  </a:cubicBezTo>
                  <a:cubicBezTo>
                    <a:pt x="115" y="111"/>
                    <a:pt x="116" y="111"/>
                    <a:pt x="117" y="111"/>
                  </a:cubicBezTo>
                  <a:cubicBezTo>
                    <a:pt x="117" y="111"/>
                    <a:pt x="117" y="112"/>
                    <a:pt x="117" y="112"/>
                  </a:cubicBezTo>
                  <a:cubicBezTo>
                    <a:pt x="119" y="113"/>
                    <a:pt x="120" y="113"/>
                    <a:pt x="121" y="114"/>
                  </a:cubicBezTo>
                  <a:cubicBezTo>
                    <a:pt x="122" y="114"/>
                    <a:pt x="123" y="114"/>
                    <a:pt x="124" y="114"/>
                  </a:cubicBezTo>
                  <a:cubicBezTo>
                    <a:pt x="121" y="116"/>
                    <a:pt x="117" y="115"/>
                    <a:pt x="113" y="117"/>
                  </a:cubicBezTo>
                  <a:cubicBezTo>
                    <a:pt x="114" y="118"/>
                    <a:pt x="116" y="118"/>
                    <a:pt x="117" y="118"/>
                  </a:cubicBezTo>
                  <a:cubicBezTo>
                    <a:pt x="118" y="119"/>
                    <a:pt x="118" y="119"/>
                    <a:pt x="119" y="119"/>
                  </a:cubicBezTo>
                  <a:cubicBezTo>
                    <a:pt x="120" y="118"/>
                    <a:pt x="121" y="119"/>
                    <a:pt x="122" y="118"/>
                  </a:cubicBezTo>
                  <a:cubicBezTo>
                    <a:pt x="123" y="118"/>
                    <a:pt x="124" y="118"/>
                    <a:pt x="124" y="118"/>
                  </a:cubicBezTo>
                  <a:cubicBezTo>
                    <a:pt x="124" y="118"/>
                    <a:pt x="124" y="118"/>
                    <a:pt x="124" y="118"/>
                  </a:cubicBezTo>
                  <a:cubicBezTo>
                    <a:pt x="124" y="118"/>
                    <a:pt x="124" y="117"/>
                    <a:pt x="124" y="117"/>
                  </a:cubicBezTo>
                  <a:cubicBezTo>
                    <a:pt x="124" y="117"/>
                    <a:pt x="124" y="116"/>
                    <a:pt x="125" y="116"/>
                  </a:cubicBezTo>
                  <a:cubicBezTo>
                    <a:pt x="125" y="116"/>
                    <a:pt x="127" y="117"/>
                    <a:pt x="127" y="118"/>
                  </a:cubicBezTo>
                  <a:cubicBezTo>
                    <a:pt x="128" y="118"/>
                    <a:pt x="130" y="117"/>
                    <a:pt x="131" y="117"/>
                  </a:cubicBezTo>
                  <a:cubicBezTo>
                    <a:pt x="133" y="118"/>
                    <a:pt x="134" y="119"/>
                    <a:pt x="135" y="119"/>
                  </a:cubicBezTo>
                  <a:cubicBezTo>
                    <a:pt x="136" y="119"/>
                    <a:pt x="136" y="119"/>
                    <a:pt x="137" y="118"/>
                  </a:cubicBezTo>
                  <a:cubicBezTo>
                    <a:pt x="137" y="118"/>
                    <a:pt x="138" y="118"/>
                    <a:pt x="138" y="118"/>
                  </a:cubicBezTo>
                  <a:cubicBezTo>
                    <a:pt x="138" y="116"/>
                    <a:pt x="139" y="116"/>
                    <a:pt x="139" y="116"/>
                  </a:cubicBezTo>
                  <a:cubicBezTo>
                    <a:pt x="140" y="115"/>
                    <a:pt x="140" y="115"/>
                    <a:pt x="142" y="116"/>
                  </a:cubicBezTo>
                  <a:cubicBezTo>
                    <a:pt x="142" y="117"/>
                    <a:pt x="142" y="117"/>
                    <a:pt x="143" y="117"/>
                  </a:cubicBezTo>
                  <a:cubicBezTo>
                    <a:pt x="143" y="117"/>
                    <a:pt x="143" y="118"/>
                    <a:pt x="143" y="118"/>
                  </a:cubicBezTo>
                  <a:cubicBezTo>
                    <a:pt x="144" y="119"/>
                    <a:pt x="146" y="122"/>
                    <a:pt x="148" y="123"/>
                  </a:cubicBezTo>
                  <a:cubicBezTo>
                    <a:pt x="145" y="126"/>
                    <a:pt x="145" y="128"/>
                    <a:pt x="148" y="131"/>
                  </a:cubicBezTo>
                  <a:cubicBezTo>
                    <a:pt x="149" y="133"/>
                    <a:pt x="150" y="134"/>
                    <a:pt x="151" y="136"/>
                  </a:cubicBezTo>
                  <a:cubicBezTo>
                    <a:pt x="152" y="137"/>
                    <a:pt x="154" y="138"/>
                    <a:pt x="154" y="140"/>
                  </a:cubicBezTo>
                  <a:cubicBezTo>
                    <a:pt x="151" y="139"/>
                    <a:pt x="150" y="139"/>
                    <a:pt x="147" y="136"/>
                  </a:cubicBezTo>
                  <a:cubicBezTo>
                    <a:pt x="146" y="135"/>
                    <a:pt x="145" y="133"/>
                    <a:pt x="143" y="132"/>
                  </a:cubicBezTo>
                  <a:cubicBezTo>
                    <a:pt x="142" y="131"/>
                    <a:pt x="140" y="131"/>
                    <a:pt x="138" y="131"/>
                  </a:cubicBezTo>
                  <a:cubicBezTo>
                    <a:pt x="138" y="131"/>
                    <a:pt x="138" y="131"/>
                    <a:pt x="138" y="131"/>
                  </a:cubicBezTo>
                  <a:cubicBezTo>
                    <a:pt x="137" y="131"/>
                    <a:pt x="136" y="131"/>
                    <a:pt x="136" y="131"/>
                  </a:cubicBezTo>
                  <a:cubicBezTo>
                    <a:pt x="135" y="131"/>
                    <a:pt x="135" y="131"/>
                    <a:pt x="135" y="131"/>
                  </a:cubicBezTo>
                  <a:cubicBezTo>
                    <a:pt x="131" y="132"/>
                    <a:pt x="128" y="134"/>
                    <a:pt x="125" y="135"/>
                  </a:cubicBezTo>
                  <a:cubicBezTo>
                    <a:pt x="128" y="137"/>
                    <a:pt x="131" y="139"/>
                    <a:pt x="133" y="141"/>
                  </a:cubicBezTo>
                  <a:cubicBezTo>
                    <a:pt x="129" y="141"/>
                    <a:pt x="123" y="138"/>
                    <a:pt x="119" y="137"/>
                  </a:cubicBezTo>
                  <a:cubicBezTo>
                    <a:pt x="114" y="135"/>
                    <a:pt x="109" y="133"/>
                    <a:pt x="104" y="131"/>
                  </a:cubicBezTo>
                  <a:cubicBezTo>
                    <a:pt x="104" y="132"/>
                    <a:pt x="103" y="132"/>
                    <a:pt x="103" y="132"/>
                  </a:cubicBezTo>
                  <a:cubicBezTo>
                    <a:pt x="103" y="132"/>
                    <a:pt x="103" y="131"/>
                    <a:pt x="101" y="130"/>
                  </a:cubicBezTo>
                  <a:cubicBezTo>
                    <a:pt x="85" y="125"/>
                    <a:pt x="69" y="119"/>
                    <a:pt x="53" y="113"/>
                  </a:cubicBezTo>
                  <a:cubicBezTo>
                    <a:pt x="50" y="112"/>
                    <a:pt x="46" y="112"/>
                    <a:pt x="43" y="110"/>
                  </a:cubicBezTo>
                  <a:cubicBezTo>
                    <a:pt x="42" y="108"/>
                    <a:pt x="41" y="106"/>
                    <a:pt x="39" y="106"/>
                  </a:cubicBezTo>
                  <a:cubicBezTo>
                    <a:pt x="26" y="105"/>
                    <a:pt x="13" y="103"/>
                    <a:pt x="0" y="101"/>
                  </a:cubicBezTo>
                  <a:cubicBezTo>
                    <a:pt x="0" y="142"/>
                    <a:pt x="0" y="142"/>
                    <a:pt x="0" y="142"/>
                  </a:cubicBezTo>
                  <a:cubicBezTo>
                    <a:pt x="0" y="177"/>
                    <a:pt x="0" y="212"/>
                    <a:pt x="0" y="239"/>
                  </a:cubicBezTo>
                  <a:cubicBezTo>
                    <a:pt x="0" y="240"/>
                    <a:pt x="0" y="240"/>
                    <a:pt x="0" y="240"/>
                  </a:cubicBezTo>
                  <a:cubicBezTo>
                    <a:pt x="0" y="264"/>
                    <a:pt x="0" y="289"/>
                    <a:pt x="0" y="313"/>
                  </a:cubicBezTo>
                  <a:cubicBezTo>
                    <a:pt x="0" y="378"/>
                    <a:pt x="0" y="378"/>
                    <a:pt x="0" y="378"/>
                  </a:cubicBezTo>
                  <a:cubicBezTo>
                    <a:pt x="0" y="388"/>
                    <a:pt x="0" y="398"/>
                    <a:pt x="0" y="409"/>
                  </a:cubicBezTo>
                  <a:cubicBezTo>
                    <a:pt x="0" y="416"/>
                    <a:pt x="0" y="424"/>
                    <a:pt x="0" y="431"/>
                  </a:cubicBezTo>
                  <a:cubicBezTo>
                    <a:pt x="0" y="443"/>
                    <a:pt x="0" y="443"/>
                    <a:pt x="0" y="443"/>
                  </a:cubicBezTo>
                  <a:cubicBezTo>
                    <a:pt x="0" y="445"/>
                    <a:pt x="0" y="448"/>
                    <a:pt x="0" y="450"/>
                  </a:cubicBezTo>
                  <a:cubicBezTo>
                    <a:pt x="0" y="450"/>
                    <a:pt x="0" y="451"/>
                    <a:pt x="0" y="451"/>
                  </a:cubicBezTo>
                  <a:cubicBezTo>
                    <a:pt x="20" y="455"/>
                    <a:pt x="20" y="455"/>
                    <a:pt x="20" y="455"/>
                  </a:cubicBezTo>
                  <a:cubicBezTo>
                    <a:pt x="20" y="455"/>
                    <a:pt x="21" y="454"/>
                    <a:pt x="23" y="453"/>
                  </a:cubicBezTo>
                  <a:cubicBezTo>
                    <a:pt x="24" y="452"/>
                    <a:pt x="25" y="450"/>
                    <a:pt x="27" y="450"/>
                  </a:cubicBezTo>
                  <a:cubicBezTo>
                    <a:pt x="30" y="449"/>
                    <a:pt x="32" y="449"/>
                    <a:pt x="34" y="449"/>
                  </a:cubicBezTo>
                  <a:cubicBezTo>
                    <a:pt x="34" y="449"/>
                    <a:pt x="34" y="449"/>
                    <a:pt x="34" y="449"/>
                  </a:cubicBezTo>
                  <a:cubicBezTo>
                    <a:pt x="35" y="449"/>
                    <a:pt x="35" y="449"/>
                    <a:pt x="35" y="449"/>
                  </a:cubicBezTo>
                  <a:cubicBezTo>
                    <a:pt x="39" y="449"/>
                    <a:pt x="42" y="449"/>
                    <a:pt x="43" y="450"/>
                  </a:cubicBezTo>
                  <a:cubicBezTo>
                    <a:pt x="45" y="452"/>
                    <a:pt x="44" y="456"/>
                    <a:pt x="43" y="459"/>
                  </a:cubicBezTo>
                  <a:cubicBezTo>
                    <a:pt x="43" y="460"/>
                    <a:pt x="43" y="461"/>
                    <a:pt x="44" y="462"/>
                  </a:cubicBezTo>
                  <a:cubicBezTo>
                    <a:pt x="44" y="462"/>
                    <a:pt x="44" y="462"/>
                    <a:pt x="44" y="462"/>
                  </a:cubicBezTo>
                  <a:cubicBezTo>
                    <a:pt x="47" y="464"/>
                    <a:pt x="51" y="467"/>
                    <a:pt x="54" y="469"/>
                  </a:cubicBezTo>
                  <a:cubicBezTo>
                    <a:pt x="68" y="480"/>
                    <a:pt x="68" y="480"/>
                    <a:pt x="68" y="480"/>
                  </a:cubicBezTo>
                  <a:cubicBezTo>
                    <a:pt x="68" y="481"/>
                    <a:pt x="69" y="481"/>
                    <a:pt x="70" y="482"/>
                  </a:cubicBezTo>
                  <a:cubicBezTo>
                    <a:pt x="73" y="484"/>
                    <a:pt x="76" y="486"/>
                    <a:pt x="78" y="488"/>
                  </a:cubicBezTo>
                  <a:cubicBezTo>
                    <a:pt x="79" y="489"/>
                    <a:pt x="80" y="492"/>
                    <a:pt x="80" y="494"/>
                  </a:cubicBezTo>
                  <a:cubicBezTo>
                    <a:pt x="81" y="497"/>
                    <a:pt x="81" y="497"/>
                    <a:pt x="81" y="497"/>
                  </a:cubicBezTo>
                  <a:cubicBezTo>
                    <a:pt x="82" y="496"/>
                    <a:pt x="83" y="496"/>
                    <a:pt x="83" y="496"/>
                  </a:cubicBezTo>
                  <a:cubicBezTo>
                    <a:pt x="85" y="495"/>
                    <a:pt x="86" y="494"/>
                    <a:pt x="88" y="493"/>
                  </a:cubicBezTo>
                  <a:cubicBezTo>
                    <a:pt x="89" y="493"/>
                    <a:pt x="89" y="493"/>
                    <a:pt x="89" y="493"/>
                  </a:cubicBezTo>
                  <a:cubicBezTo>
                    <a:pt x="91" y="492"/>
                    <a:pt x="92" y="491"/>
                    <a:pt x="94" y="490"/>
                  </a:cubicBezTo>
                  <a:cubicBezTo>
                    <a:pt x="94" y="490"/>
                    <a:pt x="94" y="490"/>
                    <a:pt x="94" y="490"/>
                  </a:cubicBezTo>
                  <a:cubicBezTo>
                    <a:pt x="94" y="490"/>
                    <a:pt x="95" y="490"/>
                    <a:pt x="96" y="490"/>
                  </a:cubicBezTo>
                  <a:cubicBezTo>
                    <a:pt x="97" y="490"/>
                    <a:pt x="97" y="490"/>
                    <a:pt x="97" y="490"/>
                  </a:cubicBezTo>
                  <a:cubicBezTo>
                    <a:pt x="97" y="490"/>
                    <a:pt x="98" y="490"/>
                    <a:pt x="98" y="490"/>
                  </a:cubicBezTo>
                  <a:cubicBezTo>
                    <a:pt x="98" y="490"/>
                    <a:pt x="98" y="490"/>
                    <a:pt x="99" y="490"/>
                  </a:cubicBezTo>
                  <a:cubicBezTo>
                    <a:pt x="99" y="489"/>
                    <a:pt x="100" y="488"/>
                    <a:pt x="100" y="487"/>
                  </a:cubicBezTo>
                  <a:cubicBezTo>
                    <a:pt x="100" y="487"/>
                    <a:pt x="100" y="487"/>
                    <a:pt x="100" y="487"/>
                  </a:cubicBezTo>
                  <a:cubicBezTo>
                    <a:pt x="100" y="487"/>
                    <a:pt x="100" y="487"/>
                    <a:pt x="100" y="487"/>
                  </a:cubicBezTo>
                  <a:cubicBezTo>
                    <a:pt x="100" y="486"/>
                    <a:pt x="99" y="485"/>
                    <a:pt x="100" y="484"/>
                  </a:cubicBezTo>
                  <a:cubicBezTo>
                    <a:pt x="100" y="483"/>
                    <a:pt x="100" y="480"/>
                    <a:pt x="103" y="480"/>
                  </a:cubicBezTo>
                  <a:cubicBezTo>
                    <a:pt x="99" y="478"/>
                    <a:pt x="99" y="478"/>
                    <a:pt x="99" y="478"/>
                  </a:cubicBezTo>
                  <a:cubicBezTo>
                    <a:pt x="105" y="475"/>
                    <a:pt x="105" y="475"/>
                    <a:pt x="105" y="475"/>
                  </a:cubicBezTo>
                  <a:cubicBezTo>
                    <a:pt x="106" y="474"/>
                    <a:pt x="109" y="474"/>
                    <a:pt x="110" y="473"/>
                  </a:cubicBezTo>
                  <a:cubicBezTo>
                    <a:pt x="112" y="473"/>
                    <a:pt x="112" y="473"/>
                    <a:pt x="112" y="473"/>
                  </a:cubicBezTo>
                  <a:cubicBezTo>
                    <a:pt x="113" y="473"/>
                    <a:pt x="114" y="473"/>
                    <a:pt x="115" y="472"/>
                  </a:cubicBezTo>
                  <a:cubicBezTo>
                    <a:pt x="115" y="472"/>
                    <a:pt x="116" y="472"/>
                    <a:pt x="117" y="472"/>
                  </a:cubicBezTo>
                  <a:cubicBezTo>
                    <a:pt x="118" y="471"/>
                    <a:pt x="118" y="471"/>
                    <a:pt x="118" y="471"/>
                  </a:cubicBezTo>
                  <a:cubicBezTo>
                    <a:pt x="119" y="471"/>
                    <a:pt x="119" y="470"/>
                    <a:pt x="120" y="470"/>
                  </a:cubicBezTo>
                  <a:cubicBezTo>
                    <a:pt x="121" y="469"/>
                    <a:pt x="123" y="469"/>
                    <a:pt x="124" y="469"/>
                  </a:cubicBezTo>
                  <a:cubicBezTo>
                    <a:pt x="127" y="469"/>
                    <a:pt x="129" y="472"/>
                    <a:pt x="131" y="475"/>
                  </a:cubicBezTo>
                  <a:cubicBezTo>
                    <a:pt x="134" y="478"/>
                    <a:pt x="136" y="481"/>
                    <a:pt x="138" y="485"/>
                  </a:cubicBezTo>
                  <a:cubicBezTo>
                    <a:pt x="139" y="486"/>
                    <a:pt x="141" y="487"/>
                    <a:pt x="142" y="488"/>
                  </a:cubicBezTo>
                  <a:cubicBezTo>
                    <a:pt x="143" y="488"/>
                    <a:pt x="144" y="489"/>
                    <a:pt x="144" y="489"/>
                  </a:cubicBezTo>
                  <a:cubicBezTo>
                    <a:pt x="145" y="489"/>
                    <a:pt x="146" y="490"/>
                    <a:pt x="146" y="490"/>
                  </a:cubicBezTo>
                  <a:cubicBezTo>
                    <a:pt x="149" y="491"/>
                    <a:pt x="152" y="494"/>
                    <a:pt x="154" y="497"/>
                  </a:cubicBezTo>
                  <a:cubicBezTo>
                    <a:pt x="156" y="501"/>
                    <a:pt x="159" y="504"/>
                    <a:pt x="163" y="507"/>
                  </a:cubicBezTo>
                  <a:cubicBezTo>
                    <a:pt x="174" y="516"/>
                    <a:pt x="174" y="516"/>
                    <a:pt x="174" y="516"/>
                  </a:cubicBezTo>
                  <a:cubicBezTo>
                    <a:pt x="177" y="517"/>
                    <a:pt x="178" y="520"/>
                    <a:pt x="179" y="522"/>
                  </a:cubicBezTo>
                  <a:cubicBezTo>
                    <a:pt x="180" y="523"/>
                    <a:pt x="180" y="523"/>
                    <a:pt x="180" y="523"/>
                  </a:cubicBezTo>
                  <a:cubicBezTo>
                    <a:pt x="180" y="524"/>
                    <a:pt x="181" y="526"/>
                    <a:pt x="182" y="528"/>
                  </a:cubicBezTo>
                  <a:cubicBezTo>
                    <a:pt x="184" y="530"/>
                    <a:pt x="184" y="531"/>
                    <a:pt x="186" y="533"/>
                  </a:cubicBezTo>
                  <a:cubicBezTo>
                    <a:pt x="188" y="535"/>
                    <a:pt x="189" y="538"/>
                    <a:pt x="191" y="540"/>
                  </a:cubicBezTo>
                  <a:cubicBezTo>
                    <a:pt x="192" y="541"/>
                    <a:pt x="192" y="541"/>
                    <a:pt x="192" y="541"/>
                  </a:cubicBezTo>
                  <a:cubicBezTo>
                    <a:pt x="195" y="545"/>
                    <a:pt x="198" y="549"/>
                    <a:pt x="200" y="553"/>
                  </a:cubicBezTo>
                  <a:cubicBezTo>
                    <a:pt x="201" y="554"/>
                    <a:pt x="202" y="555"/>
                    <a:pt x="203" y="557"/>
                  </a:cubicBezTo>
                  <a:cubicBezTo>
                    <a:pt x="203" y="557"/>
                    <a:pt x="204" y="558"/>
                    <a:pt x="203" y="560"/>
                  </a:cubicBezTo>
                  <a:cubicBezTo>
                    <a:pt x="203" y="561"/>
                    <a:pt x="203" y="562"/>
                    <a:pt x="202" y="562"/>
                  </a:cubicBezTo>
                  <a:cubicBezTo>
                    <a:pt x="202" y="562"/>
                    <a:pt x="202" y="563"/>
                    <a:pt x="202" y="563"/>
                  </a:cubicBezTo>
                  <a:cubicBezTo>
                    <a:pt x="202" y="563"/>
                    <a:pt x="202" y="563"/>
                    <a:pt x="202" y="563"/>
                  </a:cubicBezTo>
                  <a:cubicBezTo>
                    <a:pt x="202" y="563"/>
                    <a:pt x="202" y="563"/>
                    <a:pt x="202" y="563"/>
                  </a:cubicBezTo>
                  <a:cubicBezTo>
                    <a:pt x="203" y="564"/>
                    <a:pt x="204" y="565"/>
                    <a:pt x="204" y="566"/>
                  </a:cubicBezTo>
                  <a:cubicBezTo>
                    <a:pt x="205" y="567"/>
                    <a:pt x="205" y="567"/>
                    <a:pt x="205" y="567"/>
                  </a:cubicBezTo>
                  <a:cubicBezTo>
                    <a:pt x="205" y="567"/>
                    <a:pt x="206" y="568"/>
                    <a:pt x="206" y="568"/>
                  </a:cubicBezTo>
                  <a:cubicBezTo>
                    <a:pt x="207" y="570"/>
                    <a:pt x="208" y="571"/>
                    <a:pt x="210" y="572"/>
                  </a:cubicBezTo>
                  <a:cubicBezTo>
                    <a:pt x="210" y="573"/>
                    <a:pt x="210" y="573"/>
                    <a:pt x="210" y="573"/>
                  </a:cubicBezTo>
                  <a:cubicBezTo>
                    <a:pt x="211" y="574"/>
                    <a:pt x="211" y="574"/>
                    <a:pt x="211" y="575"/>
                  </a:cubicBezTo>
                  <a:cubicBezTo>
                    <a:pt x="212" y="575"/>
                    <a:pt x="212" y="576"/>
                    <a:pt x="212" y="576"/>
                  </a:cubicBezTo>
                  <a:cubicBezTo>
                    <a:pt x="213" y="576"/>
                    <a:pt x="213" y="577"/>
                    <a:pt x="214" y="577"/>
                  </a:cubicBezTo>
                  <a:cubicBezTo>
                    <a:pt x="216" y="577"/>
                    <a:pt x="218" y="577"/>
                    <a:pt x="220" y="578"/>
                  </a:cubicBezTo>
                  <a:cubicBezTo>
                    <a:pt x="220" y="578"/>
                    <a:pt x="220" y="578"/>
                    <a:pt x="220" y="578"/>
                  </a:cubicBezTo>
                  <a:cubicBezTo>
                    <a:pt x="222" y="579"/>
                    <a:pt x="224" y="580"/>
                    <a:pt x="226" y="581"/>
                  </a:cubicBezTo>
                  <a:cubicBezTo>
                    <a:pt x="227" y="581"/>
                    <a:pt x="228" y="582"/>
                    <a:pt x="230" y="582"/>
                  </a:cubicBezTo>
                  <a:cubicBezTo>
                    <a:pt x="230" y="584"/>
                    <a:pt x="230" y="584"/>
                    <a:pt x="230" y="584"/>
                  </a:cubicBezTo>
                  <a:cubicBezTo>
                    <a:pt x="230" y="583"/>
                    <a:pt x="230" y="583"/>
                    <a:pt x="230" y="583"/>
                  </a:cubicBezTo>
                  <a:cubicBezTo>
                    <a:pt x="232" y="583"/>
                    <a:pt x="234" y="584"/>
                    <a:pt x="236" y="585"/>
                  </a:cubicBezTo>
                  <a:cubicBezTo>
                    <a:pt x="236" y="585"/>
                    <a:pt x="237" y="585"/>
                    <a:pt x="238" y="585"/>
                  </a:cubicBezTo>
                  <a:cubicBezTo>
                    <a:pt x="238" y="586"/>
                    <a:pt x="238" y="586"/>
                    <a:pt x="238" y="586"/>
                  </a:cubicBezTo>
                  <a:cubicBezTo>
                    <a:pt x="245" y="588"/>
                    <a:pt x="251" y="591"/>
                    <a:pt x="253" y="595"/>
                  </a:cubicBezTo>
                  <a:cubicBezTo>
                    <a:pt x="256" y="598"/>
                    <a:pt x="255" y="601"/>
                    <a:pt x="255" y="603"/>
                  </a:cubicBezTo>
                  <a:cubicBezTo>
                    <a:pt x="254" y="606"/>
                    <a:pt x="253" y="607"/>
                    <a:pt x="253" y="609"/>
                  </a:cubicBezTo>
                  <a:cubicBezTo>
                    <a:pt x="253" y="609"/>
                    <a:pt x="253" y="609"/>
                    <a:pt x="253" y="609"/>
                  </a:cubicBezTo>
                  <a:cubicBezTo>
                    <a:pt x="254" y="610"/>
                    <a:pt x="253" y="612"/>
                    <a:pt x="253" y="612"/>
                  </a:cubicBezTo>
                  <a:cubicBezTo>
                    <a:pt x="253" y="612"/>
                    <a:pt x="253" y="612"/>
                    <a:pt x="253" y="612"/>
                  </a:cubicBezTo>
                  <a:cubicBezTo>
                    <a:pt x="253" y="613"/>
                    <a:pt x="254" y="614"/>
                    <a:pt x="254" y="615"/>
                  </a:cubicBezTo>
                  <a:cubicBezTo>
                    <a:pt x="255" y="618"/>
                    <a:pt x="256" y="620"/>
                    <a:pt x="256" y="622"/>
                  </a:cubicBezTo>
                  <a:cubicBezTo>
                    <a:pt x="256" y="622"/>
                    <a:pt x="256" y="622"/>
                    <a:pt x="257" y="621"/>
                  </a:cubicBezTo>
                  <a:cubicBezTo>
                    <a:pt x="258" y="618"/>
                    <a:pt x="257" y="615"/>
                    <a:pt x="257" y="611"/>
                  </a:cubicBezTo>
                  <a:cubicBezTo>
                    <a:pt x="257" y="611"/>
                    <a:pt x="257" y="612"/>
                    <a:pt x="258" y="612"/>
                  </a:cubicBezTo>
                  <a:cubicBezTo>
                    <a:pt x="259" y="614"/>
                    <a:pt x="260" y="616"/>
                    <a:pt x="262" y="616"/>
                  </a:cubicBezTo>
                  <a:cubicBezTo>
                    <a:pt x="263" y="617"/>
                    <a:pt x="263" y="617"/>
                    <a:pt x="263" y="617"/>
                  </a:cubicBezTo>
                  <a:cubicBezTo>
                    <a:pt x="264" y="616"/>
                    <a:pt x="264" y="616"/>
                    <a:pt x="264" y="616"/>
                  </a:cubicBezTo>
                  <a:cubicBezTo>
                    <a:pt x="264" y="616"/>
                    <a:pt x="264" y="616"/>
                    <a:pt x="264" y="616"/>
                  </a:cubicBezTo>
                  <a:cubicBezTo>
                    <a:pt x="262" y="618"/>
                    <a:pt x="261" y="618"/>
                    <a:pt x="259" y="620"/>
                  </a:cubicBezTo>
                  <a:cubicBezTo>
                    <a:pt x="258" y="622"/>
                    <a:pt x="257" y="623"/>
                    <a:pt x="256" y="625"/>
                  </a:cubicBezTo>
                  <a:cubicBezTo>
                    <a:pt x="256" y="625"/>
                    <a:pt x="256" y="625"/>
                    <a:pt x="256" y="625"/>
                  </a:cubicBezTo>
                  <a:cubicBezTo>
                    <a:pt x="256" y="626"/>
                    <a:pt x="256" y="626"/>
                    <a:pt x="255" y="626"/>
                  </a:cubicBezTo>
                  <a:cubicBezTo>
                    <a:pt x="255" y="626"/>
                    <a:pt x="255" y="627"/>
                    <a:pt x="255" y="627"/>
                  </a:cubicBezTo>
                  <a:cubicBezTo>
                    <a:pt x="254" y="628"/>
                    <a:pt x="254" y="630"/>
                    <a:pt x="253" y="631"/>
                  </a:cubicBezTo>
                  <a:cubicBezTo>
                    <a:pt x="253" y="631"/>
                    <a:pt x="253" y="631"/>
                    <a:pt x="253" y="631"/>
                  </a:cubicBezTo>
                  <a:cubicBezTo>
                    <a:pt x="253" y="631"/>
                    <a:pt x="253" y="631"/>
                    <a:pt x="253" y="631"/>
                  </a:cubicBezTo>
                  <a:cubicBezTo>
                    <a:pt x="253" y="631"/>
                    <a:pt x="253" y="631"/>
                    <a:pt x="253" y="631"/>
                  </a:cubicBezTo>
                  <a:cubicBezTo>
                    <a:pt x="253" y="631"/>
                    <a:pt x="253" y="631"/>
                    <a:pt x="253" y="631"/>
                  </a:cubicBezTo>
                  <a:cubicBezTo>
                    <a:pt x="253" y="631"/>
                    <a:pt x="253" y="631"/>
                    <a:pt x="254" y="631"/>
                  </a:cubicBezTo>
                  <a:cubicBezTo>
                    <a:pt x="254" y="631"/>
                    <a:pt x="254" y="631"/>
                    <a:pt x="254" y="631"/>
                  </a:cubicBezTo>
                  <a:cubicBezTo>
                    <a:pt x="254" y="631"/>
                    <a:pt x="255" y="631"/>
                    <a:pt x="256" y="631"/>
                  </a:cubicBezTo>
                  <a:cubicBezTo>
                    <a:pt x="257" y="632"/>
                    <a:pt x="259" y="632"/>
                    <a:pt x="260" y="631"/>
                  </a:cubicBezTo>
                  <a:cubicBezTo>
                    <a:pt x="260" y="631"/>
                    <a:pt x="261" y="631"/>
                    <a:pt x="261" y="631"/>
                  </a:cubicBezTo>
                  <a:cubicBezTo>
                    <a:pt x="259" y="632"/>
                    <a:pt x="258" y="631"/>
                    <a:pt x="256" y="632"/>
                  </a:cubicBezTo>
                  <a:cubicBezTo>
                    <a:pt x="255" y="632"/>
                    <a:pt x="255" y="633"/>
                    <a:pt x="254" y="634"/>
                  </a:cubicBezTo>
                  <a:cubicBezTo>
                    <a:pt x="253" y="634"/>
                    <a:pt x="252" y="634"/>
                    <a:pt x="252" y="634"/>
                  </a:cubicBezTo>
                  <a:cubicBezTo>
                    <a:pt x="252" y="634"/>
                    <a:pt x="252" y="634"/>
                    <a:pt x="252" y="634"/>
                  </a:cubicBezTo>
                  <a:cubicBezTo>
                    <a:pt x="251" y="634"/>
                    <a:pt x="251" y="634"/>
                    <a:pt x="251" y="634"/>
                  </a:cubicBezTo>
                  <a:cubicBezTo>
                    <a:pt x="251" y="634"/>
                    <a:pt x="251" y="633"/>
                    <a:pt x="251" y="634"/>
                  </a:cubicBezTo>
                  <a:cubicBezTo>
                    <a:pt x="250" y="634"/>
                    <a:pt x="249" y="635"/>
                    <a:pt x="249" y="636"/>
                  </a:cubicBezTo>
                  <a:cubicBezTo>
                    <a:pt x="249" y="636"/>
                    <a:pt x="250" y="635"/>
                    <a:pt x="251" y="635"/>
                  </a:cubicBezTo>
                  <a:cubicBezTo>
                    <a:pt x="250" y="636"/>
                    <a:pt x="248" y="638"/>
                    <a:pt x="248" y="639"/>
                  </a:cubicBezTo>
                  <a:cubicBezTo>
                    <a:pt x="248" y="641"/>
                    <a:pt x="253" y="643"/>
                    <a:pt x="255" y="643"/>
                  </a:cubicBezTo>
                  <a:cubicBezTo>
                    <a:pt x="254" y="643"/>
                    <a:pt x="254" y="643"/>
                    <a:pt x="253" y="643"/>
                  </a:cubicBezTo>
                  <a:cubicBezTo>
                    <a:pt x="253" y="643"/>
                    <a:pt x="253" y="643"/>
                    <a:pt x="253" y="643"/>
                  </a:cubicBezTo>
                  <a:cubicBezTo>
                    <a:pt x="252" y="643"/>
                    <a:pt x="251" y="642"/>
                    <a:pt x="250" y="642"/>
                  </a:cubicBezTo>
                  <a:cubicBezTo>
                    <a:pt x="249" y="641"/>
                    <a:pt x="248" y="641"/>
                    <a:pt x="247" y="641"/>
                  </a:cubicBezTo>
                  <a:cubicBezTo>
                    <a:pt x="247" y="641"/>
                    <a:pt x="247" y="641"/>
                    <a:pt x="247" y="641"/>
                  </a:cubicBezTo>
                  <a:cubicBezTo>
                    <a:pt x="247" y="641"/>
                    <a:pt x="246" y="641"/>
                    <a:pt x="246" y="641"/>
                  </a:cubicBezTo>
                  <a:cubicBezTo>
                    <a:pt x="246" y="641"/>
                    <a:pt x="246" y="641"/>
                    <a:pt x="246" y="641"/>
                  </a:cubicBezTo>
                  <a:cubicBezTo>
                    <a:pt x="246" y="641"/>
                    <a:pt x="246" y="641"/>
                    <a:pt x="246" y="641"/>
                  </a:cubicBezTo>
                  <a:cubicBezTo>
                    <a:pt x="246" y="641"/>
                    <a:pt x="245" y="641"/>
                    <a:pt x="245" y="641"/>
                  </a:cubicBezTo>
                  <a:cubicBezTo>
                    <a:pt x="245" y="641"/>
                    <a:pt x="245" y="641"/>
                    <a:pt x="245" y="642"/>
                  </a:cubicBezTo>
                  <a:cubicBezTo>
                    <a:pt x="244" y="642"/>
                    <a:pt x="244" y="642"/>
                    <a:pt x="244" y="643"/>
                  </a:cubicBezTo>
                  <a:cubicBezTo>
                    <a:pt x="245" y="645"/>
                    <a:pt x="249" y="647"/>
                    <a:pt x="251" y="647"/>
                  </a:cubicBezTo>
                  <a:cubicBezTo>
                    <a:pt x="252" y="647"/>
                    <a:pt x="252" y="647"/>
                    <a:pt x="252" y="647"/>
                  </a:cubicBezTo>
                  <a:cubicBezTo>
                    <a:pt x="252" y="647"/>
                    <a:pt x="252" y="647"/>
                    <a:pt x="252" y="647"/>
                  </a:cubicBezTo>
                  <a:cubicBezTo>
                    <a:pt x="252" y="647"/>
                    <a:pt x="252" y="647"/>
                    <a:pt x="252" y="647"/>
                  </a:cubicBezTo>
                  <a:cubicBezTo>
                    <a:pt x="252" y="647"/>
                    <a:pt x="253" y="647"/>
                    <a:pt x="253" y="647"/>
                  </a:cubicBezTo>
                  <a:cubicBezTo>
                    <a:pt x="250" y="649"/>
                    <a:pt x="250" y="650"/>
                    <a:pt x="252" y="653"/>
                  </a:cubicBezTo>
                  <a:cubicBezTo>
                    <a:pt x="250" y="652"/>
                    <a:pt x="248" y="649"/>
                    <a:pt x="247" y="647"/>
                  </a:cubicBezTo>
                  <a:cubicBezTo>
                    <a:pt x="246" y="647"/>
                    <a:pt x="246" y="647"/>
                    <a:pt x="246" y="646"/>
                  </a:cubicBezTo>
                  <a:cubicBezTo>
                    <a:pt x="245" y="646"/>
                    <a:pt x="245" y="645"/>
                    <a:pt x="245" y="645"/>
                  </a:cubicBezTo>
                  <a:cubicBezTo>
                    <a:pt x="244" y="645"/>
                    <a:pt x="244" y="644"/>
                    <a:pt x="244" y="644"/>
                  </a:cubicBezTo>
                  <a:cubicBezTo>
                    <a:pt x="244" y="644"/>
                    <a:pt x="244" y="644"/>
                    <a:pt x="244" y="644"/>
                  </a:cubicBezTo>
                  <a:cubicBezTo>
                    <a:pt x="243" y="643"/>
                    <a:pt x="242" y="643"/>
                    <a:pt x="242" y="646"/>
                  </a:cubicBezTo>
                  <a:cubicBezTo>
                    <a:pt x="242" y="647"/>
                    <a:pt x="242" y="647"/>
                    <a:pt x="243" y="648"/>
                  </a:cubicBezTo>
                  <a:cubicBezTo>
                    <a:pt x="243" y="648"/>
                    <a:pt x="243" y="648"/>
                    <a:pt x="243" y="648"/>
                  </a:cubicBezTo>
                  <a:cubicBezTo>
                    <a:pt x="243" y="649"/>
                    <a:pt x="242" y="649"/>
                    <a:pt x="242" y="649"/>
                  </a:cubicBezTo>
                  <a:cubicBezTo>
                    <a:pt x="239" y="649"/>
                    <a:pt x="235" y="651"/>
                    <a:pt x="236" y="654"/>
                  </a:cubicBezTo>
                  <a:cubicBezTo>
                    <a:pt x="236" y="656"/>
                    <a:pt x="241" y="656"/>
                    <a:pt x="243" y="656"/>
                  </a:cubicBezTo>
                  <a:cubicBezTo>
                    <a:pt x="244" y="656"/>
                    <a:pt x="244" y="656"/>
                    <a:pt x="246" y="654"/>
                  </a:cubicBezTo>
                  <a:cubicBezTo>
                    <a:pt x="246" y="653"/>
                    <a:pt x="247" y="653"/>
                    <a:pt x="247" y="653"/>
                  </a:cubicBezTo>
                  <a:cubicBezTo>
                    <a:pt x="247" y="654"/>
                    <a:pt x="246" y="654"/>
                    <a:pt x="246" y="655"/>
                  </a:cubicBezTo>
                  <a:cubicBezTo>
                    <a:pt x="246" y="655"/>
                    <a:pt x="246" y="655"/>
                    <a:pt x="246" y="655"/>
                  </a:cubicBezTo>
                  <a:cubicBezTo>
                    <a:pt x="246" y="655"/>
                    <a:pt x="246" y="655"/>
                    <a:pt x="246" y="655"/>
                  </a:cubicBezTo>
                  <a:cubicBezTo>
                    <a:pt x="246" y="656"/>
                    <a:pt x="246" y="656"/>
                    <a:pt x="246" y="656"/>
                  </a:cubicBezTo>
                  <a:cubicBezTo>
                    <a:pt x="246" y="656"/>
                    <a:pt x="246" y="656"/>
                    <a:pt x="246" y="656"/>
                  </a:cubicBezTo>
                  <a:cubicBezTo>
                    <a:pt x="246" y="656"/>
                    <a:pt x="246" y="656"/>
                    <a:pt x="246" y="656"/>
                  </a:cubicBezTo>
                  <a:cubicBezTo>
                    <a:pt x="246" y="656"/>
                    <a:pt x="246" y="656"/>
                    <a:pt x="246" y="656"/>
                  </a:cubicBezTo>
                  <a:cubicBezTo>
                    <a:pt x="246" y="656"/>
                    <a:pt x="246" y="656"/>
                    <a:pt x="247" y="656"/>
                  </a:cubicBezTo>
                  <a:cubicBezTo>
                    <a:pt x="247" y="657"/>
                    <a:pt x="247" y="657"/>
                    <a:pt x="247" y="657"/>
                  </a:cubicBezTo>
                  <a:cubicBezTo>
                    <a:pt x="247" y="657"/>
                    <a:pt x="248" y="659"/>
                    <a:pt x="248" y="660"/>
                  </a:cubicBezTo>
                  <a:cubicBezTo>
                    <a:pt x="248" y="660"/>
                    <a:pt x="249" y="660"/>
                    <a:pt x="250" y="660"/>
                  </a:cubicBezTo>
                  <a:cubicBezTo>
                    <a:pt x="250" y="660"/>
                    <a:pt x="250" y="661"/>
                    <a:pt x="250" y="661"/>
                  </a:cubicBezTo>
                  <a:cubicBezTo>
                    <a:pt x="250" y="662"/>
                    <a:pt x="250" y="662"/>
                    <a:pt x="250" y="662"/>
                  </a:cubicBezTo>
                  <a:cubicBezTo>
                    <a:pt x="250" y="662"/>
                    <a:pt x="250" y="662"/>
                    <a:pt x="251" y="662"/>
                  </a:cubicBezTo>
                  <a:cubicBezTo>
                    <a:pt x="251" y="662"/>
                    <a:pt x="251" y="663"/>
                    <a:pt x="251" y="663"/>
                  </a:cubicBezTo>
                  <a:cubicBezTo>
                    <a:pt x="251" y="663"/>
                    <a:pt x="251" y="663"/>
                    <a:pt x="251" y="663"/>
                  </a:cubicBezTo>
                  <a:cubicBezTo>
                    <a:pt x="251" y="663"/>
                    <a:pt x="251" y="664"/>
                    <a:pt x="251" y="664"/>
                  </a:cubicBezTo>
                  <a:cubicBezTo>
                    <a:pt x="251" y="664"/>
                    <a:pt x="251" y="663"/>
                    <a:pt x="251" y="663"/>
                  </a:cubicBezTo>
                  <a:cubicBezTo>
                    <a:pt x="251" y="663"/>
                    <a:pt x="251" y="664"/>
                    <a:pt x="251" y="664"/>
                  </a:cubicBezTo>
                  <a:cubicBezTo>
                    <a:pt x="251" y="665"/>
                    <a:pt x="251" y="666"/>
                    <a:pt x="252" y="667"/>
                  </a:cubicBezTo>
                  <a:cubicBezTo>
                    <a:pt x="252" y="667"/>
                    <a:pt x="252" y="667"/>
                    <a:pt x="252" y="667"/>
                  </a:cubicBezTo>
                  <a:cubicBezTo>
                    <a:pt x="252" y="667"/>
                    <a:pt x="252" y="668"/>
                    <a:pt x="253" y="668"/>
                  </a:cubicBezTo>
                  <a:cubicBezTo>
                    <a:pt x="253" y="668"/>
                    <a:pt x="253" y="668"/>
                    <a:pt x="254" y="669"/>
                  </a:cubicBezTo>
                  <a:cubicBezTo>
                    <a:pt x="254" y="669"/>
                    <a:pt x="254" y="669"/>
                    <a:pt x="254" y="669"/>
                  </a:cubicBezTo>
                  <a:cubicBezTo>
                    <a:pt x="257" y="671"/>
                    <a:pt x="259" y="673"/>
                    <a:pt x="262" y="675"/>
                  </a:cubicBezTo>
                  <a:cubicBezTo>
                    <a:pt x="262" y="675"/>
                    <a:pt x="262" y="676"/>
                    <a:pt x="263" y="676"/>
                  </a:cubicBezTo>
                  <a:cubicBezTo>
                    <a:pt x="263" y="676"/>
                    <a:pt x="263" y="676"/>
                    <a:pt x="263" y="676"/>
                  </a:cubicBezTo>
                  <a:cubicBezTo>
                    <a:pt x="265" y="677"/>
                    <a:pt x="268" y="679"/>
                    <a:pt x="270" y="681"/>
                  </a:cubicBezTo>
                  <a:cubicBezTo>
                    <a:pt x="270" y="681"/>
                    <a:pt x="270" y="680"/>
                    <a:pt x="270" y="680"/>
                  </a:cubicBezTo>
                  <a:cubicBezTo>
                    <a:pt x="270" y="677"/>
                    <a:pt x="270" y="675"/>
                    <a:pt x="273" y="673"/>
                  </a:cubicBezTo>
                  <a:cubicBezTo>
                    <a:pt x="273" y="672"/>
                    <a:pt x="274" y="672"/>
                    <a:pt x="275" y="672"/>
                  </a:cubicBezTo>
                  <a:cubicBezTo>
                    <a:pt x="275" y="672"/>
                    <a:pt x="275" y="672"/>
                    <a:pt x="275" y="672"/>
                  </a:cubicBezTo>
                  <a:cubicBezTo>
                    <a:pt x="275" y="671"/>
                    <a:pt x="275" y="671"/>
                    <a:pt x="275" y="671"/>
                  </a:cubicBezTo>
                  <a:cubicBezTo>
                    <a:pt x="275" y="671"/>
                    <a:pt x="275" y="671"/>
                    <a:pt x="275" y="671"/>
                  </a:cubicBezTo>
                  <a:cubicBezTo>
                    <a:pt x="275" y="671"/>
                    <a:pt x="274" y="670"/>
                    <a:pt x="275" y="670"/>
                  </a:cubicBezTo>
                  <a:cubicBezTo>
                    <a:pt x="275" y="670"/>
                    <a:pt x="275" y="670"/>
                    <a:pt x="275" y="670"/>
                  </a:cubicBezTo>
                  <a:cubicBezTo>
                    <a:pt x="277" y="671"/>
                    <a:pt x="277" y="669"/>
                    <a:pt x="276" y="668"/>
                  </a:cubicBezTo>
                  <a:cubicBezTo>
                    <a:pt x="276" y="668"/>
                    <a:pt x="276" y="668"/>
                    <a:pt x="276" y="668"/>
                  </a:cubicBezTo>
                  <a:cubicBezTo>
                    <a:pt x="276" y="667"/>
                    <a:pt x="276" y="667"/>
                    <a:pt x="276" y="667"/>
                  </a:cubicBezTo>
                  <a:cubicBezTo>
                    <a:pt x="277" y="667"/>
                    <a:pt x="277" y="668"/>
                    <a:pt x="278" y="668"/>
                  </a:cubicBezTo>
                  <a:cubicBezTo>
                    <a:pt x="278" y="668"/>
                    <a:pt x="278" y="668"/>
                    <a:pt x="278" y="668"/>
                  </a:cubicBezTo>
                  <a:cubicBezTo>
                    <a:pt x="278" y="668"/>
                    <a:pt x="279" y="668"/>
                    <a:pt x="279" y="668"/>
                  </a:cubicBezTo>
                  <a:cubicBezTo>
                    <a:pt x="280" y="668"/>
                    <a:pt x="281" y="666"/>
                    <a:pt x="281" y="666"/>
                  </a:cubicBezTo>
                  <a:cubicBezTo>
                    <a:pt x="282" y="665"/>
                    <a:pt x="283" y="663"/>
                    <a:pt x="285" y="662"/>
                  </a:cubicBezTo>
                  <a:cubicBezTo>
                    <a:pt x="284" y="664"/>
                    <a:pt x="284" y="665"/>
                    <a:pt x="283" y="667"/>
                  </a:cubicBezTo>
                  <a:cubicBezTo>
                    <a:pt x="284" y="667"/>
                    <a:pt x="285" y="667"/>
                    <a:pt x="286" y="668"/>
                  </a:cubicBezTo>
                  <a:cubicBezTo>
                    <a:pt x="284" y="668"/>
                    <a:pt x="281" y="669"/>
                    <a:pt x="280" y="671"/>
                  </a:cubicBezTo>
                  <a:cubicBezTo>
                    <a:pt x="280" y="671"/>
                    <a:pt x="281" y="671"/>
                    <a:pt x="281" y="671"/>
                  </a:cubicBezTo>
                  <a:cubicBezTo>
                    <a:pt x="281" y="672"/>
                    <a:pt x="281" y="673"/>
                    <a:pt x="281" y="673"/>
                  </a:cubicBezTo>
                  <a:cubicBezTo>
                    <a:pt x="281" y="674"/>
                    <a:pt x="281" y="674"/>
                    <a:pt x="281" y="674"/>
                  </a:cubicBezTo>
                  <a:cubicBezTo>
                    <a:pt x="280" y="675"/>
                    <a:pt x="280" y="675"/>
                    <a:pt x="280" y="675"/>
                  </a:cubicBezTo>
                  <a:cubicBezTo>
                    <a:pt x="279" y="675"/>
                    <a:pt x="279" y="674"/>
                    <a:pt x="278" y="673"/>
                  </a:cubicBezTo>
                  <a:cubicBezTo>
                    <a:pt x="277" y="673"/>
                    <a:pt x="276" y="673"/>
                    <a:pt x="275" y="673"/>
                  </a:cubicBezTo>
                  <a:cubicBezTo>
                    <a:pt x="275" y="673"/>
                    <a:pt x="275" y="673"/>
                    <a:pt x="274" y="673"/>
                  </a:cubicBezTo>
                  <a:cubicBezTo>
                    <a:pt x="274" y="673"/>
                    <a:pt x="274" y="673"/>
                    <a:pt x="274" y="673"/>
                  </a:cubicBezTo>
                  <a:cubicBezTo>
                    <a:pt x="274" y="673"/>
                    <a:pt x="274" y="673"/>
                    <a:pt x="274" y="673"/>
                  </a:cubicBezTo>
                  <a:cubicBezTo>
                    <a:pt x="274" y="674"/>
                    <a:pt x="274" y="674"/>
                    <a:pt x="274" y="674"/>
                  </a:cubicBezTo>
                  <a:cubicBezTo>
                    <a:pt x="274" y="675"/>
                    <a:pt x="274" y="676"/>
                    <a:pt x="274" y="677"/>
                  </a:cubicBezTo>
                  <a:cubicBezTo>
                    <a:pt x="274" y="677"/>
                    <a:pt x="274" y="678"/>
                    <a:pt x="274" y="678"/>
                  </a:cubicBezTo>
                  <a:cubicBezTo>
                    <a:pt x="274" y="679"/>
                    <a:pt x="274" y="679"/>
                    <a:pt x="274" y="679"/>
                  </a:cubicBezTo>
                  <a:cubicBezTo>
                    <a:pt x="273" y="680"/>
                    <a:pt x="273" y="680"/>
                    <a:pt x="272" y="680"/>
                  </a:cubicBezTo>
                  <a:cubicBezTo>
                    <a:pt x="272" y="681"/>
                    <a:pt x="272" y="681"/>
                    <a:pt x="272" y="681"/>
                  </a:cubicBezTo>
                  <a:cubicBezTo>
                    <a:pt x="272" y="681"/>
                    <a:pt x="272" y="681"/>
                    <a:pt x="272" y="682"/>
                  </a:cubicBezTo>
                  <a:cubicBezTo>
                    <a:pt x="272" y="682"/>
                    <a:pt x="272" y="682"/>
                    <a:pt x="272" y="683"/>
                  </a:cubicBezTo>
                  <a:cubicBezTo>
                    <a:pt x="271" y="684"/>
                    <a:pt x="271" y="684"/>
                    <a:pt x="272" y="685"/>
                  </a:cubicBezTo>
                  <a:cubicBezTo>
                    <a:pt x="272" y="685"/>
                    <a:pt x="273" y="685"/>
                    <a:pt x="273" y="685"/>
                  </a:cubicBezTo>
                  <a:cubicBezTo>
                    <a:pt x="273" y="685"/>
                    <a:pt x="273" y="685"/>
                    <a:pt x="273" y="685"/>
                  </a:cubicBezTo>
                  <a:cubicBezTo>
                    <a:pt x="274" y="686"/>
                    <a:pt x="275" y="685"/>
                    <a:pt x="275" y="684"/>
                  </a:cubicBezTo>
                  <a:cubicBezTo>
                    <a:pt x="275" y="684"/>
                    <a:pt x="275" y="684"/>
                    <a:pt x="276" y="684"/>
                  </a:cubicBezTo>
                  <a:cubicBezTo>
                    <a:pt x="276" y="684"/>
                    <a:pt x="277" y="683"/>
                    <a:pt x="278" y="682"/>
                  </a:cubicBezTo>
                  <a:cubicBezTo>
                    <a:pt x="278" y="682"/>
                    <a:pt x="278" y="682"/>
                    <a:pt x="278" y="682"/>
                  </a:cubicBezTo>
                  <a:cubicBezTo>
                    <a:pt x="277" y="683"/>
                    <a:pt x="276" y="684"/>
                    <a:pt x="276" y="684"/>
                  </a:cubicBezTo>
                  <a:cubicBezTo>
                    <a:pt x="275" y="685"/>
                    <a:pt x="274" y="685"/>
                    <a:pt x="274" y="686"/>
                  </a:cubicBezTo>
                  <a:cubicBezTo>
                    <a:pt x="274" y="686"/>
                    <a:pt x="274" y="686"/>
                    <a:pt x="274" y="687"/>
                  </a:cubicBezTo>
                  <a:cubicBezTo>
                    <a:pt x="273" y="687"/>
                    <a:pt x="273" y="687"/>
                    <a:pt x="273" y="687"/>
                  </a:cubicBezTo>
                  <a:cubicBezTo>
                    <a:pt x="273" y="687"/>
                    <a:pt x="273" y="687"/>
                    <a:pt x="273" y="688"/>
                  </a:cubicBezTo>
                  <a:cubicBezTo>
                    <a:pt x="273" y="688"/>
                    <a:pt x="273" y="688"/>
                    <a:pt x="273" y="689"/>
                  </a:cubicBezTo>
                  <a:cubicBezTo>
                    <a:pt x="273" y="689"/>
                    <a:pt x="274" y="690"/>
                    <a:pt x="274" y="691"/>
                  </a:cubicBezTo>
                  <a:cubicBezTo>
                    <a:pt x="275" y="691"/>
                    <a:pt x="275" y="691"/>
                    <a:pt x="275" y="691"/>
                  </a:cubicBezTo>
                  <a:cubicBezTo>
                    <a:pt x="276" y="692"/>
                    <a:pt x="277" y="693"/>
                    <a:pt x="278" y="693"/>
                  </a:cubicBezTo>
                  <a:cubicBezTo>
                    <a:pt x="279" y="693"/>
                    <a:pt x="280" y="693"/>
                    <a:pt x="281" y="693"/>
                  </a:cubicBezTo>
                  <a:cubicBezTo>
                    <a:pt x="281" y="693"/>
                    <a:pt x="281" y="693"/>
                    <a:pt x="281" y="693"/>
                  </a:cubicBezTo>
                  <a:cubicBezTo>
                    <a:pt x="281" y="693"/>
                    <a:pt x="281" y="692"/>
                    <a:pt x="281" y="692"/>
                  </a:cubicBezTo>
                  <a:cubicBezTo>
                    <a:pt x="281" y="692"/>
                    <a:pt x="281" y="692"/>
                    <a:pt x="282" y="692"/>
                  </a:cubicBezTo>
                  <a:cubicBezTo>
                    <a:pt x="282" y="691"/>
                    <a:pt x="282" y="691"/>
                    <a:pt x="282" y="691"/>
                  </a:cubicBezTo>
                  <a:cubicBezTo>
                    <a:pt x="282" y="691"/>
                    <a:pt x="283" y="692"/>
                    <a:pt x="283" y="693"/>
                  </a:cubicBezTo>
                  <a:cubicBezTo>
                    <a:pt x="284" y="693"/>
                    <a:pt x="284" y="694"/>
                    <a:pt x="285" y="694"/>
                  </a:cubicBezTo>
                  <a:cubicBezTo>
                    <a:pt x="284" y="695"/>
                    <a:pt x="283" y="695"/>
                    <a:pt x="283" y="695"/>
                  </a:cubicBezTo>
                  <a:cubicBezTo>
                    <a:pt x="282" y="695"/>
                    <a:pt x="282" y="696"/>
                    <a:pt x="282" y="696"/>
                  </a:cubicBezTo>
                  <a:cubicBezTo>
                    <a:pt x="282" y="696"/>
                    <a:pt x="282" y="696"/>
                    <a:pt x="282" y="696"/>
                  </a:cubicBezTo>
                  <a:cubicBezTo>
                    <a:pt x="282" y="696"/>
                    <a:pt x="282" y="696"/>
                    <a:pt x="282" y="697"/>
                  </a:cubicBezTo>
                  <a:cubicBezTo>
                    <a:pt x="282" y="697"/>
                    <a:pt x="282" y="697"/>
                    <a:pt x="282" y="698"/>
                  </a:cubicBezTo>
                  <a:cubicBezTo>
                    <a:pt x="282" y="698"/>
                    <a:pt x="282" y="698"/>
                    <a:pt x="282" y="698"/>
                  </a:cubicBezTo>
                  <a:cubicBezTo>
                    <a:pt x="281" y="697"/>
                    <a:pt x="280" y="697"/>
                    <a:pt x="280" y="697"/>
                  </a:cubicBezTo>
                  <a:cubicBezTo>
                    <a:pt x="280" y="697"/>
                    <a:pt x="280" y="697"/>
                    <a:pt x="280" y="697"/>
                  </a:cubicBezTo>
                  <a:cubicBezTo>
                    <a:pt x="280" y="697"/>
                    <a:pt x="280" y="697"/>
                    <a:pt x="280" y="697"/>
                  </a:cubicBezTo>
                  <a:cubicBezTo>
                    <a:pt x="281" y="698"/>
                    <a:pt x="283" y="698"/>
                    <a:pt x="284" y="699"/>
                  </a:cubicBezTo>
                  <a:cubicBezTo>
                    <a:pt x="285" y="699"/>
                    <a:pt x="285" y="699"/>
                    <a:pt x="285" y="699"/>
                  </a:cubicBezTo>
                  <a:cubicBezTo>
                    <a:pt x="285" y="700"/>
                    <a:pt x="286" y="700"/>
                    <a:pt x="286" y="700"/>
                  </a:cubicBezTo>
                  <a:cubicBezTo>
                    <a:pt x="286" y="700"/>
                    <a:pt x="287" y="700"/>
                    <a:pt x="287" y="700"/>
                  </a:cubicBezTo>
                  <a:cubicBezTo>
                    <a:pt x="287" y="700"/>
                    <a:pt x="287" y="700"/>
                    <a:pt x="287" y="700"/>
                  </a:cubicBezTo>
                  <a:cubicBezTo>
                    <a:pt x="287" y="700"/>
                    <a:pt x="287" y="700"/>
                    <a:pt x="287" y="700"/>
                  </a:cubicBezTo>
                  <a:cubicBezTo>
                    <a:pt x="287" y="700"/>
                    <a:pt x="287" y="700"/>
                    <a:pt x="287" y="700"/>
                  </a:cubicBezTo>
                  <a:cubicBezTo>
                    <a:pt x="287" y="700"/>
                    <a:pt x="287" y="700"/>
                    <a:pt x="287" y="700"/>
                  </a:cubicBezTo>
                  <a:cubicBezTo>
                    <a:pt x="287" y="699"/>
                    <a:pt x="287" y="699"/>
                    <a:pt x="287" y="699"/>
                  </a:cubicBezTo>
                  <a:cubicBezTo>
                    <a:pt x="287" y="699"/>
                    <a:pt x="287" y="698"/>
                    <a:pt x="287" y="698"/>
                  </a:cubicBezTo>
                  <a:cubicBezTo>
                    <a:pt x="287" y="698"/>
                    <a:pt x="287" y="698"/>
                    <a:pt x="287" y="698"/>
                  </a:cubicBezTo>
                  <a:cubicBezTo>
                    <a:pt x="288" y="699"/>
                    <a:pt x="288" y="700"/>
                    <a:pt x="289" y="700"/>
                  </a:cubicBezTo>
                  <a:cubicBezTo>
                    <a:pt x="289" y="700"/>
                    <a:pt x="289" y="700"/>
                    <a:pt x="289" y="700"/>
                  </a:cubicBezTo>
                  <a:cubicBezTo>
                    <a:pt x="289" y="701"/>
                    <a:pt x="289" y="701"/>
                    <a:pt x="289" y="701"/>
                  </a:cubicBezTo>
                  <a:cubicBezTo>
                    <a:pt x="289" y="701"/>
                    <a:pt x="288" y="701"/>
                    <a:pt x="288" y="701"/>
                  </a:cubicBezTo>
                  <a:cubicBezTo>
                    <a:pt x="288" y="701"/>
                    <a:pt x="288" y="701"/>
                    <a:pt x="288" y="701"/>
                  </a:cubicBezTo>
                  <a:cubicBezTo>
                    <a:pt x="288" y="701"/>
                    <a:pt x="288" y="701"/>
                    <a:pt x="288" y="701"/>
                  </a:cubicBezTo>
                  <a:cubicBezTo>
                    <a:pt x="288" y="701"/>
                    <a:pt x="288" y="702"/>
                    <a:pt x="288" y="702"/>
                  </a:cubicBezTo>
                  <a:cubicBezTo>
                    <a:pt x="288" y="702"/>
                    <a:pt x="289" y="702"/>
                    <a:pt x="289" y="702"/>
                  </a:cubicBezTo>
                  <a:cubicBezTo>
                    <a:pt x="290" y="702"/>
                    <a:pt x="290" y="702"/>
                    <a:pt x="291" y="701"/>
                  </a:cubicBezTo>
                  <a:cubicBezTo>
                    <a:pt x="292" y="701"/>
                    <a:pt x="292" y="701"/>
                    <a:pt x="293" y="701"/>
                  </a:cubicBezTo>
                  <a:cubicBezTo>
                    <a:pt x="293" y="701"/>
                    <a:pt x="293" y="701"/>
                    <a:pt x="293" y="701"/>
                  </a:cubicBezTo>
                  <a:cubicBezTo>
                    <a:pt x="293" y="701"/>
                    <a:pt x="293" y="701"/>
                    <a:pt x="293" y="701"/>
                  </a:cubicBezTo>
                  <a:cubicBezTo>
                    <a:pt x="294" y="700"/>
                    <a:pt x="294" y="700"/>
                    <a:pt x="294" y="700"/>
                  </a:cubicBezTo>
                  <a:cubicBezTo>
                    <a:pt x="294" y="700"/>
                    <a:pt x="294" y="700"/>
                    <a:pt x="294" y="700"/>
                  </a:cubicBezTo>
                  <a:cubicBezTo>
                    <a:pt x="295" y="700"/>
                    <a:pt x="295" y="699"/>
                    <a:pt x="295" y="699"/>
                  </a:cubicBezTo>
                  <a:cubicBezTo>
                    <a:pt x="295" y="699"/>
                    <a:pt x="296" y="698"/>
                    <a:pt x="296" y="697"/>
                  </a:cubicBezTo>
                  <a:cubicBezTo>
                    <a:pt x="296" y="698"/>
                    <a:pt x="297" y="698"/>
                    <a:pt x="298" y="698"/>
                  </a:cubicBezTo>
                  <a:cubicBezTo>
                    <a:pt x="296" y="699"/>
                    <a:pt x="296" y="699"/>
                    <a:pt x="296" y="700"/>
                  </a:cubicBezTo>
                  <a:cubicBezTo>
                    <a:pt x="296" y="701"/>
                    <a:pt x="296" y="702"/>
                    <a:pt x="296" y="703"/>
                  </a:cubicBezTo>
                  <a:cubicBezTo>
                    <a:pt x="295" y="705"/>
                    <a:pt x="294" y="706"/>
                    <a:pt x="294" y="708"/>
                  </a:cubicBezTo>
                  <a:cubicBezTo>
                    <a:pt x="294" y="708"/>
                    <a:pt x="294" y="708"/>
                    <a:pt x="294" y="708"/>
                  </a:cubicBezTo>
                  <a:cubicBezTo>
                    <a:pt x="293" y="709"/>
                    <a:pt x="293" y="709"/>
                    <a:pt x="292" y="710"/>
                  </a:cubicBezTo>
                  <a:cubicBezTo>
                    <a:pt x="292" y="711"/>
                    <a:pt x="292" y="712"/>
                    <a:pt x="293" y="712"/>
                  </a:cubicBezTo>
                  <a:cubicBezTo>
                    <a:pt x="293" y="712"/>
                    <a:pt x="293" y="713"/>
                    <a:pt x="293" y="713"/>
                  </a:cubicBezTo>
                  <a:cubicBezTo>
                    <a:pt x="293" y="713"/>
                    <a:pt x="293" y="713"/>
                    <a:pt x="293" y="712"/>
                  </a:cubicBezTo>
                  <a:cubicBezTo>
                    <a:pt x="293" y="712"/>
                    <a:pt x="293" y="712"/>
                    <a:pt x="293" y="712"/>
                  </a:cubicBezTo>
                  <a:cubicBezTo>
                    <a:pt x="293" y="712"/>
                    <a:pt x="293" y="712"/>
                    <a:pt x="293" y="712"/>
                  </a:cubicBezTo>
                  <a:cubicBezTo>
                    <a:pt x="293" y="712"/>
                    <a:pt x="293" y="713"/>
                    <a:pt x="293" y="713"/>
                  </a:cubicBezTo>
                  <a:cubicBezTo>
                    <a:pt x="293" y="714"/>
                    <a:pt x="292" y="714"/>
                    <a:pt x="291" y="715"/>
                  </a:cubicBezTo>
                  <a:cubicBezTo>
                    <a:pt x="291" y="715"/>
                    <a:pt x="291" y="715"/>
                    <a:pt x="291" y="716"/>
                  </a:cubicBezTo>
                  <a:cubicBezTo>
                    <a:pt x="291" y="716"/>
                    <a:pt x="291" y="716"/>
                    <a:pt x="291" y="716"/>
                  </a:cubicBezTo>
                  <a:cubicBezTo>
                    <a:pt x="291" y="716"/>
                    <a:pt x="291" y="716"/>
                    <a:pt x="291" y="716"/>
                  </a:cubicBezTo>
                  <a:cubicBezTo>
                    <a:pt x="291" y="716"/>
                    <a:pt x="291" y="716"/>
                    <a:pt x="291" y="716"/>
                  </a:cubicBezTo>
                  <a:cubicBezTo>
                    <a:pt x="290" y="717"/>
                    <a:pt x="290" y="717"/>
                    <a:pt x="290" y="717"/>
                  </a:cubicBezTo>
                  <a:cubicBezTo>
                    <a:pt x="292" y="717"/>
                    <a:pt x="293" y="716"/>
                    <a:pt x="294" y="715"/>
                  </a:cubicBezTo>
                  <a:cubicBezTo>
                    <a:pt x="294" y="715"/>
                    <a:pt x="294" y="715"/>
                    <a:pt x="294" y="716"/>
                  </a:cubicBezTo>
                  <a:cubicBezTo>
                    <a:pt x="294" y="716"/>
                    <a:pt x="294" y="716"/>
                    <a:pt x="294" y="716"/>
                  </a:cubicBezTo>
                  <a:cubicBezTo>
                    <a:pt x="293" y="716"/>
                    <a:pt x="293" y="717"/>
                    <a:pt x="293" y="717"/>
                  </a:cubicBezTo>
                  <a:cubicBezTo>
                    <a:pt x="294" y="718"/>
                    <a:pt x="295" y="719"/>
                    <a:pt x="296" y="720"/>
                  </a:cubicBezTo>
                  <a:cubicBezTo>
                    <a:pt x="296" y="720"/>
                    <a:pt x="296" y="721"/>
                    <a:pt x="296" y="721"/>
                  </a:cubicBezTo>
                  <a:cubicBezTo>
                    <a:pt x="296" y="721"/>
                    <a:pt x="296" y="721"/>
                    <a:pt x="296" y="722"/>
                  </a:cubicBezTo>
                  <a:cubicBezTo>
                    <a:pt x="297" y="722"/>
                    <a:pt x="298" y="722"/>
                    <a:pt x="298" y="720"/>
                  </a:cubicBezTo>
                  <a:cubicBezTo>
                    <a:pt x="299" y="719"/>
                    <a:pt x="299" y="717"/>
                    <a:pt x="300" y="715"/>
                  </a:cubicBezTo>
                  <a:cubicBezTo>
                    <a:pt x="300" y="715"/>
                    <a:pt x="300" y="715"/>
                    <a:pt x="301" y="715"/>
                  </a:cubicBezTo>
                  <a:cubicBezTo>
                    <a:pt x="302" y="713"/>
                    <a:pt x="300" y="714"/>
                    <a:pt x="301" y="713"/>
                  </a:cubicBezTo>
                  <a:cubicBezTo>
                    <a:pt x="301" y="712"/>
                    <a:pt x="301" y="711"/>
                    <a:pt x="301" y="710"/>
                  </a:cubicBezTo>
                  <a:cubicBezTo>
                    <a:pt x="302" y="711"/>
                    <a:pt x="302" y="711"/>
                    <a:pt x="302" y="711"/>
                  </a:cubicBezTo>
                  <a:cubicBezTo>
                    <a:pt x="302" y="712"/>
                    <a:pt x="302" y="712"/>
                    <a:pt x="302" y="712"/>
                  </a:cubicBezTo>
                  <a:cubicBezTo>
                    <a:pt x="301" y="713"/>
                    <a:pt x="301" y="714"/>
                    <a:pt x="301" y="714"/>
                  </a:cubicBezTo>
                  <a:cubicBezTo>
                    <a:pt x="302" y="715"/>
                    <a:pt x="302" y="715"/>
                    <a:pt x="302" y="715"/>
                  </a:cubicBezTo>
                  <a:cubicBezTo>
                    <a:pt x="301" y="715"/>
                    <a:pt x="301" y="715"/>
                    <a:pt x="301" y="716"/>
                  </a:cubicBezTo>
                  <a:cubicBezTo>
                    <a:pt x="301" y="717"/>
                    <a:pt x="301" y="718"/>
                    <a:pt x="302" y="719"/>
                  </a:cubicBezTo>
                  <a:cubicBezTo>
                    <a:pt x="306" y="717"/>
                    <a:pt x="303" y="714"/>
                    <a:pt x="308" y="717"/>
                  </a:cubicBezTo>
                  <a:cubicBezTo>
                    <a:pt x="308" y="717"/>
                    <a:pt x="308" y="716"/>
                    <a:pt x="309" y="716"/>
                  </a:cubicBezTo>
                  <a:cubicBezTo>
                    <a:pt x="309" y="716"/>
                    <a:pt x="309" y="716"/>
                    <a:pt x="309" y="716"/>
                  </a:cubicBezTo>
                  <a:cubicBezTo>
                    <a:pt x="310" y="715"/>
                    <a:pt x="312" y="714"/>
                    <a:pt x="313" y="713"/>
                  </a:cubicBezTo>
                  <a:cubicBezTo>
                    <a:pt x="313" y="713"/>
                    <a:pt x="314" y="713"/>
                    <a:pt x="314" y="713"/>
                  </a:cubicBezTo>
                  <a:cubicBezTo>
                    <a:pt x="315" y="712"/>
                    <a:pt x="315" y="712"/>
                    <a:pt x="316" y="711"/>
                  </a:cubicBezTo>
                  <a:cubicBezTo>
                    <a:pt x="316" y="711"/>
                    <a:pt x="316" y="709"/>
                    <a:pt x="317" y="709"/>
                  </a:cubicBezTo>
                  <a:cubicBezTo>
                    <a:pt x="318" y="707"/>
                    <a:pt x="320" y="707"/>
                    <a:pt x="321" y="706"/>
                  </a:cubicBezTo>
                  <a:cubicBezTo>
                    <a:pt x="322" y="705"/>
                    <a:pt x="322" y="705"/>
                    <a:pt x="322" y="705"/>
                  </a:cubicBezTo>
                  <a:cubicBezTo>
                    <a:pt x="322" y="705"/>
                    <a:pt x="322" y="704"/>
                    <a:pt x="322" y="704"/>
                  </a:cubicBezTo>
                  <a:cubicBezTo>
                    <a:pt x="322" y="704"/>
                    <a:pt x="322" y="704"/>
                    <a:pt x="322" y="704"/>
                  </a:cubicBezTo>
                  <a:cubicBezTo>
                    <a:pt x="322" y="704"/>
                    <a:pt x="322" y="704"/>
                    <a:pt x="322" y="704"/>
                  </a:cubicBezTo>
                  <a:cubicBezTo>
                    <a:pt x="323" y="702"/>
                    <a:pt x="321" y="700"/>
                    <a:pt x="320" y="699"/>
                  </a:cubicBezTo>
                  <a:cubicBezTo>
                    <a:pt x="321" y="699"/>
                    <a:pt x="321" y="699"/>
                    <a:pt x="322" y="700"/>
                  </a:cubicBezTo>
                  <a:cubicBezTo>
                    <a:pt x="322" y="700"/>
                    <a:pt x="322" y="700"/>
                    <a:pt x="322" y="700"/>
                  </a:cubicBezTo>
                  <a:cubicBezTo>
                    <a:pt x="323" y="702"/>
                    <a:pt x="323" y="703"/>
                    <a:pt x="323" y="705"/>
                  </a:cubicBezTo>
                  <a:cubicBezTo>
                    <a:pt x="322" y="707"/>
                    <a:pt x="322" y="706"/>
                    <a:pt x="321" y="707"/>
                  </a:cubicBezTo>
                  <a:cubicBezTo>
                    <a:pt x="320" y="708"/>
                    <a:pt x="318" y="708"/>
                    <a:pt x="317" y="710"/>
                  </a:cubicBezTo>
                  <a:cubicBezTo>
                    <a:pt x="317" y="710"/>
                    <a:pt x="317" y="711"/>
                    <a:pt x="317" y="711"/>
                  </a:cubicBezTo>
                  <a:cubicBezTo>
                    <a:pt x="316" y="714"/>
                    <a:pt x="320" y="716"/>
                    <a:pt x="322" y="715"/>
                  </a:cubicBezTo>
                  <a:cubicBezTo>
                    <a:pt x="324" y="715"/>
                    <a:pt x="325" y="714"/>
                    <a:pt x="326" y="714"/>
                  </a:cubicBezTo>
                  <a:cubicBezTo>
                    <a:pt x="327" y="714"/>
                    <a:pt x="327" y="714"/>
                    <a:pt x="328" y="714"/>
                  </a:cubicBezTo>
                  <a:cubicBezTo>
                    <a:pt x="327" y="715"/>
                    <a:pt x="326" y="715"/>
                    <a:pt x="325" y="715"/>
                  </a:cubicBezTo>
                  <a:cubicBezTo>
                    <a:pt x="325" y="715"/>
                    <a:pt x="325" y="715"/>
                    <a:pt x="325" y="715"/>
                  </a:cubicBezTo>
                  <a:cubicBezTo>
                    <a:pt x="324" y="716"/>
                    <a:pt x="324" y="716"/>
                    <a:pt x="324" y="717"/>
                  </a:cubicBezTo>
                  <a:cubicBezTo>
                    <a:pt x="323" y="718"/>
                    <a:pt x="324" y="719"/>
                    <a:pt x="325" y="721"/>
                  </a:cubicBezTo>
                  <a:cubicBezTo>
                    <a:pt x="325" y="721"/>
                    <a:pt x="325" y="721"/>
                    <a:pt x="325" y="721"/>
                  </a:cubicBezTo>
                  <a:cubicBezTo>
                    <a:pt x="324" y="719"/>
                    <a:pt x="322" y="717"/>
                    <a:pt x="320" y="717"/>
                  </a:cubicBezTo>
                  <a:cubicBezTo>
                    <a:pt x="318" y="716"/>
                    <a:pt x="317" y="718"/>
                    <a:pt x="315" y="719"/>
                  </a:cubicBezTo>
                  <a:cubicBezTo>
                    <a:pt x="314" y="720"/>
                    <a:pt x="313" y="719"/>
                    <a:pt x="312" y="720"/>
                  </a:cubicBezTo>
                  <a:cubicBezTo>
                    <a:pt x="312" y="721"/>
                    <a:pt x="312" y="721"/>
                    <a:pt x="312" y="721"/>
                  </a:cubicBezTo>
                  <a:cubicBezTo>
                    <a:pt x="312" y="721"/>
                    <a:pt x="312" y="721"/>
                    <a:pt x="312" y="721"/>
                  </a:cubicBezTo>
                  <a:cubicBezTo>
                    <a:pt x="312" y="722"/>
                    <a:pt x="312" y="722"/>
                    <a:pt x="313" y="723"/>
                  </a:cubicBezTo>
                  <a:cubicBezTo>
                    <a:pt x="313" y="723"/>
                    <a:pt x="313" y="723"/>
                    <a:pt x="312" y="723"/>
                  </a:cubicBezTo>
                  <a:cubicBezTo>
                    <a:pt x="312" y="724"/>
                    <a:pt x="309" y="723"/>
                    <a:pt x="308" y="725"/>
                  </a:cubicBezTo>
                  <a:cubicBezTo>
                    <a:pt x="308" y="724"/>
                    <a:pt x="315" y="720"/>
                    <a:pt x="309" y="723"/>
                  </a:cubicBezTo>
                  <a:cubicBezTo>
                    <a:pt x="307" y="723"/>
                    <a:pt x="308" y="725"/>
                    <a:pt x="307" y="726"/>
                  </a:cubicBezTo>
                  <a:cubicBezTo>
                    <a:pt x="306" y="728"/>
                    <a:pt x="306" y="727"/>
                    <a:pt x="304" y="728"/>
                  </a:cubicBezTo>
                  <a:cubicBezTo>
                    <a:pt x="302" y="729"/>
                    <a:pt x="302" y="730"/>
                    <a:pt x="302" y="731"/>
                  </a:cubicBezTo>
                  <a:cubicBezTo>
                    <a:pt x="301" y="734"/>
                    <a:pt x="302" y="740"/>
                    <a:pt x="304" y="741"/>
                  </a:cubicBezTo>
                  <a:cubicBezTo>
                    <a:pt x="304" y="742"/>
                    <a:pt x="305" y="742"/>
                    <a:pt x="306" y="742"/>
                  </a:cubicBezTo>
                  <a:cubicBezTo>
                    <a:pt x="307" y="742"/>
                    <a:pt x="308" y="742"/>
                    <a:pt x="309" y="741"/>
                  </a:cubicBezTo>
                  <a:cubicBezTo>
                    <a:pt x="309" y="741"/>
                    <a:pt x="309" y="741"/>
                    <a:pt x="309" y="741"/>
                  </a:cubicBezTo>
                  <a:cubicBezTo>
                    <a:pt x="309" y="740"/>
                    <a:pt x="309" y="740"/>
                    <a:pt x="309" y="740"/>
                  </a:cubicBezTo>
                  <a:cubicBezTo>
                    <a:pt x="309" y="740"/>
                    <a:pt x="308" y="740"/>
                    <a:pt x="309" y="740"/>
                  </a:cubicBezTo>
                  <a:cubicBezTo>
                    <a:pt x="309" y="739"/>
                    <a:pt x="309" y="739"/>
                    <a:pt x="309" y="738"/>
                  </a:cubicBezTo>
                  <a:cubicBezTo>
                    <a:pt x="310" y="737"/>
                    <a:pt x="311" y="738"/>
                    <a:pt x="311" y="737"/>
                  </a:cubicBezTo>
                  <a:cubicBezTo>
                    <a:pt x="311" y="736"/>
                    <a:pt x="311" y="735"/>
                    <a:pt x="311" y="734"/>
                  </a:cubicBezTo>
                  <a:cubicBezTo>
                    <a:pt x="312" y="733"/>
                    <a:pt x="313" y="733"/>
                    <a:pt x="313" y="733"/>
                  </a:cubicBezTo>
                  <a:cubicBezTo>
                    <a:pt x="313" y="732"/>
                    <a:pt x="314" y="731"/>
                    <a:pt x="314" y="731"/>
                  </a:cubicBezTo>
                  <a:cubicBezTo>
                    <a:pt x="314" y="733"/>
                    <a:pt x="312" y="734"/>
                    <a:pt x="312" y="736"/>
                  </a:cubicBezTo>
                  <a:cubicBezTo>
                    <a:pt x="313" y="736"/>
                    <a:pt x="314" y="736"/>
                    <a:pt x="315" y="736"/>
                  </a:cubicBezTo>
                  <a:cubicBezTo>
                    <a:pt x="315" y="736"/>
                    <a:pt x="316" y="736"/>
                    <a:pt x="317" y="736"/>
                  </a:cubicBezTo>
                  <a:cubicBezTo>
                    <a:pt x="317" y="736"/>
                    <a:pt x="318" y="736"/>
                    <a:pt x="319" y="736"/>
                  </a:cubicBezTo>
                  <a:cubicBezTo>
                    <a:pt x="319" y="736"/>
                    <a:pt x="319" y="736"/>
                    <a:pt x="320" y="736"/>
                  </a:cubicBezTo>
                  <a:cubicBezTo>
                    <a:pt x="321" y="736"/>
                    <a:pt x="322" y="736"/>
                    <a:pt x="323" y="736"/>
                  </a:cubicBezTo>
                  <a:cubicBezTo>
                    <a:pt x="324" y="736"/>
                    <a:pt x="326" y="737"/>
                    <a:pt x="327" y="736"/>
                  </a:cubicBezTo>
                  <a:cubicBezTo>
                    <a:pt x="328" y="736"/>
                    <a:pt x="329" y="736"/>
                    <a:pt x="330" y="736"/>
                  </a:cubicBezTo>
                  <a:cubicBezTo>
                    <a:pt x="329" y="737"/>
                    <a:pt x="328" y="737"/>
                    <a:pt x="325" y="737"/>
                  </a:cubicBezTo>
                  <a:cubicBezTo>
                    <a:pt x="323" y="737"/>
                    <a:pt x="322" y="737"/>
                    <a:pt x="321" y="737"/>
                  </a:cubicBezTo>
                  <a:cubicBezTo>
                    <a:pt x="319" y="737"/>
                    <a:pt x="315" y="736"/>
                    <a:pt x="312" y="737"/>
                  </a:cubicBezTo>
                  <a:cubicBezTo>
                    <a:pt x="312" y="738"/>
                    <a:pt x="311" y="738"/>
                    <a:pt x="311" y="738"/>
                  </a:cubicBezTo>
                  <a:cubicBezTo>
                    <a:pt x="311" y="738"/>
                    <a:pt x="310" y="739"/>
                    <a:pt x="310" y="739"/>
                  </a:cubicBezTo>
                  <a:cubicBezTo>
                    <a:pt x="309" y="741"/>
                    <a:pt x="309" y="742"/>
                    <a:pt x="307" y="744"/>
                  </a:cubicBezTo>
                  <a:cubicBezTo>
                    <a:pt x="307" y="744"/>
                    <a:pt x="306" y="745"/>
                    <a:pt x="306" y="745"/>
                  </a:cubicBezTo>
                  <a:cubicBezTo>
                    <a:pt x="305" y="745"/>
                    <a:pt x="304" y="746"/>
                    <a:pt x="304" y="746"/>
                  </a:cubicBezTo>
                  <a:cubicBezTo>
                    <a:pt x="304" y="746"/>
                    <a:pt x="304" y="747"/>
                    <a:pt x="304" y="747"/>
                  </a:cubicBezTo>
                  <a:cubicBezTo>
                    <a:pt x="305" y="747"/>
                    <a:pt x="305" y="747"/>
                    <a:pt x="305" y="747"/>
                  </a:cubicBezTo>
                  <a:cubicBezTo>
                    <a:pt x="306" y="747"/>
                    <a:pt x="308" y="747"/>
                    <a:pt x="309" y="747"/>
                  </a:cubicBezTo>
                  <a:cubicBezTo>
                    <a:pt x="310" y="747"/>
                    <a:pt x="310" y="747"/>
                    <a:pt x="311" y="747"/>
                  </a:cubicBezTo>
                  <a:cubicBezTo>
                    <a:pt x="311" y="747"/>
                    <a:pt x="312" y="747"/>
                    <a:pt x="312" y="747"/>
                  </a:cubicBezTo>
                  <a:cubicBezTo>
                    <a:pt x="313" y="747"/>
                    <a:pt x="313" y="747"/>
                    <a:pt x="314" y="748"/>
                  </a:cubicBezTo>
                  <a:cubicBezTo>
                    <a:pt x="315" y="748"/>
                    <a:pt x="317" y="748"/>
                    <a:pt x="318" y="747"/>
                  </a:cubicBezTo>
                  <a:cubicBezTo>
                    <a:pt x="318" y="746"/>
                    <a:pt x="319" y="746"/>
                    <a:pt x="319" y="745"/>
                  </a:cubicBezTo>
                  <a:cubicBezTo>
                    <a:pt x="319" y="746"/>
                    <a:pt x="319" y="746"/>
                    <a:pt x="319" y="747"/>
                  </a:cubicBezTo>
                  <a:cubicBezTo>
                    <a:pt x="319" y="747"/>
                    <a:pt x="318" y="747"/>
                    <a:pt x="318" y="747"/>
                  </a:cubicBezTo>
                  <a:cubicBezTo>
                    <a:pt x="318" y="747"/>
                    <a:pt x="318" y="747"/>
                    <a:pt x="318" y="748"/>
                  </a:cubicBezTo>
                  <a:cubicBezTo>
                    <a:pt x="318" y="748"/>
                    <a:pt x="318" y="748"/>
                    <a:pt x="317" y="748"/>
                  </a:cubicBezTo>
                  <a:cubicBezTo>
                    <a:pt x="317" y="748"/>
                    <a:pt x="317" y="748"/>
                    <a:pt x="316" y="748"/>
                  </a:cubicBezTo>
                  <a:cubicBezTo>
                    <a:pt x="314" y="749"/>
                    <a:pt x="312" y="748"/>
                    <a:pt x="310" y="748"/>
                  </a:cubicBezTo>
                  <a:cubicBezTo>
                    <a:pt x="310" y="748"/>
                    <a:pt x="309" y="748"/>
                    <a:pt x="309" y="748"/>
                  </a:cubicBezTo>
                  <a:cubicBezTo>
                    <a:pt x="308" y="748"/>
                    <a:pt x="307" y="748"/>
                    <a:pt x="306" y="749"/>
                  </a:cubicBezTo>
                  <a:cubicBezTo>
                    <a:pt x="305" y="749"/>
                    <a:pt x="305" y="749"/>
                    <a:pt x="305" y="749"/>
                  </a:cubicBezTo>
                  <a:cubicBezTo>
                    <a:pt x="303" y="749"/>
                    <a:pt x="301" y="749"/>
                    <a:pt x="301" y="748"/>
                  </a:cubicBezTo>
                  <a:cubicBezTo>
                    <a:pt x="298" y="748"/>
                    <a:pt x="292" y="750"/>
                    <a:pt x="289" y="751"/>
                  </a:cubicBezTo>
                  <a:cubicBezTo>
                    <a:pt x="290" y="754"/>
                    <a:pt x="292" y="758"/>
                    <a:pt x="295" y="760"/>
                  </a:cubicBezTo>
                  <a:cubicBezTo>
                    <a:pt x="297" y="761"/>
                    <a:pt x="300" y="760"/>
                    <a:pt x="302" y="760"/>
                  </a:cubicBezTo>
                  <a:cubicBezTo>
                    <a:pt x="304" y="759"/>
                    <a:pt x="311" y="759"/>
                    <a:pt x="307" y="757"/>
                  </a:cubicBezTo>
                  <a:cubicBezTo>
                    <a:pt x="308" y="757"/>
                    <a:pt x="309" y="757"/>
                    <a:pt x="311" y="757"/>
                  </a:cubicBezTo>
                  <a:cubicBezTo>
                    <a:pt x="311" y="757"/>
                    <a:pt x="311" y="757"/>
                    <a:pt x="311" y="757"/>
                  </a:cubicBezTo>
                  <a:cubicBezTo>
                    <a:pt x="310" y="759"/>
                    <a:pt x="309" y="758"/>
                    <a:pt x="310" y="760"/>
                  </a:cubicBezTo>
                  <a:cubicBezTo>
                    <a:pt x="310" y="761"/>
                    <a:pt x="311" y="763"/>
                    <a:pt x="312" y="764"/>
                  </a:cubicBezTo>
                  <a:cubicBezTo>
                    <a:pt x="308" y="762"/>
                    <a:pt x="307" y="760"/>
                    <a:pt x="304" y="761"/>
                  </a:cubicBezTo>
                  <a:cubicBezTo>
                    <a:pt x="302" y="761"/>
                    <a:pt x="301" y="761"/>
                    <a:pt x="301" y="762"/>
                  </a:cubicBezTo>
                  <a:cubicBezTo>
                    <a:pt x="298" y="765"/>
                    <a:pt x="301" y="765"/>
                    <a:pt x="303" y="768"/>
                  </a:cubicBezTo>
                  <a:cubicBezTo>
                    <a:pt x="304" y="769"/>
                    <a:pt x="302" y="771"/>
                    <a:pt x="301" y="771"/>
                  </a:cubicBezTo>
                  <a:cubicBezTo>
                    <a:pt x="303" y="771"/>
                    <a:pt x="305" y="770"/>
                    <a:pt x="307" y="770"/>
                  </a:cubicBezTo>
                  <a:cubicBezTo>
                    <a:pt x="307" y="770"/>
                    <a:pt x="311" y="770"/>
                    <a:pt x="311" y="770"/>
                  </a:cubicBezTo>
                  <a:cubicBezTo>
                    <a:pt x="312" y="771"/>
                    <a:pt x="310" y="773"/>
                    <a:pt x="312" y="773"/>
                  </a:cubicBezTo>
                  <a:cubicBezTo>
                    <a:pt x="314" y="774"/>
                    <a:pt x="316" y="772"/>
                    <a:pt x="315" y="771"/>
                  </a:cubicBezTo>
                  <a:cubicBezTo>
                    <a:pt x="317" y="771"/>
                    <a:pt x="318" y="772"/>
                    <a:pt x="319" y="772"/>
                  </a:cubicBezTo>
                  <a:cubicBezTo>
                    <a:pt x="318" y="773"/>
                    <a:pt x="317" y="776"/>
                    <a:pt x="317" y="777"/>
                  </a:cubicBezTo>
                  <a:cubicBezTo>
                    <a:pt x="318" y="780"/>
                    <a:pt x="324" y="780"/>
                    <a:pt x="324" y="776"/>
                  </a:cubicBezTo>
                  <a:cubicBezTo>
                    <a:pt x="325" y="777"/>
                    <a:pt x="326" y="777"/>
                    <a:pt x="327" y="777"/>
                  </a:cubicBezTo>
                  <a:cubicBezTo>
                    <a:pt x="326" y="777"/>
                    <a:pt x="326" y="776"/>
                    <a:pt x="326" y="776"/>
                  </a:cubicBezTo>
                  <a:cubicBezTo>
                    <a:pt x="329" y="777"/>
                    <a:pt x="330" y="779"/>
                    <a:pt x="331" y="782"/>
                  </a:cubicBezTo>
                  <a:cubicBezTo>
                    <a:pt x="332" y="785"/>
                    <a:pt x="333" y="782"/>
                    <a:pt x="334" y="782"/>
                  </a:cubicBezTo>
                  <a:cubicBezTo>
                    <a:pt x="335" y="782"/>
                    <a:pt x="336" y="781"/>
                    <a:pt x="335" y="782"/>
                  </a:cubicBezTo>
                  <a:cubicBezTo>
                    <a:pt x="334" y="785"/>
                    <a:pt x="334" y="784"/>
                    <a:pt x="336" y="785"/>
                  </a:cubicBezTo>
                  <a:cubicBezTo>
                    <a:pt x="338" y="785"/>
                    <a:pt x="341" y="785"/>
                    <a:pt x="343" y="785"/>
                  </a:cubicBezTo>
                  <a:cubicBezTo>
                    <a:pt x="340" y="786"/>
                    <a:pt x="334" y="785"/>
                    <a:pt x="332" y="788"/>
                  </a:cubicBezTo>
                  <a:cubicBezTo>
                    <a:pt x="332" y="789"/>
                    <a:pt x="332" y="793"/>
                    <a:pt x="333" y="794"/>
                  </a:cubicBezTo>
                  <a:cubicBezTo>
                    <a:pt x="336" y="791"/>
                    <a:pt x="335" y="792"/>
                    <a:pt x="339" y="792"/>
                  </a:cubicBezTo>
                  <a:cubicBezTo>
                    <a:pt x="339" y="791"/>
                    <a:pt x="346" y="793"/>
                    <a:pt x="347" y="792"/>
                  </a:cubicBezTo>
                  <a:cubicBezTo>
                    <a:pt x="347" y="793"/>
                    <a:pt x="345" y="797"/>
                    <a:pt x="345" y="797"/>
                  </a:cubicBezTo>
                  <a:cubicBezTo>
                    <a:pt x="346" y="800"/>
                    <a:pt x="350" y="796"/>
                    <a:pt x="350" y="794"/>
                  </a:cubicBezTo>
                  <a:cubicBezTo>
                    <a:pt x="350" y="796"/>
                    <a:pt x="349" y="797"/>
                    <a:pt x="350" y="798"/>
                  </a:cubicBezTo>
                  <a:cubicBezTo>
                    <a:pt x="351" y="799"/>
                    <a:pt x="351" y="800"/>
                    <a:pt x="351" y="800"/>
                  </a:cubicBezTo>
                  <a:cubicBezTo>
                    <a:pt x="352" y="800"/>
                    <a:pt x="353" y="799"/>
                    <a:pt x="354" y="799"/>
                  </a:cubicBezTo>
                  <a:cubicBezTo>
                    <a:pt x="353" y="800"/>
                    <a:pt x="352" y="802"/>
                    <a:pt x="351" y="802"/>
                  </a:cubicBezTo>
                  <a:cubicBezTo>
                    <a:pt x="350" y="802"/>
                    <a:pt x="347" y="801"/>
                    <a:pt x="349" y="803"/>
                  </a:cubicBezTo>
                  <a:cubicBezTo>
                    <a:pt x="350" y="805"/>
                    <a:pt x="358" y="804"/>
                    <a:pt x="360" y="804"/>
                  </a:cubicBezTo>
                  <a:cubicBezTo>
                    <a:pt x="362" y="805"/>
                    <a:pt x="364" y="805"/>
                    <a:pt x="366" y="805"/>
                  </a:cubicBezTo>
                  <a:cubicBezTo>
                    <a:pt x="371" y="806"/>
                    <a:pt x="372" y="803"/>
                    <a:pt x="373" y="798"/>
                  </a:cubicBezTo>
                  <a:cubicBezTo>
                    <a:pt x="373" y="801"/>
                    <a:pt x="373" y="803"/>
                    <a:pt x="371" y="805"/>
                  </a:cubicBezTo>
                  <a:cubicBezTo>
                    <a:pt x="369" y="807"/>
                    <a:pt x="368" y="808"/>
                    <a:pt x="366" y="810"/>
                  </a:cubicBezTo>
                  <a:cubicBezTo>
                    <a:pt x="365" y="811"/>
                    <a:pt x="363" y="812"/>
                    <a:pt x="366" y="813"/>
                  </a:cubicBezTo>
                  <a:cubicBezTo>
                    <a:pt x="374" y="816"/>
                    <a:pt x="382" y="819"/>
                    <a:pt x="389" y="822"/>
                  </a:cubicBezTo>
                  <a:cubicBezTo>
                    <a:pt x="393" y="823"/>
                    <a:pt x="397" y="824"/>
                    <a:pt x="400" y="826"/>
                  </a:cubicBezTo>
                  <a:cubicBezTo>
                    <a:pt x="401" y="826"/>
                    <a:pt x="402" y="826"/>
                    <a:pt x="402" y="825"/>
                  </a:cubicBezTo>
                  <a:cubicBezTo>
                    <a:pt x="402" y="825"/>
                    <a:pt x="403" y="826"/>
                    <a:pt x="403" y="826"/>
                  </a:cubicBezTo>
                  <a:cubicBezTo>
                    <a:pt x="404" y="827"/>
                    <a:pt x="404" y="826"/>
                    <a:pt x="405" y="826"/>
                  </a:cubicBezTo>
                  <a:cubicBezTo>
                    <a:pt x="406" y="825"/>
                    <a:pt x="405" y="824"/>
                    <a:pt x="404" y="822"/>
                  </a:cubicBezTo>
                  <a:cubicBezTo>
                    <a:pt x="404" y="822"/>
                    <a:pt x="405" y="822"/>
                    <a:pt x="405" y="822"/>
                  </a:cubicBezTo>
                  <a:cubicBezTo>
                    <a:pt x="405" y="822"/>
                    <a:pt x="406" y="823"/>
                    <a:pt x="407" y="823"/>
                  </a:cubicBezTo>
                  <a:cubicBezTo>
                    <a:pt x="410" y="822"/>
                    <a:pt x="408" y="820"/>
                    <a:pt x="407" y="818"/>
                  </a:cubicBezTo>
                  <a:cubicBezTo>
                    <a:pt x="405" y="815"/>
                    <a:pt x="406" y="815"/>
                    <a:pt x="402" y="816"/>
                  </a:cubicBezTo>
                  <a:cubicBezTo>
                    <a:pt x="403" y="813"/>
                    <a:pt x="401" y="814"/>
                    <a:pt x="400" y="813"/>
                  </a:cubicBezTo>
                  <a:cubicBezTo>
                    <a:pt x="400" y="812"/>
                    <a:pt x="402" y="812"/>
                    <a:pt x="401" y="810"/>
                  </a:cubicBezTo>
                  <a:cubicBezTo>
                    <a:pt x="400" y="808"/>
                    <a:pt x="396" y="807"/>
                    <a:pt x="396" y="805"/>
                  </a:cubicBezTo>
                  <a:cubicBezTo>
                    <a:pt x="395" y="804"/>
                    <a:pt x="398" y="804"/>
                    <a:pt x="396" y="802"/>
                  </a:cubicBezTo>
                  <a:cubicBezTo>
                    <a:pt x="395" y="801"/>
                    <a:pt x="394" y="801"/>
                    <a:pt x="393" y="800"/>
                  </a:cubicBezTo>
                  <a:cubicBezTo>
                    <a:pt x="392" y="799"/>
                    <a:pt x="393" y="799"/>
                    <a:pt x="392" y="798"/>
                  </a:cubicBezTo>
                  <a:cubicBezTo>
                    <a:pt x="391" y="798"/>
                    <a:pt x="389" y="797"/>
                    <a:pt x="388" y="797"/>
                  </a:cubicBezTo>
                  <a:cubicBezTo>
                    <a:pt x="389" y="796"/>
                    <a:pt x="384" y="795"/>
                    <a:pt x="382" y="794"/>
                  </a:cubicBezTo>
                  <a:cubicBezTo>
                    <a:pt x="379" y="794"/>
                    <a:pt x="378" y="793"/>
                    <a:pt x="375" y="792"/>
                  </a:cubicBezTo>
                  <a:cubicBezTo>
                    <a:pt x="374" y="791"/>
                    <a:pt x="374" y="791"/>
                    <a:pt x="372" y="790"/>
                  </a:cubicBezTo>
                  <a:cubicBezTo>
                    <a:pt x="372" y="789"/>
                    <a:pt x="371" y="788"/>
                    <a:pt x="371" y="787"/>
                  </a:cubicBezTo>
                  <a:cubicBezTo>
                    <a:pt x="370" y="786"/>
                    <a:pt x="369" y="786"/>
                    <a:pt x="369" y="785"/>
                  </a:cubicBezTo>
                  <a:cubicBezTo>
                    <a:pt x="369" y="784"/>
                    <a:pt x="370" y="784"/>
                    <a:pt x="370" y="783"/>
                  </a:cubicBezTo>
                  <a:cubicBezTo>
                    <a:pt x="370" y="782"/>
                    <a:pt x="368" y="781"/>
                    <a:pt x="367" y="780"/>
                  </a:cubicBezTo>
                  <a:cubicBezTo>
                    <a:pt x="365" y="778"/>
                    <a:pt x="364" y="776"/>
                    <a:pt x="363" y="774"/>
                  </a:cubicBezTo>
                  <a:cubicBezTo>
                    <a:pt x="362" y="773"/>
                    <a:pt x="361" y="772"/>
                    <a:pt x="360" y="772"/>
                  </a:cubicBezTo>
                  <a:cubicBezTo>
                    <a:pt x="361" y="772"/>
                    <a:pt x="363" y="772"/>
                    <a:pt x="364" y="773"/>
                  </a:cubicBezTo>
                  <a:cubicBezTo>
                    <a:pt x="364" y="773"/>
                    <a:pt x="364" y="773"/>
                    <a:pt x="364" y="773"/>
                  </a:cubicBezTo>
                  <a:cubicBezTo>
                    <a:pt x="364" y="774"/>
                    <a:pt x="365" y="774"/>
                    <a:pt x="365" y="775"/>
                  </a:cubicBezTo>
                  <a:cubicBezTo>
                    <a:pt x="365" y="774"/>
                    <a:pt x="365" y="774"/>
                    <a:pt x="364" y="773"/>
                  </a:cubicBezTo>
                  <a:cubicBezTo>
                    <a:pt x="365" y="774"/>
                    <a:pt x="365" y="774"/>
                    <a:pt x="366" y="774"/>
                  </a:cubicBezTo>
                  <a:cubicBezTo>
                    <a:pt x="366" y="773"/>
                    <a:pt x="366" y="772"/>
                    <a:pt x="367" y="771"/>
                  </a:cubicBezTo>
                  <a:cubicBezTo>
                    <a:pt x="368" y="771"/>
                    <a:pt x="368" y="771"/>
                    <a:pt x="369" y="771"/>
                  </a:cubicBezTo>
                  <a:cubicBezTo>
                    <a:pt x="368" y="771"/>
                    <a:pt x="368" y="772"/>
                    <a:pt x="368" y="772"/>
                  </a:cubicBezTo>
                  <a:cubicBezTo>
                    <a:pt x="368" y="772"/>
                    <a:pt x="368" y="773"/>
                    <a:pt x="368" y="773"/>
                  </a:cubicBezTo>
                  <a:cubicBezTo>
                    <a:pt x="367" y="773"/>
                    <a:pt x="367" y="773"/>
                    <a:pt x="367" y="773"/>
                  </a:cubicBezTo>
                  <a:cubicBezTo>
                    <a:pt x="367" y="773"/>
                    <a:pt x="367" y="774"/>
                    <a:pt x="367" y="774"/>
                  </a:cubicBezTo>
                  <a:cubicBezTo>
                    <a:pt x="367" y="775"/>
                    <a:pt x="367" y="777"/>
                    <a:pt x="367" y="777"/>
                  </a:cubicBezTo>
                  <a:cubicBezTo>
                    <a:pt x="368" y="777"/>
                    <a:pt x="369" y="776"/>
                    <a:pt x="368" y="775"/>
                  </a:cubicBezTo>
                  <a:cubicBezTo>
                    <a:pt x="371" y="775"/>
                    <a:pt x="372" y="778"/>
                    <a:pt x="374" y="777"/>
                  </a:cubicBezTo>
                  <a:cubicBezTo>
                    <a:pt x="375" y="777"/>
                    <a:pt x="375" y="775"/>
                    <a:pt x="376" y="775"/>
                  </a:cubicBezTo>
                  <a:cubicBezTo>
                    <a:pt x="377" y="774"/>
                    <a:pt x="379" y="775"/>
                    <a:pt x="380" y="774"/>
                  </a:cubicBezTo>
                  <a:cubicBezTo>
                    <a:pt x="381" y="774"/>
                    <a:pt x="382" y="773"/>
                    <a:pt x="383" y="772"/>
                  </a:cubicBezTo>
                  <a:cubicBezTo>
                    <a:pt x="383" y="773"/>
                    <a:pt x="381" y="774"/>
                    <a:pt x="379" y="775"/>
                  </a:cubicBezTo>
                  <a:cubicBezTo>
                    <a:pt x="377" y="775"/>
                    <a:pt x="375" y="776"/>
                    <a:pt x="375" y="777"/>
                  </a:cubicBezTo>
                  <a:cubicBezTo>
                    <a:pt x="375" y="778"/>
                    <a:pt x="375" y="778"/>
                    <a:pt x="376" y="779"/>
                  </a:cubicBezTo>
                  <a:cubicBezTo>
                    <a:pt x="376" y="780"/>
                    <a:pt x="376" y="781"/>
                    <a:pt x="377" y="782"/>
                  </a:cubicBezTo>
                  <a:cubicBezTo>
                    <a:pt x="377" y="782"/>
                    <a:pt x="377" y="782"/>
                    <a:pt x="377" y="782"/>
                  </a:cubicBezTo>
                  <a:cubicBezTo>
                    <a:pt x="376" y="782"/>
                    <a:pt x="376" y="782"/>
                    <a:pt x="377" y="783"/>
                  </a:cubicBezTo>
                  <a:cubicBezTo>
                    <a:pt x="376" y="783"/>
                    <a:pt x="376" y="783"/>
                    <a:pt x="376" y="784"/>
                  </a:cubicBezTo>
                  <a:cubicBezTo>
                    <a:pt x="376" y="784"/>
                    <a:pt x="376" y="784"/>
                    <a:pt x="376" y="784"/>
                  </a:cubicBezTo>
                  <a:cubicBezTo>
                    <a:pt x="376" y="785"/>
                    <a:pt x="375" y="786"/>
                    <a:pt x="376" y="788"/>
                  </a:cubicBezTo>
                  <a:cubicBezTo>
                    <a:pt x="375" y="787"/>
                    <a:pt x="374" y="786"/>
                    <a:pt x="372" y="786"/>
                  </a:cubicBezTo>
                  <a:cubicBezTo>
                    <a:pt x="373" y="786"/>
                    <a:pt x="373" y="786"/>
                    <a:pt x="373" y="787"/>
                  </a:cubicBezTo>
                  <a:cubicBezTo>
                    <a:pt x="375" y="789"/>
                    <a:pt x="380" y="791"/>
                    <a:pt x="384" y="793"/>
                  </a:cubicBezTo>
                  <a:cubicBezTo>
                    <a:pt x="384" y="793"/>
                    <a:pt x="385" y="793"/>
                    <a:pt x="385" y="793"/>
                  </a:cubicBezTo>
                  <a:cubicBezTo>
                    <a:pt x="385" y="793"/>
                    <a:pt x="385" y="793"/>
                    <a:pt x="385" y="793"/>
                  </a:cubicBezTo>
                  <a:cubicBezTo>
                    <a:pt x="387" y="794"/>
                    <a:pt x="388" y="794"/>
                    <a:pt x="389" y="794"/>
                  </a:cubicBezTo>
                  <a:cubicBezTo>
                    <a:pt x="389" y="794"/>
                    <a:pt x="389" y="794"/>
                    <a:pt x="389" y="794"/>
                  </a:cubicBezTo>
                  <a:cubicBezTo>
                    <a:pt x="390" y="793"/>
                    <a:pt x="390" y="793"/>
                    <a:pt x="390" y="793"/>
                  </a:cubicBezTo>
                  <a:cubicBezTo>
                    <a:pt x="390" y="793"/>
                    <a:pt x="390" y="793"/>
                    <a:pt x="390" y="792"/>
                  </a:cubicBezTo>
                  <a:cubicBezTo>
                    <a:pt x="390" y="792"/>
                    <a:pt x="390" y="792"/>
                    <a:pt x="390" y="792"/>
                  </a:cubicBezTo>
                  <a:cubicBezTo>
                    <a:pt x="390" y="792"/>
                    <a:pt x="390" y="792"/>
                    <a:pt x="390" y="791"/>
                  </a:cubicBezTo>
                  <a:cubicBezTo>
                    <a:pt x="390" y="791"/>
                    <a:pt x="390" y="790"/>
                    <a:pt x="391" y="790"/>
                  </a:cubicBezTo>
                  <a:cubicBezTo>
                    <a:pt x="392" y="790"/>
                    <a:pt x="392" y="791"/>
                    <a:pt x="393" y="791"/>
                  </a:cubicBezTo>
                  <a:cubicBezTo>
                    <a:pt x="393" y="791"/>
                    <a:pt x="393" y="791"/>
                    <a:pt x="393" y="791"/>
                  </a:cubicBezTo>
                  <a:cubicBezTo>
                    <a:pt x="392" y="790"/>
                    <a:pt x="391" y="789"/>
                    <a:pt x="392" y="788"/>
                  </a:cubicBezTo>
                  <a:cubicBezTo>
                    <a:pt x="392" y="788"/>
                    <a:pt x="392" y="787"/>
                    <a:pt x="392" y="787"/>
                  </a:cubicBezTo>
                  <a:cubicBezTo>
                    <a:pt x="393" y="787"/>
                    <a:pt x="393" y="786"/>
                    <a:pt x="394" y="786"/>
                  </a:cubicBezTo>
                  <a:cubicBezTo>
                    <a:pt x="394" y="786"/>
                    <a:pt x="395" y="786"/>
                    <a:pt x="395" y="786"/>
                  </a:cubicBezTo>
                  <a:cubicBezTo>
                    <a:pt x="395" y="786"/>
                    <a:pt x="395" y="786"/>
                    <a:pt x="395" y="786"/>
                  </a:cubicBezTo>
                  <a:cubicBezTo>
                    <a:pt x="395" y="786"/>
                    <a:pt x="395" y="786"/>
                    <a:pt x="395" y="786"/>
                  </a:cubicBezTo>
                  <a:cubicBezTo>
                    <a:pt x="395" y="785"/>
                    <a:pt x="395" y="785"/>
                    <a:pt x="395" y="785"/>
                  </a:cubicBezTo>
                  <a:cubicBezTo>
                    <a:pt x="395" y="785"/>
                    <a:pt x="395" y="785"/>
                    <a:pt x="395" y="784"/>
                  </a:cubicBezTo>
                  <a:cubicBezTo>
                    <a:pt x="395" y="784"/>
                    <a:pt x="395" y="784"/>
                    <a:pt x="395" y="784"/>
                  </a:cubicBezTo>
                  <a:cubicBezTo>
                    <a:pt x="394" y="783"/>
                    <a:pt x="393" y="782"/>
                    <a:pt x="392" y="781"/>
                  </a:cubicBezTo>
                  <a:cubicBezTo>
                    <a:pt x="393" y="782"/>
                    <a:pt x="395" y="782"/>
                    <a:pt x="395" y="783"/>
                  </a:cubicBezTo>
                  <a:cubicBezTo>
                    <a:pt x="395" y="783"/>
                    <a:pt x="396" y="783"/>
                    <a:pt x="396" y="783"/>
                  </a:cubicBezTo>
                  <a:cubicBezTo>
                    <a:pt x="396" y="783"/>
                    <a:pt x="396" y="783"/>
                    <a:pt x="396" y="783"/>
                  </a:cubicBezTo>
                  <a:cubicBezTo>
                    <a:pt x="396" y="784"/>
                    <a:pt x="396" y="784"/>
                    <a:pt x="396" y="785"/>
                  </a:cubicBezTo>
                  <a:cubicBezTo>
                    <a:pt x="396" y="785"/>
                    <a:pt x="396" y="785"/>
                    <a:pt x="396" y="785"/>
                  </a:cubicBezTo>
                  <a:cubicBezTo>
                    <a:pt x="396" y="785"/>
                    <a:pt x="396" y="785"/>
                    <a:pt x="396" y="785"/>
                  </a:cubicBezTo>
                  <a:cubicBezTo>
                    <a:pt x="396" y="786"/>
                    <a:pt x="395" y="786"/>
                    <a:pt x="394" y="787"/>
                  </a:cubicBezTo>
                  <a:cubicBezTo>
                    <a:pt x="394" y="787"/>
                    <a:pt x="393" y="787"/>
                    <a:pt x="393" y="787"/>
                  </a:cubicBezTo>
                  <a:cubicBezTo>
                    <a:pt x="393" y="788"/>
                    <a:pt x="393" y="788"/>
                    <a:pt x="393" y="788"/>
                  </a:cubicBezTo>
                  <a:cubicBezTo>
                    <a:pt x="392" y="789"/>
                    <a:pt x="394" y="791"/>
                    <a:pt x="394" y="793"/>
                  </a:cubicBezTo>
                  <a:cubicBezTo>
                    <a:pt x="394" y="793"/>
                    <a:pt x="394" y="793"/>
                    <a:pt x="394" y="794"/>
                  </a:cubicBezTo>
                  <a:cubicBezTo>
                    <a:pt x="394" y="794"/>
                    <a:pt x="394" y="794"/>
                    <a:pt x="394" y="794"/>
                  </a:cubicBezTo>
                  <a:cubicBezTo>
                    <a:pt x="394" y="794"/>
                    <a:pt x="394" y="794"/>
                    <a:pt x="394" y="795"/>
                  </a:cubicBezTo>
                  <a:cubicBezTo>
                    <a:pt x="394" y="796"/>
                    <a:pt x="397" y="797"/>
                    <a:pt x="398" y="797"/>
                  </a:cubicBezTo>
                  <a:cubicBezTo>
                    <a:pt x="400" y="798"/>
                    <a:pt x="401" y="797"/>
                    <a:pt x="402" y="797"/>
                  </a:cubicBezTo>
                  <a:cubicBezTo>
                    <a:pt x="402" y="797"/>
                    <a:pt x="402" y="797"/>
                    <a:pt x="401" y="798"/>
                  </a:cubicBezTo>
                  <a:cubicBezTo>
                    <a:pt x="401" y="798"/>
                    <a:pt x="401" y="798"/>
                    <a:pt x="401" y="798"/>
                  </a:cubicBezTo>
                  <a:cubicBezTo>
                    <a:pt x="400" y="798"/>
                    <a:pt x="399" y="798"/>
                    <a:pt x="398" y="799"/>
                  </a:cubicBezTo>
                  <a:cubicBezTo>
                    <a:pt x="397" y="800"/>
                    <a:pt x="397" y="801"/>
                    <a:pt x="397" y="802"/>
                  </a:cubicBezTo>
                  <a:cubicBezTo>
                    <a:pt x="398" y="803"/>
                    <a:pt x="399" y="804"/>
                    <a:pt x="401" y="805"/>
                  </a:cubicBezTo>
                  <a:cubicBezTo>
                    <a:pt x="402" y="805"/>
                    <a:pt x="403" y="806"/>
                    <a:pt x="404" y="805"/>
                  </a:cubicBezTo>
                  <a:cubicBezTo>
                    <a:pt x="404" y="805"/>
                    <a:pt x="404" y="805"/>
                    <a:pt x="404" y="805"/>
                  </a:cubicBezTo>
                  <a:cubicBezTo>
                    <a:pt x="404" y="805"/>
                    <a:pt x="404" y="805"/>
                    <a:pt x="404" y="805"/>
                  </a:cubicBezTo>
                  <a:cubicBezTo>
                    <a:pt x="404" y="805"/>
                    <a:pt x="404" y="805"/>
                    <a:pt x="404" y="805"/>
                  </a:cubicBezTo>
                  <a:cubicBezTo>
                    <a:pt x="404" y="805"/>
                    <a:pt x="404" y="805"/>
                    <a:pt x="404" y="805"/>
                  </a:cubicBezTo>
                  <a:cubicBezTo>
                    <a:pt x="404" y="804"/>
                    <a:pt x="404" y="804"/>
                    <a:pt x="404" y="804"/>
                  </a:cubicBezTo>
                  <a:cubicBezTo>
                    <a:pt x="403" y="804"/>
                    <a:pt x="403" y="803"/>
                    <a:pt x="403" y="803"/>
                  </a:cubicBezTo>
                  <a:cubicBezTo>
                    <a:pt x="404" y="803"/>
                    <a:pt x="404" y="802"/>
                    <a:pt x="405" y="802"/>
                  </a:cubicBezTo>
                  <a:cubicBezTo>
                    <a:pt x="405" y="802"/>
                    <a:pt x="405" y="802"/>
                    <a:pt x="405" y="802"/>
                  </a:cubicBezTo>
                  <a:cubicBezTo>
                    <a:pt x="405" y="801"/>
                    <a:pt x="405" y="801"/>
                    <a:pt x="406" y="801"/>
                  </a:cubicBezTo>
                  <a:cubicBezTo>
                    <a:pt x="407" y="801"/>
                    <a:pt x="408" y="800"/>
                    <a:pt x="409" y="800"/>
                  </a:cubicBezTo>
                  <a:cubicBezTo>
                    <a:pt x="409" y="799"/>
                    <a:pt x="410" y="799"/>
                    <a:pt x="410" y="798"/>
                  </a:cubicBezTo>
                  <a:cubicBezTo>
                    <a:pt x="410" y="798"/>
                    <a:pt x="410" y="798"/>
                    <a:pt x="410" y="798"/>
                  </a:cubicBezTo>
                  <a:cubicBezTo>
                    <a:pt x="410" y="798"/>
                    <a:pt x="410" y="798"/>
                    <a:pt x="410" y="798"/>
                  </a:cubicBezTo>
                  <a:cubicBezTo>
                    <a:pt x="410" y="798"/>
                    <a:pt x="410" y="798"/>
                    <a:pt x="410" y="797"/>
                  </a:cubicBezTo>
                  <a:cubicBezTo>
                    <a:pt x="410" y="797"/>
                    <a:pt x="411" y="797"/>
                    <a:pt x="411" y="797"/>
                  </a:cubicBezTo>
                  <a:cubicBezTo>
                    <a:pt x="411" y="798"/>
                    <a:pt x="410" y="802"/>
                    <a:pt x="409" y="805"/>
                  </a:cubicBezTo>
                  <a:cubicBezTo>
                    <a:pt x="410" y="804"/>
                    <a:pt x="411" y="804"/>
                    <a:pt x="412" y="804"/>
                  </a:cubicBezTo>
                  <a:cubicBezTo>
                    <a:pt x="414" y="804"/>
                    <a:pt x="415" y="805"/>
                    <a:pt x="417" y="806"/>
                  </a:cubicBezTo>
                  <a:cubicBezTo>
                    <a:pt x="417" y="806"/>
                    <a:pt x="417" y="805"/>
                    <a:pt x="418" y="805"/>
                  </a:cubicBezTo>
                  <a:cubicBezTo>
                    <a:pt x="418" y="805"/>
                    <a:pt x="418" y="805"/>
                    <a:pt x="418" y="804"/>
                  </a:cubicBezTo>
                  <a:cubicBezTo>
                    <a:pt x="418" y="804"/>
                    <a:pt x="418" y="804"/>
                    <a:pt x="418" y="804"/>
                  </a:cubicBezTo>
                  <a:cubicBezTo>
                    <a:pt x="418" y="804"/>
                    <a:pt x="418" y="804"/>
                    <a:pt x="418" y="804"/>
                  </a:cubicBezTo>
                  <a:cubicBezTo>
                    <a:pt x="418" y="804"/>
                    <a:pt x="418" y="804"/>
                    <a:pt x="418" y="804"/>
                  </a:cubicBezTo>
                  <a:cubicBezTo>
                    <a:pt x="418" y="804"/>
                    <a:pt x="418" y="804"/>
                    <a:pt x="418" y="804"/>
                  </a:cubicBezTo>
                  <a:cubicBezTo>
                    <a:pt x="418" y="804"/>
                    <a:pt x="418" y="805"/>
                    <a:pt x="418" y="805"/>
                  </a:cubicBezTo>
                  <a:cubicBezTo>
                    <a:pt x="418" y="806"/>
                    <a:pt x="418" y="806"/>
                    <a:pt x="417" y="807"/>
                  </a:cubicBezTo>
                  <a:cubicBezTo>
                    <a:pt x="418" y="808"/>
                    <a:pt x="418" y="809"/>
                    <a:pt x="418" y="810"/>
                  </a:cubicBezTo>
                  <a:cubicBezTo>
                    <a:pt x="418" y="813"/>
                    <a:pt x="416" y="815"/>
                    <a:pt x="413" y="816"/>
                  </a:cubicBezTo>
                  <a:cubicBezTo>
                    <a:pt x="413" y="817"/>
                    <a:pt x="413" y="817"/>
                    <a:pt x="413" y="818"/>
                  </a:cubicBezTo>
                  <a:cubicBezTo>
                    <a:pt x="414" y="818"/>
                    <a:pt x="416" y="818"/>
                    <a:pt x="417" y="818"/>
                  </a:cubicBezTo>
                  <a:cubicBezTo>
                    <a:pt x="417" y="817"/>
                    <a:pt x="417" y="817"/>
                    <a:pt x="417" y="817"/>
                  </a:cubicBezTo>
                  <a:cubicBezTo>
                    <a:pt x="420" y="815"/>
                    <a:pt x="420" y="815"/>
                    <a:pt x="420" y="815"/>
                  </a:cubicBezTo>
                  <a:cubicBezTo>
                    <a:pt x="420" y="815"/>
                    <a:pt x="420" y="815"/>
                    <a:pt x="420" y="815"/>
                  </a:cubicBezTo>
                  <a:cubicBezTo>
                    <a:pt x="483" y="815"/>
                    <a:pt x="483" y="815"/>
                    <a:pt x="483" y="815"/>
                  </a:cubicBezTo>
                  <a:cubicBezTo>
                    <a:pt x="744" y="815"/>
                    <a:pt x="744" y="815"/>
                    <a:pt x="744" y="815"/>
                  </a:cubicBezTo>
                  <a:cubicBezTo>
                    <a:pt x="750" y="815"/>
                    <a:pt x="835" y="815"/>
                    <a:pt x="835" y="815"/>
                  </a:cubicBezTo>
                  <a:cubicBezTo>
                    <a:pt x="839" y="815"/>
                    <a:pt x="844" y="815"/>
                    <a:pt x="844" y="815"/>
                  </a:cubicBezTo>
                  <a:cubicBezTo>
                    <a:pt x="846" y="815"/>
                    <a:pt x="853" y="815"/>
                    <a:pt x="854" y="815"/>
                  </a:cubicBezTo>
                  <a:cubicBezTo>
                    <a:pt x="856" y="815"/>
                    <a:pt x="954" y="815"/>
                    <a:pt x="1007" y="815"/>
                  </a:cubicBezTo>
                  <a:cubicBezTo>
                    <a:pt x="1047" y="815"/>
                    <a:pt x="1047" y="815"/>
                    <a:pt x="1047" y="815"/>
                  </a:cubicBezTo>
                  <a:cubicBezTo>
                    <a:pt x="1055" y="816"/>
                    <a:pt x="1058" y="816"/>
                    <a:pt x="1060" y="815"/>
                  </a:cubicBezTo>
                  <a:cubicBezTo>
                    <a:pt x="1060" y="813"/>
                    <a:pt x="1060" y="809"/>
                    <a:pt x="1060" y="808"/>
                  </a:cubicBezTo>
                  <a:cubicBezTo>
                    <a:pt x="1057" y="803"/>
                    <a:pt x="1057" y="803"/>
                    <a:pt x="1057" y="803"/>
                  </a:cubicBezTo>
                  <a:cubicBezTo>
                    <a:pt x="1063" y="804"/>
                    <a:pt x="1063" y="804"/>
                    <a:pt x="1063" y="804"/>
                  </a:cubicBezTo>
                  <a:cubicBezTo>
                    <a:pt x="1066" y="804"/>
                    <a:pt x="1073" y="805"/>
                    <a:pt x="1073" y="812"/>
                  </a:cubicBezTo>
                  <a:cubicBezTo>
                    <a:pt x="1073" y="814"/>
                    <a:pt x="1076" y="822"/>
                    <a:pt x="1077" y="823"/>
                  </a:cubicBezTo>
                  <a:cubicBezTo>
                    <a:pt x="1078" y="824"/>
                    <a:pt x="1078" y="824"/>
                    <a:pt x="1078" y="824"/>
                  </a:cubicBezTo>
                  <a:cubicBezTo>
                    <a:pt x="1081" y="823"/>
                    <a:pt x="1085" y="825"/>
                    <a:pt x="1086" y="826"/>
                  </a:cubicBezTo>
                  <a:cubicBezTo>
                    <a:pt x="1087" y="827"/>
                    <a:pt x="1097" y="831"/>
                    <a:pt x="1100" y="828"/>
                  </a:cubicBezTo>
                  <a:cubicBezTo>
                    <a:pt x="1104" y="825"/>
                    <a:pt x="1109" y="826"/>
                    <a:pt x="1113" y="827"/>
                  </a:cubicBezTo>
                  <a:cubicBezTo>
                    <a:pt x="1114" y="827"/>
                    <a:pt x="1114" y="827"/>
                    <a:pt x="1115" y="828"/>
                  </a:cubicBezTo>
                  <a:cubicBezTo>
                    <a:pt x="1120" y="828"/>
                    <a:pt x="1126" y="831"/>
                    <a:pt x="1128" y="836"/>
                  </a:cubicBezTo>
                  <a:cubicBezTo>
                    <a:pt x="1128" y="836"/>
                    <a:pt x="1128" y="836"/>
                    <a:pt x="1128" y="836"/>
                  </a:cubicBezTo>
                  <a:cubicBezTo>
                    <a:pt x="1131" y="834"/>
                    <a:pt x="1135" y="834"/>
                    <a:pt x="1138" y="836"/>
                  </a:cubicBezTo>
                  <a:cubicBezTo>
                    <a:pt x="1138" y="837"/>
                    <a:pt x="1139" y="837"/>
                    <a:pt x="1140" y="838"/>
                  </a:cubicBezTo>
                  <a:cubicBezTo>
                    <a:pt x="1145" y="843"/>
                    <a:pt x="1148" y="845"/>
                    <a:pt x="1152" y="842"/>
                  </a:cubicBezTo>
                  <a:cubicBezTo>
                    <a:pt x="1157" y="838"/>
                    <a:pt x="1161" y="837"/>
                    <a:pt x="1163" y="838"/>
                  </a:cubicBezTo>
                  <a:cubicBezTo>
                    <a:pt x="1164" y="839"/>
                    <a:pt x="1165" y="840"/>
                    <a:pt x="1165" y="841"/>
                  </a:cubicBezTo>
                  <a:cubicBezTo>
                    <a:pt x="1166" y="841"/>
                    <a:pt x="1166" y="841"/>
                    <a:pt x="1166" y="841"/>
                  </a:cubicBezTo>
                  <a:cubicBezTo>
                    <a:pt x="1166" y="842"/>
                    <a:pt x="1166" y="842"/>
                    <a:pt x="1166" y="842"/>
                  </a:cubicBezTo>
                  <a:cubicBezTo>
                    <a:pt x="1169" y="842"/>
                    <a:pt x="1179" y="844"/>
                    <a:pt x="1182" y="844"/>
                  </a:cubicBezTo>
                  <a:cubicBezTo>
                    <a:pt x="1183" y="844"/>
                    <a:pt x="1185" y="845"/>
                    <a:pt x="1192" y="845"/>
                  </a:cubicBezTo>
                  <a:cubicBezTo>
                    <a:pt x="1193" y="845"/>
                    <a:pt x="1193" y="845"/>
                    <a:pt x="1193" y="845"/>
                  </a:cubicBezTo>
                  <a:cubicBezTo>
                    <a:pt x="1193" y="846"/>
                    <a:pt x="1193" y="846"/>
                    <a:pt x="1193" y="846"/>
                  </a:cubicBezTo>
                  <a:cubicBezTo>
                    <a:pt x="1193" y="846"/>
                    <a:pt x="1193" y="846"/>
                    <a:pt x="1193" y="846"/>
                  </a:cubicBezTo>
                  <a:cubicBezTo>
                    <a:pt x="1193" y="846"/>
                    <a:pt x="1193" y="846"/>
                    <a:pt x="1193" y="846"/>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4" y="845"/>
                    <a:pt x="1194" y="845"/>
                    <a:pt x="1194" y="845"/>
                  </a:cubicBezTo>
                  <a:cubicBezTo>
                    <a:pt x="1195" y="844"/>
                    <a:pt x="1195" y="844"/>
                    <a:pt x="1195" y="844"/>
                  </a:cubicBezTo>
                  <a:cubicBezTo>
                    <a:pt x="1195" y="844"/>
                    <a:pt x="1195" y="844"/>
                    <a:pt x="1195" y="844"/>
                  </a:cubicBezTo>
                  <a:cubicBezTo>
                    <a:pt x="1195" y="844"/>
                    <a:pt x="1195" y="844"/>
                    <a:pt x="1195" y="844"/>
                  </a:cubicBezTo>
                  <a:cubicBezTo>
                    <a:pt x="1195" y="844"/>
                    <a:pt x="1195" y="844"/>
                    <a:pt x="1195" y="844"/>
                  </a:cubicBezTo>
                  <a:cubicBezTo>
                    <a:pt x="1195" y="844"/>
                    <a:pt x="1195" y="844"/>
                    <a:pt x="1195" y="844"/>
                  </a:cubicBezTo>
                  <a:cubicBezTo>
                    <a:pt x="1195" y="844"/>
                    <a:pt x="1196" y="844"/>
                    <a:pt x="1196" y="844"/>
                  </a:cubicBezTo>
                  <a:cubicBezTo>
                    <a:pt x="1196" y="844"/>
                    <a:pt x="1196" y="844"/>
                    <a:pt x="1196" y="844"/>
                  </a:cubicBezTo>
                  <a:cubicBezTo>
                    <a:pt x="1196" y="844"/>
                    <a:pt x="1196" y="844"/>
                    <a:pt x="1196" y="844"/>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6" y="843"/>
                    <a:pt x="1196" y="843"/>
                    <a:pt x="1196" y="843"/>
                  </a:cubicBezTo>
                  <a:cubicBezTo>
                    <a:pt x="1197" y="843"/>
                    <a:pt x="1197" y="843"/>
                    <a:pt x="1197" y="843"/>
                  </a:cubicBezTo>
                  <a:cubicBezTo>
                    <a:pt x="1197" y="842"/>
                    <a:pt x="1197" y="842"/>
                    <a:pt x="1197" y="842"/>
                  </a:cubicBezTo>
                  <a:cubicBezTo>
                    <a:pt x="1197" y="842"/>
                    <a:pt x="1197" y="842"/>
                    <a:pt x="1197" y="842"/>
                  </a:cubicBezTo>
                  <a:cubicBezTo>
                    <a:pt x="1197" y="842"/>
                    <a:pt x="1197" y="842"/>
                    <a:pt x="1197" y="842"/>
                  </a:cubicBezTo>
                  <a:cubicBezTo>
                    <a:pt x="1197" y="841"/>
                    <a:pt x="1197" y="841"/>
                    <a:pt x="1197" y="841"/>
                  </a:cubicBezTo>
                  <a:cubicBezTo>
                    <a:pt x="1197" y="841"/>
                    <a:pt x="1197" y="841"/>
                    <a:pt x="1197" y="841"/>
                  </a:cubicBezTo>
                  <a:cubicBezTo>
                    <a:pt x="1197" y="841"/>
                    <a:pt x="1197" y="841"/>
                    <a:pt x="1197" y="841"/>
                  </a:cubicBezTo>
                  <a:cubicBezTo>
                    <a:pt x="1197" y="841"/>
                    <a:pt x="1197" y="841"/>
                    <a:pt x="1197" y="841"/>
                  </a:cubicBezTo>
                  <a:cubicBezTo>
                    <a:pt x="1197" y="841"/>
                    <a:pt x="1197" y="841"/>
                    <a:pt x="1197" y="841"/>
                  </a:cubicBezTo>
                  <a:cubicBezTo>
                    <a:pt x="1198" y="841"/>
                    <a:pt x="1197" y="840"/>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9"/>
                    <a:pt x="1198" y="839"/>
                    <a:pt x="1198" y="839"/>
                  </a:cubicBezTo>
                  <a:cubicBezTo>
                    <a:pt x="1198" y="838"/>
                    <a:pt x="1198" y="838"/>
                    <a:pt x="1198" y="838"/>
                  </a:cubicBezTo>
                  <a:cubicBezTo>
                    <a:pt x="1198" y="838"/>
                    <a:pt x="1198" y="838"/>
                    <a:pt x="1198" y="838"/>
                  </a:cubicBezTo>
                  <a:cubicBezTo>
                    <a:pt x="1198" y="838"/>
                    <a:pt x="1198" y="838"/>
                    <a:pt x="1198" y="838"/>
                  </a:cubicBezTo>
                  <a:cubicBezTo>
                    <a:pt x="1198" y="838"/>
                    <a:pt x="1198" y="838"/>
                    <a:pt x="1198" y="838"/>
                  </a:cubicBezTo>
                  <a:cubicBezTo>
                    <a:pt x="1199" y="838"/>
                    <a:pt x="1199" y="838"/>
                    <a:pt x="1199" y="838"/>
                  </a:cubicBezTo>
                  <a:cubicBezTo>
                    <a:pt x="1199" y="838"/>
                    <a:pt x="1199" y="838"/>
                    <a:pt x="1199" y="838"/>
                  </a:cubicBezTo>
                  <a:cubicBezTo>
                    <a:pt x="1199" y="838"/>
                    <a:pt x="1199" y="838"/>
                    <a:pt x="1199" y="838"/>
                  </a:cubicBezTo>
                  <a:cubicBezTo>
                    <a:pt x="1199" y="838"/>
                    <a:pt x="1199" y="838"/>
                    <a:pt x="1199" y="838"/>
                  </a:cubicBezTo>
                  <a:cubicBezTo>
                    <a:pt x="1199" y="838"/>
                    <a:pt x="1199" y="838"/>
                    <a:pt x="1199" y="838"/>
                  </a:cubicBezTo>
                  <a:cubicBezTo>
                    <a:pt x="1199" y="837"/>
                    <a:pt x="1199" y="837"/>
                    <a:pt x="1199" y="837"/>
                  </a:cubicBezTo>
                  <a:cubicBezTo>
                    <a:pt x="1199" y="837"/>
                    <a:pt x="1199" y="837"/>
                    <a:pt x="1199" y="837"/>
                  </a:cubicBezTo>
                  <a:cubicBezTo>
                    <a:pt x="1199" y="837"/>
                    <a:pt x="1199" y="837"/>
                    <a:pt x="1199" y="837"/>
                  </a:cubicBezTo>
                  <a:cubicBezTo>
                    <a:pt x="1199" y="836"/>
                    <a:pt x="1197" y="837"/>
                    <a:pt x="1198" y="835"/>
                  </a:cubicBezTo>
                  <a:cubicBezTo>
                    <a:pt x="1198" y="835"/>
                    <a:pt x="1198" y="835"/>
                    <a:pt x="1198" y="835"/>
                  </a:cubicBezTo>
                  <a:cubicBezTo>
                    <a:pt x="1198" y="835"/>
                    <a:pt x="1198" y="835"/>
                    <a:pt x="1198" y="835"/>
                  </a:cubicBezTo>
                  <a:cubicBezTo>
                    <a:pt x="1198" y="835"/>
                    <a:pt x="1198" y="835"/>
                    <a:pt x="1198" y="835"/>
                  </a:cubicBezTo>
                  <a:cubicBezTo>
                    <a:pt x="1199" y="835"/>
                    <a:pt x="1199" y="835"/>
                    <a:pt x="1199" y="835"/>
                  </a:cubicBezTo>
                  <a:cubicBezTo>
                    <a:pt x="1199" y="835"/>
                    <a:pt x="1199" y="835"/>
                    <a:pt x="1199" y="835"/>
                  </a:cubicBezTo>
                  <a:cubicBezTo>
                    <a:pt x="1199" y="835"/>
                    <a:pt x="1199" y="835"/>
                    <a:pt x="1199" y="835"/>
                  </a:cubicBezTo>
                  <a:cubicBezTo>
                    <a:pt x="1199" y="835"/>
                    <a:pt x="1199" y="835"/>
                    <a:pt x="1199" y="835"/>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199" y="834"/>
                    <a:pt x="1199" y="834"/>
                    <a:pt x="1199" y="834"/>
                  </a:cubicBezTo>
                  <a:cubicBezTo>
                    <a:pt x="1200" y="834"/>
                    <a:pt x="1200" y="834"/>
                    <a:pt x="1200" y="834"/>
                  </a:cubicBezTo>
                  <a:cubicBezTo>
                    <a:pt x="1200" y="834"/>
                    <a:pt x="1200" y="834"/>
                    <a:pt x="1200" y="834"/>
                  </a:cubicBezTo>
                  <a:cubicBezTo>
                    <a:pt x="1200" y="834"/>
                    <a:pt x="1200" y="834"/>
                    <a:pt x="1200" y="834"/>
                  </a:cubicBezTo>
                  <a:cubicBezTo>
                    <a:pt x="1200" y="833"/>
                    <a:pt x="1200" y="833"/>
                    <a:pt x="1200" y="833"/>
                  </a:cubicBezTo>
                  <a:cubicBezTo>
                    <a:pt x="1200" y="833"/>
                    <a:pt x="1200" y="833"/>
                    <a:pt x="1200" y="833"/>
                  </a:cubicBezTo>
                  <a:cubicBezTo>
                    <a:pt x="1201" y="833"/>
                    <a:pt x="1201" y="833"/>
                    <a:pt x="1202" y="833"/>
                  </a:cubicBezTo>
                  <a:cubicBezTo>
                    <a:pt x="1202" y="833"/>
                    <a:pt x="1202" y="833"/>
                    <a:pt x="1202" y="833"/>
                  </a:cubicBezTo>
                  <a:cubicBezTo>
                    <a:pt x="1202" y="833"/>
                    <a:pt x="1202" y="833"/>
                    <a:pt x="1202" y="833"/>
                  </a:cubicBezTo>
                  <a:cubicBezTo>
                    <a:pt x="1203" y="832"/>
                    <a:pt x="1203" y="832"/>
                    <a:pt x="1204" y="832"/>
                  </a:cubicBezTo>
                  <a:cubicBezTo>
                    <a:pt x="1204" y="832"/>
                    <a:pt x="1204" y="832"/>
                    <a:pt x="1204" y="832"/>
                  </a:cubicBezTo>
                  <a:cubicBezTo>
                    <a:pt x="1204" y="832"/>
                    <a:pt x="1204" y="832"/>
                    <a:pt x="1204" y="832"/>
                  </a:cubicBezTo>
                  <a:cubicBezTo>
                    <a:pt x="1204" y="832"/>
                    <a:pt x="1204" y="832"/>
                    <a:pt x="1204" y="832"/>
                  </a:cubicBezTo>
                  <a:cubicBezTo>
                    <a:pt x="1204" y="832"/>
                    <a:pt x="1204" y="832"/>
                    <a:pt x="1204" y="832"/>
                  </a:cubicBezTo>
                  <a:cubicBezTo>
                    <a:pt x="1204" y="832"/>
                    <a:pt x="1204" y="832"/>
                    <a:pt x="1204" y="832"/>
                  </a:cubicBezTo>
                  <a:cubicBezTo>
                    <a:pt x="1205" y="832"/>
                    <a:pt x="1205" y="832"/>
                    <a:pt x="1205" y="832"/>
                  </a:cubicBezTo>
                  <a:cubicBezTo>
                    <a:pt x="1205" y="832"/>
                    <a:pt x="1205" y="832"/>
                    <a:pt x="1205" y="832"/>
                  </a:cubicBezTo>
                  <a:cubicBezTo>
                    <a:pt x="1205" y="832"/>
                    <a:pt x="1205" y="832"/>
                    <a:pt x="1205" y="832"/>
                  </a:cubicBezTo>
                  <a:cubicBezTo>
                    <a:pt x="1205" y="832"/>
                    <a:pt x="1205" y="832"/>
                    <a:pt x="1205" y="832"/>
                  </a:cubicBezTo>
                  <a:cubicBezTo>
                    <a:pt x="1205" y="832"/>
                    <a:pt x="1205" y="832"/>
                    <a:pt x="1205" y="832"/>
                  </a:cubicBezTo>
                  <a:cubicBezTo>
                    <a:pt x="1205" y="831"/>
                    <a:pt x="1205" y="831"/>
                    <a:pt x="1205" y="831"/>
                  </a:cubicBezTo>
                  <a:cubicBezTo>
                    <a:pt x="1205" y="831"/>
                    <a:pt x="1205" y="831"/>
                    <a:pt x="1205" y="831"/>
                  </a:cubicBezTo>
                  <a:cubicBezTo>
                    <a:pt x="1206" y="831"/>
                    <a:pt x="1206" y="831"/>
                    <a:pt x="1206" y="831"/>
                  </a:cubicBezTo>
                  <a:cubicBezTo>
                    <a:pt x="1206" y="831"/>
                    <a:pt x="1206" y="831"/>
                    <a:pt x="1206" y="831"/>
                  </a:cubicBezTo>
                  <a:cubicBezTo>
                    <a:pt x="1206" y="831"/>
                    <a:pt x="1206" y="831"/>
                    <a:pt x="1206" y="831"/>
                  </a:cubicBezTo>
                  <a:cubicBezTo>
                    <a:pt x="1206" y="831"/>
                    <a:pt x="1206" y="831"/>
                    <a:pt x="1206" y="831"/>
                  </a:cubicBezTo>
                  <a:cubicBezTo>
                    <a:pt x="1206" y="831"/>
                    <a:pt x="1206" y="831"/>
                    <a:pt x="1206"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7" y="831"/>
                    <a:pt x="1207" y="831"/>
                    <a:pt x="1207" y="831"/>
                  </a:cubicBezTo>
                  <a:cubicBezTo>
                    <a:pt x="1208" y="831"/>
                    <a:pt x="1208" y="831"/>
                    <a:pt x="1208" y="831"/>
                  </a:cubicBezTo>
                  <a:cubicBezTo>
                    <a:pt x="1208" y="831"/>
                    <a:pt x="1208" y="831"/>
                    <a:pt x="1208" y="831"/>
                  </a:cubicBezTo>
                  <a:cubicBezTo>
                    <a:pt x="1208" y="831"/>
                    <a:pt x="1208" y="831"/>
                    <a:pt x="1208" y="831"/>
                  </a:cubicBezTo>
                  <a:cubicBezTo>
                    <a:pt x="1208" y="830"/>
                    <a:pt x="1208" y="830"/>
                    <a:pt x="1208" y="830"/>
                  </a:cubicBezTo>
                  <a:cubicBezTo>
                    <a:pt x="1208" y="830"/>
                    <a:pt x="1208" y="830"/>
                    <a:pt x="1208" y="830"/>
                  </a:cubicBezTo>
                  <a:cubicBezTo>
                    <a:pt x="1208" y="830"/>
                    <a:pt x="1208" y="830"/>
                    <a:pt x="1208" y="830"/>
                  </a:cubicBezTo>
                  <a:cubicBezTo>
                    <a:pt x="1209" y="830"/>
                    <a:pt x="1209" y="830"/>
                    <a:pt x="1209" y="830"/>
                  </a:cubicBezTo>
                  <a:cubicBezTo>
                    <a:pt x="1209" y="830"/>
                    <a:pt x="1209" y="830"/>
                    <a:pt x="1209" y="830"/>
                  </a:cubicBezTo>
                  <a:cubicBezTo>
                    <a:pt x="1209" y="830"/>
                    <a:pt x="1209" y="830"/>
                    <a:pt x="1209" y="830"/>
                  </a:cubicBezTo>
                  <a:cubicBezTo>
                    <a:pt x="1209" y="830"/>
                    <a:pt x="1209" y="830"/>
                    <a:pt x="1209" y="830"/>
                  </a:cubicBezTo>
                  <a:cubicBezTo>
                    <a:pt x="1209" y="830"/>
                    <a:pt x="1209" y="830"/>
                    <a:pt x="1209" y="830"/>
                  </a:cubicBezTo>
                  <a:cubicBezTo>
                    <a:pt x="1209" y="831"/>
                    <a:pt x="1209" y="831"/>
                    <a:pt x="1209" y="831"/>
                  </a:cubicBezTo>
                  <a:cubicBezTo>
                    <a:pt x="1208" y="832"/>
                    <a:pt x="1208" y="832"/>
                    <a:pt x="1208" y="832"/>
                  </a:cubicBezTo>
                  <a:cubicBezTo>
                    <a:pt x="1208" y="833"/>
                    <a:pt x="1207" y="833"/>
                    <a:pt x="1207" y="834"/>
                  </a:cubicBezTo>
                  <a:cubicBezTo>
                    <a:pt x="1207" y="834"/>
                    <a:pt x="1207" y="834"/>
                    <a:pt x="1207" y="834"/>
                  </a:cubicBezTo>
                  <a:cubicBezTo>
                    <a:pt x="1207" y="834"/>
                    <a:pt x="1207" y="834"/>
                    <a:pt x="1207" y="834"/>
                  </a:cubicBezTo>
                  <a:cubicBezTo>
                    <a:pt x="1207" y="834"/>
                    <a:pt x="1207" y="834"/>
                    <a:pt x="1207" y="834"/>
                  </a:cubicBezTo>
                  <a:cubicBezTo>
                    <a:pt x="1207" y="834"/>
                    <a:pt x="1207" y="834"/>
                    <a:pt x="1207" y="834"/>
                  </a:cubicBezTo>
                  <a:cubicBezTo>
                    <a:pt x="1207" y="834"/>
                    <a:pt x="1207" y="834"/>
                    <a:pt x="1207" y="834"/>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5"/>
                    <a:pt x="1207" y="835"/>
                    <a:pt x="1207" y="835"/>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7" y="836"/>
                    <a:pt x="1207" y="836"/>
                    <a:pt x="1207" y="836"/>
                  </a:cubicBezTo>
                  <a:cubicBezTo>
                    <a:pt x="1206" y="836"/>
                    <a:pt x="1206" y="836"/>
                    <a:pt x="1206" y="836"/>
                  </a:cubicBezTo>
                  <a:cubicBezTo>
                    <a:pt x="1206" y="836"/>
                    <a:pt x="1206" y="836"/>
                    <a:pt x="1206" y="836"/>
                  </a:cubicBezTo>
                  <a:cubicBezTo>
                    <a:pt x="1206" y="836"/>
                    <a:pt x="1206" y="836"/>
                    <a:pt x="1206" y="836"/>
                  </a:cubicBezTo>
                  <a:cubicBezTo>
                    <a:pt x="1206" y="836"/>
                    <a:pt x="1206" y="836"/>
                    <a:pt x="1206" y="836"/>
                  </a:cubicBezTo>
                  <a:cubicBezTo>
                    <a:pt x="1206" y="837"/>
                    <a:pt x="1206" y="837"/>
                    <a:pt x="1205" y="837"/>
                  </a:cubicBezTo>
                  <a:cubicBezTo>
                    <a:pt x="1205" y="838"/>
                    <a:pt x="1205" y="838"/>
                    <a:pt x="1205" y="838"/>
                  </a:cubicBezTo>
                  <a:cubicBezTo>
                    <a:pt x="1205" y="838"/>
                    <a:pt x="1205" y="838"/>
                    <a:pt x="1205" y="838"/>
                  </a:cubicBezTo>
                  <a:cubicBezTo>
                    <a:pt x="1205" y="838"/>
                    <a:pt x="1205" y="838"/>
                    <a:pt x="1205" y="838"/>
                  </a:cubicBezTo>
                  <a:cubicBezTo>
                    <a:pt x="1206" y="838"/>
                    <a:pt x="1206" y="838"/>
                    <a:pt x="1206" y="838"/>
                  </a:cubicBezTo>
                  <a:cubicBezTo>
                    <a:pt x="1206" y="838"/>
                    <a:pt x="1206" y="838"/>
                    <a:pt x="1206" y="838"/>
                  </a:cubicBezTo>
                  <a:cubicBezTo>
                    <a:pt x="1208" y="837"/>
                    <a:pt x="1208" y="837"/>
                    <a:pt x="1208" y="837"/>
                  </a:cubicBezTo>
                  <a:cubicBezTo>
                    <a:pt x="1210" y="837"/>
                    <a:pt x="1210" y="836"/>
                    <a:pt x="1211" y="834"/>
                  </a:cubicBezTo>
                  <a:cubicBezTo>
                    <a:pt x="1211" y="834"/>
                    <a:pt x="1211" y="834"/>
                    <a:pt x="1211" y="834"/>
                  </a:cubicBezTo>
                  <a:cubicBezTo>
                    <a:pt x="1211" y="833"/>
                    <a:pt x="1211" y="833"/>
                    <a:pt x="1211" y="833"/>
                  </a:cubicBezTo>
                  <a:cubicBezTo>
                    <a:pt x="1211" y="833"/>
                    <a:pt x="1211" y="833"/>
                    <a:pt x="1211" y="833"/>
                  </a:cubicBezTo>
                  <a:cubicBezTo>
                    <a:pt x="1211" y="833"/>
                    <a:pt x="1211" y="833"/>
                    <a:pt x="1211" y="832"/>
                  </a:cubicBezTo>
                  <a:cubicBezTo>
                    <a:pt x="1211" y="832"/>
                    <a:pt x="1211" y="832"/>
                    <a:pt x="1211" y="832"/>
                  </a:cubicBezTo>
                  <a:cubicBezTo>
                    <a:pt x="1211" y="832"/>
                    <a:pt x="1211" y="832"/>
                    <a:pt x="1211" y="832"/>
                  </a:cubicBezTo>
                  <a:cubicBezTo>
                    <a:pt x="1211" y="832"/>
                    <a:pt x="1212" y="832"/>
                    <a:pt x="1212" y="832"/>
                  </a:cubicBezTo>
                  <a:cubicBezTo>
                    <a:pt x="1212" y="832"/>
                    <a:pt x="1212" y="832"/>
                    <a:pt x="1212" y="832"/>
                  </a:cubicBezTo>
                  <a:cubicBezTo>
                    <a:pt x="1212" y="832"/>
                    <a:pt x="1212" y="832"/>
                    <a:pt x="1212" y="832"/>
                  </a:cubicBezTo>
                  <a:cubicBezTo>
                    <a:pt x="1212" y="831"/>
                    <a:pt x="1212" y="831"/>
                    <a:pt x="1212" y="831"/>
                  </a:cubicBezTo>
                  <a:cubicBezTo>
                    <a:pt x="1212" y="831"/>
                    <a:pt x="1212" y="831"/>
                    <a:pt x="1212" y="831"/>
                  </a:cubicBezTo>
                  <a:cubicBezTo>
                    <a:pt x="1212" y="831"/>
                    <a:pt x="1212" y="831"/>
                    <a:pt x="1212" y="831"/>
                  </a:cubicBezTo>
                  <a:cubicBezTo>
                    <a:pt x="1212" y="831"/>
                    <a:pt x="1212" y="831"/>
                    <a:pt x="1212" y="831"/>
                  </a:cubicBezTo>
                  <a:cubicBezTo>
                    <a:pt x="1212" y="831"/>
                    <a:pt x="1212" y="830"/>
                    <a:pt x="1212" y="830"/>
                  </a:cubicBezTo>
                  <a:cubicBezTo>
                    <a:pt x="1212" y="830"/>
                    <a:pt x="1212" y="830"/>
                    <a:pt x="1212" y="830"/>
                  </a:cubicBezTo>
                  <a:cubicBezTo>
                    <a:pt x="1212" y="830"/>
                    <a:pt x="1212" y="830"/>
                    <a:pt x="1212" y="830"/>
                  </a:cubicBezTo>
                  <a:cubicBezTo>
                    <a:pt x="1212" y="829"/>
                    <a:pt x="1212" y="829"/>
                    <a:pt x="1213" y="829"/>
                  </a:cubicBezTo>
                  <a:cubicBezTo>
                    <a:pt x="1213" y="829"/>
                    <a:pt x="1213" y="829"/>
                    <a:pt x="1213" y="829"/>
                  </a:cubicBezTo>
                  <a:cubicBezTo>
                    <a:pt x="1213" y="829"/>
                    <a:pt x="1213" y="829"/>
                    <a:pt x="1213" y="829"/>
                  </a:cubicBezTo>
                  <a:cubicBezTo>
                    <a:pt x="1214" y="829"/>
                    <a:pt x="1214" y="829"/>
                    <a:pt x="1214" y="829"/>
                  </a:cubicBezTo>
                  <a:cubicBezTo>
                    <a:pt x="1214" y="829"/>
                    <a:pt x="1214" y="829"/>
                    <a:pt x="1214" y="829"/>
                  </a:cubicBezTo>
                  <a:cubicBezTo>
                    <a:pt x="1215" y="828"/>
                    <a:pt x="1214" y="828"/>
                    <a:pt x="1214" y="828"/>
                  </a:cubicBezTo>
                  <a:cubicBezTo>
                    <a:pt x="1214" y="827"/>
                    <a:pt x="1214" y="827"/>
                    <a:pt x="1214" y="827"/>
                  </a:cubicBezTo>
                  <a:cubicBezTo>
                    <a:pt x="1214" y="827"/>
                    <a:pt x="1214" y="827"/>
                    <a:pt x="1214" y="827"/>
                  </a:cubicBezTo>
                  <a:cubicBezTo>
                    <a:pt x="1214" y="827"/>
                    <a:pt x="1214" y="827"/>
                    <a:pt x="1214"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5" y="826"/>
                    <a:pt x="1215" y="826"/>
                    <a:pt x="1215" y="826"/>
                  </a:cubicBezTo>
                  <a:cubicBezTo>
                    <a:pt x="1214" y="826"/>
                    <a:pt x="1214" y="826"/>
                    <a:pt x="1214" y="826"/>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5"/>
                    <a:pt x="1214" y="825"/>
                    <a:pt x="1214" y="825"/>
                  </a:cubicBezTo>
                  <a:cubicBezTo>
                    <a:pt x="1214" y="824"/>
                    <a:pt x="1214" y="824"/>
                    <a:pt x="1214" y="824"/>
                  </a:cubicBezTo>
                  <a:cubicBezTo>
                    <a:pt x="1214" y="824"/>
                    <a:pt x="1214" y="824"/>
                    <a:pt x="1214" y="824"/>
                  </a:cubicBezTo>
                  <a:cubicBezTo>
                    <a:pt x="1214" y="824"/>
                    <a:pt x="1214" y="824"/>
                    <a:pt x="1214" y="824"/>
                  </a:cubicBezTo>
                  <a:cubicBezTo>
                    <a:pt x="1215" y="824"/>
                    <a:pt x="1215" y="824"/>
                    <a:pt x="1215" y="824"/>
                  </a:cubicBezTo>
                  <a:cubicBezTo>
                    <a:pt x="1215" y="824"/>
                    <a:pt x="1215" y="824"/>
                    <a:pt x="1215" y="824"/>
                  </a:cubicBezTo>
                  <a:cubicBezTo>
                    <a:pt x="1215" y="824"/>
                    <a:pt x="1215" y="824"/>
                    <a:pt x="1215" y="824"/>
                  </a:cubicBezTo>
                  <a:cubicBezTo>
                    <a:pt x="1215" y="823"/>
                    <a:pt x="1216" y="823"/>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6" y="822"/>
                    <a:pt x="1216" y="822"/>
                    <a:pt x="1216" y="822"/>
                  </a:cubicBezTo>
                  <a:cubicBezTo>
                    <a:pt x="1217" y="822"/>
                    <a:pt x="1217" y="822"/>
                    <a:pt x="1217" y="822"/>
                  </a:cubicBezTo>
                  <a:cubicBezTo>
                    <a:pt x="1217" y="822"/>
                    <a:pt x="1217" y="822"/>
                    <a:pt x="1217" y="822"/>
                  </a:cubicBezTo>
                  <a:cubicBezTo>
                    <a:pt x="1217" y="822"/>
                    <a:pt x="1217" y="822"/>
                    <a:pt x="1217" y="822"/>
                  </a:cubicBezTo>
                  <a:cubicBezTo>
                    <a:pt x="1217" y="822"/>
                    <a:pt x="1217" y="822"/>
                    <a:pt x="1217" y="822"/>
                  </a:cubicBezTo>
                  <a:cubicBezTo>
                    <a:pt x="1217" y="822"/>
                    <a:pt x="1217" y="822"/>
                    <a:pt x="1217" y="822"/>
                  </a:cubicBezTo>
                  <a:cubicBezTo>
                    <a:pt x="1218" y="822"/>
                    <a:pt x="1218" y="822"/>
                    <a:pt x="1218" y="822"/>
                  </a:cubicBezTo>
                  <a:cubicBezTo>
                    <a:pt x="1218" y="822"/>
                    <a:pt x="1218" y="822"/>
                    <a:pt x="1218" y="822"/>
                  </a:cubicBezTo>
                  <a:cubicBezTo>
                    <a:pt x="1218" y="823"/>
                    <a:pt x="1218" y="823"/>
                    <a:pt x="1218" y="823"/>
                  </a:cubicBezTo>
                  <a:cubicBezTo>
                    <a:pt x="1218" y="823"/>
                    <a:pt x="1218" y="823"/>
                    <a:pt x="1218" y="823"/>
                  </a:cubicBezTo>
                  <a:cubicBezTo>
                    <a:pt x="1219" y="825"/>
                    <a:pt x="1219" y="825"/>
                    <a:pt x="1219" y="825"/>
                  </a:cubicBezTo>
                  <a:cubicBezTo>
                    <a:pt x="1219" y="826"/>
                    <a:pt x="1219" y="826"/>
                    <a:pt x="1219" y="826"/>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9" y="827"/>
                    <a:pt x="1219" y="827"/>
                    <a:pt x="1219" y="827"/>
                  </a:cubicBezTo>
                  <a:cubicBezTo>
                    <a:pt x="1218" y="827"/>
                    <a:pt x="1218" y="827"/>
                    <a:pt x="1218" y="827"/>
                  </a:cubicBezTo>
                  <a:cubicBezTo>
                    <a:pt x="1218" y="827"/>
                    <a:pt x="1218" y="827"/>
                    <a:pt x="1218" y="827"/>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8" y="828"/>
                    <a:pt x="1218" y="828"/>
                    <a:pt x="1218" y="828"/>
                  </a:cubicBezTo>
                  <a:cubicBezTo>
                    <a:pt x="1217" y="829"/>
                    <a:pt x="1217" y="829"/>
                    <a:pt x="1216" y="829"/>
                  </a:cubicBezTo>
                  <a:cubicBezTo>
                    <a:pt x="1216" y="829"/>
                    <a:pt x="1216" y="829"/>
                    <a:pt x="1216" y="829"/>
                  </a:cubicBezTo>
                  <a:cubicBezTo>
                    <a:pt x="1216" y="830"/>
                    <a:pt x="1216" y="830"/>
                    <a:pt x="1216" y="830"/>
                  </a:cubicBezTo>
                  <a:cubicBezTo>
                    <a:pt x="1216" y="830"/>
                    <a:pt x="1215" y="830"/>
                    <a:pt x="1215" y="831"/>
                  </a:cubicBezTo>
                  <a:cubicBezTo>
                    <a:pt x="1215" y="831"/>
                    <a:pt x="1215" y="831"/>
                    <a:pt x="1215" y="831"/>
                  </a:cubicBezTo>
                  <a:cubicBezTo>
                    <a:pt x="1215" y="831"/>
                    <a:pt x="1215" y="831"/>
                    <a:pt x="1215" y="831"/>
                  </a:cubicBezTo>
                  <a:cubicBezTo>
                    <a:pt x="1215" y="831"/>
                    <a:pt x="1215" y="831"/>
                    <a:pt x="1215" y="831"/>
                  </a:cubicBezTo>
                  <a:cubicBezTo>
                    <a:pt x="1215" y="831"/>
                    <a:pt x="1215" y="831"/>
                    <a:pt x="1215" y="831"/>
                  </a:cubicBezTo>
                  <a:cubicBezTo>
                    <a:pt x="1214" y="831"/>
                    <a:pt x="1214" y="831"/>
                    <a:pt x="1214" y="832"/>
                  </a:cubicBezTo>
                  <a:cubicBezTo>
                    <a:pt x="1214" y="832"/>
                    <a:pt x="1214" y="832"/>
                    <a:pt x="1214" y="832"/>
                  </a:cubicBezTo>
                  <a:cubicBezTo>
                    <a:pt x="1213" y="832"/>
                    <a:pt x="1213" y="832"/>
                    <a:pt x="1213" y="832"/>
                  </a:cubicBezTo>
                  <a:cubicBezTo>
                    <a:pt x="1213" y="833"/>
                    <a:pt x="1213" y="833"/>
                    <a:pt x="1213" y="833"/>
                  </a:cubicBezTo>
                  <a:cubicBezTo>
                    <a:pt x="1213" y="833"/>
                    <a:pt x="1213" y="833"/>
                    <a:pt x="1213" y="833"/>
                  </a:cubicBezTo>
                  <a:cubicBezTo>
                    <a:pt x="1213" y="833"/>
                    <a:pt x="1213" y="833"/>
                    <a:pt x="1213" y="833"/>
                  </a:cubicBezTo>
                  <a:cubicBezTo>
                    <a:pt x="1213" y="833"/>
                    <a:pt x="1213" y="833"/>
                    <a:pt x="1213" y="833"/>
                  </a:cubicBezTo>
                  <a:cubicBezTo>
                    <a:pt x="1213" y="833"/>
                    <a:pt x="1213" y="833"/>
                    <a:pt x="1213" y="833"/>
                  </a:cubicBezTo>
                  <a:cubicBezTo>
                    <a:pt x="1214" y="833"/>
                    <a:pt x="1214" y="833"/>
                    <a:pt x="1214" y="833"/>
                  </a:cubicBezTo>
                  <a:cubicBezTo>
                    <a:pt x="1214" y="833"/>
                    <a:pt x="1214" y="833"/>
                    <a:pt x="1214" y="833"/>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4" y="834"/>
                    <a:pt x="1214" y="834"/>
                    <a:pt x="1214" y="834"/>
                  </a:cubicBezTo>
                  <a:cubicBezTo>
                    <a:pt x="1215" y="833"/>
                    <a:pt x="1215" y="833"/>
                    <a:pt x="1215" y="833"/>
                  </a:cubicBezTo>
                  <a:cubicBezTo>
                    <a:pt x="1216" y="832"/>
                    <a:pt x="1216" y="832"/>
                    <a:pt x="1216" y="832"/>
                  </a:cubicBezTo>
                  <a:cubicBezTo>
                    <a:pt x="1216" y="831"/>
                    <a:pt x="1216" y="831"/>
                    <a:pt x="1216" y="831"/>
                  </a:cubicBezTo>
                  <a:cubicBezTo>
                    <a:pt x="1216" y="831"/>
                    <a:pt x="1216" y="831"/>
                    <a:pt x="1216" y="831"/>
                  </a:cubicBezTo>
                  <a:cubicBezTo>
                    <a:pt x="1217" y="831"/>
                    <a:pt x="1217" y="830"/>
                    <a:pt x="1218" y="831"/>
                  </a:cubicBezTo>
                  <a:cubicBezTo>
                    <a:pt x="1218" y="831"/>
                    <a:pt x="1218" y="831"/>
                    <a:pt x="1218" y="831"/>
                  </a:cubicBezTo>
                  <a:cubicBezTo>
                    <a:pt x="1218" y="831"/>
                    <a:pt x="1218" y="831"/>
                    <a:pt x="1218" y="831"/>
                  </a:cubicBezTo>
                  <a:cubicBezTo>
                    <a:pt x="1218" y="830"/>
                    <a:pt x="1218" y="830"/>
                    <a:pt x="1218" y="830"/>
                  </a:cubicBezTo>
                  <a:cubicBezTo>
                    <a:pt x="1219" y="830"/>
                    <a:pt x="1219" y="830"/>
                    <a:pt x="1219" y="830"/>
                  </a:cubicBezTo>
                  <a:cubicBezTo>
                    <a:pt x="1219" y="830"/>
                    <a:pt x="1219" y="830"/>
                    <a:pt x="1220" y="830"/>
                  </a:cubicBezTo>
                  <a:cubicBezTo>
                    <a:pt x="1220" y="830"/>
                    <a:pt x="1220" y="830"/>
                    <a:pt x="1220" y="830"/>
                  </a:cubicBezTo>
                  <a:cubicBezTo>
                    <a:pt x="1220" y="830"/>
                    <a:pt x="1220" y="830"/>
                    <a:pt x="1220" y="830"/>
                  </a:cubicBezTo>
                  <a:cubicBezTo>
                    <a:pt x="1219" y="829"/>
                    <a:pt x="1219" y="829"/>
                    <a:pt x="1219" y="828"/>
                  </a:cubicBezTo>
                  <a:cubicBezTo>
                    <a:pt x="1219" y="828"/>
                    <a:pt x="1219" y="828"/>
                    <a:pt x="1219" y="828"/>
                  </a:cubicBezTo>
                  <a:cubicBezTo>
                    <a:pt x="1219" y="828"/>
                    <a:pt x="1219" y="828"/>
                    <a:pt x="1219" y="828"/>
                  </a:cubicBezTo>
                  <a:cubicBezTo>
                    <a:pt x="1219" y="828"/>
                    <a:pt x="1219" y="828"/>
                    <a:pt x="1219" y="828"/>
                  </a:cubicBezTo>
                  <a:cubicBezTo>
                    <a:pt x="1219" y="828"/>
                    <a:pt x="1219" y="828"/>
                    <a:pt x="1219" y="828"/>
                  </a:cubicBezTo>
                  <a:cubicBezTo>
                    <a:pt x="1220" y="828"/>
                    <a:pt x="1220" y="828"/>
                    <a:pt x="1220" y="828"/>
                  </a:cubicBezTo>
                  <a:cubicBezTo>
                    <a:pt x="1221" y="828"/>
                    <a:pt x="1221" y="828"/>
                    <a:pt x="1221" y="828"/>
                  </a:cubicBezTo>
                  <a:cubicBezTo>
                    <a:pt x="1221" y="829"/>
                    <a:pt x="1221" y="829"/>
                    <a:pt x="1221" y="829"/>
                  </a:cubicBezTo>
                  <a:cubicBezTo>
                    <a:pt x="1222" y="829"/>
                    <a:pt x="1222" y="829"/>
                    <a:pt x="1223" y="828"/>
                  </a:cubicBezTo>
                  <a:cubicBezTo>
                    <a:pt x="1223" y="828"/>
                    <a:pt x="1223" y="828"/>
                    <a:pt x="1223" y="828"/>
                  </a:cubicBezTo>
                  <a:cubicBezTo>
                    <a:pt x="1223" y="828"/>
                    <a:pt x="1223" y="828"/>
                    <a:pt x="1223" y="828"/>
                  </a:cubicBezTo>
                  <a:cubicBezTo>
                    <a:pt x="1224" y="827"/>
                    <a:pt x="1224" y="827"/>
                    <a:pt x="1224" y="827"/>
                  </a:cubicBezTo>
                  <a:cubicBezTo>
                    <a:pt x="1224" y="826"/>
                    <a:pt x="1224" y="826"/>
                    <a:pt x="1224" y="826"/>
                  </a:cubicBezTo>
                  <a:cubicBezTo>
                    <a:pt x="1224" y="826"/>
                    <a:pt x="1224" y="826"/>
                    <a:pt x="1224" y="826"/>
                  </a:cubicBezTo>
                  <a:cubicBezTo>
                    <a:pt x="1224" y="826"/>
                    <a:pt x="1224" y="826"/>
                    <a:pt x="1224" y="826"/>
                  </a:cubicBezTo>
                  <a:cubicBezTo>
                    <a:pt x="1224" y="826"/>
                    <a:pt x="1224" y="826"/>
                    <a:pt x="1224" y="826"/>
                  </a:cubicBezTo>
                  <a:cubicBezTo>
                    <a:pt x="1224" y="825"/>
                    <a:pt x="1224" y="825"/>
                    <a:pt x="1224" y="825"/>
                  </a:cubicBezTo>
                  <a:cubicBezTo>
                    <a:pt x="1224" y="824"/>
                    <a:pt x="1224" y="824"/>
                    <a:pt x="1224" y="824"/>
                  </a:cubicBezTo>
                  <a:cubicBezTo>
                    <a:pt x="1224" y="824"/>
                    <a:pt x="1224" y="824"/>
                    <a:pt x="1224" y="824"/>
                  </a:cubicBezTo>
                  <a:cubicBezTo>
                    <a:pt x="1224" y="824"/>
                    <a:pt x="1224" y="824"/>
                    <a:pt x="1224" y="824"/>
                  </a:cubicBezTo>
                  <a:cubicBezTo>
                    <a:pt x="1224" y="824"/>
                    <a:pt x="1224" y="824"/>
                    <a:pt x="1224" y="824"/>
                  </a:cubicBezTo>
                  <a:cubicBezTo>
                    <a:pt x="1224" y="824"/>
                    <a:pt x="1224" y="824"/>
                    <a:pt x="1224" y="824"/>
                  </a:cubicBezTo>
                  <a:cubicBezTo>
                    <a:pt x="1224" y="823"/>
                    <a:pt x="1224" y="823"/>
                    <a:pt x="1224" y="823"/>
                  </a:cubicBezTo>
                  <a:cubicBezTo>
                    <a:pt x="1224" y="823"/>
                    <a:pt x="1224" y="823"/>
                    <a:pt x="1224" y="823"/>
                  </a:cubicBezTo>
                  <a:cubicBezTo>
                    <a:pt x="1223" y="823"/>
                    <a:pt x="1223" y="823"/>
                    <a:pt x="1223" y="823"/>
                  </a:cubicBezTo>
                  <a:cubicBezTo>
                    <a:pt x="1223" y="823"/>
                    <a:pt x="1223" y="823"/>
                    <a:pt x="1223" y="823"/>
                  </a:cubicBezTo>
                  <a:cubicBezTo>
                    <a:pt x="1223" y="823"/>
                    <a:pt x="1223" y="823"/>
                    <a:pt x="1223" y="823"/>
                  </a:cubicBezTo>
                  <a:cubicBezTo>
                    <a:pt x="1223" y="823"/>
                    <a:pt x="1223" y="823"/>
                    <a:pt x="1223" y="823"/>
                  </a:cubicBezTo>
                  <a:cubicBezTo>
                    <a:pt x="1223" y="822"/>
                    <a:pt x="1223" y="822"/>
                    <a:pt x="1223" y="822"/>
                  </a:cubicBezTo>
                  <a:cubicBezTo>
                    <a:pt x="1222" y="822"/>
                    <a:pt x="1222" y="822"/>
                    <a:pt x="1222" y="822"/>
                  </a:cubicBezTo>
                  <a:cubicBezTo>
                    <a:pt x="1221" y="822"/>
                    <a:pt x="1221" y="822"/>
                    <a:pt x="1221" y="822"/>
                  </a:cubicBezTo>
                  <a:cubicBezTo>
                    <a:pt x="1221" y="822"/>
                    <a:pt x="1221" y="822"/>
                    <a:pt x="1221" y="822"/>
                  </a:cubicBezTo>
                  <a:cubicBezTo>
                    <a:pt x="1221" y="822"/>
                    <a:pt x="1221" y="822"/>
                    <a:pt x="1221" y="822"/>
                  </a:cubicBezTo>
                  <a:cubicBezTo>
                    <a:pt x="1221" y="821"/>
                    <a:pt x="1221" y="821"/>
                    <a:pt x="1221" y="821"/>
                  </a:cubicBezTo>
                  <a:cubicBezTo>
                    <a:pt x="1221" y="821"/>
                    <a:pt x="1221" y="821"/>
                    <a:pt x="1221" y="821"/>
                  </a:cubicBezTo>
                  <a:cubicBezTo>
                    <a:pt x="1221" y="821"/>
                    <a:pt x="1221" y="820"/>
                    <a:pt x="1221" y="820"/>
                  </a:cubicBezTo>
                  <a:cubicBezTo>
                    <a:pt x="1221" y="820"/>
                    <a:pt x="1221" y="820"/>
                    <a:pt x="1221" y="820"/>
                  </a:cubicBezTo>
                  <a:cubicBezTo>
                    <a:pt x="1221" y="820"/>
                    <a:pt x="1221" y="820"/>
                    <a:pt x="1221" y="820"/>
                  </a:cubicBezTo>
                  <a:cubicBezTo>
                    <a:pt x="1221" y="819"/>
                    <a:pt x="1221" y="819"/>
                    <a:pt x="1221" y="818"/>
                  </a:cubicBezTo>
                  <a:cubicBezTo>
                    <a:pt x="1221" y="818"/>
                    <a:pt x="1221" y="818"/>
                    <a:pt x="1221" y="818"/>
                  </a:cubicBezTo>
                  <a:cubicBezTo>
                    <a:pt x="1221" y="818"/>
                    <a:pt x="1221" y="818"/>
                    <a:pt x="1221" y="818"/>
                  </a:cubicBezTo>
                  <a:cubicBezTo>
                    <a:pt x="1221" y="818"/>
                    <a:pt x="1221" y="818"/>
                    <a:pt x="1221" y="818"/>
                  </a:cubicBezTo>
                  <a:cubicBezTo>
                    <a:pt x="1221" y="818"/>
                    <a:pt x="1221" y="818"/>
                    <a:pt x="1221" y="818"/>
                  </a:cubicBezTo>
                  <a:cubicBezTo>
                    <a:pt x="1222" y="818"/>
                    <a:pt x="1222" y="818"/>
                    <a:pt x="1222" y="818"/>
                  </a:cubicBezTo>
                  <a:cubicBezTo>
                    <a:pt x="1223" y="818"/>
                    <a:pt x="1223" y="818"/>
                    <a:pt x="1223" y="818"/>
                  </a:cubicBezTo>
                  <a:cubicBezTo>
                    <a:pt x="1223" y="818"/>
                    <a:pt x="1223" y="818"/>
                    <a:pt x="1223" y="818"/>
                  </a:cubicBezTo>
                  <a:cubicBezTo>
                    <a:pt x="1223" y="818"/>
                    <a:pt x="1223" y="818"/>
                    <a:pt x="1223"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4" y="818"/>
                    <a:pt x="1224" y="818"/>
                    <a:pt x="1224"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8"/>
                    <a:pt x="1225" y="818"/>
                    <a:pt x="1225" y="818"/>
                  </a:cubicBezTo>
                  <a:cubicBezTo>
                    <a:pt x="1225" y="817"/>
                    <a:pt x="1225" y="817"/>
                    <a:pt x="1225" y="817"/>
                  </a:cubicBezTo>
                  <a:cubicBezTo>
                    <a:pt x="1225" y="817"/>
                    <a:pt x="1225" y="817"/>
                    <a:pt x="1225" y="817"/>
                  </a:cubicBezTo>
                  <a:cubicBezTo>
                    <a:pt x="1226" y="817"/>
                    <a:pt x="1226" y="817"/>
                    <a:pt x="1226" y="817"/>
                  </a:cubicBezTo>
                  <a:cubicBezTo>
                    <a:pt x="1226" y="817"/>
                    <a:pt x="1226" y="817"/>
                    <a:pt x="1226" y="817"/>
                  </a:cubicBezTo>
                  <a:cubicBezTo>
                    <a:pt x="1227" y="818"/>
                    <a:pt x="1227" y="818"/>
                    <a:pt x="1227" y="818"/>
                  </a:cubicBezTo>
                  <a:cubicBezTo>
                    <a:pt x="1230" y="819"/>
                    <a:pt x="1230" y="819"/>
                    <a:pt x="1230" y="819"/>
                  </a:cubicBezTo>
                  <a:cubicBezTo>
                    <a:pt x="1238" y="822"/>
                    <a:pt x="1238" y="822"/>
                    <a:pt x="1238" y="822"/>
                  </a:cubicBezTo>
                  <a:cubicBezTo>
                    <a:pt x="1241" y="823"/>
                    <a:pt x="1241" y="823"/>
                    <a:pt x="1241" y="823"/>
                  </a:cubicBezTo>
                  <a:cubicBezTo>
                    <a:pt x="1242" y="823"/>
                    <a:pt x="1244" y="824"/>
                    <a:pt x="1245" y="825"/>
                  </a:cubicBezTo>
                  <a:cubicBezTo>
                    <a:pt x="1245" y="825"/>
                    <a:pt x="1245" y="825"/>
                    <a:pt x="1245" y="825"/>
                  </a:cubicBezTo>
                  <a:cubicBezTo>
                    <a:pt x="1245" y="825"/>
                    <a:pt x="1245" y="825"/>
                    <a:pt x="1245" y="825"/>
                  </a:cubicBezTo>
                  <a:cubicBezTo>
                    <a:pt x="1246" y="824"/>
                    <a:pt x="1246" y="824"/>
                    <a:pt x="1247" y="824"/>
                  </a:cubicBezTo>
                  <a:cubicBezTo>
                    <a:pt x="1247" y="824"/>
                    <a:pt x="1247" y="824"/>
                    <a:pt x="1247" y="824"/>
                  </a:cubicBezTo>
                  <a:cubicBezTo>
                    <a:pt x="1248" y="824"/>
                    <a:pt x="1248" y="824"/>
                    <a:pt x="1248" y="824"/>
                  </a:cubicBezTo>
                  <a:cubicBezTo>
                    <a:pt x="1248" y="824"/>
                    <a:pt x="1248" y="824"/>
                    <a:pt x="1248" y="824"/>
                  </a:cubicBezTo>
                  <a:cubicBezTo>
                    <a:pt x="1248" y="824"/>
                    <a:pt x="1248" y="824"/>
                    <a:pt x="1248" y="824"/>
                  </a:cubicBezTo>
                  <a:cubicBezTo>
                    <a:pt x="1248" y="824"/>
                    <a:pt x="1249" y="824"/>
                    <a:pt x="1249" y="824"/>
                  </a:cubicBezTo>
                  <a:cubicBezTo>
                    <a:pt x="1249" y="824"/>
                    <a:pt x="1249" y="824"/>
                    <a:pt x="1249" y="824"/>
                  </a:cubicBezTo>
                  <a:cubicBezTo>
                    <a:pt x="1249" y="824"/>
                    <a:pt x="1249" y="824"/>
                    <a:pt x="1249" y="824"/>
                  </a:cubicBezTo>
                  <a:cubicBezTo>
                    <a:pt x="1250" y="824"/>
                    <a:pt x="1250" y="824"/>
                    <a:pt x="1250" y="824"/>
                  </a:cubicBezTo>
                  <a:cubicBezTo>
                    <a:pt x="1250" y="824"/>
                    <a:pt x="1250" y="824"/>
                    <a:pt x="1250" y="824"/>
                  </a:cubicBezTo>
                  <a:cubicBezTo>
                    <a:pt x="1250" y="823"/>
                    <a:pt x="1250" y="823"/>
                    <a:pt x="1250" y="823"/>
                  </a:cubicBezTo>
                  <a:cubicBezTo>
                    <a:pt x="1250" y="823"/>
                    <a:pt x="1250" y="823"/>
                    <a:pt x="1250" y="823"/>
                  </a:cubicBezTo>
                  <a:cubicBezTo>
                    <a:pt x="1250" y="823"/>
                    <a:pt x="1250" y="823"/>
                    <a:pt x="1250" y="823"/>
                  </a:cubicBezTo>
                  <a:cubicBezTo>
                    <a:pt x="1250" y="823"/>
                    <a:pt x="1250" y="823"/>
                    <a:pt x="1250" y="823"/>
                  </a:cubicBezTo>
                  <a:cubicBezTo>
                    <a:pt x="1251" y="823"/>
                    <a:pt x="1251" y="823"/>
                    <a:pt x="1251" y="823"/>
                  </a:cubicBezTo>
                  <a:cubicBezTo>
                    <a:pt x="1251" y="823"/>
                    <a:pt x="1251" y="823"/>
                    <a:pt x="1251" y="823"/>
                  </a:cubicBezTo>
                  <a:cubicBezTo>
                    <a:pt x="1252" y="824"/>
                    <a:pt x="1252" y="824"/>
                    <a:pt x="1252" y="824"/>
                  </a:cubicBezTo>
                  <a:cubicBezTo>
                    <a:pt x="1253" y="824"/>
                    <a:pt x="1253" y="824"/>
                    <a:pt x="1253" y="824"/>
                  </a:cubicBezTo>
                  <a:cubicBezTo>
                    <a:pt x="1254" y="824"/>
                    <a:pt x="1254" y="824"/>
                    <a:pt x="1254" y="824"/>
                  </a:cubicBezTo>
                  <a:cubicBezTo>
                    <a:pt x="1255" y="824"/>
                    <a:pt x="1255" y="824"/>
                    <a:pt x="1255" y="824"/>
                  </a:cubicBezTo>
                  <a:cubicBezTo>
                    <a:pt x="1255" y="824"/>
                    <a:pt x="1255" y="824"/>
                    <a:pt x="1255" y="824"/>
                  </a:cubicBezTo>
                  <a:cubicBezTo>
                    <a:pt x="1255" y="824"/>
                    <a:pt x="1255" y="824"/>
                    <a:pt x="1255" y="824"/>
                  </a:cubicBezTo>
                  <a:cubicBezTo>
                    <a:pt x="1255" y="824"/>
                    <a:pt x="1255" y="824"/>
                    <a:pt x="1255" y="824"/>
                  </a:cubicBezTo>
                  <a:cubicBezTo>
                    <a:pt x="1255" y="824"/>
                    <a:pt x="1256" y="824"/>
                    <a:pt x="1256" y="824"/>
                  </a:cubicBezTo>
                  <a:cubicBezTo>
                    <a:pt x="1256" y="824"/>
                    <a:pt x="1256" y="824"/>
                    <a:pt x="1256" y="824"/>
                  </a:cubicBezTo>
                  <a:cubicBezTo>
                    <a:pt x="1256" y="824"/>
                    <a:pt x="1256" y="824"/>
                    <a:pt x="1256" y="824"/>
                  </a:cubicBezTo>
                  <a:cubicBezTo>
                    <a:pt x="1256" y="824"/>
                    <a:pt x="1256" y="824"/>
                    <a:pt x="1256" y="824"/>
                  </a:cubicBezTo>
                  <a:cubicBezTo>
                    <a:pt x="1256" y="824"/>
                    <a:pt x="1256" y="824"/>
                    <a:pt x="1256" y="824"/>
                  </a:cubicBezTo>
                  <a:cubicBezTo>
                    <a:pt x="1256" y="823"/>
                    <a:pt x="1256" y="823"/>
                    <a:pt x="1256" y="823"/>
                  </a:cubicBezTo>
                  <a:cubicBezTo>
                    <a:pt x="1257" y="823"/>
                    <a:pt x="1257" y="823"/>
                    <a:pt x="1257" y="823"/>
                  </a:cubicBezTo>
                  <a:cubicBezTo>
                    <a:pt x="1257" y="823"/>
                    <a:pt x="1257" y="823"/>
                    <a:pt x="1257" y="823"/>
                  </a:cubicBezTo>
                  <a:cubicBezTo>
                    <a:pt x="1257" y="823"/>
                    <a:pt x="1257" y="823"/>
                    <a:pt x="1257" y="823"/>
                  </a:cubicBezTo>
                  <a:cubicBezTo>
                    <a:pt x="1258" y="824"/>
                    <a:pt x="1258" y="824"/>
                    <a:pt x="1258" y="824"/>
                  </a:cubicBezTo>
                  <a:cubicBezTo>
                    <a:pt x="1259" y="824"/>
                    <a:pt x="1259" y="824"/>
                    <a:pt x="1259" y="824"/>
                  </a:cubicBezTo>
                  <a:cubicBezTo>
                    <a:pt x="1259" y="824"/>
                    <a:pt x="1259" y="824"/>
                    <a:pt x="1259" y="824"/>
                  </a:cubicBezTo>
                  <a:cubicBezTo>
                    <a:pt x="1261" y="825"/>
                    <a:pt x="1261" y="825"/>
                    <a:pt x="1261" y="825"/>
                  </a:cubicBezTo>
                  <a:cubicBezTo>
                    <a:pt x="1261" y="825"/>
                    <a:pt x="1261" y="825"/>
                    <a:pt x="1261"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2" y="825"/>
                    <a:pt x="1262" y="825"/>
                    <a:pt x="1262" y="825"/>
                  </a:cubicBezTo>
                  <a:cubicBezTo>
                    <a:pt x="1263" y="825"/>
                    <a:pt x="1263" y="825"/>
                    <a:pt x="1263" y="825"/>
                  </a:cubicBezTo>
                  <a:cubicBezTo>
                    <a:pt x="1263" y="824"/>
                    <a:pt x="1263" y="824"/>
                    <a:pt x="1263" y="824"/>
                  </a:cubicBezTo>
                  <a:cubicBezTo>
                    <a:pt x="1263" y="824"/>
                    <a:pt x="1263" y="824"/>
                    <a:pt x="1263" y="824"/>
                  </a:cubicBezTo>
                  <a:cubicBezTo>
                    <a:pt x="1263" y="825"/>
                    <a:pt x="1263" y="825"/>
                    <a:pt x="1263" y="825"/>
                  </a:cubicBezTo>
                  <a:cubicBezTo>
                    <a:pt x="1264" y="826"/>
                    <a:pt x="1264" y="826"/>
                    <a:pt x="1264" y="826"/>
                  </a:cubicBezTo>
                  <a:cubicBezTo>
                    <a:pt x="1266" y="829"/>
                    <a:pt x="1266" y="829"/>
                    <a:pt x="1266" y="829"/>
                  </a:cubicBezTo>
                  <a:cubicBezTo>
                    <a:pt x="1267" y="830"/>
                    <a:pt x="1267" y="830"/>
                    <a:pt x="1267" y="830"/>
                  </a:cubicBezTo>
                  <a:cubicBezTo>
                    <a:pt x="1267" y="831"/>
                    <a:pt x="1267" y="831"/>
                    <a:pt x="1267" y="831"/>
                  </a:cubicBezTo>
                  <a:cubicBezTo>
                    <a:pt x="1267" y="831"/>
                    <a:pt x="1268" y="832"/>
                    <a:pt x="1268" y="832"/>
                  </a:cubicBezTo>
                  <a:cubicBezTo>
                    <a:pt x="1268" y="832"/>
                    <a:pt x="1268" y="832"/>
                    <a:pt x="1268" y="832"/>
                  </a:cubicBezTo>
                  <a:cubicBezTo>
                    <a:pt x="1268" y="832"/>
                    <a:pt x="1268" y="832"/>
                    <a:pt x="1268" y="832"/>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3"/>
                    <a:pt x="1268" y="833"/>
                    <a:pt x="1268" y="833"/>
                  </a:cubicBezTo>
                  <a:cubicBezTo>
                    <a:pt x="1268" y="834"/>
                    <a:pt x="1268" y="834"/>
                    <a:pt x="1268" y="834"/>
                  </a:cubicBezTo>
                  <a:cubicBezTo>
                    <a:pt x="1268" y="834"/>
                    <a:pt x="1268" y="834"/>
                    <a:pt x="1268" y="834"/>
                  </a:cubicBezTo>
                  <a:cubicBezTo>
                    <a:pt x="1268" y="834"/>
                    <a:pt x="1268" y="834"/>
                    <a:pt x="1268" y="834"/>
                  </a:cubicBezTo>
                  <a:cubicBezTo>
                    <a:pt x="1268" y="834"/>
                    <a:pt x="1268" y="834"/>
                    <a:pt x="1268" y="834"/>
                  </a:cubicBezTo>
                  <a:cubicBezTo>
                    <a:pt x="1268" y="835"/>
                    <a:pt x="1268" y="834"/>
                    <a:pt x="1268" y="835"/>
                  </a:cubicBezTo>
                  <a:cubicBezTo>
                    <a:pt x="1269" y="835"/>
                    <a:pt x="1269" y="835"/>
                    <a:pt x="1269" y="835"/>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6"/>
                    <a:pt x="1269" y="836"/>
                    <a:pt x="1269" y="836"/>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7"/>
                    <a:pt x="1269" y="837"/>
                    <a:pt x="1269" y="837"/>
                  </a:cubicBezTo>
                  <a:cubicBezTo>
                    <a:pt x="1269" y="838"/>
                    <a:pt x="1269" y="838"/>
                    <a:pt x="1269" y="838"/>
                  </a:cubicBezTo>
                  <a:cubicBezTo>
                    <a:pt x="1269" y="838"/>
                    <a:pt x="1269" y="838"/>
                    <a:pt x="1269" y="838"/>
                  </a:cubicBezTo>
                  <a:cubicBezTo>
                    <a:pt x="1269" y="838"/>
                    <a:pt x="1269" y="838"/>
                    <a:pt x="1269" y="838"/>
                  </a:cubicBezTo>
                  <a:cubicBezTo>
                    <a:pt x="1270" y="838"/>
                    <a:pt x="1270" y="839"/>
                    <a:pt x="1270" y="839"/>
                  </a:cubicBezTo>
                  <a:cubicBezTo>
                    <a:pt x="1270" y="839"/>
                    <a:pt x="1270" y="839"/>
                    <a:pt x="1270" y="839"/>
                  </a:cubicBezTo>
                  <a:cubicBezTo>
                    <a:pt x="1270" y="839"/>
                    <a:pt x="1270" y="839"/>
                    <a:pt x="1270" y="839"/>
                  </a:cubicBezTo>
                  <a:cubicBezTo>
                    <a:pt x="1270" y="840"/>
                    <a:pt x="1270" y="840"/>
                    <a:pt x="1270" y="840"/>
                  </a:cubicBezTo>
                  <a:cubicBezTo>
                    <a:pt x="1271" y="841"/>
                    <a:pt x="1271" y="841"/>
                    <a:pt x="1271" y="841"/>
                  </a:cubicBezTo>
                  <a:cubicBezTo>
                    <a:pt x="1271" y="841"/>
                    <a:pt x="1271" y="841"/>
                    <a:pt x="1271" y="841"/>
                  </a:cubicBezTo>
                  <a:cubicBezTo>
                    <a:pt x="1271" y="841"/>
                    <a:pt x="1271" y="841"/>
                    <a:pt x="1271" y="841"/>
                  </a:cubicBezTo>
                  <a:cubicBezTo>
                    <a:pt x="1271" y="841"/>
                    <a:pt x="1271" y="841"/>
                    <a:pt x="1271" y="841"/>
                  </a:cubicBezTo>
                  <a:cubicBezTo>
                    <a:pt x="1271" y="842"/>
                    <a:pt x="1271" y="842"/>
                    <a:pt x="1272" y="842"/>
                  </a:cubicBezTo>
                  <a:cubicBezTo>
                    <a:pt x="1272" y="843"/>
                    <a:pt x="1272" y="843"/>
                    <a:pt x="1272" y="843"/>
                  </a:cubicBezTo>
                  <a:cubicBezTo>
                    <a:pt x="1272" y="843"/>
                    <a:pt x="1272" y="843"/>
                    <a:pt x="1272" y="843"/>
                  </a:cubicBezTo>
                  <a:cubicBezTo>
                    <a:pt x="1272" y="843"/>
                    <a:pt x="1272" y="843"/>
                    <a:pt x="1273" y="844"/>
                  </a:cubicBezTo>
                  <a:cubicBezTo>
                    <a:pt x="1273" y="844"/>
                    <a:pt x="1273" y="844"/>
                    <a:pt x="1273" y="844"/>
                  </a:cubicBezTo>
                  <a:cubicBezTo>
                    <a:pt x="1273" y="844"/>
                    <a:pt x="1273" y="844"/>
                    <a:pt x="1273" y="844"/>
                  </a:cubicBezTo>
                  <a:cubicBezTo>
                    <a:pt x="1273" y="844"/>
                    <a:pt x="1273" y="844"/>
                    <a:pt x="1273" y="844"/>
                  </a:cubicBezTo>
                  <a:cubicBezTo>
                    <a:pt x="1273" y="844"/>
                    <a:pt x="1273" y="844"/>
                    <a:pt x="1273" y="844"/>
                  </a:cubicBezTo>
                  <a:cubicBezTo>
                    <a:pt x="1273" y="844"/>
                    <a:pt x="1273" y="844"/>
                    <a:pt x="1273" y="844"/>
                  </a:cubicBezTo>
                  <a:cubicBezTo>
                    <a:pt x="1273" y="845"/>
                    <a:pt x="1273" y="845"/>
                    <a:pt x="1273" y="845"/>
                  </a:cubicBezTo>
                  <a:cubicBezTo>
                    <a:pt x="1273" y="845"/>
                    <a:pt x="1273" y="845"/>
                    <a:pt x="1273" y="845"/>
                  </a:cubicBezTo>
                  <a:cubicBezTo>
                    <a:pt x="1274" y="845"/>
                    <a:pt x="1274" y="845"/>
                    <a:pt x="1274" y="845"/>
                  </a:cubicBezTo>
                  <a:cubicBezTo>
                    <a:pt x="1274" y="846"/>
                    <a:pt x="1275" y="847"/>
                    <a:pt x="1276" y="847"/>
                  </a:cubicBezTo>
                  <a:cubicBezTo>
                    <a:pt x="1276" y="847"/>
                    <a:pt x="1276" y="847"/>
                    <a:pt x="1276" y="847"/>
                  </a:cubicBezTo>
                  <a:cubicBezTo>
                    <a:pt x="1276" y="848"/>
                    <a:pt x="1276" y="848"/>
                    <a:pt x="1276" y="848"/>
                  </a:cubicBezTo>
                  <a:cubicBezTo>
                    <a:pt x="1276" y="848"/>
                    <a:pt x="1276" y="848"/>
                    <a:pt x="1276" y="848"/>
                  </a:cubicBezTo>
                  <a:cubicBezTo>
                    <a:pt x="1277" y="848"/>
                    <a:pt x="1277" y="848"/>
                    <a:pt x="1277" y="848"/>
                  </a:cubicBezTo>
                  <a:cubicBezTo>
                    <a:pt x="1279" y="848"/>
                    <a:pt x="1279" y="848"/>
                    <a:pt x="1279" y="848"/>
                  </a:cubicBezTo>
                  <a:cubicBezTo>
                    <a:pt x="1283" y="849"/>
                    <a:pt x="1283" y="849"/>
                    <a:pt x="1283" y="849"/>
                  </a:cubicBezTo>
                  <a:cubicBezTo>
                    <a:pt x="1284" y="849"/>
                    <a:pt x="1284" y="849"/>
                    <a:pt x="1284" y="849"/>
                  </a:cubicBezTo>
                  <a:cubicBezTo>
                    <a:pt x="1285" y="850"/>
                    <a:pt x="1285" y="850"/>
                    <a:pt x="1285" y="850"/>
                  </a:cubicBezTo>
                  <a:cubicBezTo>
                    <a:pt x="1285" y="850"/>
                    <a:pt x="1285" y="850"/>
                    <a:pt x="1285" y="850"/>
                  </a:cubicBezTo>
                  <a:cubicBezTo>
                    <a:pt x="1285" y="850"/>
                    <a:pt x="1285" y="850"/>
                    <a:pt x="1285" y="850"/>
                  </a:cubicBezTo>
                  <a:cubicBezTo>
                    <a:pt x="1286" y="850"/>
                    <a:pt x="1286" y="850"/>
                    <a:pt x="1286" y="850"/>
                  </a:cubicBezTo>
                  <a:cubicBezTo>
                    <a:pt x="1286" y="850"/>
                    <a:pt x="1286" y="850"/>
                    <a:pt x="1286" y="850"/>
                  </a:cubicBezTo>
                  <a:cubicBezTo>
                    <a:pt x="1286" y="850"/>
                    <a:pt x="1286" y="850"/>
                    <a:pt x="1286" y="850"/>
                  </a:cubicBezTo>
                  <a:cubicBezTo>
                    <a:pt x="1288" y="850"/>
                    <a:pt x="1288" y="849"/>
                    <a:pt x="1289" y="849"/>
                  </a:cubicBezTo>
                  <a:cubicBezTo>
                    <a:pt x="1290" y="849"/>
                    <a:pt x="1290" y="849"/>
                    <a:pt x="1290" y="849"/>
                  </a:cubicBezTo>
                  <a:cubicBezTo>
                    <a:pt x="1290" y="849"/>
                    <a:pt x="1290" y="849"/>
                    <a:pt x="1290" y="849"/>
                  </a:cubicBezTo>
                  <a:cubicBezTo>
                    <a:pt x="1290" y="849"/>
                    <a:pt x="1290" y="849"/>
                    <a:pt x="1290" y="849"/>
                  </a:cubicBezTo>
                  <a:cubicBezTo>
                    <a:pt x="1290" y="849"/>
                    <a:pt x="1290" y="849"/>
                    <a:pt x="1290" y="849"/>
                  </a:cubicBezTo>
                  <a:cubicBezTo>
                    <a:pt x="1291" y="849"/>
                    <a:pt x="1293" y="848"/>
                    <a:pt x="1294" y="848"/>
                  </a:cubicBezTo>
                  <a:cubicBezTo>
                    <a:pt x="1295" y="848"/>
                    <a:pt x="1295" y="848"/>
                    <a:pt x="1295" y="848"/>
                  </a:cubicBezTo>
                  <a:cubicBezTo>
                    <a:pt x="1296" y="848"/>
                    <a:pt x="1297" y="848"/>
                    <a:pt x="1299" y="849"/>
                  </a:cubicBezTo>
                  <a:cubicBezTo>
                    <a:pt x="1299" y="849"/>
                    <a:pt x="1299" y="849"/>
                    <a:pt x="1299" y="849"/>
                  </a:cubicBezTo>
                  <a:cubicBezTo>
                    <a:pt x="1299" y="849"/>
                    <a:pt x="1299" y="849"/>
                    <a:pt x="1299" y="849"/>
                  </a:cubicBezTo>
                  <a:cubicBezTo>
                    <a:pt x="1299" y="849"/>
                    <a:pt x="1299" y="849"/>
                    <a:pt x="1299" y="849"/>
                  </a:cubicBezTo>
                  <a:cubicBezTo>
                    <a:pt x="1299" y="849"/>
                    <a:pt x="1299" y="849"/>
                    <a:pt x="1299" y="849"/>
                  </a:cubicBezTo>
                  <a:cubicBezTo>
                    <a:pt x="1300" y="849"/>
                    <a:pt x="1300" y="849"/>
                    <a:pt x="1300" y="849"/>
                  </a:cubicBezTo>
                  <a:cubicBezTo>
                    <a:pt x="1299" y="849"/>
                    <a:pt x="1299" y="849"/>
                    <a:pt x="1299" y="849"/>
                  </a:cubicBezTo>
                  <a:cubicBezTo>
                    <a:pt x="1299" y="851"/>
                    <a:pt x="1299" y="851"/>
                    <a:pt x="1299" y="851"/>
                  </a:cubicBezTo>
                  <a:cubicBezTo>
                    <a:pt x="1299" y="851"/>
                    <a:pt x="1299" y="851"/>
                    <a:pt x="1299" y="851"/>
                  </a:cubicBezTo>
                  <a:cubicBezTo>
                    <a:pt x="1299" y="852"/>
                    <a:pt x="1299" y="852"/>
                    <a:pt x="1299"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2"/>
                    <a:pt x="1298" y="852"/>
                    <a:pt x="1298" y="852"/>
                  </a:cubicBezTo>
                  <a:cubicBezTo>
                    <a:pt x="1298" y="853"/>
                    <a:pt x="1298" y="853"/>
                    <a:pt x="1298" y="853"/>
                  </a:cubicBezTo>
                  <a:cubicBezTo>
                    <a:pt x="1298" y="853"/>
                    <a:pt x="1298" y="853"/>
                    <a:pt x="1298" y="853"/>
                  </a:cubicBezTo>
                  <a:cubicBezTo>
                    <a:pt x="1298" y="853"/>
                    <a:pt x="1298" y="853"/>
                    <a:pt x="1298" y="853"/>
                  </a:cubicBezTo>
                  <a:cubicBezTo>
                    <a:pt x="1298" y="853"/>
                    <a:pt x="1298" y="853"/>
                    <a:pt x="1298" y="853"/>
                  </a:cubicBezTo>
                  <a:cubicBezTo>
                    <a:pt x="1299" y="853"/>
                    <a:pt x="1299" y="853"/>
                    <a:pt x="1299" y="853"/>
                  </a:cubicBezTo>
                  <a:cubicBezTo>
                    <a:pt x="1299" y="853"/>
                    <a:pt x="1299" y="853"/>
                    <a:pt x="1299" y="853"/>
                  </a:cubicBezTo>
                  <a:cubicBezTo>
                    <a:pt x="1299" y="854"/>
                    <a:pt x="1299" y="854"/>
                    <a:pt x="1299" y="854"/>
                  </a:cubicBezTo>
                  <a:cubicBezTo>
                    <a:pt x="1299" y="854"/>
                    <a:pt x="1299" y="854"/>
                    <a:pt x="1299" y="854"/>
                  </a:cubicBezTo>
                  <a:cubicBezTo>
                    <a:pt x="1299" y="854"/>
                    <a:pt x="1299" y="854"/>
                    <a:pt x="1299" y="854"/>
                  </a:cubicBezTo>
                  <a:cubicBezTo>
                    <a:pt x="1299" y="854"/>
                    <a:pt x="1299" y="854"/>
                    <a:pt x="1299" y="854"/>
                  </a:cubicBezTo>
                  <a:cubicBezTo>
                    <a:pt x="1299" y="854"/>
                    <a:pt x="1299" y="854"/>
                    <a:pt x="1299" y="854"/>
                  </a:cubicBezTo>
                  <a:cubicBezTo>
                    <a:pt x="1298" y="854"/>
                    <a:pt x="1298" y="854"/>
                    <a:pt x="1298" y="854"/>
                  </a:cubicBezTo>
                  <a:cubicBezTo>
                    <a:pt x="1298" y="854"/>
                    <a:pt x="1298" y="855"/>
                    <a:pt x="1298" y="855"/>
                  </a:cubicBezTo>
                  <a:cubicBezTo>
                    <a:pt x="1298" y="855"/>
                    <a:pt x="1298" y="855"/>
                    <a:pt x="1298" y="855"/>
                  </a:cubicBezTo>
                  <a:cubicBezTo>
                    <a:pt x="1298" y="855"/>
                    <a:pt x="1298" y="855"/>
                    <a:pt x="1298" y="855"/>
                  </a:cubicBezTo>
                  <a:cubicBezTo>
                    <a:pt x="1298" y="855"/>
                    <a:pt x="1298" y="855"/>
                    <a:pt x="1298" y="855"/>
                  </a:cubicBezTo>
                  <a:cubicBezTo>
                    <a:pt x="1297" y="855"/>
                    <a:pt x="1297" y="855"/>
                    <a:pt x="1297" y="855"/>
                  </a:cubicBezTo>
                  <a:cubicBezTo>
                    <a:pt x="1297" y="855"/>
                    <a:pt x="1297" y="855"/>
                    <a:pt x="1297" y="855"/>
                  </a:cubicBezTo>
                  <a:cubicBezTo>
                    <a:pt x="1297" y="855"/>
                    <a:pt x="1297" y="855"/>
                    <a:pt x="1297" y="855"/>
                  </a:cubicBezTo>
                  <a:cubicBezTo>
                    <a:pt x="1297" y="855"/>
                    <a:pt x="1297" y="855"/>
                    <a:pt x="1297" y="855"/>
                  </a:cubicBezTo>
                  <a:cubicBezTo>
                    <a:pt x="1297" y="856"/>
                    <a:pt x="1297" y="856"/>
                    <a:pt x="1297" y="856"/>
                  </a:cubicBezTo>
                  <a:cubicBezTo>
                    <a:pt x="1297" y="856"/>
                    <a:pt x="1297" y="856"/>
                    <a:pt x="1297" y="856"/>
                  </a:cubicBezTo>
                  <a:cubicBezTo>
                    <a:pt x="1297" y="856"/>
                    <a:pt x="1297" y="856"/>
                    <a:pt x="1297" y="856"/>
                  </a:cubicBezTo>
                  <a:cubicBezTo>
                    <a:pt x="1297" y="856"/>
                    <a:pt x="1297" y="856"/>
                    <a:pt x="1297" y="856"/>
                  </a:cubicBezTo>
                  <a:cubicBezTo>
                    <a:pt x="1297" y="856"/>
                    <a:pt x="1297" y="856"/>
                    <a:pt x="1297" y="856"/>
                  </a:cubicBezTo>
                  <a:cubicBezTo>
                    <a:pt x="1297" y="856"/>
                    <a:pt x="1297" y="856"/>
                    <a:pt x="1297" y="857"/>
                  </a:cubicBezTo>
                  <a:cubicBezTo>
                    <a:pt x="1297" y="857"/>
                    <a:pt x="1297" y="857"/>
                    <a:pt x="1297" y="857"/>
                  </a:cubicBezTo>
                  <a:cubicBezTo>
                    <a:pt x="1297" y="857"/>
                    <a:pt x="1297" y="857"/>
                    <a:pt x="1297" y="857"/>
                  </a:cubicBezTo>
                  <a:cubicBezTo>
                    <a:pt x="1297" y="857"/>
                    <a:pt x="1297" y="857"/>
                    <a:pt x="1297" y="857"/>
                  </a:cubicBezTo>
                  <a:cubicBezTo>
                    <a:pt x="1296" y="858"/>
                    <a:pt x="1296" y="858"/>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6" y="859"/>
                    <a:pt x="1296" y="859"/>
                    <a:pt x="1296" y="859"/>
                  </a:cubicBezTo>
                  <a:cubicBezTo>
                    <a:pt x="1297" y="860"/>
                    <a:pt x="1297" y="860"/>
                    <a:pt x="1297" y="860"/>
                  </a:cubicBezTo>
                  <a:cubicBezTo>
                    <a:pt x="1297" y="860"/>
                    <a:pt x="1297" y="860"/>
                    <a:pt x="1297" y="860"/>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8" y="861"/>
                    <a:pt x="1298" y="861"/>
                    <a:pt x="1298" y="861"/>
                  </a:cubicBezTo>
                  <a:cubicBezTo>
                    <a:pt x="1299" y="862"/>
                    <a:pt x="1299" y="862"/>
                    <a:pt x="1299" y="862"/>
                  </a:cubicBezTo>
                  <a:cubicBezTo>
                    <a:pt x="1300" y="863"/>
                    <a:pt x="1300" y="863"/>
                    <a:pt x="1300" y="863"/>
                  </a:cubicBezTo>
                  <a:cubicBezTo>
                    <a:pt x="1302" y="865"/>
                    <a:pt x="1302" y="865"/>
                    <a:pt x="1302" y="865"/>
                  </a:cubicBezTo>
                  <a:cubicBezTo>
                    <a:pt x="1303" y="865"/>
                    <a:pt x="1303" y="865"/>
                    <a:pt x="1303" y="865"/>
                  </a:cubicBezTo>
                  <a:cubicBezTo>
                    <a:pt x="1304" y="866"/>
                    <a:pt x="1304" y="866"/>
                    <a:pt x="1304" y="866"/>
                  </a:cubicBezTo>
                  <a:cubicBezTo>
                    <a:pt x="1304" y="866"/>
                    <a:pt x="1304" y="866"/>
                    <a:pt x="1304" y="866"/>
                  </a:cubicBezTo>
                  <a:cubicBezTo>
                    <a:pt x="1304" y="866"/>
                    <a:pt x="1304" y="866"/>
                    <a:pt x="1304" y="866"/>
                  </a:cubicBezTo>
                  <a:cubicBezTo>
                    <a:pt x="1304" y="866"/>
                    <a:pt x="1304" y="866"/>
                    <a:pt x="1304" y="866"/>
                  </a:cubicBezTo>
                  <a:cubicBezTo>
                    <a:pt x="1305" y="867"/>
                    <a:pt x="1305" y="867"/>
                    <a:pt x="1305" y="867"/>
                  </a:cubicBezTo>
                  <a:cubicBezTo>
                    <a:pt x="1306" y="867"/>
                    <a:pt x="1306" y="867"/>
                    <a:pt x="1306" y="867"/>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8"/>
                    <a:pt x="1306" y="868"/>
                    <a:pt x="1306" y="868"/>
                  </a:cubicBezTo>
                  <a:cubicBezTo>
                    <a:pt x="1306" y="869"/>
                    <a:pt x="1306" y="869"/>
                    <a:pt x="1305" y="869"/>
                  </a:cubicBezTo>
                  <a:cubicBezTo>
                    <a:pt x="1305" y="869"/>
                    <a:pt x="1305" y="869"/>
                    <a:pt x="1305" y="869"/>
                  </a:cubicBezTo>
                  <a:cubicBezTo>
                    <a:pt x="1305" y="869"/>
                    <a:pt x="1305" y="869"/>
                    <a:pt x="1305" y="869"/>
                  </a:cubicBezTo>
                  <a:cubicBezTo>
                    <a:pt x="1305" y="870"/>
                    <a:pt x="1304" y="871"/>
                    <a:pt x="1304" y="871"/>
                  </a:cubicBezTo>
                  <a:cubicBezTo>
                    <a:pt x="1304" y="871"/>
                    <a:pt x="1304" y="871"/>
                    <a:pt x="1304" y="871"/>
                  </a:cubicBezTo>
                  <a:cubicBezTo>
                    <a:pt x="1304" y="871"/>
                    <a:pt x="1304" y="871"/>
                    <a:pt x="1304" y="871"/>
                  </a:cubicBezTo>
                  <a:cubicBezTo>
                    <a:pt x="1304" y="871"/>
                    <a:pt x="1304" y="871"/>
                    <a:pt x="1304" y="871"/>
                  </a:cubicBezTo>
                  <a:cubicBezTo>
                    <a:pt x="1304" y="871"/>
                    <a:pt x="1304" y="871"/>
                    <a:pt x="1304" y="871"/>
                  </a:cubicBezTo>
                  <a:cubicBezTo>
                    <a:pt x="1304" y="871"/>
                    <a:pt x="1304" y="871"/>
                    <a:pt x="1304" y="871"/>
                  </a:cubicBezTo>
                  <a:cubicBezTo>
                    <a:pt x="1304" y="872"/>
                    <a:pt x="1304" y="872"/>
                    <a:pt x="1304" y="872"/>
                  </a:cubicBezTo>
                  <a:cubicBezTo>
                    <a:pt x="1304" y="872"/>
                    <a:pt x="1304" y="872"/>
                    <a:pt x="1304" y="872"/>
                  </a:cubicBezTo>
                  <a:cubicBezTo>
                    <a:pt x="1304" y="872"/>
                    <a:pt x="1304" y="872"/>
                    <a:pt x="1304" y="872"/>
                  </a:cubicBezTo>
                  <a:cubicBezTo>
                    <a:pt x="1304" y="872"/>
                    <a:pt x="1304" y="872"/>
                    <a:pt x="1304" y="872"/>
                  </a:cubicBezTo>
                  <a:cubicBezTo>
                    <a:pt x="1303" y="872"/>
                    <a:pt x="1303" y="872"/>
                    <a:pt x="1303" y="872"/>
                  </a:cubicBezTo>
                  <a:cubicBezTo>
                    <a:pt x="1303" y="872"/>
                    <a:pt x="1303" y="872"/>
                    <a:pt x="1303" y="872"/>
                  </a:cubicBezTo>
                  <a:cubicBezTo>
                    <a:pt x="1303" y="872"/>
                    <a:pt x="1303" y="872"/>
                    <a:pt x="1303" y="872"/>
                  </a:cubicBezTo>
                  <a:cubicBezTo>
                    <a:pt x="1303" y="872"/>
                    <a:pt x="1303" y="872"/>
                    <a:pt x="1303" y="872"/>
                  </a:cubicBezTo>
                  <a:cubicBezTo>
                    <a:pt x="1303" y="872"/>
                    <a:pt x="1303" y="872"/>
                    <a:pt x="1303" y="872"/>
                  </a:cubicBezTo>
                  <a:cubicBezTo>
                    <a:pt x="1303" y="873"/>
                    <a:pt x="1303" y="873"/>
                    <a:pt x="1303" y="873"/>
                  </a:cubicBezTo>
                  <a:cubicBezTo>
                    <a:pt x="1303" y="873"/>
                    <a:pt x="1303" y="873"/>
                    <a:pt x="1303" y="873"/>
                  </a:cubicBezTo>
                  <a:cubicBezTo>
                    <a:pt x="1303" y="873"/>
                    <a:pt x="1303" y="873"/>
                    <a:pt x="1303" y="873"/>
                  </a:cubicBezTo>
                  <a:cubicBezTo>
                    <a:pt x="1303" y="873"/>
                    <a:pt x="1303" y="873"/>
                    <a:pt x="1303" y="873"/>
                  </a:cubicBezTo>
                  <a:cubicBezTo>
                    <a:pt x="1303" y="874"/>
                    <a:pt x="1304" y="874"/>
                    <a:pt x="1303" y="874"/>
                  </a:cubicBezTo>
                  <a:cubicBezTo>
                    <a:pt x="1303" y="875"/>
                    <a:pt x="1303" y="875"/>
                    <a:pt x="1303" y="875"/>
                  </a:cubicBezTo>
                  <a:cubicBezTo>
                    <a:pt x="1303" y="875"/>
                    <a:pt x="1303" y="875"/>
                    <a:pt x="1303" y="875"/>
                  </a:cubicBezTo>
                  <a:cubicBezTo>
                    <a:pt x="1302" y="875"/>
                    <a:pt x="1302" y="875"/>
                    <a:pt x="1302" y="875"/>
                  </a:cubicBezTo>
                  <a:cubicBezTo>
                    <a:pt x="1302" y="875"/>
                    <a:pt x="1302" y="875"/>
                    <a:pt x="1302" y="875"/>
                  </a:cubicBezTo>
                  <a:cubicBezTo>
                    <a:pt x="1302" y="875"/>
                    <a:pt x="1302" y="875"/>
                    <a:pt x="1302" y="876"/>
                  </a:cubicBezTo>
                  <a:cubicBezTo>
                    <a:pt x="1302" y="876"/>
                    <a:pt x="1302" y="876"/>
                    <a:pt x="1302" y="876"/>
                  </a:cubicBezTo>
                  <a:cubicBezTo>
                    <a:pt x="1302" y="876"/>
                    <a:pt x="1302" y="876"/>
                    <a:pt x="1302" y="876"/>
                  </a:cubicBezTo>
                  <a:cubicBezTo>
                    <a:pt x="1302" y="877"/>
                    <a:pt x="1302" y="877"/>
                    <a:pt x="1302" y="877"/>
                  </a:cubicBezTo>
                  <a:cubicBezTo>
                    <a:pt x="1302" y="877"/>
                    <a:pt x="1302" y="877"/>
                    <a:pt x="1302" y="877"/>
                  </a:cubicBezTo>
                  <a:cubicBezTo>
                    <a:pt x="1301" y="877"/>
                    <a:pt x="1301" y="877"/>
                    <a:pt x="1301" y="877"/>
                  </a:cubicBezTo>
                  <a:cubicBezTo>
                    <a:pt x="1301" y="877"/>
                    <a:pt x="1301" y="877"/>
                    <a:pt x="1301" y="877"/>
                  </a:cubicBezTo>
                  <a:cubicBezTo>
                    <a:pt x="1301" y="877"/>
                    <a:pt x="1301" y="877"/>
                    <a:pt x="1301" y="877"/>
                  </a:cubicBezTo>
                  <a:cubicBezTo>
                    <a:pt x="1301" y="877"/>
                    <a:pt x="1301" y="877"/>
                    <a:pt x="1301" y="877"/>
                  </a:cubicBezTo>
                  <a:cubicBezTo>
                    <a:pt x="1301" y="877"/>
                    <a:pt x="1301" y="877"/>
                    <a:pt x="1301" y="877"/>
                  </a:cubicBezTo>
                  <a:cubicBezTo>
                    <a:pt x="1302" y="877"/>
                    <a:pt x="1302" y="877"/>
                    <a:pt x="1302" y="877"/>
                  </a:cubicBezTo>
                  <a:cubicBezTo>
                    <a:pt x="1302" y="877"/>
                    <a:pt x="1302" y="877"/>
                    <a:pt x="1302" y="877"/>
                  </a:cubicBezTo>
                  <a:cubicBezTo>
                    <a:pt x="1302" y="878"/>
                    <a:pt x="1302" y="878"/>
                    <a:pt x="1302" y="878"/>
                  </a:cubicBezTo>
                  <a:cubicBezTo>
                    <a:pt x="1303" y="879"/>
                    <a:pt x="1303" y="879"/>
                    <a:pt x="1303" y="879"/>
                  </a:cubicBezTo>
                  <a:cubicBezTo>
                    <a:pt x="1306" y="881"/>
                    <a:pt x="1306" y="881"/>
                    <a:pt x="1306" y="881"/>
                  </a:cubicBezTo>
                  <a:cubicBezTo>
                    <a:pt x="1307" y="881"/>
                    <a:pt x="1307" y="881"/>
                    <a:pt x="1307" y="881"/>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2"/>
                    <a:pt x="1307" y="882"/>
                    <a:pt x="1307" y="882"/>
                  </a:cubicBezTo>
                  <a:cubicBezTo>
                    <a:pt x="1307" y="883"/>
                    <a:pt x="1307" y="883"/>
                    <a:pt x="1307" y="883"/>
                  </a:cubicBezTo>
                  <a:cubicBezTo>
                    <a:pt x="1307" y="883"/>
                    <a:pt x="1307" y="883"/>
                    <a:pt x="1307" y="883"/>
                  </a:cubicBezTo>
                  <a:cubicBezTo>
                    <a:pt x="1307" y="883"/>
                    <a:pt x="1307" y="883"/>
                    <a:pt x="1307" y="883"/>
                  </a:cubicBezTo>
                  <a:cubicBezTo>
                    <a:pt x="1307" y="883"/>
                    <a:pt x="1307" y="883"/>
                    <a:pt x="1307" y="883"/>
                  </a:cubicBezTo>
                  <a:cubicBezTo>
                    <a:pt x="1307" y="883"/>
                    <a:pt x="1307" y="884"/>
                    <a:pt x="1307" y="884"/>
                  </a:cubicBezTo>
                  <a:cubicBezTo>
                    <a:pt x="1307" y="884"/>
                    <a:pt x="1307" y="884"/>
                    <a:pt x="1307" y="884"/>
                  </a:cubicBezTo>
                  <a:cubicBezTo>
                    <a:pt x="1307" y="884"/>
                    <a:pt x="1307" y="884"/>
                    <a:pt x="1307" y="884"/>
                  </a:cubicBezTo>
                  <a:cubicBezTo>
                    <a:pt x="1307" y="884"/>
                    <a:pt x="1307" y="884"/>
                    <a:pt x="1307" y="884"/>
                  </a:cubicBezTo>
                  <a:cubicBezTo>
                    <a:pt x="1306" y="885"/>
                    <a:pt x="1308" y="886"/>
                    <a:pt x="1308" y="887"/>
                  </a:cubicBezTo>
                  <a:cubicBezTo>
                    <a:pt x="1308" y="887"/>
                    <a:pt x="1308" y="887"/>
                    <a:pt x="1308" y="887"/>
                  </a:cubicBezTo>
                  <a:cubicBezTo>
                    <a:pt x="1308" y="887"/>
                    <a:pt x="1308" y="887"/>
                    <a:pt x="1308" y="887"/>
                  </a:cubicBezTo>
                  <a:cubicBezTo>
                    <a:pt x="1308" y="887"/>
                    <a:pt x="1308" y="887"/>
                    <a:pt x="1308" y="887"/>
                  </a:cubicBezTo>
                  <a:cubicBezTo>
                    <a:pt x="1308" y="887"/>
                    <a:pt x="1308" y="887"/>
                    <a:pt x="1308" y="887"/>
                  </a:cubicBezTo>
                  <a:cubicBezTo>
                    <a:pt x="1308" y="887"/>
                    <a:pt x="1308" y="887"/>
                    <a:pt x="1308" y="887"/>
                  </a:cubicBezTo>
                  <a:cubicBezTo>
                    <a:pt x="1308" y="888"/>
                    <a:pt x="1308" y="888"/>
                    <a:pt x="1308" y="888"/>
                  </a:cubicBezTo>
                  <a:cubicBezTo>
                    <a:pt x="1308" y="888"/>
                    <a:pt x="1308" y="888"/>
                    <a:pt x="1308" y="888"/>
                  </a:cubicBezTo>
                  <a:cubicBezTo>
                    <a:pt x="1307" y="888"/>
                    <a:pt x="1307" y="888"/>
                    <a:pt x="1307" y="889"/>
                  </a:cubicBezTo>
                  <a:cubicBezTo>
                    <a:pt x="1307" y="889"/>
                    <a:pt x="1307" y="889"/>
                    <a:pt x="1307" y="889"/>
                  </a:cubicBezTo>
                  <a:cubicBezTo>
                    <a:pt x="1306" y="889"/>
                    <a:pt x="1306" y="889"/>
                    <a:pt x="1306" y="889"/>
                  </a:cubicBezTo>
                  <a:cubicBezTo>
                    <a:pt x="1306" y="889"/>
                    <a:pt x="1306" y="890"/>
                    <a:pt x="1306" y="890"/>
                  </a:cubicBezTo>
                  <a:cubicBezTo>
                    <a:pt x="1307" y="890"/>
                    <a:pt x="1307" y="890"/>
                    <a:pt x="1307" y="890"/>
                  </a:cubicBezTo>
                  <a:cubicBezTo>
                    <a:pt x="1307" y="891"/>
                    <a:pt x="1306" y="891"/>
                    <a:pt x="1306" y="891"/>
                  </a:cubicBezTo>
                  <a:cubicBezTo>
                    <a:pt x="1306" y="890"/>
                    <a:pt x="1306" y="890"/>
                    <a:pt x="1306" y="890"/>
                  </a:cubicBezTo>
                  <a:cubicBezTo>
                    <a:pt x="1306" y="890"/>
                    <a:pt x="1306" y="890"/>
                    <a:pt x="1306" y="890"/>
                  </a:cubicBezTo>
                  <a:cubicBezTo>
                    <a:pt x="1306" y="891"/>
                    <a:pt x="1307" y="891"/>
                    <a:pt x="1308" y="892"/>
                  </a:cubicBezTo>
                  <a:cubicBezTo>
                    <a:pt x="1309" y="892"/>
                    <a:pt x="1310" y="892"/>
                    <a:pt x="1311" y="891"/>
                  </a:cubicBezTo>
                  <a:cubicBezTo>
                    <a:pt x="1312" y="891"/>
                    <a:pt x="1312" y="891"/>
                    <a:pt x="1312" y="891"/>
                  </a:cubicBezTo>
                  <a:cubicBezTo>
                    <a:pt x="1313" y="891"/>
                    <a:pt x="1313" y="891"/>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5" y="890"/>
                    <a:pt x="1315" y="890"/>
                    <a:pt x="1315" y="890"/>
                  </a:cubicBezTo>
                  <a:cubicBezTo>
                    <a:pt x="1316" y="890"/>
                    <a:pt x="1316" y="890"/>
                    <a:pt x="1316" y="890"/>
                  </a:cubicBezTo>
                  <a:cubicBezTo>
                    <a:pt x="1316" y="890"/>
                    <a:pt x="1316" y="890"/>
                    <a:pt x="1316" y="890"/>
                  </a:cubicBezTo>
                  <a:cubicBezTo>
                    <a:pt x="1316" y="890"/>
                    <a:pt x="1316" y="890"/>
                    <a:pt x="1316" y="890"/>
                  </a:cubicBezTo>
                  <a:cubicBezTo>
                    <a:pt x="1316" y="890"/>
                    <a:pt x="1316" y="890"/>
                    <a:pt x="1316" y="890"/>
                  </a:cubicBezTo>
                  <a:cubicBezTo>
                    <a:pt x="1317" y="890"/>
                    <a:pt x="1317" y="890"/>
                    <a:pt x="1317" y="890"/>
                  </a:cubicBezTo>
                  <a:cubicBezTo>
                    <a:pt x="1317" y="891"/>
                    <a:pt x="1317" y="891"/>
                    <a:pt x="1317" y="891"/>
                  </a:cubicBezTo>
                  <a:cubicBezTo>
                    <a:pt x="1317" y="893"/>
                    <a:pt x="1317" y="893"/>
                    <a:pt x="1317" y="893"/>
                  </a:cubicBezTo>
                  <a:cubicBezTo>
                    <a:pt x="1317" y="893"/>
                    <a:pt x="1317" y="893"/>
                    <a:pt x="1317" y="893"/>
                  </a:cubicBezTo>
                  <a:cubicBezTo>
                    <a:pt x="1317" y="894"/>
                    <a:pt x="1317" y="894"/>
                    <a:pt x="1317" y="894"/>
                  </a:cubicBezTo>
                  <a:cubicBezTo>
                    <a:pt x="1317" y="894"/>
                    <a:pt x="1317" y="894"/>
                    <a:pt x="1317" y="894"/>
                  </a:cubicBezTo>
                  <a:cubicBezTo>
                    <a:pt x="1317" y="894"/>
                    <a:pt x="1317" y="894"/>
                    <a:pt x="1317" y="894"/>
                  </a:cubicBezTo>
                  <a:cubicBezTo>
                    <a:pt x="1317" y="894"/>
                    <a:pt x="1317" y="895"/>
                    <a:pt x="1317" y="895"/>
                  </a:cubicBezTo>
                  <a:cubicBezTo>
                    <a:pt x="1317" y="896"/>
                    <a:pt x="1317" y="896"/>
                    <a:pt x="1317" y="896"/>
                  </a:cubicBezTo>
                  <a:cubicBezTo>
                    <a:pt x="1317" y="896"/>
                    <a:pt x="1317" y="896"/>
                    <a:pt x="1317" y="896"/>
                  </a:cubicBezTo>
                  <a:cubicBezTo>
                    <a:pt x="1317" y="896"/>
                    <a:pt x="1317" y="896"/>
                    <a:pt x="1317" y="896"/>
                  </a:cubicBezTo>
                  <a:cubicBezTo>
                    <a:pt x="1318" y="896"/>
                    <a:pt x="1318" y="896"/>
                    <a:pt x="1318" y="896"/>
                  </a:cubicBezTo>
                  <a:cubicBezTo>
                    <a:pt x="1318" y="896"/>
                    <a:pt x="1318" y="896"/>
                    <a:pt x="1318" y="896"/>
                  </a:cubicBezTo>
                  <a:cubicBezTo>
                    <a:pt x="1318" y="896"/>
                    <a:pt x="1318" y="896"/>
                    <a:pt x="1318" y="896"/>
                  </a:cubicBezTo>
                  <a:cubicBezTo>
                    <a:pt x="1318" y="896"/>
                    <a:pt x="1318" y="896"/>
                    <a:pt x="1318" y="896"/>
                  </a:cubicBezTo>
                  <a:cubicBezTo>
                    <a:pt x="1320" y="897"/>
                    <a:pt x="1320" y="897"/>
                    <a:pt x="1320" y="897"/>
                  </a:cubicBezTo>
                  <a:cubicBezTo>
                    <a:pt x="1323" y="897"/>
                    <a:pt x="1323" y="897"/>
                    <a:pt x="1323" y="897"/>
                  </a:cubicBezTo>
                  <a:cubicBezTo>
                    <a:pt x="1331" y="899"/>
                    <a:pt x="1331" y="899"/>
                    <a:pt x="1331" y="899"/>
                  </a:cubicBezTo>
                  <a:cubicBezTo>
                    <a:pt x="1334" y="899"/>
                    <a:pt x="1334" y="899"/>
                    <a:pt x="1334" y="899"/>
                  </a:cubicBezTo>
                  <a:cubicBezTo>
                    <a:pt x="1336" y="900"/>
                    <a:pt x="1336" y="900"/>
                    <a:pt x="1336" y="900"/>
                  </a:cubicBezTo>
                  <a:cubicBezTo>
                    <a:pt x="1336" y="900"/>
                    <a:pt x="1336" y="900"/>
                    <a:pt x="1336" y="900"/>
                  </a:cubicBezTo>
                  <a:cubicBezTo>
                    <a:pt x="1336" y="900"/>
                    <a:pt x="1336" y="900"/>
                    <a:pt x="1336" y="900"/>
                  </a:cubicBezTo>
                  <a:cubicBezTo>
                    <a:pt x="1336" y="900"/>
                    <a:pt x="1336" y="900"/>
                    <a:pt x="1336" y="900"/>
                  </a:cubicBezTo>
                  <a:cubicBezTo>
                    <a:pt x="1337" y="900"/>
                    <a:pt x="1338" y="900"/>
                    <a:pt x="1338" y="900"/>
                  </a:cubicBezTo>
                  <a:cubicBezTo>
                    <a:pt x="1339" y="900"/>
                    <a:pt x="1339" y="900"/>
                    <a:pt x="1339" y="900"/>
                  </a:cubicBezTo>
                  <a:cubicBezTo>
                    <a:pt x="1339" y="900"/>
                    <a:pt x="1339" y="900"/>
                    <a:pt x="1339" y="900"/>
                  </a:cubicBezTo>
                  <a:cubicBezTo>
                    <a:pt x="1341" y="900"/>
                    <a:pt x="1341" y="900"/>
                    <a:pt x="1343" y="901"/>
                  </a:cubicBezTo>
                  <a:cubicBezTo>
                    <a:pt x="1343" y="901"/>
                    <a:pt x="1343" y="901"/>
                    <a:pt x="1343" y="901"/>
                  </a:cubicBezTo>
                  <a:cubicBezTo>
                    <a:pt x="1343" y="901"/>
                    <a:pt x="1343" y="901"/>
                    <a:pt x="1343" y="901"/>
                  </a:cubicBezTo>
                  <a:cubicBezTo>
                    <a:pt x="1343" y="901"/>
                    <a:pt x="1343" y="901"/>
                    <a:pt x="1343" y="901"/>
                  </a:cubicBezTo>
                  <a:cubicBezTo>
                    <a:pt x="1343" y="901"/>
                    <a:pt x="1343" y="901"/>
                    <a:pt x="1343" y="901"/>
                  </a:cubicBezTo>
                  <a:cubicBezTo>
                    <a:pt x="1344" y="901"/>
                    <a:pt x="1344" y="901"/>
                    <a:pt x="1344" y="901"/>
                  </a:cubicBezTo>
                  <a:cubicBezTo>
                    <a:pt x="1344" y="901"/>
                    <a:pt x="1344" y="901"/>
                    <a:pt x="1344" y="901"/>
                  </a:cubicBezTo>
                  <a:cubicBezTo>
                    <a:pt x="1344" y="901"/>
                    <a:pt x="1344" y="901"/>
                    <a:pt x="1344" y="901"/>
                  </a:cubicBezTo>
                  <a:cubicBezTo>
                    <a:pt x="1344" y="901"/>
                    <a:pt x="1344" y="901"/>
                    <a:pt x="1344" y="901"/>
                  </a:cubicBezTo>
                  <a:cubicBezTo>
                    <a:pt x="1344" y="900"/>
                    <a:pt x="1345" y="901"/>
                    <a:pt x="1346" y="901"/>
                  </a:cubicBezTo>
                  <a:cubicBezTo>
                    <a:pt x="1346" y="901"/>
                    <a:pt x="1346" y="901"/>
                    <a:pt x="1346" y="901"/>
                  </a:cubicBezTo>
                  <a:cubicBezTo>
                    <a:pt x="1346" y="901"/>
                    <a:pt x="1346" y="901"/>
                    <a:pt x="1346" y="901"/>
                  </a:cubicBezTo>
                  <a:cubicBezTo>
                    <a:pt x="1347" y="901"/>
                    <a:pt x="1347" y="901"/>
                    <a:pt x="1348" y="900"/>
                  </a:cubicBezTo>
                  <a:cubicBezTo>
                    <a:pt x="1348" y="900"/>
                    <a:pt x="1348" y="900"/>
                    <a:pt x="1348" y="900"/>
                  </a:cubicBezTo>
                  <a:cubicBezTo>
                    <a:pt x="1348" y="900"/>
                    <a:pt x="1348" y="900"/>
                    <a:pt x="1348" y="900"/>
                  </a:cubicBezTo>
                  <a:cubicBezTo>
                    <a:pt x="1348" y="900"/>
                    <a:pt x="1348" y="900"/>
                    <a:pt x="1348" y="900"/>
                  </a:cubicBezTo>
                  <a:cubicBezTo>
                    <a:pt x="1349" y="900"/>
                    <a:pt x="1349" y="900"/>
                    <a:pt x="1349" y="900"/>
                  </a:cubicBezTo>
                  <a:cubicBezTo>
                    <a:pt x="1349" y="900"/>
                    <a:pt x="1350" y="900"/>
                    <a:pt x="1350" y="900"/>
                  </a:cubicBezTo>
                  <a:cubicBezTo>
                    <a:pt x="1350" y="900"/>
                    <a:pt x="1350" y="900"/>
                    <a:pt x="1350" y="900"/>
                  </a:cubicBezTo>
                  <a:cubicBezTo>
                    <a:pt x="1350" y="900"/>
                    <a:pt x="1350" y="900"/>
                    <a:pt x="1350" y="900"/>
                  </a:cubicBezTo>
                  <a:cubicBezTo>
                    <a:pt x="1351" y="900"/>
                    <a:pt x="1351" y="900"/>
                    <a:pt x="1351" y="900"/>
                  </a:cubicBezTo>
                  <a:cubicBezTo>
                    <a:pt x="1351" y="900"/>
                    <a:pt x="1351" y="900"/>
                    <a:pt x="1351" y="900"/>
                  </a:cubicBezTo>
                  <a:cubicBezTo>
                    <a:pt x="1351" y="900"/>
                    <a:pt x="1351" y="900"/>
                    <a:pt x="1351" y="900"/>
                  </a:cubicBezTo>
                  <a:cubicBezTo>
                    <a:pt x="1351" y="900"/>
                    <a:pt x="1351" y="900"/>
                    <a:pt x="1351" y="900"/>
                  </a:cubicBezTo>
                  <a:cubicBezTo>
                    <a:pt x="1351" y="900"/>
                    <a:pt x="1351" y="900"/>
                    <a:pt x="1351" y="900"/>
                  </a:cubicBezTo>
                  <a:cubicBezTo>
                    <a:pt x="1352" y="900"/>
                    <a:pt x="1352" y="900"/>
                    <a:pt x="1352" y="900"/>
                  </a:cubicBezTo>
                  <a:cubicBezTo>
                    <a:pt x="1352" y="900"/>
                    <a:pt x="1352" y="900"/>
                    <a:pt x="1352" y="900"/>
                  </a:cubicBezTo>
                  <a:cubicBezTo>
                    <a:pt x="1354" y="900"/>
                    <a:pt x="1354" y="900"/>
                    <a:pt x="1354" y="900"/>
                  </a:cubicBezTo>
                  <a:cubicBezTo>
                    <a:pt x="1354" y="901"/>
                    <a:pt x="1354" y="901"/>
                    <a:pt x="1354" y="901"/>
                  </a:cubicBezTo>
                  <a:cubicBezTo>
                    <a:pt x="1355" y="901"/>
                    <a:pt x="1355" y="901"/>
                    <a:pt x="1355" y="901"/>
                  </a:cubicBezTo>
                  <a:cubicBezTo>
                    <a:pt x="1355" y="901"/>
                    <a:pt x="1355" y="901"/>
                    <a:pt x="1355" y="901"/>
                  </a:cubicBezTo>
                  <a:cubicBezTo>
                    <a:pt x="1355" y="900"/>
                    <a:pt x="1355" y="900"/>
                    <a:pt x="1355" y="900"/>
                  </a:cubicBezTo>
                  <a:cubicBezTo>
                    <a:pt x="1355" y="900"/>
                    <a:pt x="1355" y="900"/>
                    <a:pt x="1355" y="900"/>
                  </a:cubicBezTo>
                  <a:cubicBezTo>
                    <a:pt x="1355" y="900"/>
                    <a:pt x="1355" y="900"/>
                    <a:pt x="1355" y="900"/>
                  </a:cubicBezTo>
                  <a:cubicBezTo>
                    <a:pt x="1355" y="900"/>
                    <a:pt x="1355" y="900"/>
                    <a:pt x="1355" y="900"/>
                  </a:cubicBezTo>
                  <a:cubicBezTo>
                    <a:pt x="1355" y="900"/>
                    <a:pt x="1355" y="900"/>
                    <a:pt x="1355" y="900"/>
                  </a:cubicBezTo>
                  <a:cubicBezTo>
                    <a:pt x="1356" y="900"/>
                    <a:pt x="1357" y="901"/>
                    <a:pt x="1358" y="900"/>
                  </a:cubicBezTo>
                  <a:cubicBezTo>
                    <a:pt x="1358" y="900"/>
                    <a:pt x="1358" y="900"/>
                    <a:pt x="1358" y="900"/>
                  </a:cubicBezTo>
                  <a:cubicBezTo>
                    <a:pt x="1361" y="901"/>
                    <a:pt x="1363" y="902"/>
                    <a:pt x="1366" y="903"/>
                  </a:cubicBezTo>
                  <a:cubicBezTo>
                    <a:pt x="1367" y="903"/>
                    <a:pt x="1367" y="903"/>
                    <a:pt x="1367" y="903"/>
                  </a:cubicBezTo>
                  <a:cubicBezTo>
                    <a:pt x="1367" y="903"/>
                    <a:pt x="1367" y="903"/>
                    <a:pt x="1367" y="903"/>
                  </a:cubicBezTo>
                  <a:cubicBezTo>
                    <a:pt x="1367" y="903"/>
                    <a:pt x="1367" y="903"/>
                    <a:pt x="1367" y="903"/>
                  </a:cubicBezTo>
                  <a:cubicBezTo>
                    <a:pt x="1367" y="903"/>
                    <a:pt x="1367" y="903"/>
                    <a:pt x="1367" y="903"/>
                  </a:cubicBezTo>
                  <a:cubicBezTo>
                    <a:pt x="1368" y="903"/>
                    <a:pt x="1368" y="903"/>
                    <a:pt x="1369" y="903"/>
                  </a:cubicBezTo>
                  <a:cubicBezTo>
                    <a:pt x="1369" y="903"/>
                    <a:pt x="1369" y="903"/>
                    <a:pt x="1369" y="903"/>
                  </a:cubicBezTo>
                  <a:cubicBezTo>
                    <a:pt x="1369" y="903"/>
                    <a:pt x="1369" y="903"/>
                    <a:pt x="1369" y="903"/>
                  </a:cubicBezTo>
                  <a:cubicBezTo>
                    <a:pt x="1370" y="903"/>
                    <a:pt x="1370" y="903"/>
                    <a:pt x="1371" y="903"/>
                  </a:cubicBezTo>
                  <a:cubicBezTo>
                    <a:pt x="1369" y="903"/>
                    <a:pt x="1368" y="904"/>
                    <a:pt x="1367" y="905"/>
                  </a:cubicBezTo>
                  <a:cubicBezTo>
                    <a:pt x="1367" y="905"/>
                    <a:pt x="1367" y="905"/>
                    <a:pt x="1367" y="905"/>
                  </a:cubicBezTo>
                  <a:cubicBezTo>
                    <a:pt x="1368" y="904"/>
                    <a:pt x="1370" y="903"/>
                    <a:pt x="1371" y="903"/>
                  </a:cubicBezTo>
                  <a:cubicBezTo>
                    <a:pt x="1371" y="903"/>
                    <a:pt x="1371" y="903"/>
                    <a:pt x="1371" y="903"/>
                  </a:cubicBezTo>
                  <a:cubicBezTo>
                    <a:pt x="1371" y="903"/>
                    <a:pt x="1371" y="903"/>
                    <a:pt x="1371" y="903"/>
                  </a:cubicBezTo>
                  <a:cubicBezTo>
                    <a:pt x="1372" y="903"/>
                    <a:pt x="1372" y="903"/>
                    <a:pt x="1372" y="903"/>
                  </a:cubicBezTo>
                  <a:cubicBezTo>
                    <a:pt x="1372" y="903"/>
                    <a:pt x="1372" y="903"/>
                    <a:pt x="1372" y="903"/>
                  </a:cubicBezTo>
                  <a:cubicBezTo>
                    <a:pt x="1372" y="903"/>
                    <a:pt x="1372" y="903"/>
                    <a:pt x="1372" y="903"/>
                  </a:cubicBezTo>
                  <a:cubicBezTo>
                    <a:pt x="1372" y="903"/>
                    <a:pt x="1372" y="903"/>
                    <a:pt x="1372" y="903"/>
                  </a:cubicBezTo>
                  <a:cubicBezTo>
                    <a:pt x="1372" y="903"/>
                    <a:pt x="1372" y="903"/>
                    <a:pt x="1372" y="903"/>
                  </a:cubicBezTo>
                  <a:cubicBezTo>
                    <a:pt x="1372" y="904"/>
                    <a:pt x="1372" y="904"/>
                    <a:pt x="1372" y="904"/>
                  </a:cubicBezTo>
                  <a:cubicBezTo>
                    <a:pt x="1372" y="905"/>
                    <a:pt x="1372" y="905"/>
                    <a:pt x="1372" y="905"/>
                  </a:cubicBezTo>
                  <a:cubicBezTo>
                    <a:pt x="1372" y="905"/>
                    <a:pt x="1372" y="905"/>
                    <a:pt x="1372" y="905"/>
                  </a:cubicBezTo>
                  <a:cubicBezTo>
                    <a:pt x="1373" y="904"/>
                    <a:pt x="1373" y="904"/>
                    <a:pt x="1373" y="904"/>
                  </a:cubicBezTo>
                  <a:cubicBezTo>
                    <a:pt x="1374" y="903"/>
                    <a:pt x="1374" y="903"/>
                    <a:pt x="1374" y="903"/>
                  </a:cubicBezTo>
                  <a:cubicBezTo>
                    <a:pt x="1374" y="902"/>
                    <a:pt x="1374" y="902"/>
                    <a:pt x="1374" y="902"/>
                  </a:cubicBezTo>
                  <a:cubicBezTo>
                    <a:pt x="1375" y="903"/>
                    <a:pt x="1375" y="903"/>
                    <a:pt x="1375" y="903"/>
                  </a:cubicBezTo>
                  <a:cubicBezTo>
                    <a:pt x="1374" y="903"/>
                    <a:pt x="1374" y="903"/>
                    <a:pt x="1374" y="903"/>
                  </a:cubicBezTo>
                  <a:cubicBezTo>
                    <a:pt x="1374" y="904"/>
                    <a:pt x="1374" y="904"/>
                    <a:pt x="1374" y="904"/>
                  </a:cubicBezTo>
                  <a:cubicBezTo>
                    <a:pt x="1374" y="905"/>
                    <a:pt x="1374" y="905"/>
                    <a:pt x="1374" y="905"/>
                  </a:cubicBezTo>
                  <a:cubicBezTo>
                    <a:pt x="1374" y="905"/>
                    <a:pt x="1374" y="905"/>
                    <a:pt x="1374" y="905"/>
                  </a:cubicBezTo>
                  <a:cubicBezTo>
                    <a:pt x="1373" y="905"/>
                    <a:pt x="1373" y="905"/>
                    <a:pt x="1373" y="905"/>
                  </a:cubicBezTo>
                  <a:cubicBezTo>
                    <a:pt x="1373" y="905"/>
                    <a:pt x="1373" y="905"/>
                    <a:pt x="1373" y="905"/>
                  </a:cubicBezTo>
                  <a:cubicBezTo>
                    <a:pt x="1373" y="905"/>
                    <a:pt x="1373" y="905"/>
                    <a:pt x="1373" y="905"/>
                  </a:cubicBezTo>
                  <a:cubicBezTo>
                    <a:pt x="1373" y="905"/>
                    <a:pt x="1373" y="905"/>
                    <a:pt x="1373" y="905"/>
                  </a:cubicBezTo>
                  <a:cubicBezTo>
                    <a:pt x="1374" y="905"/>
                    <a:pt x="1374" y="905"/>
                    <a:pt x="1374" y="905"/>
                  </a:cubicBezTo>
                  <a:cubicBezTo>
                    <a:pt x="1376" y="905"/>
                    <a:pt x="1376" y="905"/>
                    <a:pt x="1376" y="905"/>
                  </a:cubicBezTo>
                  <a:cubicBezTo>
                    <a:pt x="1377" y="905"/>
                    <a:pt x="1377" y="905"/>
                    <a:pt x="1377" y="905"/>
                  </a:cubicBezTo>
                  <a:cubicBezTo>
                    <a:pt x="1377" y="905"/>
                    <a:pt x="1377" y="905"/>
                    <a:pt x="1377" y="905"/>
                  </a:cubicBezTo>
                  <a:cubicBezTo>
                    <a:pt x="1377" y="905"/>
                    <a:pt x="1377" y="905"/>
                    <a:pt x="1377" y="905"/>
                  </a:cubicBezTo>
                  <a:cubicBezTo>
                    <a:pt x="1376" y="906"/>
                    <a:pt x="1375" y="907"/>
                    <a:pt x="1374" y="907"/>
                  </a:cubicBezTo>
                  <a:cubicBezTo>
                    <a:pt x="1374" y="907"/>
                    <a:pt x="1374" y="907"/>
                    <a:pt x="1374" y="907"/>
                  </a:cubicBezTo>
                  <a:cubicBezTo>
                    <a:pt x="1374" y="907"/>
                    <a:pt x="1374" y="907"/>
                    <a:pt x="1374" y="907"/>
                  </a:cubicBezTo>
                  <a:cubicBezTo>
                    <a:pt x="1375" y="907"/>
                    <a:pt x="1375" y="907"/>
                    <a:pt x="1375" y="907"/>
                  </a:cubicBezTo>
                  <a:cubicBezTo>
                    <a:pt x="1376" y="906"/>
                    <a:pt x="1376" y="906"/>
                    <a:pt x="1376"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7" y="906"/>
                    <a:pt x="1377" y="906"/>
                    <a:pt x="1377" y="906"/>
                  </a:cubicBezTo>
                  <a:cubicBezTo>
                    <a:pt x="1378" y="905"/>
                    <a:pt x="1378" y="905"/>
                    <a:pt x="1378" y="905"/>
                  </a:cubicBezTo>
                  <a:cubicBezTo>
                    <a:pt x="1378" y="905"/>
                    <a:pt x="1378" y="905"/>
                    <a:pt x="1378" y="905"/>
                  </a:cubicBezTo>
                  <a:cubicBezTo>
                    <a:pt x="1378" y="905"/>
                    <a:pt x="1378" y="905"/>
                    <a:pt x="1378" y="905"/>
                  </a:cubicBezTo>
                  <a:cubicBezTo>
                    <a:pt x="1378" y="906"/>
                    <a:pt x="1378" y="906"/>
                    <a:pt x="1378" y="906"/>
                  </a:cubicBezTo>
                  <a:cubicBezTo>
                    <a:pt x="1379" y="906"/>
                    <a:pt x="1379" y="906"/>
                    <a:pt x="1379" y="906"/>
                  </a:cubicBezTo>
                  <a:cubicBezTo>
                    <a:pt x="1380" y="906"/>
                    <a:pt x="1381" y="907"/>
                    <a:pt x="1382" y="907"/>
                  </a:cubicBezTo>
                  <a:cubicBezTo>
                    <a:pt x="1382" y="907"/>
                    <a:pt x="1382" y="907"/>
                    <a:pt x="1382" y="907"/>
                  </a:cubicBezTo>
                  <a:cubicBezTo>
                    <a:pt x="1382" y="907"/>
                    <a:pt x="1382" y="907"/>
                    <a:pt x="1382" y="907"/>
                  </a:cubicBezTo>
                  <a:cubicBezTo>
                    <a:pt x="1382" y="907"/>
                    <a:pt x="1382" y="907"/>
                    <a:pt x="1382" y="907"/>
                  </a:cubicBezTo>
                  <a:cubicBezTo>
                    <a:pt x="1383" y="907"/>
                    <a:pt x="1383" y="907"/>
                    <a:pt x="1383" y="907"/>
                  </a:cubicBezTo>
                  <a:cubicBezTo>
                    <a:pt x="1384" y="908"/>
                    <a:pt x="1384" y="907"/>
                    <a:pt x="1384" y="907"/>
                  </a:cubicBezTo>
                  <a:cubicBezTo>
                    <a:pt x="1385" y="907"/>
                    <a:pt x="1385" y="907"/>
                    <a:pt x="1385" y="907"/>
                  </a:cubicBezTo>
                  <a:cubicBezTo>
                    <a:pt x="1385" y="907"/>
                    <a:pt x="1385" y="907"/>
                    <a:pt x="1385" y="907"/>
                  </a:cubicBezTo>
                  <a:cubicBezTo>
                    <a:pt x="1385" y="907"/>
                    <a:pt x="1385" y="907"/>
                    <a:pt x="1385" y="907"/>
                  </a:cubicBezTo>
                  <a:cubicBezTo>
                    <a:pt x="1385" y="907"/>
                    <a:pt x="1385" y="907"/>
                    <a:pt x="1385" y="907"/>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6"/>
                    <a:pt x="1385" y="906"/>
                    <a:pt x="1385" y="906"/>
                  </a:cubicBezTo>
                  <a:cubicBezTo>
                    <a:pt x="1385" y="905"/>
                    <a:pt x="1385" y="905"/>
                    <a:pt x="1385" y="905"/>
                  </a:cubicBezTo>
                  <a:cubicBezTo>
                    <a:pt x="1385" y="905"/>
                    <a:pt x="1385" y="905"/>
                    <a:pt x="1385" y="905"/>
                  </a:cubicBezTo>
                  <a:cubicBezTo>
                    <a:pt x="1386" y="906"/>
                    <a:pt x="1386" y="906"/>
                    <a:pt x="1386" y="906"/>
                  </a:cubicBezTo>
                  <a:cubicBezTo>
                    <a:pt x="1387" y="906"/>
                    <a:pt x="1387" y="906"/>
                    <a:pt x="1387" y="906"/>
                  </a:cubicBezTo>
                  <a:cubicBezTo>
                    <a:pt x="1390" y="907"/>
                    <a:pt x="1390" y="907"/>
                    <a:pt x="1390" y="907"/>
                  </a:cubicBezTo>
                  <a:cubicBezTo>
                    <a:pt x="1391" y="907"/>
                    <a:pt x="1391" y="907"/>
                    <a:pt x="1391" y="907"/>
                  </a:cubicBezTo>
                  <a:cubicBezTo>
                    <a:pt x="1392" y="907"/>
                    <a:pt x="1392" y="907"/>
                    <a:pt x="1392" y="907"/>
                  </a:cubicBezTo>
                  <a:cubicBezTo>
                    <a:pt x="1392" y="907"/>
                    <a:pt x="1392" y="907"/>
                    <a:pt x="1392" y="907"/>
                  </a:cubicBezTo>
                  <a:cubicBezTo>
                    <a:pt x="1393" y="908"/>
                    <a:pt x="1393" y="908"/>
                    <a:pt x="1393" y="908"/>
                  </a:cubicBezTo>
                  <a:cubicBezTo>
                    <a:pt x="1393" y="908"/>
                    <a:pt x="1393" y="908"/>
                    <a:pt x="1393" y="908"/>
                  </a:cubicBezTo>
                  <a:cubicBezTo>
                    <a:pt x="1394" y="908"/>
                    <a:pt x="1394" y="908"/>
                    <a:pt x="1394" y="908"/>
                  </a:cubicBezTo>
                  <a:cubicBezTo>
                    <a:pt x="1395" y="909"/>
                    <a:pt x="1395" y="909"/>
                    <a:pt x="1395" y="909"/>
                  </a:cubicBezTo>
                  <a:cubicBezTo>
                    <a:pt x="1398" y="912"/>
                    <a:pt x="1398" y="912"/>
                    <a:pt x="1398" y="912"/>
                  </a:cubicBezTo>
                  <a:cubicBezTo>
                    <a:pt x="1406" y="919"/>
                    <a:pt x="1406" y="919"/>
                    <a:pt x="1406" y="919"/>
                  </a:cubicBezTo>
                  <a:cubicBezTo>
                    <a:pt x="1409" y="922"/>
                    <a:pt x="1409" y="922"/>
                    <a:pt x="1409" y="922"/>
                  </a:cubicBezTo>
                  <a:cubicBezTo>
                    <a:pt x="1410" y="923"/>
                    <a:pt x="1410" y="923"/>
                    <a:pt x="1410" y="923"/>
                  </a:cubicBezTo>
                  <a:cubicBezTo>
                    <a:pt x="1411" y="923"/>
                    <a:pt x="1411" y="923"/>
                    <a:pt x="1411" y="923"/>
                  </a:cubicBezTo>
                  <a:cubicBezTo>
                    <a:pt x="1411" y="923"/>
                    <a:pt x="1411" y="923"/>
                    <a:pt x="1411" y="923"/>
                  </a:cubicBezTo>
                  <a:cubicBezTo>
                    <a:pt x="1411" y="924"/>
                    <a:pt x="1411" y="924"/>
                    <a:pt x="1411" y="924"/>
                  </a:cubicBezTo>
                  <a:cubicBezTo>
                    <a:pt x="1411" y="924"/>
                    <a:pt x="1411" y="924"/>
                    <a:pt x="1411" y="924"/>
                  </a:cubicBezTo>
                  <a:cubicBezTo>
                    <a:pt x="1411" y="925"/>
                    <a:pt x="1411" y="925"/>
                    <a:pt x="1411" y="925"/>
                  </a:cubicBezTo>
                  <a:cubicBezTo>
                    <a:pt x="1410" y="927"/>
                    <a:pt x="1410" y="927"/>
                    <a:pt x="1410" y="927"/>
                  </a:cubicBezTo>
                  <a:cubicBezTo>
                    <a:pt x="1410" y="928"/>
                    <a:pt x="1410" y="928"/>
                    <a:pt x="1410" y="928"/>
                  </a:cubicBezTo>
                  <a:cubicBezTo>
                    <a:pt x="1412" y="930"/>
                    <a:pt x="1412" y="930"/>
                    <a:pt x="1412" y="930"/>
                  </a:cubicBezTo>
                  <a:cubicBezTo>
                    <a:pt x="1412" y="933"/>
                    <a:pt x="1412" y="933"/>
                    <a:pt x="1412" y="933"/>
                  </a:cubicBezTo>
                  <a:cubicBezTo>
                    <a:pt x="1413" y="935"/>
                    <a:pt x="1413" y="935"/>
                    <a:pt x="1413" y="935"/>
                  </a:cubicBezTo>
                  <a:cubicBezTo>
                    <a:pt x="1418" y="939"/>
                    <a:pt x="1418" y="939"/>
                    <a:pt x="1418" y="939"/>
                  </a:cubicBezTo>
                  <a:cubicBezTo>
                    <a:pt x="1419" y="941"/>
                    <a:pt x="1419" y="941"/>
                    <a:pt x="1419" y="941"/>
                  </a:cubicBezTo>
                  <a:cubicBezTo>
                    <a:pt x="1420" y="942"/>
                    <a:pt x="1420" y="942"/>
                    <a:pt x="1420" y="942"/>
                  </a:cubicBezTo>
                  <a:cubicBezTo>
                    <a:pt x="1420" y="942"/>
                    <a:pt x="1420" y="942"/>
                    <a:pt x="1420" y="942"/>
                  </a:cubicBezTo>
                  <a:cubicBezTo>
                    <a:pt x="1420" y="942"/>
                    <a:pt x="1420" y="942"/>
                    <a:pt x="1420" y="942"/>
                  </a:cubicBezTo>
                  <a:cubicBezTo>
                    <a:pt x="1419" y="942"/>
                    <a:pt x="1419" y="942"/>
                    <a:pt x="1419" y="942"/>
                  </a:cubicBezTo>
                  <a:cubicBezTo>
                    <a:pt x="1419" y="942"/>
                    <a:pt x="1419" y="942"/>
                    <a:pt x="1418" y="942"/>
                  </a:cubicBezTo>
                  <a:cubicBezTo>
                    <a:pt x="1418" y="942"/>
                    <a:pt x="1418" y="942"/>
                    <a:pt x="1418" y="942"/>
                  </a:cubicBezTo>
                  <a:cubicBezTo>
                    <a:pt x="1418" y="942"/>
                    <a:pt x="1418" y="942"/>
                    <a:pt x="1418" y="942"/>
                  </a:cubicBezTo>
                  <a:cubicBezTo>
                    <a:pt x="1418" y="942"/>
                    <a:pt x="1418" y="942"/>
                    <a:pt x="1418" y="942"/>
                  </a:cubicBezTo>
                  <a:cubicBezTo>
                    <a:pt x="1418" y="942"/>
                    <a:pt x="1418" y="942"/>
                    <a:pt x="1418" y="942"/>
                  </a:cubicBezTo>
                  <a:cubicBezTo>
                    <a:pt x="1418" y="942"/>
                    <a:pt x="1418" y="942"/>
                    <a:pt x="1418" y="942"/>
                  </a:cubicBezTo>
                  <a:cubicBezTo>
                    <a:pt x="1417" y="942"/>
                    <a:pt x="1417" y="942"/>
                    <a:pt x="1417" y="942"/>
                  </a:cubicBezTo>
                  <a:cubicBezTo>
                    <a:pt x="1417" y="942"/>
                    <a:pt x="1417" y="942"/>
                    <a:pt x="1417" y="942"/>
                  </a:cubicBezTo>
                  <a:cubicBezTo>
                    <a:pt x="1417" y="942"/>
                    <a:pt x="1417" y="942"/>
                    <a:pt x="1417" y="942"/>
                  </a:cubicBezTo>
                  <a:cubicBezTo>
                    <a:pt x="1417" y="942"/>
                    <a:pt x="1417" y="942"/>
                    <a:pt x="1417" y="942"/>
                  </a:cubicBezTo>
                  <a:cubicBezTo>
                    <a:pt x="1417" y="941"/>
                    <a:pt x="1417" y="941"/>
                    <a:pt x="1417" y="941"/>
                  </a:cubicBezTo>
                  <a:cubicBezTo>
                    <a:pt x="1417" y="941"/>
                    <a:pt x="1417" y="941"/>
                    <a:pt x="1417" y="941"/>
                  </a:cubicBezTo>
                  <a:cubicBezTo>
                    <a:pt x="1417" y="941"/>
                    <a:pt x="1417" y="941"/>
                    <a:pt x="1417"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6" y="941"/>
                    <a:pt x="1416" y="941"/>
                    <a:pt x="1416" y="941"/>
                  </a:cubicBezTo>
                  <a:cubicBezTo>
                    <a:pt x="1415" y="941"/>
                    <a:pt x="1415" y="941"/>
                    <a:pt x="1415" y="941"/>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5" y="940"/>
                    <a:pt x="1415" y="940"/>
                    <a:pt x="1415" y="940"/>
                  </a:cubicBezTo>
                  <a:cubicBezTo>
                    <a:pt x="1414" y="940"/>
                    <a:pt x="1414" y="940"/>
                    <a:pt x="1414" y="940"/>
                  </a:cubicBezTo>
                  <a:cubicBezTo>
                    <a:pt x="1414" y="940"/>
                    <a:pt x="1414" y="940"/>
                    <a:pt x="1414" y="940"/>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4" y="939"/>
                    <a:pt x="1414" y="939"/>
                    <a:pt x="1414" y="939"/>
                  </a:cubicBezTo>
                  <a:cubicBezTo>
                    <a:pt x="1413" y="939"/>
                    <a:pt x="1413" y="939"/>
                    <a:pt x="1413" y="939"/>
                  </a:cubicBezTo>
                  <a:cubicBezTo>
                    <a:pt x="1413" y="939"/>
                    <a:pt x="1413" y="939"/>
                    <a:pt x="1413" y="939"/>
                  </a:cubicBezTo>
                  <a:cubicBezTo>
                    <a:pt x="1412" y="939"/>
                    <a:pt x="1412" y="939"/>
                    <a:pt x="1412" y="939"/>
                  </a:cubicBezTo>
                  <a:cubicBezTo>
                    <a:pt x="1411" y="941"/>
                    <a:pt x="1411" y="941"/>
                    <a:pt x="1411" y="941"/>
                  </a:cubicBezTo>
                  <a:cubicBezTo>
                    <a:pt x="1410" y="941"/>
                    <a:pt x="1410" y="941"/>
                    <a:pt x="1410" y="941"/>
                  </a:cubicBezTo>
                  <a:cubicBezTo>
                    <a:pt x="1410" y="942"/>
                    <a:pt x="1410" y="942"/>
                    <a:pt x="1410" y="942"/>
                  </a:cubicBezTo>
                  <a:cubicBezTo>
                    <a:pt x="1410" y="942"/>
                    <a:pt x="1410" y="942"/>
                    <a:pt x="1410" y="942"/>
                  </a:cubicBezTo>
                  <a:cubicBezTo>
                    <a:pt x="1410" y="942"/>
                    <a:pt x="1410" y="942"/>
                    <a:pt x="1410" y="942"/>
                  </a:cubicBezTo>
                  <a:cubicBezTo>
                    <a:pt x="1410" y="943"/>
                    <a:pt x="1410" y="943"/>
                    <a:pt x="1410" y="943"/>
                  </a:cubicBezTo>
                  <a:cubicBezTo>
                    <a:pt x="1412" y="946"/>
                    <a:pt x="1412" y="946"/>
                    <a:pt x="1412" y="946"/>
                  </a:cubicBezTo>
                  <a:cubicBezTo>
                    <a:pt x="1411" y="949"/>
                    <a:pt x="1411" y="949"/>
                    <a:pt x="1411" y="949"/>
                  </a:cubicBezTo>
                  <a:cubicBezTo>
                    <a:pt x="1410" y="950"/>
                    <a:pt x="1410" y="950"/>
                    <a:pt x="1410" y="950"/>
                  </a:cubicBezTo>
                  <a:cubicBezTo>
                    <a:pt x="1410" y="950"/>
                    <a:pt x="1410" y="950"/>
                    <a:pt x="1410" y="950"/>
                  </a:cubicBezTo>
                  <a:cubicBezTo>
                    <a:pt x="1410" y="950"/>
                    <a:pt x="1410" y="950"/>
                    <a:pt x="1410" y="950"/>
                  </a:cubicBezTo>
                  <a:cubicBezTo>
                    <a:pt x="1409" y="950"/>
                    <a:pt x="1409" y="950"/>
                    <a:pt x="1409" y="950"/>
                  </a:cubicBezTo>
                  <a:cubicBezTo>
                    <a:pt x="1407" y="948"/>
                    <a:pt x="1404" y="948"/>
                    <a:pt x="1402" y="947"/>
                  </a:cubicBezTo>
                  <a:cubicBezTo>
                    <a:pt x="1402" y="947"/>
                    <a:pt x="1402" y="947"/>
                    <a:pt x="1402" y="947"/>
                  </a:cubicBezTo>
                  <a:cubicBezTo>
                    <a:pt x="1402" y="947"/>
                    <a:pt x="1402" y="947"/>
                    <a:pt x="1402" y="947"/>
                  </a:cubicBezTo>
                  <a:cubicBezTo>
                    <a:pt x="1402" y="947"/>
                    <a:pt x="1402" y="947"/>
                    <a:pt x="1402" y="947"/>
                  </a:cubicBezTo>
                  <a:cubicBezTo>
                    <a:pt x="1401" y="947"/>
                    <a:pt x="1401" y="947"/>
                    <a:pt x="1401" y="947"/>
                  </a:cubicBezTo>
                  <a:cubicBezTo>
                    <a:pt x="1401" y="947"/>
                    <a:pt x="1401" y="947"/>
                    <a:pt x="1401" y="947"/>
                  </a:cubicBezTo>
                  <a:cubicBezTo>
                    <a:pt x="1401" y="946"/>
                    <a:pt x="1401" y="946"/>
                    <a:pt x="1401" y="946"/>
                  </a:cubicBezTo>
                  <a:cubicBezTo>
                    <a:pt x="1400" y="946"/>
                    <a:pt x="1400" y="946"/>
                    <a:pt x="1400" y="946"/>
                  </a:cubicBezTo>
                  <a:cubicBezTo>
                    <a:pt x="1399" y="945"/>
                    <a:pt x="1399" y="945"/>
                    <a:pt x="1399" y="945"/>
                  </a:cubicBezTo>
                  <a:cubicBezTo>
                    <a:pt x="1397" y="944"/>
                    <a:pt x="1397" y="944"/>
                    <a:pt x="1397" y="944"/>
                  </a:cubicBezTo>
                  <a:cubicBezTo>
                    <a:pt x="1397" y="943"/>
                    <a:pt x="1397" y="943"/>
                    <a:pt x="1397" y="943"/>
                  </a:cubicBezTo>
                  <a:cubicBezTo>
                    <a:pt x="1396" y="943"/>
                    <a:pt x="1396" y="943"/>
                    <a:pt x="1396" y="943"/>
                  </a:cubicBezTo>
                  <a:cubicBezTo>
                    <a:pt x="1396" y="943"/>
                    <a:pt x="1396" y="943"/>
                    <a:pt x="1396" y="943"/>
                  </a:cubicBezTo>
                  <a:cubicBezTo>
                    <a:pt x="1395" y="943"/>
                    <a:pt x="1395" y="943"/>
                    <a:pt x="1395" y="943"/>
                  </a:cubicBezTo>
                  <a:cubicBezTo>
                    <a:pt x="1395" y="943"/>
                    <a:pt x="1395" y="943"/>
                    <a:pt x="1395" y="943"/>
                  </a:cubicBezTo>
                  <a:cubicBezTo>
                    <a:pt x="1395" y="943"/>
                    <a:pt x="1395" y="943"/>
                    <a:pt x="1395" y="943"/>
                  </a:cubicBezTo>
                  <a:cubicBezTo>
                    <a:pt x="1394" y="943"/>
                    <a:pt x="1394" y="943"/>
                    <a:pt x="1393" y="944"/>
                  </a:cubicBezTo>
                  <a:cubicBezTo>
                    <a:pt x="1391" y="946"/>
                    <a:pt x="1391" y="946"/>
                    <a:pt x="1391" y="946"/>
                  </a:cubicBezTo>
                  <a:cubicBezTo>
                    <a:pt x="1391" y="946"/>
                    <a:pt x="1391" y="946"/>
                    <a:pt x="1391" y="946"/>
                  </a:cubicBezTo>
                  <a:cubicBezTo>
                    <a:pt x="1391" y="946"/>
                    <a:pt x="1391" y="946"/>
                    <a:pt x="1391" y="946"/>
                  </a:cubicBezTo>
                  <a:cubicBezTo>
                    <a:pt x="1391" y="946"/>
                    <a:pt x="1391" y="946"/>
                    <a:pt x="1391" y="946"/>
                  </a:cubicBezTo>
                  <a:cubicBezTo>
                    <a:pt x="1391" y="946"/>
                    <a:pt x="1391" y="945"/>
                    <a:pt x="1391" y="945"/>
                  </a:cubicBezTo>
                  <a:cubicBezTo>
                    <a:pt x="1391" y="945"/>
                    <a:pt x="1391" y="945"/>
                    <a:pt x="1391" y="945"/>
                  </a:cubicBezTo>
                  <a:cubicBezTo>
                    <a:pt x="1391" y="944"/>
                    <a:pt x="1391" y="944"/>
                    <a:pt x="1391" y="944"/>
                  </a:cubicBezTo>
                  <a:cubicBezTo>
                    <a:pt x="1390" y="944"/>
                    <a:pt x="1390" y="944"/>
                    <a:pt x="1390" y="944"/>
                  </a:cubicBezTo>
                  <a:cubicBezTo>
                    <a:pt x="1388" y="942"/>
                    <a:pt x="1388" y="942"/>
                    <a:pt x="1388" y="942"/>
                  </a:cubicBezTo>
                  <a:cubicBezTo>
                    <a:pt x="1387" y="942"/>
                    <a:pt x="1387" y="942"/>
                    <a:pt x="1387" y="942"/>
                  </a:cubicBezTo>
                  <a:cubicBezTo>
                    <a:pt x="1386" y="942"/>
                    <a:pt x="1386" y="942"/>
                    <a:pt x="1386" y="942"/>
                  </a:cubicBezTo>
                  <a:cubicBezTo>
                    <a:pt x="1386" y="941"/>
                    <a:pt x="1386" y="941"/>
                    <a:pt x="1386" y="941"/>
                  </a:cubicBezTo>
                  <a:cubicBezTo>
                    <a:pt x="1387" y="939"/>
                    <a:pt x="1389" y="941"/>
                    <a:pt x="1390" y="936"/>
                  </a:cubicBezTo>
                  <a:cubicBezTo>
                    <a:pt x="1390" y="936"/>
                    <a:pt x="1390" y="936"/>
                    <a:pt x="1390" y="936"/>
                  </a:cubicBezTo>
                  <a:cubicBezTo>
                    <a:pt x="1390" y="936"/>
                    <a:pt x="1390" y="936"/>
                    <a:pt x="1390" y="936"/>
                  </a:cubicBezTo>
                  <a:cubicBezTo>
                    <a:pt x="1389" y="936"/>
                    <a:pt x="1389" y="936"/>
                    <a:pt x="1389" y="936"/>
                  </a:cubicBezTo>
                  <a:cubicBezTo>
                    <a:pt x="1387" y="937"/>
                    <a:pt x="1387" y="937"/>
                    <a:pt x="1387" y="937"/>
                  </a:cubicBezTo>
                  <a:cubicBezTo>
                    <a:pt x="1386" y="937"/>
                    <a:pt x="1386" y="937"/>
                    <a:pt x="1386" y="937"/>
                  </a:cubicBezTo>
                  <a:cubicBezTo>
                    <a:pt x="1386" y="937"/>
                    <a:pt x="1386" y="937"/>
                    <a:pt x="1386" y="937"/>
                  </a:cubicBezTo>
                  <a:cubicBezTo>
                    <a:pt x="1386" y="937"/>
                    <a:pt x="1386" y="937"/>
                    <a:pt x="1386" y="937"/>
                  </a:cubicBezTo>
                  <a:cubicBezTo>
                    <a:pt x="1386" y="937"/>
                    <a:pt x="1386" y="937"/>
                    <a:pt x="1386" y="937"/>
                  </a:cubicBezTo>
                  <a:cubicBezTo>
                    <a:pt x="1386" y="936"/>
                    <a:pt x="1386" y="936"/>
                    <a:pt x="1386" y="936"/>
                  </a:cubicBezTo>
                  <a:cubicBezTo>
                    <a:pt x="1385" y="936"/>
                    <a:pt x="1385" y="936"/>
                    <a:pt x="1385" y="936"/>
                  </a:cubicBezTo>
                  <a:cubicBezTo>
                    <a:pt x="1384" y="935"/>
                    <a:pt x="1384" y="935"/>
                    <a:pt x="1384" y="935"/>
                  </a:cubicBezTo>
                  <a:cubicBezTo>
                    <a:pt x="1384" y="935"/>
                    <a:pt x="1384" y="935"/>
                    <a:pt x="1384"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5"/>
                    <a:pt x="1383" y="935"/>
                    <a:pt x="1383" y="935"/>
                  </a:cubicBezTo>
                  <a:cubicBezTo>
                    <a:pt x="1383" y="934"/>
                    <a:pt x="1383" y="934"/>
                    <a:pt x="1383" y="934"/>
                  </a:cubicBezTo>
                  <a:cubicBezTo>
                    <a:pt x="1383" y="934"/>
                    <a:pt x="1383" y="934"/>
                    <a:pt x="1383" y="933"/>
                  </a:cubicBezTo>
                  <a:cubicBezTo>
                    <a:pt x="1383" y="933"/>
                    <a:pt x="1383" y="933"/>
                    <a:pt x="1383" y="933"/>
                  </a:cubicBezTo>
                  <a:cubicBezTo>
                    <a:pt x="1383" y="933"/>
                    <a:pt x="1383" y="933"/>
                    <a:pt x="1383" y="933"/>
                  </a:cubicBezTo>
                  <a:cubicBezTo>
                    <a:pt x="1383" y="933"/>
                    <a:pt x="1383" y="933"/>
                    <a:pt x="1383" y="933"/>
                  </a:cubicBezTo>
                  <a:cubicBezTo>
                    <a:pt x="1383" y="933"/>
                    <a:pt x="1383" y="933"/>
                    <a:pt x="1383" y="933"/>
                  </a:cubicBezTo>
                  <a:cubicBezTo>
                    <a:pt x="1383" y="932"/>
                    <a:pt x="1383" y="932"/>
                    <a:pt x="1383" y="932"/>
                  </a:cubicBezTo>
                  <a:cubicBezTo>
                    <a:pt x="1383" y="931"/>
                    <a:pt x="1383" y="931"/>
                    <a:pt x="1383" y="931"/>
                  </a:cubicBezTo>
                  <a:cubicBezTo>
                    <a:pt x="1382" y="931"/>
                    <a:pt x="1382" y="931"/>
                    <a:pt x="1382" y="931"/>
                  </a:cubicBezTo>
                  <a:cubicBezTo>
                    <a:pt x="1382" y="931"/>
                    <a:pt x="1382" y="931"/>
                    <a:pt x="1382" y="930"/>
                  </a:cubicBezTo>
                  <a:cubicBezTo>
                    <a:pt x="1382" y="928"/>
                    <a:pt x="1382" y="928"/>
                    <a:pt x="1382" y="928"/>
                  </a:cubicBezTo>
                  <a:cubicBezTo>
                    <a:pt x="1382" y="928"/>
                    <a:pt x="1382" y="928"/>
                    <a:pt x="1382" y="928"/>
                  </a:cubicBezTo>
                  <a:cubicBezTo>
                    <a:pt x="1382" y="928"/>
                    <a:pt x="1382" y="928"/>
                    <a:pt x="1382" y="928"/>
                  </a:cubicBezTo>
                  <a:cubicBezTo>
                    <a:pt x="1382" y="928"/>
                    <a:pt x="1382" y="928"/>
                    <a:pt x="1382" y="928"/>
                  </a:cubicBezTo>
                  <a:cubicBezTo>
                    <a:pt x="1380" y="928"/>
                    <a:pt x="1377" y="927"/>
                    <a:pt x="1374" y="927"/>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8"/>
                    <a:pt x="1373" y="928"/>
                    <a:pt x="1373" y="928"/>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3" y="929"/>
                    <a:pt x="1373" y="929"/>
                    <a:pt x="1373"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4" y="929"/>
                    <a:pt x="1374" y="929"/>
                    <a:pt x="1374"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5" y="929"/>
                    <a:pt x="1375" y="929"/>
                    <a:pt x="1375" y="929"/>
                  </a:cubicBezTo>
                  <a:cubicBezTo>
                    <a:pt x="1376" y="929"/>
                    <a:pt x="1376" y="929"/>
                    <a:pt x="1376" y="929"/>
                  </a:cubicBezTo>
                  <a:cubicBezTo>
                    <a:pt x="1376" y="929"/>
                    <a:pt x="1376" y="929"/>
                    <a:pt x="1376" y="929"/>
                  </a:cubicBezTo>
                  <a:cubicBezTo>
                    <a:pt x="1376" y="929"/>
                    <a:pt x="1376" y="929"/>
                    <a:pt x="1376" y="929"/>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0"/>
                    <a:pt x="1376" y="930"/>
                    <a:pt x="1376" y="930"/>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6" y="931"/>
                    <a:pt x="1376" y="931"/>
                    <a:pt x="1376" y="931"/>
                  </a:cubicBezTo>
                  <a:cubicBezTo>
                    <a:pt x="1377" y="931"/>
                    <a:pt x="1377" y="931"/>
                    <a:pt x="1377" y="931"/>
                  </a:cubicBezTo>
                  <a:cubicBezTo>
                    <a:pt x="1377" y="931"/>
                    <a:pt x="1377" y="931"/>
                    <a:pt x="1377" y="931"/>
                  </a:cubicBezTo>
                  <a:cubicBezTo>
                    <a:pt x="1378" y="932"/>
                    <a:pt x="1377" y="932"/>
                    <a:pt x="1378" y="933"/>
                  </a:cubicBezTo>
                  <a:cubicBezTo>
                    <a:pt x="1378" y="933"/>
                    <a:pt x="1378" y="933"/>
                    <a:pt x="1378" y="933"/>
                  </a:cubicBezTo>
                  <a:cubicBezTo>
                    <a:pt x="1378" y="933"/>
                    <a:pt x="1378" y="933"/>
                    <a:pt x="1378" y="933"/>
                  </a:cubicBezTo>
                  <a:cubicBezTo>
                    <a:pt x="1378" y="933"/>
                    <a:pt x="1378" y="933"/>
                    <a:pt x="1378" y="933"/>
                  </a:cubicBezTo>
                  <a:cubicBezTo>
                    <a:pt x="1378" y="933"/>
                    <a:pt x="1378" y="933"/>
                    <a:pt x="1378" y="933"/>
                  </a:cubicBezTo>
                  <a:cubicBezTo>
                    <a:pt x="1378" y="933"/>
                    <a:pt x="1378" y="933"/>
                    <a:pt x="1378" y="933"/>
                  </a:cubicBezTo>
                  <a:cubicBezTo>
                    <a:pt x="1379" y="933"/>
                    <a:pt x="1379" y="933"/>
                    <a:pt x="1379" y="933"/>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4"/>
                    <a:pt x="1379" y="934"/>
                    <a:pt x="1379" y="934"/>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79" y="935"/>
                    <a:pt x="1379" y="935"/>
                    <a:pt x="1379" y="935"/>
                  </a:cubicBezTo>
                  <a:cubicBezTo>
                    <a:pt x="1380" y="935"/>
                    <a:pt x="1380" y="935"/>
                    <a:pt x="1380" y="935"/>
                  </a:cubicBezTo>
                  <a:cubicBezTo>
                    <a:pt x="1380" y="935"/>
                    <a:pt x="1380" y="935"/>
                    <a:pt x="1380" y="935"/>
                  </a:cubicBezTo>
                  <a:cubicBezTo>
                    <a:pt x="1380" y="935"/>
                    <a:pt x="1380" y="935"/>
                    <a:pt x="1380" y="935"/>
                  </a:cubicBezTo>
                  <a:cubicBezTo>
                    <a:pt x="1380" y="935"/>
                    <a:pt x="1380" y="935"/>
                    <a:pt x="1380" y="935"/>
                  </a:cubicBezTo>
                  <a:cubicBezTo>
                    <a:pt x="1380" y="935"/>
                    <a:pt x="1380" y="935"/>
                    <a:pt x="1380"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5"/>
                    <a:pt x="1381" y="935"/>
                    <a:pt x="1381" y="935"/>
                  </a:cubicBezTo>
                  <a:cubicBezTo>
                    <a:pt x="1381" y="936"/>
                    <a:pt x="1381" y="936"/>
                    <a:pt x="1381" y="936"/>
                  </a:cubicBezTo>
                  <a:cubicBezTo>
                    <a:pt x="1381" y="936"/>
                    <a:pt x="1381" y="936"/>
                    <a:pt x="1381" y="936"/>
                  </a:cubicBezTo>
                  <a:cubicBezTo>
                    <a:pt x="1381" y="936"/>
                    <a:pt x="1381" y="936"/>
                    <a:pt x="1381" y="936"/>
                  </a:cubicBezTo>
                  <a:cubicBezTo>
                    <a:pt x="1381" y="936"/>
                    <a:pt x="1381" y="936"/>
                    <a:pt x="1381" y="936"/>
                  </a:cubicBezTo>
                  <a:cubicBezTo>
                    <a:pt x="1381" y="936"/>
                    <a:pt x="1381" y="936"/>
                    <a:pt x="1381" y="936"/>
                  </a:cubicBezTo>
                  <a:cubicBezTo>
                    <a:pt x="1381" y="937"/>
                    <a:pt x="1381" y="937"/>
                    <a:pt x="1381" y="938"/>
                  </a:cubicBezTo>
                  <a:cubicBezTo>
                    <a:pt x="1381" y="938"/>
                    <a:pt x="1381" y="938"/>
                    <a:pt x="1381" y="938"/>
                  </a:cubicBezTo>
                  <a:cubicBezTo>
                    <a:pt x="1381" y="938"/>
                    <a:pt x="1381" y="938"/>
                    <a:pt x="1381" y="938"/>
                  </a:cubicBezTo>
                  <a:cubicBezTo>
                    <a:pt x="1381" y="939"/>
                    <a:pt x="1382" y="938"/>
                    <a:pt x="1382" y="939"/>
                  </a:cubicBezTo>
                  <a:cubicBezTo>
                    <a:pt x="1382" y="939"/>
                    <a:pt x="1382" y="939"/>
                    <a:pt x="1382" y="939"/>
                  </a:cubicBezTo>
                  <a:cubicBezTo>
                    <a:pt x="1382" y="940"/>
                    <a:pt x="1382" y="940"/>
                    <a:pt x="1382" y="940"/>
                  </a:cubicBezTo>
                  <a:cubicBezTo>
                    <a:pt x="1382" y="940"/>
                    <a:pt x="1382" y="940"/>
                    <a:pt x="1382" y="940"/>
                  </a:cubicBezTo>
                  <a:cubicBezTo>
                    <a:pt x="1382" y="940"/>
                    <a:pt x="1382" y="940"/>
                    <a:pt x="1382" y="940"/>
                  </a:cubicBezTo>
                  <a:cubicBezTo>
                    <a:pt x="1383" y="940"/>
                    <a:pt x="1382" y="941"/>
                    <a:pt x="1383" y="941"/>
                  </a:cubicBezTo>
                  <a:cubicBezTo>
                    <a:pt x="1383" y="941"/>
                    <a:pt x="1383" y="941"/>
                    <a:pt x="1383" y="941"/>
                  </a:cubicBezTo>
                  <a:cubicBezTo>
                    <a:pt x="1383" y="941"/>
                    <a:pt x="1383" y="941"/>
                    <a:pt x="1383" y="941"/>
                  </a:cubicBezTo>
                  <a:cubicBezTo>
                    <a:pt x="1383" y="941"/>
                    <a:pt x="1383" y="941"/>
                    <a:pt x="1383" y="941"/>
                  </a:cubicBezTo>
                  <a:cubicBezTo>
                    <a:pt x="1383" y="941"/>
                    <a:pt x="1383" y="941"/>
                    <a:pt x="1383" y="941"/>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2"/>
                    <a:pt x="1383" y="942"/>
                    <a:pt x="1383" y="942"/>
                  </a:cubicBezTo>
                  <a:cubicBezTo>
                    <a:pt x="1383" y="943"/>
                    <a:pt x="1383" y="943"/>
                    <a:pt x="1383" y="943"/>
                  </a:cubicBezTo>
                  <a:cubicBezTo>
                    <a:pt x="1383" y="943"/>
                    <a:pt x="1383" y="943"/>
                    <a:pt x="1383" y="943"/>
                  </a:cubicBezTo>
                  <a:cubicBezTo>
                    <a:pt x="1383" y="943"/>
                    <a:pt x="1383" y="943"/>
                    <a:pt x="1383" y="943"/>
                  </a:cubicBezTo>
                  <a:cubicBezTo>
                    <a:pt x="1383" y="943"/>
                    <a:pt x="1383" y="943"/>
                    <a:pt x="1383" y="943"/>
                  </a:cubicBezTo>
                  <a:cubicBezTo>
                    <a:pt x="1382" y="943"/>
                    <a:pt x="1382" y="943"/>
                    <a:pt x="1382" y="943"/>
                  </a:cubicBezTo>
                  <a:cubicBezTo>
                    <a:pt x="1382" y="944"/>
                    <a:pt x="1382" y="944"/>
                    <a:pt x="1382" y="944"/>
                  </a:cubicBezTo>
                  <a:cubicBezTo>
                    <a:pt x="1383" y="944"/>
                    <a:pt x="1383" y="944"/>
                    <a:pt x="1383" y="944"/>
                  </a:cubicBezTo>
                  <a:cubicBezTo>
                    <a:pt x="1383" y="944"/>
                    <a:pt x="1383" y="944"/>
                    <a:pt x="1383" y="944"/>
                  </a:cubicBezTo>
                  <a:cubicBezTo>
                    <a:pt x="1383" y="944"/>
                    <a:pt x="1383" y="944"/>
                    <a:pt x="1383" y="944"/>
                  </a:cubicBezTo>
                  <a:cubicBezTo>
                    <a:pt x="1384" y="946"/>
                    <a:pt x="1382" y="946"/>
                    <a:pt x="1381" y="948"/>
                  </a:cubicBezTo>
                  <a:cubicBezTo>
                    <a:pt x="1381" y="948"/>
                    <a:pt x="1381" y="948"/>
                    <a:pt x="1381" y="948"/>
                  </a:cubicBezTo>
                  <a:cubicBezTo>
                    <a:pt x="1381" y="948"/>
                    <a:pt x="1381" y="948"/>
                    <a:pt x="1381" y="948"/>
                  </a:cubicBezTo>
                  <a:cubicBezTo>
                    <a:pt x="1381" y="948"/>
                    <a:pt x="1381" y="948"/>
                    <a:pt x="1381" y="948"/>
                  </a:cubicBezTo>
                  <a:cubicBezTo>
                    <a:pt x="1381" y="948"/>
                    <a:pt x="1380" y="949"/>
                    <a:pt x="1380" y="949"/>
                  </a:cubicBezTo>
                  <a:cubicBezTo>
                    <a:pt x="1380" y="949"/>
                    <a:pt x="1380" y="949"/>
                    <a:pt x="1380" y="949"/>
                  </a:cubicBezTo>
                  <a:cubicBezTo>
                    <a:pt x="1380" y="950"/>
                    <a:pt x="1380" y="950"/>
                    <a:pt x="1380" y="950"/>
                  </a:cubicBezTo>
                  <a:cubicBezTo>
                    <a:pt x="1378" y="951"/>
                    <a:pt x="1378" y="951"/>
                    <a:pt x="1378" y="951"/>
                  </a:cubicBezTo>
                  <a:cubicBezTo>
                    <a:pt x="1378" y="951"/>
                    <a:pt x="1378" y="951"/>
                    <a:pt x="1378" y="951"/>
                  </a:cubicBezTo>
                  <a:cubicBezTo>
                    <a:pt x="1378" y="952"/>
                    <a:pt x="1378" y="952"/>
                    <a:pt x="1378" y="952"/>
                  </a:cubicBezTo>
                  <a:cubicBezTo>
                    <a:pt x="1378" y="952"/>
                    <a:pt x="1378" y="952"/>
                    <a:pt x="1378" y="952"/>
                  </a:cubicBezTo>
                  <a:cubicBezTo>
                    <a:pt x="1378" y="952"/>
                    <a:pt x="1378" y="952"/>
                    <a:pt x="1378" y="952"/>
                  </a:cubicBezTo>
                  <a:cubicBezTo>
                    <a:pt x="1377" y="952"/>
                    <a:pt x="1377" y="952"/>
                    <a:pt x="1377" y="952"/>
                  </a:cubicBezTo>
                  <a:cubicBezTo>
                    <a:pt x="1377" y="952"/>
                    <a:pt x="1377" y="952"/>
                    <a:pt x="1377" y="952"/>
                  </a:cubicBezTo>
                  <a:cubicBezTo>
                    <a:pt x="1376" y="953"/>
                    <a:pt x="1376" y="953"/>
                    <a:pt x="1376" y="953"/>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4"/>
                    <a:pt x="1376" y="954"/>
                    <a:pt x="1376" y="954"/>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6" y="955"/>
                    <a:pt x="1376" y="955"/>
                    <a:pt x="1376" y="955"/>
                  </a:cubicBezTo>
                  <a:cubicBezTo>
                    <a:pt x="1375" y="956"/>
                    <a:pt x="1375" y="957"/>
                    <a:pt x="1375" y="957"/>
                  </a:cubicBezTo>
                  <a:cubicBezTo>
                    <a:pt x="1375" y="957"/>
                    <a:pt x="1375" y="957"/>
                    <a:pt x="1375" y="957"/>
                  </a:cubicBezTo>
                  <a:cubicBezTo>
                    <a:pt x="1375" y="958"/>
                    <a:pt x="1375" y="958"/>
                    <a:pt x="1375" y="958"/>
                  </a:cubicBezTo>
                  <a:cubicBezTo>
                    <a:pt x="1374" y="959"/>
                    <a:pt x="1374" y="959"/>
                    <a:pt x="1372" y="960"/>
                  </a:cubicBezTo>
                  <a:cubicBezTo>
                    <a:pt x="1372" y="960"/>
                    <a:pt x="1372" y="960"/>
                    <a:pt x="1372" y="960"/>
                  </a:cubicBezTo>
                  <a:cubicBezTo>
                    <a:pt x="1372" y="961"/>
                    <a:pt x="1372" y="961"/>
                    <a:pt x="1372" y="961"/>
                  </a:cubicBezTo>
                  <a:cubicBezTo>
                    <a:pt x="1372" y="961"/>
                    <a:pt x="1372" y="961"/>
                    <a:pt x="1372" y="961"/>
                  </a:cubicBezTo>
                  <a:cubicBezTo>
                    <a:pt x="1372" y="961"/>
                    <a:pt x="1372" y="961"/>
                    <a:pt x="1372" y="961"/>
                  </a:cubicBezTo>
                  <a:cubicBezTo>
                    <a:pt x="1372" y="962"/>
                    <a:pt x="1372" y="962"/>
                    <a:pt x="1372" y="963"/>
                  </a:cubicBezTo>
                  <a:cubicBezTo>
                    <a:pt x="1372" y="963"/>
                    <a:pt x="1372" y="963"/>
                    <a:pt x="1372" y="963"/>
                  </a:cubicBezTo>
                  <a:cubicBezTo>
                    <a:pt x="1372" y="963"/>
                    <a:pt x="1372" y="963"/>
                    <a:pt x="1372" y="963"/>
                  </a:cubicBezTo>
                  <a:cubicBezTo>
                    <a:pt x="1372" y="963"/>
                    <a:pt x="1372" y="964"/>
                    <a:pt x="1373" y="964"/>
                  </a:cubicBezTo>
                  <a:cubicBezTo>
                    <a:pt x="1373" y="964"/>
                    <a:pt x="1373" y="964"/>
                    <a:pt x="1373" y="964"/>
                  </a:cubicBezTo>
                  <a:cubicBezTo>
                    <a:pt x="1373" y="965"/>
                    <a:pt x="1373" y="965"/>
                    <a:pt x="1373" y="965"/>
                  </a:cubicBezTo>
                  <a:cubicBezTo>
                    <a:pt x="1373" y="965"/>
                    <a:pt x="1373" y="965"/>
                    <a:pt x="1373" y="965"/>
                  </a:cubicBezTo>
                  <a:cubicBezTo>
                    <a:pt x="1373" y="965"/>
                    <a:pt x="1373" y="965"/>
                    <a:pt x="1373" y="965"/>
                  </a:cubicBezTo>
                  <a:cubicBezTo>
                    <a:pt x="1373" y="968"/>
                    <a:pt x="1372" y="972"/>
                    <a:pt x="1373" y="974"/>
                  </a:cubicBezTo>
                  <a:cubicBezTo>
                    <a:pt x="1371" y="976"/>
                    <a:pt x="1371" y="976"/>
                    <a:pt x="1371" y="976"/>
                  </a:cubicBezTo>
                  <a:cubicBezTo>
                    <a:pt x="1370" y="978"/>
                    <a:pt x="1370" y="978"/>
                    <a:pt x="1370" y="978"/>
                  </a:cubicBezTo>
                  <a:cubicBezTo>
                    <a:pt x="1356" y="991"/>
                    <a:pt x="1356" y="991"/>
                    <a:pt x="1356" y="991"/>
                  </a:cubicBezTo>
                  <a:cubicBezTo>
                    <a:pt x="1356" y="992"/>
                    <a:pt x="1356" y="992"/>
                    <a:pt x="1356" y="992"/>
                  </a:cubicBezTo>
                  <a:cubicBezTo>
                    <a:pt x="1356" y="994"/>
                    <a:pt x="1355" y="995"/>
                    <a:pt x="1354" y="997"/>
                  </a:cubicBezTo>
                  <a:cubicBezTo>
                    <a:pt x="1351" y="1004"/>
                    <a:pt x="1351" y="1004"/>
                    <a:pt x="1351" y="1004"/>
                  </a:cubicBezTo>
                  <a:cubicBezTo>
                    <a:pt x="1351" y="1004"/>
                    <a:pt x="1351" y="1004"/>
                    <a:pt x="1351" y="1004"/>
                  </a:cubicBezTo>
                  <a:cubicBezTo>
                    <a:pt x="1351" y="1004"/>
                    <a:pt x="1351" y="1004"/>
                    <a:pt x="1351" y="1004"/>
                  </a:cubicBezTo>
                  <a:cubicBezTo>
                    <a:pt x="1353" y="1005"/>
                    <a:pt x="1354" y="1005"/>
                    <a:pt x="1355" y="1006"/>
                  </a:cubicBezTo>
                  <a:cubicBezTo>
                    <a:pt x="1355" y="1006"/>
                    <a:pt x="1355" y="1006"/>
                    <a:pt x="1355" y="1006"/>
                  </a:cubicBezTo>
                  <a:cubicBezTo>
                    <a:pt x="1356" y="1006"/>
                    <a:pt x="1356" y="1006"/>
                    <a:pt x="1356" y="1006"/>
                  </a:cubicBezTo>
                  <a:cubicBezTo>
                    <a:pt x="1356" y="1007"/>
                    <a:pt x="1356" y="1007"/>
                    <a:pt x="1356" y="1007"/>
                  </a:cubicBezTo>
                  <a:cubicBezTo>
                    <a:pt x="1356" y="1007"/>
                    <a:pt x="1356" y="1007"/>
                    <a:pt x="1356" y="1007"/>
                  </a:cubicBezTo>
                  <a:cubicBezTo>
                    <a:pt x="1356" y="1007"/>
                    <a:pt x="1356" y="1007"/>
                    <a:pt x="1356" y="1007"/>
                  </a:cubicBezTo>
                  <a:cubicBezTo>
                    <a:pt x="1356" y="1007"/>
                    <a:pt x="1356" y="1007"/>
                    <a:pt x="1356" y="1008"/>
                  </a:cubicBezTo>
                  <a:cubicBezTo>
                    <a:pt x="1357" y="1008"/>
                    <a:pt x="1357" y="1009"/>
                    <a:pt x="1356" y="1009"/>
                  </a:cubicBezTo>
                  <a:cubicBezTo>
                    <a:pt x="1356" y="1009"/>
                    <a:pt x="1356" y="1009"/>
                    <a:pt x="1356" y="1009"/>
                  </a:cubicBezTo>
                  <a:cubicBezTo>
                    <a:pt x="1356" y="1010"/>
                    <a:pt x="1356" y="1010"/>
                    <a:pt x="1355" y="1011"/>
                  </a:cubicBezTo>
                  <a:cubicBezTo>
                    <a:pt x="1355" y="1011"/>
                    <a:pt x="1355" y="1011"/>
                    <a:pt x="1355" y="1011"/>
                  </a:cubicBezTo>
                  <a:cubicBezTo>
                    <a:pt x="1355" y="1011"/>
                    <a:pt x="1355" y="1011"/>
                    <a:pt x="1355" y="1011"/>
                  </a:cubicBezTo>
                  <a:cubicBezTo>
                    <a:pt x="1355" y="1011"/>
                    <a:pt x="1355" y="1011"/>
                    <a:pt x="1355" y="1011"/>
                  </a:cubicBezTo>
                  <a:cubicBezTo>
                    <a:pt x="1355" y="1011"/>
                    <a:pt x="1355" y="1011"/>
                    <a:pt x="1355" y="1011"/>
                  </a:cubicBezTo>
                  <a:cubicBezTo>
                    <a:pt x="1352" y="1012"/>
                    <a:pt x="1346" y="1010"/>
                    <a:pt x="1343" y="1011"/>
                  </a:cubicBezTo>
                  <a:cubicBezTo>
                    <a:pt x="1341" y="1012"/>
                    <a:pt x="1341" y="1012"/>
                    <a:pt x="1341" y="1012"/>
                  </a:cubicBezTo>
                  <a:cubicBezTo>
                    <a:pt x="1341" y="1012"/>
                    <a:pt x="1341" y="1012"/>
                    <a:pt x="1341" y="1012"/>
                  </a:cubicBezTo>
                  <a:cubicBezTo>
                    <a:pt x="1341" y="1013"/>
                    <a:pt x="1341" y="1013"/>
                    <a:pt x="1341" y="1014"/>
                  </a:cubicBezTo>
                  <a:cubicBezTo>
                    <a:pt x="1340" y="1014"/>
                    <a:pt x="1340" y="1015"/>
                    <a:pt x="1340" y="1015"/>
                  </a:cubicBezTo>
                  <a:cubicBezTo>
                    <a:pt x="1340" y="1015"/>
                    <a:pt x="1340" y="1015"/>
                    <a:pt x="1340" y="1015"/>
                  </a:cubicBezTo>
                  <a:cubicBezTo>
                    <a:pt x="1340" y="1015"/>
                    <a:pt x="1340" y="1015"/>
                    <a:pt x="1340" y="1015"/>
                  </a:cubicBezTo>
                  <a:cubicBezTo>
                    <a:pt x="1340" y="1016"/>
                    <a:pt x="1340" y="1016"/>
                    <a:pt x="1340" y="1016"/>
                  </a:cubicBezTo>
                  <a:cubicBezTo>
                    <a:pt x="1340" y="1017"/>
                    <a:pt x="1341" y="1018"/>
                    <a:pt x="1341" y="1018"/>
                  </a:cubicBezTo>
                  <a:cubicBezTo>
                    <a:pt x="1341" y="1018"/>
                    <a:pt x="1342" y="1019"/>
                    <a:pt x="1342" y="1019"/>
                  </a:cubicBezTo>
                  <a:cubicBezTo>
                    <a:pt x="1342" y="1019"/>
                    <a:pt x="1342" y="1019"/>
                    <a:pt x="1342" y="1019"/>
                  </a:cubicBezTo>
                  <a:cubicBezTo>
                    <a:pt x="1342" y="1019"/>
                    <a:pt x="1342" y="1019"/>
                    <a:pt x="1342" y="1019"/>
                  </a:cubicBezTo>
                  <a:cubicBezTo>
                    <a:pt x="1343" y="1019"/>
                    <a:pt x="1343" y="1019"/>
                    <a:pt x="1343" y="1019"/>
                  </a:cubicBezTo>
                  <a:cubicBezTo>
                    <a:pt x="1343" y="1019"/>
                    <a:pt x="1343" y="1019"/>
                    <a:pt x="1344" y="1019"/>
                  </a:cubicBezTo>
                  <a:cubicBezTo>
                    <a:pt x="1346" y="1020"/>
                    <a:pt x="1350" y="1019"/>
                    <a:pt x="1352" y="1020"/>
                  </a:cubicBezTo>
                  <a:cubicBezTo>
                    <a:pt x="1352" y="1020"/>
                    <a:pt x="1352" y="1020"/>
                    <a:pt x="1352" y="1020"/>
                  </a:cubicBezTo>
                  <a:cubicBezTo>
                    <a:pt x="1353" y="1020"/>
                    <a:pt x="1353" y="1020"/>
                    <a:pt x="1353" y="1020"/>
                  </a:cubicBezTo>
                  <a:cubicBezTo>
                    <a:pt x="1353" y="1020"/>
                    <a:pt x="1353" y="1020"/>
                    <a:pt x="1353" y="1020"/>
                  </a:cubicBezTo>
                  <a:cubicBezTo>
                    <a:pt x="1353" y="1020"/>
                    <a:pt x="1354" y="1020"/>
                    <a:pt x="1354" y="1021"/>
                  </a:cubicBezTo>
                  <a:cubicBezTo>
                    <a:pt x="1354" y="1021"/>
                    <a:pt x="1354" y="1021"/>
                    <a:pt x="1354" y="1022"/>
                  </a:cubicBezTo>
                  <a:cubicBezTo>
                    <a:pt x="1354" y="1022"/>
                    <a:pt x="1354" y="1022"/>
                    <a:pt x="1354" y="1022"/>
                  </a:cubicBezTo>
                  <a:cubicBezTo>
                    <a:pt x="1354" y="1022"/>
                    <a:pt x="1354" y="1022"/>
                    <a:pt x="1354" y="1022"/>
                  </a:cubicBezTo>
                  <a:cubicBezTo>
                    <a:pt x="1354" y="1022"/>
                    <a:pt x="1354" y="1021"/>
                    <a:pt x="1354" y="1021"/>
                  </a:cubicBezTo>
                  <a:cubicBezTo>
                    <a:pt x="1354" y="1021"/>
                    <a:pt x="1354" y="1021"/>
                    <a:pt x="1354" y="1021"/>
                  </a:cubicBezTo>
                  <a:cubicBezTo>
                    <a:pt x="1355" y="1019"/>
                    <a:pt x="1355" y="1019"/>
                    <a:pt x="1355" y="1019"/>
                  </a:cubicBezTo>
                  <a:cubicBezTo>
                    <a:pt x="1355" y="1017"/>
                    <a:pt x="1358" y="1016"/>
                    <a:pt x="1360" y="1015"/>
                  </a:cubicBezTo>
                  <a:cubicBezTo>
                    <a:pt x="1361" y="1014"/>
                    <a:pt x="1361" y="1014"/>
                    <a:pt x="1362" y="1014"/>
                  </a:cubicBezTo>
                  <a:cubicBezTo>
                    <a:pt x="1362" y="1014"/>
                    <a:pt x="1363" y="1013"/>
                    <a:pt x="1363" y="1013"/>
                  </a:cubicBezTo>
                  <a:cubicBezTo>
                    <a:pt x="1363" y="1013"/>
                    <a:pt x="1363" y="1013"/>
                    <a:pt x="1363" y="1013"/>
                  </a:cubicBezTo>
                  <a:cubicBezTo>
                    <a:pt x="1364" y="1013"/>
                    <a:pt x="1364" y="1013"/>
                    <a:pt x="1364" y="1013"/>
                  </a:cubicBezTo>
                  <a:cubicBezTo>
                    <a:pt x="1365" y="1012"/>
                    <a:pt x="1365" y="1012"/>
                    <a:pt x="1365" y="1012"/>
                  </a:cubicBezTo>
                  <a:cubicBezTo>
                    <a:pt x="1366" y="1012"/>
                    <a:pt x="1366" y="1012"/>
                    <a:pt x="1366" y="1012"/>
                  </a:cubicBezTo>
                  <a:cubicBezTo>
                    <a:pt x="1368" y="1011"/>
                    <a:pt x="1370" y="1009"/>
                    <a:pt x="1372" y="1008"/>
                  </a:cubicBezTo>
                  <a:cubicBezTo>
                    <a:pt x="1373" y="1007"/>
                    <a:pt x="1374" y="1006"/>
                    <a:pt x="1375" y="1005"/>
                  </a:cubicBezTo>
                  <a:cubicBezTo>
                    <a:pt x="1375" y="1005"/>
                    <a:pt x="1375" y="1005"/>
                    <a:pt x="1375" y="1005"/>
                  </a:cubicBezTo>
                  <a:cubicBezTo>
                    <a:pt x="1376" y="1005"/>
                    <a:pt x="1376" y="1005"/>
                    <a:pt x="1376" y="1005"/>
                  </a:cubicBezTo>
                  <a:cubicBezTo>
                    <a:pt x="1377" y="1004"/>
                    <a:pt x="1378" y="1003"/>
                    <a:pt x="1379" y="1002"/>
                  </a:cubicBezTo>
                  <a:cubicBezTo>
                    <a:pt x="1380" y="1002"/>
                    <a:pt x="1380" y="1002"/>
                    <a:pt x="1380" y="1002"/>
                  </a:cubicBezTo>
                  <a:cubicBezTo>
                    <a:pt x="1382" y="1002"/>
                    <a:pt x="1382" y="1002"/>
                    <a:pt x="1382" y="1002"/>
                  </a:cubicBezTo>
                  <a:cubicBezTo>
                    <a:pt x="1385" y="1001"/>
                    <a:pt x="1388" y="1002"/>
                    <a:pt x="1391" y="1002"/>
                  </a:cubicBezTo>
                  <a:cubicBezTo>
                    <a:pt x="1394" y="1002"/>
                    <a:pt x="1397" y="1002"/>
                    <a:pt x="1399" y="1003"/>
                  </a:cubicBezTo>
                  <a:cubicBezTo>
                    <a:pt x="1400" y="1003"/>
                    <a:pt x="1400" y="1003"/>
                    <a:pt x="1400" y="1003"/>
                  </a:cubicBezTo>
                  <a:cubicBezTo>
                    <a:pt x="1400" y="1003"/>
                    <a:pt x="1400" y="1003"/>
                    <a:pt x="1400" y="1003"/>
                  </a:cubicBezTo>
                  <a:cubicBezTo>
                    <a:pt x="1400" y="1003"/>
                    <a:pt x="1400" y="1003"/>
                    <a:pt x="1400" y="1003"/>
                  </a:cubicBezTo>
                  <a:cubicBezTo>
                    <a:pt x="1400" y="1004"/>
                    <a:pt x="1400" y="1004"/>
                    <a:pt x="1400" y="1004"/>
                  </a:cubicBezTo>
                  <a:cubicBezTo>
                    <a:pt x="1401" y="1004"/>
                    <a:pt x="1403" y="1003"/>
                    <a:pt x="1404" y="1004"/>
                  </a:cubicBezTo>
                  <a:cubicBezTo>
                    <a:pt x="1405" y="1004"/>
                    <a:pt x="1405" y="1004"/>
                    <a:pt x="1405" y="1004"/>
                  </a:cubicBezTo>
                  <a:cubicBezTo>
                    <a:pt x="1405" y="1004"/>
                    <a:pt x="1405" y="1004"/>
                    <a:pt x="1405" y="1004"/>
                  </a:cubicBezTo>
                  <a:cubicBezTo>
                    <a:pt x="1405" y="1004"/>
                    <a:pt x="1405" y="1004"/>
                    <a:pt x="1405" y="1004"/>
                  </a:cubicBezTo>
                  <a:cubicBezTo>
                    <a:pt x="1407" y="1004"/>
                    <a:pt x="1408" y="1004"/>
                    <a:pt x="1410" y="1004"/>
                  </a:cubicBezTo>
                  <a:cubicBezTo>
                    <a:pt x="1409" y="1004"/>
                    <a:pt x="1409" y="1004"/>
                    <a:pt x="1409" y="1004"/>
                  </a:cubicBezTo>
                  <a:cubicBezTo>
                    <a:pt x="1407" y="1004"/>
                    <a:pt x="1406" y="1004"/>
                    <a:pt x="1405" y="1003"/>
                  </a:cubicBezTo>
                  <a:cubicBezTo>
                    <a:pt x="1405" y="1003"/>
                    <a:pt x="1405" y="1003"/>
                    <a:pt x="1405" y="1003"/>
                  </a:cubicBezTo>
                  <a:cubicBezTo>
                    <a:pt x="1405" y="1003"/>
                    <a:pt x="1405" y="1003"/>
                    <a:pt x="1405" y="1003"/>
                  </a:cubicBezTo>
                  <a:cubicBezTo>
                    <a:pt x="1404" y="1003"/>
                    <a:pt x="1404" y="1003"/>
                    <a:pt x="1404" y="1003"/>
                  </a:cubicBezTo>
                  <a:cubicBezTo>
                    <a:pt x="1404" y="1003"/>
                    <a:pt x="1404" y="1003"/>
                    <a:pt x="1404" y="1003"/>
                  </a:cubicBezTo>
                  <a:cubicBezTo>
                    <a:pt x="1404" y="1003"/>
                    <a:pt x="1404" y="1003"/>
                    <a:pt x="1404" y="1003"/>
                  </a:cubicBezTo>
                  <a:cubicBezTo>
                    <a:pt x="1403" y="1003"/>
                    <a:pt x="1403" y="1003"/>
                    <a:pt x="1403" y="1003"/>
                  </a:cubicBezTo>
                  <a:cubicBezTo>
                    <a:pt x="1403" y="1003"/>
                    <a:pt x="1403" y="1003"/>
                    <a:pt x="1402" y="1003"/>
                  </a:cubicBezTo>
                  <a:cubicBezTo>
                    <a:pt x="1402" y="1003"/>
                    <a:pt x="1402" y="1003"/>
                    <a:pt x="1402" y="1003"/>
                  </a:cubicBezTo>
                  <a:cubicBezTo>
                    <a:pt x="1402" y="1003"/>
                    <a:pt x="1402" y="1003"/>
                    <a:pt x="1402" y="1003"/>
                  </a:cubicBezTo>
                  <a:cubicBezTo>
                    <a:pt x="1402" y="1002"/>
                    <a:pt x="1402" y="1002"/>
                    <a:pt x="1402" y="1002"/>
                  </a:cubicBezTo>
                  <a:cubicBezTo>
                    <a:pt x="1403" y="1002"/>
                    <a:pt x="1403" y="1002"/>
                    <a:pt x="1403" y="1002"/>
                  </a:cubicBezTo>
                  <a:cubicBezTo>
                    <a:pt x="1404" y="1001"/>
                    <a:pt x="1404" y="1001"/>
                    <a:pt x="1404" y="1001"/>
                  </a:cubicBezTo>
                  <a:cubicBezTo>
                    <a:pt x="1405" y="1001"/>
                    <a:pt x="1405" y="1001"/>
                    <a:pt x="1405" y="1001"/>
                  </a:cubicBezTo>
                  <a:cubicBezTo>
                    <a:pt x="1406" y="1000"/>
                    <a:pt x="1407" y="1000"/>
                    <a:pt x="1408" y="999"/>
                  </a:cubicBezTo>
                  <a:cubicBezTo>
                    <a:pt x="1412" y="997"/>
                    <a:pt x="1412" y="997"/>
                    <a:pt x="1412" y="997"/>
                  </a:cubicBezTo>
                  <a:cubicBezTo>
                    <a:pt x="1418" y="996"/>
                    <a:pt x="1418" y="996"/>
                    <a:pt x="1418" y="996"/>
                  </a:cubicBezTo>
                  <a:cubicBezTo>
                    <a:pt x="1424" y="995"/>
                    <a:pt x="1430" y="995"/>
                    <a:pt x="1436" y="994"/>
                  </a:cubicBezTo>
                  <a:cubicBezTo>
                    <a:pt x="1435" y="992"/>
                    <a:pt x="1435" y="991"/>
                    <a:pt x="1434" y="989"/>
                  </a:cubicBezTo>
                  <a:cubicBezTo>
                    <a:pt x="1434" y="989"/>
                    <a:pt x="1434" y="989"/>
                    <a:pt x="1434" y="989"/>
                  </a:cubicBezTo>
                  <a:cubicBezTo>
                    <a:pt x="1434" y="987"/>
                    <a:pt x="1434" y="987"/>
                    <a:pt x="1434" y="987"/>
                  </a:cubicBezTo>
                  <a:cubicBezTo>
                    <a:pt x="1434" y="986"/>
                    <a:pt x="1434" y="986"/>
                    <a:pt x="1434" y="986"/>
                  </a:cubicBezTo>
                  <a:cubicBezTo>
                    <a:pt x="1434" y="985"/>
                    <a:pt x="1434" y="985"/>
                    <a:pt x="1434" y="984"/>
                  </a:cubicBezTo>
                  <a:cubicBezTo>
                    <a:pt x="1425" y="986"/>
                    <a:pt x="1425" y="986"/>
                    <a:pt x="1425" y="986"/>
                  </a:cubicBezTo>
                  <a:cubicBezTo>
                    <a:pt x="1424" y="986"/>
                    <a:pt x="1424" y="986"/>
                    <a:pt x="1424" y="986"/>
                  </a:cubicBezTo>
                  <a:cubicBezTo>
                    <a:pt x="1423" y="986"/>
                    <a:pt x="1423" y="986"/>
                    <a:pt x="1423" y="986"/>
                  </a:cubicBezTo>
                  <a:cubicBezTo>
                    <a:pt x="1423" y="986"/>
                    <a:pt x="1423" y="986"/>
                    <a:pt x="1423" y="986"/>
                  </a:cubicBezTo>
                  <a:cubicBezTo>
                    <a:pt x="1422" y="986"/>
                    <a:pt x="1420" y="985"/>
                    <a:pt x="1419" y="985"/>
                  </a:cubicBezTo>
                  <a:cubicBezTo>
                    <a:pt x="1419" y="985"/>
                    <a:pt x="1419" y="985"/>
                    <a:pt x="1419" y="985"/>
                  </a:cubicBezTo>
                  <a:cubicBezTo>
                    <a:pt x="1419" y="984"/>
                    <a:pt x="1419" y="984"/>
                    <a:pt x="1419" y="984"/>
                  </a:cubicBezTo>
                  <a:cubicBezTo>
                    <a:pt x="1418" y="984"/>
                    <a:pt x="1418" y="983"/>
                    <a:pt x="1418" y="983"/>
                  </a:cubicBezTo>
                  <a:cubicBezTo>
                    <a:pt x="1418" y="982"/>
                    <a:pt x="1418" y="982"/>
                    <a:pt x="1418" y="982"/>
                  </a:cubicBezTo>
                  <a:cubicBezTo>
                    <a:pt x="1418" y="982"/>
                    <a:pt x="1418" y="982"/>
                    <a:pt x="1418" y="982"/>
                  </a:cubicBezTo>
                  <a:cubicBezTo>
                    <a:pt x="1418" y="982"/>
                    <a:pt x="1418" y="982"/>
                    <a:pt x="1418" y="982"/>
                  </a:cubicBezTo>
                  <a:cubicBezTo>
                    <a:pt x="1418" y="982"/>
                    <a:pt x="1418" y="982"/>
                    <a:pt x="1418" y="982"/>
                  </a:cubicBezTo>
                  <a:cubicBezTo>
                    <a:pt x="1418" y="982"/>
                    <a:pt x="1418" y="982"/>
                    <a:pt x="1418" y="982"/>
                  </a:cubicBezTo>
                  <a:cubicBezTo>
                    <a:pt x="1419" y="981"/>
                    <a:pt x="1420" y="980"/>
                    <a:pt x="1420" y="979"/>
                  </a:cubicBezTo>
                  <a:cubicBezTo>
                    <a:pt x="1420" y="979"/>
                    <a:pt x="1420" y="979"/>
                    <a:pt x="1420" y="979"/>
                  </a:cubicBezTo>
                  <a:cubicBezTo>
                    <a:pt x="1421" y="979"/>
                    <a:pt x="1421" y="979"/>
                    <a:pt x="1421" y="979"/>
                  </a:cubicBezTo>
                  <a:cubicBezTo>
                    <a:pt x="1421" y="978"/>
                    <a:pt x="1421" y="978"/>
                    <a:pt x="1421" y="977"/>
                  </a:cubicBezTo>
                  <a:cubicBezTo>
                    <a:pt x="1420" y="976"/>
                    <a:pt x="1420" y="974"/>
                    <a:pt x="1420" y="973"/>
                  </a:cubicBezTo>
                  <a:cubicBezTo>
                    <a:pt x="1420" y="969"/>
                    <a:pt x="1423" y="966"/>
                    <a:pt x="1426" y="966"/>
                  </a:cubicBezTo>
                  <a:cubicBezTo>
                    <a:pt x="1428" y="966"/>
                    <a:pt x="1431" y="968"/>
                    <a:pt x="1432" y="970"/>
                  </a:cubicBezTo>
                  <a:cubicBezTo>
                    <a:pt x="1432" y="970"/>
                    <a:pt x="1432" y="970"/>
                    <a:pt x="1432" y="970"/>
                  </a:cubicBezTo>
                  <a:cubicBezTo>
                    <a:pt x="1432" y="970"/>
                    <a:pt x="1432" y="970"/>
                    <a:pt x="1432" y="970"/>
                  </a:cubicBezTo>
                  <a:cubicBezTo>
                    <a:pt x="1432" y="970"/>
                    <a:pt x="1432" y="970"/>
                    <a:pt x="1432" y="970"/>
                  </a:cubicBezTo>
                  <a:cubicBezTo>
                    <a:pt x="1433" y="969"/>
                    <a:pt x="1433" y="969"/>
                    <a:pt x="1433" y="968"/>
                  </a:cubicBezTo>
                  <a:cubicBezTo>
                    <a:pt x="1433" y="968"/>
                    <a:pt x="1433" y="968"/>
                    <a:pt x="1433" y="968"/>
                  </a:cubicBezTo>
                  <a:cubicBezTo>
                    <a:pt x="1434" y="968"/>
                    <a:pt x="1434" y="968"/>
                    <a:pt x="1434" y="968"/>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5" y="963"/>
                    <a:pt x="1465" y="963"/>
                    <a:pt x="1465"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6" y="963"/>
                    <a:pt x="1466" y="963"/>
                    <a:pt x="1466" y="963"/>
                  </a:cubicBezTo>
                  <a:cubicBezTo>
                    <a:pt x="1467" y="963"/>
                    <a:pt x="1467" y="963"/>
                    <a:pt x="1467" y="963"/>
                  </a:cubicBezTo>
                  <a:cubicBezTo>
                    <a:pt x="1468" y="963"/>
                    <a:pt x="1468" y="963"/>
                    <a:pt x="1468" y="963"/>
                  </a:cubicBezTo>
                  <a:cubicBezTo>
                    <a:pt x="1468" y="962"/>
                    <a:pt x="1468" y="962"/>
                    <a:pt x="1468" y="962"/>
                  </a:cubicBezTo>
                  <a:cubicBezTo>
                    <a:pt x="1469" y="961"/>
                    <a:pt x="1469" y="961"/>
                    <a:pt x="1469" y="961"/>
                  </a:cubicBezTo>
                  <a:cubicBezTo>
                    <a:pt x="1469" y="961"/>
                    <a:pt x="1469" y="961"/>
                    <a:pt x="1469" y="961"/>
                  </a:cubicBezTo>
                  <a:cubicBezTo>
                    <a:pt x="1469" y="961"/>
                    <a:pt x="1469" y="961"/>
                    <a:pt x="1469" y="961"/>
                  </a:cubicBezTo>
                  <a:cubicBezTo>
                    <a:pt x="1468" y="961"/>
                    <a:pt x="1468" y="961"/>
                    <a:pt x="1468" y="961"/>
                  </a:cubicBezTo>
                  <a:cubicBezTo>
                    <a:pt x="1468" y="961"/>
                    <a:pt x="1468" y="961"/>
                    <a:pt x="1468" y="961"/>
                  </a:cubicBezTo>
                  <a:cubicBezTo>
                    <a:pt x="1469" y="961"/>
                    <a:pt x="1469" y="961"/>
                    <a:pt x="1469" y="961"/>
                  </a:cubicBezTo>
                  <a:cubicBezTo>
                    <a:pt x="1469" y="960"/>
                    <a:pt x="1469" y="960"/>
                    <a:pt x="1469" y="960"/>
                  </a:cubicBezTo>
                  <a:cubicBezTo>
                    <a:pt x="1470" y="960"/>
                    <a:pt x="1470" y="960"/>
                    <a:pt x="1470" y="960"/>
                  </a:cubicBezTo>
                  <a:cubicBezTo>
                    <a:pt x="1471" y="960"/>
                    <a:pt x="1471" y="960"/>
                    <a:pt x="1471" y="960"/>
                  </a:cubicBezTo>
                  <a:cubicBezTo>
                    <a:pt x="1472" y="960"/>
                    <a:pt x="1473" y="959"/>
                    <a:pt x="1474" y="959"/>
                  </a:cubicBezTo>
                  <a:cubicBezTo>
                    <a:pt x="1474" y="959"/>
                    <a:pt x="1474" y="959"/>
                    <a:pt x="1474" y="959"/>
                  </a:cubicBezTo>
                  <a:cubicBezTo>
                    <a:pt x="1475" y="959"/>
                    <a:pt x="1475" y="959"/>
                    <a:pt x="1475" y="959"/>
                  </a:cubicBezTo>
                  <a:cubicBezTo>
                    <a:pt x="1475" y="959"/>
                    <a:pt x="1475" y="959"/>
                    <a:pt x="1475" y="959"/>
                  </a:cubicBezTo>
                  <a:cubicBezTo>
                    <a:pt x="1475" y="959"/>
                    <a:pt x="1475" y="959"/>
                    <a:pt x="1475" y="959"/>
                  </a:cubicBezTo>
                  <a:cubicBezTo>
                    <a:pt x="1475" y="959"/>
                    <a:pt x="1475" y="959"/>
                    <a:pt x="1475" y="959"/>
                  </a:cubicBezTo>
                  <a:cubicBezTo>
                    <a:pt x="1475" y="959"/>
                    <a:pt x="1475" y="959"/>
                    <a:pt x="1475" y="959"/>
                  </a:cubicBezTo>
                  <a:cubicBezTo>
                    <a:pt x="1474" y="960"/>
                    <a:pt x="1474" y="960"/>
                    <a:pt x="1474" y="960"/>
                  </a:cubicBezTo>
                  <a:cubicBezTo>
                    <a:pt x="1475" y="960"/>
                    <a:pt x="1475" y="960"/>
                    <a:pt x="1475" y="960"/>
                  </a:cubicBezTo>
                  <a:cubicBezTo>
                    <a:pt x="1475" y="960"/>
                    <a:pt x="1475" y="960"/>
                    <a:pt x="1475" y="960"/>
                  </a:cubicBezTo>
                  <a:cubicBezTo>
                    <a:pt x="1475" y="960"/>
                    <a:pt x="1475" y="960"/>
                    <a:pt x="1475" y="960"/>
                  </a:cubicBezTo>
                  <a:cubicBezTo>
                    <a:pt x="1476" y="960"/>
                    <a:pt x="1476" y="959"/>
                    <a:pt x="1477" y="959"/>
                  </a:cubicBezTo>
                  <a:cubicBezTo>
                    <a:pt x="1477" y="959"/>
                    <a:pt x="1477" y="959"/>
                    <a:pt x="1477" y="959"/>
                  </a:cubicBezTo>
                  <a:cubicBezTo>
                    <a:pt x="1477" y="959"/>
                    <a:pt x="1477" y="959"/>
                    <a:pt x="1477" y="959"/>
                  </a:cubicBezTo>
                  <a:cubicBezTo>
                    <a:pt x="1478" y="959"/>
                    <a:pt x="1478" y="959"/>
                    <a:pt x="1479" y="959"/>
                  </a:cubicBezTo>
                  <a:cubicBezTo>
                    <a:pt x="1479" y="959"/>
                    <a:pt x="1479" y="959"/>
                    <a:pt x="1479" y="959"/>
                  </a:cubicBezTo>
                  <a:cubicBezTo>
                    <a:pt x="1479" y="959"/>
                    <a:pt x="1479" y="959"/>
                    <a:pt x="1479" y="959"/>
                  </a:cubicBezTo>
                  <a:cubicBezTo>
                    <a:pt x="1479" y="959"/>
                    <a:pt x="1479" y="959"/>
                    <a:pt x="1479" y="959"/>
                  </a:cubicBezTo>
                  <a:cubicBezTo>
                    <a:pt x="1479" y="959"/>
                    <a:pt x="1479" y="959"/>
                    <a:pt x="1479" y="959"/>
                  </a:cubicBezTo>
                  <a:cubicBezTo>
                    <a:pt x="1479" y="959"/>
                    <a:pt x="1480" y="958"/>
                    <a:pt x="1480" y="958"/>
                  </a:cubicBezTo>
                  <a:cubicBezTo>
                    <a:pt x="1480" y="958"/>
                    <a:pt x="1480" y="958"/>
                    <a:pt x="1480" y="958"/>
                  </a:cubicBezTo>
                  <a:cubicBezTo>
                    <a:pt x="1480" y="958"/>
                    <a:pt x="1480" y="958"/>
                    <a:pt x="1480" y="958"/>
                  </a:cubicBezTo>
                  <a:cubicBezTo>
                    <a:pt x="1480" y="958"/>
                    <a:pt x="1480" y="958"/>
                    <a:pt x="1480" y="958"/>
                  </a:cubicBezTo>
                  <a:cubicBezTo>
                    <a:pt x="1480" y="958"/>
                    <a:pt x="1480" y="958"/>
                    <a:pt x="1480" y="958"/>
                  </a:cubicBezTo>
                  <a:cubicBezTo>
                    <a:pt x="1480" y="959"/>
                    <a:pt x="1480" y="959"/>
                    <a:pt x="1480" y="959"/>
                  </a:cubicBezTo>
                  <a:cubicBezTo>
                    <a:pt x="1480" y="959"/>
                    <a:pt x="1480" y="959"/>
                    <a:pt x="1480" y="959"/>
                  </a:cubicBezTo>
                  <a:cubicBezTo>
                    <a:pt x="1480" y="959"/>
                    <a:pt x="1480" y="959"/>
                    <a:pt x="1480" y="959"/>
                  </a:cubicBezTo>
                  <a:cubicBezTo>
                    <a:pt x="1480" y="959"/>
                    <a:pt x="1480" y="959"/>
                    <a:pt x="1480" y="959"/>
                  </a:cubicBezTo>
                  <a:cubicBezTo>
                    <a:pt x="1480" y="960"/>
                    <a:pt x="1480" y="960"/>
                    <a:pt x="1480" y="960"/>
                  </a:cubicBezTo>
                  <a:cubicBezTo>
                    <a:pt x="1480" y="960"/>
                    <a:pt x="1480" y="960"/>
                    <a:pt x="1480" y="960"/>
                  </a:cubicBezTo>
                  <a:cubicBezTo>
                    <a:pt x="1482" y="960"/>
                    <a:pt x="1482" y="960"/>
                    <a:pt x="1482" y="960"/>
                  </a:cubicBezTo>
                  <a:cubicBezTo>
                    <a:pt x="1482" y="960"/>
                    <a:pt x="1482" y="960"/>
                    <a:pt x="1482" y="960"/>
                  </a:cubicBezTo>
                  <a:cubicBezTo>
                    <a:pt x="1482" y="960"/>
                    <a:pt x="1482" y="960"/>
                    <a:pt x="1482" y="960"/>
                  </a:cubicBezTo>
                  <a:cubicBezTo>
                    <a:pt x="1481" y="960"/>
                    <a:pt x="1481" y="960"/>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1"/>
                    <a:pt x="1481" y="961"/>
                    <a:pt x="1481" y="961"/>
                  </a:cubicBezTo>
                  <a:cubicBezTo>
                    <a:pt x="1481" y="962"/>
                    <a:pt x="1481" y="962"/>
                    <a:pt x="1481" y="962"/>
                  </a:cubicBezTo>
                  <a:cubicBezTo>
                    <a:pt x="1481" y="962"/>
                    <a:pt x="1481" y="962"/>
                    <a:pt x="1481" y="962"/>
                  </a:cubicBezTo>
                  <a:cubicBezTo>
                    <a:pt x="1482" y="961"/>
                    <a:pt x="1482" y="961"/>
                    <a:pt x="1482" y="961"/>
                  </a:cubicBezTo>
                  <a:cubicBezTo>
                    <a:pt x="1482" y="961"/>
                    <a:pt x="1482" y="961"/>
                    <a:pt x="1482" y="961"/>
                  </a:cubicBezTo>
                  <a:cubicBezTo>
                    <a:pt x="1485" y="960"/>
                    <a:pt x="1485" y="960"/>
                    <a:pt x="1485" y="960"/>
                  </a:cubicBezTo>
                  <a:cubicBezTo>
                    <a:pt x="1485" y="960"/>
                    <a:pt x="1485" y="960"/>
                    <a:pt x="1485" y="960"/>
                  </a:cubicBezTo>
                  <a:cubicBezTo>
                    <a:pt x="1485" y="960"/>
                    <a:pt x="1485" y="960"/>
                    <a:pt x="1485" y="960"/>
                  </a:cubicBezTo>
                  <a:cubicBezTo>
                    <a:pt x="1485" y="960"/>
                    <a:pt x="1485" y="960"/>
                    <a:pt x="1485" y="960"/>
                  </a:cubicBezTo>
                  <a:cubicBezTo>
                    <a:pt x="1504" y="952"/>
                    <a:pt x="1504" y="952"/>
                    <a:pt x="1504" y="952"/>
                  </a:cubicBezTo>
                  <a:cubicBezTo>
                    <a:pt x="1503" y="951"/>
                    <a:pt x="1503" y="951"/>
                    <a:pt x="1503" y="951"/>
                  </a:cubicBezTo>
                  <a:cubicBezTo>
                    <a:pt x="1504" y="951"/>
                    <a:pt x="1504" y="951"/>
                    <a:pt x="1504" y="951"/>
                  </a:cubicBezTo>
                  <a:cubicBezTo>
                    <a:pt x="1507" y="949"/>
                    <a:pt x="1509" y="948"/>
                    <a:pt x="1510" y="947"/>
                  </a:cubicBezTo>
                  <a:cubicBezTo>
                    <a:pt x="1511" y="945"/>
                    <a:pt x="1513" y="944"/>
                    <a:pt x="1515" y="942"/>
                  </a:cubicBezTo>
                  <a:cubicBezTo>
                    <a:pt x="1516" y="942"/>
                    <a:pt x="1516" y="942"/>
                    <a:pt x="1516" y="942"/>
                  </a:cubicBezTo>
                  <a:cubicBezTo>
                    <a:pt x="1517" y="940"/>
                    <a:pt x="1519" y="939"/>
                    <a:pt x="1520" y="938"/>
                  </a:cubicBezTo>
                  <a:cubicBezTo>
                    <a:pt x="1524" y="934"/>
                    <a:pt x="1531" y="932"/>
                    <a:pt x="1540" y="932"/>
                  </a:cubicBezTo>
                  <a:cubicBezTo>
                    <a:pt x="1550" y="932"/>
                    <a:pt x="1598" y="932"/>
                    <a:pt x="1608" y="932"/>
                  </a:cubicBezTo>
                  <a:cubicBezTo>
                    <a:pt x="1610" y="928"/>
                    <a:pt x="1611" y="925"/>
                    <a:pt x="1614" y="924"/>
                  </a:cubicBezTo>
                  <a:cubicBezTo>
                    <a:pt x="1616" y="923"/>
                    <a:pt x="1619" y="923"/>
                    <a:pt x="1622" y="924"/>
                  </a:cubicBezTo>
                  <a:cubicBezTo>
                    <a:pt x="1625" y="925"/>
                    <a:pt x="1626" y="925"/>
                    <a:pt x="1628" y="921"/>
                  </a:cubicBezTo>
                  <a:cubicBezTo>
                    <a:pt x="1631" y="917"/>
                    <a:pt x="1635" y="911"/>
                    <a:pt x="1637" y="908"/>
                  </a:cubicBezTo>
                  <a:cubicBezTo>
                    <a:pt x="1637" y="908"/>
                    <a:pt x="1637" y="908"/>
                    <a:pt x="1637" y="908"/>
                  </a:cubicBezTo>
                  <a:cubicBezTo>
                    <a:pt x="1635" y="906"/>
                    <a:pt x="1637" y="902"/>
                    <a:pt x="1644" y="890"/>
                  </a:cubicBezTo>
                  <a:cubicBezTo>
                    <a:pt x="1644" y="889"/>
                    <a:pt x="1644" y="889"/>
                    <a:pt x="1644" y="889"/>
                  </a:cubicBezTo>
                  <a:cubicBezTo>
                    <a:pt x="1648" y="883"/>
                    <a:pt x="1659" y="865"/>
                    <a:pt x="1659" y="865"/>
                  </a:cubicBezTo>
                  <a:cubicBezTo>
                    <a:pt x="1659" y="864"/>
                    <a:pt x="1660" y="862"/>
                    <a:pt x="1662" y="861"/>
                  </a:cubicBezTo>
                  <a:cubicBezTo>
                    <a:pt x="1664" y="860"/>
                    <a:pt x="1665" y="860"/>
                    <a:pt x="1667" y="861"/>
                  </a:cubicBezTo>
                  <a:cubicBezTo>
                    <a:pt x="1671" y="863"/>
                    <a:pt x="1671" y="866"/>
                    <a:pt x="1670" y="867"/>
                  </a:cubicBezTo>
                  <a:cubicBezTo>
                    <a:pt x="1672" y="869"/>
                    <a:pt x="1672" y="869"/>
                    <a:pt x="1673" y="868"/>
                  </a:cubicBezTo>
                  <a:cubicBezTo>
                    <a:pt x="1673" y="868"/>
                    <a:pt x="1674" y="868"/>
                    <a:pt x="1674" y="868"/>
                  </a:cubicBezTo>
                  <a:cubicBezTo>
                    <a:pt x="1675" y="867"/>
                    <a:pt x="1675" y="867"/>
                    <a:pt x="1675" y="867"/>
                  </a:cubicBezTo>
                  <a:cubicBezTo>
                    <a:pt x="1680" y="865"/>
                    <a:pt x="1686" y="862"/>
                    <a:pt x="1689" y="865"/>
                  </a:cubicBezTo>
                  <a:cubicBezTo>
                    <a:pt x="1691" y="866"/>
                    <a:pt x="1692" y="867"/>
                    <a:pt x="1694" y="868"/>
                  </a:cubicBezTo>
                  <a:cubicBezTo>
                    <a:pt x="1694" y="869"/>
                    <a:pt x="1694" y="869"/>
                    <a:pt x="1694" y="869"/>
                  </a:cubicBezTo>
                  <a:cubicBezTo>
                    <a:pt x="1695" y="869"/>
                    <a:pt x="1695" y="870"/>
                    <a:pt x="1696" y="870"/>
                  </a:cubicBezTo>
                  <a:cubicBezTo>
                    <a:pt x="1698" y="872"/>
                    <a:pt x="1700" y="874"/>
                    <a:pt x="1700" y="883"/>
                  </a:cubicBezTo>
                  <a:cubicBezTo>
                    <a:pt x="1700" y="892"/>
                    <a:pt x="1700" y="910"/>
                    <a:pt x="1700" y="910"/>
                  </a:cubicBezTo>
                  <a:cubicBezTo>
                    <a:pt x="1700" y="910"/>
                    <a:pt x="1700" y="910"/>
                    <a:pt x="1700" y="910"/>
                  </a:cubicBezTo>
                  <a:cubicBezTo>
                    <a:pt x="1700" y="911"/>
                    <a:pt x="1700" y="911"/>
                    <a:pt x="1700" y="911"/>
                  </a:cubicBezTo>
                  <a:cubicBezTo>
                    <a:pt x="1700" y="911"/>
                    <a:pt x="1700" y="912"/>
                    <a:pt x="1700" y="913"/>
                  </a:cubicBezTo>
                  <a:cubicBezTo>
                    <a:pt x="1701" y="914"/>
                    <a:pt x="1702" y="915"/>
                    <a:pt x="1704" y="915"/>
                  </a:cubicBezTo>
                  <a:cubicBezTo>
                    <a:pt x="1704" y="915"/>
                    <a:pt x="1704" y="915"/>
                    <a:pt x="1704" y="915"/>
                  </a:cubicBezTo>
                  <a:cubicBezTo>
                    <a:pt x="1706" y="915"/>
                    <a:pt x="1707" y="915"/>
                    <a:pt x="1708" y="916"/>
                  </a:cubicBezTo>
                  <a:cubicBezTo>
                    <a:pt x="1709" y="918"/>
                    <a:pt x="1709" y="922"/>
                    <a:pt x="1708" y="925"/>
                  </a:cubicBezTo>
                  <a:cubicBezTo>
                    <a:pt x="1708" y="925"/>
                    <a:pt x="1708" y="925"/>
                    <a:pt x="1708" y="925"/>
                  </a:cubicBezTo>
                  <a:cubicBezTo>
                    <a:pt x="1708" y="926"/>
                    <a:pt x="1708" y="927"/>
                    <a:pt x="1708" y="927"/>
                  </a:cubicBezTo>
                  <a:cubicBezTo>
                    <a:pt x="1710" y="927"/>
                    <a:pt x="1713" y="927"/>
                    <a:pt x="1715" y="929"/>
                  </a:cubicBezTo>
                  <a:cubicBezTo>
                    <a:pt x="1716" y="930"/>
                    <a:pt x="1716" y="930"/>
                    <a:pt x="1716" y="930"/>
                  </a:cubicBezTo>
                  <a:cubicBezTo>
                    <a:pt x="1715" y="931"/>
                    <a:pt x="1715" y="931"/>
                    <a:pt x="1715" y="931"/>
                  </a:cubicBezTo>
                  <a:cubicBezTo>
                    <a:pt x="1715" y="931"/>
                    <a:pt x="1716" y="932"/>
                    <a:pt x="1717" y="932"/>
                  </a:cubicBezTo>
                  <a:cubicBezTo>
                    <a:pt x="1717" y="932"/>
                    <a:pt x="1717" y="932"/>
                    <a:pt x="1717" y="932"/>
                  </a:cubicBezTo>
                  <a:cubicBezTo>
                    <a:pt x="1717" y="932"/>
                    <a:pt x="1717" y="932"/>
                    <a:pt x="1717" y="932"/>
                  </a:cubicBezTo>
                  <a:cubicBezTo>
                    <a:pt x="1717" y="933"/>
                    <a:pt x="1716" y="933"/>
                    <a:pt x="1716" y="933"/>
                  </a:cubicBezTo>
                  <a:cubicBezTo>
                    <a:pt x="1716" y="933"/>
                    <a:pt x="1717" y="933"/>
                    <a:pt x="1717" y="932"/>
                  </a:cubicBezTo>
                  <a:cubicBezTo>
                    <a:pt x="1718" y="934"/>
                    <a:pt x="1726" y="932"/>
                    <a:pt x="1727" y="932"/>
                  </a:cubicBezTo>
                  <a:cubicBezTo>
                    <a:pt x="1727" y="932"/>
                    <a:pt x="1727" y="932"/>
                    <a:pt x="1727" y="933"/>
                  </a:cubicBezTo>
                  <a:cubicBezTo>
                    <a:pt x="1729" y="931"/>
                    <a:pt x="1731" y="929"/>
                    <a:pt x="1733" y="928"/>
                  </a:cubicBezTo>
                  <a:cubicBezTo>
                    <a:pt x="1734" y="926"/>
                    <a:pt x="1733" y="926"/>
                    <a:pt x="1733" y="925"/>
                  </a:cubicBezTo>
                  <a:cubicBezTo>
                    <a:pt x="1734" y="924"/>
                    <a:pt x="1736" y="923"/>
                    <a:pt x="1737" y="922"/>
                  </a:cubicBezTo>
                  <a:cubicBezTo>
                    <a:pt x="1736" y="924"/>
                    <a:pt x="1734" y="925"/>
                    <a:pt x="1735" y="926"/>
                  </a:cubicBezTo>
                  <a:cubicBezTo>
                    <a:pt x="1735" y="926"/>
                    <a:pt x="1737" y="928"/>
                    <a:pt x="1737" y="928"/>
                  </a:cubicBezTo>
                  <a:cubicBezTo>
                    <a:pt x="1738" y="928"/>
                    <a:pt x="1738" y="929"/>
                    <a:pt x="1739" y="929"/>
                  </a:cubicBezTo>
                  <a:cubicBezTo>
                    <a:pt x="1743" y="929"/>
                    <a:pt x="1749" y="924"/>
                    <a:pt x="1751" y="922"/>
                  </a:cubicBezTo>
                  <a:cubicBezTo>
                    <a:pt x="1757" y="919"/>
                    <a:pt x="1763" y="915"/>
                    <a:pt x="1769" y="912"/>
                  </a:cubicBezTo>
                  <a:cubicBezTo>
                    <a:pt x="1771" y="911"/>
                    <a:pt x="1770" y="911"/>
                    <a:pt x="1770" y="909"/>
                  </a:cubicBezTo>
                  <a:cubicBezTo>
                    <a:pt x="1769" y="908"/>
                    <a:pt x="1767" y="904"/>
                    <a:pt x="1766" y="904"/>
                  </a:cubicBezTo>
                  <a:cubicBezTo>
                    <a:pt x="1768" y="906"/>
                    <a:pt x="1774" y="911"/>
                    <a:pt x="1771" y="914"/>
                  </a:cubicBezTo>
                  <a:cubicBezTo>
                    <a:pt x="1773" y="913"/>
                    <a:pt x="1775" y="912"/>
                    <a:pt x="1777" y="911"/>
                  </a:cubicBezTo>
                  <a:cubicBezTo>
                    <a:pt x="1775" y="914"/>
                    <a:pt x="1773" y="916"/>
                    <a:pt x="1771" y="919"/>
                  </a:cubicBezTo>
                  <a:cubicBezTo>
                    <a:pt x="1770" y="920"/>
                    <a:pt x="1766" y="924"/>
                    <a:pt x="1766" y="925"/>
                  </a:cubicBezTo>
                  <a:cubicBezTo>
                    <a:pt x="1766" y="927"/>
                    <a:pt x="1770" y="923"/>
                    <a:pt x="1771" y="923"/>
                  </a:cubicBezTo>
                  <a:cubicBezTo>
                    <a:pt x="1773" y="923"/>
                    <a:pt x="1774" y="924"/>
                    <a:pt x="1776" y="924"/>
                  </a:cubicBezTo>
                  <a:cubicBezTo>
                    <a:pt x="1777" y="924"/>
                    <a:pt x="1779" y="923"/>
                    <a:pt x="1780" y="923"/>
                  </a:cubicBezTo>
                  <a:cubicBezTo>
                    <a:pt x="1782" y="923"/>
                    <a:pt x="1783" y="923"/>
                    <a:pt x="1784" y="924"/>
                  </a:cubicBezTo>
                  <a:cubicBezTo>
                    <a:pt x="1786" y="924"/>
                    <a:pt x="1786" y="924"/>
                    <a:pt x="1789" y="923"/>
                  </a:cubicBezTo>
                  <a:cubicBezTo>
                    <a:pt x="1790" y="923"/>
                    <a:pt x="1796" y="923"/>
                    <a:pt x="1797" y="924"/>
                  </a:cubicBezTo>
                  <a:cubicBezTo>
                    <a:pt x="1797" y="925"/>
                    <a:pt x="1798" y="924"/>
                    <a:pt x="1798" y="924"/>
                  </a:cubicBezTo>
                  <a:cubicBezTo>
                    <a:pt x="1793" y="928"/>
                    <a:pt x="1786" y="931"/>
                    <a:pt x="1781" y="935"/>
                  </a:cubicBezTo>
                  <a:cubicBezTo>
                    <a:pt x="1780" y="933"/>
                    <a:pt x="1779" y="932"/>
                    <a:pt x="1777" y="931"/>
                  </a:cubicBezTo>
                  <a:cubicBezTo>
                    <a:pt x="1775" y="930"/>
                    <a:pt x="1775" y="932"/>
                    <a:pt x="1775" y="929"/>
                  </a:cubicBezTo>
                  <a:cubicBezTo>
                    <a:pt x="1775" y="927"/>
                    <a:pt x="1777" y="927"/>
                    <a:pt x="1775" y="926"/>
                  </a:cubicBezTo>
                  <a:cubicBezTo>
                    <a:pt x="1774" y="924"/>
                    <a:pt x="1771" y="926"/>
                    <a:pt x="1769" y="927"/>
                  </a:cubicBezTo>
                  <a:cubicBezTo>
                    <a:pt x="1762" y="932"/>
                    <a:pt x="1754" y="937"/>
                    <a:pt x="1747" y="942"/>
                  </a:cubicBezTo>
                  <a:cubicBezTo>
                    <a:pt x="1743" y="945"/>
                    <a:pt x="1740" y="947"/>
                    <a:pt x="1737" y="950"/>
                  </a:cubicBezTo>
                  <a:cubicBezTo>
                    <a:pt x="1735" y="953"/>
                    <a:pt x="1735" y="954"/>
                    <a:pt x="1734" y="957"/>
                  </a:cubicBezTo>
                  <a:cubicBezTo>
                    <a:pt x="1734" y="958"/>
                    <a:pt x="1732" y="959"/>
                    <a:pt x="1732" y="961"/>
                  </a:cubicBezTo>
                  <a:cubicBezTo>
                    <a:pt x="1732" y="962"/>
                    <a:pt x="1733" y="963"/>
                    <a:pt x="1733" y="964"/>
                  </a:cubicBezTo>
                  <a:cubicBezTo>
                    <a:pt x="1734" y="966"/>
                    <a:pt x="1734" y="967"/>
                    <a:pt x="1734" y="968"/>
                  </a:cubicBezTo>
                  <a:cubicBezTo>
                    <a:pt x="1735" y="970"/>
                    <a:pt x="1735" y="970"/>
                    <a:pt x="1737" y="972"/>
                  </a:cubicBezTo>
                  <a:cubicBezTo>
                    <a:pt x="1737" y="971"/>
                    <a:pt x="1737" y="969"/>
                    <a:pt x="1737" y="968"/>
                  </a:cubicBezTo>
                  <a:cubicBezTo>
                    <a:pt x="1741" y="970"/>
                    <a:pt x="1741" y="972"/>
                    <a:pt x="1742" y="975"/>
                  </a:cubicBezTo>
                  <a:cubicBezTo>
                    <a:pt x="1743" y="976"/>
                    <a:pt x="1743" y="977"/>
                    <a:pt x="1744" y="978"/>
                  </a:cubicBezTo>
                  <a:cubicBezTo>
                    <a:pt x="1746" y="978"/>
                    <a:pt x="1749" y="976"/>
                    <a:pt x="1749" y="978"/>
                  </a:cubicBezTo>
                  <a:cubicBezTo>
                    <a:pt x="1750" y="976"/>
                    <a:pt x="1751" y="974"/>
                    <a:pt x="1753" y="972"/>
                  </a:cubicBezTo>
                  <a:cubicBezTo>
                    <a:pt x="1753" y="972"/>
                    <a:pt x="1752" y="968"/>
                    <a:pt x="1754" y="973"/>
                  </a:cubicBezTo>
                  <a:cubicBezTo>
                    <a:pt x="1754" y="972"/>
                    <a:pt x="1755" y="970"/>
                    <a:pt x="1755" y="969"/>
                  </a:cubicBezTo>
                  <a:cubicBezTo>
                    <a:pt x="1756" y="971"/>
                    <a:pt x="1757" y="972"/>
                    <a:pt x="1757" y="973"/>
                  </a:cubicBezTo>
                  <a:cubicBezTo>
                    <a:pt x="1760" y="969"/>
                    <a:pt x="1761" y="968"/>
                    <a:pt x="1764" y="965"/>
                  </a:cubicBezTo>
                  <a:cubicBezTo>
                    <a:pt x="1765" y="965"/>
                    <a:pt x="1770" y="963"/>
                    <a:pt x="1767" y="962"/>
                  </a:cubicBezTo>
                  <a:cubicBezTo>
                    <a:pt x="1768" y="961"/>
                    <a:pt x="1770" y="961"/>
                    <a:pt x="1771" y="960"/>
                  </a:cubicBezTo>
                  <a:cubicBezTo>
                    <a:pt x="1770" y="960"/>
                    <a:pt x="1770" y="960"/>
                    <a:pt x="1769" y="960"/>
                  </a:cubicBezTo>
                  <a:cubicBezTo>
                    <a:pt x="1770" y="958"/>
                    <a:pt x="1776" y="956"/>
                    <a:pt x="1775" y="955"/>
                  </a:cubicBezTo>
                  <a:cubicBezTo>
                    <a:pt x="1776" y="955"/>
                    <a:pt x="1776" y="956"/>
                    <a:pt x="1777" y="956"/>
                  </a:cubicBezTo>
                  <a:cubicBezTo>
                    <a:pt x="1776" y="954"/>
                    <a:pt x="1775" y="953"/>
                    <a:pt x="1777" y="952"/>
                  </a:cubicBezTo>
                  <a:cubicBezTo>
                    <a:pt x="1774" y="952"/>
                    <a:pt x="1777" y="949"/>
                    <a:pt x="1777" y="948"/>
                  </a:cubicBezTo>
                  <a:cubicBezTo>
                    <a:pt x="1778" y="948"/>
                    <a:pt x="1781" y="949"/>
                    <a:pt x="1781" y="950"/>
                  </a:cubicBezTo>
                  <a:cubicBezTo>
                    <a:pt x="1782" y="949"/>
                    <a:pt x="1782" y="947"/>
                    <a:pt x="1782" y="946"/>
                  </a:cubicBezTo>
                  <a:cubicBezTo>
                    <a:pt x="1783" y="945"/>
                    <a:pt x="1783" y="945"/>
                    <a:pt x="1784" y="945"/>
                  </a:cubicBezTo>
                  <a:cubicBezTo>
                    <a:pt x="1786" y="944"/>
                    <a:pt x="1785" y="944"/>
                    <a:pt x="1785" y="946"/>
                  </a:cubicBezTo>
                  <a:cubicBezTo>
                    <a:pt x="1786" y="948"/>
                    <a:pt x="1784" y="951"/>
                    <a:pt x="1788" y="949"/>
                  </a:cubicBezTo>
                  <a:cubicBezTo>
                    <a:pt x="1789" y="951"/>
                    <a:pt x="1791" y="950"/>
                    <a:pt x="1792" y="951"/>
                  </a:cubicBezTo>
                  <a:cubicBezTo>
                    <a:pt x="1796" y="946"/>
                    <a:pt x="1794" y="946"/>
                    <a:pt x="1792" y="943"/>
                  </a:cubicBezTo>
                  <a:cubicBezTo>
                    <a:pt x="1795" y="945"/>
                    <a:pt x="1795" y="947"/>
                    <a:pt x="1799" y="946"/>
                  </a:cubicBezTo>
                  <a:cubicBezTo>
                    <a:pt x="1803" y="945"/>
                    <a:pt x="1808" y="944"/>
                    <a:pt x="1812" y="942"/>
                  </a:cubicBezTo>
                  <a:cubicBezTo>
                    <a:pt x="1826" y="937"/>
                    <a:pt x="1840" y="931"/>
                    <a:pt x="1854" y="926"/>
                  </a:cubicBezTo>
                  <a:cubicBezTo>
                    <a:pt x="1851" y="923"/>
                    <a:pt x="1847" y="921"/>
                    <a:pt x="1845" y="918"/>
                  </a:cubicBezTo>
                  <a:cubicBezTo>
                    <a:pt x="1844" y="917"/>
                    <a:pt x="1844" y="916"/>
                    <a:pt x="1843" y="916"/>
                  </a:cubicBezTo>
                  <a:cubicBezTo>
                    <a:pt x="1841" y="914"/>
                    <a:pt x="1835" y="916"/>
                    <a:pt x="1832" y="917"/>
                  </a:cubicBezTo>
                  <a:cubicBezTo>
                    <a:pt x="1832" y="915"/>
                    <a:pt x="1832" y="911"/>
                    <a:pt x="1832" y="909"/>
                  </a:cubicBezTo>
                  <a:cubicBezTo>
                    <a:pt x="1830" y="911"/>
                    <a:pt x="1827" y="913"/>
                    <a:pt x="1825" y="914"/>
                  </a:cubicBezTo>
                  <a:cubicBezTo>
                    <a:pt x="1823" y="915"/>
                    <a:pt x="1820" y="915"/>
                    <a:pt x="1821" y="916"/>
                  </a:cubicBezTo>
                  <a:cubicBezTo>
                    <a:pt x="1819" y="918"/>
                    <a:pt x="1816" y="918"/>
                    <a:pt x="1814" y="917"/>
                  </a:cubicBezTo>
                  <a:cubicBezTo>
                    <a:pt x="1813" y="916"/>
                    <a:pt x="1817" y="914"/>
                    <a:pt x="1813" y="913"/>
                  </a:cubicBezTo>
                  <a:cubicBezTo>
                    <a:pt x="1814" y="913"/>
                    <a:pt x="1814" y="913"/>
                    <a:pt x="1814" y="913"/>
                  </a:cubicBezTo>
                  <a:cubicBezTo>
                    <a:pt x="1810" y="913"/>
                    <a:pt x="1805" y="913"/>
                    <a:pt x="1800" y="914"/>
                  </a:cubicBezTo>
                  <a:cubicBezTo>
                    <a:pt x="1800" y="909"/>
                    <a:pt x="1786" y="907"/>
                    <a:pt x="1783" y="906"/>
                  </a:cubicBezTo>
                  <a:cubicBezTo>
                    <a:pt x="1784" y="904"/>
                    <a:pt x="1787" y="904"/>
                    <a:pt x="1789" y="903"/>
                  </a:cubicBezTo>
                  <a:cubicBezTo>
                    <a:pt x="1786" y="902"/>
                    <a:pt x="1783" y="902"/>
                    <a:pt x="1781" y="901"/>
                  </a:cubicBezTo>
                  <a:cubicBezTo>
                    <a:pt x="1779" y="901"/>
                    <a:pt x="1778" y="900"/>
                    <a:pt x="1776" y="899"/>
                  </a:cubicBezTo>
                  <a:cubicBezTo>
                    <a:pt x="1775" y="899"/>
                    <a:pt x="1772" y="899"/>
                    <a:pt x="1771" y="899"/>
                  </a:cubicBezTo>
                  <a:cubicBezTo>
                    <a:pt x="1771" y="896"/>
                    <a:pt x="1772" y="895"/>
                    <a:pt x="1768" y="897"/>
                  </a:cubicBezTo>
                  <a:cubicBezTo>
                    <a:pt x="1770" y="894"/>
                    <a:pt x="1769" y="893"/>
                    <a:pt x="1768" y="891"/>
                  </a:cubicBezTo>
                  <a:cubicBezTo>
                    <a:pt x="1767" y="890"/>
                    <a:pt x="1768" y="887"/>
                    <a:pt x="1767" y="886"/>
                  </a:cubicBezTo>
                  <a:cubicBezTo>
                    <a:pt x="1764" y="883"/>
                    <a:pt x="1762" y="882"/>
                    <a:pt x="1763" y="879"/>
                  </a:cubicBezTo>
                  <a:cubicBezTo>
                    <a:pt x="1764" y="878"/>
                    <a:pt x="1765" y="878"/>
                    <a:pt x="1765" y="877"/>
                  </a:cubicBezTo>
                  <a:cubicBezTo>
                    <a:pt x="1765" y="876"/>
                    <a:pt x="1765" y="875"/>
                    <a:pt x="1765" y="875"/>
                  </a:cubicBezTo>
                  <a:cubicBezTo>
                    <a:pt x="1760" y="874"/>
                    <a:pt x="1757" y="876"/>
                    <a:pt x="1752" y="874"/>
                  </a:cubicBezTo>
                  <a:cubicBezTo>
                    <a:pt x="1756" y="872"/>
                    <a:pt x="1761" y="869"/>
                    <a:pt x="1763" y="865"/>
                  </a:cubicBezTo>
                  <a:cubicBezTo>
                    <a:pt x="1763" y="863"/>
                    <a:pt x="1763" y="861"/>
                    <a:pt x="1764" y="860"/>
                  </a:cubicBezTo>
                  <a:cubicBezTo>
                    <a:pt x="1765" y="857"/>
                    <a:pt x="1766" y="857"/>
                    <a:pt x="1768" y="856"/>
                  </a:cubicBezTo>
                  <a:cubicBezTo>
                    <a:pt x="1762" y="855"/>
                    <a:pt x="1755" y="855"/>
                    <a:pt x="1750" y="856"/>
                  </a:cubicBezTo>
                  <a:cubicBezTo>
                    <a:pt x="1749" y="857"/>
                    <a:pt x="1746" y="857"/>
                    <a:pt x="1746" y="858"/>
                  </a:cubicBezTo>
                  <a:cubicBezTo>
                    <a:pt x="1744" y="856"/>
                    <a:pt x="1745" y="854"/>
                    <a:pt x="1743" y="852"/>
                  </a:cubicBezTo>
                  <a:cubicBezTo>
                    <a:pt x="1741" y="849"/>
                    <a:pt x="1734" y="848"/>
                    <a:pt x="1731" y="846"/>
                  </a:cubicBezTo>
                  <a:cubicBezTo>
                    <a:pt x="1733" y="845"/>
                    <a:pt x="1733" y="845"/>
                    <a:pt x="1733" y="845"/>
                  </a:cubicBezTo>
                  <a:cubicBezTo>
                    <a:pt x="1735" y="845"/>
                    <a:pt x="1735" y="845"/>
                    <a:pt x="1735" y="845"/>
                  </a:cubicBezTo>
                  <a:cubicBezTo>
                    <a:pt x="1735" y="845"/>
                    <a:pt x="1735" y="845"/>
                    <a:pt x="1735" y="845"/>
                  </a:cubicBezTo>
                  <a:cubicBezTo>
                    <a:pt x="1736" y="844"/>
                    <a:pt x="1736" y="844"/>
                    <a:pt x="1736" y="844"/>
                  </a:cubicBezTo>
                  <a:cubicBezTo>
                    <a:pt x="1737" y="844"/>
                    <a:pt x="1737" y="844"/>
                    <a:pt x="1737" y="844"/>
                  </a:cubicBezTo>
                  <a:cubicBezTo>
                    <a:pt x="1739" y="843"/>
                    <a:pt x="1739" y="843"/>
                    <a:pt x="1739" y="843"/>
                  </a:cubicBezTo>
                  <a:cubicBezTo>
                    <a:pt x="1740" y="843"/>
                    <a:pt x="1740" y="843"/>
                    <a:pt x="1740" y="843"/>
                  </a:cubicBezTo>
                  <a:cubicBezTo>
                    <a:pt x="1741" y="843"/>
                    <a:pt x="1741" y="843"/>
                    <a:pt x="1741" y="843"/>
                  </a:cubicBezTo>
                  <a:cubicBezTo>
                    <a:pt x="1741" y="843"/>
                    <a:pt x="1741" y="843"/>
                    <a:pt x="1741" y="843"/>
                  </a:cubicBezTo>
                  <a:cubicBezTo>
                    <a:pt x="1741" y="843"/>
                    <a:pt x="1741" y="843"/>
                    <a:pt x="1741" y="843"/>
                  </a:cubicBezTo>
                  <a:cubicBezTo>
                    <a:pt x="1741" y="843"/>
                    <a:pt x="1741" y="843"/>
                    <a:pt x="1741" y="843"/>
                  </a:cubicBezTo>
                  <a:cubicBezTo>
                    <a:pt x="1741" y="843"/>
                    <a:pt x="1741" y="843"/>
                    <a:pt x="1741" y="843"/>
                  </a:cubicBezTo>
                  <a:cubicBezTo>
                    <a:pt x="1741" y="844"/>
                    <a:pt x="1741" y="844"/>
                    <a:pt x="1741" y="844"/>
                  </a:cubicBezTo>
                  <a:cubicBezTo>
                    <a:pt x="1741" y="844"/>
                    <a:pt x="1741" y="844"/>
                    <a:pt x="1741" y="844"/>
                  </a:cubicBezTo>
                  <a:cubicBezTo>
                    <a:pt x="1741" y="844"/>
                    <a:pt x="1741" y="844"/>
                    <a:pt x="1741" y="844"/>
                  </a:cubicBezTo>
                  <a:cubicBezTo>
                    <a:pt x="1742" y="844"/>
                    <a:pt x="1742" y="844"/>
                    <a:pt x="1742" y="844"/>
                  </a:cubicBezTo>
                  <a:cubicBezTo>
                    <a:pt x="1742" y="844"/>
                    <a:pt x="1742" y="844"/>
                    <a:pt x="1742" y="844"/>
                  </a:cubicBezTo>
                  <a:cubicBezTo>
                    <a:pt x="1742" y="844"/>
                    <a:pt x="1742" y="844"/>
                    <a:pt x="1742" y="844"/>
                  </a:cubicBezTo>
                  <a:cubicBezTo>
                    <a:pt x="1742" y="844"/>
                    <a:pt x="1742" y="844"/>
                    <a:pt x="1742" y="844"/>
                  </a:cubicBezTo>
                  <a:cubicBezTo>
                    <a:pt x="1742" y="844"/>
                    <a:pt x="1742" y="844"/>
                    <a:pt x="1742" y="844"/>
                  </a:cubicBezTo>
                  <a:cubicBezTo>
                    <a:pt x="1743" y="844"/>
                    <a:pt x="1743" y="844"/>
                    <a:pt x="1743" y="844"/>
                  </a:cubicBezTo>
                  <a:cubicBezTo>
                    <a:pt x="1743" y="844"/>
                    <a:pt x="1743" y="844"/>
                    <a:pt x="1743" y="844"/>
                  </a:cubicBezTo>
                  <a:cubicBezTo>
                    <a:pt x="1743" y="844"/>
                    <a:pt x="1743" y="844"/>
                    <a:pt x="1743" y="844"/>
                  </a:cubicBezTo>
                  <a:cubicBezTo>
                    <a:pt x="1743" y="844"/>
                    <a:pt x="1743" y="844"/>
                    <a:pt x="1743" y="844"/>
                  </a:cubicBezTo>
                  <a:cubicBezTo>
                    <a:pt x="1743" y="844"/>
                    <a:pt x="1743" y="844"/>
                    <a:pt x="1743" y="844"/>
                  </a:cubicBezTo>
                  <a:cubicBezTo>
                    <a:pt x="1744" y="844"/>
                    <a:pt x="1744" y="844"/>
                    <a:pt x="1744" y="844"/>
                  </a:cubicBezTo>
                  <a:cubicBezTo>
                    <a:pt x="1744" y="844"/>
                    <a:pt x="1744" y="844"/>
                    <a:pt x="1744" y="844"/>
                  </a:cubicBezTo>
                  <a:cubicBezTo>
                    <a:pt x="1744" y="844"/>
                    <a:pt x="1744" y="844"/>
                    <a:pt x="1744" y="844"/>
                  </a:cubicBezTo>
                  <a:cubicBezTo>
                    <a:pt x="1744" y="845"/>
                    <a:pt x="1744" y="845"/>
                    <a:pt x="1744" y="845"/>
                  </a:cubicBezTo>
                  <a:cubicBezTo>
                    <a:pt x="1744" y="845"/>
                    <a:pt x="1744" y="845"/>
                    <a:pt x="1744" y="845"/>
                  </a:cubicBezTo>
                  <a:cubicBezTo>
                    <a:pt x="1745" y="845"/>
                    <a:pt x="1746" y="845"/>
                    <a:pt x="1747" y="845"/>
                  </a:cubicBezTo>
                  <a:cubicBezTo>
                    <a:pt x="1747" y="845"/>
                    <a:pt x="1747" y="845"/>
                    <a:pt x="1747" y="845"/>
                  </a:cubicBezTo>
                  <a:cubicBezTo>
                    <a:pt x="1747" y="846"/>
                    <a:pt x="1747" y="846"/>
                    <a:pt x="1747" y="846"/>
                  </a:cubicBezTo>
                  <a:cubicBezTo>
                    <a:pt x="1747" y="846"/>
                    <a:pt x="1747" y="846"/>
                    <a:pt x="1747" y="846"/>
                  </a:cubicBezTo>
                  <a:cubicBezTo>
                    <a:pt x="1747" y="846"/>
                    <a:pt x="1747" y="846"/>
                    <a:pt x="1747" y="846"/>
                  </a:cubicBezTo>
                  <a:cubicBezTo>
                    <a:pt x="1748" y="846"/>
                    <a:pt x="1748" y="846"/>
                    <a:pt x="1748" y="846"/>
                  </a:cubicBezTo>
                  <a:cubicBezTo>
                    <a:pt x="1748" y="846"/>
                    <a:pt x="1748" y="846"/>
                    <a:pt x="1748" y="846"/>
                  </a:cubicBezTo>
                  <a:cubicBezTo>
                    <a:pt x="1748" y="846"/>
                    <a:pt x="1748" y="846"/>
                    <a:pt x="1748" y="846"/>
                  </a:cubicBezTo>
                  <a:cubicBezTo>
                    <a:pt x="1748" y="846"/>
                    <a:pt x="1748" y="846"/>
                    <a:pt x="1748"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6"/>
                    <a:pt x="1749" y="846"/>
                    <a:pt x="1749" y="846"/>
                  </a:cubicBezTo>
                  <a:cubicBezTo>
                    <a:pt x="1749" y="847"/>
                    <a:pt x="1749" y="847"/>
                    <a:pt x="1749" y="847"/>
                  </a:cubicBezTo>
                  <a:cubicBezTo>
                    <a:pt x="1749" y="847"/>
                    <a:pt x="1749" y="847"/>
                    <a:pt x="1749" y="847"/>
                  </a:cubicBezTo>
                  <a:cubicBezTo>
                    <a:pt x="1749" y="847"/>
                    <a:pt x="1749" y="847"/>
                    <a:pt x="1749" y="847"/>
                  </a:cubicBezTo>
                  <a:cubicBezTo>
                    <a:pt x="1749" y="847"/>
                    <a:pt x="1749" y="847"/>
                    <a:pt x="1749" y="847"/>
                  </a:cubicBezTo>
                  <a:cubicBezTo>
                    <a:pt x="1750" y="847"/>
                    <a:pt x="1750" y="847"/>
                    <a:pt x="1750" y="847"/>
                  </a:cubicBezTo>
                  <a:cubicBezTo>
                    <a:pt x="1750" y="848"/>
                    <a:pt x="1750" y="847"/>
                    <a:pt x="1750" y="847"/>
                  </a:cubicBezTo>
                  <a:cubicBezTo>
                    <a:pt x="1751" y="847"/>
                    <a:pt x="1751" y="847"/>
                    <a:pt x="1751" y="847"/>
                  </a:cubicBezTo>
                  <a:cubicBezTo>
                    <a:pt x="1751" y="847"/>
                    <a:pt x="1751" y="847"/>
                    <a:pt x="1751" y="847"/>
                  </a:cubicBezTo>
                  <a:cubicBezTo>
                    <a:pt x="1752" y="847"/>
                    <a:pt x="1752" y="847"/>
                    <a:pt x="1753" y="847"/>
                  </a:cubicBezTo>
                  <a:cubicBezTo>
                    <a:pt x="1753" y="847"/>
                    <a:pt x="1753" y="847"/>
                    <a:pt x="1753" y="847"/>
                  </a:cubicBezTo>
                  <a:cubicBezTo>
                    <a:pt x="1753" y="847"/>
                    <a:pt x="1753" y="847"/>
                    <a:pt x="1753" y="847"/>
                  </a:cubicBezTo>
                  <a:cubicBezTo>
                    <a:pt x="1753" y="847"/>
                    <a:pt x="1753" y="847"/>
                    <a:pt x="1753" y="847"/>
                  </a:cubicBezTo>
                  <a:cubicBezTo>
                    <a:pt x="1754" y="847"/>
                    <a:pt x="1754" y="847"/>
                    <a:pt x="1754" y="847"/>
                  </a:cubicBezTo>
                  <a:cubicBezTo>
                    <a:pt x="1754" y="847"/>
                    <a:pt x="1754" y="847"/>
                    <a:pt x="1754" y="847"/>
                  </a:cubicBezTo>
                  <a:cubicBezTo>
                    <a:pt x="1754" y="847"/>
                    <a:pt x="1754" y="847"/>
                    <a:pt x="1754" y="847"/>
                  </a:cubicBezTo>
                  <a:cubicBezTo>
                    <a:pt x="1755" y="847"/>
                    <a:pt x="1755" y="847"/>
                    <a:pt x="1755" y="847"/>
                  </a:cubicBezTo>
                  <a:cubicBezTo>
                    <a:pt x="1756" y="846"/>
                    <a:pt x="1756" y="846"/>
                    <a:pt x="1756" y="846"/>
                  </a:cubicBezTo>
                  <a:cubicBezTo>
                    <a:pt x="1760" y="843"/>
                    <a:pt x="1760" y="843"/>
                    <a:pt x="1760" y="843"/>
                  </a:cubicBezTo>
                  <a:cubicBezTo>
                    <a:pt x="1762" y="842"/>
                    <a:pt x="1762" y="842"/>
                    <a:pt x="1762" y="842"/>
                  </a:cubicBezTo>
                  <a:cubicBezTo>
                    <a:pt x="1765" y="841"/>
                    <a:pt x="1765" y="841"/>
                    <a:pt x="1765" y="841"/>
                  </a:cubicBezTo>
                  <a:cubicBezTo>
                    <a:pt x="1766" y="840"/>
                    <a:pt x="1766" y="840"/>
                    <a:pt x="1766" y="840"/>
                  </a:cubicBezTo>
                  <a:cubicBezTo>
                    <a:pt x="1766" y="840"/>
                    <a:pt x="1766" y="840"/>
                    <a:pt x="1766" y="840"/>
                  </a:cubicBezTo>
                  <a:cubicBezTo>
                    <a:pt x="1766" y="840"/>
                    <a:pt x="1766" y="840"/>
                    <a:pt x="1766" y="840"/>
                  </a:cubicBezTo>
                  <a:cubicBezTo>
                    <a:pt x="1766" y="840"/>
                    <a:pt x="1766" y="840"/>
                    <a:pt x="1766" y="840"/>
                  </a:cubicBezTo>
                  <a:cubicBezTo>
                    <a:pt x="1767" y="840"/>
                    <a:pt x="1767" y="840"/>
                    <a:pt x="1767" y="840"/>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9"/>
                    <a:pt x="1767" y="839"/>
                    <a:pt x="1767" y="839"/>
                  </a:cubicBezTo>
                  <a:cubicBezTo>
                    <a:pt x="1767" y="838"/>
                    <a:pt x="1767" y="838"/>
                    <a:pt x="1767" y="838"/>
                  </a:cubicBezTo>
                  <a:cubicBezTo>
                    <a:pt x="1767" y="838"/>
                    <a:pt x="1767" y="838"/>
                    <a:pt x="1767" y="838"/>
                  </a:cubicBezTo>
                  <a:cubicBezTo>
                    <a:pt x="1768" y="838"/>
                    <a:pt x="1768" y="838"/>
                    <a:pt x="1768" y="838"/>
                  </a:cubicBezTo>
                  <a:cubicBezTo>
                    <a:pt x="1768" y="838"/>
                    <a:pt x="1768" y="838"/>
                    <a:pt x="1768" y="838"/>
                  </a:cubicBezTo>
                  <a:cubicBezTo>
                    <a:pt x="1767" y="838"/>
                    <a:pt x="1767" y="838"/>
                    <a:pt x="1767" y="838"/>
                  </a:cubicBezTo>
                  <a:cubicBezTo>
                    <a:pt x="1767" y="838"/>
                    <a:pt x="1767" y="838"/>
                    <a:pt x="1767" y="838"/>
                  </a:cubicBezTo>
                  <a:cubicBezTo>
                    <a:pt x="1767" y="838"/>
                    <a:pt x="1767" y="838"/>
                    <a:pt x="1767" y="838"/>
                  </a:cubicBezTo>
                  <a:cubicBezTo>
                    <a:pt x="1767" y="838"/>
                    <a:pt x="1767" y="838"/>
                    <a:pt x="1767" y="838"/>
                  </a:cubicBezTo>
                  <a:cubicBezTo>
                    <a:pt x="1767" y="838"/>
                    <a:pt x="1767" y="838"/>
                    <a:pt x="1767" y="838"/>
                  </a:cubicBezTo>
                  <a:cubicBezTo>
                    <a:pt x="1767" y="837"/>
                    <a:pt x="1767" y="837"/>
                    <a:pt x="1767" y="837"/>
                  </a:cubicBezTo>
                  <a:cubicBezTo>
                    <a:pt x="1768" y="837"/>
                    <a:pt x="1768" y="837"/>
                    <a:pt x="1768" y="837"/>
                  </a:cubicBezTo>
                  <a:cubicBezTo>
                    <a:pt x="1769" y="837"/>
                    <a:pt x="1769" y="837"/>
                    <a:pt x="1769" y="837"/>
                  </a:cubicBezTo>
                  <a:cubicBezTo>
                    <a:pt x="1770" y="837"/>
                    <a:pt x="1770" y="836"/>
                    <a:pt x="1771" y="836"/>
                  </a:cubicBezTo>
                  <a:cubicBezTo>
                    <a:pt x="1771" y="836"/>
                    <a:pt x="1771" y="836"/>
                    <a:pt x="1771" y="836"/>
                  </a:cubicBezTo>
                  <a:cubicBezTo>
                    <a:pt x="1771" y="836"/>
                    <a:pt x="1771" y="836"/>
                    <a:pt x="1771" y="836"/>
                  </a:cubicBezTo>
                  <a:cubicBezTo>
                    <a:pt x="1773" y="835"/>
                    <a:pt x="1775" y="835"/>
                    <a:pt x="1776" y="834"/>
                  </a:cubicBezTo>
                  <a:cubicBezTo>
                    <a:pt x="1776" y="834"/>
                    <a:pt x="1776" y="834"/>
                    <a:pt x="1776" y="834"/>
                  </a:cubicBezTo>
                  <a:cubicBezTo>
                    <a:pt x="1776" y="834"/>
                    <a:pt x="1776" y="834"/>
                    <a:pt x="1776" y="834"/>
                  </a:cubicBezTo>
                  <a:cubicBezTo>
                    <a:pt x="1776" y="834"/>
                    <a:pt x="1776" y="834"/>
                    <a:pt x="1776" y="834"/>
                  </a:cubicBezTo>
                  <a:cubicBezTo>
                    <a:pt x="1777" y="834"/>
                    <a:pt x="1777" y="834"/>
                    <a:pt x="1777" y="834"/>
                  </a:cubicBezTo>
                  <a:cubicBezTo>
                    <a:pt x="1777" y="833"/>
                    <a:pt x="1777" y="833"/>
                    <a:pt x="1777" y="833"/>
                  </a:cubicBezTo>
                  <a:cubicBezTo>
                    <a:pt x="1778" y="833"/>
                    <a:pt x="1778" y="833"/>
                    <a:pt x="1778" y="833"/>
                  </a:cubicBezTo>
                  <a:cubicBezTo>
                    <a:pt x="1778" y="833"/>
                    <a:pt x="1778" y="833"/>
                    <a:pt x="1778" y="833"/>
                  </a:cubicBezTo>
                  <a:cubicBezTo>
                    <a:pt x="1779" y="833"/>
                    <a:pt x="1779" y="833"/>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9" y="832"/>
                    <a:pt x="1779" y="832"/>
                    <a:pt x="1779" y="832"/>
                  </a:cubicBezTo>
                  <a:cubicBezTo>
                    <a:pt x="1778" y="832"/>
                    <a:pt x="1778" y="832"/>
                    <a:pt x="1778" y="832"/>
                  </a:cubicBezTo>
                  <a:cubicBezTo>
                    <a:pt x="1778" y="832"/>
                    <a:pt x="1778" y="832"/>
                    <a:pt x="1778" y="832"/>
                  </a:cubicBezTo>
                  <a:cubicBezTo>
                    <a:pt x="1778" y="831"/>
                    <a:pt x="1778" y="831"/>
                    <a:pt x="1778" y="831"/>
                  </a:cubicBezTo>
                  <a:cubicBezTo>
                    <a:pt x="1778" y="831"/>
                    <a:pt x="1778" y="831"/>
                    <a:pt x="1778" y="831"/>
                  </a:cubicBezTo>
                  <a:cubicBezTo>
                    <a:pt x="1778" y="831"/>
                    <a:pt x="1778" y="831"/>
                    <a:pt x="1778" y="831"/>
                  </a:cubicBezTo>
                  <a:cubicBezTo>
                    <a:pt x="1778" y="831"/>
                    <a:pt x="1778" y="831"/>
                    <a:pt x="1778" y="831"/>
                  </a:cubicBezTo>
                  <a:cubicBezTo>
                    <a:pt x="1778" y="831"/>
                    <a:pt x="1778" y="831"/>
                    <a:pt x="1778" y="831"/>
                  </a:cubicBezTo>
                  <a:cubicBezTo>
                    <a:pt x="1777" y="831"/>
                    <a:pt x="1777" y="831"/>
                    <a:pt x="1777" y="831"/>
                  </a:cubicBezTo>
                  <a:cubicBezTo>
                    <a:pt x="1777" y="831"/>
                    <a:pt x="1777" y="831"/>
                    <a:pt x="1777" y="831"/>
                  </a:cubicBezTo>
                  <a:cubicBezTo>
                    <a:pt x="1777" y="831"/>
                    <a:pt x="1777" y="831"/>
                    <a:pt x="1777" y="831"/>
                  </a:cubicBezTo>
                  <a:cubicBezTo>
                    <a:pt x="1777" y="831"/>
                    <a:pt x="1777" y="831"/>
                    <a:pt x="1777" y="831"/>
                  </a:cubicBezTo>
                  <a:cubicBezTo>
                    <a:pt x="1777" y="829"/>
                    <a:pt x="1777" y="829"/>
                    <a:pt x="1779" y="829"/>
                  </a:cubicBezTo>
                  <a:cubicBezTo>
                    <a:pt x="1779" y="828"/>
                    <a:pt x="1779" y="828"/>
                    <a:pt x="1779" y="828"/>
                  </a:cubicBezTo>
                  <a:cubicBezTo>
                    <a:pt x="1779" y="828"/>
                    <a:pt x="1779" y="828"/>
                    <a:pt x="1779" y="828"/>
                  </a:cubicBezTo>
                  <a:cubicBezTo>
                    <a:pt x="1779" y="828"/>
                    <a:pt x="1779" y="828"/>
                    <a:pt x="1779" y="828"/>
                  </a:cubicBezTo>
                  <a:cubicBezTo>
                    <a:pt x="1779" y="828"/>
                    <a:pt x="1779" y="828"/>
                    <a:pt x="1779" y="828"/>
                  </a:cubicBezTo>
                  <a:cubicBezTo>
                    <a:pt x="1779" y="828"/>
                    <a:pt x="1779" y="828"/>
                    <a:pt x="1779" y="828"/>
                  </a:cubicBezTo>
                  <a:cubicBezTo>
                    <a:pt x="1778" y="828"/>
                    <a:pt x="1779" y="828"/>
                    <a:pt x="1778" y="827"/>
                  </a:cubicBezTo>
                  <a:cubicBezTo>
                    <a:pt x="1778" y="827"/>
                    <a:pt x="1778" y="827"/>
                    <a:pt x="1778" y="827"/>
                  </a:cubicBezTo>
                  <a:cubicBezTo>
                    <a:pt x="1778" y="827"/>
                    <a:pt x="1778" y="827"/>
                    <a:pt x="1778" y="827"/>
                  </a:cubicBezTo>
                  <a:cubicBezTo>
                    <a:pt x="1778" y="826"/>
                    <a:pt x="1778" y="826"/>
                    <a:pt x="1777" y="826"/>
                  </a:cubicBezTo>
                  <a:cubicBezTo>
                    <a:pt x="1777" y="826"/>
                    <a:pt x="1777" y="826"/>
                    <a:pt x="1777" y="826"/>
                  </a:cubicBezTo>
                  <a:cubicBezTo>
                    <a:pt x="1777" y="826"/>
                    <a:pt x="1777" y="826"/>
                    <a:pt x="1777" y="826"/>
                  </a:cubicBezTo>
                  <a:cubicBezTo>
                    <a:pt x="1777" y="826"/>
                    <a:pt x="1777" y="826"/>
                    <a:pt x="1777" y="826"/>
                  </a:cubicBezTo>
                  <a:cubicBezTo>
                    <a:pt x="1777" y="826"/>
                    <a:pt x="1777" y="826"/>
                    <a:pt x="1777" y="826"/>
                  </a:cubicBezTo>
                  <a:cubicBezTo>
                    <a:pt x="1776" y="825"/>
                    <a:pt x="1776" y="825"/>
                    <a:pt x="1776" y="825"/>
                  </a:cubicBezTo>
                  <a:cubicBezTo>
                    <a:pt x="1776" y="825"/>
                    <a:pt x="1776" y="825"/>
                    <a:pt x="1776" y="825"/>
                  </a:cubicBezTo>
                  <a:cubicBezTo>
                    <a:pt x="1775" y="825"/>
                    <a:pt x="1775" y="825"/>
                    <a:pt x="1775" y="825"/>
                  </a:cubicBezTo>
                  <a:cubicBezTo>
                    <a:pt x="1775" y="824"/>
                    <a:pt x="1775" y="824"/>
                    <a:pt x="1774" y="824"/>
                  </a:cubicBezTo>
                  <a:cubicBezTo>
                    <a:pt x="1774" y="824"/>
                    <a:pt x="1774" y="824"/>
                    <a:pt x="1774" y="824"/>
                  </a:cubicBezTo>
                  <a:cubicBezTo>
                    <a:pt x="1774" y="824"/>
                    <a:pt x="1774" y="824"/>
                    <a:pt x="1774" y="824"/>
                  </a:cubicBezTo>
                  <a:cubicBezTo>
                    <a:pt x="1774" y="824"/>
                    <a:pt x="1774" y="824"/>
                    <a:pt x="1774" y="824"/>
                  </a:cubicBezTo>
                  <a:cubicBezTo>
                    <a:pt x="1774" y="824"/>
                    <a:pt x="1774" y="824"/>
                    <a:pt x="1774" y="824"/>
                  </a:cubicBezTo>
                  <a:cubicBezTo>
                    <a:pt x="1774" y="824"/>
                    <a:pt x="1774" y="824"/>
                    <a:pt x="1774" y="824"/>
                  </a:cubicBezTo>
                  <a:cubicBezTo>
                    <a:pt x="1775" y="824"/>
                    <a:pt x="1775" y="823"/>
                    <a:pt x="1774" y="823"/>
                  </a:cubicBezTo>
                  <a:cubicBezTo>
                    <a:pt x="1774" y="823"/>
                    <a:pt x="1774" y="823"/>
                    <a:pt x="1774" y="823"/>
                  </a:cubicBezTo>
                  <a:cubicBezTo>
                    <a:pt x="1774" y="823"/>
                    <a:pt x="1774" y="823"/>
                    <a:pt x="1774" y="823"/>
                  </a:cubicBezTo>
                  <a:cubicBezTo>
                    <a:pt x="1773" y="823"/>
                    <a:pt x="1772" y="823"/>
                    <a:pt x="1771" y="823"/>
                  </a:cubicBezTo>
                  <a:cubicBezTo>
                    <a:pt x="1771" y="823"/>
                    <a:pt x="1771" y="823"/>
                    <a:pt x="1771" y="823"/>
                  </a:cubicBezTo>
                  <a:cubicBezTo>
                    <a:pt x="1771" y="823"/>
                    <a:pt x="1771" y="823"/>
                    <a:pt x="1771" y="823"/>
                  </a:cubicBezTo>
                  <a:cubicBezTo>
                    <a:pt x="1771" y="823"/>
                    <a:pt x="1771" y="823"/>
                    <a:pt x="1771" y="823"/>
                  </a:cubicBezTo>
                  <a:cubicBezTo>
                    <a:pt x="1773" y="822"/>
                    <a:pt x="1772" y="822"/>
                    <a:pt x="1771" y="822"/>
                  </a:cubicBezTo>
                  <a:cubicBezTo>
                    <a:pt x="1771" y="821"/>
                    <a:pt x="1771" y="821"/>
                    <a:pt x="1771" y="821"/>
                  </a:cubicBezTo>
                  <a:cubicBezTo>
                    <a:pt x="1771" y="821"/>
                    <a:pt x="1771" y="821"/>
                    <a:pt x="1771" y="821"/>
                  </a:cubicBezTo>
                  <a:cubicBezTo>
                    <a:pt x="1774" y="822"/>
                    <a:pt x="1777" y="823"/>
                    <a:pt x="1780" y="825"/>
                  </a:cubicBezTo>
                  <a:cubicBezTo>
                    <a:pt x="1780" y="825"/>
                    <a:pt x="1780" y="825"/>
                    <a:pt x="1780" y="825"/>
                  </a:cubicBezTo>
                  <a:cubicBezTo>
                    <a:pt x="1780" y="825"/>
                    <a:pt x="1780" y="825"/>
                    <a:pt x="1780" y="825"/>
                  </a:cubicBezTo>
                  <a:cubicBezTo>
                    <a:pt x="1780" y="824"/>
                    <a:pt x="1780" y="824"/>
                    <a:pt x="1780" y="824"/>
                  </a:cubicBezTo>
                  <a:cubicBezTo>
                    <a:pt x="1779" y="823"/>
                    <a:pt x="1779" y="823"/>
                    <a:pt x="1779" y="823"/>
                  </a:cubicBezTo>
                  <a:cubicBezTo>
                    <a:pt x="1779" y="822"/>
                    <a:pt x="1779" y="822"/>
                    <a:pt x="1779" y="822"/>
                  </a:cubicBezTo>
                  <a:cubicBezTo>
                    <a:pt x="1779" y="822"/>
                    <a:pt x="1779" y="822"/>
                    <a:pt x="1779" y="822"/>
                  </a:cubicBezTo>
                  <a:cubicBezTo>
                    <a:pt x="1779" y="822"/>
                    <a:pt x="1779" y="822"/>
                    <a:pt x="1779" y="822"/>
                  </a:cubicBezTo>
                  <a:cubicBezTo>
                    <a:pt x="1779" y="821"/>
                    <a:pt x="1779" y="821"/>
                    <a:pt x="1778" y="820"/>
                  </a:cubicBezTo>
                  <a:cubicBezTo>
                    <a:pt x="1778" y="820"/>
                    <a:pt x="1778" y="820"/>
                    <a:pt x="1778" y="820"/>
                  </a:cubicBezTo>
                  <a:cubicBezTo>
                    <a:pt x="1778" y="820"/>
                    <a:pt x="1778" y="820"/>
                    <a:pt x="1778" y="820"/>
                  </a:cubicBezTo>
                  <a:cubicBezTo>
                    <a:pt x="1777" y="820"/>
                    <a:pt x="1777" y="819"/>
                    <a:pt x="1776" y="819"/>
                  </a:cubicBezTo>
                  <a:cubicBezTo>
                    <a:pt x="1776" y="819"/>
                    <a:pt x="1776" y="819"/>
                    <a:pt x="1776" y="819"/>
                  </a:cubicBezTo>
                  <a:cubicBezTo>
                    <a:pt x="1776" y="819"/>
                    <a:pt x="1776" y="819"/>
                    <a:pt x="1776" y="819"/>
                  </a:cubicBezTo>
                  <a:cubicBezTo>
                    <a:pt x="1776" y="819"/>
                    <a:pt x="1776" y="819"/>
                    <a:pt x="1776" y="819"/>
                  </a:cubicBezTo>
                  <a:cubicBezTo>
                    <a:pt x="1776" y="818"/>
                    <a:pt x="1776" y="818"/>
                    <a:pt x="1776" y="818"/>
                  </a:cubicBezTo>
                  <a:cubicBezTo>
                    <a:pt x="1775" y="818"/>
                    <a:pt x="1775" y="818"/>
                    <a:pt x="1775" y="818"/>
                  </a:cubicBezTo>
                  <a:cubicBezTo>
                    <a:pt x="1775" y="817"/>
                    <a:pt x="1775" y="817"/>
                    <a:pt x="1775" y="817"/>
                  </a:cubicBezTo>
                  <a:cubicBezTo>
                    <a:pt x="1775" y="817"/>
                    <a:pt x="1775" y="817"/>
                    <a:pt x="1775" y="817"/>
                  </a:cubicBezTo>
                  <a:cubicBezTo>
                    <a:pt x="1774" y="817"/>
                    <a:pt x="1774" y="817"/>
                    <a:pt x="1773" y="816"/>
                  </a:cubicBezTo>
                  <a:cubicBezTo>
                    <a:pt x="1773" y="816"/>
                    <a:pt x="1773" y="816"/>
                    <a:pt x="1773" y="816"/>
                  </a:cubicBezTo>
                  <a:cubicBezTo>
                    <a:pt x="1773" y="816"/>
                    <a:pt x="1773" y="816"/>
                    <a:pt x="1773" y="816"/>
                  </a:cubicBezTo>
                  <a:cubicBezTo>
                    <a:pt x="1772" y="816"/>
                    <a:pt x="1772" y="816"/>
                    <a:pt x="1772" y="816"/>
                  </a:cubicBezTo>
                  <a:cubicBezTo>
                    <a:pt x="1772" y="816"/>
                    <a:pt x="1772" y="816"/>
                    <a:pt x="1772" y="816"/>
                  </a:cubicBezTo>
                  <a:cubicBezTo>
                    <a:pt x="1772" y="816"/>
                    <a:pt x="1772" y="816"/>
                    <a:pt x="1772" y="816"/>
                  </a:cubicBezTo>
                  <a:cubicBezTo>
                    <a:pt x="1769" y="813"/>
                    <a:pt x="1771" y="815"/>
                    <a:pt x="1767" y="814"/>
                  </a:cubicBezTo>
                  <a:cubicBezTo>
                    <a:pt x="1767" y="813"/>
                    <a:pt x="1767" y="813"/>
                    <a:pt x="1767" y="813"/>
                  </a:cubicBezTo>
                  <a:cubicBezTo>
                    <a:pt x="1767" y="813"/>
                    <a:pt x="1767" y="813"/>
                    <a:pt x="1767" y="813"/>
                  </a:cubicBezTo>
                  <a:cubicBezTo>
                    <a:pt x="1767" y="813"/>
                    <a:pt x="1767" y="813"/>
                    <a:pt x="1767" y="813"/>
                  </a:cubicBezTo>
                  <a:cubicBezTo>
                    <a:pt x="1766" y="813"/>
                    <a:pt x="1766" y="813"/>
                    <a:pt x="1765" y="812"/>
                  </a:cubicBezTo>
                  <a:cubicBezTo>
                    <a:pt x="1765" y="812"/>
                    <a:pt x="1765" y="812"/>
                    <a:pt x="1765" y="812"/>
                  </a:cubicBezTo>
                  <a:cubicBezTo>
                    <a:pt x="1765" y="812"/>
                    <a:pt x="1765" y="812"/>
                    <a:pt x="1765" y="812"/>
                  </a:cubicBezTo>
                  <a:cubicBezTo>
                    <a:pt x="1764" y="812"/>
                    <a:pt x="1763" y="812"/>
                    <a:pt x="1762" y="811"/>
                  </a:cubicBezTo>
                  <a:cubicBezTo>
                    <a:pt x="1762" y="811"/>
                    <a:pt x="1762" y="811"/>
                    <a:pt x="1762" y="811"/>
                  </a:cubicBezTo>
                  <a:cubicBezTo>
                    <a:pt x="1762" y="811"/>
                    <a:pt x="1762" y="811"/>
                    <a:pt x="1762" y="811"/>
                  </a:cubicBezTo>
                  <a:cubicBezTo>
                    <a:pt x="1762" y="811"/>
                    <a:pt x="1762" y="811"/>
                    <a:pt x="1762" y="811"/>
                  </a:cubicBezTo>
                  <a:cubicBezTo>
                    <a:pt x="1761" y="811"/>
                    <a:pt x="1761" y="811"/>
                    <a:pt x="1761" y="811"/>
                  </a:cubicBezTo>
                  <a:cubicBezTo>
                    <a:pt x="1761" y="811"/>
                    <a:pt x="1761" y="811"/>
                    <a:pt x="1761" y="811"/>
                  </a:cubicBezTo>
                  <a:cubicBezTo>
                    <a:pt x="1761" y="811"/>
                    <a:pt x="1761" y="811"/>
                    <a:pt x="1761" y="811"/>
                  </a:cubicBezTo>
                  <a:cubicBezTo>
                    <a:pt x="1761" y="811"/>
                    <a:pt x="1761" y="811"/>
                    <a:pt x="1761" y="811"/>
                  </a:cubicBezTo>
                  <a:cubicBezTo>
                    <a:pt x="1759" y="811"/>
                    <a:pt x="1758" y="810"/>
                    <a:pt x="1756" y="811"/>
                  </a:cubicBezTo>
                  <a:cubicBezTo>
                    <a:pt x="1755" y="811"/>
                    <a:pt x="1755" y="811"/>
                    <a:pt x="1755" y="811"/>
                  </a:cubicBezTo>
                  <a:cubicBezTo>
                    <a:pt x="1755" y="811"/>
                    <a:pt x="1755" y="811"/>
                    <a:pt x="1755" y="811"/>
                  </a:cubicBezTo>
                  <a:cubicBezTo>
                    <a:pt x="1753" y="810"/>
                    <a:pt x="1752" y="810"/>
                    <a:pt x="1750" y="810"/>
                  </a:cubicBezTo>
                  <a:cubicBezTo>
                    <a:pt x="1749" y="810"/>
                    <a:pt x="1749" y="810"/>
                    <a:pt x="1749" y="810"/>
                  </a:cubicBezTo>
                  <a:cubicBezTo>
                    <a:pt x="1749" y="810"/>
                    <a:pt x="1749" y="810"/>
                    <a:pt x="1749" y="810"/>
                  </a:cubicBezTo>
                  <a:cubicBezTo>
                    <a:pt x="1749" y="810"/>
                    <a:pt x="1749" y="810"/>
                    <a:pt x="1749" y="810"/>
                  </a:cubicBezTo>
                  <a:cubicBezTo>
                    <a:pt x="1746" y="810"/>
                    <a:pt x="1744" y="811"/>
                    <a:pt x="1741" y="811"/>
                  </a:cubicBezTo>
                  <a:cubicBezTo>
                    <a:pt x="1741" y="811"/>
                    <a:pt x="1741" y="811"/>
                    <a:pt x="1741" y="811"/>
                  </a:cubicBezTo>
                  <a:cubicBezTo>
                    <a:pt x="1740" y="811"/>
                    <a:pt x="1740" y="811"/>
                    <a:pt x="1740" y="811"/>
                  </a:cubicBezTo>
                  <a:cubicBezTo>
                    <a:pt x="1739" y="811"/>
                    <a:pt x="1737" y="811"/>
                    <a:pt x="1735" y="811"/>
                  </a:cubicBezTo>
                  <a:cubicBezTo>
                    <a:pt x="1735" y="811"/>
                    <a:pt x="1735" y="811"/>
                    <a:pt x="1735" y="811"/>
                  </a:cubicBezTo>
                  <a:cubicBezTo>
                    <a:pt x="1735" y="811"/>
                    <a:pt x="1735" y="811"/>
                    <a:pt x="1735" y="811"/>
                  </a:cubicBezTo>
                  <a:cubicBezTo>
                    <a:pt x="1735" y="811"/>
                    <a:pt x="1735" y="811"/>
                    <a:pt x="1735" y="811"/>
                  </a:cubicBezTo>
                  <a:cubicBezTo>
                    <a:pt x="1735" y="811"/>
                    <a:pt x="1735" y="811"/>
                    <a:pt x="1735" y="811"/>
                  </a:cubicBezTo>
                  <a:cubicBezTo>
                    <a:pt x="1734" y="811"/>
                    <a:pt x="1734" y="811"/>
                    <a:pt x="1734" y="811"/>
                  </a:cubicBezTo>
                  <a:cubicBezTo>
                    <a:pt x="1734" y="811"/>
                    <a:pt x="1734" y="811"/>
                    <a:pt x="1734" y="811"/>
                  </a:cubicBezTo>
                  <a:cubicBezTo>
                    <a:pt x="1734" y="811"/>
                    <a:pt x="1734" y="811"/>
                    <a:pt x="1734" y="811"/>
                  </a:cubicBezTo>
                  <a:cubicBezTo>
                    <a:pt x="1724" y="813"/>
                    <a:pt x="1716" y="817"/>
                    <a:pt x="1707" y="820"/>
                  </a:cubicBezTo>
                  <a:cubicBezTo>
                    <a:pt x="1707" y="820"/>
                    <a:pt x="1707" y="820"/>
                    <a:pt x="1707" y="820"/>
                  </a:cubicBezTo>
                  <a:cubicBezTo>
                    <a:pt x="1706" y="820"/>
                    <a:pt x="1706" y="820"/>
                    <a:pt x="1706" y="820"/>
                  </a:cubicBezTo>
                  <a:cubicBezTo>
                    <a:pt x="1706" y="820"/>
                    <a:pt x="1706" y="820"/>
                    <a:pt x="1706" y="820"/>
                  </a:cubicBezTo>
                  <a:cubicBezTo>
                    <a:pt x="1706" y="820"/>
                    <a:pt x="1706" y="820"/>
                    <a:pt x="1706" y="820"/>
                  </a:cubicBezTo>
                  <a:cubicBezTo>
                    <a:pt x="1705" y="821"/>
                    <a:pt x="1704" y="822"/>
                    <a:pt x="1703" y="822"/>
                  </a:cubicBezTo>
                  <a:cubicBezTo>
                    <a:pt x="1703" y="822"/>
                    <a:pt x="1703" y="822"/>
                    <a:pt x="1703" y="822"/>
                  </a:cubicBezTo>
                  <a:cubicBezTo>
                    <a:pt x="1703" y="822"/>
                    <a:pt x="1703" y="822"/>
                    <a:pt x="1703" y="822"/>
                  </a:cubicBezTo>
                  <a:cubicBezTo>
                    <a:pt x="1701" y="822"/>
                    <a:pt x="1701" y="822"/>
                    <a:pt x="1700" y="823"/>
                  </a:cubicBezTo>
                  <a:cubicBezTo>
                    <a:pt x="1699" y="823"/>
                    <a:pt x="1699" y="823"/>
                    <a:pt x="1699" y="823"/>
                  </a:cubicBezTo>
                  <a:cubicBezTo>
                    <a:pt x="1699" y="823"/>
                    <a:pt x="1699" y="823"/>
                    <a:pt x="1699" y="823"/>
                  </a:cubicBezTo>
                  <a:cubicBezTo>
                    <a:pt x="1699" y="823"/>
                    <a:pt x="1699" y="823"/>
                    <a:pt x="1699" y="823"/>
                  </a:cubicBezTo>
                  <a:cubicBezTo>
                    <a:pt x="1698" y="824"/>
                    <a:pt x="1696" y="825"/>
                    <a:pt x="1694" y="825"/>
                  </a:cubicBezTo>
                  <a:cubicBezTo>
                    <a:pt x="1694" y="825"/>
                    <a:pt x="1694" y="825"/>
                    <a:pt x="1694" y="825"/>
                  </a:cubicBezTo>
                  <a:cubicBezTo>
                    <a:pt x="1694" y="825"/>
                    <a:pt x="1694" y="825"/>
                    <a:pt x="1694" y="825"/>
                  </a:cubicBezTo>
                  <a:cubicBezTo>
                    <a:pt x="1694" y="826"/>
                    <a:pt x="1694" y="826"/>
                    <a:pt x="1694" y="826"/>
                  </a:cubicBezTo>
                  <a:cubicBezTo>
                    <a:pt x="1694" y="826"/>
                    <a:pt x="1694" y="826"/>
                    <a:pt x="1694" y="826"/>
                  </a:cubicBezTo>
                  <a:cubicBezTo>
                    <a:pt x="1694" y="826"/>
                    <a:pt x="1694" y="826"/>
                    <a:pt x="1694" y="826"/>
                  </a:cubicBezTo>
                  <a:cubicBezTo>
                    <a:pt x="1694" y="826"/>
                    <a:pt x="1694" y="826"/>
                    <a:pt x="1694" y="826"/>
                  </a:cubicBezTo>
                  <a:cubicBezTo>
                    <a:pt x="1690" y="828"/>
                    <a:pt x="1691" y="826"/>
                    <a:pt x="1689" y="827"/>
                  </a:cubicBezTo>
                  <a:cubicBezTo>
                    <a:pt x="1688" y="828"/>
                    <a:pt x="1688" y="828"/>
                    <a:pt x="1688" y="828"/>
                  </a:cubicBezTo>
                  <a:cubicBezTo>
                    <a:pt x="1687" y="828"/>
                    <a:pt x="1687" y="828"/>
                    <a:pt x="1687" y="828"/>
                  </a:cubicBezTo>
                  <a:cubicBezTo>
                    <a:pt x="1687" y="828"/>
                    <a:pt x="1687" y="828"/>
                    <a:pt x="1687" y="828"/>
                  </a:cubicBezTo>
                  <a:cubicBezTo>
                    <a:pt x="1686" y="828"/>
                    <a:pt x="1685" y="829"/>
                    <a:pt x="1684" y="829"/>
                  </a:cubicBezTo>
                  <a:cubicBezTo>
                    <a:pt x="1683" y="831"/>
                    <a:pt x="1683" y="831"/>
                    <a:pt x="1683" y="831"/>
                  </a:cubicBezTo>
                  <a:cubicBezTo>
                    <a:pt x="1682" y="831"/>
                    <a:pt x="1682" y="831"/>
                    <a:pt x="1682" y="831"/>
                  </a:cubicBezTo>
                  <a:cubicBezTo>
                    <a:pt x="1681" y="831"/>
                    <a:pt x="1681" y="831"/>
                    <a:pt x="1681" y="831"/>
                  </a:cubicBezTo>
                  <a:cubicBezTo>
                    <a:pt x="1681" y="831"/>
                    <a:pt x="1681" y="831"/>
                    <a:pt x="1681" y="831"/>
                  </a:cubicBezTo>
                  <a:cubicBezTo>
                    <a:pt x="1681" y="831"/>
                    <a:pt x="1681" y="831"/>
                    <a:pt x="1681" y="831"/>
                  </a:cubicBezTo>
                  <a:cubicBezTo>
                    <a:pt x="1681" y="831"/>
                    <a:pt x="1681" y="831"/>
                    <a:pt x="1681" y="831"/>
                  </a:cubicBezTo>
                  <a:cubicBezTo>
                    <a:pt x="1681" y="831"/>
                    <a:pt x="1681" y="831"/>
                    <a:pt x="1681" y="831"/>
                  </a:cubicBezTo>
                  <a:cubicBezTo>
                    <a:pt x="1680" y="832"/>
                    <a:pt x="1680" y="832"/>
                    <a:pt x="1680" y="832"/>
                  </a:cubicBezTo>
                  <a:cubicBezTo>
                    <a:pt x="1678" y="833"/>
                    <a:pt x="1678" y="833"/>
                    <a:pt x="1678" y="833"/>
                  </a:cubicBezTo>
                  <a:cubicBezTo>
                    <a:pt x="1675" y="835"/>
                    <a:pt x="1675" y="835"/>
                    <a:pt x="1675" y="835"/>
                  </a:cubicBezTo>
                  <a:cubicBezTo>
                    <a:pt x="1673" y="836"/>
                    <a:pt x="1673" y="836"/>
                    <a:pt x="1673" y="836"/>
                  </a:cubicBezTo>
                  <a:cubicBezTo>
                    <a:pt x="1672" y="837"/>
                    <a:pt x="1672" y="837"/>
                    <a:pt x="1672" y="837"/>
                  </a:cubicBezTo>
                  <a:cubicBezTo>
                    <a:pt x="1672" y="837"/>
                    <a:pt x="1672" y="837"/>
                    <a:pt x="1672" y="837"/>
                  </a:cubicBezTo>
                  <a:cubicBezTo>
                    <a:pt x="1672" y="837"/>
                    <a:pt x="1672" y="837"/>
                    <a:pt x="1672" y="837"/>
                  </a:cubicBezTo>
                  <a:cubicBezTo>
                    <a:pt x="1644" y="864"/>
                    <a:pt x="1644" y="864"/>
                    <a:pt x="1644" y="864"/>
                  </a:cubicBezTo>
                  <a:cubicBezTo>
                    <a:pt x="1643" y="864"/>
                    <a:pt x="1643" y="864"/>
                    <a:pt x="1643" y="864"/>
                  </a:cubicBezTo>
                  <a:cubicBezTo>
                    <a:pt x="1643" y="864"/>
                    <a:pt x="1643" y="864"/>
                    <a:pt x="1643" y="864"/>
                  </a:cubicBezTo>
                  <a:cubicBezTo>
                    <a:pt x="1643" y="864"/>
                    <a:pt x="1643" y="864"/>
                    <a:pt x="1643" y="864"/>
                  </a:cubicBezTo>
                  <a:cubicBezTo>
                    <a:pt x="1643" y="865"/>
                    <a:pt x="1643" y="865"/>
                    <a:pt x="1643" y="865"/>
                  </a:cubicBezTo>
                  <a:cubicBezTo>
                    <a:pt x="1643" y="865"/>
                    <a:pt x="1643" y="865"/>
                    <a:pt x="1643" y="865"/>
                  </a:cubicBezTo>
                  <a:cubicBezTo>
                    <a:pt x="1644" y="865"/>
                    <a:pt x="1644" y="865"/>
                    <a:pt x="1644" y="865"/>
                  </a:cubicBezTo>
                  <a:cubicBezTo>
                    <a:pt x="1644" y="865"/>
                    <a:pt x="1644" y="865"/>
                    <a:pt x="1644" y="865"/>
                  </a:cubicBezTo>
                  <a:cubicBezTo>
                    <a:pt x="1643" y="865"/>
                    <a:pt x="1643" y="865"/>
                    <a:pt x="1643" y="865"/>
                  </a:cubicBezTo>
                  <a:cubicBezTo>
                    <a:pt x="1643" y="865"/>
                    <a:pt x="1643" y="865"/>
                    <a:pt x="1643" y="865"/>
                  </a:cubicBezTo>
                  <a:cubicBezTo>
                    <a:pt x="1643" y="866"/>
                    <a:pt x="1643" y="866"/>
                    <a:pt x="1643" y="866"/>
                  </a:cubicBezTo>
                  <a:cubicBezTo>
                    <a:pt x="1643" y="866"/>
                    <a:pt x="1643" y="866"/>
                    <a:pt x="1643" y="866"/>
                  </a:cubicBezTo>
                  <a:cubicBezTo>
                    <a:pt x="1643" y="866"/>
                    <a:pt x="1643" y="866"/>
                    <a:pt x="1643" y="866"/>
                  </a:cubicBezTo>
                  <a:cubicBezTo>
                    <a:pt x="1643" y="866"/>
                    <a:pt x="1643" y="866"/>
                    <a:pt x="1643" y="866"/>
                  </a:cubicBezTo>
                  <a:cubicBezTo>
                    <a:pt x="1642" y="866"/>
                    <a:pt x="1642" y="866"/>
                    <a:pt x="1642" y="866"/>
                  </a:cubicBezTo>
                  <a:cubicBezTo>
                    <a:pt x="1642" y="867"/>
                    <a:pt x="1642" y="867"/>
                    <a:pt x="1642" y="867"/>
                  </a:cubicBezTo>
                  <a:cubicBezTo>
                    <a:pt x="1640" y="869"/>
                    <a:pt x="1640" y="869"/>
                    <a:pt x="1640" y="869"/>
                  </a:cubicBezTo>
                  <a:cubicBezTo>
                    <a:pt x="1639" y="869"/>
                    <a:pt x="1639" y="869"/>
                    <a:pt x="1639" y="869"/>
                  </a:cubicBezTo>
                  <a:cubicBezTo>
                    <a:pt x="1639" y="870"/>
                    <a:pt x="1639" y="870"/>
                    <a:pt x="1639" y="870"/>
                  </a:cubicBezTo>
                  <a:cubicBezTo>
                    <a:pt x="1638" y="870"/>
                    <a:pt x="1638" y="871"/>
                    <a:pt x="1637" y="872"/>
                  </a:cubicBezTo>
                  <a:cubicBezTo>
                    <a:pt x="1637" y="872"/>
                    <a:pt x="1637" y="872"/>
                    <a:pt x="1637" y="872"/>
                  </a:cubicBezTo>
                  <a:cubicBezTo>
                    <a:pt x="1637" y="872"/>
                    <a:pt x="1637" y="872"/>
                    <a:pt x="1637" y="872"/>
                  </a:cubicBezTo>
                  <a:cubicBezTo>
                    <a:pt x="1637" y="872"/>
                    <a:pt x="1637" y="872"/>
                    <a:pt x="1637" y="872"/>
                  </a:cubicBezTo>
                  <a:cubicBezTo>
                    <a:pt x="1636" y="873"/>
                    <a:pt x="1635" y="874"/>
                    <a:pt x="1634" y="875"/>
                  </a:cubicBezTo>
                  <a:cubicBezTo>
                    <a:pt x="1634" y="875"/>
                    <a:pt x="1634" y="875"/>
                    <a:pt x="1634" y="875"/>
                  </a:cubicBezTo>
                  <a:cubicBezTo>
                    <a:pt x="1633" y="876"/>
                    <a:pt x="1633" y="876"/>
                    <a:pt x="1633" y="876"/>
                  </a:cubicBezTo>
                  <a:cubicBezTo>
                    <a:pt x="1632" y="877"/>
                    <a:pt x="1632" y="877"/>
                    <a:pt x="1632" y="877"/>
                  </a:cubicBezTo>
                  <a:cubicBezTo>
                    <a:pt x="1630" y="877"/>
                    <a:pt x="1630" y="877"/>
                    <a:pt x="1630" y="877"/>
                  </a:cubicBezTo>
                  <a:cubicBezTo>
                    <a:pt x="1621" y="881"/>
                    <a:pt x="1621" y="881"/>
                    <a:pt x="1621" y="881"/>
                  </a:cubicBezTo>
                  <a:cubicBezTo>
                    <a:pt x="1622" y="882"/>
                    <a:pt x="1618" y="881"/>
                    <a:pt x="1618" y="882"/>
                  </a:cubicBezTo>
                  <a:cubicBezTo>
                    <a:pt x="1619" y="880"/>
                    <a:pt x="1619" y="880"/>
                    <a:pt x="1619" y="880"/>
                  </a:cubicBezTo>
                  <a:cubicBezTo>
                    <a:pt x="1620" y="878"/>
                    <a:pt x="1620" y="878"/>
                    <a:pt x="1620" y="878"/>
                  </a:cubicBezTo>
                  <a:cubicBezTo>
                    <a:pt x="1621" y="878"/>
                    <a:pt x="1622" y="877"/>
                    <a:pt x="1622" y="876"/>
                  </a:cubicBezTo>
                  <a:cubicBezTo>
                    <a:pt x="1623" y="876"/>
                    <a:pt x="1623" y="876"/>
                    <a:pt x="1623" y="876"/>
                  </a:cubicBezTo>
                  <a:cubicBezTo>
                    <a:pt x="1623" y="876"/>
                    <a:pt x="1623" y="876"/>
                    <a:pt x="1623" y="876"/>
                  </a:cubicBezTo>
                  <a:cubicBezTo>
                    <a:pt x="1625" y="874"/>
                    <a:pt x="1628" y="875"/>
                    <a:pt x="1629" y="872"/>
                  </a:cubicBezTo>
                  <a:cubicBezTo>
                    <a:pt x="1629" y="872"/>
                    <a:pt x="1629" y="872"/>
                    <a:pt x="1629" y="872"/>
                  </a:cubicBezTo>
                  <a:cubicBezTo>
                    <a:pt x="1629" y="872"/>
                    <a:pt x="1629" y="872"/>
                    <a:pt x="1629" y="872"/>
                  </a:cubicBezTo>
                  <a:cubicBezTo>
                    <a:pt x="1629" y="872"/>
                    <a:pt x="1629" y="872"/>
                    <a:pt x="1629" y="872"/>
                  </a:cubicBezTo>
                  <a:cubicBezTo>
                    <a:pt x="1629" y="871"/>
                    <a:pt x="1629" y="871"/>
                    <a:pt x="1629" y="871"/>
                  </a:cubicBezTo>
                  <a:cubicBezTo>
                    <a:pt x="1629" y="871"/>
                    <a:pt x="1629" y="871"/>
                    <a:pt x="1629" y="871"/>
                  </a:cubicBezTo>
                  <a:cubicBezTo>
                    <a:pt x="1630" y="871"/>
                    <a:pt x="1630" y="870"/>
                    <a:pt x="1630" y="870"/>
                  </a:cubicBezTo>
                  <a:cubicBezTo>
                    <a:pt x="1630" y="870"/>
                    <a:pt x="1630" y="870"/>
                    <a:pt x="1630" y="870"/>
                  </a:cubicBezTo>
                  <a:cubicBezTo>
                    <a:pt x="1630" y="870"/>
                    <a:pt x="1630" y="870"/>
                    <a:pt x="1630" y="870"/>
                  </a:cubicBezTo>
                  <a:cubicBezTo>
                    <a:pt x="1631" y="869"/>
                    <a:pt x="1631" y="869"/>
                    <a:pt x="1631" y="869"/>
                  </a:cubicBezTo>
                  <a:cubicBezTo>
                    <a:pt x="1631" y="868"/>
                    <a:pt x="1631" y="868"/>
                    <a:pt x="1631" y="868"/>
                  </a:cubicBezTo>
                  <a:cubicBezTo>
                    <a:pt x="1631" y="868"/>
                    <a:pt x="1631" y="868"/>
                    <a:pt x="1631" y="868"/>
                  </a:cubicBezTo>
                  <a:cubicBezTo>
                    <a:pt x="1631" y="868"/>
                    <a:pt x="1631" y="868"/>
                    <a:pt x="1631" y="868"/>
                  </a:cubicBezTo>
                  <a:cubicBezTo>
                    <a:pt x="1631" y="867"/>
                    <a:pt x="1633" y="866"/>
                    <a:pt x="1633" y="865"/>
                  </a:cubicBezTo>
                  <a:cubicBezTo>
                    <a:pt x="1633" y="865"/>
                    <a:pt x="1633" y="865"/>
                    <a:pt x="1633" y="865"/>
                  </a:cubicBezTo>
                  <a:cubicBezTo>
                    <a:pt x="1633" y="865"/>
                    <a:pt x="1633" y="865"/>
                    <a:pt x="1633" y="865"/>
                  </a:cubicBezTo>
                  <a:cubicBezTo>
                    <a:pt x="1633" y="864"/>
                    <a:pt x="1633" y="864"/>
                    <a:pt x="1633" y="864"/>
                  </a:cubicBezTo>
                  <a:cubicBezTo>
                    <a:pt x="1633" y="864"/>
                    <a:pt x="1633" y="864"/>
                    <a:pt x="1633" y="864"/>
                  </a:cubicBezTo>
                  <a:cubicBezTo>
                    <a:pt x="1635" y="863"/>
                    <a:pt x="1635" y="863"/>
                    <a:pt x="1635" y="863"/>
                  </a:cubicBezTo>
                  <a:cubicBezTo>
                    <a:pt x="1638" y="862"/>
                    <a:pt x="1638" y="862"/>
                    <a:pt x="1638" y="862"/>
                  </a:cubicBezTo>
                  <a:cubicBezTo>
                    <a:pt x="1639" y="861"/>
                    <a:pt x="1639" y="861"/>
                    <a:pt x="1639" y="861"/>
                  </a:cubicBezTo>
                  <a:cubicBezTo>
                    <a:pt x="1640" y="861"/>
                    <a:pt x="1640" y="861"/>
                    <a:pt x="1640" y="861"/>
                  </a:cubicBezTo>
                  <a:cubicBezTo>
                    <a:pt x="1640" y="861"/>
                    <a:pt x="1640" y="861"/>
                    <a:pt x="1640" y="861"/>
                  </a:cubicBezTo>
                  <a:cubicBezTo>
                    <a:pt x="1640" y="861"/>
                    <a:pt x="1640" y="861"/>
                    <a:pt x="1640" y="861"/>
                  </a:cubicBezTo>
                  <a:cubicBezTo>
                    <a:pt x="1640" y="860"/>
                    <a:pt x="1640" y="860"/>
                    <a:pt x="1640" y="860"/>
                  </a:cubicBezTo>
                  <a:cubicBezTo>
                    <a:pt x="1640" y="860"/>
                    <a:pt x="1640" y="860"/>
                    <a:pt x="1640" y="860"/>
                  </a:cubicBezTo>
                  <a:cubicBezTo>
                    <a:pt x="1640" y="860"/>
                    <a:pt x="1640" y="860"/>
                    <a:pt x="1640" y="860"/>
                  </a:cubicBezTo>
                  <a:cubicBezTo>
                    <a:pt x="1640" y="859"/>
                    <a:pt x="1640" y="859"/>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1" y="858"/>
                    <a:pt x="1641" y="858"/>
                    <a:pt x="1641" y="858"/>
                  </a:cubicBezTo>
                  <a:cubicBezTo>
                    <a:pt x="1642" y="857"/>
                    <a:pt x="1642" y="857"/>
                    <a:pt x="1642" y="857"/>
                  </a:cubicBezTo>
                  <a:cubicBezTo>
                    <a:pt x="1642" y="857"/>
                    <a:pt x="1644" y="857"/>
                    <a:pt x="1644" y="856"/>
                  </a:cubicBezTo>
                  <a:cubicBezTo>
                    <a:pt x="1644" y="856"/>
                    <a:pt x="1644" y="856"/>
                    <a:pt x="1644" y="856"/>
                  </a:cubicBezTo>
                  <a:cubicBezTo>
                    <a:pt x="1644" y="856"/>
                    <a:pt x="1644" y="856"/>
                    <a:pt x="1644" y="856"/>
                  </a:cubicBezTo>
                  <a:cubicBezTo>
                    <a:pt x="1645" y="856"/>
                    <a:pt x="1645" y="856"/>
                    <a:pt x="1645" y="856"/>
                  </a:cubicBezTo>
                  <a:cubicBezTo>
                    <a:pt x="1645" y="856"/>
                    <a:pt x="1645" y="856"/>
                    <a:pt x="1645" y="856"/>
                  </a:cubicBezTo>
                  <a:cubicBezTo>
                    <a:pt x="1645" y="855"/>
                    <a:pt x="1645" y="855"/>
                    <a:pt x="1645" y="855"/>
                  </a:cubicBezTo>
                  <a:cubicBezTo>
                    <a:pt x="1645" y="854"/>
                    <a:pt x="1646" y="855"/>
                    <a:pt x="1646" y="854"/>
                  </a:cubicBezTo>
                  <a:cubicBezTo>
                    <a:pt x="1646" y="854"/>
                    <a:pt x="1646" y="854"/>
                    <a:pt x="1646" y="854"/>
                  </a:cubicBezTo>
                  <a:cubicBezTo>
                    <a:pt x="1646" y="853"/>
                    <a:pt x="1646" y="853"/>
                    <a:pt x="1646" y="853"/>
                  </a:cubicBezTo>
                  <a:cubicBezTo>
                    <a:pt x="1647" y="853"/>
                    <a:pt x="1647" y="852"/>
                    <a:pt x="1647" y="851"/>
                  </a:cubicBezTo>
                  <a:cubicBezTo>
                    <a:pt x="1647" y="851"/>
                    <a:pt x="1647" y="851"/>
                    <a:pt x="1647" y="851"/>
                  </a:cubicBezTo>
                  <a:cubicBezTo>
                    <a:pt x="1648" y="851"/>
                    <a:pt x="1648" y="851"/>
                    <a:pt x="1648" y="851"/>
                  </a:cubicBezTo>
                  <a:cubicBezTo>
                    <a:pt x="1648" y="851"/>
                    <a:pt x="1648" y="851"/>
                    <a:pt x="1648" y="851"/>
                  </a:cubicBezTo>
                  <a:cubicBezTo>
                    <a:pt x="1648" y="851"/>
                    <a:pt x="1648" y="851"/>
                    <a:pt x="1648" y="851"/>
                  </a:cubicBezTo>
                  <a:cubicBezTo>
                    <a:pt x="1648" y="851"/>
                    <a:pt x="1648" y="851"/>
                    <a:pt x="1648" y="851"/>
                  </a:cubicBezTo>
                  <a:cubicBezTo>
                    <a:pt x="1648" y="850"/>
                    <a:pt x="1648" y="850"/>
                    <a:pt x="1648" y="850"/>
                  </a:cubicBezTo>
                  <a:cubicBezTo>
                    <a:pt x="1648" y="850"/>
                    <a:pt x="1648" y="849"/>
                    <a:pt x="1649" y="848"/>
                  </a:cubicBezTo>
                  <a:cubicBezTo>
                    <a:pt x="1649" y="848"/>
                    <a:pt x="1649" y="848"/>
                    <a:pt x="1649" y="848"/>
                  </a:cubicBezTo>
                  <a:cubicBezTo>
                    <a:pt x="1649" y="848"/>
                    <a:pt x="1649" y="848"/>
                    <a:pt x="1649" y="848"/>
                  </a:cubicBezTo>
                  <a:cubicBezTo>
                    <a:pt x="1649" y="848"/>
                    <a:pt x="1649" y="847"/>
                    <a:pt x="1649" y="847"/>
                  </a:cubicBezTo>
                  <a:cubicBezTo>
                    <a:pt x="1650" y="846"/>
                    <a:pt x="1650" y="846"/>
                    <a:pt x="1650" y="846"/>
                  </a:cubicBezTo>
                  <a:cubicBezTo>
                    <a:pt x="1650" y="846"/>
                    <a:pt x="1650" y="846"/>
                    <a:pt x="1650" y="846"/>
                  </a:cubicBezTo>
                  <a:cubicBezTo>
                    <a:pt x="1650" y="846"/>
                    <a:pt x="1650" y="846"/>
                    <a:pt x="1650" y="846"/>
                  </a:cubicBezTo>
                  <a:cubicBezTo>
                    <a:pt x="1650" y="845"/>
                    <a:pt x="1650" y="845"/>
                    <a:pt x="1651" y="844"/>
                  </a:cubicBezTo>
                  <a:cubicBezTo>
                    <a:pt x="1651" y="844"/>
                    <a:pt x="1651" y="844"/>
                    <a:pt x="1651" y="844"/>
                  </a:cubicBezTo>
                  <a:cubicBezTo>
                    <a:pt x="1650" y="844"/>
                    <a:pt x="1650" y="844"/>
                    <a:pt x="1650" y="844"/>
                  </a:cubicBezTo>
                  <a:cubicBezTo>
                    <a:pt x="1650" y="844"/>
                    <a:pt x="1649" y="844"/>
                    <a:pt x="1648" y="843"/>
                  </a:cubicBezTo>
                  <a:cubicBezTo>
                    <a:pt x="1648" y="843"/>
                    <a:pt x="1648" y="843"/>
                    <a:pt x="1648" y="843"/>
                  </a:cubicBezTo>
                  <a:cubicBezTo>
                    <a:pt x="1648" y="843"/>
                    <a:pt x="1648" y="843"/>
                    <a:pt x="1648" y="843"/>
                  </a:cubicBezTo>
                  <a:cubicBezTo>
                    <a:pt x="1648" y="843"/>
                    <a:pt x="1648" y="843"/>
                    <a:pt x="1648" y="843"/>
                  </a:cubicBezTo>
                  <a:cubicBezTo>
                    <a:pt x="1648" y="843"/>
                    <a:pt x="1648" y="843"/>
                    <a:pt x="1648" y="843"/>
                  </a:cubicBezTo>
                  <a:cubicBezTo>
                    <a:pt x="1647" y="843"/>
                    <a:pt x="1647" y="843"/>
                    <a:pt x="1647" y="843"/>
                  </a:cubicBezTo>
                  <a:cubicBezTo>
                    <a:pt x="1647" y="843"/>
                    <a:pt x="1647" y="843"/>
                    <a:pt x="1647" y="843"/>
                  </a:cubicBezTo>
                  <a:cubicBezTo>
                    <a:pt x="1647" y="843"/>
                    <a:pt x="1647" y="843"/>
                    <a:pt x="1647" y="843"/>
                  </a:cubicBezTo>
                  <a:cubicBezTo>
                    <a:pt x="1647" y="842"/>
                    <a:pt x="1647" y="842"/>
                    <a:pt x="1647" y="842"/>
                  </a:cubicBezTo>
                  <a:cubicBezTo>
                    <a:pt x="1647" y="842"/>
                    <a:pt x="1647" y="841"/>
                    <a:pt x="1646" y="841"/>
                  </a:cubicBezTo>
                  <a:cubicBezTo>
                    <a:pt x="1646" y="841"/>
                    <a:pt x="1646" y="841"/>
                    <a:pt x="1646" y="841"/>
                  </a:cubicBezTo>
                  <a:cubicBezTo>
                    <a:pt x="1646" y="841"/>
                    <a:pt x="1646" y="841"/>
                    <a:pt x="1646" y="841"/>
                  </a:cubicBezTo>
                  <a:cubicBezTo>
                    <a:pt x="1645" y="841"/>
                    <a:pt x="1644" y="840"/>
                    <a:pt x="1644" y="840"/>
                  </a:cubicBezTo>
                  <a:cubicBezTo>
                    <a:pt x="1643" y="840"/>
                    <a:pt x="1643" y="840"/>
                    <a:pt x="1643" y="840"/>
                  </a:cubicBezTo>
                  <a:cubicBezTo>
                    <a:pt x="1643" y="840"/>
                    <a:pt x="1643" y="840"/>
                    <a:pt x="1643" y="840"/>
                  </a:cubicBezTo>
                  <a:cubicBezTo>
                    <a:pt x="1643" y="840"/>
                    <a:pt x="1643" y="840"/>
                    <a:pt x="1643" y="840"/>
                  </a:cubicBezTo>
                  <a:cubicBezTo>
                    <a:pt x="1643" y="840"/>
                    <a:pt x="1643" y="840"/>
                    <a:pt x="1643" y="840"/>
                  </a:cubicBezTo>
                  <a:cubicBezTo>
                    <a:pt x="1642" y="840"/>
                    <a:pt x="1642" y="840"/>
                    <a:pt x="1642" y="840"/>
                  </a:cubicBezTo>
                  <a:cubicBezTo>
                    <a:pt x="1642" y="841"/>
                    <a:pt x="1642" y="841"/>
                    <a:pt x="1642" y="841"/>
                  </a:cubicBezTo>
                  <a:cubicBezTo>
                    <a:pt x="1642" y="841"/>
                    <a:pt x="1642" y="841"/>
                    <a:pt x="1642" y="841"/>
                  </a:cubicBezTo>
                  <a:cubicBezTo>
                    <a:pt x="1642" y="840"/>
                    <a:pt x="1642" y="840"/>
                    <a:pt x="1642" y="840"/>
                  </a:cubicBezTo>
                  <a:cubicBezTo>
                    <a:pt x="1641" y="840"/>
                    <a:pt x="1641" y="840"/>
                    <a:pt x="1641" y="840"/>
                  </a:cubicBezTo>
                  <a:cubicBezTo>
                    <a:pt x="1641" y="840"/>
                    <a:pt x="1641" y="840"/>
                    <a:pt x="1641" y="840"/>
                  </a:cubicBezTo>
                  <a:cubicBezTo>
                    <a:pt x="1641" y="840"/>
                    <a:pt x="1641" y="840"/>
                    <a:pt x="1641" y="840"/>
                  </a:cubicBezTo>
                  <a:cubicBezTo>
                    <a:pt x="1641" y="840"/>
                    <a:pt x="1641" y="840"/>
                    <a:pt x="1641" y="840"/>
                  </a:cubicBezTo>
                  <a:cubicBezTo>
                    <a:pt x="1640" y="840"/>
                    <a:pt x="1640" y="840"/>
                    <a:pt x="1640" y="840"/>
                  </a:cubicBezTo>
                  <a:cubicBezTo>
                    <a:pt x="1640" y="840"/>
                    <a:pt x="1640" y="840"/>
                    <a:pt x="1640" y="840"/>
                  </a:cubicBezTo>
                  <a:cubicBezTo>
                    <a:pt x="1640" y="840"/>
                    <a:pt x="1640" y="840"/>
                    <a:pt x="1640" y="840"/>
                  </a:cubicBezTo>
                  <a:cubicBezTo>
                    <a:pt x="1640" y="840"/>
                    <a:pt x="1640" y="840"/>
                    <a:pt x="1640" y="840"/>
                  </a:cubicBezTo>
                  <a:cubicBezTo>
                    <a:pt x="1640" y="840"/>
                    <a:pt x="1640" y="840"/>
                    <a:pt x="1640" y="840"/>
                  </a:cubicBezTo>
                  <a:cubicBezTo>
                    <a:pt x="1640" y="839"/>
                    <a:pt x="1639" y="839"/>
                    <a:pt x="1638" y="839"/>
                  </a:cubicBezTo>
                  <a:cubicBezTo>
                    <a:pt x="1638" y="839"/>
                    <a:pt x="1638" y="839"/>
                    <a:pt x="1638" y="839"/>
                  </a:cubicBezTo>
                  <a:cubicBezTo>
                    <a:pt x="1638" y="839"/>
                    <a:pt x="1638" y="839"/>
                    <a:pt x="1638" y="839"/>
                  </a:cubicBezTo>
                  <a:cubicBezTo>
                    <a:pt x="1638" y="839"/>
                    <a:pt x="1638" y="839"/>
                    <a:pt x="1638" y="839"/>
                  </a:cubicBezTo>
                  <a:cubicBezTo>
                    <a:pt x="1637" y="839"/>
                    <a:pt x="1637" y="839"/>
                    <a:pt x="1637" y="839"/>
                  </a:cubicBezTo>
                  <a:cubicBezTo>
                    <a:pt x="1637" y="839"/>
                    <a:pt x="1637" y="839"/>
                    <a:pt x="1637" y="839"/>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7" y="838"/>
                    <a:pt x="1637" y="838"/>
                    <a:pt x="1637" y="838"/>
                  </a:cubicBezTo>
                  <a:cubicBezTo>
                    <a:pt x="1636" y="838"/>
                    <a:pt x="1636" y="838"/>
                    <a:pt x="1636" y="838"/>
                  </a:cubicBezTo>
                  <a:cubicBezTo>
                    <a:pt x="1636" y="838"/>
                    <a:pt x="1636" y="838"/>
                    <a:pt x="1636" y="838"/>
                  </a:cubicBezTo>
                  <a:cubicBezTo>
                    <a:pt x="1636" y="838"/>
                    <a:pt x="1636" y="838"/>
                    <a:pt x="1636" y="838"/>
                  </a:cubicBezTo>
                  <a:cubicBezTo>
                    <a:pt x="1636" y="838"/>
                    <a:pt x="1636" y="838"/>
                    <a:pt x="1636" y="838"/>
                  </a:cubicBezTo>
                  <a:cubicBezTo>
                    <a:pt x="1636" y="838"/>
                    <a:pt x="1636" y="838"/>
                    <a:pt x="1636" y="838"/>
                  </a:cubicBezTo>
                  <a:cubicBezTo>
                    <a:pt x="1635" y="838"/>
                    <a:pt x="1635" y="838"/>
                    <a:pt x="1635" y="838"/>
                  </a:cubicBezTo>
                  <a:cubicBezTo>
                    <a:pt x="1635" y="838"/>
                    <a:pt x="1635" y="838"/>
                    <a:pt x="1635" y="838"/>
                  </a:cubicBezTo>
                  <a:cubicBezTo>
                    <a:pt x="1635" y="837"/>
                    <a:pt x="1635" y="837"/>
                    <a:pt x="1635" y="837"/>
                  </a:cubicBezTo>
                  <a:cubicBezTo>
                    <a:pt x="1635" y="837"/>
                    <a:pt x="1635" y="837"/>
                    <a:pt x="1635" y="837"/>
                  </a:cubicBezTo>
                  <a:cubicBezTo>
                    <a:pt x="1634" y="837"/>
                    <a:pt x="1633" y="837"/>
                    <a:pt x="1632" y="837"/>
                  </a:cubicBezTo>
                  <a:cubicBezTo>
                    <a:pt x="1632" y="837"/>
                    <a:pt x="1632" y="837"/>
                    <a:pt x="1632" y="837"/>
                  </a:cubicBezTo>
                  <a:cubicBezTo>
                    <a:pt x="1632" y="837"/>
                    <a:pt x="1632" y="837"/>
                    <a:pt x="1632" y="837"/>
                  </a:cubicBezTo>
                  <a:cubicBezTo>
                    <a:pt x="1632" y="837"/>
                    <a:pt x="1632" y="837"/>
                    <a:pt x="1632" y="837"/>
                  </a:cubicBezTo>
                  <a:cubicBezTo>
                    <a:pt x="1632" y="837"/>
                    <a:pt x="1632" y="837"/>
                    <a:pt x="1632" y="837"/>
                  </a:cubicBezTo>
                  <a:cubicBezTo>
                    <a:pt x="1631" y="837"/>
                    <a:pt x="1630" y="837"/>
                    <a:pt x="1629" y="837"/>
                  </a:cubicBezTo>
                  <a:cubicBezTo>
                    <a:pt x="1629" y="837"/>
                    <a:pt x="1629" y="837"/>
                    <a:pt x="1629" y="837"/>
                  </a:cubicBezTo>
                  <a:cubicBezTo>
                    <a:pt x="1629" y="837"/>
                    <a:pt x="1629" y="837"/>
                    <a:pt x="1629" y="837"/>
                  </a:cubicBezTo>
                  <a:cubicBezTo>
                    <a:pt x="1628" y="837"/>
                    <a:pt x="1627" y="837"/>
                    <a:pt x="1626" y="837"/>
                  </a:cubicBezTo>
                  <a:cubicBezTo>
                    <a:pt x="1626" y="837"/>
                    <a:pt x="1626" y="837"/>
                    <a:pt x="1626" y="837"/>
                  </a:cubicBezTo>
                  <a:cubicBezTo>
                    <a:pt x="1625" y="838"/>
                    <a:pt x="1625" y="838"/>
                    <a:pt x="1625" y="838"/>
                  </a:cubicBezTo>
                  <a:cubicBezTo>
                    <a:pt x="1624" y="838"/>
                    <a:pt x="1624" y="838"/>
                    <a:pt x="1624" y="838"/>
                  </a:cubicBezTo>
                  <a:cubicBezTo>
                    <a:pt x="1624" y="838"/>
                    <a:pt x="1624" y="838"/>
                    <a:pt x="1624" y="838"/>
                  </a:cubicBezTo>
                  <a:cubicBezTo>
                    <a:pt x="1624" y="837"/>
                    <a:pt x="1624" y="837"/>
                    <a:pt x="1624" y="837"/>
                  </a:cubicBezTo>
                  <a:cubicBezTo>
                    <a:pt x="1624" y="837"/>
                    <a:pt x="1624" y="837"/>
                    <a:pt x="1624" y="837"/>
                  </a:cubicBezTo>
                  <a:cubicBezTo>
                    <a:pt x="1624" y="837"/>
                    <a:pt x="1624" y="837"/>
                    <a:pt x="1624" y="837"/>
                  </a:cubicBezTo>
                  <a:cubicBezTo>
                    <a:pt x="1624" y="837"/>
                    <a:pt x="1624" y="837"/>
                    <a:pt x="1624" y="837"/>
                  </a:cubicBezTo>
                  <a:cubicBezTo>
                    <a:pt x="1624" y="837"/>
                    <a:pt x="1624" y="837"/>
                    <a:pt x="1624" y="837"/>
                  </a:cubicBezTo>
                  <a:cubicBezTo>
                    <a:pt x="1625" y="837"/>
                    <a:pt x="1625" y="837"/>
                    <a:pt x="1625" y="837"/>
                  </a:cubicBezTo>
                  <a:cubicBezTo>
                    <a:pt x="1626" y="836"/>
                    <a:pt x="1626" y="836"/>
                    <a:pt x="1626" y="836"/>
                  </a:cubicBezTo>
                  <a:cubicBezTo>
                    <a:pt x="1626" y="836"/>
                    <a:pt x="1626" y="836"/>
                    <a:pt x="1626" y="836"/>
                  </a:cubicBezTo>
                  <a:cubicBezTo>
                    <a:pt x="1626" y="836"/>
                    <a:pt x="1626" y="836"/>
                    <a:pt x="1626" y="836"/>
                  </a:cubicBezTo>
                  <a:cubicBezTo>
                    <a:pt x="1626" y="835"/>
                    <a:pt x="1626" y="835"/>
                    <a:pt x="1626" y="835"/>
                  </a:cubicBezTo>
                  <a:cubicBezTo>
                    <a:pt x="1625" y="835"/>
                    <a:pt x="1625" y="835"/>
                    <a:pt x="1625" y="835"/>
                  </a:cubicBezTo>
                  <a:cubicBezTo>
                    <a:pt x="1625" y="835"/>
                    <a:pt x="1625" y="835"/>
                    <a:pt x="1624" y="835"/>
                  </a:cubicBezTo>
                  <a:cubicBezTo>
                    <a:pt x="1624" y="835"/>
                    <a:pt x="1624" y="835"/>
                    <a:pt x="1624" y="835"/>
                  </a:cubicBezTo>
                  <a:cubicBezTo>
                    <a:pt x="1624" y="835"/>
                    <a:pt x="1624" y="835"/>
                    <a:pt x="1624" y="835"/>
                  </a:cubicBezTo>
                  <a:cubicBezTo>
                    <a:pt x="1623" y="835"/>
                    <a:pt x="1623" y="835"/>
                    <a:pt x="1622" y="834"/>
                  </a:cubicBezTo>
                  <a:cubicBezTo>
                    <a:pt x="1622" y="834"/>
                    <a:pt x="1622" y="834"/>
                    <a:pt x="1622" y="834"/>
                  </a:cubicBezTo>
                  <a:cubicBezTo>
                    <a:pt x="1621" y="834"/>
                    <a:pt x="1621" y="834"/>
                    <a:pt x="1621" y="834"/>
                  </a:cubicBezTo>
                  <a:cubicBezTo>
                    <a:pt x="1621" y="834"/>
                    <a:pt x="1621" y="834"/>
                    <a:pt x="1621" y="834"/>
                  </a:cubicBezTo>
                  <a:cubicBezTo>
                    <a:pt x="1620" y="834"/>
                    <a:pt x="1620" y="834"/>
                    <a:pt x="1620" y="834"/>
                  </a:cubicBezTo>
                  <a:cubicBezTo>
                    <a:pt x="1621" y="834"/>
                    <a:pt x="1621" y="834"/>
                    <a:pt x="1621" y="834"/>
                  </a:cubicBezTo>
                  <a:cubicBezTo>
                    <a:pt x="1621" y="834"/>
                    <a:pt x="1621" y="834"/>
                    <a:pt x="1621" y="834"/>
                  </a:cubicBezTo>
                  <a:cubicBezTo>
                    <a:pt x="1621" y="834"/>
                    <a:pt x="1621" y="834"/>
                    <a:pt x="1621" y="834"/>
                  </a:cubicBezTo>
                  <a:cubicBezTo>
                    <a:pt x="1622" y="834"/>
                    <a:pt x="1622" y="834"/>
                    <a:pt x="1622" y="834"/>
                  </a:cubicBezTo>
                  <a:cubicBezTo>
                    <a:pt x="1622" y="834"/>
                    <a:pt x="1622" y="834"/>
                    <a:pt x="1622" y="834"/>
                  </a:cubicBezTo>
                  <a:cubicBezTo>
                    <a:pt x="1624" y="834"/>
                    <a:pt x="1625" y="835"/>
                    <a:pt x="1627" y="835"/>
                  </a:cubicBezTo>
                  <a:cubicBezTo>
                    <a:pt x="1628" y="835"/>
                    <a:pt x="1628" y="835"/>
                    <a:pt x="1628" y="835"/>
                  </a:cubicBezTo>
                  <a:cubicBezTo>
                    <a:pt x="1628" y="835"/>
                    <a:pt x="1628" y="835"/>
                    <a:pt x="1628" y="835"/>
                  </a:cubicBezTo>
                  <a:cubicBezTo>
                    <a:pt x="1628" y="836"/>
                    <a:pt x="1628" y="836"/>
                    <a:pt x="1629" y="836"/>
                  </a:cubicBezTo>
                  <a:cubicBezTo>
                    <a:pt x="1629" y="836"/>
                    <a:pt x="1629" y="836"/>
                    <a:pt x="1629" y="836"/>
                  </a:cubicBezTo>
                  <a:cubicBezTo>
                    <a:pt x="1629" y="836"/>
                    <a:pt x="1629" y="836"/>
                    <a:pt x="1629" y="836"/>
                  </a:cubicBezTo>
                  <a:cubicBezTo>
                    <a:pt x="1630" y="836"/>
                    <a:pt x="1630" y="836"/>
                    <a:pt x="1630" y="836"/>
                  </a:cubicBezTo>
                  <a:cubicBezTo>
                    <a:pt x="1631" y="836"/>
                    <a:pt x="1632" y="836"/>
                    <a:pt x="1633" y="836"/>
                  </a:cubicBezTo>
                  <a:cubicBezTo>
                    <a:pt x="1633" y="836"/>
                    <a:pt x="1633" y="836"/>
                    <a:pt x="1633" y="836"/>
                  </a:cubicBezTo>
                  <a:cubicBezTo>
                    <a:pt x="1633" y="836"/>
                    <a:pt x="1633" y="836"/>
                    <a:pt x="1633" y="836"/>
                  </a:cubicBezTo>
                  <a:cubicBezTo>
                    <a:pt x="1634" y="836"/>
                    <a:pt x="1634" y="836"/>
                    <a:pt x="1634" y="836"/>
                  </a:cubicBezTo>
                  <a:cubicBezTo>
                    <a:pt x="1634" y="837"/>
                    <a:pt x="1634" y="837"/>
                    <a:pt x="1634" y="837"/>
                  </a:cubicBezTo>
                  <a:cubicBezTo>
                    <a:pt x="1634" y="837"/>
                    <a:pt x="1634" y="837"/>
                    <a:pt x="1634" y="837"/>
                  </a:cubicBezTo>
                  <a:cubicBezTo>
                    <a:pt x="1635" y="837"/>
                    <a:pt x="1636" y="836"/>
                    <a:pt x="1636" y="837"/>
                  </a:cubicBezTo>
                  <a:cubicBezTo>
                    <a:pt x="1636" y="837"/>
                    <a:pt x="1636" y="837"/>
                    <a:pt x="1636" y="837"/>
                  </a:cubicBezTo>
                  <a:cubicBezTo>
                    <a:pt x="1637" y="837"/>
                    <a:pt x="1637" y="837"/>
                    <a:pt x="1637" y="837"/>
                  </a:cubicBezTo>
                  <a:cubicBezTo>
                    <a:pt x="1637" y="837"/>
                    <a:pt x="1637" y="837"/>
                    <a:pt x="1638" y="837"/>
                  </a:cubicBezTo>
                  <a:cubicBezTo>
                    <a:pt x="1638" y="837"/>
                    <a:pt x="1638" y="837"/>
                    <a:pt x="1638" y="837"/>
                  </a:cubicBezTo>
                  <a:cubicBezTo>
                    <a:pt x="1638" y="838"/>
                    <a:pt x="1638" y="838"/>
                    <a:pt x="1638" y="838"/>
                  </a:cubicBezTo>
                  <a:cubicBezTo>
                    <a:pt x="1638" y="838"/>
                    <a:pt x="1638" y="838"/>
                    <a:pt x="1638" y="838"/>
                  </a:cubicBezTo>
                  <a:cubicBezTo>
                    <a:pt x="1640" y="838"/>
                    <a:pt x="1639" y="838"/>
                    <a:pt x="1641" y="839"/>
                  </a:cubicBezTo>
                  <a:cubicBezTo>
                    <a:pt x="1641" y="839"/>
                    <a:pt x="1641" y="839"/>
                    <a:pt x="1641" y="839"/>
                  </a:cubicBezTo>
                  <a:cubicBezTo>
                    <a:pt x="1641" y="839"/>
                    <a:pt x="1641" y="839"/>
                    <a:pt x="1641" y="839"/>
                  </a:cubicBezTo>
                  <a:cubicBezTo>
                    <a:pt x="1641" y="839"/>
                    <a:pt x="1641" y="839"/>
                    <a:pt x="1641" y="839"/>
                  </a:cubicBezTo>
                  <a:cubicBezTo>
                    <a:pt x="1641" y="839"/>
                    <a:pt x="1641" y="839"/>
                    <a:pt x="1641" y="839"/>
                  </a:cubicBezTo>
                  <a:cubicBezTo>
                    <a:pt x="1642" y="839"/>
                    <a:pt x="1642" y="839"/>
                    <a:pt x="1642" y="839"/>
                  </a:cubicBezTo>
                  <a:cubicBezTo>
                    <a:pt x="1642" y="839"/>
                    <a:pt x="1642" y="839"/>
                    <a:pt x="1642" y="839"/>
                  </a:cubicBezTo>
                  <a:cubicBezTo>
                    <a:pt x="1643" y="840"/>
                    <a:pt x="1644" y="839"/>
                    <a:pt x="1645" y="839"/>
                  </a:cubicBezTo>
                  <a:cubicBezTo>
                    <a:pt x="1645" y="839"/>
                    <a:pt x="1645" y="839"/>
                    <a:pt x="1645" y="839"/>
                  </a:cubicBezTo>
                  <a:cubicBezTo>
                    <a:pt x="1645" y="839"/>
                    <a:pt x="1645" y="839"/>
                    <a:pt x="1645" y="839"/>
                  </a:cubicBezTo>
                  <a:cubicBezTo>
                    <a:pt x="1645" y="839"/>
                    <a:pt x="1645" y="839"/>
                    <a:pt x="1645" y="839"/>
                  </a:cubicBezTo>
                  <a:cubicBezTo>
                    <a:pt x="1646" y="840"/>
                    <a:pt x="1646" y="840"/>
                    <a:pt x="1646" y="840"/>
                  </a:cubicBezTo>
                  <a:cubicBezTo>
                    <a:pt x="1646" y="840"/>
                    <a:pt x="1646" y="840"/>
                    <a:pt x="1646" y="840"/>
                  </a:cubicBezTo>
                  <a:cubicBezTo>
                    <a:pt x="1646" y="840"/>
                    <a:pt x="1646" y="840"/>
                    <a:pt x="1646" y="840"/>
                  </a:cubicBezTo>
                  <a:cubicBezTo>
                    <a:pt x="1647" y="840"/>
                    <a:pt x="1647" y="840"/>
                    <a:pt x="1647" y="841"/>
                  </a:cubicBezTo>
                  <a:cubicBezTo>
                    <a:pt x="1647" y="841"/>
                    <a:pt x="1647" y="841"/>
                    <a:pt x="1647" y="841"/>
                  </a:cubicBezTo>
                  <a:cubicBezTo>
                    <a:pt x="1647" y="841"/>
                    <a:pt x="1647" y="841"/>
                    <a:pt x="1647" y="841"/>
                  </a:cubicBezTo>
                  <a:cubicBezTo>
                    <a:pt x="1647" y="841"/>
                    <a:pt x="1647" y="841"/>
                    <a:pt x="1647" y="841"/>
                  </a:cubicBezTo>
                  <a:cubicBezTo>
                    <a:pt x="1648" y="841"/>
                    <a:pt x="1648" y="841"/>
                    <a:pt x="1648" y="841"/>
                  </a:cubicBezTo>
                  <a:cubicBezTo>
                    <a:pt x="1648" y="841"/>
                    <a:pt x="1648" y="841"/>
                    <a:pt x="1648" y="841"/>
                  </a:cubicBezTo>
                  <a:cubicBezTo>
                    <a:pt x="1648" y="842"/>
                    <a:pt x="1649" y="843"/>
                    <a:pt x="1650" y="843"/>
                  </a:cubicBezTo>
                  <a:cubicBezTo>
                    <a:pt x="1650" y="843"/>
                    <a:pt x="1650" y="843"/>
                    <a:pt x="1650" y="843"/>
                  </a:cubicBezTo>
                  <a:cubicBezTo>
                    <a:pt x="1650" y="843"/>
                    <a:pt x="1650" y="843"/>
                    <a:pt x="1650" y="843"/>
                  </a:cubicBezTo>
                  <a:cubicBezTo>
                    <a:pt x="1650" y="843"/>
                    <a:pt x="1650" y="843"/>
                    <a:pt x="1650" y="843"/>
                  </a:cubicBezTo>
                  <a:cubicBezTo>
                    <a:pt x="1651" y="843"/>
                    <a:pt x="1651" y="843"/>
                    <a:pt x="1651" y="843"/>
                  </a:cubicBezTo>
                  <a:cubicBezTo>
                    <a:pt x="1652" y="843"/>
                    <a:pt x="1652" y="843"/>
                    <a:pt x="1652" y="843"/>
                  </a:cubicBezTo>
                  <a:cubicBezTo>
                    <a:pt x="1653" y="842"/>
                    <a:pt x="1653" y="842"/>
                    <a:pt x="1653" y="842"/>
                  </a:cubicBezTo>
                  <a:cubicBezTo>
                    <a:pt x="1656" y="840"/>
                    <a:pt x="1656" y="840"/>
                    <a:pt x="1656" y="840"/>
                  </a:cubicBezTo>
                  <a:cubicBezTo>
                    <a:pt x="1657" y="839"/>
                    <a:pt x="1657" y="839"/>
                    <a:pt x="1657" y="839"/>
                  </a:cubicBezTo>
                  <a:cubicBezTo>
                    <a:pt x="1658" y="838"/>
                    <a:pt x="1658" y="838"/>
                    <a:pt x="1658" y="838"/>
                  </a:cubicBezTo>
                  <a:cubicBezTo>
                    <a:pt x="1658" y="838"/>
                    <a:pt x="1658" y="838"/>
                    <a:pt x="1658" y="838"/>
                  </a:cubicBezTo>
                  <a:cubicBezTo>
                    <a:pt x="1658" y="838"/>
                    <a:pt x="1658" y="838"/>
                    <a:pt x="1658" y="838"/>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8" y="837"/>
                    <a:pt x="1658" y="837"/>
                    <a:pt x="1658" y="837"/>
                  </a:cubicBezTo>
                  <a:cubicBezTo>
                    <a:pt x="1659" y="837"/>
                    <a:pt x="1659" y="837"/>
                    <a:pt x="1659" y="837"/>
                  </a:cubicBezTo>
                  <a:cubicBezTo>
                    <a:pt x="1659" y="836"/>
                    <a:pt x="1659" y="836"/>
                    <a:pt x="1659" y="836"/>
                  </a:cubicBezTo>
                  <a:cubicBezTo>
                    <a:pt x="1659" y="836"/>
                    <a:pt x="1659" y="836"/>
                    <a:pt x="1659" y="836"/>
                  </a:cubicBezTo>
                  <a:cubicBezTo>
                    <a:pt x="1659" y="836"/>
                    <a:pt x="1659" y="836"/>
                    <a:pt x="1659" y="836"/>
                  </a:cubicBezTo>
                  <a:cubicBezTo>
                    <a:pt x="1659" y="836"/>
                    <a:pt x="1659" y="836"/>
                    <a:pt x="1659" y="836"/>
                  </a:cubicBezTo>
                  <a:cubicBezTo>
                    <a:pt x="1659" y="836"/>
                    <a:pt x="1660" y="836"/>
                    <a:pt x="1660" y="835"/>
                  </a:cubicBezTo>
                  <a:cubicBezTo>
                    <a:pt x="1660" y="835"/>
                    <a:pt x="1660" y="835"/>
                    <a:pt x="1660" y="835"/>
                  </a:cubicBezTo>
                  <a:cubicBezTo>
                    <a:pt x="1660" y="835"/>
                    <a:pt x="1660" y="835"/>
                    <a:pt x="1660" y="835"/>
                  </a:cubicBezTo>
                  <a:cubicBezTo>
                    <a:pt x="1660" y="835"/>
                    <a:pt x="1660" y="834"/>
                    <a:pt x="1661" y="834"/>
                  </a:cubicBezTo>
                  <a:cubicBezTo>
                    <a:pt x="1661" y="834"/>
                    <a:pt x="1661" y="834"/>
                    <a:pt x="1661" y="834"/>
                  </a:cubicBezTo>
                  <a:cubicBezTo>
                    <a:pt x="1661" y="834"/>
                    <a:pt x="1661" y="834"/>
                    <a:pt x="1661" y="834"/>
                  </a:cubicBezTo>
                  <a:cubicBezTo>
                    <a:pt x="1661" y="834"/>
                    <a:pt x="1661" y="834"/>
                    <a:pt x="1661" y="834"/>
                  </a:cubicBezTo>
                  <a:cubicBezTo>
                    <a:pt x="1661" y="833"/>
                    <a:pt x="1661" y="833"/>
                    <a:pt x="1662" y="831"/>
                  </a:cubicBezTo>
                  <a:cubicBezTo>
                    <a:pt x="1662" y="831"/>
                    <a:pt x="1662" y="831"/>
                    <a:pt x="1662" y="831"/>
                  </a:cubicBezTo>
                  <a:cubicBezTo>
                    <a:pt x="1662" y="831"/>
                    <a:pt x="1662" y="831"/>
                    <a:pt x="1662" y="831"/>
                  </a:cubicBezTo>
                  <a:cubicBezTo>
                    <a:pt x="1662" y="831"/>
                    <a:pt x="1662" y="831"/>
                    <a:pt x="1662" y="831"/>
                  </a:cubicBezTo>
                  <a:cubicBezTo>
                    <a:pt x="1662" y="831"/>
                    <a:pt x="1662" y="831"/>
                    <a:pt x="1662" y="831"/>
                  </a:cubicBezTo>
                  <a:cubicBezTo>
                    <a:pt x="1662" y="831"/>
                    <a:pt x="1662" y="831"/>
                    <a:pt x="1662" y="831"/>
                  </a:cubicBezTo>
                  <a:cubicBezTo>
                    <a:pt x="1662" y="830"/>
                    <a:pt x="1662" y="830"/>
                    <a:pt x="1662" y="830"/>
                  </a:cubicBezTo>
                  <a:cubicBezTo>
                    <a:pt x="1662" y="830"/>
                    <a:pt x="1662" y="830"/>
                    <a:pt x="1662" y="830"/>
                  </a:cubicBezTo>
                  <a:cubicBezTo>
                    <a:pt x="1663" y="830"/>
                    <a:pt x="1663" y="830"/>
                    <a:pt x="1663" y="830"/>
                  </a:cubicBezTo>
                  <a:cubicBezTo>
                    <a:pt x="1663" y="830"/>
                    <a:pt x="1663" y="830"/>
                    <a:pt x="1663" y="830"/>
                  </a:cubicBezTo>
                  <a:cubicBezTo>
                    <a:pt x="1664" y="829"/>
                    <a:pt x="1664" y="829"/>
                    <a:pt x="1664" y="829"/>
                  </a:cubicBezTo>
                  <a:cubicBezTo>
                    <a:pt x="1665" y="829"/>
                    <a:pt x="1665" y="829"/>
                    <a:pt x="1665" y="829"/>
                  </a:cubicBezTo>
                  <a:cubicBezTo>
                    <a:pt x="1665" y="829"/>
                    <a:pt x="1665" y="829"/>
                    <a:pt x="1665" y="829"/>
                  </a:cubicBezTo>
                  <a:cubicBezTo>
                    <a:pt x="1665" y="828"/>
                    <a:pt x="1665" y="828"/>
                    <a:pt x="1665" y="828"/>
                  </a:cubicBezTo>
                  <a:cubicBezTo>
                    <a:pt x="1665" y="828"/>
                    <a:pt x="1665" y="828"/>
                    <a:pt x="1665" y="827"/>
                  </a:cubicBezTo>
                  <a:cubicBezTo>
                    <a:pt x="1665" y="827"/>
                    <a:pt x="1665" y="827"/>
                    <a:pt x="1665" y="827"/>
                  </a:cubicBezTo>
                  <a:cubicBezTo>
                    <a:pt x="1665" y="827"/>
                    <a:pt x="1665" y="827"/>
                    <a:pt x="1665" y="827"/>
                  </a:cubicBezTo>
                  <a:cubicBezTo>
                    <a:pt x="1666" y="827"/>
                    <a:pt x="1666" y="827"/>
                    <a:pt x="1666" y="827"/>
                  </a:cubicBezTo>
                  <a:cubicBezTo>
                    <a:pt x="1666" y="827"/>
                    <a:pt x="1666" y="827"/>
                    <a:pt x="1666" y="827"/>
                  </a:cubicBezTo>
                  <a:cubicBezTo>
                    <a:pt x="1666" y="826"/>
                    <a:pt x="1666" y="826"/>
                    <a:pt x="1666" y="826"/>
                  </a:cubicBezTo>
                  <a:cubicBezTo>
                    <a:pt x="1666" y="826"/>
                    <a:pt x="1666" y="826"/>
                    <a:pt x="1666" y="826"/>
                  </a:cubicBezTo>
                  <a:cubicBezTo>
                    <a:pt x="1666" y="825"/>
                    <a:pt x="1666" y="825"/>
                    <a:pt x="1666" y="825"/>
                  </a:cubicBezTo>
                  <a:cubicBezTo>
                    <a:pt x="1666" y="825"/>
                    <a:pt x="1666" y="825"/>
                    <a:pt x="1666" y="825"/>
                  </a:cubicBezTo>
                  <a:cubicBezTo>
                    <a:pt x="1667" y="824"/>
                    <a:pt x="1667" y="824"/>
                    <a:pt x="1667" y="824"/>
                  </a:cubicBezTo>
                  <a:cubicBezTo>
                    <a:pt x="1667" y="824"/>
                    <a:pt x="1667" y="824"/>
                    <a:pt x="1667" y="824"/>
                  </a:cubicBezTo>
                  <a:cubicBezTo>
                    <a:pt x="1668" y="824"/>
                    <a:pt x="1668" y="824"/>
                    <a:pt x="1668" y="824"/>
                  </a:cubicBezTo>
                  <a:cubicBezTo>
                    <a:pt x="1668" y="824"/>
                    <a:pt x="1668" y="824"/>
                    <a:pt x="1668" y="824"/>
                  </a:cubicBezTo>
                  <a:cubicBezTo>
                    <a:pt x="1669" y="823"/>
                    <a:pt x="1669" y="823"/>
                    <a:pt x="1669" y="823"/>
                  </a:cubicBezTo>
                  <a:cubicBezTo>
                    <a:pt x="1669" y="823"/>
                    <a:pt x="1669" y="823"/>
                    <a:pt x="1669" y="823"/>
                  </a:cubicBezTo>
                  <a:cubicBezTo>
                    <a:pt x="1669" y="823"/>
                    <a:pt x="1669" y="823"/>
                    <a:pt x="1669" y="823"/>
                  </a:cubicBezTo>
                  <a:cubicBezTo>
                    <a:pt x="1670" y="823"/>
                    <a:pt x="1670" y="822"/>
                    <a:pt x="1672" y="822"/>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2" y="821"/>
                    <a:pt x="1672" y="821"/>
                    <a:pt x="1672" y="821"/>
                  </a:cubicBezTo>
                  <a:cubicBezTo>
                    <a:pt x="1673" y="820"/>
                    <a:pt x="1673" y="820"/>
                    <a:pt x="1673" y="820"/>
                  </a:cubicBezTo>
                  <a:cubicBezTo>
                    <a:pt x="1673" y="820"/>
                    <a:pt x="1673" y="820"/>
                    <a:pt x="1673" y="820"/>
                  </a:cubicBezTo>
                  <a:cubicBezTo>
                    <a:pt x="1674" y="820"/>
                    <a:pt x="1674" y="820"/>
                    <a:pt x="1674" y="820"/>
                  </a:cubicBezTo>
                  <a:cubicBezTo>
                    <a:pt x="1675" y="820"/>
                    <a:pt x="1675" y="820"/>
                    <a:pt x="1675" y="820"/>
                  </a:cubicBezTo>
                  <a:cubicBezTo>
                    <a:pt x="1675" y="819"/>
                    <a:pt x="1675" y="819"/>
                    <a:pt x="1675" y="819"/>
                  </a:cubicBezTo>
                  <a:cubicBezTo>
                    <a:pt x="1675" y="819"/>
                    <a:pt x="1675" y="819"/>
                    <a:pt x="1675" y="819"/>
                  </a:cubicBezTo>
                  <a:cubicBezTo>
                    <a:pt x="1675" y="819"/>
                    <a:pt x="1675" y="819"/>
                    <a:pt x="1675" y="819"/>
                  </a:cubicBezTo>
                  <a:cubicBezTo>
                    <a:pt x="1676" y="819"/>
                    <a:pt x="1676" y="819"/>
                    <a:pt x="1676" y="819"/>
                  </a:cubicBezTo>
                  <a:cubicBezTo>
                    <a:pt x="1676" y="819"/>
                    <a:pt x="1676" y="819"/>
                    <a:pt x="1676" y="819"/>
                  </a:cubicBezTo>
                  <a:cubicBezTo>
                    <a:pt x="1676" y="818"/>
                    <a:pt x="1676" y="818"/>
                    <a:pt x="1676" y="818"/>
                  </a:cubicBezTo>
                  <a:cubicBezTo>
                    <a:pt x="1676" y="818"/>
                    <a:pt x="1676" y="818"/>
                    <a:pt x="1676" y="818"/>
                  </a:cubicBezTo>
                  <a:cubicBezTo>
                    <a:pt x="1676" y="818"/>
                    <a:pt x="1676" y="818"/>
                    <a:pt x="1676" y="818"/>
                  </a:cubicBezTo>
                  <a:cubicBezTo>
                    <a:pt x="1676" y="818"/>
                    <a:pt x="1676" y="818"/>
                    <a:pt x="1676" y="818"/>
                  </a:cubicBezTo>
                  <a:cubicBezTo>
                    <a:pt x="1676" y="818"/>
                    <a:pt x="1676" y="818"/>
                    <a:pt x="1676" y="818"/>
                  </a:cubicBezTo>
                  <a:cubicBezTo>
                    <a:pt x="1676" y="817"/>
                    <a:pt x="1677" y="816"/>
                    <a:pt x="1677" y="816"/>
                  </a:cubicBezTo>
                  <a:cubicBezTo>
                    <a:pt x="1677" y="816"/>
                    <a:pt x="1677" y="816"/>
                    <a:pt x="1677" y="816"/>
                  </a:cubicBezTo>
                  <a:cubicBezTo>
                    <a:pt x="1678" y="816"/>
                    <a:pt x="1678" y="816"/>
                    <a:pt x="1678" y="816"/>
                  </a:cubicBezTo>
                  <a:cubicBezTo>
                    <a:pt x="1678" y="816"/>
                    <a:pt x="1678" y="816"/>
                    <a:pt x="1678" y="816"/>
                  </a:cubicBezTo>
                  <a:cubicBezTo>
                    <a:pt x="1679" y="815"/>
                    <a:pt x="1681" y="815"/>
                    <a:pt x="1681" y="814"/>
                  </a:cubicBezTo>
                  <a:cubicBezTo>
                    <a:pt x="1681" y="814"/>
                    <a:pt x="1681" y="814"/>
                    <a:pt x="1681" y="814"/>
                  </a:cubicBezTo>
                  <a:cubicBezTo>
                    <a:pt x="1681" y="814"/>
                    <a:pt x="1681" y="814"/>
                    <a:pt x="1681" y="814"/>
                  </a:cubicBezTo>
                  <a:cubicBezTo>
                    <a:pt x="1681" y="814"/>
                    <a:pt x="1681" y="814"/>
                    <a:pt x="1681" y="814"/>
                  </a:cubicBezTo>
                  <a:cubicBezTo>
                    <a:pt x="1682" y="814"/>
                    <a:pt x="1682" y="814"/>
                    <a:pt x="1682" y="814"/>
                  </a:cubicBezTo>
                  <a:cubicBezTo>
                    <a:pt x="1682" y="814"/>
                    <a:pt x="1682" y="814"/>
                    <a:pt x="1682" y="814"/>
                  </a:cubicBezTo>
                  <a:cubicBezTo>
                    <a:pt x="1682" y="814"/>
                    <a:pt x="1682" y="814"/>
                    <a:pt x="1682" y="814"/>
                  </a:cubicBezTo>
                  <a:cubicBezTo>
                    <a:pt x="1682" y="815"/>
                    <a:pt x="1682" y="815"/>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1" y="816"/>
                    <a:pt x="1681" y="816"/>
                    <a:pt x="1681" y="816"/>
                  </a:cubicBezTo>
                  <a:cubicBezTo>
                    <a:pt x="1682" y="815"/>
                    <a:pt x="1682" y="815"/>
                    <a:pt x="1682" y="815"/>
                  </a:cubicBezTo>
                  <a:cubicBezTo>
                    <a:pt x="1684" y="812"/>
                    <a:pt x="1683" y="812"/>
                    <a:pt x="1687" y="811"/>
                  </a:cubicBezTo>
                  <a:cubicBezTo>
                    <a:pt x="1687" y="811"/>
                    <a:pt x="1687" y="811"/>
                    <a:pt x="1687" y="811"/>
                  </a:cubicBezTo>
                  <a:cubicBezTo>
                    <a:pt x="1688" y="810"/>
                    <a:pt x="1688" y="810"/>
                    <a:pt x="1688" y="810"/>
                  </a:cubicBezTo>
                  <a:cubicBezTo>
                    <a:pt x="1688" y="810"/>
                    <a:pt x="1688" y="810"/>
                    <a:pt x="1688" y="809"/>
                  </a:cubicBezTo>
                  <a:cubicBezTo>
                    <a:pt x="1691" y="809"/>
                    <a:pt x="1691" y="809"/>
                    <a:pt x="1691" y="809"/>
                  </a:cubicBezTo>
                  <a:cubicBezTo>
                    <a:pt x="1694" y="808"/>
                    <a:pt x="1694" y="808"/>
                    <a:pt x="1694" y="808"/>
                  </a:cubicBezTo>
                  <a:cubicBezTo>
                    <a:pt x="1703" y="805"/>
                    <a:pt x="1703" y="805"/>
                    <a:pt x="1703" y="805"/>
                  </a:cubicBezTo>
                  <a:cubicBezTo>
                    <a:pt x="1707" y="804"/>
                    <a:pt x="1707" y="804"/>
                    <a:pt x="1707" y="804"/>
                  </a:cubicBezTo>
                  <a:cubicBezTo>
                    <a:pt x="1709" y="804"/>
                    <a:pt x="1709" y="804"/>
                    <a:pt x="1709" y="804"/>
                  </a:cubicBezTo>
                  <a:cubicBezTo>
                    <a:pt x="1709" y="804"/>
                    <a:pt x="1709" y="804"/>
                    <a:pt x="1709" y="804"/>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3"/>
                    <a:pt x="1709" y="803"/>
                    <a:pt x="1709" y="803"/>
                  </a:cubicBezTo>
                  <a:cubicBezTo>
                    <a:pt x="1709" y="802"/>
                    <a:pt x="1709" y="802"/>
                    <a:pt x="1709" y="802"/>
                  </a:cubicBezTo>
                  <a:cubicBezTo>
                    <a:pt x="1709" y="802"/>
                    <a:pt x="1709" y="802"/>
                    <a:pt x="1709" y="802"/>
                  </a:cubicBezTo>
                  <a:cubicBezTo>
                    <a:pt x="1709" y="802"/>
                    <a:pt x="1709" y="802"/>
                    <a:pt x="1709" y="802"/>
                  </a:cubicBezTo>
                  <a:cubicBezTo>
                    <a:pt x="1709" y="802"/>
                    <a:pt x="1709" y="802"/>
                    <a:pt x="1709" y="802"/>
                  </a:cubicBezTo>
                  <a:cubicBezTo>
                    <a:pt x="1709" y="801"/>
                    <a:pt x="1709" y="801"/>
                    <a:pt x="1709" y="801"/>
                  </a:cubicBezTo>
                  <a:cubicBezTo>
                    <a:pt x="1709" y="801"/>
                    <a:pt x="1709" y="801"/>
                    <a:pt x="1709" y="801"/>
                  </a:cubicBezTo>
                  <a:cubicBezTo>
                    <a:pt x="1708" y="800"/>
                    <a:pt x="1709" y="799"/>
                    <a:pt x="1709" y="799"/>
                  </a:cubicBezTo>
                  <a:cubicBezTo>
                    <a:pt x="1709" y="799"/>
                    <a:pt x="1709" y="799"/>
                    <a:pt x="1709" y="799"/>
                  </a:cubicBezTo>
                  <a:cubicBezTo>
                    <a:pt x="1709" y="798"/>
                    <a:pt x="1709" y="798"/>
                    <a:pt x="1709" y="798"/>
                  </a:cubicBezTo>
                  <a:cubicBezTo>
                    <a:pt x="1710" y="797"/>
                    <a:pt x="1711" y="798"/>
                    <a:pt x="1710" y="796"/>
                  </a:cubicBezTo>
                  <a:cubicBezTo>
                    <a:pt x="1710" y="796"/>
                    <a:pt x="1710" y="796"/>
                    <a:pt x="1710" y="796"/>
                  </a:cubicBezTo>
                  <a:cubicBezTo>
                    <a:pt x="1710" y="796"/>
                    <a:pt x="1710" y="796"/>
                    <a:pt x="1710" y="796"/>
                  </a:cubicBezTo>
                  <a:cubicBezTo>
                    <a:pt x="1710" y="796"/>
                    <a:pt x="1710" y="796"/>
                    <a:pt x="1710" y="796"/>
                  </a:cubicBezTo>
                  <a:cubicBezTo>
                    <a:pt x="1710" y="796"/>
                    <a:pt x="1710" y="796"/>
                    <a:pt x="1710" y="796"/>
                  </a:cubicBezTo>
                  <a:cubicBezTo>
                    <a:pt x="1710" y="795"/>
                    <a:pt x="1710" y="795"/>
                    <a:pt x="1710" y="795"/>
                  </a:cubicBezTo>
                  <a:cubicBezTo>
                    <a:pt x="1710" y="795"/>
                    <a:pt x="1710" y="795"/>
                    <a:pt x="1710" y="795"/>
                  </a:cubicBezTo>
                  <a:cubicBezTo>
                    <a:pt x="1710" y="794"/>
                    <a:pt x="1710" y="793"/>
                    <a:pt x="1711" y="793"/>
                  </a:cubicBezTo>
                  <a:cubicBezTo>
                    <a:pt x="1711" y="793"/>
                    <a:pt x="1711" y="793"/>
                    <a:pt x="1711" y="793"/>
                  </a:cubicBezTo>
                  <a:cubicBezTo>
                    <a:pt x="1711" y="792"/>
                    <a:pt x="1711" y="792"/>
                    <a:pt x="1711" y="792"/>
                  </a:cubicBezTo>
                  <a:cubicBezTo>
                    <a:pt x="1712" y="792"/>
                    <a:pt x="1712" y="792"/>
                    <a:pt x="1712" y="792"/>
                  </a:cubicBezTo>
                  <a:cubicBezTo>
                    <a:pt x="1712" y="792"/>
                    <a:pt x="1714" y="791"/>
                    <a:pt x="1714" y="791"/>
                  </a:cubicBezTo>
                  <a:cubicBezTo>
                    <a:pt x="1714" y="791"/>
                    <a:pt x="1714" y="791"/>
                    <a:pt x="1714" y="791"/>
                  </a:cubicBezTo>
                  <a:cubicBezTo>
                    <a:pt x="1714" y="791"/>
                    <a:pt x="1714" y="791"/>
                    <a:pt x="1714" y="791"/>
                  </a:cubicBezTo>
                  <a:cubicBezTo>
                    <a:pt x="1715" y="790"/>
                    <a:pt x="1715" y="790"/>
                    <a:pt x="1715" y="790"/>
                  </a:cubicBezTo>
                  <a:cubicBezTo>
                    <a:pt x="1715" y="790"/>
                    <a:pt x="1715" y="790"/>
                    <a:pt x="1715" y="790"/>
                  </a:cubicBezTo>
                  <a:cubicBezTo>
                    <a:pt x="1715" y="790"/>
                    <a:pt x="1715" y="790"/>
                    <a:pt x="1715" y="790"/>
                  </a:cubicBezTo>
                  <a:cubicBezTo>
                    <a:pt x="1715" y="789"/>
                    <a:pt x="1715" y="789"/>
                    <a:pt x="1715" y="789"/>
                  </a:cubicBezTo>
                  <a:cubicBezTo>
                    <a:pt x="1715" y="789"/>
                    <a:pt x="1715" y="789"/>
                    <a:pt x="1715" y="789"/>
                  </a:cubicBezTo>
                  <a:cubicBezTo>
                    <a:pt x="1715" y="789"/>
                    <a:pt x="1715" y="789"/>
                    <a:pt x="1715" y="789"/>
                  </a:cubicBezTo>
                  <a:cubicBezTo>
                    <a:pt x="1715" y="788"/>
                    <a:pt x="1716" y="788"/>
                    <a:pt x="1716" y="787"/>
                  </a:cubicBezTo>
                  <a:cubicBezTo>
                    <a:pt x="1717" y="787"/>
                    <a:pt x="1717" y="787"/>
                    <a:pt x="1717" y="787"/>
                  </a:cubicBezTo>
                  <a:cubicBezTo>
                    <a:pt x="1718" y="787"/>
                    <a:pt x="1718" y="787"/>
                    <a:pt x="1718" y="787"/>
                  </a:cubicBezTo>
                  <a:cubicBezTo>
                    <a:pt x="1722" y="785"/>
                    <a:pt x="1720" y="785"/>
                    <a:pt x="1722" y="783"/>
                  </a:cubicBezTo>
                  <a:cubicBezTo>
                    <a:pt x="1722" y="783"/>
                    <a:pt x="1722" y="783"/>
                    <a:pt x="1722" y="783"/>
                  </a:cubicBezTo>
                  <a:cubicBezTo>
                    <a:pt x="1722" y="783"/>
                    <a:pt x="1722" y="783"/>
                    <a:pt x="1722" y="783"/>
                  </a:cubicBezTo>
                  <a:cubicBezTo>
                    <a:pt x="1723" y="783"/>
                    <a:pt x="1723" y="783"/>
                    <a:pt x="1723" y="783"/>
                  </a:cubicBezTo>
                  <a:cubicBezTo>
                    <a:pt x="1723" y="783"/>
                    <a:pt x="1723" y="783"/>
                    <a:pt x="1723" y="783"/>
                  </a:cubicBezTo>
                  <a:cubicBezTo>
                    <a:pt x="1723" y="783"/>
                    <a:pt x="1723" y="783"/>
                    <a:pt x="1723" y="783"/>
                  </a:cubicBezTo>
                  <a:cubicBezTo>
                    <a:pt x="1723" y="783"/>
                    <a:pt x="1723" y="783"/>
                    <a:pt x="1723" y="783"/>
                  </a:cubicBezTo>
                  <a:cubicBezTo>
                    <a:pt x="1723" y="783"/>
                    <a:pt x="1723" y="783"/>
                    <a:pt x="1723" y="783"/>
                  </a:cubicBezTo>
                  <a:cubicBezTo>
                    <a:pt x="1723" y="782"/>
                    <a:pt x="1723" y="782"/>
                    <a:pt x="1723" y="782"/>
                  </a:cubicBezTo>
                  <a:cubicBezTo>
                    <a:pt x="1723" y="782"/>
                    <a:pt x="1723" y="782"/>
                    <a:pt x="1723" y="782"/>
                  </a:cubicBezTo>
                  <a:cubicBezTo>
                    <a:pt x="1723" y="782"/>
                    <a:pt x="1724" y="781"/>
                    <a:pt x="1725" y="781"/>
                  </a:cubicBezTo>
                  <a:cubicBezTo>
                    <a:pt x="1725" y="781"/>
                    <a:pt x="1725" y="781"/>
                    <a:pt x="1725" y="781"/>
                  </a:cubicBezTo>
                  <a:cubicBezTo>
                    <a:pt x="1725" y="781"/>
                    <a:pt x="1725" y="781"/>
                    <a:pt x="1725" y="781"/>
                  </a:cubicBezTo>
                  <a:cubicBezTo>
                    <a:pt x="1725" y="780"/>
                    <a:pt x="1726" y="780"/>
                    <a:pt x="1726" y="780"/>
                  </a:cubicBezTo>
                  <a:cubicBezTo>
                    <a:pt x="1726" y="780"/>
                    <a:pt x="1726" y="780"/>
                    <a:pt x="1726" y="780"/>
                  </a:cubicBezTo>
                  <a:cubicBezTo>
                    <a:pt x="1726" y="780"/>
                    <a:pt x="1726" y="780"/>
                    <a:pt x="1726" y="780"/>
                  </a:cubicBezTo>
                  <a:cubicBezTo>
                    <a:pt x="1726" y="780"/>
                    <a:pt x="1726" y="780"/>
                    <a:pt x="1726" y="780"/>
                  </a:cubicBezTo>
                  <a:cubicBezTo>
                    <a:pt x="1726" y="780"/>
                    <a:pt x="1726" y="780"/>
                    <a:pt x="1726" y="780"/>
                  </a:cubicBezTo>
                  <a:cubicBezTo>
                    <a:pt x="1729" y="780"/>
                    <a:pt x="1731" y="781"/>
                    <a:pt x="1734" y="782"/>
                  </a:cubicBezTo>
                  <a:cubicBezTo>
                    <a:pt x="1734" y="782"/>
                    <a:pt x="1734" y="782"/>
                    <a:pt x="1734" y="782"/>
                  </a:cubicBezTo>
                  <a:cubicBezTo>
                    <a:pt x="1734" y="782"/>
                    <a:pt x="1734" y="782"/>
                    <a:pt x="1734" y="782"/>
                  </a:cubicBezTo>
                  <a:cubicBezTo>
                    <a:pt x="1734" y="782"/>
                    <a:pt x="1734" y="782"/>
                    <a:pt x="1734" y="782"/>
                  </a:cubicBezTo>
                  <a:cubicBezTo>
                    <a:pt x="1735" y="782"/>
                    <a:pt x="1735" y="782"/>
                    <a:pt x="1735" y="782"/>
                  </a:cubicBezTo>
                  <a:cubicBezTo>
                    <a:pt x="1735" y="782"/>
                    <a:pt x="1735" y="782"/>
                    <a:pt x="1735" y="782"/>
                  </a:cubicBezTo>
                  <a:cubicBezTo>
                    <a:pt x="1737" y="781"/>
                    <a:pt x="1737" y="781"/>
                    <a:pt x="1737" y="781"/>
                  </a:cubicBezTo>
                  <a:cubicBezTo>
                    <a:pt x="1741" y="781"/>
                    <a:pt x="1741" y="781"/>
                    <a:pt x="1741" y="781"/>
                  </a:cubicBezTo>
                  <a:cubicBezTo>
                    <a:pt x="1750" y="779"/>
                    <a:pt x="1750" y="779"/>
                    <a:pt x="1750" y="779"/>
                  </a:cubicBezTo>
                  <a:cubicBezTo>
                    <a:pt x="1754" y="779"/>
                    <a:pt x="1754" y="779"/>
                    <a:pt x="1754" y="779"/>
                  </a:cubicBezTo>
                  <a:cubicBezTo>
                    <a:pt x="1756" y="779"/>
                    <a:pt x="1756" y="779"/>
                    <a:pt x="1756" y="779"/>
                  </a:cubicBezTo>
                  <a:cubicBezTo>
                    <a:pt x="1756" y="779"/>
                    <a:pt x="1756" y="779"/>
                    <a:pt x="1756" y="779"/>
                  </a:cubicBezTo>
                  <a:cubicBezTo>
                    <a:pt x="1757" y="779"/>
                    <a:pt x="1757" y="779"/>
                    <a:pt x="1757" y="779"/>
                  </a:cubicBezTo>
                  <a:cubicBezTo>
                    <a:pt x="1758" y="778"/>
                    <a:pt x="1759" y="779"/>
                    <a:pt x="1761" y="779"/>
                  </a:cubicBezTo>
                  <a:cubicBezTo>
                    <a:pt x="1761" y="779"/>
                    <a:pt x="1761" y="779"/>
                    <a:pt x="1761" y="779"/>
                  </a:cubicBezTo>
                  <a:cubicBezTo>
                    <a:pt x="1761" y="779"/>
                    <a:pt x="1761" y="779"/>
                    <a:pt x="1761" y="779"/>
                  </a:cubicBezTo>
                  <a:cubicBezTo>
                    <a:pt x="1761" y="779"/>
                    <a:pt x="1761" y="779"/>
                    <a:pt x="1761" y="779"/>
                  </a:cubicBezTo>
                  <a:cubicBezTo>
                    <a:pt x="1762" y="779"/>
                    <a:pt x="1762" y="779"/>
                    <a:pt x="1763" y="779"/>
                  </a:cubicBezTo>
                  <a:cubicBezTo>
                    <a:pt x="1763" y="779"/>
                    <a:pt x="1763" y="779"/>
                    <a:pt x="1763" y="779"/>
                  </a:cubicBezTo>
                  <a:cubicBezTo>
                    <a:pt x="1763" y="779"/>
                    <a:pt x="1763" y="779"/>
                    <a:pt x="1763" y="779"/>
                  </a:cubicBezTo>
                  <a:cubicBezTo>
                    <a:pt x="1765" y="779"/>
                    <a:pt x="1766" y="779"/>
                    <a:pt x="1767" y="779"/>
                  </a:cubicBezTo>
                  <a:cubicBezTo>
                    <a:pt x="1768" y="779"/>
                    <a:pt x="1768" y="779"/>
                    <a:pt x="1768" y="779"/>
                  </a:cubicBezTo>
                  <a:cubicBezTo>
                    <a:pt x="1768" y="779"/>
                    <a:pt x="1768" y="779"/>
                    <a:pt x="1768" y="779"/>
                  </a:cubicBezTo>
                  <a:cubicBezTo>
                    <a:pt x="1768" y="779"/>
                    <a:pt x="1768" y="779"/>
                    <a:pt x="1768" y="779"/>
                  </a:cubicBezTo>
                  <a:cubicBezTo>
                    <a:pt x="1769" y="779"/>
                    <a:pt x="1769" y="779"/>
                    <a:pt x="1769" y="779"/>
                  </a:cubicBezTo>
                  <a:cubicBezTo>
                    <a:pt x="1770" y="779"/>
                    <a:pt x="1770" y="779"/>
                    <a:pt x="1770" y="779"/>
                  </a:cubicBezTo>
                  <a:cubicBezTo>
                    <a:pt x="1773" y="779"/>
                    <a:pt x="1773" y="779"/>
                    <a:pt x="1773" y="779"/>
                  </a:cubicBezTo>
                  <a:cubicBezTo>
                    <a:pt x="1774" y="778"/>
                    <a:pt x="1774" y="778"/>
                    <a:pt x="1774" y="778"/>
                  </a:cubicBezTo>
                  <a:cubicBezTo>
                    <a:pt x="1775" y="778"/>
                    <a:pt x="1775" y="778"/>
                    <a:pt x="1775" y="778"/>
                  </a:cubicBezTo>
                  <a:cubicBezTo>
                    <a:pt x="1775" y="779"/>
                    <a:pt x="1775" y="779"/>
                    <a:pt x="1775" y="779"/>
                  </a:cubicBezTo>
                  <a:cubicBezTo>
                    <a:pt x="1775" y="779"/>
                    <a:pt x="1775" y="779"/>
                    <a:pt x="1775" y="779"/>
                  </a:cubicBezTo>
                  <a:cubicBezTo>
                    <a:pt x="1775" y="779"/>
                    <a:pt x="1775" y="779"/>
                    <a:pt x="1775" y="779"/>
                  </a:cubicBezTo>
                  <a:cubicBezTo>
                    <a:pt x="1776" y="779"/>
                    <a:pt x="1776" y="779"/>
                    <a:pt x="1776" y="779"/>
                  </a:cubicBezTo>
                  <a:cubicBezTo>
                    <a:pt x="1776" y="779"/>
                    <a:pt x="1776" y="779"/>
                    <a:pt x="1776" y="779"/>
                  </a:cubicBezTo>
                  <a:cubicBezTo>
                    <a:pt x="1776" y="779"/>
                    <a:pt x="1776" y="779"/>
                    <a:pt x="1776" y="779"/>
                  </a:cubicBezTo>
                  <a:cubicBezTo>
                    <a:pt x="1776" y="779"/>
                    <a:pt x="1777" y="779"/>
                    <a:pt x="1777" y="779"/>
                  </a:cubicBezTo>
                  <a:cubicBezTo>
                    <a:pt x="1777" y="779"/>
                    <a:pt x="1777" y="779"/>
                    <a:pt x="1777" y="779"/>
                  </a:cubicBezTo>
                  <a:cubicBezTo>
                    <a:pt x="1775" y="779"/>
                    <a:pt x="1773" y="779"/>
                    <a:pt x="1772" y="779"/>
                  </a:cubicBezTo>
                  <a:cubicBezTo>
                    <a:pt x="1775" y="781"/>
                    <a:pt x="1777" y="782"/>
                    <a:pt x="1781" y="783"/>
                  </a:cubicBezTo>
                  <a:cubicBezTo>
                    <a:pt x="1783" y="784"/>
                    <a:pt x="1784" y="784"/>
                    <a:pt x="1785" y="785"/>
                  </a:cubicBezTo>
                  <a:cubicBezTo>
                    <a:pt x="1787" y="786"/>
                    <a:pt x="1789" y="787"/>
                    <a:pt x="1791" y="788"/>
                  </a:cubicBezTo>
                  <a:cubicBezTo>
                    <a:pt x="1792" y="790"/>
                    <a:pt x="1792" y="793"/>
                    <a:pt x="1794" y="794"/>
                  </a:cubicBezTo>
                  <a:cubicBezTo>
                    <a:pt x="1795" y="794"/>
                    <a:pt x="1796" y="794"/>
                    <a:pt x="1797" y="795"/>
                  </a:cubicBezTo>
                  <a:cubicBezTo>
                    <a:pt x="1800" y="796"/>
                    <a:pt x="1802" y="797"/>
                    <a:pt x="1805" y="798"/>
                  </a:cubicBezTo>
                  <a:cubicBezTo>
                    <a:pt x="1808" y="799"/>
                    <a:pt x="1812" y="800"/>
                    <a:pt x="1816" y="801"/>
                  </a:cubicBezTo>
                  <a:cubicBezTo>
                    <a:pt x="1819" y="802"/>
                    <a:pt x="1825" y="803"/>
                    <a:pt x="1831" y="803"/>
                  </a:cubicBezTo>
                  <a:cubicBezTo>
                    <a:pt x="1831" y="803"/>
                    <a:pt x="1831" y="803"/>
                    <a:pt x="1831" y="803"/>
                  </a:cubicBezTo>
                  <a:cubicBezTo>
                    <a:pt x="1832" y="803"/>
                    <a:pt x="1833" y="803"/>
                    <a:pt x="1833" y="803"/>
                  </a:cubicBezTo>
                  <a:cubicBezTo>
                    <a:pt x="1834" y="803"/>
                    <a:pt x="1834" y="803"/>
                    <a:pt x="1835" y="802"/>
                  </a:cubicBezTo>
                  <a:cubicBezTo>
                    <a:pt x="1835" y="802"/>
                    <a:pt x="1835" y="802"/>
                    <a:pt x="1836" y="802"/>
                  </a:cubicBezTo>
                  <a:cubicBezTo>
                    <a:pt x="1836" y="802"/>
                    <a:pt x="1837" y="801"/>
                    <a:pt x="1838" y="801"/>
                  </a:cubicBezTo>
                  <a:cubicBezTo>
                    <a:pt x="1837" y="800"/>
                    <a:pt x="1837" y="800"/>
                    <a:pt x="1836" y="799"/>
                  </a:cubicBezTo>
                  <a:cubicBezTo>
                    <a:pt x="1835" y="797"/>
                    <a:pt x="1834" y="796"/>
                    <a:pt x="1832" y="795"/>
                  </a:cubicBezTo>
                  <a:cubicBezTo>
                    <a:pt x="1832" y="794"/>
                    <a:pt x="1831" y="794"/>
                    <a:pt x="1831" y="794"/>
                  </a:cubicBezTo>
                  <a:cubicBezTo>
                    <a:pt x="1831" y="794"/>
                    <a:pt x="1830" y="794"/>
                    <a:pt x="1830" y="794"/>
                  </a:cubicBezTo>
                  <a:cubicBezTo>
                    <a:pt x="1828" y="793"/>
                    <a:pt x="1827" y="793"/>
                    <a:pt x="1825" y="792"/>
                  </a:cubicBezTo>
                  <a:cubicBezTo>
                    <a:pt x="1825" y="792"/>
                    <a:pt x="1825" y="792"/>
                    <a:pt x="1824" y="791"/>
                  </a:cubicBezTo>
                  <a:cubicBezTo>
                    <a:pt x="1824" y="791"/>
                    <a:pt x="1823" y="791"/>
                    <a:pt x="1823" y="791"/>
                  </a:cubicBezTo>
                  <a:cubicBezTo>
                    <a:pt x="1823" y="791"/>
                    <a:pt x="1822" y="791"/>
                    <a:pt x="1822" y="791"/>
                  </a:cubicBezTo>
                  <a:cubicBezTo>
                    <a:pt x="1821" y="790"/>
                    <a:pt x="1820" y="789"/>
                    <a:pt x="1819" y="788"/>
                  </a:cubicBezTo>
                  <a:cubicBezTo>
                    <a:pt x="1818" y="788"/>
                    <a:pt x="1818" y="787"/>
                    <a:pt x="1817" y="787"/>
                  </a:cubicBezTo>
                  <a:cubicBezTo>
                    <a:pt x="1815" y="786"/>
                    <a:pt x="1811" y="785"/>
                    <a:pt x="1808" y="784"/>
                  </a:cubicBezTo>
                  <a:cubicBezTo>
                    <a:pt x="1806" y="783"/>
                    <a:pt x="1804" y="782"/>
                    <a:pt x="1801" y="781"/>
                  </a:cubicBezTo>
                  <a:cubicBezTo>
                    <a:pt x="1805" y="781"/>
                    <a:pt x="1810" y="779"/>
                    <a:pt x="1814" y="779"/>
                  </a:cubicBezTo>
                  <a:cubicBezTo>
                    <a:pt x="1816" y="779"/>
                    <a:pt x="1818" y="780"/>
                    <a:pt x="1820" y="780"/>
                  </a:cubicBezTo>
                  <a:cubicBezTo>
                    <a:pt x="1823" y="780"/>
                    <a:pt x="1825" y="780"/>
                    <a:pt x="1827" y="780"/>
                  </a:cubicBezTo>
                  <a:cubicBezTo>
                    <a:pt x="1829" y="781"/>
                    <a:pt x="1832" y="780"/>
                    <a:pt x="1834" y="781"/>
                  </a:cubicBezTo>
                  <a:cubicBezTo>
                    <a:pt x="1836" y="783"/>
                    <a:pt x="1834" y="784"/>
                    <a:pt x="1839" y="783"/>
                  </a:cubicBezTo>
                  <a:cubicBezTo>
                    <a:pt x="1837" y="783"/>
                    <a:pt x="1836" y="784"/>
                    <a:pt x="1835" y="785"/>
                  </a:cubicBezTo>
                  <a:cubicBezTo>
                    <a:pt x="1839" y="785"/>
                    <a:pt x="1845" y="783"/>
                    <a:pt x="1849" y="782"/>
                  </a:cubicBezTo>
                  <a:cubicBezTo>
                    <a:pt x="1852" y="782"/>
                    <a:pt x="1855" y="781"/>
                    <a:pt x="1858" y="781"/>
                  </a:cubicBezTo>
                  <a:cubicBezTo>
                    <a:pt x="1861" y="782"/>
                    <a:pt x="1872" y="779"/>
                    <a:pt x="1873" y="781"/>
                  </a:cubicBezTo>
                  <a:cubicBezTo>
                    <a:pt x="1879" y="777"/>
                    <a:pt x="1884" y="773"/>
                    <a:pt x="1890" y="768"/>
                  </a:cubicBezTo>
                  <a:cubicBezTo>
                    <a:pt x="1891" y="767"/>
                    <a:pt x="1898" y="763"/>
                    <a:pt x="1897" y="761"/>
                  </a:cubicBezTo>
                  <a:cubicBezTo>
                    <a:pt x="1899" y="768"/>
                    <a:pt x="1901" y="762"/>
                    <a:pt x="1900" y="759"/>
                  </a:cubicBezTo>
                  <a:cubicBezTo>
                    <a:pt x="1900" y="759"/>
                    <a:pt x="1900" y="756"/>
                    <a:pt x="1900" y="757"/>
                  </a:cubicBezTo>
                  <a:cubicBezTo>
                    <a:pt x="1901" y="755"/>
                    <a:pt x="1907" y="753"/>
                    <a:pt x="1909" y="751"/>
                  </a:cubicBezTo>
                  <a:cubicBezTo>
                    <a:pt x="1903" y="749"/>
                    <a:pt x="1918" y="746"/>
                    <a:pt x="1920" y="745"/>
                  </a:cubicBezTo>
                  <a:cubicBezTo>
                    <a:pt x="1923" y="744"/>
                    <a:pt x="1927" y="743"/>
                    <a:pt x="1931" y="743"/>
                  </a:cubicBezTo>
                  <a:cubicBezTo>
                    <a:pt x="1935" y="743"/>
                    <a:pt x="1940" y="745"/>
                    <a:pt x="1944" y="744"/>
                  </a:cubicBezTo>
                  <a:cubicBezTo>
                    <a:pt x="1944" y="744"/>
                    <a:pt x="1944" y="744"/>
                    <a:pt x="1945" y="744"/>
                  </a:cubicBezTo>
                  <a:cubicBezTo>
                    <a:pt x="1945" y="744"/>
                    <a:pt x="1945" y="744"/>
                    <a:pt x="1945" y="744"/>
                  </a:cubicBezTo>
                  <a:cubicBezTo>
                    <a:pt x="1947" y="746"/>
                    <a:pt x="1948" y="747"/>
                    <a:pt x="1945" y="749"/>
                  </a:cubicBezTo>
                  <a:cubicBezTo>
                    <a:pt x="1945" y="750"/>
                    <a:pt x="1944" y="751"/>
                    <a:pt x="1943" y="752"/>
                  </a:cubicBezTo>
                  <a:cubicBezTo>
                    <a:pt x="1941" y="753"/>
                    <a:pt x="1939" y="753"/>
                    <a:pt x="1937" y="754"/>
                  </a:cubicBezTo>
                  <a:cubicBezTo>
                    <a:pt x="1938" y="755"/>
                    <a:pt x="1940" y="756"/>
                    <a:pt x="1942" y="756"/>
                  </a:cubicBezTo>
                  <a:cubicBezTo>
                    <a:pt x="1942" y="756"/>
                    <a:pt x="1942" y="756"/>
                    <a:pt x="1942" y="756"/>
                  </a:cubicBezTo>
                  <a:cubicBezTo>
                    <a:pt x="1942" y="756"/>
                    <a:pt x="1942" y="756"/>
                    <a:pt x="1942" y="756"/>
                  </a:cubicBezTo>
                  <a:cubicBezTo>
                    <a:pt x="1940" y="757"/>
                    <a:pt x="1939" y="756"/>
                    <a:pt x="1937" y="758"/>
                  </a:cubicBezTo>
                  <a:cubicBezTo>
                    <a:pt x="1936" y="759"/>
                    <a:pt x="1935" y="761"/>
                    <a:pt x="1935" y="762"/>
                  </a:cubicBezTo>
                  <a:cubicBezTo>
                    <a:pt x="1934" y="763"/>
                    <a:pt x="1934" y="764"/>
                    <a:pt x="1934" y="764"/>
                  </a:cubicBezTo>
                  <a:cubicBezTo>
                    <a:pt x="1932" y="768"/>
                    <a:pt x="1930" y="772"/>
                    <a:pt x="1929" y="776"/>
                  </a:cubicBezTo>
                  <a:cubicBezTo>
                    <a:pt x="1928" y="778"/>
                    <a:pt x="1927" y="780"/>
                    <a:pt x="1926" y="781"/>
                  </a:cubicBezTo>
                  <a:cubicBezTo>
                    <a:pt x="1926" y="782"/>
                    <a:pt x="1926" y="782"/>
                    <a:pt x="1926" y="782"/>
                  </a:cubicBezTo>
                  <a:cubicBezTo>
                    <a:pt x="1924" y="784"/>
                    <a:pt x="1924" y="786"/>
                    <a:pt x="1923" y="788"/>
                  </a:cubicBezTo>
                  <a:cubicBezTo>
                    <a:pt x="1923" y="789"/>
                    <a:pt x="1921" y="790"/>
                    <a:pt x="1920" y="790"/>
                  </a:cubicBezTo>
                  <a:cubicBezTo>
                    <a:pt x="1919" y="792"/>
                    <a:pt x="1917" y="793"/>
                    <a:pt x="1918" y="795"/>
                  </a:cubicBezTo>
                  <a:cubicBezTo>
                    <a:pt x="1918" y="796"/>
                    <a:pt x="1918" y="796"/>
                    <a:pt x="1919" y="797"/>
                  </a:cubicBezTo>
                  <a:cubicBezTo>
                    <a:pt x="1920" y="798"/>
                    <a:pt x="1923" y="799"/>
                    <a:pt x="1924" y="798"/>
                  </a:cubicBezTo>
                  <a:cubicBezTo>
                    <a:pt x="1923" y="800"/>
                    <a:pt x="1922" y="800"/>
                    <a:pt x="1920" y="800"/>
                  </a:cubicBezTo>
                  <a:cubicBezTo>
                    <a:pt x="1920" y="800"/>
                    <a:pt x="1920" y="800"/>
                    <a:pt x="1920" y="800"/>
                  </a:cubicBezTo>
                  <a:cubicBezTo>
                    <a:pt x="1922" y="800"/>
                    <a:pt x="1924" y="800"/>
                    <a:pt x="1925" y="800"/>
                  </a:cubicBezTo>
                  <a:cubicBezTo>
                    <a:pt x="1926" y="800"/>
                    <a:pt x="1926" y="800"/>
                    <a:pt x="1926" y="800"/>
                  </a:cubicBezTo>
                  <a:cubicBezTo>
                    <a:pt x="1926" y="801"/>
                    <a:pt x="1925" y="801"/>
                    <a:pt x="1924" y="801"/>
                  </a:cubicBezTo>
                  <a:cubicBezTo>
                    <a:pt x="1923" y="801"/>
                    <a:pt x="1921" y="800"/>
                    <a:pt x="1920" y="801"/>
                  </a:cubicBezTo>
                  <a:cubicBezTo>
                    <a:pt x="1919" y="802"/>
                    <a:pt x="1920" y="803"/>
                    <a:pt x="1921" y="804"/>
                  </a:cubicBezTo>
                  <a:cubicBezTo>
                    <a:pt x="1922" y="805"/>
                    <a:pt x="1924" y="805"/>
                    <a:pt x="1924" y="806"/>
                  </a:cubicBezTo>
                  <a:cubicBezTo>
                    <a:pt x="1922" y="806"/>
                    <a:pt x="1922" y="806"/>
                    <a:pt x="1920" y="805"/>
                  </a:cubicBezTo>
                  <a:cubicBezTo>
                    <a:pt x="1920" y="805"/>
                    <a:pt x="1920" y="805"/>
                    <a:pt x="1920" y="804"/>
                  </a:cubicBezTo>
                  <a:cubicBezTo>
                    <a:pt x="1918" y="804"/>
                    <a:pt x="1917" y="804"/>
                    <a:pt x="1915" y="803"/>
                  </a:cubicBezTo>
                  <a:cubicBezTo>
                    <a:pt x="1915" y="803"/>
                    <a:pt x="1914" y="804"/>
                    <a:pt x="1914" y="802"/>
                  </a:cubicBezTo>
                  <a:cubicBezTo>
                    <a:pt x="1914" y="802"/>
                    <a:pt x="1914" y="802"/>
                    <a:pt x="1914" y="802"/>
                  </a:cubicBezTo>
                  <a:cubicBezTo>
                    <a:pt x="1914" y="801"/>
                    <a:pt x="1914" y="801"/>
                    <a:pt x="1913" y="802"/>
                  </a:cubicBezTo>
                  <a:cubicBezTo>
                    <a:pt x="1913" y="802"/>
                    <a:pt x="1912" y="803"/>
                    <a:pt x="1912" y="804"/>
                  </a:cubicBezTo>
                  <a:cubicBezTo>
                    <a:pt x="1911" y="805"/>
                    <a:pt x="1911" y="805"/>
                    <a:pt x="1911" y="805"/>
                  </a:cubicBezTo>
                  <a:cubicBezTo>
                    <a:pt x="1911" y="807"/>
                    <a:pt x="1911" y="808"/>
                    <a:pt x="1910" y="810"/>
                  </a:cubicBezTo>
                  <a:cubicBezTo>
                    <a:pt x="1909" y="811"/>
                    <a:pt x="1908" y="812"/>
                    <a:pt x="1908" y="813"/>
                  </a:cubicBezTo>
                  <a:cubicBezTo>
                    <a:pt x="1907" y="814"/>
                    <a:pt x="1907" y="817"/>
                    <a:pt x="1906" y="818"/>
                  </a:cubicBezTo>
                  <a:cubicBezTo>
                    <a:pt x="1905" y="819"/>
                    <a:pt x="1903" y="818"/>
                    <a:pt x="1903" y="816"/>
                  </a:cubicBezTo>
                  <a:cubicBezTo>
                    <a:pt x="1903" y="819"/>
                    <a:pt x="1901" y="818"/>
                    <a:pt x="1901" y="816"/>
                  </a:cubicBezTo>
                  <a:cubicBezTo>
                    <a:pt x="1901" y="815"/>
                    <a:pt x="1904" y="813"/>
                    <a:pt x="1905" y="812"/>
                  </a:cubicBezTo>
                  <a:cubicBezTo>
                    <a:pt x="1904" y="812"/>
                    <a:pt x="1904" y="813"/>
                    <a:pt x="1903" y="813"/>
                  </a:cubicBezTo>
                  <a:cubicBezTo>
                    <a:pt x="1900" y="815"/>
                    <a:pt x="1895" y="818"/>
                    <a:pt x="1894" y="820"/>
                  </a:cubicBezTo>
                  <a:cubicBezTo>
                    <a:pt x="1894" y="820"/>
                    <a:pt x="1895" y="820"/>
                    <a:pt x="1896" y="820"/>
                  </a:cubicBezTo>
                  <a:cubicBezTo>
                    <a:pt x="1899" y="820"/>
                    <a:pt x="1902" y="819"/>
                    <a:pt x="1905" y="819"/>
                  </a:cubicBezTo>
                  <a:cubicBezTo>
                    <a:pt x="1906" y="819"/>
                    <a:pt x="1906" y="819"/>
                    <a:pt x="1906" y="819"/>
                  </a:cubicBezTo>
                  <a:cubicBezTo>
                    <a:pt x="1908" y="819"/>
                    <a:pt x="1909" y="819"/>
                    <a:pt x="1911" y="820"/>
                  </a:cubicBezTo>
                  <a:cubicBezTo>
                    <a:pt x="1913" y="820"/>
                    <a:pt x="1914" y="820"/>
                    <a:pt x="1915" y="819"/>
                  </a:cubicBezTo>
                  <a:cubicBezTo>
                    <a:pt x="1915" y="819"/>
                    <a:pt x="1916" y="819"/>
                    <a:pt x="1916" y="819"/>
                  </a:cubicBezTo>
                  <a:cubicBezTo>
                    <a:pt x="1915" y="820"/>
                    <a:pt x="1914" y="821"/>
                    <a:pt x="1913" y="821"/>
                  </a:cubicBezTo>
                  <a:cubicBezTo>
                    <a:pt x="1912" y="822"/>
                    <a:pt x="1910" y="823"/>
                    <a:pt x="1909" y="823"/>
                  </a:cubicBezTo>
                  <a:cubicBezTo>
                    <a:pt x="1910" y="823"/>
                    <a:pt x="1910" y="822"/>
                    <a:pt x="1910" y="822"/>
                  </a:cubicBezTo>
                  <a:cubicBezTo>
                    <a:pt x="1906" y="824"/>
                    <a:pt x="1903" y="829"/>
                    <a:pt x="1899" y="831"/>
                  </a:cubicBezTo>
                  <a:cubicBezTo>
                    <a:pt x="1897" y="833"/>
                    <a:pt x="1895" y="834"/>
                    <a:pt x="1893" y="836"/>
                  </a:cubicBezTo>
                  <a:cubicBezTo>
                    <a:pt x="1891" y="837"/>
                    <a:pt x="1891" y="837"/>
                    <a:pt x="1891" y="839"/>
                  </a:cubicBezTo>
                  <a:cubicBezTo>
                    <a:pt x="1891" y="840"/>
                    <a:pt x="1892" y="841"/>
                    <a:pt x="1892" y="842"/>
                  </a:cubicBezTo>
                  <a:cubicBezTo>
                    <a:pt x="1892" y="842"/>
                    <a:pt x="1893" y="843"/>
                    <a:pt x="1893" y="843"/>
                  </a:cubicBezTo>
                  <a:cubicBezTo>
                    <a:pt x="1893" y="844"/>
                    <a:pt x="1892" y="844"/>
                    <a:pt x="1893" y="845"/>
                  </a:cubicBezTo>
                  <a:cubicBezTo>
                    <a:pt x="1893" y="846"/>
                    <a:pt x="1894" y="847"/>
                    <a:pt x="1896" y="847"/>
                  </a:cubicBezTo>
                  <a:cubicBezTo>
                    <a:pt x="1899" y="848"/>
                    <a:pt x="1902" y="847"/>
                    <a:pt x="1905" y="847"/>
                  </a:cubicBezTo>
                  <a:cubicBezTo>
                    <a:pt x="1906" y="846"/>
                    <a:pt x="1907" y="846"/>
                    <a:pt x="1908" y="846"/>
                  </a:cubicBezTo>
                  <a:cubicBezTo>
                    <a:pt x="1910" y="846"/>
                    <a:pt x="1912" y="846"/>
                    <a:pt x="1914" y="845"/>
                  </a:cubicBezTo>
                  <a:cubicBezTo>
                    <a:pt x="1915" y="844"/>
                    <a:pt x="1914" y="842"/>
                    <a:pt x="1916" y="842"/>
                  </a:cubicBezTo>
                  <a:cubicBezTo>
                    <a:pt x="1916" y="843"/>
                    <a:pt x="1915" y="844"/>
                    <a:pt x="1915" y="845"/>
                  </a:cubicBezTo>
                  <a:cubicBezTo>
                    <a:pt x="1915" y="845"/>
                    <a:pt x="1916" y="845"/>
                    <a:pt x="1916" y="845"/>
                  </a:cubicBezTo>
                  <a:cubicBezTo>
                    <a:pt x="1919" y="845"/>
                    <a:pt x="1922" y="844"/>
                    <a:pt x="1925" y="844"/>
                  </a:cubicBezTo>
                  <a:cubicBezTo>
                    <a:pt x="1925" y="844"/>
                    <a:pt x="1925" y="844"/>
                    <a:pt x="1926" y="844"/>
                  </a:cubicBezTo>
                  <a:cubicBezTo>
                    <a:pt x="1928" y="845"/>
                    <a:pt x="1931" y="845"/>
                    <a:pt x="1934" y="846"/>
                  </a:cubicBezTo>
                  <a:cubicBezTo>
                    <a:pt x="1934" y="846"/>
                    <a:pt x="1935" y="846"/>
                    <a:pt x="1936" y="846"/>
                  </a:cubicBezTo>
                  <a:cubicBezTo>
                    <a:pt x="1938" y="846"/>
                    <a:pt x="1940" y="846"/>
                    <a:pt x="1942" y="846"/>
                  </a:cubicBezTo>
                  <a:cubicBezTo>
                    <a:pt x="1943" y="846"/>
                    <a:pt x="1944" y="846"/>
                    <a:pt x="1945" y="847"/>
                  </a:cubicBezTo>
                  <a:cubicBezTo>
                    <a:pt x="1946" y="847"/>
                    <a:pt x="1947" y="848"/>
                    <a:pt x="1949" y="848"/>
                  </a:cubicBezTo>
                  <a:cubicBezTo>
                    <a:pt x="1950" y="849"/>
                    <a:pt x="1952" y="849"/>
                    <a:pt x="1953" y="848"/>
                  </a:cubicBezTo>
                  <a:cubicBezTo>
                    <a:pt x="1952" y="847"/>
                    <a:pt x="1952" y="847"/>
                    <a:pt x="1952" y="846"/>
                  </a:cubicBezTo>
                  <a:close/>
                  <a:moveTo>
                    <a:pt x="220" y="115"/>
                  </a:moveTo>
                  <a:cubicBezTo>
                    <a:pt x="221" y="115"/>
                    <a:pt x="224" y="112"/>
                    <a:pt x="224" y="111"/>
                  </a:cubicBezTo>
                  <a:cubicBezTo>
                    <a:pt x="224" y="112"/>
                    <a:pt x="221" y="115"/>
                    <a:pt x="220" y="115"/>
                  </a:cubicBezTo>
                  <a:close/>
                  <a:moveTo>
                    <a:pt x="246" y="651"/>
                  </a:moveTo>
                  <a:cubicBezTo>
                    <a:pt x="247" y="651"/>
                    <a:pt x="247" y="651"/>
                    <a:pt x="247" y="651"/>
                  </a:cubicBezTo>
                  <a:cubicBezTo>
                    <a:pt x="247" y="651"/>
                    <a:pt x="247" y="651"/>
                    <a:pt x="247" y="651"/>
                  </a:cubicBezTo>
                  <a:cubicBezTo>
                    <a:pt x="247" y="651"/>
                    <a:pt x="247" y="652"/>
                    <a:pt x="247" y="652"/>
                  </a:cubicBezTo>
                  <a:cubicBezTo>
                    <a:pt x="247" y="652"/>
                    <a:pt x="247" y="652"/>
                    <a:pt x="246" y="651"/>
                  </a:cubicBezTo>
                  <a:close/>
                  <a:moveTo>
                    <a:pt x="276" y="678"/>
                  </a:moveTo>
                  <a:cubicBezTo>
                    <a:pt x="276" y="678"/>
                    <a:pt x="276" y="679"/>
                    <a:pt x="277" y="679"/>
                  </a:cubicBezTo>
                  <a:cubicBezTo>
                    <a:pt x="277" y="679"/>
                    <a:pt x="277" y="679"/>
                    <a:pt x="277" y="679"/>
                  </a:cubicBezTo>
                  <a:cubicBezTo>
                    <a:pt x="277" y="679"/>
                    <a:pt x="277" y="679"/>
                    <a:pt x="277" y="679"/>
                  </a:cubicBezTo>
                  <a:cubicBezTo>
                    <a:pt x="277" y="679"/>
                    <a:pt x="277" y="679"/>
                    <a:pt x="277" y="679"/>
                  </a:cubicBezTo>
                  <a:cubicBezTo>
                    <a:pt x="277" y="679"/>
                    <a:pt x="277" y="679"/>
                    <a:pt x="277" y="679"/>
                  </a:cubicBezTo>
                  <a:cubicBezTo>
                    <a:pt x="276" y="679"/>
                    <a:pt x="276" y="678"/>
                    <a:pt x="276" y="678"/>
                  </a:cubicBezTo>
                  <a:close/>
                  <a:moveTo>
                    <a:pt x="287" y="695"/>
                  </a:moveTo>
                  <a:cubicBezTo>
                    <a:pt x="287" y="695"/>
                    <a:pt x="286" y="694"/>
                    <a:pt x="286" y="694"/>
                  </a:cubicBezTo>
                  <a:cubicBezTo>
                    <a:pt x="286" y="694"/>
                    <a:pt x="286" y="694"/>
                    <a:pt x="286" y="694"/>
                  </a:cubicBezTo>
                  <a:cubicBezTo>
                    <a:pt x="286" y="694"/>
                    <a:pt x="286" y="694"/>
                    <a:pt x="285" y="694"/>
                  </a:cubicBezTo>
                  <a:cubicBezTo>
                    <a:pt x="285" y="694"/>
                    <a:pt x="285" y="694"/>
                    <a:pt x="285" y="694"/>
                  </a:cubicBezTo>
                  <a:cubicBezTo>
                    <a:pt x="285" y="694"/>
                    <a:pt x="285" y="694"/>
                    <a:pt x="285" y="694"/>
                  </a:cubicBezTo>
                  <a:cubicBezTo>
                    <a:pt x="286" y="693"/>
                    <a:pt x="286" y="692"/>
                    <a:pt x="286" y="690"/>
                  </a:cubicBezTo>
                  <a:cubicBezTo>
                    <a:pt x="287" y="690"/>
                    <a:pt x="287" y="691"/>
                    <a:pt x="287" y="691"/>
                  </a:cubicBezTo>
                  <a:cubicBezTo>
                    <a:pt x="287" y="691"/>
                    <a:pt x="287" y="691"/>
                    <a:pt x="287" y="691"/>
                  </a:cubicBezTo>
                  <a:cubicBezTo>
                    <a:pt x="287" y="691"/>
                    <a:pt x="287" y="692"/>
                    <a:pt x="287" y="692"/>
                  </a:cubicBezTo>
                  <a:cubicBezTo>
                    <a:pt x="287" y="693"/>
                    <a:pt x="287" y="693"/>
                    <a:pt x="287" y="695"/>
                  </a:cubicBezTo>
                  <a:cubicBezTo>
                    <a:pt x="287" y="695"/>
                    <a:pt x="287" y="695"/>
                    <a:pt x="287" y="695"/>
                  </a:cubicBezTo>
                  <a:cubicBezTo>
                    <a:pt x="287" y="695"/>
                    <a:pt x="287" y="696"/>
                    <a:pt x="287" y="696"/>
                  </a:cubicBezTo>
                  <a:cubicBezTo>
                    <a:pt x="287" y="696"/>
                    <a:pt x="287" y="696"/>
                    <a:pt x="287" y="695"/>
                  </a:cubicBezTo>
                  <a:close/>
                  <a:moveTo>
                    <a:pt x="297" y="712"/>
                  </a:moveTo>
                  <a:cubicBezTo>
                    <a:pt x="297" y="712"/>
                    <a:pt x="297" y="712"/>
                    <a:pt x="297" y="712"/>
                  </a:cubicBezTo>
                  <a:cubicBezTo>
                    <a:pt x="297" y="712"/>
                    <a:pt x="297" y="712"/>
                    <a:pt x="297" y="712"/>
                  </a:cubicBezTo>
                  <a:cubicBezTo>
                    <a:pt x="296" y="712"/>
                    <a:pt x="296" y="713"/>
                    <a:pt x="295" y="713"/>
                  </a:cubicBezTo>
                  <a:cubicBezTo>
                    <a:pt x="295" y="713"/>
                    <a:pt x="296" y="712"/>
                    <a:pt x="296" y="712"/>
                  </a:cubicBezTo>
                  <a:cubicBezTo>
                    <a:pt x="298" y="710"/>
                    <a:pt x="299" y="710"/>
                    <a:pt x="301" y="708"/>
                  </a:cubicBezTo>
                  <a:cubicBezTo>
                    <a:pt x="301" y="710"/>
                    <a:pt x="298" y="711"/>
                    <a:pt x="297" y="712"/>
                  </a:cubicBezTo>
                  <a:close/>
                  <a:moveTo>
                    <a:pt x="527" y="249"/>
                  </a:moveTo>
                  <a:cubicBezTo>
                    <a:pt x="527" y="249"/>
                    <a:pt x="526" y="249"/>
                    <a:pt x="526" y="250"/>
                  </a:cubicBezTo>
                  <a:cubicBezTo>
                    <a:pt x="526" y="252"/>
                    <a:pt x="525" y="252"/>
                    <a:pt x="527" y="253"/>
                  </a:cubicBezTo>
                  <a:cubicBezTo>
                    <a:pt x="530" y="254"/>
                    <a:pt x="533" y="251"/>
                    <a:pt x="535" y="252"/>
                  </a:cubicBezTo>
                  <a:cubicBezTo>
                    <a:pt x="537" y="253"/>
                    <a:pt x="535" y="256"/>
                    <a:pt x="535" y="256"/>
                  </a:cubicBezTo>
                  <a:cubicBezTo>
                    <a:pt x="534" y="256"/>
                    <a:pt x="532" y="256"/>
                    <a:pt x="531" y="256"/>
                  </a:cubicBezTo>
                  <a:cubicBezTo>
                    <a:pt x="531" y="256"/>
                    <a:pt x="531" y="257"/>
                    <a:pt x="530" y="258"/>
                  </a:cubicBezTo>
                  <a:cubicBezTo>
                    <a:pt x="529" y="258"/>
                    <a:pt x="528" y="258"/>
                    <a:pt x="527" y="258"/>
                  </a:cubicBezTo>
                  <a:cubicBezTo>
                    <a:pt x="526" y="258"/>
                    <a:pt x="525" y="258"/>
                    <a:pt x="524" y="258"/>
                  </a:cubicBezTo>
                  <a:cubicBezTo>
                    <a:pt x="524" y="258"/>
                    <a:pt x="523" y="258"/>
                    <a:pt x="522" y="258"/>
                  </a:cubicBezTo>
                  <a:cubicBezTo>
                    <a:pt x="521" y="258"/>
                    <a:pt x="521" y="258"/>
                    <a:pt x="520" y="258"/>
                  </a:cubicBezTo>
                  <a:cubicBezTo>
                    <a:pt x="519" y="258"/>
                    <a:pt x="520" y="260"/>
                    <a:pt x="518" y="260"/>
                  </a:cubicBezTo>
                  <a:cubicBezTo>
                    <a:pt x="517" y="260"/>
                    <a:pt x="516" y="259"/>
                    <a:pt x="516" y="259"/>
                  </a:cubicBezTo>
                  <a:cubicBezTo>
                    <a:pt x="516" y="259"/>
                    <a:pt x="514" y="257"/>
                    <a:pt x="514" y="257"/>
                  </a:cubicBezTo>
                  <a:cubicBezTo>
                    <a:pt x="513" y="255"/>
                    <a:pt x="511" y="254"/>
                    <a:pt x="509" y="254"/>
                  </a:cubicBezTo>
                  <a:cubicBezTo>
                    <a:pt x="506" y="253"/>
                    <a:pt x="502" y="254"/>
                    <a:pt x="499" y="254"/>
                  </a:cubicBezTo>
                  <a:cubicBezTo>
                    <a:pt x="497" y="254"/>
                    <a:pt x="495" y="253"/>
                    <a:pt x="493" y="254"/>
                  </a:cubicBezTo>
                  <a:cubicBezTo>
                    <a:pt x="489" y="255"/>
                    <a:pt x="491" y="256"/>
                    <a:pt x="494" y="257"/>
                  </a:cubicBezTo>
                  <a:cubicBezTo>
                    <a:pt x="492" y="258"/>
                    <a:pt x="489" y="258"/>
                    <a:pt x="488" y="259"/>
                  </a:cubicBezTo>
                  <a:cubicBezTo>
                    <a:pt x="487" y="261"/>
                    <a:pt x="484" y="260"/>
                    <a:pt x="482" y="260"/>
                  </a:cubicBezTo>
                  <a:cubicBezTo>
                    <a:pt x="485" y="261"/>
                    <a:pt x="486" y="263"/>
                    <a:pt x="488" y="265"/>
                  </a:cubicBezTo>
                  <a:cubicBezTo>
                    <a:pt x="489" y="265"/>
                    <a:pt x="491" y="265"/>
                    <a:pt x="492" y="266"/>
                  </a:cubicBezTo>
                  <a:cubicBezTo>
                    <a:pt x="494" y="267"/>
                    <a:pt x="496" y="269"/>
                    <a:pt x="496" y="271"/>
                  </a:cubicBezTo>
                  <a:cubicBezTo>
                    <a:pt x="494" y="271"/>
                    <a:pt x="492" y="271"/>
                    <a:pt x="490" y="271"/>
                  </a:cubicBezTo>
                  <a:cubicBezTo>
                    <a:pt x="488" y="271"/>
                    <a:pt x="484" y="272"/>
                    <a:pt x="484" y="274"/>
                  </a:cubicBezTo>
                  <a:cubicBezTo>
                    <a:pt x="484" y="274"/>
                    <a:pt x="484" y="274"/>
                    <a:pt x="484" y="274"/>
                  </a:cubicBezTo>
                  <a:cubicBezTo>
                    <a:pt x="480" y="277"/>
                    <a:pt x="475" y="280"/>
                    <a:pt x="470" y="283"/>
                  </a:cubicBezTo>
                  <a:cubicBezTo>
                    <a:pt x="467" y="284"/>
                    <a:pt x="458" y="292"/>
                    <a:pt x="455" y="291"/>
                  </a:cubicBezTo>
                  <a:cubicBezTo>
                    <a:pt x="453" y="290"/>
                    <a:pt x="449" y="289"/>
                    <a:pt x="450" y="286"/>
                  </a:cubicBezTo>
                  <a:cubicBezTo>
                    <a:pt x="450" y="284"/>
                    <a:pt x="453" y="284"/>
                    <a:pt x="454" y="285"/>
                  </a:cubicBezTo>
                  <a:cubicBezTo>
                    <a:pt x="454" y="284"/>
                    <a:pt x="458" y="284"/>
                    <a:pt x="460" y="284"/>
                  </a:cubicBezTo>
                  <a:cubicBezTo>
                    <a:pt x="463" y="282"/>
                    <a:pt x="460" y="282"/>
                    <a:pt x="461" y="280"/>
                  </a:cubicBezTo>
                  <a:cubicBezTo>
                    <a:pt x="462" y="279"/>
                    <a:pt x="465" y="278"/>
                    <a:pt x="466" y="277"/>
                  </a:cubicBezTo>
                  <a:cubicBezTo>
                    <a:pt x="468" y="276"/>
                    <a:pt x="470" y="275"/>
                    <a:pt x="471" y="274"/>
                  </a:cubicBezTo>
                  <a:cubicBezTo>
                    <a:pt x="473" y="273"/>
                    <a:pt x="475" y="270"/>
                    <a:pt x="475" y="269"/>
                  </a:cubicBezTo>
                  <a:cubicBezTo>
                    <a:pt x="476" y="267"/>
                    <a:pt x="476" y="265"/>
                    <a:pt x="475" y="263"/>
                  </a:cubicBezTo>
                  <a:cubicBezTo>
                    <a:pt x="475" y="260"/>
                    <a:pt x="470" y="261"/>
                    <a:pt x="468" y="261"/>
                  </a:cubicBezTo>
                  <a:cubicBezTo>
                    <a:pt x="464" y="260"/>
                    <a:pt x="460" y="264"/>
                    <a:pt x="457" y="266"/>
                  </a:cubicBezTo>
                  <a:cubicBezTo>
                    <a:pt x="455" y="267"/>
                    <a:pt x="453" y="267"/>
                    <a:pt x="451" y="268"/>
                  </a:cubicBezTo>
                  <a:cubicBezTo>
                    <a:pt x="447" y="270"/>
                    <a:pt x="449" y="270"/>
                    <a:pt x="449" y="272"/>
                  </a:cubicBezTo>
                  <a:cubicBezTo>
                    <a:pt x="449" y="273"/>
                    <a:pt x="447" y="273"/>
                    <a:pt x="447" y="274"/>
                  </a:cubicBezTo>
                  <a:cubicBezTo>
                    <a:pt x="447" y="275"/>
                    <a:pt x="448" y="275"/>
                    <a:pt x="447" y="276"/>
                  </a:cubicBezTo>
                  <a:cubicBezTo>
                    <a:pt x="447" y="279"/>
                    <a:pt x="444" y="281"/>
                    <a:pt x="441" y="283"/>
                  </a:cubicBezTo>
                  <a:cubicBezTo>
                    <a:pt x="437" y="286"/>
                    <a:pt x="436" y="285"/>
                    <a:pt x="432" y="284"/>
                  </a:cubicBezTo>
                  <a:cubicBezTo>
                    <a:pt x="430" y="283"/>
                    <a:pt x="428" y="283"/>
                    <a:pt x="426" y="283"/>
                  </a:cubicBezTo>
                  <a:cubicBezTo>
                    <a:pt x="423" y="283"/>
                    <a:pt x="404" y="281"/>
                    <a:pt x="403" y="277"/>
                  </a:cubicBezTo>
                  <a:cubicBezTo>
                    <a:pt x="403" y="275"/>
                    <a:pt x="413" y="276"/>
                    <a:pt x="415" y="275"/>
                  </a:cubicBezTo>
                  <a:cubicBezTo>
                    <a:pt x="416" y="275"/>
                    <a:pt x="419" y="273"/>
                    <a:pt x="420" y="272"/>
                  </a:cubicBezTo>
                  <a:cubicBezTo>
                    <a:pt x="422" y="269"/>
                    <a:pt x="418" y="268"/>
                    <a:pt x="416" y="265"/>
                  </a:cubicBezTo>
                  <a:cubicBezTo>
                    <a:pt x="420" y="266"/>
                    <a:pt x="419" y="264"/>
                    <a:pt x="421" y="262"/>
                  </a:cubicBezTo>
                  <a:cubicBezTo>
                    <a:pt x="422" y="261"/>
                    <a:pt x="425" y="261"/>
                    <a:pt x="427" y="261"/>
                  </a:cubicBezTo>
                  <a:cubicBezTo>
                    <a:pt x="428" y="260"/>
                    <a:pt x="432" y="259"/>
                    <a:pt x="432" y="257"/>
                  </a:cubicBezTo>
                  <a:cubicBezTo>
                    <a:pt x="432" y="255"/>
                    <a:pt x="422" y="249"/>
                    <a:pt x="420" y="247"/>
                  </a:cubicBezTo>
                  <a:cubicBezTo>
                    <a:pt x="425" y="246"/>
                    <a:pt x="429" y="245"/>
                    <a:pt x="433" y="246"/>
                  </a:cubicBezTo>
                  <a:cubicBezTo>
                    <a:pt x="438" y="246"/>
                    <a:pt x="441" y="249"/>
                    <a:pt x="446" y="248"/>
                  </a:cubicBezTo>
                  <a:cubicBezTo>
                    <a:pt x="450" y="248"/>
                    <a:pt x="460" y="245"/>
                    <a:pt x="453" y="241"/>
                  </a:cubicBezTo>
                  <a:cubicBezTo>
                    <a:pt x="445" y="238"/>
                    <a:pt x="439" y="236"/>
                    <a:pt x="430" y="236"/>
                  </a:cubicBezTo>
                  <a:cubicBezTo>
                    <a:pt x="426" y="236"/>
                    <a:pt x="420" y="235"/>
                    <a:pt x="416" y="236"/>
                  </a:cubicBezTo>
                  <a:cubicBezTo>
                    <a:pt x="411" y="237"/>
                    <a:pt x="416" y="237"/>
                    <a:pt x="416" y="239"/>
                  </a:cubicBezTo>
                  <a:cubicBezTo>
                    <a:pt x="416" y="242"/>
                    <a:pt x="409" y="239"/>
                    <a:pt x="407" y="239"/>
                  </a:cubicBezTo>
                  <a:cubicBezTo>
                    <a:pt x="405" y="239"/>
                    <a:pt x="403" y="240"/>
                    <a:pt x="401" y="240"/>
                  </a:cubicBezTo>
                  <a:cubicBezTo>
                    <a:pt x="397" y="241"/>
                    <a:pt x="393" y="240"/>
                    <a:pt x="389" y="239"/>
                  </a:cubicBezTo>
                  <a:cubicBezTo>
                    <a:pt x="386" y="239"/>
                    <a:pt x="384" y="239"/>
                    <a:pt x="381" y="240"/>
                  </a:cubicBezTo>
                  <a:cubicBezTo>
                    <a:pt x="380" y="240"/>
                    <a:pt x="378" y="239"/>
                    <a:pt x="378" y="240"/>
                  </a:cubicBezTo>
                  <a:cubicBezTo>
                    <a:pt x="377" y="242"/>
                    <a:pt x="379" y="241"/>
                    <a:pt x="379" y="242"/>
                  </a:cubicBezTo>
                  <a:cubicBezTo>
                    <a:pt x="378" y="245"/>
                    <a:pt x="377" y="243"/>
                    <a:pt x="376" y="244"/>
                  </a:cubicBezTo>
                  <a:cubicBezTo>
                    <a:pt x="374" y="244"/>
                    <a:pt x="374" y="244"/>
                    <a:pt x="373" y="246"/>
                  </a:cubicBezTo>
                  <a:cubicBezTo>
                    <a:pt x="372" y="248"/>
                    <a:pt x="374" y="249"/>
                    <a:pt x="371" y="248"/>
                  </a:cubicBezTo>
                  <a:cubicBezTo>
                    <a:pt x="371" y="248"/>
                    <a:pt x="370" y="246"/>
                    <a:pt x="370" y="246"/>
                  </a:cubicBezTo>
                  <a:cubicBezTo>
                    <a:pt x="368" y="244"/>
                    <a:pt x="366" y="241"/>
                    <a:pt x="366" y="239"/>
                  </a:cubicBezTo>
                  <a:cubicBezTo>
                    <a:pt x="366" y="237"/>
                    <a:pt x="368" y="234"/>
                    <a:pt x="370" y="234"/>
                  </a:cubicBezTo>
                  <a:cubicBezTo>
                    <a:pt x="370" y="234"/>
                    <a:pt x="371" y="236"/>
                    <a:pt x="372" y="236"/>
                  </a:cubicBezTo>
                  <a:cubicBezTo>
                    <a:pt x="373" y="236"/>
                    <a:pt x="374" y="234"/>
                    <a:pt x="375" y="234"/>
                  </a:cubicBezTo>
                  <a:cubicBezTo>
                    <a:pt x="377" y="234"/>
                    <a:pt x="379" y="236"/>
                    <a:pt x="381" y="235"/>
                  </a:cubicBezTo>
                  <a:cubicBezTo>
                    <a:pt x="383" y="235"/>
                    <a:pt x="383" y="232"/>
                    <a:pt x="386" y="232"/>
                  </a:cubicBezTo>
                  <a:cubicBezTo>
                    <a:pt x="388" y="231"/>
                    <a:pt x="390" y="234"/>
                    <a:pt x="392" y="233"/>
                  </a:cubicBezTo>
                  <a:cubicBezTo>
                    <a:pt x="394" y="233"/>
                    <a:pt x="395" y="231"/>
                    <a:pt x="396" y="231"/>
                  </a:cubicBezTo>
                  <a:cubicBezTo>
                    <a:pt x="398" y="230"/>
                    <a:pt x="400" y="230"/>
                    <a:pt x="401" y="230"/>
                  </a:cubicBezTo>
                  <a:cubicBezTo>
                    <a:pt x="404" y="229"/>
                    <a:pt x="410" y="228"/>
                    <a:pt x="411" y="225"/>
                  </a:cubicBezTo>
                  <a:cubicBezTo>
                    <a:pt x="411" y="228"/>
                    <a:pt x="412" y="228"/>
                    <a:pt x="414" y="227"/>
                  </a:cubicBezTo>
                  <a:cubicBezTo>
                    <a:pt x="415" y="227"/>
                    <a:pt x="415" y="228"/>
                    <a:pt x="416" y="227"/>
                  </a:cubicBezTo>
                  <a:cubicBezTo>
                    <a:pt x="416" y="227"/>
                    <a:pt x="416" y="225"/>
                    <a:pt x="417" y="225"/>
                  </a:cubicBezTo>
                  <a:cubicBezTo>
                    <a:pt x="420" y="223"/>
                    <a:pt x="424" y="227"/>
                    <a:pt x="426" y="223"/>
                  </a:cubicBezTo>
                  <a:cubicBezTo>
                    <a:pt x="427" y="224"/>
                    <a:pt x="427" y="222"/>
                    <a:pt x="428" y="223"/>
                  </a:cubicBezTo>
                  <a:cubicBezTo>
                    <a:pt x="429" y="223"/>
                    <a:pt x="429" y="224"/>
                    <a:pt x="431" y="224"/>
                  </a:cubicBezTo>
                  <a:cubicBezTo>
                    <a:pt x="431" y="224"/>
                    <a:pt x="433" y="223"/>
                    <a:pt x="434" y="223"/>
                  </a:cubicBezTo>
                  <a:cubicBezTo>
                    <a:pt x="435" y="222"/>
                    <a:pt x="436" y="222"/>
                    <a:pt x="437" y="222"/>
                  </a:cubicBezTo>
                  <a:cubicBezTo>
                    <a:pt x="439" y="221"/>
                    <a:pt x="441" y="220"/>
                    <a:pt x="443" y="219"/>
                  </a:cubicBezTo>
                  <a:cubicBezTo>
                    <a:pt x="445" y="219"/>
                    <a:pt x="448" y="219"/>
                    <a:pt x="450" y="218"/>
                  </a:cubicBezTo>
                  <a:cubicBezTo>
                    <a:pt x="450" y="218"/>
                    <a:pt x="450" y="216"/>
                    <a:pt x="451" y="216"/>
                  </a:cubicBezTo>
                  <a:cubicBezTo>
                    <a:pt x="451" y="216"/>
                    <a:pt x="452" y="216"/>
                    <a:pt x="452" y="216"/>
                  </a:cubicBezTo>
                  <a:cubicBezTo>
                    <a:pt x="453" y="215"/>
                    <a:pt x="454" y="215"/>
                    <a:pt x="455" y="215"/>
                  </a:cubicBezTo>
                  <a:cubicBezTo>
                    <a:pt x="458" y="212"/>
                    <a:pt x="457" y="213"/>
                    <a:pt x="461" y="213"/>
                  </a:cubicBezTo>
                  <a:cubicBezTo>
                    <a:pt x="465" y="213"/>
                    <a:pt x="470" y="210"/>
                    <a:pt x="474" y="209"/>
                  </a:cubicBezTo>
                  <a:cubicBezTo>
                    <a:pt x="476" y="209"/>
                    <a:pt x="478" y="208"/>
                    <a:pt x="480" y="207"/>
                  </a:cubicBezTo>
                  <a:cubicBezTo>
                    <a:pt x="484" y="206"/>
                    <a:pt x="484" y="206"/>
                    <a:pt x="484" y="203"/>
                  </a:cubicBezTo>
                  <a:cubicBezTo>
                    <a:pt x="484" y="204"/>
                    <a:pt x="484" y="205"/>
                    <a:pt x="484" y="205"/>
                  </a:cubicBezTo>
                  <a:cubicBezTo>
                    <a:pt x="484" y="208"/>
                    <a:pt x="505" y="211"/>
                    <a:pt x="509" y="212"/>
                  </a:cubicBezTo>
                  <a:cubicBezTo>
                    <a:pt x="506" y="213"/>
                    <a:pt x="503" y="213"/>
                    <a:pt x="500" y="215"/>
                  </a:cubicBezTo>
                  <a:cubicBezTo>
                    <a:pt x="498" y="215"/>
                    <a:pt x="497" y="217"/>
                    <a:pt x="495" y="217"/>
                  </a:cubicBezTo>
                  <a:cubicBezTo>
                    <a:pt x="494" y="218"/>
                    <a:pt x="492" y="217"/>
                    <a:pt x="492" y="218"/>
                  </a:cubicBezTo>
                  <a:cubicBezTo>
                    <a:pt x="490" y="218"/>
                    <a:pt x="489" y="219"/>
                    <a:pt x="487" y="220"/>
                  </a:cubicBezTo>
                  <a:cubicBezTo>
                    <a:pt x="486" y="220"/>
                    <a:pt x="485" y="220"/>
                    <a:pt x="483" y="221"/>
                  </a:cubicBezTo>
                  <a:cubicBezTo>
                    <a:pt x="482" y="222"/>
                    <a:pt x="481" y="224"/>
                    <a:pt x="480" y="224"/>
                  </a:cubicBezTo>
                  <a:cubicBezTo>
                    <a:pt x="477" y="225"/>
                    <a:pt x="474" y="228"/>
                    <a:pt x="478" y="228"/>
                  </a:cubicBezTo>
                  <a:cubicBezTo>
                    <a:pt x="477" y="229"/>
                    <a:pt x="476" y="230"/>
                    <a:pt x="475" y="231"/>
                  </a:cubicBezTo>
                  <a:cubicBezTo>
                    <a:pt x="476" y="231"/>
                    <a:pt x="478" y="231"/>
                    <a:pt x="479" y="231"/>
                  </a:cubicBezTo>
                  <a:cubicBezTo>
                    <a:pt x="481" y="231"/>
                    <a:pt x="481" y="230"/>
                    <a:pt x="483" y="231"/>
                  </a:cubicBezTo>
                  <a:cubicBezTo>
                    <a:pt x="486" y="232"/>
                    <a:pt x="486" y="233"/>
                    <a:pt x="489" y="233"/>
                  </a:cubicBezTo>
                  <a:cubicBezTo>
                    <a:pt x="491" y="233"/>
                    <a:pt x="491" y="231"/>
                    <a:pt x="493" y="233"/>
                  </a:cubicBezTo>
                  <a:cubicBezTo>
                    <a:pt x="492" y="232"/>
                    <a:pt x="491" y="233"/>
                    <a:pt x="490" y="234"/>
                  </a:cubicBezTo>
                  <a:cubicBezTo>
                    <a:pt x="492" y="234"/>
                    <a:pt x="494" y="234"/>
                    <a:pt x="496" y="234"/>
                  </a:cubicBezTo>
                  <a:cubicBezTo>
                    <a:pt x="496" y="234"/>
                    <a:pt x="495" y="233"/>
                    <a:pt x="495" y="233"/>
                  </a:cubicBezTo>
                  <a:cubicBezTo>
                    <a:pt x="501" y="232"/>
                    <a:pt x="506" y="235"/>
                    <a:pt x="512" y="234"/>
                  </a:cubicBezTo>
                  <a:cubicBezTo>
                    <a:pt x="514" y="233"/>
                    <a:pt x="517" y="233"/>
                    <a:pt x="520" y="232"/>
                  </a:cubicBezTo>
                  <a:cubicBezTo>
                    <a:pt x="523" y="231"/>
                    <a:pt x="525" y="230"/>
                    <a:pt x="527" y="227"/>
                  </a:cubicBezTo>
                  <a:cubicBezTo>
                    <a:pt x="526" y="228"/>
                    <a:pt x="525" y="228"/>
                    <a:pt x="525" y="229"/>
                  </a:cubicBezTo>
                  <a:cubicBezTo>
                    <a:pt x="528" y="223"/>
                    <a:pt x="533" y="221"/>
                    <a:pt x="540" y="220"/>
                  </a:cubicBezTo>
                  <a:cubicBezTo>
                    <a:pt x="540" y="222"/>
                    <a:pt x="539" y="222"/>
                    <a:pt x="537" y="224"/>
                  </a:cubicBezTo>
                  <a:cubicBezTo>
                    <a:pt x="537" y="224"/>
                    <a:pt x="536" y="226"/>
                    <a:pt x="536" y="226"/>
                  </a:cubicBezTo>
                  <a:cubicBezTo>
                    <a:pt x="535" y="227"/>
                    <a:pt x="533" y="228"/>
                    <a:pt x="534" y="230"/>
                  </a:cubicBezTo>
                  <a:cubicBezTo>
                    <a:pt x="537" y="229"/>
                    <a:pt x="540" y="228"/>
                    <a:pt x="543" y="229"/>
                  </a:cubicBezTo>
                  <a:cubicBezTo>
                    <a:pt x="540" y="229"/>
                    <a:pt x="541" y="233"/>
                    <a:pt x="539" y="236"/>
                  </a:cubicBezTo>
                  <a:cubicBezTo>
                    <a:pt x="538" y="238"/>
                    <a:pt x="536" y="240"/>
                    <a:pt x="536" y="242"/>
                  </a:cubicBezTo>
                  <a:cubicBezTo>
                    <a:pt x="536" y="246"/>
                    <a:pt x="534" y="243"/>
                    <a:pt x="531" y="244"/>
                  </a:cubicBezTo>
                  <a:cubicBezTo>
                    <a:pt x="528" y="245"/>
                    <a:pt x="528" y="246"/>
                    <a:pt x="527" y="248"/>
                  </a:cubicBezTo>
                  <a:cubicBezTo>
                    <a:pt x="527" y="248"/>
                    <a:pt x="528" y="249"/>
                    <a:pt x="527" y="249"/>
                  </a:cubicBezTo>
                  <a:close/>
                  <a:moveTo>
                    <a:pt x="733" y="373"/>
                  </a:moveTo>
                  <a:cubicBezTo>
                    <a:pt x="732" y="369"/>
                    <a:pt x="734" y="369"/>
                    <a:pt x="730" y="367"/>
                  </a:cubicBezTo>
                  <a:cubicBezTo>
                    <a:pt x="728" y="367"/>
                    <a:pt x="726" y="367"/>
                    <a:pt x="724" y="366"/>
                  </a:cubicBezTo>
                  <a:cubicBezTo>
                    <a:pt x="719" y="365"/>
                    <a:pt x="716" y="364"/>
                    <a:pt x="711" y="364"/>
                  </a:cubicBezTo>
                  <a:cubicBezTo>
                    <a:pt x="709" y="364"/>
                    <a:pt x="707" y="364"/>
                    <a:pt x="705" y="364"/>
                  </a:cubicBezTo>
                  <a:cubicBezTo>
                    <a:pt x="701" y="364"/>
                    <a:pt x="698" y="365"/>
                    <a:pt x="694" y="367"/>
                  </a:cubicBezTo>
                  <a:cubicBezTo>
                    <a:pt x="688" y="370"/>
                    <a:pt x="679" y="372"/>
                    <a:pt x="678" y="381"/>
                  </a:cubicBezTo>
                  <a:cubicBezTo>
                    <a:pt x="683" y="378"/>
                    <a:pt x="689" y="372"/>
                    <a:pt x="695" y="370"/>
                  </a:cubicBezTo>
                  <a:cubicBezTo>
                    <a:pt x="696" y="370"/>
                    <a:pt x="705" y="370"/>
                    <a:pt x="705" y="370"/>
                  </a:cubicBezTo>
                  <a:cubicBezTo>
                    <a:pt x="706" y="367"/>
                    <a:pt x="703" y="365"/>
                    <a:pt x="707" y="366"/>
                  </a:cubicBezTo>
                  <a:cubicBezTo>
                    <a:pt x="710" y="366"/>
                    <a:pt x="711" y="366"/>
                    <a:pt x="714" y="366"/>
                  </a:cubicBezTo>
                  <a:cubicBezTo>
                    <a:pt x="717" y="366"/>
                    <a:pt x="719" y="367"/>
                    <a:pt x="722" y="368"/>
                  </a:cubicBezTo>
                  <a:cubicBezTo>
                    <a:pt x="717" y="368"/>
                    <a:pt x="713" y="367"/>
                    <a:pt x="708" y="367"/>
                  </a:cubicBezTo>
                  <a:cubicBezTo>
                    <a:pt x="712" y="372"/>
                    <a:pt x="719" y="367"/>
                    <a:pt x="724" y="370"/>
                  </a:cubicBezTo>
                  <a:cubicBezTo>
                    <a:pt x="718" y="372"/>
                    <a:pt x="712" y="372"/>
                    <a:pt x="707" y="374"/>
                  </a:cubicBezTo>
                  <a:cubicBezTo>
                    <a:pt x="704" y="375"/>
                    <a:pt x="702" y="374"/>
                    <a:pt x="699" y="374"/>
                  </a:cubicBezTo>
                  <a:cubicBezTo>
                    <a:pt x="703" y="377"/>
                    <a:pt x="705" y="374"/>
                    <a:pt x="709" y="374"/>
                  </a:cubicBezTo>
                  <a:cubicBezTo>
                    <a:pt x="707" y="376"/>
                    <a:pt x="706" y="376"/>
                    <a:pt x="705" y="377"/>
                  </a:cubicBezTo>
                  <a:cubicBezTo>
                    <a:pt x="706" y="377"/>
                    <a:pt x="707" y="376"/>
                    <a:pt x="708" y="375"/>
                  </a:cubicBezTo>
                  <a:cubicBezTo>
                    <a:pt x="710" y="375"/>
                    <a:pt x="711" y="376"/>
                    <a:pt x="711" y="376"/>
                  </a:cubicBezTo>
                  <a:cubicBezTo>
                    <a:pt x="714" y="376"/>
                    <a:pt x="717" y="373"/>
                    <a:pt x="720" y="374"/>
                  </a:cubicBezTo>
                  <a:cubicBezTo>
                    <a:pt x="714" y="378"/>
                    <a:pt x="709" y="382"/>
                    <a:pt x="702" y="380"/>
                  </a:cubicBezTo>
                  <a:cubicBezTo>
                    <a:pt x="702" y="380"/>
                    <a:pt x="695" y="379"/>
                    <a:pt x="694" y="380"/>
                  </a:cubicBezTo>
                  <a:cubicBezTo>
                    <a:pt x="691" y="380"/>
                    <a:pt x="687" y="385"/>
                    <a:pt x="685" y="387"/>
                  </a:cubicBezTo>
                  <a:cubicBezTo>
                    <a:pt x="682" y="389"/>
                    <a:pt x="679" y="391"/>
                    <a:pt x="677" y="393"/>
                  </a:cubicBezTo>
                  <a:cubicBezTo>
                    <a:pt x="677" y="392"/>
                    <a:pt x="682" y="391"/>
                    <a:pt x="682" y="391"/>
                  </a:cubicBezTo>
                  <a:cubicBezTo>
                    <a:pt x="683" y="392"/>
                    <a:pt x="680" y="394"/>
                    <a:pt x="679" y="395"/>
                  </a:cubicBezTo>
                  <a:cubicBezTo>
                    <a:pt x="676" y="398"/>
                    <a:pt x="671" y="402"/>
                    <a:pt x="667" y="404"/>
                  </a:cubicBezTo>
                  <a:cubicBezTo>
                    <a:pt x="665" y="406"/>
                    <a:pt x="665" y="408"/>
                    <a:pt x="663" y="409"/>
                  </a:cubicBezTo>
                  <a:cubicBezTo>
                    <a:pt x="657" y="412"/>
                    <a:pt x="652" y="413"/>
                    <a:pt x="645" y="412"/>
                  </a:cubicBezTo>
                  <a:cubicBezTo>
                    <a:pt x="642" y="412"/>
                    <a:pt x="639" y="413"/>
                    <a:pt x="636" y="416"/>
                  </a:cubicBezTo>
                  <a:cubicBezTo>
                    <a:pt x="634" y="418"/>
                    <a:pt x="632" y="419"/>
                    <a:pt x="631" y="422"/>
                  </a:cubicBezTo>
                  <a:cubicBezTo>
                    <a:pt x="630" y="422"/>
                    <a:pt x="632" y="423"/>
                    <a:pt x="630" y="424"/>
                  </a:cubicBezTo>
                  <a:cubicBezTo>
                    <a:pt x="634" y="422"/>
                    <a:pt x="632" y="429"/>
                    <a:pt x="629" y="429"/>
                  </a:cubicBezTo>
                  <a:cubicBezTo>
                    <a:pt x="621" y="430"/>
                    <a:pt x="613" y="432"/>
                    <a:pt x="605" y="433"/>
                  </a:cubicBezTo>
                  <a:cubicBezTo>
                    <a:pt x="599" y="434"/>
                    <a:pt x="592" y="436"/>
                    <a:pt x="586" y="435"/>
                  </a:cubicBezTo>
                  <a:cubicBezTo>
                    <a:pt x="582" y="434"/>
                    <a:pt x="579" y="435"/>
                    <a:pt x="575" y="434"/>
                  </a:cubicBezTo>
                  <a:cubicBezTo>
                    <a:pt x="573" y="433"/>
                    <a:pt x="572" y="433"/>
                    <a:pt x="570" y="432"/>
                  </a:cubicBezTo>
                  <a:cubicBezTo>
                    <a:pt x="568" y="431"/>
                    <a:pt x="567" y="430"/>
                    <a:pt x="566" y="429"/>
                  </a:cubicBezTo>
                  <a:cubicBezTo>
                    <a:pt x="561" y="427"/>
                    <a:pt x="555" y="429"/>
                    <a:pt x="550" y="427"/>
                  </a:cubicBezTo>
                  <a:cubicBezTo>
                    <a:pt x="548" y="426"/>
                    <a:pt x="545" y="424"/>
                    <a:pt x="544" y="423"/>
                  </a:cubicBezTo>
                  <a:cubicBezTo>
                    <a:pt x="543" y="422"/>
                    <a:pt x="543" y="421"/>
                    <a:pt x="542" y="420"/>
                  </a:cubicBezTo>
                  <a:cubicBezTo>
                    <a:pt x="541" y="420"/>
                    <a:pt x="539" y="419"/>
                    <a:pt x="538" y="419"/>
                  </a:cubicBezTo>
                  <a:cubicBezTo>
                    <a:pt x="540" y="419"/>
                    <a:pt x="542" y="419"/>
                    <a:pt x="544" y="420"/>
                  </a:cubicBezTo>
                  <a:cubicBezTo>
                    <a:pt x="549" y="420"/>
                    <a:pt x="556" y="422"/>
                    <a:pt x="561" y="422"/>
                  </a:cubicBezTo>
                  <a:cubicBezTo>
                    <a:pt x="555" y="415"/>
                    <a:pt x="568" y="419"/>
                    <a:pt x="571" y="420"/>
                  </a:cubicBezTo>
                  <a:cubicBezTo>
                    <a:pt x="574" y="420"/>
                    <a:pt x="578" y="422"/>
                    <a:pt x="579" y="420"/>
                  </a:cubicBezTo>
                  <a:cubicBezTo>
                    <a:pt x="582" y="418"/>
                    <a:pt x="579" y="417"/>
                    <a:pt x="576" y="416"/>
                  </a:cubicBezTo>
                  <a:cubicBezTo>
                    <a:pt x="577" y="416"/>
                    <a:pt x="578" y="415"/>
                    <a:pt x="579" y="415"/>
                  </a:cubicBezTo>
                  <a:cubicBezTo>
                    <a:pt x="579" y="414"/>
                    <a:pt x="581" y="415"/>
                    <a:pt x="582" y="415"/>
                  </a:cubicBezTo>
                  <a:cubicBezTo>
                    <a:pt x="585" y="414"/>
                    <a:pt x="583" y="413"/>
                    <a:pt x="583" y="411"/>
                  </a:cubicBezTo>
                  <a:cubicBezTo>
                    <a:pt x="583" y="410"/>
                    <a:pt x="585" y="408"/>
                    <a:pt x="585" y="408"/>
                  </a:cubicBezTo>
                  <a:cubicBezTo>
                    <a:pt x="586" y="406"/>
                    <a:pt x="587" y="406"/>
                    <a:pt x="588" y="405"/>
                  </a:cubicBezTo>
                  <a:cubicBezTo>
                    <a:pt x="586" y="403"/>
                    <a:pt x="589" y="402"/>
                    <a:pt x="591" y="402"/>
                  </a:cubicBezTo>
                  <a:cubicBezTo>
                    <a:pt x="593" y="402"/>
                    <a:pt x="595" y="402"/>
                    <a:pt x="598" y="403"/>
                  </a:cubicBezTo>
                  <a:cubicBezTo>
                    <a:pt x="600" y="404"/>
                    <a:pt x="606" y="402"/>
                    <a:pt x="608" y="400"/>
                  </a:cubicBezTo>
                  <a:cubicBezTo>
                    <a:pt x="608" y="400"/>
                    <a:pt x="607" y="400"/>
                    <a:pt x="607" y="399"/>
                  </a:cubicBezTo>
                  <a:cubicBezTo>
                    <a:pt x="610" y="399"/>
                    <a:pt x="608" y="399"/>
                    <a:pt x="608" y="398"/>
                  </a:cubicBezTo>
                  <a:cubicBezTo>
                    <a:pt x="608" y="395"/>
                    <a:pt x="609" y="397"/>
                    <a:pt x="606" y="395"/>
                  </a:cubicBezTo>
                  <a:cubicBezTo>
                    <a:pt x="606" y="395"/>
                    <a:pt x="605" y="394"/>
                    <a:pt x="605" y="393"/>
                  </a:cubicBezTo>
                  <a:cubicBezTo>
                    <a:pt x="604" y="392"/>
                    <a:pt x="602" y="392"/>
                    <a:pt x="601" y="391"/>
                  </a:cubicBezTo>
                  <a:cubicBezTo>
                    <a:pt x="598" y="389"/>
                    <a:pt x="600" y="388"/>
                    <a:pt x="598" y="386"/>
                  </a:cubicBezTo>
                  <a:cubicBezTo>
                    <a:pt x="595" y="384"/>
                    <a:pt x="591" y="387"/>
                    <a:pt x="595" y="383"/>
                  </a:cubicBezTo>
                  <a:cubicBezTo>
                    <a:pt x="592" y="382"/>
                    <a:pt x="594" y="380"/>
                    <a:pt x="594" y="378"/>
                  </a:cubicBezTo>
                  <a:cubicBezTo>
                    <a:pt x="594" y="377"/>
                    <a:pt x="595" y="377"/>
                    <a:pt x="594" y="376"/>
                  </a:cubicBezTo>
                  <a:cubicBezTo>
                    <a:pt x="592" y="376"/>
                    <a:pt x="591" y="377"/>
                    <a:pt x="590" y="377"/>
                  </a:cubicBezTo>
                  <a:cubicBezTo>
                    <a:pt x="588" y="377"/>
                    <a:pt x="585" y="377"/>
                    <a:pt x="584" y="376"/>
                  </a:cubicBezTo>
                  <a:cubicBezTo>
                    <a:pt x="584" y="376"/>
                    <a:pt x="583" y="374"/>
                    <a:pt x="583" y="374"/>
                  </a:cubicBezTo>
                  <a:cubicBezTo>
                    <a:pt x="583" y="375"/>
                    <a:pt x="581" y="372"/>
                    <a:pt x="582" y="372"/>
                  </a:cubicBezTo>
                  <a:cubicBezTo>
                    <a:pt x="581" y="371"/>
                    <a:pt x="576" y="370"/>
                    <a:pt x="576" y="368"/>
                  </a:cubicBezTo>
                  <a:cubicBezTo>
                    <a:pt x="576" y="366"/>
                    <a:pt x="579" y="366"/>
                    <a:pt x="580" y="367"/>
                  </a:cubicBezTo>
                  <a:cubicBezTo>
                    <a:pt x="582" y="368"/>
                    <a:pt x="584" y="370"/>
                    <a:pt x="586" y="370"/>
                  </a:cubicBezTo>
                  <a:cubicBezTo>
                    <a:pt x="588" y="371"/>
                    <a:pt x="590" y="371"/>
                    <a:pt x="592" y="372"/>
                  </a:cubicBezTo>
                  <a:cubicBezTo>
                    <a:pt x="595" y="372"/>
                    <a:pt x="595" y="373"/>
                    <a:pt x="597" y="375"/>
                  </a:cubicBezTo>
                  <a:cubicBezTo>
                    <a:pt x="598" y="377"/>
                    <a:pt x="600" y="376"/>
                    <a:pt x="602" y="377"/>
                  </a:cubicBezTo>
                  <a:cubicBezTo>
                    <a:pt x="606" y="378"/>
                    <a:pt x="608" y="382"/>
                    <a:pt x="612" y="381"/>
                  </a:cubicBezTo>
                  <a:cubicBezTo>
                    <a:pt x="613" y="380"/>
                    <a:pt x="616" y="379"/>
                    <a:pt x="617" y="379"/>
                  </a:cubicBezTo>
                  <a:cubicBezTo>
                    <a:pt x="619" y="379"/>
                    <a:pt x="619" y="383"/>
                    <a:pt x="621" y="384"/>
                  </a:cubicBezTo>
                  <a:cubicBezTo>
                    <a:pt x="621" y="384"/>
                    <a:pt x="623" y="384"/>
                    <a:pt x="623" y="384"/>
                  </a:cubicBezTo>
                  <a:cubicBezTo>
                    <a:pt x="624" y="385"/>
                    <a:pt x="625" y="385"/>
                    <a:pt x="625" y="386"/>
                  </a:cubicBezTo>
                  <a:cubicBezTo>
                    <a:pt x="626" y="386"/>
                    <a:pt x="626" y="387"/>
                    <a:pt x="627" y="388"/>
                  </a:cubicBezTo>
                  <a:cubicBezTo>
                    <a:pt x="628" y="389"/>
                    <a:pt x="629" y="388"/>
                    <a:pt x="630" y="389"/>
                  </a:cubicBezTo>
                  <a:cubicBezTo>
                    <a:pt x="631" y="390"/>
                    <a:pt x="631" y="390"/>
                    <a:pt x="633" y="391"/>
                  </a:cubicBezTo>
                  <a:cubicBezTo>
                    <a:pt x="633" y="392"/>
                    <a:pt x="635" y="393"/>
                    <a:pt x="635" y="393"/>
                  </a:cubicBezTo>
                  <a:cubicBezTo>
                    <a:pt x="636" y="393"/>
                    <a:pt x="637" y="393"/>
                    <a:pt x="638" y="393"/>
                  </a:cubicBezTo>
                  <a:cubicBezTo>
                    <a:pt x="638" y="393"/>
                    <a:pt x="639" y="394"/>
                    <a:pt x="639" y="394"/>
                  </a:cubicBezTo>
                  <a:cubicBezTo>
                    <a:pt x="641" y="394"/>
                    <a:pt x="642" y="393"/>
                    <a:pt x="644" y="393"/>
                  </a:cubicBezTo>
                  <a:cubicBezTo>
                    <a:pt x="645" y="393"/>
                    <a:pt x="645" y="394"/>
                    <a:pt x="646" y="393"/>
                  </a:cubicBezTo>
                  <a:cubicBezTo>
                    <a:pt x="647" y="393"/>
                    <a:pt x="647" y="392"/>
                    <a:pt x="648" y="392"/>
                  </a:cubicBezTo>
                  <a:cubicBezTo>
                    <a:pt x="649" y="391"/>
                    <a:pt x="649" y="392"/>
                    <a:pt x="651" y="393"/>
                  </a:cubicBezTo>
                  <a:cubicBezTo>
                    <a:pt x="651" y="393"/>
                    <a:pt x="652" y="392"/>
                    <a:pt x="653" y="392"/>
                  </a:cubicBezTo>
                  <a:cubicBezTo>
                    <a:pt x="655" y="391"/>
                    <a:pt x="658" y="392"/>
                    <a:pt x="660" y="391"/>
                  </a:cubicBezTo>
                  <a:cubicBezTo>
                    <a:pt x="663" y="390"/>
                    <a:pt x="666" y="387"/>
                    <a:pt x="668" y="385"/>
                  </a:cubicBezTo>
                  <a:cubicBezTo>
                    <a:pt x="670" y="384"/>
                    <a:pt x="671" y="383"/>
                    <a:pt x="672" y="382"/>
                  </a:cubicBezTo>
                  <a:cubicBezTo>
                    <a:pt x="673" y="381"/>
                    <a:pt x="676" y="381"/>
                    <a:pt x="677" y="380"/>
                  </a:cubicBezTo>
                  <a:cubicBezTo>
                    <a:pt x="678" y="379"/>
                    <a:pt x="678" y="377"/>
                    <a:pt x="679" y="375"/>
                  </a:cubicBezTo>
                  <a:cubicBezTo>
                    <a:pt x="680" y="373"/>
                    <a:pt x="681" y="373"/>
                    <a:pt x="682" y="371"/>
                  </a:cubicBezTo>
                  <a:cubicBezTo>
                    <a:pt x="685" y="365"/>
                    <a:pt x="694" y="362"/>
                    <a:pt x="700" y="361"/>
                  </a:cubicBezTo>
                  <a:cubicBezTo>
                    <a:pt x="707" y="359"/>
                    <a:pt x="715" y="360"/>
                    <a:pt x="722" y="361"/>
                  </a:cubicBezTo>
                  <a:cubicBezTo>
                    <a:pt x="724" y="361"/>
                    <a:pt x="725" y="362"/>
                    <a:pt x="727" y="362"/>
                  </a:cubicBezTo>
                  <a:cubicBezTo>
                    <a:pt x="729" y="363"/>
                    <a:pt x="731" y="363"/>
                    <a:pt x="733" y="363"/>
                  </a:cubicBezTo>
                  <a:cubicBezTo>
                    <a:pt x="736" y="363"/>
                    <a:pt x="739" y="366"/>
                    <a:pt x="742" y="365"/>
                  </a:cubicBezTo>
                  <a:cubicBezTo>
                    <a:pt x="739" y="368"/>
                    <a:pt x="736" y="370"/>
                    <a:pt x="733" y="373"/>
                  </a:cubicBezTo>
                  <a:close/>
                  <a:moveTo>
                    <a:pt x="988" y="663"/>
                  </a:moveTo>
                  <a:cubicBezTo>
                    <a:pt x="990" y="658"/>
                    <a:pt x="992" y="654"/>
                    <a:pt x="994" y="650"/>
                  </a:cubicBezTo>
                  <a:cubicBezTo>
                    <a:pt x="997" y="652"/>
                    <a:pt x="996" y="653"/>
                    <a:pt x="997" y="654"/>
                  </a:cubicBezTo>
                  <a:cubicBezTo>
                    <a:pt x="997" y="654"/>
                    <a:pt x="999" y="653"/>
                    <a:pt x="1000" y="654"/>
                  </a:cubicBezTo>
                  <a:cubicBezTo>
                    <a:pt x="997" y="657"/>
                    <a:pt x="992" y="656"/>
                    <a:pt x="991" y="659"/>
                  </a:cubicBezTo>
                  <a:cubicBezTo>
                    <a:pt x="991" y="660"/>
                    <a:pt x="991" y="661"/>
                    <a:pt x="991" y="662"/>
                  </a:cubicBezTo>
                  <a:cubicBezTo>
                    <a:pt x="991" y="663"/>
                    <a:pt x="988" y="664"/>
                    <a:pt x="992" y="665"/>
                  </a:cubicBezTo>
                  <a:cubicBezTo>
                    <a:pt x="993" y="665"/>
                    <a:pt x="993" y="665"/>
                    <a:pt x="995" y="664"/>
                  </a:cubicBezTo>
                  <a:cubicBezTo>
                    <a:pt x="995" y="663"/>
                    <a:pt x="996" y="663"/>
                    <a:pt x="997" y="662"/>
                  </a:cubicBezTo>
                  <a:cubicBezTo>
                    <a:pt x="998" y="662"/>
                    <a:pt x="998" y="663"/>
                    <a:pt x="999" y="663"/>
                  </a:cubicBezTo>
                  <a:cubicBezTo>
                    <a:pt x="1000" y="662"/>
                    <a:pt x="1000" y="661"/>
                    <a:pt x="1001" y="661"/>
                  </a:cubicBezTo>
                  <a:cubicBezTo>
                    <a:pt x="1003" y="661"/>
                    <a:pt x="998" y="664"/>
                    <a:pt x="997" y="664"/>
                  </a:cubicBezTo>
                  <a:cubicBezTo>
                    <a:pt x="995" y="665"/>
                    <a:pt x="996" y="664"/>
                    <a:pt x="996" y="666"/>
                  </a:cubicBezTo>
                  <a:cubicBezTo>
                    <a:pt x="996" y="666"/>
                    <a:pt x="996" y="667"/>
                    <a:pt x="996" y="667"/>
                  </a:cubicBezTo>
                  <a:cubicBezTo>
                    <a:pt x="996" y="668"/>
                    <a:pt x="997" y="668"/>
                    <a:pt x="997" y="669"/>
                  </a:cubicBezTo>
                  <a:cubicBezTo>
                    <a:pt x="997" y="669"/>
                    <a:pt x="998" y="670"/>
                    <a:pt x="998" y="671"/>
                  </a:cubicBezTo>
                  <a:cubicBezTo>
                    <a:pt x="994" y="671"/>
                    <a:pt x="995" y="670"/>
                    <a:pt x="992" y="668"/>
                  </a:cubicBezTo>
                  <a:cubicBezTo>
                    <a:pt x="991" y="667"/>
                    <a:pt x="986" y="666"/>
                    <a:pt x="988" y="663"/>
                  </a:cubicBezTo>
                  <a:close/>
                  <a:moveTo>
                    <a:pt x="1032" y="757"/>
                  </a:moveTo>
                  <a:cubicBezTo>
                    <a:pt x="1032" y="758"/>
                    <a:pt x="1033" y="759"/>
                    <a:pt x="1033" y="760"/>
                  </a:cubicBezTo>
                  <a:cubicBezTo>
                    <a:pt x="1033" y="763"/>
                    <a:pt x="1032" y="767"/>
                    <a:pt x="1034" y="768"/>
                  </a:cubicBezTo>
                  <a:cubicBezTo>
                    <a:pt x="1032" y="769"/>
                    <a:pt x="1029" y="766"/>
                    <a:pt x="1028" y="766"/>
                  </a:cubicBezTo>
                  <a:cubicBezTo>
                    <a:pt x="1027" y="766"/>
                    <a:pt x="1028" y="769"/>
                    <a:pt x="1028" y="770"/>
                  </a:cubicBezTo>
                  <a:cubicBezTo>
                    <a:pt x="1027" y="771"/>
                    <a:pt x="1028" y="773"/>
                    <a:pt x="1027" y="775"/>
                  </a:cubicBezTo>
                  <a:cubicBezTo>
                    <a:pt x="1027" y="776"/>
                    <a:pt x="1024" y="776"/>
                    <a:pt x="1023" y="776"/>
                  </a:cubicBezTo>
                  <a:cubicBezTo>
                    <a:pt x="1017" y="776"/>
                    <a:pt x="1019" y="767"/>
                    <a:pt x="1019" y="763"/>
                  </a:cubicBezTo>
                  <a:cubicBezTo>
                    <a:pt x="1019" y="760"/>
                    <a:pt x="1020" y="760"/>
                    <a:pt x="1020" y="757"/>
                  </a:cubicBezTo>
                  <a:cubicBezTo>
                    <a:pt x="1020" y="756"/>
                    <a:pt x="1020" y="755"/>
                    <a:pt x="1020" y="754"/>
                  </a:cubicBezTo>
                  <a:cubicBezTo>
                    <a:pt x="1020" y="754"/>
                    <a:pt x="1022" y="754"/>
                    <a:pt x="1022" y="754"/>
                  </a:cubicBezTo>
                  <a:cubicBezTo>
                    <a:pt x="1023" y="752"/>
                    <a:pt x="1023" y="751"/>
                    <a:pt x="1024" y="750"/>
                  </a:cubicBezTo>
                  <a:cubicBezTo>
                    <a:pt x="1025" y="749"/>
                    <a:pt x="1026" y="749"/>
                    <a:pt x="1027" y="747"/>
                  </a:cubicBezTo>
                  <a:cubicBezTo>
                    <a:pt x="1022" y="745"/>
                    <a:pt x="1023" y="751"/>
                    <a:pt x="1019" y="752"/>
                  </a:cubicBezTo>
                  <a:cubicBezTo>
                    <a:pt x="1019" y="748"/>
                    <a:pt x="1021" y="745"/>
                    <a:pt x="1023" y="742"/>
                  </a:cubicBezTo>
                  <a:cubicBezTo>
                    <a:pt x="1023" y="741"/>
                    <a:pt x="1025" y="740"/>
                    <a:pt x="1024" y="739"/>
                  </a:cubicBezTo>
                  <a:cubicBezTo>
                    <a:pt x="1024" y="737"/>
                    <a:pt x="1019" y="736"/>
                    <a:pt x="1017" y="736"/>
                  </a:cubicBezTo>
                  <a:cubicBezTo>
                    <a:pt x="1014" y="738"/>
                    <a:pt x="1016" y="741"/>
                    <a:pt x="1014" y="743"/>
                  </a:cubicBezTo>
                  <a:cubicBezTo>
                    <a:pt x="1009" y="747"/>
                    <a:pt x="1013" y="735"/>
                    <a:pt x="1013" y="732"/>
                  </a:cubicBezTo>
                  <a:cubicBezTo>
                    <a:pt x="1013" y="729"/>
                    <a:pt x="1010" y="723"/>
                    <a:pt x="1006" y="726"/>
                  </a:cubicBezTo>
                  <a:cubicBezTo>
                    <a:pt x="1006" y="727"/>
                    <a:pt x="1005" y="730"/>
                    <a:pt x="1005" y="728"/>
                  </a:cubicBezTo>
                  <a:cubicBezTo>
                    <a:pt x="1004" y="727"/>
                    <a:pt x="1006" y="724"/>
                    <a:pt x="1007" y="723"/>
                  </a:cubicBezTo>
                  <a:cubicBezTo>
                    <a:pt x="1005" y="722"/>
                    <a:pt x="1003" y="724"/>
                    <a:pt x="1002" y="722"/>
                  </a:cubicBezTo>
                  <a:cubicBezTo>
                    <a:pt x="1001" y="721"/>
                    <a:pt x="1000" y="723"/>
                    <a:pt x="1000" y="724"/>
                  </a:cubicBezTo>
                  <a:cubicBezTo>
                    <a:pt x="1000" y="724"/>
                    <a:pt x="1000" y="726"/>
                    <a:pt x="1000" y="727"/>
                  </a:cubicBezTo>
                  <a:cubicBezTo>
                    <a:pt x="1000" y="729"/>
                    <a:pt x="999" y="729"/>
                    <a:pt x="1000" y="731"/>
                  </a:cubicBezTo>
                  <a:cubicBezTo>
                    <a:pt x="997" y="729"/>
                    <a:pt x="995" y="729"/>
                    <a:pt x="993" y="726"/>
                  </a:cubicBezTo>
                  <a:cubicBezTo>
                    <a:pt x="991" y="723"/>
                    <a:pt x="989" y="719"/>
                    <a:pt x="986" y="716"/>
                  </a:cubicBezTo>
                  <a:cubicBezTo>
                    <a:pt x="985" y="714"/>
                    <a:pt x="984" y="713"/>
                    <a:pt x="982" y="710"/>
                  </a:cubicBezTo>
                  <a:cubicBezTo>
                    <a:pt x="981" y="708"/>
                    <a:pt x="979" y="707"/>
                    <a:pt x="978" y="706"/>
                  </a:cubicBezTo>
                  <a:cubicBezTo>
                    <a:pt x="976" y="703"/>
                    <a:pt x="976" y="701"/>
                    <a:pt x="978" y="697"/>
                  </a:cubicBezTo>
                  <a:cubicBezTo>
                    <a:pt x="979" y="695"/>
                    <a:pt x="983" y="696"/>
                    <a:pt x="985" y="694"/>
                  </a:cubicBezTo>
                  <a:cubicBezTo>
                    <a:pt x="983" y="693"/>
                    <a:pt x="980" y="693"/>
                    <a:pt x="978" y="693"/>
                  </a:cubicBezTo>
                  <a:cubicBezTo>
                    <a:pt x="976" y="693"/>
                    <a:pt x="976" y="693"/>
                    <a:pt x="975" y="694"/>
                  </a:cubicBezTo>
                  <a:cubicBezTo>
                    <a:pt x="974" y="694"/>
                    <a:pt x="971" y="694"/>
                    <a:pt x="970" y="693"/>
                  </a:cubicBezTo>
                  <a:cubicBezTo>
                    <a:pt x="969" y="693"/>
                    <a:pt x="969" y="690"/>
                    <a:pt x="966" y="689"/>
                  </a:cubicBezTo>
                  <a:cubicBezTo>
                    <a:pt x="966" y="689"/>
                    <a:pt x="966" y="688"/>
                    <a:pt x="966" y="687"/>
                  </a:cubicBezTo>
                  <a:cubicBezTo>
                    <a:pt x="968" y="682"/>
                    <a:pt x="969" y="673"/>
                    <a:pt x="972" y="669"/>
                  </a:cubicBezTo>
                  <a:cubicBezTo>
                    <a:pt x="975" y="666"/>
                    <a:pt x="978" y="668"/>
                    <a:pt x="980" y="668"/>
                  </a:cubicBezTo>
                  <a:cubicBezTo>
                    <a:pt x="984" y="669"/>
                    <a:pt x="986" y="667"/>
                    <a:pt x="990" y="669"/>
                  </a:cubicBezTo>
                  <a:cubicBezTo>
                    <a:pt x="992" y="670"/>
                    <a:pt x="993" y="671"/>
                    <a:pt x="994" y="672"/>
                  </a:cubicBezTo>
                  <a:cubicBezTo>
                    <a:pt x="996" y="673"/>
                    <a:pt x="995" y="673"/>
                    <a:pt x="998" y="673"/>
                  </a:cubicBezTo>
                  <a:cubicBezTo>
                    <a:pt x="999" y="673"/>
                    <a:pt x="998" y="671"/>
                    <a:pt x="999" y="673"/>
                  </a:cubicBezTo>
                  <a:cubicBezTo>
                    <a:pt x="1000" y="674"/>
                    <a:pt x="999" y="675"/>
                    <a:pt x="999" y="676"/>
                  </a:cubicBezTo>
                  <a:cubicBezTo>
                    <a:pt x="1000" y="678"/>
                    <a:pt x="1001" y="678"/>
                    <a:pt x="1002" y="679"/>
                  </a:cubicBezTo>
                  <a:cubicBezTo>
                    <a:pt x="1003" y="682"/>
                    <a:pt x="1004" y="685"/>
                    <a:pt x="1006" y="687"/>
                  </a:cubicBezTo>
                  <a:cubicBezTo>
                    <a:pt x="1007" y="689"/>
                    <a:pt x="1007" y="689"/>
                    <a:pt x="1008" y="691"/>
                  </a:cubicBezTo>
                  <a:cubicBezTo>
                    <a:pt x="1009" y="693"/>
                    <a:pt x="1008" y="694"/>
                    <a:pt x="1010" y="694"/>
                  </a:cubicBezTo>
                  <a:cubicBezTo>
                    <a:pt x="1008" y="697"/>
                    <a:pt x="1008" y="697"/>
                    <a:pt x="1009" y="700"/>
                  </a:cubicBezTo>
                  <a:cubicBezTo>
                    <a:pt x="1010" y="701"/>
                    <a:pt x="1011" y="702"/>
                    <a:pt x="1012" y="703"/>
                  </a:cubicBezTo>
                  <a:cubicBezTo>
                    <a:pt x="1013" y="706"/>
                    <a:pt x="1014" y="707"/>
                    <a:pt x="1015" y="710"/>
                  </a:cubicBezTo>
                  <a:cubicBezTo>
                    <a:pt x="1016" y="713"/>
                    <a:pt x="1017" y="714"/>
                    <a:pt x="1017" y="717"/>
                  </a:cubicBezTo>
                  <a:cubicBezTo>
                    <a:pt x="1017" y="720"/>
                    <a:pt x="1018" y="722"/>
                    <a:pt x="1020" y="725"/>
                  </a:cubicBezTo>
                  <a:cubicBezTo>
                    <a:pt x="1020" y="726"/>
                    <a:pt x="1022" y="726"/>
                    <a:pt x="1022" y="727"/>
                  </a:cubicBezTo>
                  <a:cubicBezTo>
                    <a:pt x="1022" y="728"/>
                    <a:pt x="1021" y="729"/>
                    <a:pt x="1021" y="730"/>
                  </a:cubicBezTo>
                  <a:cubicBezTo>
                    <a:pt x="1022" y="731"/>
                    <a:pt x="1022" y="730"/>
                    <a:pt x="1023" y="730"/>
                  </a:cubicBezTo>
                  <a:cubicBezTo>
                    <a:pt x="1023" y="731"/>
                    <a:pt x="1024" y="731"/>
                    <a:pt x="1025" y="732"/>
                  </a:cubicBezTo>
                  <a:cubicBezTo>
                    <a:pt x="1026" y="733"/>
                    <a:pt x="1024" y="733"/>
                    <a:pt x="1024" y="735"/>
                  </a:cubicBezTo>
                  <a:cubicBezTo>
                    <a:pt x="1025" y="736"/>
                    <a:pt x="1025" y="737"/>
                    <a:pt x="1027" y="738"/>
                  </a:cubicBezTo>
                  <a:cubicBezTo>
                    <a:pt x="1029" y="741"/>
                    <a:pt x="1028" y="743"/>
                    <a:pt x="1030" y="745"/>
                  </a:cubicBezTo>
                  <a:cubicBezTo>
                    <a:pt x="1031" y="746"/>
                    <a:pt x="1035" y="748"/>
                    <a:pt x="1035" y="751"/>
                  </a:cubicBezTo>
                  <a:cubicBezTo>
                    <a:pt x="1035" y="751"/>
                    <a:pt x="1034" y="754"/>
                    <a:pt x="1034" y="754"/>
                  </a:cubicBezTo>
                  <a:cubicBezTo>
                    <a:pt x="1031" y="755"/>
                    <a:pt x="1032" y="755"/>
                    <a:pt x="1032" y="757"/>
                  </a:cubicBezTo>
                  <a:close/>
                  <a:moveTo>
                    <a:pt x="1783" y="779"/>
                  </a:moveTo>
                  <a:cubicBezTo>
                    <a:pt x="1785" y="779"/>
                    <a:pt x="1787" y="778"/>
                    <a:pt x="1789" y="778"/>
                  </a:cubicBezTo>
                  <a:cubicBezTo>
                    <a:pt x="1789" y="778"/>
                    <a:pt x="1789" y="778"/>
                    <a:pt x="1789" y="778"/>
                  </a:cubicBezTo>
                  <a:cubicBezTo>
                    <a:pt x="1789" y="778"/>
                    <a:pt x="1789" y="778"/>
                    <a:pt x="1789" y="778"/>
                  </a:cubicBezTo>
                  <a:cubicBezTo>
                    <a:pt x="1790" y="778"/>
                    <a:pt x="1790" y="778"/>
                    <a:pt x="1790" y="778"/>
                  </a:cubicBezTo>
                  <a:cubicBezTo>
                    <a:pt x="1790" y="778"/>
                    <a:pt x="1790" y="778"/>
                    <a:pt x="1790" y="778"/>
                  </a:cubicBezTo>
                  <a:cubicBezTo>
                    <a:pt x="1791" y="778"/>
                    <a:pt x="1791" y="779"/>
                    <a:pt x="1791" y="779"/>
                  </a:cubicBezTo>
                  <a:cubicBezTo>
                    <a:pt x="1789" y="779"/>
                    <a:pt x="1786" y="779"/>
                    <a:pt x="1783" y="779"/>
                  </a:cubicBezTo>
                  <a:close/>
                  <a:moveTo>
                    <a:pt x="1795" y="780"/>
                  </a:moveTo>
                  <a:cubicBezTo>
                    <a:pt x="1795" y="780"/>
                    <a:pt x="1795" y="780"/>
                    <a:pt x="1795" y="780"/>
                  </a:cubicBezTo>
                  <a:cubicBezTo>
                    <a:pt x="1795" y="780"/>
                    <a:pt x="1795" y="780"/>
                    <a:pt x="1794" y="780"/>
                  </a:cubicBezTo>
                  <a:cubicBezTo>
                    <a:pt x="1795" y="780"/>
                    <a:pt x="1795" y="780"/>
                    <a:pt x="1796" y="780"/>
                  </a:cubicBezTo>
                  <a:cubicBezTo>
                    <a:pt x="1796" y="780"/>
                    <a:pt x="1796" y="780"/>
                    <a:pt x="1796" y="780"/>
                  </a:cubicBezTo>
                  <a:cubicBezTo>
                    <a:pt x="1796" y="780"/>
                    <a:pt x="1796" y="780"/>
                    <a:pt x="1796" y="780"/>
                  </a:cubicBezTo>
                  <a:cubicBezTo>
                    <a:pt x="1796" y="780"/>
                    <a:pt x="1796" y="780"/>
                    <a:pt x="1796" y="780"/>
                  </a:cubicBezTo>
                  <a:cubicBezTo>
                    <a:pt x="1796" y="780"/>
                    <a:pt x="1796" y="780"/>
                    <a:pt x="1795" y="780"/>
                  </a:cubicBezTo>
                  <a:close/>
                  <a:moveTo>
                    <a:pt x="1797" y="780"/>
                  </a:moveTo>
                  <a:cubicBezTo>
                    <a:pt x="1797" y="780"/>
                    <a:pt x="1797" y="780"/>
                    <a:pt x="1797" y="780"/>
                  </a:cubicBezTo>
                  <a:cubicBezTo>
                    <a:pt x="1797" y="780"/>
                    <a:pt x="1797" y="780"/>
                    <a:pt x="1797" y="780"/>
                  </a:cubicBezTo>
                  <a:cubicBezTo>
                    <a:pt x="1797" y="780"/>
                    <a:pt x="1797" y="780"/>
                    <a:pt x="1797" y="780"/>
                  </a:cubicBezTo>
                  <a:close/>
                  <a:moveTo>
                    <a:pt x="1946" y="745"/>
                  </a:moveTo>
                  <a:cubicBezTo>
                    <a:pt x="1946" y="744"/>
                    <a:pt x="1945" y="744"/>
                    <a:pt x="1945" y="744"/>
                  </a:cubicBezTo>
                  <a:cubicBezTo>
                    <a:pt x="1945" y="744"/>
                    <a:pt x="1945" y="744"/>
                    <a:pt x="1945" y="744"/>
                  </a:cubicBezTo>
                  <a:cubicBezTo>
                    <a:pt x="1946" y="743"/>
                    <a:pt x="1948" y="743"/>
                    <a:pt x="1949" y="742"/>
                  </a:cubicBezTo>
                  <a:cubicBezTo>
                    <a:pt x="1948" y="743"/>
                    <a:pt x="1946" y="743"/>
                    <a:pt x="1946" y="74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3" name="TextBox 2">
            <a:extLst>
              <a:ext uri="{FF2B5EF4-FFF2-40B4-BE49-F238E27FC236}">
                <a16:creationId xmlns:a16="http://schemas.microsoft.com/office/drawing/2014/main" id="{2479E5AD-EA0D-42FB-A756-E49B16036E3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sp>
        <p:nvSpPr>
          <p:cNvPr id="377" name="Rectangle 376">
            <a:hlinkClick r:id="rId3" action="ppaction://hlinksldjump"/>
            <a:extLst>
              <a:ext uri="{FF2B5EF4-FFF2-40B4-BE49-F238E27FC236}">
                <a16:creationId xmlns:a16="http://schemas.microsoft.com/office/drawing/2014/main" id="{4D0A955F-674C-49A5-9936-6C39D28A25A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10640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9E35-6328-814D-930E-9E7C85341D69}"/>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05D7E833-EA7F-2E4C-BD10-336A6042358C}"/>
              </a:ext>
            </a:extLst>
          </p:cNvPr>
          <p:cNvSpPr>
            <a:spLocks noGrp="1"/>
          </p:cNvSpPr>
          <p:nvPr>
            <p:ph type="body" idx="10"/>
          </p:nvPr>
        </p:nvSpPr>
        <p:spPr/>
        <p:txBody>
          <a:bodyPr/>
          <a:lstStyle/>
          <a:p>
            <a:endParaRPr lang="en-US"/>
          </a:p>
        </p:txBody>
      </p:sp>
      <p:sp>
        <p:nvSpPr>
          <p:cNvPr id="5" name="Text Placeholder 4">
            <a:extLst>
              <a:ext uri="{FF2B5EF4-FFF2-40B4-BE49-F238E27FC236}">
                <a16:creationId xmlns:a16="http://schemas.microsoft.com/office/drawing/2014/main" id="{5D92BCAB-BD00-3448-A790-0FE285AE2663}"/>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190891113"/>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Canada</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2479E5AD-EA0D-42FB-A756-E49B16036E3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grpSp>
        <p:nvGrpSpPr>
          <p:cNvPr id="376" name="Group 375">
            <a:extLst>
              <a:ext uri="{FF2B5EF4-FFF2-40B4-BE49-F238E27FC236}">
                <a16:creationId xmlns:a16="http://schemas.microsoft.com/office/drawing/2014/main" id="{9061C9AB-07B2-43F2-ADAB-FD5B76CAA4C3}"/>
              </a:ext>
            </a:extLst>
          </p:cNvPr>
          <p:cNvGrpSpPr/>
          <p:nvPr/>
        </p:nvGrpSpPr>
        <p:grpSpPr>
          <a:xfrm>
            <a:off x="3137021" y="331199"/>
            <a:ext cx="6997580" cy="6335795"/>
            <a:chOff x="574675" y="-1558800"/>
            <a:chExt cx="8280000" cy="8018121"/>
          </a:xfrm>
          <a:solidFill>
            <a:schemeClr val="tx2">
              <a:lumMod val="40000"/>
              <a:lumOff val="60000"/>
            </a:schemeClr>
          </a:solidFill>
        </p:grpSpPr>
        <p:grpSp>
          <p:nvGrpSpPr>
            <p:cNvPr id="377" name="Group 376">
              <a:extLst>
                <a:ext uri="{FF2B5EF4-FFF2-40B4-BE49-F238E27FC236}">
                  <a16:creationId xmlns:a16="http://schemas.microsoft.com/office/drawing/2014/main" id="{33323DA0-818E-40BA-8578-68F969B3C045}"/>
                </a:ext>
              </a:extLst>
            </p:cNvPr>
            <p:cNvGrpSpPr/>
            <p:nvPr userDrawn="1"/>
          </p:nvGrpSpPr>
          <p:grpSpPr>
            <a:xfrm>
              <a:off x="6907913" y="2974019"/>
              <a:ext cx="1946762" cy="1917880"/>
              <a:chOff x="6907913" y="2874723"/>
              <a:chExt cx="1946762" cy="1917880"/>
            </a:xfrm>
            <a:grpFill/>
          </p:grpSpPr>
          <p:sp>
            <p:nvSpPr>
              <p:cNvPr id="433" name="Freeform 49">
                <a:extLst>
                  <a:ext uri="{FF2B5EF4-FFF2-40B4-BE49-F238E27FC236}">
                    <a16:creationId xmlns:a16="http://schemas.microsoft.com/office/drawing/2014/main" id="{D02F2ABF-F7C9-40CA-A35C-C2D6F8ADAF83}"/>
                  </a:ext>
                </a:extLst>
              </p:cNvPr>
              <p:cNvSpPr>
                <a:spLocks/>
              </p:cNvSpPr>
              <p:nvPr/>
            </p:nvSpPr>
            <p:spPr bwMode="auto">
              <a:xfrm>
                <a:off x="8107549" y="4008891"/>
                <a:ext cx="747126" cy="783712"/>
              </a:xfrm>
              <a:custGeom>
                <a:avLst/>
                <a:gdLst>
                  <a:gd name="T0" fmla="*/ 4 w 164"/>
                  <a:gd name="T1" fmla="*/ 169 h 172"/>
                  <a:gd name="T2" fmla="*/ 4 w 164"/>
                  <a:gd name="T3" fmla="*/ 152 h 172"/>
                  <a:gd name="T4" fmla="*/ 5 w 164"/>
                  <a:gd name="T5" fmla="*/ 138 h 172"/>
                  <a:gd name="T6" fmla="*/ 6 w 164"/>
                  <a:gd name="T7" fmla="*/ 128 h 172"/>
                  <a:gd name="T8" fmla="*/ 8 w 164"/>
                  <a:gd name="T9" fmla="*/ 110 h 172"/>
                  <a:gd name="T10" fmla="*/ 9 w 164"/>
                  <a:gd name="T11" fmla="*/ 44 h 172"/>
                  <a:gd name="T12" fmla="*/ 10 w 164"/>
                  <a:gd name="T13" fmla="*/ 30 h 172"/>
                  <a:gd name="T14" fmla="*/ 24 w 164"/>
                  <a:gd name="T15" fmla="*/ 5 h 172"/>
                  <a:gd name="T16" fmla="*/ 33 w 164"/>
                  <a:gd name="T17" fmla="*/ 1 h 172"/>
                  <a:gd name="T18" fmla="*/ 39 w 164"/>
                  <a:gd name="T19" fmla="*/ 28 h 172"/>
                  <a:gd name="T20" fmla="*/ 38 w 164"/>
                  <a:gd name="T21" fmla="*/ 46 h 172"/>
                  <a:gd name="T22" fmla="*/ 36 w 164"/>
                  <a:gd name="T23" fmla="*/ 56 h 172"/>
                  <a:gd name="T24" fmla="*/ 35 w 164"/>
                  <a:gd name="T25" fmla="*/ 64 h 172"/>
                  <a:gd name="T26" fmla="*/ 38 w 164"/>
                  <a:gd name="T27" fmla="*/ 60 h 172"/>
                  <a:gd name="T28" fmla="*/ 42 w 164"/>
                  <a:gd name="T29" fmla="*/ 55 h 172"/>
                  <a:gd name="T30" fmla="*/ 53 w 164"/>
                  <a:gd name="T31" fmla="*/ 54 h 172"/>
                  <a:gd name="T32" fmla="*/ 58 w 164"/>
                  <a:gd name="T33" fmla="*/ 63 h 172"/>
                  <a:gd name="T34" fmla="*/ 58 w 164"/>
                  <a:gd name="T35" fmla="*/ 68 h 172"/>
                  <a:gd name="T36" fmla="*/ 65 w 164"/>
                  <a:gd name="T37" fmla="*/ 68 h 172"/>
                  <a:gd name="T38" fmla="*/ 73 w 164"/>
                  <a:gd name="T39" fmla="*/ 66 h 172"/>
                  <a:gd name="T40" fmla="*/ 80 w 164"/>
                  <a:gd name="T41" fmla="*/ 63 h 172"/>
                  <a:gd name="T42" fmla="*/ 94 w 164"/>
                  <a:gd name="T43" fmla="*/ 58 h 172"/>
                  <a:gd name="T44" fmla="*/ 113 w 164"/>
                  <a:gd name="T45" fmla="*/ 58 h 172"/>
                  <a:gd name="T46" fmla="*/ 115 w 164"/>
                  <a:gd name="T47" fmla="*/ 71 h 172"/>
                  <a:gd name="T48" fmla="*/ 117 w 164"/>
                  <a:gd name="T49" fmla="*/ 76 h 172"/>
                  <a:gd name="T50" fmla="*/ 127 w 164"/>
                  <a:gd name="T51" fmla="*/ 78 h 172"/>
                  <a:gd name="T52" fmla="*/ 137 w 164"/>
                  <a:gd name="T53" fmla="*/ 82 h 172"/>
                  <a:gd name="T54" fmla="*/ 129 w 164"/>
                  <a:gd name="T55" fmla="*/ 95 h 172"/>
                  <a:gd name="T56" fmla="*/ 128 w 164"/>
                  <a:gd name="T57" fmla="*/ 97 h 172"/>
                  <a:gd name="T58" fmla="*/ 130 w 164"/>
                  <a:gd name="T59" fmla="*/ 102 h 172"/>
                  <a:gd name="T60" fmla="*/ 131 w 164"/>
                  <a:gd name="T61" fmla="*/ 109 h 172"/>
                  <a:gd name="T62" fmla="*/ 134 w 164"/>
                  <a:gd name="T63" fmla="*/ 110 h 172"/>
                  <a:gd name="T64" fmla="*/ 143 w 164"/>
                  <a:gd name="T65" fmla="*/ 99 h 172"/>
                  <a:gd name="T66" fmla="*/ 147 w 164"/>
                  <a:gd name="T67" fmla="*/ 104 h 172"/>
                  <a:gd name="T68" fmla="*/ 157 w 164"/>
                  <a:gd name="T69" fmla="*/ 107 h 172"/>
                  <a:gd name="T70" fmla="*/ 162 w 164"/>
                  <a:gd name="T71" fmla="*/ 105 h 172"/>
                  <a:gd name="T72" fmla="*/ 164 w 164"/>
                  <a:gd name="T73" fmla="*/ 116 h 172"/>
                  <a:gd name="T74" fmla="*/ 164 w 164"/>
                  <a:gd name="T75" fmla="*/ 130 h 172"/>
                  <a:gd name="T76" fmla="*/ 153 w 164"/>
                  <a:gd name="T77" fmla="*/ 147 h 172"/>
                  <a:gd name="T78" fmla="*/ 147 w 164"/>
                  <a:gd name="T79" fmla="*/ 143 h 172"/>
                  <a:gd name="T80" fmla="*/ 141 w 164"/>
                  <a:gd name="T81" fmla="*/ 143 h 172"/>
                  <a:gd name="T82" fmla="*/ 133 w 164"/>
                  <a:gd name="T83" fmla="*/ 131 h 172"/>
                  <a:gd name="T84" fmla="*/ 127 w 164"/>
                  <a:gd name="T85" fmla="*/ 116 h 172"/>
                  <a:gd name="T86" fmla="*/ 126 w 164"/>
                  <a:gd name="T87" fmla="*/ 121 h 172"/>
                  <a:gd name="T88" fmla="*/ 120 w 164"/>
                  <a:gd name="T89" fmla="*/ 131 h 172"/>
                  <a:gd name="T90" fmla="*/ 113 w 164"/>
                  <a:gd name="T91" fmla="*/ 147 h 172"/>
                  <a:gd name="T92" fmla="*/ 97 w 164"/>
                  <a:gd name="T93" fmla="*/ 165 h 172"/>
                  <a:gd name="T94" fmla="*/ 94 w 164"/>
                  <a:gd name="T95" fmla="*/ 156 h 172"/>
                  <a:gd name="T96" fmla="*/ 99 w 164"/>
                  <a:gd name="T97" fmla="*/ 145 h 172"/>
                  <a:gd name="T98" fmla="*/ 96 w 164"/>
                  <a:gd name="T99" fmla="*/ 141 h 172"/>
                  <a:gd name="T100" fmla="*/ 83 w 164"/>
                  <a:gd name="T101" fmla="*/ 144 h 172"/>
                  <a:gd name="T102" fmla="*/ 64 w 164"/>
                  <a:gd name="T103" fmla="*/ 152 h 172"/>
                  <a:gd name="T104" fmla="*/ 52 w 164"/>
                  <a:gd name="T105" fmla="*/ 158 h 172"/>
                  <a:gd name="T106" fmla="*/ 44 w 164"/>
                  <a:gd name="T107" fmla="*/ 159 h 172"/>
                  <a:gd name="T108" fmla="*/ 25 w 164"/>
                  <a:gd name="T109" fmla="*/ 166 h 172"/>
                  <a:gd name="T110" fmla="*/ 9 w 164"/>
                  <a:gd name="T111" fmla="*/ 172 h 172"/>
                  <a:gd name="T112" fmla="*/ 4 w 164"/>
                  <a:gd name="T113"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4" h="172">
                    <a:moveTo>
                      <a:pt x="4" y="169"/>
                    </a:moveTo>
                    <a:cubicBezTo>
                      <a:pt x="0" y="164"/>
                      <a:pt x="0" y="158"/>
                      <a:pt x="4" y="152"/>
                    </a:cubicBezTo>
                    <a:cubicBezTo>
                      <a:pt x="9" y="146"/>
                      <a:pt x="9" y="139"/>
                      <a:pt x="5" y="138"/>
                    </a:cubicBezTo>
                    <a:cubicBezTo>
                      <a:pt x="2" y="137"/>
                      <a:pt x="2" y="134"/>
                      <a:pt x="6" y="128"/>
                    </a:cubicBezTo>
                    <a:cubicBezTo>
                      <a:pt x="8" y="123"/>
                      <a:pt x="8" y="121"/>
                      <a:pt x="8" y="110"/>
                    </a:cubicBezTo>
                    <a:cubicBezTo>
                      <a:pt x="6" y="91"/>
                      <a:pt x="7" y="67"/>
                      <a:pt x="9" y="44"/>
                    </a:cubicBezTo>
                    <a:cubicBezTo>
                      <a:pt x="10" y="30"/>
                      <a:pt x="10" y="30"/>
                      <a:pt x="10" y="30"/>
                    </a:cubicBezTo>
                    <a:cubicBezTo>
                      <a:pt x="12" y="17"/>
                      <a:pt x="14" y="12"/>
                      <a:pt x="24" y="5"/>
                    </a:cubicBezTo>
                    <a:cubicBezTo>
                      <a:pt x="30" y="0"/>
                      <a:pt x="31" y="0"/>
                      <a:pt x="33" y="1"/>
                    </a:cubicBezTo>
                    <a:cubicBezTo>
                      <a:pt x="38" y="6"/>
                      <a:pt x="40" y="11"/>
                      <a:pt x="39" y="28"/>
                    </a:cubicBezTo>
                    <a:cubicBezTo>
                      <a:pt x="39" y="37"/>
                      <a:pt x="38" y="45"/>
                      <a:pt x="38" y="46"/>
                    </a:cubicBezTo>
                    <a:cubicBezTo>
                      <a:pt x="37" y="47"/>
                      <a:pt x="36" y="51"/>
                      <a:pt x="36" y="56"/>
                    </a:cubicBezTo>
                    <a:cubicBezTo>
                      <a:pt x="35" y="64"/>
                      <a:pt x="35" y="64"/>
                      <a:pt x="35" y="64"/>
                    </a:cubicBezTo>
                    <a:cubicBezTo>
                      <a:pt x="38" y="60"/>
                      <a:pt x="38" y="60"/>
                      <a:pt x="38" y="60"/>
                    </a:cubicBezTo>
                    <a:cubicBezTo>
                      <a:pt x="40" y="58"/>
                      <a:pt x="42" y="55"/>
                      <a:pt x="42" y="55"/>
                    </a:cubicBezTo>
                    <a:cubicBezTo>
                      <a:pt x="42" y="53"/>
                      <a:pt x="48" y="52"/>
                      <a:pt x="53" y="54"/>
                    </a:cubicBezTo>
                    <a:cubicBezTo>
                      <a:pt x="58" y="56"/>
                      <a:pt x="58" y="56"/>
                      <a:pt x="58" y="63"/>
                    </a:cubicBezTo>
                    <a:cubicBezTo>
                      <a:pt x="58" y="68"/>
                      <a:pt x="58" y="68"/>
                      <a:pt x="58" y="68"/>
                    </a:cubicBezTo>
                    <a:cubicBezTo>
                      <a:pt x="65" y="68"/>
                      <a:pt x="65" y="68"/>
                      <a:pt x="65" y="68"/>
                    </a:cubicBezTo>
                    <a:cubicBezTo>
                      <a:pt x="69" y="68"/>
                      <a:pt x="72" y="67"/>
                      <a:pt x="73" y="66"/>
                    </a:cubicBezTo>
                    <a:cubicBezTo>
                      <a:pt x="73" y="66"/>
                      <a:pt x="76" y="64"/>
                      <a:pt x="80" y="63"/>
                    </a:cubicBezTo>
                    <a:cubicBezTo>
                      <a:pt x="84" y="62"/>
                      <a:pt x="90" y="60"/>
                      <a:pt x="94" y="58"/>
                    </a:cubicBezTo>
                    <a:cubicBezTo>
                      <a:pt x="101" y="55"/>
                      <a:pt x="107" y="55"/>
                      <a:pt x="113" y="58"/>
                    </a:cubicBezTo>
                    <a:cubicBezTo>
                      <a:pt x="116" y="60"/>
                      <a:pt x="118" y="67"/>
                      <a:pt x="115" y="71"/>
                    </a:cubicBezTo>
                    <a:cubicBezTo>
                      <a:pt x="114" y="73"/>
                      <a:pt x="114" y="74"/>
                      <a:pt x="117" y="76"/>
                    </a:cubicBezTo>
                    <a:cubicBezTo>
                      <a:pt x="119" y="79"/>
                      <a:pt x="120" y="79"/>
                      <a:pt x="127" y="78"/>
                    </a:cubicBezTo>
                    <a:cubicBezTo>
                      <a:pt x="136" y="76"/>
                      <a:pt x="137" y="77"/>
                      <a:pt x="137" y="82"/>
                    </a:cubicBezTo>
                    <a:cubicBezTo>
                      <a:pt x="137" y="86"/>
                      <a:pt x="134" y="91"/>
                      <a:pt x="129" y="95"/>
                    </a:cubicBezTo>
                    <a:cubicBezTo>
                      <a:pt x="128" y="96"/>
                      <a:pt x="127" y="97"/>
                      <a:pt x="128" y="97"/>
                    </a:cubicBezTo>
                    <a:cubicBezTo>
                      <a:pt x="129" y="97"/>
                      <a:pt x="130" y="100"/>
                      <a:pt x="130" y="102"/>
                    </a:cubicBezTo>
                    <a:cubicBezTo>
                      <a:pt x="130" y="105"/>
                      <a:pt x="130" y="108"/>
                      <a:pt x="131" y="109"/>
                    </a:cubicBezTo>
                    <a:cubicBezTo>
                      <a:pt x="132" y="112"/>
                      <a:pt x="134" y="112"/>
                      <a:pt x="134" y="110"/>
                    </a:cubicBezTo>
                    <a:cubicBezTo>
                      <a:pt x="134" y="107"/>
                      <a:pt x="141" y="99"/>
                      <a:pt x="143" y="99"/>
                    </a:cubicBezTo>
                    <a:cubicBezTo>
                      <a:pt x="145" y="99"/>
                      <a:pt x="146" y="101"/>
                      <a:pt x="147" y="104"/>
                    </a:cubicBezTo>
                    <a:cubicBezTo>
                      <a:pt x="149" y="111"/>
                      <a:pt x="151" y="111"/>
                      <a:pt x="157" y="107"/>
                    </a:cubicBezTo>
                    <a:cubicBezTo>
                      <a:pt x="159" y="105"/>
                      <a:pt x="162" y="104"/>
                      <a:pt x="162" y="105"/>
                    </a:cubicBezTo>
                    <a:cubicBezTo>
                      <a:pt x="163" y="106"/>
                      <a:pt x="163" y="110"/>
                      <a:pt x="164" y="116"/>
                    </a:cubicBezTo>
                    <a:cubicBezTo>
                      <a:pt x="164" y="121"/>
                      <a:pt x="164" y="127"/>
                      <a:pt x="164" y="130"/>
                    </a:cubicBezTo>
                    <a:cubicBezTo>
                      <a:pt x="164" y="138"/>
                      <a:pt x="159" y="146"/>
                      <a:pt x="153" y="147"/>
                    </a:cubicBezTo>
                    <a:cubicBezTo>
                      <a:pt x="149" y="147"/>
                      <a:pt x="148" y="146"/>
                      <a:pt x="147" y="143"/>
                    </a:cubicBezTo>
                    <a:cubicBezTo>
                      <a:pt x="145" y="139"/>
                      <a:pt x="144" y="139"/>
                      <a:pt x="141" y="143"/>
                    </a:cubicBezTo>
                    <a:cubicBezTo>
                      <a:pt x="137" y="151"/>
                      <a:pt x="134" y="146"/>
                      <a:pt x="133" y="131"/>
                    </a:cubicBezTo>
                    <a:cubicBezTo>
                      <a:pt x="131" y="120"/>
                      <a:pt x="130" y="116"/>
                      <a:pt x="127" y="116"/>
                    </a:cubicBezTo>
                    <a:cubicBezTo>
                      <a:pt x="126" y="116"/>
                      <a:pt x="126" y="118"/>
                      <a:pt x="126" y="121"/>
                    </a:cubicBezTo>
                    <a:cubicBezTo>
                      <a:pt x="126" y="125"/>
                      <a:pt x="125" y="127"/>
                      <a:pt x="120" y="131"/>
                    </a:cubicBezTo>
                    <a:cubicBezTo>
                      <a:pt x="115" y="136"/>
                      <a:pt x="114" y="138"/>
                      <a:pt x="113" y="147"/>
                    </a:cubicBezTo>
                    <a:cubicBezTo>
                      <a:pt x="111" y="161"/>
                      <a:pt x="108" y="164"/>
                      <a:pt x="97" y="165"/>
                    </a:cubicBezTo>
                    <a:cubicBezTo>
                      <a:pt x="87" y="165"/>
                      <a:pt x="86" y="163"/>
                      <a:pt x="94" y="156"/>
                    </a:cubicBezTo>
                    <a:cubicBezTo>
                      <a:pt x="98" y="152"/>
                      <a:pt x="99" y="150"/>
                      <a:pt x="99" y="145"/>
                    </a:cubicBezTo>
                    <a:cubicBezTo>
                      <a:pt x="99" y="140"/>
                      <a:pt x="99" y="140"/>
                      <a:pt x="96" y="141"/>
                    </a:cubicBezTo>
                    <a:cubicBezTo>
                      <a:pt x="90" y="144"/>
                      <a:pt x="84" y="146"/>
                      <a:pt x="83" y="144"/>
                    </a:cubicBezTo>
                    <a:cubicBezTo>
                      <a:pt x="81" y="143"/>
                      <a:pt x="78" y="144"/>
                      <a:pt x="64" y="152"/>
                    </a:cubicBezTo>
                    <a:cubicBezTo>
                      <a:pt x="60" y="155"/>
                      <a:pt x="55" y="157"/>
                      <a:pt x="52" y="158"/>
                    </a:cubicBezTo>
                    <a:cubicBezTo>
                      <a:pt x="50" y="158"/>
                      <a:pt x="46" y="159"/>
                      <a:pt x="44" y="159"/>
                    </a:cubicBezTo>
                    <a:cubicBezTo>
                      <a:pt x="41" y="160"/>
                      <a:pt x="32" y="162"/>
                      <a:pt x="25" y="166"/>
                    </a:cubicBezTo>
                    <a:cubicBezTo>
                      <a:pt x="9" y="172"/>
                      <a:pt x="9" y="172"/>
                      <a:pt x="9" y="172"/>
                    </a:cubicBezTo>
                    <a:cubicBezTo>
                      <a:pt x="8" y="172"/>
                      <a:pt x="6" y="171"/>
                      <a:pt x="4"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4" name="Freeform 50">
                <a:extLst>
                  <a:ext uri="{FF2B5EF4-FFF2-40B4-BE49-F238E27FC236}">
                    <a16:creationId xmlns:a16="http://schemas.microsoft.com/office/drawing/2014/main" id="{C61CF609-48D6-481C-8E6D-33AF0EBE6B27}"/>
                  </a:ext>
                </a:extLst>
              </p:cNvPr>
              <p:cNvSpPr>
                <a:spLocks/>
              </p:cNvSpPr>
              <p:nvPr/>
            </p:nvSpPr>
            <p:spPr bwMode="auto">
              <a:xfrm>
                <a:off x="6907913" y="2874723"/>
                <a:ext cx="1326726" cy="1444186"/>
              </a:xfrm>
              <a:custGeom>
                <a:avLst/>
                <a:gdLst>
                  <a:gd name="T0" fmla="*/ 85 w 291"/>
                  <a:gd name="T1" fmla="*/ 315 h 317"/>
                  <a:gd name="T2" fmla="*/ 66 w 291"/>
                  <a:gd name="T3" fmla="*/ 310 h 317"/>
                  <a:gd name="T4" fmla="*/ 52 w 291"/>
                  <a:gd name="T5" fmla="*/ 293 h 317"/>
                  <a:gd name="T6" fmla="*/ 43 w 291"/>
                  <a:gd name="T7" fmla="*/ 290 h 317"/>
                  <a:gd name="T8" fmla="*/ 29 w 291"/>
                  <a:gd name="T9" fmla="*/ 286 h 317"/>
                  <a:gd name="T10" fmla="*/ 23 w 291"/>
                  <a:gd name="T11" fmla="*/ 267 h 317"/>
                  <a:gd name="T12" fmla="*/ 8 w 291"/>
                  <a:gd name="T13" fmla="*/ 236 h 317"/>
                  <a:gd name="T14" fmla="*/ 16 w 291"/>
                  <a:gd name="T15" fmla="*/ 221 h 317"/>
                  <a:gd name="T16" fmla="*/ 28 w 291"/>
                  <a:gd name="T17" fmla="*/ 212 h 317"/>
                  <a:gd name="T18" fmla="*/ 51 w 291"/>
                  <a:gd name="T19" fmla="*/ 213 h 317"/>
                  <a:gd name="T20" fmla="*/ 70 w 291"/>
                  <a:gd name="T21" fmla="*/ 211 h 317"/>
                  <a:gd name="T22" fmla="*/ 71 w 291"/>
                  <a:gd name="T23" fmla="*/ 221 h 317"/>
                  <a:gd name="T24" fmla="*/ 55 w 291"/>
                  <a:gd name="T25" fmla="*/ 237 h 317"/>
                  <a:gd name="T26" fmla="*/ 68 w 291"/>
                  <a:gd name="T27" fmla="*/ 243 h 317"/>
                  <a:gd name="T28" fmla="*/ 98 w 291"/>
                  <a:gd name="T29" fmla="*/ 231 h 317"/>
                  <a:gd name="T30" fmla="*/ 94 w 291"/>
                  <a:gd name="T31" fmla="*/ 217 h 317"/>
                  <a:gd name="T32" fmla="*/ 81 w 291"/>
                  <a:gd name="T33" fmla="*/ 205 h 317"/>
                  <a:gd name="T34" fmla="*/ 78 w 291"/>
                  <a:gd name="T35" fmla="*/ 177 h 317"/>
                  <a:gd name="T36" fmla="*/ 64 w 291"/>
                  <a:gd name="T37" fmla="*/ 152 h 317"/>
                  <a:gd name="T38" fmla="*/ 56 w 291"/>
                  <a:gd name="T39" fmla="*/ 127 h 317"/>
                  <a:gd name="T40" fmla="*/ 46 w 291"/>
                  <a:gd name="T41" fmla="*/ 91 h 317"/>
                  <a:gd name="T42" fmla="*/ 35 w 291"/>
                  <a:gd name="T43" fmla="*/ 75 h 317"/>
                  <a:gd name="T44" fmla="*/ 37 w 291"/>
                  <a:gd name="T45" fmla="*/ 56 h 317"/>
                  <a:gd name="T46" fmla="*/ 19 w 291"/>
                  <a:gd name="T47" fmla="*/ 51 h 317"/>
                  <a:gd name="T48" fmla="*/ 13 w 291"/>
                  <a:gd name="T49" fmla="*/ 30 h 317"/>
                  <a:gd name="T50" fmla="*/ 1 w 291"/>
                  <a:gd name="T51" fmla="*/ 1 h 317"/>
                  <a:gd name="T52" fmla="*/ 34 w 291"/>
                  <a:gd name="T53" fmla="*/ 31 h 317"/>
                  <a:gd name="T54" fmla="*/ 47 w 291"/>
                  <a:gd name="T55" fmla="*/ 42 h 317"/>
                  <a:gd name="T56" fmla="*/ 60 w 291"/>
                  <a:gd name="T57" fmla="*/ 59 h 317"/>
                  <a:gd name="T58" fmla="*/ 74 w 291"/>
                  <a:gd name="T59" fmla="*/ 70 h 317"/>
                  <a:gd name="T60" fmla="*/ 87 w 291"/>
                  <a:gd name="T61" fmla="*/ 88 h 317"/>
                  <a:gd name="T62" fmla="*/ 103 w 291"/>
                  <a:gd name="T63" fmla="*/ 100 h 317"/>
                  <a:gd name="T64" fmla="*/ 103 w 291"/>
                  <a:gd name="T65" fmla="*/ 120 h 317"/>
                  <a:gd name="T66" fmla="*/ 122 w 291"/>
                  <a:gd name="T67" fmla="*/ 136 h 317"/>
                  <a:gd name="T68" fmla="*/ 148 w 291"/>
                  <a:gd name="T69" fmla="*/ 147 h 317"/>
                  <a:gd name="T70" fmla="*/ 166 w 291"/>
                  <a:gd name="T71" fmla="*/ 153 h 317"/>
                  <a:gd name="T72" fmla="*/ 197 w 291"/>
                  <a:gd name="T73" fmla="*/ 153 h 317"/>
                  <a:gd name="T74" fmla="*/ 220 w 291"/>
                  <a:gd name="T75" fmla="*/ 158 h 317"/>
                  <a:gd name="T76" fmla="*/ 204 w 291"/>
                  <a:gd name="T77" fmla="*/ 178 h 317"/>
                  <a:gd name="T78" fmla="*/ 182 w 291"/>
                  <a:gd name="T79" fmla="*/ 203 h 317"/>
                  <a:gd name="T80" fmla="*/ 194 w 291"/>
                  <a:gd name="T81" fmla="*/ 200 h 317"/>
                  <a:gd name="T82" fmla="*/ 222 w 291"/>
                  <a:gd name="T83" fmla="*/ 172 h 317"/>
                  <a:gd name="T84" fmla="*/ 237 w 291"/>
                  <a:gd name="T85" fmla="*/ 181 h 317"/>
                  <a:gd name="T86" fmla="*/ 266 w 291"/>
                  <a:gd name="T87" fmla="*/ 189 h 317"/>
                  <a:gd name="T88" fmla="*/ 274 w 291"/>
                  <a:gd name="T89" fmla="*/ 198 h 317"/>
                  <a:gd name="T90" fmla="*/ 291 w 291"/>
                  <a:gd name="T91" fmla="*/ 236 h 317"/>
                  <a:gd name="T92" fmla="*/ 272 w 291"/>
                  <a:gd name="T93" fmla="*/ 263 h 317"/>
                  <a:gd name="T94" fmla="*/ 259 w 291"/>
                  <a:gd name="T95" fmla="*/ 247 h 317"/>
                  <a:gd name="T96" fmla="*/ 240 w 291"/>
                  <a:gd name="T97" fmla="*/ 253 h 317"/>
                  <a:gd name="T98" fmla="*/ 197 w 291"/>
                  <a:gd name="T99" fmla="*/ 268 h 317"/>
                  <a:gd name="T100" fmla="*/ 126 w 291"/>
                  <a:gd name="T101" fmla="*/ 294 h 317"/>
                  <a:gd name="T102" fmla="*/ 103 w 291"/>
                  <a:gd name="T103" fmla="*/ 288 h 317"/>
                  <a:gd name="T104" fmla="*/ 99 w 291"/>
                  <a:gd name="T105" fmla="*/ 31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1" h="317">
                    <a:moveTo>
                      <a:pt x="91" y="316"/>
                    </a:moveTo>
                    <a:cubicBezTo>
                      <a:pt x="91" y="316"/>
                      <a:pt x="88" y="315"/>
                      <a:pt x="85" y="315"/>
                    </a:cubicBezTo>
                    <a:cubicBezTo>
                      <a:pt x="82" y="314"/>
                      <a:pt x="79" y="313"/>
                      <a:pt x="77" y="312"/>
                    </a:cubicBezTo>
                    <a:cubicBezTo>
                      <a:pt x="75" y="310"/>
                      <a:pt x="73" y="309"/>
                      <a:pt x="66" y="310"/>
                    </a:cubicBezTo>
                    <a:cubicBezTo>
                      <a:pt x="56" y="311"/>
                      <a:pt x="55" y="310"/>
                      <a:pt x="54" y="305"/>
                    </a:cubicBezTo>
                    <a:cubicBezTo>
                      <a:pt x="52" y="296"/>
                      <a:pt x="52" y="295"/>
                      <a:pt x="52" y="293"/>
                    </a:cubicBezTo>
                    <a:cubicBezTo>
                      <a:pt x="52" y="292"/>
                      <a:pt x="51" y="290"/>
                      <a:pt x="50" y="289"/>
                    </a:cubicBezTo>
                    <a:cubicBezTo>
                      <a:pt x="48" y="287"/>
                      <a:pt x="47" y="287"/>
                      <a:pt x="43" y="290"/>
                    </a:cubicBezTo>
                    <a:cubicBezTo>
                      <a:pt x="40" y="291"/>
                      <a:pt x="37" y="293"/>
                      <a:pt x="35" y="293"/>
                    </a:cubicBezTo>
                    <a:cubicBezTo>
                      <a:pt x="32" y="293"/>
                      <a:pt x="27" y="288"/>
                      <a:pt x="29" y="286"/>
                    </a:cubicBezTo>
                    <a:cubicBezTo>
                      <a:pt x="31" y="285"/>
                      <a:pt x="31" y="277"/>
                      <a:pt x="30" y="272"/>
                    </a:cubicBezTo>
                    <a:cubicBezTo>
                      <a:pt x="29" y="270"/>
                      <a:pt x="27" y="268"/>
                      <a:pt x="23" y="267"/>
                    </a:cubicBezTo>
                    <a:cubicBezTo>
                      <a:pt x="12" y="263"/>
                      <a:pt x="1" y="245"/>
                      <a:pt x="5" y="239"/>
                    </a:cubicBezTo>
                    <a:cubicBezTo>
                      <a:pt x="6" y="237"/>
                      <a:pt x="7" y="236"/>
                      <a:pt x="8" y="236"/>
                    </a:cubicBezTo>
                    <a:cubicBezTo>
                      <a:pt x="9" y="236"/>
                      <a:pt x="12" y="231"/>
                      <a:pt x="13" y="226"/>
                    </a:cubicBezTo>
                    <a:cubicBezTo>
                      <a:pt x="13" y="224"/>
                      <a:pt x="14" y="222"/>
                      <a:pt x="16" y="221"/>
                    </a:cubicBezTo>
                    <a:cubicBezTo>
                      <a:pt x="18" y="219"/>
                      <a:pt x="20" y="217"/>
                      <a:pt x="20" y="215"/>
                    </a:cubicBezTo>
                    <a:cubicBezTo>
                      <a:pt x="22" y="211"/>
                      <a:pt x="22" y="211"/>
                      <a:pt x="28" y="212"/>
                    </a:cubicBezTo>
                    <a:cubicBezTo>
                      <a:pt x="31" y="213"/>
                      <a:pt x="36" y="215"/>
                      <a:pt x="38" y="216"/>
                    </a:cubicBezTo>
                    <a:cubicBezTo>
                      <a:pt x="43" y="219"/>
                      <a:pt x="48" y="218"/>
                      <a:pt x="51" y="213"/>
                    </a:cubicBezTo>
                    <a:cubicBezTo>
                      <a:pt x="54" y="209"/>
                      <a:pt x="54" y="209"/>
                      <a:pt x="61" y="210"/>
                    </a:cubicBezTo>
                    <a:cubicBezTo>
                      <a:pt x="65" y="210"/>
                      <a:pt x="69" y="211"/>
                      <a:pt x="70" y="211"/>
                    </a:cubicBezTo>
                    <a:cubicBezTo>
                      <a:pt x="73" y="211"/>
                      <a:pt x="73" y="212"/>
                      <a:pt x="72" y="216"/>
                    </a:cubicBezTo>
                    <a:cubicBezTo>
                      <a:pt x="72" y="218"/>
                      <a:pt x="72" y="221"/>
                      <a:pt x="71" y="221"/>
                    </a:cubicBezTo>
                    <a:cubicBezTo>
                      <a:pt x="65" y="225"/>
                      <a:pt x="60" y="229"/>
                      <a:pt x="60" y="231"/>
                    </a:cubicBezTo>
                    <a:cubicBezTo>
                      <a:pt x="59" y="233"/>
                      <a:pt x="57" y="235"/>
                      <a:pt x="55" y="237"/>
                    </a:cubicBezTo>
                    <a:cubicBezTo>
                      <a:pt x="50" y="240"/>
                      <a:pt x="49" y="242"/>
                      <a:pt x="53" y="245"/>
                    </a:cubicBezTo>
                    <a:cubicBezTo>
                      <a:pt x="56" y="248"/>
                      <a:pt x="65" y="247"/>
                      <a:pt x="68" y="243"/>
                    </a:cubicBezTo>
                    <a:cubicBezTo>
                      <a:pt x="71" y="239"/>
                      <a:pt x="78" y="236"/>
                      <a:pt x="83" y="238"/>
                    </a:cubicBezTo>
                    <a:cubicBezTo>
                      <a:pt x="90" y="240"/>
                      <a:pt x="95" y="237"/>
                      <a:pt x="98" y="231"/>
                    </a:cubicBezTo>
                    <a:cubicBezTo>
                      <a:pt x="100" y="225"/>
                      <a:pt x="101" y="218"/>
                      <a:pt x="99" y="216"/>
                    </a:cubicBezTo>
                    <a:cubicBezTo>
                      <a:pt x="98" y="215"/>
                      <a:pt x="96" y="216"/>
                      <a:pt x="94" y="217"/>
                    </a:cubicBezTo>
                    <a:cubicBezTo>
                      <a:pt x="92" y="219"/>
                      <a:pt x="90" y="220"/>
                      <a:pt x="87" y="220"/>
                    </a:cubicBezTo>
                    <a:cubicBezTo>
                      <a:pt x="76" y="220"/>
                      <a:pt x="75" y="218"/>
                      <a:pt x="81" y="205"/>
                    </a:cubicBezTo>
                    <a:cubicBezTo>
                      <a:pt x="84" y="201"/>
                      <a:pt x="86" y="196"/>
                      <a:pt x="86" y="194"/>
                    </a:cubicBezTo>
                    <a:cubicBezTo>
                      <a:pt x="86" y="190"/>
                      <a:pt x="81" y="179"/>
                      <a:pt x="78" y="177"/>
                    </a:cubicBezTo>
                    <a:cubicBezTo>
                      <a:pt x="77" y="176"/>
                      <a:pt x="76" y="174"/>
                      <a:pt x="76" y="172"/>
                    </a:cubicBezTo>
                    <a:cubicBezTo>
                      <a:pt x="76" y="169"/>
                      <a:pt x="69" y="156"/>
                      <a:pt x="64" y="152"/>
                    </a:cubicBezTo>
                    <a:cubicBezTo>
                      <a:pt x="61" y="150"/>
                      <a:pt x="59" y="147"/>
                      <a:pt x="59" y="142"/>
                    </a:cubicBezTo>
                    <a:cubicBezTo>
                      <a:pt x="56" y="127"/>
                      <a:pt x="56" y="127"/>
                      <a:pt x="56" y="127"/>
                    </a:cubicBezTo>
                    <a:cubicBezTo>
                      <a:pt x="55" y="122"/>
                      <a:pt x="54" y="114"/>
                      <a:pt x="54" y="109"/>
                    </a:cubicBezTo>
                    <a:cubicBezTo>
                      <a:pt x="54" y="98"/>
                      <a:pt x="52" y="92"/>
                      <a:pt x="46" y="91"/>
                    </a:cubicBezTo>
                    <a:cubicBezTo>
                      <a:pt x="44" y="91"/>
                      <a:pt x="40" y="89"/>
                      <a:pt x="38" y="87"/>
                    </a:cubicBezTo>
                    <a:cubicBezTo>
                      <a:pt x="33" y="84"/>
                      <a:pt x="32" y="80"/>
                      <a:pt x="35" y="75"/>
                    </a:cubicBezTo>
                    <a:cubicBezTo>
                      <a:pt x="37" y="73"/>
                      <a:pt x="37" y="71"/>
                      <a:pt x="36" y="69"/>
                    </a:cubicBezTo>
                    <a:cubicBezTo>
                      <a:pt x="35" y="65"/>
                      <a:pt x="35" y="64"/>
                      <a:pt x="37" y="56"/>
                    </a:cubicBezTo>
                    <a:cubicBezTo>
                      <a:pt x="38" y="52"/>
                      <a:pt x="37" y="51"/>
                      <a:pt x="24" y="52"/>
                    </a:cubicBezTo>
                    <a:cubicBezTo>
                      <a:pt x="21" y="52"/>
                      <a:pt x="19" y="52"/>
                      <a:pt x="19" y="51"/>
                    </a:cubicBezTo>
                    <a:cubicBezTo>
                      <a:pt x="20" y="51"/>
                      <a:pt x="19" y="46"/>
                      <a:pt x="18" y="40"/>
                    </a:cubicBezTo>
                    <a:cubicBezTo>
                      <a:pt x="16" y="32"/>
                      <a:pt x="15" y="30"/>
                      <a:pt x="13" y="30"/>
                    </a:cubicBezTo>
                    <a:cubicBezTo>
                      <a:pt x="11" y="29"/>
                      <a:pt x="9" y="28"/>
                      <a:pt x="8" y="27"/>
                    </a:cubicBezTo>
                    <a:cubicBezTo>
                      <a:pt x="6" y="24"/>
                      <a:pt x="0" y="2"/>
                      <a:pt x="1" y="1"/>
                    </a:cubicBezTo>
                    <a:cubicBezTo>
                      <a:pt x="3" y="0"/>
                      <a:pt x="19" y="15"/>
                      <a:pt x="25" y="22"/>
                    </a:cubicBezTo>
                    <a:cubicBezTo>
                      <a:pt x="28" y="27"/>
                      <a:pt x="32" y="31"/>
                      <a:pt x="34" y="31"/>
                    </a:cubicBezTo>
                    <a:cubicBezTo>
                      <a:pt x="35" y="31"/>
                      <a:pt x="37" y="33"/>
                      <a:pt x="39" y="35"/>
                    </a:cubicBezTo>
                    <a:cubicBezTo>
                      <a:pt x="41" y="37"/>
                      <a:pt x="44" y="40"/>
                      <a:pt x="47" y="42"/>
                    </a:cubicBezTo>
                    <a:cubicBezTo>
                      <a:pt x="50" y="44"/>
                      <a:pt x="52" y="47"/>
                      <a:pt x="54" y="52"/>
                    </a:cubicBezTo>
                    <a:cubicBezTo>
                      <a:pt x="56" y="57"/>
                      <a:pt x="58" y="59"/>
                      <a:pt x="60" y="59"/>
                    </a:cubicBezTo>
                    <a:cubicBezTo>
                      <a:pt x="61" y="59"/>
                      <a:pt x="64" y="61"/>
                      <a:pt x="65" y="64"/>
                    </a:cubicBezTo>
                    <a:cubicBezTo>
                      <a:pt x="68" y="68"/>
                      <a:pt x="70" y="69"/>
                      <a:pt x="74" y="70"/>
                    </a:cubicBezTo>
                    <a:cubicBezTo>
                      <a:pt x="79" y="70"/>
                      <a:pt x="80" y="71"/>
                      <a:pt x="83" y="76"/>
                    </a:cubicBezTo>
                    <a:cubicBezTo>
                      <a:pt x="85" y="80"/>
                      <a:pt x="87" y="85"/>
                      <a:pt x="87" y="88"/>
                    </a:cubicBezTo>
                    <a:cubicBezTo>
                      <a:pt x="88" y="93"/>
                      <a:pt x="88" y="94"/>
                      <a:pt x="94" y="96"/>
                    </a:cubicBezTo>
                    <a:cubicBezTo>
                      <a:pt x="98" y="97"/>
                      <a:pt x="102" y="99"/>
                      <a:pt x="103" y="100"/>
                    </a:cubicBezTo>
                    <a:cubicBezTo>
                      <a:pt x="105" y="102"/>
                      <a:pt x="106" y="103"/>
                      <a:pt x="104" y="110"/>
                    </a:cubicBezTo>
                    <a:cubicBezTo>
                      <a:pt x="102" y="116"/>
                      <a:pt x="102" y="117"/>
                      <a:pt x="103" y="120"/>
                    </a:cubicBezTo>
                    <a:cubicBezTo>
                      <a:pt x="104" y="122"/>
                      <a:pt x="106" y="125"/>
                      <a:pt x="106" y="127"/>
                    </a:cubicBezTo>
                    <a:cubicBezTo>
                      <a:pt x="107" y="130"/>
                      <a:pt x="109" y="131"/>
                      <a:pt x="122" y="136"/>
                    </a:cubicBezTo>
                    <a:cubicBezTo>
                      <a:pt x="131" y="139"/>
                      <a:pt x="139" y="141"/>
                      <a:pt x="140" y="141"/>
                    </a:cubicBezTo>
                    <a:cubicBezTo>
                      <a:pt x="141" y="141"/>
                      <a:pt x="145" y="144"/>
                      <a:pt x="148" y="147"/>
                    </a:cubicBezTo>
                    <a:cubicBezTo>
                      <a:pt x="153" y="153"/>
                      <a:pt x="153" y="153"/>
                      <a:pt x="153" y="153"/>
                    </a:cubicBezTo>
                    <a:cubicBezTo>
                      <a:pt x="166" y="153"/>
                      <a:pt x="166" y="153"/>
                      <a:pt x="166" y="153"/>
                    </a:cubicBezTo>
                    <a:cubicBezTo>
                      <a:pt x="173" y="154"/>
                      <a:pt x="181" y="155"/>
                      <a:pt x="184" y="156"/>
                    </a:cubicBezTo>
                    <a:cubicBezTo>
                      <a:pt x="189" y="158"/>
                      <a:pt x="193" y="157"/>
                      <a:pt x="197" y="153"/>
                    </a:cubicBezTo>
                    <a:cubicBezTo>
                      <a:pt x="198" y="152"/>
                      <a:pt x="201" y="152"/>
                      <a:pt x="209" y="154"/>
                    </a:cubicBezTo>
                    <a:cubicBezTo>
                      <a:pt x="215" y="156"/>
                      <a:pt x="220" y="158"/>
                      <a:pt x="220" y="158"/>
                    </a:cubicBezTo>
                    <a:cubicBezTo>
                      <a:pt x="222" y="161"/>
                      <a:pt x="220" y="166"/>
                      <a:pt x="216" y="168"/>
                    </a:cubicBezTo>
                    <a:cubicBezTo>
                      <a:pt x="214" y="169"/>
                      <a:pt x="209" y="174"/>
                      <a:pt x="204" y="178"/>
                    </a:cubicBezTo>
                    <a:cubicBezTo>
                      <a:pt x="200" y="183"/>
                      <a:pt x="195" y="189"/>
                      <a:pt x="193" y="191"/>
                    </a:cubicBezTo>
                    <a:cubicBezTo>
                      <a:pt x="182" y="203"/>
                      <a:pt x="182" y="203"/>
                      <a:pt x="182" y="203"/>
                    </a:cubicBezTo>
                    <a:cubicBezTo>
                      <a:pt x="175" y="210"/>
                      <a:pt x="172" y="218"/>
                      <a:pt x="175" y="220"/>
                    </a:cubicBezTo>
                    <a:cubicBezTo>
                      <a:pt x="178" y="221"/>
                      <a:pt x="193" y="206"/>
                      <a:pt x="194" y="200"/>
                    </a:cubicBezTo>
                    <a:cubicBezTo>
                      <a:pt x="195" y="197"/>
                      <a:pt x="198" y="192"/>
                      <a:pt x="206" y="184"/>
                    </a:cubicBezTo>
                    <a:cubicBezTo>
                      <a:pt x="216" y="173"/>
                      <a:pt x="217" y="172"/>
                      <a:pt x="222" y="172"/>
                    </a:cubicBezTo>
                    <a:cubicBezTo>
                      <a:pt x="226" y="172"/>
                      <a:pt x="228" y="173"/>
                      <a:pt x="230" y="177"/>
                    </a:cubicBezTo>
                    <a:cubicBezTo>
                      <a:pt x="233" y="181"/>
                      <a:pt x="234" y="182"/>
                      <a:pt x="237" y="181"/>
                    </a:cubicBezTo>
                    <a:cubicBezTo>
                      <a:pt x="244" y="179"/>
                      <a:pt x="251" y="179"/>
                      <a:pt x="254" y="182"/>
                    </a:cubicBezTo>
                    <a:cubicBezTo>
                      <a:pt x="256" y="183"/>
                      <a:pt x="262" y="187"/>
                      <a:pt x="266" y="189"/>
                    </a:cubicBezTo>
                    <a:cubicBezTo>
                      <a:pt x="271" y="192"/>
                      <a:pt x="275" y="194"/>
                      <a:pt x="275" y="194"/>
                    </a:cubicBezTo>
                    <a:cubicBezTo>
                      <a:pt x="275" y="194"/>
                      <a:pt x="275" y="196"/>
                      <a:pt x="274" y="198"/>
                    </a:cubicBezTo>
                    <a:cubicBezTo>
                      <a:pt x="271" y="204"/>
                      <a:pt x="274" y="212"/>
                      <a:pt x="280" y="218"/>
                    </a:cubicBezTo>
                    <a:cubicBezTo>
                      <a:pt x="285" y="223"/>
                      <a:pt x="291" y="233"/>
                      <a:pt x="291" y="236"/>
                    </a:cubicBezTo>
                    <a:cubicBezTo>
                      <a:pt x="291" y="238"/>
                      <a:pt x="281" y="253"/>
                      <a:pt x="277" y="258"/>
                    </a:cubicBezTo>
                    <a:cubicBezTo>
                      <a:pt x="272" y="263"/>
                      <a:pt x="272" y="263"/>
                      <a:pt x="272" y="263"/>
                    </a:cubicBezTo>
                    <a:cubicBezTo>
                      <a:pt x="266" y="255"/>
                      <a:pt x="266" y="255"/>
                      <a:pt x="266" y="255"/>
                    </a:cubicBezTo>
                    <a:cubicBezTo>
                      <a:pt x="263" y="251"/>
                      <a:pt x="260" y="248"/>
                      <a:pt x="259" y="247"/>
                    </a:cubicBezTo>
                    <a:cubicBezTo>
                      <a:pt x="259" y="247"/>
                      <a:pt x="256" y="247"/>
                      <a:pt x="253" y="249"/>
                    </a:cubicBezTo>
                    <a:cubicBezTo>
                      <a:pt x="250" y="250"/>
                      <a:pt x="244" y="252"/>
                      <a:pt x="240" y="253"/>
                    </a:cubicBezTo>
                    <a:cubicBezTo>
                      <a:pt x="236" y="254"/>
                      <a:pt x="228" y="256"/>
                      <a:pt x="223" y="259"/>
                    </a:cubicBezTo>
                    <a:cubicBezTo>
                      <a:pt x="217" y="261"/>
                      <a:pt x="205" y="265"/>
                      <a:pt x="197" y="268"/>
                    </a:cubicBezTo>
                    <a:cubicBezTo>
                      <a:pt x="188" y="272"/>
                      <a:pt x="178" y="276"/>
                      <a:pt x="175" y="277"/>
                    </a:cubicBezTo>
                    <a:cubicBezTo>
                      <a:pt x="161" y="283"/>
                      <a:pt x="132" y="293"/>
                      <a:pt x="126" y="294"/>
                    </a:cubicBezTo>
                    <a:cubicBezTo>
                      <a:pt x="121" y="295"/>
                      <a:pt x="119" y="294"/>
                      <a:pt x="113" y="291"/>
                    </a:cubicBezTo>
                    <a:cubicBezTo>
                      <a:pt x="108" y="289"/>
                      <a:pt x="104" y="288"/>
                      <a:pt x="103" y="288"/>
                    </a:cubicBezTo>
                    <a:cubicBezTo>
                      <a:pt x="102" y="289"/>
                      <a:pt x="102" y="292"/>
                      <a:pt x="102" y="295"/>
                    </a:cubicBezTo>
                    <a:cubicBezTo>
                      <a:pt x="101" y="302"/>
                      <a:pt x="100" y="314"/>
                      <a:pt x="99" y="315"/>
                    </a:cubicBezTo>
                    <a:cubicBezTo>
                      <a:pt x="98" y="316"/>
                      <a:pt x="92" y="317"/>
                      <a:pt x="91"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378" name="Group 377">
              <a:extLst>
                <a:ext uri="{FF2B5EF4-FFF2-40B4-BE49-F238E27FC236}">
                  <a16:creationId xmlns:a16="http://schemas.microsoft.com/office/drawing/2014/main" id="{7DC39123-7078-4FE9-B315-D02498242D88}"/>
                </a:ext>
              </a:extLst>
            </p:cNvPr>
            <p:cNvGrpSpPr/>
            <p:nvPr userDrawn="1"/>
          </p:nvGrpSpPr>
          <p:grpSpPr>
            <a:xfrm>
              <a:off x="1545168" y="-1558800"/>
              <a:ext cx="5254912" cy="6833889"/>
              <a:chOff x="1545168" y="-1658096"/>
              <a:chExt cx="5254912" cy="6833889"/>
            </a:xfrm>
            <a:grpFill/>
          </p:grpSpPr>
          <p:sp>
            <p:nvSpPr>
              <p:cNvPr id="394" name="Freeform 6">
                <a:extLst>
                  <a:ext uri="{FF2B5EF4-FFF2-40B4-BE49-F238E27FC236}">
                    <a16:creationId xmlns:a16="http://schemas.microsoft.com/office/drawing/2014/main" id="{CA8D3283-5DA3-42F5-8A6C-21AD1D71E683}"/>
                  </a:ext>
                </a:extLst>
              </p:cNvPr>
              <p:cNvSpPr>
                <a:spLocks noEditPoints="1"/>
              </p:cNvSpPr>
              <p:nvPr/>
            </p:nvSpPr>
            <p:spPr bwMode="auto">
              <a:xfrm>
                <a:off x="1545168" y="700742"/>
                <a:ext cx="2197089" cy="2507107"/>
              </a:xfrm>
              <a:custGeom>
                <a:avLst/>
                <a:gdLst>
                  <a:gd name="T0" fmla="*/ 253 w 482"/>
                  <a:gd name="T1" fmla="*/ 398 h 550"/>
                  <a:gd name="T2" fmla="*/ 300 w 482"/>
                  <a:gd name="T3" fmla="*/ 424 h 550"/>
                  <a:gd name="T4" fmla="*/ 337 w 482"/>
                  <a:gd name="T5" fmla="*/ 413 h 550"/>
                  <a:gd name="T6" fmla="*/ 298 w 482"/>
                  <a:gd name="T7" fmla="*/ 444 h 550"/>
                  <a:gd name="T8" fmla="*/ 267 w 482"/>
                  <a:gd name="T9" fmla="*/ 457 h 550"/>
                  <a:gd name="T10" fmla="*/ 206 w 482"/>
                  <a:gd name="T11" fmla="*/ 450 h 550"/>
                  <a:gd name="T12" fmla="*/ 231 w 482"/>
                  <a:gd name="T13" fmla="*/ 433 h 550"/>
                  <a:gd name="T14" fmla="*/ 239 w 482"/>
                  <a:gd name="T15" fmla="*/ 392 h 550"/>
                  <a:gd name="T16" fmla="*/ 229 w 482"/>
                  <a:gd name="T17" fmla="*/ 205 h 550"/>
                  <a:gd name="T18" fmla="*/ 248 w 482"/>
                  <a:gd name="T19" fmla="*/ 233 h 550"/>
                  <a:gd name="T20" fmla="*/ 242 w 482"/>
                  <a:gd name="T21" fmla="*/ 251 h 550"/>
                  <a:gd name="T22" fmla="*/ 217 w 482"/>
                  <a:gd name="T23" fmla="*/ 246 h 550"/>
                  <a:gd name="T24" fmla="*/ 184 w 482"/>
                  <a:gd name="T25" fmla="*/ 271 h 550"/>
                  <a:gd name="T26" fmla="*/ 181 w 482"/>
                  <a:gd name="T27" fmla="*/ 257 h 550"/>
                  <a:gd name="T28" fmla="*/ 164 w 482"/>
                  <a:gd name="T29" fmla="*/ 240 h 550"/>
                  <a:gd name="T30" fmla="*/ 176 w 482"/>
                  <a:gd name="T31" fmla="*/ 213 h 550"/>
                  <a:gd name="T32" fmla="*/ 153 w 482"/>
                  <a:gd name="T33" fmla="*/ 199 h 550"/>
                  <a:gd name="T34" fmla="*/ 61 w 482"/>
                  <a:gd name="T35" fmla="*/ 1 h 550"/>
                  <a:gd name="T36" fmla="*/ 40 w 482"/>
                  <a:gd name="T37" fmla="*/ 16 h 550"/>
                  <a:gd name="T38" fmla="*/ 3 w 482"/>
                  <a:gd name="T39" fmla="*/ 77 h 550"/>
                  <a:gd name="T40" fmla="*/ 16 w 482"/>
                  <a:gd name="T41" fmla="*/ 138 h 550"/>
                  <a:gd name="T42" fmla="*/ 25 w 482"/>
                  <a:gd name="T43" fmla="*/ 163 h 550"/>
                  <a:gd name="T44" fmla="*/ 10 w 482"/>
                  <a:gd name="T45" fmla="*/ 189 h 550"/>
                  <a:gd name="T46" fmla="*/ 12 w 482"/>
                  <a:gd name="T47" fmla="*/ 209 h 550"/>
                  <a:gd name="T48" fmla="*/ 21 w 482"/>
                  <a:gd name="T49" fmla="*/ 244 h 550"/>
                  <a:gd name="T50" fmla="*/ 12 w 482"/>
                  <a:gd name="T51" fmla="*/ 313 h 550"/>
                  <a:gd name="T52" fmla="*/ 31 w 482"/>
                  <a:gd name="T53" fmla="*/ 359 h 550"/>
                  <a:gd name="T54" fmla="*/ 28 w 482"/>
                  <a:gd name="T55" fmla="*/ 374 h 550"/>
                  <a:gd name="T56" fmla="*/ 48 w 482"/>
                  <a:gd name="T57" fmla="*/ 397 h 550"/>
                  <a:gd name="T58" fmla="*/ 64 w 482"/>
                  <a:gd name="T59" fmla="*/ 437 h 550"/>
                  <a:gd name="T60" fmla="*/ 298 w 482"/>
                  <a:gd name="T61" fmla="*/ 516 h 550"/>
                  <a:gd name="T62" fmla="*/ 374 w 482"/>
                  <a:gd name="T63" fmla="*/ 533 h 550"/>
                  <a:gd name="T64" fmla="*/ 435 w 482"/>
                  <a:gd name="T65" fmla="*/ 545 h 550"/>
                  <a:gd name="T66" fmla="*/ 468 w 482"/>
                  <a:gd name="T67" fmla="*/ 528 h 550"/>
                  <a:gd name="T68" fmla="*/ 475 w 482"/>
                  <a:gd name="T69" fmla="*/ 455 h 550"/>
                  <a:gd name="T70" fmla="*/ 479 w 482"/>
                  <a:gd name="T71" fmla="*/ 409 h 550"/>
                  <a:gd name="T72" fmla="*/ 461 w 482"/>
                  <a:gd name="T73" fmla="*/ 360 h 550"/>
                  <a:gd name="T74" fmla="*/ 374 w 482"/>
                  <a:gd name="T75" fmla="*/ 305 h 550"/>
                  <a:gd name="T76" fmla="*/ 333 w 482"/>
                  <a:gd name="T77" fmla="*/ 284 h 550"/>
                  <a:gd name="T78" fmla="*/ 262 w 482"/>
                  <a:gd name="T79" fmla="*/ 187 h 550"/>
                  <a:gd name="T80" fmla="*/ 254 w 482"/>
                  <a:gd name="T81" fmla="*/ 85 h 550"/>
                  <a:gd name="T82" fmla="*/ 242 w 482"/>
                  <a:gd name="T83" fmla="*/ 73 h 550"/>
                  <a:gd name="T84" fmla="*/ 211 w 482"/>
                  <a:gd name="T85" fmla="*/ 78 h 550"/>
                  <a:gd name="T86" fmla="*/ 214 w 482"/>
                  <a:gd name="T87" fmla="*/ 55 h 550"/>
                  <a:gd name="T88" fmla="*/ 183 w 482"/>
                  <a:gd name="T89" fmla="*/ 60 h 550"/>
                  <a:gd name="T90" fmla="*/ 167 w 482"/>
                  <a:gd name="T91" fmla="*/ 22 h 550"/>
                  <a:gd name="T92" fmla="*/ 153 w 482"/>
                  <a:gd name="T93" fmla="*/ 18 h 550"/>
                  <a:gd name="T94" fmla="*/ 103 w 482"/>
                  <a:gd name="T95" fmla="*/ 10 h 550"/>
                  <a:gd name="T96" fmla="*/ 77 w 482"/>
                  <a:gd name="T97" fmla="*/ 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2" h="550">
                    <a:moveTo>
                      <a:pt x="237" y="380"/>
                    </a:moveTo>
                    <a:cubicBezTo>
                      <a:pt x="238" y="380"/>
                      <a:pt x="241" y="383"/>
                      <a:pt x="243" y="387"/>
                    </a:cubicBezTo>
                    <a:cubicBezTo>
                      <a:pt x="246" y="390"/>
                      <a:pt x="250" y="395"/>
                      <a:pt x="253" y="398"/>
                    </a:cubicBezTo>
                    <a:cubicBezTo>
                      <a:pt x="260" y="405"/>
                      <a:pt x="266" y="411"/>
                      <a:pt x="269" y="417"/>
                    </a:cubicBezTo>
                    <a:cubicBezTo>
                      <a:pt x="272" y="421"/>
                      <a:pt x="274" y="422"/>
                      <a:pt x="282" y="424"/>
                    </a:cubicBezTo>
                    <a:cubicBezTo>
                      <a:pt x="291" y="427"/>
                      <a:pt x="292" y="427"/>
                      <a:pt x="300" y="424"/>
                    </a:cubicBezTo>
                    <a:cubicBezTo>
                      <a:pt x="305" y="423"/>
                      <a:pt x="309" y="421"/>
                      <a:pt x="311" y="418"/>
                    </a:cubicBezTo>
                    <a:cubicBezTo>
                      <a:pt x="315" y="413"/>
                      <a:pt x="321" y="410"/>
                      <a:pt x="330" y="410"/>
                    </a:cubicBezTo>
                    <a:cubicBezTo>
                      <a:pt x="337" y="409"/>
                      <a:pt x="337" y="409"/>
                      <a:pt x="337" y="413"/>
                    </a:cubicBezTo>
                    <a:cubicBezTo>
                      <a:pt x="337" y="419"/>
                      <a:pt x="331" y="425"/>
                      <a:pt x="325" y="427"/>
                    </a:cubicBezTo>
                    <a:cubicBezTo>
                      <a:pt x="322" y="428"/>
                      <a:pt x="317" y="431"/>
                      <a:pt x="314" y="434"/>
                    </a:cubicBezTo>
                    <a:cubicBezTo>
                      <a:pt x="310" y="438"/>
                      <a:pt x="303" y="442"/>
                      <a:pt x="298" y="444"/>
                    </a:cubicBezTo>
                    <a:cubicBezTo>
                      <a:pt x="293" y="447"/>
                      <a:pt x="287" y="450"/>
                      <a:pt x="284" y="451"/>
                    </a:cubicBezTo>
                    <a:cubicBezTo>
                      <a:pt x="281" y="453"/>
                      <a:pt x="277" y="454"/>
                      <a:pt x="275" y="454"/>
                    </a:cubicBezTo>
                    <a:cubicBezTo>
                      <a:pt x="272" y="453"/>
                      <a:pt x="270" y="454"/>
                      <a:pt x="267" y="457"/>
                    </a:cubicBezTo>
                    <a:cubicBezTo>
                      <a:pt x="264" y="459"/>
                      <a:pt x="260" y="462"/>
                      <a:pt x="257" y="463"/>
                    </a:cubicBezTo>
                    <a:cubicBezTo>
                      <a:pt x="254" y="464"/>
                      <a:pt x="250" y="465"/>
                      <a:pt x="248" y="465"/>
                    </a:cubicBezTo>
                    <a:cubicBezTo>
                      <a:pt x="221" y="463"/>
                      <a:pt x="219" y="462"/>
                      <a:pt x="206" y="450"/>
                    </a:cubicBezTo>
                    <a:cubicBezTo>
                      <a:pt x="195" y="440"/>
                      <a:pt x="195" y="437"/>
                      <a:pt x="207" y="437"/>
                    </a:cubicBezTo>
                    <a:cubicBezTo>
                      <a:pt x="211" y="437"/>
                      <a:pt x="216" y="438"/>
                      <a:pt x="218" y="438"/>
                    </a:cubicBezTo>
                    <a:cubicBezTo>
                      <a:pt x="221" y="440"/>
                      <a:pt x="225" y="439"/>
                      <a:pt x="231" y="433"/>
                    </a:cubicBezTo>
                    <a:cubicBezTo>
                      <a:pt x="234" y="430"/>
                      <a:pt x="236" y="429"/>
                      <a:pt x="240" y="430"/>
                    </a:cubicBezTo>
                    <a:cubicBezTo>
                      <a:pt x="247" y="430"/>
                      <a:pt x="250" y="428"/>
                      <a:pt x="250" y="424"/>
                    </a:cubicBezTo>
                    <a:cubicBezTo>
                      <a:pt x="250" y="419"/>
                      <a:pt x="244" y="403"/>
                      <a:pt x="239" y="392"/>
                    </a:cubicBezTo>
                    <a:cubicBezTo>
                      <a:pt x="235" y="384"/>
                      <a:pt x="235" y="380"/>
                      <a:pt x="237" y="380"/>
                    </a:cubicBezTo>
                    <a:close/>
                    <a:moveTo>
                      <a:pt x="189" y="198"/>
                    </a:moveTo>
                    <a:cubicBezTo>
                      <a:pt x="226" y="199"/>
                      <a:pt x="229" y="199"/>
                      <a:pt x="229" y="205"/>
                    </a:cubicBezTo>
                    <a:cubicBezTo>
                      <a:pt x="229" y="206"/>
                      <a:pt x="226" y="210"/>
                      <a:pt x="222" y="213"/>
                    </a:cubicBezTo>
                    <a:cubicBezTo>
                      <a:pt x="218" y="217"/>
                      <a:pt x="216" y="219"/>
                      <a:pt x="217" y="220"/>
                    </a:cubicBezTo>
                    <a:cubicBezTo>
                      <a:pt x="219" y="222"/>
                      <a:pt x="238" y="230"/>
                      <a:pt x="248" y="233"/>
                    </a:cubicBezTo>
                    <a:cubicBezTo>
                      <a:pt x="254" y="235"/>
                      <a:pt x="255" y="235"/>
                      <a:pt x="254" y="239"/>
                    </a:cubicBezTo>
                    <a:cubicBezTo>
                      <a:pt x="253" y="244"/>
                      <a:pt x="251" y="247"/>
                      <a:pt x="249" y="247"/>
                    </a:cubicBezTo>
                    <a:cubicBezTo>
                      <a:pt x="248" y="247"/>
                      <a:pt x="245" y="249"/>
                      <a:pt x="242" y="251"/>
                    </a:cubicBezTo>
                    <a:cubicBezTo>
                      <a:pt x="236" y="255"/>
                      <a:pt x="236" y="255"/>
                      <a:pt x="236" y="255"/>
                    </a:cubicBezTo>
                    <a:cubicBezTo>
                      <a:pt x="228" y="251"/>
                      <a:pt x="228" y="251"/>
                      <a:pt x="228" y="251"/>
                    </a:cubicBezTo>
                    <a:cubicBezTo>
                      <a:pt x="223" y="249"/>
                      <a:pt x="219" y="246"/>
                      <a:pt x="217" y="246"/>
                    </a:cubicBezTo>
                    <a:cubicBezTo>
                      <a:pt x="214" y="244"/>
                      <a:pt x="212" y="246"/>
                      <a:pt x="209" y="255"/>
                    </a:cubicBezTo>
                    <a:cubicBezTo>
                      <a:pt x="206" y="264"/>
                      <a:pt x="205" y="265"/>
                      <a:pt x="194" y="268"/>
                    </a:cubicBezTo>
                    <a:cubicBezTo>
                      <a:pt x="189" y="270"/>
                      <a:pt x="185" y="271"/>
                      <a:pt x="184" y="271"/>
                    </a:cubicBezTo>
                    <a:cubicBezTo>
                      <a:pt x="181" y="271"/>
                      <a:pt x="182" y="267"/>
                      <a:pt x="186" y="263"/>
                    </a:cubicBezTo>
                    <a:cubicBezTo>
                      <a:pt x="194" y="253"/>
                      <a:pt x="194" y="253"/>
                      <a:pt x="190" y="253"/>
                    </a:cubicBezTo>
                    <a:cubicBezTo>
                      <a:pt x="187" y="253"/>
                      <a:pt x="184" y="254"/>
                      <a:pt x="181" y="257"/>
                    </a:cubicBezTo>
                    <a:cubicBezTo>
                      <a:pt x="174" y="263"/>
                      <a:pt x="169" y="263"/>
                      <a:pt x="162" y="260"/>
                    </a:cubicBezTo>
                    <a:cubicBezTo>
                      <a:pt x="159" y="258"/>
                      <a:pt x="156" y="255"/>
                      <a:pt x="155" y="253"/>
                    </a:cubicBezTo>
                    <a:cubicBezTo>
                      <a:pt x="154" y="250"/>
                      <a:pt x="154" y="249"/>
                      <a:pt x="164" y="240"/>
                    </a:cubicBezTo>
                    <a:cubicBezTo>
                      <a:pt x="169" y="235"/>
                      <a:pt x="177" y="229"/>
                      <a:pt x="180" y="227"/>
                    </a:cubicBezTo>
                    <a:cubicBezTo>
                      <a:pt x="183" y="226"/>
                      <a:pt x="187" y="223"/>
                      <a:pt x="187" y="222"/>
                    </a:cubicBezTo>
                    <a:cubicBezTo>
                      <a:pt x="188" y="218"/>
                      <a:pt x="182" y="213"/>
                      <a:pt x="176" y="213"/>
                    </a:cubicBezTo>
                    <a:cubicBezTo>
                      <a:pt x="173" y="213"/>
                      <a:pt x="166" y="212"/>
                      <a:pt x="161" y="210"/>
                    </a:cubicBezTo>
                    <a:cubicBezTo>
                      <a:pt x="154" y="208"/>
                      <a:pt x="152" y="206"/>
                      <a:pt x="152" y="204"/>
                    </a:cubicBezTo>
                    <a:cubicBezTo>
                      <a:pt x="151" y="202"/>
                      <a:pt x="152" y="200"/>
                      <a:pt x="153" y="199"/>
                    </a:cubicBezTo>
                    <a:cubicBezTo>
                      <a:pt x="153" y="199"/>
                      <a:pt x="170" y="198"/>
                      <a:pt x="189" y="198"/>
                    </a:cubicBezTo>
                    <a:close/>
                    <a:moveTo>
                      <a:pt x="72" y="0"/>
                    </a:moveTo>
                    <a:cubicBezTo>
                      <a:pt x="69" y="0"/>
                      <a:pt x="66" y="0"/>
                      <a:pt x="61" y="1"/>
                    </a:cubicBezTo>
                    <a:cubicBezTo>
                      <a:pt x="53" y="2"/>
                      <a:pt x="46" y="3"/>
                      <a:pt x="45" y="3"/>
                    </a:cubicBezTo>
                    <a:cubicBezTo>
                      <a:pt x="44" y="4"/>
                      <a:pt x="44" y="6"/>
                      <a:pt x="44" y="11"/>
                    </a:cubicBezTo>
                    <a:cubicBezTo>
                      <a:pt x="45" y="19"/>
                      <a:pt x="43" y="21"/>
                      <a:pt x="40" y="16"/>
                    </a:cubicBezTo>
                    <a:cubicBezTo>
                      <a:pt x="39" y="14"/>
                      <a:pt x="37" y="12"/>
                      <a:pt x="37" y="12"/>
                    </a:cubicBezTo>
                    <a:cubicBezTo>
                      <a:pt x="34" y="12"/>
                      <a:pt x="14" y="50"/>
                      <a:pt x="10" y="61"/>
                    </a:cubicBezTo>
                    <a:cubicBezTo>
                      <a:pt x="7" y="68"/>
                      <a:pt x="4" y="75"/>
                      <a:pt x="3" y="77"/>
                    </a:cubicBezTo>
                    <a:cubicBezTo>
                      <a:pt x="0" y="82"/>
                      <a:pt x="1" y="84"/>
                      <a:pt x="10" y="90"/>
                    </a:cubicBezTo>
                    <a:cubicBezTo>
                      <a:pt x="30" y="103"/>
                      <a:pt x="30" y="105"/>
                      <a:pt x="22" y="121"/>
                    </a:cubicBezTo>
                    <a:cubicBezTo>
                      <a:pt x="19" y="127"/>
                      <a:pt x="17" y="135"/>
                      <a:pt x="16" y="138"/>
                    </a:cubicBezTo>
                    <a:cubicBezTo>
                      <a:pt x="16" y="143"/>
                      <a:pt x="16" y="144"/>
                      <a:pt x="21" y="148"/>
                    </a:cubicBezTo>
                    <a:cubicBezTo>
                      <a:pt x="24" y="151"/>
                      <a:pt x="26" y="153"/>
                      <a:pt x="26" y="154"/>
                    </a:cubicBezTo>
                    <a:cubicBezTo>
                      <a:pt x="26" y="154"/>
                      <a:pt x="25" y="158"/>
                      <a:pt x="25" y="163"/>
                    </a:cubicBezTo>
                    <a:cubicBezTo>
                      <a:pt x="25" y="172"/>
                      <a:pt x="23" y="175"/>
                      <a:pt x="17" y="176"/>
                    </a:cubicBezTo>
                    <a:cubicBezTo>
                      <a:pt x="13" y="177"/>
                      <a:pt x="11" y="181"/>
                      <a:pt x="11" y="186"/>
                    </a:cubicBezTo>
                    <a:cubicBezTo>
                      <a:pt x="11" y="188"/>
                      <a:pt x="10" y="189"/>
                      <a:pt x="10" y="189"/>
                    </a:cubicBezTo>
                    <a:cubicBezTo>
                      <a:pt x="9" y="189"/>
                      <a:pt x="8" y="191"/>
                      <a:pt x="7" y="193"/>
                    </a:cubicBezTo>
                    <a:cubicBezTo>
                      <a:pt x="7" y="196"/>
                      <a:pt x="7" y="198"/>
                      <a:pt x="9" y="200"/>
                    </a:cubicBezTo>
                    <a:cubicBezTo>
                      <a:pt x="11" y="202"/>
                      <a:pt x="12" y="205"/>
                      <a:pt x="12" y="209"/>
                    </a:cubicBezTo>
                    <a:cubicBezTo>
                      <a:pt x="12" y="213"/>
                      <a:pt x="14" y="218"/>
                      <a:pt x="16" y="223"/>
                    </a:cubicBezTo>
                    <a:cubicBezTo>
                      <a:pt x="18" y="227"/>
                      <a:pt x="19" y="231"/>
                      <a:pt x="18" y="234"/>
                    </a:cubicBezTo>
                    <a:cubicBezTo>
                      <a:pt x="18" y="237"/>
                      <a:pt x="19" y="241"/>
                      <a:pt x="21" y="244"/>
                    </a:cubicBezTo>
                    <a:cubicBezTo>
                      <a:pt x="23" y="250"/>
                      <a:pt x="23" y="250"/>
                      <a:pt x="21" y="258"/>
                    </a:cubicBezTo>
                    <a:cubicBezTo>
                      <a:pt x="18" y="270"/>
                      <a:pt x="14" y="288"/>
                      <a:pt x="13" y="300"/>
                    </a:cubicBezTo>
                    <a:cubicBezTo>
                      <a:pt x="13" y="306"/>
                      <a:pt x="12" y="312"/>
                      <a:pt x="12" y="313"/>
                    </a:cubicBezTo>
                    <a:cubicBezTo>
                      <a:pt x="11" y="315"/>
                      <a:pt x="12" y="317"/>
                      <a:pt x="14" y="320"/>
                    </a:cubicBezTo>
                    <a:cubicBezTo>
                      <a:pt x="18" y="324"/>
                      <a:pt x="20" y="329"/>
                      <a:pt x="22" y="339"/>
                    </a:cubicBezTo>
                    <a:cubicBezTo>
                      <a:pt x="24" y="348"/>
                      <a:pt x="27" y="354"/>
                      <a:pt x="31" y="359"/>
                    </a:cubicBezTo>
                    <a:cubicBezTo>
                      <a:pt x="34" y="362"/>
                      <a:pt x="34" y="362"/>
                      <a:pt x="34" y="362"/>
                    </a:cubicBezTo>
                    <a:cubicBezTo>
                      <a:pt x="31" y="365"/>
                      <a:pt x="31" y="365"/>
                      <a:pt x="31" y="365"/>
                    </a:cubicBezTo>
                    <a:cubicBezTo>
                      <a:pt x="29" y="367"/>
                      <a:pt x="28" y="370"/>
                      <a:pt x="28" y="374"/>
                    </a:cubicBezTo>
                    <a:cubicBezTo>
                      <a:pt x="28" y="377"/>
                      <a:pt x="27" y="380"/>
                      <a:pt x="26" y="382"/>
                    </a:cubicBezTo>
                    <a:cubicBezTo>
                      <a:pt x="25" y="384"/>
                      <a:pt x="26" y="385"/>
                      <a:pt x="34" y="389"/>
                    </a:cubicBezTo>
                    <a:cubicBezTo>
                      <a:pt x="39" y="391"/>
                      <a:pt x="45" y="395"/>
                      <a:pt x="48" y="397"/>
                    </a:cubicBezTo>
                    <a:cubicBezTo>
                      <a:pt x="53" y="400"/>
                      <a:pt x="55" y="400"/>
                      <a:pt x="58" y="399"/>
                    </a:cubicBezTo>
                    <a:cubicBezTo>
                      <a:pt x="64" y="398"/>
                      <a:pt x="64" y="397"/>
                      <a:pt x="64" y="420"/>
                    </a:cubicBezTo>
                    <a:cubicBezTo>
                      <a:pt x="64" y="437"/>
                      <a:pt x="64" y="437"/>
                      <a:pt x="64" y="437"/>
                    </a:cubicBezTo>
                    <a:cubicBezTo>
                      <a:pt x="80" y="444"/>
                      <a:pt x="80" y="444"/>
                      <a:pt x="80" y="444"/>
                    </a:cubicBezTo>
                    <a:cubicBezTo>
                      <a:pt x="130" y="464"/>
                      <a:pt x="190" y="484"/>
                      <a:pt x="247" y="501"/>
                    </a:cubicBezTo>
                    <a:cubicBezTo>
                      <a:pt x="264" y="505"/>
                      <a:pt x="287" y="512"/>
                      <a:pt x="298" y="516"/>
                    </a:cubicBezTo>
                    <a:cubicBezTo>
                      <a:pt x="310" y="519"/>
                      <a:pt x="321" y="522"/>
                      <a:pt x="323" y="523"/>
                    </a:cubicBezTo>
                    <a:cubicBezTo>
                      <a:pt x="325" y="523"/>
                      <a:pt x="337" y="525"/>
                      <a:pt x="349" y="528"/>
                    </a:cubicBezTo>
                    <a:cubicBezTo>
                      <a:pt x="360" y="530"/>
                      <a:pt x="372" y="532"/>
                      <a:pt x="374" y="533"/>
                    </a:cubicBezTo>
                    <a:cubicBezTo>
                      <a:pt x="376" y="533"/>
                      <a:pt x="384" y="535"/>
                      <a:pt x="392" y="536"/>
                    </a:cubicBezTo>
                    <a:cubicBezTo>
                      <a:pt x="400" y="538"/>
                      <a:pt x="409" y="539"/>
                      <a:pt x="411" y="540"/>
                    </a:cubicBezTo>
                    <a:cubicBezTo>
                      <a:pt x="413" y="540"/>
                      <a:pt x="424" y="542"/>
                      <a:pt x="435" y="545"/>
                    </a:cubicBezTo>
                    <a:cubicBezTo>
                      <a:pt x="457" y="549"/>
                      <a:pt x="465" y="550"/>
                      <a:pt x="466" y="547"/>
                    </a:cubicBezTo>
                    <a:cubicBezTo>
                      <a:pt x="466" y="546"/>
                      <a:pt x="466" y="544"/>
                      <a:pt x="466" y="543"/>
                    </a:cubicBezTo>
                    <a:cubicBezTo>
                      <a:pt x="466" y="541"/>
                      <a:pt x="467" y="534"/>
                      <a:pt x="468" y="528"/>
                    </a:cubicBezTo>
                    <a:cubicBezTo>
                      <a:pt x="468" y="521"/>
                      <a:pt x="469" y="514"/>
                      <a:pt x="469" y="512"/>
                    </a:cubicBezTo>
                    <a:cubicBezTo>
                      <a:pt x="469" y="510"/>
                      <a:pt x="470" y="504"/>
                      <a:pt x="470" y="499"/>
                    </a:cubicBezTo>
                    <a:cubicBezTo>
                      <a:pt x="472" y="485"/>
                      <a:pt x="474" y="462"/>
                      <a:pt x="475" y="455"/>
                    </a:cubicBezTo>
                    <a:cubicBezTo>
                      <a:pt x="475" y="452"/>
                      <a:pt x="476" y="445"/>
                      <a:pt x="476" y="438"/>
                    </a:cubicBezTo>
                    <a:cubicBezTo>
                      <a:pt x="477" y="431"/>
                      <a:pt x="477" y="424"/>
                      <a:pt x="478" y="423"/>
                    </a:cubicBezTo>
                    <a:cubicBezTo>
                      <a:pt x="478" y="422"/>
                      <a:pt x="478" y="415"/>
                      <a:pt x="479" y="409"/>
                    </a:cubicBezTo>
                    <a:cubicBezTo>
                      <a:pt x="479" y="402"/>
                      <a:pt x="480" y="391"/>
                      <a:pt x="481" y="385"/>
                    </a:cubicBezTo>
                    <a:cubicBezTo>
                      <a:pt x="482" y="379"/>
                      <a:pt x="482" y="373"/>
                      <a:pt x="482" y="372"/>
                    </a:cubicBezTo>
                    <a:cubicBezTo>
                      <a:pt x="481" y="371"/>
                      <a:pt x="472" y="366"/>
                      <a:pt x="461" y="360"/>
                    </a:cubicBezTo>
                    <a:cubicBezTo>
                      <a:pt x="437" y="348"/>
                      <a:pt x="413" y="335"/>
                      <a:pt x="395" y="326"/>
                    </a:cubicBezTo>
                    <a:cubicBezTo>
                      <a:pt x="383" y="319"/>
                      <a:pt x="383" y="319"/>
                      <a:pt x="383" y="319"/>
                    </a:cubicBezTo>
                    <a:cubicBezTo>
                      <a:pt x="374" y="305"/>
                      <a:pt x="374" y="305"/>
                      <a:pt x="374" y="305"/>
                    </a:cubicBezTo>
                    <a:cubicBezTo>
                      <a:pt x="365" y="291"/>
                      <a:pt x="365" y="291"/>
                      <a:pt x="365" y="291"/>
                    </a:cubicBezTo>
                    <a:cubicBezTo>
                      <a:pt x="349" y="287"/>
                      <a:pt x="349" y="287"/>
                      <a:pt x="349" y="287"/>
                    </a:cubicBezTo>
                    <a:cubicBezTo>
                      <a:pt x="333" y="284"/>
                      <a:pt x="333" y="284"/>
                      <a:pt x="333" y="284"/>
                    </a:cubicBezTo>
                    <a:cubicBezTo>
                      <a:pt x="320" y="265"/>
                      <a:pt x="320" y="265"/>
                      <a:pt x="320" y="265"/>
                    </a:cubicBezTo>
                    <a:cubicBezTo>
                      <a:pt x="312" y="255"/>
                      <a:pt x="300" y="239"/>
                      <a:pt x="293" y="229"/>
                    </a:cubicBezTo>
                    <a:cubicBezTo>
                      <a:pt x="286" y="219"/>
                      <a:pt x="272" y="200"/>
                      <a:pt x="262" y="187"/>
                    </a:cubicBezTo>
                    <a:cubicBezTo>
                      <a:pt x="253" y="173"/>
                      <a:pt x="243" y="161"/>
                      <a:pt x="242" y="159"/>
                    </a:cubicBezTo>
                    <a:cubicBezTo>
                      <a:pt x="240" y="156"/>
                      <a:pt x="240" y="155"/>
                      <a:pt x="245" y="142"/>
                    </a:cubicBezTo>
                    <a:cubicBezTo>
                      <a:pt x="263" y="96"/>
                      <a:pt x="262" y="96"/>
                      <a:pt x="254" y="85"/>
                    </a:cubicBezTo>
                    <a:cubicBezTo>
                      <a:pt x="251" y="81"/>
                      <a:pt x="249" y="78"/>
                      <a:pt x="249" y="77"/>
                    </a:cubicBezTo>
                    <a:cubicBezTo>
                      <a:pt x="249" y="77"/>
                      <a:pt x="248" y="76"/>
                      <a:pt x="247" y="76"/>
                    </a:cubicBezTo>
                    <a:cubicBezTo>
                      <a:pt x="246" y="76"/>
                      <a:pt x="244" y="75"/>
                      <a:pt x="242" y="73"/>
                    </a:cubicBezTo>
                    <a:cubicBezTo>
                      <a:pt x="240" y="72"/>
                      <a:pt x="236" y="70"/>
                      <a:pt x="233" y="70"/>
                    </a:cubicBezTo>
                    <a:cubicBezTo>
                      <a:pt x="228" y="70"/>
                      <a:pt x="226" y="70"/>
                      <a:pt x="221" y="74"/>
                    </a:cubicBezTo>
                    <a:cubicBezTo>
                      <a:pt x="216" y="78"/>
                      <a:pt x="215" y="79"/>
                      <a:pt x="211" y="78"/>
                    </a:cubicBezTo>
                    <a:cubicBezTo>
                      <a:pt x="207" y="76"/>
                      <a:pt x="207" y="75"/>
                      <a:pt x="212" y="70"/>
                    </a:cubicBezTo>
                    <a:cubicBezTo>
                      <a:pt x="214" y="68"/>
                      <a:pt x="216" y="65"/>
                      <a:pt x="215" y="64"/>
                    </a:cubicBezTo>
                    <a:cubicBezTo>
                      <a:pt x="215" y="63"/>
                      <a:pt x="214" y="59"/>
                      <a:pt x="214" y="55"/>
                    </a:cubicBezTo>
                    <a:cubicBezTo>
                      <a:pt x="214" y="43"/>
                      <a:pt x="212" y="43"/>
                      <a:pt x="200" y="55"/>
                    </a:cubicBezTo>
                    <a:cubicBezTo>
                      <a:pt x="194" y="61"/>
                      <a:pt x="189" y="66"/>
                      <a:pt x="188" y="66"/>
                    </a:cubicBezTo>
                    <a:cubicBezTo>
                      <a:pt x="187" y="66"/>
                      <a:pt x="183" y="62"/>
                      <a:pt x="183" y="60"/>
                    </a:cubicBezTo>
                    <a:cubicBezTo>
                      <a:pt x="183" y="60"/>
                      <a:pt x="183" y="51"/>
                      <a:pt x="182" y="41"/>
                    </a:cubicBezTo>
                    <a:cubicBezTo>
                      <a:pt x="182" y="23"/>
                      <a:pt x="182" y="23"/>
                      <a:pt x="179" y="21"/>
                    </a:cubicBezTo>
                    <a:cubicBezTo>
                      <a:pt x="174" y="19"/>
                      <a:pt x="171" y="19"/>
                      <a:pt x="167" y="22"/>
                    </a:cubicBezTo>
                    <a:cubicBezTo>
                      <a:pt x="164" y="24"/>
                      <a:pt x="162" y="25"/>
                      <a:pt x="157" y="25"/>
                    </a:cubicBezTo>
                    <a:cubicBezTo>
                      <a:pt x="152" y="25"/>
                      <a:pt x="150" y="24"/>
                      <a:pt x="151" y="23"/>
                    </a:cubicBezTo>
                    <a:cubicBezTo>
                      <a:pt x="152" y="22"/>
                      <a:pt x="152" y="20"/>
                      <a:pt x="153" y="18"/>
                    </a:cubicBezTo>
                    <a:cubicBezTo>
                      <a:pt x="154" y="14"/>
                      <a:pt x="153" y="13"/>
                      <a:pt x="147" y="10"/>
                    </a:cubicBezTo>
                    <a:cubicBezTo>
                      <a:pt x="140" y="7"/>
                      <a:pt x="130" y="6"/>
                      <a:pt x="121" y="9"/>
                    </a:cubicBezTo>
                    <a:cubicBezTo>
                      <a:pt x="119" y="9"/>
                      <a:pt x="111" y="10"/>
                      <a:pt x="103" y="10"/>
                    </a:cubicBezTo>
                    <a:cubicBezTo>
                      <a:pt x="92" y="11"/>
                      <a:pt x="88" y="12"/>
                      <a:pt x="87" y="13"/>
                    </a:cubicBezTo>
                    <a:cubicBezTo>
                      <a:pt x="86" y="14"/>
                      <a:pt x="84" y="15"/>
                      <a:pt x="82" y="15"/>
                    </a:cubicBezTo>
                    <a:cubicBezTo>
                      <a:pt x="78" y="15"/>
                      <a:pt x="77" y="15"/>
                      <a:pt x="77" y="9"/>
                    </a:cubicBezTo>
                    <a:cubicBezTo>
                      <a:pt x="77" y="2"/>
                      <a:pt x="77"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5" name="Freeform 16">
                <a:extLst>
                  <a:ext uri="{FF2B5EF4-FFF2-40B4-BE49-F238E27FC236}">
                    <a16:creationId xmlns:a16="http://schemas.microsoft.com/office/drawing/2014/main" id="{A541A084-0214-42B4-ACB7-65EE7CBDF5A7}"/>
                  </a:ext>
                </a:extLst>
              </p:cNvPr>
              <p:cNvSpPr>
                <a:spLocks/>
              </p:cNvSpPr>
              <p:nvPr/>
            </p:nvSpPr>
            <p:spPr bwMode="auto">
              <a:xfrm>
                <a:off x="2667783" y="983802"/>
                <a:ext cx="2705442" cy="2287591"/>
              </a:xfrm>
              <a:custGeom>
                <a:avLst/>
                <a:gdLst>
                  <a:gd name="T0" fmla="*/ 326 w 594"/>
                  <a:gd name="T1" fmla="*/ 499 h 502"/>
                  <a:gd name="T2" fmla="*/ 292 w 594"/>
                  <a:gd name="T3" fmla="*/ 495 h 502"/>
                  <a:gd name="T4" fmla="*/ 224 w 594"/>
                  <a:gd name="T5" fmla="*/ 486 h 502"/>
                  <a:gd name="T6" fmla="*/ 229 w 594"/>
                  <a:gd name="T7" fmla="*/ 442 h 502"/>
                  <a:gd name="T8" fmla="*/ 234 w 594"/>
                  <a:gd name="T9" fmla="*/ 381 h 502"/>
                  <a:gd name="T10" fmla="*/ 241 w 594"/>
                  <a:gd name="T11" fmla="*/ 310 h 502"/>
                  <a:gd name="T12" fmla="*/ 147 w 594"/>
                  <a:gd name="T13" fmla="*/ 257 h 502"/>
                  <a:gd name="T14" fmla="*/ 106 w 594"/>
                  <a:gd name="T15" fmla="*/ 221 h 502"/>
                  <a:gd name="T16" fmla="*/ 45 w 594"/>
                  <a:gd name="T17" fmla="*/ 156 h 502"/>
                  <a:gd name="T18" fmla="*/ 19 w 594"/>
                  <a:gd name="T19" fmla="*/ 40 h 502"/>
                  <a:gd name="T20" fmla="*/ 68 w 594"/>
                  <a:gd name="T21" fmla="*/ 76 h 502"/>
                  <a:gd name="T22" fmla="*/ 95 w 594"/>
                  <a:gd name="T23" fmla="*/ 109 h 502"/>
                  <a:gd name="T24" fmla="*/ 72 w 594"/>
                  <a:gd name="T25" fmla="*/ 128 h 502"/>
                  <a:gd name="T26" fmla="*/ 140 w 594"/>
                  <a:gd name="T27" fmla="*/ 140 h 502"/>
                  <a:gd name="T28" fmla="*/ 170 w 594"/>
                  <a:gd name="T29" fmla="*/ 183 h 502"/>
                  <a:gd name="T30" fmla="*/ 171 w 594"/>
                  <a:gd name="T31" fmla="*/ 154 h 502"/>
                  <a:gd name="T32" fmla="*/ 196 w 594"/>
                  <a:gd name="T33" fmla="*/ 137 h 502"/>
                  <a:gd name="T34" fmla="*/ 185 w 594"/>
                  <a:gd name="T35" fmla="*/ 119 h 502"/>
                  <a:gd name="T36" fmla="*/ 217 w 594"/>
                  <a:gd name="T37" fmla="*/ 126 h 502"/>
                  <a:gd name="T38" fmla="*/ 243 w 594"/>
                  <a:gd name="T39" fmla="*/ 153 h 502"/>
                  <a:gd name="T40" fmla="*/ 259 w 594"/>
                  <a:gd name="T41" fmla="*/ 172 h 502"/>
                  <a:gd name="T42" fmla="*/ 305 w 594"/>
                  <a:gd name="T43" fmla="*/ 177 h 502"/>
                  <a:gd name="T44" fmla="*/ 318 w 594"/>
                  <a:gd name="T45" fmla="*/ 164 h 502"/>
                  <a:gd name="T46" fmla="*/ 353 w 594"/>
                  <a:gd name="T47" fmla="*/ 161 h 502"/>
                  <a:gd name="T48" fmla="*/ 356 w 594"/>
                  <a:gd name="T49" fmla="*/ 197 h 502"/>
                  <a:gd name="T50" fmla="*/ 364 w 594"/>
                  <a:gd name="T51" fmla="*/ 203 h 502"/>
                  <a:gd name="T52" fmla="*/ 367 w 594"/>
                  <a:gd name="T53" fmla="*/ 169 h 502"/>
                  <a:gd name="T54" fmla="*/ 388 w 594"/>
                  <a:gd name="T55" fmla="*/ 135 h 502"/>
                  <a:gd name="T56" fmla="*/ 362 w 594"/>
                  <a:gd name="T57" fmla="*/ 96 h 502"/>
                  <a:gd name="T58" fmla="*/ 356 w 594"/>
                  <a:gd name="T59" fmla="*/ 58 h 502"/>
                  <a:gd name="T60" fmla="*/ 363 w 594"/>
                  <a:gd name="T61" fmla="*/ 30 h 502"/>
                  <a:gd name="T62" fmla="*/ 386 w 594"/>
                  <a:gd name="T63" fmla="*/ 2 h 502"/>
                  <a:gd name="T64" fmla="*/ 411 w 594"/>
                  <a:gd name="T65" fmla="*/ 41 h 502"/>
                  <a:gd name="T66" fmla="*/ 419 w 594"/>
                  <a:gd name="T67" fmla="*/ 88 h 502"/>
                  <a:gd name="T68" fmla="*/ 427 w 594"/>
                  <a:gd name="T69" fmla="*/ 107 h 502"/>
                  <a:gd name="T70" fmla="*/ 443 w 594"/>
                  <a:gd name="T71" fmla="*/ 118 h 502"/>
                  <a:gd name="T72" fmla="*/ 449 w 594"/>
                  <a:gd name="T73" fmla="*/ 145 h 502"/>
                  <a:gd name="T74" fmla="*/ 473 w 594"/>
                  <a:gd name="T75" fmla="*/ 132 h 502"/>
                  <a:gd name="T76" fmla="*/ 480 w 594"/>
                  <a:gd name="T77" fmla="*/ 172 h 502"/>
                  <a:gd name="T78" fmla="*/ 495 w 594"/>
                  <a:gd name="T79" fmla="*/ 202 h 502"/>
                  <a:gd name="T80" fmla="*/ 509 w 594"/>
                  <a:gd name="T81" fmla="*/ 170 h 502"/>
                  <a:gd name="T82" fmla="*/ 522 w 594"/>
                  <a:gd name="T83" fmla="*/ 125 h 502"/>
                  <a:gd name="T84" fmla="*/ 545 w 594"/>
                  <a:gd name="T85" fmla="*/ 96 h 502"/>
                  <a:gd name="T86" fmla="*/ 573 w 594"/>
                  <a:gd name="T87" fmla="*/ 113 h 502"/>
                  <a:gd name="T88" fmla="*/ 583 w 594"/>
                  <a:gd name="T89" fmla="*/ 132 h 502"/>
                  <a:gd name="T90" fmla="*/ 578 w 594"/>
                  <a:gd name="T91" fmla="*/ 153 h 502"/>
                  <a:gd name="T92" fmla="*/ 579 w 594"/>
                  <a:gd name="T93" fmla="*/ 172 h 502"/>
                  <a:gd name="T94" fmla="*/ 565 w 594"/>
                  <a:gd name="T95" fmla="*/ 239 h 502"/>
                  <a:gd name="T96" fmla="*/ 554 w 594"/>
                  <a:gd name="T97" fmla="*/ 238 h 502"/>
                  <a:gd name="T98" fmla="*/ 534 w 594"/>
                  <a:gd name="T99" fmla="*/ 246 h 502"/>
                  <a:gd name="T100" fmla="*/ 511 w 594"/>
                  <a:gd name="T101" fmla="*/ 241 h 502"/>
                  <a:gd name="T102" fmla="*/ 509 w 594"/>
                  <a:gd name="T103" fmla="*/ 273 h 502"/>
                  <a:gd name="T104" fmla="*/ 500 w 594"/>
                  <a:gd name="T105" fmla="*/ 292 h 502"/>
                  <a:gd name="T106" fmla="*/ 496 w 594"/>
                  <a:gd name="T107" fmla="*/ 318 h 502"/>
                  <a:gd name="T108" fmla="*/ 450 w 594"/>
                  <a:gd name="T109" fmla="*/ 357 h 502"/>
                  <a:gd name="T110" fmla="*/ 432 w 594"/>
                  <a:gd name="T111" fmla="*/ 365 h 502"/>
                  <a:gd name="T112" fmla="*/ 421 w 594"/>
                  <a:gd name="T113" fmla="*/ 394 h 502"/>
                  <a:gd name="T114" fmla="*/ 390 w 594"/>
                  <a:gd name="T115" fmla="*/ 432 h 502"/>
                  <a:gd name="T116" fmla="*/ 369 w 594"/>
                  <a:gd name="T117" fmla="*/ 472 h 502"/>
                  <a:gd name="T118" fmla="*/ 356 w 594"/>
                  <a:gd name="T119"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4" h="502">
                    <a:moveTo>
                      <a:pt x="350" y="502"/>
                    </a:moveTo>
                    <a:cubicBezTo>
                      <a:pt x="349" y="502"/>
                      <a:pt x="344" y="501"/>
                      <a:pt x="338" y="500"/>
                    </a:cubicBezTo>
                    <a:cubicBezTo>
                      <a:pt x="331" y="500"/>
                      <a:pt x="326" y="499"/>
                      <a:pt x="326" y="499"/>
                    </a:cubicBezTo>
                    <a:cubicBezTo>
                      <a:pt x="325" y="499"/>
                      <a:pt x="320" y="498"/>
                      <a:pt x="314" y="497"/>
                    </a:cubicBezTo>
                    <a:cubicBezTo>
                      <a:pt x="307" y="497"/>
                      <a:pt x="302" y="496"/>
                      <a:pt x="302" y="496"/>
                    </a:cubicBezTo>
                    <a:cubicBezTo>
                      <a:pt x="301" y="496"/>
                      <a:pt x="297" y="495"/>
                      <a:pt x="292" y="495"/>
                    </a:cubicBezTo>
                    <a:cubicBezTo>
                      <a:pt x="287" y="494"/>
                      <a:pt x="280" y="493"/>
                      <a:pt x="276" y="493"/>
                    </a:cubicBezTo>
                    <a:cubicBezTo>
                      <a:pt x="263" y="492"/>
                      <a:pt x="258" y="491"/>
                      <a:pt x="242" y="490"/>
                    </a:cubicBezTo>
                    <a:cubicBezTo>
                      <a:pt x="226" y="488"/>
                      <a:pt x="223" y="487"/>
                      <a:pt x="224" y="486"/>
                    </a:cubicBezTo>
                    <a:cubicBezTo>
                      <a:pt x="225" y="485"/>
                      <a:pt x="225" y="479"/>
                      <a:pt x="226" y="471"/>
                    </a:cubicBezTo>
                    <a:cubicBezTo>
                      <a:pt x="226" y="464"/>
                      <a:pt x="227" y="457"/>
                      <a:pt x="227" y="456"/>
                    </a:cubicBezTo>
                    <a:cubicBezTo>
                      <a:pt x="227" y="455"/>
                      <a:pt x="228" y="448"/>
                      <a:pt x="229" y="442"/>
                    </a:cubicBezTo>
                    <a:cubicBezTo>
                      <a:pt x="229" y="435"/>
                      <a:pt x="230" y="428"/>
                      <a:pt x="230" y="426"/>
                    </a:cubicBezTo>
                    <a:cubicBezTo>
                      <a:pt x="230" y="424"/>
                      <a:pt x="231" y="418"/>
                      <a:pt x="231" y="413"/>
                    </a:cubicBezTo>
                    <a:cubicBezTo>
                      <a:pt x="232" y="401"/>
                      <a:pt x="233" y="389"/>
                      <a:pt x="234" y="381"/>
                    </a:cubicBezTo>
                    <a:cubicBezTo>
                      <a:pt x="235" y="377"/>
                      <a:pt x="235" y="371"/>
                      <a:pt x="236" y="367"/>
                    </a:cubicBezTo>
                    <a:cubicBezTo>
                      <a:pt x="238" y="342"/>
                      <a:pt x="239" y="336"/>
                      <a:pt x="240" y="322"/>
                    </a:cubicBezTo>
                    <a:cubicBezTo>
                      <a:pt x="241" y="317"/>
                      <a:pt x="241" y="312"/>
                      <a:pt x="241" y="310"/>
                    </a:cubicBezTo>
                    <a:cubicBezTo>
                      <a:pt x="241" y="308"/>
                      <a:pt x="239" y="306"/>
                      <a:pt x="230" y="301"/>
                    </a:cubicBezTo>
                    <a:cubicBezTo>
                      <a:pt x="216" y="293"/>
                      <a:pt x="189" y="279"/>
                      <a:pt x="168" y="268"/>
                    </a:cubicBezTo>
                    <a:cubicBezTo>
                      <a:pt x="160" y="264"/>
                      <a:pt x="150" y="258"/>
                      <a:pt x="147" y="257"/>
                    </a:cubicBezTo>
                    <a:cubicBezTo>
                      <a:pt x="141" y="254"/>
                      <a:pt x="138" y="250"/>
                      <a:pt x="127" y="233"/>
                    </a:cubicBezTo>
                    <a:cubicBezTo>
                      <a:pt x="122" y="224"/>
                      <a:pt x="122" y="224"/>
                      <a:pt x="122" y="224"/>
                    </a:cubicBezTo>
                    <a:cubicBezTo>
                      <a:pt x="106" y="221"/>
                      <a:pt x="106" y="221"/>
                      <a:pt x="106" y="221"/>
                    </a:cubicBezTo>
                    <a:cubicBezTo>
                      <a:pt x="90" y="217"/>
                      <a:pt x="90" y="217"/>
                      <a:pt x="90" y="217"/>
                    </a:cubicBezTo>
                    <a:cubicBezTo>
                      <a:pt x="82" y="207"/>
                      <a:pt x="82" y="207"/>
                      <a:pt x="82" y="207"/>
                    </a:cubicBezTo>
                    <a:cubicBezTo>
                      <a:pt x="78" y="201"/>
                      <a:pt x="61" y="178"/>
                      <a:pt x="45" y="156"/>
                    </a:cubicBezTo>
                    <a:cubicBezTo>
                      <a:pt x="29" y="135"/>
                      <a:pt x="13" y="112"/>
                      <a:pt x="8" y="105"/>
                    </a:cubicBezTo>
                    <a:cubicBezTo>
                      <a:pt x="4" y="99"/>
                      <a:pt x="0" y="94"/>
                      <a:pt x="0" y="93"/>
                    </a:cubicBezTo>
                    <a:cubicBezTo>
                      <a:pt x="0" y="91"/>
                      <a:pt x="18" y="41"/>
                      <a:pt x="19" y="40"/>
                    </a:cubicBezTo>
                    <a:cubicBezTo>
                      <a:pt x="21" y="38"/>
                      <a:pt x="35" y="50"/>
                      <a:pt x="40" y="59"/>
                    </a:cubicBezTo>
                    <a:cubicBezTo>
                      <a:pt x="44" y="65"/>
                      <a:pt x="54" y="73"/>
                      <a:pt x="61" y="76"/>
                    </a:cubicBezTo>
                    <a:cubicBezTo>
                      <a:pt x="64" y="78"/>
                      <a:pt x="65" y="78"/>
                      <a:pt x="68" y="76"/>
                    </a:cubicBezTo>
                    <a:cubicBezTo>
                      <a:pt x="71" y="75"/>
                      <a:pt x="72" y="75"/>
                      <a:pt x="77" y="80"/>
                    </a:cubicBezTo>
                    <a:cubicBezTo>
                      <a:pt x="81" y="83"/>
                      <a:pt x="85" y="87"/>
                      <a:pt x="86" y="89"/>
                    </a:cubicBezTo>
                    <a:cubicBezTo>
                      <a:pt x="89" y="94"/>
                      <a:pt x="95" y="106"/>
                      <a:pt x="95" y="109"/>
                    </a:cubicBezTo>
                    <a:cubicBezTo>
                      <a:pt x="95" y="112"/>
                      <a:pt x="91" y="114"/>
                      <a:pt x="84" y="115"/>
                    </a:cubicBezTo>
                    <a:cubicBezTo>
                      <a:pt x="76" y="116"/>
                      <a:pt x="69" y="119"/>
                      <a:pt x="69" y="122"/>
                    </a:cubicBezTo>
                    <a:cubicBezTo>
                      <a:pt x="69" y="123"/>
                      <a:pt x="71" y="126"/>
                      <a:pt x="72" y="128"/>
                    </a:cubicBezTo>
                    <a:cubicBezTo>
                      <a:pt x="75" y="132"/>
                      <a:pt x="78" y="133"/>
                      <a:pt x="90" y="137"/>
                    </a:cubicBezTo>
                    <a:cubicBezTo>
                      <a:pt x="112" y="144"/>
                      <a:pt x="116" y="145"/>
                      <a:pt x="127" y="143"/>
                    </a:cubicBezTo>
                    <a:cubicBezTo>
                      <a:pt x="132" y="142"/>
                      <a:pt x="138" y="141"/>
                      <a:pt x="140" y="140"/>
                    </a:cubicBezTo>
                    <a:cubicBezTo>
                      <a:pt x="143" y="138"/>
                      <a:pt x="144" y="138"/>
                      <a:pt x="146" y="141"/>
                    </a:cubicBezTo>
                    <a:cubicBezTo>
                      <a:pt x="147" y="143"/>
                      <a:pt x="152" y="150"/>
                      <a:pt x="156" y="156"/>
                    </a:cubicBezTo>
                    <a:cubicBezTo>
                      <a:pt x="167" y="171"/>
                      <a:pt x="171" y="178"/>
                      <a:pt x="170" y="183"/>
                    </a:cubicBezTo>
                    <a:cubicBezTo>
                      <a:pt x="170" y="186"/>
                      <a:pt x="170" y="187"/>
                      <a:pt x="171" y="185"/>
                    </a:cubicBezTo>
                    <a:cubicBezTo>
                      <a:pt x="172" y="184"/>
                      <a:pt x="172" y="178"/>
                      <a:pt x="172" y="169"/>
                    </a:cubicBezTo>
                    <a:cubicBezTo>
                      <a:pt x="171" y="154"/>
                      <a:pt x="171" y="154"/>
                      <a:pt x="171" y="154"/>
                    </a:cubicBezTo>
                    <a:cubicBezTo>
                      <a:pt x="186" y="147"/>
                      <a:pt x="186" y="147"/>
                      <a:pt x="186" y="147"/>
                    </a:cubicBezTo>
                    <a:cubicBezTo>
                      <a:pt x="195" y="143"/>
                      <a:pt x="201" y="138"/>
                      <a:pt x="202" y="137"/>
                    </a:cubicBezTo>
                    <a:cubicBezTo>
                      <a:pt x="202" y="135"/>
                      <a:pt x="202" y="135"/>
                      <a:pt x="196" y="137"/>
                    </a:cubicBezTo>
                    <a:cubicBezTo>
                      <a:pt x="193" y="139"/>
                      <a:pt x="187" y="140"/>
                      <a:pt x="183" y="142"/>
                    </a:cubicBezTo>
                    <a:cubicBezTo>
                      <a:pt x="176" y="143"/>
                      <a:pt x="175" y="143"/>
                      <a:pt x="172" y="141"/>
                    </a:cubicBezTo>
                    <a:cubicBezTo>
                      <a:pt x="162" y="133"/>
                      <a:pt x="170" y="120"/>
                      <a:pt x="185" y="119"/>
                    </a:cubicBezTo>
                    <a:cubicBezTo>
                      <a:pt x="188" y="119"/>
                      <a:pt x="193" y="118"/>
                      <a:pt x="197" y="116"/>
                    </a:cubicBezTo>
                    <a:cubicBezTo>
                      <a:pt x="201" y="115"/>
                      <a:pt x="206" y="114"/>
                      <a:pt x="209" y="114"/>
                    </a:cubicBezTo>
                    <a:cubicBezTo>
                      <a:pt x="213" y="115"/>
                      <a:pt x="217" y="120"/>
                      <a:pt x="217" y="126"/>
                    </a:cubicBezTo>
                    <a:cubicBezTo>
                      <a:pt x="217" y="129"/>
                      <a:pt x="219" y="133"/>
                      <a:pt x="220" y="136"/>
                    </a:cubicBezTo>
                    <a:cubicBezTo>
                      <a:pt x="224" y="142"/>
                      <a:pt x="234" y="153"/>
                      <a:pt x="238" y="153"/>
                    </a:cubicBezTo>
                    <a:cubicBezTo>
                      <a:pt x="240" y="153"/>
                      <a:pt x="242" y="153"/>
                      <a:pt x="243" y="153"/>
                    </a:cubicBezTo>
                    <a:cubicBezTo>
                      <a:pt x="244" y="154"/>
                      <a:pt x="245" y="154"/>
                      <a:pt x="246" y="154"/>
                    </a:cubicBezTo>
                    <a:cubicBezTo>
                      <a:pt x="247" y="154"/>
                      <a:pt x="250" y="158"/>
                      <a:pt x="253" y="163"/>
                    </a:cubicBezTo>
                    <a:cubicBezTo>
                      <a:pt x="259" y="172"/>
                      <a:pt x="259" y="172"/>
                      <a:pt x="259" y="172"/>
                    </a:cubicBezTo>
                    <a:cubicBezTo>
                      <a:pt x="268" y="173"/>
                      <a:pt x="268" y="173"/>
                      <a:pt x="268" y="173"/>
                    </a:cubicBezTo>
                    <a:cubicBezTo>
                      <a:pt x="273" y="174"/>
                      <a:pt x="281" y="174"/>
                      <a:pt x="286" y="174"/>
                    </a:cubicBezTo>
                    <a:cubicBezTo>
                      <a:pt x="291" y="174"/>
                      <a:pt x="300" y="175"/>
                      <a:pt x="305" y="177"/>
                    </a:cubicBezTo>
                    <a:cubicBezTo>
                      <a:pt x="315" y="180"/>
                      <a:pt x="315" y="180"/>
                      <a:pt x="315" y="180"/>
                    </a:cubicBezTo>
                    <a:cubicBezTo>
                      <a:pt x="315" y="175"/>
                      <a:pt x="315" y="175"/>
                      <a:pt x="315" y="175"/>
                    </a:cubicBezTo>
                    <a:cubicBezTo>
                      <a:pt x="315" y="172"/>
                      <a:pt x="317" y="167"/>
                      <a:pt x="318" y="164"/>
                    </a:cubicBezTo>
                    <a:cubicBezTo>
                      <a:pt x="319" y="161"/>
                      <a:pt x="320" y="157"/>
                      <a:pt x="320" y="155"/>
                    </a:cubicBezTo>
                    <a:cubicBezTo>
                      <a:pt x="320" y="151"/>
                      <a:pt x="320" y="151"/>
                      <a:pt x="327" y="152"/>
                    </a:cubicBezTo>
                    <a:cubicBezTo>
                      <a:pt x="335" y="153"/>
                      <a:pt x="343" y="156"/>
                      <a:pt x="353" y="161"/>
                    </a:cubicBezTo>
                    <a:cubicBezTo>
                      <a:pt x="357" y="163"/>
                      <a:pt x="361" y="165"/>
                      <a:pt x="361" y="165"/>
                    </a:cubicBezTo>
                    <a:cubicBezTo>
                      <a:pt x="361" y="165"/>
                      <a:pt x="356" y="185"/>
                      <a:pt x="353" y="194"/>
                    </a:cubicBezTo>
                    <a:cubicBezTo>
                      <a:pt x="353" y="195"/>
                      <a:pt x="354" y="196"/>
                      <a:pt x="356" y="197"/>
                    </a:cubicBezTo>
                    <a:cubicBezTo>
                      <a:pt x="358" y="197"/>
                      <a:pt x="360" y="200"/>
                      <a:pt x="361" y="203"/>
                    </a:cubicBezTo>
                    <a:cubicBezTo>
                      <a:pt x="363" y="207"/>
                      <a:pt x="363" y="207"/>
                      <a:pt x="363" y="207"/>
                    </a:cubicBezTo>
                    <a:cubicBezTo>
                      <a:pt x="364" y="203"/>
                      <a:pt x="364" y="203"/>
                      <a:pt x="364" y="203"/>
                    </a:cubicBezTo>
                    <a:cubicBezTo>
                      <a:pt x="364" y="200"/>
                      <a:pt x="364" y="197"/>
                      <a:pt x="363" y="195"/>
                    </a:cubicBezTo>
                    <a:cubicBezTo>
                      <a:pt x="361" y="192"/>
                      <a:pt x="360" y="186"/>
                      <a:pt x="360" y="181"/>
                    </a:cubicBezTo>
                    <a:cubicBezTo>
                      <a:pt x="360" y="171"/>
                      <a:pt x="362" y="168"/>
                      <a:pt x="367" y="169"/>
                    </a:cubicBezTo>
                    <a:cubicBezTo>
                      <a:pt x="372" y="171"/>
                      <a:pt x="382" y="166"/>
                      <a:pt x="387" y="160"/>
                    </a:cubicBezTo>
                    <a:cubicBezTo>
                      <a:pt x="390" y="155"/>
                      <a:pt x="391" y="152"/>
                      <a:pt x="391" y="146"/>
                    </a:cubicBezTo>
                    <a:cubicBezTo>
                      <a:pt x="391" y="139"/>
                      <a:pt x="390" y="137"/>
                      <a:pt x="388" y="135"/>
                    </a:cubicBezTo>
                    <a:cubicBezTo>
                      <a:pt x="385" y="132"/>
                      <a:pt x="384" y="122"/>
                      <a:pt x="387" y="119"/>
                    </a:cubicBezTo>
                    <a:cubicBezTo>
                      <a:pt x="389" y="117"/>
                      <a:pt x="381" y="109"/>
                      <a:pt x="373" y="106"/>
                    </a:cubicBezTo>
                    <a:cubicBezTo>
                      <a:pt x="368" y="105"/>
                      <a:pt x="365" y="103"/>
                      <a:pt x="362" y="96"/>
                    </a:cubicBezTo>
                    <a:cubicBezTo>
                      <a:pt x="357" y="90"/>
                      <a:pt x="357" y="87"/>
                      <a:pt x="357" y="80"/>
                    </a:cubicBezTo>
                    <a:cubicBezTo>
                      <a:pt x="357" y="76"/>
                      <a:pt x="357" y="71"/>
                      <a:pt x="358" y="69"/>
                    </a:cubicBezTo>
                    <a:cubicBezTo>
                      <a:pt x="359" y="67"/>
                      <a:pt x="359" y="65"/>
                      <a:pt x="356" y="58"/>
                    </a:cubicBezTo>
                    <a:cubicBezTo>
                      <a:pt x="352" y="49"/>
                      <a:pt x="352" y="49"/>
                      <a:pt x="352" y="49"/>
                    </a:cubicBezTo>
                    <a:cubicBezTo>
                      <a:pt x="355" y="41"/>
                      <a:pt x="355" y="41"/>
                      <a:pt x="355" y="41"/>
                    </a:cubicBezTo>
                    <a:cubicBezTo>
                      <a:pt x="357" y="34"/>
                      <a:pt x="358" y="33"/>
                      <a:pt x="363" y="30"/>
                    </a:cubicBezTo>
                    <a:cubicBezTo>
                      <a:pt x="369" y="27"/>
                      <a:pt x="369" y="26"/>
                      <a:pt x="368" y="23"/>
                    </a:cubicBezTo>
                    <a:cubicBezTo>
                      <a:pt x="367" y="20"/>
                      <a:pt x="367" y="19"/>
                      <a:pt x="371" y="14"/>
                    </a:cubicBezTo>
                    <a:cubicBezTo>
                      <a:pt x="382" y="0"/>
                      <a:pt x="381" y="1"/>
                      <a:pt x="386" y="2"/>
                    </a:cubicBezTo>
                    <a:cubicBezTo>
                      <a:pt x="390" y="3"/>
                      <a:pt x="392" y="4"/>
                      <a:pt x="393" y="7"/>
                    </a:cubicBezTo>
                    <a:cubicBezTo>
                      <a:pt x="394" y="9"/>
                      <a:pt x="397" y="13"/>
                      <a:pt x="400" y="15"/>
                    </a:cubicBezTo>
                    <a:cubicBezTo>
                      <a:pt x="409" y="24"/>
                      <a:pt x="411" y="27"/>
                      <a:pt x="411" y="41"/>
                    </a:cubicBezTo>
                    <a:cubicBezTo>
                      <a:pt x="412" y="53"/>
                      <a:pt x="412" y="53"/>
                      <a:pt x="419" y="65"/>
                    </a:cubicBezTo>
                    <a:cubicBezTo>
                      <a:pt x="428" y="80"/>
                      <a:pt x="429" y="88"/>
                      <a:pt x="421" y="85"/>
                    </a:cubicBezTo>
                    <a:cubicBezTo>
                      <a:pt x="419" y="84"/>
                      <a:pt x="418" y="84"/>
                      <a:pt x="419" y="88"/>
                    </a:cubicBezTo>
                    <a:cubicBezTo>
                      <a:pt x="419" y="90"/>
                      <a:pt x="419" y="95"/>
                      <a:pt x="418" y="98"/>
                    </a:cubicBezTo>
                    <a:cubicBezTo>
                      <a:pt x="416" y="103"/>
                      <a:pt x="416" y="104"/>
                      <a:pt x="419" y="106"/>
                    </a:cubicBezTo>
                    <a:cubicBezTo>
                      <a:pt x="421" y="108"/>
                      <a:pt x="423" y="108"/>
                      <a:pt x="427" y="107"/>
                    </a:cubicBezTo>
                    <a:cubicBezTo>
                      <a:pt x="433" y="106"/>
                      <a:pt x="437" y="107"/>
                      <a:pt x="448" y="111"/>
                    </a:cubicBezTo>
                    <a:cubicBezTo>
                      <a:pt x="453" y="113"/>
                      <a:pt x="453" y="114"/>
                      <a:pt x="452" y="115"/>
                    </a:cubicBezTo>
                    <a:cubicBezTo>
                      <a:pt x="450" y="116"/>
                      <a:pt x="447" y="118"/>
                      <a:pt x="443" y="118"/>
                    </a:cubicBezTo>
                    <a:cubicBezTo>
                      <a:pt x="433" y="120"/>
                      <a:pt x="432" y="122"/>
                      <a:pt x="439" y="131"/>
                    </a:cubicBezTo>
                    <a:cubicBezTo>
                      <a:pt x="444" y="139"/>
                      <a:pt x="445" y="143"/>
                      <a:pt x="446" y="154"/>
                    </a:cubicBezTo>
                    <a:cubicBezTo>
                      <a:pt x="446" y="160"/>
                      <a:pt x="448" y="154"/>
                      <a:pt x="449" y="145"/>
                    </a:cubicBezTo>
                    <a:cubicBezTo>
                      <a:pt x="451" y="130"/>
                      <a:pt x="453" y="126"/>
                      <a:pt x="459" y="123"/>
                    </a:cubicBezTo>
                    <a:cubicBezTo>
                      <a:pt x="464" y="121"/>
                      <a:pt x="464" y="121"/>
                      <a:pt x="464" y="121"/>
                    </a:cubicBezTo>
                    <a:cubicBezTo>
                      <a:pt x="473" y="132"/>
                      <a:pt x="473" y="132"/>
                      <a:pt x="473" y="132"/>
                    </a:cubicBezTo>
                    <a:cubicBezTo>
                      <a:pt x="480" y="139"/>
                      <a:pt x="483" y="144"/>
                      <a:pt x="484" y="148"/>
                    </a:cubicBezTo>
                    <a:cubicBezTo>
                      <a:pt x="486" y="157"/>
                      <a:pt x="486" y="162"/>
                      <a:pt x="483" y="166"/>
                    </a:cubicBezTo>
                    <a:cubicBezTo>
                      <a:pt x="481" y="167"/>
                      <a:pt x="480" y="170"/>
                      <a:pt x="480" y="172"/>
                    </a:cubicBezTo>
                    <a:cubicBezTo>
                      <a:pt x="480" y="177"/>
                      <a:pt x="483" y="186"/>
                      <a:pt x="484" y="187"/>
                    </a:cubicBezTo>
                    <a:cubicBezTo>
                      <a:pt x="485" y="187"/>
                      <a:pt x="487" y="191"/>
                      <a:pt x="490" y="195"/>
                    </a:cubicBezTo>
                    <a:cubicBezTo>
                      <a:pt x="492" y="199"/>
                      <a:pt x="495" y="202"/>
                      <a:pt x="495" y="202"/>
                    </a:cubicBezTo>
                    <a:cubicBezTo>
                      <a:pt x="498" y="202"/>
                      <a:pt x="503" y="198"/>
                      <a:pt x="504" y="195"/>
                    </a:cubicBezTo>
                    <a:cubicBezTo>
                      <a:pt x="505" y="193"/>
                      <a:pt x="506" y="188"/>
                      <a:pt x="506" y="183"/>
                    </a:cubicBezTo>
                    <a:cubicBezTo>
                      <a:pt x="507" y="178"/>
                      <a:pt x="508" y="173"/>
                      <a:pt x="509" y="170"/>
                    </a:cubicBezTo>
                    <a:cubicBezTo>
                      <a:pt x="510" y="168"/>
                      <a:pt x="512" y="162"/>
                      <a:pt x="514" y="156"/>
                    </a:cubicBezTo>
                    <a:cubicBezTo>
                      <a:pt x="515" y="151"/>
                      <a:pt x="519" y="143"/>
                      <a:pt x="521" y="140"/>
                    </a:cubicBezTo>
                    <a:cubicBezTo>
                      <a:pt x="526" y="133"/>
                      <a:pt x="526" y="129"/>
                      <a:pt x="522" y="125"/>
                    </a:cubicBezTo>
                    <a:cubicBezTo>
                      <a:pt x="519" y="121"/>
                      <a:pt x="515" y="104"/>
                      <a:pt x="516" y="100"/>
                    </a:cubicBezTo>
                    <a:cubicBezTo>
                      <a:pt x="518" y="94"/>
                      <a:pt x="521" y="92"/>
                      <a:pt x="529" y="92"/>
                    </a:cubicBezTo>
                    <a:cubicBezTo>
                      <a:pt x="535" y="92"/>
                      <a:pt x="539" y="93"/>
                      <a:pt x="545" y="96"/>
                    </a:cubicBezTo>
                    <a:cubicBezTo>
                      <a:pt x="549" y="99"/>
                      <a:pt x="554" y="100"/>
                      <a:pt x="555" y="100"/>
                    </a:cubicBezTo>
                    <a:cubicBezTo>
                      <a:pt x="557" y="100"/>
                      <a:pt x="560" y="103"/>
                      <a:pt x="563" y="105"/>
                    </a:cubicBezTo>
                    <a:cubicBezTo>
                      <a:pt x="565" y="108"/>
                      <a:pt x="570" y="111"/>
                      <a:pt x="573" y="113"/>
                    </a:cubicBezTo>
                    <a:cubicBezTo>
                      <a:pt x="579" y="116"/>
                      <a:pt x="585" y="121"/>
                      <a:pt x="585" y="124"/>
                    </a:cubicBezTo>
                    <a:cubicBezTo>
                      <a:pt x="585" y="124"/>
                      <a:pt x="584" y="126"/>
                      <a:pt x="582" y="127"/>
                    </a:cubicBezTo>
                    <a:cubicBezTo>
                      <a:pt x="580" y="128"/>
                      <a:pt x="580" y="129"/>
                      <a:pt x="583" y="132"/>
                    </a:cubicBezTo>
                    <a:cubicBezTo>
                      <a:pt x="585" y="135"/>
                      <a:pt x="586" y="139"/>
                      <a:pt x="587" y="142"/>
                    </a:cubicBezTo>
                    <a:cubicBezTo>
                      <a:pt x="588" y="146"/>
                      <a:pt x="588" y="147"/>
                      <a:pt x="584" y="148"/>
                    </a:cubicBezTo>
                    <a:cubicBezTo>
                      <a:pt x="581" y="149"/>
                      <a:pt x="579" y="151"/>
                      <a:pt x="578" y="153"/>
                    </a:cubicBezTo>
                    <a:cubicBezTo>
                      <a:pt x="577" y="154"/>
                      <a:pt x="575" y="156"/>
                      <a:pt x="573" y="156"/>
                    </a:cubicBezTo>
                    <a:cubicBezTo>
                      <a:pt x="570" y="156"/>
                      <a:pt x="570" y="158"/>
                      <a:pt x="574" y="163"/>
                    </a:cubicBezTo>
                    <a:cubicBezTo>
                      <a:pt x="576" y="165"/>
                      <a:pt x="578" y="169"/>
                      <a:pt x="579" y="172"/>
                    </a:cubicBezTo>
                    <a:cubicBezTo>
                      <a:pt x="579" y="175"/>
                      <a:pt x="581" y="178"/>
                      <a:pt x="584" y="180"/>
                    </a:cubicBezTo>
                    <a:cubicBezTo>
                      <a:pt x="594" y="187"/>
                      <a:pt x="594" y="201"/>
                      <a:pt x="584" y="218"/>
                    </a:cubicBezTo>
                    <a:cubicBezTo>
                      <a:pt x="572" y="238"/>
                      <a:pt x="571" y="239"/>
                      <a:pt x="565" y="239"/>
                    </a:cubicBezTo>
                    <a:cubicBezTo>
                      <a:pt x="562" y="238"/>
                      <a:pt x="558" y="237"/>
                      <a:pt x="556" y="236"/>
                    </a:cubicBezTo>
                    <a:cubicBezTo>
                      <a:pt x="552" y="233"/>
                      <a:pt x="552" y="233"/>
                      <a:pt x="552" y="233"/>
                    </a:cubicBezTo>
                    <a:cubicBezTo>
                      <a:pt x="554" y="238"/>
                      <a:pt x="554" y="238"/>
                      <a:pt x="554" y="238"/>
                    </a:cubicBezTo>
                    <a:cubicBezTo>
                      <a:pt x="557" y="244"/>
                      <a:pt x="555" y="247"/>
                      <a:pt x="550" y="245"/>
                    </a:cubicBezTo>
                    <a:cubicBezTo>
                      <a:pt x="545" y="244"/>
                      <a:pt x="543" y="244"/>
                      <a:pt x="541" y="246"/>
                    </a:cubicBezTo>
                    <a:cubicBezTo>
                      <a:pt x="539" y="247"/>
                      <a:pt x="538" y="247"/>
                      <a:pt x="534" y="246"/>
                    </a:cubicBezTo>
                    <a:cubicBezTo>
                      <a:pt x="531" y="245"/>
                      <a:pt x="528" y="242"/>
                      <a:pt x="527" y="241"/>
                    </a:cubicBezTo>
                    <a:cubicBezTo>
                      <a:pt x="525" y="238"/>
                      <a:pt x="524" y="238"/>
                      <a:pt x="519" y="239"/>
                    </a:cubicBezTo>
                    <a:cubicBezTo>
                      <a:pt x="516" y="239"/>
                      <a:pt x="512" y="240"/>
                      <a:pt x="511" y="241"/>
                    </a:cubicBezTo>
                    <a:cubicBezTo>
                      <a:pt x="509" y="242"/>
                      <a:pt x="509" y="243"/>
                      <a:pt x="513" y="247"/>
                    </a:cubicBezTo>
                    <a:cubicBezTo>
                      <a:pt x="518" y="251"/>
                      <a:pt x="518" y="252"/>
                      <a:pt x="518" y="258"/>
                    </a:cubicBezTo>
                    <a:cubicBezTo>
                      <a:pt x="517" y="262"/>
                      <a:pt x="514" y="266"/>
                      <a:pt x="509" y="273"/>
                    </a:cubicBezTo>
                    <a:cubicBezTo>
                      <a:pt x="505" y="278"/>
                      <a:pt x="501" y="283"/>
                      <a:pt x="500" y="285"/>
                    </a:cubicBezTo>
                    <a:cubicBezTo>
                      <a:pt x="500" y="287"/>
                      <a:pt x="499" y="289"/>
                      <a:pt x="498" y="289"/>
                    </a:cubicBezTo>
                    <a:cubicBezTo>
                      <a:pt x="497" y="289"/>
                      <a:pt x="498" y="290"/>
                      <a:pt x="500" y="292"/>
                    </a:cubicBezTo>
                    <a:cubicBezTo>
                      <a:pt x="504" y="295"/>
                      <a:pt x="504" y="296"/>
                      <a:pt x="504" y="301"/>
                    </a:cubicBezTo>
                    <a:cubicBezTo>
                      <a:pt x="504" y="304"/>
                      <a:pt x="502" y="308"/>
                      <a:pt x="501" y="310"/>
                    </a:cubicBezTo>
                    <a:cubicBezTo>
                      <a:pt x="500" y="312"/>
                      <a:pt x="498" y="315"/>
                      <a:pt x="496" y="318"/>
                    </a:cubicBezTo>
                    <a:cubicBezTo>
                      <a:pt x="495" y="320"/>
                      <a:pt x="490" y="327"/>
                      <a:pt x="487" y="333"/>
                    </a:cubicBezTo>
                    <a:cubicBezTo>
                      <a:pt x="480" y="345"/>
                      <a:pt x="478" y="347"/>
                      <a:pt x="464" y="347"/>
                    </a:cubicBezTo>
                    <a:cubicBezTo>
                      <a:pt x="454" y="347"/>
                      <a:pt x="451" y="349"/>
                      <a:pt x="450" y="357"/>
                    </a:cubicBezTo>
                    <a:cubicBezTo>
                      <a:pt x="450" y="361"/>
                      <a:pt x="449" y="362"/>
                      <a:pt x="443" y="361"/>
                    </a:cubicBezTo>
                    <a:cubicBezTo>
                      <a:pt x="440" y="361"/>
                      <a:pt x="435" y="361"/>
                      <a:pt x="433" y="361"/>
                    </a:cubicBezTo>
                    <a:cubicBezTo>
                      <a:pt x="427" y="359"/>
                      <a:pt x="427" y="362"/>
                      <a:pt x="432" y="365"/>
                    </a:cubicBezTo>
                    <a:cubicBezTo>
                      <a:pt x="435" y="367"/>
                      <a:pt x="437" y="369"/>
                      <a:pt x="437" y="369"/>
                    </a:cubicBezTo>
                    <a:cubicBezTo>
                      <a:pt x="439" y="370"/>
                      <a:pt x="439" y="381"/>
                      <a:pt x="438" y="385"/>
                    </a:cubicBezTo>
                    <a:cubicBezTo>
                      <a:pt x="436" y="391"/>
                      <a:pt x="430" y="394"/>
                      <a:pt x="421" y="394"/>
                    </a:cubicBezTo>
                    <a:cubicBezTo>
                      <a:pt x="410" y="395"/>
                      <a:pt x="410" y="394"/>
                      <a:pt x="412" y="398"/>
                    </a:cubicBezTo>
                    <a:cubicBezTo>
                      <a:pt x="414" y="401"/>
                      <a:pt x="414" y="401"/>
                      <a:pt x="409" y="406"/>
                    </a:cubicBezTo>
                    <a:cubicBezTo>
                      <a:pt x="402" y="413"/>
                      <a:pt x="394" y="424"/>
                      <a:pt x="390" y="432"/>
                    </a:cubicBezTo>
                    <a:cubicBezTo>
                      <a:pt x="388" y="435"/>
                      <a:pt x="385" y="439"/>
                      <a:pt x="384" y="441"/>
                    </a:cubicBezTo>
                    <a:cubicBezTo>
                      <a:pt x="380" y="444"/>
                      <a:pt x="377" y="450"/>
                      <a:pt x="377" y="454"/>
                    </a:cubicBezTo>
                    <a:cubicBezTo>
                      <a:pt x="377" y="455"/>
                      <a:pt x="373" y="463"/>
                      <a:pt x="369" y="472"/>
                    </a:cubicBezTo>
                    <a:cubicBezTo>
                      <a:pt x="363" y="485"/>
                      <a:pt x="362" y="488"/>
                      <a:pt x="362" y="495"/>
                    </a:cubicBezTo>
                    <a:cubicBezTo>
                      <a:pt x="362" y="502"/>
                      <a:pt x="362" y="502"/>
                      <a:pt x="362" y="502"/>
                    </a:cubicBezTo>
                    <a:cubicBezTo>
                      <a:pt x="356" y="502"/>
                      <a:pt x="356" y="502"/>
                      <a:pt x="356" y="502"/>
                    </a:cubicBezTo>
                    <a:cubicBezTo>
                      <a:pt x="353" y="502"/>
                      <a:pt x="350" y="502"/>
                      <a:pt x="350" y="5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6" name="Freeform 43">
                <a:extLst>
                  <a:ext uri="{FF2B5EF4-FFF2-40B4-BE49-F238E27FC236}">
                    <a16:creationId xmlns:a16="http://schemas.microsoft.com/office/drawing/2014/main" id="{C285FFBE-3C71-4165-AD59-4DA10BE13293}"/>
                  </a:ext>
                </a:extLst>
              </p:cNvPr>
              <p:cNvSpPr>
                <a:spLocks/>
              </p:cNvSpPr>
              <p:nvPr/>
            </p:nvSpPr>
            <p:spPr bwMode="auto">
              <a:xfrm>
                <a:off x="1782015" y="2841988"/>
                <a:ext cx="1193860" cy="2137395"/>
              </a:xfrm>
              <a:custGeom>
                <a:avLst/>
                <a:gdLst>
                  <a:gd name="T0" fmla="*/ 144 w 262"/>
                  <a:gd name="T1" fmla="*/ 455 h 469"/>
                  <a:gd name="T2" fmla="*/ 72 w 262"/>
                  <a:gd name="T3" fmla="*/ 428 h 469"/>
                  <a:gd name="T4" fmla="*/ 68 w 262"/>
                  <a:gd name="T5" fmla="*/ 420 h 469"/>
                  <a:gd name="T6" fmla="*/ 71 w 262"/>
                  <a:gd name="T7" fmla="*/ 404 h 469"/>
                  <a:gd name="T8" fmla="*/ 70 w 262"/>
                  <a:gd name="T9" fmla="*/ 375 h 469"/>
                  <a:gd name="T10" fmla="*/ 60 w 262"/>
                  <a:gd name="T11" fmla="*/ 357 h 469"/>
                  <a:gd name="T12" fmla="*/ 51 w 262"/>
                  <a:gd name="T13" fmla="*/ 335 h 469"/>
                  <a:gd name="T14" fmla="*/ 44 w 262"/>
                  <a:gd name="T15" fmla="*/ 320 h 469"/>
                  <a:gd name="T16" fmla="*/ 39 w 262"/>
                  <a:gd name="T17" fmla="*/ 308 h 469"/>
                  <a:gd name="T18" fmla="*/ 34 w 262"/>
                  <a:gd name="T19" fmla="*/ 299 h 469"/>
                  <a:gd name="T20" fmla="*/ 30 w 262"/>
                  <a:gd name="T21" fmla="*/ 292 h 469"/>
                  <a:gd name="T22" fmla="*/ 27 w 262"/>
                  <a:gd name="T23" fmla="*/ 287 h 469"/>
                  <a:gd name="T24" fmla="*/ 22 w 262"/>
                  <a:gd name="T25" fmla="*/ 273 h 469"/>
                  <a:gd name="T26" fmla="*/ 18 w 262"/>
                  <a:gd name="T27" fmla="*/ 259 h 469"/>
                  <a:gd name="T28" fmla="*/ 13 w 262"/>
                  <a:gd name="T29" fmla="*/ 250 h 469"/>
                  <a:gd name="T30" fmla="*/ 6 w 262"/>
                  <a:gd name="T31" fmla="*/ 243 h 469"/>
                  <a:gd name="T32" fmla="*/ 3 w 262"/>
                  <a:gd name="T33" fmla="*/ 232 h 469"/>
                  <a:gd name="T34" fmla="*/ 4 w 262"/>
                  <a:gd name="T35" fmla="*/ 224 h 469"/>
                  <a:gd name="T36" fmla="*/ 77 w 262"/>
                  <a:gd name="T37" fmla="*/ 16 h 469"/>
                  <a:gd name="T38" fmla="*/ 82 w 262"/>
                  <a:gd name="T39" fmla="*/ 0 h 469"/>
                  <a:gd name="T40" fmla="*/ 114 w 262"/>
                  <a:gd name="T41" fmla="*/ 10 h 469"/>
                  <a:gd name="T42" fmla="*/ 172 w 262"/>
                  <a:gd name="T43" fmla="*/ 29 h 469"/>
                  <a:gd name="T44" fmla="*/ 230 w 262"/>
                  <a:gd name="T45" fmla="*/ 46 h 469"/>
                  <a:gd name="T46" fmla="*/ 261 w 262"/>
                  <a:gd name="T47" fmla="*/ 55 h 469"/>
                  <a:gd name="T48" fmla="*/ 256 w 262"/>
                  <a:gd name="T49" fmla="*/ 78 h 469"/>
                  <a:gd name="T50" fmla="*/ 251 w 262"/>
                  <a:gd name="T51" fmla="*/ 80 h 469"/>
                  <a:gd name="T52" fmla="*/ 232 w 262"/>
                  <a:gd name="T53" fmla="*/ 98 h 469"/>
                  <a:gd name="T54" fmla="*/ 237 w 262"/>
                  <a:gd name="T55" fmla="*/ 102 h 469"/>
                  <a:gd name="T56" fmla="*/ 246 w 262"/>
                  <a:gd name="T57" fmla="*/ 101 h 469"/>
                  <a:gd name="T58" fmla="*/ 251 w 262"/>
                  <a:gd name="T59" fmla="*/ 96 h 469"/>
                  <a:gd name="T60" fmla="*/ 253 w 262"/>
                  <a:gd name="T61" fmla="*/ 93 h 469"/>
                  <a:gd name="T62" fmla="*/ 248 w 262"/>
                  <a:gd name="T63" fmla="*/ 117 h 469"/>
                  <a:gd name="T64" fmla="*/ 222 w 262"/>
                  <a:gd name="T65" fmla="*/ 225 h 469"/>
                  <a:gd name="T66" fmla="*/ 210 w 262"/>
                  <a:gd name="T67" fmla="*/ 275 h 469"/>
                  <a:gd name="T68" fmla="*/ 188 w 262"/>
                  <a:gd name="T69" fmla="*/ 368 h 469"/>
                  <a:gd name="T70" fmla="*/ 164 w 262"/>
                  <a:gd name="T71" fmla="*/ 461 h 469"/>
                  <a:gd name="T72" fmla="*/ 144 w 262"/>
                  <a:gd name="T73" fmla="*/ 455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469">
                    <a:moveTo>
                      <a:pt x="144" y="455"/>
                    </a:moveTo>
                    <a:cubicBezTo>
                      <a:pt x="68" y="435"/>
                      <a:pt x="76" y="438"/>
                      <a:pt x="72" y="428"/>
                    </a:cubicBezTo>
                    <a:cubicBezTo>
                      <a:pt x="68" y="420"/>
                      <a:pt x="68" y="420"/>
                      <a:pt x="68" y="420"/>
                    </a:cubicBezTo>
                    <a:cubicBezTo>
                      <a:pt x="71" y="404"/>
                      <a:pt x="71" y="404"/>
                      <a:pt x="71" y="404"/>
                    </a:cubicBezTo>
                    <a:cubicBezTo>
                      <a:pt x="74" y="388"/>
                      <a:pt x="74" y="384"/>
                      <a:pt x="70" y="375"/>
                    </a:cubicBezTo>
                    <a:cubicBezTo>
                      <a:pt x="60" y="357"/>
                      <a:pt x="60" y="357"/>
                      <a:pt x="60" y="357"/>
                    </a:cubicBezTo>
                    <a:cubicBezTo>
                      <a:pt x="57" y="350"/>
                      <a:pt x="53" y="340"/>
                      <a:pt x="51" y="335"/>
                    </a:cubicBezTo>
                    <a:cubicBezTo>
                      <a:pt x="49" y="330"/>
                      <a:pt x="46" y="323"/>
                      <a:pt x="44" y="320"/>
                    </a:cubicBezTo>
                    <a:cubicBezTo>
                      <a:pt x="42" y="316"/>
                      <a:pt x="39" y="311"/>
                      <a:pt x="39" y="308"/>
                    </a:cubicBezTo>
                    <a:cubicBezTo>
                      <a:pt x="38" y="305"/>
                      <a:pt x="36" y="301"/>
                      <a:pt x="34" y="299"/>
                    </a:cubicBezTo>
                    <a:cubicBezTo>
                      <a:pt x="32" y="296"/>
                      <a:pt x="30" y="293"/>
                      <a:pt x="30" y="292"/>
                    </a:cubicBezTo>
                    <a:cubicBezTo>
                      <a:pt x="30" y="292"/>
                      <a:pt x="28" y="289"/>
                      <a:pt x="27" y="287"/>
                    </a:cubicBezTo>
                    <a:cubicBezTo>
                      <a:pt x="25" y="284"/>
                      <a:pt x="23" y="279"/>
                      <a:pt x="22" y="273"/>
                    </a:cubicBezTo>
                    <a:cubicBezTo>
                      <a:pt x="22" y="267"/>
                      <a:pt x="20" y="262"/>
                      <a:pt x="18" y="259"/>
                    </a:cubicBezTo>
                    <a:cubicBezTo>
                      <a:pt x="16" y="256"/>
                      <a:pt x="14" y="252"/>
                      <a:pt x="13" y="250"/>
                    </a:cubicBezTo>
                    <a:cubicBezTo>
                      <a:pt x="12" y="248"/>
                      <a:pt x="9" y="244"/>
                      <a:pt x="6" y="243"/>
                    </a:cubicBezTo>
                    <a:cubicBezTo>
                      <a:pt x="1" y="240"/>
                      <a:pt x="0" y="234"/>
                      <a:pt x="3" y="232"/>
                    </a:cubicBezTo>
                    <a:cubicBezTo>
                      <a:pt x="4" y="232"/>
                      <a:pt x="4" y="228"/>
                      <a:pt x="4" y="224"/>
                    </a:cubicBezTo>
                    <a:cubicBezTo>
                      <a:pt x="4" y="216"/>
                      <a:pt x="14" y="189"/>
                      <a:pt x="77" y="16"/>
                    </a:cubicBezTo>
                    <a:cubicBezTo>
                      <a:pt x="82" y="0"/>
                      <a:pt x="82" y="0"/>
                      <a:pt x="82" y="0"/>
                    </a:cubicBezTo>
                    <a:cubicBezTo>
                      <a:pt x="114" y="10"/>
                      <a:pt x="114" y="10"/>
                      <a:pt x="114" y="10"/>
                    </a:cubicBezTo>
                    <a:cubicBezTo>
                      <a:pt x="131" y="16"/>
                      <a:pt x="157" y="24"/>
                      <a:pt x="172" y="29"/>
                    </a:cubicBezTo>
                    <a:cubicBezTo>
                      <a:pt x="230" y="46"/>
                      <a:pt x="230" y="46"/>
                      <a:pt x="230" y="46"/>
                    </a:cubicBezTo>
                    <a:cubicBezTo>
                      <a:pt x="247" y="51"/>
                      <a:pt x="261" y="55"/>
                      <a:pt x="261" y="55"/>
                    </a:cubicBezTo>
                    <a:cubicBezTo>
                      <a:pt x="262" y="56"/>
                      <a:pt x="257" y="77"/>
                      <a:pt x="256" y="78"/>
                    </a:cubicBezTo>
                    <a:cubicBezTo>
                      <a:pt x="255" y="78"/>
                      <a:pt x="253" y="79"/>
                      <a:pt x="251" y="80"/>
                    </a:cubicBezTo>
                    <a:cubicBezTo>
                      <a:pt x="247" y="81"/>
                      <a:pt x="232" y="95"/>
                      <a:pt x="232" y="98"/>
                    </a:cubicBezTo>
                    <a:cubicBezTo>
                      <a:pt x="232" y="99"/>
                      <a:pt x="234" y="101"/>
                      <a:pt x="237" y="102"/>
                    </a:cubicBezTo>
                    <a:cubicBezTo>
                      <a:pt x="242" y="104"/>
                      <a:pt x="242" y="104"/>
                      <a:pt x="246" y="101"/>
                    </a:cubicBezTo>
                    <a:cubicBezTo>
                      <a:pt x="249" y="100"/>
                      <a:pt x="251" y="97"/>
                      <a:pt x="251" y="96"/>
                    </a:cubicBezTo>
                    <a:cubicBezTo>
                      <a:pt x="252" y="94"/>
                      <a:pt x="253" y="93"/>
                      <a:pt x="253" y="93"/>
                    </a:cubicBezTo>
                    <a:cubicBezTo>
                      <a:pt x="253" y="94"/>
                      <a:pt x="251" y="104"/>
                      <a:pt x="248" y="117"/>
                    </a:cubicBezTo>
                    <a:cubicBezTo>
                      <a:pt x="241" y="147"/>
                      <a:pt x="233" y="180"/>
                      <a:pt x="222" y="225"/>
                    </a:cubicBezTo>
                    <a:cubicBezTo>
                      <a:pt x="218" y="244"/>
                      <a:pt x="212" y="267"/>
                      <a:pt x="210" y="275"/>
                    </a:cubicBezTo>
                    <a:cubicBezTo>
                      <a:pt x="201" y="314"/>
                      <a:pt x="192" y="349"/>
                      <a:pt x="188" y="368"/>
                    </a:cubicBezTo>
                    <a:cubicBezTo>
                      <a:pt x="164" y="469"/>
                      <a:pt x="166" y="461"/>
                      <a:pt x="164" y="461"/>
                    </a:cubicBezTo>
                    <a:cubicBezTo>
                      <a:pt x="164" y="461"/>
                      <a:pt x="155" y="458"/>
                      <a:pt x="144" y="4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7" name="Freeform 47">
                <a:extLst>
                  <a:ext uri="{FF2B5EF4-FFF2-40B4-BE49-F238E27FC236}">
                    <a16:creationId xmlns:a16="http://schemas.microsoft.com/office/drawing/2014/main" id="{12E5A151-D9AC-4726-984D-7B7218DFECEB}"/>
                  </a:ext>
                </a:extLst>
              </p:cNvPr>
              <p:cNvSpPr>
                <a:spLocks noEditPoints="1"/>
              </p:cNvSpPr>
              <p:nvPr/>
            </p:nvSpPr>
            <p:spPr bwMode="auto">
              <a:xfrm>
                <a:off x="3515038" y="3225178"/>
                <a:ext cx="1301693" cy="1950615"/>
              </a:xfrm>
              <a:custGeom>
                <a:avLst/>
                <a:gdLst>
                  <a:gd name="T0" fmla="*/ 90 w 286"/>
                  <a:gd name="T1" fmla="*/ 252 h 428"/>
                  <a:gd name="T2" fmla="*/ 102 w 286"/>
                  <a:gd name="T3" fmla="*/ 279 h 428"/>
                  <a:gd name="T4" fmla="*/ 108 w 286"/>
                  <a:gd name="T5" fmla="*/ 304 h 428"/>
                  <a:gd name="T6" fmla="*/ 120 w 286"/>
                  <a:gd name="T7" fmla="*/ 354 h 428"/>
                  <a:gd name="T8" fmla="*/ 111 w 286"/>
                  <a:gd name="T9" fmla="*/ 372 h 428"/>
                  <a:gd name="T10" fmla="*/ 104 w 286"/>
                  <a:gd name="T11" fmla="*/ 356 h 428"/>
                  <a:gd name="T12" fmla="*/ 109 w 286"/>
                  <a:gd name="T13" fmla="*/ 343 h 428"/>
                  <a:gd name="T14" fmla="*/ 104 w 286"/>
                  <a:gd name="T15" fmla="*/ 336 h 428"/>
                  <a:gd name="T16" fmla="*/ 100 w 286"/>
                  <a:gd name="T17" fmla="*/ 331 h 428"/>
                  <a:gd name="T18" fmla="*/ 82 w 286"/>
                  <a:gd name="T19" fmla="*/ 313 h 428"/>
                  <a:gd name="T20" fmla="*/ 71 w 286"/>
                  <a:gd name="T21" fmla="*/ 292 h 428"/>
                  <a:gd name="T22" fmla="*/ 62 w 286"/>
                  <a:gd name="T23" fmla="*/ 275 h 428"/>
                  <a:gd name="T24" fmla="*/ 48 w 286"/>
                  <a:gd name="T25" fmla="*/ 293 h 428"/>
                  <a:gd name="T26" fmla="*/ 68 w 286"/>
                  <a:gd name="T27" fmla="*/ 337 h 428"/>
                  <a:gd name="T28" fmla="*/ 74 w 286"/>
                  <a:gd name="T29" fmla="*/ 363 h 428"/>
                  <a:gd name="T30" fmla="*/ 67 w 286"/>
                  <a:gd name="T31" fmla="*/ 380 h 428"/>
                  <a:gd name="T32" fmla="*/ 45 w 286"/>
                  <a:gd name="T33" fmla="*/ 327 h 428"/>
                  <a:gd name="T34" fmla="*/ 35 w 286"/>
                  <a:gd name="T35" fmla="*/ 311 h 428"/>
                  <a:gd name="T36" fmla="*/ 39 w 286"/>
                  <a:gd name="T37" fmla="*/ 295 h 428"/>
                  <a:gd name="T38" fmla="*/ 25 w 286"/>
                  <a:gd name="T39" fmla="*/ 270 h 428"/>
                  <a:gd name="T40" fmla="*/ 32 w 286"/>
                  <a:gd name="T41" fmla="*/ 258 h 428"/>
                  <a:gd name="T42" fmla="*/ 40 w 286"/>
                  <a:gd name="T43" fmla="*/ 248 h 428"/>
                  <a:gd name="T44" fmla="*/ 54 w 286"/>
                  <a:gd name="T45" fmla="*/ 263 h 428"/>
                  <a:gd name="T46" fmla="*/ 59 w 286"/>
                  <a:gd name="T47" fmla="*/ 261 h 428"/>
                  <a:gd name="T48" fmla="*/ 79 w 286"/>
                  <a:gd name="T49" fmla="*/ 244 h 428"/>
                  <a:gd name="T50" fmla="*/ 37 w 286"/>
                  <a:gd name="T51" fmla="*/ 9 h 428"/>
                  <a:gd name="T52" fmla="*/ 34 w 286"/>
                  <a:gd name="T53" fmla="*/ 30 h 428"/>
                  <a:gd name="T54" fmla="*/ 30 w 286"/>
                  <a:gd name="T55" fmla="*/ 61 h 428"/>
                  <a:gd name="T56" fmla="*/ 28 w 286"/>
                  <a:gd name="T57" fmla="*/ 92 h 428"/>
                  <a:gd name="T58" fmla="*/ 20 w 286"/>
                  <a:gd name="T59" fmla="*/ 120 h 428"/>
                  <a:gd name="T60" fmla="*/ 17 w 286"/>
                  <a:gd name="T61" fmla="*/ 163 h 428"/>
                  <a:gd name="T62" fmla="*/ 13 w 286"/>
                  <a:gd name="T63" fmla="*/ 222 h 428"/>
                  <a:gd name="T64" fmla="*/ 10 w 286"/>
                  <a:gd name="T65" fmla="*/ 262 h 428"/>
                  <a:gd name="T66" fmla="*/ 7 w 286"/>
                  <a:gd name="T67" fmla="*/ 302 h 428"/>
                  <a:gd name="T68" fmla="*/ 4 w 286"/>
                  <a:gd name="T69" fmla="*/ 343 h 428"/>
                  <a:gd name="T70" fmla="*/ 0 w 286"/>
                  <a:gd name="T71" fmla="*/ 407 h 428"/>
                  <a:gd name="T72" fmla="*/ 9 w 286"/>
                  <a:gd name="T73" fmla="*/ 417 h 428"/>
                  <a:gd name="T74" fmla="*/ 50 w 286"/>
                  <a:gd name="T75" fmla="*/ 422 h 428"/>
                  <a:gd name="T76" fmla="*/ 97 w 286"/>
                  <a:gd name="T77" fmla="*/ 426 h 428"/>
                  <a:gd name="T78" fmla="*/ 139 w 286"/>
                  <a:gd name="T79" fmla="*/ 428 h 428"/>
                  <a:gd name="T80" fmla="*/ 142 w 286"/>
                  <a:gd name="T81" fmla="*/ 398 h 428"/>
                  <a:gd name="T82" fmla="*/ 145 w 286"/>
                  <a:gd name="T83" fmla="*/ 339 h 428"/>
                  <a:gd name="T84" fmla="*/ 172 w 286"/>
                  <a:gd name="T85" fmla="*/ 264 h 428"/>
                  <a:gd name="T86" fmla="*/ 206 w 286"/>
                  <a:gd name="T87" fmla="*/ 228 h 428"/>
                  <a:gd name="T88" fmla="*/ 252 w 286"/>
                  <a:gd name="T89" fmla="*/ 174 h 428"/>
                  <a:gd name="T90" fmla="*/ 278 w 286"/>
                  <a:gd name="T91" fmla="*/ 145 h 428"/>
                  <a:gd name="T92" fmla="*/ 272 w 286"/>
                  <a:gd name="T93" fmla="*/ 130 h 428"/>
                  <a:gd name="T94" fmla="*/ 247 w 286"/>
                  <a:gd name="T95" fmla="*/ 123 h 428"/>
                  <a:gd name="T96" fmla="*/ 217 w 286"/>
                  <a:gd name="T97" fmla="*/ 127 h 428"/>
                  <a:gd name="T98" fmla="*/ 213 w 286"/>
                  <a:gd name="T99" fmla="*/ 100 h 428"/>
                  <a:gd name="T100" fmla="*/ 189 w 286"/>
                  <a:gd name="T101" fmla="*/ 59 h 428"/>
                  <a:gd name="T102" fmla="*/ 175 w 286"/>
                  <a:gd name="T103" fmla="*/ 24 h 428"/>
                  <a:gd name="T104" fmla="*/ 168 w 286"/>
                  <a:gd name="T105" fmla="*/ 14 h 428"/>
                  <a:gd name="T106" fmla="*/ 148 w 286"/>
                  <a:gd name="T107" fmla="*/ 13 h 428"/>
                  <a:gd name="T108" fmla="*/ 123 w 286"/>
                  <a:gd name="T109" fmla="*/ 10 h 428"/>
                  <a:gd name="T110" fmla="*/ 99 w 286"/>
                  <a:gd name="T111" fmla="*/ 7 h 428"/>
                  <a:gd name="T112" fmla="*/ 60 w 286"/>
                  <a:gd name="T113" fmla="*/ 3 h 428"/>
                  <a:gd name="T114" fmla="*/ 38 w 286"/>
                  <a:gd name="T115"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428">
                    <a:moveTo>
                      <a:pt x="79" y="244"/>
                    </a:moveTo>
                    <a:cubicBezTo>
                      <a:pt x="84" y="244"/>
                      <a:pt x="88" y="246"/>
                      <a:pt x="90" y="252"/>
                    </a:cubicBezTo>
                    <a:cubicBezTo>
                      <a:pt x="92" y="255"/>
                      <a:pt x="94" y="258"/>
                      <a:pt x="94" y="258"/>
                    </a:cubicBezTo>
                    <a:cubicBezTo>
                      <a:pt x="97" y="260"/>
                      <a:pt x="103" y="277"/>
                      <a:pt x="102" y="279"/>
                    </a:cubicBezTo>
                    <a:cubicBezTo>
                      <a:pt x="102" y="280"/>
                      <a:pt x="104" y="288"/>
                      <a:pt x="107" y="293"/>
                    </a:cubicBezTo>
                    <a:cubicBezTo>
                      <a:pt x="108" y="295"/>
                      <a:pt x="108" y="300"/>
                      <a:pt x="108" y="304"/>
                    </a:cubicBezTo>
                    <a:cubicBezTo>
                      <a:pt x="108" y="312"/>
                      <a:pt x="113" y="329"/>
                      <a:pt x="117" y="337"/>
                    </a:cubicBezTo>
                    <a:cubicBezTo>
                      <a:pt x="119" y="340"/>
                      <a:pt x="120" y="345"/>
                      <a:pt x="120" y="354"/>
                    </a:cubicBezTo>
                    <a:cubicBezTo>
                      <a:pt x="120" y="368"/>
                      <a:pt x="120" y="368"/>
                      <a:pt x="117" y="368"/>
                    </a:cubicBezTo>
                    <a:cubicBezTo>
                      <a:pt x="115" y="369"/>
                      <a:pt x="112" y="370"/>
                      <a:pt x="111" y="372"/>
                    </a:cubicBezTo>
                    <a:cubicBezTo>
                      <a:pt x="108" y="376"/>
                      <a:pt x="105" y="376"/>
                      <a:pt x="102" y="374"/>
                    </a:cubicBezTo>
                    <a:cubicBezTo>
                      <a:pt x="100" y="371"/>
                      <a:pt x="101" y="361"/>
                      <a:pt x="104" y="356"/>
                    </a:cubicBezTo>
                    <a:cubicBezTo>
                      <a:pt x="105" y="355"/>
                      <a:pt x="106" y="352"/>
                      <a:pt x="106" y="350"/>
                    </a:cubicBezTo>
                    <a:cubicBezTo>
                      <a:pt x="107" y="347"/>
                      <a:pt x="108" y="345"/>
                      <a:pt x="109" y="343"/>
                    </a:cubicBezTo>
                    <a:cubicBezTo>
                      <a:pt x="112" y="340"/>
                      <a:pt x="111" y="337"/>
                      <a:pt x="108" y="335"/>
                    </a:cubicBezTo>
                    <a:cubicBezTo>
                      <a:pt x="106" y="333"/>
                      <a:pt x="105" y="334"/>
                      <a:pt x="104" y="336"/>
                    </a:cubicBezTo>
                    <a:cubicBezTo>
                      <a:pt x="102" y="339"/>
                      <a:pt x="99" y="340"/>
                      <a:pt x="99" y="337"/>
                    </a:cubicBezTo>
                    <a:cubicBezTo>
                      <a:pt x="99" y="336"/>
                      <a:pt x="99" y="333"/>
                      <a:pt x="100" y="331"/>
                    </a:cubicBezTo>
                    <a:cubicBezTo>
                      <a:pt x="104" y="320"/>
                      <a:pt x="98" y="311"/>
                      <a:pt x="89" y="314"/>
                    </a:cubicBezTo>
                    <a:cubicBezTo>
                      <a:pt x="85" y="316"/>
                      <a:pt x="84" y="315"/>
                      <a:pt x="82" y="313"/>
                    </a:cubicBezTo>
                    <a:cubicBezTo>
                      <a:pt x="80" y="311"/>
                      <a:pt x="78" y="307"/>
                      <a:pt x="77" y="303"/>
                    </a:cubicBezTo>
                    <a:cubicBezTo>
                      <a:pt x="76" y="299"/>
                      <a:pt x="73" y="294"/>
                      <a:pt x="71" y="292"/>
                    </a:cubicBezTo>
                    <a:cubicBezTo>
                      <a:pt x="69" y="288"/>
                      <a:pt x="68" y="286"/>
                      <a:pt x="68" y="283"/>
                    </a:cubicBezTo>
                    <a:cubicBezTo>
                      <a:pt x="69" y="279"/>
                      <a:pt x="68" y="278"/>
                      <a:pt x="62" y="275"/>
                    </a:cubicBezTo>
                    <a:cubicBezTo>
                      <a:pt x="53" y="270"/>
                      <a:pt x="49" y="272"/>
                      <a:pt x="49" y="280"/>
                    </a:cubicBezTo>
                    <a:cubicBezTo>
                      <a:pt x="49" y="283"/>
                      <a:pt x="48" y="289"/>
                      <a:pt x="48" y="293"/>
                    </a:cubicBezTo>
                    <a:cubicBezTo>
                      <a:pt x="47" y="312"/>
                      <a:pt x="47" y="312"/>
                      <a:pt x="53" y="317"/>
                    </a:cubicBezTo>
                    <a:cubicBezTo>
                      <a:pt x="65" y="327"/>
                      <a:pt x="66" y="328"/>
                      <a:pt x="68" y="337"/>
                    </a:cubicBezTo>
                    <a:cubicBezTo>
                      <a:pt x="69" y="341"/>
                      <a:pt x="70" y="347"/>
                      <a:pt x="70" y="350"/>
                    </a:cubicBezTo>
                    <a:cubicBezTo>
                      <a:pt x="70" y="353"/>
                      <a:pt x="72" y="359"/>
                      <a:pt x="74" y="363"/>
                    </a:cubicBezTo>
                    <a:cubicBezTo>
                      <a:pt x="78" y="372"/>
                      <a:pt x="79" y="379"/>
                      <a:pt x="74" y="380"/>
                    </a:cubicBezTo>
                    <a:cubicBezTo>
                      <a:pt x="69" y="382"/>
                      <a:pt x="68" y="381"/>
                      <a:pt x="67" y="380"/>
                    </a:cubicBezTo>
                    <a:cubicBezTo>
                      <a:pt x="66" y="378"/>
                      <a:pt x="62" y="360"/>
                      <a:pt x="59" y="345"/>
                    </a:cubicBezTo>
                    <a:cubicBezTo>
                      <a:pt x="57" y="336"/>
                      <a:pt x="55" y="333"/>
                      <a:pt x="45" y="327"/>
                    </a:cubicBezTo>
                    <a:cubicBezTo>
                      <a:pt x="38" y="322"/>
                      <a:pt x="34" y="318"/>
                      <a:pt x="34" y="315"/>
                    </a:cubicBezTo>
                    <a:cubicBezTo>
                      <a:pt x="34" y="314"/>
                      <a:pt x="35" y="312"/>
                      <a:pt x="35" y="311"/>
                    </a:cubicBezTo>
                    <a:cubicBezTo>
                      <a:pt x="35" y="309"/>
                      <a:pt x="36" y="307"/>
                      <a:pt x="37" y="306"/>
                    </a:cubicBezTo>
                    <a:cubicBezTo>
                      <a:pt x="38" y="305"/>
                      <a:pt x="39" y="301"/>
                      <a:pt x="39" y="295"/>
                    </a:cubicBezTo>
                    <a:cubicBezTo>
                      <a:pt x="39" y="285"/>
                      <a:pt x="39" y="285"/>
                      <a:pt x="33" y="282"/>
                    </a:cubicBezTo>
                    <a:cubicBezTo>
                      <a:pt x="27" y="279"/>
                      <a:pt x="25" y="276"/>
                      <a:pt x="25" y="270"/>
                    </a:cubicBezTo>
                    <a:cubicBezTo>
                      <a:pt x="25" y="267"/>
                      <a:pt x="26" y="267"/>
                      <a:pt x="28" y="267"/>
                    </a:cubicBezTo>
                    <a:cubicBezTo>
                      <a:pt x="34" y="267"/>
                      <a:pt x="35" y="262"/>
                      <a:pt x="32" y="258"/>
                    </a:cubicBezTo>
                    <a:cubicBezTo>
                      <a:pt x="30" y="256"/>
                      <a:pt x="29" y="253"/>
                      <a:pt x="29" y="253"/>
                    </a:cubicBezTo>
                    <a:cubicBezTo>
                      <a:pt x="29" y="251"/>
                      <a:pt x="36" y="248"/>
                      <a:pt x="40" y="248"/>
                    </a:cubicBezTo>
                    <a:cubicBezTo>
                      <a:pt x="43" y="248"/>
                      <a:pt x="50" y="255"/>
                      <a:pt x="50" y="258"/>
                    </a:cubicBezTo>
                    <a:cubicBezTo>
                      <a:pt x="50" y="259"/>
                      <a:pt x="52" y="262"/>
                      <a:pt x="54" y="263"/>
                    </a:cubicBezTo>
                    <a:cubicBezTo>
                      <a:pt x="57" y="267"/>
                      <a:pt x="57" y="267"/>
                      <a:pt x="57" y="267"/>
                    </a:cubicBezTo>
                    <a:cubicBezTo>
                      <a:pt x="59" y="261"/>
                      <a:pt x="59" y="261"/>
                      <a:pt x="59" y="261"/>
                    </a:cubicBezTo>
                    <a:cubicBezTo>
                      <a:pt x="62" y="253"/>
                      <a:pt x="68" y="245"/>
                      <a:pt x="72" y="244"/>
                    </a:cubicBezTo>
                    <a:cubicBezTo>
                      <a:pt x="75" y="244"/>
                      <a:pt x="77" y="244"/>
                      <a:pt x="79" y="244"/>
                    </a:cubicBezTo>
                    <a:close/>
                    <a:moveTo>
                      <a:pt x="38" y="0"/>
                    </a:moveTo>
                    <a:cubicBezTo>
                      <a:pt x="37" y="9"/>
                      <a:pt x="37" y="9"/>
                      <a:pt x="37" y="9"/>
                    </a:cubicBezTo>
                    <a:cubicBezTo>
                      <a:pt x="36" y="14"/>
                      <a:pt x="36" y="19"/>
                      <a:pt x="36" y="20"/>
                    </a:cubicBezTo>
                    <a:cubicBezTo>
                      <a:pt x="35" y="21"/>
                      <a:pt x="35" y="26"/>
                      <a:pt x="34" y="30"/>
                    </a:cubicBezTo>
                    <a:cubicBezTo>
                      <a:pt x="34" y="34"/>
                      <a:pt x="33" y="39"/>
                      <a:pt x="33" y="40"/>
                    </a:cubicBezTo>
                    <a:cubicBezTo>
                      <a:pt x="33" y="41"/>
                      <a:pt x="31" y="50"/>
                      <a:pt x="30" y="61"/>
                    </a:cubicBezTo>
                    <a:cubicBezTo>
                      <a:pt x="28" y="78"/>
                      <a:pt x="28" y="79"/>
                      <a:pt x="30" y="83"/>
                    </a:cubicBezTo>
                    <a:cubicBezTo>
                      <a:pt x="32" y="87"/>
                      <a:pt x="32" y="87"/>
                      <a:pt x="28" y="92"/>
                    </a:cubicBezTo>
                    <a:cubicBezTo>
                      <a:pt x="26" y="95"/>
                      <a:pt x="24" y="98"/>
                      <a:pt x="23" y="99"/>
                    </a:cubicBezTo>
                    <a:cubicBezTo>
                      <a:pt x="22" y="101"/>
                      <a:pt x="21" y="110"/>
                      <a:pt x="20" y="120"/>
                    </a:cubicBezTo>
                    <a:cubicBezTo>
                      <a:pt x="20" y="130"/>
                      <a:pt x="19" y="141"/>
                      <a:pt x="19" y="144"/>
                    </a:cubicBezTo>
                    <a:cubicBezTo>
                      <a:pt x="18" y="147"/>
                      <a:pt x="18" y="156"/>
                      <a:pt x="17" y="163"/>
                    </a:cubicBezTo>
                    <a:cubicBezTo>
                      <a:pt x="17" y="170"/>
                      <a:pt x="16" y="179"/>
                      <a:pt x="16" y="184"/>
                    </a:cubicBezTo>
                    <a:cubicBezTo>
                      <a:pt x="14" y="203"/>
                      <a:pt x="14" y="211"/>
                      <a:pt x="13" y="222"/>
                    </a:cubicBezTo>
                    <a:cubicBezTo>
                      <a:pt x="12" y="228"/>
                      <a:pt x="12" y="237"/>
                      <a:pt x="12" y="240"/>
                    </a:cubicBezTo>
                    <a:cubicBezTo>
                      <a:pt x="11" y="244"/>
                      <a:pt x="11" y="254"/>
                      <a:pt x="10" y="262"/>
                    </a:cubicBezTo>
                    <a:cubicBezTo>
                      <a:pt x="10" y="269"/>
                      <a:pt x="9" y="278"/>
                      <a:pt x="9" y="281"/>
                    </a:cubicBezTo>
                    <a:cubicBezTo>
                      <a:pt x="8" y="285"/>
                      <a:pt x="8" y="294"/>
                      <a:pt x="7" y="302"/>
                    </a:cubicBezTo>
                    <a:cubicBezTo>
                      <a:pt x="7" y="310"/>
                      <a:pt x="6" y="319"/>
                      <a:pt x="6" y="322"/>
                    </a:cubicBezTo>
                    <a:cubicBezTo>
                      <a:pt x="6" y="325"/>
                      <a:pt x="5" y="334"/>
                      <a:pt x="4" y="343"/>
                    </a:cubicBezTo>
                    <a:cubicBezTo>
                      <a:pt x="4" y="352"/>
                      <a:pt x="3" y="360"/>
                      <a:pt x="3" y="361"/>
                    </a:cubicBezTo>
                    <a:cubicBezTo>
                      <a:pt x="2" y="365"/>
                      <a:pt x="0" y="397"/>
                      <a:pt x="0" y="407"/>
                    </a:cubicBezTo>
                    <a:cubicBezTo>
                      <a:pt x="0" y="416"/>
                      <a:pt x="0" y="416"/>
                      <a:pt x="0" y="416"/>
                    </a:cubicBezTo>
                    <a:cubicBezTo>
                      <a:pt x="9" y="417"/>
                      <a:pt x="9" y="417"/>
                      <a:pt x="9" y="417"/>
                    </a:cubicBezTo>
                    <a:cubicBezTo>
                      <a:pt x="22" y="418"/>
                      <a:pt x="35" y="420"/>
                      <a:pt x="39" y="420"/>
                    </a:cubicBezTo>
                    <a:cubicBezTo>
                      <a:pt x="41" y="420"/>
                      <a:pt x="46" y="421"/>
                      <a:pt x="50" y="422"/>
                    </a:cubicBezTo>
                    <a:cubicBezTo>
                      <a:pt x="59" y="422"/>
                      <a:pt x="63" y="423"/>
                      <a:pt x="76" y="424"/>
                    </a:cubicBezTo>
                    <a:cubicBezTo>
                      <a:pt x="80" y="425"/>
                      <a:pt x="90" y="426"/>
                      <a:pt x="97" y="426"/>
                    </a:cubicBezTo>
                    <a:cubicBezTo>
                      <a:pt x="105" y="427"/>
                      <a:pt x="117" y="427"/>
                      <a:pt x="125" y="428"/>
                    </a:cubicBezTo>
                    <a:cubicBezTo>
                      <a:pt x="139" y="428"/>
                      <a:pt x="139" y="428"/>
                      <a:pt x="139" y="428"/>
                    </a:cubicBezTo>
                    <a:cubicBezTo>
                      <a:pt x="140" y="421"/>
                      <a:pt x="140" y="421"/>
                      <a:pt x="140" y="421"/>
                    </a:cubicBezTo>
                    <a:cubicBezTo>
                      <a:pt x="141" y="418"/>
                      <a:pt x="141" y="407"/>
                      <a:pt x="142" y="398"/>
                    </a:cubicBezTo>
                    <a:cubicBezTo>
                      <a:pt x="142" y="388"/>
                      <a:pt x="143" y="376"/>
                      <a:pt x="143" y="371"/>
                    </a:cubicBezTo>
                    <a:cubicBezTo>
                      <a:pt x="144" y="365"/>
                      <a:pt x="144" y="351"/>
                      <a:pt x="145" y="339"/>
                    </a:cubicBezTo>
                    <a:cubicBezTo>
                      <a:pt x="146" y="299"/>
                      <a:pt x="147" y="295"/>
                      <a:pt x="150" y="289"/>
                    </a:cubicBezTo>
                    <a:cubicBezTo>
                      <a:pt x="152" y="286"/>
                      <a:pt x="162" y="275"/>
                      <a:pt x="172" y="264"/>
                    </a:cubicBezTo>
                    <a:cubicBezTo>
                      <a:pt x="183" y="252"/>
                      <a:pt x="194" y="240"/>
                      <a:pt x="198" y="236"/>
                    </a:cubicBezTo>
                    <a:cubicBezTo>
                      <a:pt x="206" y="228"/>
                      <a:pt x="206" y="228"/>
                      <a:pt x="206" y="228"/>
                    </a:cubicBezTo>
                    <a:cubicBezTo>
                      <a:pt x="219" y="212"/>
                      <a:pt x="226" y="205"/>
                      <a:pt x="233" y="196"/>
                    </a:cubicBezTo>
                    <a:cubicBezTo>
                      <a:pt x="238" y="190"/>
                      <a:pt x="246" y="180"/>
                      <a:pt x="252" y="174"/>
                    </a:cubicBezTo>
                    <a:cubicBezTo>
                      <a:pt x="257" y="168"/>
                      <a:pt x="264" y="161"/>
                      <a:pt x="266" y="158"/>
                    </a:cubicBezTo>
                    <a:cubicBezTo>
                      <a:pt x="269" y="155"/>
                      <a:pt x="274" y="149"/>
                      <a:pt x="278" y="145"/>
                    </a:cubicBezTo>
                    <a:cubicBezTo>
                      <a:pt x="282" y="141"/>
                      <a:pt x="286" y="136"/>
                      <a:pt x="286" y="136"/>
                    </a:cubicBezTo>
                    <a:cubicBezTo>
                      <a:pt x="286" y="134"/>
                      <a:pt x="278" y="131"/>
                      <a:pt x="272" y="130"/>
                    </a:cubicBezTo>
                    <a:cubicBezTo>
                      <a:pt x="262" y="128"/>
                      <a:pt x="259" y="127"/>
                      <a:pt x="258" y="125"/>
                    </a:cubicBezTo>
                    <a:cubicBezTo>
                      <a:pt x="256" y="123"/>
                      <a:pt x="254" y="123"/>
                      <a:pt x="247" y="123"/>
                    </a:cubicBezTo>
                    <a:cubicBezTo>
                      <a:pt x="243" y="123"/>
                      <a:pt x="238" y="124"/>
                      <a:pt x="238" y="124"/>
                    </a:cubicBezTo>
                    <a:cubicBezTo>
                      <a:pt x="237" y="126"/>
                      <a:pt x="220" y="128"/>
                      <a:pt x="217" y="127"/>
                    </a:cubicBezTo>
                    <a:cubicBezTo>
                      <a:pt x="216" y="126"/>
                      <a:pt x="215" y="125"/>
                      <a:pt x="216" y="123"/>
                    </a:cubicBezTo>
                    <a:cubicBezTo>
                      <a:pt x="217" y="120"/>
                      <a:pt x="217" y="119"/>
                      <a:pt x="213" y="100"/>
                    </a:cubicBezTo>
                    <a:cubicBezTo>
                      <a:pt x="210" y="86"/>
                      <a:pt x="209" y="82"/>
                      <a:pt x="208" y="74"/>
                    </a:cubicBezTo>
                    <a:cubicBezTo>
                      <a:pt x="207" y="65"/>
                      <a:pt x="203" y="62"/>
                      <a:pt x="189" y="59"/>
                    </a:cubicBezTo>
                    <a:cubicBezTo>
                      <a:pt x="179" y="57"/>
                      <a:pt x="176" y="56"/>
                      <a:pt x="175" y="54"/>
                    </a:cubicBezTo>
                    <a:cubicBezTo>
                      <a:pt x="173" y="51"/>
                      <a:pt x="173" y="39"/>
                      <a:pt x="175" y="24"/>
                    </a:cubicBezTo>
                    <a:cubicBezTo>
                      <a:pt x="176" y="15"/>
                      <a:pt x="176" y="15"/>
                      <a:pt x="176" y="15"/>
                    </a:cubicBezTo>
                    <a:cubicBezTo>
                      <a:pt x="168" y="14"/>
                      <a:pt x="168" y="14"/>
                      <a:pt x="168" y="14"/>
                    </a:cubicBezTo>
                    <a:cubicBezTo>
                      <a:pt x="164" y="14"/>
                      <a:pt x="160" y="14"/>
                      <a:pt x="160" y="14"/>
                    </a:cubicBezTo>
                    <a:cubicBezTo>
                      <a:pt x="159" y="14"/>
                      <a:pt x="154" y="13"/>
                      <a:pt x="148" y="13"/>
                    </a:cubicBezTo>
                    <a:cubicBezTo>
                      <a:pt x="142" y="12"/>
                      <a:pt x="137" y="11"/>
                      <a:pt x="135" y="11"/>
                    </a:cubicBezTo>
                    <a:cubicBezTo>
                      <a:pt x="134" y="11"/>
                      <a:pt x="129" y="10"/>
                      <a:pt x="123" y="10"/>
                    </a:cubicBezTo>
                    <a:cubicBezTo>
                      <a:pt x="118" y="9"/>
                      <a:pt x="112" y="8"/>
                      <a:pt x="111" y="8"/>
                    </a:cubicBezTo>
                    <a:cubicBezTo>
                      <a:pt x="109" y="8"/>
                      <a:pt x="104" y="7"/>
                      <a:pt x="99" y="7"/>
                    </a:cubicBezTo>
                    <a:cubicBezTo>
                      <a:pt x="95" y="6"/>
                      <a:pt x="86" y="5"/>
                      <a:pt x="79" y="5"/>
                    </a:cubicBezTo>
                    <a:cubicBezTo>
                      <a:pt x="73" y="4"/>
                      <a:pt x="64" y="3"/>
                      <a:pt x="60" y="3"/>
                    </a:cubicBezTo>
                    <a:cubicBezTo>
                      <a:pt x="55" y="2"/>
                      <a:pt x="48" y="2"/>
                      <a:pt x="45" y="1"/>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8" name="Freeform 57">
                <a:extLst>
                  <a:ext uri="{FF2B5EF4-FFF2-40B4-BE49-F238E27FC236}">
                    <a16:creationId xmlns:a16="http://schemas.microsoft.com/office/drawing/2014/main" id="{51B5F43A-4F0F-4EFD-AAD1-19FF1B7EA991}"/>
                  </a:ext>
                </a:extLst>
              </p:cNvPr>
              <p:cNvSpPr>
                <a:spLocks/>
              </p:cNvSpPr>
              <p:nvPr/>
            </p:nvSpPr>
            <p:spPr bwMode="auto">
              <a:xfrm>
                <a:off x="2558024" y="3098090"/>
                <a:ext cx="1107210" cy="2027638"/>
              </a:xfrm>
              <a:custGeom>
                <a:avLst/>
                <a:gdLst>
                  <a:gd name="T0" fmla="*/ 201 w 243"/>
                  <a:gd name="T1" fmla="*/ 443 h 445"/>
                  <a:gd name="T2" fmla="*/ 189 w 243"/>
                  <a:gd name="T3" fmla="*/ 441 h 445"/>
                  <a:gd name="T4" fmla="*/ 174 w 243"/>
                  <a:gd name="T5" fmla="*/ 440 h 445"/>
                  <a:gd name="T6" fmla="*/ 161 w 243"/>
                  <a:gd name="T7" fmla="*/ 438 h 445"/>
                  <a:gd name="T8" fmla="*/ 149 w 243"/>
                  <a:gd name="T9" fmla="*/ 437 h 445"/>
                  <a:gd name="T10" fmla="*/ 136 w 243"/>
                  <a:gd name="T11" fmla="*/ 435 h 445"/>
                  <a:gd name="T12" fmla="*/ 92 w 243"/>
                  <a:gd name="T13" fmla="*/ 427 h 445"/>
                  <a:gd name="T14" fmla="*/ 55 w 243"/>
                  <a:gd name="T15" fmla="*/ 418 h 445"/>
                  <a:gd name="T16" fmla="*/ 37 w 243"/>
                  <a:gd name="T17" fmla="*/ 414 h 445"/>
                  <a:gd name="T18" fmla="*/ 25 w 243"/>
                  <a:gd name="T19" fmla="*/ 412 h 445"/>
                  <a:gd name="T20" fmla="*/ 11 w 243"/>
                  <a:gd name="T21" fmla="*/ 409 h 445"/>
                  <a:gd name="T22" fmla="*/ 1 w 243"/>
                  <a:gd name="T23" fmla="*/ 404 h 445"/>
                  <a:gd name="T24" fmla="*/ 13 w 243"/>
                  <a:gd name="T25" fmla="*/ 351 h 445"/>
                  <a:gd name="T26" fmla="*/ 18 w 243"/>
                  <a:gd name="T27" fmla="*/ 331 h 445"/>
                  <a:gd name="T28" fmla="*/ 28 w 243"/>
                  <a:gd name="T29" fmla="*/ 291 h 445"/>
                  <a:gd name="T30" fmla="*/ 40 w 243"/>
                  <a:gd name="T31" fmla="*/ 241 h 445"/>
                  <a:gd name="T32" fmla="*/ 47 w 243"/>
                  <a:gd name="T33" fmla="*/ 209 h 445"/>
                  <a:gd name="T34" fmla="*/ 52 w 243"/>
                  <a:gd name="T35" fmla="*/ 188 h 445"/>
                  <a:gd name="T36" fmla="*/ 63 w 243"/>
                  <a:gd name="T37" fmla="*/ 144 h 445"/>
                  <a:gd name="T38" fmla="*/ 74 w 243"/>
                  <a:gd name="T39" fmla="*/ 97 h 445"/>
                  <a:gd name="T40" fmla="*/ 84 w 243"/>
                  <a:gd name="T41" fmla="*/ 56 h 445"/>
                  <a:gd name="T42" fmla="*/ 89 w 243"/>
                  <a:gd name="T43" fmla="*/ 34 h 445"/>
                  <a:gd name="T44" fmla="*/ 97 w 243"/>
                  <a:gd name="T45" fmla="*/ 35 h 445"/>
                  <a:gd name="T46" fmla="*/ 111 w 243"/>
                  <a:gd name="T47" fmla="*/ 37 h 445"/>
                  <a:gd name="T48" fmla="*/ 129 w 243"/>
                  <a:gd name="T49" fmla="*/ 36 h 445"/>
                  <a:gd name="T50" fmla="*/ 148 w 243"/>
                  <a:gd name="T51" fmla="*/ 39 h 445"/>
                  <a:gd name="T52" fmla="*/ 160 w 243"/>
                  <a:gd name="T53" fmla="*/ 40 h 445"/>
                  <a:gd name="T54" fmla="*/ 122 w 243"/>
                  <a:gd name="T55" fmla="*/ 22 h 445"/>
                  <a:gd name="T56" fmla="*/ 114 w 243"/>
                  <a:gd name="T57" fmla="*/ 20 h 445"/>
                  <a:gd name="T58" fmla="*/ 108 w 243"/>
                  <a:gd name="T59" fmla="*/ 17 h 445"/>
                  <a:gd name="T60" fmla="*/ 96 w 243"/>
                  <a:gd name="T61" fmla="*/ 16 h 445"/>
                  <a:gd name="T62" fmla="*/ 95 w 243"/>
                  <a:gd name="T63" fmla="*/ 7 h 445"/>
                  <a:gd name="T64" fmla="*/ 99 w 243"/>
                  <a:gd name="T65" fmla="*/ 1 h 445"/>
                  <a:gd name="T66" fmla="*/ 120 w 243"/>
                  <a:gd name="T67" fmla="*/ 5 h 445"/>
                  <a:gd name="T68" fmla="*/ 127 w 243"/>
                  <a:gd name="T69" fmla="*/ 6 h 445"/>
                  <a:gd name="T70" fmla="*/ 194 w 243"/>
                  <a:gd name="T71" fmla="*/ 20 h 445"/>
                  <a:gd name="T72" fmla="*/ 214 w 243"/>
                  <a:gd name="T73" fmla="*/ 24 h 445"/>
                  <a:gd name="T74" fmla="*/ 237 w 243"/>
                  <a:gd name="T75" fmla="*/ 27 h 445"/>
                  <a:gd name="T76" fmla="*/ 243 w 243"/>
                  <a:gd name="T77" fmla="*/ 33 h 445"/>
                  <a:gd name="T78" fmla="*/ 239 w 243"/>
                  <a:gd name="T79" fmla="*/ 64 h 445"/>
                  <a:gd name="T80" fmla="*/ 234 w 243"/>
                  <a:gd name="T81" fmla="*/ 97 h 445"/>
                  <a:gd name="T82" fmla="*/ 229 w 243"/>
                  <a:gd name="T83" fmla="*/ 108 h 445"/>
                  <a:gd name="T84" fmla="*/ 217 w 243"/>
                  <a:gd name="T85" fmla="*/ 122 h 445"/>
                  <a:gd name="T86" fmla="*/ 216 w 243"/>
                  <a:gd name="T87" fmla="*/ 131 h 445"/>
                  <a:gd name="T88" fmla="*/ 214 w 243"/>
                  <a:gd name="T89" fmla="*/ 151 h 445"/>
                  <a:gd name="T90" fmla="*/ 211 w 243"/>
                  <a:gd name="T91" fmla="*/ 157 h 445"/>
                  <a:gd name="T92" fmla="*/ 217 w 243"/>
                  <a:gd name="T93" fmla="*/ 155 h 445"/>
                  <a:gd name="T94" fmla="*/ 223 w 243"/>
                  <a:gd name="T95" fmla="*/ 152 h 445"/>
                  <a:gd name="T96" fmla="*/ 223 w 243"/>
                  <a:gd name="T97" fmla="*/ 184 h 445"/>
                  <a:gd name="T98" fmla="*/ 221 w 243"/>
                  <a:gd name="T99" fmla="*/ 205 h 445"/>
                  <a:gd name="T100" fmla="*/ 220 w 243"/>
                  <a:gd name="T101" fmla="*/ 224 h 445"/>
                  <a:gd name="T102" fmla="*/ 219 w 243"/>
                  <a:gd name="T103" fmla="*/ 244 h 445"/>
                  <a:gd name="T104" fmla="*/ 217 w 243"/>
                  <a:gd name="T105" fmla="*/ 263 h 445"/>
                  <a:gd name="T106" fmla="*/ 216 w 243"/>
                  <a:gd name="T107" fmla="*/ 284 h 445"/>
                  <a:gd name="T108" fmla="*/ 214 w 243"/>
                  <a:gd name="T109" fmla="*/ 303 h 445"/>
                  <a:gd name="T110" fmla="*/ 213 w 243"/>
                  <a:gd name="T111" fmla="*/ 324 h 445"/>
                  <a:gd name="T112" fmla="*/ 212 w 243"/>
                  <a:gd name="T113" fmla="*/ 343 h 445"/>
                  <a:gd name="T114" fmla="*/ 210 w 243"/>
                  <a:gd name="T115" fmla="*/ 363 h 445"/>
                  <a:gd name="T116" fmla="*/ 209 w 243"/>
                  <a:gd name="T117" fmla="*/ 382 h 445"/>
                  <a:gd name="T118" fmla="*/ 207 w 243"/>
                  <a:gd name="T119" fmla="*/ 402 h 445"/>
                  <a:gd name="T120" fmla="*/ 206 w 243"/>
                  <a:gd name="T121" fmla="*/ 422 h 445"/>
                  <a:gd name="T122" fmla="*/ 205 w 243"/>
                  <a:gd name="T123" fmla="*/ 434 h 445"/>
                  <a:gd name="T124" fmla="*/ 201 w 243"/>
                  <a:gd name="T125" fmla="*/ 44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3" h="445">
                    <a:moveTo>
                      <a:pt x="201" y="443"/>
                    </a:moveTo>
                    <a:cubicBezTo>
                      <a:pt x="201" y="442"/>
                      <a:pt x="195" y="442"/>
                      <a:pt x="189" y="441"/>
                    </a:cubicBezTo>
                    <a:cubicBezTo>
                      <a:pt x="183" y="441"/>
                      <a:pt x="176" y="440"/>
                      <a:pt x="174" y="440"/>
                    </a:cubicBezTo>
                    <a:cubicBezTo>
                      <a:pt x="172" y="439"/>
                      <a:pt x="166" y="439"/>
                      <a:pt x="161" y="438"/>
                    </a:cubicBezTo>
                    <a:cubicBezTo>
                      <a:pt x="156" y="438"/>
                      <a:pt x="151" y="437"/>
                      <a:pt x="149" y="437"/>
                    </a:cubicBezTo>
                    <a:cubicBezTo>
                      <a:pt x="147" y="437"/>
                      <a:pt x="141" y="436"/>
                      <a:pt x="136" y="435"/>
                    </a:cubicBezTo>
                    <a:cubicBezTo>
                      <a:pt x="131" y="435"/>
                      <a:pt x="111" y="431"/>
                      <a:pt x="92" y="427"/>
                    </a:cubicBezTo>
                    <a:cubicBezTo>
                      <a:pt x="73" y="422"/>
                      <a:pt x="56" y="419"/>
                      <a:pt x="55" y="418"/>
                    </a:cubicBezTo>
                    <a:cubicBezTo>
                      <a:pt x="49" y="417"/>
                      <a:pt x="45" y="416"/>
                      <a:pt x="37" y="414"/>
                    </a:cubicBezTo>
                    <a:cubicBezTo>
                      <a:pt x="32" y="413"/>
                      <a:pt x="26" y="412"/>
                      <a:pt x="25" y="412"/>
                    </a:cubicBezTo>
                    <a:cubicBezTo>
                      <a:pt x="23" y="411"/>
                      <a:pt x="17" y="410"/>
                      <a:pt x="11" y="409"/>
                    </a:cubicBezTo>
                    <a:cubicBezTo>
                      <a:pt x="2" y="407"/>
                      <a:pt x="0" y="406"/>
                      <a:pt x="1" y="404"/>
                    </a:cubicBezTo>
                    <a:cubicBezTo>
                      <a:pt x="1" y="402"/>
                      <a:pt x="12" y="356"/>
                      <a:pt x="13" y="351"/>
                    </a:cubicBezTo>
                    <a:cubicBezTo>
                      <a:pt x="14" y="350"/>
                      <a:pt x="16" y="341"/>
                      <a:pt x="18" y="331"/>
                    </a:cubicBezTo>
                    <a:cubicBezTo>
                      <a:pt x="21" y="321"/>
                      <a:pt x="25" y="303"/>
                      <a:pt x="28" y="291"/>
                    </a:cubicBezTo>
                    <a:cubicBezTo>
                      <a:pt x="31" y="279"/>
                      <a:pt x="36" y="257"/>
                      <a:pt x="40" y="241"/>
                    </a:cubicBezTo>
                    <a:cubicBezTo>
                      <a:pt x="44" y="225"/>
                      <a:pt x="47" y="211"/>
                      <a:pt x="47" y="209"/>
                    </a:cubicBezTo>
                    <a:cubicBezTo>
                      <a:pt x="48" y="207"/>
                      <a:pt x="50" y="198"/>
                      <a:pt x="52" y="188"/>
                    </a:cubicBezTo>
                    <a:cubicBezTo>
                      <a:pt x="55" y="179"/>
                      <a:pt x="59" y="159"/>
                      <a:pt x="63" y="144"/>
                    </a:cubicBezTo>
                    <a:cubicBezTo>
                      <a:pt x="67" y="129"/>
                      <a:pt x="72" y="108"/>
                      <a:pt x="74" y="97"/>
                    </a:cubicBezTo>
                    <a:cubicBezTo>
                      <a:pt x="84" y="56"/>
                      <a:pt x="84" y="56"/>
                      <a:pt x="84" y="56"/>
                    </a:cubicBezTo>
                    <a:cubicBezTo>
                      <a:pt x="89" y="34"/>
                      <a:pt x="89" y="34"/>
                      <a:pt x="89" y="34"/>
                    </a:cubicBezTo>
                    <a:cubicBezTo>
                      <a:pt x="97" y="35"/>
                      <a:pt x="97" y="35"/>
                      <a:pt x="97" y="35"/>
                    </a:cubicBezTo>
                    <a:cubicBezTo>
                      <a:pt x="101" y="35"/>
                      <a:pt x="107" y="36"/>
                      <a:pt x="111" y="37"/>
                    </a:cubicBezTo>
                    <a:cubicBezTo>
                      <a:pt x="115" y="37"/>
                      <a:pt x="123" y="37"/>
                      <a:pt x="129" y="36"/>
                    </a:cubicBezTo>
                    <a:cubicBezTo>
                      <a:pt x="139" y="35"/>
                      <a:pt x="140" y="35"/>
                      <a:pt x="148" y="39"/>
                    </a:cubicBezTo>
                    <a:cubicBezTo>
                      <a:pt x="157" y="43"/>
                      <a:pt x="160" y="43"/>
                      <a:pt x="160" y="40"/>
                    </a:cubicBezTo>
                    <a:cubicBezTo>
                      <a:pt x="160" y="38"/>
                      <a:pt x="130" y="24"/>
                      <a:pt x="122" y="22"/>
                    </a:cubicBezTo>
                    <a:cubicBezTo>
                      <a:pt x="119" y="21"/>
                      <a:pt x="115" y="20"/>
                      <a:pt x="114" y="20"/>
                    </a:cubicBezTo>
                    <a:cubicBezTo>
                      <a:pt x="112" y="20"/>
                      <a:pt x="109" y="19"/>
                      <a:pt x="108" y="17"/>
                    </a:cubicBezTo>
                    <a:cubicBezTo>
                      <a:pt x="104" y="14"/>
                      <a:pt x="100" y="14"/>
                      <a:pt x="96" y="16"/>
                    </a:cubicBezTo>
                    <a:cubicBezTo>
                      <a:pt x="93" y="18"/>
                      <a:pt x="93" y="17"/>
                      <a:pt x="95" y="7"/>
                    </a:cubicBezTo>
                    <a:cubicBezTo>
                      <a:pt x="96" y="2"/>
                      <a:pt x="97" y="0"/>
                      <a:pt x="99" y="1"/>
                    </a:cubicBezTo>
                    <a:cubicBezTo>
                      <a:pt x="101" y="1"/>
                      <a:pt x="111" y="3"/>
                      <a:pt x="120" y="5"/>
                    </a:cubicBezTo>
                    <a:cubicBezTo>
                      <a:pt x="122" y="6"/>
                      <a:pt x="125" y="6"/>
                      <a:pt x="127" y="6"/>
                    </a:cubicBezTo>
                    <a:cubicBezTo>
                      <a:pt x="131" y="7"/>
                      <a:pt x="190" y="19"/>
                      <a:pt x="194" y="20"/>
                    </a:cubicBezTo>
                    <a:cubicBezTo>
                      <a:pt x="196" y="20"/>
                      <a:pt x="205" y="22"/>
                      <a:pt x="214" y="24"/>
                    </a:cubicBezTo>
                    <a:cubicBezTo>
                      <a:pt x="224" y="25"/>
                      <a:pt x="234" y="27"/>
                      <a:pt x="237" y="27"/>
                    </a:cubicBezTo>
                    <a:cubicBezTo>
                      <a:pt x="243" y="28"/>
                      <a:pt x="243" y="28"/>
                      <a:pt x="243" y="33"/>
                    </a:cubicBezTo>
                    <a:cubicBezTo>
                      <a:pt x="242" y="36"/>
                      <a:pt x="241" y="49"/>
                      <a:pt x="239" y="64"/>
                    </a:cubicBezTo>
                    <a:cubicBezTo>
                      <a:pt x="237" y="78"/>
                      <a:pt x="235" y="93"/>
                      <a:pt x="234" y="97"/>
                    </a:cubicBezTo>
                    <a:cubicBezTo>
                      <a:pt x="233" y="104"/>
                      <a:pt x="232" y="108"/>
                      <a:pt x="229" y="108"/>
                    </a:cubicBezTo>
                    <a:cubicBezTo>
                      <a:pt x="227" y="108"/>
                      <a:pt x="219" y="117"/>
                      <a:pt x="217" y="122"/>
                    </a:cubicBezTo>
                    <a:cubicBezTo>
                      <a:pt x="215" y="125"/>
                      <a:pt x="215" y="127"/>
                      <a:pt x="216" y="131"/>
                    </a:cubicBezTo>
                    <a:cubicBezTo>
                      <a:pt x="219" y="141"/>
                      <a:pt x="219" y="146"/>
                      <a:pt x="214" y="151"/>
                    </a:cubicBezTo>
                    <a:cubicBezTo>
                      <a:pt x="211" y="154"/>
                      <a:pt x="210" y="156"/>
                      <a:pt x="211" y="157"/>
                    </a:cubicBezTo>
                    <a:cubicBezTo>
                      <a:pt x="212" y="159"/>
                      <a:pt x="213" y="158"/>
                      <a:pt x="217" y="155"/>
                    </a:cubicBezTo>
                    <a:cubicBezTo>
                      <a:pt x="219" y="153"/>
                      <a:pt x="222" y="152"/>
                      <a:pt x="223" y="152"/>
                    </a:cubicBezTo>
                    <a:cubicBezTo>
                      <a:pt x="225" y="152"/>
                      <a:pt x="225" y="156"/>
                      <a:pt x="223" y="184"/>
                    </a:cubicBezTo>
                    <a:cubicBezTo>
                      <a:pt x="223" y="188"/>
                      <a:pt x="222" y="198"/>
                      <a:pt x="221" y="205"/>
                    </a:cubicBezTo>
                    <a:cubicBezTo>
                      <a:pt x="221" y="212"/>
                      <a:pt x="220" y="220"/>
                      <a:pt x="220" y="224"/>
                    </a:cubicBezTo>
                    <a:cubicBezTo>
                      <a:pt x="220" y="227"/>
                      <a:pt x="219" y="237"/>
                      <a:pt x="219" y="244"/>
                    </a:cubicBezTo>
                    <a:cubicBezTo>
                      <a:pt x="218" y="252"/>
                      <a:pt x="218" y="261"/>
                      <a:pt x="217" y="263"/>
                    </a:cubicBezTo>
                    <a:cubicBezTo>
                      <a:pt x="217" y="266"/>
                      <a:pt x="216" y="275"/>
                      <a:pt x="216" y="284"/>
                    </a:cubicBezTo>
                    <a:cubicBezTo>
                      <a:pt x="215" y="293"/>
                      <a:pt x="215" y="301"/>
                      <a:pt x="214" y="303"/>
                    </a:cubicBezTo>
                    <a:cubicBezTo>
                      <a:pt x="214" y="305"/>
                      <a:pt x="213" y="314"/>
                      <a:pt x="213" y="324"/>
                    </a:cubicBezTo>
                    <a:cubicBezTo>
                      <a:pt x="212" y="333"/>
                      <a:pt x="212" y="342"/>
                      <a:pt x="212" y="343"/>
                    </a:cubicBezTo>
                    <a:cubicBezTo>
                      <a:pt x="211" y="344"/>
                      <a:pt x="211" y="353"/>
                      <a:pt x="210" y="363"/>
                    </a:cubicBezTo>
                    <a:cubicBezTo>
                      <a:pt x="210" y="372"/>
                      <a:pt x="209" y="381"/>
                      <a:pt x="209" y="382"/>
                    </a:cubicBezTo>
                    <a:cubicBezTo>
                      <a:pt x="209" y="384"/>
                      <a:pt x="208" y="392"/>
                      <a:pt x="207" y="402"/>
                    </a:cubicBezTo>
                    <a:cubicBezTo>
                      <a:pt x="207" y="412"/>
                      <a:pt x="206" y="421"/>
                      <a:pt x="206" y="422"/>
                    </a:cubicBezTo>
                    <a:cubicBezTo>
                      <a:pt x="206" y="424"/>
                      <a:pt x="205" y="429"/>
                      <a:pt x="205" y="434"/>
                    </a:cubicBezTo>
                    <a:cubicBezTo>
                      <a:pt x="205" y="442"/>
                      <a:pt x="203" y="445"/>
                      <a:pt x="201" y="4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9" name="Freeform 7">
                <a:extLst>
                  <a:ext uri="{FF2B5EF4-FFF2-40B4-BE49-F238E27FC236}">
                    <a16:creationId xmlns:a16="http://schemas.microsoft.com/office/drawing/2014/main" id="{F34AABAF-A5D5-46C0-B2C4-A61A6CA5F3DF}"/>
                  </a:ext>
                </a:extLst>
              </p:cNvPr>
              <p:cNvSpPr>
                <a:spLocks/>
              </p:cNvSpPr>
              <p:nvPr/>
            </p:nvSpPr>
            <p:spPr bwMode="auto">
              <a:xfrm>
                <a:off x="2945066" y="500481"/>
                <a:ext cx="606559" cy="720167"/>
              </a:xfrm>
              <a:custGeom>
                <a:avLst/>
                <a:gdLst>
                  <a:gd name="T0" fmla="*/ 81 w 133"/>
                  <a:gd name="T1" fmla="*/ 153 h 158"/>
                  <a:gd name="T2" fmla="*/ 46 w 133"/>
                  <a:gd name="T3" fmla="*/ 142 h 158"/>
                  <a:gd name="T4" fmla="*/ 18 w 133"/>
                  <a:gd name="T5" fmla="*/ 134 h 158"/>
                  <a:gd name="T6" fmla="*/ 11 w 133"/>
                  <a:gd name="T7" fmla="*/ 130 h 158"/>
                  <a:gd name="T8" fmla="*/ 32 w 133"/>
                  <a:gd name="T9" fmla="*/ 130 h 158"/>
                  <a:gd name="T10" fmla="*/ 54 w 133"/>
                  <a:gd name="T11" fmla="*/ 134 h 158"/>
                  <a:gd name="T12" fmla="*/ 79 w 133"/>
                  <a:gd name="T13" fmla="*/ 141 h 158"/>
                  <a:gd name="T14" fmla="*/ 71 w 133"/>
                  <a:gd name="T15" fmla="*/ 132 h 158"/>
                  <a:gd name="T16" fmla="*/ 48 w 133"/>
                  <a:gd name="T17" fmla="*/ 120 h 158"/>
                  <a:gd name="T18" fmla="*/ 12 w 133"/>
                  <a:gd name="T19" fmla="*/ 111 h 158"/>
                  <a:gd name="T20" fmla="*/ 3 w 133"/>
                  <a:gd name="T21" fmla="*/ 99 h 158"/>
                  <a:gd name="T22" fmla="*/ 0 w 133"/>
                  <a:gd name="T23" fmla="*/ 89 h 158"/>
                  <a:gd name="T24" fmla="*/ 25 w 133"/>
                  <a:gd name="T25" fmla="*/ 80 h 158"/>
                  <a:gd name="T26" fmla="*/ 32 w 133"/>
                  <a:gd name="T27" fmla="*/ 79 h 158"/>
                  <a:gd name="T28" fmla="*/ 27 w 133"/>
                  <a:gd name="T29" fmla="*/ 77 h 158"/>
                  <a:gd name="T30" fmla="*/ 18 w 133"/>
                  <a:gd name="T31" fmla="*/ 76 h 158"/>
                  <a:gd name="T32" fmla="*/ 10 w 133"/>
                  <a:gd name="T33" fmla="*/ 66 h 158"/>
                  <a:gd name="T34" fmla="*/ 9 w 133"/>
                  <a:gd name="T35" fmla="*/ 62 h 158"/>
                  <a:gd name="T36" fmla="*/ 5 w 133"/>
                  <a:gd name="T37" fmla="*/ 57 h 158"/>
                  <a:gd name="T38" fmla="*/ 9 w 133"/>
                  <a:gd name="T39" fmla="*/ 40 h 158"/>
                  <a:gd name="T40" fmla="*/ 17 w 133"/>
                  <a:gd name="T41" fmla="*/ 27 h 158"/>
                  <a:gd name="T42" fmla="*/ 59 w 133"/>
                  <a:gd name="T43" fmla="*/ 4 h 158"/>
                  <a:gd name="T44" fmla="*/ 79 w 133"/>
                  <a:gd name="T45" fmla="*/ 0 h 158"/>
                  <a:gd name="T46" fmla="*/ 87 w 133"/>
                  <a:gd name="T47" fmla="*/ 4 h 158"/>
                  <a:gd name="T48" fmla="*/ 83 w 133"/>
                  <a:gd name="T49" fmla="*/ 25 h 158"/>
                  <a:gd name="T50" fmla="*/ 81 w 133"/>
                  <a:gd name="T51" fmla="*/ 32 h 158"/>
                  <a:gd name="T52" fmla="*/ 88 w 133"/>
                  <a:gd name="T53" fmla="*/ 27 h 158"/>
                  <a:gd name="T54" fmla="*/ 95 w 133"/>
                  <a:gd name="T55" fmla="*/ 22 h 158"/>
                  <a:gd name="T56" fmla="*/ 104 w 133"/>
                  <a:gd name="T57" fmla="*/ 27 h 158"/>
                  <a:gd name="T58" fmla="*/ 116 w 133"/>
                  <a:gd name="T59" fmla="*/ 35 h 158"/>
                  <a:gd name="T60" fmla="*/ 119 w 133"/>
                  <a:gd name="T61" fmla="*/ 38 h 158"/>
                  <a:gd name="T62" fmla="*/ 116 w 133"/>
                  <a:gd name="T63" fmla="*/ 45 h 158"/>
                  <a:gd name="T64" fmla="*/ 114 w 133"/>
                  <a:gd name="T65" fmla="*/ 52 h 158"/>
                  <a:gd name="T66" fmla="*/ 119 w 133"/>
                  <a:gd name="T67" fmla="*/ 50 h 158"/>
                  <a:gd name="T68" fmla="*/ 126 w 133"/>
                  <a:gd name="T69" fmla="*/ 48 h 158"/>
                  <a:gd name="T70" fmla="*/ 125 w 133"/>
                  <a:gd name="T71" fmla="*/ 41 h 158"/>
                  <a:gd name="T72" fmla="*/ 123 w 133"/>
                  <a:gd name="T73" fmla="*/ 35 h 158"/>
                  <a:gd name="T74" fmla="*/ 132 w 133"/>
                  <a:gd name="T75" fmla="*/ 31 h 158"/>
                  <a:gd name="T76" fmla="*/ 101 w 133"/>
                  <a:gd name="T77" fmla="*/ 157 h 158"/>
                  <a:gd name="T78" fmla="*/ 81 w 133"/>
                  <a:gd name="T79" fmla="*/ 15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58">
                    <a:moveTo>
                      <a:pt x="81" y="153"/>
                    </a:moveTo>
                    <a:cubicBezTo>
                      <a:pt x="71" y="150"/>
                      <a:pt x="55" y="145"/>
                      <a:pt x="46" y="142"/>
                    </a:cubicBezTo>
                    <a:cubicBezTo>
                      <a:pt x="37" y="139"/>
                      <a:pt x="24" y="136"/>
                      <a:pt x="18" y="134"/>
                    </a:cubicBezTo>
                    <a:cubicBezTo>
                      <a:pt x="7" y="131"/>
                      <a:pt x="7" y="131"/>
                      <a:pt x="11" y="130"/>
                    </a:cubicBezTo>
                    <a:cubicBezTo>
                      <a:pt x="14" y="129"/>
                      <a:pt x="23" y="129"/>
                      <a:pt x="32" y="130"/>
                    </a:cubicBezTo>
                    <a:cubicBezTo>
                      <a:pt x="44" y="130"/>
                      <a:pt x="49" y="131"/>
                      <a:pt x="54" y="134"/>
                    </a:cubicBezTo>
                    <a:cubicBezTo>
                      <a:pt x="60" y="137"/>
                      <a:pt x="78" y="142"/>
                      <a:pt x="79" y="141"/>
                    </a:cubicBezTo>
                    <a:cubicBezTo>
                      <a:pt x="79" y="141"/>
                      <a:pt x="75" y="137"/>
                      <a:pt x="71" y="132"/>
                    </a:cubicBezTo>
                    <a:cubicBezTo>
                      <a:pt x="62" y="124"/>
                      <a:pt x="55" y="120"/>
                      <a:pt x="48" y="120"/>
                    </a:cubicBezTo>
                    <a:cubicBezTo>
                      <a:pt x="43" y="120"/>
                      <a:pt x="21" y="114"/>
                      <a:pt x="12" y="111"/>
                    </a:cubicBezTo>
                    <a:cubicBezTo>
                      <a:pt x="5" y="108"/>
                      <a:pt x="5" y="107"/>
                      <a:pt x="3" y="99"/>
                    </a:cubicBezTo>
                    <a:cubicBezTo>
                      <a:pt x="1" y="95"/>
                      <a:pt x="0" y="90"/>
                      <a:pt x="0" y="89"/>
                    </a:cubicBezTo>
                    <a:cubicBezTo>
                      <a:pt x="0" y="88"/>
                      <a:pt x="6" y="85"/>
                      <a:pt x="25" y="80"/>
                    </a:cubicBezTo>
                    <a:cubicBezTo>
                      <a:pt x="32" y="79"/>
                      <a:pt x="32" y="79"/>
                      <a:pt x="32" y="79"/>
                    </a:cubicBezTo>
                    <a:cubicBezTo>
                      <a:pt x="27" y="77"/>
                      <a:pt x="27" y="77"/>
                      <a:pt x="27" y="77"/>
                    </a:cubicBezTo>
                    <a:cubicBezTo>
                      <a:pt x="24" y="77"/>
                      <a:pt x="20" y="76"/>
                      <a:pt x="18" y="76"/>
                    </a:cubicBezTo>
                    <a:cubicBezTo>
                      <a:pt x="13" y="76"/>
                      <a:pt x="9" y="69"/>
                      <a:pt x="10" y="66"/>
                    </a:cubicBezTo>
                    <a:cubicBezTo>
                      <a:pt x="11" y="64"/>
                      <a:pt x="10" y="63"/>
                      <a:pt x="9" y="62"/>
                    </a:cubicBezTo>
                    <a:cubicBezTo>
                      <a:pt x="8" y="62"/>
                      <a:pt x="6" y="60"/>
                      <a:pt x="5" y="57"/>
                    </a:cubicBezTo>
                    <a:cubicBezTo>
                      <a:pt x="2" y="52"/>
                      <a:pt x="3" y="47"/>
                      <a:pt x="9" y="40"/>
                    </a:cubicBezTo>
                    <a:cubicBezTo>
                      <a:pt x="15" y="35"/>
                      <a:pt x="17" y="31"/>
                      <a:pt x="17" y="27"/>
                    </a:cubicBezTo>
                    <a:cubicBezTo>
                      <a:pt x="17" y="20"/>
                      <a:pt x="38" y="8"/>
                      <a:pt x="59" y="4"/>
                    </a:cubicBezTo>
                    <a:cubicBezTo>
                      <a:pt x="67" y="3"/>
                      <a:pt x="76" y="1"/>
                      <a:pt x="79" y="0"/>
                    </a:cubicBezTo>
                    <a:cubicBezTo>
                      <a:pt x="86" y="0"/>
                      <a:pt x="86" y="0"/>
                      <a:pt x="87" y="4"/>
                    </a:cubicBezTo>
                    <a:cubicBezTo>
                      <a:pt x="89" y="9"/>
                      <a:pt x="88" y="17"/>
                      <a:pt x="83" y="25"/>
                    </a:cubicBezTo>
                    <a:cubicBezTo>
                      <a:pt x="82" y="28"/>
                      <a:pt x="81" y="31"/>
                      <a:pt x="81" y="32"/>
                    </a:cubicBezTo>
                    <a:cubicBezTo>
                      <a:pt x="82" y="32"/>
                      <a:pt x="85" y="30"/>
                      <a:pt x="88" y="27"/>
                    </a:cubicBezTo>
                    <a:cubicBezTo>
                      <a:pt x="95" y="22"/>
                      <a:pt x="95" y="22"/>
                      <a:pt x="95" y="22"/>
                    </a:cubicBezTo>
                    <a:cubicBezTo>
                      <a:pt x="104" y="27"/>
                      <a:pt x="104" y="27"/>
                      <a:pt x="104" y="27"/>
                    </a:cubicBezTo>
                    <a:cubicBezTo>
                      <a:pt x="108" y="30"/>
                      <a:pt x="114" y="34"/>
                      <a:pt x="116" y="35"/>
                    </a:cubicBezTo>
                    <a:cubicBezTo>
                      <a:pt x="119" y="38"/>
                      <a:pt x="119" y="38"/>
                      <a:pt x="119" y="38"/>
                    </a:cubicBezTo>
                    <a:cubicBezTo>
                      <a:pt x="116" y="45"/>
                      <a:pt x="116" y="45"/>
                      <a:pt x="116" y="45"/>
                    </a:cubicBezTo>
                    <a:cubicBezTo>
                      <a:pt x="114" y="52"/>
                      <a:pt x="114" y="52"/>
                      <a:pt x="114" y="52"/>
                    </a:cubicBezTo>
                    <a:cubicBezTo>
                      <a:pt x="119" y="50"/>
                      <a:pt x="119" y="50"/>
                      <a:pt x="119" y="50"/>
                    </a:cubicBezTo>
                    <a:cubicBezTo>
                      <a:pt x="123" y="50"/>
                      <a:pt x="126" y="49"/>
                      <a:pt x="126" y="48"/>
                    </a:cubicBezTo>
                    <a:cubicBezTo>
                      <a:pt x="127" y="48"/>
                      <a:pt x="126" y="44"/>
                      <a:pt x="125" y="41"/>
                    </a:cubicBezTo>
                    <a:cubicBezTo>
                      <a:pt x="124" y="38"/>
                      <a:pt x="123" y="35"/>
                      <a:pt x="123" y="35"/>
                    </a:cubicBezTo>
                    <a:cubicBezTo>
                      <a:pt x="129" y="31"/>
                      <a:pt x="132" y="30"/>
                      <a:pt x="132" y="31"/>
                    </a:cubicBezTo>
                    <a:cubicBezTo>
                      <a:pt x="133" y="32"/>
                      <a:pt x="102" y="156"/>
                      <a:pt x="101" y="157"/>
                    </a:cubicBezTo>
                    <a:cubicBezTo>
                      <a:pt x="100" y="158"/>
                      <a:pt x="91" y="156"/>
                      <a:pt x="81" y="15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0" name="Freeform 8">
                <a:extLst>
                  <a:ext uri="{FF2B5EF4-FFF2-40B4-BE49-F238E27FC236}">
                    <a16:creationId xmlns:a16="http://schemas.microsoft.com/office/drawing/2014/main" id="{4C38FD0A-A8F7-4434-A311-D6406477D58B}"/>
                  </a:ext>
                </a:extLst>
              </p:cNvPr>
              <p:cNvSpPr>
                <a:spLocks/>
              </p:cNvSpPr>
              <p:nvPr/>
            </p:nvSpPr>
            <p:spPr bwMode="auto">
              <a:xfrm>
                <a:off x="2588833" y="96109"/>
                <a:ext cx="702838" cy="687433"/>
              </a:xfrm>
              <a:custGeom>
                <a:avLst/>
                <a:gdLst>
                  <a:gd name="T0" fmla="*/ 19 w 154"/>
                  <a:gd name="T1" fmla="*/ 149 h 151"/>
                  <a:gd name="T2" fmla="*/ 17 w 154"/>
                  <a:gd name="T3" fmla="*/ 135 h 151"/>
                  <a:gd name="T4" fmla="*/ 8 w 154"/>
                  <a:gd name="T5" fmla="*/ 110 h 151"/>
                  <a:gd name="T6" fmla="*/ 0 w 154"/>
                  <a:gd name="T7" fmla="*/ 95 h 151"/>
                  <a:gd name="T8" fmla="*/ 8 w 154"/>
                  <a:gd name="T9" fmla="*/ 86 h 151"/>
                  <a:gd name="T10" fmla="*/ 20 w 154"/>
                  <a:gd name="T11" fmla="*/ 71 h 151"/>
                  <a:gd name="T12" fmla="*/ 30 w 154"/>
                  <a:gd name="T13" fmla="*/ 56 h 151"/>
                  <a:gd name="T14" fmla="*/ 43 w 154"/>
                  <a:gd name="T15" fmla="*/ 39 h 151"/>
                  <a:gd name="T16" fmla="*/ 54 w 154"/>
                  <a:gd name="T17" fmla="*/ 17 h 151"/>
                  <a:gd name="T18" fmla="*/ 54 w 154"/>
                  <a:gd name="T19" fmla="*/ 7 h 151"/>
                  <a:gd name="T20" fmla="*/ 60 w 154"/>
                  <a:gd name="T21" fmla="*/ 0 h 151"/>
                  <a:gd name="T22" fmla="*/ 67 w 154"/>
                  <a:gd name="T23" fmla="*/ 2 h 151"/>
                  <a:gd name="T24" fmla="*/ 80 w 154"/>
                  <a:gd name="T25" fmla="*/ 5 h 151"/>
                  <a:gd name="T26" fmla="*/ 93 w 154"/>
                  <a:gd name="T27" fmla="*/ 10 h 151"/>
                  <a:gd name="T28" fmla="*/ 100 w 154"/>
                  <a:gd name="T29" fmla="*/ 16 h 151"/>
                  <a:gd name="T30" fmla="*/ 110 w 154"/>
                  <a:gd name="T31" fmla="*/ 28 h 151"/>
                  <a:gd name="T32" fmla="*/ 126 w 154"/>
                  <a:gd name="T33" fmla="*/ 35 h 151"/>
                  <a:gd name="T34" fmla="*/ 145 w 154"/>
                  <a:gd name="T35" fmla="*/ 57 h 151"/>
                  <a:gd name="T36" fmla="*/ 131 w 154"/>
                  <a:gd name="T37" fmla="*/ 91 h 151"/>
                  <a:gd name="T38" fmla="*/ 109 w 154"/>
                  <a:gd name="T39" fmla="*/ 100 h 151"/>
                  <a:gd name="T40" fmla="*/ 104 w 154"/>
                  <a:gd name="T41" fmla="*/ 103 h 151"/>
                  <a:gd name="T42" fmla="*/ 96 w 154"/>
                  <a:gd name="T43" fmla="*/ 108 h 151"/>
                  <a:gd name="T44" fmla="*/ 83 w 154"/>
                  <a:gd name="T45" fmla="*/ 118 h 151"/>
                  <a:gd name="T46" fmla="*/ 69 w 154"/>
                  <a:gd name="T47" fmla="*/ 134 h 151"/>
                  <a:gd name="T48" fmla="*/ 60 w 154"/>
                  <a:gd name="T49" fmla="*/ 146 h 151"/>
                  <a:gd name="T50" fmla="*/ 57 w 154"/>
                  <a:gd name="T51" fmla="*/ 147 h 151"/>
                  <a:gd name="T52" fmla="*/ 45 w 154"/>
                  <a:gd name="T53" fmla="*/ 149 h 151"/>
                  <a:gd name="T54" fmla="*/ 31 w 154"/>
                  <a:gd name="T55" fmla="*/ 151 h 151"/>
                  <a:gd name="T56" fmla="*/ 19 w 154"/>
                  <a:gd name="T57" fmla="*/ 14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 h="151">
                    <a:moveTo>
                      <a:pt x="19" y="149"/>
                    </a:moveTo>
                    <a:cubicBezTo>
                      <a:pt x="19" y="148"/>
                      <a:pt x="18" y="142"/>
                      <a:pt x="17" y="135"/>
                    </a:cubicBezTo>
                    <a:cubicBezTo>
                      <a:pt x="16" y="124"/>
                      <a:pt x="15" y="122"/>
                      <a:pt x="8" y="110"/>
                    </a:cubicBezTo>
                    <a:cubicBezTo>
                      <a:pt x="4" y="103"/>
                      <a:pt x="0" y="96"/>
                      <a:pt x="0" y="95"/>
                    </a:cubicBezTo>
                    <a:cubicBezTo>
                      <a:pt x="0" y="93"/>
                      <a:pt x="4" y="88"/>
                      <a:pt x="8" y="86"/>
                    </a:cubicBezTo>
                    <a:cubicBezTo>
                      <a:pt x="10" y="84"/>
                      <a:pt x="16" y="78"/>
                      <a:pt x="20" y="71"/>
                    </a:cubicBezTo>
                    <a:cubicBezTo>
                      <a:pt x="24" y="64"/>
                      <a:pt x="29" y="57"/>
                      <a:pt x="30" y="56"/>
                    </a:cubicBezTo>
                    <a:cubicBezTo>
                      <a:pt x="32" y="54"/>
                      <a:pt x="38" y="46"/>
                      <a:pt x="43" y="39"/>
                    </a:cubicBezTo>
                    <a:cubicBezTo>
                      <a:pt x="53" y="26"/>
                      <a:pt x="54" y="25"/>
                      <a:pt x="54" y="17"/>
                    </a:cubicBezTo>
                    <a:cubicBezTo>
                      <a:pt x="54" y="12"/>
                      <a:pt x="54" y="8"/>
                      <a:pt x="54" y="7"/>
                    </a:cubicBezTo>
                    <a:cubicBezTo>
                      <a:pt x="54" y="4"/>
                      <a:pt x="58" y="0"/>
                      <a:pt x="60" y="0"/>
                    </a:cubicBezTo>
                    <a:cubicBezTo>
                      <a:pt x="61" y="1"/>
                      <a:pt x="64" y="1"/>
                      <a:pt x="67" y="2"/>
                    </a:cubicBezTo>
                    <a:cubicBezTo>
                      <a:pt x="70" y="2"/>
                      <a:pt x="75" y="3"/>
                      <a:pt x="80" y="5"/>
                    </a:cubicBezTo>
                    <a:cubicBezTo>
                      <a:pt x="84" y="7"/>
                      <a:pt x="90" y="9"/>
                      <a:pt x="93" y="10"/>
                    </a:cubicBezTo>
                    <a:cubicBezTo>
                      <a:pt x="98" y="11"/>
                      <a:pt x="99" y="12"/>
                      <a:pt x="100" y="16"/>
                    </a:cubicBezTo>
                    <a:cubicBezTo>
                      <a:pt x="101" y="18"/>
                      <a:pt x="105" y="24"/>
                      <a:pt x="110" y="28"/>
                    </a:cubicBezTo>
                    <a:cubicBezTo>
                      <a:pt x="117" y="36"/>
                      <a:pt x="117" y="36"/>
                      <a:pt x="126" y="35"/>
                    </a:cubicBezTo>
                    <a:cubicBezTo>
                      <a:pt x="137" y="35"/>
                      <a:pt x="139" y="37"/>
                      <a:pt x="145" y="57"/>
                    </a:cubicBezTo>
                    <a:cubicBezTo>
                      <a:pt x="154" y="83"/>
                      <a:pt x="153" y="85"/>
                      <a:pt x="131" y="91"/>
                    </a:cubicBezTo>
                    <a:cubicBezTo>
                      <a:pt x="121" y="93"/>
                      <a:pt x="111" y="97"/>
                      <a:pt x="109" y="100"/>
                    </a:cubicBezTo>
                    <a:cubicBezTo>
                      <a:pt x="109" y="101"/>
                      <a:pt x="106" y="102"/>
                      <a:pt x="104" y="103"/>
                    </a:cubicBezTo>
                    <a:cubicBezTo>
                      <a:pt x="102" y="104"/>
                      <a:pt x="98" y="106"/>
                      <a:pt x="96" y="108"/>
                    </a:cubicBezTo>
                    <a:cubicBezTo>
                      <a:pt x="94" y="109"/>
                      <a:pt x="88" y="114"/>
                      <a:pt x="83" y="118"/>
                    </a:cubicBezTo>
                    <a:cubicBezTo>
                      <a:pt x="76" y="123"/>
                      <a:pt x="73" y="127"/>
                      <a:pt x="69" y="134"/>
                    </a:cubicBezTo>
                    <a:cubicBezTo>
                      <a:pt x="66" y="140"/>
                      <a:pt x="62" y="145"/>
                      <a:pt x="60" y="146"/>
                    </a:cubicBezTo>
                    <a:cubicBezTo>
                      <a:pt x="59" y="147"/>
                      <a:pt x="57" y="147"/>
                      <a:pt x="57" y="147"/>
                    </a:cubicBezTo>
                    <a:cubicBezTo>
                      <a:pt x="57" y="146"/>
                      <a:pt x="56" y="147"/>
                      <a:pt x="45" y="149"/>
                    </a:cubicBezTo>
                    <a:cubicBezTo>
                      <a:pt x="43" y="149"/>
                      <a:pt x="37" y="150"/>
                      <a:pt x="31" y="151"/>
                    </a:cubicBezTo>
                    <a:cubicBezTo>
                      <a:pt x="22" y="151"/>
                      <a:pt x="20" y="151"/>
                      <a:pt x="19" y="1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1" name="Freeform 9">
                <a:extLst>
                  <a:ext uri="{FF2B5EF4-FFF2-40B4-BE49-F238E27FC236}">
                    <a16:creationId xmlns:a16="http://schemas.microsoft.com/office/drawing/2014/main" id="{9952449D-E689-4ECC-9591-3C6C73F1CBB6}"/>
                  </a:ext>
                </a:extLst>
              </p:cNvPr>
              <p:cNvSpPr>
                <a:spLocks/>
              </p:cNvSpPr>
              <p:nvPr/>
            </p:nvSpPr>
            <p:spPr bwMode="auto">
              <a:xfrm>
                <a:off x="3272415" y="-150365"/>
                <a:ext cx="406298" cy="477544"/>
              </a:xfrm>
              <a:custGeom>
                <a:avLst/>
                <a:gdLst>
                  <a:gd name="T0" fmla="*/ 34 w 89"/>
                  <a:gd name="T1" fmla="*/ 97 h 105"/>
                  <a:gd name="T2" fmla="*/ 27 w 89"/>
                  <a:gd name="T3" fmla="*/ 88 h 105"/>
                  <a:gd name="T4" fmla="*/ 41 w 89"/>
                  <a:gd name="T5" fmla="*/ 79 h 105"/>
                  <a:gd name="T6" fmla="*/ 48 w 89"/>
                  <a:gd name="T7" fmla="*/ 71 h 105"/>
                  <a:gd name="T8" fmla="*/ 40 w 89"/>
                  <a:gd name="T9" fmla="*/ 68 h 105"/>
                  <a:gd name="T10" fmla="*/ 34 w 89"/>
                  <a:gd name="T11" fmla="*/ 67 h 105"/>
                  <a:gd name="T12" fmla="*/ 19 w 89"/>
                  <a:gd name="T13" fmla="*/ 69 h 105"/>
                  <a:gd name="T14" fmla="*/ 1 w 89"/>
                  <a:gd name="T15" fmla="*/ 47 h 105"/>
                  <a:gd name="T16" fmla="*/ 7 w 89"/>
                  <a:gd name="T17" fmla="*/ 38 h 105"/>
                  <a:gd name="T18" fmla="*/ 9 w 89"/>
                  <a:gd name="T19" fmla="*/ 37 h 105"/>
                  <a:gd name="T20" fmla="*/ 13 w 89"/>
                  <a:gd name="T21" fmla="*/ 27 h 105"/>
                  <a:gd name="T22" fmla="*/ 17 w 89"/>
                  <a:gd name="T23" fmla="*/ 20 h 105"/>
                  <a:gd name="T24" fmla="*/ 28 w 89"/>
                  <a:gd name="T25" fmla="*/ 7 h 105"/>
                  <a:gd name="T26" fmla="*/ 33 w 89"/>
                  <a:gd name="T27" fmla="*/ 3 h 105"/>
                  <a:gd name="T28" fmla="*/ 42 w 89"/>
                  <a:gd name="T29" fmla="*/ 0 h 105"/>
                  <a:gd name="T30" fmla="*/ 57 w 89"/>
                  <a:gd name="T31" fmla="*/ 11 h 105"/>
                  <a:gd name="T32" fmla="*/ 62 w 89"/>
                  <a:gd name="T33" fmla="*/ 19 h 105"/>
                  <a:gd name="T34" fmla="*/ 73 w 89"/>
                  <a:gd name="T35" fmla="*/ 42 h 105"/>
                  <a:gd name="T36" fmla="*/ 82 w 89"/>
                  <a:gd name="T37" fmla="*/ 55 h 105"/>
                  <a:gd name="T38" fmla="*/ 85 w 89"/>
                  <a:gd name="T39" fmla="*/ 75 h 105"/>
                  <a:gd name="T40" fmla="*/ 78 w 89"/>
                  <a:gd name="T41" fmla="*/ 93 h 105"/>
                  <a:gd name="T42" fmla="*/ 68 w 89"/>
                  <a:gd name="T43" fmla="*/ 99 h 105"/>
                  <a:gd name="T44" fmla="*/ 50 w 89"/>
                  <a:gd name="T45" fmla="*/ 105 h 105"/>
                  <a:gd name="T46" fmla="*/ 40 w 89"/>
                  <a:gd name="T47" fmla="*/ 105 h 105"/>
                  <a:gd name="T48" fmla="*/ 34 w 89"/>
                  <a:gd name="T49" fmla="*/ 9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105">
                    <a:moveTo>
                      <a:pt x="34" y="97"/>
                    </a:moveTo>
                    <a:cubicBezTo>
                      <a:pt x="30" y="93"/>
                      <a:pt x="27" y="89"/>
                      <a:pt x="27" y="88"/>
                    </a:cubicBezTo>
                    <a:cubicBezTo>
                      <a:pt x="27" y="84"/>
                      <a:pt x="33" y="81"/>
                      <a:pt x="41" y="79"/>
                    </a:cubicBezTo>
                    <a:cubicBezTo>
                      <a:pt x="56" y="76"/>
                      <a:pt x="60" y="71"/>
                      <a:pt x="48" y="71"/>
                    </a:cubicBezTo>
                    <a:cubicBezTo>
                      <a:pt x="44" y="71"/>
                      <a:pt x="42" y="71"/>
                      <a:pt x="40" y="68"/>
                    </a:cubicBezTo>
                    <a:cubicBezTo>
                      <a:pt x="37" y="64"/>
                      <a:pt x="37" y="64"/>
                      <a:pt x="34" y="67"/>
                    </a:cubicBezTo>
                    <a:cubicBezTo>
                      <a:pt x="31" y="70"/>
                      <a:pt x="23" y="71"/>
                      <a:pt x="19" y="69"/>
                    </a:cubicBezTo>
                    <a:cubicBezTo>
                      <a:pt x="15" y="66"/>
                      <a:pt x="2" y="51"/>
                      <a:pt x="1" y="47"/>
                    </a:cubicBezTo>
                    <a:cubicBezTo>
                      <a:pt x="0" y="43"/>
                      <a:pt x="3" y="38"/>
                      <a:pt x="7" y="38"/>
                    </a:cubicBezTo>
                    <a:cubicBezTo>
                      <a:pt x="8" y="38"/>
                      <a:pt x="9" y="38"/>
                      <a:pt x="9" y="37"/>
                    </a:cubicBezTo>
                    <a:cubicBezTo>
                      <a:pt x="9" y="33"/>
                      <a:pt x="10" y="30"/>
                      <a:pt x="13" y="27"/>
                    </a:cubicBezTo>
                    <a:cubicBezTo>
                      <a:pt x="15" y="25"/>
                      <a:pt x="17" y="22"/>
                      <a:pt x="17" y="20"/>
                    </a:cubicBezTo>
                    <a:cubicBezTo>
                      <a:pt x="17" y="16"/>
                      <a:pt x="25" y="7"/>
                      <a:pt x="28" y="7"/>
                    </a:cubicBezTo>
                    <a:cubicBezTo>
                      <a:pt x="30" y="7"/>
                      <a:pt x="32" y="5"/>
                      <a:pt x="33" y="3"/>
                    </a:cubicBezTo>
                    <a:cubicBezTo>
                      <a:pt x="35" y="0"/>
                      <a:pt x="37" y="0"/>
                      <a:pt x="42" y="0"/>
                    </a:cubicBezTo>
                    <a:cubicBezTo>
                      <a:pt x="51" y="0"/>
                      <a:pt x="57" y="4"/>
                      <a:pt x="57" y="11"/>
                    </a:cubicBezTo>
                    <a:cubicBezTo>
                      <a:pt x="57" y="15"/>
                      <a:pt x="58" y="16"/>
                      <a:pt x="62" y="19"/>
                    </a:cubicBezTo>
                    <a:cubicBezTo>
                      <a:pt x="69" y="24"/>
                      <a:pt x="73" y="31"/>
                      <a:pt x="73" y="42"/>
                    </a:cubicBezTo>
                    <a:cubicBezTo>
                      <a:pt x="73" y="52"/>
                      <a:pt x="75" y="55"/>
                      <a:pt x="82" y="55"/>
                    </a:cubicBezTo>
                    <a:cubicBezTo>
                      <a:pt x="89" y="55"/>
                      <a:pt x="89" y="56"/>
                      <a:pt x="85" y="75"/>
                    </a:cubicBezTo>
                    <a:cubicBezTo>
                      <a:pt x="81" y="88"/>
                      <a:pt x="80" y="93"/>
                      <a:pt x="78" y="93"/>
                    </a:cubicBezTo>
                    <a:cubicBezTo>
                      <a:pt x="77" y="93"/>
                      <a:pt x="72" y="96"/>
                      <a:pt x="68" y="99"/>
                    </a:cubicBezTo>
                    <a:cubicBezTo>
                      <a:pt x="60" y="104"/>
                      <a:pt x="59" y="105"/>
                      <a:pt x="50" y="105"/>
                    </a:cubicBezTo>
                    <a:cubicBezTo>
                      <a:pt x="40" y="105"/>
                      <a:pt x="40" y="105"/>
                      <a:pt x="40" y="105"/>
                    </a:cubicBezTo>
                    <a:lnTo>
                      <a:pt x="34" y="9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2" name="Freeform 10">
                <a:extLst>
                  <a:ext uri="{FF2B5EF4-FFF2-40B4-BE49-F238E27FC236}">
                    <a16:creationId xmlns:a16="http://schemas.microsoft.com/office/drawing/2014/main" id="{9CBF1970-CB9B-41FA-955D-AEA021094DDD}"/>
                  </a:ext>
                </a:extLst>
              </p:cNvPr>
              <p:cNvSpPr>
                <a:spLocks/>
              </p:cNvSpPr>
              <p:nvPr/>
            </p:nvSpPr>
            <p:spPr bwMode="auto">
              <a:xfrm>
                <a:off x="3199243" y="-109929"/>
                <a:ext cx="142493" cy="119386"/>
              </a:xfrm>
              <a:custGeom>
                <a:avLst/>
                <a:gdLst>
                  <a:gd name="T0" fmla="*/ 6 w 31"/>
                  <a:gd name="T1" fmla="*/ 25 h 26"/>
                  <a:gd name="T2" fmla="*/ 2 w 31"/>
                  <a:gd name="T3" fmla="*/ 19 h 26"/>
                  <a:gd name="T4" fmla="*/ 14 w 31"/>
                  <a:gd name="T5" fmla="*/ 4 h 26"/>
                  <a:gd name="T6" fmla="*/ 28 w 31"/>
                  <a:gd name="T7" fmla="*/ 3 h 26"/>
                  <a:gd name="T8" fmla="*/ 25 w 31"/>
                  <a:gd name="T9" fmla="*/ 13 h 26"/>
                  <a:gd name="T10" fmla="*/ 15 w 31"/>
                  <a:gd name="T11" fmla="*/ 22 h 26"/>
                  <a:gd name="T12" fmla="*/ 9 w 31"/>
                  <a:gd name="T13" fmla="*/ 26 h 26"/>
                  <a:gd name="T14" fmla="*/ 6 w 31"/>
                  <a:gd name="T15" fmla="*/ 2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6">
                    <a:moveTo>
                      <a:pt x="6" y="25"/>
                    </a:moveTo>
                    <a:cubicBezTo>
                      <a:pt x="5" y="25"/>
                      <a:pt x="3" y="22"/>
                      <a:pt x="2" y="19"/>
                    </a:cubicBezTo>
                    <a:cubicBezTo>
                      <a:pt x="0" y="12"/>
                      <a:pt x="3" y="9"/>
                      <a:pt x="14" y="4"/>
                    </a:cubicBezTo>
                    <a:cubicBezTo>
                      <a:pt x="23" y="0"/>
                      <a:pt x="26" y="0"/>
                      <a:pt x="28" y="3"/>
                    </a:cubicBezTo>
                    <a:cubicBezTo>
                      <a:pt x="31" y="6"/>
                      <a:pt x="30" y="9"/>
                      <a:pt x="25" y="13"/>
                    </a:cubicBezTo>
                    <a:cubicBezTo>
                      <a:pt x="22" y="15"/>
                      <a:pt x="18" y="19"/>
                      <a:pt x="15" y="22"/>
                    </a:cubicBezTo>
                    <a:cubicBezTo>
                      <a:pt x="12" y="24"/>
                      <a:pt x="9" y="26"/>
                      <a:pt x="9" y="26"/>
                    </a:cubicBezTo>
                    <a:cubicBezTo>
                      <a:pt x="9" y="26"/>
                      <a:pt x="7" y="26"/>
                      <a:pt x="6" y="2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3" name="Freeform 11">
                <a:extLst>
                  <a:ext uri="{FF2B5EF4-FFF2-40B4-BE49-F238E27FC236}">
                    <a16:creationId xmlns:a16="http://schemas.microsoft.com/office/drawing/2014/main" id="{1184EF6E-BE5E-4849-8FDE-68138BD0761E}"/>
                  </a:ext>
                </a:extLst>
              </p:cNvPr>
              <p:cNvSpPr>
                <a:spLocks/>
              </p:cNvSpPr>
              <p:nvPr/>
            </p:nvSpPr>
            <p:spPr bwMode="auto">
              <a:xfrm>
                <a:off x="3045197" y="-387212"/>
                <a:ext cx="460215" cy="304242"/>
              </a:xfrm>
              <a:custGeom>
                <a:avLst/>
                <a:gdLst>
                  <a:gd name="T0" fmla="*/ 27 w 101"/>
                  <a:gd name="T1" fmla="*/ 62 h 67"/>
                  <a:gd name="T2" fmla="*/ 25 w 101"/>
                  <a:gd name="T3" fmla="*/ 57 h 67"/>
                  <a:gd name="T4" fmla="*/ 17 w 101"/>
                  <a:gd name="T5" fmla="*/ 53 h 67"/>
                  <a:gd name="T6" fmla="*/ 7 w 101"/>
                  <a:gd name="T7" fmla="*/ 38 h 67"/>
                  <a:gd name="T8" fmla="*/ 16 w 101"/>
                  <a:gd name="T9" fmla="*/ 31 h 67"/>
                  <a:gd name="T10" fmla="*/ 29 w 101"/>
                  <a:gd name="T11" fmla="*/ 26 h 67"/>
                  <a:gd name="T12" fmla="*/ 37 w 101"/>
                  <a:gd name="T13" fmla="*/ 23 h 67"/>
                  <a:gd name="T14" fmla="*/ 49 w 101"/>
                  <a:gd name="T15" fmla="*/ 14 h 67"/>
                  <a:gd name="T16" fmla="*/ 75 w 101"/>
                  <a:gd name="T17" fmla="*/ 1 h 67"/>
                  <a:gd name="T18" fmla="*/ 87 w 101"/>
                  <a:gd name="T19" fmla="*/ 1 h 67"/>
                  <a:gd name="T20" fmla="*/ 99 w 101"/>
                  <a:gd name="T21" fmla="*/ 6 h 67"/>
                  <a:gd name="T22" fmla="*/ 92 w 101"/>
                  <a:gd name="T23" fmla="*/ 25 h 67"/>
                  <a:gd name="T24" fmla="*/ 89 w 101"/>
                  <a:gd name="T25" fmla="*/ 33 h 67"/>
                  <a:gd name="T26" fmla="*/ 82 w 101"/>
                  <a:gd name="T27" fmla="*/ 44 h 67"/>
                  <a:gd name="T28" fmla="*/ 74 w 101"/>
                  <a:gd name="T29" fmla="*/ 50 h 67"/>
                  <a:gd name="T30" fmla="*/ 65 w 101"/>
                  <a:gd name="T31" fmla="*/ 53 h 67"/>
                  <a:gd name="T32" fmla="*/ 66 w 101"/>
                  <a:gd name="T33" fmla="*/ 38 h 67"/>
                  <a:gd name="T34" fmla="*/ 68 w 101"/>
                  <a:gd name="T35" fmla="*/ 35 h 67"/>
                  <a:gd name="T36" fmla="*/ 49 w 101"/>
                  <a:gd name="T37" fmla="*/ 51 h 67"/>
                  <a:gd name="T38" fmla="*/ 27 w 101"/>
                  <a:gd name="T39" fmla="*/ 6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67">
                    <a:moveTo>
                      <a:pt x="27" y="62"/>
                    </a:moveTo>
                    <a:cubicBezTo>
                      <a:pt x="26" y="61"/>
                      <a:pt x="25" y="59"/>
                      <a:pt x="25" y="57"/>
                    </a:cubicBezTo>
                    <a:cubicBezTo>
                      <a:pt x="25" y="53"/>
                      <a:pt x="24" y="53"/>
                      <a:pt x="17" y="53"/>
                    </a:cubicBezTo>
                    <a:cubicBezTo>
                      <a:pt x="4" y="53"/>
                      <a:pt x="0" y="47"/>
                      <a:pt x="7" y="38"/>
                    </a:cubicBezTo>
                    <a:cubicBezTo>
                      <a:pt x="9" y="34"/>
                      <a:pt x="11" y="32"/>
                      <a:pt x="16" y="31"/>
                    </a:cubicBezTo>
                    <a:cubicBezTo>
                      <a:pt x="20" y="30"/>
                      <a:pt x="26" y="28"/>
                      <a:pt x="29" y="26"/>
                    </a:cubicBezTo>
                    <a:cubicBezTo>
                      <a:pt x="33" y="24"/>
                      <a:pt x="37" y="22"/>
                      <a:pt x="37" y="23"/>
                    </a:cubicBezTo>
                    <a:cubicBezTo>
                      <a:pt x="38" y="23"/>
                      <a:pt x="43" y="19"/>
                      <a:pt x="49" y="14"/>
                    </a:cubicBezTo>
                    <a:cubicBezTo>
                      <a:pt x="62" y="2"/>
                      <a:pt x="64" y="1"/>
                      <a:pt x="75" y="1"/>
                    </a:cubicBezTo>
                    <a:cubicBezTo>
                      <a:pt x="79" y="1"/>
                      <a:pt x="85" y="1"/>
                      <a:pt x="87" y="1"/>
                    </a:cubicBezTo>
                    <a:cubicBezTo>
                      <a:pt x="91" y="0"/>
                      <a:pt x="98" y="3"/>
                      <a:pt x="99" y="6"/>
                    </a:cubicBezTo>
                    <a:cubicBezTo>
                      <a:pt x="101" y="13"/>
                      <a:pt x="99" y="21"/>
                      <a:pt x="92" y="25"/>
                    </a:cubicBezTo>
                    <a:cubicBezTo>
                      <a:pt x="90" y="26"/>
                      <a:pt x="89" y="29"/>
                      <a:pt x="89" y="33"/>
                    </a:cubicBezTo>
                    <a:cubicBezTo>
                      <a:pt x="88" y="40"/>
                      <a:pt x="88" y="41"/>
                      <a:pt x="82" y="44"/>
                    </a:cubicBezTo>
                    <a:cubicBezTo>
                      <a:pt x="78" y="46"/>
                      <a:pt x="75" y="49"/>
                      <a:pt x="74" y="50"/>
                    </a:cubicBezTo>
                    <a:cubicBezTo>
                      <a:pt x="72" y="54"/>
                      <a:pt x="67" y="55"/>
                      <a:pt x="65" y="53"/>
                    </a:cubicBezTo>
                    <a:cubicBezTo>
                      <a:pt x="62" y="51"/>
                      <a:pt x="62" y="41"/>
                      <a:pt x="66" y="38"/>
                    </a:cubicBezTo>
                    <a:cubicBezTo>
                      <a:pt x="67" y="37"/>
                      <a:pt x="68" y="35"/>
                      <a:pt x="68" y="35"/>
                    </a:cubicBezTo>
                    <a:cubicBezTo>
                      <a:pt x="68" y="33"/>
                      <a:pt x="63" y="37"/>
                      <a:pt x="49" y="51"/>
                    </a:cubicBezTo>
                    <a:cubicBezTo>
                      <a:pt x="36" y="65"/>
                      <a:pt x="32" y="67"/>
                      <a:pt x="27" y="6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4" name="Freeform 12">
                <a:extLst>
                  <a:ext uri="{FF2B5EF4-FFF2-40B4-BE49-F238E27FC236}">
                    <a16:creationId xmlns:a16="http://schemas.microsoft.com/office/drawing/2014/main" id="{E3DE7878-F7E0-4289-907B-8C0D90B1C180}"/>
                  </a:ext>
                </a:extLst>
              </p:cNvPr>
              <p:cNvSpPr>
                <a:spLocks/>
              </p:cNvSpPr>
              <p:nvPr/>
            </p:nvSpPr>
            <p:spPr bwMode="auto">
              <a:xfrm>
                <a:off x="3551624" y="-470012"/>
                <a:ext cx="240698" cy="206038"/>
              </a:xfrm>
              <a:custGeom>
                <a:avLst/>
                <a:gdLst>
                  <a:gd name="T0" fmla="*/ 26 w 53"/>
                  <a:gd name="T1" fmla="*/ 42 h 45"/>
                  <a:gd name="T2" fmla="*/ 17 w 53"/>
                  <a:gd name="T3" fmla="*/ 32 h 45"/>
                  <a:gd name="T4" fmla="*/ 14 w 53"/>
                  <a:gd name="T5" fmla="*/ 22 h 45"/>
                  <a:gd name="T6" fmla="*/ 11 w 53"/>
                  <a:gd name="T7" fmla="*/ 19 h 45"/>
                  <a:gd name="T8" fmla="*/ 7 w 53"/>
                  <a:gd name="T9" fmla="*/ 0 h 45"/>
                  <a:gd name="T10" fmla="*/ 14 w 53"/>
                  <a:gd name="T11" fmla="*/ 7 h 45"/>
                  <a:gd name="T12" fmla="*/ 19 w 53"/>
                  <a:gd name="T13" fmla="*/ 8 h 45"/>
                  <a:gd name="T14" fmla="*/ 52 w 53"/>
                  <a:gd name="T15" fmla="*/ 7 h 45"/>
                  <a:gd name="T16" fmla="*/ 52 w 53"/>
                  <a:gd name="T17" fmla="*/ 13 h 45"/>
                  <a:gd name="T18" fmla="*/ 50 w 53"/>
                  <a:gd name="T19" fmla="*/ 22 h 45"/>
                  <a:gd name="T20" fmla="*/ 44 w 53"/>
                  <a:gd name="T21" fmla="*/ 41 h 45"/>
                  <a:gd name="T22" fmla="*/ 26 w 53"/>
                  <a:gd name="T23" fmla="*/ 4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45">
                    <a:moveTo>
                      <a:pt x="26" y="42"/>
                    </a:moveTo>
                    <a:cubicBezTo>
                      <a:pt x="21" y="40"/>
                      <a:pt x="20" y="38"/>
                      <a:pt x="17" y="32"/>
                    </a:cubicBezTo>
                    <a:cubicBezTo>
                      <a:pt x="16" y="28"/>
                      <a:pt x="14" y="23"/>
                      <a:pt x="14" y="22"/>
                    </a:cubicBezTo>
                    <a:cubicBezTo>
                      <a:pt x="14" y="21"/>
                      <a:pt x="13" y="20"/>
                      <a:pt x="11" y="19"/>
                    </a:cubicBezTo>
                    <a:cubicBezTo>
                      <a:pt x="4" y="14"/>
                      <a:pt x="0" y="0"/>
                      <a:pt x="7" y="0"/>
                    </a:cubicBezTo>
                    <a:cubicBezTo>
                      <a:pt x="10" y="0"/>
                      <a:pt x="14" y="5"/>
                      <a:pt x="14" y="7"/>
                    </a:cubicBezTo>
                    <a:cubicBezTo>
                      <a:pt x="14" y="9"/>
                      <a:pt x="15" y="9"/>
                      <a:pt x="19" y="8"/>
                    </a:cubicBezTo>
                    <a:cubicBezTo>
                      <a:pt x="25" y="7"/>
                      <a:pt x="49" y="6"/>
                      <a:pt x="52" y="7"/>
                    </a:cubicBezTo>
                    <a:cubicBezTo>
                      <a:pt x="53" y="7"/>
                      <a:pt x="53" y="9"/>
                      <a:pt x="52" y="13"/>
                    </a:cubicBezTo>
                    <a:cubicBezTo>
                      <a:pt x="51" y="17"/>
                      <a:pt x="50" y="21"/>
                      <a:pt x="50" y="22"/>
                    </a:cubicBezTo>
                    <a:cubicBezTo>
                      <a:pt x="48" y="33"/>
                      <a:pt x="46" y="39"/>
                      <a:pt x="44" y="41"/>
                    </a:cubicBezTo>
                    <a:cubicBezTo>
                      <a:pt x="40" y="44"/>
                      <a:pt x="33" y="45"/>
                      <a:pt x="26" y="4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5" name="Freeform 13">
                <a:extLst>
                  <a:ext uri="{FF2B5EF4-FFF2-40B4-BE49-F238E27FC236}">
                    <a16:creationId xmlns:a16="http://schemas.microsoft.com/office/drawing/2014/main" id="{A2FA5CD4-B668-4160-8093-37DE45D8D250}"/>
                  </a:ext>
                </a:extLst>
              </p:cNvPr>
              <p:cNvSpPr>
                <a:spLocks/>
              </p:cNvSpPr>
              <p:nvPr/>
            </p:nvSpPr>
            <p:spPr bwMode="auto">
              <a:xfrm>
                <a:off x="3672936" y="-570142"/>
                <a:ext cx="152122" cy="109759"/>
              </a:xfrm>
              <a:custGeom>
                <a:avLst/>
                <a:gdLst>
                  <a:gd name="T0" fmla="*/ 24 w 33"/>
                  <a:gd name="T1" fmla="*/ 23 h 24"/>
                  <a:gd name="T2" fmla="*/ 20 w 33"/>
                  <a:gd name="T3" fmla="*/ 20 h 24"/>
                  <a:gd name="T4" fmla="*/ 13 w 33"/>
                  <a:gd name="T5" fmla="*/ 15 h 24"/>
                  <a:gd name="T6" fmla="*/ 7 w 33"/>
                  <a:gd name="T7" fmla="*/ 13 h 24"/>
                  <a:gd name="T8" fmla="*/ 2 w 33"/>
                  <a:gd name="T9" fmla="*/ 13 h 24"/>
                  <a:gd name="T10" fmla="*/ 14 w 33"/>
                  <a:gd name="T11" fmla="*/ 2 h 24"/>
                  <a:gd name="T12" fmla="*/ 18 w 33"/>
                  <a:gd name="T13" fmla="*/ 1 h 24"/>
                  <a:gd name="T14" fmla="*/ 32 w 33"/>
                  <a:gd name="T15" fmla="*/ 1 h 24"/>
                  <a:gd name="T16" fmla="*/ 26 w 33"/>
                  <a:gd name="T17" fmla="*/ 24 h 24"/>
                  <a:gd name="T18" fmla="*/ 24 w 33"/>
                  <a:gd name="T19"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4">
                    <a:moveTo>
                      <a:pt x="24" y="23"/>
                    </a:moveTo>
                    <a:cubicBezTo>
                      <a:pt x="24" y="22"/>
                      <a:pt x="22" y="21"/>
                      <a:pt x="20" y="20"/>
                    </a:cubicBezTo>
                    <a:cubicBezTo>
                      <a:pt x="18" y="19"/>
                      <a:pt x="15" y="17"/>
                      <a:pt x="13" y="15"/>
                    </a:cubicBezTo>
                    <a:cubicBezTo>
                      <a:pt x="11" y="13"/>
                      <a:pt x="10" y="13"/>
                      <a:pt x="7" y="13"/>
                    </a:cubicBezTo>
                    <a:cubicBezTo>
                      <a:pt x="5" y="14"/>
                      <a:pt x="3" y="14"/>
                      <a:pt x="2" y="13"/>
                    </a:cubicBezTo>
                    <a:cubicBezTo>
                      <a:pt x="0" y="9"/>
                      <a:pt x="11" y="0"/>
                      <a:pt x="14" y="2"/>
                    </a:cubicBezTo>
                    <a:cubicBezTo>
                      <a:pt x="15" y="3"/>
                      <a:pt x="17" y="2"/>
                      <a:pt x="18" y="1"/>
                    </a:cubicBezTo>
                    <a:cubicBezTo>
                      <a:pt x="19" y="0"/>
                      <a:pt x="30" y="0"/>
                      <a:pt x="32" y="1"/>
                    </a:cubicBezTo>
                    <a:cubicBezTo>
                      <a:pt x="33" y="3"/>
                      <a:pt x="27" y="24"/>
                      <a:pt x="26" y="24"/>
                    </a:cubicBezTo>
                    <a:cubicBezTo>
                      <a:pt x="25" y="24"/>
                      <a:pt x="24" y="23"/>
                      <a:pt x="24" y="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6" name="Freeform 14">
                <a:extLst>
                  <a:ext uri="{FF2B5EF4-FFF2-40B4-BE49-F238E27FC236}">
                    <a16:creationId xmlns:a16="http://schemas.microsoft.com/office/drawing/2014/main" id="{CA7160AA-D11A-4428-B459-253C295620E6}"/>
                  </a:ext>
                </a:extLst>
              </p:cNvPr>
              <p:cNvSpPr>
                <a:spLocks/>
              </p:cNvSpPr>
              <p:nvPr/>
            </p:nvSpPr>
            <p:spPr bwMode="auto">
              <a:xfrm>
                <a:off x="2935438" y="533216"/>
                <a:ext cx="1084103" cy="1047516"/>
              </a:xfrm>
              <a:custGeom>
                <a:avLst/>
                <a:gdLst>
                  <a:gd name="T0" fmla="*/ 192 w 238"/>
                  <a:gd name="T1" fmla="*/ 228 h 230"/>
                  <a:gd name="T2" fmla="*/ 167 w 238"/>
                  <a:gd name="T3" fmla="*/ 213 h 230"/>
                  <a:gd name="T4" fmla="*/ 158 w 238"/>
                  <a:gd name="T5" fmla="*/ 207 h 230"/>
                  <a:gd name="T6" fmla="*/ 152 w 238"/>
                  <a:gd name="T7" fmla="*/ 203 h 230"/>
                  <a:gd name="T8" fmla="*/ 151 w 238"/>
                  <a:gd name="T9" fmla="*/ 199 h 230"/>
                  <a:gd name="T10" fmla="*/ 144 w 238"/>
                  <a:gd name="T11" fmla="*/ 199 h 230"/>
                  <a:gd name="T12" fmla="*/ 126 w 238"/>
                  <a:gd name="T13" fmla="*/ 208 h 230"/>
                  <a:gd name="T14" fmla="*/ 116 w 238"/>
                  <a:gd name="T15" fmla="*/ 210 h 230"/>
                  <a:gd name="T16" fmla="*/ 83 w 238"/>
                  <a:gd name="T17" fmla="*/ 214 h 230"/>
                  <a:gd name="T18" fmla="*/ 44 w 238"/>
                  <a:gd name="T19" fmla="*/ 208 h 230"/>
                  <a:gd name="T20" fmla="*/ 44 w 238"/>
                  <a:gd name="T21" fmla="*/ 200 h 230"/>
                  <a:gd name="T22" fmla="*/ 42 w 238"/>
                  <a:gd name="T23" fmla="*/ 186 h 230"/>
                  <a:gd name="T24" fmla="*/ 32 w 238"/>
                  <a:gd name="T25" fmla="*/ 172 h 230"/>
                  <a:gd name="T26" fmla="*/ 6 w 238"/>
                  <a:gd name="T27" fmla="*/ 154 h 230"/>
                  <a:gd name="T28" fmla="*/ 6 w 238"/>
                  <a:gd name="T29" fmla="*/ 152 h 230"/>
                  <a:gd name="T30" fmla="*/ 3 w 238"/>
                  <a:gd name="T31" fmla="*/ 139 h 230"/>
                  <a:gd name="T32" fmla="*/ 0 w 238"/>
                  <a:gd name="T33" fmla="*/ 127 h 230"/>
                  <a:gd name="T34" fmla="*/ 62 w 238"/>
                  <a:gd name="T35" fmla="*/ 144 h 230"/>
                  <a:gd name="T36" fmla="*/ 106 w 238"/>
                  <a:gd name="T37" fmla="*/ 157 h 230"/>
                  <a:gd name="T38" fmla="*/ 122 w 238"/>
                  <a:gd name="T39" fmla="*/ 93 h 230"/>
                  <a:gd name="T40" fmla="*/ 139 w 238"/>
                  <a:gd name="T41" fmla="*/ 28 h 230"/>
                  <a:gd name="T42" fmla="*/ 145 w 238"/>
                  <a:gd name="T43" fmla="*/ 40 h 230"/>
                  <a:gd name="T44" fmla="*/ 150 w 238"/>
                  <a:gd name="T45" fmla="*/ 68 h 230"/>
                  <a:gd name="T46" fmla="*/ 156 w 238"/>
                  <a:gd name="T47" fmla="*/ 84 h 230"/>
                  <a:gd name="T48" fmla="*/ 158 w 238"/>
                  <a:gd name="T49" fmla="*/ 70 h 230"/>
                  <a:gd name="T50" fmla="*/ 157 w 238"/>
                  <a:gd name="T51" fmla="*/ 42 h 230"/>
                  <a:gd name="T52" fmla="*/ 156 w 238"/>
                  <a:gd name="T53" fmla="*/ 25 h 230"/>
                  <a:gd name="T54" fmla="*/ 161 w 238"/>
                  <a:gd name="T55" fmla="*/ 20 h 230"/>
                  <a:gd name="T56" fmla="*/ 171 w 238"/>
                  <a:gd name="T57" fmla="*/ 17 h 230"/>
                  <a:gd name="T58" fmla="*/ 180 w 238"/>
                  <a:gd name="T59" fmla="*/ 22 h 230"/>
                  <a:gd name="T60" fmla="*/ 181 w 238"/>
                  <a:gd name="T61" fmla="*/ 22 h 230"/>
                  <a:gd name="T62" fmla="*/ 178 w 238"/>
                  <a:gd name="T63" fmla="*/ 14 h 230"/>
                  <a:gd name="T64" fmla="*/ 189 w 238"/>
                  <a:gd name="T65" fmla="*/ 2 h 230"/>
                  <a:gd name="T66" fmla="*/ 208 w 238"/>
                  <a:gd name="T67" fmla="*/ 10 h 230"/>
                  <a:gd name="T68" fmla="*/ 202 w 238"/>
                  <a:gd name="T69" fmla="*/ 35 h 230"/>
                  <a:gd name="T70" fmla="*/ 194 w 238"/>
                  <a:gd name="T71" fmla="*/ 45 h 230"/>
                  <a:gd name="T72" fmla="*/ 195 w 238"/>
                  <a:gd name="T73" fmla="*/ 63 h 230"/>
                  <a:gd name="T74" fmla="*/ 199 w 238"/>
                  <a:gd name="T75" fmla="*/ 103 h 230"/>
                  <a:gd name="T76" fmla="*/ 198 w 238"/>
                  <a:gd name="T77" fmla="*/ 116 h 230"/>
                  <a:gd name="T78" fmla="*/ 195 w 238"/>
                  <a:gd name="T79" fmla="*/ 128 h 230"/>
                  <a:gd name="T80" fmla="*/ 218 w 238"/>
                  <a:gd name="T81" fmla="*/ 159 h 230"/>
                  <a:gd name="T82" fmla="*/ 235 w 238"/>
                  <a:gd name="T83" fmla="*/ 190 h 230"/>
                  <a:gd name="T84" fmla="*/ 226 w 238"/>
                  <a:gd name="T85" fmla="*/ 193 h 230"/>
                  <a:gd name="T86" fmla="*/ 216 w 238"/>
                  <a:gd name="T87" fmla="*/ 191 h 230"/>
                  <a:gd name="T88" fmla="*/ 213 w 238"/>
                  <a:gd name="T89" fmla="*/ 190 h 230"/>
                  <a:gd name="T90" fmla="*/ 215 w 238"/>
                  <a:gd name="T91" fmla="*/ 202 h 230"/>
                  <a:gd name="T92" fmla="*/ 210 w 238"/>
                  <a:gd name="T93" fmla="*/ 227 h 230"/>
                  <a:gd name="T94" fmla="*/ 192 w 238"/>
                  <a:gd name="T95" fmla="*/ 22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8" h="230">
                    <a:moveTo>
                      <a:pt x="192" y="228"/>
                    </a:moveTo>
                    <a:cubicBezTo>
                      <a:pt x="185" y="226"/>
                      <a:pt x="175" y="220"/>
                      <a:pt x="167" y="213"/>
                    </a:cubicBezTo>
                    <a:cubicBezTo>
                      <a:pt x="165" y="211"/>
                      <a:pt x="161" y="209"/>
                      <a:pt x="158" y="207"/>
                    </a:cubicBezTo>
                    <a:cubicBezTo>
                      <a:pt x="155" y="206"/>
                      <a:pt x="152" y="204"/>
                      <a:pt x="152" y="203"/>
                    </a:cubicBezTo>
                    <a:cubicBezTo>
                      <a:pt x="151" y="199"/>
                      <a:pt x="151" y="199"/>
                      <a:pt x="151" y="199"/>
                    </a:cubicBezTo>
                    <a:cubicBezTo>
                      <a:pt x="151" y="196"/>
                      <a:pt x="145" y="196"/>
                      <a:pt x="144" y="199"/>
                    </a:cubicBezTo>
                    <a:cubicBezTo>
                      <a:pt x="143" y="204"/>
                      <a:pt x="136" y="207"/>
                      <a:pt x="126" y="208"/>
                    </a:cubicBezTo>
                    <a:cubicBezTo>
                      <a:pt x="121" y="208"/>
                      <a:pt x="117" y="209"/>
                      <a:pt x="116" y="210"/>
                    </a:cubicBezTo>
                    <a:cubicBezTo>
                      <a:pt x="111" y="214"/>
                      <a:pt x="104" y="215"/>
                      <a:pt x="83" y="214"/>
                    </a:cubicBezTo>
                    <a:cubicBezTo>
                      <a:pt x="53" y="213"/>
                      <a:pt x="44" y="211"/>
                      <a:pt x="44" y="208"/>
                    </a:cubicBezTo>
                    <a:cubicBezTo>
                      <a:pt x="44" y="207"/>
                      <a:pt x="44" y="203"/>
                      <a:pt x="44" y="200"/>
                    </a:cubicBezTo>
                    <a:cubicBezTo>
                      <a:pt x="43" y="197"/>
                      <a:pt x="43" y="191"/>
                      <a:pt x="42" y="186"/>
                    </a:cubicBezTo>
                    <a:cubicBezTo>
                      <a:pt x="42" y="177"/>
                      <a:pt x="39" y="173"/>
                      <a:pt x="32" y="172"/>
                    </a:cubicBezTo>
                    <a:cubicBezTo>
                      <a:pt x="23" y="170"/>
                      <a:pt x="6" y="158"/>
                      <a:pt x="6" y="154"/>
                    </a:cubicBezTo>
                    <a:cubicBezTo>
                      <a:pt x="6" y="153"/>
                      <a:pt x="6" y="152"/>
                      <a:pt x="6" y="152"/>
                    </a:cubicBezTo>
                    <a:cubicBezTo>
                      <a:pt x="3" y="139"/>
                      <a:pt x="3" y="139"/>
                      <a:pt x="3" y="139"/>
                    </a:cubicBezTo>
                    <a:cubicBezTo>
                      <a:pt x="2" y="133"/>
                      <a:pt x="1" y="128"/>
                      <a:pt x="0" y="127"/>
                    </a:cubicBezTo>
                    <a:cubicBezTo>
                      <a:pt x="0" y="126"/>
                      <a:pt x="1" y="126"/>
                      <a:pt x="62" y="144"/>
                    </a:cubicBezTo>
                    <a:cubicBezTo>
                      <a:pt x="86" y="151"/>
                      <a:pt x="106" y="157"/>
                      <a:pt x="106" y="157"/>
                    </a:cubicBezTo>
                    <a:cubicBezTo>
                      <a:pt x="106" y="156"/>
                      <a:pt x="114" y="128"/>
                      <a:pt x="122" y="93"/>
                    </a:cubicBezTo>
                    <a:cubicBezTo>
                      <a:pt x="131" y="59"/>
                      <a:pt x="138" y="29"/>
                      <a:pt x="139" y="28"/>
                    </a:cubicBezTo>
                    <a:cubicBezTo>
                      <a:pt x="139" y="27"/>
                      <a:pt x="142" y="32"/>
                      <a:pt x="145" y="40"/>
                    </a:cubicBezTo>
                    <a:cubicBezTo>
                      <a:pt x="151" y="54"/>
                      <a:pt x="151" y="55"/>
                      <a:pt x="150" y="68"/>
                    </a:cubicBezTo>
                    <a:cubicBezTo>
                      <a:pt x="149" y="84"/>
                      <a:pt x="151" y="89"/>
                      <a:pt x="156" y="84"/>
                    </a:cubicBezTo>
                    <a:cubicBezTo>
                      <a:pt x="158" y="81"/>
                      <a:pt x="159" y="79"/>
                      <a:pt x="158" y="70"/>
                    </a:cubicBezTo>
                    <a:cubicBezTo>
                      <a:pt x="158" y="65"/>
                      <a:pt x="157" y="52"/>
                      <a:pt x="157" y="42"/>
                    </a:cubicBezTo>
                    <a:cubicBezTo>
                      <a:pt x="156" y="25"/>
                      <a:pt x="156" y="25"/>
                      <a:pt x="156" y="25"/>
                    </a:cubicBezTo>
                    <a:cubicBezTo>
                      <a:pt x="161" y="20"/>
                      <a:pt x="161" y="20"/>
                      <a:pt x="161" y="20"/>
                    </a:cubicBezTo>
                    <a:cubicBezTo>
                      <a:pt x="165" y="16"/>
                      <a:pt x="166" y="16"/>
                      <a:pt x="171" y="17"/>
                    </a:cubicBezTo>
                    <a:cubicBezTo>
                      <a:pt x="174" y="18"/>
                      <a:pt x="178" y="20"/>
                      <a:pt x="180" y="22"/>
                    </a:cubicBezTo>
                    <a:cubicBezTo>
                      <a:pt x="183" y="26"/>
                      <a:pt x="183" y="26"/>
                      <a:pt x="181" y="22"/>
                    </a:cubicBezTo>
                    <a:cubicBezTo>
                      <a:pt x="180" y="20"/>
                      <a:pt x="178" y="17"/>
                      <a:pt x="178" y="14"/>
                    </a:cubicBezTo>
                    <a:cubicBezTo>
                      <a:pt x="176" y="8"/>
                      <a:pt x="180" y="3"/>
                      <a:pt x="189" y="2"/>
                    </a:cubicBezTo>
                    <a:cubicBezTo>
                      <a:pt x="196" y="0"/>
                      <a:pt x="202" y="3"/>
                      <a:pt x="208" y="10"/>
                    </a:cubicBezTo>
                    <a:cubicBezTo>
                      <a:pt x="213" y="17"/>
                      <a:pt x="212" y="23"/>
                      <a:pt x="202" y="35"/>
                    </a:cubicBezTo>
                    <a:cubicBezTo>
                      <a:pt x="194" y="45"/>
                      <a:pt x="194" y="45"/>
                      <a:pt x="194" y="45"/>
                    </a:cubicBezTo>
                    <a:cubicBezTo>
                      <a:pt x="195" y="63"/>
                      <a:pt x="195" y="63"/>
                      <a:pt x="195" y="63"/>
                    </a:cubicBezTo>
                    <a:cubicBezTo>
                      <a:pt x="195" y="83"/>
                      <a:pt x="196" y="94"/>
                      <a:pt x="199" y="103"/>
                    </a:cubicBezTo>
                    <a:cubicBezTo>
                      <a:pt x="201" y="108"/>
                      <a:pt x="201" y="109"/>
                      <a:pt x="198" y="116"/>
                    </a:cubicBezTo>
                    <a:cubicBezTo>
                      <a:pt x="195" y="121"/>
                      <a:pt x="194" y="125"/>
                      <a:pt x="195" y="128"/>
                    </a:cubicBezTo>
                    <a:cubicBezTo>
                      <a:pt x="196" y="136"/>
                      <a:pt x="205" y="148"/>
                      <a:pt x="218" y="159"/>
                    </a:cubicBezTo>
                    <a:cubicBezTo>
                      <a:pt x="233" y="171"/>
                      <a:pt x="238" y="181"/>
                      <a:pt x="235" y="190"/>
                    </a:cubicBezTo>
                    <a:cubicBezTo>
                      <a:pt x="234" y="194"/>
                      <a:pt x="234" y="194"/>
                      <a:pt x="226" y="193"/>
                    </a:cubicBezTo>
                    <a:cubicBezTo>
                      <a:pt x="221" y="192"/>
                      <a:pt x="217" y="192"/>
                      <a:pt x="216" y="191"/>
                    </a:cubicBezTo>
                    <a:cubicBezTo>
                      <a:pt x="216" y="190"/>
                      <a:pt x="214" y="190"/>
                      <a:pt x="213" y="190"/>
                    </a:cubicBezTo>
                    <a:cubicBezTo>
                      <a:pt x="210" y="190"/>
                      <a:pt x="210" y="194"/>
                      <a:pt x="215" y="202"/>
                    </a:cubicBezTo>
                    <a:cubicBezTo>
                      <a:pt x="223" y="214"/>
                      <a:pt x="221" y="221"/>
                      <a:pt x="210" y="227"/>
                    </a:cubicBezTo>
                    <a:cubicBezTo>
                      <a:pt x="204" y="229"/>
                      <a:pt x="200" y="230"/>
                      <a:pt x="192" y="2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7" name="Freeform 17">
                <a:extLst>
                  <a:ext uri="{FF2B5EF4-FFF2-40B4-BE49-F238E27FC236}">
                    <a16:creationId xmlns:a16="http://schemas.microsoft.com/office/drawing/2014/main" id="{3EFA34D3-A062-4A00-B3CB-C8D1C1033D40}"/>
                  </a:ext>
                </a:extLst>
              </p:cNvPr>
              <p:cNvSpPr>
                <a:spLocks/>
              </p:cNvSpPr>
              <p:nvPr/>
            </p:nvSpPr>
            <p:spPr bwMode="auto">
              <a:xfrm>
                <a:off x="5529197" y="2774592"/>
                <a:ext cx="107833" cy="154047"/>
              </a:xfrm>
              <a:custGeom>
                <a:avLst/>
                <a:gdLst>
                  <a:gd name="T0" fmla="*/ 8 w 24"/>
                  <a:gd name="T1" fmla="*/ 31 h 34"/>
                  <a:gd name="T2" fmla="*/ 8 w 24"/>
                  <a:gd name="T3" fmla="*/ 4 h 34"/>
                  <a:gd name="T4" fmla="*/ 19 w 24"/>
                  <a:gd name="T5" fmla="*/ 4 h 34"/>
                  <a:gd name="T6" fmla="*/ 16 w 24"/>
                  <a:gd name="T7" fmla="*/ 30 h 34"/>
                  <a:gd name="T8" fmla="*/ 8 w 24"/>
                  <a:gd name="T9" fmla="*/ 31 h 34"/>
                </a:gdLst>
                <a:ahLst/>
                <a:cxnLst>
                  <a:cxn ang="0">
                    <a:pos x="T0" y="T1"/>
                  </a:cxn>
                  <a:cxn ang="0">
                    <a:pos x="T2" y="T3"/>
                  </a:cxn>
                  <a:cxn ang="0">
                    <a:pos x="T4" y="T5"/>
                  </a:cxn>
                  <a:cxn ang="0">
                    <a:pos x="T6" y="T7"/>
                  </a:cxn>
                  <a:cxn ang="0">
                    <a:pos x="T8" y="T9"/>
                  </a:cxn>
                </a:cxnLst>
                <a:rect l="0" t="0" r="r" b="b"/>
                <a:pathLst>
                  <a:path w="24" h="34">
                    <a:moveTo>
                      <a:pt x="8" y="31"/>
                    </a:moveTo>
                    <a:cubicBezTo>
                      <a:pt x="0" y="26"/>
                      <a:pt x="0" y="12"/>
                      <a:pt x="8" y="4"/>
                    </a:cubicBezTo>
                    <a:cubicBezTo>
                      <a:pt x="11" y="0"/>
                      <a:pt x="15" y="0"/>
                      <a:pt x="19" y="4"/>
                    </a:cubicBezTo>
                    <a:cubicBezTo>
                      <a:pt x="24" y="8"/>
                      <a:pt x="22" y="25"/>
                      <a:pt x="16" y="30"/>
                    </a:cubicBezTo>
                    <a:cubicBezTo>
                      <a:pt x="12" y="34"/>
                      <a:pt x="12" y="34"/>
                      <a:pt x="8"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8" name="Freeform 18">
                <a:extLst>
                  <a:ext uri="{FF2B5EF4-FFF2-40B4-BE49-F238E27FC236}">
                    <a16:creationId xmlns:a16="http://schemas.microsoft.com/office/drawing/2014/main" id="{64AEFC86-785F-4132-BD22-AB57D1544EEE}"/>
                  </a:ext>
                </a:extLst>
              </p:cNvPr>
              <p:cNvSpPr>
                <a:spLocks/>
              </p:cNvSpPr>
              <p:nvPr/>
            </p:nvSpPr>
            <p:spPr bwMode="auto">
              <a:xfrm>
                <a:off x="5213401" y="2711049"/>
                <a:ext cx="182931" cy="146344"/>
              </a:xfrm>
              <a:custGeom>
                <a:avLst/>
                <a:gdLst>
                  <a:gd name="T0" fmla="*/ 3 w 40"/>
                  <a:gd name="T1" fmla="*/ 29 h 32"/>
                  <a:gd name="T2" fmla="*/ 11 w 40"/>
                  <a:gd name="T3" fmla="*/ 4 h 32"/>
                  <a:gd name="T4" fmla="*/ 30 w 40"/>
                  <a:gd name="T5" fmla="*/ 0 h 32"/>
                  <a:gd name="T6" fmla="*/ 39 w 40"/>
                  <a:gd name="T7" fmla="*/ 4 h 32"/>
                  <a:gd name="T8" fmla="*/ 36 w 40"/>
                  <a:gd name="T9" fmla="*/ 16 h 32"/>
                  <a:gd name="T10" fmla="*/ 12 w 40"/>
                  <a:gd name="T11" fmla="*/ 31 h 32"/>
                  <a:gd name="T12" fmla="*/ 3 w 40"/>
                  <a:gd name="T13" fmla="*/ 29 h 32"/>
                </a:gdLst>
                <a:ahLst/>
                <a:cxnLst>
                  <a:cxn ang="0">
                    <a:pos x="T0" y="T1"/>
                  </a:cxn>
                  <a:cxn ang="0">
                    <a:pos x="T2" y="T3"/>
                  </a:cxn>
                  <a:cxn ang="0">
                    <a:pos x="T4" y="T5"/>
                  </a:cxn>
                  <a:cxn ang="0">
                    <a:pos x="T6" y="T7"/>
                  </a:cxn>
                  <a:cxn ang="0">
                    <a:pos x="T8" y="T9"/>
                  </a:cxn>
                  <a:cxn ang="0">
                    <a:pos x="T10" y="T11"/>
                  </a:cxn>
                  <a:cxn ang="0">
                    <a:pos x="T12" y="T13"/>
                  </a:cxn>
                </a:cxnLst>
                <a:rect l="0" t="0" r="r" b="b"/>
                <a:pathLst>
                  <a:path w="40" h="32">
                    <a:moveTo>
                      <a:pt x="3" y="29"/>
                    </a:moveTo>
                    <a:cubicBezTo>
                      <a:pt x="0" y="23"/>
                      <a:pt x="5" y="9"/>
                      <a:pt x="11" y="4"/>
                    </a:cubicBezTo>
                    <a:cubicBezTo>
                      <a:pt x="17" y="0"/>
                      <a:pt x="19" y="0"/>
                      <a:pt x="30" y="0"/>
                    </a:cubicBezTo>
                    <a:cubicBezTo>
                      <a:pt x="36" y="0"/>
                      <a:pt x="37" y="1"/>
                      <a:pt x="39" y="4"/>
                    </a:cubicBezTo>
                    <a:cubicBezTo>
                      <a:pt x="40" y="8"/>
                      <a:pt x="40" y="9"/>
                      <a:pt x="36" y="16"/>
                    </a:cubicBezTo>
                    <a:cubicBezTo>
                      <a:pt x="30" y="25"/>
                      <a:pt x="22" y="30"/>
                      <a:pt x="12" y="31"/>
                    </a:cubicBezTo>
                    <a:cubicBezTo>
                      <a:pt x="6" y="32"/>
                      <a:pt x="5" y="31"/>
                      <a:pt x="3" y="2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09" name="Freeform 19">
                <a:extLst>
                  <a:ext uri="{FF2B5EF4-FFF2-40B4-BE49-F238E27FC236}">
                    <a16:creationId xmlns:a16="http://schemas.microsoft.com/office/drawing/2014/main" id="{949A994C-0EEB-4332-A83F-1739CEA707DA}"/>
                  </a:ext>
                </a:extLst>
              </p:cNvPr>
              <p:cNvSpPr>
                <a:spLocks/>
              </p:cNvSpPr>
              <p:nvPr/>
            </p:nvSpPr>
            <p:spPr bwMode="auto">
              <a:xfrm>
                <a:off x="4936117" y="2177662"/>
                <a:ext cx="573823" cy="523758"/>
              </a:xfrm>
              <a:custGeom>
                <a:avLst/>
                <a:gdLst>
                  <a:gd name="T0" fmla="*/ 33 w 126"/>
                  <a:gd name="T1" fmla="*/ 115 h 115"/>
                  <a:gd name="T2" fmla="*/ 30 w 126"/>
                  <a:gd name="T3" fmla="*/ 108 h 115"/>
                  <a:gd name="T4" fmla="*/ 28 w 126"/>
                  <a:gd name="T5" fmla="*/ 99 h 115"/>
                  <a:gd name="T6" fmla="*/ 19 w 126"/>
                  <a:gd name="T7" fmla="*/ 97 h 115"/>
                  <a:gd name="T8" fmla="*/ 9 w 126"/>
                  <a:gd name="T9" fmla="*/ 83 h 115"/>
                  <a:gd name="T10" fmla="*/ 15 w 126"/>
                  <a:gd name="T11" fmla="*/ 67 h 115"/>
                  <a:gd name="T12" fmla="*/ 20 w 126"/>
                  <a:gd name="T13" fmla="*/ 9 h 115"/>
                  <a:gd name="T14" fmla="*/ 27 w 126"/>
                  <a:gd name="T15" fmla="*/ 0 h 115"/>
                  <a:gd name="T16" fmla="*/ 35 w 126"/>
                  <a:gd name="T17" fmla="*/ 4 h 115"/>
                  <a:gd name="T18" fmla="*/ 41 w 126"/>
                  <a:gd name="T19" fmla="*/ 14 h 115"/>
                  <a:gd name="T20" fmla="*/ 48 w 126"/>
                  <a:gd name="T21" fmla="*/ 20 h 115"/>
                  <a:gd name="T22" fmla="*/ 64 w 126"/>
                  <a:gd name="T23" fmla="*/ 28 h 115"/>
                  <a:gd name="T24" fmla="*/ 85 w 126"/>
                  <a:gd name="T25" fmla="*/ 43 h 115"/>
                  <a:gd name="T26" fmla="*/ 94 w 126"/>
                  <a:gd name="T27" fmla="*/ 51 h 115"/>
                  <a:gd name="T28" fmla="*/ 97 w 126"/>
                  <a:gd name="T29" fmla="*/ 59 h 115"/>
                  <a:gd name="T30" fmla="*/ 101 w 126"/>
                  <a:gd name="T31" fmla="*/ 67 h 115"/>
                  <a:gd name="T32" fmla="*/ 108 w 126"/>
                  <a:gd name="T33" fmla="*/ 68 h 115"/>
                  <a:gd name="T34" fmla="*/ 121 w 126"/>
                  <a:gd name="T35" fmla="*/ 71 h 115"/>
                  <a:gd name="T36" fmla="*/ 126 w 126"/>
                  <a:gd name="T37" fmla="*/ 80 h 115"/>
                  <a:gd name="T38" fmla="*/ 118 w 126"/>
                  <a:gd name="T39" fmla="*/ 93 h 115"/>
                  <a:gd name="T40" fmla="*/ 107 w 126"/>
                  <a:gd name="T41" fmla="*/ 93 h 115"/>
                  <a:gd name="T42" fmla="*/ 95 w 126"/>
                  <a:gd name="T43" fmla="*/ 91 h 115"/>
                  <a:gd name="T44" fmla="*/ 87 w 126"/>
                  <a:gd name="T45" fmla="*/ 88 h 115"/>
                  <a:gd name="T46" fmla="*/ 84 w 126"/>
                  <a:gd name="T47" fmla="*/ 83 h 115"/>
                  <a:gd name="T48" fmla="*/ 69 w 126"/>
                  <a:gd name="T49" fmla="*/ 75 h 115"/>
                  <a:gd name="T50" fmla="*/ 67 w 126"/>
                  <a:gd name="T51" fmla="*/ 80 h 115"/>
                  <a:gd name="T52" fmla="*/ 60 w 126"/>
                  <a:gd name="T53" fmla="*/ 95 h 115"/>
                  <a:gd name="T54" fmla="*/ 53 w 126"/>
                  <a:gd name="T55" fmla="*/ 103 h 115"/>
                  <a:gd name="T56" fmla="*/ 42 w 126"/>
                  <a:gd name="T57" fmla="*/ 115 h 115"/>
                  <a:gd name="T58" fmla="*/ 33 w 126"/>
                  <a:gd name="T59"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115">
                    <a:moveTo>
                      <a:pt x="33" y="115"/>
                    </a:moveTo>
                    <a:cubicBezTo>
                      <a:pt x="31" y="114"/>
                      <a:pt x="30" y="113"/>
                      <a:pt x="30" y="108"/>
                    </a:cubicBezTo>
                    <a:cubicBezTo>
                      <a:pt x="30" y="104"/>
                      <a:pt x="29" y="100"/>
                      <a:pt x="28" y="99"/>
                    </a:cubicBezTo>
                    <a:cubicBezTo>
                      <a:pt x="28" y="98"/>
                      <a:pt x="23" y="97"/>
                      <a:pt x="19" y="97"/>
                    </a:cubicBezTo>
                    <a:cubicBezTo>
                      <a:pt x="2" y="97"/>
                      <a:pt x="0" y="93"/>
                      <a:pt x="9" y="83"/>
                    </a:cubicBezTo>
                    <a:cubicBezTo>
                      <a:pt x="14" y="78"/>
                      <a:pt x="15" y="75"/>
                      <a:pt x="15" y="67"/>
                    </a:cubicBezTo>
                    <a:cubicBezTo>
                      <a:pt x="14" y="39"/>
                      <a:pt x="15" y="30"/>
                      <a:pt x="20" y="9"/>
                    </a:cubicBezTo>
                    <a:cubicBezTo>
                      <a:pt x="22" y="2"/>
                      <a:pt x="23" y="1"/>
                      <a:pt x="27" y="0"/>
                    </a:cubicBezTo>
                    <a:cubicBezTo>
                      <a:pt x="32" y="0"/>
                      <a:pt x="33" y="0"/>
                      <a:pt x="35" y="4"/>
                    </a:cubicBezTo>
                    <a:cubicBezTo>
                      <a:pt x="37" y="6"/>
                      <a:pt x="40" y="10"/>
                      <a:pt x="41" y="14"/>
                    </a:cubicBezTo>
                    <a:cubicBezTo>
                      <a:pt x="43" y="19"/>
                      <a:pt x="44" y="20"/>
                      <a:pt x="48" y="20"/>
                    </a:cubicBezTo>
                    <a:cubicBezTo>
                      <a:pt x="51" y="20"/>
                      <a:pt x="56" y="23"/>
                      <a:pt x="64" y="28"/>
                    </a:cubicBezTo>
                    <a:cubicBezTo>
                      <a:pt x="71" y="33"/>
                      <a:pt x="80" y="39"/>
                      <a:pt x="85" y="43"/>
                    </a:cubicBezTo>
                    <a:cubicBezTo>
                      <a:pt x="90" y="46"/>
                      <a:pt x="94" y="50"/>
                      <a:pt x="94" y="51"/>
                    </a:cubicBezTo>
                    <a:cubicBezTo>
                      <a:pt x="94" y="52"/>
                      <a:pt x="95" y="55"/>
                      <a:pt x="97" y="59"/>
                    </a:cubicBezTo>
                    <a:cubicBezTo>
                      <a:pt x="99" y="62"/>
                      <a:pt x="101" y="65"/>
                      <a:pt x="101" y="67"/>
                    </a:cubicBezTo>
                    <a:cubicBezTo>
                      <a:pt x="101" y="69"/>
                      <a:pt x="102" y="69"/>
                      <a:pt x="108" y="68"/>
                    </a:cubicBezTo>
                    <a:cubicBezTo>
                      <a:pt x="115" y="68"/>
                      <a:pt x="116" y="68"/>
                      <a:pt x="121" y="71"/>
                    </a:cubicBezTo>
                    <a:cubicBezTo>
                      <a:pt x="126" y="75"/>
                      <a:pt x="126" y="76"/>
                      <a:pt x="126" y="80"/>
                    </a:cubicBezTo>
                    <a:cubicBezTo>
                      <a:pt x="125" y="88"/>
                      <a:pt x="124" y="89"/>
                      <a:pt x="118" y="93"/>
                    </a:cubicBezTo>
                    <a:cubicBezTo>
                      <a:pt x="113" y="96"/>
                      <a:pt x="113" y="96"/>
                      <a:pt x="107" y="93"/>
                    </a:cubicBezTo>
                    <a:cubicBezTo>
                      <a:pt x="103" y="91"/>
                      <a:pt x="98" y="90"/>
                      <a:pt x="95" y="91"/>
                    </a:cubicBezTo>
                    <a:cubicBezTo>
                      <a:pt x="91" y="91"/>
                      <a:pt x="89" y="91"/>
                      <a:pt x="87" y="88"/>
                    </a:cubicBezTo>
                    <a:cubicBezTo>
                      <a:pt x="85" y="86"/>
                      <a:pt x="84" y="84"/>
                      <a:pt x="84" y="83"/>
                    </a:cubicBezTo>
                    <a:cubicBezTo>
                      <a:pt x="85" y="79"/>
                      <a:pt x="72" y="72"/>
                      <a:pt x="69" y="75"/>
                    </a:cubicBezTo>
                    <a:cubicBezTo>
                      <a:pt x="68" y="76"/>
                      <a:pt x="67" y="78"/>
                      <a:pt x="67" y="80"/>
                    </a:cubicBezTo>
                    <a:cubicBezTo>
                      <a:pt x="67" y="85"/>
                      <a:pt x="64" y="91"/>
                      <a:pt x="60" y="95"/>
                    </a:cubicBezTo>
                    <a:cubicBezTo>
                      <a:pt x="58" y="97"/>
                      <a:pt x="55" y="100"/>
                      <a:pt x="53" y="103"/>
                    </a:cubicBezTo>
                    <a:cubicBezTo>
                      <a:pt x="49" y="109"/>
                      <a:pt x="43" y="114"/>
                      <a:pt x="42" y="115"/>
                    </a:cubicBezTo>
                    <a:cubicBezTo>
                      <a:pt x="38" y="115"/>
                      <a:pt x="35" y="115"/>
                      <a:pt x="33" y="1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0" name="Freeform 20">
                <a:extLst>
                  <a:ext uri="{FF2B5EF4-FFF2-40B4-BE49-F238E27FC236}">
                    <a16:creationId xmlns:a16="http://schemas.microsoft.com/office/drawing/2014/main" id="{E9EEF67F-85AE-4CB3-88A2-D64382DE32F2}"/>
                  </a:ext>
                </a:extLst>
              </p:cNvPr>
              <p:cNvSpPr>
                <a:spLocks/>
              </p:cNvSpPr>
              <p:nvPr/>
            </p:nvSpPr>
            <p:spPr bwMode="auto">
              <a:xfrm>
                <a:off x="4092713" y="1420909"/>
                <a:ext cx="250326" cy="273433"/>
              </a:xfrm>
              <a:custGeom>
                <a:avLst/>
                <a:gdLst>
                  <a:gd name="T0" fmla="*/ 32 w 55"/>
                  <a:gd name="T1" fmla="*/ 58 h 60"/>
                  <a:gd name="T2" fmla="*/ 15 w 55"/>
                  <a:gd name="T3" fmla="*/ 47 h 60"/>
                  <a:gd name="T4" fmla="*/ 9 w 55"/>
                  <a:gd name="T5" fmla="*/ 43 h 60"/>
                  <a:gd name="T6" fmla="*/ 0 w 55"/>
                  <a:gd name="T7" fmla="*/ 34 h 60"/>
                  <a:gd name="T8" fmla="*/ 25 w 55"/>
                  <a:gd name="T9" fmla="*/ 0 h 60"/>
                  <a:gd name="T10" fmla="*/ 45 w 55"/>
                  <a:gd name="T11" fmla="*/ 22 h 60"/>
                  <a:gd name="T12" fmla="*/ 55 w 55"/>
                  <a:gd name="T13" fmla="*/ 49 h 60"/>
                  <a:gd name="T14" fmla="*/ 50 w 55"/>
                  <a:gd name="T15" fmla="*/ 56 h 60"/>
                  <a:gd name="T16" fmla="*/ 32 w 55"/>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0">
                    <a:moveTo>
                      <a:pt x="32" y="58"/>
                    </a:moveTo>
                    <a:cubicBezTo>
                      <a:pt x="27" y="56"/>
                      <a:pt x="21" y="52"/>
                      <a:pt x="15" y="47"/>
                    </a:cubicBezTo>
                    <a:cubicBezTo>
                      <a:pt x="12" y="44"/>
                      <a:pt x="10" y="43"/>
                      <a:pt x="9" y="43"/>
                    </a:cubicBezTo>
                    <a:cubicBezTo>
                      <a:pt x="7" y="43"/>
                      <a:pt x="0" y="37"/>
                      <a:pt x="0" y="34"/>
                    </a:cubicBezTo>
                    <a:cubicBezTo>
                      <a:pt x="0" y="30"/>
                      <a:pt x="22" y="0"/>
                      <a:pt x="25" y="0"/>
                    </a:cubicBezTo>
                    <a:cubicBezTo>
                      <a:pt x="29" y="0"/>
                      <a:pt x="42" y="14"/>
                      <a:pt x="45" y="22"/>
                    </a:cubicBezTo>
                    <a:cubicBezTo>
                      <a:pt x="51" y="33"/>
                      <a:pt x="55" y="44"/>
                      <a:pt x="55" y="49"/>
                    </a:cubicBezTo>
                    <a:cubicBezTo>
                      <a:pt x="55" y="52"/>
                      <a:pt x="54" y="53"/>
                      <a:pt x="50" y="56"/>
                    </a:cubicBezTo>
                    <a:cubicBezTo>
                      <a:pt x="44" y="60"/>
                      <a:pt x="39" y="60"/>
                      <a:pt x="32"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1" name="Freeform 21">
                <a:extLst>
                  <a:ext uri="{FF2B5EF4-FFF2-40B4-BE49-F238E27FC236}">
                    <a16:creationId xmlns:a16="http://schemas.microsoft.com/office/drawing/2014/main" id="{62DDACA9-62CF-4302-9AA5-AE3541288C9B}"/>
                  </a:ext>
                </a:extLst>
              </p:cNvPr>
              <p:cNvSpPr>
                <a:spLocks/>
              </p:cNvSpPr>
              <p:nvPr/>
            </p:nvSpPr>
            <p:spPr bwMode="auto">
              <a:xfrm>
                <a:off x="4712750" y="583281"/>
                <a:ext cx="2087330" cy="2077703"/>
              </a:xfrm>
              <a:custGeom>
                <a:avLst/>
                <a:gdLst>
                  <a:gd name="T0" fmla="*/ 379 w 458"/>
                  <a:gd name="T1" fmla="*/ 451 h 456"/>
                  <a:gd name="T2" fmla="*/ 333 w 458"/>
                  <a:gd name="T3" fmla="*/ 433 h 456"/>
                  <a:gd name="T4" fmla="*/ 323 w 458"/>
                  <a:gd name="T5" fmla="*/ 412 h 456"/>
                  <a:gd name="T6" fmla="*/ 297 w 458"/>
                  <a:gd name="T7" fmla="*/ 396 h 456"/>
                  <a:gd name="T8" fmla="*/ 259 w 458"/>
                  <a:gd name="T9" fmla="*/ 391 h 456"/>
                  <a:gd name="T10" fmla="*/ 229 w 458"/>
                  <a:gd name="T11" fmla="*/ 402 h 456"/>
                  <a:gd name="T12" fmla="*/ 211 w 458"/>
                  <a:gd name="T13" fmla="*/ 361 h 456"/>
                  <a:gd name="T14" fmla="*/ 254 w 458"/>
                  <a:gd name="T15" fmla="*/ 349 h 456"/>
                  <a:gd name="T16" fmla="*/ 270 w 458"/>
                  <a:gd name="T17" fmla="*/ 330 h 456"/>
                  <a:gd name="T18" fmla="*/ 262 w 458"/>
                  <a:gd name="T19" fmla="*/ 306 h 456"/>
                  <a:gd name="T20" fmla="*/ 276 w 458"/>
                  <a:gd name="T21" fmla="*/ 264 h 456"/>
                  <a:gd name="T22" fmla="*/ 242 w 458"/>
                  <a:gd name="T23" fmla="*/ 218 h 456"/>
                  <a:gd name="T24" fmla="*/ 222 w 458"/>
                  <a:gd name="T25" fmla="*/ 208 h 456"/>
                  <a:gd name="T26" fmla="*/ 211 w 458"/>
                  <a:gd name="T27" fmla="*/ 201 h 456"/>
                  <a:gd name="T28" fmla="*/ 194 w 458"/>
                  <a:gd name="T29" fmla="*/ 192 h 456"/>
                  <a:gd name="T30" fmla="*/ 173 w 458"/>
                  <a:gd name="T31" fmla="*/ 163 h 456"/>
                  <a:gd name="T32" fmla="*/ 157 w 458"/>
                  <a:gd name="T33" fmla="*/ 173 h 456"/>
                  <a:gd name="T34" fmla="*/ 112 w 458"/>
                  <a:gd name="T35" fmla="*/ 178 h 456"/>
                  <a:gd name="T36" fmla="*/ 51 w 458"/>
                  <a:gd name="T37" fmla="*/ 168 h 456"/>
                  <a:gd name="T38" fmla="*/ 7 w 458"/>
                  <a:gd name="T39" fmla="*/ 138 h 456"/>
                  <a:gd name="T40" fmla="*/ 30 w 458"/>
                  <a:gd name="T41" fmla="*/ 131 h 456"/>
                  <a:gd name="T42" fmla="*/ 1 w 458"/>
                  <a:gd name="T43" fmla="*/ 100 h 456"/>
                  <a:gd name="T44" fmla="*/ 68 w 458"/>
                  <a:gd name="T45" fmla="*/ 11 h 456"/>
                  <a:gd name="T46" fmla="*/ 55 w 458"/>
                  <a:gd name="T47" fmla="*/ 40 h 456"/>
                  <a:gd name="T48" fmla="*/ 56 w 458"/>
                  <a:gd name="T49" fmla="*/ 85 h 456"/>
                  <a:gd name="T50" fmla="*/ 64 w 458"/>
                  <a:gd name="T51" fmla="*/ 70 h 456"/>
                  <a:gd name="T52" fmla="*/ 65 w 458"/>
                  <a:gd name="T53" fmla="*/ 39 h 456"/>
                  <a:gd name="T54" fmla="*/ 86 w 458"/>
                  <a:gd name="T55" fmla="*/ 10 h 456"/>
                  <a:gd name="T56" fmla="*/ 132 w 458"/>
                  <a:gd name="T57" fmla="*/ 50 h 456"/>
                  <a:gd name="T58" fmla="*/ 153 w 458"/>
                  <a:gd name="T59" fmla="*/ 55 h 456"/>
                  <a:gd name="T60" fmla="*/ 192 w 458"/>
                  <a:gd name="T61" fmla="*/ 46 h 456"/>
                  <a:gd name="T62" fmla="*/ 216 w 458"/>
                  <a:gd name="T63" fmla="*/ 70 h 456"/>
                  <a:gd name="T64" fmla="*/ 236 w 458"/>
                  <a:gd name="T65" fmla="*/ 88 h 456"/>
                  <a:gd name="T66" fmla="*/ 263 w 458"/>
                  <a:gd name="T67" fmla="*/ 90 h 456"/>
                  <a:gd name="T68" fmla="*/ 287 w 458"/>
                  <a:gd name="T69" fmla="*/ 108 h 456"/>
                  <a:gd name="T70" fmla="*/ 307 w 458"/>
                  <a:gd name="T71" fmla="*/ 130 h 456"/>
                  <a:gd name="T72" fmla="*/ 336 w 458"/>
                  <a:gd name="T73" fmla="*/ 144 h 456"/>
                  <a:gd name="T74" fmla="*/ 351 w 458"/>
                  <a:gd name="T75" fmla="*/ 166 h 456"/>
                  <a:gd name="T76" fmla="*/ 332 w 458"/>
                  <a:gd name="T77" fmla="*/ 175 h 456"/>
                  <a:gd name="T78" fmla="*/ 353 w 458"/>
                  <a:gd name="T79" fmla="*/ 205 h 456"/>
                  <a:gd name="T80" fmla="*/ 384 w 458"/>
                  <a:gd name="T81" fmla="*/ 211 h 456"/>
                  <a:gd name="T82" fmla="*/ 413 w 458"/>
                  <a:gd name="T83" fmla="*/ 227 h 456"/>
                  <a:gd name="T84" fmla="*/ 425 w 458"/>
                  <a:gd name="T85" fmla="*/ 238 h 456"/>
                  <a:gd name="T86" fmla="*/ 451 w 458"/>
                  <a:gd name="T87" fmla="*/ 235 h 456"/>
                  <a:gd name="T88" fmla="*/ 452 w 458"/>
                  <a:gd name="T89" fmla="*/ 268 h 456"/>
                  <a:gd name="T90" fmla="*/ 444 w 458"/>
                  <a:gd name="T91" fmla="*/ 296 h 456"/>
                  <a:gd name="T92" fmla="*/ 444 w 458"/>
                  <a:gd name="T93" fmla="*/ 321 h 456"/>
                  <a:gd name="T94" fmla="*/ 410 w 458"/>
                  <a:gd name="T95" fmla="*/ 308 h 456"/>
                  <a:gd name="T96" fmla="*/ 372 w 458"/>
                  <a:gd name="T97" fmla="*/ 283 h 456"/>
                  <a:gd name="T98" fmla="*/ 369 w 458"/>
                  <a:gd name="T99" fmla="*/ 292 h 456"/>
                  <a:gd name="T100" fmla="*/ 368 w 458"/>
                  <a:gd name="T101" fmla="*/ 311 h 456"/>
                  <a:gd name="T102" fmla="*/ 410 w 458"/>
                  <a:gd name="T103" fmla="*/ 337 h 456"/>
                  <a:gd name="T104" fmla="*/ 427 w 458"/>
                  <a:gd name="T105" fmla="*/ 354 h 456"/>
                  <a:gd name="T106" fmla="*/ 450 w 458"/>
                  <a:gd name="T107" fmla="*/ 400 h 456"/>
                  <a:gd name="T108" fmla="*/ 391 w 458"/>
                  <a:gd name="T109" fmla="*/ 398 h 456"/>
                  <a:gd name="T110" fmla="*/ 384 w 458"/>
                  <a:gd name="T111" fmla="*/ 406 h 456"/>
                  <a:gd name="T112" fmla="*/ 439 w 458"/>
                  <a:gd name="T113" fmla="*/ 438 h 456"/>
                  <a:gd name="T114" fmla="*/ 430 w 458"/>
                  <a:gd name="T115" fmla="*/ 455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8" h="456">
                    <a:moveTo>
                      <a:pt x="421" y="455"/>
                    </a:moveTo>
                    <a:cubicBezTo>
                      <a:pt x="421" y="455"/>
                      <a:pt x="412" y="454"/>
                      <a:pt x="402" y="454"/>
                    </a:cubicBezTo>
                    <a:cubicBezTo>
                      <a:pt x="386" y="453"/>
                      <a:pt x="381" y="452"/>
                      <a:pt x="379" y="451"/>
                    </a:cubicBezTo>
                    <a:cubicBezTo>
                      <a:pt x="377" y="449"/>
                      <a:pt x="374" y="446"/>
                      <a:pt x="372" y="444"/>
                    </a:cubicBezTo>
                    <a:cubicBezTo>
                      <a:pt x="368" y="441"/>
                      <a:pt x="366" y="441"/>
                      <a:pt x="360" y="441"/>
                    </a:cubicBezTo>
                    <a:cubicBezTo>
                      <a:pt x="352" y="441"/>
                      <a:pt x="348" y="440"/>
                      <a:pt x="333" y="433"/>
                    </a:cubicBezTo>
                    <a:cubicBezTo>
                      <a:pt x="324" y="429"/>
                      <a:pt x="323" y="428"/>
                      <a:pt x="321" y="423"/>
                    </a:cubicBezTo>
                    <a:cubicBezTo>
                      <a:pt x="320" y="418"/>
                      <a:pt x="320" y="417"/>
                      <a:pt x="322" y="416"/>
                    </a:cubicBezTo>
                    <a:cubicBezTo>
                      <a:pt x="324" y="415"/>
                      <a:pt x="325" y="412"/>
                      <a:pt x="323" y="412"/>
                    </a:cubicBezTo>
                    <a:cubicBezTo>
                      <a:pt x="322" y="412"/>
                      <a:pt x="318" y="410"/>
                      <a:pt x="314" y="407"/>
                    </a:cubicBezTo>
                    <a:cubicBezTo>
                      <a:pt x="310" y="405"/>
                      <a:pt x="305" y="402"/>
                      <a:pt x="303" y="401"/>
                    </a:cubicBezTo>
                    <a:cubicBezTo>
                      <a:pt x="300" y="401"/>
                      <a:pt x="298" y="399"/>
                      <a:pt x="297" y="396"/>
                    </a:cubicBezTo>
                    <a:cubicBezTo>
                      <a:pt x="293" y="390"/>
                      <a:pt x="286" y="386"/>
                      <a:pt x="278" y="385"/>
                    </a:cubicBezTo>
                    <a:cubicBezTo>
                      <a:pt x="272" y="385"/>
                      <a:pt x="271" y="385"/>
                      <a:pt x="268" y="388"/>
                    </a:cubicBezTo>
                    <a:cubicBezTo>
                      <a:pt x="266" y="390"/>
                      <a:pt x="263" y="391"/>
                      <a:pt x="259" y="391"/>
                    </a:cubicBezTo>
                    <a:cubicBezTo>
                      <a:pt x="253" y="391"/>
                      <a:pt x="252" y="392"/>
                      <a:pt x="246" y="396"/>
                    </a:cubicBezTo>
                    <a:cubicBezTo>
                      <a:pt x="240" y="402"/>
                      <a:pt x="240" y="402"/>
                      <a:pt x="240" y="402"/>
                    </a:cubicBezTo>
                    <a:cubicBezTo>
                      <a:pt x="229" y="402"/>
                      <a:pt x="229" y="402"/>
                      <a:pt x="229" y="402"/>
                    </a:cubicBezTo>
                    <a:cubicBezTo>
                      <a:pt x="209" y="402"/>
                      <a:pt x="205" y="399"/>
                      <a:pt x="203" y="381"/>
                    </a:cubicBezTo>
                    <a:cubicBezTo>
                      <a:pt x="202" y="375"/>
                      <a:pt x="203" y="374"/>
                      <a:pt x="206" y="370"/>
                    </a:cubicBezTo>
                    <a:cubicBezTo>
                      <a:pt x="210" y="367"/>
                      <a:pt x="211" y="365"/>
                      <a:pt x="211" y="361"/>
                    </a:cubicBezTo>
                    <a:cubicBezTo>
                      <a:pt x="211" y="357"/>
                      <a:pt x="212" y="355"/>
                      <a:pt x="213" y="354"/>
                    </a:cubicBezTo>
                    <a:cubicBezTo>
                      <a:pt x="215" y="354"/>
                      <a:pt x="223" y="353"/>
                      <a:pt x="233" y="353"/>
                    </a:cubicBezTo>
                    <a:cubicBezTo>
                      <a:pt x="248" y="353"/>
                      <a:pt x="250" y="352"/>
                      <a:pt x="254" y="349"/>
                    </a:cubicBezTo>
                    <a:cubicBezTo>
                      <a:pt x="260" y="344"/>
                      <a:pt x="267" y="341"/>
                      <a:pt x="270" y="341"/>
                    </a:cubicBezTo>
                    <a:cubicBezTo>
                      <a:pt x="273" y="341"/>
                      <a:pt x="273" y="341"/>
                      <a:pt x="273" y="338"/>
                    </a:cubicBezTo>
                    <a:cubicBezTo>
                      <a:pt x="271" y="334"/>
                      <a:pt x="271" y="331"/>
                      <a:pt x="270" y="330"/>
                    </a:cubicBezTo>
                    <a:cubicBezTo>
                      <a:pt x="270" y="329"/>
                      <a:pt x="268" y="327"/>
                      <a:pt x="264" y="325"/>
                    </a:cubicBezTo>
                    <a:cubicBezTo>
                      <a:pt x="259" y="321"/>
                      <a:pt x="259" y="321"/>
                      <a:pt x="259" y="316"/>
                    </a:cubicBezTo>
                    <a:cubicBezTo>
                      <a:pt x="260" y="313"/>
                      <a:pt x="261" y="309"/>
                      <a:pt x="262" y="306"/>
                    </a:cubicBezTo>
                    <a:cubicBezTo>
                      <a:pt x="263" y="304"/>
                      <a:pt x="268" y="296"/>
                      <a:pt x="272" y="288"/>
                    </a:cubicBezTo>
                    <a:cubicBezTo>
                      <a:pt x="279" y="274"/>
                      <a:pt x="279" y="274"/>
                      <a:pt x="279" y="274"/>
                    </a:cubicBezTo>
                    <a:cubicBezTo>
                      <a:pt x="276" y="264"/>
                      <a:pt x="276" y="264"/>
                      <a:pt x="276" y="264"/>
                    </a:cubicBezTo>
                    <a:cubicBezTo>
                      <a:pt x="273" y="254"/>
                      <a:pt x="265" y="241"/>
                      <a:pt x="258" y="235"/>
                    </a:cubicBezTo>
                    <a:cubicBezTo>
                      <a:pt x="257" y="234"/>
                      <a:pt x="254" y="231"/>
                      <a:pt x="252" y="228"/>
                    </a:cubicBezTo>
                    <a:cubicBezTo>
                      <a:pt x="250" y="225"/>
                      <a:pt x="246" y="221"/>
                      <a:pt x="242" y="218"/>
                    </a:cubicBezTo>
                    <a:cubicBezTo>
                      <a:pt x="236" y="215"/>
                      <a:pt x="235" y="214"/>
                      <a:pt x="234" y="210"/>
                    </a:cubicBezTo>
                    <a:cubicBezTo>
                      <a:pt x="233" y="205"/>
                      <a:pt x="232" y="205"/>
                      <a:pt x="228" y="205"/>
                    </a:cubicBezTo>
                    <a:cubicBezTo>
                      <a:pt x="226" y="205"/>
                      <a:pt x="223" y="207"/>
                      <a:pt x="222" y="208"/>
                    </a:cubicBezTo>
                    <a:cubicBezTo>
                      <a:pt x="221" y="209"/>
                      <a:pt x="217" y="211"/>
                      <a:pt x="214" y="212"/>
                    </a:cubicBezTo>
                    <a:cubicBezTo>
                      <a:pt x="209" y="215"/>
                      <a:pt x="208" y="215"/>
                      <a:pt x="207" y="213"/>
                    </a:cubicBezTo>
                    <a:cubicBezTo>
                      <a:pt x="204" y="210"/>
                      <a:pt x="206" y="205"/>
                      <a:pt x="211" y="201"/>
                    </a:cubicBezTo>
                    <a:cubicBezTo>
                      <a:pt x="216" y="197"/>
                      <a:pt x="216" y="197"/>
                      <a:pt x="213" y="195"/>
                    </a:cubicBezTo>
                    <a:cubicBezTo>
                      <a:pt x="209" y="192"/>
                      <a:pt x="207" y="192"/>
                      <a:pt x="202" y="195"/>
                    </a:cubicBezTo>
                    <a:cubicBezTo>
                      <a:pt x="197" y="198"/>
                      <a:pt x="194" y="197"/>
                      <a:pt x="194" y="192"/>
                    </a:cubicBezTo>
                    <a:cubicBezTo>
                      <a:pt x="194" y="189"/>
                      <a:pt x="195" y="187"/>
                      <a:pt x="197" y="186"/>
                    </a:cubicBezTo>
                    <a:cubicBezTo>
                      <a:pt x="199" y="185"/>
                      <a:pt x="199" y="184"/>
                      <a:pt x="193" y="178"/>
                    </a:cubicBezTo>
                    <a:cubicBezTo>
                      <a:pt x="181" y="167"/>
                      <a:pt x="175" y="162"/>
                      <a:pt x="173" y="163"/>
                    </a:cubicBezTo>
                    <a:cubicBezTo>
                      <a:pt x="172" y="163"/>
                      <a:pt x="171" y="165"/>
                      <a:pt x="171" y="168"/>
                    </a:cubicBezTo>
                    <a:cubicBezTo>
                      <a:pt x="171" y="173"/>
                      <a:pt x="171" y="173"/>
                      <a:pt x="171" y="173"/>
                    </a:cubicBezTo>
                    <a:cubicBezTo>
                      <a:pt x="157" y="173"/>
                      <a:pt x="157" y="173"/>
                      <a:pt x="157" y="173"/>
                    </a:cubicBezTo>
                    <a:cubicBezTo>
                      <a:pt x="149" y="173"/>
                      <a:pt x="138" y="173"/>
                      <a:pt x="133" y="173"/>
                    </a:cubicBezTo>
                    <a:cubicBezTo>
                      <a:pt x="125" y="173"/>
                      <a:pt x="123" y="174"/>
                      <a:pt x="124" y="175"/>
                    </a:cubicBezTo>
                    <a:cubicBezTo>
                      <a:pt x="124" y="177"/>
                      <a:pt x="122" y="178"/>
                      <a:pt x="112" y="178"/>
                    </a:cubicBezTo>
                    <a:cubicBezTo>
                      <a:pt x="105" y="178"/>
                      <a:pt x="93" y="177"/>
                      <a:pt x="85" y="176"/>
                    </a:cubicBezTo>
                    <a:cubicBezTo>
                      <a:pt x="76" y="176"/>
                      <a:pt x="68" y="176"/>
                      <a:pt x="65" y="177"/>
                    </a:cubicBezTo>
                    <a:cubicBezTo>
                      <a:pt x="59" y="179"/>
                      <a:pt x="54" y="176"/>
                      <a:pt x="51" y="168"/>
                    </a:cubicBezTo>
                    <a:cubicBezTo>
                      <a:pt x="50" y="164"/>
                      <a:pt x="49" y="164"/>
                      <a:pt x="46" y="164"/>
                    </a:cubicBezTo>
                    <a:cubicBezTo>
                      <a:pt x="29" y="165"/>
                      <a:pt x="28" y="165"/>
                      <a:pt x="24" y="162"/>
                    </a:cubicBezTo>
                    <a:cubicBezTo>
                      <a:pt x="15" y="155"/>
                      <a:pt x="7" y="144"/>
                      <a:pt x="7" y="138"/>
                    </a:cubicBezTo>
                    <a:cubicBezTo>
                      <a:pt x="7" y="136"/>
                      <a:pt x="8" y="135"/>
                      <a:pt x="14" y="134"/>
                    </a:cubicBezTo>
                    <a:cubicBezTo>
                      <a:pt x="17" y="134"/>
                      <a:pt x="23" y="133"/>
                      <a:pt x="26" y="133"/>
                    </a:cubicBezTo>
                    <a:cubicBezTo>
                      <a:pt x="31" y="133"/>
                      <a:pt x="31" y="133"/>
                      <a:pt x="30" y="131"/>
                    </a:cubicBezTo>
                    <a:cubicBezTo>
                      <a:pt x="26" y="128"/>
                      <a:pt x="19" y="126"/>
                      <a:pt x="12" y="126"/>
                    </a:cubicBezTo>
                    <a:cubicBezTo>
                      <a:pt x="7" y="126"/>
                      <a:pt x="6" y="125"/>
                      <a:pt x="5" y="124"/>
                    </a:cubicBezTo>
                    <a:cubicBezTo>
                      <a:pt x="2" y="118"/>
                      <a:pt x="0" y="106"/>
                      <a:pt x="1" y="100"/>
                    </a:cubicBezTo>
                    <a:cubicBezTo>
                      <a:pt x="2" y="70"/>
                      <a:pt x="3" y="67"/>
                      <a:pt x="9" y="49"/>
                    </a:cubicBezTo>
                    <a:cubicBezTo>
                      <a:pt x="18" y="24"/>
                      <a:pt x="24" y="12"/>
                      <a:pt x="32" y="7"/>
                    </a:cubicBezTo>
                    <a:cubicBezTo>
                      <a:pt x="45" y="0"/>
                      <a:pt x="66" y="2"/>
                      <a:pt x="68" y="11"/>
                    </a:cubicBezTo>
                    <a:cubicBezTo>
                      <a:pt x="69" y="14"/>
                      <a:pt x="68" y="16"/>
                      <a:pt x="64" y="20"/>
                    </a:cubicBezTo>
                    <a:cubicBezTo>
                      <a:pt x="62" y="23"/>
                      <a:pt x="59" y="28"/>
                      <a:pt x="58" y="31"/>
                    </a:cubicBezTo>
                    <a:cubicBezTo>
                      <a:pt x="58" y="34"/>
                      <a:pt x="57" y="38"/>
                      <a:pt x="55" y="40"/>
                    </a:cubicBezTo>
                    <a:cubicBezTo>
                      <a:pt x="53" y="43"/>
                      <a:pt x="49" y="58"/>
                      <a:pt x="50" y="60"/>
                    </a:cubicBezTo>
                    <a:cubicBezTo>
                      <a:pt x="51" y="61"/>
                      <a:pt x="51" y="66"/>
                      <a:pt x="52" y="72"/>
                    </a:cubicBezTo>
                    <a:cubicBezTo>
                      <a:pt x="52" y="83"/>
                      <a:pt x="53" y="85"/>
                      <a:pt x="56" y="85"/>
                    </a:cubicBezTo>
                    <a:cubicBezTo>
                      <a:pt x="58" y="85"/>
                      <a:pt x="59" y="84"/>
                      <a:pt x="60" y="81"/>
                    </a:cubicBezTo>
                    <a:cubicBezTo>
                      <a:pt x="61" y="79"/>
                      <a:pt x="62" y="76"/>
                      <a:pt x="63" y="75"/>
                    </a:cubicBezTo>
                    <a:cubicBezTo>
                      <a:pt x="65" y="73"/>
                      <a:pt x="65" y="72"/>
                      <a:pt x="64" y="70"/>
                    </a:cubicBezTo>
                    <a:cubicBezTo>
                      <a:pt x="60" y="65"/>
                      <a:pt x="59" y="60"/>
                      <a:pt x="59" y="53"/>
                    </a:cubicBezTo>
                    <a:cubicBezTo>
                      <a:pt x="59" y="48"/>
                      <a:pt x="59" y="46"/>
                      <a:pt x="62" y="44"/>
                    </a:cubicBezTo>
                    <a:cubicBezTo>
                      <a:pt x="63" y="43"/>
                      <a:pt x="65" y="41"/>
                      <a:pt x="65" y="39"/>
                    </a:cubicBezTo>
                    <a:cubicBezTo>
                      <a:pt x="66" y="38"/>
                      <a:pt x="67" y="37"/>
                      <a:pt x="68" y="37"/>
                    </a:cubicBezTo>
                    <a:cubicBezTo>
                      <a:pt x="69" y="37"/>
                      <a:pt x="69" y="36"/>
                      <a:pt x="69" y="34"/>
                    </a:cubicBezTo>
                    <a:cubicBezTo>
                      <a:pt x="69" y="29"/>
                      <a:pt x="80" y="14"/>
                      <a:pt x="86" y="10"/>
                    </a:cubicBezTo>
                    <a:cubicBezTo>
                      <a:pt x="92" y="7"/>
                      <a:pt x="106" y="4"/>
                      <a:pt x="110" y="6"/>
                    </a:cubicBezTo>
                    <a:cubicBezTo>
                      <a:pt x="112" y="7"/>
                      <a:pt x="115" y="11"/>
                      <a:pt x="123" y="26"/>
                    </a:cubicBezTo>
                    <a:cubicBezTo>
                      <a:pt x="129" y="36"/>
                      <a:pt x="133" y="47"/>
                      <a:pt x="132" y="50"/>
                    </a:cubicBezTo>
                    <a:cubicBezTo>
                      <a:pt x="131" y="54"/>
                      <a:pt x="136" y="61"/>
                      <a:pt x="141" y="61"/>
                    </a:cubicBezTo>
                    <a:cubicBezTo>
                      <a:pt x="142" y="61"/>
                      <a:pt x="146" y="60"/>
                      <a:pt x="149" y="60"/>
                    </a:cubicBezTo>
                    <a:cubicBezTo>
                      <a:pt x="153" y="58"/>
                      <a:pt x="154" y="58"/>
                      <a:pt x="153" y="55"/>
                    </a:cubicBezTo>
                    <a:cubicBezTo>
                      <a:pt x="152" y="50"/>
                      <a:pt x="160" y="43"/>
                      <a:pt x="171" y="41"/>
                    </a:cubicBezTo>
                    <a:cubicBezTo>
                      <a:pt x="179" y="40"/>
                      <a:pt x="180" y="40"/>
                      <a:pt x="184" y="43"/>
                    </a:cubicBezTo>
                    <a:cubicBezTo>
                      <a:pt x="187" y="44"/>
                      <a:pt x="190" y="45"/>
                      <a:pt x="192" y="46"/>
                    </a:cubicBezTo>
                    <a:cubicBezTo>
                      <a:pt x="197" y="46"/>
                      <a:pt x="203" y="51"/>
                      <a:pt x="204" y="55"/>
                    </a:cubicBezTo>
                    <a:cubicBezTo>
                      <a:pt x="206" y="60"/>
                      <a:pt x="209" y="64"/>
                      <a:pt x="212" y="64"/>
                    </a:cubicBezTo>
                    <a:cubicBezTo>
                      <a:pt x="214" y="64"/>
                      <a:pt x="215" y="65"/>
                      <a:pt x="216" y="70"/>
                    </a:cubicBezTo>
                    <a:cubicBezTo>
                      <a:pt x="216" y="73"/>
                      <a:pt x="217" y="75"/>
                      <a:pt x="218" y="75"/>
                    </a:cubicBezTo>
                    <a:cubicBezTo>
                      <a:pt x="219" y="75"/>
                      <a:pt x="223" y="79"/>
                      <a:pt x="227" y="83"/>
                    </a:cubicBezTo>
                    <a:cubicBezTo>
                      <a:pt x="234" y="89"/>
                      <a:pt x="235" y="90"/>
                      <a:pt x="236" y="88"/>
                    </a:cubicBezTo>
                    <a:cubicBezTo>
                      <a:pt x="236" y="87"/>
                      <a:pt x="237" y="84"/>
                      <a:pt x="239" y="81"/>
                    </a:cubicBezTo>
                    <a:cubicBezTo>
                      <a:pt x="241" y="76"/>
                      <a:pt x="242" y="76"/>
                      <a:pt x="254" y="80"/>
                    </a:cubicBezTo>
                    <a:cubicBezTo>
                      <a:pt x="260" y="82"/>
                      <a:pt x="261" y="84"/>
                      <a:pt x="263" y="90"/>
                    </a:cubicBezTo>
                    <a:cubicBezTo>
                      <a:pt x="265" y="94"/>
                      <a:pt x="268" y="97"/>
                      <a:pt x="270" y="99"/>
                    </a:cubicBezTo>
                    <a:cubicBezTo>
                      <a:pt x="273" y="100"/>
                      <a:pt x="275" y="103"/>
                      <a:pt x="276" y="104"/>
                    </a:cubicBezTo>
                    <a:cubicBezTo>
                      <a:pt x="279" y="110"/>
                      <a:pt x="282" y="111"/>
                      <a:pt x="287" y="108"/>
                    </a:cubicBezTo>
                    <a:cubicBezTo>
                      <a:pt x="291" y="104"/>
                      <a:pt x="294" y="105"/>
                      <a:pt x="303" y="111"/>
                    </a:cubicBezTo>
                    <a:cubicBezTo>
                      <a:pt x="308" y="114"/>
                      <a:pt x="309" y="116"/>
                      <a:pt x="308" y="119"/>
                    </a:cubicBezTo>
                    <a:cubicBezTo>
                      <a:pt x="305" y="129"/>
                      <a:pt x="305" y="131"/>
                      <a:pt x="307" y="130"/>
                    </a:cubicBezTo>
                    <a:cubicBezTo>
                      <a:pt x="308" y="130"/>
                      <a:pt x="310" y="128"/>
                      <a:pt x="312" y="126"/>
                    </a:cubicBezTo>
                    <a:cubicBezTo>
                      <a:pt x="315" y="120"/>
                      <a:pt x="320" y="121"/>
                      <a:pt x="327" y="128"/>
                    </a:cubicBezTo>
                    <a:cubicBezTo>
                      <a:pt x="333" y="135"/>
                      <a:pt x="336" y="140"/>
                      <a:pt x="336" y="144"/>
                    </a:cubicBezTo>
                    <a:cubicBezTo>
                      <a:pt x="337" y="152"/>
                      <a:pt x="337" y="153"/>
                      <a:pt x="342" y="155"/>
                    </a:cubicBezTo>
                    <a:cubicBezTo>
                      <a:pt x="344" y="156"/>
                      <a:pt x="348" y="159"/>
                      <a:pt x="349" y="161"/>
                    </a:cubicBezTo>
                    <a:cubicBezTo>
                      <a:pt x="351" y="166"/>
                      <a:pt x="351" y="166"/>
                      <a:pt x="351" y="166"/>
                    </a:cubicBezTo>
                    <a:cubicBezTo>
                      <a:pt x="345" y="169"/>
                      <a:pt x="345" y="169"/>
                      <a:pt x="345" y="169"/>
                    </a:cubicBezTo>
                    <a:cubicBezTo>
                      <a:pt x="339" y="173"/>
                      <a:pt x="338" y="173"/>
                      <a:pt x="335" y="172"/>
                    </a:cubicBezTo>
                    <a:cubicBezTo>
                      <a:pt x="330" y="170"/>
                      <a:pt x="329" y="171"/>
                      <a:pt x="332" y="175"/>
                    </a:cubicBezTo>
                    <a:cubicBezTo>
                      <a:pt x="334" y="178"/>
                      <a:pt x="334" y="184"/>
                      <a:pt x="332" y="190"/>
                    </a:cubicBezTo>
                    <a:cubicBezTo>
                      <a:pt x="331" y="193"/>
                      <a:pt x="335" y="197"/>
                      <a:pt x="342" y="200"/>
                    </a:cubicBezTo>
                    <a:cubicBezTo>
                      <a:pt x="345" y="200"/>
                      <a:pt x="350" y="203"/>
                      <a:pt x="353" y="205"/>
                    </a:cubicBezTo>
                    <a:cubicBezTo>
                      <a:pt x="356" y="207"/>
                      <a:pt x="361" y="209"/>
                      <a:pt x="364" y="209"/>
                    </a:cubicBezTo>
                    <a:cubicBezTo>
                      <a:pt x="367" y="209"/>
                      <a:pt x="370" y="210"/>
                      <a:pt x="372" y="211"/>
                    </a:cubicBezTo>
                    <a:cubicBezTo>
                      <a:pt x="374" y="211"/>
                      <a:pt x="380" y="212"/>
                      <a:pt x="384" y="211"/>
                    </a:cubicBezTo>
                    <a:cubicBezTo>
                      <a:pt x="392" y="211"/>
                      <a:pt x="392" y="211"/>
                      <a:pt x="392" y="211"/>
                    </a:cubicBezTo>
                    <a:cubicBezTo>
                      <a:pt x="400" y="219"/>
                      <a:pt x="400" y="219"/>
                      <a:pt x="400" y="219"/>
                    </a:cubicBezTo>
                    <a:cubicBezTo>
                      <a:pt x="406" y="226"/>
                      <a:pt x="408" y="227"/>
                      <a:pt x="413" y="227"/>
                    </a:cubicBezTo>
                    <a:cubicBezTo>
                      <a:pt x="416" y="227"/>
                      <a:pt x="420" y="227"/>
                      <a:pt x="421" y="227"/>
                    </a:cubicBezTo>
                    <a:cubicBezTo>
                      <a:pt x="422" y="227"/>
                      <a:pt x="423" y="229"/>
                      <a:pt x="423" y="232"/>
                    </a:cubicBezTo>
                    <a:cubicBezTo>
                      <a:pt x="424" y="235"/>
                      <a:pt x="425" y="237"/>
                      <a:pt x="425" y="238"/>
                    </a:cubicBezTo>
                    <a:cubicBezTo>
                      <a:pt x="426" y="238"/>
                      <a:pt x="431" y="237"/>
                      <a:pt x="436" y="235"/>
                    </a:cubicBezTo>
                    <a:cubicBezTo>
                      <a:pt x="446" y="232"/>
                      <a:pt x="446" y="232"/>
                      <a:pt x="446" y="232"/>
                    </a:cubicBezTo>
                    <a:cubicBezTo>
                      <a:pt x="451" y="235"/>
                      <a:pt x="451" y="235"/>
                      <a:pt x="451" y="235"/>
                    </a:cubicBezTo>
                    <a:cubicBezTo>
                      <a:pt x="456" y="238"/>
                      <a:pt x="457" y="238"/>
                      <a:pt x="457" y="245"/>
                    </a:cubicBezTo>
                    <a:cubicBezTo>
                      <a:pt x="458" y="254"/>
                      <a:pt x="457" y="258"/>
                      <a:pt x="453" y="262"/>
                    </a:cubicBezTo>
                    <a:cubicBezTo>
                      <a:pt x="450" y="265"/>
                      <a:pt x="450" y="265"/>
                      <a:pt x="452" y="268"/>
                    </a:cubicBezTo>
                    <a:cubicBezTo>
                      <a:pt x="454" y="270"/>
                      <a:pt x="455" y="271"/>
                      <a:pt x="453" y="274"/>
                    </a:cubicBezTo>
                    <a:cubicBezTo>
                      <a:pt x="452" y="276"/>
                      <a:pt x="452" y="280"/>
                      <a:pt x="453" y="282"/>
                    </a:cubicBezTo>
                    <a:cubicBezTo>
                      <a:pt x="454" y="289"/>
                      <a:pt x="449" y="296"/>
                      <a:pt x="444" y="296"/>
                    </a:cubicBezTo>
                    <a:cubicBezTo>
                      <a:pt x="441" y="296"/>
                      <a:pt x="440" y="296"/>
                      <a:pt x="441" y="299"/>
                    </a:cubicBezTo>
                    <a:cubicBezTo>
                      <a:pt x="443" y="304"/>
                      <a:pt x="447" y="313"/>
                      <a:pt x="449" y="314"/>
                    </a:cubicBezTo>
                    <a:cubicBezTo>
                      <a:pt x="452" y="316"/>
                      <a:pt x="450" y="318"/>
                      <a:pt x="444" y="321"/>
                    </a:cubicBezTo>
                    <a:cubicBezTo>
                      <a:pt x="439" y="324"/>
                      <a:pt x="438" y="324"/>
                      <a:pt x="434" y="321"/>
                    </a:cubicBezTo>
                    <a:cubicBezTo>
                      <a:pt x="431" y="320"/>
                      <a:pt x="425" y="318"/>
                      <a:pt x="422" y="317"/>
                    </a:cubicBezTo>
                    <a:cubicBezTo>
                      <a:pt x="416" y="315"/>
                      <a:pt x="414" y="314"/>
                      <a:pt x="410" y="308"/>
                    </a:cubicBezTo>
                    <a:cubicBezTo>
                      <a:pt x="404" y="300"/>
                      <a:pt x="395" y="290"/>
                      <a:pt x="391" y="290"/>
                    </a:cubicBezTo>
                    <a:cubicBezTo>
                      <a:pt x="390" y="290"/>
                      <a:pt x="389" y="290"/>
                      <a:pt x="388" y="289"/>
                    </a:cubicBezTo>
                    <a:cubicBezTo>
                      <a:pt x="382" y="283"/>
                      <a:pt x="372" y="279"/>
                      <a:pt x="372" y="283"/>
                    </a:cubicBezTo>
                    <a:cubicBezTo>
                      <a:pt x="372" y="284"/>
                      <a:pt x="371" y="285"/>
                      <a:pt x="369" y="286"/>
                    </a:cubicBezTo>
                    <a:cubicBezTo>
                      <a:pt x="365" y="288"/>
                      <a:pt x="365" y="288"/>
                      <a:pt x="365" y="288"/>
                    </a:cubicBezTo>
                    <a:cubicBezTo>
                      <a:pt x="369" y="292"/>
                      <a:pt x="369" y="292"/>
                      <a:pt x="369" y="292"/>
                    </a:cubicBezTo>
                    <a:cubicBezTo>
                      <a:pt x="373" y="296"/>
                      <a:pt x="373" y="303"/>
                      <a:pt x="369" y="305"/>
                    </a:cubicBezTo>
                    <a:cubicBezTo>
                      <a:pt x="366" y="306"/>
                      <a:pt x="366" y="307"/>
                      <a:pt x="367" y="309"/>
                    </a:cubicBezTo>
                    <a:cubicBezTo>
                      <a:pt x="367" y="311"/>
                      <a:pt x="368" y="312"/>
                      <a:pt x="368" y="311"/>
                    </a:cubicBezTo>
                    <a:cubicBezTo>
                      <a:pt x="368" y="309"/>
                      <a:pt x="378" y="314"/>
                      <a:pt x="380" y="317"/>
                    </a:cubicBezTo>
                    <a:cubicBezTo>
                      <a:pt x="381" y="318"/>
                      <a:pt x="385" y="322"/>
                      <a:pt x="388" y="326"/>
                    </a:cubicBezTo>
                    <a:cubicBezTo>
                      <a:pt x="393" y="332"/>
                      <a:pt x="395" y="333"/>
                      <a:pt x="410" y="337"/>
                    </a:cubicBezTo>
                    <a:cubicBezTo>
                      <a:pt x="414" y="338"/>
                      <a:pt x="416" y="339"/>
                      <a:pt x="417" y="342"/>
                    </a:cubicBezTo>
                    <a:cubicBezTo>
                      <a:pt x="417" y="344"/>
                      <a:pt x="419" y="346"/>
                      <a:pt x="420" y="347"/>
                    </a:cubicBezTo>
                    <a:cubicBezTo>
                      <a:pt x="422" y="348"/>
                      <a:pt x="425" y="351"/>
                      <a:pt x="427" y="354"/>
                    </a:cubicBezTo>
                    <a:cubicBezTo>
                      <a:pt x="429" y="357"/>
                      <a:pt x="435" y="364"/>
                      <a:pt x="440" y="370"/>
                    </a:cubicBezTo>
                    <a:cubicBezTo>
                      <a:pt x="450" y="380"/>
                      <a:pt x="450" y="380"/>
                      <a:pt x="450" y="380"/>
                    </a:cubicBezTo>
                    <a:cubicBezTo>
                      <a:pt x="450" y="400"/>
                      <a:pt x="450" y="400"/>
                      <a:pt x="450" y="400"/>
                    </a:cubicBezTo>
                    <a:cubicBezTo>
                      <a:pt x="450" y="410"/>
                      <a:pt x="449" y="420"/>
                      <a:pt x="449" y="420"/>
                    </a:cubicBezTo>
                    <a:cubicBezTo>
                      <a:pt x="447" y="421"/>
                      <a:pt x="421" y="413"/>
                      <a:pt x="408" y="407"/>
                    </a:cubicBezTo>
                    <a:cubicBezTo>
                      <a:pt x="401" y="404"/>
                      <a:pt x="394" y="400"/>
                      <a:pt x="391" y="398"/>
                    </a:cubicBezTo>
                    <a:cubicBezTo>
                      <a:pt x="387" y="394"/>
                      <a:pt x="383" y="394"/>
                      <a:pt x="375" y="395"/>
                    </a:cubicBezTo>
                    <a:cubicBezTo>
                      <a:pt x="372" y="395"/>
                      <a:pt x="374" y="398"/>
                      <a:pt x="378" y="399"/>
                    </a:cubicBezTo>
                    <a:cubicBezTo>
                      <a:pt x="380" y="400"/>
                      <a:pt x="383" y="403"/>
                      <a:pt x="384" y="406"/>
                    </a:cubicBezTo>
                    <a:cubicBezTo>
                      <a:pt x="386" y="410"/>
                      <a:pt x="389" y="411"/>
                      <a:pt x="398" y="414"/>
                    </a:cubicBezTo>
                    <a:cubicBezTo>
                      <a:pt x="404" y="417"/>
                      <a:pt x="415" y="423"/>
                      <a:pt x="424" y="428"/>
                    </a:cubicBezTo>
                    <a:cubicBezTo>
                      <a:pt x="439" y="438"/>
                      <a:pt x="439" y="438"/>
                      <a:pt x="439" y="438"/>
                    </a:cubicBezTo>
                    <a:cubicBezTo>
                      <a:pt x="438" y="447"/>
                      <a:pt x="438" y="447"/>
                      <a:pt x="438" y="447"/>
                    </a:cubicBezTo>
                    <a:cubicBezTo>
                      <a:pt x="438" y="455"/>
                      <a:pt x="438" y="455"/>
                      <a:pt x="438" y="455"/>
                    </a:cubicBezTo>
                    <a:cubicBezTo>
                      <a:pt x="430" y="455"/>
                      <a:pt x="430" y="455"/>
                      <a:pt x="430" y="455"/>
                    </a:cubicBezTo>
                    <a:cubicBezTo>
                      <a:pt x="426" y="456"/>
                      <a:pt x="422" y="455"/>
                      <a:pt x="421" y="45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2" name="Freeform 22">
                <a:extLst>
                  <a:ext uri="{FF2B5EF4-FFF2-40B4-BE49-F238E27FC236}">
                    <a16:creationId xmlns:a16="http://schemas.microsoft.com/office/drawing/2014/main" id="{463F5543-ADCE-4BCE-B49F-C696EE64FC4F}"/>
                  </a:ext>
                </a:extLst>
              </p:cNvPr>
              <p:cNvSpPr>
                <a:spLocks/>
              </p:cNvSpPr>
              <p:nvPr/>
            </p:nvSpPr>
            <p:spPr bwMode="auto">
              <a:xfrm>
                <a:off x="5660136" y="2574332"/>
                <a:ext cx="82801" cy="77023"/>
              </a:xfrm>
              <a:custGeom>
                <a:avLst/>
                <a:gdLst>
                  <a:gd name="T0" fmla="*/ 7 w 18"/>
                  <a:gd name="T1" fmla="*/ 13 h 17"/>
                  <a:gd name="T2" fmla="*/ 3 w 18"/>
                  <a:gd name="T3" fmla="*/ 3 h 17"/>
                  <a:gd name="T4" fmla="*/ 13 w 18"/>
                  <a:gd name="T5" fmla="*/ 3 h 17"/>
                  <a:gd name="T6" fmla="*/ 15 w 18"/>
                  <a:gd name="T7" fmla="*/ 14 h 17"/>
                  <a:gd name="T8" fmla="*/ 7 w 18"/>
                  <a:gd name="T9" fmla="*/ 13 h 17"/>
                </a:gdLst>
                <a:ahLst/>
                <a:cxnLst>
                  <a:cxn ang="0">
                    <a:pos x="T0" y="T1"/>
                  </a:cxn>
                  <a:cxn ang="0">
                    <a:pos x="T2" y="T3"/>
                  </a:cxn>
                  <a:cxn ang="0">
                    <a:pos x="T4" y="T5"/>
                  </a:cxn>
                  <a:cxn ang="0">
                    <a:pos x="T6" y="T7"/>
                  </a:cxn>
                  <a:cxn ang="0">
                    <a:pos x="T8" y="T9"/>
                  </a:cxn>
                </a:cxnLst>
                <a:rect l="0" t="0" r="r" b="b"/>
                <a:pathLst>
                  <a:path w="18" h="17">
                    <a:moveTo>
                      <a:pt x="7" y="13"/>
                    </a:moveTo>
                    <a:cubicBezTo>
                      <a:pt x="2" y="9"/>
                      <a:pt x="0" y="6"/>
                      <a:pt x="3" y="3"/>
                    </a:cubicBezTo>
                    <a:cubicBezTo>
                      <a:pt x="5" y="0"/>
                      <a:pt x="8" y="0"/>
                      <a:pt x="13" y="3"/>
                    </a:cubicBezTo>
                    <a:cubicBezTo>
                      <a:pt x="17" y="7"/>
                      <a:pt x="18" y="11"/>
                      <a:pt x="15" y="14"/>
                    </a:cubicBezTo>
                    <a:cubicBezTo>
                      <a:pt x="13" y="17"/>
                      <a:pt x="13" y="17"/>
                      <a:pt x="7" y="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3" name="Freeform 23">
                <a:extLst>
                  <a:ext uri="{FF2B5EF4-FFF2-40B4-BE49-F238E27FC236}">
                    <a16:creationId xmlns:a16="http://schemas.microsoft.com/office/drawing/2014/main" id="{9E7F15F5-F05F-43D2-825C-A60923C8CB8A}"/>
                  </a:ext>
                </a:extLst>
              </p:cNvPr>
              <p:cNvSpPr>
                <a:spLocks/>
              </p:cNvSpPr>
              <p:nvPr/>
            </p:nvSpPr>
            <p:spPr bwMode="auto">
              <a:xfrm>
                <a:off x="5750638" y="2518491"/>
                <a:ext cx="69321" cy="46214"/>
              </a:xfrm>
              <a:custGeom>
                <a:avLst/>
                <a:gdLst>
                  <a:gd name="T0" fmla="*/ 3 w 15"/>
                  <a:gd name="T1" fmla="*/ 9 h 10"/>
                  <a:gd name="T2" fmla="*/ 0 w 15"/>
                  <a:gd name="T3" fmla="*/ 4 h 10"/>
                  <a:gd name="T4" fmla="*/ 4 w 15"/>
                  <a:gd name="T5" fmla="*/ 0 h 10"/>
                  <a:gd name="T6" fmla="*/ 13 w 15"/>
                  <a:gd name="T7" fmla="*/ 7 h 10"/>
                  <a:gd name="T8" fmla="*/ 3 w 15"/>
                  <a:gd name="T9" fmla="*/ 9 h 10"/>
                </a:gdLst>
                <a:ahLst/>
                <a:cxnLst>
                  <a:cxn ang="0">
                    <a:pos x="T0" y="T1"/>
                  </a:cxn>
                  <a:cxn ang="0">
                    <a:pos x="T2" y="T3"/>
                  </a:cxn>
                  <a:cxn ang="0">
                    <a:pos x="T4" y="T5"/>
                  </a:cxn>
                  <a:cxn ang="0">
                    <a:pos x="T6" y="T7"/>
                  </a:cxn>
                  <a:cxn ang="0">
                    <a:pos x="T8" y="T9"/>
                  </a:cxn>
                </a:cxnLst>
                <a:rect l="0" t="0" r="r" b="b"/>
                <a:pathLst>
                  <a:path w="15" h="10">
                    <a:moveTo>
                      <a:pt x="3" y="9"/>
                    </a:moveTo>
                    <a:cubicBezTo>
                      <a:pt x="0" y="8"/>
                      <a:pt x="0" y="7"/>
                      <a:pt x="0" y="4"/>
                    </a:cubicBezTo>
                    <a:cubicBezTo>
                      <a:pt x="0" y="1"/>
                      <a:pt x="1" y="0"/>
                      <a:pt x="4" y="0"/>
                    </a:cubicBezTo>
                    <a:cubicBezTo>
                      <a:pt x="9" y="0"/>
                      <a:pt x="15" y="4"/>
                      <a:pt x="13" y="7"/>
                    </a:cubicBezTo>
                    <a:cubicBezTo>
                      <a:pt x="12" y="10"/>
                      <a:pt x="10" y="10"/>
                      <a:pt x="3"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4" name="Freeform 24">
                <a:extLst>
                  <a:ext uri="{FF2B5EF4-FFF2-40B4-BE49-F238E27FC236}">
                    <a16:creationId xmlns:a16="http://schemas.microsoft.com/office/drawing/2014/main" id="{95DFDE94-E663-4248-9ED0-05F0CDFC0902}"/>
                  </a:ext>
                </a:extLst>
              </p:cNvPr>
              <p:cNvSpPr>
                <a:spLocks/>
              </p:cNvSpPr>
              <p:nvPr/>
            </p:nvSpPr>
            <p:spPr bwMode="auto">
              <a:xfrm>
                <a:off x="5613922" y="1617319"/>
                <a:ext cx="169451" cy="246474"/>
              </a:xfrm>
              <a:custGeom>
                <a:avLst/>
                <a:gdLst>
                  <a:gd name="T0" fmla="*/ 10 w 37"/>
                  <a:gd name="T1" fmla="*/ 49 h 54"/>
                  <a:gd name="T2" fmla="*/ 15 w 37"/>
                  <a:gd name="T3" fmla="*/ 3 h 54"/>
                  <a:gd name="T4" fmla="*/ 33 w 37"/>
                  <a:gd name="T5" fmla="*/ 7 h 54"/>
                  <a:gd name="T6" fmla="*/ 37 w 37"/>
                  <a:gd name="T7" fmla="*/ 27 h 54"/>
                  <a:gd name="T8" fmla="*/ 25 w 37"/>
                  <a:gd name="T9" fmla="*/ 51 h 54"/>
                  <a:gd name="T10" fmla="*/ 10 w 37"/>
                  <a:gd name="T11" fmla="*/ 49 h 54"/>
                </a:gdLst>
                <a:ahLst/>
                <a:cxnLst>
                  <a:cxn ang="0">
                    <a:pos x="T0" y="T1"/>
                  </a:cxn>
                  <a:cxn ang="0">
                    <a:pos x="T2" y="T3"/>
                  </a:cxn>
                  <a:cxn ang="0">
                    <a:pos x="T4" y="T5"/>
                  </a:cxn>
                  <a:cxn ang="0">
                    <a:pos x="T6" y="T7"/>
                  </a:cxn>
                  <a:cxn ang="0">
                    <a:pos x="T8" y="T9"/>
                  </a:cxn>
                  <a:cxn ang="0">
                    <a:pos x="T10" y="T11"/>
                  </a:cxn>
                </a:cxnLst>
                <a:rect l="0" t="0" r="r" b="b"/>
                <a:pathLst>
                  <a:path w="37" h="54">
                    <a:moveTo>
                      <a:pt x="10" y="49"/>
                    </a:moveTo>
                    <a:cubicBezTo>
                      <a:pt x="0" y="40"/>
                      <a:pt x="4" y="10"/>
                      <a:pt x="15" y="3"/>
                    </a:cubicBezTo>
                    <a:cubicBezTo>
                      <a:pt x="20" y="0"/>
                      <a:pt x="28" y="2"/>
                      <a:pt x="33" y="7"/>
                    </a:cubicBezTo>
                    <a:cubicBezTo>
                      <a:pt x="37" y="11"/>
                      <a:pt x="37" y="12"/>
                      <a:pt x="37" y="27"/>
                    </a:cubicBezTo>
                    <a:cubicBezTo>
                      <a:pt x="37" y="45"/>
                      <a:pt x="36" y="46"/>
                      <a:pt x="25" y="51"/>
                    </a:cubicBezTo>
                    <a:cubicBezTo>
                      <a:pt x="18" y="54"/>
                      <a:pt x="15" y="54"/>
                      <a:pt x="10" y="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5" name="Freeform 25">
                <a:extLst>
                  <a:ext uri="{FF2B5EF4-FFF2-40B4-BE49-F238E27FC236}">
                    <a16:creationId xmlns:a16="http://schemas.microsoft.com/office/drawing/2014/main" id="{156BF465-6798-4B26-9502-DA78A3DA21F1}"/>
                  </a:ext>
                </a:extLst>
              </p:cNvPr>
              <p:cNvSpPr>
                <a:spLocks/>
              </p:cNvSpPr>
              <p:nvPr/>
            </p:nvSpPr>
            <p:spPr bwMode="auto">
              <a:xfrm>
                <a:off x="5800703" y="1667384"/>
                <a:ext cx="92428" cy="59694"/>
              </a:xfrm>
              <a:custGeom>
                <a:avLst/>
                <a:gdLst>
                  <a:gd name="T0" fmla="*/ 8 w 20"/>
                  <a:gd name="T1" fmla="*/ 12 h 13"/>
                  <a:gd name="T2" fmla="*/ 2 w 20"/>
                  <a:gd name="T3" fmla="*/ 3 h 13"/>
                  <a:gd name="T4" fmla="*/ 17 w 20"/>
                  <a:gd name="T5" fmla="*/ 4 h 13"/>
                  <a:gd name="T6" fmla="*/ 15 w 20"/>
                  <a:gd name="T7" fmla="*/ 12 h 13"/>
                  <a:gd name="T8" fmla="*/ 8 w 20"/>
                  <a:gd name="T9" fmla="*/ 12 h 13"/>
                </a:gdLst>
                <a:ahLst/>
                <a:cxnLst>
                  <a:cxn ang="0">
                    <a:pos x="T0" y="T1"/>
                  </a:cxn>
                  <a:cxn ang="0">
                    <a:pos x="T2" y="T3"/>
                  </a:cxn>
                  <a:cxn ang="0">
                    <a:pos x="T4" y="T5"/>
                  </a:cxn>
                  <a:cxn ang="0">
                    <a:pos x="T6" y="T7"/>
                  </a:cxn>
                  <a:cxn ang="0">
                    <a:pos x="T8" y="T9"/>
                  </a:cxn>
                </a:cxnLst>
                <a:rect l="0" t="0" r="r" b="b"/>
                <a:pathLst>
                  <a:path w="20" h="13">
                    <a:moveTo>
                      <a:pt x="8" y="12"/>
                    </a:moveTo>
                    <a:cubicBezTo>
                      <a:pt x="4" y="10"/>
                      <a:pt x="0" y="5"/>
                      <a:pt x="2" y="3"/>
                    </a:cubicBezTo>
                    <a:cubicBezTo>
                      <a:pt x="3" y="0"/>
                      <a:pt x="15" y="1"/>
                      <a:pt x="17" y="4"/>
                    </a:cubicBezTo>
                    <a:cubicBezTo>
                      <a:pt x="20" y="7"/>
                      <a:pt x="19" y="10"/>
                      <a:pt x="15" y="12"/>
                    </a:cubicBezTo>
                    <a:cubicBezTo>
                      <a:pt x="12" y="13"/>
                      <a:pt x="10" y="13"/>
                      <a:pt x="8"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6" name="Freeform 26">
                <a:extLst>
                  <a:ext uri="{FF2B5EF4-FFF2-40B4-BE49-F238E27FC236}">
                    <a16:creationId xmlns:a16="http://schemas.microsoft.com/office/drawing/2014/main" id="{186A301F-1EF5-4CA0-A782-9E0011F9BBD1}"/>
                  </a:ext>
                </a:extLst>
              </p:cNvPr>
              <p:cNvSpPr>
                <a:spLocks/>
              </p:cNvSpPr>
              <p:nvPr/>
            </p:nvSpPr>
            <p:spPr bwMode="auto">
              <a:xfrm>
                <a:off x="5446396" y="1407430"/>
                <a:ext cx="77023" cy="163675"/>
              </a:xfrm>
              <a:custGeom>
                <a:avLst/>
                <a:gdLst>
                  <a:gd name="T0" fmla="*/ 1 w 17"/>
                  <a:gd name="T1" fmla="*/ 32 h 36"/>
                  <a:gd name="T2" fmla="*/ 4 w 17"/>
                  <a:gd name="T3" fmla="*/ 25 h 36"/>
                  <a:gd name="T4" fmla="*/ 8 w 17"/>
                  <a:gd name="T5" fmla="*/ 14 h 36"/>
                  <a:gd name="T6" fmla="*/ 14 w 17"/>
                  <a:gd name="T7" fmla="*/ 0 h 36"/>
                  <a:gd name="T8" fmla="*/ 16 w 17"/>
                  <a:gd name="T9" fmla="*/ 8 h 36"/>
                  <a:gd name="T10" fmla="*/ 14 w 17"/>
                  <a:gd name="T11" fmla="*/ 16 h 36"/>
                  <a:gd name="T12" fmla="*/ 1 w 17"/>
                  <a:gd name="T13" fmla="*/ 32 h 36"/>
                </a:gdLst>
                <a:ahLst/>
                <a:cxnLst>
                  <a:cxn ang="0">
                    <a:pos x="T0" y="T1"/>
                  </a:cxn>
                  <a:cxn ang="0">
                    <a:pos x="T2" y="T3"/>
                  </a:cxn>
                  <a:cxn ang="0">
                    <a:pos x="T4" y="T5"/>
                  </a:cxn>
                  <a:cxn ang="0">
                    <a:pos x="T6" y="T7"/>
                  </a:cxn>
                  <a:cxn ang="0">
                    <a:pos x="T8" y="T9"/>
                  </a:cxn>
                  <a:cxn ang="0">
                    <a:pos x="T10" y="T11"/>
                  </a:cxn>
                  <a:cxn ang="0">
                    <a:pos x="T12" y="T13"/>
                  </a:cxn>
                </a:cxnLst>
                <a:rect l="0" t="0" r="r" b="b"/>
                <a:pathLst>
                  <a:path w="17" h="36">
                    <a:moveTo>
                      <a:pt x="1" y="32"/>
                    </a:moveTo>
                    <a:cubicBezTo>
                      <a:pt x="0" y="30"/>
                      <a:pt x="0" y="30"/>
                      <a:pt x="4" y="25"/>
                    </a:cubicBezTo>
                    <a:cubicBezTo>
                      <a:pt x="6" y="23"/>
                      <a:pt x="7" y="19"/>
                      <a:pt x="8" y="14"/>
                    </a:cubicBezTo>
                    <a:cubicBezTo>
                      <a:pt x="9" y="7"/>
                      <a:pt x="12" y="0"/>
                      <a:pt x="14" y="0"/>
                    </a:cubicBezTo>
                    <a:cubicBezTo>
                      <a:pt x="17" y="0"/>
                      <a:pt x="17" y="5"/>
                      <a:pt x="16" y="8"/>
                    </a:cubicBezTo>
                    <a:cubicBezTo>
                      <a:pt x="15" y="10"/>
                      <a:pt x="14" y="13"/>
                      <a:pt x="14" y="16"/>
                    </a:cubicBezTo>
                    <a:cubicBezTo>
                      <a:pt x="15" y="23"/>
                      <a:pt x="5" y="36"/>
                      <a:pt x="1" y="3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7" name="Freeform 27">
                <a:extLst>
                  <a:ext uri="{FF2B5EF4-FFF2-40B4-BE49-F238E27FC236}">
                    <a16:creationId xmlns:a16="http://schemas.microsoft.com/office/drawing/2014/main" id="{BF00ED9A-31BE-4174-8C99-F695BFA66456}"/>
                  </a:ext>
                </a:extLst>
              </p:cNvPr>
              <p:cNvSpPr>
                <a:spLocks/>
              </p:cNvSpPr>
              <p:nvPr/>
            </p:nvSpPr>
            <p:spPr bwMode="auto">
              <a:xfrm>
                <a:off x="3965624" y="564025"/>
                <a:ext cx="363935" cy="552642"/>
              </a:xfrm>
              <a:custGeom>
                <a:avLst/>
                <a:gdLst>
                  <a:gd name="T0" fmla="*/ 37 w 80"/>
                  <a:gd name="T1" fmla="*/ 116 h 121"/>
                  <a:gd name="T2" fmla="*/ 30 w 80"/>
                  <a:gd name="T3" fmla="*/ 108 h 121"/>
                  <a:gd name="T4" fmla="*/ 14 w 80"/>
                  <a:gd name="T5" fmla="*/ 80 h 121"/>
                  <a:gd name="T6" fmla="*/ 5 w 80"/>
                  <a:gd name="T7" fmla="*/ 69 h 121"/>
                  <a:gd name="T8" fmla="*/ 2 w 80"/>
                  <a:gd name="T9" fmla="*/ 54 h 121"/>
                  <a:gd name="T10" fmla="*/ 8 w 80"/>
                  <a:gd name="T11" fmla="*/ 45 h 121"/>
                  <a:gd name="T12" fmla="*/ 19 w 80"/>
                  <a:gd name="T13" fmla="*/ 48 h 121"/>
                  <a:gd name="T14" fmla="*/ 29 w 80"/>
                  <a:gd name="T15" fmla="*/ 51 h 121"/>
                  <a:gd name="T16" fmla="*/ 32 w 80"/>
                  <a:gd name="T17" fmla="*/ 43 h 121"/>
                  <a:gd name="T18" fmla="*/ 31 w 80"/>
                  <a:gd name="T19" fmla="*/ 35 h 121"/>
                  <a:gd name="T20" fmla="*/ 24 w 80"/>
                  <a:gd name="T21" fmla="*/ 16 h 121"/>
                  <a:gd name="T22" fmla="*/ 33 w 80"/>
                  <a:gd name="T23" fmla="*/ 1 h 121"/>
                  <a:gd name="T24" fmla="*/ 43 w 80"/>
                  <a:gd name="T25" fmla="*/ 6 h 121"/>
                  <a:gd name="T26" fmla="*/ 52 w 80"/>
                  <a:gd name="T27" fmla="*/ 8 h 121"/>
                  <a:gd name="T28" fmla="*/ 74 w 80"/>
                  <a:gd name="T29" fmla="*/ 3 h 121"/>
                  <a:gd name="T30" fmla="*/ 76 w 80"/>
                  <a:gd name="T31" fmla="*/ 12 h 121"/>
                  <a:gd name="T32" fmla="*/ 74 w 80"/>
                  <a:gd name="T33" fmla="*/ 20 h 121"/>
                  <a:gd name="T34" fmla="*/ 74 w 80"/>
                  <a:gd name="T35" fmla="*/ 23 h 121"/>
                  <a:gd name="T36" fmla="*/ 70 w 80"/>
                  <a:gd name="T37" fmla="*/ 35 h 121"/>
                  <a:gd name="T38" fmla="*/ 63 w 80"/>
                  <a:gd name="T39" fmla="*/ 44 h 121"/>
                  <a:gd name="T40" fmla="*/ 68 w 80"/>
                  <a:gd name="T41" fmla="*/ 47 h 121"/>
                  <a:gd name="T42" fmla="*/ 72 w 80"/>
                  <a:gd name="T43" fmla="*/ 52 h 121"/>
                  <a:gd name="T44" fmla="*/ 74 w 80"/>
                  <a:gd name="T45" fmla="*/ 59 h 121"/>
                  <a:gd name="T46" fmla="*/ 80 w 80"/>
                  <a:gd name="T47" fmla="*/ 80 h 121"/>
                  <a:gd name="T48" fmla="*/ 77 w 80"/>
                  <a:gd name="T49" fmla="*/ 96 h 121"/>
                  <a:gd name="T50" fmla="*/ 61 w 80"/>
                  <a:gd name="T51" fmla="*/ 108 h 121"/>
                  <a:gd name="T52" fmla="*/ 60 w 80"/>
                  <a:gd name="T53" fmla="*/ 109 h 121"/>
                  <a:gd name="T54" fmla="*/ 49 w 80"/>
                  <a:gd name="T55" fmla="*/ 120 h 121"/>
                  <a:gd name="T56" fmla="*/ 37 w 80"/>
                  <a:gd name="T57" fmla="*/ 1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21">
                    <a:moveTo>
                      <a:pt x="37" y="116"/>
                    </a:moveTo>
                    <a:cubicBezTo>
                      <a:pt x="33" y="113"/>
                      <a:pt x="30" y="109"/>
                      <a:pt x="30" y="108"/>
                    </a:cubicBezTo>
                    <a:cubicBezTo>
                      <a:pt x="29" y="93"/>
                      <a:pt x="26" y="89"/>
                      <a:pt x="14" y="80"/>
                    </a:cubicBezTo>
                    <a:cubicBezTo>
                      <a:pt x="11" y="78"/>
                      <a:pt x="7" y="73"/>
                      <a:pt x="5" y="69"/>
                    </a:cubicBezTo>
                    <a:cubicBezTo>
                      <a:pt x="0" y="60"/>
                      <a:pt x="0" y="60"/>
                      <a:pt x="2" y="54"/>
                    </a:cubicBezTo>
                    <a:cubicBezTo>
                      <a:pt x="3" y="50"/>
                      <a:pt x="6" y="46"/>
                      <a:pt x="8" y="45"/>
                    </a:cubicBezTo>
                    <a:cubicBezTo>
                      <a:pt x="11" y="42"/>
                      <a:pt x="11" y="42"/>
                      <a:pt x="19" y="48"/>
                    </a:cubicBezTo>
                    <a:cubicBezTo>
                      <a:pt x="26" y="53"/>
                      <a:pt x="26" y="53"/>
                      <a:pt x="29" y="51"/>
                    </a:cubicBezTo>
                    <a:cubicBezTo>
                      <a:pt x="30" y="50"/>
                      <a:pt x="32" y="46"/>
                      <a:pt x="32" y="43"/>
                    </a:cubicBezTo>
                    <a:cubicBezTo>
                      <a:pt x="34" y="39"/>
                      <a:pt x="33" y="37"/>
                      <a:pt x="31" y="35"/>
                    </a:cubicBezTo>
                    <a:cubicBezTo>
                      <a:pt x="24" y="27"/>
                      <a:pt x="23" y="23"/>
                      <a:pt x="24" y="16"/>
                    </a:cubicBezTo>
                    <a:cubicBezTo>
                      <a:pt x="26" y="8"/>
                      <a:pt x="30" y="1"/>
                      <a:pt x="33" y="1"/>
                    </a:cubicBezTo>
                    <a:cubicBezTo>
                      <a:pt x="34" y="1"/>
                      <a:pt x="39" y="3"/>
                      <a:pt x="43" y="6"/>
                    </a:cubicBezTo>
                    <a:cubicBezTo>
                      <a:pt x="49" y="9"/>
                      <a:pt x="50" y="10"/>
                      <a:pt x="52" y="8"/>
                    </a:cubicBezTo>
                    <a:cubicBezTo>
                      <a:pt x="55" y="4"/>
                      <a:pt x="71" y="0"/>
                      <a:pt x="74" y="3"/>
                    </a:cubicBezTo>
                    <a:cubicBezTo>
                      <a:pt x="75" y="4"/>
                      <a:pt x="76" y="8"/>
                      <a:pt x="76" y="12"/>
                    </a:cubicBezTo>
                    <a:cubicBezTo>
                      <a:pt x="76" y="18"/>
                      <a:pt x="76" y="20"/>
                      <a:pt x="74" y="20"/>
                    </a:cubicBezTo>
                    <a:cubicBezTo>
                      <a:pt x="71" y="21"/>
                      <a:pt x="71" y="21"/>
                      <a:pt x="74" y="23"/>
                    </a:cubicBezTo>
                    <a:cubicBezTo>
                      <a:pt x="77" y="26"/>
                      <a:pt x="77" y="27"/>
                      <a:pt x="70" y="35"/>
                    </a:cubicBezTo>
                    <a:cubicBezTo>
                      <a:pt x="66" y="39"/>
                      <a:pt x="63" y="43"/>
                      <a:pt x="63" y="44"/>
                    </a:cubicBezTo>
                    <a:cubicBezTo>
                      <a:pt x="63" y="45"/>
                      <a:pt x="65" y="46"/>
                      <a:pt x="68" y="47"/>
                    </a:cubicBezTo>
                    <a:cubicBezTo>
                      <a:pt x="71" y="48"/>
                      <a:pt x="72" y="49"/>
                      <a:pt x="72" y="52"/>
                    </a:cubicBezTo>
                    <a:cubicBezTo>
                      <a:pt x="72" y="54"/>
                      <a:pt x="73" y="57"/>
                      <a:pt x="74" y="59"/>
                    </a:cubicBezTo>
                    <a:cubicBezTo>
                      <a:pt x="78" y="67"/>
                      <a:pt x="79" y="70"/>
                      <a:pt x="80" y="80"/>
                    </a:cubicBezTo>
                    <a:cubicBezTo>
                      <a:pt x="80" y="89"/>
                      <a:pt x="80" y="91"/>
                      <a:pt x="77" y="96"/>
                    </a:cubicBezTo>
                    <a:cubicBezTo>
                      <a:pt x="73" y="102"/>
                      <a:pt x="65" y="108"/>
                      <a:pt x="61" y="108"/>
                    </a:cubicBezTo>
                    <a:cubicBezTo>
                      <a:pt x="60" y="108"/>
                      <a:pt x="59" y="108"/>
                      <a:pt x="60" y="109"/>
                    </a:cubicBezTo>
                    <a:cubicBezTo>
                      <a:pt x="61" y="111"/>
                      <a:pt x="54" y="118"/>
                      <a:pt x="49" y="120"/>
                    </a:cubicBezTo>
                    <a:cubicBezTo>
                      <a:pt x="44" y="121"/>
                      <a:pt x="43" y="121"/>
                      <a:pt x="37" y="1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8" name="Freeform 28">
                <a:extLst>
                  <a:ext uri="{FF2B5EF4-FFF2-40B4-BE49-F238E27FC236}">
                    <a16:creationId xmlns:a16="http://schemas.microsoft.com/office/drawing/2014/main" id="{48F13820-63ED-4FC8-8E86-2990C5E4E2B2}"/>
                  </a:ext>
                </a:extLst>
              </p:cNvPr>
              <p:cNvSpPr>
                <a:spLocks/>
              </p:cNvSpPr>
              <p:nvPr/>
            </p:nvSpPr>
            <p:spPr bwMode="auto">
              <a:xfrm>
                <a:off x="4362294" y="533216"/>
                <a:ext cx="340829" cy="450586"/>
              </a:xfrm>
              <a:custGeom>
                <a:avLst/>
                <a:gdLst>
                  <a:gd name="T0" fmla="*/ 8 w 75"/>
                  <a:gd name="T1" fmla="*/ 96 h 99"/>
                  <a:gd name="T2" fmla="*/ 5 w 75"/>
                  <a:gd name="T3" fmla="*/ 87 h 99"/>
                  <a:gd name="T4" fmla="*/ 3 w 75"/>
                  <a:gd name="T5" fmla="*/ 77 h 99"/>
                  <a:gd name="T6" fmla="*/ 7 w 75"/>
                  <a:gd name="T7" fmla="*/ 25 h 99"/>
                  <a:gd name="T8" fmla="*/ 11 w 75"/>
                  <a:gd name="T9" fmla="*/ 12 h 99"/>
                  <a:gd name="T10" fmla="*/ 32 w 75"/>
                  <a:gd name="T11" fmla="*/ 0 h 99"/>
                  <a:gd name="T12" fmla="*/ 44 w 75"/>
                  <a:gd name="T13" fmla="*/ 3 h 99"/>
                  <a:gd name="T14" fmla="*/ 53 w 75"/>
                  <a:gd name="T15" fmla="*/ 6 h 99"/>
                  <a:gd name="T16" fmla="*/ 71 w 75"/>
                  <a:gd name="T17" fmla="*/ 13 h 99"/>
                  <a:gd name="T18" fmla="*/ 73 w 75"/>
                  <a:gd name="T19" fmla="*/ 22 h 99"/>
                  <a:gd name="T20" fmla="*/ 69 w 75"/>
                  <a:gd name="T21" fmla="*/ 28 h 99"/>
                  <a:gd name="T22" fmla="*/ 66 w 75"/>
                  <a:gd name="T23" fmla="*/ 35 h 99"/>
                  <a:gd name="T24" fmla="*/ 61 w 75"/>
                  <a:gd name="T25" fmla="*/ 46 h 99"/>
                  <a:gd name="T26" fmla="*/ 54 w 75"/>
                  <a:gd name="T27" fmla="*/ 61 h 99"/>
                  <a:gd name="T28" fmla="*/ 51 w 75"/>
                  <a:gd name="T29" fmla="*/ 70 h 99"/>
                  <a:gd name="T30" fmla="*/ 40 w 75"/>
                  <a:gd name="T31" fmla="*/ 71 h 99"/>
                  <a:gd name="T32" fmla="*/ 30 w 75"/>
                  <a:gd name="T33" fmla="*/ 73 h 99"/>
                  <a:gd name="T34" fmla="*/ 27 w 75"/>
                  <a:gd name="T35" fmla="*/ 93 h 99"/>
                  <a:gd name="T36" fmla="*/ 16 w 75"/>
                  <a:gd name="T37" fmla="*/ 99 h 99"/>
                  <a:gd name="T38" fmla="*/ 8 w 75"/>
                  <a:gd name="T39" fmla="*/ 9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99">
                    <a:moveTo>
                      <a:pt x="8" y="96"/>
                    </a:moveTo>
                    <a:cubicBezTo>
                      <a:pt x="5" y="94"/>
                      <a:pt x="5" y="92"/>
                      <a:pt x="5" y="87"/>
                    </a:cubicBezTo>
                    <a:cubicBezTo>
                      <a:pt x="5" y="84"/>
                      <a:pt x="4" y="79"/>
                      <a:pt x="3" y="77"/>
                    </a:cubicBezTo>
                    <a:cubicBezTo>
                      <a:pt x="0" y="68"/>
                      <a:pt x="2" y="36"/>
                      <a:pt x="7" y="25"/>
                    </a:cubicBezTo>
                    <a:cubicBezTo>
                      <a:pt x="9" y="21"/>
                      <a:pt x="11" y="15"/>
                      <a:pt x="11" y="12"/>
                    </a:cubicBezTo>
                    <a:cubicBezTo>
                      <a:pt x="12" y="5"/>
                      <a:pt x="17" y="2"/>
                      <a:pt x="32" y="0"/>
                    </a:cubicBezTo>
                    <a:cubicBezTo>
                      <a:pt x="37" y="0"/>
                      <a:pt x="40" y="0"/>
                      <a:pt x="44" y="3"/>
                    </a:cubicBezTo>
                    <a:cubicBezTo>
                      <a:pt x="47" y="4"/>
                      <a:pt x="51" y="6"/>
                      <a:pt x="53" y="6"/>
                    </a:cubicBezTo>
                    <a:cubicBezTo>
                      <a:pt x="57" y="6"/>
                      <a:pt x="65" y="9"/>
                      <a:pt x="71" y="13"/>
                    </a:cubicBezTo>
                    <a:cubicBezTo>
                      <a:pt x="75" y="17"/>
                      <a:pt x="75" y="17"/>
                      <a:pt x="73" y="22"/>
                    </a:cubicBezTo>
                    <a:cubicBezTo>
                      <a:pt x="72" y="24"/>
                      <a:pt x="70" y="27"/>
                      <a:pt x="69" y="28"/>
                    </a:cubicBezTo>
                    <a:cubicBezTo>
                      <a:pt x="68" y="30"/>
                      <a:pt x="66" y="32"/>
                      <a:pt x="66" y="35"/>
                    </a:cubicBezTo>
                    <a:cubicBezTo>
                      <a:pt x="66" y="37"/>
                      <a:pt x="63" y="42"/>
                      <a:pt x="61" y="46"/>
                    </a:cubicBezTo>
                    <a:cubicBezTo>
                      <a:pt x="58" y="50"/>
                      <a:pt x="55" y="57"/>
                      <a:pt x="54" y="61"/>
                    </a:cubicBezTo>
                    <a:cubicBezTo>
                      <a:pt x="53" y="66"/>
                      <a:pt x="52" y="70"/>
                      <a:pt x="51" y="70"/>
                    </a:cubicBezTo>
                    <a:cubicBezTo>
                      <a:pt x="50" y="70"/>
                      <a:pt x="45" y="71"/>
                      <a:pt x="40" y="71"/>
                    </a:cubicBezTo>
                    <a:cubicBezTo>
                      <a:pt x="35" y="72"/>
                      <a:pt x="31" y="72"/>
                      <a:pt x="30" y="73"/>
                    </a:cubicBezTo>
                    <a:cubicBezTo>
                      <a:pt x="29" y="74"/>
                      <a:pt x="28" y="84"/>
                      <a:pt x="27" y="93"/>
                    </a:cubicBezTo>
                    <a:cubicBezTo>
                      <a:pt x="27" y="95"/>
                      <a:pt x="20" y="99"/>
                      <a:pt x="16" y="99"/>
                    </a:cubicBezTo>
                    <a:cubicBezTo>
                      <a:pt x="14" y="99"/>
                      <a:pt x="10" y="98"/>
                      <a:pt x="8" y="9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19" name="Freeform 29">
                <a:extLst>
                  <a:ext uri="{FF2B5EF4-FFF2-40B4-BE49-F238E27FC236}">
                    <a16:creationId xmlns:a16="http://schemas.microsoft.com/office/drawing/2014/main" id="{145A8BF1-C472-4A53-9C63-2FDBE0669073}"/>
                  </a:ext>
                </a:extLst>
              </p:cNvPr>
              <p:cNvSpPr>
                <a:spLocks/>
              </p:cNvSpPr>
              <p:nvPr/>
            </p:nvSpPr>
            <p:spPr bwMode="auto">
              <a:xfrm>
                <a:off x="5259615" y="592909"/>
                <a:ext cx="283061" cy="190633"/>
              </a:xfrm>
              <a:custGeom>
                <a:avLst/>
                <a:gdLst>
                  <a:gd name="T0" fmla="*/ 16 w 62"/>
                  <a:gd name="T1" fmla="*/ 36 h 42"/>
                  <a:gd name="T2" fmla="*/ 1 w 62"/>
                  <a:gd name="T3" fmla="*/ 3 h 42"/>
                  <a:gd name="T4" fmla="*/ 37 w 62"/>
                  <a:gd name="T5" fmla="*/ 4 h 42"/>
                  <a:gd name="T6" fmla="*/ 59 w 62"/>
                  <a:gd name="T7" fmla="*/ 27 h 42"/>
                  <a:gd name="T8" fmla="*/ 48 w 62"/>
                  <a:gd name="T9" fmla="*/ 35 h 42"/>
                  <a:gd name="T10" fmla="*/ 33 w 62"/>
                  <a:gd name="T11" fmla="*/ 38 h 42"/>
                  <a:gd name="T12" fmla="*/ 16 w 62"/>
                  <a:gd name="T13" fmla="*/ 36 h 42"/>
                </a:gdLst>
                <a:ahLst/>
                <a:cxnLst>
                  <a:cxn ang="0">
                    <a:pos x="T0" y="T1"/>
                  </a:cxn>
                  <a:cxn ang="0">
                    <a:pos x="T2" y="T3"/>
                  </a:cxn>
                  <a:cxn ang="0">
                    <a:pos x="T4" y="T5"/>
                  </a:cxn>
                  <a:cxn ang="0">
                    <a:pos x="T6" y="T7"/>
                  </a:cxn>
                  <a:cxn ang="0">
                    <a:pos x="T8" y="T9"/>
                  </a:cxn>
                  <a:cxn ang="0">
                    <a:pos x="T10" y="T11"/>
                  </a:cxn>
                  <a:cxn ang="0">
                    <a:pos x="T12" y="T13"/>
                  </a:cxn>
                </a:cxnLst>
                <a:rect l="0" t="0" r="r" b="b"/>
                <a:pathLst>
                  <a:path w="62" h="42">
                    <a:moveTo>
                      <a:pt x="16" y="36"/>
                    </a:moveTo>
                    <a:cubicBezTo>
                      <a:pt x="9" y="25"/>
                      <a:pt x="0" y="5"/>
                      <a:pt x="1" y="3"/>
                    </a:cubicBezTo>
                    <a:cubicBezTo>
                      <a:pt x="2" y="0"/>
                      <a:pt x="30" y="0"/>
                      <a:pt x="37" y="4"/>
                    </a:cubicBezTo>
                    <a:cubicBezTo>
                      <a:pt x="45" y="8"/>
                      <a:pt x="55" y="19"/>
                      <a:pt x="59" y="27"/>
                    </a:cubicBezTo>
                    <a:cubicBezTo>
                      <a:pt x="62" y="33"/>
                      <a:pt x="58" y="35"/>
                      <a:pt x="48" y="35"/>
                    </a:cubicBezTo>
                    <a:cubicBezTo>
                      <a:pt x="41" y="35"/>
                      <a:pt x="37" y="35"/>
                      <a:pt x="33" y="38"/>
                    </a:cubicBezTo>
                    <a:cubicBezTo>
                      <a:pt x="24" y="42"/>
                      <a:pt x="19" y="42"/>
                      <a:pt x="16" y="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0" name="Freeform 30">
                <a:extLst>
                  <a:ext uri="{FF2B5EF4-FFF2-40B4-BE49-F238E27FC236}">
                    <a16:creationId xmlns:a16="http://schemas.microsoft.com/office/drawing/2014/main" id="{BAD72C3C-119E-4A06-A68E-BA81151D9A55}"/>
                  </a:ext>
                </a:extLst>
              </p:cNvPr>
              <p:cNvSpPr>
                <a:spLocks/>
              </p:cNvSpPr>
              <p:nvPr/>
            </p:nvSpPr>
            <p:spPr bwMode="auto">
              <a:xfrm>
                <a:off x="4366145" y="-104151"/>
                <a:ext cx="947386" cy="573823"/>
              </a:xfrm>
              <a:custGeom>
                <a:avLst/>
                <a:gdLst>
                  <a:gd name="T0" fmla="*/ 71 w 208"/>
                  <a:gd name="T1" fmla="*/ 122 h 126"/>
                  <a:gd name="T2" fmla="*/ 61 w 208"/>
                  <a:gd name="T3" fmla="*/ 119 h 126"/>
                  <a:gd name="T4" fmla="*/ 51 w 208"/>
                  <a:gd name="T5" fmla="*/ 106 h 126"/>
                  <a:gd name="T6" fmla="*/ 49 w 208"/>
                  <a:gd name="T7" fmla="*/ 95 h 126"/>
                  <a:gd name="T8" fmla="*/ 48 w 208"/>
                  <a:gd name="T9" fmla="*/ 74 h 126"/>
                  <a:gd name="T10" fmla="*/ 50 w 208"/>
                  <a:gd name="T11" fmla="*/ 64 h 126"/>
                  <a:gd name="T12" fmla="*/ 46 w 208"/>
                  <a:gd name="T13" fmla="*/ 51 h 126"/>
                  <a:gd name="T14" fmla="*/ 42 w 208"/>
                  <a:gd name="T15" fmla="*/ 43 h 126"/>
                  <a:gd name="T16" fmla="*/ 31 w 208"/>
                  <a:gd name="T17" fmla="*/ 39 h 126"/>
                  <a:gd name="T18" fmla="*/ 18 w 208"/>
                  <a:gd name="T19" fmla="*/ 37 h 126"/>
                  <a:gd name="T20" fmla="*/ 0 w 208"/>
                  <a:gd name="T21" fmla="*/ 16 h 126"/>
                  <a:gd name="T22" fmla="*/ 1 w 208"/>
                  <a:gd name="T23" fmla="*/ 8 h 126"/>
                  <a:gd name="T24" fmla="*/ 17 w 208"/>
                  <a:gd name="T25" fmla="*/ 2 h 126"/>
                  <a:gd name="T26" fmla="*/ 38 w 208"/>
                  <a:gd name="T27" fmla="*/ 15 h 126"/>
                  <a:gd name="T28" fmla="*/ 52 w 208"/>
                  <a:gd name="T29" fmla="*/ 19 h 126"/>
                  <a:gd name="T30" fmla="*/ 69 w 208"/>
                  <a:gd name="T31" fmla="*/ 28 h 126"/>
                  <a:gd name="T32" fmla="*/ 72 w 208"/>
                  <a:gd name="T33" fmla="*/ 33 h 126"/>
                  <a:gd name="T34" fmla="*/ 77 w 208"/>
                  <a:gd name="T35" fmla="*/ 47 h 126"/>
                  <a:gd name="T36" fmla="*/ 80 w 208"/>
                  <a:gd name="T37" fmla="*/ 58 h 126"/>
                  <a:gd name="T38" fmla="*/ 84 w 208"/>
                  <a:gd name="T39" fmla="*/ 66 h 126"/>
                  <a:gd name="T40" fmla="*/ 90 w 208"/>
                  <a:gd name="T41" fmla="*/ 70 h 126"/>
                  <a:gd name="T42" fmla="*/ 108 w 208"/>
                  <a:gd name="T43" fmla="*/ 73 h 126"/>
                  <a:gd name="T44" fmla="*/ 120 w 208"/>
                  <a:gd name="T45" fmla="*/ 75 h 126"/>
                  <a:gd name="T46" fmla="*/ 128 w 208"/>
                  <a:gd name="T47" fmla="*/ 71 h 126"/>
                  <a:gd name="T48" fmla="*/ 138 w 208"/>
                  <a:gd name="T49" fmla="*/ 68 h 126"/>
                  <a:gd name="T50" fmla="*/ 145 w 208"/>
                  <a:gd name="T51" fmla="*/ 63 h 126"/>
                  <a:gd name="T52" fmla="*/ 163 w 208"/>
                  <a:gd name="T53" fmla="*/ 58 h 126"/>
                  <a:gd name="T54" fmla="*/ 190 w 208"/>
                  <a:gd name="T55" fmla="*/ 66 h 126"/>
                  <a:gd name="T56" fmla="*/ 203 w 208"/>
                  <a:gd name="T57" fmla="*/ 88 h 126"/>
                  <a:gd name="T58" fmla="*/ 204 w 208"/>
                  <a:gd name="T59" fmla="*/ 94 h 126"/>
                  <a:gd name="T60" fmla="*/ 203 w 208"/>
                  <a:gd name="T61" fmla="*/ 101 h 126"/>
                  <a:gd name="T62" fmla="*/ 200 w 208"/>
                  <a:gd name="T63" fmla="*/ 109 h 126"/>
                  <a:gd name="T64" fmla="*/ 193 w 208"/>
                  <a:gd name="T65" fmla="*/ 117 h 126"/>
                  <a:gd name="T66" fmla="*/ 161 w 208"/>
                  <a:gd name="T67" fmla="*/ 117 h 126"/>
                  <a:gd name="T68" fmla="*/ 158 w 208"/>
                  <a:gd name="T69" fmla="*/ 116 h 126"/>
                  <a:gd name="T70" fmla="*/ 149 w 208"/>
                  <a:gd name="T71" fmla="*/ 121 h 126"/>
                  <a:gd name="T72" fmla="*/ 122 w 208"/>
                  <a:gd name="T73" fmla="*/ 125 h 126"/>
                  <a:gd name="T74" fmla="*/ 92 w 208"/>
                  <a:gd name="T75" fmla="*/ 119 h 126"/>
                  <a:gd name="T76" fmla="*/ 84 w 208"/>
                  <a:gd name="T77" fmla="*/ 121 h 126"/>
                  <a:gd name="T78" fmla="*/ 78 w 208"/>
                  <a:gd name="T79" fmla="*/ 126 h 126"/>
                  <a:gd name="T80" fmla="*/ 71 w 208"/>
                  <a:gd name="T81" fmla="*/ 1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126">
                    <a:moveTo>
                      <a:pt x="71" y="122"/>
                    </a:moveTo>
                    <a:cubicBezTo>
                      <a:pt x="68" y="120"/>
                      <a:pt x="63" y="119"/>
                      <a:pt x="61" y="119"/>
                    </a:cubicBezTo>
                    <a:cubicBezTo>
                      <a:pt x="54" y="119"/>
                      <a:pt x="52" y="116"/>
                      <a:pt x="51" y="106"/>
                    </a:cubicBezTo>
                    <a:cubicBezTo>
                      <a:pt x="51" y="101"/>
                      <a:pt x="50" y="96"/>
                      <a:pt x="49" y="95"/>
                    </a:cubicBezTo>
                    <a:cubicBezTo>
                      <a:pt x="47" y="91"/>
                      <a:pt x="46" y="78"/>
                      <a:pt x="48" y="74"/>
                    </a:cubicBezTo>
                    <a:cubicBezTo>
                      <a:pt x="49" y="73"/>
                      <a:pt x="49" y="68"/>
                      <a:pt x="50" y="64"/>
                    </a:cubicBezTo>
                    <a:cubicBezTo>
                      <a:pt x="50" y="57"/>
                      <a:pt x="49" y="55"/>
                      <a:pt x="46" y="51"/>
                    </a:cubicBezTo>
                    <a:cubicBezTo>
                      <a:pt x="44" y="48"/>
                      <a:pt x="42" y="44"/>
                      <a:pt x="42" y="43"/>
                    </a:cubicBezTo>
                    <a:cubicBezTo>
                      <a:pt x="41" y="40"/>
                      <a:pt x="40" y="40"/>
                      <a:pt x="31" y="39"/>
                    </a:cubicBezTo>
                    <a:cubicBezTo>
                      <a:pt x="25" y="39"/>
                      <a:pt x="19" y="38"/>
                      <a:pt x="18" y="37"/>
                    </a:cubicBezTo>
                    <a:cubicBezTo>
                      <a:pt x="14" y="36"/>
                      <a:pt x="1" y="20"/>
                      <a:pt x="0" y="16"/>
                    </a:cubicBezTo>
                    <a:cubicBezTo>
                      <a:pt x="0" y="14"/>
                      <a:pt x="0" y="10"/>
                      <a:pt x="1" y="8"/>
                    </a:cubicBezTo>
                    <a:cubicBezTo>
                      <a:pt x="3" y="2"/>
                      <a:pt x="6" y="0"/>
                      <a:pt x="17" y="2"/>
                    </a:cubicBezTo>
                    <a:cubicBezTo>
                      <a:pt x="29" y="3"/>
                      <a:pt x="36" y="7"/>
                      <a:pt x="38" y="15"/>
                    </a:cubicBezTo>
                    <a:cubicBezTo>
                      <a:pt x="39" y="19"/>
                      <a:pt x="43" y="20"/>
                      <a:pt x="52" y="19"/>
                    </a:cubicBezTo>
                    <a:cubicBezTo>
                      <a:pt x="64" y="18"/>
                      <a:pt x="69" y="21"/>
                      <a:pt x="69" y="28"/>
                    </a:cubicBezTo>
                    <a:cubicBezTo>
                      <a:pt x="69" y="31"/>
                      <a:pt x="70" y="32"/>
                      <a:pt x="72" y="33"/>
                    </a:cubicBezTo>
                    <a:cubicBezTo>
                      <a:pt x="78" y="36"/>
                      <a:pt x="79" y="41"/>
                      <a:pt x="77" y="47"/>
                    </a:cubicBezTo>
                    <a:cubicBezTo>
                      <a:pt x="75" y="53"/>
                      <a:pt x="75" y="53"/>
                      <a:pt x="80" y="58"/>
                    </a:cubicBezTo>
                    <a:cubicBezTo>
                      <a:pt x="82" y="60"/>
                      <a:pt x="84" y="64"/>
                      <a:pt x="84" y="66"/>
                    </a:cubicBezTo>
                    <a:cubicBezTo>
                      <a:pt x="84" y="68"/>
                      <a:pt x="85" y="69"/>
                      <a:pt x="90" y="70"/>
                    </a:cubicBezTo>
                    <a:cubicBezTo>
                      <a:pt x="94" y="70"/>
                      <a:pt x="102" y="72"/>
                      <a:pt x="108" y="73"/>
                    </a:cubicBezTo>
                    <a:cubicBezTo>
                      <a:pt x="120" y="75"/>
                      <a:pt x="120" y="75"/>
                      <a:pt x="120" y="75"/>
                    </a:cubicBezTo>
                    <a:cubicBezTo>
                      <a:pt x="128" y="71"/>
                      <a:pt x="128" y="71"/>
                      <a:pt x="128" y="71"/>
                    </a:cubicBezTo>
                    <a:cubicBezTo>
                      <a:pt x="133" y="69"/>
                      <a:pt x="137" y="68"/>
                      <a:pt x="138" y="68"/>
                    </a:cubicBezTo>
                    <a:cubicBezTo>
                      <a:pt x="139" y="68"/>
                      <a:pt x="142" y="65"/>
                      <a:pt x="145" y="63"/>
                    </a:cubicBezTo>
                    <a:cubicBezTo>
                      <a:pt x="151" y="58"/>
                      <a:pt x="152" y="58"/>
                      <a:pt x="163" y="58"/>
                    </a:cubicBezTo>
                    <a:cubicBezTo>
                      <a:pt x="176" y="58"/>
                      <a:pt x="180" y="59"/>
                      <a:pt x="190" y="66"/>
                    </a:cubicBezTo>
                    <a:cubicBezTo>
                      <a:pt x="202" y="73"/>
                      <a:pt x="208" y="84"/>
                      <a:pt x="203" y="88"/>
                    </a:cubicBezTo>
                    <a:cubicBezTo>
                      <a:pt x="202" y="89"/>
                      <a:pt x="202" y="91"/>
                      <a:pt x="204" y="94"/>
                    </a:cubicBezTo>
                    <a:cubicBezTo>
                      <a:pt x="205" y="98"/>
                      <a:pt x="205" y="99"/>
                      <a:pt x="203" y="101"/>
                    </a:cubicBezTo>
                    <a:cubicBezTo>
                      <a:pt x="202" y="103"/>
                      <a:pt x="200" y="106"/>
                      <a:pt x="200" y="109"/>
                    </a:cubicBezTo>
                    <a:cubicBezTo>
                      <a:pt x="200" y="113"/>
                      <a:pt x="199" y="114"/>
                      <a:pt x="193" y="117"/>
                    </a:cubicBezTo>
                    <a:cubicBezTo>
                      <a:pt x="181" y="123"/>
                      <a:pt x="164" y="123"/>
                      <a:pt x="161" y="117"/>
                    </a:cubicBezTo>
                    <a:cubicBezTo>
                      <a:pt x="160" y="114"/>
                      <a:pt x="160" y="114"/>
                      <a:pt x="158" y="116"/>
                    </a:cubicBezTo>
                    <a:cubicBezTo>
                      <a:pt x="157" y="117"/>
                      <a:pt x="153" y="119"/>
                      <a:pt x="149" y="121"/>
                    </a:cubicBezTo>
                    <a:cubicBezTo>
                      <a:pt x="144" y="124"/>
                      <a:pt x="140" y="124"/>
                      <a:pt x="122" y="125"/>
                    </a:cubicBezTo>
                    <a:cubicBezTo>
                      <a:pt x="99" y="125"/>
                      <a:pt x="94" y="124"/>
                      <a:pt x="92" y="119"/>
                    </a:cubicBezTo>
                    <a:cubicBezTo>
                      <a:pt x="91" y="115"/>
                      <a:pt x="90" y="115"/>
                      <a:pt x="84" y="121"/>
                    </a:cubicBezTo>
                    <a:cubicBezTo>
                      <a:pt x="82" y="123"/>
                      <a:pt x="79" y="126"/>
                      <a:pt x="78" y="126"/>
                    </a:cubicBezTo>
                    <a:cubicBezTo>
                      <a:pt x="77" y="126"/>
                      <a:pt x="74" y="124"/>
                      <a:pt x="71" y="1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1" name="Freeform 31">
                <a:extLst>
                  <a:ext uri="{FF2B5EF4-FFF2-40B4-BE49-F238E27FC236}">
                    <a16:creationId xmlns:a16="http://schemas.microsoft.com/office/drawing/2014/main" id="{4C1D18BA-A956-4BBF-9E40-DAF8011005F3}"/>
                  </a:ext>
                </a:extLst>
              </p:cNvPr>
              <p:cNvSpPr>
                <a:spLocks/>
              </p:cNvSpPr>
              <p:nvPr/>
            </p:nvSpPr>
            <p:spPr bwMode="auto">
              <a:xfrm>
                <a:off x="4352666" y="209718"/>
                <a:ext cx="190633" cy="227219"/>
              </a:xfrm>
              <a:custGeom>
                <a:avLst/>
                <a:gdLst>
                  <a:gd name="T0" fmla="*/ 26 w 42"/>
                  <a:gd name="T1" fmla="*/ 49 h 50"/>
                  <a:gd name="T2" fmla="*/ 3 w 42"/>
                  <a:gd name="T3" fmla="*/ 33 h 50"/>
                  <a:gd name="T4" fmla="*/ 7 w 42"/>
                  <a:gd name="T5" fmla="*/ 14 h 50"/>
                  <a:gd name="T6" fmla="*/ 18 w 42"/>
                  <a:gd name="T7" fmla="*/ 2 h 50"/>
                  <a:gd name="T8" fmla="*/ 37 w 42"/>
                  <a:gd name="T9" fmla="*/ 6 h 50"/>
                  <a:gd name="T10" fmla="*/ 41 w 42"/>
                  <a:gd name="T11" fmla="*/ 26 h 50"/>
                  <a:gd name="T12" fmla="*/ 39 w 42"/>
                  <a:gd name="T13" fmla="*/ 46 h 50"/>
                  <a:gd name="T14" fmla="*/ 26 w 42"/>
                  <a:gd name="T15" fmla="*/ 49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50">
                    <a:moveTo>
                      <a:pt x="26" y="49"/>
                    </a:moveTo>
                    <a:cubicBezTo>
                      <a:pt x="23" y="48"/>
                      <a:pt x="7" y="37"/>
                      <a:pt x="3" y="33"/>
                    </a:cubicBezTo>
                    <a:cubicBezTo>
                      <a:pt x="0" y="30"/>
                      <a:pt x="1" y="25"/>
                      <a:pt x="7" y="14"/>
                    </a:cubicBezTo>
                    <a:cubicBezTo>
                      <a:pt x="11" y="5"/>
                      <a:pt x="13" y="3"/>
                      <a:pt x="18" y="2"/>
                    </a:cubicBezTo>
                    <a:cubicBezTo>
                      <a:pt x="24" y="0"/>
                      <a:pt x="31" y="1"/>
                      <a:pt x="37" y="6"/>
                    </a:cubicBezTo>
                    <a:cubicBezTo>
                      <a:pt x="40" y="9"/>
                      <a:pt x="41" y="10"/>
                      <a:pt x="41" y="26"/>
                    </a:cubicBezTo>
                    <a:cubicBezTo>
                      <a:pt x="42" y="42"/>
                      <a:pt x="42" y="42"/>
                      <a:pt x="39" y="46"/>
                    </a:cubicBezTo>
                    <a:cubicBezTo>
                      <a:pt x="35" y="49"/>
                      <a:pt x="32" y="50"/>
                      <a:pt x="26" y="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2" name="Freeform 32">
                <a:extLst>
                  <a:ext uri="{FF2B5EF4-FFF2-40B4-BE49-F238E27FC236}">
                    <a16:creationId xmlns:a16="http://schemas.microsoft.com/office/drawing/2014/main" id="{937A1570-8E8E-4C47-94AD-6073062BC5A5}"/>
                  </a:ext>
                </a:extLst>
              </p:cNvPr>
              <p:cNvSpPr>
                <a:spLocks/>
              </p:cNvSpPr>
              <p:nvPr/>
            </p:nvSpPr>
            <p:spPr bwMode="auto">
              <a:xfrm>
                <a:off x="3982954" y="-32905"/>
                <a:ext cx="342753" cy="360084"/>
              </a:xfrm>
              <a:custGeom>
                <a:avLst/>
                <a:gdLst>
                  <a:gd name="T0" fmla="*/ 51 w 75"/>
                  <a:gd name="T1" fmla="*/ 76 h 79"/>
                  <a:gd name="T2" fmla="*/ 38 w 75"/>
                  <a:gd name="T3" fmla="*/ 62 h 79"/>
                  <a:gd name="T4" fmla="*/ 43 w 75"/>
                  <a:gd name="T5" fmla="*/ 55 h 79"/>
                  <a:gd name="T6" fmla="*/ 47 w 75"/>
                  <a:gd name="T7" fmla="*/ 51 h 79"/>
                  <a:gd name="T8" fmla="*/ 34 w 75"/>
                  <a:gd name="T9" fmla="*/ 52 h 79"/>
                  <a:gd name="T10" fmla="*/ 17 w 75"/>
                  <a:gd name="T11" fmla="*/ 42 h 79"/>
                  <a:gd name="T12" fmla="*/ 7 w 75"/>
                  <a:gd name="T13" fmla="*/ 28 h 79"/>
                  <a:gd name="T14" fmla="*/ 0 w 75"/>
                  <a:gd name="T15" fmla="*/ 23 h 79"/>
                  <a:gd name="T16" fmla="*/ 2 w 75"/>
                  <a:gd name="T17" fmla="*/ 18 h 79"/>
                  <a:gd name="T18" fmla="*/ 11 w 75"/>
                  <a:gd name="T19" fmla="*/ 14 h 79"/>
                  <a:gd name="T20" fmla="*/ 23 w 75"/>
                  <a:gd name="T21" fmla="*/ 20 h 79"/>
                  <a:gd name="T22" fmla="*/ 29 w 75"/>
                  <a:gd name="T23" fmla="*/ 28 h 79"/>
                  <a:gd name="T24" fmla="*/ 39 w 75"/>
                  <a:gd name="T25" fmla="*/ 35 h 79"/>
                  <a:gd name="T26" fmla="*/ 44 w 75"/>
                  <a:gd name="T27" fmla="*/ 30 h 79"/>
                  <a:gd name="T28" fmla="*/ 35 w 75"/>
                  <a:gd name="T29" fmla="*/ 17 h 79"/>
                  <a:gd name="T30" fmla="*/ 31 w 75"/>
                  <a:gd name="T31" fmla="*/ 12 h 79"/>
                  <a:gd name="T32" fmla="*/ 38 w 75"/>
                  <a:gd name="T33" fmla="*/ 5 h 79"/>
                  <a:gd name="T34" fmla="*/ 49 w 75"/>
                  <a:gd name="T35" fmla="*/ 0 h 79"/>
                  <a:gd name="T36" fmla="*/ 61 w 75"/>
                  <a:gd name="T37" fmla="*/ 1 h 79"/>
                  <a:gd name="T38" fmla="*/ 72 w 75"/>
                  <a:gd name="T39" fmla="*/ 4 h 79"/>
                  <a:gd name="T40" fmla="*/ 75 w 75"/>
                  <a:gd name="T41" fmla="*/ 7 h 79"/>
                  <a:gd name="T42" fmla="*/ 74 w 75"/>
                  <a:gd name="T43" fmla="*/ 33 h 79"/>
                  <a:gd name="T44" fmla="*/ 72 w 75"/>
                  <a:gd name="T45" fmla="*/ 61 h 79"/>
                  <a:gd name="T46" fmla="*/ 71 w 75"/>
                  <a:gd name="T47" fmla="*/ 68 h 79"/>
                  <a:gd name="T48" fmla="*/ 63 w 75"/>
                  <a:gd name="T49" fmla="*/ 78 h 79"/>
                  <a:gd name="T50" fmla="*/ 51 w 75"/>
                  <a:gd name="T51"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79">
                    <a:moveTo>
                      <a:pt x="51" y="76"/>
                    </a:moveTo>
                    <a:cubicBezTo>
                      <a:pt x="45" y="73"/>
                      <a:pt x="38" y="66"/>
                      <a:pt x="38" y="62"/>
                    </a:cubicBezTo>
                    <a:cubicBezTo>
                      <a:pt x="38" y="60"/>
                      <a:pt x="40" y="58"/>
                      <a:pt x="43" y="55"/>
                    </a:cubicBezTo>
                    <a:cubicBezTo>
                      <a:pt x="47" y="51"/>
                      <a:pt x="47" y="51"/>
                      <a:pt x="47" y="51"/>
                    </a:cubicBezTo>
                    <a:cubicBezTo>
                      <a:pt x="34" y="52"/>
                      <a:pt x="34" y="52"/>
                      <a:pt x="34" y="52"/>
                    </a:cubicBezTo>
                    <a:cubicBezTo>
                      <a:pt x="19" y="52"/>
                      <a:pt x="17" y="51"/>
                      <a:pt x="17" y="42"/>
                    </a:cubicBezTo>
                    <a:cubicBezTo>
                      <a:pt x="17" y="35"/>
                      <a:pt x="15" y="33"/>
                      <a:pt x="7" y="28"/>
                    </a:cubicBezTo>
                    <a:cubicBezTo>
                      <a:pt x="3" y="25"/>
                      <a:pt x="0" y="23"/>
                      <a:pt x="0" y="23"/>
                    </a:cubicBezTo>
                    <a:cubicBezTo>
                      <a:pt x="0" y="22"/>
                      <a:pt x="1" y="20"/>
                      <a:pt x="2" y="18"/>
                    </a:cubicBezTo>
                    <a:cubicBezTo>
                      <a:pt x="4" y="14"/>
                      <a:pt x="5" y="14"/>
                      <a:pt x="11" y="14"/>
                    </a:cubicBezTo>
                    <a:cubicBezTo>
                      <a:pt x="19" y="15"/>
                      <a:pt x="23" y="17"/>
                      <a:pt x="23" y="20"/>
                    </a:cubicBezTo>
                    <a:cubicBezTo>
                      <a:pt x="23" y="21"/>
                      <a:pt x="25" y="24"/>
                      <a:pt x="29" y="28"/>
                    </a:cubicBezTo>
                    <a:cubicBezTo>
                      <a:pt x="34" y="33"/>
                      <a:pt x="36" y="35"/>
                      <a:pt x="39" y="35"/>
                    </a:cubicBezTo>
                    <a:cubicBezTo>
                      <a:pt x="43" y="35"/>
                      <a:pt x="43" y="34"/>
                      <a:pt x="44" y="30"/>
                    </a:cubicBezTo>
                    <a:cubicBezTo>
                      <a:pt x="45" y="24"/>
                      <a:pt x="43" y="21"/>
                      <a:pt x="35" y="17"/>
                    </a:cubicBezTo>
                    <a:cubicBezTo>
                      <a:pt x="33" y="15"/>
                      <a:pt x="31" y="13"/>
                      <a:pt x="31" y="12"/>
                    </a:cubicBezTo>
                    <a:cubicBezTo>
                      <a:pt x="31" y="12"/>
                      <a:pt x="34" y="8"/>
                      <a:pt x="38" y="5"/>
                    </a:cubicBezTo>
                    <a:cubicBezTo>
                      <a:pt x="43" y="1"/>
                      <a:pt x="46" y="0"/>
                      <a:pt x="49" y="0"/>
                    </a:cubicBezTo>
                    <a:cubicBezTo>
                      <a:pt x="51" y="0"/>
                      <a:pt x="56" y="1"/>
                      <a:pt x="61" y="1"/>
                    </a:cubicBezTo>
                    <a:cubicBezTo>
                      <a:pt x="65" y="2"/>
                      <a:pt x="70" y="3"/>
                      <a:pt x="72" y="4"/>
                    </a:cubicBezTo>
                    <a:cubicBezTo>
                      <a:pt x="75" y="7"/>
                      <a:pt x="75" y="7"/>
                      <a:pt x="75" y="7"/>
                    </a:cubicBezTo>
                    <a:cubicBezTo>
                      <a:pt x="74" y="33"/>
                      <a:pt x="74" y="33"/>
                      <a:pt x="74" y="33"/>
                    </a:cubicBezTo>
                    <a:cubicBezTo>
                      <a:pt x="74" y="48"/>
                      <a:pt x="73" y="60"/>
                      <a:pt x="72" y="61"/>
                    </a:cubicBezTo>
                    <a:cubicBezTo>
                      <a:pt x="71" y="62"/>
                      <a:pt x="71" y="65"/>
                      <a:pt x="71" y="68"/>
                    </a:cubicBezTo>
                    <a:cubicBezTo>
                      <a:pt x="73" y="75"/>
                      <a:pt x="70" y="79"/>
                      <a:pt x="63" y="78"/>
                    </a:cubicBezTo>
                    <a:cubicBezTo>
                      <a:pt x="60" y="78"/>
                      <a:pt x="55" y="77"/>
                      <a:pt x="51" y="7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3" name="Freeform 33">
                <a:extLst>
                  <a:ext uri="{FF2B5EF4-FFF2-40B4-BE49-F238E27FC236}">
                    <a16:creationId xmlns:a16="http://schemas.microsoft.com/office/drawing/2014/main" id="{54C1A11C-ADA6-49D0-901C-E91DCE9AE580}"/>
                  </a:ext>
                </a:extLst>
              </p:cNvPr>
              <p:cNvSpPr>
                <a:spLocks/>
              </p:cNvSpPr>
              <p:nvPr/>
            </p:nvSpPr>
            <p:spPr bwMode="auto">
              <a:xfrm>
                <a:off x="3659456" y="-154216"/>
                <a:ext cx="269581" cy="454437"/>
              </a:xfrm>
              <a:custGeom>
                <a:avLst/>
                <a:gdLst>
                  <a:gd name="T0" fmla="*/ 19 w 59"/>
                  <a:gd name="T1" fmla="*/ 94 h 100"/>
                  <a:gd name="T2" fmla="*/ 6 w 59"/>
                  <a:gd name="T3" fmla="*/ 93 h 100"/>
                  <a:gd name="T4" fmla="*/ 2 w 59"/>
                  <a:gd name="T5" fmla="*/ 94 h 100"/>
                  <a:gd name="T6" fmla="*/ 10 w 59"/>
                  <a:gd name="T7" fmla="*/ 61 h 100"/>
                  <a:gd name="T8" fmla="*/ 11 w 59"/>
                  <a:gd name="T9" fmla="*/ 54 h 100"/>
                  <a:gd name="T10" fmla="*/ 21 w 59"/>
                  <a:gd name="T11" fmla="*/ 7 h 100"/>
                  <a:gd name="T12" fmla="*/ 32 w 59"/>
                  <a:gd name="T13" fmla="*/ 13 h 100"/>
                  <a:gd name="T14" fmla="*/ 32 w 59"/>
                  <a:gd name="T15" fmla="*/ 18 h 100"/>
                  <a:gd name="T16" fmla="*/ 31 w 59"/>
                  <a:gd name="T17" fmla="*/ 34 h 100"/>
                  <a:gd name="T18" fmla="*/ 30 w 59"/>
                  <a:gd name="T19" fmla="*/ 43 h 100"/>
                  <a:gd name="T20" fmla="*/ 34 w 59"/>
                  <a:gd name="T21" fmla="*/ 49 h 100"/>
                  <a:gd name="T22" fmla="*/ 44 w 59"/>
                  <a:gd name="T23" fmla="*/ 47 h 100"/>
                  <a:gd name="T24" fmla="*/ 53 w 59"/>
                  <a:gd name="T25" fmla="*/ 48 h 100"/>
                  <a:gd name="T26" fmla="*/ 54 w 59"/>
                  <a:gd name="T27" fmla="*/ 79 h 100"/>
                  <a:gd name="T28" fmla="*/ 49 w 59"/>
                  <a:gd name="T29" fmla="*/ 87 h 100"/>
                  <a:gd name="T30" fmla="*/ 19 w 59"/>
                  <a:gd name="T31"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100">
                    <a:moveTo>
                      <a:pt x="19" y="94"/>
                    </a:moveTo>
                    <a:cubicBezTo>
                      <a:pt x="14" y="90"/>
                      <a:pt x="10" y="90"/>
                      <a:pt x="6" y="93"/>
                    </a:cubicBezTo>
                    <a:cubicBezTo>
                      <a:pt x="5" y="95"/>
                      <a:pt x="3" y="95"/>
                      <a:pt x="2" y="94"/>
                    </a:cubicBezTo>
                    <a:cubicBezTo>
                      <a:pt x="0" y="93"/>
                      <a:pt x="7" y="61"/>
                      <a:pt x="10" y="61"/>
                    </a:cubicBezTo>
                    <a:cubicBezTo>
                      <a:pt x="11" y="62"/>
                      <a:pt x="11" y="59"/>
                      <a:pt x="11" y="54"/>
                    </a:cubicBezTo>
                    <a:cubicBezTo>
                      <a:pt x="11" y="45"/>
                      <a:pt x="18" y="11"/>
                      <a:pt x="21" y="7"/>
                    </a:cubicBezTo>
                    <a:cubicBezTo>
                      <a:pt x="25" y="0"/>
                      <a:pt x="36" y="6"/>
                      <a:pt x="32" y="13"/>
                    </a:cubicBezTo>
                    <a:cubicBezTo>
                      <a:pt x="31" y="14"/>
                      <a:pt x="31" y="16"/>
                      <a:pt x="32" y="18"/>
                    </a:cubicBezTo>
                    <a:cubicBezTo>
                      <a:pt x="34" y="22"/>
                      <a:pt x="33" y="31"/>
                      <a:pt x="31" y="34"/>
                    </a:cubicBezTo>
                    <a:cubicBezTo>
                      <a:pt x="31" y="36"/>
                      <a:pt x="30" y="39"/>
                      <a:pt x="30" y="43"/>
                    </a:cubicBezTo>
                    <a:cubicBezTo>
                      <a:pt x="30" y="47"/>
                      <a:pt x="31" y="48"/>
                      <a:pt x="34" y="49"/>
                    </a:cubicBezTo>
                    <a:cubicBezTo>
                      <a:pt x="36" y="49"/>
                      <a:pt x="40" y="48"/>
                      <a:pt x="44" y="47"/>
                    </a:cubicBezTo>
                    <a:cubicBezTo>
                      <a:pt x="49" y="46"/>
                      <a:pt x="50" y="46"/>
                      <a:pt x="53" y="48"/>
                    </a:cubicBezTo>
                    <a:cubicBezTo>
                      <a:pt x="58" y="54"/>
                      <a:pt x="59" y="73"/>
                      <a:pt x="54" y="79"/>
                    </a:cubicBezTo>
                    <a:cubicBezTo>
                      <a:pt x="53" y="81"/>
                      <a:pt x="51" y="84"/>
                      <a:pt x="49" y="87"/>
                    </a:cubicBezTo>
                    <a:cubicBezTo>
                      <a:pt x="43" y="97"/>
                      <a:pt x="30" y="100"/>
                      <a:pt x="19" y="9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4" name="Freeform 34">
                <a:extLst>
                  <a:ext uri="{FF2B5EF4-FFF2-40B4-BE49-F238E27FC236}">
                    <a16:creationId xmlns:a16="http://schemas.microsoft.com/office/drawing/2014/main" id="{46E7C592-CC07-471F-8AC3-F55DA992C240}"/>
                  </a:ext>
                </a:extLst>
              </p:cNvPr>
              <p:cNvSpPr>
                <a:spLocks/>
              </p:cNvSpPr>
              <p:nvPr/>
            </p:nvSpPr>
            <p:spPr bwMode="auto">
              <a:xfrm>
                <a:off x="3919410" y="209718"/>
                <a:ext cx="86652" cy="77023"/>
              </a:xfrm>
              <a:custGeom>
                <a:avLst/>
                <a:gdLst>
                  <a:gd name="T0" fmla="*/ 1 w 19"/>
                  <a:gd name="T1" fmla="*/ 13 h 17"/>
                  <a:gd name="T2" fmla="*/ 2 w 19"/>
                  <a:gd name="T3" fmla="*/ 6 h 17"/>
                  <a:gd name="T4" fmla="*/ 5 w 19"/>
                  <a:gd name="T5" fmla="*/ 2 h 17"/>
                  <a:gd name="T6" fmla="*/ 9 w 19"/>
                  <a:gd name="T7" fmla="*/ 1 h 17"/>
                  <a:gd name="T8" fmla="*/ 17 w 19"/>
                  <a:gd name="T9" fmla="*/ 7 h 17"/>
                  <a:gd name="T10" fmla="*/ 18 w 19"/>
                  <a:gd name="T11" fmla="*/ 15 h 17"/>
                  <a:gd name="T12" fmla="*/ 10 w 19"/>
                  <a:gd name="T13" fmla="*/ 16 h 17"/>
                  <a:gd name="T14" fmla="*/ 1 w 19"/>
                  <a:gd name="T15" fmla="*/ 1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7">
                    <a:moveTo>
                      <a:pt x="1" y="13"/>
                    </a:moveTo>
                    <a:cubicBezTo>
                      <a:pt x="0" y="11"/>
                      <a:pt x="0" y="9"/>
                      <a:pt x="2" y="6"/>
                    </a:cubicBezTo>
                    <a:cubicBezTo>
                      <a:pt x="3" y="4"/>
                      <a:pt x="5" y="2"/>
                      <a:pt x="5" y="2"/>
                    </a:cubicBezTo>
                    <a:cubicBezTo>
                      <a:pt x="5" y="2"/>
                      <a:pt x="7" y="1"/>
                      <a:pt x="9" y="1"/>
                    </a:cubicBezTo>
                    <a:cubicBezTo>
                      <a:pt x="13" y="0"/>
                      <a:pt x="14" y="0"/>
                      <a:pt x="17" y="7"/>
                    </a:cubicBezTo>
                    <a:cubicBezTo>
                      <a:pt x="18" y="11"/>
                      <a:pt x="19" y="14"/>
                      <a:pt x="18" y="15"/>
                    </a:cubicBezTo>
                    <a:cubicBezTo>
                      <a:pt x="18" y="15"/>
                      <a:pt x="14" y="16"/>
                      <a:pt x="10" y="16"/>
                    </a:cubicBezTo>
                    <a:cubicBezTo>
                      <a:pt x="3" y="17"/>
                      <a:pt x="2" y="17"/>
                      <a:pt x="1" y="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5" name="Freeform 35">
                <a:extLst>
                  <a:ext uri="{FF2B5EF4-FFF2-40B4-BE49-F238E27FC236}">
                    <a16:creationId xmlns:a16="http://schemas.microsoft.com/office/drawing/2014/main" id="{28437079-E3DB-47CF-AC09-A651681BCF96}"/>
                  </a:ext>
                </a:extLst>
              </p:cNvPr>
              <p:cNvSpPr>
                <a:spLocks/>
              </p:cNvSpPr>
              <p:nvPr/>
            </p:nvSpPr>
            <p:spPr bwMode="auto">
              <a:xfrm>
                <a:off x="4635727" y="-1658096"/>
                <a:ext cx="1060996" cy="1767684"/>
              </a:xfrm>
              <a:custGeom>
                <a:avLst/>
                <a:gdLst>
                  <a:gd name="T0" fmla="*/ 114 w 233"/>
                  <a:gd name="T1" fmla="*/ 369 h 388"/>
                  <a:gd name="T2" fmla="*/ 93 w 233"/>
                  <a:gd name="T3" fmla="*/ 371 h 388"/>
                  <a:gd name="T4" fmla="*/ 79 w 233"/>
                  <a:gd name="T5" fmla="*/ 370 h 388"/>
                  <a:gd name="T6" fmla="*/ 26 w 233"/>
                  <a:gd name="T7" fmla="*/ 372 h 388"/>
                  <a:gd name="T8" fmla="*/ 39 w 233"/>
                  <a:gd name="T9" fmla="*/ 335 h 388"/>
                  <a:gd name="T10" fmla="*/ 46 w 233"/>
                  <a:gd name="T11" fmla="*/ 300 h 388"/>
                  <a:gd name="T12" fmla="*/ 74 w 233"/>
                  <a:gd name="T13" fmla="*/ 322 h 388"/>
                  <a:gd name="T14" fmla="*/ 64 w 233"/>
                  <a:gd name="T15" fmla="*/ 295 h 388"/>
                  <a:gd name="T16" fmla="*/ 42 w 233"/>
                  <a:gd name="T17" fmla="*/ 280 h 388"/>
                  <a:gd name="T18" fmla="*/ 60 w 233"/>
                  <a:gd name="T19" fmla="*/ 250 h 388"/>
                  <a:gd name="T20" fmla="*/ 90 w 233"/>
                  <a:gd name="T21" fmla="*/ 254 h 388"/>
                  <a:gd name="T22" fmla="*/ 86 w 233"/>
                  <a:gd name="T23" fmla="*/ 247 h 388"/>
                  <a:gd name="T24" fmla="*/ 55 w 233"/>
                  <a:gd name="T25" fmla="*/ 205 h 388"/>
                  <a:gd name="T26" fmla="*/ 60 w 233"/>
                  <a:gd name="T27" fmla="*/ 172 h 388"/>
                  <a:gd name="T28" fmla="*/ 84 w 233"/>
                  <a:gd name="T29" fmla="*/ 184 h 388"/>
                  <a:gd name="T30" fmla="*/ 105 w 233"/>
                  <a:gd name="T31" fmla="*/ 157 h 388"/>
                  <a:gd name="T32" fmla="*/ 119 w 233"/>
                  <a:gd name="T33" fmla="*/ 140 h 388"/>
                  <a:gd name="T34" fmla="*/ 108 w 233"/>
                  <a:gd name="T35" fmla="*/ 133 h 388"/>
                  <a:gd name="T36" fmla="*/ 51 w 233"/>
                  <a:gd name="T37" fmla="*/ 152 h 388"/>
                  <a:gd name="T38" fmla="*/ 48 w 233"/>
                  <a:gd name="T39" fmla="*/ 145 h 388"/>
                  <a:gd name="T40" fmla="*/ 24 w 233"/>
                  <a:gd name="T41" fmla="*/ 138 h 388"/>
                  <a:gd name="T42" fmla="*/ 14 w 233"/>
                  <a:gd name="T43" fmla="*/ 126 h 388"/>
                  <a:gd name="T44" fmla="*/ 18 w 233"/>
                  <a:gd name="T45" fmla="*/ 106 h 388"/>
                  <a:gd name="T46" fmla="*/ 27 w 233"/>
                  <a:gd name="T47" fmla="*/ 77 h 388"/>
                  <a:gd name="T48" fmla="*/ 47 w 233"/>
                  <a:gd name="T49" fmla="*/ 61 h 388"/>
                  <a:gd name="T50" fmla="*/ 62 w 233"/>
                  <a:gd name="T51" fmla="*/ 50 h 388"/>
                  <a:gd name="T52" fmla="*/ 80 w 233"/>
                  <a:gd name="T53" fmla="*/ 40 h 388"/>
                  <a:gd name="T54" fmla="*/ 100 w 233"/>
                  <a:gd name="T55" fmla="*/ 17 h 388"/>
                  <a:gd name="T56" fmla="*/ 138 w 233"/>
                  <a:gd name="T57" fmla="*/ 6 h 388"/>
                  <a:gd name="T58" fmla="*/ 183 w 233"/>
                  <a:gd name="T59" fmla="*/ 1 h 388"/>
                  <a:gd name="T60" fmla="*/ 221 w 233"/>
                  <a:gd name="T61" fmla="*/ 14 h 388"/>
                  <a:gd name="T62" fmla="*/ 222 w 233"/>
                  <a:gd name="T63" fmla="*/ 65 h 388"/>
                  <a:gd name="T64" fmla="*/ 198 w 233"/>
                  <a:gd name="T65" fmla="*/ 94 h 388"/>
                  <a:gd name="T66" fmla="*/ 217 w 233"/>
                  <a:gd name="T67" fmla="*/ 76 h 388"/>
                  <a:gd name="T68" fmla="*/ 222 w 233"/>
                  <a:gd name="T69" fmla="*/ 99 h 388"/>
                  <a:gd name="T70" fmla="*/ 198 w 233"/>
                  <a:gd name="T71" fmla="*/ 153 h 388"/>
                  <a:gd name="T72" fmla="*/ 174 w 233"/>
                  <a:gd name="T73" fmla="*/ 198 h 388"/>
                  <a:gd name="T74" fmla="*/ 151 w 233"/>
                  <a:gd name="T75" fmla="*/ 215 h 388"/>
                  <a:gd name="T76" fmla="*/ 152 w 233"/>
                  <a:gd name="T77" fmla="*/ 235 h 388"/>
                  <a:gd name="T78" fmla="*/ 166 w 233"/>
                  <a:gd name="T79" fmla="*/ 240 h 388"/>
                  <a:gd name="T80" fmla="*/ 171 w 233"/>
                  <a:gd name="T81" fmla="*/ 271 h 388"/>
                  <a:gd name="T82" fmla="*/ 151 w 233"/>
                  <a:gd name="T83" fmla="*/ 294 h 388"/>
                  <a:gd name="T84" fmla="*/ 144 w 233"/>
                  <a:gd name="T85" fmla="*/ 320 h 388"/>
                  <a:gd name="T86" fmla="*/ 151 w 233"/>
                  <a:gd name="T87" fmla="*/ 34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3" h="388">
                    <a:moveTo>
                      <a:pt x="120" y="379"/>
                    </a:moveTo>
                    <a:cubicBezTo>
                      <a:pt x="119" y="377"/>
                      <a:pt x="119" y="376"/>
                      <a:pt x="119" y="375"/>
                    </a:cubicBezTo>
                    <a:cubicBezTo>
                      <a:pt x="120" y="373"/>
                      <a:pt x="119" y="371"/>
                      <a:pt x="114" y="369"/>
                    </a:cubicBezTo>
                    <a:cubicBezTo>
                      <a:pt x="110" y="367"/>
                      <a:pt x="110" y="367"/>
                      <a:pt x="106" y="370"/>
                    </a:cubicBezTo>
                    <a:cubicBezTo>
                      <a:pt x="104" y="373"/>
                      <a:pt x="102" y="373"/>
                      <a:pt x="100" y="373"/>
                    </a:cubicBezTo>
                    <a:cubicBezTo>
                      <a:pt x="98" y="372"/>
                      <a:pt x="95" y="371"/>
                      <a:pt x="93" y="371"/>
                    </a:cubicBezTo>
                    <a:cubicBezTo>
                      <a:pt x="91" y="371"/>
                      <a:pt x="88" y="369"/>
                      <a:pt x="87" y="367"/>
                    </a:cubicBezTo>
                    <a:cubicBezTo>
                      <a:pt x="84" y="363"/>
                      <a:pt x="83" y="363"/>
                      <a:pt x="81" y="365"/>
                    </a:cubicBezTo>
                    <a:cubicBezTo>
                      <a:pt x="80" y="366"/>
                      <a:pt x="79" y="368"/>
                      <a:pt x="79" y="370"/>
                    </a:cubicBezTo>
                    <a:cubicBezTo>
                      <a:pt x="79" y="375"/>
                      <a:pt x="75" y="378"/>
                      <a:pt x="69" y="377"/>
                    </a:cubicBezTo>
                    <a:cubicBezTo>
                      <a:pt x="67" y="376"/>
                      <a:pt x="57" y="376"/>
                      <a:pt x="47" y="376"/>
                    </a:cubicBezTo>
                    <a:cubicBezTo>
                      <a:pt x="32" y="375"/>
                      <a:pt x="29" y="375"/>
                      <a:pt x="26" y="372"/>
                    </a:cubicBezTo>
                    <a:cubicBezTo>
                      <a:pt x="22" y="370"/>
                      <a:pt x="22" y="368"/>
                      <a:pt x="21" y="362"/>
                    </a:cubicBezTo>
                    <a:cubicBezTo>
                      <a:pt x="21" y="356"/>
                      <a:pt x="22" y="352"/>
                      <a:pt x="23" y="349"/>
                    </a:cubicBezTo>
                    <a:cubicBezTo>
                      <a:pt x="27" y="343"/>
                      <a:pt x="35" y="335"/>
                      <a:pt x="39" y="335"/>
                    </a:cubicBezTo>
                    <a:cubicBezTo>
                      <a:pt x="45" y="335"/>
                      <a:pt x="46" y="332"/>
                      <a:pt x="41" y="327"/>
                    </a:cubicBezTo>
                    <a:cubicBezTo>
                      <a:pt x="33" y="320"/>
                      <a:pt x="30" y="312"/>
                      <a:pt x="34" y="305"/>
                    </a:cubicBezTo>
                    <a:cubicBezTo>
                      <a:pt x="36" y="300"/>
                      <a:pt x="38" y="300"/>
                      <a:pt x="46" y="300"/>
                    </a:cubicBezTo>
                    <a:cubicBezTo>
                      <a:pt x="54" y="300"/>
                      <a:pt x="60" y="304"/>
                      <a:pt x="62" y="312"/>
                    </a:cubicBezTo>
                    <a:cubicBezTo>
                      <a:pt x="63" y="315"/>
                      <a:pt x="65" y="319"/>
                      <a:pt x="67" y="320"/>
                    </a:cubicBezTo>
                    <a:cubicBezTo>
                      <a:pt x="70" y="323"/>
                      <a:pt x="71" y="324"/>
                      <a:pt x="74" y="322"/>
                    </a:cubicBezTo>
                    <a:cubicBezTo>
                      <a:pt x="76" y="321"/>
                      <a:pt x="76" y="320"/>
                      <a:pt x="70" y="314"/>
                    </a:cubicBezTo>
                    <a:cubicBezTo>
                      <a:pt x="67" y="311"/>
                      <a:pt x="63" y="306"/>
                      <a:pt x="62" y="304"/>
                    </a:cubicBezTo>
                    <a:cubicBezTo>
                      <a:pt x="61" y="300"/>
                      <a:pt x="61" y="299"/>
                      <a:pt x="64" y="295"/>
                    </a:cubicBezTo>
                    <a:cubicBezTo>
                      <a:pt x="68" y="290"/>
                      <a:pt x="68" y="290"/>
                      <a:pt x="68" y="290"/>
                    </a:cubicBezTo>
                    <a:cubicBezTo>
                      <a:pt x="58" y="290"/>
                      <a:pt x="58" y="290"/>
                      <a:pt x="58" y="290"/>
                    </a:cubicBezTo>
                    <a:cubicBezTo>
                      <a:pt x="46" y="290"/>
                      <a:pt x="42" y="288"/>
                      <a:pt x="42" y="280"/>
                    </a:cubicBezTo>
                    <a:cubicBezTo>
                      <a:pt x="42" y="278"/>
                      <a:pt x="44" y="273"/>
                      <a:pt x="45" y="270"/>
                    </a:cubicBezTo>
                    <a:cubicBezTo>
                      <a:pt x="47" y="267"/>
                      <a:pt x="48" y="264"/>
                      <a:pt x="47" y="263"/>
                    </a:cubicBezTo>
                    <a:cubicBezTo>
                      <a:pt x="45" y="261"/>
                      <a:pt x="52" y="254"/>
                      <a:pt x="60" y="250"/>
                    </a:cubicBezTo>
                    <a:cubicBezTo>
                      <a:pt x="69" y="245"/>
                      <a:pt x="69" y="245"/>
                      <a:pt x="69" y="245"/>
                    </a:cubicBezTo>
                    <a:cubicBezTo>
                      <a:pt x="79" y="250"/>
                      <a:pt x="79" y="250"/>
                      <a:pt x="79" y="250"/>
                    </a:cubicBezTo>
                    <a:cubicBezTo>
                      <a:pt x="91" y="256"/>
                      <a:pt x="90" y="256"/>
                      <a:pt x="90" y="254"/>
                    </a:cubicBezTo>
                    <a:cubicBezTo>
                      <a:pt x="90" y="253"/>
                      <a:pt x="91" y="251"/>
                      <a:pt x="91" y="250"/>
                    </a:cubicBezTo>
                    <a:cubicBezTo>
                      <a:pt x="92" y="248"/>
                      <a:pt x="92" y="247"/>
                      <a:pt x="91" y="247"/>
                    </a:cubicBezTo>
                    <a:cubicBezTo>
                      <a:pt x="90" y="247"/>
                      <a:pt x="88" y="247"/>
                      <a:pt x="86" y="247"/>
                    </a:cubicBezTo>
                    <a:cubicBezTo>
                      <a:pt x="80" y="246"/>
                      <a:pt x="70" y="235"/>
                      <a:pt x="67" y="226"/>
                    </a:cubicBezTo>
                    <a:cubicBezTo>
                      <a:pt x="66" y="222"/>
                      <a:pt x="62" y="216"/>
                      <a:pt x="60" y="212"/>
                    </a:cubicBezTo>
                    <a:cubicBezTo>
                      <a:pt x="57" y="209"/>
                      <a:pt x="55" y="205"/>
                      <a:pt x="55" y="205"/>
                    </a:cubicBezTo>
                    <a:cubicBezTo>
                      <a:pt x="55" y="204"/>
                      <a:pt x="54" y="203"/>
                      <a:pt x="52" y="203"/>
                    </a:cubicBezTo>
                    <a:cubicBezTo>
                      <a:pt x="48" y="202"/>
                      <a:pt x="47" y="195"/>
                      <a:pt x="48" y="185"/>
                    </a:cubicBezTo>
                    <a:cubicBezTo>
                      <a:pt x="49" y="172"/>
                      <a:pt x="51" y="171"/>
                      <a:pt x="60" y="172"/>
                    </a:cubicBezTo>
                    <a:cubicBezTo>
                      <a:pt x="69" y="172"/>
                      <a:pt x="72" y="174"/>
                      <a:pt x="82" y="188"/>
                    </a:cubicBezTo>
                    <a:cubicBezTo>
                      <a:pt x="87" y="194"/>
                      <a:pt x="91" y="199"/>
                      <a:pt x="91" y="199"/>
                    </a:cubicBezTo>
                    <a:cubicBezTo>
                      <a:pt x="93" y="197"/>
                      <a:pt x="89" y="189"/>
                      <a:pt x="84" y="184"/>
                    </a:cubicBezTo>
                    <a:cubicBezTo>
                      <a:pt x="77" y="176"/>
                      <a:pt x="78" y="171"/>
                      <a:pt x="86" y="167"/>
                    </a:cubicBezTo>
                    <a:cubicBezTo>
                      <a:pt x="89" y="166"/>
                      <a:pt x="94" y="163"/>
                      <a:pt x="97" y="161"/>
                    </a:cubicBezTo>
                    <a:cubicBezTo>
                      <a:pt x="100" y="158"/>
                      <a:pt x="104" y="157"/>
                      <a:pt x="105" y="157"/>
                    </a:cubicBezTo>
                    <a:cubicBezTo>
                      <a:pt x="107" y="157"/>
                      <a:pt x="107" y="156"/>
                      <a:pt x="107" y="154"/>
                    </a:cubicBezTo>
                    <a:cubicBezTo>
                      <a:pt x="107" y="152"/>
                      <a:pt x="110" y="148"/>
                      <a:pt x="113" y="145"/>
                    </a:cubicBezTo>
                    <a:cubicBezTo>
                      <a:pt x="119" y="140"/>
                      <a:pt x="119" y="140"/>
                      <a:pt x="119" y="140"/>
                    </a:cubicBezTo>
                    <a:cubicBezTo>
                      <a:pt x="115" y="135"/>
                      <a:pt x="115" y="135"/>
                      <a:pt x="115" y="135"/>
                    </a:cubicBezTo>
                    <a:cubicBezTo>
                      <a:pt x="113" y="133"/>
                      <a:pt x="112" y="130"/>
                      <a:pt x="112" y="129"/>
                    </a:cubicBezTo>
                    <a:cubicBezTo>
                      <a:pt x="112" y="127"/>
                      <a:pt x="110" y="129"/>
                      <a:pt x="108" y="133"/>
                    </a:cubicBezTo>
                    <a:cubicBezTo>
                      <a:pt x="100" y="150"/>
                      <a:pt x="93" y="156"/>
                      <a:pt x="82" y="156"/>
                    </a:cubicBezTo>
                    <a:cubicBezTo>
                      <a:pt x="79" y="156"/>
                      <a:pt x="72" y="157"/>
                      <a:pt x="68" y="158"/>
                    </a:cubicBezTo>
                    <a:cubicBezTo>
                      <a:pt x="56" y="161"/>
                      <a:pt x="52" y="159"/>
                      <a:pt x="51" y="152"/>
                    </a:cubicBezTo>
                    <a:cubicBezTo>
                      <a:pt x="51" y="149"/>
                      <a:pt x="52" y="145"/>
                      <a:pt x="53" y="142"/>
                    </a:cubicBezTo>
                    <a:cubicBezTo>
                      <a:pt x="54" y="139"/>
                      <a:pt x="55" y="137"/>
                      <a:pt x="54" y="137"/>
                    </a:cubicBezTo>
                    <a:cubicBezTo>
                      <a:pt x="53" y="137"/>
                      <a:pt x="48" y="143"/>
                      <a:pt x="48" y="145"/>
                    </a:cubicBezTo>
                    <a:cubicBezTo>
                      <a:pt x="48" y="146"/>
                      <a:pt x="46" y="148"/>
                      <a:pt x="44" y="150"/>
                    </a:cubicBezTo>
                    <a:cubicBezTo>
                      <a:pt x="41" y="153"/>
                      <a:pt x="40" y="153"/>
                      <a:pt x="37" y="153"/>
                    </a:cubicBezTo>
                    <a:cubicBezTo>
                      <a:pt x="27" y="150"/>
                      <a:pt x="20" y="142"/>
                      <a:pt x="24" y="138"/>
                    </a:cubicBezTo>
                    <a:cubicBezTo>
                      <a:pt x="25" y="136"/>
                      <a:pt x="25" y="136"/>
                      <a:pt x="23" y="136"/>
                    </a:cubicBezTo>
                    <a:cubicBezTo>
                      <a:pt x="21" y="136"/>
                      <a:pt x="19" y="135"/>
                      <a:pt x="19" y="135"/>
                    </a:cubicBezTo>
                    <a:cubicBezTo>
                      <a:pt x="16" y="135"/>
                      <a:pt x="14" y="130"/>
                      <a:pt x="14" y="126"/>
                    </a:cubicBezTo>
                    <a:cubicBezTo>
                      <a:pt x="14" y="122"/>
                      <a:pt x="15" y="120"/>
                      <a:pt x="20" y="116"/>
                    </a:cubicBezTo>
                    <a:cubicBezTo>
                      <a:pt x="26" y="110"/>
                      <a:pt x="27" y="109"/>
                      <a:pt x="23" y="109"/>
                    </a:cubicBezTo>
                    <a:cubicBezTo>
                      <a:pt x="22" y="109"/>
                      <a:pt x="20" y="107"/>
                      <a:pt x="18" y="106"/>
                    </a:cubicBezTo>
                    <a:cubicBezTo>
                      <a:pt x="17" y="104"/>
                      <a:pt x="14" y="103"/>
                      <a:pt x="12" y="103"/>
                    </a:cubicBezTo>
                    <a:cubicBezTo>
                      <a:pt x="0" y="103"/>
                      <a:pt x="3" y="90"/>
                      <a:pt x="17" y="85"/>
                    </a:cubicBezTo>
                    <a:cubicBezTo>
                      <a:pt x="20" y="83"/>
                      <a:pt x="24" y="80"/>
                      <a:pt x="27" y="77"/>
                    </a:cubicBezTo>
                    <a:cubicBezTo>
                      <a:pt x="31" y="73"/>
                      <a:pt x="33" y="72"/>
                      <a:pt x="38" y="72"/>
                    </a:cubicBezTo>
                    <a:cubicBezTo>
                      <a:pt x="44" y="72"/>
                      <a:pt x="44" y="72"/>
                      <a:pt x="43" y="68"/>
                    </a:cubicBezTo>
                    <a:cubicBezTo>
                      <a:pt x="43" y="66"/>
                      <a:pt x="43" y="64"/>
                      <a:pt x="47" y="61"/>
                    </a:cubicBezTo>
                    <a:cubicBezTo>
                      <a:pt x="49" y="59"/>
                      <a:pt x="51" y="57"/>
                      <a:pt x="51" y="55"/>
                    </a:cubicBezTo>
                    <a:cubicBezTo>
                      <a:pt x="51" y="52"/>
                      <a:pt x="54" y="49"/>
                      <a:pt x="57" y="50"/>
                    </a:cubicBezTo>
                    <a:cubicBezTo>
                      <a:pt x="59" y="50"/>
                      <a:pt x="61" y="50"/>
                      <a:pt x="62" y="50"/>
                    </a:cubicBezTo>
                    <a:cubicBezTo>
                      <a:pt x="62" y="51"/>
                      <a:pt x="65" y="52"/>
                      <a:pt x="68" y="54"/>
                    </a:cubicBezTo>
                    <a:cubicBezTo>
                      <a:pt x="74" y="58"/>
                      <a:pt x="75" y="57"/>
                      <a:pt x="75" y="50"/>
                    </a:cubicBezTo>
                    <a:cubicBezTo>
                      <a:pt x="75" y="48"/>
                      <a:pt x="77" y="44"/>
                      <a:pt x="80" y="40"/>
                    </a:cubicBezTo>
                    <a:cubicBezTo>
                      <a:pt x="83" y="36"/>
                      <a:pt x="85" y="32"/>
                      <a:pt x="85" y="31"/>
                    </a:cubicBezTo>
                    <a:cubicBezTo>
                      <a:pt x="85" y="29"/>
                      <a:pt x="87" y="25"/>
                      <a:pt x="90" y="22"/>
                    </a:cubicBezTo>
                    <a:cubicBezTo>
                      <a:pt x="95" y="17"/>
                      <a:pt x="97" y="16"/>
                      <a:pt x="100" y="17"/>
                    </a:cubicBezTo>
                    <a:cubicBezTo>
                      <a:pt x="103" y="18"/>
                      <a:pt x="104" y="17"/>
                      <a:pt x="105" y="14"/>
                    </a:cubicBezTo>
                    <a:cubicBezTo>
                      <a:pt x="106" y="9"/>
                      <a:pt x="112" y="7"/>
                      <a:pt x="118" y="7"/>
                    </a:cubicBezTo>
                    <a:cubicBezTo>
                      <a:pt x="128" y="9"/>
                      <a:pt x="132" y="9"/>
                      <a:pt x="138" y="6"/>
                    </a:cubicBezTo>
                    <a:cubicBezTo>
                      <a:pt x="145" y="2"/>
                      <a:pt x="156" y="1"/>
                      <a:pt x="160" y="3"/>
                    </a:cubicBezTo>
                    <a:cubicBezTo>
                      <a:pt x="162" y="4"/>
                      <a:pt x="166" y="3"/>
                      <a:pt x="171" y="2"/>
                    </a:cubicBezTo>
                    <a:cubicBezTo>
                      <a:pt x="177" y="0"/>
                      <a:pt x="181" y="0"/>
                      <a:pt x="183" y="1"/>
                    </a:cubicBezTo>
                    <a:cubicBezTo>
                      <a:pt x="185" y="1"/>
                      <a:pt x="190" y="2"/>
                      <a:pt x="194" y="1"/>
                    </a:cubicBezTo>
                    <a:cubicBezTo>
                      <a:pt x="204" y="1"/>
                      <a:pt x="207" y="2"/>
                      <a:pt x="209" y="6"/>
                    </a:cubicBezTo>
                    <a:cubicBezTo>
                      <a:pt x="211" y="11"/>
                      <a:pt x="215" y="13"/>
                      <a:pt x="221" y="14"/>
                    </a:cubicBezTo>
                    <a:cubicBezTo>
                      <a:pt x="227" y="15"/>
                      <a:pt x="229" y="18"/>
                      <a:pt x="231" y="25"/>
                    </a:cubicBezTo>
                    <a:cubicBezTo>
                      <a:pt x="233" y="33"/>
                      <a:pt x="232" y="41"/>
                      <a:pt x="229" y="51"/>
                    </a:cubicBezTo>
                    <a:cubicBezTo>
                      <a:pt x="227" y="59"/>
                      <a:pt x="226" y="62"/>
                      <a:pt x="222" y="65"/>
                    </a:cubicBezTo>
                    <a:cubicBezTo>
                      <a:pt x="219" y="67"/>
                      <a:pt x="217" y="69"/>
                      <a:pt x="216" y="69"/>
                    </a:cubicBezTo>
                    <a:cubicBezTo>
                      <a:pt x="213" y="69"/>
                      <a:pt x="206" y="78"/>
                      <a:pt x="202" y="86"/>
                    </a:cubicBezTo>
                    <a:cubicBezTo>
                      <a:pt x="200" y="90"/>
                      <a:pt x="198" y="94"/>
                      <a:pt x="198" y="94"/>
                    </a:cubicBezTo>
                    <a:cubicBezTo>
                      <a:pt x="198" y="96"/>
                      <a:pt x="205" y="89"/>
                      <a:pt x="207" y="86"/>
                    </a:cubicBezTo>
                    <a:cubicBezTo>
                      <a:pt x="207" y="84"/>
                      <a:pt x="210" y="81"/>
                      <a:pt x="212" y="80"/>
                    </a:cubicBezTo>
                    <a:cubicBezTo>
                      <a:pt x="215" y="78"/>
                      <a:pt x="217" y="76"/>
                      <a:pt x="217" y="76"/>
                    </a:cubicBezTo>
                    <a:cubicBezTo>
                      <a:pt x="217" y="74"/>
                      <a:pt x="223" y="74"/>
                      <a:pt x="224" y="76"/>
                    </a:cubicBezTo>
                    <a:cubicBezTo>
                      <a:pt x="225" y="77"/>
                      <a:pt x="225" y="81"/>
                      <a:pt x="225" y="85"/>
                    </a:cubicBezTo>
                    <a:cubicBezTo>
                      <a:pt x="225" y="91"/>
                      <a:pt x="224" y="95"/>
                      <a:pt x="222" y="99"/>
                    </a:cubicBezTo>
                    <a:cubicBezTo>
                      <a:pt x="216" y="107"/>
                      <a:pt x="212" y="116"/>
                      <a:pt x="213" y="118"/>
                    </a:cubicBezTo>
                    <a:cubicBezTo>
                      <a:pt x="213" y="118"/>
                      <a:pt x="210" y="126"/>
                      <a:pt x="207" y="134"/>
                    </a:cubicBezTo>
                    <a:cubicBezTo>
                      <a:pt x="203" y="142"/>
                      <a:pt x="199" y="151"/>
                      <a:pt x="198" y="153"/>
                    </a:cubicBezTo>
                    <a:cubicBezTo>
                      <a:pt x="197" y="157"/>
                      <a:pt x="194" y="172"/>
                      <a:pt x="193" y="180"/>
                    </a:cubicBezTo>
                    <a:cubicBezTo>
                      <a:pt x="193" y="188"/>
                      <a:pt x="186" y="194"/>
                      <a:pt x="179" y="193"/>
                    </a:cubicBezTo>
                    <a:cubicBezTo>
                      <a:pt x="175" y="193"/>
                      <a:pt x="175" y="193"/>
                      <a:pt x="174" y="198"/>
                    </a:cubicBezTo>
                    <a:cubicBezTo>
                      <a:pt x="173" y="200"/>
                      <a:pt x="172" y="204"/>
                      <a:pt x="170" y="206"/>
                    </a:cubicBezTo>
                    <a:cubicBezTo>
                      <a:pt x="167" y="209"/>
                      <a:pt x="155" y="214"/>
                      <a:pt x="154" y="213"/>
                    </a:cubicBezTo>
                    <a:cubicBezTo>
                      <a:pt x="154" y="212"/>
                      <a:pt x="152" y="213"/>
                      <a:pt x="151" y="215"/>
                    </a:cubicBezTo>
                    <a:cubicBezTo>
                      <a:pt x="148" y="218"/>
                      <a:pt x="148" y="218"/>
                      <a:pt x="151" y="220"/>
                    </a:cubicBezTo>
                    <a:cubicBezTo>
                      <a:pt x="155" y="223"/>
                      <a:pt x="155" y="228"/>
                      <a:pt x="152" y="232"/>
                    </a:cubicBezTo>
                    <a:cubicBezTo>
                      <a:pt x="150" y="234"/>
                      <a:pt x="150" y="235"/>
                      <a:pt x="152" y="235"/>
                    </a:cubicBezTo>
                    <a:cubicBezTo>
                      <a:pt x="153" y="235"/>
                      <a:pt x="154" y="235"/>
                      <a:pt x="155" y="235"/>
                    </a:cubicBezTo>
                    <a:cubicBezTo>
                      <a:pt x="156" y="235"/>
                      <a:pt x="158" y="236"/>
                      <a:pt x="159" y="236"/>
                    </a:cubicBezTo>
                    <a:cubicBezTo>
                      <a:pt x="160" y="236"/>
                      <a:pt x="163" y="238"/>
                      <a:pt x="166" y="240"/>
                    </a:cubicBezTo>
                    <a:cubicBezTo>
                      <a:pt x="171" y="246"/>
                      <a:pt x="172" y="256"/>
                      <a:pt x="167" y="259"/>
                    </a:cubicBezTo>
                    <a:cubicBezTo>
                      <a:pt x="163" y="261"/>
                      <a:pt x="163" y="263"/>
                      <a:pt x="168" y="266"/>
                    </a:cubicBezTo>
                    <a:cubicBezTo>
                      <a:pt x="170" y="268"/>
                      <a:pt x="171" y="270"/>
                      <a:pt x="171" y="271"/>
                    </a:cubicBezTo>
                    <a:cubicBezTo>
                      <a:pt x="171" y="273"/>
                      <a:pt x="170" y="275"/>
                      <a:pt x="168" y="275"/>
                    </a:cubicBezTo>
                    <a:cubicBezTo>
                      <a:pt x="165" y="276"/>
                      <a:pt x="164" y="277"/>
                      <a:pt x="164" y="280"/>
                    </a:cubicBezTo>
                    <a:cubicBezTo>
                      <a:pt x="164" y="287"/>
                      <a:pt x="158" y="294"/>
                      <a:pt x="151" y="294"/>
                    </a:cubicBezTo>
                    <a:cubicBezTo>
                      <a:pt x="146" y="295"/>
                      <a:pt x="146" y="295"/>
                      <a:pt x="146" y="295"/>
                    </a:cubicBezTo>
                    <a:cubicBezTo>
                      <a:pt x="147" y="305"/>
                      <a:pt x="147" y="305"/>
                      <a:pt x="147" y="305"/>
                    </a:cubicBezTo>
                    <a:cubicBezTo>
                      <a:pt x="147" y="315"/>
                      <a:pt x="147" y="316"/>
                      <a:pt x="144" y="320"/>
                    </a:cubicBezTo>
                    <a:cubicBezTo>
                      <a:pt x="135" y="329"/>
                      <a:pt x="135" y="329"/>
                      <a:pt x="138" y="333"/>
                    </a:cubicBezTo>
                    <a:cubicBezTo>
                      <a:pt x="139" y="335"/>
                      <a:pt x="142" y="338"/>
                      <a:pt x="145" y="339"/>
                    </a:cubicBezTo>
                    <a:cubicBezTo>
                      <a:pt x="147" y="340"/>
                      <a:pt x="150" y="342"/>
                      <a:pt x="151" y="343"/>
                    </a:cubicBezTo>
                    <a:cubicBezTo>
                      <a:pt x="153" y="346"/>
                      <a:pt x="152" y="353"/>
                      <a:pt x="149" y="361"/>
                    </a:cubicBezTo>
                    <a:cubicBezTo>
                      <a:pt x="143" y="375"/>
                      <a:pt x="122" y="388"/>
                      <a:pt x="120" y="3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6" name="Freeform 36">
                <a:extLst>
                  <a:ext uri="{FF2B5EF4-FFF2-40B4-BE49-F238E27FC236}">
                    <a16:creationId xmlns:a16="http://schemas.microsoft.com/office/drawing/2014/main" id="{DA63C55C-7007-4AB9-9714-330011C3E621}"/>
                  </a:ext>
                </a:extLst>
              </p:cNvPr>
              <p:cNvSpPr>
                <a:spLocks/>
              </p:cNvSpPr>
              <p:nvPr/>
            </p:nvSpPr>
            <p:spPr bwMode="auto">
              <a:xfrm>
                <a:off x="3952145" y="-277454"/>
                <a:ext cx="77023" cy="117461"/>
              </a:xfrm>
              <a:custGeom>
                <a:avLst/>
                <a:gdLst>
                  <a:gd name="T0" fmla="*/ 5 w 17"/>
                  <a:gd name="T1" fmla="*/ 23 h 26"/>
                  <a:gd name="T2" fmla="*/ 3 w 17"/>
                  <a:gd name="T3" fmla="*/ 5 h 26"/>
                  <a:gd name="T4" fmla="*/ 11 w 17"/>
                  <a:gd name="T5" fmla="*/ 5 h 26"/>
                  <a:gd name="T6" fmla="*/ 11 w 17"/>
                  <a:gd name="T7" fmla="*/ 25 h 26"/>
                  <a:gd name="T8" fmla="*/ 5 w 17"/>
                  <a:gd name="T9" fmla="*/ 23 h 26"/>
                </a:gdLst>
                <a:ahLst/>
                <a:cxnLst>
                  <a:cxn ang="0">
                    <a:pos x="T0" y="T1"/>
                  </a:cxn>
                  <a:cxn ang="0">
                    <a:pos x="T2" y="T3"/>
                  </a:cxn>
                  <a:cxn ang="0">
                    <a:pos x="T4" y="T5"/>
                  </a:cxn>
                  <a:cxn ang="0">
                    <a:pos x="T6" y="T7"/>
                  </a:cxn>
                  <a:cxn ang="0">
                    <a:pos x="T8" y="T9"/>
                  </a:cxn>
                </a:cxnLst>
                <a:rect l="0" t="0" r="r" b="b"/>
                <a:pathLst>
                  <a:path w="17" h="26">
                    <a:moveTo>
                      <a:pt x="5" y="23"/>
                    </a:moveTo>
                    <a:cubicBezTo>
                      <a:pt x="1" y="19"/>
                      <a:pt x="0" y="13"/>
                      <a:pt x="3" y="5"/>
                    </a:cubicBezTo>
                    <a:cubicBezTo>
                      <a:pt x="5" y="0"/>
                      <a:pt x="7" y="0"/>
                      <a:pt x="11" y="5"/>
                    </a:cubicBezTo>
                    <a:cubicBezTo>
                      <a:pt x="16" y="13"/>
                      <a:pt x="17" y="22"/>
                      <a:pt x="11" y="25"/>
                    </a:cubicBezTo>
                    <a:cubicBezTo>
                      <a:pt x="9" y="26"/>
                      <a:pt x="8" y="26"/>
                      <a:pt x="5" y="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7" name="Freeform 37">
                <a:extLst>
                  <a:ext uri="{FF2B5EF4-FFF2-40B4-BE49-F238E27FC236}">
                    <a16:creationId xmlns:a16="http://schemas.microsoft.com/office/drawing/2014/main" id="{F5CC7A22-11BD-463E-B692-D28FD0F501D8}"/>
                  </a:ext>
                </a:extLst>
              </p:cNvPr>
              <p:cNvSpPr>
                <a:spLocks/>
              </p:cNvSpPr>
              <p:nvPr/>
            </p:nvSpPr>
            <p:spPr bwMode="auto">
              <a:xfrm>
                <a:off x="4398880" y="-287082"/>
                <a:ext cx="167526" cy="117461"/>
              </a:xfrm>
              <a:custGeom>
                <a:avLst/>
                <a:gdLst>
                  <a:gd name="T0" fmla="*/ 11 w 37"/>
                  <a:gd name="T1" fmla="*/ 23 h 26"/>
                  <a:gd name="T2" fmla="*/ 7 w 37"/>
                  <a:gd name="T3" fmla="*/ 6 h 26"/>
                  <a:gd name="T4" fmla="*/ 29 w 37"/>
                  <a:gd name="T5" fmla="*/ 4 h 26"/>
                  <a:gd name="T6" fmla="*/ 29 w 37"/>
                  <a:gd name="T7" fmla="*/ 22 h 26"/>
                  <a:gd name="T8" fmla="*/ 11 w 37"/>
                  <a:gd name="T9" fmla="*/ 23 h 26"/>
                </a:gdLst>
                <a:ahLst/>
                <a:cxnLst>
                  <a:cxn ang="0">
                    <a:pos x="T0" y="T1"/>
                  </a:cxn>
                  <a:cxn ang="0">
                    <a:pos x="T2" y="T3"/>
                  </a:cxn>
                  <a:cxn ang="0">
                    <a:pos x="T4" y="T5"/>
                  </a:cxn>
                  <a:cxn ang="0">
                    <a:pos x="T6" y="T7"/>
                  </a:cxn>
                  <a:cxn ang="0">
                    <a:pos x="T8" y="T9"/>
                  </a:cxn>
                </a:cxnLst>
                <a:rect l="0" t="0" r="r" b="b"/>
                <a:pathLst>
                  <a:path w="37" h="26">
                    <a:moveTo>
                      <a:pt x="11" y="23"/>
                    </a:moveTo>
                    <a:cubicBezTo>
                      <a:pt x="1" y="18"/>
                      <a:pt x="0" y="13"/>
                      <a:pt x="7" y="6"/>
                    </a:cubicBezTo>
                    <a:cubicBezTo>
                      <a:pt x="14" y="1"/>
                      <a:pt x="21" y="0"/>
                      <a:pt x="29" y="4"/>
                    </a:cubicBezTo>
                    <a:cubicBezTo>
                      <a:pt x="37" y="9"/>
                      <a:pt x="37" y="16"/>
                      <a:pt x="29" y="22"/>
                    </a:cubicBezTo>
                    <a:cubicBezTo>
                      <a:pt x="24" y="26"/>
                      <a:pt x="17" y="26"/>
                      <a:pt x="11" y="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8" name="Freeform 38">
                <a:extLst>
                  <a:ext uri="{FF2B5EF4-FFF2-40B4-BE49-F238E27FC236}">
                    <a16:creationId xmlns:a16="http://schemas.microsoft.com/office/drawing/2014/main" id="{D4D173E0-1D68-430A-BA8E-6EE2EBF671EF}"/>
                  </a:ext>
                </a:extLst>
              </p:cNvPr>
              <p:cNvSpPr>
                <a:spLocks/>
              </p:cNvSpPr>
              <p:nvPr/>
            </p:nvSpPr>
            <p:spPr bwMode="auto">
              <a:xfrm>
                <a:off x="4319931" y="-510449"/>
                <a:ext cx="165600" cy="232996"/>
              </a:xfrm>
              <a:custGeom>
                <a:avLst/>
                <a:gdLst>
                  <a:gd name="T0" fmla="*/ 16 w 36"/>
                  <a:gd name="T1" fmla="*/ 48 h 51"/>
                  <a:gd name="T2" fmla="*/ 10 w 36"/>
                  <a:gd name="T3" fmla="*/ 38 h 51"/>
                  <a:gd name="T4" fmla="*/ 7 w 36"/>
                  <a:gd name="T5" fmla="*/ 31 h 51"/>
                  <a:gd name="T6" fmla="*/ 1 w 36"/>
                  <a:gd name="T7" fmla="*/ 13 h 51"/>
                  <a:gd name="T8" fmla="*/ 11 w 36"/>
                  <a:gd name="T9" fmla="*/ 2 h 51"/>
                  <a:gd name="T10" fmla="*/ 23 w 36"/>
                  <a:gd name="T11" fmla="*/ 8 h 51"/>
                  <a:gd name="T12" fmla="*/ 32 w 36"/>
                  <a:gd name="T13" fmla="*/ 14 h 51"/>
                  <a:gd name="T14" fmla="*/ 36 w 36"/>
                  <a:gd name="T15" fmla="*/ 31 h 51"/>
                  <a:gd name="T16" fmla="*/ 36 w 36"/>
                  <a:gd name="T17" fmla="*/ 40 h 51"/>
                  <a:gd name="T18" fmla="*/ 30 w 36"/>
                  <a:gd name="T19" fmla="*/ 46 h 51"/>
                  <a:gd name="T20" fmla="*/ 16 w 36"/>
                  <a:gd name="T2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51">
                    <a:moveTo>
                      <a:pt x="16" y="48"/>
                    </a:moveTo>
                    <a:cubicBezTo>
                      <a:pt x="11" y="46"/>
                      <a:pt x="9" y="42"/>
                      <a:pt x="10" y="38"/>
                    </a:cubicBezTo>
                    <a:cubicBezTo>
                      <a:pt x="10" y="37"/>
                      <a:pt x="9" y="34"/>
                      <a:pt x="7" y="31"/>
                    </a:cubicBezTo>
                    <a:cubicBezTo>
                      <a:pt x="1" y="25"/>
                      <a:pt x="0" y="21"/>
                      <a:pt x="1" y="13"/>
                    </a:cubicBezTo>
                    <a:cubicBezTo>
                      <a:pt x="2" y="5"/>
                      <a:pt x="6" y="0"/>
                      <a:pt x="11" y="2"/>
                    </a:cubicBezTo>
                    <a:cubicBezTo>
                      <a:pt x="13" y="2"/>
                      <a:pt x="18" y="5"/>
                      <a:pt x="23" y="8"/>
                    </a:cubicBezTo>
                    <a:cubicBezTo>
                      <a:pt x="27" y="11"/>
                      <a:pt x="32" y="14"/>
                      <a:pt x="32" y="14"/>
                    </a:cubicBezTo>
                    <a:cubicBezTo>
                      <a:pt x="34" y="14"/>
                      <a:pt x="36" y="22"/>
                      <a:pt x="36" y="31"/>
                    </a:cubicBezTo>
                    <a:cubicBezTo>
                      <a:pt x="36" y="40"/>
                      <a:pt x="36" y="40"/>
                      <a:pt x="36" y="40"/>
                    </a:cubicBezTo>
                    <a:cubicBezTo>
                      <a:pt x="30" y="46"/>
                      <a:pt x="30" y="46"/>
                      <a:pt x="30" y="46"/>
                    </a:cubicBezTo>
                    <a:cubicBezTo>
                      <a:pt x="22" y="51"/>
                      <a:pt x="22" y="51"/>
                      <a:pt x="16" y="4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9" name="Freeform 39">
                <a:extLst>
                  <a:ext uri="{FF2B5EF4-FFF2-40B4-BE49-F238E27FC236}">
                    <a16:creationId xmlns:a16="http://schemas.microsoft.com/office/drawing/2014/main" id="{46F2D9AE-7651-43AE-9975-0159E8897E1B}"/>
                  </a:ext>
                </a:extLst>
              </p:cNvPr>
              <p:cNvSpPr>
                <a:spLocks/>
              </p:cNvSpPr>
              <p:nvPr/>
            </p:nvSpPr>
            <p:spPr bwMode="auto">
              <a:xfrm>
                <a:off x="4019541" y="-674123"/>
                <a:ext cx="292688" cy="387042"/>
              </a:xfrm>
              <a:custGeom>
                <a:avLst/>
                <a:gdLst>
                  <a:gd name="T0" fmla="*/ 51 w 64"/>
                  <a:gd name="T1" fmla="*/ 82 h 85"/>
                  <a:gd name="T2" fmla="*/ 43 w 64"/>
                  <a:gd name="T3" fmla="*/ 73 h 85"/>
                  <a:gd name="T4" fmla="*/ 21 w 64"/>
                  <a:gd name="T5" fmla="*/ 61 h 85"/>
                  <a:gd name="T6" fmla="*/ 9 w 64"/>
                  <a:gd name="T7" fmla="*/ 57 h 85"/>
                  <a:gd name="T8" fmla="*/ 6 w 64"/>
                  <a:gd name="T9" fmla="*/ 43 h 85"/>
                  <a:gd name="T10" fmla="*/ 10 w 64"/>
                  <a:gd name="T11" fmla="*/ 40 h 85"/>
                  <a:gd name="T12" fmla="*/ 14 w 64"/>
                  <a:gd name="T13" fmla="*/ 37 h 85"/>
                  <a:gd name="T14" fmla="*/ 16 w 64"/>
                  <a:gd name="T15" fmla="*/ 29 h 85"/>
                  <a:gd name="T16" fmla="*/ 9 w 64"/>
                  <a:gd name="T17" fmla="*/ 20 h 85"/>
                  <a:gd name="T18" fmla="*/ 16 w 64"/>
                  <a:gd name="T19" fmla="*/ 0 h 85"/>
                  <a:gd name="T20" fmla="*/ 30 w 64"/>
                  <a:gd name="T21" fmla="*/ 10 h 85"/>
                  <a:gd name="T22" fmla="*/ 35 w 64"/>
                  <a:gd name="T23" fmla="*/ 15 h 85"/>
                  <a:gd name="T24" fmla="*/ 49 w 64"/>
                  <a:gd name="T25" fmla="*/ 28 h 85"/>
                  <a:gd name="T26" fmla="*/ 54 w 64"/>
                  <a:gd name="T27" fmla="*/ 37 h 85"/>
                  <a:gd name="T28" fmla="*/ 58 w 64"/>
                  <a:gd name="T29" fmla="*/ 50 h 85"/>
                  <a:gd name="T30" fmla="*/ 60 w 64"/>
                  <a:gd name="T31" fmla="*/ 66 h 85"/>
                  <a:gd name="T32" fmla="*/ 64 w 64"/>
                  <a:gd name="T33" fmla="*/ 73 h 85"/>
                  <a:gd name="T34" fmla="*/ 57 w 64"/>
                  <a:gd name="T35" fmla="*/ 84 h 85"/>
                  <a:gd name="T36" fmla="*/ 51 w 64"/>
                  <a:gd name="T37" fmla="*/ 8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85">
                    <a:moveTo>
                      <a:pt x="51" y="82"/>
                    </a:moveTo>
                    <a:cubicBezTo>
                      <a:pt x="49" y="80"/>
                      <a:pt x="46" y="76"/>
                      <a:pt x="43" y="73"/>
                    </a:cubicBezTo>
                    <a:cubicBezTo>
                      <a:pt x="34" y="63"/>
                      <a:pt x="30" y="61"/>
                      <a:pt x="21" y="61"/>
                    </a:cubicBezTo>
                    <a:cubicBezTo>
                      <a:pt x="14" y="61"/>
                      <a:pt x="13" y="61"/>
                      <a:pt x="9" y="57"/>
                    </a:cubicBezTo>
                    <a:cubicBezTo>
                      <a:pt x="4" y="53"/>
                      <a:pt x="3" y="47"/>
                      <a:pt x="6" y="43"/>
                    </a:cubicBezTo>
                    <a:cubicBezTo>
                      <a:pt x="7" y="41"/>
                      <a:pt x="8" y="40"/>
                      <a:pt x="10" y="40"/>
                    </a:cubicBezTo>
                    <a:cubicBezTo>
                      <a:pt x="11" y="40"/>
                      <a:pt x="13" y="39"/>
                      <a:pt x="14" y="37"/>
                    </a:cubicBezTo>
                    <a:cubicBezTo>
                      <a:pt x="17" y="35"/>
                      <a:pt x="17" y="34"/>
                      <a:pt x="16" y="29"/>
                    </a:cubicBezTo>
                    <a:cubicBezTo>
                      <a:pt x="15" y="26"/>
                      <a:pt x="12" y="22"/>
                      <a:pt x="9" y="20"/>
                    </a:cubicBezTo>
                    <a:cubicBezTo>
                      <a:pt x="0" y="12"/>
                      <a:pt x="4" y="0"/>
                      <a:pt x="16" y="0"/>
                    </a:cubicBezTo>
                    <a:cubicBezTo>
                      <a:pt x="22" y="0"/>
                      <a:pt x="30" y="6"/>
                      <a:pt x="30" y="10"/>
                    </a:cubicBezTo>
                    <a:cubicBezTo>
                      <a:pt x="30" y="13"/>
                      <a:pt x="32" y="15"/>
                      <a:pt x="35" y="15"/>
                    </a:cubicBezTo>
                    <a:cubicBezTo>
                      <a:pt x="39" y="16"/>
                      <a:pt x="45" y="22"/>
                      <a:pt x="49" y="28"/>
                    </a:cubicBezTo>
                    <a:cubicBezTo>
                      <a:pt x="50" y="31"/>
                      <a:pt x="53" y="35"/>
                      <a:pt x="54" y="37"/>
                    </a:cubicBezTo>
                    <a:cubicBezTo>
                      <a:pt x="59" y="42"/>
                      <a:pt x="60" y="44"/>
                      <a:pt x="58" y="50"/>
                    </a:cubicBezTo>
                    <a:cubicBezTo>
                      <a:pt x="55" y="59"/>
                      <a:pt x="55" y="60"/>
                      <a:pt x="60" y="66"/>
                    </a:cubicBezTo>
                    <a:cubicBezTo>
                      <a:pt x="62" y="68"/>
                      <a:pt x="64" y="72"/>
                      <a:pt x="64" y="73"/>
                    </a:cubicBezTo>
                    <a:cubicBezTo>
                      <a:pt x="64" y="77"/>
                      <a:pt x="61" y="82"/>
                      <a:pt x="57" y="84"/>
                    </a:cubicBezTo>
                    <a:cubicBezTo>
                      <a:pt x="55" y="85"/>
                      <a:pt x="54" y="85"/>
                      <a:pt x="51" y="8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0" name="Freeform 40">
                <a:extLst>
                  <a:ext uri="{FF2B5EF4-FFF2-40B4-BE49-F238E27FC236}">
                    <a16:creationId xmlns:a16="http://schemas.microsoft.com/office/drawing/2014/main" id="{E2F06DE0-38B9-48CA-8019-625F5709340D}"/>
                  </a:ext>
                </a:extLst>
              </p:cNvPr>
              <p:cNvSpPr>
                <a:spLocks/>
              </p:cNvSpPr>
              <p:nvPr/>
            </p:nvSpPr>
            <p:spPr bwMode="auto">
              <a:xfrm>
                <a:off x="4439317" y="-1124709"/>
                <a:ext cx="487173" cy="783712"/>
              </a:xfrm>
              <a:custGeom>
                <a:avLst/>
                <a:gdLst>
                  <a:gd name="T0" fmla="*/ 40 w 107"/>
                  <a:gd name="T1" fmla="*/ 166 h 172"/>
                  <a:gd name="T2" fmla="*/ 34 w 107"/>
                  <a:gd name="T3" fmla="*/ 157 h 172"/>
                  <a:gd name="T4" fmla="*/ 29 w 107"/>
                  <a:gd name="T5" fmla="*/ 150 h 172"/>
                  <a:gd name="T6" fmla="*/ 19 w 107"/>
                  <a:gd name="T7" fmla="*/ 129 h 172"/>
                  <a:gd name="T8" fmla="*/ 30 w 107"/>
                  <a:gd name="T9" fmla="*/ 118 h 172"/>
                  <a:gd name="T10" fmla="*/ 39 w 107"/>
                  <a:gd name="T11" fmla="*/ 111 h 172"/>
                  <a:gd name="T12" fmla="*/ 29 w 107"/>
                  <a:gd name="T13" fmla="*/ 106 h 172"/>
                  <a:gd name="T14" fmla="*/ 21 w 107"/>
                  <a:gd name="T15" fmla="*/ 107 h 172"/>
                  <a:gd name="T16" fmla="*/ 6 w 107"/>
                  <a:gd name="T17" fmla="*/ 103 h 172"/>
                  <a:gd name="T18" fmla="*/ 7 w 107"/>
                  <a:gd name="T19" fmla="*/ 96 h 172"/>
                  <a:gd name="T20" fmla="*/ 8 w 107"/>
                  <a:gd name="T21" fmla="*/ 92 h 172"/>
                  <a:gd name="T22" fmla="*/ 3 w 107"/>
                  <a:gd name="T23" fmla="*/ 89 h 172"/>
                  <a:gd name="T24" fmla="*/ 2 w 107"/>
                  <a:gd name="T25" fmla="*/ 73 h 172"/>
                  <a:gd name="T26" fmla="*/ 9 w 107"/>
                  <a:gd name="T27" fmla="*/ 68 h 172"/>
                  <a:gd name="T28" fmla="*/ 14 w 107"/>
                  <a:gd name="T29" fmla="*/ 65 h 172"/>
                  <a:gd name="T30" fmla="*/ 9 w 107"/>
                  <a:gd name="T31" fmla="*/ 58 h 172"/>
                  <a:gd name="T32" fmla="*/ 5 w 107"/>
                  <a:gd name="T33" fmla="*/ 50 h 172"/>
                  <a:gd name="T34" fmla="*/ 14 w 107"/>
                  <a:gd name="T35" fmla="*/ 42 h 172"/>
                  <a:gd name="T36" fmla="*/ 17 w 107"/>
                  <a:gd name="T37" fmla="*/ 32 h 172"/>
                  <a:gd name="T38" fmla="*/ 12 w 107"/>
                  <a:gd name="T39" fmla="*/ 27 h 172"/>
                  <a:gd name="T40" fmla="*/ 15 w 107"/>
                  <a:gd name="T41" fmla="*/ 21 h 172"/>
                  <a:gd name="T42" fmla="*/ 22 w 107"/>
                  <a:gd name="T43" fmla="*/ 14 h 172"/>
                  <a:gd name="T44" fmla="*/ 26 w 107"/>
                  <a:gd name="T45" fmla="*/ 6 h 172"/>
                  <a:gd name="T46" fmla="*/ 32 w 107"/>
                  <a:gd name="T47" fmla="*/ 0 h 172"/>
                  <a:gd name="T48" fmla="*/ 47 w 107"/>
                  <a:gd name="T49" fmla="*/ 9 h 172"/>
                  <a:gd name="T50" fmla="*/ 54 w 107"/>
                  <a:gd name="T51" fmla="*/ 25 h 172"/>
                  <a:gd name="T52" fmla="*/ 66 w 107"/>
                  <a:gd name="T53" fmla="*/ 44 h 172"/>
                  <a:gd name="T54" fmla="*/ 73 w 107"/>
                  <a:gd name="T55" fmla="*/ 55 h 172"/>
                  <a:gd name="T56" fmla="*/ 80 w 107"/>
                  <a:gd name="T57" fmla="*/ 67 h 172"/>
                  <a:gd name="T58" fmla="*/ 87 w 107"/>
                  <a:gd name="T59" fmla="*/ 81 h 172"/>
                  <a:gd name="T60" fmla="*/ 101 w 107"/>
                  <a:gd name="T61" fmla="*/ 99 h 172"/>
                  <a:gd name="T62" fmla="*/ 107 w 107"/>
                  <a:gd name="T63" fmla="*/ 110 h 172"/>
                  <a:gd name="T64" fmla="*/ 98 w 107"/>
                  <a:gd name="T65" fmla="*/ 127 h 172"/>
                  <a:gd name="T66" fmla="*/ 86 w 107"/>
                  <a:gd name="T67" fmla="*/ 140 h 172"/>
                  <a:gd name="T68" fmla="*/ 83 w 107"/>
                  <a:gd name="T69" fmla="*/ 146 h 172"/>
                  <a:gd name="T70" fmla="*/ 77 w 107"/>
                  <a:gd name="T71" fmla="*/ 156 h 172"/>
                  <a:gd name="T72" fmla="*/ 65 w 107"/>
                  <a:gd name="T73" fmla="*/ 162 h 172"/>
                  <a:gd name="T74" fmla="*/ 61 w 107"/>
                  <a:gd name="T75" fmla="*/ 166 h 172"/>
                  <a:gd name="T76" fmla="*/ 53 w 107"/>
                  <a:gd name="T77" fmla="*/ 171 h 172"/>
                  <a:gd name="T78" fmla="*/ 40 w 107"/>
                  <a:gd name="T79" fmla="*/ 16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7" h="172">
                    <a:moveTo>
                      <a:pt x="40" y="166"/>
                    </a:moveTo>
                    <a:cubicBezTo>
                      <a:pt x="37" y="162"/>
                      <a:pt x="34" y="158"/>
                      <a:pt x="34" y="157"/>
                    </a:cubicBezTo>
                    <a:cubicBezTo>
                      <a:pt x="33" y="155"/>
                      <a:pt x="31" y="153"/>
                      <a:pt x="29" y="150"/>
                    </a:cubicBezTo>
                    <a:cubicBezTo>
                      <a:pt x="24" y="145"/>
                      <a:pt x="19" y="134"/>
                      <a:pt x="19" y="129"/>
                    </a:cubicBezTo>
                    <a:cubicBezTo>
                      <a:pt x="19" y="123"/>
                      <a:pt x="24" y="118"/>
                      <a:pt x="30" y="118"/>
                    </a:cubicBezTo>
                    <a:cubicBezTo>
                      <a:pt x="33" y="118"/>
                      <a:pt x="39" y="114"/>
                      <a:pt x="39" y="111"/>
                    </a:cubicBezTo>
                    <a:cubicBezTo>
                      <a:pt x="39" y="109"/>
                      <a:pt x="32" y="106"/>
                      <a:pt x="29" y="106"/>
                    </a:cubicBezTo>
                    <a:cubicBezTo>
                      <a:pt x="29" y="106"/>
                      <a:pt x="25" y="106"/>
                      <a:pt x="21" y="107"/>
                    </a:cubicBezTo>
                    <a:cubicBezTo>
                      <a:pt x="13" y="108"/>
                      <a:pt x="8" y="107"/>
                      <a:pt x="6" y="103"/>
                    </a:cubicBezTo>
                    <a:cubicBezTo>
                      <a:pt x="5" y="101"/>
                      <a:pt x="5" y="99"/>
                      <a:pt x="7" y="96"/>
                    </a:cubicBezTo>
                    <a:cubicBezTo>
                      <a:pt x="8" y="94"/>
                      <a:pt x="8" y="92"/>
                      <a:pt x="8" y="92"/>
                    </a:cubicBezTo>
                    <a:cubicBezTo>
                      <a:pt x="7" y="92"/>
                      <a:pt x="5" y="91"/>
                      <a:pt x="3" y="89"/>
                    </a:cubicBezTo>
                    <a:cubicBezTo>
                      <a:pt x="0" y="86"/>
                      <a:pt x="0" y="79"/>
                      <a:pt x="2" y="73"/>
                    </a:cubicBezTo>
                    <a:cubicBezTo>
                      <a:pt x="3" y="69"/>
                      <a:pt x="4" y="68"/>
                      <a:pt x="9" y="68"/>
                    </a:cubicBezTo>
                    <a:cubicBezTo>
                      <a:pt x="14" y="68"/>
                      <a:pt x="15" y="68"/>
                      <a:pt x="14" y="65"/>
                    </a:cubicBezTo>
                    <a:cubicBezTo>
                      <a:pt x="13" y="63"/>
                      <a:pt x="11" y="60"/>
                      <a:pt x="9" y="58"/>
                    </a:cubicBezTo>
                    <a:cubicBezTo>
                      <a:pt x="5" y="55"/>
                      <a:pt x="4" y="54"/>
                      <a:pt x="5" y="50"/>
                    </a:cubicBezTo>
                    <a:cubicBezTo>
                      <a:pt x="6" y="45"/>
                      <a:pt x="9" y="42"/>
                      <a:pt x="14" y="42"/>
                    </a:cubicBezTo>
                    <a:cubicBezTo>
                      <a:pt x="23" y="40"/>
                      <a:pt x="23" y="39"/>
                      <a:pt x="17" y="32"/>
                    </a:cubicBezTo>
                    <a:cubicBezTo>
                      <a:pt x="12" y="27"/>
                      <a:pt x="12" y="27"/>
                      <a:pt x="12" y="27"/>
                    </a:cubicBezTo>
                    <a:cubicBezTo>
                      <a:pt x="15" y="21"/>
                      <a:pt x="15" y="21"/>
                      <a:pt x="15" y="21"/>
                    </a:cubicBezTo>
                    <a:cubicBezTo>
                      <a:pt x="16" y="18"/>
                      <a:pt x="19" y="15"/>
                      <a:pt x="22" y="14"/>
                    </a:cubicBezTo>
                    <a:cubicBezTo>
                      <a:pt x="25" y="12"/>
                      <a:pt x="26" y="10"/>
                      <a:pt x="26" y="6"/>
                    </a:cubicBezTo>
                    <a:cubicBezTo>
                      <a:pt x="27" y="1"/>
                      <a:pt x="27" y="1"/>
                      <a:pt x="32" y="0"/>
                    </a:cubicBezTo>
                    <a:cubicBezTo>
                      <a:pt x="37" y="0"/>
                      <a:pt x="45" y="4"/>
                      <a:pt x="47" y="9"/>
                    </a:cubicBezTo>
                    <a:cubicBezTo>
                      <a:pt x="50" y="15"/>
                      <a:pt x="54" y="24"/>
                      <a:pt x="54" y="25"/>
                    </a:cubicBezTo>
                    <a:cubicBezTo>
                      <a:pt x="54" y="28"/>
                      <a:pt x="60" y="38"/>
                      <a:pt x="66" y="44"/>
                    </a:cubicBezTo>
                    <a:cubicBezTo>
                      <a:pt x="71" y="49"/>
                      <a:pt x="73" y="52"/>
                      <a:pt x="73" y="55"/>
                    </a:cubicBezTo>
                    <a:cubicBezTo>
                      <a:pt x="73" y="59"/>
                      <a:pt x="74" y="62"/>
                      <a:pt x="80" y="67"/>
                    </a:cubicBezTo>
                    <a:cubicBezTo>
                      <a:pt x="86" y="74"/>
                      <a:pt x="87" y="75"/>
                      <a:pt x="87" y="81"/>
                    </a:cubicBezTo>
                    <a:cubicBezTo>
                      <a:pt x="87" y="87"/>
                      <a:pt x="87" y="88"/>
                      <a:pt x="101" y="99"/>
                    </a:cubicBezTo>
                    <a:cubicBezTo>
                      <a:pt x="106" y="103"/>
                      <a:pt x="107" y="104"/>
                      <a:pt x="107" y="110"/>
                    </a:cubicBezTo>
                    <a:cubicBezTo>
                      <a:pt x="107" y="115"/>
                      <a:pt x="105" y="117"/>
                      <a:pt x="98" y="127"/>
                    </a:cubicBezTo>
                    <a:cubicBezTo>
                      <a:pt x="93" y="133"/>
                      <a:pt x="88" y="139"/>
                      <a:pt x="86" y="140"/>
                    </a:cubicBezTo>
                    <a:cubicBezTo>
                      <a:pt x="84" y="141"/>
                      <a:pt x="83" y="143"/>
                      <a:pt x="83" y="146"/>
                    </a:cubicBezTo>
                    <a:cubicBezTo>
                      <a:pt x="83" y="148"/>
                      <a:pt x="80" y="152"/>
                      <a:pt x="77" y="156"/>
                    </a:cubicBezTo>
                    <a:cubicBezTo>
                      <a:pt x="71" y="164"/>
                      <a:pt x="71" y="164"/>
                      <a:pt x="65" y="162"/>
                    </a:cubicBezTo>
                    <a:cubicBezTo>
                      <a:pt x="62" y="161"/>
                      <a:pt x="61" y="162"/>
                      <a:pt x="61" y="166"/>
                    </a:cubicBezTo>
                    <a:cubicBezTo>
                      <a:pt x="61" y="171"/>
                      <a:pt x="60" y="171"/>
                      <a:pt x="53" y="171"/>
                    </a:cubicBezTo>
                    <a:cubicBezTo>
                      <a:pt x="46" y="172"/>
                      <a:pt x="46" y="171"/>
                      <a:pt x="40" y="16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1" name="Freeform 41">
                <a:extLst>
                  <a:ext uri="{FF2B5EF4-FFF2-40B4-BE49-F238E27FC236}">
                    <a16:creationId xmlns:a16="http://schemas.microsoft.com/office/drawing/2014/main" id="{AD84A3CC-3B9E-49A3-96CB-B2A42BB5AA7B}"/>
                  </a:ext>
                </a:extLst>
              </p:cNvPr>
              <p:cNvSpPr>
                <a:spLocks/>
              </p:cNvSpPr>
              <p:nvPr/>
            </p:nvSpPr>
            <p:spPr bwMode="auto">
              <a:xfrm>
                <a:off x="3819280" y="-537408"/>
                <a:ext cx="32735" cy="77023"/>
              </a:xfrm>
              <a:custGeom>
                <a:avLst/>
                <a:gdLst>
                  <a:gd name="T0" fmla="*/ 1 w 7"/>
                  <a:gd name="T1" fmla="*/ 14 h 17"/>
                  <a:gd name="T2" fmla="*/ 3 w 7"/>
                  <a:gd name="T3" fmla="*/ 5 h 17"/>
                  <a:gd name="T4" fmla="*/ 5 w 7"/>
                  <a:gd name="T5" fmla="*/ 0 h 17"/>
                  <a:gd name="T6" fmla="*/ 2 w 7"/>
                  <a:gd name="T7" fmla="*/ 15 h 17"/>
                  <a:gd name="T8" fmla="*/ 1 w 7"/>
                  <a:gd name="T9" fmla="*/ 14 h 17"/>
                </a:gdLst>
                <a:ahLst/>
                <a:cxnLst>
                  <a:cxn ang="0">
                    <a:pos x="T0" y="T1"/>
                  </a:cxn>
                  <a:cxn ang="0">
                    <a:pos x="T2" y="T3"/>
                  </a:cxn>
                  <a:cxn ang="0">
                    <a:pos x="T4" y="T5"/>
                  </a:cxn>
                  <a:cxn ang="0">
                    <a:pos x="T6" y="T7"/>
                  </a:cxn>
                  <a:cxn ang="0">
                    <a:pos x="T8" y="T9"/>
                  </a:cxn>
                </a:cxnLst>
                <a:rect l="0" t="0" r="r" b="b"/>
                <a:pathLst>
                  <a:path w="7" h="17">
                    <a:moveTo>
                      <a:pt x="1" y="14"/>
                    </a:moveTo>
                    <a:cubicBezTo>
                      <a:pt x="1" y="12"/>
                      <a:pt x="2" y="8"/>
                      <a:pt x="3" y="5"/>
                    </a:cubicBezTo>
                    <a:cubicBezTo>
                      <a:pt x="3" y="2"/>
                      <a:pt x="4" y="0"/>
                      <a:pt x="5" y="0"/>
                    </a:cubicBezTo>
                    <a:cubicBezTo>
                      <a:pt x="7" y="0"/>
                      <a:pt x="5" y="13"/>
                      <a:pt x="2" y="15"/>
                    </a:cubicBezTo>
                    <a:cubicBezTo>
                      <a:pt x="0" y="17"/>
                      <a:pt x="0" y="17"/>
                      <a:pt x="1"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2" name="Freeform 42">
                <a:extLst>
                  <a:ext uri="{FF2B5EF4-FFF2-40B4-BE49-F238E27FC236}">
                    <a16:creationId xmlns:a16="http://schemas.microsoft.com/office/drawing/2014/main" id="{3A7836F9-BE2F-4170-A002-1D09444B0B98}"/>
                  </a:ext>
                </a:extLst>
              </p:cNvPr>
              <p:cNvSpPr>
                <a:spLocks/>
              </p:cNvSpPr>
              <p:nvPr/>
            </p:nvSpPr>
            <p:spPr bwMode="auto">
              <a:xfrm>
                <a:off x="4275642" y="-843574"/>
                <a:ext cx="90503" cy="100130"/>
              </a:xfrm>
              <a:custGeom>
                <a:avLst/>
                <a:gdLst>
                  <a:gd name="T0" fmla="*/ 8 w 20"/>
                  <a:gd name="T1" fmla="*/ 20 h 22"/>
                  <a:gd name="T2" fmla="*/ 1 w 20"/>
                  <a:gd name="T3" fmla="*/ 7 h 22"/>
                  <a:gd name="T4" fmla="*/ 8 w 20"/>
                  <a:gd name="T5" fmla="*/ 0 h 22"/>
                  <a:gd name="T6" fmla="*/ 16 w 20"/>
                  <a:gd name="T7" fmla="*/ 6 h 22"/>
                  <a:gd name="T8" fmla="*/ 17 w 20"/>
                  <a:gd name="T9" fmla="*/ 19 h 22"/>
                  <a:gd name="T10" fmla="*/ 8 w 20"/>
                  <a:gd name="T11" fmla="*/ 20 h 22"/>
                </a:gdLst>
                <a:ahLst/>
                <a:cxnLst>
                  <a:cxn ang="0">
                    <a:pos x="T0" y="T1"/>
                  </a:cxn>
                  <a:cxn ang="0">
                    <a:pos x="T2" y="T3"/>
                  </a:cxn>
                  <a:cxn ang="0">
                    <a:pos x="T4" y="T5"/>
                  </a:cxn>
                  <a:cxn ang="0">
                    <a:pos x="T6" y="T7"/>
                  </a:cxn>
                  <a:cxn ang="0">
                    <a:pos x="T8" y="T9"/>
                  </a:cxn>
                  <a:cxn ang="0">
                    <a:pos x="T10" y="T11"/>
                  </a:cxn>
                </a:cxnLst>
                <a:rect l="0" t="0" r="r" b="b"/>
                <a:pathLst>
                  <a:path w="20" h="22">
                    <a:moveTo>
                      <a:pt x="8" y="20"/>
                    </a:moveTo>
                    <a:cubicBezTo>
                      <a:pt x="3" y="16"/>
                      <a:pt x="0" y="10"/>
                      <a:pt x="1" y="7"/>
                    </a:cubicBezTo>
                    <a:cubicBezTo>
                      <a:pt x="2" y="2"/>
                      <a:pt x="4" y="0"/>
                      <a:pt x="8" y="0"/>
                    </a:cubicBezTo>
                    <a:cubicBezTo>
                      <a:pt x="11" y="0"/>
                      <a:pt x="13" y="2"/>
                      <a:pt x="16" y="6"/>
                    </a:cubicBezTo>
                    <a:cubicBezTo>
                      <a:pt x="20" y="13"/>
                      <a:pt x="20" y="15"/>
                      <a:pt x="17" y="19"/>
                    </a:cubicBezTo>
                    <a:cubicBezTo>
                      <a:pt x="13" y="22"/>
                      <a:pt x="11" y="22"/>
                      <a:pt x="8"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379" name="Group 378">
              <a:extLst>
                <a:ext uri="{FF2B5EF4-FFF2-40B4-BE49-F238E27FC236}">
                  <a16:creationId xmlns:a16="http://schemas.microsoft.com/office/drawing/2014/main" id="{52D9FB6F-4C89-4C24-85E7-2B93CA090543}"/>
                </a:ext>
              </a:extLst>
            </p:cNvPr>
            <p:cNvGrpSpPr/>
            <p:nvPr userDrawn="1"/>
          </p:nvGrpSpPr>
          <p:grpSpPr>
            <a:xfrm>
              <a:off x="5696722" y="2791089"/>
              <a:ext cx="2478223" cy="3011610"/>
              <a:chOff x="5696722" y="2691793"/>
              <a:chExt cx="2478223" cy="3011610"/>
            </a:xfrm>
            <a:grpFill/>
          </p:grpSpPr>
          <p:sp>
            <p:nvSpPr>
              <p:cNvPr id="388" name="Freeform 55">
                <a:extLst>
                  <a:ext uri="{FF2B5EF4-FFF2-40B4-BE49-F238E27FC236}">
                    <a16:creationId xmlns:a16="http://schemas.microsoft.com/office/drawing/2014/main" id="{BC2F8E32-B55F-451F-945E-89698E8A13E0}"/>
                  </a:ext>
                </a:extLst>
              </p:cNvPr>
              <p:cNvSpPr>
                <a:spLocks/>
              </p:cNvSpPr>
              <p:nvPr/>
            </p:nvSpPr>
            <p:spPr bwMode="auto">
              <a:xfrm>
                <a:off x="5696722" y="2691793"/>
                <a:ext cx="2433935" cy="2998131"/>
              </a:xfrm>
              <a:custGeom>
                <a:avLst/>
                <a:gdLst>
                  <a:gd name="T0" fmla="*/ 181 w 534"/>
                  <a:gd name="T1" fmla="*/ 640 h 658"/>
                  <a:gd name="T2" fmla="*/ 131 w 534"/>
                  <a:gd name="T3" fmla="*/ 646 h 658"/>
                  <a:gd name="T4" fmla="*/ 100 w 534"/>
                  <a:gd name="T5" fmla="*/ 632 h 658"/>
                  <a:gd name="T6" fmla="*/ 49 w 534"/>
                  <a:gd name="T7" fmla="*/ 587 h 658"/>
                  <a:gd name="T8" fmla="*/ 44 w 534"/>
                  <a:gd name="T9" fmla="*/ 538 h 658"/>
                  <a:gd name="T10" fmla="*/ 32 w 534"/>
                  <a:gd name="T11" fmla="*/ 443 h 658"/>
                  <a:gd name="T12" fmla="*/ 42 w 534"/>
                  <a:gd name="T13" fmla="*/ 423 h 658"/>
                  <a:gd name="T14" fmla="*/ 33 w 534"/>
                  <a:gd name="T15" fmla="*/ 380 h 658"/>
                  <a:gd name="T16" fmla="*/ 19 w 534"/>
                  <a:gd name="T17" fmla="*/ 342 h 658"/>
                  <a:gd name="T18" fmla="*/ 10 w 534"/>
                  <a:gd name="T19" fmla="*/ 325 h 658"/>
                  <a:gd name="T20" fmla="*/ 48 w 534"/>
                  <a:gd name="T21" fmla="*/ 290 h 658"/>
                  <a:gd name="T22" fmla="*/ 60 w 534"/>
                  <a:gd name="T23" fmla="*/ 222 h 658"/>
                  <a:gd name="T24" fmla="*/ 12 w 534"/>
                  <a:gd name="T25" fmla="*/ 162 h 658"/>
                  <a:gd name="T26" fmla="*/ 20 w 534"/>
                  <a:gd name="T27" fmla="*/ 140 h 658"/>
                  <a:gd name="T28" fmla="*/ 27 w 534"/>
                  <a:gd name="T29" fmla="*/ 112 h 658"/>
                  <a:gd name="T30" fmla="*/ 12 w 534"/>
                  <a:gd name="T31" fmla="*/ 65 h 658"/>
                  <a:gd name="T32" fmla="*/ 0 w 534"/>
                  <a:gd name="T33" fmla="*/ 25 h 658"/>
                  <a:gd name="T34" fmla="*/ 40 w 534"/>
                  <a:gd name="T35" fmla="*/ 11 h 658"/>
                  <a:gd name="T36" fmla="*/ 80 w 534"/>
                  <a:gd name="T37" fmla="*/ 0 h 658"/>
                  <a:gd name="T38" fmla="*/ 130 w 534"/>
                  <a:gd name="T39" fmla="*/ 37 h 658"/>
                  <a:gd name="T40" fmla="*/ 175 w 534"/>
                  <a:gd name="T41" fmla="*/ 48 h 658"/>
                  <a:gd name="T42" fmla="*/ 182 w 534"/>
                  <a:gd name="T43" fmla="*/ 95 h 658"/>
                  <a:gd name="T44" fmla="*/ 195 w 534"/>
                  <a:gd name="T45" fmla="*/ 119 h 658"/>
                  <a:gd name="T46" fmla="*/ 227 w 534"/>
                  <a:gd name="T47" fmla="*/ 131 h 658"/>
                  <a:gd name="T48" fmla="*/ 248 w 534"/>
                  <a:gd name="T49" fmla="*/ 117 h 658"/>
                  <a:gd name="T50" fmla="*/ 256 w 534"/>
                  <a:gd name="T51" fmla="*/ 76 h 658"/>
                  <a:gd name="T52" fmla="*/ 264 w 534"/>
                  <a:gd name="T53" fmla="*/ 52 h 658"/>
                  <a:gd name="T54" fmla="*/ 281 w 534"/>
                  <a:gd name="T55" fmla="*/ 93 h 658"/>
                  <a:gd name="T56" fmla="*/ 297 w 534"/>
                  <a:gd name="T57" fmla="*/ 105 h 658"/>
                  <a:gd name="T58" fmla="*/ 310 w 534"/>
                  <a:gd name="T59" fmla="*/ 135 h 658"/>
                  <a:gd name="T60" fmla="*/ 321 w 534"/>
                  <a:gd name="T61" fmla="*/ 187 h 658"/>
                  <a:gd name="T62" fmla="*/ 340 w 534"/>
                  <a:gd name="T63" fmla="*/ 220 h 658"/>
                  <a:gd name="T64" fmla="*/ 342 w 534"/>
                  <a:gd name="T65" fmla="*/ 247 h 658"/>
                  <a:gd name="T66" fmla="*/ 315 w 534"/>
                  <a:gd name="T67" fmla="*/ 248 h 658"/>
                  <a:gd name="T68" fmla="*/ 282 w 534"/>
                  <a:gd name="T69" fmla="*/ 252 h 658"/>
                  <a:gd name="T70" fmla="*/ 269 w 534"/>
                  <a:gd name="T71" fmla="*/ 274 h 658"/>
                  <a:gd name="T72" fmla="*/ 286 w 534"/>
                  <a:gd name="T73" fmla="*/ 311 h 658"/>
                  <a:gd name="T74" fmla="*/ 310 w 534"/>
                  <a:gd name="T75" fmla="*/ 335 h 658"/>
                  <a:gd name="T76" fmla="*/ 330 w 534"/>
                  <a:gd name="T77" fmla="*/ 355 h 658"/>
                  <a:gd name="T78" fmla="*/ 368 w 534"/>
                  <a:gd name="T79" fmla="*/ 360 h 658"/>
                  <a:gd name="T80" fmla="*/ 379 w 534"/>
                  <a:gd name="T81" fmla="*/ 337 h 658"/>
                  <a:gd name="T82" fmla="*/ 510 w 534"/>
                  <a:gd name="T83" fmla="*/ 297 h 658"/>
                  <a:gd name="T84" fmla="*/ 534 w 534"/>
                  <a:gd name="T85" fmla="*/ 306 h 658"/>
                  <a:gd name="T86" fmla="*/ 497 w 534"/>
                  <a:gd name="T87" fmla="*/ 356 h 658"/>
                  <a:gd name="T88" fmla="*/ 423 w 534"/>
                  <a:gd name="T89" fmla="*/ 401 h 658"/>
                  <a:gd name="T90" fmla="*/ 329 w 534"/>
                  <a:gd name="T91" fmla="*/ 460 h 658"/>
                  <a:gd name="T92" fmla="*/ 290 w 534"/>
                  <a:gd name="T93" fmla="*/ 513 h 658"/>
                  <a:gd name="T94" fmla="*/ 214 w 534"/>
                  <a:gd name="T95" fmla="*/ 619 h 658"/>
                  <a:gd name="T96" fmla="*/ 273 w 534"/>
                  <a:gd name="T97" fmla="*/ 560 h 658"/>
                  <a:gd name="T98" fmla="*/ 312 w 534"/>
                  <a:gd name="T99" fmla="*/ 496 h 658"/>
                  <a:gd name="T100" fmla="*/ 359 w 534"/>
                  <a:gd name="T101" fmla="*/ 461 h 658"/>
                  <a:gd name="T102" fmla="*/ 407 w 534"/>
                  <a:gd name="T103" fmla="*/ 459 h 658"/>
                  <a:gd name="T104" fmla="*/ 350 w 534"/>
                  <a:gd name="T105" fmla="*/ 508 h 658"/>
                  <a:gd name="T106" fmla="*/ 317 w 534"/>
                  <a:gd name="T107" fmla="*/ 543 h 658"/>
                  <a:gd name="T108" fmla="*/ 296 w 534"/>
                  <a:gd name="T109" fmla="*/ 547 h 658"/>
                  <a:gd name="T110" fmla="*/ 282 w 534"/>
                  <a:gd name="T111" fmla="*/ 610 h 658"/>
                  <a:gd name="T112" fmla="*/ 256 w 534"/>
                  <a:gd name="T113" fmla="*/ 647 h 658"/>
                  <a:gd name="T114" fmla="*/ 190 w 534"/>
                  <a:gd name="T115" fmla="*/ 65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4" h="658">
                    <a:moveTo>
                      <a:pt x="190" y="654"/>
                    </a:moveTo>
                    <a:cubicBezTo>
                      <a:pt x="189" y="652"/>
                      <a:pt x="187" y="648"/>
                      <a:pt x="187" y="645"/>
                    </a:cubicBezTo>
                    <a:cubicBezTo>
                      <a:pt x="187" y="641"/>
                      <a:pt x="186" y="640"/>
                      <a:pt x="181" y="640"/>
                    </a:cubicBezTo>
                    <a:cubicBezTo>
                      <a:pt x="175" y="640"/>
                      <a:pt x="167" y="643"/>
                      <a:pt x="159" y="648"/>
                    </a:cubicBezTo>
                    <a:cubicBezTo>
                      <a:pt x="156" y="650"/>
                      <a:pt x="153" y="651"/>
                      <a:pt x="145" y="651"/>
                    </a:cubicBezTo>
                    <a:cubicBezTo>
                      <a:pt x="134" y="651"/>
                      <a:pt x="134" y="651"/>
                      <a:pt x="131" y="646"/>
                    </a:cubicBezTo>
                    <a:cubicBezTo>
                      <a:pt x="129" y="643"/>
                      <a:pt x="126" y="641"/>
                      <a:pt x="125" y="641"/>
                    </a:cubicBezTo>
                    <a:cubicBezTo>
                      <a:pt x="123" y="641"/>
                      <a:pt x="119" y="639"/>
                      <a:pt x="115" y="637"/>
                    </a:cubicBezTo>
                    <a:cubicBezTo>
                      <a:pt x="110" y="634"/>
                      <a:pt x="105" y="632"/>
                      <a:pt x="100" y="632"/>
                    </a:cubicBezTo>
                    <a:cubicBezTo>
                      <a:pt x="88" y="631"/>
                      <a:pt x="74" y="626"/>
                      <a:pt x="66" y="621"/>
                    </a:cubicBezTo>
                    <a:cubicBezTo>
                      <a:pt x="60" y="617"/>
                      <a:pt x="58" y="614"/>
                      <a:pt x="55" y="606"/>
                    </a:cubicBezTo>
                    <a:cubicBezTo>
                      <a:pt x="52" y="600"/>
                      <a:pt x="50" y="593"/>
                      <a:pt x="49" y="587"/>
                    </a:cubicBezTo>
                    <a:cubicBezTo>
                      <a:pt x="49" y="582"/>
                      <a:pt x="48" y="576"/>
                      <a:pt x="48" y="574"/>
                    </a:cubicBezTo>
                    <a:cubicBezTo>
                      <a:pt x="48" y="572"/>
                      <a:pt x="47" y="564"/>
                      <a:pt x="46" y="556"/>
                    </a:cubicBezTo>
                    <a:cubicBezTo>
                      <a:pt x="45" y="549"/>
                      <a:pt x="44" y="541"/>
                      <a:pt x="44" y="538"/>
                    </a:cubicBezTo>
                    <a:cubicBezTo>
                      <a:pt x="42" y="527"/>
                      <a:pt x="42" y="527"/>
                      <a:pt x="42" y="527"/>
                    </a:cubicBezTo>
                    <a:cubicBezTo>
                      <a:pt x="42" y="523"/>
                      <a:pt x="40" y="504"/>
                      <a:pt x="37" y="483"/>
                    </a:cubicBezTo>
                    <a:cubicBezTo>
                      <a:pt x="35" y="463"/>
                      <a:pt x="33" y="445"/>
                      <a:pt x="32" y="443"/>
                    </a:cubicBezTo>
                    <a:cubicBezTo>
                      <a:pt x="32" y="440"/>
                      <a:pt x="32" y="439"/>
                      <a:pt x="36" y="438"/>
                    </a:cubicBezTo>
                    <a:cubicBezTo>
                      <a:pt x="40" y="437"/>
                      <a:pt x="40" y="437"/>
                      <a:pt x="39" y="433"/>
                    </a:cubicBezTo>
                    <a:cubicBezTo>
                      <a:pt x="39" y="430"/>
                      <a:pt x="39" y="427"/>
                      <a:pt x="42" y="423"/>
                    </a:cubicBezTo>
                    <a:cubicBezTo>
                      <a:pt x="45" y="420"/>
                      <a:pt x="46" y="415"/>
                      <a:pt x="46" y="413"/>
                    </a:cubicBezTo>
                    <a:cubicBezTo>
                      <a:pt x="46" y="411"/>
                      <a:pt x="44" y="404"/>
                      <a:pt x="41" y="398"/>
                    </a:cubicBezTo>
                    <a:cubicBezTo>
                      <a:pt x="37" y="391"/>
                      <a:pt x="34" y="383"/>
                      <a:pt x="33" y="380"/>
                    </a:cubicBezTo>
                    <a:cubicBezTo>
                      <a:pt x="32" y="377"/>
                      <a:pt x="31" y="373"/>
                      <a:pt x="29" y="371"/>
                    </a:cubicBezTo>
                    <a:cubicBezTo>
                      <a:pt x="28" y="369"/>
                      <a:pt x="27" y="365"/>
                      <a:pt x="27" y="361"/>
                    </a:cubicBezTo>
                    <a:cubicBezTo>
                      <a:pt x="28" y="353"/>
                      <a:pt x="24" y="345"/>
                      <a:pt x="19" y="342"/>
                    </a:cubicBezTo>
                    <a:cubicBezTo>
                      <a:pt x="17" y="342"/>
                      <a:pt x="16" y="339"/>
                      <a:pt x="16" y="337"/>
                    </a:cubicBezTo>
                    <a:cubicBezTo>
                      <a:pt x="16" y="335"/>
                      <a:pt x="15" y="332"/>
                      <a:pt x="13" y="330"/>
                    </a:cubicBezTo>
                    <a:cubicBezTo>
                      <a:pt x="12" y="328"/>
                      <a:pt x="10" y="326"/>
                      <a:pt x="10" y="325"/>
                    </a:cubicBezTo>
                    <a:cubicBezTo>
                      <a:pt x="10" y="323"/>
                      <a:pt x="17" y="317"/>
                      <a:pt x="25" y="312"/>
                    </a:cubicBezTo>
                    <a:cubicBezTo>
                      <a:pt x="29" y="309"/>
                      <a:pt x="34" y="305"/>
                      <a:pt x="37" y="302"/>
                    </a:cubicBezTo>
                    <a:cubicBezTo>
                      <a:pt x="39" y="299"/>
                      <a:pt x="44" y="293"/>
                      <a:pt x="48" y="290"/>
                    </a:cubicBezTo>
                    <a:cubicBezTo>
                      <a:pt x="52" y="285"/>
                      <a:pt x="56" y="279"/>
                      <a:pt x="59" y="270"/>
                    </a:cubicBezTo>
                    <a:cubicBezTo>
                      <a:pt x="64" y="259"/>
                      <a:pt x="64" y="256"/>
                      <a:pt x="64" y="245"/>
                    </a:cubicBezTo>
                    <a:cubicBezTo>
                      <a:pt x="64" y="237"/>
                      <a:pt x="63" y="230"/>
                      <a:pt x="60" y="222"/>
                    </a:cubicBezTo>
                    <a:cubicBezTo>
                      <a:pt x="58" y="215"/>
                      <a:pt x="56" y="209"/>
                      <a:pt x="55" y="206"/>
                    </a:cubicBezTo>
                    <a:cubicBezTo>
                      <a:pt x="54" y="200"/>
                      <a:pt x="41" y="186"/>
                      <a:pt x="32" y="181"/>
                    </a:cubicBezTo>
                    <a:cubicBezTo>
                      <a:pt x="21" y="176"/>
                      <a:pt x="13" y="167"/>
                      <a:pt x="12" y="162"/>
                    </a:cubicBezTo>
                    <a:cubicBezTo>
                      <a:pt x="12" y="159"/>
                      <a:pt x="13" y="155"/>
                      <a:pt x="14" y="152"/>
                    </a:cubicBezTo>
                    <a:cubicBezTo>
                      <a:pt x="16" y="149"/>
                      <a:pt x="17" y="146"/>
                      <a:pt x="17" y="144"/>
                    </a:cubicBezTo>
                    <a:cubicBezTo>
                      <a:pt x="17" y="143"/>
                      <a:pt x="19" y="141"/>
                      <a:pt x="20" y="140"/>
                    </a:cubicBezTo>
                    <a:cubicBezTo>
                      <a:pt x="22" y="138"/>
                      <a:pt x="23" y="136"/>
                      <a:pt x="23" y="131"/>
                    </a:cubicBezTo>
                    <a:cubicBezTo>
                      <a:pt x="23" y="126"/>
                      <a:pt x="24" y="123"/>
                      <a:pt x="26" y="121"/>
                    </a:cubicBezTo>
                    <a:cubicBezTo>
                      <a:pt x="29" y="118"/>
                      <a:pt x="29" y="118"/>
                      <a:pt x="27" y="112"/>
                    </a:cubicBezTo>
                    <a:cubicBezTo>
                      <a:pt x="26" y="109"/>
                      <a:pt x="24" y="105"/>
                      <a:pt x="24" y="103"/>
                    </a:cubicBezTo>
                    <a:cubicBezTo>
                      <a:pt x="23" y="99"/>
                      <a:pt x="20" y="91"/>
                      <a:pt x="15" y="86"/>
                    </a:cubicBezTo>
                    <a:cubicBezTo>
                      <a:pt x="12" y="82"/>
                      <a:pt x="12" y="80"/>
                      <a:pt x="12" y="65"/>
                    </a:cubicBezTo>
                    <a:cubicBezTo>
                      <a:pt x="12" y="54"/>
                      <a:pt x="11" y="49"/>
                      <a:pt x="10" y="47"/>
                    </a:cubicBezTo>
                    <a:cubicBezTo>
                      <a:pt x="9" y="46"/>
                      <a:pt x="6" y="40"/>
                      <a:pt x="4" y="35"/>
                    </a:cubicBezTo>
                    <a:cubicBezTo>
                      <a:pt x="0" y="25"/>
                      <a:pt x="0" y="25"/>
                      <a:pt x="0" y="25"/>
                    </a:cubicBezTo>
                    <a:cubicBezTo>
                      <a:pt x="4" y="18"/>
                      <a:pt x="4" y="18"/>
                      <a:pt x="4" y="18"/>
                    </a:cubicBezTo>
                    <a:cubicBezTo>
                      <a:pt x="7" y="11"/>
                      <a:pt x="8" y="10"/>
                      <a:pt x="14" y="9"/>
                    </a:cubicBezTo>
                    <a:cubicBezTo>
                      <a:pt x="25" y="8"/>
                      <a:pt x="34" y="8"/>
                      <a:pt x="40" y="11"/>
                    </a:cubicBezTo>
                    <a:cubicBezTo>
                      <a:pt x="48" y="13"/>
                      <a:pt x="59" y="14"/>
                      <a:pt x="64" y="13"/>
                    </a:cubicBezTo>
                    <a:cubicBezTo>
                      <a:pt x="66" y="12"/>
                      <a:pt x="70" y="9"/>
                      <a:pt x="73" y="6"/>
                    </a:cubicBezTo>
                    <a:cubicBezTo>
                      <a:pt x="76" y="3"/>
                      <a:pt x="80" y="0"/>
                      <a:pt x="80" y="0"/>
                    </a:cubicBezTo>
                    <a:cubicBezTo>
                      <a:pt x="83" y="0"/>
                      <a:pt x="110" y="15"/>
                      <a:pt x="119" y="21"/>
                    </a:cubicBezTo>
                    <a:cubicBezTo>
                      <a:pt x="126" y="25"/>
                      <a:pt x="128" y="27"/>
                      <a:pt x="128" y="30"/>
                    </a:cubicBezTo>
                    <a:cubicBezTo>
                      <a:pt x="128" y="32"/>
                      <a:pt x="128" y="35"/>
                      <a:pt x="130" y="37"/>
                    </a:cubicBezTo>
                    <a:cubicBezTo>
                      <a:pt x="132" y="40"/>
                      <a:pt x="134" y="41"/>
                      <a:pt x="147" y="42"/>
                    </a:cubicBezTo>
                    <a:cubicBezTo>
                      <a:pt x="155" y="43"/>
                      <a:pt x="164" y="45"/>
                      <a:pt x="168" y="46"/>
                    </a:cubicBezTo>
                    <a:cubicBezTo>
                      <a:pt x="175" y="48"/>
                      <a:pt x="175" y="48"/>
                      <a:pt x="175" y="48"/>
                    </a:cubicBezTo>
                    <a:cubicBezTo>
                      <a:pt x="174" y="56"/>
                      <a:pt x="174" y="56"/>
                      <a:pt x="174" y="56"/>
                    </a:cubicBezTo>
                    <a:cubicBezTo>
                      <a:pt x="173" y="64"/>
                      <a:pt x="174" y="69"/>
                      <a:pt x="181" y="87"/>
                    </a:cubicBezTo>
                    <a:cubicBezTo>
                      <a:pt x="181" y="89"/>
                      <a:pt x="182" y="93"/>
                      <a:pt x="182" y="95"/>
                    </a:cubicBezTo>
                    <a:cubicBezTo>
                      <a:pt x="182" y="98"/>
                      <a:pt x="183" y="100"/>
                      <a:pt x="185" y="103"/>
                    </a:cubicBezTo>
                    <a:cubicBezTo>
                      <a:pt x="187" y="105"/>
                      <a:pt x="190" y="109"/>
                      <a:pt x="192" y="113"/>
                    </a:cubicBezTo>
                    <a:cubicBezTo>
                      <a:pt x="195" y="119"/>
                      <a:pt x="195" y="119"/>
                      <a:pt x="195" y="119"/>
                    </a:cubicBezTo>
                    <a:cubicBezTo>
                      <a:pt x="202" y="118"/>
                      <a:pt x="202" y="118"/>
                      <a:pt x="202" y="118"/>
                    </a:cubicBezTo>
                    <a:cubicBezTo>
                      <a:pt x="208" y="117"/>
                      <a:pt x="209" y="117"/>
                      <a:pt x="216" y="124"/>
                    </a:cubicBezTo>
                    <a:cubicBezTo>
                      <a:pt x="220" y="127"/>
                      <a:pt x="225" y="130"/>
                      <a:pt x="227" y="131"/>
                    </a:cubicBezTo>
                    <a:cubicBezTo>
                      <a:pt x="230" y="132"/>
                      <a:pt x="231" y="133"/>
                      <a:pt x="231" y="133"/>
                    </a:cubicBezTo>
                    <a:cubicBezTo>
                      <a:pt x="231" y="136"/>
                      <a:pt x="234" y="134"/>
                      <a:pt x="240" y="128"/>
                    </a:cubicBezTo>
                    <a:cubicBezTo>
                      <a:pt x="245" y="124"/>
                      <a:pt x="247" y="121"/>
                      <a:pt x="248" y="117"/>
                    </a:cubicBezTo>
                    <a:cubicBezTo>
                      <a:pt x="248" y="113"/>
                      <a:pt x="249" y="110"/>
                      <a:pt x="252" y="109"/>
                    </a:cubicBezTo>
                    <a:cubicBezTo>
                      <a:pt x="254" y="108"/>
                      <a:pt x="256" y="106"/>
                      <a:pt x="257" y="102"/>
                    </a:cubicBezTo>
                    <a:cubicBezTo>
                      <a:pt x="259" y="95"/>
                      <a:pt x="259" y="80"/>
                      <a:pt x="256" y="76"/>
                    </a:cubicBezTo>
                    <a:cubicBezTo>
                      <a:pt x="256" y="74"/>
                      <a:pt x="255" y="72"/>
                      <a:pt x="255" y="72"/>
                    </a:cubicBezTo>
                    <a:cubicBezTo>
                      <a:pt x="255" y="71"/>
                      <a:pt x="256" y="67"/>
                      <a:pt x="257" y="62"/>
                    </a:cubicBezTo>
                    <a:cubicBezTo>
                      <a:pt x="258" y="55"/>
                      <a:pt x="262" y="50"/>
                      <a:pt x="264" y="52"/>
                    </a:cubicBezTo>
                    <a:cubicBezTo>
                      <a:pt x="265" y="52"/>
                      <a:pt x="265" y="55"/>
                      <a:pt x="266" y="58"/>
                    </a:cubicBezTo>
                    <a:cubicBezTo>
                      <a:pt x="267" y="64"/>
                      <a:pt x="273" y="75"/>
                      <a:pt x="276" y="75"/>
                    </a:cubicBezTo>
                    <a:cubicBezTo>
                      <a:pt x="278" y="75"/>
                      <a:pt x="282" y="89"/>
                      <a:pt x="281" y="93"/>
                    </a:cubicBezTo>
                    <a:cubicBezTo>
                      <a:pt x="280" y="97"/>
                      <a:pt x="281" y="97"/>
                      <a:pt x="289" y="97"/>
                    </a:cubicBezTo>
                    <a:cubicBezTo>
                      <a:pt x="297" y="96"/>
                      <a:pt x="297" y="96"/>
                      <a:pt x="297" y="96"/>
                    </a:cubicBezTo>
                    <a:cubicBezTo>
                      <a:pt x="297" y="105"/>
                      <a:pt x="297" y="105"/>
                      <a:pt x="297" y="105"/>
                    </a:cubicBezTo>
                    <a:cubicBezTo>
                      <a:pt x="297" y="110"/>
                      <a:pt x="296" y="116"/>
                      <a:pt x="295" y="119"/>
                    </a:cubicBezTo>
                    <a:cubicBezTo>
                      <a:pt x="294" y="122"/>
                      <a:pt x="294" y="124"/>
                      <a:pt x="295" y="126"/>
                    </a:cubicBezTo>
                    <a:cubicBezTo>
                      <a:pt x="297" y="129"/>
                      <a:pt x="304" y="134"/>
                      <a:pt x="310" y="135"/>
                    </a:cubicBezTo>
                    <a:cubicBezTo>
                      <a:pt x="314" y="136"/>
                      <a:pt x="315" y="138"/>
                      <a:pt x="316" y="154"/>
                    </a:cubicBezTo>
                    <a:cubicBezTo>
                      <a:pt x="316" y="162"/>
                      <a:pt x="317" y="171"/>
                      <a:pt x="318" y="175"/>
                    </a:cubicBezTo>
                    <a:cubicBezTo>
                      <a:pt x="319" y="179"/>
                      <a:pt x="321" y="184"/>
                      <a:pt x="321" y="187"/>
                    </a:cubicBezTo>
                    <a:cubicBezTo>
                      <a:pt x="322" y="190"/>
                      <a:pt x="323" y="193"/>
                      <a:pt x="326" y="195"/>
                    </a:cubicBezTo>
                    <a:cubicBezTo>
                      <a:pt x="331" y="198"/>
                      <a:pt x="337" y="211"/>
                      <a:pt x="338" y="215"/>
                    </a:cubicBezTo>
                    <a:cubicBezTo>
                      <a:pt x="338" y="217"/>
                      <a:pt x="339" y="219"/>
                      <a:pt x="340" y="220"/>
                    </a:cubicBezTo>
                    <a:cubicBezTo>
                      <a:pt x="342" y="221"/>
                      <a:pt x="344" y="225"/>
                      <a:pt x="345" y="228"/>
                    </a:cubicBezTo>
                    <a:cubicBezTo>
                      <a:pt x="348" y="233"/>
                      <a:pt x="348" y="233"/>
                      <a:pt x="345" y="240"/>
                    </a:cubicBezTo>
                    <a:cubicBezTo>
                      <a:pt x="342" y="247"/>
                      <a:pt x="342" y="247"/>
                      <a:pt x="342" y="247"/>
                    </a:cubicBezTo>
                    <a:cubicBezTo>
                      <a:pt x="334" y="246"/>
                      <a:pt x="334" y="246"/>
                      <a:pt x="334" y="246"/>
                    </a:cubicBezTo>
                    <a:cubicBezTo>
                      <a:pt x="330" y="245"/>
                      <a:pt x="325" y="245"/>
                      <a:pt x="323" y="244"/>
                    </a:cubicBezTo>
                    <a:cubicBezTo>
                      <a:pt x="319" y="243"/>
                      <a:pt x="318" y="244"/>
                      <a:pt x="315" y="248"/>
                    </a:cubicBezTo>
                    <a:cubicBezTo>
                      <a:pt x="311" y="254"/>
                      <a:pt x="309" y="255"/>
                      <a:pt x="305" y="251"/>
                    </a:cubicBezTo>
                    <a:cubicBezTo>
                      <a:pt x="303" y="250"/>
                      <a:pt x="298" y="248"/>
                      <a:pt x="294" y="247"/>
                    </a:cubicBezTo>
                    <a:cubicBezTo>
                      <a:pt x="284" y="245"/>
                      <a:pt x="283" y="246"/>
                      <a:pt x="282" y="252"/>
                    </a:cubicBezTo>
                    <a:cubicBezTo>
                      <a:pt x="281" y="255"/>
                      <a:pt x="279" y="257"/>
                      <a:pt x="277" y="258"/>
                    </a:cubicBezTo>
                    <a:cubicBezTo>
                      <a:pt x="275" y="259"/>
                      <a:pt x="274" y="261"/>
                      <a:pt x="274" y="264"/>
                    </a:cubicBezTo>
                    <a:cubicBezTo>
                      <a:pt x="274" y="268"/>
                      <a:pt x="273" y="270"/>
                      <a:pt x="269" y="274"/>
                    </a:cubicBezTo>
                    <a:cubicBezTo>
                      <a:pt x="266" y="278"/>
                      <a:pt x="265" y="279"/>
                      <a:pt x="266" y="284"/>
                    </a:cubicBezTo>
                    <a:cubicBezTo>
                      <a:pt x="266" y="287"/>
                      <a:pt x="267" y="291"/>
                      <a:pt x="269" y="293"/>
                    </a:cubicBezTo>
                    <a:cubicBezTo>
                      <a:pt x="272" y="300"/>
                      <a:pt x="280" y="308"/>
                      <a:pt x="286" y="311"/>
                    </a:cubicBezTo>
                    <a:cubicBezTo>
                      <a:pt x="292" y="314"/>
                      <a:pt x="293" y="317"/>
                      <a:pt x="290" y="325"/>
                    </a:cubicBezTo>
                    <a:cubicBezTo>
                      <a:pt x="289" y="330"/>
                      <a:pt x="289" y="330"/>
                      <a:pt x="293" y="334"/>
                    </a:cubicBezTo>
                    <a:cubicBezTo>
                      <a:pt x="297" y="337"/>
                      <a:pt x="302" y="337"/>
                      <a:pt x="310" y="335"/>
                    </a:cubicBezTo>
                    <a:cubicBezTo>
                      <a:pt x="313" y="334"/>
                      <a:pt x="313" y="334"/>
                      <a:pt x="314" y="341"/>
                    </a:cubicBezTo>
                    <a:cubicBezTo>
                      <a:pt x="315" y="346"/>
                      <a:pt x="316" y="350"/>
                      <a:pt x="319" y="352"/>
                    </a:cubicBezTo>
                    <a:cubicBezTo>
                      <a:pt x="322" y="355"/>
                      <a:pt x="323" y="355"/>
                      <a:pt x="330" y="355"/>
                    </a:cubicBezTo>
                    <a:cubicBezTo>
                      <a:pt x="336" y="354"/>
                      <a:pt x="338" y="354"/>
                      <a:pt x="341" y="356"/>
                    </a:cubicBezTo>
                    <a:cubicBezTo>
                      <a:pt x="342" y="358"/>
                      <a:pt x="344" y="359"/>
                      <a:pt x="346" y="359"/>
                    </a:cubicBezTo>
                    <a:cubicBezTo>
                      <a:pt x="352" y="360"/>
                      <a:pt x="367" y="361"/>
                      <a:pt x="368" y="360"/>
                    </a:cubicBezTo>
                    <a:cubicBezTo>
                      <a:pt x="369" y="359"/>
                      <a:pt x="371" y="356"/>
                      <a:pt x="371" y="352"/>
                    </a:cubicBezTo>
                    <a:cubicBezTo>
                      <a:pt x="372" y="344"/>
                      <a:pt x="373" y="335"/>
                      <a:pt x="373" y="334"/>
                    </a:cubicBezTo>
                    <a:cubicBezTo>
                      <a:pt x="373" y="334"/>
                      <a:pt x="376" y="335"/>
                      <a:pt x="379" y="337"/>
                    </a:cubicBezTo>
                    <a:cubicBezTo>
                      <a:pt x="383" y="339"/>
                      <a:pt x="386" y="340"/>
                      <a:pt x="390" y="339"/>
                    </a:cubicBezTo>
                    <a:cubicBezTo>
                      <a:pt x="397" y="338"/>
                      <a:pt x="419" y="331"/>
                      <a:pt x="443" y="321"/>
                    </a:cubicBezTo>
                    <a:cubicBezTo>
                      <a:pt x="479" y="307"/>
                      <a:pt x="502" y="299"/>
                      <a:pt x="510" y="297"/>
                    </a:cubicBezTo>
                    <a:cubicBezTo>
                      <a:pt x="515" y="295"/>
                      <a:pt x="520" y="294"/>
                      <a:pt x="521" y="293"/>
                    </a:cubicBezTo>
                    <a:cubicBezTo>
                      <a:pt x="522" y="292"/>
                      <a:pt x="524" y="292"/>
                      <a:pt x="524" y="292"/>
                    </a:cubicBezTo>
                    <a:cubicBezTo>
                      <a:pt x="528" y="296"/>
                      <a:pt x="534" y="306"/>
                      <a:pt x="534" y="306"/>
                    </a:cubicBezTo>
                    <a:cubicBezTo>
                      <a:pt x="534" y="307"/>
                      <a:pt x="530" y="310"/>
                      <a:pt x="526" y="314"/>
                    </a:cubicBezTo>
                    <a:cubicBezTo>
                      <a:pt x="513" y="324"/>
                      <a:pt x="505" y="332"/>
                      <a:pt x="504" y="338"/>
                    </a:cubicBezTo>
                    <a:cubicBezTo>
                      <a:pt x="503" y="341"/>
                      <a:pt x="500" y="349"/>
                      <a:pt x="497" y="356"/>
                    </a:cubicBezTo>
                    <a:cubicBezTo>
                      <a:pt x="493" y="363"/>
                      <a:pt x="490" y="370"/>
                      <a:pt x="489" y="372"/>
                    </a:cubicBezTo>
                    <a:cubicBezTo>
                      <a:pt x="488" y="377"/>
                      <a:pt x="465" y="389"/>
                      <a:pt x="450" y="393"/>
                    </a:cubicBezTo>
                    <a:cubicBezTo>
                      <a:pt x="445" y="395"/>
                      <a:pt x="433" y="398"/>
                      <a:pt x="423" y="401"/>
                    </a:cubicBezTo>
                    <a:cubicBezTo>
                      <a:pt x="368" y="417"/>
                      <a:pt x="342" y="427"/>
                      <a:pt x="337" y="433"/>
                    </a:cubicBezTo>
                    <a:cubicBezTo>
                      <a:pt x="336" y="435"/>
                      <a:pt x="334" y="440"/>
                      <a:pt x="333" y="444"/>
                    </a:cubicBezTo>
                    <a:cubicBezTo>
                      <a:pt x="332" y="448"/>
                      <a:pt x="331" y="455"/>
                      <a:pt x="329" y="460"/>
                    </a:cubicBezTo>
                    <a:cubicBezTo>
                      <a:pt x="326" y="469"/>
                      <a:pt x="326" y="470"/>
                      <a:pt x="323" y="470"/>
                    </a:cubicBezTo>
                    <a:cubicBezTo>
                      <a:pt x="316" y="470"/>
                      <a:pt x="302" y="486"/>
                      <a:pt x="297" y="499"/>
                    </a:cubicBezTo>
                    <a:cubicBezTo>
                      <a:pt x="296" y="503"/>
                      <a:pt x="292" y="509"/>
                      <a:pt x="290" y="513"/>
                    </a:cubicBezTo>
                    <a:cubicBezTo>
                      <a:pt x="287" y="517"/>
                      <a:pt x="285" y="522"/>
                      <a:pt x="285" y="525"/>
                    </a:cubicBezTo>
                    <a:cubicBezTo>
                      <a:pt x="283" y="537"/>
                      <a:pt x="261" y="572"/>
                      <a:pt x="250" y="581"/>
                    </a:cubicBezTo>
                    <a:cubicBezTo>
                      <a:pt x="234" y="594"/>
                      <a:pt x="212" y="617"/>
                      <a:pt x="214" y="619"/>
                    </a:cubicBezTo>
                    <a:cubicBezTo>
                      <a:pt x="215" y="619"/>
                      <a:pt x="220" y="614"/>
                      <a:pt x="227" y="606"/>
                    </a:cubicBezTo>
                    <a:cubicBezTo>
                      <a:pt x="234" y="599"/>
                      <a:pt x="243" y="590"/>
                      <a:pt x="248" y="586"/>
                    </a:cubicBezTo>
                    <a:cubicBezTo>
                      <a:pt x="257" y="579"/>
                      <a:pt x="267" y="569"/>
                      <a:pt x="273" y="560"/>
                    </a:cubicBezTo>
                    <a:cubicBezTo>
                      <a:pt x="279" y="551"/>
                      <a:pt x="289" y="531"/>
                      <a:pt x="289" y="528"/>
                    </a:cubicBezTo>
                    <a:cubicBezTo>
                      <a:pt x="289" y="526"/>
                      <a:pt x="290" y="524"/>
                      <a:pt x="291" y="522"/>
                    </a:cubicBezTo>
                    <a:cubicBezTo>
                      <a:pt x="294" y="517"/>
                      <a:pt x="307" y="501"/>
                      <a:pt x="312" y="496"/>
                    </a:cubicBezTo>
                    <a:cubicBezTo>
                      <a:pt x="315" y="493"/>
                      <a:pt x="320" y="488"/>
                      <a:pt x="324" y="485"/>
                    </a:cubicBezTo>
                    <a:cubicBezTo>
                      <a:pt x="328" y="481"/>
                      <a:pt x="335" y="476"/>
                      <a:pt x="340" y="473"/>
                    </a:cubicBezTo>
                    <a:cubicBezTo>
                      <a:pt x="344" y="470"/>
                      <a:pt x="353" y="465"/>
                      <a:pt x="359" y="461"/>
                    </a:cubicBezTo>
                    <a:cubicBezTo>
                      <a:pt x="366" y="456"/>
                      <a:pt x="372" y="453"/>
                      <a:pt x="379" y="451"/>
                    </a:cubicBezTo>
                    <a:cubicBezTo>
                      <a:pt x="387" y="449"/>
                      <a:pt x="388" y="449"/>
                      <a:pt x="396" y="451"/>
                    </a:cubicBezTo>
                    <a:cubicBezTo>
                      <a:pt x="403" y="453"/>
                      <a:pt x="405" y="455"/>
                      <a:pt x="407" y="459"/>
                    </a:cubicBezTo>
                    <a:cubicBezTo>
                      <a:pt x="413" y="469"/>
                      <a:pt x="412" y="477"/>
                      <a:pt x="404" y="487"/>
                    </a:cubicBezTo>
                    <a:cubicBezTo>
                      <a:pt x="396" y="496"/>
                      <a:pt x="393" y="498"/>
                      <a:pt x="385" y="499"/>
                    </a:cubicBezTo>
                    <a:cubicBezTo>
                      <a:pt x="368" y="501"/>
                      <a:pt x="355" y="504"/>
                      <a:pt x="350" y="508"/>
                    </a:cubicBezTo>
                    <a:cubicBezTo>
                      <a:pt x="345" y="514"/>
                      <a:pt x="340" y="515"/>
                      <a:pt x="329" y="516"/>
                    </a:cubicBezTo>
                    <a:cubicBezTo>
                      <a:pt x="315" y="516"/>
                      <a:pt x="315" y="517"/>
                      <a:pt x="316" y="532"/>
                    </a:cubicBezTo>
                    <a:cubicBezTo>
                      <a:pt x="317" y="543"/>
                      <a:pt x="317" y="543"/>
                      <a:pt x="317" y="543"/>
                    </a:cubicBezTo>
                    <a:cubicBezTo>
                      <a:pt x="311" y="544"/>
                      <a:pt x="311" y="544"/>
                      <a:pt x="311" y="544"/>
                    </a:cubicBezTo>
                    <a:cubicBezTo>
                      <a:pt x="308" y="544"/>
                      <a:pt x="304" y="545"/>
                      <a:pt x="302" y="544"/>
                    </a:cubicBezTo>
                    <a:cubicBezTo>
                      <a:pt x="299" y="544"/>
                      <a:pt x="297" y="544"/>
                      <a:pt x="296" y="547"/>
                    </a:cubicBezTo>
                    <a:cubicBezTo>
                      <a:pt x="293" y="551"/>
                      <a:pt x="287" y="570"/>
                      <a:pt x="286" y="579"/>
                    </a:cubicBezTo>
                    <a:cubicBezTo>
                      <a:pt x="285" y="582"/>
                      <a:pt x="284" y="589"/>
                      <a:pt x="284" y="594"/>
                    </a:cubicBezTo>
                    <a:cubicBezTo>
                      <a:pt x="283" y="600"/>
                      <a:pt x="282" y="606"/>
                      <a:pt x="282" y="610"/>
                    </a:cubicBezTo>
                    <a:cubicBezTo>
                      <a:pt x="281" y="621"/>
                      <a:pt x="276" y="630"/>
                      <a:pt x="271" y="634"/>
                    </a:cubicBezTo>
                    <a:cubicBezTo>
                      <a:pt x="268" y="636"/>
                      <a:pt x="264" y="640"/>
                      <a:pt x="262" y="642"/>
                    </a:cubicBezTo>
                    <a:cubicBezTo>
                      <a:pt x="261" y="645"/>
                      <a:pt x="258" y="647"/>
                      <a:pt x="256" y="647"/>
                    </a:cubicBezTo>
                    <a:cubicBezTo>
                      <a:pt x="255" y="648"/>
                      <a:pt x="243" y="650"/>
                      <a:pt x="230" y="653"/>
                    </a:cubicBezTo>
                    <a:cubicBezTo>
                      <a:pt x="218" y="656"/>
                      <a:pt x="204" y="658"/>
                      <a:pt x="200" y="658"/>
                    </a:cubicBezTo>
                    <a:cubicBezTo>
                      <a:pt x="193" y="658"/>
                      <a:pt x="192" y="658"/>
                      <a:pt x="190"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89" name="Freeform 48">
                <a:extLst>
                  <a:ext uri="{FF2B5EF4-FFF2-40B4-BE49-F238E27FC236}">
                    <a16:creationId xmlns:a16="http://schemas.microsoft.com/office/drawing/2014/main" id="{94DA9BBF-0243-4338-8C12-0D1F21016E4F}"/>
                  </a:ext>
                </a:extLst>
              </p:cNvPr>
              <p:cNvSpPr>
                <a:spLocks/>
              </p:cNvSpPr>
              <p:nvPr/>
            </p:nvSpPr>
            <p:spPr bwMode="auto">
              <a:xfrm>
                <a:off x="7154387" y="4942797"/>
                <a:ext cx="579601" cy="556494"/>
              </a:xfrm>
              <a:custGeom>
                <a:avLst/>
                <a:gdLst>
                  <a:gd name="T0" fmla="*/ 55 w 127"/>
                  <a:gd name="T1" fmla="*/ 119 h 122"/>
                  <a:gd name="T2" fmla="*/ 46 w 127"/>
                  <a:gd name="T3" fmla="*/ 109 h 122"/>
                  <a:gd name="T4" fmla="*/ 41 w 127"/>
                  <a:gd name="T5" fmla="*/ 104 h 122"/>
                  <a:gd name="T6" fmla="*/ 26 w 127"/>
                  <a:gd name="T7" fmla="*/ 65 h 122"/>
                  <a:gd name="T8" fmla="*/ 23 w 127"/>
                  <a:gd name="T9" fmla="*/ 56 h 122"/>
                  <a:gd name="T10" fmla="*/ 5 w 127"/>
                  <a:gd name="T11" fmla="*/ 47 h 122"/>
                  <a:gd name="T12" fmla="*/ 1 w 127"/>
                  <a:gd name="T13" fmla="*/ 47 h 122"/>
                  <a:gd name="T14" fmla="*/ 0 w 127"/>
                  <a:gd name="T15" fmla="*/ 38 h 122"/>
                  <a:gd name="T16" fmla="*/ 0 w 127"/>
                  <a:gd name="T17" fmla="*/ 28 h 122"/>
                  <a:gd name="T18" fmla="*/ 9 w 127"/>
                  <a:gd name="T19" fmla="*/ 27 h 122"/>
                  <a:gd name="T20" fmla="*/ 32 w 127"/>
                  <a:gd name="T21" fmla="*/ 19 h 122"/>
                  <a:gd name="T22" fmla="*/ 46 w 127"/>
                  <a:gd name="T23" fmla="*/ 13 h 122"/>
                  <a:gd name="T24" fmla="*/ 62 w 127"/>
                  <a:gd name="T25" fmla="*/ 12 h 122"/>
                  <a:gd name="T26" fmla="*/ 70 w 127"/>
                  <a:gd name="T27" fmla="*/ 11 h 122"/>
                  <a:gd name="T28" fmla="*/ 93 w 127"/>
                  <a:gd name="T29" fmla="*/ 5 h 122"/>
                  <a:gd name="T30" fmla="*/ 90 w 127"/>
                  <a:gd name="T31" fmla="*/ 10 h 122"/>
                  <a:gd name="T32" fmla="*/ 91 w 127"/>
                  <a:gd name="T33" fmla="*/ 31 h 122"/>
                  <a:gd name="T34" fmla="*/ 95 w 127"/>
                  <a:gd name="T35" fmla="*/ 39 h 122"/>
                  <a:gd name="T36" fmla="*/ 102 w 127"/>
                  <a:gd name="T37" fmla="*/ 50 h 122"/>
                  <a:gd name="T38" fmla="*/ 117 w 127"/>
                  <a:gd name="T39" fmla="*/ 57 h 122"/>
                  <a:gd name="T40" fmla="*/ 127 w 127"/>
                  <a:gd name="T41" fmla="*/ 57 h 122"/>
                  <a:gd name="T42" fmla="*/ 121 w 127"/>
                  <a:gd name="T43" fmla="*/ 66 h 122"/>
                  <a:gd name="T44" fmla="*/ 110 w 127"/>
                  <a:gd name="T45" fmla="*/ 80 h 122"/>
                  <a:gd name="T46" fmla="*/ 82 w 127"/>
                  <a:gd name="T47" fmla="*/ 109 h 122"/>
                  <a:gd name="T48" fmla="*/ 76 w 127"/>
                  <a:gd name="T49" fmla="*/ 113 h 122"/>
                  <a:gd name="T50" fmla="*/ 55 w 127"/>
                  <a:gd name="T51" fmla="*/ 11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 h="122">
                    <a:moveTo>
                      <a:pt x="55" y="119"/>
                    </a:moveTo>
                    <a:cubicBezTo>
                      <a:pt x="52" y="118"/>
                      <a:pt x="48" y="114"/>
                      <a:pt x="46" y="109"/>
                    </a:cubicBezTo>
                    <a:cubicBezTo>
                      <a:pt x="45" y="106"/>
                      <a:pt x="43" y="104"/>
                      <a:pt x="41" y="104"/>
                    </a:cubicBezTo>
                    <a:cubicBezTo>
                      <a:pt x="35" y="102"/>
                      <a:pt x="26" y="79"/>
                      <a:pt x="26" y="65"/>
                    </a:cubicBezTo>
                    <a:cubicBezTo>
                      <a:pt x="26" y="60"/>
                      <a:pt x="25" y="58"/>
                      <a:pt x="23" y="56"/>
                    </a:cubicBezTo>
                    <a:cubicBezTo>
                      <a:pt x="17" y="51"/>
                      <a:pt x="10" y="47"/>
                      <a:pt x="5" y="47"/>
                    </a:cubicBezTo>
                    <a:cubicBezTo>
                      <a:pt x="1" y="47"/>
                      <a:pt x="1" y="47"/>
                      <a:pt x="1" y="47"/>
                    </a:cubicBezTo>
                    <a:cubicBezTo>
                      <a:pt x="0" y="38"/>
                      <a:pt x="0" y="38"/>
                      <a:pt x="0" y="38"/>
                    </a:cubicBezTo>
                    <a:cubicBezTo>
                      <a:pt x="0" y="33"/>
                      <a:pt x="0" y="29"/>
                      <a:pt x="0" y="28"/>
                    </a:cubicBezTo>
                    <a:cubicBezTo>
                      <a:pt x="0" y="27"/>
                      <a:pt x="5" y="27"/>
                      <a:pt x="9" y="27"/>
                    </a:cubicBezTo>
                    <a:cubicBezTo>
                      <a:pt x="20" y="27"/>
                      <a:pt x="26" y="25"/>
                      <a:pt x="32" y="19"/>
                    </a:cubicBezTo>
                    <a:cubicBezTo>
                      <a:pt x="34" y="17"/>
                      <a:pt x="40" y="14"/>
                      <a:pt x="46" y="13"/>
                    </a:cubicBezTo>
                    <a:cubicBezTo>
                      <a:pt x="56" y="10"/>
                      <a:pt x="57" y="10"/>
                      <a:pt x="62" y="12"/>
                    </a:cubicBezTo>
                    <a:cubicBezTo>
                      <a:pt x="67" y="14"/>
                      <a:pt x="68" y="14"/>
                      <a:pt x="70" y="11"/>
                    </a:cubicBezTo>
                    <a:cubicBezTo>
                      <a:pt x="76" y="5"/>
                      <a:pt x="93" y="0"/>
                      <a:pt x="93" y="5"/>
                    </a:cubicBezTo>
                    <a:cubicBezTo>
                      <a:pt x="93" y="6"/>
                      <a:pt x="92" y="8"/>
                      <a:pt x="90" y="10"/>
                    </a:cubicBezTo>
                    <a:cubicBezTo>
                      <a:pt x="87" y="15"/>
                      <a:pt x="88" y="27"/>
                      <a:pt x="91" y="31"/>
                    </a:cubicBezTo>
                    <a:cubicBezTo>
                      <a:pt x="92" y="33"/>
                      <a:pt x="94" y="37"/>
                      <a:pt x="95" y="39"/>
                    </a:cubicBezTo>
                    <a:cubicBezTo>
                      <a:pt x="95" y="42"/>
                      <a:pt x="98" y="46"/>
                      <a:pt x="102" y="50"/>
                    </a:cubicBezTo>
                    <a:cubicBezTo>
                      <a:pt x="109" y="56"/>
                      <a:pt x="109" y="57"/>
                      <a:pt x="117" y="57"/>
                    </a:cubicBezTo>
                    <a:cubicBezTo>
                      <a:pt x="122" y="57"/>
                      <a:pt x="126" y="57"/>
                      <a:pt x="127" y="57"/>
                    </a:cubicBezTo>
                    <a:cubicBezTo>
                      <a:pt x="127" y="58"/>
                      <a:pt x="125" y="62"/>
                      <a:pt x="121" y="66"/>
                    </a:cubicBezTo>
                    <a:cubicBezTo>
                      <a:pt x="117" y="70"/>
                      <a:pt x="112" y="76"/>
                      <a:pt x="110" y="80"/>
                    </a:cubicBezTo>
                    <a:cubicBezTo>
                      <a:pt x="105" y="91"/>
                      <a:pt x="87" y="109"/>
                      <a:pt x="82" y="109"/>
                    </a:cubicBezTo>
                    <a:cubicBezTo>
                      <a:pt x="79" y="109"/>
                      <a:pt x="77" y="110"/>
                      <a:pt x="76" y="113"/>
                    </a:cubicBezTo>
                    <a:cubicBezTo>
                      <a:pt x="73" y="119"/>
                      <a:pt x="64" y="122"/>
                      <a:pt x="55"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0" name="Freeform 165">
                <a:extLst>
                  <a:ext uri="{FF2B5EF4-FFF2-40B4-BE49-F238E27FC236}">
                    <a16:creationId xmlns:a16="http://schemas.microsoft.com/office/drawing/2014/main" id="{75DEA511-4A41-4A70-9D07-20EA56EAB832}"/>
                  </a:ext>
                </a:extLst>
              </p:cNvPr>
              <p:cNvSpPr>
                <a:spLocks/>
              </p:cNvSpPr>
              <p:nvPr/>
            </p:nvSpPr>
            <p:spPr bwMode="auto">
              <a:xfrm>
                <a:off x="7547206" y="5189272"/>
                <a:ext cx="527609" cy="514131"/>
              </a:xfrm>
              <a:custGeom>
                <a:avLst/>
                <a:gdLst>
                  <a:gd name="T0" fmla="*/ 17 w 116"/>
                  <a:gd name="T1" fmla="*/ 111 h 113"/>
                  <a:gd name="T2" fmla="*/ 2 w 116"/>
                  <a:gd name="T3" fmla="*/ 93 h 113"/>
                  <a:gd name="T4" fmla="*/ 1 w 116"/>
                  <a:gd name="T5" fmla="*/ 81 h 113"/>
                  <a:gd name="T6" fmla="*/ 18 w 116"/>
                  <a:gd name="T7" fmla="*/ 55 h 113"/>
                  <a:gd name="T8" fmla="*/ 26 w 116"/>
                  <a:gd name="T9" fmla="*/ 47 h 113"/>
                  <a:gd name="T10" fmla="*/ 31 w 116"/>
                  <a:gd name="T11" fmla="*/ 43 h 113"/>
                  <a:gd name="T12" fmla="*/ 48 w 116"/>
                  <a:gd name="T13" fmla="*/ 32 h 113"/>
                  <a:gd name="T14" fmla="*/ 34 w 116"/>
                  <a:gd name="T15" fmla="*/ 37 h 113"/>
                  <a:gd name="T16" fmla="*/ 37 w 116"/>
                  <a:gd name="T17" fmla="*/ 16 h 113"/>
                  <a:gd name="T18" fmla="*/ 49 w 116"/>
                  <a:gd name="T19" fmla="*/ 8 h 113"/>
                  <a:gd name="T20" fmla="*/ 83 w 116"/>
                  <a:gd name="T21" fmla="*/ 3 h 113"/>
                  <a:gd name="T22" fmla="*/ 90 w 116"/>
                  <a:gd name="T23" fmla="*/ 1 h 113"/>
                  <a:gd name="T24" fmla="*/ 99 w 116"/>
                  <a:gd name="T25" fmla="*/ 2 h 113"/>
                  <a:gd name="T26" fmla="*/ 115 w 116"/>
                  <a:gd name="T27" fmla="*/ 11 h 113"/>
                  <a:gd name="T28" fmla="*/ 107 w 116"/>
                  <a:gd name="T29" fmla="*/ 23 h 113"/>
                  <a:gd name="T30" fmla="*/ 96 w 116"/>
                  <a:gd name="T31" fmla="*/ 35 h 113"/>
                  <a:gd name="T32" fmla="*/ 75 w 116"/>
                  <a:gd name="T33" fmla="*/ 50 h 113"/>
                  <a:gd name="T34" fmla="*/ 68 w 116"/>
                  <a:gd name="T35" fmla="*/ 58 h 113"/>
                  <a:gd name="T36" fmla="*/ 60 w 116"/>
                  <a:gd name="T37" fmla="*/ 64 h 113"/>
                  <a:gd name="T38" fmla="*/ 53 w 116"/>
                  <a:gd name="T39" fmla="*/ 67 h 113"/>
                  <a:gd name="T40" fmla="*/ 52 w 116"/>
                  <a:gd name="T41" fmla="*/ 72 h 113"/>
                  <a:gd name="T42" fmla="*/ 48 w 116"/>
                  <a:gd name="T43" fmla="*/ 84 h 113"/>
                  <a:gd name="T44" fmla="*/ 34 w 116"/>
                  <a:gd name="T45" fmla="*/ 104 h 113"/>
                  <a:gd name="T46" fmla="*/ 25 w 116"/>
                  <a:gd name="T47" fmla="*/ 113 h 113"/>
                  <a:gd name="T48" fmla="*/ 17 w 116"/>
                  <a:gd name="T4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13">
                    <a:moveTo>
                      <a:pt x="17" y="111"/>
                    </a:moveTo>
                    <a:cubicBezTo>
                      <a:pt x="9" y="109"/>
                      <a:pt x="5" y="105"/>
                      <a:pt x="2" y="93"/>
                    </a:cubicBezTo>
                    <a:cubicBezTo>
                      <a:pt x="0" y="87"/>
                      <a:pt x="0" y="84"/>
                      <a:pt x="1" y="81"/>
                    </a:cubicBezTo>
                    <a:cubicBezTo>
                      <a:pt x="3" y="76"/>
                      <a:pt x="12" y="62"/>
                      <a:pt x="18" y="55"/>
                    </a:cubicBezTo>
                    <a:cubicBezTo>
                      <a:pt x="21" y="52"/>
                      <a:pt x="25" y="48"/>
                      <a:pt x="26" y="47"/>
                    </a:cubicBezTo>
                    <a:cubicBezTo>
                      <a:pt x="27" y="45"/>
                      <a:pt x="29" y="44"/>
                      <a:pt x="31" y="43"/>
                    </a:cubicBezTo>
                    <a:cubicBezTo>
                      <a:pt x="35" y="42"/>
                      <a:pt x="48" y="34"/>
                      <a:pt x="48" y="32"/>
                    </a:cubicBezTo>
                    <a:cubicBezTo>
                      <a:pt x="48" y="31"/>
                      <a:pt x="41" y="33"/>
                      <a:pt x="34" y="37"/>
                    </a:cubicBezTo>
                    <a:cubicBezTo>
                      <a:pt x="21" y="45"/>
                      <a:pt x="23" y="33"/>
                      <a:pt x="37" y="16"/>
                    </a:cubicBezTo>
                    <a:cubicBezTo>
                      <a:pt x="43" y="9"/>
                      <a:pt x="45" y="8"/>
                      <a:pt x="49" y="8"/>
                    </a:cubicBezTo>
                    <a:cubicBezTo>
                      <a:pt x="63" y="9"/>
                      <a:pt x="78" y="6"/>
                      <a:pt x="83" y="3"/>
                    </a:cubicBezTo>
                    <a:cubicBezTo>
                      <a:pt x="86" y="1"/>
                      <a:pt x="89" y="0"/>
                      <a:pt x="90" y="1"/>
                    </a:cubicBezTo>
                    <a:cubicBezTo>
                      <a:pt x="91" y="1"/>
                      <a:pt x="95" y="2"/>
                      <a:pt x="99" y="2"/>
                    </a:cubicBezTo>
                    <a:cubicBezTo>
                      <a:pt x="106" y="2"/>
                      <a:pt x="112" y="5"/>
                      <a:pt x="115" y="11"/>
                    </a:cubicBezTo>
                    <a:cubicBezTo>
                      <a:pt x="116" y="14"/>
                      <a:pt x="116" y="15"/>
                      <a:pt x="107" y="23"/>
                    </a:cubicBezTo>
                    <a:cubicBezTo>
                      <a:pt x="102" y="28"/>
                      <a:pt x="97" y="33"/>
                      <a:pt x="96" y="35"/>
                    </a:cubicBezTo>
                    <a:cubicBezTo>
                      <a:pt x="91" y="40"/>
                      <a:pt x="78" y="49"/>
                      <a:pt x="75" y="50"/>
                    </a:cubicBezTo>
                    <a:cubicBezTo>
                      <a:pt x="74" y="51"/>
                      <a:pt x="70" y="54"/>
                      <a:pt x="68" y="58"/>
                    </a:cubicBezTo>
                    <a:cubicBezTo>
                      <a:pt x="64" y="64"/>
                      <a:pt x="64" y="65"/>
                      <a:pt x="60" y="64"/>
                    </a:cubicBezTo>
                    <a:cubicBezTo>
                      <a:pt x="56" y="64"/>
                      <a:pt x="55" y="64"/>
                      <a:pt x="53" y="67"/>
                    </a:cubicBezTo>
                    <a:cubicBezTo>
                      <a:pt x="53" y="69"/>
                      <a:pt x="52" y="71"/>
                      <a:pt x="52" y="72"/>
                    </a:cubicBezTo>
                    <a:cubicBezTo>
                      <a:pt x="52" y="73"/>
                      <a:pt x="50" y="78"/>
                      <a:pt x="48" y="84"/>
                    </a:cubicBezTo>
                    <a:cubicBezTo>
                      <a:pt x="44" y="92"/>
                      <a:pt x="41" y="96"/>
                      <a:pt x="34" y="104"/>
                    </a:cubicBezTo>
                    <a:cubicBezTo>
                      <a:pt x="29" y="109"/>
                      <a:pt x="25" y="113"/>
                      <a:pt x="25" y="113"/>
                    </a:cubicBezTo>
                    <a:cubicBezTo>
                      <a:pt x="24" y="113"/>
                      <a:pt x="21" y="112"/>
                      <a:pt x="17"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1" name="Freeform 166">
                <a:extLst>
                  <a:ext uri="{FF2B5EF4-FFF2-40B4-BE49-F238E27FC236}">
                    <a16:creationId xmlns:a16="http://schemas.microsoft.com/office/drawing/2014/main" id="{42FC7B5D-4CDF-48A1-81D5-0E98B704BCD5}"/>
                  </a:ext>
                </a:extLst>
              </p:cNvPr>
              <p:cNvSpPr>
                <a:spLocks/>
              </p:cNvSpPr>
              <p:nvPr/>
            </p:nvSpPr>
            <p:spPr bwMode="auto">
              <a:xfrm>
                <a:off x="7988163" y="4942797"/>
                <a:ext cx="186782" cy="273433"/>
              </a:xfrm>
              <a:custGeom>
                <a:avLst/>
                <a:gdLst>
                  <a:gd name="T0" fmla="*/ 16 w 41"/>
                  <a:gd name="T1" fmla="*/ 58 h 60"/>
                  <a:gd name="T2" fmla="*/ 7 w 41"/>
                  <a:gd name="T3" fmla="*/ 48 h 60"/>
                  <a:gd name="T4" fmla="*/ 1 w 41"/>
                  <a:gd name="T5" fmla="*/ 39 h 60"/>
                  <a:gd name="T6" fmla="*/ 7 w 41"/>
                  <a:gd name="T7" fmla="*/ 24 h 60"/>
                  <a:gd name="T8" fmla="*/ 19 w 41"/>
                  <a:gd name="T9" fmla="*/ 0 h 60"/>
                  <a:gd name="T10" fmla="*/ 24 w 41"/>
                  <a:gd name="T11" fmla="*/ 11 h 60"/>
                  <a:gd name="T12" fmla="*/ 30 w 41"/>
                  <a:gd name="T13" fmla="*/ 23 h 60"/>
                  <a:gd name="T14" fmla="*/ 41 w 41"/>
                  <a:gd name="T15" fmla="*/ 34 h 60"/>
                  <a:gd name="T16" fmla="*/ 37 w 41"/>
                  <a:gd name="T17" fmla="*/ 44 h 60"/>
                  <a:gd name="T18" fmla="*/ 29 w 41"/>
                  <a:gd name="T19" fmla="*/ 51 h 60"/>
                  <a:gd name="T20" fmla="*/ 23 w 41"/>
                  <a:gd name="T21" fmla="*/ 55 h 60"/>
                  <a:gd name="T22" fmla="*/ 16 w 41"/>
                  <a:gd name="T23"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60">
                    <a:moveTo>
                      <a:pt x="16" y="58"/>
                    </a:moveTo>
                    <a:cubicBezTo>
                      <a:pt x="15" y="57"/>
                      <a:pt x="10" y="53"/>
                      <a:pt x="7" y="48"/>
                    </a:cubicBezTo>
                    <a:cubicBezTo>
                      <a:pt x="2" y="43"/>
                      <a:pt x="0" y="41"/>
                      <a:pt x="1" y="39"/>
                    </a:cubicBezTo>
                    <a:cubicBezTo>
                      <a:pt x="2" y="38"/>
                      <a:pt x="5" y="32"/>
                      <a:pt x="7" y="24"/>
                    </a:cubicBezTo>
                    <a:cubicBezTo>
                      <a:pt x="12" y="10"/>
                      <a:pt x="17" y="0"/>
                      <a:pt x="19" y="0"/>
                    </a:cubicBezTo>
                    <a:cubicBezTo>
                      <a:pt x="21" y="0"/>
                      <a:pt x="24" y="6"/>
                      <a:pt x="24" y="11"/>
                    </a:cubicBezTo>
                    <a:cubicBezTo>
                      <a:pt x="24" y="19"/>
                      <a:pt x="26" y="22"/>
                      <a:pt x="30" y="23"/>
                    </a:cubicBezTo>
                    <a:cubicBezTo>
                      <a:pt x="35" y="25"/>
                      <a:pt x="41" y="31"/>
                      <a:pt x="41" y="34"/>
                    </a:cubicBezTo>
                    <a:cubicBezTo>
                      <a:pt x="41" y="36"/>
                      <a:pt x="39" y="40"/>
                      <a:pt x="37" y="44"/>
                    </a:cubicBezTo>
                    <a:cubicBezTo>
                      <a:pt x="34" y="49"/>
                      <a:pt x="32" y="51"/>
                      <a:pt x="29" y="51"/>
                    </a:cubicBezTo>
                    <a:cubicBezTo>
                      <a:pt x="27" y="51"/>
                      <a:pt x="25" y="53"/>
                      <a:pt x="23" y="55"/>
                    </a:cubicBezTo>
                    <a:cubicBezTo>
                      <a:pt x="20" y="60"/>
                      <a:pt x="19" y="60"/>
                      <a:pt x="1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2" name="Freeform 167">
                <a:extLst>
                  <a:ext uri="{FF2B5EF4-FFF2-40B4-BE49-F238E27FC236}">
                    <a16:creationId xmlns:a16="http://schemas.microsoft.com/office/drawing/2014/main" id="{442E60BA-9165-41A0-A6A2-5FA878CA96B7}"/>
                  </a:ext>
                </a:extLst>
              </p:cNvPr>
              <p:cNvSpPr>
                <a:spLocks/>
              </p:cNvSpPr>
              <p:nvPr/>
            </p:nvSpPr>
            <p:spPr bwMode="auto">
              <a:xfrm>
                <a:off x="7624229" y="5085290"/>
                <a:ext cx="277284" cy="121312"/>
              </a:xfrm>
              <a:custGeom>
                <a:avLst/>
                <a:gdLst>
                  <a:gd name="T0" fmla="*/ 53 w 61"/>
                  <a:gd name="T1" fmla="*/ 25 h 27"/>
                  <a:gd name="T2" fmla="*/ 40 w 61"/>
                  <a:gd name="T3" fmla="*/ 23 h 27"/>
                  <a:gd name="T4" fmla="*/ 21 w 61"/>
                  <a:gd name="T5" fmla="*/ 21 h 27"/>
                  <a:gd name="T6" fmla="*/ 7 w 61"/>
                  <a:gd name="T7" fmla="*/ 17 h 27"/>
                  <a:gd name="T8" fmla="*/ 4 w 61"/>
                  <a:gd name="T9" fmla="*/ 7 h 27"/>
                  <a:gd name="T10" fmla="*/ 9 w 61"/>
                  <a:gd name="T11" fmla="*/ 0 h 27"/>
                  <a:gd name="T12" fmla="*/ 17 w 61"/>
                  <a:gd name="T13" fmla="*/ 6 h 27"/>
                  <a:gd name="T14" fmla="*/ 25 w 61"/>
                  <a:gd name="T15" fmla="*/ 11 h 27"/>
                  <a:gd name="T16" fmla="*/ 34 w 61"/>
                  <a:gd name="T17" fmla="*/ 9 h 27"/>
                  <a:gd name="T18" fmla="*/ 43 w 61"/>
                  <a:gd name="T19" fmla="*/ 7 h 27"/>
                  <a:gd name="T20" fmla="*/ 61 w 61"/>
                  <a:gd name="T21" fmla="*/ 3 h 27"/>
                  <a:gd name="T22" fmla="*/ 60 w 61"/>
                  <a:gd name="T23" fmla="*/ 8 h 27"/>
                  <a:gd name="T24" fmla="*/ 57 w 61"/>
                  <a:gd name="T25" fmla="*/ 18 h 27"/>
                  <a:gd name="T26" fmla="*/ 53 w 61"/>
                  <a:gd name="T27"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27">
                    <a:moveTo>
                      <a:pt x="53" y="25"/>
                    </a:moveTo>
                    <a:cubicBezTo>
                      <a:pt x="52" y="24"/>
                      <a:pt x="47" y="24"/>
                      <a:pt x="40" y="23"/>
                    </a:cubicBezTo>
                    <a:cubicBezTo>
                      <a:pt x="34" y="23"/>
                      <a:pt x="25" y="22"/>
                      <a:pt x="21" y="21"/>
                    </a:cubicBezTo>
                    <a:cubicBezTo>
                      <a:pt x="11" y="18"/>
                      <a:pt x="9" y="17"/>
                      <a:pt x="7" y="17"/>
                    </a:cubicBezTo>
                    <a:cubicBezTo>
                      <a:pt x="1" y="17"/>
                      <a:pt x="0" y="15"/>
                      <a:pt x="4" y="7"/>
                    </a:cubicBezTo>
                    <a:cubicBezTo>
                      <a:pt x="6" y="3"/>
                      <a:pt x="8" y="0"/>
                      <a:pt x="9" y="0"/>
                    </a:cubicBezTo>
                    <a:cubicBezTo>
                      <a:pt x="10" y="0"/>
                      <a:pt x="14" y="3"/>
                      <a:pt x="17" y="6"/>
                    </a:cubicBezTo>
                    <a:cubicBezTo>
                      <a:pt x="22" y="11"/>
                      <a:pt x="24" y="12"/>
                      <a:pt x="25" y="11"/>
                    </a:cubicBezTo>
                    <a:cubicBezTo>
                      <a:pt x="26" y="9"/>
                      <a:pt x="30" y="9"/>
                      <a:pt x="34" y="9"/>
                    </a:cubicBezTo>
                    <a:cubicBezTo>
                      <a:pt x="38" y="9"/>
                      <a:pt x="42" y="8"/>
                      <a:pt x="43" y="7"/>
                    </a:cubicBezTo>
                    <a:cubicBezTo>
                      <a:pt x="48" y="5"/>
                      <a:pt x="60" y="2"/>
                      <a:pt x="61" y="3"/>
                    </a:cubicBezTo>
                    <a:cubicBezTo>
                      <a:pt x="61" y="3"/>
                      <a:pt x="61" y="6"/>
                      <a:pt x="60" y="8"/>
                    </a:cubicBezTo>
                    <a:cubicBezTo>
                      <a:pt x="59" y="10"/>
                      <a:pt x="58" y="14"/>
                      <a:pt x="57" y="18"/>
                    </a:cubicBezTo>
                    <a:cubicBezTo>
                      <a:pt x="57" y="23"/>
                      <a:pt x="55" y="27"/>
                      <a:pt x="5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93" name="Freeform 56">
                <a:extLst>
                  <a:ext uri="{FF2B5EF4-FFF2-40B4-BE49-F238E27FC236}">
                    <a16:creationId xmlns:a16="http://schemas.microsoft.com/office/drawing/2014/main" id="{F276340C-F282-4132-A9F6-84766D6E9614}"/>
                  </a:ext>
                </a:extLst>
              </p:cNvPr>
              <p:cNvSpPr>
                <a:spLocks/>
              </p:cNvSpPr>
              <p:nvPr/>
            </p:nvSpPr>
            <p:spPr bwMode="auto">
              <a:xfrm>
                <a:off x="7474034" y="4588490"/>
                <a:ext cx="327349" cy="100130"/>
              </a:xfrm>
              <a:custGeom>
                <a:avLst/>
                <a:gdLst>
                  <a:gd name="T0" fmla="*/ 31 w 72"/>
                  <a:gd name="T1" fmla="*/ 22 h 22"/>
                  <a:gd name="T2" fmla="*/ 24 w 72"/>
                  <a:gd name="T3" fmla="*/ 19 h 22"/>
                  <a:gd name="T4" fmla="*/ 12 w 72"/>
                  <a:gd name="T5" fmla="*/ 14 h 22"/>
                  <a:gd name="T6" fmla="*/ 6 w 72"/>
                  <a:gd name="T7" fmla="*/ 4 h 22"/>
                  <a:gd name="T8" fmla="*/ 20 w 72"/>
                  <a:gd name="T9" fmla="*/ 0 h 22"/>
                  <a:gd name="T10" fmla="*/ 59 w 72"/>
                  <a:gd name="T11" fmla="*/ 5 h 22"/>
                  <a:gd name="T12" fmla="*/ 72 w 72"/>
                  <a:gd name="T13" fmla="*/ 14 h 22"/>
                  <a:gd name="T14" fmla="*/ 56 w 72"/>
                  <a:gd name="T15" fmla="*/ 21 h 22"/>
                  <a:gd name="T16" fmla="*/ 31 w 7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22">
                    <a:moveTo>
                      <a:pt x="31" y="22"/>
                    </a:moveTo>
                    <a:cubicBezTo>
                      <a:pt x="29" y="21"/>
                      <a:pt x="26" y="20"/>
                      <a:pt x="24" y="19"/>
                    </a:cubicBezTo>
                    <a:cubicBezTo>
                      <a:pt x="22" y="17"/>
                      <a:pt x="17" y="15"/>
                      <a:pt x="12" y="14"/>
                    </a:cubicBezTo>
                    <a:cubicBezTo>
                      <a:pt x="2" y="12"/>
                      <a:pt x="0" y="9"/>
                      <a:pt x="6" y="4"/>
                    </a:cubicBezTo>
                    <a:cubicBezTo>
                      <a:pt x="10" y="1"/>
                      <a:pt x="12" y="0"/>
                      <a:pt x="20" y="0"/>
                    </a:cubicBezTo>
                    <a:cubicBezTo>
                      <a:pt x="39" y="0"/>
                      <a:pt x="46" y="0"/>
                      <a:pt x="59" y="5"/>
                    </a:cubicBezTo>
                    <a:cubicBezTo>
                      <a:pt x="72" y="9"/>
                      <a:pt x="72" y="9"/>
                      <a:pt x="72" y="14"/>
                    </a:cubicBezTo>
                    <a:cubicBezTo>
                      <a:pt x="72" y="19"/>
                      <a:pt x="72" y="19"/>
                      <a:pt x="56" y="21"/>
                    </a:cubicBezTo>
                    <a:cubicBezTo>
                      <a:pt x="39" y="22"/>
                      <a:pt x="35" y="22"/>
                      <a:pt x="3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380" name="Group 379">
              <a:extLst>
                <a:ext uri="{FF2B5EF4-FFF2-40B4-BE49-F238E27FC236}">
                  <a16:creationId xmlns:a16="http://schemas.microsoft.com/office/drawing/2014/main" id="{7C11D77A-A534-42D2-9A23-71FBC215A735}"/>
                </a:ext>
              </a:extLst>
            </p:cNvPr>
            <p:cNvGrpSpPr/>
            <p:nvPr userDrawn="1"/>
          </p:nvGrpSpPr>
          <p:grpSpPr>
            <a:xfrm>
              <a:off x="4179363" y="3948363"/>
              <a:ext cx="2360763" cy="2510958"/>
              <a:chOff x="4179363" y="3849067"/>
              <a:chExt cx="2360763" cy="2510958"/>
            </a:xfrm>
            <a:grpFill/>
          </p:grpSpPr>
          <p:sp>
            <p:nvSpPr>
              <p:cNvPr id="386" name="Freeform 53">
                <a:extLst>
                  <a:ext uri="{FF2B5EF4-FFF2-40B4-BE49-F238E27FC236}">
                    <a16:creationId xmlns:a16="http://schemas.microsoft.com/office/drawing/2014/main" id="{5614F35C-951B-4AC3-B6D1-982353C53A93}"/>
                  </a:ext>
                </a:extLst>
              </p:cNvPr>
              <p:cNvSpPr>
                <a:spLocks/>
              </p:cNvSpPr>
              <p:nvPr/>
            </p:nvSpPr>
            <p:spPr bwMode="auto">
              <a:xfrm>
                <a:off x="4179363" y="3849067"/>
                <a:ext cx="2360763" cy="2510958"/>
              </a:xfrm>
              <a:custGeom>
                <a:avLst/>
                <a:gdLst>
                  <a:gd name="T0" fmla="*/ 319 w 518"/>
                  <a:gd name="T1" fmla="*/ 542 h 551"/>
                  <a:gd name="T2" fmla="*/ 328 w 518"/>
                  <a:gd name="T3" fmla="*/ 527 h 551"/>
                  <a:gd name="T4" fmla="*/ 330 w 518"/>
                  <a:gd name="T5" fmla="*/ 516 h 551"/>
                  <a:gd name="T6" fmla="*/ 342 w 518"/>
                  <a:gd name="T7" fmla="*/ 492 h 551"/>
                  <a:gd name="T8" fmla="*/ 347 w 518"/>
                  <a:gd name="T9" fmla="*/ 455 h 551"/>
                  <a:gd name="T10" fmla="*/ 349 w 518"/>
                  <a:gd name="T11" fmla="*/ 440 h 551"/>
                  <a:gd name="T12" fmla="*/ 342 w 518"/>
                  <a:gd name="T13" fmla="*/ 425 h 551"/>
                  <a:gd name="T14" fmla="*/ 374 w 518"/>
                  <a:gd name="T15" fmla="*/ 449 h 551"/>
                  <a:gd name="T16" fmla="*/ 357 w 518"/>
                  <a:gd name="T17" fmla="*/ 404 h 551"/>
                  <a:gd name="T18" fmla="*/ 328 w 518"/>
                  <a:gd name="T19" fmla="*/ 398 h 551"/>
                  <a:gd name="T20" fmla="*/ 276 w 518"/>
                  <a:gd name="T21" fmla="*/ 393 h 551"/>
                  <a:gd name="T22" fmla="*/ 259 w 518"/>
                  <a:gd name="T23" fmla="*/ 378 h 551"/>
                  <a:gd name="T24" fmla="*/ 253 w 518"/>
                  <a:gd name="T25" fmla="*/ 365 h 551"/>
                  <a:gd name="T26" fmla="*/ 247 w 518"/>
                  <a:gd name="T27" fmla="*/ 346 h 551"/>
                  <a:gd name="T28" fmla="*/ 215 w 518"/>
                  <a:gd name="T29" fmla="*/ 327 h 551"/>
                  <a:gd name="T30" fmla="*/ 211 w 518"/>
                  <a:gd name="T31" fmla="*/ 310 h 551"/>
                  <a:gd name="T32" fmla="*/ 198 w 518"/>
                  <a:gd name="T33" fmla="*/ 307 h 551"/>
                  <a:gd name="T34" fmla="*/ 171 w 518"/>
                  <a:gd name="T35" fmla="*/ 299 h 551"/>
                  <a:gd name="T36" fmla="*/ 161 w 518"/>
                  <a:gd name="T37" fmla="*/ 309 h 551"/>
                  <a:gd name="T38" fmla="*/ 139 w 518"/>
                  <a:gd name="T39" fmla="*/ 329 h 551"/>
                  <a:gd name="T40" fmla="*/ 92 w 518"/>
                  <a:gd name="T41" fmla="*/ 330 h 551"/>
                  <a:gd name="T42" fmla="*/ 69 w 518"/>
                  <a:gd name="T43" fmla="*/ 322 h 551"/>
                  <a:gd name="T44" fmla="*/ 42 w 518"/>
                  <a:gd name="T45" fmla="*/ 312 h 551"/>
                  <a:gd name="T46" fmla="*/ 20 w 518"/>
                  <a:gd name="T47" fmla="*/ 307 h 551"/>
                  <a:gd name="T48" fmla="*/ 5 w 518"/>
                  <a:gd name="T49" fmla="*/ 284 h 551"/>
                  <a:gd name="T50" fmla="*/ 3 w 518"/>
                  <a:gd name="T51" fmla="*/ 212 h 551"/>
                  <a:gd name="T52" fmla="*/ 37 w 518"/>
                  <a:gd name="T53" fmla="*/ 123 h 551"/>
                  <a:gd name="T54" fmla="*/ 69 w 518"/>
                  <a:gd name="T55" fmla="*/ 87 h 551"/>
                  <a:gd name="T56" fmla="*/ 112 w 518"/>
                  <a:gd name="T57" fmla="*/ 38 h 551"/>
                  <a:gd name="T58" fmla="*/ 145 w 518"/>
                  <a:gd name="T59" fmla="*/ 0 h 551"/>
                  <a:gd name="T60" fmla="*/ 165 w 518"/>
                  <a:gd name="T61" fmla="*/ 17 h 551"/>
                  <a:gd name="T62" fmla="*/ 183 w 518"/>
                  <a:gd name="T63" fmla="*/ 29 h 551"/>
                  <a:gd name="T64" fmla="*/ 210 w 518"/>
                  <a:gd name="T65" fmla="*/ 40 h 551"/>
                  <a:gd name="T66" fmla="*/ 228 w 518"/>
                  <a:gd name="T67" fmla="*/ 54 h 551"/>
                  <a:gd name="T68" fmla="*/ 287 w 518"/>
                  <a:gd name="T69" fmla="*/ 59 h 551"/>
                  <a:gd name="T70" fmla="*/ 292 w 518"/>
                  <a:gd name="T71" fmla="*/ 74 h 551"/>
                  <a:gd name="T72" fmla="*/ 291 w 518"/>
                  <a:gd name="T73" fmla="*/ 93 h 551"/>
                  <a:gd name="T74" fmla="*/ 298 w 518"/>
                  <a:gd name="T75" fmla="*/ 119 h 551"/>
                  <a:gd name="T76" fmla="*/ 302 w 518"/>
                  <a:gd name="T77" fmla="*/ 141 h 551"/>
                  <a:gd name="T78" fmla="*/ 341 w 518"/>
                  <a:gd name="T79" fmla="*/ 190 h 551"/>
                  <a:gd name="T80" fmla="*/ 353 w 518"/>
                  <a:gd name="T81" fmla="*/ 197 h 551"/>
                  <a:gd name="T82" fmla="*/ 363 w 518"/>
                  <a:gd name="T83" fmla="*/ 204 h 551"/>
                  <a:gd name="T84" fmla="*/ 367 w 518"/>
                  <a:gd name="T85" fmla="*/ 240 h 551"/>
                  <a:gd name="T86" fmla="*/ 370 w 518"/>
                  <a:gd name="T87" fmla="*/ 264 h 551"/>
                  <a:gd name="T88" fmla="*/ 374 w 518"/>
                  <a:gd name="T89" fmla="*/ 301 h 551"/>
                  <a:gd name="T90" fmla="*/ 383 w 518"/>
                  <a:gd name="T91" fmla="*/ 355 h 551"/>
                  <a:gd name="T92" fmla="*/ 431 w 518"/>
                  <a:gd name="T93" fmla="*/ 382 h 551"/>
                  <a:gd name="T94" fmla="*/ 455 w 518"/>
                  <a:gd name="T95" fmla="*/ 391 h 551"/>
                  <a:gd name="T96" fmla="*/ 465 w 518"/>
                  <a:gd name="T97" fmla="*/ 402 h 551"/>
                  <a:gd name="T98" fmla="*/ 499 w 518"/>
                  <a:gd name="T99" fmla="*/ 396 h 551"/>
                  <a:gd name="T100" fmla="*/ 517 w 518"/>
                  <a:gd name="T101" fmla="*/ 400 h 551"/>
                  <a:gd name="T102" fmla="*/ 486 w 518"/>
                  <a:gd name="T103" fmla="*/ 436 h 551"/>
                  <a:gd name="T104" fmla="*/ 467 w 518"/>
                  <a:gd name="T105" fmla="*/ 455 h 551"/>
                  <a:gd name="T106" fmla="*/ 402 w 518"/>
                  <a:gd name="T107" fmla="*/ 481 h 551"/>
                  <a:gd name="T108" fmla="*/ 409 w 518"/>
                  <a:gd name="T109" fmla="*/ 495 h 551"/>
                  <a:gd name="T110" fmla="*/ 407 w 518"/>
                  <a:gd name="T111" fmla="*/ 506 h 551"/>
                  <a:gd name="T112" fmla="*/ 383 w 518"/>
                  <a:gd name="T113" fmla="*/ 520 h 551"/>
                  <a:gd name="T114" fmla="*/ 383 w 518"/>
                  <a:gd name="T115" fmla="*/ 524 h 551"/>
                  <a:gd name="T116" fmla="*/ 339 w 518"/>
                  <a:gd name="T117" fmla="*/ 539 h 551"/>
                  <a:gd name="T118" fmla="*/ 314 w 518"/>
                  <a:gd name="T119" fmla="*/ 551 h 551"/>
                  <a:gd name="T120" fmla="*/ 312 w 518"/>
                  <a:gd name="T121" fmla="*/ 54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8" h="551">
                    <a:moveTo>
                      <a:pt x="312" y="547"/>
                    </a:moveTo>
                    <a:cubicBezTo>
                      <a:pt x="313" y="544"/>
                      <a:pt x="315" y="543"/>
                      <a:pt x="319" y="542"/>
                    </a:cubicBezTo>
                    <a:cubicBezTo>
                      <a:pt x="322" y="542"/>
                      <a:pt x="325" y="541"/>
                      <a:pt x="326" y="540"/>
                    </a:cubicBezTo>
                    <a:cubicBezTo>
                      <a:pt x="329" y="539"/>
                      <a:pt x="330" y="529"/>
                      <a:pt x="328" y="527"/>
                    </a:cubicBezTo>
                    <a:cubicBezTo>
                      <a:pt x="327" y="527"/>
                      <a:pt x="327" y="525"/>
                      <a:pt x="328" y="524"/>
                    </a:cubicBezTo>
                    <a:cubicBezTo>
                      <a:pt x="328" y="522"/>
                      <a:pt x="329" y="519"/>
                      <a:pt x="330" y="516"/>
                    </a:cubicBezTo>
                    <a:cubicBezTo>
                      <a:pt x="330" y="513"/>
                      <a:pt x="332" y="510"/>
                      <a:pt x="333" y="509"/>
                    </a:cubicBezTo>
                    <a:cubicBezTo>
                      <a:pt x="338" y="505"/>
                      <a:pt x="343" y="497"/>
                      <a:pt x="342" y="492"/>
                    </a:cubicBezTo>
                    <a:cubicBezTo>
                      <a:pt x="342" y="489"/>
                      <a:pt x="342" y="482"/>
                      <a:pt x="342" y="475"/>
                    </a:cubicBezTo>
                    <a:cubicBezTo>
                      <a:pt x="342" y="465"/>
                      <a:pt x="342" y="463"/>
                      <a:pt x="347" y="455"/>
                    </a:cubicBezTo>
                    <a:cubicBezTo>
                      <a:pt x="352" y="446"/>
                      <a:pt x="352" y="446"/>
                      <a:pt x="352" y="446"/>
                    </a:cubicBezTo>
                    <a:cubicBezTo>
                      <a:pt x="349" y="440"/>
                      <a:pt x="349" y="440"/>
                      <a:pt x="349" y="440"/>
                    </a:cubicBezTo>
                    <a:cubicBezTo>
                      <a:pt x="348" y="437"/>
                      <a:pt x="345" y="433"/>
                      <a:pt x="344" y="432"/>
                    </a:cubicBezTo>
                    <a:cubicBezTo>
                      <a:pt x="341" y="429"/>
                      <a:pt x="340" y="425"/>
                      <a:pt x="342" y="425"/>
                    </a:cubicBezTo>
                    <a:cubicBezTo>
                      <a:pt x="342" y="425"/>
                      <a:pt x="346" y="429"/>
                      <a:pt x="351" y="434"/>
                    </a:cubicBezTo>
                    <a:cubicBezTo>
                      <a:pt x="359" y="442"/>
                      <a:pt x="366" y="446"/>
                      <a:pt x="374" y="449"/>
                    </a:cubicBezTo>
                    <a:cubicBezTo>
                      <a:pt x="382" y="451"/>
                      <a:pt x="386" y="438"/>
                      <a:pt x="380" y="429"/>
                    </a:cubicBezTo>
                    <a:cubicBezTo>
                      <a:pt x="376" y="424"/>
                      <a:pt x="361" y="407"/>
                      <a:pt x="357" y="404"/>
                    </a:cubicBezTo>
                    <a:cubicBezTo>
                      <a:pt x="356" y="403"/>
                      <a:pt x="350" y="402"/>
                      <a:pt x="345" y="401"/>
                    </a:cubicBezTo>
                    <a:cubicBezTo>
                      <a:pt x="340" y="401"/>
                      <a:pt x="332" y="399"/>
                      <a:pt x="328" y="398"/>
                    </a:cubicBezTo>
                    <a:cubicBezTo>
                      <a:pt x="322" y="396"/>
                      <a:pt x="314" y="396"/>
                      <a:pt x="299" y="396"/>
                    </a:cubicBezTo>
                    <a:cubicBezTo>
                      <a:pt x="280" y="396"/>
                      <a:pt x="278" y="395"/>
                      <a:pt x="276" y="393"/>
                    </a:cubicBezTo>
                    <a:cubicBezTo>
                      <a:pt x="275" y="391"/>
                      <a:pt x="271" y="388"/>
                      <a:pt x="267" y="386"/>
                    </a:cubicBezTo>
                    <a:cubicBezTo>
                      <a:pt x="261" y="383"/>
                      <a:pt x="259" y="381"/>
                      <a:pt x="259" y="378"/>
                    </a:cubicBezTo>
                    <a:cubicBezTo>
                      <a:pt x="259" y="376"/>
                      <a:pt x="257" y="373"/>
                      <a:pt x="255" y="370"/>
                    </a:cubicBezTo>
                    <a:cubicBezTo>
                      <a:pt x="252" y="367"/>
                      <a:pt x="251" y="366"/>
                      <a:pt x="253" y="365"/>
                    </a:cubicBezTo>
                    <a:cubicBezTo>
                      <a:pt x="256" y="364"/>
                      <a:pt x="256" y="361"/>
                      <a:pt x="253" y="356"/>
                    </a:cubicBezTo>
                    <a:cubicBezTo>
                      <a:pt x="251" y="354"/>
                      <a:pt x="249" y="349"/>
                      <a:pt x="247" y="346"/>
                    </a:cubicBezTo>
                    <a:cubicBezTo>
                      <a:pt x="245" y="340"/>
                      <a:pt x="244" y="339"/>
                      <a:pt x="239" y="339"/>
                    </a:cubicBezTo>
                    <a:cubicBezTo>
                      <a:pt x="233" y="338"/>
                      <a:pt x="218" y="330"/>
                      <a:pt x="215" y="327"/>
                    </a:cubicBezTo>
                    <a:cubicBezTo>
                      <a:pt x="214" y="326"/>
                      <a:pt x="213" y="323"/>
                      <a:pt x="212" y="320"/>
                    </a:cubicBezTo>
                    <a:cubicBezTo>
                      <a:pt x="212" y="317"/>
                      <a:pt x="212" y="312"/>
                      <a:pt x="211" y="310"/>
                    </a:cubicBezTo>
                    <a:cubicBezTo>
                      <a:pt x="210" y="306"/>
                      <a:pt x="210" y="306"/>
                      <a:pt x="210" y="306"/>
                    </a:cubicBezTo>
                    <a:cubicBezTo>
                      <a:pt x="198" y="307"/>
                      <a:pt x="198" y="307"/>
                      <a:pt x="198" y="307"/>
                    </a:cubicBezTo>
                    <a:cubicBezTo>
                      <a:pt x="188" y="308"/>
                      <a:pt x="186" y="307"/>
                      <a:pt x="179" y="304"/>
                    </a:cubicBezTo>
                    <a:cubicBezTo>
                      <a:pt x="171" y="299"/>
                      <a:pt x="171" y="299"/>
                      <a:pt x="171" y="299"/>
                    </a:cubicBezTo>
                    <a:cubicBezTo>
                      <a:pt x="165" y="303"/>
                      <a:pt x="165" y="303"/>
                      <a:pt x="165" y="303"/>
                    </a:cubicBezTo>
                    <a:cubicBezTo>
                      <a:pt x="160" y="306"/>
                      <a:pt x="159" y="307"/>
                      <a:pt x="161" y="309"/>
                    </a:cubicBezTo>
                    <a:cubicBezTo>
                      <a:pt x="163" y="311"/>
                      <a:pt x="163" y="312"/>
                      <a:pt x="154" y="317"/>
                    </a:cubicBezTo>
                    <a:cubicBezTo>
                      <a:pt x="149" y="321"/>
                      <a:pt x="142" y="326"/>
                      <a:pt x="139" y="329"/>
                    </a:cubicBezTo>
                    <a:cubicBezTo>
                      <a:pt x="134" y="335"/>
                      <a:pt x="133" y="335"/>
                      <a:pt x="113" y="332"/>
                    </a:cubicBezTo>
                    <a:cubicBezTo>
                      <a:pt x="107" y="331"/>
                      <a:pt x="97" y="330"/>
                      <a:pt x="92" y="330"/>
                    </a:cubicBezTo>
                    <a:cubicBezTo>
                      <a:pt x="82" y="330"/>
                      <a:pt x="73" y="326"/>
                      <a:pt x="73" y="323"/>
                    </a:cubicBezTo>
                    <a:cubicBezTo>
                      <a:pt x="73" y="323"/>
                      <a:pt x="71" y="322"/>
                      <a:pt x="69" y="322"/>
                    </a:cubicBezTo>
                    <a:cubicBezTo>
                      <a:pt x="67" y="322"/>
                      <a:pt x="64" y="320"/>
                      <a:pt x="60" y="317"/>
                    </a:cubicBezTo>
                    <a:cubicBezTo>
                      <a:pt x="55" y="312"/>
                      <a:pt x="55" y="312"/>
                      <a:pt x="42" y="312"/>
                    </a:cubicBezTo>
                    <a:cubicBezTo>
                      <a:pt x="33" y="312"/>
                      <a:pt x="29" y="312"/>
                      <a:pt x="27" y="310"/>
                    </a:cubicBezTo>
                    <a:cubicBezTo>
                      <a:pt x="26" y="309"/>
                      <a:pt x="23" y="308"/>
                      <a:pt x="20" y="307"/>
                    </a:cubicBezTo>
                    <a:cubicBezTo>
                      <a:pt x="12" y="306"/>
                      <a:pt x="11" y="305"/>
                      <a:pt x="10" y="295"/>
                    </a:cubicBezTo>
                    <a:cubicBezTo>
                      <a:pt x="9" y="287"/>
                      <a:pt x="9" y="286"/>
                      <a:pt x="5" y="284"/>
                    </a:cubicBezTo>
                    <a:cubicBezTo>
                      <a:pt x="0" y="282"/>
                      <a:pt x="0" y="281"/>
                      <a:pt x="0" y="273"/>
                    </a:cubicBezTo>
                    <a:cubicBezTo>
                      <a:pt x="0" y="264"/>
                      <a:pt x="2" y="226"/>
                      <a:pt x="3" y="212"/>
                    </a:cubicBezTo>
                    <a:cubicBezTo>
                      <a:pt x="3" y="208"/>
                      <a:pt x="4" y="194"/>
                      <a:pt x="4" y="181"/>
                    </a:cubicBezTo>
                    <a:cubicBezTo>
                      <a:pt x="5" y="153"/>
                      <a:pt x="3" y="158"/>
                      <a:pt x="37" y="123"/>
                    </a:cubicBezTo>
                    <a:cubicBezTo>
                      <a:pt x="44" y="115"/>
                      <a:pt x="54" y="104"/>
                      <a:pt x="59" y="99"/>
                    </a:cubicBezTo>
                    <a:cubicBezTo>
                      <a:pt x="64" y="93"/>
                      <a:pt x="69" y="87"/>
                      <a:pt x="69" y="87"/>
                    </a:cubicBezTo>
                    <a:cubicBezTo>
                      <a:pt x="70" y="86"/>
                      <a:pt x="79" y="76"/>
                      <a:pt x="88" y="65"/>
                    </a:cubicBezTo>
                    <a:cubicBezTo>
                      <a:pt x="97" y="54"/>
                      <a:pt x="108" y="42"/>
                      <a:pt x="112" y="38"/>
                    </a:cubicBezTo>
                    <a:cubicBezTo>
                      <a:pt x="131" y="16"/>
                      <a:pt x="140" y="7"/>
                      <a:pt x="142" y="4"/>
                    </a:cubicBezTo>
                    <a:cubicBezTo>
                      <a:pt x="145" y="0"/>
                      <a:pt x="145" y="0"/>
                      <a:pt x="145" y="0"/>
                    </a:cubicBezTo>
                    <a:cubicBezTo>
                      <a:pt x="150" y="3"/>
                      <a:pt x="150" y="3"/>
                      <a:pt x="150" y="3"/>
                    </a:cubicBezTo>
                    <a:cubicBezTo>
                      <a:pt x="155" y="6"/>
                      <a:pt x="165" y="15"/>
                      <a:pt x="165" y="17"/>
                    </a:cubicBezTo>
                    <a:cubicBezTo>
                      <a:pt x="165" y="18"/>
                      <a:pt x="167" y="21"/>
                      <a:pt x="170" y="23"/>
                    </a:cubicBezTo>
                    <a:cubicBezTo>
                      <a:pt x="173" y="26"/>
                      <a:pt x="177" y="28"/>
                      <a:pt x="183" y="29"/>
                    </a:cubicBezTo>
                    <a:cubicBezTo>
                      <a:pt x="189" y="30"/>
                      <a:pt x="193" y="32"/>
                      <a:pt x="195" y="35"/>
                    </a:cubicBezTo>
                    <a:cubicBezTo>
                      <a:pt x="200" y="39"/>
                      <a:pt x="203" y="40"/>
                      <a:pt x="210" y="40"/>
                    </a:cubicBezTo>
                    <a:cubicBezTo>
                      <a:pt x="211" y="40"/>
                      <a:pt x="216" y="43"/>
                      <a:pt x="220" y="47"/>
                    </a:cubicBezTo>
                    <a:cubicBezTo>
                      <a:pt x="228" y="54"/>
                      <a:pt x="228" y="54"/>
                      <a:pt x="228" y="54"/>
                    </a:cubicBezTo>
                    <a:cubicBezTo>
                      <a:pt x="255" y="55"/>
                      <a:pt x="255" y="55"/>
                      <a:pt x="255" y="55"/>
                    </a:cubicBezTo>
                    <a:cubicBezTo>
                      <a:pt x="278" y="56"/>
                      <a:pt x="282" y="56"/>
                      <a:pt x="287" y="59"/>
                    </a:cubicBezTo>
                    <a:cubicBezTo>
                      <a:pt x="293" y="62"/>
                      <a:pt x="293" y="62"/>
                      <a:pt x="293" y="62"/>
                    </a:cubicBezTo>
                    <a:cubicBezTo>
                      <a:pt x="292" y="74"/>
                      <a:pt x="292" y="74"/>
                      <a:pt x="292" y="74"/>
                    </a:cubicBezTo>
                    <a:cubicBezTo>
                      <a:pt x="291" y="81"/>
                      <a:pt x="290" y="87"/>
                      <a:pt x="290" y="88"/>
                    </a:cubicBezTo>
                    <a:cubicBezTo>
                      <a:pt x="289" y="88"/>
                      <a:pt x="290" y="91"/>
                      <a:pt x="291" y="93"/>
                    </a:cubicBezTo>
                    <a:cubicBezTo>
                      <a:pt x="293" y="96"/>
                      <a:pt x="294" y="101"/>
                      <a:pt x="295" y="104"/>
                    </a:cubicBezTo>
                    <a:cubicBezTo>
                      <a:pt x="296" y="115"/>
                      <a:pt x="296" y="117"/>
                      <a:pt x="298" y="119"/>
                    </a:cubicBezTo>
                    <a:cubicBezTo>
                      <a:pt x="298" y="121"/>
                      <a:pt x="299" y="125"/>
                      <a:pt x="299" y="128"/>
                    </a:cubicBezTo>
                    <a:cubicBezTo>
                      <a:pt x="298" y="134"/>
                      <a:pt x="299" y="136"/>
                      <a:pt x="302" y="141"/>
                    </a:cubicBezTo>
                    <a:cubicBezTo>
                      <a:pt x="308" y="150"/>
                      <a:pt x="325" y="171"/>
                      <a:pt x="327" y="171"/>
                    </a:cubicBezTo>
                    <a:cubicBezTo>
                      <a:pt x="330" y="171"/>
                      <a:pt x="339" y="182"/>
                      <a:pt x="341" y="190"/>
                    </a:cubicBezTo>
                    <a:cubicBezTo>
                      <a:pt x="344" y="198"/>
                      <a:pt x="344" y="198"/>
                      <a:pt x="344" y="198"/>
                    </a:cubicBezTo>
                    <a:cubicBezTo>
                      <a:pt x="353" y="197"/>
                      <a:pt x="353" y="197"/>
                      <a:pt x="353" y="197"/>
                    </a:cubicBezTo>
                    <a:cubicBezTo>
                      <a:pt x="362" y="196"/>
                      <a:pt x="362" y="196"/>
                      <a:pt x="362" y="196"/>
                    </a:cubicBezTo>
                    <a:cubicBezTo>
                      <a:pt x="363" y="204"/>
                      <a:pt x="363" y="204"/>
                      <a:pt x="363" y="204"/>
                    </a:cubicBezTo>
                    <a:cubicBezTo>
                      <a:pt x="364" y="215"/>
                      <a:pt x="365" y="220"/>
                      <a:pt x="365" y="229"/>
                    </a:cubicBezTo>
                    <a:cubicBezTo>
                      <a:pt x="366" y="233"/>
                      <a:pt x="366" y="238"/>
                      <a:pt x="367" y="240"/>
                    </a:cubicBezTo>
                    <a:cubicBezTo>
                      <a:pt x="367" y="242"/>
                      <a:pt x="368" y="247"/>
                      <a:pt x="368" y="252"/>
                    </a:cubicBezTo>
                    <a:cubicBezTo>
                      <a:pt x="369" y="257"/>
                      <a:pt x="369" y="262"/>
                      <a:pt x="370" y="264"/>
                    </a:cubicBezTo>
                    <a:cubicBezTo>
                      <a:pt x="370" y="269"/>
                      <a:pt x="372" y="280"/>
                      <a:pt x="373" y="289"/>
                    </a:cubicBezTo>
                    <a:cubicBezTo>
                      <a:pt x="373" y="293"/>
                      <a:pt x="374" y="298"/>
                      <a:pt x="374" y="301"/>
                    </a:cubicBezTo>
                    <a:cubicBezTo>
                      <a:pt x="376" y="318"/>
                      <a:pt x="377" y="329"/>
                      <a:pt x="378" y="337"/>
                    </a:cubicBezTo>
                    <a:cubicBezTo>
                      <a:pt x="379" y="341"/>
                      <a:pt x="381" y="349"/>
                      <a:pt x="383" y="355"/>
                    </a:cubicBezTo>
                    <a:cubicBezTo>
                      <a:pt x="387" y="363"/>
                      <a:pt x="389" y="365"/>
                      <a:pt x="396" y="370"/>
                    </a:cubicBezTo>
                    <a:cubicBezTo>
                      <a:pt x="405" y="376"/>
                      <a:pt x="418" y="381"/>
                      <a:pt x="431" y="382"/>
                    </a:cubicBezTo>
                    <a:cubicBezTo>
                      <a:pt x="436" y="383"/>
                      <a:pt x="441" y="384"/>
                      <a:pt x="446" y="387"/>
                    </a:cubicBezTo>
                    <a:cubicBezTo>
                      <a:pt x="449" y="390"/>
                      <a:pt x="453" y="391"/>
                      <a:pt x="455" y="391"/>
                    </a:cubicBezTo>
                    <a:cubicBezTo>
                      <a:pt x="456" y="391"/>
                      <a:pt x="459" y="394"/>
                      <a:pt x="461" y="397"/>
                    </a:cubicBezTo>
                    <a:cubicBezTo>
                      <a:pt x="465" y="402"/>
                      <a:pt x="465" y="402"/>
                      <a:pt x="465" y="402"/>
                    </a:cubicBezTo>
                    <a:cubicBezTo>
                      <a:pt x="477" y="402"/>
                      <a:pt x="477" y="402"/>
                      <a:pt x="477" y="402"/>
                    </a:cubicBezTo>
                    <a:cubicBezTo>
                      <a:pt x="488" y="401"/>
                      <a:pt x="491" y="400"/>
                      <a:pt x="499" y="396"/>
                    </a:cubicBezTo>
                    <a:cubicBezTo>
                      <a:pt x="508" y="391"/>
                      <a:pt x="515" y="389"/>
                      <a:pt x="515" y="391"/>
                    </a:cubicBezTo>
                    <a:cubicBezTo>
                      <a:pt x="515" y="393"/>
                      <a:pt x="516" y="397"/>
                      <a:pt x="517" y="400"/>
                    </a:cubicBezTo>
                    <a:cubicBezTo>
                      <a:pt x="518" y="402"/>
                      <a:pt x="517" y="404"/>
                      <a:pt x="512" y="407"/>
                    </a:cubicBezTo>
                    <a:cubicBezTo>
                      <a:pt x="504" y="415"/>
                      <a:pt x="496" y="423"/>
                      <a:pt x="486" y="436"/>
                    </a:cubicBezTo>
                    <a:cubicBezTo>
                      <a:pt x="480" y="442"/>
                      <a:pt x="475" y="448"/>
                      <a:pt x="474" y="448"/>
                    </a:cubicBezTo>
                    <a:cubicBezTo>
                      <a:pt x="472" y="448"/>
                      <a:pt x="466" y="454"/>
                      <a:pt x="467" y="455"/>
                    </a:cubicBezTo>
                    <a:cubicBezTo>
                      <a:pt x="469" y="458"/>
                      <a:pt x="457" y="462"/>
                      <a:pt x="448" y="462"/>
                    </a:cubicBezTo>
                    <a:cubicBezTo>
                      <a:pt x="431" y="463"/>
                      <a:pt x="407" y="473"/>
                      <a:pt x="402" y="481"/>
                    </a:cubicBezTo>
                    <a:cubicBezTo>
                      <a:pt x="396" y="490"/>
                      <a:pt x="397" y="492"/>
                      <a:pt x="402" y="494"/>
                    </a:cubicBezTo>
                    <a:cubicBezTo>
                      <a:pt x="405" y="495"/>
                      <a:pt x="408" y="496"/>
                      <a:pt x="409" y="495"/>
                    </a:cubicBezTo>
                    <a:cubicBezTo>
                      <a:pt x="412" y="495"/>
                      <a:pt x="413" y="496"/>
                      <a:pt x="415" y="499"/>
                    </a:cubicBezTo>
                    <a:cubicBezTo>
                      <a:pt x="417" y="505"/>
                      <a:pt x="416" y="506"/>
                      <a:pt x="407" y="506"/>
                    </a:cubicBezTo>
                    <a:cubicBezTo>
                      <a:pt x="401" y="506"/>
                      <a:pt x="386" y="512"/>
                      <a:pt x="382" y="516"/>
                    </a:cubicBezTo>
                    <a:cubicBezTo>
                      <a:pt x="380" y="517"/>
                      <a:pt x="380" y="518"/>
                      <a:pt x="383" y="520"/>
                    </a:cubicBezTo>
                    <a:cubicBezTo>
                      <a:pt x="387" y="523"/>
                      <a:pt x="387" y="523"/>
                      <a:pt x="387" y="523"/>
                    </a:cubicBezTo>
                    <a:cubicBezTo>
                      <a:pt x="383" y="524"/>
                      <a:pt x="383" y="524"/>
                      <a:pt x="383" y="524"/>
                    </a:cubicBezTo>
                    <a:cubicBezTo>
                      <a:pt x="381" y="524"/>
                      <a:pt x="376" y="524"/>
                      <a:pt x="373" y="523"/>
                    </a:cubicBezTo>
                    <a:cubicBezTo>
                      <a:pt x="359" y="520"/>
                      <a:pt x="356" y="521"/>
                      <a:pt x="339" y="539"/>
                    </a:cubicBezTo>
                    <a:cubicBezTo>
                      <a:pt x="330" y="548"/>
                      <a:pt x="328" y="550"/>
                      <a:pt x="324" y="550"/>
                    </a:cubicBezTo>
                    <a:cubicBezTo>
                      <a:pt x="321" y="550"/>
                      <a:pt x="317" y="550"/>
                      <a:pt x="314" y="551"/>
                    </a:cubicBezTo>
                    <a:cubicBezTo>
                      <a:pt x="309" y="551"/>
                      <a:pt x="309" y="551"/>
                      <a:pt x="309" y="551"/>
                    </a:cubicBezTo>
                    <a:lnTo>
                      <a:pt x="312"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87" name="Freeform 15">
                <a:extLst>
                  <a:ext uri="{FF2B5EF4-FFF2-40B4-BE49-F238E27FC236}">
                    <a16:creationId xmlns:a16="http://schemas.microsoft.com/office/drawing/2014/main" id="{91B2EFA0-ECB6-45B1-8B7A-A9087A685283}"/>
                  </a:ext>
                </a:extLst>
              </p:cNvPr>
              <p:cNvSpPr>
                <a:spLocks/>
              </p:cNvSpPr>
              <p:nvPr/>
            </p:nvSpPr>
            <p:spPr bwMode="auto">
              <a:xfrm>
                <a:off x="5569633" y="4432519"/>
                <a:ext cx="123237" cy="77023"/>
              </a:xfrm>
              <a:custGeom>
                <a:avLst/>
                <a:gdLst>
                  <a:gd name="T0" fmla="*/ 9 w 27"/>
                  <a:gd name="T1" fmla="*/ 13 h 17"/>
                  <a:gd name="T2" fmla="*/ 0 w 27"/>
                  <a:gd name="T3" fmla="*/ 6 h 17"/>
                  <a:gd name="T4" fmla="*/ 11 w 27"/>
                  <a:gd name="T5" fmla="*/ 1 h 17"/>
                  <a:gd name="T6" fmla="*/ 22 w 27"/>
                  <a:gd name="T7" fmla="*/ 5 h 17"/>
                  <a:gd name="T8" fmla="*/ 21 w 27"/>
                  <a:gd name="T9" fmla="*/ 17 h 17"/>
                  <a:gd name="T10" fmla="*/ 9 w 27"/>
                  <a:gd name="T11" fmla="*/ 13 h 17"/>
                </a:gdLst>
                <a:ahLst/>
                <a:cxnLst>
                  <a:cxn ang="0">
                    <a:pos x="T0" y="T1"/>
                  </a:cxn>
                  <a:cxn ang="0">
                    <a:pos x="T2" y="T3"/>
                  </a:cxn>
                  <a:cxn ang="0">
                    <a:pos x="T4" y="T5"/>
                  </a:cxn>
                  <a:cxn ang="0">
                    <a:pos x="T6" y="T7"/>
                  </a:cxn>
                  <a:cxn ang="0">
                    <a:pos x="T8" y="T9"/>
                  </a:cxn>
                  <a:cxn ang="0">
                    <a:pos x="T10" y="T11"/>
                  </a:cxn>
                </a:cxnLst>
                <a:rect l="0" t="0" r="r" b="b"/>
                <a:pathLst>
                  <a:path w="27" h="17">
                    <a:moveTo>
                      <a:pt x="9" y="13"/>
                    </a:moveTo>
                    <a:cubicBezTo>
                      <a:pt x="2" y="10"/>
                      <a:pt x="0" y="9"/>
                      <a:pt x="0" y="6"/>
                    </a:cubicBezTo>
                    <a:cubicBezTo>
                      <a:pt x="0" y="2"/>
                      <a:pt x="1" y="2"/>
                      <a:pt x="11" y="1"/>
                    </a:cubicBezTo>
                    <a:cubicBezTo>
                      <a:pt x="17" y="0"/>
                      <a:pt x="18" y="1"/>
                      <a:pt x="22" y="5"/>
                    </a:cubicBezTo>
                    <a:cubicBezTo>
                      <a:pt x="27" y="11"/>
                      <a:pt x="27" y="16"/>
                      <a:pt x="21" y="17"/>
                    </a:cubicBezTo>
                    <a:cubicBezTo>
                      <a:pt x="19" y="17"/>
                      <a:pt x="14" y="15"/>
                      <a:pt x="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381" name="Group 380">
              <a:extLst>
                <a:ext uri="{FF2B5EF4-FFF2-40B4-BE49-F238E27FC236}">
                  <a16:creationId xmlns:a16="http://schemas.microsoft.com/office/drawing/2014/main" id="{19C08FE5-18B0-4022-8265-A8A646898090}"/>
                </a:ext>
              </a:extLst>
            </p:cNvPr>
            <p:cNvGrpSpPr/>
            <p:nvPr userDrawn="1"/>
          </p:nvGrpSpPr>
          <p:grpSpPr>
            <a:xfrm>
              <a:off x="574675" y="568968"/>
              <a:ext cx="1559721" cy="4355665"/>
              <a:chOff x="574675" y="469672"/>
              <a:chExt cx="1559721" cy="4355665"/>
            </a:xfrm>
            <a:grpFill/>
          </p:grpSpPr>
          <p:sp>
            <p:nvSpPr>
              <p:cNvPr id="382" name="Freeform 5">
                <a:extLst>
                  <a:ext uri="{FF2B5EF4-FFF2-40B4-BE49-F238E27FC236}">
                    <a16:creationId xmlns:a16="http://schemas.microsoft.com/office/drawing/2014/main" id="{9EAFC41C-E48F-4163-973E-5674E2EA01B3}"/>
                  </a:ext>
                </a:extLst>
              </p:cNvPr>
              <p:cNvSpPr>
                <a:spLocks/>
              </p:cNvSpPr>
              <p:nvPr/>
            </p:nvSpPr>
            <p:spPr bwMode="auto">
              <a:xfrm>
                <a:off x="593931" y="469672"/>
                <a:ext cx="1224670" cy="2214419"/>
              </a:xfrm>
              <a:custGeom>
                <a:avLst/>
                <a:gdLst>
                  <a:gd name="T0" fmla="*/ 264 w 269"/>
                  <a:gd name="T1" fmla="*/ 485 h 486"/>
                  <a:gd name="T2" fmla="*/ 251 w 269"/>
                  <a:gd name="T3" fmla="*/ 478 h 486"/>
                  <a:gd name="T4" fmla="*/ 161 w 269"/>
                  <a:gd name="T5" fmla="*/ 431 h 486"/>
                  <a:gd name="T6" fmla="*/ 43 w 269"/>
                  <a:gd name="T7" fmla="*/ 358 h 486"/>
                  <a:gd name="T8" fmla="*/ 20 w 269"/>
                  <a:gd name="T9" fmla="*/ 341 h 486"/>
                  <a:gd name="T10" fmla="*/ 29 w 269"/>
                  <a:gd name="T11" fmla="*/ 327 h 486"/>
                  <a:gd name="T12" fmla="*/ 17 w 269"/>
                  <a:gd name="T13" fmla="*/ 315 h 486"/>
                  <a:gd name="T14" fmla="*/ 11 w 269"/>
                  <a:gd name="T15" fmla="*/ 312 h 486"/>
                  <a:gd name="T16" fmla="*/ 9 w 269"/>
                  <a:gd name="T17" fmla="*/ 310 h 486"/>
                  <a:gd name="T18" fmla="*/ 1 w 269"/>
                  <a:gd name="T19" fmla="*/ 305 h 486"/>
                  <a:gd name="T20" fmla="*/ 14 w 269"/>
                  <a:gd name="T21" fmla="*/ 282 h 486"/>
                  <a:gd name="T22" fmla="*/ 98 w 269"/>
                  <a:gd name="T23" fmla="*/ 158 h 486"/>
                  <a:gd name="T24" fmla="*/ 187 w 269"/>
                  <a:gd name="T25" fmla="*/ 26 h 486"/>
                  <a:gd name="T26" fmla="*/ 205 w 269"/>
                  <a:gd name="T27" fmla="*/ 0 h 486"/>
                  <a:gd name="T28" fmla="*/ 209 w 269"/>
                  <a:gd name="T29" fmla="*/ 1 h 486"/>
                  <a:gd name="T30" fmla="*/ 222 w 269"/>
                  <a:gd name="T31" fmla="*/ 17 h 486"/>
                  <a:gd name="T32" fmla="*/ 226 w 269"/>
                  <a:gd name="T33" fmla="*/ 32 h 486"/>
                  <a:gd name="T34" fmla="*/ 231 w 269"/>
                  <a:gd name="T35" fmla="*/ 44 h 486"/>
                  <a:gd name="T36" fmla="*/ 237 w 269"/>
                  <a:gd name="T37" fmla="*/ 54 h 486"/>
                  <a:gd name="T38" fmla="*/ 241 w 269"/>
                  <a:gd name="T39" fmla="*/ 62 h 486"/>
                  <a:gd name="T40" fmla="*/ 220 w 269"/>
                  <a:gd name="T41" fmla="*/ 95 h 486"/>
                  <a:gd name="T42" fmla="*/ 215 w 269"/>
                  <a:gd name="T43" fmla="*/ 109 h 486"/>
                  <a:gd name="T44" fmla="*/ 209 w 269"/>
                  <a:gd name="T45" fmla="*/ 123 h 486"/>
                  <a:gd name="T46" fmla="*/ 218 w 269"/>
                  <a:gd name="T47" fmla="*/ 146 h 486"/>
                  <a:gd name="T48" fmla="*/ 231 w 269"/>
                  <a:gd name="T49" fmla="*/ 159 h 486"/>
                  <a:gd name="T50" fmla="*/ 226 w 269"/>
                  <a:gd name="T51" fmla="*/ 172 h 486"/>
                  <a:gd name="T52" fmla="*/ 220 w 269"/>
                  <a:gd name="T53" fmla="*/ 190 h 486"/>
                  <a:gd name="T54" fmla="*/ 225 w 269"/>
                  <a:gd name="T55" fmla="*/ 201 h 486"/>
                  <a:gd name="T56" fmla="*/ 228 w 269"/>
                  <a:gd name="T57" fmla="*/ 221 h 486"/>
                  <a:gd name="T58" fmla="*/ 224 w 269"/>
                  <a:gd name="T59" fmla="*/ 223 h 486"/>
                  <a:gd name="T60" fmla="*/ 216 w 269"/>
                  <a:gd name="T61" fmla="*/ 233 h 486"/>
                  <a:gd name="T62" fmla="*/ 213 w 269"/>
                  <a:gd name="T63" fmla="*/ 241 h 486"/>
                  <a:gd name="T64" fmla="*/ 215 w 269"/>
                  <a:gd name="T65" fmla="*/ 254 h 486"/>
                  <a:gd name="T66" fmla="*/ 216 w 269"/>
                  <a:gd name="T67" fmla="*/ 262 h 486"/>
                  <a:gd name="T68" fmla="*/ 219 w 269"/>
                  <a:gd name="T69" fmla="*/ 272 h 486"/>
                  <a:gd name="T70" fmla="*/ 222 w 269"/>
                  <a:gd name="T71" fmla="*/ 284 h 486"/>
                  <a:gd name="T72" fmla="*/ 225 w 269"/>
                  <a:gd name="T73" fmla="*/ 297 h 486"/>
                  <a:gd name="T74" fmla="*/ 224 w 269"/>
                  <a:gd name="T75" fmla="*/ 312 h 486"/>
                  <a:gd name="T76" fmla="*/ 218 w 269"/>
                  <a:gd name="T77" fmla="*/ 348 h 486"/>
                  <a:gd name="T78" fmla="*/ 215 w 269"/>
                  <a:gd name="T79" fmla="*/ 363 h 486"/>
                  <a:gd name="T80" fmla="*/ 217 w 269"/>
                  <a:gd name="T81" fmla="*/ 372 h 486"/>
                  <a:gd name="T82" fmla="*/ 226 w 269"/>
                  <a:gd name="T83" fmla="*/ 390 h 486"/>
                  <a:gd name="T84" fmla="*/ 233 w 269"/>
                  <a:gd name="T85" fmla="*/ 407 h 486"/>
                  <a:gd name="T86" fmla="*/ 235 w 269"/>
                  <a:gd name="T87" fmla="*/ 415 h 486"/>
                  <a:gd name="T88" fmla="*/ 232 w 269"/>
                  <a:gd name="T89" fmla="*/ 422 h 486"/>
                  <a:gd name="T90" fmla="*/ 230 w 269"/>
                  <a:gd name="T91" fmla="*/ 433 h 486"/>
                  <a:gd name="T92" fmla="*/ 243 w 269"/>
                  <a:gd name="T93" fmla="*/ 445 h 486"/>
                  <a:gd name="T94" fmla="*/ 256 w 269"/>
                  <a:gd name="T95" fmla="*/ 452 h 486"/>
                  <a:gd name="T96" fmla="*/ 265 w 269"/>
                  <a:gd name="T97" fmla="*/ 456 h 486"/>
                  <a:gd name="T98" fmla="*/ 269 w 269"/>
                  <a:gd name="T99" fmla="*/ 456 h 486"/>
                  <a:gd name="T100" fmla="*/ 268 w 269"/>
                  <a:gd name="T101" fmla="*/ 471 h 486"/>
                  <a:gd name="T102" fmla="*/ 268 w 269"/>
                  <a:gd name="T103" fmla="*/ 486 h 486"/>
                  <a:gd name="T104" fmla="*/ 264 w 269"/>
                  <a:gd name="T105" fmla="*/ 485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9" h="486">
                    <a:moveTo>
                      <a:pt x="264" y="485"/>
                    </a:moveTo>
                    <a:cubicBezTo>
                      <a:pt x="263" y="484"/>
                      <a:pt x="257" y="481"/>
                      <a:pt x="251" y="478"/>
                    </a:cubicBezTo>
                    <a:cubicBezTo>
                      <a:pt x="242" y="474"/>
                      <a:pt x="211" y="458"/>
                      <a:pt x="161" y="431"/>
                    </a:cubicBezTo>
                    <a:cubicBezTo>
                      <a:pt x="145" y="423"/>
                      <a:pt x="86" y="386"/>
                      <a:pt x="43" y="358"/>
                    </a:cubicBezTo>
                    <a:cubicBezTo>
                      <a:pt x="27" y="348"/>
                      <a:pt x="20" y="342"/>
                      <a:pt x="20" y="341"/>
                    </a:cubicBezTo>
                    <a:cubicBezTo>
                      <a:pt x="20" y="337"/>
                      <a:pt x="25" y="330"/>
                      <a:pt x="29" y="327"/>
                    </a:cubicBezTo>
                    <a:cubicBezTo>
                      <a:pt x="37" y="320"/>
                      <a:pt x="33" y="316"/>
                      <a:pt x="17" y="315"/>
                    </a:cubicBezTo>
                    <a:cubicBezTo>
                      <a:pt x="13" y="315"/>
                      <a:pt x="12" y="315"/>
                      <a:pt x="11" y="312"/>
                    </a:cubicBezTo>
                    <a:cubicBezTo>
                      <a:pt x="11" y="311"/>
                      <a:pt x="10" y="310"/>
                      <a:pt x="9" y="310"/>
                    </a:cubicBezTo>
                    <a:cubicBezTo>
                      <a:pt x="7" y="311"/>
                      <a:pt x="2" y="308"/>
                      <a:pt x="1" y="305"/>
                    </a:cubicBezTo>
                    <a:cubicBezTo>
                      <a:pt x="0" y="303"/>
                      <a:pt x="4" y="297"/>
                      <a:pt x="14" y="282"/>
                    </a:cubicBezTo>
                    <a:cubicBezTo>
                      <a:pt x="34" y="253"/>
                      <a:pt x="70" y="200"/>
                      <a:pt x="98" y="158"/>
                    </a:cubicBezTo>
                    <a:cubicBezTo>
                      <a:pt x="120" y="125"/>
                      <a:pt x="148" y="83"/>
                      <a:pt x="187" y="26"/>
                    </a:cubicBezTo>
                    <a:cubicBezTo>
                      <a:pt x="205" y="0"/>
                      <a:pt x="205" y="0"/>
                      <a:pt x="205" y="0"/>
                    </a:cubicBezTo>
                    <a:cubicBezTo>
                      <a:pt x="209" y="1"/>
                      <a:pt x="209" y="1"/>
                      <a:pt x="209" y="1"/>
                    </a:cubicBezTo>
                    <a:cubicBezTo>
                      <a:pt x="218" y="5"/>
                      <a:pt x="221" y="8"/>
                      <a:pt x="222" y="17"/>
                    </a:cubicBezTo>
                    <a:cubicBezTo>
                      <a:pt x="223" y="22"/>
                      <a:pt x="225" y="28"/>
                      <a:pt x="226" y="32"/>
                    </a:cubicBezTo>
                    <a:cubicBezTo>
                      <a:pt x="228" y="35"/>
                      <a:pt x="230" y="41"/>
                      <a:pt x="231" y="44"/>
                    </a:cubicBezTo>
                    <a:cubicBezTo>
                      <a:pt x="231" y="48"/>
                      <a:pt x="233" y="51"/>
                      <a:pt x="237" y="54"/>
                    </a:cubicBezTo>
                    <a:cubicBezTo>
                      <a:pt x="243" y="59"/>
                      <a:pt x="243" y="59"/>
                      <a:pt x="241" y="62"/>
                    </a:cubicBezTo>
                    <a:cubicBezTo>
                      <a:pt x="238" y="65"/>
                      <a:pt x="224" y="88"/>
                      <a:pt x="220" y="95"/>
                    </a:cubicBezTo>
                    <a:cubicBezTo>
                      <a:pt x="219" y="98"/>
                      <a:pt x="216" y="104"/>
                      <a:pt x="215" y="109"/>
                    </a:cubicBezTo>
                    <a:cubicBezTo>
                      <a:pt x="214" y="113"/>
                      <a:pt x="211" y="119"/>
                      <a:pt x="209" y="123"/>
                    </a:cubicBezTo>
                    <a:cubicBezTo>
                      <a:pt x="203" y="135"/>
                      <a:pt x="203" y="134"/>
                      <a:pt x="218" y="146"/>
                    </a:cubicBezTo>
                    <a:cubicBezTo>
                      <a:pt x="228" y="153"/>
                      <a:pt x="231" y="157"/>
                      <a:pt x="231" y="159"/>
                    </a:cubicBezTo>
                    <a:cubicBezTo>
                      <a:pt x="231" y="161"/>
                      <a:pt x="229" y="167"/>
                      <a:pt x="226" y="172"/>
                    </a:cubicBezTo>
                    <a:cubicBezTo>
                      <a:pt x="223" y="178"/>
                      <a:pt x="221" y="184"/>
                      <a:pt x="220" y="190"/>
                    </a:cubicBezTo>
                    <a:cubicBezTo>
                      <a:pt x="220" y="197"/>
                      <a:pt x="220" y="197"/>
                      <a:pt x="225" y="201"/>
                    </a:cubicBezTo>
                    <a:cubicBezTo>
                      <a:pt x="230" y="205"/>
                      <a:pt x="230" y="204"/>
                      <a:pt x="228" y="221"/>
                    </a:cubicBezTo>
                    <a:cubicBezTo>
                      <a:pt x="228" y="221"/>
                      <a:pt x="227" y="222"/>
                      <a:pt x="224" y="223"/>
                    </a:cubicBezTo>
                    <a:cubicBezTo>
                      <a:pt x="220" y="224"/>
                      <a:pt x="216" y="229"/>
                      <a:pt x="216" y="233"/>
                    </a:cubicBezTo>
                    <a:cubicBezTo>
                      <a:pt x="216" y="235"/>
                      <a:pt x="214" y="238"/>
                      <a:pt x="213" y="241"/>
                    </a:cubicBezTo>
                    <a:cubicBezTo>
                      <a:pt x="210" y="246"/>
                      <a:pt x="210" y="251"/>
                      <a:pt x="215" y="254"/>
                    </a:cubicBezTo>
                    <a:cubicBezTo>
                      <a:pt x="216" y="256"/>
                      <a:pt x="217" y="258"/>
                      <a:pt x="216" y="262"/>
                    </a:cubicBezTo>
                    <a:cubicBezTo>
                      <a:pt x="216" y="266"/>
                      <a:pt x="216" y="268"/>
                      <a:pt x="219" y="272"/>
                    </a:cubicBezTo>
                    <a:cubicBezTo>
                      <a:pt x="221" y="275"/>
                      <a:pt x="222" y="279"/>
                      <a:pt x="222" y="284"/>
                    </a:cubicBezTo>
                    <a:cubicBezTo>
                      <a:pt x="222" y="288"/>
                      <a:pt x="223" y="294"/>
                      <a:pt x="225" y="297"/>
                    </a:cubicBezTo>
                    <a:cubicBezTo>
                      <a:pt x="227" y="301"/>
                      <a:pt x="227" y="302"/>
                      <a:pt x="224" y="312"/>
                    </a:cubicBezTo>
                    <a:cubicBezTo>
                      <a:pt x="221" y="325"/>
                      <a:pt x="219" y="335"/>
                      <a:pt x="218" y="348"/>
                    </a:cubicBezTo>
                    <a:cubicBezTo>
                      <a:pt x="217" y="354"/>
                      <a:pt x="216" y="361"/>
                      <a:pt x="215" y="363"/>
                    </a:cubicBezTo>
                    <a:cubicBezTo>
                      <a:pt x="214" y="367"/>
                      <a:pt x="214" y="368"/>
                      <a:pt x="217" y="372"/>
                    </a:cubicBezTo>
                    <a:cubicBezTo>
                      <a:pt x="222" y="377"/>
                      <a:pt x="223" y="380"/>
                      <a:pt x="226" y="390"/>
                    </a:cubicBezTo>
                    <a:cubicBezTo>
                      <a:pt x="228" y="395"/>
                      <a:pt x="230" y="403"/>
                      <a:pt x="233" y="407"/>
                    </a:cubicBezTo>
                    <a:cubicBezTo>
                      <a:pt x="235" y="412"/>
                      <a:pt x="236" y="414"/>
                      <a:pt x="235" y="415"/>
                    </a:cubicBezTo>
                    <a:cubicBezTo>
                      <a:pt x="234" y="415"/>
                      <a:pt x="233" y="419"/>
                      <a:pt x="232" y="422"/>
                    </a:cubicBezTo>
                    <a:cubicBezTo>
                      <a:pt x="232" y="426"/>
                      <a:pt x="231" y="431"/>
                      <a:pt x="230" y="433"/>
                    </a:cubicBezTo>
                    <a:cubicBezTo>
                      <a:pt x="229" y="438"/>
                      <a:pt x="231" y="440"/>
                      <a:pt x="243" y="445"/>
                    </a:cubicBezTo>
                    <a:cubicBezTo>
                      <a:pt x="247" y="447"/>
                      <a:pt x="253" y="450"/>
                      <a:pt x="256" y="452"/>
                    </a:cubicBezTo>
                    <a:cubicBezTo>
                      <a:pt x="259" y="454"/>
                      <a:pt x="263" y="456"/>
                      <a:pt x="265" y="456"/>
                    </a:cubicBezTo>
                    <a:cubicBezTo>
                      <a:pt x="269" y="456"/>
                      <a:pt x="269" y="456"/>
                      <a:pt x="269" y="456"/>
                    </a:cubicBezTo>
                    <a:cubicBezTo>
                      <a:pt x="268" y="471"/>
                      <a:pt x="268" y="471"/>
                      <a:pt x="268" y="471"/>
                    </a:cubicBezTo>
                    <a:cubicBezTo>
                      <a:pt x="268" y="479"/>
                      <a:pt x="268" y="486"/>
                      <a:pt x="268" y="486"/>
                    </a:cubicBezTo>
                    <a:cubicBezTo>
                      <a:pt x="267" y="486"/>
                      <a:pt x="266" y="486"/>
                      <a:pt x="264"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83" name="Freeform 45">
                <a:extLst>
                  <a:ext uri="{FF2B5EF4-FFF2-40B4-BE49-F238E27FC236}">
                    <a16:creationId xmlns:a16="http://schemas.microsoft.com/office/drawing/2014/main" id="{855350CC-C888-4A71-B133-4BE0FD2778DD}"/>
                  </a:ext>
                </a:extLst>
              </p:cNvPr>
              <p:cNvSpPr>
                <a:spLocks/>
              </p:cNvSpPr>
              <p:nvPr/>
            </p:nvSpPr>
            <p:spPr bwMode="auto">
              <a:xfrm>
                <a:off x="674805" y="2064053"/>
                <a:ext cx="1459591" cy="2761284"/>
              </a:xfrm>
              <a:custGeom>
                <a:avLst/>
                <a:gdLst>
                  <a:gd name="T0" fmla="*/ 257 w 320"/>
                  <a:gd name="T1" fmla="*/ 589 h 606"/>
                  <a:gd name="T2" fmla="*/ 118 w 320"/>
                  <a:gd name="T3" fmla="*/ 537 h 606"/>
                  <a:gd name="T4" fmla="*/ 108 w 320"/>
                  <a:gd name="T5" fmla="*/ 519 h 606"/>
                  <a:gd name="T6" fmla="*/ 96 w 320"/>
                  <a:gd name="T7" fmla="*/ 503 h 606"/>
                  <a:gd name="T8" fmla="*/ 72 w 320"/>
                  <a:gd name="T9" fmla="*/ 461 h 606"/>
                  <a:gd name="T10" fmla="*/ 64 w 320"/>
                  <a:gd name="T11" fmla="*/ 439 h 606"/>
                  <a:gd name="T12" fmla="*/ 54 w 320"/>
                  <a:gd name="T13" fmla="*/ 433 h 606"/>
                  <a:gd name="T14" fmla="*/ 47 w 320"/>
                  <a:gd name="T15" fmla="*/ 423 h 606"/>
                  <a:gd name="T16" fmla="*/ 51 w 320"/>
                  <a:gd name="T17" fmla="*/ 385 h 606"/>
                  <a:gd name="T18" fmla="*/ 52 w 320"/>
                  <a:gd name="T19" fmla="*/ 367 h 606"/>
                  <a:gd name="T20" fmla="*/ 41 w 320"/>
                  <a:gd name="T21" fmla="*/ 340 h 606"/>
                  <a:gd name="T22" fmla="*/ 43 w 320"/>
                  <a:gd name="T23" fmla="*/ 318 h 606"/>
                  <a:gd name="T24" fmla="*/ 44 w 320"/>
                  <a:gd name="T25" fmla="*/ 273 h 606"/>
                  <a:gd name="T26" fmla="*/ 73 w 320"/>
                  <a:gd name="T27" fmla="*/ 250 h 606"/>
                  <a:gd name="T28" fmla="*/ 86 w 320"/>
                  <a:gd name="T29" fmla="*/ 218 h 606"/>
                  <a:gd name="T30" fmla="*/ 66 w 320"/>
                  <a:gd name="T31" fmla="*/ 176 h 606"/>
                  <a:gd name="T32" fmla="*/ 70 w 320"/>
                  <a:gd name="T33" fmla="*/ 130 h 606"/>
                  <a:gd name="T34" fmla="*/ 67 w 320"/>
                  <a:gd name="T35" fmla="*/ 92 h 606"/>
                  <a:gd name="T36" fmla="*/ 60 w 320"/>
                  <a:gd name="T37" fmla="*/ 60 h 606"/>
                  <a:gd name="T38" fmla="*/ 49 w 320"/>
                  <a:gd name="T39" fmla="*/ 34 h 606"/>
                  <a:gd name="T40" fmla="*/ 24 w 320"/>
                  <a:gd name="T41" fmla="*/ 42 h 606"/>
                  <a:gd name="T42" fmla="*/ 4 w 320"/>
                  <a:gd name="T43" fmla="*/ 50 h 606"/>
                  <a:gd name="T44" fmla="*/ 3 w 320"/>
                  <a:gd name="T45" fmla="*/ 17 h 606"/>
                  <a:gd name="T46" fmla="*/ 35 w 320"/>
                  <a:gd name="T47" fmla="*/ 20 h 606"/>
                  <a:gd name="T48" fmla="*/ 176 w 320"/>
                  <a:gd name="T49" fmla="*/ 104 h 606"/>
                  <a:gd name="T50" fmla="*/ 288 w 320"/>
                  <a:gd name="T51" fmla="*/ 156 h 606"/>
                  <a:gd name="T52" fmla="*/ 320 w 320"/>
                  <a:gd name="T53" fmla="*/ 174 h 606"/>
                  <a:gd name="T54" fmla="*/ 283 w 320"/>
                  <a:gd name="T55" fmla="*/ 275 h 606"/>
                  <a:gd name="T56" fmla="*/ 241 w 320"/>
                  <a:gd name="T57" fmla="*/ 402 h 606"/>
                  <a:gd name="T58" fmla="*/ 261 w 320"/>
                  <a:gd name="T59" fmla="*/ 446 h 606"/>
                  <a:gd name="T60" fmla="*/ 270 w 320"/>
                  <a:gd name="T61" fmla="*/ 468 h 606"/>
                  <a:gd name="T62" fmla="*/ 278 w 320"/>
                  <a:gd name="T63" fmla="*/ 484 h 606"/>
                  <a:gd name="T64" fmla="*/ 290 w 320"/>
                  <a:gd name="T65" fmla="*/ 510 h 606"/>
                  <a:gd name="T66" fmla="*/ 311 w 320"/>
                  <a:gd name="T67" fmla="*/ 559 h 606"/>
                  <a:gd name="T68" fmla="*/ 311 w 320"/>
                  <a:gd name="T69" fmla="*/ 60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606">
                    <a:moveTo>
                      <a:pt x="310" y="606"/>
                    </a:moveTo>
                    <a:cubicBezTo>
                      <a:pt x="309" y="605"/>
                      <a:pt x="280" y="596"/>
                      <a:pt x="257" y="589"/>
                    </a:cubicBezTo>
                    <a:cubicBezTo>
                      <a:pt x="249" y="587"/>
                      <a:pt x="167" y="556"/>
                      <a:pt x="133" y="543"/>
                    </a:cubicBezTo>
                    <a:cubicBezTo>
                      <a:pt x="127" y="540"/>
                      <a:pt x="120" y="538"/>
                      <a:pt x="118" y="537"/>
                    </a:cubicBezTo>
                    <a:cubicBezTo>
                      <a:pt x="112" y="535"/>
                      <a:pt x="111" y="533"/>
                      <a:pt x="111" y="527"/>
                    </a:cubicBezTo>
                    <a:cubicBezTo>
                      <a:pt x="111" y="523"/>
                      <a:pt x="110" y="521"/>
                      <a:pt x="108" y="519"/>
                    </a:cubicBezTo>
                    <a:cubicBezTo>
                      <a:pt x="100" y="512"/>
                      <a:pt x="97" y="509"/>
                      <a:pt x="97" y="506"/>
                    </a:cubicBezTo>
                    <a:cubicBezTo>
                      <a:pt x="97" y="505"/>
                      <a:pt x="97" y="503"/>
                      <a:pt x="96" y="503"/>
                    </a:cubicBezTo>
                    <a:cubicBezTo>
                      <a:pt x="92" y="503"/>
                      <a:pt x="88" y="496"/>
                      <a:pt x="87" y="489"/>
                    </a:cubicBezTo>
                    <a:cubicBezTo>
                      <a:pt x="85" y="479"/>
                      <a:pt x="81" y="469"/>
                      <a:pt x="72" y="461"/>
                    </a:cubicBezTo>
                    <a:cubicBezTo>
                      <a:pt x="65" y="453"/>
                      <a:pt x="65" y="453"/>
                      <a:pt x="65" y="446"/>
                    </a:cubicBezTo>
                    <a:cubicBezTo>
                      <a:pt x="66" y="441"/>
                      <a:pt x="66" y="439"/>
                      <a:pt x="64" y="439"/>
                    </a:cubicBezTo>
                    <a:cubicBezTo>
                      <a:pt x="63" y="439"/>
                      <a:pt x="62" y="439"/>
                      <a:pt x="61" y="438"/>
                    </a:cubicBezTo>
                    <a:cubicBezTo>
                      <a:pt x="61" y="438"/>
                      <a:pt x="58" y="436"/>
                      <a:pt x="54" y="433"/>
                    </a:cubicBezTo>
                    <a:cubicBezTo>
                      <a:pt x="51" y="431"/>
                      <a:pt x="48" y="429"/>
                      <a:pt x="47" y="428"/>
                    </a:cubicBezTo>
                    <a:cubicBezTo>
                      <a:pt x="47" y="427"/>
                      <a:pt x="47" y="425"/>
                      <a:pt x="47" y="423"/>
                    </a:cubicBezTo>
                    <a:cubicBezTo>
                      <a:pt x="46" y="419"/>
                      <a:pt x="46" y="417"/>
                      <a:pt x="46" y="402"/>
                    </a:cubicBezTo>
                    <a:cubicBezTo>
                      <a:pt x="46" y="389"/>
                      <a:pt x="46" y="389"/>
                      <a:pt x="51" y="385"/>
                    </a:cubicBezTo>
                    <a:cubicBezTo>
                      <a:pt x="55" y="382"/>
                      <a:pt x="55" y="381"/>
                      <a:pt x="53" y="377"/>
                    </a:cubicBezTo>
                    <a:cubicBezTo>
                      <a:pt x="53" y="375"/>
                      <a:pt x="52" y="370"/>
                      <a:pt x="52" y="367"/>
                    </a:cubicBezTo>
                    <a:cubicBezTo>
                      <a:pt x="52" y="363"/>
                      <a:pt x="50" y="359"/>
                      <a:pt x="46" y="353"/>
                    </a:cubicBezTo>
                    <a:cubicBezTo>
                      <a:pt x="41" y="346"/>
                      <a:pt x="40" y="344"/>
                      <a:pt x="41" y="340"/>
                    </a:cubicBezTo>
                    <a:cubicBezTo>
                      <a:pt x="42" y="338"/>
                      <a:pt x="43" y="334"/>
                      <a:pt x="45" y="333"/>
                    </a:cubicBezTo>
                    <a:cubicBezTo>
                      <a:pt x="48" y="330"/>
                      <a:pt x="48" y="328"/>
                      <a:pt x="43" y="318"/>
                    </a:cubicBezTo>
                    <a:cubicBezTo>
                      <a:pt x="40" y="314"/>
                      <a:pt x="40" y="310"/>
                      <a:pt x="40" y="294"/>
                    </a:cubicBezTo>
                    <a:cubicBezTo>
                      <a:pt x="40" y="277"/>
                      <a:pt x="40" y="276"/>
                      <a:pt x="44" y="273"/>
                    </a:cubicBezTo>
                    <a:cubicBezTo>
                      <a:pt x="46" y="271"/>
                      <a:pt x="51" y="268"/>
                      <a:pt x="55" y="266"/>
                    </a:cubicBezTo>
                    <a:cubicBezTo>
                      <a:pt x="65" y="262"/>
                      <a:pt x="73" y="255"/>
                      <a:pt x="73" y="250"/>
                    </a:cubicBezTo>
                    <a:cubicBezTo>
                      <a:pt x="73" y="244"/>
                      <a:pt x="76" y="237"/>
                      <a:pt x="81" y="232"/>
                    </a:cubicBezTo>
                    <a:cubicBezTo>
                      <a:pt x="85" y="227"/>
                      <a:pt x="86" y="226"/>
                      <a:pt x="86" y="218"/>
                    </a:cubicBezTo>
                    <a:cubicBezTo>
                      <a:pt x="86" y="210"/>
                      <a:pt x="85" y="209"/>
                      <a:pt x="82" y="205"/>
                    </a:cubicBezTo>
                    <a:cubicBezTo>
                      <a:pt x="77" y="201"/>
                      <a:pt x="68" y="185"/>
                      <a:pt x="66" y="176"/>
                    </a:cubicBezTo>
                    <a:cubicBezTo>
                      <a:pt x="65" y="170"/>
                      <a:pt x="65" y="167"/>
                      <a:pt x="68" y="154"/>
                    </a:cubicBezTo>
                    <a:cubicBezTo>
                      <a:pt x="72" y="140"/>
                      <a:pt x="72" y="137"/>
                      <a:pt x="70" y="130"/>
                    </a:cubicBezTo>
                    <a:cubicBezTo>
                      <a:pt x="70" y="125"/>
                      <a:pt x="69" y="116"/>
                      <a:pt x="68" y="108"/>
                    </a:cubicBezTo>
                    <a:cubicBezTo>
                      <a:pt x="68" y="101"/>
                      <a:pt x="67" y="94"/>
                      <a:pt x="67" y="92"/>
                    </a:cubicBezTo>
                    <a:cubicBezTo>
                      <a:pt x="66" y="90"/>
                      <a:pt x="66" y="86"/>
                      <a:pt x="65" y="83"/>
                    </a:cubicBezTo>
                    <a:cubicBezTo>
                      <a:pt x="65" y="80"/>
                      <a:pt x="63" y="70"/>
                      <a:pt x="60" y="60"/>
                    </a:cubicBezTo>
                    <a:cubicBezTo>
                      <a:pt x="58" y="50"/>
                      <a:pt x="56" y="41"/>
                      <a:pt x="55" y="39"/>
                    </a:cubicBezTo>
                    <a:cubicBezTo>
                      <a:pt x="55" y="37"/>
                      <a:pt x="53" y="35"/>
                      <a:pt x="49" y="34"/>
                    </a:cubicBezTo>
                    <a:cubicBezTo>
                      <a:pt x="39" y="30"/>
                      <a:pt x="38" y="30"/>
                      <a:pt x="35" y="34"/>
                    </a:cubicBezTo>
                    <a:cubicBezTo>
                      <a:pt x="34" y="38"/>
                      <a:pt x="31" y="40"/>
                      <a:pt x="24" y="42"/>
                    </a:cubicBezTo>
                    <a:cubicBezTo>
                      <a:pt x="20" y="44"/>
                      <a:pt x="13" y="46"/>
                      <a:pt x="10" y="48"/>
                    </a:cubicBezTo>
                    <a:cubicBezTo>
                      <a:pt x="7" y="49"/>
                      <a:pt x="4" y="50"/>
                      <a:pt x="4" y="50"/>
                    </a:cubicBezTo>
                    <a:cubicBezTo>
                      <a:pt x="4" y="50"/>
                      <a:pt x="4" y="48"/>
                      <a:pt x="5" y="46"/>
                    </a:cubicBezTo>
                    <a:cubicBezTo>
                      <a:pt x="7" y="39"/>
                      <a:pt x="6" y="22"/>
                      <a:pt x="3" y="17"/>
                    </a:cubicBezTo>
                    <a:cubicBezTo>
                      <a:pt x="0" y="13"/>
                      <a:pt x="1" y="0"/>
                      <a:pt x="4" y="0"/>
                    </a:cubicBezTo>
                    <a:cubicBezTo>
                      <a:pt x="5" y="1"/>
                      <a:pt x="19" y="10"/>
                      <a:pt x="35" y="20"/>
                    </a:cubicBezTo>
                    <a:cubicBezTo>
                      <a:pt x="80" y="50"/>
                      <a:pt x="129" y="80"/>
                      <a:pt x="153" y="92"/>
                    </a:cubicBezTo>
                    <a:cubicBezTo>
                      <a:pt x="165" y="98"/>
                      <a:pt x="175" y="104"/>
                      <a:pt x="176" y="104"/>
                    </a:cubicBezTo>
                    <a:cubicBezTo>
                      <a:pt x="180" y="107"/>
                      <a:pt x="223" y="129"/>
                      <a:pt x="239" y="136"/>
                    </a:cubicBezTo>
                    <a:cubicBezTo>
                      <a:pt x="250" y="141"/>
                      <a:pt x="272" y="150"/>
                      <a:pt x="288" y="156"/>
                    </a:cubicBezTo>
                    <a:cubicBezTo>
                      <a:pt x="305" y="163"/>
                      <a:pt x="319" y="169"/>
                      <a:pt x="320" y="169"/>
                    </a:cubicBezTo>
                    <a:cubicBezTo>
                      <a:pt x="320" y="170"/>
                      <a:pt x="320" y="172"/>
                      <a:pt x="320" y="174"/>
                    </a:cubicBezTo>
                    <a:cubicBezTo>
                      <a:pt x="319" y="175"/>
                      <a:pt x="311" y="196"/>
                      <a:pt x="303" y="219"/>
                    </a:cubicBezTo>
                    <a:cubicBezTo>
                      <a:pt x="295" y="242"/>
                      <a:pt x="286" y="267"/>
                      <a:pt x="283" y="275"/>
                    </a:cubicBezTo>
                    <a:cubicBezTo>
                      <a:pt x="250" y="365"/>
                      <a:pt x="243" y="385"/>
                      <a:pt x="243" y="392"/>
                    </a:cubicBezTo>
                    <a:cubicBezTo>
                      <a:pt x="243" y="396"/>
                      <a:pt x="242" y="401"/>
                      <a:pt x="241" y="402"/>
                    </a:cubicBezTo>
                    <a:cubicBezTo>
                      <a:pt x="238" y="407"/>
                      <a:pt x="240" y="413"/>
                      <a:pt x="245" y="416"/>
                    </a:cubicBezTo>
                    <a:cubicBezTo>
                      <a:pt x="251" y="420"/>
                      <a:pt x="260" y="436"/>
                      <a:pt x="261" y="446"/>
                    </a:cubicBezTo>
                    <a:cubicBezTo>
                      <a:pt x="262" y="452"/>
                      <a:pt x="263" y="456"/>
                      <a:pt x="266" y="461"/>
                    </a:cubicBezTo>
                    <a:cubicBezTo>
                      <a:pt x="268" y="464"/>
                      <a:pt x="270" y="468"/>
                      <a:pt x="270" y="468"/>
                    </a:cubicBezTo>
                    <a:cubicBezTo>
                      <a:pt x="270" y="469"/>
                      <a:pt x="271" y="471"/>
                      <a:pt x="273" y="473"/>
                    </a:cubicBezTo>
                    <a:cubicBezTo>
                      <a:pt x="275" y="475"/>
                      <a:pt x="277" y="480"/>
                      <a:pt x="278" y="484"/>
                    </a:cubicBezTo>
                    <a:cubicBezTo>
                      <a:pt x="279" y="487"/>
                      <a:pt x="281" y="491"/>
                      <a:pt x="281" y="491"/>
                    </a:cubicBezTo>
                    <a:cubicBezTo>
                      <a:pt x="283" y="492"/>
                      <a:pt x="289" y="505"/>
                      <a:pt x="290" y="510"/>
                    </a:cubicBezTo>
                    <a:cubicBezTo>
                      <a:pt x="291" y="512"/>
                      <a:pt x="296" y="523"/>
                      <a:pt x="301" y="534"/>
                    </a:cubicBezTo>
                    <a:cubicBezTo>
                      <a:pt x="307" y="546"/>
                      <a:pt x="311" y="556"/>
                      <a:pt x="311" y="559"/>
                    </a:cubicBezTo>
                    <a:cubicBezTo>
                      <a:pt x="311" y="561"/>
                      <a:pt x="310" y="569"/>
                      <a:pt x="309" y="577"/>
                    </a:cubicBezTo>
                    <a:cubicBezTo>
                      <a:pt x="306" y="590"/>
                      <a:pt x="307" y="596"/>
                      <a:pt x="311" y="602"/>
                    </a:cubicBezTo>
                    <a:cubicBezTo>
                      <a:pt x="313" y="605"/>
                      <a:pt x="313" y="606"/>
                      <a:pt x="310" y="6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84" name="Freeform 44">
                <a:extLst>
                  <a:ext uri="{FF2B5EF4-FFF2-40B4-BE49-F238E27FC236}">
                    <a16:creationId xmlns:a16="http://schemas.microsoft.com/office/drawing/2014/main" id="{C2D99EBB-C707-4ADA-9331-D008F807F375}"/>
                  </a:ext>
                </a:extLst>
              </p:cNvPr>
              <p:cNvSpPr>
                <a:spLocks/>
              </p:cNvSpPr>
              <p:nvPr/>
            </p:nvSpPr>
            <p:spPr bwMode="auto">
              <a:xfrm>
                <a:off x="761457" y="3981933"/>
                <a:ext cx="392819" cy="620037"/>
              </a:xfrm>
              <a:custGeom>
                <a:avLst/>
                <a:gdLst>
                  <a:gd name="T0" fmla="*/ 67 w 86"/>
                  <a:gd name="T1" fmla="*/ 131 h 136"/>
                  <a:gd name="T2" fmla="*/ 44 w 86"/>
                  <a:gd name="T3" fmla="*/ 102 h 136"/>
                  <a:gd name="T4" fmla="*/ 40 w 86"/>
                  <a:gd name="T5" fmla="*/ 96 h 136"/>
                  <a:gd name="T6" fmla="*/ 31 w 86"/>
                  <a:gd name="T7" fmla="*/ 80 h 136"/>
                  <a:gd name="T8" fmla="*/ 27 w 86"/>
                  <a:gd name="T9" fmla="*/ 71 h 136"/>
                  <a:gd name="T10" fmla="*/ 21 w 86"/>
                  <a:gd name="T11" fmla="*/ 60 h 136"/>
                  <a:gd name="T12" fmla="*/ 13 w 86"/>
                  <a:gd name="T13" fmla="*/ 44 h 136"/>
                  <a:gd name="T14" fmla="*/ 5 w 86"/>
                  <a:gd name="T15" fmla="*/ 25 h 136"/>
                  <a:gd name="T16" fmla="*/ 1 w 86"/>
                  <a:gd name="T17" fmla="*/ 12 h 136"/>
                  <a:gd name="T18" fmla="*/ 4 w 86"/>
                  <a:gd name="T19" fmla="*/ 4 h 136"/>
                  <a:gd name="T20" fmla="*/ 11 w 86"/>
                  <a:gd name="T21" fmla="*/ 0 h 136"/>
                  <a:gd name="T22" fmla="*/ 36 w 86"/>
                  <a:gd name="T23" fmla="*/ 24 h 136"/>
                  <a:gd name="T24" fmla="*/ 45 w 86"/>
                  <a:gd name="T25" fmla="*/ 35 h 136"/>
                  <a:gd name="T26" fmla="*/ 51 w 86"/>
                  <a:gd name="T27" fmla="*/ 43 h 136"/>
                  <a:gd name="T28" fmla="*/ 57 w 86"/>
                  <a:gd name="T29" fmla="*/ 50 h 136"/>
                  <a:gd name="T30" fmla="*/ 63 w 86"/>
                  <a:gd name="T31" fmla="*/ 72 h 136"/>
                  <a:gd name="T32" fmla="*/ 71 w 86"/>
                  <a:gd name="T33" fmla="*/ 90 h 136"/>
                  <a:gd name="T34" fmla="*/ 82 w 86"/>
                  <a:gd name="T35" fmla="*/ 114 h 136"/>
                  <a:gd name="T36" fmla="*/ 85 w 86"/>
                  <a:gd name="T37" fmla="*/ 128 h 136"/>
                  <a:gd name="T38" fmla="*/ 86 w 86"/>
                  <a:gd name="T39" fmla="*/ 134 h 136"/>
                  <a:gd name="T40" fmla="*/ 67 w 86"/>
                  <a:gd name="T41" fmla="*/ 13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136">
                    <a:moveTo>
                      <a:pt x="67" y="131"/>
                    </a:moveTo>
                    <a:cubicBezTo>
                      <a:pt x="58" y="126"/>
                      <a:pt x="44" y="108"/>
                      <a:pt x="44" y="102"/>
                    </a:cubicBezTo>
                    <a:cubicBezTo>
                      <a:pt x="44" y="98"/>
                      <a:pt x="43" y="97"/>
                      <a:pt x="40" y="96"/>
                    </a:cubicBezTo>
                    <a:cubicBezTo>
                      <a:pt x="36" y="94"/>
                      <a:pt x="33" y="89"/>
                      <a:pt x="31" y="80"/>
                    </a:cubicBezTo>
                    <a:cubicBezTo>
                      <a:pt x="30" y="78"/>
                      <a:pt x="28" y="74"/>
                      <a:pt x="27" y="71"/>
                    </a:cubicBezTo>
                    <a:cubicBezTo>
                      <a:pt x="25" y="68"/>
                      <a:pt x="22" y="63"/>
                      <a:pt x="21" y="60"/>
                    </a:cubicBezTo>
                    <a:cubicBezTo>
                      <a:pt x="20" y="56"/>
                      <a:pt x="16" y="49"/>
                      <a:pt x="13" y="44"/>
                    </a:cubicBezTo>
                    <a:cubicBezTo>
                      <a:pt x="9" y="38"/>
                      <a:pt x="6" y="31"/>
                      <a:pt x="5" y="25"/>
                    </a:cubicBezTo>
                    <a:cubicBezTo>
                      <a:pt x="4" y="20"/>
                      <a:pt x="3" y="14"/>
                      <a:pt x="1" y="12"/>
                    </a:cubicBezTo>
                    <a:cubicBezTo>
                      <a:pt x="0" y="7"/>
                      <a:pt x="0" y="7"/>
                      <a:pt x="4" y="4"/>
                    </a:cubicBezTo>
                    <a:cubicBezTo>
                      <a:pt x="6" y="2"/>
                      <a:pt x="9" y="0"/>
                      <a:pt x="11" y="0"/>
                    </a:cubicBezTo>
                    <a:cubicBezTo>
                      <a:pt x="14" y="0"/>
                      <a:pt x="22" y="8"/>
                      <a:pt x="36" y="24"/>
                    </a:cubicBezTo>
                    <a:cubicBezTo>
                      <a:pt x="40" y="29"/>
                      <a:pt x="44" y="34"/>
                      <a:pt x="45" y="35"/>
                    </a:cubicBezTo>
                    <a:cubicBezTo>
                      <a:pt x="46" y="35"/>
                      <a:pt x="49" y="39"/>
                      <a:pt x="51" y="43"/>
                    </a:cubicBezTo>
                    <a:cubicBezTo>
                      <a:pt x="54" y="46"/>
                      <a:pt x="56" y="49"/>
                      <a:pt x="57" y="50"/>
                    </a:cubicBezTo>
                    <a:cubicBezTo>
                      <a:pt x="59" y="51"/>
                      <a:pt x="62" y="64"/>
                      <a:pt x="63" y="72"/>
                    </a:cubicBezTo>
                    <a:cubicBezTo>
                      <a:pt x="64" y="80"/>
                      <a:pt x="65" y="82"/>
                      <a:pt x="71" y="90"/>
                    </a:cubicBezTo>
                    <a:cubicBezTo>
                      <a:pt x="80" y="101"/>
                      <a:pt x="80" y="103"/>
                      <a:pt x="82" y="114"/>
                    </a:cubicBezTo>
                    <a:cubicBezTo>
                      <a:pt x="82" y="118"/>
                      <a:pt x="83" y="125"/>
                      <a:pt x="85" y="128"/>
                    </a:cubicBezTo>
                    <a:cubicBezTo>
                      <a:pt x="86" y="130"/>
                      <a:pt x="86" y="133"/>
                      <a:pt x="86" y="134"/>
                    </a:cubicBezTo>
                    <a:cubicBezTo>
                      <a:pt x="83" y="136"/>
                      <a:pt x="71" y="134"/>
                      <a:pt x="67"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85" name="Freeform 46">
                <a:extLst>
                  <a:ext uri="{FF2B5EF4-FFF2-40B4-BE49-F238E27FC236}">
                    <a16:creationId xmlns:a16="http://schemas.microsoft.com/office/drawing/2014/main" id="{2FD7AC4A-BBE4-4359-A4A5-2521B9F66D8E}"/>
                  </a:ext>
                </a:extLst>
              </p:cNvPr>
              <p:cNvSpPr>
                <a:spLocks/>
              </p:cNvSpPr>
              <p:nvPr/>
            </p:nvSpPr>
            <p:spPr bwMode="auto">
              <a:xfrm>
                <a:off x="574675" y="3230956"/>
                <a:ext cx="152122" cy="423628"/>
              </a:xfrm>
              <a:custGeom>
                <a:avLst/>
                <a:gdLst>
                  <a:gd name="T0" fmla="*/ 8 w 33"/>
                  <a:gd name="T1" fmla="*/ 83 h 93"/>
                  <a:gd name="T2" fmla="*/ 1 w 33"/>
                  <a:gd name="T3" fmla="*/ 31 h 93"/>
                  <a:gd name="T4" fmla="*/ 3 w 33"/>
                  <a:gd name="T5" fmla="*/ 8 h 93"/>
                  <a:gd name="T6" fmla="*/ 5 w 33"/>
                  <a:gd name="T7" fmla="*/ 4 h 93"/>
                  <a:gd name="T8" fmla="*/ 17 w 33"/>
                  <a:gd name="T9" fmla="*/ 4 h 93"/>
                  <a:gd name="T10" fmla="*/ 33 w 33"/>
                  <a:gd name="T11" fmla="*/ 20 h 93"/>
                  <a:gd name="T12" fmla="*/ 20 w 33"/>
                  <a:gd name="T13" fmla="*/ 35 h 93"/>
                  <a:gd name="T14" fmla="*/ 11 w 33"/>
                  <a:gd name="T15" fmla="*/ 72 h 93"/>
                  <a:gd name="T16" fmla="*/ 14 w 33"/>
                  <a:gd name="T17" fmla="*/ 88 h 93"/>
                  <a:gd name="T18" fmla="*/ 8 w 33"/>
                  <a:gd name="T19" fmla="*/ 8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93">
                    <a:moveTo>
                      <a:pt x="8" y="83"/>
                    </a:moveTo>
                    <a:cubicBezTo>
                      <a:pt x="2" y="69"/>
                      <a:pt x="0" y="53"/>
                      <a:pt x="1" y="31"/>
                    </a:cubicBezTo>
                    <a:cubicBezTo>
                      <a:pt x="1" y="18"/>
                      <a:pt x="2" y="10"/>
                      <a:pt x="3" y="8"/>
                    </a:cubicBezTo>
                    <a:cubicBezTo>
                      <a:pt x="4" y="7"/>
                      <a:pt x="5" y="5"/>
                      <a:pt x="5" y="4"/>
                    </a:cubicBezTo>
                    <a:cubicBezTo>
                      <a:pt x="5" y="0"/>
                      <a:pt x="11" y="0"/>
                      <a:pt x="17" y="4"/>
                    </a:cubicBezTo>
                    <a:cubicBezTo>
                      <a:pt x="24" y="9"/>
                      <a:pt x="33" y="18"/>
                      <a:pt x="33" y="20"/>
                    </a:cubicBezTo>
                    <a:cubicBezTo>
                      <a:pt x="33" y="21"/>
                      <a:pt x="27" y="28"/>
                      <a:pt x="20" y="35"/>
                    </a:cubicBezTo>
                    <a:cubicBezTo>
                      <a:pt x="5" y="50"/>
                      <a:pt x="5" y="51"/>
                      <a:pt x="11" y="72"/>
                    </a:cubicBezTo>
                    <a:cubicBezTo>
                      <a:pt x="13" y="79"/>
                      <a:pt x="14" y="86"/>
                      <a:pt x="14" y="88"/>
                    </a:cubicBezTo>
                    <a:cubicBezTo>
                      <a:pt x="14" y="93"/>
                      <a:pt x="11" y="90"/>
                      <a:pt x="8"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sp>
        <p:nvSpPr>
          <p:cNvPr id="4" name="Rectangle 3">
            <a:hlinkClick r:id="rId3" action="ppaction://hlinksldjump"/>
            <a:extLst>
              <a:ext uri="{FF2B5EF4-FFF2-40B4-BE49-F238E27FC236}">
                <a16:creationId xmlns:a16="http://schemas.microsoft.com/office/drawing/2014/main" id="{0E6D1E4B-1A5F-43F0-939D-C2DA8895B79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277766761"/>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United States</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2479E5AD-EA0D-42FB-A756-E49B16036E3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grpSp>
        <p:nvGrpSpPr>
          <p:cNvPr id="64" name="Group 63">
            <a:extLst>
              <a:ext uri="{FF2B5EF4-FFF2-40B4-BE49-F238E27FC236}">
                <a16:creationId xmlns:a16="http://schemas.microsoft.com/office/drawing/2014/main" id="{D272FCD7-D5C2-4087-B5F9-E1C923AC054E}"/>
              </a:ext>
            </a:extLst>
          </p:cNvPr>
          <p:cNvGrpSpPr/>
          <p:nvPr/>
        </p:nvGrpSpPr>
        <p:grpSpPr>
          <a:xfrm>
            <a:off x="3649898" y="953250"/>
            <a:ext cx="7875352" cy="4806411"/>
            <a:chOff x="3649898" y="953250"/>
            <a:chExt cx="7875352" cy="4806411"/>
          </a:xfrm>
          <a:solidFill>
            <a:schemeClr val="tx2">
              <a:lumMod val="40000"/>
              <a:lumOff val="60000"/>
            </a:schemeClr>
          </a:solidFill>
        </p:grpSpPr>
        <p:sp>
          <p:nvSpPr>
            <p:cNvPr id="65" name="Freeform 2">
              <a:extLst>
                <a:ext uri="{FF2B5EF4-FFF2-40B4-BE49-F238E27FC236}">
                  <a16:creationId xmlns:a16="http://schemas.microsoft.com/office/drawing/2014/main" id="{554EA8EA-07C4-41F7-BC84-DB4496C43112}"/>
                </a:ext>
              </a:extLst>
            </p:cNvPr>
            <p:cNvSpPr>
              <a:spLocks noChangeArrowheads="1"/>
            </p:cNvSpPr>
            <p:nvPr/>
          </p:nvSpPr>
          <p:spPr bwMode="auto">
            <a:xfrm>
              <a:off x="10024872" y="2461525"/>
              <a:ext cx="11416" cy="22656"/>
            </a:xfrm>
            <a:custGeom>
              <a:avLst/>
              <a:gdLst>
                <a:gd name="T0" fmla="*/ 0 w 30"/>
                <a:gd name="T1" fmla="*/ 30 h 60"/>
                <a:gd name="T2" fmla="*/ 0 w 30"/>
                <a:gd name="T3" fmla="*/ 30 h 60"/>
                <a:gd name="T4" fmla="*/ 0 w 30"/>
                <a:gd name="T5" fmla="*/ 59 h 60"/>
                <a:gd name="T6" fmla="*/ 0 w 30"/>
                <a:gd name="T7" fmla="*/ 30 h 60"/>
                <a:gd name="T8" fmla="*/ 29 w 30"/>
                <a:gd name="T9" fmla="*/ 0 h 60"/>
                <a:gd name="T10" fmla="*/ 29 w 30"/>
                <a:gd name="T11" fmla="*/ 0 h 60"/>
                <a:gd name="T12" fmla="*/ 29 w 30"/>
                <a:gd name="T13" fmla="*/ 0 h 60"/>
                <a:gd name="T14" fmla="*/ 0 w 30"/>
                <a:gd name="T15" fmla="*/ 3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60">
                  <a:moveTo>
                    <a:pt x="0" y="30"/>
                  </a:moveTo>
                  <a:lnTo>
                    <a:pt x="0" y="30"/>
                  </a:lnTo>
                  <a:cubicBezTo>
                    <a:pt x="0" y="59"/>
                    <a:pt x="0" y="59"/>
                    <a:pt x="0" y="59"/>
                  </a:cubicBezTo>
                  <a:cubicBezTo>
                    <a:pt x="0" y="59"/>
                    <a:pt x="0" y="59"/>
                    <a:pt x="0" y="30"/>
                  </a:cubicBezTo>
                  <a:cubicBezTo>
                    <a:pt x="29" y="30"/>
                    <a:pt x="29" y="30"/>
                    <a:pt x="29" y="0"/>
                  </a:cubicBezTo>
                  <a:lnTo>
                    <a:pt x="29" y="0"/>
                  </a:lnTo>
                  <a:lnTo>
                    <a:pt x="29" y="0"/>
                  </a:lnTo>
                  <a:cubicBezTo>
                    <a:pt x="29" y="30"/>
                    <a:pt x="29"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 name="Freeform 3">
              <a:extLst>
                <a:ext uri="{FF2B5EF4-FFF2-40B4-BE49-F238E27FC236}">
                  <a16:creationId xmlns:a16="http://schemas.microsoft.com/office/drawing/2014/main" id="{C4ED4684-909E-482E-90E7-FB964D96A1CF}"/>
                </a:ext>
              </a:extLst>
            </p:cNvPr>
            <p:cNvSpPr>
              <a:spLocks noChangeArrowheads="1"/>
            </p:cNvSpPr>
            <p:nvPr/>
          </p:nvSpPr>
          <p:spPr bwMode="auto">
            <a:xfrm>
              <a:off x="10036289" y="2345006"/>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 name="Freeform 4">
              <a:extLst>
                <a:ext uri="{FF2B5EF4-FFF2-40B4-BE49-F238E27FC236}">
                  <a16:creationId xmlns:a16="http://schemas.microsoft.com/office/drawing/2014/main" id="{799B26B0-2D83-4E26-92BC-010CC92867AE}"/>
                </a:ext>
              </a:extLst>
            </p:cNvPr>
            <p:cNvSpPr>
              <a:spLocks noChangeArrowheads="1"/>
            </p:cNvSpPr>
            <p:nvPr/>
          </p:nvSpPr>
          <p:spPr bwMode="auto">
            <a:xfrm>
              <a:off x="10121093" y="2312639"/>
              <a:ext cx="22832" cy="11328"/>
            </a:xfrm>
            <a:custGeom>
              <a:avLst/>
              <a:gdLst>
                <a:gd name="T0" fmla="*/ 59 w 60"/>
                <a:gd name="T1" fmla="*/ 0 h 30"/>
                <a:gd name="T2" fmla="*/ 59 w 60"/>
                <a:gd name="T3" fmla="*/ 0 h 30"/>
                <a:gd name="T4" fmla="*/ 30 w 60"/>
                <a:gd name="T5" fmla="*/ 0 h 30"/>
                <a:gd name="T6" fmla="*/ 0 w 60"/>
                <a:gd name="T7" fmla="*/ 29 h 30"/>
                <a:gd name="T8" fmla="*/ 30 w 60"/>
                <a:gd name="T9" fmla="*/ 0 h 30"/>
                <a:gd name="T10" fmla="*/ 59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59" y="0"/>
                  </a:moveTo>
                  <a:lnTo>
                    <a:pt x="59" y="0"/>
                  </a:lnTo>
                  <a:cubicBezTo>
                    <a:pt x="30" y="0"/>
                    <a:pt x="30" y="0"/>
                    <a:pt x="30" y="0"/>
                  </a:cubicBezTo>
                  <a:cubicBezTo>
                    <a:pt x="0" y="0"/>
                    <a:pt x="0" y="29"/>
                    <a:pt x="0" y="29"/>
                  </a:cubicBezTo>
                  <a:cubicBezTo>
                    <a:pt x="0" y="29"/>
                    <a:pt x="0" y="0"/>
                    <a:pt x="30" y="0"/>
                  </a:cubicBezTo>
                  <a:cubicBezTo>
                    <a:pt x="30" y="0"/>
                    <a:pt x="30"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 name="Freeform 5">
              <a:extLst>
                <a:ext uri="{FF2B5EF4-FFF2-40B4-BE49-F238E27FC236}">
                  <a16:creationId xmlns:a16="http://schemas.microsoft.com/office/drawing/2014/main" id="{AF091D6B-C79A-4DB1-ADC2-1CC4446ABE86}"/>
                </a:ext>
              </a:extLst>
            </p:cNvPr>
            <p:cNvSpPr>
              <a:spLocks noChangeArrowheads="1"/>
            </p:cNvSpPr>
            <p:nvPr/>
          </p:nvSpPr>
          <p:spPr bwMode="auto">
            <a:xfrm>
              <a:off x="10024872" y="2408120"/>
              <a:ext cx="11416" cy="11329"/>
            </a:xfrm>
            <a:custGeom>
              <a:avLst/>
              <a:gdLst>
                <a:gd name="T0" fmla="*/ 0 w 30"/>
                <a:gd name="T1" fmla="*/ 29 h 30"/>
                <a:gd name="T2" fmla="*/ 0 w 30"/>
                <a:gd name="T3" fmla="*/ 29 h 30"/>
                <a:gd name="T4" fmla="*/ 0 w 30"/>
                <a:gd name="T5" fmla="*/ 29 h 30"/>
                <a:gd name="T6" fmla="*/ 0 w 30"/>
                <a:gd name="T7" fmla="*/ 29 h 30"/>
                <a:gd name="T8" fmla="*/ 0 w 30"/>
                <a:gd name="T9" fmla="*/ 0 h 30"/>
                <a:gd name="T10" fmla="*/ 0 w 30"/>
                <a:gd name="T11" fmla="*/ 29 h 30"/>
                <a:gd name="T12" fmla="*/ 0 w 30"/>
                <a:gd name="T13" fmla="*/ 29 h 30"/>
                <a:gd name="T14" fmla="*/ 0 w 30"/>
                <a:gd name="T15" fmla="*/ 29 h 30"/>
                <a:gd name="T16" fmla="*/ 29 w 30"/>
                <a:gd name="T17" fmla="*/ 29 h 30"/>
                <a:gd name="T18" fmla="*/ 0 w 30"/>
                <a:gd name="T19"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0" y="29"/>
                  </a:moveTo>
                  <a:lnTo>
                    <a:pt x="0" y="29"/>
                  </a:lnTo>
                  <a:lnTo>
                    <a:pt x="0" y="29"/>
                  </a:lnTo>
                  <a:lnTo>
                    <a:pt x="0" y="29"/>
                  </a:lnTo>
                  <a:cubicBezTo>
                    <a:pt x="0" y="0"/>
                    <a:pt x="0" y="0"/>
                    <a:pt x="0" y="0"/>
                  </a:cubicBezTo>
                  <a:cubicBezTo>
                    <a:pt x="0" y="0"/>
                    <a:pt x="0" y="0"/>
                    <a:pt x="0" y="29"/>
                  </a:cubicBezTo>
                  <a:lnTo>
                    <a:pt x="0" y="29"/>
                  </a:lnTo>
                  <a:lnTo>
                    <a:pt x="0" y="29"/>
                  </a:lnTo>
                  <a:cubicBezTo>
                    <a:pt x="29" y="29"/>
                    <a:pt x="29" y="29"/>
                    <a:pt x="29" y="29"/>
                  </a:cubicBezTo>
                  <a:cubicBezTo>
                    <a:pt x="29" y="29"/>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 name="Freeform 6">
              <a:extLst>
                <a:ext uri="{FF2B5EF4-FFF2-40B4-BE49-F238E27FC236}">
                  <a16:creationId xmlns:a16="http://schemas.microsoft.com/office/drawing/2014/main" id="{939C0F0D-77F5-444F-A1F7-8CA295C068E7}"/>
                </a:ext>
              </a:extLst>
            </p:cNvPr>
            <p:cNvSpPr>
              <a:spLocks noChangeArrowheads="1"/>
            </p:cNvSpPr>
            <p:nvPr/>
          </p:nvSpPr>
          <p:spPr bwMode="auto">
            <a:xfrm>
              <a:off x="10046074" y="2419448"/>
              <a:ext cx="11415" cy="11328"/>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0" y="0"/>
                    <a:pt x="0" y="29"/>
                    <a:pt x="29" y="29"/>
                  </a:cubicBezTo>
                  <a:cubicBezTo>
                    <a:pt x="0" y="29"/>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 name="Freeform 7">
              <a:extLst>
                <a:ext uri="{FF2B5EF4-FFF2-40B4-BE49-F238E27FC236}">
                  <a16:creationId xmlns:a16="http://schemas.microsoft.com/office/drawing/2014/main" id="{A5C3930D-EFD9-4654-8195-BA2657A2E518}"/>
                </a:ext>
              </a:extLst>
            </p:cNvPr>
            <p:cNvSpPr>
              <a:spLocks noChangeArrowheads="1"/>
            </p:cNvSpPr>
            <p:nvPr/>
          </p:nvSpPr>
          <p:spPr bwMode="auto">
            <a:xfrm>
              <a:off x="10057489" y="2429158"/>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 name="Freeform 8">
              <a:extLst>
                <a:ext uri="{FF2B5EF4-FFF2-40B4-BE49-F238E27FC236}">
                  <a16:creationId xmlns:a16="http://schemas.microsoft.com/office/drawing/2014/main" id="{AC93168E-D990-45EC-9049-97E702D4CC32}"/>
                </a:ext>
              </a:extLst>
            </p:cNvPr>
            <p:cNvSpPr>
              <a:spLocks noChangeArrowheads="1"/>
            </p:cNvSpPr>
            <p:nvPr/>
          </p:nvSpPr>
          <p:spPr bwMode="auto">
            <a:xfrm>
              <a:off x="8881650" y="2751204"/>
              <a:ext cx="432174" cy="749283"/>
            </a:xfrm>
            <a:custGeom>
              <a:avLst/>
              <a:gdLst>
                <a:gd name="T0" fmla="*/ 1020 w 1168"/>
                <a:gd name="T1" fmla="*/ 88 h 2042"/>
                <a:gd name="T2" fmla="*/ 1020 w 1168"/>
                <a:gd name="T3" fmla="*/ 88 h 2042"/>
                <a:gd name="T4" fmla="*/ 1020 w 1168"/>
                <a:gd name="T5" fmla="*/ 0 h 2042"/>
                <a:gd name="T6" fmla="*/ 991 w 1168"/>
                <a:gd name="T7" fmla="*/ 0 h 2042"/>
                <a:gd name="T8" fmla="*/ 612 w 1168"/>
                <a:gd name="T9" fmla="*/ 29 h 2042"/>
                <a:gd name="T10" fmla="*/ 233 w 1168"/>
                <a:gd name="T11" fmla="*/ 29 h 2042"/>
                <a:gd name="T12" fmla="*/ 87 w 1168"/>
                <a:gd name="T13" fmla="*/ 117 h 2042"/>
                <a:gd name="T14" fmla="*/ 58 w 1168"/>
                <a:gd name="T15" fmla="*/ 88 h 2042"/>
                <a:gd name="T16" fmla="*/ 87 w 1168"/>
                <a:gd name="T17" fmla="*/ 583 h 2042"/>
                <a:gd name="T18" fmla="*/ 146 w 1168"/>
                <a:gd name="T19" fmla="*/ 1312 h 2042"/>
                <a:gd name="T20" fmla="*/ 146 w 1168"/>
                <a:gd name="T21" fmla="*/ 1400 h 2042"/>
                <a:gd name="T22" fmla="*/ 175 w 1168"/>
                <a:gd name="T23" fmla="*/ 1488 h 2042"/>
                <a:gd name="T24" fmla="*/ 117 w 1168"/>
                <a:gd name="T25" fmla="*/ 1692 h 2042"/>
                <a:gd name="T26" fmla="*/ 87 w 1168"/>
                <a:gd name="T27" fmla="*/ 1750 h 2042"/>
                <a:gd name="T28" fmla="*/ 58 w 1168"/>
                <a:gd name="T29" fmla="*/ 1779 h 2042"/>
                <a:gd name="T30" fmla="*/ 58 w 1168"/>
                <a:gd name="T31" fmla="*/ 1809 h 2042"/>
                <a:gd name="T32" fmla="*/ 58 w 1168"/>
                <a:gd name="T33" fmla="*/ 1866 h 2042"/>
                <a:gd name="T34" fmla="*/ 29 w 1168"/>
                <a:gd name="T35" fmla="*/ 1866 h 2042"/>
                <a:gd name="T36" fmla="*/ 29 w 1168"/>
                <a:gd name="T37" fmla="*/ 1895 h 2042"/>
                <a:gd name="T38" fmla="*/ 29 w 1168"/>
                <a:gd name="T39" fmla="*/ 1925 h 2042"/>
                <a:gd name="T40" fmla="*/ 29 w 1168"/>
                <a:gd name="T41" fmla="*/ 1954 h 2042"/>
                <a:gd name="T42" fmla="*/ 29 w 1168"/>
                <a:gd name="T43" fmla="*/ 1983 h 2042"/>
                <a:gd name="T44" fmla="*/ 0 w 1168"/>
                <a:gd name="T45" fmla="*/ 2041 h 2042"/>
                <a:gd name="T46" fmla="*/ 58 w 1168"/>
                <a:gd name="T47" fmla="*/ 2012 h 2042"/>
                <a:gd name="T48" fmla="*/ 117 w 1168"/>
                <a:gd name="T49" fmla="*/ 1954 h 2042"/>
                <a:gd name="T50" fmla="*/ 117 w 1168"/>
                <a:gd name="T51" fmla="*/ 1925 h 2042"/>
                <a:gd name="T52" fmla="*/ 117 w 1168"/>
                <a:gd name="T53" fmla="*/ 1954 h 2042"/>
                <a:gd name="T54" fmla="*/ 175 w 1168"/>
                <a:gd name="T55" fmla="*/ 1925 h 2042"/>
                <a:gd name="T56" fmla="*/ 233 w 1168"/>
                <a:gd name="T57" fmla="*/ 1925 h 2042"/>
                <a:gd name="T58" fmla="*/ 320 w 1168"/>
                <a:gd name="T59" fmla="*/ 1954 h 2042"/>
                <a:gd name="T60" fmla="*/ 379 w 1168"/>
                <a:gd name="T61" fmla="*/ 1954 h 2042"/>
                <a:gd name="T62" fmla="*/ 379 w 1168"/>
                <a:gd name="T63" fmla="*/ 1954 h 2042"/>
                <a:gd name="T64" fmla="*/ 437 w 1168"/>
                <a:gd name="T65" fmla="*/ 1954 h 2042"/>
                <a:gd name="T66" fmla="*/ 496 w 1168"/>
                <a:gd name="T67" fmla="*/ 1895 h 2042"/>
                <a:gd name="T68" fmla="*/ 496 w 1168"/>
                <a:gd name="T69" fmla="*/ 1895 h 2042"/>
                <a:gd name="T70" fmla="*/ 524 w 1168"/>
                <a:gd name="T71" fmla="*/ 1925 h 2042"/>
                <a:gd name="T72" fmla="*/ 553 w 1168"/>
                <a:gd name="T73" fmla="*/ 1925 h 2042"/>
                <a:gd name="T74" fmla="*/ 583 w 1168"/>
                <a:gd name="T75" fmla="*/ 1866 h 2042"/>
                <a:gd name="T76" fmla="*/ 641 w 1168"/>
                <a:gd name="T77" fmla="*/ 1750 h 2042"/>
                <a:gd name="T78" fmla="*/ 729 w 1168"/>
                <a:gd name="T79" fmla="*/ 1809 h 2042"/>
                <a:gd name="T80" fmla="*/ 787 w 1168"/>
                <a:gd name="T81" fmla="*/ 1866 h 2042"/>
                <a:gd name="T82" fmla="*/ 874 w 1168"/>
                <a:gd name="T83" fmla="*/ 1779 h 2042"/>
                <a:gd name="T84" fmla="*/ 903 w 1168"/>
                <a:gd name="T85" fmla="*/ 1721 h 2042"/>
                <a:gd name="T86" fmla="*/ 962 w 1168"/>
                <a:gd name="T87" fmla="*/ 1633 h 2042"/>
                <a:gd name="T88" fmla="*/ 962 w 1168"/>
                <a:gd name="T89" fmla="*/ 1604 h 2042"/>
                <a:gd name="T90" fmla="*/ 962 w 1168"/>
                <a:gd name="T91" fmla="*/ 1545 h 2042"/>
                <a:gd name="T92" fmla="*/ 1079 w 1168"/>
                <a:gd name="T93" fmla="*/ 1459 h 2042"/>
                <a:gd name="T94" fmla="*/ 1167 w 1168"/>
                <a:gd name="T95" fmla="*/ 1400 h 2042"/>
                <a:gd name="T96" fmla="*/ 1167 w 1168"/>
                <a:gd name="T97" fmla="*/ 1312 h 2042"/>
                <a:gd name="T98" fmla="*/ 1137 w 1168"/>
                <a:gd name="T99" fmla="*/ 1079 h 2042"/>
                <a:gd name="T100" fmla="*/ 1137 w 1168"/>
                <a:gd name="T101" fmla="*/ 962 h 2042"/>
                <a:gd name="T102" fmla="*/ 1050 w 1168"/>
                <a:gd name="T103" fmla="*/ 117 h 2042"/>
                <a:gd name="T104" fmla="*/ 1020 w 1168"/>
                <a:gd name="T105" fmla="*/ 88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68" h="2042">
                  <a:moveTo>
                    <a:pt x="1020" y="88"/>
                  </a:moveTo>
                  <a:lnTo>
                    <a:pt x="1020" y="88"/>
                  </a:lnTo>
                  <a:cubicBezTo>
                    <a:pt x="1020" y="59"/>
                    <a:pt x="1020" y="0"/>
                    <a:pt x="1020" y="0"/>
                  </a:cubicBezTo>
                  <a:cubicBezTo>
                    <a:pt x="1020" y="0"/>
                    <a:pt x="1020" y="0"/>
                    <a:pt x="991" y="0"/>
                  </a:cubicBezTo>
                  <a:cubicBezTo>
                    <a:pt x="874" y="0"/>
                    <a:pt x="758" y="0"/>
                    <a:pt x="612" y="29"/>
                  </a:cubicBezTo>
                  <a:cubicBezTo>
                    <a:pt x="496" y="29"/>
                    <a:pt x="379" y="29"/>
                    <a:pt x="233" y="29"/>
                  </a:cubicBezTo>
                  <a:cubicBezTo>
                    <a:pt x="233" y="88"/>
                    <a:pt x="175" y="117"/>
                    <a:pt x="87" y="117"/>
                  </a:cubicBezTo>
                  <a:lnTo>
                    <a:pt x="58" y="88"/>
                  </a:lnTo>
                  <a:cubicBezTo>
                    <a:pt x="58" y="262"/>
                    <a:pt x="58" y="438"/>
                    <a:pt x="87" y="583"/>
                  </a:cubicBezTo>
                  <a:cubicBezTo>
                    <a:pt x="87" y="845"/>
                    <a:pt x="117" y="1079"/>
                    <a:pt x="146" y="1312"/>
                  </a:cubicBezTo>
                  <a:cubicBezTo>
                    <a:pt x="146" y="1342"/>
                    <a:pt x="146" y="1371"/>
                    <a:pt x="146" y="1400"/>
                  </a:cubicBezTo>
                  <a:cubicBezTo>
                    <a:pt x="146" y="1429"/>
                    <a:pt x="175" y="1459"/>
                    <a:pt x="175" y="1488"/>
                  </a:cubicBezTo>
                  <a:cubicBezTo>
                    <a:pt x="175" y="1575"/>
                    <a:pt x="146" y="1633"/>
                    <a:pt x="117" y="1692"/>
                  </a:cubicBezTo>
                  <a:cubicBezTo>
                    <a:pt x="117" y="1692"/>
                    <a:pt x="117" y="1721"/>
                    <a:pt x="87" y="1750"/>
                  </a:cubicBezTo>
                  <a:lnTo>
                    <a:pt x="58" y="1779"/>
                  </a:lnTo>
                  <a:lnTo>
                    <a:pt x="58" y="1809"/>
                  </a:lnTo>
                  <a:cubicBezTo>
                    <a:pt x="58" y="1838"/>
                    <a:pt x="58" y="1838"/>
                    <a:pt x="58" y="1866"/>
                  </a:cubicBezTo>
                  <a:lnTo>
                    <a:pt x="29" y="1866"/>
                  </a:lnTo>
                  <a:cubicBezTo>
                    <a:pt x="29" y="1895"/>
                    <a:pt x="29" y="1895"/>
                    <a:pt x="29" y="1895"/>
                  </a:cubicBezTo>
                  <a:lnTo>
                    <a:pt x="29" y="1925"/>
                  </a:lnTo>
                  <a:cubicBezTo>
                    <a:pt x="29" y="1925"/>
                    <a:pt x="29" y="1925"/>
                    <a:pt x="29" y="1954"/>
                  </a:cubicBezTo>
                  <a:lnTo>
                    <a:pt x="29" y="1983"/>
                  </a:lnTo>
                  <a:cubicBezTo>
                    <a:pt x="0" y="2012"/>
                    <a:pt x="0" y="2012"/>
                    <a:pt x="0" y="2041"/>
                  </a:cubicBezTo>
                  <a:cubicBezTo>
                    <a:pt x="29" y="2041"/>
                    <a:pt x="58" y="2041"/>
                    <a:pt x="58" y="2012"/>
                  </a:cubicBezTo>
                  <a:cubicBezTo>
                    <a:pt x="58" y="1983"/>
                    <a:pt x="87" y="1954"/>
                    <a:pt x="117" y="1954"/>
                  </a:cubicBezTo>
                  <a:cubicBezTo>
                    <a:pt x="117" y="1925"/>
                    <a:pt x="117" y="1925"/>
                    <a:pt x="117" y="1925"/>
                  </a:cubicBezTo>
                  <a:cubicBezTo>
                    <a:pt x="117" y="1954"/>
                    <a:pt x="117" y="1954"/>
                    <a:pt x="117" y="1954"/>
                  </a:cubicBezTo>
                  <a:cubicBezTo>
                    <a:pt x="146" y="1954"/>
                    <a:pt x="175" y="1954"/>
                    <a:pt x="175" y="1925"/>
                  </a:cubicBezTo>
                  <a:cubicBezTo>
                    <a:pt x="203" y="1925"/>
                    <a:pt x="233" y="1925"/>
                    <a:pt x="233" y="1925"/>
                  </a:cubicBezTo>
                  <a:cubicBezTo>
                    <a:pt x="262" y="1925"/>
                    <a:pt x="291" y="1925"/>
                    <a:pt x="320" y="1954"/>
                  </a:cubicBezTo>
                  <a:cubicBezTo>
                    <a:pt x="320" y="1954"/>
                    <a:pt x="350" y="1954"/>
                    <a:pt x="379" y="1954"/>
                  </a:cubicBezTo>
                  <a:lnTo>
                    <a:pt x="379" y="1954"/>
                  </a:lnTo>
                  <a:cubicBezTo>
                    <a:pt x="408" y="1954"/>
                    <a:pt x="408" y="1954"/>
                    <a:pt x="437" y="1954"/>
                  </a:cubicBezTo>
                  <a:cubicBezTo>
                    <a:pt x="437" y="1925"/>
                    <a:pt x="467" y="1895"/>
                    <a:pt x="496" y="1895"/>
                  </a:cubicBezTo>
                  <a:lnTo>
                    <a:pt x="496" y="1895"/>
                  </a:lnTo>
                  <a:lnTo>
                    <a:pt x="524" y="1925"/>
                  </a:lnTo>
                  <a:cubicBezTo>
                    <a:pt x="553" y="1925"/>
                    <a:pt x="553" y="1925"/>
                    <a:pt x="553" y="1925"/>
                  </a:cubicBezTo>
                  <a:cubicBezTo>
                    <a:pt x="583" y="1925"/>
                    <a:pt x="583" y="1895"/>
                    <a:pt x="583" y="1866"/>
                  </a:cubicBezTo>
                  <a:cubicBezTo>
                    <a:pt x="583" y="1809"/>
                    <a:pt x="612" y="1779"/>
                    <a:pt x="641" y="1750"/>
                  </a:cubicBezTo>
                  <a:cubicBezTo>
                    <a:pt x="700" y="1750"/>
                    <a:pt x="700" y="1779"/>
                    <a:pt x="729" y="1809"/>
                  </a:cubicBezTo>
                  <a:cubicBezTo>
                    <a:pt x="729" y="1838"/>
                    <a:pt x="758" y="1866"/>
                    <a:pt x="787" y="1866"/>
                  </a:cubicBezTo>
                  <a:cubicBezTo>
                    <a:pt x="817" y="1866"/>
                    <a:pt x="874" y="1809"/>
                    <a:pt x="874" y="1779"/>
                  </a:cubicBezTo>
                  <a:cubicBezTo>
                    <a:pt x="903" y="1750"/>
                    <a:pt x="903" y="1750"/>
                    <a:pt x="903" y="1721"/>
                  </a:cubicBezTo>
                  <a:cubicBezTo>
                    <a:pt x="933" y="1692"/>
                    <a:pt x="962" y="1662"/>
                    <a:pt x="962" y="1633"/>
                  </a:cubicBezTo>
                  <a:lnTo>
                    <a:pt x="962" y="1604"/>
                  </a:lnTo>
                  <a:cubicBezTo>
                    <a:pt x="962" y="1575"/>
                    <a:pt x="962" y="1575"/>
                    <a:pt x="962" y="1545"/>
                  </a:cubicBezTo>
                  <a:cubicBezTo>
                    <a:pt x="991" y="1488"/>
                    <a:pt x="1020" y="1488"/>
                    <a:pt x="1079" y="1459"/>
                  </a:cubicBezTo>
                  <a:cubicBezTo>
                    <a:pt x="1108" y="1429"/>
                    <a:pt x="1137" y="1429"/>
                    <a:pt x="1167" y="1400"/>
                  </a:cubicBezTo>
                  <a:cubicBezTo>
                    <a:pt x="1167" y="1371"/>
                    <a:pt x="1167" y="1342"/>
                    <a:pt x="1167" y="1312"/>
                  </a:cubicBezTo>
                  <a:cubicBezTo>
                    <a:pt x="1167" y="1225"/>
                    <a:pt x="1167" y="1166"/>
                    <a:pt x="1137" y="1079"/>
                  </a:cubicBezTo>
                  <a:cubicBezTo>
                    <a:pt x="1137" y="1050"/>
                    <a:pt x="1137" y="1021"/>
                    <a:pt x="1137" y="962"/>
                  </a:cubicBezTo>
                  <a:cubicBezTo>
                    <a:pt x="1108" y="700"/>
                    <a:pt x="1079" y="409"/>
                    <a:pt x="1050" y="117"/>
                  </a:cubicBezTo>
                  <a:cubicBezTo>
                    <a:pt x="1050" y="117"/>
                    <a:pt x="1020" y="117"/>
                    <a:pt x="102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 name="Freeform 9">
              <a:extLst>
                <a:ext uri="{FF2B5EF4-FFF2-40B4-BE49-F238E27FC236}">
                  <a16:creationId xmlns:a16="http://schemas.microsoft.com/office/drawing/2014/main" id="{4EE0C8DF-CDCA-491C-B7FD-E76ED770526B}"/>
                </a:ext>
              </a:extLst>
            </p:cNvPr>
            <p:cNvSpPr>
              <a:spLocks noChangeArrowheads="1"/>
            </p:cNvSpPr>
            <p:nvPr/>
          </p:nvSpPr>
          <p:spPr bwMode="auto">
            <a:xfrm>
              <a:off x="8364672" y="2654104"/>
              <a:ext cx="561011" cy="995267"/>
            </a:xfrm>
            <a:custGeom>
              <a:avLst/>
              <a:gdLst>
                <a:gd name="T0" fmla="*/ 1400 w 1518"/>
                <a:gd name="T1" fmla="*/ 2071 h 2713"/>
                <a:gd name="T2" fmla="*/ 1458 w 1518"/>
                <a:gd name="T3" fmla="*/ 1983 h 2713"/>
                <a:gd name="T4" fmla="*/ 1517 w 1518"/>
                <a:gd name="T5" fmla="*/ 1778 h 2713"/>
                <a:gd name="T6" fmla="*/ 1487 w 1518"/>
                <a:gd name="T7" fmla="*/ 1574 h 2713"/>
                <a:gd name="T8" fmla="*/ 1400 w 1518"/>
                <a:gd name="T9" fmla="*/ 495 h 2713"/>
                <a:gd name="T10" fmla="*/ 1400 w 1518"/>
                <a:gd name="T11" fmla="*/ 321 h 2713"/>
                <a:gd name="T12" fmla="*/ 1312 w 1518"/>
                <a:gd name="T13" fmla="*/ 174 h 2713"/>
                <a:gd name="T14" fmla="*/ 1225 w 1518"/>
                <a:gd name="T15" fmla="*/ 0 h 2713"/>
                <a:gd name="T16" fmla="*/ 233 w 1518"/>
                <a:gd name="T17" fmla="*/ 29 h 2713"/>
                <a:gd name="T18" fmla="*/ 350 w 1518"/>
                <a:gd name="T19" fmla="*/ 87 h 2713"/>
                <a:gd name="T20" fmla="*/ 379 w 1518"/>
                <a:gd name="T21" fmla="*/ 174 h 2713"/>
                <a:gd name="T22" fmla="*/ 408 w 1518"/>
                <a:gd name="T23" fmla="*/ 233 h 2713"/>
                <a:gd name="T24" fmla="*/ 467 w 1518"/>
                <a:gd name="T25" fmla="*/ 407 h 2713"/>
                <a:gd name="T26" fmla="*/ 204 w 1518"/>
                <a:gd name="T27" fmla="*/ 641 h 2713"/>
                <a:gd name="T28" fmla="*/ 146 w 1518"/>
                <a:gd name="T29" fmla="*/ 757 h 2713"/>
                <a:gd name="T30" fmla="*/ 117 w 1518"/>
                <a:gd name="T31" fmla="*/ 904 h 2713"/>
                <a:gd name="T32" fmla="*/ 29 w 1518"/>
                <a:gd name="T33" fmla="*/ 1107 h 2713"/>
                <a:gd name="T34" fmla="*/ 29 w 1518"/>
                <a:gd name="T35" fmla="*/ 1341 h 2713"/>
                <a:gd name="T36" fmla="*/ 29 w 1518"/>
                <a:gd name="T37" fmla="*/ 1428 h 2713"/>
                <a:gd name="T38" fmla="*/ 204 w 1518"/>
                <a:gd name="T39" fmla="*/ 1545 h 2713"/>
                <a:gd name="T40" fmla="*/ 233 w 1518"/>
                <a:gd name="T41" fmla="*/ 1545 h 2713"/>
                <a:gd name="T42" fmla="*/ 350 w 1518"/>
                <a:gd name="T43" fmla="*/ 1750 h 2713"/>
                <a:gd name="T44" fmla="*/ 467 w 1518"/>
                <a:gd name="T45" fmla="*/ 1778 h 2713"/>
                <a:gd name="T46" fmla="*/ 496 w 1518"/>
                <a:gd name="T47" fmla="*/ 2100 h 2713"/>
                <a:gd name="T48" fmla="*/ 583 w 1518"/>
                <a:gd name="T49" fmla="*/ 2187 h 2713"/>
                <a:gd name="T50" fmla="*/ 700 w 1518"/>
                <a:gd name="T51" fmla="*/ 2303 h 2713"/>
                <a:gd name="T52" fmla="*/ 758 w 1518"/>
                <a:gd name="T53" fmla="*/ 2333 h 2713"/>
                <a:gd name="T54" fmla="*/ 817 w 1518"/>
                <a:gd name="T55" fmla="*/ 2537 h 2713"/>
                <a:gd name="T56" fmla="*/ 962 w 1518"/>
                <a:gd name="T57" fmla="*/ 2712 h 2713"/>
                <a:gd name="T58" fmla="*/ 991 w 1518"/>
                <a:gd name="T59" fmla="*/ 2683 h 2713"/>
                <a:gd name="T60" fmla="*/ 1050 w 1518"/>
                <a:gd name="T61" fmla="*/ 2595 h 2713"/>
                <a:gd name="T62" fmla="*/ 1196 w 1518"/>
                <a:gd name="T63" fmla="*/ 2654 h 2713"/>
                <a:gd name="T64" fmla="*/ 1253 w 1518"/>
                <a:gd name="T65" fmla="*/ 2537 h 2713"/>
                <a:gd name="T66" fmla="*/ 1283 w 1518"/>
                <a:gd name="T67" fmla="*/ 2537 h 2713"/>
                <a:gd name="T68" fmla="*/ 1341 w 1518"/>
                <a:gd name="T69" fmla="*/ 2391 h 2713"/>
                <a:gd name="T70" fmla="*/ 1341 w 1518"/>
                <a:gd name="T71" fmla="*/ 2362 h 2713"/>
                <a:gd name="T72" fmla="*/ 1341 w 1518"/>
                <a:gd name="T73" fmla="*/ 2274 h 2713"/>
                <a:gd name="T74" fmla="*/ 1370 w 1518"/>
                <a:gd name="T75" fmla="*/ 2157 h 2713"/>
                <a:gd name="T76" fmla="*/ 1370 w 1518"/>
                <a:gd name="T77" fmla="*/ 2128 h 2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8" h="2713">
                  <a:moveTo>
                    <a:pt x="1400" y="2071"/>
                  </a:moveTo>
                  <a:lnTo>
                    <a:pt x="1400" y="2071"/>
                  </a:lnTo>
                  <a:lnTo>
                    <a:pt x="1400" y="2041"/>
                  </a:lnTo>
                  <a:cubicBezTo>
                    <a:pt x="1429" y="2012"/>
                    <a:pt x="1429" y="1983"/>
                    <a:pt x="1458" y="1983"/>
                  </a:cubicBezTo>
                  <a:cubicBezTo>
                    <a:pt x="1458" y="1954"/>
                    <a:pt x="1458" y="1954"/>
                    <a:pt x="1487" y="1924"/>
                  </a:cubicBezTo>
                  <a:cubicBezTo>
                    <a:pt x="1487" y="1895"/>
                    <a:pt x="1517" y="1837"/>
                    <a:pt x="1517" y="1778"/>
                  </a:cubicBezTo>
                  <a:cubicBezTo>
                    <a:pt x="1517" y="1750"/>
                    <a:pt x="1517" y="1691"/>
                    <a:pt x="1487" y="1662"/>
                  </a:cubicBezTo>
                  <a:cubicBezTo>
                    <a:pt x="1487" y="1633"/>
                    <a:pt x="1487" y="1604"/>
                    <a:pt x="1487" y="1574"/>
                  </a:cubicBezTo>
                  <a:cubicBezTo>
                    <a:pt x="1458" y="1341"/>
                    <a:pt x="1429" y="1107"/>
                    <a:pt x="1429" y="874"/>
                  </a:cubicBezTo>
                  <a:cubicBezTo>
                    <a:pt x="1429" y="757"/>
                    <a:pt x="1400" y="612"/>
                    <a:pt x="1400" y="495"/>
                  </a:cubicBezTo>
                  <a:cubicBezTo>
                    <a:pt x="1400" y="466"/>
                    <a:pt x="1400" y="437"/>
                    <a:pt x="1400" y="407"/>
                  </a:cubicBezTo>
                  <a:cubicBezTo>
                    <a:pt x="1400" y="379"/>
                    <a:pt x="1400" y="350"/>
                    <a:pt x="1400" y="321"/>
                  </a:cubicBezTo>
                  <a:cubicBezTo>
                    <a:pt x="1370" y="291"/>
                    <a:pt x="1370" y="262"/>
                    <a:pt x="1341" y="233"/>
                  </a:cubicBezTo>
                  <a:cubicBezTo>
                    <a:pt x="1341" y="233"/>
                    <a:pt x="1312" y="204"/>
                    <a:pt x="1312" y="174"/>
                  </a:cubicBezTo>
                  <a:lnTo>
                    <a:pt x="1312" y="174"/>
                  </a:lnTo>
                  <a:cubicBezTo>
                    <a:pt x="1283" y="116"/>
                    <a:pt x="1253" y="57"/>
                    <a:pt x="1225" y="0"/>
                  </a:cubicBezTo>
                  <a:cubicBezTo>
                    <a:pt x="1050" y="0"/>
                    <a:pt x="904" y="0"/>
                    <a:pt x="758" y="0"/>
                  </a:cubicBezTo>
                  <a:cubicBezTo>
                    <a:pt x="583" y="29"/>
                    <a:pt x="408" y="29"/>
                    <a:pt x="233" y="29"/>
                  </a:cubicBezTo>
                  <a:cubicBezTo>
                    <a:pt x="262" y="57"/>
                    <a:pt x="291" y="57"/>
                    <a:pt x="320" y="87"/>
                  </a:cubicBezTo>
                  <a:cubicBezTo>
                    <a:pt x="350" y="87"/>
                    <a:pt x="350" y="87"/>
                    <a:pt x="350" y="87"/>
                  </a:cubicBezTo>
                  <a:lnTo>
                    <a:pt x="350" y="87"/>
                  </a:lnTo>
                  <a:cubicBezTo>
                    <a:pt x="350" y="116"/>
                    <a:pt x="350" y="145"/>
                    <a:pt x="379" y="174"/>
                  </a:cubicBezTo>
                  <a:cubicBezTo>
                    <a:pt x="379" y="204"/>
                    <a:pt x="408" y="204"/>
                    <a:pt x="408" y="233"/>
                  </a:cubicBezTo>
                  <a:lnTo>
                    <a:pt x="408" y="233"/>
                  </a:lnTo>
                  <a:cubicBezTo>
                    <a:pt x="408" y="233"/>
                    <a:pt x="437" y="233"/>
                    <a:pt x="437" y="262"/>
                  </a:cubicBezTo>
                  <a:cubicBezTo>
                    <a:pt x="467" y="291"/>
                    <a:pt x="467" y="350"/>
                    <a:pt x="467" y="407"/>
                  </a:cubicBezTo>
                  <a:cubicBezTo>
                    <a:pt x="408" y="466"/>
                    <a:pt x="350" y="524"/>
                    <a:pt x="262" y="554"/>
                  </a:cubicBezTo>
                  <a:cubicBezTo>
                    <a:pt x="262" y="612"/>
                    <a:pt x="233" y="612"/>
                    <a:pt x="204" y="641"/>
                  </a:cubicBezTo>
                  <a:cubicBezTo>
                    <a:pt x="175" y="641"/>
                    <a:pt x="175" y="641"/>
                    <a:pt x="175" y="641"/>
                  </a:cubicBezTo>
                  <a:cubicBezTo>
                    <a:pt x="146" y="671"/>
                    <a:pt x="146" y="700"/>
                    <a:pt x="146" y="757"/>
                  </a:cubicBezTo>
                  <a:cubicBezTo>
                    <a:pt x="146" y="787"/>
                    <a:pt x="175" y="816"/>
                    <a:pt x="146" y="845"/>
                  </a:cubicBezTo>
                  <a:cubicBezTo>
                    <a:pt x="146" y="874"/>
                    <a:pt x="117" y="904"/>
                    <a:pt x="117" y="904"/>
                  </a:cubicBezTo>
                  <a:cubicBezTo>
                    <a:pt x="87" y="904"/>
                    <a:pt x="87" y="933"/>
                    <a:pt x="58" y="933"/>
                  </a:cubicBezTo>
                  <a:cubicBezTo>
                    <a:pt x="58" y="962"/>
                    <a:pt x="29" y="1050"/>
                    <a:pt x="29" y="1107"/>
                  </a:cubicBezTo>
                  <a:cubicBezTo>
                    <a:pt x="0" y="1166"/>
                    <a:pt x="29" y="1195"/>
                    <a:pt x="29" y="1224"/>
                  </a:cubicBezTo>
                  <a:cubicBezTo>
                    <a:pt x="29" y="1254"/>
                    <a:pt x="29" y="1312"/>
                    <a:pt x="29" y="1341"/>
                  </a:cubicBezTo>
                  <a:lnTo>
                    <a:pt x="29" y="1371"/>
                  </a:lnTo>
                  <a:cubicBezTo>
                    <a:pt x="29" y="1400"/>
                    <a:pt x="29" y="1400"/>
                    <a:pt x="29" y="1428"/>
                  </a:cubicBezTo>
                  <a:lnTo>
                    <a:pt x="29" y="1428"/>
                  </a:lnTo>
                  <a:cubicBezTo>
                    <a:pt x="87" y="1487"/>
                    <a:pt x="146" y="1516"/>
                    <a:pt x="204" y="1545"/>
                  </a:cubicBezTo>
                  <a:lnTo>
                    <a:pt x="204" y="1545"/>
                  </a:lnTo>
                  <a:cubicBezTo>
                    <a:pt x="233" y="1545"/>
                    <a:pt x="233" y="1545"/>
                    <a:pt x="233" y="1545"/>
                  </a:cubicBezTo>
                  <a:cubicBezTo>
                    <a:pt x="233" y="1574"/>
                    <a:pt x="262" y="1604"/>
                    <a:pt x="262" y="1633"/>
                  </a:cubicBezTo>
                  <a:cubicBezTo>
                    <a:pt x="291" y="1662"/>
                    <a:pt x="320" y="1691"/>
                    <a:pt x="350" y="1750"/>
                  </a:cubicBezTo>
                  <a:cubicBezTo>
                    <a:pt x="350" y="1778"/>
                    <a:pt x="379" y="1778"/>
                    <a:pt x="408" y="1778"/>
                  </a:cubicBezTo>
                  <a:cubicBezTo>
                    <a:pt x="408" y="1778"/>
                    <a:pt x="437" y="1778"/>
                    <a:pt x="467" y="1778"/>
                  </a:cubicBezTo>
                  <a:cubicBezTo>
                    <a:pt x="496" y="1807"/>
                    <a:pt x="525" y="1837"/>
                    <a:pt x="554" y="1866"/>
                  </a:cubicBezTo>
                  <a:cubicBezTo>
                    <a:pt x="554" y="1954"/>
                    <a:pt x="525" y="2041"/>
                    <a:pt x="496" y="2100"/>
                  </a:cubicBezTo>
                  <a:lnTo>
                    <a:pt x="496" y="2100"/>
                  </a:lnTo>
                  <a:cubicBezTo>
                    <a:pt x="525" y="2128"/>
                    <a:pt x="554" y="2157"/>
                    <a:pt x="583" y="2187"/>
                  </a:cubicBezTo>
                  <a:cubicBezTo>
                    <a:pt x="583" y="2216"/>
                    <a:pt x="612" y="2216"/>
                    <a:pt x="612" y="2216"/>
                  </a:cubicBezTo>
                  <a:cubicBezTo>
                    <a:pt x="641" y="2245"/>
                    <a:pt x="670" y="2274"/>
                    <a:pt x="700" y="2303"/>
                  </a:cubicBezTo>
                  <a:lnTo>
                    <a:pt x="700" y="2303"/>
                  </a:lnTo>
                  <a:cubicBezTo>
                    <a:pt x="729" y="2303"/>
                    <a:pt x="729" y="2303"/>
                    <a:pt x="758" y="2333"/>
                  </a:cubicBezTo>
                  <a:cubicBezTo>
                    <a:pt x="787" y="2362"/>
                    <a:pt x="817" y="2450"/>
                    <a:pt x="846" y="2507"/>
                  </a:cubicBezTo>
                  <a:lnTo>
                    <a:pt x="817" y="2537"/>
                  </a:lnTo>
                  <a:cubicBezTo>
                    <a:pt x="817" y="2566"/>
                    <a:pt x="817" y="2566"/>
                    <a:pt x="817" y="2595"/>
                  </a:cubicBezTo>
                  <a:cubicBezTo>
                    <a:pt x="846" y="2654"/>
                    <a:pt x="904" y="2683"/>
                    <a:pt x="962" y="2712"/>
                  </a:cubicBezTo>
                  <a:lnTo>
                    <a:pt x="962" y="2712"/>
                  </a:lnTo>
                  <a:cubicBezTo>
                    <a:pt x="962" y="2712"/>
                    <a:pt x="962" y="2712"/>
                    <a:pt x="991" y="2683"/>
                  </a:cubicBezTo>
                  <a:cubicBezTo>
                    <a:pt x="991" y="2654"/>
                    <a:pt x="991" y="2654"/>
                    <a:pt x="1020" y="2624"/>
                  </a:cubicBezTo>
                  <a:lnTo>
                    <a:pt x="1050" y="2595"/>
                  </a:lnTo>
                  <a:cubicBezTo>
                    <a:pt x="1079" y="2595"/>
                    <a:pt x="1108" y="2624"/>
                    <a:pt x="1108" y="2624"/>
                  </a:cubicBezTo>
                  <a:cubicBezTo>
                    <a:pt x="1137" y="2624"/>
                    <a:pt x="1167" y="2654"/>
                    <a:pt x="1196" y="2654"/>
                  </a:cubicBezTo>
                  <a:cubicBezTo>
                    <a:pt x="1196" y="2624"/>
                    <a:pt x="1196" y="2624"/>
                    <a:pt x="1225" y="2595"/>
                  </a:cubicBezTo>
                  <a:cubicBezTo>
                    <a:pt x="1225" y="2595"/>
                    <a:pt x="1225" y="2566"/>
                    <a:pt x="1253" y="2537"/>
                  </a:cubicBezTo>
                  <a:lnTo>
                    <a:pt x="1283" y="2537"/>
                  </a:lnTo>
                  <a:lnTo>
                    <a:pt x="1283" y="2537"/>
                  </a:lnTo>
                  <a:cubicBezTo>
                    <a:pt x="1312" y="2507"/>
                    <a:pt x="1312" y="2507"/>
                    <a:pt x="1312" y="2478"/>
                  </a:cubicBezTo>
                  <a:cubicBezTo>
                    <a:pt x="1341" y="2450"/>
                    <a:pt x="1341" y="2421"/>
                    <a:pt x="1341" y="2391"/>
                  </a:cubicBezTo>
                  <a:cubicBezTo>
                    <a:pt x="1312" y="2362"/>
                    <a:pt x="1312" y="2362"/>
                    <a:pt x="1312" y="2362"/>
                  </a:cubicBezTo>
                  <a:cubicBezTo>
                    <a:pt x="1341" y="2362"/>
                    <a:pt x="1341" y="2362"/>
                    <a:pt x="1341" y="2362"/>
                  </a:cubicBezTo>
                  <a:cubicBezTo>
                    <a:pt x="1341" y="2333"/>
                    <a:pt x="1341" y="2333"/>
                    <a:pt x="1341" y="2303"/>
                  </a:cubicBezTo>
                  <a:cubicBezTo>
                    <a:pt x="1341" y="2274"/>
                    <a:pt x="1341" y="2274"/>
                    <a:pt x="1341" y="2274"/>
                  </a:cubicBezTo>
                  <a:cubicBezTo>
                    <a:pt x="1341" y="2245"/>
                    <a:pt x="1370" y="2216"/>
                    <a:pt x="1370" y="2216"/>
                  </a:cubicBezTo>
                  <a:cubicBezTo>
                    <a:pt x="1370" y="2187"/>
                    <a:pt x="1370" y="2157"/>
                    <a:pt x="1370" y="2157"/>
                  </a:cubicBezTo>
                  <a:cubicBezTo>
                    <a:pt x="1370" y="2128"/>
                    <a:pt x="1370" y="2128"/>
                    <a:pt x="1370" y="2128"/>
                  </a:cubicBezTo>
                  <a:lnTo>
                    <a:pt x="1370" y="2128"/>
                  </a:lnTo>
                  <a:cubicBezTo>
                    <a:pt x="1400" y="2128"/>
                    <a:pt x="1400" y="2100"/>
                    <a:pt x="1400" y="207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 name="Freeform 10">
              <a:extLst>
                <a:ext uri="{FF2B5EF4-FFF2-40B4-BE49-F238E27FC236}">
                  <a16:creationId xmlns:a16="http://schemas.microsoft.com/office/drawing/2014/main" id="{25C97799-6D79-4F0E-AC57-2FD6B6F6E05B}"/>
                </a:ext>
              </a:extLst>
            </p:cNvPr>
            <p:cNvSpPr>
              <a:spLocks noChangeArrowheads="1"/>
            </p:cNvSpPr>
            <p:nvPr/>
          </p:nvSpPr>
          <p:spPr bwMode="auto">
            <a:xfrm>
              <a:off x="9701965" y="3008517"/>
              <a:ext cx="614829" cy="470931"/>
            </a:xfrm>
            <a:custGeom>
              <a:avLst/>
              <a:gdLst>
                <a:gd name="T0" fmla="*/ 1078 w 1663"/>
                <a:gd name="T1" fmla="*/ 612 h 1284"/>
                <a:gd name="T2" fmla="*/ 1195 w 1663"/>
                <a:gd name="T3" fmla="*/ 642 h 1284"/>
                <a:gd name="T4" fmla="*/ 1312 w 1663"/>
                <a:gd name="T5" fmla="*/ 466 h 1284"/>
                <a:gd name="T6" fmla="*/ 1399 w 1663"/>
                <a:gd name="T7" fmla="*/ 409 h 1284"/>
                <a:gd name="T8" fmla="*/ 1457 w 1663"/>
                <a:gd name="T9" fmla="*/ 262 h 1284"/>
                <a:gd name="T10" fmla="*/ 1545 w 1663"/>
                <a:gd name="T11" fmla="*/ 233 h 1284"/>
                <a:gd name="T12" fmla="*/ 1633 w 1663"/>
                <a:gd name="T13" fmla="*/ 175 h 1284"/>
                <a:gd name="T14" fmla="*/ 1662 w 1663"/>
                <a:gd name="T15" fmla="*/ 58 h 1284"/>
                <a:gd name="T16" fmla="*/ 1516 w 1663"/>
                <a:gd name="T17" fmla="*/ 29 h 1284"/>
                <a:gd name="T18" fmla="*/ 1399 w 1663"/>
                <a:gd name="T19" fmla="*/ 29 h 1284"/>
                <a:gd name="T20" fmla="*/ 1224 w 1663"/>
                <a:gd name="T21" fmla="*/ 145 h 1284"/>
                <a:gd name="T22" fmla="*/ 1136 w 1663"/>
                <a:gd name="T23" fmla="*/ 321 h 1284"/>
                <a:gd name="T24" fmla="*/ 1107 w 1663"/>
                <a:gd name="T25" fmla="*/ 350 h 1284"/>
                <a:gd name="T26" fmla="*/ 1020 w 1663"/>
                <a:gd name="T27" fmla="*/ 350 h 1284"/>
                <a:gd name="T28" fmla="*/ 1020 w 1663"/>
                <a:gd name="T29" fmla="*/ 204 h 1284"/>
                <a:gd name="T30" fmla="*/ 845 w 1663"/>
                <a:gd name="T31" fmla="*/ 58 h 1284"/>
                <a:gd name="T32" fmla="*/ 553 w 1663"/>
                <a:gd name="T33" fmla="*/ 88 h 1284"/>
                <a:gd name="T34" fmla="*/ 553 w 1663"/>
                <a:gd name="T35" fmla="*/ 29 h 1284"/>
                <a:gd name="T36" fmla="*/ 524 w 1663"/>
                <a:gd name="T37" fmla="*/ 29 h 1284"/>
                <a:gd name="T38" fmla="*/ 466 w 1663"/>
                <a:gd name="T39" fmla="*/ 145 h 1284"/>
                <a:gd name="T40" fmla="*/ 466 w 1663"/>
                <a:gd name="T41" fmla="*/ 204 h 1284"/>
                <a:gd name="T42" fmla="*/ 407 w 1663"/>
                <a:gd name="T43" fmla="*/ 262 h 1284"/>
                <a:gd name="T44" fmla="*/ 320 w 1663"/>
                <a:gd name="T45" fmla="*/ 350 h 1284"/>
                <a:gd name="T46" fmla="*/ 262 w 1663"/>
                <a:gd name="T47" fmla="*/ 409 h 1284"/>
                <a:gd name="T48" fmla="*/ 203 w 1663"/>
                <a:gd name="T49" fmla="*/ 554 h 1284"/>
                <a:gd name="T50" fmla="*/ 174 w 1663"/>
                <a:gd name="T51" fmla="*/ 525 h 1284"/>
                <a:gd name="T52" fmla="*/ 116 w 1663"/>
                <a:gd name="T53" fmla="*/ 583 h 1284"/>
                <a:gd name="T54" fmla="*/ 86 w 1663"/>
                <a:gd name="T55" fmla="*/ 700 h 1284"/>
                <a:gd name="T56" fmla="*/ 57 w 1663"/>
                <a:gd name="T57" fmla="*/ 816 h 1284"/>
                <a:gd name="T58" fmla="*/ 28 w 1663"/>
                <a:gd name="T59" fmla="*/ 845 h 1284"/>
                <a:gd name="T60" fmla="*/ 28 w 1663"/>
                <a:gd name="T61" fmla="*/ 1021 h 1284"/>
                <a:gd name="T62" fmla="*/ 86 w 1663"/>
                <a:gd name="T63" fmla="*/ 1021 h 1284"/>
                <a:gd name="T64" fmla="*/ 86 w 1663"/>
                <a:gd name="T65" fmla="*/ 1079 h 1284"/>
                <a:gd name="T66" fmla="*/ 145 w 1663"/>
                <a:gd name="T67" fmla="*/ 1109 h 1284"/>
                <a:gd name="T68" fmla="*/ 203 w 1663"/>
                <a:gd name="T69" fmla="*/ 1195 h 1284"/>
                <a:gd name="T70" fmla="*/ 349 w 1663"/>
                <a:gd name="T71" fmla="*/ 1225 h 1284"/>
                <a:gd name="T72" fmla="*/ 466 w 1663"/>
                <a:gd name="T73" fmla="*/ 1109 h 1284"/>
                <a:gd name="T74" fmla="*/ 553 w 1663"/>
                <a:gd name="T75" fmla="*/ 1166 h 1284"/>
                <a:gd name="T76" fmla="*/ 612 w 1663"/>
                <a:gd name="T77" fmla="*/ 1109 h 1284"/>
                <a:gd name="T78" fmla="*/ 728 w 1663"/>
                <a:gd name="T79" fmla="*/ 1109 h 1284"/>
                <a:gd name="T80" fmla="*/ 757 w 1663"/>
                <a:gd name="T81" fmla="*/ 1050 h 1284"/>
                <a:gd name="T82" fmla="*/ 816 w 1663"/>
                <a:gd name="T83" fmla="*/ 875 h 1284"/>
                <a:gd name="T84" fmla="*/ 991 w 1663"/>
                <a:gd name="T85" fmla="*/ 788 h 1284"/>
                <a:gd name="T86" fmla="*/ 1020 w 1663"/>
                <a:gd name="T87" fmla="*/ 612 h 1284"/>
                <a:gd name="T88" fmla="*/ 1078 w 1663"/>
                <a:gd name="T89" fmla="*/ 61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3" h="1284">
                  <a:moveTo>
                    <a:pt x="1078" y="612"/>
                  </a:moveTo>
                  <a:lnTo>
                    <a:pt x="1078" y="612"/>
                  </a:lnTo>
                  <a:cubicBezTo>
                    <a:pt x="1107" y="612"/>
                    <a:pt x="1107" y="612"/>
                    <a:pt x="1136" y="612"/>
                  </a:cubicBezTo>
                  <a:cubicBezTo>
                    <a:pt x="1166" y="642"/>
                    <a:pt x="1195" y="642"/>
                    <a:pt x="1195" y="642"/>
                  </a:cubicBezTo>
                  <a:cubicBezTo>
                    <a:pt x="1253" y="642"/>
                    <a:pt x="1253" y="612"/>
                    <a:pt x="1283" y="554"/>
                  </a:cubicBezTo>
                  <a:cubicBezTo>
                    <a:pt x="1283" y="525"/>
                    <a:pt x="1283" y="495"/>
                    <a:pt x="1312" y="466"/>
                  </a:cubicBezTo>
                  <a:cubicBezTo>
                    <a:pt x="1312" y="466"/>
                    <a:pt x="1341" y="438"/>
                    <a:pt x="1370" y="438"/>
                  </a:cubicBezTo>
                  <a:cubicBezTo>
                    <a:pt x="1370" y="438"/>
                    <a:pt x="1399" y="438"/>
                    <a:pt x="1399" y="409"/>
                  </a:cubicBezTo>
                  <a:cubicBezTo>
                    <a:pt x="1399" y="409"/>
                    <a:pt x="1428" y="379"/>
                    <a:pt x="1428" y="350"/>
                  </a:cubicBezTo>
                  <a:cubicBezTo>
                    <a:pt x="1428" y="321"/>
                    <a:pt x="1428" y="262"/>
                    <a:pt x="1457" y="262"/>
                  </a:cubicBezTo>
                  <a:cubicBezTo>
                    <a:pt x="1486" y="233"/>
                    <a:pt x="1516" y="233"/>
                    <a:pt x="1545" y="233"/>
                  </a:cubicBezTo>
                  <a:lnTo>
                    <a:pt x="1545" y="233"/>
                  </a:lnTo>
                  <a:lnTo>
                    <a:pt x="1574" y="233"/>
                  </a:lnTo>
                  <a:cubicBezTo>
                    <a:pt x="1603" y="233"/>
                    <a:pt x="1603" y="204"/>
                    <a:pt x="1633" y="175"/>
                  </a:cubicBezTo>
                  <a:cubicBezTo>
                    <a:pt x="1633" y="145"/>
                    <a:pt x="1633" y="117"/>
                    <a:pt x="1662" y="117"/>
                  </a:cubicBezTo>
                  <a:cubicBezTo>
                    <a:pt x="1662" y="88"/>
                    <a:pt x="1662" y="88"/>
                    <a:pt x="1662" y="58"/>
                  </a:cubicBezTo>
                  <a:cubicBezTo>
                    <a:pt x="1633" y="29"/>
                    <a:pt x="1633" y="29"/>
                    <a:pt x="1603" y="0"/>
                  </a:cubicBezTo>
                  <a:cubicBezTo>
                    <a:pt x="1574" y="0"/>
                    <a:pt x="1545" y="0"/>
                    <a:pt x="1516" y="29"/>
                  </a:cubicBezTo>
                  <a:cubicBezTo>
                    <a:pt x="1486" y="29"/>
                    <a:pt x="1486" y="29"/>
                    <a:pt x="1457" y="29"/>
                  </a:cubicBezTo>
                  <a:cubicBezTo>
                    <a:pt x="1428" y="29"/>
                    <a:pt x="1428" y="29"/>
                    <a:pt x="1399" y="29"/>
                  </a:cubicBezTo>
                  <a:cubicBezTo>
                    <a:pt x="1399" y="29"/>
                    <a:pt x="1399" y="29"/>
                    <a:pt x="1370" y="29"/>
                  </a:cubicBezTo>
                  <a:cubicBezTo>
                    <a:pt x="1341" y="29"/>
                    <a:pt x="1283" y="88"/>
                    <a:pt x="1224" y="145"/>
                  </a:cubicBezTo>
                  <a:cubicBezTo>
                    <a:pt x="1195" y="204"/>
                    <a:pt x="1136" y="292"/>
                    <a:pt x="1136" y="321"/>
                  </a:cubicBezTo>
                  <a:lnTo>
                    <a:pt x="1136" y="321"/>
                  </a:lnTo>
                  <a:cubicBezTo>
                    <a:pt x="1107" y="321"/>
                    <a:pt x="1107" y="321"/>
                    <a:pt x="1107" y="321"/>
                  </a:cubicBezTo>
                  <a:cubicBezTo>
                    <a:pt x="1107" y="350"/>
                    <a:pt x="1107" y="350"/>
                    <a:pt x="1107" y="350"/>
                  </a:cubicBezTo>
                  <a:cubicBezTo>
                    <a:pt x="1078" y="350"/>
                    <a:pt x="1078" y="350"/>
                    <a:pt x="1049" y="350"/>
                  </a:cubicBezTo>
                  <a:cubicBezTo>
                    <a:pt x="1020" y="350"/>
                    <a:pt x="1020" y="350"/>
                    <a:pt x="1020" y="350"/>
                  </a:cubicBezTo>
                  <a:lnTo>
                    <a:pt x="1020" y="350"/>
                  </a:lnTo>
                  <a:cubicBezTo>
                    <a:pt x="1020" y="292"/>
                    <a:pt x="1020" y="233"/>
                    <a:pt x="1020" y="204"/>
                  </a:cubicBezTo>
                  <a:cubicBezTo>
                    <a:pt x="991" y="145"/>
                    <a:pt x="991" y="88"/>
                    <a:pt x="991" y="29"/>
                  </a:cubicBezTo>
                  <a:cubicBezTo>
                    <a:pt x="933" y="29"/>
                    <a:pt x="874" y="29"/>
                    <a:pt x="845" y="58"/>
                  </a:cubicBezTo>
                  <a:cubicBezTo>
                    <a:pt x="757" y="58"/>
                    <a:pt x="670" y="88"/>
                    <a:pt x="583" y="88"/>
                  </a:cubicBezTo>
                  <a:cubicBezTo>
                    <a:pt x="553" y="88"/>
                    <a:pt x="553" y="88"/>
                    <a:pt x="553" y="88"/>
                  </a:cubicBezTo>
                  <a:lnTo>
                    <a:pt x="553" y="88"/>
                  </a:lnTo>
                  <a:cubicBezTo>
                    <a:pt x="553" y="58"/>
                    <a:pt x="553" y="58"/>
                    <a:pt x="553" y="29"/>
                  </a:cubicBezTo>
                  <a:lnTo>
                    <a:pt x="553" y="29"/>
                  </a:lnTo>
                  <a:lnTo>
                    <a:pt x="524" y="29"/>
                  </a:lnTo>
                  <a:cubicBezTo>
                    <a:pt x="524" y="88"/>
                    <a:pt x="495" y="117"/>
                    <a:pt x="495" y="117"/>
                  </a:cubicBezTo>
                  <a:cubicBezTo>
                    <a:pt x="495" y="145"/>
                    <a:pt x="466" y="145"/>
                    <a:pt x="466" y="145"/>
                  </a:cubicBezTo>
                  <a:lnTo>
                    <a:pt x="466" y="175"/>
                  </a:lnTo>
                  <a:lnTo>
                    <a:pt x="466" y="204"/>
                  </a:lnTo>
                  <a:lnTo>
                    <a:pt x="436" y="233"/>
                  </a:lnTo>
                  <a:cubicBezTo>
                    <a:pt x="436" y="233"/>
                    <a:pt x="436" y="262"/>
                    <a:pt x="407" y="262"/>
                  </a:cubicBezTo>
                  <a:cubicBezTo>
                    <a:pt x="407" y="292"/>
                    <a:pt x="378" y="321"/>
                    <a:pt x="320" y="350"/>
                  </a:cubicBezTo>
                  <a:lnTo>
                    <a:pt x="320" y="350"/>
                  </a:lnTo>
                  <a:cubicBezTo>
                    <a:pt x="291" y="350"/>
                    <a:pt x="291" y="350"/>
                    <a:pt x="291" y="350"/>
                  </a:cubicBezTo>
                  <a:cubicBezTo>
                    <a:pt x="291" y="350"/>
                    <a:pt x="262" y="379"/>
                    <a:pt x="262" y="409"/>
                  </a:cubicBezTo>
                  <a:cubicBezTo>
                    <a:pt x="262" y="466"/>
                    <a:pt x="262" y="525"/>
                    <a:pt x="203" y="525"/>
                  </a:cubicBezTo>
                  <a:lnTo>
                    <a:pt x="203" y="554"/>
                  </a:lnTo>
                  <a:cubicBezTo>
                    <a:pt x="174" y="554"/>
                    <a:pt x="174" y="525"/>
                    <a:pt x="174" y="525"/>
                  </a:cubicBezTo>
                  <a:lnTo>
                    <a:pt x="174" y="525"/>
                  </a:lnTo>
                  <a:cubicBezTo>
                    <a:pt x="145" y="525"/>
                    <a:pt x="116" y="554"/>
                    <a:pt x="116" y="583"/>
                  </a:cubicBezTo>
                  <a:lnTo>
                    <a:pt x="116" y="583"/>
                  </a:lnTo>
                  <a:cubicBezTo>
                    <a:pt x="116" y="612"/>
                    <a:pt x="116" y="612"/>
                    <a:pt x="116" y="642"/>
                  </a:cubicBezTo>
                  <a:cubicBezTo>
                    <a:pt x="116" y="671"/>
                    <a:pt x="116" y="671"/>
                    <a:pt x="86" y="700"/>
                  </a:cubicBezTo>
                  <a:cubicBezTo>
                    <a:pt x="57" y="729"/>
                    <a:pt x="28" y="759"/>
                    <a:pt x="57" y="788"/>
                  </a:cubicBezTo>
                  <a:cubicBezTo>
                    <a:pt x="57" y="816"/>
                    <a:pt x="57" y="816"/>
                    <a:pt x="57" y="816"/>
                  </a:cubicBezTo>
                  <a:lnTo>
                    <a:pt x="57" y="816"/>
                  </a:lnTo>
                  <a:cubicBezTo>
                    <a:pt x="57" y="816"/>
                    <a:pt x="57" y="845"/>
                    <a:pt x="28" y="845"/>
                  </a:cubicBezTo>
                  <a:lnTo>
                    <a:pt x="28" y="875"/>
                  </a:lnTo>
                  <a:cubicBezTo>
                    <a:pt x="0" y="904"/>
                    <a:pt x="28" y="962"/>
                    <a:pt x="28" y="1021"/>
                  </a:cubicBezTo>
                  <a:cubicBezTo>
                    <a:pt x="57" y="1021"/>
                    <a:pt x="57" y="1021"/>
                    <a:pt x="86" y="1021"/>
                  </a:cubicBezTo>
                  <a:lnTo>
                    <a:pt x="86" y="1021"/>
                  </a:lnTo>
                  <a:cubicBezTo>
                    <a:pt x="86" y="1050"/>
                    <a:pt x="86" y="1050"/>
                    <a:pt x="86" y="1050"/>
                  </a:cubicBezTo>
                  <a:lnTo>
                    <a:pt x="86" y="1079"/>
                  </a:lnTo>
                  <a:lnTo>
                    <a:pt x="86" y="1079"/>
                  </a:lnTo>
                  <a:cubicBezTo>
                    <a:pt x="116" y="1079"/>
                    <a:pt x="116" y="1109"/>
                    <a:pt x="145" y="1109"/>
                  </a:cubicBezTo>
                  <a:cubicBezTo>
                    <a:pt x="145" y="1109"/>
                    <a:pt x="145" y="1109"/>
                    <a:pt x="174" y="1138"/>
                  </a:cubicBezTo>
                  <a:cubicBezTo>
                    <a:pt x="174" y="1138"/>
                    <a:pt x="203" y="1166"/>
                    <a:pt x="203" y="1195"/>
                  </a:cubicBezTo>
                  <a:cubicBezTo>
                    <a:pt x="233" y="1225"/>
                    <a:pt x="262" y="1254"/>
                    <a:pt x="320" y="1283"/>
                  </a:cubicBezTo>
                  <a:cubicBezTo>
                    <a:pt x="320" y="1254"/>
                    <a:pt x="349" y="1254"/>
                    <a:pt x="349" y="1225"/>
                  </a:cubicBezTo>
                  <a:cubicBezTo>
                    <a:pt x="378" y="1195"/>
                    <a:pt x="407" y="1138"/>
                    <a:pt x="436" y="1109"/>
                  </a:cubicBezTo>
                  <a:cubicBezTo>
                    <a:pt x="466" y="1109"/>
                    <a:pt x="466" y="1109"/>
                    <a:pt x="466" y="1109"/>
                  </a:cubicBezTo>
                  <a:lnTo>
                    <a:pt x="466" y="1109"/>
                  </a:lnTo>
                  <a:cubicBezTo>
                    <a:pt x="495" y="1166"/>
                    <a:pt x="495" y="1166"/>
                    <a:pt x="553" y="1166"/>
                  </a:cubicBezTo>
                  <a:cubicBezTo>
                    <a:pt x="553" y="1166"/>
                    <a:pt x="553" y="1166"/>
                    <a:pt x="553" y="1138"/>
                  </a:cubicBezTo>
                  <a:cubicBezTo>
                    <a:pt x="553" y="1138"/>
                    <a:pt x="583" y="1109"/>
                    <a:pt x="612" y="1109"/>
                  </a:cubicBezTo>
                  <a:cubicBezTo>
                    <a:pt x="641" y="1109"/>
                    <a:pt x="670" y="1109"/>
                    <a:pt x="699" y="1109"/>
                  </a:cubicBezTo>
                  <a:cubicBezTo>
                    <a:pt x="699" y="1109"/>
                    <a:pt x="699" y="1109"/>
                    <a:pt x="728" y="1109"/>
                  </a:cubicBezTo>
                  <a:cubicBezTo>
                    <a:pt x="728" y="1109"/>
                    <a:pt x="757" y="1109"/>
                    <a:pt x="757" y="1079"/>
                  </a:cubicBezTo>
                  <a:cubicBezTo>
                    <a:pt x="757" y="1079"/>
                    <a:pt x="757" y="1079"/>
                    <a:pt x="757" y="1050"/>
                  </a:cubicBezTo>
                  <a:lnTo>
                    <a:pt x="757" y="1021"/>
                  </a:lnTo>
                  <a:cubicBezTo>
                    <a:pt x="786" y="962"/>
                    <a:pt x="786" y="904"/>
                    <a:pt x="816" y="875"/>
                  </a:cubicBezTo>
                  <a:cubicBezTo>
                    <a:pt x="845" y="816"/>
                    <a:pt x="874" y="816"/>
                    <a:pt x="933" y="816"/>
                  </a:cubicBezTo>
                  <a:cubicBezTo>
                    <a:pt x="962" y="788"/>
                    <a:pt x="962" y="788"/>
                    <a:pt x="991" y="788"/>
                  </a:cubicBezTo>
                  <a:cubicBezTo>
                    <a:pt x="1020" y="759"/>
                    <a:pt x="1020" y="700"/>
                    <a:pt x="1020" y="642"/>
                  </a:cubicBezTo>
                  <a:cubicBezTo>
                    <a:pt x="1020" y="612"/>
                    <a:pt x="1020" y="612"/>
                    <a:pt x="1020" y="612"/>
                  </a:cubicBezTo>
                  <a:lnTo>
                    <a:pt x="1020" y="612"/>
                  </a:lnTo>
                  <a:cubicBezTo>
                    <a:pt x="1049" y="612"/>
                    <a:pt x="1049" y="612"/>
                    <a:pt x="1078" y="6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 name="Freeform 11">
              <a:extLst>
                <a:ext uri="{FF2B5EF4-FFF2-40B4-BE49-F238E27FC236}">
                  <a16:creationId xmlns:a16="http://schemas.microsoft.com/office/drawing/2014/main" id="{34A4A8ED-F014-42C9-ACC9-EB70DD9F3699}"/>
                </a:ext>
              </a:extLst>
            </p:cNvPr>
            <p:cNvSpPr>
              <a:spLocks noChangeArrowheads="1"/>
            </p:cNvSpPr>
            <p:nvPr/>
          </p:nvSpPr>
          <p:spPr bwMode="auto">
            <a:xfrm>
              <a:off x="10153710" y="231263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 name="Freeform 12">
              <a:extLst>
                <a:ext uri="{FF2B5EF4-FFF2-40B4-BE49-F238E27FC236}">
                  <a16:creationId xmlns:a16="http://schemas.microsoft.com/office/drawing/2014/main" id="{F7F8D823-1FE2-4223-86B2-186807F13E1D}"/>
                </a:ext>
              </a:extLst>
            </p:cNvPr>
            <p:cNvSpPr>
              <a:spLocks noChangeArrowheads="1"/>
            </p:cNvSpPr>
            <p:nvPr/>
          </p:nvSpPr>
          <p:spPr bwMode="auto">
            <a:xfrm>
              <a:off x="10165125" y="231263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 name="Freeform 13">
              <a:extLst>
                <a:ext uri="{FF2B5EF4-FFF2-40B4-BE49-F238E27FC236}">
                  <a16:creationId xmlns:a16="http://schemas.microsoft.com/office/drawing/2014/main" id="{6FB7FB5D-D6CA-4E8C-B952-5F2AC1CCAF29}"/>
                </a:ext>
              </a:extLst>
            </p:cNvPr>
            <p:cNvSpPr>
              <a:spLocks noChangeArrowheads="1"/>
            </p:cNvSpPr>
            <p:nvPr/>
          </p:nvSpPr>
          <p:spPr bwMode="auto">
            <a:xfrm>
              <a:off x="10143924" y="231263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 name="Freeform 14">
              <a:extLst>
                <a:ext uri="{FF2B5EF4-FFF2-40B4-BE49-F238E27FC236}">
                  <a16:creationId xmlns:a16="http://schemas.microsoft.com/office/drawing/2014/main" id="{AC1E4566-2525-415F-8FF2-ABF16E8602F2}"/>
                </a:ext>
              </a:extLst>
            </p:cNvPr>
            <p:cNvSpPr>
              <a:spLocks noChangeArrowheads="1"/>
            </p:cNvSpPr>
            <p:nvPr/>
          </p:nvSpPr>
          <p:spPr bwMode="auto">
            <a:xfrm>
              <a:off x="10013457" y="2345006"/>
              <a:ext cx="11415" cy="11328"/>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0"/>
                    <a:pt x="29" y="29"/>
                    <a:pt x="0" y="29"/>
                  </a:cubicBezTo>
                  <a:cubicBezTo>
                    <a:pt x="29" y="29"/>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 name="Freeform 15">
              <a:extLst>
                <a:ext uri="{FF2B5EF4-FFF2-40B4-BE49-F238E27FC236}">
                  <a16:creationId xmlns:a16="http://schemas.microsoft.com/office/drawing/2014/main" id="{34846309-2EDE-480F-9C59-FAEA54D6D371}"/>
                </a:ext>
              </a:extLst>
            </p:cNvPr>
            <p:cNvSpPr>
              <a:spLocks noChangeArrowheads="1"/>
            </p:cNvSpPr>
            <p:nvPr/>
          </p:nvSpPr>
          <p:spPr bwMode="auto">
            <a:xfrm>
              <a:off x="9571497" y="2461525"/>
              <a:ext cx="11416" cy="11328"/>
            </a:xfrm>
            <a:custGeom>
              <a:avLst/>
              <a:gdLst>
                <a:gd name="T0" fmla="*/ 28 w 29"/>
                <a:gd name="T1" fmla="*/ 30 h 31"/>
                <a:gd name="T2" fmla="*/ 28 w 29"/>
                <a:gd name="T3" fmla="*/ 30 h 31"/>
                <a:gd name="T4" fmla="*/ 28 w 29"/>
                <a:gd name="T5" fmla="*/ 30 h 31"/>
                <a:gd name="T6" fmla="*/ 0 w 29"/>
                <a:gd name="T7" fmla="*/ 0 h 31"/>
                <a:gd name="T8" fmla="*/ 28 w 29"/>
                <a:gd name="T9" fmla="*/ 30 h 31"/>
              </a:gdLst>
              <a:ahLst/>
              <a:cxnLst>
                <a:cxn ang="0">
                  <a:pos x="T0" y="T1"/>
                </a:cxn>
                <a:cxn ang="0">
                  <a:pos x="T2" y="T3"/>
                </a:cxn>
                <a:cxn ang="0">
                  <a:pos x="T4" y="T5"/>
                </a:cxn>
                <a:cxn ang="0">
                  <a:pos x="T6" y="T7"/>
                </a:cxn>
                <a:cxn ang="0">
                  <a:pos x="T8" y="T9"/>
                </a:cxn>
              </a:cxnLst>
              <a:rect l="0" t="0" r="r" b="b"/>
              <a:pathLst>
                <a:path w="29" h="31">
                  <a:moveTo>
                    <a:pt x="28" y="30"/>
                  </a:moveTo>
                  <a:lnTo>
                    <a:pt x="28" y="30"/>
                  </a:lnTo>
                  <a:lnTo>
                    <a:pt x="28" y="30"/>
                  </a:lnTo>
                  <a:cubicBezTo>
                    <a:pt x="28" y="30"/>
                    <a:pt x="0" y="30"/>
                    <a:pt x="0" y="0"/>
                  </a:cubicBezTo>
                  <a:cubicBezTo>
                    <a:pt x="0" y="30"/>
                    <a:pt x="28" y="30"/>
                    <a:pt x="28"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 name="Freeform 16">
              <a:extLst>
                <a:ext uri="{FF2B5EF4-FFF2-40B4-BE49-F238E27FC236}">
                  <a16:creationId xmlns:a16="http://schemas.microsoft.com/office/drawing/2014/main" id="{D966E60C-1E17-4A65-9638-74E730609CA1}"/>
                </a:ext>
              </a:extLst>
            </p:cNvPr>
            <p:cNvSpPr>
              <a:spLocks noChangeArrowheads="1"/>
            </p:cNvSpPr>
            <p:nvPr/>
          </p:nvSpPr>
          <p:spPr bwMode="auto">
            <a:xfrm>
              <a:off x="9582914" y="2558624"/>
              <a:ext cx="1630" cy="11328"/>
            </a:xfrm>
            <a:custGeom>
              <a:avLst/>
              <a:gdLst>
                <a:gd name="T0" fmla="*/ 0 w 1"/>
                <a:gd name="T1" fmla="*/ 29 h 30"/>
                <a:gd name="T2" fmla="*/ 0 w 1"/>
                <a:gd name="T3" fmla="*/ 0 h 30"/>
                <a:gd name="T4" fmla="*/ 0 w 1"/>
                <a:gd name="T5" fmla="*/ 29 h 30"/>
              </a:gdLst>
              <a:ahLst/>
              <a:cxnLst>
                <a:cxn ang="0">
                  <a:pos x="T0" y="T1"/>
                </a:cxn>
                <a:cxn ang="0">
                  <a:pos x="T2" y="T3"/>
                </a:cxn>
                <a:cxn ang="0">
                  <a:pos x="T4" y="T5"/>
                </a:cxn>
              </a:cxnLst>
              <a:rect l="0" t="0" r="r" b="b"/>
              <a:pathLst>
                <a:path w="1" h="30">
                  <a:moveTo>
                    <a:pt x="0" y="29"/>
                  </a:move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 name="Freeform 17">
              <a:extLst>
                <a:ext uri="{FF2B5EF4-FFF2-40B4-BE49-F238E27FC236}">
                  <a16:creationId xmlns:a16="http://schemas.microsoft.com/office/drawing/2014/main" id="{0183CD8D-F3F3-446D-B642-4C18BD1B91FE}"/>
                </a:ext>
              </a:extLst>
            </p:cNvPr>
            <p:cNvSpPr>
              <a:spLocks noChangeArrowheads="1"/>
            </p:cNvSpPr>
            <p:nvPr/>
          </p:nvSpPr>
          <p:spPr bwMode="auto">
            <a:xfrm>
              <a:off x="9529095" y="2301311"/>
              <a:ext cx="44033" cy="139176"/>
            </a:xfrm>
            <a:custGeom>
              <a:avLst/>
              <a:gdLst>
                <a:gd name="T0" fmla="*/ 117 w 118"/>
                <a:gd name="T1" fmla="*/ 379 h 380"/>
                <a:gd name="T2" fmla="*/ 117 w 118"/>
                <a:gd name="T3" fmla="*/ 379 h 380"/>
                <a:gd name="T4" fmla="*/ 0 w 118"/>
                <a:gd name="T5" fmla="*/ 0 h 380"/>
                <a:gd name="T6" fmla="*/ 117 w 118"/>
                <a:gd name="T7" fmla="*/ 379 h 380"/>
              </a:gdLst>
              <a:ahLst/>
              <a:cxnLst>
                <a:cxn ang="0">
                  <a:pos x="T0" y="T1"/>
                </a:cxn>
                <a:cxn ang="0">
                  <a:pos x="T2" y="T3"/>
                </a:cxn>
                <a:cxn ang="0">
                  <a:pos x="T4" y="T5"/>
                </a:cxn>
                <a:cxn ang="0">
                  <a:pos x="T6" y="T7"/>
                </a:cxn>
              </a:cxnLst>
              <a:rect l="0" t="0" r="r" b="b"/>
              <a:pathLst>
                <a:path w="118" h="380">
                  <a:moveTo>
                    <a:pt x="117" y="379"/>
                  </a:moveTo>
                  <a:lnTo>
                    <a:pt x="117" y="379"/>
                  </a:lnTo>
                  <a:cubicBezTo>
                    <a:pt x="117" y="292"/>
                    <a:pt x="58" y="87"/>
                    <a:pt x="0" y="0"/>
                  </a:cubicBezTo>
                  <a:cubicBezTo>
                    <a:pt x="58" y="87"/>
                    <a:pt x="117" y="292"/>
                    <a:pt x="117" y="37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 name="Freeform 18">
              <a:extLst>
                <a:ext uri="{FF2B5EF4-FFF2-40B4-BE49-F238E27FC236}">
                  <a16:creationId xmlns:a16="http://schemas.microsoft.com/office/drawing/2014/main" id="{71B77A9F-2E3D-456B-9EEF-A4339447506B}"/>
                </a:ext>
              </a:extLst>
            </p:cNvPr>
            <p:cNvSpPr>
              <a:spLocks noChangeArrowheads="1"/>
            </p:cNvSpPr>
            <p:nvPr/>
          </p:nvSpPr>
          <p:spPr bwMode="auto">
            <a:xfrm>
              <a:off x="9561712" y="2568334"/>
              <a:ext cx="11416"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 name="Freeform 19">
              <a:extLst>
                <a:ext uri="{FF2B5EF4-FFF2-40B4-BE49-F238E27FC236}">
                  <a16:creationId xmlns:a16="http://schemas.microsoft.com/office/drawing/2014/main" id="{9FCA6789-04E5-43A3-932F-F8B47961B3BF}"/>
                </a:ext>
              </a:extLst>
            </p:cNvPr>
            <p:cNvSpPr>
              <a:spLocks noChangeArrowheads="1"/>
            </p:cNvSpPr>
            <p:nvPr/>
          </p:nvSpPr>
          <p:spPr bwMode="auto">
            <a:xfrm>
              <a:off x="9538880" y="2730166"/>
              <a:ext cx="65234" cy="32366"/>
            </a:xfrm>
            <a:custGeom>
              <a:avLst/>
              <a:gdLst>
                <a:gd name="T0" fmla="*/ 174 w 175"/>
                <a:gd name="T1" fmla="*/ 0 h 88"/>
                <a:gd name="T2" fmla="*/ 174 w 175"/>
                <a:gd name="T3" fmla="*/ 0 h 88"/>
                <a:gd name="T4" fmla="*/ 58 w 175"/>
                <a:gd name="T5" fmla="*/ 87 h 88"/>
                <a:gd name="T6" fmla="*/ 0 w 175"/>
                <a:gd name="T7" fmla="*/ 87 h 88"/>
                <a:gd name="T8" fmla="*/ 29 w 175"/>
                <a:gd name="T9" fmla="*/ 58 h 88"/>
                <a:gd name="T10" fmla="*/ 88 w 175"/>
                <a:gd name="T11" fmla="*/ 29 h 88"/>
                <a:gd name="T12" fmla="*/ 116 w 175"/>
                <a:gd name="T13" fmla="*/ 29 h 88"/>
                <a:gd name="T14" fmla="*/ 116 w 175"/>
                <a:gd name="T15" fmla="*/ 29 h 88"/>
                <a:gd name="T16" fmla="*/ 88 w 175"/>
                <a:gd name="T17" fmla="*/ 29 h 88"/>
                <a:gd name="T18" fmla="*/ 29 w 175"/>
                <a:gd name="T19" fmla="*/ 58 h 88"/>
                <a:gd name="T20" fmla="*/ 0 w 175"/>
                <a:gd name="T21" fmla="*/ 87 h 88"/>
                <a:gd name="T22" fmla="*/ 58 w 175"/>
                <a:gd name="T23" fmla="*/ 87 h 88"/>
                <a:gd name="T24" fmla="*/ 174 w 175"/>
                <a:gd name="T2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88">
                  <a:moveTo>
                    <a:pt x="174" y="0"/>
                  </a:moveTo>
                  <a:lnTo>
                    <a:pt x="174" y="0"/>
                  </a:lnTo>
                  <a:cubicBezTo>
                    <a:pt x="174" y="58"/>
                    <a:pt x="116" y="87"/>
                    <a:pt x="58" y="87"/>
                  </a:cubicBezTo>
                  <a:cubicBezTo>
                    <a:pt x="29" y="87"/>
                    <a:pt x="29" y="87"/>
                    <a:pt x="0" y="87"/>
                  </a:cubicBezTo>
                  <a:cubicBezTo>
                    <a:pt x="29" y="87"/>
                    <a:pt x="29" y="87"/>
                    <a:pt x="29" y="58"/>
                  </a:cubicBezTo>
                  <a:cubicBezTo>
                    <a:pt x="58" y="58"/>
                    <a:pt x="88" y="58"/>
                    <a:pt x="88" y="29"/>
                  </a:cubicBezTo>
                  <a:cubicBezTo>
                    <a:pt x="116" y="29"/>
                    <a:pt x="116" y="29"/>
                    <a:pt x="116" y="29"/>
                  </a:cubicBezTo>
                  <a:lnTo>
                    <a:pt x="116" y="29"/>
                  </a:lnTo>
                  <a:cubicBezTo>
                    <a:pt x="88" y="29"/>
                    <a:pt x="88" y="29"/>
                    <a:pt x="88" y="29"/>
                  </a:cubicBezTo>
                  <a:cubicBezTo>
                    <a:pt x="88" y="58"/>
                    <a:pt x="58" y="58"/>
                    <a:pt x="29" y="58"/>
                  </a:cubicBezTo>
                  <a:cubicBezTo>
                    <a:pt x="29" y="87"/>
                    <a:pt x="29" y="87"/>
                    <a:pt x="0" y="87"/>
                  </a:cubicBezTo>
                  <a:cubicBezTo>
                    <a:pt x="29" y="87"/>
                    <a:pt x="29" y="87"/>
                    <a:pt x="58" y="87"/>
                  </a:cubicBezTo>
                  <a:cubicBezTo>
                    <a:pt x="116" y="87"/>
                    <a:pt x="174" y="58"/>
                    <a:pt x="17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 name="Freeform 20">
              <a:extLst>
                <a:ext uri="{FF2B5EF4-FFF2-40B4-BE49-F238E27FC236}">
                  <a16:creationId xmlns:a16="http://schemas.microsoft.com/office/drawing/2014/main" id="{2D925150-D752-4C95-BF20-C78A3B175695}"/>
                </a:ext>
              </a:extLst>
            </p:cNvPr>
            <p:cNvSpPr>
              <a:spLocks noChangeArrowheads="1"/>
            </p:cNvSpPr>
            <p:nvPr/>
          </p:nvSpPr>
          <p:spPr bwMode="auto">
            <a:xfrm>
              <a:off x="9625316" y="271883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 name="Freeform 21">
              <a:extLst>
                <a:ext uri="{FF2B5EF4-FFF2-40B4-BE49-F238E27FC236}">
                  <a16:creationId xmlns:a16="http://schemas.microsoft.com/office/drawing/2014/main" id="{775FCC10-3994-4EC6-A50F-25864A72737A}"/>
                </a:ext>
              </a:extLst>
            </p:cNvPr>
            <p:cNvSpPr>
              <a:spLocks noChangeArrowheads="1"/>
            </p:cNvSpPr>
            <p:nvPr/>
          </p:nvSpPr>
          <p:spPr bwMode="auto">
            <a:xfrm>
              <a:off x="9949853" y="2514929"/>
              <a:ext cx="44033" cy="53405"/>
            </a:xfrm>
            <a:custGeom>
              <a:avLst/>
              <a:gdLst>
                <a:gd name="T0" fmla="*/ 116 w 117"/>
                <a:gd name="T1" fmla="*/ 0 h 146"/>
                <a:gd name="T2" fmla="*/ 116 w 117"/>
                <a:gd name="T3" fmla="*/ 0 h 146"/>
                <a:gd name="T4" fmla="*/ 29 w 117"/>
                <a:gd name="T5" fmla="*/ 87 h 146"/>
                <a:gd name="T6" fmla="*/ 0 w 117"/>
                <a:gd name="T7" fmla="*/ 145 h 146"/>
                <a:gd name="T8" fmla="*/ 29 w 117"/>
                <a:gd name="T9" fmla="*/ 87 h 146"/>
                <a:gd name="T10" fmla="*/ 116 w 117"/>
                <a:gd name="T11" fmla="*/ 0 h 146"/>
              </a:gdLst>
              <a:ahLst/>
              <a:cxnLst>
                <a:cxn ang="0">
                  <a:pos x="T0" y="T1"/>
                </a:cxn>
                <a:cxn ang="0">
                  <a:pos x="T2" y="T3"/>
                </a:cxn>
                <a:cxn ang="0">
                  <a:pos x="T4" y="T5"/>
                </a:cxn>
                <a:cxn ang="0">
                  <a:pos x="T6" y="T7"/>
                </a:cxn>
                <a:cxn ang="0">
                  <a:pos x="T8" y="T9"/>
                </a:cxn>
                <a:cxn ang="0">
                  <a:pos x="T10" y="T11"/>
                </a:cxn>
              </a:cxnLst>
              <a:rect l="0" t="0" r="r" b="b"/>
              <a:pathLst>
                <a:path w="117" h="146">
                  <a:moveTo>
                    <a:pt x="116" y="0"/>
                  </a:moveTo>
                  <a:lnTo>
                    <a:pt x="116" y="0"/>
                  </a:lnTo>
                  <a:cubicBezTo>
                    <a:pt x="58" y="29"/>
                    <a:pt x="58" y="87"/>
                    <a:pt x="29" y="87"/>
                  </a:cubicBezTo>
                  <a:cubicBezTo>
                    <a:pt x="29" y="116"/>
                    <a:pt x="0" y="116"/>
                    <a:pt x="0" y="145"/>
                  </a:cubicBezTo>
                  <a:cubicBezTo>
                    <a:pt x="0" y="116"/>
                    <a:pt x="29" y="116"/>
                    <a:pt x="29" y="87"/>
                  </a:cubicBezTo>
                  <a:cubicBezTo>
                    <a:pt x="58" y="87"/>
                    <a:pt x="58" y="29"/>
                    <a:pt x="11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 name="Freeform 22">
              <a:extLst>
                <a:ext uri="{FF2B5EF4-FFF2-40B4-BE49-F238E27FC236}">
                  <a16:creationId xmlns:a16="http://schemas.microsoft.com/office/drawing/2014/main" id="{7307A8DA-9A61-4162-B1BE-F2BA5EF2CC33}"/>
                </a:ext>
              </a:extLst>
            </p:cNvPr>
            <p:cNvSpPr>
              <a:spLocks noChangeArrowheads="1"/>
            </p:cNvSpPr>
            <p:nvPr/>
          </p:nvSpPr>
          <p:spPr bwMode="auto">
            <a:xfrm>
              <a:off x="9949853" y="2568334"/>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 name="Freeform 23">
              <a:extLst>
                <a:ext uri="{FF2B5EF4-FFF2-40B4-BE49-F238E27FC236}">
                  <a16:creationId xmlns:a16="http://schemas.microsoft.com/office/drawing/2014/main" id="{E53B2109-DC6F-4675-B33C-BB2A7C93D41B}"/>
                </a:ext>
              </a:extLst>
            </p:cNvPr>
            <p:cNvSpPr>
              <a:spLocks noChangeArrowheads="1"/>
            </p:cNvSpPr>
            <p:nvPr/>
          </p:nvSpPr>
          <p:spPr bwMode="auto">
            <a:xfrm>
              <a:off x="9550297" y="2558624"/>
              <a:ext cx="1630" cy="11328"/>
            </a:xfrm>
            <a:custGeom>
              <a:avLst/>
              <a:gdLst>
                <a:gd name="T0" fmla="*/ 0 w 1"/>
                <a:gd name="T1" fmla="*/ 29 h 30"/>
                <a:gd name="T2" fmla="*/ 0 w 1"/>
                <a:gd name="T3" fmla="*/ 29 h 30"/>
                <a:gd name="T4" fmla="*/ 0 w 1"/>
                <a:gd name="T5" fmla="*/ 0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cubicBezTo>
                    <a:pt x="0" y="29"/>
                    <a:pt x="0" y="29"/>
                    <a:pt x="0" y="0"/>
                  </a:cubicBezTo>
                  <a:lnTo>
                    <a:pt x="0" y="0"/>
                  </a:ln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 name="Freeform 24">
              <a:extLst>
                <a:ext uri="{FF2B5EF4-FFF2-40B4-BE49-F238E27FC236}">
                  <a16:creationId xmlns:a16="http://schemas.microsoft.com/office/drawing/2014/main" id="{281DD58E-E8EB-44A0-8DD0-11F50737BC83}"/>
                </a:ext>
              </a:extLst>
            </p:cNvPr>
            <p:cNvSpPr>
              <a:spLocks noChangeArrowheads="1"/>
            </p:cNvSpPr>
            <p:nvPr/>
          </p:nvSpPr>
          <p:spPr bwMode="auto">
            <a:xfrm>
              <a:off x="9840587" y="2621738"/>
              <a:ext cx="21200" cy="1619"/>
            </a:xfrm>
            <a:custGeom>
              <a:avLst/>
              <a:gdLst>
                <a:gd name="T0" fmla="*/ 0 w 59"/>
                <a:gd name="T1" fmla="*/ 0 h 1"/>
                <a:gd name="T2" fmla="*/ 0 w 59"/>
                <a:gd name="T3" fmla="*/ 0 h 1"/>
                <a:gd name="T4" fmla="*/ 0 w 59"/>
                <a:gd name="T5" fmla="*/ 0 h 1"/>
                <a:gd name="T6" fmla="*/ 58 w 59"/>
                <a:gd name="T7" fmla="*/ 0 h 1"/>
                <a:gd name="T8" fmla="*/ 0 w 59"/>
                <a:gd name="T9" fmla="*/ 0 h 1"/>
              </a:gdLst>
              <a:ahLst/>
              <a:cxnLst>
                <a:cxn ang="0">
                  <a:pos x="T0" y="T1"/>
                </a:cxn>
                <a:cxn ang="0">
                  <a:pos x="T2" y="T3"/>
                </a:cxn>
                <a:cxn ang="0">
                  <a:pos x="T4" y="T5"/>
                </a:cxn>
                <a:cxn ang="0">
                  <a:pos x="T6" y="T7"/>
                </a:cxn>
                <a:cxn ang="0">
                  <a:pos x="T8" y="T9"/>
                </a:cxn>
              </a:cxnLst>
              <a:rect l="0" t="0" r="r" b="b"/>
              <a:pathLst>
                <a:path w="59" h="1">
                  <a:moveTo>
                    <a:pt x="0" y="0"/>
                  </a:moveTo>
                  <a:lnTo>
                    <a:pt x="0" y="0"/>
                  </a:lnTo>
                  <a:lnTo>
                    <a:pt x="0" y="0"/>
                  </a:lnTo>
                  <a:cubicBezTo>
                    <a:pt x="0" y="0"/>
                    <a:pt x="29" y="0"/>
                    <a:pt x="58" y="0"/>
                  </a:cubicBezTo>
                  <a:cubicBezTo>
                    <a:pt x="29"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 name="Freeform 25">
              <a:extLst>
                <a:ext uri="{FF2B5EF4-FFF2-40B4-BE49-F238E27FC236}">
                  <a16:creationId xmlns:a16="http://schemas.microsoft.com/office/drawing/2014/main" id="{237F8A0C-6F29-4725-8D33-52ECD056B3CF}"/>
                </a:ext>
              </a:extLst>
            </p:cNvPr>
            <p:cNvSpPr>
              <a:spLocks noChangeArrowheads="1"/>
            </p:cNvSpPr>
            <p:nvPr/>
          </p:nvSpPr>
          <p:spPr bwMode="auto">
            <a:xfrm>
              <a:off x="10013457" y="2354716"/>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 name="Freeform 26">
              <a:extLst>
                <a:ext uri="{FF2B5EF4-FFF2-40B4-BE49-F238E27FC236}">
                  <a16:creationId xmlns:a16="http://schemas.microsoft.com/office/drawing/2014/main" id="{8A0BD9D1-C789-49DC-A6A7-1326A6DC8F80}"/>
                </a:ext>
              </a:extLst>
            </p:cNvPr>
            <p:cNvSpPr>
              <a:spLocks noChangeArrowheads="1"/>
            </p:cNvSpPr>
            <p:nvPr/>
          </p:nvSpPr>
          <p:spPr bwMode="auto">
            <a:xfrm>
              <a:off x="9281207" y="2633067"/>
              <a:ext cx="626245" cy="663511"/>
            </a:xfrm>
            <a:custGeom>
              <a:avLst/>
              <a:gdLst>
                <a:gd name="T0" fmla="*/ 612 w 1692"/>
                <a:gd name="T1" fmla="*/ 321 h 1810"/>
                <a:gd name="T2" fmla="*/ 612 w 1692"/>
                <a:gd name="T3" fmla="*/ 321 h 1810"/>
                <a:gd name="T4" fmla="*/ 583 w 1692"/>
                <a:gd name="T5" fmla="*/ 263 h 1810"/>
                <a:gd name="T6" fmla="*/ 583 w 1692"/>
                <a:gd name="T7" fmla="*/ 263 h 1810"/>
                <a:gd name="T8" fmla="*/ 291 w 1692"/>
                <a:gd name="T9" fmla="*/ 321 h 1810"/>
                <a:gd name="T10" fmla="*/ 0 w 1692"/>
                <a:gd name="T11" fmla="*/ 350 h 1810"/>
                <a:gd name="T12" fmla="*/ 88 w 1692"/>
                <a:gd name="T13" fmla="*/ 1021 h 1810"/>
                <a:gd name="T14" fmla="*/ 145 w 1692"/>
                <a:gd name="T15" fmla="*/ 1546 h 1810"/>
                <a:gd name="T16" fmla="*/ 174 w 1692"/>
                <a:gd name="T17" fmla="*/ 1546 h 1810"/>
                <a:gd name="T18" fmla="*/ 233 w 1692"/>
                <a:gd name="T19" fmla="*/ 1575 h 1810"/>
                <a:gd name="T20" fmla="*/ 262 w 1692"/>
                <a:gd name="T21" fmla="*/ 1604 h 1810"/>
                <a:gd name="T22" fmla="*/ 408 w 1692"/>
                <a:gd name="T23" fmla="*/ 1633 h 1810"/>
                <a:gd name="T24" fmla="*/ 554 w 1692"/>
                <a:gd name="T25" fmla="*/ 1663 h 1810"/>
                <a:gd name="T26" fmla="*/ 583 w 1692"/>
                <a:gd name="T27" fmla="*/ 1692 h 1810"/>
                <a:gd name="T28" fmla="*/ 612 w 1692"/>
                <a:gd name="T29" fmla="*/ 1721 h 1810"/>
                <a:gd name="T30" fmla="*/ 612 w 1692"/>
                <a:gd name="T31" fmla="*/ 1721 h 1810"/>
                <a:gd name="T32" fmla="*/ 641 w 1692"/>
                <a:gd name="T33" fmla="*/ 1692 h 1810"/>
                <a:gd name="T34" fmla="*/ 700 w 1692"/>
                <a:gd name="T35" fmla="*/ 1692 h 1810"/>
                <a:gd name="T36" fmla="*/ 758 w 1692"/>
                <a:gd name="T37" fmla="*/ 1692 h 1810"/>
                <a:gd name="T38" fmla="*/ 788 w 1692"/>
                <a:gd name="T39" fmla="*/ 1721 h 1810"/>
                <a:gd name="T40" fmla="*/ 816 w 1692"/>
                <a:gd name="T41" fmla="*/ 1692 h 1810"/>
                <a:gd name="T42" fmla="*/ 874 w 1692"/>
                <a:gd name="T43" fmla="*/ 1663 h 1810"/>
                <a:gd name="T44" fmla="*/ 962 w 1692"/>
                <a:gd name="T45" fmla="*/ 1721 h 1810"/>
                <a:gd name="T46" fmla="*/ 991 w 1692"/>
                <a:gd name="T47" fmla="*/ 1750 h 1810"/>
                <a:gd name="T48" fmla="*/ 991 w 1692"/>
                <a:gd name="T49" fmla="*/ 1750 h 1810"/>
                <a:gd name="T50" fmla="*/ 1138 w 1692"/>
                <a:gd name="T51" fmla="*/ 1809 h 1810"/>
                <a:gd name="T52" fmla="*/ 1138 w 1692"/>
                <a:gd name="T53" fmla="*/ 1809 h 1810"/>
                <a:gd name="T54" fmla="*/ 1138 w 1692"/>
                <a:gd name="T55" fmla="*/ 1750 h 1810"/>
                <a:gd name="T56" fmla="*/ 1195 w 1692"/>
                <a:gd name="T57" fmla="*/ 1692 h 1810"/>
                <a:gd name="T58" fmla="*/ 1224 w 1692"/>
                <a:gd name="T59" fmla="*/ 1633 h 1810"/>
                <a:gd name="T60" fmla="*/ 1195 w 1692"/>
                <a:gd name="T61" fmla="*/ 1604 h 1810"/>
                <a:gd name="T62" fmla="*/ 1195 w 1692"/>
                <a:gd name="T63" fmla="*/ 1575 h 1810"/>
                <a:gd name="T64" fmla="*/ 1312 w 1692"/>
                <a:gd name="T65" fmla="*/ 1487 h 1810"/>
                <a:gd name="T66" fmla="*/ 1341 w 1692"/>
                <a:gd name="T67" fmla="*/ 1487 h 1810"/>
                <a:gd name="T68" fmla="*/ 1341 w 1692"/>
                <a:gd name="T69" fmla="*/ 1430 h 1810"/>
                <a:gd name="T70" fmla="*/ 1400 w 1692"/>
                <a:gd name="T71" fmla="*/ 1313 h 1810"/>
                <a:gd name="T72" fmla="*/ 1400 w 1692"/>
                <a:gd name="T73" fmla="*/ 1313 h 1810"/>
                <a:gd name="T74" fmla="*/ 1458 w 1692"/>
                <a:gd name="T75" fmla="*/ 1313 h 1810"/>
                <a:gd name="T76" fmla="*/ 1545 w 1692"/>
                <a:gd name="T77" fmla="*/ 1196 h 1810"/>
                <a:gd name="T78" fmla="*/ 1604 w 1692"/>
                <a:gd name="T79" fmla="*/ 1109 h 1810"/>
                <a:gd name="T80" fmla="*/ 1691 w 1692"/>
                <a:gd name="T81" fmla="*/ 992 h 1810"/>
                <a:gd name="T82" fmla="*/ 1545 w 1692"/>
                <a:gd name="T83" fmla="*/ 0 h 1810"/>
                <a:gd name="T84" fmla="*/ 1400 w 1692"/>
                <a:gd name="T85" fmla="*/ 59 h 1810"/>
                <a:gd name="T86" fmla="*/ 1341 w 1692"/>
                <a:gd name="T87" fmla="*/ 116 h 1810"/>
                <a:gd name="T88" fmla="*/ 1283 w 1692"/>
                <a:gd name="T89" fmla="*/ 146 h 1810"/>
                <a:gd name="T90" fmla="*/ 1254 w 1692"/>
                <a:gd name="T91" fmla="*/ 146 h 1810"/>
                <a:gd name="T92" fmla="*/ 1224 w 1692"/>
                <a:gd name="T93" fmla="*/ 204 h 1810"/>
                <a:gd name="T94" fmla="*/ 1138 w 1692"/>
                <a:gd name="T95" fmla="*/ 233 h 1810"/>
                <a:gd name="T96" fmla="*/ 1138 w 1692"/>
                <a:gd name="T97" fmla="*/ 233 h 1810"/>
                <a:gd name="T98" fmla="*/ 1079 w 1692"/>
                <a:gd name="T99" fmla="*/ 233 h 1810"/>
                <a:gd name="T100" fmla="*/ 1050 w 1692"/>
                <a:gd name="T101" fmla="*/ 204 h 1810"/>
                <a:gd name="T102" fmla="*/ 1021 w 1692"/>
                <a:gd name="T103" fmla="*/ 233 h 1810"/>
                <a:gd name="T104" fmla="*/ 991 w 1692"/>
                <a:gd name="T105" fmla="*/ 263 h 1810"/>
                <a:gd name="T106" fmla="*/ 933 w 1692"/>
                <a:gd name="T107" fmla="*/ 292 h 1810"/>
                <a:gd name="T108" fmla="*/ 904 w 1692"/>
                <a:gd name="T109" fmla="*/ 292 h 1810"/>
                <a:gd name="T110" fmla="*/ 758 w 1692"/>
                <a:gd name="T111" fmla="*/ 409 h 1810"/>
                <a:gd name="T112" fmla="*/ 671 w 1692"/>
                <a:gd name="T113" fmla="*/ 350 h 1810"/>
                <a:gd name="T114" fmla="*/ 671 w 1692"/>
                <a:gd name="T115" fmla="*/ 350 h 1810"/>
                <a:gd name="T116" fmla="*/ 671 w 1692"/>
                <a:gd name="T117" fmla="*/ 321 h 1810"/>
                <a:gd name="T118" fmla="*/ 700 w 1692"/>
                <a:gd name="T119" fmla="*/ 321 h 1810"/>
                <a:gd name="T120" fmla="*/ 700 w 1692"/>
                <a:gd name="T121" fmla="*/ 321 h 1810"/>
                <a:gd name="T122" fmla="*/ 612 w 1692"/>
                <a:gd name="T123" fmla="*/ 321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92" h="1810">
                  <a:moveTo>
                    <a:pt x="612" y="321"/>
                  </a:moveTo>
                  <a:lnTo>
                    <a:pt x="612" y="321"/>
                  </a:lnTo>
                  <a:cubicBezTo>
                    <a:pt x="583" y="292"/>
                    <a:pt x="583" y="292"/>
                    <a:pt x="583" y="263"/>
                  </a:cubicBezTo>
                  <a:lnTo>
                    <a:pt x="583" y="263"/>
                  </a:lnTo>
                  <a:cubicBezTo>
                    <a:pt x="495" y="292"/>
                    <a:pt x="379" y="292"/>
                    <a:pt x="291" y="321"/>
                  </a:cubicBezTo>
                  <a:cubicBezTo>
                    <a:pt x="174" y="321"/>
                    <a:pt x="88" y="321"/>
                    <a:pt x="0" y="350"/>
                  </a:cubicBezTo>
                  <a:cubicBezTo>
                    <a:pt x="29" y="554"/>
                    <a:pt x="58" y="788"/>
                    <a:pt x="88" y="1021"/>
                  </a:cubicBezTo>
                  <a:cubicBezTo>
                    <a:pt x="88" y="1196"/>
                    <a:pt x="117" y="1371"/>
                    <a:pt x="145" y="1546"/>
                  </a:cubicBezTo>
                  <a:lnTo>
                    <a:pt x="174" y="1546"/>
                  </a:lnTo>
                  <a:cubicBezTo>
                    <a:pt x="204" y="1575"/>
                    <a:pt x="204" y="1575"/>
                    <a:pt x="233" y="1575"/>
                  </a:cubicBezTo>
                  <a:cubicBezTo>
                    <a:pt x="233" y="1604"/>
                    <a:pt x="262" y="1604"/>
                    <a:pt x="262" y="1604"/>
                  </a:cubicBezTo>
                  <a:cubicBezTo>
                    <a:pt x="321" y="1633"/>
                    <a:pt x="350" y="1633"/>
                    <a:pt x="408" y="1633"/>
                  </a:cubicBezTo>
                  <a:cubicBezTo>
                    <a:pt x="466" y="1633"/>
                    <a:pt x="495" y="1633"/>
                    <a:pt x="554" y="1663"/>
                  </a:cubicBezTo>
                  <a:lnTo>
                    <a:pt x="583" y="1692"/>
                  </a:lnTo>
                  <a:cubicBezTo>
                    <a:pt x="612" y="1692"/>
                    <a:pt x="612" y="1721"/>
                    <a:pt x="612" y="1721"/>
                  </a:cubicBezTo>
                  <a:lnTo>
                    <a:pt x="612" y="1721"/>
                  </a:lnTo>
                  <a:cubicBezTo>
                    <a:pt x="641" y="1721"/>
                    <a:pt x="641" y="1721"/>
                    <a:pt x="641" y="1692"/>
                  </a:cubicBezTo>
                  <a:cubicBezTo>
                    <a:pt x="671" y="1692"/>
                    <a:pt x="700" y="1692"/>
                    <a:pt x="700" y="1692"/>
                  </a:cubicBezTo>
                  <a:cubicBezTo>
                    <a:pt x="729" y="1692"/>
                    <a:pt x="758" y="1692"/>
                    <a:pt x="758" y="1692"/>
                  </a:cubicBezTo>
                  <a:cubicBezTo>
                    <a:pt x="788" y="1721"/>
                    <a:pt x="788" y="1721"/>
                    <a:pt x="788" y="1721"/>
                  </a:cubicBezTo>
                  <a:cubicBezTo>
                    <a:pt x="816" y="1721"/>
                    <a:pt x="816" y="1692"/>
                    <a:pt x="816" y="1692"/>
                  </a:cubicBezTo>
                  <a:cubicBezTo>
                    <a:pt x="845" y="1692"/>
                    <a:pt x="845" y="1663"/>
                    <a:pt x="874" y="1663"/>
                  </a:cubicBezTo>
                  <a:cubicBezTo>
                    <a:pt x="904" y="1663"/>
                    <a:pt x="933" y="1692"/>
                    <a:pt x="962" y="1721"/>
                  </a:cubicBezTo>
                  <a:cubicBezTo>
                    <a:pt x="991" y="1721"/>
                    <a:pt x="991" y="1750"/>
                    <a:pt x="991" y="1750"/>
                  </a:cubicBezTo>
                  <a:lnTo>
                    <a:pt x="991" y="1750"/>
                  </a:lnTo>
                  <a:cubicBezTo>
                    <a:pt x="1050" y="1780"/>
                    <a:pt x="1079" y="1809"/>
                    <a:pt x="1138" y="1809"/>
                  </a:cubicBezTo>
                  <a:lnTo>
                    <a:pt x="1138" y="1809"/>
                  </a:lnTo>
                  <a:cubicBezTo>
                    <a:pt x="1138" y="1780"/>
                    <a:pt x="1138" y="1780"/>
                    <a:pt x="1138" y="1750"/>
                  </a:cubicBezTo>
                  <a:cubicBezTo>
                    <a:pt x="1138" y="1721"/>
                    <a:pt x="1166" y="1692"/>
                    <a:pt x="1195" y="1692"/>
                  </a:cubicBezTo>
                  <a:cubicBezTo>
                    <a:pt x="1195" y="1663"/>
                    <a:pt x="1195" y="1663"/>
                    <a:pt x="1224" y="1633"/>
                  </a:cubicBezTo>
                  <a:cubicBezTo>
                    <a:pt x="1224" y="1633"/>
                    <a:pt x="1195" y="1633"/>
                    <a:pt x="1195" y="1604"/>
                  </a:cubicBezTo>
                  <a:cubicBezTo>
                    <a:pt x="1195" y="1604"/>
                    <a:pt x="1195" y="1604"/>
                    <a:pt x="1195" y="1575"/>
                  </a:cubicBezTo>
                  <a:cubicBezTo>
                    <a:pt x="1224" y="1516"/>
                    <a:pt x="1254" y="1487"/>
                    <a:pt x="1312" y="1487"/>
                  </a:cubicBezTo>
                  <a:lnTo>
                    <a:pt x="1341" y="1487"/>
                  </a:lnTo>
                  <a:cubicBezTo>
                    <a:pt x="1341" y="1487"/>
                    <a:pt x="1341" y="1459"/>
                    <a:pt x="1341" y="1430"/>
                  </a:cubicBezTo>
                  <a:cubicBezTo>
                    <a:pt x="1341" y="1400"/>
                    <a:pt x="1371" y="1342"/>
                    <a:pt x="1400" y="1313"/>
                  </a:cubicBezTo>
                  <a:lnTo>
                    <a:pt x="1400" y="1313"/>
                  </a:lnTo>
                  <a:cubicBezTo>
                    <a:pt x="1458" y="1313"/>
                    <a:pt x="1458" y="1313"/>
                    <a:pt x="1458" y="1313"/>
                  </a:cubicBezTo>
                  <a:cubicBezTo>
                    <a:pt x="1487" y="1283"/>
                    <a:pt x="1516" y="1254"/>
                    <a:pt x="1545" y="1196"/>
                  </a:cubicBezTo>
                  <a:cubicBezTo>
                    <a:pt x="1545" y="1166"/>
                    <a:pt x="1574" y="1138"/>
                    <a:pt x="1604" y="1109"/>
                  </a:cubicBezTo>
                  <a:cubicBezTo>
                    <a:pt x="1604" y="1021"/>
                    <a:pt x="1633" y="992"/>
                    <a:pt x="1691" y="992"/>
                  </a:cubicBezTo>
                  <a:cubicBezTo>
                    <a:pt x="1633" y="700"/>
                    <a:pt x="1604" y="380"/>
                    <a:pt x="1545" y="0"/>
                  </a:cubicBezTo>
                  <a:cubicBezTo>
                    <a:pt x="1487" y="0"/>
                    <a:pt x="1429" y="30"/>
                    <a:pt x="1400" y="59"/>
                  </a:cubicBezTo>
                  <a:cubicBezTo>
                    <a:pt x="1400" y="88"/>
                    <a:pt x="1371" y="116"/>
                    <a:pt x="1341" y="116"/>
                  </a:cubicBezTo>
                  <a:cubicBezTo>
                    <a:pt x="1341" y="146"/>
                    <a:pt x="1312" y="146"/>
                    <a:pt x="1283" y="146"/>
                  </a:cubicBezTo>
                  <a:cubicBezTo>
                    <a:pt x="1283" y="146"/>
                    <a:pt x="1283" y="146"/>
                    <a:pt x="1254" y="146"/>
                  </a:cubicBezTo>
                  <a:cubicBezTo>
                    <a:pt x="1254" y="175"/>
                    <a:pt x="1224" y="175"/>
                    <a:pt x="1224" y="204"/>
                  </a:cubicBezTo>
                  <a:cubicBezTo>
                    <a:pt x="1195" y="204"/>
                    <a:pt x="1166" y="233"/>
                    <a:pt x="1138" y="233"/>
                  </a:cubicBezTo>
                  <a:lnTo>
                    <a:pt x="1138" y="233"/>
                  </a:lnTo>
                  <a:cubicBezTo>
                    <a:pt x="1108" y="233"/>
                    <a:pt x="1108" y="233"/>
                    <a:pt x="1079" y="233"/>
                  </a:cubicBezTo>
                  <a:lnTo>
                    <a:pt x="1050" y="204"/>
                  </a:lnTo>
                  <a:cubicBezTo>
                    <a:pt x="1050" y="204"/>
                    <a:pt x="1050" y="233"/>
                    <a:pt x="1021" y="233"/>
                  </a:cubicBezTo>
                  <a:lnTo>
                    <a:pt x="991" y="263"/>
                  </a:lnTo>
                  <a:cubicBezTo>
                    <a:pt x="962" y="292"/>
                    <a:pt x="962" y="292"/>
                    <a:pt x="933" y="292"/>
                  </a:cubicBezTo>
                  <a:cubicBezTo>
                    <a:pt x="933" y="292"/>
                    <a:pt x="933" y="292"/>
                    <a:pt x="904" y="292"/>
                  </a:cubicBezTo>
                  <a:cubicBezTo>
                    <a:pt x="904" y="350"/>
                    <a:pt x="816" y="409"/>
                    <a:pt x="758" y="409"/>
                  </a:cubicBezTo>
                  <a:cubicBezTo>
                    <a:pt x="700" y="409"/>
                    <a:pt x="671" y="380"/>
                    <a:pt x="671" y="350"/>
                  </a:cubicBezTo>
                  <a:lnTo>
                    <a:pt x="671" y="350"/>
                  </a:lnTo>
                  <a:cubicBezTo>
                    <a:pt x="671" y="321"/>
                    <a:pt x="671" y="321"/>
                    <a:pt x="671" y="321"/>
                  </a:cubicBezTo>
                  <a:cubicBezTo>
                    <a:pt x="671" y="321"/>
                    <a:pt x="671" y="321"/>
                    <a:pt x="700" y="321"/>
                  </a:cubicBezTo>
                  <a:lnTo>
                    <a:pt x="700" y="321"/>
                  </a:lnTo>
                  <a:cubicBezTo>
                    <a:pt x="671" y="321"/>
                    <a:pt x="641" y="321"/>
                    <a:pt x="612" y="3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 name="Freeform 27">
              <a:extLst>
                <a:ext uri="{FF2B5EF4-FFF2-40B4-BE49-F238E27FC236}">
                  <a16:creationId xmlns:a16="http://schemas.microsoft.com/office/drawing/2014/main" id="{F16E59DD-DDE1-4073-BF24-6B1CAF21676B}"/>
                </a:ext>
              </a:extLst>
            </p:cNvPr>
            <p:cNvSpPr>
              <a:spLocks noChangeArrowheads="1"/>
            </p:cNvSpPr>
            <p:nvPr/>
          </p:nvSpPr>
          <p:spPr bwMode="auto">
            <a:xfrm>
              <a:off x="9538880" y="2621738"/>
              <a:ext cx="11416" cy="53405"/>
            </a:xfrm>
            <a:custGeom>
              <a:avLst/>
              <a:gdLst>
                <a:gd name="T0" fmla="*/ 0 w 30"/>
                <a:gd name="T1" fmla="*/ 88 h 146"/>
                <a:gd name="T2" fmla="*/ 0 w 30"/>
                <a:gd name="T3" fmla="*/ 88 h 146"/>
                <a:gd name="T4" fmla="*/ 0 w 30"/>
                <a:gd name="T5" fmla="*/ 117 h 146"/>
                <a:gd name="T6" fmla="*/ 0 w 30"/>
                <a:gd name="T7" fmla="*/ 145 h 146"/>
                <a:gd name="T8" fmla="*/ 0 w 30"/>
                <a:gd name="T9" fmla="*/ 117 h 146"/>
                <a:gd name="T10" fmla="*/ 0 w 30"/>
                <a:gd name="T11" fmla="*/ 88 h 146"/>
                <a:gd name="T12" fmla="*/ 29 w 30"/>
                <a:gd name="T13" fmla="*/ 29 h 146"/>
                <a:gd name="T14" fmla="*/ 29 w 30"/>
                <a:gd name="T15" fmla="*/ 0 h 146"/>
                <a:gd name="T16" fmla="*/ 29 w 30"/>
                <a:gd name="T17" fmla="*/ 29 h 146"/>
                <a:gd name="T18" fmla="*/ 0 w 30"/>
                <a:gd name="T19" fmla="*/ 8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46">
                  <a:moveTo>
                    <a:pt x="0" y="88"/>
                  </a:moveTo>
                  <a:lnTo>
                    <a:pt x="0" y="88"/>
                  </a:lnTo>
                  <a:cubicBezTo>
                    <a:pt x="0" y="88"/>
                    <a:pt x="0" y="88"/>
                    <a:pt x="0" y="117"/>
                  </a:cubicBezTo>
                  <a:lnTo>
                    <a:pt x="0" y="145"/>
                  </a:lnTo>
                  <a:lnTo>
                    <a:pt x="0" y="117"/>
                  </a:lnTo>
                  <a:cubicBezTo>
                    <a:pt x="0" y="88"/>
                    <a:pt x="0" y="88"/>
                    <a:pt x="0" y="88"/>
                  </a:cubicBezTo>
                  <a:cubicBezTo>
                    <a:pt x="0" y="59"/>
                    <a:pt x="0" y="29"/>
                    <a:pt x="29" y="29"/>
                  </a:cubicBezTo>
                  <a:cubicBezTo>
                    <a:pt x="29" y="0"/>
                    <a:pt x="29" y="0"/>
                    <a:pt x="29" y="0"/>
                  </a:cubicBezTo>
                  <a:cubicBezTo>
                    <a:pt x="29" y="0"/>
                    <a:pt x="29" y="0"/>
                    <a:pt x="29" y="29"/>
                  </a:cubicBezTo>
                  <a:cubicBezTo>
                    <a:pt x="0" y="29"/>
                    <a:pt x="0" y="59"/>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 name="Freeform 28">
              <a:extLst>
                <a:ext uri="{FF2B5EF4-FFF2-40B4-BE49-F238E27FC236}">
                  <a16:creationId xmlns:a16="http://schemas.microsoft.com/office/drawing/2014/main" id="{83027EE7-A4F9-4ADA-92A2-933626F1B62F}"/>
                </a:ext>
              </a:extLst>
            </p:cNvPr>
            <p:cNvSpPr>
              <a:spLocks noChangeArrowheads="1"/>
            </p:cNvSpPr>
            <p:nvPr/>
          </p:nvSpPr>
          <p:spPr bwMode="auto">
            <a:xfrm>
              <a:off x="8989286" y="2387082"/>
              <a:ext cx="53817" cy="118137"/>
            </a:xfrm>
            <a:custGeom>
              <a:avLst/>
              <a:gdLst>
                <a:gd name="T0" fmla="*/ 0 w 147"/>
                <a:gd name="T1" fmla="*/ 58 h 321"/>
                <a:gd name="T2" fmla="*/ 0 w 147"/>
                <a:gd name="T3" fmla="*/ 58 h 321"/>
                <a:gd name="T4" fmla="*/ 0 w 147"/>
                <a:gd name="T5" fmla="*/ 0 h 321"/>
                <a:gd name="T6" fmla="*/ 0 w 147"/>
                <a:gd name="T7" fmla="*/ 58 h 321"/>
                <a:gd name="T8" fmla="*/ 88 w 147"/>
                <a:gd name="T9" fmla="*/ 233 h 321"/>
                <a:gd name="T10" fmla="*/ 146 w 147"/>
                <a:gd name="T11" fmla="*/ 320 h 321"/>
                <a:gd name="T12" fmla="*/ 88 w 147"/>
                <a:gd name="T13" fmla="*/ 233 h 321"/>
                <a:gd name="T14" fmla="*/ 0 w 147"/>
                <a:gd name="T15" fmla="*/ 58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321">
                  <a:moveTo>
                    <a:pt x="0" y="58"/>
                  </a:moveTo>
                  <a:lnTo>
                    <a:pt x="0" y="58"/>
                  </a:lnTo>
                  <a:cubicBezTo>
                    <a:pt x="0" y="29"/>
                    <a:pt x="0" y="29"/>
                    <a:pt x="0" y="0"/>
                  </a:cubicBezTo>
                  <a:cubicBezTo>
                    <a:pt x="0" y="29"/>
                    <a:pt x="0" y="29"/>
                    <a:pt x="0" y="58"/>
                  </a:cubicBezTo>
                  <a:cubicBezTo>
                    <a:pt x="0" y="116"/>
                    <a:pt x="59" y="174"/>
                    <a:pt x="88" y="233"/>
                  </a:cubicBezTo>
                  <a:cubicBezTo>
                    <a:pt x="117" y="262"/>
                    <a:pt x="146" y="291"/>
                    <a:pt x="146" y="320"/>
                  </a:cubicBezTo>
                  <a:cubicBezTo>
                    <a:pt x="146" y="291"/>
                    <a:pt x="117" y="262"/>
                    <a:pt x="88" y="233"/>
                  </a:cubicBezTo>
                  <a:cubicBezTo>
                    <a:pt x="59" y="174"/>
                    <a:pt x="0" y="116"/>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 name="Freeform 29">
              <a:extLst>
                <a:ext uri="{FF2B5EF4-FFF2-40B4-BE49-F238E27FC236}">
                  <a16:creationId xmlns:a16="http://schemas.microsoft.com/office/drawing/2014/main" id="{499E3A65-822C-4E5C-81D8-A9A262D921F2}"/>
                </a:ext>
              </a:extLst>
            </p:cNvPr>
            <p:cNvSpPr>
              <a:spLocks noChangeArrowheads="1"/>
            </p:cNvSpPr>
            <p:nvPr/>
          </p:nvSpPr>
          <p:spPr bwMode="auto">
            <a:xfrm>
              <a:off x="9043103" y="2141097"/>
              <a:ext cx="22832" cy="43694"/>
            </a:xfrm>
            <a:custGeom>
              <a:avLst/>
              <a:gdLst>
                <a:gd name="T0" fmla="*/ 59 w 60"/>
                <a:gd name="T1" fmla="*/ 0 h 117"/>
                <a:gd name="T2" fmla="*/ 59 w 60"/>
                <a:gd name="T3" fmla="*/ 0 h 117"/>
                <a:gd name="T4" fmla="*/ 30 w 60"/>
                <a:gd name="T5" fmla="*/ 58 h 117"/>
                <a:gd name="T6" fmla="*/ 0 w 60"/>
                <a:gd name="T7" fmla="*/ 116 h 117"/>
                <a:gd name="T8" fmla="*/ 30 w 60"/>
                <a:gd name="T9" fmla="*/ 58 h 117"/>
                <a:gd name="T10" fmla="*/ 59 w 60"/>
                <a:gd name="T11" fmla="*/ 0 h 117"/>
              </a:gdLst>
              <a:ahLst/>
              <a:cxnLst>
                <a:cxn ang="0">
                  <a:pos x="T0" y="T1"/>
                </a:cxn>
                <a:cxn ang="0">
                  <a:pos x="T2" y="T3"/>
                </a:cxn>
                <a:cxn ang="0">
                  <a:pos x="T4" y="T5"/>
                </a:cxn>
                <a:cxn ang="0">
                  <a:pos x="T6" y="T7"/>
                </a:cxn>
                <a:cxn ang="0">
                  <a:pos x="T8" y="T9"/>
                </a:cxn>
                <a:cxn ang="0">
                  <a:pos x="T10" y="T11"/>
                </a:cxn>
              </a:cxnLst>
              <a:rect l="0" t="0" r="r" b="b"/>
              <a:pathLst>
                <a:path w="60" h="117">
                  <a:moveTo>
                    <a:pt x="59" y="0"/>
                  </a:moveTo>
                  <a:lnTo>
                    <a:pt x="59" y="0"/>
                  </a:lnTo>
                  <a:cubicBezTo>
                    <a:pt x="59" y="29"/>
                    <a:pt x="30" y="29"/>
                    <a:pt x="30" y="58"/>
                  </a:cubicBezTo>
                  <a:cubicBezTo>
                    <a:pt x="30" y="58"/>
                    <a:pt x="0" y="87"/>
                    <a:pt x="0" y="116"/>
                  </a:cubicBezTo>
                  <a:cubicBezTo>
                    <a:pt x="0" y="87"/>
                    <a:pt x="30" y="58"/>
                    <a:pt x="30" y="58"/>
                  </a:cubicBezTo>
                  <a:cubicBezTo>
                    <a:pt x="30" y="29"/>
                    <a:pt x="59" y="29"/>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 name="Freeform 30">
              <a:extLst>
                <a:ext uri="{FF2B5EF4-FFF2-40B4-BE49-F238E27FC236}">
                  <a16:creationId xmlns:a16="http://schemas.microsoft.com/office/drawing/2014/main" id="{C34DD5D8-D6F2-495C-8B78-92FF9A279186}"/>
                </a:ext>
              </a:extLst>
            </p:cNvPr>
            <p:cNvSpPr>
              <a:spLocks noChangeArrowheads="1"/>
            </p:cNvSpPr>
            <p:nvPr/>
          </p:nvSpPr>
          <p:spPr bwMode="auto">
            <a:xfrm>
              <a:off x="9592699" y="2493891"/>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 name="Freeform 31">
              <a:extLst>
                <a:ext uri="{FF2B5EF4-FFF2-40B4-BE49-F238E27FC236}">
                  <a16:creationId xmlns:a16="http://schemas.microsoft.com/office/drawing/2014/main" id="{DB541D9F-AE4A-404B-BBDA-6F568357B36F}"/>
                </a:ext>
              </a:extLst>
            </p:cNvPr>
            <p:cNvSpPr>
              <a:spLocks noChangeArrowheads="1"/>
            </p:cNvSpPr>
            <p:nvPr/>
          </p:nvSpPr>
          <p:spPr bwMode="auto">
            <a:xfrm>
              <a:off x="9010486" y="2183174"/>
              <a:ext cx="21202" cy="11328"/>
            </a:xfrm>
            <a:custGeom>
              <a:avLst/>
              <a:gdLst>
                <a:gd name="T0" fmla="*/ 29 w 59"/>
                <a:gd name="T1" fmla="*/ 29 h 30"/>
                <a:gd name="T2" fmla="*/ 29 w 59"/>
                <a:gd name="T3" fmla="*/ 29 h 30"/>
                <a:gd name="T4" fmla="*/ 58 w 59"/>
                <a:gd name="T5" fmla="*/ 0 h 30"/>
                <a:gd name="T6" fmla="*/ 29 w 59"/>
                <a:gd name="T7" fmla="*/ 29 h 30"/>
                <a:gd name="T8" fmla="*/ 0 w 59"/>
                <a:gd name="T9" fmla="*/ 29 h 30"/>
                <a:gd name="T10" fmla="*/ 29 w 59"/>
                <a:gd name="T11" fmla="*/ 29 h 30"/>
              </a:gdLst>
              <a:ahLst/>
              <a:cxnLst>
                <a:cxn ang="0">
                  <a:pos x="T0" y="T1"/>
                </a:cxn>
                <a:cxn ang="0">
                  <a:pos x="T2" y="T3"/>
                </a:cxn>
                <a:cxn ang="0">
                  <a:pos x="T4" y="T5"/>
                </a:cxn>
                <a:cxn ang="0">
                  <a:pos x="T6" y="T7"/>
                </a:cxn>
                <a:cxn ang="0">
                  <a:pos x="T8" y="T9"/>
                </a:cxn>
                <a:cxn ang="0">
                  <a:pos x="T10" y="T11"/>
                </a:cxn>
              </a:cxnLst>
              <a:rect l="0" t="0" r="r" b="b"/>
              <a:pathLst>
                <a:path w="59" h="30">
                  <a:moveTo>
                    <a:pt x="29" y="29"/>
                  </a:moveTo>
                  <a:lnTo>
                    <a:pt x="29" y="29"/>
                  </a:lnTo>
                  <a:lnTo>
                    <a:pt x="58" y="0"/>
                  </a:lnTo>
                  <a:lnTo>
                    <a:pt x="29" y="29"/>
                  </a:lnTo>
                  <a:lnTo>
                    <a:pt x="0" y="29"/>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 name="Freeform 32">
              <a:extLst>
                <a:ext uri="{FF2B5EF4-FFF2-40B4-BE49-F238E27FC236}">
                  <a16:creationId xmlns:a16="http://schemas.microsoft.com/office/drawing/2014/main" id="{6D40938D-331C-4D33-B0A2-59A8F2E756E8}"/>
                </a:ext>
              </a:extLst>
            </p:cNvPr>
            <p:cNvSpPr>
              <a:spLocks noChangeArrowheads="1"/>
            </p:cNvSpPr>
            <p:nvPr/>
          </p:nvSpPr>
          <p:spPr bwMode="auto">
            <a:xfrm>
              <a:off x="8977869" y="2333677"/>
              <a:ext cx="11416" cy="22656"/>
            </a:xfrm>
            <a:custGeom>
              <a:avLst/>
              <a:gdLst>
                <a:gd name="T0" fmla="*/ 0 w 30"/>
                <a:gd name="T1" fmla="*/ 59 h 60"/>
                <a:gd name="T2" fmla="*/ 0 w 30"/>
                <a:gd name="T3" fmla="*/ 59 h 60"/>
                <a:gd name="T4" fmla="*/ 29 w 30"/>
                <a:gd name="T5" fmla="*/ 0 h 60"/>
                <a:gd name="T6" fmla="*/ 0 w 30"/>
                <a:gd name="T7" fmla="*/ 59 h 60"/>
              </a:gdLst>
              <a:ahLst/>
              <a:cxnLst>
                <a:cxn ang="0">
                  <a:pos x="T0" y="T1"/>
                </a:cxn>
                <a:cxn ang="0">
                  <a:pos x="T2" y="T3"/>
                </a:cxn>
                <a:cxn ang="0">
                  <a:pos x="T4" y="T5"/>
                </a:cxn>
                <a:cxn ang="0">
                  <a:pos x="T6" y="T7"/>
                </a:cxn>
              </a:cxnLst>
              <a:rect l="0" t="0" r="r" b="b"/>
              <a:pathLst>
                <a:path w="30" h="60">
                  <a:moveTo>
                    <a:pt x="0" y="59"/>
                  </a:moveTo>
                  <a:lnTo>
                    <a:pt x="0" y="59"/>
                  </a:lnTo>
                  <a:cubicBezTo>
                    <a:pt x="0" y="30"/>
                    <a:pt x="0" y="0"/>
                    <a:pt x="29" y="0"/>
                  </a:cubicBezTo>
                  <a:cubicBezTo>
                    <a:pt x="0" y="0"/>
                    <a:pt x="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 name="Freeform 33">
              <a:extLst>
                <a:ext uri="{FF2B5EF4-FFF2-40B4-BE49-F238E27FC236}">
                  <a16:creationId xmlns:a16="http://schemas.microsoft.com/office/drawing/2014/main" id="{C99149F1-2EA7-463E-8721-1EAD0C44B0BB}"/>
                </a:ext>
              </a:extLst>
            </p:cNvPr>
            <p:cNvSpPr>
              <a:spLocks noChangeArrowheads="1"/>
            </p:cNvSpPr>
            <p:nvPr/>
          </p:nvSpPr>
          <p:spPr bwMode="auto">
            <a:xfrm>
              <a:off x="8989286" y="2375753"/>
              <a:ext cx="1630" cy="11329"/>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 name="Freeform 34">
              <a:extLst>
                <a:ext uri="{FF2B5EF4-FFF2-40B4-BE49-F238E27FC236}">
                  <a16:creationId xmlns:a16="http://schemas.microsoft.com/office/drawing/2014/main" id="{0DE96B63-B4D4-4DB7-9797-580D20984B67}"/>
                </a:ext>
              </a:extLst>
            </p:cNvPr>
            <p:cNvSpPr>
              <a:spLocks noChangeArrowheads="1"/>
            </p:cNvSpPr>
            <p:nvPr/>
          </p:nvSpPr>
          <p:spPr bwMode="auto">
            <a:xfrm>
              <a:off x="8989286" y="2366043"/>
              <a:ext cx="1630"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 name="Freeform 35">
              <a:extLst>
                <a:ext uri="{FF2B5EF4-FFF2-40B4-BE49-F238E27FC236}">
                  <a16:creationId xmlns:a16="http://schemas.microsoft.com/office/drawing/2014/main" id="{7EDB629D-3035-4411-9B85-81F5CD43A1FA}"/>
                </a:ext>
              </a:extLst>
            </p:cNvPr>
            <p:cNvSpPr>
              <a:spLocks noChangeArrowheads="1"/>
            </p:cNvSpPr>
            <p:nvPr/>
          </p:nvSpPr>
          <p:spPr bwMode="auto">
            <a:xfrm>
              <a:off x="9129539" y="2099021"/>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 name="Freeform 36">
              <a:extLst>
                <a:ext uri="{FF2B5EF4-FFF2-40B4-BE49-F238E27FC236}">
                  <a16:creationId xmlns:a16="http://schemas.microsoft.com/office/drawing/2014/main" id="{BDB88201-2CE8-433E-9372-CCD22EF6D36A}"/>
                </a:ext>
              </a:extLst>
            </p:cNvPr>
            <p:cNvSpPr>
              <a:spLocks noChangeArrowheads="1"/>
            </p:cNvSpPr>
            <p:nvPr/>
          </p:nvSpPr>
          <p:spPr bwMode="auto">
            <a:xfrm>
              <a:off x="8977869" y="2354716"/>
              <a:ext cx="11416" cy="11328"/>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0" y="0"/>
                    <a:pt x="0" y="29"/>
                    <a:pt x="29" y="29"/>
                  </a:cubicBezTo>
                  <a:cubicBezTo>
                    <a:pt x="0" y="29"/>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 name="Freeform 37">
              <a:extLst>
                <a:ext uri="{FF2B5EF4-FFF2-40B4-BE49-F238E27FC236}">
                  <a16:creationId xmlns:a16="http://schemas.microsoft.com/office/drawing/2014/main" id="{8F74D361-5BDA-42DE-9B7F-03606C4DC16E}"/>
                </a:ext>
              </a:extLst>
            </p:cNvPr>
            <p:cNvSpPr>
              <a:spLocks noChangeArrowheads="1"/>
            </p:cNvSpPr>
            <p:nvPr/>
          </p:nvSpPr>
          <p:spPr bwMode="auto">
            <a:xfrm>
              <a:off x="9129539" y="213138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 name="Freeform 38">
              <a:extLst>
                <a:ext uri="{FF2B5EF4-FFF2-40B4-BE49-F238E27FC236}">
                  <a16:creationId xmlns:a16="http://schemas.microsoft.com/office/drawing/2014/main" id="{F8322EDB-C3A6-4E7E-A541-A3F75622033F}"/>
                </a:ext>
              </a:extLst>
            </p:cNvPr>
            <p:cNvSpPr>
              <a:spLocks noChangeArrowheads="1"/>
            </p:cNvSpPr>
            <p:nvPr/>
          </p:nvSpPr>
          <p:spPr bwMode="auto">
            <a:xfrm>
              <a:off x="9129539" y="214109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 name="Freeform 39">
              <a:extLst>
                <a:ext uri="{FF2B5EF4-FFF2-40B4-BE49-F238E27FC236}">
                  <a16:creationId xmlns:a16="http://schemas.microsoft.com/office/drawing/2014/main" id="{5090CF19-588B-4DE8-B305-7A1F77A3F853}"/>
                </a:ext>
              </a:extLst>
            </p:cNvPr>
            <p:cNvSpPr>
              <a:spLocks noChangeArrowheads="1"/>
            </p:cNvSpPr>
            <p:nvPr/>
          </p:nvSpPr>
          <p:spPr bwMode="auto">
            <a:xfrm>
              <a:off x="9118122" y="2152425"/>
              <a:ext cx="11416" cy="21039"/>
            </a:xfrm>
            <a:custGeom>
              <a:avLst/>
              <a:gdLst>
                <a:gd name="T0" fmla="*/ 29 w 30"/>
                <a:gd name="T1" fmla="*/ 0 h 59"/>
                <a:gd name="T2" fmla="*/ 29 w 30"/>
                <a:gd name="T3" fmla="*/ 0 h 59"/>
                <a:gd name="T4" fmla="*/ 0 w 30"/>
                <a:gd name="T5" fmla="*/ 58 h 59"/>
                <a:gd name="T6" fmla="*/ 0 w 30"/>
                <a:gd name="T7" fmla="*/ 58 h 59"/>
                <a:gd name="T8" fmla="*/ 29 w 30"/>
                <a:gd name="T9" fmla="*/ 0 h 59"/>
              </a:gdLst>
              <a:ahLst/>
              <a:cxnLst>
                <a:cxn ang="0">
                  <a:pos x="T0" y="T1"/>
                </a:cxn>
                <a:cxn ang="0">
                  <a:pos x="T2" y="T3"/>
                </a:cxn>
                <a:cxn ang="0">
                  <a:pos x="T4" y="T5"/>
                </a:cxn>
                <a:cxn ang="0">
                  <a:pos x="T6" y="T7"/>
                </a:cxn>
                <a:cxn ang="0">
                  <a:pos x="T8" y="T9"/>
                </a:cxn>
              </a:cxnLst>
              <a:rect l="0" t="0" r="r" b="b"/>
              <a:pathLst>
                <a:path w="30" h="59">
                  <a:moveTo>
                    <a:pt x="29" y="0"/>
                  </a:moveTo>
                  <a:lnTo>
                    <a:pt x="29" y="0"/>
                  </a:lnTo>
                  <a:cubicBezTo>
                    <a:pt x="29" y="29"/>
                    <a:pt x="0" y="29"/>
                    <a:pt x="0" y="58"/>
                  </a:cubicBezTo>
                  <a:lnTo>
                    <a:pt x="0" y="58"/>
                  </a:lnTo>
                  <a:cubicBezTo>
                    <a:pt x="0"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3" name="Freeform 40">
              <a:extLst>
                <a:ext uri="{FF2B5EF4-FFF2-40B4-BE49-F238E27FC236}">
                  <a16:creationId xmlns:a16="http://schemas.microsoft.com/office/drawing/2014/main" id="{8895635D-8ABD-4CC1-AF0B-E134C3BAD44D}"/>
                </a:ext>
              </a:extLst>
            </p:cNvPr>
            <p:cNvSpPr>
              <a:spLocks noChangeArrowheads="1"/>
            </p:cNvSpPr>
            <p:nvPr/>
          </p:nvSpPr>
          <p:spPr bwMode="auto">
            <a:xfrm>
              <a:off x="9108337" y="2108731"/>
              <a:ext cx="1631"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4" name="Freeform 41">
              <a:extLst>
                <a:ext uri="{FF2B5EF4-FFF2-40B4-BE49-F238E27FC236}">
                  <a16:creationId xmlns:a16="http://schemas.microsoft.com/office/drawing/2014/main" id="{CE9A0203-DDFC-410B-947D-9AEBD6E8C026}"/>
                </a:ext>
              </a:extLst>
            </p:cNvPr>
            <p:cNvSpPr>
              <a:spLocks noChangeArrowheads="1"/>
            </p:cNvSpPr>
            <p:nvPr/>
          </p:nvSpPr>
          <p:spPr bwMode="auto">
            <a:xfrm>
              <a:off x="9096922" y="2099021"/>
              <a:ext cx="11415" cy="11328"/>
            </a:xfrm>
            <a:custGeom>
              <a:avLst/>
              <a:gdLst>
                <a:gd name="T0" fmla="*/ 0 w 30"/>
                <a:gd name="T1" fmla="*/ 29 h 30"/>
                <a:gd name="T2" fmla="*/ 0 w 30"/>
                <a:gd name="T3" fmla="*/ 29 h 30"/>
                <a:gd name="T4" fmla="*/ 0 w 30"/>
                <a:gd name="T5" fmla="*/ 0 h 30"/>
                <a:gd name="T6" fmla="*/ 29 w 30"/>
                <a:gd name="T7" fmla="*/ 0 h 30"/>
                <a:gd name="T8" fmla="*/ 29 w 30"/>
                <a:gd name="T9" fmla="*/ 29 h 30"/>
                <a:gd name="T10" fmla="*/ 29 w 30"/>
                <a:gd name="T11" fmla="*/ 0 h 30"/>
                <a:gd name="T12" fmla="*/ 0 w 30"/>
                <a:gd name="T13" fmla="*/ 0 h 30"/>
                <a:gd name="T14" fmla="*/ 0 w 30"/>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0" y="29"/>
                  </a:moveTo>
                  <a:lnTo>
                    <a:pt x="0" y="29"/>
                  </a:lnTo>
                  <a:cubicBezTo>
                    <a:pt x="0" y="29"/>
                    <a:pt x="0" y="29"/>
                    <a:pt x="0" y="0"/>
                  </a:cubicBezTo>
                  <a:cubicBezTo>
                    <a:pt x="29" y="0"/>
                    <a:pt x="29" y="0"/>
                    <a:pt x="29" y="0"/>
                  </a:cubicBezTo>
                  <a:cubicBezTo>
                    <a:pt x="29" y="29"/>
                    <a:pt x="29" y="29"/>
                    <a:pt x="29" y="29"/>
                  </a:cubicBezTo>
                  <a:cubicBezTo>
                    <a:pt x="29" y="0"/>
                    <a:pt x="29" y="0"/>
                    <a:pt x="29" y="0"/>
                  </a:cubicBezTo>
                  <a:cubicBezTo>
                    <a:pt x="0" y="0"/>
                    <a:pt x="0" y="0"/>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5" name="Freeform 42">
              <a:extLst>
                <a:ext uri="{FF2B5EF4-FFF2-40B4-BE49-F238E27FC236}">
                  <a16:creationId xmlns:a16="http://schemas.microsoft.com/office/drawing/2014/main" id="{503C5EF1-6C0A-4BB2-9310-DBAF4312614E}"/>
                </a:ext>
              </a:extLst>
            </p:cNvPr>
            <p:cNvSpPr>
              <a:spLocks noChangeArrowheads="1"/>
            </p:cNvSpPr>
            <p:nvPr/>
          </p:nvSpPr>
          <p:spPr bwMode="auto">
            <a:xfrm>
              <a:off x="8827832" y="2600700"/>
              <a:ext cx="11416" cy="21038"/>
            </a:xfrm>
            <a:custGeom>
              <a:avLst/>
              <a:gdLst>
                <a:gd name="T0" fmla="*/ 30 w 31"/>
                <a:gd name="T1" fmla="*/ 0 h 59"/>
                <a:gd name="T2" fmla="*/ 30 w 31"/>
                <a:gd name="T3" fmla="*/ 0 h 59"/>
                <a:gd name="T4" fmla="*/ 0 w 31"/>
                <a:gd name="T5" fmla="*/ 58 h 59"/>
                <a:gd name="T6" fmla="*/ 30 w 31"/>
                <a:gd name="T7" fmla="*/ 0 h 59"/>
              </a:gdLst>
              <a:ahLst/>
              <a:cxnLst>
                <a:cxn ang="0">
                  <a:pos x="T0" y="T1"/>
                </a:cxn>
                <a:cxn ang="0">
                  <a:pos x="T2" y="T3"/>
                </a:cxn>
                <a:cxn ang="0">
                  <a:pos x="T4" y="T5"/>
                </a:cxn>
                <a:cxn ang="0">
                  <a:pos x="T6" y="T7"/>
                </a:cxn>
              </a:cxnLst>
              <a:rect l="0" t="0" r="r" b="b"/>
              <a:pathLst>
                <a:path w="31" h="59">
                  <a:moveTo>
                    <a:pt x="30" y="0"/>
                  </a:moveTo>
                  <a:lnTo>
                    <a:pt x="30" y="0"/>
                  </a:lnTo>
                  <a:cubicBezTo>
                    <a:pt x="30" y="29"/>
                    <a:pt x="0" y="29"/>
                    <a:pt x="0" y="58"/>
                  </a:cubicBezTo>
                  <a:cubicBezTo>
                    <a:pt x="0" y="29"/>
                    <a:pt x="30" y="29"/>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6" name="Freeform 43">
              <a:extLst>
                <a:ext uri="{FF2B5EF4-FFF2-40B4-BE49-F238E27FC236}">
                  <a16:creationId xmlns:a16="http://schemas.microsoft.com/office/drawing/2014/main" id="{99C2C58A-9ED9-43AE-84ED-5921F04584FC}"/>
                </a:ext>
              </a:extLst>
            </p:cNvPr>
            <p:cNvSpPr>
              <a:spLocks noChangeArrowheads="1"/>
            </p:cNvSpPr>
            <p:nvPr/>
          </p:nvSpPr>
          <p:spPr bwMode="auto">
            <a:xfrm>
              <a:off x="8870234" y="2730166"/>
              <a:ext cx="11416" cy="11328"/>
            </a:xfrm>
            <a:custGeom>
              <a:avLst/>
              <a:gdLst>
                <a:gd name="T0" fmla="*/ 30 w 31"/>
                <a:gd name="T1" fmla="*/ 29 h 30"/>
                <a:gd name="T2" fmla="*/ 30 w 31"/>
                <a:gd name="T3" fmla="*/ 29 h 30"/>
                <a:gd name="T4" fmla="*/ 0 w 31"/>
                <a:gd name="T5" fmla="*/ 0 h 30"/>
                <a:gd name="T6" fmla="*/ 0 w 31"/>
                <a:gd name="T7" fmla="*/ 0 h 30"/>
                <a:gd name="T8" fmla="*/ 0 w 31"/>
                <a:gd name="T9" fmla="*/ 0 h 30"/>
                <a:gd name="T10" fmla="*/ 30 w 31"/>
                <a:gd name="T11" fmla="*/ 29 h 30"/>
              </a:gdLst>
              <a:ahLst/>
              <a:cxnLst>
                <a:cxn ang="0">
                  <a:pos x="T0" y="T1"/>
                </a:cxn>
                <a:cxn ang="0">
                  <a:pos x="T2" y="T3"/>
                </a:cxn>
                <a:cxn ang="0">
                  <a:pos x="T4" y="T5"/>
                </a:cxn>
                <a:cxn ang="0">
                  <a:pos x="T6" y="T7"/>
                </a:cxn>
                <a:cxn ang="0">
                  <a:pos x="T8" y="T9"/>
                </a:cxn>
                <a:cxn ang="0">
                  <a:pos x="T10" y="T11"/>
                </a:cxn>
              </a:cxnLst>
              <a:rect l="0" t="0" r="r" b="b"/>
              <a:pathLst>
                <a:path w="31" h="30">
                  <a:moveTo>
                    <a:pt x="30" y="29"/>
                  </a:moveTo>
                  <a:lnTo>
                    <a:pt x="30" y="29"/>
                  </a:lnTo>
                  <a:cubicBezTo>
                    <a:pt x="0" y="29"/>
                    <a:pt x="0" y="29"/>
                    <a:pt x="0" y="0"/>
                  </a:cubicBezTo>
                  <a:lnTo>
                    <a:pt x="0" y="0"/>
                  </a:lnTo>
                  <a:lnTo>
                    <a:pt x="0" y="0"/>
                  </a:lnTo>
                  <a:cubicBezTo>
                    <a:pt x="0" y="29"/>
                    <a:pt x="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7" name="Freeform 44">
              <a:extLst>
                <a:ext uri="{FF2B5EF4-FFF2-40B4-BE49-F238E27FC236}">
                  <a16:creationId xmlns:a16="http://schemas.microsoft.com/office/drawing/2014/main" id="{9A13C575-C0C9-4DF3-A4C3-88F9A3036ED7}"/>
                </a:ext>
              </a:extLst>
            </p:cNvPr>
            <p:cNvSpPr>
              <a:spLocks noChangeArrowheads="1"/>
            </p:cNvSpPr>
            <p:nvPr/>
          </p:nvSpPr>
          <p:spPr bwMode="auto">
            <a:xfrm>
              <a:off x="8902851" y="2087692"/>
              <a:ext cx="11416" cy="53405"/>
            </a:xfrm>
            <a:custGeom>
              <a:avLst/>
              <a:gdLst>
                <a:gd name="T0" fmla="*/ 29 w 30"/>
                <a:gd name="T1" fmla="*/ 0 h 147"/>
                <a:gd name="T2" fmla="*/ 29 w 30"/>
                <a:gd name="T3" fmla="*/ 0 h 147"/>
                <a:gd name="T4" fmla="*/ 29 w 30"/>
                <a:gd name="T5" fmla="*/ 0 h 147"/>
                <a:gd name="T6" fmla="*/ 29 w 30"/>
                <a:gd name="T7" fmla="*/ 29 h 147"/>
                <a:gd name="T8" fmla="*/ 0 w 30"/>
                <a:gd name="T9" fmla="*/ 146 h 147"/>
                <a:gd name="T10" fmla="*/ 29 w 30"/>
                <a:gd name="T11" fmla="*/ 29 h 147"/>
                <a:gd name="T12" fmla="*/ 29 w 30"/>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30" h="147">
                  <a:moveTo>
                    <a:pt x="29" y="0"/>
                  </a:moveTo>
                  <a:lnTo>
                    <a:pt x="29" y="0"/>
                  </a:lnTo>
                  <a:lnTo>
                    <a:pt x="29" y="0"/>
                  </a:lnTo>
                  <a:cubicBezTo>
                    <a:pt x="29" y="29"/>
                    <a:pt x="29" y="29"/>
                    <a:pt x="29" y="29"/>
                  </a:cubicBezTo>
                  <a:cubicBezTo>
                    <a:pt x="29" y="87"/>
                    <a:pt x="0" y="117"/>
                    <a:pt x="0" y="146"/>
                  </a:cubicBezTo>
                  <a:cubicBezTo>
                    <a:pt x="0" y="117"/>
                    <a:pt x="29" y="87"/>
                    <a:pt x="29" y="29"/>
                  </a:cubicBez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8" name="Freeform 45">
              <a:extLst>
                <a:ext uri="{FF2B5EF4-FFF2-40B4-BE49-F238E27FC236}">
                  <a16:creationId xmlns:a16="http://schemas.microsoft.com/office/drawing/2014/main" id="{26BFFC2E-0030-409B-B561-522FC9E73C26}"/>
                </a:ext>
              </a:extLst>
            </p:cNvPr>
            <p:cNvSpPr>
              <a:spLocks noChangeArrowheads="1"/>
            </p:cNvSpPr>
            <p:nvPr/>
          </p:nvSpPr>
          <p:spPr bwMode="auto">
            <a:xfrm>
              <a:off x="8870234" y="2194501"/>
              <a:ext cx="11416" cy="11329"/>
            </a:xfrm>
            <a:custGeom>
              <a:avLst/>
              <a:gdLst>
                <a:gd name="T0" fmla="*/ 0 w 31"/>
                <a:gd name="T1" fmla="*/ 29 h 30"/>
                <a:gd name="T2" fmla="*/ 0 w 31"/>
                <a:gd name="T3" fmla="*/ 29 h 30"/>
                <a:gd name="T4" fmla="*/ 30 w 31"/>
                <a:gd name="T5" fmla="*/ 29 h 30"/>
                <a:gd name="T6" fmla="*/ 30 w 31"/>
                <a:gd name="T7" fmla="*/ 0 h 30"/>
                <a:gd name="T8" fmla="*/ 30 w 31"/>
                <a:gd name="T9" fmla="*/ 29 h 30"/>
                <a:gd name="T10" fmla="*/ 0 w 31"/>
                <a:gd name="T11" fmla="*/ 29 h 30"/>
              </a:gdLst>
              <a:ahLst/>
              <a:cxnLst>
                <a:cxn ang="0">
                  <a:pos x="T0" y="T1"/>
                </a:cxn>
                <a:cxn ang="0">
                  <a:pos x="T2" y="T3"/>
                </a:cxn>
                <a:cxn ang="0">
                  <a:pos x="T4" y="T5"/>
                </a:cxn>
                <a:cxn ang="0">
                  <a:pos x="T6" y="T7"/>
                </a:cxn>
                <a:cxn ang="0">
                  <a:pos x="T8" y="T9"/>
                </a:cxn>
                <a:cxn ang="0">
                  <a:pos x="T10" y="T11"/>
                </a:cxn>
              </a:cxnLst>
              <a:rect l="0" t="0" r="r" b="b"/>
              <a:pathLst>
                <a:path w="31" h="30">
                  <a:moveTo>
                    <a:pt x="0" y="29"/>
                  </a:moveTo>
                  <a:lnTo>
                    <a:pt x="0" y="29"/>
                  </a:lnTo>
                  <a:cubicBezTo>
                    <a:pt x="0" y="29"/>
                    <a:pt x="0" y="29"/>
                    <a:pt x="30" y="29"/>
                  </a:cubicBezTo>
                  <a:cubicBezTo>
                    <a:pt x="30" y="0"/>
                    <a:pt x="30" y="0"/>
                    <a:pt x="30" y="0"/>
                  </a:cubicBezTo>
                  <a:cubicBezTo>
                    <a:pt x="30" y="0"/>
                    <a:pt x="30" y="0"/>
                    <a:pt x="30" y="29"/>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9" name="Freeform 46">
              <a:extLst>
                <a:ext uri="{FF2B5EF4-FFF2-40B4-BE49-F238E27FC236}">
                  <a16:creationId xmlns:a16="http://schemas.microsoft.com/office/drawing/2014/main" id="{797C8A73-A994-4483-A96B-629F431BAE97}"/>
                </a:ext>
              </a:extLst>
            </p:cNvPr>
            <p:cNvSpPr>
              <a:spLocks noChangeArrowheads="1"/>
            </p:cNvSpPr>
            <p:nvPr/>
          </p:nvSpPr>
          <p:spPr bwMode="auto">
            <a:xfrm>
              <a:off x="8849033" y="2120059"/>
              <a:ext cx="21200" cy="74443"/>
            </a:xfrm>
            <a:custGeom>
              <a:avLst/>
              <a:gdLst>
                <a:gd name="T0" fmla="*/ 58 w 59"/>
                <a:gd name="T1" fmla="*/ 30 h 205"/>
                <a:gd name="T2" fmla="*/ 58 w 59"/>
                <a:gd name="T3" fmla="*/ 30 h 205"/>
                <a:gd name="T4" fmla="*/ 58 w 59"/>
                <a:gd name="T5" fmla="*/ 30 h 205"/>
                <a:gd name="T6" fmla="*/ 58 w 59"/>
                <a:gd name="T7" fmla="*/ 0 h 205"/>
                <a:gd name="T8" fmla="*/ 58 w 59"/>
                <a:gd name="T9" fmla="*/ 30 h 205"/>
                <a:gd name="T10" fmla="*/ 58 w 59"/>
                <a:gd name="T11" fmla="*/ 30 h 205"/>
                <a:gd name="T12" fmla="*/ 0 w 59"/>
                <a:gd name="T13" fmla="*/ 146 h 205"/>
                <a:gd name="T14" fmla="*/ 0 w 59"/>
                <a:gd name="T15" fmla="*/ 204 h 205"/>
                <a:gd name="T16" fmla="*/ 0 w 59"/>
                <a:gd name="T17" fmla="*/ 146 h 205"/>
                <a:gd name="T18" fmla="*/ 58 w 59"/>
                <a:gd name="T19" fmla="*/ 3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205">
                  <a:moveTo>
                    <a:pt x="58" y="30"/>
                  </a:moveTo>
                  <a:lnTo>
                    <a:pt x="58" y="30"/>
                  </a:lnTo>
                  <a:lnTo>
                    <a:pt x="58" y="30"/>
                  </a:lnTo>
                  <a:cubicBezTo>
                    <a:pt x="58" y="30"/>
                    <a:pt x="58" y="30"/>
                    <a:pt x="58" y="0"/>
                  </a:cubicBezTo>
                  <a:cubicBezTo>
                    <a:pt x="58" y="30"/>
                    <a:pt x="58" y="30"/>
                    <a:pt x="58" y="30"/>
                  </a:cubicBezTo>
                  <a:lnTo>
                    <a:pt x="58" y="30"/>
                  </a:lnTo>
                  <a:cubicBezTo>
                    <a:pt x="29" y="59"/>
                    <a:pt x="29" y="117"/>
                    <a:pt x="0" y="146"/>
                  </a:cubicBezTo>
                  <a:cubicBezTo>
                    <a:pt x="0" y="146"/>
                    <a:pt x="0" y="175"/>
                    <a:pt x="0" y="204"/>
                  </a:cubicBezTo>
                  <a:cubicBezTo>
                    <a:pt x="0" y="175"/>
                    <a:pt x="0" y="146"/>
                    <a:pt x="0" y="146"/>
                  </a:cubicBezTo>
                  <a:cubicBezTo>
                    <a:pt x="29" y="117"/>
                    <a:pt x="29" y="59"/>
                    <a:pt x="58"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0" name="Freeform 47">
              <a:extLst>
                <a:ext uri="{FF2B5EF4-FFF2-40B4-BE49-F238E27FC236}">
                  <a16:creationId xmlns:a16="http://schemas.microsoft.com/office/drawing/2014/main" id="{919D6CEC-8827-45C6-9869-E79C7304C9C7}"/>
                </a:ext>
              </a:extLst>
            </p:cNvPr>
            <p:cNvSpPr>
              <a:spLocks noChangeArrowheads="1"/>
            </p:cNvSpPr>
            <p:nvPr/>
          </p:nvSpPr>
          <p:spPr bwMode="auto">
            <a:xfrm>
              <a:off x="8827832" y="2654104"/>
              <a:ext cx="32617" cy="64733"/>
            </a:xfrm>
            <a:custGeom>
              <a:avLst/>
              <a:gdLst>
                <a:gd name="T0" fmla="*/ 88 w 89"/>
                <a:gd name="T1" fmla="*/ 174 h 175"/>
                <a:gd name="T2" fmla="*/ 88 w 89"/>
                <a:gd name="T3" fmla="*/ 174 h 175"/>
                <a:gd name="T4" fmla="*/ 88 w 89"/>
                <a:gd name="T5" fmla="*/ 145 h 175"/>
                <a:gd name="T6" fmla="*/ 0 w 89"/>
                <a:gd name="T7" fmla="*/ 0 h 175"/>
                <a:gd name="T8" fmla="*/ 0 w 89"/>
                <a:gd name="T9" fmla="*/ 0 h 175"/>
                <a:gd name="T10" fmla="*/ 88 w 89"/>
                <a:gd name="T11" fmla="*/ 145 h 175"/>
                <a:gd name="T12" fmla="*/ 88 w 89"/>
                <a:gd name="T13" fmla="*/ 174 h 175"/>
              </a:gdLst>
              <a:ahLst/>
              <a:cxnLst>
                <a:cxn ang="0">
                  <a:pos x="T0" y="T1"/>
                </a:cxn>
                <a:cxn ang="0">
                  <a:pos x="T2" y="T3"/>
                </a:cxn>
                <a:cxn ang="0">
                  <a:pos x="T4" y="T5"/>
                </a:cxn>
                <a:cxn ang="0">
                  <a:pos x="T6" y="T7"/>
                </a:cxn>
                <a:cxn ang="0">
                  <a:pos x="T8" y="T9"/>
                </a:cxn>
                <a:cxn ang="0">
                  <a:pos x="T10" y="T11"/>
                </a:cxn>
                <a:cxn ang="0">
                  <a:pos x="T12" y="T13"/>
                </a:cxn>
              </a:cxnLst>
              <a:rect l="0" t="0" r="r" b="b"/>
              <a:pathLst>
                <a:path w="89" h="175">
                  <a:moveTo>
                    <a:pt x="88" y="174"/>
                  </a:moveTo>
                  <a:lnTo>
                    <a:pt x="88" y="174"/>
                  </a:lnTo>
                  <a:cubicBezTo>
                    <a:pt x="88" y="145"/>
                    <a:pt x="88" y="145"/>
                    <a:pt x="88" y="145"/>
                  </a:cubicBezTo>
                  <a:cubicBezTo>
                    <a:pt x="59" y="87"/>
                    <a:pt x="30" y="57"/>
                    <a:pt x="0" y="0"/>
                  </a:cubicBezTo>
                  <a:lnTo>
                    <a:pt x="0" y="0"/>
                  </a:lnTo>
                  <a:cubicBezTo>
                    <a:pt x="30" y="57"/>
                    <a:pt x="59" y="87"/>
                    <a:pt x="88" y="145"/>
                  </a:cubicBezTo>
                  <a:lnTo>
                    <a:pt x="88"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1" name="Freeform 48">
              <a:extLst>
                <a:ext uri="{FF2B5EF4-FFF2-40B4-BE49-F238E27FC236}">
                  <a16:creationId xmlns:a16="http://schemas.microsoft.com/office/drawing/2014/main" id="{DFC3A246-4003-4344-A2C3-F200DA0B23B1}"/>
                </a:ext>
              </a:extLst>
            </p:cNvPr>
            <p:cNvSpPr>
              <a:spLocks noChangeArrowheads="1"/>
            </p:cNvSpPr>
            <p:nvPr/>
          </p:nvSpPr>
          <p:spPr bwMode="auto">
            <a:xfrm>
              <a:off x="8783799" y="2194501"/>
              <a:ext cx="65234" cy="53405"/>
            </a:xfrm>
            <a:custGeom>
              <a:avLst/>
              <a:gdLst>
                <a:gd name="T0" fmla="*/ 175 w 176"/>
                <a:gd name="T1" fmla="*/ 0 h 147"/>
                <a:gd name="T2" fmla="*/ 175 w 176"/>
                <a:gd name="T3" fmla="*/ 0 h 147"/>
                <a:gd name="T4" fmla="*/ 88 w 176"/>
                <a:gd name="T5" fmla="*/ 88 h 147"/>
                <a:gd name="T6" fmla="*/ 0 w 176"/>
                <a:gd name="T7" fmla="*/ 146 h 147"/>
                <a:gd name="T8" fmla="*/ 0 w 176"/>
                <a:gd name="T9" fmla="*/ 146 h 147"/>
                <a:gd name="T10" fmla="*/ 88 w 176"/>
                <a:gd name="T11" fmla="*/ 88 h 147"/>
                <a:gd name="T12" fmla="*/ 175 w 176"/>
                <a:gd name="T13" fmla="*/ 0 h 147"/>
              </a:gdLst>
              <a:ahLst/>
              <a:cxnLst>
                <a:cxn ang="0">
                  <a:pos x="T0" y="T1"/>
                </a:cxn>
                <a:cxn ang="0">
                  <a:pos x="T2" y="T3"/>
                </a:cxn>
                <a:cxn ang="0">
                  <a:pos x="T4" y="T5"/>
                </a:cxn>
                <a:cxn ang="0">
                  <a:pos x="T6" y="T7"/>
                </a:cxn>
                <a:cxn ang="0">
                  <a:pos x="T8" y="T9"/>
                </a:cxn>
                <a:cxn ang="0">
                  <a:pos x="T10" y="T11"/>
                </a:cxn>
                <a:cxn ang="0">
                  <a:pos x="T12" y="T13"/>
                </a:cxn>
              </a:cxnLst>
              <a:rect l="0" t="0" r="r" b="b"/>
              <a:pathLst>
                <a:path w="176" h="147">
                  <a:moveTo>
                    <a:pt x="175" y="0"/>
                  </a:moveTo>
                  <a:lnTo>
                    <a:pt x="175" y="0"/>
                  </a:lnTo>
                  <a:cubicBezTo>
                    <a:pt x="146" y="29"/>
                    <a:pt x="116" y="59"/>
                    <a:pt x="88" y="88"/>
                  </a:cubicBezTo>
                  <a:cubicBezTo>
                    <a:pt x="59" y="88"/>
                    <a:pt x="30" y="117"/>
                    <a:pt x="0" y="146"/>
                  </a:cubicBezTo>
                  <a:lnTo>
                    <a:pt x="0" y="146"/>
                  </a:lnTo>
                  <a:cubicBezTo>
                    <a:pt x="30" y="117"/>
                    <a:pt x="59" y="88"/>
                    <a:pt x="88" y="88"/>
                  </a:cubicBezTo>
                  <a:cubicBezTo>
                    <a:pt x="116" y="59"/>
                    <a:pt x="146" y="29"/>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2" name="Freeform 49">
              <a:extLst>
                <a:ext uri="{FF2B5EF4-FFF2-40B4-BE49-F238E27FC236}">
                  <a16:creationId xmlns:a16="http://schemas.microsoft.com/office/drawing/2014/main" id="{C9CB60D0-8058-4FE0-BD1A-2227ACC9FA1A}"/>
                </a:ext>
              </a:extLst>
            </p:cNvPr>
            <p:cNvSpPr>
              <a:spLocks noChangeArrowheads="1"/>
            </p:cNvSpPr>
            <p:nvPr/>
          </p:nvSpPr>
          <p:spPr bwMode="auto">
            <a:xfrm>
              <a:off x="8806631" y="2419448"/>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3" name="Freeform 50">
              <a:extLst>
                <a:ext uri="{FF2B5EF4-FFF2-40B4-BE49-F238E27FC236}">
                  <a16:creationId xmlns:a16="http://schemas.microsoft.com/office/drawing/2014/main" id="{EADB6BF1-D866-43CC-A283-D429A1267023}"/>
                </a:ext>
              </a:extLst>
            </p:cNvPr>
            <p:cNvSpPr>
              <a:spLocks noChangeArrowheads="1"/>
            </p:cNvSpPr>
            <p:nvPr/>
          </p:nvSpPr>
          <p:spPr bwMode="auto">
            <a:xfrm>
              <a:off x="8827832" y="2633067"/>
              <a:ext cx="1631" cy="22656"/>
            </a:xfrm>
            <a:custGeom>
              <a:avLst/>
              <a:gdLst>
                <a:gd name="T0" fmla="*/ 0 w 1"/>
                <a:gd name="T1" fmla="*/ 59 h 60"/>
                <a:gd name="T2" fmla="*/ 0 w 1"/>
                <a:gd name="T3" fmla="*/ 59 h 60"/>
                <a:gd name="T4" fmla="*/ 0 w 1"/>
                <a:gd name="T5" fmla="*/ 59 h 60"/>
                <a:gd name="T6" fmla="*/ 0 w 1"/>
                <a:gd name="T7" fmla="*/ 30 h 60"/>
                <a:gd name="T8" fmla="*/ 0 w 1"/>
                <a:gd name="T9" fmla="*/ 0 h 60"/>
                <a:gd name="T10" fmla="*/ 0 w 1"/>
                <a:gd name="T11" fmla="*/ 30 h 60"/>
                <a:gd name="T12" fmla="*/ 0 w 1"/>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1" h="60">
                  <a:moveTo>
                    <a:pt x="0" y="59"/>
                  </a:moveTo>
                  <a:lnTo>
                    <a:pt x="0" y="59"/>
                  </a:lnTo>
                  <a:lnTo>
                    <a:pt x="0" y="59"/>
                  </a:lnTo>
                  <a:cubicBezTo>
                    <a:pt x="0" y="30"/>
                    <a:pt x="0" y="30"/>
                    <a:pt x="0" y="30"/>
                  </a:cubicBezTo>
                  <a:lnTo>
                    <a:pt x="0" y="0"/>
                  </a:lnTo>
                  <a:lnTo>
                    <a:pt x="0" y="30"/>
                  </a:lnTo>
                  <a:lnTo>
                    <a:pt x="0" y="5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4" name="Freeform 51">
              <a:extLst>
                <a:ext uri="{FF2B5EF4-FFF2-40B4-BE49-F238E27FC236}">
                  <a16:creationId xmlns:a16="http://schemas.microsoft.com/office/drawing/2014/main" id="{167BFE70-F8B9-4097-8553-3BA6935C67AB}"/>
                </a:ext>
              </a:extLst>
            </p:cNvPr>
            <p:cNvSpPr>
              <a:spLocks noChangeArrowheads="1"/>
            </p:cNvSpPr>
            <p:nvPr/>
          </p:nvSpPr>
          <p:spPr bwMode="auto">
            <a:xfrm>
              <a:off x="8914267" y="2718837"/>
              <a:ext cx="75019" cy="55023"/>
            </a:xfrm>
            <a:custGeom>
              <a:avLst/>
              <a:gdLst>
                <a:gd name="T0" fmla="*/ 146 w 205"/>
                <a:gd name="T1" fmla="*/ 88 h 148"/>
                <a:gd name="T2" fmla="*/ 146 w 205"/>
                <a:gd name="T3" fmla="*/ 88 h 148"/>
                <a:gd name="T4" fmla="*/ 146 w 205"/>
                <a:gd name="T5" fmla="*/ 88 h 148"/>
                <a:gd name="T6" fmla="*/ 146 w 205"/>
                <a:gd name="T7" fmla="*/ 88 h 148"/>
                <a:gd name="T8" fmla="*/ 116 w 205"/>
                <a:gd name="T9" fmla="*/ 88 h 148"/>
                <a:gd name="T10" fmla="*/ 0 w 205"/>
                <a:gd name="T11" fmla="*/ 147 h 148"/>
                <a:gd name="T12" fmla="*/ 0 w 205"/>
                <a:gd name="T13" fmla="*/ 147 h 148"/>
                <a:gd name="T14" fmla="*/ 116 w 205"/>
                <a:gd name="T15" fmla="*/ 88 h 148"/>
                <a:gd name="T16" fmla="*/ 146 w 205"/>
                <a:gd name="T17" fmla="*/ 88 h 148"/>
                <a:gd name="T18" fmla="*/ 146 w 205"/>
                <a:gd name="T19" fmla="*/ 88 h 148"/>
                <a:gd name="T20" fmla="*/ 146 w 205"/>
                <a:gd name="T21" fmla="*/ 88 h 148"/>
                <a:gd name="T22" fmla="*/ 204 w 205"/>
                <a:gd name="T23" fmla="*/ 0 h 148"/>
                <a:gd name="T24" fmla="*/ 146 w 205"/>
                <a:gd name="T25" fmla="*/ 8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148">
                  <a:moveTo>
                    <a:pt x="146" y="88"/>
                  </a:moveTo>
                  <a:lnTo>
                    <a:pt x="146" y="88"/>
                  </a:lnTo>
                  <a:lnTo>
                    <a:pt x="146" y="88"/>
                  </a:lnTo>
                  <a:lnTo>
                    <a:pt x="146" y="88"/>
                  </a:lnTo>
                  <a:cubicBezTo>
                    <a:pt x="116" y="88"/>
                    <a:pt x="116" y="88"/>
                    <a:pt x="116" y="88"/>
                  </a:cubicBezTo>
                  <a:cubicBezTo>
                    <a:pt x="116" y="147"/>
                    <a:pt x="59" y="147"/>
                    <a:pt x="0" y="147"/>
                  </a:cubicBezTo>
                  <a:lnTo>
                    <a:pt x="0" y="147"/>
                  </a:lnTo>
                  <a:cubicBezTo>
                    <a:pt x="59" y="147"/>
                    <a:pt x="116" y="147"/>
                    <a:pt x="116" y="88"/>
                  </a:cubicBezTo>
                  <a:cubicBezTo>
                    <a:pt x="146" y="88"/>
                    <a:pt x="146" y="88"/>
                    <a:pt x="146" y="88"/>
                  </a:cubicBezTo>
                  <a:lnTo>
                    <a:pt x="146" y="88"/>
                  </a:lnTo>
                  <a:lnTo>
                    <a:pt x="146" y="88"/>
                  </a:lnTo>
                  <a:cubicBezTo>
                    <a:pt x="175" y="59"/>
                    <a:pt x="175" y="30"/>
                    <a:pt x="204" y="0"/>
                  </a:cubicBezTo>
                  <a:cubicBezTo>
                    <a:pt x="175" y="30"/>
                    <a:pt x="175" y="59"/>
                    <a:pt x="146"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5" name="Freeform 52">
              <a:extLst>
                <a:ext uri="{FF2B5EF4-FFF2-40B4-BE49-F238E27FC236}">
                  <a16:creationId xmlns:a16="http://schemas.microsoft.com/office/drawing/2014/main" id="{BB4D3400-BD82-4D92-8671-DA9608AD3E9D}"/>
                </a:ext>
              </a:extLst>
            </p:cNvPr>
            <p:cNvSpPr>
              <a:spLocks noChangeArrowheads="1"/>
            </p:cNvSpPr>
            <p:nvPr/>
          </p:nvSpPr>
          <p:spPr bwMode="auto">
            <a:xfrm>
              <a:off x="9000701" y="2247907"/>
              <a:ext cx="1631" cy="22656"/>
            </a:xfrm>
            <a:custGeom>
              <a:avLst/>
              <a:gdLst>
                <a:gd name="T0" fmla="*/ 0 w 1"/>
                <a:gd name="T1" fmla="*/ 0 h 60"/>
                <a:gd name="T2" fmla="*/ 0 w 1"/>
                <a:gd name="T3" fmla="*/ 0 h 60"/>
                <a:gd name="T4" fmla="*/ 0 w 1"/>
                <a:gd name="T5" fmla="*/ 59 h 60"/>
                <a:gd name="T6" fmla="*/ 0 w 1"/>
                <a:gd name="T7" fmla="*/ 0 h 60"/>
              </a:gdLst>
              <a:ahLst/>
              <a:cxnLst>
                <a:cxn ang="0">
                  <a:pos x="T0" y="T1"/>
                </a:cxn>
                <a:cxn ang="0">
                  <a:pos x="T2" y="T3"/>
                </a:cxn>
                <a:cxn ang="0">
                  <a:pos x="T4" y="T5"/>
                </a:cxn>
                <a:cxn ang="0">
                  <a:pos x="T6" y="T7"/>
                </a:cxn>
              </a:cxnLst>
              <a:rect l="0" t="0" r="r" b="b"/>
              <a:pathLst>
                <a:path w="1" h="60">
                  <a:moveTo>
                    <a:pt x="0" y="0"/>
                  </a:moveTo>
                  <a:lnTo>
                    <a:pt x="0" y="0"/>
                  </a:lnTo>
                  <a:cubicBezTo>
                    <a:pt x="0" y="30"/>
                    <a:pt x="0" y="30"/>
                    <a:pt x="0" y="59"/>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6" name="Freeform 53">
              <a:extLst>
                <a:ext uri="{FF2B5EF4-FFF2-40B4-BE49-F238E27FC236}">
                  <a16:creationId xmlns:a16="http://schemas.microsoft.com/office/drawing/2014/main" id="{96D33ECA-6090-4514-A9E1-5AA6902A029E}"/>
                </a:ext>
              </a:extLst>
            </p:cNvPr>
            <p:cNvSpPr>
              <a:spLocks noChangeArrowheads="1"/>
            </p:cNvSpPr>
            <p:nvPr/>
          </p:nvSpPr>
          <p:spPr bwMode="auto">
            <a:xfrm>
              <a:off x="8989286" y="2215540"/>
              <a:ext cx="11415" cy="32366"/>
            </a:xfrm>
            <a:custGeom>
              <a:avLst/>
              <a:gdLst>
                <a:gd name="T0" fmla="*/ 0 w 30"/>
                <a:gd name="T1" fmla="*/ 0 h 88"/>
                <a:gd name="T2" fmla="*/ 0 w 30"/>
                <a:gd name="T3" fmla="*/ 0 h 88"/>
                <a:gd name="T4" fmla="*/ 0 w 30"/>
                <a:gd name="T5" fmla="*/ 0 h 88"/>
                <a:gd name="T6" fmla="*/ 29 w 30"/>
                <a:gd name="T7" fmla="*/ 87 h 88"/>
                <a:gd name="T8" fmla="*/ 0 w 30"/>
                <a:gd name="T9" fmla="*/ 0 h 88"/>
              </a:gdLst>
              <a:ahLst/>
              <a:cxnLst>
                <a:cxn ang="0">
                  <a:pos x="T0" y="T1"/>
                </a:cxn>
                <a:cxn ang="0">
                  <a:pos x="T2" y="T3"/>
                </a:cxn>
                <a:cxn ang="0">
                  <a:pos x="T4" y="T5"/>
                </a:cxn>
                <a:cxn ang="0">
                  <a:pos x="T6" y="T7"/>
                </a:cxn>
                <a:cxn ang="0">
                  <a:pos x="T8" y="T9"/>
                </a:cxn>
              </a:cxnLst>
              <a:rect l="0" t="0" r="r" b="b"/>
              <a:pathLst>
                <a:path w="30" h="88">
                  <a:moveTo>
                    <a:pt x="0" y="0"/>
                  </a:moveTo>
                  <a:lnTo>
                    <a:pt x="0" y="0"/>
                  </a:lnTo>
                  <a:lnTo>
                    <a:pt x="0" y="0"/>
                  </a:lnTo>
                  <a:cubicBezTo>
                    <a:pt x="0" y="29"/>
                    <a:pt x="0" y="58"/>
                    <a:pt x="29" y="87"/>
                  </a:cubicBezTo>
                  <a:cubicBezTo>
                    <a:pt x="0" y="58"/>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7" name="Freeform 54">
              <a:extLst>
                <a:ext uri="{FF2B5EF4-FFF2-40B4-BE49-F238E27FC236}">
                  <a16:creationId xmlns:a16="http://schemas.microsoft.com/office/drawing/2014/main" id="{004A8E53-FDEB-435F-9340-DBB933208B29}"/>
                </a:ext>
              </a:extLst>
            </p:cNvPr>
            <p:cNvSpPr>
              <a:spLocks noChangeArrowheads="1"/>
            </p:cNvSpPr>
            <p:nvPr/>
          </p:nvSpPr>
          <p:spPr bwMode="auto">
            <a:xfrm>
              <a:off x="8837617" y="2259234"/>
              <a:ext cx="11416" cy="53405"/>
            </a:xfrm>
            <a:custGeom>
              <a:avLst/>
              <a:gdLst>
                <a:gd name="T0" fmla="*/ 29 w 30"/>
                <a:gd name="T1" fmla="*/ 58 h 145"/>
                <a:gd name="T2" fmla="*/ 29 w 30"/>
                <a:gd name="T3" fmla="*/ 58 h 145"/>
                <a:gd name="T4" fmla="*/ 29 w 30"/>
                <a:gd name="T5" fmla="*/ 115 h 145"/>
                <a:gd name="T6" fmla="*/ 0 w 30"/>
                <a:gd name="T7" fmla="*/ 144 h 145"/>
                <a:gd name="T8" fmla="*/ 29 w 30"/>
                <a:gd name="T9" fmla="*/ 115 h 145"/>
                <a:gd name="T10" fmla="*/ 29 w 30"/>
                <a:gd name="T11" fmla="*/ 58 h 145"/>
                <a:gd name="T12" fmla="*/ 29 w 30"/>
                <a:gd name="T13" fmla="*/ 29 h 145"/>
                <a:gd name="T14" fmla="*/ 29 w 30"/>
                <a:gd name="T15" fmla="*/ 0 h 145"/>
                <a:gd name="T16" fmla="*/ 29 w 30"/>
                <a:gd name="T17" fmla="*/ 29 h 145"/>
                <a:gd name="T18" fmla="*/ 29 w 30"/>
                <a:gd name="T19" fmla="*/ 5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45">
                  <a:moveTo>
                    <a:pt x="29" y="58"/>
                  </a:moveTo>
                  <a:lnTo>
                    <a:pt x="29" y="58"/>
                  </a:lnTo>
                  <a:cubicBezTo>
                    <a:pt x="29" y="87"/>
                    <a:pt x="29" y="115"/>
                    <a:pt x="29" y="115"/>
                  </a:cubicBezTo>
                  <a:cubicBezTo>
                    <a:pt x="29" y="144"/>
                    <a:pt x="0" y="144"/>
                    <a:pt x="0" y="144"/>
                  </a:cubicBezTo>
                  <a:cubicBezTo>
                    <a:pt x="0" y="144"/>
                    <a:pt x="29" y="144"/>
                    <a:pt x="29" y="115"/>
                  </a:cubicBezTo>
                  <a:cubicBezTo>
                    <a:pt x="29" y="115"/>
                    <a:pt x="29" y="87"/>
                    <a:pt x="29" y="58"/>
                  </a:cubicBezTo>
                  <a:lnTo>
                    <a:pt x="29" y="29"/>
                  </a:lnTo>
                  <a:lnTo>
                    <a:pt x="29" y="0"/>
                  </a:lnTo>
                  <a:lnTo>
                    <a:pt x="29" y="29"/>
                  </a:lnTo>
                  <a:lnTo>
                    <a:pt x="29"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8" name="Freeform 55">
              <a:extLst>
                <a:ext uri="{FF2B5EF4-FFF2-40B4-BE49-F238E27FC236}">
                  <a16:creationId xmlns:a16="http://schemas.microsoft.com/office/drawing/2014/main" id="{DEF0BDE0-38F4-4E68-AB4A-88DD021DA675}"/>
                </a:ext>
              </a:extLst>
            </p:cNvPr>
            <p:cNvSpPr>
              <a:spLocks noChangeArrowheads="1"/>
            </p:cNvSpPr>
            <p:nvPr/>
          </p:nvSpPr>
          <p:spPr bwMode="auto">
            <a:xfrm>
              <a:off x="8816416" y="2366043"/>
              <a:ext cx="1630" cy="22656"/>
            </a:xfrm>
            <a:custGeom>
              <a:avLst/>
              <a:gdLst>
                <a:gd name="T0" fmla="*/ 0 w 1"/>
                <a:gd name="T1" fmla="*/ 59 h 60"/>
                <a:gd name="T2" fmla="*/ 0 w 1"/>
                <a:gd name="T3" fmla="*/ 59 h 60"/>
                <a:gd name="T4" fmla="*/ 0 w 1"/>
                <a:gd name="T5" fmla="*/ 29 h 60"/>
                <a:gd name="T6" fmla="*/ 0 w 1"/>
                <a:gd name="T7" fmla="*/ 0 h 60"/>
                <a:gd name="T8" fmla="*/ 0 w 1"/>
                <a:gd name="T9" fmla="*/ 29 h 60"/>
                <a:gd name="T10" fmla="*/ 0 w 1"/>
                <a:gd name="T11" fmla="*/ 59 h 60"/>
              </a:gdLst>
              <a:ahLst/>
              <a:cxnLst>
                <a:cxn ang="0">
                  <a:pos x="T0" y="T1"/>
                </a:cxn>
                <a:cxn ang="0">
                  <a:pos x="T2" y="T3"/>
                </a:cxn>
                <a:cxn ang="0">
                  <a:pos x="T4" y="T5"/>
                </a:cxn>
                <a:cxn ang="0">
                  <a:pos x="T6" y="T7"/>
                </a:cxn>
                <a:cxn ang="0">
                  <a:pos x="T8" y="T9"/>
                </a:cxn>
                <a:cxn ang="0">
                  <a:pos x="T10" y="T11"/>
                </a:cxn>
              </a:cxnLst>
              <a:rect l="0" t="0" r="r" b="b"/>
              <a:pathLst>
                <a:path w="1" h="60">
                  <a:moveTo>
                    <a:pt x="0" y="59"/>
                  </a:moveTo>
                  <a:lnTo>
                    <a:pt x="0" y="59"/>
                  </a:lnTo>
                  <a:cubicBezTo>
                    <a:pt x="0" y="29"/>
                    <a:pt x="0" y="29"/>
                    <a:pt x="0" y="29"/>
                  </a:cubicBezTo>
                  <a:cubicBezTo>
                    <a:pt x="0" y="0"/>
                    <a:pt x="0" y="0"/>
                    <a:pt x="0" y="0"/>
                  </a:cubicBezTo>
                  <a:cubicBezTo>
                    <a:pt x="0" y="29"/>
                    <a:pt x="0" y="29"/>
                    <a:pt x="0" y="29"/>
                  </a:cubicBezTo>
                  <a:cubicBezTo>
                    <a:pt x="0" y="29"/>
                    <a:pt x="0" y="29"/>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9" name="Freeform 56">
              <a:extLst>
                <a:ext uri="{FF2B5EF4-FFF2-40B4-BE49-F238E27FC236}">
                  <a16:creationId xmlns:a16="http://schemas.microsoft.com/office/drawing/2014/main" id="{E4688C85-933F-48D2-8290-2F45C74BD3DA}"/>
                </a:ext>
              </a:extLst>
            </p:cNvPr>
            <p:cNvSpPr>
              <a:spLocks noChangeArrowheads="1"/>
            </p:cNvSpPr>
            <p:nvPr/>
          </p:nvSpPr>
          <p:spPr bwMode="auto">
            <a:xfrm>
              <a:off x="9162156" y="2045616"/>
              <a:ext cx="11415" cy="11329"/>
            </a:xfrm>
            <a:custGeom>
              <a:avLst/>
              <a:gdLst>
                <a:gd name="T0" fmla="*/ 29 w 30"/>
                <a:gd name="T1" fmla="*/ 29 h 30"/>
                <a:gd name="T2" fmla="*/ 29 w 30"/>
                <a:gd name="T3" fmla="*/ 29 h 30"/>
                <a:gd name="T4" fmla="*/ 0 w 30"/>
                <a:gd name="T5" fmla="*/ 0 h 30"/>
                <a:gd name="T6" fmla="*/ 29 w 30"/>
                <a:gd name="T7" fmla="*/ 29 h 30"/>
              </a:gdLst>
              <a:ahLst/>
              <a:cxnLst>
                <a:cxn ang="0">
                  <a:pos x="T0" y="T1"/>
                </a:cxn>
                <a:cxn ang="0">
                  <a:pos x="T2" y="T3"/>
                </a:cxn>
                <a:cxn ang="0">
                  <a:pos x="T4" y="T5"/>
                </a:cxn>
                <a:cxn ang="0">
                  <a:pos x="T6" y="T7"/>
                </a:cxn>
              </a:cxnLst>
              <a:rect l="0" t="0" r="r" b="b"/>
              <a:pathLst>
                <a:path w="30" h="30">
                  <a:moveTo>
                    <a:pt x="29" y="29"/>
                  </a:moveTo>
                  <a:lnTo>
                    <a:pt x="29" y="29"/>
                  </a:lnTo>
                  <a:cubicBezTo>
                    <a:pt x="29" y="29"/>
                    <a:pt x="29" y="0"/>
                    <a:pt x="0" y="0"/>
                  </a:cubicBezTo>
                  <a:cubicBezTo>
                    <a:pt x="29" y="0"/>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0" name="Freeform 57">
              <a:extLst>
                <a:ext uri="{FF2B5EF4-FFF2-40B4-BE49-F238E27FC236}">
                  <a16:creationId xmlns:a16="http://schemas.microsoft.com/office/drawing/2014/main" id="{6BA22CD4-10D5-4952-94C0-D7940D87A658}"/>
                </a:ext>
              </a:extLst>
            </p:cNvPr>
            <p:cNvSpPr>
              <a:spLocks noChangeArrowheads="1"/>
            </p:cNvSpPr>
            <p:nvPr/>
          </p:nvSpPr>
          <p:spPr bwMode="auto">
            <a:xfrm>
              <a:off x="10682103" y="3210806"/>
              <a:ext cx="11415" cy="11329"/>
            </a:xfrm>
            <a:custGeom>
              <a:avLst/>
              <a:gdLst>
                <a:gd name="T0" fmla="*/ 0 w 31"/>
                <a:gd name="T1" fmla="*/ 0 h 30"/>
                <a:gd name="T2" fmla="*/ 0 w 31"/>
                <a:gd name="T3" fmla="*/ 0 h 30"/>
                <a:gd name="T4" fmla="*/ 30 w 31"/>
                <a:gd name="T5" fmla="*/ 29 h 30"/>
                <a:gd name="T6" fmla="*/ 0 w 31"/>
                <a:gd name="T7" fmla="*/ 0 h 30"/>
              </a:gdLst>
              <a:ahLst/>
              <a:cxnLst>
                <a:cxn ang="0">
                  <a:pos x="T0" y="T1"/>
                </a:cxn>
                <a:cxn ang="0">
                  <a:pos x="T2" y="T3"/>
                </a:cxn>
                <a:cxn ang="0">
                  <a:pos x="T4" y="T5"/>
                </a:cxn>
                <a:cxn ang="0">
                  <a:pos x="T6" y="T7"/>
                </a:cxn>
              </a:cxnLst>
              <a:rect l="0" t="0" r="r" b="b"/>
              <a:pathLst>
                <a:path w="31" h="30">
                  <a:moveTo>
                    <a:pt x="0" y="0"/>
                  </a:moveTo>
                  <a:lnTo>
                    <a:pt x="0" y="0"/>
                  </a:lnTo>
                  <a:lnTo>
                    <a:pt x="3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1" name="Freeform 58">
              <a:extLst>
                <a:ext uri="{FF2B5EF4-FFF2-40B4-BE49-F238E27FC236}">
                  <a16:creationId xmlns:a16="http://schemas.microsoft.com/office/drawing/2014/main" id="{2A7AD5D8-FA02-4469-A8A7-C55CB5DDB096}"/>
                </a:ext>
              </a:extLst>
            </p:cNvPr>
            <p:cNvSpPr>
              <a:spLocks noChangeArrowheads="1"/>
            </p:cNvSpPr>
            <p:nvPr/>
          </p:nvSpPr>
          <p:spPr bwMode="auto">
            <a:xfrm>
              <a:off x="10628285" y="3147692"/>
              <a:ext cx="11416" cy="11328"/>
            </a:xfrm>
            <a:custGeom>
              <a:avLst/>
              <a:gdLst>
                <a:gd name="T0" fmla="*/ 29 w 30"/>
                <a:gd name="T1" fmla="*/ 30 h 31"/>
                <a:gd name="T2" fmla="*/ 29 w 30"/>
                <a:gd name="T3" fmla="*/ 30 h 31"/>
                <a:gd name="T4" fmla="*/ 0 w 30"/>
                <a:gd name="T5" fmla="*/ 0 h 31"/>
                <a:gd name="T6" fmla="*/ 29 w 30"/>
                <a:gd name="T7" fmla="*/ 30 h 31"/>
              </a:gdLst>
              <a:ahLst/>
              <a:cxnLst>
                <a:cxn ang="0">
                  <a:pos x="T0" y="T1"/>
                </a:cxn>
                <a:cxn ang="0">
                  <a:pos x="T2" y="T3"/>
                </a:cxn>
                <a:cxn ang="0">
                  <a:pos x="T4" y="T5"/>
                </a:cxn>
                <a:cxn ang="0">
                  <a:pos x="T6" y="T7"/>
                </a:cxn>
              </a:cxnLst>
              <a:rect l="0" t="0" r="r" b="b"/>
              <a:pathLst>
                <a:path w="30" h="31">
                  <a:moveTo>
                    <a:pt x="29" y="30"/>
                  </a:moveTo>
                  <a:lnTo>
                    <a:pt x="29" y="30"/>
                  </a:lnTo>
                  <a:lnTo>
                    <a:pt x="0" y="0"/>
                  </a:lnTo>
                  <a:lnTo>
                    <a:pt x="29"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2" name="Freeform 59">
              <a:extLst>
                <a:ext uri="{FF2B5EF4-FFF2-40B4-BE49-F238E27FC236}">
                  <a16:creationId xmlns:a16="http://schemas.microsoft.com/office/drawing/2014/main" id="{0D4ED5F3-BAB9-402F-BA54-351A8EF67594}"/>
                </a:ext>
              </a:extLst>
            </p:cNvPr>
            <p:cNvSpPr>
              <a:spLocks noChangeArrowheads="1"/>
            </p:cNvSpPr>
            <p:nvPr/>
          </p:nvSpPr>
          <p:spPr bwMode="auto">
            <a:xfrm>
              <a:off x="10639701" y="3157402"/>
              <a:ext cx="11415" cy="1618"/>
            </a:xfrm>
            <a:custGeom>
              <a:avLst/>
              <a:gdLst>
                <a:gd name="T0" fmla="*/ 0 w 31"/>
                <a:gd name="T1" fmla="*/ 0 h 1"/>
                <a:gd name="T2" fmla="*/ 0 w 31"/>
                <a:gd name="T3" fmla="*/ 0 h 1"/>
                <a:gd name="T4" fmla="*/ 30 w 31"/>
                <a:gd name="T5" fmla="*/ 0 h 1"/>
                <a:gd name="T6" fmla="*/ 30 w 31"/>
                <a:gd name="T7" fmla="*/ 0 h 1"/>
                <a:gd name="T8" fmla="*/ 0 w 31"/>
                <a:gd name="T9" fmla="*/ 0 h 1"/>
              </a:gdLst>
              <a:ahLst/>
              <a:cxnLst>
                <a:cxn ang="0">
                  <a:pos x="T0" y="T1"/>
                </a:cxn>
                <a:cxn ang="0">
                  <a:pos x="T2" y="T3"/>
                </a:cxn>
                <a:cxn ang="0">
                  <a:pos x="T4" y="T5"/>
                </a:cxn>
                <a:cxn ang="0">
                  <a:pos x="T6" y="T7"/>
                </a:cxn>
                <a:cxn ang="0">
                  <a:pos x="T8" y="T9"/>
                </a:cxn>
              </a:cxnLst>
              <a:rect l="0" t="0" r="r" b="b"/>
              <a:pathLst>
                <a:path w="31" h="1">
                  <a:moveTo>
                    <a:pt x="0" y="0"/>
                  </a:moveTo>
                  <a:lnTo>
                    <a:pt x="0" y="0"/>
                  </a:lnTo>
                  <a:cubicBezTo>
                    <a:pt x="30" y="0"/>
                    <a:pt x="30" y="0"/>
                    <a:pt x="30" y="0"/>
                  </a:cubicBezTo>
                  <a:lnTo>
                    <a:pt x="30" y="0"/>
                  </a:ln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3" name="Freeform 60">
              <a:extLst>
                <a:ext uri="{FF2B5EF4-FFF2-40B4-BE49-F238E27FC236}">
                  <a16:creationId xmlns:a16="http://schemas.microsoft.com/office/drawing/2014/main" id="{29411E65-1547-4D4C-9FBC-6FDA56049508}"/>
                </a:ext>
              </a:extLst>
            </p:cNvPr>
            <p:cNvSpPr>
              <a:spLocks noChangeArrowheads="1"/>
            </p:cNvSpPr>
            <p:nvPr/>
          </p:nvSpPr>
          <p:spPr bwMode="auto">
            <a:xfrm>
              <a:off x="10628285" y="2964822"/>
              <a:ext cx="11416" cy="22656"/>
            </a:xfrm>
            <a:custGeom>
              <a:avLst/>
              <a:gdLst>
                <a:gd name="T0" fmla="*/ 29 w 30"/>
                <a:gd name="T1" fmla="*/ 0 h 60"/>
                <a:gd name="T2" fmla="*/ 29 w 30"/>
                <a:gd name="T3" fmla="*/ 0 h 60"/>
                <a:gd name="T4" fmla="*/ 29 w 30"/>
                <a:gd name="T5" fmla="*/ 0 h 60"/>
                <a:gd name="T6" fmla="*/ 29 w 30"/>
                <a:gd name="T7" fmla="*/ 0 h 60"/>
                <a:gd name="T8" fmla="*/ 0 w 30"/>
                <a:gd name="T9" fmla="*/ 29 h 60"/>
                <a:gd name="T10" fmla="*/ 0 w 30"/>
                <a:gd name="T11" fmla="*/ 59 h 60"/>
                <a:gd name="T12" fmla="*/ 29 w 30"/>
                <a:gd name="T13" fmla="*/ 59 h 60"/>
                <a:gd name="T14" fmla="*/ 0 w 30"/>
                <a:gd name="T15" fmla="*/ 59 h 60"/>
                <a:gd name="T16" fmla="*/ 0 w 30"/>
                <a:gd name="T17" fmla="*/ 29 h 60"/>
                <a:gd name="T18" fmla="*/ 29 w 30"/>
                <a:gd name="T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0">
                  <a:moveTo>
                    <a:pt x="29" y="0"/>
                  </a:moveTo>
                  <a:lnTo>
                    <a:pt x="29" y="0"/>
                  </a:lnTo>
                  <a:lnTo>
                    <a:pt x="29" y="0"/>
                  </a:lnTo>
                  <a:lnTo>
                    <a:pt x="29" y="0"/>
                  </a:lnTo>
                  <a:cubicBezTo>
                    <a:pt x="29" y="29"/>
                    <a:pt x="29" y="29"/>
                    <a:pt x="0" y="29"/>
                  </a:cubicBezTo>
                  <a:cubicBezTo>
                    <a:pt x="0" y="59"/>
                    <a:pt x="0" y="59"/>
                    <a:pt x="0" y="59"/>
                  </a:cubicBezTo>
                  <a:cubicBezTo>
                    <a:pt x="29" y="59"/>
                    <a:pt x="29" y="59"/>
                    <a:pt x="29" y="59"/>
                  </a:cubicBezTo>
                  <a:cubicBezTo>
                    <a:pt x="0" y="59"/>
                    <a:pt x="0" y="59"/>
                    <a:pt x="0" y="59"/>
                  </a:cubicBezTo>
                  <a:cubicBezTo>
                    <a:pt x="0" y="29"/>
                    <a:pt x="0" y="29"/>
                    <a:pt x="0" y="29"/>
                  </a:cubicBezTo>
                  <a:cubicBezTo>
                    <a:pt x="29"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4" name="Freeform 61">
              <a:extLst>
                <a:ext uri="{FF2B5EF4-FFF2-40B4-BE49-F238E27FC236}">
                  <a16:creationId xmlns:a16="http://schemas.microsoft.com/office/drawing/2014/main" id="{C9058DAC-590A-4B2F-ACD7-53058FCE1492}"/>
                </a:ext>
              </a:extLst>
            </p:cNvPr>
            <p:cNvSpPr>
              <a:spLocks noChangeArrowheads="1"/>
            </p:cNvSpPr>
            <p:nvPr/>
          </p:nvSpPr>
          <p:spPr bwMode="auto">
            <a:xfrm>
              <a:off x="10618500" y="2976151"/>
              <a:ext cx="21202" cy="22656"/>
            </a:xfrm>
            <a:custGeom>
              <a:avLst/>
              <a:gdLst>
                <a:gd name="T0" fmla="*/ 0 w 59"/>
                <a:gd name="T1" fmla="*/ 59 h 60"/>
                <a:gd name="T2" fmla="*/ 0 w 59"/>
                <a:gd name="T3" fmla="*/ 59 h 60"/>
                <a:gd name="T4" fmla="*/ 0 w 59"/>
                <a:gd name="T5" fmla="*/ 30 h 60"/>
                <a:gd name="T6" fmla="*/ 0 w 59"/>
                <a:gd name="T7" fmla="*/ 0 h 60"/>
                <a:gd name="T8" fmla="*/ 0 w 59"/>
                <a:gd name="T9" fmla="*/ 0 h 60"/>
                <a:gd name="T10" fmla="*/ 0 w 59"/>
                <a:gd name="T11" fmla="*/ 0 h 60"/>
                <a:gd name="T12" fmla="*/ 0 w 59"/>
                <a:gd name="T13" fmla="*/ 0 h 60"/>
                <a:gd name="T14" fmla="*/ 0 w 59"/>
                <a:gd name="T15" fmla="*/ 30 h 60"/>
                <a:gd name="T16" fmla="*/ 0 w 59"/>
                <a:gd name="T17" fmla="*/ 59 h 60"/>
                <a:gd name="T18" fmla="*/ 58 w 59"/>
                <a:gd name="T19" fmla="*/ 59 h 60"/>
                <a:gd name="T20" fmla="*/ 58 w 59"/>
                <a:gd name="T21" fmla="*/ 30 h 60"/>
                <a:gd name="T22" fmla="*/ 58 w 59"/>
                <a:gd name="T23" fmla="*/ 59 h 60"/>
                <a:gd name="T24" fmla="*/ 0 w 59"/>
                <a:gd name="T25"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0" y="59"/>
                  </a:moveTo>
                  <a:lnTo>
                    <a:pt x="0" y="59"/>
                  </a:lnTo>
                  <a:cubicBezTo>
                    <a:pt x="0" y="30"/>
                    <a:pt x="0" y="30"/>
                    <a:pt x="0" y="30"/>
                  </a:cubicBezTo>
                  <a:lnTo>
                    <a:pt x="0" y="0"/>
                  </a:lnTo>
                  <a:lnTo>
                    <a:pt x="0" y="0"/>
                  </a:lnTo>
                  <a:lnTo>
                    <a:pt x="0" y="0"/>
                  </a:lnTo>
                  <a:lnTo>
                    <a:pt x="0" y="0"/>
                  </a:lnTo>
                  <a:lnTo>
                    <a:pt x="0" y="30"/>
                  </a:lnTo>
                  <a:cubicBezTo>
                    <a:pt x="0" y="59"/>
                    <a:pt x="0" y="59"/>
                    <a:pt x="0" y="59"/>
                  </a:cubicBezTo>
                  <a:cubicBezTo>
                    <a:pt x="58" y="59"/>
                    <a:pt x="58" y="59"/>
                    <a:pt x="58" y="59"/>
                  </a:cubicBezTo>
                  <a:lnTo>
                    <a:pt x="58" y="30"/>
                  </a:lnTo>
                  <a:lnTo>
                    <a:pt x="58" y="59"/>
                  </a:lnTo>
                  <a:lnTo>
                    <a:pt x="0" y="5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5" name="Freeform 62">
              <a:extLst>
                <a:ext uri="{FF2B5EF4-FFF2-40B4-BE49-F238E27FC236}">
                  <a16:creationId xmlns:a16="http://schemas.microsoft.com/office/drawing/2014/main" id="{DA45DA36-B4F7-4FBA-93EF-DF2E0898F904}"/>
                </a:ext>
              </a:extLst>
            </p:cNvPr>
            <p:cNvSpPr>
              <a:spLocks noChangeArrowheads="1"/>
            </p:cNvSpPr>
            <p:nvPr/>
          </p:nvSpPr>
          <p:spPr bwMode="auto">
            <a:xfrm>
              <a:off x="10908790" y="1776975"/>
              <a:ext cx="215272" cy="461222"/>
            </a:xfrm>
            <a:custGeom>
              <a:avLst/>
              <a:gdLst>
                <a:gd name="T0" fmla="*/ 87 w 584"/>
                <a:gd name="T1" fmla="*/ 146 h 1255"/>
                <a:gd name="T2" fmla="*/ 87 w 584"/>
                <a:gd name="T3" fmla="*/ 146 h 1255"/>
                <a:gd name="T4" fmla="*/ 87 w 584"/>
                <a:gd name="T5" fmla="*/ 146 h 1255"/>
                <a:gd name="T6" fmla="*/ 87 w 584"/>
                <a:gd name="T7" fmla="*/ 175 h 1255"/>
                <a:gd name="T8" fmla="*/ 87 w 584"/>
                <a:gd name="T9" fmla="*/ 233 h 1255"/>
                <a:gd name="T10" fmla="*/ 87 w 584"/>
                <a:gd name="T11" fmla="*/ 263 h 1255"/>
                <a:gd name="T12" fmla="*/ 117 w 584"/>
                <a:gd name="T13" fmla="*/ 292 h 1255"/>
                <a:gd name="T14" fmla="*/ 117 w 584"/>
                <a:gd name="T15" fmla="*/ 321 h 1255"/>
                <a:gd name="T16" fmla="*/ 29 w 584"/>
                <a:gd name="T17" fmla="*/ 525 h 1255"/>
                <a:gd name="T18" fmla="*/ 29 w 584"/>
                <a:gd name="T19" fmla="*/ 554 h 1255"/>
                <a:gd name="T20" fmla="*/ 29 w 584"/>
                <a:gd name="T21" fmla="*/ 613 h 1255"/>
                <a:gd name="T22" fmla="*/ 29 w 584"/>
                <a:gd name="T23" fmla="*/ 787 h 1255"/>
                <a:gd name="T24" fmla="*/ 0 w 584"/>
                <a:gd name="T25" fmla="*/ 846 h 1255"/>
                <a:gd name="T26" fmla="*/ 0 w 584"/>
                <a:gd name="T27" fmla="*/ 963 h 1255"/>
                <a:gd name="T28" fmla="*/ 29 w 584"/>
                <a:gd name="T29" fmla="*/ 1021 h 1255"/>
                <a:gd name="T30" fmla="*/ 29 w 584"/>
                <a:gd name="T31" fmla="*/ 1079 h 1255"/>
                <a:gd name="T32" fmla="*/ 58 w 584"/>
                <a:gd name="T33" fmla="*/ 1137 h 1255"/>
                <a:gd name="T34" fmla="*/ 29 w 584"/>
                <a:gd name="T35" fmla="*/ 1196 h 1255"/>
                <a:gd name="T36" fmla="*/ 29 w 584"/>
                <a:gd name="T37" fmla="*/ 1254 h 1255"/>
                <a:gd name="T38" fmla="*/ 437 w 584"/>
                <a:gd name="T39" fmla="*/ 1166 h 1255"/>
                <a:gd name="T40" fmla="*/ 437 w 584"/>
                <a:gd name="T41" fmla="*/ 1137 h 1255"/>
                <a:gd name="T42" fmla="*/ 467 w 584"/>
                <a:gd name="T43" fmla="*/ 1108 h 1255"/>
                <a:gd name="T44" fmla="*/ 467 w 584"/>
                <a:gd name="T45" fmla="*/ 1108 h 1255"/>
                <a:gd name="T46" fmla="*/ 467 w 584"/>
                <a:gd name="T47" fmla="*/ 1108 h 1255"/>
                <a:gd name="T48" fmla="*/ 524 w 584"/>
                <a:gd name="T49" fmla="*/ 1079 h 1255"/>
                <a:gd name="T50" fmla="*/ 553 w 584"/>
                <a:gd name="T51" fmla="*/ 1050 h 1255"/>
                <a:gd name="T52" fmla="*/ 553 w 584"/>
                <a:gd name="T53" fmla="*/ 1050 h 1255"/>
                <a:gd name="T54" fmla="*/ 583 w 584"/>
                <a:gd name="T55" fmla="*/ 1050 h 1255"/>
                <a:gd name="T56" fmla="*/ 583 w 584"/>
                <a:gd name="T57" fmla="*/ 1050 h 1255"/>
                <a:gd name="T58" fmla="*/ 553 w 584"/>
                <a:gd name="T59" fmla="*/ 1050 h 1255"/>
                <a:gd name="T60" fmla="*/ 553 w 584"/>
                <a:gd name="T61" fmla="*/ 1021 h 1255"/>
                <a:gd name="T62" fmla="*/ 408 w 584"/>
                <a:gd name="T63" fmla="*/ 671 h 1255"/>
                <a:gd name="T64" fmla="*/ 146 w 584"/>
                <a:gd name="T65" fmla="*/ 0 h 1255"/>
                <a:gd name="T66" fmla="*/ 117 w 584"/>
                <a:gd name="T67" fmla="*/ 0 h 1255"/>
                <a:gd name="T68" fmla="*/ 87 w 584"/>
                <a:gd name="T69" fmla="*/ 0 h 1255"/>
                <a:gd name="T70" fmla="*/ 87 w 584"/>
                <a:gd name="T71" fmla="*/ 29 h 1255"/>
                <a:gd name="T72" fmla="*/ 87 w 584"/>
                <a:gd name="T73" fmla="*/ 58 h 1255"/>
                <a:gd name="T74" fmla="*/ 87 w 584"/>
                <a:gd name="T75" fmla="*/ 87 h 1255"/>
                <a:gd name="T76" fmla="*/ 87 w 584"/>
                <a:gd name="T77" fmla="*/ 146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4" h="1255">
                  <a:moveTo>
                    <a:pt x="87" y="146"/>
                  </a:moveTo>
                  <a:lnTo>
                    <a:pt x="87" y="146"/>
                  </a:lnTo>
                  <a:lnTo>
                    <a:pt x="87" y="146"/>
                  </a:lnTo>
                  <a:cubicBezTo>
                    <a:pt x="87" y="175"/>
                    <a:pt x="87" y="175"/>
                    <a:pt x="87" y="175"/>
                  </a:cubicBezTo>
                  <a:cubicBezTo>
                    <a:pt x="87" y="204"/>
                    <a:pt x="87" y="204"/>
                    <a:pt x="87" y="233"/>
                  </a:cubicBezTo>
                  <a:lnTo>
                    <a:pt x="87" y="263"/>
                  </a:lnTo>
                  <a:cubicBezTo>
                    <a:pt x="87" y="263"/>
                    <a:pt x="87" y="263"/>
                    <a:pt x="117" y="292"/>
                  </a:cubicBezTo>
                  <a:lnTo>
                    <a:pt x="117" y="321"/>
                  </a:lnTo>
                  <a:cubicBezTo>
                    <a:pt x="146" y="408"/>
                    <a:pt x="87" y="466"/>
                    <a:pt x="29" y="525"/>
                  </a:cubicBezTo>
                  <a:lnTo>
                    <a:pt x="29" y="554"/>
                  </a:lnTo>
                  <a:cubicBezTo>
                    <a:pt x="29" y="583"/>
                    <a:pt x="29" y="583"/>
                    <a:pt x="29" y="613"/>
                  </a:cubicBezTo>
                  <a:cubicBezTo>
                    <a:pt x="29" y="671"/>
                    <a:pt x="29" y="729"/>
                    <a:pt x="29" y="787"/>
                  </a:cubicBezTo>
                  <a:cubicBezTo>
                    <a:pt x="29" y="816"/>
                    <a:pt x="0" y="816"/>
                    <a:pt x="0" y="846"/>
                  </a:cubicBezTo>
                  <a:cubicBezTo>
                    <a:pt x="0" y="875"/>
                    <a:pt x="0" y="933"/>
                    <a:pt x="0" y="963"/>
                  </a:cubicBezTo>
                  <a:cubicBezTo>
                    <a:pt x="29" y="992"/>
                    <a:pt x="29" y="1021"/>
                    <a:pt x="29" y="1021"/>
                  </a:cubicBezTo>
                  <a:cubicBezTo>
                    <a:pt x="29" y="1050"/>
                    <a:pt x="29" y="1079"/>
                    <a:pt x="29" y="1079"/>
                  </a:cubicBezTo>
                  <a:cubicBezTo>
                    <a:pt x="29" y="1108"/>
                    <a:pt x="29" y="1108"/>
                    <a:pt x="58" y="1137"/>
                  </a:cubicBezTo>
                  <a:cubicBezTo>
                    <a:pt x="58" y="1166"/>
                    <a:pt x="58" y="1166"/>
                    <a:pt x="29" y="1196"/>
                  </a:cubicBezTo>
                  <a:cubicBezTo>
                    <a:pt x="29" y="1225"/>
                    <a:pt x="29" y="1225"/>
                    <a:pt x="29" y="1254"/>
                  </a:cubicBezTo>
                  <a:cubicBezTo>
                    <a:pt x="174" y="1225"/>
                    <a:pt x="320" y="1196"/>
                    <a:pt x="437" y="1166"/>
                  </a:cubicBezTo>
                  <a:cubicBezTo>
                    <a:pt x="437" y="1166"/>
                    <a:pt x="437" y="1166"/>
                    <a:pt x="437" y="1137"/>
                  </a:cubicBezTo>
                  <a:cubicBezTo>
                    <a:pt x="437" y="1137"/>
                    <a:pt x="437" y="1108"/>
                    <a:pt x="467" y="1108"/>
                  </a:cubicBezTo>
                  <a:lnTo>
                    <a:pt x="467" y="1108"/>
                  </a:lnTo>
                  <a:lnTo>
                    <a:pt x="467" y="1108"/>
                  </a:lnTo>
                  <a:cubicBezTo>
                    <a:pt x="496" y="1108"/>
                    <a:pt x="496" y="1108"/>
                    <a:pt x="524" y="1079"/>
                  </a:cubicBezTo>
                  <a:cubicBezTo>
                    <a:pt x="524" y="1079"/>
                    <a:pt x="524" y="1050"/>
                    <a:pt x="553" y="1050"/>
                  </a:cubicBezTo>
                  <a:lnTo>
                    <a:pt x="553" y="1050"/>
                  </a:lnTo>
                  <a:cubicBezTo>
                    <a:pt x="583" y="1050"/>
                    <a:pt x="583" y="1050"/>
                    <a:pt x="583" y="1050"/>
                  </a:cubicBezTo>
                  <a:lnTo>
                    <a:pt x="583" y="1050"/>
                  </a:lnTo>
                  <a:lnTo>
                    <a:pt x="553" y="1050"/>
                  </a:lnTo>
                  <a:cubicBezTo>
                    <a:pt x="553" y="1021"/>
                    <a:pt x="553" y="1021"/>
                    <a:pt x="553" y="1021"/>
                  </a:cubicBezTo>
                  <a:cubicBezTo>
                    <a:pt x="496" y="904"/>
                    <a:pt x="467" y="787"/>
                    <a:pt x="408" y="671"/>
                  </a:cubicBezTo>
                  <a:cubicBezTo>
                    <a:pt x="320" y="437"/>
                    <a:pt x="233" y="204"/>
                    <a:pt x="146" y="0"/>
                  </a:cubicBezTo>
                  <a:lnTo>
                    <a:pt x="117" y="0"/>
                  </a:lnTo>
                  <a:cubicBezTo>
                    <a:pt x="117" y="0"/>
                    <a:pt x="117" y="0"/>
                    <a:pt x="87" y="0"/>
                  </a:cubicBezTo>
                  <a:cubicBezTo>
                    <a:pt x="87" y="0"/>
                    <a:pt x="87" y="0"/>
                    <a:pt x="87" y="29"/>
                  </a:cubicBezTo>
                  <a:cubicBezTo>
                    <a:pt x="87" y="29"/>
                    <a:pt x="87" y="29"/>
                    <a:pt x="87" y="58"/>
                  </a:cubicBezTo>
                  <a:lnTo>
                    <a:pt x="87" y="87"/>
                  </a:lnTo>
                  <a:cubicBezTo>
                    <a:pt x="87" y="116"/>
                    <a:pt x="87" y="116"/>
                    <a:pt x="87"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6" name="Freeform 63">
              <a:extLst>
                <a:ext uri="{FF2B5EF4-FFF2-40B4-BE49-F238E27FC236}">
                  <a16:creationId xmlns:a16="http://schemas.microsoft.com/office/drawing/2014/main" id="{2F11D5A1-4571-4C1F-9BCB-BEC46E2D58F2}"/>
                </a:ext>
              </a:extLst>
            </p:cNvPr>
            <p:cNvSpPr>
              <a:spLocks noChangeArrowheads="1"/>
            </p:cNvSpPr>
            <p:nvPr/>
          </p:nvSpPr>
          <p:spPr bwMode="auto">
            <a:xfrm>
              <a:off x="10714720" y="3639662"/>
              <a:ext cx="11415" cy="21038"/>
            </a:xfrm>
            <a:custGeom>
              <a:avLst/>
              <a:gdLst>
                <a:gd name="T0" fmla="*/ 28 w 29"/>
                <a:gd name="T1" fmla="*/ 58 h 59"/>
                <a:gd name="T2" fmla="*/ 28 w 29"/>
                <a:gd name="T3" fmla="*/ 58 h 59"/>
                <a:gd name="T4" fmla="*/ 0 w 29"/>
                <a:gd name="T5" fmla="*/ 29 h 59"/>
                <a:gd name="T6" fmla="*/ 0 w 29"/>
                <a:gd name="T7" fmla="*/ 0 h 59"/>
                <a:gd name="T8" fmla="*/ 0 w 29"/>
                <a:gd name="T9" fmla="*/ 0 h 59"/>
                <a:gd name="T10" fmla="*/ 0 w 29"/>
                <a:gd name="T11" fmla="*/ 29 h 59"/>
                <a:gd name="T12" fmla="*/ 28 w 29"/>
                <a:gd name="T13" fmla="*/ 58 h 59"/>
              </a:gdLst>
              <a:ahLst/>
              <a:cxnLst>
                <a:cxn ang="0">
                  <a:pos x="T0" y="T1"/>
                </a:cxn>
                <a:cxn ang="0">
                  <a:pos x="T2" y="T3"/>
                </a:cxn>
                <a:cxn ang="0">
                  <a:pos x="T4" y="T5"/>
                </a:cxn>
                <a:cxn ang="0">
                  <a:pos x="T6" y="T7"/>
                </a:cxn>
                <a:cxn ang="0">
                  <a:pos x="T8" y="T9"/>
                </a:cxn>
                <a:cxn ang="0">
                  <a:pos x="T10" y="T11"/>
                </a:cxn>
                <a:cxn ang="0">
                  <a:pos x="T12" y="T13"/>
                </a:cxn>
              </a:cxnLst>
              <a:rect l="0" t="0" r="r" b="b"/>
              <a:pathLst>
                <a:path w="29" h="59">
                  <a:moveTo>
                    <a:pt x="28" y="58"/>
                  </a:moveTo>
                  <a:lnTo>
                    <a:pt x="28" y="58"/>
                  </a:lnTo>
                  <a:cubicBezTo>
                    <a:pt x="28" y="58"/>
                    <a:pt x="28" y="58"/>
                    <a:pt x="0" y="29"/>
                  </a:cubicBezTo>
                  <a:cubicBezTo>
                    <a:pt x="0" y="29"/>
                    <a:pt x="0" y="29"/>
                    <a:pt x="0" y="0"/>
                  </a:cubicBezTo>
                  <a:lnTo>
                    <a:pt x="0" y="0"/>
                  </a:lnTo>
                  <a:cubicBezTo>
                    <a:pt x="0" y="29"/>
                    <a:pt x="0" y="29"/>
                    <a:pt x="0" y="29"/>
                  </a:cubicBezTo>
                  <a:cubicBezTo>
                    <a:pt x="28" y="58"/>
                    <a:pt x="28" y="58"/>
                    <a:pt x="2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7" name="Freeform 64">
              <a:extLst>
                <a:ext uri="{FF2B5EF4-FFF2-40B4-BE49-F238E27FC236}">
                  <a16:creationId xmlns:a16="http://schemas.microsoft.com/office/drawing/2014/main" id="{E5295C2B-0BEC-429B-AE52-67BFF672E054}"/>
                </a:ext>
              </a:extLst>
            </p:cNvPr>
            <p:cNvSpPr>
              <a:spLocks noChangeArrowheads="1"/>
            </p:cNvSpPr>
            <p:nvPr/>
          </p:nvSpPr>
          <p:spPr bwMode="auto">
            <a:xfrm>
              <a:off x="7911297" y="3767509"/>
              <a:ext cx="733880" cy="642474"/>
            </a:xfrm>
            <a:custGeom>
              <a:avLst/>
              <a:gdLst>
                <a:gd name="T0" fmla="*/ 1982 w 1983"/>
                <a:gd name="T1" fmla="*/ 233 h 1751"/>
                <a:gd name="T2" fmla="*/ 1982 w 1983"/>
                <a:gd name="T3" fmla="*/ 233 h 1751"/>
                <a:gd name="T4" fmla="*/ 1982 w 1983"/>
                <a:gd name="T5" fmla="*/ 174 h 1751"/>
                <a:gd name="T6" fmla="*/ 1865 w 1983"/>
                <a:gd name="T7" fmla="*/ 174 h 1751"/>
                <a:gd name="T8" fmla="*/ 1836 w 1983"/>
                <a:gd name="T9" fmla="*/ 174 h 1751"/>
                <a:gd name="T10" fmla="*/ 1807 w 1983"/>
                <a:gd name="T11" fmla="*/ 174 h 1751"/>
                <a:gd name="T12" fmla="*/ 1778 w 1983"/>
                <a:gd name="T13" fmla="*/ 116 h 1751"/>
                <a:gd name="T14" fmla="*/ 1778 w 1983"/>
                <a:gd name="T15" fmla="*/ 58 h 1751"/>
                <a:gd name="T16" fmla="*/ 1749 w 1983"/>
                <a:gd name="T17" fmla="*/ 0 h 1751"/>
                <a:gd name="T18" fmla="*/ 1749 w 1983"/>
                <a:gd name="T19" fmla="*/ 0 h 1751"/>
                <a:gd name="T20" fmla="*/ 1136 w 1983"/>
                <a:gd name="T21" fmla="*/ 29 h 1751"/>
                <a:gd name="T22" fmla="*/ 0 w 1983"/>
                <a:gd name="T23" fmla="*/ 58 h 1751"/>
                <a:gd name="T24" fmla="*/ 59 w 1983"/>
                <a:gd name="T25" fmla="*/ 1458 h 1751"/>
                <a:gd name="T26" fmla="*/ 116 w 1983"/>
                <a:gd name="T27" fmla="*/ 1458 h 1751"/>
                <a:gd name="T28" fmla="*/ 175 w 1983"/>
                <a:gd name="T29" fmla="*/ 1487 h 1751"/>
                <a:gd name="T30" fmla="*/ 204 w 1983"/>
                <a:gd name="T31" fmla="*/ 1487 h 1751"/>
                <a:gd name="T32" fmla="*/ 204 w 1983"/>
                <a:gd name="T33" fmla="*/ 1750 h 1751"/>
                <a:gd name="T34" fmla="*/ 261 w 1983"/>
                <a:gd name="T35" fmla="*/ 1750 h 1751"/>
                <a:gd name="T36" fmla="*/ 1020 w 1983"/>
                <a:gd name="T37" fmla="*/ 1750 h 1751"/>
                <a:gd name="T38" fmla="*/ 1457 w 1983"/>
                <a:gd name="T39" fmla="*/ 1750 h 1751"/>
                <a:gd name="T40" fmla="*/ 1457 w 1983"/>
                <a:gd name="T41" fmla="*/ 1691 h 1751"/>
                <a:gd name="T42" fmla="*/ 1457 w 1983"/>
                <a:gd name="T43" fmla="*/ 1691 h 1751"/>
                <a:gd name="T44" fmla="*/ 1515 w 1983"/>
                <a:gd name="T45" fmla="*/ 1604 h 1751"/>
                <a:gd name="T46" fmla="*/ 1486 w 1983"/>
                <a:gd name="T47" fmla="*/ 1516 h 1751"/>
                <a:gd name="T48" fmla="*/ 1515 w 1983"/>
                <a:gd name="T49" fmla="*/ 1487 h 1751"/>
                <a:gd name="T50" fmla="*/ 1486 w 1983"/>
                <a:gd name="T51" fmla="*/ 1487 h 1751"/>
                <a:gd name="T52" fmla="*/ 1457 w 1983"/>
                <a:gd name="T53" fmla="*/ 1429 h 1751"/>
                <a:gd name="T54" fmla="*/ 1574 w 1983"/>
                <a:gd name="T55" fmla="*/ 1108 h 1751"/>
                <a:gd name="T56" fmla="*/ 1603 w 1983"/>
                <a:gd name="T57" fmla="*/ 1079 h 1751"/>
                <a:gd name="T58" fmla="*/ 1691 w 1983"/>
                <a:gd name="T59" fmla="*/ 933 h 1751"/>
                <a:gd name="T60" fmla="*/ 1720 w 1983"/>
                <a:gd name="T61" fmla="*/ 845 h 1751"/>
                <a:gd name="T62" fmla="*/ 1720 w 1983"/>
                <a:gd name="T63" fmla="*/ 845 h 1751"/>
                <a:gd name="T64" fmla="*/ 1720 w 1983"/>
                <a:gd name="T65" fmla="*/ 816 h 1751"/>
                <a:gd name="T66" fmla="*/ 1720 w 1983"/>
                <a:gd name="T67" fmla="*/ 816 h 1751"/>
                <a:gd name="T68" fmla="*/ 1720 w 1983"/>
                <a:gd name="T69" fmla="*/ 788 h 1751"/>
                <a:gd name="T70" fmla="*/ 1749 w 1983"/>
                <a:gd name="T71" fmla="*/ 758 h 1751"/>
                <a:gd name="T72" fmla="*/ 1778 w 1983"/>
                <a:gd name="T73" fmla="*/ 700 h 1751"/>
                <a:gd name="T74" fmla="*/ 1778 w 1983"/>
                <a:gd name="T75" fmla="*/ 671 h 1751"/>
                <a:gd name="T76" fmla="*/ 1778 w 1983"/>
                <a:gd name="T77" fmla="*/ 671 h 1751"/>
                <a:gd name="T78" fmla="*/ 1807 w 1983"/>
                <a:gd name="T79" fmla="*/ 671 h 1751"/>
                <a:gd name="T80" fmla="*/ 1836 w 1983"/>
                <a:gd name="T81" fmla="*/ 641 h 1751"/>
                <a:gd name="T82" fmla="*/ 1836 w 1983"/>
                <a:gd name="T83" fmla="*/ 612 h 1751"/>
                <a:gd name="T84" fmla="*/ 1836 w 1983"/>
                <a:gd name="T85" fmla="*/ 554 h 1751"/>
                <a:gd name="T86" fmla="*/ 1894 w 1983"/>
                <a:gd name="T87" fmla="*/ 466 h 1751"/>
                <a:gd name="T88" fmla="*/ 1924 w 1983"/>
                <a:gd name="T89" fmla="*/ 379 h 1751"/>
                <a:gd name="T90" fmla="*/ 1924 w 1983"/>
                <a:gd name="T91" fmla="*/ 379 h 1751"/>
                <a:gd name="T92" fmla="*/ 1953 w 1983"/>
                <a:gd name="T93" fmla="*/ 379 h 1751"/>
                <a:gd name="T94" fmla="*/ 1953 w 1983"/>
                <a:gd name="T95" fmla="*/ 321 h 1751"/>
                <a:gd name="T96" fmla="*/ 1953 w 1983"/>
                <a:gd name="T97" fmla="*/ 321 h 1751"/>
                <a:gd name="T98" fmla="*/ 1953 w 1983"/>
                <a:gd name="T99" fmla="*/ 291 h 1751"/>
                <a:gd name="T100" fmla="*/ 1982 w 1983"/>
                <a:gd name="T101" fmla="*/ 233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83" h="1751">
                  <a:moveTo>
                    <a:pt x="1982" y="233"/>
                  </a:moveTo>
                  <a:lnTo>
                    <a:pt x="1982" y="233"/>
                  </a:lnTo>
                  <a:cubicBezTo>
                    <a:pt x="1982" y="204"/>
                    <a:pt x="1982" y="204"/>
                    <a:pt x="1982" y="174"/>
                  </a:cubicBezTo>
                  <a:cubicBezTo>
                    <a:pt x="1953" y="174"/>
                    <a:pt x="1924" y="174"/>
                    <a:pt x="1865" y="174"/>
                  </a:cubicBezTo>
                  <a:cubicBezTo>
                    <a:pt x="1836" y="174"/>
                    <a:pt x="1836" y="174"/>
                    <a:pt x="1836" y="174"/>
                  </a:cubicBezTo>
                  <a:cubicBezTo>
                    <a:pt x="1807" y="174"/>
                    <a:pt x="1807" y="174"/>
                    <a:pt x="1807" y="174"/>
                  </a:cubicBezTo>
                  <a:cubicBezTo>
                    <a:pt x="1807" y="174"/>
                    <a:pt x="1778" y="145"/>
                    <a:pt x="1778" y="116"/>
                  </a:cubicBezTo>
                  <a:cubicBezTo>
                    <a:pt x="1778" y="88"/>
                    <a:pt x="1778" y="58"/>
                    <a:pt x="1778" y="58"/>
                  </a:cubicBezTo>
                  <a:cubicBezTo>
                    <a:pt x="1778" y="29"/>
                    <a:pt x="1778" y="29"/>
                    <a:pt x="1749" y="0"/>
                  </a:cubicBezTo>
                  <a:lnTo>
                    <a:pt x="1749" y="0"/>
                  </a:lnTo>
                  <a:cubicBezTo>
                    <a:pt x="1544" y="0"/>
                    <a:pt x="1341" y="0"/>
                    <a:pt x="1136" y="29"/>
                  </a:cubicBezTo>
                  <a:cubicBezTo>
                    <a:pt x="757" y="29"/>
                    <a:pt x="378" y="29"/>
                    <a:pt x="0" y="58"/>
                  </a:cubicBezTo>
                  <a:cubicBezTo>
                    <a:pt x="29" y="495"/>
                    <a:pt x="59" y="933"/>
                    <a:pt x="59" y="1458"/>
                  </a:cubicBezTo>
                  <a:cubicBezTo>
                    <a:pt x="87" y="1458"/>
                    <a:pt x="87" y="1458"/>
                    <a:pt x="116" y="1458"/>
                  </a:cubicBezTo>
                  <a:cubicBezTo>
                    <a:pt x="145" y="1487"/>
                    <a:pt x="145" y="1487"/>
                    <a:pt x="175" y="1487"/>
                  </a:cubicBezTo>
                  <a:cubicBezTo>
                    <a:pt x="204" y="1487"/>
                    <a:pt x="204" y="1487"/>
                    <a:pt x="204" y="1487"/>
                  </a:cubicBezTo>
                  <a:cubicBezTo>
                    <a:pt x="204" y="1750"/>
                    <a:pt x="204" y="1750"/>
                    <a:pt x="204" y="1750"/>
                  </a:cubicBezTo>
                  <a:cubicBezTo>
                    <a:pt x="261" y="1750"/>
                    <a:pt x="261" y="1750"/>
                    <a:pt x="261" y="1750"/>
                  </a:cubicBezTo>
                  <a:cubicBezTo>
                    <a:pt x="553" y="1750"/>
                    <a:pt x="757" y="1750"/>
                    <a:pt x="1020" y="1750"/>
                  </a:cubicBezTo>
                  <a:cubicBezTo>
                    <a:pt x="1136" y="1750"/>
                    <a:pt x="1282" y="1750"/>
                    <a:pt x="1457" y="1750"/>
                  </a:cubicBezTo>
                  <a:cubicBezTo>
                    <a:pt x="1457" y="1721"/>
                    <a:pt x="1457" y="1721"/>
                    <a:pt x="1457" y="1691"/>
                  </a:cubicBezTo>
                  <a:lnTo>
                    <a:pt x="1457" y="1691"/>
                  </a:lnTo>
                  <a:cubicBezTo>
                    <a:pt x="1486" y="1662"/>
                    <a:pt x="1486" y="1633"/>
                    <a:pt x="1515" y="1604"/>
                  </a:cubicBezTo>
                  <a:cubicBezTo>
                    <a:pt x="1486" y="1574"/>
                    <a:pt x="1486" y="1545"/>
                    <a:pt x="1486" y="1516"/>
                  </a:cubicBezTo>
                  <a:cubicBezTo>
                    <a:pt x="1486" y="1516"/>
                    <a:pt x="1515" y="1516"/>
                    <a:pt x="1515" y="1487"/>
                  </a:cubicBezTo>
                  <a:lnTo>
                    <a:pt x="1486" y="1487"/>
                  </a:lnTo>
                  <a:cubicBezTo>
                    <a:pt x="1486" y="1458"/>
                    <a:pt x="1486" y="1458"/>
                    <a:pt x="1457" y="1429"/>
                  </a:cubicBezTo>
                  <a:cubicBezTo>
                    <a:pt x="1428" y="1312"/>
                    <a:pt x="1515" y="1195"/>
                    <a:pt x="1574" y="1108"/>
                  </a:cubicBezTo>
                  <a:cubicBezTo>
                    <a:pt x="1574" y="1079"/>
                    <a:pt x="1603" y="1079"/>
                    <a:pt x="1603" y="1079"/>
                  </a:cubicBezTo>
                  <a:cubicBezTo>
                    <a:pt x="1632" y="1021"/>
                    <a:pt x="1661" y="962"/>
                    <a:pt x="1691" y="933"/>
                  </a:cubicBezTo>
                  <a:cubicBezTo>
                    <a:pt x="1691" y="904"/>
                    <a:pt x="1720" y="874"/>
                    <a:pt x="1720" y="845"/>
                  </a:cubicBezTo>
                  <a:lnTo>
                    <a:pt x="1720" y="845"/>
                  </a:lnTo>
                  <a:lnTo>
                    <a:pt x="1720" y="816"/>
                  </a:lnTo>
                  <a:lnTo>
                    <a:pt x="1720" y="816"/>
                  </a:lnTo>
                  <a:cubicBezTo>
                    <a:pt x="1720" y="788"/>
                    <a:pt x="1720" y="788"/>
                    <a:pt x="1720" y="788"/>
                  </a:cubicBezTo>
                  <a:cubicBezTo>
                    <a:pt x="1720" y="788"/>
                    <a:pt x="1749" y="788"/>
                    <a:pt x="1749" y="758"/>
                  </a:cubicBezTo>
                  <a:cubicBezTo>
                    <a:pt x="1778" y="729"/>
                    <a:pt x="1807" y="729"/>
                    <a:pt x="1778" y="700"/>
                  </a:cubicBezTo>
                  <a:cubicBezTo>
                    <a:pt x="1778" y="671"/>
                    <a:pt x="1778" y="671"/>
                    <a:pt x="1778" y="671"/>
                  </a:cubicBezTo>
                  <a:lnTo>
                    <a:pt x="1778" y="671"/>
                  </a:lnTo>
                  <a:cubicBezTo>
                    <a:pt x="1807" y="671"/>
                    <a:pt x="1807" y="671"/>
                    <a:pt x="1807" y="671"/>
                  </a:cubicBezTo>
                  <a:cubicBezTo>
                    <a:pt x="1807" y="671"/>
                    <a:pt x="1836" y="671"/>
                    <a:pt x="1836" y="641"/>
                  </a:cubicBezTo>
                  <a:lnTo>
                    <a:pt x="1836" y="612"/>
                  </a:lnTo>
                  <a:cubicBezTo>
                    <a:pt x="1836" y="583"/>
                    <a:pt x="1836" y="583"/>
                    <a:pt x="1836" y="554"/>
                  </a:cubicBezTo>
                  <a:cubicBezTo>
                    <a:pt x="1836" y="524"/>
                    <a:pt x="1865" y="495"/>
                    <a:pt x="1894" y="466"/>
                  </a:cubicBezTo>
                  <a:cubicBezTo>
                    <a:pt x="1924" y="438"/>
                    <a:pt x="1953" y="438"/>
                    <a:pt x="1924" y="379"/>
                  </a:cubicBezTo>
                  <a:lnTo>
                    <a:pt x="1924" y="379"/>
                  </a:lnTo>
                  <a:cubicBezTo>
                    <a:pt x="1953" y="379"/>
                    <a:pt x="1953" y="379"/>
                    <a:pt x="1953" y="379"/>
                  </a:cubicBezTo>
                  <a:cubicBezTo>
                    <a:pt x="1953" y="350"/>
                    <a:pt x="1953" y="350"/>
                    <a:pt x="1953" y="321"/>
                  </a:cubicBezTo>
                  <a:lnTo>
                    <a:pt x="1953" y="321"/>
                  </a:lnTo>
                  <a:cubicBezTo>
                    <a:pt x="1953" y="291"/>
                    <a:pt x="1953" y="291"/>
                    <a:pt x="1953" y="291"/>
                  </a:cubicBezTo>
                  <a:cubicBezTo>
                    <a:pt x="1982" y="291"/>
                    <a:pt x="1982" y="291"/>
                    <a:pt x="1982" y="23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8" name="Freeform 65">
              <a:extLst>
                <a:ext uri="{FF2B5EF4-FFF2-40B4-BE49-F238E27FC236}">
                  <a16:creationId xmlns:a16="http://schemas.microsoft.com/office/drawing/2014/main" id="{A1D68E81-8A16-4B27-86AC-76963A207003}"/>
                </a:ext>
              </a:extLst>
            </p:cNvPr>
            <p:cNvSpPr>
              <a:spLocks noChangeArrowheads="1"/>
            </p:cNvSpPr>
            <p:nvPr/>
          </p:nvSpPr>
          <p:spPr bwMode="auto">
            <a:xfrm>
              <a:off x="4837153" y="1145830"/>
              <a:ext cx="874133" cy="1401465"/>
            </a:xfrm>
            <a:custGeom>
              <a:avLst/>
              <a:gdLst>
                <a:gd name="T0" fmla="*/ 233 w 2363"/>
                <a:gd name="T1" fmla="*/ 2566 h 3820"/>
                <a:gd name="T2" fmla="*/ 0 w 2363"/>
                <a:gd name="T3" fmla="*/ 3352 h 3820"/>
                <a:gd name="T4" fmla="*/ 2217 w 2363"/>
                <a:gd name="T5" fmla="*/ 3352 h 3820"/>
                <a:gd name="T6" fmla="*/ 2274 w 2363"/>
                <a:gd name="T7" fmla="*/ 2653 h 3820"/>
                <a:gd name="T8" fmla="*/ 2245 w 2363"/>
                <a:gd name="T9" fmla="*/ 2624 h 3820"/>
                <a:gd name="T10" fmla="*/ 2217 w 2363"/>
                <a:gd name="T11" fmla="*/ 2566 h 3820"/>
                <a:gd name="T12" fmla="*/ 1924 w 2363"/>
                <a:gd name="T13" fmla="*/ 2536 h 3820"/>
                <a:gd name="T14" fmla="*/ 1604 w 2363"/>
                <a:gd name="T15" fmla="*/ 2362 h 3820"/>
                <a:gd name="T16" fmla="*/ 1574 w 2363"/>
                <a:gd name="T17" fmla="*/ 2245 h 3820"/>
                <a:gd name="T18" fmla="*/ 1488 w 2363"/>
                <a:gd name="T19" fmla="*/ 2157 h 3820"/>
                <a:gd name="T20" fmla="*/ 1458 w 2363"/>
                <a:gd name="T21" fmla="*/ 1924 h 3820"/>
                <a:gd name="T22" fmla="*/ 1429 w 2363"/>
                <a:gd name="T23" fmla="*/ 1836 h 3820"/>
                <a:gd name="T24" fmla="*/ 1429 w 2363"/>
                <a:gd name="T25" fmla="*/ 1778 h 3820"/>
                <a:gd name="T26" fmla="*/ 1312 w 2363"/>
                <a:gd name="T27" fmla="*/ 1836 h 3820"/>
                <a:gd name="T28" fmla="*/ 1312 w 2363"/>
                <a:gd name="T29" fmla="*/ 1836 h 3820"/>
                <a:gd name="T30" fmla="*/ 1312 w 2363"/>
                <a:gd name="T31" fmla="*/ 1691 h 3820"/>
                <a:gd name="T32" fmla="*/ 1312 w 2363"/>
                <a:gd name="T33" fmla="*/ 1574 h 3820"/>
                <a:gd name="T34" fmla="*/ 1400 w 2363"/>
                <a:gd name="T35" fmla="*/ 1457 h 3820"/>
                <a:gd name="T36" fmla="*/ 1429 w 2363"/>
                <a:gd name="T37" fmla="*/ 1370 h 3820"/>
                <a:gd name="T38" fmla="*/ 1371 w 2363"/>
                <a:gd name="T39" fmla="*/ 1253 h 3820"/>
                <a:gd name="T40" fmla="*/ 1400 w 2363"/>
                <a:gd name="T41" fmla="*/ 1166 h 3820"/>
                <a:gd name="T42" fmla="*/ 1312 w 2363"/>
                <a:gd name="T43" fmla="*/ 962 h 3820"/>
                <a:gd name="T44" fmla="*/ 1312 w 2363"/>
                <a:gd name="T45" fmla="*/ 903 h 3820"/>
                <a:gd name="T46" fmla="*/ 1312 w 2363"/>
                <a:gd name="T47" fmla="*/ 845 h 3820"/>
                <a:gd name="T48" fmla="*/ 1224 w 2363"/>
                <a:gd name="T49" fmla="*/ 757 h 3820"/>
                <a:gd name="T50" fmla="*/ 1138 w 2363"/>
                <a:gd name="T51" fmla="*/ 612 h 3820"/>
                <a:gd name="T52" fmla="*/ 1050 w 2363"/>
                <a:gd name="T53" fmla="*/ 466 h 3820"/>
                <a:gd name="T54" fmla="*/ 1079 w 2363"/>
                <a:gd name="T55" fmla="*/ 350 h 3820"/>
                <a:gd name="T56" fmla="*/ 1167 w 2363"/>
                <a:gd name="T57" fmla="*/ 57 h 3820"/>
                <a:gd name="T58" fmla="*/ 933 w 2363"/>
                <a:gd name="T59" fmla="*/ 0 h 3820"/>
                <a:gd name="T60" fmla="*/ 467 w 2363"/>
                <a:gd name="T61" fmla="*/ 1428 h 3820"/>
                <a:gd name="T62" fmla="*/ 525 w 2363"/>
                <a:gd name="T63" fmla="*/ 1545 h 3820"/>
                <a:gd name="T64" fmla="*/ 525 w 2363"/>
                <a:gd name="T65" fmla="*/ 1574 h 3820"/>
                <a:gd name="T66" fmla="*/ 641 w 2363"/>
                <a:gd name="T67" fmla="*/ 1720 h 3820"/>
                <a:gd name="T68" fmla="*/ 496 w 2363"/>
                <a:gd name="T69" fmla="*/ 1836 h 3820"/>
                <a:gd name="T70" fmla="*/ 438 w 2363"/>
                <a:gd name="T71" fmla="*/ 1924 h 3820"/>
                <a:gd name="T72" fmla="*/ 379 w 2363"/>
                <a:gd name="T73" fmla="*/ 2041 h 3820"/>
                <a:gd name="T74" fmla="*/ 321 w 2363"/>
                <a:gd name="T75" fmla="*/ 2216 h 3820"/>
                <a:gd name="T76" fmla="*/ 262 w 2363"/>
                <a:gd name="T77" fmla="*/ 2362 h 3820"/>
                <a:gd name="T78" fmla="*/ 233 w 2363"/>
                <a:gd name="T79" fmla="*/ 2507 h 3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3" h="3820">
                  <a:moveTo>
                    <a:pt x="233" y="2566"/>
                  </a:moveTo>
                  <a:lnTo>
                    <a:pt x="233" y="2566"/>
                  </a:lnTo>
                  <a:cubicBezTo>
                    <a:pt x="204" y="2653"/>
                    <a:pt x="175" y="2770"/>
                    <a:pt x="146" y="2857"/>
                  </a:cubicBezTo>
                  <a:cubicBezTo>
                    <a:pt x="88" y="3033"/>
                    <a:pt x="29" y="3206"/>
                    <a:pt x="0" y="3352"/>
                  </a:cubicBezTo>
                  <a:cubicBezTo>
                    <a:pt x="729" y="3527"/>
                    <a:pt x="1400" y="3702"/>
                    <a:pt x="2129" y="3819"/>
                  </a:cubicBezTo>
                  <a:cubicBezTo>
                    <a:pt x="2158" y="3644"/>
                    <a:pt x="2188" y="3498"/>
                    <a:pt x="2217" y="3352"/>
                  </a:cubicBezTo>
                  <a:cubicBezTo>
                    <a:pt x="2274" y="3120"/>
                    <a:pt x="2304" y="2886"/>
                    <a:pt x="2362" y="2653"/>
                  </a:cubicBezTo>
                  <a:cubicBezTo>
                    <a:pt x="2333" y="2653"/>
                    <a:pt x="2304" y="2653"/>
                    <a:pt x="2274" y="2653"/>
                  </a:cubicBezTo>
                  <a:cubicBezTo>
                    <a:pt x="2245" y="2653"/>
                    <a:pt x="2245" y="2653"/>
                    <a:pt x="2245" y="2653"/>
                  </a:cubicBezTo>
                  <a:cubicBezTo>
                    <a:pt x="2245" y="2624"/>
                    <a:pt x="2245" y="2624"/>
                    <a:pt x="2245" y="2624"/>
                  </a:cubicBezTo>
                  <a:cubicBezTo>
                    <a:pt x="2245" y="2624"/>
                    <a:pt x="2245" y="2624"/>
                    <a:pt x="2245" y="2595"/>
                  </a:cubicBezTo>
                  <a:cubicBezTo>
                    <a:pt x="2245" y="2595"/>
                    <a:pt x="2217" y="2595"/>
                    <a:pt x="2217" y="2566"/>
                  </a:cubicBezTo>
                  <a:cubicBezTo>
                    <a:pt x="2100" y="2595"/>
                    <a:pt x="2012" y="2566"/>
                    <a:pt x="1954" y="2536"/>
                  </a:cubicBezTo>
                  <a:cubicBezTo>
                    <a:pt x="1954" y="2536"/>
                    <a:pt x="1954" y="2536"/>
                    <a:pt x="1924" y="2536"/>
                  </a:cubicBezTo>
                  <a:cubicBezTo>
                    <a:pt x="1895" y="2536"/>
                    <a:pt x="1838" y="2566"/>
                    <a:pt x="1808" y="2536"/>
                  </a:cubicBezTo>
                  <a:cubicBezTo>
                    <a:pt x="1720" y="2536"/>
                    <a:pt x="1604" y="2420"/>
                    <a:pt x="1604" y="2362"/>
                  </a:cubicBezTo>
                  <a:cubicBezTo>
                    <a:pt x="1574" y="2362"/>
                    <a:pt x="1574" y="2333"/>
                    <a:pt x="1574" y="2303"/>
                  </a:cubicBezTo>
                  <a:cubicBezTo>
                    <a:pt x="1574" y="2274"/>
                    <a:pt x="1574" y="2274"/>
                    <a:pt x="1574" y="2245"/>
                  </a:cubicBezTo>
                  <a:cubicBezTo>
                    <a:pt x="1546" y="2245"/>
                    <a:pt x="1546" y="2216"/>
                    <a:pt x="1517" y="2216"/>
                  </a:cubicBezTo>
                  <a:cubicBezTo>
                    <a:pt x="1517" y="2186"/>
                    <a:pt x="1488" y="2186"/>
                    <a:pt x="1488" y="2157"/>
                  </a:cubicBezTo>
                  <a:cubicBezTo>
                    <a:pt x="1458" y="2128"/>
                    <a:pt x="1458" y="2070"/>
                    <a:pt x="1458" y="2041"/>
                  </a:cubicBezTo>
                  <a:cubicBezTo>
                    <a:pt x="1458" y="1983"/>
                    <a:pt x="1458" y="1953"/>
                    <a:pt x="1458" y="1924"/>
                  </a:cubicBezTo>
                  <a:cubicBezTo>
                    <a:pt x="1429" y="1924"/>
                    <a:pt x="1429" y="1895"/>
                    <a:pt x="1429" y="1895"/>
                  </a:cubicBezTo>
                  <a:cubicBezTo>
                    <a:pt x="1429" y="1866"/>
                    <a:pt x="1429" y="1866"/>
                    <a:pt x="1429" y="1836"/>
                  </a:cubicBezTo>
                  <a:lnTo>
                    <a:pt x="1429" y="1807"/>
                  </a:lnTo>
                  <a:cubicBezTo>
                    <a:pt x="1429" y="1778"/>
                    <a:pt x="1429" y="1778"/>
                    <a:pt x="1429" y="1778"/>
                  </a:cubicBezTo>
                  <a:cubicBezTo>
                    <a:pt x="1429" y="1778"/>
                    <a:pt x="1429" y="1778"/>
                    <a:pt x="1400" y="1778"/>
                  </a:cubicBezTo>
                  <a:cubicBezTo>
                    <a:pt x="1400" y="1807"/>
                    <a:pt x="1371" y="1836"/>
                    <a:pt x="1312" y="1836"/>
                  </a:cubicBezTo>
                  <a:lnTo>
                    <a:pt x="1312" y="1836"/>
                  </a:lnTo>
                  <a:lnTo>
                    <a:pt x="1312" y="1836"/>
                  </a:lnTo>
                  <a:cubicBezTo>
                    <a:pt x="1283" y="1807"/>
                    <a:pt x="1283" y="1749"/>
                    <a:pt x="1312" y="1720"/>
                  </a:cubicBezTo>
                  <a:cubicBezTo>
                    <a:pt x="1312" y="1720"/>
                    <a:pt x="1312" y="1720"/>
                    <a:pt x="1312" y="1691"/>
                  </a:cubicBezTo>
                  <a:cubicBezTo>
                    <a:pt x="1312" y="1662"/>
                    <a:pt x="1312" y="1662"/>
                    <a:pt x="1312" y="1633"/>
                  </a:cubicBezTo>
                  <a:cubicBezTo>
                    <a:pt x="1312" y="1603"/>
                    <a:pt x="1312" y="1603"/>
                    <a:pt x="1312" y="1574"/>
                  </a:cubicBezTo>
                  <a:cubicBezTo>
                    <a:pt x="1312" y="1516"/>
                    <a:pt x="1371" y="1486"/>
                    <a:pt x="1400" y="1457"/>
                  </a:cubicBezTo>
                  <a:lnTo>
                    <a:pt x="1400" y="1457"/>
                  </a:lnTo>
                  <a:cubicBezTo>
                    <a:pt x="1429" y="1457"/>
                    <a:pt x="1429" y="1428"/>
                    <a:pt x="1429" y="1428"/>
                  </a:cubicBezTo>
                  <a:cubicBezTo>
                    <a:pt x="1429" y="1399"/>
                    <a:pt x="1429" y="1399"/>
                    <a:pt x="1429" y="1370"/>
                  </a:cubicBezTo>
                  <a:cubicBezTo>
                    <a:pt x="1429" y="1341"/>
                    <a:pt x="1429" y="1341"/>
                    <a:pt x="1400" y="1312"/>
                  </a:cubicBezTo>
                  <a:cubicBezTo>
                    <a:pt x="1400" y="1283"/>
                    <a:pt x="1371" y="1283"/>
                    <a:pt x="1371" y="1253"/>
                  </a:cubicBezTo>
                  <a:cubicBezTo>
                    <a:pt x="1371" y="1224"/>
                    <a:pt x="1371" y="1195"/>
                    <a:pt x="1400" y="1166"/>
                  </a:cubicBezTo>
                  <a:lnTo>
                    <a:pt x="1400" y="1166"/>
                  </a:lnTo>
                  <a:cubicBezTo>
                    <a:pt x="1400" y="1136"/>
                    <a:pt x="1400" y="1136"/>
                    <a:pt x="1400" y="1136"/>
                  </a:cubicBezTo>
                  <a:cubicBezTo>
                    <a:pt x="1341" y="1107"/>
                    <a:pt x="1312" y="1049"/>
                    <a:pt x="1312" y="962"/>
                  </a:cubicBezTo>
                  <a:cubicBezTo>
                    <a:pt x="1312" y="962"/>
                    <a:pt x="1312" y="962"/>
                    <a:pt x="1312" y="933"/>
                  </a:cubicBezTo>
                  <a:cubicBezTo>
                    <a:pt x="1312" y="933"/>
                    <a:pt x="1312" y="933"/>
                    <a:pt x="1312" y="903"/>
                  </a:cubicBezTo>
                  <a:cubicBezTo>
                    <a:pt x="1312" y="903"/>
                    <a:pt x="1312" y="903"/>
                    <a:pt x="1312" y="874"/>
                  </a:cubicBezTo>
                  <a:cubicBezTo>
                    <a:pt x="1312" y="874"/>
                    <a:pt x="1312" y="874"/>
                    <a:pt x="1312" y="845"/>
                  </a:cubicBezTo>
                  <a:cubicBezTo>
                    <a:pt x="1283" y="845"/>
                    <a:pt x="1254" y="845"/>
                    <a:pt x="1254" y="816"/>
                  </a:cubicBezTo>
                  <a:cubicBezTo>
                    <a:pt x="1224" y="816"/>
                    <a:pt x="1224" y="786"/>
                    <a:pt x="1224" y="757"/>
                  </a:cubicBezTo>
                  <a:cubicBezTo>
                    <a:pt x="1196" y="728"/>
                    <a:pt x="1196" y="700"/>
                    <a:pt x="1167" y="641"/>
                  </a:cubicBezTo>
                  <a:cubicBezTo>
                    <a:pt x="1167" y="641"/>
                    <a:pt x="1138" y="641"/>
                    <a:pt x="1138" y="612"/>
                  </a:cubicBezTo>
                  <a:lnTo>
                    <a:pt x="1138" y="583"/>
                  </a:lnTo>
                  <a:cubicBezTo>
                    <a:pt x="1108" y="553"/>
                    <a:pt x="1050" y="495"/>
                    <a:pt x="1050" y="466"/>
                  </a:cubicBezTo>
                  <a:cubicBezTo>
                    <a:pt x="1050" y="436"/>
                    <a:pt x="1079" y="407"/>
                    <a:pt x="1079" y="378"/>
                  </a:cubicBezTo>
                  <a:lnTo>
                    <a:pt x="1079" y="350"/>
                  </a:lnTo>
                  <a:cubicBezTo>
                    <a:pt x="1108" y="320"/>
                    <a:pt x="1108" y="291"/>
                    <a:pt x="1108" y="233"/>
                  </a:cubicBezTo>
                  <a:cubicBezTo>
                    <a:pt x="1138" y="174"/>
                    <a:pt x="1138" y="116"/>
                    <a:pt x="1167" y="57"/>
                  </a:cubicBezTo>
                  <a:cubicBezTo>
                    <a:pt x="1138" y="57"/>
                    <a:pt x="1079" y="28"/>
                    <a:pt x="1050" y="28"/>
                  </a:cubicBezTo>
                  <a:cubicBezTo>
                    <a:pt x="991" y="28"/>
                    <a:pt x="962" y="0"/>
                    <a:pt x="933" y="0"/>
                  </a:cubicBezTo>
                  <a:cubicBezTo>
                    <a:pt x="817" y="320"/>
                    <a:pt x="700" y="670"/>
                    <a:pt x="612" y="991"/>
                  </a:cubicBezTo>
                  <a:cubicBezTo>
                    <a:pt x="554" y="1136"/>
                    <a:pt x="525" y="1283"/>
                    <a:pt x="467" y="1428"/>
                  </a:cubicBezTo>
                  <a:cubicBezTo>
                    <a:pt x="467" y="1457"/>
                    <a:pt x="496" y="1457"/>
                    <a:pt x="496" y="1486"/>
                  </a:cubicBezTo>
                  <a:cubicBezTo>
                    <a:pt x="525" y="1516"/>
                    <a:pt x="525" y="1516"/>
                    <a:pt x="525" y="1545"/>
                  </a:cubicBezTo>
                  <a:cubicBezTo>
                    <a:pt x="525" y="1545"/>
                    <a:pt x="525" y="1545"/>
                    <a:pt x="525" y="1574"/>
                  </a:cubicBezTo>
                  <a:lnTo>
                    <a:pt x="525" y="1574"/>
                  </a:lnTo>
                  <a:cubicBezTo>
                    <a:pt x="554" y="1603"/>
                    <a:pt x="554" y="1603"/>
                    <a:pt x="583" y="1633"/>
                  </a:cubicBezTo>
                  <a:cubicBezTo>
                    <a:pt x="612" y="1662"/>
                    <a:pt x="641" y="1691"/>
                    <a:pt x="641" y="1720"/>
                  </a:cubicBezTo>
                  <a:cubicBezTo>
                    <a:pt x="641" y="1749"/>
                    <a:pt x="612" y="1778"/>
                    <a:pt x="554" y="1807"/>
                  </a:cubicBezTo>
                  <a:cubicBezTo>
                    <a:pt x="525" y="1836"/>
                    <a:pt x="496" y="1836"/>
                    <a:pt x="496" y="1836"/>
                  </a:cubicBezTo>
                  <a:cubicBezTo>
                    <a:pt x="467" y="1866"/>
                    <a:pt x="467" y="1866"/>
                    <a:pt x="438" y="1866"/>
                  </a:cubicBezTo>
                  <a:cubicBezTo>
                    <a:pt x="438" y="1895"/>
                    <a:pt x="438" y="1895"/>
                    <a:pt x="438" y="1924"/>
                  </a:cubicBezTo>
                  <a:cubicBezTo>
                    <a:pt x="408" y="1953"/>
                    <a:pt x="408" y="1983"/>
                    <a:pt x="408" y="2012"/>
                  </a:cubicBezTo>
                  <a:cubicBezTo>
                    <a:pt x="379" y="2012"/>
                    <a:pt x="379" y="2041"/>
                    <a:pt x="379" y="2041"/>
                  </a:cubicBezTo>
                  <a:cubicBezTo>
                    <a:pt x="350" y="2099"/>
                    <a:pt x="350" y="2128"/>
                    <a:pt x="321" y="2186"/>
                  </a:cubicBezTo>
                  <a:cubicBezTo>
                    <a:pt x="321" y="2216"/>
                    <a:pt x="321" y="2216"/>
                    <a:pt x="321" y="2216"/>
                  </a:cubicBezTo>
                  <a:lnTo>
                    <a:pt x="321" y="2216"/>
                  </a:lnTo>
                  <a:cubicBezTo>
                    <a:pt x="291" y="2245"/>
                    <a:pt x="262" y="2303"/>
                    <a:pt x="262" y="2362"/>
                  </a:cubicBezTo>
                  <a:cubicBezTo>
                    <a:pt x="262" y="2362"/>
                    <a:pt x="233" y="2362"/>
                    <a:pt x="233" y="2391"/>
                  </a:cubicBezTo>
                  <a:cubicBezTo>
                    <a:pt x="262" y="2420"/>
                    <a:pt x="262" y="2478"/>
                    <a:pt x="233" y="2507"/>
                  </a:cubicBezTo>
                  <a:cubicBezTo>
                    <a:pt x="233" y="2536"/>
                    <a:pt x="233" y="2536"/>
                    <a:pt x="233" y="256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9" name="Freeform 66">
              <a:extLst>
                <a:ext uri="{FF2B5EF4-FFF2-40B4-BE49-F238E27FC236}">
                  <a16:creationId xmlns:a16="http://schemas.microsoft.com/office/drawing/2014/main" id="{5D8B6442-6DBE-4978-A49D-FE387EDF1D89}"/>
                </a:ext>
              </a:extLst>
            </p:cNvPr>
            <p:cNvSpPr>
              <a:spLocks noChangeArrowheads="1"/>
            </p:cNvSpPr>
            <p:nvPr/>
          </p:nvSpPr>
          <p:spPr bwMode="auto">
            <a:xfrm>
              <a:off x="4243526" y="2280273"/>
              <a:ext cx="949152" cy="1422503"/>
            </a:xfrm>
            <a:custGeom>
              <a:avLst/>
              <a:gdLst>
                <a:gd name="T0" fmla="*/ 1808 w 2567"/>
                <a:gd name="T1" fmla="*/ 3265 h 3878"/>
                <a:gd name="T2" fmla="*/ 1808 w 2567"/>
                <a:gd name="T3" fmla="*/ 3265 h 3878"/>
                <a:gd name="T4" fmla="*/ 1895 w 2567"/>
                <a:gd name="T5" fmla="*/ 3294 h 3878"/>
                <a:gd name="T6" fmla="*/ 1895 w 2567"/>
                <a:gd name="T7" fmla="*/ 3294 h 3878"/>
                <a:gd name="T8" fmla="*/ 1895 w 2567"/>
                <a:gd name="T9" fmla="*/ 3294 h 3878"/>
                <a:gd name="T10" fmla="*/ 1954 w 2567"/>
                <a:gd name="T11" fmla="*/ 3382 h 3878"/>
                <a:gd name="T12" fmla="*/ 2566 w 2567"/>
                <a:gd name="T13" fmla="*/ 553 h 3878"/>
                <a:gd name="T14" fmla="*/ 962 w 2567"/>
                <a:gd name="T15" fmla="*/ 144 h 3878"/>
                <a:gd name="T16" fmla="*/ 409 w 2567"/>
                <a:gd name="T17" fmla="*/ 0 h 3878"/>
                <a:gd name="T18" fmla="*/ 29 w 2567"/>
                <a:gd name="T19" fmla="*/ 1224 h 3878"/>
                <a:gd name="T20" fmla="*/ 59 w 2567"/>
                <a:gd name="T21" fmla="*/ 1224 h 3878"/>
                <a:gd name="T22" fmla="*/ 87 w 2567"/>
                <a:gd name="T23" fmla="*/ 1253 h 3878"/>
                <a:gd name="T24" fmla="*/ 87 w 2567"/>
                <a:gd name="T25" fmla="*/ 1253 h 3878"/>
                <a:gd name="T26" fmla="*/ 87 w 2567"/>
                <a:gd name="T27" fmla="*/ 1253 h 3878"/>
                <a:gd name="T28" fmla="*/ 0 w 2567"/>
                <a:gd name="T29" fmla="*/ 1457 h 3878"/>
                <a:gd name="T30" fmla="*/ 787 w 2567"/>
                <a:gd name="T31" fmla="*/ 2682 h 3878"/>
                <a:gd name="T32" fmla="*/ 933 w 2567"/>
                <a:gd name="T33" fmla="*/ 2915 h 3878"/>
                <a:gd name="T34" fmla="*/ 1195 w 2567"/>
                <a:gd name="T35" fmla="*/ 3294 h 3878"/>
                <a:gd name="T36" fmla="*/ 1342 w 2567"/>
                <a:gd name="T37" fmla="*/ 3527 h 3878"/>
                <a:gd name="T38" fmla="*/ 1604 w 2567"/>
                <a:gd name="T39" fmla="*/ 3877 h 3878"/>
                <a:gd name="T40" fmla="*/ 1604 w 2567"/>
                <a:gd name="T41" fmla="*/ 3732 h 3878"/>
                <a:gd name="T42" fmla="*/ 1575 w 2567"/>
                <a:gd name="T43" fmla="*/ 3615 h 3878"/>
                <a:gd name="T44" fmla="*/ 1604 w 2567"/>
                <a:gd name="T45" fmla="*/ 3527 h 3878"/>
                <a:gd name="T46" fmla="*/ 1633 w 2567"/>
                <a:gd name="T47" fmla="*/ 3470 h 3878"/>
                <a:gd name="T48" fmla="*/ 1633 w 2567"/>
                <a:gd name="T49" fmla="*/ 3441 h 3878"/>
                <a:gd name="T50" fmla="*/ 1633 w 2567"/>
                <a:gd name="T51" fmla="*/ 3382 h 3878"/>
                <a:gd name="T52" fmla="*/ 1808 w 2567"/>
                <a:gd name="T53" fmla="*/ 3265 h 3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67" h="3878">
                  <a:moveTo>
                    <a:pt x="1808" y="3265"/>
                  </a:moveTo>
                  <a:lnTo>
                    <a:pt x="1808" y="3265"/>
                  </a:lnTo>
                  <a:cubicBezTo>
                    <a:pt x="1837" y="3265"/>
                    <a:pt x="1866" y="3265"/>
                    <a:pt x="1895" y="3294"/>
                  </a:cubicBezTo>
                  <a:lnTo>
                    <a:pt x="1895" y="3294"/>
                  </a:lnTo>
                  <a:lnTo>
                    <a:pt x="1895" y="3294"/>
                  </a:lnTo>
                  <a:cubicBezTo>
                    <a:pt x="1925" y="3323"/>
                    <a:pt x="1925" y="3353"/>
                    <a:pt x="1954" y="3382"/>
                  </a:cubicBezTo>
                  <a:cubicBezTo>
                    <a:pt x="2187" y="2274"/>
                    <a:pt x="2392" y="1370"/>
                    <a:pt x="2566" y="553"/>
                  </a:cubicBezTo>
                  <a:cubicBezTo>
                    <a:pt x="2042" y="436"/>
                    <a:pt x="1487" y="291"/>
                    <a:pt x="962" y="144"/>
                  </a:cubicBezTo>
                  <a:cubicBezTo>
                    <a:pt x="787" y="86"/>
                    <a:pt x="583" y="57"/>
                    <a:pt x="409" y="0"/>
                  </a:cubicBezTo>
                  <a:cubicBezTo>
                    <a:pt x="292" y="407"/>
                    <a:pt x="175" y="786"/>
                    <a:pt x="29" y="1224"/>
                  </a:cubicBezTo>
                  <a:lnTo>
                    <a:pt x="59" y="1224"/>
                  </a:lnTo>
                  <a:cubicBezTo>
                    <a:pt x="59" y="1224"/>
                    <a:pt x="87" y="1224"/>
                    <a:pt x="87" y="1253"/>
                  </a:cubicBezTo>
                  <a:lnTo>
                    <a:pt x="87" y="1253"/>
                  </a:lnTo>
                  <a:lnTo>
                    <a:pt x="87" y="1253"/>
                  </a:lnTo>
                  <a:cubicBezTo>
                    <a:pt x="29" y="1311"/>
                    <a:pt x="0" y="1399"/>
                    <a:pt x="0" y="1457"/>
                  </a:cubicBezTo>
                  <a:cubicBezTo>
                    <a:pt x="292" y="1894"/>
                    <a:pt x="554" y="2303"/>
                    <a:pt x="787" y="2682"/>
                  </a:cubicBezTo>
                  <a:cubicBezTo>
                    <a:pt x="845" y="2741"/>
                    <a:pt x="904" y="2827"/>
                    <a:pt x="933" y="2915"/>
                  </a:cubicBezTo>
                  <a:cubicBezTo>
                    <a:pt x="1021" y="3032"/>
                    <a:pt x="1108" y="3177"/>
                    <a:pt x="1195" y="3294"/>
                  </a:cubicBezTo>
                  <a:cubicBezTo>
                    <a:pt x="1254" y="3382"/>
                    <a:pt x="1312" y="3441"/>
                    <a:pt x="1342" y="3527"/>
                  </a:cubicBezTo>
                  <a:cubicBezTo>
                    <a:pt x="1429" y="3644"/>
                    <a:pt x="1516" y="3761"/>
                    <a:pt x="1604" y="3877"/>
                  </a:cubicBezTo>
                  <a:cubicBezTo>
                    <a:pt x="1633" y="3848"/>
                    <a:pt x="1604" y="3791"/>
                    <a:pt x="1604" y="3732"/>
                  </a:cubicBezTo>
                  <a:cubicBezTo>
                    <a:pt x="1575" y="3703"/>
                    <a:pt x="1575" y="3674"/>
                    <a:pt x="1575" y="3615"/>
                  </a:cubicBezTo>
                  <a:cubicBezTo>
                    <a:pt x="1575" y="3586"/>
                    <a:pt x="1604" y="3557"/>
                    <a:pt x="1604" y="3527"/>
                  </a:cubicBezTo>
                  <a:cubicBezTo>
                    <a:pt x="1633" y="3527"/>
                    <a:pt x="1633" y="3498"/>
                    <a:pt x="1633" y="3470"/>
                  </a:cubicBezTo>
                  <a:lnTo>
                    <a:pt x="1633" y="3441"/>
                  </a:lnTo>
                  <a:cubicBezTo>
                    <a:pt x="1633" y="3411"/>
                    <a:pt x="1633" y="3411"/>
                    <a:pt x="1633" y="3382"/>
                  </a:cubicBezTo>
                  <a:cubicBezTo>
                    <a:pt x="1662" y="3294"/>
                    <a:pt x="1721" y="3265"/>
                    <a:pt x="1808" y="326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0" name="Freeform 67">
              <a:extLst>
                <a:ext uri="{FF2B5EF4-FFF2-40B4-BE49-F238E27FC236}">
                  <a16:creationId xmlns:a16="http://schemas.microsoft.com/office/drawing/2014/main" id="{13BC150C-03D2-45CC-A412-62CC51EC5C6F}"/>
                </a:ext>
              </a:extLst>
            </p:cNvPr>
            <p:cNvSpPr>
              <a:spLocks noChangeArrowheads="1"/>
            </p:cNvSpPr>
            <p:nvPr/>
          </p:nvSpPr>
          <p:spPr bwMode="auto">
            <a:xfrm>
              <a:off x="8676164" y="3222135"/>
              <a:ext cx="1056788" cy="524336"/>
            </a:xfrm>
            <a:custGeom>
              <a:avLst/>
              <a:gdLst>
                <a:gd name="T0" fmla="*/ 495 w 2858"/>
                <a:gd name="T1" fmla="*/ 1342 h 1430"/>
                <a:gd name="T2" fmla="*/ 2128 w 2858"/>
                <a:gd name="T3" fmla="*/ 1226 h 1430"/>
                <a:gd name="T4" fmla="*/ 2333 w 2858"/>
                <a:gd name="T5" fmla="*/ 1196 h 1430"/>
                <a:gd name="T6" fmla="*/ 2391 w 2858"/>
                <a:gd name="T7" fmla="*/ 1109 h 1430"/>
                <a:gd name="T8" fmla="*/ 2537 w 2858"/>
                <a:gd name="T9" fmla="*/ 992 h 1430"/>
                <a:gd name="T10" fmla="*/ 2566 w 2858"/>
                <a:gd name="T11" fmla="*/ 933 h 1430"/>
                <a:gd name="T12" fmla="*/ 2741 w 2858"/>
                <a:gd name="T13" fmla="*/ 758 h 1430"/>
                <a:gd name="T14" fmla="*/ 2828 w 2858"/>
                <a:gd name="T15" fmla="*/ 671 h 1430"/>
                <a:gd name="T16" fmla="*/ 2857 w 2858"/>
                <a:gd name="T17" fmla="*/ 555 h 1430"/>
                <a:gd name="T18" fmla="*/ 2799 w 2858"/>
                <a:gd name="T19" fmla="*/ 496 h 1430"/>
                <a:gd name="T20" fmla="*/ 2771 w 2858"/>
                <a:gd name="T21" fmla="*/ 467 h 1430"/>
                <a:gd name="T22" fmla="*/ 2741 w 2858"/>
                <a:gd name="T23" fmla="*/ 262 h 1430"/>
                <a:gd name="T24" fmla="*/ 2507 w 2858"/>
                <a:gd name="T25" fmla="*/ 117 h 1430"/>
                <a:gd name="T26" fmla="*/ 2421 w 2858"/>
                <a:gd name="T27" fmla="*/ 176 h 1430"/>
                <a:gd name="T28" fmla="*/ 2391 w 2858"/>
                <a:gd name="T29" fmla="*/ 146 h 1430"/>
                <a:gd name="T30" fmla="*/ 2304 w 2858"/>
                <a:gd name="T31" fmla="*/ 146 h 1430"/>
                <a:gd name="T32" fmla="*/ 2187 w 2858"/>
                <a:gd name="T33" fmla="*/ 117 h 1430"/>
                <a:gd name="T34" fmla="*/ 2041 w 2858"/>
                <a:gd name="T35" fmla="*/ 88 h 1430"/>
                <a:gd name="T36" fmla="*/ 1866 w 2858"/>
                <a:gd name="T37" fmla="*/ 29 h 1430"/>
                <a:gd name="T38" fmla="*/ 1778 w 2858"/>
                <a:gd name="T39" fmla="*/ 29 h 1430"/>
                <a:gd name="T40" fmla="*/ 1691 w 2858"/>
                <a:gd name="T41" fmla="*/ 205 h 1430"/>
                <a:gd name="T42" fmla="*/ 1487 w 2858"/>
                <a:gd name="T43" fmla="*/ 496 h 1430"/>
                <a:gd name="T44" fmla="*/ 1341 w 2858"/>
                <a:gd name="T45" fmla="*/ 642 h 1430"/>
                <a:gd name="T46" fmla="*/ 1254 w 2858"/>
                <a:gd name="T47" fmla="*/ 583 h 1430"/>
                <a:gd name="T48" fmla="*/ 1195 w 2858"/>
                <a:gd name="T49" fmla="*/ 583 h 1430"/>
                <a:gd name="T50" fmla="*/ 1078 w 2858"/>
                <a:gd name="T51" fmla="*/ 700 h 1430"/>
                <a:gd name="T52" fmla="*/ 1050 w 2858"/>
                <a:gd name="T53" fmla="*/ 671 h 1430"/>
                <a:gd name="T54" fmla="*/ 962 w 2858"/>
                <a:gd name="T55" fmla="*/ 729 h 1430"/>
                <a:gd name="T56" fmla="*/ 787 w 2858"/>
                <a:gd name="T57" fmla="*/ 700 h 1430"/>
                <a:gd name="T58" fmla="*/ 729 w 2858"/>
                <a:gd name="T59" fmla="*/ 729 h 1430"/>
                <a:gd name="T60" fmla="*/ 671 w 2858"/>
                <a:gd name="T61" fmla="*/ 729 h 1430"/>
                <a:gd name="T62" fmla="*/ 495 w 2858"/>
                <a:gd name="T63" fmla="*/ 1021 h 1430"/>
                <a:gd name="T64" fmla="*/ 466 w 2858"/>
                <a:gd name="T65" fmla="*/ 1050 h 1430"/>
                <a:gd name="T66" fmla="*/ 321 w 2858"/>
                <a:gd name="T67" fmla="*/ 1138 h 1430"/>
                <a:gd name="T68" fmla="*/ 204 w 2858"/>
                <a:gd name="T69" fmla="*/ 1109 h 1430"/>
                <a:gd name="T70" fmla="*/ 145 w 2858"/>
                <a:gd name="T71" fmla="*/ 1226 h 1430"/>
                <a:gd name="T72" fmla="*/ 0 w 2858"/>
                <a:gd name="T73" fmla="*/ 1429 h 1430"/>
                <a:gd name="T74" fmla="*/ 350 w 2858"/>
                <a:gd name="T75" fmla="*/ 1400 h 1430"/>
                <a:gd name="T76" fmla="*/ 495 w 2858"/>
                <a:gd name="T77" fmla="*/ 1400 h 1430"/>
                <a:gd name="T78" fmla="*/ 495 w 2858"/>
                <a:gd name="T79" fmla="*/ 1342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58" h="1430">
                  <a:moveTo>
                    <a:pt x="495" y="1342"/>
                  </a:moveTo>
                  <a:lnTo>
                    <a:pt x="495" y="1342"/>
                  </a:lnTo>
                  <a:lnTo>
                    <a:pt x="495" y="1342"/>
                  </a:lnTo>
                  <a:cubicBezTo>
                    <a:pt x="1078" y="1312"/>
                    <a:pt x="1691" y="1254"/>
                    <a:pt x="2128" y="1226"/>
                  </a:cubicBezTo>
                  <a:cubicBezTo>
                    <a:pt x="2157" y="1196"/>
                    <a:pt x="2187" y="1196"/>
                    <a:pt x="2187" y="1196"/>
                  </a:cubicBezTo>
                  <a:cubicBezTo>
                    <a:pt x="2245" y="1196"/>
                    <a:pt x="2304" y="1196"/>
                    <a:pt x="2333" y="1196"/>
                  </a:cubicBezTo>
                  <a:cubicBezTo>
                    <a:pt x="2333" y="1196"/>
                    <a:pt x="2333" y="1167"/>
                    <a:pt x="2362" y="1167"/>
                  </a:cubicBezTo>
                  <a:cubicBezTo>
                    <a:pt x="2362" y="1138"/>
                    <a:pt x="2362" y="1138"/>
                    <a:pt x="2391" y="1109"/>
                  </a:cubicBezTo>
                  <a:cubicBezTo>
                    <a:pt x="2391" y="1109"/>
                    <a:pt x="2421" y="1079"/>
                    <a:pt x="2449" y="1050"/>
                  </a:cubicBezTo>
                  <a:cubicBezTo>
                    <a:pt x="2478" y="1050"/>
                    <a:pt x="2537" y="1021"/>
                    <a:pt x="2537" y="992"/>
                  </a:cubicBezTo>
                  <a:cubicBezTo>
                    <a:pt x="2537" y="933"/>
                    <a:pt x="2537" y="933"/>
                    <a:pt x="2537" y="933"/>
                  </a:cubicBezTo>
                  <a:cubicBezTo>
                    <a:pt x="2566" y="933"/>
                    <a:pt x="2566" y="933"/>
                    <a:pt x="2566" y="933"/>
                  </a:cubicBezTo>
                  <a:cubicBezTo>
                    <a:pt x="2595" y="933"/>
                    <a:pt x="2595" y="933"/>
                    <a:pt x="2595" y="933"/>
                  </a:cubicBezTo>
                  <a:cubicBezTo>
                    <a:pt x="2624" y="846"/>
                    <a:pt x="2683" y="788"/>
                    <a:pt x="2741" y="758"/>
                  </a:cubicBezTo>
                  <a:lnTo>
                    <a:pt x="2771" y="729"/>
                  </a:lnTo>
                  <a:cubicBezTo>
                    <a:pt x="2799" y="729"/>
                    <a:pt x="2828" y="700"/>
                    <a:pt x="2828" y="671"/>
                  </a:cubicBezTo>
                  <a:cubicBezTo>
                    <a:pt x="2857" y="671"/>
                    <a:pt x="2857" y="612"/>
                    <a:pt x="2857" y="583"/>
                  </a:cubicBezTo>
                  <a:lnTo>
                    <a:pt x="2857" y="555"/>
                  </a:lnTo>
                  <a:cubicBezTo>
                    <a:pt x="2828" y="555"/>
                    <a:pt x="2799" y="526"/>
                    <a:pt x="2799" y="496"/>
                  </a:cubicBezTo>
                  <a:lnTo>
                    <a:pt x="2799" y="496"/>
                  </a:lnTo>
                  <a:lnTo>
                    <a:pt x="2771" y="496"/>
                  </a:lnTo>
                  <a:cubicBezTo>
                    <a:pt x="2771" y="467"/>
                    <a:pt x="2771" y="467"/>
                    <a:pt x="2771" y="467"/>
                  </a:cubicBezTo>
                  <a:cubicBezTo>
                    <a:pt x="2741" y="467"/>
                    <a:pt x="2741" y="467"/>
                    <a:pt x="2741" y="467"/>
                  </a:cubicBezTo>
                  <a:cubicBezTo>
                    <a:pt x="2741" y="409"/>
                    <a:pt x="2712" y="321"/>
                    <a:pt x="2741" y="262"/>
                  </a:cubicBezTo>
                  <a:cubicBezTo>
                    <a:pt x="2683" y="262"/>
                    <a:pt x="2624" y="205"/>
                    <a:pt x="2595" y="176"/>
                  </a:cubicBezTo>
                  <a:cubicBezTo>
                    <a:pt x="2566" y="146"/>
                    <a:pt x="2537" y="146"/>
                    <a:pt x="2507" y="117"/>
                  </a:cubicBezTo>
                  <a:cubicBezTo>
                    <a:pt x="2507" y="117"/>
                    <a:pt x="2507" y="117"/>
                    <a:pt x="2478" y="146"/>
                  </a:cubicBezTo>
                  <a:cubicBezTo>
                    <a:pt x="2478" y="146"/>
                    <a:pt x="2449" y="176"/>
                    <a:pt x="2421" y="176"/>
                  </a:cubicBezTo>
                  <a:lnTo>
                    <a:pt x="2421" y="176"/>
                  </a:lnTo>
                  <a:lnTo>
                    <a:pt x="2391" y="146"/>
                  </a:lnTo>
                  <a:cubicBezTo>
                    <a:pt x="2362" y="146"/>
                    <a:pt x="2362" y="146"/>
                    <a:pt x="2333" y="146"/>
                  </a:cubicBezTo>
                  <a:lnTo>
                    <a:pt x="2304" y="146"/>
                  </a:lnTo>
                  <a:cubicBezTo>
                    <a:pt x="2274" y="146"/>
                    <a:pt x="2274" y="176"/>
                    <a:pt x="2245" y="146"/>
                  </a:cubicBezTo>
                  <a:cubicBezTo>
                    <a:pt x="2216" y="146"/>
                    <a:pt x="2216" y="146"/>
                    <a:pt x="2187" y="117"/>
                  </a:cubicBezTo>
                  <a:cubicBezTo>
                    <a:pt x="2187" y="117"/>
                    <a:pt x="2187" y="117"/>
                    <a:pt x="2157" y="117"/>
                  </a:cubicBezTo>
                  <a:cubicBezTo>
                    <a:pt x="2128" y="88"/>
                    <a:pt x="2099" y="88"/>
                    <a:pt x="2041" y="88"/>
                  </a:cubicBezTo>
                  <a:cubicBezTo>
                    <a:pt x="2012" y="88"/>
                    <a:pt x="1983" y="88"/>
                    <a:pt x="1954" y="59"/>
                  </a:cubicBezTo>
                  <a:cubicBezTo>
                    <a:pt x="1924" y="59"/>
                    <a:pt x="1895" y="59"/>
                    <a:pt x="1866" y="29"/>
                  </a:cubicBezTo>
                  <a:cubicBezTo>
                    <a:pt x="1837" y="29"/>
                    <a:pt x="1807" y="0"/>
                    <a:pt x="1778" y="29"/>
                  </a:cubicBezTo>
                  <a:lnTo>
                    <a:pt x="1778" y="29"/>
                  </a:lnTo>
                  <a:cubicBezTo>
                    <a:pt x="1778" y="88"/>
                    <a:pt x="1750" y="176"/>
                    <a:pt x="1721" y="205"/>
                  </a:cubicBezTo>
                  <a:cubicBezTo>
                    <a:pt x="1691" y="205"/>
                    <a:pt x="1691" y="205"/>
                    <a:pt x="1691" y="205"/>
                  </a:cubicBezTo>
                  <a:cubicBezTo>
                    <a:pt x="1633" y="205"/>
                    <a:pt x="1604" y="233"/>
                    <a:pt x="1574" y="292"/>
                  </a:cubicBezTo>
                  <a:cubicBezTo>
                    <a:pt x="1574" y="379"/>
                    <a:pt x="1545" y="438"/>
                    <a:pt x="1487" y="496"/>
                  </a:cubicBezTo>
                  <a:cubicBezTo>
                    <a:pt x="1487" y="496"/>
                    <a:pt x="1487" y="496"/>
                    <a:pt x="1487" y="526"/>
                  </a:cubicBezTo>
                  <a:cubicBezTo>
                    <a:pt x="1428" y="612"/>
                    <a:pt x="1371" y="642"/>
                    <a:pt x="1341" y="642"/>
                  </a:cubicBezTo>
                  <a:lnTo>
                    <a:pt x="1341" y="642"/>
                  </a:lnTo>
                  <a:cubicBezTo>
                    <a:pt x="1283" y="642"/>
                    <a:pt x="1254" y="612"/>
                    <a:pt x="1254" y="583"/>
                  </a:cubicBezTo>
                  <a:cubicBezTo>
                    <a:pt x="1224" y="555"/>
                    <a:pt x="1224" y="555"/>
                    <a:pt x="1195" y="555"/>
                  </a:cubicBezTo>
                  <a:lnTo>
                    <a:pt x="1195" y="583"/>
                  </a:lnTo>
                  <a:cubicBezTo>
                    <a:pt x="1195" y="642"/>
                    <a:pt x="1166" y="700"/>
                    <a:pt x="1107" y="700"/>
                  </a:cubicBezTo>
                  <a:cubicBezTo>
                    <a:pt x="1078" y="700"/>
                    <a:pt x="1078" y="700"/>
                    <a:pt x="1078" y="700"/>
                  </a:cubicBezTo>
                  <a:lnTo>
                    <a:pt x="1078" y="700"/>
                  </a:lnTo>
                  <a:lnTo>
                    <a:pt x="1050" y="671"/>
                  </a:lnTo>
                  <a:cubicBezTo>
                    <a:pt x="1021" y="671"/>
                    <a:pt x="1021" y="700"/>
                    <a:pt x="1021" y="700"/>
                  </a:cubicBezTo>
                  <a:cubicBezTo>
                    <a:pt x="991" y="700"/>
                    <a:pt x="991" y="729"/>
                    <a:pt x="962" y="729"/>
                  </a:cubicBezTo>
                  <a:cubicBezTo>
                    <a:pt x="904" y="729"/>
                    <a:pt x="874" y="729"/>
                    <a:pt x="845" y="700"/>
                  </a:cubicBezTo>
                  <a:cubicBezTo>
                    <a:pt x="816" y="700"/>
                    <a:pt x="816" y="700"/>
                    <a:pt x="787" y="700"/>
                  </a:cubicBezTo>
                  <a:cubicBezTo>
                    <a:pt x="787" y="700"/>
                    <a:pt x="787" y="700"/>
                    <a:pt x="757" y="700"/>
                  </a:cubicBezTo>
                  <a:lnTo>
                    <a:pt x="729" y="729"/>
                  </a:lnTo>
                  <a:cubicBezTo>
                    <a:pt x="700" y="729"/>
                    <a:pt x="700" y="729"/>
                    <a:pt x="700" y="729"/>
                  </a:cubicBezTo>
                  <a:lnTo>
                    <a:pt x="671" y="729"/>
                  </a:lnTo>
                  <a:cubicBezTo>
                    <a:pt x="671" y="758"/>
                    <a:pt x="641" y="817"/>
                    <a:pt x="554" y="817"/>
                  </a:cubicBezTo>
                  <a:cubicBezTo>
                    <a:pt x="554" y="905"/>
                    <a:pt x="524" y="962"/>
                    <a:pt x="495" y="1021"/>
                  </a:cubicBezTo>
                  <a:cubicBezTo>
                    <a:pt x="495" y="1050"/>
                    <a:pt x="495" y="1050"/>
                    <a:pt x="495" y="1050"/>
                  </a:cubicBezTo>
                  <a:cubicBezTo>
                    <a:pt x="466" y="1050"/>
                    <a:pt x="466" y="1050"/>
                    <a:pt x="466" y="1050"/>
                  </a:cubicBezTo>
                  <a:cubicBezTo>
                    <a:pt x="437" y="1050"/>
                    <a:pt x="437" y="1050"/>
                    <a:pt x="407" y="1079"/>
                  </a:cubicBezTo>
                  <a:cubicBezTo>
                    <a:pt x="407" y="1109"/>
                    <a:pt x="379" y="1138"/>
                    <a:pt x="321" y="1138"/>
                  </a:cubicBezTo>
                  <a:cubicBezTo>
                    <a:pt x="291" y="1167"/>
                    <a:pt x="291" y="1138"/>
                    <a:pt x="262" y="1138"/>
                  </a:cubicBezTo>
                  <a:cubicBezTo>
                    <a:pt x="233" y="1138"/>
                    <a:pt x="233" y="1109"/>
                    <a:pt x="204" y="1109"/>
                  </a:cubicBezTo>
                  <a:cubicBezTo>
                    <a:pt x="204" y="1138"/>
                    <a:pt x="174" y="1138"/>
                    <a:pt x="174" y="1167"/>
                  </a:cubicBezTo>
                  <a:cubicBezTo>
                    <a:pt x="174" y="1196"/>
                    <a:pt x="174" y="1196"/>
                    <a:pt x="145" y="1226"/>
                  </a:cubicBezTo>
                  <a:cubicBezTo>
                    <a:pt x="174" y="1254"/>
                    <a:pt x="174" y="1312"/>
                    <a:pt x="174" y="1342"/>
                  </a:cubicBezTo>
                  <a:cubicBezTo>
                    <a:pt x="145" y="1400"/>
                    <a:pt x="87" y="1429"/>
                    <a:pt x="0" y="1429"/>
                  </a:cubicBezTo>
                  <a:lnTo>
                    <a:pt x="0" y="1429"/>
                  </a:lnTo>
                  <a:cubicBezTo>
                    <a:pt x="116" y="1429"/>
                    <a:pt x="233" y="1429"/>
                    <a:pt x="350" y="1400"/>
                  </a:cubicBezTo>
                  <a:cubicBezTo>
                    <a:pt x="407" y="1400"/>
                    <a:pt x="437" y="1400"/>
                    <a:pt x="495" y="1400"/>
                  </a:cubicBezTo>
                  <a:lnTo>
                    <a:pt x="495" y="1400"/>
                  </a:lnTo>
                  <a:cubicBezTo>
                    <a:pt x="495" y="1371"/>
                    <a:pt x="466" y="1371"/>
                    <a:pt x="466" y="1342"/>
                  </a:cubicBezTo>
                  <a:lnTo>
                    <a:pt x="495" y="13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1" name="Freeform 68">
              <a:extLst>
                <a:ext uri="{FF2B5EF4-FFF2-40B4-BE49-F238E27FC236}">
                  <a16:creationId xmlns:a16="http://schemas.microsoft.com/office/drawing/2014/main" id="{ECF27E52-7BB6-46D2-BB57-7EF393EBBC16}"/>
                </a:ext>
              </a:extLst>
            </p:cNvPr>
            <p:cNvSpPr>
              <a:spLocks noChangeArrowheads="1"/>
            </p:cNvSpPr>
            <p:nvPr/>
          </p:nvSpPr>
          <p:spPr bwMode="auto">
            <a:xfrm>
              <a:off x="10704935" y="1820670"/>
              <a:ext cx="238103" cy="440183"/>
            </a:xfrm>
            <a:custGeom>
              <a:avLst/>
              <a:gdLst>
                <a:gd name="T0" fmla="*/ 583 w 642"/>
                <a:gd name="T1" fmla="*/ 30 h 1198"/>
                <a:gd name="T2" fmla="*/ 583 w 642"/>
                <a:gd name="T3" fmla="*/ 30 h 1198"/>
                <a:gd name="T4" fmla="*/ 583 w 642"/>
                <a:gd name="T5" fmla="*/ 0 h 1198"/>
                <a:gd name="T6" fmla="*/ 116 w 642"/>
                <a:gd name="T7" fmla="*/ 147 h 1198"/>
                <a:gd name="T8" fmla="*/ 0 w 642"/>
                <a:gd name="T9" fmla="*/ 176 h 1198"/>
                <a:gd name="T10" fmla="*/ 29 w 642"/>
                <a:gd name="T11" fmla="*/ 350 h 1198"/>
                <a:gd name="T12" fmla="*/ 57 w 642"/>
                <a:gd name="T13" fmla="*/ 380 h 1198"/>
                <a:gd name="T14" fmla="*/ 87 w 642"/>
                <a:gd name="T15" fmla="*/ 467 h 1198"/>
                <a:gd name="T16" fmla="*/ 87 w 642"/>
                <a:gd name="T17" fmla="*/ 584 h 1198"/>
                <a:gd name="T18" fmla="*/ 87 w 642"/>
                <a:gd name="T19" fmla="*/ 642 h 1198"/>
                <a:gd name="T20" fmla="*/ 116 w 642"/>
                <a:gd name="T21" fmla="*/ 700 h 1198"/>
                <a:gd name="T22" fmla="*/ 145 w 642"/>
                <a:gd name="T23" fmla="*/ 817 h 1198"/>
                <a:gd name="T24" fmla="*/ 145 w 642"/>
                <a:gd name="T25" fmla="*/ 817 h 1198"/>
                <a:gd name="T26" fmla="*/ 145 w 642"/>
                <a:gd name="T27" fmla="*/ 817 h 1198"/>
                <a:gd name="T28" fmla="*/ 174 w 642"/>
                <a:gd name="T29" fmla="*/ 817 h 1198"/>
                <a:gd name="T30" fmla="*/ 174 w 642"/>
                <a:gd name="T31" fmla="*/ 847 h 1198"/>
                <a:gd name="T32" fmla="*/ 262 w 642"/>
                <a:gd name="T33" fmla="*/ 1080 h 1198"/>
                <a:gd name="T34" fmla="*/ 291 w 642"/>
                <a:gd name="T35" fmla="*/ 1197 h 1198"/>
                <a:gd name="T36" fmla="*/ 437 w 642"/>
                <a:gd name="T37" fmla="*/ 1167 h 1198"/>
                <a:gd name="T38" fmla="*/ 524 w 642"/>
                <a:gd name="T39" fmla="*/ 1138 h 1198"/>
                <a:gd name="T40" fmla="*/ 554 w 642"/>
                <a:gd name="T41" fmla="*/ 1080 h 1198"/>
                <a:gd name="T42" fmla="*/ 554 w 642"/>
                <a:gd name="T43" fmla="*/ 1021 h 1198"/>
                <a:gd name="T44" fmla="*/ 524 w 642"/>
                <a:gd name="T45" fmla="*/ 992 h 1198"/>
                <a:gd name="T46" fmla="*/ 524 w 642"/>
                <a:gd name="T47" fmla="*/ 963 h 1198"/>
                <a:gd name="T48" fmla="*/ 524 w 642"/>
                <a:gd name="T49" fmla="*/ 905 h 1198"/>
                <a:gd name="T50" fmla="*/ 524 w 642"/>
                <a:gd name="T51" fmla="*/ 876 h 1198"/>
                <a:gd name="T52" fmla="*/ 524 w 642"/>
                <a:gd name="T53" fmla="*/ 847 h 1198"/>
                <a:gd name="T54" fmla="*/ 495 w 642"/>
                <a:gd name="T55" fmla="*/ 788 h 1198"/>
                <a:gd name="T56" fmla="*/ 524 w 642"/>
                <a:gd name="T57" fmla="*/ 700 h 1198"/>
                <a:gd name="T58" fmla="*/ 524 w 642"/>
                <a:gd name="T59" fmla="*/ 642 h 1198"/>
                <a:gd name="T60" fmla="*/ 524 w 642"/>
                <a:gd name="T61" fmla="*/ 613 h 1198"/>
                <a:gd name="T62" fmla="*/ 524 w 642"/>
                <a:gd name="T63" fmla="*/ 555 h 1198"/>
                <a:gd name="T64" fmla="*/ 524 w 642"/>
                <a:gd name="T65" fmla="*/ 526 h 1198"/>
                <a:gd name="T66" fmla="*/ 554 w 642"/>
                <a:gd name="T67" fmla="*/ 497 h 1198"/>
                <a:gd name="T68" fmla="*/ 524 w 642"/>
                <a:gd name="T69" fmla="*/ 467 h 1198"/>
                <a:gd name="T70" fmla="*/ 524 w 642"/>
                <a:gd name="T71" fmla="*/ 350 h 1198"/>
                <a:gd name="T72" fmla="*/ 583 w 642"/>
                <a:gd name="T73" fmla="*/ 350 h 1198"/>
                <a:gd name="T74" fmla="*/ 612 w 642"/>
                <a:gd name="T75" fmla="*/ 292 h 1198"/>
                <a:gd name="T76" fmla="*/ 641 w 642"/>
                <a:gd name="T77" fmla="*/ 234 h 1198"/>
                <a:gd name="T78" fmla="*/ 612 w 642"/>
                <a:gd name="T79" fmla="*/ 176 h 1198"/>
                <a:gd name="T80" fmla="*/ 612 w 642"/>
                <a:gd name="T81" fmla="*/ 88 h 1198"/>
                <a:gd name="T82" fmla="*/ 583 w 642"/>
                <a:gd name="T83" fmla="*/ 30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2" h="1198">
                  <a:moveTo>
                    <a:pt x="583" y="30"/>
                  </a:moveTo>
                  <a:lnTo>
                    <a:pt x="583" y="30"/>
                  </a:lnTo>
                  <a:cubicBezTo>
                    <a:pt x="583" y="30"/>
                    <a:pt x="583" y="30"/>
                    <a:pt x="583" y="0"/>
                  </a:cubicBezTo>
                  <a:cubicBezTo>
                    <a:pt x="437" y="59"/>
                    <a:pt x="262" y="88"/>
                    <a:pt x="116" y="147"/>
                  </a:cubicBezTo>
                  <a:cubicBezTo>
                    <a:pt x="87" y="147"/>
                    <a:pt x="29" y="176"/>
                    <a:pt x="0" y="176"/>
                  </a:cubicBezTo>
                  <a:cubicBezTo>
                    <a:pt x="0" y="263"/>
                    <a:pt x="0" y="292"/>
                    <a:pt x="29" y="350"/>
                  </a:cubicBezTo>
                  <a:cubicBezTo>
                    <a:pt x="29" y="380"/>
                    <a:pt x="29" y="380"/>
                    <a:pt x="57" y="380"/>
                  </a:cubicBezTo>
                  <a:cubicBezTo>
                    <a:pt x="57" y="409"/>
                    <a:pt x="87" y="438"/>
                    <a:pt x="87" y="467"/>
                  </a:cubicBezTo>
                  <a:cubicBezTo>
                    <a:pt x="87" y="526"/>
                    <a:pt x="87" y="555"/>
                    <a:pt x="87" y="584"/>
                  </a:cubicBezTo>
                  <a:cubicBezTo>
                    <a:pt x="87" y="613"/>
                    <a:pt x="57" y="613"/>
                    <a:pt x="87" y="642"/>
                  </a:cubicBezTo>
                  <a:cubicBezTo>
                    <a:pt x="87" y="671"/>
                    <a:pt x="87" y="700"/>
                    <a:pt x="116" y="700"/>
                  </a:cubicBezTo>
                  <a:cubicBezTo>
                    <a:pt x="116" y="730"/>
                    <a:pt x="145" y="788"/>
                    <a:pt x="145" y="817"/>
                  </a:cubicBezTo>
                  <a:lnTo>
                    <a:pt x="145" y="817"/>
                  </a:lnTo>
                  <a:lnTo>
                    <a:pt x="145" y="817"/>
                  </a:lnTo>
                  <a:cubicBezTo>
                    <a:pt x="174" y="817"/>
                    <a:pt x="174" y="817"/>
                    <a:pt x="174" y="817"/>
                  </a:cubicBezTo>
                  <a:cubicBezTo>
                    <a:pt x="174" y="847"/>
                    <a:pt x="174" y="847"/>
                    <a:pt x="174" y="847"/>
                  </a:cubicBezTo>
                  <a:cubicBezTo>
                    <a:pt x="233" y="905"/>
                    <a:pt x="233" y="992"/>
                    <a:pt x="262" y="1080"/>
                  </a:cubicBezTo>
                  <a:cubicBezTo>
                    <a:pt x="262" y="1138"/>
                    <a:pt x="262" y="1167"/>
                    <a:pt x="291" y="1197"/>
                  </a:cubicBezTo>
                  <a:cubicBezTo>
                    <a:pt x="321" y="1197"/>
                    <a:pt x="379" y="1197"/>
                    <a:pt x="437" y="1167"/>
                  </a:cubicBezTo>
                  <a:cubicBezTo>
                    <a:pt x="466" y="1167"/>
                    <a:pt x="495" y="1167"/>
                    <a:pt x="524" y="1138"/>
                  </a:cubicBezTo>
                  <a:cubicBezTo>
                    <a:pt x="524" y="1138"/>
                    <a:pt x="524" y="1109"/>
                    <a:pt x="554" y="1080"/>
                  </a:cubicBezTo>
                  <a:cubicBezTo>
                    <a:pt x="554" y="1080"/>
                    <a:pt x="554" y="1050"/>
                    <a:pt x="554" y="1021"/>
                  </a:cubicBezTo>
                  <a:cubicBezTo>
                    <a:pt x="554" y="1021"/>
                    <a:pt x="554" y="992"/>
                    <a:pt x="524" y="992"/>
                  </a:cubicBezTo>
                  <a:lnTo>
                    <a:pt x="524" y="963"/>
                  </a:lnTo>
                  <a:cubicBezTo>
                    <a:pt x="524" y="934"/>
                    <a:pt x="524" y="934"/>
                    <a:pt x="524" y="905"/>
                  </a:cubicBezTo>
                  <a:lnTo>
                    <a:pt x="524" y="876"/>
                  </a:lnTo>
                  <a:cubicBezTo>
                    <a:pt x="524" y="847"/>
                    <a:pt x="524" y="847"/>
                    <a:pt x="524" y="847"/>
                  </a:cubicBezTo>
                  <a:cubicBezTo>
                    <a:pt x="495" y="847"/>
                    <a:pt x="495" y="817"/>
                    <a:pt x="495" y="788"/>
                  </a:cubicBezTo>
                  <a:cubicBezTo>
                    <a:pt x="495" y="759"/>
                    <a:pt x="524" y="730"/>
                    <a:pt x="524" y="700"/>
                  </a:cubicBezTo>
                  <a:cubicBezTo>
                    <a:pt x="524" y="700"/>
                    <a:pt x="524" y="671"/>
                    <a:pt x="524" y="642"/>
                  </a:cubicBezTo>
                  <a:lnTo>
                    <a:pt x="524" y="613"/>
                  </a:lnTo>
                  <a:cubicBezTo>
                    <a:pt x="524" y="584"/>
                    <a:pt x="524" y="555"/>
                    <a:pt x="524" y="555"/>
                  </a:cubicBezTo>
                  <a:cubicBezTo>
                    <a:pt x="524" y="526"/>
                    <a:pt x="524" y="526"/>
                    <a:pt x="524" y="526"/>
                  </a:cubicBezTo>
                  <a:cubicBezTo>
                    <a:pt x="524" y="497"/>
                    <a:pt x="554" y="497"/>
                    <a:pt x="554" y="497"/>
                  </a:cubicBezTo>
                  <a:lnTo>
                    <a:pt x="524" y="467"/>
                  </a:lnTo>
                  <a:cubicBezTo>
                    <a:pt x="524" y="409"/>
                    <a:pt x="524" y="380"/>
                    <a:pt x="524" y="350"/>
                  </a:cubicBezTo>
                  <a:cubicBezTo>
                    <a:pt x="554" y="350"/>
                    <a:pt x="554" y="350"/>
                    <a:pt x="583" y="350"/>
                  </a:cubicBezTo>
                  <a:cubicBezTo>
                    <a:pt x="583" y="321"/>
                    <a:pt x="612" y="321"/>
                    <a:pt x="612" y="292"/>
                  </a:cubicBezTo>
                  <a:cubicBezTo>
                    <a:pt x="641" y="263"/>
                    <a:pt x="641" y="263"/>
                    <a:pt x="641" y="234"/>
                  </a:cubicBezTo>
                  <a:cubicBezTo>
                    <a:pt x="641" y="205"/>
                    <a:pt x="641" y="205"/>
                    <a:pt x="612" y="176"/>
                  </a:cubicBezTo>
                  <a:cubicBezTo>
                    <a:pt x="612" y="147"/>
                    <a:pt x="583" y="117"/>
                    <a:pt x="612" y="88"/>
                  </a:cubicBezTo>
                  <a:cubicBezTo>
                    <a:pt x="583" y="59"/>
                    <a:pt x="583" y="59"/>
                    <a:pt x="583"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2" name="Freeform 69">
              <a:extLst>
                <a:ext uri="{FF2B5EF4-FFF2-40B4-BE49-F238E27FC236}">
                  <a16:creationId xmlns:a16="http://schemas.microsoft.com/office/drawing/2014/main" id="{E4F751BE-FF6F-4787-AA99-8BBD45D220B6}"/>
                </a:ext>
              </a:extLst>
            </p:cNvPr>
            <p:cNvSpPr>
              <a:spLocks noChangeArrowheads="1"/>
            </p:cNvSpPr>
            <p:nvPr/>
          </p:nvSpPr>
          <p:spPr bwMode="auto">
            <a:xfrm>
              <a:off x="10672318" y="3210806"/>
              <a:ext cx="11415" cy="1619"/>
            </a:xfrm>
            <a:custGeom>
              <a:avLst/>
              <a:gdLst>
                <a:gd name="T0" fmla="*/ 29 w 30"/>
                <a:gd name="T1" fmla="*/ 0 h 1"/>
                <a:gd name="T2" fmla="*/ 29 w 30"/>
                <a:gd name="T3" fmla="*/ 0 h 1"/>
                <a:gd name="T4" fmla="*/ 0 w 30"/>
                <a:gd name="T5" fmla="*/ 0 h 1"/>
                <a:gd name="T6" fmla="*/ 0 w 30"/>
                <a:gd name="T7" fmla="*/ 0 h 1"/>
                <a:gd name="T8" fmla="*/ 29 w 30"/>
                <a:gd name="T9" fmla="*/ 0 h 1"/>
              </a:gdLst>
              <a:ahLst/>
              <a:cxnLst>
                <a:cxn ang="0">
                  <a:pos x="T0" y="T1"/>
                </a:cxn>
                <a:cxn ang="0">
                  <a:pos x="T2" y="T3"/>
                </a:cxn>
                <a:cxn ang="0">
                  <a:pos x="T4" y="T5"/>
                </a:cxn>
                <a:cxn ang="0">
                  <a:pos x="T6" y="T7"/>
                </a:cxn>
                <a:cxn ang="0">
                  <a:pos x="T8" y="T9"/>
                </a:cxn>
              </a:cxnLst>
              <a:rect l="0" t="0" r="r" b="b"/>
              <a:pathLst>
                <a:path w="30" h="1">
                  <a:moveTo>
                    <a:pt x="29" y="0"/>
                  </a:moveTo>
                  <a:lnTo>
                    <a:pt x="29" y="0"/>
                  </a:lnTo>
                  <a:cubicBezTo>
                    <a:pt x="29" y="0"/>
                    <a:pt x="29" y="0"/>
                    <a:pt x="0" y="0"/>
                  </a:cubicBezTo>
                  <a:lnTo>
                    <a:pt x="0" y="0"/>
                  </a:ln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3" name="Freeform 70">
              <a:extLst>
                <a:ext uri="{FF2B5EF4-FFF2-40B4-BE49-F238E27FC236}">
                  <a16:creationId xmlns:a16="http://schemas.microsoft.com/office/drawing/2014/main" id="{F3FBE546-9D9A-459D-B621-6DD7FE78FB04}"/>
                </a:ext>
              </a:extLst>
            </p:cNvPr>
            <p:cNvSpPr>
              <a:spLocks noChangeArrowheads="1"/>
            </p:cNvSpPr>
            <p:nvPr/>
          </p:nvSpPr>
          <p:spPr bwMode="auto">
            <a:xfrm>
              <a:off x="6639237" y="3639662"/>
              <a:ext cx="1273691" cy="663511"/>
            </a:xfrm>
            <a:custGeom>
              <a:avLst/>
              <a:gdLst>
                <a:gd name="T0" fmla="*/ 2536 w 3442"/>
                <a:gd name="T1" fmla="*/ 1662 h 1809"/>
                <a:gd name="T2" fmla="*/ 2566 w 3442"/>
                <a:gd name="T3" fmla="*/ 1662 h 1809"/>
                <a:gd name="T4" fmla="*/ 2653 w 3442"/>
                <a:gd name="T5" fmla="*/ 1691 h 1809"/>
                <a:gd name="T6" fmla="*/ 2712 w 3442"/>
                <a:gd name="T7" fmla="*/ 1750 h 1809"/>
                <a:gd name="T8" fmla="*/ 2712 w 3442"/>
                <a:gd name="T9" fmla="*/ 1750 h 1809"/>
                <a:gd name="T10" fmla="*/ 2916 w 3442"/>
                <a:gd name="T11" fmla="*/ 1691 h 1809"/>
                <a:gd name="T12" fmla="*/ 2974 w 3442"/>
                <a:gd name="T13" fmla="*/ 1691 h 1809"/>
                <a:gd name="T14" fmla="*/ 3003 w 3442"/>
                <a:gd name="T15" fmla="*/ 1691 h 1809"/>
                <a:gd name="T16" fmla="*/ 3120 w 3442"/>
                <a:gd name="T17" fmla="*/ 1691 h 1809"/>
                <a:gd name="T18" fmla="*/ 3178 w 3442"/>
                <a:gd name="T19" fmla="*/ 1691 h 1809"/>
                <a:gd name="T20" fmla="*/ 3441 w 3442"/>
                <a:gd name="T21" fmla="*/ 1808 h 1809"/>
                <a:gd name="T22" fmla="*/ 3441 w 3442"/>
                <a:gd name="T23" fmla="*/ 1691 h 1809"/>
                <a:gd name="T24" fmla="*/ 3412 w 3442"/>
                <a:gd name="T25" fmla="*/ 788 h 1809"/>
                <a:gd name="T26" fmla="*/ 408 w 3442"/>
                <a:gd name="T27" fmla="*/ 29 h 1809"/>
                <a:gd name="T28" fmla="*/ 379 w 3442"/>
                <a:gd name="T29" fmla="*/ 29 h 1809"/>
                <a:gd name="T30" fmla="*/ 58 w 3442"/>
                <a:gd name="T31" fmla="*/ 0 h 1809"/>
                <a:gd name="T32" fmla="*/ 0 w 3442"/>
                <a:gd name="T33" fmla="*/ 174 h 1809"/>
                <a:gd name="T34" fmla="*/ 1166 w 3442"/>
                <a:gd name="T35" fmla="*/ 291 h 1809"/>
                <a:gd name="T36" fmla="*/ 1195 w 3442"/>
                <a:gd name="T37" fmla="*/ 320 h 1809"/>
                <a:gd name="T38" fmla="*/ 1166 w 3442"/>
                <a:gd name="T39" fmla="*/ 1283 h 1809"/>
                <a:gd name="T40" fmla="*/ 1574 w 3442"/>
                <a:gd name="T41" fmla="*/ 1458 h 1809"/>
                <a:gd name="T42" fmla="*/ 1691 w 3442"/>
                <a:gd name="T43" fmla="*/ 1516 h 1809"/>
                <a:gd name="T44" fmla="*/ 1836 w 3442"/>
                <a:gd name="T45" fmla="*/ 1574 h 1809"/>
                <a:gd name="T46" fmla="*/ 1866 w 3442"/>
                <a:gd name="T47" fmla="*/ 1545 h 1809"/>
                <a:gd name="T48" fmla="*/ 2041 w 3442"/>
                <a:gd name="T49" fmla="*/ 1633 h 1809"/>
                <a:gd name="T50" fmla="*/ 2129 w 3442"/>
                <a:gd name="T51" fmla="*/ 1691 h 1809"/>
                <a:gd name="T52" fmla="*/ 2245 w 3442"/>
                <a:gd name="T53" fmla="*/ 1691 h 1809"/>
                <a:gd name="T54" fmla="*/ 2362 w 3442"/>
                <a:gd name="T55" fmla="*/ 1662 h 1809"/>
                <a:gd name="T56" fmla="*/ 2420 w 3442"/>
                <a:gd name="T57" fmla="*/ 1691 h 1809"/>
                <a:gd name="T58" fmla="*/ 2420 w 3442"/>
                <a:gd name="T59" fmla="*/ 1633 h 1809"/>
                <a:gd name="T60" fmla="*/ 2450 w 3442"/>
                <a:gd name="T61" fmla="*/ 1604 h 1809"/>
                <a:gd name="T62" fmla="*/ 2479 w 3442"/>
                <a:gd name="T63" fmla="*/ 1633 h 1809"/>
                <a:gd name="T64" fmla="*/ 2536 w 3442"/>
                <a:gd name="T65" fmla="*/ 1662 h 1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2" h="1809">
                  <a:moveTo>
                    <a:pt x="2536" y="1662"/>
                  </a:moveTo>
                  <a:lnTo>
                    <a:pt x="2536" y="1662"/>
                  </a:lnTo>
                  <a:lnTo>
                    <a:pt x="2536" y="1662"/>
                  </a:lnTo>
                  <a:cubicBezTo>
                    <a:pt x="2566" y="1662"/>
                    <a:pt x="2566" y="1662"/>
                    <a:pt x="2566" y="1662"/>
                  </a:cubicBezTo>
                  <a:cubicBezTo>
                    <a:pt x="2595" y="1662"/>
                    <a:pt x="2624" y="1662"/>
                    <a:pt x="2653" y="1662"/>
                  </a:cubicBezTo>
                  <a:cubicBezTo>
                    <a:pt x="2653" y="1691"/>
                    <a:pt x="2653" y="1691"/>
                    <a:pt x="2653" y="1691"/>
                  </a:cubicBezTo>
                  <a:cubicBezTo>
                    <a:pt x="2683" y="1691"/>
                    <a:pt x="2683" y="1721"/>
                    <a:pt x="2683" y="1721"/>
                  </a:cubicBezTo>
                  <a:cubicBezTo>
                    <a:pt x="2683" y="1750"/>
                    <a:pt x="2683" y="1750"/>
                    <a:pt x="2712" y="1750"/>
                  </a:cubicBezTo>
                  <a:lnTo>
                    <a:pt x="2712" y="1750"/>
                  </a:lnTo>
                  <a:lnTo>
                    <a:pt x="2712" y="1750"/>
                  </a:lnTo>
                  <a:cubicBezTo>
                    <a:pt x="2741" y="1750"/>
                    <a:pt x="2741" y="1721"/>
                    <a:pt x="2741" y="1721"/>
                  </a:cubicBezTo>
                  <a:cubicBezTo>
                    <a:pt x="2800" y="1721"/>
                    <a:pt x="2857" y="1691"/>
                    <a:pt x="2916" y="1691"/>
                  </a:cubicBezTo>
                  <a:lnTo>
                    <a:pt x="2945" y="1691"/>
                  </a:lnTo>
                  <a:cubicBezTo>
                    <a:pt x="2945" y="1691"/>
                    <a:pt x="2945" y="1691"/>
                    <a:pt x="2974" y="1691"/>
                  </a:cubicBezTo>
                  <a:cubicBezTo>
                    <a:pt x="2974" y="1691"/>
                    <a:pt x="2974" y="1691"/>
                    <a:pt x="3003" y="1691"/>
                  </a:cubicBezTo>
                  <a:lnTo>
                    <a:pt x="3003" y="1691"/>
                  </a:lnTo>
                  <a:lnTo>
                    <a:pt x="3003" y="1691"/>
                  </a:lnTo>
                  <a:cubicBezTo>
                    <a:pt x="3033" y="1691"/>
                    <a:pt x="3091" y="1691"/>
                    <a:pt x="3120" y="1691"/>
                  </a:cubicBezTo>
                  <a:lnTo>
                    <a:pt x="3150" y="1691"/>
                  </a:lnTo>
                  <a:cubicBezTo>
                    <a:pt x="3178" y="1691"/>
                    <a:pt x="3178" y="1691"/>
                    <a:pt x="3178" y="1691"/>
                  </a:cubicBezTo>
                  <a:cubicBezTo>
                    <a:pt x="3236" y="1691"/>
                    <a:pt x="3295" y="1721"/>
                    <a:pt x="3324" y="1750"/>
                  </a:cubicBezTo>
                  <a:cubicBezTo>
                    <a:pt x="3383" y="1779"/>
                    <a:pt x="3412" y="1808"/>
                    <a:pt x="3441" y="1808"/>
                  </a:cubicBezTo>
                  <a:cubicBezTo>
                    <a:pt x="3441" y="1808"/>
                    <a:pt x="3441" y="1750"/>
                    <a:pt x="3441" y="1721"/>
                  </a:cubicBezTo>
                  <a:lnTo>
                    <a:pt x="3441" y="1691"/>
                  </a:lnTo>
                  <a:cubicBezTo>
                    <a:pt x="3441" y="1516"/>
                    <a:pt x="3441" y="1341"/>
                    <a:pt x="3441" y="1166"/>
                  </a:cubicBezTo>
                  <a:cubicBezTo>
                    <a:pt x="3441" y="1050"/>
                    <a:pt x="3412" y="904"/>
                    <a:pt x="3412" y="788"/>
                  </a:cubicBezTo>
                  <a:cubicBezTo>
                    <a:pt x="3383" y="583"/>
                    <a:pt x="3353" y="350"/>
                    <a:pt x="3353" y="145"/>
                  </a:cubicBezTo>
                  <a:cubicBezTo>
                    <a:pt x="2420" y="116"/>
                    <a:pt x="1458" y="58"/>
                    <a:pt x="408" y="29"/>
                  </a:cubicBezTo>
                  <a:cubicBezTo>
                    <a:pt x="408" y="29"/>
                    <a:pt x="408" y="29"/>
                    <a:pt x="379" y="29"/>
                  </a:cubicBezTo>
                  <a:lnTo>
                    <a:pt x="379" y="29"/>
                  </a:lnTo>
                  <a:lnTo>
                    <a:pt x="379" y="29"/>
                  </a:lnTo>
                  <a:cubicBezTo>
                    <a:pt x="262" y="29"/>
                    <a:pt x="145" y="29"/>
                    <a:pt x="58" y="0"/>
                  </a:cubicBezTo>
                  <a:cubicBezTo>
                    <a:pt x="0" y="0"/>
                    <a:pt x="0" y="0"/>
                    <a:pt x="0" y="0"/>
                  </a:cubicBezTo>
                  <a:cubicBezTo>
                    <a:pt x="0" y="58"/>
                    <a:pt x="0" y="116"/>
                    <a:pt x="0" y="174"/>
                  </a:cubicBezTo>
                  <a:cubicBezTo>
                    <a:pt x="262" y="204"/>
                    <a:pt x="466" y="233"/>
                    <a:pt x="729" y="262"/>
                  </a:cubicBezTo>
                  <a:cubicBezTo>
                    <a:pt x="874" y="262"/>
                    <a:pt x="1020" y="262"/>
                    <a:pt x="1166" y="291"/>
                  </a:cubicBezTo>
                  <a:cubicBezTo>
                    <a:pt x="1195" y="291"/>
                    <a:pt x="1195" y="291"/>
                    <a:pt x="1195" y="291"/>
                  </a:cubicBezTo>
                  <a:cubicBezTo>
                    <a:pt x="1195" y="320"/>
                    <a:pt x="1195" y="320"/>
                    <a:pt x="1195" y="320"/>
                  </a:cubicBezTo>
                  <a:cubicBezTo>
                    <a:pt x="1195" y="495"/>
                    <a:pt x="1195" y="641"/>
                    <a:pt x="1166" y="816"/>
                  </a:cubicBezTo>
                  <a:cubicBezTo>
                    <a:pt x="1166" y="962"/>
                    <a:pt x="1166" y="1108"/>
                    <a:pt x="1166" y="1283"/>
                  </a:cubicBezTo>
                  <a:cubicBezTo>
                    <a:pt x="1195" y="1283"/>
                    <a:pt x="1253" y="1312"/>
                    <a:pt x="1283" y="1312"/>
                  </a:cubicBezTo>
                  <a:cubicBezTo>
                    <a:pt x="1400" y="1341"/>
                    <a:pt x="1516" y="1341"/>
                    <a:pt x="1574" y="1458"/>
                  </a:cubicBezTo>
                  <a:cubicBezTo>
                    <a:pt x="1574" y="1488"/>
                    <a:pt x="1603" y="1488"/>
                    <a:pt x="1633" y="1488"/>
                  </a:cubicBezTo>
                  <a:cubicBezTo>
                    <a:pt x="1662" y="1488"/>
                    <a:pt x="1691" y="1516"/>
                    <a:pt x="1691" y="1516"/>
                  </a:cubicBezTo>
                  <a:lnTo>
                    <a:pt x="1691" y="1516"/>
                  </a:lnTo>
                  <a:cubicBezTo>
                    <a:pt x="1779" y="1516"/>
                    <a:pt x="1807" y="1545"/>
                    <a:pt x="1836" y="1574"/>
                  </a:cubicBezTo>
                  <a:lnTo>
                    <a:pt x="1836" y="1574"/>
                  </a:lnTo>
                  <a:cubicBezTo>
                    <a:pt x="1836" y="1574"/>
                    <a:pt x="1836" y="1545"/>
                    <a:pt x="1866" y="1545"/>
                  </a:cubicBezTo>
                  <a:cubicBezTo>
                    <a:pt x="1866" y="1545"/>
                    <a:pt x="1895" y="1516"/>
                    <a:pt x="1924" y="1516"/>
                  </a:cubicBezTo>
                  <a:cubicBezTo>
                    <a:pt x="1983" y="1516"/>
                    <a:pt x="2012" y="1574"/>
                    <a:pt x="2041" y="1633"/>
                  </a:cubicBezTo>
                  <a:cubicBezTo>
                    <a:pt x="2041" y="1691"/>
                    <a:pt x="2070" y="1721"/>
                    <a:pt x="2100" y="1721"/>
                  </a:cubicBezTo>
                  <a:cubicBezTo>
                    <a:pt x="2100" y="1721"/>
                    <a:pt x="2129" y="1721"/>
                    <a:pt x="2129" y="1691"/>
                  </a:cubicBezTo>
                  <a:cubicBezTo>
                    <a:pt x="2157" y="1691"/>
                    <a:pt x="2157" y="1691"/>
                    <a:pt x="2186" y="1662"/>
                  </a:cubicBezTo>
                  <a:cubicBezTo>
                    <a:pt x="2216" y="1662"/>
                    <a:pt x="2245" y="1691"/>
                    <a:pt x="2245" y="1691"/>
                  </a:cubicBezTo>
                  <a:cubicBezTo>
                    <a:pt x="2274" y="1691"/>
                    <a:pt x="2274" y="1691"/>
                    <a:pt x="2303" y="1721"/>
                  </a:cubicBezTo>
                  <a:cubicBezTo>
                    <a:pt x="2303" y="1662"/>
                    <a:pt x="2333" y="1662"/>
                    <a:pt x="2362" y="1662"/>
                  </a:cubicBezTo>
                  <a:cubicBezTo>
                    <a:pt x="2391" y="1662"/>
                    <a:pt x="2391" y="1662"/>
                    <a:pt x="2420" y="1691"/>
                  </a:cubicBezTo>
                  <a:lnTo>
                    <a:pt x="2420" y="1691"/>
                  </a:lnTo>
                  <a:cubicBezTo>
                    <a:pt x="2420" y="1662"/>
                    <a:pt x="2420" y="1662"/>
                    <a:pt x="2420" y="1633"/>
                  </a:cubicBezTo>
                  <a:lnTo>
                    <a:pt x="2420" y="1633"/>
                  </a:lnTo>
                  <a:cubicBezTo>
                    <a:pt x="2450" y="1633"/>
                    <a:pt x="2450" y="1633"/>
                    <a:pt x="2450" y="1633"/>
                  </a:cubicBezTo>
                  <a:cubicBezTo>
                    <a:pt x="2450" y="1604"/>
                    <a:pt x="2450" y="1604"/>
                    <a:pt x="2450" y="1604"/>
                  </a:cubicBezTo>
                  <a:cubicBezTo>
                    <a:pt x="2479" y="1633"/>
                    <a:pt x="2479" y="1633"/>
                    <a:pt x="2479" y="1633"/>
                  </a:cubicBezTo>
                  <a:lnTo>
                    <a:pt x="2479" y="1633"/>
                  </a:lnTo>
                  <a:cubicBezTo>
                    <a:pt x="2507" y="1633"/>
                    <a:pt x="2507" y="1633"/>
                    <a:pt x="2536" y="1633"/>
                  </a:cubicBezTo>
                  <a:cubicBezTo>
                    <a:pt x="2536" y="1662"/>
                    <a:pt x="2536" y="1662"/>
                    <a:pt x="2536" y="166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4" name="Freeform 71">
              <a:extLst>
                <a:ext uri="{FF2B5EF4-FFF2-40B4-BE49-F238E27FC236}">
                  <a16:creationId xmlns:a16="http://schemas.microsoft.com/office/drawing/2014/main" id="{28AEF0EA-988D-443B-B82C-7FF6852EF02D}"/>
                </a:ext>
              </a:extLst>
            </p:cNvPr>
            <p:cNvSpPr>
              <a:spLocks noChangeArrowheads="1"/>
            </p:cNvSpPr>
            <p:nvPr/>
          </p:nvSpPr>
          <p:spPr bwMode="auto">
            <a:xfrm>
              <a:off x="9398628" y="2322349"/>
              <a:ext cx="21202" cy="32366"/>
            </a:xfrm>
            <a:custGeom>
              <a:avLst/>
              <a:gdLst>
                <a:gd name="T0" fmla="*/ 58 w 59"/>
                <a:gd name="T1" fmla="*/ 0 h 89"/>
                <a:gd name="T2" fmla="*/ 58 w 59"/>
                <a:gd name="T3" fmla="*/ 0 h 89"/>
                <a:gd name="T4" fmla="*/ 29 w 59"/>
                <a:gd name="T5" fmla="*/ 59 h 89"/>
                <a:gd name="T6" fmla="*/ 0 w 59"/>
                <a:gd name="T7" fmla="*/ 88 h 89"/>
                <a:gd name="T8" fmla="*/ 29 w 59"/>
                <a:gd name="T9" fmla="*/ 59 h 89"/>
                <a:gd name="T10" fmla="*/ 58 w 59"/>
                <a:gd name="T11" fmla="*/ 0 h 89"/>
              </a:gdLst>
              <a:ahLst/>
              <a:cxnLst>
                <a:cxn ang="0">
                  <a:pos x="T0" y="T1"/>
                </a:cxn>
                <a:cxn ang="0">
                  <a:pos x="T2" y="T3"/>
                </a:cxn>
                <a:cxn ang="0">
                  <a:pos x="T4" y="T5"/>
                </a:cxn>
                <a:cxn ang="0">
                  <a:pos x="T6" y="T7"/>
                </a:cxn>
                <a:cxn ang="0">
                  <a:pos x="T8" y="T9"/>
                </a:cxn>
                <a:cxn ang="0">
                  <a:pos x="T10" y="T11"/>
                </a:cxn>
              </a:cxnLst>
              <a:rect l="0" t="0" r="r" b="b"/>
              <a:pathLst>
                <a:path w="59" h="89">
                  <a:moveTo>
                    <a:pt x="58" y="0"/>
                  </a:moveTo>
                  <a:lnTo>
                    <a:pt x="58" y="0"/>
                  </a:lnTo>
                  <a:cubicBezTo>
                    <a:pt x="58" y="29"/>
                    <a:pt x="29" y="59"/>
                    <a:pt x="29" y="59"/>
                  </a:cubicBezTo>
                  <a:cubicBezTo>
                    <a:pt x="0" y="88"/>
                    <a:pt x="0" y="88"/>
                    <a:pt x="0" y="88"/>
                  </a:cubicBezTo>
                  <a:cubicBezTo>
                    <a:pt x="0" y="88"/>
                    <a:pt x="0" y="88"/>
                    <a:pt x="29" y="59"/>
                  </a:cubicBezTo>
                  <a:cubicBezTo>
                    <a:pt x="29" y="59"/>
                    <a:pt x="5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5" name="Freeform 72">
              <a:extLst>
                <a:ext uri="{FF2B5EF4-FFF2-40B4-BE49-F238E27FC236}">
                  <a16:creationId xmlns:a16="http://schemas.microsoft.com/office/drawing/2014/main" id="{365F46E7-8AC4-413F-8870-1537AFA70F67}"/>
                </a:ext>
              </a:extLst>
            </p:cNvPr>
            <p:cNvSpPr>
              <a:spLocks noChangeArrowheads="1"/>
            </p:cNvSpPr>
            <p:nvPr/>
          </p:nvSpPr>
          <p:spPr bwMode="auto">
            <a:xfrm>
              <a:off x="9388843" y="210873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6" name="Freeform 73">
              <a:extLst>
                <a:ext uri="{FF2B5EF4-FFF2-40B4-BE49-F238E27FC236}">
                  <a16:creationId xmlns:a16="http://schemas.microsoft.com/office/drawing/2014/main" id="{D74E7A79-772F-4B45-B421-ECE41536AEC7}"/>
                </a:ext>
              </a:extLst>
            </p:cNvPr>
            <p:cNvSpPr>
              <a:spLocks noChangeArrowheads="1"/>
            </p:cNvSpPr>
            <p:nvPr/>
          </p:nvSpPr>
          <p:spPr bwMode="auto">
            <a:xfrm>
              <a:off x="9421459" y="231263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7" name="Freeform 74">
              <a:extLst>
                <a:ext uri="{FF2B5EF4-FFF2-40B4-BE49-F238E27FC236}">
                  <a16:creationId xmlns:a16="http://schemas.microsoft.com/office/drawing/2014/main" id="{5E8E987D-ED6B-4EBB-B443-E222C0A7B687}"/>
                </a:ext>
              </a:extLst>
            </p:cNvPr>
            <p:cNvSpPr>
              <a:spLocks noChangeArrowheads="1"/>
            </p:cNvSpPr>
            <p:nvPr/>
          </p:nvSpPr>
          <p:spPr bwMode="auto">
            <a:xfrm>
              <a:off x="9506263" y="2730166"/>
              <a:ext cx="53818" cy="1618"/>
            </a:xfrm>
            <a:custGeom>
              <a:avLst/>
              <a:gdLst>
                <a:gd name="T0" fmla="*/ 0 w 147"/>
                <a:gd name="T1" fmla="*/ 0 h 1"/>
                <a:gd name="T2" fmla="*/ 0 w 147"/>
                <a:gd name="T3" fmla="*/ 0 h 1"/>
                <a:gd name="T4" fmla="*/ 88 w 147"/>
                <a:gd name="T5" fmla="*/ 0 h 1"/>
                <a:gd name="T6" fmla="*/ 146 w 147"/>
                <a:gd name="T7" fmla="*/ 0 h 1"/>
                <a:gd name="T8" fmla="*/ 88 w 147"/>
                <a:gd name="T9" fmla="*/ 0 h 1"/>
                <a:gd name="T10" fmla="*/ 0 w 147"/>
                <a:gd name="T11" fmla="*/ 0 h 1"/>
              </a:gdLst>
              <a:ahLst/>
              <a:cxnLst>
                <a:cxn ang="0">
                  <a:pos x="T0" y="T1"/>
                </a:cxn>
                <a:cxn ang="0">
                  <a:pos x="T2" y="T3"/>
                </a:cxn>
                <a:cxn ang="0">
                  <a:pos x="T4" y="T5"/>
                </a:cxn>
                <a:cxn ang="0">
                  <a:pos x="T6" y="T7"/>
                </a:cxn>
                <a:cxn ang="0">
                  <a:pos x="T8" y="T9"/>
                </a:cxn>
                <a:cxn ang="0">
                  <a:pos x="T10" y="T11"/>
                </a:cxn>
              </a:cxnLst>
              <a:rect l="0" t="0" r="r" b="b"/>
              <a:pathLst>
                <a:path w="147" h="1">
                  <a:moveTo>
                    <a:pt x="0" y="0"/>
                  </a:moveTo>
                  <a:lnTo>
                    <a:pt x="0" y="0"/>
                  </a:lnTo>
                  <a:cubicBezTo>
                    <a:pt x="29" y="0"/>
                    <a:pt x="59" y="0"/>
                    <a:pt x="88" y="0"/>
                  </a:cubicBezTo>
                  <a:cubicBezTo>
                    <a:pt x="117" y="0"/>
                    <a:pt x="146" y="0"/>
                    <a:pt x="146" y="0"/>
                  </a:cubicBezTo>
                  <a:cubicBezTo>
                    <a:pt x="146" y="0"/>
                    <a:pt x="117" y="0"/>
                    <a:pt x="88" y="0"/>
                  </a:cubicBezTo>
                  <a:cubicBezTo>
                    <a:pt x="5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8" name="Freeform 75">
              <a:extLst>
                <a:ext uri="{FF2B5EF4-FFF2-40B4-BE49-F238E27FC236}">
                  <a16:creationId xmlns:a16="http://schemas.microsoft.com/office/drawing/2014/main" id="{44582A6C-185D-4EF8-BF32-DB8F0CD12DD4}"/>
                </a:ext>
              </a:extLst>
            </p:cNvPr>
            <p:cNvSpPr>
              <a:spLocks noChangeArrowheads="1"/>
            </p:cNvSpPr>
            <p:nvPr/>
          </p:nvSpPr>
          <p:spPr bwMode="auto">
            <a:xfrm>
              <a:off x="9959638" y="1895113"/>
              <a:ext cx="874133" cy="737954"/>
            </a:xfrm>
            <a:custGeom>
              <a:avLst/>
              <a:gdLst>
                <a:gd name="T0" fmla="*/ 992 w 2364"/>
                <a:gd name="T1" fmla="*/ 1107 h 2012"/>
                <a:gd name="T2" fmla="*/ 904 w 2364"/>
                <a:gd name="T3" fmla="*/ 1165 h 2012"/>
                <a:gd name="T4" fmla="*/ 875 w 2364"/>
                <a:gd name="T5" fmla="*/ 1165 h 2012"/>
                <a:gd name="T6" fmla="*/ 758 w 2364"/>
                <a:gd name="T7" fmla="*/ 1165 h 2012"/>
                <a:gd name="T8" fmla="*/ 700 w 2364"/>
                <a:gd name="T9" fmla="*/ 1224 h 2012"/>
                <a:gd name="T10" fmla="*/ 642 w 2364"/>
                <a:gd name="T11" fmla="*/ 1194 h 2012"/>
                <a:gd name="T12" fmla="*/ 467 w 2364"/>
                <a:gd name="T13" fmla="*/ 1194 h 2012"/>
                <a:gd name="T14" fmla="*/ 379 w 2364"/>
                <a:gd name="T15" fmla="*/ 1194 h 2012"/>
                <a:gd name="T16" fmla="*/ 204 w 2364"/>
                <a:gd name="T17" fmla="*/ 1370 h 2012"/>
                <a:gd name="T18" fmla="*/ 263 w 2364"/>
                <a:gd name="T19" fmla="*/ 1399 h 2012"/>
                <a:gd name="T20" fmla="*/ 263 w 2364"/>
                <a:gd name="T21" fmla="*/ 1544 h 2012"/>
                <a:gd name="T22" fmla="*/ 234 w 2364"/>
                <a:gd name="T23" fmla="*/ 1603 h 2012"/>
                <a:gd name="T24" fmla="*/ 146 w 2364"/>
                <a:gd name="T25" fmla="*/ 1691 h 2012"/>
                <a:gd name="T26" fmla="*/ 29 w 2364"/>
                <a:gd name="T27" fmla="*/ 1807 h 2012"/>
                <a:gd name="T28" fmla="*/ 0 w 2364"/>
                <a:gd name="T29" fmla="*/ 1865 h 2012"/>
                <a:gd name="T30" fmla="*/ 1400 w 2364"/>
                <a:gd name="T31" fmla="*/ 1632 h 2012"/>
                <a:gd name="T32" fmla="*/ 1604 w 2364"/>
                <a:gd name="T33" fmla="*/ 1603 h 2012"/>
                <a:gd name="T34" fmla="*/ 1984 w 2364"/>
                <a:gd name="T35" fmla="*/ 1865 h 2012"/>
                <a:gd name="T36" fmla="*/ 2304 w 2364"/>
                <a:gd name="T37" fmla="*/ 1982 h 2012"/>
                <a:gd name="T38" fmla="*/ 2304 w 2364"/>
                <a:gd name="T39" fmla="*/ 2011 h 2012"/>
                <a:gd name="T40" fmla="*/ 2304 w 2364"/>
                <a:gd name="T41" fmla="*/ 2011 h 2012"/>
                <a:gd name="T42" fmla="*/ 2334 w 2364"/>
                <a:gd name="T43" fmla="*/ 1953 h 2012"/>
                <a:gd name="T44" fmla="*/ 2304 w 2364"/>
                <a:gd name="T45" fmla="*/ 1924 h 2012"/>
                <a:gd name="T46" fmla="*/ 2334 w 2364"/>
                <a:gd name="T47" fmla="*/ 1807 h 2012"/>
                <a:gd name="T48" fmla="*/ 2275 w 2364"/>
                <a:gd name="T49" fmla="*/ 1544 h 2012"/>
                <a:gd name="T50" fmla="*/ 2246 w 2364"/>
                <a:gd name="T51" fmla="*/ 1079 h 2012"/>
                <a:gd name="T52" fmla="*/ 2158 w 2364"/>
                <a:gd name="T53" fmla="*/ 700 h 2012"/>
                <a:gd name="T54" fmla="*/ 2129 w 2364"/>
                <a:gd name="T55" fmla="*/ 729 h 2012"/>
                <a:gd name="T56" fmla="*/ 2100 w 2364"/>
                <a:gd name="T57" fmla="*/ 612 h 2012"/>
                <a:gd name="T58" fmla="*/ 2070 w 2364"/>
                <a:gd name="T59" fmla="*/ 525 h 2012"/>
                <a:gd name="T60" fmla="*/ 2042 w 2364"/>
                <a:gd name="T61" fmla="*/ 379 h 2012"/>
                <a:gd name="T62" fmla="*/ 2013 w 2364"/>
                <a:gd name="T63" fmla="*/ 204 h 2012"/>
                <a:gd name="T64" fmla="*/ 1954 w 2364"/>
                <a:gd name="T65" fmla="*/ 29 h 2012"/>
                <a:gd name="T66" fmla="*/ 1692 w 2364"/>
                <a:gd name="T67" fmla="*/ 58 h 2012"/>
                <a:gd name="T68" fmla="*/ 1517 w 2364"/>
                <a:gd name="T69" fmla="*/ 116 h 2012"/>
                <a:gd name="T70" fmla="*/ 1313 w 2364"/>
                <a:gd name="T71" fmla="*/ 262 h 2012"/>
                <a:gd name="T72" fmla="*/ 1254 w 2364"/>
                <a:gd name="T73" fmla="*/ 321 h 2012"/>
                <a:gd name="T74" fmla="*/ 1196 w 2364"/>
                <a:gd name="T75" fmla="*/ 525 h 2012"/>
                <a:gd name="T76" fmla="*/ 1050 w 2364"/>
                <a:gd name="T77" fmla="*/ 671 h 2012"/>
                <a:gd name="T78" fmla="*/ 1108 w 2364"/>
                <a:gd name="T79" fmla="*/ 642 h 2012"/>
                <a:gd name="T80" fmla="*/ 1137 w 2364"/>
                <a:gd name="T81" fmla="*/ 729 h 2012"/>
                <a:gd name="T82" fmla="*/ 1137 w 2364"/>
                <a:gd name="T83" fmla="*/ 758 h 2012"/>
                <a:gd name="T84" fmla="*/ 1137 w 2364"/>
                <a:gd name="T85" fmla="*/ 933 h 2012"/>
                <a:gd name="T86" fmla="*/ 1050 w 2364"/>
                <a:gd name="T87" fmla="*/ 1021 h 2012"/>
                <a:gd name="T88" fmla="*/ 992 w 2364"/>
                <a:gd name="T89" fmla="*/ 1107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4" h="2012">
                  <a:moveTo>
                    <a:pt x="992" y="1107"/>
                  </a:moveTo>
                  <a:lnTo>
                    <a:pt x="992" y="1107"/>
                  </a:lnTo>
                  <a:lnTo>
                    <a:pt x="992" y="1107"/>
                  </a:lnTo>
                  <a:cubicBezTo>
                    <a:pt x="963" y="1107"/>
                    <a:pt x="934" y="1136"/>
                    <a:pt x="904" y="1165"/>
                  </a:cubicBezTo>
                  <a:cubicBezTo>
                    <a:pt x="904" y="1194"/>
                    <a:pt x="904" y="1194"/>
                    <a:pt x="904" y="1194"/>
                  </a:cubicBezTo>
                  <a:cubicBezTo>
                    <a:pt x="875" y="1165"/>
                    <a:pt x="875" y="1165"/>
                    <a:pt x="875" y="1165"/>
                  </a:cubicBezTo>
                  <a:cubicBezTo>
                    <a:pt x="875" y="1136"/>
                    <a:pt x="846" y="1136"/>
                    <a:pt x="846" y="1136"/>
                  </a:cubicBezTo>
                  <a:cubicBezTo>
                    <a:pt x="817" y="1136"/>
                    <a:pt x="787" y="1165"/>
                    <a:pt x="758" y="1165"/>
                  </a:cubicBezTo>
                  <a:cubicBezTo>
                    <a:pt x="758" y="1165"/>
                    <a:pt x="729" y="1165"/>
                    <a:pt x="729" y="1194"/>
                  </a:cubicBezTo>
                  <a:cubicBezTo>
                    <a:pt x="729" y="1194"/>
                    <a:pt x="700" y="1194"/>
                    <a:pt x="700" y="1224"/>
                  </a:cubicBezTo>
                  <a:lnTo>
                    <a:pt x="700" y="1224"/>
                  </a:lnTo>
                  <a:cubicBezTo>
                    <a:pt x="671" y="1224"/>
                    <a:pt x="642" y="1194"/>
                    <a:pt x="642" y="1194"/>
                  </a:cubicBezTo>
                  <a:cubicBezTo>
                    <a:pt x="613" y="1194"/>
                    <a:pt x="613" y="1165"/>
                    <a:pt x="613" y="1165"/>
                  </a:cubicBezTo>
                  <a:cubicBezTo>
                    <a:pt x="554" y="1165"/>
                    <a:pt x="525" y="1165"/>
                    <a:pt x="467" y="1194"/>
                  </a:cubicBezTo>
                  <a:lnTo>
                    <a:pt x="437" y="1194"/>
                  </a:lnTo>
                  <a:cubicBezTo>
                    <a:pt x="408" y="1194"/>
                    <a:pt x="379" y="1194"/>
                    <a:pt x="379" y="1194"/>
                  </a:cubicBezTo>
                  <a:cubicBezTo>
                    <a:pt x="292" y="1224"/>
                    <a:pt x="234" y="1224"/>
                    <a:pt x="204" y="1282"/>
                  </a:cubicBezTo>
                  <a:cubicBezTo>
                    <a:pt x="175" y="1311"/>
                    <a:pt x="204" y="1341"/>
                    <a:pt x="204" y="1370"/>
                  </a:cubicBezTo>
                  <a:cubicBezTo>
                    <a:pt x="204" y="1370"/>
                    <a:pt x="204" y="1370"/>
                    <a:pt x="204" y="1399"/>
                  </a:cubicBezTo>
                  <a:cubicBezTo>
                    <a:pt x="234" y="1399"/>
                    <a:pt x="234" y="1399"/>
                    <a:pt x="263" y="1399"/>
                  </a:cubicBezTo>
                  <a:cubicBezTo>
                    <a:pt x="263" y="1428"/>
                    <a:pt x="292" y="1457"/>
                    <a:pt x="292" y="1515"/>
                  </a:cubicBezTo>
                  <a:lnTo>
                    <a:pt x="263" y="1544"/>
                  </a:lnTo>
                  <a:cubicBezTo>
                    <a:pt x="234" y="1574"/>
                    <a:pt x="234" y="1574"/>
                    <a:pt x="234" y="1574"/>
                  </a:cubicBezTo>
                  <a:cubicBezTo>
                    <a:pt x="234" y="1574"/>
                    <a:pt x="234" y="1574"/>
                    <a:pt x="234" y="1603"/>
                  </a:cubicBezTo>
                  <a:cubicBezTo>
                    <a:pt x="234" y="1603"/>
                    <a:pt x="234" y="1632"/>
                    <a:pt x="204" y="1632"/>
                  </a:cubicBezTo>
                  <a:cubicBezTo>
                    <a:pt x="204" y="1661"/>
                    <a:pt x="175" y="1691"/>
                    <a:pt x="146" y="1691"/>
                  </a:cubicBezTo>
                  <a:cubicBezTo>
                    <a:pt x="117" y="1720"/>
                    <a:pt x="117" y="1720"/>
                    <a:pt x="87" y="1720"/>
                  </a:cubicBezTo>
                  <a:cubicBezTo>
                    <a:pt x="58" y="1749"/>
                    <a:pt x="58" y="1778"/>
                    <a:pt x="29" y="1807"/>
                  </a:cubicBezTo>
                  <a:cubicBezTo>
                    <a:pt x="29" y="1836"/>
                    <a:pt x="29" y="1836"/>
                    <a:pt x="0" y="1836"/>
                  </a:cubicBezTo>
                  <a:cubicBezTo>
                    <a:pt x="0" y="1865"/>
                    <a:pt x="0" y="1865"/>
                    <a:pt x="0" y="1865"/>
                  </a:cubicBezTo>
                  <a:cubicBezTo>
                    <a:pt x="29" y="1894"/>
                    <a:pt x="29" y="1894"/>
                    <a:pt x="29" y="1924"/>
                  </a:cubicBezTo>
                  <a:cubicBezTo>
                    <a:pt x="467" y="1836"/>
                    <a:pt x="992" y="1720"/>
                    <a:pt x="1400" y="1632"/>
                  </a:cubicBezTo>
                  <a:cubicBezTo>
                    <a:pt x="1429" y="1632"/>
                    <a:pt x="1429" y="1632"/>
                    <a:pt x="1458" y="1632"/>
                  </a:cubicBezTo>
                  <a:cubicBezTo>
                    <a:pt x="1517" y="1603"/>
                    <a:pt x="1575" y="1603"/>
                    <a:pt x="1604" y="1603"/>
                  </a:cubicBezTo>
                  <a:cubicBezTo>
                    <a:pt x="1720" y="1603"/>
                    <a:pt x="1808" y="1749"/>
                    <a:pt x="1837" y="1836"/>
                  </a:cubicBezTo>
                  <a:cubicBezTo>
                    <a:pt x="1896" y="1836"/>
                    <a:pt x="1954" y="1865"/>
                    <a:pt x="1984" y="1865"/>
                  </a:cubicBezTo>
                  <a:cubicBezTo>
                    <a:pt x="2100" y="1894"/>
                    <a:pt x="2187" y="1953"/>
                    <a:pt x="2275" y="1953"/>
                  </a:cubicBezTo>
                  <a:cubicBezTo>
                    <a:pt x="2304" y="1982"/>
                    <a:pt x="2304" y="1982"/>
                    <a:pt x="2304" y="1982"/>
                  </a:cubicBezTo>
                  <a:lnTo>
                    <a:pt x="2304" y="1982"/>
                  </a:lnTo>
                  <a:cubicBezTo>
                    <a:pt x="2304" y="1982"/>
                    <a:pt x="2304" y="1982"/>
                    <a:pt x="2304" y="2011"/>
                  </a:cubicBezTo>
                  <a:lnTo>
                    <a:pt x="2304" y="2011"/>
                  </a:lnTo>
                  <a:lnTo>
                    <a:pt x="2304" y="2011"/>
                  </a:lnTo>
                  <a:cubicBezTo>
                    <a:pt x="2334" y="1982"/>
                    <a:pt x="2334" y="1982"/>
                    <a:pt x="2334" y="1953"/>
                  </a:cubicBezTo>
                  <a:lnTo>
                    <a:pt x="2334" y="1953"/>
                  </a:lnTo>
                  <a:cubicBezTo>
                    <a:pt x="2304" y="1953"/>
                    <a:pt x="2304" y="1953"/>
                    <a:pt x="2304" y="1924"/>
                  </a:cubicBezTo>
                  <a:lnTo>
                    <a:pt x="2304" y="1924"/>
                  </a:lnTo>
                  <a:cubicBezTo>
                    <a:pt x="2304" y="1894"/>
                    <a:pt x="2304" y="1894"/>
                    <a:pt x="2304" y="1894"/>
                  </a:cubicBezTo>
                  <a:cubicBezTo>
                    <a:pt x="2363" y="1865"/>
                    <a:pt x="2334" y="1865"/>
                    <a:pt x="2334" y="1807"/>
                  </a:cubicBezTo>
                  <a:cubicBezTo>
                    <a:pt x="2334" y="1778"/>
                    <a:pt x="2334" y="1778"/>
                    <a:pt x="2334" y="1778"/>
                  </a:cubicBezTo>
                  <a:cubicBezTo>
                    <a:pt x="2304" y="1691"/>
                    <a:pt x="2275" y="1603"/>
                    <a:pt x="2275" y="1544"/>
                  </a:cubicBezTo>
                  <a:cubicBezTo>
                    <a:pt x="2246" y="1457"/>
                    <a:pt x="2246" y="1370"/>
                    <a:pt x="2246" y="1282"/>
                  </a:cubicBezTo>
                  <a:cubicBezTo>
                    <a:pt x="2246" y="1224"/>
                    <a:pt x="2275" y="1136"/>
                    <a:pt x="2246" y="1079"/>
                  </a:cubicBezTo>
                  <a:cubicBezTo>
                    <a:pt x="2246" y="1021"/>
                    <a:pt x="2217" y="962"/>
                    <a:pt x="2217" y="904"/>
                  </a:cubicBezTo>
                  <a:cubicBezTo>
                    <a:pt x="2217" y="845"/>
                    <a:pt x="2187" y="758"/>
                    <a:pt x="2158" y="700"/>
                  </a:cubicBezTo>
                  <a:cubicBezTo>
                    <a:pt x="2158" y="700"/>
                    <a:pt x="2158" y="700"/>
                    <a:pt x="2129" y="700"/>
                  </a:cubicBezTo>
                  <a:cubicBezTo>
                    <a:pt x="2129" y="729"/>
                    <a:pt x="2129" y="729"/>
                    <a:pt x="2129" y="729"/>
                  </a:cubicBezTo>
                  <a:cubicBezTo>
                    <a:pt x="2129" y="700"/>
                    <a:pt x="2129" y="700"/>
                    <a:pt x="2129" y="700"/>
                  </a:cubicBezTo>
                  <a:cubicBezTo>
                    <a:pt x="2100" y="671"/>
                    <a:pt x="2100" y="642"/>
                    <a:pt x="2100" y="612"/>
                  </a:cubicBezTo>
                  <a:lnTo>
                    <a:pt x="2100" y="583"/>
                  </a:lnTo>
                  <a:cubicBezTo>
                    <a:pt x="2100" y="554"/>
                    <a:pt x="2070" y="554"/>
                    <a:pt x="2070" y="525"/>
                  </a:cubicBezTo>
                  <a:cubicBezTo>
                    <a:pt x="2070" y="495"/>
                    <a:pt x="2042" y="495"/>
                    <a:pt x="2042" y="466"/>
                  </a:cubicBezTo>
                  <a:cubicBezTo>
                    <a:pt x="2042" y="437"/>
                    <a:pt x="2042" y="408"/>
                    <a:pt x="2042" y="379"/>
                  </a:cubicBezTo>
                  <a:cubicBezTo>
                    <a:pt x="2042" y="350"/>
                    <a:pt x="2042" y="321"/>
                    <a:pt x="2042" y="292"/>
                  </a:cubicBezTo>
                  <a:cubicBezTo>
                    <a:pt x="2042" y="262"/>
                    <a:pt x="2013" y="233"/>
                    <a:pt x="2013" y="204"/>
                  </a:cubicBezTo>
                  <a:cubicBezTo>
                    <a:pt x="1984" y="145"/>
                    <a:pt x="1954" y="116"/>
                    <a:pt x="1954" y="58"/>
                  </a:cubicBezTo>
                  <a:lnTo>
                    <a:pt x="1954" y="29"/>
                  </a:lnTo>
                  <a:lnTo>
                    <a:pt x="1954" y="0"/>
                  </a:lnTo>
                  <a:cubicBezTo>
                    <a:pt x="1867" y="29"/>
                    <a:pt x="1779" y="29"/>
                    <a:pt x="1692" y="58"/>
                  </a:cubicBezTo>
                  <a:cubicBezTo>
                    <a:pt x="1634" y="87"/>
                    <a:pt x="1575" y="87"/>
                    <a:pt x="1517" y="116"/>
                  </a:cubicBezTo>
                  <a:lnTo>
                    <a:pt x="1517" y="116"/>
                  </a:lnTo>
                  <a:cubicBezTo>
                    <a:pt x="1487" y="116"/>
                    <a:pt x="1487" y="116"/>
                    <a:pt x="1487" y="116"/>
                  </a:cubicBezTo>
                  <a:cubicBezTo>
                    <a:pt x="1400" y="145"/>
                    <a:pt x="1371" y="175"/>
                    <a:pt x="1313" y="262"/>
                  </a:cubicBezTo>
                  <a:lnTo>
                    <a:pt x="1284" y="292"/>
                  </a:lnTo>
                  <a:lnTo>
                    <a:pt x="1254" y="321"/>
                  </a:lnTo>
                  <a:cubicBezTo>
                    <a:pt x="1225" y="350"/>
                    <a:pt x="1225" y="379"/>
                    <a:pt x="1225" y="437"/>
                  </a:cubicBezTo>
                  <a:cubicBezTo>
                    <a:pt x="1196" y="466"/>
                    <a:pt x="1196" y="495"/>
                    <a:pt x="1196" y="525"/>
                  </a:cubicBezTo>
                  <a:cubicBezTo>
                    <a:pt x="1167" y="554"/>
                    <a:pt x="1137" y="583"/>
                    <a:pt x="1108" y="583"/>
                  </a:cubicBezTo>
                  <a:cubicBezTo>
                    <a:pt x="1108" y="612"/>
                    <a:pt x="1079" y="642"/>
                    <a:pt x="1050" y="671"/>
                  </a:cubicBezTo>
                  <a:cubicBezTo>
                    <a:pt x="1079" y="671"/>
                    <a:pt x="1079" y="642"/>
                    <a:pt x="1108" y="642"/>
                  </a:cubicBezTo>
                  <a:lnTo>
                    <a:pt x="1108" y="642"/>
                  </a:lnTo>
                  <a:cubicBezTo>
                    <a:pt x="1108" y="671"/>
                    <a:pt x="1108" y="671"/>
                    <a:pt x="1108" y="671"/>
                  </a:cubicBezTo>
                  <a:cubicBezTo>
                    <a:pt x="1137" y="671"/>
                    <a:pt x="1137" y="700"/>
                    <a:pt x="1137" y="729"/>
                  </a:cubicBezTo>
                  <a:lnTo>
                    <a:pt x="1137" y="729"/>
                  </a:lnTo>
                  <a:cubicBezTo>
                    <a:pt x="1137" y="758"/>
                    <a:pt x="1137" y="758"/>
                    <a:pt x="1137" y="758"/>
                  </a:cubicBezTo>
                  <a:cubicBezTo>
                    <a:pt x="1137" y="758"/>
                    <a:pt x="1137" y="787"/>
                    <a:pt x="1108" y="787"/>
                  </a:cubicBezTo>
                  <a:cubicBezTo>
                    <a:pt x="1137" y="816"/>
                    <a:pt x="1167" y="904"/>
                    <a:pt x="1137" y="933"/>
                  </a:cubicBezTo>
                  <a:cubicBezTo>
                    <a:pt x="1137" y="962"/>
                    <a:pt x="1137" y="992"/>
                    <a:pt x="1079" y="992"/>
                  </a:cubicBezTo>
                  <a:lnTo>
                    <a:pt x="1050" y="1021"/>
                  </a:lnTo>
                  <a:cubicBezTo>
                    <a:pt x="1021" y="1050"/>
                    <a:pt x="1021" y="1079"/>
                    <a:pt x="1021" y="1079"/>
                  </a:cubicBezTo>
                  <a:lnTo>
                    <a:pt x="992" y="110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9" name="Freeform 76">
              <a:extLst>
                <a:ext uri="{FF2B5EF4-FFF2-40B4-BE49-F238E27FC236}">
                  <a16:creationId xmlns:a16="http://schemas.microsoft.com/office/drawing/2014/main" id="{B8801D60-0945-4FA2-BA38-282F849E8C8C}"/>
                </a:ext>
              </a:extLst>
            </p:cNvPr>
            <p:cNvSpPr>
              <a:spLocks noChangeArrowheads="1"/>
            </p:cNvSpPr>
            <p:nvPr/>
          </p:nvSpPr>
          <p:spPr bwMode="auto">
            <a:xfrm>
              <a:off x="9356226" y="231263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0" name="Freeform 77">
              <a:extLst>
                <a:ext uri="{FF2B5EF4-FFF2-40B4-BE49-F238E27FC236}">
                  <a16:creationId xmlns:a16="http://schemas.microsoft.com/office/drawing/2014/main" id="{55AD7FB5-3866-451C-9064-50CB1969CB56}"/>
                </a:ext>
              </a:extLst>
            </p:cNvPr>
            <p:cNvSpPr>
              <a:spLocks noChangeArrowheads="1"/>
            </p:cNvSpPr>
            <p:nvPr/>
          </p:nvSpPr>
          <p:spPr bwMode="auto">
            <a:xfrm>
              <a:off x="9356226" y="2312639"/>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1" name="Freeform 78">
              <a:extLst>
                <a:ext uri="{FF2B5EF4-FFF2-40B4-BE49-F238E27FC236}">
                  <a16:creationId xmlns:a16="http://schemas.microsoft.com/office/drawing/2014/main" id="{C24B21E0-93E4-4033-8061-A404319EFF2B}"/>
                </a:ext>
              </a:extLst>
            </p:cNvPr>
            <p:cNvSpPr>
              <a:spLocks noChangeArrowheads="1"/>
            </p:cNvSpPr>
            <p:nvPr/>
          </p:nvSpPr>
          <p:spPr bwMode="auto">
            <a:xfrm>
              <a:off x="10347780" y="2152425"/>
              <a:ext cx="11416" cy="1619"/>
            </a:xfrm>
            <a:custGeom>
              <a:avLst/>
              <a:gdLst>
                <a:gd name="T0" fmla="*/ 0 w 30"/>
                <a:gd name="T1" fmla="*/ 0 h 1"/>
                <a:gd name="T2" fmla="*/ 0 w 30"/>
                <a:gd name="T3" fmla="*/ 0 h 1"/>
                <a:gd name="T4" fmla="*/ 0 w 30"/>
                <a:gd name="T5" fmla="*/ 0 h 1"/>
                <a:gd name="T6" fmla="*/ 29 w 30"/>
                <a:gd name="T7" fmla="*/ 0 h 1"/>
                <a:gd name="T8" fmla="*/ 29 w 30"/>
                <a:gd name="T9" fmla="*/ 0 h 1"/>
                <a:gd name="T10" fmla="*/ 29 w 30"/>
                <a:gd name="T11" fmla="*/ 0 h 1"/>
                <a:gd name="T12" fmla="*/ 0 w 3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0" h="1">
                  <a:moveTo>
                    <a:pt x="0" y="0"/>
                  </a:moveTo>
                  <a:lnTo>
                    <a:pt x="0" y="0"/>
                  </a:lnTo>
                  <a:lnTo>
                    <a:pt x="0" y="0"/>
                  </a:lnTo>
                  <a:lnTo>
                    <a:pt x="29" y="0"/>
                  </a:lnTo>
                  <a:lnTo>
                    <a:pt x="29"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2" name="Freeform 79">
              <a:extLst>
                <a:ext uri="{FF2B5EF4-FFF2-40B4-BE49-F238E27FC236}">
                  <a16:creationId xmlns:a16="http://schemas.microsoft.com/office/drawing/2014/main" id="{72B03020-7E61-458A-A4F3-763C926F2978}"/>
                </a:ext>
              </a:extLst>
            </p:cNvPr>
            <p:cNvSpPr>
              <a:spLocks noChangeArrowheads="1"/>
            </p:cNvSpPr>
            <p:nvPr/>
          </p:nvSpPr>
          <p:spPr bwMode="auto">
            <a:xfrm>
              <a:off x="10337995" y="2238197"/>
              <a:ext cx="32617" cy="22656"/>
            </a:xfrm>
            <a:custGeom>
              <a:avLst/>
              <a:gdLst>
                <a:gd name="T0" fmla="*/ 29 w 88"/>
                <a:gd name="T1" fmla="*/ 29 h 60"/>
                <a:gd name="T2" fmla="*/ 29 w 88"/>
                <a:gd name="T3" fmla="*/ 29 h 60"/>
                <a:gd name="T4" fmla="*/ 29 w 88"/>
                <a:gd name="T5" fmla="*/ 0 h 60"/>
                <a:gd name="T6" fmla="*/ 58 w 88"/>
                <a:gd name="T7" fmla="*/ 0 h 60"/>
                <a:gd name="T8" fmla="*/ 87 w 88"/>
                <a:gd name="T9" fmla="*/ 0 h 60"/>
                <a:gd name="T10" fmla="*/ 58 w 88"/>
                <a:gd name="T11" fmla="*/ 0 h 60"/>
                <a:gd name="T12" fmla="*/ 29 w 88"/>
                <a:gd name="T13" fmla="*/ 0 h 60"/>
                <a:gd name="T14" fmla="*/ 29 w 88"/>
                <a:gd name="T15" fmla="*/ 29 h 60"/>
                <a:gd name="T16" fmla="*/ 0 w 88"/>
                <a:gd name="T17" fmla="*/ 59 h 60"/>
                <a:gd name="T18" fmla="*/ 29 w 88"/>
                <a:gd name="T19"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60">
                  <a:moveTo>
                    <a:pt x="29" y="29"/>
                  </a:moveTo>
                  <a:lnTo>
                    <a:pt x="29" y="29"/>
                  </a:lnTo>
                  <a:cubicBezTo>
                    <a:pt x="29" y="0"/>
                    <a:pt x="29" y="0"/>
                    <a:pt x="29" y="0"/>
                  </a:cubicBezTo>
                  <a:cubicBezTo>
                    <a:pt x="58" y="0"/>
                    <a:pt x="58" y="0"/>
                    <a:pt x="58" y="0"/>
                  </a:cubicBezTo>
                  <a:cubicBezTo>
                    <a:pt x="87" y="0"/>
                    <a:pt x="87" y="0"/>
                    <a:pt x="87" y="0"/>
                  </a:cubicBezTo>
                  <a:cubicBezTo>
                    <a:pt x="87" y="0"/>
                    <a:pt x="87" y="0"/>
                    <a:pt x="58" y="0"/>
                  </a:cubicBezTo>
                  <a:cubicBezTo>
                    <a:pt x="29" y="0"/>
                    <a:pt x="29" y="0"/>
                    <a:pt x="29" y="0"/>
                  </a:cubicBezTo>
                  <a:cubicBezTo>
                    <a:pt x="29" y="29"/>
                    <a:pt x="29" y="29"/>
                    <a:pt x="29" y="29"/>
                  </a:cubicBezTo>
                  <a:cubicBezTo>
                    <a:pt x="29" y="29"/>
                    <a:pt x="29" y="29"/>
                    <a:pt x="0" y="59"/>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3" name="Freeform 80">
              <a:extLst>
                <a:ext uri="{FF2B5EF4-FFF2-40B4-BE49-F238E27FC236}">
                  <a16:creationId xmlns:a16="http://schemas.microsoft.com/office/drawing/2014/main" id="{04FE9B58-1697-4C4C-967D-2F8B01CF67C7}"/>
                </a:ext>
              </a:extLst>
            </p:cNvPr>
            <p:cNvSpPr>
              <a:spLocks noChangeArrowheads="1"/>
            </p:cNvSpPr>
            <p:nvPr/>
          </p:nvSpPr>
          <p:spPr bwMode="auto">
            <a:xfrm>
              <a:off x="10359196" y="2152425"/>
              <a:ext cx="11415" cy="11329"/>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lnTo>
                    <a:pt x="29"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4" name="Freeform 81">
              <a:extLst>
                <a:ext uri="{FF2B5EF4-FFF2-40B4-BE49-F238E27FC236}">
                  <a16:creationId xmlns:a16="http://schemas.microsoft.com/office/drawing/2014/main" id="{C7E0C07D-F804-4EEF-822F-3A03EA2FD864}"/>
                </a:ext>
              </a:extLst>
            </p:cNvPr>
            <p:cNvSpPr>
              <a:spLocks noChangeArrowheads="1"/>
            </p:cNvSpPr>
            <p:nvPr/>
          </p:nvSpPr>
          <p:spPr bwMode="auto">
            <a:xfrm>
              <a:off x="10347780" y="2162135"/>
              <a:ext cx="21202" cy="11329"/>
            </a:xfrm>
            <a:custGeom>
              <a:avLst/>
              <a:gdLst>
                <a:gd name="T0" fmla="*/ 58 w 59"/>
                <a:gd name="T1" fmla="*/ 0 h 30"/>
                <a:gd name="T2" fmla="*/ 58 w 59"/>
                <a:gd name="T3" fmla="*/ 0 h 30"/>
                <a:gd name="T4" fmla="*/ 58 w 59"/>
                <a:gd name="T5" fmla="*/ 0 h 30"/>
                <a:gd name="T6" fmla="*/ 29 w 59"/>
                <a:gd name="T7" fmla="*/ 29 h 30"/>
                <a:gd name="T8" fmla="*/ 0 w 59"/>
                <a:gd name="T9" fmla="*/ 29 h 30"/>
                <a:gd name="T10" fmla="*/ 0 w 59"/>
                <a:gd name="T11" fmla="*/ 29 h 30"/>
                <a:gd name="T12" fmla="*/ 29 w 59"/>
                <a:gd name="T13" fmla="*/ 29 h 30"/>
                <a:gd name="T14" fmla="*/ 58 w 59"/>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0">
                  <a:moveTo>
                    <a:pt x="58" y="0"/>
                  </a:moveTo>
                  <a:lnTo>
                    <a:pt x="58" y="0"/>
                  </a:lnTo>
                  <a:lnTo>
                    <a:pt x="58" y="0"/>
                  </a:lnTo>
                  <a:cubicBezTo>
                    <a:pt x="58" y="29"/>
                    <a:pt x="29" y="29"/>
                    <a:pt x="29" y="29"/>
                  </a:cubicBezTo>
                  <a:cubicBezTo>
                    <a:pt x="0" y="29"/>
                    <a:pt x="0" y="29"/>
                    <a:pt x="0" y="29"/>
                  </a:cubicBezTo>
                  <a:lnTo>
                    <a:pt x="0" y="29"/>
                  </a:lnTo>
                  <a:cubicBezTo>
                    <a:pt x="29" y="29"/>
                    <a:pt x="29" y="29"/>
                    <a:pt x="29" y="29"/>
                  </a:cubicBezTo>
                  <a:cubicBezTo>
                    <a:pt x="29" y="29"/>
                    <a:pt x="5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5" name="Freeform 82">
              <a:extLst>
                <a:ext uri="{FF2B5EF4-FFF2-40B4-BE49-F238E27FC236}">
                  <a16:creationId xmlns:a16="http://schemas.microsoft.com/office/drawing/2014/main" id="{4B9E4D66-1483-49B6-95EC-E6AAAB5689F8}"/>
                </a:ext>
              </a:extLst>
            </p:cNvPr>
            <p:cNvSpPr>
              <a:spLocks noChangeArrowheads="1"/>
            </p:cNvSpPr>
            <p:nvPr/>
          </p:nvSpPr>
          <p:spPr bwMode="auto">
            <a:xfrm>
              <a:off x="10359196" y="2183174"/>
              <a:ext cx="11415" cy="43694"/>
            </a:xfrm>
            <a:custGeom>
              <a:avLst/>
              <a:gdLst>
                <a:gd name="T0" fmla="*/ 29 w 30"/>
                <a:gd name="T1" fmla="*/ 117 h 118"/>
                <a:gd name="T2" fmla="*/ 29 w 30"/>
                <a:gd name="T3" fmla="*/ 117 h 118"/>
                <a:gd name="T4" fmla="*/ 0 w 30"/>
                <a:gd name="T5" fmla="*/ 0 h 118"/>
                <a:gd name="T6" fmla="*/ 0 w 30"/>
                <a:gd name="T7" fmla="*/ 0 h 118"/>
                <a:gd name="T8" fmla="*/ 0 w 30"/>
                <a:gd name="T9" fmla="*/ 0 h 118"/>
                <a:gd name="T10" fmla="*/ 29 w 30"/>
                <a:gd name="T11" fmla="*/ 117 h 118"/>
              </a:gdLst>
              <a:ahLst/>
              <a:cxnLst>
                <a:cxn ang="0">
                  <a:pos x="T0" y="T1"/>
                </a:cxn>
                <a:cxn ang="0">
                  <a:pos x="T2" y="T3"/>
                </a:cxn>
                <a:cxn ang="0">
                  <a:pos x="T4" y="T5"/>
                </a:cxn>
                <a:cxn ang="0">
                  <a:pos x="T6" y="T7"/>
                </a:cxn>
                <a:cxn ang="0">
                  <a:pos x="T8" y="T9"/>
                </a:cxn>
                <a:cxn ang="0">
                  <a:pos x="T10" y="T11"/>
                </a:cxn>
              </a:cxnLst>
              <a:rect l="0" t="0" r="r" b="b"/>
              <a:pathLst>
                <a:path w="30" h="118">
                  <a:moveTo>
                    <a:pt x="29" y="117"/>
                  </a:moveTo>
                  <a:lnTo>
                    <a:pt x="29" y="117"/>
                  </a:lnTo>
                  <a:cubicBezTo>
                    <a:pt x="29" y="88"/>
                    <a:pt x="29" y="29"/>
                    <a:pt x="0" y="0"/>
                  </a:cubicBezTo>
                  <a:lnTo>
                    <a:pt x="0" y="0"/>
                  </a:lnTo>
                  <a:lnTo>
                    <a:pt x="0" y="0"/>
                  </a:lnTo>
                  <a:cubicBezTo>
                    <a:pt x="29" y="29"/>
                    <a:pt x="29" y="88"/>
                    <a:pt x="29"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6" name="Freeform 83">
              <a:extLst>
                <a:ext uri="{FF2B5EF4-FFF2-40B4-BE49-F238E27FC236}">
                  <a16:creationId xmlns:a16="http://schemas.microsoft.com/office/drawing/2014/main" id="{26E107CD-7109-4A47-813E-409E921F58C8}"/>
                </a:ext>
              </a:extLst>
            </p:cNvPr>
            <p:cNvSpPr>
              <a:spLocks noChangeArrowheads="1"/>
            </p:cNvSpPr>
            <p:nvPr/>
          </p:nvSpPr>
          <p:spPr bwMode="auto">
            <a:xfrm>
              <a:off x="9388843" y="237575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7" name="Freeform 84">
              <a:extLst>
                <a:ext uri="{FF2B5EF4-FFF2-40B4-BE49-F238E27FC236}">
                  <a16:creationId xmlns:a16="http://schemas.microsoft.com/office/drawing/2014/main" id="{9F13F3E1-0D40-46AC-B9E9-6B147B1C65C8}"/>
                </a:ext>
              </a:extLst>
            </p:cNvPr>
            <p:cNvSpPr>
              <a:spLocks noChangeArrowheads="1"/>
            </p:cNvSpPr>
            <p:nvPr/>
          </p:nvSpPr>
          <p:spPr bwMode="auto">
            <a:xfrm>
              <a:off x="6260881" y="1338411"/>
              <a:ext cx="21202" cy="1618"/>
            </a:xfrm>
            <a:custGeom>
              <a:avLst/>
              <a:gdLst>
                <a:gd name="T0" fmla="*/ 0 w 59"/>
                <a:gd name="T1" fmla="*/ 0 h 1"/>
                <a:gd name="T2" fmla="*/ 0 w 59"/>
                <a:gd name="T3" fmla="*/ 0 h 1"/>
                <a:gd name="T4" fmla="*/ 58 w 59"/>
                <a:gd name="T5" fmla="*/ 0 h 1"/>
                <a:gd name="T6" fmla="*/ 0 w 59"/>
                <a:gd name="T7" fmla="*/ 0 h 1"/>
              </a:gdLst>
              <a:ahLst/>
              <a:cxnLst>
                <a:cxn ang="0">
                  <a:pos x="T0" y="T1"/>
                </a:cxn>
                <a:cxn ang="0">
                  <a:pos x="T2" y="T3"/>
                </a:cxn>
                <a:cxn ang="0">
                  <a:pos x="T4" y="T5"/>
                </a:cxn>
                <a:cxn ang="0">
                  <a:pos x="T6" y="T7"/>
                </a:cxn>
              </a:cxnLst>
              <a:rect l="0" t="0" r="r" b="b"/>
              <a:pathLst>
                <a:path w="59" h="1">
                  <a:moveTo>
                    <a:pt x="0" y="0"/>
                  </a:moveTo>
                  <a:lnTo>
                    <a:pt x="0" y="0"/>
                  </a:lnTo>
                  <a:cubicBezTo>
                    <a:pt x="29" y="0"/>
                    <a:pt x="29" y="0"/>
                    <a:pt x="58"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8" name="Freeform 85">
              <a:extLst>
                <a:ext uri="{FF2B5EF4-FFF2-40B4-BE49-F238E27FC236}">
                  <a16:creationId xmlns:a16="http://schemas.microsoft.com/office/drawing/2014/main" id="{992AAD26-C5F6-4863-999F-6EFA4D054354}"/>
                </a:ext>
              </a:extLst>
            </p:cNvPr>
            <p:cNvSpPr>
              <a:spLocks noChangeArrowheads="1"/>
            </p:cNvSpPr>
            <p:nvPr/>
          </p:nvSpPr>
          <p:spPr bwMode="auto">
            <a:xfrm>
              <a:off x="8222789" y="1862746"/>
              <a:ext cx="86434" cy="32366"/>
            </a:xfrm>
            <a:custGeom>
              <a:avLst/>
              <a:gdLst>
                <a:gd name="T0" fmla="*/ 0 w 235"/>
                <a:gd name="T1" fmla="*/ 88 h 89"/>
                <a:gd name="T2" fmla="*/ 0 w 235"/>
                <a:gd name="T3" fmla="*/ 88 h 89"/>
                <a:gd name="T4" fmla="*/ 88 w 235"/>
                <a:gd name="T5" fmla="*/ 59 h 89"/>
                <a:gd name="T6" fmla="*/ 234 w 235"/>
                <a:gd name="T7" fmla="*/ 0 h 89"/>
                <a:gd name="T8" fmla="*/ 88 w 235"/>
                <a:gd name="T9" fmla="*/ 59 h 89"/>
                <a:gd name="T10" fmla="*/ 0 w 235"/>
                <a:gd name="T11" fmla="*/ 88 h 89"/>
              </a:gdLst>
              <a:ahLst/>
              <a:cxnLst>
                <a:cxn ang="0">
                  <a:pos x="T0" y="T1"/>
                </a:cxn>
                <a:cxn ang="0">
                  <a:pos x="T2" y="T3"/>
                </a:cxn>
                <a:cxn ang="0">
                  <a:pos x="T4" y="T5"/>
                </a:cxn>
                <a:cxn ang="0">
                  <a:pos x="T6" y="T7"/>
                </a:cxn>
                <a:cxn ang="0">
                  <a:pos x="T8" y="T9"/>
                </a:cxn>
                <a:cxn ang="0">
                  <a:pos x="T10" y="T11"/>
                </a:cxn>
              </a:cxnLst>
              <a:rect l="0" t="0" r="r" b="b"/>
              <a:pathLst>
                <a:path w="235" h="89">
                  <a:moveTo>
                    <a:pt x="0" y="88"/>
                  </a:moveTo>
                  <a:lnTo>
                    <a:pt x="0" y="88"/>
                  </a:lnTo>
                  <a:cubicBezTo>
                    <a:pt x="30" y="88"/>
                    <a:pt x="59" y="88"/>
                    <a:pt x="88" y="59"/>
                  </a:cubicBezTo>
                  <a:cubicBezTo>
                    <a:pt x="117" y="59"/>
                    <a:pt x="205" y="30"/>
                    <a:pt x="234" y="0"/>
                  </a:cubicBezTo>
                  <a:cubicBezTo>
                    <a:pt x="205" y="30"/>
                    <a:pt x="117" y="59"/>
                    <a:pt x="88" y="59"/>
                  </a:cubicBezTo>
                  <a:cubicBezTo>
                    <a:pt x="59" y="88"/>
                    <a:pt x="30" y="88"/>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9" name="Freeform 86">
              <a:extLst>
                <a:ext uri="{FF2B5EF4-FFF2-40B4-BE49-F238E27FC236}">
                  <a16:creationId xmlns:a16="http://schemas.microsoft.com/office/drawing/2014/main" id="{A5D51D7B-5D63-49BB-9AF8-3FE3FEB76E14}"/>
                </a:ext>
              </a:extLst>
            </p:cNvPr>
            <p:cNvSpPr>
              <a:spLocks noChangeArrowheads="1"/>
            </p:cNvSpPr>
            <p:nvPr/>
          </p:nvSpPr>
          <p:spPr bwMode="auto">
            <a:xfrm>
              <a:off x="8234204" y="1862746"/>
              <a:ext cx="1631" cy="22656"/>
            </a:xfrm>
            <a:custGeom>
              <a:avLst/>
              <a:gdLst>
                <a:gd name="T0" fmla="*/ 0 w 1"/>
                <a:gd name="T1" fmla="*/ 0 h 60"/>
                <a:gd name="T2" fmla="*/ 0 w 1"/>
                <a:gd name="T3" fmla="*/ 0 h 60"/>
                <a:gd name="T4" fmla="*/ 0 w 1"/>
                <a:gd name="T5" fmla="*/ 59 h 60"/>
                <a:gd name="T6" fmla="*/ 0 w 1"/>
                <a:gd name="T7" fmla="*/ 0 h 60"/>
              </a:gdLst>
              <a:ahLst/>
              <a:cxnLst>
                <a:cxn ang="0">
                  <a:pos x="T0" y="T1"/>
                </a:cxn>
                <a:cxn ang="0">
                  <a:pos x="T2" y="T3"/>
                </a:cxn>
                <a:cxn ang="0">
                  <a:pos x="T4" y="T5"/>
                </a:cxn>
                <a:cxn ang="0">
                  <a:pos x="T6" y="T7"/>
                </a:cxn>
              </a:cxnLst>
              <a:rect l="0" t="0" r="r" b="b"/>
              <a:pathLst>
                <a:path w="1" h="60">
                  <a:moveTo>
                    <a:pt x="0" y="0"/>
                  </a:moveTo>
                  <a:lnTo>
                    <a:pt x="0" y="0"/>
                  </a:lnTo>
                  <a:cubicBezTo>
                    <a:pt x="0" y="30"/>
                    <a:pt x="0" y="30"/>
                    <a:pt x="0" y="59"/>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0" name="Freeform 87">
              <a:extLst>
                <a:ext uri="{FF2B5EF4-FFF2-40B4-BE49-F238E27FC236}">
                  <a16:creationId xmlns:a16="http://schemas.microsoft.com/office/drawing/2014/main" id="{8BFB0D57-E350-4EA4-9738-BA66E347BF74}"/>
                </a:ext>
              </a:extLst>
            </p:cNvPr>
            <p:cNvSpPr>
              <a:spLocks noChangeArrowheads="1"/>
            </p:cNvSpPr>
            <p:nvPr/>
          </p:nvSpPr>
          <p:spPr bwMode="auto">
            <a:xfrm>
              <a:off x="8374457" y="184170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1" name="Freeform 88">
              <a:extLst>
                <a:ext uri="{FF2B5EF4-FFF2-40B4-BE49-F238E27FC236}">
                  <a16:creationId xmlns:a16="http://schemas.microsoft.com/office/drawing/2014/main" id="{BF8B2BD8-E63A-4C17-B854-7692A34B3F03}"/>
                </a:ext>
              </a:extLst>
            </p:cNvPr>
            <p:cNvSpPr>
              <a:spLocks noChangeArrowheads="1"/>
            </p:cNvSpPr>
            <p:nvPr/>
          </p:nvSpPr>
          <p:spPr bwMode="auto">
            <a:xfrm>
              <a:off x="8309223" y="1851418"/>
              <a:ext cx="44033" cy="11329"/>
            </a:xfrm>
            <a:custGeom>
              <a:avLst/>
              <a:gdLst>
                <a:gd name="T0" fmla="*/ 0 w 117"/>
                <a:gd name="T1" fmla="*/ 29 h 30"/>
                <a:gd name="T2" fmla="*/ 0 w 117"/>
                <a:gd name="T3" fmla="*/ 29 h 30"/>
                <a:gd name="T4" fmla="*/ 58 w 117"/>
                <a:gd name="T5" fmla="*/ 29 h 30"/>
                <a:gd name="T6" fmla="*/ 87 w 117"/>
                <a:gd name="T7" fmla="*/ 0 h 30"/>
                <a:gd name="T8" fmla="*/ 116 w 117"/>
                <a:gd name="T9" fmla="*/ 0 h 30"/>
                <a:gd name="T10" fmla="*/ 87 w 117"/>
                <a:gd name="T11" fmla="*/ 0 h 30"/>
                <a:gd name="T12" fmla="*/ 58 w 117"/>
                <a:gd name="T13" fmla="*/ 29 h 30"/>
                <a:gd name="T14" fmla="*/ 0 w 117"/>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30">
                  <a:moveTo>
                    <a:pt x="0" y="29"/>
                  </a:moveTo>
                  <a:lnTo>
                    <a:pt x="0" y="29"/>
                  </a:lnTo>
                  <a:cubicBezTo>
                    <a:pt x="58" y="29"/>
                    <a:pt x="58" y="29"/>
                    <a:pt x="58" y="29"/>
                  </a:cubicBezTo>
                  <a:cubicBezTo>
                    <a:pt x="58" y="29"/>
                    <a:pt x="87" y="29"/>
                    <a:pt x="87" y="0"/>
                  </a:cubicBezTo>
                  <a:cubicBezTo>
                    <a:pt x="116" y="0"/>
                    <a:pt x="116" y="0"/>
                    <a:pt x="116" y="0"/>
                  </a:cubicBezTo>
                  <a:cubicBezTo>
                    <a:pt x="116" y="0"/>
                    <a:pt x="116" y="0"/>
                    <a:pt x="87" y="0"/>
                  </a:cubicBezTo>
                  <a:cubicBezTo>
                    <a:pt x="87" y="29"/>
                    <a:pt x="58" y="29"/>
                    <a:pt x="58" y="29"/>
                  </a:cubicBez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2" name="Freeform 89">
              <a:extLst>
                <a:ext uri="{FF2B5EF4-FFF2-40B4-BE49-F238E27FC236}">
                  <a16:creationId xmlns:a16="http://schemas.microsoft.com/office/drawing/2014/main" id="{1114C4A2-54B2-47C9-9CAA-5F12935DE983}"/>
                </a:ext>
              </a:extLst>
            </p:cNvPr>
            <p:cNvSpPr>
              <a:spLocks noChangeArrowheads="1"/>
            </p:cNvSpPr>
            <p:nvPr/>
          </p:nvSpPr>
          <p:spPr bwMode="auto">
            <a:xfrm>
              <a:off x="8341840" y="1713861"/>
              <a:ext cx="44033" cy="21038"/>
            </a:xfrm>
            <a:custGeom>
              <a:avLst/>
              <a:gdLst>
                <a:gd name="T0" fmla="*/ 0 w 118"/>
                <a:gd name="T1" fmla="*/ 58 h 59"/>
                <a:gd name="T2" fmla="*/ 0 w 118"/>
                <a:gd name="T3" fmla="*/ 58 h 59"/>
                <a:gd name="T4" fmla="*/ 88 w 118"/>
                <a:gd name="T5" fmla="*/ 29 h 59"/>
                <a:gd name="T6" fmla="*/ 117 w 118"/>
                <a:gd name="T7" fmla="*/ 0 h 59"/>
                <a:gd name="T8" fmla="*/ 88 w 118"/>
                <a:gd name="T9" fmla="*/ 29 h 59"/>
                <a:gd name="T10" fmla="*/ 0 w 118"/>
                <a:gd name="T11" fmla="*/ 58 h 59"/>
              </a:gdLst>
              <a:ahLst/>
              <a:cxnLst>
                <a:cxn ang="0">
                  <a:pos x="T0" y="T1"/>
                </a:cxn>
                <a:cxn ang="0">
                  <a:pos x="T2" y="T3"/>
                </a:cxn>
                <a:cxn ang="0">
                  <a:pos x="T4" y="T5"/>
                </a:cxn>
                <a:cxn ang="0">
                  <a:pos x="T6" y="T7"/>
                </a:cxn>
                <a:cxn ang="0">
                  <a:pos x="T8" y="T9"/>
                </a:cxn>
                <a:cxn ang="0">
                  <a:pos x="T10" y="T11"/>
                </a:cxn>
              </a:cxnLst>
              <a:rect l="0" t="0" r="r" b="b"/>
              <a:pathLst>
                <a:path w="118" h="59">
                  <a:moveTo>
                    <a:pt x="0" y="58"/>
                  </a:moveTo>
                  <a:lnTo>
                    <a:pt x="0" y="58"/>
                  </a:lnTo>
                  <a:cubicBezTo>
                    <a:pt x="29" y="58"/>
                    <a:pt x="59" y="29"/>
                    <a:pt x="88" y="29"/>
                  </a:cubicBezTo>
                  <a:cubicBezTo>
                    <a:pt x="88" y="0"/>
                    <a:pt x="117" y="0"/>
                    <a:pt x="117" y="0"/>
                  </a:cubicBezTo>
                  <a:cubicBezTo>
                    <a:pt x="117" y="0"/>
                    <a:pt x="88" y="0"/>
                    <a:pt x="88" y="29"/>
                  </a:cubicBezTo>
                  <a:cubicBezTo>
                    <a:pt x="59" y="29"/>
                    <a:pt x="29"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3" name="Freeform 90">
              <a:extLst>
                <a:ext uri="{FF2B5EF4-FFF2-40B4-BE49-F238E27FC236}">
                  <a16:creationId xmlns:a16="http://schemas.microsoft.com/office/drawing/2014/main" id="{3AF011FB-0ED4-473E-9437-F6443D144E43}"/>
                </a:ext>
              </a:extLst>
            </p:cNvPr>
            <p:cNvSpPr>
              <a:spLocks noChangeArrowheads="1"/>
            </p:cNvSpPr>
            <p:nvPr/>
          </p:nvSpPr>
          <p:spPr bwMode="auto">
            <a:xfrm>
              <a:off x="8439690" y="1874074"/>
              <a:ext cx="21202" cy="32366"/>
            </a:xfrm>
            <a:custGeom>
              <a:avLst/>
              <a:gdLst>
                <a:gd name="T0" fmla="*/ 29 w 59"/>
                <a:gd name="T1" fmla="*/ 87 h 88"/>
                <a:gd name="T2" fmla="*/ 29 w 59"/>
                <a:gd name="T3" fmla="*/ 87 h 88"/>
                <a:gd name="T4" fmla="*/ 58 w 59"/>
                <a:gd name="T5" fmla="*/ 0 h 88"/>
                <a:gd name="T6" fmla="*/ 58 w 59"/>
                <a:gd name="T7" fmla="*/ 0 h 88"/>
                <a:gd name="T8" fmla="*/ 58 w 59"/>
                <a:gd name="T9" fmla="*/ 0 h 88"/>
                <a:gd name="T10" fmla="*/ 29 w 59"/>
                <a:gd name="T11" fmla="*/ 87 h 88"/>
                <a:gd name="T12" fmla="*/ 0 w 59"/>
                <a:gd name="T13" fmla="*/ 87 h 88"/>
                <a:gd name="T14" fmla="*/ 0 w 59"/>
                <a:gd name="T15" fmla="*/ 87 h 88"/>
                <a:gd name="T16" fmla="*/ 0 w 59"/>
                <a:gd name="T17" fmla="*/ 87 h 88"/>
                <a:gd name="T18" fmla="*/ 29 w 59"/>
                <a:gd name="T19" fmla="*/ 8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88">
                  <a:moveTo>
                    <a:pt x="29" y="87"/>
                  </a:moveTo>
                  <a:lnTo>
                    <a:pt x="29" y="87"/>
                  </a:lnTo>
                  <a:cubicBezTo>
                    <a:pt x="29" y="58"/>
                    <a:pt x="29" y="29"/>
                    <a:pt x="58" y="0"/>
                  </a:cubicBezTo>
                  <a:lnTo>
                    <a:pt x="58" y="0"/>
                  </a:lnTo>
                  <a:lnTo>
                    <a:pt x="58" y="0"/>
                  </a:lnTo>
                  <a:cubicBezTo>
                    <a:pt x="29" y="29"/>
                    <a:pt x="29" y="58"/>
                    <a:pt x="29" y="87"/>
                  </a:cubicBezTo>
                  <a:cubicBezTo>
                    <a:pt x="0" y="87"/>
                    <a:pt x="0" y="87"/>
                    <a:pt x="0" y="87"/>
                  </a:cubicBezTo>
                  <a:lnTo>
                    <a:pt x="0" y="87"/>
                  </a:lnTo>
                  <a:lnTo>
                    <a:pt x="0" y="87"/>
                  </a:lnTo>
                  <a:lnTo>
                    <a:pt x="29" y="8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4" name="Freeform 91">
              <a:extLst>
                <a:ext uri="{FF2B5EF4-FFF2-40B4-BE49-F238E27FC236}">
                  <a16:creationId xmlns:a16="http://schemas.microsoft.com/office/drawing/2014/main" id="{AB761C3D-10D5-46AB-B75F-4DB2A27B98C4}"/>
                </a:ext>
              </a:extLst>
            </p:cNvPr>
            <p:cNvSpPr>
              <a:spLocks noChangeArrowheads="1"/>
            </p:cNvSpPr>
            <p:nvPr/>
          </p:nvSpPr>
          <p:spPr bwMode="auto">
            <a:xfrm>
              <a:off x="9550297" y="2621738"/>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5" name="Freeform 92">
              <a:extLst>
                <a:ext uri="{FF2B5EF4-FFF2-40B4-BE49-F238E27FC236}">
                  <a16:creationId xmlns:a16="http://schemas.microsoft.com/office/drawing/2014/main" id="{DAB1FF48-739A-4C33-860D-46EA175DE8EB}"/>
                </a:ext>
              </a:extLst>
            </p:cNvPr>
            <p:cNvSpPr>
              <a:spLocks noChangeArrowheads="1"/>
            </p:cNvSpPr>
            <p:nvPr/>
          </p:nvSpPr>
          <p:spPr bwMode="auto">
            <a:xfrm>
              <a:off x="9550297" y="2612028"/>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6" name="Freeform 93">
              <a:extLst>
                <a:ext uri="{FF2B5EF4-FFF2-40B4-BE49-F238E27FC236}">
                  <a16:creationId xmlns:a16="http://schemas.microsoft.com/office/drawing/2014/main" id="{CFD7949A-1788-4815-9FEC-70DFBE68A046}"/>
                </a:ext>
              </a:extLst>
            </p:cNvPr>
            <p:cNvSpPr>
              <a:spLocks noChangeArrowheads="1"/>
            </p:cNvSpPr>
            <p:nvPr/>
          </p:nvSpPr>
          <p:spPr bwMode="auto">
            <a:xfrm>
              <a:off x="9550297" y="2568334"/>
              <a:ext cx="1630" cy="11328"/>
            </a:xfrm>
            <a:custGeom>
              <a:avLst/>
              <a:gdLst>
                <a:gd name="T0" fmla="*/ 0 w 1"/>
                <a:gd name="T1" fmla="*/ 0 h 30"/>
                <a:gd name="T2" fmla="*/ 0 w 1"/>
                <a:gd name="T3" fmla="*/ 0 h 30"/>
                <a:gd name="T4" fmla="*/ 0 w 1"/>
                <a:gd name="T5" fmla="*/ 29 h 30"/>
                <a:gd name="T6" fmla="*/ 0 w 1"/>
                <a:gd name="T7" fmla="*/ 29 h 30"/>
                <a:gd name="T8" fmla="*/ 0 w 1"/>
                <a:gd name="T9" fmla="*/ 29 h 30"/>
                <a:gd name="T10" fmla="*/ 0 w 1"/>
                <a:gd name="T11" fmla="*/ 0 h 30"/>
              </a:gdLst>
              <a:ahLst/>
              <a:cxnLst>
                <a:cxn ang="0">
                  <a:pos x="T0" y="T1"/>
                </a:cxn>
                <a:cxn ang="0">
                  <a:pos x="T2" y="T3"/>
                </a:cxn>
                <a:cxn ang="0">
                  <a:pos x="T4" y="T5"/>
                </a:cxn>
                <a:cxn ang="0">
                  <a:pos x="T6" y="T7"/>
                </a:cxn>
                <a:cxn ang="0">
                  <a:pos x="T8" y="T9"/>
                </a:cxn>
                <a:cxn ang="0">
                  <a:pos x="T10" y="T11"/>
                </a:cxn>
              </a:cxnLst>
              <a:rect l="0" t="0" r="r" b="b"/>
              <a:pathLst>
                <a:path w="1" h="30">
                  <a:moveTo>
                    <a:pt x="0" y="0"/>
                  </a:moveTo>
                  <a:lnTo>
                    <a:pt x="0" y="0"/>
                  </a:lnTo>
                  <a:lnTo>
                    <a:pt x="0" y="29"/>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7" name="Freeform 94">
              <a:extLst>
                <a:ext uri="{FF2B5EF4-FFF2-40B4-BE49-F238E27FC236}">
                  <a16:creationId xmlns:a16="http://schemas.microsoft.com/office/drawing/2014/main" id="{7334AC4D-943F-4711-8AB5-3B99D1BEC37B}"/>
                </a:ext>
              </a:extLst>
            </p:cNvPr>
            <p:cNvSpPr>
              <a:spLocks noChangeArrowheads="1"/>
            </p:cNvSpPr>
            <p:nvPr/>
          </p:nvSpPr>
          <p:spPr bwMode="auto">
            <a:xfrm>
              <a:off x="9561712" y="2589372"/>
              <a:ext cx="1631" cy="11329"/>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cubicBezTo>
                    <a:pt x="0" y="30"/>
                    <a:pt x="0" y="30"/>
                    <a:pt x="0" y="30"/>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8" name="Freeform 95">
              <a:extLst>
                <a:ext uri="{FF2B5EF4-FFF2-40B4-BE49-F238E27FC236}">
                  <a16:creationId xmlns:a16="http://schemas.microsoft.com/office/drawing/2014/main" id="{E73C0E94-3CF7-45EA-846A-0489AFF88D6B}"/>
                </a:ext>
              </a:extLst>
            </p:cNvPr>
            <p:cNvSpPr>
              <a:spLocks noChangeArrowheads="1"/>
            </p:cNvSpPr>
            <p:nvPr/>
          </p:nvSpPr>
          <p:spPr bwMode="auto">
            <a:xfrm>
              <a:off x="9129539" y="2152425"/>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9" name="Freeform 96">
              <a:extLst>
                <a:ext uri="{FF2B5EF4-FFF2-40B4-BE49-F238E27FC236}">
                  <a16:creationId xmlns:a16="http://schemas.microsoft.com/office/drawing/2014/main" id="{D96DF255-555D-4CA3-B345-780F82DD7426}"/>
                </a:ext>
              </a:extLst>
            </p:cNvPr>
            <p:cNvSpPr>
              <a:spLocks noChangeArrowheads="1"/>
            </p:cNvSpPr>
            <p:nvPr/>
          </p:nvSpPr>
          <p:spPr bwMode="auto">
            <a:xfrm>
              <a:off x="9162156" y="2001922"/>
              <a:ext cx="11415" cy="43694"/>
            </a:xfrm>
            <a:custGeom>
              <a:avLst/>
              <a:gdLst>
                <a:gd name="T0" fmla="*/ 0 w 30"/>
                <a:gd name="T1" fmla="*/ 58 h 117"/>
                <a:gd name="T2" fmla="*/ 0 w 30"/>
                <a:gd name="T3" fmla="*/ 58 h 117"/>
                <a:gd name="T4" fmla="*/ 0 w 30"/>
                <a:gd name="T5" fmla="*/ 116 h 117"/>
                <a:gd name="T6" fmla="*/ 0 w 30"/>
                <a:gd name="T7" fmla="*/ 58 h 117"/>
                <a:gd name="T8" fmla="*/ 29 w 30"/>
                <a:gd name="T9" fmla="*/ 0 h 117"/>
                <a:gd name="T10" fmla="*/ 0 w 30"/>
                <a:gd name="T11" fmla="*/ 58 h 117"/>
              </a:gdLst>
              <a:ahLst/>
              <a:cxnLst>
                <a:cxn ang="0">
                  <a:pos x="T0" y="T1"/>
                </a:cxn>
                <a:cxn ang="0">
                  <a:pos x="T2" y="T3"/>
                </a:cxn>
                <a:cxn ang="0">
                  <a:pos x="T4" y="T5"/>
                </a:cxn>
                <a:cxn ang="0">
                  <a:pos x="T6" y="T7"/>
                </a:cxn>
                <a:cxn ang="0">
                  <a:pos x="T8" y="T9"/>
                </a:cxn>
                <a:cxn ang="0">
                  <a:pos x="T10" y="T11"/>
                </a:cxn>
              </a:cxnLst>
              <a:rect l="0" t="0" r="r" b="b"/>
              <a:pathLst>
                <a:path w="30" h="117">
                  <a:moveTo>
                    <a:pt x="0" y="58"/>
                  </a:moveTo>
                  <a:lnTo>
                    <a:pt x="0" y="58"/>
                  </a:lnTo>
                  <a:cubicBezTo>
                    <a:pt x="0" y="87"/>
                    <a:pt x="0" y="116"/>
                    <a:pt x="0" y="116"/>
                  </a:cubicBezTo>
                  <a:cubicBezTo>
                    <a:pt x="0" y="116"/>
                    <a:pt x="0" y="87"/>
                    <a:pt x="0" y="58"/>
                  </a:cubicBezTo>
                  <a:cubicBezTo>
                    <a:pt x="0" y="29"/>
                    <a:pt x="0" y="29"/>
                    <a:pt x="29" y="0"/>
                  </a:cubicBezTo>
                  <a:cubicBezTo>
                    <a:pt x="0"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0" name="Freeform 97">
              <a:extLst>
                <a:ext uri="{FF2B5EF4-FFF2-40B4-BE49-F238E27FC236}">
                  <a16:creationId xmlns:a16="http://schemas.microsoft.com/office/drawing/2014/main" id="{72610844-4EB8-407B-8D9A-490F912C4EF9}"/>
                </a:ext>
              </a:extLst>
            </p:cNvPr>
            <p:cNvSpPr>
              <a:spLocks noChangeArrowheads="1"/>
            </p:cNvSpPr>
            <p:nvPr/>
          </p:nvSpPr>
          <p:spPr bwMode="auto">
            <a:xfrm>
              <a:off x="8222789" y="1883784"/>
              <a:ext cx="11415" cy="1619"/>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0" y="0"/>
                    <a:pt x="0" y="0"/>
                    <a:pt x="0" y="0"/>
                  </a:cubicBezTo>
                  <a:cubicBezTo>
                    <a:pt x="0" y="0"/>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1" name="Freeform 98">
              <a:extLst>
                <a:ext uri="{FF2B5EF4-FFF2-40B4-BE49-F238E27FC236}">
                  <a16:creationId xmlns:a16="http://schemas.microsoft.com/office/drawing/2014/main" id="{1CE2A51C-19E1-4E7D-8E36-3FA88A316BF3}"/>
                </a:ext>
              </a:extLst>
            </p:cNvPr>
            <p:cNvSpPr>
              <a:spLocks noChangeArrowheads="1"/>
            </p:cNvSpPr>
            <p:nvPr/>
          </p:nvSpPr>
          <p:spPr bwMode="auto">
            <a:xfrm>
              <a:off x="6616405" y="1980883"/>
              <a:ext cx="1025802" cy="663511"/>
            </a:xfrm>
            <a:custGeom>
              <a:avLst/>
              <a:gdLst>
                <a:gd name="T0" fmla="*/ 2742 w 2772"/>
                <a:gd name="T1" fmla="*/ 146 h 1809"/>
                <a:gd name="T2" fmla="*/ 2742 w 2772"/>
                <a:gd name="T3" fmla="*/ 146 h 1809"/>
                <a:gd name="T4" fmla="*/ 175 w 2772"/>
                <a:gd name="T5" fmla="*/ 0 h 1809"/>
                <a:gd name="T6" fmla="*/ 29 w 2772"/>
                <a:gd name="T7" fmla="*/ 1195 h 1809"/>
                <a:gd name="T8" fmla="*/ 0 w 2772"/>
                <a:gd name="T9" fmla="*/ 1428 h 1809"/>
                <a:gd name="T10" fmla="*/ 1312 w 2772"/>
                <a:gd name="T11" fmla="*/ 1516 h 1809"/>
                <a:gd name="T12" fmla="*/ 1400 w 2772"/>
                <a:gd name="T13" fmla="*/ 1516 h 1809"/>
                <a:gd name="T14" fmla="*/ 1517 w 2772"/>
                <a:gd name="T15" fmla="*/ 1545 h 1809"/>
                <a:gd name="T16" fmla="*/ 1545 w 2772"/>
                <a:gd name="T17" fmla="*/ 1545 h 1809"/>
                <a:gd name="T18" fmla="*/ 1604 w 2772"/>
                <a:gd name="T19" fmla="*/ 1574 h 1809"/>
                <a:gd name="T20" fmla="*/ 1633 w 2772"/>
                <a:gd name="T21" fmla="*/ 1574 h 1809"/>
                <a:gd name="T22" fmla="*/ 1692 w 2772"/>
                <a:gd name="T23" fmla="*/ 1603 h 1809"/>
                <a:gd name="T24" fmla="*/ 1721 w 2772"/>
                <a:gd name="T25" fmla="*/ 1632 h 1809"/>
                <a:gd name="T26" fmla="*/ 1750 w 2772"/>
                <a:gd name="T27" fmla="*/ 1632 h 1809"/>
                <a:gd name="T28" fmla="*/ 1866 w 2772"/>
                <a:gd name="T29" fmla="*/ 1661 h 1809"/>
                <a:gd name="T30" fmla="*/ 2012 w 2772"/>
                <a:gd name="T31" fmla="*/ 1691 h 1809"/>
                <a:gd name="T32" fmla="*/ 2100 w 2772"/>
                <a:gd name="T33" fmla="*/ 1720 h 1809"/>
                <a:gd name="T34" fmla="*/ 2188 w 2772"/>
                <a:gd name="T35" fmla="*/ 1778 h 1809"/>
                <a:gd name="T36" fmla="*/ 2245 w 2772"/>
                <a:gd name="T37" fmla="*/ 1749 h 1809"/>
                <a:gd name="T38" fmla="*/ 2304 w 2772"/>
                <a:gd name="T39" fmla="*/ 1720 h 1809"/>
                <a:gd name="T40" fmla="*/ 2421 w 2772"/>
                <a:gd name="T41" fmla="*/ 1691 h 1809"/>
                <a:gd name="T42" fmla="*/ 2479 w 2772"/>
                <a:gd name="T43" fmla="*/ 1720 h 1809"/>
                <a:gd name="T44" fmla="*/ 2479 w 2772"/>
                <a:gd name="T45" fmla="*/ 1720 h 1809"/>
                <a:gd name="T46" fmla="*/ 2509 w 2772"/>
                <a:gd name="T47" fmla="*/ 1720 h 1809"/>
                <a:gd name="T48" fmla="*/ 2538 w 2772"/>
                <a:gd name="T49" fmla="*/ 1720 h 1809"/>
                <a:gd name="T50" fmla="*/ 2566 w 2772"/>
                <a:gd name="T51" fmla="*/ 1720 h 1809"/>
                <a:gd name="T52" fmla="*/ 2683 w 2772"/>
                <a:gd name="T53" fmla="*/ 1778 h 1809"/>
                <a:gd name="T54" fmla="*/ 2771 w 2772"/>
                <a:gd name="T55" fmla="*/ 1808 h 1809"/>
                <a:gd name="T56" fmla="*/ 2771 w 2772"/>
                <a:gd name="T57" fmla="*/ 1661 h 1809"/>
                <a:gd name="T58" fmla="*/ 2742 w 2772"/>
                <a:gd name="T59" fmla="*/ 1458 h 1809"/>
                <a:gd name="T60" fmla="*/ 2712 w 2772"/>
                <a:gd name="T61" fmla="*/ 1399 h 1809"/>
                <a:gd name="T62" fmla="*/ 2683 w 2772"/>
                <a:gd name="T63" fmla="*/ 1370 h 1809"/>
                <a:gd name="T64" fmla="*/ 2654 w 2772"/>
                <a:gd name="T65" fmla="*/ 1341 h 1809"/>
                <a:gd name="T66" fmla="*/ 2683 w 2772"/>
                <a:gd name="T67" fmla="*/ 1341 h 1809"/>
                <a:gd name="T68" fmla="*/ 2742 w 2772"/>
                <a:gd name="T69" fmla="*/ 1341 h 1809"/>
                <a:gd name="T70" fmla="*/ 2742 w 2772"/>
                <a:gd name="T71" fmla="*/ 1341 h 1809"/>
                <a:gd name="T72" fmla="*/ 2771 w 2772"/>
                <a:gd name="T73" fmla="*/ 1341 h 1809"/>
                <a:gd name="T74" fmla="*/ 2771 w 2772"/>
                <a:gd name="T75" fmla="*/ 1078 h 1809"/>
                <a:gd name="T76" fmla="*/ 2771 w 2772"/>
                <a:gd name="T77" fmla="*/ 903 h 1809"/>
                <a:gd name="T78" fmla="*/ 2771 w 2772"/>
                <a:gd name="T79" fmla="*/ 729 h 1809"/>
                <a:gd name="T80" fmla="*/ 2771 w 2772"/>
                <a:gd name="T81" fmla="*/ 438 h 1809"/>
                <a:gd name="T82" fmla="*/ 2771 w 2772"/>
                <a:gd name="T83" fmla="*/ 409 h 1809"/>
                <a:gd name="T84" fmla="*/ 2742 w 2772"/>
                <a:gd name="T85" fmla="*/ 350 h 1809"/>
                <a:gd name="T86" fmla="*/ 2742 w 2772"/>
                <a:gd name="T87" fmla="*/ 233 h 1809"/>
                <a:gd name="T88" fmla="*/ 2742 w 2772"/>
                <a:gd name="T89" fmla="*/ 146 h 1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2" h="1809">
                  <a:moveTo>
                    <a:pt x="2742" y="146"/>
                  </a:moveTo>
                  <a:lnTo>
                    <a:pt x="2742" y="146"/>
                  </a:lnTo>
                  <a:cubicBezTo>
                    <a:pt x="1895" y="117"/>
                    <a:pt x="1079" y="59"/>
                    <a:pt x="175" y="0"/>
                  </a:cubicBezTo>
                  <a:cubicBezTo>
                    <a:pt x="117" y="379"/>
                    <a:pt x="59" y="788"/>
                    <a:pt x="29" y="1195"/>
                  </a:cubicBezTo>
                  <a:cubicBezTo>
                    <a:pt x="0" y="1428"/>
                    <a:pt x="0" y="1428"/>
                    <a:pt x="0" y="1428"/>
                  </a:cubicBezTo>
                  <a:cubicBezTo>
                    <a:pt x="467" y="1458"/>
                    <a:pt x="933" y="1487"/>
                    <a:pt x="1312" y="1516"/>
                  </a:cubicBezTo>
                  <a:cubicBezTo>
                    <a:pt x="1342" y="1516"/>
                    <a:pt x="1371" y="1516"/>
                    <a:pt x="1400" y="1516"/>
                  </a:cubicBezTo>
                  <a:cubicBezTo>
                    <a:pt x="1429" y="1516"/>
                    <a:pt x="1488" y="1516"/>
                    <a:pt x="1517" y="1545"/>
                  </a:cubicBezTo>
                  <a:cubicBezTo>
                    <a:pt x="1545" y="1545"/>
                    <a:pt x="1545" y="1545"/>
                    <a:pt x="1545" y="1545"/>
                  </a:cubicBezTo>
                  <a:cubicBezTo>
                    <a:pt x="1575" y="1574"/>
                    <a:pt x="1575" y="1574"/>
                    <a:pt x="1604" y="1574"/>
                  </a:cubicBezTo>
                  <a:cubicBezTo>
                    <a:pt x="1604" y="1574"/>
                    <a:pt x="1604" y="1574"/>
                    <a:pt x="1633" y="1574"/>
                  </a:cubicBezTo>
                  <a:cubicBezTo>
                    <a:pt x="1662" y="1574"/>
                    <a:pt x="1662" y="1574"/>
                    <a:pt x="1692" y="1603"/>
                  </a:cubicBezTo>
                  <a:cubicBezTo>
                    <a:pt x="1692" y="1603"/>
                    <a:pt x="1721" y="1603"/>
                    <a:pt x="1721" y="1632"/>
                  </a:cubicBezTo>
                  <a:cubicBezTo>
                    <a:pt x="1750" y="1632"/>
                    <a:pt x="1750" y="1632"/>
                    <a:pt x="1750" y="1632"/>
                  </a:cubicBezTo>
                  <a:cubicBezTo>
                    <a:pt x="1779" y="1661"/>
                    <a:pt x="1838" y="1661"/>
                    <a:pt x="1866" y="1661"/>
                  </a:cubicBezTo>
                  <a:cubicBezTo>
                    <a:pt x="1925" y="1661"/>
                    <a:pt x="1983" y="1691"/>
                    <a:pt x="2012" y="1691"/>
                  </a:cubicBezTo>
                  <a:cubicBezTo>
                    <a:pt x="2042" y="1691"/>
                    <a:pt x="2071" y="1720"/>
                    <a:pt x="2100" y="1720"/>
                  </a:cubicBezTo>
                  <a:cubicBezTo>
                    <a:pt x="2129" y="1749"/>
                    <a:pt x="2159" y="1778"/>
                    <a:pt x="2188" y="1778"/>
                  </a:cubicBezTo>
                  <a:cubicBezTo>
                    <a:pt x="2188" y="1778"/>
                    <a:pt x="2216" y="1749"/>
                    <a:pt x="2245" y="1749"/>
                  </a:cubicBezTo>
                  <a:cubicBezTo>
                    <a:pt x="2275" y="1720"/>
                    <a:pt x="2275" y="1720"/>
                    <a:pt x="2304" y="1720"/>
                  </a:cubicBezTo>
                  <a:cubicBezTo>
                    <a:pt x="2333" y="1691"/>
                    <a:pt x="2392" y="1691"/>
                    <a:pt x="2421" y="1691"/>
                  </a:cubicBezTo>
                  <a:cubicBezTo>
                    <a:pt x="2450" y="1691"/>
                    <a:pt x="2450" y="1720"/>
                    <a:pt x="2479" y="1720"/>
                  </a:cubicBezTo>
                  <a:lnTo>
                    <a:pt x="2479" y="1720"/>
                  </a:lnTo>
                  <a:cubicBezTo>
                    <a:pt x="2509" y="1720"/>
                    <a:pt x="2509" y="1720"/>
                    <a:pt x="2509" y="1720"/>
                  </a:cubicBezTo>
                  <a:cubicBezTo>
                    <a:pt x="2538" y="1720"/>
                    <a:pt x="2538" y="1720"/>
                    <a:pt x="2538" y="1720"/>
                  </a:cubicBezTo>
                  <a:lnTo>
                    <a:pt x="2566" y="1720"/>
                  </a:lnTo>
                  <a:cubicBezTo>
                    <a:pt x="2595" y="1749"/>
                    <a:pt x="2625" y="1749"/>
                    <a:pt x="2683" y="1778"/>
                  </a:cubicBezTo>
                  <a:cubicBezTo>
                    <a:pt x="2712" y="1808"/>
                    <a:pt x="2742" y="1808"/>
                    <a:pt x="2771" y="1808"/>
                  </a:cubicBezTo>
                  <a:cubicBezTo>
                    <a:pt x="2742" y="1778"/>
                    <a:pt x="2742" y="1720"/>
                    <a:pt x="2771" y="1661"/>
                  </a:cubicBezTo>
                  <a:cubicBezTo>
                    <a:pt x="2771" y="1574"/>
                    <a:pt x="2771" y="1487"/>
                    <a:pt x="2742" y="1458"/>
                  </a:cubicBezTo>
                  <a:cubicBezTo>
                    <a:pt x="2742" y="1428"/>
                    <a:pt x="2742" y="1428"/>
                    <a:pt x="2712" y="1399"/>
                  </a:cubicBezTo>
                  <a:cubicBezTo>
                    <a:pt x="2712" y="1399"/>
                    <a:pt x="2683" y="1399"/>
                    <a:pt x="2683" y="1370"/>
                  </a:cubicBezTo>
                  <a:cubicBezTo>
                    <a:pt x="2654" y="1341"/>
                    <a:pt x="2654" y="1341"/>
                    <a:pt x="2654" y="1341"/>
                  </a:cubicBezTo>
                  <a:cubicBezTo>
                    <a:pt x="2683" y="1341"/>
                    <a:pt x="2683" y="1341"/>
                    <a:pt x="2683" y="1341"/>
                  </a:cubicBezTo>
                  <a:cubicBezTo>
                    <a:pt x="2712" y="1341"/>
                    <a:pt x="2712" y="1341"/>
                    <a:pt x="2742" y="1341"/>
                  </a:cubicBezTo>
                  <a:lnTo>
                    <a:pt x="2742" y="1341"/>
                  </a:lnTo>
                  <a:lnTo>
                    <a:pt x="2771" y="1341"/>
                  </a:lnTo>
                  <a:cubicBezTo>
                    <a:pt x="2771" y="1253"/>
                    <a:pt x="2771" y="1166"/>
                    <a:pt x="2771" y="1078"/>
                  </a:cubicBezTo>
                  <a:cubicBezTo>
                    <a:pt x="2771" y="1020"/>
                    <a:pt x="2771" y="961"/>
                    <a:pt x="2771" y="903"/>
                  </a:cubicBezTo>
                  <a:cubicBezTo>
                    <a:pt x="2771" y="846"/>
                    <a:pt x="2771" y="788"/>
                    <a:pt x="2771" y="729"/>
                  </a:cubicBezTo>
                  <a:cubicBezTo>
                    <a:pt x="2771" y="642"/>
                    <a:pt x="2771" y="525"/>
                    <a:pt x="2771" y="438"/>
                  </a:cubicBezTo>
                  <a:lnTo>
                    <a:pt x="2771" y="409"/>
                  </a:lnTo>
                  <a:cubicBezTo>
                    <a:pt x="2742" y="379"/>
                    <a:pt x="2742" y="350"/>
                    <a:pt x="2742" y="350"/>
                  </a:cubicBezTo>
                  <a:cubicBezTo>
                    <a:pt x="2742" y="292"/>
                    <a:pt x="2742" y="262"/>
                    <a:pt x="2742" y="233"/>
                  </a:cubicBezTo>
                  <a:cubicBezTo>
                    <a:pt x="2742" y="204"/>
                    <a:pt x="2771" y="175"/>
                    <a:pt x="2742"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2" name="Freeform 99">
              <a:extLst>
                <a:ext uri="{FF2B5EF4-FFF2-40B4-BE49-F238E27FC236}">
                  <a16:creationId xmlns:a16="http://schemas.microsoft.com/office/drawing/2014/main" id="{36208135-1190-4E50-BA83-F8E079D48962}"/>
                </a:ext>
              </a:extLst>
            </p:cNvPr>
            <p:cNvSpPr>
              <a:spLocks noChangeArrowheads="1"/>
            </p:cNvSpPr>
            <p:nvPr/>
          </p:nvSpPr>
          <p:spPr bwMode="auto">
            <a:xfrm>
              <a:off x="8137985" y="1851418"/>
              <a:ext cx="755081" cy="792977"/>
            </a:xfrm>
            <a:custGeom>
              <a:avLst/>
              <a:gdLst>
                <a:gd name="T0" fmla="*/ 525 w 2043"/>
                <a:gd name="T1" fmla="*/ 1487 h 2159"/>
                <a:gd name="T2" fmla="*/ 613 w 2043"/>
                <a:gd name="T3" fmla="*/ 1574 h 2159"/>
                <a:gd name="T4" fmla="*/ 613 w 2043"/>
                <a:gd name="T5" fmla="*/ 1720 h 2159"/>
                <a:gd name="T6" fmla="*/ 642 w 2043"/>
                <a:gd name="T7" fmla="*/ 1953 h 2159"/>
                <a:gd name="T8" fmla="*/ 788 w 2043"/>
                <a:gd name="T9" fmla="*/ 2158 h 2159"/>
                <a:gd name="T10" fmla="*/ 1021 w 2043"/>
                <a:gd name="T11" fmla="*/ 2158 h 2159"/>
                <a:gd name="T12" fmla="*/ 1838 w 2043"/>
                <a:gd name="T13" fmla="*/ 2128 h 2159"/>
                <a:gd name="T14" fmla="*/ 1838 w 2043"/>
                <a:gd name="T15" fmla="*/ 2041 h 2159"/>
                <a:gd name="T16" fmla="*/ 1780 w 2043"/>
                <a:gd name="T17" fmla="*/ 1661 h 2159"/>
                <a:gd name="T18" fmla="*/ 1809 w 2043"/>
                <a:gd name="T19" fmla="*/ 1399 h 2159"/>
                <a:gd name="T20" fmla="*/ 1838 w 2043"/>
                <a:gd name="T21" fmla="*/ 1282 h 2159"/>
                <a:gd name="T22" fmla="*/ 1866 w 2043"/>
                <a:gd name="T23" fmla="*/ 1224 h 2159"/>
                <a:gd name="T24" fmla="*/ 1896 w 2043"/>
                <a:gd name="T25" fmla="*/ 1138 h 2159"/>
                <a:gd name="T26" fmla="*/ 2042 w 2043"/>
                <a:gd name="T27" fmla="*/ 759 h 2159"/>
                <a:gd name="T28" fmla="*/ 2013 w 2043"/>
                <a:gd name="T29" fmla="*/ 788 h 2159"/>
                <a:gd name="T30" fmla="*/ 1954 w 2043"/>
                <a:gd name="T31" fmla="*/ 933 h 2159"/>
                <a:gd name="T32" fmla="*/ 1780 w 2043"/>
                <a:gd name="T33" fmla="*/ 1109 h 2159"/>
                <a:gd name="T34" fmla="*/ 1692 w 2043"/>
                <a:gd name="T35" fmla="*/ 1282 h 2159"/>
                <a:gd name="T36" fmla="*/ 1633 w 2043"/>
                <a:gd name="T37" fmla="*/ 1253 h 2159"/>
                <a:gd name="T38" fmla="*/ 1692 w 2043"/>
                <a:gd name="T39" fmla="*/ 1109 h 2159"/>
                <a:gd name="T40" fmla="*/ 1780 w 2043"/>
                <a:gd name="T41" fmla="*/ 933 h 2159"/>
                <a:gd name="T42" fmla="*/ 1780 w 2043"/>
                <a:gd name="T43" fmla="*/ 846 h 2159"/>
                <a:gd name="T44" fmla="*/ 1750 w 2043"/>
                <a:gd name="T45" fmla="*/ 700 h 2159"/>
                <a:gd name="T46" fmla="*/ 1692 w 2043"/>
                <a:gd name="T47" fmla="*/ 583 h 2159"/>
                <a:gd name="T48" fmla="*/ 1633 w 2043"/>
                <a:gd name="T49" fmla="*/ 525 h 2159"/>
                <a:gd name="T50" fmla="*/ 1546 w 2043"/>
                <a:gd name="T51" fmla="*/ 467 h 2159"/>
                <a:gd name="T52" fmla="*/ 1400 w 2043"/>
                <a:gd name="T53" fmla="*/ 409 h 2159"/>
                <a:gd name="T54" fmla="*/ 1196 w 2043"/>
                <a:gd name="T55" fmla="*/ 321 h 2159"/>
                <a:gd name="T56" fmla="*/ 1167 w 2043"/>
                <a:gd name="T57" fmla="*/ 321 h 2159"/>
                <a:gd name="T58" fmla="*/ 963 w 2043"/>
                <a:gd name="T59" fmla="*/ 262 h 2159"/>
                <a:gd name="T60" fmla="*/ 904 w 2043"/>
                <a:gd name="T61" fmla="*/ 233 h 2159"/>
                <a:gd name="T62" fmla="*/ 788 w 2043"/>
                <a:gd name="T63" fmla="*/ 175 h 2159"/>
                <a:gd name="T64" fmla="*/ 730 w 2043"/>
                <a:gd name="T65" fmla="*/ 175 h 2159"/>
                <a:gd name="T66" fmla="*/ 671 w 2043"/>
                <a:gd name="T67" fmla="*/ 175 h 2159"/>
                <a:gd name="T68" fmla="*/ 671 w 2043"/>
                <a:gd name="T69" fmla="*/ 146 h 2159"/>
                <a:gd name="T70" fmla="*/ 700 w 2043"/>
                <a:gd name="T71" fmla="*/ 59 h 2159"/>
                <a:gd name="T72" fmla="*/ 671 w 2043"/>
                <a:gd name="T73" fmla="*/ 0 h 2159"/>
                <a:gd name="T74" fmla="*/ 525 w 2043"/>
                <a:gd name="T75" fmla="*/ 88 h 2159"/>
                <a:gd name="T76" fmla="*/ 467 w 2043"/>
                <a:gd name="T77" fmla="*/ 88 h 2159"/>
                <a:gd name="T78" fmla="*/ 233 w 2043"/>
                <a:gd name="T79" fmla="*/ 146 h 2159"/>
                <a:gd name="T80" fmla="*/ 233 w 2043"/>
                <a:gd name="T81" fmla="*/ 438 h 2159"/>
                <a:gd name="T82" fmla="*/ 233 w 2043"/>
                <a:gd name="T83" fmla="*/ 438 h 2159"/>
                <a:gd name="T84" fmla="*/ 59 w 2043"/>
                <a:gd name="T85" fmla="*/ 671 h 2159"/>
                <a:gd name="T86" fmla="*/ 59 w 2043"/>
                <a:gd name="T87" fmla="*/ 759 h 2159"/>
                <a:gd name="T88" fmla="*/ 59 w 2043"/>
                <a:gd name="T89" fmla="*/ 904 h 2159"/>
                <a:gd name="T90" fmla="*/ 29 w 2043"/>
                <a:gd name="T91" fmla="*/ 1050 h 2159"/>
                <a:gd name="T92" fmla="*/ 117 w 2043"/>
                <a:gd name="T93" fmla="*/ 1109 h 2159"/>
                <a:gd name="T94" fmla="*/ 175 w 2043"/>
                <a:gd name="T95" fmla="*/ 1196 h 2159"/>
                <a:gd name="T96" fmla="*/ 233 w 2043"/>
                <a:gd name="T97" fmla="*/ 1196 h 2159"/>
                <a:gd name="T98" fmla="*/ 380 w 2043"/>
                <a:gd name="T99" fmla="*/ 1370 h 2159"/>
                <a:gd name="T100" fmla="*/ 525 w 2043"/>
                <a:gd name="T101" fmla="*/ 1458 h 2159"/>
                <a:gd name="T102" fmla="*/ 525 w 2043"/>
                <a:gd name="T103" fmla="*/ 1458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3" h="2159">
                  <a:moveTo>
                    <a:pt x="525" y="1487"/>
                  </a:moveTo>
                  <a:lnTo>
                    <a:pt x="525" y="1487"/>
                  </a:lnTo>
                  <a:lnTo>
                    <a:pt x="525" y="1487"/>
                  </a:lnTo>
                  <a:cubicBezTo>
                    <a:pt x="554" y="1516"/>
                    <a:pt x="583" y="1516"/>
                    <a:pt x="613" y="1574"/>
                  </a:cubicBezTo>
                  <a:cubicBezTo>
                    <a:pt x="613" y="1574"/>
                    <a:pt x="613" y="1603"/>
                    <a:pt x="583" y="1632"/>
                  </a:cubicBezTo>
                  <a:cubicBezTo>
                    <a:pt x="613" y="1661"/>
                    <a:pt x="613" y="1691"/>
                    <a:pt x="613" y="1720"/>
                  </a:cubicBezTo>
                  <a:cubicBezTo>
                    <a:pt x="671" y="1749"/>
                    <a:pt x="671" y="1837"/>
                    <a:pt x="642" y="1895"/>
                  </a:cubicBezTo>
                  <a:cubicBezTo>
                    <a:pt x="642" y="1924"/>
                    <a:pt x="642" y="1953"/>
                    <a:pt x="642" y="1953"/>
                  </a:cubicBezTo>
                  <a:cubicBezTo>
                    <a:pt x="642" y="1982"/>
                    <a:pt x="642" y="2011"/>
                    <a:pt x="642" y="2011"/>
                  </a:cubicBezTo>
                  <a:cubicBezTo>
                    <a:pt x="671" y="2070"/>
                    <a:pt x="759" y="2158"/>
                    <a:pt x="788" y="2158"/>
                  </a:cubicBezTo>
                  <a:cubicBezTo>
                    <a:pt x="846" y="2158"/>
                    <a:pt x="904" y="2158"/>
                    <a:pt x="963" y="2158"/>
                  </a:cubicBezTo>
                  <a:cubicBezTo>
                    <a:pt x="992" y="2158"/>
                    <a:pt x="992" y="2158"/>
                    <a:pt x="1021" y="2158"/>
                  </a:cubicBezTo>
                  <a:cubicBezTo>
                    <a:pt x="1167" y="2158"/>
                    <a:pt x="1283" y="2158"/>
                    <a:pt x="1430" y="2158"/>
                  </a:cubicBezTo>
                  <a:cubicBezTo>
                    <a:pt x="1575" y="2128"/>
                    <a:pt x="1692" y="2128"/>
                    <a:pt x="1838" y="2128"/>
                  </a:cubicBezTo>
                  <a:cubicBezTo>
                    <a:pt x="1838" y="2128"/>
                    <a:pt x="1838" y="2099"/>
                    <a:pt x="1838" y="2070"/>
                  </a:cubicBezTo>
                  <a:lnTo>
                    <a:pt x="1838" y="2041"/>
                  </a:lnTo>
                  <a:cubicBezTo>
                    <a:pt x="1838" y="1982"/>
                    <a:pt x="1838" y="1895"/>
                    <a:pt x="1809" y="1837"/>
                  </a:cubicBezTo>
                  <a:cubicBezTo>
                    <a:pt x="1780" y="1778"/>
                    <a:pt x="1780" y="1720"/>
                    <a:pt x="1780" y="1661"/>
                  </a:cubicBezTo>
                  <a:cubicBezTo>
                    <a:pt x="1750" y="1574"/>
                    <a:pt x="1780" y="1487"/>
                    <a:pt x="1809" y="1428"/>
                  </a:cubicBezTo>
                  <a:cubicBezTo>
                    <a:pt x="1809" y="1399"/>
                    <a:pt x="1809" y="1399"/>
                    <a:pt x="1809" y="1399"/>
                  </a:cubicBezTo>
                  <a:cubicBezTo>
                    <a:pt x="1809" y="1370"/>
                    <a:pt x="1809" y="1370"/>
                    <a:pt x="1809" y="1370"/>
                  </a:cubicBezTo>
                  <a:cubicBezTo>
                    <a:pt x="1809" y="1311"/>
                    <a:pt x="1809" y="1282"/>
                    <a:pt x="1838" y="1282"/>
                  </a:cubicBezTo>
                  <a:cubicBezTo>
                    <a:pt x="1838" y="1253"/>
                    <a:pt x="1838" y="1253"/>
                    <a:pt x="1866" y="1253"/>
                  </a:cubicBezTo>
                  <a:cubicBezTo>
                    <a:pt x="1866" y="1224"/>
                    <a:pt x="1866" y="1224"/>
                    <a:pt x="1866" y="1224"/>
                  </a:cubicBezTo>
                  <a:cubicBezTo>
                    <a:pt x="1866" y="1224"/>
                    <a:pt x="1866" y="1196"/>
                    <a:pt x="1866" y="1167"/>
                  </a:cubicBezTo>
                  <a:cubicBezTo>
                    <a:pt x="1866" y="1167"/>
                    <a:pt x="1866" y="1138"/>
                    <a:pt x="1896" y="1138"/>
                  </a:cubicBezTo>
                  <a:cubicBezTo>
                    <a:pt x="1896" y="1050"/>
                    <a:pt x="1925" y="992"/>
                    <a:pt x="1954" y="933"/>
                  </a:cubicBezTo>
                  <a:cubicBezTo>
                    <a:pt x="1983" y="875"/>
                    <a:pt x="2013" y="817"/>
                    <a:pt x="2042" y="759"/>
                  </a:cubicBezTo>
                  <a:cubicBezTo>
                    <a:pt x="2042" y="759"/>
                    <a:pt x="2042" y="759"/>
                    <a:pt x="2013" y="759"/>
                  </a:cubicBezTo>
                  <a:cubicBezTo>
                    <a:pt x="2013" y="788"/>
                    <a:pt x="2013" y="788"/>
                    <a:pt x="2013" y="788"/>
                  </a:cubicBezTo>
                  <a:cubicBezTo>
                    <a:pt x="1983" y="817"/>
                    <a:pt x="1983" y="846"/>
                    <a:pt x="1983" y="875"/>
                  </a:cubicBezTo>
                  <a:cubicBezTo>
                    <a:pt x="1983" y="904"/>
                    <a:pt x="1954" y="904"/>
                    <a:pt x="1954" y="933"/>
                  </a:cubicBezTo>
                  <a:cubicBezTo>
                    <a:pt x="1925" y="992"/>
                    <a:pt x="1896" y="1021"/>
                    <a:pt x="1866" y="1050"/>
                  </a:cubicBezTo>
                  <a:cubicBezTo>
                    <a:pt x="1838" y="1050"/>
                    <a:pt x="1809" y="1079"/>
                    <a:pt x="1780" y="1109"/>
                  </a:cubicBezTo>
                  <a:cubicBezTo>
                    <a:pt x="1780" y="1109"/>
                    <a:pt x="1780" y="1138"/>
                    <a:pt x="1750" y="1167"/>
                  </a:cubicBezTo>
                  <a:cubicBezTo>
                    <a:pt x="1750" y="1224"/>
                    <a:pt x="1721" y="1282"/>
                    <a:pt x="1692" y="1282"/>
                  </a:cubicBezTo>
                  <a:lnTo>
                    <a:pt x="1692" y="1282"/>
                  </a:lnTo>
                  <a:cubicBezTo>
                    <a:pt x="1663" y="1282"/>
                    <a:pt x="1663" y="1282"/>
                    <a:pt x="1633" y="1253"/>
                  </a:cubicBezTo>
                  <a:cubicBezTo>
                    <a:pt x="1633" y="1224"/>
                    <a:pt x="1633" y="1167"/>
                    <a:pt x="1633" y="1167"/>
                  </a:cubicBezTo>
                  <a:cubicBezTo>
                    <a:pt x="1663" y="1138"/>
                    <a:pt x="1663" y="1109"/>
                    <a:pt x="1692" y="1109"/>
                  </a:cubicBezTo>
                  <a:lnTo>
                    <a:pt x="1721" y="1079"/>
                  </a:lnTo>
                  <a:cubicBezTo>
                    <a:pt x="1721" y="1021"/>
                    <a:pt x="1750" y="962"/>
                    <a:pt x="1780" y="933"/>
                  </a:cubicBezTo>
                  <a:lnTo>
                    <a:pt x="1809" y="904"/>
                  </a:lnTo>
                  <a:cubicBezTo>
                    <a:pt x="1809" y="875"/>
                    <a:pt x="1780" y="875"/>
                    <a:pt x="1780" y="846"/>
                  </a:cubicBezTo>
                  <a:cubicBezTo>
                    <a:pt x="1780" y="846"/>
                    <a:pt x="1750" y="817"/>
                    <a:pt x="1750" y="759"/>
                  </a:cubicBezTo>
                  <a:cubicBezTo>
                    <a:pt x="1750" y="759"/>
                    <a:pt x="1750" y="729"/>
                    <a:pt x="1750" y="700"/>
                  </a:cubicBezTo>
                  <a:cubicBezTo>
                    <a:pt x="1721" y="671"/>
                    <a:pt x="1721" y="642"/>
                    <a:pt x="1721" y="612"/>
                  </a:cubicBezTo>
                  <a:lnTo>
                    <a:pt x="1692" y="583"/>
                  </a:lnTo>
                  <a:lnTo>
                    <a:pt x="1663" y="554"/>
                  </a:lnTo>
                  <a:lnTo>
                    <a:pt x="1633" y="525"/>
                  </a:lnTo>
                  <a:cubicBezTo>
                    <a:pt x="1633" y="525"/>
                    <a:pt x="1633" y="496"/>
                    <a:pt x="1604" y="496"/>
                  </a:cubicBezTo>
                  <a:cubicBezTo>
                    <a:pt x="1604" y="496"/>
                    <a:pt x="1575" y="467"/>
                    <a:pt x="1546" y="467"/>
                  </a:cubicBezTo>
                  <a:cubicBezTo>
                    <a:pt x="1517" y="467"/>
                    <a:pt x="1488" y="438"/>
                    <a:pt x="1459" y="438"/>
                  </a:cubicBezTo>
                  <a:cubicBezTo>
                    <a:pt x="1430" y="409"/>
                    <a:pt x="1400" y="409"/>
                    <a:pt x="1400" y="409"/>
                  </a:cubicBezTo>
                  <a:cubicBezTo>
                    <a:pt x="1342" y="379"/>
                    <a:pt x="1254" y="321"/>
                    <a:pt x="1196" y="321"/>
                  </a:cubicBezTo>
                  <a:lnTo>
                    <a:pt x="1196" y="321"/>
                  </a:lnTo>
                  <a:cubicBezTo>
                    <a:pt x="1167" y="321"/>
                    <a:pt x="1167" y="321"/>
                    <a:pt x="1167" y="321"/>
                  </a:cubicBezTo>
                  <a:lnTo>
                    <a:pt x="1167" y="321"/>
                  </a:lnTo>
                  <a:cubicBezTo>
                    <a:pt x="1138" y="321"/>
                    <a:pt x="1109" y="321"/>
                    <a:pt x="1109" y="321"/>
                  </a:cubicBezTo>
                  <a:cubicBezTo>
                    <a:pt x="1050" y="321"/>
                    <a:pt x="992" y="292"/>
                    <a:pt x="963" y="262"/>
                  </a:cubicBezTo>
                  <a:cubicBezTo>
                    <a:pt x="963" y="262"/>
                    <a:pt x="933" y="262"/>
                    <a:pt x="933" y="233"/>
                  </a:cubicBezTo>
                  <a:lnTo>
                    <a:pt x="904" y="233"/>
                  </a:lnTo>
                  <a:cubicBezTo>
                    <a:pt x="875" y="204"/>
                    <a:pt x="846" y="204"/>
                    <a:pt x="817" y="175"/>
                  </a:cubicBezTo>
                  <a:lnTo>
                    <a:pt x="788" y="175"/>
                  </a:lnTo>
                  <a:cubicBezTo>
                    <a:pt x="759" y="175"/>
                    <a:pt x="759" y="146"/>
                    <a:pt x="759" y="146"/>
                  </a:cubicBezTo>
                  <a:cubicBezTo>
                    <a:pt x="759" y="146"/>
                    <a:pt x="759" y="146"/>
                    <a:pt x="730" y="175"/>
                  </a:cubicBezTo>
                  <a:lnTo>
                    <a:pt x="700" y="175"/>
                  </a:lnTo>
                  <a:lnTo>
                    <a:pt x="671" y="175"/>
                  </a:lnTo>
                  <a:lnTo>
                    <a:pt x="671" y="175"/>
                  </a:lnTo>
                  <a:cubicBezTo>
                    <a:pt x="671" y="146"/>
                    <a:pt x="671" y="146"/>
                    <a:pt x="671" y="146"/>
                  </a:cubicBezTo>
                  <a:cubicBezTo>
                    <a:pt x="671" y="117"/>
                    <a:pt x="671" y="117"/>
                    <a:pt x="700" y="88"/>
                  </a:cubicBezTo>
                  <a:cubicBezTo>
                    <a:pt x="700" y="88"/>
                    <a:pt x="700" y="88"/>
                    <a:pt x="700" y="59"/>
                  </a:cubicBezTo>
                  <a:cubicBezTo>
                    <a:pt x="700" y="59"/>
                    <a:pt x="700" y="59"/>
                    <a:pt x="700" y="29"/>
                  </a:cubicBezTo>
                  <a:cubicBezTo>
                    <a:pt x="671" y="29"/>
                    <a:pt x="671" y="0"/>
                    <a:pt x="671" y="0"/>
                  </a:cubicBezTo>
                  <a:cubicBezTo>
                    <a:pt x="642" y="0"/>
                    <a:pt x="613" y="29"/>
                    <a:pt x="583" y="29"/>
                  </a:cubicBezTo>
                  <a:cubicBezTo>
                    <a:pt x="554" y="59"/>
                    <a:pt x="554" y="59"/>
                    <a:pt x="525" y="88"/>
                  </a:cubicBezTo>
                  <a:lnTo>
                    <a:pt x="525" y="88"/>
                  </a:lnTo>
                  <a:cubicBezTo>
                    <a:pt x="467" y="88"/>
                    <a:pt x="467" y="88"/>
                    <a:pt x="467" y="88"/>
                  </a:cubicBezTo>
                  <a:cubicBezTo>
                    <a:pt x="438" y="117"/>
                    <a:pt x="380" y="117"/>
                    <a:pt x="321" y="146"/>
                  </a:cubicBezTo>
                  <a:cubicBezTo>
                    <a:pt x="292" y="146"/>
                    <a:pt x="263" y="146"/>
                    <a:pt x="233" y="146"/>
                  </a:cubicBezTo>
                  <a:cubicBezTo>
                    <a:pt x="233" y="204"/>
                    <a:pt x="233" y="233"/>
                    <a:pt x="233" y="262"/>
                  </a:cubicBezTo>
                  <a:cubicBezTo>
                    <a:pt x="233" y="321"/>
                    <a:pt x="233" y="379"/>
                    <a:pt x="233" y="438"/>
                  </a:cubicBezTo>
                  <a:lnTo>
                    <a:pt x="233" y="438"/>
                  </a:lnTo>
                  <a:lnTo>
                    <a:pt x="233" y="438"/>
                  </a:lnTo>
                  <a:cubicBezTo>
                    <a:pt x="175" y="496"/>
                    <a:pt x="117" y="554"/>
                    <a:pt x="29" y="583"/>
                  </a:cubicBezTo>
                  <a:cubicBezTo>
                    <a:pt x="29" y="612"/>
                    <a:pt x="59" y="642"/>
                    <a:pt x="59" y="671"/>
                  </a:cubicBezTo>
                  <a:cubicBezTo>
                    <a:pt x="59" y="700"/>
                    <a:pt x="59" y="729"/>
                    <a:pt x="59" y="729"/>
                  </a:cubicBezTo>
                  <a:cubicBezTo>
                    <a:pt x="59" y="759"/>
                    <a:pt x="59" y="759"/>
                    <a:pt x="59" y="759"/>
                  </a:cubicBezTo>
                  <a:cubicBezTo>
                    <a:pt x="59" y="788"/>
                    <a:pt x="88" y="788"/>
                    <a:pt x="88" y="817"/>
                  </a:cubicBezTo>
                  <a:cubicBezTo>
                    <a:pt x="88" y="846"/>
                    <a:pt x="59" y="875"/>
                    <a:pt x="59" y="904"/>
                  </a:cubicBezTo>
                  <a:cubicBezTo>
                    <a:pt x="29" y="904"/>
                    <a:pt x="29" y="933"/>
                    <a:pt x="29" y="933"/>
                  </a:cubicBezTo>
                  <a:cubicBezTo>
                    <a:pt x="29" y="962"/>
                    <a:pt x="0" y="1021"/>
                    <a:pt x="29" y="1050"/>
                  </a:cubicBezTo>
                  <a:cubicBezTo>
                    <a:pt x="29" y="1079"/>
                    <a:pt x="59" y="1079"/>
                    <a:pt x="59" y="1079"/>
                  </a:cubicBezTo>
                  <a:cubicBezTo>
                    <a:pt x="88" y="1109"/>
                    <a:pt x="88" y="1109"/>
                    <a:pt x="117" y="1109"/>
                  </a:cubicBezTo>
                  <a:cubicBezTo>
                    <a:pt x="117" y="1138"/>
                    <a:pt x="117" y="1138"/>
                    <a:pt x="117" y="1167"/>
                  </a:cubicBezTo>
                  <a:cubicBezTo>
                    <a:pt x="146" y="1196"/>
                    <a:pt x="146" y="1196"/>
                    <a:pt x="175" y="1196"/>
                  </a:cubicBezTo>
                  <a:cubicBezTo>
                    <a:pt x="175" y="1196"/>
                    <a:pt x="175" y="1196"/>
                    <a:pt x="204" y="1196"/>
                  </a:cubicBezTo>
                  <a:cubicBezTo>
                    <a:pt x="204" y="1196"/>
                    <a:pt x="204" y="1196"/>
                    <a:pt x="233" y="1196"/>
                  </a:cubicBezTo>
                  <a:cubicBezTo>
                    <a:pt x="292" y="1224"/>
                    <a:pt x="321" y="1253"/>
                    <a:pt x="321" y="1311"/>
                  </a:cubicBezTo>
                  <a:cubicBezTo>
                    <a:pt x="350" y="1311"/>
                    <a:pt x="350" y="1341"/>
                    <a:pt x="380" y="1370"/>
                  </a:cubicBezTo>
                  <a:cubicBezTo>
                    <a:pt x="380" y="1370"/>
                    <a:pt x="409" y="1370"/>
                    <a:pt x="438" y="1399"/>
                  </a:cubicBezTo>
                  <a:cubicBezTo>
                    <a:pt x="467" y="1399"/>
                    <a:pt x="496" y="1399"/>
                    <a:pt x="525" y="1458"/>
                  </a:cubicBezTo>
                  <a:lnTo>
                    <a:pt x="525" y="1458"/>
                  </a:lnTo>
                  <a:lnTo>
                    <a:pt x="525" y="1458"/>
                  </a:lnTo>
                  <a:cubicBezTo>
                    <a:pt x="525" y="1487"/>
                    <a:pt x="525" y="1487"/>
                    <a:pt x="525" y="14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3" name="Freeform 100">
              <a:extLst>
                <a:ext uri="{FF2B5EF4-FFF2-40B4-BE49-F238E27FC236}">
                  <a16:creationId xmlns:a16="http://schemas.microsoft.com/office/drawing/2014/main" id="{CA872026-BA1A-4FB6-A664-8D02924A5405}"/>
                </a:ext>
              </a:extLst>
            </p:cNvPr>
            <p:cNvSpPr>
              <a:spLocks noChangeArrowheads="1"/>
            </p:cNvSpPr>
            <p:nvPr/>
          </p:nvSpPr>
          <p:spPr bwMode="auto">
            <a:xfrm>
              <a:off x="8407074" y="1874074"/>
              <a:ext cx="11416" cy="21039"/>
            </a:xfrm>
            <a:custGeom>
              <a:avLst/>
              <a:gdLst>
                <a:gd name="T0" fmla="*/ 29 w 30"/>
                <a:gd name="T1" fmla="*/ 0 h 59"/>
                <a:gd name="T2" fmla="*/ 29 w 30"/>
                <a:gd name="T3" fmla="*/ 0 h 59"/>
                <a:gd name="T4" fmla="*/ 0 w 30"/>
                <a:gd name="T5" fmla="*/ 58 h 59"/>
                <a:gd name="T6" fmla="*/ 29 w 30"/>
                <a:gd name="T7" fmla="*/ 0 h 59"/>
              </a:gdLst>
              <a:ahLst/>
              <a:cxnLst>
                <a:cxn ang="0">
                  <a:pos x="T0" y="T1"/>
                </a:cxn>
                <a:cxn ang="0">
                  <a:pos x="T2" y="T3"/>
                </a:cxn>
                <a:cxn ang="0">
                  <a:pos x="T4" y="T5"/>
                </a:cxn>
                <a:cxn ang="0">
                  <a:pos x="T6" y="T7"/>
                </a:cxn>
              </a:cxnLst>
              <a:rect l="0" t="0" r="r" b="b"/>
              <a:pathLst>
                <a:path w="30" h="59">
                  <a:moveTo>
                    <a:pt x="29" y="0"/>
                  </a:moveTo>
                  <a:lnTo>
                    <a:pt x="29" y="0"/>
                  </a:lnTo>
                  <a:cubicBezTo>
                    <a:pt x="29" y="29"/>
                    <a:pt x="0" y="29"/>
                    <a:pt x="0" y="58"/>
                  </a:cubicBezTo>
                  <a:cubicBezTo>
                    <a:pt x="0"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4" name="Freeform 101">
              <a:extLst>
                <a:ext uri="{FF2B5EF4-FFF2-40B4-BE49-F238E27FC236}">
                  <a16:creationId xmlns:a16="http://schemas.microsoft.com/office/drawing/2014/main" id="{CE86C088-701C-440E-AFEB-850E19FDB033}"/>
                </a:ext>
              </a:extLst>
            </p:cNvPr>
            <p:cNvSpPr>
              <a:spLocks noChangeArrowheads="1"/>
            </p:cNvSpPr>
            <p:nvPr/>
          </p:nvSpPr>
          <p:spPr bwMode="auto">
            <a:xfrm>
              <a:off x="5246495" y="1178196"/>
              <a:ext cx="1477546" cy="953191"/>
            </a:xfrm>
            <a:custGeom>
              <a:avLst/>
              <a:gdLst>
                <a:gd name="T0" fmla="*/ 59 w 3997"/>
                <a:gd name="T1" fmla="*/ 176 h 2598"/>
                <a:gd name="T2" fmla="*/ 0 w 3997"/>
                <a:gd name="T3" fmla="*/ 380 h 2598"/>
                <a:gd name="T4" fmla="*/ 88 w 3997"/>
                <a:gd name="T5" fmla="*/ 497 h 2598"/>
                <a:gd name="T6" fmla="*/ 175 w 3997"/>
                <a:gd name="T7" fmla="*/ 642 h 2598"/>
                <a:gd name="T8" fmla="*/ 175 w 3997"/>
                <a:gd name="T9" fmla="*/ 642 h 2598"/>
                <a:gd name="T10" fmla="*/ 204 w 3997"/>
                <a:gd name="T11" fmla="*/ 700 h 2598"/>
                <a:gd name="T12" fmla="*/ 263 w 3997"/>
                <a:gd name="T13" fmla="*/ 847 h 2598"/>
                <a:gd name="T14" fmla="*/ 292 w 3997"/>
                <a:gd name="T15" fmla="*/ 992 h 2598"/>
                <a:gd name="T16" fmla="*/ 350 w 3997"/>
                <a:gd name="T17" fmla="*/ 1050 h 2598"/>
                <a:gd name="T18" fmla="*/ 321 w 3997"/>
                <a:gd name="T19" fmla="*/ 1138 h 2598"/>
                <a:gd name="T20" fmla="*/ 350 w 3997"/>
                <a:gd name="T21" fmla="*/ 1197 h 2598"/>
                <a:gd name="T22" fmla="*/ 292 w 3997"/>
                <a:gd name="T23" fmla="*/ 1430 h 2598"/>
                <a:gd name="T24" fmla="*/ 263 w 3997"/>
                <a:gd name="T25" fmla="*/ 1547 h 2598"/>
                <a:gd name="T26" fmla="*/ 233 w 3997"/>
                <a:gd name="T27" fmla="*/ 1663 h 2598"/>
                <a:gd name="T28" fmla="*/ 263 w 3997"/>
                <a:gd name="T29" fmla="*/ 1663 h 2598"/>
                <a:gd name="T30" fmla="*/ 350 w 3997"/>
                <a:gd name="T31" fmla="*/ 1605 h 2598"/>
                <a:gd name="T32" fmla="*/ 380 w 3997"/>
                <a:gd name="T33" fmla="*/ 1721 h 2598"/>
                <a:gd name="T34" fmla="*/ 380 w 3997"/>
                <a:gd name="T35" fmla="*/ 1780 h 2598"/>
                <a:gd name="T36" fmla="*/ 409 w 3997"/>
                <a:gd name="T37" fmla="*/ 1926 h 2598"/>
                <a:gd name="T38" fmla="*/ 466 w 3997"/>
                <a:gd name="T39" fmla="*/ 2100 h 2598"/>
                <a:gd name="T40" fmla="*/ 525 w 3997"/>
                <a:gd name="T41" fmla="*/ 2217 h 2598"/>
                <a:gd name="T42" fmla="*/ 700 w 3997"/>
                <a:gd name="T43" fmla="*/ 2421 h 2598"/>
                <a:gd name="T44" fmla="*/ 816 w 3997"/>
                <a:gd name="T45" fmla="*/ 2392 h 2598"/>
                <a:gd name="T46" fmla="*/ 904 w 3997"/>
                <a:gd name="T47" fmla="*/ 2392 h 2598"/>
                <a:gd name="T48" fmla="*/ 1021 w 3997"/>
                <a:gd name="T49" fmla="*/ 2450 h 2598"/>
                <a:gd name="T50" fmla="*/ 1137 w 3997"/>
                <a:gd name="T51" fmla="*/ 2421 h 2598"/>
                <a:gd name="T52" fmla="*/ 1196 w 3997"/>
                <a:gd name="T53" fmla="*/ 2509 h 2598"/>
                <a:gd name="T54" fmla="*/ 1283 w 3997"/>
                <a:gd name="T55" fmla="*/ 2421 h 2598"/>
                <a:gd name="T56" fmla="*/ 1342 w 3997"/>
                <a:gd name="T57" fmla="*/ 2247 h 2598"/>
                <a:gd name="T58" fmla="*/ 3763 w 3997"/>
                <a:gd name="T59" fmla="*/ 2597 h 2598"/>
                <a:gd name="T60" fmla="*/ 3996 w 3997"/>
                <a:gd name="T61" fmla="*/ 671 h 2598"/>
                <a:gd name="T62" fmla="*/ 59 w 3997"/>
                <a:gd name="T63" fmla="*/ 147 h 2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97" h="2598">
                  <a:moveTo>
                    <a:pt x="59" y="176"/>
                  </a:moveTo>
                  <a:lnTo>
                    <a:pt x="59" y="176"/>
                  </a:lnTo>
                  <a:cubicBezTo>
                    <a:pt x="59" y="205"/>
                    <a:pt x="59" y="234"/>
                    <a:pt x="30" y="264"/>
                  </a:cubicBezTo>
                  <a:cubicBezTo>
                    <a:pt x="30" y="292"/>
                    <a:pt x="0" y="350"/>
                    <a:pt x="0" y="380"/>
                  </a:cubicBezTo>
                  <a:cubicBezTo>
                    <a:pt x="0" y="380"/>
                    <a:pt x="30" y="438"/>
                    <a:pt x="59" y="467"/>
                  </a:cubicBezTo>
                  <a:cubicBezTo>
                    <a:pt x="59" y="467"/>
                    <a:pt x="59" y="467"/>
                    <a:pt x="88" y="497"/>
                  </a:cubicBezTo>
                  <a:lnTo>
                    <a:pt x="88" y="526"/>
                  </a:lnTo>
                  <a:cubicBezTo>
                    <a:pt x="116" y="555"/>
                    <a:pt x="146" y="614"/>
                    <a:pt x="175" y="642"/>
                  </a:cubicBezTo>
                  <a:lnTo>
                    <a:pt x="175" y="642"/>
                  </a:lnTo>
                  <a:lnTo>
                    <a:pt x="175" y="642"/>
                  </a:lnTo>
                  <a:cubicBezTo>
                    <a:pt x="175" y="671"/>
                    <a:pt x="175" y="700"/>
                    <a:pt x="175" y="700"/>
                  </a:cubicBezTo>
                  <a:cubicBezTo>
                    <a:pt x="175" y="700"/>
                    <a:pt x="175" y="700"/>
                    <a:pt x="204" y="700"/>
                  </a:cubicBezTo>
                  <a:lnTo>
                    <a:pt x="233" y="730"/>
                  </a:lnTo>
                  <a:cubicBezTo>
                    <a:pt x="263" y="788"/>
                    <a:pt x="263" y="817"/>
                    <a:pt x="263" y="847"/>
                  </a:cubicBezTo>
                  <a:cubicBezTo>
                    <a:pt x="263" y="876"/>
                    <a:pt x="263" y="876"/>
                    <a:pt x="263" y="905"/>
                  </a:cubicBezTo>
                  <a:cubicBezTo>
                    <a:pt x="263" y="905"/>
                    <a:pt x="263" y="963"/>
                    <a:pt x="292" y="992"/>
                  </a:cubicBezTo>
                  <a:cubicBezTo>
                    <a:pt x="292" y="992"/>
                    <a:pt x="292" y="992"/>
                    <a:pt x="292" y="1021"/>
                  </a:cubicBezTo>
                  <a:cubicBezTo>
                    <a:pt x="321" y="1021"/>
                    <a:pt x="350" y="1050"/>
                    <a:pt x="350" y="1050"/>
                  </a:cubicBezTo>
                  <a:cubicBezTo>
                    <a:pt x="350" y="1080"/>
                    <a:pt x="321" y="1109"/>
                    <a:pt x="321" y="1109"/>
                  </a:cubicBezTo>
                  <a:cubicBezTo>
                    <a:pt x="321" y="1138"/>
                    <a:pt x="321" y="1138"/>
                    <a:pt x="321" y="1138"/>
                  </a:cubicBezTo>
                  <a:cubicBezTo>
                    <a:pt x="321" y="1167"/>
                    <a:pt x="321" y="1167"/>
                    <a:pt x="321" y="1167"/>
                  </a:cubicBezTo>
                  <a:cubicBezTo>
                    <a:pt x="350" y="1197"/>
                    <a:pt x="350" y="1197"/>
                    <a:pt x="350" y="1197"/>
                  </a:cubicBezTo>
                  <a:cubicBezTo>
                    <a:pt x="380" y="1255"/>
                    <a:pt x="380" y="1342"/>
                    <a:pt x="350" y="1400"/>
                  </a:cubicBezTo>
                  <a:cubicBezTo>
                    <a:pt x="321" y="1430"/>
                    <a:pt x="321" y="1430"/>
                    <a:pt x="292" y="1430"/>
                  </a:cubicBezTo>
                  <a:cubicBezTo>
                    <a:pt x="292" y="1459"/>
                    <a:pt x="263" y="1459"/>
                    <a:pt x="263" y="1488"/>
                  </a:cubicBezTo>
                  <a:cubicBezTo>
                    <a:pt x="263" y="1517"/>
                    <a:pt x="263" y="1517"/>
                    <a:pt x="263" y="1547"/>
                  </a:cubicBezTo>
                  <a:cubicBezTo>
                    <a:pt x="263" y="1576"/>
                    <a:pt x="263" y="1605"/>
                    <a:pt x="263" y="1634"/>
                  </a:cubicBezTo>
                  <a:cubicBezTo>
                    <a:pt x="263" y="1634"/>
                    <a:pt x="263" y="1663"/>
                    <a:pt x="233" y="1663"/>
                  </a:cubicBezTo>
                  <a:lnTo>
                    <a:pt x="233" y="1692"/>
                  </a:lnTo>
                  <a:cubicBezTo>
                    <a:pt x="263" y="1692"/>
                    <a:pt x="263" y="1692"/>
                    <a:pt x="263" y="1663"/>
                  </a:cubicBezTo>
                  <a:cubicBezTo>
                    <a:pt x="292" y="1634"/>
                    <a:pt x="292" y="1634"/>
                    <a:pt x="321" y="1605"/>
                  </a:cubicBezTo>
                  <a:cubicBezTo>
                    <a:pt x="350" y="1605"/>
                    <a:pt x="350" y="1605"/>
                    <a:pt x="350" y="1605"/>
                  </a:cubicBezTo>
                  <a:cubicBezTo>
                    <a:pt x="350" y="1634"/>
                    <a:pt x="350" y="1634"/>
                    <a:pt x="350" y="1634"/>
                  </a:cubicBezTo>
                  <a:cubicBezTo>
                    <a:pt x="380" y="1663"/>
                    <a:pt x="380" y="1692"/>
                    <a:pt x="380" y="1721"/>
                  </a:cubicBezTo>
                  <a:cubicBezTo>
                    <a:pt x="350" y="1750"/>
                    <a:pt x="350" y="1750"/>
                    <a:pt x="350" y="1750"/>
                  </a:cubicBezTo>
                  <a:cubicBezTo>
                    <a:pt x="350" y="1780"/>
                    <a:pt x="380" y="1780"/>
                    <a:pt x="380" y="1780"/>
                  </a:cubicBezTo>
                  <a:cubicBezTo>
                    <a:pt x="380" y="1809"/>
                    <a:pt x="380" y="1809"/>
                    <a:pt x="380" y="1809"/>
                  </a:cubicBezTo>
                  <a:cubicBezTo>
                    <a:pt x="380" y="1838"/>
                    <a:pt x="409" y="1897"/>
                    <a:pt x="409" y="1926"/>
                  </a:cubicBezTo>
                  <a:cubicBezTo>
                    <a:pt x="409" y="1955"/>
                    <a:pt x="409" y="2013"/>
                    <a:pt x="409" y="2042"/>
                  </a:cubicBezTo>
                  <a:cubicBezTo>
                    <a:pt x="438" y="2071"/>
                    <a:pt x="438" y="2071"/>
                    <a:pt x="466" y="2100"/>
                  </a:cubicBezTo>
                  <a:cubicBezTo>
                    <a:pt x="466" y="2100"/>
                    <a:pt x="496" y="2130"/>
                    <a:pt x="496" y="2159"/>
                  </a:cubicBezTo>
                  <a:cubicBezTo>
                    <a:pt x="525" y="2159"/>
                    <a:pt x="525" y="2188"/>
                    <a:pt x="525" y="2217"/>
                  </a:cubicBezTo>
                  <a:cubicBezTo>
                    <a:pt x="525" y="2217"/>
                    <a:pt x="525" y="2247"/>
                    <a:pt x="525" y="2276"/>
                  </a:cubicBezTo>
                  <a:cubicBezTo>
                    <a:pt x="554" y="2334"/>
                    <a:pt x="671" y="2392"/>
                    <a:pt x="700" y="2421"/>
                  </a:cubicBezTo>
                  <a:cubicBezTo>
                    <a:pt x="730" y="2421"/>
                    <a:pt x="759" y="2392"/>
                    <a:pt x="816" y="2392"/>
                  </a:cubicBezTo>
                  <a:lnTo>
                    <a:pt x="816" y="2392"/>
                  </a:lnTo>
                  <a:cubicBezTo>
                    <a:pt x="846" y="2392"/>
                    <a:pt x="846" y="2363"/>
                    <a:pt x="875" y="2392"/>
                  </a:cubicBezTo>
                  <a:cubicBezTo>
                    <a:pt x="904" y="2392"/>
                    <a:pt x="904" y="2392"/>
                    <a:pt x="904" y="2392"/>
                  </a:cubicBezTo>
                  <a:cubicBezTo>
                    <a:pt x="933" y="2421"/>
                    <a:pt x="933" y="2421"/>
                    <a:pt x="933" y="2421"/>
                  </a:cubicBezTo>
                  <a:cubicBezTo>
                    <a:pt x="963" y="2421"/>
                    <a:pt x="1021" y="2450"/>
                    <a:pt x="1021" y="2450"/>
                  </a:cubicBezTo>
                  <a:cubicBezTo>
                    <a:pt x="1050" y="2450"/>
                    <a:pt x="1050" y="2450"/>
                    <a:pt x="1080" y="2421"/>
                  </a:cubicBezTo>
                  <a:cubicBezTo>
                    <a:pt x="1080" y="2421"/>
                    <a:pt x="1109" y="2421"/>
                    <a:pt x="1137" y="2421"/>
                  </a:cubicBezTo>
                  <a:cubicBezTo>
                    <a:pt x="1166" y="2450"/>
                    <a:pt x="1166" y="2480"/>
                    <a:pt x="1166" y="2480"/>
                  </a:cubicBezTo>
                  <a:cubicBezTo>
                    <a:pt x="1166" y="2509"/>
                    <a:pt x="1196" y="2509"/>
                    <a:pt x="1196" y="2509"/>
                  </a:cubicBezTo>
                  <a:lnTo>
                    <a:pt x="1254" y="2509"/>
                  </a:lnTo>
                  <a:cubicBezTo>
                    <a:pt x="1283" y="2480"/>
                    <a:pt x="1283" y="2450"/>
                    <a:pt x="1283" y="2421"/>
                  </a:cubicBezTo>
                  <a:cubicBezTo>
                    <a:pt x="1283" y="2363"/>
                    <a:pt x="1313" y="2305"/>
                    <a:pt x="1313" y="2276"/>
                  </a:cubicBezTo>
                  <a:cubicBezTo>
                    <a:pt x="1342" y="2247"/>
                    <a:pt x="1342" y="2247"/>
                    <a:pt x="1342" y="2247"/>
                  </a:cubicBezTo>
                  <a:lnTo>
                    <a:pt x="1342" y="2247"/>
                  </a:lnTo>
                  <a:cubicBezTo>
                    <a:pt x="2158" y="2392"/>
                    <a:pt x="2975" y="2509"/>
                    <a:pt x="3763" y="2597"/>
                  </a:cubicBezTo>
                  <a:cubicBezTo>
                    <a:pt x="3792" y="2421"/>
                    <a:pt x="3792" y="2247"/>
                    <a:pt x="3821" y="2042"/>
                  </a:cubicBezTo>
                  <a:cubicBezTo>
                    <a:pt x="3879" y="1605"/>
                    <a:pt x="3937" y="1109"/>
                    <a:pt x="3996" y="671"/>
                  </a:cubicBezTo>
                  <a:cubicBezTo>
                    <a:pt x="2596" y="467"/>
                    <a:pt x="1342" y="234"/>
                    <a:pt x="116" y="0"/>
                  </a:cubicBezTo>
                  <a:cubicBezTo>
                    <a:pt x="88" y="30"/>
                    <a:pt x="88" y="88"/>
                    <a:pt x="59" y="147"/>
                  </a:cubicBezTo>
                  <a:lnTo>
                    <a:pt x="59" y="1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5" name="Freeform 102">
              <a:extLst>
                <a:ext uri="{FF2B5EF4-FFF2-40B4-BE49-F238E27FC236}">
                  <a16:creationId xmlns:a16="http://schemas.microsoft.com/office/drawing/2014/main" id="{DB6FBD52-F9B3-4186-9BCC-D69FB9C614BF}"/>
                </a:ext>
              </a:extLst>
            </p:cNvPr>
            <p:cNvSpPr>
              <a:spLocks noChangeArrowheads="1"/>
            </p:cNvSpPr>
            <p:nvPr/>
          </p:nvSpPr>
          <p:spPr bwMode="auto">
            <a:xfrm>
              <a:off x="6347316" y="1349738"/>
              <a:ext cx="184285" cy="32366"/>
            </a:xfrm>
            <a:custGeom>
              <a:avLst/>
              <a:gdLst>
                <a:gd name="T0" fmla="*/ 0 w 497"/>
                <a:gd name="T1" fmla="*/ 0 h 89"/>
                <a:gd name="T2" fmla="*/ 0 w 497"/>
                <a:gd name="T3" fmla="*/ 0 h 89"/>
                <a:gd name="T4" fmla="*/ 496 w 497"/>
                <a:gd name="T5" fmla="*/ 88 h 89"/>
                <a:gd name="T6" fmla="*/ 0 w 497"/>
                <a:gd name="T7" fmla="*/ 0 h 89"/>
              </a:gdLst>
              <a:ahLst/>
              <a:cxnLst>
                <a:cxn ang="0">
                  <a:pos x="T0" y="T1"/>
                </a:cxn>
                <a:cxn ang="0">
                  <a:pos x="T2" y="T3"/>
                </a:cxn>
                <a:cxn ang="0">
                  <a:pos x="T4" y="T5"/>
                </a:cxn>
                <a:cxn ang="0">
                  <a:pos x="T6" y="T7"/>
                </a:cxn>
              </a:cxnLst>
              <a:rect l="0" t="0" r="r" b="b"/>
              <a:pathLst>
                <a:path w="497" h="89">
                  <a:moveTo>
                    <a:pt x="0" y="0"/>
                  </a:moveTo>
                  <a:lnTo>
                    <a:pt x="0" y="0"/>
                  </a:lnTo>
                  <a:cubicBezTo>
                    <a:pt x="175" y="30"/>
                    <a:pt x="321" y="59"/>
                    <a:pt x="496" y="88"/>
                  </a:cubicBezTo>
                  <a:cubicBezTo>
                    <a:pt x="321" y="59"/>
                    <a:pt x="175"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6" name="Freeform 103">
              <a:extLst>
                <a:ext uri="{FF2B5EF4-FFF2-40B4-BE49-F238E27FC236}">
                  <a16:creationId xmlns:a16="http://schemas.microsoft.com/office/drawing/2014/main" id="{A58DCC29-4B9D-44EB-864E-A15F60FFBAA2}"/>
                </a:ext>
              </a:extLst>
            </p:cNvPr>
            <p:cNvSpPr>
              <a:spLocks noChangeArrowheads="1"/>
            </p:cNvSpPr>
            <p:nvPr/>
          </p:nvSpPr>
          <p:spPr bwMode="auto">
            <a:xfrm>
              <a:off x="6541386" y="1382105"/>
              <a:ext cx="194071" cy="32366"/>
            </a:xfrm>
            <a:custGeom>
              <a:avLst/>
              <a:gdLst>
                <a:gd name="T0" fmla="*/ 0 w 526"/>
                <a:gd name="T1" fmla="*/ 0 h 88"/>
                <a:gd name="T2" fmla="*/ 0 w 526"/>
                <a:gd name="T3" fmla="*/ 0 h 88"/>
                <a:gd name="T4" fmla="*/ 525 w 526"/>
                <a:gd name="T5" fmla="*/ 87 h 88"/>
                <a:gd name="T6" fmla="*/ 0 w 526"/>
                <a:gd name="T7" fmla="*/ 0 h 88"/>
              </a:gdLst>
              <a:ahLst/>
              <a:cxnLst>
                <a:cxn ang="0">
                  <a:pos x="T0" y="T1"/>
                </a:cxn>
                <a:cxn ang="0">
                  <a:pos x="T2" y="T3"/>
                </a:cxn>
                <a:cxn ang="0">
                  <a:pos x="T4" y="T5"/>
                </a:cxn>
                <a:cxn ang="0">
                  <a:pos x="T6" y="T7"/>
                </a:cxn>
              </a:cxnLst>
              <a:rect l="0" t="0" r="r" b="b"/>
              <a:pathLst>
                <a:path w="526" h="88">
                  <a:moveTo>
                    <a:pt x="0" y="0"/>
                  </a:moveTo>
                  <a:lnTo>
                    <a:pt x="0" y="0"/>
                  </a:lnTo>
                  <a:cubicBezTo>
                    <a:pt x="175" y="29"/>
                    <a:pt x="350" y="59"/>
                    <a:pt x="525" y="87"/>
                  </a:cubicBezTo>
                  <a:cubicBezTo>
                    <a:pt x="350" y="59"/>
                    <a:pt x="175"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7" name="Freeform 104">
              <a:extLst>
                <a:ext uri="{FF2B5EF4-FFF2-40B4-BE49-F238E27FC236}">
                  <a16:creationId xmlns:a16="http://schemas.microsoft.com/office/drawing/2014/main" id="{D9CAABCB-770C-495F-8D15-D4B2F4536183}"/>
                </a:ext>
              </a:extLst>
            </p:cNvPr>
            <p:cNvSpPr>
              <a:spLocks noChangeArrowheads="1"/>
            </p:cNvSpPr>
            <p:nvPr/>
          </p:nvSpPr>
          <p:spPr bwMode="auto">
            <a:xfrm>
              <a:off x="8418490" y="189511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8" name="Freeform 105">
              <a:extLst>
                <a:ext uri="{FF2B5EF4-FFF2-40B4-BE49-F238E27FC236}">
                  <a16:creationId xmlns:a16="http://schemas.microsoft.com/office/drawing/2014/main" id="{E2AC1789-76F5-4D05-BEA9-6E691CFB80FA}"/>
                </a:ext>
              </a:extLst>
            </p:cNvPr>
            <p:cNvSpPr>
              <a:spLocks noChangeArrowheads="1"/>
            </p:cNvSpPr>
            <p:nvPr/>
          </p:nvSpPr>
          <p:spPr bwMode="auto">
            <a:xfrm>
              <a:off x="8395658" y="190644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9" name="Freeform 106">
              <a:extLst>
                <a:ext uri="{FF2B5EF4-FFF2-40B4-BE49-F238E27FC236}">
                  <a16:creationId xmlns:a16="http://schemas.microsoft.com/office/drawing/2014/main" id="{544BE2FC-A763-4909-AEE4-DA8BB1C9F9BD}"/>
                </a:ext>
              </a:extLst>
            </p:cNvPr>
            <p:cNvSpPr>
              <a:spLocks noChangeArrowheads="1"/>
            </p:cNvSpPr>
            <p:nvPr/>
          </p:nvSpPr>
          <p:spPr bwMode="auto">
            <a:xfrm>
              <a:off x="9344810" y="2322349"/>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0" name="Freeform 107">
              <a:extLst>
                <a:ext uri="{FF2B5EF4-FFF2-40B4-BE49-F238E27FC236}">
                  <a16:creationId xmlns:a16="http://schemas.microsoft.com/office/drawing/2014/main" id="{BEA00A85-DB6C-4332-8D29-F203FA903410}"/>
                </a:ext>
              </a:extLst>
            </p:cNvPr>
            <p:cNvSpPr>
              <a:spLocks noChangeArrowheads="1"/>
            </p:cNvSpPr>
            <p:nvPr/>
          </p:nvSpPr>
          <p:spPr bwMode="auto">
            <a:xfrm>
              <a:off x="8385873" y="1702532"/>
              <a:ext cx="11415" cy="11329"/>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0"/>
                    <a:pt x="29" y="0"/>
                    <a:pt x="0" y="29"/>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1" name="Freeform 108">
              <a:extLst>
                <a:ext uri="{FF2B5EF4-FFF2-40B4-BE49-F238E27FC236}">
                  <a16:creationId xmlns:a16="http://schemas.microsoft.com/office/drawing/2014/main" id="{C55FF03C-57E6-443F-B5C7-090C3C6010E3}"/>
                </a:ext>
              </a:extLst>
            </p:cNvPr>
            <p:cNvSpPr>
              <a:spLocks noChangeArrowheads="1"/>
            </p:cNvSpPr>
            <p:nvPr/>
          </p:nvSpPr>
          <p:spPr bwMode="auto">
            <a:xfrm>
              <a:off x="8374457" y="1841708"/>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2" name="Freeform 109">
              <a:extLst>
                <a:ext uri="{FF2B5EF4-FFF2-40B4-BE49-F238E27FC236}">
                  <a16:creationId xmlns:a16="http://schemas.microsoft.com/office/drawing/2014/main" id="{B8EBDC39-5B5D-4FC8-8615-41A9A2EC6EE7}"/>
                </a:ext>
              </a:extLst>
            </p:cNvPr>
            <p:cNvSpPr>
              <a:spLocks noChangeArrowheads="1"/>
            </p:cNvSpPr>
            <p:nvPr/>
          </p:nvSpPr>
          <p:spPr bwMode="auto">
            <a:xfrm>
              <a:off x="8385873" y="1841708"/>
              <a:ext cx="22832" cy="21039"/>
            </a:xfrm>
            <a:custGeom>
              <a:avLst/>
              <a:gdLst>
                <a:gd name="T0" fmla="*/ 0 w 60"/>
                <a:gd name="T1" fmla="*/ 0 h 59"/>
                <a:gd name="T2" fmla="*/ 0 w 60"/>
                <a:gd name="T3" fmla="*/ 0 h 59"/>
                <a:gd name="T4" fmla="*/ 59 w 60"/>
                <a:gd name="T5" fmla="*/ 58 h 59"/>
                <a:gd name="T6" fmla="*/ 0 w 60"/>
                <a:gd name="T7" fmla="*/ 0 h 59"/>
              </a:gdLst>
              <a:ahLst/>
              <a:cxnLst>
                <a:cxn ang="0">
                  <a:pos x="T0" y="T1"/>
                </a:cxn>
                <a:cxn ang="0">
                  <a:pos x="T2" y="T3"/>
                </a:cxn>
                <a:cxn ang="0">
                  <a:pos x="T4" y="T5"/>
                </a:cxn>
                <a:cxn ang="0">
                  <a:pos x="T6" y="T7"/>
                </a:cxn>
              </a:cxnLst>
              <a:rect l="0" t="0" r="r" b="b"/>
              <a:pathLst>
                <a:path w="60" h="59">
                  <a:moveTo>
                    <a:pt x="0" y="0"/>
                  </a:moveTo>
                  <a:lnTo>
                    <a:pt x="0" y="0"/>
                  </a:lnTo>
                  <a:cubicBezTo>
                    <a:pt x="29" y="0"/>
                    <a:pt x="29" y="29"/>
                    <a:pt x="59" y="58"/>
                  </a:cubicBezTo>
                  <a:cubicBezTo>
                    <a:pt x="29"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3" name="Freeform 110">
              <a:extLst>
                <a:ext uri="{FF2B5EF4-FFF2-40B4-BE49-F238E27FC236}">
                  <a16:creationId xmlns:a16="http://schemas.microsoft.com/office/drawing/2014/main" id="{BF2ABECC-AC4B-497D-A374-ED16AE3BE011}"/>
                </a:ext>
              </a:extLst>
            </p:cNvPr>
            <p:cNvSpPr>
              <a:spLocks noChangeArrowheads="1"/>
            </p:cNvSpPr>
            <p:nvPr/>
          </p:nvSpPr>
          <p:spPr bwMode="auto">
            <a:xfrm>
              <a:off x="8407074" y="189511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4" name="Freeform 111">
              <a:extLst>
                <a:ext uri="{FF2B5EF4-FFF2-40B4-BE49-F238E27FC236}">
                  <a16:creationId xmlns:a16="http://schemas.microsoft.com/office/drawing/2014/main" id="{18B9AF1C-1F06-4A23-8E9C-9297326F91D7}"/>
                </a:ext>
              </a:extLst>
            </p:cNvPr>
            <p:cNvSpPr>
              <a:spLocks noChangeArrowheads="1"/>
            </p:cNvSpPr>
            <p:nvPr/>
          </p:nvSpPr>
          <p:spPr bwMode="auto">
            <a:xfrm>
              <a:off x="10618500" y="3617005"/>
              <a:ext cx="32617" cy="22656"/>
            </a:xfrm>
            <a:custGeom>
              <a:avLst/>
              <a:gdLst>
                <a:gd name="T0" fmla="*/ 88 w 89"/>
                <a:gd name="T1" fmla="*/ 0 h 60"/>
                <a:gd name="T2" fmla="*/ 88 w 89"/>
                <a:gd name="T3" fmla="*/ 0 h 60"/>
                <a:gd name="T4" fmla="*/ 29 w 89"/>
                <a:gd name="T5" fmla="*/ 59 h 60"/>
                <a:gd name="T6" fmla="*/ 0 w 89"/>
                <a:gd name="T7" fmla="*/ 59 h 60"/>
                <a:gd name="T8" fmla="*/ 29 w 89"/>
                <a:gd name="T9" fmla="*/ 59 h 60"/>
                <a:gd name="T10" fmla="*/ 88 w 89"/>
                <a:gd name="T11" fmla="*/ 0 h 60"/>
              </a:gdLst>
              <a:ahLst/>
              <a:cxnLst>
                <a:cxn ang="0">
                  <a:pos x="T0" y="T1"/>
                </a:cxn>
                <a:cxn ang="0">
                  <a:pos x="T2" y="T3"/>
                </a:cxn>
                <a:cxn ang="0">
                  <a:pos x="T4" y="T5"/>
                </a:cxn>
                <a:cxn ang="0">
                  <a:pos x="T6" y="T7"/>
                </a:cxn>
                <a:cxn ang="0">
                  <a:pos x="T8" y="T9"/>
                </a:cxn>
                <a:cxn ang="0">
                  <a:pos x="T10" y="T11"/>
                </a:cxn>
              </a:cxnLst>
              <a:rect l="0" t="0" r="r" b="b"/>
              <a:pathLst>
                <a:path w="89" h="60">
                  <a:moveTo>
                    <a:pt x="88" y="0"/>
                  </a:moveTo>
                  <a:lnTo>
                    <a:pt x="88" y="0"/>
                  </a:lnTo>
                  <a:cubicBezTo>
                    <a:pt x="58" y="30"/>
                    <a:pt x="29" y="30"/>
                    <a:pt x="29" y="59"/>
                  </a:cubicBezTo>
                  <a:lnTo>
                    <a:pt x="0" y="59"/>
                  </a:lnTo>
                  <a:lnTo>
                    <a:pt x="29" y="59"/>
                  </a:lnTo>
                  <a:cubicBezTo>
                    <a:pt x="29" y="30"/>
                    <a:pt x="58" y="3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5" name="Freeform 112">
              <a:extLst>
                <a:ext uri="{FF2B5EF4-FFF2-40B4-BE49-F238E27FC236}">
                  <a16:creationId xmlns:a16="http://schemas.microsoft.com/office/drawing/2014/main" id="{8DE97C93-8797-4171-AA7C-BEEF57360F8B}"/>
                </a:ext>
              </a:extLst>
            </p:cNvPr>
            <p:cNvSpPr>
              <a:spLocks noChangeArrowheads="1"/>
            </p:cNvSpPr>
            <p:nvPr/>
          </p:nvSpPr>
          <p:spPr bwMode="auto">
            <a:xfrm>
              <a:off x="10737552" y="3275539"/>
              <a:ext cx="1630" cy="11329"/>
            </a:xfrm>
            <a:custGeom>
              <a:avLst/>
              <a:gdLst>
                <a:gd name="T0" fmla="*/ 0 w 1"/>
                <a:gd name="T1" fmla="*/ 30 h 31"/>
                <a:gd name="T2" fmla="*/ 0 w 1"/>
                <a:gd name="T3" fmla="*/ 30 h 31"/>
                <a:gd name="T4" fmla="*/ 0 w 1"/>
                <a:gd name="T5" fmla="*/ 0 h 31"/>
                <a:gd name="T6" fmla="*/ 0 w 1"/>
                <a:gd name="T7" fmla="*/ 0 h 31"/>
                <a:gd name="T8" fmla="*/ 0 w 1"/>
                <a:gd name="T9" fmla="*/ 0 h 31"/>
                <a:gd name="T10" fmla="*/ 0 w 1"/>
                <a:gd name="T11" fmla="*/ 30 h 31"/>
              </a:gdLst>
              <a:ahLst/>
              <a:cxnLst>
                <a:cxn ang="0">
                  <a:pos x="T0" y="T1"/>
                </a:cxn>
                <a:cxn ang="0">
                  <a:pos x="T2" y="T3"/>
                </a:cxn>
                <a:cxn ang="0">
                  <a:pos x="T4" y="T5"/>
                </a:cxn>
                <a:cxn ang="0">
                  <a:pos x="T6" y="T7"/>
                </a:cxn>
                <a:cxn ang="0">
                  <a:pos x="T8" y="T9"/>
                </a:cxn>
                <a:cxn ang="0">
                  <a:pos x="T10" y="T11"/>
                </a:cxn>
              </a:cxnLst>
              <a:rect l="0" t="0" r="r" b="b"/>
              <a:pathLst>
                <a:path w="1" h="31">
                  <a:moveTo>
                    <a:pt x="0" y="30"/>
                  </a:moveTo>
                  <a:lnTo>
                    <a:pt x="0" y="30"/>
                  </a:lnTo>
                  <a:cubicBezTo>
                    <a:pt x="0" y="30"/>
                    <a:pt x="0" y="30"/>
                    <a:pt x="0" y="0"/>
                  </a:cubicBezTo>
                  <a:lnTo>
                    <a:pt x="0" y="0"/>
                  </a:lnTo>
                  <a:lnTo>
                    <a:pt x="0" y="0"/>
                  </a:ln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6" name="Freeform 113">
              <a:extLst>
                <a:ext uri="{FF2B5EF4-FFF2-40B4-BE49-F238E27FC236}">
                  <a16:creationId xmlns:a16="http://schemas.microsoft.com/office/drawing/2014/main" id="{7D075108-FFE4-4B8F-84AF-C25B10C5A670}"/>
                </a:ext>
              </a:extLst>
            </p:cNvPr>
            <p:cNvSpPr>
              <a:spLocks noChangeArrowheads="1"/>
            </p:cNvSpPr>
            <p:nvPr/>
          </p:nvSpPr>
          <p:spPr bwMode="auto">
            <a:xfrm>
              <a:off x="10737552" y="3607295"/>
              <a:ext cx="21200" cy="64733"/>
            </a:xfrm>
            <a:custGeom>
              <a:avLst/>
              <a:gdLst>
                <a:gd name="T0" fmla="*/ 29 w 59"/>
                <a:gd name="T1" fmla="*/ 176 h 177"/>
                <a:gd name="T2" fmla="*/ 29 w 59"/>
                <a:gd name="T3" fmla="*/ 176 h 177"/>
                <a:gd name="T4" fmla="*/ 29 w 59"/>
                <a:gd name="T5" fmla="*/ 29 h 177"/>
                <a:gd name="T6" fmla="*/ 0 w 59"/>
                <a:gd name="T7" fmla="*/ 0 h 177"/>
                <a:gd name="T8" fmla="*/ 29 w 59"/>
                <a:gd name="T9" fmla="*/ 59 h 177"/>
                <a:gd name="T10" fmla="*/ 0 w 59"/>
                <a:gd name="T11" fmla="*/ 176 h 177"/>
                <a:gd name="T12" fmla="*/ 0 w 59"/>
                <a:gd name="T13" fmla="*/ 176 h 177"/>
                <a:gd name="T14" fmla="*/ 29 w 59"/>
                <a:gd name="T15" fmla="*/ 176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77">
                  <a:moveTo>
                    <a:pt x="29" y="176"/>
                  </a:moveTo>
                  <a:lnTo>
                    <a:pt x="29" y="176"/>
                  </a:lnTo>
                  <a:cubicBezTo>
                    <a:pt x="58" y="146"/>
                    <a:pt x="58" y="88"/>
                    <a:pt x="29" y="29"/>
                  </a:cubicBezTo>
                  <a:cubicBezTo>
                    <a:pt x="29" y="29"/>
                    <a:pt x="29" y="0"/>
                    <a:pt x="0" y="0"/>
                  </a:cubicBezTo>
                  <a:cubicBezTo>
                    <a:pt x="0" y="0"/>
                    <a:pt x="0" y="29"/>
                    <a:pt x="29" y="59"/>
                  </a:cubicBezTo>
                  <a:cubicBezTo>
                    <a:pt x="29" y="117"/>
                    <a:pt x="29" y="146"/>
                    <a:pt x="0" y="176"/>
                  </a:cubicBezTo>
                  <a:lnTo>
                    <a:pt x="0" y="176"/>
                  </a:lnTo>
                  <a:lnTo>
                    <a:pt x="29" y="1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7" name="Freeform 114">
              <a:extLst>
                <a:ext uri="{FF2B5EF4-FFF2-40B4-BE49-F238E27FC236}">
                  <a16:creationId xmlns:a16="http://schemas.microsoft.com/office/drawing/2014/main" id="{78691B7B-BAD1-42C8-BCBF-DEE3C9D4C36C}"/>
                </a:ext>
              </a:extLst>
            </p:cNvPr>
            <p:cNvSpPr>
              <a:spLocks noChangeArrowheads="1"/>
            </p:cNvSpPr>
            <p:nvPr/>
          </p:nvSpPr>
          <p:spPr bwMode="auto">
            <a:xfrm>
              <a:off x="10564683" y="3050593"/>
              <a:ext cx="11415" cy="11328"/>
            </a:xfrm>
            <a:custGeom>
              <a:avLst/>
              <a:gdLst>
                <a:gd name="T0" fmla="*/ 29 w 30"/>
                <a:gd name="T1" fmla="*/ 0 h 29"/>
                <a:gd name="T2" fmla="*/ 29 w 30"/>
                <a:gd name="T3" fmla="*/ 0 h 29"/>
                <a:gd name="T4" fmla="*/ 29 w 30"/>
                <a:gd name="T5" fmla="*/ 28 h 29"/>
                <a:gd name="T6" fmla="*/ 29 w 30"/>
                <a:gd name="T7" fmla="*/ 28 h 29"/>
                <a:gd name="T8" fmla="*/ 29 w 30"/>
                <a:gd name="T9" fmla="*/ 0 h 29"/>
                <a:gd name="T10" fmla="*/ 29 w 30"/>
                <a:gd name="T11" fmla="*/ 0 h 29"/>
                <a:gd name="T12" fmla="*/ 0 w 30"/>
                <a:gd name="T13" fmla="*/ 0 h 29"/>
                <a:gd name="T14" fmla="*/ 29 w 3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9" y="0"/>
                  </a:moveTo>
                  <a:lnTo>
                    <a:pt x="29" y="0"/>
                  </a:lnTo>
                  <a:cubicBezTo>
                    <a:pt x="29" y="28"/>
                    <a:pt x="29" y="28"/>
                    <a:pt x="29" y="28"/>
                  </a:cubicBezTo>
                  <a:lnTo>
                    <a:pt x="29" y="28"/>
                  </a:lnTo>
                  <a:cubicBezTo>
                    <a:pt x="29" y="0"/>
                    <a:pt x="29" y="0"/>
                    <a:pt x="29" y="0"/>
                  </a:cubicBez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8" name="Freeform 115">
              <a:extLst>
                <a:ext uri="{FF2B5EF4-FFF2-40B4-BE49-F238E27FC236}">
                  <a16:creationId xmlns:a16="http://schemas.microsoft.com/office/drawing/2014/main" id="{6535E0CB-A1A3-4922-9503-AA2597B11CDD}"/>
                </a:ext>
              </a:extLst>
            </p:cNvPr>
            <p:cNvSpPr>
              <a:spLocks noChangeArrowheads="1"/>
            </p:cNvSpPr>
            <p:nvPr/>
          </p:nvSpPr>
          <p:spPr bwMode="auto">
            <a:xfrm>
              <a:off x="10704935" y="3286868"/>
              <a:ext cx="11415" cy="1618"/>
            </a:xfrm>
            <a:custGeom>
              <a:avLst/>
              <a:gdLst>
                <a:gd name="T0" fmla="*/ 0 w 30"/>
                <a:gd name="T1" fmla="*/ 0 h 1"/>
                <a:gd name="T2" fmla="*/ 0 w 30"/>
                <a:gd name="T3" fmla="*/ 0 h 1"/>
                <a:gd name="T4" fmla="*/ 29 w 30"/>
                <a:gd name="T5" fmla="*/ 0 h 1"/>
                <a:gd name="T6" fmla="*/ 29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cubicBezTo>
                    <a:pt x="29" y="0"/>
                    <a:pt x="29" y="0"/>
                    <a:pt x="29" y="0"/>
                  </a:cubicBezTo>
                  <a:lnTo>
                    <a:pt x="29"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9" name="Freeform 116">
              <a:extLst>
                <a:ext uri="{FF2B5EF4-FFF2-40B4-BE49-F238E27FC236}">
                  <a16:creationId xmlns:a16="http://schemas.microsoft.com/office/drawing/2014/main" id="{858A73B0-A5B1-47DC-8751-7741DDA0A3E8}"/>
                </a:ext>
              </a:extLst>
            </p:cNvPr>
            <p:cNvSpPr>
              <a:spLocks noChangeArrowheads="1"/>
            </p:cNvSpPr>
            <p:nvPr/>
          </p:nvSpPr>
          <p:spPr bwMode="auto">
            <a:xfrm>
              <a:off x="10693519" y="3595967"/>
              <a:ext cx="21202" cy="21039"/>
            </a:xfrm>
            <a:custGeom>
              <a:avLst/>
              <a:gdLst>
                <a:gd name="T0" fmla="*/ 58 w 59"/>
                <a:gd name="T1" fmla="*/ 0 h 59"/>
                <a:gd name="T2" fmla="*/ 58 w 59"/>
                <a:gd name="T3" fmla="*/ 0 h 59"/>
                <a:gd name="T4" fmla="*/ 58 w 59"/>
                <a:gd name="T5" fmla="*/ 0 h 59"/>
                <a:gd name="T6" fmla="*/ 58 w 59"/>
                <a:gd name="T7" fmla="*/ 29 h 59"/>
                <a:gd name="T8" fmla="*/ 58 w 59"/>
                <a:gd name="T9" fmla="*/ 29 h 59"/>
                <a:gd name="T10" fmla="*/ 58 w 59"/>
                <a:gd name="T11" fmla="*/ 29 h 59"/>
                <a:gd name="T12" fmla="*/ 58 w 59"/>
                <a:gd name="T13" fmla="*/ 0 h 59"/>
                <a:gd name="T14" fmla="*/ 58 w 59"/>
                <a:gd name="T15" fmla="*/ 0 h 59"/>
                <a:gd name="T16" fmla="*/ 0 w 59"/>
                <a:gd name="T17" fmla="*/ 58 h 59"/>
                <a:gd name="T18" fmla="*/ 58 w 59"/>
                <a:gd name="T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58" y="0"/>
                  </a:moveTo>
                  <a:lnTo>
                    <a:pt x="58" y="0"/>
                  </a:lnTo>
                  <a:lnTo>
                    <a:pt x="58" y="0"/>
                  </a:lnTo>
                  <a:cubicBezTo>
                    <a:pt x="58" y="29"/>
                    <a:pt x="58" y="29"/>
                    <a:pt x="58" y="29"/>
                  </a:cubicBezTo>
                  <a:lnTo>
                    <a:pt x="58" y="29"/>
                  </a:lnTo>
                  <a:lnTo>
                    <a:pt x="58" y="29"/>
                  </a:lnTo>
                  <a:cubicBezTo>
                    <a:pt x="58" y="0"/>
                    <a:pt x="58" y="0"/>
                    <a:pt x="58" y="0"/>
                  </a:cubicBezTo>
                  <a:lnTo>
                    <a:pt x="58" y="0"/>
                  </a:lnTo>
                  <a:cubicBezTo>
                    <a:pt x="29" y="0"/>
                    <a:pt x="0" y="29"/>
                    <a:pt x="0" y="58"/>
                  </a:cubicBezTo>
                  <a:cubicBezTo>
                    <a:pt x="0" y="29"/>
                    <a:pt x="29"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0" name="Freeform 117">
              <a:extLst>
                <a:ext uri="{FF2B5EF4-FFF2-40B4-BE49-F238E27FC236}">
                  <a16:creationId xmlns:a16="http://schemas.microsoft.com/office/drawing/2014/main" id="{644F49ED-76A8-4047-9EA8-9CC9090E7DBD}"/>
                </a:ext>
              </a:extLst>
            </p:cNvPr>
            <p:cNvSpPr>
              <a:spLocks noChangeArrowheads="1"/>
            </p:cNvSpPr>
            <p:nvPr/>
          </p:nvSpPr>
          <p:spPr bwMode="auto">
            <a:xfrm>
              <a:off x="10726136" y="3500486"/>
              <a:ext cx="44033" cy="74443"/>
            </a:xfrm>
            <a:custGeom>
              <a:avLst/>
              <a:gdLst>
                <a:gd name="T0" fmla="*/ 0 w 118"/>
                <a:gd name="T1" fmla="*/ 0 h 205"/>
                <a:gd name="T2" fmla="*/ 0 w 118"/>
                <a:gd name="T3" fmla="*/ 0 h 205"/>
                <a:gd name="T4" fmla="*/ 0 w 118"/>
                <a:gd name="T5" fmla="*/ 0 h 205"/>
                <a:gd name="T6" fmla="*/ 0 w 118"/>
                <a:gd name="T7" fmla="*/ 0 h 205"/>
                <a:gd name="T8" fmla="*/ 117 w 118"/>
                <a:gd name="T9" fmla="*/ 204 h 205"/>
                <a:gd name="T10" fmla="*/ 0 w 118"/>
                <a:gd name="T11" fmla="*/ 0 h 205"/>
              </a:gdLst>
              <a:ahLst/>
              <a:cxnLst>
                <a:cxn ang="0">
                  <a:pos x="T0" y="T1"/>
                </a:cxn>
                <a:cxn ang="0">
                  <a:pos x="T2" y="T3"/>
                </a:cxn>
                <a:cxn ang="0">
                  <a:pos x="T4" y="T5"/>
                </a:cxn>
                <a:cxn ang="0">
                  <a:pos x="T6" y="T7"/>
                </a:cxn>
                <a:cxn ang="0">
                  <a:pos x="T8" y="T9"/>
                </a:cxn>
                <a:cxn ang="0">
                  <a:pos x="T10" y="T11"/>
                </a:cxn>
              </a:cxnLst>
              <a:rect l="0" t="0" r="r" b="b"/>
              <a:pathLst>
                <a:path w="118" h="205">
                  <a:moveTo>
                    <a:pt x="0" y="0"/>
                  </a:moveTo>
                  <a:lnTo>
                    <a:pt x="0" y="0"/>
                  </a:lnTo>
                  <a:lnTo>
                    <a:pt x="0" y="0"/>
                  </a:lnTo>
                  <a:lnTo>
                    <a:pt x="0" y="0"/>
                  </a:lnTo>
                  <a:cubicBezTo>
                    <a:pt x="59" y="59"/>
                    <a:pt x="88" y="147"/>
                    <a:pt x="117" y="204"/>
                  </a:cubicBezTo>
                  <a:cubicBezTo>
                    <a:pt x="88" y="147"/>
                    <a:pt x="59" y="5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1" name="Freeform 118">
              <a:extLst>
                <a:ext uri="{FF2B5EF4-FFF2-40B4-BE49-F238E27FC236}">
                  <a16:creationId xmlns:a16="http://schemas.microsoft.com/office/drawing/2014/main" id="{53525078-77BF-451B-92D6-7D0929DFBD93}"/>
                </a:ext>
              </a:extLst>
            </p:cNvPr>
            <p:cNvSpPr>
              <a:spLocks noChangeArrowheads="1"/>
            </p:cNvSpPr>
            <p:nvPr/>
          </p:nvSpPr>
          <p:spPr bwMode="auto">
            <a:xfrm>
              <a:off x="10704935" y="3254502"/>
              <a:ext cx="1630" cy="11328"/>
            </a:xfrm>
            <a:custGeom>
              <a:avLst/>
              <a:gdLst>
                <a:gd name="T0" fmla="*/ 0 w 1"/>
                <a:gd name="T1" fmla="*/ 0 h 30"/>
                <a:gd name="T2" fmla="*/ 0 w 1"/>
                <a:gd name="T3" fmla="*/ 29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29"/>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2" name="Freeform 119">
              <a:extLst>
                <a:ext uri="{FF2B5EF4-FFF2-40B4-BE49-F238E27FC236}">
                  <a16:creationId xmlns:a16="http://schemas.microsoft.com/office/drawing/2014/main" id="{8B3C2909-ED0A-42F3-B153-115C1B581B91}"/>
                </a:ext>
              </a:extLst>
            </p:cNvPr>
            <p:cNvSpPr>
              <a:spLocks noChangeArrowheads="1"/>
            </p:cNvSpPr>
            <p:nvPr/>
          </p:nvSpPr>
          <p:spPr bwMode="auto">
            <a:xfrm>
              <a:off x="10704935" y="3243173"/>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3" name="Freeform 120">
              <a:extLst>
                <a:ext uri="{FF2B5EF4-FFF2-40B4-BE49-F238E27FC236}">
                  <a16:creationId xmlns:a16="http://schemas.microsoft.com/office/drawing/2014/main" id="{7FCEC462-9E6E-49D0-9D41-6131585A5399}"/>
                </a:ext>
              </a:extLst>
            </p:cNvPr>
            <p:cNvSpPr>
              <a:spLocks noChangeArrowheads="1"/>
            </p:cNvSpPr>
            <p:nvPr/>
          </p:nvSpPr>
          <p:spPr bwMode="auto">
            <a:xfrm>
              <a:off x="10704935" y="3264212"/>
              <a:ext cx="11415" cy="11328"/>
            </a:xfrm>
            <a:custGeom>
              <a:avLst/>
              <a:gdLst>
                <a:gd name="T0" fmla="*/ 29 w 30"/>
                <a:gd name="T1" fmla="*/ 0 h 30"/>
                <a:gd name="T2" fmla="*/ 29 w 30"/>
                <a:gd name="T3" fmla="*/ 0 h 30"/>
                <a:gd name="T4" fmla="*/ 29 w 30"/>
                <a:gd name="T5" fmla="*/ 0 h 30"/>
                <a:gd name="T6" fmla="*/ 0 w 30"/>
                <a:gd name="T7" fmla="*/ 29 h 30"/>
                <a:gd name="T8" fmla="*/ 29 w 30"/>
                <a:gd name="T9" fmla="*/ 0 h 30"/>
              </a:gdLst>
              <a:ahLst/>
              <a:cxnLst>
                <a:cxn ang="0">
                  <a:pos x="T0" y="T1"/>
                </a:cxn>
                <a:cxn ang="0">
                  <a:pos x="T2" y="T3"/>
                </a:cxn>
                <a:cxn ang="0">
                  <a:pos x="T4" y="T5"/>
                </a:cxn>
                <a:cxn ang="0">
                  <a:pos x="T6" y="T7"/>
                </a:cxn>
                <a:cxn ang="0">
                  <a:pos x="T8" y="T9"/>
                </a:cxn>
              </a:cxnLst>
              <a:rect l="0" t="0" r="r" b="b"/>
              <a:pathLst>
                <a:path w="30" h="30">
                  <a:moveTo>
                    <a:pt x="29" y="0"/>
                  </a:moveTo>
                  <a:lnTo>
                    <a:pt x="29" y="0"/>
                  </a:lnTo>
                  <a:lnTo>
                    <a:pt x="29" y="0"/>
                  </a:lnTo>
                  <a:cubicBezTo>
                    <a:pt x="0" y="0"/>
                    <a:pt x="0" y="0"/>
                    <a:pt x="0" y="29"/>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4" name="Freeform 121">
              <a:extLst>
                <a:ext uri="{FF2B5EF4-FFF2-40B4-BE49-F238E27FC236}">
                  <a16:creationId xmlns:a16="http://schemas.microsoft.com/office/drawing/2014/main" id="{FC9D193A-C8EA-4CE5-A67B-56F3E58AABED}"/>
                </a:ext>
              </a:extLst>
            </p:cNvPr>
            <p:cNvSpPr>
              <a:spLocks noChangeArrowheads="1"/>
            </p:cNvSpPr>
            <p:nvPr/>
          </p:nvSpPr>
          <p:spPr bwMode="auto">
            <a:xfrm>
              <a:off x="10639701" y="3210806"/>
              <a:ext cx="32617" cy="21039"/>
            </a:xfrm>
            <a:custGeom>
              <a:avLst/>
              <a:gdLst>
                <a:gd name="T0" fmla="*/ 0 w 89"/>
                <a:gd name="T1" fmla="*/ 0 h 59"/>
                <a:gd name="T2" fmla="*/ 0 w 89"/>
                <a:gd name="T3" fmla="*/ 0 h 59"/>
                <a:gd name="T4" fmla="*/ 59 w 89"/>
                <a:gd name="T5" fmla="*/ 29 h 59"/>
                <a:gd name="T6" fmla="*/ 88 w 89"/>
                <a:gd name="T7" fmla="*/ 58 h 59"/>
                <a:gd name="T8" fmla="*/ 59 w 89"/>
                <a:gd name="T9" fmla="*/ 29 h 59"/>
                <a:gd name="T10" fmla="*/ 0 w 89"/>
                <a:gd name="T11" fmla="*/ 0 h 59"/>
              </a:gdLst>
              <a:ahLst/>
              <a:cxnLst>
                <a:cxn ang="0">
                  <a:pos x="T0" y="T1"/>
                </a:cxn>
                <a:cxn ang="0">
                  <a:pos x="T2" y="T3"/>
                </a:cxn>
                <a:cxn ang="0">
                  <a:pos x="T4" y="T5"/>
                </a:cxn>
                <a:cxn ang="0">
                  <a:pos x="T6" y="T7"/>
                </a:cxn>
                <a:cxn ang="0">
                  <a:pos x="T8" y="T9"/>
                </a:cxn>
                <a:cxn ang="0">
                  <a:pos x="T10" y="T11"/>
                </a:cxn>
              </a:cxnLst>
              <a:rect l="0" t="0" r="r" b="b"/>
              <a:pathLst>
                <a:path w="89" h="59">
                  <a:moveTo>
                    <a:pt x="0" y="0"/>
                  </a:moveTo>
                  <a:lnTo>
                    <a:pt x="0" y="0"/>
                  </a:lnTo>
                  <a:cubicBezTo>
                    <a:pt x="0" y="29"/>
                    <a:pt x="30" y="29"/>
                    <a:pt x="59" y="29"/>
                  </a:cubicBezTo>
                  <a:cubicBezTo>
                    <a:pt x="88" y="58"/>
                    <a:pt x="88" y="58"/>
                    <a:pt x="88" y="58"/>
                  </a:cubicBezTo>
                  <a:cubicBezTo>
                    <a:pt x="59" y="29"/>
                    <a:pt x="59" y="29"/>
                    <a:pt x="59" y="29"/>
                  </a:cubicBezTo>
                  <a:cubicBezTo>
                    <a:pt x="3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5" name="Freeform 122">
              <a:extLst>
                <a:ext uri="{FF2B5EF4-FFF2-40B4-BE49-F238E27FC236}">
                  <a16:creationId xmlns:a16="http://schemas.microsoft.com/office/drawing/2014/main" id="{42DBF283-0ACC-4AF7-BEAF-691049362385}"/>
                </a:ext>
              </a:extLst>
            </p:cNvPr>
            <p:cNvSpPr>
              <a:spLocks noChangeArrowheads="1"/>
            </p:cNvSpPr>
            <p:nvPr/>
          </p:nvSpPr>
          <p:spPr bwMode="auto">
            <a:xfrm>
              <a:off x="10714720" y="326421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6" name="Freeform 123">
              <a:extLst>
                <a:ext uri="{FF2B5EF4-FFF2-40B4-BE49-F238E27FC236}">
                  <a16:creationId xmlns:a16="http://schemas.microsoft.com/office/drawing/2014/main" id="{B05EB19D-A116-46FC-B178-526F61E26355}"/>
                </a:ext>
              </a:extLst>
            </p:cNvPr>
            <p:cNvSpPr>
              <a:spLocks noChangeArrowheads="1"/>
            </p:cNvSpPr>
            <p:nvPr/>
          </p:nvSpPr>
          <p:spPr bwMode="auto">
            <a:xfrm>
              <a:off x="10714720" y="326421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7" name="Freeform 124">
              <a:extLst>
                <a:ext uri="{FF2B5EF4-FFF2-40B4-BE49-F238E27FC236}">
                  <a16:creationId xmlns:a16="http://schemas.microsoft.com/office/drawing/2014/main" id="{49622A1F-942E-4A4A-89EA-D47380BBB75A}"/>
                </a:ext>
              </a:extLst>
            </p:cNvPr>
            <p:cNvSpPr>
              <a:spLocks noChangeArrowheads="1"/>
            </p:cNvSpPr>
            <p:nvPr/>
          </p:nvSpPr>
          <p:spPr bwMode="auto">
            <a:xfrm>
              <a:off x="10704935" y="3542563"/>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8" name="Freeform 125">
              <a:extLst>
                <a:ext uri="{FF2B5EF4-FFF2-40B4-BE49-F238E27FC236}">
                  <a16:creationId xmlns:a16="http://schemas.microsoft.com/office/drawing/2014/main" id="{966D10F3-0FC6-4B9A-8F90-B5DE71BD33D4}"/>
                </a:ext>
              </a:extLst>
            </p:cNvPr>
            <p:cNvSpPr>
              <a:spLocks noChangeArrowheads="1"/>
            </p:cNvSpPr>
            <p:nvPr/>
          </p:nvSpPr>
          <p:spPr bwMode="auto">
            <a:xfrm>
              <a:off x="10585883" y="3210806"/>
              <a:ext cx="32617" cy="11329"/>
            </a:xfrm>
            <a:custGeom>
              <a:avLst/>
              <a:gdLst>
                <a:gd name="T0" fmla="*/ 87 w 88"/>
                <a:gd name="T1" fmla="*/ 29 h 30"/>
                <a:gd name="T2" fmla="*/ 87 w 88"/>
                <a:gd name="T3" fmla="*/ 29 h 30"/>
                <a:gd name="T4" fmla="*/ 87 w 88"/>
                <a:gd name="T5" fmla="*/ 29 h 30"/>
                <a:gd name="T6" fmla="*/ 58 w 88"/>
                <a:gd name="T7" fmla="*/ 29 h 30"/>
                <a:gd name="T8" fmla="*/ 0 w 88"/>
                <a:gd name="T9" fmla="*/ 0 h 30"/>
                <a:gd name="T10" fmla="*/ 58 w 88"/>
                <a:gd name="T11" fmla="*/ 29 h 30"/>
                <a:gd name="T12" fmla="*/ 87 w 88"/>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88" h="30">
                  <a:moveTo>
                    <a:pt x="87" y="29"/>
                  </a:moveTo>
                  <a:lnTo>
                    <a:pt x="87" y="29"/>
                  </a:lnTo>
                  <a:lnTo>
                    <a:pt x="87" y="29"/>
                  </a:lnTo>
                  <a:cubicBezTo>
                    <a:pt x="58" y="29"/>
                    <a:pt x="58" y="29"/>
                    <a:pt x="58" y="29"/>
                  </a:cubicBezTo>
                  <a:cubicBezTo>
                    <a:pt x="28" y="29"/>
                    <a:pt x="0" y="0"/>
                    <a:pt x="0" y="0"/>
                  </a:cubicBezTo>
                  <a:cubicBezTo>
                    <a:pt x="0" y="0"/>
                    <a:pt x="28" y="29"/>
                    <a:pt x="58" y="29"/>
                  </a:cubicBezTo>
                  <a:lnTo>
                    <a:pt x="87"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89" name="Freeform 126">
              <a:extLst>
                <a:ext uri="{FF2B5EF4-FFF2-40B4-BE49-F238E27FC236}">
                  <a16:creationId xmlns:a16="http://schemas.microsoft.com/office/drawing/2014/main" id="{4AB8805F-9130-40AB-A3E0-DCE2489985CE}"/>
                </a:ext>
              </a:extLst>
            </p:cNvPr>
            <p:cNvSpPr>
              <a:spLocks noChangeArrowheads="1"/>
            </p:cNvSpPr>
            <p:nvPr/>
          </p:nvSpPr>
          <p:spPr bwMode="auto">
            <a:xfrm>
              <a:off x="10564683" y="3201097"/>
              <a:ext cx="21200" cy="11329"/>
            </a:xfrm>
            <a:custGeom>
              <a:avLst/>
              <a:gdLst>
                <a:gd name="T0" fmla="*/ 58 w 59"/>
                <a:gd name="T1" fmla="*/ 29 h 30"/>
                <a:gd name="T2" fmla="*/ 58 w 59"/>
                <a:gd name="T3" fmla="*/ 29 h 30"/>
                <a:gd name="T4" fmla="*/ 0 w 59"/>
                <a:gd name="T5" fmla="*/ 0 h 30"/>
                <a:gd name="T6" fmla="*/ 58 w 59"/>
                <a:gd name="T7" fmla="*/ 29 h 30"/>
              </a:gdLst>
              <a:ahLst/>
              <a:cxnLst>
                <a:cxn ang="0">
                  <a:pos x="T0" y="T1"/>
                </a:cxn>
                <a:cxn ang="0">
                  <a:pos x="T2" y="T3"/>
                </a:cxn>
                <a:cxn ang="0">
                  <a:pos x="T4" y="T5"/>
                </a:cxn>
                <a:cxn ang="0">
                  <a:pos x="T6" y="T7"/>
                </a:cxn>
              </a:cxnLst>
              <a:rect l="0" t="0" r="r" b="b"/>
              <a:pathLst>
                <a:path w="59" h="30">
                  <a:moveTo>
                    <a:pt x="58" y="29"/>
                  </a:moveTo>
                  <a:lnTo>
                    <a:pt x="58" y="29"/>
                  </a:lnTo>
                  <a:cubicBezTo>
                    <a:pt x="29" y="0"/>
                    <a:pt x="29" y="0"/>
                    <a:pt x="0" y="0"/>
                  </a:cubicBezTo>
                  <a:cubicBezTo>
                    <a:pt x="29" y="0"/>
                    <a:pt x="29" y="0"/>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0" name="Freeform 127">
              <a:extLst>
                <a:ext uri="{FF2B5EF4-FFF2-40B4-BE49-F238E27FC236}">
                  <a16:creationId xmlns:a16="http://schemas.microsoft.com/office/drawing/2014/main" id="{4B4DE8A4-A260-45DC-BA13-C9994A826E0D}"/>
                </a:ext>
              </a:extLst>
            </p:cNvPr>
            <p:cNvSpPr>
              <a:spLocks noChangeArrowheads="1"/>
            </p:cNvSpPr>
            <p:nvPr/>
          </p:nvSpPr>
          <p:spPr bwMode="auto">
            <a:xfrm>
              <a:off x="10651117" y="3586257"/>
              <a:ext cx="21202" cy="32366"/>
            </a:xfrm>
            <a:custGeom>
              <a:avLst/>
              <a:gdLst>
                <a:gd name="T0" fmla="*/ 58 w 59"/>
                <a:gd name="T1" fmla="*/ 29 h 88"/>
                <a:gd name="T2" fmla="*/ 58 w 59"/>
                <a:gd name="T3" fmla="*/ 29 h 88"/>
                <a:gd name="T4" fmla="*/ 58 w 59"/>
                <a:gd name="T5" fmla="*/ 0 h 88"/>
                <a:gd name="T6" fmla="*/ 58 w 59"/>
                <a:gd name="T7" fmla="*/ 0 h 88"/>
                <a:gd name="T8" fmla="*/ 58 w 59"/>
                <a:gd name="T9" fmla="*/ 29 h 88"/>
                <a:gd name="T10" fmla="*/ 0 w 59"/>
                <a:gd name="T11" fmla="*/ 87 h 88"/>
                <a:gd name="T12" fmla="*/ 58 w 59"/>
                <a:gd name="T13" fmla="*/ 29 h 88"/>
              </a:gdLst>
              <a:ahLst/>
              <a:cxnLst>
                <a:cxn ang="0">
                  <a:pos x="T0" y="T1"/>
                </a:cxn>
                <a:cxn ang="0">
                  <a:pos x="T2" y="T3"/>
                </a:cxn>
                <a:cxn ang="0">
                  <a:pos x="T4" y="T5"/>
                </a:cxn>
                <a:cxn ang="0">
                  <a:pos x="T6" y="T7"/>
                </a:cxn>
                <a:cxn ang="0">
                  <a:pos x="T8" y="T9"/>
                </a:cxn>
                <a:cxn ang="0">
                  <a:pos x="T10" y="T11"/>
                </a:cxn>
                <a:cxn ang="0">
                  <a:pos x="T12" y="T13"/>
                </a:cxn>
              </a:cxnLst>
              <a:rect l="0" t="0" r="r" b="b"/>
              <a:pathLst>
                <a:path w="59" h="88">
                  <a:moveTo>
                    <a:pt x="58" y="29"/>
                  </a:moveTo>
                  <a:lnTo>
                    <a:pt x="58" y="29"/>
                  </a:lnTo>
                  <a:cubicBezTo>
                    <a:pt x="58" y="0"/>
                    <a:pt x="58" y="0"/>
                    <a:pt x="58" y="0"/>
                  </a:cubicBezTo>
                  <a:lnTo>
                    <a:pt x="58" y="0"/>
                  </a:lnTo>
                  <a:cubicBezTo>
                    <a:pt x="58" y="29"/>
                    <a:pt x="58" y="29"/>
                    <a:pt x="58" y="29"/>
                  </a:cubicBezTo>
                  <a:cubicBezTo>
                    <a:pt x="29" y="58"/>
                    <a:pt x="29" y="58"/>
                    <a:pt x="0" y="87"/>
                  </a:cubicBezTo>
                  <a:cubicBezTo>
                    <a:pt x="29" y="58"/>
                    <a:pt x="29" y="58"/>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1" name="Freeform 128">
              <a:extLst>
                <a:ext uri="{FF2B5EF4-FFF2-40B4-BE49-F238E27FC236}">
                  <a16:creationId xmlns:a16="http://schemas.microsoft.com/office/drawing/2014/main" id="{BCB93FBA-C6FA-479C-BF14-7036DB919584}"/>
                </a:ext>
              </a:extLst>
            </p:cNvPr>
            <p:cNvSpPr>
              <a:spLocks noChangeArrowheads="1"/>
            </p:cNvSpPr>
            <p:nvPr/>
          </p:nvSpPr>
          <p:spPr bwMode="auto">
            <a:xfrm>
              <a:off x="10564683" y="3071631"/>
              <a:ext cx="11415" cy="1619"/>
            </a:xfrm>
            <a:custGeom>
              <a:avLst/>
              <a:gdLst>
                <a:gd name="T0" fmla="*/ 0 w 30"/>
                <a:gd name="T1" fmla="*/ 0 h 1"/>
                <a:gd name="T2" fmla="*/ 0 w 30"/>
                <a:gd name="T3" fmla="*/ 0 h 1"/>
                <a:gd name="T4" fmla="*/ 0 w 30"/>
                <a:gd name="T5" fmla="*/ 0 h 1"/>
                <a:gd name="T6" fmla="*/ 0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lnTo>
                    <a:pt x="0" y="0"/>
                  </a:ln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2" name="Freeform 129">
              <a:extLst>
                <a:ext uri="{FF2B5EF4-FFF2-40B4-BE49-F238E27FC236}">
                  <a16:creationId xmlns:a16="http://schemas.microsoft.com/office/drawing/2014/main" id="{746559D3-DE76-454B-9101-B4030A196F2E}"/>
                </a:ext>
              </a:extLst>
            </p:cNvPr>
            <p:cNvSpPr>
              <a:spLocks noChangeArrowheads="1"/>
            </p:cNvSpPr>
            <p:nvPr/>
          </p:nvSpPr>
          <p:spPr bwMode="auto">
            <a:xfrm>
              <a:off x="10574468" y="3103997"/>
              <a:ext cx="1630" cy="11329"/>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cubicBezTo>
                    <a:pt x="0" y="30"/>
                    <a:pt x="0" y="30"/>
                    <a:pt x="0"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3" name="Freeform 130">
              <a:extLst>
                <a:ext uri="{FF2B5EF4-FFF2-40B4-BE49-F238E27FC236}">
                  <a16:creationId xmlns:a16="http://schemas.microsoft.com/office/drawing/2014/main" id="{EFCD20E6-6A04-41F6-8F0D-EBECAD2ADA12}"/>
                </a:ext>
              </a:extLst>
            </p:cNvPr>
            <p:cNvSpPr>
              <a:spLocks noChangeArrowheads="1"/>
            </p:cNvSpPr>
            <p:nvPr/>
          </p:nvSpPr>
          <p:spPr bwMode="auto">
            <a:xfrm>
              <a:off x="10595668" y="3243173"/>
              <a:ext cx="22832" cy="21039"/>
            </a:xfrm>
            <a:custGeom>
              <a:avLst/>
              <a:gdLst>
                <a:gd name="T0" fmla="*/ 0 w 60"/>
                <a:gd name="T1" fmla="*/ 58 h 59"/>
                <a:gd name="T2" fmla="*/ 0 w 60"/>
                <a:gd name="T3" fmla="*/ 58 h 59"/>
                <a:gd name="T4" fmla="*/ 0 w 60"/>
                <a:gd name="T5" fmla="*/ 58 h 59"/>
                <a:gd name="T6" fmla="*/ 0 w 60"/>
                <a:gd name="T7" fmla="*/ 58 h 59"/>
                <a:gd name="T8" fmla="*/ 0 w 60"/>
                <a:gd name="T9" fmla="*/ 58 h 59"/>
                <a:gd name="T10" fmla="*/ 30 w 60"/>
                <a:gd name="T11" fmla="*/ 29 h 59"/>
                <a:gd name="T12" fmla="*/ 59 w 60"/>
                <a:gd name="T13" fmla="*/ 0 h 59"/>
                <a:gd name="T14" fmla="*/ 30 w 60"/>
                <a:gd name="T15" fmla="*/ 29 h 59"/>
                <a:gd name="T16" fmla="*/ 0 w 60"/>
                <a:gd name="T17"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59">
                  <a:moveTo>
                    <a:pt x="0" y="58"/>
                  </a:moveTo>
                  <a:lnTo>
                    <a:pt x="0" y="58"/>
                  </a:lnTo>
                  <a:lnTo>
                    <a:pt x="0" y="58"/>
                  </a:lnTo>
                  <a:lnTo>
                    <a:pt x="0" y="58"/>
                  </a:lnTo>
                  <a:lnTo>
                    <a:pt x="0" y="58"/>
                  </a:lnTo>
                  <a:lnTo>
                    <a:pt x="30" y="29"/>
                  </a:lnTo>
                  <a:cubicBezTo>
                    <a:pt x="30" y="29"/>
                    <a:pt x="59" y="29"/>
                    <a:pt x="59" y="0"/>
                  </a:cubicBezTo>
                  <a:cubicBezTo>
                    <a:pt x="59" y="29"/>
                    <a:pt x="30" y="29"/>
                    <a:pt x="30" y="29"/>
                  </a:cubicBez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4" name="Freeform 131">
              <a:extLst>
                <a:ext uri="{FF2B5EF4-FFF2-40B4-BE49-F238E27FC236}">
                  <a16:creationId xmlns:a16="http://schemas.microsoft.com/office/drawing/2014/main" id="{FECCA2AE-BEA9-4620-A089-4B2B23ADA692}"/>
                </a:ext>
              </a:extLst>
            </p:cNvPr>
            <p:cNvSpPr>
              <a:spLocks noChangeArrowheads="1"/>
            </p:cNvSpPr>
            <p:nvPr/>
          </p:nvSpPr>
          <p:spPr bwMode="auto">
            <a:xfrm>
              <a:off x="10585883" y="3222135"/>
              <a:ext cx="32617" cy="11328"/>
            </a:xfrm>
            <a:custGeom>
              <a:avLst/>
              <a:gdLst>
                <a:gd name="T0" fmla="*/ 87 w 88"/>
                <a:gd name="T1" fmla="*/ 0 h 30"/>
                <a:gd name="T2" fmla="*/ 87 w 88"/>
                <a:gd name="T3" fmla="*/ 0 h 30"/>
                <a:gd name="T4" fmla="*/ 87 w 88"/>
                <a:gd name="T5" fmla="*/ 29 h 30"/>
                <a:gd name="T6" fmla="*/ 87 w 88"/>
                <a:gd name="T7" fmla="*/ 29 h 30"/>
                <a:gd name="T8" fmla="*/ 87 w 88"/>
                <a:gd name="T9" fmla="*/ 29 h 30"/>
                <a:gd name="T10" fmla="*/ 87 w 88"/>
                <a:gd name="T11" fmla="*/ 0 h 30"/>
                <a:gd name="T12" fmla="*/ 58 w 88"/>
                <a:gd name="T13" fmla="*/ 0 h 30"/>
                <a:gd name="T14" fmla="*/ 0 w 88"/>
                <a:gd name="T15" fmla="*/ 0 h 30"/>
                <a:gd name="T16" fmla="*/ 58 w 88"/>
                <a:gd name="T17" fmla="*/ 0 h 30"/>
                <a:gd name="T18" fmla="*/ 87 w 88"/>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0">
                  <a:moveTo>
                    <a:pt x="87" y="0"/>
                  </a:moveTo>
                  <a:lnTo>
                    <a:pt x="87" y="0"/>
                  </a:lnTo>
                  <a:cubicBezTo>
                    <a:pt x="87" y="29"/>
                    <a:pt x="87" y="29"/>
                    <a:pt x="87" y="29"/>
                  </a:cubicBezTo>
                  <a:lnTo>
                    <a:pt x="87" y="29"/>
                  </a:lnTo>
                  <a:lnTo>
                    <a:pt x="87" y="29"/>
                  </a:lnTo>
                  <a:cubicBezTo>
                    <a:pt x="87" y="0"/>
                    <a:pt x="87" y="0"/>
                    <a:pt x="87" y="0"/>
                  </a:cubicBezTo>
                  <a:cubicBezTo>
                    <a:pt x="58" y="0"/>
                    <a:pt x="58" y="0"/>
                    <a:pt x="58" y="0"/>
                  </a:cubicBezTo>
                  <a:cubicBezTo>
                    <a:pt x="58" y="0"/>
                    <a:pt x="28" y="0"/>
                    <a:pt x="0" y="0"/>
                  </a:cubicBezTo>
                  <a:cubicBezTo>
                    <a:pt x="28" y="0"/>
                    <a:pt x="58" y="0"/>
                    <a:pt x="58" y="0"/>
                  </a:cubicBez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5" name="Freeform 132">
              <a:extLst>
                <a:ext uri="{FF2B5EF4-FFF2-40B4-BE49-F238E27FC236}">
                  <a16:creationId xmlns:a16="http://schemas.microsoft.com/office/drawing/2014/main" id="{6B9C578D-1C16-4A7C-8C9A-2B99BA5AFECD}"/>
                </a:ext>
              </a:extLst>
            </p:cNvPr>
            <p:cNvSpPr>
              <a:spLocks noChangeArrowheads="1"/>
            </p:cNvSpPr>
            <p:nvPr/>
          </p:nvSpPr>
          <p:spPr bwMode="auto">
            <a:xfrm>
              <a:off x="10704935" y="3521524"/>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6" name="Freeform 133">
              <a:extLst>
                <a:ext uri="{FF2B5EF4-FFF2-40B4-BE49-F238E27FC236}">
                  <a16:creationId xmlns:a16="http://schemas.microsoft.com/office/drawing/2014/main" id="{D908DCE2-4944-4CC3-82A3-25B8AC5EDE26}"/>
                </a:ext>
              </a:extLst>
            </p:cNvPr>
            <p:cNvSpPr>
              <a:spLocks noChangeArrowheads="1"/>
            </p:cNvSpPr>
            <p:nvPr/>
          </p:nvSpPr>
          <p:spPr bwMode="auto">
            <a:xfrm>
              <a:off x="10651117" y="315740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7" name="Freeform 134">
              <a:extLst>
                <a:ext uri="{FF2B5EF4-FFF2-40B4-BE49-F238E27FC236}">
                  <a16:creationId xmlns:a16="http://schemas.microsoft.com/office/drawing/2014/main" id="{CD9E6692-5F27-4D08-B2D3-E093442DD9AF}"/>
                </a:ext>
              </a:extLst>
            </p:cNvPr>
            <p:cNvSpPr>
              <a:spLocks noChangeArrowheads="1"/>
            </p:cNvSpPr>
            <p:nvPr/>
          </p:nvSpPr>
          <p:spPr bwMode="auto">
            <a:xfrm>
              <a:off x="10704935" y="3447081"/>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8" name="Freeform 135">
              <a:extLst>
                <a:ext uri="{FF2B5EF4-FFF2-40B4-BE49-F238E27FC236}">
                  <a16:creationId xmlns:a16="http://schemas.microsoft.com/office/drawing/2014/main" id="{1BF2B22B-BF93-4791-B839-A8B0D4AFDCAD}"/>
                </a:ext>
              </a:extLst>
            </p:cNvPr>
            <p:cNvSpPr>
              <a:spLocks noChangeArrowheads="1"/>
            </p:cNvSpPr>
            <p:nvPr/>
          </p:nvSpPr>
          <p:spPr bwMode="auto">
            <a:xfrm>
              <a:off x="10704935" y="345679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99" name="Freeform 136">
              <a:extLst>
                <a:ext uri="{FF2B5EF4-FFF2-40B4-BE49-F238E27FC236}">
                  <a16:creationId xmlns:a16="http://schemas.microsoft.com/office/drawing/2014/main" id="{DEE11562-A5F9-4FE3-8EBA-ECBCFCD6E4EF}"/>
                </a:ext>
              </a:extLst>
            </p:cNvPr>
            <p:cNvSpPr>
              <a:spLocks noChangeArrowheads="1"/>
            </p:cNvSpPr>
            <p:nvPr/>
          </p:nvSpPr>
          <p:spPr bwMode="auto">
            <a:xfrm>
              <a:off x="10574468" y="3349982"/>
              <a:ext cx="11415" cy="1619"/>
            </a:xfrm>
            <a:custGeom>
              <a:avLst/>
              <a:gdLst>
                <a:gd name="T0" fmla="*/ 29 w 30"/>
                <a:gd name="T1" fmla="*/ 0 h 1"/>
                <a:gd name="T2" fmla="*/ 29 w 30"/>
                <a:gd name="T3" fmla="*/ 0 h 1"/>
                <a:gd name="T4" fmla="*/ 29 w 30"/>
                <a:gd name="T5" fmla="*/ 0 h 1"/>
                <a:gd name="T6" fmla="*/ 29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lnTo>
                    <a:pt x="29" y="0"/>
                  </a:ln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0" name="Freeform 137">
              <a:extLst>
                <a:ext uri="{FF2B5EF4-FFF2-40B4-BE49-F238E27FC236}">
                  <a16:creationId xmlns:a16="http://schemas.microsoft.com/office/drawing/2014/main" id="{D68FC43E-BA98-4F55-B039-2B9AED07BF59}"/>
                </a:ext>
              </a:extLst>
            </p:cNvPr>
            <p:cNvSpPr>
              <a:spLocks noChangeArrowheads="1"/>
            </p:cNvSpPr>
            <p:nvPr/>
          </p:nvSpPr>
          <p:spPr bwMode="auto">
            <a:xfrm>
              <a:off x="10585883" y="3328944"/>
              <a:ext cx="44033" cy="11328"/>
            </a:xfrm>
            <a:custGeom>
              <a:avLst/>
              <a:gdLst>
                <a:gd name="T0" fmla="*/ 0 w 117"/>
                <a:gd name="T1" fmla="*/ 0 h 30"/>
                <a:gd name="T2" fmla="*/ 0 w 117"/>
                <a:gd name="T3" fmla="*/ 0 h 30"/>
                <a:gd name="T4" fmla="*/ 0 w 117"/>
                <a:gd name="T5" fmla="*/ 0 h 30"/>
                <a:gd name="T6" fmla="*/ 87 w 117"/>
                <a:gd name="T7" fmla="*/ 0 h 30"/>
                <a:gd name="T8" fmla="*/ 116 w 117"/>
                <a:gd name="T9" fmla="*/ 0 h 30"/>
                <a:gd name="T10" fmla="*/ 116 w 117"/>
                <a:gd name="T11" fmla="*/ 0 h 30"/>
                <a:gd name="T12" fmla="*/ 87 w 117"/>
                <a:gd name="T13" fmla="*/ 0 h 30"/>
                <a:gd name="T14" fmla="*/ 0 w 117"/>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30">
                  <a:moveTo>
                    <a:pt x="0" y="0"/>
                  </a:moveTo>
                  <a:lnTo>
                    <a:pt x="0" y="0"/>
                  </a:lnTo>
                  <a:lnTo>
                    <a:pt x="0" y="0"/>
                  </a:lnTo>
                  <a:cubicBezTo>
                    <a:pt x="28" y="0"/>
                    <a:pt x="58" y="29"/>
                    <a:pt x="87" y="0"/>
                  </a:cubicBezTo>
                  <a:cubicBezTo>
                    <a:pt x="116" y="0"/>
                    <a:pt x="116" y="0"/>
                    <a:pt x="116" y="0"/>
                  </a:cubicBezTo>
                  <a:lnTo>
                    <a:pt x="116" y="0"/>
                  </a:lnTo>
                  <a:cubicBezTo>
                    <a:pt x="87" y="0"/>
                    <a:pt x="87" y="0"/>
                    <a:pt x="87" y="0"/>
                  </a:cubicBezTo>
                  <a:cubicBezTo>
                    <a:pt x="58" y="29"/>
                    <a:pt x="28"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1" name="Freeform 138">
              <a:extLst>
                <a:ext uri="{FF2B5EF4-FFF2-40B4-BE49-F238E27FC236}">
                  <a16:creationId xmlns:a16="http://schemas.microsoft.com/office/drawing/2014/main" id="{F9108B3F-9237-4F57-B471-A33EE2B4A460}"/>
                </a:ext>
              </a:extLst>
            </p:cNvPr>
            <p:cNvSpPr>
              <a:spLocks noChangeArrowheads="1"/>
            </p:cNvSpPr>
            <p:nvPr/>
          </p:nvSpPr>
          <p:spPr bwMode="auto">
            <a:xfrm>
              <a:off x="10672318" y="3617005"/>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2" name="Freeform 139">
              <a:extLst>
                <a:ext uri="{FF2B5EF4-FFF2-40B4-BE49-F238E27FC236}">
                  <a16:creationId xmlns:a16="http://schemas.microsoft.com/office/drawing/2014/main" id="{E946F221-AAB7-4E9D-BFCD-2679031AF3D1}"/>
                </a:ext>
              </a:extLst>
            </p:cNvPr>
            <p:cNvSpPr>
              <a:spLocks noChangeArrowheads="1"/>
            </p:cNvSpPr>
            <p:nvPr/>
          </p:nvSpPr>
          <p:spPr bwMode="auto">
            <a:xfrm>
              <a:off x="10791370" y="2879051"/>
              <a:ext cx="11416" cy="11328"/>
            </a:xfrm>
            <a:custGeom>
              <a:avLst/>
              <a:gdLst>
                <a:gd name="T0" fmla="*/ 29 w 30"/>
                <a:gd name="T1" fmla="*/ 0 h 30"/>
                <a:gd name="T2" fmla="*/ 29 w 30"/>
                <a:gd name="T3" fmla="*/ 0 h 30"/>
                <a:gd name="T4" fmla="*/ 29 w 30"/>
                <a:gd name="T5" fmla="*/ 0 h 30"/>
                <a:gd name="T6" fmla="*/ 29 w 30"/>
                <a:gd name="T7" fmla="*/ 0 h 30"/>
                <a:gd name="T8" fmla="*/ 29 w 30"/>
                <a:gd name="T9" fmla="*/ 0 h 30"/>
                <a:gd name="T10" fmla="*/ 0 w 30"/>
                <a:gd name="T11" fmla="*/ 29 h 30"/>
                <a:gd name="T12" fmla="*/ 29 w 3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29" y="0"/>
                  </a:moveTo>
                  <a:lnTo>
                    <a:pt x="29" y="0"/>
                  </a:lnTo>
                  <a:lnTo>
                    <a:pt x="29" y="0"/>
                  </a:lnTo>
                  <a:lnTo>
                    <a:pt x="29" y="0"/>
                  </a:lnTo>
                  <a:lnTo>
                    <a:pt x="29" y="0"/>
                  </a:lnTo>
                  <a:cubicBezTo>
                    <a:pt x="29" y="0"/>
                    <a:pt x="29" y="29"/>
                    <a:pt x="0" y="29"/>
                  </a:cubicBezTo>
                  <a:cubicBezTo>
                    <a:pt x="29" y="29"/>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3" name="Freeform 140">
              <a:extLst>
                <a:ext uri="{FF2B5EF4-FFF2-40B4-BE49-F238E27FC236}">
                  <a16:creationId xmlns:a16="http://schemas.microsoft.com/office/drawing/2014/main" id="{5DFDFDF6-88CD-46AB-89A6-5E76A07D80D2}"/>
                </a:ext>
              </a:extLst>
            </p:cNvPr>
            <p:cNvSpPr>
              <a:spLocks noChangeArrowheads="1"/>
            </p:cNvSpPr>
            <p:nvPr/>
          </p:nvSpPr>
          <p:spPr bwMode="auto">
            <a:xfrm>
              <a:off x="10768538" y="271883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4" name="Freeform 141">
              <a:extLst>
                <a:ext uri="{FF2B5EF4-FFF2-40B4-BE49-F238E27FC236}">
                  <a16:creationId xmlns:a16="http://schemas.microsoft.com/office/drawing/2014/main" id="{6B842B0E-E8D8-496E-80EE-13974C359EB6}"/>
                </a:ext>
              </a:extLst>
            </p:cNvPr>
            <p:cNvSpPr>
              <a:spLocks noChangeArrowheads="1"/>
            </p:cNvSpPr>
            <p:nvPr/>
          </p:nvSpPr>
          <p:spPr bwMode="auto">
            <a:xfrm>
              <a:off x="10974024" y="2537585"/>
              <a:ext cx="22832" cy="11329"/>
            </a:xfrm>
            <a:custGeom>
              <a:avLst/>
              <a:gdLst>
                <a:gd name="T0" fmla="*/ 0 w 60"/>
                <a:gd name="T1" fmla="*/ 29 h 30"/>
                <a:gd name="T2" fmla="*/ 0 w 60"/>
                <a:gd name="T3" fmla="*/ 29 h 30"/>
                <a:gd name="T4" fmla="*/ 0 w 60"/>
                <a:gd name="T5" fmla="*/ 29 h 30"/>
                <a:gd name="T6" fmla="*/ 59 w 60"/>
                <a:gd name="T7" fmla="*/ 0 h 30"/>
                <a:gd name="T8" fmla="*/ 0 w 60"/>
                <a:gd name="T9" fmla="*/ 29 h 30"/>
              </a:gdLst>
              <a:ahLst/>
              <a:cxnLst>
                <a:cxn ang="0">
                  <a:pos x="T0" y="T1"/>
                </a:cxn>
                <a:cxn ang="0">
                  <a:pos x="T2" y="T3"/>
                </a:cxn>
                <a:cxn ang="0">
                  <a:pos x="T4" y="T5"/>
                </a:cxn>
                <a:cxn ang="0">
                  <a:pos x="T6" y="T7"/>
                </a:cxn>
                <a:cxn ang="0">
                  <a:pos x="T8" y="T9"/>
                </a:cxn>
              </a:cxnLst>
              <a:rect l="0" t="0" r="r" b="b"/>
              <a:pathLst>
                <a:path w="60" h="30">
                  <a:moveTo>
                    <a:pt x="0" y="29"/>
                  </a:moveTo>
                  <a:lnTo>
                    <a:pt x="0" y="29"/>
                  </a:lnTo>
                  <a:lnTo>
                    <a:pt x="0" y="29"/>
                  </a:lnTo>
                  <a:cubicBezTo>
                    <a:pt x="0" y="29"/>
                    <a:pt x="29" y="0"/>
                    <a:pt x="59" y="0"/>
                  </a:cubicBezTo>
                  <a:cubicBezTo>
                    <a:pt x="29" y="0"/>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5" name="Freeform 142">
              <a:extLst>
                <a:ext uri="{FF2B5EF4-FFF2-40B4-BE49-F238E27FC236}">
                  <a16:creationId xmlns:a16="http://schemas.microsoft.com/office/drawing/2014/main" id="{58B84F73-454A-4CAE-A939-42B9164AC2F8}"/>
                </a:ext>
              </a:extLst>
            </p:cNvPr>
            <p:cNvSpPr>
              <a:spLocks noChangeArrowheads="1"/>
            </p:cNvSpPr>
            <p:nvPr/>
          </p:nvSpPr>
          <p:spPr bwMode="auto">
            <a:xfrm>
              <a:off x="10833772" y="2621738"/>
              <a:ext cx="21202" cy="1619"/>
            </a:xfrm>
            <a:custGeom>
              <a:avLst/>
              <a:gdLst>
                <a:gd name="T0" fmla="*/ 0 w 58"/>
                <a:gd name="T1" fmla="*/ 0 h 1"/>
                <a:gd name="T2" fmla="*/ 0 w 58"/>
                <a:gd name="T3" fmla="*/ 0 h 1"/>
                <a:gd name="T4" fmla="*/ 0 w 58"/>
                <a:gd name="T5" fmla="*/ 0 h 1"/>
                <a:gd name="T6" fmla="*/ 57 w 58"/>
                <a:gd name="T7" fmla="*/ 0 h 1"/>
                <a:gd name="T8" fmla="*/ 57 w 58"/>
                <a:gd name="T9" fmla="*/ 0 h 1"/>
                <a:gd name="T10" fmla="*/ 57 w 58"/>
                <a:gd name="T11" fmla="*/ 0 h 1"/>
                <a:gd name="T12" fmla="*/ 0 w 58"/>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8" h="1">
                  <a:moveTo>
                    <a:pt x="0" y="0"/>
                  </a:moveTo>
                  <a:lnTo>
                    <a:pt x="0" y="0"/>
                  </a:lnTo>
                  <a:lnTo>
                    <a:pt x="0" y="0"/>
                  </a:lnTo>
                  <a:cubicBezTo>
                    <a:pt x="57" y="0"/>
                    <a:pt x="57" y="0"/>
                    <a:pt x="57" y="0"/>
                  </a:cubicBezTo>
                  <a:lnTo>
                    <a:pt x="57" y="0"/>
                  </a:lnTo>
                  <a:lnTo>
                    <a:pt x="57"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6" name="Freeform 143">
              <a:extLst>
                <a:ext uri="{FF2B5EF4-FFF2-40B4-BE49-F238E27FC236}">
                  <a16:creationId xmlns:a16="http://schemas.microsoft.com/office/drawing/2014/main" id="{8E1A2BE0-CA21-4570-9B55-CEF677ED9BAC}"/>
                </a:ext>
              </a:extLst>
            </p:cNvPr>
            <p:cNvSpPr>
              <a:spLocks noChangeArrowheads="1"/>
            </p:cNvSpPr>
            <p:nvPr/>
          </p:nvSpPr>
          <p:spPr bwMode="auto">
            <a:xfrm>
              <a:off x="10791370" y="2707509"/>
              <a:ext cx="32617" cy="22656"/>
            </a:xfrm>
            <a:custGeom>
              <a:avLst/>
              <a:gdLst>
                <a:gd name="T0" fmla="*/ 58 w 89"/>
                <a:gd name="T1" fmla="*/ 0 h 60"/>
                <a:gd name="T2" fmla="*/ 58 w 89"/>
                <a:gd name="T3" fmla="*/ 0 h 60"/>
                <a:gd name="T4" fmla="*/ 58 w 89"/>
                <a:gd name="T5" fmla="*/ 0 h 60"/>
                <a:gd name="T6" fmla="*/ 0 w 89"/>
                <a:gd name="T7" fmla="*/ 29 h 60"/>
                <a:gd name="T8" fmla="*/ 0 w 89"/>
                <a:gd name="T9" fmla="*/ 29 h 60"/>
                <a:gd name="T10" fmla="*/ 0 w 89"/>
                <a:gd name="T11" fmla="*/ 29 h 60"/>
                <a:gd name="T12" fmla="*/ 58 w 89"/>
                <a:gd name="T13" fmla="*/ 0 h 60"/>
                <a:gd name="T14" fmla="*/ 58 w 89"/>
                <a:gd name="T15" fmla="*/ 0 h 60"/>
                <a:gd name="T16" fmla="*/ 58 w 89"/>
                <a:gd name="T17" fmla="*/ 29 h 60"/>
                <a:gd name="T18" fmla="*/ 88 w 89"/>
                <a:gd name="T19" fmla="*/ 59 h 60"/>
                <a:gd name="T20" fmla="*/ 58 w 89"/>
                <a:gd name="T21" fmla="*/ 29 h 60"/>
                <a:gd name="T22" fmla="*/ 58 w 89"/>
                <a:gd name="T2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60">
                  <a:moveTo>
                    <a:pt x="58" y="0"/>
                  </a:moveTo>
                  <a:lnTo>
                    <a:pt x="58" y="0"/>
                  </a:lnTo>
                  <a:lnTo>
                    <a:pt x="58" y="0"/>
                  </a:lnTo>
                  <a:cubicBezTo>
                    <a:pt x="29" y="29"/>
                    <a:pt x="29" y="29"/>
                    <a:pt x="0" y="29"/>
                  </a:cubicBezTo>
                  <a:lnTo>
                    <a:pt x="0" y="29"/>
                  </a:lnTo>
                  <a:lnTo>
                    <a:pt x="0" y="29"/>
                  </a:lnTo>
                  <a:cubicBezTo>
                    <a:pt x="29" y="29"/>
                    <a:pt x="29" y="29"/>
                    <a:pt x="58" y="0"/>
                  </a:cubicBezTo>
                  <a:lnTo>
                    <a:pt x="58" y="0"/>
                  </a:lnTo>
                  <a:cubicBezTo>
                    <a:pt x="58" y="29"/>
                    <a:pt x="58" y="29"/>
                    <a:pt x="58" y="29"/>
                  </a:cubicBezTo>
                  <a:cubicBezTo>
                    <a:pt x="58" y="29"/>
                    <a:pt x="88" y="29"/>
                    <a:pt x="88" y="59"/>
                  </a:cubicBezTo>
                  <a:cubicBezTo>
                    <a:pt x="88" y="29"/>
                    <a:pt x="58" y="29"/>
                    <a:pt x="58" y="29"/>
                  </a:cubicBezTo>
                  <a:lnTo>
                    <a:pt x="5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7" name="Freeform 144">
              <a:extLst>
                <a:ext uri="{FF2B5EF4-FFF2-40B4-BE49-F238E27FC236}">
                  <a16:creationId xmlns:a16="http://schemas.microsoft.com/office/drawing/2014/main" id="{6502BA49-EBCA-4C06-86B1-7343A95C30B1}"/>
                </a:ext>
              </a:extLst>
            </p:cNvPr>
            <p:cNvSpPr>
              <a:spLocks noChangeArrowheads="1"/>
            </p:cNvSpPr>
            <p:nvPr/>
          </p:nvSpPr>
          <p:spPr bwMode="auto">
            <a:xfrm>
              <a:off x="10651117" y="315740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8" name="Freeform 145">
              <a:extLst>
                <a:ext uri="{FF2B5EF4-FFF2-40B4-BE49-F238E27FC236}">
                  <a16:creationId xmlns:a16="http://schemas.microsoft.com/office/drawing/2014/main" id="{995B9CC4-029F-452D-BAAC-5FED38F1EAB1}"/>
                </a:ext>
              </a:extLst>
            </p:cNvPr>
            <p:cNvSpPr>
              <a:spLocks noChangeArrowheads="1"/>
            </p:cNvSpPr>
            <p:nvPr/>
          </p:nvSpPr>
          <p:spPr bwMode="auto">
            <a:xfrm>
              <a:off x="10823986" y="2633067"/>
              <a:ext cx="11416" cy="11328"/>
            </a:xfrm>
            <a:custGeom>
              <a:avLst/>
              <a:gdLst>
                <a:gd name="T0" fmla="*/ 29 w 30"/>
                <a:gd name="T1" fmla="*/ 0 h 31"/>
                <a:gd name="T2" fmla="*/ 29 w 30"/>
                <a:gd name="T3" fmla="*/ 0 h 31"/>
                <a:gd name="T4" fmla="*/ 0 w 30"/>
                <a:gd name="T5" fmla="*/ 30 h 31"/>
                <a:gd name="T6" fmla="*/ 29 w 30"/>
                <a:gd name="T7" fmla="*/ 0 h 31"/>
              </a:gdLst>
              <a:ahLst/>
              <a:cxnLst>
                <a:cxn ang="0">
                  <a:pos x="T0" y="T1"/>
                </a:cxn>
                <a:cxn ang="0">
                  <a:pos x="T2" y="T3"/>
                </a:cxn>
                <a:cxn ang="0">
                  <a:pos x="T4" y="T5"/>
                </a:cxn>
                <a:cxn ang="0">
                  <a:pos x="T6" y="T7"/>
                </a:cxn>
              </a:cxnLst>
              <a:rect l="0" t="0" r="r" b="b"/>
              <a:pathLst>
                <a:path w="30" h="31">
                  <a:moveTo>
                    <a:pt x="29" y="0"/>
                  </a:moveTo>
                  <a:lnTo>
                    <a:pt x="29" y="0"/>
                  </a:lnTo>
                  <a:cubicBezTo>
                    <a:pt x="0" y="0"/>
                    <a:pt x="0" y="0"/>
                    <a:pt x="0" y="3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09" name="Freeform 146">
              <a:extLst>
                <a:ext uri="{FF2B5EF4-FFF2-40B4-BE49-F238E27FC236}">
                  <a16:creationId xmlns:a16="http://schemas.microsoft.com/office/drawing/2014/main" id="{B5BF43D9-ADC2-4A29-BC5B-3D3B077291EC}"/>
                </a:ext>
              </a:extLst>
            </p:cNvPr>
            <p:cNvSpPr>
              <a:spLocks noChangeArrowheads="1"/>
            </p:cNvSpPr>
            <p:nvPr/>
          </p:nvSpPr>
          <p:spPr bwMode="auto">
            <a:xfrm>
              <a:off x="10693519" y="2964822"/>
              <a:ext cx="32617" cy="22656"/>
            </a:xfrm>
            <a:custGeom>
              <a:avLst/>
              <a:gdLst>
                <a:gd name="T0" fmla="*/ 86 w 87"/>
                <a:gd name="T1" fmla="*/ 59 h 60"/>
                <a:gd name="T2" fmla="*/ 86 w 87"/>
                <a:gd name="T3" fmla="*/ 59 h 60"/>
                <a:gd name="T4" fmla="*/ 29 w 87"/>
                <a:gd name="T5" fmla="*/ 0 h 60"/>
                <a:gd name="T6" fmla="*/ 0 w 87"/>
                <a:gd name="T7" fmla="*/ 0 h 60"/>
                <a:gd name="T8" fmla="*/ 0 w 87"/>
                <a:gd name="T9" fmla="*/ 0 h 60"/>
                <a:gd name="T10" fmla="*/ 29 w 87"/>
                <a:gd name="T11" fmla="*/ 0 h 60"/>
                <a:gd name="T12" fmla="*/ 86 w 87"/>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87" h="60">
                  <a:moveTo>
                    <a:pt x="86" y="59"/>
                  </a:moveTo>
                  <a:lnTo>
                    <a:pt x="86" y="59"/>
                  </a:lnTo>
                  <a:cubicBezTo>
                    <a:pt x="58" y="59"/>
                    <a:pt x="29" y="29"/>
                    <a:pt x="29" y="0"/>
                  </a:cubicBezTo>
                  <a:cubicBezTo>
                    <a:pt x="0" y="0"/>
                    <a:pt x="0" y="0"/>
                    <a:pt x="0" y="0"/>
                  </a:cubicBezTo>
                  <a:lnTo>
                    <a:pt x="0" y="0"/>
                  </a:lnTo>
                  <a:cubicBezTo>
                    <a:pt x="0" y="0"/>
                    <a:pt x="0" y="0"/>
                    <a:pt x="29" y="0"/>
                  </a:cubicBezTo>
                  <a:cubicBezTo>
                    <a:pt x="29" y="29"/>
                    <a:pt x="58" y="59"/>
                    <a:pt x="86"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0" name="Freeform 147">
              <a:extLst>
                <a:ext uri="{FF2B5EF4-FFF2-40B4-BE49-F238E27FC236}">
                  <a16:creationId xmlns:a16="http://schemas.microsoft.com/office/drawing/2014/main" id="{47B98462-7FEE-4D59-8562-21F549668B75}"/>
                </a:ext>
              </a:extLst>
            </p:cNvPr>
            <p:cNvSpPr>
              <a:spLocks noChangeArrowheads="1"/>
            </p:cNvSpPr>
            <p:nvPr/>
          </p:nvSpPr>
          <p:spPr bwMode="auto">
            <a:xfrm>
              <a:off x="10693519" y="2953494"/>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1" name="Freeform 148">
              <a:extLst>
                <a:ext uri="{FF2B5EF4-FFF2-40B4-BE49-F238E27FC236}">
                  <a16:creationId xmlns:a16="http://schemas.microsoft.com/office/drawing/2014/main" id="{7E7B0459-6225-4A1E-BEE6-40CDC4D6484A}"/>
                </a:ext>
              </a:extLst>
            </p:cNvPr>
            <p:cNvSpPr>
              <a:spLocks noChangeArrowheads="1"/>
            </p:cNvSpPr>
            <p:nvPr/>
          </p:nvSpPr>
          <p:spPr bwMode="auto">
            <a:xfrm>
              <a:off x="10660902" y="2600700"/>
              <a:ext cx="151669" cy="331755"/>
            </a:xfrm>
            <a:custGeom>
              <a:avLst/>
              <a:gdLst>
                <a:gd name="T0" fmla="*/ 88 w 409"/>
                <a:gd name="T1" fmla="*/ 875 h 904"/>
                <a:gd name="T2" fmla="*/ 88 w 409"/>
                <a:gd name="T3" fmla="*/ 875 h 904"/>
                <a:gd name="T4" fmla="*/ 146 w 409"/>
                <a:gd name="T5" fmla="*/ 903 h 904"/>
                <a:gd name="T6" fmla="*/ 174 w 409"/>
                <a:gd name="T7" fmla="*/ 903 h 904"/>
                <a:gd name="T8" fmla="*/ 204 w 409"/>
                <a:gd name="T9" fmla="*/ 903 h 904"/>
                <a:gd name="T10" fmla="*/ 233 w 409"/>
                <a:gd name="T11" fmla="*/ 903 h 904"/>
                <a:gd name="T12" fmla="*/ 262 w 409"/>
                <a:gd name="T13" fmla="*/ 903 h 904"/>
                <a:gd name="T14" fmla="*/ 262 w 409"/>
                <a:gd name="T15" fmla="*/ 903 h 904"/>
                <a:gd name="T16" fmla="*/ 262 w 409"/>
                <a:gd name="T17" fmla="*/ 903 h 904"/>
                <a:gd name="T18" fmla="*/ 291 w 409"/>
                <a:gd name="T19" fmla="*/ 875 h 904"/>
                <a:gd name="T20" fmla="*/ 262 w 409"/>
                <a:gd name="T21" fmla="*/ 817 h 904"/>
                <a:gd name="T22" fmla="*/ 262 w 409"/>
                <a:gd name="T23" fmla="*/ 817 h 904"/>
                <a:gd name="T24" fmla="*/ 321 w 409"/>
                <a:gd name="T25" fmla="*/ 817 h 904"/>
                <a:gd name="T26" fmla="*/ 350 w 409"/>
                <a:gd name="T27" fmla="*/ 758 h 904"/>
                <a:gd name="T28" fmla="*/ 321 w 409"/>
                <a:gd name="T29" fmla="*/ 729 h 904"/>
                <a:gd name="T30" fmla="*/ 291 w 409"/>
                <a:gd name="T31" fmla="*/ 700 h 904"/>
                <a:gd name="T32" fmla="*/ 321 w 409"/>
                <a:gd name="T33" fmla="*/ 700 h 904"/>
                <a:gd name="T34" fmla="*/ 379 w 409"/>
                <a:gd name="T35" fmla="*/ 525 h 904"/>
                <a:gd name="T36" fmla="*/ 379 w 409"/>
                <a:gd name="T37" fmla="*/ 496 h 904"/>
                <a:gd name="T38" fmla="*/ 379 w 409"/>
                <a:gd name="T39" fmla="*/ 496 h 904"/>
                <a:gd name="T40" fmla="*/ 408 w 409"/>
                <a:gd name="T41" fmla="*/ 467 h 904"/>
                <a:gd name="T42" fmla="*/ 379 w 409"/>
                <a:gd name="T43" fmla="*/ 408 h 904"/>
                <a:gd name="T44" fmla="*/ 379 w 409"/>
                <a:gd name="T45" fmla="*/ 350 h 904"/>
                <a:gd name="T46" fmla="*/ 379 w 409"/>
                <a:gd name="T47" fmla="*/ 350 h 904"/>
                <a:gd name="T48" fmla="*/ 291 w 409"/>
                <a:gd name="T49" fmla="*/ 350 h 904"/>
                <a:gd name="T50" fmla="*/ 233 w 409"/>
                <a:gd name="T51" fmla="*/ 350 h 904"/>
                <a:gd name="T52" fmla="*/ 233 w 409"/>
                <a:gd name="T53" fmla="*/ 320 h 904"/>
                <a:gd name="T54" fmla="*/ 233 w 409"/>
                <a:gd name="T55" fmla="*/ 320 h 904"/>
                <a:gd name="T56" fmla="*/ 262 w 409"/>
                <a:gd name="T57" fmla="*/ 291 h 904"/>
                <a:gd name="T58" fmla="*/ 291 w 409"/>
                <a:gd name="T59" fmla="*/ 175 h 904"/>
                <a:gd name="T60" fmla="*/ 321 w 409"/>
                <a:gd name="T61" fmla="*/ 87 h 904"/>
                <a:gd name="T62" fmla="*/ 321 w 409"/>
                <a:gd name="T63" fmla="*/ 87 h 904"/>
                <a:gd name="T64" fmla="*/ 88 w 409"/>
                <a:gd name="T65" fmla="*/ 0 h 904"/>
                <a:gd name="T66" fmla="*/ 58 w 409"/>
                <a:gd name="T67" fmla="*/ 87 h 904"/>
                <a:gd name="T68" fmla="*/ 29 w 409"/>
                <a:gd name="T69" fmla="*/ 117 h 904"/>
                <a:gd name="T70" fmla="*/ 58 w 409"/>
                <a:gd name="T71" fmla="*/ 437 h 904"/>
                <a:gd name="T72" fmla="*/ 88 w 409"/>
                <a:gd name="T73" fmla="*/ 437 h 904"/>
                <a:gd name="T74" fmla="*/ 117 w 409"/>
                <a:gd name="T75" fmla="*/ 467 h 904"/>
                <a:gd name="T76" fmla="*/ 174 w 409"/>
                <a:gd name="T77" fmla="*/ 641 h 904"/>
                <a:gd name="T78" fmla="*/ 58 w 409"/>
                <a:gd name="T79" fmla="*/ 729 h 904"/>
                <a:gd name="T80" fmla="*/ 58 w 409"/>
                <a:gd name="T81" fmla="*/ 729 h 904"/>
                <a:gd name="T82" fmla="*/ 29 w 409"/>
                <a:gd name="T83" fmla="*/ 758 h 904"/>
                <a:gd name="T84" fmla="*/ 0 w 409"/>
                <a:gd name="T85" fmla="*/ 787 h 904"/>
                <a:gd name="T86" fmla="*/ 88 w 409"/>
                <a:gd name="T87" fmla="*/ 875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9" h="904">
                  <a:moveTo>
                    <a:pt x="88" y="875"/>
                  </a:moveTo>
                  <a:lnTo>
                    <a:pt x="88" y="875"/>
                  </a:lnTo>
                  <a:cubicBezTo>
                    <a:pt x="117" y="875"/>
                    <a:pt x="146" y="903"/>
                    <a:pt x="146" y="903"/>
                  </a:cubicBezTo>
                  <a:cubicBezTo>
                    <a:pt x="174" y="903"/>
                    <a:pt x="174" y="903"/>
                    <a:pt x="174" y="903"/>
                  </a:cubicBezTo>
                  <a:cubicBezTo>
                    <a:pt x="204" y="903"/>
                    <a:pt x="204" y="903"/>
                    <a:pt x="204" y="903"/>
                  </a:cubicBezTo>
                  <a:cubicBezTo>
                    <a:pt x="233" y="903"/>
                    <a:pt x="233" y="903"/>
                    <a:pt x="233" y="903"/>
                  </a:cubicBezTo>
                  <a:cubicBezTo>
                    <a:pt x="262" y="903"/>
                    <a:pt x="262" y="903"/>
                    <a:pt x="262" y="903"/>
                  </a:cubicBezTo>
                  <a:lnTo>
                    <a:pt x="262" y="903"/>
                  </a:lnTo>
                  <a:lnTo>
                    <a:pt x="262" y="903"/>
                  </a:lnTo>
                  <a:lnTo>
                    <a:pt x="291" y="875"/>
                  </a:lnTo>
                  <a:cubicBezTo>
                    <a:pt x="262" y="875"/>
                    <a:pt x="262" y="846"/>
                    <a:pt x="262" y="817"/>
                  </a:cubicBezTo>
                  <a:lnTo>
                    <a:pt x="262" y="817"/>
                  </a:lnTo>
                  <a:cubicBezTo>
                    <a:pt x="321" y="817"/>
                    <a:pt x="321" y="817"/>
                    <a:pt x="321" y="817"/>
                  </a:cubicBezTo>
                  <a:cubicBezTo>
                    <a:pt x="321" y="787"/>
                    <a:pt x="321" y="758"/>
                    <a:pt x="350" y="758"/>
                  </a:cubicBezTo>
                  <a:cubicBezTo>
                    <a:pt x="321" y="758"/>
                    <a:pt x="321" y="729"/>
                    <a:pt x="321" y="729"/>
                  </a:cubicBezTo>
                  <a:cubicBezTo>
                    <a:pt x="291" y="700"/>
                    <a:pt x="291" y="700"/>
                    <a:pt x="291" y="700"/>
                  </a:cubicBezTo>
                  <a:cubicBezTo>
                    <a:pt x="321" y="700"/>
                    <a:pt x="321" y="700"/>
                    <a:pt x="321" y="700"/>
                  </a:cubicBezTo>
                  <a:cubicBezTo>
                    <a:pt x="408" y="700"/>
                    <a:pt x="379" y="612"/>
                    <a:pt x="379" y="525"/>
                  </a:cubicBezTo>
                  <a:cubicBezTo>
                    <a:pt x="379" y="496"/>
                    <a:pt x="379" y="496"/>
                    <a:pt x="379" y="496"/>
                  </a:cubicBezTo>
                  <a:lnTo>
                    <a:pt x="379" y="496"/>
                  </a:lnTo>
                  <a:cubicBezTo>
                    <a:pt x="379" y="467"/>
                    <a:pt x="379" y="467"/>
                    <a:pt x="408" y="467"/>
                  </a:cubicBezTo>
                  <a:cubicBezTo>
                    <a:pt x="379" y="437"/>
                    <a:pt x="379" y="437"/>
                    <a:pt x="379" y="408"/>
                  </a:cubicBezTo>
                  <a:cubicBezTo>
                    <a:pt x="379" y="379"/>
                    <a:pt x="408" y="350"/>
                    <a:pt x="379" y="350"/>
                  </a:cubicBezTo>
                  <a:lnTo>
                    <a:pt x="379" y="350"/>
                  </a:lnTo>
                  <a:cubicBezTo>
                    <a:pt x="350" y="350"/>
                    <a:pt x="321" y="350"/>
                    <a:pt x="291" y="350"/>
                  </a:cubicBezTo>
                  <a:cubicBezTo>
                    <a:pt x="262" y="350"/>
                    <a:pt x="262" y="350"/>
                    <a:pt x="233" y="350"/>
                  </a:cubicBezTo>
                  <a:cubicBezTo>
                    <a:pt x="233" y="320"/>
                    <a:pt x="233" y="320"/>
                    <a:pt x="233" y="320"/>
                  </a:cubicBezTo>
                  <a:lnTo>
                    <a:pt x="233" y="320"/>
                  </a:lnTo>
                  <a:cubicBezTo>
                    <a:pt x="262" y="291"/>
                    <a:pt x="262" y="291"/>
                    <a:pt x="262" y="291"/>
                  </a:cubicBezTo>
                  <a:cubicBezTo>
                    <a:pt x="262" y="233"/>
                    <a:pt x="291" y="203"/>
                    <a:pt x="291" y="175"/>
                  </a:cubicBezTo>
                  <a:cubicBezTo>
                    <a:pt x="321" y="146"/>
                    <a:pt x="321" y="117"/>
                    <a:pt x="321" y="87"/>
                  </a:cubicBezTo>
                  <a:lnTo>
                    <a:pt x="321" y="87"/>
                  </a:lnTo>
                  <a:cubicBezTo>
                    <a:pt x="262" y="58"/>
                    <a:pt x="174" y="29"/>
                    <a:pt x="88" y="0"/>
                  </a:cubicBezTo>
                  <a:cubicBezTo>
                    <a:pt x="88" y="58"/>
                    <a:pt x="58" y="58"/>
                    <a:pt x="58" y="87"/>
                  </a:cubicBezTo>
                  <a:cubicBezTo>
                    <a:pt x="29" y="87"/>
                    <a:pt x="29" y="87"/>
                    <a:pt x="29" y="117"/>
                  </a:cubicBezTo>
                  <a:cubicBezTo>
                    <a:pt x="0" y="175"/>
                    <a:pt x="0" y="379"/>
                    <a:pt x="58" y="437"/>
                  </a:cubicBezTo>
                  <a:cubicBezTo>
                    <a:pt x="58" y="437"/>
                    <a:pt x="58" y="437"/>
                    <a:pt x="88" y="437"/>
                  </a:cubicBezTo>
                  <a:cubicBezTo>
                    <a:pt x="88" y="467"/>
                    <a:pt x="117" y="467"/>
                    <a:pt x="117" y="467"/>
                  </a:cubicBezTo>
                  <a:cubicBezTo>
                    <a:pt x="174" y="525"/>
                    <a:pt x="174" y="583"/>
                    <a:pt x="174" y="641"/>
                  </a:cubicBezTo>
                  <a:cubicBezTo>
                    <a:pt x="146" y="700"/>
                    <a:pt x="117" y="729"/>
                    <a:pt x="58" y="729"/>
                  </a:cubicBezTo>
                  <a:lnTo>
                    <a:pt x="58" y="729"/>
                  </a:lnTo>
                  <a:cubicBezTo>
                    <a:pt x="58" y="729"/>
                    <a:pt x="58" y="729"/>
                    <a:pt x="29" y="758"/>
                  </a:cubicBezTo>
                  <a:lnTo>
                    <a:pt x="0" y="787"/>
                  </a:lnTo>
                  <a:cubicBezTo>
                    <a:pt x="0" y="846"/>
                    <a:pt x="58" y="846"/>
                    <a:pt x="88" y="8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2" name="Freeform 149">
              <a:extLst>
                <a:ext uri="{FF2B5EF4-FFF2-40B4-BE49-F238E27FC236}">
                  <a16:creationId xmlns:a16="http://schemas.microsoft.com/office/drawing/2014/main" id="{05D6899C-AE37-46C7-AC39-7CD14AD98776}"/>
                </a:ext>
              </a:extLst>
            </p:cNvPr>
            <p:cNvSpPr>
              <a:spLocks noChangeArrowheads="1"/>
            </p:cNvSpPr>
            <p:nvPr/>
          </p:nvSpPr>
          <p:spPr bwMode="auto">
            <a:xfrm>
              <a:off x="10726136" y="299718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3" name="Freeform 150">
              <a:extLst>
                <a:ext uri="{FF2B5EF4-FFF2-40B4-BE49-F238E27FC236}">
                  <a16:creationId xmlns:a16="http://schemas.microsoft.com/office/drawing/2014/main" id="{C9DEE799-8830-4676-8076-0C136279B509}"/>
                </a:ext>
              </a:extLst>
            </p:cNvPr>
            <p:cNvSpPr>
              <a:spLocks noChangeArrowheads="1"/>
            </p:cNvSpPr>
            <p:nvPr/>
          </p:nvSpPr>
          <p:spPr bwMode="auto">
            <a:xfrm>
              <a:off x="10682103" y="2932455"/>
              <a:ext cx="44032" cy="22656"/>
            </a:xfrm>
            <a:custGeom>
              <a:avLst/>
              <a:gdLst>
                <a:gd name="T0" fmla="*/ 30 w 117"/>
                <a:gd name="T1" fmla="*/ 0 h 60"/>
                <a:gd name="T2" fmla="*/ 30 w 117"/>
                <a:gd name="T3" fmla="*/ 0 h 60"/>
                <a:gd name="T4" fmla="*/ 88 w 117"/>
                <a:gd name="T5" fmla="*/ 30 h 60"/>
                <a:gd name="T6" fmla="*/ 88 w 117"/>
                <a:gd name="T7" fmla="*/ 59 h 60"/>
                <a:gd name="T8" fmla="*/ 116 w 117"/>
                <a:gd name="T9" fmla="*/ 30 h 60"/>
                <a:gd name="T10" fmla="*/ 116 w 117"/>
                <a:gd name="T11" fmla="*/ 30 h 60"/>
                <a:gd name="T12" fmla="*/ 116 w 117"/>
                <a:gd name="T13" fmla="*/ 30 h 60"/>
                <a:gd name="T14" fmla="*/ 116 w 117"/>
                <a:gd name="T15" fmla="*/ 30 h 60"/>
                <a:gd name="T16" fmla="*/ 88 w 117"/>
                <a:gd name="T17" fmla="*/ 59 h 60"/>
                <a:gd name="T18" fmla="*/ 88 w 117"/>
                <a:gd name="T19" fmla="*/ 30 h 60"/>
                <a:gd name="T20" fmla="*/ 30 w 117"/>
                <a:gd name="T21" fmla="*/ 0 h 60"/>
                <a:gd name="T22" fmla="*/ 0 w 117"/>
                <a:gd name="T23" fmla="*/ 0 h 60"/>
                <a:gd name="T24" fmla="*/ 0 w 117"/>
                <a:gd name="T25" fmla="*/ 0 h 60"/>
                <a:gd name="T26" fmla="*/ 0 w 117"/>
                <a:gd name="T27" fmla="*/ 0 h 60"/>
                <a:gd name="T28" fmla="*/ 30 w 117"/>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60">
                  <a:moveTo>
                    <a:pt x="30" y="0"/>
                  </a:moveTo>
                  <a:lnTo>
                    <a:pt x="30" y="0"/>
                  </a:lnTo>
                  <a:cubicBezTo>
                    <a:pt x="59" y="30"/>
                    <a:pt x="59" y="30"/>
                    <a:pt x="88" y="30"/>
                  </a:cubicBezTo>
                  <a:cubicBezTo>
                    <a:pt x="88" y="59"/>
                    <a:pt x="88" y="59"/>
                    <a:pt x="88" y="59"/>
                  </a:cubicBezTo>
                  <a:cubicBezTo>
                    <a:pt x="116" y="30"/>
                    <a:pt x="116" y="30"/>
                    <a:pt x="116" y="30"/>
                  </a:cubicBezTo>
                  <a:lnTo>
                    <a:pt x="116" y="30"/>
                  </a:lnTo>
                  <a:lnTo>
                    <a:pt x="116" y="30"/>
                  </a:lnTo>
                  <a:lnTo>
                    <a:pt x="116" y="30"/>
                  </a:lnTo>
                  <a:cubicBezTo>
                    <a:pt x="88" y="59"/>
                    <a:pt x="88" y="59"/>
                    <a:pt x="88" y="59"/>
                  </a:cubicBezTo>
                  <a:cubicBezTo>
                    <a:pt x="88" y="30"/>
                    <a:pt x="88" y="30"/>
                    <a:pt x="88" y="30"/>
                  </a:cubicBezTo>
                  <a:cubicBezTo>
                    <a:pt x="59" y="30"/>
                    <a:pt x="59" y="30"/>
                    <a:pt x="30" y="0"/>
                  </a:cubicBezTo>
                  <a:cubicBezTo>
                    <a:pt x="30" y="0"/>
                    <a:pt x="30" y="0"/>
                    <a:pt x="0" y="0"/>
                  </a:cubicBezTo>
                  <a:lnTo>
                    <a:pt x="0" y="0"/>
                  </a:lnTo>
                  <a:lnTo>
                    <a:pt x="0" y="0"/>
                  </a:ln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4" name="Freeform 151">
              <a:extLst>
                <a:ext uri="{FF2B5EF4-FFF2-40B4-BE49-F238E27FC236}">
                  <a16:creationId xmlns:a16="http://schemas.microsoft.com/office/drawing/2014/main" id="{B15FC1B3-AC0E-42B1-9488-C10A208677BE}"/>
                </a:ext>
              </a:extLst>
            </p:cNvPr>
            <p:cNvSpPr>
              <a:spLocks noChangeArrowheads="1"/>
            </p:cNvSpPr>
            <p:nvPr/>
          </p:nvSpPr>
          <p:spPr bwMode="auto">
            <a:xfrm>
              <a:off x="10801155" y="2644394"/>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5" name="Freeform 152">
              <a:extLst>
                <a:ext uri="{FF2B5EF4-FFF2-40B4-BE49-F238E27FC236}">
                  <a16:creationId xmlns:a16="http://schemas.microsoft.com/office/drawing/2014/main" id="{CA543C84-719E-47C7-910F-B702B9AE25C8}"/>
                </a:ext>
              </a:extLst>
            </p:cNvPr>
            <p:cNvSpPr>
              <a:spLocks noChangeArrowheads="1"/>
            </p:cNvSpPr>
            <p:nvPr/>
          </p:nvSpPr>
          <p:spPr bwMode="auto">
            <a:xfrm>
              <a:off x="10779954" y="2901708"/>
              <a:ext cx="11415" cy="11328"/>
            </a:xfrm>
            <a:custGeom>
              <a:avLst/>
              <a:gdLst>
                <a:gd name="T0" fmla="*/ 29 w 30"/>
                <a:gd name="T1" fmla="*/ 29 h 30"/>
                <a:gd name="T2" fmla="*/ 29 w 30"/>
                <a:gd name="T3" fmla="*/ 29 h 30"/>
                <a:gd name="T4" fmla="*/ 29 w 30"/>
                <a:gd name="T5" fmla="*/ 0 h 30"/>
                <a:gd name="T6" fmla="*/ 29 w 30"/>
                <a:gd name="T7" fmla="*/ 29 h 30"/>
                <a:gd name="T8" fmla="*/ 29 w 30"/>
                <a:gd name="T9" fmla="*/ 29 h 30"/>
                <a:gd name="T10" fmla="*/ 0 w 30"/>
                <a:gd name="T11" fmla="*/ 29 h 30"/>
                <a:gd name="T12" fmla="*/ 0 w 30"/>
                <a:gd name="T13" fmla="*/ 29 h 30"/>
                <a:gd name="T14" fmla="*/ 29 w 30"/>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29" y="29"/>
                  </a:moveTo>
                  <a:lnTo>
                    <a:pt x="29" y="29"/>
                  </a:lnTo>
                  <a:cubicBezTo>
                    <a:pt x="29" y="0"/>
                    <a:pt x="29" y="0"/>
                    <a:pt x="29" y="0"/>
                  </a:cubicBezTo>
                  <a:cubicBezTo>
                    <a:pt x="29" y="0"/>
                    <a:pt x="29" y="0"/>
                    <a:pt x="29" y="29"/>
                  </a:cubicBezTo>
                  <a:lnTo>
                    <a:pt x="29" y="29"/>
                  </a:lnTo>
                  <a:cubicBezTo>
                    <a:pt x="0" y="29"/>
                    <a:pt x="0" y="29"/>
                    <a:pt x="0" y="29"/>
                  </a:cubicBezTo>
                  <a:lnTo>
                    <a:pt x="0" y="29"/>
                  </a:ln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6" name="Freeform 153">
              <a:extLst>
                <a:ext uri="{FF2B5EF4-FFF2-40B4-BE49-F238E27FC236}">
                  <a16:creationId xmlns:a16="http://schemas.microsoft.com/office/drawing/2014/main" id="{92190894-C495-49A9-99AC-C556F51F9470}"/>
                </a:ext>
              </a:extLst>
            </p:cNvPr>
            <p:cNvSpPr>
              <a:spLocks noChangeArrowheads="1"/>
            </p:cNvSpPr>
            <p:nvPr/>
          </p:nvSpPr>
          <p:spPr bwMode="auto">
            <a:xfrm>
              <a:off x="10618500" y="3115326"/>
              <a:ext cx="11416" cy="1618"/>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7" name="Freeform 154">
              <a:extLst>
                <a:ext uri="{FF2B5EF4-FFF2-40B4-BE49-F238E27FC236}">
                  <a16:creationId xmlns:a16="http://schemas.microsoft.com/office/drawing/2014/main" id="{16F83474-DC80-4A03-967B-0547E26783C2}"/>
                </a:ext>
              </a:extLst>
            </p:cNvPr>
            <p:cNvSpPr>
              <a:spLocks noChangeArrowheads="1"/>
            </p:cNvSpPr>
            <p:nvPr/>
          </p:nvSpPr>
          <p:spPr bwMode="auto">
            <a:xfrm>
              <a:off x="10618500" y="3092670"/>
              <a:ext cx="11416" cy="22656"/>
            </a:xfrm>
            <a:custGeom>
              <a:avLst/>
              <a:gdLst>
                <a:gd name="T0" fmla="*/ 0 w 30"/>
                <a:gd name="T1" fmla="*/ 0 h 60"/>
                <a:gd name="T2" fmla="*/ 0 w 30"/>
                <a:gd name="T3" fmla="*/ 0 h 60"/>
                <a:gd name="T4" fmla="*/ 0 w 30"/>
                <a:gd name="T5" fmla="*/ 29 h 60"/>
                <a:gd name="T6" fmla="*/ 29 w 30"/>
                <a:gd name="T7" fmla="*/ 59 h 60"/>
                <a:gd name="T8" fmla="*/ 29 w 30"/>
                <a:gd name="T9" fmla="*/ 59 h 60"/>
                <a:gd name="T10" fmla="*/ 29 w 30"/>
                <a:gd name="T11" fmla="*/ 59 h 60"/>
                <a:gd name="T12" fmla="*/ 0 w 30"/>
                <a:gd name="T13" fmla="*/ 29 h 60"/>
                <a:gd name="T14" fmla="*/ 0 w 3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60">
                  <a:moveTo>
                    <a:pt x="0" y="0"/>
                  </a:moveTo>
                  <a:lnTo>
                    <a:pt x="0" y="0"/>
                  </a:lnTo>
                  <a:cubicBezTo>
                    <a:pt x="0" y="29"/>
                    <a:pt x="0" y="29"/>
                    <a:pt x="0" y="29"/>
                  </a:cubicBezTo>
                  <a:cubicBezTo>
                    <a:pt x="29" y="59"/>
                    <a:pt x="29" y="59"/>
                    <a:pt x="29" y="59"/>
                  </a:cubicBezTo>
                  <a:lnTo>
                    <a:pt x="29" y="59"/>
                  </a:lnTo>
                  <a:lnTo>
                    <a:pt x="29" y="59"/>
                  </a:lnTo>
                  <a:cubicBezTo>
                    <a:pt x="29" y="59"/>
                    <a:pt x="29" y="5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8" name="Freeform 155">
              <a:extLst>
                <a:ext uri="{FF2B5EF4-FFF2-40B4-BE49-F238E27FC236}">
                  <a16:creationId xmlns:a16="http://schemas.microsoft.com/office/drawing/2014/main" id="{A957C500-E16B-4906-B31B-14561F6B9E3F}"/>
                </a:ext>
              </a:extLst>
            </p:cNvPr>
            <p:cNvSpPr>
              <a:spLocks noChangeArrowheads="1"/>
            </p:cNvSpPr>
            <p:nvPr/>
          </p:nvSpPr>
          <p:spPr bwMode="auto">
            <a:xfrm>
              <a:off x="10607085" y="2997188"/>
              <a:ext cx="11415" cy="11329"/>
            </a:xfrm>
            <a:custGeom>
              <a:avLst/>
              <a:gdLst>
                <a:gd name="T0" fmla="*/ 29 w 30"/>
                <a:gd name="T1" fmla="*/ 0 h 30"/>
                <a:gd name="T2" fmla="*/ 29 w 30"/>
                <a:gd name="T3" fmla="*/ 0 h 30"/>
                <a:gd name="T4" fmla="*/ 29 w 30"/>
                <a:gd name="T5" fmla="*/ 0 h 30"/>
                <a:gd name="T6" fmla="*/ 29 w 30"/>
                <a:gd name="T7" fmla="*/ 0 h 30"/>
                <a:gd name="T8" fmla="*/ 0 w 30"/>
                <a:gd name="T9" fmla="*/ 29 h 30"/>
                <a:gd name="T10" fmla="*/ 29 w 30"/>
                <a:gd name="T11" fmla="*/ 0 h 30"/>
              </a:gdLst>
              <a:ahLst/>
              <a:cxnLst>
                <a:cxn ang="0">
                  <a:pos x="T0" y="T1"/>
                </a:cxn>
                <a:cxn ang="0">
                  <a:pos x="T2" y="T3"/>
                </a:cxn>
                <a:cxn ang="0">
                  <a:pos x="T4" y="T5"/>
                </a:cxn>
                <a:cxn ang="0">
                  <a:pos x="T6" y="T7"/>
                </a:cxn>
                <a:cxn ang="0">
                  <a:pos x="T8" y="T9"/>
                </a:cxn>
                <a:cxn ang="0">
                  <a:pos x="T10" y="T11"/>
                </a:cxn>
              </a:cxnLst>
              <a:rect l="0" t="0" r="r" b="b"/>
              <a:pathLst>
                <a:path w="30" h="30">
                  <a:moveTo>
                    <a:pt x="29" y="0"/>
                  </a:moveTo>
                  <a:lnTo>
                    <a:pt x="29" y="0"/>
                  </a:lnTo>
                  <a:lnTo>
                    <a:pt x="29" y="0"/>
                  </a:lnTo>
                  <a:lnTo>
                    <a:pt x="29" y="0"/>
                  </a:lnTo>
                  <a:cubicBezTo>
                    <a:pt x="29" y="0"/>
                    <a:pt x="0" y="0"/>
                    <a:pt x="0" y="29"/>
                  </a:cubicBezTo>
                  <a:cubicBezTo>
                    <a:pt x="0"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9" name="Freeform 156">
              <a:extLst>
                <a:ext uri="{FF2B5EF4-FFF2-40B4-BE49-F238E27FC236}">
                  <a16:creationId xmlns:a16="http://schemas.microsoft.com/office/drawing/2014/main" id="{50C1F79D-063B-4CB4-A165-C676BE9CA77C}"/>
                </a:ext>
              </a:extLst>
            </p:cNvPr>
            <p:cNvSpPr>
              <a:spLocks noChangeArrowheads="1"/>
            </p:cNvSpPr>
            <p:nvPr/>
          </p:nvSpPr>
          <p:spPr bwMode="auto">
            <a:xfrm>
              <a:off x="10607085" y="306030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0" name="Freeform 157">
              <a:extLst>
                <a:ext uri="{FF2B5EF4-FFF2-40B4-BE49-F238E27FC236}">
                  <a16:creationId xmlns:a16="http://schemas.microsoft.com/office/drawing/2014/main" id="{40F11AE8-CAA7-4E79-A612-3CA3CF9C1BC6}"/>
                </a:ext>
              </a:extLst>
            </p:cNvPr>
            <p:cNvSpPr>
              <a:spLocks noChangeArrowheads="1"/>
            </p:cNvSpPr>
            <p:nvPr/>
          </p:nvSpPr>
          <p:spPr bwMode="auto">
            <a:xfrm>
              <a:off x="10618500" y="3136364"/>
              <a:ext cx="11416" cy="11329"/>
            </a:xfrm>
            <a:custGeom>
              <a:avLst/>
              <a:gdLst>
                <a:gd name="T0" fmla="*/ 29 w 30"/>
                <a:gd name="T1" fmla="*/ 29 h 30"/>
                <a:gd name="T2" fmla="*/ 0 w 30"/>
                <a:gd name="T3" fmla="*/ 0 h 30"/>
                <a:gd name="T4" fmla="*/ 29 w 30"/>
                <a:gd name="T5" fmla="*/ 29 h 30"/>
              </a:gdLst>
              <a:ahLst/>
              <a:cxnLst>
                <a:cxn ang="0">
                  <a:pos x="T0" y="T1"/>
                </a:cxn>
                <a:cxn ang="0">
                  <a:pos x="T2" y="T3"/>
                </a:cxn>
                <a:cxn ang="0">
                  <a:pos x="T4" y="T5"/>
                </a:cxn>
              </a:cxnLst>
              <a:rect l="0" t="0" r="r" b="b"/>
              <a:pathLst>
                <a:path w="30" h="30">
                  <a:moveTo>
                    <a:pt x="29" y="29"/>
                  </a:move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1" name="Freeform 158">
              <a:extLst>
                <a:ext uri="{FF2B5EF4-FFF2-40B4-BE49-F238E27FC236}">
                  <a16:creationId xmlns:a16="http://schemas.microsoft.com/office/drawing/2014/main" id="{A031CB94-A83B-438C-942D-455DECD124EB}"/>
                </a:ext>
              </a:extLst>
            </p:cNvPr>
            <p:cNvSpPr>
              <a:spLocks noChangeArrowheads="1"/>
            </p:cNvSpPr>
            <p:nvPr/>
          </p:nvSpPr>
          <p:spPr bwMode="auto">
            <a:xfrm>
              <a:off x="10618500" y="3136364"/>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2" name="Freeform 159">
              <a:extLst>
                <a:ext uri="{FF2B5EF4-FFF2-40B4-BE49-F238E27FC236}">
                  <a16:creationId xmlns:a16="http://schemas.microsoft.com/office/drawing/2014/main" id="{5659EFBB-C1D7-4BDC-9935-3848C2043D84}"/>
                </a:ext>
              </a:extLst>
            </p:cNvPr>
            <p:cNvSpPr>
              <a:spLocks noChangeArrowheads="1"/>
            </p:cNvSpPr>
            <p:nvPr/>
          </p:nvSpPr>
          <p:spPr bwMode="auto">
            <a:xfrm>
              <a:off x="10618500" y="2964822"/>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3" name="Freeform 160">
              <a:extLst>
                <a:ext uri="{FF2B5EF4-FFF2-40B4-BE49-F238E27FC236}">
                  <a16:creationId xmlns:a16="http://schemas.microsoft.com/office/drawing/2014/main" id="{867F9E2C-71C3-4370-A204-565B11D35854}"/>
                </a:ext>
              </a:extLst>
            </p:cNvPr>
            <p:cNvSpPr>
              <a:spLocks noChangeArrowheads="1"/>
            </p:cNvSpPr>
            <p:nvPr/>
          </p:nvSpPr>
          <p:spPr bwMode="auto">
            <a:xfrm>
              <a:off x="10090106" y="2922745"/>
              <a:ext cx="561011" cy="322046"/>
            </a:xfrm>
            <a:custGeom>
              <a:avLst/>
              <a:gdLst>
                <a:gd name="T0" fmla="*/ 1517 w 1518"/>
                <a:gd name="T1" fmla="*/ 87 h 876"/>
                <a:gd name="T2" fmla="*/ 904 w 1518"/>
                <a:gd name="T3" fmla="*/ 116 h 876"/>
                <a:gd name="T4" fmla="*/ 29 w 1518"/>
                <a:gd name="T5" fmla="*/ 525 h 876"/>
                <a:gd name="T6" fmla="*/ 58 w 1518"/>
                <a:gd name="T7" fmla="*/ 466 h 876"/>
                <a:gd name="T8" fmla="*/ 379 w 1518"/>
                <a:gd name="T9" fmla="*/ 204 h 876"/>
                <a:gd name="T10" fmla="*/ 467 w 1518"/>
                <a:gd name="T11" fmla="*/ 204 h 876"/>
                <a:gd name="T12" fmla="*/ 554 w 1518"/>
                <a:gd name="T13" fmla="*/ 175 h 876"/>
                <a:gd name="T14" fmla="*/ 671 w 1518"/>
                <a:gd name="T15" fmla="*/ 321 h 876"/>
                <a:gd name="T16" fmla="*/ 729 w 1518"/>
                <a:gd name="T17" fmla="*/ 321 h 876"/>
                <a:gd name="T18" fmla="*/ 787 w 1518"/>
                <a:gd name="T19" fmla="*/ 408 h 876"/>
                <a:gd name="T20" fmla="*/ 963 w 1518"/>
                <a:gd name="T21" fmla="*/ 495 h 876"/>
                <a:gd name="T22" fmla="*/ 992 w 1518"/>
                <a:gd name="T23" fmla="*/ 671 h 876"/>
                <a:gd name="T24" fmla="*/ 992 w 1518"/>
                <a:gd name="T25" fmla="*/ 787 h 876"/>
                <a:gd name="T26" fmla="*/ 1137 w 1518"/>
                <a:gd name="T27" fmla="*/ 816 h 876"/>
                <a:gd name="T28" fmla="*/ 1254 w 1518"/>
                <a:gd name="T29" fmla="*/ 845 h 876"/>
                <a:gd name="T30" fmla="*/ 1370 w 1518"/>
                <a:gd name="T31" fmla="*/ 875 h 876"/>
                <a:gd name="T32" fmla="*/ 1254 w 1518"/>
                <a:gd name="T33" fmla="*/ 758 h 876"/>
                <a:gd name="T34" fmla="*/ 1254 w 1518"/>
                <a:gd name="T35" fmla="*/ 728 h 876"/>
                <a:gd name="T36" fmla="*/ 1284 w 1518"/>
                <a:gd name="T37" fmla="*/ 642 h 876"/>
                <a:gd name="T38" fmla="*/ 1284 w 1518"/>
                <a:gd name="T39" fmla="*/ 583 h 876"/>
                <a:gd name="T40" fmla="*/ 1284 w 1518"/>
                <a:gd name="T41" fmla="*/ 554 h 876"/>
                <a:gd name="T42" fmla="*/ 1254 w 1518"/>
                <a:gd name="T43" fmla="*/ 495 h 876"/>
                <a:gd name="T44" fmla="*/ 1284 w 1518"/>
                <a:gd name="T45" fmla="*/ 466 h 876"/>
                <a:gd name="T46" fmla="*/ 1284 w 1518"/>
                <a:gd name="T47" fmla="*/ 437 h 876"/>
                <a:gd name="T48" fmla="*/ 1254 w 1518"/>
                <a:gd name="T49" fmla="*/ 378 h 876"/>
                <a:gd name="T50" fmla="*/ 1225 w 1518"/>
                <a:gd name="T51" fmla="*/ 291 h 876"/>
                <a:gd name="T52" fmla="*/ 1254 w 1518"/>
                <a:gd name="T53" fmla="*/ 262 h 876"/>
                <a:gd name="T54" fmla="*/ 1254 w 1518"/>
                <a:gd name="T55" fmla="*/ 262 h 876"/>
                <a:gd name="T56" fmla="*/ 1284 w 1518"/>
                <a:gd name="T57" fmla="*/ 233 h 876"/>
                <a:gd name="T58" fmla="*/ 1342 w 1518"/>
                <a:gd name="T59" fmla="*/ 204 h 876"/>
                <a:gd name="T60" fmla="*/ 1342 w 1518"/>
                <a:gd name="T61" fmla="*/ 204 h 876"/>
                <a:gd name="T62" fmla="*/ 1342 w 1518"/>
                <a:gd name="T63" fmla="*/ 175 h 876"/>
                <a:gd name="T64" fmla="*/ 1370 w 1518"/>
                <a:gd name="T65" fmla="*/ 175 h 876"/>
                <a:gd name="T66" fmla="*/ 1400 w 1518"/>
                <a:gd name="T67" fmla="*/ 145 h 876"/>
                <a:gd name="T68" fmla="*/ 1370 w 1518"/>
                <a:gd name="T69" fmla="*/ 116 h 876"/>
                <a:gd name="T70" fmla="*/ 1458 w 1518"/>
                <a:gd name="T71" fmla="*/ 58 h 876"/>
                <a:gd name="T72" fmla="*/ 1487 w 1518"/>
                <a:gd name="T73" fmla="*/ 87 h 876"/>
                <a:gd name="T74" fmla="*/ 1517 w 1518"/>
                <a:gd name="T75" fmla="*/ 87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8" h="876">
                  <a:moveTo>
                    <a:pt x="1517" y="87"/>
                  </a:moveTo>
                  <a:lnTo>
                    <a:pt x="1517" y="87"/>
                  </a:lnTo>
                  <a:cubicBezTo>
                    <a:pt x="1487" y="58"/>
                    <a:pt x="1487" y="28"/>
                    <a:pt x="1487" y="0"/>
                  </a:cubicBezTo>
                  <a:cubicBezTo>
                    <a:pt x="1284" y="58"/>
                    <a:pt x="1079" y="87"/>
                    <a:pt x="904" y="116"/>
                  </a:cubicBezTo>
                  <a:cubicBezTo>
                    <a:pt x="584" y="145"/>
                    <a:pt x="292" y="204"/>
                    <a:pt x="0" y="262"/>
                  </a:cubicBezTo>
                  <a:cubicBezTo>
                    <a:pt x="0" y="350"/>
                    <a:pt x="0" y="437"/>
                    <a:pt x="29" y="525"/>
                  </a:cubicBezTo>
                  <a:cubicBezTo>
                    <a:pt x="29" y="525"/>
                    <a:pt x="29" y="525"/>
                    <a:pt x="58" y="495"/>
                  </a:cubicBezTo>
                  <a:lnTo>
                    <a:pt x="58" y="466"/>
                  </a:lnTo>
                  <a:cubicBezTo>
                    <a:pt x="117" y="378"/>
                    <a:pt x="204" y="262"/>
                    <a:pt x="292" y="204"/>
                  </a:cubicBezTo>
                  <a:cubicBezTo>
                    <a:pt x="321" y="204"/>
                    <a:pt x="350" y="204"/>
                    <a:pt x="379" y="204"/>
                  </a:cubicBezTo>
                  <a:cubicBezTo>
                    <a:pt x="379" y="204"/>
                    <a:pt x="379" y="204"/>
                    <a:pt x="408" y="204"/>
                  </a:cubicBezTo>
                  <a:cubicBezTo>
                    <a:pt x="408" y="204"/>
                    <a:pt x="437" y="204"/>
                    <a:pt x="467" y="204"/>
                  </a:cubicBezTo>
                  <a:cubicBezTo>
                    <a:pt x="496" y="204"/>
                    <a:pt x="525" y="175"/>
                    <a:pt x="554" y="175"/>
                  </a:cubicBezTo>
                  <a:lnTo>
                    <a:pt x="554" y="175"/>
                  </a:lnTo>
                  <a:cubicBezTo>
                    <a:pt x="613" y="175"/>
                    <a:pt x="642" y="233"/>
                    <a:pt x="642" y="262"/>
                  </a:cubicBezTo>
                  <a:cubicBezTo>
                    <a:pt x="671" y="291"/>
                    <a:pt x="671" y="291"/>
                    <a:pt x="671" y="321"/>
                  </a:cubicBezTo>
                  <a:cubicBezTo>
                    <a:pt x="729" y="321"/>
                    <a:pt x="729" y="321"/>
                    <a:pt x="729" y="321"/>
                  </a:cubicBezTo>
                  <a:lnTo>
                    <a:pt x="729" y="321"/>
                  </a:lnTo>
                  <a:cubicBezTo>
                    <a:pt x="758" y="321"/>
                    <a:pt x="758" y="350"/>
                    <a:pt x="787" y="378"/>
                  </a:cubicBezTo>
                  <a:lnTo>
                    <a:pt x="787" y="408"/>
                  </a:lnTo>
                  <a:cubicBezTo>
                    <a:pt x="817" y="437"/>
                    <a:pt x="846" y="466"/>
                    <a:pt x="904" y="466"/>
                  </a:cubicBezTo>
                  <a:cubicBezTo>
                    <a:pt x="934" y="466"/>
                    <a:pt x="963" y="466"/>
                    <a:pt x="963" y="495"/>
                  </a:cubicBezTo>
                  <a:cubicBezTo>
                    <a:pt x="992" y="525"/>
                    <a:pt x="1021" y="583"/>
                    <a:pt x="1021" y="612"/>
                  </a:cubicBezTo>
                  <a:cubicBezTo>
                    <a:pt x="1021" y="642"/>
                    <a:pt x="1021" y="642"/>
                    <a:pt x="992" y="671"/>
                  </a:cubicBezTo>
                  <a:cubicBezTo>
                    <a:pt x="992" y="671"/>
                    <a:pt x="992" y="671"/>
                    <a:pt x="992" y="699"/>
                  </a:cubicBezTo>
                  <a:cubicBezTo>
                    <a:pt x="963" y="728"/>
                    <a:pt x="963" y="758"/>
                    <a:pt x="992" y="787"/>
                  </a:cubicBezTo>
                  <a:cubicBezTo>
                    <a:pt x="1021" y="787"/>
                    <a:pt x="1021" y="787"/>
                    <a:pt x="1050" y="787"/>
                  </a:cubicBezTo>
                  <a:cubicBezTo>
                    <a:pt x="1079" y="787"/>
                    <a:pt x="1108" y="787"/>
                    <a:pt x="1137" y="816"/>
                  </a:cubicBezTo>
                  <a:cubicBezTo>
                    <a:pt x="1167" y="816"/>
                    <a:pt x="1167" y="816"/>
                    <a:pt x="1196" y="845"/>
                  </a:cubicBezTo>
                  <a:cubicBezTo>
                    <a:pt x="1225" y="845"/>
                    <a:pt x="1225" y="845"/>
                    <a:pt x="1254" y="845"/>
                  </a:cubicBezTo>
                  <a:cubicBezTo>
                    <a:pt x="1284" y="845"/>
                    <a:pt x="1342" y="875"/>
                    <a:pt x="1370" y="875"/>
                  </a:cubicBezTo>
                  <a:lnTo>
                    <a:pt x="1370" y="875"/>
                  </a:lnTo>
                  <a:lnTo>
                    <a:pt x="1400" y="875"/>
                  </a:lnTo>
                  <a:cubicBezTo>
                    <a:pt x="1313" y="845"/>
                    <a:pt x="1254" y="787"/>
                    <a:pt x="1254" y="758"/>
                  </a:cubicBezTo>
                  <a:cubicBezTo>
                    <a:pt x="1225" y="728"/>
                    <a:pt x="1225" y="728"/>
                    <a:pt x="1225" y="728"/>
                  </a:cubicBezTo>
                  <a:cubicBezTo>
                    <a:pt x="1254" y="728"/>
                    <a:pt x="1254" y="728"/>
                    <a:pt x="1254" y="728"/>
                  </a:cubicBezTo>
                  <a:cubicBezTo>
                    <a:pt x="1284" y="728"/>
                    <a:pt x="1284" y="699"/>
                    <a:pt x="1313" y="728"/>
                  </a:cubicBezTo>
                  <a:cubicBezTo>
                    <a:pt x="1313" y="699"/>
                    <a:pt x="1284" y="671"/>
                    <a:pt x="1284" y="642"/>
                  </a:cubicBezTo>
                  <a:cubicBezTo>
                    <a:pt x="1284" y="612"/>
                    <a:pt x="1284" y="612"/>
                    <a:pt x="1284" y="583"/>
                  </a:cubicBezTo>
                  <a:lnTo>
                    <a:pt x="1284" y="583"/>
                  </a:lnTo>
                  <a:lnTo>
                    <a:pt x="1284" y="583"/>
                  </a:lnTo>
                  <a:cubicBezTo>
                    <a:pt x="1284" y="554"/>
                    <a:pt x="1284" y="554"/>
                    <a:pt x="1284" y="554"/>
                  </a:cubicBezTo>
                  <a:cubicBezTo>
                    <a:pt x="1284" y="554"/>
                    <a:pt x="1254" y="525"/>
                    <a:pt x="1254" y="495"/>
                  </a:cubicBezTo>
                  <a:lnTo>
                    <a:pt x="1254" y="495"/>
                  </a:lnTo>
                  <a:cubicBezTo>
                    <a:pt x="1284" y="495"/>
                    <a:pt x="1284" y="495"/>
                    <a:pt x="1284" y="495"/>
                  </a:cubicBezTo>
                  <a:cubicBezTo>
                    <a:pt x="1284" y="495"/>
                    <a:pt x="1284" y="495"/>
                    <a:pt x="1284" y="466"/>
                  </a:cubicBezTo>
                  <a:lnTo>
                    <a:pt x="1284" y="466"/>
                  </a:lnTo>
                  <a:cubicBezTo>
                    <a:pt x="1284" y="466"/>
                    <a:pt x="1284" y="466"/>
                    <a:pt x="1284" y="437"/>
                  </a:cubicBezTo>
                  <a:lnTo>
                    <a:pt x="1254" y="408"/>
                  </a:lnTo>
                  <a:cubicBezTo>
                    <a:pt x="1254" y="378"/>
                    <a:pt x="1254" y="378"/>
                    <a:pt x="1254" y="378"/>
                  </a:cubicBezTo>
                  <a:lnTo>
                    <a:pt x="1254" y="378"/>
                  </a:lnTo>
                  <a:cubicBezTo>
                    <a:pt x="1225" y="350"/>
                    <a:pt x="1196" y="321"/>
                    <a:pt x="1225" y="291"/>
                  </a:cubicBezTo>
                  <a:cubicBezTo>
                    <a:pt x="1225" y="262"/>
                    <a:pt x="1225" y="262"/>
                    <a:pt x="1225" y="262"/>
                  </a:cubicBezTo>
                  <a:cubicBezTo>
                    <a:pt x="1254" y="262"/>
                    <a:pt x="1254" y="262"/>
                    <a:pt x="1254" y="262"/>
                  </a:cubicBezTo>
                  <a:lnTo>
                    <a:pt x="1254" y="262"/>
                  </a:lnTo>
                  <a:lnTo>
                    <a:pt x="1254" y="262"/>
                  </a:lnTo>
                  <a:cubicBezTo>
                    <a:pt x="1284" y="262"/>
                    <a:pt x="1284" y="262"/>
                    <a:pt x="1284" y="262"/>
                  </a:cubicBezTo>
                  <a:lnTo>
                    <a:pt x="1284" y="233"/>
                  </a:lnTo>
                  <a:lnTo>
                    <a:pt x="1313" y="233"/>
                  </a:lnTo>
                  <a:cubicBezTo>
                    <a:pt x="1313" y="204"/>
                    <a:pt x="1313" y="204"/>
                    <a:pt x="1342" y="204"/>
                  </a:cubicBezTo>
                  <a:lnTo>
                    <a:pt x="1342" y="204"/>
                  </a:lnTo>
                  <a:lnTo>
                    <a:pt x="1342" y="204"/>
                  </a:lnTo>
                  <a:lnTo>
                    <a:pt x="1342" y="204"/>
                  </a:lnTo>
                  <a:cubicBezTo>
                    <a:pt x="1342" y="175"/>
                    <a:pt x="1342" y="175"/>
                    <a:pt x="1342" y="175"/>
                  </a:cubicBezTo>
                  <a:cubicBezTo>
                    <a:pt x="1370" y="175"/>
                    <a:pt x="1370" y="175"/>
                    <a:pt x="1370" y="175"/>
                  </a:cubicBezTo>
                  <a:lnTo>
                    <a:pt x="1370" y="175"/>
                  </a:lnTo>
                  <a:cubicBezTo>
                    <a:pt x="1370" y="175"/>
                    <a:pt x="1370" y="175"/>
                    <a:pt x="1400" y="175"/>
                  </a:cubicBezTo>
                  <a:lnTo>
                    <a:pt x="1400" y="145"/>
                  </a:lnTo>
                  <a:cubicBezTo>
                    <a:pt x="1370" y="145"/>
                    <a:pt x="1370" y="145"/>
                    <a:pt x="1370" y="145"/>
                  </a:cubicBezTo>
                  <a:cubicBezTo>
                    <a:pt x="1370" y="116"/>
                    <a:pt x="1370" y="116"/>
                    <a:pt x="1370" y="116"/>
                  </a:cubicBezTo>
                  <a:cubicBezTo>
                    <a:pt x="1400" y="116"/>
                    <a:pt x="1400" y="116"/>
                    <a:pt x="1400" y="116"/>
                  </a:cubicBezTo>
                  <a:cubicBezTo>
                    <a:pt x="1400" y="87"/>
                    <a:pt x="1429" y="58"/>
                    <a:pt x="1458" y="58"/>
                  </a:cubicBezTo>
                  <a:cubicBezTo>
                    <a:pt x="1487" y="58"/>
                    <a:pt x="1487" y="58"/>
                    <a:pt x="1487" y="58"/>
                  </a:cubicBezTo>
                  <a:cubicBezTo>
                    <a:pt x="1487" y="87"/>
                    <a:pt x="1487" y="87"/>
                    <a:pt x="1487" y="87"/>
                  </a:cubicBezTo>
                  <a:lnTo>
                    <a:pt x="1487" y="87"/>
                  </a:lnTo>
                  <a:lnTo>
                    <a:pt x="1517" y="8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4" name="Freeform 161">
              <a:extLst>
                <a:ext uri="{FF2B5EF4-FFF2-40B4-BE49-F238E27FC236}">
                  <a16:creationId xmlns:a16="http://schemas.microsoft.com/office/drawing/2014/main" id="{9832585A-2DD9-4842-AFFA-04829F71D402}"/>
                </a:ext>
              </a:extLst>
            </p:cNvPr>
            <p:cNvSpPr>
              <a:spLocks noChangeArrowheads="1"/>
            </p:cNvSpPr>
            <p:nvPr/>
          </p:nvSpPr>
          <p:spPr bwMode="auto">
            <a:xfrm>
              <a:off x="10607085" y="2997188"/>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5" name="Freeform 162">
              <a:extLst>
                <a:ext uri="{FF2B5EF4-FFF2-40B4-BE49-F238E27FC236}">
                  <a16:creationId xmlns:a16="http://schemas.microsoft.com/office/drawing/2014/main" id="{59A5C873-8F1B-4882-9B74-D76A4027871B}"/>
                </a:ext>
              </a:extLst>
            </p:cNvPr>
            <p:cNvSpPr>
              <a:spLocks noChangeArrowheads="1"/>
            </p:cNvSpPr>
            <p:nvPr/>
          </p:nvSpPr>
          <p:spPr bwMode="auto">
            <a:xfrm>
              <a:off x="9873204" y="2505219"/>
              <a:ext cx="841516" cy="514626"/>
            </a:xfrm>
            <a:custGeom>
              <a:avLst/>
              <a:gdLst>
                <a:gd name="T0" fmla="*/ 2158 w 2276"/>
                <a:gd name="T1" fmla="*/ 933 h 1401"/>
                <a:gd name="T2" fmla="*/ 2158 w 2276"/>
                <a:gd name="T3" fmla="*/ 933 h 1401"/>
                <a:gd name="T4" fmla="*/ 2187 w 2276"/>
                <a:gd name="T5" fmla="*/ 933 h 1401"/>
                <a:gd name="T6" fmla="*/ 2217 w 2276"/>
                <a:gd name="T7" fmla="*/ 933 h 1401"/>
                <a:gd name="T8" fmla="*/ 2246 w 2276"/>
                <a:gd name="T9" fmla="*/ 816 h 1401"/>
                <a:gd name="T10" fmla="*/ 2187 w 2276"/>
                <a:gd name="T11" fmla="*/ 759 h 1401"/>
                <a:gd name="T12" fmla="*/ 2129 w 2276"/>
                <a:gd name="T13" fmla="*/ 700 h 1401"/>
                <a:gd name="T14" fmla="*/ 2100 w 2276"/>
                <a:gd name="T15" fmla="*/ 350 h 1401"/>
                <a:gd name="T16" fmla="*/ 2129 w 2276"/>
                <a:gd name="T17" fmla="*/ 321 h 1401"/>
                <a:gd name="T18" fmla="*/ 2158 w 2276"/>
                <a:gd name="T19" fmla="*/ 263 h 1401"/>
                <a:gd name="T20" fmla="*/ 2070 w 2276"/>
                <a:gd name="T21" fmla="*/ 233 h 1401"/>
                <a:gd name="T22" fmla="*/ 2041 w 2276"/>
                <a:gd name="T23" fmla="*/ 204 h 1401"/>
                <a:gd name="T24" fmla="*/ 2041 w 2276"/>
                <a:gd name="T25" fmla="*/ 175 h 1401"/>
                <a:gd name="T26" fmla="*/ 1808 w 2276"/>
                <a:gd name="T27" fmla="*/ 0 h 1401"/>
                <a:gd name="T28" fmla="*/ 1808 w 2276"/>
                <a:gd name="T29" fmla="*/ 0 h 1401"/>
                <a:gd name="T30" fmla="*/ 233 w 2276"/>
                <a:gd name="T31" fmla="*/ 321 h 1401"/>
                <a:gd name="T32" fmla="*/ 233 w 2276"/>
                <a:gd name="T33" fmla="*/ 321 h 1401"/>
                <a:gd name="T34" fmla="*/ 204 w 2276"/>
                <a:gd name="T35" fmla="*/ 292 h 1401"/>
                <a:gd name="T36" fmla="*/ 204 w 2276"/>
                <a:gd name="T37" fmla="*/ 263 h 1401"/>
                <a:gd name="T38" fmla="*/ 204 w 2276"/>
                <a:gd name="T39" fmla="*/ 233 h 1401"/>
                <a:gd name="T40" fmla="*/ 58 w 2276"/>
                <a:gd name="T41" fmla="*/ 321 h 1401"/>
                <a:gd name="T42" fmla="*/ 0 w 2276"/>
                <a:gd name="T43" fmla="*/ 380 h 1401"/>
                <a:gd name="T44" fmla="*/ 117 w 2276"/>
                <a:gd name="T45" fmla="*/ 1254 h 1401"/>
                <a:gd name="T46" fmla="*/ 146 w 2276"/>
                <a:gd name="T47" fmla="*/ 1400 h 1401"/>
                <a:gd name="T48" fmla="*/ 1925 w 2276"/>
                <a:gd name="T49" fmla="*/ 1109 h 1401"/>
                <a:gd name="T50" fmla="*/ 1983 w 2276"/>
                <a:gd name="T51" fmla="*/ 1109 h 1401"/>
                <a:gd name="T52" fmla="*/ 2041 w 2276"/>
                <a:gd name="T53" fmla="*/ 1109 h 1401"/>
                <a:gd name="T54" fmla="*/ 2100 w 2276"/>
                <a:gd name="T55" fmla="*/ 1021 h 1401"/>
                <a:gd name="T56" fmla="*/ 2158 w 2276"/>
                <a:gd name="T57" fmla="*/ 933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76" h="1401">
                  <a:moveTo>
                    <a:pt x="2158" y="933"/>
                  </a:moveTo>
                  <a:lnTo>
                    <a:pt x="2158" y="933"/>
                  </a:lnTo>
                  <a:lnTo>
                    <a:pt x="2187" y="933"/>
                  </a:lnTo>
                  <a:cubicBezTo>
                    <a:pt x="2217" y="933"/>
                    <a:pt x="2217" y="933"/>
                    <a:pt x="2217" y="933"/>
                  </a:cubicBezTo>
                  <a:cubicBezTo>
                    <a:pt x="2246" y="875"/>
                    <a:pt x="2275" y="846"/>
                    <a:pt x="2246" y="816"/>
                  </a:cubicBezTo>
                  <a:cubicBezTo>
                    <a:pt x="2246" y="788"/>
                    <a:pt x="2217" y="788"/>
                    <a:pt x="2187" y="759"/>
                  </a:cubicBezTo>
                  <a:cubicBezTo>
                    <a:pt x="2158" y="759"/>
                    <a:pt x="2129" y="730"/>
                    <a:pt x="2129" y="700"/>
                  </a:cubicBezTo>
                  <a:cubicBezTo>
                    <a:pt x="2070" y="613"/>
                    <a:pt x="2070" y="438"/>
                    <a:pt x="2100" y="350"/>
                  </a:cubicBezTo>
                  <a:lnTo>
                    <a:pt x="2129" y="321"/>
                  </a:lnTo>
                  <a:cubicBezTo>
                    <a:pt x="2158" y="292"/>
                    <a:pt x="2158" y="292"/>
                    <a:pt x="2158" y="263"/>
                  </a:cubicBezTo>
                  <a:cubicBezTo>
                    <a:pt x="2158" y="233"/>
                    <a:pt x="2100" y="233"/>
                    <a:pt x="2070" y="233"/>
                  </a:cubicBezTo>
                  <a:cubicBezTo>
                    <a:pt x="2041" y="204"/>
                    <a:pt x="2041" y="204"/>
                    <a:pt x="2041" y="204"/>
                  </a:cubicBezTo>
                  <a:cubicBezTo>
                    <a:pt x="2041" y="175"/>
                    <a:pt x="2041" y="175"/>
                    <a:pt x="2041" y="175"/>
                  </a:cubicBezTo>
                  <a:cubicBezTo>
                    <a:pt x="1983" y="117"/>
                    <a:pt x="1925" y="0"/>
                    <a:pt x="1808" y="0"/>
                  </a:cubicBezTo>
                  <a:lnTo>
                    <a:pt x="1808" y="0"/>
                  </a:lnTo>
                  <a:cubicBezTo>
                    <a:pt x="1341" y="88"/>
                    <a:pt x="758" y="204"/>
                    <a:pt x="233" y="321"/>
                  </a:cubicBezTo>
                  <a:lnTo>
                    <a:pt x="233" y="321"/>
                  </a:lnTo>
                  <a:cubicBezTo>
                    <a:pt x="204" y="292"/>
                    <a:pt x="204" y="292"/>
                    <a:pt x="204" y="292"/>
                  </a:cubicBezTo>
                  <a:lnTo>
                    <a:pt x="204" y="263"/>
                  </a:lnTo>
                  <a:cubicBezTo>
                    <a:pt x="204" y="233"/>
                    <a:pt x="204" y="233"/>
                    <a:pt x="204" y="233"/>
                  </a:cubicBezTo>
                  <a:cubicBezTo>
                    <a:pt x="146" y="263"/>
                    <a:pt x="117" y="292"/>
                    <a:pt x="58" y="321"/>
                  </a:cubicBezTo>
                  <a:cubicBezTo>
                    <a:pt x="29" y="350"/>
                    <a:pt x="29" y="350"/>
                    <a:pt x="0" y="380"/>
                  </a:cubicBezTo>
                  <a:cubicBezTo>
                    <a:pt x="29" y="671"/>
                    <a:pt x="87" y="963"/>
                    <a:pt x="117" y="1254"/>
                  </a:cubicBezTo>
                  <a:cubicBezTo>
                    <a:pt x="146" y="1400"/>
                    <a:pt x="146" y="1400"/>
                    <a:pt x="146" y="1400"/>
                  </a:cubicBezTo>
                  <a:cubicBezTo>
                    <a:pt x="729" y="1313"/>
                    <a:pt x="1370" y="1196"/>
                    <a:pt x="1925" y="1109"/>
                  </a:cubicBezTo>
                  <a:cubicBezTo>
                    <a:pt x="1953" y="1109"/>
                    <a:pt x="1953" y="1109"/>
                    <a:pt x="1983" y="1109"/>
                  </a:cubicBezTo>
                  <a:cubicBezTo>
                    <a:pt x="2012" y="1109"/>
                    <a:pt x="2041" y="1109"/>
                    <a:pt x="2041" y="1109"/>
                  </a:cubicBezTo>
                  <a:cubicBezTo>
                    <a:pt x="2070" y="1080"/>
                    <a:pt x="2070" y="1050"/>
                    <a:pt x="2100" y="1021"/>
                  </a:cubicBezTo>
                  <a:cubicBezTo>
                    <a:pt x="2100" y="992"/>
                    <a:pt x="2129" y="963"/>
                    <a:pt x="2158" y="93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6" name="Freeform 163">
              <a:extLst>
                <a:ext uri="{FF2B5EF4-FFF2-40B4-BE49-F238E27FC236}">
                  <a16:creationId xmlns:a16="http://schemas.microsoft.com/office/drawing/2014/main" id="{273F2416-45BD-4273-B9DA-6E704C07C8A4}"/>
                </a:ext>
              </a:extLst>
            </p:cNvPr>
            <p:cNvSpPr>
              <a:spLocks noChangeArrowheads="1"/>
            </p:cNvSpPr>
            <p:nvPr/>
          </p:nvSpPr>
          <p:spPr bwMode="auto">
            <a:xfrm>
              <a:off x="10660902" y="2922745"/>
              <a:ext cx="11416" cy="11329"/>
            </a:xfrm>
            <a:custGeom>
              <a:avLst/>
              <a:gdLst>
                <a:gd name="T0" fmla="*/ 29 w 30"/>
                <a:gd name="T1" fmla="*/ 28 h 29"/>
                <a:gd name="T2" fmla="*/ 29 w 30"/>
                <a:gd name="T3" fmla="*/ 28 h 29"/>
                <a:gd name="T4" fmla="*/ 29 w 30"/>
                <a:gd name="T5" fmla="*/ 28 h 29"/>
                <a:gd name="T6" fmla="*/ 0 w 30"/>
                <a:gd name="T7" fmla="*/ 0 h 29"/>
                <a:gd name="T8" fmla="*/ 0 w 30"/>
                <a:gd name="T9" fmla="*/ 28 h 29"/>
                <a:gd name="T10" fmla="*/ 29 w 30"/>
                <a:gd name="T11" fmla="*/ 28 h 29"/>
              </a:gdLst>
              <a:ahLst/>
              <a:cxnLst>
                <a:cxn ang="0">
                  <a:pos x="T0" y="T1"/>
                </a:cxn>
                <a:cxn ang="0">
                  <a:pos x="T2" y="T3"/>
                </a:cxn>
                <a:cxn ang="0">
                  <a:pos x="T4" y="T5"/>
                </a:cxn>
                <a:cxn ang="0">
                  <a:pos x="T6" y="T7"/>
                </a:cxn>
                <a:cxn ang="0">
                  <a:pos x="T8" y="T9"/>
                </a:cxn>
                <a:cxn ang="0">
                  <a:pos x="T10" y="T11"/>
                </a:cxn>
              </a:cxnLst>
              <a:rect l="0" t="0" r="r" b="b"/>
              <a:pathLst>
                <a:path w="30" h="29">
                  <a:moveTo>
                    <a:pt x="29" y="28"/>
                  </a:moveTo>
                  <a:lnTo>
                    <a:pt x="29" y="28"/>
                  </a:lnTo>
                  <a:lnTo>
                    <a:pt x="29" y="28"/>
                  </a:lnTo>
                  <a:cubicBezTo>
                    <a:pt x="0" y="0"/>
                    <a:pt x="0" y="0"/>
                    <a:pt x="0" y="0"/>
                  </a:cubicBezTo>
                  <a:lnTo>
                    <a:pt x="0" y="28"/>
                  </a:lnTo>
                  <a:cubicBezTo>
                    <a:pt x="0" y="28"/>
                    <a:pt x="0" y="28"/>
                    <a:pt x="29" y="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7" name="Freeform 164">
              <a:extLst>
                <a:ext uri="{FF2B5EF4-FFF2-40B4-BE49-F238E27FC236}">
                  <a16:creationId xmlns:a16="http://schemas.microsoft.com/office/drawing/2014/main" id="{B5416999-5D78-433D-8CA7-710E49FC43A9}"/>
                </a:ext>
              </a:extLst>
            </p:cNvPr>
            <p:cNvSpPr>
              <a:spLocks noChangeArrowheads="1"/>
            </p:cNvSpPr>
            <p:nvPr/>
          </p:nvSpPr>
          <p:spPr bwMode="auto">
            <a:xfrm>
              <a:off x="10618500" y="2953494"/>
              <a:ext cx="11416" cy="11328"/>
            </a:xfrm>
            <a:custGeom>
              <a:avLst/>
              <a:gdLst>
                <a:gd name="T0" fmla="*/ 29 w 30"/>
                <a:gd name="T1" fmla="*/ 29 h 30"/>
                <a:gd name="T2" fmla="*/ 29 w 30"/>
                <a:gd name="T3" fmla="*/ 29 h 30"/>
                <a:gd name="T4" fmla="*/ 29 w 30"/>
                <a:gd name="T5" fmla="*/ 0 h 30"/>
                <a:gd name="T6" fmla="*/ 0 w 30"/>
                <a:gd name="T7" fmla="*/ 29 h 30"/>
                <a:gd name="T8" fmla="*/ 29 w 30"/>
                <a:gd name="T9" fmla="*/ 0 h 30"/>
                <a:gd name="T10" fmla="*/ 29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29" y="29"/>
                  </a:moveTo>
                  <a:lnTo>
                    <a:pt x="29" y="29"/>
                  </a:lnTo>
                  <a:cubicBezTo>
                    <a:pt x="29" y="29"/>
                    <a:pt x="29" y="29"/>
                    <a:pt x="29" y="0"/>
                  </a:cubicBezTo>
                  <a:cubicBezTo>
                    <a:pt x="29" y="0"/>
                    <a:pt x="29" y="29"/>
                    <a:pt x="0" y="29"/>
                  </a:cubicBezTo>
                  <a:cubicBezTo>
                    <a:pt x="29" y="29"/>
                    <a:pt x="29" y="0"/>
                    <a:pt x="29" y="0"/>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8" name="Freeform 165">
              <a:extLst>
                <a:ext uri="{FF2B5EF4-FFF2-40B4-BE49-F238E27FC236}">
                  <a16:creationId xmlns:a16="http://schemas.microsoft.com/office/drawing/2014/main" id="{5C813F8E-2BE4-43FF-A0EB-733B1CF6706C}"/>
                </a:ext>
              </a:extLst>
            </p:cNvPr>
            <p:cNvSpPr>
              <a:spLocks noChangeArrowheads="1"/>
            </p:cNvSpPr>
            <p:nvPr/>
          </p:nvSpPr>
          <p:spPr bwMode="auto">
            <a:xfrm>
              <a:off x="8849033" y="2055326"/>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29" name="Freeform 166">
              <a:extLst>
                <a:ext uri="{FF2B5EF4-FFF2-40B4-BE49-F238E27FC236}">
                  <a16:creationId xmlns:a16="http://schemas.microsoft.com/office/drawing/2014/main" id="{ACE55E0D-5F8B-4821-908E-9A7B4A180DC2}"/>
                </a:ext>
              </a:extLst>
            </p:cNvPr>
            <p:cNvSpPr>
              <a:spLocks noChangeArrowheads="1"/>
            </p:cNvSpPr>
            <p:nvPr/>
          </p:nvSpPr>
          <p:spPr bwMode="auto">
            <a:xfrm>
              <a:off x="6574003" y="2526258"/>
              <a:ext cx="1208457" cy="577740"/>
            </a:xfrm>
            <a:custGeom>
              <a:avLst/>
              <a:gdLst>
                <a:gd name="T0" fmla="*/ 2888 w 3268"/>
                <a:gd name="T1" fmla="*/ 407 h 1575"/>
                <a:gd name="T2" fmla="*/ 2888 w 3268"/>
                <a:gd name="T3" fmla="*/ 407 h 1575"/>
                <a:gd name="T4" fmla="*/ 2800 w 3268"/>
                <a:gd name="T5" fmla="*/ 350 h 1575"/>
                <a:gd name="T6" fmla="*/ 2800 w 3268"/>
                <a:gd name="T7" fmla="*/ 350 h 1575"/>
                <a:gd name="T8" fmla="*/ 2742 w 3268"/>
                <a:gd name="T9" fmla="*/ 321 h 1575"/>
                <a:gd name="T10" fmla="*/ 2655 w 3268"/>
                <a:gd name="T11" fmla="*/ 291 h 1575"/>
                <a:gd name="T12" fmla="*/ 2626 w 3268"/>
                <a:gd name="T13" fmla="*/ 291 h 1575"/>
                <a:gd name="T14" fmla="*/ 2626 w 3268"/>
                <a:gd name="T15" fmla="*/ 291 h 1575"/>
                <a:gd name="T16" fmla="*/ 2596 w 3268"/>
                <a:gd name="T17" fmla="*/ 291 h 1575"/>
                <a:gd name="T18" fmla="*/ 2538 w 3268"/>
                <a:gd name="T19" fmla="*/ 291 h 1575"/>
                <a:gd name="T20" fmla="*/ 2509 w 3268"/>
                <a:gd name="T21" fmla="*/ 262 h 1575"/>
                <a:gd name="T22" fmla="*/ 2392 w 3268"/>
                <a:gd name="T23" fmla="*/ 291 h 1575"/>
                <a:gd name="T24" fmla="*/ 2305 w 3268"/>
                <a:gd name="T25" fmla="*/ 321 h 1575"/>
                <a:gd name="T26" fmla="*/ 2188 w 3268"/>
                <a:gd name="T27" fmla="*/ 291 h 1575"/>
                <a:gd name="T28" fmla="*/ 2129 w 3268"/>
                <a:gd name="T29" fmla="*/ 262 h 1575"/>
                <a:gd name="T30" fmla="*/ 1983 w 3268"/>
                <a:gd name="T31" fmla="*/ 233 h 1575"/>
                <a:gd name="T32" fmla="*/ 1838 w 3268"/>
                <a:gd name="T33" fmla="*/ 204 h 1575"/>
                <a:gd name="T34" fmla="*/ 1809 w 3268"/>
                <a:gd name="T35" fmla="*/ 174 h 1575"/>
                <a:gd name="T36" fmla="*/ 1779 w 3268"/>
                <a:gd name="T37" fmla="*/ 145 h 1575"/>
                <a:gd name="T38" fmla="*/ 1721 w 3268"/>
                <a:gd name="T39" fmla="*/ 145 h 1575"/>
                <a:gd name="T40" fmla="*/ 1692 w 3268"/>
                <a:gd name="T41" fmla="*/ 145 h 1575"/>
                <a:gd name="T42" fmla="*/ 1662 w 3268"/>
                <a:gd name="T43" fmla="*/ 116 h 1575"/>
                <a:gd name="T44" fmla="*/ 1605 w 3268"/>
                <a:gd name="T45" fmla="*/ 87 h 1575"/>
                <a:gd name="T46" fmla="*/ 1517 w 3268"/>
                <a:gd name="T47" fmla="*/ 87 h 1575"/>
                <a:gd name="T48" fmla="*/ 1459 w 3268"/>
                <a:gd name="T49" fmla="*/ 87 h 1575"/>
                <a:gd name="T50" fmla="*/ 846 w 3268"/>
                <a:gd name="T51" fmla="*/ 58 h 1575"/>
                <a:gd name="T52" fmla="*/ 88 w 3268"/>
                <a:gd name="T53" fmla="*/ 0 h 1575"/>
                <a:gd name="T54" fmla="*/ 0 w 3268"/>
                <a:gd name="T55" fmla="*/ 933 h 1575"/>
                <a:gd name="T56" fmla="*/ 409 w 3268"/>
                <a:gd name="T57" fmla="*/ 962 h 1575"/>
                <a:gd name="T58" fmla="*/ 759 w 3268"/>
                <a:gd name="T59" fmla="*/ 1021 h 1575"/>
                <a:gd name="T60" fmla="*/ 788 w 3268"/>
                <a:gd name="T61" fmla="*/ 1021 h 1575"/>
                <a:gd name="T62" fmla="*/ 788 w 3268"/>
                <a:gd name="T63" fmla="*/ 1050 h 1575"/>
                <a:gd name="T64" fmla="*/ 729 w 3268"/>
                <a:gd name="T65" fmla="*/ 1487 h 1575"/>
                <a:gd name="T66" fmla="*/ 3267 w 3268"/>
                <a:gd name="T67" fmla="*/ 1574 h 1575"/>
                <a:gd name="T68" fmla="*/ 3238 w 3268"/>
                <a:gd name="T69" fmla="*/ 1516 h 1575"/>
                <a:gd name="T70" fmla="*/ 3209 w 3268"/>
                <a:gd name="T71" fmla="*/ 1457 h 1575"/>
                <a:gd name="T72" fmla="*/ 3209 w 3268"/>
                <a:gd name="T73" fmla="*/ 1429 h 1575"/>
                <a:gd name="T74" fmla="*/ 3209 w 3268"/>
                <a:gd name="T75" fmla="*/ 1400 h 1575"/>
                <a:gd name="T76" fmla="*/ 3179 w 3268"/>
                <a:gd name="T77" fmla="*/ 1341 h 1575"/>
                <a:gd name="T78" fmla="*/ 3121 w 3268"/>
                <a:gd name="T79" fmla="*/ 1283 h 1575"/>
                <a:gd name="T80" fmla="*/ 3092 w 3268"/>
                <a:gd name="T81" fmla="*/ 1107 h 1575"/>
                <a:gd name="T82" fmla="*/ 3092 w 3268"/>
                <a:gd name="T83" fmla="*/ 991 h 1575"/>
                <a:gd name="T84" fmla="*/ 3062 w 3268"/>
                <a:gd name="T85" fmla="*/ 962 h 1575"/>
                <a:gd name="T86" fmla="*/ 3033 w 3268"/>
                <a:gd name="T87" fmla="*/ 904 h 1575"/>
                <a:gd name="T88" fmla="*/ 3004 w 3268"/>
                <a:gd name="T89" fmla="*/ 787 h 1575"/>
                <a:gd name="T90" fmla="*/ 3004 w 3268"/>
                <a:gd name="T91" fmla="*/ 757 h 1575"/>
                <a:gd name="T92" fmla="*/ 3004 w 3268"/>
                <a:gd name="T93" fmla="*/ 700 h 1575"/>
                <a:gd name="T94" fmla="*/ 3004 w 3268"/>
                <a:gd name="T95" fmla="*/ 671 h 1575"/>
                <a:gd name="T96" fmla="*/ 2976 w 3268"/>
                <a:gd name="T97" fmla="*/ 641 h 1575"/>
                <a:gd name="T98" fmla="*/ 2946 w 3268"/>
                <a:gd name="T99" fmla="*/ 612 h 1575"/>
                <a:gd name="T100" fmla="*/ 2946 w 3268"/>
                <a:gd name="T101" fmla="*/ 583 h 1575"/>
                <a:gd name="T102" fmla="*/ 2917 w 3268"/>
                <a:gd name="T103" fmla="*/ 524 h 1575"/>
                <a:gd name="T104" fmla="*/ 2888 w 3268"/>
                <a:gd name="T105" fmla="*/ 407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68" h="1575">
                  <a:moveTo>
                    <a:pt x="2888" y="407"/>
                  </a:moveTo>
                  <a:lnTo>
                    <a:pt x="2888" y="407"/>
                  </a:lnTo>
                  <a:cubicBezTo>
                    <a:pt x="2859" y="379"/>
                    <a:pt x="2829" y="379"/>
                    <a:pt x="2800" y="350"/>
                  </a:cubicBezTo>
                  <a:lnTo>
                    <a:pt x="2800" y="350"/>
                  </a:lnTo>
                  <a:cubicBezTo>
                    <a:pt x="2771" y="350"/>
                    <a:pt x="2771" y="350"/>
                    <a:pt x="2742" y="321"/>
                  </a:cubicBezTo>
                  <a:cubicBezTo>
                    <a:pt x="2712" y="321"/>
                    <a:pt x="2683" y="291"/>
                    <a:pt x="2655" y="291"/>
                  </a:cubicBezTo>
                  <a:cubicBezTo>
                    <a:pt x="2655" y="291"/>
                    <a:pt x="2655" y="291"/>
                    <a:pt x="2626" y="291"/>
                  </a:cubicBezTo>
                  <a:lnTo>
                    <a:pt x="2626" y="291"/>
                  </a:lnTo>
                  <a:lnTo>
                    <a:pt x="2596" y="291"/>
                  </a:lnTo>
                  <a:cubicBezTo>
                    <a:pt x="2567" y="291"/>
                    <a:pt x="2567" y="291"/>
                    <a:pt x="2538" y="291"/>
                  </a:cubicBezTo>
                  <a:cubicBezTo>
                    <a:pt x="2538" y="262"/>
                    <a:pt x="2509" y="262"/>
                    <a:pt x="2509" y="262"/>
                  </a:cubicBezTo>
                  <a:cubicBezTo>
                    <a:pt x="2479" y="262"/>
                    <a:pt x="2421" y="291"/>
                    <a:pt x="2392" y="291"/>
                  </a:cubicBezTo>
                  <a:cubicBezTo>
                    <a:pt x="2362" y="321"/>
                    <a:pt x="2333" y="321"/>
                    <a:pt x="2305" y="321"/>
                  </a:cubicBezTo>
                  <a:cubicBezTo>
                    <a:pt x="2246" y="321"/>
                    <a:pt x="2217" y="321"/>
                    <a:pt x="2188" y="291"/>
                  </a:cubicBezTo>
                  <a:cubicBezTo>
                    <a:pt x="2159" y="291"/>
                    <a:pt x="2129" y="262"/>
                    <a:pt x="2129" y="262"/>
                  </a:cubicBezTo>
                  <a:cubicBezTo>
                    <a:pt x="2071" y="262"/>
                    <a:pt x="2042" y="233"/>
                    <a:pt x="1983" y="233"/>
                  </a:cubicBezTo>
                  <a:cubicBezTo>
                    <a:pt x="1955" y="233"/>
                    <a:pt x="1896" y="204"/>
                    <a:pt x="1838" y="204"/>
                  </a:cubicBezTo>
                  <a:lnTo>
                    <a:pt x="1809" y="174"/>
                  </a:lnTo>
                  <a:cubicBezTo>
                    <a:pt x="1779" y="174"/>
                    <a:pt x="1779" y="145"/>
                    <a:pt x="1779" y="145"/>
                  </a:cubicBezTo>
                  <a:cubicBezTo>
                    <a:pt x="1750" y="145"/>
                    <a:pt x="1750" y="145"/>
                    <a:pt x="1721" y="145"/>
                  </a:cubicBezTo>
                  <a:cubicBezTo>
                    <a:pt x="1721" y="145"/>
                    <a:pt x="1721" y="145"/>
                    <a:pt x="1692" y="145"/>
                  </a:cubicBezTo>
                  <a:lnTo>
                    <a:pt x="1662" y="116"/>
                  </a:lnTo>
                  <a:cubicBezTo>
                    <a:pt x="1634" y="116"/>
                    <a:pt x="1634" y="116"/>
                    <a:pt x="1605" y="87"/>
                  </a:cubicBezTo>
                  <a:cubicBezTo>
                    <a:pt x="1576" y="87"/>
                    <a:pt x="1546" y="87"/>
                    <a:pt x="1517" y="87"/>
                  </a:cubicBezTo>
                  <a:cubicBezTo>
                    <a:pt x="1488" y="87"/>
                    <a:pt x="1459" y="87"/>
                    <a:pt x="1459" y="87"/>
                  </a:cubicBezTo>
                  <a:cubicBezTo>
                    <a:pt x="1226" y="58"/>
                    <a:pt x="1021" y="58"/>
                    <a:pt x="846" y="58"/>
                  </a:cubicBezTo>
                  <a:cubicBezTo>
                    <a:pt x="584" y="29"/>
                    <a:pt x="350" y="0"/>
                    <a:pt x="88" y="0"/>
                  </a:cubicBezTo>
                  <a:cubicBezTo>
                    <a:pt x="59" y="321"/>
                    <a:pt x="29" y="641"/>
                    <a:pt x="0" y="933"/>
                  </a:cubicBezTo>
                  <a:cubicBezTo>
                    <a:pt x="146" y="933"/>
                    <a:pt x="263" y="962"/>
                    <a:pt x="409" y="962"/>
                  </a:cubicBezTo>
                  <a:cubicBezTo>
                    <a:pt x="526" y="991"/>
                    <a:pt x="642" y="991"/>
                    <a:pt x="759" y="1021"/>
                  </a:cubicBezTo>
                  <a:cubicBezTo>
                    <a:pt x="788" y="1021"/>
                    <a:pt x="788" y="1021"/>
                    <a:pt x="788" y="1021"/>
                  </a:cubicBezTo>
                  <a:cubicBezTo>
                    <a:pt x="788" y="1050"/>
                    <a:pt x="788" y="1050"/>
                    <a:pt x="788" y="1050"/>
                  </a:cubicBezTo>
                  <a:cubicBezTo>
                    <a:pt x="759" y="1195"/>
                    <a:pt x="759" y="1341"/>
                    <a:pt x="729" y="1487"/>
                  </a:cubicBezTo>
                  <a:cubicBezTo>
                    <a:pt x="1662" y="1545"/>
                    <a:pt x="2509" y="1574"/>
                    <a:pt x="3267" y="1574"/>
                  </a:cubicBezTo>
                  <a:cubicBezTo>
                    <a:pt x="3267" y="1574"/>
                    <a:pt x="3238" y="1545"/>
                    <a:pt x="3238" y="1516"/>
                  </a:cubicBezTo>
                  <a:cubicBezTo>
                    <a:pt x="3209" y="1516"/>
                    <a:pt x="3209" y="1487"/>
                    <a:pt x="3209" y="1457"/>
                  </a:cubicBezTo>
                  <a:lnTo>
                    <a:pt x="3209" y="1429"/>
                  </a:lnTo>
                  <a:cubicBezTo>
                    <a:pt x="3209" y="1400"/>
                    <a:pt x="3209" y="1400"/>
                    <a:pt x="3209" y="1400"/>
                  </a:cubicBezTo>
                  <a:cubicBezTo>
                    <a:pt x="3209" y="1370"/>
                    <a:pt x="3179" y="1341"/>
                    <a:pt x="3179" y="1341"/>
                  </a:cubicBezTo>
                  <a:cubicBezTo>
                    <a:pt x="3150" y="1312"/>
                    <a:pt x="3121" y="1312"/>
                    <a:pt x="3121" y="1283"/>
                  </a:cubicBezTo>
                  <a:cubicBezTo>
                    <a:pt x="3092" y="1224"/>
                    <a:pt x="3092" y="1166"/>
                    <a:pt x="3092" y="1107"/>
                  </a:cubicBezTo>
                  <a:cubicBezTo>
                    <a:pt x="3092" y="1079"/>
                    <a:pt x="3092" y="1021"/>
                    <a:pt x="3092" y="991"/>
                  </a:cubicBezTo>
                  <a:cubicBezTo>
                    <a:pt x="3092" y="962"/>
                    <a:pt x="3092" y="962"/>
                    <a:pt x="3062" y="962"/>
                  </a:cubicBezTo>
                  <a:cubicBezTo>
                    <a:pt x="3062" y="933"/>
                    <a:pt x="3062" y="904"/>
                    <a:pt x="3033" y="904"/>
                  </a:cubicBezTo>
                  <a:cubicBezTo>
                    <a:pt x="3033" y="874"/>
                    <a:pt x="3033" y="845"/>
                    <a:pt x="3004" y="787"/>
                  </a:cubicBezTo>
                  <a:lnTo>
                    <a:pt x="3004" y="757"/>
                  </a:lnTo>
                  <a:cubicBezTo>
                    <a:pt x="3004" y="729"/>
                    <a:pt x="3004" y="700"/>
                    <a:pt x="3004" y="700"/>
                  </a:cubicBezTo>
                  <a:cubicBezTo>
                    <a:pt x="3004" y="700"/>
                    <a:pt x="3004" y="700"/>
                    <a:pt x="3004" y="671"/>
                  </a:cubicBezTo>
                  <a:cubicBezTo>
                    <a:pt x="2976" y="671"/>
                    <a:pt x="2976" y="671"/>
                    <a:pt x="2976" y="641"/>
                  </a:cubicBezTo>
                  <a:cubicBezTo>
                    <a:pt x="2946" y="641"/>
                    <a:pt x="2946" y="612"/>
                    <a:pt x="2946" y="612"/>
                  </a:cubicBezTo>
                  <a:lnTo>
                    <a:pt x="2946" y="583"/>
                  </a:lnTo>
                  <a:cubicBezTo>
                    <a:pt x="2946" y="554"/>
                    <a:pt x="2946" y="554"/>
                    <a:pt x="2917" y="524"/>
                  </a:cubicBezTo>
                  <a:cubicBezTo>
                    <a:pt x="2917" y="495"/>
                    <a:pt x="2888" y="466"/>
                    <a:pt x="2888" y="4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0" name="Freeform 167">
              <a:extLst>
                <a:ext uri="{FF2B5EF4-FFF2-40B4-BE49-F238E27FC236}">
                  <a16:creationId xmlns:a16="http://schemas.microsoft.com/office/drawing/2014/main" id="{1162AADB-391E-4C9F-9C7D-4A1A3A4B7E07}"/>
                </a:ext>
              </a:extLst>
            </p:cNvPr>
            <p:cNvSpPr>
              <a:spLocks noChangeArrowheads="1"/>
            </p:cNvSpPr>
            <p:nvPr/>
          </p:nvSpPr>
          <p:spPr bwMode="auto">
            <a:xfrm>
              <a:off x="6800691" y="3092670"/>
              <a:ext cx="1089405" cy="568030"/>
            </a:xfrm>
            <a:custGeom>
              <a:avLst/>
              <a:gdLst>
                <a:gd name="T0" fmla="*/ 2829 w 2947"/>
                <a:gd name="T1" fmla="*/ 262 h 1547"/>
                <a:gd name="T2" fmla="*/ 2829 w 2947"/>
                <a:gd name="T3" fmla="*/ 262 h 1547"/>
                <a:gd name="T4" fmla="*/ 2858 w 2947"/>
                <a:gd name="T5" fmla="*/ 233 h 1547"/>
                <a:gd name="T6" fmla="*/ 2683 w 2947"/>
                <a:gd name="T7" fmla="*/ 88 h 1547"/>
                <a:gd name="T8" fmla="*/ 2625 w 2947"/>
                <a:gd name="T9" fmla="*/ 88 h 1547"/>
                <a:gd name="T10" fmla="*/ 2596 w 2947"/>
                <a:gd name="T11" fmla="*/ 88 h 1547"/>
                <a:gd name="T12" fmla="*/ 2537 w 2947"/>
                <a:gd name="T13" fmla="*/ 88 h 1547"/>
                <a:gd name="T14" fmla="*/ 2537 w 2947"/>
                <a:gd name="T15" fmla="*/ 88 h 1547"/>
                <a:gd name="T16" fmla="*/ 2275 w 2947"/>
                <a:gd name="T17" fmla="*/ 88 h 1547"/>
                <a:gd name="T18" fmla="*/ 2070 w 2947"/>
                <a:gd name="T19" fmla="*/ 88 h 1547"/>
                <a:gd name="T20" fmla="*/ 729 w 2947"/>
                <a:gd name="T21" fmla="*/ 29 h 1547"/>
                <a:gd name="T22" fmla="*/ 116 w 2947"/>
                <a:gd name="T23" fmla="*/ 0 h 1547"/>
                <a:gd name="T24" fmla="*/ 58 w 2947"/>
                <a:gd name="T25" fmla="*/ 555 h 1547"/>
                <a:gd name="T26" fmla="*/ 0 w 2947"/>
                <a:gd name="T27" fmla="*/ 1459 h 1547"/>
                <a:gd name="T28" fmla="*/ 1049 w 2947"/>
                <a:gd name="T29" fmla="*/ 1488 h 1547"/>
                <a:gd name="T30" fmla="*/ 1342 w 2947"/>
                <a:gd name="T31" fmla="*/ 1517 h 1547"/>
                <a:gd name="T32" fmla="*/ 1925 w 2947"/>
                <a:gd name="T33" fmla="*/ 1517 h 1547"/>
                <a:gd name="T34" fmla="*/ 2099 w 2947"/>
                <a:gd name="T35" fmla="*/ 1517 h 1547"/>
                <a:gd name="T36" fmla="*/ 2713 w 2947"/>
                <a:gd name="T37" fmla="*/ 1546 h 1547"/>
                <a:gd name="T38" fmla="*/ 2946 w 2947"/>
                <a:gd name="T39" fmla="*/ 1546 h 1547"/>
                <a:gd name="T40" fmla="*/ 2916 w 2947"/>
                <a:gd name="T41" fmla="*/ 700 h 1547"/>
                <a:gd name="T42" fmla="*/ 2916 w 2947"/>
                <a:gd name="T43" fmla="*/ 642 h 1547"/>
                <a:gd name="T44" fmla="*/ 2916 w 2947"/>
                <a:gd name="T45" fmla="*/ 555 h 1547"/>
                <a:gd name="T46" fmla="*/ 2887 w 2947"/>
                <a:gd name="T47" fmla="*/ 526 h 1547"/>
                <a:gd name="T48" fmla="*/ 2858 w 2947"/>
                <a:gd name="T49" fmla="*/ 526 h 1547"/>
                <a:gd name="T50" fmla="*/ 2799 w 2947"/>
                <a:gd name="T51" fmla="*/ 321 h 1547"/>
                <a:gd name="T52" fmla="*/ 2829 w 2947"/>
                <a:gd name="T53" fmla="*/ 262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7" h="1547">
                  <a:moveTo>
                    <a:pt x="2829" y="262"/>
                  </a:moveTo>
                  <a:lnTo>
                    <a:pt x="2829" y="262"/>
                  </a:lnTo>
                  <a:cubicBezTo>
                    <a:pt x="2858" y="262"/>
                    <a:pt x="2858" y="233"/>
                    <a:pt x="2858" y="233"/>
                  </a:cubicBezTo>
                  <a:cubicBezTo>
                    <a:pt x="2858" y="205"/>
                    <a:pt x="2713" y="117"/>
                    <a:pt x="2683" y="88"/>
                  </a:cubicBezTo>
                  <a:cubicBezTo>
                    <a:pt x="2654" y="88"/>
                    <a:pt x="2654" y="88"/>
                    <a:pt x="2625" y="88"/>
                  </a:cubicBezTo>
                  <a:cubicBezTo>
                    <a:pt x="2596" y="88"/>
                    <a:pt x="2596" y="88"/>
                    <a:pt x="2596" y="88"/>
                  </a:cubicBezTo>
                  <a:cubicBezTo>
                    <a:pt x="2566" y="88"/>
                    <a:pt x="2566" y="88"/>
                    <a:pt x="2537" y="88"/>
                  </a:cubicBezTo>
                  <a:lnTo>
                    <a:pt x="2537" y="88"/>
                  </a:lnTo>
                  <a:cubicBezTo>
                    <a:pt x="2449" y="88"/>
                    <a:pt x="2363" y="88"/>
                    <a:pt x="2275" y="88"/>
                  </a:cubicBezTo>
                  <a:cubicBezTo>
                    <a:pt x="2187" y="88"/>
                    <a:pt x="2129" y="88"/>
                    <a:pt x="2070" y="88"/>
                  </a:cubicBezTo>
                  <a:cubicBezTo>
                    <a:pt x="1633" y="88"/>
                    <a:pt x="1166" y="59"/>
                    <a:pt x="729" y="29"/>
                  </a:cubicBezTo>
                  <a:cubicBezTo>
                    <a:pt x="525" y="29"/>
                    <a:pt x="321" y="0"/>
                    <a:pt x="116" y="0"/>
                  </a:cubicBezTo>
                  <a:cubicBezTo>
                    <a:pt x="87" y="176"/>
                    <a:pt x="87" y="379"/>
                    <a:pt x="58" y="555"/>
                  </a:cubicBezTo>
                  <a:cubicBezTo>
                    <a:pt x="29" y="846"/>
                    <a:pt x="0" y="1167"/>
                    <a:pt x="0" y="1459"/>
                  </a:cubicBezTo>
                  <a:cubicBezTo>
                    <a:pt x="349" y="1459"/>
                    <a:pt x="699" y="1488"/>
                    <a:pt x="1049" y="1488"/>
                  </a:cubicBezTo>
                  <a:cubicBezTo>
                    <a:pt x="1137" y="1488"/>
                    <a:pt x="1254" y="1517"/>
                    <a:pt x="1342" y="1517"/>
                  </a:cubicBezTo>
                  <a:cubicBezTo>
                    <a:pt x="1546" y="1517"/>
                    <a:pt x="1720" y="1517"/>
                    <a:pt x="1925" y="1517"/>
                  </a:cubicBezTo>
                  <a:cubicBezTo>
                    <a:pt x="1983" y="1517"/>
                    <a:pt x="2042" y="1517"/>
                    <a:pt x="2099" y="1517"/>
                  </a:cubicBezTo>
                  <a:cubicBezTo>
                    <a:pt x="2275" y="1546"/>
                    <a:pt x="2508" y="1546"/>
                    <a:pt x="2713" y="1546"/>
                  </a:cubicBezTo>
                  <a:cubicBezTo>
                    <a:pt x="2799" y="1546"/>
                    <a:pt x="2858" y="1546"/>
                    <a:pt x="2946" y="1546"/>
                  </a:cubicBezTo>
                  <a:cubicBezTo>
                    <a:pt x="2916" y="1283"/>
                    <a:pt x="2916" y="962"/>
                    <a:pt x="2916" y="700"/>
                  </a:cubicBezTo>
                  <a:cubicBezTo>
                    <a:pt x="2916" y="671"/>
                    <a:pt x="2916" y="642"/>
                    <a:pt x="2916" y="642"/>
                  </a:cubicBezTo>
                  <a:cubicBezTo>
                    <a:pt x="2916" y="612"/>
                    <a:pt x="2916" y="583"/>
                    <a:pt x="2916" y="555"/>
                  </a:cubicBezTo>
                  <a:cubicBezTo>
                    <a:pt x="2916" y="555"/>
                    <a:pt x="2916" y="555"/>
                    <a:pt x="2887" y="526"/>
                  </a:cubicBezTo>
                  <a:lnTo>
                    <a:pt x="2858" y="526"/>
                  </a:lnTo>
                  <a:cubicBezTo>
                    <a:pt x="2829" y="467"/>
                    <a:pt x="2799" y="379"/>
                    <a:pt x="2799" y="321"/>
                  </a:cubicBezTo>
                  <a:cubicBezTo>
                    <a:pt x="2829" y="292"/>
                    <a:pt x="2829" y="292"/>
                    <a:pt x="2829" y="26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1" name="Freeform 168">
              <a:extLst>
                <a:ext uri="{FF2B5EF4-FFF2-40B4-BE49-F238E27FC236}">
                  <a16:creationId xmlns:a16="http://schemas.microsoft.com/office/drawing/2014/main" id="{00CE7D0F-70D7-4A5C-A97B-4B41C2ABDC7C}"/>
                </a:ext>
              </a:extLst>
            </p:cNvPr>
            <p:cNvSpPr>
              <a:spLocks noChangeArrowheads="1"/>
            </p:cNvSpPr>
            <p:nvPr/>
          </p:nvSpPr>
          <p:spPr bwMode="auto">
            <a:xfrm>
              <a:off x="5603651" y="2022960"/>
              <a:ext cx="1024171" cy="835053"/>
            </a:xfrm>
            <a:custGeom>
              <a:avLst/>
              <a:gdLst>
                <a:gd name="T0" fmla="*/ 408 w 2771"/>
                <a:gd name="T1" fmla="*/ 0 h 2275"/>
                <a:gd name="T2" fmla="*/ 408 w 2771"/>
                <a:gd name="T3" fmla="*/ 0 h 2275"/>
                <a:gd name="T4" fmla="*/ 0 w 2771"/>
                <a:gd name="T5" fmla="*/ 1924 h 2275"/>
                <a:gd name="T6" fmla="*/ 2566 w 2771"/>
                <a:gd name="T7" fmla="*/ 2274 h 2275"/>
                <a:gd name="T8" fmla="*/ 2712 w 2771"/>
                <a:gd name="T9" fmla="*/ 961 h 2275"/>
                <a:gd name="T10" fmla="*/ 2770 w 2771"/>
                <a:gd name="T11" fmla="*/ 350 h 2275"/>
                <a:gd name="T12" fmla="*/ 408 w 2771"/>
                <a:gd name="T13" fmla="*/ 0 h 2275"/>
              </a:gdLst>
              <a:ahLst/>
              <a:cxnLst>
                <a:cxn ang="0">
                  <a:pos x="T0" y="T1"/>
                </a:cxn>
                <a:cxn ang="0">
                  <a:pos x="T2" y="T3"/>
                </a:cxn>
                <a:cxn ang="0">
                  <a:pos x="T4" y="T5"/>
                </a:cxn>
                <a:cxn ang="0">
                  <a:pos x="T6" y="T7"/>
                </a:cxn>
                <a:cxn ang="0">
                  <a:pos x="T8" y="T9"/>
                </a:cxn>
                <a:cxn ang="0">
                  <a:pos x="T10" y="T11"/>
                </a:cxn>
                <a:cxn ang="0">
                  <a:pos x="T12" y="T13"/>
                </a:cxn>
              </a:cxnLst>
              <a:rect l="0" t="0" r="r" b="b"/>
              <a:pathLst>
                <a:path w="2771" h="2275">
                  <a:moveTo>
                    <a:pt x="408" y="0"/>
                  </a:moveTo>
                  <a:lnTo>
                    <a:pt x="408" y="0"/>
                  </a:lnTo>
                  <a:cubicBezTo>
                    <a:pt x="262" y="700"/>
                    <a:pt x="117" y="1311"/>
                    <a:pt x="0" y="1924"/>
                  </a:cubicBezTo>
                  <a:cubicBezTo>
                    <a:pt x="729" y="2070"/>
                    <a:pt x="1545" y="2186"/>
                    <a:pt x="2566" y="2274"/>
                  </a:cubicBezTo>
                  <a:cubicBezTo>
                    <a:pt x="2595" y="1836"/>
                    <a:pt x="2653" y="1399"/>
                    <a:pt x="2712" y="961"/>
                  </a:cubicBezTo>
                  <a:cubicBezTo>
                    <a:pt x="2741" y="757"/>
                    <a:pt x="2770" y="554"/>
                    <a:pt x="2770" y="350"/>
                  </a:cubicBezTo>
                  <a:cubicBezTo>
                    <a:pt x="1924" y="262"/>
                    <a:pt x="1167" y="145"/>
                    <a:pt x="40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2" name="Freeform 169">
              <a:extLst>
                <a:ext uri="{FF2B5EF4-FFF2-40B4-BE49-F238E27FC236}">
                  <a16:creationId xmlns:a16="http://schemas.microsoft.com/office/drawing/2014/main" id="{507A3F19-411E-489B-9321-5F391319EE5C}"/>
                </a:ext>
              </a:extLst>
            </p:cNvPr>
            <p:cNvSpPr>
              <a:spLocks noChangeArrowheads="1"/>
            </p:cNvSpPr>
            <p:nvPr/>
          </p:nvSpPr>
          <p:spPr bwMode="auto">
            <a:xfrm>
              <a:off x="8762598" y="2270563"/>
              <a:ext cx="11416" cy="42076"/>
            </a:xfrm>
            <a:custGeom>
              <a:avLst/>
              <a:gdLst>
                <a:gd name="T0" fmla="*/ 0 w 30"/>
                <a:gd name="T1" fmla="*/ 115 h 116"/>
                <a:gd name="T2" fmla="*/ 0 w 30"/>
                <a:gd name="T3" fmla="*/ 115 h 116"/>
                <a:gd name="T4" fmla="*/ 0 w 30"/>
                <a:gd name="T5" fmla="*/ 115 h 116"/>
                <a:gd name="T6" fmla="*/ 0 w 30"/>
                <a:gd name="T7" fmla="*/ 86 h 116"/>
                <a:gd name="T8" fmla="*/ 0 w 30"/>
                <a:gd name="T9" fmla="*/ 86 h 116"/>
                <a:gd name="T10" fmla="*/ 0 w 30"/>
                <a:gd name="T11" fmla="*/ 115 h 116"/>
                <a:gd name="T12" fmla="*/ 0 w 30"/>
                <a:gd name="T13" fmla="*/ 115 h 116"/>
                <a:gd name="T14" fmla="*/ 29 w 30"/>
                <a:gd name="T15" fmla="*/ 29 h 116"/>
                <a:gd name="T16" fmla="*/ 29 w 30"/>
                <a:gd name="T17" fmla="*/ 0 h 116"/>
                <a:gd name="T18" fmla="*/ 29 w 30"/>
                <a:gd name="T19" fmla="*/ 0 h 116"/>
                <a:gd name="T20" fmla="*/ 29 w 30"/>
                <a:gd name="T21" fmla="*/ 29 h 116"/>
                <a:gd name="T22" fmla="*/ 0 w 30"/>
                <a:gd name="T23"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116">
                  <a:moveTo>
                    <a:pt x="0" y="115"/>
                  </a:moveTo>
                  <a:lnTo>
                    <a:pt x="0" y="115"/>
                  </a:lnTo>
                  <a:lnTo>
                    <a:pt x="0" y="115"/>
                  </a:lnTo>
                  <a:cubicBezTo>
                    <a:pt x="0" y="115"/>
                    <a:pt x="0" y="115"/>
                    <a:pt x="0" y="86"/>
                  </a:cubicBezTo>
                  <a:lnTo>
                    <a:pt x="0" y="86"/>
                  </a:lnTo>
                  <a:cubicBezTo>
                    <a:pt x="0" y="115"/>
                    <a:pt x="0" y="115"/>
                    <a:pt x="0" y="115"/>
                  </a:cubicBezTo>
                  <a:lnTo>
                    <a:pt x="0" y="115"/>
                  </a:lnTo>
                  <a:lnTo>
                    <a:pt x="29" y="29"/>
                  </a:lnTo>
                  <a:cubicBezTo>
                    <a:pt x="29" y="0"/>
                    <a:pt x="29" y="0"/>
                    <a:pt x="29" y="0"/>
                  </a:cubicBezTo>
                  <a:lnTo>
                    <a:pt x="29" y="0"/>
                  </a:lnTo>
                  <a:cubicBezTo>
                    <a:pt x="29" y="0"/>
                    <a:pt x="29" y="0"/>
                    <a:pt x="29" y="29"/>
                  </a:cubicBezTo>
                  <a:lnTo>
                    <a:pt x="0" y="11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3" name="Freeform 170">
              <a:extLst>
                <a:ext uri="{FF2B5EF4-FFF2-40B4-BE49-F238E27FC236}">
                  <a16:creationId xmlns:a16="http://schemas.microsoft.com/office/drawing/2014/main" id="{011A9F49-DD5E-4E94-A42D-C5161EA438A1}"/>
                </a:ext>
              </a:extLst>
            </p:cNvPr>
            <p:cNvSpPr>
              <a:spLocks noChangeArrowheads="1"/>
            </p:cNvSpPr>
            <p:nvPr/>
          </p:nvSpPr>
          <p:spPr bwMode="auto">
            <a:xfrm>
              <a:off x="7642208" y="2493891"/>
              <a:ext cx="883918" cy="568030"/>
            </a:xfrm>
            <a:custGeom>
              <a:avLst/>
              <a:gdLst>
                <a:gd name="T0" fmla="*/ 1749 w 2391"/>
                <a:gd name="T1" fmla="*/ 0 h 1546"/>
                <a:gd name="T2" fmla="*/ 1749 w 2391"/>
                <a:gd name="T3" fmla="*/ 0 h 1546"/>
                <a:gd name="T4" fmla="*/ 1690 w 2391"/>
                <a:gd name="T5" fmla="*/ 0 h 1546"/>
                <a:gd name="T6" fmla="*/ 1690 w 2391"/>
                <a:gd name="T7" fmla="*/ 0 h 1546"/>
                <a:gd name="T8" fmla="*/ 1194 w 2391"/>
                <a:gd name="T9" fmla="*/ 0 h 1546"/>
                <a:gd name="T10" fmla="*/ 845 w 2391"/>
                <a:gd name="T11" fmla="*/ 0 h 1546"/>
                <a:gd name="T12" fmla="*/ 495 w 2391"/>
                <a:gd name="T13" fmla="*/ 0 h 1546"/>
                <a:gd name="T14" fmla="*/ 0 w 2391"/>
                <a:gd name="T15" fmla="*/ 0 h 1546"/>
                <a:gd name="T16" fmla="*/ 29 w 2391"/>
                <a:gd name="T17" fmla="*/ 262 h 1546"/>
                <a:gd name="T18" fmla="*/ 29 w 2391"/>
                <a:gd name="T19" fmla="*/ 409 h 1546"/>
                <a:gd name="T20" fmla="*/ 58 w 2391"/>
                <a:gd name="T21" fmla="*/ 438 h 1546"/>
                <a:gd name="T22" fmla="*/ 58 w 2391"/>
                <a:gd name="T23" fmla="*/ 495 h 1546"/>
                <a:gd name="T24" fmla="*/ 58 w 2391"/>
                <a:gd name="T25" fmla="*/ 525 h 1546"/>
                <a:gd name="T26" fmla="*/ 58 w 2391"/>
                <a:gd name="T27" fmla="*/ 554 h 1546"/>
                <a:gd name="T28" fmla="*/ 88 w 2391"/>
                <a:gd name="T29" fmla="*/ 612 h 1546"/>
                <a:gd name="T30" fmla="*/ 116 w 2391"/>
                <a:gd name="T31" fmla="*/ 729 h 1546"/>
                <a:gd name="T32" fmla="*/ 174 w 2391"/>
                <a:gd name="T33" fmla="*/ 875 h 1546"/>
                <a:gd name="T34" fmla="*/ 204 w 2391"/>
                <a:gd name="T35" fmla="*/ 992 h 1546"/>
                <a:gd name="T36" fmla="*/ 233 w 2391"/>
                <a:gd name="T37" fmla="*/ 1021 h 1546"/>
                <a:gd name="T38" fmla="*/ 262 w 2391"/>
                <a:gd name="T39" fmla="*/ 1079 h 1546"/>
                <a:gd name="T40" fmla="*/ 262 w 2391"/>
                <a:gd name="T41" fmla="*/ 1195 h 1546"/>
                <a:gd name="T42" fmla="*/ 262 w 2391"/>
                <a:gd name="T43" fmla="*/ 1342 h 1546"/>
                <a:gd name="T44" fmla="*/ 350 w 2391"/>
                <a:gd name="T45" fmla="*/ 1429 h 1546"/>
                <a:gd name="T46" fmla="*/ 408 w 2391"/>
                <a:gd name="T47" fmla="*/ 1429 h 1546"/>
                <a:gd name="T48" fmla="*/ 438 w 2391"/>
                <a:gd name="T49" fmla="*/ 1429 h 1546"/>
                <a:gd name="T50" fmla="*/ 495 w 2391"/>
                <a:gd name="T51" fmla="*/ 1429 h 1546"/>
                <a:gd name="T52" fmla="*/ 1573 w 2391"/>
                <a:gd name="T53" fmla="*/ 1400 h 1546"/>
                <a:gd name="T54" fmla="*/ 1632 w 2391"/>
                <a:gd name="T55" fmla="*/ 1400 h 1546"/>
                <a:gd name="T56" fmla="*/ 1690 w 2391"/>
                <a:gd name="T57" fmla="*/ 1400 h 1546"/>
                <a:gd name="T58" fmla="*/ 1778 w 2391"/>
                <a:gd name="T59" fmla="*/ 1400 h 1546"/>
                <a:gd name="T60" fmla="*/ 1836 w 2391"/>
                <a:gd name="T61" fmla="*/ 1429 h 1546"/>
                <a:gd name="T62" fmla="*/ 1836 w 2391"/>
                <a:gd name="T63" fmla="*/ 1458 h 1546"/>
                <a:gd name="T64" fmla="*/ 1865 w 2391"/>
                <a:gd name="T65" fmla="*/ 1488 h 1546"/>
                <a:gd name="T66" fmla="*/ 1894 w 2391"/>
                <a:gd name="T67" fmla="*/ 1488 h 1546"/>
                <a:gd name="T68" fmla="*/ 1923 w 2391"/>
                <a:gd name="T69" fmla="*/ 1517 h 1546"/>
                <a:gd name="T70" fmla="*/ 1923 w 2391"/>
                <a:gd name="T71" fmla="*/ 1545 h 1546"/>
                <a:gd name="T72" fmla="*/ 1982 w 2391"/>
                <a:gd name="T73" fmla="*/ 1342 h 1546"/>
                <a:gd name="T74" fmla="*/ 2011 w 2391"/>
                <a:gd name="T75" fmla="*/ 1312 h 1546"/>
                <a:gd name="T76" fmla="*/ 2040 w 2391"/>
                <a:gd name="T77" fmla="*/ 1254 h 1546"/>
                <a:gd name="T78" fmla="*/ 2070 w 2391"/>
                <a:gd name="T79" fmla="*/ 1167 h 1546"/>
                <a:gd name="T80" fmla="*/ 2070 w 2391"/>
                <a:gd name="T81" fmla="*/ 1050 h 1546"/>
                <a:gd name="T82" fmla="*/ 2128 w 2391"/>
                <a:gd name="T83" fmla="*/ 1021 h 1546"/>
                <a:gd name="T84" fmla="*/ 2157 w 2391"/>
                <a:gd name="T85" fmla="*/ 992 h 1546"/>
                <a:gd name="T86" fmla="*/ 2157 w 2391"/>
                <a:gd name="T87" fmla="*/ 992 h 1546"/>
                <a:gd name="T88" fmla="*/ 2186 w 2391"/>
                <a:gd name="T89" fmla="*/ 962 h 1546"/>
                <a:gd name="T90" fmla="*/ 2361 w 2391"/>
                <a:gd name="T91" fmla="*/ 729 h 1546"/>
                <a:gd name="T92" fmla="*/ 2332 w 2391"/>
                <a:gd name="T93" fmla="*/ 729 h 1546"/>
                <a:gd name="T94" fmla="*/ 2303 w 2391"/>
                <a:gd name="T95" fmla="*/ 700 h 1546"/>
                <a:gd name="T96" fmla="*/ 2273 w 2391"/>
                <a:gd name="T97" fmla="*/ 642 h 1546"/>
                <a:gd name="T98" fmla="*/ 2244 w 2391"/>
                <a:gd name="T99" fmla="*/ 554 h 1546"/>
                <a:gd name="T100" fmla="*/ 2128 w 2391"/>
                <a:gd name="T101" fmla="*/ 495 h 1546"/>
                <a:gd name="T102" fmla="*/ 2070 w 2391"/>
                <a:gd name="T103" fmla="*/ 438 h 1546"/>
                <a:gd name="T104" fmla="*/ 1923 w 2391"/>
                <a:gd name="T105" fmla="*/ 204 h 1546"/>
                <a:gd name="T106" fmla="*/ 1953 w 2391"/>
                <a:gd name="T107" fmla="*/ 146 h 1546"/>
                <a:gd name="T108" fmla="*/ 1953 w 2391"/>
                <a:gd name="T109" fmla="*/ 59 h 1546"/>
                <a:gd name="T110" fmla="*/ 1923 w 2391"/>
                <a:gd name="T111" fmla="*/ 0 h 1546"/>
                <a:gd name="T112" fmla="*/ 1836 w 2391"/>
                <a:gd name="T113" fmla="*/ 0 h 1546"/>
                <a:gd name="T114" fmla="*/ 1749 w 2391"/>
                <a:gd name="T115" fmla="*/ 0 h 1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91" h="1546">
                  <a:moveTo>
                    <a:pt x="1749" y="0"/>
                  </a:moveTo>
                  <a:lnTo>
                    <a:pt x="1749" y="0"/>
                  </a:lnTo>
                  <a:cubicBezTo>
                    <a:pt x="1720" y="0"/>
                    <a:pt x="1720" y="0"/>
                    <a:pt x="1690" y="0"/>
                  </a:cubicBezTo>
                  <a:lnTo>
                    <a:pt x="1690" y="0"/>
                  </a:lnTo>
                  <a:cubicBezTo>
                    <a:pt x="1573" y="0"/>
                    <a:pt x="1399" y="0"/>
                    <a:pt x="1194" y="0"/>
                  </a:cubicBezTo>
                  <a:cubicBezTo>
                    <a:pt x="1078" y="0"/>
                    <a:pt x="962" y="0"/>
                    <a:pt x="845" y="0"/>
                  </a:cubicBezTo>
                  <a:cubicBezTo>
                    <a:pt x="729" y="0"/>
                    <a:pt x="612" y="0"/>
                    <a:pt x="495" y="0"/>
                  </a:cubicBezTo>
                  <a:cubicBezTo>
                    <a:pt x="291" y="0"/>
                    <a:pt x="145" y="0"/>
                    <a:pt x="0" y="0"/>
                  </a:cubicBezTo>
                  <a:cubicBezTo>
                    <a:pt x="58" y="88"/>
                    <a:pt x="58" y="175"/>
                    <a:pt x="29" y="262"/>
                  </a:cubicBezTo>
                  <a:cubicBezTo>
                    <a:pt x="29" y="321"/>
                    <a:pt x="29" y="379"/>
                    <a:pt x="29" y="409"/>
                  </a:cubicBezTo>
                  <a:cubicBezTo>
                    <a:pt x="58" y="438"/>
                    <a:pt x="58" y="438"/>
                    <a:pt x="58" y="438"/>
                  </a:cubicBezTo>
                  <a:cubicBezTo>
                    <a:pt x="58" y="467"/>
                    <a:pt x="58" y="467"/>
                    <a:pt x="58" y="495"/>
                  </a:cubicBezTo>
                  <a:lnTo>
                    <a:pt x="58" y="525"/>
                  </a:lnTo>
                  <a:cubicBezTo>
                    <a:pt x="58" y="525"/>
                    <a:pt x="58" y="525"/>
                    <a:pt x="58" y="554"/>
                  </a:cubicBezTo>
                  <a:cubicBezTo>
                    <a:pt x="58" y="554"/>
                    <a:pt x="88" y="583"/>
                    <a:pt x="88" y="612"/>
                  </a:cubicBezTo>
                  <a:cubicBezTo>
                    <a:pt x="116" y="642"/>
                    <a:pt x="145" y="671"/>
                    <a:pt x="116" y="729"/>
                  </a:cubicBezTo>
                  <a:cubicBezTo>
                    <a:pt x="174" y="759"/>
                    <a:pt x="174" y="817"/>
                    <a:pt x="174" y="875"/>
                  </a:cubicBezTo>
                  <a:cubicBezTo>
                    <a:pt x="174" y="904"/>
                    <a:pt x="204" y="962"/>
                    <a:pt x="204" y="992"/>
                  </a:cubicBezTo>
                  <a:lnTo>
                    <a:pt x="233" y="1021"/>
                  </a:lnTo>
                  <a:cubicBezTo>
                    <a:pt x="233" y="1021"/>
                    <a:pt x="262" y="1050"/>
                    <a:pt x="262" y="1079"/>
                  </a:cubicBezTo>
                  <a:cubicBezTo>
                    <a:pt x="262" y="1109"/>
                    <a:pt x="262" y="1167"/>
                    <a:pt x="262" y="1195"/>
                  </a:cubicBezTo>
                  <a:cubicBezTo>
                    <a:pt x="262" y="1254"/>
                    <a:pt x="262" y="1312"/>
                    <a:pt x="262" y="1342"/>
                  </a:cubicBezTo>
                  <a:cubicBezTo>
                    <a:pt x="291" y="1371"/>
                    <a:pt x="321" y="1400"/>
                    <a:pt x="350" y="1429"/>
                  </a:cubicBezTo>
                  <a:cubicBezTo>
                    <a:pt x="350" y="1429"/>
                    <a:pt x="379" y="1429"/>
                    <a:pt x="408" y="1429"/>
                  </a:cubicBezTo>
                  <a:lnTo>
                    <a:pt x="438" y="1429"/>
                  </a:lnTo>
                  <a:cubicBezTo>
                    <a:pt x="466" y="1429"/>
                    <a:pt x="495" y="1429"/>
                    <a:pt x="495" y="1429"/>
                  </a:cubicBezTo>
                  <a:cubicBezTo>
                    <a:pt x="904" y="1429"/>
                    <a:pt x="1194" y="1429"/>
                    <a:pt x="1573" y="1400"/>
                  </a:cubicBezTo>
                  <a:cubicBezTo>
                    <a:pt x="1573" y="1400"/>
                    <a:pt x="1603" y="1400"/>
                    <a:pt x="1632" y="1400"/>
                  </a:cubicBezTo>
                  <a:cubicBezTo>
                    <a:pt x="1661" y="1400"/>
                    <a:pt x="1690" y="1400"/>
                    <a:pt x="1690" y="1400"/>
                  </a:cubicBezTo>
                  <a:cubicBezTo>
                    <a:pt x="1749" y="1400"/>
                    <a:pt x="1778" y="1400"/>
                    <a:pt x="1778" y="1400"/>
                  </a:cubicBezTo>
                  <a:cubicBezTo>
                    <a:pt x="1807" y="1429"/>
                    <a:pt x="1807" y="1429"/>
                    <a:pt x="1836" y="1429"/>
                  </a:cubicBezTo>
                  <a:cubicBezTo>
                    <a:pt x="1836" y="1458"/>
                    <a:pt x="1836" y="1458"/>
                    <a:pt x="1836" y="1458"/>
                  </a:cubicBezTo>
                  <a:lnTo>
                    <a:pt x="1865" y="1488"/>
                  </a:lnTo>
                  <a:cubicBezTo>
                    <a:pt x="1894" y="1488"/>
                    <a:pt x="1894" y="1488"/>
                    <a:pt x="1894" y="1488"/>
                  </a:cubicBezTo>
                  <a:cubicBezTo>
                    <a:pt x="1923" y="1517"/>
                    <a:pt x="1923" y="1517"/>
                    <a:pt x="1923" y="1517"/>
                  </a:cubicBezTo>
                  <a:cubicBezTo>
                    <a:pt x="1923" y="1545"/>
                    <a:pt x="1923" y="1545"/>
                    <a:pt x="1923" y="1545"/>
                  </a:cubicBezTo>
                  <a:cubicBezTo>
                    <a:pt x="1923" y="1458"/>
                    <a:pt x="1953" y="1400"/>
                    <a:pt x="1982" y="1342"/>
                  </a:cubicBezTo>
                  <a:cubicBezTo>
                    <a:pt x="1982" y="1312"/>
                    <a:pt x="2011" y="1312"/>
                    <a:pt x="2011" y="1312"/>
                  </a:cubicBezTo>
                  <a:cubicBezTo>
                    <a:pt x="2040" y="1283"/>
                    <a:pt x="2040" y="1283"/>
                    <a:pt x="2040" y="1254"/>
                  </a:cubicBezTo>
                  <a:cubicBezTo>
                    <a:pt x="2070" y="1225"/>
                    <a:pt x="2070" y="1195"/>
                    <a:pt x="2070" y="1167"/>
                  </a:cubicBezTo>
                  <a:cubicBezTo>
                    <a:pt x="2040" y="1109"/>
                    <a:pt x="2040" y="1079"/>
                    <a:pt x="2070" y="1050"/>
                  </a:cubicBezTo>
                  <a:cubicBezTo>
                    <a:pt x="2099" y="1021"/>
                    <a:pt x="2128" y="1021"/>
                    <a:pt x="2128" y="1021"/>
                  </a:cubicBezTo>
                  <a:cubicBezTo>
                    <a:pt x="2157" y="1021"/>
                    <a:pt x="2157" y="1021"/>
                    <a:pt x="2157" y="992"/>
                  </a:cubicBezTo>
                  <a:lnTo>
                    <a:pt x="2157" y="992"/>
                  </a:lnTo>
                  <a:cubicBezTo>
                    <a:pt x="2157" y="992"/>
                    <a:pt x="2157" y="962"/>
                    <a:pt x="2186" y="962"/>
                  </a:cubicBezTo>
                  <a:cubicBezTo>
                    <a:pt x="2244" y="933"/>
                    <a:pt x="2390" y="845"/>
                    <a:pt x="2361" y="729"/>
                  </a:cubicBezTo>
                  <a:cubicBezTo>
                    <a:pt x="2332" y="729"/>
                    <a:pt x="2332" y="729"/>
                    <a:pt x="2332" y="729"/>
                  </a:cubicBezTo>
                  <a:lnTo>
                    <a:pt x="2303" y="700"/>
                  </a:lnTo>
                  <a:cubicBezTo>
                    <a:pt x="2303" y="671"/>
                    <a:pt x="2303" y="671"/>
                    <a:pt x="2273" y="642"/>
                  </a:cubicBezTo>
                  <a:cubicBezTo>
                    <a:pt x="2273" y="612"/>
                    <a:pt x="2244" y="583"/>
                    <a:pt x="2244" y="554"/>
                  </a:cubicBezTo>
                  <a:cubicBezTo>
                    <a:pt x="2186" y="525"/>
                    <a:pt x="2157" y="495"/>
                    <a:pt x="2128" y="495"/>
                  </a:cubicBezTo>
                  <a:cubicBezTo>
                    <a:pt x="2128" y="467"/>
                    <a:pt x="2099" y="467"/>
                    <a:pt x="2070" y="438"/>
                  </a:cubicBezTo>
                  <a:cubicBezTo>
                    <a:pt x="2011" y="379"/>
                    <a:pt x="1923" y="321"/>
                    <a:pt x="1923" y="204"/>
                  </a:cubicBezTo>
                  <a:cubicBezTo>
                    <a:pt x="1923" y="175"/>
                    <a:pt x="1923" y="146"/>
                    <a:pt x="1953" y="146"/>
                  </a:cubicBezTo>
                  <a:cubicBezTo>
                    <a:pt x="1953" y="117"/>
                    <a:pt x="1953" y="88"/>
                    <a:pt x="1953" y="59"/>
                  </a:cubicBezTo>
                  <a:lnTo>
                    <a:pt x="1923" y="0"/>
                  </a:lnTo>
                  <a:cubicBezTo>
                    <a:pt x="1894" y="0"/>
                    <a:pt x="1865" y="0"/>
                    <a:pt x="1836" y="0"/>
                  </a:cubicBezTo>
                  <a:cubicBezTo>
                    <a:pt x="1807" y="0"/>
                    <a:pt x="1778" y="0"/>
                    <a:pt x="174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4" name="Freeform 171">
              <a:extLst>
                <a:ext uri="{FF2B5EF4-FFF2-40B4-BE49-F238E27FC236}">
                  <a16:creationId xmlns:a16="http://schemas.microsoft.com/office/drawing/2014/main" id="{4735C2BB-3275-4B7A-8194-F0E77403B13F}"/>
                </a:ext>
              </a:extLst>
            </p:cNvPr>
            <p:cNvSpPr>
              <a:spLocks noChangeArrowheads="1"/>
            </p:cNvSpPr>
            <p:nvPr/>
          </p:nvSpPr>
          <p:spPr bwMode="auto">
            <a:xfrm>
              <a:off x="10618500" y="306030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5" name="Freeform 172">
              <a:extLst>
                <a:ext uri="{FF2B5EF4-FFF2-40B4-BE49-F238E27FC236}">
                  <a16:creationId xmlns:a16="http://schemas.microsoft.com/office/drawing/2014/main" id="{5478BFF8-E2E7-4CF3-9DC7-22D611B91359}"/>
                </a:ext>
              </a:extLst>
            </p:cNvPr>
            <p:cNvSpPr>
              <a:spLocks noChangeArrowheads="1"/>
            </p:cNvSpPr>
            <p:nvPr/>
          </p:nvSpPr>
          <p:spPr bwMode="auto">
            <a:xfrm>
              <a:off x="9561712" y="3050593"/>
              <a:ext cx="1154639" cy="610106"/>
            </a:xfrm>
            <a:custGeom>
              <a:avLst/>
              <a:gdLst>
                <a:gd name="T0" fmla="*/ 3121 w 3122"/>
                <a:gd name="T1" fmla="*/ 1195 h 1663"/>
                <a:gd name="T2" fmla="*/ 3121 w 3122"/>
                <a:gd name="T3" fmla="*/ 1137 h 1663"/>
                <a:gd name="T4" fmla="*/ 3033 w 3122"/>
                <a:gd name="T5" fmla="*/ 1137 h 1663"/>
                <a:gd name="T6" fmla="*/ 2946 w 3122"/>
                <a:gd name="T7" fmla="*/ 1166 h 1663"/>
                <a:gd name="T8" fmla="*/ 2742 w 3122"/>
                <a:gd name="T9" fmla="*/ 1049 h 1663"/>
                <a:gd name="T10" fmla="*/ 2479 w 3122"/>
                <a:gd name="T11" fmla="*/ 992 h 1663"/>
                <a:gd name="T12" fmla="*/ 2479 w 3122"/>
                <a:gd name="T13" fmla="*/ 962 h 1663"/>
                <a:gd name="T14" fmla="*/ 2858 w 3122"/>
                <a:gd name="T15" fmla="*/ 992 h 1663"/>
                <a:gd name="T16" fmla="*/ 2829 w 3122"/>
                <a:gd name="T17" fmla="*/ 933 h 1663"/>
                <a:gd name="T18" fmla="*/ 2771 w 3122"/>
                <a:gd name="T19" fmla="*/ 904 h 1663"/>
                <a:gd name="T20" fmla="*/ 2829 w 3122"/>
                <a:gd name="T21" fmla="*/ 875 h 1663"/>
                <a:gd name="T22" fmla="*/ 2771 w 3122"/>
                <a:gd name="T23" fmla="*/ 845 h 1663"/>
                <a:gd name="T24" fmla="*/ 2654 w 3122"/>
                <a:gd name="T25" fmla="*/ 758 h 1663"/>
                <a:gd name="T26" fmla="*/ 2742 w 3122"/>
                <a:gd name="T27" fmla="*/ 728 h 1663"/>
                <a:gd name="T28" fmla="*/ 2742 w 3122"/>
                <a:gd name="T29" fmla="*/ 699 h 1663"/>
                <a:gd name="T30" fmla="*/ 2799 w 3122"/>
                <a:gd name="T31" fmla="*/ 699 h 1663"/>
                <a:gd name="T32" fmla="*/ 2683 w 3122"/>
                <a:gd name="T33" fmla="*/ 554 h 1663"/>
                <a:gd name="T34" fmla="*/ 2537 w 3122"/>
                <a:gd name="T35" fmla="*/ 495 h 1663"/>
                <a:gd name="T36" fmla="*/ 2450 w 3122"/>
                <a:gd name="T37" fmla="*/ 495 h 1663"/>
                <a:gd name="T38" fmla="*/ 2363 w 3122"/>
                <a:gd name="T39" fmla="*/ 349 h 1663"/>
                <a:gd name="T40" fmla="*/ 2392 w 3122"/>
                <a:gd name="T41" fmla="*/ 262 h 1663"/>
                <a:gd name="T42" fmla="*/ 2246 w 3122"/>
                <a:gd name="T43" fmla="*/ 145 h 1663"/>
                <a:gd name="T44" fmla="*/ 2158 w 3122"/>
                <a:gd name="T45" fmla="*/ 28 h 1663"/>
                <a:gd name="T46" fmla="*/ 1954 w 3122"/>
                <a:gd name="T47" fmla="*/ 175 h 1663"/>
                <a:gd name="T48" fmla="*/ 1866 w 3122"/>
                <a:gd name="T49" fmla="*/ 175 h 1663"/>
                <a:gd name="T50" fmla="*/ 1808 w 3122"/>
                <a:gd name="T51" fmla="*/ 321 h 1663"/>
                <a:gd name="T52" fmla="*/ 1721 w 3122"/>
                <a:gd name="T53" fmla="*/ 378 h 1663"/>
                <a:gd name="T54" fmla="*/ 1663 w 3122"/>
                <a:gd name="T55" fmla="*/ 554 h 1663"/>
                <a:gd name="T56" fmla="*/ 1575 w 3122"/>
                <a:gd name="T57" fmla="*/ 583 h 1663"/>
                <a:gd name="T58" fmla="*/ 1458 w 3122"/>
                <a:gd name="T59" fmla="*/ 554 h 1663"/>
                <a:gd name="T60" fmla="*/ 1458 w 3122"/>
                <a:gd name="T61" fmla="*/ 642 h 1663"/>
                <a:gd name="T62" fmla="*/ 1254 w 3122"/>
                <a:gd name="T63" fmla="*/ 758 h 1663"/>
                <a:gd name="T64" fmla="*/ 1196 w 3122"/>
                <a:gd name="T65" fmla="*/ 904 h 1663"/>
                <a:gd name="T66" fmla="*/ 1050 w 3122"/>
                <a:gd name="T67" fmla="*/ 1049 h 1663"/>
                <a:gd name="T68" fmla="*/ 963 w 3122"/>
                <a:gd name="T69" fmla="*/ 1108 h 1663"/>
                <a:gd name="T70" fmla="*/ 933 w 3122"/>
                <a:gd name="T71" fmla="*/ 1108 h 1663"/>
                <a:gd name="T72" fmla="*/ 758 w 3122"/>
                <a:gd name="T73" fmla="*/ 1166 h 1663"/>
                <a:gd name="T74" fmla="*/ 729 w 3122"/>
                <a:gd name="T75" fmla="*/ 1224 h 1663"/>
                <a:gd name="T76" fmla="*/ 554 w 3122"/>
                <a:gd name="T77" fmla="*/ 1108 h 1663"/>
                <a:gd name="T78" fmla="*/ 496 w 3122"/>
                <a:gd name="T79" fmla="*/ 1108 h 1663"/>
                <a:gd name="T80" fmla="*/ 408 w 3122"/>
                <a:gd name="T81" fmla="*/ 1254 h 1663"/>
                <a:gd name="T82" fmla="*/ 263 w 3122"/>
                <a:gd name="T83" fmla="*/ 1399 h 1663"/>
                <a:gd name="T84" fmla="*/ 263 w 3122"/>
                <a:gd name="T85" fmla="*/ 1428 h 1663"/>
                <a:gd name="T86" fmla="*/ 204 w 3122"/>
                <a:gd name="T87" fmla="*/ 1458 h 1663"/>
                <a:gd name="T88" fmla="*/ 87 w 3122"/>
                <a:gd name="T89" fmla="*/ 1575 h 1663"/>
                <a:gd name="T90" fmla="*/ 2829 w 3122"/>
                <a:gd name="T91" fmla="*/ 1254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22" h="1663">
                  <a:moveTo>
                    <a:pt x="3121" y="1195"/>
                  </a:moveTo>
                  <a:lnTo>
                    <a:pt x="3121" y="1195"/>
                  </a:lnTo>
                  <a:cubicBezTo>
                    <a:pt x="3121" y="1166"/>
                    <a:pt x="3121" y="1137"/>
                    <a:pt x="3121" y="1137"/>
                  </a:cubicBezTo>
                  <a:lnTo>
                    <a:pt x="3121" y="1137"/>
                  </a:lnTo>
                  <a:lnTo>
                    <a:pt x="3092" y="1137"/>
                  </a:lnTo>
                  <a:cubicBezTo>
                    <a:pt x="3063" y="1137"/>
                    <a:pt x="3033" y="1137"/>
                    <a:pt x="3033" y="1137"/>
                  </a:cubicBezTo>
                  <a:cubicBezTo>
                    <a:pt x="3033" y="1108"/>
                    <a:pt x="3033" y="1108"/>
                    <a:pt x="3033" y="1108"/>
                  </a:cubicBezTo>
                  <a:cubicBezTo>
                    <a:pt x="3004" y="1137"/>
                    <a:pt x="2975" y="1166"/>
                    <a:pt x="2946" y="1166"/>
                  </a:cubicBezTo>
                  <a:cubicBezTo>
                    <a:pt x="2887" y="1166"/>
                    <a:pt x="2829" y="1108"/>
                    <a:pt x="2771" y="1078"/>
                  </a:cubicBezTo>
                  <a:cubicBezTo>
                    <a:pt x="2771" y="1078"/>
                    <a:pt x="2771" y="1049"/>
                    <a:pt x="2742" y="1049"/>
                  </a:cubicBezTo>
                  <a:cubicBezTo>
                    <a:pt x="2713" y="1021"/>
                    <a:pt x="2654" y="1021"/>
                    <a:pt x="2596" y="1021"/>
                  </a:cubicBezTo>
                  <a:cubicBezTo>
                    <a:pt x="2537" y="992"/>
                    <a:pt x="2508" y="992"/>
                    <a:pt x="2479" y="992"/>
                  </a:cubicBezTo>
                  <a:cubicBezTo>
                    <a:pt x="2421" y="992"/>
                    <a:pt x="2421" y="992"/>
                    <a:pt x="2421" y="992"/>
                  </a:cubicBezTo>
                  <a:cubicBezTo>
                    <a:pt x="2479" y="962"/>
                    <a:pt x="2479" y="962"/>
                    <a:pt x="2479" y="962"/>
                  </a:cubicBezTo>
                  <a:cubicBezTo>
                    <a:pt x="2537" y="904"/>
                    <a:pt x="2596" y="904"/>
                    <a:pt x="2683" y="904"/>
                  </a:cubicBezTo>
                  <a:cubicBezTo>
                    <a:pt x="2771" y="904"/>
                    <a:pt x="2829" y="962"/>
                    <a:pt x="2858" y="992"/>
                  </a:cubicBezTo>
                  <a:cubicBezTo>
                    <a:pt x="2887" y="992"/>
                    <a:pt x="2887" y="1021"/>
                    <a:pt x="2916" y="1021"/>
                  </a:cubicBezTo>
                  <a:cubicBezTo>
                    <a:pt x="2887" y="992"/>
                    <a:pt x="2858" y="962"/>
                    <a:pt x="2829" y="933"/>
                  </a:cubicBezTo>
                  <a:cubicBezTo>
                    <a:pt x="2829" y="933"/>
                    <a:pt x="2829" y="933"/>
                    <a:pt x="2799" y="933"/>
                  </a:cubicBezTo>
                  <a:cubicBezTo>
                    <a:pt x="2771" y="904"/>
                    <a:pt x="2771" y="904"/>
                    <a:pt x="2771" y="904"/>
                  </a:cubicBezTo>
                  <a:cubicBezTo>
                    <a:pt x="2829" y="875"/>
                    <a:pt x="2829" y="875"/>
                    <a:pt x="2829" y="875"/>
                  </a:cubicBezTo>
                  <a:lnTo>
                    <a:pt x="2829" y="875"/>
                  </a:lnTo>
                  <a:lnTo>
                    <a:pt x="2829" y="875"/>
                  </a:lnTo>
                  <a:cubicBezTo>
                    <a:pt x="2829" y="875"/>
                    <a:pt x="2799" y="875"/>
                    <a:pt x="2771" y="845"/>
                  </a:cubicBezTo>
                  <a:cubicBezTo>
                    <a:pt x="2713" y="845"/>
                    <a:pt x="2625" y="845"/>
                    <a:pt x="2654" y="758"/>
                  </a:cubicBezTo>
                  <a:lnTo>
                    <a:pt x="2654" y="758"/>
                  </a:lnTo>
                  <a:cubicBezTo>
                    <a:pt x="2654" y="728"/>
                    <a:pt x="2654" y="728"/>
                    <a:pt x="2654" y="728"/>
                  </a:cubicBezTo>
                  <a:cubicBezTo>
                    <a:pt x="2683" y="728"/>
                    <a:pt x="2713" y="728"/>
                    <a:pt x="2742" y="728"/>
                  </a:cubicBezTo>
                  <a:cubicBezTo>
                    <a:pt x="2742" y="728"/>
                    <a:pt x="2742" y="728"/>
                    <a:pt x="2771" y="728"/>
                  </a:cubicBezTo>
                  <a:cubicBezTo>
                    <a:pt x="2742" y="699"/>
                    <a:pt x="2742" y="699"/>
                    <a:pt x="2742" y="699"/>
                  </a:cubicBezTo>
                  <a:cubicBezTo>
                    <a:pt x="2771" y="699"/>
                    <a:pt x="2771" y="699"/>
                    <a:pt x="2771" y="699"/>
                  </a:cubicBezTo>
                  <a:cubicBezTo>
                    <a:pt x="2771" y="699"/>
                    <a:pt x="2771" y="699"/>
                    <a:pt x="2799" y="699"/>
                  </a:cubicBezTo>
                  <a:cubicBezTo>
                    <a:pt x="2799" y="671"/>
                    <a:pt x="2799" y="612"/>
                    <a:pt x="2771" y="612"/>
                  </a:cubicBezTo>
                  <a:cubicBezTo>
                    <a:pt x="2771" y="583"/>
                    <a:pt x="2742" y="554"/>
                    <a:pt x="2683" y="554"/>
                  </a:cubicBezTo>
                  <a:cubicBezTo>
                    <a:pt x="2654" y="554"/>
                    <a:pt x="2625" y="554"/>
                    <a:pt x="2596" y="525"/>
                  </a:cubicBezTo>
                  <a:cubicBezTo>
                    <a:pt x="2566" y="525"/>
                    <a:pt x="2566" y="525"/>
                    <a:pt x="2537" y="495"/>
                  </a:cubicBezTo>
                  <a:lnTo>
                    <a:pt x="2508" y="495"/>
                  </a:lnTo>
                  <a:cubicBezTo>
                    <a:pt x="2479" y="466"/>
                    <a:pt x="2479" y="495"/>
                    <a:pt x="2450" y="495"/>
                  </a:cubicBezTo>
                  <a:lnTo>
                    <a:pt x="2421" y="495"/>
                  </a:lnTo>
                  <a:cubicBezTo>
                    <a:pt x="2363" y="466"/>
                    <a:pt x="2333" y="408"/>
                    <a:pt x="2363" y="349"/>
                  </a:cubicBezTo>
                  <a:cubicBezTo>
                    <a:pt x="2363" y="321"/>
                    <a:pt x="2363" y="292"/>
                    <a:pt x="2392" y="292"/>
                  </a:cubicBezTo>
                  <a:cubicBezTo>
                    <a:pt x="2392" y="262"/>
                    <a:pt x="2392" y="262"/>
                    <a:pt x="2392" y="262"/>
                  </a:cubicBezTo>
                  <a:cubicBezTo>
                    <a:pt x="2392" y="204"/>
                    <a:pt x="2363" y="175"/>
                    <a:pt x="2304" y="175"/>
                  </a:cubicBezTo>
                  <a:cubicBezTo>
                    <a:pt x="2275" y="145"/>
                    <a:pt x="2246" y="145"/>
                    <a:pt x="2246" y="145"/>
                  </a:cubicBezTo>
                  <a:cubicBezTo>
                    <a:pt x="2187" y="116"/>
                    <a:pt x="2187" y="87"/>
                    <a:pt x="2158" y="58"/>
                  </a:cubicBezTo>
                  <a:lnTo>
                    <a:pt x="2158" y="28"/>
                  </a:lnTo>
                  <a:cubicBezTo>
                    <a:pt x="2100" y="0"/>
                    <a:pt x="2071" y="28"/>
                    <a:pt x="2042" y="87"/>
                  </a:cubicBezTo>
                  <a:cubicBezTo>
                    <a:pt x="2042" y="116"/>
                    <a:pt x="2013" y="145"/>
                    <a:pt x="1954" y="175"/>
                  </a:cubicBezTo>
                  <a:lnTo>
                    <a:pt x="1925" y="175"/>
                  </a:lnTo>
                  <a:cubicBezTo>
                    <a:pt x="1896" y="175"/>
                    <a:pt x="1896" y="175"/>
                    <a:pt x="1866" y="175"/>
                  </a:cubicBezTo>
                  <a:cubicBezTo>
                    <a:pt x="1866" y="204"/>
                    <a:pt x="1866" y="233"/>
                    <a:pt x="1866" y="233"/>
                  </a:cubicBezTo>
                  <a:cubicBezTo>
                    <a:pt x="1866" y="262"/>
                    <a:pt x="1837" y="292"/>
                    <a:pt x="1808" y="321"/>
                  </a:cubicBezTo>
                  <a:cubicBezTo>
                    <a:pt x="1808" y="349"/>
                    <a:pt x="1779" y="349"/>
                    <a:pt x="1779" y="378"/>
                  </a:cubicBezTo>
                  <a:cubicBezTo>
                    <a:pt x="1750" y="378"/>
                    <a:pt x="1750" y="378"/>
                    <a:pt x="1721" y="378"/>
                  </a:cubicBezTo>
                  <a:cubicBezTo>
                    <a:pt x="1721" y="408"/>
                    <a:pt x="1721" y="437"/>
                    <a:pt x="1692" y="466"/>
                  </a:cubicBezTo>
                  <a:cubicBezTo>
                    <a:pt x="1692" y="495"/>
                    <a:pt x="1692" y="525"/>
                    <a:pt x="1663" y="554"/>
                  </a:cubicBezTo>
                  <a:cubicBezTo>
                    <a:pt x="1633" y="554"/>
                    <a:pt x="1604" y="583"/>
                    <a:pt x="1575" y="583"/>
                  </a:cubicBezTo>
                  <a:lnTo>
                    <a:pt x="1575" y="583"/>
                  </a:lnTo>
                  <a:cubicBezTo>
                    <a:pt x="1546" y="583"/>
                    <a:pt x="1546" y="554"/>
                    <a:pt x="1516" y="554"/>
                  </a:cubicBezTo>
                  <a:cubicBezTo>
                    <a:pt x="1487" y="554"/>
                    <a:pt x="1487" y="554"/>
                    <a:pt x="1458" y="554"/>
                  </a:cubicBezTo>
                  <a:lnTo>
                    <a:pt x="1458" y="554"/>
                  </a:lnTo>
                  <a:cubicBezTo>
                    <a:pt x="1458" y="583"/>
                    <a:pt x="1458" y="612"/>
                    <a:pt x="1458" y="642"/>
                  </a:cubicBezTo>
                  <a:cubicBezTo>
                    <a:pt x="1458" y="699"/>
                    <a:pt x="1400" y="728"/>
                    <a:pt x="1342" y="728"/>
                  </a:cubicBezTo>
                  <a:cubicBezTo>
                    <a:pt x="1313" y="728"/>
                    <a:pt x="1283" y="758"/>
                    <a:pt x="1254" y="758"/>
                  </a:cubicBezTo>
                  <a:cubicBezTo>
                    <a:pt x="1225" y="787"/>
                    <a:pt x="1225" y="816"/>
                    <a:pt x="1225" y="875"/>
                  </a:cubicBezTo>
                  <a:cubicBezTo>
                    <a:pt x="1196" y="875"/>
                    <a:pt x="1196" y="904"/>
                    <a:pt x="1196" y="904"/>
                  </a:cubicBezTo>
                  <a:cubicBezTo>
                    <a:pt x="1196" y="933"/>
                    <a:pt x="1196" y="962"/>
                    <a:pt x="1196" y="992"/>
                  </a:cubicBezTo>
                  <a:cubicBezTo>
                    <a:pt x="1166" y="1021"/>
                    <a:pt x="1108" y="1049"/>
                    <a:pt x="1050" y="1049"/>
                  </a:cubicBezTo>
                  <a:lnTo>
                    <a:pt x="1021" y="1049"/>
                  </a:lnTo>
                  <a:cubicBezTo>
                    <a:pt x="992" y="1049"/>
                    <a:pt x="963" y="1078"/>
                    <a:pt x="963" y="1108"/>
                  </a:cubicBezTo>
                  <a:lnTo>
                    <a:pt x="963" y="1108"/>
                  </a:lnTo>
                  <a:cubicBezTo>
                    <a:pt x="933" y="1108"/>
                    <a:pt x="933" y="1108"/>
                    <a:pt x="933" y="1108"/>
                  </a:cubicBezTo>
                  <a:cubicBezTo>
                    <a:pt x="875" y="1108"/>
                    <a:pt x="846" y="1078"/>
                    <a:pt x="816" y="1078"/>
                  </a:cubicBezTo>
                  <a:cubicBezTo>
                    <a:pt x="787" y="1108"/>
                    <a:pt x="787" y="1137"/>
                    <a:pt x="758" y="1166"/>
                  </a:cubicBezTo>
                  <a:lnTo>
                    <a:pt x="758" y="1166"/>
                  </a:lnTo>
                  <a:cubicBezTo>
                    <a:pt x="758" y="1195"/>
                    <a:pt x="758" y="1224"/>
                    <a:pt x="729" y="1224"/>
                  </a:cubicBezTo>
                  <a:cubicBezTo>
                    <a:pt x="671" y="1224"/>
                    <a:pt x="613" y="1195"/>
                    <a:pt x="613" y="1195"/>
                  </a:cubicBezTo>
                  <a:cubicBezTo>
                    <a:pt x="583" y="1166"/>
                    <a:pt x="583" y="1137"/>
                    <a:pt x="554" y="1108"/>
                  </a:cubicBezTo>
                  <a:lnTo>
                    <a:pt x="525" y="1078"/>
                  </a:lnTo>
                  <a:cubicBezTo>
                    <a:pt x="496" y="1078"/>
                    <a:pt x="496" y="1108"/>
                    <a:pt x="496" y="1108"/>
                  </a:cubicBezTo>
                  <a:cubicBezTo>
                    <a:pt x="496" y="1137"/>
                    <a:pt x="496" y="1166"/>
                    <a:pt x="496" y="1166"/>
                  </a:cubicBezTo>
                  <a:cubicBezTo>
                    <a:pt x="466" y="1224"/>
                    <a:pt x="437" y="1224"/>
                    <a:pt x="408" y="1254"/>
                  </a:cubicBezTo>
                  <a:cubicBezTo>
                    <a:pt x="380" y="1254"/>
                    <a:pt x="380" y="1283"/>
                    <a:pt x="350" y="1283"/>
                  </a:cubicBezTo>
                  <a:cubicBezTo>
                    <a:pt x="321" y="1312"/>
                    <a:pt x="292" y="1342"/>
                    <a:pt x="263" y="1399"/>
                  </a:cubicBezTo>
                  <a:cubicBezTo>
                    <a:pt x="263" y="1399"/>
                    <a:pt x="263" y="1399"/>
                    <a:pt x="263" y="1428"/>
                  </a:cubicBezTo>
                  <a:lnTo>
                    <a:pt x="263" y="1428"/>
                  </a:lnTo>
                  <a:cubicBezTo>
                    <a:pt x="233" y="1428"/>
                    <a:pt x="233" y="1428"/>
                    <a:pt x="233" y="1428"/>
                  </a:cubicBezTo>
                  <a:cubicBezTo>
                    <a:pt x="233" y="1428"/>
                    <a:pt x="233" y="1428"/>
                    <a:pt x="204" y="1458"/>
                  </a:cubicBezTo>
                  <a:lnTo>
                    <a:pt x="204" y="1458"/>
                  </a:lnTo>
                  <a:cubicBezTo>
                    <a:pt x="175" y="1516"/>
                    <a:pt x="146" y="1545"/>
                    <a:pt x="87" y="1575"/>
                  </a:cubicBezTo>
                  <a:cubicBezTo>
                    <a:pt x="58" y="1604"/>
                    <a:pt x="30" y="1633"/>
                    <a:pt x="0" y="1662"/>
                  </a:cubicBezTo>
                  <a:cubicBezTo>
                    <a:pt x="992" y="1575"/>
                    <a:pt x="1925" y="1399"/>
                    <a:pt x="2829" y="1254"/>
                  </a:cubicBezTo>
                  <a:lnTo>
                    <a:pt x="3121" y="11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6" name="Freeform 173">
              <a:extLst>
                <a:ext uri="{FF2B5EF4-FFF2-40B4-BE49-F238E27FC236}">
                  <a16:creationId xmlns:a16="http://schemas.microsoft.com/office/drawing/2014/main" id="{3B611A03-C7F6-4239-8CB3-86E350CBA98A}"/>
                </a:ext>
              </a:extLst>
            </p:cNvPr>
            <p:cNvSpPr>
              <a:spLocks noChangeArrowheads="1"/>
            </p:cNvSpPr>
            <p:nvPr/>
          </p:nvSpPr>
          <p:spPr bwMode="auto">
            <a:xfrm>
              <a:off x="5776520" y="2793280"/>
              <a:ext cx="1068203" cy="835053"/>
            </a:xfrm>
            <a:custGeom>
              <a:avLst/>
              <a:gdLst>
                <a:gd name="T0" fmla="*/ 2770 w 2887"/>
                <a:gd name="T1" fmla="*/ 1487 h 2276"/>
                <a:gd name="T2" fmla="*/ 2770 w 2887"/>
                <a:gd name="T3" fmla="*/ 1487 h 2276"/>
                <a:gd name="T4" fmla="*/ 2886 w 2887"/>
                <a:gd name="T5" fmla="*/ 350 h 2276"/>
                <a:gd name="T6" fmla="*/ 2507 w 2887"/>
                <a:gd name="T7" fmla="*/ 292 h 2276"/>
                <a:gd name="T8" fmla="*/ 291 w 2887"/>
                <a:gd name="T9" fmla="*/ 0 h 2276"/>
                <a:gd name="T10" fmla="*/ 0 w 2887"/>
                <a:gd name="T11" fmla="*/ 1924 h 2276"/>
                <a:gd name="T12" fmla="*/ 2712 w 2887"/>
                <a:gd name="T13" fmla="*/ 2275 h 2276"/>
                <a:gd name="T14" fmla="*/ 2770 w 2887"/>
                <a:gd name="T15" fmla="*/ 1487 h 22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7" h="2276">
                  <a:moveTo>
                    <a:pt x="2770" y="1487"/>
                  </a:moveTo>
                  <a:lnTo>
                    <a:pt x="2770" y="1487"/>
                  </a:lnTo>
                  <a:cubicBezTo>
                    <a:pt x="2799" y="1108"/>
                    <a:pt x="2828" y="728"/>
                    <a:pt x="2886" y="350"/>
                  </a:cubicBezTo>
                  <a:cubicBezTo>
                    <a:pt x="2741" y="321"/>
                    <a:pt x="2624" y="321"/>
                    <a:pt x="2507" y="292"/>
                  </a:cubicBezTo>
                  <a:cubicBezTo>
                    <a:pt x="1778" y="204"/>
                    <a:pt x="1020" y="116"/>
                    <a:pt x="291" y="0"/>
                  </a:cubicBezTo>
                  <a:cubicBezTo>
                    <a:pt x="203" y="583"/>
                    <a:pt x="86" y="1195"/>
                    <a:pt x="0" y="1924"/>
                  </a:cubicBezTo>
                  <a:cubicBezTo>
                    <a:pt x="903" y="2071"/>
                    <a:pt x="1924" y="2187"/>
                    <a:pt x="2712" y="2275"/>
                  </a:cubicBezTo>
                  <a:cubicBezTo>
                    <a:pt x="2712" y="2012"/>
                    <a:pt x="2741" y="1749"/>
                    <a:pt x="2770" y="14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7" name="Freeform 174">
              <a:extLst>
                <a:ext uri="{FF2B5EF4-FFF2-40B4-BE49-F238E27FC236}">
                  <a16:creationId xmlns:a16="http://schemas.microsoft.com/office/drawing/2014/main" id="{9E0EFE92-0E75-481C-98A4-2DF3DC5CB3EC}"/>
                </a:ext>
              </a:extLst>
            </p:cNvPr>
            <p:cNvSpPr>
              <a:spLocks noChangeArrowheads="1"/>
            </p:cNvSpPr>
            <p:nvPr/>
          </p:nvSpPr>
          <p:spPr bwMode="auto">
            <a:xfrm>
              <a:off x="10574468" y="3029555"/>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8" name="Freeform 175">
              <a:extLst>
                <a:ext uri="{FF2B5EF4-FFF2-40B4-BE49-F238E27FC236}">
                  <a16:creationId xmlns:a16="http://schemas.microsoft.com/office/drawing/2014/main" id="{6BF45A41-0432-4C3B-9304-BD5B338A2776}"/>
                </a:ext>
              </a:extLst>
            </p:cNvPr>
            <p:cNvSpPr>
              <a:spLocks noChangeArrowheads="1"/>
            </p:cNvSpPr>
            <p:nvPr/>
          </p:nvSpPr>
          <p:spPr bwMode="auto">
            <a:xfrm>
              <a:off x="10585883" y="3018227"/>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9" name="Freeform 176">
              <a:extLst>
                <a:ext uri="{FF2B5EF4-FFF2-40B4-BE49-F238E27FC236}">
                  <a16:creationId xmlns:a16="http://schemas.microsoft.com/office/drawing/2014/main" id="{98F120BA-3BAC-474E-A0EE-94396BF221E2}"/>
                </a:ext>
              </a:extLst>
            </p:cNvPr>
            <p:cNvSpPr>
              <a:spLocks noChangeArrowheads="1"/>
            </p:cNvSpPr>
            <p:nvPr/>
          </p:nvSpPr>
          <p:spPr bwMode="auto">
            <a:xfrm>
              <a:off x="10553266" y="3040883"/>
              <a:ext cx="11416" cy="1618"/>
            </a:xfrm>
            <a:custGeom>
              <a:avLst/>
              <a:gdLst>
                <a:gd name="T0" fmla="*/ 30 w 31"/>
                <a:gd name="T1" fmla="*/ 0 h 1"/>
                <a:gd name="T2" fmla="*/ 30 w 31"/>
                <a:gd name="T3" fmla="*/ 0 h 1"/>
                <a:gd name="T4" fmla="*/ 0 w 31"/>
                <a:gd name="T5" fmla="*/ 0 h 1"/>
                <a:gd name="T6" fmla="*/ 0 w 31"/>
                <a:gd name="T7" fmla="*/ 0 h 1"/>
                <a:gd name="T8" fmla="*/ 0 w 31"/>
                <a:gd name="T9" fmla="*/ 0 h 1"/>
                <a:gd name="T10" fmla="*/ 0 w 31"/>
                <a:gd name="T11" fmla="*/ 0 h 1"/>
                <a:gd name="T12" fmla="*/ 30 w 3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1" h="1">
                  <a:moveTo>
                    <a:pt x="30" y="0"/>
                  </a:moveTo>
                  <a:lnTo>
                    <a:pt x="30" y="0"/>
                  </a:lnTo>
                  <a:lnTo>
                    <a:pt x="0" y="0"/>
                  </a:lnTo>
                  <a:lnTo>
                    <a:pt x="0" y="0"/>
                  </a:lnTo>
                  <a:lnTo>
                    <a:pt x="0" y="0"/>
                  </a:lnTo>
                  <a:lnTo>
                    <a:pt x="0" y="0"/>
                  </a:ln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0" name="Freeform 177">
              <a:extLst>
                <a:ext uri="{FF2B5EF4-FFF2-40B4-BE49-F238E27FC236}">
                  <a16:creationId xmlns:a16="http://schemas.microsoft.com/office/drawing/2014/main" id="{9DCDFEFB-55B1-44AC-9C3F-36DF2DAA333D}"/>
                </a:ext>
              </a:extLst>
            </p:cNvPr>
            <p:cNvSpPr>
              <a:spLocks noChangeArrowheads="1"/>
            </p:cNvSpPr>
            <p:nvPr/>
          </p:nvSpPr>
          <p:spPr bwMode="auto">
            <a:xfrm>
              <a:off x="7782460" y="3029555"/>
              <a:ext cx="937736" cy="781649"/>
            </a:xfrm>
            <a:custGeom>
              <a:avLst/>
              <a:gdLst>
                <a:gd name="T0" fmla="*/ 2361 w 2537"/>
                <a:gd name="T1" fmla="*/ 2013 h 2130"/>
                <a:gd name="T2" fmla="*/ 2391 w 2537"/>
                <a:gd name="T3" fmla="*/ 1896 h 2130"/>
                <a:gd name="T4" fmla="*/ 2420 w 2537"/>
                <a:gd name="T5" fmla="*/ 1896 h 2130"/>
                <a:gd name="T6" fmla="*/ 2536 w 2537"/>
                <a:gd name="T7" fmla="*/ 1808 h 2130"/>
                <a:gd name="T8" fmla="*/ 2332 w 2537"/>
                <a:gd name="T9" fmla="*/ 1546 h 2130"/>
                <a:gd name="T10" fmla="*/ 2361 w 2537"/>
                <a:gd name="T11" fmla="*/ 1487 h 2130"/>
                <a:gd name="T12" fmla="*/ 2215 w 2537"/>
                <a:gd name="T13" fmla="*/ 1313 h 2130"/>
                <a:gd name="T14" fmla="*/ 2157 w 2537"/>
                <a:gd name="T15" fmla="*/ 1254 h 2130"/>
                <a:gd name="T16" fmla="*/ 2099 w 2537"/>
                <a:gd name="T17" fmla="*/ 1196 h 2130"/>
                <a:gd name="T18" fmla="*/ 2041 w 2537"/>
                <a:gd name="T19" fmla="*/ 1021 h 2130"/>
                <a:gd name="T20" fmla="*/ 2070 w 2537"/>
                <a:gd name="T21" fmla="*/ 904 h 2130"/>
                <a:gd name="T22" fmla="*/ 1865 w 2537"/>
                <a:gd name="T23" fmla="*/ 787 h 2130"/>
                <a:gd name="T24" fmla="*/ 1836 w 2537"/>
                <a:gd name="T25" fmla="*/ 671 h 2130"/>
                <a:gd name="T26" fmla="*/ 1632 w 2537"/>
                <a:gd name="T27" fmla="*/ 496 h 2130"/>
                <a:gd name="T28" fmla="*/ 1574 w 2537"/>
                <a:gd name="T29" fmla="*/ 467 h 2130"/>
                <a:gd name="T30" fmla="*/ 1544 w 2537"/>
                <a:gd name="T31" fmla="*/ 351 h 2130"/>
                <a:gd name="T32" fmla="*/ 1544 w 2537"/>
                <a:gd name="T33" fmla="*/ 175 h 2130"/>
                <a:gd name="T34" fmla="*/ 1486 w 2537"/>
                <a:gd name="T35" fmla="*/ 87 h 2130"/>
                <a:gd name="T36" fmla="*/ 1370 w 2537"/>
                <a:gd name="T37" fmla="*/ 0 h 2130"/>
                <a:gd name="T38" fmla="*/ 1224 w 2537"/>
                <a:gd name="T39" fmla="*/ 0 h 2130"/>
                <a:gd name="T40" fmla="*/ 0 w 2537"/>
                <a:gd name="T41" fmla="*/ 30 h 2130"/>
                <a:gd name="T42" fmla="*/ 0 w 2537"/>
                <a:gd name="T43" fmla="*/ 87 h 2130"/>
                <a:gd name="T44" fmla="*/ 59 w 2537"/>
                <a:gd name="T45" fmla="*/ 204 h 2130"/>
                <a:gd name="T46" fmla="*/ 262 w 2537"/>
                <a:gd name="T47" fmla="*/ 408 h 2130"/>
                <a:gd name="T48" fmla="*/ 204 w 2537"/>
                <a:gd name="T49" fmla="*/ 496 h 2130"/>
                <a:gd name="T50" fmla="*/ 262 w 2537"/>
                <a:gd name="T51" fmla="*/ 671 h 2130"/>
                <a:gd name="T52" fmla="*/ 321 w 2537"/>
                <a:gd name="T53" fmla="*/ 817 h 2130"/>
                <a:gd name="T54" fmla="*/ 321 w 2537"/>
                <a:gd name="T55" fmla="*/ 1517 h 2130"/>
                <a:gd name="T56" fmla="*/ 1661 w 2537"/>
                <a:gd name="T57" fmla="*/ 1983 h 2130"/>
                <a:gd name="T58" fmla="*/ 2157 w 2537"/>
                <a:gd name="T59" fmla="*/ 1954 h 2130"/>
                <a:gd name="T60" fmla="*/ 2186 w 2537"/>
                <a:gd name="T61" fmla="*/ 2013 h 2130"/>
                <a:gd name="T62" fmla="*/ 2186 w 2537"/>
                <a:gd name="T63" fmla="*/ 2042 h 2130"/>
                <a:gd name="T64" fmla="*/ 2186 w 2537"/>
                <a:gd name="T65" fmla="*/ 2129 h 2130"/>
                <a:gd name="T66" fmla="*/ 2303 w 2537"/>
                <a:gd name="T67" fmla="*/ 2129 h 2130"/>
                <a:gd name="T68" fmla="*/ 2361 w 2537"/>
                <a:gd name="T69" fmla="*/ 2013 h 2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7" h="2130">
                  <a:moveTo>
                    <a:pt x="2361" y="2013"/>
                  </a:moveTo>
                  <a:lnTo>
                    <a:pt x="2361" y="2013"/>
                  </a:lnTo>
                  <a:cubicBezTo>
                    <a:pt x="2361" y="1983"/>
                    <a:pt x="2361" y="1925"/>
                    <a:pt x="2391" y="1896"/>
                  </a:cubicBezTo>
                  <a:lnTo>
                    <a:pt x="2391" y="1896"/>
                  </a:lnTo>
                  <a:cubicBezTo>
                    <a:pt x="2420" y="1896"/>
                    <a:pt x="2420" y="1896"/>
                    <a:pt x="2420" y="1896"/>
                  </a:cubicBezTo>
                  <a:lnTo>
                    <a:pt x="2420" y="1896"/>
                  </a:lnTo>
                  <a:cubicBezTo>
                    <a:pt x="2478" y="1896"/>
                    <a:pt x="2507" y="1867"/>
                    <a:pt x="2536" y="1867"/>
                  </a:cubicBezTo>
                  <a:cubicBezTo>
                    <a:pt x="2536" y="1837"/>
                    <a:pt x="2536" y="1837"/>
                    <a:pt x="2536" y="1808"/>
                  </a:cubicBezTo>
                  <a:cubicBezTo>
                    <a:pt x="2536" y="1779"/>
                    <a:pt x="2507" y="1751"/>
                    <a:pt x="2478" y="1721"/>
                  </a:cubicBezTo>
                  <a:cubicBezTo>
                    <a:pt x="2420" y="1692"/>
                    <a:pt x="2361" y="1634"/>
                    <a:pt x="2332" y="1546"/>
                  </a:cubicBezTo>
                  <a:lnTo>
                    <a:pt x="2332" y="1517"/>
                  </a:lnTo>
                  <a:cubicBezTo>
                    <a:pt x="2361" y="1487"/>
                    <a:pt x="2361" y="1487"/>
                    <a:pt x="2361" y="1487"/>
                  </a:cubicBezTo>
                  <a:cubicBezTo>
                    <a:pt x="2332" y="1401"/>
                    <a:pt x="2274" y="1342"/>
                    <a:pt x="2215" y="1313"/>
                  </a:cubicBezTo>
                  <a:lnTo>
                    <a:pt x="2215" y="1313"/>
                  </a:lnTo>
                  <a:lnTo>
                    <a:pt x="2215" y="1313"/>
                  </a:lnTo>
                  <a:cubicBezTo>
                    <a:pt x="2186" y="1283"/>
                    <a:pt x="2157" y="1254"/>
                    <a:pt x="2157" y="1254"/>
                  </a:cubicBezTo>
                  <a:cubicBezTo>
                    <a:pt x="2128" y="1225"/>
                    <a:pt x="2128" y="1225"/>
                    <a:pt x="2099" y="1196"/>
                  </a:cubicBezTo>
                  <a:lnTo>
                    <a:pt x="2099" y="1196"/>
                  </a:lnTo>
                  <a:cubicBezTo>
                    <a:pt x="2070" y="1167"/>
                    <a:pt x="2011" y="1108"/>
                    <a:pt x="2011" y="1080"/>
                  </a:cubicBezTo>
                  <a:cubicBezTo>
                    <a:pt x="2011" y="1051"/>
                    <a:pt x="2041" y="1021"/>
                    <a:pt x="2041" y="1021"/>
                  </a:cubicBezTo>
                  <a:cubicBezTo>
                    <a:pt x="2041" y="992"/>
                    <a:pt x="2041" y="992"/>
                    <a:pt x="2070" y="992"/>
                  </a:cubicBezTo>
                  <a:cubicBezTo>
                    <a:pt x="2070" y="963"/>
                    <a:pt x="2070" y="934"/>
                    <a:pt x="2070" y="904"/>
                  </a:cubicBezTo>
                  <a:cubicBezTo>
                    <a:pt x="2070" y="817"/>
                    <a:pt x="2011" y="787"/>
                    <a:pt x="1894" y="787"/>
                  </a:cubicBezTo>
                  <a:cubicBezTo>
                    <a:pt x="1865" y="787"/>
                    <a:pt x="1865" y="787"/>
                    <a:pt x="1865" y="787"/>
                  </a:cubicBezTo>
                  <a:lnTo>
                    <a:pt x="1865" y="787"/>
                  </a:lnTo>
                  <a:cubicBezTo>
                    <a:pt x="1865" y="758"/>
                    <a:pt x="1836" y="701"/>
                    <a:pt x="1836" y="671"/>
                  </a:cubicBezTo>
                  <a:cubicBezTo>
                    <a:pt x="1807" y="642"/>
                    <a:pt x="1778" y="613"/>
                    <a:pt x="1749" y="554"/>
                  </a:cubicBezTo>
                  <a:cubicBezTo>
                    <a:pt x="1691" y="554"/>
                    <a:pt x="1661" y="525"/>
                    <a:pt x="1632" y="496"/>
                  </a:cubicBezTo>
                  <a:lnTo>
                    <a:pt x="1603" y="467"/>
                  </a:lnTo>
                  <a:lnTo>
                    <a:pt x="1574" y="467"/>
                  </a:lnTo>
                  <a:cubicBezTo>
                    <a:pt x="1574" y="437"/>
                    <a:pt x="1544" y="437"/>
                    <a:pt x="1544" y="408"/>
                  </a:cubicBezTo>
                  <a:cubicBezTo>
                    <a:pt x="1544" y="380"/>
                    <a:pt x="1544" y="351"/>
                    <a:pt x="1544" y="351"/>
                  </a:cubicBezTo>
                  <a:cubicBezTo>
                    <a:pt x="1544" y="321"/>
                    <a:pt x="1544" y="321"/>
                    <a:pt x="1544" y="292"/>
                  </a:cubicBezTo>
                  <a:cubicBezTo>
                    <a:pt x="1544" y="263"/>
                    <a:pt x="1544" y="175"/>
                    <a:pt x="1544" y="175"/>
                  </a:cubicBezTo>
                  <a:cubicBezTo>
                    <a:pt x="1544" y="146"/>
                    <a:pt x="1515" y="146"/>
                    <a:pt x="1515" y="146"/>
                  </a:cubicBezTo>
                  <a:cubicBezTo>
                    <a:pt x="1515" y="117"/>
                    <a:pt x="1486" y="117"/>
                    <a:pt x="1486" y="87"/>
                  </a:cubicBezTo>
                  <a:cubicBezTo>
                    <a:pt x="1457" y="87"/>
                    <a:pt x="1428" y="59"/>
                    <a:pt x="1428" y="30"/>
                  </a:cubicBezTo>
                  <a:cubicBezTo>
                    <a:pt x="1399" y="30"/>
                    <a:pt x="1399" y="0"/>
                    <a:pt x="1370" y="0"/>
                  </a:cubicBezTo>
                  <a:cubicBezTo>
                    <a:pt x="1370" y="0"/>
                    <a:pt x="1311" y="0"/>
                    <a:pt x="1282" y="0"/>
                  </a:cubicBezTo>
                  <a:cubicBezTo>
                    <a:pt x="1253" y="0"/>
                    <a:pt x="1253" y="0"/>
                    <a:pt x="1224" y="0"/>
                  </a:cubicBezTo>
                  <a:cubicBezTo>
                    <a:pt x="903" y="0"/>
                    <a:pt x="437" y="30"/>
                    <a:pt x="87" y="30"/>
                  </a:cubicBezTo>
                  <a:cubicBezTo>
                    <a:pt x="0" y="30"/>
                    <a:pt x="0" y="30"/>
                    <a:pt x="0" y="30"/>
                  </a:cubicBezTo>
                  <a:lnTo>
                    <a:pt x="0" y="59"/>
                  </a:lnTo>
                  <a:lnTo>
                    <a:pt x="0" y="87"/>
                  </a:lnTo>
                  <a:cubicBezTo>
                    <a:pt x="29" y="117"/>
                    <a:pt x="29" y="146"/>
                    <a:pt x="29" y="146"/>
                  </a:cubicBezTo>
                  <a:cubicBezTo>
                    <a:pt x="29" y="175"/>
                    <a:pt x="29" y="204"/>
                    <a:pt x="59" y="204"/>
                  </a:cubicBezTo>
                  <a:cubicBezTo>
                    <a:pt x="59" y="234"/>
                    <a:pt x="116" y="263"/>
                    <a:pt x="145" y="292"/>
                  </a:cubicBezTo>
                  <a:cubicBezTo>
                    <a:pt x="204" y="292"/>
                    <a:pt x="262" y="321"/>
                    <a:pt x="262" y="408"/>
                  </a:cubicBezTo>
                  <a:cubicBezTo>
                    <a:pt x="262" y="437"/>
                    <a:pt x="233" y="437"/>
                    <a:pt x="233" y="467"/>
                  </a:cubicBezTo>
                  <a:lnTo>
                    <a:pt x="204" y="496"/>
                  </a:lnTo>
                  <a:cubicBezTo>
                    <a:pt x="204" y="554"/>
                    <a:pt x="204" y="613"/>
                    <a:pt x="233" y="642"/>
                  </a:cubicBezTo>
                  <a:cubicBezTo>
                    <a:pt x="233" y="642"/>
                    <a:pt x="262" y="642"/>
                    <a:pt x="262" y="671"/>
                  </a:cubicBezTo>
                  <a:cubicBezTo>
                    <a:pt x="292" y="671"/>
                    <a:pt x="292" y="701"/>
                    <a:pt x="321" y="701"/>
                  </a:cubicBezTo>
                  <a:cubicBezTo>
                    <a:pt x="321" y="730"/>
                    <a:pt x="321" y="758"/>
                    <a:pt x="321" y="817"/>
                  </a:cubicBezTo>
                  <a:lnTo>
                    <a:pt x="321" y="846"/>
                  </a:lnTo>
                  <a:cubicBezTo>
                    <a:pt x="321" y="1080"/>
                    <a:pt x="321" y="1313"/>
                    <a:pt x="321" y="1517"/>
                  </a:cubicBezTo>
                  <a:cubicBezTo>
                    <a:pt x="321" y="1692"/>
                    <a:pt x="321" y="1837"/>
                    <a:pt x="350" y="2013"/>
                  </a:cubicBezTo>
                  <a:cubicBezTo>
                    <a:pt x="757" y="2013"/>
                    <a:pt x="1224" y="1983"/>
                    <a:pt x="1661" y="1983"/>
                  </a:cubicBezTo>
                  <a:cubicBezTo>
                    <a:pt x="1807" y="1954"/>
                    <a:pt x="1982" y="1954"/>
                    <a:pt x="2128" y="1954"/>
                  </a:cubicBezTo>
                  <a:cubicBezTo>
                    <a:pt x="2157" y="1954"/>
                    <a:pt x="2157" y="1954"/>
                    <a:pt x="2157" y="1954"/>
                  </a:cubicBezTo>
                  <a:cubicBezTo>
                    <a:pt x="2157" y="1983"/>
                    <a:pt x="2157" y="1983"/>
                    <a:pt x="2157" y="1983"/>
                  </a:cubicBezTo>
                  <a:cubicBezTo>
                    <a:pt x="2157" y="1983"/>
                    <a:pt x="2157" y="2013"/>
                    <a:pt x="2186" y="2013"/>
                  </a:cubicBezTo>
                  <a:lnTo>
                    <a:pt x="2186" y="2042"/>
                  </a:lnTo>
                  <a:lnTo>
                    <a:pt x="2186" y="2042"/>
                  </a:lnTo>
                  <a:lnTo>
                    <a:pt x="2186" y="2042"/>
                  </a:lnTo>
                  <a:cubicBezTo>
                    <a:pt x="2186" y="2071"/>
                    <a:pt x="2186" y="2101"/>
                    <a:pt x="2186" y="2129"/>
                  </a:cubicBezTo>
                  <a:cubicBezTo>
                    <a:pt x="2186" y="2129"/>
                    <a:pt x="2186" y="2129"/>
                    <a:pt x="2215" y="2129"/>
                  </a:cubicBezTo>
                  <a:cubicBezTo>
                    <a:pt x="2244" y="2129"/>
                    <a:pt x="2274" y="2129"/>
                    <a:pt x="2303" y="2129"/>
                  </a:cubicBezTo>
                  <a:cubicBezTo>
                    <a:pt x="2332" y="2129"/>
                    <a:pt x="2332" y="2129"/>
                    <a:pt x="2332" y="2129"/>
                  </a:cubicBezTo>
                  <a:cubicBezTo>
                    <a:pt x="2361" y="2101"/>
                    <a:pt x="2361" y="2042"/>
                    <a:pt x="2361" y="201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1" name="Freeform 178">
              <a:extLst>
                <a:ext uri="{FF2B5EF4-FFF2-40B4-BE49-F238E27FC236}">
                  <a16:creationId xmlns:a16="http://schemas.microsoft.com/office/drawing/2014/main" id="{B5A80C62-4CF1-4AF0-BCE1-549B380798E8}"/>
                </a:ext>
              </a:extLst>
            </p:cNvPr>
            <p:cNvSpPr>
              <a:spLocks noChangeArrowheads="1"/>
            </p:cNvSpPr>
            <p:nvPr/>
          </p:nvSpPr>
          <p:spPr bwMode="auto">
            <a:xfrm>
              <a:off x="8827832" y="2108731"/>
              <a:ext cx="11416" cy="43694"/>
            </a:xfrm>
            <a:custGeom>
              <a:avLst/>
              <a:gdLst>
                <a:gd name="T0" fmla="*/ 0 w 31"/>
                <a:gd name="T1" fmla="*/ 117 h 118"/>
                <a:gd name="T2" fmla="*/ 0 w 31"/>
                <a:gd name="T3" fmla="*/ 117 h 118"/>
                <a:gd name="T4" fmla="*/ 0 w 31"/>
                <a:gd name="T5" fmla="*/ 59 h 118"/>
                <a:gd name="T6" fmla="*/ 30 w 31"/>
                <a:gd name="T7" fmla="*/ 0 h 118"/>
                <a:gd name="T8" fmla="*/ 0 w 31"/>
                <a:gd name="T9" fmla="*/ 59 h 118"/>
                <a:gd name="T10" fmla="*/ 0 w 31"/>
                <a:gd name="T11" fmla="*/ 117 h 118"/>
              </a:gdLst>
              <a:ahLst/>
              <a:cxnLst>
                <a:cxn ang="0">
                  <a:pos x="T0" y="T1"/>
                </a:cxn>
                <a:cxn ang="0">
                  <a:pos x="T2" y="T3"/>
                </a:cxn>
                <a:cxn ang="0">
                  <a:pos x="T4" y="T5"/>
                </a:cxn>
                <a:cxn ang="0">
                  <a:pos x="T6" y="T7"/>
                </a:cxn>
                <a:cxn ang="0">
                  <a:pos x="T8" y="T9"/>
                </a:cxn>
                <a:cxn ang="0">
                  <a:pos x="T10" y="T11"/>
                </a:cxn>
              </a:cxnLst>
              <a:rect l="0" t="0" r="r" b="b"/>
              <a:pathLst>
                <a:path w="31" h="118">
                  <a:moveTo>
                    <a:pt x="0" y="117"/>
                  </a:moveTo>
                  <a:lnTo>
                    <a:pt x="0" y="117"/>
                  </a:lnTo>
                  <a:cubicBezTo>
                    <a:pt x="0" y="88"/>
                    <a:pt x="0" y="88"/>
                    <a:pt x="0" y="59"/>
                  </a:cubicBezTo>
                  <a:cubicBezTo>
                    <a:pt x="0" y="29"/>
                    <a:pt x="0" y="0"/>
                    <a:pt x="30" y="0"/>
                  </a:cubicBezTo>
                  <a:cubicBezTo>
                    <a:pt x="0" y="0"/>
                    <a:pt x="0" y="29"/>
                    <a:pt x="0" y="59"/>
                  </a:cubicBezTo>
                  <a:cubicBezTo>
                    <a:pt x="0" y="88"/>
                    <a:pt x="0"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2" name="Freeform 179">
              <a:extLst>
                <a:ext uri="{FF2B5EF4-FFF2-40B4-BE49-F238E27FC236}">
                  <a16:creationId xmlns:a16="http://schemas.microsoft.com/office/drawing/2014/main" id="{D2078B6B-3470-4F58-80E5-1BC3532E85E6}"/>
                </a:ext>
              </a:extLst>
            </p:cNvPr>
            <p:cNvSpPr>
              <a:spLocks noChangeArrowheads="1"/>
            </p:cNvSpPr>
            <p:nvPr/>
          </p:nvSpPr>
          <p:spPr bwMode="auto">
            <a:xfrm>
              <a:off x="5021438" y="2484181"/>
              <a:ext cx="841516" cy="1016305"/>
            </a:xfrm>
            <a:custGeom>
              <a:avLst/>
              <a:gdLst>
                <a:gd name="T0" fmla="*/ 1983 w 2276"/>
                <a:gd name="T1" fmla="*/ 2770 h 2771"/>
                <a:gd name="T2" fmla="*/ 1983 w 2276"/>
                <a:gd name="T3" fmla="*/ 2770 h 2771"/>
                <a:gd name="T4" fmla="*/ 2275 w 2276"/>
                <a:gd name="T5" fmla="*/ 846 h 2771"/>
                <a:gd name="T6" fmla="*/ 1954 w 2276"/>
                <a:gd name="T7" fmla="*/ 788 h 2771"/>
                <a:gd name="T8" fmla="*/ 1516 w 2276"/>
                <a:gd name="T9" fmla="*/ 700 h 2771"/>
                <a:gd name="T10" fmla="*/ 1516 w 2276"/>
                <a:gd name="T11" fmla="*/ 700 h 2771"/>
                <a:gd name="T12" fmla="*/ 1516 w 2276"/>
                <a:gd name="T13" fmla="*/ 700 h 2771"/>
                <a:gd name="T14" fmla="*/ 1545 w 2276"/>
                <a:gd name="T15" fmla="*/ 467 h 2771"/>
                <a:gd name="T16" fmla="*/ 1604 w 2276"/>
                <a:gd name="T17" fmla="*/ 233 h 2771"/>
                <a:gd name="T18" fmla="*/ 1283 w 2276"/>
                <a:gd name="T19" fmla="*/ 175 h 2771"/>
                <a:gd name="T20" fmla="*/ 554 w 2276"/>
                <a:gd name="T21" fmla="*/ 0 h 2771"/>
                <a:gd name="T22" fmla="*/ 0 w 2276"/>
                <a:gd name="T23" fmla="*/ 2421 h 2771"/>
                <a:gd name="T24" fmla="*/ 1778 w 2276"/>
                <a:gd name="T25" fmla="*/ 2741 h 2771"/>
                <a:gd name="T26" fmla="*/ 1983 w 2276"/>
                <a:gd name="T27" fmla="*/ 277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6" h="2771">
                  <a:moveTo>
                    <a:pt x="1983" y="2770"/>
                  </a:moveTo>
                  <a:lnTo>
                    <a:pt x="1983" y="2770"/>
                  </a:lnTo>
                  <a:cubicBezTo>
                    <a:pt x="2071" y="2158"/>
                    <a:pt x="2158" y="1546"/>
                    <a:pt x="2275" y="846"/>
                  </a:cubicBezTo>
                  <a:cubicBezTo>
                    <a:pt x="2158" y="817"/>
                    <a:pt x="2071" y="817"/>
                    <a:pt x="1954" y="788"/>
                  </a:cubicBezTo>
                  <a:cubicBezTo>
                    <a:pt x="1808" y="758"/>
                    <a:pt x="1662" y="758"/>
                    <a:pt x="1516" y="700"/>
                  </a:cubicBezTo>
                  <a:lnTo>
                    <a:pt x="1516" y="700"/>
                  </a:lnTo>
                  <a:lnTo>
                    <a:pt x="1516" y="700"/>
                  </a:lnTo>
                  <a:cubicBezTo>
                    <a:pt x="1545" y="612"/>
                    <a:pt x="1545" y="524"/>
                    <a:pt x="1545" y="467"/>
                  </a:cubicBezTo>
                  <a:cubicBezTo>
                    <a:pt x="1575" y="379"/>
                    <a:pt x="1604" y="291"/>
                    <a:pt x="1604" y="233"/>
                  </a:cubicBezTo>
                  <a:cubicBezTo>
                    <a:pt x="1283" y="175"/>
                    <a:pt x="1283" y="175"/>
                    <a:pt x="1283" y="175"/>
                  </a:cubicBezTo>
                  <a:cubicBezTo>
                    <a:pt x="1021" y="117"/>
                    <a:pt x="787" y="58"/>
                    <a:pt x="554" y="0"/>
                  </a:cubicBezTo>
                  <a:cubicBezTo>
                    <a:pt x="350" y="817"/>
                    <a:pt x="175" y="1633"/>
                    <a:pt x="0" y="2421"/>
                  </a:cubicBezTo>
                  <a:cubicBezTo>
                    <a:pt x="583" y="2538"/>
                    <a:pt x="1195" y="2654"/>
                    <a:pt x="1778" y="2741"/>
                  </a:cubicBezTo>
                  <a:lnTo>
                    <a:pt x="1983" y="27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3" name="Freeform 180">
              <a:extLst>
                <a:ext uri="{FF2B5EF4-FFF2-40B4-BE49-F238E27FC236}">
                  <a16:creationId xmlns:a16="http://schemas.microsoft.com/office/drawing/2014/main" id="{0A3F5EEE-771E-43CB-B3D8-4C178E97C044}"/>
                </a:ext>
              </a:extLst>
            </p:cNvPr>
            <p:cNvSpPr>
              <a:spLocks noChangeArrowheads="1"/>
            </p:cNvSpPr>
            <p:nvPr/>
          </p:nvSpPr>
          <p:spPr bwMode="auto">
            <a:xfrm>
              <a:off x="9140954" y="1959846"/>
              <a:ext cx="11416" cy="21038"/>
            </a:xfrm>
            <a:custGeom>
              <a:avLst/>
              <a:gdLst>
                <a:gd name="T0" fmla="*/ 29 w 30"/>
                <a:gd name="T1" fmla="*/ 0 h 59"/>
                <a:gd name="T2" fmla="*/ 29 w 30"/>
                <a:gd name="T3" fmla="*/ 0 h 59"/>
                <a:gd name="T4" fmla="*/ 29 w 30"/>
                <a:gd name="T5" fmla="*/ 29 h 59"/>
                <a:gd name="T6" fmla="*/ 29 w 30"/>
                <a:gd name="T7" fmla="*/ 58 h 59"/>
                <a:gd name="T8" fmla="*/ 29 w 30"/>
                <a:gd name="T9" fmla="*/ 29 h 59"/>
                <a:gd name="T10" fmla="*/ 29 w 30"/>
                <a:gd name="T11" fmla="*/ 0 h 59"/>
                <a:gd name="T12" fmla="*/ 0 w 30"/>
                <a:gd name="T13" fmla="*/ 0 h 59"/>
                <a:gd name="T14" fmla="*/ 29 w 30"/>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9">
                  <a:moveTo>
                    <a:pt x="29" y="0"/>
                  </a:moveTo>
                  <a:lnTo>
                    <a:pt x="29" y="0"/>
                  </a:lnTo>
                  <a:cubicBezTo>
                    <a:pt x="29" y="29"/>
                    <a:pt x="29" y="29"/>
                    <a:pt x="29" y="29"/>
                  </a:cubicBezTo>
                  <a:lnTo>
                    <a:pt x="29" y="58"/>
                  </a:lnTo>
                  <a:lnTo>
                    <a:pt x="29" y="29"/>
                  </a:lnTo>
                  <a:cubicBezTo>
                    <a:pt x="29" y="29"/>
                    <a:pt x="29" y="29"/>
                    <a:pt x="29" y="0"/>
                  </a:cubicBez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4" name="Freeform 181">
              <a:extLst>
                <a:ext uri="{FF2B5EF4-FFF2-40B4-BE49-F238E27FC236}">
                  <a16:creationId xmlns:a16="http://schemas.microsoft.com/office/drawing/2014/main" id="{EC74964E-AB8D-44E5-8875-356784EB2A04}"/>
                </a:ext>
              </a:extLst>
            </p:cNvPr>
            <p:cNvSpPr>
              <a:spLocks noChangeArrowheads="1"/>
            </p:cNvSpPr>
            <p:nvPr/>
          </p:nvSpPr>
          <p:spPr bwMode="auto">
            <a:xfrm>
              <a:off x="9064305" y="1937189"/>
              <a:ext cx="44032" cy="11328"/>
            </a:xfrm>
            <a:custGeom>
              <a:avLst/>
              <a:gdLst>
                <a:gd name="T0" fmla="*/ 0 w 117"/>
                <a:gd name="T1" fmla="*/ 0 h 30"/>
                <a:gd name="T2" fmla="*/ 0 w 117"/>
                <a:gd name="T3" fmla="*/ 0 h 30"/>
                <a:gd name="T4" fmla="*/ 57 w 117"/>
                <a:gd name="T5" fmla="*/ 0 h 30"/>
                <a:gd name="T6" fmla="*/ 116 w 117"/>
                <a:gd name="T7" fmla="*/ 29 h 30"/>
                <a:gd name="T8" fmla="*/ 57 w 117"/>
                <a:gd name="T9" fmla="*/ 0 h 30"/>
                <a:gd name="T10" fmla="*/ 0 w 117"/>
                <a:gd name="T11" fmla="*/ 0 h 30"/>
              </a:gdLst>
              <a:ahLst/>
              <a:cxnLst>
                <a:cxn ang="0">
                  <a:pos x="T0" y="T1"/>
                </a:cxn>
                <a:cxn ang="0">
                  <a:pos x="T2" y="T3"/>
                </a:cxn>
                <a:cxn ang="0">
                  <a:pos x="T4" y="T5"/>
                </a:cxn>
                <a:cxn ang="0">
                  <a:pos x="T6" y="T7"/>
                </a:cxn>
                <a:cxn ang="0">
                  <a:pos x="T8" y="T9"/>
                </a:cxn>
                <a:cxn ang="0">
                  <a:pos x="T10" y="T11"/>
                </a:cxn>
              </a:cxnLst>
              <a:rect l="0" t="0" r="r" b="b"/>
              <a:pathLst>
                <a:path w="117" h="30">
                  <a:moveTo>
                    <a:pt x="0" y="0"/>
                  </a:moveTo>
                  <a:lnTo>
                    <a:pt x="0" y="0"/>
                  </a:lnTo>
                  <a:cubicBezTo>
                    <a:pt x="28" y="0"/>
                    <a:pt x="28" y="0"/>
                    <a:pt x="57" y="0"/>
                  </a:cubicBezTo>
                  <a:cubicBezTo>
                    <a:pt x="87" y="0"/>
                    <a:pt x="87" y="0"/>
                    <a:pt x="116" y="29"/>
                  </a:cubicBezTo>
                  <a:cubicBezTo>
                    <a:pt x="87" y="0"/>
                    <a:pt x="87" y="0"/>
                    <a:pt x="57" y="0"/>
                  </a:cubicBezTo>
                  <a:cubicBezTo>
                    <a:pt x="28" y="0"/>
                    <a:pt x="28"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5" name="Freeform 182">
              <a:extLst>
                <a:ext uri="{FF2B5EF4-FFF2-40B4-BE49-F238E27FC236}">
                  <a16:creationId xmlns:a16="http://schemas.microsoft.com/office/drawing/2014/main" id="{A0F9D420-74F5-41B8-B0D7-ECDA5ED57784}"/>
                </a:ext>
              </a:extLst>
            </p:cNvPr>
            <p:cNvSpPr>
              <a:spLocks noChangeArrowheads="1"/>
            </p:cNvSpPr>
            <p:nvPr/>
          </p:nvSpPr>
          <p:spPr bwMode="auto">
            <a:xfrm>
              <a:off x="9096922" y="210873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6" name="Freeform 183">
              <a:extLst>
                <a:ext uri="{FF2B5EF4-FFF2-40B4-BE49-F238E27FC236}">
                  <a16:creationId xmlns:a16="http://schemas.microsoft.com/office/drawing/2014/main" id="{9491513E-8E5B-4B84-BB8F-224B1678F155}"/>
                </a:ext>
              </a:extLst>
            </p:cNvPr>
            <p:cNvSpPr>
              <a:spLocks noChangeArrowheads="1"/>
            </p:cNvSpPr>
            <p:nvPr/>
          </p:nvSpPr>
          <p:spPr bwMode="auto">
            <a:xfrm>
              <a:off x="8968084" y="1980883"/>
              <a:ext cx="32617" cy="11329"/>
            </a:xfrm>
            <a:custGeom>
              <a:avLst/>
              <a:gdLst>
                <a:gd name="T0" fmla="*/ 0 w 88"/>
                <a:gd name="T1" fmla="*/ 29 h 30"/>
                <a:gd name="T2" fmla="*/ 0 w 88"/>
                <a:gd name="T3" fmla="*/ 29 h 30"/>
                <a:gd name="T4" fmla="*/ 0 w 88"/>
                <a:gd name="T5" fmla="*/ 29 h 30"/>
                <a:gd name="T6" fmla="*/ 87 w 88"/>
                <a:gd name="T7" fmla="*/ 0 h 30"/>
                <a:gd name="T8" fmla="*/ 0 w 88"/>
                <a:gd name="T9" fmla="*/ 29 h 30"/>
              </a:gdLst>
              <a:ahLst/>
              <a:cxnLst>
                <a:cxn ang="0">
                  <a:pos x="T0" y="T1"/>
                </a:cxn>
                <a:cxn ang="0">
                  <a:pos x="T2" y="T3"/>
                </a:cxn>
                <a:cxn ang="0">
                  <a:pos x="T4" y="T5"/>
                </a:cxn>
                <a:cxn ang="0">
                  <a:pos x="T6" y="T7"/>
                </a:cxn>
                <a:cxn ang="0">
                  <a:pos x="T8" y="T9"/>
                </a:cxn>
              </a:cxnLst>
              <a:rect l="0" t="0" r="r" b="b"/>
              <a:pathLst>
                <a:path w="88" h="30">
                  <a:moveTo>
                    <a:pt x="0" y="29"/>
                  </a:moveTo>
                  <a:lnTo>
                    <a:pt x="0" y="29"/>
                  </a:lnTo>
                  <a:lnTo>
                    <a:pt x="0" y="29"/>
                  </a:lnTo>
                  <a:cubicBezTo>
                    <a:pt x="29" y="29"/>
                    <a:pt x="58" y="0"/>
                    <a:pt x="87" y="0"/>
                  </a:cubicBezTo>
                  <a:cubicBezTo>
                    <a:pt x="58"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7" name="Freeform 184">
              <a:extLst>
                <a:ext uri="{FF2B5EF4-FFF2-40B4-BE49-F238E27FC236}">
                  <a16:creationId xmlns:a16="http://schemas.microsoft.com/office/drawing/2014/main" id="{E473C724-D2CA-4967-96A3-32CE3B5CEB24}"/>
                </a:ext>
              </a:extLst>
            </p:cNvPr>
            <p:cNvSpPr>
              <a:spLocks noChangeArrowheads="1"/>
            </p:cNvSpPr>
            <p:nvPr/>
          </p:nvSpPr>
          <p:spPr bwMode="auto">
            <a:xfrm>
              <a:off x="9171941" y="1990593"/>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8" name="Freeform 185">
              <a:extLst>
                <a:ext uri="{FF2B5EF4-FFF2-40B4-BE49-F238E27FC236}">
                  <a16:creationId xmlns:a16="http://schemas.microsoft.com/office/drawing/2014/main" id="{4BD56716-CC80-4792-94E4-7AB90847C277}"/>
                </a:ext>
              </a:extLst>
            </p:cNvPr>
            <p:cNvSpPr>
              <a:spLocks noChangeArrowheads="1"/>
            </p:cNvSpPr>
            <p:nvPr/>
          </p:nvSpPr>
          <p:spPr bwMode="auto">
            <a:xfrm>
              <a:off x="9162156" y="1990593"/>
              <a:ext cx="1630" cy="11329"/>
            </a:xfrm>
            <a:custGeom>
              <a:avLst/>
              <a:gdLst>
                <a:gd name="T0" fmla="*/ 0 w 1"/>
                <a:gd name="T1" fmla="*/ 0 h 31"/>
                <a:gd name="T2" fmla="*/ 0 w 1"/>
                <a:gd name="T3" fmla="*/ 3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3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9" name="Freeform 186">
              <a:extLst>
                <a:ext uri="{FF2B5EF4-FFF2-40B4-BE49-F238E27FC236}">
                  <a16:creationId xmlns:a16="http://schemas.microsoft.com/office/drawing/2014/main" id="{D435F392-4CBD-49AC-9F17-859998665C4F}"/>
                </a:ext>
              </a:extLst>
            </p:cNvPr>
            <p:cNvSpPr>
              <a:spLocks noChangeArrowheads="1"/>
            </p:cNvSpPr>
            <p:nvPr/>
          </p:nvSpPr>
          <p:spPr bwMode="auto">
            <a:xfrm>
              <a:off x="9162156" y="1969555"/>
              <a:ext cx="1630" cy="11328"/>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cubicBezTo>
                    <a:pt x="0" y="29"/>
                    <a:pt x="0" y="29"/>
                    <a:pt x="0" y="29"/>
                  </a:cubicBez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0" name="Freeform 187">
              <a:extLst>
                <a:ext uri="{FF2B5EF4-FFF2-40B4-BE49-F238E27FC236}">
                  <a16:creationId xmlns:a16="http://schemas.microsoft.com/office/drawing/2014/main" id="{C9868362-B5E7-448F-B445-860ABA5E34EF}"/>
                </a:ext>
              </a:extLst>
            </p:cNvPr>
            <p:cNvSpPr>
              <a:spLocks noChangeArrowheads="1"/>
            </p:cNvSpPr>
            <p:nvPr/>
          </p:nvSpPr>
          <p:spPr bwMode="auto">
            <a:xfrm>
              <a:off x="8914267" y="2001922"/>
              <a:ext cx="11415"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1" name="Freeform 188">
              <a:extLst>
                <a:ext uri="{FF2B5EF4-FFF2-40B4-BE49-F238E27FC236}">
                  <a16:creationId xmlns:a16="http://schemas.microsoft.com/office/drawing/2014/main" id="{02D57ED7-702D-4E27-8FB3-4F7AE968C47A}"/>
                </a:ext>
              </a:extLst>
            </p:cNvPr>
            <p:cNvSpPr>
              <a:spLocks noChangeArrowheads="1"/>
            </p:cNvSpPr>
            <p:nvPr/>
          </p:nvSpPr>
          <p:spPr bwMode="auto">
            <a:xfrm>
              <a:off x="8860449" y="2001922"/>
              <a:ext cx="53818" cy="53404"/>
            </a:xfrm>
            <a:custGeom>
              <a:avLst/>
              <a:gdLst>
                <a:gd name="T0" fmla="*/ 0 w 147"/>
                <a:gd name="T1" fmla="*/ 145 h 146"/>
                <a:gd name="T2" fmla="*/ 0 w 147"/>
                <a:gd name="T3" fmla="*/ 145 h 146"/>
                <a:gd name="T4" fmla="*/ 146 w 147"/>
                <a:gd name="T5" fmla="*/ 0 h 146"/>
                <a:gd name="T6" fmla="*/ 0 w 147"/>
                <a:gd name="T7" fmla="*/ 145 h 146"/>
              </a:gdLst>
              <a:ahLst/>
              <a:cxnLst>
                <a:cxn ang="0">
                  <a:pos x="T0" y="T1"/>
                </a:cxn>
                <a:cxn ang="0">
                  <a:pos x="T2" y="T3"/>
                </a:cxn>
                <a:cxn ang="0">
                  <a:pos x="T4" y="T5"/>
                </a:cxn>
                <a:cxn ang="0">
                  <a:pos x="T6" y="T7"/>
                </a:cxn>
              </a:cxnLst>
              <a:rect l="0" t="0" r="r" b="b"/>
              <a:pathLst>
                <a:path w="147" h="146">
                  <a:moveTo>
                    <a:pt x="0" y="145"/>
                  </a:moveTo>
                  <a:lnTo>
                    <a:pt x="0" y="145"/>
                  </a:lnTo>
                  <a:cubicBezTo>
                    <a:pt x="29" y="87"/>
                    <a:pt x="117" y="0"/>
                    <a:pt x="146" y="0"/>
                  </a:cubicBezTo>
                  <a:cubicBezTo>
                    <a:pt x="88" y="0"/>
                    <a:pt x="29" y="87"/>
                    <a:pt x="0"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2" name="Freeform 189">
              <a:extLst>
                <a:ext uri="{FF2B5EF4-FFF2-40B4-BE49-F238E27FC236}">
                  <a16:creationId xmlns:a16="http://schemas.microsoft.com/office/drawing/2014/main" id="{74933847-B5F5-4E62-AA43-949AA392002C}"/>
                </a:ext>
              </a:extLst>
            </p:cNvPr>
            <p:cNvSpPr>
              <a:spLocks noChangeArrowheads="1"/>
            </p:cNvSpPr>
            <p:nvPr/>
          </p:nvSpPr>
          <p:spPr bwMode="auto">
            <a:xfrm>
              <a:off x="8925682" y="2013250"/>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3" name="Freeform 190">
              <a:extLst>
                <a:ext uri="{FF2B5EF4-FFF2-40B4-BE49-F238E27FC236}">
                  <a16:creationId xmlns:a16="http://schemas.microsoft.com/office/drawing/2014/main" id="{0405CBA9-FA17-46B0-8CB1-FFDCB65643D0}"/>
                </a:ext>
              </a:extLst>
            </p:cNvPr>
            <p:cNvSpPr>
              <a:spLocks noChangeArrowheads="1"/>
            </p:cNvSpPr>
            <p:nvPr/>
          </p:nvSpPr>
          <p:spPr bwMode="auto">
            <a:xfrm>
              <a:off x="8925682" y="200192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4" name="Freeform 191">
              <a:extLst>
                <a:ext uri="{FF2B5EF4-FFF2-40B4-BE49-F238E27FC236}">
                  <a16:creationId xmlns:a16="http://schemas.microsoft.com/office/drawing/2014/main" id="{A5A14E05-6250-4EA9-8081-DECA69E99052}"/>
                </a:ext>
              </a:extLst>
            </p:cNvPr>
            <p:cNvSpPr>
              <a:spLocks noChangeArrowheads="1"/>
            </p:cNvSpPr>
            <p:nvPr/>
          </p:nvSpPr>
          <p:spPr bwMode="auto">
            <a:xfrm>
              <a:off x="8946884" y="2022960"/>
              <a:ext cx="11415" cy="21039"/>
            </a:xfrm>
            <a:custGeom>
              <a:avLst/>
              <a:gdLst>
                <a:gd name="T0" fmla="*/ 28 w 29"/>
                <a:gd name="T1" fmla="*/ 0 h 59"/>
                <a:gd name="T2" fmla="*/ 28 w 29"/>
                <a:gd name="T3" fmla="*/ 0 h 59"/>
                <a:gd name="T4" fmla="*/ 0 w 29"/>
                <a:gd name="T5" fmla="*/ 58 h 59"/>
                <a:gd name="T6" fmla="*/ 28 w 29"/>
                <a:gd name="T7" fmla="*/ 0 h 59"/>
              </a:gdLst>
              <a:ahLst/>
              <a:cxnLst>
                <a:cxn ang="0">
                  <a:pos x="T0" y="T1"/>
                </a:cxn>
                <a:cxn ang="0">
                  <a:pos x="T2" y="T3"/>
                </a:cxn>
                <a:cxn ang="0">
                  <a:pos x="T4" y="T5"/>
                </a:cxn>
                <a:cxn ang="0">
                  <a:pos x="T6" y="T7"/>
                </a:cxn>
              </a:cxnLst>
              <a:rect l="0" t="0" r="r" b="b"/>
              <a:pathLst>
                <a:path w="29" h="59">
                  <a:moveTo>
                    <a:pt x="28" y="0"/>
                  </a:moveTo>
                  <a:lnTo>
                    <a:pt x="28" y="0"/>
                  </a:lnTo>
                  <a:cubicBezTo>
                    <a:pt x="28" y="29"/>
                    <a:pt x="0" y="29"/>
                    <a:pt x="0" y="58"/>
                  </a:cubicBezTo>
                  <a:cubicBezTo>
                    <a:pt x="0" y="29"/>
                    <a:pt x="28" y="29"/>
                    <a:pt x="2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5" name="Freeform 192">
              <a:extLst>
                <a:ext uri="{FF2B5EF4-FFF2-40B4-BE49-F238E27FC236}">
                  <a16:creationId xmlns:a16="http://schemas.microsoft.com/office/drawing/2014/main" id="{6228DA48-D95A-4338-BC5E-1775D040AFE1}"/>
                </a:ext>
              </a:extLst>
            </p:cNvPr>
            <p:cNvSpPr>
              <a:spLocks noChangeArrowheads="1"/>
            </p:cNvSpPr>
            <p:nvPr/>
          </p:nvSpPr>
          <p:spPr bwMode="auto">
            <a:xfrm>
              <a:off x="10585883" y="3115326"/>
              <a:ext cx="1631"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6" name="Freeform 193">
              <a:extLst>
                <a:ext uri="{FF2B5EF4-FFF2-40B4-BE49-F238E27FC236}">
                  <a16:creationId xmlns:a16="http://schemas.microsoft.com/office/drawing/2014/main" id="{B1491626-A111-47B8-8DBD-81F92133AC01}"/>
                </a:ext>
              </a:extLst>
            </p:cNvPr>
            <p:cNvSpPr>
              <a:spLocks noChangeArrowheads="1"/>
            </p:cNvSpPr>
            <p:nvPr/>
          </p:nvSpPr>
          <p:spPr bwMode="auto">
            <a:xfrm>
              <a:off x="10574468" y="3125036"/>
              <a:ext cx="11415" cy="11328"/>
            </a:xfrm>
            <a:custGeom>
              <a:avLst/>
              <a:gdLst>
                <a:gd name="T0" fmla="*/ 0 w 30"/>
                <a:gd name="T1" fmla="*/ 29 h 30"/>
                <a:gd name="T2" fmla="*/ 0 w 30"/>
                <a:gd name="T3" fmla="*/ 29 h 30"/>
                <a:gd name="T4" fmla="*/ 0 w 30"/>
                <a:gd name="T5" fmla="*/ 29 h 30"/>
                <a:gd name="T6" fmla="*/ 0 w 30"/>
                <a:gd name="T7" fmla="*/ 0 h 30"/>
                <a:gd name="T8" fmla="*/ 29 w 30"/>
                <a:gd name="T9" fmla="*/ 0 h 30"/>
                <a:gd name="T10" fmla="*/ 0 w 30"/>
                <a:gd name="T11" fmla="*/ 0 h 30"/>
                <a:gd name="T12" fmla="*/ 0 w 30"/>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0" y="29"/>
                  </a:moveTo>
                  <a:lnTo>
                    <a:pt x="0" y="29"/>
                  </a:lnTo>
                  <a:lnTo>
                    <a:pt x="0" y="29"/>
                  </a:lnTo>
                  <a:cubicBezTo>
                    <a:pt x="0" y="29"/>
                    <a:pt x="0" y="29"/>
                    <a:pt x="0" y="0"/>
                  </a:cubicBezTo>
                  <a:cubicBezTo>
                    <a:pt x="0" y="0"/>
                    <a:pt x="0" y="0"/>
                    <a:pt x="29" y="0"/>
                  </a:cubicBezTo>
                  <a:cubicBezTo>
                    <a:pt x="0" y="0"/>
                    <a:pt x="0" y="0"/>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7" name="Freeform 194">
              <a:extLst>
                <a:ext uri="{FF2B5EF4-FFF2-40B4-BE49-F238E27FC236}">
                  <a16:creationId xmlns:a16="http://schemas.microsoft.com/office/drawing/2014/main" id="{470BDB39-F823-4294-B742-5AE061F46EB8}"/>
                </a:ext>
              </a:extLst>
            </p:cNvPr>
            <p:cNvSpPr>
              <a:spLocks noChangeArrowheads="1"/>
            </p:cNvSpPr>
            <p:nvPr/>
          </p:nvSpPr>
          <p:spPr bwMode="auto">
            <a:xfrm>
              <a:off x="10607085" y="320109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8" name="Freeform 195">
              <a:extLst>
                <a:ext uri="{FF2B5EF4-FFF2-40B4-BE49-F238E27FC236}">
                  <a16:creationId xmlns:a16="http://schemas.microsoft.com/office/drawing/2014/main" id="{08BE29EA-CD16-4765-8C96-5A20CF1043E8}"/>
                </a:ext>
              </a:extLst>
            </p:cNvPr>
            <p:cNvSpPr>
              <a:spLocks noChangeArrowheads="1"/>
            </p:cNvSpPr>
            <p:nvPr/>
          </p:nvSpPr>
          <p:spPr bwMode="auto">
            <a:xfrm>
              <a:off x="10574468" y="3029555"/>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9" name="Freeform 196">
              <a:extLst>
                <a:ext uri="{FF2B5EF4-FFF2-40B4-BE49-F238E27FC236}">
                  <a16:creationId xmlns:a16="http://schemas.microsoft.com/office/drawing/2014/main" id="{E09EDD69-29BC-4171-AD9A-937C02ED09D4}"/>
                </a:ext>
              </a:extLst>
            </p:cNvPr>
            <p:cNvSpPr>
              <a:spLocks noChangeArrowheads="1"/>
            </p:cNvSpPr>
            <p:nvPr/>
          </p:nvSpPr>
          <p:spPr bwMode="auto">
            <a:xfrm>
              <a:off x="10618500" y="3168730"/>
              <a:ext cx="11416" cy="11329"/>
            </a:xfrm>
            <a:custGeom>
              <a:avLst/>
              <a:gdLst>
                <a:gd name="T0" fmla="*/ 0 w 30"/>
                <a:gd name="T1" fmla="*/ 0 h 29"/>
                <a:gd name="T2" fmla="*/ 0 w 30"/>
                <a:gd name="T3" fmla="*/ 0 h 29"/>
                <a:gd name="T4" fmla="*/ 29 w 30"/>
                <a:gd name="T5" fmla="*/ 28 h 29"/>
                <a:gd name="T6" fmla="*/ 0 w 30"/>
                <a:gd name="T7" fmla="*/ 0 h 29"/>
              </a:gdLst>
              <a:ahLst/>
              <a:cxnLst>
                <a:cxn ang="0">
                  <a:pos x="T0" y="T1"/>
                </a:cxn>
                <a:cxn ang="0">
                  <a:pos x="T2" y="T3"/>
                </a:cxn>
                <a:cxn ang="0">
                  <a:pos x="T4" y="T5"/>
                </a:cxn>
                <a:cxn ang="0">
                  <a:pos x="T6" y="T7"/>
                </a:cxn>
              </a:cxnLst>
              <a:rect l="0" t="0" r="r" b="b"/>
              <a:pathLst>
                <a:path w="30" h="29">
                  <a:moveTo>
                    <a:pt x="0" y="0"/>
                  </a:moveTo>
                  <a:lnTo>
                    <a:pt x="0" y="0"/>
                  </a:lnTo>
                  <a:cubicBezTo>
                    <a:pt x="0" y="0"/>
                    <a:pt x="0" y="0"/>
                    <a:pt x="29" y="28"/>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0" name="Freeform 197">
              <a:extLst>
                <a:ext uri="{FF2B5EF4-FFF2-40B4-BE49-F238E27FC236}">
                  <a16:creationId xmlns:a16="http://schemas.microsoft.com/office/drawing/2014/main" id="{097CED5F-3F60-4358-930D-C79C5C4C5A75}"/>
                </a:ext>
              </a:extLst>
            </p:cNvPr>
            <p:cNvSpPr>
              <a:spLocks noChangeArrowheads="1"/>
            </p:cNvSpPr>
            <p:nvPr/>
          </p:nvSpPr>
          <p:spPr bwMode="auto">
            <a:xfrm>
              <a:off x="10574468" y="310399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1" name="Freeform 198">
              <a:extLst>
                <a:ext uri="{FF2B5EF4-FFF2-40B4-BE49-F238E27FC236}">
                  <a16:creationId xmlns:a16="http://schemas.microsoft.com/office/drawing/2014/main" id="{AABEEEE1-4E13-430E-83B6-3338F2AC7A19}"/>
                </a:ext>
              </a:extLst>
            </p:cNvPr>
            <p:cNvSpPr>
              <a:spLocks noChangeArrowheads="1"/>
            </p:cNvSpPr>
            <p:nvPr/>
          </p:nvSpPr>
          <p:spPr bwMode="auto">
            <a:xfrm>
              <a:off x="10574468" y="3071631"/>
              <a:ext cx="21200" cy="1619"/>
            </a:xfrm>
            <a:custGeom>
              <a:avLst/>
              <a:gdLst>
                <a:gd name="T0" fmla="*/ 0 w 58"/>
                <a:gd name="T1" fmla="*/ 0 h 1"/>
                <a:gd name="T2" fmla="*/ 0 w 58"/>
                <a:gd name="T3" fmla="*/ 0 h 1"/>
                <a:gd name="T4" fmla="*/ 57 w 58"/>
                <a:gd name="T5" fmla="*/ 0 h 1"/>
                <a:gd name="T6" fmla="*/ 57 w 58"/>
                <a:gd name="T7" fmla="*/ 0 h 1"/>
                <a:gd name="T8" fmla="*/ 0 w 58"/>
                <a:gd name="T9" fmla="*/ 0 h 1"/>
              </a:gdLst>
              <a:ahLst/>
              <a:cxnLst>
                <a:cxn ang="0">
                  <a:pos x="T0" y="T1"/>
                </a:cxn>
                <a:cxn ang="0">
                  <a:pos x="T2" y="T3"/>
                </a:cxn>
                <a:cxn ang="0">
                  <a:pos x="T4" y="T5"/>
                </a:cxn>
                <a:cxn ang="0">
                  <a:pos x="T6" y="T7"/>
                </a:cxn>
                <a:cxn ang="0">
                  <a:pos x="T8" y="T9"/>
                </a:cxn>
              </a:cxnLst>
              <a:rect l="0" t="0" r="r" b="b"/>
              <a:pathLst>
                <a:path w="58" h="1">
                  <a:moveTo>
                    <a:pt x="0" y="0"/>
                  </a:moveTo>
                  <a:lnTo>
                    <a:pt x="0" y="0"/>
                  </a:lnTo>
                  <a:cubicBezTo>
                    <a:pt x="57" y="0"/>
                    <a:pt x="57" y="0"/>
                    <a:pt x="57" y="0"/>
                  </a:cubicBezTo>
                  <a:lnTo>
                    <a:pt x="57"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2" name="Freeform 199">
              <a:extLst>
                <a:ext uri="{FF2B5EF4-FFF2-40B4-BE49-F238E27FC236}">
                  <a16:creationId xmlns:a16="http://schemas.microsoft.com/office/drawing/2014/main" id="{3545B2AA-593A-4224-B0B6-023BB24D50B6}"/>
                </a:ext>
              </a:extLst>
            </p:cNvPr>
            <p:cNvSpPr>
              <a:spLocks noChangeArrowheads="1"/>
            </p:cNvSpPr>
            <p:nvPr/>
          </p:nvSpPr>
          <p:spPr bwMode="auto">
            <a:xfrm>
              <a:off x="10585883" y="3157402"/>
              <a:ext cx="11416" cy="32366"/>
            </a:xfrm>
            <a:custGeom>
              <a:avLst/>
              <a:gdLst>
                <a:gd name="T0" fmla="*/ 28 w 29"/>
                <a:gd name="T1" fmla="*/ 86 h 87"/>
                <a:gd name="T2" fmla="*/ 28 w 29"/>
                <a:gd name="T3" fmla="*/ 86 h 87"/>
                <a:gd name="T4" fmla="*/ 0 w 29"/>
                <a:gd name="T5" fmla="*/ 57 h 87"/>
                <a:gd name="T6" fmla="*/ 0 w 29"/>
                <a:gd name="T7" fmla="*/ 0 h 87"/>
                <a:gd name="T8" fmla="*/ 0 w 29"/>
                <a:gd name="T9" fmla="*/ 57 h 87"/>
                <a:gd name="T10" fmla="*/ 28 w 29"/>
                <a:gd name="T11" fmla="*/ 86 h 87"/>
              </a:gdLst>
              <a:ahLst/>
              <a:cxnLst>
                <a:cxn ang="0">
                  <a:pos x="T0" y="T1"/>
                </a:cxn>
                <a:cxn ang="0">
                  <a:pos x="T2" y="T3"/>
                </a:cxn>
                <a:cxn ang="0">
                  <a:pos x="T4" y="T5"/>
                </a:cxn>
                <a:cxn ang="0">
                  <a:pos x="T6" y="T7"/>
                </a:cxn>
                <a:cxn ang="0">
                  <a:pos x="T8" y="T9"/>
                </a:cxn>
                <a:cxn ang="0">
                  <a:pos x="T10" y="T11"/>
                </a:cxn>
              </a:cxnLst>
              <a:rect l="0" t="0" r="r" b="b"/>
              <a:pathLst>
                <a:path w="29" h="87">
                  <a:moveTo>
                    <a:pt x="28" y="86"/>
                  </a:moveTo>
                  <a:lnTo>
                    <a:pt x="28" y="86"/>
                  </a:lnTo>
                  <a:cubicBezTo>
                    <a:pt x="28" y="57"/>
                    <a:pt x="0" y="57"/>
                    <a:pt x="0" y="57"/>
                  </a:cubicBezTo>
                  <a:cubicBezTo>
                    <a:pt x="0" y="57"/>
                    <a:pt x="0" y="29"/>
                    <a:pt x="0" y="0"/>
                  </a:cubicBezTo>
                  <a:cubicBezTo>
                    <a:pt x="0" y="29"/>
                    <a:pt x="0" y="57"/>
                    <a:pt x="0" y="57"/>
                  </a:cubicBezTo>
                  <a:cubicBezTo>
                    <a:pt x="0" y="57"/>
                    <a:pt x="28" y="57"/>
                    <a:pt x="28" y="8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3" name="Freeform 200">
              <a:extLst>
                <a:ext uri="{FF2B5EF4-FFF2-40B4-BE49-F238E27FC236}">
                  <a16:creationId xmlns:a16="http://schemas.microsoft.com/office/drawing/2014/main" id="{C83B78F3-A587-4DD7-B2AC-95C3F58CD500}"/>
                </a:ext>
              </a:extLst>
            </p:cNvPr>
            <p:cNvSpPr>
              <a:spLocks noChangeArrowheads="1"/>
            </p:cNvSpPr>
            <p:nvPr/>
          </p:nvSpPr>
          <p:spPr bwMode="auto">
            <a:xfrm>
              <a:off x="10595668" y="3008517"/>
              <a:ext cx="1631" cy="11328"/>
            </a:xfrm>
            <a:custGeom>
              <a:avLst/>
              <a:gdLst>
                <a:gd name="T0" fmla="*/ 0 w 1"/>
                <a:gd name="T1" fmla="*/ 29 h 30"/>
                <a:gd name="T2" fmla="*/ 0 w 1"/>
                <a:gd name="T3" fmla="*/ 29 h 30"/>
                <a:gd name="T4" fmla="*/ 0 w 1"/>
                <a:gd name="T5" fmla="*/ 29 h 30"/>
                <a:gd name="T6" fmla="*/ 0 w 1"/>
                <a:gd name="T7" fmla="*/ 0 h 30"/>
                <a:gd name="T8" fmla="*/ 0 w 1"/>
                <a:gd name="T9" fmla="*/ 0 h 30"/>
                <a:gd name="T10" fmla="*/ 0 w 1"/>
                <a:gd name="T11" fmla="*/ 0 h 30"/>
                <a:gd name="T12" fmla="*/ 0 w 1"/>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1" h="30">
                  <a:moveTo>
                    <a:pt x="0" y="29"/>
                  </a:moveTo>
                  <a:lnTo>
                    <a:pt x="0" y="29"/>
                  </a:lnTo>
                  <a:lnTo>
                    <a:pt x="0" y="29"/>
                  </a:lnTo>
                  <a:cubicBezTo>
                    <a:pt x="0" y="0"/>
                    <a:pt x="0" y="0"/>
                    <a:pt x="0" y="0"/>
                  </a:cubicBezTo>
                  <a:lnTo>
                    <a:pt x="0" y="0"/>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4" name="Freeform 201">
              <a:extLst>
                <a:ext uri="{FF2B5EF4-FFF2-40B4-BE49-F238E27FC236}">
                  <a16:creationId xmlns:a16="http://schemas.microsoft.com/office/drawing/2014/main" id="{E91D0957-1041-4C35-8AC3-F63BF83C632B}"/>
                </a:ext>
              </a:extLst>
            </p:cNvPr>
            <p:cNvSpPr>
              <a:spLocks noChangeArrowheads="1"/>
            </p:cNvSpPr>
            <p:nvPr/>
          </p:nvSpPr>
          <p:spPr bwMode="auto">
            <a:xfrm>
              <a:off x="10693519" y="322213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5" name="Freeform 202">
              <a:extLst>
                <a:ext uri="{FF2B5EF4-FFF2-40B4-BE49-F238E27FC236}">
                  <a16:creationId xmlns:a16="http://schemas.microsoft.com/office/drawing/2014/main" id="{FE9F59D9-0943-463A-A8C8-03247958E3E8}"/>
                </a:ext>
              </a:extLst>
            </p:cNvPr>
            <p:cNvSpPr>
              <a:spLocks noChangeArrowheads="1"/>
            </p:cNvSpPr>
            <p:nvPr/>
          </p:nvSpPr>
          <p:spPr bwMode="auto">
            <a:xfrm>
              <a:off x="10595668" y="3018227"/>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6" name="Freeform 203">
              <a:extLst>
                <a:ext uri="{FF2B5EF4-FFF2-40B4-BE49-F238E27FC236}">
                  <a16:creationId xmlns:a16="http://schemas.microsoft.com/office/drawing/2014/main" id="{352AB563-77B8-444D-BD42-D11B9EF28F80}"/>
                </a:ext>
              </a:extLst>
            </p:cNvPr>
            <p:cNvSpPr>
              <a:spLocks noChangeArrowheads="1"/>
            </p:cNvSpPr>
            <p:nvPr/>
          </p:nvSpPr>
          <p:spPr bwMode="auto">
            <a:xfrm>
              <a:off x="10618500" y="3136364"/>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7" name="Freeform 204">
              <a:extLst>
                <a:ext uri="{FF2B5EF4-FFF2-40B4-BE49-F238E27FC236}">
                  <a16:creationId xmlns:a16="http://schemas.microsoft.com/office/drawing/2014/main" id="{E66637C3-970F-44C8-B934-70CC2B75DA73}"/>
                </a:ext>
              </a:extLst>
            </p:cNvPr>
            <p:cNvSpPr>
              <a:spLocks noChangeArrowheads="1"/>
            </p:cNvSpPr>
            <p:nvPr/>
          </p:nvSpPr>
          <p:spPr bwMode="auto">
            <a:xfrm>
              <a:off x="10595668" y="3103997"/>
              <a:ext cx="11416" cy="22656"/>
            </a:xfrm>
            <a:custGeom>
              <a:avLst/>
              <a:gdLst>
                <a:gd name="T0" fmla="*/ 30 w 31"/>
                <a:gd name="T1" fmla="*/ 0 h 60"/>
                <a:gd name="T2" fmla="*/ 30 w 31"/>
                <a:gd name="T3" fmla="*/ 0 h 60"/>
                <a:gd name="T4" fmla="*/ 30 w 31"/>
                <a:gd name="T5" fmla="*/ 30 h 60"/>
                <a:gd name="T6" fmla="*/ 0 w 31"/>
                <a:gd name="T7" fmla="*/ 59 h 60"/>
                <a:gd name="T8" fmla="*/ 30 w 31"/>
                <a:gd name="T9" fmla="*/ 30 h 60"/>
                <a:gd name="T10" fmla="*/ 30 w 31"/>
                <a:gd name="T11" fmla="*/ 0 h 60"/>
              </a:gdLst>
              <a:ahLst/>
              <a:cxnLst>
                <a:cxn ang="0">
                  <a:pos x="T0" y="T1"/>
                </a:cxn>
                <a:cxn ang="0">
                  <a:pos x="T2" y="T3"/>
                </a:cxn>
                <a:cxn ang="0">
                  <a:pos x="T4" y="T5"/>
                </a:cxn>
                <a:cxn ang="0">
                  <a:pos x="T6" y="T7"/>
                </a:cxn>
                <a:cxn ang="0">
                  <a:pos x="T8" y="T9"/>
                </a:cxn>
                <a:cxn ang="0">
                  <a:pos x="T10" y="T11"/>
                </a:cxn>
              </a:cxnLst>
              <a:rect l="0" t="0" r="r" b="b"/>
              <a:pathLst>
                <a:path w="31" h="60">
                  <a:moveTo>
                    <a:pt x="30" y="0"/>
                  </a:moveTo>
                  <a:lnTo>
                    <a:pt x="30" y="0"/>
                  </a:lnTo>
                  <a:cubicBezTo>
                    <a:pt x="30" y="30"/>
                    <a:pt x="30" y="30"/>
                    <a:pt x="30" y="30"/>
                  </a:cubicBezTo>
                  <a:cubicBezTo>
                    <a:pt x="30" y="30"/>
                    <a:pt x="0" y="30"/>
                    <a:pt x="0" y="59"/>
                  </a:cubicBezTo>
                  <a:cubicBezTo>
                    <a:pt x="0" y="30"/>
                    <a:pt x="30" y="30"/>
                    <a:pt x="30" y="3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8" name="Freeform 205">
              <a:extLst>
                <a:ext uri="{FF2B5EF4-FFF2-40B4-BE49-F238E27FC236}">
                  <a16:creationId xmlns:a16="http://schemas.microsoft.com/office/drawing/2014/main" id="{44669A57-D730-47F5-973E-CFCC2C8A8CE2}"/>
                </a:ext>
              </a:extLst>
            </p:cNvPr>
            <p:cNvSpPr>
              <a:spLocks noChangeArrowheads="1"/>
            </p:cNvSpPr>
            <p:nvPr/>
          </p:nvSpPr>
          <p:spPr bwMode="auto">
            <a:xfrm>
              <a:off x="10618500" y="311532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9" name="Freeform 206">
              <a:extLst>
                <a:ext uri="{FF2B5EF4-FFF2-40B4-BE49-F238E27FC236}">
                  <a16:creationId xmlns:a16="http://schemas.microsoft.com/office/drawing/2014/main" id="{1CB00A4B-DFA1-4DFC-BDF9-555F8A936BBF}"/>
                </a:ext>
              </a:extLst>
            </p:cNvPr>
            <p:cNvSpPr>
              <a:spLocks noChangeArrowheads="1"/>
            </p:cNvSpPr>
            <p:nvPr/>
          </p:nvSpPr>
          <p:spPr bwMode="auto">
            <a:xfrm>
              <a:off x="10618500" y="310399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0" name="Freeform 207">
              <a:extLst>
                <a:ext uri="{FF2B5EF4-FFF2-40B4-BE49-F238E27FC236}">
                  <a16:creationId xmlns:a16="http://schemas.microsoft.com/office/drawing/2014/main" id="{B3193E55-E929-4352-B35F-18CCEDA5955B}"/>
                </a:ext>
              </a:extLst>
            </p:cNvPr>
            <p:cNvSpPr>
              <a:spLocks noChangeArrowheads="1"/>
            </p:cNvSpPr>
            <p:nvPr/>
          </p:nvSpPr>
          <p:spPr bwMode="auto">
            <a:xfrm>
              <a:off x="10726136" y="3532853"/>
              <a:ext cx="1631" cy="11328"/>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cubicBezTo>
                    <a:pt x="0" y="30"/>
                    <a:pt x="0" y="30"/>
                    <a:pt x="0"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1" name="Freeform 208">
              <a:extLst>
                <a:ext uri="{FF2B5EF4-FFF2-40B4-BE49-F238E27FC236}">
                  <a16:creationId xmlns:a16="http://schemas.microsoft.com/office/drawing/2014/main" id="{152365AE-DA7D-4944-958E-796E67F14A03}"/>
                </a:ext>
              </a:extLst>
            </p:cNvPr>
            <p:cNvSpPr>
              <a:spLocks noChangeArrowheads="1"/>
            </p:cNvSpPr>
            <p:nvPr/>
          </p:nvSpPr>
          <p:spPr bwMode="auto">
            <a:xfrm>
              <a:off x="10585883" y="3426044"/>
              <a:ext cx="21202" cy="11328"/>
            </a:xfrm>
            <a:custGeom>
              <a:avLst/>
              <a:gdLst>
                <a:gd name="T0" fmla="*/ 58 w 59"/>
                <a:gd name="T1" fmla="*/ 28 h 29"/>
                <a:gd name="T2" fmla="*/ 58 w 59"/>
                <a:gd name="T3" fmla="*/ 28 h 29"/>
                <a:gd name="T4" fmla="*/ 28 w 59"/>
                <a:gd name="T5" fmla="*/ 28 h 29"/>
                <a:gd name="T6" fmla="*/ 0 w 59"/>
                <a:gd name="T7" fmla="*/ 0 h 29"/>
                <a:gd name="T8" fmla="*/ 28 w 59"/>
                <a:gd name="T9" fmla="*/ 28 h 29"/>
                <a:gd name="T10" fmla="*/ 58 w 59"/>
                <a:gd name="T11" fmla="*/ 28 h 29"/>
              </a:gdLst>
              <a:ahLst/>
              <a:cxnLst>
                <a:cxn ang="0">
                  <a:pos x="T0" y="T1"/>
                </a:cxn>
                <a:cxn ang="0">
                  <a:pos x="T2" y="T3"/>
                </a:cxn>
                <a:cxn ang="0">
                  <a:pos x="T4" y="T5"/>
                </a:cxn>
                <a:cxn ang="0">
                  <a:pos x="T6" y="T7"/>
                </a:cxn>
                <a:cxn ang="0">
                  <a:pos x="T8" y="T9"/>
                </a:cxn>
                <a:cxn ang="0">
                  <a:pos x="T10" y="T11"/>
                </a:cxn>
              </a:cxnLst>
              <a:rect l="0" t="0" r="r" b="b"/>
              <a:pathLst>
                <a:path w="59" h="29">
                  <a:moveTo>
                    <a:pt x="58" y="28"/>
                  </a:moveTo>
                  <a:lnTo>
                    <a:pt x="58" y="28"/>
                  </a:lnTo>
                  <a:lnTo>
                    <a:pt x="28" y="28"/>
                  </a:lnTo>
                  <a:cubicBezTo>
                    <a:pt x="28" y="28"/>
                    <a:pt x="28" y="0"/>
                    <a:pt x="0" y="0"/>
                  </a:cubicBezTo>
                  <a:cubicBezTo>
                    <a:pt x="28" y="0"/>
                    <a:pt x="28" y="28"/>
                    <a:pt x="28" y="28"/>
                  </a:cubicBezTo>
                  <a:lnTo>
                    <a:pt x="58" y="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2" name="Freeform 209">
              <a:extLst>
                <a:ext uri="{FF2B5EF4-FFF2-40B4-BE49-F238E27FC236}">
                  <a16:creationId xmlns:a16="http://schemas.microsoft.com/office/drawing/2014/main" id="{54DB1438-C693-40F6-8920-980BAC66D149}"/>
                </a:ext>
              </a:extLst>
            </p:cNvPr>
            <p:cNvSpPr>
              <a:spLocks noChangeArrowheads="1"/>
            </p:cNvSpPr>
            <p:nvPr/>
          </p:nvSpPr>
          <p:spPr bwMode="auto">
            <a:xfrm>
              <a:off x="10726136" y="3563600"/>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3" name="Freeform 210">
              <a:extLst>
                <a:ext uri="{FF2B5EF4-FFF2-40B4-BE49-F238E27FC236}">
                  <a16:creationId xmlns:a16="http://schemas.microsoft.com/office/drawing/2014/main" id="{E311C7D6-3CB0-47CA-A873-B2A8CA43E380}"/>
                </a:ext>
              </a:extLst>
            </p:cNvPr>
            <p:cNvSpPr>
              <a:spLocks noChangeArrowheads="1"/>
            </p:cNvSpPr>
            <p:nvPr/>
          </p:nvSpPr>
          <p:spPr bwMode="auto">
            <a:xfrm>
              <a:off x="10618500" y="3178440"/>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4" name="Freeform 211">
              <a:extLst>
                <a:ext uri="{FF2B5EF4-FFF2-40B4-BE49-F238E27FC236}">
                  <a16:creationId xmlns:a16="http://schemas.microsoft.com/office/drawing/2014/main" id="{9BD0E8A2-5078-40EA-9A2D-3C59B0C2E5F1}"/>
                </a:ext>
              </a:extLst>
            </p:cNvPr>
            <p:cNvSpPr>
              <a:spLocks noChangeArrowheads="1"/>
            </p:cNvSpPr>
            <p:nvPr/>
          </p:nvSpPr>
          <p:spPr bwMode="auto">
            <a:xfrm>
              <a:off x="10693519" y="323184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5" name="Freeform 212">
              <a:extLst>
                <a:ext uri="{FF2B5EF4-FFF2-40B4-BE49-F238E27FC236}">
                  <a16:creationId xmlns:a16="http://schemas.microsoft.com/office/drawing/2014/main" id="{70E033BB-30C7-4FA0-A053-D9C1B7660417}"/>
                </a:ext>
              </a:extLst>
            </p:cNvPr>
            <p:cNvSpPr>
              <a:spLocks noChangeArrowheads="1"/>
            </p:cNvSpPr>
            <p:nvPr/>
          </p:nvSpPr>
          <p:spPr bwMode="auto">
            <a:xfrm>
              <a:off x="10499449" y="3393677"/>
              <a:ext cx="86434" cy="32366"/>
            </a:xfrm>
            <a:custGeom>
              <a:avLst/>
              <a:gdLst>
                <a:gd name="T0" fmla="*/ 146 w 235"/>
                <a:gd name="T1" fmla="*/ 0 h 89"/>
                <a:gd name="T2" fmla="*/ 146 w 235"/>
                <a:gd name="T3" fmla="*/ 0 h 89"/>
                <a:gd name="T4" fmla="*/ 0 w 235"/>
                <a:gd name="T5" fmla="*/ 29 h 89"/>
                <a:gd name="T6" fmla="*/ 59 w 235"/>
                <a:gd name="T7" fmla="*/ 29 h 89"/>
                <a:gd name="T8" fmla="*/ 234 w 235"/>
                <a:gd name="T9" fmla="*/ 88 h 89"/>
                <a:gd name="T10" fmla="*/ 59 w 235"/>
                <a:gd name="T11" fmla="*/ 29 h 89"/>
                <a:gd name="T12" fmla="*/ 0 w 235"/>
                <a:gd name="T13" fmla="*/ 29 h 89"/>
                <a:gd name="T14" fmla="*/ 146 w 235"/>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89">
                  <a:moveTo>
                    <a:pt x="146" y="0"/>
                  </a:moveTo>
                  <a:lnTo>
                    <a:pt x="146" y="0"/>
                  </a:lnTo>
                  <a:cubicBezTo>
                    <a:pt x="88" y="0"/>
                    <a:pt x="29" y="0"/>
                    <a:pt x="0" y="29"/>
                  </a:cubicBezTo>
                  <a:cubicBezTo>
                    <a:pt x="0" y="29"/>
                    <a:pt x="29" y="29"/>
                    <a:pt x="59" y="29"/>
                  </a:cubicBezTo>
                  <a:cubicBezTo>
                    <a:pt x="117" y="29"/>
                    <a:pt x="176" y="29"/>
                    <a:pt x="234" y="88"/>
                  </a:cubicBezTo>
                  <a:cubicBezTo>
                    <a:pt x="176" y="29"/>
                    <a:pt x="117" y="29"/>
                    <a:pt x="59" y="29"/>
                  </a:cubicBezTo>
                  <a:cubicBezTo>
                    <a:pt x="29" y="29"/>
                    <a:pt x="0" y="29"/>
                    <a:pt x="0" y="29"/>
                  </a:cubicBezTo>
                  <a:cubicBezTo>
                    <a:pt x="29" y="0"/>
                    <a:pt x="88" y="0"/>
                    <a:pt x="14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6" name="Freeform 213">
              <a:extLst>
                <a:ext uri="{FF2B5EF4-FFF2-40B4-BE49-F238E27FC236}">
                  <a16:creationId xmlns:a16="http://schemas.microsoft.com/office/drawing/2014/main" id="{359E7E51-417D-451C-A2B5-8DC740A61221}"/>
                </a:ext>
              </a:extLst>
            </p:cNvPr>
            <p:cNvSpPr>
              <a:spLocks noChangeArrowheads="1"/>
            </p:cNvSpPr>
            <p:nvPr/>
          </p:nvSpPr>
          <p:spPr bwMode="auto">
            <a:xfrm>
              <a:off x="10704935" y="345679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7" name="Freeform 214">
              <a:extLst>
                <a:ext uri="{FF2B5EF4-FFF2-40B4-BE49-F238E27FC236}">
                  <a16:creationId xmlns:a16="http://schemas.microsoft.com/office/drawing/2014/main" id="{C4A2A28F-94EA-41E1-8614-F4D02610DDE4}"/>
                </a:ext>
              </a:extLst>
            </p:cNvPr>
            <p:cNvSpPr>
              <a:spLocks noChangeArrowheads="1"/>
            </p:cNvSpPr>
            <p:nvPr/>
          </p:nvSpPr>
          <p:spPr bwMode="auto">
            <a:xfrm>
              <a:off x="10618500" y="338234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8" name="Freeform 215">
              <a:extLst>
                <a:ext uri="{FF2B5EF4-FFF2-40B4-BE49-F238E27FC236}">
                  <a16:creationId xmlns:a16="http://schemas.microsoft.com/office/drawing/2014/main" id="{F907A141-E3DE-4297-A520-75835B52A1A5}"/>
                </a:ext>
              </a:extLst>
            </p:cNvPr>
            <p:cNvSpPr>
              <a:spLocks noChangeArrowheads="1"/>
            </p:cNvSpPr>
            <p:nvPr/>
          </p:nvSpPr>
          <p:spPr bwMode="auto">
            <a:xfrm>
              <a:off x="10607085" y="3361311"/>
              <a:ext cx="21200" cy="22656"/>
            </a:xfrm>
            <a:custGeom>
              <a:avLst/>
              <a:gdLst>
                <a:gd name="T0" fmla="*/ 0 w 59"/>
                <a:gd name="T1" fmla="*/ 0 h 60"/>
                <a:gd name="T2" fmla="*/ 0 w 59"/>
                <a:gd name="T3" fmla="*/ 0 h 60"/>
                <a:gd name="T4" fmla="*/ 58 w 59"/>
                <a:gd name="T5" fmla="*/ 30 h 60"/>
                <a:gd name="T6" fmla="*/ 58 w 59"/>
                <a:gd name="T7" fmla="*/ 59 h 60"/>
                <a:gd name="T8" fmla="*/ 58 w 59"/>
                <a:gd name="T9" fmla="*/ 59 h 60"/>
                <a:gd name="T10" fmla="*/ 58 w 59"/>
                <a:gd name="T11" fmla="*/ 30 h 60"/>
                <a:gd name="T12" fmla="*/ 0 w 59"/>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59" h="60">
                  <a:moveTo>
                    <a:pt x="0" y="0"/>
                  </a:moveTo>
                  <a:lnTo>
                    <a:pt x="0" y="0"/>
                  </a:lnTo>
                  <a:cubicBezTo>
                    <a:pt x="29" y="0"/>
                    <a:pt x="58" y="0"/>
                    <a:pt x="58" y="30"/>
                  </a:cubicBezTo>
                  <a:cubicBezTo>
                    <a:pt x="58" y="59"/>
                    <a:pt x="58" y="59"/>
                    <a:pt x="58" y="59"/>
                  </a:cubicBezTo>
                  <a:lnTo>
                    <a:pt x="58" y="59"/>
                  </a:lnTo>
                  <a:cubicBezTo>
                    <a:pt x="58" y="30"/>
                    <a:pt x="58" y="30"/>
                    <a:pt x="58" y="30"/>
                  </a:cubicBezTo>
                  <a:cubicBezTo>
                    <a:pt x="58"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9" name="Freeform 216">
              <a:extLst>
                <a:ext uri="{FF2B5EF4-FFF2-40B4-BE49-F238E27FC236}">
                  <a16:creationId xmlns:a16="http://schemas.microsoft.com/office/drawing/2014/main" id="{C225F8AE-B5FC-4FF4-B36C-1D7CAEFD3328}"/>
                </a:ext>
              </a:extLst>
            </p:cNvPr>
            <p:cNvSpPr>
              <a:spLocks noChangeArrowheads="1"/>
            </p:cNvSpPr>
            <p:nvPr/>
          </p:nvSpPr>
          <p:spPr bwMode="auto">
            <a:xfrm>
              <a:off x="10628285" y="3456791"/>
              <a:ext cx="22832" cy="1619"/>
            </a:xfrm>
            <a:custGeom>
              <a:avLst/>
              <a:gdLst>
                <a:gd name="T0" fmla="*/ 59 w 60"/>
                <a:gd name="T1" fmla="*/ 0 h 1"/>
                <a:gd name="T2" fmla="*/ 59 w 60"/>
                <a:gd name="T3" fmla="*/ 0 h 1"/>
                <a:gd name="T4" fmla="*/ 0 w 60"/>
                <a:gd name="T5" fmla="*/ 0 h 1"/>
                <a:gd name="T6" fmla="*/ 59 w 60"/>
                <a:gd name="T7" fmla="*/ 0 h 1"/>
              </a:gdLst>
              <a:ahLst/>
              <a:cxnLst>
                <a:cxn ang="0">
                  <a:pos x="T0" y="T1"/>
                </a:cxn>
                <a:cxn ang="0">
                  <a:pos x="T2" y="T3"/>
                </a:cxn>
                <a:cxn ang="0">
                  <a:pos x="T4" y="T5"/>
                </a:cxn>
                <a:cxn ang="0">
                  <a:pos x="T6" y="T7"/>
                </a:cxn>
              </a:cxnLst>
              <a:rect l="0" t="0" r="r" b="b"/>
              <a:pathLst>
                <a:path w="60" h="1">
                  <a:moveTo>
                    <a:pt x="59" y="0"/>
                  </a:moveTo>
                  <a:lnTo>
                    <a:pt x="59" y="0"/>
                  </a:lnTo>
                  <a:cubicBezTo>
                    <a:pt x="29" y="0"/>
                    <a:pt x="0" y="0"/>
                    <a:pt x="0" y="0"/>
                  </a:cubicBezTo>
                  <a:cubicBezTo>
                    <a:pt x="0" y="0"/>
                    <a:pt x="29"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0" name="Freeform 217">
              <a:extLst>
                <a:ext uri="{FF2B5EF4-FFF2-40B4-BE49-F238E27FC236}">
                  <a16:creationId xmlns:a16="http://schemas.microsoft.com/office/drawing/2014/main" id="{23DF9200-E20A-4DC1-B1FD-E561B6A6B95C}"/>
                </a:ext>
              </a:extLst>
            </p:cNvPr>
            <p:cNvSpPr>
              <a:spLocks noChangeArrowheads="1"/>
            </p:cNvSpPr>
            <p:nvPr/>
          </p:nvSpPr>
          <p:spPr bwMode="auto">
            <a:xfrm>
              <a:off x="10607085" y="3307906"/>
              <a:ext cx="21200" cy="22656"/>
            </a:xfrm>
            <a:custGeom>
              <a:avLst/>
              <a:gdLst>
                <a:gd name="T0" fmla="*/ 29 w 59"/>
                <a:gd name="T1" fmla="*/ 29 h 60"/>
                <a:gd name="T2" fmla="*/ 29 w 59"/>
                <a:gd name="T3" fmla="*/ 29 h 60"/>
                <a:gd name="T4" fmla="*/ 58 w 59"/>
                <a:gd name="T5" fmla="*/ 59 h 60"/>
                <a:gd name="T6" fmla="*/ 29 w 59"/>
                <a:gd name="T7" fmla="*/ 29 h 60"/>
                <a:gd name="T8" fmla="*/ 0 w 59"/>
                <a:gd name="T9" fmla="*/ 0 h 60"/>
                <a:gd name="T10" fmla="*/ 0 w 59"/>
                <a:gd name="T11" fmla="*/ 0 h 60"/>
                <a:gd name="T12" fmla="*/ 0 w 59"/>
                <a:gd name="T13" fmla="*/ 0 h 60"/>
                <a:gd name="T14" fmla="*/ 29 w 59"/>
                <a:gd name="T15" fmla="*/ 2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60">
                  <a:moveTo>
                    <a:pt x="29" y="29"/>
                  </a:moveTo>
                  <a:lnTo>
                    <a:pt x="29" y="29"/>
                  </a:lnTo>
                  <a:cubicBezTo>
                    <a:pt x="58" y="59"/>
                    <a:pt x="58" y="59"/>
                    <a:pt x="58" y="59"/>
                  </a:cubicBezTo>
                  <a:cubicBezTo>
                    <a:pt x="29" y="29"/>
                    <a:pt x="29" y="29"/>
                    <a:pt x="29" y="29"/>
                  </a:cubicBezTo>
                  <a:cubicBezTo>
                    <a:pt x="29" y="29"/>
                    <a:pt x="0" y="29"/>
                    <a:pt x="0" y="0"/>
                  </a:cubicBezTo>
                  <a:lnTo>
                    <a:pt x="0" y="0"/>
                  </a:lnTo>
                  <a:lnTo>
                    <a:pt x="0" y="0"/>
                  </a:lnTo>
                  <a:cubicBezTo>
                    <a:pt x="0"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1" name="Freeform 218">
              <a:extLst>
                <a:ext uri="{FF2B5EF4-FFF2-40B4-BE49-F238E27FC236}">
                  <a16:creationId xmlns:a16="http://schemas.microsoft.com/office/drawing/2014/main" id="{CDD64AA5-475B-46F8-9A29-E9F30FB66F43}"/>
                </a:ext>
              </a:extLst>
            </p:cNvPr>
            <p:cNvSpPr>
              <a:spLocks noChangeArrowheads="1"/>
            </p:cNvSpPr>
            <p:nvPr/>
          </p:nvSpPr>
          <p:spPr bwMode="auto">
            <a:xfrm>
              <a:off x="10628285" y="3393677"/>
              <a:ext cx="22832" cy="43694"/>
            </a:xfrm>
            <a:custGeom>
              <a:avLst/>
              <a:gdLst>
                <a:gd name="T0" fmla="*/ 0 w 60"/>
                <a:gd name="T1" fmla="*/ 0 h 117"/>
                <a:gd name="T2" fmla="*/ 0 w 60"/>
                <a:gd name="T3" fmla="*/ 0 h 117"/>
                <a:gd name="T4" fmla="*/ 59 w 60"/>
                <a:gd name="T5" fmla="*/ 116 h 117"/>
                <a:gd name="T6" fmla="*/ 0 w 60"/>
                <a:gd name="T7" fmla="*/ 0 h 117"/>
              </a:gdLst>
              <a:ahLst/>
              <a:cxnLst>
                <a:cxn ang="0">
                  <a:pos x="T0" y="T1"/>
                </a:cxn>
                <a:cxn ang="0">
                  <a:pos x="T2" y="T3"/>
                </a:cxn>
                <a:cxn ang="0">
                  <a:pos x="T4" y="T5"/>
                </a:cxn>
                <a:cxn ang="0">
                  <a:pos x="T6" y="T7"/>
                </a:cxn>
              </a:cxnLst>
              <a:rect l="0" t="0" r="r" b="b"/>
              <a:pathLst>
                <a:path w="60" h="117">
                  <a:moveTo>
                    <a:pt x="0" y="0"/>
                  </a:moveTo>
                  <a:lnTo>
                    <a:pt x="0" y="0"/>
                  </a:lnTo>
                  <a:cubicBezTo>
                    <a:pt x="29" y="29"/>
                    <a:pt x="59" y="59"/>
                    <a:pt x="59" y="116"/>
                  </a:cubicBezTo>
                  <a:cubicBezTo>
                    <a:pt x="59" y="59"/>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2" name="Freeform 219">
              <a:extLst>
                <a:ext uri="{FF2B5EF4-FFF2-40B4-BE49-F238E27FC236}">
                  <a16:creationId xmlns:a16="http://schemas.microsoft.com/office/drawing/2014/main" id="{3E473CDF-141E-4BB0-A173-C49C577C4210}"/>
                </a:ext>
              </a:extLst>
            </p:cNvPr>
            <p:cNvSpPr>
              <a:spLocks noChangeArrowheads="1"/>
            </p:cNvSpPr>
            <p:nvPr/>
          </p:nvSpPr>
          <p:spPr bwMode="auto">
            <a:xfrm>
              <a:off x="9290992" y="1948517"/>
              <a:ext cx="44033" cy="1619"/>
            </a:xfrm>
            <a:custGeom>
              <a:avLst/>
              <a:gdLst>
                <a:gd name="T0" fmla="*/ 0 w 117"/>
                <a:gd name="T1" fmla="*/ 0 h 1"/>
                <a:gd name="T2" fmla="*/ 0 w 117"/>
                <a:gd name="T3" fmla="*/ 0 h 1"/>
                <a:gd name="T4" fmla="*/ 29 w 117"/>
                <a:gd name="T5" fmla="*/ 0 h 1"/>
                <a:gd name="T6" fmla="*/ 88 w 117"/>
                <a:gd name="T7" fmla="*/ 0 h 1"/>
                <a:gd name="T8" fmla="*/ 116 w 117"/>
                <a:gd name="T9" fmla="*/ 0 h 1"/>
                <a:gd name="T10" fmla="*/ 88 w 117"/>
                <a:gd name="T11" fmla="*/ 0 h 1"/>
                <a:gd name="T12" fmla="*/ 29 w 117"/>
                <a:gd name="T13" fmla="*/ 0 h 1"/>
                <a:gd name="T14" fmla="*/ 0 w 117"/>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
                  <a:moveTo>
                    <a:pt x="0" y="0"/>
                  </a:moveTo>
                  <a:lnTo>
                    <a:pt x="0" y="0"/>
                  </a:lnTo>
                  <a:cubicBezTo>
                    <a:pt x="29" y="0"/>
                    <a:pt x="29" y="0"/>
                    <a:pt x="29" y="0"/>
                  </a:cubicBezTo>
                  <a:cubicBezTo>
                    <a:pt x="29" y="0"/>
                    <a:pt x="59" y="0"/>
                    <a:pt x="88" y="0"/>
                  </a:cubicBezTo>
                  <a:cubicBezTo>
                    <a:pt x="88" y="0"/>
                    <a:pt x="88" y="0"/>
                    <a:pt x="116" y="0"/>
                  </a:cubicBezTo>
                  <a:cubicBezTo>
                    <a:pt x="88" y="0"/>
                    <a:pt x="88" y="0"/>
                    <a:pt x="88" y="0"/>
                  </a:cubicBezTo>
                  <a:cubicBezTo>
                    <a:pt x="59" y="0"/>
                    <a:pt x="29"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3" name="Freeform 220">
              <a:extLst>
                <a:ext uri="{FF2B5EF4-FFF2-40B4-BE49-F238E27FC236}">
                  <a16:creationId xmlns:a16="http://schemas.microsoft.com/office/drawing/2014/main" id="{76094E00-E215-4B50-A9B4-137902B829C3}"/>
                </a:ext>
              </a:extLst>
            </p:cNvPr>
            <p:cNvSpPr>
              <a:spLocks noChangeArrowheads="1"/>
            </p:cNvSpPr>
            <p:nvPr/>
          </p:nvSpPr>
          <p:spPr bwMode="auto">
            <a:xfrm>
              <a:off x="9096922" y="4827509"/>
              <a:ext cx="21200" cy="21038"/>
            </a:xfrm>
            <a:custGeom>
              <a:avLst/>
              <a:gdLst>
                <a:gd name="T0" fmla="*/ 0 w 59"/>
                <a:gd name="T1" fmla="*/ 58 h 59"/>
                <a:gd name="T2" fmla="*/ 0 w 59"/>
                <a:gd name="T3" fmla="*/ 58 h 59"/>
                <a:gd name="T4" fmla="*/ 29 w 59"/>
                <a:gd name="T5" fmla="*/ 0 h 59"/>
                <a:gd name="T6" fmla="*/ 58 w 59"/>
                <a:gd name="T7" fmla="*/ 0 h 59"/>
                <a:gd name="T8" fmla="*/ 29 w 59"/>
                <a:gd name="T9" fmla="*/ 0 h 59"/>
                <a:gd name="T10" fmla="*/ 0 w 59"/>
                <a:gd name="T11" fmla="*/ 58 h 59"/>
              </a:gdLst>
              <a:ahLst/>
              <a:cxnLst>
                <a:cxn ang="0">
                  <a:pos x="T0" y="T1"/>
                </a:cxn>
                <a:cxn ang="0">
                  <a:pos x="T2" y="T3"/>
                </a:cxn>
                <a:cxn ang="0">
                  <a:pos x="T4" y="T5"/>
                </a:cxn>
                <a:cxn ang="0">
                  <a:pos x="T6" y="T7"/>
                </a:cxn>
                <a:cxn ang="0">
                  <a:pos x="T8" y="T9"/>
                </a:cxn>
                <a:cxn ang="0">
                  <a:pos x="T10" y="T11"/>
                </a:cxn>
              </a:cxnLst>
              <a:rect l="0" t="0" r="r" b="b"/>
              <a:pathLst>
                <a:path w="59" h="59">
                  <a:moveTo>
                    <a:pt x="0" y="58"/>
                  </a:moveTo>
                  <a:lnTo>
                    <a:pt x="0" y="58"/>
                  </a:lnTo>
                  <a:cubicBezTo>
                    <a:pt x="0" y="58"/>
                    <a:pt x="29" y="29"/>
                    <a:pt x="29" y="0"/>
                  </a:cubicBezTo>
                  <a:lnTo>
                    <a:pt x="58" y="0"/>
                  </a:lnTo>
                  <a:lnTo>
                    <a:pt x="29" y="0"/>
                  </a:lnTo>
                  <a:cubicBezTo>
                    <a:pt x="29" y="29"/>
                    <a:pt x="0"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4" name="Freeform 221">
              <a:extLst>
                <a:ext uri="{FF2B5EF4-FFF2-40B4-BE49-F238E27FC236}">
                  <a16:creationId xmlns:a16="http://schemas.microsoft.com/office/drawing/2014/main" id="{818A2039-ECE4-4A4B-B776-8D5BC0BF4163}"/>
                </a:ext>
              </a:extLst>
            </p:cNvPr>
            <p:cNvSpPr>
              <a:spLocks noChangeArrowheads="1"/>
            </p:cNvSpPr>
            <p:nvPr/>
          </p:nvSpPr>
          <p:spPr bwMode="auto">
            <a:xfrm>
              <a:off x="9108337" y="4869585"/>
              <a:ext cx="21202" cy="21038"/>
            </a:xfrm>
            <a:custGeom>
              <a:avLst/>
              <a:gdLst>
                <a:gd name="T0" fmla="*/ 0 w 59"/>
                <a:gd name="T1" fmla="*/ 29 h 59"/>
                <a:gd name="T2" fmla="*/ 0 w 59"/>
                <a:gd name="T3" fmla="*/ 29 h 59"/>
                <a:gd name="T4" fmla="*/ 0 w 59"/>
                <a:gd name="T5" fmla="*/ 0 h 59"/>
                <a:gd name="T6" fmla="*/ 0 w 59"/>
                <a:gd name="T7" fmla="*/ 29 h 59"/>
                <a:gd name="T8" fmla="*/ 58 w 59"/>
                <a:gd name="T9" fmla="*/ 58 h 59"/>
                <a:gd name="T10" fmla="*/ 0 w 59"/>
                <a:gd name="T11" fmla="*/ 29 h 59"/>
              </a:gdLst>
              <a:ahLst/>
              <a:cxnLst>
                <a:cxn ang="0">
                  <a:pos x="T0" y="T1"/>
                </a:cxn>
                <a:cxn ang="0">
                  <a:pos x="T2" y="T3"/>
                </a:cxn>
                <a:cxn ang="0">
                  <a:pos x="T4" y="T5"/>
                </a:cxn>
                <a:cxn ang="0">
                  <a:pos x="T6" y="T7"/>
                </a:cxn>
                <a:cxn ang="0">
                  <a:pos x="T8" y="T9"/>
                </a:cxn>
                <a:cxn ang="0">
                  <a:pos x="T10" y="T11"/>
                </a:cxn>
              </a:cxnLst>
              <a:rect l="0" t="0" r="r" b="b"/>
              <a:pathLst>
                <a:path w="59" h="59">
                  <a:moveTo>
                    <a:pt x="0" y="29"/>
                  </a:moveTo>
                  <a:lnTo>
                    <a:pt x="0" y="29"/>
                  </a:lnTo>
                  <a:cubicBezTo>
                    <a:pt x="0" y="0"/>
                    <a:pt x="0" y="0"/>
                    <a:pt x="0" y="0"/>
                  </a:cubicBezTo>
                  <a:lnTo>
                    <a:pt x="0" y="29"/>
                  </a:lnTo>
                  <a:cubicBezTo>
                    <a:pt x="0" y="29"/>
                    <a:pt x="29" y="58"/>
                    <a:pt x="58" y="58"/>
                  </a:cubicBezTo>
                  <a:cubicBezTo>
                    <a:pt x="29"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5" name="Freeform 222">
              <a:extLst>
                <a:ext uri="{FF2B5EF4-FFF2-40B4-BE49-F238E27FC236}">
                  <a16:creationId xmlns:a16="http://schemas.microsoft.com/office/drawing/2014/main" id="{4FF43978-6D48-4367-8CB6-C89377DC0F73}"/>
                </a:ext>
              </a:extLst>
            </p:cNvPr>
            <p:cNvSpPr>
              <a:spLocks noChangeArrowheads="1"/>
            </p:cNvSpPr>
            <p:nvPr/>
          </p:nvSpPr>
          <p:spPr bwMode="auto">
            <a:xfrm>
              <a:off x="9118122" y="482750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6" name="Freeform 223">
              <a:extLst>
                <a:ext uri="{FF2B5EF4-FFF2-40B4-BE49-F238E27FC236}">
                  <a16:creationId xmlns:a16="http://schemas.microsoft.com/office/drawing/2014/main" id="{5366274B-BA77-4D36-ACCF-3131A49D7627}"/>
                </a:ext>
              </a:extLst>
            </p:cNvPr>
            <p:cNvSpPr>
              <a:spLocks noChangeArrowheads="1"/>
            </p:cNvSpPr>
            <p:nvPr/>
          </p:nvSpPr>
          <p:spPr bwMode="auto">
            <a:xfrm>
              <a:off x="9108337" y="4848546"/>
              <a:ext cx="1631" cy="11329"/>
            </a:xfrm>
            <a:custGeom>
              <a:avLst/>
              <a:gdLst>
                <a:gd name="T0" fmla="*/ 0 w 1"/>
                <a:gd name="T1" fmla="*/ 0 h 30"/>
                <a:gd name="T2" fmla="*/ 0 w 1"/>
                <a:gd name="T3" fmla="*/ 0 h 30"/>
                <a:gd name="T4" fmla="*/ 0 w 1"/>
                <a:gd name="T5" fmla="*/ 0 h 30"/>
                <a:gd name="T6" fmla="*/ 0 w 1"/>
                <a:gd name="T7" fmla="*/ 0 h 30"/>
                <a:gd name="T8" fmla="*/ 0 w 1"/>
                <a:gd name="T9" fmla="*/ 29 h 30"/>
                <a:gd name="T10" fmla="*/ 0 w 1"/>
                <a:gd name="T11" fmla="*/ 0 h 30"/>
              </a:gdLst>
              <a:ahLst/>
              <a:cxnLst>
                <a:cxn ang="0">
                  <a:pos x="T0" y="T1"/>
                </a:cxn>
                <a:cxn ang="0">
                  <a:pos x="T2" y="T3"/>
                </a:cxn>
                <a:cxn ang="0">
                  <a:pos x="T4" y="T5"/>
                </a:cxn>
                <a:cxn ang="0">
                  <a:pos x="T6" y="T7"/>
                </a:cxn>
                <a:cxn ang="0">
                  <a:pos x="T8" y="T9"/>
                </a:cxn>
                <a:cxn ang="0">
                  <a:pos x="T10" y="T11"/>
                </a:cxn>
              </a:cxnLst>
              <a:rect l="0" t="0" r="r" b="b"/>
              <a:pathLst>
                <a:path w="1" h="30">
                  <a:moveTo>
                    <a:pt x="0" y="0"/>
                  </a:moveTo>
                  <a:lnTo>
                    <a:pt x="0" y="0"/>
                  </a:lnTo>
                  <a:lnTo>
                    <a:pt x="0" y="0"/>
                  </a:ln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7" name="Freeform 224">
              <a:extLst>
                <a:ext uri="{FF2B5EF4-FFF2-40B4-BE49-F238E27FC236}">
                  <a16:creationId xmlns:a16="http://schemas.microsoft.com/office/drawing/2014/main" id="{234D0B09-B533-4A58-BF75-435E1ED900BE}"/>
                </a:ext>
              </a:extLst>
            </p:cNvPr>
            <p:cNvSpPr>
              <a:spLocks noChangeArrowheads="1"/>
            </p:cNvSpPr>
            <p:nvPr/>
          </p:nvSpPr>
          <p:spPr bwMode="auto">
            <a:xfrm>
              <a:off x="9194772" y="4848546"/>
              <a:ext cx="21200" cy="11329"/>
            </a:xfrm>
            <a:custGeom>
              <a:avLst/>
              <a:gdLst>
                <a:gd name="T0" fmla="*/ 57 w 58"/>
                <a:gd name="T1" fmla="*/ 0 h 30"/>
                <a:gd name="T2" fmla="*/ 57 w 58"/>
                <a:gd name="T3" fmla="*/ 0 h 30"/>
                <a:gd name="T4" fmla="*/ 28 w 58"/>
                <a:gd name="T5" fmla="*/ 29 h 30"/>
                <a:gd name="T6" fmla="*/ 0 w 58"/>
                <a:gd name="T7" fmla="*/ 29 h 30"/>
                <a:gd name="T8" fmla="*/ 0 w 58"/>
                <a:gd name="T9" fmla="*/ 29 h 30"/>
                <a:gd name="T10" fmla="*/ 28 w 58"/>
                <a:gd name="T11" fmla="*/ 29 h 30"/>
                <a:gd name="T12" fmla="*/ 57 w 58"/>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58" h="30">
                  <a:moveTo>
                    <a:pt x="57" y="0"/>
                  </a:moveTo>
                  <a:lnTo>
                    <a:pt x="57" y="0"/>
                  </a:lnTo>
                  <a:cubicBezTo>
                    <a:pt x="57" y="0"/>
                    <a:pt x="28" y="0"/>
                    <a:pt x="28" y="29"/>
                  </a:cubicBezTo>
                  <a:cubicBezTo>
                    <a:pt x="0" y="29"/>
                    <a:pt x="0" y="29"/>
                    <a:pt x="0" y="29"/>
                  </a:cubicBezTo>
                  <a:lnTo>
                    <a:pt x="0" y="29"/>
                  </a:lnTo>
                  <a:cubicBezTo>
                    <a:pt x="28" y="29"/>
                    <a:pt x="28" y="29"/>
                    <a:pt x="28" y="29"/>
                  </a:cubicBezTo>
                  <a:cubicBezTo>
                    <a:pt x="28" y="0"/>
                    <a:pt x="57" y="0"/>
                    <a:pt x="5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8" name="Freeform 225">
              <a:extLst>
                <a:ext uri="{FF2B5EF4-FFF2-40B4-BE49-F238E27FC236}">
                  <a16:creationId xmlns:a16="http://schemas.microsoft.com/office/drawing/2014/main" id="{E3D9232F-6203-4240-B9B5-31A2CC5E096B}"/>
                </a:ext>
              </a:extLst>
            </p:cNvPr>
            <p:cNvSpPr>
              <a:spLocks noChangeArrowheads="1"/>
            </p:cNvSpPr>
            <p:nvPr/>
          </p:nvSpPr>
          <p:spPr bwMode="auto">
            <a:xfrm>
              <a:off x="9183356" y="486958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9" name="Freeform 226">
              <a:extLst>
                <a:ext uri="{FF2B5EF4-FFF2-40B4-BE49-F238E27FC236}">
                  <a16:creationId xmlns:a16="http://schemas.microsoft.com/office/drawing/2014/main" id="{2B1F274A-D988-4190-9C9C-6AFF1A04F94C}"/>
                </a:ext>
              </a:extLst>
            </p:cNvPr>
            <p:cNvSpPr>
              <a:spLocks noChangeArrowheads="1"/>
            </p:cNvSpPr>
            <p:nvPr/>
          </p:nvSpPr>
          <p:spPr bwMode="auto">
            <a:xfrm>
              <a:off x="9819386" y="5245035"/>
              <a:ext cx="1631" cy="11328"/>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0" name="Freeform 227">
              <a:extLst>
                <a:ext uri="{FF2B5EF4-FFF2-40B4-BE49-F238E27FC236}">
                  <a16:creationId xmlns:a16="http://schemas.microsoft.com/office/drawing/2014/main" id="{FB4D446A-2ACC-4CD5-84A3-76C3F2872A51}"/>
                </a:ext>
              </a:extLst>
            </p:cNvPr>
            <p:cNvSpPr>
              <a:spLocks noChangeArrowheads="1"/>
            </p:cNvSpPr>
            <p:nvPr/>
          </p:nvSpPr>
          <p:spPr bwMode="auto">
            <a:xfrm>
              <a:off x="9162156" y="4869585"/>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1" name="Freeform 228">
              <a:extLst>
                <a:ext uri="{FF2B5EF4-FFF2-40B4-BE49-F238E27FC236}">
                  <a16:creationId xmlns:a16="http://schemas.microsoft.com/office/drawing/2014/main" id="{8EEB020A-D4BD-40F2-9E10-918967A7A35C}"/>
                </a:ext>
              </a:extLst>
            </p:cNvPr>
            <p:cNvSpPr>
              <a:spLocks noChangeArrowheads="1"/>
            </p:cNvSpPr>
            <p:nvPr/>
          </p:nvSpPr>
          <p:spPr bwMode="auto">
            <a:xfrm>
              <a:off x="9171941" y="4869585"/>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2" name="Freeform 229">
              <a:extLst>
                <a:ext uri="{FF2B5EF4-FFF2-40B4-BE49-F238E27FC236}">
                  <a16:creationId xmlns:a16="http://schemas.microsoft.com/office/drawing/2014/main" id="{93287127-25C6-4D88-81B4-1BEB3F48FDB6}"/>
                </a:ext>
              </a:extLst>
            </p:cNvPr>
            <p:cNvSpPr>
              <a:spLocks noChangeArrowheads="1"/>
            </p:cNvSpPr>
            <p:nvPr/>
          </p:nvSpPr>
          <p:spPr bwMode="auto">
            <a:xfrm>
              <a:off x="8881650" y="4003783"/>
              <a:ext cx="549594" cy="888458"/>
            </a:xfrm>
            <a:custGeom>
              <a:avLst/>
              <a:gdLst>
                <a:gd name="T0" fmla="*/ 379 w 1488"/>
                <a:gd name="T1" fmla="*/ 2042 h 2422"/>
                <a:gd name="T2" fmla="*/ 1458 w 1488"/>
                <a:gd name="T3" fmla="*/ 1983 h 2422"/>
                <a:gd name="T4" fmla="*/ 1429 w 1488"/>
                <a:gd name="T5" fmla="*/ 1371 h 2422"/>
                <a:gd name="T6" fmla="*/ 1487 w 1488"/>
                <a:gd name="T7" fmla="*/ 1313 h 2422"/>
                <a:gd name="T8" fmla="*/ 1400 w 1488"/>
                <a:gd name="T9" fmla="*/ 1167 h 2422"/>
                <a:gd name="T10" fmla="*/ 1312 w 1488"/>
                <a:gd name="T11" fmla="*/ 992 h 2422"/>
                <a:gd name="T12" fmla="*/ 1196 w 1488"/>
                <a:gd name="T13" fmla="*/ 497 h 2422"/>
                <a:gd name="T14" fmla="*/ 1108 w 1488"/>
                <a:gd name="T15" fmla="*/ 0 h 2422"/>
                <a:gd name="T16" fmla="*/ 29 w 1488"/>
                <a:gd name="T17" fmla="*/ 88 h 2422"/>
                <a:gd name="T18" fmla="*/ 58 w 1488"/>
                <a:gd name="T19" fmla="*/ 117 h 2422"/>
                <a:gd name="T20" fmla="*/ 58 w 1488"/>
                <a:gd name="T21" fmla="*/ 380 h 2422"/>
                <a:gd name="T22" fmla="*/ 29 w 1488"/>
                <a:gd name="T23" fmla="*/ 1138 h 2422"/>
                <a:gd name="T24" fmla="*/ 0 w 1488"/>
                <a:gd name="T25" fmla="*/ 1721 h 2422"/>
                <a:gd name="T26" fmla="*/ 58 w 1488"/>
                <a:gd name="T27" fmla="*/ 2246 h 2422"/>
                <a:gd name="T28" fmla="*/ 58 w 1488"/>
                <a:gd name="T29" fmla="*/ 2421 h 2422"/>
                <a:gd name="T30" fmla="*/ 87 w 1488"/>
                <a:gd name="T31" fmla="*/ 2363 h 2422"/>
                <a:gd name="T32" fmla="*/ 117 w 1488"/>
                <a:gd name="T33" fmla="*/ 2392 h 2422"/>
                <a:gd name="T34" fmla="*/ 146 w 1488"/>
                <a:gd name="T35" fmla="*/ 2363 h 2422"/>
                <a:gd name="T36" fmla="*/ 146 w 1488"/>
                <a:gd name="T37" fmla="*/ 2333 h 2422"/>
                <a:gd name="T38" fmla="*/ 146 w 1488"/>
                <a:gd name="T39" fmla="*/ 2246 h 2422"/>
                <a:gd name="T40" fmla="*/ 146 w 1488"/>
                <a:gd name="T41" fmla="*/ 2159 h 2422"/>
                <a:gd name="T42" fmla="*/ 175 w 1488"/>
                <a:gd name="T43" fmla="*/ 2013 h 2422"/>
                <a:gd name="T44" fmla="*/ 203 w 1488"/>
                <a:gd name="T45" fmla="*/ 1925 h 2422"/>
                <a:gd name="T46" fmla="*/ 233 w 1488"/>
                <a:gd name="T47" fmla="*/ 2071 h 2422"/>
                <a:gd name="T48" fmla="*/ 262 w 1488"/>
                <a:gd name="T49" fmla="*/ 2188 h 2422"/>
                <a:gd name="T50" fmla="*/ 262 w 1488"/>
                <a:gd name="T51" fmla="*/ 2246 h 2422"/>
                <a:gd name="T52" fmla="*/ 320 w 1488"/>
                <a:gd name="T53" fmla="*/ 2363 h 2422"/>
                <a:gd name="T54" fmla="*/ 350 w 1488"/>
                <a:gd name="T55" fmla="*/ 2421 h 2422"/>
                <a:gd name="T56" fmla="*/ 350 w 1488"/>
                <a:gd name="T57" fmla="*/ 2421 h 2422"/>
                <a:gd name="T58" fmla="*/ 350 w 1488"/>
                <a:gd name="T59" fmla="*/ 2363 h 2422"/>
                <a:gd name="T60" fmla="*/ 437 w 1488"/>
                <a:gd name="T61" fmla="*/ 2304 h 2422"/>
                <a:gd name="T62" fmla="*/ 379 w 1488"/>
                <a:gd name="T63" fmla="*/ 2100 h 2422"/>
                <a:gd name="T64" fmla="*/ 350 w 1488"/>
                <a:gd name="T65" fmla="*/ 2071 h 2422"/>
                <a:gd name="T66" fmla="*/ 379 w 1488"/>
                <a:gd name="T67" fmla="*/ 2042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88" h="2422">
                  <a:moveTo>
                    <a:pt x="379" y="2042"/>
                  </a:moveTo>
                  <a:lnTo>
                    <a:pt x="379" y="2042"/>
                  </a:lnTo>
                  <a:cubicBezTo>
                    <a:pt x="641" y="2013"/>
                    <a:pt x="903" y="2013"/>
                    <a:pt x="1167" y="1983"/>
                  </a:cubicBezTo>
                  <a:cubicBezTo>
                    <a:pt x="1253" y="1983"/>
                    <a:pt x="1341" y="1983"/>
                    <a:pt x="1458" y="1983"/>
                  </a:cubicBezTo>
                  <a:cubicBezTo>
                    <a:pt x="1458" y="1925"/>
                    <a:pt x="1429" y="1867"/>
                    <a:pt x="1429" y="1838"/>
                  </a:cubicBezTo>
                  <a:cubicBezTo>
                    <a:pt x="1400" y="1663"/>
                    <a:pt x="1370" y="1517"/>
                    <a:pt x="1429" y="1371"/>
                  </a:cubicBezTo>
                  <a:lnTo>
                    <a:pt x="1458" y="1342"/>
                  </a:lnTo>
                  <a:cubicBezTo>
                    <a:pt x="1458" y="1313"/>
                    <a:pt x="1487" y="1313"/>
                    <a:pt x="1487" y="1313"/>
                  </a:cubicBezTo>
                  <a:cubicBezTo>
                    <a:pt x="1487" y="1283"/>
                    <a:pt x="1429" y="1225"/>
                    <a:pt x="1429" y="1196"/>
                  </a:cubicBezTo>
                  <a:cubicBezTo>
                    <a:pt x="1400" y="1196"/>
                    <a:pt x="1400" y="1167"/>
                    <a:pt x="1400" y="1167"/>
                  </a:cubicBezTo>
                  <a:lnTo>
                    <a:pt x="1370" y="1138"/>
                  </a:lnTo>
                  <a:cubicBezTo>
                    <a:pt x="1341" y="1080"/>
                    <a:pt x="1312" y="1021"/>
                    <a:pt x="1312" y="992"/>
                  </a:cubicBezTo>
                  <a:cubicBezTo>
                    <a:pt x="1283" y="904"/>
                    <a:pt x="1253" y="788"/>
                    <a:pt x="1224" y="671"/>
                  </a:cubicBezTo>
                  <a:cubicBezTo>
                    <a:pt x="1224" y="613"/>
                    <a:pt x="1224" y="554"/>
                    <a:pt x="1196" y="497"/>
                  </a:cubicBezTo>
                  <a:cubicBezTo>
                    <a:pt x="1196" y="409"/>
                    <a:pt x="1167" y="321"/>
                    <a:pt x="1137" y="263"/>
                  </a:cubicBezTo>
                  <a:cubicBezTo>
                    <a:pt x="1137" y="175"/>
                    <a:pt x="1108" y="88"/>
                    <a:pt x="1108" y="0"/>
                  </a:cubicBezTo>
                  <a:cubicBezTo>
                    <a:pt x="1020" y="30"/>
                    <a:pt x="1020" y="30"/>
                    <a:pt x="1020" y="30"/>
                  </a:cubicBezTo>
                  <a:cubicBezTo>
                    <a:pt x="700" y="59"/>
                    <a:pt x="379" y="59"/>
                    <a:pt x="29" y="88"/>
                  </a:cubicBezTo>
                  <a:lnTo>
                    <a:pt x="29" y="88"/>
                  </a:lnTo>
                  <a:cubicBezTo>
                    <a:pt x="58" y="88"/>
                    <a:pt x="58" y="117"/>
                    <a:pt x="58" y="117"/>
                  </a:cubicBezTo>
                  <a:cubicBezTo>
                    <a:pt x="58" y="175"/>
                    <a:pt x="58" y="233"/>
                    <a:pt x="58" y="292"/>
                  </a:cubicBezTo>
                  <a:cubicBezTo>
                    <a:pt x="58" y="321"/>
                    <a:pt x="58" y="350"/>
                    <a:pt x="58" y="380"/>
                  </a:cubicBezTo>
                  <a:cubicBezTo>
                    <a:pt x="29" y="525"/>
                    <a:pt x="29" y="642"/>
                    <a:pt x="29" y="759"/>
                  </a:cubicBezTo>
                  <a:cubicBezTo>
                    <a:pt x="29" y="875"/>
                    <a:pt x="29" y="1021"/>
                    <a:pt x="29" y="1138"/>
                  </a:cubicBezTo>
                  <a:cubicBezTo>
                    <a:pt x="29" y="1167"/>
                    <a:pt x="29" y="1167"/>
                    <a:pt x="29" y="1167"/>
                  </a:cubicBezTo>
                  <a:cubicBezTo>
                    <a:pt x="29" y="1371"/>
                    <a:pt x="0" y="1546"/>
                    <a:pt x="0" y="1721"/>
                  </a:cubicBezTo>
                  <a:cubicBezTo>
                    <a:pt x="29" y="1838"/>
                    <a:pt x="29" y="1954"/>
                    <a:pt x="29" y="2071"/>
                  </a:cubicBezTo>
                  <a:cubicBezTo>
                    <a:pt x="29" y="2130"/>
                    <a:pt x="58" y="2188"/>
                    <a:pt x="58" y="2246"/>
                  </a:cubicBezTo>
                  <a:cubicBezTo>
                    <a:pt x="58" y="2275"/>
                    <a:pt x="58" y="2275"/>
                    <a:pt x="58" y="2304"/>
                  </a:cubicBezTo>
                  <a:cubicBezTo>
                    <a:pt x="58" y="2333"/>
                    <a:pt x="58" y="2392"/>
                    <a:pt x="58" y="2421"/>
                  </a:cubicBezTo>
                  <a:cubicBezTo>
                    <a:pt x="87" y="2421"/>
                    <a:pt x="87" y="2392"/>
                    <a:pt x="87" y="2392"/>
                  </a:cubicBezTo>
                  <a:cubicBezTo>
                    <a:pt x="87" y="2392"/>
                    <a:pt x="87" y="2392"/>
                    <a:pt x="87" y="2363"/>
                  </a:cubicBezTo>
                  <a:cubicBezTo>
                    <a:pt x="117" y="2363"/>
                    <a:pt x="117" y="2363"/>
                    <a:pt x="117" y="2363"/>
                  </a:cubicBezTo>
                  <a:cubicBezTo>
                    <a:pt x="117" y="2392"/>
                    <a:pt x="117" y="2392"/>
                    <a:pt x="117" y="2392"/>
                  </a:cubicBezTo>
                  <a:lnTo>
                    <a:pt x="146" y="2392"/>
                  </a:lnTo>
                  <a:cubicBezTo>
                    <a:pt x="175" y="2392"/>
                    <a:pt x="175" y="2392"/>
                    <a:pt x="146" y="2363"/>
                  </a:cubicBezTo>
                  <a:cubicBezTo>
                    <a:pt x="146" y="2363"/>
                    <a:pt x="146" y="2363"/>
                    <a:pt x="146" y="2333"/>
                  </a:cubicBezTo>
                  <a:lnTo>
                    <a:pt x="146" y="2333"/>
                  </a:lnTo>
                  <a:cubicBezTo>
                    <a:pt x="146" y="2304"/>
                    <a:pt x="146" y="2275"/>
                    <a:pt x="146" y="2275"/>
                  </a:cubicBezTo>
                  <a:cubicBezTo>
                    <a:pt x="146" y="2246"/>
                    <a:pt x="146" y="2246"/>
                    <a:pt x="146" y="2246"/>
                  </a:cubicBezTo>
                  <a:lnTo>
                    <a:pt x="175" y="2246"/>
                  </a:lnTo>
                  <a:cubicBezTo>
                    <a:pt x="175" y="2217"/>
                    <a:pt x="146" y="2188"/>
                    <a:pt x="146" y="2159"/>
                  </a:cubicBezTo>
                  <a:cubicBezTo>
                    <a:pt x="146" y="2159"/>
                    <a:pt x="117" y="2130"/>
                    <a:pt x="117" y="2100"/>
                  </a:cubicBezTo>
                  <a:cubicBezTo>
                    <a:pt x="146" y="2071"/>
                    <a:pt x="146" y="2042"/>
                    <a:pt x="175" y="2013"/>
                  </a:cubicBezTo>
                  <a:cubicBezTo>
                    <a:pt x="175" y="1983"/>
                    <a:pt x="175" y="1983"/>
                    <a:pt x="175" y="1983"/>
                  </a:cubicBezTo>
                  <a:cubicBezTo>
                    <a:pt x="203" y="1925"/>
                    <a:pt x="203" y="1925"/>
                    <a:pt x="203" y="1925"/>
                  </a:cubicBezTo>
                  <a:cubicBezTo>
                    <a:pt x="203" y="1983"/>
                    <a:pt x="203" y="1983"/>
                    <a:pt x="203" y="1983"/>
                  </a:cubicBezTo>
                  <a:cubicBezTo>
                    <a:pt x="233" y="2013"/>
                    <a:pt x="233" y="2042"/>
                    <a:pt x="233" y="2071"/>
                  </a:cubicBezTo>
                  <a:cubicBezTo>
                    <a:pt x="262" y="2100"/>
                    <a:pt x="262" y="2130"/>
                    <a:pt x="262" y="2159"/>
                  </a:cubicBezTo>
                  <a:lnTo>
                    <a:pt x="262" y="2188"/>
                  </a:lnTo>
                  <a:cubicBezTo>
                    <a:pt x="262" y="2217"/>
                    <a:pt x="262" y="2217"/>
                    <a:pt x="262" y="2217"/>
                  </a:cubicBezTo>
                  <a:lnTo>
                    <a:pt x="262" y="2246"/>
                  </a:lnTo>
                  <a:cubicBezTo>
                    <a:pt x="291" y="2275"/>
                    <a:pt x="320" y="2304"/>
                    <a:pt x="320" y="2363"/>
                  </a:cubicBezTo>
                  <a:lnTo>
                    <a:pt x="320" y="2363"/>
                  </a:lnTo>
                  <a:cubicBezTo>
                    <a:pt x="320" y="2363"/>
                    <a:pt x="350" y="2392"/>
                    <a:pt x="350" y="2421"/>
                  </a:cubicBezTo>
                  <a:lnTo>
                    <a:pt x="350" y="2421"/>
                  </a:lnTo>
                  <a:lnTo>
                    <a:pt x="350" y="2421"/>
                  </a:lnTo>
                  <a:lnTo>
                    <a:pt x="350" y="2421"/>
                  </a:lnTo>
                  <a:lnTo>
                    <a:pt x="379" y="2421"/>
                  </a:lnTo>
                  <a:cubicBezTo>
                    <a:pt x="379" y="2421"/>
                    <a:pt x="350" y="2392"/>
                    <a:pt x="350" y="2363"/>
                  </a:cubicBezTo>
                  <a:cubicBezTo>
                    <a:pt x="379" y="2333"/>
                    <a:pt x="379" y="2333"/>
                    <a:pt x="408" y="2333"/>
                  </a:cubicBezTo>
                  <a:cubicBezTo>
                    <a:pt x="408" y="2333"/>
                    <a:pt x="408" y="2304"/>
                    <a:pt x="437" y="2304"/>
                  </a:cubicBezTo>
                  <a:cubicBezTo>
                    <a:pt x="408" y="2275"/>
                    <a:pt x="408" y="2217"/>
                    <a:pt x="408" y="2159"/>
                  </a:cubicBezTo>
                  <a:cubicBezTo>
                    <a:pt x="408" y="2159"/>
                    <a:pt x="408" y="2130"/>
                    <a:pt x="379" y="2100"/>
                  </a:cubicBezTo>
                  <a:lnTo>
                    <a:pt x="379" y="2100"/>
                  </a:lnTo>
                  <a:lnTo>
                    <a:pt x="350" y="2071"/>
                  </a:lnTo>
                  <a:cubicBezTo>
                    <a:pt x="350" y="2042"/>
                    <a:pt x="350" y="2042"/>
                    <a:pt x="350" y="2042"/>
                  </a:cubicBezTo>
                  <a:lnTo>
                    <a:pt x="379" y="20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3" name="Freeform 230">
              <a:extLst>
                <a:ext uri="{FF2B5EF4-FFF2-40B4-BE49-F238E27FC236}">
                  <a16:creationId xmlns:a16="http://schemas.microsoft.com/office/drawing/2014/main" id="{3A97340E-B23F-4216-9A05-2C0B61C45983}"/>
                </a:ext>
              </a:extLst>
            </p:cNvPr>
            <p:cNvSpPr>
              <a:spLocks noChangeArrowheads="1"/>
            </p:cNvSpPr>
            <p:nvPr/>
          </p:nvSpPr>
          <p:spPr bwMode="auto">
            <a:xfrm>
              <a:off x="9150739" y="4880913"/>
              <a:ext cx="11416" cy="1619"/>
            </a:xfrm>
            <a:custGeom>
              <a:avLst/>
              <a:gdLst>
                <a:gd name="T0" fmla="*/ 29 w 30"/>
                <a:gd name="T1" fmla="*/ 0 h 1"/>
                <a:gd name="T2" fmla="*/ 29 w 30"/>
                <a:gd name="T3" fmla="*/ 0 h 1"/>
                <a:gd name="T4" fmla="*/ 0 w 30"/>
                <a:gd name="T5" fmla="*/ 0 h 1"/>
                <a:gd name="T6" fmla="*/ 0 w 30"/>
                <a:gd name="T7" fmla="*/ 0 h 1"/>
                <a:gd name="T8" fmla="*/ 29 w 30"/>
                <a:gd name="T9" fmla="*/ 0 h 1"/>
              </a:gdLst>
              <a:ahLst/>
              <a:cxnLst>
                <a:cxn ang="0">
                  <a:pos x="T0" y="T1"/>
                </a:cxn>
                <a:cxn ang="0">
                  <a:pos x="T2" y="T3"/>
                </a:cxn>
                <a:cxn ang="0">
                  <a:pos x="T4" y="T5"/>
                </a:cxn>
                <a:cxn ang="0">
                  <a:pos x="T6" y="T7"/>
                </a:cxn>
                <a:cxn ang="0">
                  <a:pos x="T8" y="T9"/>
                </a:cxn>
              </a:cxnLst>
              <a:rect l="0" t="0" r="r" b="b"/>
              <a:pathLst>
                <a:path w="30" h="1">
                  <a:moveTo>
                    <a:pt x="29" y="0"/>
                  </a:moveTo>
                  <a:lnTo>
                    <a:pt x="29" y="0"/>
                  </a:lnTo>
                  <a:cubicBezTo>
                    <a:pt x="0" y="0"/>
                    <a:pt x="0" y="0"/>
                    <a:pt x="0" y="0"/>
                  </a:cubicBez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4" name="Freeform 231">
              <a:extLst>
                <a:ext uri="{FF2B5EF4-FFF2-40B4-BE49-F238E27FC236}">
                  <a16:creationId xmlns:a16="http://schemas.microsoft.com/office/drawing/2014/main" id="{7556CA61-73C4-4F09-82B4-534FD9D91668}"/>
                </a:ext>
              </a:extLst>
            </p:cNvPr>
            <p:cNvSpPr>
              <a:spLocks noChangeArrowheads="1"/>
            </p:cNvSpPr>
            <p:nvPr/>
          </p:nvSpPr>
          <p:spPr bwMode="auto">
            <a:xfrm>
              <a:off x="9118122" y="4869585"/>
              <a:ext cx="11416" cy="1618"/>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5" name="Freeform 232">
              <a:extLst>
                <a:ext uri="{FF2B5EF4-FFF2-40B4-BE49-F238E27FC236}">
                  <a16:creationId xmlns:a16="http://schemas.microsoft.com/office/drawing/2014/main" id="{34E3DCBB-ADEB-4B3D-8D75-09616F7BA696}"/>
                </a:ext>
              </a:extLst>
            </p:cNvPr>
            <p:cNvSpPr>
              <a:spLocks noChangeArrowheads="1"/>
            </p:cNvSpPr>
            <p:nvPr/>
          </p:nvSpPr>
          <p:spPr bwMode="auto">
            <a:xfrm>
              <a:off x="9171941" y="4859875"/>
              <a:ext cx="11415" cy="11328"/>
            </a:xfrm>
            <a:custGeom>
              <a:avLst/>
              <a:gdLst>
                <a:gd name="T0" fmla="*/ 0 w 31"/>
                <a:gd name="T1" fmla="*/ 0 h 31"/>
                <a:gd name="T2" fmla="*/ 0 w 31"/>
                <a:gd name="T3" fmla="*/ 0 h 31"/>
                <a:gd name="T4" fmla="*/ 0 w 31"/>
                <a:gd name="T5" fmla="*/ 30 h 31"/>
                <a:gd name="T6" fmla="*/ 0 w 31"/>
                <a:gd name="T7" fmla="*/ 0 h 31"/>
                <a:gd name="T8" fmla="*/ 3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0"/>
                  </a:lnTo>
                  <a:cubicBezTo>
                    <a:pt x="0" y="30"/>
                    <a:pt x="0" y="30"/>
                    <a:pt x="0" y="30"/>
                  </a:cubicBezTo>
                  <a:cubicBezTo>
                    <a:pt x="0" y="0"/>
                    <a:pt x="0" y="0"/>
                    <a:pt x="0" y="0"/>
                  </a:cubicBez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6" name="Freeform 233">
              <a:extLst>
                <a:ext uri="{FF2B5EF4-FFF2-40B4-BE49-F238E27FC236}">
                  <a16:creationId xmlns:a16="http://schemas.microsoft.com/office/drawing/2014/main" id="{5BFF07D2-3685-48D8-941D-B595F7DCF15D}"/>
                </a:ext>
              </a:extLst>
            </p:cNvPr>
            <p:cNvSpPr>
              <a:spLocks noChangeArrowheads="1"/>
            </p:cNvSpPr>
            <p:nvPr/>
          </p:nvSpPr>
          <p:spPr bwMode="auto">
            <a:xfrm>
              <a:off x="9463861" y="4955355"/>
              <a:ext cx="1631" cy="11329"/>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cubicBezTo>
                    <a:pt x="0" y="29"/>
                    <a:pt x="0" y="29"/>
                    <a:pt x="0" y="29"/>
                  </a:cubicBezTo>
                  <a:lnTo>
                    <a:pt x="0" y="29"/>
                  </a:ln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7" name="Freeform 234">
              <a:extLst>
                <a:ext uri="{FF2B5EF4-FFF2-40B4-BE49-F238E27FC236}">
                  <a16:creationId xmlns:a16="http://schemas.microsoft.com/office/drawing/2014/main" id="{AADA484B-8CDD-4542-996A-8C8C36080764}"/>
                </a:ext>
              </a:extLst>
            </p:cNvPr>
            <p:cNvSpPr>
              <a:spLocks noChangeArrowheads="1"/>
            </p:cNvSpPr>
            <p:nvPr/>
          </p:nvSpPr>
          <p:spPr bwMode="auto">
            <a:xfrm>
              <a:off x="9550297" y="4934318"/>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8" name="Freeform 235">
              <a:extLst>
                <a:ext uri="{FF2B5EF4-FFF2-40B4-BE49-F238E27FC236}">
                  <a16:creationId xmlns:a16="http://schemas.microsoft.com/office/drawing/2014/main" id="{1E4033F2-60A6-4AF2-8478-36DA1B853A43}"/>
                </a:ext>
              </a:extLst>
            </p:cNvPr>
            <p:cNvSpPr>
              <a:spLocks noChangeArrowheads="1"/>
            </p:cNvSpPr>
            <p:nvPr/>
          </p:nvSpPr>
          <p:spPr bwMode="auto">
            <a:xfrm>
              <a:off x="9517680" y="4934318"/>
              <a:ext cx="11415" cy="1618"/>
            </a:xfrm>
            <a:custGeom>
              <a:avLst/>
              <a:gdLst>
                <a:gd name="T0" fmla="*/ 30 w 31"/>
                <a:gd name="T1" fmla="*/ 0 h 1"/>
                <a:gd name="T2" fmla="*/ 30 w 31"/>
                <a:gd name="T3" fmla="*/ 0 h 1"/>
                <a:gd name="T4" fmla="*/ 0 w 31"/>
                <a:gd name="T5" fmla="*/ 0 h 1"/>
                <a:gd name="T6" fmla="*/ 0 w 31"/>
                <a:gd name="T7" fmla="*/ 0 h 1"/>
                <a:gd name="T8" fmla="*/ 0 w 31"/>
                <a:gd name="T9" fmla="*/ 0 h 1"/>
                <a:gd name="T10" fmla="*/ 30 w 31"/>
                <a:gd name="T11" fmla="*/ 0 h 1"/>
              </a:gdLst>
              <a:ahLst/>
              <a:cxnLst>
                <a:cxn ang="0">
                  <a:pos x="T0" y="T1"/>
                </a:cxn>
                <a:cxn ang="0">
                  <a:pos x="T2" y="T3"/>
                </a:cxn>
                <a:cxn ang="0">
                  <a:pos x="T4" y="T5"/>
                </a:cxn>
                <a:cxn ang="0">
                  <a:pos x="T6" y="T7"/>
                </a:cxn>
                <a:cxn ang="0">
                  <a:pos x="T8" y="T9"/>
                </a:cxn>
                <a:cxn ang="0">
                  <a:pos x="T10" y="T11"/>
                </a:cxn>
              </a:cxnLst>
              <a:rect l="0" t="0" r="r" b="b"/>
              <a:pathLst>
                <a:path w="31" h="1">
                  <a:moveTo>
                    <a:pt x="30" y="0"/>
                  </a:moveTo>
                  <a:lnTo>
                    <a:pt x="30" y="0"/>
                  </a:lnTo>
                  <a:lnTo>
                    <a:pt x="0" y="0"/>
                  </a:lnTo>
                  <a:lnTo>
                    <a:pt x="0" y="0"/>
                  </a:lnTo>
                  <a:lnTo>
                    <a:pt x="0" y="0"/>
                  </a:ln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9" name="Freeform 236">
              <a:extLst>
                <a:ext uri="{FF2B5EF4-FFF2-40B4-BE49-F238E27FC236}">
                  <a16:creationId xmlns:a16="http://schemas.microsoft.com/office/drawing/2014/main" id="{78BC5A1F-FE0D-46BE-AC36-5D9D115E5B66}"/>
                </a:ext>
              </a:extLst>
            </p:cNvPr>
            <p:cNvSpPr>
              <a:spLocks noChangeArrowheads="1"/>
            </p:cNvSpPr>
            <p:nvPr/>
          </p:nvSpPr>
          <p:spPr bwMode="auto">
            <a:xfrm>
              <a:off x="9475278" y="4955355"/>
              <a:ext cx="11415" cy="11329"/>
            </a:xfrm>
            <a:custGeom>
              <a:avLst/>
              <a:gdLst>
                <a:gd name="T0" fmla="*/ 30 w 31"/>
                <a:gd name="T1" fmla="*/ 0 h 30"/>
                <a:gd name="T2" fmla="*/ 30 w 31"/>
                <a:gd name="T3" fmla="*/ 0 h 30"/>
                <a:gd name="T4" fmla="*/ 0 w 31"/>
                <a:gd name="T5" fmla="*/ 29 h 30"/>
                <a:gd name="T6" fmla="*/ 30 w 31"/>
                <a:gd name="T7" fmla="*/ 0 h 30"/>
              </a:gdLst>
              <a:ahLst/>
              <a:cxnLst>
                <a:cxn ang="0">
                  <a:pos x="T0" y="T1"/>
                </a:cxn>
                <a:cxn ang="0">
                  <a:pos x="T2" y="T3"/>
                </a:cxn>
                <a:cxn ang="0">
                  <a:pos x="T4" y="T5"/>
                </a:cxn>
                <a:cxn ang="0">
                  <a:pos x="T6" y="T7"/>
                </a:cxn>
              </a:cxnLst>
              <a:rect l="0" t="0" r="r" b="b"/>
              <a:pathLst>
                <a:path w="31" h="30">
                  <a:moveTo>
                    <a:pt x="30" y="0"/>
                  </a:moveTo>
                  <a:lnTo>
                    <a:pt x="30" y="0"/>
                  </a:lnTo>
                  <a:lnTo>
                    <a:pt x="0" y="29"/>
                  </a:ln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0" name="Freeform 237">
              <a:extLst>
                <a:ext uri="{FF2B5EF4-FFF2-40B4-BE49-F238E27FC236}">
                  <a16:creationId xmlns:a16="http://schemas.microsoft.com/office/drawing/2014/main" id="{F31E3D2B-6DD4-4D5C-9D72-C5F853FE2C15}"/>
                </a:ext>
              </a:extLst>
            </p:cNvPr>
            <p:cNvSpPr>
              <a:spLocks noChangeArrowheads="1"/>
            </p:cNvSpPr>
            <p:nvPr/>
          </p:nvSpPr>
          <p:spPr bwMode="auto">
            <a:xfrm>
              <a:off x="9830802" y="5180302"/>
              <a:ext cx="11415" cy="21038"/>
            </a:xfrm>
            <a:custGeom>
              <a:avLst/>
              <a:gdLst>
                <a:gd name="T0" fmla="*/ 29 w 30"/>
                <a:gd name="T1" fmla="*/ 0 h 59"/>
                <a:gd name="T2" fmla="*/ 29 w 30"/>
                <a:gd name="T3" fmla="*/ 0 h 59"/>
                <a:gd name="T4" fmla="*/ 0 w 30"/>
                <a:gd name="T5" fmla="*/ 58 h 59"/>
                <a:gd name="T6" fmla="*/ 0 w 30"/>
                <a:gd name="T7" fmla="*/ 58 h 59"/>
                <a:gd name="T8" fmla="*/ 0 w 30"/>
                <a:gd name="T9" fmla="*/ 58 h 59"/>
                <a:gd name="T10" fmla="*/ 29 w 30"/>
                <a:gd name="T11" fmla="*/ 0 h 59"/>
              </a:gdLst>
              <a:ahLst/>
              <a:cxnLst>
                <a:cxn ang="0">
                  <a:pos x="T0" y="T1"/>
                </a:cxn>
                <a:cxn ang="0">
                  <a:pos x="T2" y="T3"/>
                </a:cxn>
                <a:cxn ang="0">
                  <a:pos x="T4" y="T5"/>
                </a:cxn>
                <a:cxn ang="0">
                  <a:pos x="T6" y="T7"/>
                </a:cxn>
                <a:cxn ang="0">
                  <a:pos x="T8" y="T9"/>
                </a:cxn>
                <a:cxn ang="0">
                  <a:pos x="T10" y="T11"/>
                </a:cxn>
              </a:cxnLst>
              <a:rect l="0" t="0" r="r" b="b"/>
              <a:pathLst>
                <a:path w="30" h="59">
                  <a:moveTo>
                    <a:pt x="29" y="0"/>
                  </a:moveTo>
                  <a:lnTo>
                    <a:pt x="29" y="0"/>
                  </a:lnTo>
                  <a:cubicBezTo>
                    <a:pt x="29" y="29"/>
                    <a:pt x="29" y="58"/>
                    <a:pt x="0" y="58"/>
                  </a:cubicBezTo>
                  <a:lnTo>
                    <a:pt x="0" y="58"/>
                  </a:lnTo>
                  <a:lnTo>
                    <a:pt x="0" y="58"/>
                  </a:lnTo>
                  <a:cubicBezTo>
                    <a:pt x="29" y="58"/>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1" name="Freeform 238">
              <a:extLst>
                <a:ext uri="{FF2B5EF4-FFF2-40B4-BE49-F238E27FC236}">
                  <a16:creationId xmlns:a16="http://schemas.microsoft.com/office/drawing/2014/main" id="{1254FB0B-2091-4520-AEDE-C9286526F1DE}"/>
                </a:ext>
              </a:extLst>
            </p:cNvPr>
            <p:cNvSpPr>
              <a:spLocks noChangeArrowheads="1"/>
            </p:cNvSpPr>
            <p:nvPr/>
          </p:nvSpPr>
          <p:spPr bwMode="auto">
            <a:xfrm>
              <a:off x="9701965" y="4955355"/>
              <a:ext cx="11416" cy="11329"/>
            </a:xfrm>
            <a:custGeom>
              <a:avLst/>
              <a:gdLst>
                <a:gd name="T0" fmla="*/ 0 w 29"/>
                <a:gd name="T1" fmla="*/ 29 h 30"/>
                <a:gd name="T2" fmla="*/ 0 w 29"/>
                <a:gd name="T3" fmla="*/ 29 h 30"/>
                <a:gd name="T4" fmla="*/ 28 w 29"/>
                <a:gd name="T5" fmla="*/ 0 h 30"/>
                <a:gd name="T6" fmla="*/ 0 w 29"/>
                <a:gd name="T7" fmla="*/ 29 h 30"/>
              </a:gdLst>
              <a:ahLst/>
              <a:cxnLst>
                <a:cxn ang="0">
                  <a:pos x="T0" y="T1"/>
                </a:cxn>
                <a:cxn ang="0">
                  <a:pos x="T2" y="T3"/>
                </a:cxn>
                <a:cxn ang="0">
                  <a:pos x="T4" y="T5"/>
                </a:cxn>
                <a:cxn ang="0">
                  <a:pos x="T6" y="T7"/>
                </a:cxn>
              </a:cxnLst>
              <a:rect l="0" t="0" r="r" b="b"/>
              <a:pathLst>
                <a:path w="29" h="30">
                  <a:moveTo>
                    <a:pt x="0" y="29"/>
                  </a:moveTo>
                  <a:lnTo>
                    <a:pt x="0" y="29"/>
                  </a:lnTo>
                  <a:cubicBezTo>
                    <a:pt x="0" y="0"/>
                    <a:pt x="28" y="0"/>
                    <a:pt x="28" y="0"/>
                  </a:cubicBezTo>
                  <a:cubicBezTo>
                    <a:pt x="28"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2" name="Freeform 239">
              <a:extLst>
                <a:ext uri="{FF2B5EF4-FFF2-40B4-BE49-F238E27FC236}">
                  <a16:creationId xmlns:a16="http://schemas.microsoft.com/office/drawing/2014/main" id="{2A05FE19-986C-46F2-B250-FFAC3F35AF58}"/>
                </a:ext>
              </a:extLst>
            </p:cNvPr>
            <p:cNvSpPr>
              <a:spLocks noChangeArrowheads="1"/>
            </p:cNvSpPr>
            <p:nvPr/>
          </p:nvSpPr>
          <p:spPr bwMode="auto">
            <a:xfrm>
              <a:off x="9367642" y="4892241"/>
              <a:ext cx="11415" cy="1618"/>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3" name="Freeform 240">
              <a:extLst>
                <a:ext uri="{FF2B5EF4-FFF2-40B4-BE49-F238E27FC236}">
                  <a16:creationId xmlns:a16="http://schemas.microsoft.com/office/drawing/2014/main" id="{D6D9611E-7953-415E-9FA0-7EEE3D67FFA6}"/>
                </a:ext>
              </a:extLst>
            </p:cNvPr>
            <p:cNvSpPr>
              <a:spLocks noChangeArrowheads="1"/>
            </p:cNvSpPr>
            <p:nvPr/>
          </p:nvSpPr>
          <p:spPr bwMode="auto">
            <a:xfrm>
              <a:off x="9475278" y="4966684"/>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4" name="Freeform 241">
              <a:extLst>
                <a:ext uri="{FF2B5EF4-FFF2-40B4-BE49-F238E27FC236}">
                  <a16:creationId xmlns:a16="http://schemas.microsoft.com/office/drawing/2014/main" id="{58F81B48-A526-46C0-BDD9-552006881D09}"/>
                </a:ext>
              </a:extLst>
            </p:cNvPr>
            <p:cNvSpPr>
              <a:spLocks noChangeArrowheads="1"/>
            </p:cNvSpPr>
            <p:nvPr/>
          </p:nvSpPr>
          <p:spPr bwMode="auto">
            <a:xfrm>
              <a:off x="9344810" y="4859875"/>
              <a:ext cx="11415" cy="32366"/>
            </a:xfrm>
            <a:custGeom>
              <a:avLst/>
              <a:gdLst>
                <a:gd name="T0" fmla="*/ 30 w 31"/>
                <a:gd name="T1" fmla="*/ 0 h 89"/>
                <a:gd name="T2" fmla="*/ 30 w 31"/>
                <a:gd name="T3" fmla="*/ 0 h 89"/>
                <a:gd name="T4" fmla="*/ 0 w 31"/>
                <a:gd name="T5" fmla="*/ 0 h 89"/>
                <a:gd name="T6" fmla="*/ 0 w 31"/>
                <a:gd name="T7" fmla="*/ 0 h 89"/>
                <a:gd name="T8" fmla="*/ 30 w 31"/>
                <a:gd name="T9" fmla="*/ 0 h 89"/>
                <a:gd name="T10" fmla="*/ 30 w 31"/>
                <a:gd name="T11" fmla="*/ 30 h 89"/>
                <a:gd name="T12" fmla="*/ 30 w 31"/>
                <a:gd name="T13" fmla="*/ 88 h 89"/>
                <a:gd name="T14" fmla="*/ 30 w 31"/>
                <a:gd name="T15" fmla="*/ 88 h 89"/>
                <a:gd name="T16" fmla="*/ 30 w 31"/>
                <a:gd name="T17" fmla="*/ 88 h 89"/>
                <a:gd name="T18" fmla="*/ 30 w 31"/>
                <a:gd name="T19" fmla="*/ 30 h 89"/>
                <a:gd name="T20" fmla="*/ 30 w 3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89">
                  <a:moveTo>
                    <a:pt x="30" y="0"/>
                  </a:moveTo>
                  <a:lnTo>
                    <a:pt x="30" y="0"/>
                  </a:lnTo>
                  <a:cubicBezTo>
                    <a:pt x="0" y="0"/>
                    <a:pt x="0" y="0"/>
                    <a:pt x="0" y="0"/>
                  </a:cubicBezTo>
                  <a:lnTo>
                    <a:pt x="0" y="0"/>
                  </a:lnTo>
                  <a:cubicBezTo>
                    <a:pt x="0" y="0"/>
                    <a:pt x="0" y="0"/>
                    <a:pt x="30" y="0"/>
                  </a:cubicBezTo>
                  <a:cubicBezTo>
                    <a:pt x="30" y="0"/>
                    <a:pt x="30" y="0"/>
                    <a:pt x="30" y="30"/>
                  </a:cubicBezTo>
                  <a:cubicBezTo>
                    <a:pt x="0" y="30"/>
                    <a:pt x="0" y="59"/>
                    <a:pt x="30" y="88"/>
                  </a:cubicBezTo>
                  <a:lnTo>
                    <a:pt x="30" y="88"/>
                  </a:lnTo>
                  <a:lnTo>
                    <a:pt x="30" y="88"/>
                  </a:lnTo>
                  <a:cubicBezTo>
                    <a:pt x="0" y="59"/>
                    <a:pt x="0" y="30"/>
                    <a:pt x="30" y="3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5" name="Freeform 242">
              <a:extLst>
                <a:ext uri="{FF2B5EF4-FFF2-40B4-BE49-F238E27FC236}">
                  <a16:creationId xmlns:a16="http://schemas.microsoft.com/office/drawing/2014/main" id="{EBEFACF4-43A2-47C8-AF13-7F3BFF774ED0}"/>
                </a:ext>
              </a:extLst>
            </p:cNvPr>
            <p:cNvSpPr>
              <a:spLocks noChangeArrowheads="1"/>
            </p:cNvSpPr>
            <p:nvPr/>
          </p:nvSpPr>
          <p:spPr bwMode="auto">
            <a:xfrm>
              <a:off x="9335025" y="4869585"/>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6" name="Freeform 243">
              <a:extLst>
                <a:ext uri="{FF2B5EF4-FFF2-40B4-BE49-F238E27FC236}">
                  <a16:creationId xmlns:a16="http://schemas.microsoft.com/office/drawing/2014/main" id="{3BC7B8C1-6697-4D71-9866-A337AE2277F2}"/>
                </a:ext>
              </a:extLst>
            </p:cNvPr>
            <p:cNvSpPr>
              <a:spLocks noChangeArrowheads="1"/>
            </p:cNvSpPr>
            <p:nvPr/>
          </p:nvSpPr>
          <p:spPr bwMode="auto">
            <a:xfrm>
              <a:off x="9335025" y="4880913"/>
              <a:ext cx="44032" cy="21039"/>
            </a:xfrm>
            <a:custGeom>
              <a:avLst/>
              <a:gdLst>
                <a:gd name="T0" fmla="*/ 117 w 118"/>
                <a:gd name="T1" fmla="*/ 58 h 59"/>
                <a:gd name="T2" fmla="*/ 117 w 118"/>
                <a:gd name="T3" fmla="*/ 58 h 59"/>
                <a:gd name="T4" fmla="*/ 117 w 118"/>
                <a:gd name="T5" fmla="*/ 58 h 59"/>
                <a:gd name="T6" fmla="*/ 59 w 118"/>
                <a:gd name="T7" fmla="*/ 29 h 59"/>
                <a:gd name="T8" fmla="*/ 29 w 118"/>
                <a:gd name="T9" fmla="*/ 29 h 59"/>
                <a:gd name="T10" fmla="*/ 0 w 118"/>
                <a:gd name="T11" fmla="*/ 0 h 59"/>
                <a:gd name="T12" fmla="*/ 0 w 118"/>
                <a:gd name="T13" fmla="*/ 0 h 59"/>
                <a:gd name="T14" fmla="*/ 29 w 118"/>
                <a:gd name="T15" fmla="*/ 29 h 59"/>
                <a:gd name="T16" fmla="*/ 59 w 118"/>
                <a:gd name="T17" fmla="*/ 29 h 59"/>
                <a:gd name="T18" fmla="*/ 117 w 118"/>
                <a:gd name="T1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59">
                  <a:moveTo>
                    <a:pt x="117" y="58"/>
                  </a:moveTo>
                  <a:lnTo>
                    <a:pt x="117" y="58"/>
                  </a:lnTo>
                  <a:lnTo>
                    <a:pt x="117" y="58"/>
                  </a:lnTo>
                  <a:cubicBezTo>
                    <a:pt x="88" y="58"/>
                    <a:pt x="88" y="58"/>
                    <a:pt x="59" y="29"/>
                  </a:cubicBezTo>
                  <a:lnTo>
                    <a:pt x="29" y="29"/>
                  </a:lnTo>
                  <a:cubicBezTo>
                    <a:pt x="0" y="0"/>
                    <a:pt x="0" y="0"/>
                    <a:pt x="0" y="0"/>
                  </a:cubicBezTo>
                  <a:lnTo>
                    <a:pt x="0" y="0"/>
                  </a:lnTo>
                  <a:cubicBezTo>
                    <a:pt x="29" y="29"/>
                    <a:pt x="29" y="29"/>
                    <a:pt x="29" y="29"/>
                  </a:cubicBezTo>
                  <a:lnTo>
                    <a:pt x="59" y="29"/>
                  </a:lnTo>
                  <a:cubicBezTo>
                    <a:pt x="88" y="58"/>
                    <a:pt x="88" y="58"/>
                    <a:pt x="117"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7" name="Freeform 244">
              <a:extLst>
                <a:ext uri="{FF2B5EF4-FFF2-40B4-BE49-F238E27FC236}">
                  <a16:creationId xmlns:a16="http://schemas.microsoft.com/office/drawing/2014/main" id="{8272D88F-F512-441A-88A9-2E6FEB8605AE}"/>
                </a:ext>
              </a:extLst>
            </p:cNvPr>
            <p:cNvSpPr>
              <a:spLocks noChangeArrowheads="1"/>
            </p:cNvSpPr>
            <p:nvPr/>
          </p:nvSpPr>
          <p:spPr bwMode="auto">
            <a:xfrm>
              <a:off x="9463861" y="4955355"/>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8" name="Freeform 245">
              <a:extLst>
                <a:ext uri="{FF2B5EF4-FFF2-40B4-BE49-F238E27FC236}">
                  <a16:creationId xmlns:a16="http://schemas.microsoft.com/office/drawing/2014/main" id="{44FF410E-B57D-413C-B16E-1D9AB2A37271}"/>
                </a:ext>
              </a:extLst>
            </p:cNvPr>
            <p:cNvSpPr>
              <a:spLocks noChangeArrowheads="1"/>
            </p:cNvSpPr>
            <p:nvPr/>
          </p:nvSpPr>
          <p:spPr bwMode="auto">
            <a:xfrm>
              <a:off x="8977869" y="4869585"/>
              <a:ext cx="11416" cy="11328"/>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0" y="29"/>
                    <a:pt x="29" y="29"/>
                    <a:pt x="29" y="29"/>
                  </a:cubicBezTo>
                  <a:cubicBezTo>
                    <a:pt x="29"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9" name="Freeform 246">
              <a:extLst>
                <a:ext uri="{FF2B5EF4-FFF2-40B4-BE49-F238E27FC236}">
                  <a16:creationId xmlns:a16="http://schemas.microsoft.com/office/drawing/2014/main" id="{2621C751-4F89-4665-A58C-BC88489CA97C}"/>
                </a:ext>
              </a:extLst>
            </p:cNvPr>
            <p:cNvSpPr>
              <a:spLocks noChangeArrowheads="1"/>
            </p:cNvSpPr>
            <p:nvPr/>
          </p:nvSpPr>
          <p:spPr bwMode="auto">
            <a:xfrm>
              <a:off x="9356226" y="489224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0" name="Freeform 247">
              <a:extLst>
                <a:ext uri="{FF2B5EF4-FFF2-40B4-BE49-F238E27FC236}">
                  <a16:creationId xmlns:a16="http://schemas.microsoft.com/office/drawing/2014/main" id="{177BB330-7A9B-4673-A6BF-DCE55B1C6D12}"/>
                </a:ext>
              </a:extLst>
            </p:cNvPr>
            <p:cNvSpPr>
              <a:spLocks noChangeArrowheads="1"/>
            </p:cNvSpPr>
            <p:nvPr/>
          </p:nvSpPr>
          <p:spPr bwMode="auto">
            <a:xfrm>
              <a:off x="9227389" y="4848546"/>
              <a:ext cx="11415" cy="1619"/>
            </a:xfrm>
            <a:custGeom>
              <a:avLst/>
              <a:gdLst>
                <a:gd name="T0" fmla="*/ 29 w 30"/>
                <a:gd name="T1" fmla="*/ 0 h 1"/>
                <a:gd name="T2" fmla="*/ 29 w 30"/>
                <a:gd name="T3" fmla="*/ 0 h 1"/>
                <a:gd name="T4" fmla="*/ 29 w 30"/>
                <a:gd name="T5" fmla="*/ 0 h 1"/>
                <a:gd name="T6" fmla="*/ 0 w 30"/>
                <a:gd name="T7" fmla="*/ 0 h 1"/>
                <a:gd name="T8" fmla="*/ 0 w 30"/>
                <a:gd name="T9" fmla="*/ 0 h 1"/>
                <a:gd name="T10" fmla="*/ 0 w 30"/>
                <a:gd name="T11" fmla="*/ 0 h 1"/>
                <a:gd name="T12" fmla="*/ 29 w 3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0" h="1">
                  <a:moveTo>
                    <a:pt x="29" y="0"/>
                  </a:moveTo>
                  <a:lnTo>
                    <a:pt x="29" y="0"/>
                  </a:lnTo>
                  <a:lnTo>
                    <a:pt x="29" y="0"/>
                  </a:lnTo>
                  <a:lnTo>
                    <a:pt x="0" y="0"/>
                  </a:lnTo>
                  <a:lnTo>
                    <a:pt x="0"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1" name="Freeform 248">
              <a:extLst>
                <a:ext uri="{FF2B5EF4-FFF2-40B4-BE49-F238E27FC236}">
                  <a16:creationId xmlns:a16="http://schemas.microsoft.com/office/drawing/2014/main" id="{F73BCC51-52DB-4D07-A56A-C72AB2337513}"/>
                </a:ext>
              </a:extLst>
            </p:cNvPr>
            <p:cNvSpPr>
              <a:spLocks noChangeArrowheads="1"/>
            </p:cNvSpPr>
            <p:nvPr/>
          </p:nvSpPr>
          <p:spPr bwMode="auto">
            <a:xfrm>
              <a:off x="8395658" y="4024822"/>
              <a:ext cx="485992" cy="888457"/>
            </a:xfrm>
            <a:custGeom>
              <a:avLst/>
              <a:gdLst>
                <a:gd name="T0" fmla="*/ 1313 w 1314"/>
                <a:gd name="T1" fmla="*/ 204 h 2422"/>
                <a:gd name="T2" fmla="*/ 1313 w 1314"/>
                <a:gd name="T3" fmla="*/ 58 h 2422"/>
                <a:gd name="T4" fmla="*/ 1021 w 1314"/>
                <a:gd name="T5" fmla="*/ 29 h 2422"/>
                <a:gd name="T6" fmla="*/ 583 w 1314"/>
                <a:gd name="T7" fmla="*/ 29 h 2422"/>
                <a:gd name="T8" fmla="*/ 496 w 1314"/>
                <a:gd name="T9" fmla="*/ 88 h 2422"/>
                <a:gd name="T10" fmla="*/ 467 w 1314"/>
                <a:gd name="T11" fmla="*/ 116 h 2422"/>
                <a:gd name="T12" fmla="*/ 467 w 1314"/>
                <a:gd name="T13" fmla="*/ 174 h 2422"/>
                <a:gd name="T14" fmla="*/ 409 w 1314"/>
                <a:gd name="T15" fmla="*/ 262 h 2422"/>
                <a:gd name="T16" fmla="*/ 292 w 1314"/>
                <a:gd name="T17" fmla="*/ 438 h 2422"/>
                <a:gd name="T18" fmla="*/ 204 w 1314"/>
                <a:gd name="T19" fmla="*/ 700 h 2422"/>
                <a:gd name="T20" fmla="*/ 263 w 1314"/>
                <a:gd name="T21" fmla="*/ 787 h 2422"/>
                <a:gd name="T22" fmla="*/ 233 w 1314"/>
                <a:gd name="T23" fmla="*/ 845 h 2422"/>
                <a:gd name="T24" fmla="*/ 263 w 1314"/>
                <a:gd name="T25" fmla="*/ 904 h 2422"/>
                <a:gd name="T26" fmla="*/ 204 w 1314"/>
                <a:gd name="T27" fmla="*/ 991 h 2422"/>
                <a:gd name="T28" fmla="*/ 233 w 1314"/>
                <a:gd name="T29" fmla="*/ 1050 h 2422"/>
                <a:gd name="T30" fmla="*/ 233 w 1314"/>
                <a:gd name="T31" fmla="*/ 1050 h 2422"/>
                <a:gd name="T32" fmla="*/ 204 w 1314"/>
                <a:gd name="T33" fmla="*/ 1137 h 2422"/>
                <a:gd name="T34" fmla="*/ 233 w 1314"/>
                <a:gd name="T35" fmla="*/ 1283 h 2422"/>
                <a:gd name="T36" fmla="*/ 263 w 1314"/>
                <a:gd name="T37" fmla="*/ 1371 h 2422"/>
                <a:gd name="T38" fmla="*/ 233 w 1314"/>
                <a:gd name="T39" fmla="*/ 1516 h 2422"/>
                <a:gd name="T40" fmla="*/ 175 w 1314"/>
                <a:gd name="T41" fmla="*/ 1662 h 2422"/>
                <a:gd name="T42" fmla="*/ 117 w 1314"/>
                <a:gd name="T43" fmla="*/ 1721 h 2422"/>
                <a:gd name="T44" fmla="*/ 117 w 1314"/>
                <a:gd name="T45" fmla="*/ 1808 h 2422"/>
                <a:gd name="T46" fmla="*/ 30 w 1314"/>
                <a:gd name="T47" fmla="*/ 1924 h 2422"/>
                <a:gd name="T48" fmla="*/ 30 w 1314"/>
                <a:gd name="T49" fmla="*/ 1983 h 2422"/>
                <a:gd name="T50" fmla="*/ 0 w 1314"/>
                <a:gd name="T51" fmla="*/ 2071 h 2422"/>
                <a:gd name="T52" fmla="*/ 671 w 1314"/>
                <a:gd name="T53" fmla="*/ 2041 h 2422"/>
                <a:gd name="T54" fmla="*/ 759 w 1314"/>
                <a:gd name="T55" fmla="*/ 2041 h 2422"/>
                <a:gd name="T56" fmla="*/ 788 w 1314"/>
                <a:gd name="T57" fmla="*/ 2158 h 2422"/>
                <a:gd name="T58" fmla="*/ 788 w 1314"/>
                <a:gd name="T59" fmla="*/ 2245 h 2422"/>
                <a:gd name="T60" fmla="*/ 817 w 1314"/>
                <a:gd name="T61" fmla="*/ 2333 h 2422"/>
                <a:gd name="T62" fmla="*/ 846 w 1314"/>
                <a:gd name="T63" fmla="*/ 2362 h 2422"/>
                <a:gd name="T64" fmla="*/ 904 w 1314"/>
                <a:gd name="T65" fmla="*/ 2421 h 2422"/>
                <a:gd name="T66" fmla="*/ 933 w 1314"/>
                <a:gd name="T67" fmla="*/ 2391 h 2422"/>
                <a:gd name="T68" fmla="*/ 1080 w 1314"/>
                <a:gd name="T69" fmla="*/ 2362 h 2422"/>
                <a:gd name="T70" fmla="*/ 1196 w 1314"/>
                <a:gd name="T71" fmla="*/ 2333 h 2422"/>
                <a:gd name="T72" fmla="*/ 1313 w 1314"/>
                <a:gd name="T73" fmla="*/ 2333 h 2422"/>
                <a:gd name="T74" fmla="*/ 1313 w 1314"/>
                <a:gd name="T75" fmla="*/ 262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4" h="2422">
                  <a:moveTo>
                    <a:pt x="1313" y="204"/>
                  </a:moveTo>
                  <a:lnTo>
                    <a:pt x="1313" y="204"/>
                  </a:lnTo>
                  <a:cubicBezTo>
                    <a:pt x="1313" y="145"/>
                    <a:pt x="1313" y="116"/>
                    <a:pt x="1313" y="88"/>
                  </a:cubicBezTo>
                  <a:lnTo>
                    <a:pt x="1313" y="58"/>
                  </a:lnTo>
                  <a:lnTo>
                    <a:pt x="1283" y="29"/>
                  </a:lnTo>
                  <a:cubicBezTo>
                    <a:pt x="1196" y="29"/>
                    <a:pt x="1138" y="29"/>
                    <a:pt x="1021" y="29"/>
                  </a:cubicBezTo>
                  <a:lnTo>
                    <a:pt x="1021" y="29"/>
                  </a:lnTo>
                  <a:cubicBezTo>
                    <a:pt x="875" y="29"/>
                    <a:pt x="730" y="29"/>
                    <a:pt x="583" y="29"/>
                  </a:cubicBezTo>
                  <a:cubicBezTo>
                    <a:pt x="525" y="0"/>
                    <a:pt x="525" y="0"/>
                    <a:pt x="525" y="0"/>
                  </a:cubicBezTo>
                  <a:cubicBezTo>
                    <a:pt x="525" y="58"/>
                    <a:pt x="496" y="58"/>
                    <a:pt x="496" y="88"/>
                  </a:cubicBezTo>
                  <a:lnTo>
                    <a:pt x="467" y="116"/>
                  </a:lnTo>
                  <a:lnTo>
                    <a:pt x="467" y="116"/>
                  </a:lnTo>
                  <a:cubicBezTo>
                    <a:pt x="467" y="145"/>
                    <a:pt x="467" y="145"/>
                    <a:pt x="467" y="174"/>
                  </a:cubicBezTo>
                  <a:lnTo>
                    <a:pt x="467" y="174"/>
                  </a:lnTo>
                  <a:lnTo>
                    <a:pt x="467" y="174"/>
                  </a:lnTo>
                  <a:cubicBezTo>
                    <a:pt x="438" y="204"/>
                    <a:pt x="438" y="233"/>
                    <a:pt x="409" y="262"/>
                  </a:cubicBezTo>
                  <a:cubicBezTo>
                    <a:pt x="380" y="291"/>
                    <a:pt x="380" y="350"/>
                    <a:pt x="350" y="379"/>
                  </a:cubicBezTo>
                  <a:cubicBezTo>
                    <a:pt x="350" y="408"/>
                    <a:pt x="321" y="408"/>
                    <a:pt x="292" y="438"/>
                  </a:cubicBezTo>
                  <a:cubicBezTo>
                    <a:pt x="263" y="466"/>
                    <a:pt x="233" y="524"/>
                    <a:pt x="233" y="554"/>
                  </a:cubicBezTo>
                  <a:cubicBezTo>
                    <a:pt x="204" y="583"/>
                    <a:pt x="175" y="641"/>
                    <a:pt x="204" y="700"/>
                  </a:cubicBezTo>
                  <a:cubicBezTo>
                    <a:pt x="204" y="729"/>
                    <a:pt x="204" y="729"/>
                    <a:pt x="233" y="729"/>
                  </a:cubicBezTo>
                  <a:cubicBezTo>
                    <a:pt x="233" y="758"/>
                    <a:pt x="233" y="758"/>
                    <a:pt x="263" y="787"/>
                  </a:cubicBezTo>
                  <a:cubicBezTo>
                    <a:pt x="263" y="816"/>
                    <a:pt x="233" y="816"/>
                    <a:pt x="233" y="845"/>
                  </a:cubicBezTo>
                  <a:lnTo>
                    <a:pt x="233" y="845"/>
                  </a:lnTo>
                  <a:lnTo>
                    <a:pt x="233" y="845"/>
                  </a:lnTo>
                  <a:cubicBezTo>
                    <a:pt x="233" y="874"/>
                    <a:pt x="263" y="874"/>
                    <a:pt x="263" y="904"/>
                  </a:cubicBezTo>
                  <a:lnTo>
                    <a:pt x="263" y="904"/>
                  </a:lnTo>
                  <a:cubicBezTo>
                    <a:pt x="233" y="933"/>
                    <a:pt x="233" y="962"/>
                    <a:pt x="204" y="991"/>
                  </a:cubicBezTo>
                  <a:cubicBezTo>
                    <a:pt x="204" y="1021"/>
                    <a:pt x="204" y="1021"/>
                    <a:pt x="204" y="1021"/>
                  </a:cubicBezTo>
                  <a:lnTo>
                    <a:pt x="233" y="1050"/>
                  </a:lnTo>
                  <a:lnTo>
                    <a:pt x="233" y="1050"/>
                  </a:lnTo>
                  <a:lnTo>
                    <a:pt x="233" y="1050"/>
                  </a:lnTo>
                  <a:cubicBezTo>
                    <a:pt x="233" y="1079"/>
                    <a:pt x="204" y="1079"/>
                    <a:pt x="204" y="1108"/>
                  </a:cubicBezTo>
                  <a:lnTo>
                    <a:pt x="204" y="1137"/>
                  </a:lnTo>
                  <a:cubicBezTo>
                    <a:pt x="204" y="1166"/>
                    <a:pt x="204" y="1166"/>
                    <a:pt x="204" y="1195"/>
                  </a:cubicBezTo>
                  <a:cubicBezTo>
                    <a:pt x="233" y="1224"/>
                    <a:pt x="233" y="1254"/>
                    <a:pt x="233" y="1283"/>
                  </a:cubicBezTo>
                  <a:cubicBezTo>
                    <a:pt x="233" y="1283"/>
                    <a:pt x="233" y="1283"/>
                    <a:pt x="233" y="1312"/>
                  </a:cubicBezTo>
                  <a:cubicBezTo>
                    <a:pt x="263" y="1312"/>
                    <a:pt x="263" y="1341"/>
                    <a:pt x="263" y="1371"/>
                  </a:cubicBezTo>
                  <a:cubicBezTo>
                    <a:pt x="292" y="1429"/>
                    <a:pt x="263" y="1458"/>
                    <a:pt x="233" y="1487"/>
                  </a:cubicBezTo>
                  <a:cubicBezTo>
                    <a:pt x="233" y="1487"/>
                    <a:pt x="233" y="1487"/>
                    <a:pt x="233" y="1516"/>
                  </a:cubicBezTo>
                  <a:cubicBezTo>
                    <a:pt x="204" y="1516"/>
                    <a:pt x="204" y="1545"/>
                    <a:pt x="204" y="1574"/>
                  </a:cubicBezTo>
                  <a:cubicBezTo>
                    <a:pt x="204" y="1604"/>
                    <a:pt x="175" y="1633"/>
                    <a:pt x="175" y="1662"/>
                  </a:cubicBezTo>
                  <a:cubicBezTo>
                    <a:pt x="175" y="1662"/>
                    <a:pt x="175" y="1691"/>
                    <a:pt x="146" y="1691"/>
                  </a:cubicBezTo>
                  <a:cubicBezTo>
                    <a:pt x="146" y="1691"/>
                    <a:pt x="146" y="1721"/>
                    <a:pt x="117" y="1721"/>
                  </a:cubicBezTo>
                  <a:lnTo>
                    <a:pt x="117" y="1750"/>
                  </a:lnTo>
                  <a:cubicBezTo>
                    <a:pt x="117" y="1779"/>
                    <a:pt x="117" y="1779"/>
                    <a:pt x="117" y="1808"/>
                  </a:cubicBezTo>
                  <a:cubicBezTo>
                    <a:pt x="88" y="1808"/>
                    <a:pt x="88" y="1837"/>
                    <a:pt x="88" y="1866"/>
                  </a:cubicBezTo>
                  <a:cubicBezTo>
                    <a:pt x="59" y="1895"/>
                    <a:pt x="59" y="1895"/>
                    <a:pt x="30" y="1924"/>
                  </a:cubicBezTo>
                  <a:lnTo>
                    <a:pt x="30" y="1954"/>
                  </a:lnTo>
                  <a:lnTo>
                    <a:pt x="30" y="1983"/>
                  </a:lnTo>
                  <a:cubicBezTo>
                    <a:pt x="30" y="2012"/>
                    <a:pt x="30" y="2012"/>
                    <a:pt x="0" y="2041"/>
                  </a:cubicBezTo>
                  <a:cubicBezTo>
                    <a:pt x="0" y="2041"/>
                    <a:pt x="0" y="2041"/>
                    <a:pt x="0" y="2071"/>
                  </a:cubicBezTo>
                  <a:cubicBezTo>
                    <a:pt x="117" y="2071"/>
                    <a:pt x="204" y="2041"/>
                    <a:pt x="321" y="2041"/>
                  </a:cubicBezTo>
                  <a:cubicBezTo>
                    <a:pt x="438" y="2041"/>
                    <a:pt x="554" y="2041"/>
                    <a:pt x="671" y="2041"/>
                  </a:cubicBezTo>
                  <a:cubicBezTo>
                    <a:pt x="700" y="2041"/>
                    <a:pt x="730" y="2041"/>
                    <a:pt x="759" y="2041"/>
                  </a:cubicBezTo>
                  <a:lnTo>
                    <a:pt x="759" y="2041"/>
                  </a:lnTo>
                  <a:cubicBezTo>
                    <a:pt x="788" y="2041"/>
                    <a:pt x="788" y="2041"/>
                    <a:pt x="788" y="2041"/>
                  </a:cubicBezTo>
                  <a:cubicBezTo>
                    <a:pt x="788" y="2100"/>
                    <a:pt x="788" y="2129"/>
                    <a:pt x="788" y="2158"/>
                  </a:cubicBezTo>
                  <a:cubicBezTo>
                    <a:pt x="759" y="2187"/>
                    <a:pt x="759" y="2216"/>
                    <a:pt x="759" y="2216"/>
                  </a:cubicBezTo>
                  <a:cubicBezTo>
                    <a:pt x="759" y="2245"/>
                    <a:pt x="788" y="2245"/>
                    <a:pt x="788" y="2245"/>
                  </a:cubicBezTo>
                  <a:cubicBezTo>
                    <a:pt x="788" y="2274"/>
                    <a:pt x="817" y="2274"/>
                    <a:pt x="817" y="2304"/>
                  </a:cubicBezTo>
                  <a:cubicBezTo>
                    <a:pt x="817" y="2304"/>
                    <a:pt x="817" y="2304"/>
                    <a:pt x="817" y="2333"/>
                  </a:cubicBezTo>
                  <a:lnTo>
                    <a:pt x="817" y="2333"/>
                  </a:lnTo>
                  <a:lnTo>
                    <a:pt x="846" y="2362"/>
                  </a:lnTo>
                  <a:cubicBezTo>
                    <a:pt x="846" y="2362"/>
                    <a:pt x="875" y="2362"/>
                    <a:pt x="875" y="2391"/>
                  </a:cubicBezTo>
                  <a:cubicBezTo>
                    <a:pt x="875" y="2391"/>
                    <a:pt x="875" y="2391"/>
                    <a:pt x="904" y="2421"/>
                  </a:cubicBezTo>
                  <a:lnTo>
                    <a:pt x="904" y="2421"/>
                  </a:lnTo>
                  <a:cubicBezTo>
                    <a:pt x="904" y="2421"/>
                    <a:pt x="933" y="2421"/>
                    <a:pt x="933" y="2391"/>
                  </a:cubicBezTo>
                  <a:cubicBezTo>
                    <a:pt x="963" y="2391"/>
                    <a:pt x="992" y="2362"/>
                    <a:pt x="1021" y="2362"/>
                  </a:cubicBezTo>
                  <a:cubicBezTo>
                    <a:pt x="1050" y="2362"/>
                    <a:pt x="1080" y="2362"/>
                    <a:pt x="1080" y="2362"/>
                  </a:cubicBezTo>
                  <a:cubicBezTo>
                    <a:pt x="1109" y="2362"/>
                    <a:pt x="1138" y="2362"/>
                    <a:pt x="1138" y="2362"/>
                  </a:cubicBezTo>
                  <a:cubicBezTo>
                    <a:pt x="1166" y="2362"/>
                    <a:pt x="1196" y="2362"/>
                    <a:pt x="1196" y="2333"/>
                  </a:cubicBezTo>
                  <a:cubicBezTo>
                    <a:pt x="1225" y="2333"/>
                    <a:pt x="1225" y="2304"/>
                    <a:pt x="1254" y="2304"/>
                  </a:cubicBezTo>
                  <a:cubicBezTo>
                    <a:pt x="1283" y="2304"/>
                    <a:pt x="1283" y="2333"/>
                    <a:pt x="1313" y="2333"/>
                  </a:cubicBezTo>
                  <a:lnTo>
                    <a:pt x="1313" y="2333"/>
                  </a:lnTo>
                  <a:cubicBezTo>
                    <a:pt x="1254" y="1633"/>
                    <a:pt x="1283" y="904"/>
                    <a:pt x="1313" y="262"/>
                  </a:cubicBezTo>
                  <a:cubicBezTo>
                    <a:pt x="1313" y="233"/>
                    <a:pt x="1313" y="233"/>
                    <a:pt x="1313"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2" name="Freeform 249">
              <a:extLst>
                <a:ext uri="{FF2B5EF4-FFF2-40B4-BE49-F238E27FC236}">
                  <a16:creationId xmlns:a16="http://schemas.microsoft.com/office/drawing/2014/main" id="{09DCEDBB-BB30-44C0-A057-B34952BEAC02}"/>
                </a:ext>
              </a:extLst>
            </p:cNvPr>
            <p:cNvSpPr>
              <a:spLocks noChangeArrowheads="1"/>
            </p:cNvSpPr>
            <p:nvPr/>
          </p:nvSpPr>
          <p:spPr bwMode="auto">
            <a:xfrm>
              <a:off x="8708780" y="5115570"/>
              <a:ext cx="1630" cy="11328"/>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cubicBezTo>
                    <a:pt x="0" y="30"/>
                    <a:pt x="0" y="30"/>
                    <a:pt x="0" y="30"/>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3" name="Freeform 250">
              <a:extLst>
                <a:ext uri="{FF2B5EF4-FFF2-40B4-BE49-F238E27FC236}">
                  <a16:creationId xmlns:a16="http://schemas.microsoft.com/office/drawing/2014/main" id="{CAC8662E-B01A-4B13-A5E5-AB20C84F620E}"/>
                </a:ext>
              </a:extLst>
            </p:cNvPr>
            <p:cNvSpPr>
              <a:spLocks noChangeArrowheads="1"/>
            </p:cNvSpPr>
            <p:nvPr/>
          </p:nvSpPr>
          <p:spPr bwMode="auto">
            <a:xfrm>
              <a:off x="8601145" y="509453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4" name="Freeform 251">
              <a:extLst>
                <a:ext uri="{FF2B5EF4-FFF2-40B4-BE49-F238E27FC236}">
                  <a16:creationId xmlns:a16="http://schemas.microsoft.com/office/drawing/2014/main" id="{2C9E99E1-3025-46A4-904D-FE65EDA719C4}"/>
                </a:ext>
              </a:extLst>
            </p:cNvPr>
            <p:cNvSpPr>
              <a:spLocks noChangeArrowheads="1"/>
            </p:cNvSpPr>
            <p:nvPr/>
          </p:nvSpPr>
          <p:spPr bwMode="auto">
            <a:xfrm>
              <a:off x="7986315" y="4431020"/>
              <a:ext cx="743666" cy="695878"/>
            </a:xfrm>
            <a:custGeom>
              <a:avLst/>
              <a:gdLst>
                <a:gd name="T0" fmla="*/ 1982 w 2012"/>
                <a:gd name="T1" fmla="*/ 1779 h 1897"/>
                <a:gd name="T2" fmla="*/ 1924 w 2012"/>
                <a:gd name="T3" fmla="*/ 1633 h 1897"/>
                <a:gd name="T4" fmla="*/ 1895 w 2012"/>
                <a:gd name="T5" fmla="*/ 1575 h 1897"/>
                <a:gd name="T6" fmla="*/ 1924 w 2012"/>
                <a:gd name="T7" fmla="*/ 1546 h 1897"/>
                <a:gd name="T8" fmla="*/ 1807 w 2012"/>
                <a:gd name="T9" fmla="*/ 1516 h 1897"/>
                <a:gd name="T10" fmla="*/ 1807 w 2012"/>
                <a:gd name="T11" fmla="*/ 1429 h 1897"/>
                <a:gd name="T12" fmla="*/ 1895 w 2012"/>
                <a:gd name="T13" fmla="*/ 1400 h 1897"/>
                <a:gd name="T14" fmla="*/ 1661 w 2012"/>
                <a:gd name="T15" fmla="*/ 1487 h 1897"/>
                <a:gd name="T16" fmla="*/ 1545 w 2012"/>
                <a:gd name="T17" fmla="*/ 1429 h 1897"/>
                <a:gd name="T18" fmla="*/ 1457 w 2012"/>
                <a:gd name="T19" fmla="*/ 1283 h 1897"/>
                <a:gd name="T20" fmla="*/ 1574 w 2012"/>
                <a:gd name="T21" fmla="*/ 1313 h 1897"/>
                <a:gd name="T22" fmla="*/ 1545 w 2012"/>
                <a:gd name="T23" fmla="*/ 1283 h 1897"/>
                <a:gd name="T24" fmla="*/ 1720 w 2012"/>
                <a:gd name="T25" fmla="*/ 1225 h 1897"/>
                <a:gd name="T26" fmla="*/ 1953 w 2012"/>
                <a:gd name="T27" fmla="*/ 1313 h 1897"/>
                <a:gd name="T28" fmla="*/ 1866 w 2012"/>
                <a:gd name="T29" fmla="*/ 1225 h 1897"/>
                <a:gd name="T30" fmla="*/ 1807 w 2012"/>
                <a:gd name="T31" fmla="*/ 1108 h 1897"/>
                <a:gd name="T32" fmla="*/ 1516 w 2012"/>
                <a:gd name="T33" fmla="*/ 992 h 1897"/>
                <a:gd name="T34" fmla="*/ 1049 w 2012"/>
                <a:gd name="T35" fmla="*/ 992 h 1897"/>
                <a:gd name="T36" fmla="*/ 1166 w 2012"/>
                <a:gd name="T37" fmla="*/ 671 h 1897"/>
                <a:gd name="T38" fmla="*/ 1224 w 2012"/>
                <a:gd name="T39" fmla="*/ 554 h 1897"/>
                <a:gd name="T40" fmla="*/ 1282 w 2012"/>
                <a:gd name="T41" fmla="*/ 379 h 1897"/>
                <a:gd name="T42" fmla="*/ 1311 w 2012"/>
                <a:gd name="T43" fmla="*/ 233 h 1897"/>
                <a:gd name="T44" fmla="*/ 1282 w 2012"/>
                <a:gd name="T45" fmla="*/ 146 h 1897"/>
                <a:gd name="T46" fmla="*/ 932 w 2012"/>
                <a:gd name="T47" fmla="*/ 0 h 1897"/>
                <a:gd name="T48" fmla="*/ 0 w 2012"/>
                <a:gd name="T49" fmla="*/ 116 h 1897"/>
                <a:gd name="T50" fmla="*/ 0 w 2012"/>
                <a:gd name="T51" fmla="*/ 379 h 1897"/>
                <a:gd name="T52" fmla="*/ 87 w 2012"/>
                <a:gd name="T53" fmla="*/ 525 h 1897"/>
                <a:gd name="T54" fmla="*/ 116 w 2012"/>
                <a:gd name="T55" fmla="*/ 613 h 1897"/>
                <a:gd name="T56" fmla="*/ 145 w 2012"/>
                <a:gd name="T57" fmla="*/ 700 h 1897"/>
                <a:gd name="T58" fmla="*/ 261 w 2012"/>
                <a:gd name="T59" fmla="*/ 963 h 1897"/>
                <a:gd name="T60" fmla="*/ 232 w 2012"/>
                <a:gd name="T61" fmla="*/ 1254 h 1897"/>
                <a:gd name="T62" fmla="*/ 203 w 2012"/>
                <a:gd name="T63" fmla="*/ 1487 h 1897"/>
                <a:gd name="T64" fmla="*/ 203 w 2012"/>
                <a:gd name="T65" fmla="*/ 1516 h 1897"/>
                <a:gd name="T66" fmla="*/ 232 w 2012"/>
                <a:gd name="T67" fmla="*/ 1604 h 1897"/>
                <a:gd name="T68" fmla="*/ 319 w 2012"/>
                <a:gd name="T69" fmla="*/ 1575 h 1897"/>
                <a:gd name="T70" fmla="*/ 290 w 2012"/>
                <a:gd name="T71" fmla="*/ 1516 h 1897"/>
                <a:gd name="T72" fmla="*/ 349 w 2012"/>
                <a:gd name="T73" fmla="*/ 1400 h 1897"/>
                <a:gd name="T74" fmla="*/ 436 w 2012"/>
                <a:gd name="T75" fmla="*/ 1546 h 1897"/>
                <a:gd name="T76" fmla="*/ 495 w 2012"/>
                <a:gd name="T77" fmla="*/ 1575 h 1897"/>
                <a:gd name="T78" fmla="*/ 757 w 2012"/>
                <a:gd name="T79" fmla="*/ 1663 h 1897"/>
                <a:gd name="T80" fmla="*/ 874 w 2012"/>
                <a:gd name="T81" fmla="*/ 1663 h 1897"/>
                <a:gd name="T82" fmla="*/ 932 w 2012"/>
                <a:gd name="T83" fmla="*/ 1487 h 1897"/>
                <a:gd name="T84" fmla="*/ 1020 w 2012"/>
                <a:gd name="T85" fmla="*/ 1546 h 1897"/>
                <a:gd name="T86" fmla="*/ 1049 w 2012"/>
                <a:gd name="T87" fmla="*/ 1487 h 1897"/>
                <a:gd name="T88" fmla="*/ 1166 w 2012"/>
                <a:gd name="T89" fmla="*/ 1663 h 1897"/>
                <a:gd name="T90" fmla="*/ 1224 w 2012"/>
                <a:gd name="T91" fmla="*/ 1575 h 1897"/>
                <a:gd name="T92" fmla="*/ 1282 w 2012"/>
                <a:gd name="T93" fmla="*/ 1750 h 1897"/>
                <a:gd name="T94" fmla="*/ 1224 w 2012"/>
                <a:gd name="T95" fmla="*/ 1808 h 1897"/>
                <a:gd name="T96" fmla="*/ 1370 w 2012"/>
                <a:gd name="T97" fmla="*/ 1779 h 1897"/>
                <a:gd name="T98" fmla="*/ 1428 w 2012"/>
                <a:gd name="T99" fmla="*/ 1866 h 1897"/>
                <a:gd name="T100" fmla="*/ 1574 w 2012"/>
                <a:gd name="T101" fmla="*/ 1866 h 1897"/>
                <a:gd name="T102" fmla="*/ 1545 w 2012"/>
                <a:gd name="T103" fmla="*/ 1779 h 1897"/>
                <a:gd name="T104" fmla="*/ 1574 w 2012"/>
                <a:gd name="T105" fmla="*/ 1721 h 1897"/>
                <a:gd name="T106" fmla="*/ 1632 w 2012"/>
                <a:gd name="T107" fmla="*/ 1779 h 1897"/>
                <a:gd name="T108" fmla="*/ 1690 w 2012"/>
                <a:gd name="T109" fmla="*/ 1750 h 1897"/>
                <a:gd name="T110" fmla="*/ 1720 w 2012"/>
                <a:gd name="T111" fmla="*/ 1866 h 1897"/>
                <a:gd name="T112" fmla="*/ 1749 w 2012"/>
                <a:gd name="T113" fmla="*/ 1692 h 1897"/>
                <a:gd name="T114" fmla="*/ 1895 w 2012"/>
                <a:gd name="T115" fmla="*/ 1721 h 1897"/>
                <a:gd name="T116" fmla="*/ 1953 w 2012"/>
                <a:gd name="T117" fmla="*/ 1808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12" h="1897">
                  <a:moveTo>
                    <a:pt x="1982" y="1779"/>
                  </a:moveTo>
                  <a:lnTo>
                    <a:pt x="1982" y="1779"/>
                  </a:lnTo>
                  <a:lnTo>
                    <a:pt x="1982" y="1779"/>
                  </a:lnTo>
                  <a:lnTo>
                    <a:pt x="2011" y="1779"/>
                  </a:lnTo>
                  <a:cubicBezTo>
                    <a:pt x="1953" y="1750"/>
                    <a:pt x="1924" y="1721"/>
                    <a:pt x="1924" y="1633"/>
                  </a:cubicBezTo>
                  <a:lnTo>
                    <a:pt x="1924" y="1633"/>
                  </a:lnTo>
                  <a:lnTo>
                    <a:pt x="1924" y="1633"/>
                  </a:lnTo>
                  <a:cubicBezTo>
                    <a:pt x="1924" y="1633"/>
                    <a:pt x="1924" y="1633"/>
                    <a:pt x="1924" y="1604"/>
                  </a:cubicBezTo>
                  <a:cubicBezTo>
                    <a:pt x="1924" y="1604"/>
                    <a:pt x="1924" y="1604"/>
                    <a:pt x="1895" y="1575"/>
                  </a:cubicBezTo>
                  <a:lnTo>
                    <a:pt x="1895" y="1575"/>
                  </a:lnTo>
                  <a:cubicBezTo>
                    <a:pt x="1924" y="1575"/>
                    <a:pt x="1924" y="1575"/>
                    <a:pt x="1924" y="1575"/>
                  </a:cubicBezTo>
                  <a:cubicBezTo>
                    <a:pt x="1924" y="1546"/>
                    <a:pt x="1924" y="1546"/>
                    <a:pt x="1924" y="1546"/>
                  </a:cubicBezTo>
                  <a:lnTo>
                    <a:pt x="1924" y="1546"/>
                  </a:lnTo>
                  <a:cubicBezTo>
                    <a:pt x="1924" y="1546"/>
                    <a:pt x="1895" y="1575"/>
                    <a:pt x="1866" y="1575"/>
                  </a:cubicBezTo>
                  <a:cubicBezTo>
                    <a:pt x="1837" y="1575"/>
                    <a:pt x="1807" y="1546"/>
                    <a:pt x="1807" y="1516"/>
                  </a:cubicBezTo>
                  <a:cubicBezTo>
                    <a:pt x="1778" y="1516"/>
                    <a:pt x="1778" y="1487"/>
                    <a:pt x="1807" y="1458"/>
                  </a:cubicBezTo>
                  <a:cubicBezTo>
                    <a:pt x="1807" y="1429"/>
                    <a:pt x="1807" y="1429"/>
                    <a:pt x="1807" y="1429"/>
                  </a:cubicBezTo>
                  <a:lnTo>
                    <a:pt x="1807" y="1429"/>
                  </a:lnTo>
                  <a:cubicBezTo>
                    <a:pt x="1807" y="1429"/>
                    <a:pt x="1837" y="1429"/>
                    <a:pt x="1866" y="1429"/>
                  </a:cubicBezTo>
                  <a:cubicBezTo>
                    <a:pt x="1866" y="1400"/>
                    <a:pt x="1895" y="1400"/>
                    <a:pt x="1895" y="1400"/>
                  </a:cubicBezTo>
                  <a:lnTo>
                    <a:pt x="1895" y="1400"/>
                  </a:lnTo>
                  <a:cubicBezTo>
                    <a:pt x="1866" y="1400"/>
                    <a:pt x="1866" y="1400"/>
                    <a:pt x="1837" y="1400"/>
                  </a:cubicBezTo>
                  <a:cubicBezTo>
                    <a:pt x="1807" y="1400"/>
                    <a:pt x="1778" y="1429"/>
                    <a:pt x="1749" y="1458"/>
                  </a:cubicBezTo>
                  <a:cubicBezTo>
                    <a:pt x="1720" y="1487"/>
                    <a:pt x="1690" y="1487"/>
                    <a:pt x="1661" y="1487"/>
                  </a:cubicBezTo>
                  <a:cubicBezTo>
                    <a:pt x="1632" y="1487"/>
                    <a:pt x="1603" y="1458"/>
                    <a:pt x="1603" y="1458"/>
                  </a:cubicBezTo>
                  <a:cubicBezTo>
                    <a:pt x="1574" y="1429"/>
                    <a:pt x="1574" y="1400"/>
                    <a:pt x="1545" y="1400"/>
                  </a:cubicBezTo>
                  <a:lnTo>
                    <a:pt x="1545" y="1429"/>
                  </a:lnTo>
                  <a:cubicBezTo>
                    <a:pt x="1516" y="1429"/>
                    <a:pt x="1516" y="1429"/>
                    <a:pt x="1487" y="1429"/>
                  </a:cubicBezTo>
                  <a:cubicBezTo>
                    <a:pt x="1457" y="1429"/>
                    <a:pt x="1428" y="1400"/>
                    <a:pt x="1428" y="1371"/>
                  </a:cubicBezTo>
                  <a:cubicBezTo>
                    <a:pt x="1399" y="1342"/>
                    <a:pt x="1428" y="1283"/>
                    <a:pt x="1457" y="1283"/>
                  </a:cubicBezTo>
                  <a:lnTo>
                    <a:pt x="1487" y="1283"/>
                  </a:lnTo>
                  <a:cubicBezTo>
                    <a:pt x="1516" y="1283"/>
                    <a:pt x="1516" y="1283"/>
                    <a:pt x="1545" y="1313"/>
                  </a:cubicBezTo>
                  <a:lnTo>
                    <a:pt x="1574" y="1313"/>
                  </a:lnTo>
                  <a:lnTo>
                    <a:pt x="1574" y="1313"/>
                  </a:lnTo>
                  <a:cubicBezTo>
                    <a:pt x="1574" y="1313"/>
                    <a:pt x="1545" y="1313"/>
                    <a:pt x="1545" y="1283"/>
                  </a:cubicBezTo>
                  <a:lnTo>
                    <a:pt x="1545" y="1283"/>
                  </a:lnTo>
                  <a:cubicBezTo>
                    <a:pt x="1574" y="1254"/>
                    <a:pt x="1574" y="1225"/>
                    <a:pt x="1603" y="1225"/>
                  </a:cubicBezTo>
                  <a:cubicBezTo>
                    <a:pt x="1632" y="1225"/>
                    <a:pt x="1632" y="1225"/>
                    <a:pt x="1632" y="1225"/>
                  </a:cubicBezTo>
                  <a:cubicBezTo>
                    <a:pt x="1661" y="1254"/>
                    <a:pt x="1690" y="1225"/>
                    <a:pt x="1720" y="1225"/>
                  </a:cubicBezTo>
                  <a:lnTo>
                    <a:pt x="1749" y="1225"/>
                  </a:lnTo>
                  <a:cubicBezTo>
                    <a:pt x="1807" y="1254"/>
                    <a:pt x="1837" y="1254"/>
                    <a:pt x="1866" y="1283"/>
                  </a:cubicBezTo>
                  <a:cubicBezTo>
                    <a:pt x="1895" y="1313"/>
                    <a:pt x="1924" y="1313"/>
                    <a:pt x="1953" y="1313"/>
                  </a:cubicBezTo>
                  <a:lnTo>
                    <a:pt x="1924" y="1313"/>
                  </a:lnTo>
                  <a:cubicBezTo>
                    <a:pt x="1924" y="1283"/>
                    <a:pt x="1895" y="1283"/>
                    <a:pt x="1895" y="1254"/>
                  </a:cubicBezTo>
                  <a:cubicBezTo>
                    <a:pt x="1866" y="1254"/>
                    <a:pt x="1866" y="1225"/>
                    <a:pt x="1866" y="1225"/>
                  </a:cubicBezTo>
                  <a:lnTo>
                    <a:pt x="1866" y="1196"/>
                  </a:lnTo>
                  <a:cubicBezTo>
                    <a:pt x="1866" y="1196"/>
                    <a:pt x="1866" y="1196"/>
                    <a:pt x="1866" y="1166"/>
                  </a:cubicBezTo>
                  <a:cubicBezTo>
                    <a:pt x="1837" y="1166"/>
                    <a:pt x="1837" y="1137"/>
                    <a:pt x="1807" y="1108"/>
                  </a:cubicBezTo>
                  <a:cubicBezTo>
                    <a:pt x="1807" y="1108"/>
                    <a:pt x="1837" y="1079"/>
                    <a:pt x="1837" y="1050"/>
                  </a:cubicBezTo>
                  <a:cubicBezTo>
                    <a:pt x="1837" y="1021"/>
                    <a:pt x="1837" y="992"/>
                    <a:pt x="1837" y="992"/>
                  </a:cubicBezTo>
                  <a:cubicBezTo>
                    <a:pt x="1720" y="992"/>
                    <a:pt x="1632" y="992"/>
                    <a:pt x="1516" y="992"/>
                  </a:cubicBezTo>
                  <a:cubicBezTo>
                    <a:pt x="1370" y="992"/>
                    <a:pt x="1224" y="1021"/>
                    <a:pt x="1049" y="1021"/>
                  </a:cubicBezTo>
                  <a:lnTo>
                    <a:pt x="1049" y="1021"/>
                  </a:lnTo>
                  <a:cubicBezTo>
                    <a:pt x="1049" y="992"/>
                    <a:pt x="1049" y="992"/>
                    <a:pt x="1049" y="992"/>
                  </a:cubicBezTo>
                  <a:cubicBezTo>
                    <a:pt x="1049" y="933"/>
                    <a:pt x="1049" y="904"/>
                    <a:pt x="1078" y="875"/>
                  </a:cubicBezTo>
                  <a:cubicBezTo>
                    <a:pt x="1078" y="816"/>
                    <a:pt x="1107" y="758"/>
                    <a:pt x="1137" y="729"/>
                  </a:cubicBezTo>
                  <a:cubicBezTo>
                    <a:pt x="1166" y="700"/>
                    <a:pt x="1166" y="671"/>
                    <a:pt x="1166" y="671"/>
                  </a:cubicBezTo>
                  <a:cubicBezTo>
                    <a:pt x="1166" y="642"/>
                    <a:pt x="1166" y="642"/>
                    <a:pt x="1166" y="642"/>
                  </a:cubicBezTo>
                  <a:cubicBezTo>
                    <a:pt x="1166" y="613"/>
                    <a:pt x="1195" y="613"/>
                    <a:pt x="1195" y="583"/>
                  </a:cubicBezTo>
                  <a:cubicBezTo>
                    <a:pt x="1195" y="583"/>
                    <a:pt x="1195" y="554"/>
                    <a:pt x="1224" y="554"/>
                  </a:cubicBezTo>
                  <a:lnTo>
                    <a:pt x="1224" y="525"/>
                  </a:lnTo>
                  <a:cubicBezTo>
                    <a:pt x="1253" y="496"/>
                    <a:pt x="1253" y="496"/>
                    <a:pt x="1253" y="466"/>
                  </a:cubicBezTo>
                  <a:cubicBezTo>
                    <a:pt x="1253" y="437"/>
                    <a:pt x="1282" y="408"/>
                    <a:pt x="1282" y="379"/>
                  </a:cubicBezTo>
                  <a:cubicBezTo>
                    <a:pt x="1282" y="350"/>
                    <a:pt x="1311" y="350"/>
                    <a:pt x="1311" y="321"/>
                  </a:cubicBezTo>
                  <a:cubicBezTo>
                    <a:pt x="1311" y="321"/>
                    <a:pt x="1311" y="321"/>
                    <a:pt x="1311" y="292"/>
                  </a:cubicBezTo>
                  <a:cubicBezTo>
                    <a:pt x="1340" y="263"/>
                    <a:pt x="1311" y="263"/>
                    <a:pt x="1311" y="233"/>
                  </a:cubicBezTo>
                  <a:cubicBezTo>
                    <a:pt x="1311" y="233"/>
                    <a:pt x="1282" y="204"/>
                    <a:pt x="1282" y="175"/>
                  </a:cubicBezTo>
                  <a:cubicBezTo>
                    <a:pt x="1282" y="175"/>
                    <a:pt x="1282" y="175"/>
                    <a:pt x="1282" y="146"/>
                  </a:cubicBezTo>
                  <a:lnTo>
                    <a:pt x="1282" y="146"/>
                  </a:lnTo>
                  <a:cubicBezTo>
                    <a:pt x="1282" y="116"/>
                    <a:pt x="1282" y="116"/>
                    <a:pt x="1282" y="87"/>
                  </a:cubicBezTo>
                  <a:cubicBezTo>
                    <a:pt x="1253" y="58"/>
                    <a:pt x="1253" y="29"/>
                    <a:pt x="1253" y="0"/>
                  </a:cubicBezTo>
                  <a:cubicBezTo>
                    <a:pt x="1166" y="0"/>
                    <a:pt x="1049" y="0"/>
                    <a:pt x="932" y="0"/>
                  </a:cubicBezTo>
                  <a:cubicBezTo>
                    <a:pt x="670" y="0"/>
                    <a:pt x="670" y="0"/>
                    <a:pt x="670" y="0"/>
                  </a:cubicBezTo>
                  <a:cubicBezTo>
                    <a:pt x="466" y="0"/>
                    <a:pt x="203" y="0"/>
                    <a:pt x="0" y="0"/>
                  </a:cubicBezTo>
                  <a:cubicBezTo>
                    <a:pt x="0" y="29"/>
                    <a:pt x="0" y="87"/>
                    <a:pt x="0" y="116"/>
                  </a:cubicBezTo>
                  <a:cubicBezTo>
                    <a:pt x="0" y="146"/>
                    <a:pt x="0" y="146"/>
                    <a:pt x="0" y="175"/>
                  </a:cubicBezTo>
                  <a:cubicBezTo>
                    <a:pt x="0" y="204"/>
                    <a:pt x="0" y="204"/>
                    <a:pt x="0" y="233"/>
                  </a:cubicBezTo>
                  <a:cubicBezTo>
                    <a:pt x="0" y="292"/>
                    <a:pt x="0" y="321"/>
                    <a:pt x="0" y="379"/>
                  </a:cubicBezTo>
                  <a:lnTo>
                    <a:pt x="29" y="408"/>
                  </a:lnTo>
                  <a:cubicBezTo>
                    <a:pt x="29" y="437"/>
                    <a:pt x="57" y="466"/>
                    <a:pt x="57" y="466"/>
                  </a:cubicBezTo>
                  <a:cubicBezTo>
                    <a:pt x="87" y="496"/>
                    <a:pt x="87" y="525"/>
                    <a:pt x="87" y="525"/>
                  </a:cubicBezTo>
                  <a:cubicBezTo>
                    <a:pt x="87" y="554"/>
                    <a:pt x="87" y="583"/>
                    <a:pt x="87" y="583"/>
                  </a:cubicBezTo>
                  <a:cubicBezTo>
                    <a:pt x="87" y="583"/>
                    <a:pt x="87" y="583"/>
                    <a:pt x="116" y="583"/>
                  </a:cubicBezTo>
                  <a:cubicBezTo>
                    <a:pt x="116" y="613"/>
                    <a:pt x="116" y="613"/>
                    <a:pt x="116" y="613"/>
                  </a:cubicBezTo>
                  <a:lnTo>
                    <a:pt x="116" y="613"/>
                  </a:lnTo>
                  <a:cubicBezTo>
                    <a:pt x="145" y="613"/>
                    <a:pt x="145" y="613"/>
                    <a:pt x="145" y="613"/>
                  </a:cubicBezTo>
                  <a:cubicBezTo>
                    <a:pt x="145" y="642"/>
                    <a:pt x="145" y="671"/>
                    <a:pt x="145" y="700"/>
                  </a:cubicBezTo>
                  <a:cubicBezTo>
                    <a:pt x="174" y="758"/>
                    <a:pt x="174" y="816"/>
                    <a:pt x="174" y="875"/>
                  </a:cubicBezTo>
                  <a:lnTo>
                    <a:pt x="203" y="904"/>
                  </a:lnTo>
                  <a:cubicBezTo>
                    <a:pt x="232" y="933"/>
                    <a:pt x="232" y="933"/>
                    <a:pt x="261" y="963"/>
                  </a:cubicBezTo>
                  <a:cubicBezTo>
                    <a:pt x="261" y="1021"/>
                    <a:pt x="232" y="1050"/>
                    <a:pt x="232" y="1079"/>
                  </a:cubicBezTo>
                  <a:cubicBezTo>
                    <a:pt x="203" y="1108"/>
                    <a:pt x="203" y="1166"/>
                    <a:pt x="203" y="1196"/>
                  </a:cubicBezTo>
                  <a:cubicBezTo>
                    <a:pt x="203" y="1196"/>
                    <a:pt x="203" y="1225"/>
                    <a:pt x="232" y="1254"/>
                  </a:cubicBezTo>
                  <a:lnTo>
                    <a:pt x="232" y="1283"/>
                  </a:lnTo>
                  <a:cubicBezTo>
                    <a:pt x="232" y="1371"/>
                    <a:pt x="232" y="1400"/>
                    <a:pt x="203" y="1458"/>
                  </a:cubicBezTo>
                  <a:cubicBezTo>
                    <a:pt x="203" y="1487"/>
                    <a:pt x="203" y="1487"/>
                    <a:pt x="203" y="1487"/>
                  </a:cubicBezTo>
                  <a:lnTo>
                    <a:pt x="203" y="1487"/>
                  </a:lnTo>
                  <a:cubicBezTo>
                    <a:pt x="203" y="1487"/>
                    <a:pt x="203" y="1487"/>
                    <a:pt x="203" y="1516"/>
                  </a:cubicBezTo>
                  <a:lnTo>
                    <a:pt x="203" y="1516"/>
                  </a:lnTo>
                  <a:cubicBezTo>
                    <a:pt x="203" y="1516"/>
                    <a:pt x="203" y="1546"/>
                    <a:pt x="174" y="1546"/>
                  </a:cubicBezTo>
                  <a:cubicBezTo>
                    <a:pt x="174" y="1575"/>
                    <a:pt x="145" y="1575"/>
                    <a:pt x="145" y="1604"/>
                  </a:cubicBezTo>
                  <a:cubicBezTo>
                    <a:pt x="174" y="1604"/>
                    <a:pt x="203" y="1604"/>
                    <a:pt x="232" y="1604"/>
                  </a:cubicBezTo>
                  <a:cubicBezTo>
                    <a:pt x="232" y="1575"/>
                    <a:pt x="261" y="1575"/>
                    <a:pt x="290" y="1575"/>
                  </a:cubicBezTo>
                  <a:lnTo>
                    <a:pt x="319" y="1575"/>
                  </a:lnTo>
                  <a:lnTo>
                    <a:pt x="319" y="1575"/>
                  </a:lnTo>
                  <a:cubicBezTo>
                    <a:pt x="319" y="1575"/>
                    <a:pt x="319" y="1575"/>
                    <a:pt x="349" y="1575"/>
                  </a:cubicBezTo>
                  <a:cubicBezTo>
                    <a:pt x="319" y="1575"/>
                    <a:pt x="319" y="1575"/>
                    <a:pt x="319" y="1546"/>
                  </a:cubicBezTo>
                  <a:cubicBezTo>
                    <a:pt x="319" y="1546"/>
                    <a:pt x="290" y="1546"/>
                    <a:pt x="290" y="1516"/>
                  </a:cubicBezTo>
                  <a:cubicBezTo>
                    <a:pt x="261" y="1487"/>
                    <a:pt x="290" y="1458"/>
                    <a:pt x="290" y="1429"/>
                  </a:cubicBezTo>
                  <a:cubicBezTo>
                    <a:pt x="319" y="1400"/>
                    <a:pt x="319" y="1400"/>
                    <a:pt x="349" y="1400"/>
                  </a:cubicBezTo>
                  <a:lnTo>
                    <a:pt x="349" y="1400"/>
                  </a:lnTo>
                  <a:cubicBezTo>
                    <a:pt x="378" y="1400"/>
                    <a:pt x="378" y="1400"/>
                    <a:pt x="378" y="1429"/>
                  </a:cubicBezTo>
                  <a:cubicBezTo>
                    <a:pt x="407" y="1458"/>
                    <a:pt x="407" y="1487"/>
                    <a:pt x="407" y="1546"/>
                  </a:cubicBezTo>
                  <a:lnTo>
                    <a:pt x="436" y="1546"/>
                  </a:lnTo>
                  <a:cubicBezTo>
                    <a:pt x="466" y="1575"/>
                    <a:pt x="466" y="1575"/>
                    <a:pt x="466" y="1575"/>
                  </a:cubicBezTo>
                  <a:lnTo>
                    <a:pt x="466" y="1575"/>
                  </a:lnTo>
                  <a:cubicBezTo>
                    <a:pt x="495" y="1575"/>
                    <a:pt x="495" y="1575"/>
                    <a:pt x="495" y="1575"/>
                  </a:cubicBezTo>
                  <a:cubicBezTo>
                    <a:pt x="495" y="1633"/>
                    <a:pt x="553" y="1633"/>
                    <a:pt x="611" y="1663"/>
                  </a:cubicBezTo>
                  <a:cubicBezTo>
                    <a:pt x="640" y="1633"/>
                    <a:pt x="670" y="1633"/>
                    <a:pt x="670" y="1633"/>
                  </a:cubicBezTo>
                  <a:cubicBezTo>
                    <a:pt x="699" y="1633"/>
                    <a:pt x="728" y="1633"/>
                    <a:pt x="757" y="1663"/>
                  </a:cubicBezTo>
                  <a:cubicBezTo>
                    <a:pt x="787" y="1663"/>
                    <a:pt x="816" y="1663"/>
                    <a:pt x="845" y="1663"/>
                  </a:cubicBezTo>
                  <a:lnTo>
                    <a:pt x="874" y="1663"/>
                  </a:lnTo>
                  <a:lnTo>
                    <a:pt x="874" y="1663"/>
                  </a:lnTo>
                  <a:lnTo>
                    <a:pt x="874" y="1663"/>
                  </a:lnTo>
                  <a:cubicBezTo>
                    <a:pt x="845" y="1633"/>
                    <a:pt x="787" y="1633"/>
                    <a:pt x="816" y="1546"/>
                  </a:cubicBezTo>
                  <a:cubicBezTo>
                    <a:pt x="816" y="1516"/>
                    <a:pt x="903" y="1487"/>
                    <a:pt x="932" y="1487"/>
                  </a:cubicBezTo>
                  <a:lnTo>
                    <a:pt x="961" y="1487"/>
                  </a:lnTo>
                  <a:cubicBezTo>
                    <a:pt x="990" y="1516"/>
                    <a:pt x="990" y="1516"/>
                    <a:pt x="1020" y="1546"/>
                  </a:cubicBezTo>
                  <a:lnTo>
                    <a:pt x="1020" y="1546"/>
                  </a:lnTo>
                  <a:cubicBezTo>
                    <a:pt x="1020" y="1516"/>
                    <a:pt x="1020" y="1516"/>
                    <a:pt x="1049" y="1516"/>
                  </a:cubicBezTo>
                  <a:cubicBezTo>
                    <a:pt x="1049" y="1487"/>
                    <a:pt x="1049" y="1487"/>
                    <a:pt x="1049" y="1487"/>
                  </a:cubicBezTo>
                  <a:lnTo>
                    <a:pt x="1049" y="1487"/>
                  </a:lnTo>
                  <a:cubicBezTo>
                    <a:pt x="1078" y="1487"/>
                    <a:pt x="1107" y="1516"/>
                    <a:pt x="1137" y="1546"/>
                  </a:cubicBezTo>
                  <a:cubicBezTo>
                    <a:pt x="1137" y="1575"/>
                    <a:pt x="1137" y="1633"/>
                    <a:pt x="1137" y="1663"/>
                  </a:cubicBezTo>
                  <a:lnTo>
                    <a:pt x="1166" y="1663"/>
                  </a:lnTo>
                  <a:lnTo>
                    <a:pt x="1166" y="1633"/>
                  </a:lnTo>
                  <a:cubicBezTo>
                    <a:pt x="1195" y="1604"/>
                    <a:pt x="1195" y="1575"/>
                    <a:pt x="1224" y="1575"/>
                  </a:cubicBezTo>
                  <a:lnTo>
                    <a:pt x="1224" y="1575"/>
                  </a:lnTo>
                  <a:cubicBezTo>
                    <a:pt x="1253" y="1575"/>
                    <a:pt x="1253" y="1575"/>
                    <a:pt x="1253" y="1575"/>
                  </a:cubicBezTo>
                  <a:cubicBezTo>
                    <a:pt x="1282" y="1575"/>
                    <a:pt x="1282" y="1633"/>
                    <a:pt x="1282" y="1663"/>
                  </a:cubicBezTo>
                  <a:cubicBezTo>
                    <a:pt x="1282" y="1721"/>
                    <a:pt x="1282" y="1721"/>
                    <a:pt x="1282" y="1750"/>
                  </a:cubicBezTo>
                  <a:cubicBezTo>
                    <a:pt x="1340" y="1750"/>
                    <a:pt x="1340" y="1750"/>
                    <a:pt x="1340" y="1750"/>
                  </a:cubicBezTo>
                  <a:cubicBezTo>
                    <a:pt x="1282" y="1779"/>
                    <a:pt x="1282" y="1779"/>
                    <a:pt x="1282" y="1779"/>
                  </a:cubicBezTo>
                  <a:cubicBezTo>
                    <a:pt x="1253" y="1779"/>
                    <a:pt x="1224" y="1808"/>
                    <a:pt x="1224" y="1808"/>
                  </a:cubicBezTo>
                  <a:lnTo>
                    <a:pt x="1224" y="1808"/>
                  </a:lnTo>
                  <a:cubicBezTo>
                    <a:pt x="1253" y="1808"/>
                    <a:pt x="1282" y="1808"/>
                    <a:pt x="1311" y="1808"/>
                  </a:cubicBezTo>
                  <a:cubicBezTo>
                    <a:pt x="1311" y="1779"/>
                    <a:pt x="1340" y="1779"/>
                    <a:pt x="1370" y="1779"/>
                  </a:cubicBezTo>
                  <a:cubicBezTo>
                    <a:pt x="1399" y="1779"/>
                    <a:pt x="1428" y="1779"/>
                    <a:pt x="1428" y="1808"/>
                  </a:cubicBezTo>
                  <a:lnTo>
                    <a:pt x="1428" y="1808"/>
                  </a:lnTo>
                  <a:cubicBezTo>
                    <a:pt x="1428" y="1837"/>
                    <a:pt x="1428" y="1866"/>
                    <a:pt x="1428" y="1866"/>
                  </a:cubicBezTo>
                  <a:lnTo>
                    <a:pt x="1457" y="1866"/>
                  </a:lnTo>
                  <a:cubicBezTo>
                    <a:pt x="1516" y="1896"/>
                    <a:pt x="1574" y="1896"/>
                    <a:pt x="1574" y="1896"/>
                  </a:cubicBezTo>
                  <a:lnTo>
                    <a:pt x="1574" y="1866"/>
                  </a:lnTo>
                  <a:lnTo>
                    <a:pt x="1574" y="1837"/>
                  </a:lnTo>
                  <a:cubicBezTo>
                    <a:pt x="1545" y="1837"/>
                    <a:pt x="1545" y="1808"/>
                    <a:pt x="1545" y="1779"/>
                  </a:cubicBezTo>
                  <a:lnTo>
                    <a:pt x="1545" y="1779"/>
                  </a:lnTo>
                  <a:cubicBezTo>
                    <a:pt x="1545" y="1750"/>
                    <a:pt x="1545" y="1750"/>
                    <a:pt x="1545" y="1750"/>
                  </a:cubicBezTo>
                  <a:cubicBezTo>
                    <a:pt x="1545" y="1750"/>
                    <a:pt x="1545" y="1750"/>
                    <a:pt x="1574" y="1721"/>
                  </a:cubicBezTo>
                  <a:lnTo>
                    <a:pt x="1574" y="1721"/>
                  </a:lnTo>
                  <a:lnTo>
                    <a:pt x="1574" y="1721"/>
                  </a:lnTo>
                  <a:cubicBezTo>
                    <a:pt x="1603" y="1750"/>
                    <a:pt x="1632" y="1750"/>
                    <a:pt x="1632" y="1750"/>
                  </a:cubicBezTo>
                  <a:cubicBezTo>
                    <a:pt x="1632" y="1779"/>
                    <a:pt x="1632" y="1779"/>
                    <a:pt x="1632" y="1779"/>
                  </a:cubicBezTo>
                  <a:cubicBezTo>
                    <a:pt x="1632" y="1750"/>
                    <a:pt x="1661" y="1750"/>
                    <a:pt x="1690" y="1750"/>
                  </a:cubicBezTo>
                  <a:lnTo>
                    <a:pt x="1690" y="1750"/>
                  </a:lnTo>
                  <a:lnTo>
                    <a:pt x="1690" y="1750"/>
                  </a:lnTo>
                  <a:cubicBezTo>
                    <a:pt x="1720" y="1779"/>
                    <a:pt x="1720" y="1808"/>
                    <a:pt x="1690" y="1837"/>
                  </a:cubicBezTo>
                  <a:lnTo>
                    <a:pt x="1690" y="1837"/>
                  </a:lnTo>
                  <a:cubicBezTo>
                    <a:pt x="1690" y="1866"/>
                    <a:pt x="1690" y="1866"/>
                    <a:pt x="1720" y="1866"/>
                  </a:cubicBezTo>
                  <a:cubicBezTo>
                    <a:pt x="1749" y="1866"/>
                    <a:pt x="1778" y="1837"/>
                    <a:pt x="1778" y="1837"/>
                  </a:cubicBezTo>
                  <a:cubicBezTo>
                    <a:pt x="1749" y="1808"/>
                    <a:pt x="1720" y="1750"/>
                    <a:pt x="1749" y="1692"/>
                  </a:cubicBezTo>
                  <a:lnTo>
                    <a:pt x="1749" y="1692"/>
                  </a:lnTo>
                  <a:cubicBezTo>
                    <a:pt x="1778" y="1663"/>
                    <a:pt x="1778" y="1663"/>
                    <a:pt x="1807" y="1663"/>
                  </a:cubicBezTo>
                  <a:cubicBezTo>
                    <a:pt x="1837" y="1663"/>
                    <a:pt x="1837" y="1692"/>
                    <a:pt x="1866" y="1721"/>
                  </a:cubicBezTo>
                  <a:lnTo>
                    <a:pt x="1895" y="1721"/>
                  </a:lnTo>
                  <a:cubicBezTo>
                    <a:pt x="1895" y="1750"/>
                    <a:pt x="1895" y="1750"/>
                    <a:pt x="1924" y="1750"/>
                  </a:cubicBezTo>
                  <a:cubicBezTo>
                    <a:pt x="1924" y="1750"/>
                    <a:pt x="1953" y="1750"/>
                    <a:pt x="1953" y="1779"/>
                  </a:cubicBezTo>
                  <a:cubicBezTo>
                    <a:pt x="1953" y="1808"/>
                    <a:pt x="1953" y="1808"/>
                    <a:pt x="1953" y="1808"/>
                  </a:cubicBezTo>
                  <a:cubicBezTo>
                    <a:pt x="1953" y="1808"/>
                    <a:pt x="1982" y="1808"/>
                    <a:pt x="1982" y="1837"/>
                  </a:cubicBezTo>
                  <a:cubicBezTo>
                    <a:pt x="1982" y="1808"/>
                    <a:pt x="1982" y="1808"/>
                    <a:pt x="1982" y="177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5" name="Freeform 252">
              <a:extLst>
                <a:ext uri="{FF2B5EF4-FFF2-40B4-BE49-F238E27FC236}">
                  <a16:creationId xmlns:a16="http://schemas.microsoft.com/office/drawing/2014/main" id="{6CF9CA44-8711-4748-BD8A-ABD72171316B}"/>
                </a:ext>
              </a:extLst>
            </p:cNvPr>
            <p:cNvSpPr>
              <a:spLocks noChangeArrowheads="1"/>
            </p:cNvSpPr>
            <p:nvPr/>
          </p:nvSpPr>
          <p:spPr bwMode="auto">
            <a:xfrm>
              <a:off x="8439690" y="5031417"/>
              <a:ext cx="11416" cy="32366"/>
            </a:xfrm>
            <a:custGeom>
              <a:avLst/>
              <a:gdLst>
                <a:gd name="T0" fmla="*/ 29 w 30"/>
                <a:gd name="T1" fmla="*/ 0 h 89"/>
                <a:gd name="T2" fmla="*/ 29 w 30"/>
                <a:gd name="T3" fmla="*/ 0 h 89"/>
                <a:gd name="T4" fmla="*/ 29 w 30"/>
                <a:gd name="T5" fmla="*/ 30 h 89"/>
                <a:gd name="T6" fmla="*/ 0 w 30"/>
                <a:gd name="T7" fmla="*/ 88 h 89"/>
                <a:gd name="T8" fmla="*/ 29 w 30"/>
                <a:gd name="T9" fmla="*/ 30 h 89"/>
                <a:gd name="T10" fmla="*/ 29 w 30"/>
                <a:gd name="T11" fmla="*/ 0 h 89"/>
              </a:gdLst>
              <a:ahLst/>
              <a:cxnLst>
                <a:cxn ang="0">
                  <a:pos x="T0" y="T1"/>
                </a:cxn>
                <a:cxn ang="0">
                  <a:pos x="T2" y="T3"/>
                </a:cxn>
                <a:cxn ang="0">
                  <a:pos x="T4" y="T5"/>
                </a:cxn>
                <a:cxn ang="0">
                  <a:pos x="T6" y="T7"/>
                </a:cxn>
                <a:cxn ang="0">
                  <a:pos x="T8" y="T9"/>
                </a:cxn>
                <a:cxn ang="0">
                  <a:pos x="T10" y="T11"/>
                </a:cxn>
              </a:cxnLst>
              <a:rect l="0" t="0" r="r" b="b"/>
              <a:pathLst>
                <a:path w="30" h="89">
                  <a:moveTo>
                    <a:pt x="29" y="0"/>
                  </a:moveTo>
                  <a:lnTo>
                    <a:pt x="29" y="0"/>
                  </a:lnTo>
                  <a:lnTo>
                    <a:pt x="29" y="30"/>
                  </a:lnTo>
                  <a:cubicBezTo>
                    <a:pt x="29" y="59"/>
                    <a:pt x="0" y="59"/>
                    <a:pt x="0" y="88"/>
                  </a:cubicBezTo>
                  <a:cubicBezTo>
                    <a:pt x="0" y="59"/>
                    <a:pt x="29" y="59"/>
                    <a:pt x="29" y="30"/>
                  </a:cubicBez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6" name="Freeform 253">
              <a:extLst>
                <a:ext uri="{FF2B5EF4-FFF2-40B4-BE49-F238E27FC236}">
                  <a16:creationId xmlns:a16="http://schemas.microsoft.com/office/drawing/2014/main" id="{C2F33294-C8D0-449C-A5AB-6682C5762286}"/>
                </a:ext>
              </a:extLst>
            </p:cNvPr>
            <p:cNvSpPr>
              <a:spLocks noChangeArrowheads="1"/>
            </p:cNvSpPr>
            <p:nvPr/>
          </p:nvSpPr>
          <p:spPr bwMode="auto">
            <a:xfrm>
              <a:off x="8720196" y="5105860"/>
              <a:ext cx="11416" cy="22656"/>
            </a:xfrm>
            <a:custGeom>
              <a:avLst/>
              <a:gdLst>
                <a:gd name="T0" fmla="*/ 29 w 30"/>
                <a:gd name="T1" fmla="*/ 29 h 60"/>
                <a:gd name="T2" fmla="*/ 29 w 30"/>
                <a:gd name="T3" fmla="*/ 29 h 60"/>
                <a:gd name="T4" fmla="*/ 29 w 30"/>
                <a:gd name="T5" fmla="*/ 0 h 60"/>
                <a:gd name="T6" fmla="*/ 0 w 30"/>
                <a:gd name="T7" fmla="*/ 0 h 60"/>
                <a:gd name="T8" fmla="*/ 0 w 30"/>
                <a:gd name="T9" fmla="*/ 0 h 60"/>
                <a:gd name="T10" fmla="*/ 29 w 30"/>
                <a:gd name="T11" fmla="*/ 59 h 60"/>
                <a:gd name="T12" fmla="*/ 29 w 30"/>
                <a:gd name="T13" fmla="*/ 29 h 60"/>
              </a:gdLst>
              <a:ahLst/>
              <a:cxnLst>
                <a:cxn ang="0">
                  <a:pos x="T0" y="T1"/>
                </a:cxn>
                <a:cxn ang="0">
                  <a:pos x="T2" y="T3"/>
                </a:cxn>
                <a:cxn ang="0">
                  <a:pos x="T4" y="T5"/>
                </a:cxn>
                <a:cxn ang="0">
                  <a:pos x="T6" y="T7"/>
                </a:cxn>
                <a:cxn ang="0">
                  <a:pos x="T8" y="T9"/>
                </a:cxn>
                <a:cxn ang="0">
                  <a:pos x="T10" y="T11"/>
                </a:cxn>
                <a:cxn ang="0">
                  <a:pos x="T12" y="T13"/>
                </a:cxn>
              </a:cxnLst>
              <a:rect l="0" t="0" r="r" b="b"/>
              <a:pathLst>
                <a:path w="30" h="60">
                  <a:moveTo>
                    <a:pt x="29" y="29"/>
                  </a:moveTo>
                  <a:lnTo>
                    <a:pt x="29" y="29"/>
                  </a:lnTo>
                  <a:cubicBezTo>
                    <a:pt x="29" y="29"/>
                    <a:pt x="29" y="29"/>
                    <a:pt x="29" y="0"/>
                  </a:cubicBezTo>
                  <a:lnTo>
                    <a:pt x="0" y="0"/>
                  </a:lnTo>
                  <a:lnTo>
                    <a:pt x="0" y="0"/>
                  </a:lnTo>
                  <a:cubicBezTo>
                    <a:pt x="29" y="29"/>
                    <a:pt x="29" y="29"/>
                    <a:pt x="29" y="59"/>
                  </a:cubicBez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7" name="Freeform 254">
              <a:extLst>
                <a:ext uri="{FF2B5EF4-FFF2-40B4-BE49-F238E27FC236}">
                  <a16:creationId xmlns:a16="http://schemas.microsoft.com/office/drawing/2014/main" id="{066F3F2F-8F00-4CFD-B291-A800759ABAD2}"/>
                </a:ext>
              </a:extLst>
            </p:cNvPr>
            <p:cNvSpPr>
              <a:spLocks noChangeArrowheads="1"/>
            </p:cNvSpPr>
            <p:nvPr/>
          </p:nvSpPr>
          <p:spPr bwMode="auto">
            <a:xfrm>
              <a:off x="8643547" y="5062165"/>
              <a:ext cx="11415" cy="32366"/>
            </a:xfrm>
            <a:custGeom>
              <a:avLst/>
              <a:gdLst>
                <a:gd name="T0" fmla="*/ 29 w 30"/>
                <a:gd name="T1" fmla="*/ 87 h 88"/>
                <a:gd name="T2" fmla="*/ 29 w 30"/>
                <a:gd name="T3" fmla="*/ 87 h 88"/>
                <a:gd name="T4" fmla="*/ 0 w 30"/>
                <a:gd name="T5" fmla="*/ 0 h 88"/>
                <a:gd name="T6" fmla="*/ 29 w 30"/>
                <a:gd name="T7" fmla="*/ 87 h 88"/>
              </a:gdLst>
              <a:ahLst/>
              <a:cxnLst>
                <a:cxn ang="0">
                  <a:pos x="T0" y="T1"/>
                </a:cxn>
                <a:cxn ang="0">
                  <a:pos x="T2" y="T3"/>
                </a:cxn>
                <a:cxn ang="0">
                  <a:pos x="T4" y="T5"/>
                </a:cxn>
                <a:cxn ang="0">
                  <a:pos x="T6" y="T7"/>
                </a:cxn>
              </a:cxnLst>
              <a:rect l="0" t="0" r="r" b="b"/>
              <a:pathLst>
                <a:path w="30" h="88">
                  <a:moveTo>
                    <a:pt x="29" y="87"/>
                  </a:moveTo>
                  <a:lnTo>
                    <a:pt x="29" y="87"/>
                  </a:lnTo>
                  <a:cubicBezTo>
                    <a:pt x="0" y="58"/>
                    <a:pt x="0" y="29"/>
                    <a:pt x="0" y="0"/>
                  </a:cubicBezTo>
                  <a:cubicBezTo>
                    <a:pt x="0" y="29"/>
                    <a:pt x="0" y="58"/>
                    <a:pt x="2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8" name="Freeform 255">
              <a:extLst>
                <a:ext uri="{FF2B5EF4-FFF2-40B4-BE49-F238E27FC236}">
                  <a16:creationId xmlns:a16="http://schemas.microsoft.com/office/drawing/2014/main" id="{A2EAD931-8977-4F81-91A6-3C8425160F6B}"/>
                </a:ext>
              </a:extLst>
            </p:cNvPr>
            <p:cNvSpPr>
              <a:spLocks noChangeArrowheads="1"/>
            </p:cNvSpPr>
            <p:nvPr/>
          </p:nvSpPr>
          <p:spPr bwMode="auto">
            <a:xfrm>
              <a:off x="8439690" y="5062165"/>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9" name="Freeform 256">
              <a:extLst>
                <a:ext uri="{FF2B5EF4-FFF2-40B4-BE49-F238E27FC236}">
                  <a16:creationId xmlns:a16="http://schemas.microsoft.com/office/drawing/2014/main" id="{0BC6B109-C376-494E-82E9-E317CCE8AD12}"/>
                </a:ext>
              </a:extLst>
            </p:cNvPr>
            <p:cNvSpPr>
              <a:spLocks noChangeArrowheads="1"/>
            </p:cNvSpPr>
            <p:nvPr/>
          </p:nvSpPr>
          <p:spPr bwMode="auto">
            <a:xfrm>
              <a:off x="8332055" y="4999051"/>
              <a:ext cx="11416" cy="1618"/>
            </a:xfrm>
            <a:custGeom>
              <a:avLst/>
              <a:gdLst>
                <a:gd name="T0" fmla="*/ 29 w 30"/>
                <a:gd name="T1" fmla="*/ 0 h 1"/>
                <a:gd name="T2" fmla="*/ 29 w 30"/>
                <a:gd name="T3" fmla="*/ 0 h 1"/>
                <a:gd name="T4" fmla="*/ 29 w 30"/>
                <a:gd name="T5" fmla="*/ 0 h 1"/>
                <a:gd name="T6" fmla="*/ 0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lnTo>
                    <a:pt x="29" y="0"/>
                  </a:lnTo>
                  <a:cubicBezTo>
                    <a:pt x="0" y="0"/>
                    <a:pt x="0" y="0"/>
                    <a:pt x="0" y="0"/>
                  </a:cubicBez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0" name="Freeform 257">
              <a:extLst>
                <a:ext uri="{FF2B5EF4-FFF2-40B4-BE49-F238E27FC236}">
                  <a16:creationId xmlns:a16="http://schemas.microsoft.com/office/drawing/2014/main" id="{67A2DA7B-8A3D-40C5-8489-AB330277C924}"/>
                </a:ext>
              </a:extLst>
            </p:cNvPr>
            <p:cNvSpPr>
              <a:spLocks noChangeArrowheads="1"/>
            </p:cNvSpPr>
            <p:nvPr/>
          </p:nvSpPr>
          <p:spPr bwMode="auto">
            <a:xfrm>
              <a:off x="8341840" y="5062165"/>
              <a:ext cx="22832" cy="11329"/>
            </a:xfrm>
            <a:custGeom>
              <a:avLst/>
              <a:gdLst>
                <a:gd name="T0" fmla="*/ 59 w 60"/>
                <a:gd name="T1" fmla="*/ 0 h 30"/>
                <a:gd name="T2" fmla="*/ 59 w 60"/>
                <a:gd name="T3" fmla="*/ 0 h 30"/>
                <a:gd name="T4" fmla="*/ 29 w 60"/>
                <a:gd name="T5" fmla="*/ 0 h 30"/>
                <a:gd name="T6" fmla="*/ 0 w 60"/>
                <a:gd name="T7" fmla="*/ 0 h 30"/>
                <a:gd name="T8" fmla="*/ 0 w 60"/>
                <a:gd name="T9" fmla="*/ 0 h 30"/>
                <a:gd name="T10" fmla="*/ 29 w 60"/>
                <a:gd name="T11" fmla="*/ 29 h 30"/>
                <a:gd name="T12" fmla="*/ 59 w 6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60" h="30">
                  <a:moveTo>
                    <a:pt x="59" y="0"/>
                  </a:moveTo>
                  <a:lnTo>
                    <a:pt x="59" y="0"/>
                  </a:lnTo>
                  <a:lnTo>
                    <a:pt x="29" y="0"/>
                  </a:lnTo>
                  <a:cubicBezTo>
                    <a:pt x="0" y="0"/>
                    <a:pt x="0" y="0"/>
                    <a:pt x="0" y="0"/>
                  </a:cubicBezTo>
                  <a:lnTo>
                    <a:pt x="0" y="0"/>
                  </a:lnTo>
                  <a:cubicBezTo>
                    <a:pt x="0" y="29"/>
                    <a:pt x="0" y="29"/>
                    <a:pt x="29" y="29"/>
                  </a:cubicBezTo>
                  <a:lnTo>
                    <a:pt x="5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1" name="Freeform 258">
              <a:extLst>
                <a:ext uri="{FF2B5EF4-FFF2-40B4-BE49-F238E27FC236}">
                  <a16:creationId xmlns:a16="http://schemas.microsoft.com/office/drawing/2014/main" id="{15AB84F0-F409-4912-ABEF-2F861DC0D156}"/>
                </a:ext>
              </a:extLst>
            </p:cNvPr>
            <p:cNvSpPr>
              <a:spLocks noChangeArrowheads="1"/>
            </p:cNvSpPr>
            <p:nvPr/>
          </p:nvSpPr>
          <p:spPr bwMode="auto">
            <a:xfrm>
              <a:off x="8299438" y="5008761"/>
              <a:ext cx="44033" cy="43694"/>
            </a:xfrm>
            <a:custGeom>
              <a:avLst/>
              <a:gdLst>
                <a:gd name="T0" fmla="*/ 116 w 117"/>
                <a:gd name="T1" fmla="*/ 88 h 118"/>
                <a:gd name="T2" fmla="*/ 116 w 117"/>
                <a:gd name="T3" fmla="*/ 88 h 118"/>
                <a:gd name="T4" fmla="*/ 116 w 117"/>
                <a:gd name="T5" fmla="*/ 117 h 118"/>
                <a:gd name="T6" fmla="*/ 116 w 117"/>
                <a:gd name="T7" fmla="*/ 117 h 118"/>
                <a:gd name="T8" fmla="*/ 116 w 117"/>
                <a:gd name="T9" fmla="*/ 88 h 118"/>
                <a:gd name="T10" fmla="*/ 29 w 117"/>
                <a:gd name="T11" fmla="*/ 29 h 118"/>
                <a:gd name="T12" fmla="*/ 0 w 117"/>
                <a:gd name="T13" fmla="*/ 0 h 118"/>
                <a:gd name="T14" fmla="*/ 29 w 117"/>
                <a:gd name="T15" fmla="*/ 29 h 118"/>
                <a:gd name="T16" fmla="*/ 116 w 117"/>
                <a:gd name="T17"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18">
                  <a:moveTo>
                    <a:pt x="116" y="88"/>
                  </a:moveTo>
                  <a:lnTo>
                    <a:pt x="116" y="88"/>
                  </a:lnTo>
                  <a:cubicBezTo>
                    <a:pt x="116" y="117"/>
                    <a:pt x="116" y="117"/>
                    <a:pt x="116" y="117"/>
                  </a:cubicBezTo>
                  <a:lnTo>
                    <a:pt x="116" y="117"/>
                  </a:lnTo>
                  <a:cubicBezTo>
                    <a:pt x="116" y="88"/>
                    <a:pt x="116" y="88"/>
                    <a:pt x="116" y="88"/>
                  </a:cubicBezTo>
                  <a:cubicBezTo>
                    <a:pt x="87" y="58"/>
                    <a:pt x="58" y="58"/>
                    <a:pt x="29" y="29"/>
                  </a:cubicBezTo>
                  <a:cubicBezTo>
                    <a:pt x="29" y="29"/>
                    <a:pt x="0" y="29"/>
                    <a:pt x="0" y="0"/>
                  </a:cubicBezTo>
                  <a:cubicBezTo>
                    <a:pt x="0" y="29"/>
                    <a:pt x="29" y="29"/>
                    <a:pt x="29" y="29"/>
                  </a:cubicBezTo>
                  <a:cubicBezTo>
                    <a:pt x="58" y="58"/>
                    <a:pt x="87" y="58"/>
                    <a:pt x="116"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2" name="Freeform 259">
              <a:extLst>
                <a:ext uri="{FF2B5EF4-FFF2-40B4-BE49-F238E27FC236}">
                  <a16:creationId xmlns:a16="http://schemas.microsoft.com/office/drawing/2014/main" id="{3FEEA0DE-3697-41F1-BE03-E50D15166F2C}"/>
                </a:ext>
              </a:extLst>
            </p:cNvPr>
            <p:cNvSpPr>
              <a:spLocks noChangeArrowheads="1"/>
            </p:cNvSpPr>
            <p:nvPr/>
          </p:nvSpPr>
          <p:spPr bwMode="auto">
            <a:xfrm>
              <a:off x="8439690" y="5020088"/>
              <a:ext cx="11416" cy="11329"/>
            </a:xfrm>
            <a:custGeom>
              <a:avLst/>
              <a:gdLst>
                <a:gd name="T0" fmla="*/ 0 w 30"/>
                <a:gd name="T1" fmla="*/ 0 h 30"/>
                <a:gd name="T2" fmla="*/ 0 w 30"/>
                <a:gd name="T3" fmla="*/ 0 h 30"/>
                <a:gd name="T4" fmla="*/ 0 w 30"/>
                <a:gd name="T5" fmla="*/ 29 h 30"/>
                <a:gd name="T6" fmla="*/ 0 w 30"/>
                <a:gd name="T7" fmla="*/ 0 h 30"/>
                <a:gd name="T8" fmla="*/ 29 w 30"/>
                <a:gd name="T9" fmla="*/ 29 h 30"/>
                <a:gd name="T10" fmla="*/ 0 w 30"/>
                <a:gd name="T11" fmla="*/ 0 h 30"/>
              </a:gdLst>
              <a:ahLst/>
              <a:cxnLst>
                <a:cxn ang="0">
                  <a:pos x="T0" y="T1"/>
                </a:cxn>
                <a:cxn ang="0">
                  <a:pos x="T2" y="T3"/>
                </a:cxn>
                <a:cxn ang="0">
                  <a:pos x="T4" y="T5"/>
                </a:cxn>
                <a:cxn ang="0">
                  <a:pos x="T6" y="T7"/>
                </a:cxn>
                <a:cxn ang="0">
                  <a:pos x="T8" y="T9"/>
                </a:cxn>
                <a:cxn ang="0">
                  <a:pos x="T10" y="T11"/>
                </a:cxn>
              </a:cxnLst>
              <a:rect l="0" t="0" r="r" b="b"/>
              <a:pathLst>
                <a:path w="30" h="30">
                  <a:moveTo>
                    <a:pt x="0" y="0"/>
                  </a:moveTo>
                  <a:lnTo>
                    <a:pt x="0" y="0"/>
                  </a:lnTo>
                  <a:cubicBezTo>
                    <a:pt x="0" y="0"/>
                    <a:pt x="0" y="0"/>
                    <a:pt x="0" y="29"/>
                  </a:cubicBezTo>
                  <a:cubicBezTo>
                    <a:pt x="0" y="0"/>
                    <a:pt x="0" y="0"/>
                    <a:pt x="0" y="0"/>
                  </a:cubicBezTo>
                  <a:cubicBezTo>
                    <a:pt x="29" y="0"/>
                    <a:pt x="29" y="0"/>
                    <a:pt x="29" y="29"/>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3" name="Freeform 260">
              <a:extLst>
                <a:ext uri="{FF2B5EF4-FFF2-40B4-BE49-F238E27FC236}">
                  <a16:creationId xmlns:a16="http://schemas.microsoft.com/office/drawing/2014/main" id="{B2257963-BCED-4281-A554-A18734E0B59A}"/>
                </a:ext>
              </a:extLst>
            </p:cNvPr>
            <p:cNvSpPr>
              <a:spLocks noChangeArrowheads="1"/>
            </p:cNvSpPr>
            <p:nvPr/>
          </p:nvSpPr>
          <p:spPr bwMode="auto">
            <a:xfrm>
              <a:off x="8374457" y="4999051"/>
              <a:ext cx="11416" cy="1618"/>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4" name="Freeform 261">
              <a:extLst>
                <a:ext uri="{FF2B5EF4-FFF2-40B4-BE49-F238E27FC236}">
                  <a16:creationId xmlns:a16="http://schemas.microsoft.com/office/drawing/2014/main" id="{D85B9144-E1B0-46AF-95E0-4035664D702F}"/>
                </a:ext>
              </a:extLst>
            </p:cNvPr>
            <p:cNvSpPr>
              <a:spLocks noChangeArrowheads="1"/>
            </p:cNvSpPr>
            <p:nvPr/>
          </p:nvSpPr>
          <p:spPr bwMode="auto">
            <a:xfrm>
              <a:off x="8977869" y="485987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5" name="Freeform 262">
              <a:extLst>
                <a:ext uri="{FF2B5EF4-FFF2-40B4-BE49-F238E27FC236}">
                  <a16:creationId xmlns:a16="http://schemas.microsoft.com/office/drawing/2014/main" id="{28E7350D-D762-4B98-B182-500486974372}"/>
                </a:ext>
              </a:extLst>
            </p:cNvPr>
            <p:cNvSpPr>
              <a:spLocks noChangeArrowheads="1"/>
            </p:cNvSpPr>
            <p:nvPr/>
          </p:nvSpPr>
          <p:spPr bwMode="auto">
            <a:xfrm>
              <a:off x="8968084" y="479514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6" name="Freeform 263">
              <a:extLst>
                <a:ext uri="{FF2B5EF4-FFF2-40B4-BE49-F238E27FC236}">
                  <a16:creationId xmlns:a16="http://schemas.microsoft.com/office/drawing/2014/main" id="{3EE1AB1F-E0B2-4628-9C11-F5680EE4ADF3}"/>
                </a:ext>
              </a:extLst>
            </p:cNvPr>
            <p:cNvSpPr>
              <a:spLocks noChangeArrowheads="1"/>
            </p:cNvSpPr>
            <p:nvPr/>
          </p:nvSpPr>
          <p:spPr bwMode="auto">
            <a:xfrm>
              <a:off x="8956669" y="482750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7" name="Freeform 264">
              <a:extLst>
                <a:ext uri="{FF2B5EF4-FFF2-40B4-BE49-F238E27FC236}">
                  <a16:creationId xmlns:a16="http://schemas.microsoft.com/office/drawing/2014/main" id="{B4BA80AF-5651-439D-BC30-511126768126}"/>
                </a:ext>
              </a:extLst>
            </p:cNvPr>
            <p:cNvSpPr>
              <a:spLocks noChangeArrowheads="1"/>
            </p:cNvSpPr>
            <p:nvPr/>
          </p:nvSpPr>
          <p:spPr bwMode="auto">
            <a:xfrm>
              <a:off x="8968084" y="4827509"/>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8" name="Freeform 265">
              <a:extLst>
                <a:ext uri="{FF2B5EF4-FFF2-40B4-BE49-F238E27FC236}">
                  <a16:creationId xmlns:a16="http://schemas.microsoft.com/office/drawing/2014/main" id="{4074A4EF-1FAB-4642-A8CD-50464406AA7E}"/>
                </a:ext>
              </a:extLst>
            </p:cNvPr>
            <p:cNvSpPr>
              <a:spLocks noChangeArrowheads="1"/>
            </p:cNvSpPr>
            <p:nvPr/>
          </p:nvSpPr>
          <p:spPr bwMode="auto">
            <a:xfrm>
              <a:off x="8989286" y="4880913"/>
              <a:ext cx="11415" cy="11329"/>
            </a:xfrm>
            <a:custGeom>
              <a:avLst/>
              <a:gdLst>
                <a:gd name="T0" fmla="*/ 0 w 30"/>
                <a:gd name="T1" fmla="*/ 0 h 30"/>
                <a:gd name="T2" fmla="*/ 0 w 30"/>
                <a:gd name="T3" fmla="*/ 0 h 30"/>
                <a:gd name="T4" fmla="*/ 29 w 30"/>
                <a:gd name="T5" fmla="*/ 29 h 30"/>
                <a:gd name="T6" fmla="*/ 29 w 30"/>
                <a:gd name="T7" fmla="*/ 29 h 30"/>
                <a:gd name="T8" fmla="*/ 0 w 30"/>
                <a:gd name="T9" fmla="*/ 0 h 30"/>
              </a:gdLst>
              <a:ahLst/>
              <a:cxnLst>
                <a:cxn ang="0">
                  <a:pos x="T0" y="T1"/>
                </a:cxn>
                <a:cxn ang="0">
                  <a:pos x="T2" y="T3"/>
                </a:cxn>
                <a:cxn ang="0">
                  <a:pos x="T4" y="T5"/>
                </a:cxn>
                <a:cxn ang="0">
                  <a:pos x="T6" y="T7"/>
                </a:cxn>
                <a:cxn ang="0">
                  <a:pos x="T8" y="T9"/>
                </a:cxn>
              </a:cxnLst>
              <a:rect l="0" t="0" r="r" b="b"/>
              <a:pathLst>
                <a:path w="30" h="30">
                  <a:moveTo>
                    <a:pt x="0" y="0"/>
                  </a:moveTo>
                  <a:lnTo>
                    <a:pt x="0" y="0"/>
                  </a:lnTo>
                  <a:cubicBezTo>
                    <a:pt x="29" y="0"/>
                    <a:pt x="29" y="0"/>
                    <a:pt x="29" y="29"/>
                  </a:cubicBezTo>
                  <a:lnTo>
                    <a:pt x="29" y="29"/>
                  </a:ln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9" name="Freeform 266">
              <a:extLst>
                <a:ext uri="{FF2B5EF4-FFF2-40B4-BE49-F238E27FC236}">
                  <a16:creationId xmlns:a16="http://schemas.microsoft.com/office/drawing/2014/main" id="{CD45FB47-4079-4FC7-8042-118998756625}"/>
                </a:ext>
              </a:extLst>
            </p:cNvPr>
            <p:cNvSpPr>
              <a:spLocks noChangeArrowheads="1"/>
            </p:cNvSpPr>
            <p:nvPr/>
          </p:nvSpPr>
          <p:spPr bwMode="auto">
            <a:xfrm>
              <a:off x="8946884" y="4827509"/>
              <a:ext cx="11415" cy="11328"/>
            </a:xfrm>
            <a:custGeom>
              <a:avLst/>
              <a:gdLst>
                <a:gd name="T0" fmla="*/ 0 w 29"/>
                <a:gd name="T1" fmla="*/ 29 h 30"/>
                <a:gd name="T2" fmla="*/ 0 w 29"/>
                <a:gd name="T3" fmla="*/ 29 h 30"/>
                <a:gd name="T4" fmla="*/ 0 w 29"/>
                <a:gd name="T5" fmla="*/ 29 h 30"/>
                <a:gd name="T6" fmla="*/ 28 w 29"/>
                <a:gd name="T7" fmla="*/ 0 h 30"/>
                <a:gd name="T8" fmla="*/ 28 w 29"/>
                <a:gd name="T9" fmla="*/ 0 h 30"/>
                <a:gd name="T10" fmla="*/ 0 w 29"/>
                <a:gd name="T11" fmla="*/ 29 h 30"/>
              </a:gdLst>
              <a:ahLst/>
              <a:cxnLst>
                <a:cxn ang="0">
                  <a:pos x="T0" y="T1"/>
                </a:cxn>
                <a:cxn ang="0">
                  <a:pos x="T2" y="T3"/>
                </a:cxn>
                <a:cxn ang="0">
                  <a:pos x="T4" y="T5"/>
                </a:cxn>
                <a:cxn ang="0">
                  <a:pos x="T6" y="T7"/>
                </a:cxn>
                <a:cxn ang="0">
                  <a:pos x="T8" y="T9"/>
                </a:cxn>
                <a:cxn ang="0">
                  <a:pos x="T10" y="T11"/>
                </a:cxn>
              </a:cxnLst>
              <a:rect l="0" t="0" r="r" b="b"/>
              <a:pathLst>
                <a:path w="29" h="30">
                  <a:moveTo>
                    <a:pt x="0" y="29"/>
                  </a:moveTo>
                  <a:lnTo>
                    <a:pt x="0" y="29"/>
                  </a:lnTo>
                  <a:lnTo>
                    <a:pt x="0" y="29"/>
                  </a:lnTo>
                  <a:cubicBezTo>
                    <a:pt x="28" y="0"/>
                    <a:pt x="28" y="0"/>
                    <a:pt x="28" y="0"/>
                  </a:cubicBezTo>
                  <a:lnTo>
                    <a:pt x="28" y="0"/>
                  </a:lnTo>
                  <a:cubicBezTo>
                    <a:pt x="28" y="0"/>
                    <a:pt x="28"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0" name="Freeform 267">
              <a:extLst>
                <a:ext uri="{FF2B5EF4-FFF2-40B4-BE49-F238E27FC236}">
                  <a16:creationId xmlns:a16="http://schemas.microsoft.com/office/drawing/2014/main" id="{2F34F0B3-E6DD-4277-B29B-C2E3EF5AD060}"/>
                </a:ext>
              </a:extLst>
            </p:cNvPr>
            <p:cNvSpPr>
              <a:spLocks noChangeArrowheads="1"/>
            </p:cNvSpPr>
            <p:nvPr/>
          </p:nvSpPr>
          <p:spPr bwMode="auto">
            <a:xfrm>
              <a:off x="8977869" y="4848546"/>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1" name="Freeform 268">
              <a:extLst>
                <a:ext uri="{FF2B5EF4-FFF2-40B4-BE49-F238E27FC236}">
                  <a16:creationId xmlns:a16="http://schemas.microsoft.com/office/drawing/2014/main" id="{7E883165-4020-4A4B-A097-07BAE4273936}"/>
                </a:ext>
              </a:extLst>
            </p:cNvPr>
            <p:cNvSpPr>
              <a:spLocks noChangeArrowheads="1"/>
            </p:cNvSpPr>
            <p:nvPr/>
          </p:nvSpPr>
          <p:spPr bwMode="auto">
            <a:xfrm>
              <a:off x="8956669" y="4795142"/>
              <a:ext cx="11415" cy="21038"/>
            </a:xfrm>
            <a:custGeom>
              <a:avLst/>
              <a:gdLst>
                <a:gd name="T0" fmla="*/ 30 w 31"/>
                <a:gd name="T1" fmla="*/ 0 h 59"/>
                <a:gd name="T2" fmla="*/ 30 w 31"/>
                <a:gd name="T3" fmla="*/ 0 h 59"/>
                <a:gd name="T4" fmla="*/ 30 w 31"/>
                <a:gd name="T5" fmla="*/ 29 h 59"/>
                <a:gd name="T6" fmla="*/ 0 w 31"/>
                <a:gd name="T7" fmla="*/ 58 h 59"/>
                <a:gd name="T8" fmla="*/ 0 w 31"/>
                <a:gd name="T9" fmla="*/ 58 h 59"/>
                <a:gd name="T10" fmla="*/ 30 w 31"/>
                <a:gd name="T11" fmla="*/ 29 h 59"/>
                <a:gd name="T12" fmla="*/ 30 w 31"/>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31" h="59">
                  <a:moveTo>
                    <a:pt x="30" y="0"/>
                  </a:moveTo>
                  <a:lnTo>
                    <a:pt x="30" y="0"/>
                  </a:lnTo>
                  <a:lnTo>
                    <a:pt x="30" y="29"/>
                  </a:lnTo>
                  <a:cubicBezTo>
                    <a:pt x="0" y="29"/>
                    <a:pt x="0" y="58"/>
                    <a:pt x="0" y="58"/>
                  </a:cubicBezTo>
                  <a:lnTo>
                    <a:pt x="0" y="58"/>
                  </a:lnTo>
                  <a:cubicBezTo>
                    <a:pt x="0" y="58"/>
                    <a:pt x="0" y="29"/>
                    <a:pt x="30" y="29"/>
                  </a:cubicBez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2" name="Freeform 269">
              <a:extLst>
                <a:ext uri="{FF2B5EF4-FFF2-40B4-BE49-F238E27FC236}">
                  <a16:creationId xmlns:a16="http://schemas.microsoft.com/office/drawing/2014/main" id="{08AD3F78-033C-43EB-BF08-FDB29E639712}"/>
                </a:ext>
              </a:extLst>
            </p:cNvPr>
            <p:cNvSpPr>
              <a:spLocks noChangeArrowheads="1"/>
            </p:cNvSpPr>
            <p:nvPr/>
          </p:nvSpPr>
          <p:spPr bwMode="auto">
            <a:xfrm>
              <a:off x="8946884" y="4785432"/>
              <a:ext cx="11415" cy="32366"/>
            </a:xfrm>
            <a:custGeom>
              <a:avLst/>
              <a:gdLst>
                <a:gd name="T0" fmla="*/ 28 w 29"/>
                <a:gd name="T1" fmla="*/ 87 h 88"/>
                <a:gd name="T2" fmla="*/ 28 w 29"/>
                <a:gd name="T3" fmla="*/ 87 h 88"/>
                <a:gd name="T4" fmla="*/ 0 w 29"/>
                <a:gd name="T5" fmla="*/ 29 h 88"/>
                <a:gd name="T6" fmla="*/ 0 w 29"/>
                <a:gd name="T7" fmla="*/ 0 h 88"/>
                <a:gd name="T8" fmla="*/ 0 w 29"/>
                <a:gd name="T9" fmla="*/ 29 h 88"/>
                <a:gd name="T10" fmla="*/ 28 w 29"/>
                <a:gd name="T11" fmla="*/ 87 h 88"/>
              </a:gdLst>
              <a:ahLst/>
              <a:cxnLst>
                <a:cxn ang="0">
                  <a:pos x="T0" y="T1"/>
                </a:cxn>
                <a:cxn ang="0">
                  <a:pos x="T2" y="T3"/>
                </a:cxn>
                <a:cxn ang="0">
                  <a:pos x="T4" y="T5"/>
                </a:cxn>
                <a:cxn ang="0">
                  <a:pos x="T6" y="T7"/>
                </a:cxn>
                <a:cxn ang="0">
                  <a:pos x="T8" y="T9"/>
                </a:cxn>
                <a:cxn ang="0">
                  <a:pos x="T10" y="T11"/>
                </a:cxn>
              </a:cxnLst>
              <a:rect l="0" t="0" r="r" b="b"/>
              <a:pathLst>
                <a:path w="29" h="88">
                  <a:moveTo>
                    <a:pt x="28" y="87"/>
                  </a:moveTo>
                  <a:lnTo>
                    <a:pt x="28" y="87"/>
                  </a:lnTo>
                  <a:cubicBezTo>
                    <a:pt x="28" y="58"/>
                    <a:pt x="0" y="29"/>
                    <a:pt x="0" y="29"/>
                  </a:cubicBezTo>
                  <a:lnTo>
                    <a:pt x="0" y="0"/>
                  </a:lnTo>
                  <a:lnTo>
                    <a:pt x="0" y="29"/>
                  </a:lnTo>
                  <a:cubicBezTo>
                    <a:pt x="0" y="29"/>
                    <a:pt x="28" y="58"/>
                    <a:pt x="28"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3" name="Freeform 270">
              <a:extLst>
                <a:ext uri="{FF2B5EF4-FFF2-40B4-BE49-F238E27FC236}">
                  <a16:creationId xmlns:a16="http://schemas.microsoft.com/office/drawing/2014/main" id="{3367C331-8B2F-46A3-BA9B-B7E89E45C1B2}"/>
                </a:ext>
              </a:extLst>
            </p:cNvPr>
            <p:cNvSpPr>
              <a:spLocks noChangeArrowheads="1"/>
            </p:cNvSpPr>
            <p:nvPr/>
          </p:nvSpPr>
          <p:spPr bwMode="auto">
            <a:xfrm>
              <a:off x="8977869" y="4848546"/>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4" name="Freeform 271">
              <a:extLst>
                <a:ext uri="{FF2B5EF4-FFF2-40B4-BE49-F238E27FC236}">
                  <a16:creationId xmlns:a16="http://schemas.microsoft.com/office/drawing/2014/main" id="{3CFFCB14-0E38-4085-AB5B-50ED9DFD70EA}"/>
                </a:ext>
              </a:extLst>
            </p:cNvPr>
            <p:cNvSpPr>
              <a:spLocks noChangeArrowheads="1"/>
            </p:cNvSpPr>
            <p:nvPr/>
          </p:nvSpPr>
          <p:spPr bwMode="auto">
            <a:xfrm>
              <a:off x="8956669" y="4892241"/>
              <a:ext cx="32617" cy="22656"/>
            </a:xfrm>
            <a:custGeom>
              <a:avLst/>
              <a:gdLst>
                <a:gd name="T0" fmla="*/ 59 w 89"/>
                <a:gd name="T1" fmla="*/ 0 h 60"/>
                <a:gd name="T2" fmla="*/ 59 w 89"/>
                <a:gd name="T3" fmla="*/ 0 h 60"/>
                <a:gd name="T4" fmla="*/ 88 w 89"/>
                <a:gd name="T5" fmla="*/ 0 h 60"/>
                <a:gd name="T6" fmla="*/ 59 w 89"/>
                <a:gd name="T7" fmla="*/ 0 h 60"/>
                <a:gd name="T8" fmla="*/ 0 w 89"/>
                <a:gd name="T9" fmla="*/ 59 h 60"/>
                <a:gd name="T10" fmla="*/ 59 w 89"/>
                <a:gd name="T11" fmla="*/ 0 h 60"/>
              </a:gdLst>
              <a:ahLst/>
              <a:cxnLst>
                <a:cxn ang="0">
                  <a:pos x="T0" y="T1"/>
                </a:cxn>
                <a:cxn ang="0">
                  <a:pos x="T2" y="T3"/>
                </a:cxn>
                <a:cxn ang="0">
                  <a:pos x="T4" y="T5"/>
                </a:cxn>
                <a:cxn ang="0">
                  <a:pos x="T6" y="T7"/>
                </a:cxn>
                <a:cxn ang="0">
                  <a:pos x="T8" y="T9"/>
                </a:cxn>
                <a:cxn ang="0">
                  <a:pos x="T10" y="T11"/>
                </a:cxn>
              </a:cxnLst>
              <a:rect l="0" t="0" r="r" b="b"/>
              <a:pathLst>
                <a:path w="89" h="60">
                  <a:moveTo>
                    <a:pt x="59" y="0"/>
                  </a:moveTo>
                  <a:lnTo>
                    <a:pt x="59" y="0"/>
                  </a:lnTo>
                  <a:cubicBezTo>
                    <a:pt x="88" y="0"/>
                    <a:pt x="88" y="0"/>
                    <a:pt x="88" y="0"/>
                  </a:cubicBezTo>
                  <a:cubicBezTo>
                    <a:pt x="88" y="0"/>
                    <a:pt x="88" y="0"/>
                    <a:pt x="59" y="0"/>
                  </a:cubicBezTo>
                  <a:cubicBezTo>
                    <a:pt x="30" y="29"/>
                    <a:pt x="0" y="29"/>
                    <a:pt x="0" y="59"/>
                  </a:cubicBezTo>
                  <a:cubicBezTo>
                    <a:pt x="0" y="29"/>
                    <a:pt x="30" y="29"/>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5" name="Freeform 272">
              <a:extLst>
                <a:ext uri="{FF2B5EF4-FFF2-40B4-BE49-F238E27FC236}">
                  <a16:creationId xmlns:a16="http://schemas.microsoft.com/office/drawing/2014/main" id="{8A5DA777-D609-4CB4-BEBE-AF938D26AA0B}"/>
                </a:ext>
              </a:extLst>
            </p:cNvPr>
            <p:cNvSpPr>
              <a:spLocks noChangeArrowheads="1"/>
            </p:cNvSpPr>
            <p:nvPr/>
          </p:nvSpPr>
          <p:spPr bwMode="auto">
            <a:xfrm>
              <a:off x="8946884" y="489224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6" name="Freeform 273">
              <a:extLst>
                <a:ext uri="{FF2B5EF4-FFF2-40B4-BE49-F238E27FC236}">
                  <a16:creationId xmlns:a16="http://schemas.microsoft.com/office/drawing/2014/main" id="{EA939F98-17F7-4F68-8B1B-E819A307BFE7}"/>
                </a:ext>
              </a:extLst>
            </p:cNvPr>
            <p:cNvSpPr>
              <a:spLocks noChangeArrowheads="1"/>
            </p:cNvSpPr>
            <p:nvPr/>
          </p:nvSpPr>
          <p:spPr bwMode="auto">
            <a:xfrm>
              <a:off x="8946884" y="4837219"/>
              <a:ext cx="1630" cy="11328"/>
            </a:xfrm>
            <a:custGeom>
              <a:avLst/>
              <a:gdLst>
                <a:gd name="T0" fmla="*/ 0 w 1"/>
                <a:gd name="T1" fmla="*/ 0 h 30"/>
                <a:gd name="T2" fmla="*/ 0 w 1"/>
                <a:gd name="T3" fmla="*/ 0 h 30"/>
                <a:gd name="T4" fmla="*/ 0 w 1"/>
                <a:gd name="T5" fmla="*/ 0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7" name="Freeform 274">
              <a:extLst>
                <a:ext uri="{FF2B5EF4-FFF2-40B4-BE49-F238E27FC236}">
                  <a16:creationId xmlns:a16="http://schemas.microsoft.com/office/drawing/2014/main" id="{E596F4F8-93E6-4406-BF5D-7D38E9044540}"/>
                </a:ext>
              </a:extLst>
            </p:cNvPr>
            <p:cNvSpPr>
              <a:spLocks noChangeArrowheads="1"/>
            </p:cNvSpPr>
            <p:nvPr/>
          </p:nvSpPr>
          <p:spPr bwMode="auto">
            <a:xfrm>
              <a:off x="9884620" y="5340516"/>
              <a:ext cx="11416" cy="1619"/>
            </a:xfrm>
            <a:custGeom>
              <a:avLst/>
              <a:gdLst>
                <a:gd name="T0" fmla="*/ 29 w 30"/>
                <a:gd name="T1" fmla="*/ 0 h 1"/>
                <a:gd name="T2" fmla="*/ 29 w 30"/>
                <a:gd name="T3" fmla="*/ 0 h 1"/>
                <a:gd name="T4" fmla="*/ 0 w 30"/>
                <a:gd name="T5" fmla="*/ 0 h 1"/>
                <a:gd name="T6" fmla="*/ 0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cubicBezTo>
                    <a:pt x="0" y="0"/>
                    <a:pt x="0" y="0"/>
                    <a:pt x="0" y="0"/>
                  </a:cubicBezTo>
                  <a:lnTo>
                    <a:pt x="0" y="0"/>
                  </a:ln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8" name="Freeform 275">
              <a:extLst>
                <a:ext uri="{FF2B5EF4-FFF2-40B4-BE49-F238E27FC236}">
                  <a16:creationId xmlns:a16="http://schemas.microsoft.com/office/drawing/2014/main" id="{617783A9-6946-4127-A097-432F03BB46AB}"/>
                </a:ext>
              </a:extLst>
            </p:cNvPr>
            <p:cNvSpPr>
              <a:spLocks noChangeArrowheads="1"/>
            </p:cNvSpPr>
            <p:nvPr/>
          </p:nvSpPr>
          <p:spPr bwMode="auto">
            <a:xfrm>
              <a:off x="9463861" y="3510196"/>
              <a:ext cx="1262274" cy="546992"/>
            </a:xfrm>
            <a:custGeom>
              <a:avLst/>
              <a:gdLst>
                <a:gd name="T0" fmla="*/ 3384 w 3413"/>
                <a:gd name="T1" fmla="*/ 524 h 1489"/>
                <a:gd name="T2" fmla="*/ 3267 w 3413"/>
                <a:gd name="T3" fmla="*/ 495 h 1489"/>
                <a:gd name="T4" fmla="*/ 3384 w 3413"/>
                <a:gd name="T5" fmla="*/ 438 h 1489"/>
                <a:gd name="T6" fmla="*/ 3355 w 3413"/>
                <a:gd name="T7" fmla="*/ 321 h 1489"/>
                <a:gd name="T8" fmla="*/ 3355 w 3413"/>
                <a:gd name="T9" fmla="*/ 291 h 1489"/>
                <a:gd name="T10" fmla="*/ 3296 w 3413"/>
                <a:gd name="T11" fmla="*/ 350 h 1489"/>
                <a:gd name="T12" fmla="*/ 3092 w 3413"/>
                <a:gd name="T13" fmla="*/ 408 h 1489"/>
                <a:gd name="T14" fmla="*/ 3150 w 3413"/>
                <a:gd name="T15" fmla="*/ 262 h 1489"/>
                <a:gd name="T16" fmla="*/ 3238 w 3413"/>
                <a:gd name="T17" fmla="*/ 145 h 1489"/>
                <a:gd name="T18" fmla="*/ 3355 w 3413"/>
                <a:gd name="T19" fmla="*/ 174 h 1489"/>
                <a:gd name="T20" fmla="*/ 3355 w 3413"/>
                <a:gd name="T21" fmla="*/ 117 h 1489"/>
                <a:gd name="T22" fmla="*/ 3296 w 3413"/>
                <a:gd name="T23" fmla="*/ 58 h 1489"/>
                <a:gd name="T24" fmla="*/ 1255 w 3413"/>
                <a:gd name="T25" fmla="*/ 350 h 1489"/>
                <a:gd name="T26" fmla="*/ 1079 w 3413"/>
                <a:gd name="T27" fmla="*/ 408 h 1489"/>
                <a:gd name="T28" fmla="*/ 934 w 3413"/>
                <a:gd name="T29" fmla="*/ 554 h 1489"/>
                <a:gd name="T30" fmla="*/ 700 w 3413"/>
                <a:gd name="T31" fmla="*/ 788 h 1489"/>
                <a:gd name="T32" fmla="*/ 496 w 3413"/>
                <a:gd name="T33" fmla="*/ 933 h 1489"/>
                <a:gd name="T34" fmla="*/ 176 w 3413"/>
                <a:gd name="T35" fmla="*/ 1108 h 1489"/>
                <a:gd name="T36" fmla="*/ 88 w 3413"/>
                <a:gd name="T37" fmla="*/ 1195 h 1489"/>
                <a:gd name="T38" fmla="*/ 176 w 3413"/>
                <a:gd name="T39" fmla="*/ 1224 h 1489"/>
                <a:gd name="T40" fmla="*/ 555 w 3413"/>
                <a:gd name="T41" fmla="*/ 1195 h 1489"/>
                <a:gd name="T42" fmla="*/ 992 w 3413"/>
                <a:gd name="T43" fmla="*/ 1050 h 1489"/>
                <a:gd name="T44" fmla="*/ 1342 w 3413"/>
                <a:gd name="T45" fmla="*/ 1021 h 1489"/>
                <a:gd name="T46" fmla="*/ 1517 w 3413"/>
                <a:gd name="T47" fmla="*/ 1108 h 1489"/>
                <a:gd name="T48" fmla="*/ 1779 w 3413"/>
                <a:gd name="T49" fmla="*/ 1108 h 1489"/>
                <a:gd name="T50" fmla="*/ 1984 w 3413"/>
                <a:gd name="T51" fmla="*/ 1079 h 1489"/>
                <a:gd name="T52" fmla="*/ 2509 w 3413"/>
                <a:gd name="T53" fmla="*/ 1458 h 1489"/>
                <a:gd name="T54" fmla="*/ 2596 w 3413"/>
                <a:gd name="T55" fmla="*/ 1429 h 1489"/>
                <a:gd name="T56" fmla="*/ 2713 w 3413"/>
                <a:gd name="T57" fmla="*/ 1429 h 1489"/>
                <a:gd name="T58" fmla="*/ 2567 w 3413"/>
                <a:gd name="T59" fmla="*/ 1195 h 1489"/>
                <a:gd name="T60" fmla="*/ 2713 w 3413"/>
                <a:gd name="T61" fmla="*/ 1283 h 1489"/>
                <a:gd name="T62" fmla="*/ 2800 w 3413"/>
                <a:gd name="T63" fmla="*/ 1400 h 1489"/>
                <a:gd name="T64" fmla="*/ 2859 w 3413"/>
                <a:gd name="T65" fmla="*/ 1224 h 1489"/>
                <a:gd name="T66" fmla="*/ 2859 w 3413"/>
                <a:gd name="T67" fmla="*/ 1166 h 1489"/>
                <a:gd name="T68" fmla="*/ 2888 w 3413"/>
                <a:gd name="T69" fmla="*/ 1138 h 1489"/>
                <a:gd name="T70" fmla="*/ 3005 w 3413"/>
                <a:gd name="T71" fmla="*/ 962 h 1489"/>
                <a:gd name="T72" fmla="*/ 3092 w 3413"/>
                <a:gd name="T73" fmla="*/ 933 h 1489"/>
                <a:gd name="T74" fmla="*/ 3267 w 3413"/>
                <a:gd name="T75" fmla="*/ 874 h 1489"/>
                <a:gd name="T76" fmla="*/ 3355 w 3413"/>
                <a:gd name="T77" fmla="*/ 758 h 1489"/>
                <a:gd name="T78" fmla="*/ 3179 w 3413"/>
                <a:gd name="T79" fmla="*/ 845 h 1489"/>
                <a:gd name="T80" fmla="*/ 3034 w 3413"/>
                <a:gd name="T81" fmla="*/ 729 h 1489"/>
                <a:gd name="T82" fmla="*/ 3121 w 3413"/>
                <a:gd name="T83" fmla="*/ 583 h 1489"/>
                <a:gd name="T84" fmla="*/ 3179 w 3413"/>
                <a:gd name="T85" fmla="*/ 524 h 1489"/>
                <a:gd name="T86" fmla="*/ 3326 w 3413"/>
                <a:gd name="T87" fmla="*/ 612 h 1489"/>
                <a:gd name="T88" fmla="*/ 3355 w 3413"/>
                <a:gd name="T89" fmla="*/ 583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13" h="1489">
                  <a:moveTo>
                    <a:pt x="3412" y="524"/>
                  </a:moveTo>
                  <a:lnTo>
                    <a:pt x="3412" y="524"/>
                  </a:lnTo>
                  <a:cubicBezTo>
                    <a:pt x="3412" y="524"/>
                    <a:pt x="3412" y="524"/>
                    <a:pt x="3384" y="524"/>
                  </a:cubicBezTo>
                  <a:cubicBezTo>
                    <a:pt x="3384" y="524"/>
                    <a:pt x="3355" y="524"/>
                    <a:pt x="3326" y="524"/>
                  </a:cubicBezTo>
                  <a:cubicBezTo>
                    <a:pt x="3326" y="524"/>
                    <a:pt x="3296" y="524"/>
                    <a:pt x="3267" y="495"/>
                  </a:cubicBezTo>
                  <a:lnTo>
                    <a:pt x="3267" y="495"/>
                  </a:lnTo>
                  <a:cubicBezTo>
                    <a:pt x="3267" y="466"/>
                    <a:pt x="3267" y="466"/>
                    <a:pt x="3267" y="466"/>
                  </a:cubicBezTo>
                  <a:cubicBezTo>
                    <a:pt x="3296" y="438"/>
                    <a:pt x="3326" y="438"/>
                    <a:pt x="3355" y="438"/>
                  </a:cubicBezTo>
                  <a:lnTo>
                    <a:pt x="3384" y="438"/>
                  </a:lnTo>
                  <a:cubicBezTo>
                    <a:pt x="3384" y="438"/>
                    <a:pt x="3384" y="438"/>
                    <a:pt x="3355" y="408"/>
                  </a:cubicBezTo>
                  <a:cubicBezTo>
                    <a:pt x="3355" y="408"/>
                    <a:pt x="3355" y="379"/>
                    <a:pt x="3355" y="350"/>
                  </a:cubicBezTo>
                  <a:cubicBezTo>
                    <a:pt x="3355" y="350"/>
                    <a:pt x="3355" y="350"/>
                    <a:pt x="3355" y="321"/>
                  </a:cubicBezTo>
                  <a:lnTo>
                    <a:pt x="3355" y="321"/>
                  </a:lnTo>
                  <a:cubicBezTo>
                    <a:pt x="3384" y="291"/>
                    <a:pt x="3355" y="291"/>
                    <a:pt x="3355" y="291"/>
                  </a:cubicBezTo>
                  <a:lnTo>
                    <a:pt x="3355" y="291"/>
                  </a:lnTo>
                  <a:cubicBezTo>
                    <a:pt x="3355" y="321"/>
                    <a:pt x="3326" y="350"/>
                    <a:pt x="3296" y="350"/>
                  </a:cubicBezTo>
                  <a:lnTo>
                    <a:pt x="3296" y="350"/>
                  </a:lnTo>
                  <a:lnTo>
                    <a:pt x="3296" y="350"/>
                  </a:lnTo>
                  <a:cubicBezTo>
                    <a:pt x="3238" y="321"/>
                    <a:pt x="3209" y="350"/>
                    <a:pt x="3150" y="379"/>
                  </a:cubicBezTo>
                  <a:lnTo>
                    <a:pt x="3121" y="408"/>
                  </a:lnTo>
                  <a:cubicBezTo>
                    <a:pt x="3092" y="408"/>
                    <a:pt x="3092" y="408"/>
                    <a:pt x="3092" y="408"/>
                  </a:cubicBezTo>
                  <a:lnTo>
                    <a:pt x="3092" y="408"/>
                  </a:lnTo>
                  <a:cubicBezTo>
                    <a:pt x="3062" y="379"/>
                    <a:pt x="3062" y="321"/>
                    <a:pt x="3062" y="291"/>
                  </a:cubicBezTo>
                  <a:cubicBezTo>
                    <a:pt x="3092" y="262"/>
                    <a:pt x="3121" y="262"/>
                    <a:pt x="3150" y="262"/>
                  </a:cubicBezTo>
                  <a:cubicBezTo>
                    <a:pt x="3179" y="233"/>
                    <a:pt x="3209" y="233"/>
                    <a:pt x="3209" y="233"/>
                  </a:cubicBezTo>
                  <a:cubicBezTo>
                    <a:pt x="3179" y="233"/>
                    <a:pt x="3179" y="204"/>
                    <a:pt x="3179" y="174"/>
                  </a:cubicBezTo>
                  <a:cubicBezTo>
                    <a:pt x="3179" y="174"/>
                    <a:pt x="3209" y="145"/>
                    <a:pt x="3238" y="145"/>
                  </a:cubicBezTo>
                  <a:lnTo>
                    <a:pt x="3238" y="145"/>
                  </a:lnTo>
                  <a:cubicBezTo>
                    <a:pt x="3267" y="145"/>
                    <a:pt x="3296" y="145"/>
                    <a:pt x="3326" y="174"/>
                  </a:cubicBezTo>
                  <a:lnTo>
                    <a:pt x="3355" y="174"/>
                  </a:lnTo>
                  <a:lnTo>
                    <a:pt x="3384" y="174"/>
                  </a:lnTo>
                  <a:cubicBezTo>
                    <a:pt x="3384" y="145"/>
                    <a:pt x="3384" y="145"/>
                    <a:pt x="3384" y="117"/>
                  </a:cubicBezTo>
                  <a:cubicBezTo>
                    <a:pt x="3355" y="117"/>
                    <a:pt x="3355" y="117"/>
                    <a:pt x="3355" y="117"/>
                  </a:cubicBezTo>
                  <a:cubicBezTo>
                    <a:pt x="3326" y="117"/>
                    <a:pt x="3326" y="88"/>
                    <a:pt x="3296" y="88"/>
                  </a:cubicBezTo>
                  <a:lnTo>
                    <a:pt x="3296" y="88"/>
                  </a:lnTo>
                  <a:cubicBezTo>
                    <a:pt x="3296" y="58"/>
                    <a:pt x="3296" y="58"/>
                    <a:pt x="3296" y="58"/>
                  </a:cubicBezTo>
                  <a:cubicBezTo>
                    <a:pt x="3326" y="58"/>
                    <a:pt x="3326" y="58"/>
                    <a:pt x="3326" y="29"/>
                  </a:cubicBezTo>
                  <a:cubicBezTo>
                    <a:pt x="3326" y="29"/>
                    <a:pt x="3326" y="29"/>
                    <a:pt x="3326" y="0"/>
                  </a:cubicBezTo>
                  <a:cubicBezTo>
                    <a:pt x="2655" y="117"/>
                    <a:pt x="1926" y="233"/>
                    <a:pt x="1255" y="350"/>
                  </a:cubicBezTo>
                  <a:cubicBezTo>
                    <a:pt x="1255" y="350"/>
                    <a:pt x="1226" y="350"/>
                    <a:pt x="1196" y="350"/>
                  </a:cubicBezTo>
                  <a:cubicBezTo>
                    <a:pt x="1167" y="350"/>
                    <a:pt x="1138" y="350"/>
                    <a:pt x="1109" y="350"/>
                  </a:cubicBezTo>
                  <a:cubicBezTo>
                    <a:pt x="1109" y="379"/>
                    <a:pt x="1079" y="379"/>
                    <a:pt x="1079" y="408"/>
                  </a:cubicBezTo>
                  <a:cubicBezTo>
                    <a:pt x="1079" y="438"/>
                    <a:pt x="1050" y="466"/>
                    <a:pt x="1050" y="466"/>
                  </a:cubicBezTo>
                  <a:cubicBezTo>
                    <a:pt x="1021" y="524"/>
                    <a:pt x="992" y="524"/>
                    <a:pt x="963" y="554"/>
                  </a:cubicBezTo>
                  <a:cubicBezTo>
                    <a:pt x="934" y="554"/>
                    <a:pt x="934" y="554"/>
                    <a:pt x="934" y="554"/>
                  </a:cubicBezTo>
                  <a:cubicBezTo>
                    <a:pt x="905" y="641"/>
                    <a:pt x="846" y="670"/>
                    <a:pt x="788" y="700"/>
                  </a:cubicBezTo>
                  <a:cubicBezTo>
                    <a:pt x="759" y="729"/>
                    <a:pt x="729" y="729"/>
                    <a:pt x="700" y="788"/>
                  </a:cubicBezTo>
                  <a:lnTo>
                    <a:pt x="700" y="788"/>
                  </a:lnTo>
                  <a:cubicBezTo>
                    <a:pt x="671" y="788"/>
                    <a:pt x="671" y="788"/>
                    <a:pt x="671" y="788"/>
                  </a:cubicBezTo>
                  <a:cubicBezTo>
                    <a:pt x="613" y="816"/>
                    <a:pt x="584" y="845"/>
                    <a:pt x="555" y="874"/>
                  </a:cubicBezTo>
                  <a:cubicBezTo>
                    <a:pt x="526" y="904"/>
                    <a:pt x="526" y="904"/>
                    <a:pt x="496" y="933"/>
                  </a:cubicBezTo>
                  <a:cubicBezTo>
                    <a:pt x="409" y="1021"/>
                    <a:pt x="350" y="1079"/>
                    <a:pt x="263" y="1079"/>
                  </a:cubicBezTo>
                  <a:lnTo>
                    <a:pt x="234" y="1108"/>
                  </a:lnTo>
                  <a:cubicBezTo>
                    <a:pt x="205" y="1108"/>
                    <a:pt x="176" y="1108"/>
                    <a:pt x="176" y="1108"/>
                  </a:cubicBezTo>
                  <a:lnTo>
                    <a:pt x="146" y="1138"/>
                  </a:lnTo>
                  <a:lnTo>
                    <a:pt x="117" y="1166"/>
                  </a:lnTo>
                  <a:cubicBezTo>
                    <a:pt x="88" y="1166"/>
                    <a:pt x="88" y="1166"/>
                    <a:pt x="88" y="1195"/>
                  </a:cubicBezTo>
                  <a:cubicBezTo>
                    <a:pt x="29" y="1195"/>
                    <a:pt x="0" y="1224"/>
                    <a:pt x="0" y="1254"/>
                  </a:cubicBezTo>
                  <a:lnTo>
                    <a:pt x="0" y="1254"/>
                  </a:lnTo>
                  <a:cubicBezTo>
                    <a:pt x="59" y="1254"/>
                    <a:pt x="117" y="1254"/>
                    <a:pt x="176" y="1224"/>
                  </a:cubicBezTo>
                  <a:cubicBezTo>
                    <a:pt x="205" y="1224"/>
                    <a:pt x="234" y="1224"/>
                    <a:pt x="263" y="1224"/>
                  </a:cubicBezTo>
                  <a:cubicBezTo>
                    <a:pt x="293" y="1224"/>
                    <a:pt x="321" y="1224"/>
                    <a:pt x="379" y="1224"/>
                  </a:cubicBezTo>
                  <a:cubicBezTo>
                    <a:pt x="438" y="1195"/>
                    <a:pt x="526" y="1195"/>
                    <a:pt x="555" y="1195"/>
                  </a:cubicBezTo>
                  <a:cubicBezTo>
                    <a:pt x="613" y="1166"/>
                    <a:pt x="643" y="1138"/>
                    <a:pt x="700" y="1138"/>
                  </a:cubicBezTo>
                  <a:cubicBezTo>
                    <a:pt x="729" y="1108"/>
                    <a:pt x="788" y="1079"/>
                    <a:pt x="817" y="1050"/>
                  </a:cubicBezTo>
                  <a:cubicBezTo>
                    <a:pt x="876" y="1050"/>
                    <a:pt x="934" y="1050"/>
                    <a:pt x="992" y="1050"/>
                  </a:cubicBezTo>
                  <a:cubicBezTo>
                    <a:pt x="1021" y="1050"/>
                    <a:pt x="1050" y="1050"/>
                    <a:pt x="1079" y="1050"/>
                  </a:cubicBezTo>
                  <a:cubicBezTo>
                    <a:pt x="1109" y="1021"/>
                    <a:pt x="1138" y="1021"/>
                    <a:pt x="1167" y="1021"/>
                  </a:cubicBezTo>
                  <a:cubicBezTo>
                    <a:pt x="1226" y="1021"/>
                    <a:pt x="1313" y="991"/>
                    <a:pt x="1342" y="1021"/>
                  </a:cubicBezTo>
                  <a:cubicBezTo>
                    <a:pt x="1371" y="1021"/>
                    <a:pt x="1400" y="1050"/>
                    <a:pt x="1459" y="1050"/>
                  </a:cubicBezTo>
                  <a:cubicBezTo>
                    <a:pt x="1459" y="1050"/>
                    <a:pt x="1459" y="1079"/>
                    <a:pt x="1488" y="1079"/>
                  </a:cubicBezTo>
                  <a:lnTo>
                    <a:pt x="1517" y="1108"/>
                  </a:lnTo>
                  <a:cubicBezTo>
                    <a:pt x="1546" y="1108"/>
                    <a:pt x="1576" y="1138"/>
                    <a:pt x="1605" y="1138"/>
                  </a:cubicBezTo>
                  <a:cubicBezTo>
                    <a:pt x="1634" y="1138"/>
                    <a:pt x="1663" y="1138"/>
                    <a:pt x="1721" y="1138"/>
                  </a:cubicBezTo>
                  <a:cubicBezTo>
                    <a:pt x="1721" y="1108"/>
                    <a:pt x="1750" y="1108"/>
                    <a:pt x="1779" y="1108"/>
                  </a:cubicBezTo>
                  <a:lnTo>
                    <a:pt x="1779" y="1108"/>
                  </a:lnTo>
                  <a:cubicBezTo>
                    <a:pt x="1867" y="1108"/>
                    <a:pt x="1926" y="1079"/>
                    <a:pt x="1984" y="1079"/>
                  </a:cubicBezTo>
                  <a:lnTo>
                    <a:pt x="1984" y="1079"/>
                  </a:lnTo>
                  <a:lnTo>
                    <a:pt x="1984" y="1079"/>
                  </a:lnTo>
                  <a:cubicBezTo>
                    <a:pt x="2071" y="1138"/>
                    <a:pt x="2159" y="1195"/>
                    <a:pt x="2246" y="1283"/>
                  </a:cubicBezTo>
                  <a:cubicBezTo>
                    <a:pt x="2334" y="1341"/>
                    <a:pt x="2421" y="1400"/>
                    <a:pt x="2509" y="1458"/>
                  </a:cubicBezTo>
                  <a:cubicBezTo>
                    <a:pt x="2538" y="1488"/>
                    <a:pt x="2567" y="1488"/>
                    <a:pt x="2567" y="1488"/>
                  </a:cubicBezTo>
                  <a:cubicBezTo>
                    <a:pt x="2567" y="1488"/>
                    <a:pt x="2596" y="1488"/>
                    <a:pt x="2596" y="1458"/>
                  </a:cubicBezTo>
                  <a:cubicBezTo>
                    <a:pt x="2596" y="1429"/>
                    <a:pt x="2596" y="1429"/>
                    <a:pt x="2596" y="1429"/>
                  </a:cubicBezTo>
                  <a:lnTo>
                    <a:pt x="2596" y="1429"/>
                  </a:lnTo>
                  <a:cubicBezTo>
                    <a:pt x="2626" y="1400"/>
                    <a:pt x="2655" y="1429"/>
                    <a:pt x="2713" y="1429"/>
                  </a:cubicBezTo>
                  <a:lnTo>
                    <a:pt x="2713" y="1429"/>
                  </a:lnTo>
                  <a:cubicBezTo>
                    <a:pt x="2684" y="1400"/>
                    <a:pt x="2684" y="1371"/>
                    <a:pt x="2684" y="1371"/>
                  </a:cubicBezTo>
                  <a:cubicBezTo>
                    <a:pt x="2655" y="1312"/>
                    <a:pt x="2626" y="1254"/>
                    <a:pt x="2596" y="1224"/>
                  </a:cubicBezTo>
                  <a:cubicBezTo>
                    <a:pt x="2567" y="1195"/>
                    <a:pt x="2567" y="1195"/>
                    <a:pt x="2567" y="1195"/>
                  </a:cubicBezTo>
                  <a:cubicBezTo>
                    <a:pt x="2596" y="1195"/>
                    <a:pt x="2596" y="1195"/>
                    <a:pt x="2596" y="1195"/>
                  </a:cubicBezTo>
                  <a:cubicBezTo>
                    <a:pt x="2626" y="1195"/>
                    <a:pt x="2626" y="1195"/>
                    <a:pt x="2626" y="1195"/>
                  </a:cubicBezTo>
                  <a:cubicBezTo>
                    <a:pt x="2684" y="1195"/>
                    <a:pt x="2713" y="1224"/>
                    <a:pt x="2713" y="1283"/>
                  </a:cubicBezTo>
                  <a:cubicBezTo>
                    <a:pt x="2713" y="1283"/>
                    <a:pt x="2713" y="1283"/>
                    <a:pt x="2713" y="1312"/>
                  </a:cubicBezTo>
                  <a:cubicBezTo>
                    <a:pt x="2742" y="1341"/>
                    <a:pt x="2771" y="1371"/>
                    <a:pt x="2800" y="1400"/>
                  </a:cubicBezTo>
                  <a:lnTo>
                    <a:pt x="2800" y="1400"/>
                  </a:lnTo>
                  <a:cubicBezTo>
                    <a:pt x="2800" y="1371"/>
                    <a:pt x="2800" y="1341"/>
                    <a:pt x="2800" y="1312"/>
                  </a:cubicBezTo>
                  <a:cubicBezTo>
                    <a:pt x="2800" y="1283"/>
                    <a:pt x="2829" y="1283"/>
                    <a:pt x="2829" y="1254"/>
                  </a:cubicBezTo>
                  <a:cubicBezTo>
                    <a:pt x="2859" y="1254"/>
                    <a:pt x="2859" y="1254"/>
                    <a:pt x="2859" y="1224"/>
                  </a:cubicBezTo>
                  <a:lnTo>
                    <a:pt x="2859" y="1224"/>
                  </a:lnTo>
                  <a:cubicBezTo>
                    <a:pt x="2859" y="1195"/>
                    <a:pt x="2859" y="1195"/>
                    <a:pt x="2859" y="1166"/>
                  </a:cubicBezTo>
                  <a:lnTo>
                    <a:pt x="2859" y="1166"/>
                  </a:lnTo>
                  <a:lnTo>
                    <a:pt x="2859" y="1166"/>
                  </a:lnTo>
                  <a:cubicBezTo>
                    <a:pt x="2888" y="1166"/>
                    <a:pt x="2888" y="1166"/>
                    <a:pt x="2888" y="1138"/>
                  </a:cubicBezTo>
                  <a:lnTo>
                    <a:pt x="2888" y="1138"/>
                  </a:lnTo>
                  <a:lnTo>
                    <a:pt x="2888" y="1138"/>
                  </a:lnTo>
                  <a:cubicBezTo>
                    <a:pt x="2859" y="1108"/>
                    <a:pt x="2859" y="1108"/>
                    <a:pt x="2859" y="1079"/>
                  </a:cubicBezTo>
                  <a:cubicBezTo>
                    <a:pt x="2888" y="1021"/>
                    <a:pt x="2946" y="962"/>
                    <a:pt x="3005" y="962"/>
                  </a:cubicBezTo>
                  <a:cubicBezTo>
                    <a:pt x="3034" y="933"/>
                    <a:pt x="3034" y="933"/>
                    <a:pt x="3062" y="933"/>
                  </a:cubicBezTo>
                  <a:cubicBezTo>
                    <a:pt x="3092" y="933"/>
                    <a:pt x="3092" y="933"/>
                    <a:pt x="3092" y="933"/>
                  </a:cubicBezTo>
                  <a:lnTo>
                    <a:pt x="3092" y="933"/>
                  </a:lnTo>
                  <a:cubicBezTo>
                    <a:pt x="3121" y="933"/>
                    <a:pt x="3121" y="933"/>
                    <a:pt x="3150" y="904"/>
                  </a:cubicBezTo>
                  <a:cubicBezTo>
                    <a:pt x="3150" y="904"/>
                    <a:pt x="3179" y="874"/>
                    <a:pt x="3209" y="874"/>
                  </a:cubicBezTo>
                  <a:cubicBezTo>
                    <a:pt x="3238" y="874"/>
                    <a:pt x="3238" y="874"/>
                    <a:pt x="3267" y="874"/>
                  </a:cubicBezTo>
                  <a:cubicBezTo>
                    <a:pt x="3267" y="874"/>
                    <a:pt x="3296" y="904"/>
                    <a:pt x="3296" y="874"/>
                  </a:cubicBezTo>
                  <a:cubicBezTo>
                    <a:pt x="3355" y="874"/>
                    <a:pt x="3384" y="816"/>
                    <a:pt x="3384" y="758"/>
                  </a:cubicBezTo>
                  <a:lnTo>
                    <a:pt x="3355" y="758"/>
                  </a:lnTo>
                  <a:cubicBezTo>
                    <a:pt x="3355" y="758"/>
                    <a:pt x="3326" y="758"/>
                    <a:pt x="3326" y="788"/>
                  </a:cubicBezTo>
                  <a:cubicBezTo>
                    <a:pt x="3296" y="816"/>
                    <a:pt x="3267" y="816"/>
                    <a:pt x="3267" y="845"/>
                  </a:cubicBezTo>
                  <a:cubicBezTo>
                    <a:pt x="3238" y="845"/>
                    <a:pt x="3209" y="845"/>
                    <a:pt x="3179" y="845"/>
                  </a:cubicBezTo>
                  <a:cubicBezTo>
                    <a:pt x="3121" y="845"/>
                    <a:pt x="3034" y="816"/>
                    <a:pt x="3034" y="758"/>
                  </a:cubicBezTo>
                  <a:cubicBezTo>
                    <a:pt x="3034" y="729"/>
                    <a:pt x="3034" y="729"/>
                    <a:pt x="3034" y="729"/>
                  </a:cubicBezTo>
                  <a:lnTo>
                    <a:pt x="3034" y="729"/>
                  </a:lnTo>
                  <a:cubicBezTo>
                    <a:pt x="3034" y="700"/>
                    <a:pt x="3005" y="670"/>
                    <a:pt x="3034" y="641"/>
                  </a:cubicBezTo>
                  <a:cubicBezTo>
                    <a:pt x="3034" y="612"/>
                    <a:pt x="3062" y="583"/>
                    <a:pt x="3121" y="583"/>
                  </a:cubicBezTo>
                  <a:lnTo>
                    <a:pt x="3121" y="583"/>
                  </a:lnTo>
                  <a:lnTo>
                    <a:pt x="3150" y="583"/>
                  </a:lnTo>
                  <a:cubicBezTo>
                    <a:pt x="3150" y="583"/>
                    <a:pt x="3150" y="554"/>
                    <a:pt x="3179" y="524"/>
                  </a:cubicBezTo>
                  <a:lnTo>
                    <a:pt x="3179" y="524"/>
                  </a:lnTo>
                  <a:lnTo>
                    <a:pt x="3179" y="524"/>
                  </a:lnTo>
                  <a:cubicBezTo>
                    <a:pt x="3238" y="524"/>
                    <a:pt x="3267" y="554"/>
                    <a:pt x="3267" y="583"/>
                  </a:cubicBezTo>
                  <a:cubicBezTo>
                    <a:pt x="3296" y="612"/>
                    <a:pt x="3296" y="641"/>
                    <a:pt x="3326" y="612"/>
                  </a:cubicBezTo>
                  <a:lnTo>
                    <a:pt x="3326" y="612"/>
                  </a:lnTo>
                  <a:lnTo>
                    <a:pt x="3326" y="583"/>
                  </a:lnTo>
                  <a:cubicBezTo>
                    <a:pt x="3355" y="583"/>
                    <a:pt x="3355" y="583"/>
                    <a:pt x="3355" y="583"/>
                  </a:cubicBezTo>
                  <a:lnTo>
                    <a:pt x="3355" y="583"/>
                  </a:lnTo>
                  <a:cubicBezTo>
                    <a:pt x="3384" y="554"/>
                    <a:pt x="3412" y="554"/>
                    <a:pt x="3412" y="52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9" name="Freeform 276">
              <a:extLst>
                <a:ext uri="{FF2B5EF4-FFF2-40B4-BE49-F238E27FC236}">
                  <a16:creationId xmlns:a16="http://schemas.microsoft.com/office/drawing/2014/main" id="{A2E35982-3865-42CA-8C2B-0E43F00402B0}"/>
                </a:ext>
              </a:extLst>
            </p:cNvPr>
            <p:cNvSpPr>
              <a:spLocks noChangeArrowheads="1"/>
            </p:cNvSpPr>
            <p:nvPr/>
          </p:nvSpPr>
          <p:spPr bwMode="auto">
            <a:xfrm>
              <a:off x="10682103" y="3778837"/>
              <a:ext cx="11415" cy="11328"/>
            </a:xfrm>
            <a:custGeom>
              <a:avLst/>
              <a:gdLst>
                <a:gd name="T0" fmla="*/ 0 w 31"/>
                <a:gd name="T1" fmla="*/ 29 h 30"/>
                <a:gd name="T2" fmla="*/ 0 w 31"/>
                <a:gd name="T3" fmla="*/ 29 h 30"/>
                <a:gd name="T4" fmla="*/ 0 w 31"/>
                <a:gd name="T5" fmla="*/ 29 h 30"/>
                <a:gd name="T6" fmla="*/ 30 w 31"/>
                <a:gd name="T7" fmla="*/ 0 h 30"/>
                <a:gd name="T8" fmla="*/ 0 w 31"/>
                <a:gd name="T9" fmla="*/ 29 h 30"/>
              </a:gdLst>
              <a:ahLst/>
              <a:cxnLst>
                <a:cxn ang="0">
                  <a:pos x="T0" y="T1"/>
                </a:cxn>
                <a:cxn ang="0">
                  <a:pos x="T2" y="T3"/>
                </a:cxn>
                <a:cxn ang="0">
                  <a:pos x="T4" y="T5"/>
                </a:cxn>
                <a:cxn ang="0">
                  <a:pos x="T6" y="T7"/>
                </a:cxn>
                <a:cxn ang="0">
                  <a:pos x="T8" y="T9"/>
                </a:cxn>
              </a:cxnLst>
              <a:rect l="0" t="0" r="r" b="b"/>
              <a:pathLst>
                <a:path w="31" h="30">
                  <a:moveTo>
                    <a:pt x="0" y="29"/>
                  </a:moveTo>
                  <a:lnTo>
                    <a:pt x="0" y="29"/>
                  </a:lnTo>
                  <a:lnTo>
                    <a:pt x="0" y="29"/>
                  </a:lnTo>
                  <a:cubicBezTo>
                    <a:pt x="0" y="29"/>
                    <a:pt x="0" y="0"/>
                    <a:pt x="30" y="0"/>
                  </a:cubicBezTo>
                  <a:cubicBezTo>
                    <a:pt x="0" y="0"/>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0" name="Freeform 277">
              <a:extLst>
                <a:ext uri="{FF2B5EF4-FFF2-40B4-BE49-F238E27FC236}">
                  <a16:creationId xmlns:a16="http://schemas.microsoft.com/office/drawing/2014/main" id="{EE51F5D7-1E19-4AA2-BE57-0AF1E4CD414A}"/>
                </a:ext>
              </a:extLst>
            </p:cNvPr>
            <p:cNvSpPr>
              <a:spLocks noChangeArrowheads="1"/>
            </p:cNvSpPr>
            <p:nvPr/>
          </p:nvSpPr>
          <p:spPr bwMode="auto">
            <a:xfrm>
              <a:off x="10541851" y="3906684"/>
              <a:ext cx="1630"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1" name="Freeform 278">
              <a:extLst>
                <a:ext uri="{FF2B5EF4-FFF2-40B4-BE49-F238E27FC236}">
                  <a16:creationId xmlns:a16="http://schemas.microsoft.com/office/drawing/2014/main" id="{DC01F2F7-19BF-4119-8985-DC36825ACE1B}"/>
                </a:ext>
              </a:extLst>
            </p:cNvPr>
            <p:cNvSpPr>
              <a:spLocks noChangeArrowheads="1"/>
            </p:cNvSpPr>
            <p:nvPr/>
          </p:nvSpPr>
          <p:spPr bwMode="auto">
            <a:xfrm>
              <a:off x="10541851" y="391801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2" name="Freeform 279">
              <a:extLst>
                <a:ext uri="{FF2B5EF4-FFF2-40B4-BE49-F238E27FC236}">
                  <a16:creationId xmlns:a16="http://schemas.microsoft.com/office/drawing/2014/main" id="{29CA536B-E541-4761-9EF9-09DB5675B1F4}"/>
                </a:ext>
              </a:extLst>
            </p:cNvPr>
            <p:cNvSpPr>
              <a:spLocks noChangeArrowheads="1"/>
            </p:cNvSpPr>
            <p:nvPr/>
          </p:nvSpPr>
          <p:spPr bwMode="auto">
            <a:xfrm>
              <a:off x="10639701" y="3767509"/>
              <a:ext cx="11415" cy="1619"/>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3" name="Freeform 280">
              <a:extLst>
                <a:ext uri="{FF2B5EF4-FFF2-40B4-BE49-F238E27FC236}">
                  <a16:creationId xmlns:a16="http://schemas.microsoft.com/office/drawing/2014/main" id="{6193EA3B-7CDC-4751-A7DD-508469F1619A}"/>
                </a:ext>
              </a:extLst>
            </p:cNvPr>
            <p:cNvSpPr>
              <a:spLocks noChangeArrowheads="1"/>
            </p:cNvSpPr>
            <p:nvPr/>
          </p:nvSpPr>
          <p:spPr bwMode="auto">
            <a:xfrm>
              <a:off x="10607085" y="3778837"/>
              <a:ext cx="65234" cy="22656"/>
            </a:xfrm>
            <a:custGeom>
              <a:avLst/>
              <a:gdLst>
                <a:gd name="T0" fmla="*/ 175 w 176"/>
                <a:gd name="T1" fmla="*/ 0 h 60"/>
                <a:gd name="T2" fmla="*/ 175 w 176"/>
                <a:gd name="T3" fmla="*/ 0 h 60"/>
                <a:gd name="T4" fmla="*/ 146 w 176"/>
                <a:gd name="T5" fmla="*/ 29 h 60"/>
                <a:gd name="T6" fmla="*/ 0 w 176"/>
                <a:gd name="T7" fmla="*/ 0 h 60"/>
                <a:gd name="T8" fmla="*/ 0 w 176"/>
                <a:gd name="T9" fmla="*/ 0 h 60"/>
                <a:gd name="T10" fmla="*/ 58 w 176"/>
                <a:gd name="T11" fmla="*/ 29 h 60"/>
                <a:gd name="T12" fmla="*/ 87 w 176"/>
                <a:gd name="T13" fmla="*/ 59 h 60"/>
                <a:gd name="T14" fmla="*/ 175 w 176"/>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60">
                  <a:moveTo>
                    <a:pt x="175" y="0"/>
                  </a:moveTo>
                  <a:lnTo>
                    <a:pt x="175" y="0"/>
                  </a:lnTo>
                  <a:cubicBezTo>
                    <a:pt x="146" y="0"/>
                    <a:pt x="146" y="29"/>
                    <a:pt x="146" y="29"/>
                  </a:cubicBezTo>
                  <a:cubicBezTo>
                    <a:pt x="87" y="29"/>
                    <a:pt x="58" y="29"/>
                    <a:pt x="0" y="0"/>
                  </a:cubicBezTo>
                  <a:lnTo>
                    <a:pt x="0" y="0"/>
                  </a:lnTo>
                  <a:cubicBezTo>
                    <a:pt x="29" y="0"/>
                    <a:pt x="29" y="29"/>
                    <a:pt x="58" y="29"/>
                  </a:cubicBezTo>
                  <a:lnTo>
                    <a:pt x="87" y="59"/>
                  </a:lnTo>
                  <a:cubicBezTo>
                    <a:pt x="117" y="59"/>
                    <a:pt x="146" y="29"/>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4" name="Freeform 281">
              <a:extLst>
                <a:ext uri="{FF2B5EF4-FFF2-40B4-BE49-F238E27FC236}">
                  <a16:creationId xmlns:a16="http://schemas.microsoft.com/office/drawing/2014/main" id="{72775892-D25E-4662-A720-E1B66620819B}"/>
                </a:ext>
              </a:extLst>
            </p:cNvPr>
            <p:cNvSpPr>
              <a:spLocks noChangeArrowheads="1"/>
            </p:cNvSpPr>
            <p:nvPr/>
          </p:nvSpPr>
          <p:spPr bwMode="auto">
            <a:xfrm>
              <a:off x="10651117" y="3756181"/>
              <a:ext cx="21202" cy="11328"/>
            </a:xfrm>
            <a:custGeom>
              <a:avLst/>
              <a:gdLst>
                <a:gd name="T0" fmla="*/ 58 w 59"/>
                <a:gd name="T1" fmla="*/ 30 h 31"/>
                <a:gd name="T2" fmla="*/ 58 w 59"/>
                <a:gd name="T3" fmla="*/ 30 h 31"/>
                <a:gd name="T4" fmla="*/ 0 w 59"/>
                <a:gd name="T5" fmla="*/ 30 h 31"/>
                <a:gd name="T6" fmla="*/ 58 w 59"/>
                <a:gd name="T7" fmla="*/ 30 h 31"/>
                <a:gd name="T8" fmla="*/ 58 w 59"/>
                <a:gd name="T9" fmla="*/ 0 h 31"/>
                <a:gd name="T10" fmla="*/ 58 w 59"/>
                <a:gd name="T11" fmla="*/ 30 h 31"/>
              </a:gdLst>
              <a:ahLst/>
              <a:cxnLst>
                <a:cxn ang="0">
                  <a:pos x="T0" y="T1"/>
                </a:cxn>
                <a:cxn ang="0">
                  <a:pos x="T2" y="T3"/>
                </a:cxn>
                <a:cxn ang="0">
                  <a:pos x="T4" y="T5"/>
                </a:cxn>
                <a:cxn ang="0">
                  <a:pos x="T6" y="T7"/>
                </a:cxn>
                <a:cxn ang="0">
                  <a:pos x="T8" y="T9"/>
                </a:cxn>
                <a:cxn ang="0">
                  <a:pos x="T10" y="T11"/>
                </a:cxn>
              </a:cxnLst>
              <a:rect l="0" t="0" r="r" b="b"/>
              <a:pathLst>
                <a:path w="59" h="31">
                  <a:moveTo>
                    <a:pt x="58" y="30"/>
                  </a:moveTo>
                  <a:lnTo>
                    <a:pt x="58" y="30"/>
                  </a:lnTo>
                  <a:cubicBezTo>
                    <a:pt x="29" y="30"/>
                    <a:pt x="29" y="30"/>
                    <a:pt x="0" y="30"/>
                  </a:cubicBezTo>
                  <a:cubicBezTo>
                    <a:pt x="29" y="30"/>
                    <a:pt x="29" y="30"/>
                    <a:pt x="58" y="30"/>
                  </a:cubicBezTo>
                  <a:cubicBezTo>
                    <a:pt x="58" y="0"/>
                    <a:pt x="58" y="0"/>
                    <a:pt x="58" y="0"/>
                  </a:cubicBezTo>
                  <a:cubicBezTo>
                    <a:pt x="58" y="0"/>
                    <a:pt x="58" y="0"/>
                    <a:pt x="58"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5" name="Freeform 282">
              <a:extLst>
                <a:ext uri="{FF2B5EF4-FFF2-40B4-BE49-F238E27FC236}">
                  <a16:creationId xmlns:a16="http://schemas.microsoft.com/office/drawing/2014/main" id="{14E1CF9E-39E0-4B0D-8485-1361417F521A}"/>
                </a:ext>
              </a:extLst>
            </p:cNvPr>
            <p:cNvSpPr>
              <a:spLocks noChangeArrowheads="1"/>
            </p:cNvSpPr>
            <p:nvPr/>
          </p:nvSpPr>
          <p:spPr bwMode="auto">
            <a:xfrm>
              <a:off x="10207527" y="5748332"/>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6" name="Freeform 283">
              <a:extLst>
                <a:ext uri="{FF2B5EF4-FFF2-40B4-BE49-F238E27FC236}">
                  <a16:creationId xmlns:a16="http://schemas.microsoft.com/office/drawing/2014/main" id="{B5187591-7041-4157-A019-6B85106D486C}"/>
                </a:ext>
              </a:extLst>
            </p:cNvPr>
            <p:cNvSpPr>
              <a:spLocks noChangeArrowheads="1"/>
            </p:cNvSpPr>
            <p:nvPr/>
          </p:nvSpPr>
          <p:spPr bwMode="auto">
            <a:xfrm>
              <a:off x="10553266" y="3906684"/>
              <a:ext cx="1631" cy="11329"/>
            </a:xfrm>
            <a:custGeom>
              <a:avLst/>
              <a:gdLst>
                <a:gd name="T0" fmla="*/ 0 w 1"/>
                <a:gd name="T1" fmla="*/ 0 h 30"/>
                <a:gd name="T2" fmla="*/ 0 w 1"/>
                <a:gd name="T3" fmla="*/ 0 h 30"/>
                <a:gd name="T4" fmla="*/ 0 w 1"/>
                <a:gd name="T5" fmla="*/ 0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0"/>
                  </a:lnTo>
                  <a:cubicBezTo>
                    <a:pt x="0" y="29"/>
                    <a:pt x="0" y="29"/>
                    <a:pt x="0" y="29"/>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7" name="Freeform 284">
              <a:extLst>
                <a:ext uri="{FF2B5EF4-FFF2-40B4-BE49-F238E27FC236}">
                  <a16:creationId xmlns:a16="http://schemas.microsoft.com/office/drawing/2014/main" id="{E983B2C4-6D1D-4BC9-AAA2-31A79AD5FA93}"/>
                </a:ext>
              </a:extLst>
            </p:cNvPr>
            <p:cNvSpPr>
              <a:spLocks noChangeArrowheads="1"/>
            </p:cNvSpPr>
            <p:nvPr/>
          </p:nvSpPr>
          <p:spPr bwMode="auto">
            <a:xfrm>
              <a:off x="10186326" y="5694928"/>
              <a:ext cx="11415" cy="11328"/>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cubicBezTo>
                    <a:pt x="0" y="29"/>
                    <a:pt x="0" y="0"/>
                    <a:pt x="29" y="0"/>
                  </a:cubicBezTo>
                  <a:cubicBezTo>
                    <a:pt x="0" y="0"/>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8" name="Freeform 285">
              <a:extLst>
                <a:ext uri="{FF2B5EF4-FFF2-40B4-BE49-F238E27FC236}">
                  <a16:creationId xmlns:a16="http://schemas.microsoft.com/office/drawing/2014/main" id="{0F7D69A5-505B-403A-97BC-3DB80ED58D0C}"/>
                </a:ext>
              </a:extLst>
            </p:cNvPr>
            <p:cNvSpPr>
              <a:spLocks noChangeArrowheads="1"/>
            </p:cNvSpPr>
            <p:nvPr/>
          </p:nvSpPr>
          <p:spPr bwMode="auto">
            <a:xfrm>
              <a:off x="10165125" y="5683599"/>
              <a:ext cx="11416" cy="1619"/>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9" name="Freeform 286">
              <a:extLst>
                <a:ext uri="{FF2B5EF4-FFF2-40B4-BE49-F238E27FC236}">
                  <a16:creationId xmlns:a16="http://schemas.microsoft.com/office/drawing/2014/main" id="{0C1FB6A3-B3AE-44B2-A2DB-1D19E7AC501A}"/>
                </a:ext>
              </a:extLst>
            </p:cNvPr>
            <p:cNvSpPr>
              <a:spLocks noChangeArrowheads="1"/>
            </p:cNvSpPr>
            <p:nvPr/>
          </p:nvSpPr>
          <p:spPr bwMode="auto">
            <a:xfrm>
              <a:off x="10197742" y="5694928"/>
              <a:ext cx="11416" cy="11328"/>
            </a:xfrm>
            <a:custGeom>
              <a:avLst/>
              <a:gdLst>
                <a:gd name="T0" fmla="*/ 29 w 30"/>
                <a:gd name="T1" fmla="*/ 29 h 30"/>
                <a:gd name="T2" fmla="*/ 29 w 30"/>
                <a:gd name="T3" fmla="*/ 29 h 30"/>
                <a:gd name="T4" fmla="*/ 0 w 30"/>
                <a:gd name="T5" fmla="*/ 29 h 30"/>
                <a:gd name="T6" fmla="*/ 0 w 30"/>
                <a:gd name="T7" fmla="*/ 0 h 30"/>
                <a:gd name="T8" fmla="*/ 0 w 30"/>
                <a:gd name="T9" fmla="*/ 29 h 30"/>
                <a:gd name="T10" fmla="*/ 29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29" y="29"/>
                  </a:moveTo>
                  <a:lnTo>
                    <a:pt x="29" y="29"/>
                  </a:lnTo>
                  <a:cubicBezTo>
                    <a:pt x="29" y="29"/>
                    <a:pt x="29" y="29"/>
                    <a:pt x="0" y="29"/>
                  </a:cubicBezTo>
                  <a:cubicBezTo>
                    <a:pt x="0" y="0"/>
                    <a:pt x="0" y="0"/>
                    <a:pt x="0" y="0"/>
                  </a:cubicBezTo>
                  <a:cubicBezTo>
                    <a:pt x="0" y="0"/>
                    <a:pt x="0" y="0"/>
                    <a:pt x="0" y="29"/>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0" name="Freeform 287">
              <a:extLst>
                <a:ext uri="{FF2B5EF4-FFF2-40B4-BE49-F238E27FC236}">
                  <a16:creationId xmlns:a16="http://schemas.microsoft.com/office/drawing/2014/main" id="{18F23327-77CB-4227-A549-FE0F9F841D92}"/>
                </a:ext>
              </a:extLst>
            </p:cNvPr>
            <p:cNvSpPr>
              <a:spLocks noChangeArrowheads="1"/>
            </p:cNvSpPr>
            <p:nvPr/>
          </p:nvSpPr>
          <p:spPr bwMode="auto">
            <a:xfrm>
              <a:off x="9043103" y="4730409"/>
              <a:ext cx="1273691" cy="1017923"/>
            </a:xfrm>
            <a:custGeom>
              <a:avLst/>
              <a:gdLst>
                <a:gd name="T0" fmla="*/ 3413 w 3443"/>
                <a:gd name="T1" fmla="*/ 2247 h 2772"/>
                <a:gd name="T2" fmla="*/ 3383 w 3443"/>
                <a:gd name="T3" fmla="*/ 2042 h 2772"/>
                <a:gd name="T4" fmla="*/ 3383 w 3443"/>
                <a:gd name="T5" fmla="*/ 1926 h 2772"/>
                <a:gd name="T6" fmla="*/ 3354 w 3443"/>
                <a:gd name="T7" fmla="*/ 1926 h 2772"/>
                <a:gd name="T8" fmla="*/ 3266 w 3443"/>
                <a:gd name="T9" fmla="*/ 1692 h 2772"/>
                <a:gd name="T10" fmla="*/ 3033 w 3443"/>
                <a:gd name="T11" fmla="*/ 1226 h 2772"/>
                <a:gd name="T12" fmla="*/ 2916 w 3443"/>
                <a:gd name="T13" fmla="*/ 934 h 2772"/>
                <a:gd name="T14" fmla="*/ 2858 w 3443"/>
                <a:gd name="T15" fmla="*/ 817 h 2772"/>
                <a:gd name="T16" fmla="*/ 2829 w 3443"/>
                <a:gd name="T17" fmla="*/ 671 h 2772"/>
                <a:gd name="T18" fmla="*/ 2683 w 3443"/>
                <a:gd name="T19" fmla="*/ 350 h 2772"/>
                <a:gd name="T20" fmla="*/ 2625 w 3443"/>
                <a:gd name="T21" fmla="*/ 147 h 2772"/>
                <a:gd name="T22" fmla="*/ 2566 w 3443"/>
                <a:gd name="T23" fmla="*/ 30 h 2772"/>
                <a:gd name="T24" fmla="*/ 2392 w 3443"/>
                <a:gd name="T25" fmla="*/ 59 h 2772"/>
                <a:gd name="T26" fmla="*/ 1692 w 3443"/>
                <a:gd name="T27" fmla="*/ 147 h 2772"/>
                <a:gd name="T28" fmla="*/ 1021 w 3443"/>
                <a:gd name="T29" fmla="*/ 30 h 2772"/>
                <a:gd name="T30" fmla="*/ 0 w 3443"/>
                <a:gd name="T31" fmla="*/ 234 h 2772"/>
                <a:gd name="T32" fmla="*/ 30 w 3443"/>
                <a:gd name="T33" fmla="*/ 380 h 2772"/>
                <a:gd name="T34" fmla="*/ 87 w 3443"/>
                <a:gd name="T35" fmla="*/ 380 h 2772"/>
                <a:gd name="T36" fmla="*/ 116 w 3443"/>
                <a:gd name="T37" fmla="*/ 263 h 2772"/>
                <a:gd name="T38" fmla="*/ 204 w 3443"/>
                <a:gd name="T39" fmla="*/ 234 h 2772"/>
                <a:gd name="T40" fmla="*/ 350 w 3443"/>
                <a:gd name="T41" fmla="*/ 321 h 2772"/>
                <a:gd name="T42" fmla="*/ 466 w 3443"/>
                <a:gd name="T43" fmla="*/ 263 h 2772"/>
                <a:gd name="T44" fmla="*/ 642 w 3443"/>
                <a:gd name="T45" fmla="*/ 321 h 2772"/>
                <a:gd name="T46" fmla="*/ 730 w 3443"/>
                <a:gd name="T47" fmla="*/ 350 h 2772"/>
                <a:gd name="T48" fmla="*/ 875 w 3443"/>
                <a:gd name="T49" fmla="*/ 380 h 2772"/>
                <a:gd name="T50" fmla="*/ 933 w 3443"/>
                <a:gd name="T51" fmla="*/ 467 h 2772"/>
                <a:gd name="T52" fmla="*/ 963 w 3443"/>
                <a:gd name="T53" fmla="*/ 584 h 2772"/>
                <a:gd name="T54" fmla="*/ 1080 w 3443"/>
                <a:gd name="T55" fmla="*/ 613 h 2772"/>
                <a:gd name="T56" fmla="*/ 1108 w 3443"/>
                <a:gd name="T57" fmla="*/ 613 h 2772"/>
                <a:gd name="T58" fmla="*/ 1254 w 3443"/>
                <a:gd name="T59" fmla="*/ 526 h 2772"/>
                <a:gd name="T60" fmla="*/ 1371 w 3443"/>
                <a:gd name="T61" fmla="*/ 438 h 2772"/>
                <a:gd name="T62" fmla="*/ 1546 w 3443"/>
                <a:gd name="T63" fmla="*/ 380 h 2772"/>
                <a:gd name="T64" fmla="*/ 1663 w 3443"/>
                <a:gd name="T65" fmla="*/ 467 h 2772"/>
                <a:gd name="T66" fmla="*/ 1750 w 3443"/>
                <a:gd name="T67" fmla="*/ 526 h 2772"/>
                <a:gd name="T68" fmla="*/ 1837 w 3443"/>
                <a:gd name="T69" fmla="*/ 613 h 2772"/>
                <a:gd name="T70" fmla="*/ 1983 w 3443"/>
                <a:gd name="T71" fmla="*/ 788 h 2772"/>
                <a:gd name="T72" fmla="*/ 2071 w 3443"/>
                <a:gd name="T73" fmla="*/ 788 h 2772"/>
                <a:gd name="T74" fmla="*/ 2187 w 3443"/>
                <a:gd name="T75" fmla="*/ 934 h 2772"/>
                <a:gd name="T76" fmla="*/ 2158 w 3443"/>
                <a:gd name="T77" fmla="*/ 1459 h 2772"/>
                <a:gd name="T78" fmla="*/ 2158 w 3443"/>
                <a:gd name="T79" fmla="*/ 1342 h 2772"/>
                <a:gd name="T80" fmla="*/ 2275 w 3443"/>
                <a:gd name="T81" fmla="*/ 1400 h 2772"/>
                <a:gd name="T82" fmla="*/ 2392 w 3443"/>
                <a:gd name="T83" fmla="*/ 1633 h 2772"/>
                <a:gd name="T84" fmla="*/ 2275 w 3443"/>
                <a:gd name="T85" fmla="*/ 1692 h 2772"/>
                <a:gd name="T86" fmla="*/ 2363 w 3443"/>
                <a:gd name="T87" fmla="*/ 1897 h 2772"/>
                <a:gd name="T88" fmla="*/ 2596 w 3443"/>
                <a:gd name="T89" fmla="*/ 1867 h 2772"/>
                <a:gd name="T90" fmla="*/ 2566 w 3443"/>
                <a:gd name="T91" fmla="*/ 1955 h 2772"/>
                <a:gd name="T92" fmla="*/ 2479 w 3443"/>
                <a:gd name="T93" fmla="*/ 2071 h 2772"/>
                <a:gd name="T94" fmla="*/ 2508 w 3443"/>
                <a:gd name="T95" fmla="*/ 2100 h 2772"/>
                <a:gd name="T96" fmla="*/ 2537 w 3443"/>
                <a:gd name="T97" fmla="*/ 2159 h 2772"/>
                <a:gd name="T98" fmla="*/ 2713 w 3443"/>
                <a:gd name="T99" fmla="*/ 2100 h 2772"/>
                <a:gd name="T100" fmla="*/ 2829 w 3443"/>
                <a:gd name="T101" fmla="*/ 2363 h 2772"/>
                <a:gd name="T102" fmla="*/ 2887 w 3443"/>
                <a:gd name="T103" fmla="*/ 2333 h 2772"/>
                <a:gd name="T104" fmla="*/ 2975 w 3443"/>
                <a:gd name="T105" fmla="*/ 2392 h 2772"/>
                <a:gd name="T106" fmla="*/ 3063 w 3443"/>
                <a:gd name="T107" fmla="*/ 2480 h 2772"/>
                <a:gd name="T108" fmla="*/ 3063 w 3443"/>
                <a:gd name="T109" fmla="*/ 2538 h 2772"/>
                <a:gd name="T110" fmla="*/ 3092 w 3443"/>
                <a:gd name="T111" fmla="*/ 2597 h 2772"/>
                <a:gd name="T112" fmla="*/ 3150 w 3443"/>
                <a:gd name="T113" fmla="*/ 2597 h 2772"/>
                <a:gd name="T114" fmla="*/ 3004 w 3443"/>
                <a:gd name="T115" fmla="*/ 2742 h 2772"/>
                <a:gd name="T116" fmla="*/ 3179 w 3443"/>
                <a:gd name="T117" fmla="*/ 2742 h 2772"/>
                <a:gd name="T118" fmla="*/ 3208 w 3443"/>
                <a:gd name="T119" fmla="*/ 2713 h 2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43" h="2772">
                  <a:moveTo>
                    <a:pt x="3296" y="2509"/>
                  </a:moveTo>
                  <a:lnTo>
                    <a:pt x="3296" y="2509"/>
                  </a:lnTo>
                  <a:cubicBezTo>
                    <a:pt x="3296" y="2421"/>
                    <a:pt x="3354" y="2305"/>
                    <a:pt x="3413" y="2247"/>
                  </a:cubicBezTo>
                  <a:lnTo>
                    <a:pt x="3413" y="2247"/>
                  </a:lnTo>
                  <a:lnTo>
                    <a:pt x="3442" y="2247"/>
                  </a:lnTo>
                  <a:cubicBezTo>
                    <a:pt x="3442" y="2247"/>
                    <a:pt x="3442" y="2217"/>
                    <a:pt x="3413" y="2188"/>
                  </a:cubicBezTo>
                  <a:cubicBezTo>
                    <a:pt x="3413" y="2159"/>
                    <a:pt x="3413" y="2100"/>
                    <a:pt x="3413" y="2071"/>
                  </a:cubicBezTo>
                  <a:cubicBezTo>
                    <a:pt x="3413" y="2071"/>
                    <a:pt x="3383" y="2071"/>
                    <a:pt x="3383" y="2042"/>
                  </a:cubicBezTo>
                  <a:lnTo>
                    <a:pt x="3383" y="2042"/>
                  </a:lnTo>
                  <a:lnTo>
                    <a:pt x="3383" y="2042"/>
                  </a:lnTo>
                  <a:cubicBezTo>
                    <a:pt x="3383" y="2013"/>
                    <a:pt x="3383" y="2013"/>
                    <a:pt x="3383" y="1983"/>
                  </a:cubicBezTo>
                  <a:cubicBezTo>
                    <a:pt x="3383" y="1955"/>
                    <a:pt x="3383" y="1955"/>
                    <a:pt x="3383" y="1926"/>
                  </a:cubicBezTo>
                  <a:lnTo>
                    <a:pt x="3383" y="1926"/>
                  </a:lnTo>
                  <a:lnTo>
                    <a:pt x="3383" y="1926"/>
                  </a:lnTo>
                  <a:lnTo>
                    <a:pt x="3383" y="1926"/>
                  </a:lnTo>
                  <a:cubicBezTo>
                    <a:pt x="3354" y="1926"/>
                    <a:pt x="3354" y="1926"/>
                    <a:pt x="3354" y="1926"/>
                  </a:cubicBezTo>
                  <a:lnTo>
                    <a:pt x="3354" y="1926"/>
                  </a:lnTo>
                  <a:cubicBezTo>
                    <a:pt x="3325" y="1897"/>
                    <a:pt x="3325" y="1838"/>
                    <a:pt x="3325" y="1809"/>
                  </a:cubicBezTo>
                  <a:cubicBezTo>
                    <a:pt x="3325" y="1780"/>
                    <a:pt x="3296" y="1750"/>
                    <a:pt x="3296" y="1750"/>
                  </a:cubicBezTo>
                  <a:cubicBezTo>
                    <a:pt x="3296" y="1721"/>
                    <a:pt x="3296" y="1692"/>
                    <a:pt x="3266" y="1692"/>
                  </a:cubicBezTo>
                  <a:cubicBezTo>
                    <a:pt x="3266" y="1663"/>
                    <a:pt x="3237" y="1605"/>
                    <a:pt x="3237" y="1576"/>
                  </a:cubicBezTo>
                  <a:cubicBezTo>
                    <a:pt x="3179" y="1488"/>
                    <a:pt x="3150" y="1430"/>
                    <a:pt x="3121" y="1342"/>
                  </a:cubicBezTo>
                  <a:cubicBezTo>
                    <a:pt x="3092" y="1313"/>
                    <a:pt x="3092" y="1313"/>
                    <a:pt x="3063" y="1284"/>
                  </a:cubicBezTo>
                  <a:cubicBezTo>
                    <a:pt x="3063" y="1255"/>
                    <a:pt x="3033" y="1255"/>
                    <a:pt x="3033" y="1226"/>
                  </a:cubicBezTo>
                  <a:cubicBezTo>
                    <a:pt x="3033" y="1226"/>
                    <a:pt x="3033" y="1197"/>
                    <a:pt x="3004" y="1197"/>
                  </a:cubicBezTo>
                  <a:cubicBezTo>
                    <a:pt x="3004" y="1167"/>
                    <a:pt x="2975" y="1138"/>
                    <a:pt x="2975" y="1109"/>
                  </a:cubicBezTo>
                  <a:cubicBezTo>
                    <a:pt x="2975" y="1080"/>
                    <a:pt x="2946" y="1080"/>
                    <a:pt x="2946" y="1080"/>
                  </a:cubicBezTo>
                  <a:cubicBezTo>
                    <a:pt x="2916" y="1050"/>
                    <a:pt x="2887" y="992"/>
                    <a:pt x="2916" y="934"/>
                  </a:cubicBezTo>
                  <a:cubicBezTo>
                    <a:pt x="2946" y="934"/>
                    <a:pt x="2946" y="934"/>
                    <a:pt x="2946" y="934"/>
                  </a:cubicBezTo>
                  <a:lnTo>
                    <a:pt x="2946" y="934"/>
                  </a:lnTo>
                  <a:cubicBezTo>
                    <a:pt x="2916" y="905"/>
                    <a:pt x="2916" y="905"/>
                    <a:pt x="2887" y="876"/>
                  </a:cubicBezTo>
                  <a:cubicBezTo>
                    <a:pt x="2887" y="847"/>
                    <a:pt x="2887" y="847"/>
                    <a:pt x="2858" y="817"/>
                  </a:cubicBezTo>
                  <a:cubicBezTo>
                    <a:pt x="2829" y="817"/>
                    <a:pt x="2800" y="788"/>
                    <a:pt x="2800" y="759"/>
                  </a:cubicBezTo>
                  <a:cubicBezTo>
                    <a:pt x="2771" y="730"/>
                    <a:pt x="2800" y="700"/>
                    <a:pt x="2829" y="700"/>
                  </a:cubicBezTo>
                  <a:lnTo>
                    <a:pt x="2829" y="700"/>
                  </a:lnTo>
                  <a:cubicBezTo>
                    <a:pt x="2829" y="700"/>
                    <a:pt x="2829" y="700"/>
                    <a:pt x="2829" y="671"/>
                  </a:cubicBezTo>
                  <a:cubicBezTo>
                    <a:pt x="2771" y="642"/>
                    <a:pt x="2742" y="584"/>
                    <a:pt x="2713" y="526"/>
                  </a:cubicBezTo>
                  <a:cubicBezTo>
                    <a:pt x="2713" y="497"/>
                    <a:pt x="2713" y="467"/>
                    <a:pt x="2713" y="467"/>
                  </a:cubicBezTo>
                  <a:cubicBezTo>
                    <a:pt x="2713" y="438"/>
                    <a:pt x="2713" y="409"/>
                    <a:pt x="2713" y="380"/>
                  </a:cubicBezTo>
                  <a:cubicBezTo>
                    <a:pt x="2683" y="380"/>
                    <a:pt x="2683" y="380"/>
                    <a:pt x="2683" y="350"/>
                  </a:cubicBezTo>
                  <a:cubicBezTo>
                    <a:pt x="2683" y="350"/>
                    <a:pt x="2654" y="350"/>
                    <a:pt x="2654" y="321"/>
                  </a:cubicBezTo>
                  <a:cubicBezTo>
                    <a:pt x="2654" y="292"/>
                    <a:pt x="2654" y="292"/>
                    <a:pt x="2654" y="263"/>
                  </a:cubicBezTo>
                  <a:cubicBezTo>
                    <a:pt x="2654" y="234"/>
                    <a:pt x="2654" y="205"/>
                    <a:pt x="2625" y="176"/>
                  </a:cubicBezTo>
                  <a:lnTo>
                    <a:pt x="2625" y="147"/>
                  </a:lnTo>
                  <a:cubicBezTo>
                    <a:pt x="2625" y="117"/>
                    <a:pt x="2596" y="88"/>
                    <a:pt x="2596" y="88"/>
                  </a:cubicBezTo>
                  <a:cubicBezTo>
                    <a:pt x="2596" y="59"/>
                    <a:pt x="2596" y="59"/>
                    <a:pt x="2596" y="30"/>
                  </a:cubicBezTo>
                  <a:cubicBezTo>
                    <a:pt x="2596" y="30"/>
                    <a:pt x="2596" y="30"/>
                    <a:pt x="2596" y="0"/>
                  </a:cubicBezTo>
                  <a:cubicBezTo>
                    <a:pt x="2596" y="30"/>
                    <a:pt x="2596" y="30"/>
                    <a:pt x="2566" y="30"/>
                  </a:cubicBezTo>
                  <a:cubicBezTo>
                    <a:pt x="2566" y="30"/>
                    <a:pt x="2537" y="30"/>
                    <a:pt x="2508" y="30"/>
                  </a:cubicBezTo>
                  <a:cubicBezTo>
                    <a:pt x="2479" y="30"/>
                    <a:pt x="2479" y="30"/>
                    <a:pt x="2479" y="0"/>
                  </a:cubicBezTo>
                  <a:cubicBezTo>
                    <a:pt x="2450" y="0"/>
                    <a:pt x="2450" y="0"/>
                    <a:pt x="2421" y="0"/>
                  </a:cubicBezTo>
                  <a:cubicBezTo>
                    <a:pt x="2421" y="0"/>
                    <a:pt x="2421" y="59"/>
                    <a:pt x="2392" y="59"/>
                  </a:cubicBezTo>
                  <a:cubicBezTo>
                    <a:pt x="2392" y="117"/>
                    <a:pt x="2392" y="147"/>
                    <a:pt x="2392" y="147"/>
                  </a:cubicBezTo>
                  <a:cubicBezTo>
                    <a:pt x="2363" y="176"/>
                    <a:pt x="2333" y="176"/>
                    <a:pt x="2333" y="176"/>
                  </a:cubicBezTo>
                  <a:cubicBezTo>
                    <a:pt x="2304" y="176"/>
                    <a:pt x="2275" y="147"/>
                    <a:pt x="2246" y="88"/>
                  </a:cubicBezTo>
                  <a:cubicBezTo>
                    <a:pt x="2071" y="117"/>
                    <a:pt x="1866" y="117"/>
                    <a:pt x="1692" y="147"/>
                  </a:cubicBezTo>
                  <a:cubicBezTo>
                    <a:pt x="1487" y="147"/>
                    <a:pt x="1313" y="147"/>
                    <a:pt x="1108" y="176"/>
                  </a:cubicBezTo>
                  <a:lnTo>
                    <a:pt x="1108" y="176"/>
                  </a:lnTo>
                  <a:cubicBezTo>
                    <a:pt x="1108" y="147"/>
                    <a:pt x="1108" y="147"/>
                    <a:pt x="1108" y="147"/>
                  </a:cubicBezTo>
                  <a:cubicBezTo>
                    <a:pt x="1080" y="117"/>
                    <a:pt x="1050" y="59"/>
                    <a:pt x="1021" y="30"/>
                  </a:cubicBezTo>
                  <a:cubicBezTo>
                    <a:pt x="816" y="59"/>
                    <a:pt x="613" y="59"/>
                    <a:pt x="409" y="88"/>
                  </a:cubicBezTo>
                  <a:cubicBezTo>
                    <a:pt x="292" y="88"/>
                    <a:pt x="146" y="88"/>
                    <a:pt x="0" y="117"/>
                  </a:cubicBezTo>
                  <a:cubicBezTo>
                    <a:pt x="0" y="147"/>
                    <a:pt x="0" y="147"/>
                    <a:pt x="0" y="176"/>
                  </a:cubicBezTo>
                  <a:cubicBezTo>
                    <a:pt x="0" y="205"/>
                    <a:pt x="0" y="234"/>
                    <a:pt x="0" y="234"/>
                  </a:cubicBezTo>
                  <a:cubicBezTo>
                    <a:pt x="0" y="263"/>
                    <a:pt x="30" y="263"/>
                    <a:pt x="30" y="292"/>
                  </a:cubicBezTo>
                  <a:cubicBezTo>
                    <a:pt x="30" y="292"/>
                    <a:pt x="59" y="321"/>
                    <a:pt x="30" y="380"/>
                  </a:cubicBezTo>
                  <a:lnTo>
                    <a:pt x="30" y="380"/>
                  </a:lnTo>
                  <a:lnTo>
                    <a:pt x="30" y="380"/>
                  </a:lnTo>
                  <a:lnTo>
                    <a:pt x="0" y="380"/>
                  </a:lnTo>
                  <a:lnTo>
                    <a:pt x="0" y="380"/>
                  </a:lnTo>
                  <a:cubicBezTo>
                    <a:pt x="0" y="380"/>
                    <a:pt x="0" y="380"/>
                    <a:pt x="30" y="409"/>
                  </a:cubicBezTo>
                  <a:cubicBezTo>
                    <a:pt x="30" y="380"/>
                    <a:pt x="59" y="380"/>
                    <a:pt x="87" y="380"/>
                  </a:cubicBezTo>
                  <a:lnTo>
                    <a:pt x="59" y="350"/>
                  </a:lnTo>
                  <a:cubicBezTo>
                    <a:pt x="59" y="321"/>
                    <a:pt x="59" y="292"/>
                    <a:pt x="87" y="292"/>
                  </a:cubicBezTo>
                  <a:cubicBezTo>
                    <a:pt x="87" y="263"/>
                    <a:pt x="87" y="263"/>
                    <a:pt x="116" y="263"/>
                  </a:cubicBezTo>
                  <a:lnTo>
                    <a:pt x="116" y="263"/>
                  </a:lnTo>
                  <a:lnTo>
                    <a:pt x="116" y="263"/>
                  </a:lnTo>
                  <a:cubicBezTo>
                    <a:pt x="116" y="263"/>
                    <a:pt x="116" y="263"/>
                    <a:pt x="116" y="292"/>
                  </a:cubicBezTo>
                  <a:cubicBezTo>
                    <a:pt x="146" y="263"/>
                    <a:pt x="146" y="263"/>
                    <a:pt x="146" y="234"/>
                  </a:cubicBezTo>
                  <a:cubicBezTo>
                    <a:pt x="175" y="234"/>
                    <a:pt x="175" y="234"/>
                    <a:pt x="204" y="234"/>
                  </a:cubicBezTo>
                  <a:cubicBezTo>
                    <a:pt x="204" y="234"/>
                    <a:pt x="233" y="234"/>
                    <a:pt x="233" y="263"/>
                  </a:cubicBezTo>
                  <a:cubicBezTo>
                    <a:pt x="233" y="292"/>
                    <a:pt x="233" y="321"/>
                    <a:pt x="204" y="350"/>
                  </a:cubicBezTo>
                  <a:cubicBezTo>
                    <a:pt x="233" y="321"/>
                    <a:pt x="292" y="321"/>
                    <a:pt x="321" y="321"/>
                  </a:cubicBezTo>
                  <a:cubicBezTo>
                    <a:pt x="350" y="321"/>
                    <a:pt x="350" y="321"/>
                    <a:pt x="350" y="321"/>
                  </a:cubicBezTo>
                  <a:lnTo>
                    <a:pt x="350" y="321"/>
                  </a:lnTo>
                  <a:lnTo>
                    <a:pt x="350" y="321"/>
                  </a:lnTo>
                  <a:cubicBezTo>
                    <a:pt x="350" y="292"/>
                    <a:pt x="350" y="292"/>
                    <a:pt x="380" y="292"/>
                  </a:cubicBezTo>
                  <a:cubicBezTo>
                    <a:pt x="380" y="263"/>
                    <a:pt x="437" y="263"/>
                    <a:pt x="466" y="263"/>
                  </a:cubicBezTo>
                  <a:cubicBezTo>
                    <a:pt x="496" y="263"/>
                    <a:pt x="554" y="263"/>
                    <a:pt x="583" y="292"/>
                  </a:cubicBezTo>
                  <a:lnTo>
                    <a:pt x="583" y="321"/>
                  </a:lnTo>
                  <a:cubicBezTo>
                    <a:pt x="583" y="321"/>
                    <a:pt x="583" y="321"/>
                    <a:pt x="583" y="350"/>
                  </a:cubicBezTo>
                  <a:cubicBezTo>
                    <a:pt x="613" y="321"/>
                    <a:pt x="613" y="321"/>
                    <a:pt x="642" y="321"/>
                  </a:cubicBezTo>
                  <a:cubicBezTo>
                    <a:pt x="671" y="350"/>
                    <a:pt x="700" y="350"/>
                    <a:pt x="700" y="380"/>
                  </a:cubicBezTo>
                  <a:cubicBezTo>
                    <a:pt x="730" y="380"/>
                    <a:pt x="730" y="409"/>
                    <a:pt x="730" y="409"/>
                  </a:cubicBezTo>
                  <a:lnTo>
                    <a:pt x="730" y="409"/>
                  </a:lnTo>
                  <a:cubicBezTo>
                    <a:pt x="730" y="380"/>
                    <a:pt x="730" y="380"/>
                    <a:pt x="730" y="350"/>
                  </a:cubicBezTo>
                  <a:cubicBezTo>
                    <a:pt x="730" y="321"/>
                    <a:pt x="759" y="292"/>
                    <a:pt x="816" y="292"/>
                  </a:cubicBezTo>
                  <a:cubicBezTo>
                    <a:pt x="846" y="292"/>
                    <a:pt x="846" y="321"/>
                    <a:pt x="875" y="321"/>
                  </a:cubicBezTo>
                  <a:cubicBezTo>
                    <a:pt x="875" y="350"/>
                    <a:pt x="875" y="350"/>
                    <a:pt x="875" y="350"/>
                  </a:cubicBezTo>
                  <a:lnTo>
                    <a:pt x="875" y="380"/>
                  </a:lnTo>
                  <a:cubicBezTo>
                    <a:pt x="875" y="380"/>
                    <a:pt x="875" y="380"/>
                    <a:pt x="875" y="409"/>
                  </a:cubicBezTo>
                  <a:cubicBezTo>
                    <a:pt x="875" y="380"/>
                    <a:pt x="875" y="380"/>
                    <a:pt x="904" y="380"/>
                  </a:cubicBezTo>
                  <a:cubicBezTo>
                    <a:pt x="904" y="409"/>
                    <a:pt x="904" y="409"/>
                    <a:pt x="904" y="409"/>
                  </a:cubicBezTo>
                  <a:cubicBezTo>
                    <a:pt x="933" y="409"/>
                    <a:pt x="963" y="438"/>
                    <a:pt x="933" y="467"/>
                  </a:cubicBezTo>
                  <a:cubicBezTo>
                    <a:pt x="933" y="497"/>
                    <a:pt x="933" y="497"/>
                    <a:pt x="933" y="497"/>
                  </a:cubicBezTo>
                  <a:lnTo>
                    <a:pt x="933" y="497"/>
                  </a:lnTo>
                  <a:cubicBezTo>
                    <a:pt x="933" y="497"/>
                    <a:pt x="904" y="497"/>
                    <a:pt x="875" y="497"/>
                  </a:cubicBezTo>
                  <a:cubicBezTo>
                    <a:pt x="904" y="526"/>
                    <a:pt x="933" y="526"/>
                    <a:pt x="963" y="584"/>
                  </a:cubicBezTo>
                  <a:lnTo>
                    <a:pt x="963" y="613"/>
                  </a:lnTo>
                  <a:cubicBezTo>
                    <a:pt x="963" y="642"/>
                    <a:pt x="963" y="642"/>
                    <a:pt x="963" y="642"/>
                  </a:cubicBezTo>
                  <a:lnTo>
                    <a:pt x="992" y="642"/>
                  </a:lnTo>
                  <a:cubicBezTo>
                    <a:pt x="1021" y="642"/>
                    <a:pt x="1050" y="613"/>
                    <a:pt x="1080" y="613"/>
                  </a:cubicBezTo>
                  <a:lnTo>
                    <a:pt x="1080" y="613"/>
                  </a:lnTo>
                  <a:lnTo>
                    <a:pt x="1080" y="613"/>
                  </a:lnTo>
                  <a:cubicBezTo>
                    <a:pt x="1080" y="584"/>
                    <a:pt x="1108" y="613"/>
                    <a:pt x="1108" y="613"/>
                  </a:cubicBezTo>
                  <a:lnTo>
                    <a:pt x="1108" y="613"/>
                  </a:lnTo>
                  <a:cubicBezTo>
                    <a:pt x="1137" y="584"/>
                    <a:pt x="1166" y="584"/>
                    <a:pt x="1196" y="555"/>
                  </a:cubicBezTo>
                  <a:cubicBezTo>
                    <a:pt x="1225" y="555"/>
                    <a:pt x="1225" y="555"/>
                    <a:pt x="1225" y="555"/>
                  </a:cubicBezTo>
                  <a:lnTo>
                    <a:pt x="1225" y="555"/>
                  </a:lnTo>
                  <a:cubicBezTo>
                    <a:pt x="1254" y="526"/>
                    <a:pt x="1254" y="526"/>
                    <a:pt x="1254" y="526"/>
                  </a:cubicBezTo>
                  <a:lnTo>
                    <a:pt x="1254" y="526"/>
                  </a:lnTo>
                  <a:cubicBezTo>
                    <a:pt x="1283" y="526"/>
                    <a:pt x="1313" y="497"/>
                    <a:pt x="1342" y="497"/>
                  </a:cubicBezTo>
                  <a:cubicBezTo>
                    <a:pt x="1342" y="497"/>
                    <a:pt x="1342" y="497"/>
                    <a:pt x="1371" y="497"/>
                  </a:cubicBezTo>
                  <a:cubicBezTo>
                    <a:pt x="1371" y="467"/>
                    <a:pt x="1371" y="438"/>
                    <a:pt x="1371" y="438"/>
                  </a:cubicBezTo>
                  <a:cubicBezTo>
                    <a:pt x="1371" y="409"/>
                    <a:pt x="1400" y="409"/>
                    <a:pt x="1430" y="409"/>
                  </a:cubicBezTo>
                  <a:cubicBezTo>
                    <a:pt x="1430" y="380"/>
                    <a:pt x="1430" y="380"/>
                    <a:pt x="1458" y="380"/>
                  </a:cubicBezTo>
                  <a:cubicBezTo>
                    <a:pt x="1458" y="380"/>
                    <a:pt x="1458" y="380"/>
                    <a:pt x="1487" y="380"/>
                  </a:cubicBezTo>
                  <a:cubicBezTo>
                    <a:pt x="1516" y="380"/>
                    <a:pt x="1546" y="380"/>
                    <a:pt x="1546" y="380"/>
                  </a:cubicBezTo>
                  <a:cubicBezTo>
                    <a:pt x="1575" y="380"/>
                    <a:pt x="1604" y="409"/>
                    <a:pt x="1633" y="409"/>
                  </a:cubicBezTo>
                  <a:cubicBezTo>
                    <a:pt x="1633" y="380"/>
                    <a:pt x="1633" y="380"/>
                    <a:pt x="1633" y="380"/>
                  </a:cubicBezTo>
                  <a:cubicBezTo>
                    <a:pt x="1633" y="409"/>
                    <a:pt x="1633" y="409"/>
                    <a:pt x="1633" y="409"/>
                  </a:cubicBezTo>
                  <a:cubicBezTo>
                    <a:pt x="1663" y="409"/>
                    <a:pt x="1663" y="438"/>
                    <a:pt x="1663" y="467"/>
                  </a:cubicBezTo>
                  <a:cubicBezTo>
                    <a:pt x="1663" y="497"/>
                    <a:pt x="1663" y="497"/>
                    <a:pt x="1663" y="526"/>
                  </a:cubicBezTo>
                  <a:cubicBezTo>
                    <a:pt x="1692" y="526"/>
                    <a:pt x="1721" y="526"/>
                    <a:pt x="1750" y="526"/>
                  </a:cubicBezTo>
                  <a:lnTo>
                    <a:pt x="1750" y="526"/>
                  </a:lnTo>
                  <a:lnTo>
                    <a:pt x="1750" y="526"/>
                  </a:lnTo>
                  <a:cubicBezTo>
                    <a:pt x="1780" y="526"/>
                    <a:pt x="1780" y="526"/>
                    <a:pt x="1808" y="526"/>
                  </a:cubicBezTo>
                  <a:lnTo>
                    <a:pt x="1837" y="555"/>
                  </a:lnTo>
                  <a:lnTo>
                    <a:pt x="1837" y="555"/>
                  </a:lnTo>
                  <a:cubicBezTo>
                    <a:pt x="1837" y="584"/>
                    <a:pt x="1837" y="584"/>
                    <a:pt x="1837" y="613"/>
                  </a:cubicBezTo>
                  <a:lnTo>
                    <a:pt x="1837" y="642"/>
                  </a:lnTo>
                  <a:cubicBezTo>
                    <a:pt x="1837" y="642"/>
                    <a:pt x="1866" y="671"/>
                    <a:pt x="1896" y="671"/>
                  </a:cubicBezTo>
                  <a:cubicBezTo>
                    <a:pt x="1925" y="671"/>
                    <a:pt x="1954" y="700"/>
                    <a:pt x="1954" y="730"/>
                  </a:cubicBezTo>
                  <a:cubicBezTo>
                    <a:pt x="1983" y="759"/>
                    <a:pt x="1983" y="759"/>
                    <a:pt x="1983" y="788"/>
                  </a:cubicBezTo>
                  <a:cubicBezTo>
                    <a:pt x="1983" y="817"/>
                    <a:pt x="1983" y="817"/>
                    <a:pt x="1983" y="847"/>
                  </a:cubicBezTo>
                  <a:cubicBezTo>
                    <a:pt x="2013" y="847"/>
                    <a:pt x="2042" y="817"/>
                    <a:pt x="2071" y="788"/>
                  </a:cubicBezTo>
                  <a:lnTo>
                    <a:pt x="2071" y="788"/>
                  </a:lnTo>
                  <a:lnTo>
                    <a:pt x="2071" y="788"/>
                  </a:lnTo>
                  <a:cubicBezTo>
                    <a:pt x="2100" y="788"/>
                    <a:pt x="2129" y="788"/>
                    <a:pt x="2129" y="788"/>
                  </a:cubicBezTo>
                  <a:cubicBezTo>
                    <a:pt x="2158" y="817"/>
                    <a:pt x="2158" y="847"/>
                    <a:pt x="2129" y="876"/>
                  </a:cubicBezTo>
                  <a:cubicBezTo>
                    <a:pt x="2158" y="905"/>
                    <a:pt x="2158" y="905"/>
                    <a:pt x="2158" y="905"/>
                  </a:cubicBezTo>
                  <a:cubicBezTo>
                    <a:pt x="2187" y="905"/>
                    <a:pt x="2187" y="934"/>
                    <a:pt x="2187" y="934"/>
                  </a:cubicBezTo>
                  <a:cubicBezTo>
                    <a:pt x="2216" y="992"/>
                    <a:pt x="2246" y="1080"/>
                    <a:pt x="2216" y="1167"/>
                  </a:cubicBezTo>
                  <a:cubicBezTo>
                    <a:pt x="2216" y="1226"/>
                    <a:pt x="2187" y="1284"/>
                    <a:pt x="2158" y="1313"/>
                  </a:cubicBezTo>
                  <a:lnTo>
                    <a:pt x="2158" y="1313"/>
                  </a:lnTo>
                  <a:cubicBezTo>
                    <a:pt x="2158" y="1342"/>
                    <a:pt x="2129" y="1400"/>
                    <a:pt x="2158" y="1459"/>
                  </a:cubicBezTo>
                  <a:cubicBezTo>
                    <a:pt x="2187" y="1459"/>
                    <a:pt x="2216" y="1488"/>
                    <a:pt x="2216" y="1517"/>
                  </a:cubicBezTo>
                  <a:cubicBezTo>
                    <a:pt x="2216" y="1517"/>
                    <a:pt x="2216" y="1488"/>
                    <a:pt x="2187" y="1459"/>
                  </a:cubicBezTo>
                  <a:cubicBezTo>
                    <a:pt x="2187" y="1430"/>
                    <a:pt x="2158" y="1400"/>
                    <a:pt x="2158" y="1371"/>
                  </a:cubicBezTo>
                  <a:cubicBezTo>
                    <a:pt x="2158" y="1342"/>
                    <a:pt x="2158" y="1342"/>
                    <a:pt x="2158" y="1342"/>
                  </a:cubicBezTo>
                  <a:cubicBezTo>
                    <a:pt x="2187" y="1342"/>
                    <a:pt x="2187" y="1342"/>
                    <a:pt x="2187" y="1342"/>
                  </a:cubicBezTo>
                  <a:lnTo>
                    <a:pt x="2216" y="1342"/>
                  </a:lnTo>
                  <a:cubicBezTo>
                    <a:pt x="2246" y="1342"/>
                    <a:pt x="2275" y="1371"/>
                    <a:pt x="2275" y="1400"/>
                  </a:cubicBezTo>
                  <a:lnTo>
                    <a:pt x="2275" y="1400"/>
                  </a:lnTo>
                  <a:lnTo>
                    <a:pt x="2304" y="1400"/>
                  </a:lnTo>
                  <a:cubicBezTo>
                    <a:pt x="2333" y="1400"/>
                    <a:pt x="2363" y="1400"/>
                    <a:pt x="2363" y="1400"/>
                  </a:cubicBezTo>
                  <a:cubicBezTo>
                    <a:pt x="2392" y="1459"/>
                    <a:pt x="2363" y="1547"/>
                    <a:pt x="2363" y="1576"/>
                  </a:cubicBezTo>
                  <a:cubicBezTo>
                    <a:pt x="2392" y="1605"/>
                    <a:pt x="2392" y="1605"/>
                    <a:pt x="2392" y="1633"/>
                  </a:cubicBezTo>
                  <a:cubicBezTo>
                    <a:pt x="2392" y="1663"/>
                    <a:pt x="2363" y="1692"/>
                    <a:pt x="2333" y="1663"/>
                  </a:cubicBezTo>
                  <a:cubicBezTo>
                    <a:pt x="2333" y="1692"/>
                    <a:pt x="2333" y="1692"/>
                    <a:pt x="2304" y="1692"/>
                  </a:cubicBezTo>
                  <a:lnTo>
                    <a:pt x="2304" y="1692"/>
                  </a:lnTo>
                  <a:lnTo>
                    <a:pt x="2275" y="1692"/>
                  </a:lnTo>
                  <a:cubicBezTo>
                    <a:pt x="2275" y="1721"/>
                    <a:pt x="2304" y="1780"/>
                    <a:pt x="2275" y="1809"/>
                  </a:cubicBezTo>
                  <a:cubicBezTo>
                    <a:pt x="2275" y="1809"/>
                    <a:pt x="2304" y="1838"/>
                    <a:pt x="2333" y="1838"/>
                  </a:cubicBezTo>
                  <a:cubicBezTo>
                    <a:pt x="2333" y="1867"/>
                    <a:pt x="2363" y="1867"/>
                    <a:pt x="2363" y="1897"/>
                  </a:cubicBezTo>
                  <a:lnTo>
                    <a:pt x="2363" y="1897"/>
                  </a:lnTo>
                  <a:cubicBezTo>
                    <a:pt x="2392" y="1897"/>
                    <a:pt x="2392" y="1867"/>
                    <a:pt x="2421" y="1897"/>
                  </a:cubicBezTo>
                  <a:cubicBezTo>
                    <a:pt x="2421" y="1897"/>
                    <a:pt x="2450" y="1897"/>
                    <a:pt x="2450" y="1926"/>
                  </a:cubicBezTo>
                  <a:cubicBezTo>
                    <a:pt x="2450" y="1897"/>
                    <a:pt x="2450" y="1897"/>
                    <a:pt x="2479" y="1867"/>
                  </a:cubicBezTo>
                  <a:cubicBezTo>
                    <a:pt x="2508" y="1838"/>
                    <a:pt x="2566" y="1838"/>
                    <a:pt x="2596" y="1867"/>
                  </a:cubicBezTo>
                  <a:lnTo>
                    <a:pt x="2596" y="1867"/>
                  </a:lnTo>
                  <a:cubicBezTo>
                    <a:pt x="2596" y="1897"/>
                    <a:pt x="2596" y="1897"/>
                    <a:pt x="2596" y="1897"/>
                  </a:cubicBezTo>
                  <a:cubicBezTo>
                    <a:pt x="2596" y="1926"/>
                    <a:pt x="2596" y="1955"/>
                    <a:pt x="2566" y="1955"/>
                  </a:cubicBezTo>
                  <a:lnTo>
                    <a:pt x="2566" y="1955"/>
                  </a:lnTo>
                  <a:cubicBezTo>
                    <a:pt x="2596" y="1983"/>
                    <a:pt x="2596" y="2013"/>
                    <a:pt x="2596" y="2042"/>
                  </a:cubicBezTo>
                  <a:cubicBezTo>
                    <a:pt x="2596" y="2071"/>
                    <a:pt x="2596" y="2071"/>
                    <a:pt x="2566" y="2100"/>
                  </a:cubicBezTo>
                  <a:lnTo>
                    <a:pt x="2537" y="2100"/>
                  </a:lnTo>
                  <a:cubicBezTo>
                    <a:pt x="2508" y="2100"/>
                    <a:pt x="2479" y="2071"/>
                    <a:pt x="2479" y="2071"/>
                  </a:cubicBezTo>
                  <a:lnTo>
                    <a:pt x="2450" y="2042"/>
                  </a:lnTo>
                  <a:cubicBezTo>
                    <a:pt x="2450" y="2071"/>
                    <a:pt x="2479" y="2071"/>
                    <a:pt x="2479" y="2071"/>
                  </a:cubicBezTo>
                  <a:cubicBezTo>
                    <a:pt x="2479" y="2071"/>
                    <a:pt x="2479" y="2100"/>
                    <a:pt x="2508" y="2100"/>
                  </a:cubicBezTo>
                  <a:lnTo>
                    <a:pt x="2508" y="2100"/>
                  </a:lnTo>
                  <a:cubicBezTo>
                    <a:pt x="2508" y="2130"/>
                    <a:pt x="2508" y="2130"/>
                    <a:pt x="2508" y="2130"/>
                  </a:cubicBezTo>
                  <a:lnTo>
                    <a:pt x="2479" y="2130"/>
                  </a:lnTo>
                  <a:cubicBezTo>
                    <a:pt x="2479" y="2159"/>
                    <a:pt x="2508" y="2159"/>
                    <a:pt x="2508" y="2159"/>
                  </a:cubicBezTo>
                  <a:cubicBezTo>
                    <a:pt x="2537" y="2159"/>
                    <a:pt x="2537" y="2159"/>
                    <a:pt x="2537" y="2159"/>
                  </a:cubicBezTo>
                  <a:cubicBezTo>
                    <a:pt x="2566" y="2159"/>
                    <a:pt x="2566" y="2159"/>
                    <a:pt x="2596" y="2159"/>
                  </a:cubicBezTo>
                  <a:cubicBezTo>
                    <a:pt x="2596" y="2130"/>
                    <a:pt x="2625" y="2071"/>
                    <a:pt x="2713" y="2071"/>
                  </a:cubicBezTo>
                  <a:lnTo>
                    <a:pt x="2713" y="2071"/>
                  </a:lnTo>
                  <a:cubicBezTo>
                    <a:pt x="2713" y="2100"/>
                    <a:pt x="2713" y="2100"/>
                    <a:pt x="2713" y="2100"/>
                  </a:cubicBezTo>
                  <a:cubicBezTo>
                    <a:pt x="2713" y="2130"/>
                    <a:pt x="2742" y="2159"/>
                    <a:pt x="2742" y="2188"/>
                  </a:cubicBezTo>
                  <a:cubicBezTo>
                    <a:pt x="2742" y="2247"/>
                    <a:pt x="2742" y="2305"/>
                    <a:pt x="2771" y="2333"/>
                  </a:cubicBezTo>
                  <a:cubicBezTo>
                    <a:pt x="2829" y="2333"/>
                    <a:pt x="2829" y="2333"/>
                    <a:pt x="2829" y="2333"/>
                  </a:cubicBezTo>
                  <a:cubicBezTo>
                    <a:pt x="2829" y="2363"/>
                    <a:pt x="2829" y="2363"/>
                    <a:pt x="2829" y="2363"/>
                  </a:cubicBezTo>
                  <a:lnTo>
                    <a:pt x="2829" y="2363"/>
                  </a:lnTo>
                  <a:lnTo>
                    <a:pt x="2829" y="2363"/>
                  </a:lnTo>
                  <a:lnTo>
                    <a:pt x="2858" y="2333"/>
                  </a:lnTo>
                  <a:cubicBezTo>
                    <a:pt x="2887" y="2333"/>
                    <a:pt x="2887" y="2333"/>
                    <a:pt x="2887" y="2333"/>
                  </a:cubicBezTo>
                  <a:cubicBezTo>
                    <a:pt x="2887" y="2363"/>
                    <a:pt x="2887" y="2363"/>
                    <a:pt x="2887" y="2363"/>
                  </a:cubicBezTo>
                  <a:cubicBezTo>
                    <a:pt x="2916" y="2363"/>
                    <a:pt x="2887" y="2392"/>
                    <a:pt x="2887" y="2421"/>
                  </a:cubicBezTo>
                  <a:lnTo>
                    <a:pt x="2887" y="2421"/>
                  </a:lnTo>
                  <a:cubicBezTo>
                    <a:pt x="2916" y="2421"/>
                    <a:pt x="2946" y="2421"/>
                    <a:pt x="2975" y="2392"/>
                  </a:cubicBezTo>
                  <a:cubicBezTo>
                    <a:pt x="3004" y="2392"/>
                    <a:pt x="3004" y="2392"/>
                    <a:pt x="3033" y="2392"/>
                  </a:cubicBezTo>
                  <a:cubicBezTo>
                    <a:pt x="3063" y="2392"/>
                    <a:pt x="3063" y="2392"/>
                    <a:pt x="3063" y="2392"/>
                  </a:cubicBezTo>
                  <a:lnTo>
                    <a:pt x="3063" y="2392"/>
                  </a:lnTo>
                  <a:cubicBezTo>
                    <a:pt x="3063" y="2421"/>
                    <a:pt x="3063" y="2450"/>
                    <a:pt x="3063" y="2480"/>
                  </a:cubicBezTo>
                  <a:cubicBezTo>
                    <a:pt x="3063" y="2509"/>
                    <a:pt x="3063" y="2509"/>
                    <a:pt x="3063" y="2509"/>
                  </a:cubicBezTo>
                  <a:cubicBezTo>
                    <a:pt x="3092" y="2538"/>
                    <a:pt x="3092" y="2538"/>
                    <a:pt x="3092" y="2538"/>
                  </a:cubicBezTo>
                  <a:cubicBezTo>
                    <a:pt x="3063" y="2538"/>
                    <a:pt x="3063" y="2538"/>
                    <a:pt x="3063" y="2538"/>
                  </a:cubicBezTo>
                  <a:lnTo>
                    <a:pt x="3063" y="2538"/>
                  </a:lnTo>
                  <a:cubicBezTo>
                    <a:pt x="3063" y="2538"/>
                    <a:pt x="3063" y="2538"/>
                    <a:pt x="3092" y="2567"/>
                  </a:cubicBezTo>
                  <a:lnTo>
                    <a:pt x="3092" y="2567"/>
                  </a:lnTo>
                  <a:lnTo>
                    <a:pt x="3092" y="2567"/>
                  </a:lnTo>
                  <a:cubicBezTo>
                    <a:pt x="3092" y="2597"/>
                    <a:pt x="3092" y="2597"/>
                    <a:pt x="3092" y="2597"/>
                  </a:cubicBezTo>
                  <a:cubicBezTo>
                    <a:pt x="3092" y="2597"/>
                    <a:pt x="3092" y="2597"/>
                    <a:pt x="3121" y="2597"/>
                  </a:cubicBezTo>
                  <a:lnTo>
                    <a:pt x="3121" y="2597"/>
                  </a:lnTo>
                  <a:lnTo>
                    <a:pt x="3121" y="2597"/>
                  </a:lnTo>
                  <a:lnTo>
                    <a:pt x="3150" y="2597"/>
                  </a:lnTo>
                  <a:lnTo>
                    <a:pt x="3179" y="2626"/>
                  </a:lnTo>
                  <a:cubicBezTo>
                    <a:pt x="3208" y="2655"/>
                    <a:pt x="3208" y="2683"/>
                    <a:pt x="3179" y="2683"/>
                  </a:cubicBezTo>
                  <a:cubicBezTo>
                    <a:pt x="3179" y="2713"/>
                    <a:pt x="3121" y="2713"/>
                    <a:pt x="3092" y="2742"/>
                  </a:cubicBezTo>
                  <a:cubicBezTo>
                    <a:pt x="3063" y="2742"/>
                    <a:pt x="3033" y="2742"/>
                    <a:pt x="3004" y="2742"/>
                  </a:cubicBezTo>
                  <a:cubicBezTo>
                    <a:pt x="3033" y="2771"/>
                    <a:pt x="3063" y="2771"/>
                    <a:pt x="3092" y="2771"/>
                  </a:cubicBezTo>
                  <a:cubicBezTo>
                    <a:pt x="3092" y="2771"/>
                    <a:pt x="3092" y="2771"/>
                    <a:pt x="3092" y="2742"/>
                  </a:cubicBezTo>
                  <a:cubicBezTo>
                    <a:pt x="3121" y="2742"/>
                    <a:pt x="3121" y="2742"/>
                    <a:pt x="3150" y="2742"/>
                  </a:cubicBezTo>
                  <a:cubicBezTo>
                    <a:pt x="3179" y="2742"/>
                    <a:pt x="3179" y="2742"/>
                    <a:pt x="3179" y="2742"/>
                  </a:cubicBezTo>
                  <a:cubicBezTo>
                    <a:pt x="3208" y="2742"/>
                    <a:pt x="3208" y="2742"/>
                    <a:pt x="3208" y="2742"/>
                  </a:cubicBezTo>
                  <a:cubicBezTo>
                    <a:pt x="3208" y="2742"/>
                    <a:pt x="3208" y="2742"/>
                    <a:pt x="3208" y="2713"/>
                  </a:cubicBezTo>
                  <a:lnTo>
                    <a:pt x="3208" y="2713"/>
                  </a:lnTo>
                  <a:lnTo>
                    <a:pt x="3208" y="2713"/>
                  </a:lnTo>
                  <a:cubicBezTo>
                    <a:pt x="3237" y="2683"/>
                    <a:pt x="3237" y="2683"/>
                    <a:pt x="3266" y="2683"/>
                  </a:cubicBezTo>
                  <a:cubicBezTo>
                    <a:pt x="3296" y="2655"/>
                    <a:pt x="3325" y="2655"/>
                    <a:pt x="3354" y="2626"/>
                  </a:cubicBezTo>
                  <a:cubicBezTo>
                    <a:pt x="3325" y="2597"/>
                    <a:pt x="3296" y="2567"/>
                    <a:pt x="3296" y="250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1" name="Freeform 288">
              <a:extLst>
                <a:ext uri="{FF2B5EF4-FFF2-40B4-BE49-F238E27FC236}">
                  <a16:creationId xmlns:a16="http://schemas.microsoft.com/office/drawing/2014/main" id="{9079EF93-30DD-4006-8B4B-99EFCCB2177C}"/>
                </a:ext>
              </a:extLst>
            </p:cNvPr>
            <p:cNvSpPr>
              <a:spLocks noChangeArrowheads="1"/>
            </p:cNvSpPr>
            <p:nvPr/>
          </p:nvSpPr>
          <p:spPr bwMode="auto">
            <a:xfrm>
              <a:off x="9819386" y="5233706"/>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2" name="Freeform 289">
              <a:extLst>
                <a:ext uri="{FF2B5EF4-FFF2-40B4-BE49-F238E27FC236}">
                  <a16:creationId xmlns:a16="http://schemas.microsoft.com/office/drawing/2014/main" id="{182A09F2-6C28-40CB-8DBD-F9DBA5B2BEF3}"/>
                </a:ext>
              </a:extLst>
            </p:cNvPr>
            <p:cNvSpPr>
              <a:spLocks noChangeArrowheads="1"/>
            </p:cNvSpPr>
            <p:nvPr/>
          </p:nvSpPr>
          <p:spPr bwMode="auto">
            <a:xfrm>
              <a:off x="10595668" y="3756181"/>
              <a:ext cx="22832" cy="11328"/>
            </a:xfrm>
            <a:custGeom>
              <a:avLst/>
              <a:gdLst>
                <a:gd name="T0" fmla="*/ 30 w 60"/>
                <a:gd name="T1" fmla="*/ 0 h 31"/>
                <a:gd name="T2" fmla="*/ 30 w 60"/>
                <a:gd name="T3" fmla="*/ 0 h 31"/>
                <a:gd name="T4" fmla="*/ 30 w 60"/>
                <a:gd name="T5" fmla="*/ 0 h 31"/>
                <a:gd name="T6" fmla="*/ 59 w 60"/>
                <a:gd name="T7" fmla="*/ 0 h 31"/>
                <a:gd name="T8" fmla="*/ 59 w 60"/>
                <a:gd name="T9" fmla="*/ 30 h 31"/>
                <a:gd name="T10" fmla="*/ 59 w 60"/>
                <a:gd name="T11" fmla="*/ 0 h 31"/>
                <a:gd name="T12" fmla="*/ 30 w 60"/>
                <a:gd name="T13" fmla="*/ 0 h 31"/>
                <a:gd name="T14" fmla="*/ 30 w 60"/>
                <a:gd name="T15" fmla="*/ 0 h 31"/>
                <a:gd name="T16" fmla="*/ 0 w 60"/>
                <a:gd name="T17" fmla="*/ 30 h 31"/>
                <a:gd name="T18" fmla="*/ 0 w 60"/>
                <a:gd name="T19" fmla="*/ 30 h 31"/>
                <a:gd name="T20" fmla="*/ 0 w 60"/>
                <a:gd name="T21" fmla="*/ 30 h 31"/>
                <a:gd name="T22" fmla="*/ 30 w 60"/>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31">
                  <a:moveTo>
                    <a:pt x="30" y="0"/>
                  </a:moveTo>
                  <a:lnTo>
                    <a:pt x="30" y="0"/>
                  </a:lnTo>
                  <a:lnTo>
                    <a:pt x="30" y="0"/>
                  </a:lnTo>
                  <a:cubicBezTo>
                    <a:pt x="59" y="0"/>
                    <a:pt x="59" y="0"/>
                    <a:pt x="59" y="0"/>
                  </a:cubicBezTo>
                  <a:cubicBezTo>
                    <a:pt x="59" y="30"/>
                    <a:pt x="59" y="30"/>
                    <a:pt x="59" y="30"/>
                  </a:cubicBezTo>
                  <a:cubicBezTo>
                    <a:pt x="59" y="30"/>
                    <a:pt x="59" y="30"/>
                    <a:pt x="59" y="0"/>
                  </a:cubicBezTo>
                  <a:cubicBezTo>
                    <a:pt x="30" y="0"/>
                    <a:pt x="30" y="0"/>
                    <a:pt x="30" y="0"/>
                  </a:cubicBezTo>
                  <a:lnTo>
                    <a:pt x="30" y="0"/>
                  </a:lnTo>
                  <a:lnTo>
                    <a:pt x="0" y="30"/>
                  </a:lnTo>
                  <a:lnTo>
                    <a:pt x="0" y="30"/>
                  </a:lnTo>
                  <a:lnTo>
                    <a:pt x="0" y="30"/>
                  </a:lnTo>
                  <a:lnTo>
                    <a:pt x="3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3" name="Freeform 290">
              <a:extLst>
                <a:ext uri="{FF2B5EF4-FFF2-40B4-BE49-F238E27FC236}">
                  <a16:creationId xmlns:a16="http://schemas.microsoft.com/office/drawing/2014/main" id="{40BED403-A255-4936-9412-D98402C58D64}"/>
                </a:ext>
              </a:extLst>
            </p:cNvPr>
            <p:cNvSpPr>
              <a:spLocks noChangeArrowheads="1"/>
            </p:cNvSpPr>
            <p:nvPr/>
          </p:nvSpPr>
          <p:spPr bwMode="auto">
            <a:xfrm>
              <a:off x="10812571" y="2183174"/>
              <a:ext cx="453375" cy="236275"/>
            </a:xfrm>
            <a:custGeom>
              <a:avLst/>
              <a:gdLst>
                <a:gd name="T0" fmla="*/ 1166 w 1226"/>
                <a:gd name="T1" fmla="*/ 554 h 642"/>
                <a:gd name="T2" fmla="*/ 1166 w 1226"/>
                <a:gd name="T3" fmla="*/ 554 h 642"/>
                <a:gd name="T4" fmla="*/ 1166 w 1226"/>
                <a:gd name="T5" fmla="*/ 583 h 642"/>
                <a:gd name="T6" fmla="*/ 1225 w 1226"/>
                <a:gd name="T7" fmla="*/ 524 h 642"/>
                <a:gd name="T8" fmla="*/ 1225 w 1226"/>
                <a:gd name="T9" fmla="*/ 524 h 642"/>
                <a:gd name="T10" fmla="*/ 1108 w 1226"/>
                <a:gd name="T11" fmla="*/ 437 h 642"/>
                <a:gd name="T12" fmla="*/ 1021 w 1226"/>
                <a:gd name="T13" fmla="*/ 378 h 642"/>
                <a:gd name="T14" fmla="*/ 1050 w 1226"/>
                <a:gd name="T15" fmla="*/ 349 h 642"/>
                <a:gd name="T16" fmla="*/ 1021 w 1226"/>
                <a:gd name="T17" fmla="*/ 349 h 642"/>
                <a:gd name="T18" fmla="*/ 963 w 1226"/>
                <a:gd name="T19" fmla="*/ 292 h 642"/>
                <a:gd name="T20" fmla="*/ 963 w 1226"/>
                <a:gd name="T21" fmla="*/ 292 h 642"/>
                <a:gd name="T22" fmla="*/ 933 w 1226"/>
                <a:gd name="T23" fmla="*/ 320 h 642"/>
                <a:gd name="T24" fmla="*/ 875 w 1226"/>
                <a:gd name="T25" fmla="*/ 292 h 642"/>
                <a:gd name="T26" fmla="*/ 846 w 1226"/>
                <a:gd name="T27" fmla="*/ 205 h 642"/>
                <a:gd name="T28" fmla="*/ 875 w 1226"/>
                <a:gd name="T29" fmla="*/ 175 h 642"/>
                <a:gd name="T30" fmla="*/ 875 w 1226"/>
                <a:gd name="T31" fmla="*/ 175 h 642"/>
                <a:gd name="T32" fmla="*/ 904 w 1226"/>
                <a:gd name="T33" fmla="*/ 146 h 642"/>
                <a:gd name="T34" fmla="*/ 904 w 1226"/>
                <a:gd name="T35" fmla="*/ 146 h 642"/>
                <a:gd name="T36" fmla="*/ 875 w 1226"/>
                <a:gd name="T37" fmla="*/ 117 h 642"/>
                <a:gd name="T38" fmla="*/ 875 w 1226"/>
                <a:gd name="T39" fmla="*/ 117 h 642"/>
                <a:gd name="T40" fmla="*/ 933 w 1226"/>
                <a:gd name="T41" fmla="*/ 88 h 642"/>
                <a:gd name="T42" fmla="*/ 933 w 1226"/>
                <a:gd name="T43" fmla="*/ 88 h 642"/>
                <a:gd name="T44" fmla="*/ 904 w 1226"/>
                <a:gd name="T45" fmla="*/ 88 h 642"/>
                <a:gd name="T46" fmla="*/ 875 w 1226"/>
                <a:gd name="T47" fmla="*/ 58 h 642"/>
                <a:gd name="T48" fmla="*/ 875 w 1226"/>
                <a:gd name="T49" fmla="*/ 58 h 642"/>
                <a:gd name="T50" fmla="*/ 846 w 1226"/>
                <a:gd name="T51" fmla="*/ 0 h 642"/>
                <a:gd name="T52" fmla="*/ 787 w 1226"/>
                <a:gd name="T53" fmla="*/ 29 h 642"/>
                <a:gd name="T54" fmla="*/ 787 w 1226"/>
                <a:gd name="T55" fmla="*/ 58 h 642"/>
                <a:gd name="T56" fmla="*/ 787 w 1226"/>
                <a:gd name="T57" fmla="*/ 58 h 642"/>
                <a:gd name="T58" fmla="*/ 759 w 1226"/>
                <a:gd name="T59" fmla="*/ 58 h 642"/>
                <a:gd name="T60" fmla="*/ 759 w 1226"/>
                <a:gd name="T61" fmla="*/ 88 h 642"/>
                <a:gd name="T62" fmla="*/ 759 w 1226"/>
                <a:gd name="T63" fmla="*/ 88 h 642"/>
                <a:gd name="T64" fmla="*/ 263 w 1226"/>
                <a:gd name="T65" fmla="*/ 205 h 642"/>
                <a:gd name="T66" fmla="*/ 0 w 1226"/>
                <a:gd name="T67" fmla="*/ 263 h 642"/>
                <a:gd name="T68" fmla="*/ 0 w 1226"/>
                <a:gd name="T69" fmla="*/ 466 h 642"/>
                <a:gd name="T70" fmla="*/ 0 w 1226"/>
                <a:gd name="T71" fmla="*/ 612 h 642"/>
                <a:gd name="T72" fmla="*/ 88 w 1226"/>
                <a:gd name="T73" fmla="*/ 612 h 642"/>
                <a:gd name="T74" fmla="*/ 233 w 1226"/>
                <a:gd name="T75" fmla="*/ 583 h 642"/>
                <a:gd name="T76" fmla="*/ 263 w 1226"/>
                <a:gd name="T77" fmla="*/ 554 h 642"/>
                <a:gd name="T78" fmla="*/ 437 w 1226"/>
                <a:gd name="T79" fmla="*/ 524 h 642"/>
                <a:gd name="T80" fmla="*/ 613 w 1226"/>
                <a:gd name="T81" fmla="*/ 466 h 642"/>
                <a:gd name="T82" fmla="*/ 642 w 1226"/>
                <a:gd name="T83" fmla="*/ 466 h 642"/>
                <a:gd name="T84" fmla="*/ 642 w 1226"/>
                <a:gd name="T85" fmla="*/ 466 h 642"/>
                <a:gd name="T86" fmla="*/ 642 w 1226"/>
                <a:gd name="T87" fmla="*/ 466 h 642"/>
                <a:gd name="T88" fmla="*/ 787 w 1226"/>
                <a:gd name="T89" fmla="*/ 407 h 642"/>
                <a:gd name="T90" fmla="*/ 816 w 1226"/>
                <a:gd name="T91" fmla="*/ 407 h 642"/>
                <a:gd name="T92" fmla="*/ 816 w 1226"/>
                <a:gd name="T93" fmla="*/ 437 h 642"/>
                <a:gd name="T94" fmla="*/ 846 w 1226"/>
                <a:gd name="T95" fmla="*/ 495 h 642"/>
                <a:gd name="T96" fmla="*/ 875 w 1226"/>
                <a:gd name="T97" fmla="*/ 554 h 642"/>
                <a:gd name="T98" fmla="*/ 875 w 1226"/>
                <a:gd name="T99" fmla="*/ 554 h 642"/>
                <a:gd name="T100" fmla="*/ 933 w 1226"/>
                <a:gd name="T101" fmla="*/ 554 h 642"/>
                <a:gd name="T102" fmla="*/ 933 w 1226"/>
                <a:gd name="T103" fmla="*/ 554 h 642"/>
                <a:gd name="T104" fmla="*/ 933 w 1226"/>
                <a:gd name="T105" fmla="*/ 554 h 642"/>
                <a:gd name="T106" fmla="*/ 963 w 1226"/>
                <a:gd name="T107" fmla="*/ 583 h 642"/>
                <a:gd name="T108" fmla="*/ 992 w 1226"/>
                <a:gd name="T109" fmla="*/ 641 h 642"/>
                <a:gd name="T110" fmla="*/ 992 w 1226"/>
                <a:gd name="T111" fmla="*/ 641 h 642"/>
                <a:gd name="T112" fmla="*/ 1050 w 1226"/>
                <a:gd name="T113" fmla="*/ 583 h 642"/>
                <a:gd name="T114" fmla="*/ 1108 w 1226"/>
                <a:gd name="T115" fmla="*/ 495 h 642"/>
                <a:gd name="T116" fmla="*/ 1166 w 1226"/>
                <a:gd name="T117" fmla="*/ 554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6" h="642">
                  <a:moveTo>
                    <a:pt x="1166" y="554"/>
                  </a:moveTo>
                  <a:lnTo>
                    <a:pt x="1166" y="554"/>
                  </a:lnTo>
                  <a:lnTo>
                    <a:pt x="1166" y="583"/>
                  </a:lnTo>
                  <a:cubicBezTo>
                    <a:pt x="1196" y="583"/>
                    <a:pt x="1196" y="554"/>
                    <a:pt x="1225" y="524"/>
                  </a:cubicBezTo>
                  <a:lnTo>
                    <a:pt x="1225" y="524"/>
                  </a:lnTo>
                  <a:cubicBezTo>
                    <a:pt x="1166" y="524"/>
                    <a:pt x="1108" y="466"/>
                    <a:pt x="1108" y="437"/>
                  </a:cubicBezTo>
                  <a:cubicBezTo>
                    <a:pt x="1080" y="437"/>
                    <a:pt x="1050" y="407"/>
                    <a:pt x="1021" y="378"/>
                  </a:cubicBezTo>
                  <a:cubicBezTo>
                    <a:pt x="1050" y="378"/>
                    <a:pt x="1050" y="378"/>
                    <a:pt x="1050" y="349"/>
                  </a:cubicBezTo>
                  <a:cubicBezTo>
                    <a:pt x="1050" y="349"/>
                    <a:pt x="1050" y="349"/>
                    <a:pt x="1021" y="349"/>
                  </a:cubicBezTo>
                  <a:cubicBezTo>
                    <a:pt x="1021" y="320"/>
                    <a:pt x="992" y="320"/>
                    <a:pt x="963" y="292"/>
                  </a:cubicBezTo>
                  <a:lnTo>
                    <a:pt x="963" y="292"/>
                  </a:lnTo>
                  <a:cubicBezTo>
                    <a:pt x="963" y="320"/>
                    <a:pt x="963" y="320"/>
                    <a:pt x="933" y="320"/>
                  </a:cubicBezTo>
                  <a:cubicBezTo>
                    <a:pt x="904" y="320"/>
                    <a:pt x="875" y="320"/>
                    <a:pt x="875" y="292"/>
                  </a:cubicBezTo>
                  <a:cubicBezTo>
                    <a:pt x="846" y="263"/>
                    <a:pt x="846" y="234"/>
                    <a:pt x="846" y="205"/>
                  </a:cubicBezTo>
                  <a:cubicBezTo>
                    <a:pt x="875" y="175"/>
                    <a:pt x="875" y="175"/>
                    <a:pt x="875" y="175"/>
                  </a:cubicBezTo>
                  <a:lnTo>
                    <a:pt x="875" y="175"/>
                  </a:lnTo>
                  <a:cubicBezTo>
                    <a:pt x="875" y="175"/>
                    <a:pt x="875" y="175"/>
                    <a:pt x="904" y="146"/>
                  </a:cubicBezTo>
                  <a:lnTo>
                    <a:pt x="904" y="146"/>
                  </a:lnTo>
                  <a:cubicBezTo>
                    <a:pt x="904" y="146"/>
                    <a:pt x="875" y="146"/>
                    <a:pt x="875" y="117"/>
                  </a:cubicBezTo>
                  <a:lnTo>
                    <a:pt x="875" y="117"/>
                  </a:lnTo>
                  <a:cubicBezTo>
                    <a:pt x="904" y="117"/>
                    <a:pt x="904" y="88"/>
                    <a:pt x="933" y="88"/>
                  </a:cubicBezTo>
                  <a:lnTo>
                    <a:pt x="933" y="88"/>
                  </a:lnTo>
                  <a:cubicBezTo>
                    <a:pt x="904" y="88"/>
                    <a:pt x="904" y="88"/>
                    <a:pt x="904" y="88"/>
                  </a:cubicBezTo>
                  <a:cubicBezTo>
                    <a:pt x="875" y="58"/>
                    <a:pt x="875" y="58"/>
                    <a:pt x="875" y="58"/>
                  </a:cubicBezTo>
                  <a:lnTo>
                    <a:pt x="875" y="58"/>
                  </a:lnTo>
                  <a:cubicBezTo>
                    <a:pt x="875" y="29"/>
                    <a:pt x="846" y="0"/>
                    <a:pt x="846" y="0"/>
                  </a:cubicBezTo>
                  <a:cubicBezTo>
                    <a:pt x="816" y="0"/>
                    <a:pt x="816" y="29"/>
                    <a:pt x="787" y="29"/>
                  </a:cubicBezTo>
                  <a:cubicBezTo>
                    <a:pt x="787" y="58"/>
                    <a:pt x="787" y="58"/>
                    <a:pt x="787" y="58"/>
                  </a:cubicBezTo>
                  <a:lnTo>
                    <a:pt x="787" y="58"/>
                  </a:lnTo>
                  <a:cubicBezTo>
                    <a:pt x="759" y="58"/>
                    <a:pt x="759" y="58"/>
                    <a:pt x="759" y="58"/>
                  </a:cubicBezTo>
                  <a:cubicBezTo>
                    <a:pt x="759" y="88"/>
                    <a:pt x="759" y="88"/>
                    <a:pt x="759" y="88"/>
                  </a:cubicBezTo>
                  <a:lnTo>
                    <a:pt x="759" y="88"/>
                  </a:lnTo>
                  <a:cubicBezTo>
                    <a:pt x="613" y="146"/>
                    <a:pt x="437" y="175"/>
                    <a:pt x="263" y="205"/>
                  </a:cubicBezTo>
                  <a:cubicBezTo>
                    <a:pt x="175" y="234"/>
                    <a:pt x="88" y="234"/>
                    <a:pt x="0" y="263"/>
                  </a:cubicBezTo>
                  <a:cubicBezTo>
                    <a:pt x="0" y="320"/>
                    <a:pt x="0" y="378"/>
                    <a:pt x="0" y="466"/>
                  </a:cubicBezTo>
                  <a:cubicBezTo>
                    <a:pt x="0" y="524"/>
                    <a:pt x="0" y="583"/>
                    <a:pt x="0" y="612"/>
                  </a:cubicBezTo>
                  <a:cubicBezTo>
                    <a:pt x="30" y="612"/>
                    <a:pt x="59" y="612"/>
                    <a:pt x="88" y="612"/>
                  </a:cubicBezTo>
                  <a:cubicBezTo>
                    <a:pt x="146" y="583"/>
                    <a:pt x="204" y="583"/>
                    <a:pt x="233" y="583"/>
                  </a:cubicBezTo>
                  <a:cubicBezTo>
                    <a:pt x="263" y="554"/>
                    <a:pt x="263" y="554"/>
                    <a:pt x="263" y="554"/>
                  </a:cubicBezTo>
                  <a:cubicBezTo>
                    <a:pt x="321" y="554"/>
                    <a:pt x="380" y="524"/>
                    <a:pt x="437" y="524"/>
                  </a:cubicBezTo>
                  <a:cubicBezTo>
                    <a:pt x="496" y="495"/>
                    <a:pt x="554" y="495"/>
                    <a:pt x="613" y="466"/>
                  </a:cubicBezTo>
                  <a:cubicBezTo>
                    <a:pt x="642" y="466"/>
                    <a:pt x="642" y="466"/>
                    <a:pt x="642" y="466"/>
                  </a:cubicBezTo>
                  <a:lnTo>
                    <a:pt x="642" y="466"/>
                  </a:lnTo>
                  <a:lnTo>
                    <a:pt x="642" y="466"/>
                  </a:lnTo>
                  <a:cubicBezTo>
                    <a:pt x="700" y="437"/>
                    <a:pt x="759" y="437"/>
                    <a:pt x="787" y="407"/>
                  </a:cubicBezTo>
                  <a:cubicBezTo>
                    <a:pt x="816" y="407"/>
                    <a:pt x="816" y="407"/>
                    <a:pt x="816" y="407"/>
                  </a:cubicBezTo>
                  <a:cubicBezTo>
                    <a:pt x="816" y="437"/>
                    <a:pt x="816" y="437"/>
                    <a:pt x="816" y="437"/>
                  </a:cubicBezTo>
                  <a:cubicBezTo>
                    <a:pt x="816" y="466"/>
                    <a:pt x="846" y="466"/>
                    <a:pt x="846" y="495"/>
                  </a:cubicBezTo>
                  <a:cubicBezTo>
                    <a:pt x="846" y="524"/>
                    <a:pt x="875" y="524"/>
                    <a:pt x="875" y="554"/>
                  </a:cubicBezTo>
                  <a:lnTo>
                    <a:pt x="875" y="554"/>
                  </a:lnTo>
                  <a:cubicBezTo>
                    <a:pt x="904" y="554"/>
                    <a:pt x="904" y="554"/>
                    <a:pt x="933" y="554"/>
                  </a:cubicBezTo>
                  <a:lnTo>
                    <a:pt x="933" y="554"/>
                  </a:lnTo>
                  <a:lnTo>
                    <a:pt x="933" y="554"/>
                  </a:lnTo>
                  <a:cubicBezTo>
                    <a:pt x="963" y="554"/>
                    <a:pt x="963" y="583"/>
                    <a:pt x="963" y="583"/>
                  </a:cubicBezTo>
                  <a:cubicBezTo>
                    <a:pt x="963" y="612"/>
                    <a:pt x="992" y="641"/>
                    <a:pt x="992" y="641"/>
                  </a:cubicBezTo>
                  <a:lnTo>
                    <a:pt x="992" y="641"/>
                  </a:lnTo>
                  <a:cubicBezTo>
                    <a:pt x="992" y="612"/>
                    <a:pt x="1021" y="583"/>
                    <a:pt x="1050" y="583"/>
                  </a:cubicBezTo>
                  <a:cubicBezTo>
                    <a:pt x="1050" y="554"/>
                    <a:pt x="1080" y="495"/>
                    <a:pt x="1108" y="495"/>
                  </a:cubicBezTo>
                  <a:cubicBezTo>
                    <a:pt x="1166" y="495"/>
                    <a:pt x="1166" y="524"/>
                    <a:pt x="1166" y="55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4" name="Freeform 291">
              <a:extLst>
                <a:ext uri="{FF2B5EF4-FFF2-40B4-BE49-F238E27FC236}">
                  <a16:creationId xmlns:a16="http://schemas.microsoft.com/office/drawing/2014/main" id="{B1449AE1-689E-4065-804D-2511D68A1990}"/>
                </a:ext>
              </a:extLst>
            </p:cNvPr>
            <p:cNvSpPr>
              <a:spLocks noChangeArrowheads="1"/>
            </p:cNvSpPr>
            <p:nvPr/>
          </p:nvSpPr>
          <p:spPr bwMode="auto">
            <a:xfrm>
              <a:off x="11135478" y="2408120"/>
              <a:ext cx="21200" cy="21039"/>
            </a:xfrm>
            <a:custGeom>
              <a:avLst/>
              <a:gdLst>
                <a:gd name="T0" fmla="*/ 29 w 59"/>
                <a:gd name="T1" fmla="*/ 0 h 59"/>
                <a:gd name="T2" fmla="*/ 29 w 59"/>
                <a:gd name="T3" fmla="*/ 0 h 59"/>
                <a:gd name="T4" fmla="*/ 0 w 59"/>
                <a:gd name="T5" fmla="*/ 0 h 59"/>
                <a:gd name="T6" fmla="*/ 29 w 59"/>
                <a:gd name="T7" fmla="*/ 58 h 59"/>
                <a:gd name="T8" fmla="*/ 58 w 59"/>
                <a:gd name="T9" fmla="*/ 58 h 59"/>
                <a:gd name="T10" fmla="*/ 2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29" y="0"/>
                  </a:moveTo>
                  <a:lnTo>
                    <a:pt x="29" y="0"/>
                  </a:lnTo>
                  <a:cubicBezTo>
                    <a:pt x="29" y="0"/>
                    <a:pt x="29" y="0"/>
                    <a:pt x="0" y="0"/>
                  </a:cubicBezTo>
                  <a:cubicBezTo>
                    <a:pt x="29" y="0"/>
                    <a:pt x="29" y="29"/>
                    <a:pt x="29" y="58"/>
                  </a:cubicBezTo>
                  <a:cubicBezTo>
                    <a:pt x="58" y="58"/>
                    <a:pt x="58" y="58"/>
                    <a:pt x="58" y="58"/>
                  </a:cubicBezTo>
                  <a:cubicBezTo>
                    <a:pt x="58" y="29"/>
                    <a:pt x="58"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5" name="Freeform 292">
              <a:extLst>
                <a:ext uri="{FF2B5EF4-FFF2-40B4-BE49-F238E27FC236}">
                  <a16:creationId xmlns:a16="http://schemas.microsoft.com/office/drawing/2014/main" id="{D21D553D-D23B-408E-A301-030D636AEB14}"/>
                </a:ext>
              </a:extLst>
            </p:cNvPr>
            <p:cNvSpPr>
              <a:spLocks noChangeArrowheads="1"/>
            </p:cNvSpPr>
            <p:nvPr/>
          </p:nvSpPr>
          <p:spPr bwMode="auto">
            <a:xfrm>
              <a:off x="11448601" y="1776975"/>
              <a:ext cx="11415" cy="1619"/>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6" name="Freeform 293">
              <a:extLst>
                <a:ext uri="{FF2B5EF4-FFF2-40B4-BE49-F238E27FC236}">
                  <a16:creationId xmlns:a16="http://schemas.microsoft.com/office/drawing/2014/main" id="{01F1DE26-D634-43AA-8A2D-A24BD2DF0D60}"/>
                </a:ext>
              </a:extLst>
            </p:cNvPr>
            <p:cNvSpPr>
              <a:spLocks noChangeArrowheads="1"/>
            </p:cNvSpPr>
            <p:nvPr/>
          </p:nvSpPr>
          <p:spPr bwMode="auto">
            <a:xfrm>
              <a:off x="10983809" y="1317372"/>
              <a:ext cx="539810" cy="835053"/>
            </a:xfrm>
            <a:custGeom>
              <a:avLst/>
              <a:gdLst>
                <a:gd name="T0" fmla="*/ 1459 w 1460"/>
                <a:gd name="T1" fmla="*/ 1050 h 2276"/>
                <a:gd name="T2" fmla="*/ 1284 w 1460"/>
                <a:gd name="T3" fmla="*/ 817 h 2276"/>
                <a:gd name="T4" fmla="*/ 1138 w 1460"/>
                <a:gd name="T5" fmla="*/ 758 h 2276"/>
                <a:gd name="T6" fmla="*/ 1021 w 1460"/>
                <a:gd name="T7" fmla="*/ 758 h 2276"/>
                <a:gd name="T8" fmla="*/ 847 w 1460"/>
                <a:gd name="T9" fmla="*/ 291 h 2276"/>
                <a:gd name="T10" fmla="*/ 730 w 1460"/>
                <a:gd name="T11" fmla="*/ 58 h 2276"/>
                <a:gd name="T12" fmla="*/ 642 w 1460"/>
                <a:gd name="T13" fmla="*/ 58 h 2276"/>
                <a:gd name="T14" fmla="*/ 584 w 1460"/>
                <a:gd name="T15" fmla="*/ 29 h 2276"/>
                <a:gd name="T16" fmla="*/ 497 w 1460"/>
                <a:gd name="T17" fmla="*/ 29 h 2276"/>
                <a:gd name="T18" fmla="*/ 321 w 1460"/>
                <a:gd name="T19" fmla="*/ 87 h 2276"/>
                <a:gd name="T20" fmla="*/ 293 w 1460"/>
                <a:gd name="T21" fmla="*/ 87 h 2276"/>
                <a:gd name="T22" fmla="*/ 234 w 1460"/>
                <a:gd name="T23" fmla="*/ 29 h 2276"/>
                <a:gd name="T24" fmla="*/ 117 w 1460"/>
                <a:gd name="T25" fmla="*/ 379 h 2276"/>
                <a:gd name="T26" fmla="*/ 59 w 1460"/>
                <a:gd name="T27" fmla="*/ 496 h 2276"/>
                <a:gd name="T28" fmla="*/ 117 w 1460"/>
                <a:gd name="T29" fmla="*/ 670 h 2276"/>
                <a:gd name="T30" fmla="*/ 147 w 1460"/>
                <a:gd name="T31" fmla="*/ 787 h 2276"/>
                <a:gd name="T32" fmla="*/ 117 w 1460"/>
                <a:gd name="T33" fmla="*/ 904 h 2276"/>
                <a:gd name="T34" fmla="*/ 147 w 1460"/>
                <a:gd name="T35" fmla="*/ 962 h 2276"/>
                <a:gd name="T36" fmla="*/ 88 w 1460"/>
                <a:gd name="T37" fmla="*/ 1050 h 2276"/>
                <a:gd name="T38" fmla="*/ 0 w 1460"/>
                <a:gd name="T39" fmla="*/ 1225 h 2276"/>
                <a:gd name="T40" fmla="*/ 380 w 1460"/>
                <a:gd name="T41" fmla="*/ 2246 h 2276"/>
                <a:gd name="T42" fmla="*/ 438 w 1460"/>
                <a:gd name="T43" fmla="*/ 2275 h 2276"/>
                <a:gd name="T44" fmla="*/ 467 w 1460"/>
                <a:gd name="T45" fmla="*/ 2129 h 2276"/>
                <a:gd name="T46" fmla="*/ 526 w 1460"/>
                <a:gd name="T47" fmla="*/ 2100 h 2276"/>
                <a:gd name="T48" fmla="*/ 497 w 1460"/>
                <a:gd name="T49" fmla="*/ 2012 h 2276"/>
                <a:gd name="T50" fmla="*/ 497 w 1460"/>
                <a:gd name="T51" fmla="*/ 2012 h 2276"/>
                <a:gd name="T52" fmla="*/ 584 w 1460"/>
                <a:gd name="T53" fmla="*/ 1954 h 2276"/>
                <a:gd name="T54" fmla="*/ 526 w 1460"/>
                <a:gd name="T55" fmla="*/ 1867 h 2276"/>
                <a:gd name="T56" fmla="*/ 526 w 1460"/>
                <a:gd name="T57" fmla="*/ 1837 h 2276"/>
                <a:gd name="T58" fmla="*/ 642 w 1460"/>
                <a:gd name="T59" fmla="*/ 1779 h 2276"/>
                <a:gd name="T60" fmla="*/ 671 w 1460"/>
                <a:gd name="T61" fmla="*/ 1808 h 2276"/>
                <a:gd name="T62" fmla="*/ 730 w 1460"/>
                <a:gd name="T63" fmla="*/ 1633 h 2276"/>
                <a:gd name="T64" fmla="*/ 730 w 1460"/>
                <a:gd name="T65" fmla="*/ 1633 h 2276"/>
                <a:gd name="T66" fmla="*/ 847 w 1460"/>
                <a:gd name="T67" fmla="*/ 1633 h 2276"/>
                <a:gd name="T68" fmla="*/ 847 w 1460"/>
                <a:gd name="T69" fmla="*/ 1575 h 2276"/>
                <a:gd name="T70" fmla="*/ 847 w 1460"/>
                <a:gd name="T71" fmla="*/ 1458 h 2276"/>
                <a:gd name="T72" fmla="*/ 876 w 1460"/>
                <a:gd name="T73" fmla="*/ 1283 h 2276"/>
                <a:gd name="T74" fmla="*/ 934 w 1460"/>
                <a:gd name="T75" fmla="*/ 1400 h 2276"/>
                <a:gd name="T76" fmla="*/ 992 w 1460"/>
                <a:gd name="T77" fmla="*/ 1341 h 2276"/>
                <a:gd name="T78" fmla="*/ 1080 w 1460"/>
                <a:gd name="T79" fmla="*/ 1370 h 2276"/>
                <a:gd name="T80" fmla="*/ 1109 w 1460"/>
                <a:gd name="T81" fmla="*/ 1283 h 2276"/>
                <a:gd name="T82" fmla="*/ 1138 w 1460"/>
                <a:gd name="T83" fmla="*/ 1283 h 2276"/>
                <a:gd name="T84" fmla="*/ 1167 w 1460"/>
                <a:gd name="T85" fmla="*/ 1312 h 2276"/>
                <a:gd name="T86" fmla="*/ 1167 w 1460"/>
                <a:gd name="T87" fmla="*/ 1283 h 2276"/>
                <a:gd name="T88" fmla="*/ 1197 w 1460"/>
                <a:gd name="T89" fmla="*/ 1225 h 2276"/>
                <a:gd name="T90" fmla="*/ 1255 w 1460"/>
                <a:gd name="T91" fmla="*/ 1196 h 2276"/>
                <a:gd name="T92" fmla="*/ 1255 w 1460"/>
                <a:gd name="T93" fmla="*/ 1196 h 2276"/>
                <a:gd name="T94" fmla="*/ 1314 w 1460"/>
                <a:gd name="T95" fmla="*/ 1196 h 2276"/>
                <a:gd name="T96" fmla="*/ 1314 w 1460"/>
                <a:gd name="T97" fmla="*/ 1137 h 2276"/>
                <a:gd name="T98" fmla="*/ 1459 w 1460"/>
                <a:gd name="T99" fmla="*/ 1050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60" h="2276">
                  <a:moveTo>
                    <a:pt x="1459" y="1050"/>
                  </a:moveTo>
                  <a:lnTo>
                    <a:pt x="1459" y="1050"/>
                  </a:lnTo>
                  <a:cubicBezTo>
                    <a:pt x="1400" y="1020"/>
                    <a:pt x="1371" y="962"/>
                    <a:pt x="1371" y="904"/>
                  </a:cubicBezTo>
                  <a:cubicBezTo>
                    <a:pt x="1342" y="875"/>
                    <a:pt x="1314" y="846"/>
                    <a:pt x="1284" y="817"/>
                  </a:cubicBezTo>
                  <a:cubicBezTo>
                    <a:pt x="1284" y="787"/>
                    <a:pt x="1284" y="787"/>
                    <a:pt x="1284" y="787"/>
                  </a:cubicBezTo>
                  <a:cubicBezTo>
                    <a:pt x="1226" y="787"/>
                    <a:pt x="1167" y="787"/>
                    <a:pt x="1138" y="758"/>
                  </a:cubicBezTo>
                  <a:cubicBezTo>
                    <a:pt x="1109" y="787"/>
                    <a:pt x="1080" y="787"/>
                    <a:pt x="1050" y="758"/>
                  </a:cubicBezTo>
                  <a:cubicBezTo>
                    <a:pt x="1021" y="758"/>
                    <a:pt x="1021" y="758"/>
                    <a:pt x="1021" y="758"/>
                  </a:cubicBezTo>
                  <a:lnTo>
                    <a:pt x="1021" y="758"/>
                  </a:lnTo>
                  <a:cubicBezTo>
                    <a:pt x="964" y="612"/>
                    <a:pt x="905" y="437"/>
                    <a:pt x="847" y="291"/>
                  </a:cubicBezTo>
                  <a:cubicBezTo>
                    <a:pt x="817" y="234"/>
                    <a:pt x="788" y="146"/>
                    <a:pt x="759" y="87"/>
                  </a:cubicBezTo>
                  <a:cubicBezTo>
                    <a:pt x="759" y="58"/>
                    <a:pt x="730" y="58"/>
                    <a:pt x="730" y="58"/>
                  </a:cubicBezTo>
                  <a:cubicBezTo>
                    <a:pt x="700" y="58"/>
                    <a:pt x="700" y="58"/>
                    <a:pt x="700" y="58"/>
                  </a:cubicBezTo>
                  <a:cubicBezTo>
                    <a:pt x="671" y="58"/>
                    <a:pt x="642" y="58"/>
                    <a:pt x="642" y="58"/>
                  </a:cubicBezTo>
                  <a:cubicBezTo>
                    <a:pt x="614" y="29"/>
                    <a:pt x="614" y="29"/>
                    <a:pt x="614" y="29"/>
                  </a:cubicBezTo>
                  <a:cubicBezTo>
                    <a:pt x="584" y="29"/>
                    <a:pt x="584" y="29"/>
                    <a:pt x="584" y="29"/>
                  </a:cubicBezTo>
                  <a:lnTo>
                    <a:pt x="555" y="29"/>
                  </a:lnTo>
                  <a:cubicBezTo>
                    <a:pt x="526" y="29"/>
                    <a:pt x="497" y="29"/>
                    <a:pt x="497" y="29"/>
                  </a:cubicBezTo>
                  <a:cubicBezTo>
                    <a:pt x="467" y="0"/>
                    <a:pt x="467" y="0"/>
                    <a:pt x="467" y="0"/>
                  </a:cubicBezTo>
                  <a:cubicBezTo>
                    <a:pt x="438" y="58"/>
                    <a:pt x="380" y="87"/>
                    <a:pt x="321" y="87"/>
                  </a:cubicBezTo>
                  <a:cubicBezTo>
                    <a:pt x="293" y="87"/>
                    <a:pt x="293" y="87"/>
                    <a:pt x="293" y="87"/>
                  </a:cubicBezTo>
                  <a:lnTo>
                    <a:pt x="293" y="87"/>
                  </a:lnTo>
                  <a:cubicBezTo>
                    <a:pt x="264" y="87"/>
                    <a:pt x="264" y="58"/>
                    <a:pt x="264" y="29"/>
                  </a:cubicBezTo>
                  <a:cubicBezTo>
                    <a:pt x="264" y="29"/>
                    <a:pt x="264" y="29"/>
                    <a:pt x="234" y="29"/>
                  </a:cubicBezTo>
                  <a:cubicBezTo>
                    <a:pt x="205" y="117"/>
                    <a:pt x="176" y="204"/>
                    <a:pt x="147" y="291"/>
                  </a:cubicBezTo>
                  <a:cubicBezTo>
                    <a:pt x="147" y="320"/>
                    <a:pt x="117" y="350"/>
                    <a:pt x="117" y="379"/>
                  </a:cubicBezTo>
                  <a:cubicBezTo>
                    <a:pt x="117" y="408"/>
                    <a:pt x="117" y="408"/>
                    <a:pt x="88" y="437"/>
                  </a:cubicBezTo>
                  <a:cubicBezTo>
                    <a:pt x="88" y="467"/>
                    <a:pt x="88" y="496"/>
                    <a:pt x="59" y="496"/>
                  </a:cubicBezTo>
                  <a:cubicBezTo>
                    <a:pt x="59" y="554"/>
                    <a:pt x="88" y="583"/>
                    <a:pt x="88" y="641"/>
                  </a:cubicBezTo>
                  <a:cubicBezTo>
                    <a:pt x="88" y="641"/>
                    <a:pt x="117" y="641"/>
                    <a:pt x="117" y="670"/>
                  </a:cubicBezTo>
                  <a:lnTo>
                    <a:pt x="117" y="700"/>
                  </a:lnTo>
                  <a:cubicBezTo>
                    <a:pt x="147" y="729"/>
                    <a:pt x="147" y="758"/>
                    <a:pt x="147" y="787"/>
                  </a:cubicBezTo>
                  <a:cubicBezTo>
                    <a:pt x="176" y="846"/>
                    <a:pt x="147" y="846"/>
                    <a:pt x="147" y="875"/>
                  </a:cubicBezTo>
                  <a:cubicBezTo>
                    <a:pt x="117" y="875"/>
                    <a:pt x="117" y="904"/>
                    <a:pt x="117" y="904"/>
                  </a:cubicBezTo>
                  <a:cubicBezTo>
                    <a:pt x="117" y="904"/>
                    <a:pt x="117" y="904"/>
                    <a:pt x="147" y="933"/>
                  </a:cubicBezTo>
                  <a:lnTo>
                    <a:pt x="147" y="962"/>
                  </a:lnTo>
                  <a:cubicBezTo>
                    <a:pt x="147" y="991"/>
                    <a:pt x="117" y="1020"/>
                    <a:pt x="88" y="1020"/>
                  </a:cubicBezTo>
                  <a:lnTo>
                    <a:pt x="88" y="1050"/>
                  </a:lnTo>
                  <a:cubicBezTo>
                    <a:pt x="88" y="1108"/>
                    <a:pt x="88" y="1137"/>
                    <a:pt x="59" y="1196"/>
                  </a:cubicBezTo>
                  <a:cubicBezTo>
                    <a:pt x="59" y="1196"/>
                    <a:pt x="30" y="1225"/>
                    <a:pt x="0" y="1225"/>
                  </a:cubicBezTo>
                  <a:cubicBezTo>
                    <a:pt x="59" y="1400"/>
                    <a:pt x="117" y="1575"/>
                    <a:pt x="176" y="1720"/>
                  </a:cubicBezTo>
                  <a:cubicBezTo>
                    <a:pt x="264" y="1896"/>
                    <a:pt x="321" y="2070"/>
                    <a:pt x="380" y="2246"/>
                  </a:cubicBezTo>
                  <a:cubicBezTo>
                    <a:pt x="380" y="2246"/>
                    <a:pt x="380" y="2246"/>
                    <a:pt x="409" y="2275"/>
                  </a:cubicBezTo>
                  <a:cubicBezTo>
                    <a:pt x="409" y="2275"/>
                    <a:pt x="409" y="2275"/>
                    <a:pt x="438" y="2275"/>
                  </a:cubicBezTo>
                  <a:cubicBezTo>
                    <a:pt x="438" y="2246"/>
                    <a:pt x="497" y="2187"/>
                    <a:pt x="467" y="2129"/>
                  </a:cubicBezTo>
                  <a:lnTo>
                    <a:pt x="467" y="2129"/>
                  </a:lnTo>
                  <a:cubicBezTo>
                    <a:pt x="467" y="2100"/>
                    <a:pt x="467" y="2100"/>
                    <a:pt x="467" y="2100"/>
                  </a:cubicBezTo>
                  <a:cubicBezTo>
                    <a:pt x="497" y="2100"/>
                    <a:pt x="497" y="2100"/>
                    <a:pt x="526" y="2100"/>
                  </a:cubicBezTo>
                  <a:lnTo>
                    <a:pt x="555" y="2070"/>
                  </a:lnTo>
                  <a:cubicBezTo>
                    <a:pt x="526" y="2070"/>
                    <a:pt x="497" y="2041"/>
                    <a:pt x="497" y="2012"/>
                  </a:cubicBezTo>
                  <a:lnTo>
                    <a:pt x="497" y="2012"/>
                  </a:lnTo>
                  <a:lnTo>
                    <a:pt x="497" y="2012"/>
                  </a:lnTo>
                  <a:cubicBezTo>
                    <a:pt x="526" y="1983"/>
                    <a:pt x="526" y="1983"/>
                    <a:pt x="555" y="1983"/>
                  </a:cubicBezTo>
                  <a:cubicBezTo>
                    <a:pt x="584" y="1954"/>
                    <a:pt x="584" y="1954"/>
                    <a:pt x="584" y="1954"/>
                  </a:cubicBezTo>
                  <a:cubicBezTo>
                    <a:pt x="584" y="1925"/>
                    <a:pt x="584" y="1925"/>
                    <a:pt x="584" y="1925"/>
                  </a:cubicBezTo>
                  <a:cubicBezTo>
                    <a:pt x="555" y="1896"/>
                    <a:pt x="526" y="1896"/>
                    <a:pt x="526" y="1867"/>
                  </a:cubicBezTo>
                  <a:cubicBezTo>
                    <a:pt x="526" y="1837"/>
                    <a:pt x="526" y="1837"/>
                    <a:pt x="526" y="1837"/>
                  </a:cubicBezTo>
                  <a:lnTo>
                    <a:pt x="526" y="1837"/>
                  </a:lnTo>
                  <a:cubicBezTo>
                    <a:pt x="555" y="1808"/>
                    <a:pt x="584" y="1779"/>
                    <a:pt x="642" y="1779"/>
                  </a:cubicBezTo>
                  <a:lnTo>
                    <a:pt x="642" y="1779"/>
                  </a:lnTo>
                  <a:lnTo>
                    <a:pt x="642" y="1779"/>
                  </a:lnTo>
                  <a:cubicBezTo>
                    <a:pt x="671" y="1779"/>
                    <a:pt x="671" y="1779"/>
                    <a:pt x="671" y="1808"/>
                  </a:cubicBezTo>
                  <a:cubicBezTo>
                    <a:pt x="671" y="1779"/>
                    <a:pt x="700" y="1750"/>
                    <a:pt x="700" y="1720"/>
                  </a:cubicBezTo>
                  <a:cubicBezTo>
                    <a:pt x="730" y="1691"/>
                    <a:pt x="730" y="1662"/>
                    <a:pt x="730" y="1633"/>
                  </a:cubicBezTo>
                  <a:lnTo>
                    <a:pt x="730" y="1633"/>
                  </a:lnTo>
                  <a:lnTo>
                    <a:pt x="730" y="1633"/>
                  </a:lnTo>
                  <a:cubicBezTo>
                    <a:pt x="759" y="1604"/>
                    <a:pt x="759" y="1604"/>
                    <a:pt x="788" y="1604"/>
                  </a:cubicBezTo>
                  <a:cubicBezTo>
                    <a:pt x="817" y="1604"/>
                    <a:pt x="817" y="1633"/>
                    <a:pt x="847" y="1633"/>
                  </a:cubicBezTo>
                  <a:cubicBezTo>
                    <a:pt x="847" y="1633"/>
                    <a:pt x="817" y="1633"/>
                    <a:pt x="817" y="1604"/>
                  </a:cubicBezTo>
                  <a:cubicBezTo>
                    <a:pt x="817" y="1604"/>
                    <a:pt x="847" y="1604"/>
                    <a:pt x="847" y="1575"/>
                  </a:cubicBezTo>
                  <a:lnTo>
                    <a:pt x="847" y="1575"/>
                  </a:lnTo>
                  <a:cubicBezTo>
                    <a:pt x="847" y="1546"/>
                    <a:pt x="847" y="1487"/>
                    <a:pt x="847" y="1458"/>
                  </a:cubicBezTo>
                  <a:cubicBezTo>
                    <a:pt x="817" y="1400"/>
                    <a:pt x="817" y="1341"/>
                    <a:pt x="847" y="1283"/>
                  </a:cubicBezTo>
                  <a:cubicBezTo>
                    <a:pt x="876" y="1283"/>
                    <a:pt x="876" y="1283"/>
                    <a:pt x="876" y="1283"/>
                  </a:cubicBezTo>
                  <a:lnTo>
                    <a:pt x="876" y="1283"/>
                  </a:lnTo>
                  <a:cubicBezTo>
                    <a:pt x="905" y="1312"/>
                    <a:pt x="934" y="1341"/>
                    <a:pt x="934" y="1400"/>
                  </a:cubicBezTo>
                  <a:cubicBezTo>
                    <a:pt x="934" y="1400"/>
                    <a:pt x="934" y="1400"/>
                    <a:pt x="964" y="1400"/>
                  </a:cubicBezTo>
                  <a:cubicBezTo>
                    <a:pt x="964" y="1370"/>
                    <a:pt x="964" y="1341"/>
                    <a:pt x="992" y="1341"/>
                  </a:cubicBezTo>
                  <a:cubicBezTo>
                    <a:pt x="1050" y="1312"/>
                    <a:pt x="1050" y="1341"/>
                    <a:pt x="1080" y="1370"/>
                  </a:cubicBezTo>
                  <a:lnTo>
                    <a:pt x="1080" y="1370"/>
                  </a:lnTo>
                  <a:cubicBezTo>
                    <a:pt x="1080" y="1341"/>
                    <a:pt x="1080" y="1341"/>
                    <a:pt x="1080" y="1312"/>
                  </a:cubicBezTo>
                  <a:cubicBezTo>
                    <a:pt x="1080" y="1312"/>
                    <a:pt x="1080" y="1283"/>
                    <a:pt x="1109" y="1283"/>
                  </a:cubicBezTo>
                  <a:lnTo>
                    <a:pt x="1109" y="1283"/>
                  </a:lnTo>
                  <a:cubicBezTo>
                    <a:pt x="1138" y="1283"/>
                    <a:pt x="1138" y="1283"/>
                    <a:pt x="1138" y="1283"/>
                  </a:cubicBezTo>
                  <a:cubicBezTo>
                    <a:pt x="1138" y="1283"/>
                    <a:pt x="1138" y="1312"/>
                    <a:pt x="1167" y="1312"/>
                  </a:cubicBezTo>
                  <a:lnTo>
                    <a:pt x="1167" y="1312"/>
                  </a:lnTo>
                  <a:lnTo>
                    <a:pt x="1167" y="1312"/>
                  </a:lnTo>
                  <a:cubicBezTo>
                    <a:pt x="1167" y="1283"/>
                    <a:pt x="1167" y="1283"/>
                    <a:pt x="1167" y="1283"/>
                  </a:cubicBezTo>
                  <a:lnTo>
                    <a:pt x="1197" y="1283"/>
                  </a:lnTo>
                  <a:cubicBezTo>
                    <a:pt x="1197" y="1254"/>
                    <a:pt x="1197" y="1254"/>
                    <a:pt x="1197" y="1225"/>
                  </a:cubicBezTo>
                  <a:lnTo>
                    <a:pt x="1197" y="1225"/>
                  </a:lnTo>
                  <a:cubicBezTo>
                    <a:pt x="1197" y="1196"/>
                    <a:pt x="1226" y="1196"/>
                    <a:pt x="1255" y="1196"/>
                  </a:cubicBezTo>
                  <a:lnTo>
                    <a:pt x="1255" y="1196"/>
                  </a:lnTo>
                  <a:lnTo>
                    <a:pt x="1255" y="1196"/>
                  </a:lnTo>
                  <a:cubicBezTo>
                    <a:pt x="1284" y="1196"/>
                    <a:pt x="1284" y="1196"/>
                    <a:pt x="1284" y="1196"/>
                  </a:cubicBezTo>
                  <a:cubicBezTo>
                    <a:pt x="1314" y="1196"/>
                    <a:pt x="1314" y="1196"/>
                    <a:pt x="1314" y="1196"/>
                  </a:cubicBezTo>
                  <a:lnTo>
                    <a:pt x="1314" y="1167"/>
                  </a:lnTo>
                  <a:cubicBezTo>
                    <a:pt x="1314" y="1137"/>
                    <a:pt x="1314" y="1137"/>
                    <a:pt x="1314" y="1137"/>
                  </a:cubicBezTo>
                  <a:cubicBezTo>
                    <a:pt x="1342" y="1137"/>
                    <a:pt x="1342" y="1137"/>
                    <a:pt x="1342" y="1137"/>
                  </a:cubicBezTo>
                  <a:cubicBezTo>
                    <a:pt x="1400" y="1137"/>
                    <a:pt x="1430" y="1108"/>
                    <a:pt x="1459" y="105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7" name="Freeform 294">
              <a:extLst>
                <a:ext uri="{FF2B5EF4-FFF2-40B4-BE49-F238E27FC236}">
                  <a16:creationId xmlns:a16="http://schemas.microsoft.com/office/drawing/2014/main" id="{C61FC626-59FA-4DDF-8C2C-2C59EB774CC0}"/>
                </a:ext>
              </a:extLst>
            </p:cNvPr>
            <p:cNvSpPr>
              <a:spLocks noChangeArrowheads="1"/>
            </p:cNvSpPr>
            <p:nvPr/>
          </p:nvSpPr>
          <p:spPr bwMode="auto">
            <a:xfrm>
              <a:off x="10639701" y="3811204"/>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8" name="Freeform 295">
              <a:extLst>
                <a:ext uri="{FF2B5EF4-FFF2-40B4-BE49-F238E27FC236}">
                  <a16:creationId xmlns:a16="http://schemas.microsoft.com/office/drawing/2014/main" id="{0F56584B-7F45-42A0-AC88-D94E2D96420C}"/>
                </a:ext>
              </a:extLst>
            </p:cNvPr>
            <p:cNvSpPr>
              <a:spLocks noChangeArrowheads="1"/>
            </p:cNvSpPr>
            <p:nvPr/>
          </p:nvSpPr>
          <p:spPr bwMode="auto">
            <a:xfrm>
              <a:off x="11394782" y="1809341"/>
              <a:ext cx="11416" cy="22656"/>
            </a:xfrm>
            <a:custGeom>
              <a:avLst/>
              <a:gdLst>
                <a:gd name="T0" fmla="*/ 29 w 30"/>
                <a:gd name="T1" fmla="*/ 59 h 60"/>
                <a:gd name="T2" fmla="*/ 29 w 30"/>
                <a:gd name="T3" fmla="*/ 59 h 60"/>
                <a:gd name="T4" fmla="*/ 0 w 30"/>
                <a:gd name="T5" fmla="*/ 29 h 60"/>
                <a:gd name="T6" fmla="*/ 0 w 30"/>
                <a:gd name="T7" fmla="*/ 0 h 60"/>
                <a:gd name="T8" fmla="*/ 0 w 30"/>
                <a:gd name="T9" fmla="*/ 29 h 60"/>
                <a:gd name="T10" fmla="*/ 29 w 30"/>
                <a:gd name="T11" fmla="*/ 59 h 60"/>
              </a:gdLst>
              <a:ahLst/>
              <a:cxnLst>
                <a:cxn ang="0">
                  <a:pos x="T0" y="T1"/>
                </a:cxn>
                <a:cxn ang="0">
                  <a:pos x="T2" y="T3"/>
                </a:cxn>
                <a:cxn ang="0">
                  <a:pos x="T4" y="T5"/>
                </a:cxn>
                <a:cxn ang="0">
                  <a:pos x="T6" y="T7"/>
                </a:cxn>
                <a:cxn ang="0">
                  <a:pos x="T8" y="T9"/>
                </a:cxn>
                <a:cxn ang="0">
                  <a:pos x="T10" y="T11"/>
                </a:cxn>
              </a:cxnLst>
              <a:rect l="0" t="0" r="r" b="b"/>
              <a:pathLst>
                <a:path w="30" h="60">
                  <a:moveTo>
                    <a:pt x="29" y="59"/>
                  </a:moveTo>
                  <a:lnTo>
                    <a:pt x="29" y="59"/>
                  </a:lnTo>
                  <a:cubicBezTo>
                    <a:pt x="29" y="29"/>
                    <a:pt x="29" y="29"/>
                    <a:pt x="0" y="29"/>
                  </a:cubicBezTo>
                  <a:cubicBezTo>
                    <a:pt x="0" y="0"/>
                    <a:pt x="0" y="0"/>
                    <a:pt x="0" y="0"/>
                  </a:cubicBezTo>
                  <a:cubicBezTo>
                    <a:pt x="0" y="0"/>
                    <a:pt x="0" y="0"/>
                    <a:pt x="0" y="29"/>
                  </a:cubicBezTo>
                  <a:cubicBezTo>
                    <a:pt x="29" y="29"/>
                    <a:pt x="29" y="29"/>
                    <a:pt x="29"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9" name="Freeform 296">
              <a:extLst>
                <a:ext uri="{FF2B5EF4-FFF2-40B4-BE49-F238E27FC236}">
                  <a16:creationId xmlns:a16="http://schemas.microsoft.com/office/drawing/2014/main" id="{97A84332-C711-43A4-9283-FF8ED9D59EB8}"/>
                </a:ext>
              </a:extLst>
            </p:cNvPr>
            <p:cNvSpPr>
              <a:spLocks noChangeArrowheads="1"/>
            </p:cNvSpPr>
            <p:nvPr/>
          </p:nvSpPr>
          <p:spPr bwMode="auto">
            <a:xfrm>
              <a:off x="10639701" y="3756181"/>
              <a:ext cx="11415" cy="1618"/>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30" y="0"/>
                    <a:pt x="30" y="0"/>
                    <a:pt x="0" y="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0" name="Freeform 297">
              <a:extLst>
                <a:ext uri="{FF2B5EF4-FFF2-40B4-BE49-F238E27FC236}">
                  <a16:creationId xmlns:a16="http://schemas.microsoft.com/office/drawing/2014/main" id="{78E66A2B-F5B0-4420-B215-6DED402178B2}"/>
                </a:ext>
              </a:extLst>
            </p:cNvPr>
            <p:cNvSpPr>
              <a:spLocks noChangeArrowheads="1"/>
            </p:cNvSpPr>
            <p:nvPr/>
          </p:nvSpPr>
          <p:spPr bwMode="auto">
            <a:xfrm>
              <a:off x="10595668" y="3756181"/>
              <a:ext cx="1631" cy="11328"/>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cubicBezTo>
                    <a:pt x="0" y="0"/>
                    <a:pt x="0" y="0"/>
                    <a:pt x="0" y="0"/>
                  </a:cubicBezTo>
                  <a:cubicBezTo>
                    <a:pt x="0" y="0"/>
                    <a:pt x="0" y="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1" name="Freeform 298">
              <a:extLst>
                <a:ext uri="{FF2B5EF4-FFF2-40B4-BE49-F238E27FC236}">
                  <a16:creationId xmlns:a16="http://schemas.microsoft.com/office/drawing/2014/main" id="{3F877A02-AE6B-4CB3-ABF1-1C1181F28EF6}"/>
                </a:ext>
              </a:extLst>
            </p:cNvPr>
            <p:cNvSpPr>
              <a:spLocks noChangeArrowheads="1"/>
            </p:cNvSpPr>
            <p:nvPr/>
          </p:nvSpPr>
          <p:spPr bwMode="auto">
            <a:xfrm>
              <a:off x="10595668" y="3735142"/>
              <a:ext cx="11416" cy="11329"/>
            </a:xfrm>
            <a:custGeom>
              <a:avLst/>
              <a:gdLst>
                <a:gd name="T0" fmla="*/ 0 w 31"/>
                <a:gd name="T1" fmla="*/ 29 h 30"/>
                <a:gd name="T2" fmla="*/ 0 w 31"/>
                <a:gd name="T3" fmla="*/ 29 h 30"/>
                <a:gd name="T4" fmla="*/ 30 w 31"/>
                <a:gd name="T5" fmla="*/ 0 h 30"/>
                <a:gd name="T6" fmla="*/ 0 w 31"/>
                <a:gd name="T7" fmla="*/ 29 h 30"/>
              </a:gdLst>
              <a:ahLst/>
              <a:cxnLst>
                <a:cxn ang="0">
                  <a:pos x="T0" y="T1"/>
                </a:cxn>
                <a:cxn ang="0">
                  <a:pos x="T2" y="T3"/>
                </a:cxn>
                <a:cxn ang="0">
                  <a:pos x="T4" y="T5"/>
                </a:cxn>
                <a:cxn ang="0">
                  <a:pos x="T6" y="T7"/>
                </a:cxn>
              </a:cxnLst>
              <a:rect l="0" t="0" r="r" b="b"/>
              <a:pathLst>
                <a:path w="31" h="30">
                  <a:moveTo>
                    <a:pt x="0" y="29"/>
                  </a:moveTo>
                  <a:lnTo>
                    <a:pt x="0" y="29"/>
                  </a:lnTo>
                  <a:lnTo>
                    <a:pt x="3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2" name="Freeform 299">
              <a:extLst>
                <a:ext uri="{FF2B5EF4-FFF2-40B4-BE49-F238E27FC236}">
                  <a16:creationId xmlns:a16="http://schemas.microsoft.com/office/drawing/2014/main" id="{5422B71B-4581-4FB8-81B6-E1420F2B91F8}"/>
                </a:ext>
              </a:extLst>
            </p:cNvPr>
            <p:cNvSpPr>
              <a:spLocks noChangeArrowheads="1"/>
            </p:cNvSpPr>
            <p:nvPr/>
          </p:nvSpPr>
          <p:spPr bwMode="auto">
            <a:xfrm>
              <a:off x="10639701" y="3714104"/>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3" name="Freeform 300">
              <a:extLst>
                <a:ext uri="{FF2B5EF4-FFF2-40B4-BE49-F238E27FC236}">
                  <a16:creationId xmlns:a16="http://schemas.microsoft.com/office/drawing/2014/main" id="{2A60FBEF-A9FB-4D77-ADF1-88360C06375E}"/>
                </a:ext>
              </a:extLst>
            </p:cNvPr>
            <p:cNvSpPr>
              <a:spLocks noChangeArrowheads="1"/>
            </p:cNvSpPr>
            <p:nvPr/>
          </p:nvSpPr>
          <p:spPr bwMode="auto">
            <a:xfrm>
              <a:off x="10693519" y="3767509"/>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4" name="Freeform 301">
              <a:extLst>
                <a:ext uri="{FF2B5EF4-FFF2-40B4-BE49-F238E27FC236}">
                  <a16:creationId xmlns:a16="http://schemas.microsoft.com/office/drawing/2014/main" id="{C3BE589C-BB1A-4426-9036-6A0522759C3E}"/>
                </a:ext>
              </a:extLst>
            </p:cNvPr>
            <p:cNvSpPr>
              <a:spLocks noChangeArrowheads="1"/>
            </p:cNvSpPr>
            <p:nvPr/>
          </p:nvSpPr>
          <p:spPr bwMode="auto">
            <a:xfrm>
              <a:off x="10660902" y="3735142"/>
              <a:ext cx="32617" cy="21039"/>
            </a:xfrm>
            <a:custGeom>
              <a:avLst/>
              <a:gdLst>
                <a:gd name="T0" fmla="*/ 88 w 89"/>
                <a:gd name="T1" fmla="*/ 58 h 59"/>
                <a:gd name="T2" fmla="*/ 88 w 89"/>
                <a:gd name="T3" fmla="*/ 58 h 59"/>
                <a:gd name="T4" fmla="*/ 0 w 89"/>
                <a:gd name="T5" fmla="*/ 0 h 59"/>
                <a:gd name="T6" fmla="*/ 88 w 89"/>
                <a:gd name="T7" fmla="*/ 58 h 59"/>
              </a:gdLst>
              <a:ahLst/>
              <a:cxnLst>
                <a:cxn ang="0">
                  <a:pos x="T0" y="T1"/>
                </a:cxn>
                <a:cxn ang="0">
                  <a:pos x="T2" y="T3"/>
                </a:cxn>
                <a:cxn ang="0">
                  <a:pos x="T4" y="T5"/>
                </a:cxn>
                <a:cxn ang="0">
                  <a:pos x="T6" y="T7"/>
                </a:cxn>
              </a:cxnLst>
              <a:rect l="0" t="0" r="r" b="b"/>
              <a:pathLst>
                <a:path w="89" h="59">
                  <a:moveTo>
                    <a:pt x="88" y="58"/>
                  </a:moveTo>
                  <a:lnTo>
                    <a:pt x="88" y="58"/>
                  </a:lnTo>
                  <a:cubicBezTo>
                    <a:pt x="29" y="58"/>
                    <a:pt x="29" y="29"/>
                    <a:pt x="0" y="0"/>
                  </a:cubicBezTo>
                  <a:cubicBezTo>
                    <a:pt x="29" y="29"/>
                    <a:pt x="29" y="58"/>
                    <a:pt x="8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5" name="Freeform 302">
              <a:extLst>
                <a:ext uri="{FF2B5EF4-FFF2-40B4-BE49-F238E27FC236}">
                  <a16:creationId xmlns:a16="http://schemas.microsoft.com/office/drawing/2014/main" id="{B8A8288E-9AC5-464B-97CD-D8418440CCF6}"/>
                </a:ext>
              </a:extLst>
            </p:cNvPr>
            <p:cNvSpPr>
              <a:spLocks noChangeArrowheads="1"/>
            </p:cNvSpPr>
            <p:nvPr/>
          </p:nvSpPr>
          <p:spPr bwMode="auto">
            <a:xfrm>
              <a:off x="9344810" y="2333677"/>
              <a:ext cx="11415" cy="32366"/>
            </a:xfrm>
            <a:custGeom>
              <a:avLst/>
              <a:gdLst>
                <a:gd name="T0" fmla="*/ 30 w 31"/>
                <a:gd name="T1" fmla="*/ 59 h 89"/>
                <a:gd name="T2" fmla="*/ 30 w 31"/>
                <a:gd name="T3" fmla="*/ 59 h 89"/>
                <a:gd name="T4" fmla="*/ 30 w 31"/>
                <a:gd name="T5" fmla="*/ 88 h 89"/>
                <a:gd name="T6" fmla="*/ 30 w 31"/>
                <a:gd name="T7" fmla="*/ 59 h 89"/>
                <a:gd name="T8" fmla="*/ 0 w 31"/>
                <a:gd name="T9" fmla="*/ 0 h 89"/>
                <a:gd name="T10" fmla="*/ 30 w 31"/>
                <a:gd name="T11" fmla="*/ 59 h 89"/>
              </a:gdLst>
              <a:ahLst/>
              <a:cxnLst>
                <a:cxn ang="0">
                  <a:pos x="T0" y="T1"/>
                </a:cxn>
                <a:cxn ang="0">
                  <a:pos x="T2" y="T3"/>
                </a:cxn>
                <a:cxn ang="0">
                  <a:pos x="T4" y="T5"/>
                </a:cxn>
                <a:cxn ang="0">
                  <a:pos x="T6" y="T7"/>
                </a:cxn>
                <a:cxn ang="0">
                  <a:pos x="T8" y="T9"/>
                </a:cxn>
                <a:cxn ang="0">
                  <a:pos x="T10" y="T11"/>
                </a:cxn>
              </a:cxnLst>
              <a:rect l="0" t="0" r="r" b="b"/>
              <a:pathLst>
                <a:path w="31" h="89">
                  <a:moveTo>
                    <a:pt x="30" y="59"/>
                  </a:moveTo>
                  <a:lnTo>
                    <a:pt x="30" y="59"/>
                  </a:lnTo>
                  <a:cubicBezTo>
                    <a:pt x="30" y="88"/>
                    <a:pt x="30" y="88"/>
                    <a:pt x="30" y="88"/>
                  </a:cubicBezTo>
                  <a:cubicBezTo>
                    <a:pt x="30" y="88"/>
                    <a:pt x="30" y="88"/>
                    <a:pt x="30" y="59"/>
                  </a:cubicBezTo>
                  <a:cubicBezTo>
                    <a:pt x="0" y="59"/>
                    <a:pt x="0" y="30"/>
                    <a:pt x="0" y="0"/>
                  </a:cubicBezTo>
                  <a:cubicBezTo>
                    <a:pt x="0" y="30"/>
                    <a:pt x="0" y="59"/>
                    <a:pt x="3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6" name="Freeform 303">
              <a:extLst>
                <a:ext uri="{FF2B5EF4-FFF2-40B4-BE49-F238E27FC236}">
                  <a16:creationId xmlns:a16="http://schemas.microsoft.com/office/drawing/2014/main" id="{A2884DC8-FDD6-4674-9A07-40641F1C05C2}"/>
                </a:ext>
              </a:extLst>
            </p:cNvPr>
            <p:cNvSpPr>
              <a:spLocks noChangeArrowheads="1"/>
            </p:cNvSpPr>
            <p:nvPr/>
          </p:nvSpPr>
          <p:spPr bwMode="auto">
            <a:xfrm>
              <a:off x="9863419" y="5233706"/>
              <a:ext cx="1630" cy="11329"/>
            </a:xfrm>
            <a:custGeom>
              <a:avLst/>
              <a:gdLst>
                <a:gd name="T0" fmla="*/ 0 w 1"/>
                <a:gd name="T1" fmla="*/ 29 h 30"/>
                <a:gd name="T2" fmla="*/ 0 w 1"/>
                <a:gd name="T3" fmla="*/ 29 h 30"/>
                <a:gd name="T4" fmla="*/ 0 w 1"/>
                <a:gd name="T5" fmla="*/ 0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0"/>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7" name="Freeform 304">
              <a:extLst>
                <a:ext uri="{FF2B5EF4-FFF2-40B4-BE49-F238E27FC236}">
                  <a16:creationId xmlns:a16="http://schemas.microsoft.com/office/drawing/2014/main" id="{2F0ECC1F-2706-434F-AE09-4A9F14432058}"/>
                </a:ext>
              </a:extLst>
            </p:cNvPr>
            <p:cNvSpPr>
              <a:spLocks noChangeArrowheads="1"/>
            </p:cNvSpPr>
            <p:nvPr/>
          </p:nvSpPr>
          <p:spPr bwMode="auto">
            <a:xfrm>
              <a:off x="9819386" y="5031417"/>
              <a:ext cx="1631" cy="22656"/>
            </a:xfrm>
            <a:custGeom>
              <a:avLst/>
              <a:gdLst>
                <a:gd name="T0" fmla="*/ 0 w 1"/>
                <a:gd name="T1" fmla="*/ 0 h 60"/>
                <a:gd name="T2" fmla="*/ 0 w 1"/>
                <a:gd name="T3" fmla="*/ 0 h 60"/>
                <a:gd name="T4" fmla="*/ 0 w 1"/>
                <a:gd name="T5" fmla="*/ 59 h 60"/>
                <a:gd name="T6" fmla="*/ 0 w 1"/>
                <a:gd name="T7" fmla="*/ 59 h 60"/>
                <a:gd name="T8" fmla="*/ 0 w 1"/>
                <a:gd name="T9" fmla="*/ 59 h 60"/>
                <a:gd name="T10" fmla="*/ 0 w 1"/>
                <a:gd name="T11" fmla="*/ 59 h 60"/>
                <a:gd name="T12" fmla="*/ 0 w 1"/>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1" h="60">
                  <a:moveTo>
                    <a:pt x="0" y="0"/>
                  </a:moveTo>
                  <a:lnTo>
                    <a:pt x="0" y="0"/>
                  </a:lnTo>
                  <a:cubicBezTo>
                    <a:pt x="0" y="30"/>
                    <a:pt x="0" y="30"/>
                    <a:pt x="0" y="59"/>
                  </a:cubicBezTo>
                  <a:lnTo>
                    <a:pt x="0" y="59"/>
                  </a:lnTo>
                  <a:lnTo>
                    <a:pt x="0" y="59"/>
                  </a:lnTo>
                  <a:lnTo>
                    <a:pt x="0" y="59"/>
                  </a:ln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8" name="Freeform 305">
              <a:extLst>
                <a:ext uri="{FF2B5EF4-FFF2-40B4-BE49-F238E27FC236}">
                  <a16:creationId xmlns:a16="http://schemas.microsoft.com/office/drawing/2014/main" id="{ABDE7DCA-0CAA-428D-868F-7A0D097BDB44}"/>
                </a:ext>
              </a:extLst>
            </p:cNvPr>
            <p:cNvSpPr>
              <a:spLocks noChangeArrowheads="1"/>
            </p:cNvSpPr>
            <p:nvPr/>
          </p:nvSpPr>
          <p:spPr bwMode="auto">
            <a:xfrm>
              <a:off x="9905821" y="5277402"/>
              <a:ext cx="1630" cy="32366"/>
            </a:xfrm>
            <a:custGeom>
              <a:avLst/>
              <a:gdLst>
                <a:gd name="T0" fmla="*/ 0 w 1"/>
                <a:gd name="T1" fmla="*/ 88 h 89"/>
                <a:gd name="T2" fmla="*/ 0 w 1"/>
                <a:gd name="T3" fmla="*/ 88 h 89"/>
                <a:gd name="T4" fmla="*/ 0 w 1"/>
                <a:gd name="T5" fmla="*/ 0 h 89"/>
                <a:gd name="T6" fmla="*/ 0 w 1"/>
                <a:gd name="T7" fmla="*/ 88 h 89"/>
              </a:gdLst>
              <a:ahLst/>
              <a:cxnLst>
                <a:cxn ang="0">
                  <a:pos x="T0" y="T1"/>
                </a:cxn>
                <a:cxn ang="0">
                  <a:pos x="T2" y="T3"/>
                </a:cxn>
                <a:cxn ang="0">
                  <a:pos x="T4" y="T5"/>
                </a:cxn>
                <a:cxn ang="0">
                  <a:pos x="T6" y="T7"/>
                </a:cxn>
              </a:cxnLst>
              <a:rect l="0" t="0" r="r" b="b"/>
              <a:pathLst>
                <a:path w="1" h="89">
                  <a:moveTo>
                    <a:pt x="0" y="88"/>
                  </a:moveTo>
                  <a:lnTo>
                    <a:pt x="0" y="88"/>
                  </a:lnTo>
                  <a:cubicBezTo>
                    <a:pt x="0" y="59"/>
                    <a:pt x="0" y="29"/>
                    <a:pt x="0" y="0"/>
                  </a:cubicBezTo>
                  <a:cubicBezTo>
                    <a:pt x="0" y="29"/>
                    <a:pt x="0" y="59"/>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9" name="Freeform 306">
              <a:extLst>
                <a:ext uri="{FF2B5EF4-FFF2-40B4-BE49-F238E27FC236}">
                  <a16:creationId xmlns:a16="http://schemas.microsoft.com/office/drawing/2014/main" id="{1A64F9C1-6C4D-497B-91EA-DA41A1AE97DC}"/>
                </a:ext>
              </a:extLst>
            </p:cNvPr>
            <p:cNvSpPr>
              <a:spLocks noChangeArrowheads="1"/>
            </p:cNvSpPr>
            <p:nvPr/>
          </p:nvSpPr>
          <p:spPr bwMode="auto">
            <a:xfrm>
              <a:off x="9873204" y="5287112"/>
              <a:ext cx="11415" cy="22656"/>
            </a:xfrm>
            <a:custGeom>
              <a:avLst/>
              <a:gdLst>
                <a:gd name="T0" fmla="*/ 29 w 30"/>
                <a:gd name="T1" fmla="*/ 0 h 60"/>
                <a:gd name="T2" fmla="*/ 29 w 30"/>
                <a:gd name="T3" fmla="*/ 0 h 60"/>
                <a:gd name="T4" fmla="*/ 0 w 30"/>
                <a:gd name="T5" fmla="*/ 59 h 60"/>
                <a:gd name="T6" fmla="*/ 29 w 30"/>
                <a:gd name="T7" fmla="*/ 0 h 60"/>
              </a:gdLst>
              <a:ahLst/>
              <a:cxnLst>
                <a:cxn ang="0">
                  <a:pos x="T0" y="T1"/>
                </a:cxn>
                <a:cxn ang="0">
                  <a:pos x="T2" y="T3"/>
                </a:cxn>
                <a:cxn ang="0">
                  <a:pos x="T4" y="T5"/>
                </a:cxn>
                <a:cxn ang="0">
                  <a:pos x="T6" y="T7"/>
                </a:cxn>
              </a:cxnLst>
              <a:rect l="0" t="0" r="r" b="b"/>
              <a:pathLst>
                <a:path w="30" h="60">
                  <a:moveTo>
                    <a:pt x="29" y="0"/>
                  </a:moveTo>
                  <a:lnTo>
                    <a:pt x="29" y="0"/>
                  </a:lnTo>
                  <a:cubicBezTo>
                    <a:pt x="29" y="30"/>
                    <a:pt x="0" y="30"/>
                    <a:pt x="0" y="59"/>
                  </a:cubicBezTo>
                  <a:cubicBezTo>
                    <a:pt x="0" y="30"/>
                    <a:pt x="29" y="3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0" name="Freeform 307">
              <a:extLst>
                <a:ext uri="{FF2B5EF4-FFF2-40B4-BE49-F238E27FC236}">
                  <a16:creationId xmlns:a16="http://schemas.microsoft.com/office/drawing/2014/main" id="{84D9DE99-3642-4811-862E-AED248F52BE4}"/>
                </a:ext>
              </a:extLst>
            </p:cNvPr>
            <p:cNvSpPr>
              <a:spLocks noChangeArrowheads="1"/>
            </p:cNvSpPr>
            <p:nvPr/>
          </p:nvSpPr>
          <p:spPr bwMode="auto">
            <a:xfrm>
              <a:off x="9896036" y="5330806"/>
              <a:ext cx="1630" cy="11329"/>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1" name="Freeform 308">
              <a:extLst>
                <a:ext uri="{FF2B5EF4-FFF2-40B4-BE49-F238E27FC236}">
                  <a16:creationId xmlns:a16="http://schemas.microsoft.com/office/drawing/2014/main" id="{7CB7B3FB-7E5A-4F4A-B2A6-3F12A3729EA8}"/>
                </a:ext>
              </a:extLst>
            </p:cNvPr>
            <p:cNvSpPr>
              <a:spLocks noChangeArrowheads="1"/>
            </p:cNvSpPr>
            <p:nvPr/>
          </p:nvSpPr>
          <p:spPr bwMode="auto">
            <a:xfrm>
              <a:off x="9884620" y="5277402"/>
              <a:ext cx="11416" cy="11328"/>
            </a:xfrm>
            <a:custGeom>
              <a:avLst/>
              <a:gdLst>
                <a:gd name="T0" fmla="*/ 29 w 30"/>
                <a:gd name="T1" fmla="*/ 29 h 30"/>
                <a:gd name="T2" fmla="*/ 29 w 30"/>
                <a:gd name="T3" fmla="*/ 29 h 30"/>
                <a:gd name="T4" fmla="*/ 0 w 30"/>
                <a:gd name="T5" fmla="*/ 0 h 30"/>
                <a:gd name="T6" fmla="*/ 29 w 30"/>
                <a:gd name="T7" fmla="*/ 29 h 30"/>
              </a:gdLst>
              <a:ahLst/>
              <a:cxnLst>
                <a:cxn ang="0">
                  <a:pos x="T0" y="T1"/>
                </a:cxn>
                <a:cxn ang="0">
                  <a:pos x="T2" y="T3"/>
                </a:cxn>
                <a:cxn ang="0">
                  <a:pos x="T4" y="T5"/>
                </a:cxn>
                <a:cxn ang="0">
                  <a:pos x="T6" y="T7"/>
                </a:cxn>
              </a:cxnLst>
              <a:rect l="0" t="0" r="r" b="b"/>
              <a:pathLst>
                <a:path w="30" h="30">
                  <a:moveTo>
                    <a:pt x="29" y="29"/>
                  </a:moveTo>
                  <a:lnTo>
                    <a:pt x="29" y="29"/>
                  </a:ln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2" name="Freeform 309">
              <a:extLst>
                <a:ext uri="{FF2B5EF4-FFF2-40B4-BE49-F238E27FC236}">
                  <a16:creationId xmlns:a16="http://schemas.microsoft.com/office/drawing/2014/main" id="{A3D2354F-DB92-4A82-B301-6D9D136ECA23}"/>
                </a:ext>
              </a:extLst>
            </p:cNvPr>
            <p:cNvSpPr>
              <a:spLocks noChangeArrowheads="1"/>
            </p:cNvSpPr>
            <p:nvPr/>
          </p:nvSpPr>
          <p:spPr bwMode="auto">
            <a:xfrm>
              <a:off x="8115153" y="4966684"/>
              <a:ext cx="1630" cy="21038"/>
            </a:xfrm>
            <a:custGeom>
              <a:avLst/>
              <a:gdLst>
                <a:gd name="T0" fmla="*/ 0 w 1"/>
                <a:gd name="T1" fmla="*/ 29 h 59"/>
                <a:gd name="T2" fmla="*/ 0 w 1"/>
                <a:gd name="T3" fmla="*/ 29 h 59"/>
                <a:gd name="T4" fmla="*/ 0 w 1"/>
                <a:gd name="T5" fmla="*/ 58 h 59"/>
                <a:gd name="T6" fmla="*/ 0 w 1"/>
                <a:gd name="T7" fmla="*/ 0 h 59"/>
                <a:gd name="T8" fmla="*/ 0 w 1"/>
                <a:gd name="T9" fmla="*/ 29 h 59"/>
              </a:gdLst>
              <a:ahLst/>
              <a:cxnLst>
                <a:cxn ang="0">
                  <a:pos x="T0" y="T1"/>
                </a:cxn>
                <a:cxn ang="0">
                  <a:pos x="T2" y="T3"/>
                </a:cxn>
                <a:cxn ang="0">
                  <a:pos x="T4" y="T5"/>
                </a:cxn>
                <a:cxn ang="0">
                  <a:pos x="T6" y="T7"/>
                </a:cxn>
                <a:cxn ang="0">
                  <a:pos x="T8" y="T9"/>
                </a:cxn>
              </a:cxnLst>
              <a:rect l="0" t="0" r="r" b="b"/>
              <a:pathLst>
                <a:path w="1" h="59">
                  <a:moveTo>
                    <a:pt x="0" y="29"/>
                  </a:moveTo>
                  <a:lnTo>
                    <a:pt x="0" y="29"/>
                  </a:lnTo>
                  <a:lnTo>
                    <a:pt x="0" y="58"/>
                  </a:lnTo>
                  <a:cubicBezTo>
                    <a:pt x="0" y="29"/>
                    <a:pt x="0" y="0"/>
                    <a:pt x="0" y="0"/>
                  </a:cubicBez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3" name="Freeform 310">
              <a:extLst>
                <a:ext uri="{FF2B5EF4-FFF2-40B4-BE49-F238E27FC236}">
                  <a16:creationId xmlns:a16="http://schemas.microsoft.com/office/drawing/2014/main" id="{0C1082B4-DF34-4892-AB85-5E2E789F1C95}"/>
                </a:ext>
              </a:extLst>
            </p:cNvPr>
            <p:cNvSpPr>
              <a:spLocks noChangeArrowheads="1"/>
            </p:cNvSpPr>
            <p:nvPr/>
          </p:nvSpPr>
          <p:spPr bwMode="auto">
            <a:xfrm>
              <a:off x="9819386" y="522399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4" name="Freeform 311">
              <a:extLst>
                <a:ext uri="{FF2B5EF4-FFF2-40B4-BE49-F238E27FC236}">
                  <a16:creationId xmlns:a16="http://schemas.microsoft.com/office/drawing/2014/main" id="{03F2902E-6515-4FF1-9EEF-3B6D990C8F98}"/>
                </a:ext>
              </a:extLst>
            </p:cNvPr>
            <p:cNvSpPr>
              <a:spLocks noChangeArrowheads="1"/>
            </p:cNvSpPr>
            <p:nvPr/>
          </p:nvSpPr>
          <p:spPr bwMode="auto">
            <a:xfrm>
              <a:off x="9840587" y="5138226"/>
              <a:ext cx="11415" cy="43694"/>
            </a:xfrm>
            <a:custGeom>
              <a:avLst/>
              <a:gdLst>
                <a:gd name="T0" fmla="*/ 0 w 30"/>
                <a:gd name="T1" fmla="*/ 117 h 118"/>
                <a:gd name="T2" fmla="*/ 0 w 30"/>
                <a:gd name="T3" fmla="*/ 117 h 118"/>
                <a:gd name="T4" fmla="*/ 29 w 30"/>
                <a:gd name="T5" fmla="*/ 58 h 118"/>
                <a:gd name="T6" fmla="*/ 29 w 30"/>
                <a:gd name="T7" fmla="*/ 0 h 118"/>
                <a:gd name="T8" fmla="*/ 29 w 30"/>
                <a:gd name="T9" fmla="*/ 58 h 118"/>
                <a:gd name="T10" fmla="*/ 0 w 30"/>
                <a:gd name="T11" fmla="*/ 117 h 118"/>
              </a:gdLst>
              <a:ahLst/>
              <a:cxnLst>
                <a:cxn ang="0">
                  <a:pos x="T0" y="T1"/>
                </a:cxn>
                <a:cxn ang="0">
                  <a:pos x="T2" y="T3"/>
                </a:cxn>
                <a:cxn ang="0">
                  <a:pos x="T4" y="T5"/>
                </a:cxn>
                <a:cxn ang="0">
                  <a:pos x="T6" y="T7"/>
                </a:cxn>
                <a:cxn ang="0">
                  <a:pos x="T8" y="T9"/>
                </a:cxn>
                <a:cxn ang="0">
                  <a:pos x="T10" y="T11"/>
                </a:cxn>
              </a:cxnLst>
              <a:rect l="0" t="0" r="r" b="b"/>
              <a:pathLst>
                <a:path w="30" h="118">
                  <a:moveTo>
                    <a:pt x="0" y="117"/>
                  </a:moveTo>
                  <a:lnTo>
                    <a:pt x="0" y="117"/>
                  </a:lnTo>
                  <a:cubicBezTo>
                    <a:pt x="29" y="88"/>
                    <a:pt x="29" y="88"/>
                    <a:pt x="29" y="58"/>
                  </a:cubicBezTo>
                  <a:cubicBezTo>
                    <a:pt x="29" y="29"/>
                    <a:pt x="29" y="29"/>
                    <a:pt x="29" y="0"/>
                  </a:cubicBezTo>
                  <a:cubicBezTo>
                    <a:pt x="29" y="29"/>
                    <a:pt x="29" y="29"/>
                    <a:pt x="29" y="58"/>
                  </a:cubicBezTo>
                  <a:cubicBezTo>
                    <a:pt x="29" y="88"/>
                    <a:pt x="29"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5" name="Freeform 312">
              <a:extLst>
                <a:ext uri="{FF2B5EF4-FFF2-40B4-BE49-F238E27FC236}">
                  <a16:creationId xmlns:a16="http://schemas.microsoft.com/office/drawing/2014/main" id="{61DA1D1D-C1DA-4432-A0B7-7B0B1F2FAD01}"/>
                </a:ext>
              </a:extLst>
            </p:cNvPr>
            <p:cNvSpPr>
              <a:spLocks noChangeArrowheads="1"/>
            </p:cNvSpPr>
            <p:nvPr/>
          </p:nvSpPr>
          <p:spPr bwMode="auto">
            <a:xfrm>
              <a:off x="9830802" y="5212669"/>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5" name="Freeform 313">
              <a:extLst>
                <a:ext uri="{FF2B5EF4-FFF2-40B4-BE49-F238E27FC236}">
                  <a16:creationId xmlns:a16="http://schemas.microsoft.com/office/drawing/2014/main" id="{99DC8E57-5622-4564-B2EC-AEC12D0F5FE8}"/>
                </a:ext>
              </a:extLst>
            </p:cNvPr>
            <p:cNvSpPr>
              <a:spLocks noChangeArrowheads="1"/>
            </p:cNvSpPr>
            <p:nvPr/>
          </p:nvSpPr>
          <p:spPr bwMode="auto">
            <a:xfrm>
              <a:off x="9819386" y="5233706"/>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6" name="Freeform 314">
              <a:extLst>
                <a:ext uri="{FF2B5EF4-FFF2-40B4-BE49-F238E27FC236}">
                  <a16:creationId xmlns:a16="http://schemas.microsoft.com/office/drawing/2014/main" id="{BF43AFB3-D00D-4B76-90D6-5D0ABED4BB37}"/>
                </a:ext>
              </a:extLst>
            </p:cNvPr>
            <p:cNvSpPr>
              <a:spLocks noChangeArrowheads="1"/>
            </p:cNvSpPr>
            <p:nvPr/>
          </p:nvSpPr>
          <p:spPr bwMode="auto">
            <a:xfrm>
              <a:off x="9830802" y="521266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7" name="Freeform 315">
              <a:extLst>
                <a:ext uri="{FF2B5EF4-FFF2-40B4-BE49-F238E27FC236}">
                  <a16:creationId xmlns:a16="http://schemas.microsoft.com/office/drawing/2014/main" id="{653180AA-4997-4262-AEF8-3030F72C2ECB}"/>
                </a:ext>
              </a:extLst>
            </p:cNvPr>
            <p:cNvSpPr>
              <a:spLocks noChangeArrowheads="1"/>
            </p:cNvSpPr>
            <p:nvPr/>
          </p:nvSpPr>
          <p:spPr bwMode="auto">
            <a:xfrm>
              <a:off x="9840587" y="5084821"/>
              <a:ext cx="11415" cy="32366"/>
            </a:xfrm>
            <a:custGeom>
              <a:avLst/>
              <a:gdLst>
                <a:gd name="T0" fmla="*/ 0 w 30"/>
                <a:gd name="T1" fmla="*/ 0 h 88"/>
                <a:gd name="T2" fmla="*/ 0 w 30"/>
                <a:gd name="T3" fmla="*/ 0 h 88"/>
                <a:gd name="T4" fmla="*/ 0 w 30"/>
                <a:gd name="T5" fmla="*/ 0 h 88"/>
                <a:gd name="T6" fmla="*/ 29 w 30"/>
                <a:gd name="T7" fmla="*/ 87 h 88"/>
                <a:gd name="T8" fmla="*/ 0 w 30"/>
                <a:gd name="T9" fmla="*/ 0 h 88"/>
              </a:gdLst>
              <a:ahLst/>
              <a:cxnLst>
                <a:cxn ang="0">
                  <a:pos x="T0" y="T1"/>
                </a:cxn>
                <a:cxn ang="0">
                  <a:pos x="T2" y="T3"/>
                </a:cxn>
                <a:cxn ang="0">
                  <a:pos x="T4" y="T5"/>
                </a:cxn>
                <a:cxn ang="0">
                  <a:pos x="T6" y="T7"/>
                </a:cxn>
                <a:cxn ang="0">
                  <a:pos x="T8" y="T9"/>
                </a:cxn>
              </a:cxnLst>
              <a:rect l="0" t="0" r="r" b="b"/>
              <a:pathLst>
                <a:path w="30" h="88">
                  <a:moveTo>
                    <a:pt x="0" y="0"/>
                  </a:moveTo>
                  <a:lnTo>
                    <a:pt x="0" y="0"/>
                  </a:lnTo>
                  <a:lnTo>
                    <a:pt x="0" y="0"/>
                  </a:lnTo>
                  <a:cubicBezTo>
                    <a:pt x="29" y="29"/>
                    <a:pt x="29" y="58"/>
                    <a:pt x="29" y="87"/>
                  </a:cubicBezTo>
                  <a:cubicBezTo>
                    <a:pt x="29" y="58"/>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8" name="Freeform 316">
              <a:extLst>
                <a:ext uri="{FF2B5EF4-FFF2-40B4-BE49-F238E27FC236}">
                  <a16:creationId xmlns:a16="http://schemas.microsoft.com/office/drawing/2014/main" id="{7CFA6465-AEEB-4FFD-8D7B-9B6361B0BF03}"/>
                </a:ext>
              </a:extLst>
            </p:cNvPr>
            <p:cNvSpPr>
              <a:spLocks noChangeArrowheads="1"/>
            </p:cNvSpPr>
            <p:nvPr/>
          </p:nvSpPr>
          <p:spPr bwMode="auto">
            <a:xfrm>
              <a:off x="9971055" y="5426287"/>
              <a:ext cx="21200" cy="1618"/>
            </a:xfrm>
            <a:custGeom>
              <a:avLst/>
              <a:gdLst>
                <a:gd name="T0" fmla="*/ 0 w 59"/>
                <a:gd name="T1" fmla="*/ 0 h 1"/>
                <a:gd name="T2" fmla="*/ 0 w 59"/>
                <a:gd name="T3" fmla="*/ 0 h 1"/>
                <a:gd name="T4" fmla="*/ 58 w 59"/>
                <a:gd name="T5" fmla="*/ 0 h 1"/>
                <a:gd name="T6" fmla="*/ 0 w 59"/>
                <a:gd name="T7" fmla="*/ 0 h 1"/>
              </a:gdLst>
              <a:ahLst/>
              <a:cxnLst>
                <a:cxn ang="0">
                  <a:pos x="T0" y="T1"/>
                </a:cxn>
                <a:cxn ang="0">
                  <a:pos x="T2" y="T3"/>
                </a:cxn>
                <a:cxn ang="0">
                  <a:pos x="T4" y="T5"/>
                </a:cxn>
                <a:cxn ang="0">
                  <a:pos x="T6" y="T7"/>
                </a:cxn>
              </a:cxnLst>
              <a:rect l="0" t="0" r="r" b="b"/>
              <a:pathLst>
                <a:path w="59" h="1">
                  <a:moveTo>
                    <a:pt x="0" y="0"/>
                  </a:moveTo>
                  <a:lnTo>
                    <a:pt x="0" y="0"/>
                  </a:lnTo>
                  <a:cubicBezTo>
                    <a:pt x="29" y="0"/>
                    <a:pt x="29" y="0"/>
                    <a:pt x="58"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9" name="Freeform 317">
              <a:extLst>
                <a:ext uri="{FF2B5EF4-FFF2-40B4-BE49-F238E27FC236}">
                  <a16:creationId xmlns:a16="http://schemas.microsoft.com/office/drawing/2014/main" id="{0596071E-A1AE-4F20-A5D3-2162C3813DD2}"/>
                </a:ext>
              </a:extLst>
            </p:cNvPr>
            <p:cNvSpPr>
              <a:spLocks noChangeArrowheads="1"/>
            </p:cNvSpPr>
            <p:nvPr/>
          </p:nvSpPr>
          <p:spPr bwMode="auto">
            <a:xfrm>
              <a:off x="9971055" y="5479691"/>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0" name="Freeform 318">
              <a:extLst>
                <a:ext uri="{FF2B5EF4-FFF2-40B4-BE49-F238E27FC236}">
                  <a16:creationId xmlns:a16="http://schemas.microsoft.com/office/drawing/2014/main" id="{CF5F8B21-A5CE-42BD-95D3-E100145386C6}"/>
                </a:ext>
              </a:extLst>
            </p:cNvPr>
            <p:cNvSpPr>
              <a:spLocks noChangeArrowheads="1"/>
            </p:cNvSpPr>
            <p:nvPr/>
          </p:nvSpPr>
          <p:spPr bwMode="auto">
            <a:xfrm>
              <a:off x="9971055" y="5426287"/>
              <a:ext cx="21200" cy="32366"/>
            </a:xfrm>
            <a:custGeom>
              <a:avLst/>
              <a:gdLst>
                <a:gd name="T0" fmla="*/ 0 w 59"/>
                <a:gd name="T1" fmla="*/ 86 h 87"/>
                <a:gd name="T2" fmla="*/ 0 w 59"/>
                <a:gd name="T3" fmla="*/ 86 h 87"/>
                <a:gd name="T4" fmla="*/ 0 w 59"/>
                <a:gd name="T5" fmla="*/ 86 h 87"/>
                <a:gd name="T6" fmla="*/ 0 w 59"/>
                <a:gd name="T7" fmla="*/ 86 h 87"/>
                <a:gd name="T8" fmla="*/ 0 w 59"/>
                <a:gd name="T9" fmla="*/ 86 h 87"/>
                <a:gd name="T10" fmla="*/ 29 w 59"/>
                <a:gd name="T11" fmla="*/ 29 h 87"/>
                <a:gd name="T12" fmla="*/ 58 w 59"/>
                <a:gd name="T13" fmla="*/ 0 h 87"/>
                <a:gd name="T14" fmla="*/ 58 w 59"/>
                <a:gd name="T15" fmla="*/ 0 h 87"/>
                <a:gd name="T16" fmla="*/ 29 w 59"/>
                <a:gd name="T17" fmla="*/ 29 h 87"/>
                <a:gd name="T18" fmla="*/ 0 w 59"/>
                <a:gd name="T1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87">
                  <a:moveTo>
                    <a:pt x="0" y="86"/>
                  </a:moveTo>
                  <a:lnTo>
                    <a:pt x="0" y="86"/>
                  </a:lnTo>
                  <a:lnTo>
                    <a:pt x="0" y="86"/>
                  </a:lnTo>
                  <a:lnTo>
                    <a:pt x="0" y="86"/>
                  </a:lnTo>
                  <a:lnTo>
                    <a:pt x="0" y="86"/>
                  </a:lnTo>
                  <a:cubicBezTo>
                    <a:pt x="0" y="58"/>
                    <a:pt x="29" y="58"/>
                    <a:pt x="29" y="29"/>
                  </a:cubicBezTo>
                  <a:cubicBezTo>
                    <a:pt x="58" y="29"/>
                    <a:pt x="58" y="29"/>
                    <a:pt x="58" y="0"/>
                  </a:cubicBezTo>
                  <a:lnTo>
                    <a:pt x="58" y="0"/>
                  </a:lnTo>
                  <a:cubicBezTo>
                    <a:pt x="58" y="29"/>
                    <a:pt x="58" y="29"/>
                    <a:pt x="29" y="29"/>
                  </a:cubicBezTo>
                  <a:cubicBezTo>
                    <a:pt x="29" y="58"/>
                    <a:pt x="0" y="58"/>
                    <a:pt x="0" y="8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1" name="Freeform 319">
              <a:extLst>
                <a:ext uri="{FF2B5EF4-FFF2-40B4-BE49-F238E27FC236}">
                  <a16:creationId xmlns:a16="http://schemas.microsoft.com/office/drawing/2014/main" id="{9DAA560D-CA4D-4478-9F8C-CA9B7A2AC674}"/>
                </a:ext>
              </a:extLst>
            </p:cNvPr>
            <p:cNvSpPr>
              <a:spLocks noChangeArrowheads="1"/>
            </p:cNvSpPr>
            <p:nvPr/>
          </p:nvSpPr>
          <p:spPr bwMode="auto">
            <a:xfrm>
              <a:off x="9992255" y="546998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2" name="Freeform 320">
              <a:extLst>
                <a:ext uri="{FF2B5EF4-FFF2-40B4-BE49-F238E27FC236}">
                  <a16:creationId xmlns:a16="http://schemas.microsoft.com/office/drawing/2014/main" id="{C7987B66-FAF6-40BA-BF9E-61F550572AB4}"/>
                </a:ext>
              </a:extLst>
            </p:cNvPr>
            <p:cNvSpPr>
              <a:spLocks noChangeArrowheads="1"/>
            </p:cNvSpPr>
            <p:nvPr/>
          </p:nvSpPr>
          <p:spPr bwMode="auto">
            <a:xfrm>
              <a:off x="9959638" y="5437615"/>
              <a:ext cx="1631" cy="11329"/>
            </a:xfrm>
            <a:custGeom>
              <a:avLst/>
              <a:gdLst>
                <a:gd name="T0" fmla="*/ 0 w 1"/>
                <a:gd name="T1" fmla="*/ 29 h 30"/>
                <a:gd name="T2" fmla="*/ 0 w 1"/>
                <a:gd name="T3" fmla="*/ 29 h 30"/>
                <a:gd name="T4" fmla="*/ 0 w 1"/>
                <a:gd name="T5" fmla="*/ 29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3" name="Freeform 321">
              <a:extLst>
                <a:ext uri="{FF2B5EF4-FFF2-40B4-BE49-F238E27FC236}">
                  <a16:creationId xmlns:a16="http://schemas.microsoft.com/office/drawing/2014/main" id="{FB3127A4-9E3D-4386-956C-5101C676D229}"/>
                </a:ext>
              </a:extLst>
            </p:cNvPr>
            <p:cNvSpPr>
              <a:spLocks noChangeArrowheads="1"/>
            </p:cNvSpPr>
            <p:nvPr/>
          </p:nvSpPr>
          <p:spPr bwMode="auto">
            <a:xfrm>
              <a:off x="9938438" y="5458653"/>
              <a:ext cx="11415" cy="11328"/>
            </a:xfrm>
            <a:custGeom>
              <a:avLst/>
              <a:gdLst>
                <a:gd name="T0" fmla="*/ 0 w 30"/>
                <a:gd name="T1" fmla="*/ 30 h 31"/>
                <a:gd name="T2" fmla="*/ 0 w 30"/>
                <a:gd name="T3" fmla="*/ 0 h 31"/>
                <a:gd name="T4" fmla="*/ 29 w 30"/>
                <a:gd name="T5" fmla="*/ 30 h 31"/>
                <a:gd name="T6" fmla="*/ 0 w 30"/>
                <a:gd name="T7" fmla="*/ 0 h 31"/>
                <a:gd name="T8" fmla="*/ 0 w 30"/>
                <a:gd name="T9" fmla="*/ 30 h 31"/>
              </a:gdLst>
              <a:ahLst/>
              <a:cxnLst>
                <a:cxn ang="0">
                  <a:pos x="T0" y="T1"/>
                </a:cxn>
                <a:cxn ang="0">
                  <a:pos x="T2" y="T3"/>
                </a:cxn>
                <a:cxn ang="0">
                  <a:pos x="T4" y="T5"/>
                </a:cxn>
                <a:cxn ang="0">
                  <a:pos x="T6" y="T7"/>
                </a:cxn>
                <a:cxn ang="0">
                  <a:pos x="T8" y="T9"/>
                </a:cxn>
              </a:cxnLst>
              <a:rect l="0" t="0" r="r" b="b"/>
              <a:pathLst>
                <a:path w="30" h="31">
                  <a:moveTo>
                    <a:pt x="0" y="30"/>
                  </a:moveTo>
                  <a:lnTo>
                    <a:pt x="0" y="0"/>
                  </a:lnTo>
                  <a:lnTo>
                    <a:pt x="29"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4" name="Freeform 322">
              <a:extLst>
                <a:ext uri="{FF2B5EF4-FFF2-40B4-BE49-F238E27FC236}">
                  <a16:creationId xmlns:a16="http://schemas.microsoft.com/office/drawing/2014/main" id="{75FC835C-6B20-4FB4-A1D9-C5968D4D6EB7}"/>
                </a:ext>
              </a:extLst>
            </p:cNvPr>
            <p:cNvSpPr>
              <a:spLocks noChangeArrowheads="1"/>
            </p:cNvSpPr>
            <p:nvPr/>
          </p:nvSpPr>
          <p:spPr bwMode="auto">
            <a:xfrm>
              <a:off x="10143924" y="5683599"/>
              <a:ext cx="44032" cy="32366"/>
            </a:xfrm>
            <a:custGeom>
              <a:avLst/>
              <a:gdLst>
                <a:gd name="T0" fmla="*/ 0 w 118"/>
                <a:gd name="T1" fmla="*/ 86 h 87"/>
                <a:gd name="T2" fmla="*/ 0 w 118"/>
                <a:gd name="T3" fmla="*/ 86 h 87"/>
                <a:gd name="T4" fmla="*/ 29 w 118"/>
                <a:gd name="T5" fmla="*/ 86 h 87"/>
                <a:gd name="T6" fmla="*/ 117 w 118"/>
                <a:gd name="T7" fmla="*/ 58 h 87"/>
                <a:gd name="T8" fmla="*/ 29 w 118"/>
                <a:gd name="T9" fmla="*/ 86 h 87"/>
                <a:gd name="T10" fmla="*/ 0 w 118"/>
                <a:gd name="T11" fmla="*/ 86 h 87"/>
                <a:gd name="T12" fmla="*/ 0 w 118"/>
                <a:gd name="T13" fmla="*/ 58 h 87"/>
                <a:gd name="T14" fmla="*/ 58 w 118"/>
                <a:gd name="T15" fmla="*/ 0 h 87"/>
                <a:gd name="T16" fmla="*/ 88 w 118"/>
                <a:gd name="T17" fmla="*/ 0 h 87"/>
                <a:gd name="T18" fmla="*/ 88 w 118"/>
                <a:gd name="T19" fmla="*/ 0 h 87"/>
                <a:gd name="T20" fmla="*/ 58 w 118"/>
                <a:gd name="T21" fmla="*/ 0 h 87"/>
                <a:gd name="T22" fmla="*/ 0 w 118"/>
                <a:gd name="T23" fmla="*/ 58 h 87"/>
                <a:gd name="T24" fmla="*/ 0 w 118"/>
                <a:gd name="T25"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87">
                  <a:moveTo>
                    <a:pt x="0" y="86"/>
                  </a:moveTo>
                  <a:lnTo>
                    <a:pt x="0" y="86"/>
                  </a:lnTo>
                  <a:cubicBezTo>
                    <a:pt x="29" y="86"/>
                    <a:pt x="29" y="86"/>
                    <a:pt x="29" y="86"/>
                  </a:cubicBezTo>
                  <a:cubicBezTo>
                    <a:pt x="88" y="86"/>
                    <a:pt x="88" y="58"/>
                    <a:pt x="117" y="58"/>
                  </a:cubicBezTo>
                  <a:cubicBezTo>
                    <a:pt x="88" y="58"/>
                    <a:pt x="88" y="86"/>
                    <a:pt x="29" y="86"/>
                  </a:cubicBezTo>
                  <a:cubicBezTo>
                    <a:pt x="0" y="86"/>
                    <a:pt x="0" y="86"/>
                    <a:pt x="0" y="86"/>
                  </a:cubicBezTo>
                  <a:cubicBezTo>
                    <a:pt x="0" y="58"/>
                    <a:pt x="0" y="58"/>
                    <a:pt x="0" y="58"/>
                  </a:cubicBezTo>
                  <a:cubicBezTo>
                    <a:pt x="29" y="29"/>
                    <a:pt x="29" y="29"/>
                    <a:pt x="58" y="0"/>
                  </a:cubicBezTo>
                  <a:lnTo>
                    <a:pt x="88" y="0"/>
                  </a:lnTo>
                  <a:lnTo>
                    <a:pt x="88" y="0"/>
                  </a:lnTo>
                  <a:lnTo>
                    <a:pt x="58" y="0"/>
                  </a:lnTo>
                  <a:cubicBezTo>
                    <a:pt x="29" y="29"/>
                    <a:pt x="29" y="29"/>
                    <a:pt x="0" y="58"/>
                  </a:cubicBezTo>
                  <a:lnTo>
                    <a:pt x="0" y="8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5" name="Freeform 323">
              <a:extLst>
                <a:ext uri="{FF2B5EF4-FFF2-40B4-BE49-F238E27FC236}">
                  <a16:creationId xmlns:a16="http://schemas.microsoft.com/office/drawing/2014/main" id="{24354A9D-19DE-4EDB-BFDD-163D3ED60286}"/>
                </a:ext>
              </a:extLst>
            </p:cNvPr>
            <p:cNvSpPr>
              <a:spLocks noChangeArrowheads="1"/>
            </p:cNvSpPr>
            <p:nvPr/>
          </p:nvSpPr>
          <p:spPr bwMode="auto">
            <a:xfrm>
              <a:off x="9938438" y="5458653"/>
              <a:ext cx="21200" cy="1618"/>
            </a:xfrm>
            <a:custGeom>
              <a:avLst/>
              <a:gdLst>
                <a:gd name="T0" fmla="*/ 0 w 59"/>
                <a:gd name="T1" fmla="*/ 0 h 1"/>
                <a:gd name="T2" fmla="*/ 0 w 59"/>
                <a:gd name="T3" fmla="*/ 0 h 1"/>
                <a:gd name="T4" fmla="*/ 29 w 59"/>
                <a:gd name="T5" fmla="*/ 0 h 1"/>
                <a:gd name="T6" fmla="*/ 58 w 59"/>
                <a:gd name="T7" fmla="*/ 0 h 1"/>
                <a:gd name="T8" fmla="*/ 58 w 59"/>
                <a:gd name="T9" fmla="*/ 0 h 1"/>
                <a:gd name="T10" fmla="*/ 29 w 59"/>
                <a:gd name="T11" fmla="*/ 0 h 1"/>
                <a:gd name="T12" fmla="*/ 0 w 5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9" h="1">
                  <a:moveTo>
                    <a:pt x="0" y="0"/>
                  </a:moveTo>
                  <a:lnTo>
                    <a:pt x="0" y="0"/>
                  </a:lnTo>
                  <a:cubicBezTo>
                    <a:pt x="29" y="0"/>
                    <a:pt x="29" y="0"/>
                    <a:pt x="29" y="0"/>
                  </a:cubicBezTo>
                  <a:cubicBezTo>
                    <a:pt x="58" y="0"/>
                    <a:pt x="58" y="0"/>
                    <a:pt x="58" y="0"/>
                  </a:cubicBezTo>
                  <a:lnTo>
                    <a:pt x="58"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6" name="Freeform 324">
              <a:extLst>
                <a:ext uri="{FF2B5EF4-FFF2-40B4-BE49-F238E27FC236}">
                  <a16:creationId xmlns:a16="http://schemas.microsoft.com/office/drawing/2014/main" id="{3EF2DA82-6C10-4FA1-A85D-74CA0CC49C25}"/>
                </a:ext>
              </a:extLst>
            </p:cNvPr>
            <p:cNvSpPr>
              <a:spLocks noChangeArrowheads="1"/>
            </p:cNvSpPr>
            <p:nvPr/>
          </p:nvSpPr>
          <p:spPr bwMode="auto">
            <a:xfrm>
              <a:off x="9905821" y="5319478"/>
              <a:ext cx="11415" cy="11328"/>
            </a:xfrm>
            <a:custGeom>
              <a:avLst/>
              <a:gdLst>
                <a:gd name="T0" fmla="*/ 0 w 31"/>
                <a:gd name="T1" fmla="*/ 0 h 29"/>
                <a:gd name="T2" fmla="*/ 0 w 31"/>
                <a:gd name="T3" fmla="*/ 0 h 29"/>
                <a:gd name="T4" fmla="*/ 30 w 31"/>
                <a:gd name="T5" fmla="*/ 28 h 29"/>
                <a:gd name="T6" fmla="*/ 0 w 31"/>
                <a:gd name="T7" fmla="*/ 0 h 29"/>
              </a:gdLst>
              <a:ahLst/>
              <a:cxnLst>
                <a:cxn ang="0">
                  <a:pos x="T0" y="T1"/>
                </a:cxn>
                <a:cxn ang="0">
                  <a:pos x="T2" y="T3"/>
                </a:cxn>
                <a:cxn ang="0">
                  <a:pos x="T4" y="T5"/>
                </a:cxn>
                <a:cxn ang="0">
                  <a:pos x="T6" y="T7"/>
                </a:cxn>
              </a:cxnLst>
              <a:rect l="0" t="0" r="r" b="b"/>
              <a:pathLst>
                <a:path w="31" h="29">
                  <a:moveTo>
                    <a:pt x="0" y="0"/>
                  </a:moveTo>
                  <a:lnTo>
                    <a:pt x="0" y="0"/>
                  </a:lnTo>
                  <a:cubicBezTo>
                    <a:pt x="30" y="0"/>
                    <a:pt x="30" y="28"/>
                    <a:pt x="30" y="28"/>
                  </a:cubicBezTo>
                  <a:cubicBezTo>
                    <a:pt x="30" y="28"/>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7" name="Freeform 325">
              <a:extLst>
                <a:ext uri="{FF2B5EF4-FFF2-40B4-BE49-F238E27FC236}">
                  <a16:creationId xmlns:a16="http://schemas.microsoft.com/office/drawing/2014/main" id="{4036808B-B5D9-45DE-B6BC-C41163F152B6}"/>
                </a:ext>
              </a:extLst>
            </p:cNvPr>
            <p:cNvSpPr>
              <a:spLocks noChangeArrowheads="1"/>
            </p:cNvSpPr>
            <p:nvPr/>
          </p:nvSpPr>
          <p:spPr bwMode="auto">
            <a:xfrm>
              <a:off x="9896036" y="5256363"/>
              <a:ext cx="11415" cy="11329"/>
            </a:xfrm>
            <a:custGeom>
              <a:avLst/>
              <a:gdLst>
                <a:gd name="T0" fmla="*/ 29 w 30"/>
                <a:gd name="T1" fmla="*/ 0 h 30"/>
                <a:gd name="T2" fmla="*/ 29 w 30"/>
                <a:gd name="T3" fmla="*/ 0 h 30"/>
                <a:gd name="T4" fmla="*/ 29 w 30"/>
                <a:gd name="T5" fmla="*/ 0 h 30"/>
                <a:gd name="T6" fmla="*/ 29 w 30"/>
                <a:gd name="T7" fmla="*/ 0 h 30"/>
                <a:gd name="T8" fmla="*/ 29 w 30"/>
                <a:gd name="T9" fmla="*/ 0 h 30"/>
                <a:gd name="T10" fmla="*/ 0 w 30"/>
                <a:gd name="T11" fmla="*/ 29 h 30"/>
                <a:gd name="T12" fmla="*/ 29 w 3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29" y="0"/>
                  </a:moveTo>
                  <a:lnTo>
                    <a:pt x="29" y="0"/>
                  </a:lnTo>
                  <a:lnTo>
                    <a:pt x="29" y="0"/>
                  </a:lnTo>
                  <a:lnTo>
                    <a:pt x="29" y="0"/>
                  </a:lnTo>
                  <a:lnTo>
                    <a:pt x="29" y="0"/>
                  </a:lnTo>
                  <a:cubicBezTo>
                    <a:pt x="0" y="0"/>
                    <a:pt x="0" y="0"/>
                    <a:pt x="0" y="29"/>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8" name="Freeform 326">
              <a:extLst>
                <a:ext uri="{FF2B5EF4-FFF2-40B4-BE49-F238E27FC236}">
                  <a16:creationId xmlns:a16="http://schemas.microsoft.com/office/drawing/2014/main" id="{2A999B9C-140D-46CB-8A34-2B0821C6945C}"/>
                </a:ext>
              </a:extLst>
            </p:cNvPr>
            <p:cNvSpPr>
              <a:spLocks noChangeArrowheads="1"/>
            </p:cNvSpPr>
            <p:nvPr/>
          </p:nvSpPr>
          <p:spPr bwMode="auto">
            <a:xfrm>
              <a:off x="9917236" y="5330806"/>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49" name="Freeform 327">
              <a:extLst>
                <a:ext uri="{FF2B5EF4-FFF2-40B4-BE49-F238E27FC236}">
                  <a16:creationId xmlns:a16="http://schemas.microsoft.com/office/drawing/2014/main" id="{C0FA9BF2-94F2-438C-8812-5F651DE9021C}"/>
                </a:ext>
              </a:extLst>
            </p:cNvPr>
            <p:cNvSpPr>
              <a:spLocks noChangeArrowheads="1"/>
            </p:cNvSpPr>
            <p:nvPr/>
          </p:nvSpPr>
          <p:spPr bwMode="auto">
            <a:xfrm>
              <a:off x="9938438" y="5448944"/>
              <a:ext cx="1630" cy="11328"/>
            </a:xfrm>
            <a:custGeom>
              <a:avLst/>
              <a:gdLst>
                <a:gd name="T0" fmla="*/ 0 w 1"/>
                <a:gd name="T1" fmla="*/ 0 h 29"/>
                <a:gd name="T2" fmla="*/ 0 w 1"/>
                <a:gd name="T3" fmla="*/ 0 h 29"/>
                <a:gd name="T4" fmla="*/ 0 w 1"/>
                <a:gd name="T5" fmla="*/ 28 h 29"/>
                <a:gd name="T6" fmla="*/ 0 w 1"/>
                <a:gd name="T7" fmla="*/ 0 h 29"/>
              </a:gdLst>
              <a:ahLst/>
              <a:cxnLst>
                <a:cxn ang="0">
                  <a:pos x="T0" y="T1"/>
                </a:cxn>
                <a:cxn ang="0">
                  <a:pos x="T2" y="T3"/>
                </a:cxn>
                <a:cxn ang="0">
                  <a:pos x="T4" y="T5"/>
                </a:cxn>
                <a:cxn ang="0">
                  <a:pos x="T6" y="T7"/>
                </a:cxn>
              </a:cxnLst>
              <a:rect l="0" t="0" r="r" b="b"/>
              <a:pathLst>
                <a:path w="1" h="29">
                  <a:moveTo>
                    <a:pt x="0" y="0"/>
                  </a:moveTo>
                  <a:lnTo>
                    <a:pt x="0" y="0"/>
                  </a:lnTo>
                  <a:lnTo>
                    <a:pt x="0" y="28"/>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0" name="Freeform 328">
              <a:extLst>
                <a:ext uri="{FF2B5EF4-FFF2-40B4-BE49-F238E27FC236}">
                  <a16:creationId xmlns:a16="http://schemas.microsoft.com/office/drawing/2014/main" id="{C49B5F05-09CC-4780-8196-D37B2A3905B2}"/>
                </a:ext>
              </a:extLst>
            </p:cNvPr>
            <p:cNvSpPr>
              <a:spLocks noChangeArrowheads="1"/>
            </p:cNvSpPr>
            <p:nvPr/>
          </p:nvSpPr>
          <p:spPr bwMode="auto">
            <a:xfrm>
              <a:off x="9938438" y="5448944"/>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1" name="Freeform 329">
              <a:extLst>
                <a:ext uri="{FF2B5EF4-FFF2-40B4-BE49-F238E27FC236}">
                  <a16:creationId xmlns:a16="http://schemas.microsoft.com/office/drawing/2014/main" id="{745489AB-010C-472C-B135-7C459A12063A}"/>
                </a:ext>
              </a:extLst>
            </p:cNvPr>
            <p:cNvSpPr>
              <a:spLocks noChangeArrowheads="1"/>
            </p:cNvSpPr>
            <p:nvPr/>
          </p:nvSpPr>
          <p:spPr bwMode="auto">
            <a:xfrm>
              <a:off x="10207527" y="5748332"/>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2" name="Freeform 330">
              <a:extLst>
                <a:ext uri="{FF2B5EF4-FFF2-40B4-BE49-F238E27FC236}">
                  <a16:creationId xmlns:a16="http://schemas.microsoft.com/office/drawing/2014/main" id="{B8F26FA3-2127-4FA3-8D8F-4C7E7DF9305D}"/>
                </a:ext>
              </a:extLst>
            </p:cNvPr>
            <p:cNvSpPr>
              <a:spLocks noChangeArrowheads="1"/>
            </p:cNvSpPr>
            <p:nvPr/>
          </p:nvSpPr>
          <p:spPr bwMode="auto">
            <a:xfrm>
              <a:off x="3834183" y="2869341"/>
              <a:ext cx="32617" cy="11328"/>
            </a:xfrm>
            <a:custGeom>
              <a:avLst/>
              <a:gdLst>
                <a:gd name="T0" fmla="*/ 87 w 88"/>
                <a:gd name="T1" fmla="*/ 0 h 30"/>
                <a:gd name="T2" fmla="*/ 87 w 88"/>
                <a:gd name="T3" fmla="*/ 0 h 30"/>
                <a:gd name="T4" fmla="*/ 58 w 88"/>
                <a:gd name="T5" fmla="*/ 0 h 30"/>
                <a:gd name="T6" fmla="*/ 58 w 88"/>
                <a:gd name="T7" fmla="*/ 0 h 30"/>
                <a:gd name="T8" fmla="*/ 58 w 88"/>
                <a:gd name="T9" fmla="*/ 0 h 30"/>
                <a:gd name="T10" fmla="*/ 87 w 88"/>
                <a:gd name="T11" fmla="*/ 0 h 30"/>
                <a:gd name="T12" fmla="*/ 29 w 88"/>
                <a:gd name="T13" fmla="*/ 0 h 30"/>
                <a:gd name="T14" fmla="*/ 0 w 88"/>
                <a:gd name="T15" fmla="*/ 0 h 30"/>
                <a:gd name="T16" fmla="*/ 0 w 88"/>
                <a:gd name="T17" fmla="*/ 0 h 30"/>
                <a:gd name="T18" fmla="*/ 0 w 88"/>
                <a:gd name="T19" fmla="*/ 29 h 30"/>
                <a:gd name="T20" fmla="*/ 0 w 88"/>
                <a:gd name="T21" fmla="*/ 29 h 30"/>
                <a:gd name="T22" fmla="*/ 0 w 88"/>
                <a:gd name="T23" fmla="*/ 29 h 30"/>
                <a:gd name="T24" fmla="*/ 0 w 88"/>
                <a:gd name="T25" fmla="*/ 0 h 30"/>
                <a:gd name="T26" fmla="*/ 0 w 88"/>
                <a:gd name="T27" fmla="*/ 0 h 30"/>
                <a:gd name="T28" fmla="*/ 29 w 88"/>
                <a:gd name="T29" fmla="*/ 0 h 30"/>
                <a:gd name="T30" fmla="*/ 87 w 88"/>
                <a:gd name="T3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30">
                  <a:moveTo>
                    <a:pt x="87" y="0"/>
                  </a:moveTo>
                  <a:lnTo>
                    <a:pt x="87" y="0"/>
                  </a:lnTo>
                  <a:cubicBezTo>
                    <a:pt x="87" y="0"/>
                    <a:pt x="87" y="0"/>
                    <a:pt x="58" y="0"/>
                  </a:cubicBezTo>
                  <a:lnTo>
                    <a:pt x="58" y="0"/>
                  </a:lnTo>
                  <a:lnTo>
                    <a:pt x="58" y="0"/>
                  </a:lnTo>
                  <a:cubicBezTo>
                    <a:pt x="87" y="0"/>
                    <a:pt x="87" y="0"/>
                    <a:pt x="87" y="0"/>
                  </a:cubicBezTo>
                  <a:cubicBezTo>
                    <a:pt x="58" y="0"/>
                    <a:pt x="58" y="0"/>
                    <a:pt x="29" y="0"/>
                  </a:cubicBezTo>
                  <a:cubicBezTo>
                    <a:pt x="29" y="0"/>
                    <a:pt x="29" y="0"/>
                    <a:pt x="0" y="0"/>
                  </a:cubicBezTo>
                  <a:lnTo>
                    <a:pt x="0" y="0"/>
                  </a:lnTo>
                  <a:cubicBezTo>
                    <a:pt x="0" y="29"/>
                    <a:pt x="0" y="29"/>
                    <a:pt x="0" y="29"/>
                  </a:cubicBezTo>
                  <a:lnTo>
                    <a:pt x="0" y="29"/>
                  </a:lnTo>
                  <a:lnTo>
                    <a:pt x="0" y="29"/>
                  </a:lnTo>
                  <a:cubicBezTo>
                    <a:pt x="0" y="0"/>
                    <a:pt x="0" y="0"/>
                    <a:pt x="0" y="0"/>
                  </a:cubicBezTo>
                  <a:lnTo>
                    <a:pt x="0" y="0"/>
                  </a:lnTo>
                  <a:cubicBezTo>
                    <a:pt x="29" y="0"/>
                    <a:pt x="29" y="0"/>
                    <a:pt x="29" y="0"/>
                  </a:cubicBezTo>
                  <a:cubicBezTo>
                    <a:pt x="58" y="0"/>
                    <a:pt x="87" y="0"/>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3" name="Freeform 331">
              <a:extLst>
                <a:ext uri="{FF2B5EF4-FFF2-40B4-BE49-F238E27FC236}">
                  <a16:creationId xmlns:a16="http://schemas.microsoft.com/office/drawing/2014/main" id="{7648F96E-760D-41ED-8787-DF321AFA241E}"/>
                </a:ext>
              </a:extLst>
            </p:cNvPr>
            <p:cNvSpPr>
              <a:spLocks noChangeArrowheads="1"/>
            </p:cNvSpPr>
            <p:nvPr/>
          </p:nvSpPr>
          <p:spPr bwMode="auto">
            <a:xfrm>
              <a:off x="3780366" y="2911418"/>
              <a:ext cx="55449" cy="43694"/>
            </a:xfrm>
            <a:custGeom>
              <a:avLst/>
              <a:gdLst>
                <a:gd name="T0" fmla="*/ 117 w 148"/>
                <a:gd name="T1" fmla="*/ 0 h 117"/>
                <a:gd name="T2" fmla="*/ 117 w 148"/>
                <a:gd name="T3" fmla="*/ 0 h 117"/>
                <a:gd name="T4" fmla="*/ 88 w 148"/>
                <a:gd name="T5" fmla="*/ 0 h 117"/>
                <a:gd name="T6" fmla="*/ 0 w 148"/>
                <a:gd name="T7" fmla="*/ 57 h 117"/>
                <a:gd name="T8" fmla="*/ 0 w 148"/>
                <a:gd name="T9" fmla="*/ 57 h 117"/>
                <a:gd name="T10" fmla="*/ 0 w 148"/>
                <a:gd name="T11" fmla="*/ 87 h 117"/>
                <a:gd name="T12" fmla="*/ 0 w 148"/>
                <a:gd name="T13" fmla="*/ 116 h 117"/>
                <a:gd name="T14" fmla="*/ 0 w 148"/>
                <a:gd name="T15" fmla="*/ 87 h 117"/>
                <a:gd name="T16" fmla="*/ 0 w 148"/>
                <a:gd name="T17" fmla="*/ 57 h 117"/>
                <a:gd name="T18" fmla="*/ 0 w 148"/>
                <a:gd name="T19" fmla="*/ 57 h 117"/>
                <a:gd name="T20" fmla="*/ 88 w 148"/>
                <a:gd name="T21" fmla="*/ 0 h 117"/>
                <a:gd name="T22" fmla="*/ 117 w 148"/>
                <a:gd name="T23" fmla="*/ 0 h 117"/>
                <a:gd name="T24" fmla="*/ 117 w 148"/>
                <a:gd name="T25" fmla="*/ 29 h 117"/>
                <a:gd name="T26" fmla="*/ 147 w 148"/>
                <a:gd name="T27" fmla="*/ 57 h 117"/>
                <a:gd name="T28" fmla="*/ 117 w 148"/>
                <a:gd name="T29" fmla="*/ 29 h 117"/>
                <a:gd name="T30" fmla="*/ 117 w 148"/>
                <a:gd name="T3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17">
                  <a:moveTo>
                    <a:pt x="117" y="0"/>
                  </a:moveTo>
                  <a:lnTo>
                    <a:pt x="117" y="0"/>
                  </a:lnTo>
                  <a:cubicBezTo>
                    <a:pt x="88" y="0"/>
                    <a:pt x="88" y="0"/>
                    <a:pt x="88" y="0"/>
                  </a:cubicBezTo>
                  <a:cubicBezTo>
                    <a:pt x="59" y="29"/>
                    <a:pt x="30" y="29"/>
                    <a:pt x="0" y="57"/>
                  </a:cubicBezTo>
                  <a:lnTo>
                    <a:pt x="0" y="57"/>
                  </a:lnTo>
                  <a:cubicBezTo>
                    <a:pt x="0" y="87"/>
                    <a:pt x="0" y="87"/>
                    <a:pt x="0" y="87"/>
                  </a:cubicBezTo>
                  <a:cubicBezTo>
                    <a:pt x="0" y="87"/>
                    <a:pt x="0" y="87"/>
                    <a:pt x="0" y="116"/>
                  </a:cubicBezTo>
                  <a:cubicBezTo>
                    <a:pt x="0" y="87"/>
                    <a:pt x="0" y="87"/>
                    <a:pt x="0" y="87"/>
                  </a:cubicBezTo>
                  <a:cubicBezTo>
                    <a:pt x="0" y="57"/>
                    <a:pt x="0" y="57"/>
                    <a:pt x="0" y="57"/>
                  </a:cubicBezTo>
                  <a:lnTo>
                    <a:pt x="0" y="57"/>
                  </a:lnTo>
                  <a:cubicBezTo>
                    <a:pt x="30" y="29"/>
                    <a:pt x="59" y="29"/>
                    <a:pt x="88" y="0"/>
                  </a:cubicBezTo>
                  <a:cubicBezTo>
                    <a:pt x="117" y="0"/>
                    <a:pt x="117" y="0"/>
                    <a:pt x="117" y="0"/>
                  </a:cubicBezTo>
                  <a:cubicBezTo>
                    <a:pt x="117" y="29"/>
                    <a:pt x="117" y="29"/>
                    <a:pt x="117" y="29"/>
                  </a:cubicBezTo>
                  <a:cubicBezTo>
                    <a:pt x="117" y="29"/>
                    <a:pt x="117" y="29"/>
                    <a:pt x="147" y="57"/>
                  </a:cubicBezTo>
                  <a:cubicBezTo>
                    <a:pt x="117" y="29"/>
                    <a:pt x="117" y="29"/>
                    <a:pt x="117" y="29"/>
                  </a:cubicBezTo>
                  <a:lnTo>
                    <a:pt x="11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4" name="Freeform 332">
              <a:extLst>
                <a:ext uri="{FF2B5EF4-FFF2-40B4-BE49-F238E27FC236}">
                  <a16:creationId xmlns:a16="http://schemas.microsoft.com/office/drawing/2014/main" id="{CD7F1EDA-7FA5-4FFE-86E4-200755F6C4B6}"/>
                </a:ext>
              </a:extLst>
            </p:cNvPr>
            <p:cNvSpPr>
              <a:spLocks noChangeArrowheads="1"/>
            </p:cNvSpPr>
            <p:nvPr/>
          </p:nvSpPr>
          <p:spPr bwMode="auto">
            <a:xfrm>
              <a:off x="6024409" y="3725432"/>
              <a:ext cx="2038557" cy="2001862"/>
            </a:xfrm>
            <a:custGeom>
              <a:avLst/>
              <a:gdLst>
                <a:gd name="T0" fmla="*/ 5453 w 5512"/>
                <a:gd name="T1" fmla="*/ 3354 h 5455"/>
                <a:gd name="T2" fmla="*/ 5453 w 5512"/>
                <a:gd name="T3" fmla="*/ 2858 h 5455"/>
                <a:gd name="T4" fmla="*/ 5395 w 5512"/>
                <a:gd name="T5" fmla="*/ 2596 h 5455"/>
                <a:gd name="T6" fmla="*/ 5249 w 5512"/>
                <a:gd name="T7" fmla="*/ 2100 h 5455"/>
                <a:gd name="T8" fmla="*/ 5104 w 5512"/>
                <a:gd name="T9" fmla="*/ 1633 h 5455"/>
                <a:gd name="T10" fmla="*/ 4666 w 5512"/>
                <a:gd name="T11" fmla="*/ 1517 h 5455"/>
                <a:gd name="T12" fmla="*/ 4463 w 5512"/>
                <a:gd name="T13" fmla="*/ 1546 h 5455"/>
                <a:gd name="T14" fmla="*/ 4258 w 5512"/>
                <a:gd name="T15" fmla="*/ 1488 h 5455"/>
                <a:gd name="T16" fmla="*/ 4054 w 5512"/>
                <a:gd name="T17" fmla="*/ 1546 h 5455"/>
                <a:gd name="T18" fmla="*/ 3996 w 5512"/>
                <a:gd name="T19" fmla="*/ 1517 h 5455"/>
                <a:gd name="T20" fmla="*/ 3820 w 5512"/>
                <a:gd name="T21" fmla="*/ 1517 h 5455"/>
                <a:gd name="T22" fmla="*/ 3558 w 5512"/>
                <a:gd name="T23" fmla="*/ 1400 h 5455"/>
                <a:gd name="T24" fmla="*/ 3499 w 5512"/>
                <a:gd name="T25" fmla="*/ 1429 h 5455"/>
                <a:gd name="T26" fmla="*/ 3354 w 5512"/>
                <a:gd name="T27" fmla="*/ 1341 h 5455"/>
                <a:gd name="T28" fmla="*/ 3149 w 5512"/>
                <a:gd name="T29" fmla="*/ 1225 h 5455"/>
                <a:gd name="T30" fmla="*/ 2771 w 5512"/>
                <a:gd name="T31" fmla="*/ 1079 h 5455"/>
                <a:gd name="T32" fmla="*/ 1633 w 5512"/>
                <a:gd name="T33" fmla="*/ 321 h 5455"/>
                <a:gd name="T34" fmla="*/ 1458 w 5512"/>
                <a:gd name="T35" fmla="*/ 2275 h 5455"/>
                <a:gd name="T36" fmla="*/ 0 w 5512"/>
                <a:gd name="T37" fmla="*/ 2188 h 5455"/>
                <a:gd name="T38" fmla="*/ 292 w 5512"/>
                <a:gd name="T39" fmla="*/ 2596 h 5455"/>
                <a:gd name="T40" fmla="*/ 437 w 5512"/>
                <a:gd name="T41" fmla="*/ 2712 h 5455"/>
                <a:gd name="T42" fmla="*/ 642 w 5512"/>
                <a:gd name="T43" fmla="*/ 3121 h 5455"/>
                <a:gd name="T44" fmla="*/ 933 w 5512"/>
                <a:gd name="T45" fmla="*/ 3529 h 5455"/>
                <a:gd name="T46" fmla="*/ 1021 w 5512"/>
                <a:gd name="T47" fmla="*/ 3588 h 5455"/>
                <a:gd name="T48" fmla="*/ 1166 w 5512"/>
                <a:gd name="T49" fmla="*/ 3704 h 5455"/>
                <a:gd name="T50" fmla="*/ 1400 w 5512"/>
                <a:gd name="T51" fmla="*/ 3471 h 5455"/>
                <a:gd name="T52" fmla="*/ 1575 w 5512"/>
                <a:gd name="T53" fmla="*/ 3325 h 5455"/>
                <a:gd name="T54" fmla="*/ 1721 w 5512"/>
                <a:gd name="T55" fmla="*/ 3354 h 5455"/>
                <a:gd name="T56" fmla="*/ 2100 w 5512"/>
                <a:gd name="T57" fmla="*/ 3471 h 5455"/>
                <a:gd name="T58" fmla="*/ 2392 w 5512"/>
                <a:gd name="T59" fmla="*/ 3733 h 5455"/>
                <a:gd name="T60" fmla="*/ 2421 w 5512"/>
                <a:gd name="T61" fmla="*/ 3791 h 5455"/>
                <a:gd name="T62" fmla="*/ 2654 w 5512"/>
                <a:gd name="T63" fmla="*/ 4229 h 5455"/>
                <a:gd name="T64" fmla="*/ 2916 w 5512"/>
                <a:gd name="T65" fmla="*/ 4638 h 5455"/>
                <a:gd name="T66" fmla="*/ 3004 w 5512"/>
                <a:gd name="T67" fmla="*/ 4988 h 5455"/>
                <a:gd name="T68" fmla="*/ 3179 w 5512"/>
                <a:gd name="T69" fmla="*/ 5191 h 5455"/>
                <a:gd name="T70" fmla="*/ 3266 w 5512"/>
                <a:gd name="T71" fmla="*/ 5279 h 5455"/>
                <a:gd name="T72" fmla="*/ 3733 w 5512"/>
                <a:gd name="T73" fmla="*/ 5338 h 5455"/>
                <a:gd name="T74" fmla="*/ 3849 w 5512"/>
                <a:gd name="T75" fmla="*/ 5367 h 5455"/>
                <a:gd name="T76" fmla="*/ 3763 w 5512"/>
                <a:gd name="T77" fmla="*/ 5017 h 5455"/>
                <a:gd name="T78" fmla="*/ 3675 w 5512"/>
                <a:gd name="T79" fmla="*/ 4812 h 5455"/>
                <a:gd name="T80" fmla="*/ 3704 w 5512"/>
                <a:gd name="T81" fmla="*/ 4667 h 5455"/>
                <a:gd name="T82" fmla="*/ 3820 w 5512"/>
                <a:gd name="T83" fmla="*/ 4638 h 5455"/>
                <a:gd name="T84" fmla="*/ 3733 w 5512"/>
                <a:gd name="T85" fmla="*/ 4433 h 5455"/>
                <a:gd name="T86" fmla="*/ 3996 w 5512"/>
                <a:gd name="T87" fmla="*/ 4258 h 5455"/>
                <a:gd name="T88" fmla="*/ 4199 w 5512"/>
                <a:gd name="T89" fmla="*/ 4171 h 5455"/>
                <a:gd name="T90" fmla="*/ 4170 w 5512"/>
                <a:gd name="T91" fmla="*/ 3996 h 5455"/>
                <a:gd name="T92" fmla="*/ 4316 w 5512"/>
                <a:gd name="T93" fmla="*/ 3996 h 5455"/>
                <a:gd name="T94" fmla="*/ 4375 w 5512"/>
                <a:gd name="T95" fmla="*/ 3996 h 5455"/>
                <a:gd name="T96" fmla="*/ 4549 w 5512"/>
                <a:gd name="T97" fmla="*/ 4025 h 5455"/>
                <a:gd name="T98" fmla="*/ 4696 w 5512"/>
                <a:gd name="T99" fmla="*/ 3967 h 5455"/>
                <a:gd name="T100" fmla="*/ 4813 w 5512"/>
                <a:gd name="T101" fmla="*/ 3850 h 5455"/>
                <a:gd name="T102" fmla="*/ 4841 w 5512"/>
                <a:gd name="T103" fmla="*/ 3617 h 5455"/>
                <a:gd name="T104" fmla="*/ 5046 w 5512"/>
                <a:gd name="T105" fmla="*/ 3471 h 5455"/>
                <a:gd name="T106" fmla="*/ 5075 w 5512"/>
                <a:gd name="T107" fmla="*/ 3617 h 5455"/>
                <a:gd name="T108" fmla="*/ 5133 w 5512"/>
                <a:gd name="T109" fmla="*/ 3646 h 5455"/>
                <a:gd name="T110" fmla="*/ 5424 w 5512"/>
                <a:gd name="T111" fmla="*/ 3471 h 5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12" h="5455">
                  <a:moveTo>
                    <a:pt x="5453" y="3412"/>
                  </a:moveTo>
                  <a:lnTo>
                    <a:pt x="5453" y="3412"/>
                  </a:lnTo>
                  <a:cubicBezTo>
                    <a:pt x="5395" y="3354"/>
                    <a:pt x="5395" y="3354"/>
                    <a:pt x="5395" y="3354"/>
                  </a:cubicBezTo>
                  <a:cubicBezTo>
                    <a:pt x="5453" y="3354"/>
                    <a:pt x="5453" y="3354"/>
                    <a:pt x="5453" y="3354"/>
                  </a:cubicBezTo>
                  <a:lnTo>
                    <a:pt x="5453" y="3354"/>
                  </a:lnTo>
                  <a:cubicBezTo>
                    <a:pt x="5482" y="3325"/>
                    <a:pt x="5482" y="3267"/>
                    <a:pt x="5482" y="3208"/>
                  </a:cubicBezTo>
                  <a:cubicBezTo>
                    <a:pt x="5453" y="3179"/>
                    <a:pt x="5453" y="3179"/>
                    <a:pt x="5453" y="3150"/>
                  </a:cubicBezTo>
                  <a:cubicBezTo>
                    <a:pt x="5453" y="3091"/>
                    <a:pt x="5453" y="3033"/>
                    <a:pt x="5482" y="3004"/>
                  </a:cubicBezTo>
                  <a:cubicBezTo>
                    <a:pt x="5482" y="2975"/>
                    <a:pt x="5511" y="2946"/>
                    <a:pt x="5511" y="2917"/>
                  </a:cubicBezTo>
                  <a:cubicBezTo>
                    <a:pt x="5511" y="2888"/>
                    <a:pt x="5482" y="2888"/>
                    <a:pt x="5453" y="2858"/>
                  </a:cubicBezTo>
                  <a:cubicBezTo>
                    <a:pt x="5453" y="2858"/>
                    <a:pt x="5424" y="2829"/>
                    <a:pt x="5424" y="2800"/>
                  </a:cubicBezTo>
                  <a:cubicBezTo>
                    <a:pt x="5424" y="2771"/>
                    <a:pt x="5424" y="2771"/>
                    <a:pt x="5424" y="2741"/>
                  </a:cubicBezTo>
                  <a:lnTo>
                    <a:pt x="5424" y="2741"/>
                  </a:lnTo>
                  <a:cubicBezTo>
                    <a:pt x="5424" y="2712"/>
                    <a:pt x="5395" y="2683"/>
                    <a:pt x="5395" y="2654"/>
                  </a:cubicBezTo>
                  <a:cubicBezTo>
                    <a:pt x="5395" y="2625"/>
                    <a:pt x="5395" y="2625"/>
                    <a:pt x="5395" y="2596"/>
                  </a:cubicBezTo>
                  <a:cubicBezTo>
                    <a:pt x="5337" y="2567"/>
                    <a:pt x="5337" y="2508"/>
                    <a:pt x="5308" y="2450"/>
                  </a:cubicBezTo>
                  <a:cubicBezTo>
                    <a:pt x="5308" y="2391"/>
                    <a:pt x="5279" y="2362"/>
                    <a:pt x="5249" y="2333"/>
                  </a:cubicBezTo>
                  <a:lnTo>
                    <a:pt x="5249" y="2333"/>
                  </a:lnTo>
                  <a:cubicBezTo>
                    <a:pt x="5249" y="2304"/>
                    <a:pt x="5249" y="2304"/>
                    <a:pt x="5249" y="2304"/>
                  </a:cubicBezTo>
                  <a:cubicBezTo>
                    <a:pt x="5249" y="2246"/>
                    <a:pt x="5249" y="2188"/>
                    <a:pt x="5249" y="2100"/>
                  </a:cubicBezTo>
                  <a:cubicBezTo>
                    <a:pt x="5249" y="1954"/>
                    <a:pt x="5249" y="1808"/>
                    <a:pt x="5249" y="1662"/>
                  </a:cubicBezTo>
                  <a:cubicBezTo>
                    <a:pt x="5220" y="1662"/>
                    <a:pt x="5220" y="1662"/>
                    <a:pt x="5191" y="1633"/>
                  </a:cubicBezTo>
                  <a:lnTo>
                    <a:pt x="5163" y="1633"/>
                  </a:lnTo>
                  <a:lnTo>
                    <a:pt x="5163" y="1633"/>
                  </a:lnTo>
                  <a:cubicBezTo>
                    <a:pt x="5133" y="1633"/>
                    <a:pt x="5133" y="1633"/>
                    <a:pt x="5104" y="1633"/>
                  </a:cubicBezTo>
                  <a:cubicBezTo>
                    <a:pt x="5046" y="1633"/>
                    <a:pt x="5016" y="1604"/>
                    <a:pt x="4958" y="1575"/>
                  </a:cubicBezTo>
                  <a:cubicBezTo>
                    <a:pt x="4929" y="1546"/>
                    <a:pt x="4899" y="1517"/>
                    <a:pt x="4870" y="1517"/>
                  </a:cubicBezTo>
                  <a:cubicBezTo>
                    <a:pt x="4841" y="1488"/>
                    <a:pt x="4813" y="1488"/>
                    <a:pt x="4783" y="1517"/>
                  </a:cubicBezTo>
                  <a:cubicBezTo>
                    <a:pt x="4754" y="1517"/>
                    <a:pt x="4725" y="1517"/>
                    <a:pt x="4666" y="1517"/>
                  </a:cubicBezTo>
                  <a:lnTo>
                    <a:pt x="4666" y="1517"/>
                  </a:lnTo>
                  <a:cubicBezTo>
                    <a:pt x="4666" y="1517"/>
                    <a:pt x="4666" y="1517"/>
                    <a:pt x="4637" y="1517"/>
                  </a:cubicBezTo>
                  <a:lnTo>
                    <a:pt x="4637" y="1517"/>
                  </a:lnTo>
                  <a:lnTo>
                    <a:pt x="4637" y="1517"/>
                  </a:lnTo>
                  <a:cubicBezTo>
                    <a:pt x="4608" y="1517"/>
                    <a:pt x="4579" y="1517"/>
                    <a:pt x="4549" y="1517"/>
                  </a:cubicBezTo>
                  <a:cubicBezTo>
                    <a:pt x="4520" y="1517"/>
                    <a:pt x="4491" y="1517"/>
                    <a:pt x="4463" y="1546"/>
                  </a:cubicBezTo>
                  <a:cubicBezTo>
                    <a:pt x="4433" y="1546"/>
                    <a:pt x="4433" y="1546"/>
                    <a:pt x="4404" y="1546"/>
                  </a:cubicBezTo>
                  <a:cubicBezTo>
                    <a:pt x="4404" y="1575"/>
                    <a:pt x="4375" y="1575"/>
                    <a:pt x="4375" y="1575"/>
                  </a:cubicBezTo>
                  <a:cubicBezTo>
                    <a:pt x="4316" y="1575"/>
                    <a:pt x="4316" y="1546"/>
                    <a:pt x="4287" y="1517"/>
                  </a:cubicBezTo>
                  <a:cubicBezTo>
                    <a:pt x="4287" y="1488"/>
                    <a:pt x="4287" y="1488"/>
                    <a:pt x="4287" y="1488"/>
                  </a:cubicBezTo>
                  <a:lnTo>
                    <a:pt x="4258" y="1488"/>
                  </a:lnTo>
                  <a:cubicBezTo>
                    <a:pt x="4229" y="1488"/>
                    <a:pt x="4170" y="1458"/>
                    <a:pt x="4170" y="1458"/>
                  </a:cubicBezTo>
                  <a:lnTo>
                    <a:pt x="4142" y="1458"/>
                  </a:lnTo>
                  <a:lnTo>
                    <a:pt x="4142" y="1429"/>
                  </a:lnTo>
                  <a:cubicBezTo>
                    <a:pt x="4142" y="1458"/>
                    <a:pt x="4142" y="1458"/>
                    <a:pt x="4113" y="1488"/>
                  </a:cubicBezTo>
                  <a:cubicBezTo>
                    <a:pt x="4113" y="1517"/>
                    <a:pt x="4113" y="1546"/>
                    <a:pt x="4054" y="1546"/>
                  </a:cubicBezTo>
                  <a:lnTo>
                    <a:pt x="4054" y="1546"/>
                  </a:lnTo>
                  <a:cubicBezTo>
                    <a:pt x="4025" y="1517"/>
                    <a:pt x="4025" y="1517"/>
                    <a:pt x="4025" y="1488"/>
                  </a:cubicBezTo>
                  <a:lnTo>
                    <a:pt x="4025" y="1488"/>
                  </a:lnTo>
                  <a:lnTo>
                    <a:pt x="4025" y="1488"/>
                  </a:lnTo>
                  <a:cubicBezTo>
                    <a:pt x="4025" y="1517"/>
                    <a:pt x="3996" y="1517"/>
                    <a:pt x="3996" y="1517"/>
                  </a:cubicBezTo>
                  <a:cubicBezTo>
                    <a:pt x="3996" y="1546"/>
                    <a:pt x="3996" y="1546"/>
                    <a:pt x="3996" y="1546"/>
                  </a:cubicBezTo>
                  <a:lnTo>
                    <a:pt x="3996" y="1546"/>
                  </a:lnTo>
                  <a:cubicBezTo>
                    <a:pt x="3937" y="1546"/>
                    <a:pt x="3908" y="1517"/>
                    <a:pt x="3908" y="1517"/>
                  </a:cubicBezTo>
                  <a:cubicBezTo>
                    <a:pt x="3879" y="1488"/>
                    <a:pt x="3879" y="1488"/>
                    <a:pt x="3849" y="1488"/>
                  </a:cubicBezTo>
                  <a:cubicBezTo>
                    <a:pt x="3849" y="1488"/>
                    <a:pt x="3849" y="1517"/>
                    <a:pt x="3820" y="1517"/>
                  </a:cubicBezTo>
                  <a:cubicBezTo>
                    <a:pt x="3820" y="1517"/>
                    <a:pt x="3792" y="1546"/>
                    <a:pt x="3763" y="1546"/>
                  </a:cubicBezTo>
                  <a:cubicBezTo>
                    <a:pt x="3704" y="1546"/>
                    <a:pt x="3675" y="1488"/>
                    <a:pt x="3646" y="1429"/>
                  </a:cubicBezTo>
                  <a:cubicBezTo>
                    <a:pt x="3616" y="1371"/>
                    <a:pt x="3616" y="1341"/>
                    <a:pt x="3558" y="1341"/>
                  </a:cubicBezTo>
                  <a:cubicBezTo>
                    <a:pt x="3558" y="1341"/>
                    <a:pt x="3558" y="1341"/>
                    <a:pt x="3558" y="1371"/>
                  </a:cubicBezTo>
                  <a:cubicBezTo>
                    <a:pt x="3558" y="1371"/>
                    <a:pt x="3558" y="1371"/>
                    <a:pt x="3558" y="1400"/>
                  </a:cubicBezTo>
                  <a:lnTo>
                    <a:pt x="3558" y="1400"/>
                  </a:lnTo>
                  <a:cubicBezTo>
                    <a:pt x="3529" y="1400"/>
                    <a:pt x="3529" y="1400"/>
                    <a:pt x="3529" y="1400"/>
                  </a:cubicBezTo>
                  <a:lnTo>
                    <a:pt x="3529" y="1400"/>
                  </a:lnTo>
                  <a:lnTo>
                    <a:pt x="3529" y="1429"/>
                  </a:lnTo>
                  <a:cubicBezTo>
                    <a:pt x="3499" y="1429"/>
                    <a:pt x="3499" y="1429"/>
                    <a:pt x="3499" y="1429"/>
                  </a:cubicBezTo>
                  <a:lnTo>
                    <a:pt x="3499" y="1429"/>
                  </a:lnTo>
                  <a:cubicBezTo>
                    <a:pt x="3470" y="1400"/>
                    <a:pt x="3470" y="1400"/>
                    <a:pt x="3470" y="1400"/>
                  </a:cubicBezTo>
                  <a:cubicBezTo>
                    <a:pt x="3470" y="1371"/>
                    <a:pt x="3442" y="1371"/>
                    <a:pt x="3442" y="1371"/>
                  </a:cubicBezTo>
                  <a:cubicBezTo>
                    <a:pt x="3442" y="1371"/>
                    <a:pt x="3413" y="1341"/>
                    <a:pt x="3383" y="1341"/>
                  </a:cubicBezTo>
                  <a:lnTo>
                    <a:pt x="3354" y="1341"/>
                  </a:lnTo>
                  <a:cubicBezTo>
                    <a:pt x="3325" y="1341"/>
                    <a:pt x="3325" y="1341"/>
                    <a:pt x="3325" y="1341"/>
                  </a:cubicBezTo>
                  <a:cubicBezTo>
                    <a:pt x="3325" y="1312"/>
                    <a:pt x="3325" y="1312"/>
                    <a:pt x="3296" y="1312"/>
                  </a:cubicBezTo>
                  <a:lnTo>
                    <a:pt x="3266" y="1312"/>
                  </a:lnTo>
                  <a:cubicBezTo>
                    <a:pt x="3237" y="1312"/>
                    <a:pt x="3208" y="1312"/>
                    <a:pt x="3179" y="1255"/>
                  </a:cubicBezTo>
                  <a:cubicBezTo>
                    <a:pt x="3179" y="1255"/>
                    <a:pt x="3179" y="1255"/>
                    <a:pt x="3149" y="1225"/>
                  </a:cubicBezTo>
                  <a:lnTo>
                    <a:pt x="3149" y="1225"/>
                  </a:lnTo>
                  <a:cubicBezTo>
                    <a:pt x="3092" y="1138"/>
                    <a:pt x="3033" y="1138"/>
                    <a:pt x="2946" y="1138"/>
                  </a:cubicBezTo>
                  <a:cubicBezTo>
                    <a:pt x="2887" y="1108"/>
                    <a:pt x="2829" y="1108"/>
                    <a:pt x="2771" y="1108"/>
                  </a:cubicBezTo>
                  <a:lnTo>
                    <a:pt x="2771" y="1108"/>
                  </a:lnTo>
                  <a:cubicBezTo>
                    <a:pt x="2771" y="1079"/>
                    <a:pt x="2771" y="1079"/>
                    <a:pt x="2771" y="1079"/>
                  </a:cubicBezTo>
                  <a:cubicBezTo>
                    <a:pt x="2771" y="875"/>
                    <a:pt x="2771" y="671"/>
                    <a:pt x="2799" y="496"/>
                  </a:cubicBezTo>
                  <a:cubicBezTo>
                    <a:pt x="2799" y="350"/>
                    <a:pt x="2799" y="233"/>
                    <a:pt x="2799" y="117"/>
                  </a:cubicBezTo>
                  <a:cubicBezTo>
                    <a:pt x="2596" y="87"/>
                    <a:pt x="2363" y="58"/>
                    <a:pt x="2158" y="58"/>
                  </a:cubicBezTo>
                  <a:cubicBezTo>
                    <a:pt x="1983" y="29"/>
                    <a:pt x="1837" y="29"/>
                    <a:pt x="1663" y="0"/>
                  </a:cubicBezTo>
                  <a:cubicBezTo>
                    <a:pt x="1633" y="117"/>
                    <a:pt x="1633" y="205"/>
                    <a:pt x="1633" y="321"/>
                  </a:cubicBezTo>
                  <a:cubicBezTo>
                    <a:pt x="1633" y="350"/>
                    <a:pt x="1633" y="379"/>
                    <a:pt x="1633" y="408"/>
                  </a:cubicBezTo>
                  <a:cubicBezTo>
                    <a:pt x="1604" y="700"/>
                    <a:pt x="1575" y="1021"/>
                    <a:pt x="1546" y="1312"/>
                  </a:cubicBezTo>
                  <a:cubicBezTo>
                    <a:pt x="1516" y="1633"/>
                    <a:pt x="1487" y="1925"/>
                    <a:pt x="1458" y="2246"/>
                  </a:cubicBezTo>
                  <a:cubicBezTo>
                    <a:pt x="1458" y="2275"/>
                    <a:pt x="1458" y="2275"/>
                    <a:pt x="1458" y="2275"/>
                  </a:cubicBezTo>
                  <a:lnTo>
                    <a:pt x="1458" y="2275"/>
                  </a:lnTo>
                  <a:cubicBezTo>
                    <a:pt x="1196" y="2246"/>
                    <a:pt x="933" y="2217"/>
                    <a:pt x="671" y="2188"/>
                  </a:cubicBezTo>
                  <a:cubicBezTo>
                    <a:pt x="437" y="2158"/>
                    <a:pt x="233" y="2158"/>
                    <a:pt x="0" y="2129"/>
                  </a:cubicBezTo>
                  <a:cubicBezTo>
                    <a:pt x="0" y="2129"/>
                    <a:pt x="0" y="2129"/>
                    <a:pt x="0" y="2158"/>
                  </a:cubicBezTo>
                  <a:lnTo>
                    <a:pt x="0" y="2188"/>
                  </a:lnTo>
                  <a:lnTo>
                    <a:pt x="0" y="2188"/>
                  </a:lnTo>
                  <a:cubicBezTo>
                    <a:pt x="0" y="2217"/>
                    <a:pt x="30" y="2217"/>
                    <a:pt x="30" y="2246"/>
                  </a:cubicBezTo>
                  <a:cubicBezTo>
                    <a:pt x="30" y="2304"/>
                    <a:pt x="87" y="2362"/>
                    <a:pt x="146" y="2391"/>
                  </a:cubicBezTo>
                  <a:cubicBezTo>
                    <a:pt x="175" y="2421"/>
                    <a:pt x="204" y="2450"/>
                    <a:pt x="233" y="2479"/>
                  </a:cubicBezTo>
                  <a:cubicBezTo>
                    <a:pt x="233" y="2479"/>
                    <a:pt x="263" y="2508"/>
                    <a:pt x="263" y="2538"/>
                  </a:cubicBezTo>
                  <a:cubicBezTo>
                    <a:pt x="263" y="2538"/>
                    <a:pt x="292" y="2567"/>
                    <a:pt x="292" y="2596"/>
                  </a:cubicBezTo>
                  <a:cubicBezTo>
                    <a:pt x="321" y="2596"/>
                    <a:pt x="321" y="2625"/>
                    <a:pt x="350" y="2654"/>
                  </a:cubicBezTo>
                  <a:cubicBezTo>
                    <a:pt x="350" y="2654"/>
                    <a:pt x="380" y="2683"/>
                    <a:pt x="408" y="2712"/>
                  </a:cubicBezTo>
                  <a:lnTo>
                    <a:pt x="408" y="2712"/>
                  </a:lnTo>
                  <a:lnTo>
                    <a:pt x="437" y="2712"/>
                  </a:lnTo>
                  <a:lnTo>
                    <a:pt x="437" y="2712"/>
                  </a:lnTo>
                  <a:lnTo>
                    <a:pt x="437" y="2712"/>
                  </a:lnTo>
                  <a:cubicBezTo>
                    <a:pt x="437" y="2771"/>
                    <a:pt x="466" y="2771"/>
                    <a:pt x="525" y="2800"/>
                  </a:cubicBezTo>
                  <a:cubicBezTo>
                    <a:pt x="554" y="2829"/>
                    <a:pt x="583" y="2858"/>
                    <a:pt x="583" y="2888"/>
                  </a:cubicBezTo>
                  <a:cubicBezTo>
                    <a:pt x="613" y="2946"/>
                    <a:pt x="613" y="2975"/>
                    <a:pt x="613" y="3033"/>
                  </a:cubicBezTo>
                  <a:cubicBezTo>
                    <a:pt x="642" y="3062"/>
                    <a:pt x="642" y="3091"/>
                    <a:pt x="642" y="3121"/>
                  </a:cubicBezTo>
                  <a:cubicBezTo>
                    <a:pt x="642" y="3150"/>
                    <a:pt x="671" y="3179"/>
                    <a:pt x="671" y="3208"/>
                  </a:cubicBezTo>
                  <a:cubicBezTo>
                    <a:pt x="671" y="3238"/>
                    <a:pt x="700" y="3296"/>
                    <a:pt x="700" y="3354"/>
                  </a:cubicBezTo>
                  <a:cubicBezTo>
                    <a:pt x="758" y="3412"/>
                    <a:pt x="787" y="3500"/>
                    <a:pt x="875" y="3529"/>
                  </a:cubicBezTo>
                  <a:cubicBezTo>
                    <a:pt x="904" y="3529"/>
                    <a:pt x="904" y="3529"/>
                    <a:pt x="904" y="3529"/>
                  </a:cubicBezTo>
                  <a:cubicBezTo>
                    <a:pt x="933" y="3529"/>
                    <a:pt x="933" y="3529"/>
                    <a:pt x="933" y="3529"/>
                  </a:cubicBezTo>
                  <a:lnTo>
                    <a:pt x="933" y="3558"/>
                  </a:lnTo>
                  <a:cubicBezTo>
                    <a:pt x="963" y="3558"/>
                    <a:pt x="963" y="3588"/>
                    <a:pt x="992" y="3588"/>
                  </a:cubicBezTo>
                  <a:lnTo>
                    <a:pt x="992" y="3588"/>
                  </a:lnTo>
                  <a:cubicBezTo>
                    <a:pt x="1021" y="3588"/>
                    <a:pt x="1021" y="3588"/>
                    <a:pt x="1021" y="3588"/>
                  </a:cubicBezTo>
                  <a:lnTo>
                    <a:pt x="1021" y="3588"/>
                  </a:lnTo>
                  <a:lnTo>
                    <a:pt x="1021" y="3588"/>
                  </a:lnTo>
                  <a:cubicBezTo>
                    <a:pt x="1050" y="3588"/>
                    <a:pt x="1050" y="3588"/>
                    <a:pt x="1050" y="3588"/>
                  </a:cubicBezTo>
                  <a:lnTo>
                    <a:pt x="1050" y="3617"/>
                  </a:lnTo>
                  <a:cubicBezTo>
                    <a:pt x="1050" y="3617"/>
                    <a:pt x="1050" y="3617"/>
                    <a:pt x="1079" y="3617"/>
                  </a:cubicBezTo>
                  <a:cubicBezTo>
                    <a:pt x="1108" y="3617"/>
                    <a:pt x="1137" y="3675"/>
                    <a:pt x="1166" y="3704"/>
                  </a:cubicBezTo>
                  <a:cubicBezTo>
                    <a:pt x="1196" y="3733"/>
                    <a:pt x="1225" y="3762"/>
                    <a:pt x="1254" y="3762"/>
                  </a:cubicBezTo>
                  <a:cubicBezTo>
                    <a:pt x="1283" y="3762"/>
                    <a:pt x="1283" y="3733"/>
                    <a:pt x="1313" y="3704"/>
                  </a:cubicBezTo>
                  <a:lnTo>
                    <a:pt x="1313" y="3704"/>
                  </a:lnTo>
                  <a:cubicBezTo>
                    <a:pt x="1342" y="3617"/>
                    <a:pt x="1400" y="3558"/>
                    <a:pt x="1400" y="3471"/>
                  </a:cubicBezTo>
                  <a:lnTo>
                    <a:pt x="1400" y="3471"/>
                  </a:lnTo>
                  <a:lnTo>
                    <a:pt x="1400" y="3471"/>
                  </a:lnTo>
                  <a:cubicBezTo>
                    <a:pt x="1429" y="3441"/>
                    <a:pt x="1429" y="3441"/>
                    <a:pt x="1429" y="3441"/>
                  </a:cubicBezTo>
                  <a:cubicBezTo>
                    <a:pt x="1458" y="3441"/>
                    <a:pt x="1458" y="3412"/>
                    <a:pt x="1458" y="3412"/>
                  </a:cubicBezTo>
                  <a:cubicBezTo>
                    <a:pt x="1487" y="3412"/>
                    <a:pt x="1487" y="3383"/>
                    <a:pt x="1487" y="3383"/>
                  </a:cubicBezTo>
                  <a:cubicBezTo>
                    <a:pt x="1516" y="3354"/>
                    <a:pt x="1546" y="3325"/>
                    <a:pt x="1575" y="3325"/>
                  </a:cubicBezTo>
                  <a:cubicBezTo>
                    <a:pt x="1604" y="3296"/>
                    <a:pt x="1633" y="3325"/>
                    <a:pt x="1663" y="3354"/>
                  </a:cubicBezTo>
                  <a:lnTo>
                    <a:pt x="1692" y="3354"/>
                  </a:lnTo>
                  <a:lnTo>
                    <a:pt x="1692" y="3354"/>
                  </a:lnTo>
                  <a:lnTo>
                    <a:pt x="1721" y="3354"/>
                  </a:lnTo>
                  <a:lnTo>
                    <a:pt x="1721" y="3354"/>
                  </a:lnTo>
                  <a:cubicBezTo>
                    <a:pt x="1750" y="3354"/>
                    <a:pt x="1750" y="3354"/>
                    <a:pt x="1750" y="3354"/>
                  </a:cubicBezTo>
                  <a:cubicBezTo>
                    <a:pt x="1750" y="3383"/>
                    <a:pt x="1808" y="3383"/>
                    <a:pt x="1837" y="3383"/>
                  </a:cubicBezTo>
                  <a:cubicBezTo>
                    <a:pt x="1866" y="3383"/>
                    <a:pt x="1925" y="3383"/>
                    <a:pt x="1954" y="3412"/>
                  </a:cubicBezTo>
                  <a:cubicBezTo>
                    <a:pt x="1954" y="3412"/>
                    <a:pt x="1954" y="3412"/>
                    <a:pt x="1983" y="3412"/>
                  </a:cubicBezTo>
                  <a:cubicBezTo>
                    <a:pt x="2013" y="3412"/>
                    <a:pt x="2071" y="3441"/>
                    <a:pt x="2100" y="3471"/>
                  </a:cubicBezTo>
                  <a:cubicBezTo>
                    <a:pt x="2158" y="3500"/>
                    <a:pt x="2187" y="3500"/>
                    <a:pt x="2216" y="3529"/>
                  </a:cubicBezTo>
                  <a:lnTo>
                    <a:pt x="2216" y="3529"/>
                  </a:lnTo>
                  <a:lnTo>
                    <a:pt x="2216" y="3529"/>
                  </a:lnTo>
                  <a:cubicBezTo>
                    <a:pt x="2246" y="3588"/>
                    <a:pt x="2275" y="3617"/>
                    <a:pt x="2333" y="3646"/>
                  </a:cubicBezTo>
                  <a:cubicBezTo>
                    <a:pt x="2333" y="3675"/>
                    <a:pt x="2363" y="3704"/>
                    <a:pt x="2392" y="3733"/>
                  </a:cubicBezTo>
                  <a:lnTo>
                    <a:pt x="2392" y="3733"/>
                  </a:lnTo>
                  <a:lnTo>
                    <a:pt x="2392" y="3733"/>
                  </a:lnTo>
                  <a:cubicBezTo>
                    <a:pt x="2392" y="3762"/>
                    <a:pt x="2392" y="3762"/>
                    <a:pt x="2392" y="3762"/>
                  </a:cubicBezTo>
                  <a:lnTo>
                    <a:pt x="2392" y="3762"/>
                  </a:lnTo>
                  <a:cubicBezTo>
                    <a:pt x="2392" y="3762"/>
                    <a:pt x="2392" y="3791"/>
                    <a:pt x="2421" y="3791"/>
                  </a:cubicBezTo>
                  <a:cubicBezTo>
                    <a:pt x="2449" y="3821"/>
                    <a:pt x="2508" y="3850"/>
                    <a:pt x="2479" y="3938"/>
                  </a:cubicBezTo>
                  <a:cubicBezTo>
                    <a:pt x="2508" y="3967"/>
                    <a:pt x="2537" y="3996"/>
                    <a:pt x="2537" y="4054"/>
                  </a:cubicBezTo>
                  <a:cubicBezTo>
                    <a:pt x="2566" y="4083"/>
                    <a:pt x="2596" y="4141"/>
                    <a:pt x="2625" y="4171"/>
                  </a:cubicBezTo>
                  <a:cubicBezTo>
                    <a:pt x="2654" y="4171"/>
                    <a:pt x="2654" y="4171"/>
                    <a:pt x="2654" y="4171"/>
                  </a:cubicBezTo>
                  <a:cubicBezTo>
                    <a:pt x="2654" y="4229"/>
                    <a:pt x="2654" y="4229"/>
                    <a:pt x="2654" y="4229"/>
                  </a:cubicBezTo>
                  <a:cubicBezTo>
                    <a:pt x="2683" y="4258"/>
                    <a:pt x="2683" y="4288"/>
                    <a:pt x="2713" y="4346"/>
                  </a:cubicBezTo>
                  <a:cubicBezTo>
                    <a:pt x="2713" y="4374"/>
                    <a:pt x="2742" y="4404"/>
                    <a:pt x="2771" y="4462"/>
                  </a:cubicBezTo>
                  <a:cubicBezTo>
                    <a:pt x="2771" y="4462"/>
                    <a:pt x="2799" y="4491"/>
                    <a:pt x="2829" y="4491"/>
                  </a:cubicBezTo>
                  <a:cubicBezTo>
                    <a:pt x="2858" y="4521"/>
                    <a:pt x="2887" y="4521"/>
                    <a:pt x="2916" y="4608"/>
                  </a:cubicBezTo>
                  <a:lnTo>
                    <a:pt x="2916" y="4638"/>
                  </a:lnTo>
                  <a:cubicBezTo>
                    <a:pt x="2916" y="4667"/>
                    <a:pt x="2916" y="4667"/>
                    <a:pt x="2916" y="4667"/>
                  </a:cubicBezTo>
                  <a:cubicBezTo>
                    <a:pt x="2916" y="4696"/>
                    <a:pt x="2916" y="4724"/>
                    <a:pt x="2946" y="4754"/>
                  </a:cubicBezTo>
                  <a:cubicBezTo>
                    <a:pt x="2946" y="4783"/>
                    <a:pt x="2975" y="4841"/>
                    <a:pt x="2946" y="4871"/>
                  </a:cubicBezTo>
                  <a:cubicBezTo>
                    <a:pt x="2975" y="4900"/>
                    <a:pt x="2975" y="4900"/>
                    <a:pt x="2975" y="4929"/>
                  </a:cubicBezTo>
                  <a:cubicBezTo>
                    <a:pt x="2975" y="4958"/>
                    <a:pt x="3004" y="4958"/>
                    <a:pt x="3004" y="4988"/>
                  </a:cubicBezTo>
                  <a:cubicBezTo>
                    <a:pt x="3033" y="4988"/>
                    <a:pt x="3033" y="4988"/>
                    <a:pt x="3033" y="4988"/>
                  </a:cubicBezTo>
                  <a:cubicBezTo>
                    <a:pt x="3063" y="5017"/>
                    <a:pt x="3092" y="5046"/>
                    <a:pt x="3121" y="5074"/>
                  </a:cubicBezTo>
                  <a:lnTo>
                    <a:pt x="3121" y="5104"/>
                  </a:lnTo>
                  <a:lnTo>
                    <a:pt x="3121" y="5133"/>
                  </a:lnTo>
                  <a:cubicBezTo>
                    <a:pt x="3121" y="5162"/>
                    <a:pt x="3149" y="5162"/>
                    <a:pt x="3179" y="5191"/>
                  </a:cubicBezTo>
                  <a:cubicBezTo>
                    <a:pt x="3208" y="5191"/>
                    <a:pt x="3208" y="5221"/>
                    <a:pt x="3237" y="5221"/>
                  </a:cubicBezTo>
                  <a:lnTo>
                    <a:pt x="3237" y="5221"/>
                  </a:lnTo>
                  <a:lnTo>
                    <a:pt x="3237" y="5221"/>
                  </a:lnTo>
                  <a:cubicBezTo>
                    <a:pt x="3237" y="5221"/>
                    <a:pt x="3237" y="5250"/>
                    <a:pt x="3266" y="5250"/>
                  </a:cubicBezTo>
                  <a:cubicBezTo>
                    <a:pt x="3266" y="5279"/>
                    <a:pt x="3266" y="5279"/>
                    <a:pt x="3266" y="5279"/>
                  </a:cubicBezTo>
                  <a:cubicBezTo>
                    <a:pt x="3266" y="5279"/>
                    <a:pt x="3266" y="5279"/>
                    <a:pt x="3296" y="5279"/>
                  </a:cubicBezTo>
                  <a:cubicBezTo>
                    <a:pt x="3325" y="5279"/>
                    <a:pt x="3354" y="5308"/>
                    <a:pt x="3383" y="5308"/>
                  </a:cubicBezTo>
                  <a:cubicBezTo>
                    <a:pt x="3413" y="5338"/>
                    <a:pt x="3470" y="5308"/>
                    <a:pt x="3499" y="5308"/>
                  </a:cubicBezTo>
                  <a:cubicBezTo>
                    <a:pt x="3529" y="5308"/>
                    <a:pt x="3558" y="5308"/>
                    <a:pt x="3587" y="5308"/>
                  </a:cubicBezTo>
                  <a:cubicBezTo>
                    <a:pt x="3646" y="5308"/>
                    <a:pt x="3704" y="5308"/>
                    <a:pt x="3733" y="5338"/>
                  </a:cubicBezTo>
                  <a:lnTo>
                    <a:pt x="3733" y="5338"/>
                  </a:lnTo>
                  <a:lnTo>
                    <a:pt x="3733" y="5338"/>
                  </a:lnTo>
                  <a:cubicBezTo>
                    <a:pt x="3763" y="5396"/>
                    <a:pt x="3792" y="5454"/>
                    <a:pt x="3820" y="5454"/>
                  </a:cubicBezTo>
                  <a:cubicBezTo>
                    <a:pt x="3849" y="5454"/>
                    <a:pt x="3849" y="5454"/>
                    <a:pt x="3849" y="5454"/>
                  </a:cubicBezTo>
                  <a:cubicBezTo>
                    <a:pt x="3849" y="5424"/>
                    <a:pt x="3849" y="5396"/>
                    <a:pt x="3849" y="5367"/>
                  </a:cubicBezTo>
                  <a:cubicBezTo>
                    <a:pt x="3849" y="5338"/>
                    <a:pt x="3849" y="5308"/>
                    <a:pt x="3849" y="5279"/>
                  </a:cubicBezTo>
                  <a:lnTo>
                    <a:pt x="3820" y="5250"/>
                  </a:lnTo>
                  <a:cubicBezTo>
                    <a:pt x="3792" y="5221"/>
                    <a:pt x="3763" y="5191"/>
                    <a:pt x="3763" y="5162"/>
                  </a:cubicBezTo>
                  <a:cubicBezTo>
                    <a:pt x="3763" y="5133"/>
                    <a:pt x="3763" y="5133"/>
                    <a:pt x="3763" y="5104"/>
                  </a:cubicBezTo>
                  <a:cubicBezTo>
                    <a:pt x="3763" y="5074"/>
                    <a:pt x="3792" y="5046"/>
                    <a:pt x="3763" y="5017"/>
                  </a:cubicBezTo>
                  <a:cubicBezTo>
                    <a:pt x="3763" y="5017"/>
                    <a:pt x="3763" y="4988"/>
                    <a:pt x="3733" y="4988"/>
                  </a:cubicBezTo>
                  <a:cubicBezTo>
                    <a:pt x="3733" y="4958"/>
                    <a:pt x="3704" y="4929"/>
                    <a:pt x="3704" y="4900"/>
                  </a:cubicBezTo>
                  <a:cubicBezTo>
                    <a:pt x="3704" y="4900"/>
                    <a:pt x="3704" y="4900"/>
                    <a:pt x="3704" y="4871"/>
                  </a:cubicBezTo>
                  <a:cubicBezTo>
                    <a:pt x="3704" y="4871"/>
                    <a:pt x="3704" y="4871"/>
                    <a:pt x="3704" y="4841"/>
                  </a:cubicBezTo>
                  <a:cubicBezTo>
                    <a:pt x="3704" y="4841"/>
                    <a:pt x="3675" y="4841"/>
                    <a:pt x="3675" y="4812"/>
                  </a:cubicBezTo>
                  <a:cubicBezTo>
                    <a:pt x="3646" y="4783"/>
                    <a:pt x="3616" y="4783"/>
                    <a:pt x="3616" y="4724"/>
                  </a:cubicBezTo>
                  <a:cubicBezTo>
                    <a:pt x="3616" y="4724"/>
                    <a:pt x="3616" y="4696"/>
                    <a:pt x="3646" y="4696"/>
                  </a:cubicBezTo>
                  <a:cubicBezTo>
                    <a:pt x="3675" y="4667"/>
                    <a:pt x="3675" y="4667"/>
                    <a:pt x="3675" y="4667"/>
                  </a:cubicBezTo>
                  <a:cubicBezTo>
                    <a:pt x="3675" y="4667"/>
                    <a:pt x="3675" y="4696"/>
                    <a:pt x="3704" y="4696"/>
                  </a:cubicBezTo>
                  <a:lnTo>
                    <a:pt x="3704" y="4667"/>
                  </a:lnTo>
                  <a:cubicBezTo>
                    <a:pt x="3704" y="4638"/>
                    <a:pt x="3704" y="4608"/>
                    <a:pt x="3763" y="4608"/>
                  </a:cubicBezTo>
                  <a:cubicBezTo>
                    <a:pt x="3763" y="4608"/>
                    <a:pt x="3792" y="4608"/>
                    <a:pt x="3792" y="4638"/>
                  </a:cubicBezTo>
                  <a:lnTo>
                    <a:pt x="3792" y="4667"/>
                  </a:lnTo>
                  <a:lnTo>
                    <a:pt x="3792" y="4667"/>
                  </a:lnTo>
                  <a:cubicBezTo>
                    <a:pt x="3820" y="4667"/>
                    <a:pt x="3820" y="4638"/>
                    <a:pt x="3820" y="4638"/>
                  </a:cubicBezTo>
                  <a:cubicBezTo>
                    <a:pt x="3849" y="4579"/>
                    <a:pt x="3849" y="4550"/>
                    <a:pt x="3820" y="4521"/>
                  </a:cubicBezTo>
                  <a:lnTo>
                    <a:pt x="3792" y="4521"/>
                  </a:lnTo>
                  <a:cubicBezTo>
                    <a:pt x="3763" y="4491"/>
                    <a:pt x="3704" y="4491"/>
                    <a:pt x="3704" y="4433"/>
                  </a:cubicBezTo>
                  <a:cubicBezTo>
                    <a:pt x="3704" y="4404"/>
                    <a:pt x="3704" y="4404"/>
                    <a:pt x="3704" y="4404"/>
                  </a:cubicBezTo>
                  <a:cubicBezTo>
                    <a:pt x="3733" y="4433"/>
                    <a:pt x="3733" y="4433"/>
                    <a:pt x="3733" y="4433"/>
                  </a:cubicBezTo>
                  <a:cubicBezTo>
                    <a:pt x="3733" y="4433"/>
                    <a:pt x="3763" y="4433"/>
                    <a:pt x="3792" y="4404"/>
                  </a:cubicBezTo>
                  <a:cubicBezTo>
                    <a:pt x="3820" y="4404"/>
                    <a:pt x="3849" y="4404"/>
                    <a:pt x="3849" y="4404"/>
                  </a:cubicBezTo>
                  <a:cubicBezTo>
                    <a:pt x="3879" y="4404"/>
                    <a:pt x="3908" y="4404"/>
                    <a:pt x="3937" y="4433"/>
                  </a:cubicBezTo>
                  <a:cubicBezTo>
                    <a:pt x="3937" y="4404"/>
                    <a:pt x="3966" y="4374"/>
                    <a:pt x="3966" y="4317"/>
                  </a:cubicBezTo>
                  <a:cubicBezTo>
                    <a:pt x="3966" y="4288"/>
                    <a:pt x="3996" y="4258"/>
                    <a:pt x="3996" y="4258"/>
                  </a:cubicBezTo>
                  <a:cubicBezTo>
                    <a:pt x="3996" y="4229"/>
                    <a:pt x="3996" y="4229"/>
                    <a:pt x="3996" y="4229"/>
                  </a:cubicBezTo>
                  <a:cubicBezTo>
                    <a:pt x="4054" y="4229"/>
                    <a:pt x="4054" y="4229"/>
                    <a:pt x="4054" y="4229"/>
                  </a:cubicBezTo>
                  <a:cubicBezTo>
                    <a:pt x="4054" y="4229"/>
                    <a:pt x="4083" y="4229"/>
                    <a:pt x="4083" y="4200"/>
                  </a:cubicBezTo>
                  <a:cubicBezTo>
                    <a:pt x="4083" y="4171"/>
                    <a:pt x="4083" y="4141"/>
                    <a:pt x="4113" y="4141"/>
                  </a:cubicBezTo>
                  <a:cubicBezTo>
                    <a:pt x="4142" y="4141"/>
                    <a:pt x="4170" y="4171"/>
                    <a:pt x="4199" y="4171"/>
                  </a:cubicBezTo>
                  <a:lnTo>
                    <a:pt x="4199" y="4171"/>
                  </a:lnTo>
                  <a:lnTo>
                    <a:pt x="4199" y="4141"/>
                  </a:lnTo>
                  <a:cubicBezTo>
                    <a:pt x="4170" y="4112"/>
                    <a:pt x="4142" y="4083"/>
                    <a:pt x="4142" y="4025"/>
                  </a:cubicBezTo>
                  <a:cubicBezTo>
                    <a:pt x="4142" y="3996"/>
                    <a:pt x="4142" y="3996"/>
                    <a:pt x="4142" y="3996"/>
                  </a:cubicBezTo>
                  <a:cubicBezTo>
                    <a:pt x="4170" y="3996"/>
                    <a:pt x="4170" y="3996"/>
                    <a:pt x="4170" y="3996"/>
                  </a:cubicBezTo>
                  <a:cubicBezTo>
                    <a:pt x="4199" y="3996"/>
                    <a:pt x="4229" y="3996"/>
                    <a:pt x="4229" y="4025"/>
                  </a:cubicBezTo>
                  <a:lnTo>
                    <a:pt x="4229" y="4025"/>
                  </a:lnTo>
                  <a:cubicBezTo>
                    <a:pt x="4229" y="3996"/>
                    <a:pt x="4229" y="3996"/>
                    <a:pt x="4258" y="3996"/>
                  </a:cubicBezTo>
                  <a:lnTo>
                    <a:pt x="4258" y="3996"/>
                  </a:lnTo>
                  <a:cubicBezTo>
                    <a:pt x="4287" y="3996"/>
                    <a:pt x="4287" y="3996"/>
                    <a:pt x="4316" y="3996"/>
                  </a:cubicBezTo>
                  <a:lnTo>
                    <a:pt x="4316" y="3996"/>
                  </a:lnTo>
                  <a:lnTo>
                    <a:pt x="4346" y="3967"/>
                  </a:lnTo>
                  <a:cubicBezTo>
                    <a:pt x="4375" y="3967"/>
                    <a:pt x="4375" y="3967"/>
                    <a:pt x="4375" y="3996"/>
                  </a:cubicBezTo>
                  <a:lnTo>
                    <a:pt x="4375" y="3996"/>
                  </a:lnTo>
                  <a:lnTo>
                    <a:pt x="4375" y="3996"/>
                  </a:lnTo>
                  <a:cubicBezTo>
                    <a:pt x="4404" y="4025"/>
                    <a:pt x="4404" y="4025"/>
                    <a:pt x="4375" y="4054"/>
                  </a:cubicBezTo>
                  <a:cubicBezTo>
                    <a:pt x="4404" y="4025"/>
                    <a:pt x="4463" y="4025"/>
                    <a:pt x="4491" y="4025"/>
                  </a:cubicBezTo>
                  <a:cubicBezTo>
                    <a:pt x="4520" y="4025"/>
                    <a:pt x="4520" y="4025"/>
                    <a:pt x="4520" y="4025"/>
                  </a:cubicBezTo>
                  <a:cubicBezTo>
                    <a:pt x="4549" y="4025"/>
                    <a:pt x="4549" y="4025"/>
                    <a:pt x="4549" y="4025"/>
                  </a:cubicBezTo>
                  <a:lnTo>
                    <a:pt x="4549" y="4025"/>
                  </a:lnTo>
                  <a:lnTo>
                    <a:pt x="4549" y="4025"/>
                  </a:lnTo>
                  <a:lnTo>
                    <a:pt x="4549" y="4025"/>
                  </a:lnTo>
                  <a:cubicBezTo>
                    <a:pt x="4579" y="3996"/>
                    <a:pt x="4608" y="3967"/>
                    <a:pt x="4637" y="3967"/>
                  </a:cubicBezTo>
                  <a:lnTo>
                    <a:pt x="4666" y="3967"/>
                  </a:lnTo>
                  <a:cubicBezTo>
                    <a:pt x="4696" y="3967"/>
                    <a:pt x="4696" y="3967"/>
                    <a:pt x="4696" y="3967"/>
                  </a:cubicBezTo>
                  <a:cubicBezTo>
                    <a:pt x="4696" y="3967"/>
                    <a:pt x="4696" y="3967"/>
                    <a:pt x="4725" y="3938"/>
                  </a:cubicBezTo>
                  <a:cubicBezTo>
                    <a:pt x="4725" y="3938"/>
                    <a:pt x="4725" y="3938"/>
                    <a:pt x="4754" y="3938"/>
                  </a:cubicBezTo>
                  <a:cubicBezTo>
                    <a:pt x="4754" y="3938"/>
                    <a:pt x="4783" y="3938"/>
                    <a:pt x="4783" y="3908"/>
                  </a:cubicBezTo>
                  <a:cubicBezTo>
                    <a:pt x="4813" y="3908"/>
                    <a:pt x="4841" y="3908"/>
                    <a:pt x="4813" y="3879"/>
                  </a:cubicBezTo>
                  <a:cubicBezTo>
                    <a:pt x="4813" y="3850"/>
                    <a:pt x="4813" y="3850"/>
                    <a:pt x="4813" y="3850"/>
                  </a:cubicBezTo>
                  <a:cubicBezTo>
                    <a:pt x="4841" y="3850"/>
                    <a:pt x="4841" y="3850"/>
                    <a:pt x="4841" y="3850"/>
                  </a:cubicBezTo>
                  <a:cubicBezTo>
                    <a:pt x="4870" y="3850"/>
                    <a:pt x="4899" y="3821"/>
                    <a:pt x="4899" y="3821"/>
                  </a:cubicBezTo>
                  <a:cubicBezTo>
                    <a:pt x="4899" y="3791"/>
                    <a:pt x="4899" y="3791"/>
                    <a:pt x="4899" y="3791"/>
                  </a:cubicBezTo>
                  <a:cubicBezTo>
                    <a:pt x="4899" y="3733"/>
                    <a:pt x="4899" y="3646"/>
                    <a:pt x="4870" y="3617"/>
                  </a:cubicBezTo>
                  <a:cubicBezTo>
                    <a:pt x="4841" y="3617"/>
                    <a:pt x="4841" y="3617"/>
                    <a:pt x="4841" y="3617"/>
                  </a:cubicBezTo>
                  <a:cubicBezTo>
                    <a:pt x="4841" y="3588"/>
                    <a:pt x="4841" y="3588"/>
                    <a:pt x="4841" y="3588"/>
                  </a:cubicBezTo>
                  <a:cubicBezTo>
                    <a:pt x="4870" y="3558"/>
                    <a:pt x="4899" y="3558"/>
                    <a:pt x="4929" y="3529"/>
                  </a:cubicBezTo>
                  <a:cubicBezTo>
                    <a:pt x="4929" y="3529"/>
                    <a:pt x="4929" y="3529"/>
                    <a:pt x="4958" y="3529"/>
                  </a:cubicBezTo>
                  <a:cubicBezTo>
                    <a:pt x="4958" y="3529"/>
                    <a:pt x="4958" y="3529"/>
                    <a:pt x="4987" y="3500"/>
                  </a:cubicBezTo>
                  <a:cubicBezTo>
                    <a:pt x="4987" y="3500"/>
                    <a:pt x="5016" y="3471"/>
                    <a:pt x="5046" y="3471"/>
                  </a:cubicBezTo>
                  <a:cubicBezTo>
                    <a:pt x="5046" y="3471"/>
                    <a:pt x="5046" y="3471"/>
                    <a:pt x="5075" y="3471"/>
                  </a:cubicBezTo>
                  <a:lnTo>
                    <a:pt x="5075" y="3471"/>
                  </a:lnTo>
                  <a:cubicBezTo>
                    <a:pt x="5075" y="3500"/>
                    <a:pt x="5075" y="3500"/>
                    <a:pt x="5075" y="3500"/>
                  </a:cubicBezTo>
                  <a:cubicBezTo>
                    <a:pt x="5104" y="3529"/>
                    <a:pt x="5075" y="3558"/>
                    <a:pt x="5075" y="3588"/>
                  </a:cubicBezTo>
                  <a:cubicBezTo>
                    <a:pt x="5075" y="3617"/>
                    <a:pt x="5075" y="3617"/>
                    <a:pt x="5075" y="3617"/>
                  </a:cubicBezTo>
                  <a:lnTo>
                    <a:pt x="5075" y="3617"/>
                  </a:lnTo>
                  <a:cubicBezTo>
                    <a:pt x="5104" y="3617"/>
                    <a:pt x="5104" y="3617"/>
                    <a:pt x="5133" y="3617"/>
                  </a:cubicBezTo>
                  <a:cubicBezTo>
                    <a:pt x="5133" y="3646"/>
                    <a:pt x="5133" y="3646"/>
                    <a:pt x="5133" y="3646"/>
                  </a:cubicBezTo>
                  <a:cubicBezTo>
                    <a:pt x="5133" y="3646"/>
                    <a:pt x="5133" y="3646"/>
                    <a:pt x="5133" y="3675"/>
                  </a:cubicBezTo>
                  <a:lnTo>
                    <a:pt x="5133" y="3646"/>
                  </a:lnTo>
                  <a:cubicBezTo>
                    <a:pt x="5163" y="3646"/>
                    <a:pt x="5163" y="3646"/>
                    <a:pt x="5191" y="3617"/>
                  </a:cubicBezTo>
                  <a:cubicBezTo>
                    <a:pt x="5220" y="3588"/>
                    <a:pt x="5249" y="3558"/>
                    <a:pt x="5279" y="3558"/>
                  </a:cubicBezTo>
                  <a:cubicBezTo>
                    <a:pt x="5308" y="3558"/>
                    <a:pt x="5308" y="3558"/>
                    <a:pt x="5337" y="3558"/>
                  </a:cubicBezTo>
                  <a:cubicBezTo>
                    <a:pt x="5365" y="3558"/>
                    <a:pt x="5395" y="3588"/>
                    <a:pt x="5395" y="3558"/>
                  </a:cubicBezTo>
                  <a:cubicBezTo>
                    <a:pt x="5395" y="3529"/>
                    <a:pt x="5424" y="3471"/>
                    <a:pt x="5424" y="3471"/>
                  </a:cubicBezTo>
                  <a:cubicBezTo>
                    <a:pt x="5453" y="3412"/>
                    <a:pt x="5453" y="3412"/>
                    <a:pt x="5453" y="3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5" name="Freeform 333">
              <a:extLst>
                <a:ext uri="{FF2B5EF4-FFF2-40B4-BE49-F238E27FC236}">
                  <a16:creationId xmlns:a16="http://schemas.microsoft.com/office/drawing/2014/main" id="{4F4E8861-276F-4C48-AABF-EF6DA95029C9}"/>
                </a:ext>
              </a:extLst>
            </p:cNvPr>
            <p:cNvSpPr>
              <a:spLocks noChangeArrowheads="1"/>
            </p:cNvSpPr>
            <p:nvPr/>
          </p:nvSpPr>
          <p:spPr bwMode="auto">
            <a:xfrm>
              <a:off x="3834183" y="2953494"/>
              <a:ext cx="1631"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6" name="Freeform 334">
              <a:extLst>
                <a:ext uri="{FF2B5EF4-FFF2-40B4-BE49-F238E27FC236}">
                  <a16:creationId xmlns:a16="http://schemas.microsoft.com/office/drawing/2014/main" id="{22B153A4-3CC9-47CB-9B8D-F987E3BDC5BA}"/>
                </a:ext>
              </a:extLst>
            </p:cNvPr>
            <p:cNvSpPr>
              <a:spLocks noChangeArrowheads="1"/>
            </p:cNvSpPr>
            <p:nvPr/>
          </p:nvSpPr>
          <p:spPr bwMode="auto">
            <a:xfrm>
              <a:off x="3845599" y="2976151"/>
              <a:ext cx="11415" cy="22656"/>
            </a:xfrm>
            <a:custGeom>
              <a:avLst/>
              <a:gdLst>
                <a:gd name="T0" fmla="*/ 0 w 30"/>
                <a:gd name="T1" fmla="*/ 0 h 60"/>
                <a:gd name="T2" fmla="*/ 0 w 30"/>
                <a:gd name="T3" fmla="*/ 0 h 60"/>
                <a:gd name="T4" fmla="*/ 0 w 30"/>
                <a:gd name="T5" fmla="*/ 30 h 60"/>
                <a:gd name="T6" fmla="*/ 29 w 30"/>
                <a:gd name="T7" fmla="*/ 59 h 60"/>
                <a:gd name="T8" fmla="*/ 0 w 30"/>
                <a:gd name="T9" fmla="*/ 30 h 60"/>
                <a:gd name="T10" fmla="*/ 0 w 30"/>
                <a:gd name="T11" fmla="*/ 0 h 60"/>
              </a:gdLst>
              <a:ahLst/>
              <a:cxnLst>
                <a:cxn ang="0">
                  <a:pos x="T0" y="T1"/>
                </a:cxn>
                <a:cxn ang="0">
                  <a:pos x="T2" y="T3"/>
                </a:cxn>
                <a:cxn ang="0">
                  <a:pos x="T4" y="T5"/>
                </a:cxn>
                <a:cxn ang="0">
                  <a:pos x="T6" y="T7"/>
                </a:cxn>
                <a:cxn ang="0">
                  <a:pos x="T8" y="T9"/>
                </a:cxn>
                <a:cxn ang="0">
                  <a:pos x="T10" y="T11"/>
                </a:cxn>
              </a:cxnLst>
              <a:rect l="0" t="0" r="r" b="b"/>
              <a:pathLst>
                <a:path w="30" h="60">
                  <a:moveTo>
                    <a:pt x="0" y="0"/>
                  </a:moveTo>
                  <a:lnTo>
                    <a:pt x="0" y="0"/>
                  </a:lnTo>
                  <a:lnTo>
                    <a:pt x="0" y="30"/>
                  </a:lnTo>
                  <a:cubicBezTo>
                    <a:pt x="0" y="30"/>
                    <a:pt x="29" y="30"/>
                    <a:pt x="29" y="59"/>
                  </a:cubicBezTo>
                  <a:cubicBezTo>
                    <a:pt x="29" y="30"/>
                    <a:pt x="0" y="30"/>
                    <a:pt x="0" y="3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7" name="Freeform 335">
              <a:extLst>
                <a:ext uri="{FF2B5EF4-FFF2-40B4-BE49-F238E27FC236}">
                  <a16:creationId xmlns:a16="http://schemas.microsoft.com/office/drawing/2014/main" id="{F93350F4-E72D-4B9C-BD82-F83AFF54A426}"/>
                </a:ext>
              </a:extLst>
            </p:cNvPr>
            <p:cNvSpPr>
              <a:spLocks noChangeArrowheads="1"/>
            </p:cNvSpPr>
            <p:nvPr/>
          </p:nvSpPr>
          <p:spPr bwMode="auto">
            <a:xfrm>
              <a:off x="3878216" y="2869341"/>
              <a:ext cx="75019" cy="21038"/>
            </a:xfrm>
            <a:custGeom>
              <a:avLst/>
              <a:gdLst>
                <a:gd name="T0" fmla="*/ 0 w 204"/>
                <a:gd name="T1" fmla="*/ 0 h 59"/>
                <a:gd name="T2" fmla="*/ 0 w 204"/>
                <a:gd name="T3" fmla="*/ 0 h 59"/>
                <a:gd name="T4" fmla="*/ 29 w 204"/>
                <a:gd name="T5" fmla="*/ 0 h 59"/>
                <a:gd name="T6" fmla="*/ 116 w 204"/>
                <a:gd name="T7" fmla="*/ 58 h 59"/>
                <a:gd name="T8" fmla="*/ 145 w 204"/>
                <a:gd name="T9" fmla="*/ 58 h 59"/>
                <a:gd name="T10" fmla="*/ 203 w 204"/>
                <a:gd name="T11" fmla="*/ 29 h 59"/>
                <a:gd name="T12" fmla="*/ 145 w 204"/>
                <a:gd name="T13" fmla="*/ 58 h 59"/>
                <a:gd name="T14" fmla="*/ 116 w 204"/>
                <a:gd name="T15" fmla="*/ 58 h 59"/>
                <a:gd name="T16" fmla="*/ 29 w 204"/>
                <a:gd name="T17" fmla="*/ 0 h 59"/>
                <a:gd name="T18" fmla="*/ 0 w 204"/>
                <a:gd name="T19" fmla="*/ 0 h 59"/>
                <a:gd name="T20" fmla="*/ 29 w 204"/>
                <a:gd name="T21" fmla="*/ 0 h 59"/>
                <a:gd name="T22" fmla="*/ 0 w 204"/>
                <a:gd name="T2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59">
                  <a:moveTo>
                    <a:pt x="0" y="0"/>
                  </a:moveTo>
                  <a:lnTo>
                    <a:pt x="0" y="0"/>
                  </a:lnTo>
                  <a:cubicBezTo>
                    <a:pt x="29" y="0"/>
                    <a:pt x="29" y="0"/>
                    <a:pt x="29" y="0"/>
                  </a:cubicBezTo>
                  <a:cubicBezTo>
                    <a:pt x="57" y="29"/>
                    <a:pt x="86" y="29"/>
                    <a:pt x="116" y="58"/>
                  </a:cubicBezTo>
                  <a:cubicBezTo>
                    <a:pt x="116" y="58"/>
                    <a:pt x="116" y="58"/>
                    <a:pt x="145" y="58"/>
                  </a:cubicBezTo>
                  <a:cubicBezTo>
                    <a:pt x="174" y="58"/>
                    <a:pt x="174" y="58"/>
                    <a:pt x="203" y="29"/>
                  </a:cubicBezTo>
                  <a:cubicBezTo>
                    <a:pt x="174" y="58"/>
                    <a:pt x="174" y="58"/>
                    <a:pt x="145" y="58"/>
                  </a:cubicBezTo>
                  <a:cubicBezTo>
                    <a:pt x="116" y="58"/>
                    <a:pt x="116" y="58"/>
                    <a:pt x="116" y="58"/>
                  </a:cubicBezTo>
                  <a:cubicBezTo>
                    <a:pt x="86" y="29"/>
                    <a:pt x="57" y="29"/>
                    <a:pt x="29" y="0"/>
                  </a:cubicBezTo>
                  <a:cubicBezTo>
                    <a:pt x="29" y="0"/>
                    <a:pt x="29" y="0"/>
                    <a:pt x="0" y="0"/>
                  </a:cubicBez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8" name="Freeform 336">
              <a:extLst>
                <a:ext uri="{FF2B5EF4-FFF2-40B4-BE49-F238E27FC236}">
                  <a16:creationId xmlns:a16="http://schemas.microsoft.com/office/drawing/2014/main" id="{E839CA6A-C84B-4FD3-A1B7-FED966CEDC5B}"/>
                </a:ext>
              </a:extLst>
            </p:cNvPr>
            <p:cNvSpPr>
              <a:spLocks noChangeArrowheads="1"/>
            </p:cNvSpPr>
            <p:nvPr/>
          </p:nvSpPr>
          <p:spPr bwMode="auto">
            <a:xfrm>
              <a:off x="3822768" y="2858013"/>
              <a:ext cx="22832" cy="11329"/>
            </a:xfrm>
            <a:custGeom>
              <a:avLst/>
              <a:gdLst>
                <a:gd name="T0" fmla="*/ 30 w 60"/>
                <a:gd name="T1" fmla="*/ 0 h 30"/>
                <a:gd name="T2" fmla="*/ 30 w 60"/>
                <a:gd name="T3" fmla="*/ 0 h 30"/>
                <a:gd name="T4" fmla="*/ 0 w 60"/>
                <a:gd name="T5" fmla="*/ 29 h 30"/>
                <a:gd name="T6" fmla="*/ 30 w 60"/>
                <a:gd name="T7" fmla="*/ 0 h 30"/>
                <a:gd name="T8" fmla="*/ 59 w 60"/>
                <a:gd name="T9" fmla="*/ 0 h 30"/>
                <a:gd name="T10" fmla="*/ 30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30" y="0"/>
                  </a:moveTo>
                  <a:lnTo>
                    <a:pt x="30" y="0"/>
                  </a:lnTo>
                  <a:cubicBezTo>
                    <a:pt x="30" y="0"/>
                    <a:pt x="30" y="0"/>
                    <a:pt x="0" y="29"/>
                  </a:cubicBezTo>
                  <a:cubicBezTo>
                    <a:pt x="30" y="0"/>
                    <a:pt x="30" y="0"/>
                    <a:pt x="30" y="0"/>
                  </a:cubicBezTo>
                  <a:cubicBezTo>
                    <a:pt x="30" y="0"/>
                    <a:pt x="30" y="0"/>
                    <a:pt x="59" y="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59" name="Freeform 337">
              <a:extLst>
                <a:ext uri="{FF2B5EF4-FFF2-40B4-BE49-F238E27FC236}">
                  <a16:creationId xmlns:a16="http://schemas.microsoft.com/office/drawing/2014/main" id="{CE13E42F-AC2E-4889-8E2E-9525569CCA53}"/>
                </a:ext>
              </a:extLst>
            </p:cNvPr>
            <p:cNvSpPr>
              <a:spLocks noChangeArrowheads="1"/>
            </p:cNvSpPr>
            <p:nvPr/>
          </p:nvSpPr>
          <p:spPr bwMode="auto">
            <a:xfrm>
              <a:off x="3747749" y="2772242"/>
              <a:ext cx="11415" cy="43694"/>
            </a:xfrm>
            <a:custGeom>
              <a:avLst/>
              <a:gdLst>
                <a:gd name="T0" fmla="*/ 29 w 30"/>
                <a:gd name="T1" fmla="*/ 58 h 117"/>
                <a:gd name="T2" fmla="*/ 29 w 30"/>
                <a:gd name="T3" fmla="*/ 58 h 117"/>
                <a:gd name="T4" fmla="*/ 0 w 30"/>
                <a:gd name="T5" fmla="*/ 0 h 117"/>
                <a:gd name="T6" fmla="*/ 0 w 30"/>
                <a:gd name="T7" fmla="*/ 0 h 117"/>
                <a:gd name="T8" fmla="*/ 0 w 30"/>
                <a:gd name="T9" fmla="*/ 0 h 117"/>
                <a:gd name="T10" fmla="*/ 29 w 30"/>
                <a:gd name="T11" fmla="*/ 58 h 117"/>
                <a:gd name="T12" fmla="*/ 29 w 30"/>
                <a:gd name="T13" fmla="*/ 116 h 117"/>
                <a:gd name="T14" fmla="*/ 29 w 30"/>
                <a:gd name="T15" fmla="*/ 116 h 117"/>
                <a:gd name="T16" fmla="*/ 29 w 30"/>
                <a:gd name="T17" fmla="*/ 5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7">
                  <a:moveTo>
                    <a:pt x="29" y="58"/>
                  </a:moveTo>
                  <a:lnTo>
                    <a:pt x="29" y="58"/>
                  </a:lnTo>
                  <a:cubicBezTo>
                    <a:pt x="29" y="29"/>
                    <a:pt x="0" y="29"/>
                    <a:pt x="0" y="0"/>
                  </a:cubicBezTo>
                  <a:lnTo>
                    <a:pt x="0" y="0"/>
                  </a:lnTo>
                  <a:lnTo>
                    <a:pt x="0" y="0"/>
                  </a:lnTo>
                  <a:cubicBezTo>
                    <a:pt x="0" y="29"/>
                    <a:pt x="29" y="29"/>
                    <a:pt x="29" y="58"/>
                  </a:cubicBezTo>
                  <a:cubicBezTo>
                    <a:pt x="29" y="86"/>
                    <a:pt x="29" y="86"/>
                    <a:pt x="29" y="116"/>
                  </a:cubicBezTo>
                  <a:lnTo>
                    <a:pt x="29" y="116"/>
                  </a:lnTo>
                  <a:cubicBezTo>
                    <a:pt x="29" y="86"/>
                    <a:pt x="29" y="86"/>
                    <a:pt x="2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0" name="Freeform 338">
              <a:extLst>
                <a:ext uri="{FF2B5EF4-FFF2-40B4-BE49-F238E27FC236}">
                  <a16:creationId xmlns:a16="http://schemas.microsoft.com/office/drawing/2014/main" id="{6A650DB2-591C-4E01-A05F-8E56BA009230}"/>
                </a:ext>
              </a:extLst>
            </p:cNvPr>
            <p:cNvSpPr>
              <a:spLocks noChangeArrowheads="1"/>
            </p:cNvSpPr>
            <p:nvPr/>
          </p:nvSpPr>
          <p:spPr bwMode="auto">
            <a:xfrm>
              <a:off x="3693930" y="261202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1" name="Freeform 339">
              <a:extLst>
                <a:ext uri="{FF2B5EF4-FFF2-40B4-BE49-F238E27FC236}">
                  <a16:creationId xmlns:a16="http://schemas.microsoft.com/office/drawing/2014/main" id="{7428B5CF-D6E9-41F5-92D9-814BEFEC5DB7}"/>
                </a:ext>
              </a:extLst>
            </p:cNvPr>
            <p:cNvSpPr>
              <a:spLocks noChangeArrowheads="1"/>
            </p:cNvSpPr>
            <p:nvPr/>
          </p:nvSpPr>
          <p:spPr bwMode="auto">
            <a:xfrm>
              <a:off x="3791781" y="1382105"/>
              <a:ext cx="1262274" cy="983939"/>
            </a:xfrm>
            <a:custGeom>
              <a:avLst/>
              <a:gdLst>
                <a:gd name="T0" fmla="*/ 175 w 3413"/>
                <a:gd name="T1" fmla="*/ 1487 h 2683"/>
                <a:gd name="T2" fmla="*/ 29 w 3413"/>
                <a:gd name="T3" fmla="*/ 1516 h 2683"/>
                <a:gd name="T4" fmla="*/ 87 w 3413"/>
                <a:gd name="T5" fmla="*/ 1633 h 2683"/>
                <a:gd name="T6" fmla="*/ 87 w 3413"/>
                <a:gd name="T7" fmla="*/ 1750 h 2683"/>
                <a:gd name="T8" fmla="*/ 87 w 3413"/>
                <a:gd name="T9" fmla="*/ 1779 h 2683"/>
                <a:gd name="T10" fmla="*/ 87 w 3413"/>
                <a:gd name="T11" fmla="*/ 1925 h 2683"/>
                <a:gd name="T12" fmla="*/ 2917 w 3413"/>
                <a:gd name="T13" fmla="*/ 2245 h 2683"/>
                <a:gd name="T14" fmla="*/ 3120 w 3413"/>
                <a:gd name="T15" fmla="*/ 1545 h 2683"/>
                <a:gd name="T16" fmla="*/ 3237 w 3413"/>
                <a:gd name="T17" fmla="*/ 1195 h 2683"/>
                <a:gd name="T18" fmla="*/ 3237 w 3413"/>
                <a:gd name="T19" fmla="*/ 1195 h 2683"/>
                <a:gd name="T20" fmla="*/ 3325 w 3413"/>
                <a:gd name="T21" fmla="*/ 1108 h 2683"/>
                <a:gd name="T22" fmla="*/ 3354 w 3413"/>
                <a:gd name="T23" fmla="*/ 1108 h 2683"/>
                <a:gd name="T24" fmla="*/ 3325 w 3413"/>
                <a:gd name="T25" fmla="*/ 992 h 2683"/>
                <a:gd name="T26" fmla="*/ 3325 w 3413"/>
                <a:gd name="T27" fmla="*/ 962 h 2683"/>
                <a:gd name="T28" fmla="*/ 3296 w 3413"/>
                <a:gd name="T29" fmla="*/ 875 h 2683"/>
                <a:gd name="T30" fmla="*/ 2946 w 3413"/>
                <a:gd name="T31" fmla="*/ 700 h 2683"/>
                <a:gd name="T32" fmla="*/ 2537 w 3413"/>
                <a:gd name="T33" fmla="*/ 612 h 2683"/>
                <a:gd name="T34" fmla="*/ 2420 w 3413"/>
                <a:gd name="T35" fmla="*/ 642 h 2683"/>
                <a:gd name="T36" fmla="*/ 2362 w 3413"/>
                <a:gd name="T37" fmla="*/ 612 h 2683"/>
                <a:gd name="T38" fmla="*/ 2304 w 3413"/>
                <a:gd name="T39" fmla="*/ 642 h 2683"/>
                <a:gd name="T40" fmla="*/ 2012 w 3413"/>
                <a:gd name="T41" fmla="*/ 612 h 2683"/>
                <a:gd name="T42" fmla="*/ 1896 w 3413"/>
                <a:gd name="T43" fmla="*/ 583 h 2683"/>
                <a:gd name="T44" fmla="*/ 1837 w 3413"/>
                <a:gd name="T45" fmla="*/ 583 h 2683"/>
                <a:gd name="T46" fmla="*/ 1691 w 3413"/>
                <a:gd name="T47" fmla="*/ 525 h 2683"/>
                <a:gd name="T48" fmla="*/ 1634 w 3413"/>
                <a:gd name="T49" fmla="*/ 495 h 2683"/>
                <a:gd name="T50" fmla="*/ 1400 w 3413"/>
                <a:gd name="T51" fmla="*/ 466 h 2683"/>
                <a:gd name="T52" fmla="*/ 1254 w 3413"/>
                <a:gd name="T53" fmla="*/ 292 h 2683"/>
                <a:gd name="T54" fmla="*/ 1254 w 3413"/>
                <a:gd name="T55" fmla="*/ 262 h 2683"/>
                <a:gd name="T56" fmla="*/ 1050 w 3413"/>
                <a:gd name="T57" fmla="*/ 87 h 2683"/>
                <a:gd name="T58" fmla="*/ 904 w 3413"/>
                <a:gd name="T59" fmla="*/ 59 h 2683"/>
                <a:gd name="T60" fmla="*/ 787 w 3413"/>
                <a:gd name="T61" fmla="*/ 321 h 2683"/>
                <a:gd name="T62" fmla="*/ 729 w 3413"/>
                <a:gd name="T63" fmla="*/ 408 h 2683"/>
                <a:gd name="T64" fmla="*/ 729 w 3413"/>
                <a:gd name="T65" fmla="*/ 437 h 2683"/>
                <a:gd name="T66" fmla="*/ 641 w 3413"/>
                <a:gd name="T67" fmla="*/ 583 h 2683"/>
                <a:gd name="T68" fmla="*/ 613 w 3413"/>
                <a:gd name="T69" fmla="*/ 700 h 2683"/>
                <a:gd name="T70" fmla="*/ 525 w 3413"/>
                <a:gd name="T71" fmla="*/ 933 h 2683"/>
                <a:gd name="T72" fmla="*/ 496 w 3413"/>
                <a:gd name="T73" fmla="*/ 1021 h 2683"/>
                <a:gd name="T74" fmla="*/ 350 w 3413"/>
                <a:gd name="T75" fmla="*/ 1166 h 2683"/>
                <a:gd name="T76" fmla="*/ 350 w 3413"/>
                <a:gd name="T77" fmla="*/ 1195 h 2683"/>
                <a:gd name="T78" fmla="*/ 320 w 3413"/>
                <a:gd name="T79" fmla="*/ 1195 h 2683"/>
                <a:gd name="T80" fmla="*/ 291 w 3413"/>
                <a:gd name="T81" fmla="*/ 1283 h 2683"/>
                <a:gd name="T82" fmla="*/ 234 w 3413"/>
                <a:gd name="T83" fmla="*/ 1312 h 2683"/>
                <a:gd name="T84" fmla="*/ 234 w 3413"/>
                <a:gd name="T85" fmla="*/ 1429 h 2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13" h="2683">
                  <a:moveTo>
                    <a:pt x="175" y="1487"/>
                  </a:moveTo>
                  <a:lnTo>
                    <a:pt x="175" y="1487"/>
                  </a:lnTo>
                  <a:cubicBezTo>
                    <a:pt x="146" y="1516"/>
                    <a:pt x="117" y="1516"/>
                    <a:pt x="87" y="1516"/>
                  </a:cubicBezTo>
                  <a:cubicBezTo>
                    <a:pt x="58" y="1487"/>
                    <a:pt x="29" y="1487"/>
                    <a:pt x="29" y="1516"/>
                  </a:cubicBezTo>
                  <a:cubicBezTo>
                    <a:pt x="0" y="1545"/>
                    <a:pt x="29" y="1545"/>
                    <a:pt x="58" y="1575"/>
                  </a:cubicBezTo>
                  <a:cubicBezTo>
                    <a:pt x="58" y="1575"/>
                    <a:pt x="87" y="1604"/>
                    <a:pt x="87" y="1633"/>
                  </a:cubicBezTo>
                  <a:cubicBezTo>
                    <a:pt x="117" y="1662"/>
                    <a:pt x="87" y="1692"/>
                    <a:pt x="87" y="1692"/>
                  </a:cubicBezTo>
                  <a:cubicBezTo>
                    <a:pt x="87" y="1721"/>
                    <a:pt x="87" y="1750"/>
                    <a:pt x="87" y="1750"/>
                  </a:cubicBezTo>
                  <a:cubicBezTo>
                    <a:pt x="87" y="1779"/>
                    <a:pt x="87" y="1779"/>
                    <a:pt x="87" y="1779"/>
                  </a:cubicBezTo>
                  <a:lnTo>
                    <a:pt x="87" y="1779"/>
                  </a:lnTo>
                  <a:cubicBezTo>
                    <a:pt x="58" y="1808"/>
                    <a:pt x="58" y="1837"/>
                    <a:pt x="58" y="1895"/>
                  </a:cubicBezTo>
                  <a:cubicBezTo>
                    <a:pt x="58" y="1895"/>
                    <a:pt x="87" y="1895"/>
                    <a:pt x="87" y="1925"/>
                  </a:cubicBezTo>
                  <a:cubicBezTo>
                    <a:pt x="1079" y="2245"/>
                    <a:pt x="1954" y="2479"/>
                    <a:pt x="2770" y="2682"/>
                  </a:cubicBezTo>
                  <a:cubicBezTo>
                    <a:pt x="2829" y="2536"/>
                    <a:pt x="2858" y="2392"/>
                    <a:pt x="2917" y="2245"/>
                  </a:cubicBezTo>
                  <a:cubicBezTo>
                    <a:pt x="2946" y="2100"/>
                    <a:pt x="2975" y="1925"/>
                    <a:pt x="3033" y="1779"/>
                  </a:cubicBezTo>
                  <a:cubicBezTo>
                    <a:pt x="3004" y="1692"/>
                    <a:pt x="3062" y="1604"/>
                    <a:pt x="3120" y="1545"/>
                  </a:cubicBezTo>
                  <a:cubicBezTo>
                    <a:pt x="3120" y="1458"/>
                    <a:pt x="3150" y="1400"/>
                    <a:pt x="3179" y="1342"/>
                  </a:cubicBezTo>
                  <a:cubicBezTo>
                    <a:pt x="3208" y="1312"/>
                    <a:pt x="3208" y="1254"/>
                    <a:pt x="3237" y="1195"/>
                  </a:cubicBezTo>
                  <a:lnTo>
                    <a:pt x="3237" y="1195"/>
                  </a:lnTo>
                  <a:lnTo>
                    <a:pt x="3237" y="1195"/>
                  </a:lnTo>
                  <a:lnTo>
                    <a:pt x="3267" y="1166"/>
                  </a:lnTo>
                  <a:cubicBezTo>
                    <a:pt x="3296" y="1166"/>
                    <a:pt x="3325" y="1137"/>
                    <a:pt x="3325" y="1108"/>
                  </a:cubicBezTo>
                  <a:cubicBezTo>
                    <a:pt x="3354" y="1108"/>
                    <a:pt x="3354" y="1108"/>
                    <a:pt x="3354" y="1108"/>
                  </a:cubicBezTo>
                  <a:lnTo>
                    <a:pt x="3354" y="1108"/>
                  </a:lnTo>
                  <a:cubicBezTo>
                    <a:pt x="3383" y="1108"/>
                    <a:pt x="3383" y="1108"/>
                    <a:pt x="3383" y="1079"/>
                  </a:cubicBezTo>
                  <a:cubicBezTo>
                    <a:pt x="3412" y="1050"/>
                    <a:pt x="3354" y="992"/>
                    <a:pt x="3325" y="992"/>
                  </a:cubicBezTo>
                  <a:cubicBezTo>
                    <a:pt x="3325" y="962"/>
                    <a:pt x="3325" y="962"/>
                    <a:pt x="3325" y="962"/>
                  </a:cubicBezTo>
                  <a:lnTo>
                    <a:pt x="3325" y="962"/>
                  </a:lnTo>
                  <a:lnTo>
                    <a:pt x="3325" y="962"/>
                  </a:lnTo>
                  <a:cubicBezTo>
                    <a:pt x="3325" y="933"/>
                    <a:pt x="3296" y="904"/>
                    <a:pt x="3296" y="875"/>
                  </a:cubicBezTo>
                  <a:cubicBezTo>
                    <a:pt x="3267" y="845"/>
                    <a:pt x="3267" y="816"/>
                    <a:pt x="3237" y="787"/>
                  </a:cubicBezTo>
                  <a:cubicBezTo>
                    <a:pt x="3150" y="758"/>
                    <a:pt x="3062" y="729"/>
                    <a:pt x="2946" y="700"/>
                  </a:cubicBezTo>
                  <a:cubicBezTo>
                    <a:pt x="2829" y="671"/>
                    <a:pt x="2712" y="642"/>
                    <a:pt x="2567" y="612"/>
                  </a:cubicBezTo>
                  <a:cubicBezTo>
                    <a:pt x="2567" y="612"/>
                    <a:pt x="2567" y="612"/>
                    <a:pt x="2537" y="612"/>
                  </a:cubicBezTo>
                  <a:cubicBezTo>
                    <a:pt x="2537" y="612"/>
                    <a:pt x="2508" y="612"/>
                    <a:pt x="2479" y="612"/>
                  </a:cubicBezTo>
                  <a:cubicBezTo>
                    <a:pt x="2479" y="612"/>
                    <a:pt x="2450" y="642"/>
                    <a:pt x="2420" y="642"/>
                  </a:cubicBezTo>
                  <a:cubicBezTo>
                    <a:pt x="2420" y="642"/>
                    <a:pt x="2391" y="642"/>
                    <a:pt x="2391" y="612"/>
                  </a:cubicBezTo>
                  <a:cubicBezTo>
                    <a:pt x="2362" y="612"/>
                    <a:pt x="2362" y="612"/>
                    <a:pt x="2362" y="612"/>
                  </a:cubicBezTo>
                  <a:lnTo>
                    <a:pt x="2333" y="612"/>
                  </a:lnTo>
                  <a:cubicBezTo>
                    <a:pt x="2333" y="642"/>
                    <a:pt x="2333" y="642"/>
                    <a:pt x="2304" y="642"/>
                  </a:cubicBezTo>
                  <a:cubicBezTo>
                    <a:pt x="2246" y="642"/>
                    <a:pt x="2187" y="642"/>
                    <a:pt x="2100" y="642"/>
                  </a:cubicBezTo>
                  <a:cubicBezTo>
                    <a:pt x="2070" y="642"/>
                    <a:pt x="2041" y="612"/>
                    <a:pt x="2012" y="612"/>
                  </a:cubicBezTo>
                  <a:cubicBezTo>
                    <a:pt x="1983" y="612"/>
                    <a:pt x="1983" y="583"/>
                    <a:pt x="1983" y="583"/>
                  </a:cubicBezTo>
                  <a:cubicBezTo>
                    <a:pt x="1954" y="583"/>
                    <a:pt x="1925" y="583"/>
                    <a:pt x="1896" y="583"/>
                  </a:cubicBezTo>
                  <a:lnTo>
                    <a:pt x="1867" y="583"/>
                  </a:lnTo>
                  <a:cubicBezTo>
                    <a:pt x="1837" y="583"/>
                    <a:pt x="1837" y="583"/>
                    <a:pt x="1837" y="583"/>
                  </a:cubicBezTo>
                  <a:cubicBezTo>
                    <a:pt x="1808" y="583"/>
                    <a:pt x="1779" y="583"/>
                    <a:pt x="1750" y="583"/>
                  </a:cubicBezTo>
                  <a:cubicBezTo>
                    <a:pt x="1720" y="554"/>
                    <a:pt x="1720" y="554"/>
                    <a:pt x="1691" y="525"/>
                  </a:cubicBezTo>
                  <a:cubicBezTo>
                    <a:pt x="1691" y="495"/>
                    <a:pt x="1691" y="495"/>
                    <a:pt x="1691" y="495"/>
                  </a:cubicBezTo>
                  <a:cubicBezTo>
                    <a:pt x="1662" y="495"/>
                    <a:pt x="1634" y="495"/>
                    <a:pt x="1634" y="495"/>
                  </a:cubicBezTo>
                  <a:cubicBezTo>
                    <a:pt x="1604" y="495"/>
                    <a:pt x="1575" y="495"/>
                    <a:pt x="1575" y="495"/>
                  </a:cubicBezTo>
                  <a:cubicBezTo>
                    <a:pt x="1517" y="495"/>
                    <a:pt x="1429" y="495"/>
                    <a:pt x="1400" y="466"/>
                  </a:cubicBezTo>
                  <a:cubicBezTo>
                    <a:pt x="1370" y="466"/>
                    <a:pt x="1254" y="379"/>
                    <a:pt x="1254" y="350"/>
                  </a:cubicBezTo>
                  <a:cubicBezTo>
                    <a:pt x="1254" y="321"/>
                    <a:pt x="1254" y="321"/>
                    <a:pt x="1254" y="292"/>
                  </a:cubicBezTo>
                  <a:cubicBezTo>
                    <a:pt x="1284" y="292"/>
                    <a:pt x="1284" y="292"/>
                    <a:pt x="1284" y="292"/>
                  </a:cubicBezTo>
                  <a:lnTo>
                    <a:pt x="1254" y="262"/>
                  </a:lnTo>
                  <a:cubicBezTo>
                    <a:pt x="1254" y="233"/>
                    <a:pt x="1225" y="204"/>
                    <a:pt x="1225" y="175"/>
                  </a:cubicBezTo>
                  <a:cubicBezTo>
                    <a:pt x="1196" y="116"/>
                    <a:pt x="1137" y="87"/>
                    <a:pt x="1050" y="87"/>
                  </a:cubicBezTo>
                  <a:cubicBezTo>
                    <a:pt x="991" y="59"/>
                    <a:pt x="934" y="29"/>
                    <a:pt x="904" y="0"/>
                  </a:cubicBezTo>
                  <a:cubicBezTo>
                    <a:pt x="875" y="29"/>
                    <a:pt x="875" y="29"/>
                    <a:pt x="904" y="59"/>
                  </a:cubicBezTo>
                  <a:cubicBezTo>
                    <a:pt x="904" y="87"/>
                    <a:pt x="904" y="116"/>
                    <a:pt x="904" y="116"/>
                  </a:cubicBezTo>
                  <a:cubicBezTo>
                    <a:pt x="904" y="204"/>
                    <a:pt x="846" y="262"/>
                    <a:pt x="787" y="321"/>
                  </a:cubicBezTo>
                  <a:cubicBezTo>
                    <a:pt x="758" y="350"/>
                    <a:pt x="758" y="350"/>
                    <a:pt x="729" y="379"/>
                  </a:cubicBezTo>
                  <a:cubicBezTo>
                    <a:pt x="729" y="379"/>
                    <a:pt x="729" y="379"/>
                    <a:pt x="729" y="408"/>
                  </a:cubicBezTo>
                  <a:cubicBezTo>
                    <a:pt x="729" y="408"/>
                    <a:pt x="729" y="408"/>
                    <a:pt x="729" y="437"/>
                  </a:cubicBezTo>
                  <a:lnTo>
                    <a:pt x="729" y="437"/>
                  </a:lnTo>
                  <a:lnTo>
                    <a:pt x="729" y="437"/>
                  </a:lnTo>
                  <a:cubicBezTo>
                    <a:pt x="670" y="466"/>
                    <a:pt x="670" y="525"/>
                    <a:pt x="641" y="583"/>
                  </a:cubicBezTo>
                  <a:cubicBezTo>
                    <a:pt x="641" y="612"/>
                    <a:pt x="641" y="642"/>
                    <a:pt x="613" y="642"/>
                  </a:cubicBezTo>
                  <a:cubicBezTo>
                    <a:pt x="613" y="671"/>
                    <a:pt x="613" y="671"/>
                    <a:pt x="613" y="700"/>
                  </a:cubicBezTo>
                  <a:cubicBezTo>
                    <a:pt x="584" y="729"/>
                    <a:pt x="554" y="787"/>
                    <a:pt x="525" y="816"/>
                  </a:cubicBezTo>
                  <a:cubicBezTo>
                    <a:pt x="584" y="875"/>
                    <a:pt x="525" y="904"/>
                    <a:pt x="525" y="933"/>
                  </a:cubicBezTo>
                  <a:cubicBezTo>
                    <a:pt x="496" y="962"/>
                    <a:pt x="467" y="962"/>
                    <a:pt x="467" y="1021"/>
                  </a:cubicBezTo>
                  <a:cubicBezTo>
                    <a:pt x="496" y="1021"/>
                    <a:pt x="496" y="1021"/>
                    <a:pt x="496" y="1021"/>
                  </a:cubicBezTo>
                  <a:cubicBezTo>
                    <a:pt x="467" y="1021"/>
                    <a:pt x="467" y="1021"/>
                    <a:pt x="467" y="1021"/>
                  </a:cubicBezTo>
                  <a:cubicBezTo>
                    <a:pt x="408" y="1050"/>
                    <a:pt x="379" y="1108"/>
                    <a:pt x="350" y="1166"/>
                  </a:cubicBezTo>
                  <a:cubicBezTo>
                    <a:pt x="350" y="1195"/>
                    <a:pt x="350" y="1195"/>
                    <a:pt x="350" y="1195"/>
                  </a:cubicBezTo>
                  <a:lnTo>
                    <a:pt x="350" y="1195"/>
                  </a:lnTo>
                  <a:cubicBezTo>
                    <a:pt x="320" y="1195"/>
                    <a:pt x="320" y="1195"/>
                    <a:pt x="320" y="1195"/>
                  </a:cubicBezTo>
                  <a:lnTo>
                    <a:pt x="320" y="1195"/>
                  </a:lnTo>
                  <a:cubicBezTo>
                    <a:pt x="320" y="1225"/>
                    <a:pt x="320" y="1225"/>
                    <a:pt x="320" y="1225"/>
                  </a:cubicBezTo>
                  <a:cubicBezTo>
                    <a:pt x="320" y="1254"/>
                    <a:pt x="320" y="1254"/>
                    <a:pt x="291" y="1283"/>
                  </a:cubicBezTo>
                  <a:cubicBezTo>
                    <a:pt x="291" y="1283"/>
                    <a:pt x="291" y="1312"/>
                    <a:pt x="263" y="1312"/>
                  </a:cubicBezTo>
                  <a:cubicBezTo>
                    <a:pt x="263" y="1312"/>
                    <a:pt x="263" y="1312"/>
                    <a:pt x="234" y="1312"/>
                  </a:cubicBezTo>
                  <a:cubicBezTo>
                    <a:pt x="234" y="1342"/>
                    <a:pt x="234" y="1342"/>
                    <a:pt x="234" y="1371"/>
                  </a:cubicBezTo>
                  <a:cubicBezTo>
                    <a:pt x="234" y="1371"/>
                    <a:pt x="234" y="1400"/>
                    <a:pt x="234" y="1429"/>
                  </a:cubicBezTo>
                  <a:lnTo>
                    <a:pt x="175" y="148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2" name="Freeform 340">
              <a:extLst>
                <a:ext uri="{FF2B5EF4-FFF2-40B4-BE49-F238E27FC236}">
                  <a16:creationId xmlns:a16="http://schemas.microsoft.com/office/drawing/2014/main" id="{8BF8523C-B29C-4DA0-84FA-6033D54727E1}"/>
                </a:ext>
              </a:extLst>
            </p:cNvPr>
            <p:cNvSpPr>
              <a:spLocks noChangeArrowheads="1"/>
            </p:cNvSpPr>
            <p:nvPr/>
          </p:nvSpPr>
          <p:spPr bwMode="auto">
            <a:xfrm>
              <a:off x="3693930" y="267514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3" name="Freeform 341">
              <a:extLst>
                <a:ext uri="{FF2B5EF4-FFF2-40B4-BE49-F238E27FC236}">
                  <a16:creationId xmlns:a16="http://schemas.microsoft.com/office/drawing/2014/main" id="{41825EFF-54C8-4F2C-87D1-2042A7CE90BC}"/>
                </a:ext>
              </a:extLst>
            </p:cNvPr>
            <p:cNvSpPr>
              <a:spLocks noChangeArrowheads="1"/>
            </p:cNvSpPr>
            <p:nvPr/>
          </p:nvSpPr>
          <p:spPr bwMode="auto">
            <a:xfrm>
              <a:off x="3736332" y="277224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4" name="Freeform 342">
              <a:extLst>
                <a:ext uri="{FF2B5EF4-FFF2-40B4-BE49-F238E27FC236}">
                  <a16:creationId xmlns:a16="http://schemas.microsoft.com/office/drawing/2014/main" id="{994FBD8D-46E9-4167-AE7F-11B657D7E168}"/>
                </a:ext>
              </a:extLst>
            </p:cNvPr>
            <p:cNvSpPr>
              <a:spLocks noChangeArrowheads="1"/>
            </p:cNvSpPr>
            <p:nvPr/>
          </p:nvSpPr>
          <p:spPr bwMode="auto">
            <a:xfrm>
              <a:off x="3736332" y="2804609"/>
              <a:ext cx="22832" cy="11328"/>
            </a:xfrm>
            <a:custGeom>
              <a:avLst/>
              <a:gdLst>
                <a:gd name="T0" fmla="*/ 0 w 60"/>
                <a:gd name="T1" fmla="*/ 30 h 31"/>
                <a:gd name="T2" fmla="*/ 0 w 60"/>
                <a:gd name="T3" fmla="*/ 30 h 31"/>
                <a:gd name="T4" fmla="*/ 59 w 60"/>
                <a:gd name="T5" fmla="*/ 30 h 31"/>
                <a:gd name="T6" fmla="*/ 0 w 60"/>
                <a:gd name="T7" fmla="*/ 30 h 31"/>
              </a:gdLst>
              <a:ahLst/>
              <a:cxnLst>
                <a:cxn ang="0">
                  <a:pos x="T0" y="T1"/>
                </a:cxn>
                <a:cxn ang="0">
                  <a:pos x="T2" y="T3"/>
                </a:cxn>
                <a:cxn ang="0">
                  <a:pos x="T4" y="T5"/>
                </a:cxn>
                <a:cxn ang="0">
                  <a:pos x="T6" y="T7"/>
                </a:cxn>
              </a:cxnLst>
              <a:rect l="0" t="0" r="r" b="b"/>
              <a:pathLst>
                <a:path w="60" h="31">
                  <a:moveTo>
                    <a:pt x="0" y="30"/>
                  </a:moveTo>
                  <a:lnTo>
                    <a:pt x="0" y="30"/>
                  </a:lnTo>
                  <a:cubicBezTo>
                    <a:pt x="0" y="30"/>
                    <a:pt x="30" y="0"/>
                    <a:pt x="59" y="30"/>
                  </a:cubicBezTo>
                  <a:cubicBezTo>
                    <a:pt x="30" y="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5" name="Freeform 343">
              <a:extLst>
                <a:ext uri="{FF2B5EF4-FFF2-40B4-BE49-F238E27FC236}">
                  <a16:creationId xmlns:a16="http://schemas.microsoft.com/office/drawing/2014/main" id="{1D7B1E73-5B9A-4FF6-94F2-F188C619A82B}"/>
                </a:ext>
              </a:extLst>
            </p:cNvPr>
            <p:cNvSpPr>
              <a:spLocks noChangeArrowheads="1"/>
            </p:cNvSpPr>
            <p:nvPr/>
          </p:nvSpPr>
          <p:spPr bwMode="auto">
            <a:xfrm>
              <a:off x="3897787" y="3456791"/>
              <a:ext cx="22832" cy="21039"/>
            </a:xfrm>
            <a:custGeom>
              <a:avLst/>
              <a:gdLst>
                <a:gd name="T0" fmla="*/ 0 w 60"/>
                <a:gd name="T1" fmla="*/ 0 h 59"/>
                <a:gd name="T2" fmla="*/ 0 w 60"/>
                <a:gd name="T3" fmla="*/ 0 h 59"/>
                <a:gd name="T4" fmla="*/ 0 w 60"/>
                <a:gd name="T5" fmla="*/ 0 h 59"/>
                <a:gd name="T6" fmla="*/ 0 w 60"/>
                <a:gd name="T7" fmla="*/ 0 h 59"/>
                <a:gd name="T8" fmla="*/ 0 w 60"/>
                <a:gd name="T9" fmla="*/ 0 h 59"/>
                <a:gd name="T10" fmla="*/ 59 w 60"/>
                <a:gd name="T11" fmla="*/ 58 h 59"/>
                <a:gd name="T12" fmla="*/ 0 w 60"/>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60" h="59">
                  <a:moveTo>
                    <a:pt x="0" y="0"/>
                  </a:moveTo>
                  <a:lnTo>
                    <a:pt x="0" y="0"/>
                  </a:lnTo>
                  <a:lnTo>
                    <a:pt x="0" y="0"/>
                  </a:lnTo>
                  <a:lnTo>
                    <a:pt x="0" y="0"/>
                  </a:lnTo>
                  <a:lnTo>
                    <a:pt x="0" y="0"/>
                  </a:lnTo>
                  <a:cubicBezTo>
                    <a:pt x="59" y="0"/>
                    <a:pt x="59" y="29"/>
                    <a:pt x="59" y="58"/>
                  </a:cubicBezTo>
                  <a:cubicBezTo>
                    <a:pt x="59" y="29"/>
                    <a:pt x="5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6" name="Freeform 344">
              <a:extLst>
                <a:ext uri="{FF2B5EF4-FFF2-40B4-BE49-F238E27FC236}">
                  <a16:creationId xmlns:a16="http://schemas.microsoft.com/office/drawing/2014/main" id="{CC09BF44-B84E-4464-B172-4A39613586BF}"/>
                </a:ext>
              </a:extLst>
            </p:cNvPr>
            <p:cNvSpPr>
              <a:spLocks noChangeArrowheads="1"/>
            </p:cNvSpPr>
            <p:nvPr/>
          </p:nvSpPr>
          <p:spPr bwMode="auto">
            <a:xfrm>
              <a:off x="3909202" y="3479448"/>
              <a:ext cx="11416" cy="53405"/>
            </a:xfrm>
            <a:custGeom>
              <a:avLst/>
              <a:gdLst>
                <a:gd name="T0" fmla="*/ 30 w 31"/>
                <a:gd name="T1" fmla="*/ 0 h 147"/>
                <a:gd name="T2" fmla="*/ 30 w 31"/>
                <a:gd name="T3" fmla="*/ 0 h 147"/>
                <a:gd name="T4" fmla="*/ 0 w 31"/>
                <a:gd name="T5" fmla="*/ 58 h 147"/>
                <a:gd name="T6" fmla="*/ 0 w 31"/>
                <a:gd name="T7" fmla="*/ 146 h 147"/>
                <a:gd name="T8" fmla="*/ 0 w 31"/>
                <a:gd name="T9" fmla="*/ 58 h 147"/>
                <a:gd name="T10" fmla="*/ 30 w 31"/>
                <a:gd name="T11" fmla="*/ 0 h 147"/>
              </a:gdLst>
              <a:ahLst/>
              <a:cxnLst>
                <a:cxn ang="0">
                  <a:pos x="T0" y="T1"/>
                </a:cxn>
                <a:cxn ang="0">
                  <a:pos x="T2" y="T3"/>
                </a:cxn>
                <a:cxn ang="0">
                  <a:pos x="T4" y="T5"/>
                </a:cxn>
                <a:cxn ang="0">
                  <a:pos x="T6" y="T7"/>
                </a:cxn>
                <a:cxn ang="0">
                  <a:pos x="T8" y="T9"/>
                </a:cxn>
                <a:cxn ang="0">
                  <a:pos x="T10" y="T11"/>
                </a:cxn>
              </a:cxnLst>
              <a:rect l="0" t="0" r="r" b="b"/>
              <a:pathLst>
                <a:path w="31" h="147">
                  <a:moveTo>
                    <a:pt x="30" y="0"/>
                  </a:moveTo>
                  <a:lnTo>
                    <a:pt x="30" y="0"/>
                  </a:lnTo>
                  <a:cubicBezTo>
                    <a:pt x="30" y="29"/>
                    <a:pt x="30" y="29"/>
                    <a:pt x="0" y="58"/>
                  </a:cubicBezTo>
                  <a:cubicBezTo>
                    <a:pt x="0" y="88"/>
                    <a:pt x="0" y="117"/>
                    <a:pt x="0" y="146"/>
                  </a:cubicBezTo>
                  <a:cubicBezTo>
                    <a:pt x="0" y="117"/>
                    <a:pt x="0" y="88"/>
                    <a:pt x="0" y="58"/>
                  </a:cubicBezTo>
                  <a:cubicBezTo>
                    <a:pt x="30" y="29"/>
                    <a:pt x="30" y="29"/>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7" name="Freeform 345">
              <a:extLst>
                <a:ext uri="{FF2B5EF4-FFF2-40B4-BE49-F238E27FC236}">
                  <a16:creationId xmlns:a16="http://schemas.microsoft.com/office/drawing/2014/main" id="{F8B13E44-CA31-4B43-BE7F-78A4316DB5D4}"/>
                </a:ext>
              </a:extLst>
            </p:cNvPr>
            <p:cNvSpPr>
              <a:spLocks noChangeArrowheads="1"/>
            </p:cNvSpPr>
            <p:nvPr/>
          </p:nvSpPr>
          <p:spPr bwMode="auto">
            <a:xfrm>
              <a:off x="4147305" y="974288"/>
              <a:ext cx="1014386" cy="674840"/>
            </a:xfrm>
            <a:custGeom>
              <a:avLst/>
              <a:gdLst>
                <a:gd name="T0" fmla="*/ 88 w 2742"/>
                <a:gd name="T1" fmla="*/ 203 h 1838"/>
                <a:gd name="T2" fmla="*/ 146 w 2742"/>
                <a:gd name="T3" fmla="*/ 291 h 1838"/>
                <a:gd name="T4" fmla="*/ 117 w 2742"/>
                <a:gd name="T5" fmla="*/ 379 h 1838"/>
                <a:gd name="T6" fmla="*/ 88 w 2742"/>
                <a:gd name="T7" fmla="*/ 641 h 1838"/>
                <a:gd name="T8" fmla="*/ 58 w 2742"/>
                <a:gd name="T9" fmla="*/ 670 h 1838"/>
                <a:gd name="T10" fmla="*/ 88 w 2742"/>
                <a:gd name="T11" fmla="*/ 700 h 1838"/>
                <a:gd name="T12" fmla="*/ 146 w 2742"/>
                <a:gd name="T13" fmla="*/ 758 h 1838"/>
                <a:gd name="T14" fmla="*/ 117 w 2742"/>
                <a:gd name="T15" fmla="*/ 874 h 1838"/>
                <a:gd name="T16" fmla="*/ 29 w 2742"/>
                <a:gd name="T17" fmla="*/ 1020 h 1838"/>
                <a:gd name="T18" fmla="*/ 58 w 2742"/>
                <a:gd name="T19" fmla="*/ 1020 h 1838"/>
                <a:gd name="T20" fmla="*/ 205 w 2742"/>
                <a:gd name="T21" fmla="*/ 1137 h 1838"/>
                <a:gd name="T22" fmla="*/ 350 w 2742"/>
                <a:gd name="T23" fmla="*/ 1400 h 1838"/>
                <a:gd name="T24" fmla="*/ 350 w 2742"/>
                <a:gd name="T25" fmla="*/ 1429 h 1838"/>
                <a:gd name="T26" fmla="*/ 729 w 2742"/>
                <a:gd name="T27" fmla="*/ 1545 h 1838"/>
                <a:gd name="T28" fmla="*/ 817 w 2742"/>
                <a:gd name="T29" fmla="*/ 1633 h 1838"/>
                <a:gd name="T30" fmla="*/ 963 w 2742"/>
                <a:gd name="T31" fmla="*/ 1633 h 1838"/>
                <a:gd name="T32" fmla="*/ 1255 w 2742"/>
                <a:gd name="T33" fmla="*/ 1691 h 1838"/>
                <a:gd name="T34" fmla="*/ 1458 w 2742"/>
                <a:gd name="T35" fmla="*/ 1691 h 1838"/>
                <a:gd name="T36" fmla="*/ 1605 w 2742"/>
                <a:gd name="T37" fmla="*/ 1662 h 1838"/>
                <a:gd name="T38" fmla="*/ 1955 w 2742"/>
                <a:gd name="T39" fmla="*/ 1750 h 1838"/>
                <a:gd name="T40" fmla="*/ 2741 w 2742"/>
                <a:gd name="T41" fmla="*/ 467 h 1838"/>
                <a:gd name="T42" fmla="*/ 934 w 2742"/>
                <a:gd name="T43" fmla="*/ 29 h 1838"/>
                <a:gd name="T44" fmla="*/ 963 w 2742"/>
                <a:gd name="T45" fmla="*/ 58 h 1838"/>
                <a:gd name="T46" fmla="*/ 934 w 2742"/>
                <a:gd name="T47" fmla="*/ 145 h 1838"/>
                <a:gd name="T48" fmla="*/ 934 w 2742"/>
                <a:gd name="T49" fmla="*/ 203 h 1838"/>
                <a:gd name="T50" fmla="*/ 934 w 2742"/>
                <a:gd name="T51" fmla="*/ 262 h 1838"/>
                <a:gd name="T52" fmla="*/ 905 w 2742"/>
                <a:gd name="T53" fmla="*/ 291 h 1838"/>
                <a:gd name="T54" fmla="*/ 905 w 2742"/>
                <a:gd name="T55" fmla="*/ 291 h 1838"/>
                <a:gd name="T56" fmla="*/ 934 w 2742"/>
                <a:gd name="T57" fmla="*/ 408 h 1838"/>
                <a:gd name="T58" fmla="*/ 905 w 2742"/>
                <a:gd name="T59" fmla="*/ 583 h 1838"/>
                <a:gd name="T60" fmla="*/ 875 w 2742"/>
                <a:gd name="T61" fmla="*/ 524 h 1838"/>
                <a:gd name="T62" fmla="*/ 846 w 2742"/>
                <a:gd name="T63" fmla="*/ 583 h 1838"/>
                <a:gd name="T64" fmla="*/ 788 w 2742"/>
                <a:gd name="T65" fmla="*/ 700 h 1838"/>
                <a:gd name="T66" fmla="*/ 729 w 2742"/>
                <a:gd name="T67" fmla="*/ 787 h 1838"/>
                <a:gd name="T68" fmla="*/ 700 w 2742"/>
                <a:gd name="T69" fmla="*/ 787 h 1838"/>
                <a:gd name="T70" fmla="*/ 672 w 2742"/>
                <a:gd name="T71" fmla="*/ 583 h 1838"/>
                <a:gd name="T72" fmla="*/ 642 w 2742"/>
                <a:gd name="T73" fmla="*/ 612 h 1838"/>
                <a:gd name="T74" fmla="*/ 672 w 2742"/>
                <a:gd name="T75" fmla="*/ 408 h 1838"/>
                <a:gd name="T76" fmla="*/ 642 w 2742"/>
                <a:gd name="T77" fmla="*/ 350 h 1838"/>
                <a:gd name="T78" fmla="*/ 408 w 2742"/>
                <a:gd name="T79" fmla="*/ 262 h 1838"/>
                <a:gd name="T80" fmla="*/ 379 w 2742"/>
                <a:gd name="T81" fmla="*/ 233 h 1838"/>
                <a:gd name="T82" fmla="*/ 263 w 2742"/>
                <a:gd name="T83" fmla="*/ 174 h 1838"/>
                <a:gd name="T84" fmla="*/ 117 w 2742"/>
                <a:gd name="T85" fmla="*/ 58 h 1838"/>
                <a:gd name="T86" fmla="*/ 88 w 2742"/>
                <a:gd name="T87" fmla="*/ 174 h 1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2" h="1838">
                  <a:moveTo>
                    <a:pt x="88" y="174"/>
                  </a:moveTo>
                  <a:lnTo>
                    <a:pt x="88" y="174"/>
                  </a:lnTo>
                  <a:lnTo>
                    <a:pt x="88" y="203"/>
                  </a:lnTo>
                  <a:cubicBezTo>
                    <a:pt x="88" y="203"/>
                    <a:pt x="88" y="203"/>
                    <a:pt x="88" y="233"/>
                  </a:cubicBezTo>
                  <a:cubicBezTo>
                    <a:pt x="117" y="233"/>
                    <a:pt x="117" y="233"/>
                    <a:pt x="117" y="233"/>
                  </a:cubicBezTo>
                  <a:cubicBezTo>
                    <a:pt x="117" y="262"/>
                    <a:pt x="146" y="262"/>
                    <a:pt x="146" y="291"/>
                  </a:cubicBezTo>
                  <a:cubicBezTo>
                    <a:pt x="146" y="320"/>
                    <a:pt x="146" y="320"/>
                    <a:pt x="146" y="350"/>
                  </a:cubicBezTo>
                  <a:lnTo>
                    <a:pt x="146" y="350"/>
                  </a:lnTo>
                  <a:cubicBezTo>
                    <a:pt x="117" y="379"/>
                    <a:pt x="117" y="379"/>
                    <a:pt x="117" y="379"/>
                  </a:cubicBezTo>
                  <a:cubicBezTo>
                    <a:pt x="146" y="408"/>
                    <a:pt x="146" y="437"/>
                    <a:pt x="117" y="467"/>
                  </a:cubicBezTo>
                  <a:cubicBezTo>
                    <a:pt x="117" y="495"/>
                    <a:pt x="117" y="495"/>
                    <a:pt x="117" y="524"/>
                  </a:cubicBezTo>
                  <a:cubicBezTo>
                    <a:pt x="88" y="553"/>
                    <a:pt x="88" y="583"/>
                    <a:pt x="88" y="641"/>
                  </a:cubicBezTo>
                  <a:lnTo>
                    <a:pt x="88" y="641"/>
                  </a:lnTo>
                  <a:lnTo>
                    <a:pt x="88" y="641"/>
                  </a:lnTo>
                  <a:cubicBezTo>
                    <a:pt x="88" y="641"/>
                    <a:pt x="88" y="670"/>
                    <a:pt x="58" y="670"/>
                  </a:cubicBezTo>
                  <a:lnTo>
                    <a:pt x="58" y="670"/>
                  </a:lnTo>
                  <a:cubicBezTo>
                    <a:pt x="88" y="670"/>
                    <a:pt x="88" y="670"/>
                    <a:pt x="88" y="670"/>
                  </a:cubicBezTo>
                  <a:cubicBezTo>
                    <a:pt x="88" y="670"/>
                    <a:pt x="88" y="670"/>
                    <a:pt x="88" y="700"/>
                  </a:cubicBezTo>
                  <a:cubicBezTo>
                    <a:pt x="117" y="700"/>
                    <a:pt x="146" y="729"/>
                    <a:pt x="146" y="758"/>
                  </a:cubicBezTo>
                  <a:lnTo>
                    <a:pt x="146" y="758"/>
                  </a:lnTo>
                  <a:lnTo>
                    <a:pt x="146" y="758"/>
                  </a:lnTo>
                  <a:cubicBezTo>
                    <a:pt x="146" y="817"/>
                    <a:pt x="117" y="817"/>
                    <a:pt x="88" y="817"/>
                  </a:cubicBezTo>
                  <a:lnTo>
                    <a:pt x="88" y="817"/>
                  </a:lnTo>
                  <a:cubicBezTo>
                    <a:pt x="117" y="817"/>
                    <a:pt x="117" y="845"/>
                    <a:pt x="117" y="874"/>
                  </a:cubicBezTo>
                  <a:cubicBezTo>
                    <a:pt x="117" y="903"/>
                    <a:pt x="88" y="933"/>
                    <a:pt x="58" y="933"/>
                  </a:cubicBezTo>
                  <a:cubicBezTo>
                    <a:pt x="58" y="933"/>
                    <a:pt x="58" y="933"/>
                    <a:pt x="29" y="962"/>
                  </a:cubicBezTo>
                  <a:cubicBezTo>
                    <a:pt x="29" y="962"/>
                    <a:pt x="29" y="991"/>
                    <a:pt x="29" y="1020"/>
                  </a:cubicBezTo>
                  <a:cubicBezTo>
                    <a:pt x="0" y="1020"/>
                    <a:pt x="0" y="1020"/>
                    <a:pt x="0" y="1020"/>
                  </a:cubicBezTo>
                  <a:cubicBezTo>
                    <a:pt x="29" y="1020"/>
                    <a:pt x="29" y="1020"/>
                    <a:pt x="58" y="1020"/>
                  </a:cubicBezTo>
                  <a:lnTo>
                    <a:pt x="58" y="1020"/>
                  </a:lnTo>
                  <a:cubicBezTo>
                    <a:pt x="88" y="1050"/>
                    <a:pt x="88" y="1050"/>
                    <a:pt x="117" y="1079"/>
                  </a:cubicBezTo>
                  <a:lnTo>
                    <a:pt x="117" y="1079"/>
                  </a:lnTo>
                  <a:cubicBezTo>
                    <a:pt x="146" y="1108"/>
                    <a:pt x="175" y="1108"/>
                    <a:pt x="205" y="1137"/>
                  </a:cubicBezTo>
                  <a:cubicBezTo>
                    <a:pt x="263" y="1137"/>
                    <a:pt x="322" y="1167"/>
                    <a:pt x="350" y="1195"/>
                  </a:cubicBezTo>
                  <a:cubicBezTo>
                    <a:pt x="350" y="1253"/>
                    <a:pt x="350" y="1283"/>
                    <a:pt x="350" y="1312"/>
                  </a:cubicBezTo>
                  <a:cubicBezTo>
                    <a:pt x="350" y="1341"/>
                    <a:pt x="350" y="1370"/>
                    <a:pt x="350" y="1400"/>
                  </a:cubicBezTo>
                  <a:cubicBezTo>
                    <a:pt x="379" y="1400"/>
                    <a:pt x="379" y="1400"/>
                    <a:pt x="379" y="1400"/>
                  </a:cubicBezTo>
                  <a:cubicBezTo>
                    <a:pt x="350" y="1400"/>
                    <a:pt x="350" y="1400"/>
                    <a:pt x="350" y="1400"/>
                  </a:cubicBezTo>
                  <a:cubicBezTo>
                    <a:pt x="350" y="1429"/>
                    <a:pt x="350" y="1429"/>
                    <a:pt x="350" y="1429"/>
                  </a:cubicBezTo>
                  <a:lnTo>
                    <a:pt x="350" y="1429"/>
                  </a:lnTo>
                  <a:cubicBezTo>
                    <a:pt x="438" y="1545"/>
                    <a:pt x="584" y="1574"/>
                    <a:pt x="729" y="1545"/>
                  </a:cubicBezTo>
                  <a:lnTo>
                    <a:pt x="729" y="1545"/>
                  </a:lnTo>
                  <a:lnTo>
                    <a:pt x="729" y="1545"/>
                  </a:lnTo>
                  <a:cubicBezTo>
                    <a:pt x="758" y="1574"/>
                    <a:pt x="788" y="1603"/>
                    <a:pt x="788" y="1603"/>
                  </a:cubicBezTo>
                  <a:cubicBezTo>
                    <a:pt x="788" y="1633"/>
                    <a:pt x="788" y="1633"/>
                    <a:pt x="817" y="1633"/>
                  </a:cubicBezTo>
                  <a:cubicBezTo>
                    <a:pt x="846" y="1633"/>
                    <a:pt x="846" y="1633"/>
                    <a:pt x="875" y="1633"/>
                  </a:cubicBezTo>
                  <a:cubicBezTo>
                    <a:pt x="905" y="1633"/>
                    <a:pt x="905" y="1633"/>
                    <a:pt x="905" y="1633"/>
                  </a:cubicBezTo>
                  <a:cubicBezTo>
                    <a:pt x="934" y="1633"/>
                    <a:pt x="963" y="1633"/>
                    <a:pt x="963" y="1633"/>
                  </a:cubicBezTo>
                  <a:cubicBezTo>
                    <a:pt x="992" y="1633"/>
                    <a:pt x="1021" y="1662"/>
                    <a:pt x="1050" y="1662"/>
                  </a:cubicBezTo>
                  <a:cubicBezTo>
                    <a:pt x="1079" y="1662"/>
                    <a:pt x="1108" y="1691"/>
                    <a:pt x="1138" y="1691"/>
                  </a:cubicBezTo>
                  <a:cubicBezTo>
                    <a:pt x="1167" y="1691"/>
                    <a:pt x="1225" y="1691"/>
                    <a:pt x="1255" y="1691"/>
                  </a:cubicBezTo>
                  <a:cubicBezTo>
                    <a:pt x="1313" y="1691"/>
                    <a:pt x="1371" y="1691"/>
                    <a:pt x="1429" y="1662"/>
                  </a:cubicBezTo>
                  <a:lnTo>
                    <a:pt x="1429" y="1662"/>
                  </a:lnTo>
                  <a:cubicBezTo>
                    <a:pt x="1458" y="1691"/>
                    <a:pt x="1458" y="1691"/>
                    <a:pt x="1458" y="1691"/>
                  </a:cubicBezTo>
                  <a:cubicBezTo>
                    <a:pt x="1458" y="1691"/>
                    <a:pt x="1488" y="1691"/>
                    <a:pt x="1488" y="1662"/>
                  </a:cubicBezTo>
                  <a:cubicBezTo>
                    <a:pt x="1517" y="1662"/>
                    <a:pt x="1546" y="1662"/>
                    <a:pt x="1605" y="1662"/>
                  </a:cubicBezTo>
                  <a:lnTo>
                    <a:pt x="1605" y="1662"/>
                  </a:lnTo>
                  <a:cubicBezTo>
                    <a:pt x="1663" y="1662"/>
                    <a:pt x="1692" y="1662"/>
                    <a:pt x="1750" y="1691"/>
                  </a:cubicBezTo>
                  <a:lnTo>
                    <a:pt x="1779" y="1691"/>
                  </a:lnTo>
                  <a:cubicBezTo>
                    <a:pt x="1838" y="1720"/>
                    <a:pt x="1896" y="1720"/>
                    <a:pt x="1955" y="1750"/>
                  </a:cubicBezTo>
                  <a:cubicBezTo>
                    <a:pt x="2071" y="1779"/>
                    <a:pt x="2188" y="1808"/>
                    <a:pt x="2305" y="1837"/>
                  </a:cubicBezTo>
                  <a:cubicBezTo>
                    <a:pt x="2392" y="1545"/>
                    <a:pt x="2479" y="1253"/>
                    <a:pt x="2567" y="991"/>
                  </a:cubicBezTo>
                  <a:cubicBezTo>
                    <a:pt x="2625" y="817"/>
                    <a:pt x="2684" y="641"/>
                    <a:pt x="2741" y="467"/>
                  </a:cubicBezTo>
                  <a:cubicBezTo>
                    <a:pt x="2538" y="408"/>
                    <a:pt x="2334" y="350"/>
                    <a:pt x="2129" y="320"/>
                  </a:cubicBezTo>
                  <a:cubicBezTo>
                    <a:pt x="1721" y="203"/>
                    <a:pt x="1313" y="117"/>
                    <a:pt x="934" y="0"/>
                  </a:cubicBezTo>
                  <a:lnTo>
                    <a:pt x="934" y="29"/>
                  </a:lnTo>
                  <a:cubicBezTo>
                    <a:pt x="934" y="58"/>
                    <a:pt x="934" y="58"/>
                    <a:pt x="934" y="58"/>
                  </a:cubicBezTo>
                  <a:lnTo>
                    <a:pt x="934" y="58"/>
                  </a:lnTo>
                  <a:cubicBezTo>
                    <a:pt x="934" y="58"/>
                    <a:pt x="934" y="58"/>
                    <a:pt x="963" y="58"/>
                  </a:cubicBezTo>
                  <a:lnTo>
                    <a:pt x="963" y="58"/>
                  </a:lnTo>
                  <a:lnTo>
                    <a:pt x="963" y="58"/>
                  </a:lnTo>
                  <a:cubicBezTo>
                    <a:pt x="992" y="117"/>
                    <a:pt x="963" y="117"/>
                    <a:pt x="934" y="145"/>
                  </a:cubicBezTo>
                  <a:lnTo>
                    <a:pt x="934" y="145"/>
                  </a:lnTo>
                  <a:lnTo>
                    <a:pt x="934" y="145"/>
                  </a:lnTo>
                  <a:cubicBezTo>
                    <a:pt x="934" y="174"/>
                    <a:pt x="934" y="174"/>
                    <a:pt x="934" y="203"/>
                  </a:cubicBezTo>
                  <a:lnTo>
                    <a:pt x="934" y="203"/>
                  </a:lnTo>
                  <a:lnTo>
                    <a:pt x="934" y="203"/>
                  </a:lnTo>
                  <a:cubicBezTo>
                    <a:pt x="905" y="233"/>
                    <a:pt x="905" y="233"/>
                    <a:pt x="934" y="262"/>
                  </a:cubicBezTo>
                  <a:lnTo>
                    <a:pt x="934" y="262"/>
                  </a:lnTo>
                  <a:cubicBezTo>
                    <a:pt x="905" y="262"/>
                    <a:pt x="905" y="262"/>
                    <a:pt x="905" y="262"/>
                  </a:cubicBezTo>
                  <a:lnTo>
                    <a:pt x="905" y="291"/>
                  </a:lnTo>
                  <a:cubicBezTo>
                    <a:pt x="875" y="291"/>
                    <a:pt x="875" y="291"/>
                    <a:pt x="875" y="320"/>
                  </a:cubicBezTo>
                  <a:cubicBezTo>
                    <a:pt x="875" y="291"/>
                    <a:pt x="875" y="291"/>
                    <a:pt x="905" y="291"/>
                  </a:cubicBezTo>
                  <a:lnTo>
                    <a:pt x="905" y="291"/>
                  </a:lnTo>
                  <a:cubicBezTo>
                    <a:pt x="905" y="320"/>
                    <a:pt x="905" y="320"/>
                    <a:pt x="905" y="320"/>
                  </a:cubicBezTo>
                  <a:cubicBezTo>
                    <a:pt x="934" y="320"/>
                    <a:pt x="934" y="350"/>
                    <a:pt x="934" y="379"/>
                  </a:cubicBezTo>
                  <a:lnTo>
                    <a:pt x="934" y="408"/>
                  </a:lnTo>
                  <a:cubicBezTo>
                    <a:pt x="934" y="437"/>
                    <a:pt x="934" y="437"/>
                    <a:pt x="934" y="467"/>
                  </a:cubicBezTo>
                  <a:cubicBezTo>
                    <a:pt x="963" y="495"/>
                    <a:pt x="963" y="524"/>
                    <a:pt x="963" y="553"/>
                  </a:cubicBezTo>
                  <a:cubicBezTo>
                    <a:pt x="963" y="583"/>
                    <a:pt x="934" y="583"/>
                    <a:pt x="905" y="583"/>
                  </a:cubicBezTo>
                  <a:lnTo>
                    <a:pt x="905" y="583"/>
                  </a:lnTo>
                  <a:lnTo>
                    <a:pt x="905" y="583"/>
                  </a:lnTo>
                  <a:cubicBezTo>
                    <a:pt x="875" y="583"/>
                    <a:pt x="875" y="553"/>
                    <a:pt x="875" y="524"/>
                  </a:cubicBezTo>
                  <a:cubicBezTo>
                    <a:pt x="875" y="524"/>
                    <a:pt x="875" y="495"/>
                    <a:pt x="846" y="495"/>
                  </a:cubicBezTo>
                  <a:cubicBezTo>
                    <a:pt x="817" y="524"/>
                    <a:pt x="817" y="524"/>
                    <a:pt x="817" y="553"/>
                  </a:cubicBezTo>
                  <a:cubicBezTo>
                    <a:pt x="846" y="583"/>
                    <a:pt x="846" y="583"/>
                    <a:pt x="846" y="583"/>
                  </a:cubicBezTo>
                  <a:cubicBezTo>
                    <a:pt x="817" y="583"/>
                    <a:pt x="817" y="583"/>
                    <a:pt x="817" y="583"/>
                  </a:cubicBezTo>
                  <a:cubicBezTo>
                    <a:pt x="788" y="583"/>
                    <a:pt x="788" y="612"/>
                    <a:pt x="788" y="670"/>
                  </a:cubicBezTo>
                  <a:cubicBezTo>
                    <a:pt x="788" y="700"/>
                    <a:pt x="788" y="700"/>
                    <a:pt x="788" y="700"/>
                  </a:cubicBezTo>
                  <a:lnTo>
                    <a:pt x="788" y="700"/>
                  </a:lnTo>
                  <a:cubicBezTo>
                    <a:pt x="758" y="729"/>
                    <a:pt x="758" y="729"/>
                    <a:pt x="729" y="729"/>
                  </a:cubicBezTo>
                  <a:cubicBezTo>
                    <a:pt x="729" y="758"/>
                    <a:pt x="729" y="787"/>
                    <a:pt x="729" y="787"/>
                  </a:cubicBezTo>
                  <a:cubicBezTo>
                    <a:pt x="729" y="817"/>
                    <a:pt x="729" y="817"/>
                    <a:pt x="729" y="817"/>
                  </a:cubicBezTo>
                  <a:cubicBezTo>
                    <a:pt x="700" y="817"/>
                    <a:pt x="700" y="817"/>
                    <a:pt x="700" y="817"/>
                  </a:cubicBezTo>
                  <a:lnTo>
                    <a:pt x="700" y="787"/>
                  </a:lnTo>
                  <a:cubicBezTo>
                    <a:pt x="672" y="787"/>
                    <a:pt x="642" y="787"/>
                    <a:pt x="642" y="758"/>
                  </a:cubicBezTo>
                  <a:cubicBezTo>
                    <a:pt x="642" y="729"/>
                    <a:pt x="642" y="670"/>
                    <a:pt x="672" y="641"/>
                  </a:cubicBezTo>
                  <a:cubicBezTo>
                    <a:pt x="672" y="641"/>
                    <a:pt x="672" y="612"/>
                    <a:pt x="672" y="583"/>
                  </a:cubicBezTo>
                  <a:lnTo>
                    <a:pt x="672" y="612"/>
                  </a:lnTo>
                  <a:cubicBezTo>
                    <a:pt x="642" y="612"/>
                    <a:pt x="642" y="612"/>
                    <a:pt x="642" y="612"/>
                  </a:cubicBezTo>
                  <a:lnTo>
                    <a:pt x="642" y="612"/>
                  </a:lnTo>
                  <a:cubicBezTo>
                    <a:pt x="642" y="612"/>
                    <a:pt x="613" y="583"/>
                    <a:pt x="613" y="553"/>
                  </a:cubicBezTo>
                  <a:cubicBezTo>
                    <a:pt x="613" y="524"/>
                    <a:pt x="613" y="467"/>
                    <a:pt x="642" y="437"/>
                  </a:cubicBezTo>
                  <a:lnTo>
                    <a:pt x="672" y="408"/>
                  </a:lnTo>
                  <a:lnTo>
                    <a:pt x="700" y="408"/>
                  </a:lnTo>
                  <a:cubicBezTo>
                    <a:pt x="672" y="379"/>
                    <a:pt x="672" y="379"/>
                    <a:pt x="672" y="350"/>
                  </a:cubicBezTo>
                  <a:lnTo>
                    <a:pt x="642" y="350"/>
                  </a:lnTo>
                  <a:cubicBezTo>
                    <a:pt x="613" y="350"/>
                    <a:pt x="584" y="320"/>
                    <a:pt x="584" y="291"/>
                  </a:cubicBezTo>
                  <a:cubicBezTo>
                    <a:pt x="555" y="291"/>
                    <a:pt x="525" y="291"/>
                    <a:pt x="496" y="262"/>
                  </a:cubicBezTo>
                  <a:cubicBezTo>
                    <a:pt x="467" y="262"/>
                    <a:pt x="438" y="262"/>
                    <a:pt x="408" y="262"/>
                  </a:cubicBezTo>
                  <a:lnTo>
                    <a:pt x="408" y="262"/>
                  </a:lnTo>
                  <a:lnTo>
                    <a:pt x="408" y="262"/>
                  </a:lnTo>
                  <a:cubicBezTo>
                    <a:pt x="379" y="262"/>
                    <a:pt x="379" y="233"/>
                    <a:pt x="379" y="233"/>
                  </a:cubicBezTo>
                  <a:cubicBezTo>
                    <a:pt x="379" y="203"/>
                    <a:pt x="379" y="203"/>
                    <a:pt x="350" y="203"/>
                  </a:cubicBezTo>
                  <a:cubicBezTo>
                    <a:pt x="350" y="203"/>
                    <a:pt x="350" y="203"/>
                    <a:pt x="322" y="203"/>
                  </a:cubicBezTo>
                  <a:cubicBezTo>
                    <a:pt x="292" y="203"/>
                    <a:pt x="292" y="203"/>
                    <a:pt x="263" y="174"/>
                  </a:cubicBezTo>
                  <a:lnTo>
                    <a:pt x="263" y="174"/>
                  </a:lnTo>
                  <a:cubicBezTo>
                    <a:pt x="234" y="174"/>
                    <a:pt x="205" y="117"/>
                    <a:pt x="175" y="87"/>
                  </a:cubicBezTo>
                  <a:cubicBezTo>
                    <a:pt x="146" y="87"/>
                    <a:pt x="146" y="58"/>
                    <a:pt x="117" y="58"/>
                  </a:cubicBezTo>
                  <a:lnTo>
                    <a:pt x="117" y="58"/>
                  </a:lnTo>
                  <a:cubicBezTo>
                    <a:pt x="117" y="87"/>
                    <a:pt x="117" y="117"/>
                    <a:pt x="117" y="145"/>
                  </a:cubicBezTo>
                  <a:lnTo>
                    <a:pt x="88"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8" name="Freeform 346">
              <a:extLst>
                <a:ext uri="{FF2B5EF4-FFF2-40B4-BE49-F238E27FC236}">
                  <a16:creationId xmlns:a16="http://schemas.microsoft.com/office/drawing/2014/main" id="{9F21758F-E852-4337-83B2-A194F8EAC3FD}"/>
                </a:ext>
              </a:extLst>
            </p:cNvPr>
            <p:cNvSpPr>
              <a:spLocks noChangeArrowheads="1"/>
            </p:cNvSpPr>
            <p:nvPr/>
          </p:nvSpPr>
          <p:spPr bwMode="auto">
            <a:xfrm>
              <a:off x="3909202" y="3403387"/>
              <a:ext cx="1631" cy="11328"/>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cubicBezTo>
                    <a:pt x="0" y="0"/>
                    <a:pt x="0" y="0"/>
                    <a:pt x="0" y="3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9" name="Freeform 347">
              <a:extLst>
                <a:ext uri="{FF2B5EF4-FFF2-40B4-BE49-F238E27FC236}">
                  <a16:creationId xmlns:a16="http://schemas.microsoft.com/office/drawing/2014/main" id="{102ED1FA-E10F-4615-A298-BE52DBB80803}"/>
                </a:ext>
              </a:extLst>
            </p:cNvPr>
            <p:cNvSpPr>
              <a:spLocks noChangeArrowheads="1"/>
            </p:cNvSpPr>
            <p:nvPr/>
          </p:nvSpPr>
          <p:spPr bwMode="auto">
            <a:xfrm>
              <a:off x="3888001" y="3393677"/>
              <a:ext cx="11415" cy="11328"/>
            </a:xfrm>
            <a:custGeom>
              <a:avLst/>
              <a:gdLst>
                <a:gd name="T0" fmla="*/ 0 w 29"/>
                <a:gd name="T1" fmla="*/ 0 h 30"/>
                <a:gd name="T2" fmla="*/ 0 w 29"/>
                <a:gd name="T3" fmla="*/ 0 h 30"/>
                <a:gd name="T4" fmla="*/ 28 w 29"/>
                <a:gd name="T5" fmla="*/ 0 h 30"/>
                <a:gd name="T6" fmla="*/ 28 w 29"/>
                <a:gd name="T7" fmla="*/ 29 h 30"/>
                <a:gd name="T8" fmla="*/ 28 w 29"/>
                <a:gd name="T9" fmla="*/ 0 h 30"/>
                <a:gd name="T10" fmla="*/ 0 w 29"/>
                <a:gd name="T11" fmla="*/ 0 h 30"/>
              </a:gdLst>
              <a:ahLst/>
              <a:cxnLst>
                <a:cxn ang="0">
                  <a:pos x="T0" y="T1"/>
                </a:cxn>
                <a:cxn ang="0">
                  <a:pos x="T2" y="T3"/>
                </a:cxn>
                <a:cxn ang="0">
                  <a:pos x="T4" y="T5"/>
                </a:cxn>
                <a:cxn ang="0">
                  <a:pos x="T6" y="T7"/>
                </a:cxn>
                <a:cxn ang="0">
                  <a:pos x="T8" y="T9"/>
                </a:cxn>
                <a:cxn ang="0">
                  <a:pos x="T10" y="T11"/>
                </a:cxn>
              </a:cxnLst>
              <a:rect l="0" t="0" r="r" b="b"/>
              <a:pathLst>
                <a:path w="29" h="30">
                  <a:moveTo>
                    <a:pt x="0" y="0"/>
                  </a:moveTo>
                  <a:lnTo>
                    <a:pt x="0" y="0"/>
                  </a:lnTo>
                  <a:cubicBezTo>
                    <a:pt x="0" y="0"/>
                    <a:pt x="0" y="0"/>
                    <a:pt x="28" y="0"/>
                  </a:cubicBezTo>
                  <a:cubicBezTo>
                    <a:pt x="28" y="0"/>
                    <a:pt x="28" y="0"/>
                    <a:pt x="28" y="29"/>
                  </a:cubicBezTo>
                  <a:cubicBezTo>
                    <a:pt x="28" y="0"/>
                    <a:pt x="28" y="0"/>
                    <a:pt x="28"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0" name="Freeform 348">
              <a:extLst>
                <a:ext uri="{FF2B5EF4-FFF2-40B4-BE49-F238E27FC236}">
                  <a16:creationId xmlns:a16="http://schemas.microsoft.com/office/drawing/2014/main" id="{129A9646-FA4D-4643-8998-A2F1A2729683}"/>
                </a:ext>
              </a:extLst>
            </p:cNvPr>
            <p:cNvSpPr>
              <a:spLocks noChangeArrowheads="1"/>
            </p:cNvSpPr>
            <p:nvPr/>
          </p:nvSpPr>
          <p:spPr bwMode="auto">
            <a:xfrm>
              <a:off x="3897787" y="356360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1" name="Freeform 349">
              <a:extLst>
                <a:ext uri="{FF2B5EF4-FFF2-40B4-BE49-F238E27FC236}">
                  <a16:creationId xmlns:a16="http://schemas.microsoft.com/office/drawing/2014/main" id="{5BA6848D-D9B5-4A87-8C7A-13FD7165CE6B}"/>
                </a:ext>
              </a:extLst>
            </p:cNvPr>
            <p:cNvSpPr>
              <a:spLocks noChangeArrowheads="1"/>
            </p:cNvSpPr>
            <p:nvPr/>
          </p:nvSpPr>
          <p:spPr bwMode="auto">
            <a:xfrm>
              <a:off x="3897787" y="3542563"/>
              <a:ext cx="11415" cy="21038"/>
            </a:xfrm>
            <a:custGeom>
              <a:avLst/>
              <a:gdLst>
                <a:gd name="T0" fmla="*/ 0 w 30"/>
                <a:gd name="T1" fmla="*/ 57 h 58"/>
                <a:gd name="T2" fmla="*/ 0 w 30"/>
                <a:gd name="T3" fmla="*/ 57 h 58"/>
                <a:gd name="T4" fmla="*/ 0 w 30"/>
                <a:gd name="T5" fmla="*/ 57 h 58"/>
                <a:gd name="T6" fmla="*/ 29 w 30"/>
                <a:gd name="T7" fmla="*/ 0 h 58"/>
                <a:gd name="T8" fmla="*/ 29 w 30"/>
                <a:gd name="T9" fmla="*/ 0 h 58"/>
                <a:gd name="T10" fmla="*/ 0 w 30"/>
                <a:gd name="T11" fmla="*/ 57 h 58"/>
              </a:gdLst>
              <a:ahLst/>
              <a:cxnLst>
                <a:cxn ang="0">
                  <a:pos x="T0" y="T1"/>
                </a:cxn>
                <a:cxn ang="0">
                  <a:pos x="T2" y="T3"/>
                </a:cxn>
                <a:cxn ang="0">
                  <a:pos x="T4" y="T5"/>
                </a:cxn>
                <a:cxn ang="0">
                  <a:pos x="T6" y="T7"/>
                </a:cxn>
                <a:cxn ang="0">
                  <a:pos x="T8" y="T9"/>
                </a:cxn>
                <a:cxn ang="0">
                  <a:pos x="T10" y="T11"/>
                </a:cxn>
              </a:cxnLst>
              <a:rect l="0" t="0" r="r" b="b"/>
              <a:pathLst>
                <a:path w="30" h="58">
                  <a:moveTo>
                    <a:pt x="0" y="57"/>
                  </a:moveTo>
                  <a:lnTo>
                    <a:pt x="0" y="57"/>
                  </a:lnTo>
                  <a:lnTo>
                    <a:pt x="0" y="57"/>
                  </a:lnTo>
                  <a:cubicBezTo>
                    <a:pt x="0" y="29"/>
                    <a:pt x="0" y="29"/>
                    <a:pt x="29" y="0"/>
                  </a:cubicBezTo>
                  <a:lnTo>
                    <a:pt x="29" y="0"/>
                  </a:lnTo>
                  <a:cubicBezTo>
                    <a:pt x="0" y="29"/>
                    <a:pt x="0" y="29"/>
                    <a:pt x="0" y="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2" name="Freeform 350">
              <a:extLst>
                <a:ext uri="{FF2B5EF4-FFF2-40B4-BE49-F238E27FC236}">
                  <a16:creationId xmlns:a16="http://schemas.microsoft.com/office/drawing/2014/main" id="{8F5838E9-E98F-4F59-A7CB-4C84F976A295}"/>
                </a:ext>
              </a:extLst>
            </p:cNvPr>
            <p:cNvSpPr>
              <a:spLocks noChangeArrowheads="1"/>
            </p:cNvSpPr>
            <p:nvPr/>
          </p:nvSpPr>
          <p:spPr bwMode="auto">
            <a:xfrm>
              <a:off x="3845599" y="3008517"/>
              <a:ext cx="11415" cy="11328"/>
            </a:xfrm>
            <a:custGeom>
              <a:avLst/>
              <a:gdLst>
                <a:gd name="T0" fmla="*/ 0 w 30"/>
                <a:gd name="T1" fmla="*/ 29 h 30"/>
                <a:gd name="T2" fmla="*/ 0 w 30"/>
                <a:gd name="T3" fmla="*/ 29 h 30"/>
                <a:gd name="T4" fmla="*/ 0 w 30"/>
                <a:gd name="T5" fmla="*/ 0 h 30"/>
                <a:gd name="T6" fmla="*/ 0 w 30"/>
                <a:gd name="T7" fmla="*/ 29 h 30"/>
                <a:gd name="T8" fmla="*/ 29 w 30"/>
                <a:gd name="T9" fmla="*/ 29 h 30"/>
                <a:gd name="T10" fmla="*/ 29 w 30"/>
                <a:gd name="T11" fmla="*/ 0 h 30"/>
                <a:gd name="T12" fmla="*/ 29 w 30"/>
                <a:gd name="T13" fmla="*/ 29 h 30"/>
                <a:gd name="T14" fmla="*/ 0 w 30"/>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0" y="29"/>
                  </a:moveTo>
                  <a:lnTo>
                    <a:pt x="0" y="29"/>
                  </a:lnTo>
                  <a:cubicBezTo>
                    <a:pt x="0" y="0"/>
                    <a:pt x="0" y="0"/>
                    <a:pt x="0" y="0"/>
                  </a:cubicBezTo>
                  <a:cubicBezTo>
                    <a:pt x="0" y="0"/>
                    <a:pt x="0" y="0"/>
                    <a:pt x="0" y="29"/>
                  </a:cubicBezTo>
                  <a:cubicBezTo>
                    <a:pt x="29" y="29"/>
                    <a:pt x="29" y="29"/>
                    <a:pt x="29" y="29"/>
                  </a:cubicBezTo>
                  <a:lnTo>
                    <a:pt x="29" y="0"/>
                  </a:lnTo>
                  <a:lnTo>
                    <a:pt x="29" y="29"/>
                  </a:lnTo>
                  <a:cubicBezTo>
                    <a:pt x="29" y="29"/>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3" name="Freeform 351">
              <a:extLst>
                <a:ext uri="{FF2B5EF4-FFF2-40B4-BE49-F238E27FC236}">
                  <a16:creationId xmlns:a16="http://schemas.microsoft.com/office/drawing/2014/main" id="{25C0E61B-31BA-4EE4-9877-74BA17219F64}"/>
                </a:ext>
              </a:extLst>
            </p:cNvPr>
            <p:cNvSpPr>
              <a:spLocks noChangeArrowheads="1"/>
            </p:cNvSpPr>
            <p:nvPr/>
          </p:nvSpPr>
          <p:spPr bwMode="auto">
            <a:xfrm>
              <a:off x="3866800" y="3349982"/>
              <a:ext cx="11416" cy="1619"/>
            </a:xfrm>
            <a:custGeom>
              <a:avLst/>
              <a:gdLst>
                <a:gd name="T0" fmla="*/ 0 w 31"/>
                <a:gd name="T1" fmla="*/ 0 h 1"/>
                <a:gd name="T2" fmla="*/ 0 w 31"/>
                <a:gd name="T3" fmla="*/ 0 h 1"/>
                <a:gd name="T4" fmla="*/ 30 w 31"/>
                <a:gd name="T5" fmla="*/ 0 h 1"/>
                <a:gd name="T6" fmla="*/ 30 w 31"/>
                <a:gd name="T7" fmla="*/ 0 h 1"/>
                <a:gd name="T8" fmla="*/ 30 w 31"/>
                <a:gd name="T9" fmla="*/ 0 h 1"/>
                <a:gd name="T10" fmla="*/ 0 w 31"/>
                <a:gd name="T11" fmla="*/ 0 h 1"/>
              </a:gdLst>
              <a:ahLst/>
              <a:cxnLst>
                <a:cxn ang="0">
                  <a:pos x="T0" y="T1"/>
                </a:cxn>
                <a:cxn ang="0">
                  <a:pos x="T2" y="T3"/>
                </a:cxn>
                <a:cxn ang="0">
                  <a:pos x="T4" y="T5"/>
                </a:cxn>
                <a:cxn ang="0">
                  <a:pos x="T6" y="T7"/>
                </a:cxn>
                <a:cxn ang="0">
                  <a:pos x="T8" y="T9"/>
                </a:cxn>
                <a:cxn ang="0">
                  <a:pos x="T10" y="T11"/>
                </a:cxn>
              </a:cxnLst>
              <a:rect l="0" t="0" r="r" b="b"/>
              <a:pathLst>
                <a:path w="31" h="1">
                  <a:moveTo>
                    <a:pt x="0" y="0"/>
                  </a:moveTo>
                  <a:lnTo>
                    <a:pt x="0" y="0"/>
                  </a:lnTo>
                  <a:cubicBezTo>
                    <a:pt x="30" y="0"/>
                    <a:pt x="30" y="0"/>
                    <a:pt x="30" y="0"/>
                  </a:cubicBezTo>
                  <a:lnTo>
                    <a:pt x="30" y="0"/>
                  </a:lnTo>
                  <a:lnTo>
                    <a:pt x="30" y="0"/>
                  </a:ln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4" name="Freeform 352">
              <a:extLst>
                <a:ext uri="{FF2B5EF4-FFF2-40B4-BE49-F238E27FC236}">
                  <a16:creationId xmlns:a16="http://schemas.microsoft.com/office/drawing/2014/main" id="{541B4A8B-7DB6-43DB-BD46-BBCA727117A3}"/>
                </a:ext>
              </a:extLst>
            </p:cNvPr>
            <p:cNvSpPr>
              <a:spLocks noChangeArrowheads="1"/>
            </p:cNvSpPr>
            <p:nvPr/>
          </p:nvSpPr>
          <p:spPr bwMode="auto">
            <a:xfrm>
              <a:off x="3759164" y="2964822"/>
              <a:ext cx="21202" cy="64733"/>
            </a:xfrm>
            <a:custGeom>
              <a:avLst/>
              <a:gdLst>
                <a:gd name="T0" fmla="*/ 57 w 58"/>
                <a:gd name="T1" fmla="*/ 29 h 176"/>
                <a:gd name="T2" fmla="*/ 57 w 58"/>
                <a:gd name="T3" fmla="*/ 29 h 176"/>
                <a:gd name="T4" fmla="*/ 57 w 58"/>
                <a:gd name="T5" fmla="*/ 0 h 176"/>
                <a:gd name="T6" fmla="*/ 57 w 58"/>
                <a:gd name="T7" fmla="*/ 29 h 176"/>
                <a:gd name="T8" fmla="*/ 28 w 58"/>
                <a:gd name="T9" fmla="*/ 175 h 176"/>
                <a:gd name="T10" fmla="*/ 0 w 58"/>
                <a:gd name="T11" fmla="*/ 175 h 176"/>
                <a:gd name="T12" fmla="*/ 0 w 58"/>
                <a:gd name="T13" fmla="*/ 175 h 176"/>
                <a:gd name="T14" fmla="*/ 28 w 58"/>
                <a:gd name="T15" fmla="*/ 175 h 176"/>
                <a:gd name="T16" fmla="*/ 57 w 58"/>
                <a:gd name="T17" fmla="*/ 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76">
                  <a:moveTo>
                    <a:pt x="57" y="29"/>
                  </a:moveTo>
                  <a:lnTo>
                    <a:pt x="57" y="29"/>
                  </a:lnTo>
                  <a:cubicBezTo>
                    <a:pt x="57" y="0"/>
                    <a:pt x="57" y="0"/>
                    <a:pt x="57" y="0"/>
                  </a:cubicBezTo>
                  <a:cubicBezTo>
                    <a:pt x="57" y="0"/>
                    <a:pt x="57" y="0"/>
                    <a:pt x="57" y="29"/>
                  </a:cubicBezTo>
                  <a:cubicBezTo>
                    <a:pt x="57" y="88"/>
                    <a:pt x="28" y="146"/>
                    <a:pt x="28" y="175"/>
                  </a:cubicBezTo>
                  <a:cubicBezTo>
                    <a:pt x="0" y="175"/>
                    <a:pt x="0" y="175"/>
                    <a:pt x="0" y="175"/>
                  </a:cubicBezTo>
                  <a:lnTo>
                    <a:pt x="0" y="175"/>
                  </a:lnTo>
                  <a:cubicBezTo>
                    <a:pt x="28" y="175"/>
                    <a:pt x="28" y="175"/>
                    <a:pt x="28" y="175"/>
                  </a:cubicBezTo>
                  <a:cubicBezTo>
                    <a:pt x="28" y="146"/>
                    <a:pt x="57" y="88"/>
                    <a:pt x="57"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5" name="Freeform 353">
              <a:extLst>
                <a:ext uri="{FF2B5EF4-FFF2-40B4-BE49-F238E27FC236}">
                  <a16:creationId xmlns:a16="http://schemas.microsoft.com/office/drawing/2014/main" id="{9E560436-D9A1-408B-8622-647011ABB08D}"/>
                </a:ext>
              </a:extLst>
            </p:cNvPr>
            <p:cNvSpPr>
              <a:spLocks noChangeArrowheads="1"/>
            </p:cNvSpPr>
            <p:nvPr/>
          </p:nvSpPr>
          <p:spPr bwMode="auto">
            <a:xfrm>
              <a:off x="3834183" y="2901708"/>
              <a:ext cx="1631" cy="11328"/>
            </a:xfrm>
            <a:custGeom>
              <a:avLst/>
              <a:gdLst>
                <a:gd name="T0" fmla="*/ 0 w 1"/>
                <a:gd name="T1" fmla="*/ 0 h 30"/>
                <a:gd name="T2" fmla="*/ 0 w 1"/>
                <a:gd name="T3" fmla="*/ 0 h 30"/>
                <a:gd name="T4" fmla="*/ 0 w 1"/>
                <a:gd name="T5" fmla="*/ 0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6" name="Freeform 354">
              <a:extLst>
                <a:ext uri="{FF2B5EF4-FFF2-40B4-BE49-F238E27FC236}">
                  <a16:creationId xmlns:a16="http://schemas.microsoft.com/office/drawing/2014/main" id="{136D1CBA-CA3F-4CAB-8D74-23F63C7A009D}"/>
                </a:ext>
              </a:extLst>
            </p:cNvPr>
            <p:cNvSpPr>
              <a:spLocks noChangeArrowheads="1"/>
            </p:cNvSpPr>
            <p:nvPr/>
          </p:nvSpPr>
          <p:spPr bwMode="auto">
            <a:xfrm>
              <a:off x="3834183" y="2922745"/>
              <a:ext cx="1631" cy="11329"/>
            </a:xfrm>
            <a:custGeom>
              <a:avLst/>
              <a:gdLst>
                <a:gd name="T0" fmla="*/ 0 w 1"/>
                <a:gd name="T1" fmla="*/ 28 h 29"/>
                <a:gd name="T2" fmla="*/ 0 w 1"/>
                <a:gd name="T3" fmla="*/ 28 h 29"/>
                <a:gd name="T4" fmla="*/ 0 w 1"/>
                <a:gd name="T5" fmla="*/ 28 h 29"/>
                <a:gd name="T6" fmla="*/ 0 w 1"/>
                <a:gd name="T7" fmla="*/ 0 h 29"/>
                <a:gd name="T8" fmla="*/ 0 w 1"/>
                <a:gd name="T9" fmla="*/ 28 h 29"/>
              </a:gdLst>
              <a:ahLst/>
              <a:cxnLst>
                <a:cxn ang="0">
                  <a:pos x="T0" y="T1"/>
                </a:cxn>
                <a:cxn ang="0">
                  <a:pos x="T2" y="T3"/>
                </a:cxn>
                <a:cxn ang="0">
                  <a:pos x="T4" y="T5"/>
                </a:cxn>
                <a:cxn ang="0">
                  <a:pos x="T6" y="T7"/>
                </a:cxn>
                <a:cxn ang="0">
                  <a:pos x="T8" y="T9"/>
                </a:cxn>
              </a:cxnLst>
              <a:rect l="0" t="0" r="r" b="b"/>
              <a:pathLst>
                <a:path w="1" h="29">
                  <a:moveTo>
                    <a:pt x="0" y="28"/>
                  </a:moveTo>
                  <a:lnTo>
                    <a:pt x="0" y="28"/>
                  </a:lnTo>
                  <a:lnTo>
                    <a:pt x="0" y="28"/>
                  </a:lnTo>
                  <a:lnTo>
                    <a:pt x="0" y="0"/>
                  </a:lnTo>
                  <a:lnTo>
                    <a:pt x="0" y="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7" name="Freeform 355">
              <a:extLst>
                <a:ext uri="{FF2B5EF4-FFF2-40B4-BE49-F238E27FC236}">
                  <a16:creationId xmlns:a16="http://schemas.microsoft.com/office/drawing/2014/main" id="{D100020E-8C4A-41E1-9872-BEC71DDE87BA}"/>
                </a:ext>
              </a:extLst>
            </p:cNvPr>
            <p:cNvSpPr>
              <a:spLocks noChangeArrowheads="1"/>
            </p:cNvSpPr>
            <p:nvPr/>
          </p:nvSpPr>
          <p:spPr bwMode="auto">
            <a:xfrm>
              <a:off x="3791781" y="3157402"/>
              <a:ext cx="11416" cy="21038"/>
            </a:xfrm>
            <a:custGeom>
              <a:avLst/>
              <a:gdLst>
                <a:gd name="T0" fmla="*/ 29 w 30"/>
                <a:gd name="T1" fmla="*/ 0 h 58"/>
                <a:gd name="T2" fmla="*/ 29 w 30"/>
                <a:gd name="T3" fmla="*/ 0 h 58"/>
                <a:gd name="T4" fmla="*/ 0 w 30"/>
                <a:gd name="T5" fmla="*/ 57 h 58"/>
                <a:gd name="T6" fmla="*/ 29 w 30"/>
                <a:gd name="T7" fmla="*/ 0 h 58"/>
              </a:gdLst>
              <a:ahLst/>
              <a:cxnLst>
                <a:cxn ang="0">
                  <a:pos x="T0" y="T1"/>
                </a:cxn>
                <a:cxn ang="0">
                  <a:pos x="T2" y="T3"/>
                </a:cxn>
                <a:cxn ang="0">
                  <a:pos x="T4" y="T5"/>
                </a:cxn>
                <a:cxn ang="0">
                  <a:pos x="T6" y="T7"/>
                </a:cxn>
              </a:cxnLst>
              <a:rect l="0" t="0" r="r" b="b"/>
              <a:pathLst>
                <a:path w="30" h="58">
                  <a:moveTo>
                    <a:pt x="29" y="0"/>
                  </a:moveTo>
                  <a:lnTo>
                    <a:pt x="29" y="0"/>
                  </a:lnTo>
                  <a:cubicBezTo>
                    <a:pt x="0" y="29"/>
                    <a:pt x="0" y="29"/>
                    <a:pt x="0" y="57"/>
                  </a:cubicBezTo>
                  <a:cubicBezTo>
                    <a:pt x="0" y="29"/>
                    <a:pt x="0"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8" name="Freeform 356">
              <a:extLst>
                <a:ext uri="{FF2B5EF4-FFF2-40B4-BE49-F238E27FC236}">
                  <a16:creationId xmlns:a16="http://schemas.microsoft.com/office/drawing/2014/main" id="{173E22D2-D413-49D4-B01B-FF9C3279B698}"/>
                </a:ext>
              </a:extLst>
            </p:cNvPr>
            <p:cNvSpPr>
              <a:spLocks noChangeArrowheads="1"/>
            </p:cNvSpPr>
            <p:nvPr/>
          </p:nvSpPr>
          <p:spPr bwMode="auto">
            <a:xfrm>
              <a:off x="3834183" y="2976151"/>
              <a:ext cx="11416" cy="32366"/>
            </a:xfrm>
            <a:custGeom>
              <a:avLst/>
              <a:gdLst>
                <a:gd name="T0" fmla="*/ 0 w 30"/>
                <a:gd name="T1" fmla="*/ 0 h 89"/>
                <a:gd name="T2" fmla="*/ 0 w 30"/>
                <a:gd name="T3" fmla="*/ 0 h 89"/>
                <a:gd name="T4" fmla="*/ 0 w 30"/>
                <a:gd name="T5" fmla="*/ 30 h 89"/>
                <a:gd name="T6" fmla="*/ 29 w 30"/>
                <a:gd name="T7" fmla="*/ 88 h 89"/>
                <a:gd name="T8" fmla="*/ 0 w 30"/>
                <a:gd name="T9" fmla="*/ 30 h 89"/>
                <a:gd name="T10" fmla="*/ 0 w 30"/>
                <a:gd name="T11" fmla="*/ 0 h 89"/>
              </a:gdLst>
              <a:ahLst/>
              <a:cxnLst>
                <a:cxn ang="0">
                  <a:pos x="T0" y="T1"/>
                </a:cxn>
                <a:cxn ang="0">
                  <a:pos x="T2" y="T3"/>
                </a:cxn>
                <a:cxn ang="0">
                  <a:pos x="T4" y="T5"/>
                </a:cxn>
                <a:cxn ang="0">
                  <a:pos x="T6" y="T7"/>
                </a:cxn>
                <a:cxn ang="0">
                  <a:pos x="T8" y="T9"/>
                </a:cxn>
                <a:cxn ang="0">
                  <a:pos x="T10" y="T11"/>
                </a:cxn>
              </a:cxnLst>
              <a:rect l="0" t="0" r="r" b="b"/>
              <a:pathLst>
                <a:path w="30" h="89">
                  <a:moveTo>
                    <a:pt x="0" y="0"/>
                  </a:moveTo>
                  <a:lnTo>
                    <a:pt x="0" y="0"/>
                  </a:lnTo>
                  <a:lnTo>
                    <a:pt x="0" y="30"/>
                  </a:lnTo>
                  <a:cubicBezTo>
                    <a:pt x="0" y="59"/>
                    <a:pt x="0" y="59"/>
                    <a:pt x="29" y="88"/>
                  </a:cubicBezTo>
                  <a:cubicBezTo>
                    <a:pt x="0" y="59"/>
                    <a:pt x="0" y="59"/>
                    <a:pt x="0" y="3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9" name="Freeform 357">
              <a:extLst>
                <a:ext uri="{FF2B5EF4-FFF2-40B4-BE49-F238E27FC236}">
                  <a16:creationId xmlns:a16="http://schemas.microsoft.com/office/drawing/2014/main" id="{AE233C40-C25B-49BB-9A0C-FF57F168FCAB}"/>
                </a:ext>
              </a:extLst>
            </p:cNvPr>
            <p:cNvSpPr>
              <a:spLocks noChangeArrowheads="1"/>
            </p:cNvSpPr>
            <p:nvPr/>
          </p:nvSpPr>
          <p:spPr bwMode="auto">
            <a:xfrm>
              <a:off x="9313824" y="1927479"/>
              <a:ext cx="11416" cy="11328"/>
            </a:xfrm>
            <a:custGeom>
              <a:avLst/>
              <a:gdLst>
                <a:gd name="T0" fmla="*/ 29 w 30"/>
                <a:gd name="T1" fmla="*/ 29 h 30"/>
                <a:gd name="T2" fmla="*/ 29 w 30"/>
                <a:gd name="T3" fmla="*/ 29 h 30"/>
                <a:gd name="T4" fmla="*/ 29 w 30"/>
                <a:gd name="T5" fmla="*/ 29 h 30"/>
                <a:gd name="T6" fmla="*/ 29 w 30"/>
                <a:gd name="T7" fmla="*/ 0 h 30"/>
                <a:gd name="T8" fmla="*/ 29 w 30"/>
                <a:gd name="T9" fmla="*/ 0 h 30"/>
                <a:gd name="T10" fmla="*/ 0 w 30"/>
                <a:gd name="T11" fmla="*/ 29 h 30"/>
                <a:gd name="T12" fmla="*/ 29 w 30"/>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29" y="29"/>
                  </a:moveTo>
                  <a:lnTo>
                    <a:pt x="29" y="29"/>
                  </a:lnTo>
                  <a:lnTo>
                    <a:pt x="29" y="29"/>
                  </a:lnTo>
                  <a:cubicBezTo>
                    <a:pt x="29" y="29"/>
                    <a:pt x="29" y="29"/>
                    <a:pt x="29" y="0"/>
                  </a:cubicBezTo>
                  <a:lnTo>
                    <a:pt x="29" y="0"/>
                  </a:lnTo>
                  <a:cubicBezTo>
                    <a:pt x="29" y="0"/>
                    <a:pt x="0" y="0"/>
                    <a:pt x="0" y="29"/>
                  </a:cubicBez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0" name="Freeform 358">
              <a:extLst>
                <a:ext uri="{FF2B5EF4-FFF2-40B4-BE49-F238E27FC236}">
                  <a16:creationId xmlns:a16="http://schemas.microsoft.com/office/drawing/2014/main" id="{A7F2108D-87B3-48B9-BC5D-8E7A69D2B87E}"/>
                </a:ext>
              </a:extLst>
            </p:cNvPr>
            <p:cNvSpPr>
              <a:spLocks noChangeArrowheads="1"/>
            </p:cNvSpPr>
            <p:nvPr/>
          </p:nvSpPr>
          <p:spPr bwMode="auto">
            <a:xfrm>
              <a:off x="8762598" y="1841708"/>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1" name="Freeform 359">
              <a:extLst>
                <a:ext uri="{FF2B5EF4-FFF2-40B4-BE49-F238E27FC236}">
                  <a16:creationId xmlns:a16="http://schemas.microsoft.com/office/drawing/2014/main" id="{D2FDB7AB-883C-4556-8EC0-32632A1D2121}"/>
                </a:ext>
              </a:extLst>
            </p:cNvPr>
            <p:cNvSpPr>
              <a:spLocks noChangeArrowheads="1"/>
            </p:cNvSpPr>
            <p:nvPr/>
          </p:nvSpPr>
          <p:spPr bwMode="auto">
            <a:xfrm>
              <a:off x="8774014" y="1851418"/>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2" name="Freeform 360">
              <a:extLst>
                <a:ext uri="{FF2B5EF4-FFF2-40B4-BE49-F238E27FC236}">
                  <a16:creationId xmlns:a16="http://schemas.microsoft.com/office/drawing/2014/main" id="{9A1E7FEE-FD81-43D9-9153-F2A71C16F091}"/>
                </a:ext>
              </a:extLst>
            </p:cNvPr>
            <p:cNvSpPr>
              <a:spLocks noChangeArrowheads="1"/>
            </p:cNvSpPr>
            <p:nvPr/>
          </p:nvSpPr>
          <p:spPr bwMode="auto">
            <a:xfrm>
              <a:off x="8741397" y="1830380"/>
              <a:ext cx="11415" cy="1618"/>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30" y="0"/>
                    <a:pt x="30" y="0"/>
                    <a:pt x="0" y="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3" name="Freeform 361">
              <a:extLst>
                <a:ext uri="{FF2B5EF4-FFF2-40B4-BE49-F238E27FC236}">
                  <a16:creationId xmlns:a16="http://schemas.microsoft.com/office/drawing/2014/main" id="{4727647F-A13E-4E06-B75F-FE28D4EE08B2}"/>
                </a:ext>
              </a:extLst>
            </p:cNvPr>
            <p:cNvSpPr>
              <a:spLocks noChangeArrowheads="1"/>
            </p:cNvSpPr>
            <p:nvPr/>
          </p:nvSpPr>
          <p:spPr bwMode="auto">
            <a:xfrm>
              <a:off x="8729981" y="1830380"/>
              <a:ext cx="11416"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4" name="Freeform 362">
              <a:extLst>
                <a:ext uri="{FF2B5EF4-FFF2-40B4-BE49-F238E27FC236}">
                  <a16:creationId xmlns:a16="http://schemas.microsoft.com/office/drawing/2014/main" id="{6B255844-1AF2-43DE-BCC6-0FE491E02321}"/>
                </a:ext>
              </a:extLst>
            </p:cNvPr>
            <p:cNvSpPr>
              <a:spLocks noChangeArrowheads="1"/>
            </p:cNvSpPr>
            <p:nvPr/>
          </p:nvSpPr>
          <p:spPr bwMode="auto">
            <a:xfrm>
              <a:off x="8783799" y="1851418"/>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5" name="Freeform 363">
              <a:extLst>
                <a:ext uri="{FF2B5EF4-FFF2-40B4-BE49-F238E27FC236}">
                  <a16:creationId xmlns:a16="http://schemas.microsoft.com/office/drawing/2014/main" id="{681D7B56-A3F5-4D10-9F91-C589D505F8F2}"/>
                </a:ext>
              </a:extLst>
            </p:cNvPr>
            <p:cNvSpPr>
              <a:spLocks noChangeArrowheads="1"/>
            </p:cNvSpPr>
            <p:nvPr/>
          </p:nvSpPr>
          <p:spPr bwMode="auto">
            <a:xfrm>
              <a:off x="8752813" y="1841708"/>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6" name="Freeform 364">
              <a:extLst>
                <a:ext uri="{FF2B5EF4-FFF2-40B4-BE49-F238E27FC236}">
                  <a16:creationId xmlns:a16="http://schemas.microsoft.com/office/drawing/2014/main" id="{D324DB5D-F1FC-43CB-974E-D5FC78DB95BA}"/>
                </a:ext>
              </a:extLst>
            </p:cNvPr>
            <p:cNvSpPr>
              <a:spLocks noChangeArrowheads="1"/>
            </p:cNvSpPr>
            <p:nvPr/>
          </p:nvSpPr>
          <p:spPr bwMode="auto">
            <a:xfrm>
              <a:off x="9064305" y="1798014"/>
              <a:ext cx="32617" cy="21038"/>
            </a:xfrm>
            <a:custGeom>
              <a:avLst/>
              <a:gdLst>
                <a:gd name="T0" fmla="*/ 57 w 88"/>
                <a:gd name="T1" fmla="*/ 29 h 59"/>
                <a:gd name="T2" fmla="*/ 57 w 88"/>
                <a:gd name="T3" fmla="*/ 29 h 59"/>
                <a:gd name="T4" fmla="*/ 87 w 88"/>
                <a:gd name="T5" fmla="*/ 0 h 59"/>
                <a:gd name="T6" fmla="*/ 57 w 88"/>
                <a:gd name="T7" fmla="*/ 29 h 59"/>
                <a:gd name="T8" fmla="*/ 28 w 88"/>
                <a:gd name="T9" fmla="*/ 58 h 59"/>
                <a:gd name="T10" fmla="*/ 0 w 88"/>
                <a:gd name="T11" fmla="*/ 58 h 59"/>
                <a:gd name="T12" fmla="*/ 28 w 88"/>
                <a:gd name="T13" fmla="*/ 58 h 59"/>
                <a:gd name="T14" fmla="*/ 57 w 88"/>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59">
                  <a:moveTo>
                    <a:pt x="57" y="29"/>
                  </a:moveTo>
                  <a:lnTo>
                    <a:pt x="57" y="29"/>
                  </a:lnTo>
                  <a:lnTo>
                    <a:pt x="87" y="0"/>
                  </a:lnTo>
                  <a:lnTo>
                    <a:pt x="57" y="29"/>
                  </a:lnTo>
                  <a:cubicBezTo>
                    <a:pt x="57" y="29"/>
                    <a:pt x="28" y="29"/>
                    <a:pt x="28" y="58"/>
                  </a:cubicBezTo>
                  <a:lnTo>
                    <a:pt x="0" y="58"/>
                  </a:lnTo>
                  <a:lnTo>
                    <a:pt x="28" y="58"/>
                  </a:lnTo>
                  <a:cubicBezTo>
                    <a:pt x="28" y="29"/>
                    <a:pt x="57" y="29"/>
                    <a:pt x="57"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7" name="Freeform 365">
              <a:extLst>
                <a:ext uri="{FF2B5EF4-FFF2-40B4-BE49-F238E27FC236}">
                  <a16:creationId xmlns:a16="http://schemas.microsoft.com/office/drawing/2014/main" id="{37A977F3-2256-4A91-9586-2F43D886E51D}"/>
                </a:ext>
              </a:extLst>
            </p:cNvPr>
            <p:cNvSpPr>
              <a:spLocks noChangeArrowheads="1"/>
            </p:cNvSpPr>
            <p:nvPr/>
          </p:nvSpPr>
          <p:spPr bwMode="auto">
            <a:xfrm>
              <a:off x="8720196" y="1830380"/>
              <a:ext cx="11416"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8" name="Freeform 366">
              <a:extLst>
                <a:ext uri="{FF2B5EF4-FFF2-40B4-BE49-F238E27FC236}">
                  <a16:creationId xmlns:a16="http://schemas.microsoft.com/office/drawing/2014/main" id="{8CC24313-717B-4B33-A813-8864A39FAD45}"/>
                </a:ext>
              </a:extLst>
            </p:cNvPr>
            <p:cNvSpPr>
              <a:spLocks noChangeArrowheads="1"/>
            </p:cNvSpPr>
            <p:nvPr/>
          </p:nvSpPr>
          <p:spPr bwMode="auto">
            <a:xfrm>
              <a:off x="9398628" y="2270563"/>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89" name="Freeform 367">
              <a:extLst>
                <a:ext uri="{FF2B5EF4-FFF2-40B4-BE49-F238E27FC236}">
                  <a16:creationId xmlns:a16="http://schemas.microsoft.com/office/drawing/2014/main" id="{683CE1B0-C183-4F5A-BAB2-714247DCB7D1}"/>
                </a:ext>
              </a:extLst>
            </p:cNvPr>
            <p:cNvSpPr>
              <a:spLocks noChangeArrowheads="1"/>
            </p:cNvSpPr>
            <p:nvPr/>
          </p:nvSpPr>
          <p:spPr bwMode="auto">
            <a:xfrm>
              <a:off x="4201124" y="3767509"/>
              <a:ext cx="11415" cy="11329"/>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29" y="0"/>
                    <a:pt x="29" y="29"/>
                    <a:pt x="29" y="29"/>
                  </a:cubicBezTo>
                  <a:cubicBezTo>
                    <a:pt x="29"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0" name="Freeform 368">
              <a:extLst>
                <a:ext uri="{FF2B5EF4-FFF2-40B4-BE49-F238E27FC236}">
                  <a16:creationId xmlns:a16="http://schemas.microsoft.com/office/drawing/2014/main" id="{7A3CED35-385B-436B-BD54-569417D6AD21}"/>
                </a:ext>
              </a:extLst>
            </p:cNvPr>
            <p:cNvSpPr>
              <a:spLocks noChangeArrowheads="1"/>
            </p:cNvSpPr>
            <p:nvPr/>
          </p:nvSpPr>
          <p:spPr bwMode="auto">
            <a:xfrm>
              <a:off x="8989286" y="1990593"/>
              <a:ext cx="593628" cy="760610"/>
            </a:xfrm>
            <a:custGeom>
              <a:avLst/>
              <a:gdLst>
                <a:gd name="T0" fmla="*/ 962 w 1605"/>
                <a:gd name="T1" fmla="*/ 175 h 2071"/>
                <a:gd name="T2" fmla="*/ 905 w 1605"/>
                <a:gd name="T3" fmla="*/ 146 h 2071"/>
                <a:gd name="T4" fmla="*/ 788 w 1605"/>
                <a:gd name="T5" fmla="*/ 117 h 2071"/>
                <a:gd name="T6" fmla="*/ 642 w 1605"/>
                <a:gd name="T7" fmla="*/ 59 h 2071"/>
                <a:gd name="T8" fmla="*/ 526 w 1605"/>
                <a:gd name="T9" fmla="*/ 30 h 2071"/>
                <a:gd name="T10" fmla="*/ 496 w 1605"/>
                <a:gd name="T11" fmla="*/ 88 h 2071"/>
                <a:gd name="T12" fmla="*/ 526 w 1605"/>
                <a:gd name="T13" fmla="*/ 175 h 2071"/>
                <a:gd name="T14" fmla="*/ 409 w 1605"/>
                <a:gd name="T15" fmla="*/ 292 h 2071"/>
                <a:gd name="T16" fmla="*/ 438 w 1605"/>
                <a:gd name="T17" fmla="*/ 380 h 2071"/>
                <a:gd name="T18" fmla="*/ 350 w 1605"/>
                <a:gd name="T19" fmla="*/ 554 h 2071"/>
                <a:gd name="T20" fmla="*/ 321 w 1605"/>
                <a:gd name="T21" fmla="*/ 525 h 2071"/>
                <a:gd name="T22" fmla="*/ 262 w 1605"/>
                <a:gd name="T23" fmla="*/ 496 h 2071"/>
                <a:gd name="T24" fmla="*/ 262 w 1605"/>
                <a:gd name="T25" fmla="*/ 409 h 2071"/>
                <a:gd name="T26" fmla="*/ 205 w 1605"/>
                <a:gd name="T27" fmla="*/ 467 h 2071"/>
                <a:gd name="T28" fmla="*/ 88 w 1605"/>
                <a:gd name="T29" fmla="*/ 583 h 2071"/>
                <a:gd name="T30" fmla="*/ 59 w 1605"/>
                <a:gd name="T31" fmla="*/ 700 h 2071"/>
                <a:gd name="T32" fmla="*/ 29 w 1605"/>
                <a:gd name="T33" fmla="*/ 903 h 2071"/>
                <a:gd name="T34" fmla="*/ 29 w 1605"/>
                <a:gd name="T35" fmla="*/ 1020 h 2071"/>
                <a:gd name="T36" fmla="*/ 29 w 1605"/>
                <a:gd name="T37" fmla="*/ 1079 h 2071"/>
                <a:gd name="T38" fmla="*/ 117 w 1605"/>
                <a:gd name="T39" fmla="*/ 1282 h 2071"/>
                <a:gd name="T40" fmla="*/ 176 w 1605"/>
                <a:gd name="T41" fmla="*/ 1399 h 2071"/>
                <a:gd name="T42" fmla="*/ 176 w 1605"/>
                <a:gd name="T43" fmla="*/ 1545 h 2071"/>
                <a:gd name="T44" fmla="*/ 29 w 1605"/>
                <a:gd name="T45" fmla="*/ 2012 h 2071"/>
                <a:gd name="T46" fmla="*/ 759 w 1605"/>
                <a:gd name="T47" fmla="*/ 2012 h 2071"/>
                <a:gd name="T48" fmla="*/ 846 w 1605"/>
                <a:gd name="T49" fmla="*/ 2012 h 2071"/>
                <a:gd name="T50" fmla="*/ 1400 w 1605"/>
                <a:gd name="T51" fmla="*/ 1924 h 2071"/>
                <a:gd name="T52" fmla="*/ 1459 w 1605"/>
                <a:gd name="T53" fmla="*/ 1837 h 2071"/>
                <a:gd name="T54" fmla="*/ 1488 w 1605"/>
                <a:gd name="T55" fmla="*/ 1720 h 2071"/>
                <a:gd name="T56" fmla="*/ 1488 w 1605"/>
                <a:gd name="T57" fmla="*/ 1603 h 2071"/>
                <a:gd name="T58" fmla="*/ 1517 w 1605"/>
                <a:gd name="T59" fmla="*/ 1516 h 2071"/>
                <a:gd name="T60" fmla="*/ 1576 w 1605"/>
                <a:gd name="T61" fmla="*/ 1516 h 2071"/>
                <a:gd name="T62" fmla="*/ 1576 w 1605"/>
                <a:gd name="T63" fmla="*/ 1341 h 2071"/>
                <a:gd name="T64" fmla="*/ 1546 w 1605"/>
                <a:gd name="T65" fmla="*/ 1282 h 2071"/>
                <a:gd name="T66" fmla="*/ 1546 w 1605"/>
                <a:gd name="T67" fmla="*/ 1224 h 2071"/>
                <a:gd name="T68" fmla="*/ 1342 w 1605"/>
                <a:gd name="T69" fmla="*/ 817 h 2071"/>
                <a:gd name="T70" fmla="*/ 1254 w 1605"/>
                <a:gd name="T71" fmla="*/ 903 h 2071"/>
                <a:gd name="T72" fmla="*/ 1196 w 1605"/>
                <a:gd name="T73" fmla="*/ 874 h 2071"/>
                <a:gd name="T74" fmla="*/ 1138 w 1605"/>
                <a:gd name="T75" fmla="*/ 1020 h 2071"/>
                <a:gd name="T76" fmla="*/ 1079 w 1605"/>
                <a:gd name="T77" fmla="*/ 1079 h 2071"/>
                <a:gd name="T78" fmla="*/ 933 w 1605"/>
                <a:gd name="T79" fmla="*/ 903 h 2071"/>
                <a:gd name="T80" fmla="*/ 1021 w 1605"/>
                <a:gd name="T81" fmla="*/ 817 h 2071"/>
                <a:gd name="T82" fmla="*/ 1050 w 1605"/>
                <a:gd name="T83" fmla="*/ 788 h 2071"/>
                <a:gd name="T84" fmla="*/ 1079 w 1605"/>
                <a:gd name="T85" fmla="*/ 671 h 2071"/>
                <a:gd name="T86" fmla="*/ 1079 w 1605"/>
                <a:gd name="T87" fmla="*/ 438 h 2071"/>
                <a:gd name="T88" fmla="*/ 1050 w 1605"/>
                <a:gd name="T89" fmla="*/ 292 h 2071"/>
                <a:gd name="T90" fmla="*/ 1050 w 1605"/>
                <a:gd name="T91" fmla="*/ 263 h 2071"/>
                <a:gd name="T92" fmla="*/ 1079 w 1605"/>
                <a:gd name="T93" fmla="*/ 263 h 2071"/>
                <a:gd name="T94" fmla="*/ 962 w 1605"/>
                <a:gd name="T95" fmla="*/ 175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5" h="2071">
                  <a:moveTo>
                    <a:pt x="962" y="175"/>
                  </a:moveTo>
                  <a:lnTo>
                    <a:pt x="962" y="175"/>
                  </a:lnTo>
                  <a:lnTo>
                    <a:pt x="962" y="175"/>
                  </a:lnTo>
                  <a:cubicBezTo>
                    <a:pt x="933" y="175"/>
                    <a:pt x="905" y="175"/>
                    <a:pt x="905" y="146"/>
                  </a:cubicBezTo>
                  <a:cubicBezTo>
                    <a:pt x="876" y="146"/>
                    <a:pt x="876" y="146"/>
                    <a:pt x="846" y="117"/>
                  </a:cubicBezTo>
                  <a:cubicBezTo>
                    <a:pt x="846" y="117"/>
                    <a:pt x="817" y="117"/>
                    <a:pt x="788" y="117"/>
                  </a:cubicBezTo>
                  <a:cubicBezTo>
                    <a:pt x="759" y="117"/>
                    <a:pt x="729" y="117"/>
                    <a:pt x="700" y="117"/>
                  </a:cubicBezTo>
                  <a:cubicBezTo>
                    <a:pt x="671" y="88"/>
                    <a:pt x="671" y="59"/>
                    <a:pt x="642" y="59"/>
                  </a:cubicBezTo>
                  <a:cubicBezTo>
                    <a:pt x="642" y="30"/>
                    <a:pt x="612" y="30"/>
                    <a:pt x="583" y="0"/>
                  </a:cubicBezTo>
                  <a:cubicBezTo>
                    <a:pt x="583" y="30"/>
                    <a:pt x="555" y="30"/>
                    <a:pt x="526" y="30"/>
                  </a:cubicBezTo>
                  <a:lnTo>
                    <a:pt x="526" y="59"/>
                  </a:lnTo>
                  <a:cubicBezTo>
                    <a:pt x="496" y="88"/>
                    <a:pt x="496" y="88"/>
                    <a:pt x="496" y="88"/>
                  </a:cubicBezTo>
                  <a:cubicBezTo>
                    <a:pt x="496" y="117"/>
                    <a:pt x="496" y="117"/>
                    <a:pt x="526" y="117"/>
                  </a:cubicBezTo>
                  <a:cubicBezTo>
                    <a:pt x="526" y="146"/>
                    <a:pt x="526" y="146"/>
                    <a:pt x="526" y="175"/>
                  </a:cubicBezTo>
                  <a:cubicBezTo>
                    <a:pt x="526" y="204"/>
                    <a:pt x="496" y="233"/>
                    <a:pt x="467" y="233"/>
                  </a:cubicBezTo>
                  <a:cubicBezTo>
                    <a:pt x="438" y="263"/>
                    <a:pt x="409" y="263"/>
                    <a:pt x="409" y="292"/>
                  </a:cubicBezTo>
                  <a:cubicBezTo>
                    <a:pt x="409" y="292"/>
                    <a:pt x="409" y="321"/>
                    <a:pt x="409" y="350"/>
                  </a:cubicBezTo>
                  <a:lnTo>
                    <a:pt x="438" y="380"/>
                  </a:lnTo>
                  <a:cubicBezTo>
                    <a:pt x="438" y="467"/>
                    <a:pt x="409" y="496"/>
                    <a:pt x="350" y="525"/>
                  </a:cubicBezTo>
                  <a:cubicBezTo>
                    <a:pt x="350" y="554"/>
                    <a:pt x="350" y="554"/>
                    <a:pt x="350" y="554"/>
                  </a:cubicBezTo>
                  <a:cubicBezTo>
                    <a:pt x="321" y="525"/>
                    <a:pt x="321" y="525"/>
                    <a:pt x="321" y="525"/>
                  </a:cubicBezTo>
                  <a:lnTo>
                    <a:pt x="321" y="525"/>
                  </a:lnTo>
                  <a:cubicBezTo>
                    <a:pt x="292" y="525"/>
                    <a:pt x="292" y="496"/>
                    <a:pt x="262" y="496"/>
                  </a:cubicBezTo>
                  <a:lnTo>
                    <a:pt x="262" y="496"/>
                  </a:lnTo>
                  <a:lnTo>
                    <a:pt x="262" y="496"/>
                  </a:lnTo>
                  <a:cubicBezTo>
                    <a:pt x="262" y="467"/>
                    <a:pt x="262" y="438"/>
                    <a:pt x="262" y="409"/>
                  </a:cubicBezTo>
                  <a:lnTo>
                    <a:pt x="262" y="409"/>
                  </a:lnTo>
                  <a:cubicBezTo>
                    <a:pt x="233" y="438"/>
                    <a:pt x="233" y="438"/>
                    <a:pt x="205" y="467"/>
                  </a:cubicBezTo>
                  <a:cubicBezTo>
                    <a:pt x="205" y="496"/>
                    <a:pt x="176" y="525"/>
                    <a:pt x="146" y="554"/>
                  </a:cubicBezTo>
                  <a:cubicBezTo>
                    <a:pt x="117" y="583"/>
                    <a:pt x="117" y="583"/>
                    <a:pt x="88" y="583"/>
                  </a:cubicBezTo>
                  <a:cubicBezTo>
                    <a:pt x="88" y="583"/>
                    <a:pt x="29" y="613"/>
                    <a:pt x="29" y="642"/>
                  </a:cubicBezTo>
                  <a:cubicBezTo>
                    <a:pt x="29" y="642"/>
                    <a:pt x="29" y="671"/>
                    <a:pt x="59" y="700"/>
                  </a:cubicBezTo>
                  <a:lnTo>
                    <a:pt x="59" y="730"/>
                  </a:lnTo>
                  <a:cubicBezTo>
                    <a:pt x="88" y="817"/>
                    <a:pt x="59" y="874"/>
                    <a:pt x="29" y="903"/>
                  </a:cubicBezTo>
                  <a:cubicBezTo>
                    <a:pt x="29" y="932"/>
                    <a:pt x="29" y="962"/>
                    <a:pt x="29" y="991"/>
                  </a:cubicBezTo>
                  <a:lnTo>
                    <a:pt x="29" y="1020"/>
                  </a:lnTo>
                  <a:lnTo>
                    <a:pt x="29" y="1049"/>
                  </a:lnTo>
                  <a:cubicBezTo>
                    <a:pt x="29" y="1079"/>
                    <a:pt x="29" y="1079"/>
                    <a:pt x="29" y="1079"/>
                  </a:cubicBezTo>
                  <a:cubicBezTo>
                    <a:pt x="29" y="1108"/>
                    <a:pt x="29" y="1108"/>
                    <a:pt x="29" y="1108"/>
                  </a:cubicBezTo>
                  <a:cubicBezTo>
                    <a:pt x="29" y="1195"/>
                    <a:pt x="88" y="1224"/>
                    <a:pt x="117" y="1282"/>
                  </a:cubicBezTo>
                  <a:cubicBezTo>
                    <a:pt x="146" y="1312"/>
                    <a:pt x="176" y="1341"/>
                    <a:pt x="176" y="1399"/>
                  </a:cubicBezTo>
                  <a:lnTo>
                    <a:pt x="176" y="1399"/>
                  </a:lnTo>
                  <a:lnTo>
                    <a:pt x="176" y="1399"/>
                  </a:lnTo>
                  <a:cubicBezTo>
                    <a:pt x="176" y="1458"/>
                    <a:pt x="176" y="1487"/>
                    <a:pt x="176" y="1545"/>
                  </a:cubicBezTo>
                  <a:cubicBezTo>
                    <a:pt x="176" y="1662"/>
                    <a:pt x="176" y="1779"/>
                    <a:pt x="117" y="1895"/>
                  </a:cubicBezTo>
                  <a:cubicBezTo>
                    <a:pt x="117" y="1953"/>
                    <a:pt x="59" y="1982"/>
                    <a:pt x="29" y="2012"/>
                  </a:cubicBezTo>
                  <a:cubicBezTo>
                    <a:pt x="29" y="2041"/>
                    <a:pt x="0" y="2041"/>
                    <a:pt x="0" y="2070"/>
                  </a:cubicBezTo>
                  <a:cubicBezTo>
                    <a:pt x="233" y="2041"/>
                    <a:pt x="496" y="2012"/>
                    <a:pt x="759" y="2012"/>
                  </a:cubicBezTo>
                  <a:cubicBezTo>
                    <a:pt x="759" y="2012"/>
                    <a:pt x="788" y="2012"/>
                    <a:pt x="788" y="2041"/>
                  </a:cubicBezTo>
                  <a:cubicBezTo>
                    <a:pt x="846" y="2012"/>
                    <a:pt x="846" y="2012"/>
                    <a:pt x="846" y="2012"/>
                  </a:cubicBezTo>
                  <a:cubicBezTo>
                    <a:pt x="1021" y="2012"/>
                    <a:pt x="1196" y="1982"/>
                    <a:pt x="1371" y="1982"/>
                  </a:cubicBezTo>
                  <a:cubicBezTo>
                    <a:pt x="1371" y="1953"/>
                    <a:pt x="1400" y="1924"/>
                    <a:pt x="1400" y="1924"/>
                  </a:cubicBezTo>
                  <a:cubicBezTo>
                    <a:pt x="1429" y="1895"/>
                    <a:pt x="1429" y="1865"/>
                    <a:pt x="1429" y="1865"/>
                  </a:cubicBezTo>
                  <a:cubicBezTo>
                    <a:pt x="1459" y="1837"/>
                    <a:pt x="1459" y="1837"/>
                    <a:pt x="1459" y="1837"/>
                  </a:cubicBezTo>
                  <a:cubicBezTo>
                    <a:pt x="1459" y="1808"/>
                    <a:pt x="1459" y="1808"/>
                    <a:pt x="1459" y="1779"/>
                  </a:cubicBezTo>
                  <a:cubicBezTo>
                    <a:pt x="1459" y="1779"/>
                    <a:pt x="1459" y="1749"/>
                    <a:pt x="1488" y="1720"/>
                  </a:cubicBezTo>
                  <a:cubicBezTo>
                    <a:pt x="1488" y="1691"/>
                    <a:pt x="1488" y="1662"/>
                    <a:pt x="1488" y="1632"/>
                  </a:cubicBezTo>
                  <a:cubicBezTo>
                    <a:pt x="1488" y="1632"/>
                    <a:pt x="1488" y="1632"/>
                    <a:pt x="1488" y="1603"/>
                  </a:cubicBezTo>
                  <a:cubicBezTo>
                    <a:pt x="1459" y="1574"/>
                    <a:pt x="1459" y="1545"/>
                    <a:pt x="1517" y="1516"/>
                  </a:cubicBezTo>
                  <a:lnTo>
                    <a:pt x="1517" y="1516"/>
                  </a:lnTo>
                  <a:cubicBezTo>
                    <a:pt x="1546" y="1516"/>
                    <a:pt x="1546" y="1516"/>
                    <a:pt x="1546" y="1516"/>
                  </a:cubicBezTo>
                  <a:cubicBezTo>
                    <a:pt x="1546" y="1516"/>
                    <a:pt x="1546" y="1516"/>
                    <a:pt x="1576" y="1516"/>
                  </a:cubicBezTo>
                  <a:lnTo>
                    <a:pt x="1576" y="1516"/>
                  </a:lnTo>
                  <a:cubicBezTo>
                    <a:pt x="1576" y="1458"/>
                    <a:pt x="1604" y="1399"/>
                    <a:pt x="1576" y="1341"/>
                  </a:cubicBezTo>
                  <a:lnTo>
                    <a:pt x="1576" y="1341"/>
                  </a:lnTo>
                  <a:cubicBezTo>
                    <a:pt x="1546" y="1312"/>
                    <a:pt x="1546" y="1312"/>
                    <a:pt x="1546" y="1282"/>
                  </a:cubicBezTo>
                  <a:lnTo>
                    <a:pt x="1546" y="1253"/>
                  </a:lnTo>
                  <a:cubicBezTo>
                    <a:pt x="1546" y="1253"/>
                    <a:pt x="1546" y="1253"/>
                    <a:pt x="1546" y="1224"/>
                  </a:cubicBezTo>
                  <a:cubicBezTo>
                    <a:pt x="1546" y="1137"/>
                    <a:pt x="1459" y="903"/>
                    <a:pt x="1400" y="845"/>
                  </a:cubicBezTo>
                  <a:cubicBezTo>
                    <a:pt x="1371" y="845"/>
                    <a:pt x="1342" y="817"/>
                    <a:pt x="1342" y="817"/>
                  </a:cubicBezTo>
                  <a:cubicBezTo>
                    <a:pt x="1312" y="817"/>
                    <a:pt x="1312" y="845"/>
                    <a:pt x="1283" y="845"/>
                  </a:cubicBezTo>
                  <a:cubicBezTo>
                    <a:pt x="1283" y="874"/>
                    <a:pt x="1254" y="874"/>
                    <a:pt x="1254" y="903"/>
                  </a:cubicBezTo>
                  <a:cubicBezTo>
                    <a:pt x="1226" y="903"/>
                    <a:pt x="1226" y="903"/>
                    <a:pt x="1226" y="903"/>
                  </a:cubicBezTo>
                  <a:cubicBezTo>
                    <a:pt x="1196" y="903"/>
                    <a:pt x="1196" y="874"/>
                    <a:pt x="1196" y="874"/>
                  </a:cubicBezTo>
                  <a:cubicBezTo>
                    <a:pt x="1226" y="932"/>
                    <a:pt x="1196" y="962"/>
                    <a:pt x="1167" y="991"/>
                  </a:cubicBezTo>
                  <a:cubicBezTo>
                    <a:pt x="1138" y="1020"/>
                    <a:pt x="1138" y="1020"/>
                    <a:pt x="1138" y="1020"/>
                  </a:cubicBezTo>
                  <a:cubicBezTo>
                    <a:pt x="1138" y="1020"/>
                    <a:pt x="1138" y="1049"/>
                    <a:pt x="1109" y="1049"/>
                  </a:cubicBezTo>
                  <a:cubicBezTo>
                    <a:pt x="1109" y="1049"/>
                    <a:pt x="1109" y="1079"/>
                    <a:pt x="1079" y="1079"/>
                  </a:cubicBezTo>
                  <a:cubicBezTo>
                    <a:pt x="1050" y="1108"/>
                    <a:pt x="962" y="1049"/>
                    <a:pt x="962" y="1020"/>
                  </a:cubicBezTo>
                  <a:cubicBezTo>
                    <a:pt x="933" y="991"/>
                    <a:pt x="933" y="962"/>
                    <a:pt x="933" y="903"/>
                  </a:cubicBezTo>
                  <a:cubicBezTo>
                    <a:pt x="933" y="874"/>
                    <a:pt x="962" y="845"/>
                    <a:pt x="1021" y="817"/>
                  </a:cubicBezTo>
                  <a:lnTo>
                    <a:pt x="1021" y="817"/>
                  </a:lnTo>
                  <a:cubicBezTo>
                    <a:pt x="1050" y="817"/>
                    <a:pt x="1050" y="817"/>
                    <a:pt x="1050" y="817"/>
                  </a:cubicBezTo>
                  <a:lnTo>
                    <a:pt x="1050" y="788"/>
                  </a:lnTo>
                  <a:cubicBezTo>
                    <a:pt x="1050" y="759"/>
                    <a:pt x="1050" y="759"/>
                    <a:pt x="1079" y="759"/>
                  </a:cubicBezTo>
                  <a:cubicBezTo>
                    <a:pt x="1079" y="730"/>
                    <a:pt x="1079" y="700"/>
                    <a:pt x="1079" y="671"/>
                  </a:cubicBezTo>
                  <a:cubicBezTo>
                    <a:pt x="1109" y="642"/>
                    <a:pt x="1109" y="613"/>
                    <a:pt x="1109" y="583"/>
                  </a:cubicBezTo>
                  <a:cubicBezTo>
                    <a:pt x="1109" y="554"/>
                    <a:pt x="1079" y="467"/>
                    <a:pt x="1079" y="438"/>
                  </a:cubicBezTo>
                  <a:cubicBezTo>
                    <a:pt x="1079" y="438"/>
                    <a:pt x="1079" y="409"/>
                    <a:pt x="1050" y="409"/>
                  </a:cubicBezTo>
                  <a:cubicBezTo>
                    <a:pt x="1050" y="380"/>
                    <a:pt x="1021" y="321"/>
                    <a:pt x="1050" y="292"/>
                  </a:cubicBezTo>
                  <a:cubicBezTo>
                    <a:pt x="1050" y="263"/>
                    <a:pt x="1050" y="263"/>
                    <a:pt x="1050" y="263"/>
                  </a:cubicBezTo>
                  <a:lnTo>
                    <a:pt x="1050" y="263"/>
                  </a:lnTo>
                  <a:lnTo>
                    <a:pt x="1050" y="263"/>
                  </a:lnTo>
                  <a:cubicBezTo>
                    <a:pt x="1079" y="263"/>
                    <a:pt x="1079" y="263"/>
                    <a:pt x="1079" y="263"/>
                  </a:cubicBezTo>
                  <a:cubicBezTo>
                    <a:pt x="1050" y="233"/>
                    <a:pt x="1050" y="175"/>
                    <a:pt x="992" y="175"/>
                  </a:cubicBezTo>
                  <a:cubicBezTo>
                    <a:pt x="992" y="175"/>
                    <a:pt x="992" y="175"/>
                    <a:pt x="962" y="1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1" name="Freeform 369">
              <a:extLst>
                <a:ext uri="{FF2B5EF4-FFF2-40B4-BE49-F238E27FC236}">
                  <a16:creationId xmlns:a16="http://schemas.microsoft.com/office/drawing/2014/main" id="{26CACAF1-06F8-4B4F-AF54-9E2D2B30C15F}"/>
                </a:ext>
              </a:extLst>
            </p:cNvPr>
            <p:cNvSpPr>
              <a:spLocks noChangeArrowheads="1"/>
            </p:cNvSpPr>
            <p:nvPr/>
          </p:nvSpPr>
          <p:spPr bwMode="auto">
            <a:xfrm>
              <a:off x="10726136" y="299718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2" name="Freeform 370">
              <a:extLst>
                <a:ext uri="{FF2B5EF4-FFF2-40B4-BE49-F238E27FC236}">
                  <a16:creationId xmlns:a16="http://schemas.microsoft.com/office/drawing/2014/main" id="{F5877DBC-9084-4A08-BF2B-803A141C2F3F}"/>
                </a:ext>
              </a:extLst>
            </p:cNvPr>
            <p:cNvSpPr>
              <a:spLocks noChangeArrowheads="1"/>
            </p:cNvSpPr>
            <p:nvPr/>
          </p:nvSpPr>
          <p:spPr bwMode="auto">
            <a:xfrm>
              <a:off x="9129539" y="180934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3" name="Freeform 371">
              <a:extLst>
                <a:ext uri="{FF2B5EF4-FFF2-40B4-BE49-F238E27FC236}">
                  <a16:creationId xmlns:a16="http://schemas.microsoft.com/office/drawing/2014/main" id="{0E5BDC1B-E94D-4199-892E-8012A52FE866}"/>
                </a:ext>
              </a:extLst>
            </p:cNvPr>
            <p:cNvSpPr>
              <a:spLocks noChangeArrowheads="1"/>
            </p:cNvSpPr>
            <p:nvPr/>
          </p:nvSpPr>
          <p:spPr bwMode="auto">
            <a:xfrm>
              <a:off x="8147770" y="1574685"/>
              <a:ext cx="11415" cy="21038"/>
            </a:xfrm>
            <a:custGeom>
              <a:avLst/>
              <a:gdLst>
                <a:gd name="T0" fmla="*/ 0 w 31"/>
                <a:gd name="T1" fmla="*/ 58 h 59"/>
                <a:gd name="T2" fmla="*/ 0 w 31"/>
                <a:gd name="T3" fmla="*/ 58 h 59"/>
                <a:gd name="T4" fmla="*/ 0 w 31"/>
                <a:gd name="T5" fmla="*/ 58 h 59"/>
                <a:gd name="T6" fmla="*/ 0 w 31"/>
                <a:gd name="T7" fmla="*/ 58 h 59"/>
                <a:gd name="T8" fmla="*/ 30 w 31"/>
                <a:gd name="T9" fmla="*/ 0 h 59"/>
                <a:gd name="T10" fmla="*/ 30 w 31"/>
                <a:gd name="T11" fmla="*/ 0 h 59"/>
                <a:gd name="T12" fmla="*/ 0 w 31"/>
                <a:gd name="T13" fmla="*/ 58 h 59"/>
              </a:gdLst>
              <a:ahLst/>
              <a:cxnLst>
                <a:cxn ang="0">
                  <a:pos x="T0" y="T1"/>
                </a:cxn>
                <a:cxn ang="0">
                  <a:pos x="T2" y="T3"/>
                </a:cxn>
                <a:cxn ang="0">
                  <a:pos x="T4" y="T5"/>
                </a:cxn>
                <a:cxn ang="0">
                  <a:pos x="T6" y="T7"/>
                </a:cxn>
                <a:cxn ang="0">
                  <a:pos x="T8" y="T9"/>
                </a:cxn>
                <a:cxn ang="0">
                  <a:pos x="T10" y="T11"/>
                </a:cxn>
                <a:cxn ang="0">
                  <a:pos x="T12" y="T13"/>
                </a:cxn>
              </a:cxnLst>
              <a:rect l="0" t="0" r="r" b="b"/>
              <a:pathLst>
                <a:path w="31" h="59">
                  <a:moveTo>
                    <a:pt x="0" y="58"/>
                  </a:moveTo>
                  <a:lnTo>
                    <a:pt x="0" y="58"/>
                  </a:lnTo>
                  <a:lnTo>
                    <a:pt x="0" y="58"/>
                  </a:lnTo>
                  <a:lnTo>
                    <a:pt x="0" y="58"/>
                  </a:lnTo>
                  <a:cubicBezTo>
                    <a:pt x="30" y="29"/>
                    <a:pt x="30" y="29"/>
                    <a:pt x="30" y="0"/>
                  </a:cubicBezTo>
                  <a:lnTo>
                    <a:pt x="30" y="0"/>
                  </a:lnTo>
                  <a:cubicBezTo>
                    <a:pt x="30" y="29"/>
                    <a:pt x="3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4" name="Freeform 372">
              <a:extLst>
                <a:ext uri="{FF2B5EF4-FFF2-40B4-BE49-F238E27FC236}">
                  <a16:creationId xmlns:a16="http://schemas.microsoft.com/office/drawing/2014/main" id="{915EFF16-4148-4678-93E6-0DD0CEF3B808}"/>
                </a:ext>
              </a:extLst>
            </p:cNvPr>
            <p:cNvSpPr>
              <a:spLocks noChangeArrowheads="1"/>
            </p:cNvSpPr>
            <p:nvPr/>
          </p:nvSpPr>
          <p:spPr bwMode="auto">
            <a:xfrm>
              <a:off x="6681639" y="1424181"/>
              <a:ext cx="960568" cy="589068"/>
            </a:xfrm>
            <a:custGeom>
              <a:avLst/>
              <a:gdLst>
                <a:gd name="T0" fmla="*/ 2391 w 2597"/>
                <a:gd name="T1" fmla="*/ 146 h 1606"/>
                <a:gd name="T2" fmla="*/ 2391 w 2597"/>
                <a:gd name="T3" fmla="*/ 146 h 1606"/>
                <a:gd name="T4" fmla="*/ 1546 w 2597"/>
                <a:gd name="T5" fmla="*/ 88 h 1606"/>
                <a:gd name="T6" fmla="*/ 175 w 2597"/>
                <a:gd name="T7" fmla="*/ 0 h 1606"/>
                <a:gd name="T8" fmla="*/ 0 w 2597"/>
                <a:gd name="T9" fmla="*/ 1459 h 1606"/>
                <a:gd name="T10" fmla="*/ 2567 w 2597"/>
                <a:gd name="T11" fmla="*/ 1605 h 1606"/>
                <a:gd name="T12" fmla="*/ 2567 w 2597"/>
                <a:gd name="T13" fmla="*/ 1400 h 1606"/>
                <a:gd name="T14" fmla="*/ 2567 w 2597"/>
                <a:gd name="T15" fmla="*/ 1255 h 1606"/>
                <a:gd name="T16" fmla="*/ 2567 w 2597"/>
                <a:gd name="T17" fmla="*/ 1167 h 1606"/>
                <a:gd name="T18" fmla="*/ 2537 w 2597"/>
                <a:gd name="T19" fmla="*/ 1021 h 1606"/>
                <a:gd name="T20" fmla="*/ 2537 w 2597"/>
                <a:gd name="T21" fmla="*/ 934 h 1606"/>
                <a:gd name="T22" fmla="*/ 2508 w 2597"/>
                <a:gd name="T23" fmla="*/ 729 h 1606"/>
                <a:gd name="T24" fmla="*/ 2479 w 2597"/>
                <a:gd name="T25" fmla="*/ 700 h 1606"/>
                <a:gd name="T26" fmla="*/ 2479 w 2597"/>
                <a:gd name="T27" fmla="*/ 642 h 1606"/>
                <a:gd name="T28" fmla="*/ 2450 w 2597"/>
                <a:gd name="T29" fmla="*/ 613 h 1606"/>
                <a:gd name="T30" fmla="*/ 2450 w 2597"/>
                <a:gd name="T31" fmla="*/ 584 h 1606"/>
                <a:gd name="T32" fmla="*/ 2420 w 2597"/>
                <a:gd name="T33" fmla="*/ 555 h 1606"/>
                <a:gd name="T34" fmla="*/ 2420 w 2597"/>
                <a:gd name="T35" fmla="*/ 496 h 1606"/>
                <a:gd name="T36" fmla="*/ 2391 w 2597"/>
                <a:gd name="T37" fmla="*/ 496 h 1606"/>
                <a:gd name="T38" fmla="*/ 2420 w 2597"/>
                <a:gd name="T39" fmla="*/ 496 h 1606"/>
                <a:gd name="T40" fmla="*/ 2420 w 2597"/>
                <a:gd name="T41" fmla="*/ 438 h 1606"/>
                <a:gd name="T42" fmla="*/ 2420 w 2597"/>
                <a:gd name="T43" fmla="*/ 409 h 1606"/>
                <a:gd name="T44" fmla="*/ 2420 w 2597"/>
                <a:gd name="T45" fmla="*/ 409 h 1606"/>
                <a:gd name="T46" fmla="*/ 2391 w 2597"/>
                <a:gd name="T47" fmla="*/ 350 h 1606"/>
                <a:gd name="T48" fmla="*/ 2391 w 2597"/>
                <a:gd name="T49" fmla="*/ 321 h 1606"/>
                <a:gd name="T50" fmla="*/ 2391 w 2597"/>
                <a:gd name="T51" fmla="*/ 292 h 1606"/>
                <a:gd name="T52" fmla="*/ 2363 w 2597"/>
                <a:gd name="T53" fmla="*/ 263 h 1606"/>
                <a:gd name="T54" fmla="*/ 2363 w 2597"/>
                <a:gd name="T55" fmla="*/ 234 h 1606"/>
                <a:gd name="T56" fmla="*/ 2391 w 2597"/>
                <a:gd name="T57" fmla="*/ 176 h 1606"/>
                <a:gd name="T58" fmla="*/ 2391 w 2597"/>
                <a:gd name="T59" fmla="*/ 146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97" h="1606">
                  <a:moveTo>
                    <a:pt x="2391" y="146"/>
                  </a:moveTo>
                  <a:lnTo>
                    <a:pt x="2391" y="146"/>
                  </a:lnTo>
                  <a:cubicBezTo>
                    <a:pt x="2129" y="117"/>
                    <a:pt x="1837" y="117"/>
                    <a:pt x="1546" y="88"/>
                  </a:cubicBezTo>
                  <a:cubicBezTo>
                    <a:pt x="1079" y="59"/>
                    <a:pt x="613" y="29"/>
                    <a:pt x="175" y="0"/>
                  </a:cubicBezTo>
                  <a:cubicBezTo>
                    <a:pt x="117" y="496"/>
                    <a:pt x="58" y="1021"/>
                    <a:pt x="0" y="1459"/>
                  </a:cubicBezTo>
                  <a:cubicBezTo>
                    <a:pt x="817" y="1517"/>
                    <a:pt x="1720" y="1576"/>
                    <a:pt x="2567" y="1605"/>
                  </a:cubicBezTo>
                  <a:cubicBezTo>
                    <a:pt x="2567" y="1546"/>
                    <a:pt x="2567" y="1459"/>
                    <a:pt x="2567" y="1400"/>
                  </a:cubicBezTo>
                  <a:cubicBezTo>
                    <a:pt x="2567" y="1342"/>
                    <a:pt x="2596" y="1284"/>
                    <a:pt x="2567" y="1255"/>
                  </a:cubicBezTo>
                  <a:cubicBezTo>
                    <a:pt x="2567" y="1226"/>
                    <a:pt x="2567" y="1196"/>
                    <a:pt x="2567" y="1167"/>
                  </a:cubicBezTo>
                  <a:cubicBezTo>
                    <a:pt x="2537" y="1109"/>
                    <a:pt x="2537" y="1050"/>
                    <a:pt x="2537" y="1021"/>
                  </a:cubicBezTo>
                  <a:cubicBezTo>
                    <a:pt x="2537" y="992"/>
                    <a:pt x="2537" y="963"/>
                    <a:pt x="2537" y="934"/>
                  </a:cubicBezTo>
                  <a:cubicBezTo>
                    <a:pt x="2508" y="876"/>
                    <a:pt x="2508" y="817"/>
                    <a:pt x="2508" y="729"/>
                  </a:cubicBezTo>
                  <a:cubicBezTo>
                    <a:pt x="2508" y="729"/>
                    <a:pt x="2479" y="729"/>
                    <a:pt x="2479" y="700"/>
                  </a:cubicBezTo>
                  <a:cubicBezTo>
                    <a:pt x="2479" y="700"/>
                    <a:pt x="2479" y="671"/>
                    <a:pt x="2479" y="642"/>
                  </a:cubicBezTo>
                  <a:cubicBezTo>
                    <a:pt x="2450" y="642"/>
                    <a:pt x="2450" y="642"/>
                    <a:pt x="2450" y="613"/>
                  </a:cubicBezTo>
                  <a:cubicBezTo>
                    <a:pt x="2450" y="613"/>
                    <a:pt x="2450" y="613"/>
                    <a:pt x="2450" y="584"/>
                  </a:cubicBezTo>
                  <a:cubicBezTo>
                    <a:pt x="2450" y="584"/>
                    <a:pt x="2450" y="555"/>
                    <a:pt x="2420" y="555"/>
                  </a:cubicBezTo>
                  <a:cubicBezTo>
                    <a:pt x="2420" y="526"/>
                    <a:pt x="2420" y="526"/>
                    <a:pt x="2420" y="496"/>
                  </a:cubicBezTo>
                  <a:cubicBezTo>
                    <a:pt x="2391" y="496"/>
                    <a:pt x="2391" y="496"/>
                    <a:pt x="2391" y="496"/>
                  </a:cubicBezTo>
                  <a:cubicBezTo>
                    <a:pt x="2420" y="496"/>
                    <a:pt x="2420" y="496"/>
                    <a:pt x="2420" y="496"/>
                  </a:cubicBezTo>
                  <a:cubicBezTo>
                    <a:pt x="2420" y="467"/>
                    <a:pt x="2420" y="467"/>
                    <a:pt x="2420" y="438"/>
                  </a:cubicBezTo>
                  <a:cubicBezTo>
                    <a:pt x="2420" y="438"/>
                    <a:pt x="2420" y="438"/>
                    <a:pt x="2420" y="409"/>
                  </a:cubicBezTo>
                  <a:lnTo>
                    <a:pt x="2420" y="409"/>
                  </a:lnTo>
                  <a:cubicBezTo>
                    <a:pt x="2391" y="379"/>
                    <a:pt x="2391" y="379"/>
                    <a:pt x="2391" y="350"/>
                  </a:cubicBezTo>
                  <a:cubicBezTo>
                    <a:pt x="2363" y="321"/>
                    <a:pt x="2391" y="321"/>
                    <a:pt x="2391" y="321"/>
                  </a:cubicBezTo>
                  <a:cubicBezTo>
                    <a:pt x="2391" y="292"/>
                    <a:pt x="2391" y="292"/>
                    <a:pt x="2391" y="292"/>
                  </a:cubicBezTo>
                  <a:cubicBezTo>
                    <a:pt x="2391" y="292"/>
                    <a:pt x="2391" y="292"/>
                    <a:pt x="2363" y="263"/>
                  </a:cubicBezTo>
                  <a:cubicBezTo>
                    <a:pt x="2363" y="263"/>
                    <a:pt x="2363" y="263"/>
                    <a:pt x="2363" y="234"/>
                  </a:cubicBezTo>
                  <a:cubicBezTo>
                    <a:pt x="2363" y="205"/>
                    <a:pt x="2391" y="205"/>
                    <a:pt x="2391" y="176"/>
                  </a:cubicBezTo>
                  <a:lnTo>
                    <a:pt x="2391" y="14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5" name="Freeform 373">
              <a:extLst>
                <a:ext uri="{FF2B5EF4-FFF2-40B4-BE49-F238E27FC236}">
                  <a16:creationId xmlns:a16="http://schemas.microsoft.com/office/drawing/2014/main" id="{B7E44DA4-B86F-44EE-B35F-A8F887C1CB71}"/>
                </a:ext>
              </a:extLst>
            </p:cNvPr>
            <p:cNvSpPr>
              <a:spLocks noChangeArrowheads="1"/>
            </p:cNvSpPr>
            <p:nvPr/>
          </p:nvSpPr>
          <p:spPr bwMode="auto">
            <a:xfrm>
              <a:off x="7576974" y="1466257"/>
              <a:ext cx="939367" cy="1006595"/>
            </a:xfrm>
            <a:custGeom>
              <a:avLst/>
              <a:gdLst>
                <a:gd name="T0" fmla="*/ 0 w 2538"/>
                <a:gd name="T1" fmla="*/ 117 h 2742"/>
                <a:gd name="T2" fmla="*/ 0 w 2538"/>
                <a:gd name="T3" fmla="*/ 233 h 2742"/>
                <a:gd name="T4" fmla="*/ 59 w 2538"/>
                <a:gd name="T5" fmla="*/ 292 h 2742"/>
                <a:gd name="T6" fmla="*/ 59 w 2538"/>
                <a:gd name="T7" fmla="*/ 379 h 2742"/>
                <a:gd name="T8" fmla="*/ 88 w 2538"/>
                <a:gd name="T9" fmla="*/ 438 h 2742"/>
                <a:gd name="T10" fmla="*/ 88 w 2538"/>
                <a:gd name="T11" fmla="*/ 438 h 2742"/>
                <a:gd name="T12" fmla="*/ 117 w 2538"/>
                <a:gd name="T13" fmla="*/ 612 h 2742"/>
                <a:gd name="T14" fmla="*/ 176 w 2538"/>
                <a:gd name="T15" fmla="*/ 992 h 2742"/>
                <a:gd name="T16" fmla="*/ 205 w 2538"/>
                <a:gd name="T17" fmla="*/ 1138 h 2742"/>
                <a:gd name="T18" fmla="*/ 205 w 2538"/>
                <a:gd name="T19" fmla="*/ 1400 h 2742"/>
                <a:gd name="T20" fmla="*/ 205 w 2538"/>
                <a:gd name="T21" fmla="*/ 1604 h 2742"/>
                <a:gd name="T22" fmla="*/ 205 w 2538"/>
                <a:gd name="T23" fmla="*/ 1721 h 2742"/>
                <a:gd name="T24" fmla="*/ 234 w 2538"/>
                <a:gd name="T25" fmla="*/ 1838 h 2742"/>
                <a:gd name="T26" fmla="*/ 234 w 2538"/>
                <a:gd name="T27" fmla="*/ 2042 h 2742"/>
                <a:gd name="T28" fmla="*/ 234 w 2538"/>
                <a:gd name="T29" fmla="*/ 2741 h 2742"/>
                <a:gd name="T30" fmla="*/ 1487 w 2538"/>
                <a:gd name="T31" fmla="*/ 2741 h 2742"/>
                <a:gd name="T32" fmla="*/ 2070 w 2538"/>
                <a:gd name="T33" fmla="*/ 2741 h 2742"/>
                <a:gd name="T34" fmla="*/ 2041 w 2538"/>
                <a:gd name="T35" fmla="*/ 2624 h 2742"/>
                <a:gd name="T36" fmla="*/ 1983 w 2538"/>
                <a:gd name="T37" fmla="*/ 2566 h 2742"/>
                <a:gd name="T38" fmla="*/ 1983 w 2538"/>
                <a:gd name="T39" fmla="*/ 2508 h 2742"/>
                <a:gd name="T40" fmla="*/ 1837 w 2538"/>
                <a:gd name="T41" fmla="*/ 2449 h 2742"/>
                <a:gd name="T42" fmla="*/ 1720 w 2538"/>
                <a:gd name="T43" fmla="*/ 2303 h 2742"/>
                <a:gd name="T44" fmla="*/ 1662 w 2538"/>
                <a:gd name="T45" fmla="*/ 2303 h 2742"/>
                <a:gd name="T46" fmla="*/ 1575 w 2538"/>
                <a:gd name="T47" fmla="*/ 2188 h 2742"/>
                <a:gd name="T48" fmla="*/ 1487 w 2538"/>
                <a:gd name="T49" fmla="*/ 2129 h 2742"/>
                <a:gd name="T50" fmla="*/ 1516 w 2538"/>
                <a:gd name="T51" fmla="*/ 1925 h 2742"/>
                <a:gd name="T52" fmla="*/ 1516 w 2538"/>
                <a:gd name="T53" fmla="*/ 1838 h 2742"/>
                <a:gd name="T54" fmla="*/ 1516 w 2538"/>
                <a:gd name="T55" fmla="*/ 1721 h 2742"/>
                <a:gd name="T56" fmla="*/ 1487 w 2538"/>
                <a:gd name="T57" fmla="*/ 1575 h 2742"/>
                <a:gd name="T58" fmla="*/ 1545 w 2538"/>
                <a:gd name="T59" fmla="*/ 1575 h 2742"/>
                <a:gd name="T60" fmla="*/ 1691 w 2538"/>
                <a:gd name="T61" fmla="*/ 1342 h 2742"/>
                <a:gd name="T62" fmla="*/ 1691 w 2538"/>
                <a:gd name="T63" fmla="*/ 1167 h 2742"/>
                <a:gd name="T64" fmla="*/ 1749 w 2538"/>
                <a:gd name="T65" fmla="*/ 1079 h 2742"/>
                <a:gd name="T66" fmla="*/ 1866 w 2538"/>
                <a:gd name="T67" fmla="*/ 933 h 2742"/>
                <a:gd name="T68" fmla="*/ 1983 w 2538"/>
                <a:gd name="T69" fmla="*/ 817 h 2742"/>
                <a:gd name="T70" fmla="*/ 2129 w 2538"/>
                <a:gd name="T71" fmla="*/ 671 h 2742"/>
                <a:gd name="T72" fmla="*/ 2449 w 2538"/>
                <a:gd name="T73" fmla="*/ 496 h 2742"/>
                <a:gd name="T74" fmla="*/ 2537 w 2538"/>
                <a:gd name="T75" fmla="*/ 438 h 2742"/>
                <a:gd name="T76" fmla="*/ 2216 w 2538"/>
                <a:gd name="T77" fmla="*/ 438 h 2742"/>
                <a:gd name="T78" fmla="*/ 1925 w 2538"/>
                <a:gd name="T79" fmla="*/ 467 h 2742"/>
                <a:gd name="T80" fmla="*/ 1896 w 2538"/>
                <a:gd name="T81" fmla="*/ 467 h 2742"/>
                <a:gd name="T82" fmla="*/ 1808 w 2538"/>
                <a:gd name="T83" fmla="*/ 438 h 2742"/>
                <a:gd name="T84" fmla="*/ 1691 w 2538"/>
                <a:gd name="T85" fmla="*/ 409 h 2742"/>
                <a:gd name="T86" fmla="*/ 1662 w 2538"/>
                <a:gd name="T87" fmla="*/ 438 h 2742"/>
                <a:gd name="T88" fmla="*/ 1604 w 2538"/>
                <a:gd name="T89" fmla="*/ 409 h 2742"/>
                <a:gd name="T90" fmla="*/ 1604 w 2538"/>
                <a:gd name="T91" fmla="*/ 379 h 2742"/>
                <a:gd name="T92" fmla="*/ 1516 w 2538"/>
                <a:gd name="T93" fmla="*/ 350 h 2742"/>
                <a:gd name="T94" fmla="*/ 1545 w 2538"/>
                <a:gd name="T95" fmla="*/ 292 h 2742"/>
                <a:gd name="T96" fmla="*/ 1516 w 2538"/>
                <a:gd name="T97" fmla="*/ 262 h 2742"/>
                <a:gd name="T98" fmla="*/ 1487 w 2538"/>
                <a:gd name="T99" fmla="*/ 292 h 2742"/>
                <a:gd name="T100" fmla="*/ 1399 w 2538"/>
                <a:gd name="T101" fmla="*/ 321 h 2742"/>
                <a:gd name="T102" fmla="*/ 1399 w 2538"/>
                <a:gd name="T103" fmla="*/ 292 h 2742"/>
                <a:gd name="T104" fmla="*/ 1138 w 2538"/>
                <a:gd name="T105" fmla="*/ 233 h 2742"/>
                <a:gd name="T106" fmla="*/ 1050 w 2538"/>
                <a:gd name="T107" fmla="*/ 204 h 2742"/>
                <a:gd name="T108" fmla="*/ 905 w 2538"/>
                <a:gd name="T109" fmla="*/ 204 h 2742"/>
                <a:gd name="T110" fmla="*/ 730 w 2538"/>
                <a:gd name="T111" fmla="*/ 88 h 2742"/>
                <a:gd name="T112" fmla="*/ 730 w 2538"/>
                <a:gd name="T113" fmla="*/ 59 h 2742"/>
                <a:gd name="T114" fmla="*/ 700 w 2538"/>
                <a:gd name="T115" fmla="*/ 117 h 2742"/>
                <a:gd name="T116" fmla="*/ 642 w 2538"/>
                <a:gd name="T117" fmla="*/ 59 h 2742"/>
                <a:gd name="T118" fmla="*/ 526 w 2538"/>
                <a:gd name="T119" fmla="*/ 0 h 2742"/>
                <a:gd name="T120" fmla="*/ 321 w 2538"/>
                <a:gd name="T121" fmla="*/ 29 h 2742"/>
                <a:gd name="T122" fmla="*/ 205 w 2538"/>
                <a:gd name="T123" fmla="*/ 29 h 2742"/>
                <a:gd name="T124" fmla="*/ 0 w 2538"/>
                <a:gd name="T125" fmla="*/ 117 h 2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8" h="2742">
                  <a:moveTo>
                    <a:pt x="0" y="117"/>
                  </a:moveTo>
                  <a:lnTo>
                    <a:pt x="0" y="117"/>
                  </a:lnTo>
                  <a:cubicBezTo>
                    <a:pt x="0" y="146"/>
                    <a:pt x="0" y="175"/>
                    <a:pt x="0" y="175"/>
                  </a:cubicBezTo>
                  <a:cubicBezTo>
                    <a:pt x="0" y="204"/>
                    <a:pt x="0" y="204"/>
                    <a:pt x="0" y="233"/>
                  </a:cubicBezTo>
                  <a:lnTo>
                    <a:pt x="30" y="233"/>
                  </a:lnTo>
                  <a:cubicBezTo>
                    <a:pt x="30" y="262"/>
                    <a:pt x="59" y="262"/>
                    <a:pt x="59" y="292"/>
                  </a:cubicBezTo>
                  <a:cubicBezTo>
                    <a:pt x="59" y="321"/>
                    <a:pt x="59" y="350"/>
                    <a:pt x="59" y="350"/>
                  </a:cubicBezTo>
                  <a:cubicBezTo>
                    <a:pt x="59" y="379"/>
                    <a:pt x="59" y="379"/>
                    <a:pt x="59" y="379"/>
                  </a:cubicBezTo>
                  <a:cubicBezTo>
                    <a:pt x="59" y="379"/>
                    <a:pt x="59" y="409"/>
                    <a:pt x="88" y="409"/>
                  </a:cubicBezTo>
                  <a:cubicBezTo>
                    <a:pt x="88" y="438"/>
                    <a:pt x="88" y="438"/>
                    <a:pt x="88" y="438"/>
                  </a:cubicBezTo>
                  <a:lnTo>
                    <a:pt x="88" y="438"/>
                  </a:lnTo>
                  <a:lnTo>
                    <a:pt x="88" y="438"/>
                  </a:lnTo>
                  <a:cubicBezTo>
                    <a:pt x="88" y="496"/>
                    <a:pt x="117" y="525"/>
                    <a:pt x="117" y="554"/>
                  </a:cubicBezTo>
                  <a:cubicBezTo>
                    <a:pt x="117" y="583"/>
                    <a:pt x="117" y="583"/>
                    <a:pt x="117" y="612"/>
                  </a:cubicBezTo>
                  <a:cubicBezTo>
                    <a:pt x="147" y="671"/>
                    <a:pt x="147" y="759"/>
                    <a:pt x="147" y="846"/>
                  </a:cubicBezTo>
                  <a:cubicBezTo>
                    <a:pt x="176" y="904"/>
                    <a:pt x="176" y="962"/>
                    <a:pt x="176" y="992"/>
                  </a:cubicBezTo>
                  <a:cubicBezTo>
                    <a:pt x="176" y="1021"/>
                    <a:pt x="176" y="1050"/>
                    <a:pt x="176" y="1050"/>
                  </a:cubicBezTo>
                  <a:cubicBezTo>
                    <a:pt x="205" y="1079"/>
                    <a:pt x="205" y="1109"/>
                    <a:pt x="205" y="1138"/>
                  </a:cubicBezTo>
                  <a:cubicBezTo>
                    <a:pt x="205" y="1167"/>
                    <a:pt x="205" y="1225"/>
                    <a:pt x="205" y="1254"/>
                  </a:cubicBezTo>
                  <a:cubicBezTo>
                    <a:pt x="205" y="1312"/>
                    <a:pt x="205" y="1342"/>
                    <a:pt x="205" y="1400"/>
                  </a:cubicBezTo>
                  <a:cubicBezTo>
                    <a:pt x="205" y="1429"/>
                    <a:pt x="205" y="1459"/>
                    <a:pt x="205" y="1488"/>
                  </a:cubicBezTo>
                  <a:cubicBezTo>
                    <a:pt x="205" y="1517"/>
                    <a:pt x="205" y="1575"/>
                    <a:pt x="205" y="1604"/>
                  </a:cubicBezTo>
                  <a:cubicBezTo>
                    <a:pt x="205" y="1633"/>
                    <a:pt x="205" y="1633"/>
                    <a:pt x="205" y="1662"/>
                  </a:cubicBezTo>
                  <a:cubicBezTo>
                    <a:pt x="205" y="1662"/>
                    <a:pt x="205" y="1692"/>
                    <a:pt x="205" y="1721"/>
                  </a:cubicBezTo>
                  <a:cubicBezTo>
                    <a:pt x="205" y="1721"/>
                    <a:pt x="205" y="1750"/>
                    <a:pt x="205" y="1779"/>
                  </a:cubicBezTo>
                  <a:cubicBezTo>
                    <a:pt x="234" y="1779"/>
                    <a:pt x="234" y="1809"/>
                    <a:pt x="234" y="1838"/>
                  </a:cubicBezTo>
                  <a:cubicBezTo>
                    <a:pt x="234" y="1867"/>
                    <a:pt x="234" y="1925"/>
                    <a:pt x="234" y="1954"/>
                  </a:cubicBezTo>
                  <a:cubicBezTo>
                    <a:pt x="234" y="1983"/>
                    <a:pt x="234" y="2012"/>
                    <a:pt x="234" y="2042"/>
                  </a:cubicBezTo>
                  <a:cubicBezTo>
                    <a:pt x="234" y="2246"/>
                    <a:pt x="234" y="2449"/>
                    <a:pt x="234" y="2653"/>
                  </a:cubicBezTo>
                  <a:cubicBezTo>
                    <a:pt x="234" y="2741"/>
                    <a:pt x="234" y="2741"/>
                    <a:pt x="234" y="2741"/>
                  </a:cubicBezTo>
                  <a:cubicBezTo>
                    <a:pt x="350" y="2741"/>
                    <a:pt x="350" y="2741"/>
                    <a:pt x="350" y="2741"/>
                  </a:cubicBezTo>
                  <a:cubicBezTo>
                    <a:pt x="730" y="2741"/>
                    <a:pt x="1109" y="2741"/>
                    <a:pt x="1487" y="2741"/>
                  </a:cubicBezTo>
                  <a:cubicBezTo>
                    <a:pt x="1691" y="2741"/>
                    <a:pt x="1896" y="2741"/>
                    <a:pt x="2070" y="2741"/>
                  </a:cubicBezTo>
                  <a:lnTo>
                    <a:pt x="2070" y="2741"/>
                  </a:lnTo>
                  <a:cubicBezTo>
                    <a:pt x="2070" y="2711"/>
                    <a:pt x="2041" y="2682"/>
                    <a:pt x="2070" y="2624"/>
                  </a:cubicBezTo>
                  <a:lnTo>
                    <a:pt x="2041" y="2624"/>
                  </a:lnTo>
                  <a:cubicBezTo>
                    <a:pt x="2012" y="2595"/>
                    <a:pt x="1983" y="2595"/>
                    <a:pt x="1983" y="2566"/>
                  </a:cubicBezTo>
                  <a:lnTo>
                    <a:pt x="1983" y="2566"/>
                  </a:lnTo>
                  <a:cubicBezTo>
                    <a:pt x="1983" y="2537"/>
                    <a:pt x="1983" y="2537"/>
                    <a:pt x="1983" y="2537"/>
                  </a:cubicBezTo>
                  <a:lnTo>
                    <a:pt x="1983" y="2508"/>
                  </a:lnTo>
                  <a:cubicBezTo>
                    <a:pt x="1983" y="2508"/>
                    <a:pt x="1954" y="2478"/>
                    <a:pt x="1925" y="2478"/>
                  </a:cubicBezTo>
                  <a:cubicBezTo>
                    <a:pt x="1896" y="2478"/>
                    <a:pt x="1866" y="2478"/>
                    <a:pt x="1837" y="2449"/>
                  </a:cubicBezTo>
                  <a:cubicBezTo>
                    <a:pt x="1837" y="2420"/>
                    <a:pt x="1808" y="2420"/>
                    <a:pt x="1808" y="2391"/>
                  </a:cubicBezTo>
                  <a:cubicBezTo>
                    <a:pt x="1779" y="2332"/>
                    <a:pt x="1779" y="2303"/>
                    <a:pt x="1720" y="2303"/>
                  </a:cubicBezTo>
                  <a:lnTo>
                    <a:pt x="1720" y="2303"/>
                  </a:lnTo>
                  <a:cubicBezTo>
                    <a:pt x="1691" y="2303"/>
                    <a:pt x="1691" y="2303"/>
                    <a:pt x="1662" y="2303"/>
                  </a:cubicBezTo>
                  <a:cubicBezTo>
                    <a:pt x="1633" y="2303"/>
                    <a:pt x="1604" y="2274"/>
                    <a:pt x="1575" y="2217"/>
                  </a:cubicBezTo>
                  <a:cubicBezTo>
                    <a:pt x="1575" y="2217"/>
                    <a:pt x="1575" y="2217"/>
                    <a:pt x="1575" y="2188"/>
                  </a:cubicBezTo>
                  <a:lnTo>
                    <a:pt x="1545" y="2188"/>
                  </a:lnTo>
                  <a:cubicBezTo>
                    <a:pt x="1516" y="2159"/>
                    <a:pt x="1516" y="2159"/>
                    <a:pt x="1487" y="2129"/>
                  </a:cubicBezTo>
                  <a:cubicBezTo>
                    <a:pt x="1487" y="2100"/>
                    <a:pt x="1487" y="2042"/>
                    <a:pt x="1487" y="2012"/>
                  </a:cubicBezTo>
                  <a:cubicBezTo>
                    <a:pt x="1487" y="1983"/>
                    <a:pt x="1487" y="1954"/>
                    <a:pt x="1516" y="1925"/>
                  </a:cubicBezTo>
                  <a:cubicBezTo>
                    <a:pt x="1516" y="1925"/>
                    <a:pt x="1545" y="1896"/>
                    <a:pt x="1545" y="1867"/>
                  </a:cubicBezTo>
                  <a:cubicBezTo>
                    <a:pt x="1545" y="1867"/>
                    <a:pt x="1545" y="1838"/>
                    <a:pt x="1516" y="1838"/>
                  </a:cubicBezTo>
                  <a:lnTo>
                    <a:pt x="1516" y="1809"/>
                  </a:lnTo>
                  <a:cubicBezTo>
                    <a:pt x="1516" y="1779"/>
                    <a:pt x="1516" y="1750"/>
                    <a:pt x="1516" y="1721"/>
                  </a:cubicBezTo>
                  <a:cubicBezTo>
                    <a:pt x="1516" y="1662"/>
                    <a:pt x="1487" y="1633"/>
                    <a:pt x="1487" y="1604"/>
                  </a:cubicBezTo>
                  <a:cubicBezTo>
                    <a:pt x="1487" y="1575"/>
                    <a:pt x="1487" y="1575"/>
                    <a:pt x="1487" y="1575"/>
                  </a:cubicBezTo>
                  <a:cubicBezTo>
                    <a:pt x="1516" y="1575"/>
                    <a:pt x="1516" y="1575"/>
                    <a:pt x="1516" y="1575"/>
                  </a:cubicBezTo>
                  <a:cubicBezTo>
                    <a:pt x="1516" y="1575"/>
                    <a:pt x="1516" y="1575"/>
                    <a:pt x="1545" y="1575"/>
                  </a:cubicBezTo>
                  <a:cubicBezTo>
                    <a:pt x="1604" y="1575"/>
                    <a:pt x="1662" y="1517"/>
                    <a:pt x="1691" y="1488"/>
                  </a:cubicBezTo>
                  <a:cubicBezTo>
                    <a:pt x="1691" y="1429"/>
                    <a:pt x="1691" y="1371"/>
                    <a:pt x="1691" y="1342"/>
                  </a:cubicBezTo>
                  <a:cubicBezTo>
                    <a:pt x="1691" y="1283"/>
                    <a:pt x="1691" y="1225"/>
                    <a:pt x="1691" y="1167"/>
                  </a:cubicBezTo>
                  <a:lnTo>
                    <a:pt x="1691" y="1167"/>
                  </a:lnTo>
                  <a:lnTo>
                    <a:pt x="1691" y="1167"/>
                  </a:lnTo>
                  <a:cubicBezTo>
                    <a:pt x="1720" y="1138"/>
                    <a:pt x="1720" y="1109"/>
                    <a:pt x="1749" y="1079"/>
                  </a:cubicBezTo>
                  <a:cubicBezTo>
                    <a:pt x="1749" y="1050"/>
                    <a:pt x="1749" y="1021"/>
                    <a:pt x="1779" y="992"/>
                  </a:cubicBezTo>
                  <a:cubicBezTo>
                    <a:pt x="1808" y="962"/>
                    <a:pt x="1837" y="962"/>
                    <a:pt x="1866" y="933"/>
                  </a:cubicBezTo>
                  <a:cubicBezTo>
                    <a:pt x="1896" y="933"/>
                    <a:pt x="1896" y="933"/>
                    <a:pt x="1925" y="904"/>
                  </a:cubicBezTo>
                  <a:cubicBezTo>
                    <a:pt x="1954" y="904"/>
                    <a:pt x="1983" y="846"/>
                    <a:pt x="1983" y="817"/>
                  </a:cubicBezTo>
                  <a:cubicBezTo>
                    <a:pt x="2012" y="788"/>
                    <a:pt x="2012" y="759"/>
                    <a:pt x="2041" y="729"/>
                  </a:cubicBezTo>
                  <a:cubicBezTo>
                    <a:pt x="2070" y="700"/>
                    <a:pt x="2099" y="671"/>
                    <a:pt x="2129" y="671"/>
                  </a:cubicBezTo>
                  <a:cubicBezTo>
                    <a:pt x="2158" y="642"/>
                    <a:pt x="2158" y="642"/>
                    <a:pt x="2158" y="642"/>
                  </a:cubicBezTo>
                  <a:cubicBezTo>
                    <a:pt x="2246" y="583"/>
                    <a:pt x="2333" y="525"/>
                    <a:pt x="2449" y="496"/>
                  </a:cubicBezTo>
                  <a:cubicBezTo>
                    <a:pt x="2449" y="496"/>
                    <a:pt x="2449" y="496"/>
                    <a:pt x="2479" y="496"/>
                  </a:cubicBezTo>
                  <a:cubicBezTo>
                    <a:pt x="2508" y="467"/>
                    <a:pt x="2537" y="467"/>
                    <a:pt x="2537" y="438"/>
                  </a:cubicBezTo>
                  <a:cubicBezTo>
                    <a:pt x="2508" y="438"/>
                    <a:pt x="2479" y="409"/>
                    <a:pt x="2420" y="409"/>
                  </a:cubicBezTo>
                  <a:cubicBezTo>
                    <a:pt x="2362" y="409"/>
                    <a:pt x="2304" y="438"/>
                    <a:pt x="2216" y="438"/>
                  </a:cubicBezTo>
                  <a:cubicBezTo>
                    <a:pt x="2158" y="467"/>
                    <a:pt x="2099" y="467"/>
                    <a:pt x="2041" y="467"/>
                  </a:cubicBezTo>
                  <a:cubicBezTo>
                    <a:pt x="1983" y="467"/>
                    <a:pt x="1954" y="467"/>
                    <a:pt x="1925" y="467"/>
                  </a:cubicBezTo>
                  <a:lnTo>
                    <a:pt x="1925" y="467"/>
                  </a:lnTo>
                  <a:cubicBezTo>
                    <a:pt x="1925" y="467"/>
                    <a:pt x="1925" y="467"/>
                    <a:pt x="1896" y="467"/>
                  </a:cubicBezTo>
                  <a:lnTo>
                    <a:pt x="1896" y="467"/>
                  </a:lnTo>
                  <a:cubicBezTo>
                    <a:pt x="1866" y="467"/>
                    <a:pt x="1837" y="438"/>
                    <a:pt x="1808" y="438"/>
                  </a:cubicBezTo>
                  <a:cubicBezTo>
                    <a:pt x="1779" y="409"/>
                    <a:pt x="1749" y="379"/>
                    <a:pt x="1720" y="409"/>
                  </a:cubicBezTo>
                  <a:cubicBezTo>
                    <a:pt x="1691" y="409"/>
                    <a:pt x="1691" y="409"/>
                    <a:pt x="1691" y="409"/>
                  </a:cubicBezTo>
                  <a:cubicBezTo>
                    <a:pt x="1691" y="409"/>
                    <a:pt x="1691" y="438"/>
                    <a:pt x="1662" y="438"/>
                  </a:cubicBezTo>
                  <a:lnTo>
                    <a:pt x="1662" y="438"/>
                  </a:lnTo>
                  <a:cubicBezTo>
                    <a:pt x="1633" y="438"/>
                    <a:pt x="1633" y="438"/>
                    <a:pt x="1633" y="438"/>
                  </a:cubicBezTo>
                  <a:lnTo>
                    <a:pt x="1604" y="409"/>
                  </a:lnTo>
                  <a:cubicBezTo>
                    <a:pt x="1604" y="379"/>
                    <a:pt x="1604" y="379"/>
                    <a:pt x="1604" y="379"/>
                  </a:cubicBezTo>
                  <a:lnTo>
                    <a:pt x="1604" y="379"/>
                  </a:lnTo>
                  <a:cubicBezTo>
                    <a:pt x="1575" y="379"/>
                    <a:pt x="1575" y="409"/>
                    <a:pt x="1545" y="409"/>
                  </a:cubicBezTo>
                  <a:cubicBezTo>
                    <a:pt x="1545" y="409"/>
                    <a:pt x="1516" y="379"/>
                    <a:pt x="1516" y="350"/>
                  </a:cubicBezTo>
                  <a:cubicBezTo>
                    <a:pt x="1487" y="321"/>
                    <a:pt x="1516" y="321"/>
                    <a:pt x="1516" y="321"/>
                  </a:cubicBezTo>
                  <a:cubicBezTo>
                    <a:pt x="1545" y="292"/>
                    <a:pt x="1545" y="292"/>
                    <a:pt x="1545" y="292"/>
                  </a:cubicBezTo>
                  <a:cubicBezTo>
                    <a:pt x="1545" y="262"/>
                    <a:pt x="1545" y="262"/>
                    <a:pt x="1516" y="262"/>
                  </a:cubicBezTo>
                  <a:lnTo>
                    <a:pt x="1516" y="262"/>
                  </a:lnTo>
                  <a:cubicBezTo>
                    <a:pt x="1516" y="292"/>
                    <a:pt x="1516" y="292"/>
                    <a:pt x="1516" y="292"/>
                  </a:cubicBezTo>
                  <a:cubicBezTo>
                    <a:pt x="1487" y="292"/>
                    <a:pt x="1487" y="292"/>
                    <a:pt x="1487" y="292"/>
                  </a:cubicBezTo>
                  <a:cubicBezTo>
                    <a:pt x="1487" y="292"/>
                    <a:pt x="1487" y="292"/>
                    <a:pt x="1458" y="292"/>
                  </a:cubicBezTo>
                  <a:cubicBezTo>
                    <a:pt x="1458" y="292"/>
                    <a:pt x="1428" y="321"/>
                    <a:pt x="1399" y="321"/>
                  </a:cubicBezTo>
                  <a:lnTo>
                    <a:pt x="1399" y="321"/>
                  </a:lnTo>
                  <a:cubicBezTo>
                    <a:pt x="1399" y="292"/>
                    <a:pt x="1399" y="292"/>
                    <a:pt x="1399" y="292"/>
                  </a:cubicBezTo>
                  <a:cubicBezTo>
                    <a:pt x="1370" y="262"/>
                    <a:pt x="1283" y="262"/>
                    <a:pt x="1225" y="233"/>
                  </a:cubicBezTo>
                  <a:cubicBezTo>
                    <a:pt x="1196" y="233"/>
                    <a:pt x="1166" y="233"/>
                    <a:pt x="1138" y="233"/>
                  </a:cubicBezTo>
                  <a:cubicBezTo>
                    <a:pt x="1109" y="233"/>
                    <a:pt x="1109" y="233"/>
                    <a:pt x="1080" y="204"/>
                  </a:cubicBezTo>
                  <a:cubicBezTo>
                    <a:pt x="1080" y="204"/>
                    <a:pt x="1080" y="204"/>
                    <a:pt x="1050" y="204"/>
                  </a:cubicBezTo>
                  <a:cubicBezTo>
                    <a:pt x="1050" y="204"/>
                    <a:pt x="1021" y="204"/>
                    <a:pt x="992" y="204"/>
                  </a:cubicBezTo>
                  <a:cubicBezTo>
                    <a:pt x="964" y="204"/>
                    <a:pt x="934" y="204"/>
                    <a:pt x="905" y="204"/>
                  </a:cubicBezTo>
                  <a:cubicBezTo>
                    <a:pt x="847" y="175"/>
                    <a:pt x="817" y="146"/>
                    <a:pt x="788" y="117"/>
                  </a:cubicBezTo>
                  <a:cubicBezTo>
                    <a:pt x="759" y="117"/>
                    <a:pt x="730" y="88"/>
                    <a:pt x="730" y="88"/>
                  </a:cubicBezTo>
                  <a:cubicBezTo>
                    <a:pt x="730" y="59"/>
                    <a:pt x="730" y="59"/>
                    <a:pt x="730" y="59"/>
                  </a:cubicBezTo>
                  <a:lnTo>
                    <a:pt x="730" y="59"/>
                  </a:lnTo>
                  <a:cubicBezTo>
                    <a:pt x="730" y="88"/>
                    <a:pt x="730" y="88"/>
                    <a:pt x="700" y="117"/>
                  </a:cubicBezTo>
                  <a:lnTo>
                    <a:pt x="700" y="117"/>
                  </a:lnTo>
                  <a:cubicBezTo>
                    <a:pt x="671" y="88"/>
                    <a:pt x="671" y="88"/>
                    <a:pt x="671" y="88"/>
                  </a:cubicBezTo>
                  <a:cubicBezTo>
                    <a:pt x="671" y="88"/>
                    <a:pt x="642" y="88"/>
                    <a:pt x="642" y="59"/>
                  </a:cubicBezTo>
                  <a:cubicBezTo>
                    <a:pt x="642" y="29"/>
                    <a:pt x="614" y="29"/>
                    <a:pt x="614" y="29"/>
                  </a:cubicBezTo>
                  <a:cubicBezTo>
                    <a:pt x="584" y="0"/>
                    <a:pt x="555" y="0"/>
                    <a:pt x="526" y="0"/>
                  </a:cubicBezTo>
                  <a:cubicBezTo>
                    <a:pt x="497" y="0"/>
                    <a:pt x="467" y="0"/>
                    <a:pt x="438" y="0"/>
                  </a:cubicBezTo>
                  <a:cubicBezTo>
                    <a:pt x="380" y="29"/>
                    <a:pt x="350" y="29"/>
                    <a:pt x="321" y="29"/>
                  </a:cubicBezTo>
                  <a:cubicBezTo>
                    <a:pt x="292" y="29"/>
                    <a:pt x="292" y="29"/>
                    <a:pt x="292" y="29"/>
                  </a:cubicBezTo>
                  <a:cubicBezTo>
                    <a:pt x="205" y="29"/>
                    <a:pt x="205" y="29"/>
                    <a:pt x="205" y="29"/>
                  </a:cubicBezTo>
                  <a:cubicBezTo>
                    <a:pt x="147" y="29"/>
                    <a:pt x="88" y="29"/>
                    <a:pt x="30" y="29"/>
                  </a:cubicBezTo>
                  <a:cubicBezTo>
                    <a:pt x="30" y="59"/>
                    <a:pt x="30"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6" name="Freeform 374">
              <a:extLst>
                <a:ext uri="{FF2B5EF4-FFF2-40B4-BE49-F238E27FC236}">
                  <a16:creationId xmlns:a16="http://schemas.microsoft.com/office/drawing/2014/main" id="{E852D666-29B5-4FB3-B669-371A17E4921E}"/>
                </a:ext>
              </a:extLst>
            </p:cNvPr>
            <p:cNvSpPr>
              <a:spLocks noChangeArrowheads="1"/>
            </p:cNvSpPr>
            <p:nvPr/>
          </p:nvSpPr>
          <p:spPr bwMode="auto">
            <a:xfrm>
              <a:off x="4297343" y="1060060"/>
              <a:ext cx="11416"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30" y="0"/>
                    <a:pt x="30" y="0"/>
                    <a:pt x="30" y="0"/>
                  </a:cubicBez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7" name="Freeform 375">
              <a:extLst>
                <a:ext uri="{FF2B5EF4-FFF2-40B4-BE49-F238E27FC236}">
                  <a16:creationId xmlns:a16="http://schemas.microsoft.com/office/drawing/2014/main" id="{1B3EDB10-1429-46C4-8968-C09CBBF56838}"/>
                </a:ext>
              </a:extLst>
            </p:cNvPr>
            <p:cNvSpPr>
              <a:spLocks noChangeArrowheads="1"/>
            </p:cNvSpPr>
            <p:nvPr/>
          </p:nvSpPr>
          <p:spPr bwMode="auto">
            <a:xfrm>
              <a:off x="4276143" y="1039021"/>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8" name="Freeform 376">
              <a:extLst>
                <a:ext uri="{FF2B5EF4-FFF2-40B4-BE49-F238E27FC236}">
                  <a16:creationId xmlns:a16="http://schemas.microsoft.com/office/drawing/2014/main" id="{0CDF70C6-0C6C-4E8C-BF3E-2724CB1A9E9A}"/>
                </a:ext>
              </a:extLst>
            </p:cNvPr>
            <p:cNvSpPr>
              <a:spLocks noChangeArrowheads="1"/>
            </p:cNvSpPr>
            <p:nvPr/>
          </p:nvSpPr>
          <p:spPr bwMode="auto">
            <a:xfrm>
              <a:off x="8147770" y="1595723"/>
              <a:ext cx="11415" cy="1619"/>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9" name="Freeform 377">
              <a:extLst>
                <a:ext uri="{FF2B5EF4-FFF2-40B4-BE49-F238E27FC236}">
                  <a16:creationId xmlns:a16="http://schemas.microsoft.com/office/drawing/2014/main" id="{BEABA71D-7D3D-4FF6-B4F2-B3E1104D62DA}"/>
                </a:ext>
              </a:extLst>
            </p:cNvPr>
            <p:cNvSpPr>
              <a:spLocks noChangeArrowheads="1"/>
            </p:cNvSpPr>
            <p:nvPr/>
          </p:nvSpPr>
          <p:spPr bwMode="auto">
            <a:xfrm>
              <a:off x="4254941" y="1027693"/>
              <a:ext cx="21202" cy="11328"/>
            </a:xfrm>
            <a:custGeom>
              <a:avLst/>
              <a:gdLst>
                <a:gd name="T0" fmla="*/ 30 w 59"/>
                <a:gd name="T1" fmla="*/ 29 h 30"/>
                <a:gd name="T2" fmla="*/ 30 w 59"/>
                <a:gd name="T3" fmla="*/ 29 h 30"/>
                <a:gd name="T4" fmla="*/ 58 w 59"/>
                <a:gd name="T5" fmla="*/ 29 h 30"/>
                <a:gd name="T6" fmla="*/ 30 w 59"/>
                <a:gd name="T7" fmla="*/ 29 h 30"/>
                <a:gd name="T8" fmla="*/ 0 w 59"/>
                <a:gd name="T9" fmla="*/ 0 h 30"/>
                <a:gd name="T10" fmla="*/ 30 w 59"/>
                <a:gd name="T11" fmla="*/ 29 h 30"/>
              </a:gdLst>
              <a:ahLst/>
              <a:cxnLst>
                <a:cxn ang="0">
                  <a:pos x="T0" y="T1"/>
                </a:cxn>
                <a:cxn ang="0">
                  <a:pos x="T2" y="T3"/>
                </a:cxn>
                <a:cxn ang="0">
                  <a:pos x="T4" y="T5"/>
                </a:cxn>
                <a:cxn ang="0">
                  <a:pos x="T6" y="T7"/>
                </a:cxn>
                <a:cxn ang="0">
                  <a:pos x="T8" y="T9"/>
                </a:cxn>
                <a:cxn ang="0">
                  <a:pos x="T10" y="T11"/>
                </a:cxn>
              </a:cxnLst>
              <a:rect l="0" t="0" r="r" b="b"/>
              <a:pathLst>
                <a:path w="59" h="30">
                  <a:moveTo>
                    <a:pt x="30" y="29"/>
                  </a:moveTo>
                  <a:lnTo>
                    <a:pt x="30" y="29"/>
                  </a:lnTo>
                  <a:cubicBezTo>
                    <a:pt x="58" y="29"/>
                    <a:pt x="58" y="29"/>
                    <a:pt x="58" y="29"/>
                  </a:cubicBezTo>
                  <a:cubicBezTo>
                    <a:pt x="58" y="29"/>
                    <a:pt x="58" y="29"/>
                    <a:pt x="30" y="29"/>
                  </a:cubicBezTo>
                  <a:cubicBezTo>
                    <a:pt x="30" y="29"/>
                    <a:pt x="30" y="29"/>
                    <a:pt x="0" y="0"/>
                  </a:cubicBezTo>
                  <a:cubicBezTo>
                    <a:pt x="30" y="29"/>
                    <a:pt x="3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0" name="Freeform 378">
              <a:extLst>
                <a:ext uri="{FF2B5EF4-FFF2-40B4-BE49-F238E27FC236}">
                  <a16:creationId xmlns:a16="http://schemas.microsoft.com/office/drawing/2014/main" id="{791DC6F6-3C0B-4CAC-9233-B5EC49CDBA7C}"/>
                </a:ext>
              </a:extLst>
            </p:cNvPr>
            <p:cNvSpPr>
              <a:spLocks noChangeArrowheads="1"/>
            </p:cNvSpPr>
            <p:nvPr/>
          </p:nvSpPr>
          <p:spPr bwMode="auto">
            <a:xfrm>
              <a:off x="8610930" y="1798014"/>
              <a:ext cx="1630" cy="11328"/>
            </a:xfrm>
            <a:custGeom>
              <a:avLst/>
              <a:gdLst>
                <a:gd name="T0" fmla="*/ 0 w 1"/>
                <a:gd name="T1" fmla="*/ 0 h 30"/>
                <a:gd name="T2" fmla="*/ 0 w 1"/>
                <a:gd name="T3" fmla="*/ 0 h 30"/>
                <a:gd name="T4" fmla="*/ 0 w 1"/>
                <a:gd name="T5" fmla="*/ 0 h 30"/>
                <a:gd name="T6" fmla="*/ 0 w 1"/>
                <a:gd name="T7" fmla="*/ 0 h 30"/>
                <a:gd name="T8" fmla="*/ 0 w 1"/>
                <a:gd name="T9" fmla="*/ 29 h 30"/>
                <a:gd name="T10" fmla="*/ 0 w 1"/>
                <a:gd name="T11" fmla="*/ 0 h 30"/>
              </a:gdLst>
              <a:ahLst/>
              <a:cxnLst>
                <a:cxn ang="0">
                  <a:pos x="T0" y="T1"/>
                </a:cxn>
                <a:cxn ang="0">
                  <a:pos x="T2" y="T3"/>
                </a:cxn>
                <a:cxn ang="0">
                  <a:pos x="T4" y="T5"/>
                </a:cxn>
                <a:cxn ang="0">
                  <a:pos x="T6" y="T7"/>
                </a:cxn>
                <a:cxn ang="0">
                  <a:pos x="T8" y="T9"/>
                </a:cxn>
                <a:cxn ang="0">
                  <a:pos x="T10" y="T11"/>
                </a:cxn>
              </a:cxnLst>
              <a:rect l="0" t="0" r="r" b="b"/>
              <a:pathLst>
                <a:path w="1" h="30">
                  <a:moveTo>
                    <a:pt x="0" y="0"/>
                  </a:moveTo>
                  <a:lnTo>
                    <a:pt x="0" y="0"/>
                  </a:lnTo>
                  <a:lnTo>
                    <a:pt x="0" y="0"/>
                  </a:ln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1" name="Freeform 379">
              <a:extLst>
                <a:ext uri="{FF2B5EF4-FFF2-40B4-BE49-F238E27FC236}">
                  <a16:creationId xmlns:a16="http://schemas.microsoft.com/office/drawing/2014/main" id="{FA50C1EC-4DD8-4E72-9200-7E9257BFB267}"/>
                </a:ext>
              </a:extLst>
            </p:cNvPr>
            <p:cNvSpPr>
              <a:spLocks noChangeArrowheads="1"/>
            </p:cNvSpPr>
            <p:nvPr/>
          </p:nvSpPr>
          <p:spPr bwMode="auto">
            <a:xfrm>
              <a:off x="8676164" y="1841708"/>
              <a:ext cx="21200" cy="21039"/>
            </a:xfrm>
            <a:custGeom>
              <a:avLst/>
              <a:gdLst>
                <a:gd name="T0" fmla="*/ 0 w 59"/>
                <a:gd name="T1" fmla="*/ 58 h 59"/>
                <a:gd name="T2" fmla="*/ 0 w 59"/>
                <a:gd name="T3" fmla="*/ 58 h 59"/>
                <a:gd name="T4" fmla="*/ 0 w 59"/>
                <a:gd name="T5" fmla="*/ 58 h 59"/>
                <a:gd name="T6" fmla="*/ 29 w 59"/>
                <a:gd name="T7" fmla="*/ 29 h 59"/>
                <a:gd name="T8" fmla="*/ 58 w 59"/>
                <a:gd name="T9" fmla="*/ 0 h 59"/>
                <a:gd name="T10" fmla="*/ 58 w 59"/>
                <a:gd name="T11" fmla="*/ 0 h 59"/>
                <a:gd name="T12" fmla="*/ 29 w 59"/>
                <a:gd name="T13" fmla="*/ 29 h 59"/>
                <a:gd name="T14" fmla="*/ 0 w 59"/>
                <a:gd name="T15" fmla="*/ 58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9">
                  <a:moveTo>
                    <a:pt x="0" y="58"/>
                  </a:moveTo>
                  <a:lnTo>
                    <a:pt x="0" y="58"/>
                  </a:lnTo>
                  <a:lnTo>
                    <a:pt x="0" y="58"/>
                  </a:lnTo>
                  <a:cubicBezTo>
                    <a:pt x="29" y="29"/>
                    <a:pt x="29" y="29"/>
                    <a:pt x="29" y="29"/>
                  </a:cubicBezTo>
                  <a:cubicBezTo>
                    <a:pt x="58" y="29"/>
                    <a:pt x="58" y="0"/>
                    <a:pt x="58" y="0"/>
                  </a:cubicBezTo>
                  <a:lnTo>
                    <a:pt x="58" y="0"/>
                  </a:lnTo>
                  <a:cubicBezTo>
                    <a:pt x="58" y="0"/>
                    <a:pt x="58" y="29"/>
                    <a:pt x="29" y="29"/>
                  </a:cubicBezTo>
                  <a:cubicBezTo>
                    <a:pt x="29"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2" name="Freeform 380">
              <a:extLst>
                <a:ext uri="{FF2B5EF4-FFF2-40B4-BE49-F238E27FC236}">
                  <a16:creationId xmlns:a16="http://schemas.microsoft.com/office/drawing/2014/main" id="{501EFE9D-4D55-483E-ADF2-F8AA0913DDAB}"/>
                </a:ext>
              </a:extLst>
            </p:cNvPr>
            <p:cNvSpPr>
              <a:spLocks noChangeArrowheads="1"/>
            </p:cNvSpPr>
            <p:nvPr/>
          </p:nvSpPr>
          <p:spPr bwMode="auto">
            <a:xfrm>
              <a:off x="8687579" y="1713861"/>
              <a:ext cx="32617" cy="11328"/>
            </a:xfrm>
            <a:custGeom>
              <a:avLst/>
              <a:gdLst>
                <a:gd name="T0" fmla="*/ 0 w 88"/>
                <a:gd name="T1" fmla="*/ 29 h 30"/>
                <a:gd name="T2" fmla="*/ 0 w 88"/>
                <a:gd name="T3" fmla="*/ 29 h 30"/>
                <a:gd name="T4" fmla="*/ 87 w 88"/>
                <a:gd name="T5" fmla="*/ 0 h 30"/>
                <a:gd name="T6" fmla="*/ 0 w 88"/>
                <a:gd name="T7" fmla="*/ 29 h 30"/>
              </a:gdLst>
              <a:ahLst/>
              <a:cxnLst>
                <a:cxn ang="0">
                  <a:pos x="T0" y="T1"/>
                </a:cxn>
                <a:cxn ang="0">
                  <a:pos x="T2" y="T3"/>
                </a:cxn>
                <a:cxn ang="0">
                  <a:pos x="T4" y="T5"/>
                </a:cxn>
                <a:cxn ang="0">
                  <a:pos x="T6" y="T7"/>
                </a:cxn>
              </a:cxnLst>
              <a:rect l="0" t="0" r="r" b="b"/>
              <a:pathLst>
                <a:path w="88" h="30">
                  <a:moveTo>
                    <a:pt x="0" y="29"/>
                  </a:moveTo>
                  <a:lnTo>
                    <a:pt x="0" y="29"/>
                  </a:lnTo>
                  <a:cubicBezTo>
                    <a:pt x="29" y="29"/>
                    <a:pt x="58" y="0"/>
                    <a:pt x="87" y="0"/>
                  </a:cubicBezTo>
                  <a:cubicBezTo>
                    <a:pt x="58"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3" name="Freeform 381">
              <a:extLst>
                <a:ext uri="{FF2B5EF4-FFF2-40B4-BE49-F238E27FC236}">
                  <a16:creationId xmlns:a16="http://schemas.microsoft.com/office/drawing/2014/main" id="{FB512F9E-420D-47C5-B65A-ABB060842D99}"/>
                </a:ext>
              </a:extLst>
            </p:cNvPr>
            <p:cNvSpPr>
              <a:spLocks noChangeArrowheads="1"/>
            </p:cNvSpPr>
            <p:nvPr/>
          </p:nvSpPr>
          <p:spPr bwMode="auto">
            <a:xfrm>
              <a:off x="8460892" y="1713861"/>
              <a:ext cx="808899" cy="438564"/>
            </a:xfrm>
            <a:custGeom>
              <a:avLst/>
              <a:gdLst>
                <a:gd name="T0" fmla="*/ 205 w 2189"/>
                <a:gd name="T1" fmla="*/ 350 h 1197"/>
                <a:gd name="T2" fmla="*/ 117 w 2189"/>
                <a:gd name="T3" fmla="*/ 408 h 1197"/>
                <a:gd name="T4" fmla="*/ 29 w 2189"/>
                <a:gd name="T5" fmla="*/ 438 h 1197"/>
                <a:gd name="T6" fmla="*/ 0 w 2189"/>
                <a:gd name="T7" fmla="*/ 525 h 1197"/>
                <a:gd name="T8" fmla="*/ 88 w 2189"/>
                <a:gd name="T9" fmla="*/ 583 h 1197"/>
                <a:gd name="T10" fmla="*/ 175 w 2189"/>
                <a:gd name="T11" fmla="*/ 641 h 1197"/>
                <a:gd name="T12" fmla="*/ 321 w 2189"/>
                <a:gd name="T13" fmla="*/ 641 h 1197"/>
                <a:gd name="T14" fmla="*/ 350 w 2189"/>
                <a:gd name="T15" fmla="*/ 641 h 1197"/>
                <a:gd name="T16" fmla="*/ 408 w 2189"/>
                <a:gd name="T17" fmla="*/ 671 h 1197"/>
                <a:gd name="T18" fmla="*/ 467 w 2189"/>
                <a:gd name="T19" fmla="*/ 700 h 1197"/>
                <a:gd name="T20" fmla="*/ 555 w 2189"/>
                <a:gd name="T21" fmla="*/ 729 h 1197"/>
                <a:gd name="T22" fmla="*/ 671 w 2189"/>
                <a:gd name="T23" fmla="*/ 788 h 1197"/>
                <a:gd name="T24" fmla="*/ 817 w 2189"/>
                <a:gd name="T25" fmla="*/ 875 h 1197"/>
                <a:gd name="T26" fmla="*/ 846 w 2189"/>
                <a:gd name="T27" fmla="*/ 933 h 1197"/>
                <a:gd name="T28" fmla="*/ 905 w 2189"/>
                <a:gd name="T29" fmla="*/ 1079 h 1197"/>
                <a:gd name="T30" fmla="*/ 963 w 2189"/>
                <a:gd name="T31" fmla="*/ 1138 h 1197"/>
                <a:gd name="T32" fmla="*/ 1225 w 2189"/>
                <a:gd name="T33" fmla="*/ 729 h 1197"/>
                <a:gd name="T34" fmla="*/ 1313 w 2189"/>
                <a:gd name="T35" fmla="*/ 846 h 1197"/>
                <a:gd name="T36" fmla="*/ 1341 w 2189"/>
                <a:gd name="T37" fmla="*/ 729 h 1197"/>
                <a:gd name="T38" fmla="*/ 1371 w 2189"/>
                <a:gd name="T39" fmla="*/ 700 h 1197"/>
                <a:gd name="T40" fmla="*/ 1575 w 2189"/>
                <a:gd name="T41" fmla="*/ 612 h 1197"/>
                <a:gd name="T42" fmla="*/ 1896 w 2189"/>
                <a:gd name="T43" fmla="*/ 671 h 1197"/>
                <a:gd name="T44" fmla="*/ 1955 w 2189"/>
                <a:gd name="T45" fmla="*/ 612 h 1197"/>
                <a:gd name="T46" fmla="*/ 2012 w 2189"/>
                <a:gd name="T47" fmla="*/ 612 h 1197"/>
                <a:gd name="T48" fmla="*/ 2041 w 2189"/>
                <a:gd name="T49" fmla="*/ 583 h 1197"/>
                <a:gd name="T50" fmla="*/ 2071 w 2189"/>
                <a:gd name="T51" fmla="*/ 583 h 1197"/>
                <a:gd name="T52" fmla="*/ 2188 w 2189"/>
                <a:gd name="T53" fmla="*/ 612 h 1197"/>
                <a:gd name="T54" fmla="*/ 2041 w 2189"/>
                <a:gd name="T55" fmla="*/ 496 h 1197"/>
                <a:gd name="T56" fmla="*/ 2041 w 2189"/>
                <a:gd name="T57" fmla="*/ 496 h 1197"/>
                <a:gd name="T58" fmla="*/ 1867 w 2189"/>
                <a:gd name="T59" fmla="*/ 467 h 1197"/>
                <a:gd name="T60" fmla="*/ 1750 w 2189"/>
                <a:gd name="T61" fmla="*/ 350 h 1197"/>
                <a:gd name="T62" fmla="*/ 1779 w 2189"/>
                <a:gd name="T63" fmla="*/ 291 h 1197"/>
                <a:gd name="T64" fmla="*/ 1750 w 2189"/>
                <a:gd name="T65" fmla="*/ 262 h 1197"/>
                <a:gd name="T66" fmla="*/ 1691 w 2189"/>
                <a:gd name="T67" fmla="*/ 321 h 1197"/>
                <a:gd name="T68" fmla="*/ 1400 w 2189"/>
                <a:gd name="T69" fmla="*/ 379 h 1197"/>
                <a:gd name="T70" fmla="*/ 1284 w 2189"/>
                <a:gd name="T71" fmla="*/ 467 h 1197"/>
                <a:gd name="T72" fmla="*/ 1284 w 2189"/>
                <a:gd name="T73" fmla="*/ 525 h 1197"/>
                <a:gd name="T74" fmla="*/ 1284 w 2189"/>
                <a:gd name="T75" fmla="*/ 525 h 1197"/>
                <a:gd name="T76" fmla="*/ 1167 w 2189"/>
                <a:gd name="T77" fmla="*/ 525 h 1197"/>
                <a:gd name="T78" fmla="*/ 1050 w 2189"/>
                <a:gd name="T79" fmla="*/ 496 h 1197"/>
                <a:gd name="T80" fmla="*/ 934 w 2189"/>
                <a:gd name="T81" fmla="*/ 467 h 1197"/>
                <a:gd name="T82" fmla="*/ 700 w 2189"/>
                <a:gd name="T83" fmla="*/ 350 h 1197"/>
                <a:gd name="T84" fmla="*/ 700 w 2189"/>
                <a:gd name="T85" fmla="*/ 379 h 1197"/>
                <a:gd name="T86" fmla="*/ 700 w 2189"/>
                <a:gd name="T87" fmla="*/ 379 h 1197"/>
                <a:gd name="T88" fmla="*/ 642 w 2189"/>
                <a:gd name="T89" fmla="*/ 408 h 1197"/>
                <a:gd name="T90" fmla="*/ 555 w 2189"/>
                <a:gd name="T91" fmla="*/ 438 h 1197"/>
                <a:gd name="T92" fmla="*/ 555 w 2189"/>
                <a:gd name="T93" fmla="*/ 321 h 1197"/>
                <a:gd name="T94" fmla="*/ 613 w 2189"/>
                <a:gd name="T95" fmla="*/ 146 h 1197"/>
                <a:gd name="T96" fmla="*/ 700 w 2189"/>
                <a:gd name="T97" fmla="*/ 88 h 1197"/>
                <a:gd name="T98" fmla="*/ 758 w 2189"/>
                <a:gd name="T99" fmla="*/ 58 h 1197"/>
                <a:gd name="T100" fmla="*/ 758 w 2189"/>
                <a:gd name="T101" fmla="*/ 29 h 1197"/>
                <a:gd name="T102" fmla="*/ 700 w 2189"/>
                <a:gd name="T103" fmla="*/ 29 h 1197"/>
                <a:gd name="T104" fmla="*/ 438 w 2189"/>
                <a:gd name="T105" fmla="*/ 175 h 1197"/>
                <a:gd name="T106" fmla="*/ 467 w 2189"/>
                <a:gd name="T107" fmla="*/ 262 h 1197"/>
                <a:gd name="T108" fmla="*/ 438 w 2189"/>
                <a:gd name="T109" fmla="*/ 262 h 1197"/>
                <a:gd name="T110" fmla="*/ 205 w 2189"/>
                <a:gd name="T111" fmla="*/ 350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89" h="1197">
                  <a:moveTo>
                    <a:pt x="205" y="350"/>
                  </a:moveTo>
                  <a:lnTo>
                    <a:pt x="205" y="350"/>
                  </a:lnTo>
                  <a:cubicBezTo>
                    <a:pt x="205" y="350"/>
                    <a:pt x="205" y="379"/>
                    <a:pt x="175" y="379"/>
                  </a:cubicBezTo>
                  <a:cubicBezTo>
                    <a:pt x="175" y="379"/>
                    <a:pt x="146" y="408"/>
                    <a:pt x="117" y="408"/>
                  </a:cubicBezTo>
                  <a:cubicBezTo>
                    <a:pt x="117" y="438"/>
                    <a:pt x="88" y="438"/>
                    <a:pt x="88" y="438"/>
                  </a:cubicBezTo>
                  <a:cubicBezTo>
                    <a:pt x="58" y="438"/>
                    <a:pt x="58" y="438"/>
                    <a:pt x="29" y="438"/>
                  </a:cubicBezTo>
                  <a:cubicBezTo>
                    <a:pt x="29" y="438"/>
                    <a:pt x="29" y="438"/>
                    <a:pt x="29" y="467"/>
                  </a:cubicBezTo>
                  <a:cubicBezTo>
                    <a:pt x="0" y="496"/>
                    <a:pt x="0" y="496"/>
                    <a:pt x="0" y="525"/>
                  </a:cubicBezTo>
                  <a:cubicBezTo>
                    <a:pt x="0" y="525"/>
                    <a:pt x="29" y="554"/>
                    <a:pt x="58" y="554"/>
                  </a:cubicBezTo>
                  <a:lnTo>
                    <a:pt x="88" y="583"/>
                  </a:lnTo>
                  <a:cubicBezTo>
                    <a:pt x="88" y="583"/>
                    <a:pt x="117" y="583"/>
                    <a:pt x="117" y="612"/>
                  </a:cubicBezTo>
                  <a:cubicBezTo>
                    <a:pt x="146" y="612"/>
                    <a:pt x="175" y="641"/>
                    <a:pt x="175" y="641"/>
                  </a:cubicBezTo>
                  <a:cubicBezTo>
                    <a:pt x="205" y="641"/>
                    <a:pt x="234" y="641"/>
                    <a:pt x="234" y="641"/>
                  </a:cubicBezTo>
                  <a:cubicBezTo>
                    <a:pt x="263" y="641"/>
                    <a:pt x="292" y="641"/>
                    <a:pt x="321" y="641"/>
                  </a:cubicBezTo>
                  <a:lnTo>
                    <a:pt x="321" y="641"/>
                  </a:lnTo>
                  <a:cubicBezTo>
                    <a:pt x="350" y="641"/>
                    <a:pt x="350" y="641"/>
                    <a:pt x="350" y="641"/>
                  </a:cubicBezTo>
                  <a:lnTo>
                    <a:pt x="350" y="641"/>
                  </a:lnTo>
                  <a:cubicBezTo>
                    <a:pt x="379" y="641"/>
                    <a:pt x="408" y="671"/>
                    <a:pt x="408" y="671"/>
                  </a:cubicBezTo>
                  <a:lnTo>
                    <a:pt x="438" y="671"/>
                  </a:lnTo>
                  <a:cubicBezTo>
                    <a:pt x="438" y="700"/>
                    <a:pt x="467" y="700"/>
                    <a:pt x="467" y="700"/>
                  </a:cubicBezTo>
                  <a:cubicBezTo>
                    <a:pt x="496" y="700"/>
                    <a:pt x="496" y="700"/>
                    <a:pt x="525" y="729"/>
                  </a:cubicBezTo>
                  <a:lnTo>
                    <a:pt x="555" y="729"/>
                  </a:lnTo>
                  <a:cubicBezTo>
                    <a:pt x="584" y="758"/>
                    <a:pt x="584" y="758"/>
                    <a:pt x="613" y="758"/>
                  </a:cubicBezTo>
                  <a:cubicBezTo>
                    <a:pt x="613" y="788"/>
                    <a:pt x="642" y="788"/>
                    <a:pt x="671" y="788"/>
                  </a:cubicBezTo>
                  <a:cubicBezTo>
                    <a:pt x="729" y="817"/>
                    <a:pt x="758" y="817"/>
                    <a:pt x="788" y="846"/>
                  </a:cubicBezTo>
                  <a:cubicBezTo>
                    <a:pt x="788" y="846"/>
                    <a:pt x="788" y="875"/>
                    <a:pt x="817" y="875"/>
                  </a:cubicBezTo>
                  <a:lnTo>
                    <a:pt x="817" y="904"/>
                  </a:lnTo>
                  <a:lnTo>
                    <a:pt x="846" y="933"/>
                  </a:lnTo>
                  <a:cubicBezTo>
                    <a:pt x="875" y="933"/>
                    <a:pt x="875" y="962"/>
                    <a:pt x="875" y="962"/>
                  </a:cubicBezTo>
                  <a:cubicBezTo>
                    <a:pt x="905" y="991"/>
                    <a:pt x="905" y="1050"/>
                    <a:pt x="905" y="1079"/>
                  </a:cubicBezTo>
                  <a:cubicBezTo>
                    <a:pt x="934" y="1138"/>
                    <a:pt x="934" y="1167"/>
                    <a:pt x="934" y="1196"/>
                  </a:cubicBezTo>
                  <a:cubicBezTo>
                    <a:pt x="934" y="1167"/>
                    <a:pt x="963" y="1138"/>
                    <a:pt x="963" y="1138"/>
                  </a:cubicBezTo>
                  <a:cubicBezTo>
                    <a:pt x="963" y="1050"/>
                    <a:pt x="991" y="962"/>
                    <a:pt x="1021" y="933"/>
                  </a:cubicBezTo>
                  <a:cubicBezTo>
                    <a:pt x="1050" y="904"/>
                    <a:pt x="1138" y="729"/>
                    <a:pt x="1225" y="729"/>
                  </a:cubicBezTo>
                  <a:cubicBezTo>
                    <a:pt x="1255" y="729"/>
                    <a:pt x="1255" y="758"/>
                    <a:pt x="1255" y="758"/>
                  </a:cubicBezTo>
                  <a:cubicBezTo>
                    <a:pt x="1313" y="758"/>
                    <a:pt x="1313" y="817"/>
                    <a:pt x="1313" y="846"/>
                  </a:cubicBezTo>
                  <a:cubicBezTo>
                    <a:pt x="1284" y="846"/>
                    <a:pt x="1284" y="846"/>
                    <a:pt x="1284" y="846"/>
                  </a:cubicBezTo>
                  <a:cubicBezTo>
                    <a:pt x="1313" y="817"/>
                    <a:pt x="1313" y="788"/>
                    <a:pt x="1341" y="729"/>
                  </a:cubicBezTo>
                  <a:cubicBezTo>
                    <a:pt x="1341" y="700"/>
                    <a:pt x="1341" y="700"/>
                    <a:pt x="1341" y="700"/>
                  </a:cubicBezTo>
                  <a:cubicBezTo>
                    <a:pt x="1371" y="700"/>
                    <a:pt x="1371" y="700"/>
                    <a:pt x="1371" y="700"/>
                  </a:cubicBezTo>
                  <a:cubicBezTo>
                    <a:pt x="1429" y="700"/>
                    <a:pt x="1488" y="700"/>
                    <a:pt x="1546" y="671"/>
                  </a:cubicBezTo>
                  <a:cubicBezTo>
                    <a:pt x="1546" y="641"/>
                    <a:pt x="1575" y="641"/>
                    <a:pt x="1575" y="612"/>
                  </a:cubicBezTo>
                  <a:cubicBezTo>
                    <a:pt x="1605" y="612"/>
                    <a:pt x="1634" y="583"/>
                    <a:pt x="1691" y="583"/>
                  </a:cubicBezTo>
                  <a:cubicBezTo>
                    <a:pt x="1779" y="583"/>
                    <a:pt x="1867" y="612"/>
                    <a:pt x="1896" y="671"/>
                  </a:cubicBezTo>
                  <a:cubicBezTo>
                    <a:pt x="1925" y="671"/>
                    <a:pt x="1925" y="671"/>
                    <a:pt x="1925" y="671"/>
                  </a:cubicBezTo>
                  <a:cubicBezTo>
                    <a:pt x="1925" y="641"/>
                    <a:pt x="1925" y="612"/>
                    <a:pt x="1955" y="612"/>
                  </a:cubicBezTo>
                  <a:cubicBezTo>
                    <a:pt x="1955" y="612"/>
                    <a:pt x="1984" y="612"/>
                    <a:pt x="2012" y="612"/>
                  </a:cubicBezTo>
                  <a:lnTo>
                    <a:pt x="2012" y="612"/>
                  </a:lnTo>
                  <a:cubicBezTo>
                    <a:pt x="2041" y="612"/>
                    <a:pt x="2041" y="612"/>
                    <a:pt x="2041" y="612"/>
                  </a:cubicBezTo>
                  <a:cubicBezTo>
                    <a:pt x="2041" y="583"/>
                    <a:pt x="2041" y="583"/>
                    <a:pt x="2041" y="583"/>
                  </a:cubicBezTo>
                  <a:cubicBezTo>
                    <a:pt x="2071" y="583"/>
                    <a:pt x="2071" y="583"/>
                    <a:pt x="2071" y="583"/>
                  </a:cubicBezTo>
                  <a:lnTo>
                    <a:pt x="2071" y="583"/>
                  </a:lnTo>
                  <a:cubicBezTo>
                    <a:pt x="2100" y="583"/>
                    <a:pt x="2100" y="612"/>
                    <a:pt x="2129" y="612"/>
                  </a:cubicBezTo>
                  <a:cubicBezTo>
                    <a:pt x="2158" y="612"/>
                    <a:pt x="2158" y="612"/>
                    <a:pt x="2188" y="612"/>
                  </a:cubicBezTo>
                  <a:cubicBezTo>
                    <a:pt x="2158" y="583"/>
                    <a:pt x="2129" y="554"/>
                    <a:pt x="2100" y="554"/>
                  </a:cubicBezTo>
                  <a:cubicBezTo>
                    <a:pt x="2071" y="525"/>
                    <a:pt x="2071" y="525"/>
                    <a:pt x="2041" y="496"/>
                  </a:cubicBezTo>
                  <a:lnTo>
                    <a:pt x="2041" y="496"/>
                  </a:lnTo>
                  <a:lnTo>
                    <a:pt x="2041" y="496"/>
                  </a:lnTo>
                  <a:cubicBezTo>
                    <a:pt x="2041" y="467"/>
                    <a:pt x="2041" y="438"/>
                    <a:pt x="1984" y="408"/>
                  </a:cubicBezTo>
                  <a:cubicBezTo>
                    <a:pt x="1955" y="438"/>
                    <a:pt x="1896" y="467"/>
                    <a:pt x="1867" y="467"/>
                  </a:cubicBezTo>
                  <a:cubicBezTo>
                    <a:pt x="1808" y="467"/>
                    <a:pt x="1750" y="408"/>
                    <a:pt x="1750" y="350"/>
                  </a:cubicBezTo>
                  <a:lnTo>
                    <a:pt x="1750" y="350"/>
                  </a:lnTo>
                  <a:lnTo>
                    <a:pt x="1750" y="350"/>
                  </a:lnTo>
                  <a:cubicBezTo>
                    <a:pt x="1750" y="321"/>
                    <a:pt x="1779" y="291"/>
                    <a:pt x="1779" y="291"/>
                  </a:cubicBezTo>
                  <a:cubicBezTo>
                    <a:pt x="1750" y="291"/>
                    <a:pt x="1750" y="291"/>
                    <a:pt x="1750" y="262"/>
                  </a:cubicBezTo>
                  <a:lnTo>
                    <a:pt x="1750" y="262"/>
                  </a:lnTo>
                  <a:cubicBezTo>
                    <a:pt x="1721" y="262"/>
                    <a:pt x="1721" y="291"/>
                    <a:pt x="1721" y="291"/>
                  </a:cubicBezTo>
                  <a:lnTo>
                    <a:pt x="1691" y="321"/>
                  </a:lnTo>
                  <a:lnTo>
                    <a:pt x="1691" y="321"/>
                  </a:lnTo>
                  <a:cubicBezTo>
                    <a:pt x="1605" y="350"/>
                    <a:pt x="1517" y="379"/>
                    <a:pt x="1400" y="379"/>
                  </a:cubicBezTo>
                  <a:cubicBezTo>
                    <a:pt x="1371" y="408"/>
                    <a:pt x="1341" y="408"/>
                    <a:pt x="1313" y="438"/>
                  </a:cubicBezTo>
                  <a:lnTo>
                    <a:pt x="1284" y="467"/>
                  </a:lnTo>
                  <a:lnTo>
                    <a:pt x="1284" y="496"/>
                  </a:lnTo>
                  <a:cubicBezTo>
                    <a:pt x="1284" y="496"/>
                    <a:pt x="1284" y="496"/>
                    <a:pt x="1284" y="525"/>
                  </a:cubicBezTo>
                  <a:lnTo>
                    <a:pt x="1284" y="525"/>
                  </a:lnTo>
                  <a:lnTo>
                    <a:pt x="1284" y="525"/>
                  </a:lnTo>
                  <a:cubicBezTo>
                    <a:pt x="1255" y="554"/>
                    <a:pt x="1255" y="554"/>
                    <a:pt x="1225" y="554"/>
                  </a:cubicBezTo>
                  <a:cubicBezTo>
                    <a:pt x="1196" y="554"/>
                    <a:pt x="1167" y="554"/>
                    <a:pt x="1167" y="525"/>
                  </a:cubicBezTo>
                  <a:cubicBezTo>
                    <a:pt x="1138" y="525"/>
                    <a:pt x="1108" y="496"/>
                    <a:pt x="1108" y="496"/>
                  </a:cubicBezTo>
                  <a:cubicBezTo>
                    <a:pt x="1079" y="496"/>
                    <a:pt x="1079" y="496"/>
                    <a:pt x="1050" y="496"/>
                  </a:cubicBezTo>
                  <a:cubicBezTo>
                    <a:pt x="1021" y="525"/>
                    <a:pt x="991" y="525"/>
                    <a:pt x="991" y="525"/>
                  </a:cubicBezTo>
                  <a:cubicBezTo>
                    <a:pt x="963" y="496"/>
                    <a:pt x="934" y="496"/>
                    <a:pt x="934" y="467"/>
                  </a:cubicBezTo>
                  <a:cubicBezTo>
                    <a:pt x="905" y="467"/>
                    <a:pt x="905" y="438"/>
                    <a:pt x="875" y="438"/>
                  </a:cubicBezTo>
                  <a:cubicBezTo>
                    <a:pt x="817" y="379"/>
                    <a:pt x="758" y="350"/>
                    <a:pt x="700" y="350"/>
                  </a:cubicBezTo>
                  <a:lnTo>
                    <a:pt x="700" y="350"/>
                  </a:lnTo>
                  <a:cubicBezTo>
                    <a:pt x="700" y="379"/>
                    <a:pt x="700" y="379"/>
                    <a:pt x="700" y="379"/>
                  </a:cubicBezTo>
                  <a:lnTo>
                    <a:pt x="700" y="379"/>
                  </a:lnTo>
                  <a:lnTo>
                    <a:pt x="700" y="379"/>
                  </a:lnTo>
                  <a:lnTo>
                    <a:pt x="700" y="379"/>
                  </a:lnTo>
                  <a:cubicBezTo>
                    <a:pt x="671" y="379"/>
                    <a:pt x="671" y="408"/>
                    <a:pt x="642" y="408"/>
                  </a:cubicBezTo>
                  <a:cubicBezTo>
                    <a:pt x="613" y="408"/>
                    <a:pt x="613" y="438"/>
                    <a:pt x="555" y="438"/>
                  </a:cubicBezTo>
                  <a:lnTo>
                    <a:pt x="555" y="438"/>
                  </a:lnTo>
                  <a:cubicBezTo>
                    <a:pt x="555" y="408"/>
                    <a:pt x="555" y="408"/>
                    <a:pt x="555" y="408"/>
                  </a:cubicBezTo>
                  <a:cubicBezTo>
                    <a:pt x="555" y="379"/>
                    <a:pt x="555" y="350"/>
                    <a:pt x="555" y="321"/>
                  </a:cubicBezTo>
                  <a:cubicBezTo>
                    <a:pt x="555" y="262"/>
                    <a:pt x="555" y="204"/>
                    <a:pt x="584" y="175"/>
                  </a:cubicBezTo>
                  <a:cubicBezTo>
                    <a:pt x="613" y="146"/>
                    <a:pt x="613" y="146"/>
                    <a:pt x="613" y="146"/>
                  </a:cubicBezTo>
                  <a:cubicBezTo>
                    <a:pt x="642" y="146"/>
                    <a:pt x="642" y="146"/>
                    <a:pt x="642" y="146"/>
                  </a:cubicBezTo>
                  <a:cubicBezTo>
                    <a:pt x="671" y="117"/>
                    <a:pt x="671" y="117"/>
                    <a:pt x="700" y="88"/>
                  </a:cubicBezTo>
                  <a:lnTo>
                    <a:pt x="729" y="58"/>
                  </a:lnTo>
                  <a:cubicBezTo>
                    <a:pt x="758" y="58"/>
                    <a:pt x="758" y="58"/>
                    <a:pt x="758" y="58"/>
                  </a:cubicBezTo>
                  <a:cubicBezTo>
                    <a:pt x="788" y="58"/>
                    <a:pt x="788" y="58"/>
                    <a:pt x="788" y="29"/>
                  </a:cubicBezTo>
                  <a:cubicBezTo>
                    <a:pt x="788" y="29"/>
                    <a:pt x="788" y="29"/>
                    <a:pt x="758" y="29"/>
                  </a:cubicBezTo>
                  <a:cubicBezTo>
                    <a:pt x="758" y="0"/>
                    <a:pt x="758" y="0"/>
                    <a:pt x="758" y="0"/>
                  </a:cubicBezTo>
                  <a:cubicBezTo>
                    <a:pt x="729" y="0"/>
                    <a:pt x="729" y="29"/>
                    <a:pt x="700" y="29"/>
                  </a:cubicBezTo>
                  <a:cubicBezTo>
                    <a:pt x="671" y="29"/>
                    <a:pt x="642" y="58"/>
                    <a:pt x="613" y="58"/>
                  </a:cubicBezTo>
                  <a:cubicBezTo>
                    <a:pt x="584" y="117"/>
                    <a:pt x="525" y="146"/>
                    <a:pt x="438" y="175"/>
                  </a:cubicBezTo>
                  <a:lnTo>
                    <a:pt x="467" y="204"/>
                  </a:lnTo>
                  <a:cubicBezTo>
                    <a:pt x="467" y="204"/>
                    <a:pt x="467" y="233"/>
                    <a:pt x="467" y="262"/>
                  </a:cubicBezTo>
                  <a:lnTo>
                    <a:pt x="467" y="262"/>
                  </a:lnTo>
                  <a:cubicBezTo>
                    <a:pt x="438" y="262"/>
                    <a:pt x="438" y="262"/>
                    <a:pt x="438" y="262"/>
                  </a:cubicBezTo>
                  <a:cubicBezTo>
                    <a:pt x="408" y="321"/>
                    <a:pt x="350" y="321"/>
                    <a:pt x="292" y="321"/>
                  </a:cubicBezTo>
                  <a:cubicBezTo>
                    <a:pt x="263" y="350"/>
                    <a:pt x="234" y="350"/>
                    <a:pt x="205" y="35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4" name="Freeform 382">
              <a:extLst>
                <a:ext uri="{FF2B5EF4-FFF2-40B4-BE49-F238E27FC236}">
                  <a16:creationId xmlns:a16="http://schemas.microsoft.com/office/drawing/2014/main" id="{47509493-D3C1-4AE3-BF8D-066A88472286}"/>
                </a:ext>
              </a:extLst>
            </p:cNvPr>
            <p:cNvSpPr>
              <a:spLocks noChangeArrowheads="1"/>
            </p:cNvSpPr>
            <p:nvPr/>
          </p:nvSpPr>
          <p:spPr bwMode="auto">
            <a:xfrm>
              <a:off x="8278237" y="1616762"/>
              <a:ext cx="1630" cy="11328"/>
            </a:xfrm>
            <a:custGeom>
              <a:avLst/>
              <a:gdLst>
                <a:gd name="T0" fmla="*/ 0 w 1"/>
                <a:gd name="T1" fmla="*/ 29 h 30"/>
                <a:gd name="T2" fmla="*/ 0 w 1"/>
                <a:gd name="T3" fmla="*/ 29 h 30"/>
                <a:gd name="T4" fmla="*/ 0 w 1"/>
                <a:gd name="T5" fmla="*/ 29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5" name="Freeform 383">
              <a:extLst>
                <a:ext uri="{FF2B5EF4-FFF2-40B4-BE49-F238E27FC236}">
                  <a16:creationId xmlns:a16="http://schemas.microsoft.com/office/drawing/2014/main" id="{EB1F9CE1-27E9-41DB-9CB5-3CD0DB07BAD4}"/>
                </a:ext>
              </a:extLst>
            </p:cNvPr>
            <p:cNvSpPr>
              <a:spLocks noChangeArrowheads="1"/>
            </p:cNvSpPr>
            <p:nvPr/>
          </p:nvSpPr>
          <p:spPr bwMode="auto">
            <a:xfrm>
              <a:off x="8687579" y="1776975"/>
              <a:ext cx="11416" cy="11329"/>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0" y="0"/>
                    <a:pt x="0" y="29"/>
                    <a:pt x="0" y="29"/>
                  </a:cubicBezTo>
                  <a:cubicBezTo>
                    <a:pt x="0" y="29"/>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6" name="Freeform 384">
              <a:extLst>
                <a:ext uri="{FF2B5EF4-FFF2-40B4-BE49-F238E27FC236}">
                  <a16:creationId xmlns:a16="http://schemas.microsoft.com/office/drawing/2014/main" id="{6F7F3F8F-C9F5-4DBB-B842-7AF01CB39FF9}"/>
                </a:ext>
              </a:extLst>
            </p:cNvPr>
            <p:cNvSpPr>
              <a:spLocks noChangeArrowheads="1"/>
            </p:cNvSpPr>
            <p:nvPr/>
          </p:nvSpPr>
          <p:spPr bwMode="auto">
            <a:xfrm>
              <a:off x="3780366" y="2879051"/>
              <a:ext cx="44032" cy="32366"/>
            </a:xfrm>
            <a:custGeom>
              <a:avLst/>
              <a:gdLst>
                <a:gd name="T0" fmla="*/ 30 w 118"/>
                <a:gd name="T1" fmla="*/ 88 h 89"/>
                <a:gd name="T2" fmla="*/ 30 w 118"/>
                <a:gd name="T3" fmla="*/ 88 h 89"/>
                <a:gd name="T4" fmla="*/ 0 w 118"/>
                <a:gd name="T5" fmla="*/ 59 h 89"/>
                <a:gd name="T6" fmla="*/ 30 w 118"/>
                <a:gd name="T7" fmla="*/ 88 h 89"/>
                <a:gd name="T8" fmla="*/ 117 w 118"/>
                <a:gd name="T9" fmla="*/ 0 h 89"/>
                <a:gd name="T10" fmla="*/ 30 w 118"/>
                <a:gd name="T11" fmla="*/ 88 h 89"/>
              </a:gdLst>
              <a:ahLst/>
              <a:cxnLst>
                <a:cxn ang="0">
                  <a:pos x="T0" y="T1"/>
                </a:cxn>
                <a:cxn ang="0">
                  <a:pos x="T2" y="T3"/>
                </a:cxn>
                <a:cxn ang="0">
                  <a:pos x="T4" y="T5"/>
                </a:cxn>
                <a:cxn ang="0">
                  <a:pos x="T6" y="T7"/>
                </a:cxn>
                <a:cxn ang="0">
                  <a:pos x="T8" y="T9"/>
                </a:cxn>
                <a:cxn ang="0">
                  <a:pos x="T10" y="T11"/>
                </a:cxn>
              </a:cxnLst>
              <a:rect l="0" t="0" r="r" b="b"/>
              <a:pathLst>
                <a:path w="118" h="89">
                  <a:moveTo>
                    <a:pt x="30" y="88"/>
                  </a:moveTo>
                  <a:lnTo>
                    <a:pt x="30" y="88"/>
                  </a:lnTo>
                  <a:lnTo>
                    <a:pt x="0" y="59"/>
                  </a:lnTo>
                  <a:lnTo>
                    <a:pt x="30" y="88"/>
                  </a:lnTo>
                  <a:cubicBezTo>
                    <a:pt x="88" y="88"/>
                    <a:pt x="88" y="29"/>
                    <a:pt x="117" y="0"/>
                  </a:cubicBezTo>
                  <a:cubicBezTo>
                    <a:pt x="88" y="29"/>
                    <a:pt x="88" y="88"/>
                    <a:pt x="3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7" name="Freeform 385">
              <a:extLst>
                <a:ext uri="{FF2B5EF4-FFF2-40B4-BE49-F238E27FC236}">
                  <a16:creationId xmlns:a16="http://schemas.microsoft.com/office/drawing/2014/main" id="{CAD8EA2F-426F-4AF6-A428-59785E1F4611}"/>
                </a:ext>
              </a:extLst>
            </p:cNvPr>
            <p:cNvSpPr>
              <a:spLocks noChangeArrowheads="1"/>
            </p:cNvSpPr>
            <p:nvPr/>
          </p:nvSpPr>
          <p:spPr bwMode="auto">
            <a:xfrm>
              <a:off x="7371487" y="5469981"/>
              <a:ext cx="32617" cy="21039"/>
            </a:xfrm>
            <a:custGeom>
              <a:avLst/>
              <a:gdLst>
                <a:gd name="T0" fmla="*/ 29 w 88"/>
                <a:gd name="T1" fmla="*/ 29 h 59"/>
                <a:gd name="T2" fmla="*/ 29 w 88"/>
                <a:gd name="T3" fmla="*/ 29 h 59"/>
                <a:gd name="T4" fmla="*/ 87 w 88"/>
                <a:gd name="T5" fmla="*/ 58 h 59"/>
                <a:gd name="T6" fmla="*/ 29 w 88"/>
                <a:gd name="T7" fmla="*/ 29 h 59"/>
                <a:gd name="T8" fmla="*/ 0 w 88"/>
                <a:gd name="T9" fmla="*/ 0 h 59"/>
                <a:gd name="T10" fmla="*/ 0 w 88"/>
                <a:gd name="T11" fmla="*/ 0 h 59"/>
                <a:gd name="T12" fmla="*/ 29 w 88"/>
                <a:gd name="T13" fmla="*/ 29 h 59"/>
              </a:gdLst>
              <a:ahLst/>
              <a:cxnLst>
                <a:cxn ang="0">
                  <a:pos x="T0" y="T1"/>
                </a:cxn>
                <a:cxn ang="0">
                  <a:pos x="T2" y="T3"/>
                </a:cxn>
                <a:cxn ang="0">
                  <a:pos x="T4" y="T5"/>
                </a:cxn>
                <a:cxn ang="0">
                  <a:pos x="T6" y="T7"/>
                </a:cxn>
                <a:cxn ang="0">
                  <a:pos x="T8" y="T9"/>
                </a:cxn>
                <a:cxn ang="0">
                  <a:pos x="T10" y="T11"/>
                </a:cxn>
                <a:cxn ang="0">
                  <a:pos x="T12" y="T13"/>
                </a:cxn>
              </a:cxnLst>
              <a:rect l="0" t="0" r="r" b="b"/>
              <a:pathLst>
                <a:path w="88" h="59">
                  <a:moveTo>
                    <a:pt x="29" y="29"/>
                  </a:moveTo>
                  <a:lnTo>
                    <a:pt x="29" y="29"/>
                  </a:lnTo>
                  <a:cubicBezTo>
                    <a:pt x="58" y="29"/>
                    <a:pt x="87" y="58"/>
                    <a:pt x="87" y="58"/>
                  </a:cubicBezTo>
                  <a:cubicBezTo>
                    <a:pt x="87" y="58"/>
                    <a:pt x="58" y="29"/>
                    <a:pt x="29" y="29"/>
                  </a:cubicBezTo>
                  <a:lnTo>
                    <a:pt x="0" y="0"/>
                  </a:ln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8" name="Freeform 386">
              <a:extLst>
                <a:ext uri="{FF2B5EF4-FFF2-40B4-BE49-F238E27FC236}">
                  <a16:creationId xmlns:a16="http://schemas.microsoft.com/office/drawing/2014/main" id="{D5375A71-DE9D-438A-8B5F-0C0832948BE6}"/>
                </a:ext>
              </a:extLst>
            </p:cNvPr>
            <p:cNvSpPr>
              <a:spLocks noChangeArrowheads="1"/>
            </p:cNvSpPr>
            <p:nvPr/>
          </p:nvSpPr>
          <p:spPr bwMode="auto">
            <a:xfrm>
              <a:off x="7598174" y="525636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9" name="Freeform 387">
              <a:extLst>
                <a:ext uri="{FF2B5EF4-FFF2-40B4-BE49-F238E27FC236}">
                  <a16:creationId xmlns:a16="http://schemas.microsoft.com/office/drawing/2014/main" id="{8712C3D3-80DB-4336-8BD3-C44503D13F2B}"/>
                </a:ext>
              </a:extLst>
            </p:cNvPr>
            <p:cNvSpPr>
              <a:spLocks noChangeArrowheads="1"/>
            </p:cNvSpPr>
            <p:nvPr/>
          </p:nvSpPr>
          <p:spPr bwMode="auto">
            <a:xfrm>
              <a:off x="7555772" y="526607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0" name="Freeform 388">
              <a:extLst>
                <a:ext uri="{FF2B5EF4-FFF2-40B4-BE49-F238E27FC236}">
                  <a16:creationId xmlns:a16="http://schemas.microsoft.com/office/drawing/2014/main" id="{6DEEF4BE-C323-4CCF-9873-57D40EDF6C6F}"/>
                </a:ext>
              </a:extLst>
            </p:cNvPr>
            <p:cNvSpPr>
              <a:spLocks noChangeArrowheads="1"/>
            </p:cNvSpPr>
            <p:nvPr/>
          </p:nvSpPr>
          <p:spPr bwMode="auto">
            <a:xfrm>
              <a:off x="7382903" y="545865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1" name="Freeform 389">
              <a:extLst>
                <a:ext uri="{FF2B5EF4-FFF2-40B4-BE49-F238E27FC236}">
                  <a16:creationId xmlns:a16="http://schemas.microsoft.com/office/drawing/2014/main" id="{E2790494-79EF-4F4D-9ADA-AA4F632EA560}"/>
                </a:ext>
              </a:extLst>
            </p:cNvPr>
            <p:cNvSpPr>
              <a:spLocks noChangeArrowheads="1"/>
            </p:cNvSpPr>
            <p:nvPr/>
          </p:nvSpPr>
          <p:spPr bwMode="auto">
            <a:xfrm>
              <a:off x="7382903" y="5458653"/>
              <a:ext cx="11416" cy="11328"/>
            </a:xfrm>
            <a:custGeom>
              <a:avLst/>
              <a:gdLst>
                <a:gd name="T0" fmla="*/ 29 w 30"/>
                <a:gd name="T1" fmla="*/ 0 h 31"/>
                <a:gd name="T2" fmla="*/ 29 w 30"/>
                <a:gd name="T3" fmla="*/ 0 h 31"/>
                <a:gd name="T4" fmla="*/ 29 w 30"/>
                <a:gd name="T5" fmla="*/ 30 h 31"/>
                <a:gd name="T6" fmla="*/ 0 w 30"/>
                <a:gd name="T7" fmla="*/ 30 h 31"/>
                <a:gd name="T8" fmla="*/ 0 w 30"/>
                <a:gd name="T9" fmla="*/ 30 h 31"/>
                <a:gd name="T10" fmla="*/ 29 w 30"/>
                <a:gd name="T11" fmla="*/ 30 h 31"/>
                <a:gd name="T12" fmla="*/ 29 w 30"/>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30" h="31">
                  <a:moveTo>
                    <a:pt x="29" y="0"/>
                  </a:moveTo>
                  <a:lnTo>
                    <a:pt x="29" y="0"/>
                  </a:lnTo>
                  <a:lnTo>
                    <a:pt x="29" y="30"/>
                  </a:lnTo>
                  <a:cubicBezTo>
                    <a:pt x="0" y="30"/>
                    <a:pt x="0" y="30"/>
                    <a:pt x="0" y="30"/>
                  </a:cubicBezTo>
                  <a:lnTo>
                    <a:pt x="0" y="30"/>
                  </a:lnTo>
                  <a:cubicBezTo>
                    <a:pt x="29" y="30"/>
                    <a:pt x="29" y="30"/>
                    <a:pt x="29" y="30"/>
                  </a:cubicBez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2" name="Freeform 390">
              <a:extLst>
                <a:ext uri="{FF2B5EF4-FFF2-40B4-BE49-F238E27FC236}">
                  <a16:creationId xmlns:a16="http://schemas.microsoft.com/office/drawing/2014/main" id="{BE51671C-BA82-4E50-9596-EF446000C5D1}"/>
                </a:ext>
              </a:extLst>
            </p:cNvPr>
            <p:cNvSpPr>
              <a:spLocks noChangeArrowheads="1"/>
            </p:cNvSpPr>
            <p:nvPr/>
          </p:nvSpPr>
          <p:spPr bwMode="auto">
            <a:xfrm>
              <a:off x="7555772" y="526607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3" name="Freeform 391">
              <a:extLst>
                <a:ext uri="{FF2B5EF4-FFF2-40B4-BE49-F238E27FC236}">
                  <a16:creationId xmlns:a16="http://schemas.microsoft.com/office/drawing/2014/main" id="{40DF7162-90C9-4E41-96AA-2566BA9B9FBD}"/>
                </a:ext>
              </a:extLst>
            </p:cNvPr>
            <p:cNvSpPr>
              <a:spLocks noChangeArrowheads="1"/>
            </p:cNvSpPr>
            <p:nvPr/>
          </p:nvSpPr>
          <p:spPr bwMode="auto">
            <a:xfrm>
              <a:off x="7446506" y="5641523"/>
              <a:ext cx="11415" cy="53405"/>
            </a:xfrm>
            <a:custGeom>
              <a:avLst/>
              <a:gdLst>
                <a:gd name="T0" fmla="*/ 30 w 31"/>
                <a:gd name="T1" fmla="*/ 146 h 147"/>
                <a:gd name="T2" fmla="*/ 30 w 31"/>
                <a:gd name="T3" fmla="*/ 146 h 147"/>
                <a:gd name="T4" fmla="*/ 30 w 31"/>
                <a:gd name="T5" fmla="*/ 29 h 147"/>
                <a:gd name="T6" fmla="*/ 0 w 31"/>
                <a:gd name="T7" fmla="*/ 0 h 147"/>
                <a:gd name="T8" fmla="*/ 30 w 31"/>
                <a:gd name="T9" fmla="*/ 29 h 147"/>
                <a:gd name="T10" fmla="*/ 30 w 31"/>
                <a:gd name="T11" fmla="*/ 146 h 147"/>
              </a:gdLst>
              <a:ahLst/>
              <a:cxnLst>
                <a:cxn ang="0">
                  <a:pos x="T0" y="T1"/>
                </a:cxn>
                <a:cxn ang="0">
                  <a:pos x="T2" y="T3"/>
                </a:cxn>
                <a:cxn ang="0">
                  <a:pos x="T4" y="T5"/>
                </a:cxn>
                <a:cxn ang="0">
                  <a:pos x="T6" y="T7"/>
                </a:cxn>
                <a:cxn ang="0">
                  <a:pos x="T8" y="T9"/>
                </a:cxn>
                <a:cxn ang="0">
                  <a:pos x="T10" y="T11"/>
                </a:cxn>
              </a:cxnLst>
              <a:rect l="0" t="0" r="r" b="b"/>
              <a:pathLst>
                <a:path w="31" h="147">
                  <a:moveTo>
                    <a:pt x="30" y="146"/>
                  </a:moveTo>
                  <a:lnTo>
                    <a:pt x="30" y="146"/>
                  </a:lnTo>
                  <a:cubicBezTo>
                    <a:pt x="30" y="117"/>
                    <a:pt x="30" y="58"/>
                    <a:pt x="30" y="29"/>
                  </a:cubicBezTo>
                  <a:cubicBezTo>
                    <a:pt x="30" y="29"/>
                    <a:pt x="0" y="29"/>
                    <a:pt x="0" y="0"/>
                  </a:cubicBezTo>
                  <a:cubicBezTo>
                    <a:pt x="0" y="29"/>
                    <a:pt x="30" y="29"/>
                    <a:pt x="30" y="29"/>
                  </a:cubicBezTo>
                  <a:cubicBezTo>
                    <a:pt x="30" y="58"/>
                    <a:pt x="30" y="117"/>
                    <a:pt x="30"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4" name="Freeform 392">
              <a:extLst>
                <a:ext uri="{FF2B5EF4-FFF2-40B4-BE49-F238E27FC236}">
                  <a16:creationId xmlns:a16="http://schemas.microsoft.com/office/drawing/2014/main" id="{4D0DD462-0251-4AC6-B5E9-14F3AEA2FFBC}"/>
                </a:ext>
              </a:extLst>
            </p:cNvPr>
            <p:cNvSpPr>
              <a:spLocks noChangeArrowheads="1"/>
            </p:cNvSpPr>
            <p:nvPr/>
          </p:nvSpPr>
          <p:spPr bwMode="auto">
            <a:xfrm>
              <a:off x="7544357" y="5256363"/>
              <a:ext cx="11415" cy="1619"/>
            </a:xfrm>
            <a:custGeom>
              <a:avLst/>
              <a:gdLst>
                <a:gd name="T0" fmla="*/ 0 w 30"/>
                <a:gd name="T1" fmla="*/ 0 h 1"/>
                <a:gd name="T2" fmla="*/ 0 w 30"/>
                <a:gd name="T3" fmla="*/ 0 h 1"/>
                <a:gd name="T4" fmla="*/ 29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29"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5" name="Freeform 393">
              <a:extLst>
                <a:ext uri="{FF2B5EF4-FFF2-40B4-BE49-F238E27FC236}">
                  <a16:creationId xmlns:a16="http://schemas.microsoft.com/office/drawing/2014/main" id="{DB25F1FD-DEDF-45AA-885B-815B0E671E6E}"/>
                </a:ext>
              </a:extLst>
            </p:cNvPr>
            <p:cNvSpPr>
              <a:spLocks noChangeArrowheads="1"/>
            </p:cNvSpPr>
            <p:nvPr/>
          </p:nvSpPr>
          <p:spPr bwMode="auto">
            <a:xfrm>
              <a:off x="7544357" y="5256363"/>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6" name="Freeform 394">
              <a:extLst>
                <a:ext uri="{FF2B5EF4-FFF2-40B4-BE49-F238E27FC236}">
                  <a16:creationId xmlns:a16="http://schemas.microsoft.com/office/drawing/2014/main" id="{C5BFE06A-FCBC-43E9-A257-FC7D03B069EE}"/>
                </a:ext>
              </a:extLst>
            </p:cNvPr>
            <p:cNvSpPr>
              <a:spLocks noChangeArrowheads="1"/>
            </p:cNvSpPr>
            <p:nvPr/>
          </p:nvSpPr>
          <p:spPr bwMode="auto">
            <a:xfrm>
              <a:off x="7490538" y="5298439"/>
              <a:ext cx="22832" cy="53405"/>
            </a:xfrm>
            <a:custGeom>
              <a:avLst/>
              <a:gdLst>
                <a:gd name="T0" fmla="*/ 0 w 60"/>
                <a:gd name="T1" fmla="*/ 145 h 146"/>
                <a:gd name="T2" fmla="*/ 0 w 60"/>
                <a:gd name="T3" fmla="*/ 145 h 146"/>
                <a:gd name="T4" fmla="*/ 59 w 60"/>
                <a:gd name="T5" fmla="*/ 58 h 146"/>
                <a:gd name="T6" fmla="*/ 59 w 60"/>
                <a:gd name="T7" fmla="*/ 0 h 146"/>
                <a:gd name="T8" fmla="*/ 59 w 60"/>
                <a:gd name="T9" fmla="*/ 58 h 146"/>
                <a:gd name="T10" fmla="*/ 0 w 60"/>
                <a:gd name="T11" fmla="*/ 145 h 146"/>
              </a:gdLst>
              <a:ahLst/>
              <a:cxnLst>
                <a:cxn ang="0">
                  <a:pos x="T0" y="T1"/>
                </a:cxn>
                <a:cxn ang="0">
                  <a:pos x="T2" y="T3"/>
                </a:cxn>
                <a:cxn ang="0">
                  <a:pos x="T4" y="T5"/>
                </a:cxn>
                <a:cxn ang="0">
                  <a:pos x="T6" y="T7"/>
                </a:cxn>
                <a:cxn ang="0">
                  <a:pos x="T8" y="T9"/>
                </a:cxn>
                <a:cxn ang="0">
                  <a:pos x="T10" y="T11"/>
                </a:cxn>
              </a:cxnLst>
              <a:rect l="0" t="0" r="r" b="b"/>
              <a:pathLst>
                <a:path w="60" h="146">
                  <a:moveTo>
                    <a:pt x="0" y="145"/>
                  </a:moveTo>
                  <a:lnTo>
                    <a:pt x="0" y="145"/>
                  </a:lnTo>
                  <a:cubicBezTo>
                    <a:pt x="30" y="116"/>
                    <a:pt x="30" y="86"/>
                    <a:pt x="59" y="58"/>
                  </a:cubicBezTo>
                  <a:cubicBezTo>
                    <a:pt x="59" y="29"/>
                    <a:pt x="59" y="0"/>
                    <a:pt x="59" y="0"/>
                  </a:cubicBezTo>
                  <a:cubicBezTo>
                    <a:pt x="59" y="0"/>
                    <a:pt x="59" y="29"/>
                    <a:pt x="59" y="58"/>
                  </a:cubicBezTo>
                  <a:cubicBezTo>
                    <a:pt x="30" y="86"/>
                    <a:pt x="30" y="116"/>
                    <a:pt x="0"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7" name="Freeform 395">
              <a:extLst>
                <a:ext uri="{FF2B5EF4-FFF2-40B4-BE49-F238E27FC236}">
                  <a16:creationId xmlns:a16="http://schemas.microsoft.com/office/drawing/2014/main" id="{1680F039-2F85-4234-A03C-0FA4868FC9C3}"/>
                </a:ext>
              </a:extLst>
            </p:cNvPr>
            <p:cNvSpPr>
              <a:spLocks noChangeArrowheads="1"/>
            </p:cNvSpPr>
            <p:nvPr/>
          </p:nvSpPr>
          <p:spPr bwMode="auto">
            <a:xfrm>
              <a:off x="7576974" y="5233706"/>
              <a:ext cx="11415" cy="11329"/>
            </a:xfrm>
            <a:custGeom>
              <a:avLst/>
              <a:gdLst>
                <a:gd name="T0" fmla="*/ 30 w 31"/>
                <a:gd name="T1" fmla="*/ 29 h 30"/>
                <a:gd name="T2" fmla="*/ 30 w 31"/>
                <a:gd name="T3" fmla="*/ 29 h 30"/>
                <a:gd name="T4" fmla="*/ 30 w 31"/>
                <a:gd name="T5" fmla="*/ 0 h 30"/>
                <a:gd name="T6" fmla="*/ 0 w 31"/>
                <a:gd name="T7" fmla="*/ 0 h 30"/>
                <a:gd name="T8" fmla="*/ 30 w 31"/>
                <a:gd name="T9" fmla="*/ 0 h 30"/>
                <a:gd name="T10" fmla="*/ 30 w 31"/>
                <a:gd name="T11" fmla="*/ 29 h 30"/>
              </a:gdLst>
              <a:ahLst/>
              <a:cxnLst>
                <a:cxn ang="0">
                  <a:pos x="T0" y="T1"/>
                </a:cxn>
                <a:cxn ang="0">
                  <a:pos x="T2" y="T3"/>
                </a:cxn>
                <a:cxn ang="0">
                  <a:pos x="T4" y="T5"/>
                </a:cxn>
                <a:cxn ang="0">
                  <a:pos x="T6" y="T7"/>
                </a:cxn>
                <a:cxn ang="0">
                  <a:pos x="T8" y="T9"/>
                </a:cxn>
                <a:cxn ang="0">
                  <a:pos x="T10" y="T11"/>
                </a:cxn>
              </a:cxnLst>
              <a:rect l="0" t="0" r="r" b="b"/>
              <a:pathLst>
                <a:path w="31" h="30">
                  <a:moveTo>
                    <a:pt x="30" y="29"/>
                  </a:moveTo>
                  <a:lnTo>
                    <a:pt x="30" y="29"/>
                  </a:lnTo>
                  <a:lnTo>
                    <a:pt x="30" y="0"/>
                  </a:lnTo>
                  <a:lnTo>
                    <a:pt x="0" y="0"/>
                  </a:lnTo>
                  <a:lnTo>
                    <a:pt x="30" y="0"/>
                  </a:ln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8" name="Freeform 396">
              <a:extLst>
                <a:ext uri="{FF2B5EF4-FFF2-40B4-BE49-F238E27FC236}">
                  <a16:creationId xmlns:a16="http://schemas.microsoft.com/office/drawing/2014/main" id="{2B247BA3-A043-4CAF-8E56-A817F1848E24}"/>
                </a:ext>
              </a:extLst>
            </p:cNvPr>
            <p:cNvSpPr>
              <a:spLocks noChangeArrowheads="1"/>
            </p:cNvSpPr>
            <p:nvPr/>
          </p:nvSpPr>
          <p:spPr bwMode="auto">
            <a:xfrm>
              <a:off x="7555772" y="5266073"/>
              <a:ext cx="11416" cy="21039"/>
            </a:xfrm>
            <a:custGeom>
              <a:avLst/>
              <a:gdLst>
                <a:gd name="T0" fmla="*/ 0 w 29"/>
                <a:gd name="T1" fmla="*/ 0 h 59"/>
                <a:gd name="T2" fmla="*/ 0 w 29"/>
                <a:gd name="T3" fmla="*/ 0 h 59"/>
                <a:gd name="T4" fmla="*/ 0 w 29"/>
                <a:gd name="T5" fmla="*/ 29 h 59"/>
                <a:gd name="T6" fmla="*/ 28 w 29"/>
                <a:gd name="T7" fmla="*/ 29 h 59"/>
                <a:gd name="T8" fmla="*/ 0 w 29"/>
                <a:gd name="T9" fmla="*/ 58 h 59"/>
                <a:gd name="T10" fmla="*/ 28 w 29"/>
                <a:gd name="T11" fmla="*/ 29 h 59"/>
                <a:gd name="T12" fmla="*/ 0 w 2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9" h="59">
                  <a:moveTo>
                    <a:pt x="0" y="0"/>
                  </a:moveTo>
                  <a:lnTo>
                    <a:pt x="0" y="0"/>
                  </a:lnTo>
                  <a:cubicBezTo>
                    <a:pt x="0" y="29"/>
                    <a:pt x="0" y="29"/>
                    <a:pt x="0" y="29"/>
                  </a:cubicBezTo>
                  <a:cubicBezTo>
                    <a:pt x="0" y="29"/>
                    <a:pt x="0" y="29"/>
                    <a:pt x="28" y="29"/>
                  </a:cubicBezTo>
                  <a:cubicBezTo>
                    <a:pt x="0" y="29"/>
                    <a:pt x="0" y="29"/>
                    <a:pt x="0" y="58"/>
                  </a:cubicBezTo>
                  <a:cubicBezTo>
                    <a:pt x="0" y="29"/>
                    <a:pt x="0" y="29"/>
                    <a:pt x="28"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19" name="Freeform 397">
              <a:extLst>
                <a:ext uri="{FF2B5EF4-FFF2-40B4-BE49-F238E27FC236}">
                  <a16:creationId xmlns:a16="http://schemas.microsoft.com/office/drawing/2014/main" id="{EA6C631E-84CA-409E-B93E-5D76CADE04A2}"/>
                </a:ext>
              </a:extLst>
            </p:cNvPr>
            <p:cNvSpPr>
              <a:spLocks noChangeArrowheads="1"/>
            </p:cNvSpPr>
            <p:nvPr/>
          </p:nvSpPr>
          <p:spPr bwMode="auto">
            <a:xfrm>
              <a:off x="7544357" y="5287112"/>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0" name="Freeform 398">
              <a:extLst>
                <a:ext uri="{FF2B5EF4-FFF2-40B4-BE49-F238E27FC236}">
                  <a16:creationId xmlns:a16="http://schemas.microsoft.com/office/drawing/2014/main" id="{CA9369AE-A586-465B-9B46-FD305D2A9640}"/>
                </a:ext>
              </a:extLst>
            </p:cNvPr>
            <p:cNvSpPr>
              <a:spLocks noChangeArrowheads="1"/>
            </p:cNvSpPr>
            <p:nvPr/>
          </p:nvSpPr>
          <p:spPr bwMode="auto">
            <a:xfrm>
              <a:off x="7404104" y="5523386"/>
              <a:ext cx="11415" cy="11328"/>
            </a:xfrm>
            <a:custGeom>
              <a:avLst/>
              <a:gdLst>
                <a:gd name="T0" fmla="*/ 0 w 31"/>
                <a:gd name="T1" fmla="*/ 0 h 30"/>
                <a:gd name="T2" fmla="*/ 0 w 31"/>
                <a:gd name="T3" fmla="*/ 0 h 30"/>
                <a:gd name="T4" fmla="*/ 30 w 31"/>
                <a:gd name="T5" fmla="*/ 29 h 30"/>
                <a:gd name="T6" fmla="*/ 0 w 31"/>
                <a:gd name="T7" fmla="*/ 0 h 30"/>
              </a:gdLst>
              <a:ahLst/>
              <a:cxnLst>
                <a:cxn ang="0">
                  <a:pos x="T0" y="T1"/>
                </a:cxn>
                <a:cxn ang="0">
                  <a:pos x="T2" y="T3"/>
                </a:cxn>
                <a:cxn ang="0">
                  <a:pos x="T4" y="T5"/>
                </a:cxn>
                <a:cxn ang="0">
                  <a:pos x="T6" y="T7"/>
                </a:cxn>
              </a:cxnLst>
              <a:rect l="0" t="0" r="r" b="b"/>
              <a:pathLst>
                <a:path w="31" h="30">
                  <a:moveTo>
                    <a:pt x="0" y="0"/>
                  </a:moveTo>
                  <a:lnTo>
                    <a:pt x="0" y="0"/>
                  </a:lnTo>
                  <a:lnTo>
                    <a:pt x="3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1" name="Freeform 399">
              <a:extLst>
                <a:ext uri="{FF2B5EF4-FFF2-40B4-BE49-F238E27FC236}">
                  <a16:creationId xmlns:a16="http://schemas.microsoft.com/office/drawing/2014/main" id="{08755607-0AFC-4F49-A031-41885B694976}"/>
                </a:ext>
              </a:extLst>
            </p:cNvPr>
            <p:cNvSpPr>
              <a:spLocks noChangeArrowheads="1"/>
            </p:cNvSpPr>
            <p:nvPr/>
          </p:nvSpPr>
          <p:spPr bwMode="auto">
            <a:xfrm>
              <a:off x="7878680" y="5052455"/>
              <a:ext cx="22832" cy="21039"/>
            </a:xfrm>
            <a:custGeom>
              <a:avLst/>
              <a:gdLst>
                <a:gd name="T0" fmla="*/ 30 w 60"/>
                <a:gd name="T1" fmla="*/ 29 h 59"/>
                <a:gd name="T2" fmla="*/ 30 w 60"/>
                <a:gd name="T3" fmla="*/ 29 h 59"/>
                <a:gd name="T4" fmla="*/ 0 w 60"/>
                <a:gd name="T5" fmla="*/ 0 h 59"/>
                <a:gd name="T6" fmla="*/ 30 w 60"/>
                <a:gd name="T7" fmla="*/ 29 h 59"/>
                <a:gd name="T8" fmla="*/ 59 w 60"/>
                <a:gd name="T9" fmla="*/ 58 h 59"/>
                <a:gd name="T10" fmla="*/ 59 w 60"/>
                <a:gd name="T11" fmla="*/ 58 h 59"/>
                <a:gd name="T12" fmla="*/ 59 w 60"/>
                <a:gd name="T13" fmla="*/ 58 h 59"/>
                <a:gd name="T14" fmla="*/ 59 w 60"/>
                <a:gd name="T15" fmla="*/ 58 h 59"/>
                <a:gd name="T16" fmla="*/ 30 w 60"/>
                <a:gd name="T17"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59">
                  <a:moveTo>
                    <a:pt x="30" y="29"/>
                  </a:moveTo>
                  <a:lnTo>
                    <a:pt x="30" y="29"/>
                  </a:lnTo>
                  <a:lnTo>
                    <a:pt x="0" y="0"/>
                  </a:lnTo>
                  <a:lnTo>
                    <a:pt x="30" y="29"/>
                  </a:lnTo>
                  <a:cubicBezTo>
                    <a:pt x="59" y="58"/>
                    <a:pt x="59" y="58"/>
                    <a:pt x="59" y="58"/>
                  </a:cubicBezTo>
                  <a:lnTo>
                    <a:pt x="59" y="58"/>
                  </a:lnTo>
                  <a:lnTo>
                    <a:pt x="59" y="58"/>
                  </a:lnTo>
                  <a:lnTo>
                    <a:pt x="59" y="58"/>
                  </a:ln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2" name="Freeform 400">
              <a:extLst>
                <a:ext uri="{FF2B5EF4-FFF2-40B4-BE49-F238E27FC236}">
                  <a16:creationId xmlns:a16="http://schemas.microsoft.com/office/drawing/2014/main" id="{B92C5BD9-5441-48ED-8BCE-1102B24A6368}"/>
                </a:ext>
              </a:extLst>
            </p:cNvPr>
            <p:cNvSpPr>
              <a:spLocks noChangeArrowheads="1"/>
            </p:cNvSpPr>
            <p:nvPr/>
          </p:nvSpPr>
          <p:spPr bwMode="auto">
            <a:xfrm>
              <a:off x="7857479" y="5115570"/>
              <a:ext cx="11415" cy="22656"/>
            </a:xfrm>
            <a:custGeom>
              <a:avLst/>
              <a:gdLst>
                <a:gd name="T0" fmla="*/ 0 w 30"/>
                <a:gd name="T1" fmla="*/ 59 h 60"/>
                <a:gd name="T2" fmla="*/ 0 w 30"/>
                <a:gd name="T3" fmla="*/ 59 h 60"/>
                <a:gd name="T4" fmla="*/ 0 w 30"/>
                <a:gd name="T5" fmla="*/ 59 h 60"/>
                <a:gd name="T6" fmla="*/ 0 w 30"/>
                <a:gd name="T7" fmla="*/ 59 h 60"/>
                <a:gd name="T8" fmla="*/ 0 w 30"/>
                <a:gd name="T9" fmla="*/ 59 h 60"/>
                <a:gd name="T10" fmla="*/ 29 w 30"/>
                <a:gd name="T11" fmla="*/ 0 h 60"/>
                <a:gd name="T12" fmla="*/ 0 w 30"/>
                <a:gd name="T13" fmla="*/ 30 h 60"/>
                <a:gd name="T14" fmla="*/ 0 w 30"/>
                <a:gd name="T15" fmla="*/ 5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60">
                  <a:moveTo>
                    <a:pt x="0" y="59"/>
                  </a:moveTo>
                  <a:lnTo>
                    <a:pt x="0" y="59"/>
                  </a:lnTo>
                  <a:lnTo>
                    <a:pt x="0" y="59"/>
                  </a:lnTo>
                  <a:lnTo>
                    <a:pt x="0" y="59"/>
                  </a:lnTo>
                  <a:lnTo>
                    <a:pt x="0" y="59"/>
                  </a:lnTo>
                  <a:cubicBezTo>
                    <a:pt x="0" y="59"/>
                    <a:pt x="29" y="30"/>
                    <a:pt x="29" y="0"/>
                  </a:cubicBezTo>
                  <a:cubicBezTo>
                    <a:pt x="29" y="30"/>
                    <a:pt x="0" y="30"/>
                    <a:pt x="0" y="30"/>
                  </a:cubicBezTo>
                  <a:cubicBezTo>
                    <a:pt x="0" y="59"/>
                    <a:pt x="0" y="59"/>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3" name="Freeform 401">
              <a:extLst>
                <a:ext uri="{FF2B5EF4-FFF2-40B4-BE49-F238E27FC236}">
                  <a16:creationId xmlns:a16="http://schemas.microsoft.com/office/drawing/2014/main" id="{87736600-C36A-4D08-8EAA-9D65658B9B95}"/>
                </a:ext>
              </a:extLst>
            </p:cNvPr>
            <p:cNvSpPr>
              <a:spLocks noChangeArrowheads="1"/>
            </p:cNvSpPr>
            <p:nvPr/>
          </p:nvSpPr>
          <p:spPr bwMode="auto">
            <a:xfrm>
              <a:off x="7867264" y="5073493"/>
              <a:ext cx="32617" cy="21038"/>
            </a:xfrm>
            <a:custGeom>
              <a:avLst/>
              <a:gdLst>
                <a:gd name="T0" fmla="*/ 29 w 89"/>
                <a:gd name="T1" fmla="*/ 29 h 59"/>
                <a:gd name="T2" fmla="*/ 29 w 89"/>
                <a:gd name="T3" fmla="*/ 29 h 59"/>
                <a:gd name="T4" fmla="*/ 0 w 89"/>
                <a:gd name="T5" fmla="*/ 58 h 59"/>
                <a:gd name="T6" fmla="*/ 0 w 89"/>
                <a:gd name="T7" fmla="*/ 58 h 59"/>
                <a:gd name="T8" fmla="*/ 29 w 89"/>
                <a:gd name="T9" fmla="*/ 29 h 59"/>
                <a:gd name="T10" fmla="*/ 88 w 89"/>
                <a:gd name="T11" fmla="*/ 0 h 59"/>
                <a:gd name="T12" fmla="*/ 88 w 89"/>
                <a:gd name="T13" fmla="*/ 0 h 59"/>
                <a:gd name="T14" fmla="*/ 29 w 89"/>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59">
                  <a:moveTo>
                    <a:pt x="29" y="29"/>
                  </a:moveTo>
                  <a:lnTo>
                    <a:pt x="29" y="29"/>
                  </a:lnTo>
                  <a:cubicBezTo>
                    <a:pt x="0" y="58"/>
                    <a:pt x="0" y="58"/>
                    <a:pt x="0" y="58"/>
                  </a:cubicBezTo>
                  <a:lnTo>
                    <a:pt x="0" y="58"/>
                  </a:lnTo>
                  <a:cubicBezTo>
                    <a:pt x="29" y="29"/>
                    <a:pt x="29" y="29"/>
                    <a:pt x="29" y="29"/>
                  </a:cubicBezTo>
                  <a:cubicBezTo>
                    <a:pt x="29" y="0"/>
                    <a:pt x="59" y="0"/>
                    <a:pt x="88" y="0"/>
                  </a:cubicBezTo>
                  <a:lnTo>
                    <a:pt x="88" y="0"/>
                  </a:lnTo>
                  <a:cubicBezTo>
                    <a:pt x="59" y="0"/>
                    <a:pt x="29" y="0"/>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4" name="Freeform 402">
              <a:extLst>
                <a:ext uri="{FF2B5EF4-FFF2-40B4-BE49-F238E27FC236}">
                  <a16:creationId xmlns:a16="http://schemas.microsoft.com/office/drawing/2014/main" id="{2CB478DD-4A15-448E-8C3A-C565719318C0}"/>
                </a:ext>
              </a:extLst>
            </p:cNvPr>
            <p:cNvSpPr>
              <a:spLocks noChangeArrowheads="1"/>
            </p:cNvSpPr>
            <p:nvPr/>
          </p:nvSpPr>
          <p:spPr bwMode="auto">
            <a:xfrm>
              <a:off x="7415520" y="5491020"/>
              <a:ext cx="11416" cy="11328"/>
            </a:xfrm>
            <a:custGeom>
              <a:avLst/>
              <a:gdLst>
                <a:gd name="T0" fmla="*/ 29 w 30"/>
                <a:gd name="T1" fmla="*/ 29 h 30"/>
                <a:gd name="T2" fmla="*/ 0 w 30"/>
                <a:gd name="T3" fmla="*/ 0 h 30"/>
                <a:gd name="T4" fmla="*/ 29 w 30"/>
                <a:gd name="T5" fmla="*/ 29 h 30"/>
                <a:gd name="T6" fmla="*/ 29 w 30"/>
                <a:gd name="T7" fmla="*/ 0 h 30"/>
                <a:gd name="T8" fmla="*/ 29 w 30"/>
                <a:gd name="T9" fmla="*/ 29 h 30"/>
              </a:gdLst>
              <a:ahLst/>
              <a:cxnLst>
                <a:cxn ang="0">
                  <a:pos x="T0" y="T1"/>
                </a:cxn>
                <a:cxn ang="0">
                  <a:pos x="T2" y="T3"/>
                </a:cxn>
                <a:cxn ang="0">
                  <a:pos x="T4" y="T5"/>
                </a:cxn>
                <a:cxn ang="0">
                  <a:pos x="T6" y="T7"/>
                </a:cxn>
                <a:cxn ang="0">
                  <a:pos x="T8" y="T9"/>
                </a:cxn>
              </a:cxnLst>
              <a:rect l="0" t="0" r="r" b="b"/>
              <a:pathLst>
                <a:path w="30" h="30">
                  <a:moveTo>
                    <a:pt x="29" y="29"/>
                  </a:moveTo>
                  <a:lnTo>
                    <a:pt x="0" y="0"/>
                  </a:lnTo>
                  <a:lnTo>
                    <a:pt x="29" y="29"/>
                  </a:lnTo>
                  <a:lnTo>
                    <a:pt x="29"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5" name="Freeform 403">
              <a:extLst>
                <a:ext uri="{FF2B5EF4-FFF2-40B4-BE49-F238E27FC236}">
                  <a16:creationId xmlns:a16="http://schemas.microsoft.com/office/drawing/2014/main" id="{2546125A-8C63-4E82-8D18-7A830905E8FA}"/>
                </a:ext>
              </a:extLst>
            </p:cNvPr>
            <p:cNvSpPr>
              <a:spLocks noChangeArrowheads="1"/>
            </p:cNvSpPr>
            <p:nvPr/>
          </p:nvSpPr>
          <p:spPr bwMode="auto">
            <a:xfrm>
              <a:off x="7857479" y="5105860"/>
              <a:ext cx="21200" cy="11328"/>
            </a:xfrm>
            <a:custGeom>
              <a:avLst/>
              <a:gdLst>
                <a:gd name="T0" fmla="*/ 0 w 59"/>
                <a:gd name="T1" fmla="*/ 29 h 30"/>
                <a:gd name="T2" fmla="*/ 0 w 59"/>
                <a:gd name="T3" fmla="*/ 29 h 30"/>
                <a:gd name="T4" fmla="*/ 0 w 59"/>
                <a:gd name="T5" fmla="*/ 29 h 30"/>
                <a:gd name="T6" fmla="*/ 0 w 59"/>
                <a:gd name="T7" fmla="*/ 29 h 30"/>
                <a:gd name="T8" fmla="*/ 58 w 59"/>
                <a:gd name="T9" fmla="*/ 0 h 30"/>
                <a:gd name="T10" fmla="*/ 0 w 59"/>
                <a:gd name="T11" fmla="*/ 29 h 30"/>
              </a:gdLst>
              <a:ahLst/>
              <a:cxnLst>
                <a:cxn ang="0">
                  <a:pos x="T0" y="T1"/>
                </a:cxn>
                <a:cxn ang="0">
                  <a:pos x="T2" y="T3"/>
                </a:cxn>
                <a:cxn ang="0">
                  <a:pos x="T4" y="T5"/>
                </a:cxn>
                <a:cxn ang="0">
                  <a:pos x="T6" y="T7"/>
                </a:cxn>
                <a:cxn ang="0">
                  <a:pos x="T8" y="T9"/>
                </a:cxn>
                <a:cxn ang="0">
                  <a:pos x="T10" y="T11"/>
                </a:cxn>
              </a:cxnLst>
              <a:rect l="0" t="0" r="r" b="b"/>
              <a:pathLst>
                <a:path w="59" h="30">
                  <a:moveTo>
                    <a:pt x="0" y="29"/>
                  </a:moveTo>
                  <a:lnTo>
                    <a:pt x="0" y="29"/>
                  </a:lnTo>
                  <a:lnTo>
                    <a:pt x="0" y="29"/>
                  </a:lnTo>
                  <a:lnTo>
                    <a:pt x="0" y="29"/>
                  </a:lnTo>
                  <a:cubicBezTo>
                    <a:pt x="0" y="0"/>
                    <a:pt x="29" y="0"/>
                    <a:pt x="58" y="0"/>
                  </a:cubicBezTo>
                  <a:cubicBezTo>
                    <a:pt x="29"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6" name="Freeform 404">
              <a:extLst>
                <a:ext uri="{FF2B5EF4-FFF2-40B4-BE49-F238E27FC236}">
                  <a16:creationId xmlns:a16="http://schemas.microsoft.com/office/drawing/2014/main" id="{70F8E5D1-5280-45F1-A680-9FD29A666D4C}"/>
                </a:ext>
              </a:extLst>
            </p:cNvPr>
            <p:cNvSpPr>
              <a:spLocks noChangeArrowheads="1"/>
            </p:cNvSpPr>
            <p:nvPr/>
          </p:nvSpPr>
          <p:spPr bwMode="auto">
            <a:xfrm>
              <a:off x="7834647" y="504112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7" name="Freeform 405">
              <a:extLst>
                <a:ext uri="{FF2B5EF4-FFF2-40B4-BE49-F238E27FC236}">
                  <a16:creationId xmlns:a16="http://schemas.microsoft.com/office/drawing/2014/main" id="{3A0AEEDE-07CC-4B85-8DFF-27EE68ABABA3}"/>
                </a:ext>
              </a:extLst>
            </p:cNvPr>
            <p:cNvSpPr>
              <a:spLocks noChangeArrowheads="1"/>
            </p:cNvSpPr>
            <p:nvPr/>
          </p:nvSpPr>
          <p:spPr bwMode="auto">
            <a:xfrm>
              <a:off x="8018932" y="5052455"/>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8" name="Freeform 406">
              <a:extLst>
                <a:ext uri="{FF2B5EF4-FFF2-40B4-BE49-F238E27FC236}">
                  <a16:creationId xmlns:a16="http://schemas.microsoft.com/office/drawing/2014/main" id="{EF87B63D-E69D-40EF-A3E3-FAB3F78A812C}"/>
                </a:ext>
              </a:extLst>
            </p:cNvPr>
            <p:cNvSpPr>
              <a:spLocks noChangeArrowheads="1"/>
            </p:cNvSpPr>
            <p:nvPr/>
          </p:nvSpPr>
          <p:spPr bwMode="auto">
            <a:xfrm>
              <a:off x="4210909" y="3778837"/>
              <a:ext cx="1630" cy="11328"/>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cubicBezTo>
                    <a:pt x="0" y="0"/>
                    <a:pt x="0" y="0"/>
                    <a:pt x="0" y="29"/>
                  </a:cubicBezTo>
                  <a:lnTo>
                    <a:pt x="0" y="29"/>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29" name="Freeform 407">
              <a:extLst>
                <a:ext uri="{FF2B5EF4-FFF2-40B4-BE49-F238E27FC236}">
                  <a16:creationId xmlns:a16="http://schemas.microsoft.com/office/drawing/2014/main" id="{195F080D-2F76-4CBA-B4F2-ED5E3A170D09}"/>
                </a:ext>
              </a:extLst>
            </p:cNvPr>
            <p:cNvSpPr>
              <a:spLocks noChangeArrowheads="1"/>
            </p:cNvSpPr>
            <p:nvPr/>
          </p:nvSpPr>
          <p:spPr bwMode="auto">
            <a:xfrm>
              <a:off x="7425305" y="5351844"/>
              <a:ext cx="21202" cy="11328"/>
            </a:xfrm>
            <a:custGeom>
              <a:avLst/>
              <a:gdLst>
                <a:gd name="T0" fmla="*/ 57 w 58"/>
                <a:gd name="T1" fmla="*/ 0 h 30"/>
                <a:gd name="T2" fmla="*/ 57 w 58"/>
                <a:gd name="T3" fmla="*/ 0 h 30"/>
                <a:gd name="T4" fmla="*/ 57 w 58"/>
                <a:gd name="T5" fmla="*/ 0 h 30"/>
                <a:gd name="T6" fmla="*/ 0 w 58"/>
                <a:gd name="T7" fmla="*/ 29 h 30"/>
                <a:gd name="T8" fmla="*/ 0 w 58"/>
                <a:gd name="T9" fmla="*/ 29 h 30"/>
                <a:gd name="T10" fmla="*/ 0 w 58"/>
                <a:gd name="T11" fmla="*/ 29 h 30"/>
                <a:gd name="T12" fmla="*/ 57 w 58"/>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58" h="30">
                  <a:moveTo>
                    <a:pt x="57" y="0"/>
                  </a:moveTo>
                  <a:lnTo>
                    <a:pt x="57" y="0"/>
                  </a:lnTo>
                  <a:lnTo>
                    <a:pt x="57" y="0"/>
                  </a:lnTo>
                  <a:cubicBezTo>
                    <a:pt x="57" y="0"/>
                    <a:pt x="28" y="29"/>
                    <a:pt x="0" y="29"/>
                  </a:cubicBezTo>
                  <a:lnTo>
                    <a:pt x="0" y="29"/>
                  </a:lnTo>
                  <a:lnTo>
                    <a:pt x="0" y="29"/>
                  </a:lnTo>
                  <a:cubicBezTo>
                    <a:pt x="28" y="29"/>
                    <a:pt x="57" y="0"/>
                    <a:pt x="5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0" name="Freeform 408">
              <a:extLst>
                <a:ext uri="{FF2B5EF4-FFF2-40B4-BE49-F238E27FC236}">
                  <a16:creationId xmlns:a16="http://schemas.microsoft.com/office/drawing/2014/main" id="{537C6C18-3E79-4811-A452-66B2574EF49B}"/>
                </a:ext>
              </a:extLst>
            </p:cNvPr>
            <p:cNvSpPr>
              <a:spLocks noChangeArrowheads="1"/>
            </p:cNvSpPr>
            <p:nvPr/>
          </p:nvSpPr>
          <p:spPr bwMode="auto">
            <a:xfrm>
              <a:off x="7878680" y="5020088"/>
              <a:ext cx="11416" cy="1619"/>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0" y="0"/>
                    <a:pt x="0" y="0"/>
                    <a:pt x="0" y="0"/>
                  </a:cubicBezTo>
                  <a:cubicBezTo>
                    <a:pt x="0" y="0"/>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1" name="Freeform 409">
              <a:extLst>
                <a:ext uri="{FF2B5EF4-FFF2-40B4-BE49-F238E27FC236}">
                  <a16:creationId xmlns:a16="http://schemas.microsoft.com/office/drawing/2014/main" id="{FA4D7B34-BFC5-46A8-8098-5FB660E719F2}"/>
                </a:ext>
              </a:extLst>
            </p:cNvPr>
            <p:cNvSpPr>
              <a:spLocks noChangeArrowheads="1"/>
            </p:cNvSpPr>
            <p:nvPr/>
          </p:nvSpPr>
          <p:spPr bwMode="auto">
            <a:xfrm>
              <a:off x="7846063" y="509453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2" name="Freeform 410">
              <a:extLst>
                <a:ext uri="{FF2B5EF4-FFF2-40B4-BE49-F238E27FC236}">
                  <a16:creationId xmlns:a16="http://schemas.microsoft.com/office/drawing/2014/main" id="{91A87314-50B1-4A99-BEA8-C2924FCB8C70}"/>
                </a:ext>
              </a:extLst>
            </p:cNvPr>
            <p:cNvSpPr>
              <a:spLocks noChangeArrowheads="1"/>
            </p:cNvSpPr>
            <p:nvPr/>
          </p:nvSpPr>
          <p:spPr bwMode="auto">
            <a:xfrm>
              <a:off x="7857479" y="510586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3" name="Freeform 411">
              <a:extLst>
                <a:ext uri="{FF2B5EF4-FFF2-40B4-BE49-F238E27FC236}">
                  <a16:creationId xmlns:a16="http://schemas.microsoft.com/office/drawing/2014/main" id="{83DA780E-55AE-46CC-85D0-52DEAC628220}"/>
                </a:ext>
              </a:extLst>
            </p:cNvPr>
            <p:cNvSpPr>
              <a:spLocks noChangeArrowheads="1"/>
            </p:cNvSpPr>
            <p:nvPr/>
          </p:nvSpPr>
          <p:spPr bwMode="auto">
            <a:xfrm>
              <a:off x="7425305" y="5363172"/>
              <a:ext cx="44033" cy="85771"/>
            </a:xfrm>
            <a:custGeom>
              <a:avLst/>
              <a:gdLst>
                <a:gd name="T0" fmla="*/ 57 w 117"/>
                <a:gd name="T1" fmla="*/ 234 h 235"/>
                <a:gd name="T2" fmla="*/ 57 w 117"/>
                <a:gd name="T3" fmla="*/ 234 h 235"/>
                <a:gd name="T4" fmla="*/ 57 w 117"/>
                <a:gd name="T5" fmla="*/ 205 h 235"/>
                <a:gd name="T6" fmla="*/ 57 w 117"/>
                <a:gd name="T7" fmla="*/ 29 h 235"/>
                <a:gd name="T8" fmla="*/ 57 w 117"/>
                <a:gd name="T9" fmla="*/ 29 h 235"/>
                <a:gd name="T10" fmla="*/ 57 w 117"/>
                <a:gd name="T11" fmla="*/ 29 h 235"/>
                <a:gd name="T12" fmla="*/ 0 w 117"/>
                <a:gd name="T13" fmla="*/ 0 h 235"/>
                <a:gd name="T14" fmla="*/ 0 w 117"/>
                <a:gd name="T15" fmla="*/ 0 h 235"/>
                <a:gd name="T16" fmla="*/ 0 w 117"/>
                <a:gd name="T17" fmla="*/ 0 h 235"/>
                <a:gd name="T18" fmla="*/ 57 w 117"/>
                <a:gd name="T19" fmla="*/ 29 h 235"/>
                <a:gd name="T20" fmla="*/ 57 w 117"/>
                <a:gd name="T21" fmla="*/ 29 h 235"/>
                <a:gd name="T22" fmla="*/ 57 w 117"/>
                <a:gd name="T23" fmla="*/ 29 h 235"/>
                <a:gd name="T24" fmla="*/ 57 w 117"/>
                <a:gd name="T25" fmla="*/ 205 h 235"/>
                <a:gd name="T26" fmla="*/ 57 w 117"/>
                <a:gd name="T27" fmla="*/ 23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235">
                  <a:moveTo>
                    <a:pt x="57" y="234"/>
                  </a:moveTo>
                  <a:lnTo>
                    <a:pt x="57" y="234"/>
                  </a:lnTo>
                  <a:cubicBezTo>
                    <a:pt x="57" y="205"/>
                    <a:pt x="57" y="205"/>
                    <a:pt x="57" y="205"/>
                  </a:cubicBezTo>
                  <a:cubicBezTo>
                    <a:pt x="87" y="146"/>
                    <a:pt x="116" y="88"/>
                    <a:pt x="57" y="29"/>
                  </a:cubicBezTo>
                  <a:lnTo>
                    <a:pt x="57" y="29"/>
                  </a:lnTo>
                  <a:lnTo>
                    <a:pt x="57" y="29"/>
                  </a:lnTo>
                  <a:cubicBezTo>
                    <a:pt x="28" y="0"/>
                    <a:pt x="28" y="0"/>
                    <a:pt x="0" y="0"/>
                  </a:cubicBezTo>
                  <a:lnTo>
                    <a:pt x="0" y="0"/>
                  </a:lnTo>
                  <a:lnTo>
                    <a:pt x="0" y="0"/>
                  </a:lnTo>
                  <a:cubicBezTo>
                    <a:pt x="28" y="0"/>
                    <a:pt x="28" y="0"/>
                    <a:pt x="57" y="29"/>
                  </a:cubicBezTo>
                  <a:lnTo>
                    <a:pt x="57" y="29"/>
                  </a:lnTo>
                  <a:lnTo>
                    <a:pt x="57" y="29"/>
                  </a:lnTo>
                  <a:cubicBezTo>
                    <a:pt x="116" y="88"/>
                    <a:pt x="87" y="146"/>
                    <a:pt x="57" y="205"/>
                  </a:cubicBezTo>
                  <a:cubicBezTo>
                    <a:pt x="57" y="205"/>
                    <a:pt x="57" y="205"/>
                    <a:pt x="57" y="23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4" name="Freeform 412">
              <a:extLst>
                <a:ext uri="{FF2B5EF4-FFF2-40B4-BE49-F238E27FC236}">
                  <a16:creationId xmlns:a16="http://schemas.microsoft.com/office/drawing/2014/main" id="{14D4A753-E973-4D44-987A-2CA41122BCEE}"/>
                </a:ext>
              </a:extLst>
            </p:cNvPr>
            <p:cNvSpPr>
              <a:spLocks noChangeArrowheads="1"/>
            </p:cNvSpPr>
            <p:nvPr/>
          </p:nvSpPr>
          <p:spPr bwMode="auto">
            <a:xfrm>
              <a:off x="4297343" y="3853280"/>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5" name="Freeform 413">
              <a:extLst>
                <a:ext uri="{FF2B5EF4-FFF2-40B4-BE49-F238E27FC236}">
                  <a16:creationId xmlns:a16="http://schemas.microsoft.com/office/drawing/2014/main" id="{152BA6FB-A2BB-4E91-BAC2-F00AC299B712}"/>
                </a:ext>
              </a:extLst>
            </p:cNvPr>
            <p:cNvSpPr>
              <a:spLocks noChangeArrowheads="1"/>
            </p:cNvSpPr>
            <p:nvPr/>
          </p:nvSpPr>
          <p:spPr bwMode="auto">
            <a:xfrm>
              <a:off x="4329960" y="4045860"/>
              <a:ext cx="11416" cy="11329"/>
            </a:xfrm>
            <a:custGeom>
              <a:avLst/>
              <a:gdLst>
                <a:gd name="T0" fmla="*/ 29 w 30"/>
                <a:gd name="T1" fmla="*/ 0 h 31"/>
                <a:gd name="T2" fmla="*/ 29 w 30"/>
                <a:gd name="T3" fmla="*/ 0 h 31"/>
                <a:gd name="T4" fmla="*/ 29 w 30"/>
                <a:gd name="T5" fmla="*/ 0 h 31"/>
                <a:gd name="T6" fmla="*/ 0 w 30"/>
                <a:gd name="T7" fmla="*/ 30 h 31"/>
                <a:gd name="T8" fmla="*/ 0 w 30"/>
                <a:gd name="T9" fmla="*/ 30 h 31"/>
                <a:gd name="T10" fmla="*/ 29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29" y="0"/>
                  </a:moveTo>
                  <a:lnTo>
                    <a:pt x="29" y="0"/>
                  </a:lnTo>
                  <a:lnTo>
                    <a:pt x="29" y="0"/>
                  </a:lnTo>
                  <a:cubicBezTo>
                    <a:pt x="29" y="0"/>
                    <a:pt x="0" y="0"/>
                    <a:pt x="0" y="30"/>
                  </a:cubicBezTo>
                  <a:lnTo>
                    <a:pt x="0" y="30"/>
                  </a:lnTo>
                  <a:cubicBezTo>
                    <a:pt x="0"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6" name="Freeform 414">
              <a:extLst>
                <a:ext uri="{FF2B5EF4-FFF2-40B4-BE49-F238E27FC236}">
                  <a16:creationId xmlns:a16="http://schemas.microsoft.com/office/drawing/2014/main" id="{80035F7E-E827-49FF-BA7C-A3521C9B9CC9}"/>
                </a:ext>
              </a:extLst>
            </p:cNvPr>
            <p:cNvSpPr>
              <a:spLocks noChangeArrowheads="1"/>
            </p:cNvSpPr>
            <p:nvPr/>
          </p:nvSpPr>
          <p:spPr bwMode="auto">
            <a:xfrm>
              <a:off x="4352792" y="3981127"/>
              <a:ext cx="11416" cy="1619"/>
            </a:xfrm>
            <a:custGeom>
              <a:avLst/>
              <a:gdLst>
                <a:gd name="T0" fmla="*/ 0 w 30"/>
                <a:gd name="T1" fmla="*/ 0 h 1"/>
                <a:gd name="T2" fmla="*/ 0 w 30"/>
                <a:gd name="T3" fmla="*/ 0 h 1"/>
                <a:gd name="T4" fmla="*/ 29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29"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7" name="Freeform 415">
              <a:extLst>
                <a:ext uri="{FF2B5EF4-FFF2-40B4-BE49-F238E27FC236}">
                  <a16:creationId xmlns:a16="http://schemas.microsoft.com/office/drawing/2014/main" id="{28924AF0-8F82-4E0F-843D-A2445950EFA7}"/>
                </a:ext>
              </a:extLst>
            </p:cNvPr>
            <p:cNvSpPr>
              <a:spLocks noChangeArrowheads="1"/>
            </p:cNvSpPr>
            <p:nvPr/>
          </p:nvSpPr>
          <p:spPr bwMode="auto">
            <a:xfrm>
              <a:off x="4287558" y="388564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8" name="Freeform 416">
              <a:extLst>
                <a:ext uri="{FF2B5EF4-FFF2-40B4-BE49-F238E27FC236}">
                  <a16:creationId xmlns:a16="http://schemas.microsoft.com/office/drawing/2014/main" id="{95FD5100-0D48-4D81-8005-C07F0A0C7CF3}"/>
                </a:ext>
              </a:extLst>
            </p:cNvPr>
            <p:cNvSpPr>
              <a:spLocks noChangeArrowheads="1"/>
            </p:cNvSpPr>
            <p:nvPr/>
          </p:nvSpPr>
          <p:spPr bwMode="auto">
            <a:xfrm>
              <a:off x="4320175" y="4045860"/>
              <a:ext cx="1631" cy="11329"/>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cubicBezTo>
                    <a:pt x="0" y="30"/>
                    <a:pt x="0" y="30"/>
                    <a:pt x="0"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39" name="Freeform 417">
              <a:extLst>
                <a:ext uri="{FF2B5EF4-FFF2-40B4-BE49-F238E27FC236}">
                  <a16:creationId xmlns:a16="http://schemas.microsoft.com/office/drawing/2014/main" id="{244519A5-B925-4047-BECB-6222B6C2AAAC}"/>
                </a:ext>
              </a:extLst>
            </p:cNvPr>
            <p:cNvSpPr>
              <a:spLocks noChangeArrowheads="1"/>
            </p:cNvSpPr>
            <p:nvPr/>
          </p:nvSpPr>
          <p:spPr bwMode="auto">
            <a:xfrm>
              <a:off x="7598174" y="5201340"/>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0" name="Freeform 418">
              <a:extLst>
                <a:ext uri="{FF2B5EF4-FFF2-40B4-BE49-F238E27FC236}">
                  <a16:creationId xmlns:a16="http://schemas.microsoft.com/office/drawing/2014/main" id="{DE498800-107E-4594-A1F4-DFFE20AA621D}"/>
                </a:ext>
              </a:extLst>
            </p:cNvPr>
            <p:cNvSpPr>
              <a:spLocks noChangeArrowheads="1"/>
            </p:cNvSpPr>
            <p:nvPr/>
          </p:nvSpPr>
          <p:spPr bwMode="auto">
            <a:xfrm>
              <a:off x="4329960" y="3939050"/>
              <a:ext cx="22832" cy="21039"/>
            </a:xfrm>
            <a:custGeom>
              <a:avLst/>
              <a:gdLst>
                <a:gd name="T0" fmla="*/ 0 w 60"/>
                <a:gd name="T1" fmla="*/ 29 h 59"/>
                <a:gd name="T2" fmla="*/ 0 w 60"/>
                <a:gd name="T3" fmla="*/ 29 h 59"/>
                <a:gd name="T4" fmla="*/ 0 w 60"/>
                <a:gd name="T5" fmla="*/ 0 h 59"/>
                <a:gd name="T6" fmla="*/ 0 w 60"/>
                <a:gd name="T7" fmla="*/ 29 h 59"/>
                <a:gd name="T8" fmla="*/ 29 w 60"/>
                <a:gd name="T9" fmla="*/ 58 h 59"/>
                <a:gd name="T10" fmla="*/ 59 w 60"/>
                <a:gd name="T11" fmla="*/ 58 h 59"/>
                <a:gd name="T12" fmla="*/ 29 w 60"/>
                <a:gd name="T13" fmla="*/ 58 h 59"/>
                <a:gd name="T14" fmla="*/ 0 w 60"/>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0" y="29"/>
                  </a:moveTo>
                  <a:lnTo>
                    <a:pt x="0" y="29"/>
                  </a:lnTo>
                  <a:cubicBezTo>
                    <a:pt x="0" y="0"/>
                    <a:pt x="0" y="0"/>
                    <a:pt x="0" y="0"/>
                  </a:cubicBezTo>
                  <a:cubicBezTo>
                    <a:pt x="0" y="0"/>
                    <a:pt x="0" y="0"/>
                    <a:pt x="0" y="29"/>
                  </a:cubicBezTo>
                  <a:cubicBezTo>
                    <a:pt x="29" y="29"/>
                    <a:pt x="29" y="29"/>
                    <a:pt x="29" y="58"/>
                  </a:cubicBezTo>
                  <a:cubicBezTo>
                    <a:pt x="59" y="58"/>
                    <a:pt x="59" y="58"/>
                    <a:pt x="59" y="58"/>
                  </a:cubicBezTo>
                  <a:cubicBezTo>
                    <a:pt x="59" y="58"/>
                    <a:pt x="59" y="58"/>
                    <a:pt x="29" y="58"/>
                  </a:cubicBezTo>
                  <a:cubicBezTo>
                    <a:pt x="29" y="29"/>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1" name="Freeform 419">
              <a:extLst>
                <a:ext uri="{FF2B5EF4-FFF2-40B4-BE49-F238E27FC236}">
                  <a16:creationId xmlns:a16="http://schemas.microsoft.com/office/drawing/2014/main" id="{E58E46BC-B277-41EA-8126-DFE8EA216378}"/>
                </a:ext>
              </a:extLst>
            </p:cNvPr>
            <p:cNvSpPr>
              <a:spLocks noChangeArrowheads="1"/>
            </p:cNvSpPr>
            <p:nvPr/>
          </p:nvSpPr>
          <p:spPr bwMode="auto">
            <a:xfrm>
              <a:off x="4362577" y="405718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2" name="Freeform 420">
              <a:extLst>
                <a:ext uri="{FF2B5EF4-FFF2-40B4-BE49-F238E27FC236}">
                  <a16:creationId xmlns:a16="http://schemas.microsoft.com/office/drawing/2014/main" id="{98C3D90C-67F6-4496-9B1E-E5F51C5FBDBC}"/>
                </a:ext>
              </a:extLst>
            </p:cNvPr>
            <p:cNvSpPr>
              <a:spLocks noChangeArrowheads="1"/>
            </p:cNvSpPr>
            <p:nvPr/>
          </p:nvSpPr>
          <p:spPr bwMode="auto">
            <a:xfrm>
              <a:off x="5236710" y="4474715"/>
              <a:ext cx="44033" cy="22656"/>
            </a:xfrm>
            <a:custGeom>
              <a:avLst/>
              <a:gdLst>
                <a:gd name="T0" fmla="*/ 117 w 118"/>
                <a:gd name="T1" fmla="*/ 59 h 60"/>
                <a:gd name="T2" fmla="*/ 117 w 118"/>
                <a:gd name="T3" fmla="*/ 59 h 60"/>
                <a:gd name="T4" fmla="*/ 0 w 118"/>
                <a:gd name="T5" fmla="*/ 0 h 60"/>
                <a:gd name="T6" fmla="*/ 117 w 118"/>
                <a:gd name="T7" fmla="*/ 59 h 60"/>
              </a:gdLst>
              <a:ahLst/>
              <a:cxnLst>
                <a:cxn ang="0">
                  <a:pos x="T0" y="T1"/>
                </a:cxn>
                <a:cxn ang="0">
                  <a:pos x="T2" y="T3"/>
                </a:cxn>
                <a:cxn ang="0">
                  <a:pos x="T4" y="T5"/>
                </a:cxn>
                <a:cxn ang="0">
                  <a:pos x="T6" y="T7"/>
                </a:cxn>
              </a:cxnLst>
              <a:rect l="0" t="0" r="r" b="b"/>
              <a:pathLst>
                <a:path w="118" h="60">
                  <a:moveTo>
                    <a:pt x="117" y="59"/>
                  </a:moveTo>
                  <a:lnTo>
                    <a:pt x="117" y="59"/>
                  </a:lnTo>
                  <a:cubicBezTo>
                    <a:pt x="88" y="59"/>
                    <a:pt x="29" y="30"/>
                    <a:pt x="0" y="0"/>
                  </a:cubicBezTo>
                  <a:cubicBezTo>
                    <a:pt x="29" y="30"/>
                    <a:pt x="88" y="59"/>
                    <a:pt x="117"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3" name="Freeform 421">
              <a:extLst>
                <a:ext uri="{FF2B5EF4-FFF2-40B4-BE49-F238E27FC236}">
                  <a16:creationId xmlns:a16="http://schemas.microsoft.com/office/drawing/2014/main" id="{54A0B013-0F49-4785-BF9F-0941F232591B}"/>
                </a:ext>
              </a:extLst>
            </p:cNvPr>
            <p:cNvSpPr>
              <a:spLocks noChangeArrowheads="1"/>
            </p:cNvSpPr>
            <p:nvPr/>
          </p:nvSpPr>
          <p:spPr bwMode="auto">
            <a:xfrm>
              <a:off x="4329960" y="3939050"/>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4" name="Freeform 422">
              <a:extLst>
                <a:ext uri="{FF2B5EF4-FFF2-40B4-BE49-F238E27FC236}">
                  <a16:creationId xmlns:a16="http://schemas.microsoft.com/office/drawing/2014/main" id="{510A6FC3-FF86-490C-A034-CC29037EDFEE}"/>
                </a:ext>
              </a:extLst>
            </p:cNvPr>
            <p:cNvSpPr>
              <a:spLocks noChangeArrowheads="1"/>
            </p:cNvSpPr>
            <p:nvPr/>
          </p:nvSpPr>
          <p:spPr bwMode="auto">
            <a:xfrm>
              <a:off x="3661313" y="2108731"/>
              <a:ext cx="1208457" cy="2011571"/>
            </a:xfrm>
            <a:custGeom>
              <a:avLst/>
              <a:gdLst>
                <a:gd name="T0" fmla="*/ 2362 w 3268"/>
                <a:gd name="T1" fmla="*/ 5424 h 5483"/>
                <a:gd name="T2" fmla="*/ 3004 w 3268"/>
                <a:gd name="T3" fmla="*/ 5482 h 5483"/>
                <a:gd name="T4" fmla="*/ 3004 w 3268"/>
                <a:gd name="T5" fmla="*/ 5394 h 5483"/>
                <a:gd name="T6" fmla="*/ 3033 w 3268"/>
                <a:gd name="T7" fmla="*/ 5015 h 5483"/>
                <a:gd name="T8" fmla="*/ 3091 w 3268"/>
                <a:gd name="T9" fmla="*/ 4986 h 5483"/>
                <a:gd name="T10" fmla="*/ 3237 w 3268"/>
                <a:gd name="T11" fmla="*/ 4811 h 5483"/>
                <a:gd name="T12" fmla="*/ 3208 w 3268"/>
                <a:gd name="T13" fmla="*/ 4665 h 5483"/>
                <a:gd name="T14" fmla="*/ 3179 w 3268"/>
                <a:gd name="T15" fmla="*/ 4549 h 5483"/>
                <a:gd name="T16" fmla="*/ 3120 w 3268"/>
                <a:gd name="T17" fmla="*/ 4403 h 5483"/>
                <a:gd name="T18" fmla="*/ 1984 w 3268"/>
                <a:gd name="T19" fmla="*/ 2653 h 5483"/>
                <a:gd name="T20" fmla="*/ 1517 w 3268"/>
                <a:gd name="T21" fmla="*/ 1924 h 5483"/>
                <a:gd name="T22" fmla="*/ 1575 w 3268"/>
                <a:gd name="T23" fmla="*/ 1574 h 5483"/>
                <a:gd name="T24" fmla="*/ 1925 w 3268"/>
                <a:gd name="T25" fmla="*/ 467 h 5483"/>
                <a:gd name="T26" fmla="*/ 350 w 3268"/>
                <a:gd name="T27" fmla="*/ 0 h 5483"/>
                <a:gd name="T28" fmla="*/ 408 w 3268"/>
                <a:gd name="T29" fmla="*/ 117 h 5483"/>
                <a:gd name="T30" fmla="*/ 263 w 3268"/>
                <a:gd name="T31" fmla="*/ 524 h 5483"/>
                <a:gd name="T32" fmla="*/ 87 w 3268"/>
                <a:gd name="T33" fmla="*/ 758 h 5483"/>
                <a:gd name="T34" fmla="*/ 146 w 3268"/>
                <a:gd name="T35" fmla="*/ 903 h 5483"/>
                <a:gd name="T36" fmla="*/ 175 w 3268"/>
                <a:gd name="T37" fmla="*/ 961 h 5483"/>
                <a:gd name="T38" fmla="*/ 117 w 3268"/>
                <a:gd name="T39" fmla="*/ 1399 h 5483"/>
                <a:gd name="T40" fmla="*/ 87 w 3268"/>
                <a:gd name="T41" fmla="*/ 1428 h 5483"/>
                <a:gd name="T42" fmla="*/ 0 w 3268"/>
                <a:gd name="T43" fmla="*/ 1516 h 5483"/>
                <a:gd name="T44" fmla="*/ 117 w 3268"/>
                <a:gd name="T45" fmla="*/ 1516 h 5483"/>
                <a:gd name="T46" fmla="*/ 175 w 3268"/>
                <a:gd name="T47" fmla="*/ 1691 h 5483"/>
                <a:gd name="T48" fmla="*/ 263 w 3268"/>
                <a:gd name="T49" fmla="*/ 1808 h 5483"/>
                <a:gd name="T50" fmla="*/ 350 w 3268"/>
                <a:gd name="T51" fmla="*/ 1982 h 5483"/>
                <a:gd name="T52" fmla="*/ 204 w 3268"/>
                <a:gd name="T53" fmla="*/ 2041 h 5483"/>
                <a:gd name="T54" fmla="*/ 263 w 3268"/>
                <a:gd name="T55" fmla="*/ 2011 h 5483"/>
                <a:gd name="T56" fmla="*/ 350 w 3268"/>
                <a:gd name="T57" fmla="*/ 2128 h 5483"/>
                <a:gd name="T58" fmla="*/ 525 w 3268"/>
                <a:gd name="T59" fmla="*/ 2011 h 5483"/>
                <a:gd name="T60" fmla="*/ 787 w 3268"/>
                <a:gd name="T61" fmla="*/ 2011 h 5483"/>
                <a:gd name="T62" fmla="*/ 817 w 3268"/>
                <a:gd name="T63" fmla="*/ 2099 h 5483"/>
                <a:gd name="T64" fmla="*/ 613 w 3268"/>
                <a:gd name="T65" fmla="*/ 2128 h 5483"/>
                <a:gd name="T66" fmla="*/ 496 w 3268"/>
                <a:gd name="T67" fmla="*/ 2128 h 5483"/>
                <a:gd name="T68" fmla="*/ 496 w 3268"/>
                <a:gd name="T69" fmla="*/ 2244 h 5483"/>
                <a:gd name="T70" fmla="*/ 554 w 3268"/>
                <a:gd name="T71" fmla="*/ 2391 h 5483"/>
                <a:gd name="T72" fmla="*/ 496 w 3268"/>
                <a:gd name="T73" fmla="*/ 2507 h 5483"/>
                <a:gd name="T74" fmla="*/ 408 w 3268"/>
                <a:gd name="T75" fmla="*/ 2391 h 5483"/>
                <a:gd name="T76" fmla="*/ 350 w 3268"/>
                <a:gd name="T77" fmla="*/ 2274 h 5483"/>
                <a:gd name="T78" fmla="*/ 291 w 3268"/>
                <a:gd name="T79" fmla="*/ 2711 h 5483"/>
                <a:gd name="T80" fmla="*/ 408 w 3268"/>
                <a:gd name="T81" fmla="*/ 2887 h 5483"/>
                <a:gd name="T82" fmla="*/ 437 w 3268"/>
                <a:gd name="T83" fmla="*/ 2974 h 5483"/>
                <a:gd name="T84" fmla="*/ 584 w 3268"/>
                <a:gd name="T85" fmla="*/ 3324 h 5483"/>
                <a:gd name="T86" fmla="*/ 613 w 3268"/>
                <a:gd name="T87" fmla="*/ 3353 h 5483"/>
                <a:gd name="T88" fmla="*/ 729 w 3268"/>
                <a:gd name="T89" fmla="*/ 3528 h 5483"/>
                <a:gd name="T90" fmla="*/ 700 w 3268"/>
                <a:gd name="T91" fmla="*/ 3587 h 5483"/>
                <a:gd name="T92" fmla="*/ 700 w 3268"/>
                <a:gd name="T93" fmla="*/ 3937 h 5483"/>
                <a:gd name="T94" fmla="*/ 670 w 3268"/>
                <a:gd name="T95" fmla="*/ 3965 h 5483"/>
                <a:gd name="T96" fmla="*/ 787 w 3268"/>
                <a:gd name="T97" fmla="*/ 4082 h 5483"/>
                <a:gd name="T98" fmla="*/ 991 w 3268"/>
                <a:gd name="T99" fmla="*/ 4141 h 5483"/>
                <a:gd name="T100" fmla="*/ 1137 w 3268"/>
                <a:gd name="T101" fmla="*/ 4228 h 5483"/>
                <a:gd name="T102" fmla="*/ 1341 w 3268"/>
                <a:gd name="T103" fmla="*/ 4403 h 5483"/>
                <a:gd name="T104" fmla="*/ 1341 w 3268"/>
                <a:gd name="T105" fmla="*/ 4432 h 5483"/>
                <a:gd name="T106" fmla="*/ 1400 w 3268"/>
                <a:gd name="T107" fmla="*/ 4403 h 5483"/>
                <a:gd name="T108" fmla="*/ 1487 w 3268"/>
                <a:gd name="T109" fmla="*/ 4694 h 5483"/>
                <a:gd name="T110" fmla="*/ 1575 w 3268"/>
                <a:gd name="T111" fmla="*/ 4694 h 5483"/>
                <a:gd name="T112" fmla="*/ 1662 w 3268"/>
                <a:gd name="T113" fmla="*/ 4724 h 5483"/>
                <a:gd name="T114" fmla="*/ 1750 w 3268"/>
                <a:gd name="T115" fmla="*/ 4841 h 5483"/>
                <a:gd name="T116" fmla="*/ 1896 w 3268"/>
                <a:gd name="T117" fmla="*/ 5015 h 5483"/>
                <a:gd name="T118" fmla="*/ 1925 w 3268"/>
                <a:gd name="T119" fmla="*/ 5103 h 5483"/>
                <a:gd name="T120" fmla="*/ 1867 w 3268"/>
                <a:gd name="T121" fmla="*/ 5249 h 5483"/>
                <a:gd name="T122" fmla="*/ 1984 w 3268"/>
                <a:gd name="T123" fmla="*/ 5394 h 5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8" h="5483">
                  <a:moveTo>
                    <a:pt x="1984" y="5394"/>
                  </a:moveTo>
                  <a:lnTo>
                    <a:pt x="1984" y="5394"/>
                  </a:lnTo>
                  <a:cubicBezTo>
                    <a:pt x="2100" y="5394"/>
                    <a:pt x="2246" y="5424"/>
                    <a:pt x="2362" y="5424"/>
                  </a:cubicBezTo>
                  <a:cubicBezTo>
                    <a:pt x="2450" y="5424"/>
                    <a:pt x="2537" y="5424"/>
                    <a:pt x="2654" y="5453"/>
                  </a:cubicBezTo>
                  <a:cubicBezTo>
                    <a:pt x="2683" y="5453"/>
                    <a:pt x="2683" y="5453"/>
                    <a:pt x="2712" y="5453"/>
                  </a:cubicBezTo>
                  <a:cubicBezTo>
                    <a:pt x="2829" y="5453"/>
                    <a:pt x="2917" y="5453"/>
                    <a:pt x="3004" y="5482"/>
                  </a:cubicBezTo>
                  <a:lnTo>
                    <a:pt x="3033" y="5482"/>
                  </a:lnTo>
                  <a:lnTo>
                    <a:pt x="3033" y="5482"/>
                  </a:lnTo>
                  <a:cubicBezTo>
                    <a:pt x="3033" y="5453"/>
                    <a:pt x="3004" y="5424"/>
                    <a:pt x="3004" y="5394"/>
                  </a:cubicBezTo>
                  <a:cubicBezTo>
                    <a:pt x="2975" y="5365"/>
                    <a:pt x="2946" y="5308"/>
                    <a:pt x="2946" y="5249"/>
                  </a:cubicBezTo>
                  <a:cubicBezTo>
                    <a:pt x="2946" y="5191"/>
                    <a:pt x="2975" y="5161"/>
                    <a:pt x="3004" y="5132"/>
                  </a:cubicBezTo>
                  <a:cubicBezTo>
                    <a:pt x="3033" y="5074"/>
                    <a:pt x="3033" y="5044"/>
                    <a:pt x="3033" y="5015"/>
                  </a:cubicBezTo>
                  <a:cubicBezTo>
                    <a:pt x="3033" y="4986"/>
                    <a:pt x="3033" y="4986"/>
                    <a:pt x="3033" y="4986"/>
                  </a:cubicBezTo>
                  <a:cubicBezTo>
                    <a:pt x="3062" y="4986"/>
                    <a:pt x="3062" y="4986"/>
                    <a:pt x="3062" y="4986"/>
                  </a:cubicBezTo>
                  <a:cubicBezTo>
                    <a:pt x="3091" y="4986"/>
                    <a:pt x="3091" y="4986"/>
                    <a:pt x="3091" y="4986"/>
                  </a:cubicBezTo>
                  <a:cubicBezTo>
                    <a:pt x="3120" y="4928"/>
                    <a:pt x="3150" y="4870"/>
                    <a:pt x="3179" y="4841"/>
                  </a:cubicBezTo>
                  <a:cubicBezTo>
                    <a:pt x="3208" y="4841"/>
                    <a:pt x="3208" y="4841"/>
                    <a:pt x="3208" y="4841"/>
                  </a:cubicBezTo>
                  <a:cubicBezTo>
                    <a:pt x="3208" y="4811"/>
                    <a:pt x="3208" y="4811"/>
                    <a:pt x="3237" y="4811"/>
                  </a:cubicBezTo>
                  <a:cubicBezTo>
                    <a:pt x="3237" y="4782"/>
                    <a:pt x="3267" y="4753"/>
                    <a:pt x="3267" y="4753"/>
                  </a:cubicBezTo>
                  <a:cubicBezTo>
                    <a:pt x="3267" y="4724"/>
                    <a:pt x="3267" y="4724"/>
                    <a:pt x="3237" y="4694"/>
                  </a:cubicBezTo>
                  <a:lnTo>
                    <a:pt x="3208" y="4665"/>
                  </a:lnTo>
                  <a:cubicBezTo>
                    <a:pt x="3208" y="4636"/>
                    <a:pt x="3208" y="4636"/>
                    <a:pt x="3208" y="4636"/>
                  </a:cubicBezTo>
                  <a:cubicBezTo>
                    <a:pt x="3208" y="4608"/>
                    <a:pt x="3208" y="4608"/>
                    <a:pt x="3208" y="4608"/>
                  </a:cubicBezTo>
                  <a:cubicBezTo>
                    <a:pt x="3208" y="4578"/>
                    <a:pt x="3208" y="4578"/>
                    <a:pt x="3179" y="4549"/>
                  </a:cubicBezTo>
                  <a:cubicBezTo>
                    <a:pt x="3179" y="4549"/>
                    <a:pt x="3179" y="4520"/>
                    <a:pt x="3150" y="4520"/>
                  </a:cubicBezTo>
                  <a:cubicBezTo>
                    <a:pt x="3150" y="4490"/>
                    <a:pt x="3150" y="4490"/>
                    <a:pt x="3150" y="4461"/>
                  </a:cubicBezTo>
                  <a:cubicBezTo>
                    <a:pt x="3150" y="4432"/>
                    <a:pt x="3150" y="4432"/>
                    <a:pt x="3120" y="4403"/>
                  </a:cubicBezTo>
                  <a:lnTo>
                    <a:pt x="3120" y="4403"/>
                  </a:lnTo>
                  <a:lnTo>
                    <a:pt x="3120" y="4403"/>
                  </a:lnTo>
                  <a:cubicBezTo>
                    <a:pt x="2741" y="3820"/>
                    <a:pt x="2362" y="3208"/>
                    <a:pt x="1984" y="2653"/>
                  </a:cubicBezTo>
                  <a:cubicBezTo>
                    <a:pt x="1808" y="2420"/>
                    <a:pt x="1662" y="2158"/>
                    <a:pt x="1517" y="1924"/>
                  </a:cubicBezTo>
                  <a:lnTo>
                    <a:pt x="1517" y="1924"/>
                  </a:lnTo>
                  <a:lnTo>
                    <a:pt x="1517" y="1924"/>
                  </a:lnTo>
                  <a:cubicBezTo>
                    <a:pt x="1517" y="1837"/>
                    <a:pt x="1546" y="1778"/>
                    <a:pt x="1575" y="1720"/>
                  </a:cubicBezTo>
                  <a:lnTo>
                    <a:pt x="1575" y="1720"/>
                  </a:lnTo>
                  <a:cubicBezTo>
                    <a:pt x="1546" y="1661"/>
                    <a:pt x="1575" y="1632"/>
                    <a:pt x="1575" y="1574"/>
                  </a:cubicBezTo>
                  <a:cubicBezTo>
                    <a:pt x="1604" y="1544"/>
                    <a:pt x="1604" y="1544"/>
                    <a:pt x="1604" y="1516"/>
                  </a:cubicBezTo>
                  <a:cubicBezTo>
                    <a:pt x="1662" y="1311"/>
                    <a:pt x="1750" y="1078"/>
                    <a:pt x="1808" y="845"/>
                  </a:cubicBezTo>
                  <a:cubicBezTo>
                    <a:pt x="1837" y="699"/>
                    <a:pt x="1896" y="582"/>
                    <a:pt x="1925" y="467"/>
                  </a:cubicBezTo>
                  <a:cubicBezTo>
                    <a:pt x="1575" y="350"/>
                    <a:pt x="1225" y="233"/>
                    <a:pt x="875" y="146"/>
                  </a:cubicBezTo>
                  <a:cubicBezTo>
                    <a:pt x="729" y="88"/>
                    <a:pt x="584" y="59"/>
                    <a:pt x="408" y="0"/>
                  </a:cubicBezTo>
                  <a:cubicBezTo>
                    <a:pt x="408" y="0"/>
                    <a:pt x="379" y="0"/>
                    <a:pt x="350" y="0"/>
                  </a:cubicBezTo>
                  <a:lnTo>
                    <a:pt x="350" y="0"/>
                  </a:lnTo>
                  <a:cubicBezTo>
                    <a:pt x="350" y="29"/>
                    <a:pt x="350" y="29"/>
                    <a:pt x="379" y="29"/>
                  </a:cubicBezTo>
                  <a:cubicBezTo>
                    <a:pt x="379" y="59"/>
                    <a:pt x="408" y="88"/>
                    <a:pt x="408" y="117"/>
                  </a:cubicBezTo>
                  <a:cubicBezTo>
                    <a:pt x="408" y="175"/>
                    <a:pt x="350" y="350"/>
                    <a:pt x="291" y="379"/>
                  </a:cubicBezTo>
                  <a:cubicBezTo>
                    <a:pt x="291" y="438"/>
                    <a:pt x="291" y="467"/>
                    <a:pt x="291" y="524"/>
                  </a:cubicBezTo>
                  <a:cubicBezTo>
                    <a:pt x="263" y="524"/>
                    <a:pt x="263" y="524"/>
                    <a:pt x="263" y="524"/>
                  </a:cubicBezTo>
                  <a:lnTo>
                    <a:pt x="263" y="524"/>
                  </a:lnTo>
                  <a:cubicBezTo>
                    <a:pt x="263" y="524"/>
                    <a:pt x="234" y="553"/>
                    <a:pt x="204" y="582"/>
                  </a:cubicBezTo>
                  <a:cubicBezTo>
                    <a:pt x="146" y="641"/>
                    <a:pt x="87" y="670"/>
                    <a:pt x="87" y="758"/>
                  </a:cubicBezTo>
                  <a:cubicBezTo>
                    <a:pt x="87" y="787"/>
                    <a:pt x="117" y="816"/>
                    <a:pt x="117" y="845"/>
                  </a:cubicBezTo>
                  <a:cubicBezTo>
                    <a:pt x="146" y="874"/>
                    <a:pt x="146" y="874"/>
                    <a:pt x="146" y="903"/>
                  </a:cubicBezTo>
                  <a:lnTo>
                    <a:pt x="146" y="903"/>
                  </a:lnTo>
                  <a:cubicBezTo>
                    <a:pt x="146" y="932"/>
                    <a:pt x="146" y="932"/>
                    <a:pt x="146" y="932"/>
                  </a:cubicBezTo>
                  <a:lnTo>
                    <a:pt x="146" y="932"/>
                  </a:lnTo>
                  <a:cubicBezTo>
                    <a:pt x="175" y="961"/>
                    <a:pt x="175" y="961"/>
                    <a:pt x="175" y="961"/>
                  </a:cubicBezTo>
                  <a:cubicBezTo>
                    <a:pt x="204" y="1078"/>
                    <a:pt x="175" y="1224"/>
                    <a:pt x="117" y="1311"/>
                  </a:cubicBezTo>
                  <a:lnTo>
                    <a:pt x="117" y="1311"/>
                  </a:lnTo>
                  <a:cubicBezTo>
                    <a:pt x="117" y="1341"/>
                    <a:pt x="146" y="1370"/>
                    <a:pt x="117" y="1399"/>
                  </a:cubicBezTo>
                  <a:lnTo>
                    <a:pt x="117" y="1399"/>
                  </a:lnTo>
                  <a:lnTo>
                    <a:pt x="117" y="1399"/>
                  </a:lnTo>
                  <a:cubicBezTo>
                    <a:pt x="117" y="1428"/>
                    <a:pt x="87" y="1428"/>
                    <a:pt x="87" y="1428"/>
                  </a:cubicBezTo>
                  <a:lnTo>
                    <a:pt x="87" y="1428"/>
                  </a:lnTo>
                  <a:cubicBezTo>
                    <a:pt x="87" y="1458"/>
                    <a:pt x="58" y="1487"/>
                    <a:pt x="29" y="1487"/>
                  </a:cubicBezTo>
                  <a:lnTo>
                    <a:pt x="0" y="1516"/>
                  </a:lnTo>
                  <a:cubicBezTo>
                    <a:pt x="29" y="1516"/>
                    <a:pt x="58" y="1516"/>
                    <a:pt x="87" y="1516"/>
                  </a:cubicBezTo>
                  <a:lnTo>
                    <a:pt x="87" y="1516"/>
                  </a:lnTo>
                  <a:cubicBezTo>
                    <a:pt x="117" y="1516"/>
                    <a:pt x="117" y="1516"/>
                    <a:pt x="117" y="1516"/>
                  </a:cubicBezTo>
                  <a:cubicBezTo>
                    <a:pt x="146" y="1544"/>
                    <a:pt x="146" y="1574"/>
                    <a:pt x="146" y="1603"/>
                  </a:cubicBezTo>
                  <a:lnTo>
                    <a:pt x="146" y="1632"/>
                  </a:lnTo>
                  <a:cubicBezTo>
                    <a:pt x="146" y="1661"/>
                    <a:pt x="175" y="1661"/>
                    <a:pt x="175" y="1691"/>
                  </a:cubicBezTo>
                  <a:cubicBezTo>
                    <a:pt x="204" y="1720"/>
                    <a:pt x="234" y="1749"/>
                    <a:pt x="234" y="1778"/>
                  </a:cubicBezTo>
                  <a:cubicBezTo>
                    <a:pt x="263" y="1778"/>
                    <a:pt x="263" y="1778"/>
                    <a:pt x="263" y="1808"/>
                  </a:cubicBezTo>
                  <a:lnTo>
                    <a:pt x="263" y="1808"/>
                  </a:lnTo>
                  <a:cubicBezTo>
                    <a:pt x="291" y="1808"/>
                    <a:pt x="291" y="1837"/>
                    <a:pt x="291" y="1866"/>
                  </a:cubicBezTo>
                  <a:cubicBezTo>
                    <a:pt x="291" y="1894"/>
                    <a:pt x="320" y="1924"/>
                    <a:pt x="320" y="1924"/>
                  </a:cubicBezTo>
                  <a:cubicBezTo>
                    <a:pt x="350" y="1982"/>
                    <a:pt x="350" y="1982"/>
                    <a:pt x="350" y="1982"/>
                  </a:cubicBezTo>
                  <a:cubicBezTo>
                    <a:pt x="291" y="1953"/>
                    <a:pt x="291" y="1953"/>
                    <a:pt x="291" y="1953"/>
                  </a:cubicBezTo>
                  <a:cubicBezTo>
                    <a:pt x="263" y="1953"/>
                    <a:pt x="234" y="1953"/>
                    <a:pt x="204" y="1953"/>
                  </a:cubicBezTo>
                  <a:cubicBezTo>
                    <a:pt x="204" y="1982"/>
                    <a:pt x="204" y="2011"/>
                    <a:pt x="204" y="2041"/>
                  </a:cubicBezTo>
                  <a:cubicBezTo>
                    <a:pt x="204" y="2041"/>
                    <a:pt x="204" y="2041"/>
                    <a:pt x="234" y="2041"/>
                  </a:cubicBezTo>
                  <a:lnTo>
                    <a:pt x="234" y="2041"/>
                  </a:lnTo>
                  <a:cubicBezTo>
                    <a:pt x="234" y="2041"/>
                    <a:pt x="234" y="2011"/>
                    <a:pt x="263" y="2011"/>
                  </a:cubicBezTo>
                  <a:cubicBezTo>
                    <a:pt x="320" y="2011"/>
                    <a:pt x="320" y="2070"/>
                    <a:pt x="320" y="2070"/>
                  </a:cubicBezTo>
                  <a:cubicBezTo>
                    <a:pt x="320" y="2099"/>
                    <a:pt x="320" y="2128"/>
                    <a:pt x="350" y="2128"/>
                  </a:cubicBezTo>
                  <a:lnTo>
                    <a:pt x="350" y="2128"/>
                  </a:lnTo>
                  <a:cubicBezTo>
                    <a:pt x="379" y="2128"/>
                    <a:pt x="379" y="2099"/>
                    <a:pt x="408" y="2070"/>
                  </a:cubicBezTo>
                  <a:cubicBezTo>
                    <a:pt x="408" y="2041"/>
                    <a:pt x="437" y="2011"/>
                    <a:pt x="467" y="2011"/>
                  </a:cubicBezTo>
                  <a:cubicBezTo>
                    <a:pt x="496" y="1982"/>
                    <a:pt x="496" y="2011"/>
                    <a:pt x="525" y="2011"/>
                  </a:cubicBezTo>
                  <a:cubicBezTo>
                    <a:pt x="525" y="2011"/>
                    <a:pt x="525" y="2041"/>
                    <a:pt x="554" y="2041"/>
                  </a:cubicBezTo>
                  <a:cubicBezTo>
                    <a:pt x="584" y="2041"/>
                    <a:pt x="641" y="2041"/>
                    <a:pt x="670" y="2011"/>
                  </a:cubicBezTo>
                  <a:cubicBezTo>
                    <a:pt x="729" y="2011"/>
                    <a:pt x="758" y="2011"/>
                    <a:pt x="787" y="2011"/>
                  </a:cubicBezTo>
                  <a:cubicBezTo>
                    <a:pt x="817" y="2011"/>
                    <a:pt x="817" y="2011"/>
                    <a:pt x="817" y="2011"/>
                  </a:cubicBezTo>
                  <a:lnTo>
                    <a:pt x="817" y="2011"/>
                  </a:lnTo>
                  <a:cubicBezTo>
                    <a:pt x="846" y="2041"/>
                    <a:pt x="846" y="2070"/>
                    <a:pt x="817" y="2099"/>
                  </a:cubicBezTo>
                  <a:cubicBezTo>
                    <a:pt x="817" y="2128"/>
                    <a:pt x="787" y="2158"/>
                    <a:pt x="729" y="2187"/>
                  </a:cubicBezTo>
                  <a:cubicBezTo>
                    <a:pt x="700" y="2187"/>
                    <a:pt x="670" y="2158"/>
                    <a:pt x="670" y="2158"/>
                  </a:cubicBezTo>
                  <a:cubicBezTo>
                    <a:pt x="641" y="2128"/>
                    <a:pt x="641" y="2128"/>
                    <a:pt x="613" y="2128"/>
                  </a:cubicBezTo>
                  <a:cubicBezTo>
                    <a:pt x="584" y="2099"/>
                    <a:pt x="554" y="2099"/>
                    <a:pt x="496" y="2099"/>
                  </a:cubicBezTo>
                  <a:lnTo>
                    <a:pt x="496" y="2099"/>
                  </a:lnTo>
                  <a:cubicBezTo>
                    <a:pt x="496" y="2128"/>
                    <a:pt x="496" y="2128"/>
                    <a:pt x="496" y="2128"/>
                  </a:cubicBezTo>
                  <a:lnTo>
                    <a:pt x="525" y="2158"/>
                  </a:lnTo>
                  <a:cubicBezTo>
                    <a:pt x="525" y="2187"/>
                    <a:pt x="525" y="2187"/>
                    <a:pt x="525" y="2216"/>
                  </a:cubicBezTo>
                  <a:cubicBezTo>
                    <a:pt x="496" y="2216"/>
                    <a:pt x="496" y="2216"/>
                    <a:pt x="496" y="2244"/>
                  </a:cubicBezTo>
                  <a:cubicBezTo>
                    <a:pt x="496" y="2244"/>
                    <a:pt x="525" y="2244"/>
                    <a:pt x="525" y="2274"/>
                  </a:cubicBezTo>
                  <a:lnTo>
                    <a:pt x="525" y="2303"/>
                  </a:lnTo>
                  <a:cubicBezTo>
                    <a:pt x="525" y="2332"/>
                    <a:pt x="525" y="2361"/>
                    <a:pt x="554" y="2391"/>
                  </a:cubicBezTo>
                  <a:cubicBezTo>
                    <a:pt x="554" y="2420"/>
                    <a:pt x="584" y="2449"/>
                    <a:pt x="554" y="2478"/>
                  </a:cubicBezTo>
                  <a:cubicBezTo>
                    <a:pt x="554" y="2507"/>
                    <a:pt x="525" y="2507"/>
                    <a:pt x="496" y="2507"/>
                  </a:cubicBezTo>
                  <a:lnTo>
                    <a:pt x="496" y="2507"/>
                  </a:lnTo>
                  <a:cubicBezTo>
                    <a:pt x="467" y="2507"/>
                    <a:pt x="467" y="2507"/>
                    <a:pt x="467" y="2507"/>
                  </a:cubicBezTo>
                  <a:cubicBezTo>
                    <a:pt x="467" y="2478"/>
                    <a:pt x="467" y="2478"/>
                    <a:pt x="467" y="2478"/>
                  </a:cubicBezTo>
                  <a:cubicBezTo>
                    <a:pt x="437" y="2449"/>
                    <a:pt x="437" y="2420"/>
                    <a:pt x="408" y="2391"/>
                  </a:cubicBezTo>
                  <a:cubicBezTo>
                    <a:pt x="408" y="2391"/>
                    <a:pt x="408" y="2361"/>
                    <a:pt x="408" y="2332"/>
                  </a:cubicBezTo>
                  <a:cubicBezTo>
                    <a:pt x="437" y="2303"/>
                    <a:pt x="437" y="2274"/>
                    <a:pt x="408" y="2244"/>
                  </a:cubicBezTo>
                  <a:cubicBezTo>
                    <a:pt x="408" y="2244"/>
                    <a:pt x="379" y="2274"/>
                    <a:pt x="350" y="2274"/>
                  </a:cubicBezTo>
                  <a:cubicBezTo>
                    <a:pt x="350" y="2303"/>
                    <a:pt x="350" y="2332"/>
                    <a:pt x="350" y="2361"/>
                  </a:cubicBezTo>
                  <a:cubicBezTo>
                    <a:pt x="350" y="2420"/>
                    <a:pt x="350" y="2478"/>
                    <a:pt x="320" y="2507"/>
                  </a:cubicBezTo>
                  <a:cubicBezTo>
                    <a:pt x="350" y="2566"/>
                    <a:pt x="320" y="2653"/>
                    <a:pt x="291" y="2711"/>
                  </a:cubicBezTo>
                  <a:lnTo>
                    <a:pt x="291" y="2711"/>
                  </a:lnTo>
                  <a:cubicBezTo>
                    <a:pt x="379" y="2741"/>
                    <a:pt x="408" y="2799"/>
                    <a:pt x="408" y="2887"/>
                  </a:cubicBezTo>
                  <a:lnTo>
                    <a:pt x="408" y="2887"/>
                  </a:lnTo>
                  <a:lnTo>
                    <a:pt x="408" y="2887"/>
                  </a:lnTo>
                  <a:cubicBezTo>
                    <a:pt x="379" y="2887"/>
                    <a:pt x="379" y="2915"/>
                    <a:pt x="379" y="2915"/>
                  </a:cubicBezTo>
                  <a:cubicBezTo>
                    <a:pt x="379" y="2915"/>
                    <a:pt x="408" y="2974"/>
                    <a:pt x="437" y="2974"/>
                  </a:cubicBezTo>
                  <a:cubicBezTo>
                    <a:pt x="437" y="3003"/>
                    <a:pt x="437" y="3003"/>
                    <a:pt x="467" y="3032"/>
                  </a:cubicBezTo>
                  <a:cubicBezTo>
                    <a:pt x="525" y="3120"/>
                    <a:pt x="554" y="3208"/>
                    <a:pt x="554" y="3324"/>
                  </a:cubicBezTo>
                  <a:cubicBezTo>
                    <a:pt x="554" y="3324"/>
                    <a:pt x="554" y="3324"/>
                    <a:pt x="584" y="3324"/>
                  </a:cubicBezTo>
                  <a:cubicBezTo>
                    <a:pt x="584" y="3324"/>
                    <a:pt x="584" y="3324"/>
                    <a:pt x="613" y="3353"/>
                  </a:cubicBezTo>
                  <a:lnTo>
                    <a:pt x="613" y="3353"/>
                  </a:lnTo>
                  <a:lnTo>
                    <a:pt x="613" y="3353"/>
                  </a:lnTo>
                  <a:cubicBezTo>
                    <a:pt x="613" y="3382"/>
                    <a:pt x="641" y="3411"/>
                    <a:pt x="613" y="3441"/>
                  </a:cubicBezTo>
                  <a:cubicBezTo>
                    <a:pt x="641" y="3441"/>
                    <a:pt x="641" y="3470"/>
                    <a:pt x="641" y="3470"/>
                  </a:cubicBezTo>
                  <a:cubicBezTo>
                    <a:pt x="670" y="3499"/>
                    <a:pt x="700" y="3499"/>
                    <a:pt x="729" y="3528"/>
                  </a:cubicBezTo>
                  <a:lnTo>
                    <a:pt x="729" y="3528"/>
                  </a:lnTo>
                  <a:cubicBezTo>
                    <a:pt x="729" y="3558"/>
                    <a:pt x="729" y="3558"/>
                    <a:pt x="729" y="3558"/>
                  </a:cubicBezTo>
                  <a:lnTo>
                    <a:pt x="700" y="3587"/>
                  </a:lnTo>
                  <a:cubicBezTo>
                    <a:pt x="700" y="3615"/>
                    <a:pt x="700" y="3615"/>
                    <a:pt x="670" y="3644"/>
                  </a:cubicBezTo>
                  <a:cubicBezTo>
                    <a:pt x="758" y="3674"/>
                    <a:pt x="729" y="3732"/>
                    <a:pt x="729" y="3790"/>
                  </a:cubicBezTo>
                  <a:cubicBezTo>
                    <a:pt x="700" y="3849"/>
                    <a:pt x="700" y="3878"/>
                    <a:pt x="700" y="3937"/>
                  </a:cubicBezTo>
                  <a:cubicBezTo>
                    <a:pt x="729" y="3965"/>
                    <a:pt x="729" y="3965"/>
                    <a:pt x="729" y="3965"/>
                  </a:cubicBezTo>
                  <a:cubicBezTo>
                    <a:pt x="700" y="3965"/>
                    <a:pt x="700" y="3965"/>
                    <a:pt x="700" y="3965"/>
                  </a:cubicBezTo>
                  <a:cubicBezTo>
                    <a:pt x="670" y="3965"/>
                    <a:pt x="670" y="3965"/>
                    <a:pt x="670" y="3965"/>
                  </a:cubicBezTo>
                  <a:cubicBezTo>
                    <a:pt x="670" y="3994"/>
                    <a:pt x="700" y="4053"/>
                    <a:pt x="700" y="4053"/>
                  </a:cubicBezTo>
                  <a:cubicBezTo>
                    <a:pt x="729" y="4053"/>
                    <a:pt x="729" y="4082"/>
                    <a:pt x="758" y="4082"/>
                  </a:cubicBezTo>
                  <a:lnTo>
                    <a:pt x="787" y="4082"/>
                  </a:lnTo>
                  <a:cubicBezTo>
                    <a:pt x="817" y="4082"/>
                    <a:pt x="846" y="4111"/>
                    <a:pt x="875" y="4111"/>
                  </a:cubicBezTo>
                  <a:cubicBezTo>
                    <a:pt x="904" y="4141"/>
                    <a:pt x="934" y="4141"/>
                    <a:pt x="963" y="4170"/>
                  </a:cubicBezTo>
                  <a:cubicBezTo>
                    <a:pt x="963" y="4170"/>
                    <a:pt x="991" y="4170"/>
                    <a:pt x="991" y="4141"/>
                  </a:cubicBezTo>
                  <a:cubicBezTo>
                    <a:pt x="1020" y="4141"/>
                    <a:pt x="1020" y="4141"/>
                    <a:pt x="1050" y="4170"/>
                  </a:cubicBezTo>
                  <a:cubicBezTo>
                    <a:pt x="1079" y="4170"/>
                    <a:pt x="1079" y="4199"/>
                    <a:pt x="1108" y="4199"/>
                  </a:cubicBezTo>
                  <a:cubicBezTo>
                    <a:pt x="1108" y="4228"/>
                    <a:pt x="1108" y="4228"/>
                    <a:pt x="1137" y="4228"/>
                  </a:cubicBezTo>
                  <a:cubicBezTo>
                    <a:pt x="1167" y="4228"/>
                    <a:pt x="1196" y="4286"/>
                    <a:pt x="1225" y="4315"/>
                  </a:cubicBezTo>
                  <a:cubicBezTo>
                    <a:pt x="1254" y="4344"/>
                    <a:pt x="1284" y="4374"/>
                    <a:pt x="1312" y="4374"/>
                  </a:cubicBezTo>
                  <a:cubicBezTo>
                    <a:pt x="1341" y="4403"/>
                    <a:pt x="1341" y="4403"/>
                    <a:pt x="1341" y="4403"/>
                  </a:cubicBezTo>
                  <a:cubicBezTo>
                    <a:pt x="1312" y="4403"/>
                    <a:pt x="1312" y="4403"/>
                    <a:pt x="1312" y="4403"/>
                  </a:cubicBezTo>
                  <a:lnTo>
                    <a:pt x="1312" y="4403"/>
                  </a:lnTo>
                  <a:cubicBezTo>
                    <a:pt x="1341" y="4432"/>
                    <a:pt x="1341" y="4432"/>
                    <a:pt x="1341" y="4432"/>
                  </a:cubicBezTo>
                  <a:lnTo>
                    <a:pt x="1341" y="4432"/>
                  </a:lnTo>
                  <a:lnTo>
                    <a:pt x="1370" y="4403"/>
                  </a:lnTo>
                  <a:cubicBezTo>
                    <a:pt x="1400" y="4403"/>
                    <a:pt x="1400" y="4403"/>
                    <a:pt x="1400" y="4403"/>
                  </a:cubicBezTo>
                  <a:cubicBezTo>
                    <a:pt x="1429" y="4432"/>
                    <a:pt x="1546" y="4490"/>
                    <a:pt x="1546" y="4578"/>
                  </a:cubicBezTo>
                  <a:cubicBezTo>
                    <a:pt x="1546" y="4578"/>
                    <a:pt x="1546" y="4608"/>
                    <a:pt x="1487" y="4636"/>
                  </a:cubicBezTo>
                  <a:cubicBezTo>
                    <a:pt x="1487" y="4665"/>
                    <a:pt x="1487" y="4665"/>
                    <a:pt x="1487" y="4694"/>
                  </a:cubicBezTo>
                  <a:lnTo>
                    <a:pt x="1487" y="4694"/>
                  </a:lnTo>
                  <a:lnTo>
                    <a:pt x="1517" y="4694"/>
                  </a:lnTo>
                  <a:cubicBezTo>
                    <a:pt x="1546" y="4694"/>
                    <a:pt x="1546" y="4694"/>
                    <a:pt x="1575" y="4694"/>
                  </a:cubicBezTo>
                  <a:cubicBezTo>
                    <a:pt x="1604" y="4694"/>
                    <a:pt x="1604" y="4694"/>
                    <a:pt x="1604" y="4694"/>
                  </a:cubicBezTo>
                  <a:cubicBezTo>
                    <a:pt x="1634" y="4694"/>
                    <a:pt x="1634" y="4694"/>
                    <a:pt x="1634" y="4694"/>
                  </a:cubicBezTo>
                  <a:cubicBezTo>
                    <a:pt x="1662" y="4694"/>
                    <a:pt x="1662" y="4694"/>
                    <a:pt x="1662" y="4724"/>
                  </a:cubicBezTo>
                  <a:cubicBezTo>
                    <a:pt x="1720" y="4724"/>
                    <a:pt x="1750" y="4724"/>
                    <a:pt x="1750" y="4753"/>
                  </a:cubicBezTo>
                  <a:cubicBezTo>
                    <a:pt x="1750" y="4782"/>
                    <a:pt x="1750" y="4811"/>
                    <a:pt x="1750" y="4811"/>
                  </a:cubicBezTo>
                  <a:cubicBezTo>
                    <a:pt x="1750" y="4841"/>
                    <a:pt x="1720" y="4841"/>
                    <a:pt x="1750" y="4841"/>
                  </a:cubicBezTo>
                  <a:cubicBezTo>
                    <a:pt x="1750" y="4899"/>
                    <a:pt x="1808" y="4928"/>
                    <a:pt x="1837" y="4986"/>
                  </a:cubicBezTo>
                  <a:cubicBezTo>
                    <a:pt x="1867" y="4986"/>
                    <a:pt x="1867" y="4986"/>
                    <a:pt x="1896" y="5015"/>
                  </a:cubicBezTo>
                  <a:lnTo>
                    <a:pt x="1896" y="5015"/>
                  </a:lnTo>
                  <a:lnTo>
                    <a:pt x="1896" y="5015"/>
                  </a:lnTo>
                  <a:cubicBezTo>
                    <a:pt x="1896" y="5044"/>
                    <a:pt x="1896" y="5044"/>
                    <a:pt x="1896" y="5074"/>
                  </a:cubicBezTo>
                  <a:cubicBezTo>
                    <a:pt x="1925" y="5074"/>
                    <a:pt x="1925" y="5103"/>
                    <a:pt x="1925" y="5103"/>
                  </a:cubicBezTo>
                  <a:cubicBezTo>
                    <a:pt x="1925" y="5161"/>
                    <a:pt x="1896" y="5220"/>
                    <a:pt x="1867" y="5249"/>
                  </a:cubicBezTo>
                  <a:lnTo>
                    <a:pt x="1867" y="5249"/>
                  </a:lnTo>
                  <a:lnTo>
                    <a:pt x="1867" y="5249"/>
                  </a:lnTo>
                  <a:cubicBezTo>
                    <a:pt x="1896" y="5249"/>
                    <a:pt x="1925" y="5278"/>
                    <a:pt x="1925" y="5308"/>
                  </a:cubicBezTo>
                  <a:cubicBezTo>
                    <a:pt x="1925" y="5336"/>
                    <a:pt x="1896" y="5365"/>
                    <a:pt x="1896" y="5394"/>
                  </a:cubicBezTo>
                  <a:cubicBezTo>
                    <a:pt x="1925" y="5394"/>
                    <a:pt x="1954" y="5394"/>
                    <a:pt x="1984" y="539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5" name="Freeform 423">
              <a:extLst>
                <a:ext uri="{FF2B5EF4-FFF2-40B4-BE49-F238E27FC236}">
                  <a16:creationId xmlns:a16="http://schemas.microsoft.com/office/drawing/2014/main" id="{B3C6C05C-41BC-4C28-9432-68D8026276BA}"/>
                </a:ext>
              </a:extLst>
            </p:cNvPr>
            <p:cNvSpPr>
              <a:spLocks noChangeArrowheads="1"/>
            </p:cNvSpPr>
            <p:nvPr/>
          </p:nvSpPr>
          <p:spPr bwMode="auto">
            <a:xfrm>
              <a:off x="4320175" y="4036150"/>
              <a:ext cx="11416" cy="11329"/>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lnTo>
                    <a:pt x="29"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6" name="Freeform 424">
              <a:extLst>
                <a:ext uri="{FF2B5EF4-FFF2-40B4-BE49-F238E27FC236}">
                  <a16:creationId xmlns:a16="http://schemas.microsoft.com/office/drawing/2014/main" id="{2AEA6D3B-B1BF-46C8-B8AC-7A908FB516C1}"/>
                </a:ext>
              </a:extLst>
            </p:cNvPr>
            <p:cNvSpPr>
              <a:spLocks noChangeArrowheads="1"/>
            </p:cNvSpPr>
            <p:nvPr/>
          </p:nvSpPr>
          <p:spPr bwMode="auto">
            <a:xfrm>
              <a:off x="4352792" y="397141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7" name="Freeform 425">
              <a:extLst>
                <a:ext uri="{FF2B5EF4-FFF2-40B4-BE49-F238E27FC236}">
                  <a16:creationId xmlns:a16="http://schemas.microsoft.com/office/drawing/2014/main" id="{F083303C-AFA2-4FD6-97CF-DDC6FBFCEF8A}"/>
                </a:ext>
              </a:extLst>
            </p:cNvPr>
            <p:cNvSpPr>
              <a:spLocks noChangeArrowheads="1"/>
            </p:cNvSpPr>
            <p:nvPr/>
          </p:nvSpPr>
          <p:spPr bwMode="auto">
            <a:xfrm>
              <a:off x="4708316" y="4173707"/>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8" name="Freeform 426">
              <a:extLst>
                <a:ext uri="{FF2B5EF4-FFF2-40B4-BE49-F238E27FC236}">
                  <a16:creationId xmlns:a16="http://schemas.microsoft.com/office/drawing/2014/main" id="{BFADA114-090A-4928-8FF8-D829CFD2A457}"/>
                </a:ext>
              </a:extLst>
            </p:cNvPr>
            <p:cNvSpPr>
              <a:spLocks noChangeArrowheads="1"/>
            </p:cNvSpPr>
            <p:nvPr/>
          </p:nvSpPr>
          <p:spPr bwMode="auto">
            <a:xfrm>
              <a:off x="7630791" y="5201340"/>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49" name="Freeform 427">
              <a:extLst>
                <a:ext uri="{FF2B5EF4-FFF2-40B4-BE49-F238E27FC236}">
                  <a16:creationId xmlns:a16="http://schemas.microsoft.com/office/drawing/2014/main" id="{D6E639E4-7832-4DCE-A303-6D41B3A2A1DF}"/>
                </a:ext>
              </a:extLst>
            </p:cNvPr>
            <p:cNvSpPr>
              <a:spLocks noChangeArrowheads="1"/>
            </p:cNvSpPr>
            <p:nvPr/>
          </p:nvSpPr>
          <p:spPr bwMode="auto">
            <a:xfrm>
              <a:off x="7156216" y="559782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0" name="Freeform 428">
              <a:extLst>
                <a:ext uri="{FF2B5EF4-FFF2-40B4-BE49-F238E27FC236}">
                  <a16:creationId xmlns:a16="http://schemas.microsoft.com/office/drawing/2014/main" id="{093583DC-51F0-42D6-B7D7-42C38215212B}"/>
                </a:ext>
              </a:extLst>
            </p:cNvPr>
            <p:cNvSpPr>
              <a:spLocks noChangeArrowheads="1"/>
            </p:cNvSpPr>
            <p:nvPr/>
          </p:nvSpPr>
          <p:spPr bwMode="auto">
            <a:xfrm>
              <a:off x="7609591" y="5201340"/>
              <a:ext cx="22832" cy="11329"/>
            </a:xfrm>
            <a:custGeom>
              <a:avLst/>
              <a:gdLst>
                <a:gd name="T0" fmla="*/ 59 w 60"/>
                <a:gd name="T1" fmla="*/ 0 h 30"/>
                <a:gd name="T2" fmla="*/ 59 w 60"/>
                <a:gd name="T3" fmla="*/ 0 h 30"/>
                <a:gd name="T4" fmla="*/ 29 w 60"/>
                <a:gd name="T5" fmla="*/ 29 h 30"/>
                <a:gd name="T6" fmla="*/ 0 w 60"/>
                <a:gd name="T7" fmla="*/ 29 h 30"/>
                <a:gd name="T8" fmla="*/ 29 w 60"/>
                <a:gd name="T9" fmla="*/ 29 h 30"/>
                <a:gd name="T10" fmla="*/ 59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59" y="0"/>
                  </a:moveTo>
                  <a:lnTo>
                    <a:pt x="59" y="0"/>
                  </a:lnTo>
                  <a:cubicBezTo>
                    <a:pt x="29" y="0"/>
                    <a:pt x="29" y="29"/>
                    <a:pt x="29" y="29"/>
                  </a:cubicBezTo>
                  <a:cubicBezTo>
                    <a:pt x="0" y="29"/>
                    <a:pt x="0" y="29"/>
                    <a:pt x="0" y="29"/>
                  </a:cubicBezTo>
                  <a:cubicBezTo>
                    <a:pt x="29" y="29"/>
                    <a:pt x="29" y="29"/>
                    <a:pt x="29" y="29"/>
                  </a:cubicBezTo>
                  <a:cubicBezTo>
                    <a:pt x="29" y="29"/>
                    <a:pt x="29"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1" name="Freeform 429">
              <a:extLst>
                <a:ext uri="{FF2B5EF4-FFF2-40B4-BE49-F238E27FC236}">
                  <a16:creationId xmlns:a16="http://schemas.microsoft.com/office/drawing/2014/main" id="{7CBC2785-9905-4D3E-A0D4-291D77378DDB}"/>
                </a:ext>
              </a:extLst>
            </p:cNvPr>
            <p:cNvSpPr>
              <a:spLocks noChangeArrowheads="1"/>
            </p:cNvSpPr>
            <p:nvPr/>
          </p:nvSpPr>
          <p:spPr bwMode="auto">
            <a:xfrm>
              <a:off x="7598174" y="5212669"/>
              <a:ext cx="32617" cy="43694"/>
            </a:xfrm>
            <a:custGeom>
              <a:avLst/>
              <a:gdLst>
                <a:gd name="T0" fmla="*/ 58 w 89"/>
                <a:gd name="T1" fmla="*/ 58 h 118"/>
                <a:gd name="T2" fmla="*/ 58 w 89"/>
                <a:gd name="T3" fmla="*/ 58 h 118"/>
                <a:gd name="T4" fmla="*/ 58 w 89"/>
                <a:gd name="T5" fmla="*/ 58 h 118"/>
                <a:gd name="T6" fmla="*/ 88 w 89"/>
                <a:gd name="T7" fmla="*/ 0 h 118"/>
                <a:gd name="T8" fmla="*/ 58 w 89"/>
                <a:gd name="T9" fmla="*/ 58 h 118"/>
                <a:gd name="T10" fmla="*/ 58 w 89"/>
                <a:gd name="T11" fmla="*/ 58 h 118"/>
                <a:gd name="T12" fmla="*/ 0 w 89"/>
                <a:gd name="T13" fmla="*/ 117 h 118"/>
                <a:gd name="T14" fmla="*/ 58 w 89"/>
                <a:gd name="T15" fmla="*/ 58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18">
                  <a:moveTo>
                    <a:pt x="58" y="58"/>
                  </a:moveTo>
                  <a:lnTo>
                    <a:pt x="58" y="58"/>
                  </a:lnTo>
                  <a:lnTo>
                    <a:pt x="58" y="58"/>
                  </a:lnTo>
                  <a:cubicBezTo>
                    <a:pt x="58" y="29"/>
                    <a:pt x="58" y="29"/>
                    <a:pt x="88" y="0"/>
                  </a:cubicBezTo>
                  <a:cubicBezTo>
                    <a:pt x="58" y="29"/>
                    <a:pt x="58" y="29"/>
                    <a:pt x="58" y="58"/>
                  </a:cubicBezTo>
                  <a:lnTo>
                    <a:pt x="58" y="58"/>
                  </a:lnTo>
                  <a:cubicBezTo>
                    <a:pt x="29" y="87"/>
                    <a:pt x="29" y="87"/>
                    <a:pt x="0" y="117"/>
                  </a:cubicBezTo>
                  <a:cubicBezTo>
                    <a:pt x="29" y="87"/>
                    <a:pt x="29" y="87"/>
                    <a:pt x="5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2" name="Freeform 430">
              <a:extLst>
                <a:ext uri="{FF2B5EF4-FFF2-40B4-BE49-F238E27FC236}">
                  <a16:creationId xmlns:a16="http://schemas.microsoft.com/office/drawing/2014/main" id="{A6125EE5-4F09-4103-9BFC-DBE36B0D0583}"/>
                </a:ext>
              </a:extLst>
            </p:cNvPr>
            <p:cNvSpPr>
              <a:spLocks noChangeArrowheads="1"/>
            </p:cNvSpPr>
            <p:nvPr/>
          </p:nvSpPr>
          <p:spPr bwMode="auto">
            <a:xfrm>
              <a:off x="7609591" y="5201340"/>
              <a:ext cx="1630" cy="11329"/>
            </a:xfrm>
            <a:custGeom>
              <a:avLst/>
              <a:gdLst>
                <a:gd name="T0" fmla="*/ 0 w 1"/>
                <a:gd name="T1" fmla="*/ 0 h 30"/>
                <a:gd name="T2" fmla="*/ 0 w 1"/>
                <a:gd name="T3" fmla="*/ 0 h 30"/>
                <a:gd name="T4" fmla="*/ 0 w 1"/>
                <a:gd name="T5" fmla="*/ 0 h 30"/>
                <a:gd name="T6" fmla="*/ 0 w 1"/>
                <a:gd name="T7" fmla="*/ 0 h 30"/>
                <a:gd name="T8" fmla="*/ 0 w 1"/>
                <a:gd name="T9" fmla="*/ 29 h 30"/>
                <a:gd name="T10" fmla="*/ 0 w 1"/>
                <a:gd name="T11" fmla="*/ 0 h 30"/>
              </a:gdLst>
              <a:ahLst/>
              <a:cxnLst>
                <a:cxn ang="0">
                  <a:pos x="T0" y="T1"/>
                </a:cxn>
                <a:cxn ang="0">
                  <a:pos x="T2" y="T3"/>
                </a:cxn>
                <a:cxn ang="0">
                  <a:pos x="T4" y="T5"/>
                </a:cxn>
                <a:cxn ang="0">
                  <a:pos x="T6" y="T7"/>
                </a:cxn>
                <a:cxn ang="0">
                  <a:pos x="T8" y="T9"/>
                </a:cxn>
                <a:cxn ang="0">
                  <a:pos x="T10" y="T11"/>
                </a:cxn>
              </a:cxnLst>
              <a:rect l="0" t="0" r="r" b="b"/>
              <a:pathLst>
                <a:path w="1" h="30">
                  <a:moveTo>
                    <a:pt x="0" y="0"/>
                  </a:moveTo>
                  <a:lnTo>
                    <a:pt x="0" y="0"/>
                  </a:lnTo>
                  <a:lnTo>
                    <a:pt x="0" y="0"/>
                  </a:lnTo>
                  <a:lnTo>
                    <a:pt x="0" y="0"/>
                  </a:lnTo>
                  <a:cubicBezTo>
                    <a:pt x="0" y="29"/>
                    <a:pt x="0" y="29"/>
                    <a:pt x="0" y="29"/>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3" name="Freeform 431">
              <a:extLst>
                <a:ext uri="{FF2B5EF4-FFF2-40B4-BE49-F238E27FC236}">
                  <a16:creationId xmlns:a16="http://schemas.microsoft.com/office/drawing/2014/main" id="{78479ACB-A794-4E27-854D-F7C16632B6E0}"/>
                </a:ext>
              </a:extLst>
            </p:cNvPr>
            <p:cNvSpPr>
              <a:spLocks noChangeArrowheads="1"/>
            </p:cNvSpPr>
            <p:nvPr/>
          </p:nvSpPr>
          <p:spPr bwMode="auto">
            <a:xfrm>
              <a:off x="7102397" y="5500730"/>
              <a:ext cx="1631" cy="11328"/>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4" name="Freeform 432">
              <a:extLst>
                <a:ext uri="{FF2B5EF4-FFF2-40B4-BE49-F238E27FC236}">
                  <a16:creationId xmlns:a16="http://schemas.microsoft.com/office/drawing/2014/main" id="{41172342-B263-4F09-B7EF-2230B726455D}"/>
                </a:ext>
              </a:extLst>
            </p:cNvPr>
            <p:cNvSpPr>
              <a:spLocks noChangeArrowheads="1"/>
            </p:cNvSpPr>
            <p:nvPr/>
          </p:nvSpPr>
          <p:spPr bwMode="auto">
            <a:xfrm>
              <a:off x="5624851" y="3521524"/>
              <a:ext cx="993185" cy="1038961"/>
            </a:xfrm>
            <a:custGeom>
              <a:avLst/>
              <a:gdLst>
                <a:gd name="T0" fmla="*/ 1604 w 2684"/>
                <a:gd name="T1" fmla="*/ 2683 h 2830"/>
                <a:gd name="T2" fmla="*/ 1604 w 2684"/>
                <a:gd name="T3" fmla="*/ 2683 h 2830"/>
                <a:gd name="T4" fmla="*/ 2508 w 2684"/>
                <a:gd name="T5" fmla="*/ 2771 h 2830"/>
                <a:gd name="T6" fmla="*/ 2683 w 2684"/>
                <a:gd name="T7" fmla="*/ 321 h 2830"/>
                <a:gd name="T8" fmla="*/ 2071 w 2684"/>
                <a:gd name="T9" fmla="*/ 233 h 2830"/>
                <a:gd name="T10" fmla="*/ 379 w 2684"/>
                <a:gd name="T11" fmla="*/ 0 h 2830"/>
                <a:gd name="T12" fmla="*/ 0 w 2684"/>
                <a:gd name="T13" fmla="*/ 2771 h 2830"/>
                <a:gd name="T14" fmla="*/ 262 w 2684"/>
                <a:gd name="T15" fmla="*/ 2829 h 2830"/>
                <a:gd name="T16" fmla="*/ 292 w 2684"/>
                <a:gd name="T17" fmla="*/ 2625 h 2830"/>
                <a:gd name="T18" fmla="*/ 292 w 2684"/>
                <a:gd name="T19" fmla="*/ 2595 h 2830"/>
                <a:gd name="T20" fmla="*/ 409 w 2684"/>
                <a:gd name="T21" fmla="*/ 2625 h 2830"/>
                <a:gd name="T22" fmla="*/ 1021 w 2684"/>
                <a:gd name="T23" fmla="*/ 2712 h 2830"/>
                <a:gd name="T24" fmla="*/ 1021 w 2684"/>
                <a:gd name="T25" fmla="*/ 2712 h 2830"/>
                <a:gd name="T26" fmla="*/ 1050 w 2684"/>
                <a:gd name="T27" fmla="*/ 2625 h 2830"/>
                <a:gd name="T28" fmla="*/ 1050 w 2684"/>
                <a:gd name="T29" fmla="*/ 2625 h 2830"/>
                <a:gd name="T30" fmla="*/ 1050 w 2684"/>
                <a:gd name="T31" fmla="*/ 2625 h 2830"/>
                <a:gd name="T32" fmla="*/ 1604 w 2684"/>
                <a:gd name="T33" fmla="*/ 268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84" h="2830">
                  <a:moveTo>
                    <a:pt x="1604" y="2683"/>
                  </a:moveTo>
                  <a:lnTo>
                    <a:pt x="1604" y="2683"/>
                  </a:lnTo>
                  <a:cubicBezTo>
                    <a:pt x="1895" y="2712"/>
                    <a:pt x="2187" y="2742"/>
                    <a:pt x="2508" y="2771"/>
                  </a:cubicBezTo>
                  <a:cubicBezTo>
                    <a:pt x="2566" y="2042"/>
                    <a:pt x="2625" y="1225"/>
                    <a:pt x="2683" y="321"/>
                  </a:cubicBezTo>
                  <a:cubicBezTo>
                    <a:pt x="2508" y="292"/>
                    <a:pt x="2275" y="262"/>
                    <a:pt x="2071" y="233"/>
                  </a:cubicBezTo>
                  <a:cubicBezTo>
                    <a:pt x="1516" y="175"/>
                    <a:pt x="933" y="88"/>
                    <a:pt x="379" y="0"/>
                  </a:cubicBezTo>
                  <a:cubicBezTo>
                    <a:pt x="292" y="759"/>
                    <a:pt x="145" y="1750"/>
                    <a:pt x="0" y="2771"/>
                  </a:cubicBezTo>
                  <a:cubicBezTo>
                    <a:pt x="88" y="2800"/>
                    <a:pt x="175" y="2800"/>
                    <a:pt x="262" y="2829"/>
                  </a:cubicBezTo>
                  <a:cubicBezTo>
                    <a:pt x="262" y="2742"/>
                    <a:pt x="262" y="2683"/>
                    <a:pt x="292" y="2625"/>
                  </a:cubicBezTo>
                  <a:cubicBezTo>
                    <a:pt x="292" y="2595"/>
                    <a:pt x="292" y="2595"/>
                    <a:pt x="292" y="2595"/>
                  </a:cubicBezTo>
                  <a:cubicBezTo>
                    <a:pt x="409" y="2625"/>
                    <a:pt x="409" y="2625"/>
                    <a:pt x="409" y="2625"/>
                  </a:cubicBezTo>
                  <a:cubicBezTo>
                    <a:pt x="612" y="2654"/>
                    <a:pt x="816" y="2683"/>
                    <a:pt x="1021" y="2712"/>
                  </a:cubicBezTo>
                  <a:lnTo>
                    <a:pt x="1021" y="2712"/>
                  </a:lnTo>
                  <a:cubicBezTo>
                    <a:pt x="1021" y="2683"/>
                    <a:pt x="1021" y="2654"/>
                    <a:pt x="1050" y="2625"/>
                  </a:cubicBezTo>
                  <a:lnTo>
                    <a:pt x="1050" y="2625"/>
                  </a:lnTo>
                  <a:lnTo>
                    <a:pt x="1050" y="2625"/>
                  </a:lnTo>
                  <a:cubicBezTo>
                    <a:pt x="1254" y="2625"/>
                    <a:pt x="1429" y="2654"/>
                    <a:pt x="1604" y="268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5" name="Freeform 433">
              <a:extLst>
                <a:ext uri="{FF2B5EF4-FFF2-40B4-BE49-F238E27FC236}">
                  <a16:creationId xmlns:a16="http://schemas.microsoft.com/office/drawing/2014/main" id="{1E7494C5-992C-47DC-AA5C-906F91319587}"/>
                </a:ext>
              </a:extLst>
            </p:cNvPr>
            <p:cNvSpPr>
              <a:spLocks noChangeArrowheads="1"/>
            </p:cNvSpPr>
            <p:nvPr/>
          </p:nvSpPr>
          <p:spPr bwMode="auto">
            <a:xfrm>
              <a:off x="5494384" y="4537829"/>
              <a:ext cx="107636" cy="11329"/>
            </a:xfrm>
            <a:custGeom>
              <a:avLst/>
              <a:gdLst>
                <a:gd name="T0" fmla="*/ 292 w 293"/>
                <a:gd name="T1" fmla="*/ 29 h 30"/>
                <a:gd name="T2" fmla="*/ 292 w 293"/>
                <a:gd name="T3" fmla="*/ 29 h 30"/>
                <a:gd name="T4" fmla="*/ 0 w 293"/>
                <a:gd name="T5" fmla="*/ 0 h 30"/>
                <a:gd name="T6" fmla="*/ 292 w 293"/>
                <a:gd name="T7" fmla="*/ 29 h 30"/>
              </a:gdLst>
              <a:ahLst/>
              <a:cxnLst>
                <a:cxn ang="0">
                  <a:pos x="T0" y="T1"/>
                </a:cxn>
                <a:cxn ang="0">
                  <a:pos x="T2" y="T3"/>
                </a:cxn>
                <a:cxn ang="0">
                  <a:pos x="T4" y="T5"/>
                </a:cxn>
                <a:cxn ang="0">
                  <a:pos x="T6" y="T7"/>
                </a:cxn>
              </a:cxnLst>
              <a:rect l="0" t="0" r="r" b="b"/>
              <a:pathLst>
                <a:path w="293" h="30">
                  <a:moveTo>
                    <a:pt x="292" y="29"/>
                  </a:moveTo>
                  <a:lnTo>
                    <a:pt x="292" y="29"/>
                  </a:lnTo>
                  <a:cubicBezTo>
                    <a:pt x="204" y="29"/>
                    <a:pt x="88" y="0"/>
                    <a:pt x="0" y="0"/>
                  </a:cubicBezTo>
                  <a:cubicBezTo>
                    <a:pt x="88" y="0"/>
                    <a:pt x="204" y="29"/>
                    <a:pt x="292"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6" name="Freeform 434">
              <a:extLst>
                <a:ext uri="{FF2B5EF4-FFF2-40B4-BE49-F238E27FC236}">
                  <a16:creationId xmlns:a16="http://schemas.microsoft.com/office/drawing/2014/main" id="{6EBD915A-81EB-40AC-A5F6-2284FD06F20D}"/>
                </a:ext>
              </a:extLst>
            </p:cNvPr>
            <p:cNvSpPr>
              <a:spLocks noChangeArrowheads="1"/>
            </p:cNvSpPr>
            <p:nvPr/>
          </p:nvSpPr>
          <p:spPr bwMode="auto">
            <a:xfrm>
              <a:off x="4729518" y="3393677"/>
              <a:ext cx="1014386" cy="1145771"/>
            </a:xfrm>
            <a:custGeom>
              <a:avLst/>
              <a:gdLst>
                <a:gd name="T0" fmla="*/ 2742 w 2743"/>
                <a:gd name="T1" fmla="*/ 350 h 3122"/>
                <a:gd name="T2" fmla="*/ 2742 w 2743"/>
                <a:gd name="T3" fmla="*/ 350 h 3122"/>
                <a:gd name="T4" fmla="*/ 788 w 2743"/>
                <a:gd name="T5" fmla="*/ 0 h 3122"/>
                <a:gd name="T6" fmla="*/ 671 w 2743"/>
                <a:gd name="T7" fmla="*/ 409 h 3122"/>
                <a:gd name="T8" fmla="*/ 671 w 2743"/>
                <a:gd name="T9" fmla="*/ 438 h 3122"/>
                <a:gd name="T10" fmla="*/ 642 w 2743"/>
                <a:gd name="T11" fmla="*/ 438 h 3122"/>
                <a:gd name="T12" fmla="*/ 554 w 2743"/>
                <a:gd name="T13" fmla="*/ 321 h 3122"/>
                <a:gd name="T14" fmla="*/ 496 w 2743"/>
                <a:gd name="T15" fmla="*/ 291 h 3122"/>
                <a:gd name="T16" fmla="*/ 409 w 2743"/>
                <a:gd name="T17" fmla="*/ 291 h 3122"/>
                <a:gd name="T18" fmla="*/ 380 w 2743"/>
                <a:gd name="T19" fmla="*/ 379 h 3122"/>
                <a:gd name="T20" fmla="*/ 380 w 2743"/>
                <a:gd name="T21" fmla="*/ 466 h 3122"/>
                <a:gd name="T22" fmla="*/ 350 w 2743"/>
                <a:gd name="T23" fmla="*/ 525 h 3122"/>
                <a:gd name="T24" fmla="*/ 321 w 2743"/>
                <a:gd name="T25" fmla="*/ 612 h 3122"/>
                <a:gd name="T26" fmla="*/ 350 w 2743"/>
                <a:gd name="T27" fmla="*/ 700 h 3122"/>
                <a:gd name="T28" fmla="*/ 350 w 2743"/>
                <a:gd name="T29" fmla="*/ 845 h 3122"/>
                <a:gd name="T30" fmla="*/ 321 w 2743"/>
                <a:gd name="T31" fmla="*/ 904 h 3122"/>
                <a:gd name="T32" fmla="*/ 321 w 2743"/>
                <a:gd name="T33" fmla="*/ 904 h 3122"/>
                <a:gd name="T34" fmla="*/ 321 w 2743"/>
                <a:gd name="T35" fmla="*/ 962 h 3122"/>
                <a:gd name="T36" fmla="*/ 321 w 2743"/>
                <a:gd name="T37" fmla="*/ 991 h 3122"/>
                <a:gd name="T38" fmla="*/ 350 w 2743"/>
                <a:gd name="T39" fmla="*/ 1021 h 3122"/>
                <a:gd name="T40" fmla="*/ 380 w 2743"/>
                <a:gd name="T41" fmla="*/ 1079 h 3122"/>
                <a:gd name="T42" fmla="*/ 380 w 2743"/>
                <a:gd name="T43" fmla="*/ 1109 h 3122"/>
                <a:gd name="T44" fmla="*/ 380 w 2743"/>
                <a:gd name="T45" fmla="*/ 1137 h 3122"/>
                <a:gd name="T46" fmla="*/ 409 w 2743"/>
                <a:gd name="T47" fmla="*/ 1166 h 3122"/>
                <a:gd name="T48" fmla="*/ 438 w 2743"/>
                <a:gd name="T49" fmla="*/ 1254 h 3122"/>
                <a:gd name="T50" fmla="*/ 380 w 2743"/>
                <a:gd name="T51" fmla="*/ 1312 h 3122"/>
                <a:gd name="T52" fmla="*/ 350 w 2743"/>
                <a:gd name="T53" fmla="*/ 1342 h 3122"/>
                <a:gd name="T54" fmla="*/ 321 w 2743"/>
                <a:gd name="T55" fmla="*/ 1400 h 3122"/>
                <a:gd name="T56" fmla="*/ 321 w 2743"/>
                <a:gd name="T57" fmla="*/ 1429 h 3122"/>
                <a:gd name="T58" fmla="*/ 292 w 2743"/>
                <a:gd name="T59" fmla="*/ 1459 h 3122"/>
                <a:gd name="T60" fmla="*/ 204 w 2743"/>
                <a:gd name="T61" fmla="*/ 1545 h 3122"/>
                <a:gd name="T62" fmla="*/ 146 w 2743"/>
                <a:gd name="T63" fmla="*/ 1662 h 3122"/>
                <a:gd name="T64" fmla="*/ 117 w 2743"/>
                <a:gd name="T65" fmla="*/ 1779 h 3122"/>
                <a:gd name="T66" fmla="*/ 146 w 2743"/>
                <a:gd name="T67" fmla="*/ 1866 h 3122"/>
                <a:gd name="T68" fmla="*/ 175 w 2743"/>
                <a:gd name="T69" fmla="*/ 1895 h 3122"/>
                <a:gd name="T70" fmla="*/ 175 w 2743"/>
                <a:gd name="T71" fmla="*/ 1925 h 3122"/>
                <a:gd name="T72" fmla="*/ 204 w 2743"/>
                <a:gd name="T73" fmla="*/ 2012 h 3122"/>
                <a:gd name="T74" fmla="*/ 204 w 2743"/>
                <a:gd name="T75" fmla="*/ 2012 h 3122"/>
                <a:gd name="T76" fmla="*/ 204 w 2743"/>
                <a:gd name="T77" fmla="*/ 2012 h 3122"/>
                <a:gd name="T78" fmla="*/ 59 w 2743"/>
                <a:gd name="T79" fmla="*/ 2042 h 3122"/>
                <a:gd name="T80" fmla="*/ 59 w 2743"/>
                <a:gd name="T81" fmla="*/ 2042 h 3122"/>
                <a:gd name="T82" fmla="*/ 0 w 2743"/>
                <a:gd name="T83" fmla="*/ 2129 h 3122"/>
                <a:gd name="T84" fmla="*/ 788 w 2743"/>
                <a:gd name="T85" fmla="*/ 2566 h 3122"/>
                <a:gd name="T86" fmla="*/ 1342 w 2743"/>
                <a:gd name="T87" fmla="*/ 2887 h 3122"/>
                <a:gd name="T88" fmla="*/ 1400 w 2743"/>
                <a:gd name="T89" fmla="*/ 2916 h 3122"/>
                <a:gd name="T90" fmla="*/ 1516 w 2743"/>
                <a:gd name="T91" fmla="*/ 2975 h 3122"/>
                <a:gd name="T92" fmla="*/ 1663 w 2743"/>
                <a:gd name="T93" fmla="*/ 3004 h 3122"/>
                <a:gd name="T94" fmla="*/ 1721 w 2743"/>
                <a:gd name="T95" fmla="*/ 3004 h 3122"/>
                <a:gd name="T96" fmla="*/ 1954 w 2743"/>
                <a:gd name="T97" fmla="*/ 3062 h 3122"/>
                <a:gd name="T98" fmla="*/ 2363 w 2743"/>
                <a:gd name="T99" fmla="*/ 3121 h 3122"/>
                <a:gd name="T100" fmla="*/ 2537 w 2743"/>
                <a:gd name="T101" fmla="*/ 1837 h 3122"/>
                <a:gd name="T102" fmla="*/ 2742 w 2743"/>
                <a:gd name="T103" fmla="*/ 350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43" h="3122">
                  <a:moveTo>
                    <a:pt x="2742" y="350"/>
                  </a:moveTo>
                  <a:lnTo>
                    <a:pt x="2742" y="350"/>
                  </a:lnTo>
                  <a:cubicBezTo>
                    <a:pt x="2012" y="233"/>
                    <a:pt x="1400" y="116"/>
                    <a:pt x="788" y="0"/>
                  </a:cubicBezTo>
                  <a:cubicBezTo>
                    <a:pt x="730" y="145"/>
                    <a:pt x="700" y="291"/>
                    <a:pt x="671" y="409"/>
                  </a:cubicBezTo>
                  <a:cubicBezTo>
                    <a:pt x="671" y="438"/>
                    <a:pt x="671" y="438"/>
                    <a:pt x="671" y="438"/>
                  </a:cubicBezTo>
                  <a:cubicBezTo>
                    <a:pt x="642" y="438"/>
                    <a:pt x="642" y="438"/>
                    <a:pt x="642" y="438"/>
                  </a:cubicBezTo>
                  <a:cubicBezTo>
                    <a:pt x="613" y="409"/>
                    <a:pt x="583" y="350"/>
                    <a:pt x="554" y="321"/>
                  </a:cubicBezTo>
                  <a:cubicBezTo>
                    <a:pt x="525" y="321"/>
                    <a:pt x="525" y="291"/>
                    <a:pt x="496" y="291"/>
                  </a:cubicBezTo>
                  <a:cubicBezTo>
                    <a:pt x="467" y="291"/>
                    <a:pt x="438" y="291"/>
                    <a:pt x="409" y="291"/>
                  </a:cubicBezTo>
                  <a:cubicBezTo>
                    <a:pt x="380" y="321"/>
                    <a:pt x="380" y="350"/>
                    <a:pt x="380" y="379"/>
                  </a:cubicBezTo>
                  <a:cubicBezTo>
                    <a:pt x="380" y="409"/>
                    <a:pt x="380" y="438"/>
                    <a:pt x="380" y="466"/>
                  </a:cubicBezTo>
                  <a:cubicBezTo>
                    <a:pt x="380" y="495"/>
                    <a:pt x="350" y="525"/>
                    <a:pt x="350" y="525"/>
                  </a:cubicBezTo>
                  <a:cubicBezTo>
                    <a:pt x="321" y="554"/>
                    <a:pt x="321" y="583"/>
                    <a:pt x="321" y="612"/>
                  </a:cubicBezTo>
                  <a:cubicBezTo>
                    <a:pt x="321" y="642"/>
                    <a:pt x="321" y="671"/>
                    <a:pt x="350" y="700"/>
                  </a:cubicBezTo>
                  <a:cubicBezTo>
                    <a:pt x="350" y="759"/>
                    <a:pt x="350" y="787"/>
                    <a:pt x="350" y="845"/>
                  </a:cubicBezTo>
                  <a:cubicBezTo>
                    <a:pt x="350" y="875"/>
                    <a:pt x="321" y="875"/>
                    <a:pt x="321" y="904"/>
                  </a:cubicBezTo>
                  <a:lnTo>
                    <a:pt x="321" y="904"/>
                  </a:lnTo>
                  <a:cubicBezTo>
                    <a:pt x="321" y="933"/>
                    <a:pt x="321" y="933"/>
                    <a:pt x="321" y="962"/>
                  </a:cubicBezTo>
                  <a:lnTo>
                    <a:pt x="321" y="991"/>
                  </a:lnTo>
                  <a:lnTo>
                    <a:pt x="350" y="1021"/>
                  </a:lnTo>
                  <a:cubicBezTo>
                    <a:pt x="350" y="1050"/>
                    <a:pt x="380" y="1079"/>
                    <a:pt x="380" y="1079"/>
                  </a:cubicBezTo>
                  <a:cubicBezTo>
                    <a:pt x="380" y="1109"/>
                    <a:pt x="380" y="1109"/>
                    <a:pt x="380" y="1109"/>
                  </a:cubicBezTo>
                  <a:cubicBezTo>
                    <a:pt x="380" y="1137"/>
                    <a:pt x="380" y="1137"/>
                    <a:pt x="380" y="1137"/>
                  </a:cubicBezTo>
                  <a:cubicBezTo>
                    <a:pt x="380" y="1137"/>
                    <a:pt x="380" y="1166"/>
                    <a:pt x="409" y="1166"/>
                  </a:cubicBezTo>
                  <a:cubicBezTo>
                    <a:pt x="409" y="1195"/>
                    <a:pt x="438" y="1195"/>
                    <a:pt x="438" y="1254"/>
                  </a:cubicBezTo>
                  <a:cubicBezTo>
                    <a:pt x="438" y="1283"/>
                    <a:pt x="409" y="1312"/>
                    <a:pt x="380" y="1312"/>
                  </a:cubicBezTo>
                  <a:cubicBezTo>
                    <a:pt x="380" y="1342"/>
                    <a:pt x="380" y="1342"/>
                    <a:pt x="350" y="1342"/>
                  </a:cubicBezTo>
                  <a:cubicBezTo>
                    <a:pt x="350" y="1371"/>
                    <a:pt x="350" y="1371"/>
                    <a:pt x="321" y="1400"/>
                  </a:cubicBezTo>
                  <a:lnTo>
                    <a:pt x="321" y="1429"/>
                  </a:lnTo>
                  <a:cubicBezTo>
                    <a:pt x="292" y="1429"/>
                    <a:pt x="292" y="1459"/>
                    <a:pt x="292" y="1459"/>
                  </a:cubicBezTo>
                  <a:cubicBezTo>
                    <a:pt x="263" y="1487"/>
                    <a:pt x="263" y="1545"/>
                    <a:pt x="204" y="1545"/>
                  </a:cubicBezTo>
                  <a:cubicBezTo>
                    <a:pt x="204" y="1604"/>
                    <a:pt x="175" y="1633"/>
                    <a:pt x="146" y="1662"/>
                  </a:cubicBezTo>
                  <a:cubicBezTo>
                    <a:pt x="117" y="1692"/>
                    <a:pt x="117" y="1750"/>
                    <a:pt x="117" y="1779"/>
                  </a:cubicBezTo>
                  <a:cubicBezTo>
                    <a:pt x="117" y="1809"/>
                    <a:pt x="117" y="1837"/>
                    <a:pt x="146" y="1866"/>
                  </a:cubicBezTo>
                  <a:cubicBezTo>
                    <a:pt x="146" y="1866"/>
                    <a:pt x="146" y="1866"/>
                    <a:pt x="175" y="1895"/>
                  </a:cubicBezTo>
                  <a:cubicBezTo>
                    <a:pt x="175" y="1895"/>
                    <a:pt x="175" y="1895"/>
                    <a:pt x="175" y="1925"/>
                  </a:cubicBezTo>
                  <a:cubicBezTo>
                    <a:pt x="204" y="1925"/>
                    <a:pt x="204" y="1954"/>
                    <a:pt x="204" y="2012"/>
                  </a:cubicBezTo>
                  <a:lnTo>
                    <a:pt x="204" y="2012"/>
                  </a:lnTo>
                  <a:lnTo>
                    <a:pt x="204" y="2012"/>
                  </a:lnTo>
                  <a:cubicBezTo>
                    <a:pt x="175" y="2042"/>
                    <a:pt x="117" y="2042"/>
                    <a:pt x="59" y="2042"/>
                  </a:cubicBezTo>
                  <a:lnTo>
                    <a:pt x="59" y="2042"/>
                  </a:lnTo>
                  <a:cubicBezTo>
                    <a:pt x="30" y="2071"/>
                    <a:pt x="0" y="2100"/>
                    <a:pt x="0" y="2129"/>
                  </a:cubicBezTo>
                  <a:cubicBezTo>
                    <a:pt x="263" y="2275"/>
                    <a:pt x="525" y="2421"/>
                    <a:pt x="788" y="2566"/>
                  </a:cubicBezTo>
                  <a:cubicBezTo>
                    <a:pt x="963" y="2654"/>
                    <a:pt x="1138" y="2771"/>
                    <a:pt x="1342" y="2887"/>
                  </a:cubicBezTo>
                  <a:cubicBezTo>
                    <a:pt x="1342" y="2887"/>
                    <a:pt x="1371" y="2887"/>
                    <a:pt x="1400" y="2916"/>
                  </a:cubicBezTo>
                  <a:cubicBezTo>
                    <a:pt x="1430" y="2945"/>
                    <a:pt x="1488" y="2975"/>
                    <a:pt x="1516" y="2975"/>
                  </a:cubicBezTo>
                  <a:cubicBezTo>
                    <a:pt x="1546" y="3004"/>
                    <a:pt x="1604" y="3004"/>
                    <a:pt x="1663" y="3004"/>
                  </a:cubicBezTo>
                  <a:cubicBezTo>
                    <a:pt x="1692" y="3004"/>
                    <a:pt x="1721" y="3004"/>
                    <a:pt x="1721" y="3004"/>
                  </a:cubicBezTo>
                  <a:cubicBezTo>
                    <a:pt x="1809" y="3033"/>
                    <a:pt x="1866" y="3033"/>
                    <a:pt x="1954" y="3062"/>
                  </a:cubicBezTo>
                  <a:cubicBezTo>
                    <a:pt x="2071" y="3062"/>
                    <a:pt x="2216" y="3092"/>
                    <a:pt x="2363" y="3121"/>
                  </a:cubicBezTo>
                  <a:cubicBezTo>
                    <a:pt x="2421" y="2683"/>
                    <a:pt x="2480" y="2275"/>
                    <a:pt x="2537" y="1837"/>
                  </a:cubicBezTo>
                  <a:cubicBezTo>
                    <a:pt x="2625" y="1342"/>
                    <a:pt x="2683" y="845"/>
                    <a:pt x="2742" y="35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7" name="Freeform 435">
              <a:extLst>
                <a:ext uri="{FF2B5EF4-FFF2-40B4-BE49-F238E27FC236}">
                  <a16:creationId xmlns:a16="http://schemas.microsoft.com/office/drawing/2014/main" id="{0D0FD4B8-4330-481A-B818-9377C158CF81}"/>
                </a:ext>
              </a:extLst>
            </p:cNvPr>
            <p:cNvSpPr>
              <a:spLocks noChangeArrowheads="1"/>
            </p:cNvSpPr>
            <p:nvPr/>
          </p:nvSpPr>
          <p:spPr bwMode="auto">
            <a:xfrm>
              <a:off x="7081197" y="5426287"/>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8" name="Freeform 436">
              <a:extLst>
                <a:ext uri="{FF2B5EF4-FFF2-40B4-BE49-F238E27FC236}">
                  <a16:creationId xmlns:a16="http://schemas.microsoft.com/office/drawing/2014/main" id="{F6AD0953-ED24-488B-A56D-6E7A77E897E0}"/>
                </a:ext>
              </a:extLst>
            </p:cNvPr>
            <p:cNvSpPr>
              <a:spLocks noChangeArrowheads="1"/>
            </p:cNvSpPr>
            <p:nvPr/>
          </p:nvSpPr>
          <p:spPr bwMode="auto">
            <a:xfrm>
              <a:off x="6012992" y="454915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59" name="Freeform 437">
              <a:extLst>
                <a:ext uri="{FF2B5EF4-FFF2-40B4-BE49-F238E27FC236}">
                  <a16:creationId xmlns:a16="http://schemas.microsoft.com/office/drawing/2014/main" id="{67ABC229-A5C4-4A04-94DE-2D4FC1B2F8B6}"/>
                </a:ext>
              </a:extLst>
            </p:cNvPr>
            <p:cNvSpPr>
              <a:spLocks noChangeArrowheads="1"/>
            </p:cNvSpPr>
            <p:nvPr/>
          </p:nvSpPr>
          <p:spPr bwMode="auto">
            <a:xfrm>
              <a:off x="7081197" y="5416577"/>
              <a:ext cx="1630" cy="11328"/>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cubicBezTo>
                    <a:pt x="0" y="30"/>
                    <a:pt x="0" y="30"/>
                    <a:pt x="0" y="30"/>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0" name="Freeform 438">
              <a:extLst>
                <a:ext uri="{FF2B5EF4-FFF2-40B4-BE49-F238E27FC236}">
                  <a16:creationId xmlns:a16="http://schemas.microsoft.com/office/drawing/2014/main" id="{F36D9E89-8452-4AD2-B355-DACC7CBD30FC}"/>
                </a:ext>
              </a:extLst>
            </p:cNvPr>
            <p:cNvSpPr>
              <a:spLocks noChangeArrowheads="1"/>
            </p:cNvSpPr>
            <p:nvPr/>
          </p:nvSpPr>
          <p:spPr bwMode="auto">
            <a:xfrm>
              <a:off x="11373582" y="1584395"/>
              <a:ext cx="32617" cy="1618"/>
            </a:xfrm>
            <a:custGeom>
              <a:avLst/>
              <a:gdLst>
                <a:gd name="T0" fmla="*/ 88 w 89"/>
                <a:gd name="T1" fmla="*/ 0 h 1"/>
                <a:gd name="T2" fmla="*/ 88 w 89"/>
                <a:gd name="T3" fmla="*/ 0 h 1"/>
                <a:gd name="T4" fmla="*/ 88 w 89"/>
                <a:gd name="T5" fmla="*/ 0 h 1"/>
                <a:gd name="T6" fmla="*/ 88 w 89"/>
                <a:gd name="T7" fmla="*/ 0 h 1"/>
                <a:gd name="T8" fmla="*/ 88 w 89"/>
                <a:gd name="T9" fmla="*/ 0 h 1"/>
                <a:gd name="T10" fmla="*/ 0 w 89"/>
                <a:gd name="T11" fmla="*/ 0 h 1"/>
                <a:gd name="T12" fmla="*/ 88 w 8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89" h="1">
                  <a:moveTo>
                    <a:pt x="88" y="0"/>
                  </a:moveTo>
                  <a:lnTo>
                    <a:pt x="88" y="0"/>
                  </a:lnTo>
                  <a:lnTo>
                    <a:pt x="88" y="0"/>
                  </a:lnTo>
                  <a:lnTo>
                    <a:pt x="88" y="0"/>
                  </a:lnTo>
                  <a:lnTo>
                    <a:pt x="88" y="0"/>
                  </a:lnTo>
                  <a:cubicBezTo>
                    <a:pt x="59" y="0"/>
                    <a:pt x="30" y="0"/>
                    <a:pt x="0" y="0"/>
                  </a:cubicBezTo>
                  <a:cubicBezTo>
                    <a:pt x="30" y="0"/>
                    <a:pt x="59"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1" name="Freeform 439">
              <a:extLst>
                <a:ext uri="{FF2B5EF4-FFF2-40B4-BE49-F238E27FC236}">
                  <a16:creationId xmlns:a16="http://schemas.microsoft.com/office/drawing/2014/main" id="{06BDA0B1-536F-466F-85D5-5F1EE7FB1C82}"/>
                </a:ext>
              </a:extLst>
            </p:cNvPr>
            <p:cNvSpPr>
              <a:spLocks noChangeArrowheads="1"/>
            </p:cNvSpPr>
            <p:nvPr/>
          </p:nvSpPr>
          <p:spPr bwMode="auto">
            <a:xfrm>
              <a:off x="6401134" y="5052455"/>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2" name="Freeform 440">
              <a:extLst>
                <a:ext uri="{FF2B5EF4-FFF2-40B4-BE49-F238E27FC236}">
                  <a16:creationId xmlns:a16="http://schemas.microsoft.com/office/drawing/2014/main" id="{8C9AF4C7-2E67-4B70-98B3-BC62F1028CD2}"/>
                </a:ext>
              </a:extLst>
            </p:cNvPr>
            <p:cNvSpPr>
              <a:spLocks noChangeArrowheads="1"/>
            </p:cNvSpPr>
            <p:nvPr/>
          </p:nvSpPr>
          <p:spPr bwMode="auto">
            <a:xfrm>
              <a:off x="6303283" y="5008761"/>
              <a:ext cx="53818" cy="21038"/>
            </a:xfrm>
            <a:custGeom>
              <a:avLst/>
              <a:gdLst>
                <a:gd name="T0" fmla="*/ 88 w 147"/>
                <a:gd name="T1" fmla="*/ 58 h 59"/>
                <a:gd name="T2" fmla="*/ 88 w 147"/>
                <a:gd name="T3" fmla="*/ 58 h 59"/>
                <a:gd name="T4" fmla="*/ 0 w 147"/>
                <a:gd name="T5" fmla="*/ 0 h 59"/>
                <a:gd name="T6" fmla="*/ 88 w 147"/>
                <a:gd name="T7" fmla="*/ 58 h 59"/>
                <a:gd name="T8" fmla="*/ 88 w 147"/>
                <a:gd name="T9" fmla="*/ 58 h 59"/>
                <a:gd name="T10" fmla="*/ 146 w 147"/>
                <a:gd name="T11" fmla="*/ 58 h 59"/>
                <a:gd name="T12" fmla="*/ 88 w 147"/>
                <a:gd name="T13" fmla="*/ 58 h 59"/>
              </a:gdLst>
              <a:ahLst/>
              <a:cxnLst>
                <a:cxn ang="0">
                  <a:pos x="T0" y="T1"/>
                </a:cxn>
                <a:cxn ang="0">
                  <a:pos x="T2" y="T3"/>
                </a:cxn>
                <a:cxn ang="0">
                  <a:pos x="T4" y="T5"/>
                </a:cxn>
                <a:cxn ang="0">
                  <a:pos x="T6" y="T7"/>
                </a:cxn>
                <a:cxn ang="0">
                  <a:pos x="T8" y="T9"/>
                </a:cxn>
                <a:cxn ang="0">
                  <a:pos x="T10" y="T11"/>
                </a:cxn>
                <a:cxn ang="0">
                  <a:pos x="T12" y="T13"/>
                </a:cxn>
              </a:cxnLst>
              <a:rect l="0" t="0" r="r" b="b"/>
              <a:pathLst>
                <a:path w="147" h="59">
                  <a:moveTo>
                    <a:pt x="88" y="58"/>
                  </a:moveTo>
                  <a:lnTo>
                    <a:pt x="88" y="58"/>
                  </a:lnTo>
                  <a:cubicBezTo>
                    <a:pt x="58" y="58"/>
                    <a:pt x="29" y="29"/>
                    <a:pt x="0" y="0"/>
                  </a:cubicBezTo>
                  <a:cubicBezTo>
                    <a:pt x="29" y="29"/>
                    <a:pt x="58" y="58"/>
                    <a:pt x="88" y="58"/>
                  </a:cubicBezTo>
                  <a:lnTo>
                    <a:pt x="88" y="58"/>
                  </a:lnTo>
                  <a:cubicBezTo>
                    <a:pt x="146" y="58"/>
                    <a:pt x="146" y="58"/>
                    <a:pt x="146" y="58"/>
                  </a:cubicBezTo>
                  <a:cubicBezTo>
                    <a:pt x="88" y="58"/>
                    <a:pt x="88" y="58"/>
                    <a:pt x="8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3" name="Freeform 441">
              <a:extLst>
                <a:ext uri="{FF2B5EF4-FFF2-40B4-BE49-F238E27FC236}">
                  <a16:creationId xmlns:a16="http://schemas.microsoft.com/office/drawing/2014/main" id="{97780578-543F-4B92-BCA5-7D285C92D569}"/>
                </a:ext>
              </a:extLst>
            </p:cNvPr>
            <p:cNvSpPr>
              <a:spLocks noChangeArrowheads="1"/>
            </p:cNvSpPr>
            <p:nvPr/>
          </p:nvSpPr>
          <p:spPr bwMode="auto">
            <a:xfrm>
              <a:off x="6358732" y="5031417"/>
              <a:ext cx="22832" cy="22656"/>
            </a:xfrm>
            <a:custGeom>
              <a:avLst/>
              <a:gdLst>
                <a:gd name="T0" fmla="*/ 0 w 60"/>
                <a:gd name="T1" fmla="*/ 0 h 60"/>
                <a:gd name="T2" fmla="*/ 0 w 60"/>
                <a:gd name="T3" fmla="*/ 0 h 60"/>
                <a:gd name="T4" fmla="*/ 0 w 60"/>
                <a:gd name="T5" fmla="*/ 30 h 60"/>
                <a:gd name="T6" fmla="*/ 59 w 60"/>
                <a:gd name="T7" fmla="*/ 59 h 60"/>
                <a:gd name="T8" fmla="*/ 0 w 60"/>
                <a:gd name="T9" fmla="*/ 30 h 60"/>
                <a:gd name="T10" fmla="*/ 0 w 60"/>
                <a:gd name="T11" fmla="*/ 0 h 60"/>
              </a:gdLst>
              <a:ahLst/>
              <a:cxnLst>
                <a:cxn ang="0">
                  <a:pos x="T0" y="T1"/>
                </a:cxn>
                <a:cxn ang="0">
                  <a:pos x="T2" y="T3"/>
                </a:cxn>
                <a:cxn ang="0">
                  <a:pos x="T4" y="T5"/>
                </a:cxn>
                <a:cxn ang="0">
                  <a:pos x="T6" y="T7"/>
                </a:cxn>
                <a:cxn ang="0">
                  <a:pos x="T8" y="T9"/>
                </a:cxn>
                <a:cxn ang="0">
                  <a:pos x="T10" y="T11"/>
                </a:cxn>
              </a:cxnLst>
              <a:rect l="0" t="0" r="r" b="b"/>
              <a:pathLst>
                <a:path w="60" h="60">
                  <a:moveTo>
                    <a:pt x="0" y="0"/>
                  </a:moveTo>
                  <a:lnTo>
                    <a:pt x="0" y="0"/>
                  </a:lnTo>
                  <a:cubicBezTo>
                    <a:pt x="0" y="30"/>
                    <a:pt x="0" y="30"/>
                    <a:pt x="0" y="30"/>
                  </a:cubicBezTo>
                  <a:cubicBezTo>
                    <a:pt x="29" y="30"/>
                    <a:pt x="59" y="59"/>
                    <a:pt x="59" y="59"/>
                  </a:cubicBezTo>
                  <a:cubicBezTo>
                    <a:pt x="59" y="59"/>
                    <a:pt x="29" y="30"/>
                    <a:pt x="0" y="30"/>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4" name="Freeform 442">
              <a:extLst>
                <a:ext uri="{FF2B5EF4-FFF2-40B4-BE49-F238E27FC236}">
                  <a16:creationId xmlns:a16="http://schemas.microsoft.com/office/drawing/2014/main" id="{AD7A86CC-4806-47CF-923C-FB18971AC37A}"/>
                </a:ext>
              </a:extLst>
            </p:cNvPr>
            <p:cNvSpPr>
              <a:spLocks noChangeArrowheads="1"/>
            </p:cNvSpPr>
            <p:nvPr/>
          </p:nvSpPr>
          <p:spPr bwMode="auto">
            <a:xfrm>
              <a:off x="6251096" y="4880913"/>
              <a:ext cx="53818" cy="118138"/>
            </a:xfrm>
            <a:custGeom>
              <a:avLst/>
              <a:gdLst>
                <a:gd name="T0" fmla="*/ 58 w 146"/>
                <a:gd name="T1" fmla="*/ 204 h 322"/>
                <a:gd name="T2" fmla="*/ 58 w 146"/>
                <a:gd name="T3" fmla="*/ 204 h 322"/>
                <a:gd name="T4" fmla="*/ 58 w 146"/>
                <a:gd name="T5" fmla="*/ 204 h 322"/>
                <a:gd name="T6" fmla="*/ 29 w 146"/>
                <a:gd name="T7" fmla="*/ 58 h 322"/>
                <a:gd name="T8" fmla="*/ 0 w 146"/>
                <a:gd name="T9" fmla="*/ 0 h 322"/>
                <a:gd name="T10" fmla="*/ 29 w 146"/>
                <a:gd name="T11" fmla="*/ 58 h 322"/>
                <a:gd name="T12" fmla="*/ 58 w 146"/>
                <a:gd name="T13" fmla="*/ 204 h 322"/>
                <a:gd name="T14" fmla="*/ 58 w 146"/>
                <a:gd name="T15" fmla="*/ 204 h 322"/>
                <a:gd name="T16" fmla="*/ 145 w 146"/>
                <a:gd name="T17" fmla="*/ 321 h 322"/>
                <a:gd name="T18" fmla="*/ 58 w 146"/>
                <a:gd name="T19" fmla="*/ 20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322">
                  <a:moveTo>
                    <a:pt x="58" y="204"/>
                  </a:moveTo>
                  <a:lnTo>
                    <a:pt x="58" y="204"/>
                  </a:lnTo>
                  <a:lnTo>
                    <a:pt x="58" y="204"/>
                  </a:lnTo>
                  <a:cubicBezTo>
                    <a:pt x="58" y="146"/>
                    <a:pt x="29" y="117"/>
                    <a:pt x="29" y="58"/>
                  </a:cubicBezTo>
                  <a:cubicBezTo>
                    <a:pt x="0" y="29"/>
                    <a:pt x="0" y="29"/>
                    <a:pt x="0" y="0"/>
                  </a:cubicBezTo>
                  <a:cubicBezTo>
                    <a:pt x="0" y="29"/>
                    <a:pt x="0" y="29"/>
                    <a:pt x="29" y="58"/>
                  </a:cubicBezTo>
                  <a:cubicBezTo>
                    <a:pt x="29" y="117"/>
                    <a:pt x="58" y="146"/>
                    <a:pt x="58" y="204"/>
                  </a:cubicBezTo>
                  <a:lnTo>
                    <a:pt x="58" y="204"/>
                  </a:lnTo>
                  <a:cubicBezTo>
                    <a:pt x="87" y="262"/>
                    <a:pt x="116" y="291"/>
                    <a:pt x="145" y="321"/>
                  </a:cubicBezTo>
                  <a:cubicBezTo>
                    <a:pt x="116" y="291"/>
                    <a:pt x="87" y="262"/>
                    <a:pt x="58"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5" name="Freeform 443">
              <a:extLst>
                <a:ext uri="{FF2B5EF4-FFF2-40B4-BE49-F238E27FC236}">
                  <a16:creationId xmlns:a16="http://schemas.microsoft.com/office/drawing/2014/main" id="{652CCE65-B836-4F9B-BC01-9F130C95C83B}"/>
                </a:ext>
              </a:extLst>
            </p:cNvPr>
            <p:cNvSpPr>
              <a:spLocks noChangeArrowheads="1"/>
            </p:cNvSpPr>
            <p:nvPr/>
          </p:nvSpPr>
          <p:spPr bwMode="auto">
            <a:xfrm>
              <a:off x="6228264" y="4785432"/>
              <a:ext cx="22832" cy="97099"/>
            </a:xfrm>
            <a:custGeom>
              <a:avLst/>
              <a:gdLst>
                <a:gd name="T0" fmla="*/ 0 w 60"/>
                <a:gd name="T1" fmla="*/ 29 h 263"/>
                <a:gd name="T2" fmla="*/ 0 w 60"/>
                <a:gd name="T3" fmla="*/ 29 h 263"/>
                <a:gd name="T4" fmla="*/ 0 w 60"/>
                <a:gd name="T5" fmla="*/ 0 h 263"/>
                <a:gd name="T6" fmla="*/ 0 w 60"/>
                <a:gd name="T7" fmla="*/ 29 h 263"/>
                <a:gd name="T8" fmla="*/ 29 w 60"/>
                <a:gd name="T9" fmla="*/ 145 h 263"/>
                <a:gd name="T10" fmla="*/ 59 w 60"/>
                <a:gd name="T11" fmla="*/ 262 h 263"/>
                <a:gd name="T12" fmla="*/ 29 w 60"/>
                <a:gd name="T13" fmla="*/ 145 h 263"/>
                <a:gd name="T14" fmla="*/ 0 w 60"/>
                <a:gd name="T15" fmla="*/ 29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63">
                  <a:moveTo>
                    <a:pt x="0" y="29"/>
                  </a:moveTo>
                  <a:lnTo>
                    <a:pt x="0" y="29"/>
                  </a:lnTo>
                  <a:lnTo>
                    <a:pt x="0" y="0"/>
                  </a:lnTo>
                  <a:lnTo>
                    <a:pt x="0" y="29"/>
                  </a:lnTo>
                  <a:cubicBezTo>
                    <a:pt x="29" y="58"/>
                    <a:pt x="29" y="87"/>
                    <a:pt x="29" y="145"/>
                  </a:cubicBezTo>
                  <a:cubicBezTo>
                    <a:pt x="29" y="174"/>
                    <a:pt x="59" y="203"/>
                    <a:pt x="59" y="262"/>
                  </a:cubicBezTo>
                  <a:cubicBezTo>
                    <a:pt x="59" y="203"/>
                    <a:pt x="29" y="174"/>
                    <a:pt x="29" y="145"/>
                  </a:cubicBezTo>
                  <a:cubicBezTo>
                    <a:pt x="29" y="87"/>
                    <a:pt x="29" y="58"/>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6" name="Freeform 444">
              <a:extLst>
                <a:ext uri="{FF2B5EF4-FFF2-40B4-BE49-F238E27FC236}">
                  <a16:creationId xmlns:a16="http://schemas.microsoft.com/office/drawing/2014/main" id="{E87182DA-AE93-476B-9D2A-F587815B8852}"/>
                </a:ext>
              </a:extLst>
            </p:cNvPr>
            <p:cNvSpPr>
              <a:spLocks noChangeArrowheads="1"/>
            </p:cNvSpPr>
            <p:nvPr/>
          </p:nvSpPr>
          <p:spPr bwMode="auto">
            <a:xfrm>
              <a:off x="6109213" y="4667294"/>
              <a:ext cx="44032" cy="53405"/>
            </a:xfrm>
            <a:custGeom>
              <a:avLst/>
              <a:gdLst>
                <a:gd name="T0" fmla="*/ 88 w 118"/>
                <a:gd name="T1" fmla="*/ 116 h 146"/>
                <a:gd name="T2" fmla="*/ 88 w 118"/>
                <a:gd name="T3" fmla="*/ 116 h 146"/>
                <a:gd name="T4" fmla="*/ 30 w 118"/>
                <a:gd name="T5" fmla="*/ 29 h 146"/>
                <a:gd name="T6" fmla="*/ 0 w 118"/>
                <a:gd name="T7" fmla="*/ 0 h 146"/>
                <a:gd name="T8" fmla="*/ 30 w 118"/>
                <a:gd name="T9" fmla="*/ 29 h 146"/>
                <a:gd name="T10" fmla="*/ 88 w 118"/>
                <a:gd name="T11" fmla="*/ 116 h 146"/>
                <a:gd name="T12" fmla="*/ 117 w 118"/>
                <a:gd name="T13" fmla="*/ 145 h 146"/>
                <a:gd name="T14" fmla="*/ 88 w 118"/>
                <a:gd name="T15" fmla="*/ 11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46">
                  <a:moveTo>
                    <a:pt x="88" y="116"/>
                  </a:moveTo>
                  <a:lnTo>
                    <a:pt x="88" y="116"/>
                  </a:lnTo>
                  <a:cubicBezTo>
                    <a:pt x="59" y="87"/>
                    <a:pt x="30" y="58"/>
                    <a:pt x="30" y="29"/>
                  </a:cubicBezTo>
                  <a:cubicBezTo>
                    <a:pt x="30" y="29"/>
                    <a:pt x="30" y="29"/>
                    <a:pt x="0" y="0"/>
                  </a:cubicBezTo>
                  <a:cubicBezTo>
                    <a:pt x="30" y="29"/>
                    <a:pt x="30" y="29"/>
                    <a:pt x="30" y="29"/>
                  </a:cubicBezTo>
                  <a:cubicBezTo>
                    <a:pt x="30" y="58"/>
                    <a:pt x="59" y="87"/>
                    <a:pt x="88" y="116"/>
                  </a:cubicBezTo>
                  <a:cubicBezTo>
                    <a:pt x="88" y="116"/>
                    <a:pt x="117" y="116"/>
                    <a:pt x="117" y="145"/>
                  </a:cubicBezTo>
                  <a:cubicBezTo>
                    <a:pt x="117" y="116"/>
                    <a:pt x="88" y="116"/>
                    <a:pt x="88"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7" name="Freeform 445">
              <a:extLst>
                <a:ext uri="{FF2B5EF4-FFF2-40B4-BE49-F238E27FC236}">
                  <a16:creationId xmlns:a16="http://schemas.microsoft.com/office/drawing/2014/main" id="{89C9D304-F6E0-498A-BDD4-805B8686F980}"/>
                </a:ext>
              </a:extLst>
            </p:cNvPr>
            <p:cNvSpPr>
              <a:spLocks noChangeArrowheads="1"/>
            </p:cNvSpPr>
            <p:nvPr/>
          </p:nvSpPr>
          <p:spPr bwMode="auto">
            <a:xfrm>
              <a:off x="6702841" y="4976394"/>
              <a:ext cx="44032" cy="22656"/>
            </a:xfrm>
            <a:custGeom>
              <a:avLst/>
              <a:gdLst>
                <a:gd name="T0" fmla="*/ 88 w 118"/>
                <a:gd name="T1" fmla="*/ 59 h 60"/>
                <a:gd name="T2" fmla="*/ 88 w 118"/>
                <a:gd name="T3" fmla="*/ 59 h 60"/>
                <a:gd name="T4" fmla="*/ 88 w 118"/>
                <a:gd name="T5" fmla="*/ 29 h 60"/>
                <a:gd name="T6" fmla="*/ 0 w 118"/>
                <a:gd name="T7" fmla="*/ 0 h 60"/>
                <a:gd name="T8" fmla="*/ 0 w 118"/>
                <a:gd name="T9" fmla="*/ 0 h 60"/>
                <a:gd name="T10" fmla="*/ 0 w 118"/>
                <a:gd name="T11" fmla="*/ 0 h 60"/>
                <a:gd name="T12" fmla="*/ 88 w 118"/>
                <a:gd name="T13" fmla="*/ 29 h 60"/>
                <a:gd name="T14" fmla="*/ 88 w 118"/>
                <a:gd name="T15" fmla="*/ 59 h 60"/>
                <a:gd name="T16" fmla="*/ 117 w 118"/>
                <a:gd name="T17" fmla="*/ 59 h 60"/>
                <a:gd name="T18" fmla="*/ 117 w 118"/>
                <a:gd name="T19" fmla="*/ 59 h 60"/>
                <a:gd name="T20" fmla="*/ 88 w 118"/>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60">
                  <a:moveTo>
                    <a:pt x="88" y="59"/>
                  </a:moveTo>
                  <a:lnTo>
                    <a:pt x="88" y="59"/>
                  </a:lnTo>
                  <a:cubicBezTo>
                    <a:pt x="88" y="29"/>
                    <a:pt x="88" y="29"/>
                    <a:pt x="88" y="29"/>
                  </a:cubicBezTo>
                  <a:cubicBezTo>
                    <a:pt x="59" y="29"/>
                    <a:pt x="29" y="29"/>
                    <a:pt x="0" y="0"/>
                  </a:cubicBezTo>
                  <a:lnTo>
                    <a:pt x="0" y="0"/>
                  </a:lnTo>
                  <a:lnTo>
                    <a:pt x="0" y="0"/>
                  </a:lnTo>
                  <a:cubicBezTo>
                    <a:pt x="29" y="29"/>
                    <a:pt x="59" y="29"/>
                    <a:pt x="88" y="29"/>
                  </a:cubicBezTo>
                  <a:cubicBezTo>
                    <a:pt x="88" y="59"/>
                    <a:pt x="88" y="59"/>
                    <a:pt x="88" y="59"/>
                  </a:cubicBezTo>
                  <a:cubicBezTo>
                    <a:pt x="117" y="59"/>
                    <a:pt x="117" y="59"/>
                    <a:pt x="117" y="59"/>
                  </a:cubicBezTo>
                  <a:lnTo>
                    <a:pt x="117" y="59"/>
                  </a:lnTo>
                  <a:lnTo>
                    <a:pt x="88" y="5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8" name="Freeform 446">
              <a:extLst>
                <a:ext uri="{FF2B5EF4-FFF2-40B4-BE49-F238E27FC236}">
                  <a16:creationId xmlns:a16="http://schemas.microsoft.com/office/drawing/2014/main" id="{7D8984B1-F65E-44F6-BCC4-74FCA3461947}"/>
                </a:ext>
              </a:extLst>
            </p:cNvPr>
            <p:cNvSpPr>
              <a:spLocks noChangeArrowheads="1"/>
            </p:cNvSpPr>
            <p:nvPr/>
          </p:nvSpPr>
          <p:spPr bwMode="auto">
            <a:xfrm>
              <a:off x="6639237" y="4966684"/>
              <a:ext cx="11416" cy="1618"/>
            </a:xfrm>
            <a:custGeom>
              <a:avLst/>
              <a:gdLst>
                <a:gd name="T0" fmla="*/ 0 w 30"/>
                <a:gd name="T1" fmla="*/ 0 h 1"/>
                <a:gd name="T2" fmla="*/ 0 w 30"/>
                <a:gd name="T3" fmla="*/ 0 h 1"/>
                <a:gd name="T4" fmla="*/ 0 w 30"/>
                <a:gd name="T5" fmla="*/ 0 h 1"/>
                <a:gd name="T6" fmla="*/ 0 w 30"/>
                <a:gd name="T7" fmla="*/ 0 h 1"/>
                <a:gd name="T8" fmla="*/ 0 w 30"/>
                <a:gd name="T9" fmla="*/ 0 h 1"/>
                <a:gd name="T10" fmla="*/ 0 w 30"/>
                <a:gd name="T11" fmla="*/ 0 h 1"/>
                <a:gd name="T12" fmla="*/ 29 w 30"/>
                <a:gd name="T13" fmla="*/ 0 h 1"/>
                <a:gd name="T14" fmla="*/ 0 w 30"/>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
                  <a:moveTo>
                    <a:pt x="0" y="0"/>
                  </a:moveTo>
                  <a:lnTo>
                    <a:pt x="0" y="0"/>
                  </a:lnTo>
                  <a:lnTo>
                    <a:pt x="0" y="0"/>
                  </a:lnTo>
                  <a:lnTo>
                    <a:pt x="0" y="0"/>
                  </a:lnTo>
                  <a:lnTo>
                    <a:pt x="0" y="0"/>
                  </a:lnTo>
                  <a:lnTo>
                    <a:pt x="0" y="0"/>
                  </a:lnTo>
                  <a:cubicBezTo>
                    <a:pt x="29" y="0"/>
                    <a:pt x="29" y="0"/>
                    <a:pt x="29"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69" name="Freeform 447">
              <a:extLst>
                <a:ext uri="{FF2B5EF4-FFF2-40B4-BE49-F238E27FC236}">
                  <a16:creationId xmlns:a16="http://schemas.microsoft.com/office/drawing/2014/main" id="{C3D708CE-AFEA-47A6-9347-AEE0ED9514D5}"/>
                </a:ext>
              </a:extLst>
            </p:cNvPr>
            <p:cNvSpPr>
              <a:spLocks noChangeArrowheads="1"/>
            </p:cNvSpPr>
            <p:nvPr/>
          </p:nvSpPr>
          <p:spPr bwMode="auto">
            <a:xfrm>
              <a:off x="6487569" y="511557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0" name="Freeform 448">
              <a:extLst>
                <a:ext uri="{FF2B5EF4-FFF2-40B4-BE49-F238E27FC236}">
                  <a16:creationId xmlns:a16="http://schemas.microsoft.com/office/drawing/2014/main" id="{DE30B253-E021-4643-83E0-C8160785181F}"/>
                </a:ext>
              </a:extLst>
            </p:cNvPr>
            <p:cNvSpPr>
              <a:spLocks noChangeArrowheads="1"/>
            </p:cNvSpPr>
            <p:nvPr/>
          </p:nvSpPr>
          <p:spPr bwMode="auto">
            <a:xfrm>
              <a:off x="6649022" y="4966684"/>
              <a:ext cx="11416" cy="1618"/>
            </a:xfrm>
            <a:custGeom>
              <a:avLst/>
              <a:gdLst>
                <a:gd name="T0" fmla="*/ 29 w 30"/>
                <a:gd name="T1" fmla="*/ 0 h 1"/>
                <a:gd name="T2" fmla="*/ 29 w 30"/>
                <a:gd name="T3" fmla="*/ 0 h 1"/>
                <a:gd name="T4" fmla="*/ 0 w 30"/>
                <a:gd name="T5" fmla="*/ 0 h 1"/>
                <a:gd name="T6" fmla="*/ 0 w 30"/>
                <a:gd name="T7" fmla="*/ 0 h 1"/>
                <a:gd name="T8" fmla="*/ 29 w 30"/>
                <a:gd name="T9" fmla="*/ 0 h 1"/>
              </a:gdLst>
              <a:ahLst/>
              <a:cxnLst>
                <a:cxn ang="0">
                  <a:pos x="T0" y="T1"/>
                </a:cxn>
                <a:cxn ang="0">
                  <a:pos x="T2" y="T3"/>
                </a:cxn>
                <a:cxn ang="0">
                  <a:pos x="T4" y="T5"/>
                </a:cxn>
                <a:cxn ang="0">
                  <a:pos x="T6" y="T7"/>
                </a:cxn>
                <a:cxn ang="0">
                  <a:pos x="T8" y="T9"/>
                </a:cxn>
              </a:cxnLst>
              <a:rect l="0" t="0" r="r" b="b"/>
              <a:pathLst>
                <a:path w="30" h="1">
                  <a:moveTo>
                    <a:pt x="29" y="0"/>
                  </a:moveTo>
                  <a:lnTo>
                    <a:pt x="29" y="0"/>
                  </a:lnTo>
                  <a:lnTo>
                    <a:pt x="0"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1" name="Freeform 449">
              <a:extLst>
                <a:ext uri="{FF2B5EF4-FFF2-40B4-BE49-F238E27FC236}">
                  <a16:creationId xmlns:a16="http://schemas.microsoft.com/office/drawing/2014/main" id="{8A04BEFA-98C5-400A-981A-4FC82123BA62}"/>
                </a:ext>
              </a:extLst>
            </p:cNvPr>
            <p:cNvSpPr>
              <a:spLocks noChangeArrowheads="1"/>
            </p:cNvSpPr>
            <p:nvPr/>
          </p:nvSpPr>
          <p:spPr bwMode="auto">
            <a:xfrm>
              <a:off x="6595205" y="4955355"/>
              <a:ext cx="11415" cy="11329"/>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0"/>
                    <a:pt x="0" y="0"/>
                    <a:pt x="0" y="29"/>
                  </a:cubicBezTo>
                  <a:cubicBezTo>
                    <a:pt x="0"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2" name="Freeform 450">
              <a:extLst>
                <a:ext uri="{FF2B5EF4-FFF2-40B4-BE49-F238E27FC236}">
                  <a16:creationId xmlns:a16="http://schemas.microsoft.com/office/drawing/2014/main" id="{9F198748-4436-499C-B4F7-2751D01F1CD6}"/>
                </a:ext>
              </a:extLst>
            </p:cNvPr>
            <p:cNvSpPr>
              <a:spLocks noChangeArrowheads="1"/>
            </p:cNvSpPr>
            <p:nvPr/>
          </p:nvSpPr>
          <p:spPr bwMode="auto">
            <a:xfrm>
              <a:off x="6529971" y="4987722"/>
              <a:ext cx="44032" cy="85771"/>
            </a:xfrm>
            <a:custGeom>
              <a:avLst/>
              <a:gdLst>
                <a:gd name="T0" fmla="*/ 58 w 117"/>
                <a:gd name="T1" fmla="*/ 30 h 235"/>
                <a:gd name="T2" fmla="*/ 58 w 117"/>
                <a:gd name="T3" fmla="*/ 30 h 235"/>
                <a:gd name="T4" fmla="*/ 0 w 117"/>
                <a:gd name="T5" fmla="*/ 234 h 235"/>
                <a:gd name="T6" fmla="*/ 58 w 117"/>
                <a:gd name="T7" fmla="*/ 30 h 235"/>
                <a:gd name="T8" fmla="*/ 87 w 117"/>
                <a:gd name="T9" fmla="*/ 30 h 235"/>
                <a:gd name="T10" fmla="*/ 116 w 117"/>
                <a:gd name="T11" fmla="*/ 0 h 235"/>
                <a:gd name="T12" fmla="*/ 87 w 117"/>
                <a:gd name="T13" fmla="*/ 30 h 235"/>
                <a:gd name="T14" fmla="*/ 58 w 117"/>
                <a:gd name="T15" fmla="*/ 3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235">
                  <a:moveTo>
                    <a:pt x="58" y="30"/>
                  </a:moveTo>
                  <a:lnTo>
                    <a:pt x="58" y="30"/>
                  </a:lnTo>
                  <a:cubicBezTo>
                    <a:pt x="58" y="117"/>
                    <a:pt x="29" y="176"/>
                    <a:pt x="0" y="234"/>
                  </a:cubicBezTo>
                  <a:cubicBezTo>
                    <a:pt x="29" y="176"/>
                    <a:pt x="58" y="117"/>
                    <a:pt x="58" y="30"/>
                  </a:cubicBezTo>
                  <a:lnTo>
                    <a:pt x="87" y="30"/>
                  </a:lnTo>
                  <a:cubicBezTo>
                    <a:pt x="87" y="30"/>
                    <a:pt x="116" y="30"/>
                    <a:pt x="116" y="0"/>
                  </a:cubicBezTo>
                  <a:cubicBezTo>
                    <a:pt x="116" y="30"/>
                    <a:pt x="87" y="30"/>
                    <a:pt x="87" y="30"/>
                  </a:cubicBezTo>
                  <a:lnTo>
                    <a:pt x="58"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3" name="Freeform 451">
              <a:extLst>
                <a:ext uri="{FF2B5EF4-FFF2-40B4-BE49-F238E27FC236}">
                  <a16:creationId xmlns:a16="http://schemas.microsoft.com/office/drawing/2014/main" id="{86F7A9E8-FD34-4CB5-9C1C-AF80A86FAD69}"/>
                </a:ext>
              </a:extLst>
            </p:cNvPr>
            <p:cNvSpPr>
              <a:spLocks noChangeArrowheads="1"/>
            </p:cNvSpPr>
            <p:nvPr/>
          </p:nvSpPr>
          <p:spPr bwMode="auto">
            <a:xfrm>
              <a:off x="6497354" y="5094531"/>
              <a:ext cx="22832" cy="21039"/>
            </a:xfrm>
            <a:custGeom>
              <a:avLst/>
              <a:gdLst>
                <a:gd name="T0" fmla="*/ 0 w 60"/>
                <a:gd name="T1" fmla="*/ 58 h 59"/>
                <a:gd name="T2" fmla="*/ 0 w 60"/>
                <a:gd name="T3" fmla="*/ 58 h 59"/>
                <a:gd name="T4" fmla="*/ 59 w 60"/>
                <a:gd name="T5" fmla="*/ 0 h 59"/>
                <a:gd name="T6" fmla="*/ 0 w 60"/>
                <a:gd name="T7" fmla="*/ 58 h 59"/>
              </a:gdLst>
              <a:ahLst/>
              <a:cxnLst>
                <a:cxn ang="0">
                  <a:pos x="T0" y="T1"/>
                </a:cxn>
                <a:cxn ang="0">
                  <a:pos x="T2" y="T3"/>
                </a:cxn>
                <a:cxn ang="0">
                  <a:pos x="T4" y="T5"/>
                </a:cxn>
                <a:cxn ang="0">
                  <a:pos x="T6" y="T7"/>
                </a:cxn>
              </a:cxnLst>
              <a:rect l="0" t="0" r="r" b="b"/>
              <a:pathLst>
                <a:path w="60" h="59">
                  <a:moveTo>
                    <a:pt x="0" y="58"/>
                  </a:moveTo>
                  <a:lnTo>
                    <a:pt x="0" y="58"/>
                  </a:lnTo>
                  <a:cubicBezTo>
                    <a:pt x="30" y="58"/>
                    <a:pt x="30" y="29"/>
                    <a:pt x="59" y="0"/>
                  </a:cubicBezTo>
                  <a:cubicBezTo>
                    <a:pt x="30" y="29"/>
                    <a:pt x="30"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4" name="Freeform 452">
              <a:extLst>
                <a:ext uri="{FF2B5EF4-FFF2-40B4-BE49-F238E27FC236}">
                  <a16:creationId xmlns:a16="http://schemas.microsoft.com/office/drawing/2014/main" id="{81A193A1-C1C0-499C-BFF1-DC0254D53B2F}"/>
                </a:ext>
              </a:extLst>
            </p:cNvPr>
            <p:cNvSpPr>
              <a:spLocks noChangeArrowheads="1"/>
            </p:cNvSpPr>
            <p:nvPr/>
          </p:nvSpPr>
          <p:spPr bwMode="auto">
            <a:xfrm>
              <a:off x="6164662" y="4730409"/>
              <a:ext cx="11415" cy="1618"/>
            </a:xfrm>
            <a:custGeom>
              <a:avLst/>
              <a:gdLst>
                <a:gd name="T0" fmla="*/ 0 w 29"/>
                <a:gd name="T1" fmla="*/ 0 h 1"/>
                <a:gd name="T2" fmla="*/ 0 w 29"/>
                <a:gd name="T3" fmla="*/ 0 h 1"/>
                <a:gd name="T4" fmla="*/ 0 w 29"/>
                <a:gd name="T5" fmla="*/ 0 h 1"/>
                <a:gd name="T6" fmla="*/ 28 w 29"/>
                <a:gd name="T7" fmla="*/ 0 h 1"/>
                <a:gd name="T8" fmla="*/ 28 w 29"/>
                <a:gd name="T9" fmla="*/ 0 h 1"/>
                <a:gd name="T10" fmla="*/ 0 w 29"/>
                <a:gd name="T11" fmla="*/ 0 h 1"/>
              </a:gdLst>
              <a:ahLst/>
              <a:cxnLst>
                <a:cxn ang="0">
                  <a:pos x="T0" y="T1"/>
                </a:cxn>
                <a:cxn ang="0">
                  <a:pos x="T2" y="T3"/>
                </a:cxn>
                <a:cxn ang="0">
                  <a:pos x="T4" y="T5"/>
                </a:cxn>
                <a:cxn ang="0">
                  <a:pos x="T6" y="T7"/>
                </a:cxn>
                <a:cxn ang="0">
                  <a:pos x="T8" y="T9"/>
                </a:cxn>
                <a:cxn ang="0">
                  <a:pos x="T10" y="T11"/>
                </a:cxn>
              </a:cxnLst>
              <a:rect l="0" t="0" r="r" b="b"/>
              <a:pathLst>
                <a:path w="29" h="1">
                  <a:moveTo>
                    <a:pt x="0" y="0"/>
                  </a:moveTo>
                  <a:lnTo>
                    <a:pt x="0" y="0"/>
                  </a:lnTo>
                  <a:lnTo>
                    <a:pt x="0" y="0"/>
                  </a:lnTo>
                  <a:cubicBezTo>
                    <a:pt x="28" y="0"/>
                    <a:pt x="28" y="0"/>
                    <a:pt x="28" y="0"/>
                  </a:cubicBezTo>
                  <a:lnTo>
                    <a:pt x="28"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5" name="Freeform 453">
              <a:extLst>
                <a:ext uri="{FF2B5EF4-FFF2-40B4-BE49-F238E27FC236}">
                  <a16:creationId xmlns:a16="http://schemas.microsoft.com/office/drawing/2014/main" id="{24313F6F-87AB-4230-A5A7-2CBF54779ED1}"/>
                </a:ext>
              </a:extLst>
            </p:cNvPr>
            <p:cNvSpPr>
              <a:spLocks noChangeArrowheads="1"/>
            </p:cNvSpPr>
            <p:nvPr/>
          </p:nvSpPr>
          <p:spPr bwMode="auto">
            <a:xfrm>
              <a:off x="4060871" y="3660699"/>
              <a:ext cx="11415" cy="11329"/>
            </a:xfrm>
            <a:custGeom>
              <a:avLst/>
              <a:gdLst>
                <a:gd name="T0" fmla="*/ 0 w 30"/>
                <a:gd name="T1" fmla="*/ 0 h 31"/>
                <a:gd name="T2" fmla="*/ 0 w 30"/>
                <a:gd name="T3" fmla="*/ 0 h 31"/>
                <a:gd name="T4" fmla="*/ 29 w 30"/>
                <a:gd name="T5" fmla="*/ 30 h 31"/>
                <a:gd name="T6" fmla="*/ 0 w 30"/>
                <a:gd name="T7" fmla="*/ 0 h 31"/>
              </a:gdLst>
              <a:ahLst/>
              <a:cxnLst>
                <a:cxn ang="0">
                  <a:pos x="T0" y="T1"/>
                </a:cxn>
                <a:cxn ang="0">
                  <a:pos x="T2" y="T3"/>
                </a:cxn>
                <a:cxn ang="0">
                  <a:pos x="T4" y="T5"/>
                </a:cxn>
                <a:cxn ang="0">
                  <a:pos x="T6" y="T7"/>
                </a:cxn>
              </a:cxnLst>
              <a:rect l="0" t="0" r="r" b="b"/>
              <a:pathLst>
                <a:path w="30" h="31">
                  <a:moveTo>
                    <a:pt x="0" y="0"/>
                  </a:moveTo>
                  <a:lnTo>
                    <a:pt x="0" y="0"/>
                  </a:lnTo>
                  <a:cubicBezTo>
                    <a:pt x="0" y="0"/>
                    <a:pt x="0" y="30"/>
                    <a:pt x="29" y="30"/>
                  </a:cubicBezTo>
                  <a:cubicBezTo>
                    <a:pt x="0" y="3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6" name="Freeform 454">
              <a:extLst>
                <a:ext uri="{FF2B5EF4-FFF2-40B4-BE49-F238E27FC236}">
                  <a16:creationId xmlns:a16="http://schemas.microsoft.com/office/drawing/2014/main" id="{49157CE5-B13A-4B97-BF7F-53F9CD67E1FB}"/>
                </a:ext>
              </a:extLst>
            </p:cNvPr>
            <p:cNvSpPr>
              <a:spLocks noChangeArrowheads="1"/>
            </p:cNvSpPr>
            <p:nvPr/>
          </p:nvSpPr>
          <p:spPr bwMode="auto">
            <a:xfrm>
              <a:off x="4135890" y="373514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7" name="Freeform 455">
              <a:extLst>
                <a:ext uri="{FF2B5EF4-FFF2-40B4-BE49-F238E27FC236}">
                  <a16:creationId xmlns:a16="http://schemas.microsoft.com/office/drawing/2014/main" id="{D92564CB-8CF5-4E1D-8084-D0A54BB29321}"/>
                </a:ext>
              </a:extLst>
            </p:cNvPr>
            <p:cNvSpPr>
              <a:spLocks noChangeArrowheads="1"/>
            </p:cNvSpPr>
            <p:nvPr/>
          </p:nvSpPr>
          <p:spPr bwMode="auto">
            <a:xfrm>
              <a:off x="4038039" y="3649372"/>
              <a:ext cx="11415" cy="11328"/>
            </a:xfrm>
            <a:custGeom>
              <a:avLst/>
              <a:gdLst>
                <a:gd name="T0" fmla="*/ 0 w 31"/>
                <a:gd name="T1" fmla="*/ 0 h 30"/>
                <a:gd name="T2" fmla="*/ 0 w 31"/>
                <a:gd name="T3" fmla="*/ 0 h 30"/>
                <a:gd name="T4" fmla="*/ 0 w 31"/>
                <a:gd name="T5" fmla="*/ 0 h 30"/>
                <a:gd name="T6" fmla="*/ 0 w 31"/>
                <a:gd name="T7" fmla="*/ 0 h 30"/>
                <a:gd name="T8" fmla="*/ 30 w 31"/>
                <a:gd name="T9" fmla="*/ 29 h 30"/>
                <a:gd name="T10" fmla="*/ 0 w 31"/>
                <a:gd name="T11" fmla="*/ 0 h 30"/>
              </a:gdLst>
              <a:ahLst/>
              <a:cxnLst>
                <a:cxn ang="0">
                  <a:pos x="T0" y="T1"/>
                </a:cxn>
                <a:cxn ang="0">
                  <a:pos x="T2" y="T3"/>
                </a:cxn>
                <a:cxn ang="0">
                  <a:pos x="T4" y="T5"/>
                </a:cxn>
                <a:cxn ang="0">
                  <a:pos x="T6" y="T7"/>
                </a:cxn>
                <a:cxn ang="0">
                  <a:pos x="T8" y="T9"/>
                </a:cxn>
                <a:cxn ang="0">
                  <a:pos x="T10" y="T11"/>
                </a:cxn>
              </a:cxnLst>
              <a:rect l="0" t="0" r="r" b="b"/>
              <a:pathLst>
                <a:path w="31" h="30">
                  <a:moveTo>
                    <a:pt x="0" y="0"/>
                  </a:moveTo>
                  <a:lnTo>
                    <a:pt x="0" y="0"/>
                  </a:lnTo>
                  <a:lnTo>
                    <a:pt x="0" y="0"/>
                  </a:lnTo>
                  <a:lnTo>
                    <a:pt x="0" y="0"/>
                  </a:lnTo>
                  <a:cubicBezTo>
                    <a:pt x="30" y="0"/>
                    <a:pt x="30" y="0"/>
                    <a:pt x="30" y="29"/>
                  </a:cubicBez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8" name="Freeform 456">
              <a:extLst>
                <a:ext uri="{FF2B5EF4-FFF2-40B4-BE49-F238E27FC236}">
                  <a16:creationId xmlns:a16="http://schemas.microsoft.com/office/drawing/2014/main" id="{7D41447C-547F-4EAE-82B0-7EE9D67E8670}"/>
                </a:ext>
              </a:extLst>
            </p:cNvPr>
            <p:cNvSpPr>
              <a:spLocks noChangeArrowheads="1"/>
            </p:cNvSpPr>
            <p:nvPr/>
          </p:nvSpPr>
          <p:spPr bwMode="auto">
            <a:xfrm>
              <a:off x="4201124" y="3841951"/>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79" name="Freeform 457">
              <a:extLst>
                <a:ext uri="{FF2B5EF4-FFF2-40B4-BE49-F238E27FC236}">
                  <a16:creationId xmlns:a16="http://schemas.microsoft.com/office/drawing/2014/main" id="{55BC4DFE-6872-4F04-9E0B-2C214C3F2FBE}"/>
                </a:ext>
              </a:extLst>
            </p:cNvPr>
            <p:cNvSpPr>
              <a:spLocks noChangeArrowheads="1"/>
            </p:cNvSpPr>
            <p:nvPr/>
          </p:nvSpPr>
          <p:spPr bwMode="auto">
            <a:xfrm>
              <a:off x="6109213" y="465596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0" name="Freeform 458">
              <a:extLst>
                <a:ext uri="{FF2B5EF4-FFF2-40B4-BE49-F238E27FC236}">
                  <a16:creationId xmlns:a16="http://schemas.microsoft.com/office/drawing/2014/main" id="{4D07C1D6-6D4B-49FF-B6B3-E0AED3F6E440}"/>
                </a:ext>
              </a:extLst>
            </p:cNvPr>
            <p:cNvSpPr>
              <a:spLocks noChangeArrowheads="1"/>
            </p:cNvSpPr>
            <p:nvPr/>
          </p:nvSpPr>
          <p:spPr bwMode="auto">
            <a:xfrm>
              <a:off x="3909202" y="3607295"/>
              <a:ext cx="44033" cy="11328"/>
            </a:xfrm>
            <a:custGeom>
              <a:avLst/>
              <a:gdLst>
                <a:gd name="T0" fmla="*/ 88 w 118"/>
                <a:gd name="T1" fmla="*/ 29 h 30"/>
                <a:gd name="T2" fmla="*/ 88 w 118"/>
                <a:gd name="T3" fmla="*/ 29 h 30"/>
                <a:gd name="T4" fmla="*/ 30 w 118"/>
                <a:gd name="T5" fmla="*/ 0 h 30"/>
                <a:gd name="T6" fmla="*/ 0 w 118"/>
                <a:gd name="T7" fmla="*/ 0 h 30"/>
                <a:gd name="T8" fmla="*/ 30 w 118"/>
                <a:gd name="T9" fmla="*/ 0 h 30"/>
                <a:gd name="T10" fmla="*/ 88 w 118"/>
                <a:gd name="T11" fmla="*/ 29 h 30"/>
                <a:gd name="T12" fmla="*/ 117 w 118"/>
                <a:gd name="T13" fmla="*/ 29 h 30"/>
                <a:gd name="T14" fmla="*/ 88 w 118"/>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30">
                  <a:moveTo>
                    <a:pt x="88" y="29"/>
                  </a:moveTo>
                  <a:lnTo>
                    <a:pt x="88" y="29"/>
                  </a:lnTo>
                  <a:cubicBezTo>
                    <a:pt x="59" y="29"/>
                    <a:pt x="30" y="29"/>
                    <a:pt x="30" y="0"/>
                  </a:cubicBezTo>
                  <a:lnTo>
                    <a:pt x="0" y="0"/>
                  </a:lnTo>
                  <a:lnTo>
                    <a:pt x="30" y="0"/>
                  </a:lnTo>
                  <a:cubicBezTo>
                    <a:pt x="30" y="29"/>
                    <a:pt x="59" y="29"/>
                    <a:pt x="88" y="29"/>
                  </a:cubicBezTo>
                  <a:cubicBezTo>
                    <a:pt x="88" y="29"/>
                    <a:pt x="88" y="29"/>
                    <a:pt x="117" y="29"/>
                  </a:cubicBezTo>
                  <a:cubicBezTo>
                    <a:pt x="88" y="29"/>
                    <a:pt x="88" y="29"/>
                    <a:pt x="8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1" name="Freeform 459">
              <a:extLst>
                <a:ext uri="{FF2B5EF4-FFF2-40B4-BE49-F238E27FC236}">
                  <a16:creationId xmlns:a16="http://schemas.microsoft.com/office/drawing/2014/main" id="{AF5F3777-0B55-4316-8760-D28748764D9E}"/>
                </a:ext>
              </a:extLst>
            </p:cNvPr>
            <p:cNvSpPr>
              <a:spLocks noChangeArrowheads="1"/>
            </p:cNvSpPr>
            <p:nvPr/>
          </p:nvSpPr>
          <p:spPr bwMode="auto">
            <a:xfrm>
              <a:off x="4018469" y="3649372"/>
              <a:ext cx="11415" cy="1618"/>
            </a:xfrm>
            <a:custGeom>
              <a:avLst/>
              <a:gdLst>
                <a:gd name="T0" fmla="*/ 0 w 29"/>
                <a:gd name="T1" fmla="*/ 0 h 1"/>
                <a:gd name="T2" fmla="*/ 0 w 29"/>
                <a:gd name="T3" fmla="*/ 0 h 1"/>
                <a:gd name="T4" fmla="*/ 28 w 29"/>
                <a:gd name="T5" fmla="*/ 0 h 1"/>
                <a:gd name="T6" fmla="*/ 0 w 29"/>
                <a:gd name="T7" fmla="*/ 0 h 1"/>
              </a:gdLst>
              <a:ahLst/>
              <a:cxnLst>
                <a:cxn ang="0">
                  <a:pos x="T0" y="T1"/>
                </a:cxn>
                <a:cxn ang="0">
                  <a:pos x="T2" y="T3"/>
                </a:cxn>
                <a:cxn ang="0">
                  <a:pos x="T4" y="T5"/>
                </a:cxn>
                <a:cxn ang="0">
                  <a:pos x="T6" y="T7"/>
                </a:cxn>
              </a:cxnLst>
              <a:rect l="0" t="0" r="r" b="b"/>
              <a:pathLst>
                <a:path w="29" h="1">
                  <a:moveTo>
                    <a:pt x="0" y="0"/>
                  </a:moveTo>
                  <a:lnTo>
                    <a:pt x="0" y="0"/>
                  </a:lnTo>
                  <a:lnTo>
                    <a:pt x="28"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2" name="Freeform 460">
              <a:extLst>
                <a:ext uri="{FF2B5EF4-FFF2-40B4-BE49-F238E27FC236}">
                  <a16:creationId xmlns:a16="http://schemas.microsoft.com/office/drawing/2014/main" id="{E81AB3AA-E7F7-4354-891B-F3342BE3812A}"/>
                </a:ext>
              </a:extLst>
            </p:cNvPr>
            <p:cNvSpPr>
              <a:spLocks noChangeArrowheads="1"/>
            </p:cNvSpPr>
            <p:nvPr/>
          </p:nvSpPr>
          <p:spPr bwMode="auto">
            <a:xfrm>
              <a:off x="5861324" y="4505462"/>
              <a:ext cx="151668" cy="22656"/>
            </a:xfrm>
            <a:custGeom>
              <a:avLst/>
              <a:gdLst>
                <a:gd name="T0" fmla="*/ 0 w 409"/>
                <a:gd name="T1" fmla="*/ 0 h 60"/>
                <a:gd name="T2" fmla="*/ 0 w 409"/>
                <a:gd name="T3" fmla="*/ 0 h 60"/>
                <a:gd name="T4" fmla="*/ 408 w 409"/>
                <a:gd name="T5" fmla="*/ 59 h 60"/>
                <a:gd name="T6" fmla="*/ 408 w 409"/>
                <a:gd name="T7" fmla="*/ 59 h 60"/>
                <a:gd name="T8" fmla="*/ 408 w 409"/>
                <a:gd name="T9" fmla="*/ 59 h 60"/>
                <a:gd name="T10" fmla="*/ 0 w 409"/>
                <a:gd name="T11" fmla="*/ 0 h 60"/>
              </a:gdLst>
              <a:ahLst/>
              <a:cxnLst>
                <a:cxn ang="0">
                  <a:pos x="T0" y="T1"/>
                </a:cxn>
                <a:cxn ang="0">
                  <a:pos x="T2" y="T3"/>
                </a:cxn>
                <a:cxn ang="0">
                  <a:pos x="T4" y="T5"/>
                </a:cxn>
                <a:cxn ang="0">
                  <a:pos x="T6" y="T7"/>
                </a:cxn>
                <a:cxn ang="0">
                  <a:pos x="T8" y="T9"/>
                </a:cxn>
                <a:cxn ang="0">
                  <a:pos x="T10" y="T11"/>
                </a:cxn>
              </a:cxnLst>
              <a:rect l="0" t="0" r="r" b="b"/>
              <a:pathLst>
                <a:path w="409" h="60">
                  <a:moveTo>
                    <a:pt x="0" y="0"/>
                  </a:moveTo>
                  <a:lnTo>
                    <a:pt x="0" y="0"/>
                  </a:lnTo>
                  <a:cubicBezTo>
                    <a:pt x="145" y="29"/>
                    <a:pt x="262" y="59"/>
                    <a:pt x="408" y="59"/>
                  </a:cubicBezTo>
                  <a:lnTo>
                    <a:pt x="408" y="59"/>
                  </a:lnTo>
                  <a:lnTo>
                    <a:pt x="408" y="59"/>
                  </a:lnTo>
                  <a:cubicBezTo>
                    <a:pt x="262" y="59"/>
                    <a:pt x="145"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3" name="Freeform 461">
              <a:extLst>
                <a:ext uri="{FF2B5EF4-FFF2-40B4-BE49-F238E27FC236}">
                  <a16:creationId xmlns:a16="http://schemas.microsoft.com/office/drawing/2014/main" id="{B9043208-FE1C-4ECC-B448-5C9EFE6C2021}"/>
                </a:ext>
              </a:extLst>
            </p:cNvPr>
            <p:cNvSpPr>
              <a:spLocks noChangeArrowheads="1"/>
            </p:cNvSpPr>
            <p:nvPr/>
          </p:nvSpPr>
          <p:spPr bwMode="auto">
            <a:xfrm>
              <a:off x="6012992" y="4560485"/>
              <a:ext cx="86435" cy="85771"/>
            </a:xfrm>
            <a:custGeom>
              <a:avLst/>
              <a:gdLst>
                <a:gd name="T0" fmla="*/ 233 w 234"/>
                <a:gd name="T1" fmla="*/ 204 h 234"/>
                <a:gd name="T2" fmla="*/ 233 w 234"/>
                <a:gd name="T3" fmla="*/ 204 h 234"/>
                <a:gd name="T4" fmla="*/ 145 w 234"/>
                <a:gd name="T5" fmla="*/ 146 h 234"/>
                <a:gd name="T6" fmla="*/ 0 w 234"/>
                <a:gd name="T7" fmla="*/ 0 h 234"/>
                <a:gd name="T8" fmla="*/ 145 w 234"/>
                <a:gd name="T9" fmla="*/ 146 h 234"/>
                <a:gd name="T10" fmla="*/ 233 w 234"/>
                <a:gd name="T11" fmla="*/ 204 h 234"/>
                <a:gd name="T12" fmla="*/ 233 w 234"/>
                <a:gd name="T13" fmla="*/ 233 h 234"/>
                <a:gd name="T14" fmla="*/ 233 w 234"/>
                <a:gd name="T15" fmla="*/ 204 h 2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34">
                  <a:moveTo>
                    <a:pt x="233" y="204"/>
                  </a:moveTo>
                  <a:lnTo>
                    <a:pt x="233" y="204"/>
                  </a:lnTo>
                  <a:cubicBezTo>
                    <a:pt x="204" y="204"/>
                    <a:pt x="175" y="175"/>
                    <a:pt x="145" y="146"/>
                  </a:cubicBezTo>
                  <a:cubicBezTo>
                    <a:pt x="87" y="87"/>
                    <a:pt x="29" y="58"/>
                    <a:pt x="0" y="0"/>
                  </a:cubicBezTo>
                  <a:cubicBezTo>
                    <a:pt x="29" y="58"/>
                    <a:pt x="87" y="87"/>
                    <a:pt x="145" y="146"/>
                  </a:cubicBezTo>
                  <a:cubicBezTo>
                    <a:pt x="175" y="175"/>
                    <a:pt x="204" y="204"/>
                    <a:pt x="233" y="204"/>
                  </a:cubicBezTo>
                  <a:cubicBezTo>
                    <a:pt x="233" y="233"/>
                    <a:pt x="233" y="233"/>
                    <a:pt x="233" y="233"/>
                  </a:cubicBezTo>
                  <a:cubicBezTo>
                    <a:pt x="233" y="233"/>
                    <a:pt x="233" y="233"/>
                    <a:pt x="233"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4" name="Freeform 462">
              <a:extLst>
                <a:ext uri="{FF2B5EF4-FFF2-40B4-BE49-F238E27FC236}">
                  <a16:creationId xmlns:a16="http://schemas.microsoft.com/office/drawing/2014/main" id="{98B5AE4E-FC6F-4539-9C5A-0719CA03021C}"/>
                </a:ext>
              </a:extLst>
            </p:cNvPr>
            <p:cNvSpPr>
              <a:spLocks noChangeArrowheads="1"/>
            </p:cNvSpPr>
            <p:nvPr/>
          </p:nvSpPr>
          <p:spPr bwMode="auto">
            <a:xfrm>
              <a:off x="5215510" y="4463386"/>
              <a:ext cx="21200" cy="11329"/>
            </a:xfrm>
            <a:custGeom>
              <a:avLst/>
              <a:gdLst>
                <a:gd name="T0" fmla="*/ 0 w 59"/>
                <a:gd name="T1" fmla="*/ 0 h 30"/>
                <a:gd name="T2" fmla="*/ 0 w 59"/>
                <a:gd name="T3" fmla="*/ 0 h 30"/>
                <a:gd name="T4" fmla="*/ 58 w 59"/>
                <a:gd name="T5" fmla="*/ 29 h 30"/>
                <a:gd name="T6" fmla="*/ 0 w 59"/>
                <a:gd name="T7" fmla="*/ 0 h 30"/>
              </a:gdLst>
              <a:ahLst/>
              <a:cxnLst>
                <a:cxn ang="0">
                  <a:pos x="T0" y="T1"/>
                </a:cxn>
                <a:cxn ang="0">
                  <a:pos x="T2" y="T3"/>
                </a:cxn>
                <a:cxn ang="0">
                  <a:pos x="T4" y="T5"/>
                </a:cxn>
                <a:cxn ang="0">
                  <a:pos x="T6" y="T7"/>
                </a:cxn>
              </a:cxnLst>
              <a:rect l="0" t="0" r="r" b="b"/>
              <a:pathLst>
                <a:path w="59" h="30">
                  <a:moveTo>
                    <a:pt x="0" y="0"/>
                  </a:moveTo>
                  <a:lnTo>
                    <a:pt x="0" y="0"/>
                  </a:lnTo>
                  <a:cubicBezTo>
                    <a:pt x="0" y="0"/>
                    <a:pt x="29" y="0"/>
                    <a:pt x="58" y="29"/>
                  </a:cubicBezTo>
                  <a:cubicBezTo>
                    <a:pt x="29"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5" name="Freeform 463">
              <a:extLst>
                <a:ext uri="{FF2B5EF4-FFF2-40B4-BE49-F238E27FC236}">
                  <a16:creationId xmlns:a16="http://schemas.microsoft.com/office/drawing/2014/main" id="{C0A6D708-17A5-4A85-A03F-0A8B59F5F98C}"/>
                </a:ext>
              </a:extLst>
            </p:cNvPr>
            <p:cNvSpPr>
              <a:spLocks noChangeArrowheads="1"/>
            </p:cNvSpPr>
            <p:nvPr/>
          </p:nvSpPr>
          <p:spPr bwMode="auto">
            <a:xfrm>
              <a:off x="4243526" y="3841951"/>
              <a:ext cx="22832" cy="11329"/>
            </a:xfrm>
            <a:custGeom>
              <a:avLst/>
              <a:gdLst>
                <a:gd name="T0" fmla="*/ 59 w 60"/>
                <a:gd name="T1" fmla="*/ 29 h 30"/>
                <a:gd name="T2" fmla="*/ 59 w 60"/>
                <a:gd name="T3" fmla="*/ 29 h 30"/>
                <a:gd name="T4" fmla="*/ 29 w 60"/>
                <a:gd name="T5" fmla="*/ 0 h 30"/>
                <a:gd name="T6" fmla="*/ 0 w 60"/>
                <a:gd name="T7" fmla="*/ 0 h 30"/>
                <a:gd name="T8" fmla="*/ 29 w 60"/>
                <a:gd name="T9" fmla="*/ 0 h 30"/>
                <a:gd name="T10" fmla="*/ 59 w 60"/>
                <a:gd name="T11" fmla="*/ 29 h 30"/>
              </a:gdLst>
              <a:ahLst/>
              <a:cxnLst>
                <a:cxn ang="0">
                  <a:pos x="T0" y="T1"/>
                </a:cxn>
                <a:cxn ang="0">
                  <a:pos x="T2" y="T3"/>
                </a:cxn>
                <a:cxn ang="0">
                  <a:pos x="T4" y="T5"/>
                </a:cxn>
                <a:cxn ang="0">
                  <a:pos x="T6" y="T7"/>
                </a:cxn>
                <a:cxn ang="0">
                  <a:pos x="T8" y="T9"/>
                </a:cxn>
                <a:cxn ang="0">
                  <a:pos x="T10" y="T11"/>
                </a:cxn>
              </a:cxnLst>
              <a:rect l="0" t="0" r="r" b="b"/>
              <a:pathLst>
                <a:path w="60" h="30">
                  <a:moveTo>
                    <a:pt x="59" y="29"/>
                  </a:moveTo>
                  <a:lnTo>
                    <a:pt x="59" y="29"/>
                  </a:lnTo>
                  <a:lnTo>
                    <a:pt x="29" y="0"/>
                  </a:lnTo>
                  <a:lnTo>
                    <a:pt x="0" y="0"/>
                  </a:lnTo>
                  <a:lnTo>
                    <a:pt x="29" y="0"/>
                  </a:lnTo>
                  <a:lnTo>
                    <a:pt x="5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6" name="Freeform 464">
              <a:extLst>
                <a:ext uri="{FF2B5EF4-FFF2-40B4-BE49-F238E27FC236}">
                  <a16:creationId xmlns:a16="http://schemas.microsoft.com/office/drawing/2014/main" id="{72DCF6EA-76B5-42ED-83E2-EF84177611B8}"/>
                </a:ext>
              </a:extLst>
            </p:cNvPr>
            <p:cNvSpPr>
              <a:spLocks noChangeArrowheads="1"/>
            </p:cNvSpPr>
            <p:nvPr/>
          </p:nvSpPr>
          <p:spPr bwMode="auto">
            <a:xfrm>
              <a:off x="3878216" y="3372638"/>
              <a:ext cx="11415" cy="11329"/>
            </a:xfrm>
            <a:custGeom>
              <a:avLst/>
              <a:gdLst>
                <a:gd name="T0" fmla="*/ 0 w 30"/>
                <a:gd name="T1" fmla="*/ 29 h 30"/>
                <a:gd name="T2" fmla="*/ 0 w 30"/>
                <a:gd name="T3" fmla="*/ 29 h 30"/>
                <a:gd name="T4" fmla="*/ 0 w 30"/>
                <a:gd name="T5" fmla="*/ 0 h 30"/>
                <a:gd name="T6" fmla="*/ 0 w 30"/>
                <a:gd name="T7" fmla="*/ 0 h 30"/>
                <a:gd name="T8" fmla="*/ 0 w 30"/>
                <a:gd name="T9" fmla="*/ 29 h 30"/>
                <a:gd name="T10" fmla="*/ 29 w 30"/>
                <a:gd name="T11" fmla="*/ 29 h 30"/>
                <a:gd name="T12" fmla="*/ 0 w 30"/>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0" y="29"/>
                  </a:moveTo>
                  <a:lnTo>
                    <a:pt x="0" y="29"/>
                  </a:lnTo>
                  <a:cubicBezTo>
                    <a:pt x="0" y="0"/>
                    <a:pt x="0" y="0"/>
                    <a:pt x="0" y="0"/>
                  </a:cubicBezTo>
                  <a:lnTo>
                    <a:pt x="0" y="0"/>
                  </a:lnTo>
                  <a:cubicBezTo>
                    <a:pt x="0" y="29"/>
                    <a:pt x="0" y="29"/>
                    <a:pt x="0" y="29"/>
                  </a:cubicBezTo>
                  <a:lnTo>
                    <a:pt x="29" y="29"/>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7" name="Freeform 465">
              <a:extLst>
                <a:ext uri="{FF2B5EF4-FFF2-40B4-BE49-F238E27FC236}">
                  <a16:creationId xmlns:a16="http://schemas.microsoft.com/office/drawing/2014/main" id="{1BBDAE40-8D26-4578-BBAF-994D98A34C71}"/>
                </a:ext>
              </a:extLst>
            </p:cNvPr>
            <p:cNvSpPr>
              <a:spLocks noChangeArrowheads="1"/>
            </p:cNvSpPr>
            <p:nvPr/>
          </p:nvSpPr>
          <p:spPr bwMode="auto">
            <a:xfrm>
              <a:off x="4341376" y="4066898"/>
              <a:ext cx="11415" cy="21038"/>
            </a:xfrm>
            <a:custGeom>
              <a:avLst/>
              <a:gdLst>
                <a:gd name="T0" fmla="*/ 30 w 31"/>
                <a:gd name="T1" fmla="*/ 0 h 59"/>
                <a:gd name="T2" fmla="*/ 30 w 31"/>
                <a:gd name="T3" fmla="*/ 0 h 59"/>
                <a:gd name="T4" fmla="*/ 0 w 31"/>
                <a:gd name="T5" fmla="*/ 29 h 59"/>
                <a:gd name="T6" fmla="*/ 0 w 31"/>
                <a:gd name="T7" fmla="*/ 58 h 59"/>
                <a:gd name="T8" fmla="*/ 0 w 31"/>
                <a:gd name="T9" fmla="*/ 29 h 59"/>
                <a:gd name="T10" fmla="*/ 30 w 31"/>
                <a:gd name="T11" fmla="*/ 0 h 59"/>
              </a:gdLst>
              <a:ahLst/>
              <a:cxnLst>
                <a:cxn ang="0">
                  <a:pos x="T0" y="T1"/>
                </a:cxn>
                <a:cxn ang="0">
                  <a:pos x="T2" y="T3"/>
                </a:cxn>
                <a:cxn ang="0">
                  <a:pos x="T4" y="T5"/>
                </a:cxn>
                <a:cxn ang="0">
                  <a:pos x="T6" y="T7"/>
                </a:cxn>
                <a:cxn ang="0">
                  <a:pos x="T8" y="T9"/>
                </a:cxn>
                <a:cxn ang="0">
                  <a:pos x="T10" y="T11"/>
                </a:cxn>
              </a:cxnLst>
              <a:rect l="0" t="0" r="r" b="b"/>
              <a:pathLst>
                <a:path w="31" h="59">
                  <a:moveTo>
                    <a:pt x="30" y="0"/>
                  </a:moveTo>
                  <a:lnTo>
                    <a:pt x="30" y="0"/>
                  </a:lnTo>
                  <a:cubicBezTo>
                    <a:pt x="30" y="29"/>
                    <a:pt x="30" y="29"/>
                    <a:pt x="0" y="29"/>
                  </a:cubicBezTo>
                  <a:cubicBezTo>
                    <a:pt x="0" y="58"/>
                    <a:pt x="0" y="58"/>
                    <a:pt x="0" y="58"/>
                  </a:cubicBezTo>
                  <a:cubicBezTo>
                    <a:pt x="0" y="29"/>
                    <a:pt x="0" y="29"/>
                    <a:pt x="0" y="29"/>
                  </a:cubicBezTo>
                  <a:cubicBezTo>
                    <a:pt x="30" y="29"/>
                    <a:pt x="30" y="29"/>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8" name="Freeform 466">
              <a:extLst>
                <a:ext uri="{FF2B5EF4-FFF2-40B4-BE49-F238E27FC236}">
                  <a16:creationId xmlns:a16="http://schemas.microsoft.com/office/drawing/2014/main" id="{16A9F783-92C8-41F4-AD61-30FEC2CAE5F3}"/>
                </a:ext>
              </a:extLst>
            </p:cNvPr>
            <p:cNvSpPr>
              <a:spLocks noChangeArrowheads="1"/>
            </p:cNvSpPr>
            <p:nvPr/>
          </p:nvSpPr>
          <p:spPr bwMode="auto">
            <a:xfrm>
              <a:off x="4502830" y="4110592"/>
              <a:ext cx="86435" cy="11329"/>
            </a:xfrm>
            <a:custGeom>
              <a:avLst/>
              <a:gdLst>
                <a:gd name="T0" fmla="*/ 87 w 234"/>
                <a:gd name="T1" fmla="*/ 0 h 30"/>
                <a:gd name="T2" fmla="*/ 87 w 234"/>
                <a:gd name="T3" fmla="*/ 0 h 30"/>
                <a:gd name="T4" fmla="*/ 0 w 234"/>
                <a:gd name="T5" fmla="*/ 0 h 30"/>
                <a:gd name="T6" fmla="*/ 87 w 234"/>
                <a:gd name="T7" fmla="*/ 0 h 30"/>
                <a:gd name="T8" fmla="*/ 233 w 234"/>
                <a:gd name="T9" fmla="*/ 29 h 30"/>
                <a:gd name="T10" fmla="*/ 87 w 234"/>
                <a:gd name="T11" fmla="*/ 0 h 30"/>
              </a:gdLst>
              <a:ahLst/>
              <a:cxnLst>
                <a:cxn ang="0">
                  <a:pos x="T0" y="T1"/>
                </a:cxn>
                <a:cxn ang="0">
                  <a:pos x="T2" y="T3"/>
                </a:cxn>
                <a:cxn ang="0">
                  <a:pos x="T4" y="T5"/>
                </a:cxn>
                <a:cxn ang="0">
                  <a:pos x="T6" y="T7"/>
                </a:cxn>
                <a:cxn ang="0">
                  <a:pos x="T8" y="T9"/>
                </a:cxn>
                <a:cxn ang="0">
                  <a:pos x="T10" y="T11"/>
                </a:cxn>
              </a:cxnLst>
              <a:rect l="0" t="0" r="r" b="b"/>
              <a:pathLst>
                <a:path w="234" h="30">
                  <a:moveTo>
                    <a:pt x="87" y="0"/>
                  </a:moveTo>
                  <a:lnTo>
                    <a:pt x="87" y="0"/>
                  </a:lnTo>
                  <a:cubicBezTo>
                    <a:pt x="58" y="0"/>
                    <a:pt x="29" y="0"/>
                    <a:pt x="0" y="0"/>
                  </a:cubicBezTo>
                  <a:cubicBezTo>
                    <a:pt x="29" y="0"/>
                    <a:pt x="58" y="0"/>
                    <a:pt x="87" y="0"/>
                  </a:cubicBezTo>
                  <a:cubicBezTo>
                    <a:pt x="145" y="0"/>
                    <a:pt x="175" y="29"/>
                    <a:pt x="233" y="29"/>
                  </a:cubicBezTo>
                  <a:cubicBezTo>
                    <a:pt x="175" y="29"/>
                    <a:pt x="116" y="0"/>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89" name="Freeform 467">
              <a:extLst>
                <a:ext uri="{FF2B5EF4-FFF2-40B4-BE49-F238E27FC236}">
                  <a16:creationId xmlns:a16="http://schemas.microsoft.com/office/drawing/2014/main" id="{6627A456-680E-441A-88A6-048411BBA678}"/>
                </a:ext>
              </a:extLst>
            </p:cNvPr>
            <p:cNvSpPr>
              <a:spLocks noChangeArrowheads="1"/>
            </p:cNvSpPr>
            <p:nvPr/>
          </p:nvSpPr>
          <p:spPr bwMode="auto">
            <a:xfrm>
              <a:off x="7436721" y="5725676"/>
              <a:ext cx="32617" cy="11329"/>
            </a:xfrm>
            <a:custGeom>
              <a:avLst/>
              <a:gdLst>
                <a:gd name="T0" fmla="*/ 88 w 89"/>
                <a:gd name="T1" fmla="*/ 0 h 30"/>
                <a:gd name="T2" fmla="*/ 88 w 89"/>
                <a:gd name="T3" fmla="*/ 0 h 30"/>
                <a:gd name="T4" fmla="*/ 59 w 89"/>
                <a:gd name="T5" fmla="*/ 0 h 30"/>
                <a:gd name="T6" fmla="*/ 0 w 89"/>
                <a:gd name="T7" fmla="*/ 29 h 30"/>
                <a:gd name="T8" fmla="*/ 0 w 89"/>
                <a:gd name="T9" fmla="*/ 29 h 30"/>
                <a:gd name="T10" fmla="*/ 59 w 89"/>
                <a:gd name="T11" fmla="*/ 0 h 30"/>
                <a:gd name="T12" fmla="*/ 88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88" y="0"/>
                  </a:moveTo>
                  <a:lnTo>
                    <a:pt x="88" y="0"/>
                  </a:lnTo>
                  <a:cubicBezTo>
                    <a:pt x="59" y="0"/>
                    <a:pt x="59" y="0"/>
                    <a:pt x="59" y="0"/>
                  </a:cubicBezTo>
                  <a:cubicBezTo>
                    <a:pt x="59" y="29"/>
                    <a:pt x="29" y="29"/>
                    <a:pt x="0" y="29"/>
                  </a:cubicBezTo>
                  <a:lnTo>
                    <a:pt x="0" y="29"/>
                  </a:lnTo>
                  <a:cubicBezTo>
                    <a:pt x="29" y="29"/>
                    <a:pt x="59" y="29"/>
                    <a:pt x="59" y="0"/>
                  </a:cubicBezTo>
                  <a:cubicBezTo>
                    <a:pt x="88" y="0"/>
                    <a:pt x="88"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0" name="Freeform 468">
              <a:extLst>
                <a:ext uri="{FF2B5EF4-FFF2-40B4-BE49-F238E27FC236}">
                  <a16:creationId xmlns:a16="http://schemas.microsoft.com/office/drawing/2014/main" id="{C196482E-27A4-40C9-96DD-0741401118E6}"/>
                </a:ext>
              </a:extLst>
            </p:cNvPr>
            <p:cNvSpPr>
              <a:spLocks noChangeArrowheads="1"/>
            </p:cNvSpPr>
            <p:nvPr/>
          </p:nvSpPr>
          <p:spPr bwMode="auto">
            <a:xfrm>
              <a:off x="7598174" y="526607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1" name="Freeform 469">
              <a:extLst>
                <a:ext uri="{FF2B5EF4-FFF2-40B4-BE49-F238E27FC236}">
                  <a16:creationId xmlns:a16="http://schemas.microsoft.com/office/drawing/2014/main" id="{5D9F0239-69DC-441A-8C3E-B976AC07BFEA}"/>
                </a:ext>
              </a:extLst>
            </p:cNvPr>
            <p:cNvSpPr>
              <a:spLocks noChangeArrowheads="1"/>
            </p:cNvSpPr>
            <p:nvPr/>
          </p:nvSpPr>
          <p:spPr bwMode="auto">
            <a:xfrm>
              <a:off x="7663408" y="5233706"/>
              <a:ext cx="11416" cy="1619"/>
            </a:xfrm>
            <a:custGeom>
              <a:avLst/>
              <a:gdLst>
                <a:gd name="T0" fmla="*/ 30 w 31"/>
                <a:gd name="T1" fmla="*/ 0 h 1"/>
                <a:gd name="T2" fmla="*/ 30 w 31"/>
                <a:gd name="T3" fmla="*/ 0 h 1"/>
                <a:gd name="T4" fmla="*/ 0 w 31"/>
                <a:gd name="T5" fmla="*/ 0 h 1"/>
                <a:gd name="T6" fmla="*/ 0 w 31"/>
                <a:gd name="T7" fmla="*/ 0 h 1"/>
                <a:gd name="T8" fmla="*/ 0 w 31"/>
                <a:gd name="T9" fmla="*/ 0 h 1"/>
                <a:gd name="T10" fmla="*/ 0 w 31"/>
                <a:gd name="T11" fmla="*/ 0 h 1"/>
                <a:gd name="T12" fmla="*/ 30 w 3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1" h="1">
                  <a:moveTo>
                    <a:pt x="30" y="0"/>
                  </a:moveTo>
                  <a:lnTo>
                    <a:pt x="30" y="0"/>
                  </a:lnTo>
                  <a:cubicBezTo>
                    <a:pt x="30" y="0"/>
                    <a:pt x="30" y="0"/>
                    <a:pt x="0" y="0"/>
                  </a:cubicBezTo>
                  <a:lnTo>
                    <a:pt x="0" y="0"/>
                  </a:lnTo>
                  <a:lnTo>
                    <a:pt x="0" y="0"/>
                  </a:lnTo>
                  <a:lnTo>
                    <a:pt x="0" y="0"/>
                  </a:ln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2" name="Freeform 470">
              <a:extLst>
                <a:ext uri="{FF2B5EF4-FFF2-40B4-BE49-F238E27FC236}">
                  <a16:creationId xmlns:a16="http://schemas.microsoft.com/office/drawing/2014/main" id="{AE0F4BC3-68AE-475B-8D06-578C3484FA90}"/>
                </a:ext>
              </a:extLst>
            </p:cNvPr>
            <p:cNvSpPr>
              <a:spLocks noChangeArrowheads="1"/>
            </p:cNvSpPr>
            <p:nvPr/>
          </p:nvSpPr>
          <p:spPr bwMode="auto">
            <a:xfrm>
              <a:off x="7598174" y="5233706"/>
              <a:ext cx="65234" cy="43695"/>
            </a:xfrm>
            <a:custGeom>
              <a:avLst/>
              <a:gdLst>
                <a:gd name="T0" fmla="*/ 175 w 176"/>
                <a:gd name="T1" fmla="*/ 29 h 118"/>
                <a:gd name="T2" fmla="*/ 175 w 176"/>
                <a:gd name="T3" fmla="*/ 29 h 118"/>
                <a:gd name="T4" fmla="*/ 117 w 176"/>
                <a:gd name="T5" fmla="*/ 59 h 118"/>
                <a:gd name="T6" fmla="*/ 29 w 176"/>
                <a:gd name="T7" fmla="*/ 88 h 118"/>
                <a:gd name="T8" fmla="*/ 0 w 176"/>
                <a:gd name="T9" fmla="*/ 117 h 118"/>
                <a:gd name="T10" fmla="*/ 0 w 176"/>
                <a:gd name="T11" fmla="*/ 117 h 118"/>
                <a:gd name="T12" fmla="*/ 29 w 176"/>
                <a:gd name="T13" fmla="*/ 88 h 118"/>
                <a:gd name="T14" fmla="*/ 117 w 176"/>
                <a:gd name="T15" fmla="*/ 59 h 118"/>
                <a:gd name="T16" fmla="*/ 175 w 176"/>
                <a:gd name="T17" fmla="*/ 29 h 118"/>
                <a:gd name="T18" fmla="*/ 175 w 176"/>
                <a:gd name="T19" fmla="*/ 29 h 118"/>
                <a:gd name="T20" fmla="*/ 175 w 176"/>
                <a:gd name="T21" fmla="*/ 0 h 118"/>
                <a:gd name="T22" fmla="*/ 175 w 176"/>
                <a:gd name="T23" fmla="*/ 2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118">
                  <a:moveTo>
                    <a:pt x="175" y="29"/>
                  </a:moveTo>
                  <a:lnTo>
                    <a:pt x="175" y="29"/>
                  </a:lnTo>
                  <a:cubicBezTo>
                    <a:pt x="146" y="29"/>
                    <a:pt x="146" y="29"/>
                    <a:pt x="117" y="59"/>
                  </a:cubicBezTo>
                  <a:cubicBezTo>
                    <a:pt x="88" y="59"/>
                    <a:pt x="58" y="88"/>
                    <a:pt x="29" y="88"/>
                  </a:cubicBezTo>
                  <a:cubicBezTo>
                    <a:pt x="0" y="117"/>
                    <a:pt x="0" y="117"/>
                    <a:pt x="0" y="117"/>
                  </a:cubicBezTo>
                  <a:lnTo>
                    <a:pt x="0" y="117"/>
                  </a:lnTo>
                  <a:cubicBezTo>
                    <a:pt x="29" y="88"/>
                    <a:pt x="29" y="88"/>
                    <a:pt x="29" y="88"/>
                  </a:cubicBezTo>
                  <a:cubicBezTo>
                    <a:pt x="58" y="88"/>
                    <a:pt x="88" y="59"/>
                    <a:pt x="117" y="59"/>
                  </a:cubicBezTo>
                  <a:cubicBezTo>
                    <a:pt x="146" y="29"/>
                    <a:pt x="146" y="29"/>
                    <a:pt x="175" y="29"/>
                  </a:cubicBezTo>
                  <a:lnTo>
                    <a:pt x="175" y="29"/>
                  </a:lnTo>
                  <a:cubicBezTo>
                    <a:pt x="175" y="0"/>
                    <a:pt x="175" y="0"/>
                    <a:pt x="175" y="0"/>
                  </a:cubicBezTo>
                  <a:cubicBezTo>
                    <a:pt x="175" y="29"/>
                    <a:pt x="175" y="29"/>
                    <a:pt x="175"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3" name="Freeform 471">
              <a:extLst>
                <a:ext uri="{FF2B5EF4-FFF2-40B4-BE49-F238E27FC236}">
                  <a16:creationId xmlns:a16="http://schemas.microsoft.com/office/drawing/2014/main" id="{888994D1-6F8B-4B73-A1D9-B7780F624864}"/>
                </a:ext>
              </a:extLst>
            </p:cNvPr>
            <p:cNvSpPr>
              <a:spLocks noChangeArrowheads="1"/>
            </p:cNvSpPr>
            <p:nvPr/>
          </p:nvSpPr>
          <p:spPr bwMode="auto">
            <a:xfrm>
              <a:off x="7501955" y="536317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4" name="Freeform 472">
              <a:extLst>
                <a:ext uri="{FF2B5EF4-FFF2-40B4-BE49-F238E27FC236}">
                  <a16:creationId xmlns:a16="http://schemas.microsoft.com/office/drawing/2014/main" id="{F39FBAFA-9B98-4482-8584-8AEC6190F5B5}"/>
                </a:ext>
              </a:extLst>
            </p:cNvPr>
            <p:cNvSpPr>
              <a:spLocks noChangeArrowheads="1"/>
            </p:cNvSpPr>
            <p:nvPr/>
          </p:nvSpPr>
          <p:spPr bwMode="auto">
            <a:xfrm>
              <a:off x="7588389" y="5277402"/>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5" name="Freeform 473">
              <a:extLst>
                <a:ext uri="{FF2B5EF4-FFF2-40B4-BE49-F238E27FC236}">
                  <a16:creationId xmlns:a16="http://schemas.microsoft.com/office/drawing/2014/main" id="{9159B7D1-01BC-49D0-B8FB-5AA5C2C7B936}"/>
                </a:ext>
              </a:extLst>
            </p:cNvPr>
            <p:cNvSpPr>
              <a:spLocks noChangeArrowheads="1"/>
            </p:cNvSpPr>
            <p:nvPr/>
          </p:nvSpPr>
          <p:spPr bwMode="auto">
            <a:xfrm>
              <a:off x="7674824" y="522399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6" name="Freeform 474">
              <a:extLst>
                <a:ext uri="{FF2B5EF4-FFF2-40B4-BE49-F238E27FC236}">
                  <a16:creationId xmlns:a16="http://schemas.microsoft.com/office/drawing/2014/main" id="{763AD2AD-F3B7-49D6-B977-82CC471E3BA5}"/>
                </a:ext>
              </a:extLst>
            </p:cNvPr>
            <p:cNvSpPr>
              <a:spLocks noChangeArrowheads="1"/>
            </p:cNvSpPr>
            <p:nvPr/>
          </p:nvSpPr>
          <p:spPr bwMode="auto">
            <a:xfrm>
              <a:off x="7738427" y="5191630"/>
              <a:ext cx="11416" cy="1619"/>
            </a:xfrm>
            <a:custGeom>
              <a:avLst/>
              <a:gdLst>
                <a:gd name="T0" fmla="*/ 29 w 30"/>
                <a:gd name="T1" fmla="*/ 0 h 1"/>
                <a:gd name="T2" fmla="*/ 29 w 30"/>
                <a:gd name="T3" fmla="*/ 0 h 1"/>
                <a:gd name="T4" fmla="*/ 0 w 30"/>
                <a:gd name="T5" fmla="*/ 0 h 1"/>
                <a:gd name="T6" fmla="*/ 0 w 30"/>
                <a:gd name="T7" fmla="*/ 0 h 1"/>
                <a:gd name="T8" fmla="*/ 29 w 30"/>
                <a:gd name="T9" fmla="*/ 0 h 1"/>
              </a:gdLst>
              <a:ahLst/>
              <a:cxnLst>
                <a:cxn ang="0">
                  <a:pos x="T0" y="T1"/>
                </a:cxn>
                <a:cxn ang="0">
                  <a:pos x="T2" y="T3"/>
                </a:cxn>
                <a:cxn ang="0">
                  <a:pos x="T4" y="T5"/>
                </a:cxn>
                <a:cxn ang="0">
                  <a:pos x="T6" y="T7"/>
                </a:cxn>
                <a:cxn ang="0">
                  <a:pos x="T8" y="T9"/>
                </a:cxn>
              </a:cxnLst>
              <a:rect l="0" t="0" r="r" b="b"/>
              <a:pathLst>
                <a:path w="30" h="1">
                  <a:moveTo>
                    <a:pt x="29" y="0"/>
                  </a:moveTo>
                  <a:lnTo>
                    <a:pt x="29" y="0"/>
                  </a:lnTo>
                  <a:cubicBezTo>
                    <a:pt x="29" y="0"/>
                    <a:pt x="29" y="0"/>
                    <a:pt x="0" y="0"/>
                  </a:cubicBezTo>
                  <a:lnTo>
                    <a:pt x="0" y="0"/>
                  </a:ln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7" name="Freeform 475">
              <a:extLst>
                <a:ext uri="{FF2B5EF4-FFF2-40B4-BE49-F238E27FC236}">
                  <a16:creationId xmlns:a16="http://schemas.microsoft.com/office/drawing/2014/main" id="{2E7C5BEA-4DEF-4E72-A272-6CBCF9BBA50C}"/>
                </a:ext>
              </a:extLst>
            </p:cNvPr>
            <p:cNvSpPr>
              <a:spLocks noChangeArrowheads="1"/>
            </p:cNvSpPr>
            <p:nvPr/>
          </p:nvSpPr>
          <p:spPr bwMode="auto">
            <a:xfrm>
              <a:off x="7878680" y="5105860"/>
              <a:ext cx="11416" cy="22656"/>
            </a:xfrm>
            <a:custGeom>
              <a:avLst/>
              <a:gdLst>
                <a:gd name="T0" fmla="*/ 30 w 31"/>
                <a:gd name="T1" fmla="*/ 29 h 60"/>
                <a:gd name="T2" fmla="*/ 30 w 31"/>
                <a:gd name="T3" fmla="*/ 29 h 60"/>
                <a:gd name="T4" fmla="*/ 0 w 31"/>
                <a:gd name="T5" fmla="*/ 59 h 60"/>
                <a:gd name="T6" fmla="*/ 30 w 31"/>
                <a:gd name="T7" fmla="*/ 29 h 60"/>
                <a:gd name="T8" fmla="*/ 30 w 31"/>
                <a:gd name="T9" fmla="*/ 0 h 60"/>
                <a:gd name="T10" fmla="*/ 30 w 31"/>
                <a:gd name="T11" fmla="*/ 0 h 60"/>
                <a:gd name="T12" fmla="*/ 30 w 31"/>
                <a:gd name="T13" fmla="*/ 29 h 60"/>
              </a:gdLst>
              <a:ahLst/>
              <a:cxnLst>
                <a:cxn ang="0">
                  <a:pos x="T0" y="T1"/>
                </a:cxn>
                <a:cxn ang="0">
                  <a:pos x="T2" y="T3"/>
                </a:cxn>
                <a:cxn ang="0">
                  <a:pos x="T4" y="T5"/>
                </a:cxn>
                <a:cxn ang="0">
                  <a:pos x="T6" y="T7"/>
                </a:cxn>
                <a:cxn ang="0">
                  <a:pos x="T8" y="T9"/>
                </a:cxn>
                <a:cxn ang="0">
                  <a:pos x="T10" y="T11"/>
                </a:cxn>
                <a:cxn ang="0">
                  <a:pos x="T12" y="T13"/>
                </a:cxn>
              </a:cxnLst>
              <a:rect l="0" t="0" r="r" b="b"/>
              <a:pathLst>
                <a:path w="31" h="60">
                  <a:moveTo>
                    <a:pt x="30" y="29"/>
                  </a:moveTo>
                  <a:lnTo>
                    <a:pt x="30" y="29"/>
                  </a:lnTo>
                  <a:cubicBezTo>
                    <a:pt x="30" y="29"/>
                    <a:pt x="30" y="29"/>
                    <a:pt x="0" y="59"/>
                  </a:cubicBezTo>
                  <a:cubicBezTo>
                    <a:pt x="30" y="29"/>
                    <a:pt x="30" y="29"/>
                    <a:pt x="30" y="29"/>
                  </a:cubicBezTo>
                  <a:cubicBezTo>
                    <a:pt x="30" y="0"/>
                    <a:pt x="30" y="0"/>
                    <a:pt x="30" y="0"/>
                  </a:cubicBezTo>
                  <a:lnTo>
                    <a:pt x="30" y="0"/>
                  </a:ln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8" name="Freeform 476">
              <a:extLst>
                <a:ext uri="{FF2B5EF4-FFF2-40B4-BE49-F238E27FC236}">
                  <a16:creationId xmlns:a16="http://schemas.microsoft.com/office/drawing/2014/main" id="{2C79C6AF-98F3-4BE8-893F-30171A57344C}"/>
                </a:ext>
              </a:extLst>
            </p:cNvPr>
            <p:cNvSpPr>
              <a:spLocks noChangeArrowheads="1"/>
            </p:cNvSpPr>
            <p:nvPr/>
          </p:nvSpPr>
          <p:spPr bwMode="auto">
            <a:xfrm>
              <a:off x="7824862" y="5147936"/>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99" name="Freeform 477">
              <a:extLst>
                <a:ext uri="{FF2B5EF4-FFF2-40B4-BE49-F238E27FC236}">
                  <a16:creationId xmlns:a16="http://schemas.microsoft.com/office/drawing/2014/main" id="{5C8618EA-A265-482A-AB40-D659CE5ACD82}"/>
                </a:ext>
              </a:extLst>
            </p:cNvPr>
            <p:cNvSpPr>
              <a:spLocks noChangeArrowheads="1"/>
            </p:cNvSpPr>
            <p:nvPr/>
          </p:nvSpPr>
          <p:spPr bwMode="auto">
            <a:xfrm>
              <a:off x="7953699" y="5041127"/>
              <a:ext cx="32617" cy="21038"/>
            </a:xfrm>
            <a:custGeom>
              <a:avLst/>
              <a:gdLst>
                <a:gd name="T0" fmla="*/ 59 w 89"/>
                <a:gd name="T1" fmla="*/ 29 h 59"/>
                <a:gd name="T2" fmla="*/ 59 w 89"/>
                <a:gd name="T3" fmla="*/ 29 h 59"/>
                <a:gd name="T4" fmla="*/ 0 w 89"/>
                <a:gd name="T5" fmla="*/ 58 h 59"/>
                <a:gd name="T6" fmla="*/ 59 w 89"/>
                <a:gd name="T7" fmla="*/ 29 h 59"/>
                <a:gd name="T8" fmla="*/ 88 w 89"/>
                <a:gd name="T9" fmla="*/ 29 h 59"/>
                <a:gd name="T10" fmla="*/ 59 w 89"/>
                <a:gd name="T11" fmla="*/ 29 h 59"/>
              </a:gdLst>
              <a:ahLst/>
              <a:cxnLst>
                <a:cxn ang="0">
                  <a:pos x="T0" y="T1"/>
                </a:cxn>
                <a:cxn ang="0">
                  <a:pos x="T2" y="T3"/>
                </a:cxn>
                <a:cxn ang="0">
                  <a:pos x="T4" y="T5"/>
                </a:cxn>
                <a:cxn ang="0">
                  <a:pos x="T6" y="T7"/>
                </a:cxn>
                <a:cxn ang="0">
                  <a:pos x="T8" y="T9"/>
                </a:cxn>
                <a:cxn ang="0">
                  <a:pos x="T10" y="T11"/>
                </a:cxn>
              </a:cxnLst>
              <a:rect l="0" t="0" r="r" b="b"/>
              <a:pathLst>
                <a:path w="89" h="59">
                  <a:moveTo>
                    <a:pt x="59" y="29"/>
                  </a:moveTo>
                  <a:lnTo>
                    <a:pt x="59" y="29"/>
                  </a:lnTo>
                  <a:cubicBezTo>
                    <a:pt x="29" y="29"/>
                    <a:pt x="29" y="29"/>
                    <a:pt x="0" y="58"/>
                  </a:cubicBezTo>
                  <a:cubicBezTo>
                    <a:pt x="29" y="29"/>
                    <a:pt x="29" y="29"/>
                    <a:pt x="59" y="29"/>
                  </a:cubicBezTo>
                  <a:cubicBezTo>
                    <a:pt x="88" y="0"/>
                    <a:pt x="88" y="29"/>
                    <a:pt x="88" y="29"/>
                  </a:cubicBezTo>
                  <a:cubicBezTo>
                    <a:pt x="88" y="29"/>
                    <a:pt x="88" y="0"/>
                    <a:pt x="5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0" name="Freeform 478">
              <a:extLst>
                <a:ext uri="{FF2B5EF4-FFF2-40B4-BE49-F238E27FC236}">
                  <a16:creationId xmlns:a16="http://schemas.microsoft.com/office/drawing/2014/main" id="{4390D3CD-AF1F-49C1-8293-029CDE838203}"/>
                </a:ext>
              </a:extLst>
            </p:cNvPr>
            <p:cNvSpPr>
              <a:spLocks noChangeArrowheads="1"/>
            </p:cNvSpPr>
            <p:nvPr/>
          </p:nvSpPr>
          <p:spPr bwMode="auto">
            <a:xfrm>
              <a:off x="7782460" y="518030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1" name="Freeform 479">
              <a:extLst>
                <a:ext uri="{FF2B5EF4-FFF2-40B4-BE49-F238E27FC236}">
                  <a16:creationId xmlns:a16="http://schemas.microsoft.com/office/drawing/2014/main" id="{F32329B0-7ECB-4FB7-9648-10A3294F1B5B}"/>
                </a:ext>
              </a:extLst>
            </p:cNvPr>
            <p:cNvSpPr>
              <a:spLocks noChangeArrowheads="1"/>
            </p:cNvSpPr>
            <p:nvPr/>
          </p:nvSpPr>
          <p:spPr bwMode="auto">
            <a:xfrm>
              <a:off x="7792245" y="5159264"/>
              <a:ext cx="32617" cy="22656"/>
            </a:xfrm>
            <a:custGeom>
              <a:avLst/>
              <a:gdLst>
                <a:gd name="T0" fmla="*/ 0 w 88"/>
                <a:gd name="T1" fmla="*/ 59 h 60"/>
                <a:gd name="T2" fmla="*/ 0 w 88"/>
                <a:gd name="T3" fmla="*/ 59 h 60"/>
                <a:gd name="T4" fmla="*/ 87 w 88"/>
                <a:gd name="T5" fmla="*/ 0 h 60"/>
                <a:gd name="T6" fmla="*/ 0 w 88"/>
                <a:gd name="T7" fmla="*/ 59 h 60"/>
              </a:gdLst>
              <a:ahLst/>
              <a:cxnLst>
                <a:cxn ang="0">
                  <a:pos x="T0" y="T1"/>
                </a:cxn>
                <a:cxn ang="0">
                  <a:pos x="T2" y="T3"/>
                </a:cxn>
                <a:cxn ang="0">
                  <a:pos x="T4" y="T5"/>
                </a:cxn>
                <a:cxn ang="0">
                  <a:pos x="T6" y="T7"/>
                </a:cxn>
              </a:cxnLst>
              <a:rect l="0" t="0" r="r" b="b"/>
              <a:pathLst>
                <a:path w="88" h="60">
                  <a:moveTo>
                    <a:pt x="0" y="59"/>
                  </a:moveTo>
                  <a:lnTo>
                    <a:pt x="0" y="59"/>
                  </a:lnTo>
                  <a:cubicBezTo>
                    <a:pt x="30" y="30"/>
                    <a:pt x="58" y="30"/>
                    <a:pt x="87" y="0"/>
                  </a:cubicBezTo>
                  <a:cubicBezTo>
                    <a:pt x="58" y="30"/>
                    <a:pt x="3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2" name="Freeform 480">
              <a:extLst>
                <a:ext uri="{FF2B5EF4-FFF2-40B4-BE49-F238E27FC236}">
                  <a16:creationId xmlns:a16="http://schemas.microsoft.com/office/drawing/2014/main" id="{C20B78C2-2ADB-4B88-A7C9-E3B45F3350D7}"/>
                </a:ext>
              </a:extLst>
            </p:cNvPr>
            <p:cNvSpPr>
              <a:spLocks noChangeArrowheads="1"/>
            </p:cNvSpPr>
            <p:nvPr/>
          </p:nvSpPr>
          <p:spPr bwMode="auto">
            <a:xfrm>
              <a:off x="6746873" y="4987722"/>
              <a:ext cx="1631" cy="11329"/>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3" name="Freeform 481">
              <a:extLst>
                <a:ext uri="{FF2B5EF4-FFF2-40B4-BE49-F238E27FC236}">
                  <a16:creationId xmlns:a16="http://schemas.microsoft.com/office/drawing/2014/main" id="{FE90E40A-C4AB-4BB5-B377-C0F0A249E0B2}"/>
                </a:ext>
              </a:extLst>
            </p:cNvPr>
            <p:cNvSpPr>
              <a:spLocks noChangeArrowheads="1"/>
            </p:cNvSpPr>
            <p:nvPr/>
          </p:nvSpPr>
          <p:spPr bwMode="auto">
            <a:xfrm>
              <a:off x="6929528" y="5170593"/>
              <a:ext cx="44033" cy="85770"/>
            </a:xfrm>
            <a:custGeom>
              <a:avLst/>
              <a:gdLst>
                <a:gd name="T0" fmla="*/ 59 w 118"/>
                <a:gd name="T1" fmla="*/ 116 h 234"/>
                <a:gd name="T2" fmla="*/ 59 w 118"/>
                <a:gd name="T3" fmla="*/ 116 h 234"/>
                <a:gd name="T4" fmla="*/ 0 w 118"/>
                <a:gd name="T5" fmla="*/ 0 h 234"/>
                <a:gd name="T6" fmla="*/ 59 w 118"/>
                <a:gd name="T7" fmla="*/ 116 h 234"/>
                <a:gd name="T8" fmla="*/ 117 w 118"/>
                <a:gd name="T9" fmla="*/ 233 h 234"/>
                <a:gd name="T10" fmla="*/ 59 w 118"/>
                <a:gd name="T11" fmla="*/ 116 h 234"/>
              </a:gdLst>
              <a:ahLst/>
              <a:cxnLst>
                <a:cxn ang="0">
                  <a:pos x="T0" y="T1"/>
                </a:cxn>
                <a:cxn ang="0">
                  <a:pos x="T2" y="T3"/>
                </a:cxn>
                <a:cxn ang="0">
                  <a:pos x="T4" y="T5"/>
                </a:cxn>
                <a:cxn ang="0">
                  <a:pos x="T6" y="T7"/>
                </a:cxn>
                <a:cxn ang="0">
                  <a:pos x="T8" y="T9"/>
                </a:cxn>
                <a:cxn ang="0">
                  <a:pos x="T10" y="T11"/>
                </a:cxn>
              </a:cxnLst>
              <a:rect l="0" t="0" r="r" b="b"/>
              <a:pathLst>
                <a:path w="118" h="234">
                  <a:moveTo>
                    <a:pt x="59" y="116"/>
                  </a:moveTo>
                  <a:lnTo>
                    <a:pt x="59" y="116"/>
                  </a:lnTo>
                  <a:cubicBezTo>
                    <a:pt x="30" y="87"/>
                    <a:pt x="30" y="29"/>
                    <a:pt x="0" y="0"/>
                  </a:cubicBezTo>
                  <a:cubicBezTo>
                    <a:pt x="30" y="29"/>
                    <a:pt x="30" y="87"/>
                    <a:pt x="59" y="116"/>
                  </a:cubicBezTo>
                  <a:cubicBezTo>
                    <a:pt x="88" y="145"/>
                    <a:pt x="88" y="203"/>
                    <a:pt x="117" y="233"/>
                  </a:cubicBezTo>
                  <a:cubicBezTo>
                    <a:pt x="88" y="203"/>
                    <a:pt x="88" y="145"/>
                    <a:pt x="59"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4" name="Freeform 482">
              <a:extLst>
                <a:ext uri="{FF2B5EF4-FFF2-40B4-BE49-F238E27FC236}">
                  <a16:creationId xmlns:a16="http://schemas.microsoft.com/office/drawing/2014/main" id="{21191C0F-2EA5-4AB5-A35D-826BAB759D3C}"/>
                </a:ext>
              </a:extLst>
            </p:cNvPr>
            <p:cNvSpPr>
              <a:spLocks noChangeArrowheads="1"/>
            </p:cNvSpPr>
            <p:nvPr/>
          </p:nvSpPr>
          <p:spPr bwMode="auto">
            <a:xfrm>
              <a:off x="6919743" y="5138226"/>
              <a:ext cx="11416" cy="32366"/>
            </a:xfrm>
            <a:custGeom>
              <a:avLst/>
              <a:gdLst>
                <a:gd name="T0" fmla="*/ 28 w 29"/>
                <a:gd name="T1" fmla="*/ 88 h 89"/>
                <a:gd name="T2" fmla="*/ 28 w 29"/>
                <a:gd name="T3" fmla="*/ 88 h 89"/>
                <a:gd name="T4" fmla="*/ 28 w 29"/>
                <a:gd name="T5" fmla="*/ 88 h 89"/>
                <a:gd name="T6" fmla="*/ 0 w 29"/>
                <a:gd name="T7" fmla="*/ 0 h 89"/>
                <a:gd name="T8" fmla="*/ 28 w 29"/>
                <a:gd name="T9" fmla="*/ 88 h 89"/>
              </a:gdLst>
              <a:ahLst/>
              <a:cxnLst>
                <a:cxn ang="0">
                  <a:pos x="T0" y="T1"/>
                </a:cxn>
                <a:cxn ang="0">
                  <a:pos x="T2" y="T3"/>
                </a:cxn>
                <a:cxn ang="0">
                  <a:pos x="T4" y="T5"/>
                </a:cxn>
                <a:cxn ang="0">
                  <a:pos x="T6" y="T7"/>
                </a:cxn>
                <a:cxn ang="0">
                  <a:pos x="T8" y="T9"/>
                </a:cxn>
              </a:cxnLst>
              <a:rect l="0" t="0" r="r" b="b"/>
              <a:pathLst>
                <a:path w="29" h="89">
                  <a:moveTo>
                    <a:pt x="28" y="88"/>
                  </a:moveTo>
                  <a:lnTo>
                    <a:pt x="28" y="88"/>
                  </a:lnTo>
                  <a:lnTo>
                    <a:pt x="28" y="88"/>
                  </a:lnTo>
                  <a:cubicBezTo>
                    <a:pt x="28" y="58"/>
                    <a:pt x="28" y="29"/>
                    <a:pt x="0" y="0"/>
                  </a:cubicBezTo>
                  <a:cubicBezTo>
                    <a:pt x="28" y="29"/>
                    <a:pt x="28" y="58"/>
                    <a:pt x="28"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5" name="Freeform 483">
              <a:extLst>
                <a:ext uri="{FF2B5EF4-FFF2-40B4-BE49-F238E27FC236}">
                  <a16:creationId xmlns:a16="http://schemas.microsoft.com/office/drawing/2014/main" id="{9ABF37C0-1648-48A9-9313-C197F98AE8D8}"/>
                </a:ext>
              </a:extLst>
            </p:cNvPr>
            <p:cNvSpPr>
              <a:spLocks noChangeArrowheads="1"/>
            </p:cNvSpPr>
            <p:nvPr/>
          </p:nvSpPr>
          <p:spPr bwMode="auto">
            <a:xfrm>
              <a:off x="7090982" y="546998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6" name="Freeform 484">
              <a:extLst>
                <a:ext uri="{FF2B5EF4-FFF2-40B4-BE49-F238E27FC236}">
                  <a16:creationId xmlns:a16="http://schemas.microsoft.com/office/drawing/2014/main" id="{608CA272-611B-4C76-85AF-87992CBB542B}"/>
                </a:ext>
              </a:extLst>
            </p:cNvPr>
            <p:cNvSpPr>
              <a:spLocks noChangeArrowheads="1"/>
            </p:cNvSpPr>
            <p:nvPr/>
          </p:nvSpPr>
          <p:spPr bwMode="auto">
            <a:xfrm>
              <a:off x="7090982" y="5469981"/>
              <a:ext cx="1630"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7" name="Freeform 485">
              <a:extLst>
                <a:ext uri="{FF2B5EF4-FFF2-40B4-BE49-F238E27FC236}">
                  <a16:creationId xmlns:a16="http://schemas.microsoft.com/office/drawing/2014/main" id="{6A0F96BE-8283-4EE6-8227-A36BDDF6C3FB}"/>
                </a:ext>
              </a:extLst>
            </p:cNvPr>
            <p:cNvSpPr>
              <a:spLocks noChangeArrowheads="1"/>
            </p:cNvSpPr>
            <p:nvPr/>
          </p:nvSpPr>
          <p:spPr bwMode="auto">
            <a:xfrm>
              <a:off x="6887126" y="5094531"/>
              <a:ext cx="11416" cy="11329"/>
            </a:xfrm>
            <a:custGeom>
              <a:avLst/>
              <a:gdLst>
                <a:gd name="T0" fmla="*/ 30 w 31"/>
                <a:gd name="T1" fmla="*/ 0 h 30"/>
                <a:gd name="T2" fmla="*/ 30 w 31"/>
                <a:gd name="T3" fmla="*/ 0 h 30"/>
                <a:gd name="T4" fmla="*/ 0 w 31"/>
                <a:gd name="T5" fmla="*/ 29 h 30"/>
                <a:gd name="T6" fmla="*/ 0 w 31"/>
                <a:gd name="T7" fmla="*/ 29 h 30"/>
                <a:gd name="T8" fmla="*/ 0 w 31"/>
                <a:gd name="T9" fmla="*/ 29 h 30"/>
                <a:gd name="T10" fmla="*/ 30 w 31"/>
                <a:gd name="T11" fmla="*/ 0 h 30"/>
              </a:gdLst>
              <a:ahLst/>
              <a:cxnLst>
                <a:cxn ang="0">
                  <a:pos x="T0" y="T1"/>
                </a:cxn>
                <a:cxn ang="0">
                  <a:pos x="T2" y="T3"/>
                </a:cxn>
                <a:cxn ang="0">
                  <a:pos x="T4" y="T5"/>
                </a:cxn>
                <a:cxn ang="0">
                  <a:pos x="T6" y="T7"/>
                </a:cxn>
                <a:cxn ang="0">
                  <a:pos x="T8" y="T9"/>
                </a:cxn>
                <a:cxn ang="0">
                  <a:pos x="T10" y="T11"/>
                </a:cxn>
              </a:cxnLst>
              <a:rect l="0" t="0" r="r" b="b"/>
              <a:pathLst>
                <a:path w="31" h="30">
                  <a:moveTo>
                    <a:pt x="30" y="0"/>
                  </a:moveTo>
                  <a:lnTo>
                    <a:pt x="30" y="0"/>
                  </a:lnTo>
                  <a:cubicBezTo>
                    <a:pt x="0" y="0"/>
                    <a:pt x="0" y="29"/>
                    <a:pt x="0" y="29"/>
                  </a:cubicBezTo>
                  <a:lnTo>
                    <a:pt x="0" y="29"/>
                  </a:lnTo>
                  <a:lnTo>
                    <a:pt x="0" y="29"/>
                  </a:lnTo>
                  <a:cubicBezTo>
                    <a:pt x="0" y="29"/>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8" name="Freeform 486">
              <a:extLst>
                <a:ext uri="{FF2B5EF4-FFF2-40B4-BE49-F238E27FC236}">
                  <a16:creationId xmlns:a16="http://schemas.microsoft.com/office/drawing/2014/main" id="{47C4782D-9ACD-4DB8-A0D3-BAEDBBBA0A61}"/>
                </a:ext>
              </a:extLst>
            </p:cNvPr>
            <p:cNvSpPr>
              <a:spLocks noChangeArrowheads="1"/>
            </p:cNvSpPr>
            <p:nvPr/>
          </p:nvSpPr>
          <p:spPr bwMode="auto">
            <a:xfrm>
              <a:off x="6746873" y="499905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09" name="Freeform 487">
              <a:extLst>
                <a:ext uri="{FF2B5EF4-FFF2-40B4-BE49-F238E27FC236}">
                  <a16:creationId xmlns:a16="http://schemas.microsoft.com/office/drawing/2014/main" id="{50238895-7325-4602-98AB-37115FCC5715}"/>
                </a:ext>
              </a:extLst>
            </p:cNvPr>
            <p:cNvSpPr>
              <a:spLocks noChangeArrowheads="1"/>
            </p:cNvSpPr>
            <p:nvPr/>
          </p:nvSpPr>
          <p:spPr bwMode="auto">
            <a:xfrm>
              <a:off x="7123599" y="5555753"/>
              <a:ext cx="32617" cy="21038"/>
            </a:xfrm>
            <a:custGeom>
              <a:avLst/>
              <a:gdLst>
                <a:gd name="T0" fmla="*/ 58 w 89"/>
                <a:gd name="T1" fmla="*/ 29 h 59"/>
                <a:gd name="T2" fmla="*/ 58 w 89"/>
                <a:gd name="T3" fmla="*/ 29 h 59"/>
                <a:gd name="T4" fmla="*/ 0 w 89"/>
                <a:gd name="T5" fmla="*/ 29 h 59"/>
                <a:gd name="T6" fmla="*/ 0 w 89"/>
                <a:gd name="T7" fmla="*/ 0 h 59"/>
                <a:gd name="T8" fmla="*/ 0 w 89"/>
                <a:gd name="T9" fmla="*/ 29 h 59"/>
                <a:gd name="T10" fmla="*/ 58 w 89"/>
                <a:gd name="T11" fmla="*/ 29 h 59"/>
                <a:gd name="T12" fmla="*/ 88 w 89"/>
                <a:gd name="T13" fmla="*/ 58 h 59"/>
                <a:gd name="T14" fmla="*/ 58 w 89"/>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59">
                  <a:moveTo>
                    <a:pt x="58" y="29"/>
                  </a:moveTo>
                  <a:lnTo>
                    <a:pt x="58" y="29"/>
                  </a:lnTo>
                  <a:cubicBezTo>
                    <a:pt x="29" y="29"/>
                    <a:pt x="29" y="29"/>
                    <a:pt x="0" y="29"/>
                  </a:cubicBezTo>
                  <a:cubicBezTo>
                    <a:pt x="0" y="0"/>
                    <a:pt x="0" y="0"/>
                    <a:pt x="0" y="0"/>
                  </a:cubicBezTo>
                  <a:cubicBezTo>
                    <a:pt x="0" y="0"/>
                    <a:pt x="0" y="0"/>
                    <a:pt x="0" y="29"/>
                  </a:cubicBezTo>
                  <a:cubicBezTo>
                    <a:pt x="29" y="29"/>
                    <a:pt x="29" y="29"/>
                    <a:pt x="58" y="29"/>
                  </a:cubicBezTo>
                  <a:cubicBezTo>
                    <a:pt x="58" y="58"/>
                    <a:pt x="88" y="58"/>
                    <a:pt x="88" y="58"/>
                  </a:cubicBezTo>
                  <a:cubicBezTo>
                    <a:pt x="88" y="58"/>
                    <a:pt x="58" y="58"/>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0" name="Freeform 488">
              <a:extLst>
                <a:ext uri="{FF2B5EF4-FFF2-40B4-BE49-F238E27FC236}">
                  <a16:creationId xmlns:a16="http://schemas.microsoft.com/office/drawing/2014/main" id="{26F4FBC1-7336-4D79-8748-0781411B9542}"/>
                </a:ext>
              </a:extLst>
            </p:cNvPr>
            <p:cNvSpPr>
              <a:spLocks noChangeArrowheads="1"/>
            </p:cNvSpPr>
            <p:nvPr/>
          </p:nvSpPr>
          <p:spPr bwMode="auto">
            <a:xfrm>
              <a:off x="7296468" y="5694928"/>
              <a:ext cx="53817" cy="1618"/>
            </a:xfrm>
            <a:custGeom>
              <a:avLst/>
              <a:gdLst>
                <a:gd name="T0" fmla="*/ 145 w 146"/>
                <a:gd name="T1" fmla="*/ 0 h 1"/>
                <a:gd name="T2" fmla="*/ 145 w 146"/>
                <a:gd name="T3" fmla="*/ 0 h 1"/>
                <a:gd name="T4" fmla="*/ 57 w 146"/>
                <a:gd name="T5" fmla="*/ 0 h 1"/>
                <a:gd name="T6" fmla="*/ 0 w 146"/>
                <a:gd name="T7" fmla="*/ 0 h 1"/>
                <a:gd name="T8" fmla="*/ 57 w 146"/>
                <a:gd name="T9" fmla="*/ 0 h 1"/>
                <a:gd name="T10" fmla="*/ 145 w 146"/>
                <a:gd name="T11" fmla="*/ 0 h 1"/>
              </a:gdLst>
              <a:ahLst/>
              <a:cxnLst>
                <a:cxn ang="0">
                  <a:pos x="T0" y="T1"/>
                </a:cxn>
                <a:cxn ang="0">
                  <a:pos x="T2" y="T3"/>
                </a:cxn>
                <a:cxn ang="0">
                  <a:pos x="T4" y="T5"/>
                </a:cxn>
                <a:cxn ang="0">
                  <a:pos x="T6" y="T7"/>
                </a:cxn>
                <a:cxn ang="0">
                  <a:pos x="T8" y="T9"/>
                </a:cxn>
                <a:cxn ang="0">
                  <a:pos x="T10" y="T11"/>
                </a:cxn>
              </a:cxnLst>
              <a:rect l="0" t="0" r="r" b="b"/>
              <a:pathLst>
                <a:path w="146" h="1">
                  <a:moveTo>
                    <a:pt x="145" y="0"/>
                  </a:moveTo>
                  <a:lnTo>
                    <a:pt x="145" y="0"/>
                  </a:lnTo>
                  <a:cubicBezTo>
                    <a:pt x="116" y="0"/>
                    <a:pt x="87" y="0"/>
                    <a:pt x="57" y="0"/>
                  </a:cubicBezTo>
                  <a:cubicBezTo>
                    <a:pt x="28" y="0"/>
                    <a:pt x="28" y="0"/>
                    <a:pt x="0" y="0"/>
                  </a:cubicBezTo>
                  <a:cubicBezTo>
                    <a:pt x="28" y="0"/>
                    <a:pt x="28" y="0"/>
                    <a:pt x="57" y="0"/>
                  </a:cubicBezTo>
                  <a:cubicBezTo>
                    <a:pt x="87" y="0"/>
                    <a:pt x="116" y="0"/>
                    <a:pt x="14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1" name="Freeform 489">
              <a:extLst>
                <a:ext uri="{FF2B5EF4-FFF2-40B4-BE49-F238E27FC236}">
                  <a16:creationId xmlns:a16="http://schemas.microsoft.com/office/drawing/2014/main" id="{DECD2790-D658-4416-88A8-68E8B8F91158}"/>
                </a:ext>
              </a:extLst>
            </p:cNvPr>
            <p:cNvSpPr>
              <a:spLocks noChangeArrowheads="1"/>
            </p:cNvSpPr>
            <p:nvPr/>
          </p:nvSpPr>
          <p:spPr bwMode="auto">
            <a:xfrm>
              <a:off x="7242650" y="5672272"/>
              <a:ext cx="21202" cy="11328"/>
            </a:xfrm>
            <a:custGeom>
              <a:avLst/>
              <a:gdLst>
                <a:gd name="T0" fmla="*/ 0 w 59"/>
                <a:gd name="T1" fmla="*/ 0 h 31"/>
                <a:gd name="T2" fmla="*/ 0 w 59"/>
                <a:gd name="T3" fmla="*/ 0 h 31"/>
                <a:gd name="T4" fmla="*/ 58 w 59"/>
                <a:gd name="T5" fmla="*/ 30 h 31"/>
                <a:gd name="T6" fmla="*/ 0 w 59"/>
                <a:gd name="T7" fmla="*/ 0 h 31"/>
              </a:gdLst>
              <a:ahLst/>
              <a:cxnLst>
                <a:cxn ang="0">
                  <a:pos x="T0" y="T1"/>
                </a:cxn>
                <a:cxn ang="0">
                  <a:pos x="T2" y="T3"/>
                </a:cxn>
                <a:cxn ang="0">
                  <a:pos x="T4" y="T5"/>
                </a:cxn>
                <a:cxn ang="0">
                  <a:pos x="T6" y="T7"/>
                </a:cxn>
              </a:cxnLst>
              <a:rect l="0" t="0" r="r" b="b"/>
              <a:pathLst>
                <a:path w="59" h="31">
                  <a:moveTo>
                    <a:pt x="0" y="0"/>
                  </a:moveTo>
                  <a:lnTo>
                    <a:pt x="0" y="0"/>
                  </a:lnTo>
                  <a:cubicBezTo>
                    <a:pt x="0" y="0"/>
                    <a:pt x="29" y="30"/>
                    <a:pt x="58" y="30"/>
                  </a:cubicBezTo>
                  <a:cubicBezTo>
                    <a:pt x="29" y="3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2" name="Freeform 490">
              <a:extLst>
                <a:ext uri="{FF2B5EF4-FFF2-40B4-BE49-F238E27FC236}">
                  <a16:creationId xmlns:a16="http://schemas.microsoft.com/office/drawing/2014/main" id="{F74049B1-12E4-468C-8CEE-F7F79FED788F}"/>
                </a:ext>
              </a:extLst>
            </p:cNvPr>
            <p:cNvSpPr>
              <a:spLocks noChangeArrowheads="1"/>
            </p:cNvSpPr>
            <p:nvPr/>
          </p:nvSpPr>
          <p:spPr bwMode="auto">
            <a:xfrm>
              <a:off x="7231235" y="5672272"/>
              <a:ext cx="11415" cy="1618"/>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0" y="0"/>
                    <a:pt x="0" y="0"/>
                    <a:pt x="0" y="0"/>
                  </a:cubicBezTo>
                  <a:cubicBezTo>
                    <a:pt x="0" y="0"/>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3" name="Freeform 491">
              <a:extLst>
                <a:ext uri="{FF2B5EF4-FFF2-40B4-BE49-F238E27FC236}">
                  <a16:creationId xmlns:a16="http://schemas.microsoft.com/office/drawing/2014/main" id="{4133399D-02AF-4D09-A657-6480ED9FD8BA}"/>
                </a:ext>
              </a:extLst>
            </p:cNvPr>
            <p:cNvSpPr>
              <a:spLocks noChangeArrowheads="1"/>
            </p:cNvSpPr>
            <p:nvPr/>
          </p:nvSpPr>
          <p:spPr bwMode="auto">
            <a:xfrm>
              <a:off x="7221449" y="5672272"/>
              <a:ext cx="1630" cy="11328"/>
            </a:xfrm>
            <a:custGeom>
              <a:avLst/>
              <a:gdLst>
                <a:gd name="T0" fmla="*/ 0 w 1"/>
                <a:gd name="T1" fmla="*/ 0 h 31"/>
                <a:gd name="T2" fmla="*/ 0 w 1"/>
                <a:gd name="T3" fmla="*/ 0 h 31"/>
                <a:gd name="T4" fmla="*/ 0 w 1"/>
                <a:gd name="T5" fmla="*/ 0 h 31"/>
                <a:gd name="T6" fmla="*/ 0 w 1"/>
                <a:gd name="T7" fmla="*/ 0 h 31"/>
                <a:gd name="T8" fmla="*/ 0 w 1"/>
                <a:gd name="T9" fmla="*/ 30 h 31"/>
                <a:gd name="T10" fmla="*/ 0 w 1"/>
                <a:gd name="T11" fmla="*/ 30 h 31"/>
                <a:gd name="T12" fmla="*/ 0 w 1"/>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 h="31">
                  <a:moveTo>
                    <a:pt x="0" y="0"/>
                  </a:moveTo>
                  <a:lnTo>
                    <a:pt x="0" y="0"/>
                  </a:lnTo>
                  <a:lnTo>
                    <a:pt x="0" y="0"/>
                  </a:lnTo>
                  <a:lnTo>
                    <a:pt x="0" y="0"/>
                  </a:lnTo>
                  <a:cubicBezTo>
                    <a:pt x="0" y="30"/>
                    <a:pt x="0" y="30"/>
                    <a:pt x="0" y="30"/>
                  </a:cubicBez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4" name="Freeform 492">
              <a:extLst>
                <a:ext uri="{FF2B5EF4-FFF2-40B4-BE49-F238E27FC236}">
                  <a16:creationId xmlns:a16="http://schemas.microsoft.com/office/drawing/2014/main" id="{E85F105A-1675-4890-A8AD-A61604E4778A}"/>
                </a:ext>
              </a:extLst>
            </p:cNvPr>
            <p:cNvSpPr>
              <a:spLocks noChangeArrowheads="1"/>
            </p:cNvSpPr>
            <p:nvPr/>
          </p:nvSpPr>
          <p:spPr bwMode="auto">
            <a:xfrm>
              <a:off x="7156216" y="5609157"/>
              <a:ext cx="53817" cy="43695"/>
            </a:xfrm>
            <a:custGeom>
              <a:avLst/>
              <a:gdLst>
                <a:gd name="T0" fmla="*/ 145 w 146"/>
                <a:gd name="T1" fmla="*/ 117 h 118"/>
                <a:gd name="T2" fmla="*/ 145 w 146"/>
                <a:gd name="T3" fmla="*/ 117 h 118"/>
                <a:gd name="T4" fmla="*/ 116 w 146"/>
                <a:gd name="T5" fmla="*/ 88 h 118"/>
                <a:gd name="T6" fmla="*/ 0 w 146"/>
                <a:gd name="T7" fmla="*/ 0 h 118"/>
                <a:gd name="T8" fmla="*/ 116 w 146"/>
                <a:gd name="T9" fmla="*/ 88 h 118"/>
                <a:gd name="T10" fmla="*/ 145 w 146"/>
                <a:gd name="T11" fmla="*/ 117 h 118"/>
              </a:gdLst>
              <a:ahLst/>
              <a:cxnLst>
                <a:cxn ang="0">
                  <a:pos x="T0" y="T1"/>
                </a:cxn>
                <a:cxn ang="0">
                  <a:pos x="T2" y="T3"/>
                </a:cxn>
                <a:cxn ang="0">
                  <a:pos x="T4" y="T5"/>
                </a:cxn>
                <a:cxn ang="0">
                  <a:pos x="T6" y="T7"/>
                </a:cxn>
                <a:cxn ang="0">
                  <a:pos x="T8" y="T9"/>
                </a:cxn>
                <a:cxn ang="0">
                  <a:pos x="T10" y="T11"/>
                </a:cxn>
              </a:cxnLst>
              <a:rect l="0" t="0" r="r" b="b"/>
              <a:pathLst>
                <a:path w="146" h="118">
                  <a:moveTo>
                    <a:pt x="145" y="117"/>
                  </a:moveTo>
                  <a:lnTo>
                    <a:pt x="145" y="117"/>
                  </a:lnTo>
                  <a:cubicBezTo>
                    <a:pt x="145" y="117"/>
                    <a:pt x="116" y="117"/>
                    <a:pt x="116" y="88"/>
                  </a:cubicBezTo>
                  <a:cubicBezTo>
                    <a:pt x="58" y="88"/>
                    <a:pt x="29" y="58"/>
                    <a:pt x="0" y="0"/>
                  </a:cubicBezTo>
                  <a:cubicBezTo>
                    <a:pt x="29" y="58"/>
                    <a:pt x="58" y="88"/>
                    <a:pt x="116" y="88"/>
                  </a:cubicBezTo>
                  <a:cubicBezTo>
                    <a:pt x="116" y="117"/>
                    <a:pt x="145" y="117"/>
                    <a:pt x="145"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5" name="Freeform 493">
              <a:extLst>
                <a:ext uri="{FF2B5EF4-FFF2-40B4-BE49-F238E27FC236}">
                  <a16:creationId xmlns:a16="http://schemas.microsoft.com/office/drawing/2014/main" id="{79189D47-FCEE-4D46-B4A8-55DF1CEA51BC}"/>
                </a:ext>
              </a:extLst>
            </p:cNvPr>
            <p:cNvSpPr>
              <a:spLocks noChangeArrowheads="1"/>
            </p:cNvSpPr>
            <p:nvPr/>
          </p:nvSpPr>
          <p:spPr bwMode="auto">
            <a:xfrm>
              <a:off x="7846063" y="513822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6" name="Freeform 494">
              <a:extLst>
                <a:ext uri="{FF2B5EF4-FFF2-40B4-BE49-F238E27FC236}">
                  <a16:creationId xmlns:a16="http://schemas.microsoft.com/office/drawing/2014/main" id="{7DA6D278-530D-4D87-94AA-9BC8B8F46D83}"/>
                </a:ext>
              </a:extLst>
            </p:cNvPr>
            <p:cNvSpPr>
              <a:spLocks noChangeArrowheads="1"/>
            </p:cNvSpPr>
            <p:nvPr/>
          </p:nvSpPr>
          <p:spPr bwMode="auto">
            <a:xfrm>
              <a:off x="8752813" y="1713861"/>
              <a:ext cx="11416" cy="21038"/>
            </a:xfrm>
            <a:custGeom>
              <a:avLst/>
              <a:gdLst>
                <a:gd name="T0" fmla="*/ 0 w 30"/>
                <a:gd name="T1" fmla="*/ 0 h 59"/>
                <a:gd name="T2" fmla="*/ 0 w 30"/>
                <a:gd name="T3" fmla="*/ 0 h 59"/>
                <a:gd name="T4" fmla="*/ 29 w 30"/>
                <a:gd name="T5" fmla="*/ 58 h 59"/>
                <a:gd name="T6" fmla="*/ 0 w 30"/>
                <a:gd name="T7" fmla="*/ 0 h 59"/>
              </a:gdLst>
              <a:ahLst/>
              <a:cxnLst>
                <a:cxn ang="0">
                  <a:pos x="T0" y="T1"/>
                </a:cxn>
                <a:cxn ang="0">
                  <a:pos x="T2" y="T3"/>
                </a:cxn>
                <a:cxn ang="0">
                  <a:pos x="T4" y="T5"/>
                </a:cxn>
                <a:cxn ang="0">
                  <a:pos x="T6" y="T7"/>
                </a:cxn>
              </a:cxnLst>
              <a:rect l="0" t="0" r="r" b="b"/>
              <a:pathLst>
                <a:path w="30" h="59">
                  <a:moveTo>
                    <a:pt x="0" y="0"/>
                  </a:moveTo>
                  <a:lnTo>
                    <a:pt x="0" y="0"/>
                  </a:lnTo>
                  <a:cubicBezTo>
                    <a:pt x="29" y="0"/>
                    <a:pt x="29" y="29"/>
                    <a:pt x="29" y="58"/>
                  </a:cubicBezTo>
                  <a:cubicBezTo>
                    <a:pt x="29"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7" name="Freeform 495">
              <a:extLst>
                <a:ext uri="{FF2B5EF4-FFF2-40B4-BE49-F238E27FC236}">
                  <a16:creationId xmlns:a16="http://schemas.microsoft.com/office/drawing/2014/main" id="{FF5C90FB-CEE6-4E9A-82DA-F180EE612BF3}"/>
                </a:ext>
              </a:extLst>
            </p:cNvPr>
            <p:cNvSpPr>
              <a:spLocks noChangeArrowheads="1"/>
            </p:cNvSpPr>
            <p:nvPr/>
          </p:nvSpPr>
          <p:spPr bwMode="auto">
            <a:xfrm>
              <a:off x="7867264" y="1488914"/>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8" name="Freeform 496">
              <a:extLst>
                <a:ext uri="{FF2B5EF4-FFF2-40B4-BE49-F238E27FC236}">
                  <a16:creationId xmlns:a16="http://schemas.microsoft.com/office/drawing/2014/main" id="{078CA8A1-CDF0-43E2-9997-3556E8337003}"/>
                </a:ext>
              </a:extLst>
            </p:cNvPr>
            <p:cNvSpPr>
              <a:spLocks noChangeArrowheads="1"/>
            </p:cNvSpPr>
            <p:nvPr/>
          </p:nvSpPr>
          <p:spPr bwMode="auto">
            <a:xfrm>
              <a:off x="8526126" y="1820670"/>
              <a:ext cx="53817" cy="22656"/>
            </a:xfrm>
            <a:custGeom>
              <a:avLst/>
              <a:gdLst>
                <a:gd name="T0" fmla="*/ 0 w 147"/>
                <a:gd name="T1" fmla="*/ 59 h 60"/>
                <a:gd name="T2" fmla="*/ 0 w 147"/>
                <a:gd name="T3" fmla="*/ 59 h 60"/>
                <a:gd name="T4" fmla="*/ 30 w 147"/>
                <a:gd name="T5" fmla="*/ 30 h 60"/>
                <a:gd name="T6" fmla="*/ 117 w 147"/>
                <a:gd name="T7" fmla="*/ 0 h 60"/>
                <a:gd name="T8" fmla="*/ 146 w 147"/>
                <a:gd name="T9" fmla="*/ 0 h 60"/>
                <a:gd name="T10" fmla="*/ 117 w 147"/>
                <a:gd name="T11" fmla="*/ 0 h 60"/>
                <a:gd name="T12" fmla="*/ 30 w 147"/>
                <a:gd name="T13" fmla="*/ 30 h 60"/>
                <a:gd name="T14" fmla="*/ 0 w 147"/>
                <a:gd name="T15" fmla="*/ 5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60">
                  <a:moveTo>
                    <a:pt x="0" y="59"/>
                  </a:moveTo>
                  <a:lnTo>
                    <a:pt x="0" y="59"/>
                  </a:lnTo>
                  <a:cubicBezTo>
                    <a:pt x="0" y="30"/>
                    <a:pt x="0" y="30"/>
                    <a:pt x="30" y="30"/>
                  </a:cubicBezTo>
                  <a:cubicBezTo>
                    <a:pt x="59" y="0"/>
                    <a:pt x="88" y="0"/>
                    <a:pt x="117" y="0"/>
                  </a:cubicBezTo>
                  <a:lnTo>
                    <a:pt x="146" y="0"/>
                  </a:lnTo>
                  <a:lnTo>
                    <a:pt x="117" y="0"/>
                  </a:lnTo>
                  <a:cubicBezTo>
                    <a:pt x="88" y="0"/>
                    <a:pt x="59" y="0"/>
                    <a:pt x="30" y="30"/>
                  </a:cubicBezTo>
                  <a:cubicBezTo>
                    <a:pt x="0" y="30"/>
                    <a:pt x="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19" name="Freeform 497">
              <a:extLst>
                <a:ext uri="{FF2B5EF4-FFF2-40B4-BE49-F238E27FC236}">
                  <a16:creationId xmlns:a16="http://schemas.microsoft.com/office/drawing/2014/main" id="{04B8BE98-EB00-425B-B598-AF9417EC6146}"/>
                </a:ext>
              </a:extLst>
            </p:cNvPr>
            <p:cNvSpPr>
              <a:spLocks noChangeArrowheads="1"/>
            </p:cNvSpPr>
            <p:nvPr/>
          </p:nvSpPr>
          <p:spPr bwMode="auto">
            <a:xfrm>
              <a:off x="8610930" y="1723571"/>
              <a:ext cx="65234" cy="64733"/>
            </a:xfrm>
            <a:custGeom>
              <a:avLst/>
              <a:gdLst>
                <a:gd name="T0" fmla="*/ 0 w 177"/>
                <a:gd name="T1" fmla="*/ 117 h 176"/>
                <a:gd name="T2" fmla="*/ 0 w 177"/>
                <a:gd name="T3" fmla="*/ 117 h 176"/>
                <a:gd name="T4" fmla="*/ 0 w 177"/>
                <a:gd name="T5" fmla="*/ 117 h 176"/>
                <a:gd name="T6" fmla="*/ 30 w 177"/>
                <a:gd name="T7" fmla="*/ 117 h 176"/>
                <a:gd name="T8" fmla="*/ 176 w 177"/>
                <a:gd name="T9" fmla="*/ 0 h 176"/>
                <a:gd name="T10" fmla="*/ 176 w 177"/>
                <a:gd name="T11" fmla="*/ 0 h 176"/>
                <a:gd name="T12" fmla="*/ 176 w 177"/>
                <a:gd name="T13" fmla="*/ 0 h 176"/>
                <a:gd name="T14" fmla="*/ 176 w 177"/>
                <a:gd name="T15" fmla="*/ 0 h 176"/>
                <a:gd name="T16" fmla="*/ 30 w 177"/>
                <a:gd name="T17" fmla="*/ 117 h 176"/>
                <a:gd name="T18" fmla="*/ 0 w 177"/>
                <a:gd name="T19" fmla="*/ 117 h 176"/>
                <a:gd name="T20" fmla="*/ 0 w 177"/>
                <a:gd name="T21" fmla="*/ 117 h 176"/>
                <a:gd name="T22" fmla="*/ 0 w 177"/>
                <a:gd name="T23" fmla="*/ 175 h 176"/>
                <a:gd name="T24" fmla="*/ 0 w 177"/>
                <a:gd name="T25" fmla="*/ 1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6">
                  <a:moveTo>
                    <a:pt x="0" y="117"/>
                  </a:moveTo>
                  <a:lnTo>
                    <a:pt x="0" y="117"/>
                  </a:lnTo>
                  <a:lnTo>
                    <a:pt x="0" y="117"/>
                  </a:lnTo>
                  <a:cubicBezTo>
                    <a:pt x="30" y="117"/>
                    <a:pt x="30" y="117"/>
                    <a:pt x="30" y="117"/>
                  </a:cubicBezTo>
                  <a:cubicBezTo>
                    <a:pt x="88" y="88"/>
                    <a:pt x="147" y="59"/>
                    <a:pt x="176" y="0"/>
                  </a:cubicBezTo>
                  <a:lnTo>
                    <a:pt x="176" y="0"/>
                  </a:lnTo>
                  <a:lnTo>
                    <a:pt x="176" y="0"/>
                  </a:lnTo>
                  <a:lnTo>
                    <a:pt x="176" y="0"/>
                  </a:lnTo>
                  <a:cubicBezTo>
                    <a:pt x="147" y="59"/>
                    <a:pt x="88" y="88"/>
                    <a:pt x="30" y="117"/>
                  </a:cubicBezTo>
                  <a:cubicBezTo>
                    <a:pt x="0" y="117"/>
                    <a:pt x="0" y="117"/>
                    <a:pt x="0" y="117"/>
                  </a:cubicBezTo>
                  <a:lnTo>
                    <a:pt x="0" y="117"/>
                  </a:lnTo>
                  <a:cubicBezTo>
                    <a:pt x="0" y="146"/>
                    <a:pt x="0" y="146"/>
                    <a:pt x="0" y="175"/>
                  </a:cubicBezTo>
                  <a:cubicBezTo>
                    <a:pt x="0" y="146"/>
                    <a:pt x="0" y="146"/>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0" name="Freeform 498">
              <a:extLst>
                <a:ext uri="{FF2B5EF4-FFF2-40B4-BE49-F238E27FC236}">
                  <a16:creationId xmlns:a16="http://schemas.microsoft.com/office/drawing/2014/main" id="{1A90C08E-B858-4BFC-AC09-547442C521FE}"/>
                </a:ext>
              </a:extLst>
            </p:cNvPr>
            <p:cNvSpPr>
              <a:spLocks noChangeArrowheads="1"/>
            </p:cNvSpPr>
            <p:nvPr/>
          </p:nvSpPr>
          <p:spPr bwMode="auto">
            <a:xfrm>
              <a:off x="8222789" y="1595723"/>
              <a:ext cx="55449" cy="32366"/>
            </a:xfrm>
            <a:custGeom>
              <a:avLst/>
              <a:gdLst>
                <a:gd name="T0" fmla="*/ 147 w 148"/>
                <a:gd name="T1" fmla="*/ 88 h 89"/>
                <a:gd name="T2" fmla="*/ 147 w 148"/>
                <a:gd name="T3" fmla="*/ 88 h 89"/>
                <a:gd name="T4" fmla="*/ 88 w 148"/>
                <a:gd name="T5" fmla="*/ 59 h 89"/>
                <a:gd name="T6" fmla="*/ 0 w 148"/>
                <a:gd name="T7" fmla="*/ 0 h 89"/>
                <a:gd name="T8" fmla="*/ 88 w 148"/>
                <a:gd name="T9" fmla="*/ 59 h 89"/>
                <a:gd name="T10" fmla="*/ 147 w 148"/>
                <a:gd name="T11" fmla="*/ 88 h 89"/>
              </a:gdLst>
              <a:ahLst/>
              <a:cxnLst>
                <a:cxn ang="0">
                  <a:pos x="T0" y="T1"/>
                </a:cxn>
                <a:cxn ang="0">
                  <a:pos x="T2" y="T3"/>
                </a:cxn>
                <a:cxn ang="0">
                  <a:pos x="T4" y="T5"/>
                </a:cxn>
                <a:cxn ang="0">
                  <a:pos x="T6" y="T7"/>
                </a:cxn>
                <a:cxn ang="0">
                  <a:pos x="T8" y="T9"/>
                </a:cxn>
                <a:cxn ang="0">
                  <a:pos x="T10" y="T11"/>
                </a:cxn>
              </a:cxnLst>
              <a:rect l="0" t="0" r="r" b="b"/>
              <a:pathLst>
                <a:path w="148" h="89">
                  <a:moveTo>
                    <a:pt x="147" y="88"/>
                  </a:moveTo>
                  <a:lnTo>
                    <a:pt x="147" y="88"/>
                  </a:lnTo>
                  <a:cubicBezTo>
                    <a:pt x="117" y="88"/>
                    <a:pt x="88" y="59"/>
                    <a:pt x="88" y="59"/>
                  </a:cubicBezTo>
                  <a:cubicBezTo>
                    <a:pt x="59" y="29"/>
                    <a:pt x="30" y="0"/>
                    <a:pt x="0" y="0"/>
                  </a:cubicBezTo>
                  <a:cubicBezTo>
                    <a:pt x="30" y="0"/>
                    <a:pt x="59" y="29"/>
                    <a:pt x="88" y="59"/>
                  </a:cubicBezTo>
                  <a:cubicBezTo>
                    <a:pt x="88" y="59"/>
                    <a:pt x="117" y="88"/>
                    <a:pt x="147"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1" name="Freeform 499">
              <a:extLst>
                <a:ext uri="{FF2B5EF4-FFF2-40B4-BE49-F238E27FC236}">
                  <a16:creationId xmlns:a16="http://schemas.microsoft.com/office/drawing/2014/main" id="{D275F8BD-7F30-4712-8AD8-3192007C8A47}"/>
                </a:ext>
              </a:extLst>
            </p:cNvPr>
            <p:cNvSpPr>
              <a:spLocks noChangeArrowheads="1"/>
            </p:cNvSpPr>
            <p:nvPr/>
          </p:nvSpPr>
          <p:spPr bwMode="auto">
            <a:xfrm>
              <a:off x="8720196" y="1702532"/>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2" name="Freeform 500">
              <a:extLst>
                <a:ext uri="{FF2B5EF4-FFF2-40B4-BE49-F238E27FC236}">
                  <a16:creationId xmlns:a16="http://schemas.microsoft.com/office/drawing/2014/main" id="{4F303105-FD22-465C-96A8-215C46D0D49D}"/>
                </a:ext>
              </a:extLst>
            </p:cNvPr>
            <p:cNvSpPr>
              <a:spLocks noChangeArrowheads="1"/>
            </p:cNvSpPr>
            <p:nvPr/>
          </p:nvSpPr>
          <p:spPr bwMode="auto">
            <a:xfrm>
              <a:off x="8288022" y="1616762"/>
              <a:ext cx="107636" cy="11328"/>
            </a:xfrm>
            <a:custGeom>
              <a:avLst/>
              <a:gdLst>
                <a:gd name="T0" fmla="*/ 0 w 292"/>
                <a:gd name="T1" fmla="*/ 0 h 30"/>
                <a:gd name="T2" fmla="*/ 0 w 292"/>
                <a:gd name="T3" fmla="*/ 0 h 30"/>
                <a:gd name="T4" fmla="*/ 116 w 292"/>
                <a:gd name="T5" fmla="*/ 29 h 30"/>
                <a:gd name="T6" fmla="*/ 291 w 292"/>
                <a:gd name="T7" fmla="*/ 0 h 30"/>
                <a:gd name="T8" fmla="*/ 116 w 292"/>
                <a:gd name="T9" fmla="*/ 29 h 30"/>
                <a:gd name="T10" fmla="*/ 0 w 292"/>
                <a:gd name="T11" fmla="*/ 0 h 30"/>
              </a:gdLst>
              <a:ahLst/>
              <a:cxnLst>
                <a:cxn ang="0">
                  <a:pos x="T0" y="T1"/>
                </a:cxn>
                <a:cxn ang="0">
                  <a:pos x="T2" y="T3"/>
                </a:cxn>
                <a:cxn ang="0">
                  <a:pos x="T4" y="T5"/>
                </a:cxn>
                <a:cxn ang="0">
                  <a:pos x="T6" y="T7"/>
                </a:cxn>
                <a:cxn ang="0">
                  <a:pos x="T8" y="T9"/>
                </a:cxn>
                <a:cxn ang="0">
                  <a:pos x="T10" y="T11"/>
                </a:cxn>
              </a:cxnLst>
              <a:rect l="0" t="0" r="r" b="b"/>
              <a:pathLst>
                <a:path w="292" h="30">
                  <a:moveTo>
                    <a:pt x="0" y="0"/>
                  </a:moveTo>
                  <a:lnTo>
                    <a:pt x="0" y="0"/>
                  </a:lnTo>
                  <a:cubicBezTo>
                    <a:pt x="29" y="29"/>
                    <a:pt x="58" y="29"/>
                    <a:pt x="116" y="29"/>
                  </a:cubicBezTo>
                  <a:cubicBezTo>
                    <a:pt x="174" y="29"/>
                    <a:pt x="233" y="0"/>
                    <a:pt x="291" y="0"/>
                  </a:cubicBezTo>
                  <a:cubicBezTo>
                    <a:pt x="233" y="0"/>
                    <a:pt x="174" y="29"/>
                    <a:pt x="116" y="29"/>
                  </a:cubicBezTo>
                  <a:cubicBezTo>
                    <a:pt x="58" y="29"/>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3" name="Freeform 501">
              <a:extLst>
                <a:ext uri="{FF2B5EF4-FFF2-40B4-BE49-F238E27FC236}">
                  <a16:creationId xmlns:a16="http://schemas.microsoft.com/office/drawing/2014/main" id="{1681A66D-E10D-494A-9607-61CCC4FD0F37}"/>
                </a:ext>
              </a:extLst>
            </p:cNvPr>
            <p:cNvSpPr>
              <a:spLocks noChangeArrowheads="1"/>
            </p:cNvSpPr>
            <p:nvPr/>
          </p:nvSpPr>
          <p:spPr bwMode="auto">
            <a:xfrm>
              <a:off x="8159185" y="1595723"/>
              <a:ext cx="11416" cy="1619"/>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4" name="Freeform 502">
              <a:extLst>
                <a:ext uri="{FF2B5EF4-FFF2-40B4-BE49-F238E27FC236}">
                  <a16:creationId xmlns:a16="http://schemas.microsoft.com/office/drawing/2014/main" id="{E5752D1F-794C-4D8B-A0CC-C65CFA34D4FF}"/>
                </a:ext>
              </a:extLst>
            </p:cNvPr>
            <p:cNvSpPr>
              <a:spLocks noChangeArrowheads="1"/>
            </p:cNvSpPr>
            <p:nvPr/>
          </p:nvSpPr>
          <p:spPr bwMode="auto">
            <a:xfrm>
              <a:off x="7997732" y="1542319"/>
              <a:ext cx="21200" cy="1618"/>
            </a:xfrm>
            <a:custGeom>
              <a:avLst/>
              <a:gdLst>
                <a:gd name="T0" fmla="*/ 0 w 59"/>
                <a:gd name="T1" fmla="*/ 0 h 1"/>
                <a:gd name="T2" fmla="*/ 0 w 59"/>
                <a:gd name="T3" fmla="*/ 0 h 1"/>
                <a:gd name="T4" fmla="*/ 58 w 59"/>
                <a:gd name="T5" fmla="*/ 0 h 1"/>
                <a:gd name="T6" fmla="*/ 0 w 59"/>
                <a:gd name="T7" fmla="*/ 0 h 1"/>
              </a:gdLst>
              <a:ahLst/>
              <a:cxnLst>
                <a:cxn ang="0">
                  <a:pos x="T0" y="T1"/>
                </a:cxn>
                <a:cxn ang="0">
                  <a:pos x="T2" y="T3"/>
                </a:cxn>
                <a:cxn ang="0">
                  <a:pos x="T4" y="T5"/>
                </a:cxn>
                <a:cxn ang="0">
                  <a:pos x="T6" y="T7"/>
                </a:cxn>
              </a:cxnLst>
              <a:rect l="0" t="0" r="r" b="b"/>
              <a:pathLst>
                <a:path w="59" h="1">
                  <a:moveTo>
                    <a:pt x="0" y="0"/>
                  </a:moveTo>
                  <a:lnTo>
                    <a:pt x="0" y="0"/>
                  </a:lnTo>
                  <a:cubicBezTo>
                    <a:pt x="28" y="0"/>
                    <a:pt x="28" y="0"/>
                    <a:pt x="58" y="0"/>
                  </a:cubicBezTo>
                  <a:cubicBezTo>
                    <a:pt x="28" y="0"/>
                    <a:pt x="28"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5" name="Freeform 503">
              <a:extLst>
                <a:ext uri="{FF2B5EF4-FFF2-40B4-BE49-F238E27FC236}">
                  <a16:creationId xmlns:a16="http://schemas.microsoft.com/office/drawing/2014/main" id="{D0B85FE0-0C4C-457C-88CB-FDE1FC3439F1}"/>
                </a:ext>
              </a:extLst>
            </p:cNvPr>
            <p:cNvSpPr>
              <a:spLocks noChangeArrowheads="1"/>
            </p:cNvSpPr>
            <p:nvPr/>
          </p:nvSpPr>
          <p:spPr bwMode="auto">
            <a:xfrm>
              <a:off x="8201587" y="1595723"/>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6" name="Freeform 504">
              <a:extLst>
                <a:ext uri="{FF2B5EF4-FFF2-40B4-BE49-F238E27FC236}">
                  <a16:creationId xmlns:a16="http://schemas.microsoft.com/office/drawing/2014/main" id="{AE8171E8-5DD9-4033-AAAA-F0959AD5DEA0}"/>
                </a:ext>
              </a:extLst>
            </p:cNvPr>
            <p:cNvSpPr>
              <a:spLocks noChangeArrowheads="1"/>
            </p:cNvSpPr>
            <p:nvPr/>
          </p:nvSpPr>
          <p:spPr bwMode="auto">
            <a:xfrm>
              <a:off x="7922713" y="1519663"/>
              <a:ext cx="32617" cy="1618"/>
            </a:xfrm>
            <a:custGeom>
              <a:avLst/>
              <a:gdLst>
                <a:gd name="T0" fmla="*/ 58 w 88"/>
                <a:gd name="T1" fmla="*/ 0 h 1"/>
                <a:gd name="T2" fmla="*/ 58 w 88"/>
                <a:gd name="T3" fmla="*/ 0 h 1"/>
                <a:gd name="T4" fmla="*/ 87 w 88"/>
                <a:gd name="T5" fmla="*/ 0 h 1"/>
                <a:gd name="T6" fmla="*/ 58 w 88"/>
                <a:gd name="T7" fmla="*/ 0 h 1"/>
                <a:gd name="T8" fmla="*/ 0 w 88"/>
                <a:gd name="T9" fmla="*/ 0 h 1"/>
                <a:gd name="T10" fmla="*/ 58 w 88"/>
                <a:gd name="T11" fmla="*/ 0 h 1"/>
              </a:gdLst>
              <a:ahLst/>
              <a:cxnLst>
                <a:cxn ang="0">
                  <a:pos x="T0" y="T1"/>
                </a:cxn>
                <a:cxn ang="0">
                  <a:pos x="T2" y="T3"/>
                </a:cxn>
                <a:cxn ang="0">
                  <a:pos x="T4" y="T5"/>
                </a:cxn>
                <a:cxn ang="0">
                  <a:pos x="T6" y="T7"/>
                </a:cxn>
                <a:cxn ang="0">
                  <a:pos x="T8" y="T9"/>
                </a:cxn>
                <a:cxn ang="0">
                  <a:pos x="T10" y="T11"/>
                </a:cxn>
              </a:cxnLst>
              <a:rect l="0" t="0" r="r" b="b"/>
              <a:pathLst>
                <a:path w="88" h="1">
                  <a:moveTo>
                    <a:pt x="58" y="0"/>
                  </a:moveTo>
                  <a:lnTo>
                    <a:pt x="58" y="0"/>
                  </a:lnTo>
                  <a:lnTo>
                    <a:pt x="87" y="0"/>
                  </a:lnTo>
                  <a:lnTo>
                    <a:pt x="58" y="0"/>
                  </a:lnTo>
                  <a:cubicBezTo>
                    <a:pt x="30" y="0"/>
                    <a:pt x="30" y="0"/>
                    <a:pt x="0" y="0"/>
                  </a:cubicBezTo>
                  <a:cubicBezTo>
                    <a:pt x="30" y="0"/>
                    <a:pt x="30"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7" name="Freeform 505">
              <a:extLst>
                <a:ext uri="{FF2B5EF4-FFF2-40B4-BE49-F238E27FC236}">
                  <a16:creationId xmlns:a16="http://schemas.microsoft.com/office/drawing/2014/main" id="{F2F73B59-5385-40A0-99BA-4A32C353BD2C}"/>
                </a:ext>
              </a:extLst>
            </p:cNvPr>
            <p:cNvSpPr>
              <a:spLocks noChangeArrowheads="1"/>
            </p:cNvSpPr>
            <p:nvPr/>
          </p:nvSpPr>
          <p:spPr bwMode="auto">
            <a:xfrm>
              <a:off x="8191802" y="1605433"/>
              <a:ext cx="1631" cy="11329"/>
            </a:xfrm>
            <a:custGeom>
              <a:avLst/>
              <a:gdLst>
                <a:gd name="T0" fmla="*/ 0 w 1"/>
                <a:gd name="T1" fmla="*/ 30 h 31"/>
                <a:gd name="T2" fmla="*/ 0 w 1"/>
                <a:gd name="T3" fmla="*/ 30 h 31"/>
                <a:gd name="T4" fmla="*/ 0 w 1"/>
                <a:gd name="T5" fmla="*/ 0 h 31"/>
                <a:gd name="T6" fmla="*/ 0 w 1"/>
                <a:gd name="T7" fmla="*/ 30 h 31"/>
                <a:gd name="T8" fmla="*/ 0 w 1"/>
                <a:gd name="T9" fmla="*/ 0 h 31"/>
                <a:gd name="T10" fmla="*/ 0 w 1"/>
                <a:gd name="T11" fmla="*/ 30 h 31"/>
              </a:gdLst>
              <a:ahLst/>
              <a:cxnLst>
                <a:cxn ang="0">
                  <a:pos x="T0" y="T1"/>
                </a:cxn>
                <a:cxn ang="0">
                  <a:pos x="T2" y="T3"/>
                </a:cxn>
                <a:cxn ang="0">
                  <a:pos x="T4" y="T5"/>
                </a:cxn>
                <a:cxn ang="0">
                  <a:pos x="T6" y="T7"/>
                </a:cxn>
                <a:cxn ang="0">
                  <a:pos x="T8" y="T9"/>
                </a:cxn>
                <a:cxn ang="0">
                  <a:pos x="T10" y="T11"/>
                </a:cxn>
              </a:cxnLst>
              <a:rect l="0" t="0" r="r" b="b"/>
              <a:pathLst>
                <a:path w="1" h="31">
                  <a:moveTo>
                    <a:pt x="0" y="30"/>
                  </a:moveTo>
                  <a:lnTo>
                    <a:pt x="0" y="30"/>
                  </a:lnTo>
                  <a:cubicBezTo>
                    <a:pt x="0" y="0"/>
                    <a:pt x="0" y="0"/>
                    <a:pt x="0" y="0"/>
                  </a:cubicBezTo>
                  <a:cubicBezTo>
                    <a:pt x="0" y="0"/>
                    <a:pt x="0" y="0"/>
                    <a:pt x="0" y="30"/>
                  </a:cubicBezTo>
                  <a:cubicBezTo>
                    <a:pt x="0" y="0"/>
                    <a:pt x="0" y="0"/>
                    <a:pt x="0" y="0"/>
                  </a:cubicBezTo>
                  <a:cubicBezTo>
                    <a:pt x="0" y="0"/>
                    <a:pt x="0" y="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8" name="Freeform 506">
              <a:extLst>
                <a:ext uri="{FF2B5EF4-FFF2-40B4-BE49-F238E27FC236}">
                  <a16:creationId xmlns:a16="http://schemas.microsoft.com/office/drawing/2014/main" id="{CE4E771D-97AE-49A4-AD2E-210DE8C33DDC}"/>
                </a:ext>
              </a:extLst>
            </p:cNvPr>
            <p:cNvSpPr>
              <a:spLocks noChangeArrowheads="1"/>
            </p:cNvSpPr>
            <p:nvPr/>
          </p:nvSpPr>
          <p:spPr bwMode="auto">
            <a:xfrm>
              <a:off x="8180387" y="1595723"/>
              <a:ext cx="11415" cy="11329"/>
            </a:xfrm>
            <a:custGeom>
              <a:avLst/>
              <a:gdLst>
                <a:gd name="T0" fmla="*/ 29 w 30"/>
                <a:gd name="T1" fmla="*/ 29 h 30"/>
                <a:gd name="T2" fmla="*/ 29 w 30"/>
                <a:gd name="T3" fmla="*/ 29 h 30"/>
                <a:gd name="T4" fmla="*/ 0 w 30"/>
                <a:gd name="T5" fmla="*/ 29 h 30"/>
                <a:gd name="T6" fmla="*/ 0 w 30"/>
                <a:gd name="T7" fmla="*/ 0 h 30"/>
                <a:gd name="T8" fmla="*/ 0 w 30"/>
                <a:gd name="T9" fmla="*/ 29 h 30"/>
                <a:gd name="T10" fmla="*/ 29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29" y="29"/>
                  </a:moveTo>
                  <a:lnTo>
                    <a:pt x="29" y="29"/>
                  </a:lnTo>
                  <a:cubicBezTo>
                    <a:pt x="0" y="29"/>
                    <a:pt x="0" y="29"/>
                    <a:pt x="0" y="29"/>
                  </a:cubicBezTo>
                  <a:lnTo>
                    <a:pt x="0" y="0"/>
                  </a:lnTo>
                  <a:lnTo>
                    <a:pt x="0" y="29"/>
                  </a:lnTo>
                  <a:cubicBezTo>
                    <a:pt x="0" y="29"/>
                    <a:pt x="0"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29" name="Freeform 507">
              <a:extLst>
                <a:ext uri="{FF2B5EF4-FFF2-40B4-BE49-F238E27FC236}">
                  <a16:creationId xmlns:a16="http://schemas.microsoft.com/office/drawing/2014/main" id="{3DE4367C-B632-44B3-9789-953AED835432}"/>
                </a:ext>
              </a:extLst>
            </p:cNvPr>
            <p:cNvSpPr>
              <a:spLocks noChangeArrowheads="1"/>
            </p:cNvSpPr>
            <p:nvPr/>
          </p:nvSpPr>
          <p:spPr bwMode="auto">
            <a:xfrm>
              <a:off x="8288022" y="161676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0" name="Freeform 508">
              <a:extLst>
                <a:ext uri="{FF2B5EF4-FFF2-40B4-BE49-F238E27FC236}">
                  <a16:creationId xmlns:a16="http://schemas.microsoft.com/office/drawing/2014/main" id="{D2C64267-F09E-42C9-8CC8-1C8461C091FD}"/>
                </a:ext>
              </a:extLst>
            </p:cNvPr>
            <p:cNvSpPr>
              <a:spLocks noChangeArrowheads="1"/>
            </p:cNvSpPr>
            <p:nvPr/>
          </p:nvSpPr>
          <p:spPr bwMode="auto">
            <a:xfrm>
              <a:off x="8795215" y="1862746"/>
              <a:ext cx="11416" cy="11328"/>
            </a:xfrm>
            <a:custGeom>
              <a:avLst/>
              <a:gdLst>
                <a:gd name="T0" fmla="*/ 29 w 30"/>
                <a:gd name="T1" fmla="*/ 30 h 31"/>
                <a:gd name="T2" fmla="*/ 29 w 30"/>
                <a:gd name="T3" fmla="*/ 30 h 31"/>
                <a:gd name="T4" fmla="*/ 0 w 30"/>
                <a:gd name="T5" fmla="*/ 0 h 31"/>
                <a:gd name="T6" fmla="*/ 29 w 30"/>
                <a:gd name="T7" fmla="*/ 30 h 31"/>
              </a:gdLst>
              <a:ahLst/>
              <a:cxnLst>
                <a:cxn ang="0">
                  <a:pos x="T0" y="T1"/>
                </a:cxn>
                <a:cxn ang="0">
                  <a:pos x="T2" y="T3"/>
                </a:cxn>
                <a:cxn ang="0">
                  <a:pos x="T4" y="T5"/>
                </a:cxn>
                <a:cxn ang="0">
                  <a:pos x="T6" y="T7"/>
                </a:cxn>
              </a:cxnLst>
              <a:rect l="0" t="0" r="r" b="b"/>
              <a:pathLst>
                <a:path w="30" h="31">
                  <a:moveTo>
                    <a:pt x="29" y="30"/>
                  </a:moveTo>
                  <a:lnTo>
                    <a:pt x="29" y="30"/>
                  </a:lnTo>
                  <a:cubicBezTo>
                    <a:pt x="29" y="30"/>
                    <a:pt x="29" y="0"/>
                    <a:pt x="0" y="0"/>
                  </a:cubicBezTo>
                  <a:cubicBezTo>
                    <a:pt x="29" y="0"/>
                    <a:pt x="29" y="3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1" name="Freeform 509">
              <a:extLst>
                <a:ext uri="{FF2B5EF4-FFF2-40B4-BE49-F238E27FC236}">
                  <a16:creationId xmlns:a16="http://schemas.microsoft.com/office/drawing/2014/main" id="{4226D7F7-F4F2-4548-B2F4-E9D3CD92D83F}"/>
                </a:ext>
              </a:extLst>
            </p:cNvPr>
            <p:cNvSpPr>
              <a:spLocks noChangeArrowheads="1"/>
            </p:cNvSpPr>
            <p:nvPr/>
          </p:nvSpPr>
          <p:spPr bwMode="auto">
            <a:xfrm>
              <a:off x="8946884" y="1841708"/>
              <a:ext cx="21200" cy="21039"/>
            </a:xfrm>
            <a:custGeom>
              <a:avLst/>
              <a:gdLst>
                <a:gd name="T0" fmla="*/ 58 w 59"/>
                <a:gd name="T1" fmla="*/ 0 h 59"/>
                <a:gd name="T2" fmla="*/ 58 w 59"/>
                <a:gd name="T3" fmla="*/ 0 h 59"/>
                <a:gd name="T4" fmla="*/ 0 w 59"/>
                <a:gd name="T5" fmla="*/ 58 h 59"/>
                <a:gd name="T6" fmla="*/ 58 w 59"/>
                <a:gd name="T7" fmla="*/ 0 h 59"/>
              </a:gdLst>
              <a:ahLst/>
              <a:cxnLst>
                <a:cxn ang="0">
                  <a:pos x="T0" y="T1"/>
                </a:cxn>
                <a:cxn ang="0">
                  <a:pos x="T2" y="T3"/>
                </a:cxn>
                <a:cxn ang="0">
                  <a:pos x="T4" y="T5"/>
                </a:cxn>
                <a:cxn ang="0">
                  <a:pos x="T6" y="T7"/>
                </a:cxn>
              </a:cxnLst>
              <a:rect l="0" t="0" r="r" b="b"/>
              <a:pathLst>
                <a:path w="59" h="59">
                  <a:moveTo>
                    <a:pt x="58" y="0"/>
                  </a:moveTo>
                  <a:lnTo>
                    <a:pt x="58" y="0"/>
                  </a:lnTo>
                  <a:cubicBezTo>
                    <a:pt x="28" y="29"/>
                    <a:pt x="28" y="29"/>
                    <a:pt x="0" y="58"/>
                  </a:cubicBezTo>
                  <a:cubicBezTo>
                    <a:pt x="28" y="29"/>
                    <a:pt x="2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2" name="Freeform 510">
              <a:extLst>
                <a:ext uri="{FF2B5EF4-FFF2-40B4-BE49-F238E27FC236}">
                  <a16:creationId xmlns:a16="http://schemas.microsoft.com/office/drawing/2014/main" id="{CF11CBD5-B957-4C4D-8104-82FFD7B6F6F7}"/>
                </a:ext>
              </a:extLst>
            </p:cNvPr>
            <p:cNvSpPr>
              <a:spLocks noChangeArrowheads="1"/>
            </p:cNvSpPr>
            <p:nvPr/>
          </p:nvSpPr>
          <p:spPr bwMode="auto">
            <a:xfrm>
              <a:off x="9118122" y="1841708"/>
              <a:ext cx="22832" cy="21039"/>
            </a:xfrm>
            <a:custGeom>
              <a:avLst/>
              <a:gdLst>
                <a:gd name="T0" fmla="*/ 0 w 60"/>
                <a:gd name="T1" fmla="*/ 0 h 59"/>
                <a:gd name="T2" fmla="*/ 0 w 60"/>
                <a:gd name="T3" fmla="*/ 0 h 59"/>
                <a:gd name="T4" fmla="*/ 59 w 60"/>
                <a:gd name="T5" fmla="*/ 58 h 59"/>
                <a:gd name="T6" fmla="*/ 0 w 60"/>
                <a:gd name="T7" fmla="*/ 0 h 59"/>
              </a:gdLst>
              <a:ahLst/>
              <a:cxnLst>
                <a:cxn ang="0">
                  <a:pos x="T0" y="T1"/>
                </a:cxn>
                <a:cxn ang="0">
                  <a:pos x="T2" y="T3"/>
                </a:cxn>
                <a:cxn ang="0">
                  <a:pos x="T4" y="T5"/>
                </a:cxn>
                <a:cxn ang="0">
                  <a:pos x="T6" y="T7"/>
                </a:cxn>
              </a:cxnLst>
              <a:rect l="0" t="0" r="r" b="b"/>
              <a:pathLst>
                <a:path w="60" h="59">
                  <a:moveTo>
                    <a:pt x="0" y="0"/>
                  </a:moveTo>
                  <a:lnTo>
                    <a:pt x="0" y="0"/>
                  </a:lnTo>
                  <a:cubicBezTo>
                    <a:pt x="29" y="29"/>
                    <a:pt x="29" y="58"/>
                    <a:pt x="59" y="58"/>
                  </a:cubicBezTo>
                  <a:cubicBezTo>
                    <a:pt x="29" y="58"/>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3" name="Freeform 511">
              <a:extLst>
                <a:ext uri="{FF2B5EF4-FFF2-40B4-BE49-F238E27FC236}">
                  <a16:creationId xmlns:a16="http://schemas.microsoft.com/office/drawing/2014/main" id="{9E869F04-0C3B-430F-A183-00A880ED0F70}"/>
                </a:ext>
              </a:extLst>
            </p:cNvPr>
            <p:cNvSpPr>
              <a:spLocks noChangeArrowheads="1"/>
            </p:cNvSpPr>
            <p:nvPr/>
          </p:nvSpPr>
          <p:spPr bwMode="auto">
            <a:xfrm>
              <a:off x="9335025" y="191615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4" name="Freeform 512">
              <a:extLst>
                <a:ext uri="{FF2B5EF4-FFF2-40B4-BE49-F238E27FC236}">
                  <a16:creationId xmlns:a16="http://schemas.microsoft.com/office/drawing/2014/main" id="{BD2AD029-0398-4DE4-B42C-FB679BFD363E}"/>
                </a:ext>
              </a:extLst>
            </p:cNvPr>
            <p:cNvSpPr>
              <a:spLocks noChangeArrowheads="1"/>
            </p:cNvSpPr>
            <p:nvPr/>
          </p:nvSpPr>
          <p:spPr bwMode="auto">
            <a:xfrm>
              <a:off x="9344810" y="1927479"/>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5" name="Freeform 513">
              <a:extLst>
                <a:ext uri="{FF2B5EF4-FFF2-40B4-BE49-F238E27FC236}">
                  <a16:creationId xmlns:a16="http://schemas.microsoft.com/office/drawing/2014/main" id="{C4EB44F1-87A5-49EC-A233-B8C0EBDD8C7E}"/>
                </a:ext>
              </a:extLst>
            </p:cNvPr>
            <p:cNvSpPr>
              <a:spLocks noChangeArrowheads="1"/>
            </p:cNvSpPr>
            <p:nvPr/>
          </p:nvSpPr>
          <p:spPr bwMode="auto">
            <a:xfrm>
              <a:off x="9335025" y="191615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6" name="Freeform 514">
              <a:extLst>
                <a:ext uri="{FF2B5EF4-FFF2-40B4-BE49-F238E27FC236}">
                  <a16:creationId xmlns:a16="http://schemas.microsoft.com/office/drawing/2014/main" id="{CF1C52AF-8652-4086-8E6C-9EC53F31AA02}"/>
                </a:ext>
              </a:extLst>
            </p:cNvPr>
            <p:cNvSpPr>
              <a:spLocks noChangeArrowheads="1"/>
            </p:cNvSpPr>
            <p:nvPr/>
          </p:nvSpPr>
          <p:spPr bwMode="auto">
            <a:xfrm>
              <a:off x="9302408" y="1916150"/>
              <a:ext cx="11415" cy="21039"/>
            </a:xfrm>
            <a:custGeom>
              <a:avLst/>
              <a:gdLst>
                <a:gd name="T0" fmla="*/ 30 w 31"/>
                <a:gd name="T1" fmla="*/ 0 h 59"/>
                <a:gd name="T2" fmla="*/ 30 w 31"/>
                <a:gd name="T3" fmla="*/ 0 h 59"/>
                <a:gd name="T4" fmla="*/ 0 w 31"/>
                <a:gd name="T5" fmla="*/ 58 h 59"/>
                <a:gd name="T6" fmla="*/ 30 w 31"/>
                <a:gd name="T7" fmla="*/ 0 h 59"/>
              </a:gdLst>
              <a:ahLst/>
              <a:cxnLst>
                <a:cxn ang="0">
                  <a:pos x="T0" y="T1"/>
                </a:cxn>
                <a:cxn ang="0">
                  <a:pos x="T2" y="T3"/>
                </a:cxn>
                <a:cxn ang="0">
                  <a:pos x="T4" y="T5"/>
                </a:cxn>
                <a:cxn ang="0">
                  <a:pos x="T6" y="T7"/>
                </a:cxn>
              </a:cxnLst>
              <a:rect l="0" t="0" r="r" b="b"/>
              <a:pathLst>
                <a:path w="31" h="59">
                  <a:moveTo>
                    <a:pt x="30" y="0"/>
                  </a:moveTo>
                  <a:lnTo>
                    <a:pt x="30" y="0"/>
                  </a:lnTo>
                  <a:cubicBezTo>
                    <a:pt x="0" y="0"/>
                    <a:pt x="0" y="29"/>
                    <a:pt x="0" y="58"/>
                  </a:cubicBezTo>
                  <a:cubicBezTo>
                    <a:pt x="0" y="29"/>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7" name="Freeform 515">
              <a:extLst>
                <a:ext uri="{FF2B5EF4-FFF2-40B4-BE49-F238E27FC236}">
                  <a16:creationId xmlns:a16="http://schemas.microsoft.com/office/drawing/2014/main" id="{F221FB15-9FCC-4A5D-A3AA-4C6031DB56A3}"/>
                </a:ext>
              </a:extLst>
            </p:cNvPr>
            <p:cNvSpPr>
              <a:spLocks noChangeArrowheads="1"/>
            </p:cNvSpPr>
            <p:nvPr/>
          </p:nvSpPr>
          <p:spPr bwMode="auto">
            <a:xfrm>
              <a:off x="8860449" y="1883784"/>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8" name="Freeform 516">
              <a:extLst>
                <a:ext uri="{FF2B5EF4-FFF2-40B4-BE49-F238E27FC236}">
                  <a16:creationId xmlns:a16="http://schemas.microsoft.com/office/drawing/2014/main" id="{2AF6A21E-2642-482D-9564-002D666910D4}"/>
                </a:ext>
              </a:extLst>
            </p:cNvPr>
            <p:cNvSpPr>
              <a:spLocks noChangeArrowheads="1"/>
            </p:cNvSpPr>
            <p:nvPr/>
          </p:nvSpPr>
          <p:spPr bwMode="auto">
            <a:xfrm>
              <a:off x="8827832" y="1883784"/>
              <a:ext cx="32617" cy="1619"/>
            </a:xfrm>
            <a:custGeom>
              <a:avLst/>
              <a:gdLst>
                <a:gd name="T0" fmla="*/ 0 w 89"/>
                <a:gd name="T1" fmla="*/ 0 h 1"/>
                <a:gd name="T2" fmla="*/ 0 w 89"/>
                <a:gd name="T3" fmla="*/ 0 h 1"/>
                <a:gd name="T4" fmla="*/ 59 w 89"/>
                <a:gd name="T5" fmla="*/ 0 h 1"/>
                <a:gd name="T6" fmla="*/ 88 w 89"/>
                <a:gd name="T7" fmla="*/ 0 h 1"/>
                <a:gd name="T8" fmla="*/ 59 w 89"/>
                <a:gd name="T9" fmla="*/ 0 h 1"/>
                <a:gd name="T10" fmla="*/ 0 w 89"/>
                <a:gd name="T11" fmla="*/ 0 h 1"/>
              </a:gdLst>
              <a:ahLst/>
              <a:cxnLst>
                <a:cxn ang="0">
                  <a:pos x="T0" y="T1"/>
                </a:cxn>
                <a:cxn ang="0">
                  <a:pos x="T2" y="T3"/>
                </a:cxn>
                <a:cxn ang="0">
                  <a:pos x="T4" y="T5"/>
                </a:cxn>
                <a:cxn ang="0">
                  <a:pos x="T6" y="T7"/>
                </a:cxn>
                <a:cxn ang="0">
                  <a:pos x="T8" y="T9"/>
                </a:cxn>
                <a:cxn ang="0">
                  <a:pos x="T10" y="T11"/>
                </a:cxn>
              </a:cxnLst>
              <a:rect l="0" t="0" r="r" b="b"/>
              <a:pathLst>
                <a:path w="89" h="1">
                  <a:moveTo>
                    <a:pt x="0" y="0"/>
                  </a:moveTo>
                  <a:lnTo>
                    <a:pt x="0" y="0"/>
                  </a:lnTo>
                  <a:cubicBezTo>
                    <a:pt x="0" y="0"/>
                    <a:pt x="30" y="0"/>
                    <a:pt x="59" y="0"/>
                  </a:cubicBezTo>
                  <a:cubicBezTo>
                    <a:pt x="59" y="0"/>
                    <a:pt x="59" y="0"/>
                    <a:pt x="88" y="0"/>
                  </a:cubicBezTo>
                  <a:cubicBezTo>
                    <a:pt x="59" y="0"/>
                    <a:pt x="59" y="0"/>
                    <a:pt x="59" y="0"/>
                  </a:cubicBezTo>
                  <a:cubicBezTo>
                    <a:pt x="3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39" name="Freeform 517">
              <a:extLst>
                <a:ext uri="{FF2B5EF4-FFF2-40B4-BE49-F238E27FC236}">
                  <a16:creationId xmlns:a16="http://schemas.microsoft.com/office/drawing/2014/main" id="{B8F43689-8E13-4220-B7F6-F69704DA97A0}"/>
                </a:ext>
              </a:extLst>
            </p:cNvPr>
            <p:cNvSpPr>
              <a:spLocks noChangeArrowheads="1"/>
            </p:cNvSpPr>
            <p:nvPr/>
          </p:nvSpPr>
          <p:spPr bwMode="auto">
            <a:xfrm>
              <a:off x="8925682" y="1883784"/>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0" name="Freeform 518">
              <a:extLst>
                <a:ext uri="{FF2B5EF4-FFF2-40B4-BE49-F238E27FC236}">
                  <a16:creationId xmlns:a16="http://schemas.microsoft.com/office/drawing/2014/main" id="{53B3A318-E4B3-414E-B9BA-E7BD10C046F1}"/>
                </a:ext>
              </a:extLst>
            </p:cNvPr>
            <p:cNvSpPr>
              <a:spLocks noChangeArrowheads="1"/>
            </p:cNvSpPr>
            <p:nvPr/>
          </p:nvSpPr>
          <p:spPr bwMode="auto">
            <a:xfrm>
              <a:off x="8925682" y="1895113"/>
              <a:ext cx="1631" cy="11328"/>
            </a:xfrm>
            <a:custGeom>
              <a:avLst/>
              <a:gdLst>
                <a:gd name="T0" fmla="*/ 0 w 1"/>
                <a:gd name="T1" fmla="*/ 0 h 30"/>
                <a:gd name="T2" fmla="*/ 0 w 1"/>
                <a:gd name="T3" fmla="*/ 0 h 30"/>
                <a:gd name="T4" fmla="*/ 0 w 1"/>
                <a:gd name="T5" fmla="*/ 0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1" name="Freeform 519">
              <a:extLst>
                <a:ext uri="{FF2B5EF4-FFF2-40B4-BE49-F238E27FC236}">
                  <a16:creationId xmlns:a16="http://schemas.microsoft.com/office/drawing/2014/main" id="{929E245E-2B12-4FFB-9DD1-456C989DBB3C}"/>
                </a:ext>
              </a:extLst>
            </p:cNvPr>
            <p:cNvSpPr>
              <a:spLocks noChangeArrowheads="1"/>
            </p:cNvSpPr>
            <p:nvPr/>
          </p:nvSpPr>
          <p:spPr bwMode="auto">
            <a:xfrm>
              <a:off x="8902851" y="1895113"/>
              <a:ext cx="22832" cy="11328"/>
            </a:xfrm>
            <a:custGeom>
              <a:avLst/>
              <a:gdLst>
                <a:gd name="T0" fmla="*/ 29 w 60"/>
                <a:gd name="T1" fmla="*/ 29 h 30"/>
                <a:gd name="T2" fmla="*/ 29 w 60"/>
                <a:gd name="T3" fmla="*/ 29 h 30"/>
                <a:gd name="T4" fmla="*/ 59 w 60"/>
                <a:gd name="T5" fmla="*/ 29 h 30"/>
                <a:gd name="T6" fmla="*/ 29 w 60"/>
                <a:gd name="T7" fmla="*/ 29 h 30"/>
                <a:gd name="T8" fmla="*/ 0 w 60"/>
                <a:gd name="T9" fmla="*/ 0 h 30"/>
                <a:gd name="T10" fmla="*/ 29 w 60"/>
                <a:gd name="T11" fmla="*/ 29 h 30"/>
              </a:gdLst>
              <a:ahLst/>
              <a:cxnLst>
                <a:cxn ang="0">
                  <a:pos x="T0" y="T1"/>
                </a:cxn>
                <a:cxn ang="0">
                  <a:pos x="T2" y="T3"/>
                </a:cxn>
                <a:cxn ang="0">
                  <a:pos x="T4" y="T5"/>
                </a:cxn>
                <a:cxn ang="0">
                  <a:pos x="T6" y="T7"/>
                </a:cxn>
                <a:cxn ang="0">
                  <a:pos x="T8" y="T9"/>
                </a:cxn>
                <a:cxn ang="0">
                  <a:pos x="T10" y="T11"/>
                </a:cxn>
              </a:cxnLst>
              <a:rect l="0" t="0" r="r" b="b"/>
              <a:pathLst>
                <a:path w="60" h="30">
                  <a:moveTo>
                    <a:pt x="29" y="29"/>
                  </a:moveTo>
                  <a:lnTo>
                    <a:pt x="29" y="29"/>
                  </a:lnTo>
                  <a:cubicBezTo>
                    <a:pt x="29" y="29"/>
                    <a:pt x="29" y="29"/>
                    <a:pt x="59" y="29"/>
                  </a:cubicBezTo>
                  <a:cubicBezTo>
                    <a:pt x="29" y="29"/>
                    <a:pt x="29" y="29"/>
                    <a:pt x="29" y="29"/>
                  </a:cubicBezTo>
                  <a:cubicBezTo>
                    <a:pt x="29" y="29"/>
                    <a:pt x="29" y="29"/>
                    <a:pt x="0" y="0"/>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2" name="Freeform 520">
              <a:extLst>
                <a:ext uri="{FF2B5EF4-FFF2-40B4-BE49-F238E27FC236}">
                  <a16:creationId xmlns:a16="http://schemas.microsoft.com/office/drawing/2014/main" id="{8E6EBAA0-8BB8-404C-B930-A6A6590285CA}"/>
                </a:ext>
              </a:extLst>
            </p:cNvPr>
            <p:cNvSpPr>
              <a:spLocks noChangeArrowheads="1"/>
            </p:cNvSpPr>
            <p:nvPr/>
          </p:nvSpPr>
          <p:spPr bwMode="auto">
            <a:xfrm>
              <a:off x="3649898" y="2675143"/>
              <a:ext cx="11415"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3" name="Freeform 521">
              <a:extLst>
                <a:ext uri="{FF2B5EF4-FFF2-40B4-BE49-F238E27FC236}">
                  <a16:creationId xmlns:a16="http://schemas.microsoft.com/office/drawing/2014/main" id="{DDA190B9-CB7C-4A44-BC8A-CD5B702238ED}"/>
                </a:ext>
              </a:extLst>
            </p:cNvPr>
            <p:cNvSpPr>
              <a:spLocks noChangeArrowheads="1"/>
            </p:cNvSpPr>
            <p:nvPr/>
          </p:nvSpPr>
          <p:spPr bwMode="auto">
            <a:xfrm>
              <a:off x="3682515" y="2312639"/>
              <a:ext cx="44032" cy="76061"/>
            </a:xfrm>
            <a:custGeom>
              <a:avLst/>
              <a:gdLst>
                <a:gd name="T0" fmla="*/ 117 w 118"/>
                <a:gd name="T1" fmla="*/ 0 h 206"/>
                <a:gd name="T2" fmla="*/ 117 w 118"/>
                <a:gd name="T3" fmla="*/ 0 h 206"/>
                <a:gd name="T4" fmla="*/ 117 w 118"/>
                <a:gd name="T5" fmla="*/ 0 h 206"/>
                <a:gd name="T6" fmla="*/ 117 w 118"/>
                <a:gd name="T7" fmla="*/ 0 h 206"/>
                <a:gd name="T8" fmla="*/ 0 w 118"/>
                <a:gd name="T9" fmla="*/ 205 h 206"/>
                <a:gd name="T10" fmla="*/ 117 w 118"/>
                <a:gd name="T11" fmla="*/ 0 h 206"/>
              </a:gdLst>
              <a:ahLst/>
              <a:cxnLst>
                <a:cxn ang="0">
                  <a:pos x="T0" y="T1"/>
                </a:cxn>
                <a:cxn ang="0">
                  <a:pos x="T2" y="T3"/>
                </a:cxn>
                <a:cxn ang="0">
                  <a:pos x="T4" y="T5"/>
                </a:cxn>
                <a:cxn ang="0">
                  <a:pos x="T6" y="T7"/>
                </a:cxn>
                <a:cxn ang="0">
                  <a:pos x="T8" y="T9"/>
                </a:cxn>
                <a:cxn ang="0">
                  <a:pos x="T10" y="T11"/>
                </a:cxn>
              </a:cxnLst>
              <a:rect l="0" t="0" r="r" b="b"/>
              <a:pathLst>
                <a:path w="118" h="206">
                  <a:moveTo>
                    <a:pt x="117" y="0"/>
                  </a:moveTo>
                  <a:lnTo>
                    <a:pt x="117" y="0"/>
                  </a:lnTo>
                  <a:lnTo>
                    <a:pt x="117" y="0"/>
                  </a:lnTo>
                  <a:lnTo>
                    <a:pt x="117" y="0"/>
                  </a:lnTo>
                  <a:cubicBezTo>
                    <a:pt x="88" y="58"/>
                    <a:pt x="0" y="117"/>
                    <a:pt x="0" y="205"/>
                  </a:cubicBezTo>
                  <a:cubicBezTo>
                    <a:pt x="0" y="117"/>
                    <a:pt x="88" y="58"/>
                    <a:pt x="1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4" name="Freeform 522">
              <a:extLst>
                <a:ext uri="{FF2B5EF4-FFF2-40B4-BE49-F238E27FC236}">
                  <a16:creationId xmlns:a16="http://schemas.microsoft.com/office/drawing/2014/main" id="{192F4BCC-42DE-4C43-A4E4-B861D2274303}"/>
                </a:ext>
              </a:extLst>
            </p:cNvPr>
            <p:cNvSpPr>
              <a:spLocks noChangeArrowheads="1"/>
            </p:cNvSpPr>
            <p:nvPr/>
          </p:nvSpPr>
          <p:spPr bwMode="auto">
            <a:xfrm>
              <a:off x="3682515" y="238708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5" name="Freeform 523">
              <a:extLst>
                <a:ext uri="{FF2B5EF4-FFF2-40B4-BE49-F238E27FC236}">
                  <a16:creationId xmlns:a16="http://schemas.microsoft.com/office/drawing/2014/main" id="{19718E44-D3AF-4E1A-BB82-624CBC2C9636}"/>
                </a:ext>
              </a:extLst>
            </p:cNvPr>
            <p:cNvSpPr>
              <a:spLocks noChangeArrowheads="1"/>
            </p:cNvSpPr>
            <p:nvPr/>
          </p:nvSpPr>
          <p:spPr bwMode="auto">
            <a:xfrm>
              <a:off x="3780366" y="1916150"/>
              <a:ext cx="44032" cy="21039"/>
            </a:xfrm>
            <a:custGeom>
              <a:avLst/>
              <a:gdLst>
                <a:gd name="T0" fmla="*/ 0 w 118"/>
                <a:gd name="T1" fmla="*/ 29 h 59"/>
                <a:gd name="T2" fmla="*/ 0 w 118"/>
                <a:gd name="T3" fmla="*/ 29 h 59"/>
                <a:gd name="T4" fmla="*/ 0 w 118"/>
                <a:gd name="T5" fmla="*/ 29 h 59"/>
                <a:gd name="T6" fmla="*/ 0 w 118"/>
                <a:gd name="T7" fmla="*/ 29 h 59"/>
                <a:gd name="T8" fmla="*/ 59 w 118"/>
                <a:gd name="T9" fmla="*/ 0 h 59"/>
                <a:gd name="T10" fmla="*/ 117 w 118"/>
                <a:gd name="T11" fmla="*/ 0 h 59"/>
                <a:gd name="T12" fmla="*/ 59 w 118"/>
                <a:gd name="T13" fmla="*/ 0 h 59"/>
                <a:gd name="T14" fmla="*/ 0 w 118"/>
                <a:gd name="T15" fmla="*/ 29 h 59"/>
                <a:gd name="T16" fmla="*/ 0 w 118"/>
                <a:gd name="T17" fmla="*/ 29 h 59"/>
                <a:gd name="T18" fmla="*/ 0 w 118"/>
                <a:gd name="T19" fmla="*/ 29 h 59"/>
                <a:gd name="T20" fmla="*/ 0 w 118"/>
                <a:gd name="T21" fmla="*/ 58 h 59"/>
                <a:gd name="T22" fmla="*/ 0 w 118"/>
                <a:gd name="T23"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59">
                  <a:moveTo>
                    <a:pt x="0" y="29"/>
                  </a:moveTo>
                  <a:lnTo>
                    <a:pt x="0" y="29"/>
                  </a:lnTo>
                  <a:lnTo>
                    <a:pt x="0" y="29"/>
                  </a:lnTo>
                  <a:lnTo>
                    <a:pt x="0" y="29"/>
                  </a:lnTo>
                  <a:cubicBezTo>
                    <a:pt x="30" y="0"/>
                    <a:pt x="59" y="0"/>
                    <a:pt x="59" y="0"/>
                  </a:cubicBezTo>
                  <a:cubicBezTo>
                    <a:pt x="88" y="0"/>
                    <a:pt x="88" y="0"/>
                    <a:pt x="117" y="0"/>
                  </a:cubicBezTo>
                  <a:cubicBezTo>
                    <a:pt x="88" y="0"/>
                    <a:pt x="88" y="0"/>
                    <a:pt x="59" y="0"/>
                  </a:cubicBezTo>
                  <a:cubicBezTo>
                    <a:pt x="59" y="0"/>
                    <a:pt x="30" y="0"/>
                    <a:pt x="0" y="29"/>
                  </a:cubicBezTo>
                  <a:lnTo>
                    <a:pt x="0" y="29"/>
                  </a:lnTo>
                  <a:lnTo>
                    <a:pt x="0" y="29"/>
                  </a:lnTo>
                  <a:lnTo>
                    <a:pt x="0" y="58"/>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6" name="Freeform 524">
              <a:extLst>
                <a:ext uri="{FF2B5EF4-FFF2-40B4-BE49-F238E27FC236}">
                  <a16:creationId xmlns:a16="http://schemas.microsoft.com/office/drawing/2014/main" id="{71116AD1-036E-4B14-AC06-572626723D17}"/>
                </a:ext>
              </a:extLst>
            </p:cNvPr>
            <p:cNvSpPr>
              <a:spLocks noChangeArrowheads="1"/>
            </p:cNvSpPr>
            <p:nvPr/>
          </p:nvSpPr>
          <p:spPr bwMode="auto">
            <a:xfrm>
              <a:off x="3866800" y="1883784"/>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7" name="Freeform 525">
              <a:extLst>
                <a:ext uri="{FF2B5EF4-FFF2-40B4-BE49-F238E27FC236}">
                  <a16:creationId xmlns:a16="http://schemas.microsoft.com/office/drawing/2014/main" id="{96BBA25A-ABC8-448B-8A5E-7C11F3F26F49}"/>
                </a:ext>
              </a:extLst>
            </p:cNvPr>
            <p:cNvSpPr>
              <a:spLocks noChangeArrowheads="1"/>
            </p:cNvSpPr>
            <p:nvPr/>
          </p:nvSpPr>
          <p:spPr bwMode="auto">
            <a:xfrm>
              <a:off x="3682515" y="239841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8" name="Freeform 526">
              <a:extLst>
                <a:ext uri="{FF2B5EF4-FFF2-40B4-BE49-F238E27FC236}">
                  <a16:creationId xmlns:a16="http://schemas.microsoft.com/office/drawing/2014/main" id="{EA37CD4C-9AA1-49EF-99ED-A332541C35EE}"/>
                </a:ext>
              </a:extLst>
            </p:cNvPr>
            <p:cNvSpPr>
              <a:spLocks noChangeArrowheads="1"/>
            </p:cNvSpPr>
            <p:nvPr/>
          </p:nvSpPr>
          <p:spPr bwMode="auto">
            <a:xfrm>
              <a:off x="3822768" y="1895113"/>
              <a:ext cx="44032" cy="32366"/>
            </a:xfrm>
            <a:custGeom>
              <a:avLst/>
              <a:gdLst>
                <a:gd name="T0" fmla="*/ 59 w 118"/>
                <a:gd name="T1" fmla="*/ 58 h 88"/>
                <a:gd name="T2" fmla="*/ 59 w 118"/>
                <a:gd name="T3" fmla="*/ 58 h 88"/>
                <a:gd name="T4" fmla="*/ 117 w 118"/>
                <a:gd name="T5" fmla="*/ 0 h 88"/>
                <a:gd name="T6" fmla="*/ 59 w 118"/>
                <a:gd name="T7" fmla="*/ 58 h 88"/>
                <a:gd name="T8" fmla="*/ 0 w 118"/>
                <a:gd name="T9" fmla="*/ 58 h 88"/>
                <a:gd name="T10" fmla="*/ 59 w 118"/>
                <a:gd name="T11" fmla="*/ 58 h 88"/>
              </a:gdLst>
              <a:ahLst/>
              <a:cxnLst>
                <a:cxn ang="0">
                  <a:pos x="T0" y="T1"/>
                </a:cxn>
                <a:cxn ang="0">
                  <a:pos x="T2" y="T3"/>
                </a:cxn>
                <a:cxn ang="0">
                  <a:pos x="T4" y="T5"/>
                </a:cxn>
                <a:cxn ang="0">
                  <a:pos x="T6" y="T7"/>
                </a:cxn>
                <a:cxn ang="0">
                  <a:pos x="T8" y="T9"/>
                </a:cxn>
                <a:cxn ang="0">
                  <a:pos x="T10" y="T11"/>
                </a:cxn>
              </a:cxnLst>
              <a:rect l="0" t="0" r="r" b="b"/>
              <a:pathLst>
                <a:path w="118" h="88">
                  <a:moveTo>
                    <a:pt x="59" y="58"/>
                  </a:moveTo>
                  <a:lnTo>
                    <a:pt x="59" y="58"/>
                  </a:lnTo>
                  <a:cubicBezTo>
                    <a:pt x="59" y="58"/>
                    <a:pt x="88" y="29"/>
                    <a:pt x="117" y="0"/>
                  </a:cubicBezTo>
                  <a:cubicBezTo>
                    <a:pt x="88" y="29"/>
                    <a:pt x="59" y="58"/>
                    <a:pt x="59" y="58"/>
                  </a:cubicBezTo>
                  <a:cubicBezTo>
                    <a:pt x="59" y="87"/>
                    <a:pt x="30" y="87"/>
                    <a:pt x="0" y="58"/>
                  </a:cubicBezTo>
                  <a:cubicBezTo>
                    <a:pt x="30" y="87"/>
                    <a:pt x="59" y="87"/>
                    <a:pt x="5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9" name="Freeform 527">
              <a:extLst>
                <a:ext uri="{FF2B5EF4-FFF2-40B4-BE49-F238E27FC236}">
                  <a16:creationId xmlns:a16="http://schemas.microsoft.com/office/drawing/2014/main" id="{AE2174F0-3613-4215-9F1C-FF7149205B36}"/>
                </a:ext>
              </a:extLst>
            </p:cNvPr>
            <p:cNvSpPr>
              <a:spLocks noChangeArrowheads="1"/>
            </p:cNvSpPr>
            <p:nvPr/>
          </p:nvSpPr>
          <p:spPr bwMode="auto">
            <a:xfrm>
              <a:off x="3759164" y="3060303"/>
              <a:ext cx="11416" cy="55023"/>
            </a:xfrm>
            <a:custGeom>
              <a:avLst/>
              <a:gdLst>
                <a:gd name="T0" fmla="*/ 28 w 29"/>
                <a:gd name="T1" fmla="*/ 0 h 148"/>
                <a:gd name="T2" fmla="*/ 28 w 29"/>
                <a:gd name="T3" fmla="*/ 0 h 148"/>
                <a:gd name="T4" fmla="*/ 0 w 29"/>
                <a:gd name="T5" fmla="*/ 117 h 148"/>
                <a:gd name="T6" fmla="*/ 0 w 29"/>
                <a:gd name="T7" fmla="*/ 147 h 148"/>
                <a:gd name="T8" fmla="*/ 0 w 29"/>
                <a:gd name="T9" fmla="*/ 117 h 148"/>
                <a:gd name="T10" fmla="*/ 28 w 29"/>
                <a:gd name="T11" fmla="*/ 0 h 148"/>
              </a:gdLst>
              <a:ahLst/>
              <a:cxnLst>
                <a:cxn ang="0">
                  <a:pos x="T0" y="T1"/>
                </a:cxn>
                <a:cxn ang="0">
                  <a:pos x="T2" y="T3"/>
                </a:cxn>
                <a:cxn ang="0">
                  <a:pos x="T4" y="T5"/>
                </a:cxn>
                <a:cxn ang="0">
                  <a:pos x="T6" y="T7"/>
                </a:cxn>
                <a:cxn ang="0">
                  <a:pos x="T8" y="T9"/>
                </a:cxn>
                <a:cxn ang="0">
                  <a:pos x="T10" y="T11"/>
                </a:cxn>
              </a:cxnLst>
              <a:rect l="0" t="0" r="r" b="b"/>
              <a:pathLst>
                <a:path w="29" h="148">
                  <a:moveTo>
                    <a:pt x="28" y="0"/>
                  </a:moveTo>
                  <a:lnTo>
                    <a:pt x="28" y="0"/>
                  </a:lnTo>
                  <a:cubicBezTo>
                    <a:pt x="28" y="30"/>
                    <a:pt x="28" y="88"/>
                    <a:pt x="0" y="117"/>
                  </a:cubicBezTo>
                  <a:cubicBezTo>
                    <a:pt x="0" y="147"/>
                    <a:pt x="0" y="147"/>
                    <a:pt x="0" y="147"/>
                  </a:cubicBezTo>
                  <a:cubicBezTo>
                    <a:pt x="0" y="117"/>
                    <a:pt x="0" y="117"/>
                    <a:pt x="0" y="117"/>
                  </a:cubicBezTo>
                  <a:cubicBezTo>
                    <a:pt x="28" y="88"/>
                    <a:pt x="28" y="30"/>
                    <a:pt x="2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0" name="Freeform 528">
              <a:extLst>
                <a:ext uri="{FF2B5EF4-FFF2-40B4-BE49-F238E27FC236}">
                  <a16:creationId xmlns:a16="http://schemas.microsoft.com/office/drawing/2014/main" id="{E67CC20E-3181-498D-ABA2-362367FA33BC}"/>
                </a:ext>
              </a:extLst>
            </p:cNvPr>
            <p:cNvSpPr>
              <a:spLocks noChangeArrowheads="1"/>
            </p:cNvSpPr>
            <p:nvPr/>
          </p:nvSpPr>
          <p:spPr bwMode="auto">
            <a:xfrm>
              <a:off x="3726547" y="2815936"/>
              <a:ext cx="1631" cy="32366"/>
            </a:xfrm>
            <a:custGeom>
              <a:avLst/>
              <a:gdLst>
                <a:gd name="T0" fmla="*/ 0 w 1"/>
                <a:gd name="T1" fmla="*/ 0 h 88"/>
                <a:gd name="T2" fmla="*/ 0 w 1"/>
                <a:gd name="T3" fmla="*/ 0 h 88"/>
                <a:gd name="T4" fmla="*/ 0 w 1"/>
                <a:gd name="T5" fmla="*/ 87 h 88"/>
                <a:gd name="T6" fmla="*/ 0 w 1"/>
                <a:gd name="T7" fmla="*/ 0 h 88"/>
              </a:gdLst>
              <a:ahLst/>
              <a:cxnLst>
                <a:cxn ang="0">
                  <a:pos x="T0" y="T1"/>
                </a:cxn>
                <a:cxn ang="0">
                  <a:pos x="T2" y="T3"/>
                </a:cxn>
                <a:cxn ang="0">
                  <a:pos x="T4" y="T5"/>
                </a:cxn>
                <a:cxn ang="0">
                  <a:pos x="T6" y="T7"/>
                </a:cxn>
              </a:cxnLst>
              <a:rect l="0" t="0" r="r" b="b"/>
              <a:pathLst>
                <a:path w="1" h="88">
                  <a:moveTo>
                    <a:pt x="0" y="0"/>
                  </a:moveTo>
                  <a:lnTo>
                    <a:pt x="0" y="0"/>
                  </a:lnTo>
                  <a:cubicBezTo>
                    <a:pt x="0" y="29"/>
                    <a:pt x="0" y="58"/>
                    <a:pt x="0" y="87"/>
                  </a:cubicBezTo>
                  <a:cubicBezTo>
                    <a:pt x="0" y="58"/>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1" name="Freeform 529">
              <a:extLst>
                <a:ext uri="{FF2B5EF4-FFF2-40B4-BE49-F238E27FC236}">
                  <a16:creationId xmlns:a16="http://schemas.microsoft.com/office/drawing/2014/main" id="{A6E1E8D1-1C25-4A25-9540-7434CBC4217B}"/>
                </a:ext>
              </a:extLst>
            </p:cNvPr>
            <p:cNvSpPr>
              <a:spLocks noChangeArrowheads="1"/>
            </p:cNvSpPr>
            <p:nvPr/>
          </p:nvSpPr>
          <p:spPr bwMode="auto">
            <a:xfrm>
              <a:off x="3705347" y="2718837"/>
              <a:ext cx="21200" cy="22656"/>
            </a:xfrm>
            <a:custGeom>
              <a:avLst/>
              <a:gdLst>
                <a:gd name="T0" fmla="*/ 29 w 59"/>
                <a:gd name="T1" fmla="*/ 59 h 60"/>
                <a:gd name="T2" fmla="*/ 29 w 59"/>
                <a:gd name="T3" fmla="*/ 59 h 60"/>
                <a:gd name="T4" fmla="*/ 0 w 59"/>
                <a:gd name="T5" fmla="*/ 0 h 60"/>
                <a:gd name="T6" fmla="*/ 29 w 59"/>
                <a:gd name="T7" fmla="*/ 59 h 60"/>
                <a:gd name="T8" fmla="*/ 58 w 59"/>
                <a:gd name="T9" fmla="*/ 59 h 60"/>
                <a:gd name="T10" fmla="*/ 29 w 59"/>
                <a:gd name="T11" fmla="*/ 59 h 60"/>
              </a:gdLst>
              <a:ahLst/>
              <a:cxnLst>
                <a:cxn ang="0">
                  <a:pos x="T0" y="T1"/>
                </a:cxn>
                <a:cxn ang="0">
                  <a:pos x="T2" y="T3"/>
                </a:cxn>
                <a:cxn ang="0">
                  <a:pos x="T4" y="T5"/>
                </a:cxn>
                <a:cxn ang="0">
                  <a:pos x="T6" y="T7"/>
                </a:cxn>
                <a:cxn ang="0">
                  <a:pos x="T8" y="T9"/>
                </a:cxn>
                <a:cxn ang="0">
                  <a:pos x="T10" y="T11"/>
                </a:cxn>
              </a:cxnLst>
              <a:rect l="0" t="0" r="r" b="b"/>
              <a:pathLst>
                <a:path w="59" h="60">
                  <a:moveTo>
                    <a:pt x="29" y="59"/>
                  </a:moveTo>
                  <a:lnTo>
                    <a:pt x="29" y="59"/>
                  </a:lnTo>
                  <a:cubicBezTo>
                    <a:pt x="29" y="30"/>
                    <a:pt x="0" y="30"/>
                    <a:pt x="0" y="0"/>
                  </a:cubicBezTo>
                  <a:cubicBezTo>
                    <a:pt x="0" y="30"/>
                    <a:pt x="29" y="30"/>
                    <a:pt x="29" y="59"/>
                  </a:cubicBezTo>
                  <a:cubicBezTo>
                    <a:pt x="58" y="59"/>
                    <a:pt x="58" y="59"/>
                    <a:pt x="58" y="59"/>
                  </a:cubicBezTo>
                  <a:cubicBezTo>
                    <a:pt x="58" y="59"/>
                    <a:pt x="58" y="59"/>
                    <a:pt x="29"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2" name="Freeform 530">
              <a:extLst>
                <a:ext uri="{FF2B5EF4-FFF2-40B4-BE49-F238E27FC236}">
                  <a16:creationId xmlns:a16="http://schemas.microsoft.com/office/drawing/2014/main" id="{892C373D-DD61-47B1-9968-DEB531AA3027}"/>
                </a:ext>
              </a:extLst>
            </p:cNvPr>
            <p:cNvSpPr>
              <a:spLocks noChangeArrowheads="1"/>
            </p:cNvSpPr>
            <p:nvPr/>
          </p:nvSpPr>
          <p:spPr bwMode="auto">
            <a:xfrm>
              <a:off x="3888001" y="1830380"/>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3" name="Freeform 531">
              <a:extLst>
                <a:ext uri="{FF2B5EF4-FFF2-40B4-BE49-F238E27FC236}">
                  <a16:creationId xmlns:a16="http://schemas.microsoft.com/office/drawing/2014/main" id="{FED18F1D-0212-421C-9DE5-657F94D2C095}"/>
                </a:ext>
              </a:extLst>
            </p:cNvPr>
            <p:cNvSpPr>
              <a:spLocks noChangeArrowheads="1"/>
            </p:cNvSpPr>
            <p:nvPr/>
          </p:nvSpPr>
          <p:spPr bwMode="auto">
            <a:xfrm>
              <a:off x="3855385" y="3340272"/>
              <a:ext cx="11415" cy="11329"/>
            </a:xfrm>
            <a:custGeom>
              <a:avLst/>
              <a:gdLst>
                <a:gd name="T0" fmla="*/ 0 w 30"/>
                <a:gd name="T1" fmla="*/ 0 h 30"/>
                <a:gd name="T2" fmla="*/ 0 w 30"/>
                <a:gd name="T3" fmla="*/ 0 h 30"/>
                <a:gd name="T4" fmla="*/ 0 w 30"/>
                <a:gd name="T5" fmla="*/ 0 h 30"/>
                <a:gd name="T6" fmla="*/ 0 w 30"/>
                <a:gd name="T7" fmla="*/ 0 h 30"/>
                <a:gd name="T8" fmla="*/ 0 w 30"/>
                <a:gd name="T9" fmla="*/ 0 h 30"/>
                <a:gd name="T10" fmla="*/ 0 w 30"/>
                <a:gd name="T11" fmla="*/ 0 h 30"/>
                <a:gd name="T12" fmla="*/ 29 w 30"/>
                <a:gd name="T13" fmla="*/ 29 h 30"/>
                <a:gd name="T14" fmla="*/ 0 w 30"/>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0" y="0"/>
                  </a:moveTo>
                  <a:lnTo>
                    <a:pt x="0" y="0"/>
                  </a:lnTo>
                  <a:lnTo>
                    <a:pt x="0" y="0"/>
                  </a:lnTo>
                  <a:lnTo>
                    <a:pt x="0" y="0"/>
                  </a:lnTo>
                  <a:lnTo>
                    <a:pt x="0" y="0"/>
                  </a:lnTo>
                  <a:lnTo>
                    <a:pt x="0" y="0"/>
                  </a:lnTo>
                  <a:cubicBezTo>
                    <a:pt x="29" y="0"/>
                    <a:pt x="29" y="0"/>
                    <a:pt x="29" y="29"/>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4" name="Freeform 532">
              <a:extLst>
                <a:ext uri="{FF2B5EF4-FFF2-40B4-BE49-F238E27FC236}">
                  <a16:creationId xmlns:a16="http://schemas.microsoft.com/office/drawing/2014/main" id="{984B7C15-83EF-4306-9215-6C04EA3F8515}"/>
                </a:ext>
              </a:extLst>
            </p:cNvPr>
            <p:cNvSpPr>
              <a:spLocks noChangeArrowheads="1"/>
            </p:cNvSpPr>
            <p:nvPr/>
          </p:nvSpPr>
          <p:spPr bwMode="auto">
            <a:xfrm>
              <a:off x="3672730" y="2621738"/>
              <a:ext cx="11415" cy="1619"/>
            </a:xfrm>
            <a:custGeom>
              <a:avLst/>
              <a:gdLst>
                <a:gd name="T0" fmla="*/ 0 w 30"/>
                <a:gd name="T1" fmla="*/ 0 h 1"/>
                <a:gd name="T2" fmla="*/ 0 w 30"/>
                <a:gd name="T3" fmla="*/ 0 h 1"/>
                <a:gd name="T4" fmla="*/ 29 w 30"/>
                <a:gd name="T5" fmla="*/ 0 h 1"/>
                <a:gd name="T6" fmla="*/ 29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cubicBezTo>
                    <a:pt x="29" y="0"/>
                    <a:pt x="29" y="0"/>
                    <a:pt x="29" y="0"/>
                  </a:cubicBezTo>
                  <a:lnTo>
                    <a:pt x="29" y="0"/>
                  </a:lnTo>
                  <a:lnTo>
                    <a:pt x="29"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5" name="Freeform 533">
              <a:extLst>
                <a:ext uri="{FF2B5EF4-FFF2-40B4-BE49-F238E27FC236}">
                  <a16:creationId xmlns:a16="http://schemas.microsoft.com/office/drawing/2014/main" id="{2EDCEE21-BD72-4430-95C3-DC6E8D5AFC1D}"/>
                </a:ext>
              </a:extLst>
            </p:cNvPr>
            <p:cNvSpPr>
              <a:spLocks noChangeArrowheads="1"/>
            </p:cNvSpPr>
            <p:nvPr/>
          </p:nvSpPr>
          <p:spPr bwMode="auto">
            <a:xfrm>
              <a:off x="3649898" y="2633067"/>
              <a:ext cx="22832" cy="32366"/>
            </a:xfrm>
            <a:custGeom>
              <a:avLst/>
              <a:gdLst>
                <a:gd name="T0" fmla="*/ 30 w 60"/>
                <a:gd name="T1" fmla="*/ 30 h 89"/>
                <a:gd name="T2" fmla="*/ 30 w 60"/>
                <a:gd name="T3" fmla="*/ 30 h 89"/>
                <a:gd name="T4" fmla="*/ 59 w 60"/>
                <a:gd name="T5" fmla="*/ 0 h 89"/>
                <a:gd name="T6" fmla="*/ 59 w 60"/>
                <a:gd name="T7" fmla="*/ 0 h 89"/>
                <a:gd name="T8" fmla="*/ 30 w 60"/>
                <a:gd name="T9" fmla="*/ 30 h 89"/>
                <a:gd name="T10" fmla="*/ 0 w 60"/>
                <a:gd name="T11" fmla="*/ 88 h 89"/>
                <a:gd name="T12" fmla="*/ 30 w 60"/>
                <a:gd name="T13" fmla="*/ 30 h 89"/>
              </a:gdLst>
              <a:ahLst/>
              <a:cxnLst>
                <a:cxn ang="0">
                  <a:pos x="T0" y="T1"/>
                </a:cxn>
                <a:cxn ang="0">
                  <a:pos x="T2" y="T3"/>
                </a:cxn>
                <a:cxn ang="0">
                  <a:pos x="T4" y="T5"/>
                </a:cxn>
                <a:cxn ang="0">
                  <a:pos x="T6" y="T7"/>
                </a:cxn>
                <a:cxn ang="0">
                  <a:pos x="T8" y="T9"/>
                </a:cxn>
                <a:cxn ang="0">
                  <a:pos x="T10" y="T11"/>
                </a:cxn>
                <a:cxn ang="0">
                  <a:pos x="T12" y="T13"/>
                </a:cxn>
              </a:cxnLst>
              <a:rect l="0" t="0" r="r" b="b"/>
              <a:pathLst>
                <a:path w="60" h="89">
                  <a:moveTo>
                    <a:pt x="30" y="30"/>
                  </a:moveTo>
                  <a:lnTo>
                    <a:pt x="30" y="30"/>
                  </a:lnTo>
                  <a:cubicBezTo>
                    <a:pt x="59" y="30"/>
                    <a:pt x="59" y="0"/>
                    <a:pt x="59" y="0"/>
                  </a:cubicBezTo>
                  <a:lnTo>
                    <a:pt x="59" y="0"/>
                  </a:lnTo>
                  <a:cubicBezTo>
                    <a:pt x="59" y="0"/>
                    <a:pt x="59" y="30"/>
                    <a:pt x="30" y="30"/>
                  </a:cubicBezTo>
                  <a:cubicBezTo>
                    <a:pt x="0" y="59"/>
                    <a:pt x="0" y="59"/>
                    <a:pt x="0" y="88"/>
                  </a:cubicBezTo>
                  <a:cubicBezTo>
                    <a:pt x="0" y="59"/>
                    <a:pt x="0" y="59"/>
                    <a:pt x="3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6" name="Freeform 534">
              <a:extLst>
                <a:ext uri="{FF2B5EF4-FFF2-40B4-BE49-F238E27FC236}">
                  <a16:creationId xmlns:a16="http://schemas.microsoft.com/office/drawing/2014/main" id="{71D28DB8-AD25-4A89-B48A-E2F5E188C525}"/>
                </a:ext>
              </a:extLst>
            </p:cNvPr>
            <p:cNvSpPr>
              <a:spLocks noChangeArrowheads="1"/>
            </p:cNvSpPr>
            <p:nvPr/>
          </p:nvSpPr>
          <p:spPr bwMode="auto">
            <a:xfrm>
              <a:off x="7771044" y="1456548"/>
              <a:ext cx="53818" cy="21039"/>
            </a:xfrm>
            <a:custGeom>
              <a:avLst/>
              <a:gdLst>
                <a:gd name="T0" fmla="*/ 88 w 146"/>
                <a:gd name="T1" fmla="*/ 0 h 59"/>
                <a:gd name="T2" fmla="*/ 88 w 146"/>
                <a:gd name="T3" fmla="*/ 0 h 59"/>
                <a:gd name="T4" fmla="*/ 145 w 146"/>
                <a:gd name="T5" fmla="*/ 58 h 59"/>
                <a:gd name="T6" fmla="*/ 88 w 146"/>
                <a:gd name="T7" fmla="*/ 0 h 59"/>
                <a:gd name="T8" fmla="*/ 0 w 146"/>
                <a:gd name="T9" fmla="*/ 0 h 59"/>
                <a:gd name="T10" fmla="*/ 0 w 146"/>
                <a:gd name="T11" fmla="*/ 0 h 59"/>
                <a:gd name="T12" fmla="*/ 88 w 14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46" h="59">
                  <a:moveTo>
                    <a:pt x="88" y="0"/>
                  </a:moveTo>
                  <a:lnTo>
                    <a:pt x="88" y="0"/>
                  </a:lnTo>
                  <a:cubicBezTo>
                    <a:pt x="116" y="29"/>
                    <a:pt x="145" y="58"/>
                    <a:pt x="145" y="58"/>
                  </a:cubicBezTo>
                  <a:cubicBezTo>
                    <a:pt x="145" y="58"/>
                    <a:pt x="116" y="29"/>
                    <a:pt x="88" y="0"/>
                  </a:cubicBezTo>
                  <a:cubicBezTo>
                    <a:pt x="58" y="0"/>
                    <a:pt x="29" y="0"/>
                    <a:pt x="0" y="0"/>
                  </a:cubicBezTo>
                  <a:lnTo>
                    <a:pt x="0" y="0"/>
                  </a:lnTo>
                  <a:cubicBezTo>
                    <a:pt x="29" y="0"/>
                    <a:pt x="58"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7" name="Freeform 535">
              <a:extLst>
                <a:ext uri="{FF2B5EF4-FFF2-40B4-BE49-F238E27FC236}">
                  <a16:creationId xmlns:a16="http://schemas.microsoft.com/office/drawing/2014/main" id="{3C8049D2-A456-4237-831A-66879A95F8AC}"/>
                </a:ext>
              </a:extLst>
            </p:cNvPr>
            <p:cNvSpPr>
              <a:spLocks noChangeArrowheads="1"/>
            </p:cNvSpPr>
            <p:nvPr/>
          </p:nvSpPr>
          <p:spPr bwMode="auto">
            <a:xfrm>
              <a:off x="3888001" y="1809341"/>
              <a:ext cx="11415" cy="22656"/>
            </a:xfrm>
            <a:custGeom>
              <a:avLst/>
              <a:gdLst>
                <a:gd name="T0" fmla="*/ 28 w 29"/>
                <a:gd name="T1" fmla="*/ 29 h 60"/>
                <a:gd name="T2" fmla="*/ 28 w 29"/>
                <a:gd name="T3" fmla="*/ 29 h 60"/>
                <a:gd name="T4" fmla="*/ 28 w 29"/>
                <a:gd name="T5" fmla="*/ 0 h 60"/>
                <a:gd name="T6" fmla="*/ 28 w 29"/>
                <a:gd name="T7" fmla="*/ 0 h 60"/>
                <a:gd name="T8" fmla="*/ 28 w 29"/>
                <a:gd name="T9" fmla="*/ 0 h 60"/>
                <a:gd name="T10" fmla="*/ 28 w 29"/>
                <a:gd name="T11" fmla="*/ 29 h 60"/>
                <a:gd name="T12" fmla="*/ 0 w 29"/>
                <a:gd name="T13" fmla="*/ 59 h 60"/>
                <a:gd name="T14" fmla="*/ 28 w 29"/>
                <a:gd name="T15" fmla="*/ 2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60">
                  <a:moveTo>
                    <a:pt x="28" y="29"/>
                  </a:moveTo>
                  <a:lnTo>
                    <a:pt x="28" y="29"/>
                  </a:lnTo>
                  <a:cubicBezTo>
                    <a:pt x="28" y="0"/>
                    <a:pt x="28" y="0"/>
                    <a:pt x="28" y="0"/>
                  </a:cubicBezTo>
                  <a:lnTo>
                    <a:pt x="28" y="0"/>
                  </a:lnTo>
                  <a:lnTo>
                    <a:pt x="28" y="0"/>
                  </a:lnTo>
                  <a:cubicBezTo>
                    <a:pt x="28" y="29"/>
                    <a:pt x="28" y="29"/>
                    <a:pt x="28" y="29"/>
                  </a:cubicBezTo>
                  <a:cubicBezTo>
                    <a:pt x="0" y="29"/>
                    <a:pt x="0" y="29"/>
                    <a:pt x="0" y="59"/>
                  </a:cubicBezTo>
                  <a:cubicBezTo>
                    <a:pt x="0" y="29"/>
                    <a:pt x="0" y="29"/>
                    <a:pt x="2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8" name="Freeform 536">
              <a:extLst>
                <a:ext uri="{FF2B5EF4-FFF2-40B4-BE49-F238E27FC236}">
                  <a16:creationId xmlns:a16="http://schemas.microsoft.com/office/drawing/2014/main" id="{511CEC10-098D-4BCF-BC6F-3CA27352CE94}"/>
                </a:ext>
              </a:extLst>
            </p:cNvPr>
            <p:cNvSpPr>
              <a:spLocks noChangeArrowheads="1"/>
            </p:cNvSpPr>
            <p:nvPr/>
          </p:nvSpPr>
          <p:spPr bwMode="auto">
            <a:xfrm>
              <a:off x="6864294" y="1424181"/>
              <a:ext cx="712680" cy="43695"/>
            </a:xfrm>
            <a:custGeom>
              <a:avLst/>
              <a:gdLst>
                <a:gd name="T0" fmla="*/ 1050 w 1925"/>
                <a:gd name="T1" fmla="*/ 59 h 118"/>
                <a:gd name="T2" fmla="*/ 1050 w 1925"/>
                <a:gd name="T3" fmla="*/ 59 h 118"/>
                <a:gd name="T4" fmla="*/ 1924 w 1925"/>
                <a:gd name="T5" fmla="*/ 117 h 118"/>
                <a:gd name="T6" fmla="*/ 1924 w 1925"/>
                <a:gd name="T7" fmla="*/ 117 h 118"/>
                <a:gd name="T8" fmla="*/ 1050 w 1925"/>
                <a:gd name="T9" fmla="*/ 59 h 118"/>
                <a:gd name="T10" fmla="*/ 0 w 1925"/>
                <a:gd name="T11" fmla="*/ 0 h 118"/>
                <a:gd name="T12" fmla="*/ 1050 w 1925"/>
                <a:gd name="T13" fmla="*/ 59 h 118"/>
              </a:gdLst>
              <a:ahLst/>
              <a:cxnLst>
                <a:cxn ang="0">
                  <a:pos x="T0" y="T1"/>
                </a:cxn>
                <a:cxn ang="0">
                  <a:pos x="T2" y="T3"/>
                </a:cxn>
                <a:cxn ang="0">
                  <a:pos x="T4" y="T5"/>
                </a:cxn>
                <a:cxn ang="0">
                  <a:pos x="T6" y="T7"/>
                </a:cxn>
                <a:cxn ang="0">
                  <a:pos x="T8" y="T9"/>
                </a:cxn>
                <a:cxn ang="0">
                  <a:pos x="T10" y="T11"/>
                </a:cxn>
                <a:cxn ang="0">
                  <a:pos x="T12" y="T13"/>
                </a:cxn>
              </a:cxnLst>
              <a:rect l="0" t="0" r="r" b="b"/>
              <a:pathLst>
                <a:path w="1925" h="118">
                  <a:moveTo>
                    <a:pt x="1050" y="59"/>
                  </a:moveTo>
                  <a:lnTo>
                    <a:pt x="1050" y="59"/>
                  </a:lnTo>
                  <a:cubicBezTo>
                    <a:pt x="1341" y="59"/>
                    <a:pt x="1633" y="88"/>
                    <a:pt x="1924" y="117"/>
                  </a:cubicBezTo>
                  <a:lnTo>
                    <a:pt x="1924" y="117"/>
                  </a:lnTo>
                  <a:cubicBezTo>
                    <a:pt x="1633" y="88"/>
                    <a:pt x="1341" y="59"/>
                    <a:pt x="1050" y="59"/>
                  </a:cubicBezTo>
                  <a:cubicBezTo>
                    <a:pt x="700" y="29"/>
                    <a:pt x="350" y="29"/>
                    <a:pt x="0" y="0"/>
                  </a:cubicBezTo>
                  <a:cubicBezTo>
                    <a:pt x="350" y="29"/>
                    <a:pt x="700" y="29"/>
                    <a:pt x="105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9" name="Freeform 537">
              <a:extLst>
                <a:ext uri="{FF2B5EF4-FFF2-40B4-BE49-F238E27FC236}">
                  <a16:creationId xmlns:a16="http://schemas.microsoft.com/office/drawing/2014/main" id="{EDA9A5A6-68D4-4E4E-A6A4-951809EAE89E}"/>
                </a:ext>
              </a:extLst>
            </p:cNvPr>
            <p:cNvSpPr>
              <a:spLocks noChangeArrowheads="1"/>
            </p:cNvSpPr>
            <p:nvPr/>
          </p:nvSpPr>
          <p:spPr bwMode="auto">
            <a:xfrm>
              <a:off x="4179922" y="985617"/>
              <a:ext cx="1631" cy="21038"/>
            </a:xfrm>
            <a:custGeom>
              <a:avLst/>
              <a:gdLst>
                <a:gd name="T0" fmla="*/ 0 w 1"/>
                <a:gd name="T1" fmla="*/ 58 h 59"/>
                <a:gd name="T2" fmla="*/ 0 w 1"/>
                <a:gd name="T3" fmla="*/ 58 h 59"/>
                <a:gd name="T4" fmla="*/ 0 w 1"/>
                <a:gd name="T5" fmla="*/ 29 h 59"/>
                <a:gd name="T6" fmla="*/ 0 w 1"/>
                <a:gd name="T7" fmla="*/ 0 h 59"/>
                <a:gd name="T8" fmla="*/ 0 w 1"/>
                <a:gd name="T9" fmla="*/ 29 h 59"/>
                <a:gd name="T10" fmla="*/ 0 w 1"/>
                <a:gd name="T11" fmla="*/ 58 h 59"/>
              </a:gdLst>
              <a:ahLst/>
              <a:cxnLst>
                <a:cxn ang="0">
                  <a:pos x="T0" y="T1"/>
                </a:cxn>
                <a:cxn ang="0">
                  <a:pos x="T2" y="T3"/>
                </a:cxn>
                <a:cxn ang="0">
                  <a:pos x="T4" y="T5"/>
                </a:cxn>
                <a:cxn ang="0">
                  <a:pos x="T6" y="T7"/>
                </a:cxn>
                <a:cxn ang="0">
                  <a:pos x="T8" y="T9"/>
                </a:cxn>
                <a:cxn ang="0">
                  <a:pos x="T10" y="T11"/>
                </a:cxn>
              </a:cxnLst>
              <a:rect l="0" t="0" r="r" b="b"/>
              <a:pathLst>
                <a:path w="1" h="59">
                  <a:moveTo>
                    <a:pt x="0" y="58"/>
                  </a:moveTo>
                  <a:lnTo>
                    <a:pt x="0" y="58"/>
                  </a:lnTo>
                  <a:lnTo>
                    <a:pt x="0" y="29"/>
                  </a:lnTo>
                  <a:cubicBezTo>
                    <a:pt x="0" y="29"/>
                    <a:pt x="0" y="29"/>
                    <a:pt x="0" y="0"/>
                  </a:cubicBezTo>
                  <a:cubicBezTo>
                    <a:pt x="0" y="29"/>
                    <a:pt x="0" y="29"/>
                    <a:pt x="0" y="29"/>
                  </a:cubicBez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0" name="Freeform 538">
              <a:extLst>
                <a:ext uri="{FF2B5EF4-FFF2-40B4-BE49-F238E27FC236}">
                  <a16:creationId xmlns:a16="http://schemas.microsoft.com/office/drawing/2014/main" id="{013F2407-51E6-4864-9E89-9495E38A3BE1}"/>
                </a:ext>
              </a:extLst>
            </p:cNvPr>
            <p:cNvSpPr>
              <a:spLocks noChangeArrowheads="1"/>
            </p:cNvSpPr>
            <p:nvPr/>
          </p:nvSpPr>
          <p:spPr bwMode="auto">
            <a:xfrm>
              <a:off x="4168507" y="1017983"/>
              <a:ext cx="11415" cy="11328"/>
            </a:xfrm>
            <a:custGeom>
              <a:avLst/>
              <a:gdLst>
                <a:gd name="T0" fmla="*/ 0 w 31"/>
                <a:gd name="T1" fmla="*/ 28 h 29"/>
                <a:gd name="T2" fmla="*/ 0 w 31"/>
                <a:gd name="T3" fmla="*/ 28 h 29"/>
                <a:gd name="T4" fmla="*/ 30 w 31"/>
                <a:gd name="T5" fmla="*/ 0 h 29"/>
                <a:gd name="T6" fmla="*/ 0 w 31"/>
                <a:gd name="T7" fmla="*/ 28 h 29"/>
              </a:gdLst>
              <a:ahLst/>
              <a:cxnLst>
                <a:cxn ang="0">
                  <a:pos x="T0" y="T1"/>
                </a:cxn>
                <a:cxn ang="0">
                  <a:pos x="T2" y="T3"/>
                </a:cxn>
                <a:cxn ang="0">
                  <a:pos x="T4" y="T5"/>
                </a:cxn>
                <a:cxn ang="0">
                  <a:pos x="T6" y="T7"/>
                </a:cxn>
              </a:cxnLst>
              <a:rect l="0" t="0" r="r" b="b"/>
              <a:pathLst>
                <a:path w="31" h="29">
                  <a:moveTo>
                    <a:pt x="0" y="28"/>
                  </a:moveTo>
                  <a:lnTo>
                    <a:pt x="0" y="28"/>
                  </a:lnTo>
                  <a:cubicBezTo>
                    <a:pt x="30" y="28"/>
                    <a:pt x="30" y="28"/>
                    <a:pt x="30" y="0"/>
                  </a:cubicBezTo>
                  <a:cubicBezTo>
                    <a:pt x="30" y="28"/>
                    <a:pt x="30" y="28"/>
                    <a:pt x="0" y="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1" name="Freeform 539">
              <a:extLst>
                <a:ext uri="{FF2B5EF4-FFF2-40B4-BE49-F238E27FC236}">
                  <a16:creationId xmlns:a16="http://schemas.microsoft.com/office/drawing/2014/main" id="{83610EC8-0F13-4072-8335-68C16DDECDEE}"/>
                </a:ext>
              </a:extLst>
            </p:cNvPr>
            <p:cNvSpPr>
              <a:spLocks noChangeArrowheads="1"/>
            </p:cNvSpPr>
            <p:nvPr/>
          </p:nvSpPr>
          <p:spPr bwMode="auto">
            <a:xfrm>
              <a:off x="7696025" y="1456548"/>
              <a:ext cx="76650" cy="1619"/>
            </a:xfrm>
            <a:custGeom>
              <a:avLst/>
              <a:gdLst>
                <a:gd name="T0" fmla="*/ 205 w 206"/>
                <a:gd name="T1" fmla="*/ 0 h 1"/>
                <a:gd name="T2" fmla="*/ 205 w 206"/>
                <a:gd name="T3" fmla="*/ 0 h 1"/>
                <a:gd name="T4" fmla="*/ 117 w 206"/>
                <a:gd name="T5" fmla="*/ 0 h 1"/>
                <a:gd name="T6" fmla="*/ 0 w 206"/>
                <a:gd name="T7" fmla="*/ 0 h 1"/>
                <a:gd name="T8" fmla="*/ 117 w 206"/>
                <a:gd name="T9" fmla="*/ 0 h 1"/>
                <a:gd name="T10" fmla="*/ 205 w 206"/>
                <a:gd name="T11" fmla="*/ 0 h 1"/>
              </a:gdLst>
              <a:ahLst/>
              <a:cxnLst>
                <a:cxn ang="0">
                  <a:pos x="T0" y="T1"/>
                </a:cxn>
                <a:cxn ang="0">
                  <a:pos x="T2" y="T3"/>
                </a:cxn>
                <a:cxn ang="0">
                  <a:pos x="T4" y="T5"/>
                </a:cxn>
                <a:cxn ang="0">
                  <a:pos x="T6" y="T7"/>
                </a:cxn>
                <a:cxn ang="0">
                  <a:pos x="T8" y="T9"/>
                </a:cxn>
                <a:cxn ang="0">
                  <a:pos x="T10" y="T11"/>
                </a:cxn>
              </a:cxnLst>
              <a:rect l="0" t="0" r="r" b="b"/>
              <a:pathLst>
                <a:path w="206" h="1">
                  <a:moveTo>
                    <a:pt x="205" y="0"/>
                  </a:moveTo>
                  <a:lnTo>
                    <a:pt x="205" y="0"/>
                  </a:lnTo>
                  <a:cubicBezTo>
                    <a:pt x="176" y="0"/>
                    <a:pt x="146" y="0"/>
                    <a:pt x="117" y="0"/>
                  </a:cubicBezTo>
                  <a:cubicBezTo>
                    <a:pt x="59" y="0"/>
                    <a:pt x="29" y="0"/>
                    <a:pt x="0" y="0"/>
                  </a:cubicBezTo>
                  <a:cubicBezTo>
                    <a:pt x="29" y="0"/>
                    <a:pt x="59" y="0"/>
                    <a:pt x="117" y="0"/>
                  </a:cubicBezTo>
                  <a:cubicBezTo>
                    <a:pt x="146" y="0"/>
                    <a:pt x="176" y="0"/>
                    <a:pt x="20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2" name="Freeform 540">
              <a:extLst>
                <a:ext uri="{FF2B5EF4-FFF2-40B4-BE49-F238E27FC236}">
                  <a16:creationId xmlns:a16="http://schemas.microsoft.com/office/drawing/2014/main" id="{B713FBA4-0DE7-47D1-9F40-8D386F34EAEE}"/>
                </a:ext>
              </a:extLst>
            </p:cNvPr>
            <p:cNvSpPr>
              <a:spLocks noChangeArrowheads="1"/>
            </p:cNvSpPr>
            <p:nvPr/>
          </p:nvSpPr>
          <p:spPr bwMode="auto">
            <a:xfrm>
              <a:off x="7674824" y="1456548"/>
              <a:ext cx="21200" cy="1619"/>
            </a:xfrm>
            <a:custGeom>
              <a:avLst/>
              <a:gdLst>
                <a:gd name="T0" fmla="*/ 28 w 58"/>
                <a:gd name="T1" fmla="*/ 0 h 1"/>
                <a:gd name="T2" fmla="*/ 57 w 58"/>
                <a:gd name="T3" fmla="*/ 0 h 1"/>
                <a:gd name="T4" fmla="*/ 0 w 58"/>
                <a:gd name="T5" fmla="*/ 0 h 1"/>
                <a:gd name="T6" fmla="*/ 28 w 58"/>
                <a:gd name="T7" fmla="*/ 0 h 1"/>
              </a:gdLst>
              <a:ahLst/>
              <a:cxnLst>
                <a:cxn ang="0">
                  <a:pos x="T0" y="T1"/>
                </a:cxn>
                <a:cxn ang="0">
                  <a:pos x="T2" y="T3"/>
                </a:cxn>
                <a:cxn ang="0">
                  <a:pos x="T4" y="T5"/>
                </a:cxn>
                <a:cxn ang="0">
                  <a:pos x="T6" y="T7"/>
                </a:cxn>
              </a:cxnLst>
              <a:rect l="0" t="0" r="r" b="b"/>
              <a:pathLst>
                <a:path w="58" h="1">
                  <a:moveTo>
                    <a:pt x="28" y="0"/>
                  </a:moveTo>
                  <a:lnTo>
                    <a:pt x="57" y="0"/>
                  </a:lnTo>
                  <a:lnTo>
                    <a:pt x="0" y="0"/>
                  </a:lnTo>
                  <a:lnTo>
                    <a:pt x="2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3" name="Freeform 541">
              <a:extLst>
                <a:ext uri="{FF2B5EF4-FFF2-40B4-BE49-F238E27FC236}">
                  <a16:creationId xmlns:a16="http://schemas.microsoft.com/office/drawing/2014/main" id="{7ACFD2F6-AFAF-4D51-97BA-A7D845DBE760}"/>
                </a:ext>
              </a:extLst>
            </p:cNvPr>
            <p:cNvSpPr>
              <a:spLocks noChangeArrowheads="1"/>
            </p:cNvSpPr>
            <p:nvPr/>
          </p:nvSpPr>
          <p:spPr bwMode="auto">
            <a:xfrm>
              <a:off x="4341376" y="1060060"/>
              <a:ext cx="22832" cy="11328"/>
            </a:xfrm>
            <a:custGeom>
              <a:avLst/>
              <a:gdLst>
                <a:gd name="T0" fmla="*/ 59 w 60"/>
                <a:gd name="T1" fmla="*/ 0 h 30"/>
                <a:gd name="T2" fmla="*/ 59 w 60"/>
                <a:gd name="T3" fmla="*/ 0 h 30"/>
                <a:gd name="T4" fmla="*/ 0 w 60"/>
                <a:gd name="T5" fmla="*/ 0 h 30"/>
                <a:gd name="T6" fmla="*/ 59 w 60"/>
                <a:gd name="T7" fmla="*/ 0 h 30"/>
              </a:gdLst>
              <a:ahLst/>
              <a:cxnLst>
                <a:cxn ang="0">
                  <a:pos x="T0" y="T1"/>
                </a:cxn>
                <a:cxn ang="0">
                  <a:pos x="T2" y="T3"/>
                </a:cxn>
                <a:cxn ang="0">
                  <a:pos x="T4" y="T5"/>
                </a:cxn>
                <a:cxn ang="0">
                  <a:pos x="T6" y="T7"/>
                </a:cxn>
              </a:cxnLst>
              <a:rect l="0" t="0" r="r" b="b"/>
              <a:pathLst>
                <a:path w="60" h="30">
                  <a:moveTo>
                    <a:pt x="59" y="0"/>
                  </a:moveTo>
                  <a:lnTo>
                    <a:pt x="59" y="0"/>
                  </a:lnTo>
                  <a:cubicBezTo>
                    <a:pt x="30" y="29"/>
                    <a:pt x="30" y="0"/>
                    <a:pt x="0" y="0"/>
                  </a:cubicBezTo>
                  <a:cubicBezTo>
                    <a:pt x="30" y="0"/>
                    <a:pt x="30" y="29"/>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4" name="Freeform 542">
              <a:extLst>
                <a:ext uri="{FF2B5EF4-FFF2-40B4-BE49-F238E27FC236}">
                  <a16:creationId xmlns:a16="http://schemas.microsoft.com/office/drawing/2014/main" id="{14A697A5-CF57-4E18-A8A3-1DB629532D44}"/>
                </a:ext>
              </a:extLst>
            </p:cNvPr>
            <p:cNvSpPr>
              <a:spLocks noChangeArrowheads="1"/>
            </p:cNvSpPr>
            <p:nvPr/>
          </p:nvSpPr>
          <p:spPr bwMode="auto">
            <a:xfrm>
              <a:off x="3953235" y="1713861"/>
              <a:ext cx="11415" cy="32366"/>
            </a:xfrm>
            <a:custGeom>
              <a:avLst/>
              <a:gdLst>
                <a:gd name="T0" fmla="*/ 30 w 31"/>
                <a:gd name="T1" fmla="*/ 0 h 89"/>
                <a:gd name="T2" fmla="*/ 30 w 31"/>
                <a:gd name="T3" fmla="*/ 0 h 89"/>
                <a:gd name="T4" fmla="*/ 0 w 31"/>
                <a:gd name="T5" fmla="*/ 88 h 89"/>
                <a:gd name="T6" fmla="*/ 30 w 31"/>
                <a:gd name="T7" fmla="*/ 0 h 89"/>
              </a:gdLst>
              <a:ahLst/>
              <a:cxnLst>
                <a:cxn ang="0">
                  <a:pos x="T0" y="T1"/>
                </a:cxn>
                <a:cxn ang="0">
                  <a:pos x="T2" y="T3"/>
                </a:cxn>
                <a:cxn ang="0">
                  <a:pos x="T4" y="T5"/>
                </a:cxn>
                <a:cxn ang="0">
                  <a:pos x="T6" y="T7"/>
                </a:cxn>
              </a:cxnLst>
              <a:rect l="0" t="0" r="r" b="b"/>
              <a:pathLst>
                <a:path w="31" h="89">
                  <a:moveTo>
                    <a:pt x="30" y="0"/>
                  </a:moveTo>
                  <a:lnTo>
                    <a:pt x="30" y="0"/>
                  </a:lnTo>
                  <a:cubicBezTo>
                    <a:pt x="30" y="29"/>
                    <a:pt x="0" y="58"/>
                    <a:pt x="0" y="88"/>
                  </a:cubicBezTo>
                  <a:cubicBezTo>
                    <a:pt x="0" y="58"/>
                    <a:pt x="30" y="29"/>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5" name="Freeform 543">
              <a:extLst>
                <a:ext uri="{FF2B5EF4-FFF2-40B4-BE49-F238E27FC236}">
                  <a16:creationId xmlns:a16="http://schemas.microsoft.com/office/drawing/2014/main" id="{94D958F3-EB18-4265-A653-7938E5B555EA}"/>
                </a:ext>
              </a:extLst>
            </p:cNvPr>
            <p:cNvSpPr>
              <a:spLocks noChangeArrowheads="1"/>
            </p:cNvSpPr>
            <p:nvPr/>
          </p:nvSpPr>
          <p:spPr bwMode="auto">
            <a:xfrm>
              <a:off x="4135890" y="1210563"/>
              <a:ext cx="32617" cy="32366"/>
            </a:xfrm>
            <a:custGeom>
              <a:avLst/>
              <a:gdLst>
                <a:gd name="T0" fmla="*/ 57 w 87"/>
                <a:gd name="T1" fmla="*/ 29 h 89"/>
                <a:gd name="T2" fmla="*/ 57 w 87"/>
                <a:gd name="T3" fmla="*/ 29 h 89"/>
                <a:gd name="T4" fmla="*/ 86 w 87"/>
                <a:gd name="T5" fmla="*/ 0 h 89"/>
                <a:gd name="T6" fmla="*/ 57 w 87"/>
                <a:gd name="T7" fmla="*/ 29 h 89"/>
                <a:gd name="T8" fmla="*/ 0 w 87"/>
                <a:gd name="T9" fmla="*/ 88 h 89"/>
                <a:gd name="T10" fmla="*/ 57 w 87"/>
                <a:gd name="T11" fmla="*/ 29 h 89"/>
              </a:gdLst>
              <a:ahLst/>
              <a:cxnLst>
                <a:cxn ang="0">
                  <a:pos x="T0" y="T1"/>
                </a:cxn>
                <a:cxn ang="0">
                  <a:pos x="T2" y="T3"/>
                </a:cxn>
                <a:cxn ang="0">
                  <a:pos x="T4" y="T5"/>
                </a:cxn>
                <a:cxn ang="0">
                  <a:pos x="T6" y="T7"/>
                </a:cxn>
                <a:cxn ang="0">
                  <a:pos x="T8" y="T9"/>
                </a:cxn>
                <a:cxn ang="0">
                  <a:pos x="T10" y="T11"/>
                </a:cxn>
              </a:cxnLst>
              <a:rect l="0" t="0" r="r" b="b"/>
              <a:pathLst>
                <a:path w="87" h="89">
                  <a:moveTo>
                    <a:pt x="57" y="29"/>
                  </a:moveTo>
                  <a:lnTo>
                    <a:pt x="57" y="29"/>
                  </a:lnTo>
                  <a:cubicBezTo>
                    <a:pt x="57" y="0"/>
                    <a:pt x="86" y="0"/>
                    <a:pt x="86" y="0"/>
                  </a:cubicBezTo>
                  <a:cubicBezTo>
                    <a:pt x="86" y="0"/>
                    <a:pt x="57" y="0"/>
                    <a:pt x="57" y="29"/>
                  </a:cubicBezTo>
                  <a:cubicBezTo>
                    <a:pt x="28" y="29"/>
                    <a:pt x="28" y="59"/>
                    <a:pt x="0" y="88"/>
                  </a:cubicBezTo>
                  <a:cubicBezTo>
                    <a:pt x="28" y="59"/>
                    <a:pt x="28" y="29"/>
                    <a:pt x="57"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6" name="Freeform 544">
              <a:extLst>
                <a:ext uri="{FF2B5EF4-FFF2-40B4-BE49-F238E27FC236}">
                  <a16:creationId xmlns:a16="http://schemas.microsoft.com/office/drawing/2014/main" id="{786875C6-D670-458D-8FF8-1AA970CC9C8D}"/>
                </a:ext>
              </a:extLst>
            </p:cNvPr>
            <p:cNvSpPr>
              <a:spLocks noChangeArrowheads="1"/>
            </p:cNvSpPr>
            <p:nvPr/>
          </p:nvSpPr>
          <p:spPr bwMode="auto">
            <a:xfrm>
              <a:off x="3920618" y="1744608"/>
              <a:ext cx="32617" cy="43695"/>
            </a:xfrm>
            <a:custGeom>
              <a:avLst/>
              <a:gdLst>
                <a:gd name="T0" fmla="*/ 87 w 88"/>
                <a:gd name="T1" fmla="*/ 0 h 117"/>
                <a:gd name="T2" fmla="*/ 87 w 88"/>
                <a:gd name="T3" fmla="*/ 0 h 117"/>
                <a:gd name="T4" fmla="*/ 0 w 88"/>
                <a:gd name="T5" fmla="*/ 116 h 117"/>
                <a:gd name="T6" fmla="*/ 87 w 88"/>
                <a:gd name="T7" fmla="*/ 0 h 117"/>
              </a:gdLst>
              <a:ahLst/>
              <a:cxnLst>
                <a:cxn ang="0">
                  <a:pos x="T0" y="T1"/>
                </a:cxn>
                <a:cxn ang="0">
                  <a:pos x="T2" y="T3"/>
                </a:cxn>
                <a:cxn ang="0">
                  <a:pos x="T4" y="T5"/>
                </a:cxn>
                <a:cxn ang="0">
                  <a:pos x="T6" y="T7"/>
                </a:cxn>
              </a:cxnLst>
              <a:rect l="0" t="0" r="r" b="b"/>
              <a:pathLst>
                <a:path w="88" h="117">
                  <a:moveTo>
                    <a:pt x="87" y="0"/>
                  </a:moveTo>
                  <a:lnTo>
                    <a:pt x="87" y="0"/>
                  </a:lnTo>
                  <a:cubicBezTo>
                    <a:pt x="29" y="29"/>
                    <a:pt x="0" y="58"/>
                    <a:pt x="0" y="116"/>
                  </a:cubicBezTo>
                  <a:cubicBezTo>
                    <a:pt x="0" y="58"/>
                    <a:pt x="29" y="29"/>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7" name="Freeform 545">
              <a:extLst>
                <a:ext uri="{FF2B5EF4-FFF2-40B4-BE49-F238E27FC236}">
                  <a16:creationId xmlns:a16="http://schemas.microsoft.com/office/drawing/2014/main" id="{EF66725F-3BE6-4645-A4AD-CDD1DB3D78E2}"/>
                </a:ext>
              </a:extLst>
            </p:cNvPr>
            <p:cNvSpPr>
              <a:spLocks noChangeArrowheads="1"/>
            </p:cNvSpPr>
            <p:nvPr/>
          </p:nvSpPr>
          <p:spPr bwMode="auto">
            <a:xfrm>
              <a:off x="4049455" y="151966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8" name="Freeform 546">
              <a:extLst>
                <a:ext uri="{FF2B5EF4-FFF2-40B4-BE49-F238E27FC236}">
                  <a16:creationId xmlns:a16="http://schemas.microsoft.com/office/drawing/2014/main" id="{4779FCFA-4D74-4D93-9D3F-1B0FC1545224}"/>
                </a:ext>
              </a:extLst>
            </p:cNvPr>
            <p:cNvSpPr>
              <a:spLocks noChangeArrowheads="1"/>
            </p:cNvSpPr>
            <p:nvPr/>
          </p:nvSpPr>
          <p:spPr bwMode="auto">
            <a:xfrm>
              <a:off x="4018469" y="1530990"/>
              <a:ext cx="32617" cy="32366"/>
            </a:xfrm>
            <a:custGeom>
              <a:avLst/>
              <a:gdLst>
                <a:gd name="T0" fmla="*/ 87 w 88"/>
                <a:gd name="T1" fmla="*/ 0 h 88"/>
                <a:gd name="T2" fmla="*/ 87 w 88"/>
                <a:gd name="T3" fmla="*/ 0 h 88"/>
                <a:gd name="T4" fmla="*/ 0 w 88"/>
                <a:gd name="T5" fmla="*/ 87 h 88"/>
                <a:gd name="T6" fmla="*/ 87 w 88"/>
                <a:gd name="T7" fmla="*/ 0 h 88"/>
              </a:gdLst>
              <a:ahLst/>
              <a:cxnLst>
                <a:cxn ang="0">
                  <a:pos x="T0" y="T1"/>
                </a:cxn>
                <a:cxn ang="0">
                  <a:pos x="T2" y="T3"/>
                </a:cxn>
                <a:cxn ang="0">
                  <a:pos x="T4" y="T5"/>
                </a:cxn>
                <a:cxn ang="0">
                  <a:pos x="T6" y="T7"/>
                </a:cxn>
              </a:cxnLst>
              <a:rect l="0" t="0" r="r" b="b"/>
              <a:pathLst>
                <a:path w="88" h="88">
                  <a:moveTo>
                    <a:pt x="87" y="0"/>
                  </a:moveTo>
                  <a:lnTo>
                    <a:pt x="87" y="0"/>
                  </a:lnTo>
                  <a:cubicBezTo>
                    <a:pt x="57" y="29"/>
                    <a:pt x="28" y="58"/>
                    <a:pt x="0" y="87"/>
                  </a:cubicBezTo>
                  <a:cubicBezTo>
                    <a:pt x="28" y="58"/>
                    <a:pt x="57" y="29"/>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69" name="Freeform 547">
              <a:extLst>
                <a:ext uri="{FF2B5EF4-FFF2-40B4-BE49-F238E27FC236}">
                  <a16:creationId xmlns:a16="http://schemas.microsoft.com/office/drawing/2014/main" id="{9E95C860-5751-4B04-980B-D7C250636DF4}"/>
                </a:ext>
              </a:extLst>
            </p:cNvPr>
            <p:cNvSpPr>
              <a:spLocks noChangeArrowheads="1"/>
            </p:cNvSpPr>
            <p:nvPr/>
          </p:nvSpPr>
          <p:spPr bwMode="auto">
            <a:xfrm>
              <a:off x="10013457" y="5523386"/>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0" name="Freeform 548">
              <a:extLst>
                <a:ext uri="{FF2B5EF4-FFF2-40B4-BE49-F238E27FC236}">
                  <a16:creationId xmlns:a16="http://schemas.microsoft.com/office/drawing/2014/main" id="{4D037FE4-33A9-42C5-9D62-AE9FE25C8FF3}"/>
                </a:ext>
              </a:extLst>
            </p:cNvPr>
            <p:cNvSpPr>
              <a:spLocks noChangeArrowheads="1"/>
            </p:cNvSpPr>
            <p:nvPr/>
          </p:nvSpPr>
          <p:spPr bwMode="auto">
            <a:xfrm>
              <a:off x="10143924" y="5694928"/>
              <a:ext cx="11415" cy="1618"/>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1" name="Freeform 549">
              <a:extLst>
                <a:ext uri="{FF2B5EF4-FFF2-40B4-BE49-F238E27FC236}">
                  <a16:creationId xmlns:a16="http://schemas.microsoft.com/office/drawing/2014/main" id="{816EC6D4-E561-4043-8EA8-BF7136300627}"/>
                </a:ext>
              </a:extLst>
            </p:cNvPr>
            <p:cNvSpPr>
              <a:spLocks noChangeArrowheads="1"/>
            </p:cNvSpPr>
            <p:nvPr/>
          </p:nvSpPr>
          <p:spPr bwMode="auto">
            <a:xfrm>
              <a:off x="10078691" y="5609157"/>
              <a:ext cx="21200" cy="1619"/>
            </a:xfrm>
            <a:custGeom>
              <a:avLst/>
              <a:gdLst>
                <a:gd name="T0" fmla="*/ 0 w 59"/>
                <a:gd name="T1" fmla="*/ 0 h 1"/>
                <a:gd name="T2" fmla="*/ 0 w 59"/>
                <a:gd name="T3" fmla="*/ 0 h 1"/>
                <a:gd name="T4" fmla="*/ 0 w 59"/>
                <a:gd name="T5" fmla="*/ 0 h 1"/>
                <a:gd name="T6" fmla="*/ 0 w 59"/>
                <a:gd name="T7" fmla="*/ 0 h 1"/>
                <a:gd name="T8" fmla="*/ 0 w 59"/>
                <a:gd name="T9" fmla="*/ 0 h 1"/>
                <a:gd name="T10" fmla="*/ 0 w 59"/>
                <a:gd name="T11" fmla="*/ 0 h 1"/>
                <a:gd name="T12" fmla="*/ 58 w 59"/>
                <a:gd name="T13" fmla="*/ 0 h 1"/>
                <a:gd name="T14" fmla="*/ 58 w 59"/>
                <a:gd name="T15" fmla="*/ 0 h 1"/>
                <a:gd name="T16" fmla="*/ 58 w 59"/>
                <a:gd name="T17" fmla="*/ 0 h 1"/>
                <a:gd name="T18" fmla="*/ 0 w 59"/>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
                  <a:moveTo>
                    <a:pt x="0" y="0"/>
                  </a:moveTo>
                  <a:lnTo>
                    <a:pt x="0" y="0"/>
                  </a:lnTo>
                  <a:lnTo>
                    <a:pt x="0" y="0"/>
                  </a:lnTo>
                  <a:lnTo>
                    <a:pt x="0" y="0"/>
                  </a:lnTo>
                  <a:lnTo>
                    <a:pt x="0" y="0"/>
                  </a:lnTo>
                  <a:lnTo>
                    <a:pt x="0" y="0"/>
                  </a:lnTo>
                  <a:cubicBezTo>
                    <a:pt x="29" y="0"/>
                    <a:pt x="58" y="0"/>
                    <a:pt x="58" y="0"/>
                  </a:cubicBezTo>
                  <a:lnTo>
                    <a:pt x="58" y="0"/>
                  </a:lnTo>
                  <a:lnTo>
                    <a:pt x="58" y="0"/>
                  </a:lnTo>
                  <a:cubicBezTo>
                    <a:pt x="58"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2" name="Freeform 550">
              <a:extLst>
                <a:ext uri="{FF2B5EF4-FFF2-40B4-BE49-F238E27FC236}">
                  <a16:creationId xmlns:a16="http://schemas.microsoft.com/office/drawing/2014/main" id="{30A40556-9D3D-43B1-BE12-993CA47F7361}"/>
                </a:ext>
              </a:extLst>
            </p:cNvPr>
            <p:cNvSpPr>
              <a:spLocks noChangeArrowheads="1"/>
            </p:cNvSpPr>
            <p:nvPr/>
          </p:nvSpPr>
          <p:spPr bwMode="auto">
            <a:xfrm>
              <a:off x="10132508" y="5683599"/>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3" name="Freeform 551">
              <a:extLst>
                <a:ext uri="{FF2B5EF4-FFF2-40B4-BE49-F238E27FC236}">
                  <a16:creationId xmlns:a16="http://schemas.microsoft.com/office/drawing/2014/main" id="{A2906731-58D3-4E4C-AF3C-7ECF81A3DDD6}"/>
                </a:ext>
              </a:extLst>
            </p:cNvPr>
            <p:cNvSpPr>
              <a:spLocks noChangeArrowheads="1"/>
            </p:cNvSpPr>
            <p:nvPr/>
          </p:nvSpPr>
          <p:spPr bwMode="auto">
            <a:xfrm>
              <a:off x="10090106" y="5609157"/>
              <a:ext cx="21202" cy="21039"/>
            </a:xfrm>
            <a:custGeom>
              <a:avLst/>
              <a:gdLst>
                <a:gd name="T0" fmla="*/ 29 w 59"/>
                <a:gd name="T1" fmla="*/ 58 h 59"/>
                <a:gd name="T2" fmla="*/ 29 w 59"/>
                <a:gd name="T3" fmla="*/ 58 h 59"/>
                <a:gd name="T4" fmla="*/ 29 w 59"/>
                <a:gd name="T5" fmla="*/ 58 h 59"/>
                <a:gd name="T6" fmla="*/ 29 w 59"/>
                <a:gd name="T7" fmla="*/ 58 h 59"/>
                <a:gd name="T8" fmla="*/ 29 w 59"/>
                <a:gd name="T9" fmla="*/ 0 h 59"/>
                <a:gd name="T10" fmla="*/ 29 w 59"/>
                <a:gd name="T11" fmla="*/ 58 h 59"/>
                <a:gd name="T12" fmla="*/ 29 w 59"/>
                <a:gd name="T13" fmla="*/ 58 h 59"/>
                <a:gd name="T14" fmla="*/ 29 w 59"/>
                <a:gd name="T15" fmla="*/ 58 h 59"/>
                <a:gd name="T16" fmla="*/ 58 w 59"/>
                <a:gd name="T17" fmla="*/ 58 h 59"/>
                <a:gd name="T18" fmla="*/ 58 w 59"/>
                <a:gd name="T19" fmla="*/ 58 h 59"/>
                <a:gd name="T20" fmla="*/ 29 w 59"/>
                <a:gd name="T2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59">
                  <a:moveTo>
                    <a:pt x="29" y="58"/>
                  </a:moveTo>
                  <a:lnTo>
                    <a:pt x="29" y="58"/>
                  </a:lnTo>
                  <a:lnTo>
                    <a:pt x="29" y="58"/>
                  </a:lnTo>
                  <a:lnTo>
                    <a:pt x="29" y="58"/>
                  </a:lnTo>
                  <a:cubicBezTo>
                    <a:pt x="0" y="29"/>
                    <a:pt x="29" y="29"/>
                    <a:pt x="29" y="0"/>
                  </a:cubicBezTo>
                  <a:cubicBezTo>
                    <a:pt x="29" y="29"/>
                    <a:pt x="0" y="29"/>
                    <a:pt x="29" y="58"/>
                  </a:cubicBezTo>
                  <a:lnTo>
                    <a:pt x="29" y="58"/>
                  </a:lnTo>
                  <a:lnTo>
                    <a:pt x="29" y="58"/>
                  </a:lnTo>
                  <a:lnTo>
                    <a:pt x="58" y="58"/>
                  </a:lnTo>
                  <a:lnTo>
                    <a:pt x="58" y="58"/>
                  </a:lnTo>
                  <a:lnTo>
                    <a:pt x="29"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4" name="Freeform 552">
              <a:extLst>
                <a:ext uri="{FF2B5EF4-FFF2-40B4-BE49-F238E27FC236}">
                  <a16:creationId xmlns:a16="http://schemas.microsoft.com/office/drawing/2014/main" id="{3A33439E-9BA9-4967-9D1B-018F73EEBAAC}"/>
                </a:ext>
              </a:extLst>
            </p:cNvPr>
            <p:cNvSpPr>
              <a:spLocks noChangeArrowheads="1"/>
            </p:cNvSpPr>
            <p:nvPr/>
          </p:nvSpPr>
          <p:spPr bwMode="auto">
            <a:xfrm>
              <a:off x="9344810" y="2034288"/>
              <a:ext cx="11415" cy="11328"/>
            </a:xfrm>
            <a:custGeom>
              <a:avLst/>
              <a:gdLst>
                <a:gd name="T0" fmla="*/ 0 w 31"/>
                <a:gd name="T1" fmla="*/ 29 h 30"/>
                <a:gd name="T2" fmla="*/ 0 w 31"/>
                <a:gd name="T3" fmla="*/ 29 h 30"/>
                <a:gd name="T4" fmla="*/ 30 w 31"/>
                <a:gd name="T5" fmla="*/ 0 h 30"/>
                <a:gd name="T6" fmla="*/ 0 w 31"/>
                <a:gd name="T7" fmla="*/ 29 h 30"/>
              </a:gdLst>
              <a:ahLst/>
              <a:cxnLst>
                <a:cxn ang="0">
                  <a:pos x="T0" y="T1"/>
                </a:cxn>
                <a:cxn ang="0">
                  <a:pos x="T2" y="T3"/>
                </a:cxn>
                <a:cxn ang="0">
                  <a:pos x="T4" y="T5"/>
                </a:cxn>
                <a:cxn ang="0">
                  <a:pos x="T6" y="T7"/>
                </a:cxn>
              </a:cxnLst>
              <a:rect l="0" t="0" r="r" b="b"/>
              <a:pathLst>
                <a:path w="31" h="30">
                  <a:moveTo>
                    <a:pt x="0" y="29"/>
                  </a:moveTo>
                  <a:lnTo>
                    <a:pt x="0" y="29"/>
                  </a:lnTo>
                  <a:lnTo>
                    <a:pt x="3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5" name="Freeform 553">
              <a:extLst>
                <a:ext uri="{FF2B5EF4-FFF2-40B4-BE49-F238E27FC236}">
                  <a16:creationId xmlns:a16="http://schemas.microsoft.com/office/drawing/2014/main" id="{9EB2E194-C0B4-4357-85A0-B6B538C9A387}"/>
                </a:ext>
              </a:extLst>
            </p:cNvPr>
            <p:cNvSpPr>
              <a:spLocks noChangeArrowheads="1"/>
            </p:cNvSpPr>
            <p:nvPr/>
          </p:nvSpPr>
          <p:spPr bwMode="auto">
            <a:xfrm>
              <a:off x="10078691" y="560915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6" name="Freeform 554">
              <a:extLst>
                <a:ext uri="{FF2B5EF4-FFF2-40B4-BE49-F238E27FC236}">
                  <a16:creationId xmlns:a16="http://schemas.microsoft.com/office/drawing/2014/main" id="{1E9CCA2A-62F2-478D-B5C9-2DBD1D31C23C}"/>
                </a:ext>
              </a:extLst>
            </p:cNvPr>
            <p:cNvSpPr>
              <a:spLocks noChangeArrowheads="1"/>
            </p:cNvSpPr>
            <p:nvPr/>
          </p:nvSpPr>
          <p:spPr bwMode="auto">
            <a:xfrm>
              <a:off x="10218943" y="5748332"/>
              <a:ext cx="21200" cy="11329"/>
            </a:xfrm>
            <a:custGeom>
              <a:avLst/>
              <a:gdLst>
                <a:gd name="T0" fmla="*/ 58 w 59"/>
                <a:gd name="T1" fmla="*/ 0 h 30"/>
                <a:gd name="T2" fmla="*/ 58 w 59"/>
                <a:gd name="T3" fmla="*/ 0 h 30"/>
                <a:gd name="T4" fmla="*/ 29 w 59"/>
                <a:gd name="T5" fmla="*/ 29 h 30"/>
                <a:gd name="T6" fmla="*/ 29 w 59"/>
                <a:gd name="T7" fmla="*/ 29 h 30"/>
                <a:gd name="T8" fmla="*/ 0 w 59"/>
                <a:gd name="T9" fmla="*/ 29 h 30"/>
                <a:gd name="T10" fmla="*/ 29 w 59"/>
                <a:gd name="T11" fmla="*/ 29 h 30"/>
                <a:gd name="T12" fmla="*/ 29 w 59"/>
                <a:gd name="T13" fmla="*/ 29 h 30"/>
                <a:gd name="T14" fmla="*/ 58 w 59"/>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0">
                  <a:moveTo>
                    <a:pt x="58" y="0"/>
                  </a:moveTo>
                  <a:lnTo>
                    <a:pt x="58" y="0"/>
                  </a:lnTo>
                  <a:cubicBezTo>
                    <a:pt x="29" y="29"/>
                    <a:pt x="29" y="29"/>
                    <a:pt x="29" y="29"/>
                  </a:cubicBezTo>
                  <a:lnTo>
                    <a:pt x="29" y="29"/>
                  </a:lnTo>
                  <a:lnTo>
                    <a:pt x="0" y="29"/>
                  </a:lnTo>
                  <a:lnTo>
                    <a:pt x="29" y="29"/>
                  </a:lnTo>
                  <a:lnTo>
                    <a:pt x="29" y="29"/>
                  </a:lnTo>
                  <a:cubicBezTo>
                    <a:pt x="58" y="0"/>
                    <a:pt x="58"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7" name="Freeform 555">
              <a:extLst>
                <a:ext uri="{FF2B5EF4-FFF2-40B4-BE49-F238E27FC236}">
                  <a16:creationId xmlns:a16="http://schemas.microsoft.com/office/drawing/2014/main" id="{98CDF770-833A-4C5A-944B-C20BBCC1FD2F}"/>
                </a:ext>
              </a:extLst>
            </p:cNvPr>
            <p:cNvSpPr>
              <a:spLocks noChangeArrowheads="1"/>
            </p:cNvSpPr>
            <p:nvPr/>
          </p:nvSpPr>
          <p:spPr bwMode="auto">
            <a:xfrm>
              <a:off x="10207527" y="5704638"/>
              <a:ext cx="1631" cy="11328"/>
            </a:xfrm>
            <a:custGeom>
              <a:avLst/>
              <a:gdLst>
                <a:gd name="T0" fmla="*/ 0 w 1"/>
                <a:gd name="T1" fmla="*/ 0 h 29"/>
                <a:gd name="T2" fmla="*/ 0 w 1"/>
                <a:gd name="T3" fmla="*/ 0 h 29"/>
                <a:gd name="T4" fmla="*/ 0 w 1"/>
                <a:gd name="T5" fmla="*/ 28 h 29"/>
                <a:gd name="T6" fmla="*/ 0 w 1"/>
                <a:gd name="T7" fmla="*/ 0 h 29"/>
              </a:gdLst>
              <a:ahLst/>
              <a:cxnLst>
                <a:cxn ang="0">
                  <a:pos x="T0" y="T1"/>
                </a:cxn>
                <a:cxn ang="0">
                  <a:pos x="T2" y="T3"/>
                </a:cxn>
                <a:cxn ang="0">
                  <a:pos x="T4" y="T5"/>
                </a:cxn>
                <a:cxn ang="0">
                  <a:pos x="T6" y="T7"/>
                </a:cxn>
              </a:cxnLst>
              <a:rect l="0" t="0" r="r" b="b"/>
              <a:pathLst>
                <a:path w="1" h="29">
                  <a:moveTo>
                    <a:pt x="0" y="0"/>
                  </a:moveTo>
                  <a:lnTo>
                    <a:pt x="0" y="0"/>
                  </a:lnTo>
                  <a:lnTo>
                    <a:pt x="0" y="28"/>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8" name="Freeform 556">
              <a:extLst>
                <a:ext uri="{FF2B5EF4-FFF2-40B4-BE49-F238E27FC236}">
                  <a16:creationId xmlns:a16="http://schemas.microsoft.com/office/drawing/2014/main" id="{6B93800F-1EBE-45E6-8FB0-B8B3B87D2DA9}"/>
                </a:ext>
              </a:extLst>
            </p:cNvPr>
            <p:cNvSpPr>
              <a:spLocks noChangeArrowheads="1"/>
            </p:cNvSpPr>
            <p:nvPr/>
          </p:nvSpPr>
          <p:spPr bwMode="auto">
            <a:xfrm>
              <a:off x="10284177" y="5683599"/>
              <a:ext cx="22832" cy="32366"/>
            </a:xfrm>
            <a:custGeom>
              <a:avLst/>
              <a:gdLst>
                <a:gd name="T0" fmla="*/ 59 w 60"/>
                <a:gd name="T1" fmla="*/ 29 h 87"/>
                <a:gd name="T2" fmla="*/ 59 w 60"/>
                <a:gd name="T3" fmla="*/ 29 h 87"/>
                <a:gd name="T4" fmla="*/ 0 w 60"/>
                <a:gd name="T5" fmla="*/ 86 h 87"/>
                <a:gd name="T6" fmla="*/ 59 w 60"/>
                <a:gd name="T7" fmla="*/ 29 h 87"/>
                <a:gd name="T8" fmla="*/ 59 w 60"/>
                <a:gd name="T9" fmla="*/ 0 h 87"/>
                <a:gd name="T10" fmla="*/ 59 w 60"/>
                <a:gd name="T11" fmla="*/ 0 h 87"/>
                <a:gd name="T12" fmla="*/ 59 w 60"/>
                <a:gd name="T13" fmla="*/ 29 h 87"/>
              </a:gdLst>
              <a:ahLst/>
              <a:cxnLst>
                <a:cxn ang="0">
                  <a:pos x="T0" y="T1"/>
                </a:cxn>
                <a:cxn ang="0">
                  <a:pos x="T2" y="T3"/>
                </a:cxn>
                <a:cxn ang="0">
                  <a:pos x="T4" y="T5"/>
                </a:cxn>
                <a:cxn ang="0">
                  <a:pos x="T6" y="T7"/>
                </a:cxn>
                <a:cxn ang="0">
                  <a:pos x="T8" y="T9"/>
                </a:cxn>
                <a:cxn ang="0">
                  <a:pos x="T10" y="T11"/>
                </a:cxn>
                <a:cxn ang="0">
                  <a:pos x="T12" y="T13"/>
                </a:cxn>
              </a:cxnLst>
              <a:rect l="0" t="0" r="r" b="b"/>
              <a:pathLst>
                <a:path w="60" h="87">
                  <a:moveTo>
                    <a:pt x="59" y="29"/>
                  </a:moveTo>
                  <a:lnTo>
                    <a:pt x="59" y="29"/>
                  </a:lnTo>
                  <a:cubicBezTo>
                    <a:pt x="29" y="58"/>
                    <a:pt x="29" y="58"/>
                    <a:pt x="0" y="86"/>
                  </a:cubicBezTo>
                  <a:cubicBezTo>
                    <a:pt x="29" y="58"/>
                    <a:pt x="29" y="58"/>
                    <a:pt x="59" y="29"/>
                  </a:cubicBezTo>
                  <a:cubicBezTo>
                    <a:pt x="59" y="0"/>
                    <a:pt x="59" y="0"/>
                    <a:pt x="59" y="0"/>
                  </a:cubicBezTo>
                  <a:lnTo>
                    <a:pt x="59" y="0"/>
                  </a:lnTo>
                  <a:lnTo>
                    <a:pt x="5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79" name="Freeform 557">
              <a:extLst>
                <a:ext uri="{FF2B5EF4-FFF2-40B4-BE49-F238E27FC236}">
                  <a16:creationId xmlns:a16="http://schemas.microsoft.com/office/drawing/2014/main" id="{80F9B9A2-5182-499F-B71A-6D081232FF3E}"/>
                </a:ext>
              </a:extLst>
            </p:cNvPr>
            <p:cNvSpPr>
              <a:spLocks noChangeArrowheads="1"/>
            </p:cNvSpPr>
            <p:nvPr/>
          </p:nvSpPr>
          <p:spPr bwMode="auto">
            <a:xfrm>
              <a:off x="10326579" y="5533096"/>
              <a:ext cx="1630" cy="22656"/>
            </a:xfrm>
            <a:custGeom>
              <a:avLst/>
              <a:gdLst>
                <a:gd name="T0" fmla="*/ 0 w 1"/>
                <a:gd name="T1" fmla="*/ 59 h 60"/>
                <a:gd name="T2" fmla="*/ 0 w 1"/>
                <a:gd name="T3" fmla="*/ 59 h 60"/>
                <a:gd name="T4" fmla="*/ 0 w 1"/>
                <a:gd name="T5" fmla="*/ 0 h 60"/>
                <a:gd name="T6" fmla="*/ 0 w 1"/>
                <a:gd name="T7" fmla="*/ 59 h 60"/>
              </a:gdLst>
              <a:ahLst/>
              <a:cxnLst>
                <a:cxn ang="0">
                  <a:pos x="T0" y="T1"/>
                </a:cxn>
                <a:cxn ang="0">
                  <a:pos x="T2" y="T3"/>
                </a:cxn>
                <a:cxn ang="0">
                  <a:pos x="T4" y="T5"/>
                </a:cxn>
                <a:cxn ang="0">
                  <a:pos x="T6" y="T7"/>
                </a:cxn>
              </a:cxnLst>
              <a:rect l="0" t="0" r="r" b="b"/>
              <a:pathLst>
                <a:path w="1" h="60">
                  <a:moveTo>
                    <a:pt x="0" y="59"/>
                  </a:moveTo>
                  <a:lnTo>
                    <a:pt x="0" y="59"/>
                  </a:lnTo>
                  <a:cubicBezTo>
                    <a:pt x="0" y="59"/>
                    <a:pt x="0" y="29"/>
                    <a:pt x="0" y="0"/>
                  </a:cubicBezTo>
                  <a:cubicBezTo>
                    <a:pt x="0" y="29"/>
                    <a:pt x="0" y="59"/>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0" name="Freeform 558">
              <a:extLst>
                <a:ext uri="{FF2B5EF4-FFF2-40B4-BE49-F238E27FC236}">
                  <a16:creationId xmlns:a16="http://schemas.microsoft.com/office/drawing/2014/main" id="{FFCAAF3C-7A04-4680-9395-D5D4C47A0D68}"/>
                </a:ext>
              </a:extLst>
            </p:cNvPr>
            <p:cNvSpPr>
              <a:spLocks noChangeArrowheads="1"/>
            </p:cNvSpPr>
            <p:nvPr/>
          </p:nvSpPr>
          <p:spPr bwMode="auto">
            <a:xfrm>
              <a:off x="10240144" y="5725676"/>
              <a:ext cx="11416" cy="11329"/>
            </a:xfrm>
            <a:custGeom>
              <a:avLst/>
              <a:gdLst>
                <a:gd name="T0" fmla="*/ 0 w 30"/>
                <a:gd name="T1" fmla="*/ 29 h 30"/>
                <a:gd name="T2" fmla="*/ 0 w 30"/>
                <a:gd name="T3" fmla="*/ 29 h 30"/>
                <a:gd name="T4" fmla="*/ 0 w 30"/>
                <a:gd name="T5" fmla="*/ 29 h 30"/>
                <a:gd name="T6" fmla="*/ 0 w 30"/>
                <a:gd name="T7" fmla="*/ 29 h 30"/>
                <a:gd name="T8" fmla="*/ 29 w 30"/>
                <a:gd name="T9" fmla="*/ 0 h 30"/>
                <a:gd name="T10" fmla="*/ 0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0" y="29"/>
                  </a:moveTo>
                  <a:lnTo>
                    <a:pt x="0" y="29"/>
                  </a:lnTo>
                  <a:lnTo>
                    <a:pt x="0" y="29"/>
                  </a:lnTo>
                  <a:lnTo>
                    <a:pt x="0" y="29"/>
                  </a:lnTo>
                  <a:cubicBezTo>
                    <a:pt x="0" y="29"/>
                    <a:pt x="0" y="29"/>
                    <a:pt x="29"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1" name="Freeform 559">
              <a:extLst>
                <a:ext uri="{FF2B5EF4-FFF2-40B4-BE49-F238E27FC236}">
                  <a16:creationId xmlns:a16="http://schemas.microsoft.com/office/drawing/2014/main" id="{81C734C7-3032-4DB5-A4C0-B05A5F8E6EE4}"/>
                </a:ext>
              </a:extLst>
            </p:cNvPr>
            <p:cNvSpPr>
              <a:spLocks noChangeArrowheads="1"/>
            </p:cNvSpPr>
            <p:nvPr/>
          </p:nvSpPr>
          <p:spPr bwMode="auto">
            <a:xfrm>
              <a:off x="10326579" y="4142959"/>
              <a:ext cx="11415" cy="32366"/>
            </a:xfrm>
            <a:custGeom>
              <a:avLst/>
              <a:gdLst>
                <a:gd name="T0" fmla="*/ 0 w 30"/>
                <a:gd name="T1" fmla="*/ 29 h 88"/>
                <a:gd name="T2" fmla="*/ 0 w 30"/>
                <a:gd name="T3" fmla="*/ 29 h 88"/>
                <a:gd name="T4" fmla="*/ 0 w 30"/>
                <a:gd name="T5" fmla="*/ 87 h 88"/>
                <a:gd name="T6" fmla="*/ 0 w 30"/>
                <a:gd name="T7" fmla="*/ 29 h 88"/>
                <a:gd name="T8" fmla="*/ 29 w 30"/>
                <a:gd name="T9" fmla="*/ 0 h 88"/>
                <a:gd name="T10" fmla="*/ 0 w 30"/>
                <a:gd name="T11" fmla="*/ 29 h 88"/>
              </a:gdLst>
              <a:ahLst/>
              <a:cxnLst>
                <a:cxn ang="0">
                  <a:pos x="T0" y="T1"/>
                </a:cxn>
                <a:cxn ang="0">
                  <a:pos x="T2" y="T3"/>
                </a:cxn>
                <a:cxn ang="0">
                  <a:pos x="T4" y="T5"/>
                </a:cxn>
                <a:cxn ang="0">
                  <a:pos x="T6" y="T7"/>
                </a:cxn>
                <a:cxn ang="0">
                  <a:pos x="T8" y="T9"/>
                </a:cxn>
                <a:cxn ang="0">
                  <a:pos x="T10" y="T11"/>
                </a:cxn>
              </a:cxnLst>
              <a:rect l="0" t="0" r="r" b="b"/>
              <a:pathLst>
                <a:path w="30" h="88">
                  <a:moveTo>
                    <a:pt x="0" y="29"/>
                  </a:moveTo>
                  <a:lnTo>
                    <a:pt x="0" y="29"/>
                  </a:lnTo>
                  <a:cubicBezTo>
                    <a:pt x="0" y="58"/>
                    <a:pt x="0" y="58"/>
                    <a:pt x="0" y="87"/>
                  </a:cubicBezTo>
                  <a:cubicBezTo>
                    <a:pt x="0" y="58"/>
                    <a:pt x="0" y="58"/>
                    <a:pt x="0" y="29"/>
                  </a:cubicBezTo>
                  <a:cubicBezTo>
                    <a:pt x="29" y="29"/>
                    <a:pt x="29" y="29"/>
                    <a:pt x="29" y="0"/>
                  </a:cubicBezTo>
                  <a:cubicBezTo>
                    <a:pt x="29" y="29"/>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2" name="Freeform 560">
              <a:extLst>
                <a:ext uri="{FF2B5EF4-FFF2-40B4-BE49-F238E27FC236}">
                  <a16:creationId xmlns:a16="http://schemas.microsoft.com/office/drawing/2014/main" id="{03BEFEEB-8746-441C-ABA1-8EB5194A4493}"/>
                </a:ext>
              </a:extLst>
            </p:cNvPr>
            <p:cNvSpPr>
              <a:spLocks noChangeArrowheads="1"/>
            </p:cNvSpPr>
            <p:nvPr/>
          </p:nvSpPr>
          <p:spPr bwMode="auto">
            <a:xfrm>
              <a:off x="10143924" y="5715966"/>
              <a:ext cx="65234" cy="43695"/>
            </a:xfrm>
            <a:custGeom>
              <a:avLst/>
              <a:gdLst>
                <a:gd name="T0" fmla="*/ 0 w 176"/>
                <a:gd name="T1" fmla="*/ 59 h 118"/>
                <a:gd name="T2" fmla="*/ 0 w 176"/>
                <a:gd name="T3" fmla="*/ 59 h 118"/>
                <a:gd name="T4" fmla="*/ 0 w 176"/>
                <a:gd name="T5" fmla="*/ 59 h 118"/>
                <a:gd name="T6" fmla="*/ 0 w 176"/>
                <a:gd name="T7" fmla="*/ 59 h 118"/>
                <a:gd name="T8" fmla="*/ 88 w 176"/>
                <a:gd name="T9" fmla="*/ 0 h 118"/>
                <a:gd name="T10" fmla="*/ 175 w 176"/>
                <a:gd name="T11" fmla="*/ 0 h 118"/>
                <a:gd name="T12" fmla="*/ 88 w 176"/>
                <a:gd name="T13" fmla="*/ 0 h 118"/>
                <a:gd name="T14" fmla="*/ 0 w 176"/>
                <a:gd name="T15" fmla="*/ 59 h 118"/>
                <a:gd name="T16" fmla="*/ 0 w 176"/>
                <a:gd name="T17" fmla="*/ 59 h 118"/>
                <a:gd name="T18" fmla="*/ 0 w 176"/>
                <a:gd name="T19" fmla="*/ 59 h 118"/>
                <a:gd name="T20" fmla="*/ 88 w 176"/>
                <a:gd name="T21" fmla="*/ 117 h 118"/>
                <a:gd name="T22" fmla="*/ 88 w 176"/>
                <a:gd name="T23" fmla="*/ 117 h 118"/>
                <a:gd name="T24" fmla="*/ 0 w 176"/>
                <a:gd name="T25"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18">
                  <a:moveTo>
                    <a:pt x="0" y="59"/>
                  </a:moveTo>
                  <a:lnTo>
                    <a:pt x="0" y="59"/>
                  </a:lnTo>
                  <a:lnTo>
                    <a:pt x="0" y="59"/>
                  </a:lnTo>
                  <a:lnTo>
                    <a:pt x="0" y="59"/>
                  </a:lnTo>
                  <a:cubicBezTo>
                    <a:pt x="0" y="30"/>
                    <a:pt x="58" y="0"/>
                    <a:pt x="88" y="0"/>
                  </a:cubicBezTo>
                  <a:cubicBezTo>
                    <a:pt x="146" y="0"/>
                    <a:pt x="175" y="0"/>
                    <a:pt x="175" y="0"/>
                  </a:cubicBezTo>
                  <a:cubicBezTo>
                    <a:pt x="175" y="0"/>
                    <a:pt x="146" y="0"/>
                    <a:pt x="88" y="0"/>
                  </a:cubicBezTo>
                  <a:cubicBezTo>
                    <a:pt x="58" y="0"/>
                    <a:pt x="0" y="30"/>
                    <a:pt x="0" y="59"/>
                  </a:cubicBezTo>
                  <a:lnTo>
                    <a:pt x="0" y="59"/>
                  </a:lnTo>
                  <a:lnTo>
                    <a:pt x="0" y="59"/>
                  </a:lnTo>
                  <a:cubicBezTo>
                    <a:pt x="29" y="88"/>
                    <a:pt x="58" y="117"/>
                    <a:pt x="88" y="117"/>
                  </a:cubicBezTo>
                  <a:lnTo>
                    <a:pt x="88" y="117"/>
                  </a:lnTo>
                  <a:cubicBezTo>
                    <a:pt x="58" y="117"/>
                    <a:pt x="29" y="88"/>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3" name="Freeform 561">
              <a:extLst>
                <a:ext uri="{FF2B5EF4-FFF2-40B4-BE49-F238E27FC236}">
                  <a16:creationId xmlns:a16="http://schemas.microsoft.com/office/drawing/2014/main" id="{A6CDDF0E-3E3A-41A9-95BF-3E4413410D19}"/>
                </a:ext>
              </a:extLst>
            </p:cNvPr>
            <p:cNvSpPr>
              <a:spLocks noChangeArrowheads="1"/>
            </p:cNvSpPr>
            <p:nvPr/>
          </p:nvSpPr>
          <p:spPr bwMode="auto">
            <a:xfrm>
              <a:off x="10013457" y="5544424"/>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4" name="Freeform 562">
              <a:extLst>
                <a:ext uri="{FF2B5EF4-FFF2-40B4-BE49-F238E27FC236}">
                  <a16:creationId xmlns:a16="http://schemas.microsoft.com/office/drawing/2014/main" id="{DB548723-0DB4-4346-B234-A8C66A462CF2}"/>
                </a:ext>
              </a:extLst>
            </p:cNvPr>
            <p:cNvSpPr>
              <a:spLocks noChangeArrowheads="1"/>
            </p:cNvSpPr>
            <p:nvPr/>
          </p:nvSpPr>
          <p:spPr bwMode="auto">
            <a:xfrm>
              <a:off x="9819386" y="5277402"/>
              <a:ext cx="44033" cy="32366"/>
            </a:xfrm>
            <a:custGeom>
              <a:avLst/>
              <a:gdLst>
                <a:gd name="T0" fmla="*/ 116 w 117"/>
                <a:gd name="T1" fmla="*/ 88 h 89"/>
                <a:gd name="T2" fmla="*/ 116 w 117"/>
                <a:gd name="T3" fmla="*/ 88 h 89"/>
                <a:gd name="T4" fmla="*/ 87 w 117"/>
                <a:gd name="T5" fmla="*/ 59 h 89"/>
                <a:gd name="T6" fmla="*/ 29 w 117"/>
                <a:gd name="T7" fmla="*/ 0 h 89"/>
                <a:gd name="T8" fmla="*/ 0 w 117"/>
                <a:gd name="T9" fmla="*/ 0 h 89"/>
                <a:gd name="T10" fmla="*/ 29 w 117"/>
                <a:gd name="T11" fmla="*/ 0 h 89"/>
                <a:gd name="T12" fmla="*/ 87 w 117"/>
                <a:gd name="T13" fmla="*/ 59 h 89"/>
                <a:gd name="T14" fmla="*/ 116 w 117"/>
                <a:gd name="T15" fmla="*/ 88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9">
                  <a:moveTo>
                    <a:pt x="116" y="88"/>
                  </a:moveTo>
                  <a:lnTo>
                    <a:pt x="116" y="88"/>
                  </a:lnTo>
                  <a:lnTo>
                    <a:pt x="87" y="59"/>
                  </a:lnTo>
                  <a:cubicBezTo>
                    <a:pt x="87" y="29"/>
                    <a:pt x="58" y="0"/>
                    <a:pt x="29" y="0"/>
                  </a:cubicBezTo>
                  <a:cubicBezTo>
                    <a:pt x="0" y="0"/>
                    <a:pt x="0" y="0"/>
                    <a:pt x="0" y="0"/>
                  </a:cubicBezTo>
                  <a:cubicBezTo>
                    <a:pt x="29" y="0"/>
                    <a:pt x="29" y="0"/>
                    <a:pt x="29" y="0"/>
                  </a:cubicBezTo>
                  <a:cubicBezTo>
                    <a:pt x="58" y="0"/>
                    <a:pt x="87" y="29"/>
                    <a:pt x="87" y="59"/>
                  </a:cubicBezTo>
                  <a:lnTo>
                    <a:pt x="116" y="8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5" name="Freeform 563">
              <a:extLst>
                <a:ext uri="{FF2B5EF4-FFF2-40B4-BE49-F238E27FC236}">
                  <a16:creationId xmlns:a16="http://schemas.microsoft.com/office/drawing/2014/main" id="{5FBE46D0-98AC-4662-8F3E-E7F59C944636}"/>
                </a:ext>
              </a:extLst>
            </p:cNvPr>
            <p:cNvSpPr>
              <a:spLocks noChangeArrowheads="1"/>
            </p:cNvSpPr>
            <p:nvPr/>
          </p:nvSpPr>
          <p:spPr bwMode="auto">
            <a:xfrm>
              <a:off x="9819386" y="5256363"/>
              <a:ext cx="1631" cy="21039"/>
            </a:xfrm>
            <a:custGeom>
              <a:avLst/>
              <a:gdLst>
                <a:gd name="T0" fmla="*/ 0 w 1"/>
                <a:gd name="T1" fmla="*/ 58 h 59"/>
                <a:gd name="T2" fmla="*/ 0 w 1"/>
                <a:gd name="T3" fmla="*/ 58 h 59"/>
                <a:gd name="T4" fmla="*/ 0 w 1"/>
                <a:gd name="T5" fmla="*/ 0 h 59"/>
                <a:gd name="T6" fmla="*/ 0 w 1"/>
                <a:gd name="T7" fmla="*/ 58 h 59"/>
              </a:gdLst>
              <a:ahLst/>
              <a:cxnLst>
                <a:cxn ang="0">
                  <a:pos x="T0" y="T1"/>
                </a:cxn>
                <a:cxn ang="0">
                  <a:pos x="T2" y="T3"/>
                </a:cxn>
                <a:cxn ang="0">
                  <a:pos x="T4" y="T5"/>
                </a:cxn>
                <a:cxn ang="0">
                  <a:pos x="T6" y="T7"/>
                </a:cxn>
              </a:cxnLst>
              <a:rect l="0" t="0" r="r" b="b"/>
              <a:pathLst>
                <a:path w="1" h="59">
                  <a:moveTo>
                    <a:pt x="0" y="58"/>
                  </a:moveTo>
                  <a:lnTo>
                    <a:pt x="0" y="58"/>
                  </a:lnTo>
                  <a:cubicBezTo>
                    <a:pt x="0" y="29"/>
                    <a:pt x="0" y="29"/>
                    <a:pt x="0" y="0"/>
                  </a:cubicBezTo>
                  <a:cubicBezTo>
                    <a:pt x="0"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6" name="Freeform 564">
              <a:extLst>
                <a:ext uri="{FF2B5EF4-FFF2-40B4-BE49-F238E27FC236}">
                  <a16:creationId xmlns:a16="http://schemas.microsoft.com/office/drawing/2014/main" id="{914027B0-27A3-4285-9C78-DDDB6969242B}"/>
                </a:ext>
              </a:extLst>
            </p:cNvPr>
            <p:cNvSpPr>
              <a:spLocks noChangeArrowheads="1"/>
            </p:cNvSpPr>
            <p:nvPr/>
          </p:nvSpPr>
          <p:spPr bwMode="auto">
            <a:xfrm>
              <a:off x="9852003" y="5340516"/>
              <a:ext cx="22832" cy="21039"/>
            </a:xfrm>
            <a:custGeom>
              <a:avLst/>
              <a:gdLst>
                <a:gd name="T0" fmla="*/ 29 w 60"/>
                <a:gd name="T1" fmla="*/ 29 h 59"/>
                <a:gd name="T2" fmla="*/ 29 w 60"/>
                <a:gd name="T3" fmla="*/ 29 h 59"/>
                <a:gd name="T4" fmla="*/ 0 w 60"/>
                <a:gd name="T5" fmla="*/ 0 h 59"/>
                <a:gd name="T6" fmla="*/ 59 w 60"/>
                <a:gd name="T7" fmla="*/ 0 h 59"/>
                <a:gd name="T8" fmla="*/ 59 w 60"/>
                <a:gd name="T9" fmla="*/ 0 h 59"/>
                <a:gd name="T10" fmla="*/ 59 w 60"/>
                <a:gd name="T11" fmla="*/ 0 h 59"/>
                <a:gd name="T12" fmla="*/ 0 w 60"/>
                <a:gd name="T13" fmla="*/ 0 h 59"/>
                <a:gd name="T14" fmla="*/ 29 w 60"/>
                <a:gd name="T15" fmla="*/ 29 h 59"/>
                <a:gd name="T16" fmla="*/ 59 w 60"/>
                <a:gd name="T17" fmla="*/ 58 h 59"/>
                <a:gd name="T18" fmla="*/ 29 w 60"/>
                <a:gd name="T19"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59">
                  <a:moveTo>
                    <a:pt x="29" y="29"/>
                  </a:moveTo>
                  <a:lnTo>
                    <a:pt x="29" y="29"/>
                  </a:lnTo>
                  <a:cubicBezTo>
                    <a:pt x="0" y="0"/>
                    <a:pt x="0" y="0"/>
                    <a:pt x="0" y="0"/>
                  </a:cubicBezTo>
                  <a:cubicBezTo>
                    <a:pt x="59" y="0"/>
                    <a:pt x="59" y="0"/>
                    <a:pt x="59" y="0"/>
                  </a:cubicBezTo>
                  <a:lnTo>
                    <a:pt x="59" y="0"/>
                  </a:lnTo>
                  <a:lnTo>
                    <a:pt x="59" y="0"/>
                  </a:lnTo>
                  <a:cubicBezTo>
                    <a:pt x="0" y="0"/>
                    <a:pt x="0" y="0"/>
                    <a:pt x="0" y="0"/>
                  </a:cubicBezTo>
                  <a:cubicBezTo>
                    <a:pt x="29" y="29"/>
                    <a:pt x="29" y="29"/>
                    <a:pt x="29" y="29"/>
                  </a:cubicBezTo>
                  <a:lnTo>
                    <a:pt x="59" y="58"/>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7" name="Freeform 565">
              <a:extLst>
                <a:ext uri="{FF2B5EF4-FFF2-40B4-BE49-F238E27FC236}">
                  <a16:creationId xmlns:a16="http://schemas.microsoft.com/office/drawing/2014/main" id="{5E964B8F-2C0C-48A4-8426-5FC8A64AE963}"/>
                </a:ext>
              </a:extLst>
            </p:cNvPr>
            <p:cNvSpPr>
              <a:spLocks noChangeArrowheads="1"/>
            </p:cNvSpPr>
            <p:nvPr/>
          </p:nvSpPr>
          <p:spPr bwMode="auto">
            <a:xfrm>
              <a:off x="10726136" y="2997188"/>
              <a:ext cx="11416" cy="32366"/>
            </a:xfrm>
            <a:custGeom>
              <a:avLst/>
              <a:gdLst>
                <a:gd name="T0" fmla="*/ 30 w 31"/>
                <a:gd name="T1" fmla="*/ 87 h 88"/>
                <a:gd name="T2" fmla="*/ 30 w 31"/>
                <a:gd name="T3" fmla="*/ 87 h 88"/>
                <a:gd name="T4" fmla="*/ 30 w 31"/>
                <a:gd name="T5" fmla="*/ 87 h 88"/>
                <a:gd name="T6" fmla="*/ 0 w 31"/>
                <a:gd name="T7" fmla="*/ 0 h 88"/>
                <a:gd name="T8" fmla="*/ 30 w 31"/>
                <a:gd name="T9" fmla="*/ 87 h 88"/>
              </a:gdLst>
              <a:ahLst/>
              <a:cxnLst>
                <a:cxn ang="0">
                  <a:pos x="T0" y="T1"/>
                </a:cxn>
                <a:cxn ang="0">
                  <a:pos x="T2" y="T3"/>
                </a:cxn>
                <a:cxn ang="0">
                  <a:pos x="T4" y="T5"/>
                </a:cxn>
                <a:cxn ang="0">
                  <a:pos x="T6" y="T7"/>
                </a:cxn>
                <a:cxn ang="0">
                  <a:pos x="T8" y="T9"/>
                </a:cxn>
              </a:cxnLst>
              <a:rect l="0" t="0" r="r" b="b"/>
              <a:pathLst>
                <a:path w="31" h="88">
                  <a:moveTo>
                    <a:pt x="30" y="87"/>
                  </a:moveTo>
                  <a:lnTo>
                    <a:pt x="30" y="87"/>
                  </a:lnTo>
                  <a:lnTo>
                    <a:pt x="30" y="87"/>
                  </a:lnTo>
                  <a:cubicBezTo>
                    <a:pt x="30" y="58"/>
                    <a:pt x="30" y="29"/>
                    <a:pt x="0" y="0"/>
                  </a:cubicBezTo>
                  <a:cubicBezTo>
                    <a:pt x="30" y="29"/>
                    <a:pt x="30" y="58"/>
                    <a:pt x="30"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8" name="Freeform 566">
              <a:extLst>
                <a:ext uri="{FF2B5EF4-FFF2-40B4-BE49-F238E27FC236}">
                  <a16:creationId xmlns:a16="http://schemas.microsoft.com/office/drawing/2014/main" id="{875543A1-BCC4-4AA5-BBE5-21B67D317181}"/>
                </a:ext>
              </a:extLst>
            </p:cNvPr>
            <p:cNvSpPr>
              <a:spLocks noChangeArrowheads="1"/>
            </p:cNvSpPr>
            <p:nvPr/>
          </p:nvSpPr>
          <p:spPr bwMode="auto">
            <a:xfrm>
              <a:off x="9873204" y="536317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9" name="Freeform 567">
              <a:extLst>
                <a:ext uri="{FF2B5EF4-FFF2-40B4-BE49-F238E27FC236}">
                  <a16:creationId xmlns:a16="http://schemas.microsoft.com/office/drawing/2014/main" id="{A5491B17-6E5F-4C6F-8B29-5127DE52A3D9}"/>
                </a:ext>
              </a:extLst>
            </p:cNvPr>
            <p:cNvSpPr>
              <a:spLocks noChangeArrowheads="1"/>
            </p:cNvSpPr>
            <p:nvPr/>
          </p:nvSpPr>
          <p:spPr bwMode="auto">
            <a:xfrm>
              <a:off x="9755783" y="4999051"/>
              <a:ext cx="11415" cy="32366"/>
            </a:xfrm>
            <a:custGeom>
              <a:avLst/>
              <a:gdLst>
                <a:gd name="T0" fmla="*/ 0 w 30"/>
                <a:gd name="T1" fmla="*/ 58 h 88"/>
                <a:gd name="T2" fmla="*/ 0 w 30"/>
                <a:gd name="T3" fmla="*/ 58 h 88"/>
                <a:gd name="T4" fmla="*/ 0 w 30"/>
                <a:gd name="T5" fmla="*/ 87 h 88"/>
                <a:gd name="T6" fmla="*/ 0 w 30"/>
                <a:gd name="T7" fmla="*/ 58 h 88"/>
                <a:gd name="T8" fmla="*/ 0 w 30"/>
                <a:gd name="T9" fmla="*/ 0 h 88"/>
                <a:gd name="T10" fmla="*/ 0 w 30"/>
                <a:gd name="T11" fmla="*/ 0 h 88"/>
                <a:gd name="T12" fmla="*/ 0 w 30"/>
                <a:gd name="T13" fmla="*/ 0 h 88"/>
                <a:gd name="T14" fmla="*/ 0 w 30"/>
                <a:gd name="T15" fmla="*/ 5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88">
                  <a:moveTo>
                    <a:pt x="0" y="58"/>
                  </a:moveTo>
                  <a:lnTo>
                    <a:pt x="0" y="58"/>
                  </a:lnTo>
                  <a:lnTo>
                    <a:pt x="0" y="87"/>
                  </a:lnTo>
                  <a:lnTo>
                    <a:pt x="0" y="58"/>
                  </a:lnTo>
                  <a:cubicBezTo>
                    <a:pt x="0" y="29"/>
                    <a:pt x="29" y="29"/>
                    <a:pt x="0" y="0"/>
                  </a:cubicBezTo>
                  <a:lnTo>
                    <a:pt x="0" y="0"/>
                  </a:lnTo>
                  <a:lnTo>
                    <a:pt x="0" y="0"/>
                  </a:lnTo>
                  <a:cubicBezTo>
                    <a:pt x="29"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0" name="Freeform 568">
              <a:extLst>
                <a:ext uri="{FF2B5EF4-FFF2-40B4-BE49-F238E27FC236}">
                  <a16:creationId xmlns:a16="http://schemas.microsoft.com/office/drawing/2014/main" id="{B2CDEB3A-0482-4787-8443-16358E401FBD}"/>
                </a:ext>
              </a:extLst>
            </p:cNvPr>
            <p:cNvSpPr>
              <a:spLocks noChangeArrowheads="1"/>
            </p:cNvSpPr>
            <p:nvPr/>
          </p:nvSpPr>
          <p:spPr bwMode="auto">
            <a:xfrm>
              <a:off x="9938438" y="5437615"/>
              <a:ext cx="1630"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1" name="Freeform 569">
              <a:extLst>
                <a:ext uri="{FF2B5EF4-FFF2-40B4-BE49-F238E27FC236}">
                  <a16:creationId xmlns:a16="http://schemas.microsoft.com/office/drawing/2014/main" id="{00ECE4F5-8012-489C-BE0A-5FA0D5FFA508}"/>
                </a:ext>
              </a:extLst>
            </p:cNvPr>
            <p:cNvSpPr>
              <a:spLocks noChangeArrowheads="1"/>
            </p:cNvSpPr>
            <p:nvPr/>
          </p:nvSpPr>
          <p:spPr bwMode="auto">
            <a:xfrm>
              <a:off x="9949853" y="5523386"/>
              <a:ext cx="1631"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2" name="Freeform 570">
              <a:extLst>
                <a:ext uri="{FF2B5EF4-FFF2-40B4-BE49-F238E27FC236}">
                  <a16:creationId xmlns:a16="http://schemas.microsoft.com/office/drawing/2014/main" id="{3A3A58D9-F241-459D-AAD7-E8A2369034D1}"/>
                </a:ext>
              </a:extLst>
            </p:cNvPr>
            <p:cNvSpPr>
              <a:spLocks noChangeArrowheads="1"/>
            </p:cNvSpPr>
            <p:nvPr/>
          </p:nvSpPr>
          <p:spPr bwMode="auto">
            <a:xfrm>
              <a:off x="9873204" y="5393921"/>
              <a:ext cx="21200" cy="21038"/>
            </a:xfrm>
            <a:custGeom>
              <a:avLst/>
              <a:gdLst>
                <a:gd name="T0" fmla="*/ 0 w 59"/>
                <a:gd name="T1" fmla="*/ 0 h 59"/>
                <a:gd name="T2" fmla="*/ 0 w 59"/>
                <a:gd name="T3" fmla="*/ 0 h 59"/>
                <a:gd name="T4" fmla="*/ 58 w 59"/>
                <a:gd name="T5" fmla="*/ 58 h 59"/>
                <a:gd name="T6" fmla="*/ 0 w 59"/>
                <a:gd name="T7" fmla="*/ 0 h 59"/>
              </a:gdLst>
              <a:ahLst/>
              <a:cxnLst>
                <a:cxn ang="0">
                  <a:pos x="T0" y="T1"/>
                </a:cxn>
                <a:cxn ang="0">
                  <a:pos x="T2" y="T3"/>
                </a:cxn>
                <a:cxn ang="0">
                  <a:pos x="T4" y="T5"/>
                </a:cxn>
                <a:cxn ang="0">
                  <a:pos x="T6" y="T7"/>
                </a:cxn>
              </a:cxnLst>
              <a:rect l="0" t="0" r="r" b="b"/>
              <a:pathLst>
                <a:path w="59" h="59">
                  <a:moveTo>
                    <a:pt x="0" y="0"/>
                  </a:moveTo>
                  <a:lnTo>
                    <a:pt x="0" y="0"/>
                  </a:lnTo>
                  <a:cubicBezTo>
                    <a:pt x="0" y="29"/>
                    <a:pt x="29" y="58"/>
                    <a:pt x="58" y="58"/>
                  </a:cubicBezTo>
                  <a:cubicBezTo>
                    <a:pt x="29" y="58"/>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3" name="Freeform 571">
              <a:extLst>
                <a:ext uri="{FF2B5EF4-FFF2-40B4-BE49-F238E27FC236}">
                  <a16:creationId xmlns:a16="http://schemas.microsoft.com/office/drawing/2014/main" id="{97D03E9A-091C-4E3E-8CAB-D816FB9AD524}"/>
                </a:ext>
              </a:extLst>
            </p:cNvPr>
            <p:cNvSpPr>
              <a:spLocks noChangeArrowheads="1"/>
            </p:cNvSpPr>
            <p:nvPr/>
          </p:nvSpPr>
          <p:spPr bwMode="auto">
            <a:xfrm>
              <a:off x="9949853" y="5500730"/>
              <a:ext cx="1631" cy="11328"/>
            </a:xfrm>
            <a:custGeom>
              <a:avLst/>
              <a:gdLst>
                <a:gd name="T0" fmla="*/ 0 w 1"/>
                <a:gd name="T1" fmla="*/ 30 h 31"/>
                <a:gd name="T2" fmla="*/ 0 w 1"/>
                <a:gd name="T3" fmla="*/ 30 h 31"/>
                <a:gd name="T4" fmla="*/ 0 w 1"/>
                <a:gd name="T5" fmla="*/ 0 h 31"/>
                <a:gd name="T6" fmla="*/ 0 w 1"/>
                <a:gd name="T7" fmla="*/ 0 h 31"/>
                <a:gd name="T8" fmla="*/ 0 w 1"/>
                <a:gd name="T9" fmla="*/ 0 h 31"/>
                <a:gd name="T10" fmla="*/ 0 w 1"/>
                <a:gd name="T11" fmla="*/ 30 h 31"/>
              </a:gdLst>
              <a:ahLst/>
              <a:cxnLst>
                <a:cxn ang="0">
                  <a:pos x="T0" y="T1"/>
                </a:cxn>
                <a:cxn ang="0">
                  <a:pos x="T2" y="T3"/>
                </a:cxn>
                <a:cxn ang="0">
                  <a:pos x="T4" y="T5"/>
                </a:cxn>
                <a:cxn ang="0">
                  <a:pos x="T6" y="T7"/>
                </a:cxn>
                <a:cxn ang="0">
                  <a:pos x="T8" y="T9"/>
                </a:cxn>
                <a:cxn ang="0">
                  <a:pos x="T10" y="T11"/>
                </a:cxn>
              </a:cxnLst>
              <a:rect l="0" t="0" r="r" b="b"/>
              <a:pathLst>
                <a:path w="1" h="31">
                  <a:moveTo>
                    <a:pt x="0" y="30"/>
                  </a:moveTo>
                  <a:lnTo>
                    <a:pt x="0" y="30"/>
                  </a:lnTo>
                  <a:lnTo>
                    <a:pt x="0" y="0"/>
                  </a:lnTo>
                  <a:lnTo>
                    <a:pt x="0" y="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4" name="Freeform 572">
              <a:extLst>
                <a:ext uri="{FF2B5EF4-FFF2-40B4-BE49-F238E27FC236}">
                  <a16:creationId xmlns:a16="http://schemas.microsoft.com/office/drawing/2014/main" id="{B15FE099-B6F3-46B9-967A-4D9C660D8D8A}"/>
                </a:ext>
              </a:extLst>
            </p:cNvPr>
            <p:cNvSpPr>
              <a:spLocks noChangeArrowheads="1"/>
            </p:cNvSpPr>
            <p:nvPr/>
          </p:nvSpPr>
          <p:spPr bwMode="auto">
            <a:xfrm>
              <a:off x="9959638" y="553309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5" name="Freeform 573">
              <a:extLst>
                <a:ext uri="{FF2B5EF4-FFF2-40B4-BE49-F238E27FC236}">
                  <a16:creationId xmlns:a16="http://schemas.microsoft.com/office/drawing/2014/main" id="{D566DFE7-21CE-4F8B-9D30-87DB25D5CD4D}"/>
                </a:ext>
              </a:extLst>
            </p:cNvPr>
            <p:cNvSpPr>
              <a:spLocks noChangeArrowheads="1"/>
            </p:cNvSpPr>
            <p:nvPr/>
          </p:nvSpPr>
          <p:spPr bwMode="auto">
            <a:xfrm>
              <a:off x="9959638" y="5533096"/>
              <a:ext cx="32617" cy="1618"/>
            </a:xfrm>
            <a:custGeom>
              <a:avLst/>
              <a:gdLst>
                <a:gd name="T0" fmla="*/ 29 w 88"/>
                <a:gd name="T1" fmla="*/ 0 h 1"/>
                <a:gd name="T2" fmla="*/ 29 w 88"/>
                <a:gd name="T3" fmla="*/ 0 h 1"/>
                <a:gd name="T4" fmla="*/ 29 w 88"/>
                <a:gd name="T5" fmla="*/ 0 h 1"/>
                <a:gd name="T6" fmla="*/ 0 w 88"/>
                <a:gd name="T7" fmla="*/ 0 h 1"/>
                <a:gd name="T8" fmla="*/ 29 w 88"/>
                <a:gd name="T9" fmla="*/ 0 h 1"/>
                <a:gd name="T10" fmla="*/ 58 w 88"/>
                <a:gd name="T11" fmla="*/ 0 h 1"/>
                <a:gd name="T12" fmla="*/ 87 w 88"/>
                <a:gd name="T13" fmla="*/ 0 h 1"/>
                <a:gd name="T14" fmla="*/ 58 w 88"/>
                <a:gd name="T15" fmla="*/ 0 h 1"/>
                <a:gd name="T16" fmla="*/ 29 w 88"/>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
                  <a:moveTo>
                    <a:pt x="29" y="0"/>
                  </a:moveTo>
                  <a:lnTo>
                    <a:pt x="29" y="0"/>
                  </a:lnTo>
                  <a:lnTo>
                    <a:pt x="29" y="0"/>
                  </a:lnTo>
                  <a:cubicBezTo>
                    <a:pt x="29" y="0"/>
                    <a:pt x="29" y="0"/>
                    <a:pt x="0" y="0"/>
                  </a:cubicBezTo>
                  <a:cubicBezTo>
                    <a:pt x="29" y="0"/>
                    <a:pt x="29" y="0"/>
                    <a:pt x="29" y="0"/>
                  </a:cubicBezTo>
                  <a:cubicBezTo>
                    <a:pt x="58" y="0"/>
                    <a:pt x="58" y="0"/>
                    <a:pt x="58" y="0"/>
                  </a:cubicBezTo>
                  <a:lnTo>
                    <a:pt x="87" y="0"/>
                  </a:lnTo>
                  <a:lnTo>
                    <a:pt x="58" y="0"/>
                  </a:lnTo>
                  <a:cubicBezTo>
                    <a:pt x="58" y="0"/>
                    <a:pt x="58"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6" name="Freeform 574">
              <a:extLst>
                <a:ext uri="{FF2B5EF4-FFF2-40B4-BE49-F238E27FC236}">
                  <a16:creationId xmlns:a16="http://schemas.microsoft.com/office/drawing/2014/main" id="{22C87561-3275-4E8B-9A89-7DA7343B6D39}"/>
                </a:ext>
              </a:extLst>
            </p:cNvPr>
            <p:cNvSpPr>
              <a:spLocks noChangeArrowheads="1"/>
            </p:cNvSpPr>
            <p:nvPr/>
          </p:nvSpPr>
          <p:spPr bwMode="auto">
            <a:xfrm>
              <a:off x="9905821" y="5426287"/>
              <a:ext cx="22832" cy="11328"/>
            </a:xfrm>
            <a:custGeom>
              <a:avLst/>
              <a:gdLst>
                <a:gd name="T0" fmla="*/ 30 w 60"/>
                <a:gd name="T1" fmla="*/ 29 h 30"/>
                <a:gd name="T2" fmla="*/ 30 w 60"/>
                <a:gd name="T3" fmla="*/ 29 h 30"/>
                <a:gd name="T4" fmla="*/ 30 w 60"/>
                <a:gd name="T5" fmla="*/ 29 h 30"/>
                <a:gd name="T6" fmla="*/ 0 w 60"/>
                <a:gd name="T7" fmla="*/ 29 h 30"/>
                <a:gd name="T8" fmla="*/ 0 w 60"/>
                <a:gd name="T9" fmla="*/ 0 h 30"/>
                <a:gd name="T10" fmla="*/ 0 w 60"/>
                <a:gd name="T11" fmla="*/ 29 h 30"/>
                <a:gd name="T12" fmla="*/ 30 w 60"/>
                <a:gd name="T13" fmla="*/ 29 h 30"/>
                <a:gd name="T14" fmla="*/ 30 w 60"/>
                <a:gd name="T15" fmla="*/ 29 h 30"/>
                <a:gd name="T16" fmla="*/ 59 w 60"/>
                <a:gd name="T17" fmla="*/ 29 h 30"/>
                <a:gd name="T18" fmla="*/ 30 w 60"/>
                <a:gd name="T19"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0">
                  <a:moveTo>
                    <a:pt x="30" y="29"/>
                  </a:moveTo>
                  <a:lnTo>
                    <a:pt x="30" y="29"/>
                  </a:lnTo>
                  <a:lnTo>
                    <a:pt x="30" y="29"/>
                  </a:lnTo>
                  <a:cubicBezTo>
                    <a:pt x="0" y="29"/>
                    <a:pt x="0" y="29"/>
                    <a:pt x="0" y="29"/>
                  </a:cubicBezTo>
                  <a:cubicBezTo>
                    <a:pt x="0" y="29"/>
                    <a:pt x="0" y="29"/>
                    <a:pt x="0" y="0"/>
                  </a:cubicBezTo>
                  <a:cubicBezTo>
                    <a:pt x="0" y="29"/>
                    <a:pt x="0" y="29"/>
                    <a:pt x="0" y="29"/>
                  </a:cubicBezTo>
                  <a:cubicBezTo>
                    <a:pt x="30" y="29"/>
                    <a:pt x="30" y="29"/>
                    <a:pt x="30" y="29"/>
                  </a:cubicBezTo>
                  <a:lnTo>
                    <a:pt x="30" y="29"/>
                  </a:lnTo>
                  <a:lnTo>
                    <a:pt x="59" y="29"/>
                  </a:ln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7" name="Freeform 575">
              <a:extLst>
                <a:ext uri="{FF2B5EF4-FFF2-40B4-BE49-F238E27FC236}">
                  <a16:creationId xmlns:a16="http://schemas.microsoft.com/office/drawing/2014/main" id="{C471577C-CAE9-482D-A8F0-DF6444E6326A}"/>
                </a:ext>
              </a:extLst>
            </p:cNvPr>
            <p:cNvSpPr>
              <a:spLocks noChangeArrowheads="1"/>
            </p:cNvSpPr>
            <p:nvPr/>
          </p:nvSpPr>
          <p:spPr bwMode="auto">
            <a:xfrm>
              <a:off x="11481218" y="1767265"/>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8" name="Freeform 576">
              <a:extLst>
                <a:ext uri="{FF2B5EF4-FFF2-40B4-BE49-F238E27FC236}">
                  <a16:creationId xmlns:a16="http://schemas.microsoft.com/office/drawing/2014/main" id="{F27439E3-C2ED-4E23-B12D-FB483DF2C9E8}"/>
                </a:ext>
              </a:extLst>
            </p:cNvPr>
            <p:cNvSpPr>
              <a:spLocks noChangeArrowheads="1"/>
            </p:cNvSpPr>
            <p:nvPr/>
          </p:nvSpPr>
          <p:spPr bwMode="auto">
            <a:xfrm>
              <a:off x="10391813" y="4066898"/>
              <a:ext cx="11415" cy="21038"/>
            </a:xfrm>
            <a:custGeom>
              <a:avLst/>
              <a:gdLst>
                <a:gd name="T0" fmla="*/ 29 w 30"/>
                <a:gd name="T1" fmla="*/ 0 h 59"/>
                <a:gd name="T2" fmla="*/ 29 w 30"/>
                <a:gd name="T3" fmla="*/ 0 h 59"/>
                <a:gd name="T4" fmla="*/ 0 w 30"/>
                <a:gd name="T5" fmla="*/ 58 h 59"/>
                <a:gd name="T6" fmla="*/ 29 w 30"/>
                <a:gd name="T7" fmla="*/ 0 h 59"/>
              </a:gdLst>
              <a:ahLst/>
              <a:cxnLst>
                <a:cxn ang="0">
                  <a:pos x="T0" y="T1"/>
                </a:cxn>
                <a:cxn ang="0">
                  <a:pos x="T2" y="T3"/>
                </a:cxn>
                <a:cxn ang="0">
                  <a:pos x="T4" y="T5"/>
                </a:cxn>
                <a:cxn ang="0">
                  <a:pos x="T6" y="T7"/>
                </a:cxn>
              </a:cxnLst>
              <a:rect l="0" t="0" r="r" b="b"/>
              <a:pathLst>
                <a:path w="30" h="59">
                  <a:moveTo>
                    <a:pt x="29" y="0"/>
                  </a:moveTo>
                  <a:lnTo>
                    <a:pt x="29" y="0"/>
                  </a:lnTo>
                  <a:cubicBezTo>
                    <a:pt x="29" y="29"/>
                    <a:pt x="0" y="29"/>
                    <a:pt x="0" y="58"/>
                  </a:cubicBezTo>
                  <a:cubicBezTo>
                    <a:pt x="0"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99" name="Freeform 577">
              <a:extLst>
                <a:ext uri="{FF2B5EF4-FFF2-40B4-BE49-F238E27FC236}">
                  <a16:creationId xmlns:a16="http://schemas.microsoft.com/office/drawing/2014/main" id="{E2822AB5-209F-4BC0-A127-5BCCBBC630DD}"/>
                </a:ext>
              </a:extLst>
            </p:cNvPr>
            <p:cNvSpPr>
              <a:spLocks noChangeArrowheads="1"/>
            </p:cNvSpPr>
            <p:nvPr/>
          </p:nvSpPr>
          <p:spPr bwMode="auto">
            <a:xfrm>
              <a:off x="11221913" y="237575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0" name="Freeform 578">
              <a:extLst>
                <a:ext uri="{FF2B5EF4-FFF2-40B4-BE49-F238E27FC236}">
                  <a16:creationId xmlns:a16="http://schemas.microsoft.com/office/drawing/2014/main" id="{7D08B54E-C157-4B6E-94FB-1DDB9B09BA35}"/>
                </a:ext>
              </a:extLst>
            </p:cNvPr>
            <p:cNvSpPr>
              <a:spLocks noChangeArrowheads="1"/>
            </p:cNvSpPr>
            <p:nvPr/>
          </p:nvSpPr>
          <p:spPr bwMode="auto">
            <a:xfrm>
              <a:off x="11275731" y="2366043"/>
              <a:ext cx="32617" cy="22656"/>
            </a:xfrm>
            <a:custGeom>
              <a:avLst/>
              <a:gdLst>
                <a:gd name="T0" fmla="*/ 88 w 89"/>
                <a:gd name="T1" fmla="*/ 0 h 60"/>
                <a:gd name="T2" fmla="*/ 88 w 89"/>
                <a:gd name="T3" fmla="*/ 0 h 60"/>
                <a:gd name="T4" fmla="*/ 0 w 89"/>
                <a:gd name="T5" fmla="*/ 59 h 60"/>
                <a:gd name="T6" fmla="*/ 88 w 89"/>
                <a:gd name="T7" fmla="*/ 0 h 60"/>
              </a:gdLst>
              <a:ahLst/>
              <a:cxnLst>
                <a:cxn ang="0">
                  <a:pos x="T0" y="T1"/>
                </a:cxn>
                <a:cxn ang="0">
                  <a:pos x="T2" y="T3"/>
                </a:cxn>
                <a:cxn ang="0">
                  <a:pos x="T4" y="T5"/>
                </a:cxn>
                <a:cxn ang="0">
                  <a:pos x="T6" y="T7"/>
                </a:cxn>
              </a:cxnLst>
              <a:rect l="0" t="0" r="r" b="b"/>
              <a:pathLst>
                <a:path w="89" h="60">
                  <a:moveTo>
                    <a:pt x="88" y="0"/>
                  </a:moveTo>
                  <a:lnTo>
                    <a:pt x="88" y="0"/>
                  </a:lnTo>
                  <a:cubicBezTo>
                    <a:pt x="59" y="0"/>
                    <a:pt x="29" y="29"/>
                    <a:pt x="0" y="59"/>
                  </a:cubicBezTo>
                  <a:cubicBezTo>
                    <a:pt x="29" y="29"/>
                    <a:pt x="59"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1" name="Freeform 579">
              <a:extLst>
                <a:ext uri="{FF2B5EF4-FFF2-40B4-BE49-F238E27FC236}">
                  <a16:creationId xmlns:a16="http://schemas.microsoft.com/office/drawing/2014/main" id="{369E9EB1-BE6B-4064-A0E1-9890A45C7155}"/>
                </a:ext>
              </a:extLst>
            </p:cNvPr>
            <p:cNvSpPr>
              <a:spLocks noChangeArrowheads="1"/>
            </p:cNvSpPr>
            <p:nvPr/>
          </p:nvSpPr>
          <p:spPr bwMode="auto">
            <a:xfrm>
              <a:off x="11233329" y="2387082"/>
              <a:ext cx="44032" cy="21038"/>
            </a:xfrm>
            <a:custGeom>
              <a:avLst/>
              <a:gdLst>
                <a:gd name="T0" fmla="*/ 117 w 118"/>
                <a:gd name="T1" fmla="*/ 0 h 59"/>
                <a:gd name="T2" fmla="*/ 117 w 118"/>
                <a:gd name="T3" fmla="*/ 0 h 59"/>
                <a:gd name="T4" fmla="*/ 0 w 118"/>
                <a:gd name="T5" fmla="*/ 58 h 59"/>
                <a:gd name="T6" fmla="*/ 117 w 118"/>
                <a:gd name="T7" fmla="*/ 0 h 59"/>
              </a:gdLst>
              <a:ahLst/>
              <a:cxnLst>
                <a:cxn ang="0">
                  <a:pos x="T0" y="T1"/>
                </a:cxn>
                <a:cxn ang="0">
                  <a:pos x="T2" y="T3"/>
                </a:cxn>
                <a:cxn ang="0">
                  <a:pos x="T4" y="T5"/>
                </a:cxn>
                <a:cxn ang="0">
                  <a:pos x="T6" y="T7"/>
                </a:cxn>
              </a:cxnLst>
              <a:rect l="0" t="0" r="r" b="b"/>
              <a:pathLst>
                <a:path w="118" h="59">
                  <a:moveTo>
                    <a:pt x="117" y="0"/>
                  </a:moveTo>
                  <a:lnTo>
                    <a:pt x="117" y="0"/>
                  </a:lnTo>
                  <a:cubicBezTo>
                    <a:pt x="88" y="29"/>
                    <a:pt x="59" y="58"/>
                    <a:pt x="0" y="58"/>
                  </a:cubicBezTo>
                  <a:cubicBezTo>
                    <a:pt x="59" y="58"/>
                    <a:pt x="88" y="29"/>
                    <a:pt x="1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2" name="Freeform 580">
              <a:extLst>
                <a:ext uri="{FF2B5EF4-FFF2-40B4-BE49-F238E27FC236}">
                  <a16:creationId xmlns:a16="http://schemas.microsoft.com/office/drawing/2014/main" id="{5A99E247-1CC6-49B1-AF6C-4DDC2A5A2A51}"/>
                </a:ext>
              </a:extLst>
            </p:cNvPr>
            <p:cNvSpPr>
              <a:spLocks noChangeArrowheads="1"/>
            </p:cNvSpPr>
            <p:nvPr/>
          </p:nvSpPr>
          <p:spPr bwMode="auto">
            <a:xfrm>
              <a:off x="11135478" y="2429158"/>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3" name="Freeform 581">
              <a:extLst>
                <a:ext uri="{FF2B5EF4-FFF2-40B4-BE49-F238E27FC236}">
                  <a16:creationId xmlns:a16="http://schemas.microsoft.com/office/drawing/2014/main" id="{BB4E6613-A0BA-4867-8D0E-98A72281C8D8}"/>
                </a:ext>
              </a:extLst>
            </p:cNvPr>
            <p:cNvSpPr>
              <a:spLocks noChangeArrowheads="1"/>
            </p:cNvSpPr>
            <p:nvPr/>
          </p:nvSpPr>
          <p:spPr bwMode="auto">
            <a:xfrm>
              <a:off x="11135478" y="2429158"/>
              <a:ext cx="32617" cy="32366"/>
            </a:xfrm>
            <a:custGeom>
              <a:avLst/>
              <a:gdLst>
                <a:gd name="T0" fmla="*/ 29 w 89"/>
                <a:gd name="T1" fmla="*/ 58 h 88"/>
                <a:gd name="T2" fmla="*/ 29 w 89"/>
                <a:gd name="T3" fmla="*/ 58 h 88"/>
                <a:gd name="T4" fmla="*/ 0 w 89"/>
                <a:gd name="T5" fmla="*/ 0 h 88"/>
                <a:gd name="T6" fmla="*/ 29 w 89"/>
                <a:gd name="T7" fmla="*/ 58 h 88"/>
                <a:gd name="T8" fmla="*/ 88 w 89"/>
                <a:gd name="T9" fmla="*/ 87 h 88"/>
                <a:gd name="T10" fmla="*/ 88 w 89"/>
                <a:gd name="T11" fmla="*/ 87 h 88"/>
                <a:gd name="T12" fmla="*/ 29 w 89"/>
                <a:gd name="T13" fmla="*/ 58 h 88"/>
              </a:gdLst>
              <a:ahLst/>
              <a:cxnLst>
                <a:cxn ang="0">
                  <a:pos x="T0" y="T1"/>
                </a:cxn>
                <a:cxn ang="0">
                  <a:pos x="T2" y="T3"/>
                </a:cxn>
                <a:cxn ang="0">
                  <a:pos x="T4" y="T5"/>
                </a:cxn>
                <a:cxn ang="0">
                  <a:pos x="T6" y="T7"/>
                </a:cxn>
                <a:cxn ang="0">
                  <a:pos x="T8" y="T9"/>
                </a:cxn>
                <a:cxn ang="0">
                  <a:pos x="T10" y="T11"/>
                </a:cxn>
                <a:cxn ang="0">
                  <a:pos x="T12" y="T13"/>
                </a:cxn>
              </a:cxnLst>
              <a:rect l="0" t="0" r="r" b="b"/>
              <a:pathLst>
                <a:path w="89" h="88">
                  <a:moveTo>
                    <a:pt x="29" y="58"/>
                  </a:moveTo>
                  <a:lnTo>
                    <a:pt x="29" y="58"/>
                  </a:lnTo>
                  <a:cubicBezTo>
                    <a:pt x="0" y="58"/>
                    <a:pt x="0" y="29"/>
                    <a:pt x="0" y="0"/>
                  </a:cubicBezTo>
                  <a:cubicBezTo>
                    <a:pt x="0" y="29"/>
                    <a:pt x="0" y="58"/>
                    <a:pt x="29" y="58"/>
                  </a:cubicBezTo>
                  <a:cubicBezTo>
                    <a:pt x="88" y="87"/>
                    <a:pt x="88" y="87"/>
                    <a:pt x="88" y="87"/>
                  </a:cubicBezTo>
                  <a:lnTo>
                    <a:pt x="88" y="87"/>
                  </a:lnTo>
                  <a:lnTo>
                    <a:pt x="29"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4" name="Freeform 582">
              <a:extLst>
                <a:ext uri="{FF2B5EF4-FFF2-40B4-BE49-F238E27FC236}">
                  <a16:creationId xmlns:a16="http://schemas.microsoft.com/office/drawing/2014/main" id="{557A7F25-869A-433F-AEA6-89CDEDD4B89B}"/>
                </a:ext>
              </a:extLst>
            </p:cNvPr>
            <p:cNvSpPr>
              <a:spLocks noChangeArrowheads="1"/>
            </p:cNvSpPr>
            <p:nvPr/>
          </p:nvSpPr>
          <p:spPr bwMode="auto">
            <a:xfrm>
              <a:off x="11308348" y="2354716"/>
              <a:ext cx="11415" cy="1618"/>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0" y="0"/>
                    <a:pt x="0" y="0"/>
                    <a:pt x="29"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5" name="Freeform 583">
              <a:extLst>
                <a:ext uri="{FF2B5EF4-FFF2-40B4-BE49-F238E27FC236}">
                  <a16:creationId xmlns:a16="http://schemas.microsoft.com/office/drawing/2014/main" id="{88A3122B-F5A3-48A3-872D-060D72AB3731}"/>
                </a:ext>
              </a:extLst>
            </p:cNvPr>
            <p:cNvSpPr>
              <a:spLocks noChangeArrowheads="1"/>
            </p:cNvSpPr>
            <p:nvPr/>
          </p:nvSpPr>
          <p:spPr bwMode="auto">
            <a:xfrm>
              <a:off x="11469801" y="1776975"/>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6" name="Freeform 584">
              <a:extLst>
                <a:ext uri="{FF2B5EF4-FFF2-40B4-BE49-F238E27FC236}">
                  <a16:creationId xmlns:a16="http://schemas.microsoft.com/office/drawing/2014/main" id="{360B569A-2058-4F9F-A899-1B45CB3A0D64}"/>
                </a:ext>
              </a:extLst>
            </p:cNvPr>
            <p:cNvSpPr>
              <a:spLocks noChangeArrowheads="1"/>
            </p:cNvSpPr>
            <p:nvPr/>
          </p:nvSpPr>
          <p:spPr bwMode="auto">
            <a:xfrm>
              <a:off x="9711750" y="4976394"/>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7" name="Freeform 585">
              <a:extLst>
                <a:ext uri="{FF2B5EF4-FFF2-40B4-BE49-F238E27FC236}">
                  <a16:creationId xmlns:a16="http://schemas.microsoft.com/office/drawing/2014/main" id="{B96567FA-2F19-42A3-8055-EF356F1B6991}"/>
                </a:ext>
              </a:extLst>
            </p:cNvPr>
            <p:cNvSpPr>
              <a:spLocks noChangeArrowheads="1"/>
            </p:cNvSpPr>
            <p:nvPr/>
          </p:nvSpPr>
          <p:spPr bwMode="auto">
            <a:xfrm>
              <a:off x="11308348" y="2366043"/>
              <a:ext cx="1630"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8" name="Freeform 586">
              <a:extLst>
                <a:ext uri="{FF2B5EF4-FFF2-40B4-BE49-F238E27FC236}">
                  <a16:creationId xmlns:a16="http://schemas.microsoft.com/office/drawing/2014/main" id="{45B77EC3-C717-478F-8BBA-6A73D31671C0}"/>
                </a:ext>
              </a:extLst>
            </p:cNvPr>
            <p:cNvSpPr>
              <a:spLocks noChangeArrowheads="1"/>
            </p:cNvSpPr>
            <p:nvPr/>
          </p:nvSpPr>
          <p:spPr bwMode="auto">
            <a:xfrm>
              <a:off x="11394782" y="1841708"/>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09" name="Freeform 587">
              <a:extLst>
                <a:ext uri="{FF2B5EF4-FFF2-40B4-BE49-F238E27FC236}">
                  <a16:creationId xmlns:a16="http://schemas.microsoft.com/office/drawing/2014/main" id="{FC138FB3-86F4-439E-BF43-FD688A1B5DAB}"/>
                </a:ext>
              </a:extLst>
            </p:cNvPr>
            <p:cNvSpPr>
              <a:spLocks noChangeArrowheads="1"/>
            </p:cNvSpPr>
            <p:nvPr/>
          </p:nvSpPr>
          <p:spPr bwMode="auto">
            <a:xfrm>
              <a:off x="11275731" y="2280273"/>
              <a:ext cx="53817" cy="106809"/>
            </a:xfrm>
            <a:custGeom>
              <a:avLst/>
              <a:gdLst>
                <a:gd name="T0" fmla="*/ 29 w 147"/>
                <a:gd name="T1" fmla="*/ 29 h 292"/>
                <a:gd name="T2" fmla="*/ 29 w 147"/>
                <a:gd name="T3" fmla="*/ 29 h 292"/>
                <a:gd name="T4" fmla="*/ 0 w 147"/>
                <a:gd name="T5" fmla="*/ 0 h 292"/>
                <a:gd name="T6" fmla="*/ 29 w 147"/>
                <a:gd name="T7" fmla="*/ 29 h 292"/>
                <a:gd name="T8" fmla="*/ 146 w 147"/>
                <a:gd name="T9" fmla="*/ 261 h 292"/>
                <a:gd name="T10" fmla="*/ 146 w 147"/>
                <a:gd name="T11" fmla="*/ 291 h 292"/>
                <a:gd name="T12" fmla="*/ 146 w 147"/>
                <a:gd name="T13" fmla="*/ 291 h 292"/>
                <a:gd name="T14" fmla="*/ 146 w 147"/>
                <a:gd name="T15" fmla="*/ 261 h 292"/>
                <a:gd name="T16" fmla="*/ 29 w 147"/>
                <a:gd name="T17" fmla="*/ 2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292">
                  <a:moveTo>
                    <a:pt x="29" y="29"/>
                  </a:moveTo>
                  <a:lnTo>
                    <a:pt x="29" y="29"/>
                  </a:lnTo>
                  <a:cubicBezTo>
                    <a:pt x="29" y="29"/>
                    <a:pt x="29" y="0"/>
                    <a:pt x="0" y="0"/>
                  </a:cubicBezTo>
                  <a:cubicBezTo>
                    <a:pt x="29" y="0"/>
                    <a:pt x="29" y="29"/>
                    <a:pt x="29" y="29"/>
                  </a:cubicBezTo>
                  <a:cubicBezTo>
                    <a:pt x="117" y="57"/>
                    <a:pt x="146" y="232"/>
                    <a:pt x="146" y="261"/>
                  </a:cubicBezTo>
                  <a:cubicBezTo>
                    <a:pt x="146" y="291"/>
                    <a:pt x="146" y="291"/>
                    <a:pt x="146" y="291"/>
                  </a:cubicBezTo>
                  <a:lnTo>
                    <a:pt x="146" y="291"/>
                  </a:lnTo>
                  <a:cubicBezTo>
                    <a:pt x="146" y="261"/>
                    <a:pt x="146" y="261"/>
                    <a:pt x="146" y="261"/>
                  </a:cubicBezTo>
                  <a:cubicBezTo>
                    <a:pt x="146" y="232"/>
                    <a:pt x="117" y="57"/>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0" name="Freeform 588">
              <a:extLst>
                <a:ext uri="{FF2B5EF4-FFF2-40B4-BE49-F238E27FC236}">
                  <a16:creationId xmlns:a16="http://schemas.microsoft.com/office/drawing/2014/main" id="{9FB48DE0-9ED6-43F0-B263-701008CD8806}"/>
                </a:ext>
              </a:extLst>
            </p:cNvPr>
            <p:cNvSpPr>
              <a:spLocks noChangeArrowheads="1"/>
            </p:cNvSpPr>
            <p:nvPr/>
          </p:nvSpPr>
          <p:spPr bwMode="auto">
            <a:xfrm>
              <a:off x="11362165" y="1820670"/>
              <a:ext cx="11416" cy="11328"/>
            </a:xfrm>
            <a:custGeom>
              <a:avLst/>
              <a:gdLst>
                <a:gd name="T0" fmla="*/ 29 w 30"/>
                <a:gd name="T1" fmla="*/ 30 h 31"/>
                <a:gd name="T2" fmla="*/ 29 w 30"/>
                <a:gd name="T3" fmla="*/ 30 h 31"/>
                <a:gd name="T4" fmla="*/ 0 w 30"/>
                <a:gd name="T5" fmla="*/ 0 h 31"/>
                <a:gd name="T6" fmla="*/ 29 w 30"/>
                <a:gd name="T7" fmla="*/ 30 h 31"/>
              </a:gdLst>
              <a:ahLst/>
              <a:cxnLst>
                <a:cxn ang="0">
                  <a:pos x="T0" y="T1"/>
                </a:cxn>
                <a:cxn ang="0">
                  <a:pos x="T2" y="T3"/>
                </a:cxn>
                <a:cxn ang="0">
                  <a:pos x="T4" y="T5"/>
                </a:cxn>
                <a:cxn ang="0">
                  <a:pos x="T6" y="T7"/>
                </a:cxn>
              </a:cxnLst>
              <a:rect l="0" t="0" r="r" b="b"/>
              <a:pathLst>
                <a:path w="30" h="31">
                  <a:moveTo>
                    <a:pt x="29" y="30"/>
                  </a:moveTo>
                  <a:lnTo>
                    <a:pt x="29" y="30"/>
                  </a:lnTo>
                  <a:cubicBezTo>
                    <a:pt x="0" y="0"/>
                    <a:pt x="0" y="0"/>
                    <a:pt x="0" y="0"/>
                  </a:cubicBezTo>
                  <a:cubicBezTo>
                    <a:pt x="0" y="0"/>
                    <a:pt x="0" y="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1" name="Freeform 589">
              <a:extLst>
                <a:ext uri="{FF2B5EF4-FFF2-40B4-BE49-F238E27FC236}">
                  <a16:creationId xmlns:a16="http://schemas.microsoft.com/office/drawing/2014/main" id="{A0AB2996-635A-492B-9700-D10992884029}"/>
                </a:ext>
              </a:extLst>
            </p:cNvPr>
            <p:cNvSpPr>
              <a:spLocks noChangeArrowheads="1"/>
            </p:cNvSpPr>
            <p:nvPr/>
          </p:nvSpPr>
          <p:spPr bwMode="auto">
            <a:xfrm>
              <a:off x="10823986" y="3168730"/>
              <a:ext cx="1631" cy="53405"/>
            </a:xfrm>
            <a:custGeom>
              <a:avLst/>
              <a:gdLst>
                <a:gd name="T0" fmla="*/ 0 w 1"/>
                <a:gd name="T1" fmla="*/ 0 h 146"/>
                <a:gd name="T2" fmla="*/ 0 w 1"/>
                <a:gd name="T3" fmla="*/ 0 h 146"/>
                <a:gd name="T4" fmla="*/ 0 w 1"/>
                <a:gd name="T5" fmla="*/ 0 h 146"/>
                <a:gd name="T6" fmla="*/ 0 w 1"/>
                <a:gd name="T7" fmla="*/ 145 h 146"/>
                <a:gd name="T8" fmla="*/ 0 w 1"/>
                <a:gd name="T9" fmla="*/ 0 h 146"/>
              </a:gdLst>
              <a:ahLst/>
              <a:cxnLst>
                <a:cxn ang="0">
                  <a:pos x="T0" y="T1"/>
                </a:cxn>
                <a:cxn ang="0">
                  <a:pos x="T2" y="T3"/>
                </a:cxn>
                <a:cxn ang="0">
                  <a:pos x="T4" y="T5"/>
                </a:cxn>
                <a:cxn ang="0">
                  <a:pos x="T6" y="T7"/>
                </a:cxn>
                <a:cxn ang="0">
                  <a:pos x="T8" y="T9"/>
                </a:cxn>
              </a:cxnLst>
              <a:rect l="0" t="0" r="r" b="b"/>
              <a:pathLst>
                <a:path w="1" h="146">
                  <a:moveTo>
                    <a:pt x="0" y="0"/>
                  </a:moveTo>
                  <a:lnTo>
                    <a:pt x="0" y="0"/>
                  </a:lnTo>
                  <a:lnTo>
                    <a:pt x="0" y="0"/>
                  </a:lnTo>
                  <a:cubicBezTo>
                    <a:pt x="0" y="28"/>
                    <a:pt x="0" y="87"/>
                    <a:pt x="0" y="145"/>
                  </a:cubicBezTo>
                  <a:cubicBezTo>
                    <a:pt x="0" y="87"/>
                    <a:pt x="0" y="28"/>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2" name="Freeform 590">
              <a:extLst>
                <a:ext uri="{FF2B5EF4-FFF2-40B4-BE49-F238E27FC236}">
                  <a16:creationId xmlns:a16="http://schemas.microsoft.com/office/drawing/2014/main" id="{407278FE-5FFF-4FF7-8590-BFFB1F58156D}"/>
                </a:ext>
              </a:extLst>
            </p:cNvPr>
            <p:cNvSpPr>
              <a:spLocks noChangeArrowheads="1"/>
            </p:cNvSpPr>
            <p:nvPr/>
          </p:nvSpPr>
          <p:spPr bwMode="auto">
            <a:xfrm>
              <a:off x="10520649" y="3960089"/>
              <a:ext cx="21202" cy="32366"/>
            </a:xfrm>
            <a:custGeom>
              <a:avLst/>
              <a:gdLst>
                <a:gd name="T0" fmla="*/ 0 w 59"/>
                <a:gd name="T1" fmla="*/ 59 h 89"/>
                <a:gd name="T2" fmla="*/ 0 w 59"/>
                <a:gd name="T3" fmla="*/ 59 h 89"/>
                <a:gd name="T4" fmla="*/ 0 w 59"/>
                <a:gd name="T5" fmla="*/ 88 h 89"/>
                <a:gd name="T6" fmla="*/ 0 w 59"/>
                <a:gd name="T7" fmla="*/ 59 h 89"/>
                <a:gd name="T8" fmla="*/ 58 w 59"/>
                <a:gd name="T9" fmla="*/ 0 h 89"/>
                <a:gd name="T10" fmla="*/ 58 w 59"/>
                <a:gd name="T11" fmla="*/ 0 h 89"/>
                <a:gd name="T12" fmla="*/ 0 w 59"/>
                <a:gd name="T13" fmla="*/ 59 h 89"/>
              </a:gdLst>
              <a:ahLst/>
              <a:cxnLst>
                <a:cxn ang="0">
                  <a:pos x="T0" y="T1"/>
                </a:cxn>
                <a:cxn ang="0">
                  <a:pos x="T2" y="T3"/>
                </a:cxn>
                <a:cxn ang="0">
                  <a:pos x="T4" y="T5"/>
                </a:cxn>
                <a:cxn ang="0">
                  <a:pos x="T6" y="T7"/>
                </a:cxn>
                <a:cxn ang="0">
                  <a:pos x="T8" y="T9"/>
                </a:cxn>
                <a:cxn ang="0">
                  <a:pos x="T10" y="T11"/>
                </a:cxn>
                <a:cxn ang="0">
                  <a:pos x="T12" y="T13"/>
                </a:cxn>
              </a:cxnLst>
              <a:rect l="0" t="0" r="r" b="b"/>
              <a:pathLst>
                <a:path w="59" h="89">
                  <a:moveTo>
                    <a:pt x="0" y="59"/>
                  </a:moveTo>
                  <a:lnTo>
                    <a:pt x="0" y="59"/>
                  </a:lnTo>
                  <a:cubicBezTo>
                    <a:pt x="0" y="88"/>
                    <a:pt x="0" y="88"/>
                    <a:pt x="0" y="88"/>
                  </a:cubicBezTo>
                  <a:cubicBezTo>
                    <a:pt x="0" y="88"/>
                    <a:pt x="0" y="88"/>
                    <a:pt x="0" y="59"/>
                  </a:cubicBezTo>
                  <a:cubicBezTo>
                    <a:pt x="29" y="59"/>
                    <a:pt x="58" y="30"/>
                    <a:pt x="58" y="0"/>
                  </a:cubicBezTo>
                  <a:lnTo>
                    <a:pt x="58" y="0"/>
                  </a:lnTo>
                  <a:cubicBezTo>
                    <a:pt x="58" y="30"/>
                    <a:pt x="29" y="59"/>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3" name="Freeform 591">
              <a:extLst>
                <a:ext uri="{FF2B5EF4-FFF2-40B4-BE49-F238E27FC236}">
                  <a16:creationId xmlns:a16="http://schemas.microsoft.com/office/drawing/2014/main" id="{5A86687A-03AC-49D3-976A-7B029D1FA0AB}"/>
                </a:ext>
              </a:extLst>
            </p:cNvPr>
            <p:cNvSpPr>
              <a:spLocks noChangeArrowheads="1"/>
            </p:cNvSpPr>
            <p:nvPr/>
          </p:nvSpPr>
          <p:spPr bwMode="auto">
            <a:xfrm>
              <a:off x="10532066" y="3948760"/>
              <a:ext cx="11415" cy="11329"/>
            </a:xfrm>
            <a:custGeom>
              <a:avLst/>
              <a:gdLst>
                <a:gd name="T0" fmla="*/ 29 w 30"/>
                <a:gd name="T1" fmla="*/ 29 h 30"/>
                <a:gd name="T2" fmla="*/ 29 w 30"/>
                <a:gd name="T3" fmla="*/ 29 h 30"/>
                <a:gd name="T4" fmla="*/ 0 w 30"/>
                <a:gd name="T5" fmla="*/ 0 h 30"/>
                <a:gd name="T6" fmla="*/ 0 w 30"/>
                <a:gd name="T7" fmla="*/ 0 h 30"/>
                <a:gd name="T8" fmla="*/ 0 w 30"/>
                <a:gd name="T9" fmla="*/ 0 h 30"/>
                <a:gd name="T10" fmla="*/ 29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29" y="29"/>
                  </a:moveTo>
                  <a:lnTo>
                    <a:pt x="29" y="29"/>
                  </a:lnTo>
                  <a:lnTo>
                    <a:pt x="0" y="0"/>
                  </a:lnTo>
                  <a:lnTo>
                    <a:pt x="0" y="0"/>
                  </a:ln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4" name="Freeform 592">
              <a:extLst>
                <a:ext uri="{FF2B5EF4-FFF2-40B4-BE49-F238E27FC236}">
                  <a16:creationId xmlns:a16="http://schemas.microsoft.com/office/drawing/2014/main" id="{D4D7737D-A9A1-40FE-A438-A6BAA888617F}"/>
                </a:ext>
              </a:extLst>
            </p:cNvPr>
            <p:cNvSpPr>
              <a:spLocks noChangeArrowheads="1"/>
            </p:cNvSpPr>
            <p:nvPr/>
          </p:nvSpPr>
          <p:spPr bwMode="auto">
            <a:xfrm>
              <a:off x="10509234" y="4013493"/>
              <a:ext cx="22832" cy="32366"/>
            </a:xfrm>
            <a:custGeom>
              <a:avLst/>
              <a:gdLst>
                <a:gd name="T0" fmla="*/ 59 w 60"/>
                <a:gd name="T1" fmla="*/ 87 h 88"/>
                <a:gd name="T2" fmla="*/ 59 w 60"/>
                <a:gd name="T3" fmla="*/ 87 h 88"/>
                <a:gd name="T4" fmla="*/ 30 w 60"/>
                <a:gd name="T5" fmla="*/ 29 h 88"/>
                <a:gd name="T6" fmla="*/ 0 w 60"/>
                <a:gd name="T7" fmla="*/ 0 h 88"/>
                <a:gd name="T8" fmla="*/ 30 w 60"/>
                <a:gd name="T9" fmla="*/ 29 h 88"/>
                <a:gd name="T10" fmla="*/ 59 w 60"/>
                <a:gd name="T11" fmla="*/ 87 h 88"/>
              </a:gdLst>
              <a:ahLst/>
              <a:cxnLst>
                <a:cxn ang="0">
                  <a:pos x="T0" y="T1"/>
                </a:cxn>
                <a:cxn ang="0">
                  <a:pos x="T2" y="T3"/>
                </a:cxn>
                <a:cxn ang="0">
                  <a:pos x="T4" y="T5"/>
                </a:cxn>
                <a:cxn ang="0">
                  <a:pos x="T6" y="T7"/>
                </a:cxn>
                <a:cxn ang="0">
                  <a:pos x="T8" y="T9"/>
                </a:cxn>
                <a:cxn ang="0">
                  <a:pos x="T10" y="T11"/>
                </a:cxn>
              </a:cxnLst>
              <a:rect l="0" t="0" r="r" b="b"/>
              <a:pathLst>
                <a:path w="60" h="88">
                  <a:moveTo>
                    <a:pt x="59" y="87"/>
                  </a:moveTo>
                  <a:lnTo>
                    <a:pt x="59" y="87"/>
                  </a:lnTo>
                  <a:cubicBezTo>
                    <a:pt x="30" y="58"/>
                    <a:pt x="30" y="58"/>
                    <a:pt x="30" y="29"/>
                  </a:cubicBezTo>
                  <a:lnTo>
                    <a:pt x="0" y="0"/>
                  </a:lnTo>
                  <a:lnTo>
                    <a:pt x="30" y="29"/>
                  </a:lnTo>
                  <a:cubicBezTo>
                    <a:pt x="30" y="58"/>
                    <a:pt x="30" y="58"/>
                    <a:pt x="5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5" name="Freeform 593">
              <a:extLst>
                <a:ext uri="{FF2B5EF4-FFF2-40B4-BE49-F238E27FC236}">
                  <a16:creationId xmlns:a16="http://schemas.microsoft.com/office/drawing/2014/main" id="{4AC3745C-DCF4-4C61-8D10-906CFB3A8EA5}"/>
                </a:ext>
              </a:extLst>
            </p:cNvPr>
            <p:cNvSpPr>
              <a:spLocks noChangeArrowheads="1"/>
            </p:cNvSpPr>
            <p:nvPr/>
          </p:nvSpPr>
          <p:spPr bwMode="auto">
            <a:xfrm>
              <a:off x="10445630" y="4045860"/>
              <a:ext cx="32617" cy="11329"/>
            </a:xfrm>
            <a:custGeom>
              <a:avLst/>
              <a:gdLst>
                <a:gd name="T0" fmla="*/ 0 w 88"/>
                <a:gd name="T1" fmla="*/ 0 h 31"/>
                <a:gd name="T2" fmla="*/ 0 w 88"/>
                <a:gd name="T3" fmla="*/ 0 h 31"/>
                <a:gd name="T4" fmla="*/ 29 w 88"/>
                <a:gd name="T5" fmla="*/ 0 h 31"/>
                <a:gd name="T6" fmla="*/ 87 w 88"/>
                <a:gd name="T7" fmla="*/ 30 h 31"/>
                <a:gd name="T8" fmla="*/ 29 w 88"/>
                <a:gd name="T9" fmla="*/ 0 h 31"/>
                <a:gd name="T10" fmla="*/ 0 w 88"/>
                <a:gd name="T11" fmla="*/ 0 h 31"/>
              </a:gdLst>
              <a:ahLst/>
              <a:cxnLst>
                <a:cxn ang="0">
                  <a:pos x="T0" y="T1"/>
                </a:cxn>
                <a:cxn ang="0">
                  <a:pos x="T2" y="T3"/>
                </a:cxn>
                <a:cxn ang="0">
                  <a:pos x="T4" y="T5"/>
                </a:cxn>
                <a:cxn ang="0">
                  <a:pos x="T6" y="T7"/>
                </a:cxn>
                <a:cxn ang="0">
                  <a:pos x="T8" y="T9"/>
                </a:cxn>
                <a:cxn ang="0">
                  <a:pos x="T10" y="T11"/>
                </a:cxn>
              </a:cxnLst>
              <a:rect l="0" t="0" r="r" b="b"/>
              <a:pathLst>
                <a:path w="88" h="31">
                  <a:moveTo>
                    <a:pt x="0" y="0"/>
                  </a:moveTo>
                  <a:lnTo>
                    <a:pt x="0" y="0"/>
                  </a:lnTo>
                  <a:cubicBezTo>
                    <a:pt x="29" y="0"/>
                    <a:pt x="29" y="0"/>
                    <a:pt x="29" y="0"/>
                  </a:cubicBezTo>
                  <a:cubicBezTo>
                    <a:pt x="58" y="30"/>
                    <a:pt x="58" y="30"/>
                    <a:pt x="87" y="30"/>
                  </a:cubicBezTo>
                  <a:cubicBezTo>
                    <a:pt x="58" y="30"/>
                    <a:pt x="58" y="3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6" name="Freeform 594">
              <a:extLst>
                <a:ext uri="{FF2B5EF4-FFF2-40B4-BE49-F238E27FC236}">
                  <a16:creationId xmlns:a16="http://schemas.microsoft.com/office/drawing/2014/main" id="{30B3597E-3FB1-4CCD-80C0-30B181084B04}"/>
                </a:ext>
              </a:extLst>
            </p:cNvPr>
            <p:cNvSpPr>
              <a:spLocks noChangeArrowheads="1"/>
            </p:cNvSpPr>
            <p:nvPr/>
          </p:nvSpPr>
          <p:spPr bwMode="auto">
            <a:xfrm>
              <a:off x="10509234" y="4057188"/>
              <a:ext cx="22832" cy="21038"/>
            </a:xfrm>
            <a:custGeom>
              <a:avLst/>
              <a:gdLst>
                <a:gd name="T0" fmla="*/ 0 w 60"/>
                <a:gd name="T1" fmla="*/ 0 h 58"/>
                <a:gd name="T2" fmla="*/ 59 w 60"/>
                <a:gd name="T3" fmla="*/ 57 h 58"/>
                <a:gd name="T4" fmla="*/ 59 w 60"/>
                <a:gd name="T5" fmla="*/ 57 h 58"/>
                <a:gd name="T6" fmla="*/ 0 w 60"/>
                <a:gd name="T7" fmla="*/ 0 h 58"/>
              </a:gdLst>
              <a:ahLst/>
              <a:cxnLst>
                <a:cxn ang="0">
                  <a:pos x="T0" y="T1"/>
                </a:cxn>
                <a:cxn ang="0">
                  <a:pos x="T2" y="T3"/>
                </a:cxn>
                <a:cxn ang="0">
                  <a:pos x="T4" y="T5"/>
                </a:cxn>
                <a:cxn ang="0">
                  <a:pos x="T6" y="T7"/>
                </a:cxn>
              </a:cxnLst>
              <a:rect l="0" t="0" r="r" b="b"/>
              <a:pathLst>
                <a:path w="60" h="58">
                  <a:moveTo>
                    <a:pt x="0" y="0"/>
                  </a:moveTo>
                  <a:lnTo>
                    <a:pt x="59" y="57"/>
                  </a:lnTo>
                  <a:lnTo>
                    <a:pt x="59" y="57"/>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7" name="Freeform 595">
              <a:extLst>
                <a:ext uri="{FF2B5EF4-FFF2-40B4-BE49-F238E27FC236}">
                  <a16:creationId xmlns:a16="http://schemas.microsoft.com/office/drawing/2014/main" id="{8774A233-21D7-4950-B295-8C111D010EEC}"/>
                </a:ext>
              </a:extLst>
            </p:cNvPr>
            <p:cNvSpPr>
              <a:spLocks noChangeArrowheads="1"/>
            </p:cNvSpPr>
            <p:nvPr/>
          </p:nvSpPr>
          <p:spPr bwMode="auto">
            <a:xfrm>
              <a:off x="10532066" y="3929341"/>
              <a:ext cx="21200" cy="21039"/>
            </a:xfrm>
            <a:custGeom>
              <a:avLst/>
              <a:gdLst>
                <a:gd name="T0" fmla="*/ 0 w 59"/>
                <a:gd name="T1" fmla="*/ 57 h 58"/>
                <a:gd name="T2" fmla="*/ 0 w 59"/>
                <a:gd name="T3" fmla="*/ 57 h 58"/>
                <a:gd name="T4" fmla="*/ 58 w 59"/>
                <a:gd name="T5" fmla="*/ 0 h 58"/>
                <a:gd name="T6" fmla="*/ 0 w 59"/>
                <a:gd name="T7" fmla="*/ 57 h 58"/>
              </a:gdLst>
              <a:ahLst/>
              <a:cxnLst>
                <a:cxn ang="0">
                  <a:pos x="T0" y="T1"/>
                </a:cxn>
                <a:cxn ang="0">
                  <a:pos x="T2" y="T3"/>
                </a:cxn>
                <a:cxn ang="0">
                  <a:pos x="T4" y="T5"/>
                </a:cxn>
                <a:cxn ang="0">
                  <a:pos x="T6" y="T7"/>
                </a:cxn>
              </a:cxnLst>
              <a:rect l="0" t="0" r="r" b="b"/>
              <a:pathLst>
                <a:path w="59" h="58">
                  <a:moveTo>
                    <a:pt x="0" y="57"/>
                  </a:moveTo>
                  <a:lnTo>
                    <a:pt x="0" y="57"/>
                  </a:lnTo>
                  <a:cubicBezTo>
                    <a:pt x="29" y="57"/>
                    <a:pt x="58" y="28"/>
                    <a:pt x="58" y="0"/>
                  </a:cubicBezTo>
                  <a:cubicBezTo>
                    <a:pt x="58" y="28"/>
                    <a:pt x="29" y="57"/>
                    <a:pt x="0" y="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8" name="Freeform 596">
              <a:extLst>
                <a:ext uri="{FF2B5EF4-FFF2-40B4-BE49-F238E27FC236}">
                  <a16:creationId xmlns:a16="http://schemas.microsoft.com/office/drawing/2014/main" id="{500FB027-7E51-4A8F-9CBA-777C1B541E9C}"/>
                </a:ext>
              </a:extLst>
            </p:cNvPr>
            <p:cNvSpPr>
              <a:spLocks noChangeArrowheads="1"/>
            </p:cNvSpPr>
            <p:nvPr/>
          </p:nvSpPr>
          <p:spPr bwMode="auto">
            <a:xfrm>
              <a:off x="10660902" y="3841951"/>
              <a:ext cx="44033" cy="11329"/>
            </a:xfrm>
            <a:custGeom>
              <a:avLst/>
              <a:gdLst>
                <a:gd name="T0" fmla="*/ 58 w 118"/>
                <a:gd name="T1" fmla="*/ 29 h 30"/>
                <a:gd name="T2" fmla="*/ 58 w 118"/>
                <a:gd name="T3" fmla="*/ 29 h 30"/>
                <a:gd name="T4" fmla="*/ 0 w 118"/>
                <a:gd name="T5" fmla="*/ 29 h 30"/>
                <a:gd name="T6" fmla="*/ 58 w 118"/>
                <a:gd name="T7" fmla="*/ 29 h 30"/>
                <a:gd name="T8" fmla="*/ 117 w 118"/>
                <a:gd name="T9" fmla="*/ 0 h 30"/>
                <a:gd name="T10" fmla="*/ 58 w 118"/>
                <a:gd name="T11" fmla="*/ 29 h 30"/>
              </a:gdLst>
              <a:ahLst/>
              <a:cxnLst>
                <a:cxn ang="0">
                  <a:pos x="T0" y="T1"/>
                </a:cxn>
                <a:cxn ang="0">
                  <a:pos x="T2" y="T3"/>
                </a:cxn>
                <a:cxn ang="0">
                  <a:pos x="T4" y="T5"/>
                </a:cxn>
                <a:cxn ang="0">
                  <a:pos x="T6" y="T7"/>
                </a:cxn>
                <a:cxn ang="0">
                  <a:pos x="T8" y="T9"/>
                </a:cxn>
                <a:cxn ang="0">
                  <a:pos x="T10" y="T11"/>
                </a:cxn>
              </a:cxnLst>
              <a:rect l="0" t="0" r="r" b="b"/>
              <a:pathLst>
                <a:path w="118" h="30">
                  <a:moveTo>
                    <a:pt x="58" y="29"/>
                  </a:moveTo>
                  <a:lnTo>
                    <a:pt x="58" y="29"/>
                  </a:lnTo>
                  <a:cubicBezTo>
                    <a:pt x="58" y="29"/>
                    <a:pt x="29" y="29"/>
                    <a:pt x="0" y="29"/>
                  </a:cubicBezTo>
                  <a:cubicBezTo>
                    <a:pt x="29" y="29"/>
                    <a:pt x="58" y="29"/>
                    <a:pt x="58" y="29"/>
                  </a:cubicBezTo>
                  <a:cubicBezTo>
                    <a:pt x="88" y="29"/>
                    <a:pt x="117" y="0"/>
                    <a:pt x="117" y="0"/>
                  </a:cubicBezTo>
                  <a:cubicBezTo>
                    <a:pt x="117" y="0"/>
                    <a:pt x="88"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19" name="Freeform 597">
              <a:extLst>
                <a:ext uri="{FF2B5EF4-FFF2-40B4-BE49-F238E27FC236}">
                  <a16:creationId xmlns:a16="http://schemas.microsoft.com/office/drawing/2014/main" id="{ACEDDE3E-454D-443C-990B-A588FDBADBB9}"/>
                </a:ext>
              </a:extLst>
            </p:cNvPr>
            <p:cNvSpPr>
              <a:spLocks noChangeArrowheads="1"/>
            </p:cNvSpPr>
            <p:nvPr/>
          </p:nvSpPr>
          <p:spPr bwMode="auto">
            <a:xfrm>
              <a:off x="10768538" y="3617005"/>
              <a:ext cx="1631" cy="22656"/>
            </a:xfrm>
            <a:custGeom>
              <a:avLst/>
              <a:gdLst>
                <a:gd name="T0" fmla="*/ 0 w 1"/>
                <a:gd name="T1" fmla="*/ 59 h 60"/>
                <a:gd name="T2" fmla="*/ 0 w 1"/>
                <a:gd name="T3" fmla="*/ 59 h 60"/>
                <a:gd name="T4" fmla="*/ 0 w 1"/>
                <a:gd name="T5" fmla="*/ 0 h 60"/>
                <a:gd name="T6" fmla="*/ 0 w 1"/>
                <a:gd name="T7" fmla="*/ 59 h 60"/>
              </a:gdLst>
              <a:ahLst/>
              <a:cxnLst>
                <a:cxn ang="0">
                  <a:pos x="T0" y="T1"/>
                </a:cxn>
                <a:cxn ang="0">
                  <a:pos x="T2" y="T3"/>
                </a:cxn>
                <a:cxn ang="0">
                  <a:pos x="T4" y="T5"/>
                </a:cxn>
                <a:cxn ang="0">
                  <a:pos x="T6" y="T7"/>
                </a:cxn>
              </a:cxnLst>
              <a:rect l="0" t="0" r="r" b="b"/>
              <a:pathLst>
                <a:path w="1" h="60">
                  <a:moveTo>
                    <a:pt x="0" y="59"/>
                  </a:moveTo>
                  <a:lnTo>
                    <a:pt x="0" y="59"/>
                  </a:lnTo>
                  <a:cubicBezTo>
                    <a:pt x="0" y="30"/>
                    <a:pt x="0" y="30"/>
                    <a:pt x="0" y="0"/>
                  </a:cubicBezTo>
                  <a:cubicBezTo>
                    <a:pt x="0" y="30"/>
                    <a:pt x="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0" name="Freeform 598">
              <a:extLst>
                <a:ext uri="{FF2B5EF4-FFF2-40B4-BE49-F238E27FC236}">
                  <a16:creationId xmlns:a16="http://schemas.microsoft.com/office/drawing/2014/main" id="{D3413F3A-4A9B-4547-BC2D-60F7E99B1BFE}"/>
                </a:ext>
              </a:extLst>
            </p:cNvPr>
            <p:cNvSpPr>
              <a:spLocks noChangeArrowheads="1"/>
            </p:cNvSpPr>
            <p:nvPr/>
          </p:nvSpPr>
          <p:spPr bwMode="auto">
            <a:xfrm>
              <a:off x="10704935" y="3702776"/>
              <a:ext cx="44032" cy="53405"/>
            </a:xfrm>
            <a:custGeom>
              <a:avLst/>
              <a:gdLst>
                <a:gd name="T0" fmla="*/ 0 w 117"/>
                <a:gd name="T1" fmla="*/ 88 h 147"/>
                <a:gd name="T2" fmla="*/ 0 w 117"/>
                <a:gd name="T3" fmla="*/ 88 h 147"/>
                <a:gd name="T4" fmla="*/ 0 w 117"/>
                <a:gd name="T5" fmla="*/ 88 h 147"/>
                <a:gd name="T6" fmla="*/ 0 w 117"/>
                <a:gd name="T7" fmla="*/ 88 h 147"/>
                <a:gd name="T8" fmla="*/ 0 w 117"/>
                <a:gd name="T9" fmla="*/ 117 h 147"/>
                <a:gd name="T10" fmla="*/ 0 w 117"/>
                <a:gd name="T11" fmla="*/ 146 h 147"/>
                <a:gd name="T12" fmla="*/ 0 w 117"/>
                <a:gd name="T13" fmla="*/ 117 h 147"/>
                <a:gd name="T14" fmla="*/ 0 w 117"/>
                <a:gd name="T15" fmla="*/ 88 h 147"/>
                <a:gd name="T16" fmla="*/ 0 w 117"/>
                <a:gd name="T17" fmla="*/ 88 h 147"/>
                <a:gd name="T18" fmla="*/ 0 w 117"/>
                <a:gd name="T19" fmla="*/ 88 h 147"/>
                <a:gd name="T20" fmla="*/ 116 w 117"/>
                <a:gd name="T21" fmla="*/ 0 h 147"/>
                <a:gd name="T22" fmla="*/ 0 w 117"/>
                <a:gd name="T23" fmla="*/ 8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147">
                  <a:moveTo>
                    <a:pt x="0" y="88"/>
                  </a:moveTo>
                  <a:lnTo>
                    <a:pt x="0" y="88"/>
                  </a:lnTo>
                  <a:lnTo>
                    <a:pt x="0" y="88"/>
                  </a:lnTo>
                  <a:lnTo>
                    <a:pt x="0" y="88"/>
                  </a:lnTo>
                  <a:lnTo>
                    <a:pt x="0" y="117"/>
                  </a:lnTo>
                  <a:cubicBezTo>
                    <a:pt x="0" y="146"/>
                    <a:pt x="0" y="146"/>
                    <a:pt x="0" y="146"/>
                  </a:cubicBezTo>
                  <a:cubicBezTo>
                    <a:pt x="0" y="117"/>
                    <a:pt x="0" y="117"/>
                    <a:pt x="0" y="117"/>
                  </a:cubicBezTo>
                  <a:lnTo>
                    <a:pt x="0" y="88"/>
                  </a:lnTo>
                  <a:lnTo>
                    <a:pt x="0" y="88"/>
                  </a:lnTo>
                  <a:lnTo>
                    <a:pt x="0" y="88"/>
                  </a:lnTo>
                  <a:cubicBezTo>
                    <a:pt x="57" y="88"/>
                    <a:pt x="87" y="59"/>
                    <a:pt x="116" y="0"/>
                  </a:cubicBezTo>
                  <a:cubicBezTo>
                    <a:pt x="87" y="59"/>
                    <a:pt x="57" y="88"/>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1" name="Freeform 599">
              <a:extLst>
                <a:ext uri="{FF2B5EF4-FFF2-40B4-BE49-F238E27FC236}">
                  <a16:creationId xmlns:a16="http://schemas.microsoft.com/office/drawing/2014/main" id="{F9ED23FB-B193-4BB2-912A-58354D0E90E1}"/>
                </a:ext>
              </a:extLst>
            </p:cNvPr>
            <p:cNvSpPr>
              <a:spLocks noChangeArrowheads="1"/>
            </p:cNvSpPr>
            <p:nvPr/>
          </p:nvSpPr>
          <p:spPr bwMode="auto">
            <a:xfrm>
              <a:off x="10651117" y="3841951"/>
              <a:ext cx="11416" cy="11329"/>
            </a:xfrm>
            <a:custGeom>
              <a:avLst/>
              <a:gdLst>
                <a:gd name="T0" fmla="*/ 29 w 30"/>
                <a:gd name="T1" fmla="*/ 29 h 30"/>
                <a:gd name="T2" fmla="*/ 29 w 30"/>
                <a:gd name="T3" fmla="*/ 29 h 30"/>
                <a:gd name="T4" fmla="*/ 0 w 30"/>
                <a:gd name="T5" fmla="*/ 0 h 30"/>
                <a:gd name="T6" fmla="*/ 29 w 30"/>
                <a:gd name="T7" fmla="*/ 29 h 30"/>
              </a:gdLst>
              <a:ahLst/>
              <a:cxnLst>
                <a:cxn ang="0">
                  <a:pos x="T0" y="T1"/>
                </a:cxn>
                <a:cxn ang="0">
                  <a:pos x="T2" y="T3"/>
                </a:cxn>
                <a:cxn ang="0">
                  <a:pos x="T4" y="T5"/>
                </a:cxn>
                <a:cxn ang="0">
                  <a:pos x="T6" y="T7"/>
                </a:cxn>
              </a:cxnLst>
              <a:rect l="0" t="0" r="r" b="b"/>
              <a:pathLst>
                <a:path w="30" h="30">
                  <a:moveTo>
                    <a:pt x="29" y="29"/>
                  </a:moveTo>
                  <a:lnTo>
                    <a:pt x="29" y="29"/>
                  </a:lnTo>
                  <a:cubicBezTo>
                    <a:pt x="29" y="29"/>
                    <a:pt x="29" y="0"/>
                    <a:pt x="0" y="0"/>
                  </a:cubicBezTo>
                  <a:cubicBezTo>
                    <a:pt x="29" y="0"/>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2" name="Freeform 600">
              <a:extLst>
                <a:ext uri="{FF2B5EF4-FFF2-40B4-BE49-F238E27FC236}">
                  <a16:creationId xmlns:a16="http://schemas.microsoft.com/office/drawing/2014/main" id="{5F975551-8272-4C2C-A16D-554FE13CD105}"/>
                </a:ext>
              </a:extLst>
            </p:cNvPr>
            <p:cNvSpPr>
              <a:spLocks noChangeArrowheads="1"/>
            </p:cNvSpPr>
            <p:nvPr/>
          </p:nvSpPr>
          <p:spPr bwMode="auto">
            <a:xfrm>
              <a:off x="10595668" y="3864608"/>
              <a:ext cx="22832" cy="11329"/>
            </a:xfrm>
            <a:custGeom>
              <a:avLst/>
              <a:gdLst>
                <a:gd name="T0" fmla="*/ 30 w 60"/>
                <a:gd name="T1" fmla="*/ 29 h 30"/>
                <a:gd name="T2" fmla="*/ 30 w 60"/>
                <a:gd name="T3" fmla="*/ 29 h 30"/>
                <a:gd name="T4" fmla="*/ 30 w 60"/>
                <a:gd name="T5" fmla="*/ 29 h 30"/>
                <a:gd name="T6" fmla="*/ 0 w 60"/>
                <a:gd name="T7" fmla="*/ 29 h 30"/>
                <a:gd name="T8" fmla="*/ 0 w 60"/>
                <a:gd name="T9" fmla="*/ 29 h 30"/>
                <a:gd name="T10" fmla="*/ 30 w 60"/>
                <a:gd name="T11" fmla="*/ 29 h 30"/>
                <a:gd name="T12" fmla="*/ 30 w 60"/>
                <a:gd name="T13" fmla="*/ 29 h 30"/>
                <a:gd name="T14" fmla="*/ 59 w 60"/>
                <a:gd name="T15" fmla="*/ 0 h 30"/>
                <a:gd name="T16" fmla="*/ 30 w 60"/>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0">
                  <a:moveTo>
                    <a:pt x="30" y="29"/>
                  </a:moveTo>
                  <a:lnTo>
                    <a:pt x="30" y="29"/>
                  </a:lnTo>
                  <a:lnTo>
                    <a:pt x="30" y="29"/>
                  </a:lnTo>
                  <a:cubicBezTo>
                    <a:pt x="0" y="29"/>
                    <a:pt x="0" y="29"/>
                    <a:pt x="0" y="29"/>
                  </a:cubicBezTo>
                  <a:lnTo>
                    <a:pt x="0" y="29"/>
                  </a:lnTo>
                  <a:cubicBezTo>
                    <a:pt x="30" y="29"/>
                    <a:pt x="30" y="29"/>
                    <a:pt x="30" y="29"/>
                  </a:cubicBezTo>
                  <a:lnTo>
                    <a:pt x="30" y="29"/>
                  </a:lnTo>
                  <a:cubicBezTo>
                    <a:pt x="59" y="29"/>
                    <a:pt x="59" y="29"/>
                    <a:pt x="59" y="0"/>
                  </a:cubicBezTo>
                  <a:cubicBezTo>
                    <a:pt x="59" y="29"/>
                    <a:pt x="59"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3" name="Freeform 601">
              <a:extLst>
                <a:ext uri="{FF2B5EF4-FFF2-40B4-BE49-F238E27FC236}">
                  <a16:creationId xmlns:a16="http://schemas.microsoft.com/office/drawing/2014/main" id="{F6BDAAE2-EB42-4666-9A19-F8FE484AE2D0}"/>
                </a:ext>
              </a:extLst>
            </p:cNvPr>
            <p:cNvSpPr>
              <a:spLocks noChangeArrowheads="1"/>
            </p:cNvSpPr>
            <p:nvPr/>
          </p:nvSpPr>
          <p:spPr bwMode="auto">
            <a:xfrm>
              <a:off x="10553266" y="392934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4" name="Freeform 602">
              <a:extLst>
                <a:ext uri="{FF2B5EF4-FFF2-40B4-BE49-F238E27FC236}">
                  <a16:creationId xmlns:a16="http://schemas.microsoft.com/office/drawing/2014/main" id="{8D95D335-423D-42E0-9BD2-E84C14CF951C}"/>
                </a:ext>
              </a:extLst>
            </p:cNvPr>
            <p:cNvSpPr>
              <a:spLocks noChangeArrowheads="1"/>
            </p:cNvSpPr>
            <p:nvPr/>
          </p:nvSpPr>
          <p:spPr bwMode="auto">
            <a:xfrm>
              <a:off x="8428275" y="5105860"/>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5" name="Freeform 603">
              <a:extLst>
                <a:ext uri="{FF2B5EF4-FFF2-40B4-BE49-F238E27FC236}">
                  <a16:creationId xmlns:a16="http://schemas.microsoft.com/office/drawing/2014/main" id="{44289F06-8F42-45F1-B858-33F361169ACE}"/>
                </a:ext>
              </a:extLst>
            </p:cNvPr>
            <p:cNvSpPr>
              <a:spLocks noChangeArrowheads="1"/>
            </p:cNvSpPr>
            <p:nvPr/>
          </p:nvSpPr>
          <p:spPr bwMode="auto">
            <a:xfrm>
              <a:off x="8503294" y="5126897"/>
              <a:ext cx="44032" cy="11329"/>
            </a:xfrm>
            <a:custGeom>
              <a:avLst/>
              <a:gdLst>
                <a:gd name="T0" fmla="*/ 58 w 118"/>
                <a:gd name="T1" fmla="*/ 29 h 30"/>
                <a:gd name="T2" fmla="*/ 58 w 118"/>
                <a:gd name="T3" fmla="*/ 29 h 30"/>
                <a:gd name="T4" fmla="*/ 0 w 118"/>
                <a:gd name="T5" fmla="*/ 0 h 30"/>
                <a:gd name="T6" fmla="*/ 58 w 118"/>
                <a:gd name="T7" fmla="*/ 29 h 30"/>
                <a:gd name="T8" fmla="*/ 117 w 118"/>
                <a:gd name="T9" fmla="*/ 29 h 30"/>
                <a:gd name="T10" fmla="*/ 58 w 118"/>
                <a:gd name="T11" fmla="*/ 29 h 30"/>
              </a:gdLst>
              <a:ahLst/>
              <a:cxnLst>
                <a:cxn ang="0">
                  <a:pos x="T0" y="T1"/>
                </a:cxn>
                <a:cxn ang="0">
                  <a:pos x="T2" y="T3"/>
                </a:cxn>
                <a:cxn ang="0">
                  <a:pos x="T4" y="T5"/>
                </a:cxn>
                <a:cxn ang="0">
                  <a:pos x="T6" y="T7"/>
                </a:cxn>
                <a:cxn ang="0">
                  <a:pos x="T8" y="T9"/>
                </a:cxn>
                <a:cxn ang="0">
                  <a:pos x="T10" y="T11"/>
                </a:cxn>
              </a:cxnLst>
              <a:rect l="0" t="0" r="r" b="b"/>
              <a:pathLst>
                <a:path w="118" h="30">
                  <a:moveTo>
                    <a:pt x="58" y="29"/>
                  </a:moveTo>
                  <a:lnTo>
                    <a:pt x="58" y="29"/>
                  </a:lnTo>
                  <a:cubicBezTo>
                    <a:pt x="29" y="0"/>
                    <a:pt x="29" y="0"/>
                    <a:pt x="0" y="0"/>
                  </a:cubicBezTo>
                  <a:cubicBezTo>
                    <a:pt x="29" y="0"/>
                    <a:pt x="29" y="0"/>
                    <a:pt x="58" y="29"/>
                  </a:cubicBezTo>
                  <a:cubicBezTo>
                    <a:pt x="58" y="29"/>
                    <a:pt x="88" y="29"/>
                    <a:pt x="117" y="29"/>
                  </a:cubicBezTo>
                  <a:cubicBezTo>
                    <a:pt x="88" y="29"/>
                    <a:pt x="58"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6" name="Freeform 604">
              <a:extLst>
                <a:ext uri="{FF2B5EF4-FFF2-40B4-BE49-F238E27FC236}">
                  <a16:creationId xmlns:a16="http://schemas.microsoft.com/office/drawing/2014/main" id="{23C10C39-7A1D-4F03-99B0-CCD79F43E916}"/>
                </a:ext>
              </a:extLst>
            </p:cNvPr>
            <p:cNvSpPr>
              <a:spLocks noChangeArrowheads="1"/>
            </p:cNvSpPr>
            <p:nvPr/>
          </p:nvSpPr>
          <p:spPr bwMode="auto">
            <a:xfrm>
              <a:off x="7997732" y="5052455"/>
              <a:ext cx="11415" cy="1619"/>
            </a:xfrm>
            <a:custGeom>
              <a:avLst/>
              <a:gdLst>
                <a:gd name="T0" fmla="*/ 0 w 29"/>
                <a:gd name="T1" fmla="*/ 0 h 1"/>
                <a:gd name="T2" fmla="*/ 0 w 29"/>
                <a:gd name="T3" fmla="*/ 0 h 1"/>
                <a:gd name="T4" fmla="*/ 28 w 29"/>
                <a:gd name="T5" fmla="*/ 0 h 1"/>
                <a:gd name="T6" fmla="*/ 28 w 29"/>
                <a:gd name="T7" fmla="*/ 0 h 1"/>
                <a:gd name="T8" fmla="*/ 0 w 29"/>
                <a:gd name="T9" fmla="*/ 0 h 1"/>
              </a:gdLst>
              <a:ahLst/>
              <a:cxnLst>
                <a:cxn ang="0">
                  <a:pos x="T0" y="T1"/>
                </a:cxn>
                <a:cxn ang="0">
                  <a:pos x="T2" y="T3"/>
                </a:cxn>
                <a:cxn ang="0">
                  <a:pos x="T4" y="T5"/>
                </a:cxn>
                <a:cxn ang="0">
                  <a:pos x="T6" y="T7"/>
                </a:cxn>
                <a:cxn ang="0">
                  <a:pos x="T8" y="T9"/>
                </a:cxn>
              </a:cxnLst>
              <a:rect l="0" t="0" r="r" b="b"/>
              <a:pathLst>
                <a:path w="29" h="1">
                  <a:moveTo>
                    <a:pt x="0" y="0"/>
                  </a:moveTo>
                  <a:lnTo>
                    <a:pt x="0" y="0"/>
                  </a:lnTo>
                  <a:lnTo>
                    <a:pt x="28" y="0"/>
                  </a:lnTo>
                  <a:lnTo>
                    <a:pt x="28"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7" name="Freeform 605">
              <a:extLst>
                <a:ext uri="{FF2B5EF4-FFF2-40B4-BE49-F238E27FC236}">
                  <a16:creationId xmlns:a16="http://schemas.microsoft.com/office/drawing/2014/main" id="{65476ABF-5B02-43EF-BFFA-FD36130E9B05}"/>
                </a:ext>
              </a:extLst>
            </p:cNvPr>
            <p:cNvSpPr>
              <a:spLocks noChangeArrowheads="1"/>
            </p:cNvSpPr>
            <p:nvPr/>
          </p:nvSpPr>
          <p:spPr bwMode="auto">
            <a:xfrm>
              <a:off x="8439690" y="5094531"/>
              <a:ext cx="53818" cy="21039"/>
            </a:xfrm>
            <a:custGeom>
              <a:avLst/>
              <a:gdLst>
                <a:gd name="T0" fmla="*/ 0 w 147"/>
                <a:gd name="T1" fmla="*/ 29 h 59"/>
                <a:gd name="T2" fmla="*/ 0 w 147"/>
                <a:gd name="T3" fmla="*/ 29 h 59"/>
                <a:gd name="T4" fmla="*/ 87 w 147"/>
                <a:gd name="T5" fmla="*/ 29 h 59"/>
                <a:gd name="T6" fmla="*/ 146 w 147"/>
                <a:gd name="T7" fmla="*/ 0 h 59"/>
                <a:gd name="T8" fmla="*/ 87 w 147"/>
                <a:gd name="T9" fmla="*/ 29 h 59"/>
                <a:gd name="T10" fmla="*/ 0 w 147"/>
                <a:gd name="T11" fmla="*/ 29 h 59"/>
              </a:gdLst>
              <a:ahLst/>
              <a:cxnLst>
                <a:cxn ang="0">
                  <a:pos x="T0" y="T1"/>
                </a:cxn>
                <a:cxn ang="0">
                  <a:pos x="T2" y="T3"/>
                </a:cxn>
                <a:cxn ang="0">
                  <a:pos x="T4" y="T5"/>
                </a:cxn>
                <a:cxn ang="0">
                  <a:pos x="T6" y="T7"/>
                </a:cxn>
                <a:cxn ang="0">
                  <a:pos x="T8" y="T9"/>
                </a:cxn>
                <a:cxn ang="0">
                  <a:pos x="T10" y="T11"/>
                </a:cxn>
              </a:cxnLst>
              <a:rect l="0" t="0" r="r" b="b"/>
              <a:pathLst>
                <a:path w="147" h="59">
                  <a:moveTo>
                    <a:pt x="0" y="29"/>
                  </a:moveTo>
                  <a:lnTo>
                    <a:pt x="0" y="29"/>
                  </a:lnTo>
                  <a:cubicBezTo>
                    <a:pt x="29" y="58"/>
                    <a:pt x="58" y="29"/>
                    <a:pt x="87" y="29"/>
                  </a:cubicBezTo>
                  <a:cubicBezTo>
                    <a:pt x="116" y="29"/>
                    <a:pt x="116" y="0"/>
                    <a:pt x="146" y="0"/>
                  </a:cubicBezTo>
                  <a:cubicBezTo>
                    <a:pt x="116" y="0"/>
                    <a:pt x="116" y="29"/>
                    <a:pt x="87" y="29"/>
                  </a:cubicBezTo>
                  <a:cubicBezTo>
                    <a:pt x="58" y="29"/>
                    <a:pt x="29" y="58"/>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8" name="Freeform 606">
              <a:extLst>
                <a:ext uri="{FF2B5EF4-FFF2-40B4-BE49-F238E27FC236}">
                  <a16:creationId xmlns:a16="http://schemas.microsoft.com/office/drawing/2014/main" id="{E5448316-BCA9-4A9E-BF9C-949B3EF912DE}"/>
                </a:ext>
              </a:extLst>
            </p:cNvPr>
            <p:cNvSpPr>
              <a:spLocks noChangeArrowheads="1"/>
            </p:cNvSpPr>
            <p:nvPr/>
          </p:nvSpPr>
          <p:spPr bwMode="auto">
            <a:xfrm>
              <a:off x="8374457" y="5008761"/>
              <a:ext cx="11416" cy="11328"/>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lnTo>
                    <a:pt x="29"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29" name="Freeform 607">
              <a:extLst>
                <a:ext uri="{FF2B5EF4-FFF2-40B4-BE49-F238E27FC236}">
                  <a16:creationId xmlns:a16="http://schemas.microsoft.com/office/drawing/2014/main" id="{A1589D3D-1E57-422D-A13F-440493DE3E54}"/>
                </a:ext>
              </a:extLst>
            </p:cNvPr>
            <p:cNvSpPr>
              <a:spLocks noChangeArrowheads="1"/>
            </p:cNvSpPr>
            <p:nvPr/>
          </p:nvSpPr>
          <p:spPr bwMode="auto">
            <a:xfrm>
              <a:off x="8407074" y="5052455"/>
              <a:ext cx="21202" cy="1619"/>
            </a:xfrm>
            <a:custGeom>
              <a:avLst/>
              <a:gdLst>
                <a:gd name="T0" fmla="*/ 58 w 59"/>
                <a:gd name="T1" fmla="*/ 0 h 1"/>
                <a:gd name="T2" fmla="*/ 58 w 59"/>
                <a:gd name="T3" fmla="*/ 0 h 1"/>
                <a:gd name="T4" fmla="*/ 58 w 59"/>
                <a:gd name="T5" fmla="*/ 0 h 1"/>
                <a:gd name="T6" fmla="*/ 29 w 59"/>
                <a:gd name="T7" fmla="*/ 0 h 1"/>
                <a:gd name="T8" fmla="*/ 0 w 59"/>
                <a:gd name="T9" fmla="*/ 0 h 1"/>
                <a:gd name="T10" fmla="*/ 29 w 59"/>
                <a:gd name="T11" fmla="*/ 0 h 1"/>
                <a:gd name="T12" fmla="*/ 58 w 5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9" h="1">
                  <a:moveTo>
                    <a:pt x="58" y="0"/>
                  </a:moveTo>
                  <a:lnTo>
                    <a:pt x="58" y="0"/>
                  </a:lnTo>
                  <a:lnTo>
                    <a:pt x="58" y="0"/>
                  </a:lnTo>
                  <a:cubicBezTo>
                    <a:pt x="29" y="0"/>
                    <a:pt x="29" y="0"/>
                    <a:pt x="29" y="0"/>
                  </a:cubicBezTo>
                  <a:lnTo>
                    <a:pt x="0" y="0"/>
                  </a:lnTo>
                  <a:lnTo>
                    <a:pt x="29" y="0"/>
                  </a:lnTo>
                  <a:cubicBezTo>
                    <a:pt x="58" y="0"/>
                    <a:pt x="58"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0" name="Freeform 608">
              <a:extLst>
                <a:ext uri="{FF2B5EF4-FFF2-40B4-BE49-F238E27FC236}">
                  <a16:creationId xmlns:a16="http://schemas.microsoft.com/office/drawing/2014/main" id="{7FD5C1FD-18C7-4514-91AD-2567CDE0454A}"/>
                </a:ext>
              </a:extLst>
            </p:cNvPr>
            <p:cNvSpPr>
              <a:spLocks noChangeArrowheads="1"/>
            </p:cNvSpPr>
            <p:nvPr/>
          </p:nvSpPr>
          <p:spPr bwMode="auto">
            <a:xfrm>
              <a:off x="8385873" y="4999051"/>
              <a:ext cx="11415" cy="53404"/>
            </a:xfrm>
            <a:custGeom>
              <a:avLst/>
              <a:gdLst>
                <a:gd name="T0" fmla="*/ 0 w 30"/>
                <a:gd name="T1" fmla="*/ 117 h 147"/>
                <a:gd name="T2" fmla="*/ 0 w 30"/>
                <a:gd name="T3" fmla="*/ 117 h 147"/>
                <a:gd name="T4" fmla="*/ 29 w 30"/>
                <a:gd name="T5" fmla="*/ 0 h 147"/>
                <a:gd name="T6" fmla="*/ 29 w 30"/>
                <a:gd name="T7" fmla="*/ 0 h 147"/>
                <a:gd name="T8" fmla="*/ 29 w 30"/>
                <a:gd name="T9" fmla="*/ 0 h 147"/>
                <a:gd name="T10" fmla="*/ 0 w 30"/>
                <a:gd name="T11" fmla="*/ 117 h 147"/>
                <a:gd name="T12" fmla="*/ 0 w 30"/>
                <a:gd name="T13" fmla="*/ 146 h 147"/>
                <a:gd name="T14" fmla="*/ 0 w 30"/>
                <a:gd name="T15" fmla="*/ 146 h 147"/>
                <a:gd name="T16" fmla="*/ 0 w 30"/>
                <a:gd name="T17" fmla="*/ 1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47">
                  <a:moveTo>
                    <a:pt x="0" y="117"/>
                  </a:moveTo>
                  <a:lnTo>
                    <a:pt x="0" y="117"/>
                  </a:lnTo>
                  <a:cubicBezTo>
                    <a:pt x="29" y="87"/>
                    <a:pt x="29" y="29"/>
                    <a:pt x="29" y="0"/>
                  </a:cubicBezTo>
                  <a:lnTo>
                    <a:pt x="29" y="0"/>
                  </a:lnTo>
                  <a:lnTo>
                    <a:pt x="29" y="0"/>
                  </a:lnTo>
                  <a:cubicBezTo>
                    <a:pt x="29" y="29"/>
                    <a:pt x="29" y="87"/>
                    <a:pt x="0" y="117"/>
                  </a:cubicBezTo>
                  <a:cubicBezTo>
                    <a:pt x="0" y="146"/>
                    <a:pt x="0" y="146"/>
                    <a:pt x="0" y="146"/>
                  </a:cubicBezTo>
                  <a:lnTo>
                    <a:pt x="0" y="146"/>
                  </a:lnTo>
                  <a:lnTo>
                    <a:pt x="0" y="11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1" name="Freeform 609">
              <a:extLst>
                <a:ext uri="{FF2B5EF4-FFF2-40B4-BE49-F238E27FC236}">
                  <a16:creationId xmlns:a16="http://schemas.microsoft.com/office/drawing/2014/main" id="{9066AAE4-171E-4086-8CC3-427814EEEF42}"/>
                </a:ext>
              </a:extLst>
            </p:cNvPr>
            <p:cNvSpPr>
              <a:spLocks noChangeArrowheads="1"/>
            </p:cNvSpPr>
            <p:nvPr/>
          </p:nvSpPr>
          <p:spPr bwMode="auto">
            <a:xfrm>
              <a:off x="8428275" y="5073493"/>
              <a:ext cx="21200" cy="32366"/>
            </a:xfrm>
            <a:custGeom>
              <a:avLst/>
              <a:gdLst>
                <a:gd name="T0" fmla="*/ 0 w 59"/>
                <a:gd name="T1" fmla="*/ 58 h 88"/>
                <a:gd name="T2" fmla="*/ 0 w 59"/>
                <a:gd name="T3" fmla="*/ 58 h 88"/>
                <a:gd name="T4" fmla="*/ 58 w 59"/>
                <a:gd name="T5" fmla="*/ 0 h 88"/>
                <a:gd name="T6" fmla="*/ 58 w 59"/>
                <a:gd name="T7" fmla="*/ 0 h 88"/>
                <a:gd name="T8" fmla="*/ 58 w 59"/>
                <a:gd name="T9" fmla="*/ 0 h 88"/>
                <a:gd name="T10" fmla="*/ 0 w 59"/>
                <a:gd name="T11" fmla="*/ 58 h 88"/>
                <a:gd name="T12" fmla="*/ 0 w 59"/>
                <a:gd name="T13" fmla="*/ 87 h 88"/>
                <a:gd name="T14" fmla="*/ 0 w 59"/>
                <a:gd name="T15" fmla="*/ 5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8">
                  <a:moveTo>
                    <a:pt x="0" y="58"/>
                  </a:moveTo>
                  <a:lnTo>
                    <a:pt x="0" y="58"/>
                  </a:lnTo>
                  <a:cubicBezTo>
                    <a:pt x="0" y="29"/>
                    <a:pt x="29" y="29"/>
                    <a:pt x="58" y="0"/>
                  </a:cubicBezTo>
                  <a:lnTo>
                    <a:pt x="58" y="0"/>
                  </a:lnTo>
                  <a:lnTo>
                    <a:pt x="58" y="0"/>
                  </a:lnTo>
                  <a:cubicBezTo>
                    <a:pt x="29" y="29"/>
                    <a:pt x="0" y="29"/>
                    <a:pt x="0" y="58"/>
                  </a:cubicBezTo>
                  <a:cubicBezTo>
                    <a:pt x="0" y="58"/>
                    <a:pt x="0" y="58"/>
                    <a:pt x="0" y="87"/>
                  </a:cubicBezTo>
                  <a:cubicBezTo>
                    <a:pt x="0" y="58"/>
                    <a:pt x="0"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2" name="Freeform 610">
              <a:extLst>
                <a:ext uri="{FF2B5EF4-FFF2-40B4-BE49-F238E27FC236}">
                  <a16:creationId xmlns:a16="http://schemas.microsoft.com/office/drawing/2014/main" id="{66DDED90-0D35-4A79-91F5-E295FB74EF0F}"/>
                </a:ext>
              </a:extLst>
            </p:cNvPr>
            <p:cNvSpPr>
              <a:spLocks noChangeArrowheads="1"/>
            </p:cNvSpPr>
            <p:nvPr/>
          </p:nvSpPr>
          <p:spPr bwMode="auto">
            <a:xfrm>
              <a:off x="8643547" y="511557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3" name="Freeform 611">
              <a:extLst>
                <a:ext uri="{FF2B5EF4-FFF2-40B4-BE49-F238E27FC236}">
                  <a16:creationId xmlns:a16="http://schemas.microsoft.com/office/drawing/2014/main" id="{9C0D2B34-30A4-4BCE-B799-3E1C67CE3395}"/>
                </a:ext>
              </a:extLst>
            </p:cNvPr>
            <p:cNvSpPr>
              <a:spLocks noChangeArrowheads="1"/>
            </p:cNvSpPr>
            <p:nvPr/>
          </p:nvSpPr>
          <p:spPr bwMode="auto">
            <a:xfrm>
              <a:off x="8558743" y="5138226"/>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4" name="Freeform 612">
              <a:extLst>
                <a:ext uri="{FF2B5EF4-FFF2-40B4-BE49-F238E27FC236}">
                  <a16:creationId xmlns:a16="http://schemas.microsoft.com/office/drawing/2014/main" id="{20030E4C-A032-4762-B43F-275E4944BF77}"/>
                </a:ext>
              </a:extLst>
            </p:cNvPr>
            <p:cNvSpPr>
              <a:spLocks noChangeArrowheads="1"/>
            </p:cNvSpPr>
            <p:nvPr/>
          </p:nvSpPr>
          <p:spPr bwMode="auto">
            <a:xfrm>
              <a:off x="8654962" y="5062165"/>
              <a:ext cx="32617" cy="21039"/>
            </a:xfrm>
            <a:custGeom>
              <a:avLst/>
              <a:gdLst>
                <a:gd name="T0" fmla="*/ 30 w 89"/>
                <a:gd name="T1" fmla="*/ 29 h 59"/>
                <a:gd name="T2" fmla="*/ 30 w 89"/>
                <a:gd name="T3" fmla="*/ 29 h 59"/>
                <a:gd name="T4" fmla="*/ 0 w 89"/>
                <a:gd name="T5" fmla="*/ 0 h 59"/>
                <a:gd name="T6" fmla="*/ 30 w 89"/>
                <a:gd name="T7" fmla="*/ 29 h 59"/>
                <a:gd name="T8" fmla="*/ 59 w 89"/>
                <a:gd name="T9" fmla="*/ 29 h 59"/>
                <a:gd name="T10" fmla="*/ 88 w 89"/>
                <a:gd name="T11" fmla="*/ 58 h 59"/>
                <a:gd name="T12" fmla="*/ 59 w 89"/>
                <a:gd name="T13" fmla="*/ 29 h 59"/>
                <a:gd name="T14" fmla="*/ 30 w 89"/>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59">
                  <a:moveTo>
                    <a:pt x="30" y="29"/>
                  </a:moveTo>
                  <a:lnTo>
                    <a:pt x="30" y="29"/>
                  </a:lnTo>
                  <a:cubicBezTo>
                    <a:pt x="30" y="0"/>
                    <a:pt x="0" y="0"/>
                    <a:pt x="0" y="0"/>
                  </a:cubicBezTo>
                  <a:cubicBezTo>
                    <a:pt x="0" y="0"/>
                    <a:pt x="30" y="0"/>
                    <a:pt x="30" y="29"/>
                  </a:cubicBezTo>
                  <a:lnTo>
                    <a:pt x="59" y="29"/>
                  </a:lnTo>
                  <a:cubicBezTo>
                    <a:pt x="88" y="58"/>
                    <a:pt x="88" y="58"/>
                    <a:pt x="88" y="58"/>
                  </a:cubicBezTo>
                  <a:cubicBezTo>
                    <a:pt x="88" y="58"/>
                    <a:pt x="88" y="58"/>
                    <a:pt x="59" y="29"/>
                  </a:cubicBezTo>
                  <a:lnTo>
                    <a:pt x="3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5" name="Freeform 613">
              <a:extLst>
                <a:ext uri="{FF2B5EF4-FFF2-40B4-BE49-F238E27FC236}">
                  <a16:creationId xmlns:a16="http://schemas.microsoft.com/office/drawing/2014/main" id="{DA68BA8C-486E-4D6D-95E6-3BCDE4885A56}"/>
                </a:ext>
              </a:extLst>
            </p:cNvPr>
            <p:cNvSpPr>
              <a:spLocks noChangeArrowheads="1"/>
            </p:cNvSpPr>
            <p:nvPr/>
          </p:nvSpPr>
          <p:spPr bwMode="auto">
            <a:xfrm>
              <a:off x="8643547" y="5105860"/>
              <a:ext cx="11415" cy="11328"/>
            </a:xfrm>
            <a:custGeom>
              <a:avLst/>
              <a:gdLst>
                <a:gd name="T0" fmla="*/ 29 w 30"/>
                <a:gd name="T1" fmla="*/ 0 h 30"/>
                <a:gd name="T2" fmla="*/ 29 w 30"/>
                <a:gd name="T3" fmla="*/ 0 h 30"/>
                <a:gd name="T4" fmla="*/ 29 w 30"/>
                <a:gd name="T5" fmla="*/ 0 h 30"/>
                <a:gd name="T6" fmla="*/ 0 w 30"/>
                <a:gd name="T7" fmla="*/ 29 h 30"/>
                <a:gd name="T8" fmla="*/ 29 w 30"/>
                <a:gd name="T9" fmla="*/ 0 h 30"/>
              </a:gdLst>
              <a:ahLst/>
              <a:cxnLst>
                <a:cxn ang="0">
                  <a:pos x="T0" y="T1"/>
                </a:cxn>
                <a:cxn ang="0">
                  <a:pos x="T2" y="T3"/>
                </a:cxn>
                <a:cxn ang="0">
                  <a:pos x="T4" y="T5"/>
                </a:cxn>
                <a:cxn ang="0">
                  <a:pos x="T6" y="T7"/>
                </a:cxn>
                <a:cxn ang="0">
                  <a:pos x="T8" y="T9"/>
                </a:cxn>
              </a:cxnLst>
              <a:rect l="0" t="0" r="r" b="b"/>
              <a:pathLst>
                <a:path w="30" h="30">
                  <a:moveTo>
                    <a:pt x="29" y="0"/>
                  </a:moveTo>
                  <a:lnTo>
                    <a:pt x="29" y="0"/>
                  </a:lnTo>
                  <a:lnTo>
                    <a:pt x="29" y="0"/>
                  </a:lnTo>
                  <a:cubicBezTo>
                    <a:pt x="29" y="29"/>
                    <a:pt x="29" y="29"/>
                    <a:pt x="0" y="29"/>
                  </a:cubicBezTo>
                  <a:cubicBezTo>
                    <a:pt x="29"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6" name="Freeform 614">
              <a:extLst>
                <a:ext uri="{FF2B5EF4-FFF2-40B4-BE49-F238E27FC236}">
                  <a16:creationId xmlns:a16="http://schemas.microsoft.com/office/drawing/2014/main" id="{BFA34E47-AEF5-4094-A2B5-D5BBA8623575}"/>
                </a:ext>
              </a:extLst>
            </p:cNvPr>
            <p:cNvSpPr>
              <a:spLocks noChangeArrowheads="1"/>
            </p:cNvSpPr>
            <p:nvPr/>
          </p:nvSpPr>
          <p:spPr bwMode="auto">
            <a:xfrm>
              <a:off x="8687579" y="5084821"/>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7" name="Freeform 615">
              <a:extLst>
                <a:ext uri="{FF2B5EF4-FFF2-40B4-BE49-F238E27FC236}">
                  <a16:creationId xmlns:a16="http://schemas.microsoft.com/office/drawing/2014/main" id="{997F58E8-7744-4F3A-9083-2381041F7989}"/>
                </a:ext>
              </a:extLst>
            </p:cNvPr>
            <p:cNvSpPr>
              <a:spLocks noChangeArrowheads="1"/>
            </p:cNvSpPr>
            <p:nvPr/>
          </p:nvSpPr>
          <p:spPr bwMode="auto">
            <a:xfrm>
              <a:off x="8601145" y="5105860"/>
              <a:ext cx="22832" cy="22656"/>
            </a:xfrm>
            <a:custGeom>
              <a:avLst/>
              <a:gdLst>
                <a:gd name="T0" fmla="*/ 0 w 60"/>
                <a:gd name="T1" fmla="*/ 29 h 60"/>
                <a:gd name="T2" fmla="*/ 0 w 60"/>
                <a:gd name="T3" fmla="*/ 29 h 60"/>
                <a:gd name="T4" fmla="*/ 0 w 60"/>
                <a:gd name="T5" fmla="*/ 0 h 60"/>
                <a:gd name="T6" fmla="*/ 0 w 60"/>
                <a:gd name="T7" fmla="*/ 0 h 60"/>
                <a:gd name="T8" fmla="*/ 0 w 60"/>
                <a:gd name="T9" fmla="*/ 29 h 60"/>
                <a:gd name="T10" fmla="*/ 59 w 60"/>
                <a:gd name="T11" fmla="*/ 59 h 60"/>
                <a:gd name="T12" fmla="*/ 59 w 60"/>
                <a:gd name="T13" fmla="*/ 59 h 60"/>
                <a:gd name="T14" fmla="*/ 0 w 60"/>
                <a:gd name="T15" fmla="*/ 2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0" y="29"/>
                  </a:moveTo>
                  <a:lnTo>
                    <a:pt x="0" y="29"/>
                  </a:lnTo>
                  <a:cubicBezTo>
                    <a:pt x="0" y="0"/>
                    <a:pt x="0" y="0"/>
                    <a:pt x="0" y="0"/>
                  </a:cubicBezTo>
                  <a:lnTo>
                    <a:pt x="0" y="0"/>
                  </a:lnTo>
                  <a:cubicBezTo>
                    <a:pt x="0" y="29"/>
                    <a:pt x="0" y="29"/>
                    <a:pt x="0" y="29"/>
                  </a:cubicBezTo>
                  <a:cubicBezTo>
                    <a:pt x="0" y="59"/>
                    <a:pt x="29" y="59"/>
                    <a:pt x="59" y="59"/>
                  </a:cubicBezTo>
                  <a:lnTo>
                    <a:pt x="59" y="59"/>
                  </a:lnTo>
                  <a:cubicBezTo>
                    <a:pt x="29" y="59"/>
                    <a:pt x="0" y="5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8" name="Freeform 616">
              <a:extLst>
                <a:ext uri="{FF2B5EF4-FFF2-40B4-BE49-F238E27FC236}">
                  <a16:creationId xmlns:a16="http://schemas.microsoft.com/office/drawing/2014/main" id="{40D06528-09E2-47F8-B421-E3193EA83364}"/>
                </a:ext>
              </a:extLst>
            </p:cNvPr>
            <p:cNvSpPr>
              <a:spLocks noChangeArrowheads="1"/>
            </p:cNvSpPr>
            <p:nvPr/>
          </p:nvSpPr>
          <p:spPr bwMode="auto">
            <a:xfrm>
              <a:off x="8579943" y="5094531"/>
              <a:ext cx="11416" cy="21039"/>
            </a:xfrm>
            <a:custGeom>
              <a:avLst/>
              <a:gdLst>
                <a:gd name="T0" fmla="*/ 0 w 30"/>
                <a:gd name="T1" fmla="*/ 0 h 59"/>
                <a:gd name="T2" fmla="*/ 0 w 30"/>
                <a:gd name="T3" fmla="*/ 0 h 59"/>
                <a:gd name="T4" fmla="*/ 29 w 30"/>
                <a:gd name="T5" fmla="*/ 58 h 59"/>
                <a:gd name="T6" fmla="*/ 29 w 30"/>
                <a:gd name="T7" fmla="*/ 58 h 59"/>
                <a:gd name="T8" fmla="*/ 0 w 30"/>
                <a:gd name="T9" fmla="*/ 0 h 59"/>
              </a:gdLst>
              <a:ahLst/>
              <a:cxnLst>
                <a:cxn ang="0">
                  <a:pos x="T0" y="T1"/>
                </a:cxn>
                <a:cxn ang="0">
                  <a:pos x="T2" y="T3"/>
                </a:cxn>
                <a:cxn ang="0">
                  <a:pos x="T4" y="T5"/>
                </a:cxn>
                <a:cxn ang="0">
                  <a:pos x="T6" y="T7"/>
                </a:cxn>
                <a:cxn ang="0">
                  <a:pos x="T8" y="T9"/>
                </a:cxn>
              </a:cxnLst>
              <a:rect l="0" t="0" r="r" b="b"/>
              <a:pathLst>
                <a:path w="30" h="59">
                  <a:moveTo>
                    <a:pt x="0" y="0"/>
                  </a:moveTo>
                  <a:lnTo>
                    <a:pt x="0" y="0"/>
                  </a:lnTo>
                  <a:cubicBezTo>
                    <a:pt x="0" y="0"/>
                    <a:pt x="29" y="29"/>
                    <a:pt x="29" y="58"/>
                  </a:cubicBezTo>
                  <a:lnTo>
                    <a:pt x="29" y="58"/>
                  </a:lnTo>
                  <a:cubicBezTo>
                    <a:pt x="29" y="29"/>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9" name="Freeform 617">
              <a:extLst>
                <a:ext uri="{FF2B5EF4-FFF2-40B4-BE49-F238E27FC236}">
                  <a16:creationId xmlns:a16="http://schemas.microsoft.com/office/drawing/2014/main" id="{3D5EA573-F238-46E0-84B6-B68F83480C0D}"/>
                </a:ext>
              </a:extLst>
            </p:cNvPr>
            <p:cNvSpPr>
              <a:spLocks noChangeArrowheads="1"/>
            </p:cNvSpPr>
            <p:nvPr/>
          </p:nvSpPr>
          <p:spPr bwMode="auto">
            <a:xfrm>
              <a:off x="8222789" y="5041127"/>
              <a:ext cx="44032" cy="11328"/>
            </a:xfrm>
            <a:custGeom>
              <a:avLst/>
              <a:gdLst>
                <a:gd name="T0" fmla="*/ 0 w 118"/>
                <a:gd name="T1" fmla="*/ 29 h 30"/>
                <a:gd name="T2" fmla="*/ 0 w 118"/>
                <a:gd name="T3" fmla="*/ 29 h 30"/>
                <a:gd name="T4" fmla="*/ 117 w 118"/>
                <a:gd name="T5" fmla="*/ 29 h 30"/>
                <a:gd name="T6" fmla="*/ 0 w 118"/>
                <a:gd name="T7" fmla="*/ 29 h 30"/>
              </a:gdLst>
              <a:ahLst/>
              <a:cxnLst>
                <a:cxn ang="0">
                  <a:pos x="T0" y="T1"/>
                </a:cxn>
                <a:cxn ang="0">
                  <a:pos x="T2" y="T3"/>
                </a:cxn>
                <a:cxn ang="0">
                  <a:pos x="T4" y="T5"/>
                </a:cxn>
                <a:cxn ang="0">
                  <a:pos x="T6" y="T7"/>
                </a:cxn>
              </a:cxnLst>
              <a:rect l="0" t="0" r="r" b="b"/>
              <a:pathLst>
                <a:path w="118" h="30">
                  <a:moveTo>
                    <a:pt x="0" y="29"/>
                  </a:moveTo>
                  <a:lnTo>
                    <a:pt x="0" y="29"/>
                  </a:lnTo>
                  <a:cubicBezTo>
                    <a:pt x="30" y="0"/>
                    <a:pt x="59" y="0"/>
                    <a:pt x="117" y="29"/>
                  </a:cubicBezTo>
                  <a:cubicBezTo>
                    <a:pt x="59" y="0"/>
                    <a:pt x="3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0" name="Freeform 618">
              <a:extLst>
                <a:ext uri="{FF2B5EF4-FFF2-40B4-BE49-F238E27FC236}">
                  <a16:creationId xmlns:a16="http://schemas.microsoft.com/office/drawing/2014/main" id="{98050913-4BBB-4A94-A82D-269D94036A67}"/>
                </a:ext>
              </a:extLst>
            </p:cNvPr>
            <p:cNvSpPr>
              <a:spLocks noChangeArrowheads="1"/>
            </p:cNvSpPr>
            <p:nvPr/>
          </p:nvSpPr>
          <p:spPr bwMode="auto">
            <a:xfrm>
              <a:off x="8147770" y="5020088"/>
              <a:ext cx="65234" cy="32366"/>
            </a:xfrm>
            <a:custGeom>
              <a:avLst/>
              <a:gdLst>
                <a:gd name="T0" fmla="*/ 0 w 176"/>
                <a:gd name="T1" fmla="*/ 0 h 89"/>
                <a:gd name="T2" fmla="*/ 0 w 176"/>
                <a:gd name="T3" fmla="*/ 0 h 89"/>
                <a:gd name="T4" fmla="*/ 175 w 176"/>
                <a:gd name="T5" fmla="*/ 88 h 89"/>
                <a:gd name="T6" fmla="*/ 0 w 176"/>
                <a:gd name="T7" fmla="*/ 0 h 89"/>
              </a:gdLst>
              <a:ahLst/>
              <a:cxnLst>
                <a:cxn ang="0">
                  <a:pos x="T0" y="T1"/>
                </a:cxn>
                <a:cxn ang="0">
                  <a:pos x="T2" y="T3"/>
                </a:cxn>
                <a:cxn ang="0">
                  <a:pos x="T4" y="T5"/>
                </a:cxn>
                <a:cxn ang="0">
                  <a:pos x="T6" y="T7"/>
                </a:cxn>
              </a:cxnLst>
              <a:rect l="0" t="0" r="r" b="b"/>
              <a:pathLst>
                <a:path w="176" h="89">
                  <a:moveTo>
                    <a:pt x="0" y="0"/>
                  </a:moveTo>
                  <a:lnTo>
                    <a:pt x="0" y="0"/>
                  </a:lnTo>
                  <a:cubicBezTo>
                    <a:pt x="59" y="59"/>
                    <a:pt x="117" y="88"/>
                    <a:pt x="175" y="88"/>
                  </a:cubicBezTo>
                  <a:cubicBezTo>
                    <a:pt x="117" y="88"/>
                    <a:pt x="59" y="5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1" name="Freeform 619">
              <a:extLst>
                <a:ext uri="{FF2B5EF4-FFF2-40B4-BE49-F238E27FC236}">
                  <a16:creationId xmlns:a16="http://schemas.microsoft.com/office/drawing/2014/main" id="{B7686CFB-7824-4A33-B0C9-88CB18BF7649}"/>
                </a:ext>
              </a:extLst>
            </p:cNvPr>
            <p:cNvSpPr>
              <a:spLocks noChangeArrowheads="1"/>
            </p:cNvSpPr>
            <p:nvPr/>
          </p:nvSpPr>
          <p:spPr bwMode="auto">
            <a:xfrm>
              <a:off x="8072751" y="5020088"/>
              <a:ext cx="21200" cy="11329"/>
            </a:xfrm>
            <a:custGeom>
              <a:avLst/>
              <a:gdLst>
                <a:gd name="T0" fmla="*/ 0 w 59"/>
                <a:gd name="T1" fmla="*/ 29 h 30"/>
                <a:gd name="T2" fmla="*/ 0 w 59"/>
                <a:gd name="T3" fmla="*/ 29 h 30"/>
                <a:gd name="T4" fmla="*/ 58 w 59"/>
                <a:gd name="T5" fmla="*/ 0 h 30"/>
                <a:gd name="T6" fmla="*/ 0 w 59"/>
                <a:gd name="T7" fmla="*/ 29 h 30"/>
              </a:gdLst>
              <a:ahLst/>
              <a:cxnLst>
                <a:cxn ang="0">
                  <a:pos x="T0" y="T1"/>
                </a:cxn>
                <a:cxn ang="0">
                  <a:pos x="T2" y="T3"/>
                </a:cxn>
                <a:cxn ang="0">
                  <a:pos x="T4" y="T5"/>
                </a:cxn>
                <a:cxn ang="0">
                  <a:pos x="T6" y="T7"/>
                </a:cxn>
              </a:cxnLst>
              <a:rect l="0" t="0" r="r" b="b"/>
              <a:pathLst>
                <a:path w="59" h="30">
                  <a:moveTo>
                    <a:pt x="0" y="29"/>
                  </a:moveTo>
                  <a:lnTo>
                    <a:pt x="0" y="29"/>
                  </a:lnTo>
                  <a:cubicBezTo>
                    <a:pt x="29" y="29"/>
                    <a:pt x="29" y="0"/>
                    <a:pt x="58" y="0"/>
                  </a:cubicBezTo>
                  <a:cubicBezTo>
                    <a:pt x="29"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2" name="Freeform 620">
              <a:extLst>
                <a:ext uri="{FF2B5EF4-FFF2-40B4-BE49-F238E27FC236}">
                  <a16:creationId xmlns:a16="http://schemas.microsoft.com/office/drawing/2014/main" id="{EC4C4971-D1EA-4844-92A4-35799D525FA0}"/>
                </a:ext>
              </a:extLst>
            </p:cNvPr>
            <p:cNvSpPr>
              <a:spLocks noChangeArrowheads="1"/>
            </p:cNvSpPr>
            <p:nvPr/>
          </p:nvSpPr>
          <p:spPr bwMode="auto">
            <a:xfrm>
              <a:off x="8126568" y="5008761"/>
              <a:ext cx="21202" cy="11328"/>
            </a:xfrm>
            <a:custGeom>
              <a:avLst/>
              <a:gdLst>
                <a:gd name="T0" fmla="*/ 0 w 59"/>
                <a:gd name="T1" fmla="*/ 0 h 30"/>
                <a:gd name="T2" fmla="*/ 0 w 59"/>
                <a:gd name="T3" fmla="*/ 0 h 30"/>
                <a:gd name="T4" fmla="*/ 58 w 59"/>
                <a:gd name="T5" fmla="*/ 29 h 30"/>
                <a:gd name="T6" fmla="*/ 58 w 59"/>
                <a:gd name="T7" fmla="*/ 29 h 30"/>
                <a:gd name="T8" fmla="*/ 58 w 59"/>
                <a:gd name="T9" fmla="*/ 29 h 30"/>
                <a:gd name="T10" fmla="*/ 0 w 59"/>
                <a:gd name="T11" fmla="*/ 0 h 30"/>
              </a:gdLst>
              <a:ahLst/>
              <a:cxnLst>
                <a:cxn ang="0">
                  <a:pos x="T0" y="T1"/>
                </a:cxn>
                <a:cxn ang="0">
                  <a:pos x="T2" y="T3"/>
                </a:cxn>
                <a:cxn ang="0">
                  <a:pos x="T4" y="T5"/>
                </a:cxn>
                <a:cxn ang="0">
                  <a:pos x="T6" y="T7"/>
                </a:cxn>
                <a:cxn ang="0">
                  <a:pos x="T8" y="T9"/>
                </a:cxn>
                <a:cxn ang="0">
                  <a:pos x="T10" y="T11"/>
                </a:cxn>
              </a:cxnLst>
              <a:rect l="0" t="0" r="r" b="b"/>
              <a:pathLst>
                <a:path w="59" h="30">
                  <a:moveTo>
                    <a:pt x="0" y="0"/>
                  </a:moveTo>
                  <a:lnTo>
                    <a:pt x="0" y="0"/>
                  </a:lnTo>
                  <a:cubicBezTo>
                    <a:pt x="29" y="0"/>
                    <a:pt x="58" y="29"/>
                    <a:pt x="58" y="29"/>
                  </a:cubicBezTo>
                  <a:lnTo>
                    <a:pt x="58" y="29"/>
                  </a:lnTo>
                  <a:lnTo>
                    <a:pt x="58" y="29"/>
                  </a:lnTo>
                  <a:cubicBezTo>
                    <a:pt x="58"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3" name="Freeform 621">
              <a:extLst>
                <a:ext uri="{FF2B5EF4-FFF2-40B4-BE49-F238E27FC236}">
                  <a16:creationId xmlns:a16="http://schemas.microsoft.com/office/drawing/2014/main" id="{180D2704-4DDB-4521-B7D4-9F06CDA4D085}"/>
                </a:ext>
              </a:extLst>
            </p:cNvPr>
            <p:cNvSpPr>
              <a:spLocks noChangeArrowheads="1"/>
            </p:cNvSpPr>
            <p:nvPr/>
          </p:nvSpPr>
          <p:spPr bwMode="auto">
            <a:xfrm>
              <a:off x="8040134" y="5031417"/>
              <a:ext cx="32617" cy="11328"/>
            </a:xfrm>
            <a:custGeom>
              <a:avLst/>
              <a:gdLst>
                <a:gd name="T0" fmla="*/ 0 w 88"/>
                <a:gd name="T1" fmla="*/ 30 h 31"/>
                <a:gd name="T2" fmla="*/ 0 w 88"/>
                <a:gd name="T3" fmla="*/ 30 h 31"/>
                <a:gd name="T4" fmla="*/ 29 w 88"/>
                <a:gd name="T5" fmla="*/ 30 h 31"/>
                <a:gd name="T6" fmla="*/ 87 w 88"/>
                <a:gd name="T7" fmla="*/ 0 h 31"/>
                <a:gd name="T8" fmla="*/ 29 w 88"/>
                <a:gd name="T9" fmla="*/ 30 h 31"/>
                <a:gd name="T10" fmla="*/ 0 w 88"/>
                <a:gd name="T11" fmla="*/ 30 h 31"/>
              </a:gdLst>
              <a:ahLst/>
              <a:cxnLst>
                <a:cxn ang="0">
                  <a:pos x="T0" y="T1"/>
                </a:cxn>
                <a:cxn ang="0">
                  <a:pos x="T2" y="T3"/>
                </a:cxn>
                <a:cxn ang="0">
                  <a:pos x="T4" y="T5"/>
                </a:cxn>
                <a:cxn ang="0">
                  <a:pos x="T6" y="T7"/>
                </a:cxn>
                <a:cxn ang="0">
                  <a:pos x="T8" y="T9"/>
                </a:cxn>
                <a:cxn ang="0">
                  <a:pos x="T10" y="T11"/>
                </a:cxn>
              </a:cxnLst>
              <a:rect l="0" t="0" r="r" b="b"/>
              <a:pathLst>
                <a:path w="88" h="31">
                  <a:moveTo>
                    <a:pt x="0" y="30"/>
                  </a:moveTo>
                  <a:lnTo>
                    <a:pt x="0" y="30"/>
                  </a:lnTo>
                  <a:cubicBezTo>
                    <a:pt x="0" y="30"/>
                    <a:pt x="0" y="30"/>
                    <a:pt x="29" y="30"/>
                  </a:cubicBezTo>
                  <a:cubicBezTo>
                    <a:pt x="58" y="30"/>
                    <a:pt x="58" y="0"/>
                    <a:pt x="87" y="0"/>
                  </a:cubicBezTo>
                  <a:cubicBezTo>
                    <a:pt x="58" y="0"/>
                    <a:pt x="58" y="30"/>
                    <a:pt x="29" y="3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4" name="Freeform 622">
              <a:extLst>
                <a:ext uri="{FF2B5EF4-FFF2-40B4-BE49-F238E27FC236}">
                  <a16:creationId xmlns:a16="http://schemas.microsoft.com/office/drawing/2014/main" id="{B33FAD49-D458-48CC-83B3-7402EA4E9B2C}"/>
                </a:ext>
              </a:extLst>
            </p:cNvPr>
            <p:cNvSpPr>
              <a:spLocks noChangeArrowheads="1"/>
            </p:cNvSpPr>
            <p:nvPr/>
          </p:nvSpPr>
          <p:spPr bwMode="auto">
            <a:xfrm>
              <a:off x="8040134" y="5031417"/>
              <a:ext cx="1630" cy="11328"/>
            </a:xfrm>
            <a:custGeom>
              <a:avLst/>
              <a:gdLst>
                <a:gd name="T0" fmla="*/ 0 w 1"/>
                <a:gd name="T1" fmla="*/ 0 h 31"/>
                <a:gd name="T2" fmla="*/ 0 w 1"/>
                <a:gd name="T3" fmla="*/ 0 h 31"/>
                <a:gd name="T4" fmla="*/ 0 w 1"/>
                <a:gd name="T5" fmla="*/ 30 h 31"/>
                <a:gd name="T6" fmla="*/ 0 w 1"/>
                <a:gd name="T7" fmla="*/ 30 h 31"/>
                <a:gd name="T8" fmla="*/ 0 w 1"/>
                <a:gd name="T9" fmla="*/ 0 h 31"/>
              </a:gdLst>
              <a:ahLst/>
              <a:cxnLst>
                <a:cxn ang="0">
                  <a:pos x="T0" y="T1"/>
                </a:cxn>
                <a:cxn ang="0">
                  <a:pos x="T2" y="T3"/>
                </a:cxn>
                <a:cxn ang="0">
                  <a:pos x="T4" y="T5"/>
                </a:cxn>
                <a:cxn ang="0">
                  <a:pos x="T6" y="T7"/>
                </a:cxn>
                <a:cxn ang="0">
                  <a:pos x="T8" y="T9"/>
                </a:cxn>
              </a:cxnLst>
              <a:rect l="0" t="0" r="r" b="b"/>
              <a:pathLst>
                <a:path w="1" h="31">
                  <a:moveTo>
                    <a:pt x="0" y="0"/>
                  </a:moveTo>
                  <a:lnTo>
                    <a:pt x="0" y="0"/>
                  </a:lnTo>
                  <a:cubicBezTo>
                    <a:pt x="0" y="30"/>
                    <a:pt x="0" y="30"/>
                    <a:pt x="0" y="30"/>
                  </a:cubicBezTo>
                  <a:lnTo>
                    <a:pt x="0" y="3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5" name="Freeform 623">
              <a:extLst>
                <a:ext uri="{FF2B5EF4-FFF2-40B4-BE49-F238E27FC236}">
                  <a16:creationId xmlns:a16="http://schemas.microsoft.com/office/drawing/2014/main" id="{A281D1C9-FE2C-4232-AC2D-F9A1A7245E46}"/>
                </a:ext>
              </a:extLst>
            </p:cNvPr>
            <p:cNvSpPr>
              <a:spLocks noChangeArrowheads="1"/>
            </p:cNvSpPr>
            <p:nvPr/>
          </p:nvSpPr>
          <p:spPr bwMode="auto">
            <a:xfrm>
              <a:off x="8353256" y="5073493"/>
              <a:ext cx="22832" cy="11328"/>
            </a:xfrm>
            <a:custGeom>
              <a:avLst/>
              <a:gdLst>
                <a:gd name="T0" fmla="*/ 59 w 60"/>
                <a:gd name="T1" fmla="*/ 0 h 30"/>
                <a:gd name="T2" fmla="*/ 59 w 60"/>
                <a:gd name="T3" fmla="*/ 0 h 30"/>
                <a:gd name="T4" fmla="*/ 0 w 60"/>
                <a:gd name="T5" fmla="*/ 29 h 30"/>
                <a:gd name="T6" fmla="*/ 0 w 60"/>
                <a:gd name="T7" fmla="*/ 29 h 30"/>
                <a:gd name="T8" fmla="*/ 59 w 60"/>
                <a:gd name="T9" fmla="*/ 0 h 30"/>
              </a:gdLst>
              <a:ahLst/>
              <a:cxnLst>
                <a:cxn ang="0">
                  <a:pos x="T0" y="T1"/>
                </a:cxn>
                <a:cxn ang="0">
                  <a:pos x="T2" y="T3"/>
                </a:cxn>
                <a:cxn ang="0">
                  <a:pos x="T4" y="T5"/>
                </a:cxn>
                <a:cxn ang="0">
                  <a:pos x="T6" y="T7"/>
                </a:cxn>
                <a:cxn ang="0">
                  <a:pos x="T8" y="T9"/>
                </a:cxn>
              </a:cxnLst>
              <a:rect l="0" t="0" r="r" b="b"/>
              <a:pathLst>
                <a:path w="60" h="30">
                  <a:moveTo>
                    <a:pt x="59" y="0"/>
                  </a:moveTo>
                  <a:lnTo>
                    <a:pt x="59" y="0"/>
                  </a:lnTo>
                  <a:cubicBezTo>
                    <a:pt x="59" y="29"/>
                    <a:pt x="30" y="29"/>
                    <a:pt x="0" y="29"/>
                  </a:cubicBezTo>
                  <a:lnTo>
                    <a:pt x="0" y="29"/>
                  </a:lnTo>
                  <a:cubicBezTo>
                    <a:pt x="30" y="29"/>
                    <a:pt x="59" y="29"/>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6" name="Freeform 624">
              <a:extLst>
                <a:ext uri="{FF2B5EF4-FFF2-40B4-BE49-F238E27FC236}">
                  <a16:creationId xmlns:a16="http://schemas.microsoft.com/office/drawing/2014/main" id="{ADE1D7F1-2ADE-4682-991C-86E0F253392A}"/>
                </a:ext>
              </a:extLst>
            </p:cNvPr>
            <p:cNvSpPr>
              <a:spLocks noChangeArrowheads="1"/>
            </p:cNvSpPr>
            <p:nvPr/>
          </p:nvSpPr>
          <p:spPr bwMode="auto">
            <a:xfrm>
              <a:off x="8278237" y="5052455"/>
              <a:ext cx="44032" cy="11329"/>
            </a:xfrm>
            <a:custGeom>
              <a:avLst/>
              <a:gdLst>
                <a:gd name="T0" fmla="*/ 58 w 117"/>
                <a:gd name="T1" fmla="*/ 29 h 30"/>
                <a:gd name="T2" fmla="*/ 58 w 117"/>
                <a:gd name="T3" fmla="*/ 29 h 30"/>
                <a:gd name="T4" fmla="*/ 0 w 117"/>
                <a:gd name="T5" fmla="*/ 29 h 30"/>
                <a:gd name="T6" fmla="*/ 58 w 117"/>
                <a:gd name="T7" fmla="*/ 29 h 30"/>
                <a:gd name="T8" fmla="*/ 58 w 117"/>
                <a:gd name="T9" fmla="*/ 29 h 30"/>
                <a:gd name="T10" fmla="*/ 116 w 117"/>
                <a:gd name="T11" fmla="*/ 0 h 30"/>
                <a:gd name="T12" fmla="*/ 58 w 117"/>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117" h="30">
                  <a:moveTo>
                    <a:pt x="58" y="29"/>
                  </a:moveTo>
                  <a:lnTo>
                    <a:pt x="58" y="29"/>
                  </a:lnTo>
                  <a:cubicBezTo>
                    <a:pt x="58" y="29"/>
                    <a:pt x="29" y="29"/>
                    <a:pt x="0" y="29"/>
                  </a:cubicBezTo>
                  <a:cubicBezTo>
                    <a:pt x="29" y="29"/>
                    <a:pt x="58" y="29"/>
                    <a:pt x="58" y="29"/>
                  </a:cubicBezTo>
                  <a:lnTo>
                    <a:pt x="58" y="29"/>
                  </a:lnTo>
                  <a:cubicBezTo>
                    <a:pt x="87" y="29"/>
                    <a:pt x="87" y="29"/>
                    <a:pt x="116" y="0"/>
                  </a:cubicBezTo>
                  <a:cubicBezTo>
                    <a:pt x="87" y="29"/>
                    <a:pt x="87"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7" name="Freeform 625">
              <a:extLst>
                <a:ext uri="{FF2B5EF4-FFF2-40B4-BE49-F238E27FC236}">
                  <a16:creationId xmlns:a16="http://schemas.microsoft.com/office/drawing/2014/main" id="{F86D541D-366B-49DB-9788-E8CACA65C54A}"/>
                </a:ext>
              </a:extLst>
            </p:cNvPr>
            <p:cNvSpPr>
              <a:spLocks noChangeArrowheads="1"/>
            </p:cNvSpPr>
            <p:nvPr/>
          </p:nvSpPr>
          <p:spPr bwMode="auto">
            <a:xfrm>
              <a:off x="8341840" y="508482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8" name="Freeform 626">
              <a:extLst>
                <a:ext uri="{FF2B5EF4-FFF2-40B4-BE49-F238E27FC236}">
                  <a16:creationId xmlns:a16="http://schemas.microsoft.com/office/drawing/2014/main" id="{F117EE7C-9DFB-482C-B4DA-C51C9D9F2D62}"/>
                </a:ext>
              </a:extLst>
            </p:cNvPr>
            <p:cNvSpPr>
              <a:spLocks noChangeArrowheads="1"/>
            </p:cNvSpPr>
            <p:nvPr/>
          </p:nvSpPr>
          <p:spPr bwMode="auto">
            <a:xfrm>
              <a:off x="8320639" y="5073493"/>
              <a:ext cx="21200" cy="11328"/>
            </a:xfrm>
            <a:custGeom>
              <a:avLst/>
              <a:gdLst>
                <a:gd name="T0" fmla="*/ 0 w 59"/>
                <a:gd name="T1" fmla="*/ 0 h 30"/>
                <a:gd name="T2" fmla="*/ 0 w 59"/>
                <a:gd name="T3" fmla="*/ 0 h 30"/>
                <a:gd name="T4" fmla="*/ 29 w 59"/>
                <a:gd name="T5" fmla="*/ 0 h 30"/>
                <a:gd name="T6" fmla="*/ 58 w 59"/>
                <a:gd name="T7" fmla="*/ 29 h 30"/>
                <a:gd name="T8" fmla="*/ 0 w 59"/>
                <a:gd name="T9" fmla="*/ 0 h 30"/>
              </a:gdLst>
              <a:ahLst/>
              <a:cxnLst>
                <a:cxn ang="0">
                  <a:pos x="T0" y="T1"/>
                </a:cxn>
                <a:cxn ang="0">
                  <a:pos x="T2" y="T3"/>
                </a:cxn>
                <a:cxn ang="0">
                  <a:pos x="T4" y="T5"/>
                </a:cxn>
                <a:cxn ang="0">
                  <a:pos x="T6" y="T7"/>
                </a:cxn>
                <a:cxn ang="0">
                  <a:pos x="T8" y="T9"/>
                </a:cxn>
              </a:cxnLst>
              <a:rect l="0" t="0" r="r" b="b"/>
              <a:pathLst>
                <a:path w="59" h="30">
                  <a:moveTo>
                    <a:pt x="0" y="0"/>
                  </a:moveTo>
                  <a:lnTo>
                    <a:pt x="0" y="0"/>
                  </a:lnTo>
                  <a:cubicBezTo>
                    <a:pt x="29" y="0"/>
                    <a:pt x="29" y="0"/>
                    <a:pt x="29" y="0"/>
                  </a:cubicBezTo>
                  <a:cubicBezTo>
                    <a:pt x="29" y="0"/>
                    <a:pt x="29" y="29"/>
                    <a:pt x="58" y="29"/>
                  </a:cubicBezTo>
                  <a:cubicBezTo>
                    <a:pt x="29" y="29"/>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9" name="Freeform 627">
              <a:extLst>
                <a:ext uri="{FF2B5EF4-FFF2-40B4-BE49-F238E27FC236}">
                  <a16:creationId xmlns:a16="http://schemas.microsoft.com/office/drawing/2014/main" id="{2BA17C83-1DA5-4164-A044-5FF36ADD670A}"/>
                </a:ext>
              </a:extLst>
            </p:cNvPr>
            <p:cNvSpPr>
              <a:spLocks noChangeArrowheads="1"/>
            </p:cNvSpPr>
            <p:nvPr/>
          </p:nvSpPr>
          <p:spPr bwMode="auto">
            <a:xfrm>
              <a:off x="8320639" y="5052455"/>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0" name="Freeform 628">
              <a:extLst>
                <a:ext uri="{FF2B5EF4-FFF2-40B4-BE49-F238E27FC236}">
                  <a16:creationId xmlns:a16="http://schemas.microsoft.com/office/drawing/2014/main" id="{01966FF8-E9DC-4551-9C84-1E0488CA1BF1}"/>
                </a:ext>
              </a:extLst>
            </p:cNvPr>
            <p:cNvSpPr>
              <a:spLocks noChangeArrowheads="1"/>
            </p:cNvSpPr>
            <p:nvPr/>
          </p:nvSpPr>
          <p:spPr bwMode="auto">
            <a:xfrm>
              <a:off x="8320639" y="507349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1" name="Freeform 629">
              <a:extLst>
                <a:ext uri="{FF2B5EF4-FFF2-40B4-BE49-F238E27FC236}">
                  <a16:creationId xmlns:a16="http://schemas.microsoft.com/office/drawing/2014/main" id="{ABA27408-B215-461A-A2AB-5DAD5FC6C00E}"/>
                </a:ext>
              </a:extLst>
            </p:cNvPr>
            <p:cNvSpPr>
              <a:spLocks noChangeArrowheads="1"/>
            </p:cNvSpPr>
            <p:nvPr/>
          </p:nvSpPr>
          <p:spPr bwMode="auto">
            <a:xfrm>
              <a:off x="9204557" y="4869585"/>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2" name="Freeform 630">
              <a:extLst>
                <a:ext uri="{FF2B5EF4-FFF2-40B4-BE49-F238E27FC236}">
                  <a16:creationId xmlns:a16="http://schemas.microsoft.com/office/drawing/2014/main" id="{2CC14751-3804-4630-9DC3-24FE39B04E01}"/>
                </a:ext>
              </a:extLst>
            </p:cNvPr>
            <p:cNvSpPr>
              <a:spLocks noChangeArrowheads="1"/>
            </p:cNvSpPr>
            <p:nvPr/>
          </p:nvSpPr>
          <p:spPr bwMode="auto">
            <a:xfrm>
              <a:off x="9410044" y="4976394"/>
              <a:ext cx="11415" cy="1618"/>
            </a:xfrm>
            <a:custGeom>
              <a:avLst/>
              <a:gdLst>
                <a:gd name="T0" fmla="*/ 0 w 30"/>
                <a:gd name="T1" fmla="*/ 0 h 1"/>
                <a:gd name="T2" fmla="*/ 0 w 30"/>
                <a:gd name="T3" fmla="*/ 0 h 1"/>
                <a:gd name="T4" fmla="*/ 0 w 30"/>
                <a:gd name="T5" fmla="*/ 0 h 1"/>
                <a:gd name="T6" fmla="*/ 0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lnTo>
                    <a:pt x="0" y="0"/>
                  </a:ln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3" name="Freeform 631">
              <a:extLst>
                <a:ext uri="{FF2B5EF4-FFF2-40B4-BE49-F238E27FC236}">
                  <a16:creationId xmlns:a16="http://schemas.microsoft.com/office/drawing/2014/main" id="{05A69312-1E71-4D4C-AE4C-047CB7047469}"/>
                </a:ext>
              </a:extLst>
            </p:cNvPr>
            <p:cNvSpPr>
              <a:spLocks noChangeArrowheads="1"/>
            </p:cNvSpPr>
            <p:nvPr/>
          </p:nvSpPr>
          <p:spPr bwMode="auto">
            <a:xfrm>
              <a:off x="9356226" y="4913279"/>
              <a:ext cx="21202" cy="32366"/>
            </a:xfrm>
            <a:custGeom>
              <a:avLst/>
              <a:gdLst>
                <a:gd name="T0" fmla="*/ 0 w 59"/>
                <a:gd name="T1" fmla="*/ 29 h 88"/>
                <a:gd name="T2" fmla="*/ 0 w 59"/>
                <a:gd name="T3" fmla="*/ 29 h 88"/>
                <a:gd name="T4" fmla="*/ 0 w 59"/>
                <a:gd name="T5" fmla="*/ 0 h 88"/>
                <a:gd name="T6" fmla="*/ 0 w 59"/>
                <a:gd name="T7" fmla="*/ 29 h 88"/>
                <a:gd name="T8" fmla="*/ 58 w 59"/>
                <a:gd name="T9" fmla="*/ 87 h 88"/>
                <a:gd name="T10" fmla="*/ 0 w 59"/>
                <a:gd name="T11" fmla="*/ 29 h 88"/>
              </a:gdLst>
              <a:ahLst/>
              <a:cxnLst>
                <a:cxn ang="0">
                  <a:pos x="T0" y="T1"/>
                </a:cxn>
                <a:cxn ang="0">
                  <a:pos x="T2" y="T3"/>
                </a:cxn>
                <a:cxn ang="0">
                  <a:pos x="T4" y="T5"/>
                </a:cxn>
                <a:cxn ang="0">
                  <a:pos x="T6" y="T7"/>
                </a:cxn>
                <a:cxn ang="0">
                  <a:pos x="T8" y="T9"/>
                </a:cxn>
                <a:cxn ang="0">
                  <a:pos x="T10" y="T11"/>
                </a:cxn>
              </a:cxnLst>
              <a:rect l="0" t="0" r="r" b="b"/>
              <a:pathLst>
                <a:path w="59" h="88">
                  <a:moveTo>
                    <a:pt x="0" y="29"/>
                  </a:moveTo>
                  <a:lnTo>
                    <a:pt x="0" y="29"/>
                  </a:lnTo>
                  <a:cubicBezTo>
                    <a:pt x="0" y="29"/>
                    <a:pt x="0" y="29"/>
                    <a:pt x="0" y="0"/>
                  </a:cubicBezTo>
                  <a:cubicBezTo>
                    <a:pt x="0" y="29"/>
                    <a:pt x="0" y="29"/>
                    <a:pt x="0" y="29"/>
                  </a:cubicBezTo>
                  <a:cubicBezTo>
                    <a:pt x="29" y="58"/>
                    <a:pt x="58" y="58"/>
                    <a:pt x="58" y="87"/>
                  </a:cubicBezTo>
                  <a:cubicBezTo>
                    <a:pt x="58" y="58"/>
                    <a:pt x="29" y="58"/>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4" name="Freeform 632">
              <a:extLst>
                <a:ext uri="{FF2B5EF4-FFF2-40B4-BE49-F238E27FC236}">
                  <a16:creationId xmlns:a16="http://schemas.microsoft.com/office/drawing/2014/main" id="{05400655-616B-4378-9DA7-4DBC9EC304B2}"/>
                </a:ext>
              </a:extLst>
            </p:cNvPr>
            <p:cNvSpPr>
              <a:spLocks noChangeArrowheads="1"/>
            </p:cNvSpPr>
            <p:nvPr/>
          </p:nvSpPr>
          <p:spPr bwMode="auto">
            <a:xfrm>
              <a:off x="9463861" y="4966684"/>
              <a:ext cx="11416" cy="11328"/>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0" y="0"/>
                    <a:pt x="0" y="29"/>
                    <a:pt x="0" y="29"/>
                  </a:cubicBezTo>
                  <a:cubicBezTo>
                    <a:pt x="0" y="29"/>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5" name="Freeform 633">
              <a:extLst>
                <a:ext uri="{FF2B5EF4-FFF2-40B4-BE49-F238E27FC236}">
                  <a16:creationId xmlns:a16="http://schemas.microsoft.com/office/drawing/2014/main" id="{6E8BF8DA-F511-4D50-AE00-A7907AFF941B}"/>
                </a:ext>
              </a:extLst>
            </p:cNvPr>
            <p:cNvSpPr>
              <a:spLocks noChangeArrowheads="1"/>
            </p:cNvSpPr>
            <p:nvPr/>
          </p:nvSpPr>
          <p:spPr bwMode="auto">
            <a:xfrm>
              <a:off x="9442661" y="4966684"/>
              <a:ext cx="21200" cy="1618"/>
            </a:xfrm>
            <a:custGeom>
              <a:avLst/>
              <a:gdLst>
                <a:gd name="T0" fmla="*/ 57 w 58"/>
                <a:gd name="T1" fmla="*/ 0 h 1"/>
                <a:gd name="T2" fmla="*/ 57 w 58"/>
                <a:gd name="T3" fmla="*/ 0 h 1"/>
                <a:gd name="T4" fmla="*/ 28 w 58"/>
                <a:gd name="T5" fmla="*/ 0 h 1"/>
                <a:gd name="T6" fmla="*/ 0 w 58"/>
                <a:gd name="T7" fmla="*/ 0 h 1"/>
                <a:gd name="T8" fmla="*/ 0 w 58"/>
                <a:gd name="T9" fmla="*/ 0 h 1"/>
                <a:gd name="T10" fmla="*/ 28 w 58"/>
                <a:gd name="T11" fmla="*/ 0 h 1"/>
                <a:gd name="T12" fmla="*/ 57 w 58"/>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8" h="1">
                  <a:moveTo>
                    <a:pt x="57" y="0"/>
                  </a:moveTo>
                  <a:lnTo>
                    <a:pt x="57" y="0"/>
                  </a:lnTo>
                  <a:cubicBezTo>
                    <a:pt x="28" y="0"/>
                    <a:pt x="28" y="0"/>
                    <a:pt x="28" y="0"/>
                  </a:cubicBezTo>
                  <a:cubicBezTo>
                    <a:pt x="0" y="0"/>
                    <a:pt x="0" y="0"/>
                    <a:pt x="0" y="0"/>
                  </a:cubicBezTo>
                  <a:lnTo>
                    <a:pt x="0" y="0"/>
                  </a:lnTo>
                  <a:cubicBezTo>
                    <a:pt x="0" y="0"/>
                    <a:pt x="0" y="0"/>
                    <a:pt x="28" y="0"/>
                  </a:cubicBezTo>
                  <a:cubicBezTo>
                    <a:pt x="28" y="0"/>
                    <a:pt x="28" y="0"/>
                    <a:pt x="5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6" name="Freeform 634">
              <a:extLst>
                <a:ext uri="{FF2B5EF4-FFF2-40B4-BE49-F238E27FC236}">
                  <a16:creationId xmlns:a16="http://schemas.microsoft.com/office/drawing/2014/main" id="{64DCBA7E-AA1B-4119-8113-41F73B7BDA12}"/>
                </a:ext>
              </a:extLst>
            </p:cNvPr>
            <p:cNvSpPr>
              <a:spLocks noChangeArrowheads="1"/>
            </p:cNvSpPr>
            <p:nvPr/>
          </p:nvSpPr>
          <p:spPr bwMode="auto">
            <a:xfrm>
              <a:off x="9711750" y="4976394"/>
              <a:ext cx="32617" cy="11328"/>
            </a:xfrm>
            <a:custGeom>
              <a:avLst/>
              <a:gdLst>
                <a:gd name="T0" fmla="*/ 58 w 89"/>
                <a:gd name="T1" fmla="*/ 29 h 30"/>
                <a:gd name="T2" fmla="*/ 58 w 89"/>
                <a:gd name="T3" fmla="*/ 29 h 30"/>
                <a:gd name="T4" fmla="*/ 0 w 89"/>
                <a:gd name="T5" fmla="*/ 0 h 30"/>
                <a:gd name="T6" fmla="*/ 58 w 89"/>
                <a:gd name="T7" fmla="*/ 29 h 30"/>
                <a:gd name="T8" fmla="*/ 88 w 89"/>
                <a:gd name="T9" fmla="*/ 29 h 30"/>
                <a:gd name="T10" fmla="*/ 58 w 89"/>
                <a:gd name="T11" fmla="*/ 29 h 30"/>
              </a:gdLst>
              <a:ahLst/>
              <a:cxnLst>
                <a:cxn ang="0">
                  <a:pos x="T0" y="T1"/>
                </a:cxn>
                <a:cxn ang="0">
                  <a:pos x="T2" y="T3"/>
                </a:cxn>
                <a:cxn ang="0">
                  <a:pos x="T4" y="T5"/>
                </a:cxn>
                <a:cxn ang="0">
                  <a:pos x="T6" y="T7"/>
                </a:cxn>
                <a:cxn ang="0">
                  <a:pos x="T8" y="T9"/>
                </a:cxn>
                <a:cxn ang="0">
                  <a:pos x="T10" y="T11"/>
                </a:cxn>
              </a:cxnLst>
              <a:rect l="0" t="0" r="r" b="b"/>
              <a:pathLst>
                <a:path w="89" h="30">
                  <a:moveTo>
                    <a:pt x="58" y="29"/>
                  </a:moveTo>
                  <a:lnTo>
                    <a:pt x="58" y="29"/>
                  </a:lnTo>
                  <a:cubicBezTo>
                    <a:pt x="29" y="29"/>
                    <a:pt x="0" y="29"/>
                    <a:pt x="0" y="0"/>
                  </a:cubicBezTo>
                  <a:cubicBezTo>
                    <a:pt x="0" y="29"/>
                    <a:pt x="29" y="29"/>
                    <a:pt x="58" y="29"/>
                  </a:cubicBezTo>
                  <a:lnTo>
                    <a:pt x="88" y="29"/>
                  </a:lnTo>
                  <a:lnTo>
                    <a:pt x="58"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7" name="Freeform 635">
              <a:extLst>
                <a:ext uri="{FF2B5EF4-FFF2-40B4-BE49-F238E27FC236}">
                  <a16:creationId xmlns:a16="http://schemas.microsoft.com/office/drawing/2014/main" id="{8D9CA800-310E-46C7-B790-6C6A8BA1B3A4}"/>
                </a:ext>
              </a:extLst>
            </p:cNvPr>
            <p:cNvSpPr>
              <a:spLocks noChangeArrowheads="1"/>
            </p:cNvSpPr>
            <p:nvPr/>
          </p:nvSpPr>
          <p:spPr bwMode="auto">
            <a:xfrm>
              <a:off x="9281207" y="4869585"/>
              <a:ext cx="44033" cy="32366"/>
            </a:xfrm>
            <a:custGeom>
              <a:avLst/>
              <a:gdLst>
                <a:gd name="T0" fmla="*/ 117 w 118"/>
                <a:gd name="T1" fmla="*/ 87 h 88"/>
                <a:gd name="T2" fmla="*/ 117 w 118"/>
                <a:gd name="T3" fmla="*/ 87 h 88"/>
                <a:gd name="T4" fmla="*/ 29 w 118"/>
                <a:gd name="T5" fmla="*/ 29 h 88"/>
                <a:gd name="T6" fmla="*/ 0 w 118"/>
                <a:gd name="T7" fmla="*/ 0 h 88"/>
                <a:gd name="T8" fmla="*/ 0 w 118"/>
                <a:gd name="T9" fmla="*/ 0 h 88"/>
                <a:gd name="T10" fmla="*/ 0 w 118"/>
                <a:gd name="T11" fmla="*/ 0 h 88"/>
                <a:gd name="T12" fmla="*/ 29 w 118"/>
                <a:gd name="T13" fmla="*/ 29 h 88"/>
                <a:gd name="T14" fmla="*/ 117 w 118"/>
                <a:gd name="T15" fmla="*/ 8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88">
                  <a:moveTo>
                    <a:pt x="117" y="87"/>
                  </a:moveTo>
                  <a:lnTo>
                    <a:pt x="117" y="87"/>
                  </a:lnTo>
                  <a:cubicBezTo>
                    <a:pt x="88" y="58"/>
                    <a:pt x="58" y="58"/>
                    <a:pt x="29" y="29"/>
                  </a:cubicBezTo>
                  <a:cubicBezTo>
                    <a:pt x="29" y="0"/>
                    <a:pt x="29" y="0"/>
                    <a:pt x="0" y="0"/>
                  </a:cubicBezTo>
                  <a:lnTo>
                    <a:pt x="0" y="0"/>
                  </a:lnTo>
                  <a:lnTo>
                    <a:pt x="0" y="0"/>
                  </a:lnTo>
                  <a:cubicBezTo>
                    <a:pt x="29" y="0"/>
                    <a:pt x="29" y="0"/>
                    <a:pt x="29" y="29"/>
                  </a:cubicBezTo>
                  <a:cubicBezTo>
                    <a:pt x="58" y="58"/>
                    <a:pt x="88" y="58"/>
                    <a:pt x="117"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8" name="Freeform 636">
              <a:extLst>
                <a:ext uri="{FF2B5EF4-FFF2-40B4-BE49-F238E27FC236}">
                  <a16:creationId xmlns:a16="http://schemas.microsoft.com/office/drawing/2014/main" id="{6D0B4629-A808-4872-84F1-FCC1C3E1BE9D}"/>
                </a:ext>
              </a:extLst>
            </p:cNvPr>
            <p:cNvSpPr>
              <a:spLocks noChangeArrowheads="1"/>
            </p:cNvSpPr>
            <p:nvPr/>
          </p:nvSpPr>
          <p:spPr bwMode="auto">
            <a:xfrm>
              <a:off x="9183356" y="4837219"/>
              <a:ext cx="65234" cy="11328"/>
            </a:xfrm>
            <a:custGeom>
              <a:avLst/>
              <a:gdLst>
                <a:gd name="T0" fmla="*/ 174 w 175"/>
                <a:gd name="T1" fmla="*/ 29 h 30"/>
                <a:gd name="T2" fmla="*/ 174 w 175"/>
                <a:gd name="T3" fmla="*/ 29 h 30"/>
                <a:gd name="T4" fmla="*/ 174 w 175"/>
                <a:gd name="T5" fmla="*/ 29 h 30"/>
                <a:gd name="T6" fmla="*/ 174 w 175"/>
                <a:gd name="T7" fmla="*/ 29 h 30"/>
                <a:gd name="T8" fmla="*/ 174 w 175"/>
                <a:gd name="T9" fmla="*/ 29 h 30"/>
                <a:gd name="T10" fmla="*/ 86 w 175"/>
                <a:gd name="T11" fmla="*/ 0 h 30"/>
                <a:gd name="T12" fmla="*/ 29 w 175"/>
                <a:gd name="T13" fmla="*/ 29 h 30"/>
                <a:gd name="T14" fmla="*/ 0 w 175"/>
                <a:gd name="T15" fmla="*/ 29 h 30"/>
                <a:gd name="T16" fmla="*/ 0 w 175"/>
                <a:gd name="T17" fmla="*/ 29 h 30"/>
                <a:gd name="T18" fmla="*/ 0 w 175"/>
                <a:gd name="T19" fmla="*/ 29 h 30"/>
                <a:gd name="T20" fmla="*/ 29 w 175"/>
                <a:gd name="T21" fmla="*/ 29 h 30"/>
                <a:gd name="T22" fmla="*/ 86 w 175"/>
                <a:gd name="T23" fmla="*/ 0 h 30"/>
                <a:gd name="T24" fmla="*/ 174 w 175"/>
                <a:gd name="T2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30">
                  <a:moveTo>
                    <a:pt x="174" y="29"/>
                  </a:moveTo>
                  <a:lnTo>
                    <a:pt x="174" y="29"/>
                  </a:lnTo>
                  <a:lnTo>
                    <a:pt x="174" y="29"/>
                  </a:lnTo>
                  <a:lnTo>
                    <a:pt x="174" y="29"/>
                  </a:lnTo>
                  <a:lnTo>
                    <a:pt x="174" y="29"/>
                  </a:lnTo>
                  <a:cubicBezTo>
                    <a:pt x="145" y="0"/>
                    <a:pt x="116" y="0"/>
                    <a:pt x="86" y="0"/>
                  </a:cubicBezTo>
                  <a:cubicBezTo>
                    <a:pt x="57" y="0"/>
                    <a:pt x="29" y="0"/>
                    <a:pt x="29" y="29"/>
                  </a:cubicBezTo>
                  <a:lnTo>
                    <a:pt x="0" y="29"/>
                  </a:lnTo>
                  <a:lnTo>
                    <a:pt x="0" y="29"/>
                  </a:lnTo>
                  <a:lnTo>
                    <a:pt x="0" y="29"/>
                  </a:lnTo>
                  <a:lnTo>
                    <a:pt x="29" y="29"/>
                  </a:lnTo>
                  <a:cubicBezTo>
                    <a:pt x="29" y="0"/>
                    <a:pt x="57" y="0"/>
                    <a:pt x="86" y="0"/>
                  </a:cubicBezTo>
                  <a:cubicBezTo>
                    <a:pt x="116" y="0"/>
                    <a:pt x="145" y="0"/>
                    <a:pt x="174"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59" name="Freeform 637">
              <a:extLst>
                <a:ext uri="{FF2B5EF4-FFF2-40B4-BE49-F238E27FC236}">
                  <a16:creationId xmlns:a16="http://schemas.microsoft.com/office/drawing/2014/main" id="{6AAA5674-6EF7-4A55-87E1-6AD6470E5564}"/>
                </a:ext>
              </a:extLst>
            </p:cNvPr>
            <p:cNvSpPr>
              <a:spLocks noChangeArrowheads="1"/>
            </p:cNvSpPr>
            <p:nvPr/>
          </p:nvSpPr>
          <p:spPr bwMode="auto">
            <a:xfrm>
              <a:off x="9582914" y="489224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0" name="Freeform 638">
              <a:extLst>
                <a:ext uri="{FF2B5EF4-FFF2-40B4-BE49-F238E27FC236}">
                  <a16:creationId xmlns:a16="http://schemas.microsoft.com/office/drawing/2014/main" id="{A23F04DE-4CED-4912-B61D-F0161EF2E95F}"/>
                </a:ext>
              </a:extLst>
            </p:cNvPr>
            <p:cNvSpPr>
              <a:spLocks noChangeArrowheads="1"/>
            </p:cNvSpPr>
            <p:nvPr/>
          </p:nvSpPr>
          <p:spPr bwMode="auto">
            <a:xfrm>
              <a:off x="9582914" y="489224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1" name="Freeform 639">
              <a:extLst>
                <a:ext uri="{FF2B5EF4-FFF2-40B4-BE49-F238E27FC236}">
                  <a16:creationId xmlns:a16="http://schemas.microsoft.com/office/drawing/2014/main" id="{E9574200-7539-481C-B55D-6E25DE96E659}"/>
                </a:ext>
              </a:extLst>
            </p:cNvPr>
            <p:cNvSpPr>
              <a:spLocks noChangeArrowheads="1"/>
            </p:cNvSpPr>
            <p:nvPr/>
          </p:nvSpPr>
          <p:spPr bwMode="auto">
            <a:xfrm>
              <a:off x="9657933" y="4934318"/>
              <a:ext cx="21200" cy="1618"/>
            </a:xfrm>
            <a:custGeom>
              <a:avLst/>
              <a:gdLst>
                <a:gd name="T0" fmla="*/ 0 w 59"/>
                <a:gd name="T1" fmla="*/ 0 h 1"/>
                <a:gd name="T2" fmla="*/ 0 w 59"/>
                <a:gd name="T3" fmla="*/ 0 h 1"/>
                <a:gd name="T4" fmla="*/ 58 w 59"/>
                <a:gd name="T5" fmla="*/ 0 h 1"/>
                <a:gd name="T6" fmla="*/ 0 w 59"/>
                <a:gd name="T7" fmla="*/ 0 h 1"/>
              </a:gdLst>
              <a:ahLst/>
              <a:cxnLst>
                <a:cxn ang="0">
                  <a:pos x="T0" y="T1"/>
                </a:cxn>
                <a:cxn ang="0">
                  <a:pos x="T2" y="T3"/>
                </a:cxn>
                <a:cxn ang="0">
                  <a:pos x="T4" y="T5"/>
                </a:cxn>
                <a:cxn ang="0">
                  <a:pos x="T6" y="T7"/>
                </a:cxn>
              </a:cxnLst>
              <a:rect l="0" t="0" r="r" b="b"/>
              <a:pathLst>
                <a:path w="59" h="1">
                  <a:moveTo>
                    <a:pt x="0" y="0"/>
                  </a:moveTo>
                  <a:lnTo>
                    <a:pt x="0" y="0"/>
                  </a:lnTo>
                  <a:cubicBezTo>
                    <a:pt x="29" y="0"/>
                    <a:pt x="29" y="0"/>
                    <a:pt x="58"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2" name="Freeform 640">
              <a:extLst>
                <a:ext uri="{FF2B5EF4-FFF2-40B4-BE49-F238E27FC236}">
                  <a16:creationId xmlns:a16="http://schemas.microsoft.com/office/drawing/2014/main" id="{B51BECA5-C466-4C5D-A6F5-28EC97027709}"/>
                </a:ext>
              </a:extLst>
            </p:cNvPr>
            <p:cNvSpPr>
              <a:spLocks noChangeArrowheads="1"/>
            </p:cNvSpPr>
            <p:nvPr/>
          </p:nvSpPr>
          <p:spPr bwMode="auto">
            <a:xfrm>
              <a:off x="9582914" y="489224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3" name="Freeform 641">
              <a:extLst>
                <a:ext uri="{FF2B5EF4-FFF2-40B4-BE49-F238E27FC236}">
                  <a16:creationId xmlns:a16="http://schemas.microsoft.com/office/drawing/2014/main" id="{AE433989-92E0-4A0A-A65B-C06C7F52168E}"/>
                </a:ext>
              </a:extLst>
            </p:cNvPr>
            <p:cNvSpPr>
              <a:spLocks noChangeArrowheads="1"/>
            </p:cNvSpPr>
            <p:nvPr/>
          </p:nvSpPr>
          <p:spPr bwMode="auto">
            <a:xfrm>
              <a:off x="8687579" y="5084821"/>
              <a:ext cx="11416" cy="21039"/>
            </a:xfrm>
            <a:custGeom>
              <a:avLst/>
              <a:gdLst>
                <a:gd name="T0" fmla="*/ 0 w 30"/>
                <a:gd name="T1" fmla="*/ 58 h 59"/>
                <a:gd name="T2" fmla="*/ 0 w 30"/>
                <a:gd name="T3" fmla="*/ 58 h 59"/>
                <a:gd name="T4" fmla="*/ 29 w 30"/>
                <a:gd name="T5" fmla="*/ 0 h 59"/>
                <a:gd name="T6" fmla="*/ 29 w 30"/>
                <a:gd name="T7" fmla="*/ 0 h 59"/>
                <a:gd name="T8" fmla="*/ 0 w 30"/>
                <a:gd name="T9" fmla="*/ 58 h 59"/>
              </a:gdLst>
              <a:ahLst/>
              <a:cxnLst>
                <a:cxn ang="0">
                  <a:pos x="T0" y="T1"/>
                </a:cxn>
                <a:cxn ang="0">
                  <a:pos x="T2" y="T3"/>
                </a:cxn>
                <a:cxn ang="0">
                  <a:pos x="T4" y="T5"/>
                </a:cxn>
                <a:cxn ang="0">
                  <a:pos x="T6" y="T7"/>
                </a:cxn>
                <a:cxn ang="0">
                  <a:pos x="T8" y="T9"/>
                </a:cxn>
              </a:cxnLst>
              <a:rect l="0" t="0" r="r" b="b"/>
              <a:pathLst>
                <a:path w="30" h="59">
                  <a:moveTo>
                    <a:pt x="0" y="58"/>
                  </a:moveTo>
                  <a:lnTo>
                    <a:pt x="0" y="58"/>
                  </a:lnTo>
                  <a:cubicBezTo>
                    <a:pt x="0" y="29"/>
                    <a:pt x="29" y="0"/>
                    <a:pt x="29" y="0"/>
                  </a:cubicBezTo>
                  <a:lnTo>
                    <a:pt x="29" y="0"/>
                  </a:lnTo>
                  <a:cubicBezTo>
                    <a:pt x="29" y="0"/>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4" name="Freeform 642">
              <a:extLst>
                <a:ext uri="{FF2B5EF4-FFF2-40B4-BE49-F238E27FC236}">
                  <a16:creationId xmlns:a16="http://schemas.microsoft.com/office/drawing/2014/main" id="{2AC7EC8C-FC1E-4146-8BB6-174E7A43CDDF}"/>
                </a:ext>
              </a:extLst>
            </p:cNvPr>
            <p:cNvSpPr>
              <a:spLocks noChangeArrowheads="1"/>
            </p:cNvSpPr>
            <p:nvPr/>
          </p:nvSpPr>
          <p:spPr bwMode="auto">
            <a:xfrm>
              <a:off x="9475278" y="4966684"/>
              <a:ext cx="32617" cy="21038"/>
            </a:xfrm>
            <a:custGeom>
              <a:avLst/>
              <a:gdLst>
                <a:gd name="T0" fmla="*/ 0 w 89"/>
                <a:gd name="T1" fmla="*/ 58 h 59"/>
                <a:gd name="T2" fmla="*/ 0 w 89"/>
                <a:gd name="T3" fmla="*/ 58 h 59"/>
                <a:gd name="T4" fmla="*/ 88 w 89"/>
                <a:gd name="T5" fmla="*/ 0 h 59"/>
                <a:gd name="T6" fmla="*/ 0 w 89"/>
                <a:gd name="T7" fmla="*/ 58 h 59"/>
              </a:gdLst>
              <a:ahLst/>
              <a:cxnLst>
                <a:cxn ang="0">
                  <a:pos x="T0" y="T1"/>
                </a:cxn>
                <a:cxn ang="0">
                  <a:pos x="T2" y="T3"/>
                </a:cxn>
                <a:cxn ang="0">
                  <a:pos x="T4" y="T5"/>
                </a:cxn>
                <a:cxn ang="0">
                  <a:pos x="T6" y="T7"/>
                </a:cxn>
              </a:cxnLst>
              <a:rect l="0" t="0" r="r" b="b"/>
              <a:pathLst>
                <a:path w="89" h="59">
                  <a:moveTo>
                    <a:pt x="0" y="58"/>
                  </a:moveTo>
                  <a:lnTo>
                    <a:pt x="0" y="58"/>
                  </a:lnTo>
                  <a:cubicBezTo>
                    <a:pt x="59" y="58"/>
                    <a:pt x="88" y="29"/>
                    <a:pt x="88" y="0"/>
                  </a:cubicBezTo>
                  <a:cubicBezTo>
                    <a:pt x="88" y="29"/>
                    <a:pt x="59"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5" name="Freeform 643">
              <a:extLst>
                <a:ext uri="{FF2B5EF4-FFF2-40B4-BE49-F238E27FC236}">
                  <a16:creationId xmlns:a16="http://schemas.microsoft.com/office/drawing/2014/main" id="{6EA31D38-68B5-45A9-B00F-F7032D956E5D}"/>
                </a:ext>
              </a:extLst>
            </p:cNvPr>
            <p:cNvSpPr>
              <a:spLocks noChangeArrowheads="1"/>
            </p:cNvSpPr>
            <p:nvPr/>
          </p:nvSpPr>
          <p:spPr bwMode="auto">
            <a:xfrm>
              <a:off x="9571497" y="4892241"/>
              <a:ext cx="11416" cy="1618"/>
            </a:xfrm>
            <a:custGeom>
              <a:avLst/>
              <a:gdLst>
                <a:gd name="T0" fmla="*/ 0 w 29"/>
                <a:gd name="T1" fmla="*/ 0 h 1"/>
                <a:gd name="T2" fmla="*/ 0 w 29"/>
                <a:gd name="T3" fmla="*/ 0 h 1"/>
                <a:gd name="T4" fmla="*/ 0 w 29"/>
                <a:gd name="T5" fmla="*/ 0 h 1"/>
                <a:gd name="T6" fmla="*/ 0 w 29"/>
                <a:gd name="T7" fmla="*/ 0 h 1"/>
                <a:gd name="T8" fmla="*/ 28 w 29"/>
                <a:gd name="T9" fmla="*/ 0 h 1"/>
                <a:gd name="T10" fmla="*/ 28 w 29"/>
                <a:gd name="T11" fmla="*/ 0 h 1"/>
                <a:gd name="T12" fmla="*/ 0 w 2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9" h="1">
                  <a:moveTo>
                    <a:pt x="0" y="0"/>
                  </a:moveTo>
                  <a:lnTo>
                    <a:pt x="0" y="0"/>
                  </a:lnTo>
                  <a:lnTo>
                    <a:pt x="0" y="0"/>
                  </a:lnTo>
                  <a:lnTo>
                    <a:pt x="0" y="0"/>
                  </a:lnTo>
                  <a:cubicBezTo>
                    <a:pt x="28" y="0"/>
                    <a:pt x="28" y="0"/>
                    <a:pt x="28" y="0"/>
                  </a:cubicBezTo>
                  <a:lnTo>
                    <a:pt x="28"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6" name="Freeform 644">
              <a:extLst>
                <a:ext uri="{FF2B5EF4-FFF2-40B4-BE49-F238E27FC236}">
                  <a16:creationId xmlns:a16="http://schemas.microsoft.com/office/drawing/2014/main" id="{9CC16B22-902B-44AD-AE12-E4AE5D663870}"/>
                </a:ext>
              </a:extLst>
            </p:cNvPr>
            <p:cNvSpPr>
              <a:spLocks noChangeArrowheads="1"/>
            </p:cNvSpPr>
            <p:nvPr/>
          </p:nvSpPr>
          <p:spPr bwMode="auto">
            <a:xfrm>
              <a:off x="8870234" y="4892241"/>
              <a:ext cx="11416" cy="11328"/>
            </a:xfrm>
            <a:custGeom>
              <a:avLst/>
              <a:gdLst>
                <a:gd name="T0" fmla="*/ 0 w 31"/>
                <a:gd name="T1" fmla="*/ 0 h 30"/>
                <a:gd name="T2" fmla="*/ 0 w 31"/>
                <a:gd name="T3" fmla="*/ 0 h 30"/>
                <a:gd name="T4" fmla="*/ 30 w 31"/>
                <a:gd name="T5" fmla="*/ 29 h 30"/>
                <a:gd name="T6" fmla="*/ 0 w 31"/>
                <a:gd name="T7" fmla="*/ 0 h 30"/>
              </a:gdLst>
              <a:ahLst/>
              <a:cxnLst>
                <a:cxn ang="0">
                  <a:pos x="T0" y="T1"/>
                </a:cxn>
                <a:cxn ang="0">
                  <a:pos x="T2" y="T3"/>
                </a:cxn>
                <a:cxn ang="0">
                  <a:pos x="T4" y="T5"/>
                </a:cxn>
                <a:cxn ang="0">
                  <a:pos x="T6" y="T7"/>
                </a:cxn>
              </a:cxnLst>
              <a:rect l="0" t="0" r="r" b="b"/>
              <a:pathLst>
                <a:path w="31" h="30">
                  <a:moveTo>
                    <a:pt x="0" y="0"/>
                  </a:moveTo>
                  <a:lnTo>
                    <a:pt x="0" y="0"/>
                  </a:lnTo>
                  <a:cubicBezTo>
                    <a:pt x="30" y="29"/>
                    <a:pt x="30" y="29"/>
                    <a:pt x="30" y="29"/>
                  </a:cubicBezTo>
                  <a:cubicBezTo>
                    <a:pt x="30" y="29"/>
                    <a:pt x="3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7" name="Freeform 645">
              <a:extLst>
                <a:ext uri="{FF2B5EF4-FFF2-40B4-BE49-F238E27FC236}">
                  <a16:creationId xmlns:a16="http://schemas.microsoft.com/office/drawing/2014/main" id="{553BAB31-087A-4F69-81C7-B499D42B7F91}"/>
                </a:ext>
              </a:extLst>
            </p:cNvPr>
            <p:cNvSpPr>
              <a:spLocks noChangeArrowheads="1"/>
            </p:cNvSpPr>
            <p:nvPr/>
          </p:nvSpPr>
          <p:spPr bwMode="auto">
            <a:xfrm>
              <a:off x="8902851" y="490195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8" name="Freeform 646">
              <a:extLst>
                <a:ext uri="{FF2B5EF4-FFF2-40B4-BE49-F238E27FC236}">
                  <a16:creationId xmlns:a16="http://schemas.microsoft.com/office/drawing/2014/main" id="{68BEC023-8AD7-44BC-8AF8-520379373B0B}"/>
                </a:ext>
              </a:extLst>
            </p:cNvPr>
            <p:cNvSpPr>
              <a:spLocks noChangeArrowheads="1"/>
            </p:cNvSpPr>
            <p:nvPr/>
          </p:nvSpPr>
          <p:spPr bwMode="auto">
            <a:xfrm>
              <a:off x="8762598" y="5115570"/>
              <a:ext cx="32617" cy="11328"/>
            </a:xfrm>
            <a:custGeom>
              <a:avLst/>
              <a:gdLst>
                <a:gd name="T0" fmla="*/ 58 w 89"/>
                <a:gd name="T1" fmla="*/ 0 h 31"/>
                <a:gd name="T2" fmla="*/ 58 w 89"/>
                <a:gd name="T3" fmla="*/ 0 h 31"/>
                <a:gd name="T4" fmla="*/ 0 w 89"/>
                <a:gd name="T5" fmla="*/ 0 h 31"/>
                <a:gd name="T6" fmla="*/ 0 w 89"/>
                <a:gd name="T7" fmla="*/ 0 h 31"/>
                <a:gd name="T8" fmla="*/ 58 w 89"/>
                <a:gd name="T9" fmla="*/ 0 h 31"/>
                <a:gd name="T10" fmla="*/ 88 w 89"/>
                <a:gd name="T11" fmla="*/ 0 h 31"/>
                <a:gd name="T12" fmla="*/ 88 w 89"/>
                <a:gd name="T13" fmla="*/ 30 h 31"/>
                <a:gd name="T14" fmla="*/ 88 w 89"/>
                <a:gd name="T15" fmla="*/ 30 h 31"/>
                <a:gd name="T16" fmla="*/ 88 w 89"/>
                <a:gd name="T17" fmla="*/ 0 h 31"/>
                <a:gd name="T18" fmla="*/ 58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58" y="0"/>
                  </a:moveTo>
                  <a:lnTo>
                    <a:pt x="58" y="0"/>
                  </a:lnTo>
                  <a:cubicBezTo>
                    <a:pt x="58" y="0"/>
                    <a:pt x="29" y="0"/>
                    <a:pt x="0" y="0"/>
                  </a:cubicBezTo>
                  <a:lnTo>
                    <a:pt x="0" y="0"/>
                  </a:lnTo>
                  <a:cubicBezTo>
                    <a:pt x="29" y="0"/>
                    <a:pt x="58" y="0"/>
                    <a:pt x="58" y="0"/>
                  </a:cubicBezTo>
                  <a:cubicBezTo>
                    <a:pt x="88" y="0"/>
                    <a:pt x="88" y="0"/>
                    <a:pt x="88" y="0"/>
                  </a:cubicBezTo>
                  <a:cubicBezTo>
                    <a:pt x="88" y="30"/>
                    <a:pt x="88" y="30"/>
                    <a:pt x="88" y="30"/>
                  </a:cubicBezTo>
                  <a:lnTo>
                    <a:pt x="88" y="30"/>
                  </a:lnTo>
                  <a:cubicBezTo>
                    <a:pt x="88" y="0"/>
                    <a:pt x="88" y="0"/>
                    <a:pt x="88" y="0"/>
                  </a:cubicBezTo>
                  <a:lnTo>
                    <a:pt x="5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9" name="Freeform 647">
              <a:extLst>
                <a:ext uri="{FF2B5EF4-FFF2-40B4-BE49-F238E27FC236}">
                  <a16:creationId xmlns:a16="http://schemas.microsoft.com/office/drawing/2014/main" id="{E369A10D-3953-4DD7-A546-7D060F10DC46}"/>
                </a:ext>
              </a:extLst>
            </p:cNvPr>
            <p:cNvSpPr>
              <a:spLocks noChangeArrowheads="1"/>
            </p:cNvSpPr>
            <p:nvPr/>
          </p:nvSpPr>
          <p:spPr bwMode="auto">
            <a:xfrm>
              <a:off x="8698995" y="5138226"/>
              <a:ext cx="32617" cy="21038"/>
            </a:xfrm>
            <a:custGeom>
              <a:avLst/>
              <a:gdLst>
                <a:gd name="T0" fmla="*/ 58 w 88"/>
                <a:gd name="T1" fmla="*/ 29 h 59"/>
                <a:gd name="T2" fmla="*/ 58 w 88"/>
                <a:gd name="T3" fmla="*/ 29 h 59"/>
                <a:gd name="T4" fmla="*/ 0 w 88"/>
                <a:gd name="T5" fmla="*/ 58 h 59"/>
                <a:gd name="T6" fmla="*/ 0 w 88"/>
                <a:gd name="T7" fmla="*/ 58 h 59"/>
                <a:gd name="T8" fmla="*/ 58 w 88"/>
                <a:gd name="T9" fmla="*/ 29 h 59"/>
                <a:gd name="T10" fmla="*/ 87 w 88"/>
                <a:gd name="T11" fmla="*/ 0 h 59"/>
                <a:gd name="T12" fmla="*/ 58 w 88"/>
                <a:gd name="T13" fmla="*/ 29 h 59"/>
              </a:gdLst>
              <a:ahLst/>
              <a:cxnLst>
                <a:cxn ang="0">
                  <a:pos x="T0" y="T1"/>
                </a:cxn>
                <a:cxn ang="0">
                  <a:pos x="T2" y="T3"/>
                </a:cxn>
                <a:cxn ang="0">
                  <a:pos x="T4" y="T5"/>
                </a:cxn>
                <a:cxn ang="0">
                  <a:pos x="T6" y="T7"/>
                </a:cxn>
                <a:cxn ang="0">
                  <a:pos x="T8" y="T9"/>
                </a:cxn>
                <a:cxn ang="0">
                  <a:pos x="T10" y="T11"/>
                </a:cxn>
                <a:cxn ang="0">
                  <a:pos x="T12" y="T13"/>
                </a:cxn>
              </a:cxnLst>
              <a:rect l="0" t="0" r="r" b="b"/>
              <a:pathLst>
                <a:path w="88" h="59">
                  <a:moveTo>
                    <a:pt x="58" y="29"/>
                  </a:moveTo>
                  <a:lnTo>
                    <a:pt x="58" y="29"/>
                  </a:lnTo>
                  <a:cubicBezTo>
                    <a:pt x="0" y="58"/>
                    <a:pt x="0" y="58"/>
                    <a:pt x="0" y="58"/>
                  </a:cubicBezTo>
                  <a:lnTo>
                    <a:pt x="0" y="58"/>
                  </a:lnTo>
                  <a:cubicBezTo>
                    <a:pt x="58" y="29"/>
                    <a:pt x="58" y="29"/>
                    <a:pt x="58" y="29"/>
                  </a:cubicBezTo>
                  <a:cubicBezTo>
                    <a:pt x="58" y="29"/>
                    <a:pt x="87" y="29"/>
                    <a:pt x="87" y="0"/>
                  </a:cubicBezTo>
                  <a:cubicBezTo>
                    <a:pt x="87" y="29"/>
                    <a:pt x="58"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0" name="Freeform 648">
              <a:extLst>
                <a:ext uri="{FF2B5EF4-FFF2-40B4-BE49-F238E27FC236}">
                  <a16:creationId xmlns:a16="http://schemas.microsoft.com/office/drawing/2014/main" id="{AB34EDD0-03B5-4A5E-BAA8-1E582F559725}"/>
                </a:ext>
              </a:extLst>
            </p:cNvPr>
            <p:cNvSpPr>
              <a:spLocks noChangeArrowheads="1"/>
            </p:cNvSpPr>
            <p:nvPr/>
          </p:nvSpPr>
          <p:spPr bwMode="auto">
            <a:xfrm>
              <a:off x="8902851" y="490195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1" name="Freeform 649">
              <a:extLst>
                <a:ext uri="{FF2B5EF4-FFF2-40B4-BE49-F238E27FC236}">
                  <a16:creationId xmlns:a16="http://schemas.microsoft.com/office/drawing/2014/main" id="{B7F43D87-14F3-4649-83E9-FCD5C28CB786}"/>
                </a:ext>
              </a:extLst>
            </p:cNvPr>
            <p:cNvSpPr>
              <a:spLocks noChangeArrowheads="1"/>
            </p:cNvSpPr>
            <p:nvPr/>
          </p:nvSpPr>
          <p:spPr bwMode="auto">
            <a:xfrm>
              <a:off x="8762598" y="5147936"/>
              <a:ext cx="11416" cy="1618"/>
            </a:xfrm>
            <a:custGeom>
              <a:avLst/>
              <a:gdLst>
                <a:gd name="T0" fmla="*/ 29 w 30"/>
                <a:gd name="T1" fmla="*/ 0 h 1"/>
                <a:gd name="T2" fmla="*/ 29 w 30"/>
                <a:gd name="T3" fmla="*/ 0 h 1"/>
                <a:gd name="T4" fmla="*/ 0 w 30"/>
                <a:gd name="T5" fmla="*/ 0 h 1"/>
                <a:gd name="T6" fmla="*/ 0 w 30"/>
                <a:gd name="T7" fmla="*/ 0 h 1"/>
                <a:gd name="T8" fmla="*/ 0 w 30"/>
                <a:gd name="T9" fmla="*/ 0 h 1"/>
                <a:gd name="T10" fmla="*/ 0 w 30"/>
                <a:gd name="T11" fmla="*/ 0 h 1"/>
                <a:gd name="T12" fmla="*/ 0 w 30"/>
                <a:gd name="T13" fmla="*/ 0 h 1"/>
                <a:gd name="T14" fmla="*/ 0 w 30"/>
                <a:gd name="T15" fmla="*/ 0 h 1"/>
                <a:gd name="T16" fmla="*/ 29 w 30"/>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
                  <a:moveTo>
                    <a:pt x="29" y="0"/>
                  </a:moveTo>
                  <a:lnTo>
                    <a:pt x="29" y="0"/>
                  </a:lnTo>
                  <a:cubicBezTo>
                    <a:pt x="0" y="0"/>
                    <a:pt x="0" y="0"/>
                    <a:pt x="0" y="0"/>
                  </a:cubicBezTo>
                  <a:lnTo>
                    <a:pt x="0" y="0"/>
                  </a:lnTo>
                  <a:lnTo>
                    <a:pt x="0" y="0"/>
                  </a:lnTo>
                  <a:lnTo>
                    <a:pt x="0" y="0"/>
                  </a:lnTo>
                  <a:lnTo>
                    <a:pt x="0" y="0"/>
                  </a:ln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2" name="Freeform 650">
              <a:extLst>
                <a:ext uri="{FF2B5EF4-FFF2-40B4-BE49-F238E27FC236}">
                  <a16:creationId xmlns:a16="http://schemas.microsoft.com/office/drawing/2014/main" id="{A299F600-83A0-41CF-A2DA-2C0B2D49778C}"/>
                </a:ext>
              </a:extLst>
            </p:cNvPr>
            <p:cNvSpPr>
              <a:spLocks noChangeArrowheads="1"/>
            </p:cNvSpPr>
            <p:nvPr/>
          </p:nvSpPr>
          <p:spPr bwMode="auto">
            <a:xfrm>
              <a:off x="8925682" y="4892241"/>
              <a:ext cx="21202" cy="1618"/>
            </a:xfrm>
            <a:custGeom>
              <a:avLst/>
              <a:gdLst>
                <a:gd name="T0" fmla="*/ 58 w 59"/>
                <a:gd name="T1" fmla="*/ 0 h 1"/>
                <a:gd name="T2" fmla="*/ 58 w 59"/>
                <a:gd name="T3" fmla="*/ 0 h 1"/>
                <a:gd name="T4" fmla="*/ 58 w 59"/>
                <a:gd name="T5" fmla="*/ 0 h 1"/>
                <a:gd name="T6" fmla="*/ 0 w 59"/>
                <a:gd name="T7" fmla="*/ 0 h 1"/>
                <a:gd name="T8" fmla="*/ 58 w 59"/>
                <a:gd name="T9" fmla="*/ 0 h 1"/>
              </a:gdLst>
              <a:ahLst/>
              <a:cxnLst>
                <a:cxn ang="0">
                  <a:pos x="T0" y="T1"/>
                </a:cxn>
                <a:cxn ang="0">
                  <a:pos x="T2" y="T3"/>
                </a:cxn>
                <a:cxn ang="0">
                  <a:pos x="T4" y="T5"/>
                </a:cxn>
                <a:cxn ang="0">
                  <a:pos x="T6" y="T7"/>
                </a:cxn>
                <a:cxn ang="0">
                  <a:pos x="T8" y="T9"/>
                </a:cxn>
              </a:cxnLst>
              <a:rect l="0" t="0" r="r" b="b"/>
              <a:pathLst>
                <a:path w="59" h="1">
                  <a:moveTo>
                    <a:pt x="58" y="0"/>
                  </a:moveTo>
                  <a:lnTo>
                    <a:pt x="58" y="0"/>
                  </a:lnTo>
                  <a:lnTo>
                    <a:pt x="58" y="0"/>
                  </a:lnTo>
                  <a:cubicBezTo>
                    <a:pt x="29" y="0"/>
                    <a:pt x="0" y="0"/>
                    <a:pt x="0" y="0"/>
                  </a:cubicBezTo>
                  <a:cubicBezTo>
                    <a:pt x="0" y="0"/>
                    <a:pt x="29"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3" name="Freeform 651">
              <a:extLst>
                <a:ext uri="{FF2B5EF4-FFF2-40B4-BE49-F238E27FC236}">
                  <a16:creationId xmlns:a16="http://schemas.microsoft.com/office/drawing/2014/main" id="{A0C700CD-FD9A-4E2E-98BF-E47459879B63}"/>
                </a:ext>
              </a:extLst>
            </p:cNvPr>
            <p:cNvSpPr>
              <a:spLocks noChangeArrowheads="1"/>
            </p:cNvSpPr>
            <p:nvPr/>
          </p:nvSpPr>
          <p:spPr bwMode="auto">
            <a:xfrm>
              <a:off x="9129539" y="490195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4" name="Freeform 652">
              <a:extLst>
                <a:ext uri="{FF2B5EF4-FFF2-40B4-BE49-F238E27FC236}">
                  <a16:creationId xmlns:a16="http://schemas.microsoft.com/office/drawing/2014/main" id="{9A2F447A-E71C-411A-AB35-B8C8F4FCBB9C}"/>
                </a:ext>
              </a:extLst>
            </p:cNvPr>
            <p:cNvSpPr>
              <a:spLocks noChangeArrowheads="1"/>
            </p:cNvSpPr>
            <p:nvPr/>
          </p:nvSpPr>
          <p:spPr bwMode="auto">
            <a:xfrm>
              <a:off x="9085505" y="4859875"/>
              <a:ext cx="1631" cy="11328"/>
            </a:xfrm>
            <a:custGeom>
              <a:avLst/>
              <a:gdLst>
                <a:gd name="T0" fmla="*/ 0 w 1"/>
                <a:gd name="T1" fmla="*/ 0 h 31"/>
                <a:gd name="T2" fmla="*/ 0 w 1"/>
                <a:gd name="T3" fmla="*/ 0 h 31"/>
                <a:gd name="T4" fmla="*/ 0 w 1"/>
                <a:gd name="T5" fmla="*/ 30 h 31"/>
                <a:gd name="T6" fmla="*/ 0 w 1"/>
                <a:gd name="T7" fmla="*/ 30 h 31"/>
                <a:gd name="T8" fmla="*/ 0 w 1"/>
                <a:gd name="T9" fmla="*/ 30 h 31"/>
                <a:gd name="T10" fmla="*/ 0 w 1"/>
                <a:gd name="T11" fmla="*/ 30 h 31"/>
                <a:gd name="T12" fmla="*/ 0 w 1"/>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 h="31">
                  <a:moveTo>
                    <a:pt x="0" y="0"/>
                  </a:moveTo>
                  <a:lnTo>
                    <a:pt x="0" y="0"/>
                  </a:lnTo>
                  <a:lnTo>
                    <a:pt x="0" y="30"/>
                  </a:lnTo>
                  <a:lnTo>
                    <a:pt x="0" y="30"/>
                  </a:lnTo>
                  <a:lnTo>
                    <a:pt x="0" y="3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5" name="Freeform 653">
              <a:extLst>
                <a:ext uri="{FF2B5EF4-FFF2-40B4-BE49-F238E27FC236}">
                  <a16:creationId xmlns:a16="http://schemas.microsoft.com/office/drawing/2014/main" id="{3F640C4D-B056-4931-8835-4134A0F36035}"/>
                </a:ext>
              </a:extLst>
            </p:cNvPr>
            <p:cNvSpPr>
              <a:spLocks noChangeArrowheads="1"/>
            </p:cNvSpPr>
            <p:nvPr/>
          </p:nvSpPr>
          <p:spPr bwMode="auto">
            <a:xfrm>
              <a:off x="9085505" y="4848546"/>
              <a:ext cx="11416" cy="11329"/>
            </a:xfrm>
            <a:custGeom>
              <a:avLst/>
              <a:gdLst>
                <a:gd name="T0" fmla="*/ 0 w 31"/>
                <a:gd name="T1" fmla="*/ 0 h 30"/>
                <a:gd name="T2" fmla="*/ 0 w 31"/>
                <a:gd name="T3" fmla="*/ 0 h 30"/>
                <a:gd name="T4" fmla="*/ 0 w 31"/>
                <a:gd name="T5" fmla="*/ 0 h 30"/>
                <a:gd name="T6" fmla="*/ 30 w 31"/>
                <a:gd name="T7" fmla="*/ 29 h 30"/>
                <a:gd name="T8" fmla="*/ 0 w 31"/>
                <a:gd name="T9" fmla="*/ 0 h 30"/>
              </a:gdLst>
              <a:ahLst/>
              <a:cxnLst>
                <a:cxn ang="0">
                  <a:pos x="T0" y="T1"/>
                </a:cxn>
                <a:cxn ang="0">
                  <a:pos x="T2" y="T3"/>
                </a:cxn>
                <a:cxn ang="0">
                  <a:pos x="T4" y="T5"/>
                </a:cxn>
                <a:cxn ang="0">
                  <a:pos x="T6" y="T7"/>
                </a:cxn>
                <a:cxn ang="0">
                  <a:pos x="T8" y="T9"/>
                </a:cxn>
              </a:cxnLst>
              <a:rect l="0" t="0" r="r" b="b"/>
              <a:pathLst>
                <a:path w="31" h="30">
                  <a:moveTo>
                    <a:pt x="0" y="0"/>
                  </a:moveTo>
                  <a:lnTo>
                    <a:pt x="0" y="0"/>
                  </a:lnTo>
                  <a:lnTo>
                    <a:pt x="0" y="0"/>
                  </a:lnTo>
                  <a:cubicBezTo>
                    <a:pt x="0" y="0"/>
                    <a:pt x="0" y="29"/>
                    <a:pt x="30" y="29"/>
                  </a:cubicBezTo>
                  <a:cubicBezTo>
                    <a:pt x="0" y="29"/>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6" name="Freeform 654">
              <a:extLst>
                <a:ext uri="{FF2B5EF4-FFF2-40B4-BE49-F238E27FC236}">
                  <a16:creationId xmlns:a16="http://schemas.microsoft.com/office/drawing/2014/main" id="{CB513168-65B8-4818-82E9-449AC2C21301}"/>
                </a:ext>
              </a:extLst>
            </p:cNvPr>
            <p:cNvSpPr>
              <a:spLocks noChangeArrowheads="1"/>
            </p:cNvSpPr>
            <p:nvPr/>
          </p:nvSpPr>
          <p:spPr bwMode="auto">
            <a:xfrm>
              <a:off x="9054520" y="4880913"/>
              <a:ext cx="21200" cy="11329"/>
            </a:xfrm>
            <a:custGeom>
              <a:avLst/>
              <a:gdLst>
                <a:gd name="T0" fmla="*/ 0 w 58"/>
                <a:gd name="T1" fmla="*/ 29 h 30"/>
                <a:gd name="T2" fmla="*/ 0 w 58"/>
                <a:gd name="T3" fmla="*/ 29 h 30"/>
                <a:gd name="T4" fmla="*/ 57 w 58"/>
                <a:gd name="T5" fmla="*/ 0 h 30"/>
                <a:gd name="T6" fmla="*/ 0 w 58"/>
                <a:gd name="T7" fmla="*/ 29 h 30"/>
              </a:gdLst>
              <a:ahLst/>
              <a:cxnLst>
                <a:cxn ang="0">
                  <a:pos x="T0" y="T1"/>
                </a:cxn>
                <a:cxn ang="0">
                  <a:pos x="T2" y="T3"/>
                </a:cxn>
                <a:cxn ang="0">
                  <a:pos x="T4" y="T5"/>
                </a:cxn>
                <a:cxn ang="0">
                  <a:pos x="T6" y="T7"/>
                </a:cxn>
              </a:cxnLst>
              <a:rect l="0" t="0" r="r" b="b"/>
              <a:pathLst>
                <a:path w="58" h="30">
                  <a:moveTo>
                    <a:pt x="0" y="29"/>
                  </a:moveTo>
                  <a:lnTo>
                    <a:pt x="0" y="29"/>
                  </a:lnTo>
                  <a:cubicBezTo>
                    <a:pt x="0" y="29"/>
                    <a:pt x="29" y="29"/>
                    <a:pt x="57" y="0"/>
                  </a:cubicBezTo>
                  <a:cubicBezTo>
                    <a:pt x="29"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7" name="Freeform 655">
              <a:extLst>
                <a:ext uri="{FF2B5EF4-FFF2-40B4-BE49-F238E27FC236}">
                  <a16:creationId xmlns:a16="http://schemas.microsoft.com/office/drawing/2014/main" id="{2E6E5FBB-31D3-4AC8-A961-4935FC04AD05}"/>
                </a:ext>
              </a:extLst>
            </p:cNvPr>
            <p:cNvSpPr>
              <a:spLocks noChangeArrowheads="1"/>
            </p:cNvSpPr>
            <p:nvPr/>
          </p:nvSpPr>
          <p:spPr bwMode="auto">
            <a:xfrm>
              <a:off x="8946884" y="4892241"/>
              <a:ext cx="97851" cy="32366"/>
            </a:xfrm>
            <a:custGeom>
              <a:avLst/>
              <a:gdLst>
                <a:gd name="T0" fmla="*/ 0 w 263"/>
                <a:gd name="T1" fmla="*/ 88 h 89"/>
                <a:gd name="T2" fmla="*/ 0 w 263"/>
                <a:gd name="T3" fmla="*/ 88 h 89"/>
                <a:gd name="T4" fmla="*/ 58 w 263"/>
                <a:gd name="T5" fmla="*/ 88 h 89"/>
                <a:gd name="T6" fmla="*/ 262 w 263"/>
                <a:gd name="T7" fmla="*/ 0 h 89"/>
                <a:gd name="T8" fmla="*/ 58 w 263"/>
                <a:gd name="T9" fmla="*/ 88 h 89"/>
                <a:gd name="T10" fmla="*/ 0 w 263"/>
                <a:gd name="T11" fmla="*/ 88 h 89"/>
              </a:gdLst>
              <a:ahLst/>
              <a:cxnLst>
                <a:cxn ang="0">
                  <a:pos x="T0" y="T1"/>
                </a:cxn>
                <a:cxn ang="0">
                  <a:pos x="T2" y="T3"/>
                </a:cxn>
                <a:cxn ang="0">
                  <a:pos x="T4" y="T5"/>
                </a:cxn>
                <a:cxn ang="0">
                  <a:pos x="T6" y="T7"/>
                </a:cxn>
                <a:cxn ang="0">
                  <a:pos x="T8" y="T9"/>
                </a:cxn>
                <a:cxn ang="0">
                  <a:pos x="T10" y="T11"/>
                </a:cxn>
              </a:cxnLst>
              <a:rect l="0" t="0" r="r" b="b"/>
              <a:pathLst>
                <a:path w="263" h="89">
                  <a:moveTo>
                    <a:pt x="0" y="88"/>
                  </a:moveTo>
                  <a:lnTo>
                    <a:pt x="0" y="88"/>
                  </a:lnTo>
                  <a:cubicBezTo>
                    <a:pt x="58" y="88"/>
                    <a:pt x="58" y="88"/>
                    <a:pt x="58" y="88"/>
                  </a:cubicBezTo>
                  <a:cubicBezTo>
                    <a:pt x="116" y="59"/>
                    <a:pt x="204" y="59"/>
                    <a:pt x="262" y="0"/>
                  </a:cubicBezTo>
                  <a:cubicBezTo>
                    <a:pt x="204" y="59"/>
                    <a:pt x="116" y="59"/>
                    <a:pt x="58" y="88"/>
                  </a:cubicBezTo>
                  <a:lnTo>
                    <a:pt x="0" y="8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8" name="Freeform 656">
              <a:extLst>
                <a:ext uri="{FF2B5EF4-FFF2-40B4-BE49-F238E27FC236}">
                  <a16:creationId xmlns:a16="http://schemas.microsoft.com/office/drawing/2014/main" id="{E5EF4F51-6F6C-4390-88D6-4A8B83556EE6}"/>
                </a:ext>
              </a:extLst>
            </p:cNvPr>
            <p:cNvSpPr>
              <a:spLocks noChangeArrowheads="1"/>
            </p:cNvSpPr>
            <p:nvPr/>
          </p:nvSpPr>
          <p:spPr bwMode="auto">
            <a:xfrm>
              <a:off x="9765568" y="5052455"/>
              <a:ext cx="22832" cy="1619"/>
            </a:xfrm>
            <a:custGeom>
              <a:avLst/>
              <a:gdLst>
                <a:gd name="T0" fmla="*/ 0 w 60"/>
                <a:gd name="T1" fmla="*/ 0 h 1"/>
                <a:gd name="T2" fmla="*/ 0 w 60"/>
                <a:gd name="T3" fmla="*/ 0 h 1"/>
                <a:gd name="T4" fmla="*/ 59 w 60"/>
                <a:gd name="T5" fmla="*/ 0 h 1"/>
                <a:gd name="T6" fmla="*/ 0 w 60"/>
                <a:gd name="T7" fmla="*/ 0 h 1"/>
              </a:gdLst>
              <a:ahLst/>
              <a:cxnLst>
                <a:cxn ang="0">
                  <a:pos x="T0" y="T1"/>
                </a:cxn>
                <a:cxn ang="0">
                  <a:pos x="T2" y="T3"/>
                </a:cxn>
                <a:cxn ang="0">
                  <a:pos x="T4" y="T5"/>
                </a:cxn>
                <a:cxn ang="0">
                  <a:pos x="T6" y="T7"/>
                </a:cxn>
              </a:cxnLst>
              <a:rect l="0" t="0" r="r" b="b"/>
              <a:pathLst>
                <a:path w="60" h="1">
                  <a:moveTo>
                    <a:pt x="0" y="0"/>
                  </a:moveTo>
                  <a:lnTo>
                    <a:pt x="0" y="0"/>
                  </a:lnTo>
                  <a:cubicBezTo>
                    <a:pt x="29" y="0"/>
                    <a:pt x="29" y="0"/>
                    <a:pt x="5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9" name="Freeform 657">
              <a:extLst>
                <a:ext uri="{FF2B5EF4-FFF2-40B4-BE49-F238E27FC236}">
                  <a16:creationId xmlns:a16="http://schemas.microsoft.com/office/drawing/2014/main" id="{51892AC7-668E-4E2E-B652-62118845BFFF}"/>
                </a:ext>
              </a:extLst>
            </p:cNvPr>
            <p:cNvSpPr>
              <a:spLocks noChangeArrowheads="1"/>
            </p:cNvSpPr>
            <p:nvPr/>
          </p:nvSpPr>
          <p:spPr bwMode="auto">
            <a:xfrm>
              <a:off x="8720196" y="5031417"/>
              <a:ext cx="11416" cy="11328"/>
            </a:xfrm>
            <a:custGeom>
              <a:avLst/>
              <a:gdLst>
                <a:gd name="T0" fmla="*/ 29 w 30"/>
                <a:gd name="T1" fmla="*/ 0 h 31"/>
                <a:gd name="T2" fmla="*/ 29 w 30"/>
                <a:gd name="T3" fmla="*/ 0 h 31"/>
                <a:gd name="T4" fmla="*/ 0 w 30"/>
                <a:gd name="T5" fmla="*/ 30 h 31"/>
                <a:gd name="T6" fmla="*/ 29 w 30"/>
                <a:gd name="T7" fmla="*/ 0 h 31"/>
              </a:gdLst>
              <a:ahLst/>
              <a:cxnLst>
                <a:cxn ang="0">
                  <a:pos x="T0" y="T1"/>
                </a:cxn>
                <a:cxn ang="0">
                  <a:pos x="T2" y="T3"/>
                </a:cxn>
                <a:cxn ang="0">
                  <a:pos x="T4" y="T5"/>
                </a:cxn>
                <a:cxn ang="0">
                  <a:pos x="T6" y="T7"/>
                </a:cxn>
              </a:cxnLst>
              <a:rect l="0" t="0" r="r" b="b"/>
              <a:pathLst>
                <a:path w="30" h="31">
                  <a:moveTo>
                    <a:pt x="29" y="0"/>
                  </a:moveTo>
                  <a:lnTo>
                    <a:pt x="29" y="0"/>
                  </a:lnTo>
                  <a:cubicBezTo>
                    <a:pt x="29" y="0"/>
                    <a:pt x="29" y="30"/>
                    <a:pt x="0" y="30"/>
                  </a:cubicBezTo>
                  <a:cubicBezTo>
                    <a:pt x="29" y="3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0" name="Freeform 658">
              <a:extLst>
                <a:ext uri="{FF2B5EF4-FFF2-40B4-BE49-F238E27FC236}">
                  <a16:creationId xmlns:a16="http://schemas.microsoft.com/office/drawing/2014/main" id="{04B2481F-3029-4FC2-B8B7-BD30CE6DFFAA}"/>
                </a:ext>
              </a:extLst>
            </p:cNvPr>
            <p:cNvSpPr>
              <a:spLocks noChangeArrowheads="1"/>
            </p:cNvSpPr>
            <p:nvPr/>
          </p:nvSpPr>
          <p:spPr bwMode="auto">
            <a:xfrm>
              <a:off x="4126105" y="1275296"/>
              <a:ext cx="11415" cy="11329"/>
            </a:xfrm>
            <a:custGeom>
              <a:avLst/>
              <a:gdLst>
                <a:gd name="T0" fmla="*/ 30 w 31"/>
                <a:gd name="T1" fmla="*/ 28 h 29"/>
                <a:gd name="T2" fmla="*/ 30 w 31"/>
                <a:gd name="T3" fmla="*/ 28 h 29"/>
                <a:gd name="T4" fmla="*/ 30 w 31"/>
                <a:gd name="T5" fmla="*/ 28 h 29"/>
                <a:gd name="T6" fmla="*/ 0 w 31"/>
                <a:gd name="T7" fmla="*/ 0 h 29"/>
                <a:gd name="T8" fmla="*/ 0 w 31"/>
                <a:gd name="T9" fmla="*/ 28 h 29"/>
                <a:gd name="T10" fmla="*/ 0 w 31"/>
                <a:gd name="T11" fmla="*/ 28 h 29"/>
                <a:gd name="T12" fmla="*/ 30 w 31"/>
                <a:gd name="T13" fmla="*/ 28 h 29"/>
              </a:gdLst>
              <a:ahLst/>
              <a:cxnLst>
                <a:cxn ang="0">
                  <a:pos x="T0" y="T1"/>
                </a:cxn>
                <a:cxn ang="0">
                  <a:pos x="T2" y="T3"/>
                </a:cxn>
                <a:cxn ang="0">
                  <a:pos x="T4" y="T5"/>
                </a:cxn>
                <a:cxn ang="0">
                  <a:pos x="T6" y="T7"/>
                </a:cxn>
                <a:cxn ang="0">
                  <a:pos x="T8" y="T9"/>
                </a:cxn>
                <a:cxn ang="0">
                  <a:pos x="T10" y="T11"/>
                </a:cxn>
                <a:cxn ang="0">
                  <a:pos x="T12" y="T13"/>
                </a:cxn>
              </a:cxnLst>
              <a:rect l="0" t="0" r="r" b="b"/>
              <a:pathLst>
                <a:path w="31" h="29">
                  <a:moveTo>
                    <a:pt x="30" y="28"/>
                  </a:moveTo>
                  <a:lnTo>
                    <a:pt x="30" y="28"/>
                  </a:lnTo>
                  <a:lnTo>
                    <a:pt x="30" y="28"/>
                  </a:lnTo>
                  <a:cubicBezTo>
                    <a:pt x="30" y="0"/>
                    <a:pt x="0" y="0"/>
                    <a:pt x="0" y="0"/>
                  </a:cubicBezTo>
                  <a:cubicBezTo>
                    <a:pt x="0" y="28"/>
                    <a:pt x="0" y="28"/>
                    <a:pt x="0" y="28"/>
                  </a:cubicBezTo>
                  <a:lnTo>
                    <a:pt x="0" y="28"/>
                  </a:lnTo>
                  <a:cubicBezTo>
                    <a:pt x="0" y="28"/>
                    <a:pt x="0" y="28"/>
                    <a:pt x="30" y="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1" name="Freeform 659">
              <a:extLst>
                <a:ext uri="{FF2B5EF4-FFF2-40B4-BE49-F238E27FC236}">
                  <a16:creationId xmlns:a16="http://schemas.microsoft.com/office/drawing/2014/main" id="{7035F4E3-B989-48C3-8A86-52216DD683D2}"/>
                </a:ext>
              </a:extLst>
            </p:cNvPr>
            <p:cNvSpPr>
              <a:spLocks noChangeArrowheads="1"/>
            </p:cNvSpPr>
            <p:nvPr/>
          </p:nvSpPr>
          <p:spPr bwMode="auto">
            <a:xfrm>
              <a:off x="3801566" y="209902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2" name="Freeform 660">
              <a:extLst>
                <a:ext uri="{FF2B5EF4-FFF2-40B4-BE49-F238E27FC236}">
                  <a16:creationId xmlns:a16="http://schemas.microsoft.com/office/drawing/2014/main" id="{1B8B795C-7D81-43DB-A206-D7D88CF44278}"/>
                </a:ext>
              </a:extLst>
            </p:cNvPr>
            <p:cNvSpPr>
              <a:spLocks noChangeArrowheads="1"/>
            </p:cNvSpPr>
            <p:nvPr/>
          </p:nvSpPr>
          <p:spPr bwMode="auto">
            <a:xfrm>
              <a:off x="8720196" y="4934318"/>
              <a:ext cx="11416" cy="1618"/>
            </a:xfrm>
            <a:custGeom>
              <a:avLst/>
              <a:gdLst>
                <a:gd name="T0" fmla="*/ 29 w 30"/>
                <a:gd name="T1" fmla="*/ 0 h 1"/>
                <a:gd name="T2" fmla="*/ 0 w 30"/>
                <a:gd name="T3" fmla="*/ 0 h 1"/>
                <a:gd name="T4" fmla="*/ 29 w 30"/>
                <a:gd name="T5" fmla="*/ 0 h 1"/>
              </a:gdLst>
              <a:ahLst/>
              <a:cxnLst>
                <a:cxn ang="0">
                  <a:pos x="T0" y="T1"/>
                </a:cxn>
                <a:cxn ang="0">
                  <a:pos x="T2" y="T3"/>
                </a:cxn>
                <a:cxn ang="0">
                  <a:pos x="T4" y="T5"/>
                </a:cxn>
              </a:cxnLst>
              <a:rect l="0" t="0" r="r" b="b"/>
              <a:pathLst>
                <a:path w="30" h="1">
                  <a:moveTo>
                    <a:pt x="29" y="0"/>
                  </a:move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3" name="Freeform 661">
              <a:extLst>
                <a:ext uri="{FF2B5EF4-FFF2-40B4-BE49-F238E27FC236}">
                  <a16:creationId xmlns:a16="http://schemas.microsoft.com/office/drawing/2014/main" id="{9FD9D64D-B73C-4C97-A0AC-69C94D9AF760}"/>
                </a:ext>
              </a:extLst>
            </p:cNvPr>
            <p:cNvSpPr>
              <a:spLocks noChangeArrowheads="1"/>
            </p:cNvSpPr>
            <p:nvPr/>
          </p:nvSpPr>
          <p:spPr bwMode="auto">
            <a:xfrm>
              <a:off x="3812983" y="1980883"/>
              <a:ext cx="1630"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4" name="Freeform 662">
              <a:extLst>
                <a:ext uri="{FF2B5EF4-FFF2-40B4-BE49-F238E27FC236}">
                  <a16:creationId xmlns:a16="http://schemas.microsoft.com/office/drawing/2014/main" id="{3D180490-B258-49F7-932D-5F8E0873A005}"/>
                </a:ext>
              </a:extLst>
            </p:cNvPr>
            <p:cNvSpPr>
              <a:spLocks noChangeArrowheads="1"/>
            </p:cNvSpPr>
            <p:nvPr/>
          </p:nvSpPr>
          <p:spPr bwMode="auto">
            <a:xfrm>
              <a:off x="3780366" y="2152425"/>
              <a:ext cx="11415" cy="53405"/>
            </a:xfrm>
            <a:custGeom>
              <a:avLst/>
              <a:gdLst>
                <a:gd name="T0" fmla="*/ 30 w 31"/>
                <a:gd name="T1" fmla="*/ 0 h 146"/>
                <a:gd name="T2" fmla="*/ 30 w 31"/>
                <a:gd name="T3" fmla="*/ 0 h 146"/>
                <a:gd name="T4" fmla="*/ 0 w 31"/>
                <a:gd name="T5" fmla="*/ 145 h 146"/>
                <a:gd name="T6" fmla="*/ 30 w 31"/>
                <a:gd name="T7" fmla="*/ 0 h 146"/>
              </a:gdLst>
              <a:ahLst/>
              <a:cxnLst>
                <a:cxn ang="0">
                  <a:pos x="T0" y="T1"/>
                </a:cxn>
                <a:cxn ang="0">
                  <a:pos x="T2" y="T3"/>
                </a:cxn>
                <a:cxn ang="0">
                  <a:pos x="T4" y="T5"/>
                </a:cxn>
                <a:cxn ang="0">
                  <a:pos x="T6" y="T7"/>
                </a:cxn>
              </a:cxnLst>
              <a:rect l="0" t="0" r="r" b="b"/>
              <a:pathLst>
                <a:path w="31" h="146">
                  <a:moveTo>
                    <a:pt x="30" y="0"/>
                  </a:moveTo>
                  <a:lnTo>
                    <a:pt x="30" y="0"/>
                  </a:lnTo>
                  <a:cubicBezTo>
                    <a:pt x="30" y="58"/>
                    <a:pt x="30" y="87"/>
                    <a:pt x="0" y="145"/>
                  </a:cubicBezTo>
                  <a:cubicBezTo>
                    <a:pt x="30" y="87"/>
                    <a:pt x="30" y="58"/>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5" name="Freeform 663">
              <a:extLst>
                <a:ext uri="{FF2B5EF4-FFF2-40B4-BE49-F238E27FC236}">
                  <a16:creationId xmlns:a16="http://schemas.microsoft.com/office/drawing/2014/main" id="{A9C104A6-287C-4892-B209-E462CCF9B430}"/>
                </a:ext>
              </a:extLst>
            </p:cNvPr>
            <p:cNvSpPr>
              <a:spLocks noChangeArrowheads="1"/>
            </p:cNvSpPr>
            <p:nvPr/>
          </p:nvSpPr>
          <p:spPr bwMode="auto">
            <a:xfrm>
              <a:off x="8729981" y="5094531"/>
              <a:ext cx="11416" cy="1619"/>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6" name="Freeform 664">
              <a:extLst>
                <a:ext uri="{FF2B5EF4-FFF2-40B4-BE49-F238E27FC236}">
                  <a16:creationId xmlns:a16="http://schemas.microsoft.com/office/drawing/2014/main" id="{5B1685B7-9BCE-4758-AFEC-112FFB3C86D6}"/>
                </a:ext>
              </a:extLst>
            </p:cNvPr>
            <p:cNvSpPr>
              <a:spLocks noChangeArrowheads="1"/>
            </p:cNvSpPr>
            <p:nvPr/>
          </p:nvSpPr>
          <p:spPr bwMode="auto">
            <a:xfrm>
              <a:off x="8708780" y="5008761"/>
              <a:ext cx="32617" cy="11328"/>
            </a:xfrm>
            <a:custGeom>
              <a:avLst/>
              <a:gdLst>
                <a:gd name="T0" fmla="*/ 0 w 88"/>
                <a:gd name="T1" fmla="*/ 0 h 30"/>
                <a:gd name="T2" fmla="*/ 0 w 88"/>
                <a:gd name="T3" fmla="*/ 0 h 30"/>
                <a:gd name="T4" fmla="*/ 58 w 88"/>
                <a:gd name="T5" fmla="*/ 0 h 30"/>
                <a:gd name="T6" fmla="*/ 87 w 88"/>
                <a:gd name="T7" fmla="*/ 29 h 30"/>
                <a:gd name="T8" fmla="*/ 58 w 88"/>
                <a:gd name="T9" fmla="*/ 0 h 30"/>
                <a:gd name="T10" fmla="*/ 0 w 88"/>
                <a:gd name="T11" fmla="*/ 0 h 30"/>
              </a:gdLst>
              <a:ahLst/>
              <a:cxnLst>
                <a:cxn ang="0">
                  <a:pos x="T0" y="T1"/>
                </a:cxn>
                <a:cxn ang="0">
                  <a:pos x="T2" y="T3"/>
                </a:cxn>
                <a:cxn ang="0">
                  <a:pos x="T4" y="T5"/>
                </a:cxn>
                <a:cxn ang="0">
                  <a:pos x="T6" y="T7"/>
                </a:cxn>
                <a:cxn ang="0">
                  <a:pos x="T8" y="T9"/>
                </a:cxn>
                <a:cxn ang="0">
                  <a:pos x="T10" y="T11"/>
                </a:cxn>
              </a:cxnLst>
              <a:rect l="0" t="0" r="r" b="b"/>
              <a:pathLst>
                <a:path w="88" h="30">
                  <a:moveTo>
                    <a:pt x="0" y="0"/>
                  </a:moveTo>
                  <a:lnTo>
                    <a:pt x="0" y="0"/>
                  </a:lnTo>
                  <a:cubicBezTo>
                    <a:pt x="29" y="0"/>
                    <a:pt x="29" y="0"/>
                    <a:pt x="58" y="0"/>
                  </a:cubicBezTo>
                  <a:cubicBezTo>
                    <a:pt x="58" y="29"/>
                    <a:pt x="58" y="29"/>
                    <a:pt x="87" y="29"/>
                  </a:cubicBezTo>
                  <a:cubicBezTo>
                    <a:pt x="58" y="29"/>
                    <a:pt x="58" y="29"/>
                    <a:pt x="58"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7" name="Freeform 665">
              <a:extLst>
                <a:ext uri="{FF2B5EF4-FFF2-40B4-BE49-F238E27FC236}">
                  <a16:creationId xmlns:a16="http://schemas.microsoft.com/office/drawing/2014/main" id="{E16AF896-96AC-4545-99A7-96DB8EEE70AD}"/>
                </a:ext>
              </a:extLst>
            </p:cNvPr>
            <p:cNvSpPr>
              <a:spLocks noChangeArrowheads="1"/>
            </p:cNvSpPr>
            <p:nvPr/>
          </p:nvSpPr>
          <p:spPr bwMode="auto">
            <a:xfrm>
              <a:off x="8579943" y="4901951"/>
              <a:ext cx="32617" cy="1618"/>
            </a:xfrm>
            <a:custGeom>
              <a:avLst/>
              <a:gdLst>
                <a:gd name="T0" fmla="*/ 0 w 88"/>
                <a:gd name="T1" fmla="*/ 0 h 1"/>
                <a:gd name="T2" fmla="*/ 0 w 88"/>
                <a:gd name="T3" fmla="*/ 0 h 1"/>
                <a:gd name="T4" fmla="*/ 29 w 88"/>
                <a:gd name="T5" fmla="*/ 0 h 1"/>
                <a:gd name="T6" fmla="*/ 87 w 88"/>
                <a:gd name="T7" fmla="*/ 0 h 1"/>
                <a:gd name="T8" fmla="*/ 29 w 88"/>
                <a:gd name="T9" fmla="*/ 0 h 1"/>
                <a:gd name="T10" fmla="*/ 0 w 88"/>
                <a:gd name="T11" fmla="*/ 0 h 1"/>
              </a:gdLst>
              <a:ahLst/>
              <a:cxnLst>
                <a:cxn ang="0">
                  <a:pos x="T0" y="T1"/>
                </a:cxn>
                <a:cxn ang="0">
                  <a:pos x="T2" y="T3"/>
                </a:cxn>
                <a:cxn ang="0">
                  <a:pos x="T4" y="T5"/>
                </a:cxn>
                <a:cxn ang="0">
                  <a:pos x="T6" y="T7"/>
                </a:cxn>
                <a:cxn ang="0">
                  <a:pos x="T8" y="T9"/>
                </a:cxn>
                <a:cxn ang="0">
                  <a:pos x="T10" y="T11"/>
                </a:cxn>
              </a:cxnLst>
              <a:rect l="0" t="0" r="r" b="b"/>
              <a:pathLst>
                <a:path w="88" h="1">
                  <a:moveTo>
                    <a:pt x="0" y="0"/>
                  </a:moveTo>
                  <a:lnTo>
                    <a:pt x="0" y="0"/>
                  </a:lnTo>
                  <a:cubicBezTo>
                    <a:pt x="29" y="0"/>
                    <a:pt x="29" y="0"/>
                    <a:pt x="29" y="0"/>
                  </a:cubicBezTo>
                  <a:cubicBezTo>
                    <a:pt x="58" y="0"/>
                    <a:pt x="58" y="0"/>
                    <a:pt x="87" y="0"/>
                  </a:cubicBezTo>
                  <a:cubicBezTo>
                    <a:pt x="58" y="0"/>
                    <a:pt x="58"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8" name="Freeform 666">
              <a:extLst>
                <a:ext uri="{FF2B5EF4-FFF2-40B4-BE49-F238E27FC236}">
                  <a16:creationId xmlns:a16="http://schemas.microsoft.com/office/drawing/2014/main" id="{D527AB1B-C6DE-414A-BA49-DDA4B3772006}"/>
                </a:ext>
              </a:extLst>
            </p:cNvPr>
            <p:cNvSpPr>
              <a:spLocks noChangeArrowheads="1"/>
            </p:cNvSpPr>
            <p:nvPr/>
          </p:nvSpPr>
          <p:spPr bwMode="auto">
            <a:xfrm>
              <a:off x="8720196" y="4955355"/>
              <a:ext cx="21202" cy="43695"/>
            </a:xfrm>
            <a:custGeom>
              <a:avLst/>
              <a:gdLst>
                <a:gd name="T0" fmla="*/ 58 w 59"/>
                <a:gd name="T1" fmla="*/ 0 h 118"/>
                <a:gd name="T2" fmla="*/ 58 w 59"/>
                <a:gd name="T3" fmla="*/ 0 h 118"/>
                <a:gd name="T4" fmla="*/ 29 w 59"/>
                <a:gd name="T5" fmla="*/ 0 h 118"/>
                <a:gd name="T6" fmla="*/ 29 w 59"/>
                <a:gd name="T7" fmla="*/ 58 h 118"/>
                <a:gd name="T8" fmla="*/ 0 w 59"/>
                <a:gd name="T9" fmla="*/ 117 h 118"/>
                <a:gd name="T10" fmla="*/ 29 w 59"/>
                <a:gd name="T11" fmla="*/ 117 h 118"/>
                <a:gd name="T12" fmla="*/ 58 w 59"/>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59" h="118">
                  <a:moveTo>
                    <a:pt x="58" y="0"/>
                  </a:moveTo>
                  <a:lnTo>
                    <a:pt x="58" y="0"/>
                  </a:lnTo>
                  <a:lnTo>
                    <a:pt x="29" y="0"/>
                  </a:lnTo>
                  <a:cubicBezTo>
                    <a:pt x="29" y="0"/>
                    <a:pt x="29" y="29"/>
                    <a:pt x="29" y="58"/>
                  </a:cubicBezTo>
                  <a:cubicBezTo>
                    <a:pt x="29" y="58"/>
                    <a:pt x="29" y="87"/>
                    <a:pt x="0" y="117"/>
                  </a:cubicBezTo>
                  <a:lnTo>
                    <a:pt x="29" y="117"/>
                  </a:lnTo>
                  <a:cubicBezTo>
                    <a:pt x="29" y="58"/>
                    <a:pt x="29"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89" name="Freeform 667">
              <a:extLst>
                <a:ext uri="{FF2B5EF4-FFF2-40B4-BE49-F238E27FC236}">
                  <a16:creationId xmlns:a16="http://schemas.microsoft.com/office/drawing/2014/main" id="{47364029-C8E2-4C6E-9AF2-BBCA1E252941}"/>
                </a:ext>
              </a:extLst>
            </p:cNvPr>
            <p:cNvSpPr>
              <a:spLocks noChangeArrowheads="1"/>
            </p:cNvSpPr>
            <p:nvPr/>
          </p:nvSpPr>
          <p:spPr bwMode="auto">
            <a:xfrm>
              <a:off x="8633762" y="4934318"/>
              <a:ext cx="32617" cy="11328"/>
            </a:xfrm>
            <a:custGeom>
              <a:avLst/>
              <a:gdLst>
                <a:gd name="T0" fmla="*/ 88 w 89"/>
                <a:gd name="T1" fmla="*/ 0 h 30"/>
                <a:gd name="T2" fmla="*/ 88 w 89"/>
                <a:gd name="T3" fmla="*/ 0 h 30"/>
                <a:gd name="T4" fmla="*/ 88 w 89"/>
                <a:gd name="T5" fmla="*/ 0 h 30"/>
                <a:gd name="T6" fmla="*/ 0 w 89"/>
                <a:gd name="T7" fmla="*/ 29 h 30"/>
                <a:gd name="T8" fmla="*/ 88 w 89"/>
                <a:gd name="T9" fmla="*/ 0 h 30"/>
              </a:gdLst>
              <a:ahLst/>
              <a:cxnLst>
                <a:cxn ang="0">
                  <a:pos x="T0" y="T1"/>
                </a:cxn>
                <a:cxn ang="0">
                  <a:pos x="T2" y="T3"/>
                </a:cxn>
                <a:cxn ang="0">
                  <a:pos x="T4" y="T5"/>
                </a:cxn>
                <a:cxn ang="0">
                  <a:pos x="T6" y="T7"/>
                </a:cxn>
                <a:cxn ang="0">
                  <a:pos x="T8" y="T9"/>
                </a:cxn>
              </a:cxnLst>
              <a:rect l="0" t="0" r="r" b="b"/>
              <a:pathLst>
                <a:path w="89" h="30">
                  <a:moveTo>
                    <a:pt x="88" y="0"/>
                  </a:moveTo>
                  <a:lnTo>
                    <a:pt x="88" y="0"/>
                  </a:lnTo>
                  <a:lnTo>
                    <a:pt x="88" y="0"/>
                  </a:lnTo>
                  <a:cubicBezTo>
                    <a:pt x="58" y="0"/>
                    <a:pt x="29" y="0"/>
                    <a:pt x="0" y="29"/>
                  </a:cubicBezTo>
                  <a:cubicBezTo>
                    <a:pt x="29" y="0"/>
                    <a:pt x="58" y="0"/>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0" name="Freeform 668">
              <a:extLst>
                <a:ext uri="{FF2B5EF4-FFF2-40B4-BE49-F238E27FC236}">
                  <a16:creationId xmlns:a16="http://schemas.microsoft.com/office/drawing/2014/main" id="{0517AA3C-34B3-4636-BDE3-3A26B66FEF34}"/>
                </a:ext>
              </a:extLst>
            </p:cNvPr>
            <p:cNvSpPr>
              <a:spLocks noChangeArrowheads="1"/>
            </p:cNvSpPr>
            <p:nvPr/>
          </p:nvSpPr>
          <p:spPr bwMode="auto">
            <a:xfrm>
              <a:off x="8535911" y="4934318"/>
              <a:ext cx="53817" cy="21038"/>
            </a:xfrm>
            <a:custGeom>
              <a:avLst/>
              <a:gdLst>
                <a:gd name="T0" fmla="*/ 29 w 146"/>
                <a:gd name="T1" fmla="*/ 29 h 59"/>
                <a:gd name="T2" fmla="*/ 29 w 146"/>
                <a:gd name="T3" fmla="*/ 29 h 59"/>
                <a:gd name="T4" fmla="*/ 58 w 146"/>
                <a:gd name="T5" fmla="*/ 0 h 59"/>
                <a:gd name="T6" fmla="*/ 145 w 146"/>
                <a:gd name="T7" fmla="*/ 58 h 59"/>
                <a:gd name="T8" fmla="*/ 58 w 146"/>
                <a:gd name="T9" fmla="*/ 0 h 59"/>
                <a:gd name="T10" fmla="*/ 29 w 146"/>
                <a:gd name="T11" fmla="*/ 29 h 59"/>
                <a:gd name="T12" fmla="*/ 0 w 146"/>
                <a:gd name="T13" fmla="*/ 29 h 59"/>
                <a:gd name="T14" fmla="*/ 0 w 146"/>
                <a:gd name="T15" fmla="*/ 29 h 59"/>
                <a:gd name="T16" fmla="*/ 29 w 146"/>
                <a:gd name="T17"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59">
                  <a:moveTo>
                    <a:pt x="29" y="29"/>
                  </a:moveTo>
                  <a:lnTo>
                    <a:pt x="29" y="29"/>
                  </a:lnTo>
                  <a:cubicBezTo>
                    <a:pt x="58" y="0"/>
                    <a:pt x="58" y="0"/>
                    <a:pt x="58" y="0"/>
                  </a:cubicBezTo>
                  <a:cubicBezTo>
                    <a:pt x="116" y="0"/>
                    <a:pt x="116" y="29"/>
                    <a:pt x="145" y="58"/>
                  </a:cubicBezTo>
                  <a:cubicBezTo>
                    <a:pt x="116" y="29"/>
                    <a:pt x="116" y="0"/>
                    <a:pt x="58" y="0"/>
                  </a:cubicBezTo>
                  <a:cubicBezTo>
                    <a:pt x="58" y="0"/>
                    <a:pt x="58" y="0"/>
                    <a:pt x="29" y="29"/>
                  </a:cubicBezTo>
                  <a:lnTo>
                    <a:pt x="0" y="29"/>
                  </a:lnTo>
                  <a:lnTo>
                    <a:pt x="0" y="29"/>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1" name="Freeform 669">
              <a:extLst>
                <a:ext uri="{FF2B5EF4-FFF2-40B4-BE49-F238E27FC236}">
                  <a16:creationId xmlns:a16="http://schemas.microsoft.com/office/drawing/2014/main" id="{01EB0E3B-99D1-4A75-9992-19A24ACF9961}"/>
                </a:ext>
              </a:extLst>
            </p:cNvPr>
            <p:cNvSpPr>
              <a:spLocks noChangeArrowheads="1"/>
            </p:cNvSpPr>
            <p:nvPr/>
          </p:nvSpPr>
          <p:spPr bwMode="auto">
            <a:xfrm>
              <a:off x="8589728" y="4955355"/>
              <a:ext cx="32617" cy="11329"/>
            </a:xfrm>
            <a:custGeom>
              <a:avLst/>
              <a:gdLst>
                <a:gd name="T0" fmla="*/ 29 w 89"/>
                <a:gd name="T1" fmla="*/ 29 h 30"/>
                <a:gd name="T2" fmla="*/ 29 w 89"/>
                <a:gd name="T3" fmla="*/ 29 h 30"/>
                <a:gd name="T4" fmla="*/ 88 w 89"/>
                <a:gd name="T5" fmla="*/ 0 h 30"/>
                <a:gd name="T6" fmla="*/ 29 w 89"/>
                <a:gd name="T7" fmla="*/ 29 h 30"/>
                <a:gd name="T8" fmla="*/ 0 w 89"/>
                <a:gd name="T9" fmla="*/ 0 h 30"/>
                <a:gd name="T10" fmla="*/ 29 w 89"/>
                <a:gd name="T11" fmla="*/ 29 h 30"/>
              </a:gdLst>
              <a:ahLst/>
              <a:cxnLst>
                <a:cxn ang="0">
                  <a:pos x="T0" y="T1"/>
                </a:cxn>
                <a:cxn ang="0">
                  <a:pos x="T2" y="T3"/>
                </a:cxn>
                <a:cxn ang="0">
                  <a:pos x="T4" y="T5"/>
                </a:cxn>
                <a:cxn ang="0">
                  <a:pos x="T6" y="T7"/>
                </a:cxn>
                <a:cxn ang="0">
                  <a:pos x="T8" y="T9"/>
                </a:cxn>
                <a:cxn ang="0">
                  <a:pos x="T10" y="T11"/>
                </a:cxn>
              </a:cxnLst>
              <a:rect l="0" t="0" r="r" b="b"/>
              <a:pathLst>
                <a:path w="89" h="30">
                  <a:moveTo>
                    <a:pt x="29" y="29"/>
                  </a:moveTo>
                  <a:lnTo>
                    <a:pt x="29" y="29"/>
                  </a:lnTo>
                  <a:cubicBezTo>
                    <a:pt x="58" y="29"/>
                    <a:pt x="58" y="0"/>
                    <a:pt x="88" y="0"/>
                  </a:cubicBezTo>
                  <a:cubicBezTo>
                    <a:pt x="58" y="0"/>
                    <a:pt x="58" y="29"/>
                    <a:pt x="29" y="29"/>
                  </a:cubicBezTo>
                  <a:cubicBezTo>
                    <a:pt x="29" y="29"/>
                    <a:pt x="29" y="29"/>
                    <a:pt x="0" y="0"/>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2" name="Freeform 670">
              <a:extLst>
                <a:ext uri="{FF2B5EF4-FFF2-40B4-BE49-F238E27FC236}">
                  <a16:creationId xmlns:a16="http://schemas.microsoft.com/office/drawing/2014/main" id="{65ADCB1C-3222-49A2-B98A-B58489140463}"/>
                </a:ext>
              </a:extLst>
            </p:cNvPr>
            <p:cNvSpPr>
              <a:spLocks noChangeArrowheads="1"/>
            </p:cNvSpPr>
            <p:nvPr/>
          </p:nvSpPr>
          <p:spPr bwMode="auto">
            <a:xfrm>
              <a:off x="4675699" y="4120302"/>
              <a:ext cx="65234" cy="22656"/>
            </a:xfrm>
            <a:custGeom>
              <a:avLst/>
              <a:gdLst>
                <a:gd name="T0" fmla="*/ 176 w 177"/>
                <a:gd name="T1" fmla="*/ 29 h 60"/>
                <a:gd name="T2" fmla="*/ 176 w 177"/>
                <a:gd name="T3" fmla="*/ 29 h 60"/>
                <a:gd name="T4" fmla="*/ 176 w 177"/>
                <a:gd name="T5" fmla="*/ 59 h 60"/>
                <a:gd name="T6" fmla="*/ 176 w 177"/>
                <a:gd name="T7" fmla="*/ 29 h 60"/>
                <a:gd name="T8" fmla="*/ 176 w 177"/>
                <a:gd name="T9" fmla="*/ 29 h 60"/>
                <a:gd name="T10" fmla="*/ 0 w 177"/>
                <a:gd name="T11" fmla="*/ 0 h 60"/>
                <a:gd name="T12" fmla="*/ 176 w 177"/>
                <a:gd name="T13" fmla="*/ 29 h 60"/>
              </a:gdLst>
              <a:ahLst/>
              <a:cxnLst>
                <a:cxn ang="0">
                  <a:pos x="T0" y="T1"/>
                </a:cxn>
                <a:cxn ang="0">
                  <a:pos x="T2" y="T3"/>
                </a:cxn>
                <a:cxn ang="0">
                  <a:pos x="T4" y="T5"/>
                </a:cxn>
                <a:cxn ang="0">
                  <a:pos x="T6" y="T7"/>
                </a:cxn>
                <a:cxn ang="0">
                  <a:pos x="T8" y="T9"/>
                </a:cxn>
                <a:cxn ang="0">
                  <a:pos x="T10" y="T11"/>
                </a:cxn>
                <a:cxn ang="0">
                  <a:pos x="T12" y="T13"/>
                </a:cxn>
              </a:cxnLst>
              <a:rect l="0" t="0" r="r" b="b"/>
              <a:pathLst>
                <a:path w="177" h="60">
                  <a:moveTo>
                    <a:pt x="176" y="29"/>
                  </a:moveTo>
                  <a:lnTo>
                    <a:pt x="176" y="29"/>
                  </a:lnTo>
                  <a:cubicBezTo>
                    <a:pt x="176" y="29"/>
                    <a:pt x="176" y="29"/>
                    <a:pt x="176" y="59"/>
                  </a:cubicBezTo>
                  <a:cubicBezTo>
                    <a:pt x="176" y="29"/>
                    <a:pt x="176" y="29"/>
                    <a:pt x="176" y="29"/>
                  </a:cubicBezTo>
                  <a:lnTo>
                    <a:pt x="176" y="29"/>
                  </a:lnTo>
                  <a:cubicBezTo>
                    <a:pt x="117" y="29"/>
                    <a:pt x="59" y="0"/>
                    <a:pt x="0" y="0"/>
                  </a:cubicBezTo>
                  <a:cubicBezTo>
                    <a:pt x="59" y="0"/>
                    <a:pt x="117" y="29"/>
                    <a:pt x="176"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3" name="Freeform 671">
              <a:extLst>
                <a:ext uri="{FF2B5EF4-FFF2-40B4-BE49-F238E27FC236}">
                  <a16:creationId xmlns:a16="http://schemas.microsoft.com/office/drawing/2014/main" id="{2402637E-E237-4BEA-860D-70B337B9163E}"/>
                </a:ext>
              </a:extLst>
            </p:cNvPr>
            <p:cNvSpPr>
              <a:spLocks noChangeArrowheads="1"/>
            </p:cNvSpPr>
            <p:nvPr/>
          </p:nvSpPr>
          <p:spPr bwMode="auto">
            <a:xfrm>
              <a:off x="4157090" y="1252639"/>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4" name="Freeform 672">
              <a:extLst>
                <a:ext uri="{FF2B5EF4-FFF2-40B4-BE49-F238E27FC236}">
                  <a16:creationId xmlns:a16="http://schemas.microsoft.com/office/drawing/2014/main" id="{4E08880F-F20B-4804-8790-3332303549CC}"/>
                </a:ext>
              </a:extLst>
            </p:cNvPr>
            <p:cNvSpPr>
              <a:spLocks noChangeArrowheads="1"/>
            </p:cNvSpPr>
            <p:nvPr/>
          </p:nvSpPr>
          <p:spPr bwMode="auto">
            <a:xfrm>
              <a:off x="4168507" y="1060060"/>
              <a:ext cx="11415" cy="11328"/>
            </a:xfrm>
            <a:custGeom>
              <a:avLst/>
              <a:gdLst>
                <a:gd name="T0" fmla="*/ 30 w 31"/>
                <a:gd name="T1" fmla="*/ 29 h 30"/>
                <a:gd name="T2" fmla="*/ 30 w 31"/>
                <a:gd name="T3" fmla="*/ 29 h 30"/>
                <a:gd name="T4" fmla="*/ 0 w 31"/>
                <a:gd name="T5" fmla="*/ 0 h 30"/>
                <a:gd name="T6" fmla="*/ 30 w 31"/>
                <a:gd name="T7" fmla="*/ 29 h 30"/>
              </a:gdLst>
              <a:ahLst/>
              <a:cxnLst>
                <a:cxn ang="0">
                  <a:pos x="T0" y="T1"/>
                </a:cxn>
                <a:cxn ang="0">
                  <a:pos x="T2" y="T3"/>
                </a:cxn>
                <a:cxn ang="0">
                  <a:pos x="T4" y="T5"/>
                </a:cxn>
                <a:cxn ang="0">
                  <a:pos x="T6" y="T7"/>
                </a:cxn>
              </a:cxnLst>
              <a:rect l="0" t="0" r="r" b="b"/>
              <a:pathLst>
                <a:path w="31" h="30">
                  <a:moveTo>
                    <a:pt x="30" y="29"/>
                  </a:moveTo>
                  <a:lnTo>
                    <a:pt x="30" y="29"/>
                  </a:lnTo>
                  <a:cubicBezTo>
                    <a:pt x="30" y="29"/>
                    <a:pt x="0" y="29"/>
                    <a:pt x="0" y="0"/>
                  </a:cubicBezTo>
                  <a:cubicBezTo>
                    <a:pt x="0" y="29"/>
                    <a:pt x="3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5" name="Freeform 673">
              <a:extLst>
                <a:ext uri="{FF2B5EF4-FFF2-40B4-BE49-F238E27FC236}">
                  <a16:creationId xmlns:a16="http://schemas.microsoft.com/office/drawing/2014/main" id="{2C75C3DC-CCD1-4EC1-9457-C87FE946FE47}"/>
                </a:ext>
              </a:extLst>
            </p:cNvPr>
            <p:cNvSpPr>
              <a:spLocks noChangeArrowheads="1"/>
            </p:cNvSpPr>
            <p:nvPr/>
          </p:nvSpPr>
          <p:spPr bwMode="auto">
            <a:xfrm>
              <a:off x="4114688" y="1294716"/>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6" name="Freeform 674">
              <a:extLst>
                <a:ext uri="{FF2B5EF4-FFF2-40B4-BE49-F238E27FC236}">
                  <a16:creationId xmlns:a16="http://schemas.microsoft.com/office/drawing/2014/main" id="{FA962D6C-F216-4977-B6FF-9BD8D86DABE2}"/>
                </a:ext>
              </a:extLst>
            </p:cNvPr>
            <p:cNvSpPr>
              <a:spLocks noChangeArrowheads="1"/>
            </p:cNvSpPr>
            <p:nvPr/>
          </p:nvSpPr>
          <p:spPr bwMode="auto">
            <a:xfrm>
              <a:off x="4179922" y="1113464"/>
              <a:ext cx="1631" cy="21039"/>
            </a:xfrm>
            <a:custGeom>
              <a:avLst/>
              <a:gdLst>
                <a:gd name="T0" fmla="*/ 0 w 1"/>
                <a:gd name="T1" fmla="*/ 0 h 59"/>
                <a:gd name="T2" fmla="*/ 0 w 1"/>
                <a:gd name="T3" fmla="*/ 0 h 59"/>
                <a:gd name="T4" fmla="*/ 0 w 1"/>
                <a:gd name="T5" fmla="*/ 58 h 59"/>
                <a:gd name="T6" fmla="*/ 0 w 1"/>
                <a:gd name="T7" fmla="*/ 0 h 59"/>
              </a:gdLst>
              <a:ahLst/>
              <a:cxnLst>
                <a:cxn ang="0">
                  <a:pos x="T0" y="T1"/>
                </a:cxn>
                <a:cxn ang="0">
                  <a:pos x="T2" y="T3"/>
                </a:cxn>
                <a:cxn ang="0">
                  <a:pos x="T4" y="T5"/>
                </a:cxn>
                <a:cxn ang="0">
                  <a:pos x="T6" y="T7"/>
                </a:cxn>
              </a:cxnLst>
              <a:rect l="0" t="0" r="r" b="b"/>
              <a:pathLst>
                <a:path w="1" h="59">
                  <a:moveTo>
                    <a:pt x="0" y="0"/>
                  </a:moveTo>
                  <a:lnTo>
                    <a:pt x="0" y="0"/>
                  </a:lnTo>
                  <a:cubicBezTo>
                    <a:pt x="0" y="29"/>
                    <a:pt x="0" y="29"/>
                    <a:pt x="0" y="58"/>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7" name="Freeform 675">
              <a:extLst>
                <a:ext uri="{FF2B5EF4-FFF2-40B4-BE49-F238E27FC236}">
                  <a16:creationId xmlns:a16="http://schemas.microsoft.com/office/drawing/2014/main" id="{E50CB819-1E4E-4A19-AC2B-0D179751E79A}"/>
                </a:ext>
              </a:extLst>
            </p:cNvPr>
            <p:cNvSpPr>
              <a:spLocks noChangeArrowheads="1"/>
            </p:cNvSpPr>
            <p:nvPr/>
          </p:nvSpPr>
          <p:spPr bwMode="auto">
            <a:xfrm>
              <a:off x="4103273" y="1370777"/>
              <a:ext cx="11415" cy="43694"/>
            </a:xfrm>
            <a:custGeom>
              <a:avLst/>
              <a:gdLst>
                <a:gd name="T0" fmla="*/ 0 w 30"/>
                <a:gd name="T1" fmla="*/ 116 h 117"/>
                <a:gd name="T2" fmla="*/ 0 w 30"/>
                <a:gd name="T3" fmla="*/ 116 h 117"/>
                <a:gd name="T4" fmla="*/ 0 w 30"/>
                <a:gd name="T5" fmla="*/ 116 h 117"/>
                <a:gd name="T6" fmla="*/ 29 w 30"/>
                <a:gd name="T7" fmla="*/ 0 h 117"/>
                <a:gd name="T8" fmla="*/ 29 w 30"/>
                <a:gd name="T9" fmla="*/ 0 h 117"/>
                <a:gd name="T10" fmla="*/ 29 w 30"/>
                <a:gd name="T11" fmla="*/ 0 h 117"/>
                <a:gd name="T12" fmla="*/ 0 w 30"/>
                <a:gd name="T13" fmla="*/ 116 h 117"/>
              </a:gdLst>
              <a:ahLst/>
              <a:cxnLst>
                <a:cxn ang="0">
                  <a:pos x="T0" y="T1"/>
                </a:cxn>
                <a:cxn ang="0">
                  <a:pos x="T2" y="T3"/>
                </a:cxn>
                <a:cxn ang="0">
                  <a:pos x="T4" y="T5"/>
                </a:cxn>
                <a:cxn ang="0">
                  <a:pos x="T6" y="T7"/>
                </a:cxn>
                <a:cxn ang="0">
                  <a:pos x="T8" y="T9"/>
                </a:cxn>
                <a:cxn ang="0">
                  <a:pos x="T10" y="T11"/>
                </a:cxn>
                <a:cxn ang="0">
                  <a:pos x="T12" y="T13"/>
                </a:cxn>
              </a:cxnLst>
              <a:rect l="0" t="0" r="r" b="b"/>
              <a:pathLst>
                <a:path w="30" h="117">
                  <a:moveTo>
                    <a:pt x="0" y="116"/>
                  </a:moveTo>
                  <a:lnTo>
                    <a:pt x="0" y="116"/>
                  </a:lnTo>
                  <a:lnTo>
                    <a:pt x="0" y="116"/>
                  </a:lnTo>
                  <a:cubicBezTo>
                    <a:pt x="0" y="88"/>
                    <a:pt x="0" y="29"/>
                    <a:pt x="29" y="0"/>
                  </a:cubicBezTo>
                  <a:lnTo>
                    <a:pt x="29" y="0"/>
                  </a:lnTo>
                  <a:lnTo>
                    <a:pt x="29" y="0"/>
                  </a:lnTo>
                  <a:cubicBezTo>
                    <a:pt x="0" y="29"/>
                    <a:pt x="0" y="88"/>
                    <a:pt x="0"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8" name="Freeform 676">
              <a:extLst>
                <a:ext uri="{FF2B5EF4-FFF2-40B4-BE49-F238E27FC236}">
                  <a16:creationId xmlns:a16="http://schemas.microsoft.com/office/drawing/2014/main" id="{451FA0EE-1308-442B-9F4A-FF032E997BAB}"/>
                </a:ext>
              </a:extLst>
            </p:cNvPr>
            <p:cNvSpPr>
              <a:spLocks noChangeArrowheads="1"/>
            </p:cNvSpPr>
            <p:nvPr/>
          </p:nvSpPr>
          <p:spPr bwMode="auto">
            <a:xfrm>
              <a:off x="3812983" y="2001922"/>
              <a:ext cx="1630" cy="21038"/>
            </a:xfrm>
            <a:custGeom>
              <a:avLst/>
              <a:gdLst>
                <a:gd name="T0" fmla="*/ 0 w 1"/>
                <a:gd name="T1" fmla="*/ 58 h 59"/>
                <a:gd name="T2" fmla="*/ 0 w 1"/>
                <a:gd name="T3" fmla="*/ 58 h 59"/>
                <a:gd name="T4" fmla="*/ 0 w 1"/>
                <a:gd name="T5" fmla="*/ 0 h 59"/>
                <a:gd name="T6" fmla="*/ 0 w 1"/>
                <a:gd name="T7" fmla="*/ 58 h 59"/>
              </a:gdLst>
              <a:ahLst/>
              <a:cxnLst>
                <a:cxn ang="0">
                  <a:pos x="T0" y="T1"/>
                </a:cxn>
                <a:cxn ang="0">
                  <a:pos x="T2" y="T3"/>
                </a:cxn>
                <a:cxn ang="0">
                  <a:pos x="T4" y="T5"/>
                </a:cxn>
                <a:cxn ang="0">
                  <a:pos x="T6" y="T7"/>
                </a:cxn>
              </a:cxnLst>
              <a:rect l="0" t="0" r="r" b="b"/>
              <a:pathLst>
                <a:path w="1" h="59">
                  <a:moveTo>
                    <a:pt x="0" y="58"/>
                  </a:moveTo>
                  <a:lnTo>
                    <a:pt x="0" y="58"/>
                  </a:lnTo>
                  <a:cubicBezTo>
                    <a:pt x="0" y="58"/>
                    <a:pt x="0" y="29"/>
                    <a:pt x="0" y="0"/>
                  </a:cubicBezTo>
                  <a:cubicBezTo>
                    <a:pt x="0" y="29"/>
                    <a:pt x="0" y="58"/>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9" name="Freeform 677">
              <a:extLst>
                <a:ext uri="{FF2B5EF4-FFF2-40B4-BE49-F238E27FC236}">
                  <a16:creationId xmlns:a16="http://schemas.microsoft.com/office/drawing/2014/main" id="{6889BB8D-710C-439F-8712-9EA0B0305ADC}"/>
                </a:ext>
              </a:extLst>
            </p:cNvPr>
            <p:cNvSpPr>
              <a:spLocks noChangeArrowheads="1"/>
            </p:cNvSpPr>
            <p:nvPr/>
          </p:nvSpPr>
          <p:spPr bwMode="auto">
            <a:xfrm>
              <a:off x="4210909" y="1403143"/>
              <a:ext cx="55449" cy="32366"/>
            </a:xfrm>
            <a:custGeom>
              <a:avLst/>
              <a:gdLst>
                <a:gd name="T0" fmla="*/ 0 w 148"/>
                <a:gd name="T1" fmla="*/ 0 h 87"/>
                <a:gd name="T2" fmla="*/ 0 w 148"/>
                <a:gd name="T3" fmla="*/ 0 h 87"/>
                <a:gd name="T4" fmla="*/ 147 w 148"/>
                <a:gd name="T5" fmla="*/ 86 h 87"/>
                <a:gd name="T6" fmla="*/ 0 w 148"/>
                <a:gd name="T7" fmla="*/ 0 h 87"/>
              </a:gdLst>
              <a:ahLst/>
              <a:cxnLst>
                <a:cxn ang="0">
                  <a:pos x="T0" y="T1"/>
                </a:cxn>
                <a:cxn ang="0">
                  <a:pos x="T2" y="T3"/>
                </a:cxn>
                <a:cxn ang="0">
                  <a:pos x="T4" y="T5"/>
                </a:cxn>
                <a:cxn ang="0">
                  <a:pos x="T6" y="T7"/>
                </a:cxn>
              </a:cxnLst>
              <a:rect l="0" t="0" r="r" b="b"/>
              <a:pathLst>
                <a:path w="148" h="87">
                  <a:moveTo>
                    <a:pt x="0" y="0"/>
                  </a:moveTo>
                  <a:lnTo>
                    <a:pt x="0" y="0"/>
                  </a:lnTo>
                  <a:cubicBezTo>
                    <a:pt x="59" y="28"/>
                    <a:pt x="88" y="57"/>
                    <a:pt x="147" y="86"/>
                  </a:cubicBezTo>
                  <a:cubicBezTo>
                    <a:pt x="88" y="57"/>
                    <a:pt x="59" y="28"/>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0" name="Freeform 678">
              <a:extLst>
                <a:ext uri="{FF2B5EF4-FFF2-40B4-BE49-F238E27FC236}">
                  <a16:creationId xmlns:a16="http://schemas.microsoft.com/office/drawing/2014/main" id="{74E06635-C588-48FE-A28A-EFB8F989D6F1}"/>
                </a:ext>
              </a:extLst>
            </p:cNvPr>
            <p:cNvSpPr>
              <a:spLocks noChangeArrowheads="1"/>
            </p:cNvSpPr>
            <p:nvPr/>
          </p:nvSpPr>
          <p:spPr bwMode="auto">
            <a:xfrm>
              <a:off x="3801566" y="209902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1" name="Freeform 679">
              <a:extLst>
                <a:ext uri="{FF2B5EF4-FFF2-40B4-BE49-F238E27FC236}">
                  <a16:creationId xmlns:a16="http://schemas.microsoft.com/office/drawing/2014/main" id="{D684EA2E-81E2-47F0-BCC0-173F6962FEBD}"/>
                </a:ext>
              </a:extLst>
            </p:cNvPr>
            <p:cNvSpPr>
              <a:spLocks noChangeArrowheads="1"/>
            </p:cNvSpPr>
            <p:nvPr/>
          </p:nvSpPr>
          <p:spPr bwMode="auto">
            <a:xfrm>
              <a:off x="3801566" y="2022960"/>
              <a:ext cx="11416" cy="53405"/>
            </a:xfrm>
            <a:custGeom>
              <a:avLst/>
              <a:gdLst>
                <a:gd name="T0" fmla="*/ 0 w 30"/>
                <a:gd name="T1" fmla="*/ 145 h 146"/>
                <a:gd name="T2" fmla="*/ 0 w 30"/>
                <a:gd name="T3" fmla="*/ 145 h 146"/>
                <a:gd name="T4" fmla="*/ 29 w 30"/>
                <a:gd name="T5" fmla="*/ 0 h 146"/>
                <a:gd name="T6" fmla="*/ 0 w 30"/>
                <a:gd name="T7" fmla="*/ 145 h 146"/>
              </a:gdLst>
              <a:ahLst/>
              <a:cxnLst>
                <a:cxn ang="0">
                  <a:pos x="T0" y="T1"/>
                </a:cxn>
                <a:cxn ang="0">
                  <a:pos x="T2" y="T3"/>
                </a:cxn>
                <a:cxn ang="0">
                  <a:pos x="T4" y="T5"/>
                </a:cxn>
                <a:cxn ang="0">
                  <a:pos x="T6" y="T7"/>
                </a:cxn>
              </a:cxnLst>
              <a:rect l="0" t="0" r="r" b="b"/>
              <a:pathLst>
                <a:path w="30" h="146">
                  <a:moveTo>
                    <a:pt x="0" y="145"/>
                  </a:moveTo>
                  <a:lnTo>
                    <a:pt x="0" y="145"/>
                  </a:lnTo>
                  <a:cubicBezTo>
                    <a:pt x="0" y="87"/>
                    <a:pt x="0" y="29"/>
                    <a:pt x="29" y="0"/>
                  </a:cubicBezTo>
                  <a:cubicBezTo>
                    <a:pt x="0" y="29"/>
                    <a:pt x="0" y="87"/>
                    <a:pt x="0"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2" name="Freeform 680">
              <a:extLst>
                <a:ext uri="{FF2B5EF4-FFF2-40B4-BE49-F238E27FC236}">
                  <a16:creationId xmlns:a16="http://schemas.microsoft.com/office/drawing/2014/main" id="{8BEDC0DC-954B-4B52-AD43-4FFFF2D9F684}"/>
                </a:ext>
              </a:extLst>
            </p:cNvPr>
            <p:cNvSpPr>
              <a:spLocks noChangeArrowheads="1"/>
            </p:cNvSpPr>
            <p:nvPr/>
          </p:nvSpPr>
          <p:spPr bwMode="auto">
            <a:xfrm>
              <a:off x="4114688" y="1370777"/>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3" name="Freeform 681">
              <a:extLst>
                <a:ext uri="{FF2B5EF4-FFF2-40B4-BE49-F238E27FC236}">
                  <a16:creationId xmlns:a16="http://schemas.microsoft.com/office/drawing/2014/main" id="{D1AADEEF-B1BF-456A-813F-9FD04424107A}"/>
                </a:ext>
              </a:extLst>
            </p:cNvPr>
            <p:cNvSpPr>
              <a:spLocks noChangeArrowheads="1"/>
            </p:cNvSpPr>
            <p:nvPr/>
          </p:nvSpPr>
          <p:spPr bwMode="auto">
            <a:xfrm>
              <a:off x="3812983" y="209902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4" name="Freeform 682">
              <a:extLst>
                <a:ext uri="{FF2B5EF4-FFF2-40B4-BE49-F238E27FC236}">
                  <a16:creationId xmlns:a16="http://schemas.microsoft.com/office/drawing/2014/main" id="{E80C2694-AC0F-4C96-8A30-F861FDE73BB8}"/>
                </a:ext>
              </a:extLst>
            </p:cNvPr>
            <p:cNvSpPr>
              <a:spLocks noChangeArrowheads="1"/>
            </p:cNvSpPr>
            <p:nvPr/>
          </p:nvSpPr>
          <p:spPr bwMode="auto">
            <a:xfrm>
              <a:off x="4103273" y="1433891"/>
              <a:ext cx="1630" cy="11329"/>
            </a:xfrm>
            <a:custGeom>
              <a:avLst/>
              <a:gdLst>
                <a:gd name="T0" fmla="*/ 0 w 1"/>
                <a:gd name="T1" fmla="*/ 30 h 31"/>
                <a:gd name="T2" fmla="*/ 0 w 1"/>
                <a:gd name="T3" fmla="*/ 30 h 31"/>
                <a:gd name="T4" fmla="*/ 0 w 1"/>
                <a:gd name="T5" fmla="*/ 0 h 31"/>
                <a:gd name="T6" fmla="*/ 0 w 1"/>
                <a:gd name="T7" fmla="*/ 30 h 31"/>
              </a:gdLst>
              <a:ahLst/>
              <a:cxnLst>
                <a:cxn ang="0">
                  <a:pos x="T0" y="T1"/>
                </a:cxn>
                <a:cxn ang="0">
                  <a:pos x="T2" y="T3"/>
                </a:cxn>
                <a:cxn ang="0">
                  <a:pos x="T4" y="T5"/>
                </a:cxn>
                <a:cxn ang="0">
                  <a:pos x="T6" y="T7"/>
                </a:cxn>
              </a:cxnLst>
              <a:rect l="0" t="0" r="r" b="b"/>
              <a:pathLst>
                <a:path w="1" h="31">
                  <a:moveTo>
                    <a:pt x="0" y="30"/>
                  </a:moveTo>
                  <a:lnTo>
                    <a:pt x="0" y="30"/>
                  </a:lnTo>
                  <a:cubicBezTo>
                    <a:pt x="0" y="0"/>
                    <a:pt x="0" y="0"/>
                    <a:pt x="0" y="0"/>
                  </a:cubicBezTo>
                  <a:cubicBezTo>
                    <a:pt x="0" y="0"/>
                    <a:pt x="0" y="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5" name="Freeform 683">
              <a:extLst>
                <a:ext uri="{FF2B5EF4-FFF2-40B4-BE49-F238E27FC236}">
                  <a16:creationId xmlns:a16="http://schemas.microsoft.com/office/drawing/2014/main" id="{CB73B881-D98B-4FFF-A6FB-2192DE3BB150}"/>
                </a:ext>
              </a:extLst>
            </p:cNvPr>
            <p:cNvSpPr>
              <a:spLocks noChangeArrowheads="1"/>
            </p:cNvSpPr>
            <p:nvPr/>
          </p:nvSpPr>
          <p:spPr bwMode="auto">
            <a:xfrm>
              <a:off x="4103273" y="1412853"/>
              <a:ext cx="1630" cy="11328"/>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6" name="Freeform 684">
              <a:extLst>
                <a:ext uri="{FF2B5EF4-FFF2-40B4-BE49-F238E27FC236}">
                  <a16:creationId xmlns:a16="http://schemas.microsoft.com/office/drawing/2014/main" id="{17707DAD-E459-4023-9102-9185B8EFE0BF}"/>
                </a:ext>
              </a:extLst>
            </p:cNvPr>
            <p:cNvSpPr>
              <a:spLocks noChangeArrowheads="1"/>
            </p:cNvSpPr>
            <p:nvPr/>
          </p:nvSpPr>
          <p:spPr bwMode="auto">
            <a:xfrm>
              <a:off x="9323609" y="2034288"/>
              <a:ext cx="21202" cy="11328"/>
            </a:xfrm>
            <a:custGeom>
              <a:avLst/>
              <a:gdLst>
                <a:gd name="T0" fmla="*/ 57 w 58"/>
                <a:gd name="T1" fmla="*/ 29 h 30"/>
                <a:gd name="T2" fmla="*/ 57 w 58"/>
                <a:gd name="T3" fmla="*/ 29 h 30"/>
                <a:gd name="T4" fmla="*/ 57 w 58"/>
                <a:gd name="T5" fmla="*/ 29 h 30"/>
                <a:gd name="T6" fmla="*/ 0 w 58"/>
                <a:gd name="T7" fmla="*/ 0 h 30"/>
                <a:gd name="T8" fmla="*/ 57 w 58"/>
                <a:gd name="T9" fmla="*/ 29 h 30"/>
              </a:gdLst>
              <a:ahLst/>
              <a:cxnLst>
                <a:cxn ang="0">
                  <a:pos x="T0" y="T1"/>
                </a:cxn>
                <a:cxn ang="0">
                  <a:pos x="T2" y="T3"/>
                </a:cxn>
                <a:cxn ang="0">
                  <a:pos x="T4" y="T5"/>
                </a:cxn>
                <a:cxn ang="0">
                  <a:pos x="T6" y="T7"/>
                </a:cxn>
                <a:cxn ang="0">
                  <a:pos x="T8" y="T9"/>
                </a:cxn>
              </a:cxnLst>
              <a:rect l="0" t="0" r="r" b="b"/>
              <a:pathLst>
                <a:path w="58" h="30">
                  <a:moveTo>
                    <a:pt x="57" y="29"/>
                  </a:moveTo>
                  <a:lnTo>
                    <a:pt x="57" y="29"/>
                  </a:lnTo>
                  <a:lnTo>
                    <a:pt x="57" y="29"/>
                  </a:lnTo>
                  <a:cubicBezTo>
                    <a:pt x="57" y="29"/>
                    <a:pt x="28" y="0"/>
                    <a:pt x="0" y="0"/>
                  </a:cubicBezTo>
                  <a:cubicBezTo>
                    <a:pt x="28" y="0"/>
                    <a:pt x="28" y="29"/>
                    <a:pt x="57"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7" name="Freeform 685">
              <a:extLst>
                <a:ext uri="{FF2B5EF4-FFF2-40B4-BE49-F238E27FC236}">
                  <a16:creationId xmlns:a16="http://schemas.microsoft.com/office/drawing/2014/main" id="{2E9888BD-921A-44DF-891F-2FC633CE5CDA}"/>
                </a:ext>
              </a:extLst>
            </p:cNvPr>
            <p:cNvSpPr>
              <a:spLocks noChangeArrowheads="1"/>
            </p:cNvSpPr>
            <p:nvPr/>
          </p:nvSpPr>
          <p:spPr bwMode="auto">
            <a:xfrm>
              <a:off x="10003672" y="4688333"/>
              <a:ext cx="21200" cy="32366"/>
            </a:xfrm>
            <a:custGeom>
              <a:avLst/>
              <a:gdLst>
                <a:gd name="T0" fmla="*/ 29 w 59"/>
                <a:gd name="T1" fmla="*/ 58 h 88"/>
                <a:gd name="T2" fmla="*/ 29 w 59"/>
                <a:gd name="T3" fmla="*/ 58 h 88"/>
                <a:gd name="T4" fmla="*/ 58 w 59"/>
                <a:gd name="T5" fmla="*/ 87 h 88"/>
                <a:gd name="T6" fmla="*/ 58 w 59"/>
                <a:gd name="T7" fmla="*/ 87 h 88"/>
                <a:gd name="T8" fmla="*/ 29 w 59"/>
                <a:gd name="T9" fmla="*/ 58 h 88"/>
                <a:gd name="T10" fmla="*/ 0 w 59"/>
                <a:gd name="T11" fmla="*/ 0 h 88"/>
                <a:gd name="T12" fmla="*/ 0 w 59"/>
                <a:gd name="T13" fmla="*/ 0 h 88"/>
                <a:gd name="T14" fmla="*/ 29 w 59"/>
                <a:gd name="T15" fmla="*/ 5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8">
                  <a:moveTo>
                    <a:pt x="29" y="58"/>
                  </a:moveTo>
                  <a:lnTo>
                    <a:pt x="29" y="58"/>
                  </a:lnTo>
                  <a:cubicBezTo>
                    <a:pt x="58" y="87"/>
                    <a:pt x="58" y="87"/>
                    <a:pt x="58" y="87"/>
                  </a:cubicBezTo>
                  <a:lnTo>
                    <a:pt x="58" y="87"/>
                  </a:lnTo>
                  <a:cubicBezTo>
                    <a:pt x="29" y="58"/>
                    <a:pt x="29" y="58"/>
                    <a:pt x="29" y="58"/>
                  </a:cubicBezTo>
                  <a:cubicBezTo>
                    <a:pt x="0" y="58"/>
                    <a:pt x="0" y="29"/>
                    <a:pt x="0" y="0"/>
                  </a:cubicBezTo>
                  <a:lnTo>
                    <a:pt x="0" y="0"/>
                  </a:lnTo>
                  <a:cubicBezTo>
                    <a:pt x="0" y="29"/>
                    <a:pt x="0" y="58"/>
                    <a:pt x="2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8" name="Freeform 686">
              <a:extLst>
                <a:ext uri="{FF2B5EF4-FFF2-40B4-BE49-F238E27FC236}">
                  <a16:creationId xmlns:a16="http://schemas.microsoft.com/office/drawing/2014/main" id="{AB38840D-35F6-401C-967C-DEEE70D61B3C}"/>
                </a:ext>
              </a:extLst>
            </p:cNvPr>
            <p:cNvSpPr>
              <a:spLocks noChangeArrowheads="1"/>
            </p:cNvSpPr>
            <p:nvPr/>
          </p:nvSpPr>
          <p:spPr bwMode="auto">
            <a:xfrm>
              <a:off x="10013457" y="4634928"/>
              <a:ext cx="11415" cy="22656"/>
            </a:xfrm>
            <a:custGeom>
              <a:avLst/>
              <a:gdLst>
                <a:gd name="T0" fmla="*/ 29 w 30"/>
                <a:gd name="T1" fmla="*/ 0 h 60"/>
                <a:gd name="T2" fmla="*/ 29 w 30"/>
                <a:gd name="T3" fmla="*/ 0 h 60"/>
                <a:gd name="T4" fmla="*/ 29 w 30"/>
                <a:gd name="T5" fmla="*/ 0 h 60"/>
                <a:gd name="T6" fmla="*/ 0 w 30"/>
                <a:gd name="T7" fmla="*/ 29 h 60"/>
                <a:gd name="T8" fmla="*/ 0 w 30"/>
                <a:gd name="T9" fmla="*/ 59 h 60"/>
                <a:gd name="T10" fmla="*/ 0 w 30"/>
                <a:gd name="T11" fmla="*/ 29 h 60"/>
                <a:gd name="T12" fmla="*/ 29 w 30"/>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30" h="60">
                  <a:moveTo>
                    <a:pt x="29" y="0"/>
                  </a:moveTo>
                  <a:lnTo>
                    <a:pt x="29" y="0"/>
                  </a:lnTo>
                  <a:lnTo>
                    <a:pt x="29" y="0"/>
                  </a:lnTo>
                  <a:cubicBezTo>
                    <a:pt x="0" y="29"/>
                    <a:pt x="0" y="29"/>
                    <a:pt x="0" y="29"/>
                  </a:cubicBezTo>
                  <a:lnTo>
                    <a:pt x="0" y="59"/>
                  </a:lnTo>
                  <a:lnTo>
                    <a:pt x="0" y="29"/>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09" name="Freeform 687">
              <a:extLst>
                <a:ext uri="{FF2B5EF4-FFF2-40B4-BE49-F238E27FC236}">
                  <a16:creationId xmlns:a16="http://schemas.microsoft.com/office/drawing/2014/main" id="{3D3CAF3E-D741-469D-B74C-BE8EA6A36CBC}"/>
                </a:ext>
              </a:extLst>
            </p:cNvPr>
            <p:cNvSpPr>
              <a:spLocks noChangeArrowheads="1"/>
            </p:cNvSpPr>
            <p:nvPr/>
          </p:nvSpPr>
          <p:spPr bwMode="auto">
            <a:xfrm>
              <a:off x="10024872" y="4560485"/>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0" name="Freeform 688">
              <a:extLst>
                <a:ext uri="{FF2B5EF4-FFF2-40B4-BE49-F238E27FC236}">
                  <a16:creationId xmlns:a16="http://schemas.microsoft.com/office/drawing/2014/main" id="{6CDF7036-F35E-4738-B12A-A00814266341}"/>
                </a:ext>
              </a:extLst>
            </p:cNvPr>
            <p:cNvSpPr>
              <a:spLocks noChangeArrowheads="1"/>
            </p:cNvSpPr>
            <p:nvPr/>
          </p:nvSpPr>
          <p:spPr bwMode="auto">
            <a:xfrm>
              <a:off x="10013457" y="4720700"/>
              <a:ext cx="11415" cy="11328"/>
            </a:xfrm>
            <a:custGeom>
              <a:avLst/>
              <a:gdLst>
                <a:gd name="T0" fmla="*/ 29 w 30"/>
                <a:gd name="T1" fmla="*/ 0 h 30"/>
                <a:gd name="T2" fmla="*/ 29 w 30"/>
                <a:gd name="T3" fmla="*/ 0 h 30"/>
                <a:gd name="T4" fmla="*/ 29 w 30"/>
                <a:gd name="T5" fmla="*/ 29 h 30"/>
                <a:gd name="T6" fmla="*/ 29 w 30"/>
                <a:gd name="T7" fmla="*/ 0 h 30"/>
                <a:gd name="T8" fmla="*/ 29 w 30"/>
                <a:gd name="T9" fmla="*/ 0 h 30"/>
                <a:gd name="T10" fmla="*/ 0 w 30"/>
                <a:gd name="T11" fmla="*/ 0 h 30"/>
                <a:gd name="T12" fmla="*/ 29 w 3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29" y="0"/>
                  </a:moveTo>
                  <a:lnTo>
                    <a:pt x="29" y="0"/>
                  </a:lnTo>
                  <a:cubicBezTo>
                    <a:pt x="29" y="29"/>
                    <a:pt x="29" y="29"/>
                    <a:pt x="29" y="29"/>
                  </a:cubicBezTo>
                  <a:cubicBezTo>
                    <a:pt x="29" y="29"/>
                    <a:pt x="29" y="29"/>
                    <a:pt x="29" y="0"/>
                  </a:cubicBezTo>
                  <a:lnTo>
                    <a:pt x="29" y="0"/>
                  </a:lnTo>
                  <a:cubicBezTo>
                    <a:pt x="0" y="0"/>
                    <a:pt x="0" y="0"/>
                    <a:pt x="0" y="0"/>
                  </a:cubicBez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1" name="Freeform 689">
              <a:extLst>
                <a:ext uri="{FF2B5EF4-FFF2-40B4-BE49-F238E27FC236}">
                  <a16:creationId xmlns:a16="http://schemas.microsoft.com/office/drawing/2014/main" id="{F73552D5-2FEB-4EC2-9778-D9268AE9C6A9}"/>
                </a:ext>
              </a:extLst>
            </p:cNvPr>
            <p:cNvSpPr>
              <a:spLocks noChangeArrowheads="1"/>
            </p:cNvSpPr>
            <p:nvPr/>
          </p:nvSpPr>
          <p:spPr bwMode="auto">
            <a:xfrm>
              <a:off x="10046074" y="4516791"/>
              <a:ext cx="11415" cy="11328"/>
            </a:xfrm>
            <a:custGeom>
              <a:avLst/>
              <a:gdLst>
                <a:gd name="T0" fmla="*/ 29 w 30"/>
                <a:gd name="T1" fmla="*/ 30 h 31"/>
                <a:gd name="T2" fmla="*/ 29 w 30"/>
                <a:gd name="T3" fmla="*/ 30 h 31"/>
                <a:gd name="T4" fmla="*/ 29 w 30"/>
                <a:gd name="T5" fmla="*/ 30 h 31"/>
                <a:gd name="T6" fmla="*/ 0 w 30"/>
                <a:gd name="T7" fmla="*/ 0 h 31"/>
                <a:gd name="T8" fmla="*/ 29 w 30"/>
                <a:gd name="T9" fmla="*/ 30 h 31"/>
              </a:gdLst>
              <a:ahLst/>
              <a:cxnLst>
                <a:cxn ang="0">
                  <a:pos x="T0" y="T1"/>
                </a:cxn>
                <a:cxn ang="0">
                  <a:pos x="T2" y="T3"/>
                </a:cxn>
                <a:cxn ang="0">
                  <a:pos x="T4" y="T5"/>
                </a:cxn>
                <a:cxn ang="0">
                  <a:pos x="T6" y="T7"/>
                </a:cxn>
                <a:cxn ang="0">
                  <a:pos x="T8" y="T9"/>
                </a:cxn>
              </a:cxnLst>
              <a:rect l="0" t="0" r="r" b="b"/>
              <a:pathLst>
                <a:path w="30" h="31">
                  <a:moveTo>
                    <a:pt x="29" y="30"/>
                  </a:moveTo>
                  <a:lnTo>
                    <a:pt x="29" y="30"/>
                  </a:lnTo>
                  <a:lnTo>
                    <a:pt x="29" y="30"/>
                  </a:lnTo>
                  <a:cubicBezTo>
                    <a:pt x="0" y="30"/>
                    <a:pt x="0" y="30"/>
                    <a:pt x="0" y="0"/>
                  </a:cubicBezTo>
                  <a:cubicBezTo>
                    <a:pt x="0" y="30"/>
                    <a:pt x="0" y="3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2" name="Freeform 690">
              <a:extLst>
                <a:ext uri="{FF2B5EF4-FFF2-40B4-BE49-F238E27FC236}">
                  <a16:creationId xmlns:a16="http://schemas.microsoft.com/office/drawing/2014/main" id="{F04B8E83-3CD2-4F8C-9163-04397EC79287}"/>
                </a:ext>
              </a:extLst>
            </p:cNvPr>
            <p:cNvSpPr>
              <a:spLocks noChangeArrowheads="1"/>
            </p:cNvSpPr>
            <p:nvPr/>
          </p:nvSpPr>
          <p:spPr bwMode="auto">
            <a:xfrm>
              <a:off x="10013457" y="4570195"/>
              <a:ext cx="11415" cy="32366"/>
            </a:xfrm>
            <a:custGeom>
              <a:avLst/>
              <a:gdLst>
                <a:gd name="T0" fmla="*/ 29 w 30"/>
                <a:gd name="T1" fmla="*/ 87 h 88"/>
                <a:gd name="T2" fmla="*/ 29 w 30"/>
                <a:gd name="T3" fmla="*/ 87 h 88"/>
                <a:gd name="T4" fmla="*/ 29 w 30"/>
                <a:gd name="T5" fmla="*/ 87 h 88"/>
                <a:gd name="T6" fmla="*/ 29 w 30"/>
                <a:gd name="T7" fmla="*/ 87 h 88"/>
                <a:gd name="T8" fmla="*/ 29 w 30"/>
                <a:gd name="T9" fmla="*/ 87 h 88"/>
                <a:gd name="T10" fmla="*/ 0 w 30"/>
                <a:gd name="T11" fmla="*/ 0 h 88"/>
                <a:gd name="T12" fmla="*/ 29 w 30"/>
                <a:gd name="T13" fmla="*/ 87 h 88"/>
              </a:gdLst>
              <a:ahLst/>
              <a:cxnLst>
                <a:cxn ang="0">
                  <a:pos x="T0" y="T1"/>
                </a:cxn>
                <a:cxn ang="0">
                  <a:pos x="T2" y="T3"/>
                </a:cxn>
                <a:cxn ang="0">
                  <a:pos x="T4" y="T5"/>
                </a:cxn>
                <a:cxn ang="0">
                  <a:pos x="T6" y="T7"/>
                </a:cxn>
                <a:cxn ang="0">
                  <a:pos x="T8" y="T9"/>
                </a:cxn>
                <a:cxn ang="0">
                  <a:pos x="T10" y="T11"/>
                </a:cxn>
                <a:cxn ang="0">
                  <a:pos x="T12" y="T13"/>
                </a:cxn>
              </a:cxnLst>
              <a:rect l="0" t="0" r="r" b="b"/>
              <a:pathLst>
                <a:path w="30" h="88">
                  <a:moveTo>
                    <a:pt x="29" y="87"/>
                  </a:moveTo>
                  <a:lnTo>
                    <a:pt x="29" y="87"/>
                  </a:lnTo>
                  <a:lnTo>
                    <a:pt x="29" y="87"/>
                  </a:lnTo>
                  <a:lnTo>
                    <a:pt x="29" y="87"/>
                  </a:lnTo>
                  <a:lnTo>
                    <a:pt x="29" y="87"/>
                  </a:lnTo>
                  <a:cubicBezTo>
                    <a:pt x="29" y="58"/>
                    <a:pt x="0" y="29"/>
                    <a:pt x="0" y="0"/>
                  </a:cubicBezTo>
                  <a:cubicBezTo>
                    <a:pt x="0" y="29"/>
                    <a:pt x="29" y="58"/>
                    <a:pt x="2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3" name="Freeform 691">
              <a:extLst>
                <a:ext uri="{FF2B5EF4-FFF2-40B4-BE49-F238E27FC236}">
                  <a16:creationId xmlns:a16="http://schemas.microsoft.com/office/drawing/2014/main" id="{489AEE0B-E554-4696-85BC-766C66EF968C}"/>
                </a:ext>
              </a:extLst>
            </p:cNvPr>
            <p:cNvSpPr>
              <a:spLocks noChangeArrowheads="1"/>
            </p:cNvSpPr>
            <p:nvPr/>
          </p:nvSpPr>
          <p:spPr bwMode="auto">
            <a:xfrm>
              <a:off x="10099891" y="4999051"/>
              <a:ext cx="21202" cy="11328"/>
            </a:xfrm>
            <a:custGeom>
              <a:avLst/>
              <a:gdLst>
                <a:gd name="T0" fmla="*/ 29 w 59"/>
                <a:gd name="T1" fmla="*/ 29 h 30"/>
                <a:gd name="T2" fmla="*/ 29 w 59"/>
                <a:gd name="T3" fmla="*/ 29 h 30"/>
                <a:gd name="T4" fmla="*/ 58 w 59"/>
                <a:gd name="T5" fmla="*/ 29 h 30"/>
                <a:gd name="T6" fmla="*/ 58 w 59"/>
                <a:gd name="T7" fmla="*/ 29 h 30"/>
                <a:gd name="T8" fmla="*/ 29 w 59"/>
                <a:gd name="T9" fmla="*/ 29 h 30"/>
                <a:gd name="T10" fmla="*/ 0 w 59"/>
                <a:gd name="T11" fmla="*/ 0 h 30"/>
                <a:gd name="T12" fmla="*/ 29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29" y="29"/>
                  </a:moveTo>
                  <a:lnTo>
                    <a:pt x="29" y="29"/>
                  </a:lnTo>
                  <a:cubicBezTo>
                    <a:pt x="58" y="29"/>
                    <a:pt x="58" y="29"/>
                    <a:pt x="58" y="29"/>
                  </a:cubicBezTo>
                  <a:lnTo>
                    <a:pt x="58" y="29"/>
                  </a:lnTo>
                  <a:cubicBezTo>
                    <a:pt x="29" y="29"/>
                    <a:pt x="29" y="29"/>
                    <a:pt x="29" y="29"/>
                  </a:cubicBezTo>
                  <a:cubicBezTo>
                    <a:pt x="0" y="29"/>
                    <a:pt x="0" y="29"/>
                    <a:pt x="0" y="0"/>
                  </a:cubicBezTo>
                  <a:cubicBezTo>
                    <a:pt x="0" y="29"/>
                    <a:pt x="0"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4" name="Freeform 692">
              <a:extLst>
                <a:ext uri="{FF2B5EF4-FFF2-40B4-BE49-F238E27FC236}">
                  <a16:creationId xmlns:a16="http://schemas.microsoft.com/office/drawing/2014/main" id="{3ABC272D-DC83-43FB-B713-5D555B08E85C}"/>
                </a:ext>
              </a:extLst>
            </p:cNvPr>
            <p:cNvSpPr>
              <a:spLocks noChangeArrowheads="1"/>
            </p:cNvSpPr>
            <p:nvPr/>
          </p:nvSpPr>
          <p:spPr bwMode="auto">
            <a:xfrm>
              <a:off x="10036289" y="4848546"/>
              <a:ext cx="11415" cy="1619"/>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30" y="0"/>
                    <a:pt x="30" y="0"/>
                    <a:pt x="30" y="0"/>
                  </a:cubicBez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5" name="Freeform 693">
              <a:extLst>
                <a:ext uri="{FF2B5EF4-FFF2-40B4-BE49-F238E27FC236}">
                  <a16:creationId xmlns:a16="http://schemas.microsoft.com/office/drawing/2014/main" id="{594BCC52-D8EC-482F-A910-86E63BB40894}"/>
                </a:ext>
              </a:extLst>
            </p:cNvPr>
            <p:cNvSpPr>
              <a:spLocks noChangeArrowheads="1"/>
            </p:cNvSpPr>
            <p:nvPr/>
          </p:nvSpPr>
          <p:spPr bwMode="auto">
            <a:xfrm>
              <a:off x="10090106" y="5008761"/>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6" name="Freeform 694">
              <a:extLst>
                <a:ext uri="{FF2B5EF4-FFF2-40B4-BE49-F238E27FC236}">
                  <a16:creationId xmlns:a16="http://schemas.microsoft.com/office/drawing/2014/main" id="{677C8BCD-4046-472E-8187-EF08FB71BB8C}"/>
                </a:ext>
              </a:extLst>
            </p:cNvPr>
            <p:cNvSpPr>
              <a:spLocks noChangeArrowheads="1"/>
            </p:cNvSpPr>
            <p:nvPr/>
          </p:nvSpPr>
          <p:spPr bwMode="auto">
            <a:xfrm>
              <a:off x="8741397" y="5020088"/>
              <a:ext cx="11415" cy="1619"/>
            </a:xfrm>
            <a:custGeom>
              <a:avLst/>
              <a:gdLst>
                <a:gd name="T0" fmla="*/ 0 w 31"/>
                <a:gd name="T1" fmla="*/ 0 h 1"/>
                <a:gd name="T2" fmla="*/ 0 w 31"/>
                <a:gd name="T3" fmla="*/ 0 h 1"/>
                <a:gd name="T4" fmla="*/ 0 w 31"/>
                <a:gd name="T5" fmla="*/ 0 h 1"/>
                <a:gd name="T6" fmla="*/ 30 w 31"/>
                <a:gd name="T7" fmla="*/ 0 h 1"/>
                <a:gd name="T8" fmla="*/ 0 w 31"/>
                <a:gd name="T9" fmla="*/ 0 h 1"/>
              </a:gdLst>
              <a:ahLst/>
              <a:cxnLst>
                <a:cxn ang="0">
                  <a:pos x="T0" y="T1"/>
                </a:cxn>
                <a:cxn ang="0">
                  <a:pos x="T2" y="T3"/>
                </a:cxn>
                <a:cxn ang="0">
                  <a:pos x="T4" y="T5"/>
                </a:cxn>
                <a:cxn ang="0">
                  <a:pos x="T6" y="T7"/>
                </a:cxn>
                <a:cxn ang="0">
                  <a:pos x="T8" y="T9"/>
                </a:cxn>
              </a:cxnLst>
              <a:rect l="0" t="0" r="r" b="b"/>
              <a:pathLst>
                <a:path w="31" h="1">
                  <a:moveTo>
                    <a:pt x="0" y="0"/>
                  </a:moveTo>
                  <a:lnTo>
                    <a:pt x="0" y="0"/>
                  </a:lnTo>
                  <a:lnTo>
                    <a:pt x="0" y="0"/>
                  </a:lnTo>
                  <a:cubicBezTo>
                    <a:pt x="30" y="0"/>
                    <a:pt x="30" y="0"/>
                    <a:pt x="30"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7" name="Freeform 695">
              <a:extLst>
                <a:ext uri="{FF2B5EF4-FFF2-40B4-BE49-F238E27FC236}">
                  <a16:creationId xmlns:a16="http://schemas.microsoft.com/office/drawing/2014/main" id="{70830212-BEB8-4DF3-8E06-58AEE0A9B6B8}"/>
                </a:ext>
              </a:extLst>
            </p:cNvPr>
            <p:cNvSpPr>
              <a:spLocks noChangeArrowheads="1"/>
            </p:cNvSpPr>
            <p:nvPr/>
          </p:nvSpPr>
          <p:spPr bwMode="auto">
            <a:xfrm>
              <a:off x="10090106" y="4999051"/>
              <a:ext cx="11416" cy="1618"/>
            </a:xfrm>
            <a:custGeom>
              <a:avLst/>
              <a:gdLst>
                <a:gd name="T0" fmla="*/ 0 w 30"/>
                <a:gd name="T1" fmla="*/ 0 h 1"/>
                <a:gd name="T2" fmla="*/ 0 w 30"/>
                <a:gd name="T3" fmla="*/ 0 h 1"/>
                <a:gd name="T4" fmla="*/ 0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8" name="Freeform 696">
              <a:extLst>
                <a:ext uri="{FF2B5EF4-FFF2-40B4-BE49-F238E27FC236}">
                  <a16:creationId xmlns:a16="http://schemas.microsoft.com/office/drawing/2014/main" id="{BBC638A1-9DC0-4C9F-AEDB-6184D636C0BA}"/>
                </a:ext>
              </a:extLst>
            </p:cNvPr>
            <p:cNvSpPr>
              <a:spLocks noChangeArrowheads="1"/>
            </p:cNvSpPr>
            <p:nvPr/>
          </p:nvSpPr>
          <p:spPr bwMode="auto">
            <a:xfrm>
              <a:off x="10067274" y="4913279"/>
              <a:ext cx="32617" cy="64733"/>
            </a:xfrm>
            <a:custGeom>
              <a:avLst/>
              <a:gdLst>
                <a:gd name="T0" fmla="*/ 0 w 88"/>
                <a:gd name="T1" fmla="*/ 0 h 175"/>
                <a:gd name="T2" fmla="*/ 0 w 88"/>
                <a:gd name="T3" fmla="*/ 0 h 175"/>
                <a:gd name="T4" fmla="*/ 87 w 88"/>
                <a:gd name="T5" fmla="*/ 174 h 175"/>
                <a:gd name="T6" fmla="*/ 0 w 88"/>
                <a:gd name="T7" fmla="*/ 0 h 175"/>
              </a:gdLst>
              <a:ahLst/>
              <a:cxnLst>
                <a:cxn ang="0">
                  <a:pos x="T0" y="T1"/>
                </a:cxn>
                <a:cxn ang="0">
                  <a:pos x="T2" y="T3"/>
                </a:cxn>
                <a:cxn ang="0">
                  <a:pos x="T4" y="T5"/>
                </a:cxn>
                <a:cxn ang="0">
                  <a:pos x="T6" y="T7"/>
                </a:cxn>
              </a:cxnLst>
              <a:rect l="0" t="0" r="r" b="b"/>
              <a:pathLst>
                <a:path w="88" h="175">
                  <a:moveTo>
                    <a:pt x="0" y="0"/>
                  </a:moveTo>
                  <a:lnTo>
                    <a:pt x="0" y="0"/>
                  </a:lnTo>
                  <a:cubicBezTo>
                    <a:pt x="0" y="58"/>
                    <a:pt x="58" y="116"/>
                    <a:pt x="87" y="174"/>
                  </a:cubicBezTo>
                  <a:cubicBezTo>
                    <a:pt x="58" y="116"/>
                    <a:pt x="0" y="58"/>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19" name="Freeform 697">
              <a:extLst>
                <a:ext uri="{FF2B5EF4-FFF2-40B4-BE49-F238E27FC236}">
                  <a16:creationId xmlns:a16="http://schemas.microsoft.com/office/drawing/2014/main" id="{054CC858-236B-482D-AB73-C2C37BC5A510}"/>
                </a:ext>
              </a:extLst>
            </p:cNvPr>
            <p:cNvSpPr>
              <a:spLocks noChangeArrowheads="1"/>
            </p:cNvSpPr>
            <p:nvPr/>
          </p:nvSpPr>
          <p:spPr bwMode="auto">
            <a:xfrm>
              <a:off x="10046074" y="4859875"/>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0" name="Freeform 698">
              <a:extLst>
                <a:ext uri="{FF2B5EF4-FFF2-40B4-BE49-F238E27FC236}">
                  <a16:creationId xmlns:a16="http://schemas.microsoft.com/office/drawing/2014/main" id="{CC37A24E-FE4E-48B1-A5F1-6731B1FA7001}"/>
                </a:ext>
              </a:extLst>
            </p:cNvPr>
            <p:cNvSpPr>
              <a:spLocks noChangeArrowheads="1"/>
            </p:cNvSpPr>
            <p:nvPr/>
          </p:nvSpPr>
          <p:spPr bwMode="auto">
            <a:xfrm>
              <a:off x="9313824" y="3971417"/>
              <a:ext cx="755082" cy="814015"/>
            </a:xfrm>
            <a:custGeom>
              <a:avLst/>
              <a:gdLst>
                <a:gd name="T0" fmla="*/ 933 w 2042"/>
                <a:gd name="T1" fmla="*/ 0 h 2218"/>
                <a:gd name="T2" fmla="*/ 933 w 2042"/>
                <a:gd name="T3" fmla="*/ 0 h 2218"/>
                <a:gd name="T4" fmla="*/ 933 w 2042"/>
                <a:gd name="T5" fmla="*/ 0 h 2218"/>
                <a:gd name="T6" fmla="*/ 350 w 2042"/>
                <a:gd name="T7" fmla="*/ 58 h 2218"/>
                <a:gd name="T8" fmla="*/ 0 w 2042"/>
                <a:gd name="T9" fmla="*/ 87 h 2218"/>
                <a:gd name="T10" fmla="*/ 86 w 2042"/>
                <a:gd name="T11" fmla="*/ 584 h 2218"/>
                <a:gd name="T12" fmla="*/ 145 w 2042"/>
                <a:gd name="T13" fmla="*/ 817 h 2218"/>
                <a:gd name="T14" fmla="*/ 145 w 2042"/>
                <a:gd name="T15" fmla="*/ 904 h 2218"/>
                <a:gd name="T16" fmla="*/ 203 w 2042"/>
                <a:gd name="T17" fmla="*/ 1079 h 2218"/>
                <a:gd name="T18" fmla="*/ 262 w 2042"/>
                <a:gd name="T19" fmla="*/ 1167 h 2218"/>
                <a:gd name="T20" fmla="*/ 291 w 2042"/>
                <a:gd name="T21" fmla="*/ 1225 h 2218"/>
                <a:gd name="T22" fmla="*/ 291 w 2042"/>
                <a:gd name="T23" fmla="*/ 1254 h 2218"/>
                <a:gd name="T24" fmla="*/ 350 w 2042"/>
                <a:gd name="T25" fmla="*/ 1400 h 2218"/>
                <a:gd name="T26" fmla="*/ 320 w 2042"/>
                <a:gd name="T27" fmla="*/ 1458 h 2218"/>
                <a:gd name="T28" fmla="*/ 320 w 2042"/>
                <a:gd name="T29" fmla="*/ 1487 h 2218"/>
                <a:gd name="T30" fmla="*/ 291 w 2042"/>
                <a:gd name="T31" fmla="*/ 1633 h 2218"/>
                <a:gd name="T32" fmla="*/ 320 w 2042"/>
                <a:gd name="T33" fmla="*/ 1896 h 2218"/>
                <a:gd name="T34" fmla="*/ 350 w 2042"/>
                <a:gd name="T35" fmla="*/ 2070 h 2218"/>
                <a:gd name="T36" fmla="*/ 350 w 2042"/>
                <a:gd name="T37" fmla="*/ 2100 h 2218"/>
                <a:gd name="T38" fmla="*/ 407 w 2042"/>
                <a:gd name="T39" fmla="*/ 2187 h 2218"/>
                <a:gd name="T40" fmla="*/ 874 w 2042"/>
                <a:gd name="T41" fmla="*/ 2158 h 2218"/>
                <a:gd name="T42" fmla="*/ 1545 w 2042"/>
                <a:gd name="T43" fmla="*/ 2129 h 2218"/>
                <a:gd name="T44" fmla="*/ 1574 w 2042"/>
                <a:gd name="T45" fmla="*/ 2129 h 2218"/>
                <a:gd name="T46" fmla="*/ 1574 w 2042"/>
                <a:gd name="T47" fmla="*/ 2129 h 2218"/>
                <a:gd name="T48" fmla="*/ 1603 w 2042"/>
                <a:gd name="T49" fmla="*/ 2187 h 2218"/>
                <a:gd name="T50" fmla="*/ 1603 w 2042"/>
                <a:gd name="T51" fmla="*/ 2217 h 2218"/>
                <a:gd name="T52" fmla="*/ 1603 w 2042"/>
                <a:gd name="T53" fmla="*/ 2217 h 2218"/>
                <a:gd name="T54" fmla="*/ 1603 w 2042"/>
                <a:gd name="T55" fmla="*/ 2187 h 2218"/>
                <a:gd name="T56" fmla="*/ 1633 w 2042"/>
                <a:gd name="T57" fmla="*/ 2129 h 2218"/>
                <a:gd name="T58" fmla="*/ 1691 w 2042"/>
                <a:gd name="T59" fmla="*/ 2012 h 2218"/>
                <a:gd name="T60" fmla="*/ 1778 w 2042"/>
                <a:gd name="T61" fmla="*/ 2012 h 2218"/>
                <a:gd name="T62" fmla="*/ 1807 w 2042"/>
                <a:gd name="T63" fmla="*/ 2041 h 2218"/>
                <a:gd name="T64" fmla="*/ 1866 w 2042"/>
                <a:gd name="T65" fmla="*/ 2041 h 2218"/>
                <a:gd name="T66" fmla="*/ 1807 w 2042"/>
                <a:gd name="T67" fmla="*/ 1954 h 2218"/>
                <a:gd name="T68" fmla="*/ 1866 w 2042"/>
                <a:gd name="T69" fmla="*/ 1808 h 2218"/>
                <a:gd name="T70" fmla="*/ 1836 w 2042"/>
                <a:gd name="T71" fmla="*/ 1750 h 2218"/>
                <a:gd name="T72" fmla="*/ 1866 w 2042"/>
                <a:gd name="T73" fmla="*/ 1691 h 2218"/>
                <a:gd name="T74" fmla="*/ 1866 w 2042"/>
                <a:gd name="T75" fmla="*/ 1604 h 2218"/>
                <a:gd name="T76" fmla="*/ 1895 w 2042"/>
                <a:gd name="T77" fmla="*/ 1575 h 2218"/>
                <a:gd name="T78" fmla="*/ 1924 w 2042"/>
                <a:gd name="T79" fmla="*/ 1575 h 2218"/>
                <a:gd name="T80" fmla="*/ 1983 w 2042"/>
                <a:gd name="T81" fmla="*/ 1546 h 2218"/>
                <a:gd name="T82" fmla="*/ 1953 w 2042"/>
                <a:gd name="T83" fmla="*/ 1546 h 2218"/>
                <a:gd name="T84" fmla="*/ 1953 w 2042"/>
                <a:gd name="T85" fmla="*/ 1487 h 2218"/>
                <a:gd name="T86" fmla="*/ 2012 w 2042"/>
                <a:gd name="T87" fmla="*/ 1400 h 2218"/>
                <a:gd name="T88" fmla="*/ 2041 w 2042"/>
                <a:gd name="T89" fmla="*/ 1341 h 2218"/>
                <a:gd name="T90" fmla="*/ 1983 w 2042"/>
                <a:gd name="T91" fmla="*/ 1312 h 2218"/>
                <a:gd name="T92" fmla="*/ 1924 w 2042"/>
                <a:gd name="T93" fmla="*/ 1312 h 2218"/>
                <a:gd name="T94" fmla="*/ 1895 w 2042"/>
                <a:gd name="T95" fmla="*/ 1312 h 2218"/>
                <a:gd name="T96" fmla="*/ 1895 w 2042"/>
                <a:gd name="T97" fmla="*/ 1312 h 2218"/>
                <a:gd name="T98" fmla="*/ 1866 w 2042"/>
                <a:gd name="T99" fmla="*/ 1196 h 2218"/>
                <a:gd name="T100" fmla="*/ 1866 w 2042"/>
                <a:gd name="T101" fmla="*/ 1108 h 2218"/>
                <a:gd name="T102" fmla="*/ 1836 w 2042"/>
                <a:gd name="T103" fmla="*/ 1079 h 2218"/>
                <a:gd name="T104" fmla="*/ 1778 w 2042"/>
                <a:gd name="T105" fmla="*/ 1020 h 2218"/>
                <a:gd name="T106" fmla="*/ 1749 w 2042"/>
                <a:gd name="T107" fmla="*/ 991 h 2218"/>
                <a:gd name="T108" fmla="*/ 1720 w 2042"/>
                <a:gd name="T109" fmla="*/ 904 h 2218"/>
                <a:gd name="T110" fmla="*/ 1662 w 2042"/>
                <a:gd name="T111" fmla="*/ 875 h 2218"/>
                <a:gd name="T112" fmla="*/ 1603 w 2042"/>
                <a:gd name="T113" fmla="*/ 817 h 2218"/>
                <a:gd name="T114" fmla="*/ 1486 w 2042"/>
                <a:gd name="T115" fmla="*/ 700 h 2218"/>
                <a:gd name="T116" fmla="*/ 1224 w 2042"/>
                <a:gd name="T117" fmla="*/ 467 h 2218"/>
                <a:gd name="T118" fmla="*/ 1078 w 2042"/>
                <a:gd name="T119" fmla="*/ 291 h 2218"/>
                <a:gd name="T120" fmla="*/ 1050 w 2042"/>
                <a:gd name="T121" fmla="*/ 262 h 2218"/>
                <a:gd name="T122" fmla="*/ 874 w 2042"/>
                <a:gd name="T123" fmla="*/ 58 h 2218"/>
                <a:gd name="T124" fmla="*/ 933 w 2042"/>
                <a:gd name="T125" fmla="*/ 0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2" h="2218">
                  <a:moveTo>
                    <a:pt x="933" y="0"/>
                  </a:moveTo>
                  <a:lnTo>
                    <a:pt x="933" y="0"/>
                  </a:lnTo>
                  <a:lnTo>
                    <a:pt x="933" y="0"/>
                  </a:lnTo>
                  <a:cubicBezTo>
                    <a:pt x="728" y="29"/>
                    <a:pt x="553" y="29"/>
                    <a:pt x="350" y="58"/>
                  </a:cubicBezTo>
                  <a:cubicBezTo>
                    <a:pt x="233" y="58"/>
                    <a:pt x="116" y="87"/>
                    <a:pt x="0" y="87"/>
                  </a:cubicBezTo>
                  <a:cubicBezTo>
                    <a:pt x="29" y="262"/>
                    <a:pt x="57" y="437"/>
                    <a:pt x="86" y="584"/>
                  </a:cubicBezTo>
                  <a:cubicBezTo>
                    <a:pt x="116" y="670"/>
                    <a:pt x="116" y="758"/>
                    <a:pt x="145" y="817"/>
                  </a:cubicBezTo>
                  <a:cubicBezTo>
                    <a:pt x="145" y="846"/>
                    <a:pt x="145" y="875"/>
                    <a:pt x="145" y="904"/>
                  </a:cubicBezTo>
                  <a:cubicBezTo>
                    <a:pt x="174" y="962"/>
                    <a:pt x="174" y="1020"/>
                    <a:pt x="203" y="1079"/>
                  </a:cubicBezTo>
                  <a:cubicBezTo>
                    <a:pt x="203" y="1108"/>
                    <a:pt x="233" y="1137"/>
                    <a:pt x="262" y="1167"/>
                  </a:cubicBezTo>
                  <a:cubicBezTo>
                    <a:pt x="262" y="1196"/>
                    <a:pt x="262" y="1196"/>
                    <a:pt x="291" y="1225"/>
                  </a:cubicBezTo>
                  <a:lnTo>
                    <a:pt x="291" y="1254"/>
                  </a:lnTo>
                  <a:cubicBezTo>
                    <a:pt x="320" y="1312"/>
                    <a:pt x="350" y="1341"/>
                    <a:pt x="350" y="1400"/>
                  </a:cubicBezTo>
                  <a:cubicBezTo>
                    <a:pt x="350" y="1429"/>
                    <a:pt x="350" y="1429"/>
                    <a:pt x="320" y="1458"/>
                  </a:cubicBezTo>
                  <a:cubicBezTo>
                    <a:pt x="320" y="1458"/>
                    <a:pt x="320" y="1458"/>
                    <a:pt x="320" y="1487"/>
                  </a:cubicBezTo>
                  <a:cubicBezTo>
                    <a:pt x="291" y="1517"/>
                    <a:pt x="291" y="1575"/>
                    <a:pt x="291" y="1633"/>
                  </a:cubicBezTo>
                  <a:cubicBezTo>
                    <a:pt x="262" y="1720"/>
                    <a:pt x="291" y="1808"/>
                    <a:pt x="320" y="1896"/>
                  </a:cubicBezTo>
                  <a:cubicBezTo>
                    <a:pt x="320" y="1954"/>
                    <a:pt x="350" y="2012"/>
                    <a:pt x="350" y="2070"/>
                  </a:cubicBezTo>
                  <a:lnTo>
                    <a:pt x="350" y="2100"/>
                  </a:lnTo>
                  <a:cubicBezTo>
                    <a:pt x="378" y="2129"/>
                    <a:pt x="407" y="2158"/>
                    <a:pt x="407" y="2187"/>
                  </a:cubicBezTo>
                  <a:cubicBezTo>
                    <a:pt x="583" y="2158"/>
                    <a:pt x="728" y="2158"/>
                    <a:pt x="874" y="2158"/>
                  </a:cubicBezTo>
                  <a:cubicBezTo>
                    <a:pt x="1107" y="2129"/>
                    <a:pt x="1312" y="2129"/>
                    <a:pt x="1545" y="2129"/>
                  </a:cubicBezTo>
                  <a:cubicBezTo>
                    <a:pt x="1574" y="2129"/>
                    <a:pt x="1574" y="2129"/>
                    <a:pt x="1574" y="2129"/>
                  </a:cubicBezTo>
                  <a:lnTo>
                    <a:pt x="1574" y="2129"/>
                  </a:lnTo>
                  <a:cubicBezTo>
                    <a:pt x="1574" y="2158"/>
                    <a:pt x="1574" y="2187"/>
                    <a:pt x="1603" y="2187"/>
                  </a:cubicBezTo>
                  <a:cubicBezTo>
                    <a:pt x="1603" y="2217"/>
                    <a:pt x="1603" y="2217"/>
                    <a:pt x="1603" y="2217"/>
                  </a:cubicBezTo>
                  <a:lnTo>
                    <a:pt x="1603" y="2217"/>
                  </a:lnTo>
                  <a:cubicBezTo>
                    <a:pt x="1603" y="2187"/>
                    <a:pt x="1603" y="2187"/>
                    <a:pt x="1603" y="2187"/>
                  </a:cubicBezTo>
                  <a:cubicBezTo>
                    <a:pt x="1603" y="2187"/>
                    <a:pt x="1633" y="2158"/>
                    <a:pt x="1633" y="2129"/>
                  </a:cubicBezTo>
                  <a:cubicBezTo>
                    <a:pt x="1633" y="2070"/>
                    <a:pt x="1633" y="2012"/>
                    <a:pt x="1691" y="2012"/>
                  </a:cubicBezTo>
                  <a:cubicBezTo>
                    <a:pt x="1691" y="1983"/>
                    <a:pt x="1749" y="2012"/>
                    <a:pt x="1778" y="2012"/>
                  </a:cubicBezTo>
                  <a:cubicBezTo>
                    <a:pt x="1778" y="2041"/>
                    <a:pt x="1778" y="2041"/>
                    <a:pt x="1807" y="2041"/>
                  </a:cubicBezTo>
                  <a:cubicBezTo>
                    <a:pt x="1807" y="2041"/>
                    <a:pt x="1836" y="2041"/>
                    <a:pt x="1866" y="2041"/>
                  </a:cubicBezTo>
                  <a:cubicBezTo>
                    <a:pt x="1836" y="2012"/>
                    <a:pt x="1807" y="1983"/>
                    <a:pt x="1807" y="1954"/>
                  </a:cubicBezTo>
                  <a:cubicBezTo>
                    <a:pt x="1807" y="1925"/>
                    <a:pt x="1836" y="1867"/>
                    <a:pt x="1866" y="1808"/>
                  </a:cubicBezTo>
                  <a:cubicBezTo>
                    <a:pt x="1836" y="1808"/>
                    <a:pt x="1836" y="1779"/>
                    <a:pt x="1836" y="1750"/>
                  </a:cubicBezTo>
                  <a:cubicBezTo>
                    <a:pt x="1836" y="1720"/>
                    <a:pt x="1866" y="1720"/>
                    <a:pt x="1866" y="1691"/>
                  </a:cubicBezTo>
                  <a:cubicBezTo>
                    <a:pt x="1866" y="1691"/>
                    <a:pt x="1866" y="1633"/>
                    <a:pt x="1866" y="1604"/>
                  </a:cubicBezTo>
                  <a:cubicBezTo>
                    <a:pt x="1895" y="1575"/>
                    <a:pt x="1895" y="1575"/>
                    <a:pt x="1895" y="1575"/>
                  </a:cubicBezTo>
                  <a:lnTo>
                    <a:pt x="1924" y="1575"/>
                  </a:lnTo>
                  <a:cubicBezTo>
                    <a:pt x="1953" y="1575"/>
                    <a:pt x="1953" y="1546"/>
                    <a:pt x="1983" y="1546"/>
                  </a:cubicBezTo>
                  <a:cubicBezTo>
                    <a:pt x="1953" y="1546"/>
                    <a:pt x="1953" y="1546"/>
                    <a:pt x="1953" y="1546"/>
                  </a:cubicBezTo>
                  <a:cubicBezTo>
                    <a:pt x="1953" y="1517"/>
                    <a:pt x="1953" y="1487"/>
                    <a:pt x="1953" y="1487"/>
                  </a:cubicBezTo>
                  <a:cubicBezTo>
                    <a:pt x="1953" y="1458"/>
                    <a:pt x="1983" y="1429"/>
                    <a:pt x="2012" y="1400"/>
                  </a:cubicBezTo>
                  <a:cubicBezTo>
                    <a:pt x="2012" y="1370"/>
                    <a:pt x="2041" y="1370"/>
                    <a:pt x="2041" y="1341"/>
                  </a:cubicBezTo>
                  <a:cubicBezTo>
                    <a:pt x="2041" y="1312"/>
                    <a:pt x="2012" y="1312"/>
                    <a:pt x="1983" y="1312"/>
                  </a:cubicBezTo>
                  <a:cubicBezTo>
                    <a:pt x="1983" y="1312"/>
                    <a:pt x="1953" y="1312"/>
                    <a:pt x="1924" y="1312"/>
                  </a:cubicBezTo>
                  <a:cubicBezTo>
                    <a:pt x="1895" y="1312"/>
                    <a:pt x="1895" y="1312"/>
                    <a:pt x="1895" y="1312"/>
                  </a:cubicBezTo>
                  <a:lnTo>
                    <a:pt x="1895" y="1312"/>
                  </a:lnTo>
                  <a:cubicBezTo>
                    <a:pt x="1895" y="1283"/>
                    <a:pt x="1895" y="1225"/>
                    <a:pt x="1866" y="1196"/>
                  </a:cubicBezTo>
                  <a:cubicBezTo>
                    <a:pt x="1866" y="1167"/>
                    <a:pt x="1866" y="1137"/>
                    <a:pt x="1866" y="1108"/>
                  </a:cubicBezTo>
                  <a:cubicBezTo>
                    <a:pt x="1866" y="1079"/>
                    <a:pt x="1836" y="1079"/>
                    <a:pt x="1836" y="1079"/>
                  </a:cubicBezTo>
                  <a:cubicBezTo>
                    <a:pt x="1807" y="1050"/>
                    <a:pt x="1807" y="1050"/>
                    <a:pt x="1778" y="1020"/>
                  </a:cubicBezTo>
                  <a:cubicBezTo>
                    <a:pt x="1778" y="1020"/>
                    <a:pt x="1778" y="991"/>
                    <a:pt x="1749" y="991"/>
                  </a:cubicBezTo>
                  <a:cubicBezTo>
                    <a:pt x="1749" y="962"/>
                    <a:pt x="1720" y="933"/>
                    <a:pt x="1720" y="904"/>
                  </a:cubicBezTo>
                  <a:cubicBezTo>
                    <a:pt x="1691" y="904"/>
                    <a:pt x="1662" y="875"/>
                    <a:pt x="1662" y="875"/>
                  </a:cubicBezTo>
                  <a:cubicBezTo>
                    <a:pt x="1633" y="846"/>
                    <a:pt x="1603" y="846"/>
                    <a:pt x="1603" y="817"/>
                  </a:cubicBezTo>
                  <a:cubicBezTo>
                    <a:pt x="1545" y="787"/>
                    <a:pt x="1516" y="758"/>
                    <a:pt x="1486" y="700"/>
                  </a:cubicBezTo>
                  <a:cubicBezTo>
                    <a:pt x="1399" y="612"/>
                    <a:pt x="1312" y="554"/>
                    <a:pt x="1224" y="467"/>
                  </a:cubicBezTo>
                  <a:cubicBezTo>
                    <a:pt x="1195" y="408"/>
                    <a:pt x="1136" y="350"/>
                    <a:pt x="1078" y="291"/>
                  </a:cubicBezTo>
                  <a:cubicBezTo>
                    <a:pt x="1078" y="291"/>
                    <a:pt x="1050" y="291"/>
                    <a:pt x="1050" y="262"/>
                  </a:cubicBezTo>
                  <a:cubicBezTo>
                    <a:pt x="962" y="175"/>
                    <a:pt x="874" y="117"/>
                    <a:pt x="874" y="58"/>
                  </a:cubicBezTo>
                  <a:cubicBezTo>
                    <a:pt x="874" y="29"/>
                    <a:pt x="903" y="29"/>
                    <a:pt x="93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1" name="Freeform 699">
              <a:extLst>
                <a:ext uri="{FF2B5EF4-FFF2-40B4-BE49-F238E27FC236}">
                  <a16:creationId xmlns:a16="http://schemas.microsoft.com/office/drawing/2014/main" id="{13D58651-4CE0-4FB8-9095-14074C709D7D}"/>
                </a:ext>
              </a:extLst>
            </p:cNvPr>
            <p:cNvSpPr>
              <a:spLocks noChangeArrowheads="1"/>
            </p:cNvSpPr>
            <p:nvPr/>
          </p:nvSpPr>
          <p:spPr bwMode="auto">
            <a:xfrm>
              <a:off x="8708780" y="5008761"/>
              <a:ext cx="21200" cy="11328"/>
            </a:xfrm>
            <a:custGeom>
              <a:avLst/>
              <a:gdLst>
                <a:gd name="T0" fmla="*/ 58 w 59"/>
                <a:gd name="T1" fmla="*/ 29 h 30"/>
                <a:gd name="T2" fmla="*/ 58 w 59"/>
                <a:gd name="T3" fmla="*/ 29 h 30"/>
                <a:gd name="T4" fmla="*/ 29 w 59"/>
                <a:gd name="T5" fmla="*/ 0 h 30"/>
                <a:gd name="T6" fmla="*/ 0 w 59"/>
                <a:gd name="T7" fmla="*/ 0 h 30"/>
                <a:gd name="T8" fmla="*/ 0 w 59"/>
                <a:gd name="T9" fmla="*/ 0 h 30"/>
                <a:gd name="T10" fmla="*/ 29 w 59"/>
                <a:gd name="T11" fmla="*/ 0 h 30"/>
                <a:gd name="T12" fmla="*/ 58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58" y="29"/>
                  </a:moveTo>
                  <a:lnTo>
                    <a:pt x="58" y="29"/>
                  </a:lnTo>
                  <a:cubicBezTo>
                    <a:pt x="58" y="29"/>
                    <a:pt x="29" y="29"/>
                    <a:pt x="29" y="0"/>
                  </a:cubicBezTo>
                  <a:cubicBezTo>
                    <a:pt x="0" y="0"/>
                    <a:pt x="0" y="0"/>
                    <a:pt x="0" y="0"/>
                  </a:cubicBezTo>
                  <a:lnTo>
                    <a:pt x="0" y="0"/>
                  </a:lnTo>
                  <a:cubicBezTo>
                    <a:pt x="0" y="0"/>
                    <a:pt x="0" y="0"/>
                    <a:pt x="29" y="0"/>
                  </a:cubicBezTo>
                  <a:cubicBezTo>
                    <a:pt x="29" y="29"/>
                    <a:pt x="58"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2" name="Freeform 700">
              <a:extLst>
                <a:ext uri="{FF2B5EF4-FFF2-40B4-BE49-F238E27FC236}">
                  <a16:creationId xmlns:a16="http://schemas.microsoft.com/office/drawing/2014/main" id="{05584666-E8A0-4C0E-B725-3F8698EC9173}"/>
                </a:ext>
              </a:extLst>
            </p:cNvPr>
            <p:cNvSpPr>
              <a:spLocks noChangeArrowheads="1"/>
            </p:cNvSpPr>
            <p:nvPr/>
          </p:nvSpPr>
          <p:spPr bwMode="auto">
            <a:xfrm>
              <a:off x="8666378" y="4976394"/>
              <a:ext cx="32617" cy="11328"/>
            </a:xfrm>
            <a:custGeom>
              <a:avLst/>
              <a:gdLst>
                <a:gd name="T0" fmla="*/ 29 w 88"/>
                <a:gd name="T1" fmla="*/ 29 h 30"/>
                <a:gd name="T2" fmla="*/ 29 w 88"/>
                <a:gd name="T3" fmla="*/ 29 h 30"/>
                <a:gd name="T4" fmla="*/ 58 w 88"/>
                <a:gd name="T5" fmla="*/ 0 h 30"/>
                <a:gd name="T6" fmla="*/ 58 w 88"/>
                <a:gd name="T7" fmla="*/ 0 h 30"/>
                <a:gd name="T8" fmla="*/ 87 w 88"/>
                <a:gd name="T9" fmla="*/ 0 h 30"/>
                <a:gd name="T10" fmla="*/ 87 w 88"/>
                <a:gd name="T11" fmla="*/ 0 h 30"/>
                <a:gd name="T12" fmla="*/ 87 w 88"/>
                <a:gd name="T13" fmla="*/ 0 h 30"/>
                <a:gd name="T14" fmla="*/ 58 w 88"/>
                <a:gd name="T15" fmla="*/ 0 h 30"/>
                <a:gd name="T16" fmla="*/ 58 w 88"/>
                <a:gd name="T17" fmla="*/ 0 h 30"/>
                <a:gd name="T18" fmla="*/ 29 w 88"/>
                <a:gd name="T19" fmla="*/ 29 h 30"/>
                <a:gd name="T20" fmla="*/ 0 w 88"/>
                <a:gd name="T21" fmla="*/ 29 h 30"/>
                <a:gd name="T22" fmla="*/ 0 w 88"/>
                <a:gd name="T23" fmla="*/ 0 h 30"/>
                <a:gd name="T24" fmla="*/ 0 w 88"/>
                <a:gd name="T25" fmla="*/ 29 h 30"/>
                <a:gd name="T26" fmla="*/ 29 w 88"/>
                <a:gd name="T2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30">
                  <a:moveTo>
                    <a:pt x="29" y="29"/>
                  </a:moveTo>
                  <a:lnTo>
                    <a:pt x="29" y="29"/>
                  </a:lnTo>
                  <a:cubicBezTo>
                    <a:pt x="58" y="29"/>
                    <a:pt x="58" y="29"/>
                    <a:pt x="58" y="0"/>
                  </a:cubicBezTo>
                  <a:lnTo>
                    <a:pt x="58" y="0"/>
                  </a:lnTo>
                  <a:cubicBezTo>
                    <a:pt x="87" y="0"/>
                    <a:pt x="87" y="0"/>
                    <a:pt x="87" y="0"/>
                  </a:cubicBezTo>
                  <a:lnTo>
                    <a:pt x="87" y="0"/>
                  </a:lnTo>
                  <a:lnTo>
                    <a:pt x="87" y="0"/>
                  </a:lnTo>
                  <a:cubicBezTo>
                    <a:pt x="58" y="0"/>
                    <a:pt x="58" y="0"/>
                    <a:pt x="58" y="0"/>
                  </a:cubicBezTo>
                  <a:lnTo>
                    <a:pt x="58" y="0"/>
                  </a:lnTo>
                  <a:cubicBezTo>
                    <a:pt x="58" y="29"/>
                    <a:pt x="58" y="29"/>
                    <a:pt x="29" y="29"/>
                  </a:cubicBezTo>
                  <a:lnTo>
                    <a:pt x="0" y="29"/>
                  </a:lnTo>
                  <a:cubicBezTo>
                    <a:pt x="0" y="0"/>
                    <a:pt x="0" y="0"/>
                    <a:pt x="0" y="0"/>
                  </a:cubicBezTo>
                  <a:cubicBezTo>
                    <a:pt x="0" y="0"/>
                    <a:pt x="0" y="0"/>
                    <a:pt x="0" y="29"/>
                  </a:cubicBez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3" name="Freeform 701">
              <a:extLst>
                <a:ext uri="{FF2B5EF4-FFF2-40B4-BE49-F238E27FC236}">
                  <a16:creationId xmlns:a16="http://schemas.microsoft.com/office/drawing/2014/main" id="{75FE5E16-2537-431C-8A13-00245F4B2D28}"/>
                </a:ext>
              </a:extLst>
            </p:cNvPr>
            <p:cNvSpPr>
              <a:spLocks noChangeArrowheads="1"/>
            </p:cNvSpPr>
            <p:nvPr/>
          </p:nvSpPr>
          <p:spPr bwMode="auto">
            <a:xfrm>
              <a:off x="8666378" y="4913279"/>
              <a:ext cx="53817" cy="21039"/>
            </a:xfrm>
            <a:custGeom>
              <a:avLst/>
              <a:gdLst>
                <a:gd name="T0" fmla="*/ 0 w 146"/>
                <a:gd name="T1" fmla="*/ 0 h 59"/>
                <a:gd name="T2" fmla="*/ 0 w 146"/>
                <a:gd name="T3" fmla="*/ 0 h 59"/>
                <a:gd name="T4" fmla="*/ 0 w 146"/>
                <a:gd name="T5" fmla="*/ 0 h 59"/>
                <a:gd name="T6" fmla="*/ 145 w 146"/>
                <a:gd name="T7" fmla="*/ 58 h 59"/>
                <a:gd name="T8" fmla="*/ 116 w 146"/>
                <a:gd name="T9" fmla="*/ 58 h 59"/>
                <a:gd name="T10" fmla="*/ 116 w 146"/>
                <a:gd name="T11" fmla="*/ 58 h 59"/>
                <a:gd name="T12" fmla="*/ 116 w 146"/>
                <a:gd name="T13" fmla="*/ 58 h 59"/>
                <a:gd name="T14" fmla="*/ 145 w 146"/>
                <a:gd name="T15" fmla="*/ 58 h 59"/>
                <a:gd name="T16" fmla="*/ 0 w 146"/>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59">
                  <a:moveTo>
                    <a:pt x="0" y="0"/>
                  </a:moveTo>
                  <a:lnTo>
                    <a:pt x="0" y="0"/>
                  </a:lnTo>
                  <a:lnTo>
                    <a:pt x="0" y="0"/>
                  </a:lnTo>
                  <a:cubicBezTo>
                    <a:pt x="58" y="29"/>
                    <a:pt x="87" y="58"/>
                    <a:pt x="145" y="58"/>
                  </a:cubicBezTo>
                  <a:cubicBezTo>
                    <a:pt x="116" y="58"/>
                    <a:pt x="116" y="58"/>
                    <a:pt x="116" y="58"/>
                  </a:cubicBezTo>
                  <a:lnTo>
                    <a:pt x="116" y="58"/>
                  </a:lnTo>
                  <a:lnTo>
                    <a:pt x="116" y="58"/>
                  </a:lnTo>
                  <a:cubicBezTo>
                    <a:pt x="145" y="58"/>
                    <a:pt x="145" y="58"/>
                    <a:pt x="145" y="58"/>
                  </a:cubicBezTo>
                  <a:cubicBezTo>
                    <a:pt x="87" y="58"/>
                    <a:pt x="58"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4" name="Freeform 702">
              <a:extLst>
                <a:ext uri="{FF2B5EF4-FFF2-40B4-BE49-F238E27FC236}">
                  <a16:creationId xmlns:a16="http://schemas.microsoft.com/office/drawing/2014/main" id="{F6F646E0-2FB8-425E-882E-F866A9882D9F}"/>
                </a:ext>
              </a:extLst>
            </p:cNvPr>
            <p:cNvSpPr>
              <a:spLocks noChangeArrowheads="1"/>
            </p:cNvSpPr>
            <p:nvPr/>
          </p:nvSpPr>
          <p:spPr bwMode="auto">
            <a:xfrm>
              <a:off x="8687579" y="493431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5" name="Freeform 703">
              <a:extLst>
                <a:ext uri="{FF2B5EF4-FFF2-40B4-BE49-F238E27FC236}">
                  <a16:creationId xmlns:a16="http://schemas.microsoft.com/office/drawing/2014/main" id="{0CF77CFA-1D21-45EF-8375-89AC1F843524}"/>
                </a:ext>
              </a:extLst>
            </p:cNvPr>
            <p:cNvSpPr>
              <a:spLocks noChangeArrowheads="1"/>
            </p:cNvSpPr>
            <p:nvPr/>
          </p:nvSpPr>
          <p:spPr bwMode="auto">
            <a:xfrm>
              <a:off x="8708780" y="4945646"/>
              <a:ext cx="44032" cy="43695"/>
            </a:xfrm>
            <a:custGeom>
              <a:avLst/>
              <a:gdLst>
                <a:gd name="T0" fmla="*/ 0 w 118"/>
                <a:gd name="T1" fmla="*/ 58 h 117"/>
                <a:gd name="T2" fmla="*/ 0 w 118"/>
                <a:gd name="T3" fmla="*/ 58 h 117"/>
                <a:gd name="T4" fmla="*/ 0 w 118"/>
                <a:gd name="T5" fmla="*/ 116 h 117"/>
                <a:gd name="T6" fmla="*/ 0 w 118"/>
                <a:gd name="T7" fmla="*/ 116 h 117"/>
                <a:gd name="T8" fmla="*/ 0 w 118"/>
                <a:gd name="T9" fmla="*/ 58 h 117"/>
                <a:gd name="T10" fmla="*/ 58 w 118"/>
                <a:gd name="T11" fmla="*/ 0 h 117"/>
                <a:gd name="T12" fmla="*/ 58 w 118"/>
                <a:gd name="T13" fmla="*/ 0 h 117"/>
                <a:gd name="T14" fmla="*/ 58 w 118"/>
                <a:gd name="T15" fmla="*/ 0 h 117"/>
                <a:gd name="T16" fmla="*/ 117 w 118"/>
                <a:gd name="T17" fmla="*/ 0 h 117"/>
                <a:gd name="T18" fmla="*/ 58 w 118"/>
                <a:gd name="T19" fmla="*/ 0 h 117"/>
                <a:gd name="T20" fmla="*/ 58 w 118"/>
                <a:gd name="T21" fmla="*/ 0 h 117"/>
                <a:gd name="T22" fmla="*/ 58 w 118"/>
                <a:gd name="T23" fmla="*/ 0 h 117"/>
                <a:gd name="T24" fmla="*/ 0 w 118"/>
                <a:gd name="T25" fmla="*/ 5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17">
                  <a:moveTo>
                    <a:pt x="0" y="58"/>
                  </a:moveTo>
                  <a:lnTo>
                    <a:pt x="0" y="58"/>
                  </a:lnTo>
                  <a:cubicBezTo>
                    <a:pt x="0" y="87"/>
                    <a:pt x="0" y="87"/>
                    <a:pt x="0" y="116"/>
                  </a:cubicBezTo>
                  <a:lnTo>
                    <a:pt x="0" y="116"/>
                  </a:lnTo>
                  <a:cubicBezTo>
                    <a:pt x="0" y="87"/>
                    <a:pt x="0" y="87"/>
                    <a:pt x="0" y="58"/>
                  </a:cubicBezTo>
                  <a:cubicBezTo>
                    <a:pt x="29" y="29"/>
                    <a:pt x="29" y="0"/>
                    <a:pt x="58" y="0"/>
                  </a:cubicBezTo>
                  <a:lnTo>
                    <a:pt x="58" y="0"/>
                  </a:lnTo>
                  <a:lnTo>
                    <a:pt x="58" y="0"/>
                  </a:lnTo>
                  <a:cubicBezTo>
                    <a:pt x="87" y="0"/>
                    <a:pt x="117" y="0"/>
                    <a:pt x="117" y="0"/>
                  </a:cubicBezTo>
                  <a:cubicBezTo>
                    <a:pt x="117" y="0"/>
                    <a:pt x="87" y="0"/>
                    <a:pt x="58" y="0"/>
                  </a:cubicBezTo>
                  <a:lnTo>
                    <a:pt x="58" y="0"/>
                  </a:lnTo>
                  <a:lnTo>
                    <a:pt x="58" y="0"/>
                  </a:lnTo>
                  <a:cubicBezTo>
                    <a:pt x="29" y="0"/>
                    <a:pt x="29"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6" name="Freeform 704">
              <a:extLst>
                <a:ext uri="{FF2B5EF4-FFF2-40B4-BE49-F238E27FC236}">
                  <a16:creationId xmlns:a16="http://schemas.microsoft.com/office/drawing/2014/main" id="{2C017D25-9DF9-4C59-86A2-A1E448674727}"/>
                </a:ext>
              </a:extLst>
            </p:cNvPr>
            <p:cNvSpPr>
              <a:spLocks noChangeArrowheads="1"/>
            </p:cNvSpPr>
            <p:nvPr/>
          </p:nvSpPr>
          <p:spPr bwMode="auto">
            <a:xfrm>
              <a:off x="8610930" y="3649372"/>
              <a:ext cx="1229657" cy="364121"/>
            </a:xfrm>
            <a:custGeom>
              <a:avLst/>
              <a:gdLst>
                <a:gd name="T0" fmla="*/ 2100 w 3326"/>
                <a:gd name="T1" fmla="*/ 904 h 993"/>
                <a:gd name="T2" fmla="*/ 2100 w 3326"/>
                <a:gd name="T3" fmla="*/ 904 h 993"/>
                <a:gd name="T4" fmla="*/ 2188 w 3326"/>
                <a:gd name="T5" fmla="*/ 875 h 993"/>
                <a:gd name="T6" fmla="*/ 2217 w 3326"/>
                <a:gd name="T7" fmla="*/ 875 h 993"/>
                <a:gd name="T8" fmla="*/ 2247 w 3326"/>
                <a:gd name="T9" fmla="*/ 845 h 993"/>
                <a:gd name="T10" fmla="*/ 2247 w 3326"/>
                <a:gd name="T11" fmla="*/ 816 h 993"/>
                <a:gd name="T12" fmla="*/ 2275 w 3326"/>
                <a:gd name="T13" fmla="*/ 816 h 993"/>
                <a:gd name="T14" fmla="*/ 2275 w 3326"/>
                <a:gd name="T15" fmla="*/ 787 h 993"/>
                <a:gd name="T16" fmla="*/ 2333 w 3326"/>
                <a:gd name="T17" fmla="*/ 759 h 993"/>
                <a:gd name="T18" fmla="*/ 2363 w 3326"/>
                <a:gd name="T19" fmla="*/ 759 h 993"/>
                <a:gd name="T20" fmla="*/ 2392 w 3326"/>
                <a:gd name="T21" fmla="*/ 759 h 993"/>
                <a:gd name="T22" fmla="*/ 2421 w 3326"/>
                <a:gd name="T23" fmla="*/ 729 h 993"/>
                <a:gd name="T24" fmla="*/ 2450 w 3326"/>
                <a:gd name="T25" fmla="*/ 700 h 993"/>
                <a:gd name="T26" fmla="*/ 2538 w 3326"/>
                <a:gd name="T27" fmla="*/ 671 h 993"/>
                <a:gd name="T28" fmla="*/ 2597 w 3326"/>
                <a:gd name="T29" fmla="*/ 642 h 993"/>
                <a:gd name="T30" fmla="*/ 2771 w 3326"/>
                <a:gd name="T31" fmla="*/ 525 h 993"/>
                <a:gd name="T32" fmla="*/ 2947 w 3326"/>
                <a:gd name="T33" fmla="*/ 379 h 993"/>
                <a:gd name="T34" fmla="*/ 3121 w 3326"/>
                <a:gd name="T35" fmla="*/ 233 h 993"/>
                <a:gd name="T36" fmla="*/ 3150 w 3326"/>
                <a:gd name="T37" fmla="*/ 204 h 993"/>
                <a:gd name="T38" fmla="*/ 3238 w 3326"/>
                <a:gd name="T39" fmla="*/ 116 h 993"/>
                <a:gd name="T40" fmla="*/ 3296 w 3326"/>
                <a:gd name="T41" fmla="*/ 87 h 993"/>
                <a:gd name="T42" fmla="*/ 3325 w 3326"/>
                <a:gd name="T43" fmla="*/ 0 h 993"/>
                <a:gd name="T44" fmla="*/ 3325 w 3326"/>
                <a:gd name="T45" fmla="*/ 0 h 993"/>
                <a:gd name="T46" fmla="*/ 730 w 3326"/>
                <a:gd name="T47" fmla="*/ 204 h 993"/>
                <a:gd name="T48" fmla="*/ 730 w 3326"/>
                <a:gd name="T49" fmla="*/ 233 h 993"/>
                <a:gd name="T50" fmla="*/ 759 w 3326"/>
                <a:gd name="T51" fmla="*/ 262 h 993"/>
                <a:gd name="T52" fmla="*/ 759 w 3326"/>
                <a:gd name="T53" fmla="*/ 291 h 993"/>
                <a:gd name="T54" fmla="*/ 730 w 3326"/>
                <a:gd name="T55" fmla="*/ 291 h 993"/>
                <a:gd name="T56" fmla="*/ 467 w 3326"/>
                <a:gd name="T57" fmla="*/ 291 h 993"/>
                <a:gd name="T58" fmla="*/ 176 w 3326"/>
                <a:gd name="T59" fmla="*/ 321 h 993"/>
                <a:gd name="T60" fmla="*/ 176 w 3326"/>
                <a:gd name="T61" fmla="*/ 350 h 993"/>
                <a:gd name="T62" fmla="*/ 176 w 3326"/>
                <a:gd name="T63" fmla="*/ 409 h 993"/>
                <a:gd name="T64" fmla="*/ 147 w 3326"/>
                <a:gd name="T65" fmla="*/ 466 h 993"/>
                <a:gd name="T66" fmla="*/ 147 w 3326"/>
                <a:gd name="T67" fmla="*/ 525 h 993"/>
                <a:gd name="T68" fmla="*/ 147 w 3326"/>
                <a:gd name="T69" fmla="*/ 554 h 993"/>
                <a:gd name="T70" fmla="*/ 147 w 3326"/>
                <a:gd name="T71" fmla="*/ 612 h 993"/>
                <a:gd name="T72" fmla="*/ 117 w 3326"/>
                <a:gd name="T73" fmla="*/ 642 h 993"/>
                <a:gd name="T74" fmla="*/ 117 w 3326"/>
                <a:gd name="T75" fmla="*/ 671 h 993"/>
                <a:gd name="T76" fmla="*/ 88 w 3326"/>
                <a:gd name="T77" fmla="*/ 729 h 993"/>
                <a:gd name="T78" fmla="*/ 88 w 3326"/>
                <a:gd name="T79" fmla="*/ 729 h 993"/>
                <a:gd name="T80" fmla="*/ 30 w 3326"/>
                <a:gd name="T81" fmla="*/ 845 h 993"/>
                <a:gd name="T82" fmla="*/ 0 w 3326"/>
                <a:gd name="T83" fmla="*/ 904 h 993"/>
                <a:gd name="T84" fmla="*/ 0 w 3326"/>
                <a:gd name="T85" fmla="*/ 933 h 993"/>
                <a:gd name="T86" fmla="*/ 0 w 3326"/>
                <a:gd name="T87" fmla="*/ 992 h 993"/>
                <a:gd name="T88" fmla="*/ 380 w 3326"/>
                <a:gd name="T89" fmla="*/ 992 h 993"/>
                <a:gd name="T90" fmla="*/ 2042 w 3326"/>
                <a:gd name="T91" fmla="*/ 904 h 993"/>
                <a:gd name="T92" fmla="*/ 2100 w 3326"/>
                <a:gd name="T93" fmla="*/ 90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26" h="993">
                  <a:moveTo>
                    <a:pt x="2100" y="904"/>
                  </a:moveTo>
                  <a:lnTo>
                    <a:pt x="2100" y="904"/>
                  </a:lnTo>
                  <a:cubicBezTo>
                    <a:pt x="2130" y="904"/>
                    <a:pt x="2188" y="904"/>
                    <a:pt x="2188" y="875"/>
                  </a:cubicBezTo>
                  <a:cubicBezTo>
                    <a:pt x="2217" y="875"/>
                    <a:pt x="2217" y="875"/>
                    <a:pt x="2217" y="875"/>
                  </a:cubicBezTo>
                  <a:cubicBezTo>
                    <a:pt x="2217" y="845"/>
                    <a:pt x="2247" y="845"/>
                    <a:pt x="2247" y="845"/>
                  </a:cubicBezTo>
                  <a:cubicBezTo>
                    <a:pt x="2247" y="845"/>
                    <a:pt x="2247" y="845"/>
                    <a:pt x="2247" y="816"/>
                  </a:cubicBezTo>
                  <a:cubicBezTo>
                    <a:pt x="2275" y="816"/>
                    <a:pt x="2275" y="816"/>
                    <a:pt x="2275" y="816"/>
                  </a:cubicBezTo>
                  <a:cubicBezTo>
                    <a:pt x="2275" y="816"/>
                    <a:pt x="2275" y="816"/>
                    <a:pt x="2275" y="787"/>
                  </a:cubicBezTo>
                  <a:cubicBezTo>
                    <a:pt x="2304" y="787"/>
                    <a:pt x="2304" y="787"/>
                    <a:pt x="2333" y="759"/>
                  </a:cubicBezTo>
                  <a:lnTo>
                    <a:pt x="2363" y="759"/>
                  </a:lnTo>
                  <a:lnTo>
                    <a:pt x="2392" y="759"/>
                  </a:lnTo>
                  <a:cubicBezTo>
                    <a:pt x="2392" y="729"/>
                    <a:pt x="2392" y="729"/>
                    <a:pt x="2421" y="729"/>
                  </a:cubicBezTo>
                  <a:cubicBezTo>
                    <a:pt x="2421" y="700"/>
                    <a:pt x="2450" y="700"/>
                    <a:pt x="2450" y="700"/>
                  </a:cubicBezTo>
                  <a:cubicBezTo>
                    <a:pt x="2480" y="671"/>
                    <a:pt x="2509" y="671"/>
                    <a:pt x="2538" y="671"/>
                  </a:cubicBezTo>
                  <a:cubicBezTo>
                    <a:pt x="2567" y="642"/>
                    <a:pt x="2567" y="642"/>
                    <a:pt x="2597" y="642"/>
                  </a:cubicBezTo>
                  <a:cubicBezTo>
                    <a:pt x="2654" y="612"/>
                    <a:pt x="2713" y="554"/>
                    <a:pt x="2771" y="525"/>
                  </a:cubicBezTo>
                  <a:cubicBezTo>
                    <a:pt x="2830" y="466"/>
                    <a:pt x="2888" y="409"/>
                    <a:pt x="2947" y="379"/>
                  </a:cubicBezTo>
                  <a:cubicBezTo>
                    <a:pt x="3004" y="321"/>
                    <a:pt x="3063" y="291"/>
                    <a:pt x="3121" y="233"/>
                  </a:cubicBezTo>
                  <a:cubicBezTo>
                    <a:pt x="3121" y="233"/>
                    <a:pt x="3150" y="233"/>
                    <a:pt x="3150" y="204"/>
                  </a:cubicBezTo>
                  <a:cubicBezTo>
                    <a:pt x="3180" y="145"/>
                    <a:pt x="3209" y="145"/>
                    <a:pt x="3238" y="116"/>
                  </a:cubicBezTo>
                  <a:cubicBezTo>
                    <a:pt x="3267" y="116"/>
                    <a:pt x="3267" y="87"/>
                    <a:pt x="3296" y="87"/>
                  </a:cubicBezTo>
                  <a:cubicBezTo>
                    <a:pt x="3325" y="59"/>
                    <a:pt x="3325" y="29"/>
                    <a:pt x="3325" y="0"/>
                  </a:cubicBezTo>
                  <a:lnTo>
                    <a:pt x="3325" y="0"/>
                  </a:lnTo>
                  <a:cubicBezTo>
                    <a:pt x="2509" y="87"/>
                    <a:pt x="1692" y="145"/>
                    <a:pt x="730" y="204"/>
                  </a:cubicBezTo>
                  <a:lnTo>
                    <a:pt x="730" y="233"/>
                  </a:lnTo>
                  <a:cubicBezTo>
                    <a:pt x="759" y="233"/>
                    <a:pt x="759" y="262"/>
                    <a:pt x="759" y="262"/>
                  </a:cubicBezTo>
                  <a:cubicBezTo>
                    <a:pt x="759" y="291"/>
                    <a:pt x="759" y="291"/>
                    <a:pt x="759" y="291"/>
                  </a:cubicBezTo>
                  <a:cubicBezTo>
                    <a:pt x="730" y="291"/>
                    <a:pt x="730" y="291"/>
                    <a:pt x="730" y="291"/>
                  </a:cubicBezTo>
                  <a:cubicBezTo>
                    <a:pt x="642" y="291"/>
                    <a:pt x="555" y="291"/>
                    <a:pt x="467" y="291"/>
                  </a:cubicBezTo>
                  <a:cubicBezTo>
                    <a:pt x="350" y="291"/>
                    <a:pt x="263" y="321"/>
                    <a:pt x="176" y="321"/>
                  </a:cubicBezTo>
                  <a:lnTo>
                    <a:pt x="176" y="350"/>
                  </a:lnTo>
                  <a:cubicBezTo>
                    <a:pt x="176" y="379"/>
                    <a:pt x="176" y="409"/>
                    <a:pt x="176" y="409"/>
                  </a:cubicBezTo>
                  <a:cubicBezTo>
                    <a:pt x="176" y="437"/>
                    <a:pt x="147" y="437"/>
                    <a:pt x="147" y="466"/>
                  </a:cubicBezTo>
                  <a:cubicBezTo>
                    <a:pt x="147" y="495"/>
                    <a:pt x="147" y="495"/>
                    <a:pt x="147" y="525"/>
                  </a:cubicBezTo>
                  <a:lnTo>
                    <a:pt x="147" y="554"/>
                  </a:lnTo>
                  <a:cubicBezTo>
                    <a:pt x="147" y="583"/>
                    <a:pt x="147" y="583"/>
                    <a:pt x="147" y="612"/>
                  </a:cubicBezTo>
                  <a:cubicBezTo>
                    <a:pt x="147" y="642"/>
                    <a:pt x="117" y="642"/>
                    <a:pt x="117" y="642"/>
                  </a:cubicBezTo>
                  <a:lnTo>
                    <a:pt x="117" y="671"/>
                  </a:lnTo>
                  <a:cubicBezTo>
                    <a:pt x="117" y="700"/>
                    <a:pt x="117" y="700"/>
                    <a:pt x="88" y="729"/>
                  </a:cubicBezTo>
                  <a:lnTo>
                    <a:pt x="88" y="729"/>
                  </a:lnTo>
                  <a:cubicBezTo>
                    <a:pt x="88" y="787"/>
                    <a:pt x="59" y="816"/>
                    <a:pt x="30" y="845"/>
                  </a:cubicBezTo>
                  <a:cubicBezTo>
                    <a:pt x="30" y="845"/>
                    <a:pt x="0" y="875"/>
                    <a:pt x="0" y="904"/>
                  </a:cubicBezTo>
                  <a:lnTo>
                    <a:pt x="0" y="933"/>
                  </a:lnTo>
                  <a:cubicBezTo>
                    <a:pt x="0" y="962"/>
                    <a:pt x="0" y="962"/>
                    <a:pt x="0" y="992"/>
                  </a:cubicBezTo>
                  <a:cubicBezTo>
                    <a:pt x="117" y="992"/>
                    <a:pt x="263" y="992"/>
                    <a:pt x="380" y="992"/>
                  </a:cubicBezTo>
                  <a:cubicBezTo>
                    <a:pt x="992" y="992"/>
                    <a:pt x="1604" y="933"/>
                    <a:pt x="2042" y="904"/>
                  </a:cubicBezTo>
                  <a:cubicBezTo>
                    <a:pt x="2071" y="904"/>
                    <a:pt x="2071" y="904"/>
                    <a:pt x="2100" y="9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7" name="Freeform 705">
              <a:extLst>
                <a:ext uri="{FF2B5EF4-FFF2-40B4-BE49-F238E27FC236}">
                  <a16:creationId xmlns:a16="http://schemas.microsoft.com/office/drawing/2014/main" id="{2E088D7F-E37F-4794-A8B8-A89F61C19363}"/>
                </a:ext>
              </a:extLst>
            </p:cNvPr>
            <p:cNvSpPr>
              <a:spLocks noChangeArrowheads="1"/>
            </p:cNvSpPr>
            <p:nvPr/>
          </p:nvSpPr>
          <p:spPr bwMode="auto">
            <a:xfrm>
              <a:off x="8752813" y="4955355"/>
              <a:ext cx="11416" cy="1619"/>
            </a:xfrm>
            <a:custGeom>
              <a:avLst/>
              <a:gdLst>
                <a:gd name="T0" fmla="*/ 0 w 30"/>
                <a:gd name="T1" fmla="*/ 0 h 1"/>
                <a:gd name="T2" fmla="*/ 0 w 30"/>
                <a:gd name="T3" fmla="*/ 0 h 1"/>
                <a:gd name="T4" fmla="*/ 0 w 30"/>
                <a:gd name="T5" fmla="*/ 0 h 1"/>
                <a:gd name="T6" fmla="*/ 29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lnTo>
                    <a:pt x="0" y="0"/>
                  </a:lnTo>
                  <a:cubicBezTo>
                    <a:pt x="29" y="0"/>
                    <a:pt x="29" y="0"/>
                    <a:pt x="29" y="0"/>
                  </a:cubicBezTo>
                  <a:lnTo>
                    <a:pt x="29"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8" name="Freeform 706">
              <a:extLst>
                <a:ext uri="{FF2B5EF4-FFF2-40B4-BE49-F238E27FC236}">
                  <a16:creationId xmlns:a16="http://schemas.microsoft.com/office/drawing/2014/main" id="{2EAC2917-C4CE-4E41-B77B-7172BCFEA3FE}"/>
                </a:ext>
              </a:extLst>
            </p:cNvPr>
            <p:cNvSpPr>
              <a:spLocks noChangeArrowheads="1"/>
            </p:cNvSpPr>
            <p:nvPr/>
          </p:nvSpPr>
          <p:spPr bwMode="auto">
            <a:xfrm>
              <a:off x="8752813" y="5105860"/>
              <a:ext cx="11416" cy="11328"/>
            </a:xfrm>
            <a:custGeom>
              <a:avLst/>
              <a:gdLst>
                <a:gd name="T0" fmla="*/ 29 w 30"/>
                <a:gd name="T1" fmla="*/ 29 h 30"/>
                <a:gd name="T2" fmla="*/ 29 w 30"/>
                <a:gd name="T3" fmla="*/ 29 h 30"/>
                <a:gd name="T4" fmla="*/ 29 w 30"/>
                <a:gd name="T5" fmla="*/ 29 h 30"/>
                <a:gd name="T6" fmla="*/ 0 w 30"/>
                <a:gd name="T7" fmla="*/ 0 h 30"/>
                <a:gd name="T8" fmla="*/ 29 w 30"/>
                <a:gd name="T9" fmla="*/ 29 h 30"/>
              </a:gdLst>
              <a:ahLst/>
              <a:cxnLst>
                <a:cxn ang="0">
                  <a:pos x="T0" y="T1"/>
                </a:cxn>
                <a:cxn ang="0">
                  <a:pos x="T2" y="T3"/>
                </a:cxn>
                <a:cxn ang="0">
                  <a:pos x="T4" y="T5"/>
                </a:cxn>
                <a:cxn ang="0">
                  <a:pos x="T6" y="T7"/>
                </a:cxn>
                <a:cxn ang="0">
                  <a:pos x="T8" y="T9"/>
                </a:cxn>
              </a:cxnLst>
              <a:rect l="0" t="0" r="r" b="b"/>
              <a:pathLst>
                <a:path w="30" h="30">
                  <a:moveTo>
                    <a:pt x="29" y="29"/>
                  </a:moveTo>
                  <a:lnTo>
                    <a:pt x="29" y="29"/>
                  </a:lnTo>
                  <a:lnTo>
                    <a:pt x="29" y="29"/>
                  </a:lnTo>
                  <a:cubicBezTo>
                    <a:pt x="29" y="29"/>
                    <a:pt x="29" y="29"/>
                    <a:pt x="0" y="0"/>
                  </a:cubicBezTo>
                  <a:cubicBezTo>
                    <a:pt x="29"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29" name="Freeform 707">
              <a:extLst>
                <a:ext uri="{FF2B5EF4-FFF2-40B4-BE49-F238E27FC236}">
                  <a16:creationId xmlns:a16="http://schemas.microsoft.com/office/drawing/2014/main" id="{C1E36238-C541-4B24-8039-FC33F62EF253}"/>
                </a:ext>
              </a:extLst>
            </p:cNvPr>
            <p:cNvSpPr>
              <a:spLocks noChangeArrowheads="1"/>
            </p:cNvSpPr>
            <p:nvPr/>
          </p:nvSpPr>
          <p:spPr bwMode="auto">
            <a:xfrm>
              <a:off x="8774014" y="5084821"/>
              <a:ext cx="22832" cy="11329"/>
            </a:xfrm>
            <a:custGeom>
              <a:avLst/>
              <a:gdLst>
                <a:gd name="T0" fmla="*/ 0 w 60"/>
                <a:gd name="T1" fmla="*/ 0 h 30"/>
                <a:gd name="T2" fmla="*/ 0 w 60"/>
                <a:gd name="T3" fmla="*/ 0 h 30"/>
                <a:gd name="T4" fmla="*/ 59 w 60"/>
                <a:gd name="T5" fmla="*/ 29 h 30"/>
                <a:gd name="T6" fmla="*/ 0 w 60"/>
                <a:gd name="T7" fmla="*/ 0 h 30"/>
              </a:gdLst>
              <a:ahLst/>
              <a:cxnLst>
                <a:cxn ang="0">
                  <a:pos x="T0" y="T1"/>
                </a:cxn>
                <a:cxn ang="0">
                  <a:pos x="T2" y="T3"/>
                </a:cxn>
                <a:cxn ang="0">
                  <a:pos x="T4" y="T5"/>
                </a:cxn>
                <a:cxn ang="0">
                  <a:pos x="T6" y="T7"/>
                </a:cxn>
              </a:cxnLst>
              <a:rect l="0" t="0" r="r" b="b"/>
              <a:pathLst>
                <a:path w="60" h="30">
                  <a:moveTo>
                    <a:pt x="0" y="0"/>
                  </a:moveTo>
                  <a:lnTo>
                    <a:pt x="0" y="0"/>
                  </a:lnTo>
                  <a:cubicBezTo>
                    <a:pt x="29" y="0"/>
                    <a:pt x="59" y="0"/>
                    <a:pt x="59" y="29"/>
                  </a:cubicBezTo>
                  <a:cubicBezTo>
                    <a:pt x="5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0" name="Freeform 708">
              <a:extLst>
                <a:ext uri="{FF2B5EF4-FFF2-40B4-BE49-F238E27FC236}">
                  <a16:creationId xmlns:a16="http://schemas.microsoft.com/office/drawing/2014/main" id="{F96EFD77-0A41-4EF0-9166-767F03C768F0}"/>
                </a:ext>
              </a:extLst>
            </p:cNvPr>
            <p:cNvSpPr>
              <a:spLocks noChangeArrowheads="1"/>
            </p:cNvSpPr>
            <p:nvPr/>
          </p:nvSpPr>
          <p:spPr bwMode="auto">
            <a:xfrm>
              <a:off x="8729981" y="5138226"/>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1" name="Freeform 709">
              <a:extLst>
                <a:ext uri="{FF2B5EF4-FFF2-40B4-BE49-F238E27FC236}">
                  <a16:creationId xmlns:a16="http://schemas.microsoft.com/office/drawing/2014/main" id="{3B85F119-DD3C-40D4-A2C7-A002366FBB7E}"/>
                </a:ext>
              </a:extLst>
            </p:cNvPr>
            <p:cNvSpPr>
              <a:spLocks noChangeArrowheads="1"/>
            </p:cNvSpPr>
            <p:nvPr/>
          </p:nvSpPr>
          <p:spPr bwMode="auto">
            <a:xfrm>
              <a:off x="8752813" y="5126897"/>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0"/>
                    <a:pt x="0" y="0"/>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2" name="Freeform 710">
              <a:extLst>
                <a:ext uri="{FF2B5EF4-FFF2-40B4-BE49-F238E27FC236}">
                  <a16:creationId xmlns:a16="http://schemas.microsoft.com/office/drawing/2014/main" id="{176ACD1D-2698-45F4-9AEB-66E47062CD82}"/>
                </a:ext>
              </a:extLst>
            </p:cNvPr>
            <p:cNvSpPr>
              <a:spLocks noChangeArrowheads="1"/>
            </p:cNvSpPr>
            <p:nvPr/>
          </p:nvSpPr>
          <p:spPr bwMode="auto">
            <a:xfrm>
              <a:off x="8741397" y="5105860"/>
              <a:ext cx="11415" cy="1618"/>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30" y="0"/>
                    <a:pt x="30" y="0"/>
                    <a:pt x="0" y="0"/>
                  </a:cubicBezTo>
                  <a:cubicBezTo>
                    <a:pt x="30" y="0"/>
                    <a:pt x="3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3" name="Freeform 711">
              <a:extLst>
                <a:ext uri="{FF2B5EF4-FFF2-40B4-BE49-F238E27FC236}">
                  <a16:creationId xmlns:a16="http://schemas.microsoft.com/office/drawing/2014/main" id="{9427947D-A81D-47C2-900D-D702CCAB3544}"/>
                </a:ext>
              </a:extLst>
            </p:cNvPr>
            <p:cNvSpPr>
              <a:spLocks noChangeArrowheads="1"/>
            </p:cNvSpPr>
            <p:nvPr/>
          </p:nvSpPr>
          <p:spPr bwMode="auto">
            <a:xfrm>
              <a:off x="4481629" y="1027693"/>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4" name="Freeform 712">
              <a:extLst>
                <a:ext uri="{FF2B5EF4-FFF2-40B4-BE49-F238E27FC236}">
                  <a16:creationId xmlns:a16="http://schemas.microsoft.com/office/drawing/2014/main" id="{11C8AB05-D882-4532-A9D2-5D7A88FC7B92}"/>
                </a:ext>
              </a:extLst>
            </p:cNvPr>
            <p:cNvSpPr>
              <a:spLocks noChangeArrowheads="1"/>
            </p:cNvSpPr>
            <p:nvPr/>
          </p:nvSpPr>
          <p:spPr bwMode="auto">
            <a:xfrm>
              <a:off x="9204557" y="1948517"/>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5" name="Freeform 713">
              <a:extLst>
                <a:ext uri="{FF2B5EF4-FFF2-40B4-BE49-F238E27FC236}">
                  <a16:creationId xmlns:a16="http://schemas.microsoft.com/office/drawing/2014/main" id="{F22E85B9-CCF9-49E7-86BB-6097EBFA975E}"/>
                </a:ext>
              </a:extLst>
            </p:cNvPr>
            <p:cNvSpPr>
              <a:spLocks noChangeArrowheads="1"/>
            </p:cNvSpPr>
            <p:nvPr/>
          </p:nvSpPr>
          <p:spPr bwMode="auto">
            <a:xfrm>
              <a:off x="9204557" y="1980883"/>
              <a:ext cx="32617" cy="22656"/>
            </a:xfrm>
            <a:custGeom>
              <a:avLst/>
              <a:gdLst>
                <a:gd name="T0" fmla="*/ 29 w 89"/>
                <a:gd name="T1" fmla="*/ 0 h 60"/>
                <a:gd name="T2" fmla="*/ 29 w 89"/>
                <a:gd name="T3" fmla="*/ 0 h 60"/>
                <a:gd name="T4" fmla="*/ 88 w 89"/>
                <a:gd name="T5" fmla="*/ 59 h 60"/>
                <a:gd name="T6" fmla="*/ 88 w 89"/>
                <a:gd name="T7" fmla="*/ 59 h 60"/>
                <a:gd name="T8" fmla="*/ 88 w 89"/>
                <a:gd name="T9" fmla="*/ 59 h 60"/>
                <a:gd name="T10" fmla="*/ 29 w 89"/>
                <a:gd name="T11" fmla="*/ 0 h 60"/>
                <a:gd name="T12" fmla="*/ 29 w 89"/>
                <a:gd name="T13" fmla="*/ 0 h 60"/>
                <a:gd name="T14" fmla="*/ 0 w 89"/>
                <a:gd name="T15" fmla="*/ 0 h 60"/>
                <a:gd name="T16" fmla="*/ 29 w 89"/>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0">
                  <a:moveTo>
                    <a:pt x="29" y="0"/>
                  </a:moveTo>
                  <a:lnTo>
                    <a:pt x="29" y="0"/>
                  </a:lnTo>
                  <a:cubicBezTo>
                    <a:pt x="59" y="29"/>
                    <a:pt x="59" y="29"/>
                    <a:pt x="88" y="59"/>
                  </a:cubicBezTo>
                  <a:lnTo>
                    <a:pt x="88" y="59"/>
                  </a:lnTo>
                  <a:lnTo>
                    <a:pt x="88" y="59"/>
                  </a:lnTo>
                  <a:cubicBezTo>
                    <a:pt x="59" y="29"/>
                    <a:pt x="59" y="29"/>
                    <a:pt x="29" y="0"/>
                  </a:cubicBezTo>
                  <a:lnTo>
                    <a:pt x="29" y="0"/>
                  </a:lnTo>
                  <a:cubicBezTo>
                    <a:pt x="0" y="0"/>
                    <a:pt x="0"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6" name="Freeform 714">
              <a:extLst>
                <a:ext uri="{FF2B5EF4-FFF2-40B4-BE49-F238E27FC236}">
                  <a16:creationId xmlns:a16="http://schemas.microsoft.com/office/drawing/2014/main" id="{3DB1A726-300F-4483-943A-1239DD4EE57C}"/>
                </a:ext>
              </a:extLst>
            </p:cNvPr>
            <p:cNvSpPr>
              <a:spLocks noChangeArrowheads="1"/>
            </p:cNvSpPr>
            <p:nvPr/>
          </p:nvSpPr>
          <p:spPr bwMode="auto">
            <a:xfrm>
              <a:off x="9183356" y="1980883"/>
              <a:ext cx="21202" cy="11329"/>
            </a:xfrm>
            <a:custGeom>
              <a:avLst/>
              <a:gdLst>
                <a:gd name="T0" fmla="*/ 0 w 58"/>
                <a:gd name="T1" fmla="*/ 29 h 30"/>
                <a:gd name="T2" fmla="*/ 0 w 58"/>
                <a:gd name="T3" fmla="*/ 29 h 30"/>
                <a:gd name="T4" fmla="*/ 57 w 58"/>
                <a:gd name="T5" fmla="*/ 0 h 30"/>
                <a:gd name="T6" fmla="*/ 0 w 58"/>
                <a:gd name="T7" fmla="*/ 29 h 30"/>
              </a:gdLst>
              <a:ahLst/>
              <a:cxnLst>
                <a:cxn ang="0">
                  <a:pos x="T0" y="T1"/>
                </a:cxn>
                <a:cxn ang="0">
                  <a:pos x="T2" y="T3"/>
                </a:cxn>
                <a:cxn ang="0">
                  <a:pos x="T4" y="T5"/>
                </a:cxn>
                <a:cxn ang="0">
                  <a:pos x="T6" y="T7"/>
                </a:cxn>
              </a:cxnLst>
              <a:rect l="0" t="0" r="r" b="b"/>
              <a:pathLst>
                <a:path w="58" h="30">
                  <a:moveTo>
                    <a:pt x="0" y="29"/>
                  </a:moveTo>
                  <a:lnTo>
                    <a:pt x="0" y="29"/>
                  </a:lnTo>
                  <a:cubicBezTo>
                    <a:pt x="0" y="29"/>
                    <a:pt x="29" y="0"/>
                    <a:pt x="57" y="0"/>
                  </a:cubicBezTo>
                  <a:cubicBezTo>
                    <a:pt x="29" y="0"/>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7" name="Freeform 715">
              <a:extLst>
                <a:ext uri="{FF2B5EF4-FFF2-40B4-BE49-F238E27FC236}">
                  <a16:creationId xmlns:a16="http://schemas.microsoft.com/office/drawing/2014/main" id="{8CE87C9E-3425-4724-8F4B-4B9153427B1B}"/>
                </a:ext>
              </a:extLst>
            </p:cNvPr>
            <p:cNvSpPr>
              <a:spLocks noChangeArrowheads="1"/>
            </p:cNvSpPr>
            <p:nvPr/>
          </p:nvSpPr>
          <p:spPr bwMode="auto">
            <a:xfrm>
              <a:off x="9506263" y="2291601"/>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8" name="Freeform 716">
              <a:extLst>
                <a:ext uri="{FF2B5EF4-FFF2-40B4-BE49-F238E27FC236}">
                  <a16:creationId xmlns:a16="http://schemas.microsoft.com/office/drawing/2014/main" id="{D5A5E940-CD4B-4A8D-8E96-A3B599148CEB}"/>
                </a:ext>
              </a:extLst>
            </p:cNvPr>
            <p:cNvSpPr>
              <a:spLocks noChangeArrowheads="1"/>
            </p:cNvSpPr>
            <p:nvPr/>
          </p:nvSpPr>
          <p:spPr bwMode="auto">
            <a:xfrm>
              <a:off x="9485063" y="2280273"/>
              <a:ext cx="11415" cy="1618"/>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39" name="Freeform 717">
              <a:extLst>
                <a:ext uri="{FF2B5EF4-FFF2-40B4-BE49-F238E27FC236}">
                  <a16:creationId xmlns:a16="http://schemas.microsoft.com/office/drawing/2014/main" id="{DB6D54CC-F166-4EB1-B9B9-612A9D2CB1A1}"/>
                </a:ext>
              </a:extLst>
            </p:cNvPr>
            <p:cNvSpPr>
              <a:spLocks noChangeArrowheads="1"/>
            </p:cNvSpPr>
            <p:nvPr/>
          </p:nvSpPr>
          <p:spPr bwMode="auto">
            <a:xfrm>
              <a:off x="4126105" y="1349738"/>
              <a:ext cx="11415" cy="1619"/>
            </a:xfrm>
            <a:custGeom>
              <a:avLst/>
              <a:gdLst>
                <a:gd name="T0" fmla="*/ 0 w 31"/>
                <a:gd name="T1" fmla="*/ 0 h 1"/>
                <a:gd name="T2" fmla="*/ 0 w 31"/>
                <a:gd name="T3" fmla="*/ 0 h 1"/>
                <a:gd name="T4" fmla="*/ 0 w 31"/>
                <a:gd name="T5" fmla="*/ 0 h 1"/>
                <a:gd name="T6" fmla="*/ 0 w 31"/>
                <a:gd name="T7" fmla="*/ 0 h 1"/>
                <a:gd name="T8" fmla="*/ 30 w 31"/>
                <a:gd name="T9" fmla="*/ 0 h 1"/>
                <a:gd name="T10" fmla="*/ 0 w 31"/>
                <a:gd name="T11" fmla="*/ 0 h 1"/>
              </a:gdLst>
              <a:ahLst/>
              <a:cxnLst>
                <a:cxn ang="0">
                  <a:pos x="T0" y="T1"/>
                </a:cxn>
                <a:cxn ang="0">
                  <a:pos x="T2" y="T3"/>
                </a:cxn>
                <a:cxn ang="0">
                  <a:pos x="T4" y="T5"/>
                </a:cxn>
                <a:cxn ang="0">
                  <a:pos x="T6" y="T7"/>
                </a:cxn>
                <a:cxn ang="0">
                  <a:pos x="T8" y="T9"/>
                </a:cxn>
                <a:cxn ang="0">
                  <a:pos x="T10" y="T11"/>
                </a:cxn>
              </a:cxnLst>
              <a:rect l="0" t="0" r="r" b="b"/>
              <a:pathLst>
                <a:path w="31" h="1">
                  <a:moveTo>
                    <a:pt x="0" y="0"/>
                  </a:moveTo>
                  <a:lnTo>
                    <a:pt x="0" y="0"/>
                  </a:lnTo>
                  <a:lnTo>
                    <a:pt x="0" y="0"/>
                  </a:lnTo>
                  <a:lnTo>
                    <a:pt x="0" y="0"/>
                  </a:lnTo>
                  <a:cubicBezTo>
                    <a:pt x="0" y="0"/>
                    <a:pt x="0" y="0"/>
                    <a:pt x="30"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0" name="Freeform 718">
              <a:extLst>
                <a:ext uri="{FF2B5EF4-FFF2-40B4-BE49-F238E27FC236}">
                  <a16:creationId xmlns:a16="http://schemas.microsoft.com/office/drawing/2014/main" id="{0064F298-73C7-4A75-B58F-2B205F5E8CED}"/>
                </a:ext>
              </a:extLst>
            </p:cNvPr>
            <p:cNvSpPr>
              <a:spLocks noChangeArrowheads="1"/>
            </p:cNvSpPr>
            <p:nvPr/>
          </p:nvSpPr>
          <p:spPr bwMode="auto">
            <a:xfrm>
              <a:off x="8503294" y="1851418"/>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1" name="Freeform 719">
              <a:extLst>
                <a:ext uri="{FF2B5EF4-FFF2-40B4-BE49-F238E27FC236}">
                  <a16:creationId xmlns:a16="http://schemas.microsoft.com/office/drawing/2014/main" id="{96C003C4-1D3C-43EB-A4F9-54EBE0D06454}"/>
                </a:ext>
              </a:extLst>
            </p:cNvPr>
            <p:cNvSpPr>
              <a:spLocks noChangeArrowheads="1"/>
            </p:cNvSpPr>
            <p:nvPr/>
          </p:nvSpPr>
          <p:spPr bwMode="auto">
            <a:xfrm>
              <a:off x="8472307" y="1851418"/>
              <a:ext cx="11416" cy="11329"/>
            </a:xfrm>
            <a:custGeom>
              <a:avLst/>
              <a:gdLst>
                <a:gd name="T0" fmla="*/ 0 w 30"/>
                <a:gd name="T1" fmla="*/ 29 h 30"/>
                <a:gd name="T2" fmla="*/ 0 w 30"/>
                <a:gd name="T3" fmla="*/ 29 h 30"/>
                <a:gd name="T4" fmla="*/ 0 w 30"/>
                <a:gd name="T5" fmla="*/ 29 h 30"/>
                <a:gd name="T6" fmla="*/ 0 w 30"/>
                <a:gd name="T7" fmla="*/ 29 h 30"/>
                <a:gd name="T8" fmla="*/ 29 w 30"/>
                <a:gd name="T9" fmla="*/ 0 h 30"/>
                <a:gd name="T10" fmla="*/ 0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0" y="29"/>
                  </a:moveTo>
                  <a:lnTo>
                    <a:pt x="0" y="29"/>
                  </a:lnTo>
                  <a:lnTo>
                    <a:pt x="0" y="29"/>
                  </a:lnTo>
                  <a:lnTo>
                    <a:pt x="0" y="29"/>
                  </a:lnTo>
                  <a:cubicBezTo>
                    <a:pt x="0" y="0"/>
                    <a:pt x="29" y="0"/>
                    <a:pt x="29" y="0"/>
                  </a:cubicBezTo>
                  <a:cubicBezTo>
                    <a:pt x="29"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2" name="Freeform 720">
              <a:extLst>
                <a:ext uri="{FF2B5EF4-FFF2-40B4-BE49-F238E27FC236}">
                  <a16:creationId xmlns:a16="http://schemas.microsoft.com/office/drawing/2014/main" id="{D51F3CF5-7297-4872-A054-F857733E05F8}"/>
                </a:ext>
              </a:extLst>
            </p:cNvPr>
            <p:cNvSpPr>
              <a:spLocks noChangeArrowheads="1"/>
            </p:cNvSpPr>
            <p:nvPr/>
          </p:nvSpPr>
          <p:spPr bwMode="auto">
            <a:xfrm>
              <a:off x="9679133" y="2697799"/>
              <a:ext cx="22832" cy="11328"/>
            </a:xfrm>
            <a:custGeom>
              <a:avLst/>
              <a:gdLst>
                <a:gd name="T0" fmla="*/ 29 w 60"/>
                <a:gd name="T1" fmla="*/ 29 h 30"/>
                <a:gd name="T2" fmla="*/ 29 w 60"/>
                <a:gd name="T3" fmla="*/ 29 h 30"/>
                <a:gd name="T4" fmla="*/ 59 w 60"/>
                <a:gd name="T5" fmla="*/ 29 h 30"/>
                <a:gd name="T6" fmla="*/ 29 w 60"/>
                <a:gd name="T7" fmla="*/ 29 h 30"/>
                <a:gd name="T8" fmla="*/ 0 w 60"/>
                <a:gd name="T9" fmla="*/ 0 h 30"/>
                <a:gd name="T10" fmla="*/ 29 w 60"/>
                <a:gd name="T11" fmla="*/ 29 h 30"/>
              </a:gdLst>
              <a:ahLst/>
              <a:cxnLst>
                <a:cxn ang="0">
                  <a:pos x="T0" y="T1"/>
                </a:cxn>
                <a:cxn ang="0">
                  <a:pos x="T2" y="T3"/>
                </a:cxn>
                <a:cxn ang="0">
                  <a:pos x="T4" y="T5"/>
                </a:cxn>
                <a:cxn ang="0">
                  <a:pos x="T6" y="T7"/>
                </a:cxn>
                <a:cxn ang="0">
                  <a:pos x="T8" y="T9"/>
                </a:cxn>
                <a:cxn ang="0">
                  <a:pos x="T10" y="T11"/>
                </a:cxn>
              </a:cxnLst>
              <a:rect l="0" t="0" r="r" b="b"/>
              <a:pathLst>
                <a:path w="60" h="30">
                  <a:moveTo>
                    <a:pt x="29" y="29"/>
                  </a:moveTo>
                  <a:lnTo>
                    <a:pt x="29" y="29"/>
                  </a:lnTo>
                  <a:cubicBezTo>
                    <a:pt x="29" y="29"/>
                    <a:pt x="29" y="29"/>
                    <a:pt x="59" y="29"/>
                  </a:cubicBezTo>
                  <a:cubicBezTo>
                    <a:pt x="29" y="29"/>
                    <a:pt x="29" y="29"/>
                    <a:pt x="29" y="29"/>
                  </a:cubicBezTo>
                  <a:lnTo>
                    <a:pt x="0" y="0"/>
                  </a:lnTo>
                  <a:lnTo>
                    <a:pt x="2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3" name="Freeform 721">
              <a:extLst>
                <a:ext uri="{FF2B5EF4-FFF2-40B4-BE49-F238E27FC236}">
                  <a16:creationId xmlns:a16="http://schemas.microsoft.com/office/drawing/2014/main" id="{1E3CA856-CA0D-43C1-BD96-210C22BD0C2B}"/>
                </a:ext>
              </a:extLst>
            </p:cNvPr>
            <p:cNvSpPr>
              <a:spLocks noChangeArrowheads="1"/>
            </p:cNvSpPr>
            <p:nvPr/>
          </p:nvSpPr>
          <p:spPr bwMode="auto">
            <a:xfrm>
              <a:off x="9150739" y="1851418"/>
              <a:ext cx="44033" cy="11329"/>
            </a:xfrm>
            <a:custGeom>
              <a:avLst/>
              <a:gdLst>
                <a:gd name="T0" fmla="*/ 0 w 118"/>
                <a:gd name="T1" fmla="*/ 29 h 30"/>
                <a:gd name="T2" fmla="*/ 0 w 118"/>
                <a:gd name="T3" fmla="*/ 29 h 30"/>
                <a:gd name="T4" fmla="*/ 117 w 118"/>
                <a:gd name="T5" fmla="*/ 0 h 30"/>
                <a:gd name="T6" fmla="*/ 0 w 118"/>
                <a:gd name="T7" fmla="*/ 29 h 30"/>
              </a:gdLst>
              <a:ahLst/>
              <a:cxnLst>
                <a:cxn ang="0">
                  <a:pos x="T0" y="T1"/>
                </a:cxn>
                <a:cxn ang="0">
                  <a:pos x="T2" y="T3"/>
                </a:cxn>
                <a:cxn ang="0">
                  <a:pos x="T4" y="T5"/>
                </a:cxn>
                <a:cxn ang="0">
                  <a:pos x="T6" y="T7"/>
                </a:cxn>
              </a:cxnLst>
              <a:rect l="0" t="0" r="r" b="b"/>
              <a:pathLst>
                <a:path w="118" h="30">
                  <a:moveTo>
                    <a:pt x="0" y="29"/>
                  </a:moveTo>
                  <a:lnTo>
                    <a:pt x="0" y="29"/>
                  </a:lnTo>
                  <a:cubicBezTo>
                    <a:pt x="29" y="29"/>
                    <a:pt x="88" y="0"/>
                    <a:pt x="117" y="0"/>
                  </a:cubicBezTo>
                  <a:cubicBezTo>
                    <a:pt x="88"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4" name="Freeform 722">
              <a:extLst>
                <a:ext uri="{FF2B5EF4-FFF2-40B4-BE49-F238E27FC236}">
                  <a16:creationId xmlns:a16="http://schemas.microsoft.com/office/drawing/2014/main" id="{5BAE4473-79E8-495C-9B43-D53629A99622}"/>
                </a:ext>
              </a:extLst>
            </p:cNvPr>
            <p:cNvSpPr>
              <a:spLocks noChangeArrowheads="1"/>
            </p:cNvSpPr>
            <p:nvPr/>
          </p:nvSpPr>
          <p:spPr bwMode="auto">
            <a:xfrm>
              <a:off x="8418490" y="1628089"/>
              <a:ext cx="119051" cy="64733"/>
            </a:xfrm>
            <a:custGeom>
              <a:avLst/>
              <a:gdLst>
                <a:gd name="T0" fmla="*/ 321 w 322"/>
                <a:gd name="T1" fmla="*/ 0 h 175"/>
                <a:gd name="T2" fmla="*/ 321 w 322"/>
                <a:gd name="T3" fmla="*/ 0 h 175"/>
                <a:gd name="T4" fmla="*/ 204 w 322"/>
                <a:gd name="T5" fmla="*/ 87 h 175"/>
                <a:gd name="T6" fmla="*/ 174 w 322"/>
                <a:gd name="T7" fmla="*/ 87 h 175"/>
                <a:gd name="T8" fmla="*/ 0 w 322"/>
                <a:gd name="T9" fmla="*/ 174 h 175"/>
                <a:gd name="T10" fmla="*/ 174 w 322"/>
                <a:gd name="T11" fmla="*/ 87 h 175"/>
                <a:gd name="T12" fmla="*/ 204 w 322"/>
                <a:gd name="T13" fmla="*/ 87 h 175"/>
                <a:gd name="T14" fmla="*/ 321 w 322"/>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 h="175">
                  <a:moveTo>
                    <a:pt x="321" y="0"/>
                  </a:moveTo>
                  <a:lnTo>
                    <a:pt x="321" y="0"/>
                  </a:lnTo>
                  <a:cubicBezTo>
                    <a:pt x="291" y="58"/>
                    <a:pt x="233" y="58"/>
                    <a:pt x="204" y="87"/>
                  </a:cubicBezTo>
                  <a:lnTo>
                    <a:pt x="174" y="87"/>
                  </a:lnTo>
                  <a:cubicBezTo>
                    <a:pt x="116" y="116"/>
                    <a:pt x="58" y="145"/>
                    <a:pt x="0" y="174"/>
                  </a:cubicBezTo>
                  <a:cubicBezTo>
                    <a:pt x="58" y="145"/>
                    <a:pt x="116" y="116"/>
                    <a:pt x="174" y="87"/>
                  </a:cubicBezTo>
                  <a:lnTo>
                    <a:pt x="204" y="87"/>
                  </a:lnTo>
                  <a:cubicBezTo>
                    <a:pt x="233" y="58"/>
                    <a:pt x="291" y="58"/>
                    <a:pt x="32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5" name="Freeform 723">
              <a:extLst>
                <a:ext uri="{FF2B5EF4-FFF2-40B4-BE49-F238E27FC236}">
                  <a16:creationId xmlns:a16="http://schemas.microsoft.com/office/drawing/2014/main" id="{89ED56B1-3DCD-4539-A97E-7780E1321BB6}"/>
                </a:ext>
              </a:extLst>
            </p:cNvPr>
            <p:cNvSpPr>
              <a:spLocks noChangeArrowheads="1"/>
            </p:cNvSpPr>
            <p:nvPr/>
          </p:nvSpPr>
          <p:spPr bwMode="auto">
            <a:xfrm>
              <a:off x="9183356" y="1969555"/>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6" name="Freeform 724">
              <a:extLst>
                <a:ext uri="{FF2B5EF4-FFF2-40B4-BE49-F238E27FC236}">
                  <a16:creationId xmlns:a16="http://schemas.microsoft.com/office/drawing/2014/main" id="{76C10B6A-339D-44A4-8F4D-76A3DC22B923}"/>
                </a:ext>
              </a:extLst>
            </p:cNvPr>
            <p:cNvSpPr>
              <a:spLocks noChangeArrowheads="1"/>
            </p:cNvSpPr>
            <p:nvPr/>
          </p:nvSpPr>
          <p:spPr bwMode="auto">
            <a:xfrm>
              <a:off x="9183356" y="198088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7" name="Freeform 725">
              <a:extLst>
                <a:ext uri="{FF2B5EF4-FFF2-40B4-BE49-F238E27FC236}">
                  <a16:creationId xmlns:a16="http://schemas.microsoft.com/office/drawing/2014/main" id="{C05249AF-45FE-4BA2-AF56-4185996CE2E1}"/>
                </a:ext>
              </a:extLst>
            </p:cNvPr>
            <p:cNvSpPr>
              <a:spLocks noChangeArrowheads="1"/>
            </p:cNvSpPr>
            <p:nvPr/>
          </p:nvSpPr>
          <p:spPr bwMode="auto">
            <a:xfrm>
              <a:off x="9183356" y="1980883"/>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8" name="Freeform 726">
              <a:extLst>
                <a:ext uri="{FF2B5EF4-FFF2-40B4-BE49-F238E27FC236}">
                  <a16:creationId xmlns:a16="http://schemas.microsoft.com/office/drawing/2014/main" id="{44DCC0BF-878E-4DE2-8CA2-3E6D0E7CF8C1}"/>
                </a:ext>
              </a:extLst>
            </p:cNvPr>
            <p:cNvSpPr>
              <a:spLocks noChangeArrowheads="1"/>
            </p:cNvSpPr>
            <p:nvPr/>
          </p:nvSpPr>
          <p:spPr bwMode="auto">
            <a:xfrm>
              <a:off x="10812571" y="309267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49" name="Freeform 727">
              <a:extLst>
                <a:ext uri="{FF2B5EF4-FFF2-40B4-BE49-F238E27FC236}">
                  <a16:creationId xmlns:a16="http://schemas.microsoft.com/office/drawing/2014/main" id="{4D714440-3235-41BD-8DDA-F956C5890A82}"/>
                </a:ext>
              </a:extLst>
            </p:cNvPr>
            <p:cNvSpPr>
              <a:spLocks noChangeArrowheads="1"/>
            </p:cNvSpPr>
            <p:nvPr/>
          </p:nvSpPr>
          <p:spPr bwMode="auto">
            <a:xfrm>
              <a:off x="10801155" y="310399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0" name="Freeform 728">
              <a:extLst>
                <a:ext uri="{FF2B5EF4-FFF2-40B4-BE49-F238E27FC236}">
                  <a16:creationId xmlns:a16="http://schemas.microsoft.com/office/drawing/2014/main" id="{0FAA4F48-C5F1-42CF-9D20-E7B6788D3AB4}"/>
                </a:ext>
              </a:extLst>
            </p:cNvPr>
            <p:cNvSpPr>
              <a:spLocks noChangeArrowheads="1"/>
            </p:cNvSpPr>
            <p:nvPr/>
          </p:nvSpPr>
          <p:spPr bwMode="auto">
            <a:xfrm>
              <a:off x="10801155" y="3103997"/>
              <a:ext cx="1631" cy="11329"/>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lnTo>
                    <a:pt x="0" y="0"/>
                  </a:lnTo>
                  <a:lnTo>
                    <a:pt x="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1" name="Freeform 729">
              <a:extLst>
                <a:ext uri="{FF2B5EF4-FFF2-40B4-BE49-F238E27FC236}">
                  <a16:creationId xmlns:a16="http://schemas.microsoft.com/office/drawing/2014/main" id="{3076A57C-82EE-4426-9A68-11D8F3808CA7}"/>
                </a:ext>
              </a:extLst>
            </p:cNvPr>
            <p:cNvSpPr>
              <a:spLocks noChangeArrowheads="1"/>
            </p:cNvSpPr>
            <p:nvPr/>
          </p:nvSpPr>
          <p:spPr bwMode="auto">
            <a:xfrm>
              <a:off x="10801155" y="3103997"/>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2" name="Freeform 730">
              <a:extLst>
                <a:ext uri="{FF2B5EF4-FFF2-40B4-BE49-F238E27FC236}">
                  <a16:creationId xmlns:a16="http://schemas.microsoft.com/office/drawing/2014/main" id="{F9388922-8553-4F99-A7E1-5AC791202EB6}"/>
                </a:ext>
              </a:extLst>
            </p:cNvPr>
            <p:cNvSpPr>
              <a:spLocks noChangeArrowheads="1"/>
            </p:cNvSpPr>
            <p:nvPr/>
          </p:nvSpPr>
          <p:spPr bwMode="auto">
            <a:xfrm>
              <a:off x="10768538" y="3060303"/>
              <a:ext cx="32617" cy="22656"/>
            </a:xfrm>
            <a:custGeom>
              <a:avLst/>
              <a:gdLst>
                <a:gd name="T0" fmla="*/ 59 w 89"/>
                <a:gd name="T1" fmla="*/ 59 h 60"/>
                <a:gd name="T2" fmla="*/ 59 w 89"/>
                <a:gd name="T3" fmla="*/ 59 h 60"/>
                <a:gd name="T4" fmla="*/ 59 w 89"/>
                <a:gd name="T5" fmla="*/ 59 h 60"/>
                <a:gd name="T6" fmla="*/ 88 w 89"/>
                <a:gd name="T7" fmla="*/ 59 h 60"/>
                <a:gd name="T8" fmla="*/ 88 w 89"/>
                <a:gd name="T9" fmla="*/ 59 h 60"/>
                <a:gd name="T10" fmla="*/ 59 w 89"/>
                <a:gd name="T11" fmla="*/ 59 h 60"/>
                <a:gd name="T12" fmla="*/ 59 w 89"/>
                <a:gd name="T13" fmla="*/ 59 h 60"/>
                <a:gd name="T14" fmla="*/ 30 w 89"/>
                <a:gd name="T15" fmla="*/ 30 h 60"/>
                <a:gd name="T16" fmla="*/ 0 w 89"/>
                <a:gd name="T17" fmla="*/ 0 h 60"/>
                <a:gd name="T18" fmla="*/ 30 w 89"/>
                <a:gd name="T19" fmla="*/ 30 h 60"/>
                <a:gd name="T20" fmla="*/ 59 w 8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60">
                  <a:moveTo>
                    <a:pt x="59" y="59"/>
                  </a:moveTo>
                  <a:lnTo>
                    <a:pt x="59" y="59"/>
                  </a:lnTo>
                  <a:lnTo>
                    <a:pt x="59" y="59"/>
                  </a:lnTo>
                  <a:lnTo>
                    <a:pt x="88" y="59"/>
                  </a:lnTo>
                  <a:lnTo>
                    <a:pt x="88" y="59"/>
                  </a:lnTo>
                  <a:lnTo>
                    <a:pt x="59" y="59"/>
                  </a:lnTo>
                  <a:lnTo>
                    <a:pt x="59" y="59"/>
                  </a:lnTo>
                  <a:cubicBezTo>
                    <a:pt x="59" y="59"/>
                    <a:pt x="30" y="59"/>
                    <a:pt x="30" y="30"/>
                  </a:cubicBezTo>
                  <a:cubicBezTo>
                    <a:pt x="0" y="30"/>
                    <a:pt x="0" y="30"/>
                    <a:pt x="0" y="0"/>
                  </a:cubicBezTo>
                  <a:cubicBezTo>
                    <a:pt x="0" y="30"/>
                    <a:pt x="0" y="30"/>
                    <a:pt x="30" y="30"/>
                  </a:cubicBezTo>
                  <a:cubicBezTo>
                    <a:pt x="30" y="59"/>
                    <a:pt x="59" y="59"/>
                    <a:pt x="59"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3" name="Freeform 731">
              <a:extLst>
                <a:ext uri="{FF2B5EF4-FFF2-40B4-BE49-F238E27FC236}">
                  <a16:creationId xmlns:a16="http://schemas.microsoft.com/office/drawing/2014/main" id="{C0B71233-AFB1-43CB-A901-463F0553196C}"/>
                </a:ext>
              </a:extLst>
            </p:cNvPr>
            <p:cNvSpPr>
              <a:spLocks noChangeArrowheads="1"/>
            </p:cNvSpPr>
            <p:nvPr/>
          </p:nvSpPr>
          <p:spPr bwMode="auto">
            <a:xfrm>
              <a:off x="10758753" y="3050593"/>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4" name="Freeform 732">
              <a:extLst>
                <a:ext uri="{FF2B5EF4-FFF2-40B4-BE49-F238E27FC236}">
                  <a16:creationId xmlns:a16="http://schemas.microsoft.com/office/drawing/2014/main" id="{BE877FEB-BE4F-4037-BE36-4362EE9A0500}"/>
                </a:ext>
              </a:extLst>
            </p:cNvPr>
            <p:cNvSpPr>
              <a:spLocks noChangeArrowheads="1"/>
            </p:cNvSpPr>
            <p:nvPr/>
          </p:nvSpPr>
          <p:spPr bwMode="auto">
            <a:xfrm>
              <a:off x="10812571" y="2375753"/>
              <a:ext cx="259304" cy="236275"/>
            </a:xfrm>
            <a:custGeom>
              <a:avLst/>
              <a:gdLst>
                <a:gd name="T0" fmla="*/ 292 w 701"/>
                <a:gd name="T1" fmla="*/ 88 h 643"/>
                <a:gd name="T2" fmla="*/ 292 w 701"/>
                <a:gd name="T3" fmla="*/ 88 h 643"/>
                <a:gd name="T4" fmla="*/ 263 w 701"/>
                <a:gd name="T5" fmla="*/ 117 h 643"/>
                <a:gd name="T6" fmla="*/ 263 w 701"/>
                <a:gd name="T7" fmla="*/ 117 h 643"/>
                <a:gd name="T8" fmla="*/ 233 w 701"/>
                <a:gd name="T9" fmla="*/ 88 h 643"/>
                <a:gd name="T10" fmla="*/ 0 w 701"/>
                <a:gd name="T11" fmla="*/ 146 h 643"/>
                <a:gd name="T12" fmla="*/ 88 w 701"/>
                <a:gd name="T13" fmla="*/ 554 h 643"/>
                <a:gd name="T14" fmla="*/ 116 w 701"/>
                <a:gd name="T15" fmla="*/ 554 h 643"/>
                <a:gd name="T16" fmla="*/ 88 w 701"/>
                <a:gd name="T17" fmla="*/ 554 h 643"/>
                <a:gd name="T18" fmla="*/ 88 w 701"/>
                <a:gd name="T19" fmla="*/ 583 h 643"/>
                <a:gd name="T20" fmla="*/ 59 w 701"/>
                <a:gd name="T21" fmla="*/ 613 h 643"/>
                <a:gd name="T22" fmla="*/ 88 w 701"/>
                <a:gd name="T23" fmla="*/ 642 h 643"/>
                <a:gd name="T24" fmla="*/ 88 w 701"/>
                <a:gd name="T25" fmla="*/ 642 h 643"/>
                <a:gd name="T26" fmla="*/ 116 w 701"/>
                <a:gd name="T27" fmla="*/ 583 h 643"/>
                <a:gd name="T28" fmla="*/ 116 w 701"/>
                <a:gd name="T29" fmla="*/ 583 h 643"/>
                <a:gd name="T30" fmla="*/ 146 w 701"/>
                <a:gd name="T31" fmla="*/ 583 h 643"/>
                <a:gd name="T32" fmla="*/ 292 w 701"/>
                <a:gd name="T33" fmla="*/ 467 h 643"/>
                <a:gd name="T34" fmla="*/ 292 w 701"/>
                <a:gd name="T35" fmla="*/ 438 h 643"/>
                <a:gd name="T36" fmla="*/ 292 w 701"/>
                <a:gd name="T37" fmla="*/ 438 h 643"/>
                <a:gd name="T38" fmla="*/ 409 w 701"/>
                <a:gd name="T39" fmla="*/ 409 h 643"/>
                <a:gd name="T40" fmla="*/ 496 w 701"/>
                <a:gd name="T41" fmla="*/ 409 h 643"/>
                <a:gd name="T42" fmla="*/ 496 w 701"/>
                <a:gd name="T43" fmla="*/ 409 h 643"/>
                <a:gd name="T44" fmla="*/ 496 w 701"/>
                <a:gd name="T45" fmla="*/ 380 h 643"/>
                <a:gd name="T46" fmla="*/ 525 w 701"/>
                <a:gd name="T47" fmla="*/ 350 h 643"/>
                <a:gd name="T48" fmla="*/ 525 w 701"/>
                <a:gd name="T49" fmla="*/ 350 h 643"/>
                <a:gd name="T50" fmla="*/ 554 w 701"/>
                <a:gd name="T51" fmla="*/ 380 h 643"/>
                <a:gd name="T52" fmla="*/ 554 w 701"/>
                <a:gd name="T53" fmla="*/ 380 h 643"/>
                <a:gd name="T54" fmla="*/ 642 w 701"/>
                <a:gd name="T55" fmla="*/ 321 h 643"/>
                <a:gd name="T56" fmla="*/ 700 w 701"/>
                <a:gd name="T57" fmla="*/ 321 h 643"/>
                <a:gd name="T58" fmla="*/ 613 w 701"/>
                <a:gd name="T59" fmla="*/ 0 h 643"/>
                <a:gd name="T60" fmla="*/ 292 w 701"/>
                <a:gd name="T61" fmla="*/ 88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1" h="643">
                  <a:moveTo>
                    <a:pt x="292" y="88"/>
                  </a:moveTo>
                  <a:lnTo>
                    <a:pt x="292" y="88"/>
                  </a:lnTo>
                  <a:cubicBezTo>
                    <a:pt x="292" y="88"/>
                    <a:pt x="292" y="117"/>
                    <a:pt x="263" y="117"/>
                  </a:cubicBezTo>
                  <a:lnTo>
                    <a:pt x="263" y="117"/>
                  </a:lnTo>
                  <a:cubicBezTo>
                    <a:pt x="233" y="117"/>
                    <a:pt x="233" y="117"/>
                    <a:pt x="233" y="88"/>
                  </a:cubicBezTo>
                  <a:cubicBezTo>
                    <a:pt x="146" y="117"/>
                    <a:pt x="88" y="117"/>
                    <a:pt x="0" y="146"/>
                  </a:cubicBezTo>
                  <a:cubicBezTo>
                    <a:pt x="30" y="292"/>
                    <a:pt x="59" y="438"/>
                    <a:pt x="88" y="554"/>
                  </a:cubicBezTo>
                  <a:cubicBezTo>
                    <a:pt x="116" y="554"/>
                    <a:pt x="116" y="554"/>
                    <a:pt x="116" y="554"/>
                  </a:cubicBezTo>
                  <a:cubicBezTo>
                    <a:pt x="88" y="554"/>
                    <a:pt x="88" y="554"/>
                    <a:pt x="88" y="554"/>
                  </a:cubicBezTo>
                  <a:cubicBezTo>
                    <a:pt x="88" y="583"/>
                    <a:pt x="88" y="583"/>
                    <a:pt x="88" y="583"/>
                  </a:cubicBezTo>
                  <a:cubicBezTo>
                    <a:pt x="59" y="613"/>
                    <a:pt x="59" y="613"/>
                    <a:pt x="59" y="613"/>
                  </a:cubicBezTo>
                  <a:cubicBezTo>
                    <a:pt x="59" y="613"/>
                    <a:pt x="88" y="613"/>
                    <a:pt x="88" y="642"/>
                  </a:cubicBezTo>
                  <a:lnTo>
                    <a:pt x="88" y="642"/>
                  </a:lnTo>
                  <a:cubicBezTo>
                    <a:pt x="116" y="613"/>
                    <a:pt x="116" y="613"/>
                    <a:pt x="116" y="583"/>
                  </a:cubicBezTo>
                  <a:lnTo>
                    <a:pt x="116" y="583"/>
                  </a:lnTo>
                  <a:cubicBezTo>
                    <a:pt x="146" y="583"/>
                    <a:pt x="146" y="583"/>
                    <a:pt x="146" y="583"/>
                  </a:cubicBezTo>
                  <a:cubicBezTo>
                    <a:pt x="204" y="554"/>
                    <a:pt x="263" y="525"/>
                    <a:pt x="292" y="467"/>
                  </a:cubicBezTo>
                  <a:cubicBezTo>
                    <a:pt x="292" y="438"/>
                    <a:pt x="292" y="438"/>
                    <a:pt x="292" y="438"/>
                  </a:cubicBezTo>
                  <a:lnTo>
                    <a:pt x="292" y="438"/>
                  </a:lnTo>
                  <a:cubicBezTo>
                    <a:pt x="321" y="438"/>
                    <a:pt x="380" y="438"/>
                    <a:pt x="409" y="409"/>
                  </a:cubicBezTo>
                  <a:cubicBezTo>
                    <a:pt x="437" y="409"/>
                    <a:pt x="466" y="409"/>
                    <a:pt x="496" y="409"/>
                  </a:cubicBezTo>
                  <a:lnTo>
                    <a:pt x="496" y="409"/>
                  </a:lnTo>
                  <a:cubicBezTo>
                    <a:pt x="496" y="380"/>
                    <a:pt x="496" y="380"/>
                    <a:pt x="496" y="380"/>
                  </a:cubicBezTo>
                  <a:cubicBezTo>
                    <a:pt x="525" y="350"/>
                    <a:pt x="525" y="350"/>
                    <a:pt x="525" y="350"/>
                  </a:cubicBezTo>
                  <a:lnTo>
                    <a:pt x="525" y="350"/>
                  </a:lnTo>
                  <a:cubicBezTo>
                    <a:pt x="525" y="380"/>
                    <a:pt x="554" y="380"/>
                    <a:pt x="554" y="380"/>
                  </a:cubicBezTo>
                  <a:lnTo>
                    <a:pt x="554" y="380"/>
                  </a:lnTo>
                  <a:cubicBezTo>
                    <a:pt x="583" y="350"/>
                    <a:pt x="613" y="350"/>
                    <a:pt x="642" y="321"/>
                  </a:cubicBezTo>
                  <a:cubicBezTo>
                    <a:pt x="671" y="321"/>
                    <a:pt x="671" y="321"/>
                    <a:pt x="700" y="321"/>
                  </a:cubicBezTo>
                  <a:cubicBezTo>
                    <a:pt x="700" y="204"/>
                    <a:pt x="642" y="88"/>
                    <a:pt x="613" y="0"/>
                  </a:cubicBezTo>
                  <a:cubicBezTo>
                    <a:pt x="525" y="30"/>
                    <a:pt x="409" y="59"/>
                    <a:pt x="292"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5" name="Freeform 733">
              <a:extLst>
                <a:ext uri="{FF2B5EF4-FFF2-40B4-BE49-F238E27FC236}">
                  <a16:creationId xmlns:a16="http://schemas.microsoft.com/office/drawing/2014/main" id="{180C10F9-5CA2-49D7-AAEB-82E807BBBD59}"/>
                </a:ext>
              </a:extLst>
            </p:cNvPr>
            <p:cNvSpPr>
              <a:spLocks noChangeArrowheads="1"/>
            </p:cNvSpPr>
            <p:nvPr/>
          </p:nvSpPr>
          <p:spPr bwMode="auto">
            <a:xfrm>
              <a:off x="9744367" y="2665433"/>
              <a:ext cx="32617" cy="11328"/>
            </a:xfrm>
            <a:custGeom>
              <a:avLst/>
              <a:gdLst>
                <a:gd name="T0" fmla="*/ 87 w 88"/>
                <a:gd name="T1" fmla="*/ 0 h 29"/>
                <a:gd name="T2" fmla="*/ 87 w 88"/>
                <a:gd name="T3" fmla="*/ 0 h 29"/>
                <a:gd name="T4" fmla="*/ 29 w 88"/>
                <a:gd name="T5" fmla="*/ 28 h 29"/>
                <a:gd name="T6" fmla="*/ 0 w 88"/>
                <a:gd name="T7" fmla="*/ 28 h 29"/>
                <a:gd name="T8" fmla="*/ 29 w 88"/>
                <a:gd name="T9" fmla="*/ 28 h 29"/>
                <a:gd name="T10" fmla="*/ 87 w 88"/>
                <a:gd name="T11" fmla="*/ 0 h 29"/>
              </a:gdLst>
              <a:ahLst/>
              <a:cxnLst>
                <a:cxn ang="0">
                  <a:pos x="T0" y="T1"/>
                </a:cxn>
                <a:cxn ang="0">
                  <a:pos x="T2" y="T3"/>
                </a:cxn>
                <a:cxn ang="0">
                  <a:pos x="T4" y="T5"/>
                </a:cxn>
                <a:cxn ang="0">
                  <a:pos x="T6" y="T7"/>
                </a:cxn>
                <a:cxn ang="0">
                  <a:pos x="T8" y="T9"/>
                </a:cxn>
                <a:cxn ang="0">
                  <a:pos x="T10" y="T11"/>
                </a:cxn>
              </a:cxnLst>
              <a:rect l="0" t="0" r="r" b="b"/>
              <a:pathLst>
                <a:path w="88" h="29">
                  <a:moveTo>
                    <a:pt x="87" y="0"/>
                  </a:moveTo>
                  <a:lnTo>
                    <a:pt x="87" y="0"/>
                  </a:lnTo>
                  <a:cubicBezTo>
                    <a:pt x="58" y="0"/>
                    <a:pt x="58" y="28"/>
                    <a:pt x="29" y="28"/>
                  </a:cubicBezTo>
                  <a:lnTo>
                    <a:pt x="0" y="28"/>
                  </a:lnTo>
                  <a:lnTo>
                    <a:pt x="29" y="28"/>
                  </a:lnTo>
                  <a:cubicBezTo>
                    <a:pt x="58" y="28"/>
                    <a:pt x="58" y="0"/>
                    <a:pt x="8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6" name="Freeform 734">
              <a:extLst>
                <a:ext uri="{FF2B5EF4-FFF2-40B4-BE49-F238E27FC236}">
                  <a16:creationId xmlns:a16="http://schemas.microsoft.com/office/drawing/2014/main" id="{D47307AF-735F-4962-8971-CD656DEBE861}"/>
                </a:ext>
              </a:extLst>
            </p:cNvPr>
            <p:cNvSpPr>
              <a:spLocks noChangeArrowheads="1"/>
            </p:cNvSpPr>
            <p:nvPr/>
          </p:nvSpPr>
          <p:spPr bwMode="auto">
            <a:xfrm>
              <a:off x="9701965" y="2675143"/>
              <a:ext cx="44033" cy="32366"/>
            </a:xfrm>
            <a:custGeom>
              <a:avLst/>
              <a:gdLst>
                <a:gd name="T0" fmla="*/ 116 w 117"/>
                <a:gd name="T1" fmla="*/ 0 h 89"/>
                <a:gd name="T2" fmla="*/ 116 w 117"/>
                <a:gd name="T3" fmla="*/ 0 h 89"/>
                <a:gd name="T4" fmla="*/ 57 w 117"/>
                <a:gd name="T5" fmla="*/ 59 h 89"/>
                <a:gd name="T6" fmla="*/ 0 w 117"/>
                <a:gd name="T7" fmla="*/ 88 h 89"/>
                <a:gd name="T8" fmla="*/ 57 w 117"/>
                <a:gd name="T9" fmla="*/ 59 h 89"/>
                <a:gd name="T10" fmla="*/ 116 w 117"/>
                <a:gd name="T11" fmla="*/ 0 h 89"/>
              </a:gdLst>
              <a:ahLst/>
              <a:cxnLst>
                <a:cxn ang="0">
                  <a:pos x="T0" y="T1"/>
                </a:cxn>
                <a:cxn ang="0">
                  <a:pos x="T2" y="T3"/>
                </a:cxn>
                <a:cxn ang="0">
                  <a:pos x="T4" y="T5"/>
                </a:cxn>
                <a:cxn ang="0">
                  <a:pos x="T6" y="T7"/>
                </a:cxn>
                <a:cxn ang="0">
                  <a:pos x="T8" y="T9"/>
                </a:cxn>
                <a:cxn ang="0">
                  <a:pos x="T10" y="T11"/>
                </a:cxn>
              </a:cxnLst>
              <a:rect l="0" t="0" r="r" b="b"/>
              <a:pathLst>
                <a:path w="117" h="89">
                  <a:moveTo>
                    <a:pt x="116" y="0"/>
                  </a:moveTo>
                  <a:lnTo>
                    <a:pt x="116" y="0"/>
                  </a:lnTo>
                  <a:cubicBezTo>
                    <a:pt x="86" y="30"/>
                    <a:pt x="57" y="30"/>
                    <a:pt x="57" y="59"/>
                  </a:cubicBezTo>
                  <a:cubicBezTo>
                    <a:pt x="28" y="59"/>
                    <a:pt x="28" y="88"/>
                    <a:pt x="0" y="88"/>
                  </a:cubicBezTo>
                  <a:cubicBezTo>
                    <a:pt x="28" y="88"/>
                    <a:pt x="28" y="59"/>
                    <a:pt x="57" y="59"/>
                  </a:cubicBezTo>
                  <a:cubicBezTo>
                    <a:pt x="57" y="30"/>
                    <a:pt x="86" y="30"/>
                    <a:pt x="11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7" name="Freeform 735">
              <a:extLst>
                <a:ext uri="{FF2B5EF4-FFF2-40B4-BE49-F238E27FC236}">
                  <a16:creationId xmlns:a16="http://schemas.microsoft.com/office/drawing/2014/main" id="{525A5663-8D16-4AC8-8FA0-4310B3E8D492}"/>
                </a:ext>
              </a:extLst>
            </p:cNvPr>
            <p:cNvSpPr>
              <a:spLocks noChangeArrowheads="1"/>
            </p:cNvSpPr>
            <p:nvPr/>
          </p:nvSpPr>
          <p:spPr bwMode="auto">
            <a:xfrm>
              <a:off x="10812571" y="3092670"/>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8" name="Freeform 736">
              <a:extLst>
                <a:ext uri="{FF2B5EF4-FFF2-40B4-BE49-F238E27FC236}">
                  <a16:creationId xmlns:a16="http://schemas.microsoft.com/office/drawing/2014/main" id="{2A9DD6A6-4E12-4E0C-A250-622353622BE0}"/>
                </a:ext>
              </a:extLst>
            </p:cNvPr>
            <p:cNvSpPr>
              <a:spLocks noChangeArrowheads="1"/>
            </p:cNvSpPr>
            <p:nvPr/>
          </p:nvSpPr>
          <p:spPr bwMode="auto">
            <a:xfrm>
              <a:off x="10812571" y="2783570"/>
              <a:ext cx="1630" cy="21039"/>
            </a:xfrm>
            <a:custGeom>
              <a:avLst/>
              <a:gdLst>
                <a:gd name="T0" fmla="*/ 0 w 1"/>
                <a:gd name="T1" fmla="*/ 29 h 58"/>
                <a:gd name="T2" fmla="*/ 0 w 1"/>
                <a:gd name="T3" fmla="*/ 29 h 58"/>
                <a:gd name="T4" fmla="*/ 0 w 1"/>
                <a:gd name="T5" fmla="*/ 57 h 58"/>
                <a:gd name="T6" fmla="*/ 0 w 1"/>
                <a:gd name="T7" fmla="*/ 29 h 58"/>
                <a:gd name="T8" fmla="*/ 0 w 1"/>
                <a:gd name="T9" fmla="*/ 0 h 58"/>
                <a:gd name="T10" fmla="*/ 0 w 1"/>
                <a:gd name="T11" fmla="*/ 0 h 58"/>
                <a:gd name="T12" fmla="*/ 0 w 1"/>
                <a:gd name="T13" fmla="*/ 29 h 58"/>
              </a:gdLst>
              <a:ahLst/>
              <a:cxnLst>
                <a:cxn ang="0">
                  <a:pos x="T0" y="T1"/>
                </a:cxn>
                <a:cxn ang="0">
                  <a:pos x="T2" y="T3"/>
                </a:cxn>
                <a:cxn ang="0">
                  <a:pos x="T4" y="T5"/>
                </a:cxn>
                <a:cxn ang="0">
                  <a:pos x="T6" y="T7"/>
                </a:cxn>
                <a:cxn ang="0">
                  <a:pos x="T8" y="T9"/>
                </a:cxn>
                <a:cxn ang="0">
                  <a:pos x="T10" y="T11"/>
                </a:cxn>
                <a:cxn ang="0">
                  <a:pos x="T12" y="T13"/>
                </a:cxn>
              </a:cxnLst>
              <a:rect l="0" t="0" r="r" b="b"/>
              <a:pathLst>
                <a:path w="1" h="58">
                  <a:moveTo>
                    <a:pt x="0" y="29"/>
                  </a:moveTo>
                  <a:lnTo>
                    <a:pt x="0" y="29"/>
                  </a:lnTo>
                  <a:cubicBezTo>
                    <a:pt x="0" y="29"/>
                    <a:pt x="0" y="29"/>
                    <a:pt x="0" y="57"/>
                  </a:cubicBezTo>
                  <a:cubicBezTo>
                    <a:pt x="0" y="29"/>
                    <a:pt x="0" y="29"/>
                    <a:pt x="0" y="29"/>
                  </a:cubicBezTo>
                  <a:cubicBezTo>
                    <a:pt x="0" y="0"/>
                    <a:pt x="0" y="0"/>
                    <a:pt x="0" y="0"/>
                  </a:cubicBez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59" name="Freeform 737">
              <a:extLst>
                <a:ext uri="{FF2B5EF4-FFF2-40B4-BE49-F238E27FC236}">
                  <a16:creationId xmlns:a16="http://schemas.microsoft.com/office/drawing/2014/main" id="{3C703C19-74A8-447E-92E7-D3A0FD515AD6}"/>
                </a:ext>
              </a:extLst>
            </p:cNvPr>
            <p:cNvSpPr>
              <a:spLocks noChangeArrowheads="1"/>
            </p:cNvSpPr>
            <p:nvPr/>
          </p:nvSpPr>
          <p:spPr bwMode="auto">
            <a:xfrm>
              <a:off x="11039258" y="2505219"/>
              <a:ext cx="32617" cy="11329"/>
            </a:xfrm>
            <a:custGeom>
              <a:avLst/>
              <a:gdLst>
                <a:gd name="T0" fmla="*/ 29 w 88"/>
                <a:gd name="T1" fmla="*/ 30 h 31"/>
                <a:gd name="T2" fmla="*/ 29 w 88"/>
                <a:gd name="T3" fmla="*/ 30 h 31"/>
                <a:gd name="T4" fmla="*/ 0 w 88"/>
                <a:gd name="T5" fmla="*/ 30 h 31"/>
                <a:gd name="T6" fmla="*/ 29 w 88"/>
                <a:gd name="T7" fmla="*/ 30 h 31"/>
                <a:gd name="T8" fmla="*/ 87 w 88"/>
                <a:gd name="T9" fmla="*/ 0 h 31"/>
                <a:gd name="T10" fmla="*/ 29 w 88"/>
                <a:gd name="T11" fmla="*/ 30 h 31"/>
              </a:gdLst>
              <a:ahLst/>
              <a:cxnLst>
                <a:cxn ang="0">
                  <a:pos x="T0" y="T1"/>
                </a:cxn>
                <a:cxn ang="0">
                  <a:pos x="T2" y="T3"/>
                </a:cxn>
                <a:cxn ang="0">
                  <a:pos x="T4" y="T5"/>
                </a:cxn>
                <a:cxn ang="0">
                  <a:pos x="T6" y="T7"/>
                </a:cxn>
                <a:cxn ang="0">
                  <a:pos x="T8" y="T9"/>
                </a:cxn>
                <a:cxn ang="0">
                  <a:pos x="T10" y="T11"/>
                </a:cxn>
              </a:cxnLst>
              <a:rect l="0" t="0" r="r" b="b"/>
              <a:pathLst>
                <a:path w="88" h="31">
                  <a:moveTo>
                    <a:pt x="29" y="30"/>
                  </a:moveTo>
                  <a:lnTo>
                    <a:pt x="29" y="30"/>
                  </a:lnTo>
                  <a:cubicBezTo>
                    <a:pt x="29" y="30"/>
                    <a:pt x="29" y="30"/>
                    <a:pt x="0" y="30"/>
                  </a:cubicBezTo>
                  <a:cubicBezTo>
                    <a:pt x="29" y="30"/>
                    <a:pt x="29" y="30"/>
                    <a:pt x="29" y="30"/>
                  </a:cubicBezTo>
                  <a:cubicBezTo>
                    <a:pt x="58" y="30"/>
                    <a:pt x="58" y="0"/>
                    <a:pt x="87" y="0"/>
                  </a:cubicBezTo>
                  <a:cubicBezTo>
                    <a:pt x="58" y="0"/>
                    <a:pt x="58" y="3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0" name="Freeform 738">
              <a:extLst>
                <a:ext uri="{FF2B5EF4-FFF2-40B4-BE49-F238E27FC236}">
                  <a16:creationId xmlns:a16="http://schemas.microsoft.com/office/drawing/2014/main" id="{3E8C7B53-C420-4F4C-89E1-6BEED7E74991}"/>
                </a:ext>
              </a:extLst>
            </p:cNvPr>
            <p:cNvSpPr>
              <a:spLocks noChangeArrowheads="1"/>
            </p:cNvSpPr>
            <p:nvPr/>
          </p:nvSpPr>
          <p:spPr bwMode="auto">
            <a:xfrm>
              <a:off x="9496478" y="2280273"/>
              <a:ext cx="11416" cy="11328"/>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0" y="0"/>
                    <a:pt x="29" y="0"/>
                    <a:pt x="29" y="29"/>
                  </a:cubicBezTo>
                  <a:cubicBezTo>
                    <a:pt x="29"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1" name="Freeform 739">
              <a:extLst>
                <a:ext uri="{FF2B5EF4-FFF2-40B4-BE49-F238E27FC236}">
                  <a16:creationId xmlns:a16="http://schemas.microsoft.com/office/drawing/2014/main" id="{C990613E-189C-49E0-B004-F3F9C4CA560F}"/>
                </a:ext>
              </a:extLst>
            </p:cNvPr>
            <p:cNvSpPr>
              <a:spLocks noChangeArrowheads="1"/>
            </p:cNvSpPr>
            <p:nvPr/>
          </p:nvSpPr>
          <p:spPr bwMode="auto">
            <a:xfrm>
              <a:off x="4266358" y="1445220"/>
              <a:ext cx="1630" cy="11328"/>
            </a:xfrm>
            <a:custGeom>
              <a:avLst/>
              <a:gdLst>
                <a:gd name="T0" fmla="*/ 0 w 1"/>
                <a:gd name="T1" fmla="*/ 29 h 30"/>
                <a:gd name="T2" fmla="*/ 0 w 1"/>
                <a:gd name="T3" fmla="*/ 29 h 30"/>
                <a:gd name="T4" fmla="*/ 0 w 1"/>
                <a:gd name="T5" fmla="*/ 29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2" name="Freeform 740">
              <a:extLst>
                <a:ext uri="{FF2B5EF4-FFF2-40B4-BE49-F238E27FC236}">
                  <a16:creationId xmlns:a16="http://schemas.microsoft.com/office/drawing/2014/main" id="{EDFAA1C2-20E3-4B81-AF76-C42074A7C1E4}"/>
                </a:ext>
              </a:extLst>
            </p:cNvPr>
            <p:cNvSpPr>
              <a:spLocks noChangeArrowheads="1"/>
            </p:cNvSpPr>
            <p:nvPr/>
          </p:nvSpPr>
          <p:spPr bwMode="auto">
            <a:xfrm>
              <a:off x="4266358" y="1433891"/>
              <a:ext cx="1630" cy="22656"/>
            </a:xfrm>
            <a:custGeom>
              <a:avLst/>
              <a:gdLst>
                <a:gd name="T0" fmla="*/ 0 w 1"/>
                <a:gd name="T1" fmla="*/ 0 h 60"/>
                <a:gd name="T2" fmla="*/ 0 w 1"/>
                <a:gd name="T3" fmla="*/ 0 h 60"/>
                <a:gd name="T4" fmla="*/ 0 w 1"/>
                <a:gd name="T5" fmla="*/ 59 h 60"/>
                <a:gd name="T6" fmla="*/ 0 w 1"/>
                <a:gd name="T7" fmla="*/ 0 h 60"/>
              </a:gdLst>
              <a:ahLst/>
              <a:cxnLst>
                <a:cxn ang="0">
                  <a:pos x="T0" y="T1"/>
                </a:cxn>
                <a:cxn ang="0">
                  <a:pos x="T2" y="T3"/>
                </a:cxn>
                <a:cxn ang="0">
                  <a:pos x="T4" y="T5"/>
                </a:cxn>
                <a:cxn ang="0">
                  <a:pos x="T6" y="T7"/>
                </a:cxn>
              </a:cxnLst>
              <a:rect l="0" t="0" r="r" b="b"/>
              <a:pathLst>
                <a:path w="1" h="60">
                  <a:moveTo>
                    <a:pt x="0" y="0"/>
                  </a:moveTo>
                  <a:lnTo>
                    <a:pt x="0" y="0"/>
                  </a:lnTo>
                  <a:cubicBezTo>
                    <a:pt x="0" y="30"/>
                    <a:pt x="0" y="30"/>
                    <a:pt x="0" y="59"/>
                  </a:cubicBezTo>
                  <a:cubicBezTo>
                    <a:pt x="0" y="30"/>
                    <a:pt x="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3" name="Freeform 741">
              <a:extLst>
                <a:ext uri="{FF2B5EF4-FFF2-40B4-BE49-F238E27FC236}">
                  <a16:creationId xmlns:a16="http://schemas.microsoft.com/office/drawing/2014/main" id="{14889533-4FA6-475F-8C98-36167BC6F084}"/>
                </a:ext>
              </a:extLst>
            </p:cNvPr>
            <p:cNvSpPr>
              <a:spLocks noChangeArrowheads="1"/>
            </p:cNvSpPr>
            <p:nvPr/>
          </p:nvSpPr>
          <p:spPr bwMode="auto">
            <a:xfrm>
              <a:off x="4179922" y="1285006"/>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4" name="Freeform 742">
              <a:extLst>
                <a:ext uri="{FF2B5EF4-FFF2-40B4-BE49-F238E27FC236}">
                  <a16:creationId xmlns:a16="http://schemas.microsoft.com/office/drawing/2014/main" id="{47AB04A9-0158-4A29-9293-69E97875511C}"/>
                </a:ext>
              </a:extLst>
            </p:cNvPr>
            <p:cNvSpPr>
              <a:spLocks noChangeArrowheads="1"/>
            </p:cNvSpPr>
            <p:nvPr/>
          </p:nvSpPr>
          <p:spPr bwMode="auto">
            <a:xfrm>
              <a:off x="4404979" y="1145830"/>
              <a:ext cx="11416" cy="32366"/>
            </a:xfrm>
            <a:custGeom>
              <a:avLst/>
              <a:gdLst>
                <a:gd name="T0" fmla="*/ 0 w 30"/>
                <a:gd name="T1" fmla="*/ 86 h 87"/>
                <a:gd name="T2" fmla="*/ 0 w 30"/>
                <a:gd name="T3" fmla="*/ 86 h 87"/>
                <a:gd name="T4" fmla="*/ 29 w 30"/>
                <a:gd name="T5" fmla="*/ 57 h 87"/>
                <a:gd name="T6" fmla="*/ 29 w 30"/>
                <a:gd name="T7" fmla="*/ 57 h 87"/>
                <a:gd name="T8" fmla="*/ 29 w 30"/>
                <a:gd name="T9" fmla="*/ 28 h 87"/>
                <a:gd name="T10" fmla="*/ 29 w 30"/>
                <a:gd name="T11" fmla="*/ 0 h 87"/>
                <a:gd name="T12" fmla="*/ 0 w 30"/>
                <a:gd name="T13" fmla="*/ 57 h 87"/>
                <a:gd name="T14" fmla="*/ 0 w 30"/>
                <a:gd name="T15" fmla="*/ 8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87">
                  <a:moveTo>
                    <a:pt x="0" y="86"/>
                  </a:moveTo>
                  <a:lnTo>
                    <a:pt x="0" y="86"/>
                  </a:lnTo>
                  <a:cubicBezTo>
                    <a:pt x="0" y="57"/>
                    <a:pt x="0" y="57"/>
                    <a:pt x="29" y="57"/>
                  </a:cubicBezTo>
                  <a:lnTo>
                    <a:pt x="29" y="57"/>
                  </a:lnTo>
                  <a:lnTo>
                    <a:pt x="29" y="28"/>
                  </a:lnTo>
                  <a:lnTo>
                    <a:pt x="29" y="0"/>
                  </a:lnTo>
                  <a:cubicBezTo>
                    <a:pt x="0" y="28"/>
                    <a:pt x="0" y="28"/>
                    <a:pt x="0" y="57"/>
                  </a:cubicBezTo>
                  <a:cubicBezTo>
                    <a:pt x="0" y="57"/>
                    <a:pt x="0" y="57"/>
                    <a:pt x="0" y="8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5" name="Freeform 743">
              <a:extLst>
                <a:ext uri="{FF2B5EF4-FFF2-40B4-BE49-F238E27FC236}">
                  <a16:creationId xmlns:a16="http://schemas.microsoft.com/office/drawing/2014/main" id="{A05025BA-8EB2-4557-A46F-01204E34BA43}"/>
                </a:ext>
              </a:extLst>
            </p:cNvPr>
            <p:cNvSpPr>
              <a:spLocks noChangeArrowheads="1"/>
            </p:cNvSpPr>
            <p:nvPr/>
          </p:nvSpPr>
          <p:spPr bwMode="auto">
            <a:xfrm>
              <a:off x="4404979" y="1231602"/>
              <a:ext cx="21202" cy="1618"/>
            </a:xfrm>
            <a:custGeom>
              <a:avLst/>
              <a:gdLst>
                <a:gd name="T0" fmla="*/ 58 w 59"/>
                <a:gd name="T1" fmla="*/ 0 h 1"/>
                <a:gd name="T2" fmla="*/ 58 w 59"/>
                <a:gd name="T3" fmla="*/ 0 h 1"/>
                <a:gd name="T4" fmla="*/ 0 w 59"/>
                <a:gd name="T5" fmla="*/ 0 h 1"/>
                <a:gd name="T6" fmla="*/ 0 w 59"/>
                <a:gd name="T7" fmla="*/ 0 h 1"/>
                <a:gd name="T8" fmla="*/ 0 w 59"/>
                <a:gd name="T9" fmla="*/ 0 h 1"/>
                <a:gd name="T10" fmla="*/ 0 w 59"/>
                <a:gd name="T11" fmla="*/ 0 h 1"/>
                <a:gd name="T12" fmla="*/ 58 w 59"/>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59" h="1">
                  <a:moveTo>
                    <a:pt x="58" y="0"/>
                  </a:moveTo>
                  <a:lnTo>
                    <a:pt x="58" y="0"/>
                  </a:lnTo>
                  <a:cubicBezTo>
                    <a:pt x="29" y="0"/>
                    <a:pt x="29" y="0"/>
                    <a:pt x="0" y="0"/>
                  </a:cubicBezTo>
                  <a:lnTo>
                    <a:pt x="0" y="0"/>
                  </a:lnTo>
                  <a:lnTo>
                    <a:pt x="0" y="0"/>
                  </a:lnTo>
                  <a:lnTo>
                    <a:pt x="0" y="0"/>
                  </a:lnTo>
                  <a:cubicBezTo>
                    <a:pt x="29" y="0"/>
                    <a:pt x="29"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6" name="Freeform 744">
              <a:extLst>
                <a:ext uri="{FF2B5EF4-FFF2-40B4-BE49-F238E27FC236}">
                  <a16:creationId xmlns:a16="http://schemas.microsoft.com/office/drawing/2014/main" id="{8553A79E-5112-4E47-AB9E-C7A323ACB904}"/>
                </a:ext>
              </a:extLst>
            </p:cNvPr>
            <p:cNvSpPr>
              <a:spLocks noChangeArrowheads="1"/>
            </p:cNvSpPr>
            <p:nvPr/>
          </p:nvSpPr>
          <p:spPr bwMode="auto">
            <a:xfrm>
              <a:off x="4168507" y="1242929"/>
              <a:ext cx="11415" cy="1619"/>
            </a:xfrm>
            <a:custGeom>
              <a:avLst/>
              <a:gdLst>
                <a:gd name="T0" fmla="*/ 0 w 31"/>
                <a:gd name="T1" fmla="*/ 0 h 1"/>
                <a:gd name="T2" fmla="*/ 0 w 31"/>
                <a:gd name="T3" fmla="*/ 0 h 1"/>
                <a:gd name="T4" fmla="*/ 0 w 31"/>
                <a:gd name="T5" fmla="*/ 0 h 1"/>
                <a:gd name="T6" fmla="*/ 0 w 31"/>
                <a:gd name="T7" fmla="*/ 0 h 1"/>
                <a:gd name="T8" fmla="*/ 0 w 31"/>
                <a:gd name="T9" fmla="*/ 0 h 1"/>
                <a:gd name="T10" fmla="*/ 30 w 31"/>
                <a:gd name="T11" fmla="*/ 0 h 1"/>
                <a:gd name="T12" fmla="*/ 0 w 3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1" h="1">
                  <a:moveTo>
                    <a:pt x="0" y="0"/>
                  </a:moveTo>
                  <a:lnTo>
                    <a:pt x="0" y="0"/>
                  </a:lnTo>
                  <a:lnTo>
                    <a:pt x="0" y="0"/>
                  </a:lnTo>
                  <a:lnTo>
                    <a:pt x="0" y="0"/>
                  </a:lnTo>
                  <a:lnTo>
                    <a:pt x="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7" name="Freeform 745">
              <a:extLst>
                <a:ext uri="{FF2B5EF4-FFF2-40B4-BE49-F238E27FC236}">
                  <a16:creationId xmlns:a16="http://schemas.microsoft.com/office/drawing/2014/main" id="{16D5BEB1-5FF2-44FD-9790-923F1CAA8DF7}"/>
                </a:ext>
              </a:extLst>
            </p:cNvPr>
            <p:cNvSpPr>
              <a:spLocks noChangeArrowheads="1"/>
            </p:cNvSpPr>
            <p:nvPr/>
          </p:nvSpPr>
          <p:spPr bwMode="auto">
            <a:xfrm>
              <a:off x="4179922" y="1242929"/>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8" name="Freeform 746">
              <a:extLst>
                <a:ext uri="{FF2B5EF4-FFF2-40B4-BE49-F238E27FC236}">
                  <a16:creationId xmlns:a16="http://schemas.microsoft.com/office/drawing/2014/main" id="{650575AB-B028-4884-8E20-71B34D1BC35C}"/>
                </a:ext>
              </a:extLst>
            </p:cNvPr>
            <p:cNvSpPr>
              <a:spLocks noChangeArrowheads="1"/>
            </p:cNvSpPr>
            <p:nvPr/>
          </p:nvSpPr>
          <p:spPr bwMode="auto">
            <a:xfrm>
              <a:off x="4135890" y="1338411"/>
              <a:ext cx="11415" cy="11328"/>
            </a:xfrm>
            <a:custGeom>
              <a:avLst/>
              <a:gdLst>
                <a:gd name="T0" fmla="*/ 28 w 29"/>
                <a:gd name="T1" fmla="*/ 0 h 30"/>
                <a:gd name="T2" fmla="*/ 28 w 29"/>
                <a:gd name="T3" fmla="*/ 0 h 30"/>
                <a:gd name="T4" fmla="*/ 0 w 29"/>
                <a:gd name="T5" fmla="*/ 0 h 30"/>
                <a:gd name="T6" fmla="*/ 0 w 29"/>
                <a:gd name="T7" fmla="*/ 29 h 30"/>
                <a:gd name="T8" fmla="*/ 0 w 29"/>
                <a:gd name="T9" fmla="*/ 0 h 30"/>
                <a:gd name="T10" fmla="*/ 28 w 29"/>
                <a:gd name="T11" fmla="*/ 0 h 30"/>
              </a:gdLst>
              <a:ahLst/>
              <a:cxnLst>
                <a:cxn ang="0">
                  <a:pos x="T0" y="T1"/>
                </a:cxn>
                <a:cxn ang="0">
                  <a:pos x="T2" y="T3"/>
                </a:cxn>
                <a:cxn ang="0">
                  <a:pos x="T4" y="T5"/>
                </a:cxn>
                <a:cxn ang="0">
                  <a:pos x="T6" y="T7"/>
                </a:cxn>
                <a:cxn ang="0">
                  <a:pos x="T8" y="T9"/>
                </a:cxn>
                <a:cxn ang="0">
                  <a:pos x="T10" y="T11"/>
                </a:cxn>
              </a:cxnLst>
              <a:rect l="0" t="0" r="r" b="b"/>
              <a:pathLst>
                <a:path w="29" h="30">
                  <a:moveTo>
                    <a:pt x="28" y="0"/>
                  </a:moveTo>
                  <a:lnTo>
                    <a:pt x="28" y="0"/>
                  </a:lnTo>
                  <a:cubicBezTo>
                    <a:pt x="0" y="0"/>
                    <a:pt x="0" y="0"/>
                    <a:pt x="0" y="0"/>
                  </a:cubicBezTo>
                  <a:cubicBezTo>
                    <a:pt x="0" y="29"/>
                    <a:pt x="0" y="29"/>
                    <a:pt x="0" y="29"/>
                  </a:cubicBezTo>
                  <a:cubicBezTo>
                    <a:pt x="0" y="0"/>
                    <a:pt x="0" y="0"/>
                    <a:pt x="0" y="0"/>
                  </a:cubicBezTo>
                  <a:cubicBezTo>
                    <a:pt x="0" y="0"/>
                    <a:pt x="0" y="0"/>
                    <a:pt x="2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69" name="Freeform 747">
              <a:extLst>
                <a:ext uri="{FF2B5EF4-FFF2-40B4-BE49-F238E27FC236}">
                  <a16:creationId xmlns:a16="http://schemas.microsoft.com/office/drawing/2014/main" id="{85AEFFA1-DA84-427B-8116-2FC17FFEDD29}"/>
                </a:ext>
              </a:extLst>
            </p:cNvPr>
            <p:cNvSpPr>
              <a:spLocks noChangeArrowheads="1"/>
            </p:cNvSpPr>
            <p:nvPr/>
          </p:nvSpPr>
          <p:spPr bwMode="auto">
            <a:xfrm>
              <a:off x="4135890" y="1370777"/>
              <a:ext cx="11415" cy="1618"/>
            </a:xfrm>
            <a:custGeom>
              <a:avLst/>
              <a:gdLst>
                <a:gd name="T0" fmla="*/ 28 w 29"/>
                <a:gd name="T1" fmla="*/ 0 h 1"/>
                <a:gd name="T2" fmla="*/ 28 w 29"/>
                <a:gd name="T3" fmla="*/ 0 h 1"/>
                <a:gd name="T4" fmla="*/ 28 w 29"/>
                <a:gd name="T5" fmla="*/ 0 h 1"/>
                <a:gd name="T6" fmla="*/ 28 w 29"/>
                <a:gd name="T7" fmla="*/ 0 h 1"/>
                <a:gd name="T8" fmla="*/ 0 w 29"/>
                <a:gd name="T9" fmla="*/ 0 h 1"/>
                <a:gd name="T10" fmla="*/ 28 w 29"/>
                <a:gd name="T11" fmla="*/ 0 h 1"/>
              </a:gdLst>
              <a:ahLst/>
              <a:cxnLst>
                <a:cxn ang="0">
                  <a:pos x="T0" y="T1"/>
                </a:cxn>
                <a:cxn ang="0">
                  <a:pos x="T2" y="T3"/>
                </a:cxn>
                <a:cxn ang="0">
                  <a:pos x="T4" y="T5"/>
                </a:cxn>
                <a:cxn ang="0">
                  <a:pos x="T6" y="T7"/>
                </a:cxn>
                <a:cxn ang="0">
                  <a:pos x="T8" y="T9"/>
                </a:cxn>
                <a:cxn ang="0">
                  <a:pos x="T10" y="T11"/>
                </a:cxn>
              </a:cxnLst>
              <a:rect l="0" t="0" r="r" b="b"/>
              <a:pathLst>
                <a:path w="29" h="1">
                  <a:moveTo>
                    <a:pt x="28" y="0"/>
                  </a:moveTo>
                  <a:lnTo>
                    <a:pt x="28" y="0"/>
                  </a:lnTo>
                  <a:lnTo>
                    <a:pt x="28" y="0"/>
                  </a:lnTo>
                  <a:lnTo>
                    <a:pt x="28" y="0"/>
                  </a:lnTo>
                  <a:lnTo>
                    <a:pt x="0" y="0"/>
                  </a:lnTo>
                  <a:lnTo>
                    <a:pt x="2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0" name="Freeform 748">
              <a:extLst>
                <a:ext uri="{FF2B5EF4-FFF2-40B4-BE49-F238E27FC236}">
                  <a16:creationId xmlns:a16="http://schemas.microsoft.com/office/drawing/2014/main" id="{AF1334F3-D53A-4124-8C94-50C07A7FC827}"/>
                </a:ext>
              </a:extLst>
            </p:cNvPr>
            <p:cNvSpPr>
              <a:spLocks noChangeArrowheads="1"/>
            </p:cNvSpPr>
            <p:nvPr/>
          </p:nvSpPr>
          <p:spPr bwMode="auto">
            <a:xfrm>
              <a:off x="4416395" y="1178196"/>
              <a:ext cx="1630" cy="11329"/>
            </a:xfrm>
            <a:custGeom>
              <a:avLst/>
              <a:gdLst>
                <a:gd name="T0" fmla="*/ 0 w 1"/>
                <a:gd name="T1" fmla="*/ 30 h 31"/>
                <a:gd name="T2" fmla="*/ 0 w 1"/>
                <a:gd name="T3" fmla="*/ 30 h 31"/>
                <a:gd name="T4" fmla="*/ 0 w 1"/>
                <a:gd name="T5" fmla="*/ 30 h 31"/>
                <a:gd name="T6" fmla="*/ 0 w 1"/>
                <a:gd name="T7" fmla="*/ 0 h 31"/>
                <a:gd name="T8" fmla="*/ 0 w 1"/>
                <a:gd name="T9" fmla="*/ 30 h 31"/>
              </a:gdLst>
              <a:ahLst/>
              <a:cxnLst>
                <a:cxn ang="0">
                  <a:pos x="T0" y="T1"/>
                </a:cxn>
                <a:cxn ang="0">
                  <a:pos x="T2" y="T3"/>
                </a:cxn>
                <a:cxn ang="0">
                  <a:pos x="T4" y="T5"/>
                </a:cxn>
                <a:cxn ang="0">
                  <a:pos x="T6" y="T7"/>
                </a:cxn>
                <a:cxn ang="0">
                  <a:pos x="T8" y="T9"/>
                </a:cxn>
              </a:cxnLst>
              <a:rect l="0" t="0" r="r" b="b"/>
              <a:pathLst>
                <a:path w="1" h="31">
                  <a:moveTo>
                    <a:pt x="0" y="30"/>
                  </a:moveTo>
                  <a:lnTo>
                    <a:pt x="0" y="30"/>
                  </a:lnTo>
                  <a:lnTo>
                    <a:pt x="0" y="30"/>
                  </a:lnTo>
                  <a:cubicBezTo>
                    <a:pt x="0" y="30"/>
                    <a:pt x="0" y="30"/>
                    <a:pt x="0"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1" name="Freeform 749">
              <a:extLst>
                <a:ext uri="{FF2B5EF4-FFF2-40B4-BE49-F238E27FC236}">
                  <a16:creationId xmlns:a16="http://schemas.microsoft.com/office/drawing/2014/main" id="{AFB4E885-EC51-46F6-8457-C7769D362DF1}"/>
                </a:ext>
              </a:extLst>
            </p:cNvPr>
            <p:cNvSpPr>
              <a:spLocks noChangeArrowheads="1"/>
            </p:cNvSpPr>
            <p:nvPr/>
          </p:nvSpPr>
          <p:spPr bwMode="auto">
            <a:xfrm>
              <a:off x="4157090" y="1252639"/>
              <a:ext cx="11416" cy="32366"/>
            </a:xfrm>
            <a:custGeom>
              <a:avLst/>
              <a:gdLst>
                <a:gd name="T0" fmla="*/ 0 w 30"/>
                <a:gd name="T1" fmla="*/ 29 h 88"/>
                <a:gd name="T2" fmla="*/ 0 w 30"/>
                <a:gd name="T3" fmla="*/ 29 h 88"/>
                <a:gd name="T4" fmla="*/ 29 w 30"/>
                <a:gd name="T5" fmla="*/ 59 h 88"/>
                <a:gd name="T6" fmla="*/ 29 w 30"/>
                <a:gd name="T7" fmla="*/ 87 h 88"/>
                <a:gd name="T8" fmla="*/ 29 w 30"/>
                <a:gd name="T9" fmla="*/ 59 h 88"/>
                <a:gd name="T10" fmla="*/ 0 w 30"/>
                <a:gd name="T11" fmla="*/ 29 h 88"/>
                <a:gd name="T12" fmla="*/ 0 w 30"/>
                <a:gd name="T13" fmla="*/ 0 h 88"/>
                <a:gd name="T14" fmla="*/ 0 w 30"/>
                <a:gd name="T15" fmla="*/ 0 h 88"/>
                <a:gd name="T16" fmla="*/ 0 w 30"/>
                <a:gd name="T17"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88">
                  <a:moveTo>
                    <a:pt x="0" y="29"/>
                  </a:moveTo>
                  <a:lnTo>
                    <a:pt x="0" y="29"/>
                  </a:lnTo>
                  <a:cubicBezTo>
                    <a:pt x="0" y="59"/>
                    <a:pt x="0" y="59"/>
                    <a:pt x="29" y="59"/>
                  </a:cubicBezTo>
                  <a:cubicBezTo>
                    <a:pt x="29" y="87"/>
                    <a:pt x="29" y="87"/>
                    <a:pt x="29" y="87"/>
                  </a:cubicBezTo>
                  <a:cubicBezTo>
                    <a:pt x="29" y="87"/>
                    <a:pt x="29" y="87"/>
                    <a:pt x="29" y="59"/>
                  </a:cubicBezTo>
                  <a:cubicBezTo>
                    <a:pt x="0" y="59"/>
                    <a:pt x="0" y="59"/>
                    <a:pt x="0" y="29"/>
                  </a:cubicBezTo>
                  <a:cubicBezTo>
                    <a:pt x="0" y="0"/>
                    <a:pt x="0" y="0"/>
                    <a:pt x="0" y="0"/>
                  </a:cubicBez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2" name="Freeform 750">
              <a:extLst>
                <a:ext uri="{FF2B5EF4-FFF2-40B4-BE49-F238E27FC236}">
                  <a16:creationId xmlns:a16="http://schemas.microsoft.com/office/drawing/2014/main" id="{B747F36A-F632-428A-89B1-69CD4334E4A3}"/>
                </a:ext>
              </a:extLst>
            </p:cNvPr>
            <p:cNvSpPr>
              <a:spLocks noChangeArrowheads="1"/>
            </p:cNvSpPr>
            <p:nvPr/>
          </p:nvSpPr>
          <p:spPr bwMode="auto">
            <a:xfrm>
              <a:off x="4179922" y="1242929"/>
              <a:ext cx="11416" cy="11329"/>
            </a:xfrm>
            <a:custGeom>
              <a:avLst/>
              <a:gdLst>
                <a:gd name="T0" fmla="*/ 0 w 30"/>
                <a:gd name="T1" fmla="*/ 0 h 30"/>
                <a:gd name="T2" fmla="*/ 0 w 30"/>
                <a:gd name="T3" fmla="*/ 0 h 30"/>
                <a:gd name="T4" fmla="*/ 29 w 30"/>
                <a:gd name="T5" fmla="*/ 29 h 30"/>
                <a:gd name="T6" fmla="*/ 0 w 30"/>
                <a:gd name="T7" fmla="*/ 0 h 30"/>
              </a:gdLst>
              <a:ahLst/>
              <a:cxnLst>
                <a:cxn ang="0">
                  <a:pos x="T0" y="T1"/>
                </a:cxn>
                <a:cxn ang="0">
                  <a:pos x="T2" y="T3"/>
                </a:cxn>
                <a:cxn ang="0">
                  <a:pos x="T4" y="T5"/>
                </a:cxn>
                <a:cxn ang="0">
                  <a:pos x="T6" y="T7"/>
                </a:cxn>
              </a:cxnLst>
              <a:rect l="0" t="0" r="r" b="b"/>
              <a:pathLst>
                <a:path w="30" h="30">
                  <a:moveTo>
                    <a:pt x="0" y="0"/>
                  </a:moveTo>
                  <a:lnTo>
                    <a:pt x="0" y="0"/>
                  </a:lnTo>
                  <a:cubicBezTo>
                    <a:pt x="29" y="29"/>
                    <a:pt x="29" y="29"/>
                    <a:pt x="29" y="29"/>
                  </a:cubicBezTo>
                  <a:cubicBezTo>
                    <a:pt x="29" y="29"/>
                    <a:pt x="29"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3" name="Freeform 751">
              <a:extLst>
                <a:ext uri="{FF2B5EF4-FFF2-40B4-BE49-F238E27FC236}">
                  <a16:creationId xmlns:a16="http://schemas.microsoft.com/office/drawing/2014/main" id="{B38FB23B-FB77-4F4E-8B4F-B32607551252}"/>
                </a:ext>
              </a:extLst>
            </p:cNvPr>
            <p:cNvSpPr>
              <a:spLocks noChangeArrowheads="1"/>
            </p:cNvSpPr>
            <p:nvPr/>
          </p:nvSpPr>
          <p:spPr bwMode="auto">
            <a:xfrm>
              <a:off x="4179922" y="1252639"/>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4" name="Freeform 752">
              <a:extLst>
                <a:ext uri="{FF2B5EF4-FFF2-40B4-BE49-F238E27FC236}">
                  <a16:creationId xmlns:a16="http://schemas.microsoft.com/office/drawing/2014/main" id="{DD83C46E-DA8B-4975-AD52-DD4F156A58C4}"/>
                </a:ext>
              </a:extLst>
            </p:cNvPr>
            <p:cNvSpPr>
              <a:spLocks noChangeArrowheads="1"/>
            </p:cNvSpPr>
            <p:nvPr/>
          </p:nvSpPr>
          <p:spPr bwMode="auto">
            <a:xfrm>
              <a:off x="4470213" y="1103754"/>
              <a:ext cx="1631" cy="21039"/>
            </a:xfrm>
            <a:custGeom>
              <a:avLst/>
              <a:gdLst>
                <a:gd name="T0" fmla="*/ 0 w 1"/>
                <a:gd name="T1" fmla="*/ 29 h 59"/>
                <a:gd name="T2" fmla="*/ 0 w 1"/>
                <a:gd name="T3" fmla="*/ 29 h 59"/>
                <a:gd name="T4" fmla="*/ 0 w 1"/>
                <a:gd name="T5" fmla="*/ 58 h 59"/>
                <a:gd name="T6" fmla="*/ 0 w 1"/>
                <a:gd name="T7" fmla="*/ 29 h 59"/>
                <a:gd name="T8" fmla="*/ 0 w 1"/>
                <a:gd name="T9" fmla="*/ 0 h 59"/>
                <a:gd name="T10" fmla="*/ 0 w 1"/>
                <a:gd name="T11" fmla="*/ 29 h 59"/>
              </a:gdLst>
              <a:ahLst/>
              <a:cxnLst>
                <a:cxn ang="0">
                  <a:pos x="T0" y="T1"/>
                </a:cxn>
                <a:cxn ang="0">
                  <a:pos x="T2" y="T3"/>
                </a:cxn>
                <a:cxn ang="0">
                  <a:pos x="T4" y="T5"/>
                </a:cxn>
                <a:cxn ang="0">
                  <a:pos x="T6" y="T7"/>
                </a:cxn>
                <a:cxn ang="0">
                  <a:pos x="T8" y="T9"/>
                </a:cxn>
                <a:cxn ang="0">
                  <a:pos x="T10" y="T11"/>
                </a:cxn>
              </a:cxnLst>
              <a:rect l="0" t="0" r="r" b="b"/>
              <a:pathLst>
                <a:path w="1" h="59">
                  <a:moveTo>
                    <a:pt x="0" y="29"/>
                  </a:moveTo>
                  <a:lnTo>
                    <a:pt x="0" y="29"/>
                  </a:lnTo>
                  <a:cubicBezTo>
                    <a:pt x="0" y="29"/>
                    <a:pt x="0" y="29"/>
                    <a:pt x="0" y="58"/>
                  </a:cubicBezTo>
                  <a:cubicBezTo>
                    <a:pt x="0" y="29"/>
                    <a:pt x="0" y="29"/>
                    <a:pt x="0" y="29"/>
                  </a:cubicBez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5" name="Freeform 753">
              <a:extLst>
                <a:ext uri="{FF2B5EF4-FFF2-40B4-BE49-F238E27FC236}">
                  <a16:creationId xmlns:a16="http://schemas.microsoft.com/office/drawing/2014/main" id="{84904E8C-89B2-4AA8-A676-4E2E5D6EABB4}"/>
                </a:ext>
              </a:extLst>
            </p:cNvPr>
            <p:cNvSpPr>
              <a:spLocks noChangeArrowheads="1"/>
            </p:cNvSpPr>
            <p:nvPr/>
          </p:nvSpPr>
          <p:spPr bwMode="auto">
            <a:xfrm>
              <a:off x="4491414" y="116686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6" name="Freeform 754">
              <a:extLst>
                <a:ext uri="{FF2B5EF4-FFF2-40B4-BE49-F238E27FC236}">
                  <a16:creationId xmlns:a16="http://schemas.microsoft.com/office/drawing/2014/main" id="{261FE8F2-184B-4201-BB80-363F5013CFD6}"/>
                </a:ext>
              </a:extLst>
            </p:cNvPr>
            <p:cNvSpPr>
              <a:spLocks noChangeArrowheads="1"/>
            </p:cNvSpPr>
            <p:nvPr/>
          </p:nvSpPr>
          <p:spPr bwMode="auto">
            <a:xfrm>
              <a:off x="4470213" y="953250"/>
              <a:ext cx="172870" cy="53404"/>
            </a:xfrm>
            <a:custGeom>
              <a:avLst/>
              <a:gdLst>
                <a:gd name="T0" fmla="*/ 467 w 468"/>
                <a:gd name="T1" fmla="*/ 146 h 147"/>
                <a:gd name="T2" fmla="*/ 467 w 468"/>
                <a:gd name="T3" fmla="*/ 146 h 147"/>
                <a:gd name="T4" fmla="*/ 0 w 468"/>
                <a:gd name="T5" fmla="*/ 0 h 147"/>
                <a:gd name="T6" fmla="*/ 467 w 468"/>
                <a:gd name="T7" fmla="*/ 146 h 147"/>
              </a:gdLst>
              <a:ahLst/>
              <a:cxnLst>
                <a:cxn ang="0">
                  <a:pos x="T0" y="T1"/>
                </a:cxn>
                <a:cxn ang="0">
                  <a:pos x="T2" y="T3"/>
                </a:cxn>
                <a:cxn ang="0">
                  <a:pos x="T4" y="T5"/>
                </a:cxn>
                <a:cxn ang="0">
                  <a:pos x="T6" y="T7"/>
                </a:cxn>
              </a:cxnLst>
              <a:rect l="0" t="0" r="r" b="b"/>
              <a:pathLst>
                <a:path w="468" h="147">
                  <a:moveTo>
                    <a:pt x="467" y="146"/>
                  </a:moveTo>
                  <a:lnTo>
                    <a:pt x="467" y="146"/>
                  </a:lnTo>
                  <a:cubicBezTo>
                    <a:pt x="321" y="88"/>
                    <a:pt x="146" y="59"/>
                    <a:pt x="0" y="0"/>
                  </a:cubicBezTo>
                  <a:cubicBezTo>
                    <a:pt x="146" y="59"/>
                    <a:pt x="321" y="88"/>
                    <a:pt x="467"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7" name="Freeform 755">
              <a:extLst>
                <a:ext uri="{FF2B5EF4-FFF2-40B4-BE49-F238E27FC236}">
                  <a16:creationId xmlns:a16="http://schemas.microsoft.com/office/drawing/2014/main" id="{F29CCCEE-7B9B-44B3-89A4-1914F754B708}"/>
                </a:ext>
              </a:extLst>
            </p:cNvPr>
            <p:cNvSpPr>
              <a:spLocks noChangeArrowheads="1"/>
            </p:cNvSpPr>
            <p:nvPr/>
          </p:nvSpPr>
          <p:spPr bwMode="auto">
            <a:xfrm>
              <a:off x="4395194" y="1199235"/>
              <a:ext cx="21202" cy="43694"/>
            </a:xfrm>
            <a:custGeom>
              <a:avLst/>
              <a:gdLst>
                <a:gd name="T0" fmla="*/ 0 w 58"/>
                <a:gd name="T1" fmla="*/ 117 h 118"/>
                <a:gd name="T2" fmla="*/ 0 w 58"/>
                <a:gd name="T3" fmla="*/ 117 h 118"/>
                <a:gd name="T4" fmla="*/ 28 w 58"/>
                <a:gd name="T5" fmla="*/ 58 h 118"/>
                <a:gd name="T6" fmla="*/ 57 w 58"/>
                <a:gd name="T7" fmla="*/ 0 h 118"/>
                <a:gd name="T8" fmla="*/ 28 w 58"/>
                <a:gd name="T9" fmla="*/ 58 h 118"/>
                <a:gd name="T10" fmla="*/ 0 w 58"/>
                <a:gd name="T11" fmla="*/ 117 h 118"/>
              </a:gdLst>
              <a:ahLst/>
              <a:cxnLst>
                <a:cxn ang="0">
                  <a:pos x="T0" y="T1"/>
                </a:cxn>
                <a:cxn ang="0">
                  <a:pos x="T2" y="T3"/>
                </a:cxn>
                <a:cxn ang="0">
                  <a:pos x="T4" y="T5"/>
                </a:cxn>
                <a:cxn ang="0">
                  <a:pos x="T6" y="T7"/>
                </a:cxn>
                <a:cxn ang="0">
                  <a:pos x="T8" y="T9"/>
                </a:cxn>
                <a:cxn ang="0">
                  <a:pos x="T10" y="T11"/>
                </a:cxn>
              </a:cxnLst>
              <a:rect l="0" t="0" r="r" b="b"/>
              <a:pathLst>
                <a:path w="58" h="118">
                  <a:moveTo>
                    <a:pt x="0" y="117"/>
                  </a:moveTo>
                  <a:lnTo>
                    <a:pt x="0" y="117"/>
                  </a:lnTo>
                  <a:cubicBezTo>
                    <a:pt x="0" y="88"/>
                    <a:pt x="28" y="88"/>
                    <a:pt x="28" y="58"/>
                  </a:cubicBezTo>
                  <a:cubicBezTo>
                    <a:pt x="28" y="29"/>
                    <a:pt x="57" y="29"/>
                    <a:pt x="57" y="0"/>
                  </a:cubicBezTo>
                  <a:cubicBezTo>
                    <a:pt x="57" y="29"/>
                    <a:pt x="28" y="29"/>
                    <a:pt x="28" y="58"/>
                  </a:cubicBezTo>
                  <a:cubicBezTo>
                    <a:pt x="28" y="88"/>
                    <a:pt x="0"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8" name="Freeform 756">
              <a:extLst>
                <a:ext uri="{FF2B5EF4-FFF2-40B4-BE49-F238E27FC236}">
                  <a16:creationId xmlns:a16="http://schemas.microsoft.com/office/drawing/2014/main" id="{03596E53-B219-4740-9F20-05E1E4FFAB36}"/>
                </a:ext>
              </a:extLst>
            </p:cNvPr>
            <p:cNvSpPr>
              <a:spLocks noChangeArrowheads="1"/>
            </p:cNvSpPr>
            <p:nvPr/>
          </p:nvSpPr>
          <p:spPr bwMode="auto">
            <a:xfrm>
              <a:off x="4481629" y="1166869"/>
              <a:ext cx="11415" cy="11328"/>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cubicBezTo>
                    <a:pt x="0" y="29"/>
                    <a:pt x="29" y="29"/>
                    <a:pt x="29" y="0"/>
                  </a:cubicBezTo>
                  <a:cubicBezTo>
                    <a:pt x="29"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79" name="Freeform 757">
              <a:extLst>
                <a:ext uri="{FF2B5EF4-FFF2-40B4-BE49-F238E27FC236}">
                  <a16:creationId xmlns:a16="http://schemas.microsoft.com/office/drawing/2014/main" id="{2796A243-EAA4-4E19-AE69-F0C750B73A66}"/>
                </a:ext>
              </a:extLst>
            </p:cNvPr>
            <p:cNvSpPr>
              <a:spLocks noChangeArrowheads="1"/>
            </p:cNvSpPr>
            <p:nvPr/>
          </p:nvSpPr>
          <p:spPr bwMode="auto">
            <a:xfrm>
              <a:off x="4965990" y="1081097"/>
              <a:ext cx="205487" cy="53405"/>
            </a:xfrm>
            <a:custGeom>
              <a:avLst/>
              <a:gdLst>
                <a:gd name="T0" fmla="*/ 554 w 555"/>
                <a:gd name="T1" fmla="*/ 146 h 147"/>
                <a:gd name="T2" fmla="*/ 554 w 555"/>
                <a:gd name="T3" fmla="*/ 146 h 147"/>
                <a:gd name="T4" fmla="*/ 554 w 555"/>
                <a:gd name="T5" fmla="*/ 117 h 147"/>
                <a:gd name="T6" fmla="*/ 554 w 555"/>
                <a:gd name="T7" fmla="*/ 146 h 147"/>
                <a:gd name="T8" fmla="*/ 554 w 555"/>
                <a:gd name="T9" fmla="*/ 146 h 147"/>
                <a:gd name="T10" fmla="*/ 0 w 555"/>
                <a:gd name="T11" fmla="*/ 0 h 147"/>
                <a:gd name="T12" fmla="*/ 554 w 555"/>
                <a:gd name="T13" fmla="*/ 146 h 147"/>
              </a:gdLst>
              <a:ahLst/>
              <a:cxnLst>
                <a:cxn ang="0">
                  <a:pos x="T0" y="T1"/>
                </a:cxn>
                <a:cxn ang="0">
                  <a:pos x="T2" y="T3"/>
                </a:cxn>
                <a:cxn ang="0">
                  <a:pos x="T4" y="T5"/>
                </a:cxn>
                <a:cxn ang="0">
                  <a:pos x="T6" y="T7"/>
                </a:cxn>
                <a:cxn ang="0">
                  <a:pos x="T8" y="T9"/>
                </a:cxn>
                <a:cxn ang="0">
                  <a:pos x="T10" y="T11"/>
                </a:cxn>
                <a:cxn ang="0">
                  <a:pos x="T12" y="T13"/>
                </a:cxn>
              </a:cxnLst>
              <a:rect l="0" t="0" r="r" b="b"/>
              <a:pathLst>
                <a:path w="555" h="147">
                  <a:moveTo>
                    <a:pt x="554" y="146"/>
                  </a:moveTo>
                  <a:lnTo>
                    <a:pt x="554" y="146"/>
                  </a:lnTo>
                  <a:cubicBezTo>
                    <a:pt x="554" y="117"/>
                    <a:pt x="554" y="117"/>
                    <a:pt x="554" y="117"/>
                  </a:cubicBezTo>
                  <a:cubicBezTo>
                    <a:pt x="554" y="146"/>
                    <a:pt x="554" y="146"/>
                    <a:pt x="554" y="146"/>
                  </a:cubicBezTo>
                  <a:lnTo>
                    <a:pt x="554" y="146"/>
                  </a:lnTo>
                  <a:cubicBezTo>
                    <a:pt x="350" y="88"/>
                    <a:pt x="175" y="29"/>
                    <a:pt x="0" y="0"/>
                  </a:cubicBezTo>
                  <a:cubicBezTo>
                    <a:pt x="175" y="29"/>
                    <a:pt x="350" y="88"/>
                    <a:pt x="554"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0" name="Freeform 758">
              <a:extLst>
                <a:ext uri="{FF2B5EF4-FFF2-40B4-BE49-F238E27FC236}">
                  <a16:creationId xmlns:a16="http://schemas.microsoft.com/office/drawing/2014/main" id="{84FE0863-E8B0-431A-9BB4-8883CC75A370}"/>
                </a:ext>
              </a:extLst>
            </p:cNvPr>
            <p:cNvSpPr>
              <a:spLocks noChangeArrowheads="1"/>
            </p:cNvSpPr>
            <p:nvPr/>
          </p:nvSpPr>
          <p:spPr bwMode="auto">
            <a:xfrm>
              <a:off x="4675699" y="1006655"/>
              <a:ext cx="22832" cy="11329"/>
            </a:xfrm>
            <a:custGeom>
              <a:avLst/>
              <a:gdLst>
                <a:gd name="T0" fmla="*/ 59 w 60"/>
                <a:gd name="T1" fmla="*/ 30 h 31"/>
                <a:gd name="T2" fmla="*/ 59 w 60"/>
                <a:gd name="T3" fmla="*/ 30 h 31"/>
                <a:gd name="T4" fmla="*/ 0 w 60"/>
                <a:gd name="T5" fmla="*/ 0 h 31"/>
                <a:gd name="T6" fmla="*/ 59 w 60"/>
                <a:gd name="T7" fmla="*/ 30 h 31"/>
              </a:gdLst>
              <a:ahLst/>
              <a:cxnLst>
                <a:cxn ang="0">
                  <a:pos x="T0" y="T1"/>
                </a:cxn>
                <a:cxn ang="0">
                  <a:pos x="T2" y="T3"/>
                </a:cxn>
                <a:cxn ang="0">
                  <a:pos x="T4" y="T5"/>
                </a:cxn>
                <a:cxn ang="0">
                  <a:pos x="T6" y="T7"/>
                </a:cxn>
              </a:cxnLst>
              <a:rect l="0" t="0" r="r" b="b"/>
              <a:pathLst>
                <a:path w="60" h="31">
                  <a:moveTo>
                    <a:pt x="59" y="30"/>
                  </a:moveTo>
                  <a:lnTo>
                    <a:pt x="59" y="30"/>
                  </a:lnTo>
                  <a:cubicBezTo>
                    <a:pt x="59" y="30"/>
                    <a:pt x="29" y="0"/>
                    <a:pt x="0" y="0"/>
                  </a:cubicBezTo>
                  <a:cubicBezTo>
                    <a:pt x="29" y="0"/>
                    <a:pt x="59" y="30"/>
                    <a:pt x="5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1" name="Freeform 759">
              <a:extLst>
                <a:ext uri="{FF2B5EF4-FFF2-40B4-BE49-F238E27FC236}">
                  <a16:creationId xmlns:a16="http://schemas.microsoft.com/office/drawing/2014/main" id="{01DE1D1C-F8A2-4AF0-9FEF-7CEFC7351104}"/>
                </a:ext>
              </a:extLst>
            </p:cNvPr>
            <p:cNvSpPr>
              <a:spLocks noChangeArrowheads="1"/>
            </p:cNvSpPr>
            <p:nvPr/>
          </p:nvSpPr>
          <p:spPr bwMode="auto">
            <a:xfrm>
              <a:off x="4481629" y="1166869"/>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2" name="Freeform 760">
              <a:extLst>
                <a:ext uri="{FF2B5EF4-FFF2-40B4-BE49-F238E27FC236}">
                  <a16:creationId xmlns:a16="http://schemas.microsoft.com/office/drawing/2014/main" id="{832568AE-0015-4982-B048-CE8EDECB37A6}"/>
                </a:ext>
              </a:extLst>
            </p:cNvPr>
            <p:cNvSpPr>
              <a:spLocks noChangeArrowheads="1"/>
            </p:cNvSpPr>
            <p:nvPr/>
          </p:nvSpPr>
          <p:spPr bwMode="auto">
            <a:xfrm>
              <a:off x="10121093" y="504112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3" name="Freeform 761">
              <a:extLst>
                <a:ext uri="{FF2B5EF4-FFF2-40B4-BE49-F238E27FC236}">
                  <a16:creationId xmlns:a16="http://schemas.microsoft.com/office/drawing/2014/main" id="{EBB5EE72-4BE9-461E-9A12-7651F3B10F13}"/>
                </a:ext>
              </a:extLst>
            </p:cNvPr>
            <p:cNvSpPr>
              <a:spLocks noChangeArrowheads="1"/>
            </p:cNvSpPr>
            <p:nvPr/>
          </p:nvSpPr>
          <p:spPr bwMode="auto">
            <a:xfrm>
              <a:off x="4470213" y="985617"/>
              <a:ext cx="11416" cy="1618"/>
            </a:xfrm>
            <a:custGeom>
              <a:avLst/>
              <a:gdLst>
                <a:gd name="T0" fmla="*/ 0 w 31"/>
                <a:gd name="T1" fmla="*/ 0 h 1"/>
                <a:gd name="T2" fmla="*/ 0 w 31"/>
                <a:gd name="T3" fmla="*/ 0 h 1"/>
                <a:gd name="T4" fmla="*/ 30 w 31"/>
                <a:gd name="T5" fmla="*/ 0 h 1"/>
                <a:gd name="T6" fmla="*/ 0 w 31"/>
                <a:gd name="T7" fmla="*/ 0 h 1"/>
              </a:gdLst>
              <a:ahLst/>
              <a:cxnLst>
                <a:cxn ang="0">
                  <a:pos x="T0" y="T1"/>
                </a:cxn>
                <a:cxn ang="0">
                  <a:pos x="T2" y="T3"/>
                </a:cxn>
                <a:cxn ang="0">
                  <a:pos x="T4" y="T5"/>
                </a:cxn>
                <a:cxn ang="0">
                  <a:pos x="T6" y="T7"/>
                </a:cxn>
              </a:cxnLst>
              <a:rect l="0" t="0" r="r" b="b"/>
              <a:pathLst>
                <a:path w="31" h="1">
                  <a:moveTo>
                    <a:pt x="0" y="0"/>
                  </a:moveTo>
                  <a:lnTo>
                    <a:pt x="0" y="0"/>
                  </a:lnTo>
                  <a:cubicBezTo>
                    <a:pt x="30" y="0"/>
                    <a:pt x="30" y="0"/>
                    <a:pt x="30" y="0"/>
                  </a:cubicBezTo>
                  <a:cubicBezTo>
                    <a:pt x="30" y="0"/>
                    <a:pt x="3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4" name="Freeform 762">
              <a:extLst>
                <a:ext uri="{FF2B5EF4-FFF2-40B4-BE49-F238E27FC236}">
                  <a16:creationId xmlns:a16="http://schemas.microsoft.com/office/drawing/2014/main" id="{EFC666EA-4781-4845-A7D9-1EAB1FC217EA}"/>
                </a:ext>
              </a:extLst>
            </p:cNvPr>
            <p:cNvSpPr>
              <a:spLocks noChangeArrowheads="1"/>
            </p:cNvSpPr>
            <p:nvPr/>
          </p:nvSpPr>
          <p:spPr bwMode="auto">
            <a:xfrm>
              <a:off x="4460428" y="1103754"/>
              <a:ext cx="11416" cy="11329"/>
            </a:xfrm>
            <a:custGeom>
              <a:avLst/>
              <a:gdLst>
                <a:gd name="T0" fmla="*/ 0 w 30"/>
                <a:gd name="T1" fmla="*/ 29 h 30"/>
                <a:gd name="T2" fmla="*/ 0 w 30"/>
                <a:gd name="T3" fmla="*/ 29 h 30"/>
                <a:gd name="T4" fmla="*/ 29 w 30"/>
                <a:gd name="T5" fmla="*/ 0 h 30"/>
                <a:gd name="T6" fmla="*/ 0 w 30"/>
                <a:gd name="T7" fmla="*/ 29 h 30"/>
              </a:gdLst>
              <a:ahLst/>
              <a:cxnLst>
                <a:cxn ang="0">
                  <a:pos x="T0" y="T1"/>
                </a:cxn>
                <a:cxn ang="0">
                  <a:pos x="T2" y="T3"/>
                </a:cxn>
                <a:cxn ang="0">
                  <a:pos x="T4" y="T5"/>
                </a:cxn>
                <a:cxn ang="0">
                  <a:pos x="T6" y="T7"/>
                </a:cxn>
              </a:cxnLst>
              <a:rect l="0" t="0" r="r" b="b"/>
              <a:pathLst>
                <a:path w="30" h="30">
                  <a:moveTo>
                    <a:pt x="0" y="29"/>
                  </a:moveTo>
                  <a:lnTo>
                    <a:pt x="0" y="29"/>
                  </a:lnTo>
                  <a:cubicBezTo>
                    <a:pt x="29" y="29"/>
                    <a:pt x="29" y="0"/>
                    <a:pt x="29" y="0"/>
                  </a:cubicBezTo>
                  <a:cubicBezTo>
                    <a:pt x="29" y="0"/>
                    <a:pt x="29"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5" name="Freeform 763">
              <a:extLst>
                <a:ext uri="{FF2B5EF4-FFF2-40B4-BE49-F238E27FC236}">
                  <a16:creationId xmlns:a16="http://schemas.microsoft.com/office/drawing/2014/main" id="{85653BB0-F313-4D70-A452-7307AF1E159F}"/>
                </a:ext>
              </a:extLst>
            </p:cNvPr>
            <p:cNvSpPr>
              <a:spLocks noChangeArrowheads="1"/>
            </p:cNvSpPr>
            <p:nvPr/>
          </p:nvSpPr>
          <p:spPr bwMode="auto">
            <a:xfrm>
              <a:off x="4460428" y="1145830"/>
              <a:ext cx="11416" cy="1619"/>
            </a:xfrm>
            <a:custGeom>
              <a:avLst/>
              <a:gdLst>
                <a:gd name="T0" fmla="*/ 29 w 30"/>
                <a:gd name="T1" fmla="*/ 0 h 1"/>
                <a:gd name="T2" fmla="*/ 29 w 30"/>
                <a:gd name="T3" fmla="*/ 0 h 1"/>
                <a:gd name="T4" fmla="*/ 0 w 30"/>
                <a:gd name="T5" fmla="*/ 0 h 1"/>
                <a:gd name="T6" fmla="*/ 0 w 30"/>
                <a:gd name="T7" fmla="*/ 0 h 1"/>
                <a:gd name="T8" fmla="*/ 0 w 30"/>
                <a:gd name="T9" fmla="*/ 0 h 1"/>
                <a:gd name="T10" fmla="*/ 0 w 30"/>
                <a:gd name="T11" fmla="*/ 0 h 1"/>
                <a:gd name="T12" fmla="*/ 29 w 3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0" h="1">
                  <a:moveTo>
                    <a:pt x="29" y="0"/>
                  </a:moveTo>
                  <a:lnTo>
                    <a:pt x="29" y="0"/>
                  </a:lnTo>
                  <a:lnTo>
                    <a:pt x="0" y="0"/>
                  </a:lnTo>
                  <a:lnTo>
                    <a:pt x="0" y="0"/>
                  </a:lnTo>
                  <a:lnTo>
                    <a:pt x="0"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6" name="Freeform 764">
              <a:extLst>
                <a:ext uri="{FF2B5EF4-FFF2-40B4-BE49-F238E27FC236}">
                  <a16:creationId xmlns:a16="http://schemas.microsoft.com/office/drawing/2014/main" id="{27B72048-D320-4D87-8FDA-18D86ECEC77A}"/>
                </a:ext>
              </a:extLst>
            </p:cNvPr>
            <p:cNvSpPr>
              <a:spLocks noChangeArrowheads="1"/>
            </p:cNvSpPr>
            <p:nvPr/>
          </p:nvSpPr>
          <p:spPr bwMode="auto">
            <a:xfrm>
              <a:off x="5171476" y="1134502"/>
              <a:ext cx="107636" cy="21038"/>
            </a:xfrm>
            <a:custGeom>
              <a:avLst/>
              <a:gdLst>
                <a:gd name="T0" fmla="*/ 146 w 293"/>
                <a:gd name="T1" fmla="*/ 30 h 59"/>
                <a:gd name="T2" fmla="*/ 146 w 293"/>
                <a:gd name="T3" fmla="*/ 30 h 59"/>
                <a:gd name="T4" fmla="*/ 292 w 293"/>
                <a:gd name="T5" fmla="*/ 58 h 59"/>
                <a:gd name="T6" fmla="*/ 146 w 293"/>
                <a:gd name="T7" fmla="*/ 30 h 59"/>
                <a:gd name="T8" fmla="*/ 0 w 293"/>
                <a:gd name="T9" fmla="*/ 0 h 59"/>
                <a:gd name="T10" fmla="*/ 146 w 293"/>
                <a:gd name="T11" fmla="*/ 30 h 59"/>
              </a:gdLst>
              <a:ahLst/>
              <a:cxnLst>
                <a:cxn ang="0">
                  <a:pos x="T0" y="T1"/>
                </a:cxn>
                <a:cxn ang="0">
                  <a:pos x="T2" y="T3"/>
                </a:cxn>
                <a:cxn ang="0">
                  <a:pos x="T4" y="T5"/>
                </a:cxn>
                <a:cxn ang="0">
                  <a:pos x="T6" y="T7"/>
                </a:cxn>
                <a:cxn ang="0">
                  <a:pos x="T8" y="T9"/>
                </a:cxn>
                <a:cxn ang="0">
                  <a:pos x="T10" y="T11"/>
                </a:cxn>
              </a:cxnLst>
              <a:rect l="0" t="0" r="r" b="b"/>
              <a:pathLst>
                <a:path w="293" h="59">
                  <a:moveTo>
                    <a:pt x="146" y="30"/>
                  </a:moveTo>
                  <a:lnTo>
                    <a:pt x="146" y="30"/>
                  </a:lnTo>
                  <a:cubicBezTo>
                    <a:pt x="204" y="30"/>
                    <a:pt x="263" y="58"/>
                    <a:pt x="292" y="58"/>
                  </a:cubicBezTo>
                  <a:cubicBezTo>
                    <a:pt x="263" y="58"/>
                    <a:pt x="204" y="30"/>
                    <a:pt x="146" y="30"/>
                  </a:cubicBezTo>
                  <a:cubicBezTo>
                    <a:pt x="117" y="0"/>
                    <a:pt x="58" y="0"/>
                    <a:pt x="0" y="0"/>
                  </a:cubicBezTo>
                  <a:cubicBezTo>
                    <a:pt x="58" y="0"/>
                    <a:pt x="117" y="0"/>
                    <a:pt x="146"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7" name="Freeform 765">
              <a:extLst>
                <a:ext uri="{FF2B5EF4-FFF2-40B4-BE49-F238E27FC236}">
                  <a16:creationId xmlns:a16="http://schemas.microsoft.com/office/drawing/2014/main" id="{1CA06B9F-07EB-4DC1-8D7F-A524246033A1}"/>
                </a:ext>
              </a:extLst>
            </p:cNvPr>
            <p:cNvSpPr>
              <a:spLocks noChangeArrowheads="1"/>
            </p:cNvSpPr>
            <p:nvPr/>
          </p:nvSpPr>
          <p:spPr bwMode="auto">
            <a:xfrm>
              <a:off x="3747749" y="2247907"/>
              <a:ext cx="11415" cy="43694"/>
            </a:xfrm>
            <a:custGeom>
              <a:avLst/>
              <a:gdLst>
                <a:gd name="T0" fmla="*/ 0 w 30"/>
                <a:gd name="T1" fmla="*/ 117 h 118"/>
                <a:gd name="T2" fmla="*/ 0 w 30"/>
                <a:gd name="T3" fmla="*/ 117 h 118"/>
                <a:gd name="T4" fmla="*/ 0 w 30"/>
                <a:gd name="T5" fmla="*/ 117 h 118"/>
                <a:gd name="T6" fmla="*/ 29 w 30"/>
                <a:gd name="T7" fmla="*/ 0 h 118"/>
                <a:gd name="T8" fmla="*/ 0 w 30"/>
                <a:gd name="T9" fmla="*/ 117 h 118"/>
              </a:gdLst>
              <a:ahLst/>
              <a:cxnLst>
                <a:cxn ang="0">
                  <a:pos x="T0" y="T1"/>
                </a:cxn>
                <a:cxn ang="0">
                  <a:pos x="T2" y="T3"/>
                </a:cxn>
                <a:cxn ang="0">
                  <a:pos x="T4" y="T5"/>
                </a:cxn>
                <a:cxn ang="0">
                  <a:pos x="T6" y="T7"/>
                </a:cxn>
                <a:cxn ang="0">
                  <a:pos x="T8" y="T9"/>
                </a:cxn>
              </a:cxnLst>
              <a:rect l="0" t="0" r="r" b="b"/>
              <a:pathLst>
                <a:path w="30" h="118">
                  <a:moveTo>
                    <a:pt x="0" y="117"/>
                  </a:moveTo>
                  <a:lnTo>
                    <a:pt x="0" y="117"/>
                  </a:lnTo>
                  <a:lnTo>
                    <a:pt x="0" y="117"/>
                  </a:lnTo>
                  <a:cubicBezTo>
                    <a:pt x="0" y="88"/>
                    <a:pt x="29" y="30"/>
                    <a:pt x="29" y="0"/>
                  </a:cubicBezTo>
                  <a:cubicBezTo>
                    <a:pt x="29" y="30"/>
                    <a:pt x="0" y="88"/>
                    <a:pt x="0"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8" name="Freeform 766">
              <a:extLst>
                <a:ext uri="{FF2B5EF4-FFF2-40B4-BE49-F238E27FC236}">
                  <a16:creationId xmlns:a16="http://schemas.microsoft.com/office/drawing/2014/main" id="{E0538B7B-EFC9-4D5D-9C7A-41BE8B20AE46}"/>
                </a:ext>
              </a:extLst>
            </p:cNvPr>
            <p:cNvSpPr>
              <a:spLocks noChangeArrowheads="1"/>
            </p:cNvSpPr>
            <p:nvPr/>
          </p:nvSpPr>
          <p:spPr bwMode="auto">
            <a:xfrm>
              <a:off x="11265946" y="2366043"/>
              <a:ext cx="11415"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0" y="0"/>
                    <a:pt x="0" y="0"/>
                    <a:pt x="29" y="0"/>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89" name="Freeform 767">
              <a:extLst>
                <a:ext uri="{FF2B5EF4-FFF2-40B4-BE49-F238E27FC236}">
                  <a16:creationId xmlns:a16="http://schemas.microsoft.com/office/drawing/2014/main" id="{96C2B6FE-8058-43F2-AD41-38CFD19B65AA}"/>
                </a:ext>
              </a:extLst>
            </p:cNvPr>
            <p:cNvSpPr>
              <a:spLocks noChangeArrowheads="1"/>
            </p:cNvSpPr>
            <p:nvPr/>
          </p:nvSpPr>
          <p:spPr bwMode="auto">
            <a:xfrm>
              <a:off x="11275731" y="2301311"/>
              <a:ext cx="11415" cy="11329"/>
            </a:xfrm>
            <a:custGeom>
              <a:avLst/>
              <a:gdLst>
                <a:gd name="T0" fmla="*/ 0 w 30"/>
                <a:gd name="T1" fmla="*/ 29 h 30"/>
                <a:gd name="T2" fmla="*/ 0 w 30"/>
                <a:gd name="T3" fmla="*/ 29 h 30"/>
                <a:gd name="T4" fmla="*/ 0 w 30"/>
                <a:gd name="T5" fmla="*/ 0 h 30"/>
                <a:gd name="T6" fmla="*/ 29 w 30"/>
                <a:gd name="T7" fmla="*/ 29 h 30"/>
                <a:gd name="T8" fmla="*/ 0 w 30"/>
                <a:gd name="T9" fmla="*/ 0 h 30"/>
                <a:gd name="T10" fmla="*/ 0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0" y="29"/>
                  </a:moveTo>
                  <a:lnTo>
                    <a:pt x="0" y="29"/>
                  </a:lnTo>
                  <a:lnTo>
                    <a:pt x="0" y="0"/>
                  </a:lnTo>
                  <a:cubicBezTo>
                    <a:pt x="0" y="29"/>
                    <a:pt x="29" y="29"/>
                    <a:pt x="29" y="29"/>
                  </a:cubicBezTo>
                  <a:cubicBezTo>
                    <a:pt x="29" y="29"/>
                    <a:pt x="0" y="29"/>
                    <a:pt x="0" y="0"/>
                  </a:cubicBez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0" name="Freeform 768">
              <a:extLst>
                <a:ext uri="{FF2B5EF4-FFF2-40B4-BE49-F238E27FC236}">
                  <a16:creationId xmlns:a16="http://schemas.microsoft.com/office/drawing/2014/main" id="{AF17A0E8-24A2-4AA7-B47B-BEAFBE9C4712}"/>
                </a:ext>
              </a:extLst>
            </p:cNvPr>
            <p:cNvSpPr>
              <a:spLocks noChangeArrowheads="1"/>
            </p:cNvSpPr>
            <p:nvPr/>
          </p:nvSpPr>
          <p:spPr bwMode="auto">
            <a:xfrm>
              <a:off x="11275731" y="228027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1" name="Freeform 769">
              <a:extLst>
                <a:ext uri="{FF2B5EF4-FFF2-40B4-BE49-F238E27FC236}">
                  <a16:creationId xmlns:a16="http://schemas.microsoft.com/office/drawing/2014/main" id="{E3476DD2-2F97-4A35-BE1D-F0AE100B0F8B}"/>
                </a:ext>
              </a:extLst>
            </p:cNvPr>
            <p:cNvSpPr>
              <a:spLocks noChangeArrowheads="1"/>
            </p:cNvSpPr>
            <p:nvPr/>
          </p:nvSpPr>
          <p:spPr bwMode="auto">
            <a:xfrm>
              <a:off x="11308348" y="1906440"/>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2" name="Freeform 770">
              <a:extLst>
                <a:ext uri="{FF2B5EF4-FFF2-40B4-BE49-F238E27FC236}">
                  <a16:creationId xmlns:a16="http://schemas.microsoft.com/office/drawing/2014/main" id="{7F137A3F-2D9C-4CC7-8923-46319A25C271}"/>
                </a:ext>
              </a:extLst>
            </p:cNvPr>
            <p:cNvSpPr>
              <a:spLocks noChangeArrowheads="1"/>
            </p:cNvSpPr>
            <p:nvPr/>
          </p:nvSpPr>
          <p:spPr bwMode="auto">
            <a:xfrm>
              <a:off x="11200712" y="2001922"/>
              <a:ext cx="11415" cy="11328"/>
            </a:xfrm>
            <a:custGeom>
              <a:avLst/>
              <a:gdLst>
                <a:gd name="T0" fmla="*/ 30 w 31"/>
                <a:gd name="T1" fmla="*/ 29 h 30"/>
                <a:gd name="T2" fmla="*/ 30 w 31"/>
                <a:gd name="T3" fmla="*/ 29 h 30"/>
                <a:gd name="T4" fmla="*/ 0 w 31"/>
                <a:gd name="T5" fmla="*/ 29 h 30"/>
                <a:gd name="T6" fmla="*/ 0 w 31"/>
                <a:gd name="T7" fmla="*/ 0 h 30"/>
                <a:gd name="T8" fmla="*/ 0 w 31"/>
                <a:gd name="T9" fmla="*/ 29 h 30"/>
                <a:gd name="T10" fmla="*/ 30 w 31"/>
                <a:gd name="T11" fmla="*/ 29 h 30"/>
              </a:gdLst>
              <a:ahLst/>
              <a:cxnLst>
                <a:cxn ang="0">
                  <a:pos x="T0" y="T1"/>
                </a:cxn>
                <a:cxn ang="0">
                  <a:pos x="T2" y="T3"/>
                </a:cxn>
                <a:cxn ang="0">
                  <a:pos x="T4" y="T5"/>
                </a:cxn>
                <a:cxn ang="0">
                  <a:pos x="T6" y="T7"/>
                </a:cxn>
                <a:cxn ang="0">
                  <a:pos x="T8" y="T9"/>
                </a:cxn>
                <a:cxn ang="0">
                  <a:pos x="T10" y="T11"/>
                </a:cxn>
              </a:cxnLst>
              <a:rect l="0" t="0" r="r" b="b"/>
              <a:pathLst>
                <a:path w="31" h="30">
                  <a:moveTo>
                    <a:pt x="30" y="29"/>
                  </a:moveTo>
                  <a:lnTo>
                    <a:pt x="30" y="29"/>
                  </a:lnTo>
                  <a:cubicBezTo>
                    <a:pt x="30" y="29"/>
                    <a:pt x="30" y="29"/>
                    <a:pt x="0" y="29"/>
                  </a:cubicBezTo>
                  <a:lnTo>
                    <a:pt x="0" y="0"/>
                  </a:lnTo>
                  <a:lnTo>
                    <a:pt x="0" y="29"/>
                  </a:lnTo>
                  <a:cubicBezTo>
                    <a:pt x="30" y="29"/>
                    <a:pt x="3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3" name="Freeform 771">
              <a:extLst>
                <a:ext uri="{FF2B5EF4-FFF2-40B4-BE49-F238E27FC236}">
                  <a16:creationId xmlns:a16="http://schemas.microsoft.com/office/drawing/2014/main" id="{E816E576-D391-40E7-81D6-0059962B0BAB}"/>
                </a:ext>
              </a:extLst>
            </p:cNvPr>
            <p:cNvSpPr>
              <a:spLocks noChangeArrowheads="1"/>
            </p:cNvSpPr>
            <p:nvPr/>
          </p:nvSpPr>
          <p:spPr bwMode="auto">
            <a:xfrm>
              <a:off x="11200712" y="2034288"/>
              <a:ext cx="21200" cy="11328"/>
            </a:xfrm>
            <a:custGeom>
              <a:avLst/>
              <a:gdLst>
                <a:gd name="T0" fmla="*/ 58 w 59"/>
                <a:gd name="T1" fmla="*/ 0 h 30"/>
                <a:gd name="T2" fmla="*/ 58 w 59"/>
                <a:gd name="T3" fmla="*/ 0 h 30"/>
                <a:gd name="T4" fmla="*/ 58 w 59"/>
                <a:gd name="T5" fmla="*/ 0 h 30"/>
                <a:gd name="T6" fmla="*/ 0 w 59"/>
                <a:gd name="T7" fmla="*/ 29 h 30"/>
                <a:gd name="T8" fmla="*/ 58 w 59"/>
                <a:gd name="T9" fmla="*/ 0 h 30"/>
              </a:gdLst>
              <a:ahLst/>
              <a:cxnLst>
                <a:cxn ang="0">
                  <a:pos x="T0" y="T1"/>
                </a:cxn>
                <a:cxn ang="0">
                  <a:pos x="T2" y="T3"/>
                </a:cxn>
                <a:cxn ang="0">
                  <a:pos x="T4" y="T5"/>
                </a:cxn>
                <a:cxn ang="0">
                  <a:pos x="T6" y="T7"/>
                </a:cxn>
                <a:cxn ang="0">
                  <a:pos x="T8" y="T9"/>
                </a:cxn>
              </a:cxnLst>
              <a:rect l="0" t="0" r="r" b="b"/>
              <a:pathLst>
                <a:path w="59" h="30">
                  <a:moveTo>
                    <a:pt x="58" y="0"/>
                  </a:moveTo>
                  <a:lnTo>
                    <a:pt x="58" y="0"/>
                  </a:lnTo>
                  <a:lnTo>
                    <a:pt x="58" y="0"/>
                  </a:lnTo>
                  <a:cubicBezTo>
                    <a:pt x="58" y="29"/>
                    <a:pt x="30" y="29"/>
                    <a:pt x="0" y="29"/>
                  </a:cubicBezTo>
                  <a:cubicBezTo>
                    <a:pt x="30" y="29"/>
                    <a:pt x="5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4" name="Freeform 772">
              <a:extLst>
                <a:ext uri="{FF2B5EF4-FFF2-40B4-BE49-F238E27FC236}">
                  <a16:creationId xmlns:a16="http://schemas.microsoft.com/office/drawing/2014/main" id="{F8BCF584-0D2B-4062-8AD9-6057837D5EA3}"/>
                </a:ext>
              </a:extLst>
            </p:cNvPr>
            <p:cNvSpPr>
              <a:spLocks noChangeArrowheads="1"/>
            </p:cNvSpPr>
            <p:nvPr/>
          </p:nvSpPr>
          <p:spPr bwMode="auto">
            <a:xfrm>
              <a:off x="11006641" y="1563357"/>
              <a:ext cx="21202" cy="64733"/>
            </a:xfrm>
            <a:custGeom>
              <a:avLst/>
              <a:gdLst>
                <a:gd name="T0" fmla="*/ 58 w 59"/>
                <a:gd name="T1" fmla="*/ 117 h 177"/>
                <a:gd name="T2" fmla="*/ 58 w 59"/>
                <a:gd name="T3" fmla="*/ 117 h 177"/>
                <a:gd name="T4" fmla="*/ 29 w 59"/>
                <a:gd name="T5" fmla="*/ 59 h 177"/>
                <a:gd name="T6" fmla="*/ 0 w 59"/>
                <a:gd name="T7" fmla="*/ 0 h 177"/>
                <a:gd name="T8" fmla="*/ 29 w 59"/>
                <a:gd name="T9" fmla="*/ 59 h 177"/>
                <a:gd name="T10" fmla="*/ 58 w 59"/>
                <a:gd name="T11" fmla="*/ 117 h 177"/>
                <a:gd name="T12" fmla="*/ 58 w 59"/>
                <a:gd name="T13" fmla="*/ 176 h 177"/>
                <a:gd name="T14" fmla="*/ 58 w 59"/>
                <a:gd name="T15" fmla="*/ 117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77">
                  <a:moveTo>
                    <a:pt x="58" y="117"/>
                  </a:moveTo>
                  <a:lnTo>
                    <a:pt x="58" y="117"/>
                  </a:lnTo>
                  <a:cubicBezTo>
                    <a:pt x="58" y="117"/>
                    <a:pt x="29" y="88"/>
                    <a:pt x="29" y="59"/>
                  </a:cubicBezTo>
                  <a:cubicBezTo>
                    <a:pt x="29" y="30"/>
                    <a:pt x="29" y="30"/>
                    <a:pt x="0" y="0"/>
                  </a:cubicBezTo>
                  <a:cubicBezTo>
                    <a:pt x="29" y="30"/>
                    <a:pt x="29" y="30"/>
                    <a:pt x="29" y="59"/>
                  </a:cubicBezTo>
                  <a:cubicBezTo>
                    <a:pt x="29" y="88"/>
                    <a:pt x="58" y="117"/>
                    <a:pt x="58" y="117"/>
                  </a:cubicBezTo>
                  <a:cubicBezTo>
                    <a:pt x="58" y="147"/>
                    <a:pt x="58" y="147"/>
                    <a:pt x="58" y="176"/>
                  </a:cubicBezTo>
                  <a:cubicBezTo>
                    <a:pt x="58" y="147"/>
                    <a:pt x="58" y="147"/>
                    <a:pt x="58"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5" name="Freeform 773">
              <a:extLst>
                <a:ext uri="{FF2B5EF4-FFF2-40B4-BE49-F238E27FC236}">
                  <a16:creationId xmlns:a16="http://schemas.microsoft.com/office/drawing/2014/main" id="{249F5616-E867-4DC5-BEE3-0E9A54AB3ED4}"/>
                </a:ext>
              </a:extLst>
            </p:cNvPr>
            <p:cNvSpPr>
              <a:spLocks noChangeArrowheads="1"/>
            </p:cNvSpPr>
            <p:nvPr/>
          </p:nvSpPr>
          <p:spPr bwMode="auto">
            <a:xfrm>
              <a:off x="11491003" y="1628089"/>
              <a:ext cx="11415" cy="21039"/>
            </a:xfrm>
            <a:custGeom>
              <a:avLst/>
              <a:gdLst>
                <a:gd name="T0" fmla="*/ 29 w 30"/>
                <a:gd name="T1" fmla="*/ 58 h 59"/>
                <a:gd name="T2" fmla="*/ 29 w 30"/>
                <a:gd name="T3" fmla="*/ 58 h 59"/>
                <a:gd name="T4" fmla="*/ 0 w 30"/>
                <a:gd name="T5" fmla="*/ 0 h 59"/>
                <a:gd name="T6" fmla="*/ 29 w 30"/>
                <a:gd name="T7" fmla="*/ 58 h 59"/>
              </a:gdLst>
              <a:ahLst/>
              <a:cxnLst>
                <a:cxn ang="0">
                  <a:pos x="T0" y="T1"/>
                </a:cxn>
                <a:cxn ang="0">
                  <a:pos x="T2" y="T3"/>
                </a:cxn>
                <a:cxn ang="0">
                  <a:pos x="T4" y="T5"/>
                </a:cxn>
                <a:cxn ang="0">
                  <a:pos x="T6" y="T7"/>
                </a:cxn>
              </a:cxnLst>
              <a:rect l="0" t="0" r="r" b="b"/>
              <a:pathLst>
                <a:path w="30" h="59">
                  <a:moveTo>
                    <a:pt x="29" y="58"/>
                  </a:moveTo>
                  <a:lnTo>
                    <a:pt x="29" y="58"/>
                  </a:lnTo>
                  <a:cubicBezTo>
                    <a:pt x="29" y="29"/>
                    <a:pt x="0" y="29"/>
                    <a:pt x="0" y="0"/>
                  </a:cubicBezTo>
                  <a:cubicBezTo>
                    <a:pt x="0" y="29"/>
                    <a:pt x="29" y="29"/>
                    <a:pt x="2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6" name="Freeform 774">
              <a:extLst>
                <a:ext uri="{FF2B5EF4-FFF2-40B4-BE49-F238E27FC236}">
                  <a16:creationId xmlns:a16="http://schemas.microsoft.com/office/drawing/2014/main" id="{00551E86-0224-4DB7-8C2F-527A79DF4585}"/>
                </a:ext>
              </a:extLst>
            </p:cNvPr>
            <p:cNvSpPr>
              <a:spLocks noChangeArrowheads="1"/>
            </p:cNvSpPr>
            <p:nvPr/>
          </p:nvSpPr>
          <p:spPr bwMode="auto">
            <a:xfrm>
              <a:off x="11502418" y="1658838"/>
              <a:ext cx="22832" cy="32366"/>
            </a:xfrm>
            <a:custGeom>
              <a:avLst/>
              <a:gdLst>
                <a:gd name="T0" fmla="*/ 59 w 60"/>
                <a:gd name="T1" fmla="*/ 87 h 88"/>
                <a:gd name="T2" fmla="*/ 59 w 60"/>
                <a:gd name="T3" fmla="*/ 87 h 88"/>
                <a:gd name="T4" fmla="*/ 0 w 60"/>
                <a:gd name="T5" fmla="*/ 0 h 88"/>
                <a:gd name="T6" fmla="*/ 59 w 60"/>
                <a:gd name="T7" fmla="*/ 87 h 88"/>
              </a:gdLst>
              <a:ahLst/>
              <a:cxnLst>
                <a:cxn ang="0">
                  <a:pos x="T0" y="T1"/>
                </a:cxn>
                <a:cxn ang="0">
                  <a:pos x="T2" y="T3"/>
                </a:cxn>
                <a:cxn ang="0">
                  <a:pos x="T4" y="T5"/>
                </a:cxn>
                <a:cxn ang="0">
                  <a:pos x="T6" y="T7"/>
                </a:cxn>
              </a:cxnLst>
              <a:rect l="0" t="0" r="r" b="b"/>
              <a:pathLst>
                <a:path w="60" h="88">
                  <a:moveTo>
                    <a:pt x="59" y="87"/>
                  </a:moveTo>
                  <a:lnTo>
                    <a:pt x="59" y="87"/>
                  </a:lnTo>
                  <a:cubicBezTo>
                    <a:pt x="30" y="58"/>
                    <a:pt x="0" y="58"/>
                    <a:pt x="0" y="0"/>
                  </a:cubicBezTo>
                  <a:cubicBezTo>
                    <a:pt x="0" y="58"/>
                    <a:pt x="30" y="58"/>
                    <a:pt x="5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7" name="Freeform 775">
              <a:extLst>
                <a:ext uri="{FF2B5EF4-FFF2-40B4-BE49-F238E27FC236}">
                  <a16:creationId xmlns:a16="http://schemas.microsoft.com/office/drawing/2014/main" id="{1B4CA9B8-1531-4964-81EB-6B02489A21FD}"/>
                </a:ext>
              </a:extLst>
            </p:cNvPr>
            <p:cNvSpPr>
              <a:spLocks noChangeArrowheads="1"/>
            </p:cNvSpPr>
            <p:nvPr/>
          </p:nvSpPr>
          <p:spPr bwMode="auto">
            <a:xfrm>
              <a:off x="11275731" y="1338411"/>
              <a:ext cx="75019" cy="182870"/>
            </a:xfrm>
            <a:custGeom>
              <a:avLst/>
              <a:gdLst>
                <a:gd name="T0" fmla="*/ 0 w 205"/>
                <a:gd name="T1" fmla="*/ 0 h 497"/>
                <a:gd name="T2" fmla="*/ 0 w 205"/>
                <a:gd name="T3" fmla="*/ 0 h 497"/>
                <a:gd name="T4" fmla="*/ 0 w 205"/>
                <a:gd name="T5" fmla="*/ 0 h 497"/>
                <a:gd name="T6" fmla="*/ 88 w 205"/>
                <a:gd name="T7" fmla="*/ 233 h 497"/>
                <a:gd name="T8" fmla="*/ 204 w 205"/>
                <a:gd name="T9" fmla="*/ 496 h 497"/>
                <a:gd name="T10" fmla="*/ 88 w 205"/>
                <a:gd name="T11" fmla="*/ 233 h 497"/>
                <a:gd name="T12" fmla="*/ 0 w 205"/>
                <a:gd name="T13" fmla="*/ 0 h 497"/>
              </a:gdLst>
              <a:ahLst/>
              <a:cxnLst>
                <a:cxn ang="0">
                  <a:pos x="T0" y="T1"/>
                </a:cxn>
                <a:cxn ang="0">
                  <a:pos x="T2" y="T3"/>
                </a:cxn>
                <a:cxn ang="0">
                  <a:pos x="T4" y="T5"/>
                </a:cxn>
                <a:cxn ang="0">
                  <a:pos x="T6" y="T7"/>
                </a:cxn>
                <a:cxn ang="0">
                  <a:pos x="T8" y="T9"/>
                </a:cxn>
                <a:cxn ang="0">
                  <a:pos x="T10" y="T11"/>
                </a:cxn>
                <a:cxn ang="0">
                  <a:pos x="T12" y="T13"/>
                </a:cxn>
              </a:cxnLst>
              <a:rect l="0" t="0" r="r" b="b"/>
              <a:pathLst>
                <a:path w="205" h="497">
                  <a:moveTo>
                    <a:pt x="0" y="0"/>
                  </a:moveTo>
                  <a:lnTo>
                    <a:pt x="0" y="0"/>
                  </a:lnTo>
                  <a:lnTo>
                    <a:pt x="0" y="0"/>
                  </a:lnTo>
                  <a:cubicBezTo>
                    <a:pt x="29" y="88"/>
                    <a:pt x="59" y="146"/>
                    <a:pt x="88" y="233"/>
                  </a:cubicBezTo>
                  <a:cubicBezTo>
                    <a:pt x="117" y="321"/>
                    <a:pt x="146" y="409"/>
                    <a:pt x="204" y="496"/>
                  </a:cubicBezTo>
                  <a:cubicBezTo>
                    <a:pt x="146" y="409"/>
                    <a:pt x="117" y="321"/>
                    <a:pt x="88" y="233"/>
                  </a:cubicBezTo>
                  <a:cubicBezTo>
                    <a:pt x="59" y="146"/>
                    <a:pt x="29" y="88"/>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8" name="Freeform 776">
              <a:extLst>
                <a:ext uri="{FF2B5EF4-FFF2-40B4-BE49-F238E27FC236}">
                  <a16:creationId xmlns:a16="http://schemas.microsoft.com/office/drawing/2014/main" id="{0C93DC0B-E3AC-44FF-B767-CFA7E2C8A9E1}"/>
                </a:ext>
              </a:extLst>
            </p:cNvPr>
            <p:cNvSpPr>
              <a:spLocks noChangeArrowheads="1"/>
            </p:cNvSpPr>
            <p:nvPr/>
          </p:nvSpPr>
          <p:spPr bwMode="auto">
            <a:xfrm>
              <a:off x="11298563" y="1948517"/>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899" name="Freeform 777">
              <a:extLst>
                <a:ext uri="{FF2B5EF4-FFF2-40B4-BE49-F238E27FC236}">
                  <a16:creationId xmlns:a16="http://schemas.microsoft.com/office/drawing/2014/main" id="{F83CDC4F-6860-4D07-92DE-7FE58AD297EC}"/>
                </a:ext>
              </a:extLst>
            </p:cNvPr>
            <p:cNvSpPr>
              <a:spLocks noChangeArrowheads="1"/>
            </p:cNvSpPr>
            <p:nvPr/>
          </p:nvSpPr>
          <p:spPr bwMode="auto">
            <a:xfrm>
              <a:off x="11243114" y="1990593"/>
              <a:ext cx="11415" cy="11329"/>
            </a:xfrm>
            <a:custGeom>
              <a:avLst/>
              <a:gdLst>
                <a:gd name="T0" fmla="*/ 0 w 31"/>
                <a:gd name="T1" fmla="*/ 0 h 31"/>
                <a:gd name="T2" fmla="*/ 0 w 31"/>
                <a:gd name="T3" fmla="*/ 0 h 31"/>
                <a:gd name="T4" fmla="*/ 30 w 31"/>
                <a:gd name="T5" fmla="*/ 30 h 31"/>
                <a:gd name="T6" fmla="*/ 30 w 31"/>
                <a:gd name="T7" fmla="*/ 30 h 31"/>
                <a:gd name="T8" fmla="*/ 0 w 31"/>
                <a:gd name="T9" fmla="*/ 0 h 31"/>
              </a:gdLst>
              <a:ahLst/>
              <a:cxnLst>
                <a:cxn ang="0">
                  <a:pos x="T0" y="T1"/>
                </a:cxn>
                <a:cxn ang="0">
                  <a:pos x="T2" y="T3"/>
                </a:cxn>
                <a:cxn ang="0">
                  <a:pos x="T4" y="T5"/>
                </a:cxn>
                <a:cxn ang="0">
                  <a:pos x="T6" y="T7"/>
                </a:cxn>
                <a:cxn ang="0">
                  <a:pos x="T8" y="T9"/>
                </a:cxn>
              </a:cxnLst>
              <a:rect l="0" t="0" r="r" b="b"/>
              <a:pathLst>
                <a:path w="31" h="31">
                  <a:moveTo>
                    <a:pt x="0" y="0"/>
                  </a:moveTo>
                  <a:lnTo>
                    <a:pt x="0" y="0"/>
                  </a:lnTo>
                  <a:cubicBezTo>
                    <a:pt x="0" y="30"/>
                    <a:pt x="0" y="30"/>
                    <a:pt x="30" y="30"/>
                  </a:cubicBezTo>
                  <a:lnTo>
                    <a:pt x="3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0" name="Freeform 778">
              <a:extLst>
                <a:ext uri="{FF2B5EF4-FFF2-40B4-BE49-F238E27FC236}">
                  <a16:creationId xmlns:a16="http://schemas.microsoft.com/office/drawing/2014/main" id="{A6FEEC40-CF57-432F-B56E-CB310AB936D5}"/>
                </a:ext>
              </a:extLst>
            </p:cNvPr>
            <p:cNvSpPr>
              <a:spLocks noChangeArrowheads="1"/>
            </p:cNvSpPr>
            <p:nvPr/>
          </p:nvSpPr>
          <p:spPr bwMode="auto">
            <a:xfrm>
              <a:off x="10995226" y="1649128"/>
              <a:ext cx="32617" cy="53404"/>
            </a:xfrm>
            <a:custGeom>
              <a:avLst/>
              <a:gdLst>
                <a:gd name="T0" fmla="*/ 0 w 88"/>
                <a:gd name="T1" fmla="*/ 146 h 147"/>
                <a:gd name="T2" fmla="*/ 0 w 88"/>
                <a:gd name="T3" fmla="*/ 146 h 147"/>
                <a:gd name="T4" fmla="*/ 0 w 88"/>
                <a:gd name="T5" fmla="*/ 146 h 147"/>
                <a:gd name="T6" fmla="*/ 58 w 88"/>
                <a:gd name="T7" fmla="*/ 87 h 147"/>
                <a:gd name="T8" fmla="*/ 87 w 88"/>
                <a:gd name="T9" fmla="*/ 58 h 147"/>
                <a:gd name="T10" fmla="*/ 58 w 88"/>
                <a:gd name="T11" fmla="*/ 29 h 147"/>
                <a:gd name="T12" fmla="*/ 58 w 88"/>
                <a:gd name="T13" fmla="*/ 0 h 147"/>
                <a:gd name="T14" fmla="*/ 58 w 88"/>
                <a:gd name="T15" fmla="*/ 0 h 147"/>
                <a:gd name="T16" fmla="*/ 58 w 88"/>
                <a:gd name="T17" fmla="*/ 29 h 147"/>
                <a:gd name="T18" fmla="*/ 87 w 88"/>
                <a:gd name="T19" fmla="*/ 58 h 147"/>
                <a:gd name="T20" fmla="*/ 58 w 88"/>
                <a:gd name="T21" fmla="*/ 87 h 147"/>
                <a:gd name="T22" fmla="*/ 0 w 88"/>
                <a:gd name="T23" fmla="*/ 1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147">
                  <a:moveTo>
                    <a:pt x="0" y="146"/>
                  </a:moveTo>
                  <a:lnTo>
                    <a:pt x="0" y="146"/>
                  </a:lnTo>
                  <a:lnTo>
                    <a:pt x="0" y="146"/>
                  </a:lnTo>
                  <a:cubicBezTo>
                    <a:pt x="0" y="116"/>
                    <a:pt x="29" y="116"/>
                    <a:pt x="58" y="87"/>
                  </a:cubicBezTo>
                  <a:cubicBezTo>
                    <a:pt x="58" y="87"/>
                    <a:pt x="87" y="87"/>
                    <a:pt x="87" y="58"/>
                  </a:cubicBezTo>
                  <a:cubicBezTo>
                    <a:pt x="87" y="58"/>
                    <a:pt x="87" y="58"/>
                    <a:pt x="58" y="29"/>
                  </a:cubicBezTo>
                  <a:lnTo>
                    <a:pt x="58" y="0"/>
                  </a:lnTo>
                  <a:lnTo>
                    <a:pt x="58" y="0"/>
                  </a:lnTo>
                  <a:lnTo>
                    <a:pt x="58" y="29"/>
                  </a:lnTo>
                  <a:cubicBezTo>
                    <a:pt x="87" y="58"/>
                    <a:pt x="87" y="58"/>
                    <a:pt x="87" y="58"/>
                  </a:cubicBezTo>
                  <a:cubicBezTo>
                    <a:pt x="87" y="87"/>
                    <a:pt x="58" y="87"/>
                    <a:pt x="58" y="87"/>
                  </a:cubicBezTo>
                  <a:cubicBezTo>
                    <a:pt x="29" y="116"/>
                    <a:pt x="0" y="116"/>
                    <a:pt x="0"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1" name="Freeform 779">
              <a:extLst>
                <a:ext uri="{FF2B5EF4-FFF2-40B4-BE49-F238E27FC236}">
                  <a16:creationId xmlns:a16="http://schemas.microsoft.com/office/drawing/2014/main" id="{C7B0A8A3-8495-4719-A85C-AC986C7A0782}"/>
                </a:ext>
              </a:extLst>
            </p:cNvPr>
            <p:cNvSpPr>
              <a:spLocks noChangeArrowheads="1"/>
            </p:cNvSpPr>
            <p:nvPr/>
          </p:nvSpPr>
          <p:spPr bwMode="auto">
            <a:xfrm>
              <a:off x="11135478" y="2270563"/>
              <a:ext cx="11415" cy="11328"/>
            </a:xfrm>
            <a:custGeom>
              <a:avLst/>
              <a:gdLst>
                <a:gd name="T0" fmla="*/ 29 w 30"/>
                <a:gd name="T1" fmla="*/ 29 h 30"/>
                <a:gd name="T2" fmla="*/ 29 w 30"/>
                <a:gd name="T3" fmla="*/ 29 h 30"/>
                <a:gd name="T4" fmla="*/ 29 w 30"/>
                <a:gd name="T5" fmla="*/ 0 h 30"/>
                <a:gd name="T6" fmla="*/ 29 w 30"/>
                <a:gd name="T7" fmla="*/ 29 h 30"/>
              </a:gdLst>
              <a:ahLst/>
              <a:cxnLst>
                <a:cxn ang="0">
                  <a:pos x="T0" y="T1"/>
                </a:cxn>
                <a:cxn ang="0">
                  <a:pos x="T2" y="T3"/>
                </a:cxn>
                <a:cxn ang="0">
                  <a:pos x="T4" y="T5"/>
                </a:cxn>
                <a:cxn ang="0">
                  <a:pos x="T6" y="T7"/>
                </a:cxn>
              </a:cxnLst>
              <a:rect l="0" t="0" r="r" b="b"/>
              <a:pathLst>
                <a:path w="30" h="30">
                  <a:moveTo>
                    <a:pt x="29" y="29"/>
                  </a:moveTo>
                  <a:lnTo>
                    <a:pt x="29" y="29"/>
                  </a:lnTo>
                  <a:cubicBezTo>
                    <a:pt x="29" y="29"/>
                    <a:pt x="0" y="29"/>
                    <a:pt x="29" y="0"/>
                  </a:cubicBezTo>
                  <a:cubicBezTo>
                    <a:pt x="0" y="29"/>
                    <a:pt x="29"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2" name="Freeform 780">
              <a:extLst>
                <a:ext uri="{FF2B5EF4-FFF2-40B4-BE49-F238E27FC236}">
                  <a16:creationId xmlns:a16="http://schemas.microsoft.com/office/drawing/2014/main" id="{E74BC26E-9AC8-4888-9E12-14F0796BEB3B}"/>
                </a:ext>
              </a:extLst>
            </p:cNvPr>
            <p:cNvSpPr>
              <a:spLocks noChangeArrowheads="1"/>
            </p:cNvSpPr>
            <p:nvPr/>
          </p:nvSpPr>
          <p:spPr bwMode="auto">
            <a:xfrm>
              <a:off x="11254530" y="1980883"/>
              <a:ext cx="1631" cy="11329"/>
            </a:xfrm>
            <a:custGeom>
              <a:avLst/>
              <a:gdLst>
                <a:gd name="T0" fmla="*/ 0 w 1"/>
                <a:gd name="T1" fmla="*/ 29 h 30"/>
                <a:gd name="T2" fmla="*/ 0 w 1"/>
                <a:gd name="T3" fmla="*/ 29 h 30"/>
                <a:gd name="T4" fmla="*/ 0 w 1"/>
                <a:gd name="T5" fmla="*/ 0 h 30"/>
                <a:gd name="T6" fmla="*/ 0 w 1"/>
                <a:gd name="T7" fmla="*/ 0 h 30"/>
                <a:gd name="T8" fmla="*/ 0 w 1"/>
                <a:gd name="T9" fmla="*/ 0 h 30"/>
                <a:gd name="T10" fmla="*/ 0 w 1"/>
                <a:gd name="T11" fmla="*/ 29 h 30"/>
              </a:gdLst>
              <a:ahLst/>
              <a:cxnLst>
                <a:cxn ang="0">
                  <a:pos x="T0" y="T1"/>
                </a:cxn>
                <a:cxn ang="0">
                  <a:pos x="T2" y="T3"/>
                </a:cxn>
                <a:cxn ang="0">
                  <a:pos x="T4" y="T5"/>
                </a:cxn>
                <a:cxn ang="0">
                  <a:pos x="T6" y="T7"/>
                </a:cxn>
                <a:cxn ang="0">
                  <a:pos x="T8" y="T9"/>
                </a:cxn>
                <a:cxn ang="0">
                  <a:pos x="T10" y="T11"/>
                </a:cxn>
              </a:cxnLst>
              <a:rect l="0" t="0" r="r" b="b"/>
              <a:pathLst>
                <a:path w="1" h="30">
                  <a:moveTo>
                    <a:pt x="0" y="29"/>
                  </a:moveTo>
                  <a:lnTo>
                    <a:pt x="0" y="29"/>
                  </a:lnTo>
                  <a:cubicBezTo>
                    <a:pt x="0" y="0"/>
                    <a:pt x="0" y="0"/>
                    <a:pt x="0" y="0"/>
                  </a:cubicBezTo>
                  <a:lnTo>
                    <a:pt x="0" y="0"/>
                  </a:lnTo>
                  <a:lnTo>
                    <a:pt x="0" y="0"/>
                  </a:ln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3" name="Freeform 781">
              <a:extLst>
                <a:ext uri="{FF2B5EF4-FFF2-40B4-BE49-F238E27FC236}">
                  <a16:creationId xmlns:a16="http://schemas.microsoft.com/office/drawing/2014/main" id="{DAC8A797-C97C-444C-AA26-A910ADB4C3B9}"/>
                </a:ext>
              </a:extLst>
            </p:cNvPr>
            <p:cNvSpPr>
              <a:spLocks noChangeArrowheads="1"/>
            </p:cNvSpPr>
            <p:nvPr/>
          </p:nvSpPr>
          <p:spPr bwMode="auto">
            <a:xfrm>
              <a:off x="11168095" y="2205830"/>
              <a:ext cx="11415" cy="11328"/>
            </a:xfrm>
            <a:custGeom>
              <a:avLst/>
              <a:gdLst>
                <a:gd name="T0" fmla="*/ 29 w 30"/>
                <a:gd name="T1" fmla="*/ 0 h 31"/>
                <a:gd name="T2" fmla="*/ 0 w 30"/>
                <a:gd name="T3" fmla="*/ 30 h 31"/>
                <a:gd name="T4" fmla="*/ 29 w 30"/>
                <a:gd name="T5" fmla="*/ 0 h 31"/>
              </a:gdLst>
              <a:ahLst/>
              <a:cxnLst>
                <a:cxn ang="0">
                  <a:pos x="T0" y="T1"/>
                </a:cxn>
                <a:cxn ang="0">
                  <a:pos x="T2" y="T3"/>
                </a:cxn>
                <a:cxn ang="0">
                  <a:pos x="T4" y="T5"/>
                </a:cxn>
              </a:cxnLst>
              <a:rect l="0" t="0" r="r" b="b"/>
              <a:pathLst>
                <a:path w="30" h="31">
                  <a:moveTo>
                    <a:pt x="29" y="0"/>
                  </a:moveTo>
                  <a:lnTo>
                    <a:pt x="0" y="3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4" name="Freeform 782">
              <a:extLst>
                <a:ext uri="{FF2B5EF4-FFF2-40B4-BE49-F238E27FC236}">
                  <a16:creationId xmlns:a16="http://schemas.microsoft.com/office/drawing/2014/main" id="{8A87E100-89F0-43BB-80FD-5F34DD091184}"/>
                </a:ext>
              </a:extLst>
            </p:cNvPr>
            <p:cNvSpPr>
              <a:spLocks noChangeArrowheads="1"/>
            </p:cNvSpPr>
            <p:nvPr/>
          </p:nvSpPr>
          <p:spPr bwMode="auto">
            <a:xfrm>
              <a:off x="11156679" y="2205830"/>
              <a:ext cx="11416" cy="1618"/>
            </a:xfrm>
            <a:custGeom>
              <a:avLst/>
              <a:gdLst>
                <a:gd name="T0" fmla="*/ 0 w 31"/>
                <a:gd name="T1" fmla="*/ 0 h 1"/>
                <a:gd name="T2" fmla="*/ 0 w 31"/>
                <a:gd name="T3" fmla="*/ 0 h 1"/>
                <a:gd name="T4" fmla="*/ 30 w 31"/>
                <a:gd name="T5" fmla="*/ 0 h 1"/>
                <a:gd name="T6" fmla="*/ 30 w 31"/>
                <a:gd name="T7" fmla="*/ 0 h 1"/>
                <a:gd name="T8" fmla="*/ 30 w 31"/>
                <a:gd name="T9" fmla="*/ 0 h 1"/>
                <a:gd name="T10" fmla="*/ 0 w 31"/>
                <a:gd name="T11" fmla="*/ 0 h 1"/>
              </a:gdLst>
              <a:ahLst/>
              <a:cxnLst>
                <a:cxn ang="0">
                  <a:pos x="T0" y="T1"/>
                </a:cxn>
                <a:cxn ang="0">
                  <a:pos x="T2" y="T3"/>
                </a:cxn>
                <a:cxn ang="0">
                  <a:pos x="T4" y="T5"/>
                </a:cxn>
                <a:cxn ang="0">
                  <a:pos x="T6" y="T7"/>
                </a:cxn>
                <a:cxn ang="0">
                  <a:pos x="T8" y="T9"/>
                </a:cxn>
                <a:cxn ang="0">
                  <a:pos x="T10" y="T11"/>
                </a:cxn>
              </a:cxnLst>
              <a:rect l="0" t="0" r="r" b="b"/>
              <a:pathLst>
                <a:path w="31" h="1">
                  <a:moveTo>
                    <a:pt x="0" y="0"/>
                  </a:moveTo>
                  <a:lnTo>
                    <a:pt x="0" y="0"/>
                  </a:lnTo>
                  <a:lnTo>
                    <a:pt x="30" y="0"/>
                  </a:lnTo>
                  <a:lnTo>
                    <a:pt x="30" y="0"/>
                  </a:lnTo>
                  <a:lnTo>
                    <a:pt x="30"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5" name="Freeform 783">
              <a:extLst>
                <a:ext uri="{FF2B5EF4-FFF2-40B4-BE49-F238E27FC236}">
                  <a16:creationId xmlns:a16="http://schemas.microsoft.com/office/drawing/2014/main" id="{0A5193CB-9B59-4DDD-9AAA-F383CD09EFC1}"/>
                </a:ext>
              </a:extLst>
            </p:cNvPr>
            <p:cNvSpPr>
              <a:spLocks noChangeArrowheads="1"/>
            </p:cNvSpPr>
            <p:nvPr/>
          </p:nvSpPr>
          <p:spPr bwMode="auto">
            <a:xfrm>
              <a:off x="11135478" y="2419448"/>
              <a:ext cx="1630"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0"/>
                    <a:pt x="0" y="0"/>
                    <a:pt x="0" y="0"/>
                  </a:cubicBezTo>
                  <a:cubicBezTo>
                    <a:pt x="0" y="0"/>
                    <a:pt x="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6" name="Freeform 784">
              <a:extLst>
                <a:ext uri="{FF2B5EF4-FFF2-40B4-BE49-F238E27FC236}">
                  <a16:creationId xmlns:a16="http://schemas.microsoft.com/office/drawing/2014/main" id="{5E9071A8-1682-4EB5-B942-C4F8AC468E3A}"/>
                </a:ext>
              </a:extLst>
            </p:cNvPr>
            <p:cNvSpPr>
              <a:spLocks noChangeArrowheads="1"/>
            </p:cNvSpPr>
            <p:nvPr/>
          </p:nvSpPr>
          <p:spPr bwMode="auto">
            <a:xfrm>
              <a:off x="11275731" y="1338411"/>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7" name="Freeform 785">
              <a:extLst>
                <a:ext uri="{FF2B5EF4-FFF2-40B4-BE49-F238E27FC236}">
                  <a16:creationId xmlns:a16="http://schemas.microsoft.com/office/drawing/2014/main" id="{05E5491E-C0BF-4FA7-B54A-6A331AA87B10}"/>
                </a:ext>
              </a:extLst>
            </p:cNvPr>
            <p:cNvSpPr>
              <a:spLocks noChangeArrowheads="1"/>
            </p:cNvSpPr>
            <p:nvPr/>
          </p:nvSpPr>
          <p:spPr bwMode="auto">
            <a:xfrm>
              <a:off x="11146894" y="2162135"/>
              <a:ext cx="1631" cy="11329"/>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8" name="Freeform 786">
              <a:extLst>
                <a:ext uri="{FF2B5EF4-FFF2-40B4-BE49-F238E27FC236}">
                  <a16:creationId xmlns:a16="http://schemas.microsoft.com/office/drawing/2014/main" id="{3463A826-D2F6-4B5D-8850-36B8757AB7AC}"/>
                </a:ext>
              </a:extLst>
            </p:cNvPr>
            <p:cNvSpPr>
              <a:spLocks noChangeArrowheads="1"/>
            </p:cNvSpPr>
            <p:nvPr/>
          </p:nvSpPr>
          <p:spPr bwMode="auto">
            <a:xfrm>
              <a:off x="11200712" y="1980883"/>
              <a:ext cx="21200" cy="22656"/>
            </a:xfrm>
            <a:custGeom>
              <a:avLst/>
              <a:gdLst>
                <a:gd name="T0" fmla="*/ 58 w 59"/>
                <a:gd name="T1" fmla="*/ 0 h 60"/>
                <a:gd name="T2" fmla="*/ 58 w 59"/>
                <a:gd name="T3" fmla="*/ 0 h 60"/>
                <a:gd name="T4" fmla="*/ 0 w 59"/>
                <a:gd name="T5" fmla="*/ 59 h 60"/>
                <a:gd name="T6" fmla="*/ 0 w 59"/>
                <a:gd name="T7" fmla="*/ 59 h 60"/>
                <a:gd name="T8" fmla="*/ 58 w 59"/>
                <a:gd name="T9" fmla="*/ 0 h 60"/>
              </a:gdLst>
              <a:ahLst/>
              <a:cxnLst>
                <a:cxn ang="0">
                  <a:pos x="T0" y="T1"/>
                </a:cxn>
                <a:cxn ang="0">
                  <a:pos x="T2" y="T3"/>
                </a:cxn>
                <a:cxn ang="0">
                  <a:pos x="T4" y="T5"/>
                </a:cxn>
                <a:cxn ang="0">
                  <a:pos x="T6" y="T7"/>
                </a:cxn>
                <a:cxn ang="0">
                  <a:pos x="T8" y="T9"/>
                </a:cxn>
              </a:cxnLst>
              <a:rect l="0" t="0" r="r" b="b"/>
              <a:pathLst>
                <a:path w="59" h="60">
                  <a:moveTo>
                    <a:pt x="58" y="0"/>
                  </a:moveTo>
                  <a:lnTo>
                    <a:pt x="58" y="0"/>
                  </a:lnTo>
                  <a:cubicBezTo>
                    <a:pt x="30" y="0"/>
                    <a:pt x="0" y="29"/>
                    <a:pt x="0" y="59"/>
                  </a:cubicBezTo>
                  <a:lnTo>
                    <a:pt x="0" y="59"/>
                  </a:lnTo>
                  <a:cubicBezTo>
                    <a:pt x="0" y="29"/>
                    <a:pt x="30" y="0"/>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09" name="Freeform 787">
              <a:extLst>
                <a:ext uri="{FF2B5EF4-FFF2-40B4-BE49-F238E27FC236}">
                  <a16:creationId xmlns:a16="http://schemas.microsoft.com/office/drawing/2014/main" id="{6938763E-6727-4D43-8502-EA2F3616D71B}"/>
                </a:ext>
              </a:extLst>
            </p:cNvPr>
            <p:cNvSpPr>
              <a:spLocks noChangeArrowheads="1"/>
            </p:cNvSpPr>
            <p:nvPr/>
          </p:nvSpPr>
          <p:spPr bwMode="auto">
            <a:xfrm>
              <a:off x="11156679" y="2291601"/>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0" name="Freeform 788">
              <a:extLst>
                <a:ext uri="{FF2B5EF4-FFF2-40B4-BE49-F238E27FC236}">
                  <a16:creationId xmlns:a16="http://schemas.microsoft.com/office/drawing/2014/main" id="{5641CE9A-5DBF-4CEC-988E-5D3CCB570EBC}"/>
                </a:ext>
              </a:extLst>
            </p:cNvPr>
            <p:cNvSpPr>
              <a:spLocks noChangeArrowheads="1"/>
            </p:cNvSpPr>
            <p:nvPr/>
          </p:nvSpPr>
          <p:spPr bwMode="auto">
            <a:xfrm>
              <a:off x="11254530" y="2013250"/>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1" name="Freeform 789">
              <a:extLst>
                <a:ext uri="{FF2B5EF4-FFF2-40B4-BE49-F238E27FC236}">
                  <a16:creationId xmlns:a16="http://schemas.microsoft.com/office/drawing/2014/main" id="{F0921D14-7113-43B9-9DC4-93B7C15F46D6}"/>
                </a:ext>
              </a:extLst>
            </p:cNvPr>
            <p:cNvSpPr>
              <a:spLocks noChangeArrowheads="1"/>
            </p:cNvSpPr>
            <p:nvPr/>
          </p:nvSpPr>
          <p:spPr bwMode="auto">
            <a:xfrm>
              <a:off x="11254530" y="2301311"/>
              <a:ext cx="21202" cy="11329"/>
            </a:xfrm>
            <a:custGeom>
              <a:avLst/>
              <a:gdLst>
                <a:gd name="T0" fmla="*/ 58 w 59"/>
                <a:gd name="T1" fmla="*/ 29 h 30"/>
                <a:gd name="T2" fmla="*/ 58 w 59"/>
                <a:gd name="T3" fmla="*/ 29 h 30"/>
                <a:gd name="T4" fmla="*/ 29 w 59"/>
                <a:gd name="T5" fmla="*/ 0 h 30"/>
                <a:gd name="T6" fmla="*/ 0 w 59"/>
                <a:gd name="T7" fmla="*/ 0 h 30"/>
                <a:gd name="T8" fmla="*/ 0 w 59"/>
                <a:gd name="T9" fmla="*/ 0 h 30"/>
                <a:gd name="T10" fmla="*/ 29 w 59"/>
                <a:gd name="T11" fmla="*/ 0 h 30"/>
                <a:gd name="T12" fmla="*/ 58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58" y="29"/>
                  </a:moveTo>
                  <a:lnTo>
                    <a:pt x="58" y="29"/>
                  </a:lnTo>
                  <a:cubicBezTo>
                    <a:pt x="29" y="29"/>
                    <a:pt x="29" y="29"/>
                    <a:pt x="29" y="0"/>
                  </a:cubicBezTo>
                  <a:cubicBezTo>
                    <a:pt x="0" y="0"/>
                    <a:pt x="0" y="0"/>
                    <a:pt x="0" y="0"/>
                  </a:cubicBezTo>
                  <a:lnTo>
                    <a:pt x="0" y="0"/>
                  </a:lnTo>
                  <a:cubicBezTo>
                    <a:pt x="29" y="0"/>
                    <a:pt x="29" y="0"/>
                    <a:pt x="29" y="0"/>
                  </a:cubicBezTo>
                  <a:cubicBezTo>
                    <a:pt x="29" y="29"/>
                    <a:pt x="29"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2" name="Freeform 790">
              <a:extLst>
                <a:ext uri="{FF2B5EF4-FFF2-40B4-BE49-F238E27FC236}">
                  <a16:creationId xmlns:a16="http://schemas.microsoft.com/office/drawing/2014/main" id="{95FBB591-3A4B-4F2A-B455-B8BC8C098E46}"/>
                </a:ext>
              </a:extLst>
            </p:cNvPr>
            <p:cNvSpPr>
              <a:spLocks noChangeArrowheads="1"/>
            </p:cNvSpPr>
            <p:nvPr/>
          </p:nvSpPr>
          <p:spPr bwMode="auto">
            <a:xfrm>
              <a:off x="11254530" y="2013250"/>
              <a:ext cx="11416" cy="1619"/>
            </a:xfrm>
            <a:custGeom>
              <a:avLst/>
              <a:gdLst>
                <a:gd name="T0" fmla="*/ 0 w 30"/>
                <a:gd name="T1" fmla="*/ 0 h 1"/>
                <a:gd name="T2" fmla="*/ 0 w 30"/>
                <a:gd name="T3" fmla="*/ 0 h 1"/>
                <a:gd name="T4" fmla="*/ 29 w 30"/>
                <a:gd name="T5" fmla="*/ 0 h 1"/>
                <a:gd name="T6" fmla="*/ 29 w 30"/>
                <a:gd name="T7" fmla="*/ 0 h 1"/>
                <a:gd name="T8" fmla="*/ 29 w 30"/>
                <a:gd name="T9" fmla="*/ 0 h 1"/>
                <a:gd name="T10" fmla="*/ 29 w 30"/>
                <a:gd name="T11" fmla="*/ 0 h 1"/>
                <a:gd name="T12" fmla="*/ 0 w 30"/>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0" h="1">
                  <a:moveTo>
                    <a:pt x="0" y="0"/>
                  </a:moveTo>
                  <a:lnTo>
                    <a:pt x="0" y="0"/>
                  </a:lnTo>
                  <a:cubicBezTo>
                    <a:pt x="29" y="0"/>
                    <a:pt x="29" y="0"/>
                    <a:pt x="29" y="0"/>
                  </a:cubicBezTo>
                  <a:lnTo>
                    <a:pt x="29" y="0"/>
                  </a:lnTo>
                  <a:lnTo>
                    <a:pt x="29" y="0"/>
                  </a:lnTo>
                  <a:lnTo>
                    <a:pt x="29" y="0"/>
                  </a:ln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3" name="Freeform 791">
              <a:extLst>
                <a:ext uri="{FF2B5EF4-FFF2-40B4-BE49-F238E27FC236}">
                  <a16:creationId xmlns:a16="http://schemas.microsoft.com/office/drawing/2014/main" id="{B7382344-F590-4F4F-85AA-21184048F3E3}"/>
                </a:ext>
              </a:extLst>
            </p:cNvPr>
            <p:cNvSpPr>
              <a:spLocks noChangeArrowheads="1"/>
            </p:cNvSpPr>
            <p:nvPr/>
          </p:nvSpPr>
          <p:spPr bwMode="auto">
            <a:xfrm>
              <a:off x="11212128" y="2322349"/>
              <a:ext cx="21202" cy="11328"/>
            </a:xfrm>
            <a:custGeom>
              <a:avLst/>
              <a:gdLst>
                <a:gd name="T0" fmla="*/ 28 w 58"/>
                <a:gd name="T1" fmla="*/ 29 h 30"/>
                <a:gd name="T2" fmla="*/ 28 w 58"/>
                <a:gd name="T3" fmla="*/ 29 h 30"/>
                <a:gd name="T4" fmla="*/ 28 w 58"/>
                <a:gd name="T5" fmla="*/ 0 h 30"/>
                <a:gd name="T6" fmla="*/ 57 w 58"/>
                <a:gd name="T7" fmla="*/ 29 h 30"/>
                <a:gd name="T8" fmla="*/ 28 w 58"/>
                <a:gd name="T9" fmla="*/ 0 h 30"/>
                <a:gd name="T10" fmla="*/ 28 w 58"/>
                <a:gd name="T11" fmla="*/ 29 h 30"/>
                <a:gd name="T12" fmla="*/ 0 w 58"/>
                <a:gd name="T13" fmla="*/ 0 h 30"/>
                <a:gd name="T14" fmla="*/ 28 w 58"/>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0">
                  <a:moveTo>
                    <a:pt x="28" y="29"/>
                  </a:moveTo>
                  <a:lnTo>
                    <a:pt x="28" y="29"/>
                  </a:lnTo>
                  <a:cubicBezTo>
                    <a:pt x="28" y="0"/>
                    <a:pt x="28" y="0"/>
                    <a:pt x="28" y="0"/>
                  </a:cubicBezTo>
                  <a:cubicBezTo>
                    <a:pt x="57" y="29"/>
                    <a:pt x="57" y="29"/>
                    <a:pt x="57" y="29"/>
                  </a:cubicBezTo>
                  <a:cubicBezTo>
                    <a:pt x="28" y="0"/>
                    <a:pt x="28" y="0"/>
                    <a:pt x="28" y="0"/>
                  </a:cubicBezTo>
                  <a:cubicBezTo>
                    <a:pt x="28" y="29"/>
                    <a:pt x="28" y="29"/>
                    <a:pt x="28" y="29"/>
                  </a:cubicBezTo>
                  <a:cubicBezTo>
                    <a:pt x="0" y="29"/>
                    <a:pt x="0" y="29"/>
                    <a:pt x="0" y="0"/>
                  </a:cubicBezTo>
                  <a:cubicBezTo>
                    <a:pt x="0" y="29"/>
                    <a:pt x="0" y="29"/>
                    <a:pt x="2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4" name="Freeform 792">
              <a:extLst>
                <a:ext uri="{FF2B5EF4-FFF2-40B4-BE49-F238E27FC236}">
                  <a16:creationId xmlns:a16="http://schemas.microsoft.com/office/drawing/2014/main" id="{07B28938-6E5A-478E-A4B9-1E54BB14633C}"/>
                </a:ext>
              </a:extLst>
            </p:cNvPr>
            <p:cNvSpPr>
              <a:spLocks noChangeArrowheads="1"/>
            </p:cNvSpPr>
            <p:nvPr/>
          </p:nvSpPr>
          <p:spPr bwMode="auto">
            <a:xfrm>
              <a:off x="10121093" y="5031417"/>
              <a:ext cx="22832" cy="1618"/>
            </a:xfrm>
            <a:custGeom>
              <a:avLst/>
              <a:gdLst>
                <a:gd name="T0" fmla="*/ 59 w 60"/>
                <a:gd name="T1" fmla="*/ 0 h 1"/>
                <a:gd name="T2" fmla="*/ 59 w 60"/>
                <a:gd name="T3" fmla="*/ 0 h 1"/>
                <a:gd name="T4" fmla="*/ 59 w 60"/>
                <a:gd name="T5" fmla="*/ 0 h 1"/>
                <a:gd name="T6" fmla="*/ 30 w 60"/>
                <a:gd name="T7" fmla="*/ 0 h 1"/>
                <a:gd name="T8" fmla="*/ 0 w 60"/>
                <a:gd name="T9" fmla="*/ 0 h 1"/>
                <a:gd name="T10" fmla="*/ 0 w 60"/>
                <a:gd name="T11" fmla="*/ 0 h 1"/>
                <a:gd name="T12" fmla="*/ 30 w 60"/>
                <a:gd name="T13" fmla="*/ 0 h 1"/>
                <a:gd name="T14" fmla="*/ 59 w 60"/>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
                  <a:moveTo>
                    <a:pt x="59" y="0"/>
                  </a:moveTo>
                  <a:lnTo>
                    <a:pt x="59" y="0"/>
                  </a:lnTo>
                  <a:lnTo>
                    <a:pt x="59" y="0"/>
                  </a:lnTo>
                  <a:cubicBezTo>
                    <a:pt x="30" y="0"/>
                    <a:pt x="30" y="0"/>
                    <a:pt x="30" y="0"/>
                  </a:cubicBezTo>
                  <a:cubicBezTo>
                    <a:pt x="0" y="0"/>
                    <a:pt x="0" y="0"/>
                    <a:pt x="0" y="0"/>
                  </a:cubicBezTo>
                  <a:lnTo>
                    <a:pt x="0" y="0"/>
                  </a:lnTo>
                  <a:cubicBezTo>
                    <a:pt x="30" y="0"/>
                    <a:pt x="30" y="0"/>
                    <a:pt x="30" y="0"/>
                  </a:cubicBezTo>
                  <a:cubicBezTo>
                    <a:pt x="30" y="0"/>
                    <a:pt x="30"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5" name="Freeform 793">
              <a:extLst>
                <a:ext uri="{FF2B5EF4-FFF2-40B4-BE49-F238E27FC236}">
                  <a16:creationId xmlns:a16="http://schemas.microsoft.com/office/drawing/2014/main" id="{2C45F072-D288-416A-A9DA-A9BA171FB5B6}"/>
                </a:ext>
              </a:extLst>
            </p:cNvPr>
            <p:cNvSpPr>
              <a:spLocks noChangeArrowheads="1"/>
            </p:cNvSpPr>
            <p:nvPr/>
          </p:nvSpPr>
          <p:spPr bwMode="auto">
            <a:xfrm>
              <a:off x="11189296" y="1317372"/>
              <a:ext cx="11416" cy="1619"/>
            </a:xfrm>
            <a:custGeom>
              <a:avLst/>
              <a:gdLst>
                <a:gd name="T0" fmla="*/ 29 w 30"/>
                <a:gd name="T1" fmla="*/ 0 h 1"/>
                <a:gd name="T2" fmla="*/ 29 w 30"/>
                <a:gd name="T3" fmla="*/ 0 h 1"/>
                <a:gd name="T4" fmla="*/ 29 w 30"/>
                <a:gd name="T5" fmla="*/ 0 h 1"/>
                <a:gd name="T6" fmla="*/ 29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lnTo>
                    <a:pt x="29" y="0"/>
                  </a:ln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6" name="Freeform 794">
              <a:extLst>
                <a:ext uri="{FF2B5EF4-FFF2-40B4-BE49-F238E27FC236}">
                  <a16:creationId xmlns:a16="http://schemas.microsoft.com/office/drawing/2014/main" id="{E00B1B3E-D11D-4F21-891C-0228E5D9EFD1}"/>
                </a:ext>
              </a:extLst>
            </p:cNvPr>
            <p:cNvSpPr>
              <a:spLocks noChangeArrowheads="1"/>
            </p:cNvSpPr>
            <p:nvPr/>
          </p:nvSpPr>
          <p:spPr bwMode="auto">
            <a:xfrm>
              <a:off x="10337995" y="2076365"/>
              <a:ext cx="44033" cy="64733"/>
            </a:xfrm>
            <a:custGeom>
              <a:avLst/>
              <a:gdLst>
                <a:gd name="T0" fmla="*/ 116 w 117"/>
                <a:gd name="T1" fmla="*/ 0 h 177"/>
                <a:gd name="T2" fmla="*/ 116 w 117"/>
                <a:gd name="T3" fmla="*/ 0 h 177"/>
                <a:gd name="T4" fmla="*/ 58 w 117"/>
                <a:gd name="T5" fmla="*/ 59 h 177"/>
                <a:gd name="T6" fmla="*/ 0 w 117"/>
                <a:gd name="T7" fmla="*/ 176 h 177"/>
                <a:gd name="T8" fmla="*/ 58 w 117"/>
                <a:gd name="T9" fmla="*/ 59 h 177"/>
                <a:gd name="T10" fmla="*/ 116 w 117"/>
                <a:gd name="T11" fmla="*/ 0 h 177"/>
              </a:gdLst>
              <a:ahLst/>
              <a:cxnLst>
                <a:cxn ang="0">
                  <a:pos x="T0" y="T1"/>
                </a:cxn>
                <a:cxn ang="0">
                  <a:pos x="T2" y="T3"/>
                </a:cxn>
                <a:cxn ang="0">
                  <a:pos x="T4" y="T5"/>
                </a:cxn>
                <a:cxn ang="0">
                  <a:pos x="T6" y="T7"/>
                </a:cxn>
                <a:cxn ang="0">
                  <a:pos x="T8" y="T9"/>
                </a:cxn>
                <a:cxn ang="0">
                  <a:pos x="T10" y="T11"/>
                </a:cxn>
              </a:cxnLst>
              <a:rect l="0" t="0" r="r" b="b"/>
              <a:pathLst>
                <a:path w="117" h="177">
                  <a:moveTo>
                    <a:pt x="116" y="0"/>
                  </a:moveTo>
                  <a:lnTo>
                    <a:pt x="116" y="0"/>
                  </a:lnTo>
                  <a:cubicBezTo>
                    <a:pt x="116" y="30"/>
                    <a:pt x="87" y="59"/>
                    <a:pt x="58" y="59"/>
                  </a:cubicBezTo>
                  <a:cubicBezTo>
                    <a:pt x="29" y="88"/>
                    <a:pt x="0" y="117"/>
                    <a:pt x="0" y="176"/>
                  </a:cubicBezTo>
                  <a:cubicBezTo>
                    <a:pt x="0" y="117"/>
                    <a:pt x="29" y="88"/>
                    <a:pt x="58" y="59"/>
                  </a:cubicBezTo>
                  <a:cubicBezTo>
                    <a:pt x="87" y="59"/>
                    <a:pt x="116" y="30"/>
                    <a:pt x="11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7" name="Freeform 795">
              <a:extLst>
                <a:ext uri="{FF2B5EF4-FFF2-40B4-BE49-F238E27FC236}">
                  <a16:creationId xmlns:a16="http://schemas.microsoft.com/office/drawing/2014/main" id="{0783176E-C0DF-4BBA-9AF9-AB9E72C0AF1F}"/>
                </a:ext>
              </a:extLst>
            </p:cNvPr>
            <p:cNvSpPr>
              <a:spLocks noChangeArrowheads="1"/>
            </p:cNvSpPr>
            <p:nvPr/>
          </p:nvSpPr>
          <p:spPr bwMode="auto">
            <a:xfrm>
              <a:off x="10520649" y="1874074"/>
              <a:ext cx="161454" cy="53405"/>
            </a:xfrm>
            <a:custGeom>
              <a:avLst/>
              <a:gdLst>
                <a:gd name="T0" fmla="*/ 0 w 438"/>
                <a:gd name="T1" fmla="*/ 145 h 146"/>
                <a:gd name="T2" fmla="*/ 0 w 438"/>
                <a:gd name="T3" fmla="*/ 145 h 146"/>
                <a:gd name="T4" fmla="*/ 175 w 438"/>
                <a:gd name="T5" fmla="*/ 87 h 146"/>
                <a:gd name="T6" fmla="*/ 437 w 438"/>
                <a:gd name="T7" fmla="*/ 0 h 146"/>
                <a:gd name="T8" fmla="*/ 437 w 438"/>
                <a:gd name="T9" fmla="*/ 0 h 146"/>
                <a:gd name="T10" fmla="*/ 437 w 438"/>
                <a:gd name="T11" fmla="*/ 0 h 146"/>
                <a:gd name="T12" fmla="*/ 437 w 438"/>
                <a:gd name="T13" fmla="*/ 0 h 146"/>
                <a:gd name="T14" fmla="*/ 437 w 438"/>
                <a:gd name="T15" fmla="*/ 0 h 146"/>
                <a:gd name="T16" fmla="*/ 175 w 438"/>
                <a:gd name="T17" fmla="*/ 87 h 146"/>
                <a:gd name="T18" fmla="*/ 0 w 438"/>
                <a:gd name="T19" fmla="*/ 1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8" h="146">
                  <a:moveTo>
                    <a:pt x="0" y="145"/>
                  </a:moveTo>
                  <a:lnTo>
                    <a:pt x="0" y="145"/>
                  </a:lnTo>
                  <a:cubicBezTo>
                    <a:pt x="58" y="116"/>
                    <a:pt x="117" y="116"/>
                    <a:pt x="175" y="87"/>
                  </a:cubicBezTo>
                  <a:cubicBezTo>
                    <a:pt x="262" y="58"/>
                    <a:pt x="350" y="29"/>
                    <a:pt x="437" y="0"/>
                  </a:cubicBezTo>
                  <a:lnTo>
                    <a:pt x="437" y="0"/>
                  </a:lnTo>
                  <a:lnTo>
                    <a:pt x="437" y="0"/>
                  </a:lnTo>
                  <a:lnTo>
                    <a:pt x="437" y="0"/>
                  </a:lnTo>
                  <a:lnTo>
                    <a:pt x="437" y="0"/>
                  </a:lnTo>
                  <a:cubicBezTo>
                    <a:pt x="350" y="29"/>
                    <a:pt x="262" y="58"/>
                    <a:pt x="175" y="87"/>
                  </a:cubicBezTo>
                  <a:cubicBezTo>
                    <a:pt x="117" y="116"/>
                    <a:pt x="58" y="116"/>
                    <a:pt x="0"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8" name="Freeform 796">
              <a:extLst>
                <a:ext uri="{FF2B5EF4-FFF2-40B4-BE49-F238E27FC236}">
                  <a16:creationId xmlns:a16="http://schemas.microsoft.com/office/drawing/2014/main" id="{2719DC67-78CC-4297-8225-5B4EEDF5C47E}"/>
                </a:ext>
              </a:extLst>
            </p:cNvPr>
            <p:cNvSpPr>
              <a:spLocks noChangeArrowheads="1"/>
            </p:cNvSpPr>
            <p:nvPr/>
          </p:nvSpPr>
          <p:spPr bwMode="auto">
            <a:xfrm>
              <a:off x="10207527" y="2322349"/>
              <a:ext cx="11416" cy="1618"/>
            </a:xfrm>
            <a:custGeom>
              <a:avLst/>
              <a:gdLst>
                <a:gd name="T0" fmla="*/ 0 w 30"/>
                <a:gd name="T1" fmla="*/ 0 h 1"/>
                <a:gd name="T2" fmla="*/ 0 w 30"/>
                <a:gd name="T3" fmla="*/ 0 h 1"/>
                <a:gd name="T4" fmla="*/ 29 w 30"/>
                <a:gd name="T5" fmla="*/ 0 h 1"/>
                <a:gd name="T6" fmla="*/ 29 w 30"/>
                <a:gd name="T7" fmla="*/ 0 h 1"/>
                <a:gd name="T8" fmla="*/ 29 w 30"/>
                <a:gd name="T9" fmla="*/ 0 h 1"/>
                <a:gd name="T10" fmla="*/ 0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0" y="0"/>
                  </a:moveTo>
                  <a:lnTo>
                    <a:pt x="0" y="0"/>
                  </a:lnTo>
                  <a:cubicBezTo>
                    <a:pt x="0" y="0"/>
                    <a:pt x="0" y="0"/>
                    <a:pt x="29" y="0"/>
                  </a:cubicBezTo>
                  <a:lnTo>
                    <a:pt x="29" y="0"/>
                  </a:lnTo>
                  <a:lnTo>
                    <a:pt x="29"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19" name="Freeform 797">
              <a:extLst>
                <a:ext uri="{FF2B5EF4-FFF2-40B4-BE49-F238E27FC236}">
                  <a16:creationId xmlns:a16="http://schemas.microsoft.com/office/drawing/2014/main" id="{B6557362-C63A-4649-8195-82BCFD930F2D}"/>
                </a:ext>
              </a:extLst>
            </p:cNvPr>
            <p:cNvSpPr>
              <a:spLocks noChangeArrowheads="1"/>
            </p:cNvSpPr>
            <p:nvPr/>
          </p:nvSpPr>
          <p:spPr bwMode="auto">
            <a:xfrm>
              <a:off x="11265946" y="132708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0" name="Freeform 798">
              <a:extLst>
                <a:ext uri="{FF2B5EF4-FFF2-40B4-BE49-F238E27FC236}">
                  <a16:creationId xmlns:a16="http://schemas.microsoft.com/office/drawing/2014/main" id="{460C2CC2-00C1-4FD6-8B79-CD564EBFB55B}"/>
                </a:ext>
              </a:extLst>
            </p:cNvPr>
            <p:cNvSpPr>
              <a:spLocks noChangeArrowheads="1"/>
            </p:cNvSpPr>
            <p:nvPr/>
          </p:nvSpPr>
          <p:spPr bwMode="auto">
            <a:xfrm>
              <a:off x="10434215" y="1916150"/>
              <a:ext cx="65234" cy="64733"/>
            </a:xfrm>
            <a:custGeom>
              <a:avLst/>
              <a:gdLst>
                <a:gd name="T0" fmla="*/ 174 w 175"/>
                <a:gd name="T1" fmla="*/ 0 h 176"/>
                <a:gd name="T2" fmla="*/ 174 w 175"/>
                <a:gd name="T3" fmla="*/ 0 h 176"/>
                <a:gd name="T4" fmla="*/ 0 w 175"/>
                <a:gd name="T5" fmla="*/ 175 h 176"/>
                <a:gd name="T6" fmla="*/ 174 w 175"/>
                <a:gd name="T7" fmla="*/ 0 h 176"/>
              </a:gdLst>
              <a:ahLst/>
              <a:cxnLst>
                <a:cxn ang="0">
                  <a:pos x="T0" y="T1"/>
                </a:cxn>
                <a:cxn ang="0">
                  <a:pos x="T2" y="T3"/>
                </a:cxn>
                <a:cxn ang="0">
                  <a:pos x="T4" y="T5"/>
                </a:cxn>
                <a:cxn ang="0">
                  <a:pos x="T6" y="T7"/>
                </a:cxn>
              </a:cxnLst>
              <a:rect l="0" t="0" r="r" b="b"/>
              <a:pathLst>
                <a:path w="175" h="176">
                  <a:moveTo>
                    <a:pt x="174" y="0"/>
                  </a:moveTo>
                  <a:lnTo>
                    <a:pt x="174" y="0"/>
                  </a:lnTo>
                  <a:cubicBezTo>
                    <a:pt x="116" y="58"/>
                    <a:pt x="58" y="87"/>
                    <a:pt x="0" y="175"/>
                  </a:cubicBezTo>
                  <a:cubicBezTo>
                    <a:pt x="58" y="87"/>
                    <a:pt x="116" y="58"/>
                    <a:pt x="17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1" name="Freeform 799">
              <a:extLst>
                <a:ext uri="{FF2B5EF4-FFF2-40B4-BE49-F238E27FC236}">
                  <a16:creationId xmlns:a16="http://schemas.microsoft.com/office/drawing/2014/main" id="{092A42EC-882E-474D-8C59-E6A035BDB1A6}"/>
                </a:ext>
              </a:extLst>
            </p:cNvPr>
            <p:cNvSpPr>
              <a:spLocks noChangeArrowheads="1"/>
            </p:cNvSpPr>
            <p:nvPr/>
          </p:nvSpPr>
          <p:spPr bwMode="auto">
            <a:xfrm>
              <a:off x="10499449" y="1916150"/>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29" y="0"/>
                    <a:pt x="29" y="0"/>
                    <a:pt x="0" y="0"/>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2" name="Freeform 800">
              <a:extLst>
                <a:ext uri="{FF2B5EF4-FFF2-40B4-BE49-F238E27FC236}">
                  <a16:creationId xmlns:a16="http://schemas.microsoft.com/office/drawing/2014/main" id="{3CB00A7F-DB07-421A-B2C4-AD7A09F32A41}"/>
                </a:ext>
              </a:extLst>
            </p:cNvPr>
            <p:cNvSpPr>
              <a:spLocks noChangeArrowheads="1"/>
            </p:cNvSpPr>
            <p:nvPr/>
          </p:nvSpPr>
          <p:spPr bwMode="auto">
            <a:xfrm>
              <a:off x="10413013" y="1980883"/>
              <a:ext cx="22832" cy="32366"/>
            </a:xfrm>
            <a:custGeom>
              <a:avLst/>
              <a:gdLst>
                <a:gd name="T0" fmla="*/ 59 w 60"/>
                <a:gd name="T1" fmla="*/ 0 h 89"/>
                <a:gd name="T2" fmla="*/ 59 w 60"/>
                <a:gd name="T3" fmla="*/ 0 h 89"/>
                <a:gd name="T4" fmla="*/ 29 w 60"/>
                <a:gd name="T5" fmla="*/ 29 h 89"/>
                <a:gd name="T6" fmla="*/ 0 w 60"/>
                <a:gd name="T7" fmla="*/ 88 h 89"/>
                <a:gd name="T8" fmla="*/ 29 w 60"/>
                <a:gd name="T9" fmla="*/ 29 h 89"/>
                <a:gd name="T10" fmla="*/ 59 w 60"/>
                <a:gd name="T11" fmla="*/ 0 h 89"/>
              </a:gdLst>
              <a:ahLst/>
              <a:cxnLst>
                <a:cxn ang="0">
                  <a:pos x="T0" y="T1"/>
                </a:cxn>
                <a:cxn ang="0">
                  <a:pos x="T2" y="T3"/>
                </a:cxn>
                <a:cxn ang="0">
                  <a:pos x="T4" y="T5"/>
                </a:cxn>
                <a:cxn ang="0">
                  <a:pos x="T6" y="T7"/>
                </a:cxn>
                <a:cxn ang="0">
                  <a:pos x="T8" y="T9"/>
                </a:cxn>
                <a:cxn ang="0">
                  <a:pos x="T10" y="T11"/>
                </a:cxn>
              </a:cxnLst>
              <a:rect l="0" t="0" r="r" b="b"/>
              <a:pathLst>
                <a:path w="60" h="89">
                  <a:moveTo>
                    <a:pt x="59" y="0"/>
                  </a:moveTo>
                  <a:lnTo>
                    <a:pt x="59" y="0"/>
                  </a:lnTo>
                  <a:cubicBezTo>
                    <a:pt x="29" y="0"/>
                    <a:pt x="29" y="29"/>
                    <a:pt x="29" y="29"/>
                  </a:cubicBezTo>
                  <a:cubicBezTo>
                    <a:pt x="0" y="59"/>
                    <a:pt x="0" y="59"/>
                    <a:pt x="0" y="88"/>
                  </a:cubicBezTo>
                  <a:cubicBezTo>
                    <a:pt x="0" y="59"/>
                    <a:pt x="0" y="59"/>
                    <a:pt x="29" y="29"/>
                  </a:cubicBezTo>
                  <a:cubicBezTo>
                    <a:pt x="29" y="29"/>
                    <a:pt x="29"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3" name="Freeform 801">
              <a:extLst>
                <a:ext uri="{FF2B5EF4-FFF2-40B4-BE49-F238E27FC236}">
                  <a16:creationId xmlns:a16="http://schemas.microsoft.com/office/drawing/2014/main" id="{130CD5ED-5DD5-4017-8B0E-035728127297}"/>
                </a:ext>
              </a:extLst>
            </p:cNvPr>
            <p:cNvSpPr>
              <a:spLocks noChangeArrowheads="1"/>
            </p:cNvSpPr>
            <p:nvPr/>
          </p:nvSpPr>
          <p:spPr bwMode="auto">
            <a:xfrm>
              <a:off x="9398628" y="2066655"/>
              <a:ext cx="1631" cy="11328"/>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4" name="Freeform 802">
              <a:extLst>
                <a:ext uri="{FF2B5EF4-FFF2-40B4-BE49-F238E27FC236}">
                  <a16:creationId xmlns:a16="http://schemas.microsoft.com/office/drawing/2014/main" id="{45F5147C-6466-4170-BE8A-149791496246}"/>
                </a:ext>
              </a:extLst>
            </p:cNvPr>
            <p:cNvSpPr>
              <a:spLocks noChangeArrowheads="1"/>
            </p:cNvSpPr>
            <p:nvPr/>
          </p:nvSpPr>
          <p:spPr bwMode="auto">
            <a:xfrm>
              <a:off x="10230359" y="2259234"/>
              <a:ext cx="107636" cy="53405"/>
            </a:xfrm>
            <a:custGeom>
              <a:avLst/>
              <a:gdLst>
                <a:gd name="T0" fmla="*/ 175 w 293"/>
                <a:gd name="T1" fmla="*/ 115 h 145"/>
                <a:gd name="T2" fmla="*/ 175 w 293"/>
                <a:gd name="T3" fmla="*/ 115 h 145"/>
                <a:gd name="T4" fmla="*/ 117 w 293"/>
                <a:gd name="T5" fmla="*/ 115 h 145"/>
                <a:gd name="T6" fmla="*/ 0 w 293"/>
                <a:gd name="T7" fmla="*/ 144 h 145"/>
                <a:gd name="T8" fmla="*/ 117 w 293"/>
                <a:gd name="T9" fmla="*/ 115 h 145"/>
                <a:gd name="T10" fmla="*/ 175 w 293"/>
                <a:gd name="T11" fmla="*/ 115 h 145"/>
                <a:gd name="T12" fmla="*/ 234 w 293"/>
                <a:gd name="T13" fmla="*/ 58 h 145"/>
                <a:gd name="T14" fmla="*/ 292 w 293"/>
                <a:gd name="T15" fmla="*/ 0 h 145"/>
                <a:gd name="T16" fmla="*/ 292 w 293"/>
                <a:gd name="T17" fmla="*/ 0 h 145"/>
                <a:gd name="T18" fmla="*/ 292 w 293"/>
                <a:gd name="T19" fmla="*/ 0 h 145"/>
                <a:gd name="T20" fmla="*/ 234 w 293"/>
                <a:gd name="T21" fmla="*/ 58 h 145"/>
                <a:gd name="T22" fmla="*/ 175 w 293"/>
                <a:gd name="T23" fmla="*/ 11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 h="145">
                  <a:moveTo>
                    <a:pt x="175" y="115"/>
                  </a:moveTo>
                  <a:lnTo>
                    <a:pt x="175" y="115"/>
                  </a:lnTo>
                  <a:cubicBezTo>
                    <a:pt x="146" y="115"/>
                    <a:pt x="146" y="115"/>
                    <a:pt x="117" y="115"/>
                  </a:cubicBezTo>
                  <a:cubicBezTo>
                    <a:pt x="58" y="115"/>
                    <a:pt x="29" y="144"/>
                    <a:pt x="0" y="144"/>
                  </a:cubicBezTo>
                  <a:cubicBezTo>
                    <a:pt x="29" y="144"/>
                    <a:pt x="58" y="115"/>
                    <a:pt x="117" y="115"/>
                  </a:cubicBezTo>
                  <a:cubicBezTo>
                    <a:pt x="146" y="115"/>
                    <a:pt x="146" y="115"/>
                    <a:pt x="175" y="115"/>
                  </a:cubicBezTo>
                  <a:cubicBezTo>
                    <a:pt x="175" y="115"/>
                    <a:pt x="205" y="87"/>
                    <a:pt x="234" y="58"/>
                  </a:cubicBezTo>
                  <a:cubicBezTo>
                    <a:pt x="263" y="58"/>
                    <a:pt x="263" y="29"/>
                    <a:pt x="292" y="0"/>
                  </a:cubicBezTo>
                  <a:lnTo>
                    <a:pt x="292" y="0"/>
                  </a:lnTo>
                  <a:lnTo>
                    <a:pt x="292" y="0"/>
                  </a:lnTo>
                  <a:cubicBezTo>
                    <a:pt x="263" y="29"/>
                    <a:pt x="263" y="58"/>
                    <a:pt x="234" y="58"/>
                  </a:cubicBezTo>
                  <a:cubicBezTo>
                    <a:pt x="205" y="87"/>
                    <a:pt x="175" y="115"/>
                    <a:pt x="175" y="11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5" name="Freeform 803">
              <a:extLst>
                <a:ext uri="{FF2B5EF4-FFF2-40B4-BE49-F238E27FC236}">
                  <a16:creationId xmlns:a16="http://schemas.microsoft.com/office/drawing/2014/main" id="{D7E7DF63-301A-45DB-BE10-937C09E8ED14}"/>
                </a:ext>
              </a:extLst>
            </p:cNvPr>
            <p:cNvSpPr>
              <a:spLocks noChangeArrowheads="1"/>
            </p:cNvSpPr>
            <p:nvPr/>
          </p:nvSpPr>
          <p:spPr bwMode="auto">
            <a:xfrm>
              <a:off x="9356226" y="203428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6" name="Freeform 804">
              <a:extLst>
                <a:ext uri="{FF2B5EF4-FFF2-40B4-BE49-F238E27FC236}">
                  <a16:creationId xmlns:a16="http://schemas.microsoft.com/office/drawing/2014/main" id="{AF06508D-D6B1-4C09-9B94-966442B4237D}"/>
                </a:ext>
              </a:extLst>
            </p:cNvPr>
            <p:cNvSpPr>
              <a:spLocks noChangeArrowheads="1"/>
            </p:cNvSpPr>
            <p:nvPr/>
          </p:nvSpPr>
          <p:spPr bwMode="auto">
            <a:xfrm>
              <a:off x="9398628" y="2076365"/>
              <a:ext cx="11416" cy="32366"/>
            </a:xfrm>
            <a:custGeom>
              <a:avLst/>
              <a:gdLst>
                <a:gd name="T0" fmla="*/ 29 w 30"/>
                <a:gd name="T1" fmla="*/ 88 h 89"/>
                <a:gd name="T2" fmla="*/ 29 w 30"/>
                <a:gd name="T3" fmla="*/ 88 h 89"/>
                <a:gd name="T4" fmla="*/ 29 w 30"/>
                <a:gd name="T5" fmla="*/ 88 h 89"/>
                <a:gd name="T6" fmla="*/ 29 w 30"/>
                <a:gd name="T7" fmla="*/ 88 h 89"/>
                <a:gd name="T8" fmla="*/ 29 w 30"/>
                <a:gd name="T9" fmla="*/ 88 h 89"/>
                <a:gd name="T10" fmla="*/ 0 w 30"/>
                <a:gd name="T11" fmla="*/ 0 h 89"/>
                <a:gd name="T12" fmla="*/ 29 w 30"/>
                <a:gd name="T13" fmla="*/ 88 h 89"/>
              </a:gdLst>
              <a:ahLst/>
              <a:cxnLst>
                <a:cxn ang="0">
                  <a:pos x="T0" y="T1"/>
                </a:cxn>
                <a:cxn ang="0">
                  <a:pos x="T2" y="T3"/>
                </a:cxn>
                <a:cxn ang="0">
                  <a:pos x="T4" y="T5"/>
                </a:cxn>
                <a:cxn ang="0">
                  <a:pos x="T6" y="T7"/>
                </a:cxn>
                <a:cxn ang="0">
                  <a:pos x="T8" y="T9"/>
                </a:cxn>
                <a:cxn ang="0">
                  <a:pos x="T10" y="T11"/>
                </a:cxn>
                <a:cxn ang="0">
                  <a:pos x="T12" y="T13"/>
                </a:cxn>
              </a:cxnLst>
              <a:rect l="0" t="0" r="r" b="b"/>
              <a:pathLst>
                <a:path w="30" h="89">
                  <a:moveTo>
                    <a:pt x="29" y="88"/>
                  </a:moveTo>
                  <a:lnTo>
                    <a:pt x="29" y="88"/>
                  </a:lnTo>
                  <a:lnTo>
                    <a:pt x="29" y="88"/>
                  </a:lnTo>
                  <a:lnTo>
                    <a:pt x="29" y="88"/>
                  </a:lnTo>
                  <a:lnTo>
                    <a:pt x="29" y="88"/>
                  </a:lnTo>
                  <a:cubicBezTo>
                    <a:pt x="29" y="59"/>
                    <a:pt x="0" y="30"/>
                    <a:pt x="0" y="0"/>
                  </a:cubicBezTo>
                  <a:cubicBezTo>
                    <a:pt x="0" y="30"/>
                    <a:pt x="29" y="59"/>
                    <a:pt x="29"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7" name="Freeform 805">
              <a:extLst>
                <a:ext uri="{FF2B5EF4-FFF2-40B4-BE49-F238E27FC236}">
                  <a16:creationId xmlns:a16="http://schemas.microsoft.com/office/drawing/2014/main" id="{A2ADF17E-29E4-461F-90D1-EB0A0640D561}"/>
                </a:ext>
              </a:extLst>
            </p:cNvPr>
            <p:cNvSpPr>
              <a:spLocks noChangeArrowheads="1"/>
            </p:cNvSpPr>
            <p:nvPr/>
          </p:nvSpPr>
          <p:spPr bwMode="auto">
            <a:xfrm>
              <a:off x="9421459" y="2205830"/>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8" name="Freeform 806">
              <a:extLst>
                <a:ext uri="{FF2B5EF4-FFF2-40B4-BE49-F238E27FC236}">
                  <a16:creationId xmlns:a16="http://schemas.microsoft.com/office/drawing/2014/main" id="{2021C5DB-B789-4CDE-872E-75495003CF54}"/>
                </a:ext>
              </a:extLst>
            </p:cNvPr>
            <p:cNvSpPr>
              <a:spLocks noChangeArrowheads="1"/>
            </p:cNvSpPr>
            <p:nvPr/>
          </p:nvSpPr>
          <p:spPr bwMode="auto">
            <a:xfrm>
              <a:off x="9463861" y="2280273"/>
              <a:ext cx="22832" cy="11328"/>
            </a:xfrm>
            <a:custGeom>
              <a:avLst/>
              <a:gdLst>
                <a:gd name="T0" fmla="*/ 29 w 60"/>
                <a:gd name="T1" fmla="*/ 0 h 30"/>
                <a:gd name="T2" fmla="*/ 29 w 60"/>
                <a:gd name="T3" fmla="*/ 0 h 30"/>
                <a:gd name="T4" fmla="*/ 59 w 60"/>
                <a:gd name="T5" fmla="*/ 0 h 30"/>
                <a:gd name="T6" fmla="*/ 29 w 60"/>
                <a:gd name="T7" fmla="*/ 0 h 30"/>
                <a:gd name="T8" fmla="*/ 0 w 60"/>
                <a:gd name="T9" fmla="*/ 29 h 30"/>
                <a:gd name="T10" fmla="*/ 29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29" y="0"/>
                  </a:moveTo>
                  <a:lnTo>
                    <a:pt x="29" y="0"/>
                  </a:lnTo>
                  <a:cubicBezTo>
                    <a:pt x="59" y="0"/>
                    <a:pt x="59" y="0"/>
                    <a:pt x="59" y="0"/>
                  </a:cubicBezTo>
                  <a:cubicBezTo>
                    <a:pt x="59" y="0"/>
                    <a:pt x="59" y="0"/>
                    <a:pt x="29" y="0"/>
                  </a:cubicBezTo>
                  <a:cubicBezTo>
                    <a:pt x="29" y="0"/>
                    <a:pt x="29" y="0"/>
                    <a:pt x="0" y="29"/>
                  </a:cubicBezTo>
                  <a:cubicBezTo>
                    <a:pt x="29"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29" name="Freeform 807">
              <a:extLst>
                <a:ext uri="{FF2B5EF4-FFF2-40B4-BE49-F238E27FC236}">
                  <a16:creationId xmlns:a16="http://schemas.microsoft.com/office/drawing/2014/main" id="{F6188D65-AAFB-481F-B994-62F03EA602E4}"/>
                </a:ext>
              </a:extLst>
            </p:cNvPr>
            <p:cNvSpPr>
              <a:spLocks noChangeArrowheads="1"/>
            </p:cNvSpPr>
            <p:nvPr/>
          </p:nvSpPr>
          <p:spPr bwMode="auto">
            <a:xfrm>
              <a:off x="10218943" y="2312639"/>
              <a:ext cx="11415" cy="11328"/>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0"/>
                    <a:pt x="0" y="0"/>
                    <a:pt x="0" y="29"/>
                  </a:cubicBezTo>
                  <a:cubicBezTo>
                    <a:pt x="0" y="0"/>
                    <a:pt x="29"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0" name="Freeform 808">
              <a:extLst>
                <a:ext uri="{FF2B5EF4-FFF2-40B4-BE49-F238E27FC236}">
                  <a16:creationId xmlns:a16="http://schemas.microsoft.com/office/drawing/2014/main" id="{82F6072B-D061-408C-BF3F-5FB6DD6E1D60}"/>
                </a:ext>
              </a:extLst>
            </p:cNvPr>
            <p:cNvSpPr>
              <a:spLocks noChangeArrowheads="1"/>
            </p:cNvSpPr>
            <p:nvPr/>
          </p:nvSpPr>
          <p:spPr bwMode="auto">
            <a:xfrm>
              <a:off x="11265946" y="132708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1" name="Freeform 809">
              <a:extLst>
                <a:ext uri="{FF2B5EF4-FFF2-40B4-BE49-F238E27FC236}">
                  <a16:creationId xmlns:a16="http://schemas.microsoft.com/office/drawing/2014/main" id="{C0B703BF-14EA-4636-977A-CAA1EA349DBF}"/>
                </a:ext>
              </a:extLst>
            </p:cNvPr>
            <p:cNvSpPr>
              <a:spLocks noChangeArrowheads="1"/>
            </p:cNvSpPr>
            <p:nvPr/>
          </p:nvSpPr>
          <p:spPr bwMode="auto">
            <a:xfrm>
              <a:off x="11093076" y="1327082"/>
              <a:ext cx="11415" cy="11329"/>
            </a:xfrm>
            <a:custGeom>
              <a:avLst/>
              <a:gdLst>
                <a:gd name="T0" fmla="*/ 0 w 29"/>
                <a:gd name="T1" fmla="*/ 0 h 30"/>
                <a:gd name="T2" fmla="*/ 0 w 29"/>
                <a:gd name="T3" fmla="*/ 0 h 30"/>
                <a:gd name="T4" fmla="*/ 28 w 29"/>
                <a:gd name="T5" fmla="*/ 29 h 30"/>
                <a:gd name="T6" fmla="*/ 0 w 29"/>
                <a:gd name="T7" fmla="*/ 0 h 30"/>
              </a:gdLst>
              <a:ahLst/>
              <a:cxnLst>
                <a:cxn ang="0">
                  <a:pos x="T0" y="T1"/>
                </a:cxn>
                <a:cxn ang="0">
                  <a:pos x="T2" y="T3"/>
                </a:cxn>
                <a:cxn ang="0">
                  <a:pos x="T4" y="T5"/>
                </a:cxn>
                <a:cxn ang="0">
                  <a:pos x="T6" y="T7"/>
                </a:cxn>
              </a:cxnLst>
              <a:rect l="0" t="0" r="r" b="b"/>
              <a:pathLst>
                <a:path w="29" h="30">
                  <a:moveTo>
                    <a:pt x="0" y="0"/>
                  </a:moveTo>
                  <a:lnTo>
                    <a:pt x="0" y="0"/>
                  </a:lnTo>
                  <a:cubicBezTo>
                    <a:pt x="0" y="0"/>
                    <a:pt x="0" y="0"/>
                    <a:pt x="28"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2" name="Freeform 810">
              <a:extLst>
                <a:ext uri="{FF2B5EF4-FFF2-40B4-BE49-F238E27FC236}">
                  <a16:creationId xmlns:a16="http://schemas.microsoft.com/office/drawing/2014/main" id="{D723BBE7-B708-4FD6-A7EA-9CA760AC36B8}"/>
                </a:ext>
              </a:extLst>
            </p:cNvPr>
            <p:cNvSpPr>
              <a:spLocks noChangeArrowheads="1"/>
            </p:cNvSpPr>
            <p:nvPr/>
          </p:nvSpPr>
          <p:spPr bwMode="auto">
            <a:xfrm>
              <a:off x="11233329" y="1327082"/>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3" name="Freeform 811">
              <a:extLst>
                <a:ext uri="{FF2B5EF4-FFF2-40B4-BE49-F238E27FC236}">
                  <a16:creationId xmlns:a16="http://schemas.microsoft.com/office/drawing/2014/main" id="{53635F47-5118-4070-82D5-CDB7F65168A8}"/>
                </a:ext>
              </a:extLst>
            </p:cNvPr>
            <p:cNvSpPr>
              <a:spLocks noChangeArrowheads="1"/>
            </p:cNvSpPr>
            <p:nvPr/>
          </p:nvSpPr>
          <p:spPr bwMode="auto">
            <a:xfrm>
              <a:off x="11060460" y="2366043"/>
              <a:ext cx="75019" cy="118138"/>
            </a:xfrm>
            <a:custGeom>
              <a:avLst/>
              <a:gdLst>
                <a:gd name="T0" fmla="*/ 116 w 205"/>
                <a:gd name="T1" fmla="*/ 292 h 322"/>
                <a:gd name="T2" fmla="*/ 116 w 205"/>
                <a:gd name="T3" fmla="*/ 292 h 322"/>
                <a:gd name="T4" fmla="*/ 175 w 205"/>
                <a:gd name="T5" fmla="*/ 262 h 322"/>
                <a:gd name="T6" fmla="*/ 145 w 205"/>
                <a:gd name="T7" fmla="*/ 204 h 322"/>
                <a:gd name="T8" fmla="*/ 145 w 205"/>
                <a:gd name="T9" fmla="*/ 117 h 322"/>
                <a:gd name="T10" fmla="*/ 175 w 205"/>
                <a:gd name="T11" fmla="*/ 117 h 322"/>
                <a:gd name="T12" fmla="*/ 204 w 205"/>
                <a:gd name="T13" fmla="*/ 117 h 322"/>
                <a:gd name="T14" fmla="*/ 116 w 205"/>
                <a:gd name="T15" fmla="*/ 29 h 322"/>
                <a:gd name="T16" fmla="*/ 116 w 205"/>
                <a:gd name="T17" fmla="*/ 0 h 322"/>
                <a:gd name="T18" fmla="*/ 29 w 205"/>
                <a:gd name="T19" fmla="*/ 29 h 322"/>
                <a:gd name="T20" fmla="*/ 0 w 205"/>
                <a:gd name="T21" fmla="*/ 29 h 322"/>
                <a:gd name="T22" fmla="*/ 29 w 205"/>
                <a:gd name="T23" fmla="*/ 88 h 322"/>
                <a:gd name="T24" fmla="*/ 88 w 205"/>
                <a:gd name="T25" fmla="*/ 321 h 322"/>
                <a:gd name="T26" fmla="*/ 116 w 205"/>
                <a:gd name="T27" fmla="*/ 2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322">
                  <a:moveTo>
                    <a:pt x="116" y="292"/>
                  </a:moveTo>
                  <a:lnTo>
                    <a:pt x="116" y="292"/>
                  </a:lnTo>
                  <a:cubicBezTo>
                    <a:pt x="145" y="262"/>
                    <a:pt x="145" y="262"/>
                    <a:pt x="175" y="262"/>
                  </a:cubicBezTo>
                  <a:cubicBezTo>
                    <a:pt x="175" y="233"/>
                    <a:pt x="145" y="233"/>
                    <a:pt x="145" y="204"/>
                  </a:cubicBezTo>
                  <a:cubicBezTo>
                    <a:pt x="145" y="175"/>
                    <a:pt x="145" y="146"/>
                    <a:pt x="145" y="117"/>
                  </a:cubicBezTo>
                  <a:lnTo>
                    <a:pt x="175" y="117"/>
                  </a:lnTo>
                  <a:cubicBezTo>
                    <a:pt x="204" y="117"/>
                    <a:pt x="204" y="117"/>
                    <a:pt x="204" y="117"/>
                  </a:cubicBezTo>
                  <a:cubicBezTo>
                    <a:pt x="145" y="88"/>
                    <a:pt x="145" y="59"/>
                    <a:pt x="116" y="29"/>
                  </a:cubicBezTo>
                  <a:cubicBezTo>
                    <a:pt x="116" y="0"/>
                    <a:pt x="116" y="0"/>
                    <a:pt x="116" y="0"/>
                  </a:cubicBezTo>
                  <a:cubicBezTo>
                    <a:pt x="88" y="0"/>
                    <a:pt x="59" y="0"/>
                    <a:pt x="29" y="29"/>
                  </a:cubicBezTo>
                  <a:lnTo>
                    <a:pt x="0" y="29"/>
                  </a:lnTo>
                  <a:cubicBezTo>
                    <a:pt x="0" y="29"/>
                    <a:pt x="29" y="59"/>
                    <a:pt x="29" y="88"/>
                  </a:cubicBezTo>
                  <a:cubicBezTo>
                    <a:pt x="59" y="146"/>
                    <a:pt x="88" y="233"/>
                    <a:pt x="88" y="321"/>
                  </a:cubicBezTo>
                  <a:cubicBezTo>
                    <a:pt x="88" y="292"/>
                    <a:pt x="116" y="292"/>
                    <a:pt x="116" y="2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4" name="Freeform 812">
              <a:extLst>
                <a:ext uri="{FF2B5EF4-FFF2-40B4-BE49-F238E27FC236}">
                  <a16:creationId xmlns:a16="http://schemas.microsoft.com/office/drawing/2014/main" id="{A48C0120-4981-4ABB-A70B-DE4114799D36}"/>
                </a:ext>
              </a:extLst>
            </p:cNvPr>
            <p:cNvSpPr>
              <a:spLocks noChangeArrowheads="1"/>
            </p:cNvSpPr>
            <p:nvPr/>
          </p:nvSpPr>
          <p:spPr bwMode="auto">
            <a:xfrm>
              <a:off x="11275731" y="132708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5" name="Freeform 813">
              <a:extLst>
                <a:ext uri="{FF2B5EF4-FFF2-40B4-BE49-F238E27FC236}">
                  <a16:creationId xmlns:a16="http://schemas.microsoft.com/office/drawing/2014/main" id="{2594A23F-BC7A-48BE-956D-7E0D42F47214}"/>
                </a:ext>
              </a:extLst>
            </p:cNvPr>
            <p:cNvSpPr>
              <a:spLocks noChangeArrowheads="1"/>
            </p:cNvSpPr>
            <p:nvPr/>
          </p:nvSpPr>
          <p:spPr bwMode="auto">
            <a:xfrm>
              <a:off x="11243114" y="1327082"/>
              <a:ext cx="22832" cy="1619"/>
            </a:xfrm>
            <a:custGeom>
              <a:avLst/>
              <a:gdLst>
                <a:gd name="T0" fmla="*/ 59 w 60"/>
                <a:gd name="T1" fmla="*/ 0 h 1"/>
                <a:gd name="T2" fmla="*/ 59 w 60"/>
                <a:gd name="T3" fmla="*/ 0 h 1"/>
                <a:gd name="T4" fmla="*/ 30 w 60"/>
                <a:gd name="T5" fmla="*/ 0 h 1"/>
                <a:gd name="T6" fmla="*/ 0 w 60"/>
                <a:gd name="T7" fmla="*/ 0 h 1"/>
                <a:gd name="T8" fmla="*/ 30 w 60"/>
                <a:gd name="T9" fmla="*/ 0 h 1"/>
                <a:gd name="T10" fmla="*/ 59 w 60"/>
                <a:gd name="T11" fmla="*/ 0 h 1"/>
              </a:gdLst>
              <a:ahLst/>
              <a:cxnLst>
                <a:cxn ang="0">
                  <a:pos x="T0" y="T1"/>
                </a:cxn>
                <a:cxn ang="0">
                  <a:pos x="T2" y="T3"/>
                </a:cxn>
                <a:cxn ang="0">
                  <a:pos x="T4" y="T5"/>
                </a:cxn>
                <a:cxn ang="0">
                  <a:pos x="T6" y="T7"/>
                </a:cxn>
                <a:cxn ang="0">
                  <a:pos x="T8" y="T9"/>
                </a:cxn>
                <a:cxn ang="0">
                  <a:pos x="T10" y="T11"/>
                </a:cxn>
              </a:cxnLst>
              <a:rect l="0" t="0" r="r" b="b"/>
              <a:pathLst>
                <a:path w="60" h="1">
                  <a:moveTo>
                    <a:pt x="59" y="0"/>
                  </a:moveTo>
                  <a:lnTo>
                    <a:pt x="59" y="0"/>
                  </a:lnTo>
                  <a:cubicBezTo>
                    <a:pt x="30" y="0"/>
                    <a:pt x="30" y="0"/>
                    <a:pt x="30" y="0"/>
                  </a:cubicBezTo>
                  <a:cubicBezTo>
                    <a:pt x="0" y="0"/>
                    <a:pt x="0" y="0"/>
                    <a:pt x="0" y="0"/>
                  </a:cubicBezTo>
                  <a:cubicBezTo>
                    <a:pt x="0" y="0"/>
                    <a:pt x="0" y="0"/>
                    <a:pt x="30" y="0"/>
                  </a:cubicBezTo>
                  <a:cubicBezTo>
                    <a:pt x="30" y="0"/>
                    <a:pt x="30"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6" name="Freeform 814">
              <a:extLst>
                <a:ext uri="{FF2B5EF4-FFF2-40B4-BE49-F238E27FC236}">
                  <a16:creationId xmlns:a16="http://schemas.microsoft.com/office/drawing/2014/main" id="{B46C2BE5-6D5C-4A72-8A8E-7B5FB938C380}"/>
                </a:ext>
              </a:extLst>
            </p:cNvPr>
            <p:cNvSpPr>
              <a:spLocks noChangeArrowheads="1"/>
            </p:cNvSpPr>
            <p:nvPr/>
          </p:nvSpPr>
          <p:spPr bwMode="auto">
            <a:xfrm>
              <a:off x="10682103" y="1798014"/>
              <a:ext cx="247889" cy="76061"/>
            </a:xfrm>
            <a:custGeom>
              <a:avLst/>
              <a:gdLst>
                <a:gd name="T0" fmla="*/ 175 w 672"/>
                <a:gd name="T1" fmla="*/ 175 h 206"/>
                <a:gd name="T2" fmla="*/ 175 w 672"/>
                <a:gd name="T3" fmla="*/ 175 h 206"/>
                <a:gd name="T4" fmla="*/ 642 w 672"/>
                <a:gd name="T5" fmla="*/ 29 h 206"/>
                <a:gd name="T6" fmla="*/ 671 w 672"/>
                <a:gd name="T7" fmla="*/ 29 h 206"/>
                <a:gd name="T8" fmla="*/ 671 w 672"/>
                <a:gd name="T9" fmla="*/ 29 h 206"/>
                <a:gd name="T10" fmla="*/ 671 w 672"/>
                <a:gd name="T11" fmla="*/ 0 h 206"/>
                <a:gd name="T12" fmla="*/ 671 w 672"/>
                <a:gd name="T13" fmla="*/ 29 h 206"/>
                <a:gd name="T14" fmla="*/ 671 w 672"/>
                <a:gd name="T15" fmla="*/ 29 h 206"/>
                <a:gd name="T16" fmla="*/ 642 w 672"/>
                <a:gd name="T17" fmla="*/ 29 h 206"/>
                <a:gd name="T18" fmla="*/ 146 w 672"/>
                <a:gd name="T19" fmla="*/ 175 h 206"/>
                <a:gd name="T20" fmla="*/ 30 w 672"/>
                <a:gd name="T21" fmla="*/ 205 h 206"/>
                <a:gd name="T22" fmla="*/ 0 w 672"/>
                <a:gd name="T23" fmla="*/ 205 h 206"/>
                <a:gd name="T24" fmla="*/ 30 w 672"/>
                <a:gd name="T25" fmla="*/ 205 h 206"/>
                <a:gd name="T26" fmla="*/ 175 w 672"/>
                <a:gd name="T27" fmla="*/ 17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2" h="206">
                  <a:moveTo>
                    <a:pt x="175" y="175"/>
                  </a:moveTo>
                  <a:lnTo>
                    <a:pt x="175" y="175"/>
                  </a:lnTo>
                  <a:cubicBezTo>
                    <a:pt x="321" y="117"/>
                    <a:pt x="496" y="58"/>
                    <a:pt x="642" y="29"/>
                  </a:cubicBezTo>
                  <a:cubicBezTo>
                    <a:pt x="671" y="29"/>
                    <a:pt x="671" y="29"/>
                    <a:pt x="671" y="29"/>
                  </a:cubicBezTo>
                  <a:lnTo>
                    <a:pt x="671" y="29"/>
                  </a:lnTo>
                  <a:cubicBezTo>
                    <a:pt x="671" y="29"/>
                    <a:pt x="671" y="29"/>
                    <a:pt x="671" y="0"/>
                  </a:cubicBezTo>
                  <a:cubicBezTo>
                    <a:pt x="671" y="29"/>
                    <a:pt x="671" y="29"/>
                    <a:pt x="671" y="29"/>
                  </a:cubicBezTo>
                  <a:lnTo>
                    <a:pt x="671" y="29"/>
                  </a:lnTo>
                  <a:cubicBezTo>
                    <a:pt x="642" y="29"/>
                    <a:pt x="642" y="29"/>
                    <a:pt x="642" y="29"/>
                  </a:cubicBezTo>
                  <a:cubicBezTo>
                    <a:pt x="496" y="58"/>
                    <a:pt x="321" y="117"/>
                    <a:pt x="146" y="175"/>
                  </a:cubicBezTo>
                  <a:cubicBezTo>
                    <a:pt x="116" y="175"/>
                    <a:pt x="59" y="205"/>
                    <a:pt x="30" y="205"/>
                  </a:cubicBezTo>
                  <a:cubicBezTo>
                    <a:pt x="0" y="205"/>
                    <a:pt x="0" y="205"/>
                    <a:pt x="0" y="205"/>
                  </a:cubicBezTo>
                  <a:cubicBezTo>
                    <a:pt x="30" y="205"/>
                    <a:pt x="30" y="205"/>
                    <a:pt x="30" y="205"/>
                  </a:cubicBezTo>
                  <a:cubicBezTo>
                    <a:pt x="59" y="205"/>
                    <a:pt x="116" y="175"/>
                    <a:pt x="175" y="1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7" name="Freeform 815">
              <a:extLst>
                <a:ext uri="{FF2B5EF4-FFF2-40B4-BE49-F238E27FC236}">
                  <a16:creationId xmlns:a16="http://schemas.microsoft.com/office/drawing/2014/main" id="{6276FB0A-1299-4BC8-9373-D4873CD79842}"/>
                </a:ext>
              </a:extLst>
            </p:cNvPr>
            <p:cNvSpPr>
              <a:spLocks noChangeArrowheads="1"/>
            </p:cNvSpPr>
            <p:nvPr/>
          </p:nvSpPr>
          <p:spPr bwMode="auto">
            <a:xfrm>
              <a:off x="10995226" y="1702532"/>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8" name="Freeform 816">
              <a:extLst>
                <a:ext uri="{FF2B5EF4-FFF2-40B4-BE49-F238E27FC236}">
                  <a16:creationId xmlns:a16="http://schemas.microsoft.com/office/drawing/2014/main" id="{7C4B90B7-8DF2-48F4-8150-E578876BF8F6}"/>
                </a:ext>
              </a:extLst>
            </p:cNvPr>
            <p:cNvSpPr>
              <a:spLocks noChangeArrowheads="1"/>
            </p:cNvSpPr>
            <p:nvPr/>
          </p:nvSpPr>
          <p:spPr bwMode="auto">
            <a:xfrm>
              <a:off x="10964239" y="1702532"/>
              <a:ext cx="44033" cy="53405"/>
            </a:xfrm>
            <a:custGeom>
              <a:avLst/>
              <a:gdLst>
                <a:gd name="T0" fmla="*/ 28 w 117"/>
                <a:gd name="T1" fmla="*/ 146 h 147"/>
                <a:gd name="T2" fmla="*/ 28 w 117"/>
                <a:gd name="T3" fmla="*/ 146 h 147"/>
                <a:gd name="T4" fmla="*/ 28 w 117"/>
                <a:gd name="T5" fmla="*/ 146 h 147"/>
                <a:gd name="T6" fmla="*/ 87 w 117"/>
                <a:gd name="T7" fmla="*/ 117 h 147"/>
                <a:gd name="T8" fmla="*/ 87 w 117"/>
                <a:gd name="T9" fmla="*/ 0 h 147"/>
                <a:gd name="T10" fmla="*/ 87 w 117"/>
                <a:gd name="T11" fmla="*/ 117 h 147"/>
                <a:gd name="T12" fmla="*/ 28 w 117"/>
                <a:gd name="T13" fmla="*/ 146 h 147"/>
                <a:gd name="T14" fmla="*/ 28 w 117"/>
                <a:gd name="T15" fmla="*/ 146 h 147"/>
                <a:gd name="T16" fmla="*/ 0 w 117"/>
                <a:gd name="T17" fmla="*/ 146 h 147"/>
                <a:gd name="T18" fmla="*/ 0 w 117"/>
                <a:gd name="T19" fmla="*/ 146 h 147"/>
                <a:gd name="T20" fmla="*/ 28 w 117"/>
                <a:gd name="T21" fmla="*/ 1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147">
                  <a:moveTo>
                    <a:pt x="28" y="146"/>
                  </a:moveTo>
                  <a:lnTo>
                    <a:pt x="28" y="146"/>
                  </a:lnTo>
                  <a:lnTo>
                    <a:pt x="28" y="146"/>
                  </a:lnTo>
                  <a:cubicBezTo>
                    <a:pt x="57" y="146"/>
                    <a:pt x="87" y="117"/>
                    <a:pt x="87" y="117"/>
                  </a:cubicBezTo>
                  <a:cubicBezTo>
                    <a:pt x="116" y="87"/>
                    <a:pt x="116" y="29"/>
                    <a:pt x="87" y="0"/>
                  </a:cubicBezTo>
                  <a:cubicBezTo>
                    <a:pt x="116" y="29"/>
                    <a:pt x="116" y="87"/>
                    <a:pt x="87" y="117"/>
                  </a:cubicBezTo>
                  <a:cubicBezTo>
                    <a:pt x="87" y="117"/>
                    <a:pt x="57" y="146"/>
                    <a:pt x="28" y="146"/>
                  </a:cubicBezTo>
                  <a:lnTo>
                    <a:pt x="28" y="146"/>
                  </a:lnTo>
                  <a:cubicBezTo>
                    <a:pt x="0" y="146"/>
                    <a:pt x="0" y="146"/>
                    <a:pt x="0" y="146"/>
                  </a:cubicBezTo>
                  <a:lnTo>
                    <a:pt x="0" y="146"/>
                  </a:lnTo>
                  <a:lnTo>
                    <a:pt x="28" y="14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39" name="Freeform 817">
              <a:extLst>
                <a:ext uri="{FF2B5EF4-FFF2-40B4-BE49-F238E27FC236}">
                  <a16:creationId xmlns:a16="http://schemas.microsoft.com/office/drawing/2014/main" id="{149454AF-5348-439E-8A82-04DD65A8FC0C}"/>
                </a:ext>
              </a:extLst>
            </p:cNvPr>
            <p:cNvSpPr>
              <a:spLocks noChangeArrowheads="1"/>
            </p:cNvSpPr>
            <p:nvPr/>
          </p:nvSpPr>
          <p:spPr bwMode="auto">
            <a:xfrm>
              <a:off x="10995226" y="1488914"/>
              <a:ext cx="1630" cy="53405"/>
            </a:xfrm>
            <a:custGeom>
              <a:avLst/>
              <a:gdLst>
                <a:gd name="T0" fmla="*/ 0 w 1"/>
                <a:gd name="T1" fmla="*/ 29 h 146"/>
                <a:gd name="T2" fmla="*/ 0 w 1"/>
                <a:gd name="T3" fmla="*/ 29 h 146"/>
                <a:gd name="T4" fmla="*/ 0 w 1"/>
                <a:gd name="T5" fmla="*/ 0 h 146"/>
                <a:gd name="T6" fmla="*/ 0 w 1"/>
                <a:gd name="T7" fmla="*/ 29 h 146"/>
                <a:gd name="T8" fmla="*/ 0 w 1"/>
                <a:gd name="T9" fmla="*/ 145 h 146"/>
                <a:gd name="T10" fmla="*/ 0 w 1"/>
                <a:gd name="T11" fmla="*/ 29 h 146"/>
              </a:gdLst>
              <a:ahLst/>
              <a:cxnLst>
                <a:cxn ang="0">
                  <a:pos x="T0" y="T1"/>
                </a:cxn>
                <a:cxn ang="0">
                  <a:pos x="T2" y="T3"/>
                </a:cxn>
                <a:cxn ang="0">
                  <a:pos x="T4" y="T5"/>
                </a:cxn>
                <a:cxn ang="0">
                  <a:pos x="T6" y="T7"/>
                </a:cxn>
                <a:cxn ang="0">
                  <a:pos x="T8" y="T9"/>
                </a:cxn>
                <a:cxn ang="0">
                  <a:pos x="T10" y="T11"/>
                </a:cxn>
              </a:cxnLst>
              <a:rect l="0" t="0" r="r" b="b"/>
              <a:pathLst>
                <a:path w="1" h="146">
                  <a:moveTo>
                    <a:pt x="0" y="29"/>
                  </a:moveTo>
                  <a:lnTo>
                    <a:pt x="0" y="29"/>
                  </a:lnTo>
                  <a:lnTo>
                    <a:pt x="0" y="0"/>
                  </a:lnTo>
                  <a:lnTo>
                    <a:pt x="0" y="29"/>
                  </a:lnTo>
                  <a:cubicBezTo>
                    <a:pt x="0" y="87"/>
                    <a:pt x="0" y="116"/>
                    <a:pt x="0" y="145"/>
                  </a:cubicBezTo>
                  <a:cubicBezTo>
                    <a:pt x="0" y="116"/>
                    <a:pt x="0" y="87"/>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0" name="Freeform 818">
              <a:extLst>
                <a:ext uri="{FF2B5EF4-FFF2-40B4-BE49-F238E27FC236}">
                  <a16:creationId xmlns:a16="http://schemas.microsoft.com/office/drawing/2014/main" id="{64972895-1924-47D6-99EB-C065F6635E7D}"/>
                </a:ext>
              </a:extLst>
            </p:cNvPr>
            <p:cNvSpPr>
              <a:spLocks noChangeArrowheads="1"/>
            </p:cNvSpPr>
            <p:nvPr/>
          </p:nvSpPr>
          <p:spPr bwMode="auto">
            <a:xfrm>
              <a:off x="11006641" y="1306044"/>
              <a:ext cx="53818" cy="161832"/>
            </a:xfrm>
            <a:custGeom>
              <a:avLst/>
              <a:gdLst>
                <a:gd name="T0" fmla="*/ 29 w 147"/>
                <a:gd name="T1" fmla="*/ 409 h 439"/>
                <a:gd name="T2" fmla="*/ 29 w 147"/>
                <a:gd name="T3" fmla="*/ 409 h 439"/>
                <a:gd name="T4" fmla="*/ 58 w 147"/>
                <a:gd name="T5" fmla="*/ 292 h 439"/>
                <a:gd name="T6" fmla="*/ 146 w 147"/>
                <a:gd name="T7" fmla="*/ 0 h 439"/>
                <a:gd name="T8" fmla="*/ 58 w 147"/>
                <a:gd name="T9" fmla="*/ 292 h 439"/>
                <a:gd name="T10" fmla="*/ 29 w 147"/>
                <a:gd name="T11" fmla="*/ 409 h 439"/>
                <a:gd name="T12" fmla="*/ 0 w 147"/>
                <a:gd name="T13" fmla="*/ 438 h 439"/>
                <a:gd name="T14" fmla="*/ 29 w 147"/>
                <a:gd name="T15" fmla="*/ 409 h 4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439">
                  <a:moveTo>
                    <a:pt x="29" y="409"/>
                  </a:moveTo>
                  <a:lnTo>
                    <a:pt x="29" y="409"/>
                  </a:lnTo>
                  <a:cubicBezTo>
                    <a:pt x="29" y="350"/>
                    <a:pt x="58" y="321"/>
                    <a:pt x="58" y="292"/>
                  </a:cubicBezTo>
                  <a:cubicBezTo>
                    <a:pt x="88" y="205"/>
                    <a:pt x="117" y="117"/>
                    <a:pt x="146" y="0"/>
                  </a:cubicBezTo>
                  <a:cubicBezTo>
                    <a:pt x="117" y="117"/>
                    <a:pt x="88" y="205"/>
                    <a:pt x="58" y="292"/>
                  </a:cubicBezTo>
                  <a:cubicBezTo>
                    <a:pt x="58" y="321"/>
                    <a:pt x="29" y="350"/>
                    <a:pt x="29" y="409"/>
                  </a:cubicBezTo>
                  <a:lnTo>
                    <a:pt x="0" y="438"/>
                  </a:lnTo>
                  <a:lnTo>
                    <a:pt x="29" y="40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1" name="Freeform 819">
              <a:extLst>
                <a:ext uri="{FF2B5EF4-FFF2-40B4-BE49-F238E27FC236}">
                  <a16:creationId xmlns:a16="http://schemas.microsoft.com/office/drawing/2014/main" id="{6A68F3B9-012F-45EB-A287-5332BDDA9728}"/>
                </a:ext>
              </a:extLst>
            </p:cNvPr>
            <p:cNvSpPr>
              <a:spLocks noChangeArrowheads="1"/>
            </p:cNvSpPr>
            <p:nvPr/>
          </p:nvSpPr>
          <p:spPr bwMode="auto">
            <a:xfrm>
              <a:off x="11071875" y="1306044"/>
              <a:ext cx="22832" cy="22656"/>
            </a:xfrm>
            <a:custGeom>
              <a:avLst/>
              <a:gdLst>
                <a:gd name="T0" fmla="*/ 59 w 60"/>
                <a:gd name="T1" fmla="*/ 59 h 60"/>
                <a:gd name="T2" fmla="*/ 59 w 60"/>
                <a:gd name="T3" fmla="*/ 59 h 60"/>
                <a:gd name="T4" fmla="*/ 0 w 60"/>
                <a:gd name="T5" fmla="*/ 0 h 60"/>
                <a:gd name="T6" fmla="*/ 59 w 60"/>
                <a:gd name="T7" fmla="*/ 59 h 60"/>
              </a:gdLst>
              <a:ahLst/>
              <a:cxnLst>
                <a:cxn ang="0">
                  <a:pos x="T0" y="T1"/>
                </a:cxn>
                <a:cxn ang="0">
                  <a:pos x="T2" y="T3"/>
                </a:cxn>
                <a:cxn ang="0">
                  <a:pos x="T4" y="T5"/>
                </a:cxn>
                <a:cxn ang="0">
                  <a:pos x="T6" y="T7"/>
                </a:cxn>
              </a:cxnLst>
              <a:rect l="0" t="0" r="r" b="b"/>
              <a:pathLst>
                <a:path w="60" h="60">
                  <a:moveTo>
                    <a:pt x="59" y="59"/>
                  </a:moveTo>
                  <a:lnTo>
                    <a:pt x="59" y="59"/>
                  </a:lnTo>
                  <a:cubicBezTo>
                    <a:pt x="59" y="30"/>
                    <a:pt x="30" y="0"/>
                    <a:pt x="0" y="0"/>
                  </a:cubicBezTo>
                  <a:cubicBezTo>
                    <a:pt x="30" y="0"/>
                    <a:pt x="59" y="30"/>
                    <a:pt x="59"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2" name="Freeform 820">
              <a:extLst>
                <a:ext uri="{FF2B5EF4-FFF2-40B4-BE49-F238E27FC236}">
                  <a16:creationId xmlns:a16="http://schemas.microsoft.com/office/drawing/2014/main" id="{F2B3643B-E49C-4CB9-A055-6B2E07D485E7}"/>
                </a:ext>
              </a:extLst>
            </p:cNvPr>
            <p:cNvSpPr>
              <a:spLocks noChangeArrowheads="1"/>
            </p:cNvSpPr>
            <p:nvPr/>
          </p:nvSpPr>
          <p:spPr bwMode="auto">
            <a:xfrm>
              <a:off x="11200712" y="2301311"/>
              <a:ext cx="21200" cy="11329"/>
            </a:xfrm>
            <a:custGeom>
              <a:avLst/>
              <a:gdLst>
                <a:gd name="T0" fmla="*/ 30 w 59"/>
                <a:gd name="T1" fmla="*/ 29 h 30"/>
                <a:gd name="T2" fmla="*/ 30 w 59"/>
                <a:gd name="T3" fmla="*/ 29 h 30"/>
                <a:gd name="T4" fmla="*/ 58 w 59"/>
                <a:gd name="T5" fmla="*/ 29 h 30"/>
                <a:gd name="T6" fmla="*/ 58 w 59"/>
                <a:gd name="T7" fmla="*/ 29 h 30"/>
                <a:gd name="T8" fmla="*/ 58 w 59"/>
                <a:gd name="T9" fmla="*/ 29 h 30"/>
                <a:gd name="T10" fmla="*/ 58 w 59"/>
                <a:gd name="T11" fmla="*/ 29 h 30"/>
                <a:gd name="T12" fmla="*/ 30 w 59"/>
                <a:gd name="T13" fmla="*/ 29 h 30"/>
                <a:gd name="T14" fmla="*/ 0 w 59"/>
                <a:gd name="T15" fmla="*/ 0 h 30"/>
                <a:gd name="T16" fmla="*/ 30 w 59"/>
                <a:gd name="T1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0">
                  <a:moveTo>
                    <a:pt x="30" y="29"/>
                  </a:moveTo>
                  <a:lnTo>
                    <a:pt x="30" y="29"/>
                  </a:lnTo>
                  <a:cubicBezTo>
                    <a:pt x="58" y="29"/>
                    <a:pt x="58" y="29"/>
                    <a:pt x="58" y="29"/>
                  </a:cubicBezTo>
                  <a:lnTo>
                    <a:pt x="58" y="29"/>
                  </a:lnTo>
                  <a:lnTo>
                    <a:pt x="58" y="29"/>
                  </a:lnTo>
                  <a:lnTo>
                    <a:pt x="58" y="29"/>
                  </a:lnTo>
                  <a:cubicBezTo>
                    <a:pt x="30" y="29"/>
                    <a:pt x="30" y="29"/>
                    <a:pt x="30" y="29"/>
                  </a:cubicBezTo>
                  <a:cubicBezTo>
                    <a:pt x="30" y="29"/>
                    <a:pt x="30" y="0"/>
                    <a:pt x="0" y="0"/>
                  </a:cubicBezTo>
                  <a:cubicBezTo>
                    <a:pt x="30" y="0"/>
                    <a:pt x="30" y="29"/>
                    <a:pt x="3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3" name="Freeform 821">
              <a:extLst>
                <a:ext uri="{FF2B5EF4-FFF2-40B4-BE49-F238E27FC236}">
                  <a16:creationId xmlns:a16="http://schemas.microsoft.com/office/drawing/2014/main" id="{3AF17624-4A28-4C31-888F-F15270A46A99}"/>
                </a:ext>
              </a:extLst>
            </p:cNvPr>
            <p:cNvSpPr>
              <a:spLocks noChangeArrowheads="1"/>
            </p:cNvSpPr>
            <p:nvPr/>
          </p:nvSpPr>
          <p:spPr bwMode="auto">
            <a:xfrm>
              <a:off x="10262976" y="5309768"/>
              <a:ext cx="32617" cy="85770"/>
            </a:xfrm>
            <a:custGeom>
              <a:avLst/>
              <a:gdLst>
                <a:gd name="T0" fmla="*/ 58 w 88"/>
                <a:gd name="T1" fmla="*/ 145 h 234"/>
                <a:gd name="T2" fmla="*/ 58 w 88"/>
                <a:gd name="T3" fmla="*/ 145 h 234"/>
                <a:gd name="T4" fmla="*/ 29 w 88"/>
                <a:gd name="T5" fmla="*/ 116 h 234"/>
                <a:gd name="T6" fmla="*/ 0 w 88"/>
                <a:gd name="T7" fmla="*/ 29 h 234"/>
                <a:gd name="T8" fmla="*/ 0 w 88"/>
                <a:gd name="T9" fmla="*/ 0 h 234"/>
                <a:gd name="T10" fmla="*/ 0 w 88"/>
                <a:gd name="T11" fmla="*/ 29 h 234"/>
                <a:gd name="T12" fmla="*/ 29 w 88"/>
                <a:gd name="T13" fmla="*/ 116 h 234"/>
                <a:gd name="T14" fmla="*/ 58 w 88"/>
                <a:gd name="T15" fmla="*/ 145 h 234"/>
                <a:gd name="T16" fmla="*/ 87 w 88"/>
                <a:gd name="T17" fmla="*/ 233 h 234"/>
                <a:gd name="T18" fmla="*/ 58 w 88"/>
                <a:gd name="T19" fmla="*/ 14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234">
                  <a:moveTo>
                    <a:pt x="58" y="145"/>
                  </a:moveTo>
                  <a:lnTo>
                    <a:pt x="58" y="145"/>
                  </a:lnTo>
                  <a:cubicBezTo>
                    <a:pt x="58" y="116"/>
                    <a:pt x="58" y="116"/>
                    <a:pt x="29" y="116"/>
                  </a:cubicBezTo>
                  <a:cubicBezTo>
                    <a:pt x="29" y="87"/>
                    <a:pt x="0" y="57"/>
                    <a:pt x="0" y="29"/>
                  </a:cubicBezTo>
                  <a:lnTo>
                    <a:pt x="0" y="0"/>
                  </a:lnTo>
                  <a:lnTo>
                    <a:pt x="0" y="29"/>
                  </a:lnTo>
                  <a:cubicBezTo>
                    <a:pt x="0" y="57"/>
                    <a:pt x="29" y="87"/>
                    <a:pt x="29" y="116"/>
                  </a:cubicBezTo>
                  <a:cubicBezTo>
                    <a:pt x="58" y="116"/>
                    <a:pt x="58" y="116"/>
                    <a:pt x="58" y="145"/>
                  </a:cubicBezTo>
                  <a:cubicBezTo>
                    <a:pt x="58" y="174"/>
                    <a:pt x="58" y="204"/>
                    <a:pt x="87" y="233"/>
                  </a:cubicBezTo>
                  <a:cubicBezTo>
                    <a:pt x="58" y="204"/>
                    <a:pt x="58" y="174"/>
                    <a:pt x="58" y="14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4" name="Freeform 822">
              <a:extLst>
                <a:ext uri="{FF2B5EF4-FFF2-40B4-BE49-F238E27FC236}">
                  <a16:creationId xmlns:a16="http://schemas.microsoft.com/office/drawing/2014/main" id="{1B261E60-D4D8-4399-8A94-B9B591827050}"/>
                </a:ext>
              </a:extLst>
            </p:cNvPr>
            <p:cNvSpPr>
              <a:spLocks noChangeArrowheads="1"/>
            </p:cNvSpPr>
            <p:nvPr/>
          </p:nvSpPr>
          <p:spPr bwMode="auto">
            <a:xfrm>
              <a:off x="10251560" y="5309768"/>
              <a:ext cx="11415" cy="21038"/>
            </a:xfrm>
            <a:custGeom>
              <a:avLst/>
              <a:gdLst>
                <a:gd name="T0" fmla="*/ 0 w 31"/>
                <a:gd name="T1" fmla="*/ 0 h 58"/>
                <a:gd name="T2" fmla="*/ 0 w 31"/>
                <a:gd name="T3" fmla="*/ 0 h 58"/>
                <a:gd name="T4" fmla="*/ 0 w 31"/>
                <a:gd name="T5" fmla="*/ 0 h 58"/>
                <a:gd name="T6" fmla="*/ 30 w 31"/>
                <a:gd name="T7" fmla="*/ 57 h 58"/>
                <a:gd name="T8" fmla="*/ 0 w 31"/>
                <a:gd name="T9" fmla="*/ 0 h 58"/>
              </a:gdLst>
              <a:ahLst/>
              <a:cxnLst>
                <a:cxn ang="0">
                  <a:pos x="T0" y="T1"/>
                </a:cxn>
                <a:cxn ang="0">
                  <a:pos x="T2" y="T3"/>
                </a:cxn>
                <a:cxn ang="0">
                  <a:pos x="T4" y="T5"/>
                </a:cxn>
                <a:cxn ang="0">
                  <a:pos x="T6" y="T7"/>
                </a:cxn>
                <a:cxn ang="0">
                  <a:pos x="T8" y="T9"/>
                </a:cxn>
              </a:cxnLst>
              <a:rect l="0" t="0" r="r" b="b"/>
              <a:pathLst>
                <a:path w="31" h="58">
                  <a:moveTo>
                    <a:pt x="0" y="0"/>
                  </a:moveTo>
                  <a:lnTo>
                    <a:pt x="0" y="0"/>
                  </a:lnTo>
                  <a:lnTo>
                    <a:pt x="0" y="0"/>
                  </a:lnTo>
                  <a:cubicBezTo>
                    <a:pt x="0" y="29"/>
                    <a:pt x="30" y="57"/>
                    <a:pt x="30" y="57"/>
                  </a:cubicBezTo>
                  <a:cubicBezTo>
                    <a:pt x="30" y="57"/>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5" name="Freeform 823">
              <a:extLst>
                <a:ext uri="{FF2B5EF4-FFF2-40B4-BE49-F238E27FC236}">
                  <a16:creationId xmlns:a16="http://schemas.microsoft.com/office/drawing/2014/main" id="{C472085E-E079-49A4-A24F-AAAECD630C85}"/>
                </a:ext>
              </a:extLst>
            </p:cNvPr>
            <p:cNvSpPr>
              <a:spLocks noChangeArrowheads="1"/>
            </p:cNvSpPr>
            <p:nvPr/>
          </p:nvSpPr>
          <p:spPr bwMode="auto">
            <a:xfrm>
              <a:off x="10218943" y="5212669"/>
              <a:ext cx="11415" cy="1618"/>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6" name="Freeform 824">
              <a:extLst>
                <a:ext uri="{FF2B5EF4-FFF2-40B4-BE49-F238E27FC236}">
                  <a16:creationId xmlns:a16="http://schemas.microsoft.com/office/drawing/2014/main" id="{DB9C51D9-823E-4956-9873-628108388A9A}"/>
                </a:ext>
              </a:extLst>
            </p:cNvPr>
            <p:cNvSpPr>
              <a:spLocks noChangeArrowheads="1"/>
            </p:cNvSpPr>
            <p:nvPr/>
          </p:nvSpPr>
          <p:spPr bwMode="auto">
            <a:xfrm>
              <a:off x="10262976" y="5330806"/>
              <a:ext cx="1631" cy="11329"/>
            </a:xfrm>
            <a:custGeom>
              <a:avLst/>
              <a:gdLst>
                <a:gd name="T0" fmla="*/ 0 w 1"/>
                <a:gd name="T1" fmla="*/ 0 h 31"/>
                <a:gd name="T2" fmla="*/ 0 w 1"/>
                <a:gd name="T3" fmla="*/ 0 h 31"/>
                <a:gd name="T4" fmla="*/ 0 w 1"/>
                <a:gd name="T5" fmla="*/ 30 h 31"/>
                <a:gd name="T6" fmla="*/ 0 w 1"/>
                <a:gd name="T7" fmla="*/ 0 h 31"/>
              </a:gdLst>
              <a:ahLst/>
              <a:cxnLst>
                <a:cxn ang="0">
                  <a:pos x="T0" y="T1"/>
                </a:cxn>
                <a:cxn ang="0">
                  <a:pos x="T2" y="T3"/>
                </a:cxn>
                <a:cxn ang="0">
                  <a:pos x="T4" y="T5"/>
                </a:cxn>
                <a:cxn ang="0">
                  <a:pos x="T6" y="T7"/>
                </a:cxn>
              </a:cxnLst>
              <a:rect l="0" t="0" r="r" b="b"/>
              <a:pathLst>
                <a:path w="1" h="31">
                  <a:moveTo>
                    <a:pt x="0" y="0"/>
                  </a:moveTo>
                  <a:lnTo>
                    <a:pt x="0" y="0"/>
                  </a:lnTo>
                  <a:lnTo>
                    <a:pt x="0" y="3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7" name="Freeform 825">
              <a:extLst>
                <a:ext uri="{FF2B5EF4-FFF2-40B4-BE49-F238E27FC236}">
                  <a16:creationId xmlns:a16="http://schemas.microsoft.com/office/drawing/2014/main" id="{A1E3538F-CEBC-477F-BDCD-C50E682A1CAF}"/>
                </a:ext>
              </a:extLst>
            </p:cNvPr>
            <p:cNvSpPr>
              <a:spLocks noChangeArrowheads="1"/>
            </p:cNvSpPr>
            <p:nvPr/>
          </p:nvSpPr>
          <p:spPr bwMode="auto">
            <a:xfrm>
              <a:off x="10218943" y="5212669"/>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8" name="Freeform 826">
              <a:extLst>
                <a:ext uri="{FF2B5EF4-FFF2-40B4-BE49-F238E27FC236}">
                  <a16:creationId xmlns:a16="http://schemas.microsoft.com/office/drawing/2014/main" id="{556A5552-F1AD-4886-B144-87C0CA1D7317}"/>
                </a:ext>
              </a:extLst>
            </p:cNvPr>
            <p:cNvSpPr>
              <a:spLocks noChangeArrowheads="1"/>
            </p:cNvSpPr>
            <p:nvPr/>
          </p:nvSpPr>
          <p:spPr bwMode="auto">
            <a:xfrm>
              <a:off x="10230359" y="5256363"/>
              <a:ext cx="1631" cy="11329"/>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49" name="Freeform 827">
              <a:extLst>
                <a:ext uri="{FF2B5EF4-FFF2-40B4-BE49-F238E27FC236}">
                  <a16:creationId xmlns:a16="http://schemas.microsoft.com/office/drawing/2014/main" id="{43EF3325-50C0-4DA1-B055-D1EBDF394DEB}"/>
                </a:ext>
              </a:extLst>
            </p:cNvPr>
            <p:cNvSpPr>
              <a:spLocks noChangeArrowheads="1"/>
            </p:cNvSpPr>
            <p:nvPr/>
          </p:nvSpPr>
          <p:spPr bwMode="auto">
            <a:xfrm>
              <a:off x="10293962" y="5416577"/>
              <a:ext cx="11415" cy="11328"/>
            </a:xfrm>
            <a:custGeom>
              <a:avLst/>
              <a:gdLst>
                <a:gd name="T0" fmla="*/ 0 w 31"/>
                <a:gd name="T1" fmla="*/ 30 h 31"/>
                <a:gd name="T2" fmla="*/ 0 w 31"/>
                <a:gd name="T3" fmla="*/ 30 h 31"/>
                <a:gd name="T4" fmla="*/ 30 w 31"/>
                <a:gd name="T5" fmla="*/ 0 h 31"/>
                <a:gd name="T6" fmla="*/ 0 w 31"/>
                <a:gd name="T7" fmla="*/ 30 h 31"/>
              </a:gdLst>
              <a:ahLst/>
              <a:cxnLst>
                <a:cxn ang="0">
                  <a:pos x="T0" y="T1"/>
                </a:cxn>
                <a:cxn ang="0">
                  <a:pos x="T2" y="T3"/>
                </a:cxn>
                <a:cxn ang="0">
                  <a:pos x="T4" y="T5"/>
                </a:cxn>
                <a:cxn ang="0">
                  <a:pos x="T6" y="T7"/>
                </a:cxn>
              </a:cxnLst>
              <a:rect l="0" t="0" r="r" b="b"/>
              <a:pathLst>
                <a:path w="31" h="31">
                  <a:moveTo>
                    <a:pt x="0" y="30"/>
                  </a:moveTo>
                  <a:lnTo>
                    <a:pt x="0" y="30"/>
                  </a:lnTo>
                  <a:cubicBezTo>
                    <a:pt x="0" y="0"/>
                    <a:pt x="0" y="0"/>
                    <a:pt x="30" y="0"/>
                  </a:cubicBezTo>
                  <a:cubicBezTo>
                    <a:pt x="0" y="0"/>
                    <a:pt x="0" y="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0" name="Freeform 828">
              <a:extLst>
                <a:ext uri="{FF2B5EF4-FFF2-40B4-BE49-F238E27FC236}">
                  <a16:creationId xmlns:a16="http://schemas.microsoft.com/office/drawing/2014/main" id="{E1C3CF83-6990-453F-A3A0-2A203F179058}"/>
                </a:ext>
              </a:extLst>
            </p:cNvPr>
            <p:cNvSpPr>
              <a:spLocks noChangeArrowheads="1"/>
            </p:cNvSpPr>
            <p:nvPr/>
          </p:nvSpPr>
          <p:spPr bwMode="auto">
            <a:xfrm>
              <a:off x="10305378" y="5469981"/>
              <a:ext cx="11416" cy="1619"/>
            </a:xfrm>
            <a:custGeom>
              <a:avLst/>
              <a:gdLst>
                <a:gd name="T0" fmla="*/ 0 w 30"/>
                <a:gd name="T1" fmla="*/ 0 h 1"/>
                <a:gd name="T2" fmla="*/ 0 w 30"/>
                <a:gd name="T3" fmla="*/ 0 h 1"/>
                <a:gd name="T4" fmla="*/ 29 w 30"/>
                <a:gd name="T5" fmla="*/ 0 h 1"/>
                <a:gd name="T6" fmla="*/ 0 w 30"/>
                <a:gd name="T7" fmla="*/ 0 h 1"/>
              </a:gdLst>
              <a:ahLst/>
              <a:cxnLst>
                <a:cxn ang="0">
                  <a:pos x="T0" y="T1"/>
                </a:cxn>
                <a:cxn ang="0">
                  <a:pos x="T2" y="T3"/>
                </a:cxn>
                <a:cxn ang="0">
                  <a:pos x="T4" y="T5"/>
                </a:cxn>
                <a:cxn ang="0">
                  <a:pos x="T6" y="T7"/>
                </a:cxn>
              </a:cxnLst>
              <a:rect l="0" t="0" r="r" b="b"/>
              <a:pathLst>
                <a:path w="30" h="1">
                  <a:moveTo>
                    <a:pt x="0" y="0"/>
                  </a:moveTo>
                  <a:lnTo>
                    <a:pt x="0" y="0"/>
                  </a:lnTo>
                  <a:cubicBezTo>
                    <a:pt x="29" y="0"/>
                    <a:pt x="29" y="0"/>
                    <a:pt x="29" y="0"/>
                  </a:cubicBezTo>
                  <a:cubicBezTo>
                    <a:pt x="29" y="0"/>
                    <a:pt x="29"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1" name="Freeform 829">
              <a:extLst>
                <a:ext uri="{FF2B5EF4-FFF2-40B4-BE49-F238E27FC236}">
                  <a16:creationId xmlns:a16="http://schemas.microsoft.com/office/drawing/2014/main" id="{35AEB7F3-E950-4BAF-81B3-82156AFB0A4F}"/>
                </a:ext>
              </a:extLst>
            </p:cNvPr>
            <p:cNvSpPr>
              <a:spLocks noChangeArrowheads="1"/>
            </p:cNvSpPr>
            <p:nvPr/>
          </p:nvSpPr>
          <p:spPr bwMode="auto">
            <a:xfrm>
              <a:off x="10305378" y="5416577"/>
              <a:ext cx="11416" cy="11328"/>
            </a:xfrm>
            <a:custGeom>
              <a:avLst/>
              <a:gdLst>
                <a:gd name="T0" fmla="*/ 0 w 30"/>
                <a:gd name="T1" fmla="*/ 0 h 31"/>
                <a:gd name="T2" fmla="*/ 29 w 30"/>
                <a:gd name="T3" fmla="*/ 0 h 31"/>
                <a:gd name="T4" fmla="*/ 29 w 30"/>
                <a:gd name="T5" fmla="*/ 30 h 31"/>
                <a:gd name="T6" fmla="*/ 29 w 30"/>
                <a:gd name="T7" fmla="*/ 0 h 31"/>
                <a:gd name="T8" fmla="*/ 0 w 30"/>
                <a:gd name="T9" fmla="*/ 0 h 31"/>
              </a:gdLst>
              <a:ahLst/>
              <a:cxnLst>
                <a:cxn ang="0">
                  <a:pos x="T0" y="T1"/>
                </a:cxn>
                <a:cxn ang="0">
                  <a:pos x="T2" y="T3"/>
                </a:cxn>
                <a:cxn ang="0">
                  <a:pos x="T4" y="T5"/>
                </a:cxn>
                <a:cxn ang="0">
                  <a:pos x="T6" y="T7"/>
                </a:cxn>
                <a:cxn ang="0">
                  <a:pos x="T8" y="T9"/>
                </a:cxn>
              </a:cxnLst>
              <a:rect l="0" t="0" r="r" b="b"/>
              <a:pathLst>
                <a:path w="30" h="31">
                  <a:moveTo>
                    <a:pt x="0" y="0"/>
                  </a:moveTo>
                  <a:lnTo>
                    <a:pt x="29" y="0"/>
                  </a:lnTo>
                  <a:lnTo>
                    <a:pt x="29" y="30"/>
                  </a:lnTo>
                  <a:lnTo>
                    <a:pt x="29"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2" name="Freeform 830">
              <a:extLst>
                <a:ext uri="{FF2B5EF4-FFF2-40B4-BE49-F238E27FC236}">
                  <a16:creationId xmlns:a16="http://schemas.microsoft.com/office/drawing/2014/main" id="{59ECA391-E3E1-4E10-A2F8-E3F340530258}"/>
                </a:ext>
              </a:extLst>
            </p:cNvPr>
            <p:cNvSpPr>
              <a:spLocks noChangeArrowheads="1"/>
            </p:cNvSpPr>
            <p:nvPr/>
          </p:nvSpPr>
          <p:spPr bwMode="auto">
            <a:xfrm>
              <a:off x="10316794" y="542628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3" name="Freeform 831">
              <a:extLst>
                <a:ext uri="{FF2B5EF4-FFF2-40B4-BE49-F238E27FC236}">
                  <a16:creationId xmlns:a16="http://schemas.microsoft.com/office/drawing/2014/main" id="{70E2958D-2C33-4A70-9EFA-2715A62A378D}"/>
                </a:ext>
              </a:extLst>
            </p:cNvPr>
            <p:cNvSpPr>
              <a:spLocks noChangeArrowheads="1"/>
            </p:cNvSpPr>
            <p:nvPr/>
          </p:nvSpPr>
          <p:spPr bwMode="auto">
            <a:xfrm>
              <a:off x="10186326" y="5147936"/>
              <a:ext cx="21200" cy="11328"/>
            </a:xfrm>
            <a:custGeom>
              <a:avLst/>
              <a:gdLst>
                <a:gd name="T0" fmla="*/ 58 w 59"/>
                <a:gd name="T1" fmla="*/ 29 h 30"/>
                <a:gd name="T2" fmla="*/ 58 w 59"/>
                <a:gd name="T3" fmla="*/ 29 h 30"/>
                <a:gd name="T4" fmla="*/ 29 w 59"/>
                <a:gd name="T5" fmla="*/ 29 h 30"/>
                <a:gd name="T6" fmla="*/ 0 w 59"/>
                <a:gd name="T7" fmla="*/ 0 h 30"/>
                <a:gd name="T8" fmla="*/ 0 w 59"/>
                <a:gd name="T9" fmla="*/ 0 h 30"/>
                <a:gd name="T10" fmla="*/ 29 w 59"/>
                <a:gd name="T11" fmla="*/ 29 h 30"/>
                <a:gd name="T12" fmla="*/ 58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58" y="29"/>
                  </a:moveTo>
                  <a:lnTo>
                    <a:pt x="58" y="29"/>
                  </a:lnTo>
                  <a:cubicBezTo>
                    <a:pt x="29" y="29"/>
                    <a:pt x="29" y="29"/>
                    <a:pt x="29" y="29"/>
                  </a:cubicBezTo>
                  <a:cubicBezTo>
                    <a:pt x="0" y="0"/>
                    <a:pt x="0" y="0"/>
                    <a:pt x="0" y="0"/>
                  </a:cubicBezTo>
                  <a:lnTo>
                    <a:pt x="0" y="0"/>
                  </a:lnTo>
                  <a:cubicBezTo>
                    <a:pt x="29" y="29"/>
                    <a:pt x="29" y="29"/>
                    <a:pt x="29" y="29"/>
                  </a:cubicBezTo>
                  <a:cubicBezTo>
                    <a:pt x="29" y="29"/>
                    <a:pt x="29" y="29"/>
                    <a:pt x="5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4" name="Freeform 832">
              <a:extLst>
                <a:ext uri="{FF2B5EF4-FFF2-40B4-BE49-F238E27FC236}">
                  <a16:creationId xmlns:a16="http://schemas.microsoft.com/office/drawing/2014/main" id="{43297FC9-FFAF-491D-B7F5-0AF4E83DF339}"/>
                </a:ext>
              </a:extLst>
            </p:cNvPr>
            <p:cNvSpPr>
              <a:spLocks noChangeArrowheads="1"/>
            </p:cNvSpPr>
            <p:nvPr/>
          </p:nvSpPr>
          <p:spPr bwMode="auto">
            <a:xfrm>
              <a:off x="10293962" y="5426287"/>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5" name="Freeform 833">
              <a:extLst>
                <a:ext uri="{FF2B5EF4-FFF2-40B4-BE49-F238E27FC236}">
                  <a16:creationId xmlns:a16="http://schemas.microsoft.com/office/drawing/2014/main" id="{A803068C-4F5A-41D4-839C-7B1A9E747B5A}"/>
                </a:ext>
              </a:extLst>
            </p:cNvPr>
            <p:cNvSpPr>
              <a:spLocks noChangeArrowheads="1"/>
            </p:cNvSpPr>
            <p:nvPr/>
          </p:nvSpPr>
          <p:spPr bwMode="auto">
            <a:xfrm>
              <a:off x="10305378" y="5437615"/>
              <a:ext cx="11416" cy="11329"/>
            </a:xfrm>
            <a:custGeom>
              <a:avLst/>
              <a:gdLst>
                <a:gd name="T0" fmla="*/ 29 w 30"/>
                <a:gd name="T1" fmla="*/ 0 h 30"/>
                <a:gd name="T2" fmla="*/ 29 w 30"/>
                <a:gd name="T3" fmla="*/ 0 h 30"/>
                <a:gd name="T4" fmla="*/ 0 w 30"/>
                <a:gd name="T5" fmla="*/ 29 h 30"/>
                <a:gd name="T6" fmla="*/ 29 w 30"/>
                <a:gd name="T7" fmla="*/ 0 h 30"/>
              </a:gdLst>
              <a:ahLst/>
              <a:cxnLst>
                <a:cxn ang="0">
                  <a:pos x="T0" y="T1"/>
                </a:cxn>
                <a:cxn ang="0">
                  <a:pos x="T2" y="T3"/>
                </a:cxn>
                <a:cxn ang="0">
                  <a:pos x="T4" y="T5"/>
                </a:cxn>
                <a:cxn ang="0">
                  <a:pos x="T6" y="T7"/>
                </a:cxn>
              </a:cxnLst>
              <a:rect l="0" t="0" r="r" b="b"/>
              <a:pathLst>
                <a:path w="30" h="30">
                  <a:moveTo>
                    <a:pt x="29" y="0"/>
                  </a:moveTo>
                  <a:lnTo>
                    <a:pt x="29" y="0"/>
                  </a:lnTo>
                  <a:cubicBezTo>
                    <a:pt x="29" y="29"/>
                    <a:pt x="29" y="29"/>
                    <a:pt x="0" y="29"/>
                  </a:cubicBezTo>
                  <a:cubicBezTo>
                    <a:pt x="29" y="29"/>
                    <a:pt x="29"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6" name="Freeform 834">
              <a:extLst>
                <a:ext uri="{FF2B5EF4-FFF2-40B4-BE49-F238E27FC236}">
                  <a16:creationId xmlns:a16="http://schemas.microsoft.com/office/drawing/2014/main" id="{7A64F5E5-F8D3-4A76-BDA1-B58C8EF57A06}"/>
                </a:ext>
              </a:extLst>
            </p:cNvPr>
            <p:cNvSpPr>
              <a:spLocks noChangeArrowheads="1"/>
            </p:cNvSpPr>
            <p:nvPr/>
          </p:nvSpPr>
          <p:spPr bwMode="auto">
            <a:xfrm>
              <a:off x="10186326" y="5094531"/>
              <a:ext cx="1630" cy="11329"/>
            </a:xfrm>
            <a:custGeom>
              <a:avLst/>
              <a:gdLst>
                <a:gd name="T0" fmla="*/ 0 w 1"/>
                <a:gd name="T1" fmla="*/ 0 h 30"/>
                <a:gd name="T2" fmla="*/ 0 w 1"/>
                <a:gd name="T3" fmla="*/ 0 h 30"/>
                <a:gd name="T4" fmla="*/ 0 w 1"/>
                <a:gd name="T5" fmla="*/ 29 h 30"/>
                <a:gd name="T6" fmla="*/ 0 w 1"/>
                <a:gd name="T7" fmla="*/ 29 h 30"/>
                <a:gd name="T8" fmla="*/ 0 w 1"/>
                <a:gd name="T9" fmla="*/ 29 h 30"/>
                <a:gd name="T10" fmla="*/ 0 w 1"/>
                <a:gd name="T11" fmla="*/ 29 h 30"/>
                <a:gd name="T12" fmla="*/ 0 w 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 h="30">
                  <a:moveTo>
                    <a:pt x="0" y="0"/>
                  </a:moveTo>
                  <a:lnTo>
                    <a:pt x="0" y="0"/>
                  </a:lnTo>
                  <a:cubicBezTo>
                    <a:pt x="0" y="29"/>
                    <a:pt x="0" y="29"/>
                    <a:pt x="0" y="29"/>
                  </a:cubicBezTo>
                  <a:lnTo>
                    <a:pt x="0" y="29"/>
                  </a:lnTo>
                  <a:lnTo>
                    <a:pt x="0" y="29"/>
                  </a:lnTo>
                  <a:lnTo>
                    <a:pt x="0" y="29"/>
                  </a:ln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7" name="Freeform 835">
              <a:extLst>
                <a:ext uri="{FF2B5EF4-FFF2-40B4-BE49-F238E27FC236}">
                  <a16:creationId xmlns:a16="http://schemas.microsoft.com/office/drawing/2014/main" id="{262812FC-9664-4E11-BB02-6C1176B0551E}"/>
                </a:ext>
              </a:extLst>
            </p:cNvPr>
            <p:cNvSpPr>
              <a:spLocks noChangeArrowheads="1"/>
            </p:cNvSpPr>
            <p:nvPr/>
          </p:nvSpPr>
          <p:spPr bwMode="auto">
            <a:xfrm>
              <a:off x="10186326" y="5180302"/>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8" name="Freeform 836">
              <a:extLst>
                <a:ext uri="{FF2B5EF4-FFF2-40B4-BE49-F238E27FC236}">
                  <a16:creationId xmlns:a16="http://schemas.microsoft.com/office/drawing/2014/main" id="{7E5D406E-EAEC-43E4-822F-2DB8CC4EEBC2}"/>
                </a:ext>
              </a:extLst>
            </p:cNvPr>
            <p:cNvSpPr>
              <a:spLocks noChangeArrowheads="1"/>
            </p:cNvSpPr>
            <p:nvPr/>
          </p:nvSpPr>
          <p:spPr bwMode="auto">
            <a:xfrm>
              <a:off x="10823986" y="3136364"/>
              <a:ext cx="1631" cy="11329"/>
            </a:xfrm>
            <a:custGeom>
              <a:avLst/>
              <a:gdLst>
                <a:gd name="T0" fmla="*/ 0 w 1"/>
                <a:gd name="T1" fmla="*/ 29 h 30"/>
                <a:gd name="T2" fmla="*/ 0 w 1"/>
                <a:gd name="T3" fmla="*/ 29 h 30"/>
                <a:gd name="T4" fmla="*/ 0 w 1"/>
                <a:gd name="T5" fmla="*/ 0 h 30"/>
                <a:gd name="T6" fmla="*/ 0 w 1"/>
                <a:gd name="T7" fmla="*/ 29 h 30"/>
              </a:gdLst>
              <a:ahLst/>
              <a:cxnLst>
                <a:cxn ang="0">
                  <a:pos x="T0" y="T1"/>
                </a:cxn>
                <a:cxn ang="0">
                  <a:pos x="T2" y="T3"/>
                </a:cxn>
                <a:cxn ang="0">
                  <a:pos x="T4" y="T5"/>
                </a:cxn>
                <a:cxn ang="0">
                  <a:pos x="T6" y="T7"/>
                </a:cxn>
              </a:cxnLst>
              <a:rect l="0" t="0" r="r" b="b"/>
              <a:pathLst>
                <a:path w="1" h="30">
                  <a:moveTo>
                    <a:pt x="0" y="29"/>
                  </a:move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9" name="Freeform 837">
              <a:extLst>
                <a:ext uri="{FF2B5EF4-FFF2-40B4-BE49-F238E27FC236}">
                  <a16:creationId xmlns:a16="http://schemas.microsoft.com/office/drawing/2014/main" id="{D610A5AB-CE19-4A75-A93A-910807B4F31E}"/>
                </a:ext>
              </a:extLst>
            </p:cNvPr>
            <p:cNvSpPr>
              <a:spLocks noChangeArrowheads="1"/>
            </p:cNvSpPr>
            <p:nvPr/>
          </p:nvSpPr>
          <p:spPr bwMode="auto">
            <a:xfrm>
              <a:off x="10272761" y="5298439"/>
              <a:ext cx="32617" cy="53405"/>
            </a:xfrm>
            <a:custGeom>
              <a:avLst/>
              <a:gdLst>
                <a:gd name="T0" fmla="*/ 0 w 89"/>
                <a:gd name="T1" fmla="*/ 0 h 146"/>
                <a:gd name="T2" fmla="*/ 0 w 89"/>
                <a:gd name="T3" fmla="*/ 0 h 146"/>
                <a:gd name="T4" fmla="*/ 29 w 89"/>
                <a:gd name="T5" fmla="*/ 29 h 146"/>
                <a:gd name="T6" fmla="*/ 88 w 89"/>
                <a:gd name="T7" fmla="*/ 145 h 146"/>
                <a:gd name="T8" fmla="*/ 29 w 89"/>
                <a:gd name="T9" fmla="*/ 29 h 146"/>
                <a:gd name="T10" fmla="*/ 0 w 89"/>
                <a:gd name="T11" fmla="*/ 0 h 146"/>
              </a:gdLst>
              <a:ahLst/>
              <a:cxnLst>
                <a:cxn ang="0">
                  <a:pos x="T0" y="T1"/>
                </a:cxn>
                <a:cxn ang="0">
                  <a:pos x="T2" y="T3"/>
                </a:cxn>
                <a:cxn ang="0">
                  <a:pos x="T4" y="T5"/>
                </a:cxn>
                <a:cxn ang="0">
                  <a:pos x="T6" y="T7"/>
                </a:cxn>
                <a:cxn ang="0">
                  <a:pos x="T8" y="T9"/>
                </a:cxn>
                <a:cxn ang="0">
                  <a:pos x="T10" y="T11"/>
                </a:cxn>
              </a:cxnLst>
              <a:rect l="0" t="0" r="r" b="b"/>
              <a:pathLst>
                <a:path w="89" h="146">
                  <a:moveTo>
                    <a:pt x="0" y="0"/>
                  </a:moveTo>
                  <a:lnTo>
                    <a:pt x="0" y="0"/>
                  </a:lnTo>
                  <a:lnTo>
                    <a:pt x="29" y="29"/>
                  </a:lnTo>
                  <a:cubicBezTo>
                    <a:pt x="58" y="58"/>
                    <a:pt x="58" y="116"/>
                    <a:pt x="88" y="145"/>
                  </a:cubicBezTo>
                  <a:cubicBezTo>
                    <a:pt x="58" y="116"/>
                    <a:pt x="58" y="58"/>
                    <a:pt x="29" y="29"/>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0" name="Freeform 838">
              <a:extLst>
                <a:ext uri="{FF2B5EF4-FFF2-40B4-BE49-F238E27FC236}">
                  <a16:creationId xmlns:a16="http://schemas.microsoft.com/office/drawing/2014/main" id="{B689BA8C-7729-40C8-AD24-8CAE1831C0D0}"/>
                </a:ext>
              </a:extLst>
            </p:cNvPr>
            <p:cNvSpPr>
              <a:spLocks noChangeArrowheads="1"/>
            </p:cNvSpPr>
            <p:nvPr/>
          </p:nvSpPr>
          <p:spPr bwMode="auto">
            <a:xfrm>
              <a:off x="10165125" y="5105860"/>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1" name="Freeform 839">
              <a:extLst>
                <a:ext uri="{FF2B5EF4-FFF2-40B4-BE49-F238E27FC236}">
                  <a16:creationId xmlns:a16="http://schemas.microsoft.com/office/drawing/2014/main" id="{D799E4B6-372C-4314-9B4A-7ECBAACEEAC3}"/>
                </a:ext>
              </a:extLst>
            </p:cNvPr>
            <p:cNvSpPr>
              <a:spLocks noChangeArrowheads="1"/>
            </p:cNvSpPr>
            <p:nvPr/>
          </p:nvSpPr>
          <p:spPr bwMode="auto">
            <a:xfrm>
              <a:off x="10186326" y="5180302"/>
              <a:ext cx="11415" cy="11328"/>
            </a:xfrm>
            <a:custGeom>
              <a:avLst/>
              <a:gdLst>
                <a:gd name="T0" fmla="*/ 29 w 30"/>
                <a:gd name="T1" fmla="*/ 29 h 30"/>
                <a:gd name="T2" fmla="*/ 29 w 30"/>
                <a:gd name="T3" fmla="*/ 29 h 30"/>
                <a:gd name="T4" fmla="*/ 29 w 30"/>
                <a:gd name="T5" fmla="*/ 29 h 30"/>
                <a:gd name="T6" fmla="*/ 0 w 30"/>
                <a:gd name="T7" fmla="*/ 0 h 30"/>
                <a:gd name="T8" fmla="*/ 29 w 30"/>
                <a:gd name="T9" fmla="*/ 29 h 30"/>
              </a:gdLst>
              <a:ahLst/>
              <a:cxnLst>
                <a:cxn ang="0">
                  <a:pos x="T0" y="T1"/>
                </a:cxn>
                <a:cxn ang="0">
                  <a:pos x="T2" y="T3"/>
                </a:cxn>
                <a:cxn ang="0">
                  <a:pos x="T4" y="T5"/>
                </a:cxn>
                <a:cxn ang="0">
                  <a:pos x="T6" y="T7"/>
                </a:cxn>
                <a:cxn ang="0">
                  <a:pos x="T8" y="T9"/>
                </a:cxn>
              </a:cxnLst>
              <a:rect l="0" t="0" r="r" b="b"/>
              <a:pathLst>
                <a:path w="30" h="30">
                  <a:moveTo>
                    <a:pt x="29" y="29"/>
                  </a:moveTo>
                  <a:lnTo>
                    <a:pt x="29" y="29"/>
                  </a:lnTo>
                  <a:lnTo>
                    <a:pt x="29" y="29"/>
                  </a:lnTo>
                  <a:cubicBezTo>
                    <a:pt x="0" y="29"/>
                    <a:pt x="0" y="29"/>
                    <a:pt x="0" y="0"/>
                  </a:cubicBezTo>
                  <a:cubicBezTo>
                    <a:pt x="0" y="29"/>
                    <a:pt x="0"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2" name="Freeform 840">
              <a:extLst>
                <a:ext uri="{FF2B5EF4-FFF2-40B4-BE49-F238E27FC236}">
                  <a16:creationId xmlns:a16="http://schemas.microsoft.com/office/drawing/2014/main" id="{2EE343C5-35C4-4C3A-A426-498F54261763}"/>
                </a:ext>
              </a:extLst>
            </p:cNvPr>
            <p:cNvSpPr>
              <a:spLocks noChangeArrowheads="1"/>
            </p:cNvSpPr>
            <p:nvPr/>
          </p:nvSpPr>
          <p:spPr bwMode="auto">
            <a:xfrm>
              <a:off x="10143924" y="5084821"/>
              <a:ext cx="21200" cy="11329"/>
            </a:xfrm>
            <a:custGeom>
              <a:avLst/>
              <a:gdLst>
                <a:gd name="T0" fmla="*/ 29 w 59"/>
                <a:gd name="T1" fmla="*/ 29 h 30"/>
                <a:gd name="T2" fmla="*/ 29 w 59"/>
                <a:gd name="T3" fmla="*/ 29 h 30"/>
                <a:gd name="T4" fmla="*/ 58 w 59"/>
                <a:gd name="T5" fmla="*/ 29 h 30"/>
                <a:gd name="T6" fmla="*/ 58 w 59"/>
                <a:gd name="T7" fmla="*/ 29 h 30"/>
                <a:gd name="T8" fmla="*/ 29 w 59"/>
                <a:gd name="T9" fmla="*/ 29 h 30"/>
                <a:gd name="T10" fmla="*/ 0 w 59"/>
                <a:gd name="T11" fmla="*/ 0 h 30"/>
                <a:gd name="T12" fmla="*/ 29 w 59"/>
                <a:gd name="T13" fmla="*/ 29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29" y="29"/>
                  </a:moveTo>
                  <a:lnTo>
                    <a:pt x="29" y="29"/>
                  </a:lnTo>
                  <a:cubicBezTo>
                    <a:pt x="58" y="29"/>
                    <a:pt x="58" y="29"/>
                    <a:pt x="58" y="29"/>
                  </a:cubicBezTo>
                  <a:lnTo>
                    <a:pt x="58" y="29"/>
                  </a:lnTo>
                  <a:cubicBezTo>
                    <a:pt x="29" y="29"/>
                    <a:pt x="29" y="29"/>
                    <a:pt x="29" y="29"/>
                  </a:cubicBezTo>
                  <a:cubicBezTo>
                    <a:pt x="0" y="29"/>
                    <a:pt x="0" y="29"/>
                    <a:pt x="0" y="0"/>
                  </a:cubicBezTo>
                  <a:cubicBezTo>
                    <a:pt x="0" y="29"/>
                    <a:pt x="0" y="29"/>
                    <a:pt x="29"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3" name="Freeform 841">
              <a:extLst>
                <a:ext uri="{FF2B5EF4-FFF2-40B4-BE49-F238E27FC236}">
                  <a16:creationId xmlns:a16="http://schemas.microsoft.com/office/drawing/2014/main" id="{7C971411-158F-4F36-AAA3-9B2180C61867}"/>
                </a:ext>
              </a:extLst>
            </p:cNvPr>
            <p:cNvSpPr>
              <a:spLocks noChangeArrowheads="1"/>
            </p:cNvSpPr>
            <p:nvPr/>
          </p:nvSpPr>
          <p:spPr bwMode="auto">
            <a:xfrm>
              <a:off x="10165125" y="5094531"/>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4" name="Freeform 842">
              <a:extLst>
                <a:ext uri="{FF2B5EF4-FFF2-40B4-BE49-F238E27FC236}">
                  <a16:creationId xmlns:a16="http://schemas.microsoft.com/office/drawing/2014/main" id="{1136B92F-52AF-4019-8447-F018CFB8E3ED}"/>
                </a:ext>
              </a:extLst>
            </p:cNvPr>
            <p:cNvSpPr>
              <a:spLocks noChangeArrowheads="1"/>
            </p:cNvSpPr>
            <p:nvPr/>
          </p:nvSpPr>
          <p:spPr bwMode="auto">
            <a:xfrm>
              <a:off x="10165125" y="5147936"/>
              <a:ext cx="11416" cy="22656"/>
            </a:xfrm>
            <a:custGeom>
              <a:avLst/>
              <a:gdLst>
                <a:gd name="T0" fmla="*/ 30 w 31"/>
                <a:gd name="T1" fmla="*/ 59 h 60"/>
                <a:gd name="T2" fmla="*/ 30 w 31"/>
                <a:gd name="T3" fmla="*/ 59 h 60"/>
                <a:gd name="T4" fmla="*/ 30 w 31"/>
                <a:gd name="T5" fmla="*/ 29 h 60"/>
                <a:gd name="T6" fmla="*/ 0 w 31"/>
                <a:gd name="T7" fmla="*/ 0 h 60"/>
                <a:gd name="T8" fmla="*/ 30 w 31"/>
                <a:gd name="T9" fmla="*/ 29 h 60"/>
                <a:gd name="T10" fmla="*/ 30 w 31"/>
                <a:gd name="T11" fmla="*/ 59 h 60"/>
              </a:gdLst>
              <a:ahLst/>
              <a:cxnLst>
                <a:cxn ang="0">
                  <a:pos x="T0" y="T1"/>
                </a:cxn>
                <a:cxn ang="0">
                  <a:pos x="T2" y="T3"/>
                </a:cxn>
                <a:cxn ang="0">
                  <a:pos x="T4" y="T5"/>
                </a:cxn>
                <a:cxn ang="0">
                  <a:pos x="T6" y="T7"/>
                </a:cxn>
                <a:cxn ang="0">
                  <a:pos x="T8" y="T9"/>
                </a:cxn>
                <a:cxn ang="0">
                  <a:pos x="T10" y="T11"/>
                </a:cxn>
              </a:cxnLst>
              <a:rect l="0" t="0" r="r" b="b"/>
              <a:pathLst>
                <a:path w="31" h="60">
                  <a:moveTo>
                    <a:pt x="30" y="59"/>
                  </a:moveTo>
                  <a:lnTo>
                    <a:pt x="30" y="59"/>
                  </a:lnTo>
                  <a:lnTo>
                    <a:pt x="30" y="29"/>
                  </a:lnTo>
                  <a:cubicBezTo>
                    <a:pt x="0" y="29"/>
                    <a:pt x="0" y="0"/>
                    <a:pt x="0" y="0"/>
                  </a:cubicBezTo>
                  <a:cubicBezTo>
                    <a:pt x="0" y="0"/>
                    <a:pt x="0" y="29"/>
                    <a:pt x="30" y="29"/>
                  </a:cubicBezTo>
                  <a:lnTo>
                    <a:pt x="30" y="5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5" name="Freeform 843">
              <a:extLst>
                <a:ext uri="{FF2B5EF4-FFF2-40B4-BE49-F238E27FC236}">
                  <a16:creationId xmlns:a16="http://schemas.microsoft.com/office/drawing/2014/main" id="{3F9212EA-2573-43CD-80A9-E1013E43D979}"/>
                </a:ext>
              </a:extLst>
            </p:cNvPr>
            <p:cNvSpPr>
              <a:spLocks noChangeArrowheads="1"/>
            </p:cNvSpPr>
            <p:nvPr/>
          </p:nvSpPr>
          <p:spPr bwMode="auto">
            <a:xfrm>
              <a:off x="10143924" y="5115570"/>
              <a:ext cx="21200" cy="32366"/>
            </a:xfrm>
            <a:custGeom>
              <a:avLst/>
              <a:gdLst>
                <a:gd name="T0" fmla="*/ 29 w 59"/>
                <a:gd name="T1" fmla="*/ 30 h 89"/>
                <a:gd name="T2" fmla="*/ 29 w 59"/>
                <a:gd name="T3" fmla="*/ 30 h 89"/>
                <a:gd name="T4" fmla="*/ 58 w 59"/>
                <a:gd name="T5" fmla="*/ 88 h 89"/>
                <a:gd name="T6" fmla="*/ 29 w 59"/>
                <a:gd name="T7" fmla="*/ 30 h 89"/>
                <a:gd name="T8" fmla="*/ 0 w 59"/>
                <a:gd name="T9" fmla="*/ 0 h 89"/>
                <a:gd name="T10" fmla="*/ 0 w 59"/>
                <a:gd name="T11" fmla="*/ 0 h 89"/>
                <a:gd name="T12" fmla="*/ 0 w 59"/>
                <a:gd name="T13" fmla="*/ 0 h 89"/>
                <a:gd name="T14" fmla="*/ 29 w 59"/>
                <a:gd name="T15" fmla="*/ 3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9">
                  <a:moveTo>
                    <a:pt x="29" y="30"/>
                  </a:moveTo>
                  <a:lnTo>
                    <a:pt x="29" y="30"/>
                  </a:lnTo>
                  <a:cubicBezTo>
                    <a:pt x="29" y="30"/>
                    <a:pt x="29" y="59"/>
                    <a:pt x="58" y="88"/>
                  </a:cubicBezTo>
                  <a:cubicBezTo>
                    <a:pt x="29" y="59"/>
                    <a:pt x="29" y="30"/>
                    <a:pt x="29" y="30"/>
                  </a:cubicBezTo>
                  <a:cubicBezTo>
                    <a:pt x="29" y="30"/>
                    <a:pt x="29" y="0"/>
                    <a:pt x="0" y="0"/>
                  </a:cubicBezTo>
                  <a:lnTo>
                    <a:pt x="0" y="0"/>
                  </a:lnTo>
                  <a:lnTo>
                    <a:pt x="0" y="0"/>
                  </a:lnTo>
                  <a:cubicBezTo>
                    <a:pt x="29" y="0"/>
                    <a:pt x="29" y="30"/>
                    <a:pt x="29"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6" name="Freeform 844">
              <a:extLst>
                <a:ext uri="{FF2B5EF4-FFF2-40B4-BE49-F238E27FC236}">
                  <a16:creationId xmlns:a16="http://schemas.microsoft.com/office/drawing/2014/main" id="{45159C92-E436-4B00-9958-94E052A26A60}"/>
                </a:ext>
              </a:extLst>
            </p:cNvPr>
            <p:cNvSpPr>
              <a:spLocks noChangeArrowheads="1"/>
            </p:cNvSpPr>
            <p:nvPr/>
          </p:nvSpPr>
          <p:spPr bwMode="auto">
            <a:xfrm>
              <a:off x="10176541" y="507349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7" name="Freeform 845">
              <a:extLst>
                <a:ext uri="{FF2B5EF4-FFF2-40B4-BE49-F238E27FC236}">
                  <a16:creationId xmlns:a16="http://schemas.microsoft.com/office/drawing/2014/main" id="{6C974336-A1AB-4A29-B597-6B5282BE2074}"/>
                </a:ext>
              </a:extLst>
            </p:cNvPr>
            <p:cNvSpPr>
              <a:spLocks noChangeArrowheads="1"/>
            </p:cNvSpPr>
            <p:nvPr/>
          </p:nvSpPr>
          <p:spPr bwMode="auto">
            <a:xfrm>
              <a:off x="10176541" y="5073493"/>
              <a:ext cx="1630"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8" name="Freeform 846">
              <a:extLst>
                <a:ext uri="{FF2B5EF4-FFF2-40B4-BE49-F238E27FC236}">
                  <a16:creationId xmlns:a16="http://schemas.microsoft.com/office/drawing/2014/main" id="{215343A2-ACFF-4D29-8F40-20EF2F1FA2BD}"/>
                </a:ext>
              </a:extLst>
            </p:cNvPr>
            <p:cNvSpPr>
              <a:spLocks noChangeArrowheads="1"/>
            </p:cNvSpPr>
            <p:nvPr/>
          </p:nvSpPr>
          <p:spPr bwMode="auto">
            <a:xfrm>
              <a:off x="10165125" y="5062165"/>
              <a:ext cx="1631"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9" name="Freeform 847">
              <a:extLst>
                <a:ext uri="{FF2B5EF4-FFF2-40B4-BE49-F238E27FC236}">
                  <a16:creationId xmlns:a16="http://schemas.microsoft.com/office/drawing/2014/main" id="{2481E6E6-E83C-42F2-B307-63E8D95493BB}"/>
                </a:ext>
              </a:extLst>
            </p:cNvPr>
            <p:cNvSpPr>
              <a:spLocks noChangeArrowheads="1"/>
            </p:cNvSpPr>
            <p:nvPr/>
          </p:nvSpPr>
          <p:spPr bwMode="auto">
            <a:xfrm>
              <a:off x="10186326" y="509453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0" name="Freeform 848">
              <a:extLst>
                <a:ext uri="{FF2B5EF4-FFF2-40B4-BE49-F238E27FC236}">
                  <a16:creationId xmlns:a16="http://schemas.microsoft.com/office/drawing/2014/main" id="{1A867C5E-FD79-499B-AFEB-AF9C6F04D9F1}"/>
                </a:ext>
              </a:extLst>
            </p:cNvPr>
            <p:cNvSpPr>
              <a:spLocks noChangeArrowheads="1"/>
            </p:cNvSpPr>
            <p:nvPr/>
          </p:nvSpPr>
          <p:spPr bwMode="auto">
            <a:xfrm>
              <a:off x="10714720" y="3681738"/>
              <a:ext cx="11415" cy="1618"/>
            </a:xfrm>
            <a:custGeom>
              <a:avLst/>
              <a:gdLst>
                <a:gd name="T0" fmla="*/ 0 w 29"/>
                <a:gd name="T1" fmla="*/ 0 h 1"/>
                <a:gd name="T2" fmla="*/ 0 w 29"/>
                <a:gd name="T3" fmla="*/ 0 h 1"/>
                <a:gd name="T4" fmla="*/ 28 w 29"/>
                <a:gd name="T5" fmla="*/ 0 h 1"/>
                <a:gd name="T6" fmla="*/ 28 w 29"/>
                <a:gd name="T7" fmla="*/ 0 h 1"/>
                <a:gd name="T8" fmla="*/ 28 w 29"/>
                <a:gd name="T9" fmla="*/ 0 h 1"/>
                <a:gd name="T10" fmla="*/ 0 w 29"/>
                <a:gd name="T11" fmla="*/ 0 h 1"/>
              </a:gdLst>
              <a:ahLst/>
              <a:cxnLst>
                <a:cxn ang="0">
                  <a:pos x="T0" y="T1"/>
                </a:cxn>
                <a:cxn ang="0">
                  <a:pos x="T2" y="T3"/>
                </a:cxn>
                <a:cxn ang="0">
                  <a:pos x="T4" y="T5"/>
                </a:cxn>
                <a:cxn ang="0">
                  <a:pos x="T6" y="T7"/>
                </a:cxn>
                <a:cxn ang="0">
                  <a:pos x="T8" y="T9"/>
                </a:cxn>
                <a:cxn ang="0">
                  <a:pos x="T10" y="T11"/>
                </a:cxn>
              </a:cxnLst>
              <a:rect l="0" t="0" r="r" b="b"/>
              <a:pathLst>
                <a:path w="29" h="1">
                  <a:moveTo>
                    <a:pt x="0" y="0"/>
                  </a:moveTo>
                  <a:lnTo>
                    <a:pt x="0" y="0"/>
                  </a:lnTo>
                  <a:cubicBezTo>
                    <a:pt x="28" y="0"/>
                    <a:pt x="28" y="0"/>
                    <a:pt x="28" y="0"/>
                  </a:cubicBezTo>
                  <a:lnTo>
                    <a:pt x="28" y="0"/>
                  </a:lnTo>
                  <a:lnTo>
                    <a:pt x="28" y="0"/>
                  </a:lnTo>
                  <a:cubicBezTo>
                    <a:pt x="28" y="0"/>
                    <a:pt x="28"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1" name="Freeform 849">
              <a:extLst>
                <a:ext uri="{FF2B5EF4-FFF2-40B4-BE49-F238E27FC236}">
                  <a16:creationId xmlns:a16="http://schemas.microsoft.com/office/drawing/2014/main" id="{D21E6A28-A894-4875-9D46-5AE0BFDEDDC0}"/>
                </a:ext>
              </a:extLst>
            </p:cNvPr>
            <p:cNvSpPr>
              <a:spLocks noChangeArrowheads="1"/>
            </p:cNvSpPr>
            <p:nvPr/>
          </p:nvSpPr>
          <p:spPr bwMode="auto">
            <a:xfrm>
              <a:off x="10737552" y="3693066"/>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2" name="Freeform 850">
              <a:extLst>
                <a:ext uri="{FF2B5EF4-FFF2-40B4-BE49-F238E27FC236}">
                  <a16:creationId xmlns:a16="http://schemas.microsoft.com/office/drawing/2014/main" id="{C22853F1-F825-4AC4-AD8C-ABFB5E8F7C9B}"/>
                </a:ext>
              </a:extLst>
            </p:cNvPr>
            <p:cNvSpPr>
              <a:spLocks noChangeArrowheads="1"/>
            </p:cNvSpPr>
            <p:nvPr/>
          </p:nvSpPr>
          <p:spPr bwMode="auto">
            <a:xfrm>
              <a:off x="10682103" y="3681738"/>
              <a:ext cx="22832" cy="11328"/>
            </a:xfrm>
            <a:custGeom>
              <a:avLst/>
              <a:gdLst>
                <a:gd name="T0" fmla="*/ 59 w 60"/>
                <a:gd name="T1" fmla="*/ 0 h 30"/>
                <a:gd name="T2" fmla="*/ 59 w 60"/>
                <a:gd name="T3" fmla="*/ 0 h 30"/>
                <a:gd name="T4" fmla="*/ 0 w 60"/>
                <a:gd name="T5" fmla="*/ 29 h 30"/>
                <a:gd name="T6" fmla="*/ 59 w 60"/>
                <a:gd name="T7" fmla="*/ 0 h 30"/>
              </a:gdLst>
              <a:ahLst/>
              <a:cxnLst>
                <a:cxn ang="0">
                  <a:pos x="T0" y="T1"/>
                </a:cxn>
                <a:cxn ang="0">
                  <a:pos x="T2" y="T3"/>
                </a:cxn>
                <a:cxn ang="0">
                  <a:pos x="T4" y="T5"/>
                </a:cxn>
                <a:cxn ang="0">
                  <a:pos x="T6" y="T7"/>
                </a:cxn>
              </a:cxnLst>
              <a:rect l="0" t="0" r="r" b="b"/>
              <a:pathLst>
                <a:path w="60" h="30">
                  <a:moveTo>
                    <a:pt x="59" y="0"/>
                  </a:moveTo>
                  <a:lnTo>
                    <a:pt x="59" y="0"/>
                  </a:lnTo>
                  <a:cubicBezTo>
                    <a:pt x="30" y="0"/>
                    <a:pt x="30" y="0"/>
                    <a:pt x="0" y="29"/>
                  </a:cubicBezTo>
                  <a:cubicBezTo>
                    <a:pt x="30" y="0"/>
                    <a:pt x="30" y="0"/>
                    <a:pt x="5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3" name="Freeform 851">
              <a:extLst>
                <a:ext uri="{FF2B5EF4-FFF2-40B4-BE49-F238E27FC236}">
                  <a16:creationId xmlns:a16="http://schemas.microsoft.com/office/drawing/2014/main" id="{AAA322BA-8F97-48A7-AE52-6782CE9E1ED8}"/>
                </a:ext>
              </a:extLst>
            </p:cNvPr>
            <p:cNvSpPr>
              <a:spLocks noChangeArrowheads="1"/>
            </p:cNvSpPr>
            <p:nvPr/>
          </p:nvSpPr>
          <p:spPr bwMode="auto">
            <a:xfrm>
              <a:off x="10682103" y="3693066"/>
              <a:ext cx="44032" cy="1619"/>
            </a:xfrm>
            <a:custGeom>
              <a:avLst/>
              <a:gdLst>
                <a:gd name="T0" fmla="*/ 88 w 117"/>
                <a:gd name="T1" fmla="*/ 0 h 1"/>
                <a:gd name="T2" fmla="*/ 88 w 117"/>
                <a:gd name="T3" fmla="*/ 0 h 1"/>
                <a:gd name="T4" fmla="*/ 30 w 117"/>
                <a:gd name="T5" fmla="*/ 0 h 1"/>
                <a:gd name="T6" fmla="*/ 0 w 117"/>
                <a:gd name="T7" fmla="*/ 0 h 1"/>
                <a:gd name="T8" fmla="*/ 30 w 117"/>
                <a:gd name="T9" fmla="*/ 0 h 1"/>
                <a:gd name="T10" fmla="*/ 88 w 117"/>
                <a:gd name="T11" fmla="*/ 0 h 1"/>
                <a:gd name="T12" fmla="*/ 116 w 117"/>
                <a:gd name="T13" fmla="*/ 0 h 1"/>
                <a:gd name="T14" fmla="*/ 88 w 117"/>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
                  <a:moveTo>
                    <a:pt x="88" y="0"/>
                  </a:moveTo>
                  <a:lnTo>
                    <a:pt x="88" y="0"/>
                  </a:lnTo>
                  <a:cubicBezTo>
                    <a:pt x="59" y="0"/>
                    <a:pt x="59" y="0"/>
                    <a:pt x="30" y="0"/>
                  </a:cubicBezTo>
                  <a:cubicBezTo>
                    <a:pt x="30" y="0"/>
                    <a:pt x="30" y="0"/>
                    <a:pt x="0" y="0"/>
                  </a:cubicBezTo>
                  <a:cubicBezTo>
                    <a:pt x="30" y="0"/>
                    <a:pt x="30" y="0"/>
                    <a:pt x="30" y="0"/>
                  </a:cubicBezTo>
                  <a:cubicBezTo>
                    <a:pt x="59" y="0"/>
                    <a:pt x="59" y="0"/>
                    <a:pt x="88" y="0"/>
                  </a:cubicBezTo>
                  <a:lnTo>
                    <a:pt x="116" y="0"/>
                  </a:lnTo>
                  <a:lnTo>
                    <a:pt x="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4" name="Freeform 852">
              <a:extLst>
                <a:ext uri="{FF2B5EF4-FFF2-40B4-BE49-F238E27FC236}">
                  <a16:creationId xmlns:a16="http://schemas.microsoft.com/office/drawing/2014/main" id="{985CCE5A-1BEE-4D9F-B3B5-FB8790FE43E7}"/>
                </a:ext>
              </a:extLst>
            </p:cNvPr>
            <p:cNvSpPr>
              <a:spLocks noChangeArrowheads="1"/>
            </p:cNvSpPr>
            <p:nvPr/>
          </p:nvSpPr>
          <p:spPr bwMode="auto">
            <a:xfrm>
              <a:off x="10316794" y="4173707"/>
              <a:ext cx="11415" cy="11328"/>
            </a:xfrm>
            <a:custGeom>
              <a:avLst/>
              <a:gdLst>
                <a:gd name="T0" fmla="*/ 0 w 30"/>
                <a:gd name="T1" fmla="*/ 30 h 31"/>
                <a:gd name="T2" fmla="*/ 0 w 30"/>
                <a:gd name="T3" fmla="*/ 30 h 31"/>
                <a:gd name="T4" fmla="*/ 29 w 30"/>
                <a:gd name="T5" fmla="*/ 0 h 31"/>
                <a:gd name="T6" fmla="*/ 0 w 30"/>
                <a:gd name="T7" fmla="*/ 30 h 31"/>
              </a:gdLst>
              <a:ahLst/>
              <a:cxnLst>
                <a:cxn ang="0">
                  <a:pos x="T0" y="T1"/>
                </a:cxn>
                <a:cxn ang="0">
                  <a:pos x="T2" y="T3"/>
                </a:cxn>
                <a:cxn ang="0">
                  <a:pos x="T4" y="T5"/>
                </a:cxn>
                <a:cxn ang="0">
                  <a:pos x="T6" y="T7"/>
                </a:cxn>
              </a:cxnLst>
              <a:rect l="0" t="0" r="r" b="b"/>
              <a:pathLst>
                <a:path w="30" h="31">
                  <a:moveTo>
                    <a:pt x="0" y="30"/>
                  </a:moveTo>
                  <a:lnTo>
                    <a:pt x="0" y="30"/>
                  </a:lnTo>
                  <a:cubicBezTo>
                    <a:pt x="0" y="30"/>
                    <a:pt x="0" y="30"/>
                    <a:pt x="29" y="0"/>
                  </a:cubicBezTo>
                  <a:cubicBezTo>
                    <a:pt x="0" y="30"/>
                    <a:pt x="0" y="30"/>
                    <a:pt x="0" y="3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5" name="Freeform 853">
              <a:extLst>
                <a:ext uri="{FF2B5EF4-FFF2-40B4-BE49-F238E27FC236}">
                  <a16:creationId xmlns:a16="http://schemas.microsoft.com/office/drawing/2014/main" id="{906726B4-94A0-4BFC-ABDE-A245A0F36B7F}"/>
                </a:ext>
              </a:extLst>
            </p:cNvPr>
            <p:cNvSpPr>
              <a:spLocks noChangeArrowheads="1"/>
            </p:cNvSpPr>
            <p:nvPr/>
          </p:nvSpPr>
          <p:spPr bwMode="auto">
            <a:xfrm>
              <a:off x="9657933" y="3906684"/>
              <a:ext cx="733880" cy="514626"/>
            </a:xfrm>
            <a:custGeom>
              <a:avLst/>
              <a:gdLst>
                <a:gd name="T0" fmla="*/ 1837 w 1984"/>
                <a:gd name="T1" fmla="*/ 583 h 1401"/>
                <a:gd name="T2" fmla="*/ 1924 w 1984"/>
                <a:gd name="T3" fmla="*/ 495 h 1401"/>
                <a:gd name="T4" fmla="*/ 1750 w 1984"/>
                <a:gd name="T5" fmla="*/ 262 h 1401"/>
                <a:gd name="T6" fmla="*/ 1253 w 1984"/>
                <a:gd name="T7" fmla="*/ 87 h 1401"/>
                <a:gd name="T8" fmla="*/ 1050 w 1984"/>
                <a:gd name="T9" fmla="*/ 116 h 1401"/>
                <a:gd name="T10" fmla="*/ 903 w 1984"/>
                <a:gd name="T11" fmla="*/ 29 h 1401"/>
                <a:gd name="T12" fmla="*/ 641 w 1984"/>
                <a:gd name="T13" fmla="*/ 0 h 1401"/>
                <a:gd name="T14" fmla="*/ 466 w 1984"/>
                <a:gd name="T15" fmla="*/ 0 h 1401"/>
                <a:gd name="T16" fmla="*/ 233 w 1984"/>
                <a:gd name="T17" fmla="*/ 59 h 1401"/>
                <a:gd name="T18" fmla="*/ 87 w 1984"/>
                <a:gd name="T19" fmla="*/ 145 h 1401"/>
                <a:gd name="T20" fmla="*/ 58 w 1984"/>
                <a:gd name="T21" fmla="*/ 204 h 1401"/>
                <a:gd name="T22" fmla="*/ 58 w 1984"/>
                <a:gd name="T23" fmla="*/ 204 h 1401"/>
                <a:gd name="T24" fmla="*/ 0 w 1984"/>
                <a:gd name="T25" fmla="*/ 262 h 1401"/>
                <a:gd name="T26" fmla="*/ 117 w 1984"/>
                <a:gd name="T27" fmla="*/ 350 h 1401"/>
                <a:gd name="T28" fmla="*/ 466 w 1984"/>
                <a:gd name="T29" fmla="*/ 700 h 1401"/>
                <a:gd name="T30" fmla="*/ 670 w 1984"/>
                <a:gd name="T31" fmla="*/ 933 h 1401"/>
                <a:gd name="T32" fmla="*/ 874 w 1984"/>
                <a:gd name="T33" fmla="*/ 1108 h 1401"/>
                <a:gd name="T34" fmla="*/ 903 w 1984"/>
                <a:gd name="T35" fmla="*/ 1195 h 1401"/>
                <a:gd name="T36" fmla="*/ 962 w 1984"/>
                <a:gd name="T37" fmla="*/ 1225 h 1401"/>
                <a:gd name="T38" fmla="*/ 991 w 1984"/>
                <a:gd name="T39" fmla="*/ 1254 h 1401"/>
                <a:gd name="T40" fmla="*/ 1020 w 1984"/>
                <a:gd name="T41" fmla="*/ 1312 h 1401"/>
                <a:gd name="T42" fmla="*/ 1050 w 1984"/>
                <a:gd name="T43" fmla="*/ 1371 h 1401"/>
                <a:gd name="T44" fmla="*/ 1108 w 1984"/>
                <a:gd name="T45" fmla="*/ 1400 h 1401"/>
                <a:gd name="T46" fmla="*/ 1137 w 1984"/>
                <a:gd name="T47" fmla="*/ 1371 h 1401"/>
                <a:gd name="T48" fmla="*/ 1195 w 1984"/>
                <a:gd name="T49" fmla="*/ 1371 h 1401"/>
                <a:gd name="T50" fmla="*/ 1224 w 1984"/>
                <a:gd name="T51" fmla="*/ 1342 h 1401"/>
                <a:gd name="T52" fmla="*/ 1195 w 1984"/>
                <a:gd name="T53" fmla="*/ 1342 h 1401"/>
                <a:gd name="T54" fmla="*/ 1137 w 1984"/>
                <a:gd name="T55" fmla="*/ 1254 h 1401"/>
                <a:gd name="T56" fmla="*/ 1253 w 1984"/>
                <a:gd name="T57" fmla="*/ 1225 h 1401"/>
                <a:gd name="T58" fmla="*/ 1312 w 1984"/>
                <a:gd name="T59" fmla="*/ 1195 h 1401"/>
                <a:gd name="T60" fmla="*/ 1341 w 1984"/>
                <a:gd name="T61" fmla="*/ 1225 h 1401"/>
                <a:gd name="T62" fmla="*/ 1458 w 1984"/>
                <a:gd name="T63" fmla="*/ 1166 h 1401"/>
                <a:gd name="T64" fmla="*/ 1545 w 1984"/>
                <a:gd name="T65" fmla="*/ 1079 h 1401"/>
                <a:gd name="T66" fmla="*/ 1574 w 1984"/>
                <a:gd name="T67" fmla="*/ 992 h 1401"/>
                <a:gd name="T68" fmla="*/ 1633 w 1984"/>
                <a:gd name="T69" fmla="*/ 875 h 1401"/>
                <a:gd name="T70" fmla="*/ 1750 w 1984"/>
                <a:gd name="T71" fmla="*/ 787 h 1401"/>
                <a:gd name="T72" fmla="*/ 1779 w 1984"/>
                <a:gd name="T73" fmla="*/ 700 h 1401"/>
                <a:gd name="T74" fmla="*/ 1779 w 1984"/>
                <a:gd name="T75" fmla="*/ 642 h 1401"/>
                <a:gd name="T76" fmla="*/ 1837 w 1984"/>
                <a:gd name="T77" fmla="*/ 583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84" h="1401">
                  <a:moveTo>
                    <a:pt x="1837" y="583"/>
                  </a:moveTo>
                  <a:lnTo>
                    <a:pt x="1837" y="583"/>
                  </a:lnTo>
                  <a:cubicBezTo>
                    <a:pt x="1866" y="554"/>
                    <a:pt x="1866" y="525"/>
                    <a:pt x="1895" y="525"/>
                  </a:cubicBezTo>
                  <a:cubicBezTo>
                    <a:pt x="1895" y="495"/>
                    <a:pt x="1924" y="495"/>
                    <a:pt x="1924" y="495"/>
                  </a:cubicBezTo>
                  <a:cubicBezTo>
                    <a:pt x="1953" y="466"/>
                    <a:pt x="1953" y="466"/>
                    <a:pt x="1983" y="437"/>
                  </a:cubicBezTo>
                  <a:cubicBezTo>
                    <a:pt x="1895" y="379"/>
                    <a:pt x="1808" y="321"/>
                    <a:pt x="1750" y="262"/>
                  </a:cubicBezTo>
                  <a:cubicBezTo>
                    <a:pt x="1633" y="204"/>
                    <a:pt x="1545" y="116"/>
                    <a:pt x="1429" y="59"/>
                  </a:cubicBezTo>
                  <a:cubicBezTo>
                    <a:pt x="1370" y="59"/>
                    <a:pt x="1312" y="87"/>
                    <a:pt x="1253" y="87"/>
                  </a:cubicBezTo>
                  <a:cubicBezTo>
                    <a:pt x="1195" y="87"/>
                    <a:pt x="1108" y="116"/>
                    <a:pt x="1050" y="116"/>
                  </a:cubicBezTo>
                  <a:lnTo>
                    <a:pt x="1050" y="116"/>
                  </a:lnTo>
                  <a:lnTo>
                    <a:pt x="1050" y="116"/>
                  </a:lnTo>
                  <a:cubicBezTo>
                    <a:pt x="1020" y="87"/>
                    <a:pt x="962" y="59"/>
                    <a:pt x="903" y="29"/>
                  </a:cubicBezTo>
                  <a:cubicBezTo>
                    <a:pt x="874" y="29"/>
                    <a:pt x="845" y="0"/>
                    <a:pt x="816" y="0"/>
                  </a:cubicBezTo>
                  <a:cubicBezTo>
                    <a:pt x="758" y="0"/>
                    <a:pt x="700" y="0"/>
                    <a:pt x="641" y="0"/>
                  </a:cubicBezTo>
                  <a:cubicBezTo>
                    <a:pt x="612" y="0"/>
                    <a:pt x="583" y="0"/>
                    <a:pt x="553" y="0"/>
                  </a:cubicBezTo>
                  <a:cubicBezTo>
                    <a:pt x="524" y="0"/>
                    <a:pt x="495" y="0"/>
                    <a:pt x="466" y="0"/>
                  </a:cubicBezTo>
                  <a:cubicBezTo>
                    <a:pt x="408" y="29"/>
                    <a:pt x="350" y="29"/>
                    <a:pt x="291" y="29"/>
                  </a:cubicBezTo>
                  <a:cubicBezTo>
                    <a:pt x="291" y="29"/>
                    <a:pt x="262" y="59"/>
                    <a:pt x="233" y="59"/>
                  </a:cubicBezTo>
                  <a:cubicBezTo>
                    <a:pt x="233" y="87"/>
                    <a:pt x="203" y="87"/>
                    <a:pt x="203" y="87"/>
                  </a:cubicBezTo>
                  <a:cubicBezTo>
                    <a:pt x="145" y="116"/>
                    <a:pt x="117" y="145"/>
                    <a:pt x="87" y="145"/>
                  </a:cubicBezTo>
                  <a:cubicBezTo>
                    <a:pt x="58" y="175"/>
                    <a:pt x="58" y="175"/>
                    <a:pt x="58" y="204"/>
                  </a:cubicBezTo>
                  <a:lnTo>
                    <a:pt x="58" y="204"/>
                  </a:lnTo>
                  <a:lnTo>
                    <a:pt x="58" y="204"/>
                  </a:lnTo>
                  <a:lnTo>
                    <a:pt x="58" y="204"/>
                  </a:lnTo>
                  <a:cubicBezTo>
                    <a:pt x="29" y="204"/>
                    <a:pt x="29" y="204"/>
                    <a:pt x="29" y="233"/>
                  </a:cubicBezTo>
                  <a:cubicBezTo>
                    <a:pt x="0" y="233"/>
                    <a:pt x="0" y="233"/>
                    <a:pt x="0" y="262"/>
                  </a:cubicBezTo>
                  <a:cubicBezTo>
                    <a:pt x="0" y="262"/>
                    <a:pt x="58" y="292"/>
                    <a:pt x="87" y="321"/>
                  </a:cubicBezTo>
                  <a:lnTo>
                    <a:pt x="117" y="350"/>
                  </a:lnTo>
                  <a:cubicBezTo>
                    <a:pt x="174" y="409"/>
                    <a:pt x="203" y="466"/>
                    <a:pt x="262" y="525"/>
                  </a:cubicBezTo>
                  <a:cubicBezTo>
                    <a:pt x="320" y="583"/>
                    <a:pt x="379" y="642"/>
                    <a:pt x="466" y="700"/>
                  </a:cubicBezTo>
                  <a:cubicBezTo>
                    <a:pt x="495" y="729"/>
                    <a:pt x="524" y="787"/>
                    <a:pt x="553" y="816"/>
                  </a:cubicBezTo>
                  <a:cubicBezTo>
                    <a:pt x="583" y="845"/>
                    <a:pt x="641" y="904"/>
                    <a:pt x="670" y="933"/>
                  </a:cubicBezTo>
                  <a:cubicBezTo>
                    <a:pt x="700" y="962"/>
                    <a:pt x="729" y="992"/>
                    <a:pt x="758" y="992"/>
                  </a:cubicBezTo>
                  <a:cubicBezTo>
                    <a:pt x="787" y="1021"/>
                    <a:pt x="845" y="1050"/>
                    <a:pt x="874" y="1108"/>
                  </a:cubicBezTo>
                  <a:lnTo>
                    <a:pt x="874" y="1137"/>
                  </a:lnTo>
                  <a:cubicBezTo>
                    <a:pt x="874" y="1166"/>
                    <a:pt x="903" y="1166"/>
                    <a:pt x="903" y="1195"/>
                  </a:cubicBezTo>
                  <a:cubicBezTo>
                    <a:pt x="903" y="1195"/>
                    <a:pt x="903" y="1195"/>
                    <a:pt x="933" y="1195"/>
                  </a:cubicBezTo>
                  <a:cubicBezTo>
                    <a:pt x="933" y="1225"/>
                    <a:pt x="962" y="1225"/>
                    <a:pt x="962" y="1225"/>
                  </a:cubicBezTo>
                  <a:lnTo>
                    <a:pt x="962" y="1254"/>
                  </a:lnTo>
                  <a:lnTo>
                    <a:pt x="991" y="1254"/>
                  </a:lnTo>
                  <a:cubicBezTo>
                    <a:pt x="991" y="1283"/>
                    <a:pt x="991" y="1283"/>
                    <a:pt x="991" y="1283"/>
                  </a:cubicBezTo>
                  <a:cubicBezTo>
                    <a:pt x="1020" y="1283"/>
                    <a:pt x="1020" y="1283"/>
                    <a:pt x="1020" y="1312"/>
                  </a:cubicBezTo>
                  <a:lnTo>
                    <a:pt x="1050" y="1342"/>
                  </a:lnTo>
                  <a:cubicBezTo>
                    <a:pt x="1050" y="1371"/>
                    <a:pt x="1050" y="1371"/>
                    <a:pt x="1050" y="1371"/>
                  </a:cubicBezTo>
                  <a:cubicBezTo>
                    <a:pt x="1050" y="1371"/>
                    <a:pt x="1079" y="1400"/>
                    <a:pt x="1108" y="1400"/>
                  </a:cubicBezTo>
                  <a:lnTo>
                    <a:pt x="1108" y="1400"/>
                  </a:lnTo>
                  <a:cubicBezTo>
                    <a:pt x="1108" y="1342"/>
                    <a:pt x="1108" y="1342"/>
                    <a:pt x="1108" y="1342"/>
                  </a:cubicBezTo>
                  <a:cubicBezTo>
                    <a:pt x="1137" y="1371"/>
                    <a:pt x="1137" y="1371"/>
                    <a:pt x="1137" y="1371"/>
                  </a:cubicBezTo>
                  <a:cubicBezTo>
                    <a:pt x="1166" y="1371"/>
                    <a:pt x="1166" y="1371"/>
                    <a:pt x="1166" y="1400"/>
                  </a:cubicBezTo>
                  <a:cubicBezTo>
                    <a:pt x="1166" y="1371"/>
                    <a:pt x="1166" y="1371"/>
                    <a:pt x="1195" y="1371"/>
                  </a:cubicBezTo>
                  <a:lnTo>
                    <a:pt x="1195" y="1371"/>
                  </a:lnTo>
                  <a:cubicBezTo>
                    <a:pt x="1195" y="1371"/>
                    <a:pt x="1224" y="1371"/>
                    <a:pt x="1224" y="1342"/>
                  </a:cubicBezTo>
                  <a:cubicBezTo>
                    <a:pt x="1253" y="1342"/>
                    <a:pt x="1253" y="1342"/>
                    <a:pt x="1253" y="1342"/>
                  </a:cubicBezTo>
                  <a:cubicBezTo>
                    <a:pt x="1253" y="1342"/>
                    <a:pt x="1224" y="1342"/>
                    <a:pt x="1195" y="1342"/>
                  </a:cubicBezTo>
                  <a:cubicBezTo>
                    <a:pt x="1166" y="1342"/>
                    <a:pt x="1137" y="1342"/>
                    <a:pt x="1137" y="1283"/>
                  </a:cubicBezTo>
                  <a:cubicBezTo>
                    <a:pt x="1108" y="1283"/>
                    <a:pt x="1137" y="1254"/>
                    <a:pt x="1137" y="1254"/>
                  </a:cubicBezTo>
                  <a:cubicBezTo>
                    <a:pt x="1137" y="1225"/>
                    <a:pt x="1166" y="1225"/>
                    <a:pt x="1195" y="1225"/>
                  </a:cubicBezTo>
                  <a:cubicBezTo>
                    <a:pt x="1224" y="1225"/>
                    <a:pt x="1224" y="1225"/>
                    <a:pt x="1253" y="1225"/>
                  </a:cubicBezTo>
                  <a:cubicBezTo>
                    <a:pt x="1253" y="1225"/>
                    <a:pt x="1283" y="1195"/>
                    <a:pt x="1312" y="1195"/>
                  </a:cubicBezTo>
                  <a:lnTo>
                    <a:pt x="1312" y="1195"/>
                  </a:lnTo>
                  <a:lnTo>
                    <a:pt x="1312" y="1195"/>
                  </a:lnTo>
                  <a:lnTo>
                    <a:pt x="1341" y="1225"/>
                  </a:lnTo>
                  <a:lnTo>
                    <a:pt x="1341" y="1225"/>
                  </a:lnTo>
                  <a:cubicBezTo>
                    <a:pt x="1400" y="1225"/>
                    <a:pt x="1429" y="1195"/>
                    <a:pt x="1458" y="1166"/>
                  </a:cubicBezTo>
                  <a:cubicBezTo>
                    <a:pt x="1458" y="1137"/>
                    <a:pt x="1487" y="1108"/>
                    <a:pt x="1487" y="1108"/>
                  </a:cubicBezTo>
                  <a:cubicBezTo>
                    <a:pt x="1516" y="1079"/>
                    <a:pt x="1516" y="1079"/>
                    <a:pt x="1545" y="1079"/>
                  </a:cubicBezTo>
                  <a:cubicBezTo>
                    <a:pt x="1545" y="1050"/>
                    <a:pt x="1574" y="1050"/>
                    <a:pt x="1574" y="1050"/>
                  </a:cubicBezTo>
                  <a:cubicBezTo>
                    <a:pt x="1574" y="1050"/>
                    <a:pt x="1574" y="1021"/>
                    <a:pt x="1574" y="992"/>
                  </a:cubicBezTo>
                  <a:cubicBezTo>
                    <a:pt x="1574" y="933"/>
                    <a:pt x="1603" y="875"/>
                    <a:pt x="1633" y="875"/>
                  </a:cubicBezTo>
                  <a:lnTo>
                    <a:pt x="1633" y="875"/>
                  </a:lnTo>
                  <a:cubicBezTo>
                    <a:pt x="1662" y="875"/>
                    <a:pt x="1662" y="875"/>
                    <a:pt x="1691" y="904"/>
                  </a:cubicBezTo>
                  <a:cubicBezTo>
                    <a:pt x="1691" y="845"/>
                    <a:pt x="1720" y="816"/>
                    <a:pt x="1750" y="787"/>
                  </a:cubicBezTo>
                  <a:lnTo>
                    <a:pt x="1750" y="787"/>
                  </a:lnTo>
                  <a:cubicBezTo>
                    <a:pt x="1750" y="759"/>
                    <a:pt x="1750" y="729"/>
                    <a:pt x="1779" y="700"/>
                  </a:cubicBezTo>
                  <a:lnTo>
                    <a:pt x="1779" y="671"/>
                  </a:lnTo>
                  <a:cubicBezTo>
                    <a:pt x="1779" y="642"/>
                    <a:pt x="1779" y="642"/>
                    <a:pt x="1779" y="642"/>
                  </a:cubicBezTo>
                  <a:lnTo>
                    <a:pt x="1779" y="642"/>
                  </a:lnTo>
                  <a:cubicBezTo>
                    <a:pt x="1808" y="642"/>
                    <a:pt x="1837" y="612"/>
                    <a:pt x="1837" y="58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6" name="Freeform 854">
              <a:extLst>
                <a:ext uri="{FF2B5EF4-FFF2-40B4-BE49-F238E27FC236}">
                  <a16:creationId xmlns:a16="http://schemas.microsoft.com/office/drawing/2014/main" id="{9C22B0F9-189E-4AF5-82EC-6EB63CB2B0B2}"/>
                </a:ext>
              </a:extLst>
            </p:cNvPr>
            <p:cNvSpPr>
              <a:spLocks noChangeArrowheads="1"/>
            </p:cNvSpPr>
            <p:nvPr/>
          </p:nvSpPr>
          <p:spPr bwMode="auto">
            <a:xfrm>
              <a:off x="10370611" y="4099265"/>
              <a:ext cx="1631" cy="11328"/>
            </a:xfrm>
            <a:custGeom>
              <a:avLst/>
              <a:gdLst>
                <a:gd name="T0" fmla="*/ 0 w 1"/>
                <a:gd name="T1" fmla="*/ 29 h 30"/>
                <a:gd name="T2" fmla="*/ 0 w 1"/>
                <a:gd name="T3" fmla="*/ 29 h 30"/>
                <a:gd name="T4" fmla="*/ 0 w 1"/>
                <a:gd name="T5" fmla="*/ 29 h 30"/>
                <a:gd name="T6" fmla="*/ 0 w 1"/>
                <a:gd name="T7" fmla="*/ 0 h 30"/>
                <a:gd name="T8" fmla="*/ 0 w 1"/>
                <a:gd name="T9" fmla="*/ 29 h 30"/>
              </a:gdLst>
              <a:ahLst/>
              <a:cxnLst>
                <a:cxn ang="0">
                  <a:pos x="T0" y="T1"/>
                </a:cxn>
                <a:cxn ang="0">
                  <a:pos x="T2" y="T3"/>
                </a:cxn>
                <a:cxn ang="0">
                  <a:pos x="T4" y="T5"/>
                </a:cxn>
                <a:cxn ang="0">
                  <a:pos x="T6" y="T7"/>
                </a:cxn>
                <a:cxn ang="0">
                  <a:pos x="T8" y="T9"/>
                </a:cxn>
              </a:cxnLst>
              <a:rect l="0" t="0" r="r" b="b"/>
              <a:pathLst>
                <a:path w="1" h="30">
                  <a:moveTo>
                    <a:pt x="0" y="29"/>
                  </a:moveTo>
                  <a:lnTo>
                    <a:pt x="0" y="29"/>
                  </a:lnTo>
                  <a:lnTo>
                    <a:pt x="0" y="29"/>
                  </a:lnTo>
                  <a:cubicBezTo>
                    <a:pt x="0" y="29"/>
                    <a:pt x="0" y="29"/>
                    <a:pt x="0" y="0"/>
                  </a:cubicBez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7" name="Freeform 855">
              <a:extLst>
                <a:ext uri="{FF2B5EF4-FFF2-40B4-BE49-F238E27FC236}">
                  <a16:creationId xmlns:a16="http://schemas.microsoft.com/office/drawing/2014/main" id="{85456FDE-F114-454F-AB98-51F2114CD093}"/>
                </a:ext>
              </a:extLst>
            </p:cNvPr>
            <p:cNvSpPr>
              <a:spLocks noChangeArrowheads="1"/>
            </p:cNvSpPr>
            <p:nvPr/>
          </p:nvSpPr>
          <p:spPr bwMode="auto">
            <a:xfrm>
              <a:off x="10660902" y="2953494"/>
              <a:ext cx="151669" cy="203908"/>
            </a:xfrm>
            <a:custGeom>
              <a:avLst/>
              <a:gdLst>
                <a:gd name="T0" fmla="*/ 321 w 409"/>
                <a:gd name="T1" fmla="*/ 496 h 556"/>
                <a:gd name="T2" fmla="*/ 321 w 409"/>
                <a:gd name="T3" fmla="*/ 496 h 556"/>
                <a:gd name="T4" fmla="*/ 291 w 409"/>
                <a:gd name="T5" fmla="*/ 467 h 556"/>
                <a:gd name="T6" fmla="*/ 350 w 409"/>
                <a:gd name="T7" fmla="*/ 438 h 556"/>
                <a:gd name="T8" fmla="*/ 321 w 409"/>
                <a:gd name="T9" fmla="*/ 379 h 556"/>
                <a:gd name="T10" fmla="*/ 321 w 409"/>
                <a:gd name="T11" fmla="*/ 379 h 556"/>
                <a:gd name="T12" fmla="*/ 291 w 409"/>
                <a:gd name="T13" fmla="*/ 350 h 556"/>
                <a:gd name="T14" fmla="*/ 233 w 409"/>
                <a:gd name="T15" fmla="*/ 321 h 556"/>
                <a:gd name="T16" fmla="*/ 233 w 409"/>
                <a:gd name="T17" fmla="*/ 321 h 556"/>
                <a:gd name="T18" fmla="*/ 233 w 409"/>
                <a:gd name="T19" fmla="*/ 291 h 556"/>
                <a:gd name="T20" fmla="*/ 174 w 409"/>
                <a:gd name="T21" fmla="*/ 204 h 556"/>
                <a:gd name="T22" fmla="*/ 146 w 409"/>
                <a:gd name="T23" fmla="*/ 146 h 556"/>
                <a:gd name="T24" fmla="*/ 146 w 409"/>
                <a:gd name="T25" fmla="*/ 146 h 556"/>
                <a:gd name="T26" fmla="*/ 146 w 409"/>
                <a:gd name="T27" fmla="*/ 117 h 556"/>
                <a:gd name="T28" fmla="*/ 146 w 409"/>
                <a:gd name="T29" fmla="*/ 117 h 556"/>
                <a:gd name="T30" fmla="*/ 88 w 409"/>
                <a:gd name="T31" fmla="*/ 58 h 556"/>
                <a:gd name="T32" fmla="*/ 58 w 409"/>
                <a:gd name="T33" fmla="*/ 29 h 556"/>
                <a:gd name="T34" fmla="*/ 29 w 409"/>
                <a:gd name="T35" fmla="*/ 29 h 556"/>
                <a:gd name="T36" fmla="*/ 58 w 409"/>
                <a:gd name="T37" fmla="*/ 0 h 556"/>
                <a:gd name="T38" fmla="*/ 58 w 409"/>
                <a:gd name="T39" fmla="*/ 0 h 556"/>
                <a:gd name="T40" fmla="*/ 58 w 409"/>
                <a:gd name="T41" fmla="*/ 0 h 556"/>
                <a:gd name="T42" fmla="*/ 0 w 409"/>
                <a:gd name="T43" fmla="*/ 0 h 556"/>
                <a:gd name="T44" fmla="*/ 29 w 409"/>
                <a:gd name="T45" fmla="*/ 0 h 556"/>
                <a:gd name="T46" fmla="*/ 29 w 409"/>
                <a:gd name="T47" fmla="*/ 58 h 556"/>
                <a:gd name="T48" fmla="*/ 174 w 409"/>
                <a:gd name="T49" fmla="*/ 555 h 556"/>
                <a:gd name="T50" fmla="*/ 233 w 409"/>
                <a:gd name="T51" fmla="*/ 555 h 556"/>
                <a:gd name="T52" fmla="*/ 291 w 409"/>
                <a:gd name="T53" fmla="*/ 525 h 556"/>
                <a:gd name="T54" fmla="*/ 350 w 409"/>
                <a:gd name="T55" fmla="*/ 525 h 556"/>
                <a:gd name="T56" fmla="*/ 408 w 409"/>
                <a:gd name="T57" fmla="*/ 525 h 556"/>
                <a:gd name="T58" fmla="*/ 408 w 409"/>
                <a:gd name="T59" fmla="*/ 525 h 556"/>
                <a:gd name="T60" fmla="*/ 379 w 409"/>
                <a:gd name="T61" fmla="*/ 525 h 556"/>
                <a:gd name="T62" fmla="*/ 321 w 409"/>
                <a:gd name="T63" fmla="*/ 49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9" h="556">
                  <a:moveTo>
                    <a:pt x="321" y="496"/>
                  </a:moveTo>
                  <a:lnTo>
                    <a:pt x="321" y="496"/>
                  </a:lnTo>
                  <a:cubicBezTo>
                    <a:pt x="291" y="496"/>
                    <a:pt x="291" y="496"/>
                    <a:pt x="291" y="467"/>
                  </a:cubicBezTo>
                  <a:cubicBezTo>
                    <a:pt x="321" y="438"/>
                    <a:pt x="321" y="438"/>
                    <a:pt x="350" y="438"/>
                  </a:cubicBezTo>
                  <a:cubicBezTo>
                    <a:pt x="321" y="438"/>
                    <a:pt x="321" y="408"/>
                    <a:pt x="321" y="379"/>
                  </a:cubicBezTo>
                  <a:lnTo>
                    <a:pt x="321" y="379"/>
                  </a:lnTo>
                  <a:cubicBezTo>
                    <a:pt x="321" y="379"/>
                    <a:pt x="321" y="379"/>
                    <a:pt x="291" y="350"/>
                  </a:cubicBezTo>
                  <a:cubicBezTo>
                    <a:pt x="291" y="350"/>
                    <a:pt x="262" y="350"/>
                    <a:pt x="233" y="321"/>
                  </a:cubicBezTo>
                  <a:lnTo>
                    <a:pt x="233" y="321"/>
                  </a:lnTo>
                  <a:cubicBezTo>
                    <a:pt x="233" y="291"/>
                    <a:pt x="233" y="291"/>
                    <a:pt x="233" y="291"/>
                  </a:cubicBezTo>
                  <a:cubicBezTo>
                    <a:pt x="204" y="263"/>
                    <a:pt x="174" y="234"/>
                    <a:pt x="174" y="204"/>
                  </a:cubicBezTo>
                  <a:cubicBezTo>
                    <a:pt x="174" y="175"/>
                    <a:pt x="174" y="146"/>
                    <a:pt x="146" y="146"/>
                  </a:cubicBezTo>
                  <a:lnTo>
                    <a:pt x="146" y="146"/>
                  </a:lnTo>
                  <a:cubicBezTo>
                    <a:pt x="146" y="117"/>
                    <a:pt x="146" y="117"/>
                    <a:pt x="146" y="117"/>
                  </a:cubicBezTo>
                  <a:lnTo>
                    <a:pt x="146" y="117"/>
                  </a:lnTo>
                  <a:cubicBezTo>
                    <a:pt x="117" y="117"/>
                    <a:pt x="88" y="88"/>
                    <a:pt x="88" y="58"/>
                  </a:cubicBezTo>
                  <a:cubicBezTo>
                    <a:pt x="58" y="58"/>
                    <a:pt x="58" y="58"/>
                    <a:pt x="58" y="29"/>
                  </a:cubicBezTo>
                  <a:cubicBezTo>
                    <a:pt x="29" y="29"/>
                    <a:pt x="29" y="29"/>
                    <a:pt x="29" y="29"/>
                  </a:cubicBezTo>
                  <a:cubicBezTo>
                    <a:pt x="58" y="0"/>
                    <a:pt x="58" y="0"/>
                    <a:pt x="58" y="0"/>
                  </a:cubicBezTo>
                  <a:lnTo>
                    <a:pt x="58" y="0"/>
                  </a:lnTo>
                  <a:lnTo>
                    <a:pt x="58" y="0"/>
                  </a:lnTo>
                  <a:cubicBezTo>
                    <a:pt x="29" y="0"/>
                    <a:pt x="29" y="0"/>
                    <a:pt x="0" y="0"/>
                  </a:cubicBezTo>
                  <a:lnTo>
                    <a:pt x="29" y="0"/>
                  </a:lnTo>
                  <a:cubicBezTo>
                    <a:pt x="29" y="29"/>
                    <a:pt x="29" y="29"/>
                    <a:pt x="29" y="58"/>
                  </a:cubicBezTo>
                  <a:cubicBezTo>
                    <a:pt x="88" y="234"/>
                    <a:pt x="117" y="408"/>
                    <a:pt x="174" y="555"/>
                  </a:cubicBezTo>
                  <a:cubicBezTo>
                    <a:pt x="204" y="555"/>
                    <a:pt x="233" y="555"/>
                    <a:pt x="233" y="555"/>
                  </a:cubicBezTo>
                  <a:cubicBezTo>
                    <a:pt x="262" y="555"/>
                    <a:pt x="291" y="525"/>
                    <a:pt x="291" y="525"/>
                  </a:cubicBezTo>
                  <a:cubicBezTo>
                    <a:pt x="321" y="525"/>
                    <a:pt x="321" y="525"/>
                    <a:pt x="350" y="525"/>
                  </a:cubicBezTo>
                  <a:cubicBezTo>
                    <a:pt x="350" y="525"/>
                    <a:pt x="379" y="525"/>
                    <a:pt x="408" y="525"/>
                  </a:cubicBezTo>
                  <a:lnTo>
                    <a:pt x="408" y="525"/>
                  </a:lnTo>
                  <a:lnTo>
                    <a:pt x="379" y="525"/>
                  </a:lnTo>
                  <a:cubicBezTo>
                    <a:pt x="350" y="525"/>
                    <a:pt x="321" y="525"/>
                    <a:pt x="321" y="49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8" name="Freeform 856">
              <a:extLst>
                <a:ext uri="{FF2B5EF4-FFF2-40B4-BE49-F238E27FC236}">
                  <a16:creationId xmlns:a16="http://schemas.microsoft.com/office/drawing/2014/main" id="{C5B5205D-510B-41F3-8DE7-15B780E5B7EC}"/>
                </a:ext>
              </a:extLst>
            </p:cNvPr>
            <p:cNvSpPr>
              <a:spLocks noChangeArrowheads="1"/>
            </p:cNvSpPr>
            <p:nvPr/>
          </p:nvSpPr>
          <p:spPr bwMode="auto">
            <a:xfrm>
              <a:off x="10791370" y="3125036"/>
              <a:ext cx="1631" cy="11328"/>
            </a:xfrm>
            <a:custGeom>
              <a:avLst/>
              <a:gdLst>
                <a:gd name="T0" fmla="*/ 0 w 1"/>
                <a:gd name="T1" fmla="*/ 0 h 30"/>
                <a:gd name="T2" fmla="*/ 0 w 1"/>
                <a:gd name="T3" fmla="*/ 0 h 30"/>
                <a:gd name="T4" fmla="*/ 0 w 1"/>
                <a:gd name="T5" fmla="*/ 29 h 30"/>
                <a:gd name="T6" fmla="*/ 0 w 1"/>
                <a:gd name="T7" fmla="*/ 29 h 30"/>
                <a:gd name="T8" fmla="*/ 0 w 1"/>
                <a:gd name="T9" fmla="*/ 0 h 30"/>
              </a:gdLst>
              <a:ahLst/>
              <a:cxnLst>
                <a:cxn ang="0">
                  <a:pos x="T0" y="T1"/>
                </a:cxn>
                <a:cxn ang="0">
                  <a:pos x="T2" y="T3"/>
                </a:cxn>
                <a:cxn ang="0">
                  <a:pos x="T4" y="T5"/>
                </a:cxn>
                <a:cxn ang="0">
                  <a:pos x="T6" y="T7"/>
                </a:cxn>
                <a:cxn ang="0">
                  <a:pos x="T8" y="T9"/>
                </a:cxn>
              </a:cxnLst>
              <a:rect l="0" t="0" r="r" b="b"/>
              <a:pathLst>
                <a:path w="1" h="30">
                  <a:moveTo>
                    <a:pt x="0" y="0"/>
                  </a:moveTo>
                  <a:lnTo>
                    <a:pt x="0" y="0"/>
                  </a:lnTo>
                  <a:lnTo>
                    <a:pt x="0" y="29"/>
                  </a:lnTo>
                  <a:lnTo>
                    <a:pt x="0" y="29"/>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9" name="Freeform 857">
              <a:extLst>
                <a:ext uri="{FF2B5EF4-FFF2-40B4-BE49-F238E27FC236}">
                  <a16:creationId xmlns:a16="http://schemas.microsoft.com/office/drawing/2014/main" id="{EE1937D2-0FB6-49E8-AEE5-2044D553E02D}"/>
                </a:ext>
              </a:extLst>
            </p:cNvPr>
            <p:cNvSpPr>
              <a:spLocks noChangeArrowheads="1"/>
            </p:cNvSpPr>
            <p:nvPr/>
          </p:nvSpPr>
          <p:spPr bwMode="auto">
            <a:xfrm>
              <a:off x="10791370" y="3125036"/>
              <a:ext cx="11416" cy="11328"/>
            </a:xfrm>
            <a:custGeom>
              <a:avLst/>
              <a:gdLst>
                <a:gd name="T0" fmla="*/ 0 w 30"/>
                <a:gd name="T1" fmla="*/ 29 h 30"/>
                <a:gd name="T2" fmla="*/ 0 w 30"/>
                <a:gd name="T3" fmla="*/ 29 h 30"/>
                <a:gd name="T4" fmla="*/ 29 w 30"/>
                <a:gd name="T5" fmla="*/ 0 h 30"/>
                <a:gd name="T6" fmla="*/ 29 w 30"/>
                <a:gd name="T7" fmla="*/ 0 h 30"/>
                <a:gd name="T8" fmla="*/ 29 w 30"/>
                <a:gd name="T9" fmla="*/ 0 h 30"/>
                <a:gd name="T10" fmla="*/ 0 w 30"/>
                <a:gd name="T11" fmla="*/ 29 h 30"/>
              </a:gdLst>
              <a:ahLst/>
              <a:cxnLst>
                <a:cxn ang="0">
                  <a:pos x="T0" y="T1"/>
                </a:cxn>
                <a:cxn ang="0">
                  <a:pos x="T2" y="T3"/>
                </a:cxn>
                <a:cxn ang="0">
                  <a:pos x="T4" y="T5"/>
                </a:cxn>
                <a:cxn ang="0">
                  <a:pos x="T6" y="T7"/>
                </a:cxn>
                <a:cxn ang="0">
                  <a:pos x="T8" y="T9"/>
                </a:cxn>
                <a:cxn ang="0">
                  <a:pos x="T10" y="T11"/>
                </a:cxn>
              </a:cxnLst>
              <a:rect l="0" t="0" r="r" b="b"/>
              <a:pathLst>
                <a:path w="30" h="30">
                  <a:moveTo>
                    <a:pt x="0" y="29"/>
                  </a:moveTo>
                  <a:lnTo>
                    <a:pt x="0" y="29"/>
                  </a:lnTo>
                  <a:cubicBezTo>
                    <a:pt x="0" y="29"/>
                    <a:pt x="0" y="29"/>
                    <a:pt x="29" y="0"/>
                  </a:cubicBezTo>
                  <a:lnTo>
                    <a:pt x="29" y="0"/>
                  </a:lnTo>
                  <a:lnTo>
                    <a:pt x="29" y="0"/>
                  </a:lnTo>
                  <a:cubicBezTo>
                    <a:pt x="0" y="29"/>
                    <a:pt x="0" y="29"/>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0" name="Freeform 858">
              <a:extLst>
                <a:ext uri="{FF2B5EF4-FFF2-40B4-BE49-F238E27FC236}">
                  <a16:creationId xmlns:a16="http://schemas.microsoft.com/office/drawing/2014/main" id="{639FC7C1-9986-4C7D-BF62-77AECB1DB86E}"/>
                </a:ext>
              </a:extLst>
            </p:cNvPr>
            <p:cNvSpPr>
              <a:spLocks noChangeArrowheads="1"/>
            </p:cNvSpPr>
            <p:nvPr/>
          </p:nvSpPr>
          <p:spPr bwMode="auto">
            <a:xfrm>
              <a:off x="10768538" y="3574929"/>
              <a:ext cx="22832" cy="32366"/>
            </a:xfrm>
            <a:custGeom>
              <a:avLst/>
              <a:gdLst>
                <a:gd name="T0" fmla="*/ 0 w 60"/>
                <a:gd name="T1" fmla="*/ 0 h 89"/>
                <a:gd name="T2" fmla="*/ 0 w 60"/>
                <a:gd name="T3" fmla="*/ 0 h 89"/>
                <a:gd name="T4" fmla="*/ 30 w 60"/>
                <a:gd name="T5" fmla="*/ 59 h 89"/>
                <a:gd name="T6" fmla="*/ 59 w 60"/>
                <a:gd name="T7" fmla="*/ 88 h 89"/>
                <a:gd name="T8" fmla="*/ 30 w 60"/>
                <a:gd name="T9" fmla="*/ 59 h 89"/>
                <a:gd name="T10" fmla="*/ 0 w 60"/>
                <a:gd name="T11" fmla="*/ 0 h 89"/>
              </a:gdLst>
              <a:ahLst/>
              <a:cxnLst>
                <a:cxn ang="0">
                  <a:pos x="T0" y="T1"/>
                </a:cxn>
                <a:cxn ang="0">
                  <a:pos x="T2" y="T3"/>
                </a:cxn>
                <a:cxn ang="0">
                  <a:pos x="T4" y="T5"/>
                </a:cxn>
                <a:cxn ang="0">
                  <a:pos x="T6" y="T7"/>
                </a:cxn>
                <a:cxn ang="0">
                  <a:pos x="T8" y="T9"/>
                </a:cxn>
                <a:cxn ang="0">
                  <a:pos x="T10" y="T11"/>
                </a:cxn>
              </a:cxnLst>
              <a:rect l="0" t="0" r="r" b="b"/>
              <a:pathLst>
                <a:path w="60" h="89">
                  <a:moveTo>
                    <a:pt x="0" y="0"/>
                  </a:moveTo>
                  <a:lnTo>
                    <a:pt x="0" y="0"/>
                  </a:lnTo>
                  <a:cubicBezTo>
                    <a:pt x="30" y="30"/>
                    <a:pt x="30" y="59"/>
                    <a:pt x="30" y="59"/>
                  </a:cubicBezTo>
                  <a:cubicBezTo>
                    <a:pt x="30" y="88"/>
                    <a:pt x="59" y="88"/>
                    <a:pt x="59" y="88"/>
                  </a:cubicBezTo>
                  <a:cubicBezTo>
                    <a:pt x="59" y="88"/>
                    <a:pt x="30" y="88"/>
                    <a:pt x="30" y="59"/>
                  </a:cubicBezTo>
                  <a:cubicBezTo>
                    <a:pt x="30" y="30"/>
                    <a:pt x="30" y="3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1" name="Freeform 859">
              <a:extLst>
                <a:ext uri="{FF2B5EF4-FFF2-40B4-BE49-F238E27FC236}">
                  <a16:creationId xmlns:a16="http://schemas.microsoft.com/office/drawing/2014/main" id="{DE1BE323-7C2E-47C1-B4A6-5597B3B31DDC}"/>
                </a:ext>
              </a:extLst>
            </p:cNvPr>
            <p:cNvSpPr>
              <a:spLocks noChangeArrowheads="1"/>
            </p:cNvSpPr>
            <p:nvPr/>
          </p:nvSpPr>
          <p:spPr bwMode="auto">
            <a:xfrm>
              <a:off x="10607085" y="2976151"/>
              <a:ext cx="205487" cy="289679"/>
            </a:xfrm>
            <a:custGeom>
              <a:avLst/>
              <a:gdLst>
                <a:gd name="T0" fmla="*/ 525 w 555"/>
                <a:gd name="T1" fmla="*/ 526 h 789"/>
                <a:gd name="T2" fmla="*/ 408 w 555"/>
                <a:gd name="T3" fmla="*/ 554 h 789"/>
                <a:gd name="T4" fmla="*/ 292 w 555"/>
                <a:gd name="T5" fmla="*/ 554 h 789"/>
                <a:gd name="T6" fmla="*/ 175 w 555"/>
                <a:gd name="T7" fmla="*/ 205 h 789"/>
                <a:gd name="T8" fmla="*/ 117 w 555"/>
                <a:gd name="T9" fmla="*/ 0 h 789"/>
                <a:gd name="T10" fmla="*/ 117 w 555"/>
                <a:gd name="T11" fmla="*/ 30 h 789"/>
                <a:gd name="T12" fmla="*/ 87 w 555"/>
                <a:gd name="T13" fmla="*/ 88 h 789"/>
                <a:gd name="T14" fmla="*/ 29 w 555"/>
                <a:gd name="T15" fmla="*/ 176 h 789"/>
                <a:gd name="T16" fmla="*/ 58 w 555"/>
                <a:gd name="T17" fmla="*/ 176 h 789"/>
                <a:gd name="T18" fmla="*/ 58 w 555"/>
                <a:gd name="T19" fmla="*/ 292 h 789"/>
                <a:gd name="T20" fmla="*/ 87 w 555"/>
                <a:gd name="T21" fmla="*/ 321 h 789"/>
                <a:gd name="T22" fmla="*/ 117 w 555"/>
                <a:gd name="T23" fmla="*/ 409 h 789"/>
                <a:gd name="T24" fmla="*/ 117 w 555"/>
                <a:gd name="T25" fmla="*/ 409 h 789"/>
                <a:gd name="T26" fmla="*/ 117 w 555"/>
                <a:gd name="T27" fmla="*/ 438 h 789"/>
                <a:gd name="T28" fmla="*/ 146 w 555"/>
                <a:gd name="T29" fmla="*/ 497 h 789"/>
                <a:gd name="T30" fmla="*/ 117 w 555"/>
                <a:gd name="T31" fmla="*/ 526 h 789"/>
                <a:gd name="T32" fmla="*/ 87 w 555"/>
                <a:gd name="T33" fmla="*/ 554 h 789"/>
                <a:gd name="T34" fmla="*/ 58 w 555"/>
                <a:gd name="T35" fmla="*/ 583 h 789"/>
                <a:gd name="T36" fmla="*/ 175 w 555"/>
                <a:gd name="T37" fmla="*/ 613 h 789"/>
                <a:gd name="T38" fmla="*/ 175 w 555"/>
                <a:gd name="T39" fmla="*/ 613 h 789"/>
                <a:gd name="T40" fmla="*/ 234 w 555"/>
                <a:gd name="T41" fmla="*/ 583 h 789"/>
                <a:gd name="T42" fmla="*/ 234 w 555"/>
                <a:gd name="T43" fmla="*/ 613 h 789"/>
                <a:gd name="T44" fmla="*/ 292 w 555"/>
                <a:gd name="T45" fmla="*/ 671 h 789"/>
                <a:gd name="T46" fmla="*/ 292 w 555"/>
                <a:gd name="T47" fmla="*/ 700 h 789"/>
                <a:gd name="T48" fmla="*/ 320 w 555"/>
                <a:gd name="T49" fmla="*/ 730 h 789"/>
                <a:gd name="T50" fmla="*/ 320 w 555"/>
                <a:gd name="T51" fmla="*/ 759 h 789"/>
                <a:gd name="T52" fmla="*/ 320 w 555"/>
                <a:gd name="T53" fmla="*/ 788 h 789"/>
                <a:gd name="T54" fmla="*/ 320 w 555"/>
                <a:gd name="T55" fmla="*/ 788 h 789"/>
                <a:gd name="T56" fmla="*/ 408 w 555"/>
                <a:gd name="T57" fmla="*/ 759 h 789"/>
                <a:gd name="T58" fmla="*/ 467 w 555"/>
                <a:gd name="T59" fmla="*/ 671 h 789"/>
                <a:gd name="T60" fmla="*/ 525 w 555"/>
                <a:gd name="T61" fmla="*/ 583 h 789"/>
                <a:gd name="T62" fmla="*/ 554 w 555"/>
                <a:gd name="T63" fmla="*/ 613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789">
                  <a:moveTo>
                    <a:pt x="525" y="526"/>
                  </a:moveTo>
                  <a:lnTo>
                    <a:pt x="525" y="526"/>
                  </a:lnTo>
                  <a:lnTo>
                    <a:pt x="525" y="526"/>
                  </a:lnTo>
                  <a:cubicBezTo>
                    <a:pt x="496" y="526"/>
                    <a:pt x="467" y="526"/>
                    <a:pt x="408" y="554"/>
                  </a:cubicBezTo>
                  <a:cubicBezTo>
                    <a:pt x="379" y="554"/>
                    <a:pt x="320" y="554"/>
                    <a:pt x="292" y="554"/>
                  </a:cubicBezTo>
                  <a:lnTo>
                    <a:pt x="292" y="554"/>
                  </a:lnTo>
                  <a:cubicBezTo>
                    <a:pt x="263" y="554"/>
                    <a:pt x="263" y="554"/>
                    <a:pt x="263" y="554"/>
                  </a:cubicBezTo>
                  <a:cubicBezTo>
                    <a:pt x="234" y="438"/>
                    <a:pt x="204" y="321"/>
                    <a:pt x="175" y="205"/>
                  </a:cubicBezTo>
                  <a:cubicBezTo>
                    <a:pt x="175" y="146"/>
                    <a:pt x="146" y="88"/>
                    <a:pt x="117" y="0"/>
                  </a:cubicBezTo>
                  <a:lnTo>
                    <a:pt x="117" y="0"/>
                  </a:lnTo>
                  <a:lnTo>
                    <a:pt x="117" y="30"/>
                  </a:lnTo>
                  <a:lnTo>
                    <a:pt x="117" y="30"/>
                  </a:lnTo>
                  <a:cubicBezTo>
                    <a:pt x="117" y="59"/>
                    <a:pt x="117" y="88"/>
                    <a:pt x="87" y="88"/>
                  </a:cubicBezTo>
                  <a:lnTo>
                    <a:pt x="87" y="88"/>
                  </a:lnTo>
                  <a:cubicBezTo>
                    <a:pt x="58" y="88"/>
                    <a:pt x="58" y="88"/>
                    <a:pt x="58" y="88"/>
                  </a:cubicBezTo>
                  <a:cubicBezTo>
                    <a:pt x="29" y="117"/>
                    <a:pt x="0" y="146"/>
                    <a:pt x="29" y="176"/>
                  </a:cubicBezTo>
                  <a:cubicBezTo>
                    <a:pt x="29" y="176"/>
                    <a:pt x="29" y="176"/>
                    <a:pt x="58" y="176"/>
                  </a:cubicBezTo>
                  <a:lnTo>
                    <a:pt x="58" y="176"/>
                  </a:lnTo>
                  <a:cubicBezTo>
                    <a:pt x="58" y="205"/>
                    <a:pt x="58" y="205"/>
                    <a:pt x="58" y="205"/>
                  </a:cubicBezTo>
                  <a:cubicBezTo>
                    <a:pt x="87" y="233"/>
                    <a:pt x="58" y="263"/>
                    <a:pt x="58" y="292"/>
                  </a:cubicBezTo>
                  <a:lnTo>
                    <a:pt x="58" y="321"/>
                  </a:lnTo>
                  <a:cubicBezTo>
                    <a:pt x="58" y="321"/>
                    <a:pt x="58" y="321"/>
                    <a:pt x="87" y="321"/>
                  </a:cubicBezTo>
                  <a:cubicBezTo>
                    <a:pt x="87" y="350"/>
                    <a:pt x="87" y="350"/>
                    <a:pt x="87" y="380"/>
                  </a:cubicBezTo>
                  <a:cubicBezTo>
                    <a:pt x="87" y="409"/>
                    <a:pt x="87" y="409"/>
                    <a:pt x="117" y="409"/>
                  </a:cubicBezTo>
                  <a:lnTo>
                    <a:pt x="117" y="409"/>
                  </a:lnTo>
                  <a:lnTo>
                    <a:pt x="117" y="409"/>
                  </a:lnTo>
                  <a:lnTo>
                    <a:pt x="117" y="438"/>
                  </a:lnTo>
                  <a:lnTo>
                    <a:pt x="117" y="438"/>
                  </a:lnTo>
                  <a:cubicBezTo>
                    <a:pt x="146" y="467"/>
                    <a:pt x="146" y="467"/>
                    <a:pt x="146" y="497"/>
                  </a:cubicBezTo>
                  <a:lnTo>
                    <a:pt x="146" y="497"/>
                  </a:lnTo>
                  <a:lnTo>
                    <a:pt x="146" y="497"/>
                  </a:lnTo>
                  <a:cubicBezTo>
                    <a:pt x="146" y="526"/>
                    <a:pt x="146" y="526"/>
                    <a:pt x="117" y="526"/>
                  </a:cubicBezTo>
                  <a:cubicBezTo>
                    <a:pt x="117" y="526"/>
                    <a:pt x="117" y="526"/>
                    <a:pt x="87" y="526"/>
                  </a:cubicBezTo>
                  <a:cubicBezTo>
                    <a:pt x="87" y="554"/>
                    <a:pt x="87" y="554"/>
                    <a:pt x="87" y="554"/>
                  </a:cubicBezTo>
                  <a:lnTo>
                    <a:pt x="87" y="554"/>
                  </a:lnTo>
                  <a:lnTo>
                    <a:pt x="58" y="583"/>
                  </a:lnTo>
                  <a:cubicBezTo>
                    <a:pt x="87" y="613"/>
                    <a:pt x="117" y="613"/>
                    <a:pt x="146" y="642"/>
                  </a:cubicBezTo>
                  <a:cubicBezTo>
                    <a:pt x="146" y="613"/>
                    <a:pt x="146" y="613"/>
                    <a:pt x="175" y="613"/>
                  </a:cubicBezTo>
                  <a:lnTo>
                    <a:pt x="175" y="613"/>
                  </a:lnTo>
                  <a:lnTo>
                    <a:pt x="175" y="613"/>
                  </a:lnTo>
                  <a:cubicBezTo>
                    <a:pt x="175" y="613"/>
                    <a:pt x="175" y="613"/>
                    <a:pt x="204" y="613"/>
                  </a:cubicBezTo>
                  <a:cubicBezTo>
                    <a:pt x="204" y="613"/>
                    <a:pt x="204" y="613"/>
                    <a:pt x="234" y="583"/>
                  </a:cubicBezTo>
                  <a:lnTo>
                    <a:pt x="234" y="583"/>
                  </a:lnTo>
                  <a:cubicBezTo>
                    <a:pt x="234" y="613"/>
                    <a:pt x="234" y="613"/>
                    <a:pt x="234" y="613"/>
                  </a:cubicBezTo>
                  <a:lnTo>
                    <a:pt x="263" y="642"/>
                  </a:lnTo>
                  <a:cubicBezTo>
                    <a:pt x="263" y="642"/>
                    <a:pt x="263" y="671"/>
                    <a:pt x="292" y="671"/>
                  </a:cubicBezTo>
                  <a:cubicBezTo>
                    <a:pt x="292" y="671"/>
                    <a:pt x="292" y="671"/>
                    <a:pt x="292" y="700"/>
                  </a:cubicBezTo>
                  <a:lnTo>
                    <a:pt x="292" y="700"/>
                  </a:lnTo>
                  <a:lnTo>
                    <a:pt x="320" y="700"/>
                  </a:lnTo>
                  <a:lnTo>
                    <a:pt x="320" y="730"/>
                  </a:lnTo>
                  <a:lnTo>
                    <a:pt x="320" y="759"/>
                  </a:lnTo>
                  <a:lnTo>
                    <a:pt x="320" y="759"/>
                  </a:lnTo>
                  <a:cubicBezTo>
                    <a:pt x="320" y="788"/>
                    <a:pt x="320" y="788"/>
                    <a:pt x="320" y="788"/>
                  </a:cubicBezTo>
                  <a:lnTo>
                    <a:pt x="320" y="788"/>
                  </a:lnTo>
                  <a:lnTo>
                    <a:pt x="320" y="788"/>
                  </a:lnTo>
                  <a:lnTo>
                    <a:pt x="320" y="788"/>
                  </a:lnTo>
                  <a:cubicBezTo>
                    <a:pt x="350" y="788"/>
                    <a:pt x="350" y="788"/>
                    <a:pt x="350" y="788"/>
                  </a:cubicBezTo>
                  <a:cubicBezTo>
                    <a:pt x="379" y="759"/>
                    <a:pt x="379" y="759"/>
                    <a:pt x="408" y="759"/>
                  </a:cubicBezTo>
                  <a:cubicBezTo>
                    <a:pt x="437" y="759"/>
                    <a:pt x="437" y="759"/>
                    <a:pt x="467" y="730"/>
                  </a:cubicBezTo>
                  <a:cubicBezTo>
                    <a:pt x="467" y="730"/>
                    <a:pt x="467" y="700"/>
                    <a:pt x="467" y="671"/>
                  </a:cubicBezTo>
                  <a:cubicBezTo>
                    <a:pt x="467" y="642"/>
                    <a:pt x="496" y="613"/>
                    <a:pt x="525" y="583"/>
                  </a:cubicBezTo>
                  <a:lnTo>
                    <a:pt x="525" y="583"/>
                  </a:lnTo>
                  <a:lnTo>
                    <a:pt x="525" y="583"/>
                  </a:lnTo>
                  <a:cubicBezTo>
                    <a:pt x="554" y="583"/>
                    <a:pt x="554" y="583"/>
                    <a:pt x="554" y="613"/>
                  </a:cubicBezTo>
                  <a:cubicBezTo>
                    <a:pt x="554" y="583"/>
                    <a:pt x="525" y="554"/>
                    <a:pt x="525" y="52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2" name="Freeform 860">
              <a:extLst>
                <a:ext uri="{FF2B5EF4-FFF2-40B4-BE49-F238E27FC236}">
                  <a16:creationId xmlns:a16="http://schemas.microsoft.com/office/drawing/2014/main" id="{F1A38453-FDFD-482E-AC70-29D7B16D6BFE}"/>
                </a:ext>
              </a:extLst>
            </p:cNvPr>
            <p:cNvSpPr>
              <a:spLocks noChangeArrowheads="1"/>
            </p:cNvSpPr>
            <p:nvPr/>
          </p:nvSpPr>
          <p:spPr bwMode="auto">
            <a:xfrm>
              <a:off x="10801155" y="3210806"/>
              <a:ext cx="1631" cy="11329"/>
            </a:xfrm>
            <a:custGeom>
              <a:avLst/>
              <a:gdLst>
                <a:gd name="T0" fmla="*/ 0 w 1"/>
                <a:gd name="T1" fmla="*/ 0 h 30"/>
                <a:gd name="T2" fmla="*/ 0 w 1"/>
                <a:gd name="T3" fmla="*/ 0 h 30"/>
                <a:gd name="T4" fmla="*/ 0 w 1"/>
                <a:gd name="T5" fmla="*/ 29 h 30"/>
                <a:gd name="T6" fmla="*/ 0 w 1"/>
                <a:gd name="T7" fmla="*/ 0 h 30"/>
              </a:gdLst>
              <a:ahLst/>
              <a:cxnLst>
                <a:cxn ang="0">
                  <a:pos x="T0" y="T1"/>
                </a:cxn>
                <a:cxn ang="0">
                  <a:pos x="T2" y="T3"/>
                </a:cxn>
                <a:cxn ang="0">
                  <a:pos x="T4" y="T5"/>
                </a:cxn>
                <a:cxn ang="0">
                  <a:pos x="T6" y="T7"/>
                </a:cxn>
              </a:cxnLst>
              <a:rect l="0" t="0" r="r" b="b"/>
              <a:pathLst>
                <a:path w="1" h="30">
                  <a:moveTo>
                    <a:pt x="0" y="0"/>
                  </a:moveTo>
                  <a:lnTo>
                    <a:pt x="0" y="0"/>
                  </a:lnTo>
                  <a:cubicBezTo>
                    <a:pt x="0" y="29"/>
                    <a:pt x="0" y="29"/>
                    <a:pt x="0" y="29"/>
                  </a:cubicBezTo>
                  <a:cubicBezTo>
                    <a:pt x="0" y="29"/>
                    <a:pt x="0" y="29"/>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3" name="Freeform 861">
              <a:extLst>
                <a:ext uri="{FF2B5EF4-FFF2-40B4-BE49-F238E27FC236}">
                  <a16:creationId xmlns:a16="http://schemas.microsoft.com/office/drawing/2014/main" id="{CF0A7DD7-B3F1-42D9-805C-1A9BA96F2E40}"/>
                </a:ext>
              </a:extLst>
            </p:cNvPr>
            <p:cNvSpPr>
              <a:spLocks noChangeArrowheads="1"/>
            </p:cNvSpPr>
            <p:nvPr/>
          </p:nvSpPr>
          <p:spPr bwMode="auto">
            <a:xfrm>
              <a:off x="10316794" y="5479691"/>
              <a:ext cx="11415" cy="21039"/>
            </a:xfrm>
            <a:custGeom>
              <a:avLst/>
              <a:gdLst>
                <a:gd name="T0" fmla="*/ 29 w 30"/>
                <a:gd name="T1" fmla="*/ 0 h 59"/>
                <a:gd name="T2" fmla="*/ 29 w 30"/>
                <a:gd name="T3" fmla="*/ 0 h 59"/>
                <a:gd name="T4" fmla="*/ 29 w 30"/>
                <a:gd name="T5" fmla="*/ 0 h 59"/>
                <a:gd name="T6" fmla="*/ 0 w 30"/>
                <a:gd name="T7" fmla="*/ 58 h 59"/>
                <a:gd name="T8" fmla="*/ 29 w 30"/>
                <a:gd name="T9" fmla="*/ 0 h 59"/>
              </a:gdLst>
              <a:ahLst/>
              <a:cxnLst>
                <a:cxn ang="0">
                  <a:pos x="T0" y="T1"/>
                </a:cxn>
                <a:cxn ang="0">
                  <a:pos x="T2" y="T3"/>
                </a:cxn>
                <a:cxn ang="0">
                  <a:pos x="T4" y="T5"/>
                </a:cxn>
                <a:cxn ang="0">
                  <a:pos x="T6" y="T7"/>
                </a:cxn>
                <a:cxn ang="0">
                  <a:pos x="T8" y="T9"/>
                </a:cxn>
              </a:cxnLst>
              <a:rect l="0" t="0" r="r" b="b"/>
              <a:pathLst>
                <a:path w="30" h="59">
                  <a:moveTo>
                    <a:pt x="29" y="0"/>
                  </a:moveTo>
                  <a:lnTo>
                    <a:pt x="29" y="0"/>
                  </a:lnTo>
                  <a:lnTo>
                    <a:pt x="29" y="0"/>
                  </a:lnTo>
                  <a:cubicBezTo>
                    <a:pt x="0" y="29"/>
                    <a:pt x="0" y="29"/>
                    <a:pt x="0" y="58"/>
                  </a:cubicBezTo>
                  <a:cubicBezTo>
                    <a:pt x="0" y="29"/>
                    <a:pt x="0" y="29"/>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4" name="Freeform 862">
              <a:extLst>
                <a:ext uri="{FF2B5EF4-FFF2-40B4-BE49-F238E27FC236}">
                  <a16:creationId xmlns:a16="http://schemas.microsoft.com/office/drawing/2014/main" id="{91314450-A71E-4567-908A-39CD69563A1C}"/>
                </a:ext>
              </a:extLst>
            </p:cNvPr>
            <p:cNvSpPr>
              <a:spLocks noChangeArrowheads="1"/>
            </p:cNvSpPr>
            <p:nvPr/>
          </p:nvSpPr>
          <p:spPr bwMode="auto">
            <a:xfrm>
              <a:off x="10284177" y="4196364"/>
              <a:ext cx="44032" cy="53404"/>
            </a:xfrm>
            <a:custGeom>
              <a:avLst/>
              <a:gdLst>
                <a:gd name="T0" fmla="*/ 117 w 118"/>
                <a:gd name="T1" fmla="*/ 0 h 147"/>
                <a:gd name="T2" fmla="*/ 117 w 118"/>
                <a:gd name="T3" fmla="*/ 0 h 147"/>
                <a:gd name="T4" fmla="*/ 88 w 118"/>
                <a:gd name="T5" fmla="*/ 29 h 147"/>
                <a:gd name="T6" fmla="*/ 29 w 118"/>
                <a:gd name="T7" fmla="*/ 146 h 147"/>
                <a:gd name="T8" fmla="*/ 29 w 118"/>
                <a:gd name="T9" fmla="*/ 146 h 147"/>
                <a:gd name="T10" fmla="*/ 0 w 118"/>
                <a:gd name="T11" fmla="*/ 146 h 147"/>
                <a:gd name="T12" fmla="*/ 0 w 118"/>
                <a:gd name="T13" fmla="*/ 146 h 147"/>
                <a:gd name="T14" fmla="*/ 29 w 118"/>
                <a:gd name="T15" fmla="*/ 146 h 147"/>
                <a:gd name="T16" fmla="*/ 29 w 118"/>
                <a:gd name="T17" fmla="*/ 146 h 147"/>
                <a:gd name="T18" fmla="*/ 88 w 118"/>
                <a:gd name="T19" fmla="*/ 29 h 147"/>
                <a:gd name="T20" fmla="*/ 117 w 118"/>
                <a:gd name="T21"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47">
                  <a:moveTo>
                    <a:pt x="117" y="0"/>
                  </a:moveTo>
                  <a:lnTo>
                    <a:pt x="117" y="0"/>
                  </a:lnTo>
                  <a:cubicBezTo>
                    <a:pt x="88" y="29"/>
                    <a:pt x="88" y="29"/>
                    <a:pt x="88" y="29"/>
                  </a:cubicBezTo>
                  <a:cubicBezTo>
                    <a:pt x="59" y="58"/>
                    <a:pt x="29" y="88"/>
                    <a:pt x="29" y="146"/>
                  </a:cubicBezTo>
                  <a:lnTo>
                    <a:pt x="29" y="146"/>
                  </a:lnTo>
                  <a:cubicBezTo>
                    <a:pt x="0" y="146"/>
                    <a:pt x="0" y="146"/>
                    <a:pt x="0" y="146"/>
                  </a:cubicBezTo>
                  <a:lnTo>
                    <a:pt x="0" y="146"/>
                  </a:lnTo>
                  <a:cubicBezTo>
                    <a:pt x="29" y="146"/>
                    <a:pt x="29" y="146"/>
                    <a:pt x="29" y="146"/>
                  </a:cubicBezTo>
                  <a:lnTo>
                    <a:pt x="29" y="146"/>
                  </a:lnTo>
                  <a:cubicBezTo>
                    <a:pt x="29" y="88"/>
                    <a:pt x="59" y="58"/>
                    <a:pt x="88" y="29"/>
                  </a:cubicBezTo>
                  <a:cubicBezTo>
                    <a:pt x="117" y="0"/>
                    <a:pt x="117" y="0"/>
                    <a:pt x="1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5" name="Freeform 863">
              <a:extLst>
                <a:ext uri="{FF2B5EF4-FFF2-40B4-BE49-F238E27FC236}">
                  <a16:creationId xmlns:a16="http://schemas.microsoft.com/office/drawing/2014/main" id="{CFE38A81-7F4F-4898-A0DC-A702A8EB92AB}"/>
                </a:ext>
              </a:extLst>
            </p:cNvPr>
            <p:cNvSpPr>
              <a:spLocks noChangeArrowheads="1"/>
            </p:cNvSpPr>
            <p:nvPr/>
          </p:nvSpPr>
          <p:spPr bwMode="auto">
            <a:xfrm>
              <a:off x="10046074" y="4431020"/>
              <a:ext cx="11415"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cubicBezTo>
                    <a:pt x="0" y="0"/>
                    <a:pt x="0" y="0"/>
                    <a:pt x="0" y="0"/>
                  </a:cubicBez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6" name="Freeform 864">
              <a:extLst>
                <a:ext uri="{FF2B5EF4-FFF2-40B4-BE49-F238E27FC236}">
                  <a16:creationId xmlns:a16="http://schemas.microsoft.com/office/drawing/2014/main" id="{6CDF6B03-4B6D-4936-91C9-927590860942}"/>
                </a:ext>
              </a:extLst>
            </p:cNvPr>
            <p:cNvSpPr>
              <a:spLocks noChangeArrowheads="1"/>
            </p:cNvSpPr>
            <p:nvPr/>
          </p:nvSpPr>
          <p:spPr bwMode="auto">
            <a:xfrm>
              <a:off x="10057489" y="4431020"/>
              <a:ext cx="11416" cy="1619"/>
            </a:xfrm>
            <a:custGeom>
              <a:avLst/>
              <a:gdLst>
                <a:gd name="T0" fmla="*/ 29 w 30"/>
                <a:gd name="T1" fmla="*/ 0 h 1"/>
                <a:gd name="T2" fmla="*/ 29 w 30"/>
                <a:gd name="T3" fmla="*/ 0 h 1"/>
                <a:gd name="T4" fmla="*/ 0 w 30"/>
                <a:gd name="T5" fmla="*/ 0 h 1"/>
                <a:gd name="T6" fmla="*/ 29 w 30"/>
                <a:gd name="T7" fmla="*/ 0 h 1"/>
              </a:gdLst>
              <a:ahLst/>
              <a:cxnLst>
                <a:cxn ang="0">
                  <a:pos x="T0" y="T1"/>
                </a:cxn>
                <a:cxn ang="0">
                  <a:pos x="T2" y="T3"/>
                </a:cxn>
                <a:cxn ang="0">
                  <a:pos x="T4" y="T5"/>
                </a:cxn>
                <a:cxn ang="0">
                  <a:pos x="T6" y="T7"/>
                </a:cxn>
              </a:cxnLst>
              <a:rect l="0" t="0" r="r" b="b"/>
              <a:pathLst>
                <a:path w="30" h="1">
                  <a:moveTo>
                    <a:pt x="29" y="0"/>
                  </a:moveTo>
                  <a:lnTo>
                    <a:pt x="29" y="0"/>
                  </a:lnTo>
                  <a:lnTo>
                    <a:pt x="0" y="0"/>
                  </a:lnTo>
                  <a:lnTo>
                    <a:pt x="2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7" name="Freeform 865">
              <a:extLst>
                <a:ext uri="{FF2B5EF4-FFF2-40B4-BE49-F238E27FC236}">
                  <a16:creationId xmlns:a16="http://schemas.microsoft.com/office/drawing/2014/main" id="{8C1636E0-0270-4A23-96D5-3E72742C96DD}"/>
                </a:ext>
              </a:extLst>
            </p:cNvPr>
            <p:cNvSpPr>
              <a:spLocks noChangeArrowheads="1"/>
            </p:cNvSpPr>
            <p:nvPr/>
          </p:nvSpPr>
          <p:spPr bwMode="auto">
            <a:xfrm>
              <a:off x="10024872" y="4409982"/>
              <a:ext cx="22832" cy="32366"/>
            </a:xfrm>
            <a:custGeom>
              <a:avLst/>
              <a:gdLst>
                <a:gd name="T0" fmla="*/ 59 w 60"/>
                <a:gd name="T1" fmla="*/ 58 h 88"/>
                <a:gd name="T2" fmla="*/ 59 w 60"/>
                <a:gd name="T3" fmla="*/ 58 h 88"/>
                <a:gd name="T4" fmla="*/ 59 w 60"/>
                <a:gd name="T5" fmla="*/ 58 h 88"/>
                <a:gd name="T6" fmla="*/ 0 w 60"/>
                <a:gd name="T7" fmla="*/ 87 h 88"/>
                <a:gd name="T8" fmla="*/ 0 w 60"/>
                <a:gd name="T9" fmla="*/ 0 h 88"/>
                <a:gd name="T10" fmla="*/ 0 w 60"/>
                <a:gd name="T11" fmla="*/ 87 h 88"/>
                <a:gd name="T12" fmla="*/ 59 w 60"/>
                <a:gd name="T13" fmla="*/ 58 h 88"/>
              </a:gdLst>
              <a:ahLst/>
              <a:cxnLst>
                <a:cxn ang="0">
                  <a:pos x="T0" y="T1"/>
                </a:cxn>
                <a:cxn ang="0">
                  <a:pos x="T2" y="T3"/>
                </a:cxn>
                <a:cxn ang="0">
                  <a:pos x="T4" y="T5"/>
                </a:cxn>
                <a:cxn ang="0">
                  <a:pos x="T6" y="T7"/>
                </a:cxn>
                <a:cxn ang="0">
                  <a:pos x="T8" y="T9"/>
                </a:cxn>
                <a:cxn ang="0">
                  <a:pos x="T10" y="T11"/>
                </a:cxn>
                <a:cxn ang="0">
                  <a:pos x="T12" y="T13"/>
                </a:cxn>
              </a:cxnLst>
              <a:rect l="0" t="0" r="r" b="b"/>
              <a:pathLst>
                <a:path w="60" h="88">
                  <a:moveTo>
                    <a:pt x="59" y="58"/>
                  </a:moveTo>
                  <a:lnTo>
                    <a:pt x="59" y="58"/>
                  </a:lnTo>
                  <a:lnTo>
                    <a:pt x="59" y="58"/>
                  </a:lnTo>
                  <a:cubicBezTo>
                    <a:pt x="59" y="58"/>
                    <a:pt x="29" y="58"/>
                    <a:pt x="0" y="87"/>
                  </a:cubicBezTo>
                  <a:cubicBezTo>
                    <a:pt x="0" y="58"/>
                    <a:pt x="0" y="29"/>
                    <a:pt x="0" y="0"/>
                  </a:cubicBezTo>
                  <a:cubicBezTo>
                    <a:pt x="0" y="29"/>
                    <a:pt x="0" y="58"/>
                    <a:pt x="0" y="87"/>
                  </a:cubicBezTo>
                  <a:cubicBezTo>
                    <a:pt x="29" y="58"/>
                    <a:pt x="59" y="58"/>
                    <a:pt x="59"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8" name="Freeform 866">
              <a:extLst>
                <a:ext uri="{FF2B5EF4-FFF2-40B4-BE49-F238E27FC236}">
                  <a16:creationId xmlns:a16="http://schemas.microsoft.com/office/drawing/2014/main" id="{4C9C7CD7-C477-4D84-9B9E-85C88A5AD339}"/>
                </a:ext>
              </a:extLst>
            </p:cNvPr>
            <p:cNvSpPr>
              <a:spLocks noChangeArrowheads="1"/>
            </p:cNvSpPr>
            <p:nvPr/>
          </p:nvSpPr>
          <p:spPr bwMode="auto">
            <a:xfrm>
              <a:off x="10090106" y="4377616"/>
              <a:ext cx="11416" cy="1618"/>
            </a:xfrm>
            <a:custGeom>
              <a:avLst/>
              <a:gdLst>
                <a:gd name="T0" fmla="*/ 29 w 30"/>
                <a:gd name="T1" fmla="*/ 0 h 1"/>
                <a:gd name="T2" fmla="*/ 29 w 30"/>
                <a:gd name="T3" fmla="*/ 0 h 1"/>
                <a:gd name="T4" fmla="*/ 0 w 30"/>
                <a:gd name="T5" fmla="*/ 0 h 1"/>
                <a:gd name="T6" fmla="*/ 0 w 30"/>
                <a:gd name="T7" fmla="*/ 0 h 1"/>
                <a:gd name="T8" fmla="*/ 0 w 30"/>
                <a:gd name="T9" fmla="*/ 0 h 1"/>
                <a:gd name="T10" fmla="*/ 29 w 30"/>
                <a:gd name="T11" fmla="*/ 0 h 1"/>
              </a:gdLst>
              <a:ahLst/>
              <a:cxnLst>
                <a:cxn ang="0">
                  <a:pos x="T0" y="T1"/>
                </a:cxn>
                <a:cxn ang="0">
                  <a:pos x="T2" y="T3"/>
                </a:cxn>
                <a:cxn ang="0">
                  <a:pos x="T4" y="T5"/>
                </a:cxn>
                <a:cxn ang="0">
                  <a:pos x="T6" y="T7"/>
                </a:cxn>
                <a:cxn ang="0">
                  <a:pos x="T8" y="T9"/>
                </a:cxn>
                <a:cxn ang="0">
                  <a:pos x="T10" y="T11"/>
                </a:cxn>
              </a:cxnLst>
              <a:rect l="0" t="0" r="r" b="b"/>
              <a:pathLst>
                <a:path w="30" h="1">
                  <a:moveTo>
                    <a:pt x="29" y="0"/>
                  </a:moveTo>
                  <a:lnTo>
                    <a:pt x="29" y="0"/>
                  </a:lnTo>
                  <a:cubicBezTo>
                    <a:pt x="0" y="0"/>
                    <a:pt x="0" y="0"/>
                    <a:pt x="0" y="0"/>
                  </a:cubicBezTo>
                  <a:lnTo>
                    <a:pt x="0" y="0"/>
                  </a:lnTo>
                  <a:lnTo>
                    <a:pt x="0" y="0"/>
                  </a:lnTo>
                  <a:cubicBezTo>
                    <a:pt x="0" y="0"/>
                    <a:pt x="0" y="0"/>
                    <a:pt x="2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89" name="Freeform 867">
              <a:extLst>
                <a:ext uri="{FF2B5EF4-FFF2-40B4-BE49-F238E27FC236}">
                  <a16:creationId xmlns:a16="http://schemas.microsoft.com/office/drawing/2014/main" id="{74F442E5-75E9-4718-8AFE-E8D169A12350}"/>
                </a:ext>
              </a:extLst>
            </p:cNvPr>
            <p:cNvSpPr>
              <a:spLocks noChangeArrowheads="1"/>
            </p:cNvSpPr>
            <p:nvPr/>
          </p:nvSpPr>
          <p:spPr bwMode="auto">
            <a:xfrm>
              <a:off x="10132508" y="4409982"/>
              <a:ext cx="11416" cy="1618"/>
            </a:xfrm>
            <a:custGeom>
              <a:avLst/>
              <a:gdLst>
                <a:gd name="T0" fmla="*/ 0 w 30"/>
                <a:gd name="T1" fmla="*/ 0 h 1"/>
                <a:gd name="T2" fmla="*/ 0 w 30"/>
                <a:gd name="T3" fmla="*/ 0 h 1"/>
                <a:gd name="T4" fmla="*/ 29 w 30"/>
                <a:gd name="T5" fmla="*/ 0 h 1"/>
                <a:gd name="T6" fmla="*/ 29 w 30"/>
                <a:gd name="T7" fmla="*/ 0 h 1"/>
                <a:gd name="T8" fmla="*/ 0 w 30"/>
                <a:gd name="T9" fmla="*/ 0 h 1"/>
              </a:gdLst>
              <a:ahLst/>
              <a:cxnLst>
                <a:cxn ang="0">
                  <a:pos x="T0" y="T1"/>
                </a:cxn>
                <a:cxn ang="0">
                  <a:pos x="T2" y="T3"/>
                </a:cxn>
                <a:cxn ang="0">
                  <a:pos x="T4" y="T5"/>
                </a:cxn>
                <a:cxn ang="0">
                  <a:pos x="T6" y="T7"/>
                </a:cxn>
                <a:cxn ang="0">
                  <a:pos x="T8" y="T9"/>
                </a:cxn>
              </a:cxnLst>
              <a:rect l="0" t="0" r="r" b="b"/>
              <a:pathLst>
                <a:path w="30" h="1">
                  <a:moveTo>
                    <a:pt x="0" y="0"/>
                  </a:moveTo>
                  <a:lnTo>
                    <a:pt x="0" y="0"/>
                  </a:lnTo>
                  <a:cubicBezTo>
                    <a:pt x="29" y="0"/>
                    <a:pt x="29" y="0"/>
                    <a:pt x="29" y="0"/>
                  </a:cubicBezTo>
                  <a:lnTo>
                    <a:pt x="29" y="0"/>
                  </a:ln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0" name="Freeform 868">
              <a:extLst>
                <a:ext uri="{FF2B5EF4-FFF2-40B4-BE49-F238E27FC236}">
                  <a16:creationId xmlns:a16="http://schemas.microsoft.com/office/drawing/2014/main" id="{D5C7580D-D02F-40F8-AE0E-02A19A145AE8}"/>
                </a:ext>
              </a:extLst>
            </p:cNvPr>
            <p:cNvSpPr>
              <a:spLocks noChangeArrowheads="1"/>
            </p:cNvSpPr>
            <p:nvPr/>
          </p:nvSpPr>
          <p:spPr bwMode="auto">
            <a:xfrm>
              <a:off x="10099891" y="4431020"/>
              <a:ext cx="11416" cy="11329"/>
            </a:xfrm>
            <a:custGeom>
              <a:avLst/>
              <a:gdLst>
                <a:gd name="T0" fmla="*/ 0 w 30"/>
                <a:gd name="T1" fmla="*/ 0 h 30"/>
                <a:gd name="T2" fmla="*/ 0 w 30"/>
                <a:gd name="T3" fmla="*/ 0 h 30"/>
                <a:gd name="T4" fmla="*/ 0 w 30"/>
                <a:gd name="T5" fmla="*/ 29 h 30"/>
                <a:gd name="T6" fmla="*/ 29 w 30"/>
                <a:gd name="T7" fmla="*/ 29 h 30"/>
                <a:gd name="T8" fmla="*/ 29 w 30"/>
                <a:gd name="T9" fmla="*/ 29 h 30"/>
                <a:gd name="T10" fmla="*/ 0 w 30"/>
                <a:gd name="T11" fmla="*/ 29 h 30"/>
                <a:gd name="T12" fmla="*/ 0 w 3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0" y="0"/>
                  </a:moveTo>
                  <a:lnTo>
                    <a:pt x="0" y="0"/>
                  </a:lnTo>
                  <a:cubicBezTo>
                    <a:pt x="0" y="0"/>
                    <a:pt x="0" y="0"/>
                    <a:pt x="0" y="29"/>
                  </a:cubicBezTo>
                  <a:cubicBezTo>
                    <a:pt x="29" y="29"/>
                    <a:pt x="29" y="29"/>
                    <a:pt x="29" y="29"/>
                  </a:cubicBezTo>
                  <a:lnTo>
                    <a:pt x="29" y="29"/>
                  </a:lnTo>
                  <a:cubicBezTo>
                    <a:pt x="0" y="29"/>
                    <a:pt x="0" y="29"/>
                    <a:pt x="0" y="29"/>
                  </a:cubicBezTo>
                  <a:cubicBezTo>
                    <a:pt x="0" y="0"/>
                    <a:pt x="0" y="0"/>
                    <a:pt x="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1" name="Freeform 869">
              <a:extLst>
                <a:ext uri="{FF2B5EF4-FFF2-40B4-BE49-F238E27FC236}">
                  <a16:creationId xmlns:a16="http://schemas.microsoft.com/office/drawing/2014/main" id="{F79EC8F8-C1F7-455E-A5A8-57B9B145C901}"/>
                </a:ext>
              </a:extLst>
            </p:cNvPr>
            <p:cNvSpPr>
              <a:spLocks noChangeArrowheads="1"/>
            </p:cNvSpPr>
            <p:nvPr/>
          </p:nvSpPr>
          <p:spPr bwMode="auto">
            <a:xfrm>
              <a:off x="10316794" y="5469981"/>
              <a:ext cx="1630" cy="1619"/>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2" name="Freeform 870">
              <a:extLst>
                <a:ext uri="{FF2B5EF4-FFF2-40B4-BE49-F238E27FC236}">
                  <a16:creationId xmlns:a16="http://schemas.microsoft.com/office/drawing/2014/main" id="{CEC844A3-482E-4ED6-97C3-34397C090925}"/>
                </a:ext>
              </a:extLst>
            </p:cNvPr>
            <p:cNvSpPr>
              <a:spLocks noChangeArrowheads="1"/>
            </p:cNvSpPr>
            <p:nvPr/>
          </p:nvSpPr>
          <p:spPr bwMode="auto">
            <a:xfrm>
              <a:off x="10024872" y="4388943"/>
              <a:ext cx="1631" cy="22656"/>
            </a:xfrm>
            <a:custGeom>
              <a:avLst/>
              <a:gdLst>
                <a:gd name="T0" fmla="*/ 0 w 1"/>
                <a:gd name="T1" fmla="*/ 59 h 60"/>
                <a:gd name="T2" fmla="*/ 0 w 1"/>
                <a:gd name="T3" fmla="*/ 59 h 60"/>
                <a:gd name="T4" fmla="*/ 0 w 1"/>
                <a:gd name="T5" fmla="*/ 0 h 60"/>
                <a:gd name="T6" fmla="*/ 0 w 1"/>
                <a:gd name="T7" fmla="*/ 0 h 60"/>
                <a:gd name="T8" fmla="*/ 0 w 1"/>
                <a:gd name="T9" fmla="*/ 59 h 60"/>
              </a:gdLst>
              <a:ahLst/>
              <a:cxnLst>
                <a:cxn ang="0">
                  <a:pos x="T0" y="T1"/>
                </a:cxn>
                <a:cxn ang="0">
                  <a:pos x="T2" y="T3"/>
                </a:cxn>
                <a:cxn ang="0">
                  <a:pos x="T4" y="T5"/>
                </a:cxn>
                <a:cxn ang="0">
                  <a:pos x="T6" y="T7"/>
                </a:cxn>
                <a:cxn ang="0">
                  <a:pos x="T8" y="T9"/>
                </a:cxn>
              </a:cxnLst>
              <a:rect l="0" t="0" r="r" b="b"/>
              <a:pathLst>
                <a:path w="1" h="60">
                  <a:moveTo>
                    <a:pt x="0" y="59"/>
                  </a:moveTo>
                  <a:lnTo>
                    <a:pt x="0" y="59"/>
                  </a:lnTo>
                  <a:cubicBezTo>
                    <a:pt x="0" y="30"/>
                    <a:pt x="0" y="30"/>
                    <a:pt x="0" y="0"/>
                  </a:cubicBezTo>
                  <a:lnTo>
                    <a:pt x="0" y="0"/>
                  </a:lnTo>
                  <a:cubicBezTo>
                    <a:pt x="0" y="30"/>
                    <a:pt x="0" y="30"/>
                    <a:pt x="0" y="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3" name="Freeform 871">
              <a:extLst>
                <a:ext uri="{FF2B5EF4-FFF2-40B4-BE49-F238E27FC236}">
                  <a16:creationId xmlns:a16="http://schemas.microsoft.com/office/drawing/2014/main" id="{67264412-16D3-4B06-81FF-1A8959A01DD2}"/>
                </a:ext>
              </a:extLst>
            </p:cNvPr>
            <p:cNvSpPr>
              <a:spLocks noChangeArrowheads="1"/>
            </p:cNvSpPr>
            <p:nvPr/>
          </p:nvSpPr>
          <p:spPr bwMode="auto">
            <a:xfrm>
              <a:off x="10121093" y="4367906"/>
              <a:ext cx="11415" cy="11328"/>
            </a:xfrm>
            <a:custGeom>
              <a:avLst/>
              <a:gdLst>
                <a:gd name="T0" fmla="*/ 0 w 31"/>
                <a:gd name="T1" fmla="*/ 29 h 30"/>
                <a:gd name="T2" fmla="*/ 0 w 31"/>
                <a:gd name="T3" fmla="*/ 29 h 30"/>
                <a:gd name="T4" fmla="*/ 0 w 31"/>
                <a:gd name="T5" fmla="*/ 29 h 30"/>
                <a:gd name="T6" fmla="*/ 0 w 31"/>
                <a:gd name="T7" fmla="*/ 29 h 30"/>
                <a:gd name="T8" fmla="*/ 30 w 31"/>
                <a:gd name="T9" fmla="*/ 29 h 30"/>
                <a:gd name="T10" fmla="*/ 30 w 31"/>
                <a:gd name="T11" fmla="*/ 0 h 30"/>
                <a:gd name="T12" fmla="*/ 30 w 31"/>
                <a:gd name="T13" fmla="*/ 29 h 30"/>
                <a:gd name="T14" fmla="*/ 0 w 31"/>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0">
                  <a:moveTo>
                    <a:pt x="0" y="29"/>
                  </a:moveTo>
                  <a:lnTo>
                    <a:pt x="0" y="29"/>
                  </a:lnTo>
                  <a:lnTo>
                    <a:pt x="0" y="29"/>
                  </a:lnTo>
                  <a:lnTo>
                    <a:pt x="0" y="29"/>
                  </a:lnTo>
                  <a:cubicBezTo>
                    <a:pt x="30" y="29"/>
                    <a:pt x="30" y="29"/>
                    <a:pt x="30" y="29"/>
                  </a:cubicBezTo>
                  <a:cubicBezTo>
                    <a:pt x="30" y="0"/>
                    <a:pt x="30" y="0"/>
                    <a:pt x="30" y="0"/>
                  </a:cubicBezTo>
                  <a:cubicBezTo>
                    <a:pt x="30" y="0"/>
                    <a:pt x="30" y="0"/>
                    <a:pt x="30" y="29"/>
                  </a:cubicBez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4" name="Freeform 872">
              <a:extLst>
                <a:ext uri="{FF2B5EF4-FFF2-40B4-BE49-F238E27FC236}">
                  <a16:creationId xmlns:a16="http://schemas.microsoft.com/office/drawing/2014/main" id="{6B92215E-D657-4AAA-B47E-A56DD0DBFC29}"/>
                </a:ext>
              </a:extLst>
            </p:cNvPr>
            <p:cNvSpPr>
              <a:spLocks noChangeArrowheads="1"/>
            </p:cNvSpPr>
            <p:nvPr/>
          </p:nvSpPr>
          <p:spPr bwMode="auto">
            <a:xfrm>
              <a:off x="10284177" y="5576790"/>
              <a:ext cx="32617" cy="74443"/>
            </a:xfrm>
            <a:custGeom>
              <a:avLst/>
              <a:gdLst>
                <a:gd name="T0" fmla="*/ 88 w 89"/>
                <a:gd name="T1" fmla="*/ 0 h 205"/>
                <a:gd name="T2" fmla="*/ 88 w 89"/>
                <a:gd name="T3" fmla="*/ 0 h 205"/>
                <a:gd name="T4" fmla="*/ 0 w 89"/>
                <a:gd name="T5" fmla="*/ 204 h 205"/>
                <a:gd name="T6" fmla="*/ 88 w 89"/>
                <a:gd name="T7" fmla="*/ 0 h 205"/>
              </a:gdLst>
              <a:ahLst/>
              <a:cxnLst>
                <a:cxn ang="0">
                  <a:pos x="T0" y="T1"/>
                </a:cxn>
                <a:cxn ang="0">
                  <a:pos x="T2" y="T3"/>
                </a:cxn>
                <a:cxn ang="0">
                  <a:pos x="T4" y="T5"/>
                </a:cxn>
                <a:cxn ang="0">
                  <a:pos x="T6" y="T7"/>
                </a:cxn>
              </a:cxnLst>
              <a:rect l="0" t="0" r="r" b="b"/>
              <a:pathLst>
                <a:path w="89" h="205">
                  <a:moveTo>
                    <a:pt x="88" y="0"/>
                  </a:moveTo>
                  <a:lnTo>
                    <a:pt x="88" y="0"/>
                  </a:lnTo>
                  <a:cubicBezTo>
                    <a:pt x="29" y="28"/>
                    <a:pt x="0" y="116"/>
                    <a:pt x="0" y="204"/>
                  </a:cubicBezTo>
                  <a:cubicBezTo>
                    <a:pt x="0" y="116"/>
                    <a:pt x="29" y="28"/>
                    <a:pt x="8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5" name="Freeform 873">
              <a:extLst>
                <a:ext uri="{FF2B5EF4-FFF2-40B4-BE49-F238E27FC236}">
                  <a16:creationId xmlns:a16="http://schemas.microsoft.com/office/drawing/2014/main" id="{E1CE347A-33C3-44C2-BBFF-20D76518E34E}"/>
                </a:ext>
              </a:extLst>
            </p:cNvPr>
            <p:cNvSpPr>
              <a:spLocks noChangeArrowheads="1"/>
            </p:cNvSpPr>
            <p:nvPr/>
          </p:nvSpPr>
          <p:spPr bwMode="auto">
            <a:xfrm>
              <a:off x="10036289" y="4421310"/>
              <a:ext cx="11415" cy="1619"/>
            </a:xfrm>
            <a:custGeom>
              <a:avLst/>
              <a:gdLst>
                <a:gd name="T0" fmla="*/ 30 w 31"/>
                <a:gd name="T1" fmla="*/ 0 h 1"/>
                <a:gd name="T2" fmla="*/ 30 w 31"/>
                <a:gd name="T3" fmla="*/ 0 h 1"/>
                <a:gd name="T4" fmla="*/ 0 w 31"/>
                <a:gd name="T5" fmla="*/ 0 h 1"/>
                <a:gd name="T6" fmla="*/ 30 w 31"/>
                <a:gd name="T7" fmla="*/ 0 h 1"/>
              </a:gdLst>
              <a:ahLst/>
              <a:cxnLst>
                <a:cxn ang="0">
                  <a:pos x="T0" y="T1"/>
                </a:cxn>
                <a:cxn ang="0">
                  <a:pos x="T2" y="T3"/>
                </a:cxn>
                <a:cxn ang="0">
                  <a:pos x="T4" y="T5"/>
                </a:cxn>
                <a:cxn ang="0">
                  <a:pos x="T6" y="T7"/>
                </a:cxn>
              </a:cxnLst>
              <a:rect l="0" t="0" r="r" b="b"/>
              <a:pathLst>
                <a:path w="31" h="1">
                  <a:moveTo>
                    <a:pt x="30" y="0"/>
                  </a:moveTo>
                  <a:lnTo>
                    <a:pt x="30" y="0"/>
                  </a:lnTo>
                  <a:cubicBezTo>
                    <a:pt x="0" y="0"/>
                    <a:pt x="0" y="0"/>
                    <a:pt x="0" y="0"/>
                  </a:cubicBezTo>
                  <a:cubicBezTo>
                    <a:pt x="0" y="0"/>
                    <a:pt x="0" y="0"/>
                    <a:pt x="3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996" name="Group 995">
            <a:extLst>
              <a:ext uri="{FF2B5EF4-FFF2-40B4-BE49-F238E27FC236}">
                <a16:creationId xmlns:a16="http://schemas.microsoft.com/office/drawing/2014/main" id="{588DF327-E60C-484F-9604-1D02AE45050B}"/>
              </a:ext>
            </a:extLst>
          </p:cNvPr>
          <p:cNvGrpSpPr/>
          <p:nvPr/>
        </p:nvGrpSpPr>
        <p:grpSpPr>
          <a:xfrm>
            <a:off x="153594" y="2136269"/>
            <a:ext cx="2772437" cy="1563297"/>
            <a:chOff x="4276143" y="-1380367"/>
            <a:chExt cx="2772437" cy="1563297"/>
          </a:xfrm>
          <a:solidFill>
            <a:schemeClr val="tx2">
              <a:lumMod val="40000"/>
              <a:lumOff val="60000"/>
            </a:schemeClr>
          </a:solidFill>
        </p:grpSpPr>
        <p:sp>
          <p:nvSpPr>
            <p:cNvPr id="997" name="Freeform 874">
              <a:extLst>
                <a:ext uri="{FF2B5EF4-FFF2-40B4-BE49-F238E27FC236}">
                  <a16:creationId xmlns:a16="http://schemas.microsoft.com/office/drawing/2014/main" id="{E3995CA7-BC32-460E-9C74-FB5AE616E265}"/>
                </a:ext>
              </a:extLst>
            </p:cNvPr>
            <p:cNvSpPr>
              <a:spLocks noChangeArrowheads="1"/>
            </p:cNvSpPr>
            <p:nvPr/>
          </p:nvSpPr>
          <p:spPr bwMode="auto">
            <a:xfrm>
              <a:off x="5765104" y="-88839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8" name="Freeform 875">
              <a:extLst>
                <a:ext uri="{FF2B5EF4-FFF2-40B4-BE49-F238E27FC236}">
                  <a16:creationId xmlns:a16="http://schemas.microsoft.com/office/drawing/2014/main" id="{9B917917-E355-4AA5-A269-1343085BD9C2}"/>
                </a:ext>
              </a:extLst>
            </p:cNvPr>
            <p:cNvSpPr>
              <a:spLocks noChangeArrowheads="1"/>
            </p:cNvSpPr>
            <p:nvPr/>
          </p:nvSpPr>
          <p:spPr bwMode="auto">
            <a:xfrm>
              <a:off x="5765104" y="-888398"/>
              <a:ext cx="1631" cy="161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99" name="Freeform 876">
              <a:extLst>
                <a:ext uri="{FF2B5EF4-FFF2-40B4-BE49-F238E27FC236}">
                  <a16:creationId xmlns:a16="http://schemas.microsoft.com/office/drawing/2014/main" id="{F4A49F59-CF66-49B5-A3D7-AEC225C601C7}"/>
                </a:ext>
              </a:extLst>
            </p:cNvPr>
            <p:cNvSpPr>
              <a:spLocks noChangeArrowheads="1"/>
            </p:cNvSpPr>
            <p:nvPr/>
          </p:nvSpPr>
          <p:spPr bwMode="auto">
            <a:xfrm>
              <a:off x="5386748" y="-1380367"/>
              <a:ext cx="1661832" cy="1519602"/>
            </a:xfrm>
            <a:custGeom>
              <a:avLst/>
              <a:gdLst>
                <a:gd name="T0" fmla="*/ 232 w 4492"/>
                <a:gd name="T1" fmla="*/ 2245 h 4142"/>
                <a:gd name="T2" fmla="*/ 262 w 4492"/>
                <a:gd name="T3" fmla="*/ 2391 h 4142"/>
                <a:gd name="T4" fmla="*/ 350 w 4492"/>
                <a:gd name="T5" fmla="*/ 2712 h 4142"/>
                <a:gd name="T6" fmla="*/ 495 w 4492"/>
                <a:gd name="T7" fmla="*/ 2712 h 4142"/>
                <a:gd name="T8" fmla="*/ 700 w 4492"/>
                <a:gd name="T9" fmla="*/ 2828 h 4142"/>
                <a:gd name="T10" fmla="*/ 991 w 4492"/>
                <a:gd name="T11" fmla="*/ 2857 h 4142"/>
                <a:gd name="T12" fmla="*/ 553 w 4492"/>
                <a:gd name="T13" fmla="*/ 3295 h 4142"/>
                <a:gd name="T14" fmla="*/ 203 w 4492"/>
                <a:gd name="T15" fmla="*/ 3383 h 4142"/>
                <a:gd name="T16" fmla="*/ 145 w 4492"/>
                <a:gd name="T17" fmla="*/ 3499 h 4142"/>
                <a:gd name="T18" fmla="*/ 436 w 4492"/>
                <a:gd name="T19" fmla="*/ 3557 h 4142"/>
                <a:gd name="T20" fmla="*/ 670 w 4492"/>
                <a:gd name="T21" fmla="*/ 3383 h 4142"/>
                <a:gd name="T22" fmla="*/ 786 w 4492"/>
                <a:gd name="T23" fmla="*/ 3353 h 4142"/>
                <a:gd name="T24" fmla="*/ 1050 w 4492"/>
                <a:gd name="T25" fmla="*/ 3295 h 4142"/>
                <a:gd name="T26" fmla="*/ 1107 w 4492"/>
                <a:gd name="T27" fmla="*/ 3178 h 4142"/>
                <a:gd name="T28" fmla="*/ 1253 w 4492"/>
                <a:gd name="T29" fmla="*/ 3120 h 4142"/>
                <a:gd name="T30" fmla="*/ 1486 w 4492"/>
                <a:gd name="T31" fmla="*/ 3003 h 4142"/>
                <a:gd name="T32" fmla="*/ 1428 w 4492"/>
                <a:gd name="T33" fmla="*/ 2770 h 4142"/>
                <a:gd name="T34" fmla="*/ 1924 w 4492"/>
                <a:gd name="T35" fmla="*/ 2478 h 4142"/>
                <a:gd name="T36" fmla="*/ 2012 w 4492"/>
                <a:gd name="T37" fmla="*/ 2566 h 4142"/>
                <a:gd name="T38" fmla="*/ 1836 w 4492"/>
                <a:gd name="T39" fmla="*/ 2595 h 4142"/>
                <a:gd name="T40" fmla="*/ 1691 w 4492"/>
                <a:gd name="T41" fmla="*/ 2857 h 4142"/>
                <a:gd name="T42" fmla="*/ 1662 w 4492"/>
                <a:gd name="T43" fmla="*/ 2974 h 4142"/>
                <a:gd name="T44" fmla="*/ 1750 w 4492"/>
                <a:gd name="T45" fmla="*/ 3003 h 4142"/>
                <a:gd name="T46" fmla="*/ 1953 w 4492"/>
                <a:gd name="T47" fmla="*/ 2886 h 4142"/>
                <a:gd name="T48" fmla="*/ 2186 w 4492"/>
                <a:gd name="T49" fmla="*/ 2828 h 4142"/>
                <a:gd name="T50" fmla="*/ 2216 w 4492"/>
                <a:gd name="T51" fmla="*/ 2624 h 4142"/>
                <a:gd name="T52" fmla="*/ 2420 w 4492"/>
                <a:gd name="T53" fmla="*/ 2595 h 4142"/>
                <a:gd name="T54" fmla="*/ 2420 w 4492"/>
                <a:gd name="T55" fmla="*/ 2741 h 4142"/>
                <a:gd name="T56" fmla="*/ 2799 w 4492"/>
                <a:gd name="T57" fmla="*/ 2916 h 4142"/>
                <a:gd name="T58" fmla="*/ 3295 w 4492"/>
                <a:gd name="T59" fmla="*/ 3178 h 4142"/>
                <a:gd name="T60" fmla="*/ 3616 w 4492"/>
                <a:gd name="T61" fmla="*/ 3383 h 4142"/>
                <a:gd name="T62" fmla="*/ 3966 w 4492"/>
                <a:gd name="T63" fmla="*/ 3645 h 4142"/>
                <a:gd name="T64" fmla="*/ 4286 w 4492"/>
                <a:gd name="T65" fmla="*/ 3907 h 4142"/>
                <a:gd name="T66" fmla="*/ 4316 w 4492"/>
                <a:gd name="T67" fmla="*/ 3819 h 4142"/>
                <a:gd name="T68" fmla="*/ 3878 w 4492"/>
                <a:gd name="T69" fmla="*/ 3236 h 4142"/>
                <a:gd name="T70" fmla="*/ 3324 w 4492"/>
                <a:gd name="T71" fmla="*/ 2916 h 4142"/>
                <a:gd name="T72" fmla="*/ 3033 w 4492"/>
                <a:gd name="T73" fmla="*/ 553 h 4142"/>
                <a:gd name="T74" fmla="*/ 2624 w 4492"/>
                <a:gd name="T75" fmla="*/ 436 h 4142"/>
                <a:gd name="T76" fmla="*/ 2303 w 4492"/>
                <a:gd name="T77" fmla="*/ 233 h 4142"/>
                <a:gd name="T78" fmla="*/ 2012 w 4492"/>
                <a:gd name="T79" fmla="*/ 0 h 4142"/>
                <a:gd name="T80" fmla="*/ 1633 w 4492"/>
                <a:gd name="T81" fmla="*/ 86 h 4142"/>
                <a:gd name="T82" fmla="*/ 1136 w 4492"/>
                <a:gd name="T83" fmla="*/ 320 h 4142"/>
                <a:gd name="T84" fmla="*/ 903 w 4492"/>
                <a:gd name="T85" fmla="*/ 436 h 4142"/>
                <a:gd name="T86" fmla="*/ 1195 w 4492"/>
                <a:gd name="T87" fmla="*/ 874 h 4142"/>
                <a:gd name="T88" fmla="*/ 1050 w 4492"/>
                <a:gd name="T89" fmla="*/ 1020 h 4142"/>
                <a:gd name="T90" fmla="*/ 466 w 4492"/>
                <a:gd name="T91" fmla="*/ 845 h 4142"/>
                <a:gd name="T92" fmla="*/ 729 w 4492"/>
                <a:gd name="T93" fmla="*/ 1341 h 4142"/>
                <a:gd name="T94" fmla="*/ 874 w 4492"/>
                <a:gd name="T95" fmla="*/ 1399 h 4142"/>
                <a:gd name="T96" fmla="*/ 933 w 4492"/>
                <a:gd name="T97" fmla="*/ 1457 h 4142"/>
                <a:gd name="T98" fmla="*/ 816 w 4492"/>
                <a:gd name="T99" fmla="*/ 1662 h 4142"/>
                <a:gd name="T100" fmla="*/ 583 w 4492"/>
                <a:gd name="T101" fmla="*/ 1836 h 4142"/>
                <a:gd name="T102" fmla="*/ 350 w 4492"/>
                <a:gd name="T103" fmla="*/ 1778 h 4142"/>
                <a:gd name="T104" fmla="*/ 203 w 4492"/>
                <a:gd name="T105" fmla="*/ 1836 h 4142"/>
                <a:gd name="T106" fmla="*/ 232 w 4492"/>
                <a:gd name="T107" fmla="*/ 2041 h 4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92" h="4142">
                  <a:moveTo>
                    <a:pt x="232" y="2157"/>
                  </a:moveTo>
                  <a:lnTo>
                    <a:pt x="232" y="2157"/>
                  </a:lnTo>
                  <a:cubicBezTo>
                    <a:pt x="232" y="2128"/>
                    <a:pt x="203" y="2128"/>
                    <a:pt x="174" y="2128"/>
                  </a:cubicBezTo>
                  <a:cubicBezTo>
                    <a:pt x="116" y="2157"/>
                    <a:pt x="174" y="2245"/>
                    <a:pt x="232" y="2245"/>
                  </a:cubicBezTo>
                  <a:cubicBezTo>
                    <a:pt x="232" y="2245"/>
                    <a:pt x="232" y="2216"/>
                    <a:pt x="262" y="2216"/>
                  </a:cubicBezTo>
                  <a:cubicBezTo>
                    <a:pt x="291" y="2216"/>
                    <a:pt x="320" y="2245"/>
                    <a:pt x="320" y="2274"/>
                  </a:cubicBezTo>
                  <a:cubicBezTo>
                    <a:pt x="320" y="2303"/>
                    <a:pt x="262" y="2274"/>
                    <a:pt x="262" y="2303"/>
                  </a:cubicBezTo>
                  <a:cubicBezTo>
                    <a:pt x="262" y="2333"/>
                    <a:pt x="262" y="2362"/>
                    <a:pt x="262" y="2391"/>
                  </a:cubicBezTo>
                  <a:cubicBezTo>
                    <a:pt x="291" y="2391"/>
                    <a:pt x="320" y="2449"/>
                    <a:pt x="350" y="2449"/>
                  </a:cubicBezTo>
                  <a:cubicBezTo>
                    <a:pt x="407" y="2478"/>
                    <a:pt x="436" y="2420"/>
                    <a:pt x="495" y="2420"/>
                  </a:cubicBezTo>
                  <a:cubicBezTo>
                    <a:pt x="466" y="2478"/>
                    <a:pt x="407" y="2536"/>
                    <a:pt x="436" y="2624"/>
                  </a:cubicBezTo>
                  <a:cubicBezTo>
                    <a:pt x="379" y="2653"/>
                    <a:pt x="407" y="2712"/>
                    <a:pt x="350" y="2712"/>
                  </a:cubicBezTo>
                  <a:lnTo>
                    <a:pt x="291" y="2712"/>
                  </a:lnTo>
                  <a:cubicBezTo>
                    <a:pt x="291" y="2741"/>
                    <a:pt x="291" y="2741"/>
                    <a:pt x="291" y="2741"/>
                  </a:cubicBezTo>
                  <a:cubicBezTo>
                    <a:pt x="350" y="2770"/>
                    <a:pt x="436" y="2770"/>
                    <a:pt x="495" y="2770"/>
                  </a:cubicBezTo>
                  <a:cubicBezTo>
                    <a:pt x="466" y="2741"/>
                    <a:pt x="466" y="2741"/>
                    <a:pt x="495" y="2712"/>
                  </a:cubicBezTo>
                  <a:cubicBezTo>
                    <a:pt x="524" y="2712"/>
                    <a:pt x="524" y="2712"/>
                    <a:pt x="524" y="2712"/>
                  </a:cubicBezTo>
                  <a:cubicBezTo>
                    <a:pt x="553" y="2712"/>
                    <a:pt x="553" y="2683"/>
                    <a:pt x="583" y="2683"/>
                  </a:cubicBezTo>
                  <a:cubicBezTo>
                    <a:pt x="583" y="2712"/>
                    <a:pt x="583" y="2741"/>
                    <a:pt x="583" y="2741"/>
                  </a:cubicBezTo>
                  <a:cubicBezTo>
                    <a:pt x="612" y="2770"/>
                    <a:pt x="670" y="2770"/>
                    <a:pt x="700" y="2828"/>
                  </a:cubicBezTo>
                  <a:cubicBezTo>
                    <a:pt x="729" y="2857"/>
                    <a:pt x="700" y="2916"/>
                    <a:pt x="729" y="2974"/>
                  </a:cubicBezTo>
                  <a:cubicBezTo>
                    <a:pt x="816" y="3003"/>
                    <a:pt x="757" y="2886"/>
                    <a:pt x="786" y="2857"/>
                  </a:cubicBezTo>
                  <a:cubicBezTo>
                    <a:pt x="816" y="2886"/>
                    <a:pt x="786" y="2916"/>
                    <a:pt x="816" y="2945"/>
                  </a:cubicBezTo>
                  <a:cubicBezTo>
                    <a:pt x="903" y="2945"/>
                    <a:pt x="933" y="2886"/>
                    <a:pt x="991" y="2857"/>
                  </a:cubicBezTo>
                  <a:cubicBezTo>
                    <a:pt x="991" y="2974"/>
                    <a:pt x="845" y="2945"/>
                    <a:pt x="874" y="3033"/>
                  </a:cubicBezTo>
                  <a:cubicBezTo>
                    <a:pt x="816" y="3033"/>
                    <a:pt x="786" y="3091"/>
                    <a:pt x="757" y="3149"/>
                  </a:cubicBezTo>
                  <a:cubicBezTo>
                    <a:pt x="729" y="3149"/>
                    <a:pt x="729" y="3149"/>
                    <a:pt x="729" y="3149"/>
                  </a:cubicBezTo>
                  <a:cubicBezTo>
                    <a:pt x="670" y="3207"/>
                    <a:pt x="583" y="3207"/>
                    <a:pt x="553" y="3295"/>
                  </a:cubicBezTo>
                  <a:cubicBezTo>
                    <a:pt x="495" y="3266"/>
                    <a:pt x="436" y="3324"/>
                    <a:pt x="379" y="3324"/>
                  </a:cubicBezTo>
                  <a:cubicBezTo>
                    <a:pt x="379" y="3353"/>
                    <a:pt x="350" y="3383"/>
                    <a:pt x="320" y="3383"/>
                  </a:cubicBezTo>
                  <a:cubicBezTo>
                    <a:pt x="320" y="3324"/>
                    <a:pt x="203" y="3353"/>
                    <a:pt x="203" y="3353"/>
                  </a:cubicBezTo>
                  <a:cubicBezTo>
                    <a:pt x="174" y="3383"/>
                    <a:pt x="203" y="3383"/>
                    <a:pt x="203" y="3383"/>
                  </a:cubicBezTo>
                  <a:cubicBezTo>
                    <a:pt x="145" y="3383"/>
                    <a:pt x="58" y="3412"/>
                    <a:pt x="0" y="3441"/>
                  </a:cubicBezTo>
                  <a:cubicBezTo>
                    <a:pt x="29" y="3469"/>
                    <a:pt x="29" y="3499"/>
                    <a:pt x="58" y="3528"/>
                  </a:cubicBezTo>
                  <a:cubicBezTo>
                    <a:pt x="145" y="3557"/>
                    <a:pt x="116" y="3469"/>
                    <a:pt x="174" y="3441"/>
                  </a:cubicBezTo>
                  <a:cubicBezTo>
                    <a:pt x="174" y="3469"/>
                    <a:pt x="116" y="3499"/>
                    <a:pt x="145" y="3499"/>
                  </a:cubicBezTo>
                  <a:cubicBezTo>
                    <a:pt x="203" y="3528"/>
                    <a:pt x="291" y="3557"/>
                    <a:pt x="291" y="3499"/>
                  </a:cubicBezTo>
                  <a:cubicBezTo>
                    <a:pt x="350" y="3499"/>
                    <a:pt x="379" y="3499"/>
                    <a:pt x="407" y="3469"/>
                  </a:cubicBezTo>
                  <a:cubicBezTo>
                    <a:pt x="379" y="3499"/>
                    <a:pt x="379" y="3499"/>
                    <a:pt x="379" y="3528"/>
                  </a:cubicBezTo>
                  <a:cubicBezTo>
                    <a:pt x="407" y="3557"/>
                    <a:pt x="407" y="3586"/>
                    <a:pt x="436" y="3557"/>
                  </a:cubicBezTo>
                  <a:cubicBezTo>
                    <a:pt x="466" y="3528"/>
                    <a:pt x="466" y="3499"/>
                    <a:pt x="466" y="3469"/>
                  </a:cubicBezTo>
                  <a:cubicBezTo>
                    <a:pt x="524" y="3499"/>
                    <a:pt x="670" y="3499"/>
                    <a:pt x="670" y="3441"/>
                  </a:cubicBezTo>
                  <a:cubicBezTo>
                    <a:pt x="670" y="3412"/>
                    <a:pt x="641" y="3412"/>
                    <a:pt x="641" y="3412"/>
                  </a:cubicBezTo>
                  <a:cubicBezTo>
                    <a:pt x="641" y="3383"/>
                    <a:pt x="641" y="3383"/>
                    <a:pt x="670" y="3383"/>
                  </a:cubicBezTo>
                  <a:cubicBezTo>
                    <a:pt x="670" y="3383"/>
                    <a:pt x="670" y="3441"/>
                    <a:pt x="729" y="3412"/>
                  </a:cubicBezTo>
                  <a:cubicBezTo>
                    <a:pt x="729" y="3412"/>
                    <a:pt x="729" y="3412"/>
                    <a:pt x="757" y="3383"/>
                  </a:cubicBezTo>
                  <a:cubicBezTo>
                    <a:pt x="757" y="3412"/>
                    <a:pt x="757" y="3412"/>
                    <a:pt x="786" y="3412"/>
                  </a:cubicBezTo>
                  <a:cubicBezTo>
                    <a:pt x="786" y="3383"/>
                    <a:pt x="786" y="3353"/>
                    <a:pt x="786" y="3353"/>
                  </a:cubicBezTo>
                  <a:cubicBezTo>
                    <a:pt x="816" y="3353"/>
                    <a:pt x="816" y="3383"/>
                    <a:pt x="816" y="3383"/>
                  </a:cubicBezTo>
                  <a:cubicBezTo>
                    <a:pt x="845" y="3383"/>
                    <a:pt x="845" y="3383"/>
                    <a:pt x="845" y="3383"/>
                  </a:cubicBezTo>
                  <a:cubicBezTo>
                    <a:pt x="903" y="3295"/>
                    <a:pt x="962" y="3295"/>
                    <a:pt x="1050" y="3236"/>
                  </a:cubicBezTo>
                  <a:cubicBezTo>
                    <a:pt x="1050" y="3266"/>
                    <a:pt x="1050" y="3266"/>
                    <a:pt x="1050" y="3295"/>
                  </a:cubicBezTo>
                  <a:lnTo>
                    <a:pt x="1079" y="3295"/>
                  </a:lnTo>
                  <a:cubicBezTo>
                    <a:pt x="1107" y="3266"/>
                    <a:pt x="1079" y="3207"/>
                    <a:pt x="1079" y="3178"/>
                  </a:cubicBezTo>
                  <a:cubicBezTo>
                    <a:pt x="1079" y="3207"/>
                    <a:pt x="1050" y="3178"/>
                    <a:pt x="1050" y="3178"/>
                  </a:cubicBezTo>
                  <a:cubicBezTo>
                    <a:pt x="1050" y="3149"/>
                    <a:pt x="1107" y="3149"/>
                    <a:pt x="1107" y="3178"/>
                  </a:cubicBezTo>
                  <a:cubicBezTo>
                    <a:pt x="1107" y="3207"/>
                    <a:pt x="1107" y="3207"/>
                    <a:pt x="1107" y="3236"/>
                  </a:cubicBezTo>
                  <a:cubicBezTo>
                    <a:pt x="1166" y="3236"/>
                    <a:pt x="1136" y="3178"/>
                    <a:pt x="1195" y="3178"/>
                  </a:cubicBezTo>
                  <a:cubicBezTo>
                    <a:pt x="1195" y="3207"/>
                    <a:pt x="1224" y="3207"/>
                    <a:pt x="1253" y="3207"/>
                  </a:cubicBezTo>
                  <a:cubicBezTo>
                    <a:pt x="1253" y="3178"/>
                    <a:pt x="1253" y="3120"/>
                    <a:pt x="1253" y="3120"/>
                  </a:cubicBezTo>
                  <a:cubicBezTo>
                    <a:pt x="1312" y="3149"/>
                    <a:pt x="1312" y="3091"/>
                    <a:pt x="1341" y="3091"/>
                  </a:cubicBezTo>
                  <a:cubicBezTo>
                    <a:pt x="1341" y="3091"/>
                    <a:pt x="1341" y="3091"/>
                    <a:pt x="1370" y="3062"/>
                  </a:cubicBezTo>
                  <a:cubicBezTo>
                    <a:pt x="1370" y="3062"/>
                    <a:pt x="1370" y="3091"/>
                    <a:pt x="1400" y="3091"/>
                  </a:cubicBezTo>
                  <a:cubicBezTo>
                    <a:pt x="1428" y="3062"/>
                    <a:pt x="1428" y="3003"/>
                    <a:pt x="1486" y="3003"/>
                  </a:cubicBezTo>
                  <a:lnTo>
                    <a:pt x="1486" y="2974"/>
                  </a:lnTo>
                  <a:cubicBezTo>
                    <a:pt x="1457" y="2974"/>
                    <a:pt x="1428" y="2974"/>
                    <a:pt x="1400" y="2974"/>
                  </a:cubicBezTo>
                  <a:cubicBezTo>
                    <a:pt x="1400" y="2916"/>
                    <a:pt x="1370" y="2916"/>
                    <a:pt x="1370" y="2857"/>
                  </a:cubicBezTo>
                  <a:cubicBezTo>
                    <a:pt x="1400" y="2857"/>
                    <a:pt x="1428" y="2799"/>
                    <a:pt x="1428" y="2770"/>
                  </a:cubicBezTo>
                  <a:cubicBezTo>
                    <a:pt x="1486" y="2799"/>
                    <a:pt x="1545" y="2799"/>
                    <a:pt x="1603" y="2799"/>
                  </a:cubicBezTo>
                  <a:cubicBezTo>
                    <a:pt x="1603" y="2683"/>
                    <a:pt x="1691" y="2653"/>
                    <a:pt x="1720" y="2566"/>
                  </a:cubicBezTo>
                  <a:cubicBezTo>
                    <a:pt x="1750" y="2566"/>
                    <a:pt x="1750" y="2595"/>
                    <a:pt x="1778" y="2595"/>
                  </a:cubicBezTo>
                  <a:cubicBezTo>
                    <a:pt x="1807" y="2536"/>
                    <a:pt x="1895" y="2507"/>
                    <a:pt x="1924" y="2478"/>
                  </a:cubicBezTo>
                  <a:lnTo>
                    <a:pt x="1924" y="2507"/>
                  </a:lnTo>
                  <a:cubicBezTo>
                    <a:pt x="1983" y="2507"/>
                    <a:pt x="2012" y="2449"/>
                    <a:pt x="2041" y="2478"/>
                  </a:cubicBezTo>
                  <a:cubicBezTo>
                    <a:pt x="2012" y="2507"/>
                    <a:pt x="1983" y="2507"/>
                    <a:pt x="1953" y="2566"/>
                  </a:cubicBezTo>
                  <a:cubicBezTo>
                    <a:pt x="1953" y="2566"/>
                    <a:pt x="1983" y="2566"/>
                    <a:pt x="2012" y="2566"/>
                  </a:cubicBezTo>
                  <a:cubicBezTo>
                    <a:pt x="2041" y="2595"/>
                    <a:pt x="2100" y="2624"/>
                    <a:pt x="2070" y="2683"/>
                  </a:cubicBezTo>
                  <a:cubicBezTo>
                    <a:pt x="2041" y="2653"/>
                    <a:pt x="2041" y="2624"/>
                    <a:pt x="2012" y="2595"/>
                  </a:cubicBezTo>
                  <a:cubicBezTo>
                    <a:pt x="1953" y="2624"/>
                    <a:pt x="1953" y="2566"/>
                    <a:pt x="1895" y="2566"/>
                  </a:cubicBezTo>
                  <a:cubicBezTo>
                    <a:pt x="1866" y="2566"/>
                    <a:pt x="1866" y="2595"/>
                    <a:pt x="1836" y="2595"/>
                  </a:cubicBezTo>
                  <a:cubicBezTo>
                    <a:pt x="1807" y="2595"/>
                    <a:pt x="1778" y="2595"/>
                    <a:pt x="1750" y="2624"/>
                  </a:cubicBezTo>
                  <a:cubicBezTo>
                    <a:pt x="1778" y="2624"/>
                    <a:pt x="1778" y="2624"/>
                    <a:pt x="1778" y="2653"/>
                  </a:cubicBezTo>
                  <a:cubicBezTo>
                    <a:pt x="1720" y="2712"/>
                    <a:pt x="1662" y="2770"/>
                    <a:pt x="1662" y="2857"/>
                  </a:cubicBezTo>
                  <a:cubicBezTo>
                    <a:pt x="1691" y="2857"/>
                    <a:pt x="1691" y="2857"/>
                    <a:pt x="1691" y="2857"/>
                  </a:cubicBezTo>
                  <a:cubicBezTo>
                    <a:pt x="1720" y="2857"/>
                    <a:pt x="1750" y="2770"/>
                    <a:pt x="1807" y="2828"/>
                  </a:cubicBezTo>
                  <a:cubicBezTo>
                    <a:pt x="1750" y="2857"/>
                    <a:pt x="1691" y="2886"/>
                    <a:pt x="1633" y="2886"/>
                  </a:cubicBezTo>
                  <a:cubicBezTo>
                    <a:pt x="1633" y="2916"/>
                    <a:pt x="1603" y="2945"/>
                    <a:pt x="1603" y="2974"/>
                  </a:cubicBezTo>
                  <a:cubicBezTo>
                    <a:pt x="1633" y="2974"/>
                    <a:pt x="1662" y="2974"/>
                    <a:pt x="1662" y="2974"/>
                  </a:cubicBezTo>
                  <a:cubicBezTo>
                    <a:pt x="1662" y="2974"/>
                    <a:pt x="1662" y="3003"/>
                    <a:pt x="1691" y="3003"/>
                  </a:cubicBezTo>
                  <a:cubicBezTo>
                    <a:pt x="1720" y="3003"/>
                    <a:pt x="1691" y="2974"/>
                    <a:pt x="1720" y="2974"/>
                  </a:cubicBezTo>
                  <a:lnTo>
                    <a:pt x="1750" y="2974"/>
                  </a:lnTo>
                  <a:cubicBezTo>
                    <a:pt x="1750" y="3003"/>
                    <a:pt x="1750" y="3003"/>
                    <a:pt x="1750" y="3003"/>
                  </a:cubicBezTo>
                  <a:cubicBezTo>
                    <a:pt x="1836" y="3003"/>
                    <a:pt x="1836" y="2945"/>
                    <a:pt x="1836" y="2857"/>
                  </a:cubicBezTo>
                  <a:cubicBezTo>
                    <a:pt x="1866" y="2857"/>
                    <a:pt x="1895" y="2857"/>
                    <a:pt x="1895" y="2857"/>
                  </a:cubicBezTo>
                  <a:cubicBezTo>
                    <a:pt x="1895" y="2886"/>
                    <a:pt x="1866" y="2886"/>
                    <a:pt x="1866" y="2916"/>
                  </a:cubicBezTo>
                  <a:cubicBezTo>
                    <a:pt x="1895" y="2945"/>
                    <a:pt x="1924" y="2886"/>
                    <a:pt x="1953" y="2886"/>
                  </a:cubicBezTo>
                  <a:cubicBezTo>
                    <a:pt x="1953" y="2886"/>
                    <a:pt x="1953" y="2886"/>
                    <a:pt x="1983" y="2886"/>
                  </a:cubicBezTo>
                  <a:lnTo>
                    <a:pt x="2012" y="2857"/>
                  </a:lnTo>
                  <a:cubicBezTo>
                    <a:pt x="2041" y="2886"/>
                    <a:pt x="2070" y="2886"/>
                    <a:pt x="2128" y="2886"/>
                  </a:cubicBezTo>
                  <a:cubicBezTo>
                    <a:pt x="2157" y="2857"/>
                    <a:pt x="2157" y="2828"/>
                    <a:pt x="2186" y="2828"/>
                  </a:cubicBezTo>
                  <a:cubicBezTo>
                    <a:pt x="2186" y="2799"/>
                    <a:pt x="2157" y="2799"/>
                    <a:pt x="2186" y="2770"/>
                  </a:cubicBezTo>
                  <a:lnTo>
                    <a:pt x="2216" y="2799"/>
                  </a:lnTo>
                  <a:cubicBezTo>
                    <a:pt x="2303" y="2712"/>
                    <a:pt x="2157" y="2712"/>
                    <a:pt x="2157" y="2653"/>
                  </a:cubicBezTo>
                  <a:lnTo>
                    <a:pt x="2216" y="2624"/>
                  </a:lnTo>
                  <a:cubicBezTo>
                    <a:pt x="2216" y="2653"/>
                    <a:pt x="2245" y="2683"/>
                    <a:pt x="2274" y="2683"/>
                  </a:cubicBezTo>
                  <a:cubicBezTo>
                    <a:pt x="2274" y="2683"/>
                    <a:pt x="2274" y="2653"/>
                    <a:pt x="2303" y="2653"/>
                  </a:cubicBezTo>
                  <a:cubicBezTo>
                    <a:pt x="2303" y="2653"/>
                    <a:pt x="2303" y="2683"/>
                    <a:pt x="2333" y="2653"/>
                  </a:cubicBezTo>
                  <a:cubicBezTo>
                    <a:pt x="2362" y="2653"/>
                    <a:pt x="2362" y="2595"/>
                    <a:pt x="2420" y="2595"/>
                  </a:cubicBezTo>
                  <a:cubicBezTo>
                    <a:pt x="2420" y="2624"/>
                    <a:pt x="2362" y="2624"/>
                    <a:pt x="2391" y="2683"/>
                  </a:cubicBezTo>
                  <a:cubicBezTo>
                    <a:pt x="2420" y="2683"/>
                    <a:pt x="2478" y="2595"/>
                    <a:pt x="2507" y="2683"/>
                  </a:cubicBezTo>
                  <a:cubicBezTo>
                    <a:pt x="2449" y="2683"/>
                    <a:pt x="2362" y="2683"/>
                    <a:pt x="2333" y="2741"/>
                  </a:cubicBezTo>
                  <a:cubicBezTo>
                    <a:pt x="2362" y="2741"/>
                    <a:pt x="2391" y="2741"/>
                    <a:pt x="2420" y="2741"/>
                  </a:cubicBezTo>
                  <a:cubicBezTo>
                    <a:pt x="2420" y="2770"/>
                    <a:pt x="2507" y="2741"/>
                    <a:pt x="2507" y="2770"/>
                  </a:cubicBezTo>
                  <a:cubicBezTo>
                    <a:pt x="2507" y="2799"/>
                    <a:pt x="2507" y="2799"/>
                    <a:pt x="2507" y="2828"/>
                  </a:cubicBezTo>
                  <a:cubicBezTo>
                    <a:pt x="2536" y="2857"/>
                    <a:pt x="2566" y="2857"/>
                    <a:pt x="2595" y="2857"/>
                  </a:cubicBezTo>
                  <a:cubicBezTo>
                    <a:pt x="2595" y="2974"/>
                    <a:pt x="2712" y="2886"/>
                    <a:pt x="2799" y="2916"/>
                  </a:cubicBezTo>
                  <a:cubicBezTo>
                    <a:pt x="2828" y="2916"/>
                    <a:pt x="2828" y="2945"/>
                    <a:pt x="2857" y="2945"/>
                  </a:cubicBezTo>
                  <a:cubicBezTo>
                    <a:pt x="2916" y="2945"/>
                    <a:pt x="2916" y="2974"/>
                    <a:pt x="2974" y="2974"/>
                  </a:cubicBezTo>
                  <a:cubicBezTo>
                    <a:pt x="3033" y="3003"/>
                    <a:pt x="3120" y="3003"/>
                    <a:pt x="3120" y="3062"/>
                  </a:cubicBezTo>
                  <a:cubicBezTo>
                    <a:pt x="3178" y="3091"/>
                    <a:pt x="3207" y="3178"/>
                    <a:pt x="3295" y="3178"/>
                  </a:cubicBezTo>
                  <a:cubicBezTo>
                    <a:pt x="3324" y="3207"/>
                    <a:pt x="3383" y="3178"/>
                    <a:pt x="3383" y="3207"/>
                  </a:cubicBezTo>
                  <a:cubicBezTo>
                    <a:pt x="3412" y="3324"/>
                    <a:pt x="3470" y="3353"/>
                    <a:pt x="3528" y="3412"/>
                  </a:cubicBezTo>
                  <a:cubicBezTo>
                    <a:pt x="3557" y="3383"/>
                    <a:pt x="3557" y="3412"/>
                    <a:pt x="3616" y="3412"/>
                  </a:cubicBezTo>
                  <a:lnTo>
                    <a:pt x="3616" y="3383"/>
                  </a:lnTo>
                  <a:cubicBezTo>
                    <a:pt x="3674" y="3383"/>
                    <a:pt x="3762" y="3412"/>
                    <a:pt x="3791" y="3441"/>
                  </a:cubicBezTo>
                  <a:cubicBezTo>
                    <a:pt x="3820" y="3528"/>
                    <a:pt x="3791" y="3645"/>
                    <a:pt x="3849" y="3703"/>
                  </a:cubicBezTo>
                  <a:cubicBezTo>
                    <a:pt x="3878" y="3674"/>
                    <a:pt x="3878" y="3586"/>
                    <a:pt x="3936" y="3557"/>
                  </a:cubicBezTo>
                  <a:cubicBezTo>
                    <a:pt x="3966" y="3586"/>
                    <a:pt x="3936" y="3616"/>
                    <a:pt x="3966" y="3645"/>
                  </a:cubicBezTo>
                  <a:cubicBezTo>
                    <a:pt x="4024" y="3645"/>
                    <a:pt x="4083" y="3674"/>
                    <a:pt x="4141" y="3674"/>
                  </a:cubicBezTo>
                  <a:cubicBezTo>
                    <a:pt x="4112" y="3791"/>
                    <a:pt x="4199" y="3819"/>
                    <a:pt x="4228" y="3878"/>
                  </a:cubicBezTo>
                  <a:cubicBezTo>
                    <a:pt x="4199" y="3907"/>
                    <a:pt x="4199" y="3936"/>
                    <a:pt x="4169" y="3966"/>
                  </a:cubicBezTo>
                  <a:cubicBezTo>
                    <a:pt x="4228" y="3995"/>
                    <a:pt x="4228" y="3907"/>
                    <a:pt x="4286" y="3907"/>
                  </a:cubicBezTo>
                  <a:cubicBezTo>
                    <a:pt x="4345" y="3907"/>
                    <a:pt x="4345" y="4024"/>
                    <a:pt x="4345" y="4083"/>
                  </a:cubicBezTo>
                  <a:cubicBezTo>
                    <a:pt x="4433" y="4141"/>
                    <a:pt x="4462" y="4053"/>
                    <a:pt x="4491" y="4053"/>
                  </a:cubicBezTo>
                  <a:cubicBezTo>
                    <a:pt x="4462" y="3995"/>
                    <a:pt x="4433" y="3907"/>
                    <a:pt x="4374" y="3849"/>
                  </a:cubicBezTo>
                  <a:cubicBezTo>
                    <a:pt x="4374" y="3849"/>
                    <a:pt x="4345" y="3819"/>
                    <a:pt x="4316" y="3819"/>
                  </a:cubicBezTo>
                  <a:cubicBezTo>
                    <a:pt x="4286" y="3762"/>
                    <a:pt x="4316" y="3645"/>
                    <a:pt x="4257" y="3645"/>
                  </a:cubicBezTo>
                  <a:cubicBezTo>
                    <a:pt x="4228" y="3616"/>
                    <a:pt x="4169" y="3645"/>
                    <a:pt x="4141" y="3616"/>
                  </a:cubicBezTo>
                  <a:cubicBezTo>
                    <a:pt x="4112" y="3586"/>
                    <a:pt x="4083" y="3528"/>
                    <a:pt x="4083" y="3499"/>
                  </a:cubicBezTo>
                  <a:cubicBezTo>
                    <a:pt x="4024" y="3383"/>
                    <a:pt x="3966" y="3353"/>
                    <a:pt x="3878" y="3236"/>
                  </a:cubicBezTo>
                  <a:cubicBezTo>
                    <a:pt x="3820" y="3149"/>
                    <a:pt x="3791" y="3033"/>
                    <a:pt x="3616" y="3062"/>
                  </a:cubicBezTo>
                  <a:cubicBezTo>
                    <a:pt x="3557" y="3120"/>
                    <a:pt x="3557" y="3178"/>
                    <a:pt x="3528" y="3236"/>
                  </a:cubicBezTo>
                  <a:cubicBezTo>
                    <a:pt x="3499" y="3178"/>
                    <a:pt x="3412" y="3149"/>
                    <a:pt x="3383" y="3062"/>
                  </a:cubicBezTo>
                  <a:cubicBezTo>
                    <a:pt x="3353" y="3033"/>
                    <a:pt x="3383" y="2945"/>
                    <a:pt x="3324" y="2916"/>
                  </a:cubicBezTo>
                  <a:cubicBezTo>
                    <a:pt x="3266" y="2945"/>
                    <a:pt x="3178" y="2945"/>
                    <a:pt x="3149" y="2916"/>
                  </a:cubicBezTo>
                  <a:cubicBezTo>
                    <a:pt x="3120" y="2916"/>
                    <a:pt x="3091" y="2886"/>
                    <a:pt x="3033" y="2886"/>
                  </a:cubicBezTo>
                  <a:cubicBezTo>
                    <a:pt x="3091" y="2128"/>
                    <a:pt x="3120" y="1370"/>
                    <a:pt x="3178" y="612"/>
                  </a:cubicBezTo>
                  <a:cubicBezTo>
                    <a:pt x="3120" y="583"/>
                    <a:pt x="3091" y="553"/>
                    <a:pt x="3033" y="553"/>
                  </a:cubicBezTo>
                  <a:cubicBezTo>
                    <a:pt x="3033" y="524"/>
                    <a:pt x="3062" y="495"/>
                    <a:pt x="3033" y="466"/>
                  </a:cubicBezTo>
                  <a:cubicBezTo>
                    <a:pt x="2974" y="466"/>
                    <a:pt x="2945" y="524"/>
                    <a:pt x="2857" y="524"/>
                  </a:cubicBezTo>
                  <a:cubicBezTo>
                    <a:pt x="2828" y="495"/>
                    <a:pt x="2741" y="466"/>
                    <a:pt x="2653" y="495"/>
                  </a:cubicBezTo>
                  <a:cubicBezTo>
                    <a:pt x="2653" y="466"/>
                    <a:pt x="2653" y="436"/>
                    <a:pt x="2624" y="436"/>
                  </a:cubicBezTo>
                  <a:cubicBezTo>
                    <a:pt x="2595" y="436"/>
                    <a:pt x="2624" y="466"/>
                    <a:pt x="2595" y="466"/>
                  </a:cubicBezTo>
                  <a:cubicBezTo>
                    <a:pt x="2566" y="378"/>
                    <a:pt x="2478" y="291"/>
                    <a:pt x="2391" y="378"/>
                  </a:cubicBezTo>
                  <a:cubicBezTo>
                    <a:pt x="2391" y="349"/>
                    <a:pt x="2333" y="320"/>
                    <a:pt x="2303" y="320"/>
                  </a:cubicBezTo>
                  <a:cubicBezTo>
                    <a:pt x="2303" y="291"/>
                    <a:pt x="2303" y="291"/>
                    <a:pt x="2303" y="233"/>
                  </a:cubicBezTo>
                  <a:cubicBezTo>
                    <a:pt x="2274" y="233"/>
                    <a:pt x="2157" y="262"/>
                    <a:pt x="2100" y="233"/>
                  </a:cubicBezTo>
                  <a:cubicBezTo>
                    <a:pt x="2128" y="174"/>
                    <a:pt x="2128" y="116"/>
                    <a:pt x="2157" y="86"/>
                  </a:cubicBezTo>
                  <a:cubicBezTo>
                    <a:pt x="2128" y="86"/>
                    <a:pt x="2070" y="86"/>
                    <a:pt x="2070" y="86"/>
                  </a:cubicBezTo>
                  <a:cubicBezTo>
                    <a:pt x="2041" y="57"/>
                    <a:pt x="2041" y="0"/>
                    <a:pt x="2012" y="0"/>
                  </a:cubicBezTo>
                  <a:cubicBezTo>
                    <a:pt x="1983" y="0"/>
                    <a:pt x="1953" y="28"/>
                    <a:pt x="1924" y="28"/>
                  </a:cubicBezTo>
                  <a:cubicBezTo>
                    <a:pt x="1895" y="57"/>
                    <a:pt x="1807" y="57"/>
                    <a:pt x="1778" y="86"/>
                  </a:cubicBezTo>
                  <a:lnTo>
                    <a:pt x="1778" y="28"/>
                  </a:lnTo>
                  <a:cubicBezTo>
                    <a:pt x="1720" y="0"/>
                    <a:pt x="1691" y="57"/>
                    <a:pt x="1633" y="86"/>
                  </a:cubicBezTo>
                  <a:cubicBezTo>
                    <a:pt x="1603" y="86"/>
                    <a:pt x="1574" y="86"/>
                    <a:pt x="1545" y="86"/>
                  </a:cubicBezTo>
                  <a:cubicBezTo>
                    <a:pt x="1457" y="86"/>
                    <a:pt x="1400" y="145"/>
                    <a:pt x="1341" y="145"/>
                  </a:cubicBezTo>
                  <a:cubicBezTo>
                    <a:pt x="1312" y="203"/>
                    <a:pt x="1283" y="233"/>
                    <a:pt x="1253" y="262"/>
                  </a:cubicBezTo>
                  <a:cubicBezTo>
                    <a:pt x="1224" y="291"/>
                    <a:pt x="1195" y="320"/>
                    <a:pt x="1136" y="320"/>
                  </a:cubicBezTo>
                  <a:lnTo>
                    <a:pt x="1136" y="291"/>
                  </a:lnTo>
                  <a:cubicBezTo>
                    <a:pt x="1107" y="291"/>
                    <a:pt x="1079" y="291"/>
                    <a:pt x="1079" y="291"/>
                  </a:cubicBezTo>
                  <a:cubicBezTo>
                    <a:pt x="1020" y="203"/>
                    <a:pt x="903" y="262"/>
                    <a:pt x="933" y="378"/>
                  </a:cubicBezTo>
                  <a:cubicBezTo>
                    <a:pt x="933" y="407"/>
                    <a:pt x="903" y="407"/>
                    <a:pt x="903" y="436"/>
                  </a:cubicBezTo>
                  <a:cubicBezTo>
                    <a:pt x="933" y="524"/>
                    <a:pt x="1107" y="612"/>
                    <a:pt x="1020" y="757"/>
                  </a:cubicBezTo>
                  <a:cubicBezTo>
                    <a:pt x="1020" y="786"/>
                    <a:pt x="1050" y="816"/>
                    <a:pt x="1107" y="816"/>
                  </a:cubicBezTo>
                  <a:cubicBezTo>
                    <a:pt x="1107" y="816"/>
                    <a:pt x="1107" y="816"/>
                    <a:pt x="1107" y="786"/>
                  </a:cubicBezTo>
                  <a:cubicBezTo>
                    <a:pt x="1136" y="845"/>
                    <a:pt x="1224" y="816"/>
                    <a:pt x="1195" y="874"/>
                  </a:cubicBezTo>
                  <a:cubicBezTo>
                    <a:pt x="1166" y="874"/>
                    <a:pt x="1166" y="845"/>
                    <a:pt x="1136" y="845"/>
                  </a:cubicBezTo>
                  <a:cubicBezTo>
                    <a:pt x="1050" y="845"/>
                    <a:pt x="1079" y="1020"/>
                    <a:pt x="1136" y="1020"/>
                  </a:cubicBezTo>
                  <a:cubicBezTo>
                    <a:pt x="1107" y="1020"/>
                    <a:pt x="1136" y="1078"/>
                    <a:pt x="1079" y="1078"/>
                  </a:cubicBezTo>
                  <a:cubicBezTo>
                    <a:pt x="1079" y="1049"/>
                    <a:pt x="1079" y="1020"/>
                    <a:pt x="1050" y="1020"/>
                  </a:cubicBezTo>
                  <a:cubicBezTo>
                    <a:pt x="991" y="991"/>
                    <a:pt x="962" y="991"/>
                    <a:pt x="933" y="933"/>
                  </a:cubicBezTo>
                  <a:cubicBezTo>
                    <a:pt x="962" y="903"/>
                    <a:pt x="991" y="874"/>
                    <a:pt x="991" y="816"/>
                  </a:cubicBezTo>
                  <a:cubicBezTo>
                    <a:pt x="874" y="816"/>
                    <a:pt x="786" y="816"/>
                    <a:pt x="670" y="816"/>
                  </a:cubicBezTo>
                  <a:cubicBezTo>
                    <a:pt x="641" y="874"/>
                    <a:pt x="524" y="816"/>
                    <a:pt x="466" y="845"/>
                  </a:cubicBezTo>
                  <a:cubicBezTo>
                    <a:pt x="407" y="962"/>
                    <a:pt x="583" y="991"/>
                    <a:pt x="583" y="1049"/>
                  </a:cubicBezTo>
                  <a:cubicBezTo>
                    <a:pt x="583" y="1020"/>
                    <a:pt x="524" y="1020"/>
                    <a:pt x="524" y="1020"/>
                  </a:cubicBezTo>
                  <a:cubicBezTo>
                    <a:pt x="524" y="1107"/>
                    <a:pt x="495" y="1136"/>
                    <a:pt x="524" y="1195"/>
                  </a:cubicBezTo>
                  <a:cubicBezTo>
                    <a:pt x="524" y="1283"/>
                    <a:pt x="641" y="1312"/>
                    <a:pt x="729" y="1341"/>
                  </a:cubicBezTo>
                  <a:cubicBezTo>
                    <a:pt x="757" y="1370"/>
                    <a:pt x="757" y="1399"/>
                    <a:pt x="786" y="1399"/>
                  </a:cubicBezTo>
                  <a:cubicBezTo>
                    <a:pt x="816" y="1399"/>
                    <a:pt x="816" y="1399"/>
                    <a:pt x="816" y="1399"/>
                  </a:cubicBezTo>
                  <a:cubicBezTo>
                    <a:pt x="816" y="1428"/>
                    <a:pt x="845" y="1428"/>
                    <a:pt x="874" y="1428"/>
                  </a:cubicBezTo>
                  <a:lnTo>
                    <a:pt x="874" y="1399"/>
                  </a:lnTo>
                  <a:cubicBezTo>
                    <a:pt x="933" y="1341"/>
                    <a:pt x="991" y="1312"/>
                    <a:pt x="1050" y="1283"/>
                  </a:cubicBezTo>
                  <a:cubicBezTo>
                    <a:pt x="1050" y="1312"/>
                    <a:pt x="1050" y="1312"/>
                    <a:pt x="1050" y="1341"/>
                  </a:cubicBezTo>
                  <a:cubicBezTo>
                    <a:pt x="1050" y="1341"/>
                    <a:pt x="1020" y="1370"/>
                    <a:pt x="1020" y="1341"/>
                  </a:cubicBezTo>
                  <a:cubicBezTo>
                    <a:pt x="1020" y="1399"/>
                    <a:pt x="903" y="1399"/>
                    <a:pt x="933" y="1457"/>
                  </a:cubicBezTo>
                  <a:cubicBezTo>
                    <a:pt x="962" y="1457"/>
                    <a:pt x="962" y="1428"/>
                    <a:pt x="991" y="1428"/>
                  </a:cubicBezTo>
                  <a:cubicBezTo>
                    <a:pt x="1020" y="1486"/>
                    <a:pt x="991" y="1516"/>
                    <a:pt x="962" y="1545"/>
                  </a:cubicBezTo>
                  <a:cubicBezTo>
                    <a:pt x="962" y="1574"/>
                    <a:pt x="991" y="1574"/>
                    <a:pt x="991" y="1603"/>
                  </a:cubicBezTo>
                  <a:cubicBezTo>
                    <a:pt x="962" y="1633"/>
                    <a:pt x="903" y="1662"/>
                    <a:pt x="816" y="1662"/>
                  </a:cubicBezTo>
                  <a:cubicBezTo>
                    <a:pt x="786" y="1662"/>
                    <a:pt x="786" y="1633"/>
                    <a:pt x="757" y="1633"/>
                  </a:cubicBezTo>
                  <a:cubicBezTo>
                    <a:pt x="700" y="1633"/>
                    <a:pt x="700" y="1662"/>
                    <a:pt x="670" y="1662"/>
                  </a:cubicBezTo>
                  <a:cubicBezTo>
                    <a:pt x="641" y="1662"/>
                    <a:pt x="641" y="1662"/>
                    <a:pt x="612" y="1662"/>
                  </a:cubicBezTo>
                  <a:cubicBezTo>
                    <a:pt x="612" y="1720"/>
                    <a:pt x="612" y="1807"/>
                    <a:pt x="583" y="1836"/>
                  </a:cubicBezTo>
                  <a:cubicBezTo>
                    <a:pt x="553" y="1807"/>
                    <a:pt x="553" y="1691"/>
                    <a:pt x="495" y="1691"/>
                  </a:cubicBezTo>
                  <a:cubicBezTo>
                    <a:pt x="466" y="1691"/>
                    <a:pt x="466" y="1749"/>
                    <a:pt x="407" y="1778"/>
                  </a:cubicBezTo>
                  <a:cubicBezTo>
                    <a:pt x="407" y="1720"/>
                    <a:pt x="436" y="1720"/>
                    <a:pt x="436" y="1691"/>
                  </a:cubicBezTo>
                  <a:cubicBezTo>
                    <a:pt x="379" y="1662"/>
                    <a:pt x="379" y="1749"/>
                    <a:pt x="350" y="1778"/>
                  </a:cubicBezTo>
                  <a:cubicBezTo>
                    <a:pt x="350" y="1749"/>
                    <a:pt x="350" y="1720"/>
                    <a:pt x="291" y="1720"/>
                  </a:cubicBezTo>
                  <a:cubicBezTo>
                    <a:pt x="291" y="1720"/>
                    <a:pt x="291" y="1749"/>
                    <a:pt x="262" y="1749"/>
                  </a:cubicBezTo>
                  <a:cubicBezTo>
                    <a:pt x="232" y="1749"/>
                    <a:pt x="232" y="1778"/>
                    <a:pt x="203" y="1749"/>
                  </a:cubicBezTo>
                  <a:cubicBezTo>
                    <a:pt x="174" y="1778"/>
                    <a:pt x="174" y="1807"/>
                    <a:pt x="203" y="1836"/>
                  </a:cubicBezTo>
                  <a:cubicBezTo>
                    <a:pt x="174" y="1836"/>
                    <a:pt x="145" y="1836"/>
                    <a:pt x="145" y="1866"/>
                  </a:cubicBezTo>
                  <a:cubicBezTo>
                    <a:pt x="145" y="1895"/>
                    <a:pt x="174" y="1895"/>
                    <a:pt x="203" y="1895"/>
                  </a:cubicBezTo>
                  <a:cubicBezTo>
                    <a:pt x="203" y="1924"/>
                    <a:pt x="174" y="1924"/>
                    <a:pt x="174" y="1924"/>
                  </a:cubicBezTo>
                  <a:cubicBezTo>
                    <a:pt x="203" y="1953"/>
                    <a:pt x="203" y="1983"/>
                    <a:pt x="232" y="2041"/>
                  </a:cubicBezTo>
                  <a:cubicBezTo>
                    <a:pt x="262" y="2070"/>
                    <a:pt x="291" y="2070"/>
                    <a:pt x="291" y="2099"/>
                  </a:cubicBezTo>
                  <a:cubicBezTo>
                    <a:pt x="291" y="2128"/>
                    <a:pt x="262" y="2128"/>
                    <a:pt x="232" y="21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0" name="Freeform 877">
              <a:extLst>
                <a:ext uri="{FF2B5EF4-FFF2-40B4-BE49-F238E27FC236}">
                  <a16:creationId xmlns:a16="http://schemas.microsoft.com/office/drawing/2014/main" id="{EC6539CD-9ACC-4DA8-8CF9-880636EDE295}"/>
                </a:ext>
              </a:extLst>
            </p:cNvPr>
            <p:cNvSpPr>
              <a:spLocks noChangeArrowheads="1"/>
            </p:cNvSpPr>
            <p:nvPr/>
          </p:nvSpPr>
          <p:spPr bwMode="auto">
            <a:xfrm>
              <a:off x="5311729" y="-983879"/>
              <a:ext cx="130468" cy="129466"/>
            </a:xfrm>
            <a:custGeom>
              <a:avLst/>
              <a:gdLst>
                <a:gd name="T0" fmla="*/ 117 w 351"/>
                <a:gd name="T1" fmla="*/ 146 h 351"/>
                <a:gd name="T2" fmla="*/ 117 w 351"/>
                <a:gd name="T3" fmla="*/ 146 h 351"/>
                <a:gd name="T4" fmla="*/ 205 w 351"/>
                <a:gd name="T5" fmla="*/ 321 h 351"/>
                <a:gd name="T6" fmla="*/ 263 w 351"/>
                <a:gd name="T7" fmla="*/ 292 h 351"/>
                <a:gd name="T8" fmla="*/ 263 w 351"/>
                <a:gd name="T9" fmla="*/ 321 h 351"/>
                <a:gd name="T10" fmla="*/ 350 w 351"/>
                <a:gd name="T11" fmla="*/ 321 h 351"/>
                <a:gd name="T12" fmla="*/ 263 w 351"/>
                <a:gd name="T13" fmla="*/ 88 h 351"/>
                <a:gd name="T14" fmla="*/ 175 w 351"/>
                <a:gd name="T15" fmla="*/ 88 h 351"/>
                <a:gd name="T16" fmla="*/ 175 w 351"/>
                <a:gd name="T17" fmla="*/ 0 h 351"/>
                <a:gd name="T18" fmla="*/ 29 w 351"/>
                <a:gd name="T19" fmla="*/ 146 h 351"/>
                <a:gd name="T20" fmla="*/ 117 w 351"/>
                <a:gd name="T21" fmla="*/ 14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351">
                  <a:moveTo>
                    <a:pt x="117" y="146"/>
                  </a:moveTo>
                  <a:lnTo>
                    <a:pt x="117" y="146"/>
                  </a:lnTo>
                  <a:cubicBezTo>
                    <a:pt x="175" y="205"/>
                    <a:pt x="205" y="234"/>
                    <a:pt x="205" y="321"/>
                  </a:cubicBezTo>
                  <a:cubicBezTo>
                    <a:pt x="234" y="350"/>
                    <a:pt x="234" y="321"/>
                    <a:pt x="263" y="292"/>
                  </a:cubicBezTo>
                  <a:cubicBezTo>
                    <a:pt x="263" y="321"/>
                    <a:pt x="263" y="321"/>
                    <a:pt x="263" y="321"/>
                  </a:cubicBezTo>
                  <a:cubicBezTo>
                    <a:pt x="321" y="350"/>
                    <a:pt x="350" y="321"/>
                    <a:pt x="350" y="321"/>
                  </a:cubicBezTo>
                  <a:cubicBezTo>
                    <a:pt x="291" y="234"/>
                    <a:pt x="291" y="146"/>
                    <a:pt x="263" y="88"/>
                  </a:cubicBezTo>
                  <a:cubicBezTo>
                    <a:pt x="234" y="58"/>
                    <a:pt x="234" y="88"/>
                    <a:pt x="175" y="88"/>
                  </a:cubicBezTo>
                  <a:cubicBezTo>
                    <a:pt x="146" y="88"/>
                    <a:pt x="146" y="29"/>
                    <a:pt x="175" y="0"/>
                  </a:cubicBezTo>
                  <a:cubicBezTo>
                    <a:pt x="88" y="0"/>
                    <a:pt x="0" y="58"/>
                    <a:pt x="29" y="146"/>
                  </a:cubicBezTo>
                  <a:cubicBezTo>
                    <a:pt x="58" y="175"/>
                    <a:pt x="88" y="146"/>
                    <a:pt x="117" y="1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1" name="Freeform 878">
              <a:extLst>
                <a:ext uri="{FF2B5EF4-FFF2-40B4-BE49-F238E27FC236}">
                  <a16:creationId xmlns:a16="http://schemas.microsoft.com/office/drawing/2014/main" id="{B18810CC-9C54-4F62-BBB1-5DE8E709F7D5}"/>
                </a:ext>
              </a:extLst>
            </p:cNvPr>
            <p:cNvSpPr>
              <a:spLocks noChangeArrowheads="1"/>
            </p:cNvSpPr>
            <p:nvPr/>
          </p:nvSpPr>
          <p:spPr bwMode="auto">
            <a:xfrm>
              <a:off x="5138859" y="-823665"/>
              <a:ext cx="53818" cy="118137"/>
            </a:xfrm>
            <a:custGeom>
              <a:avLst/>
              <a:gdLst>
                <a:gd name="T0" fmla="*/ 29 w 146"/>
                <a:gd name="T1" fmla="*/ 117 h 321"/>
                <a:gd name="T2" fmla="*/ 29 w 146"/>
                <a:gd name="T3" fmla="*/ 117 h 321"/>
                <a:gd name="T4" fmla="*/ 29 w 146"/>
                <a:gd name="T5" fmla="*/ 233 h 321"/>
                <a:gd name="T6" fmla="*/ 57 w 146"/>
                <a:gd name="T7" fmla="*/ 262 h 321"/>
                <a:gd name="T8" fmla="*/ 57 w 146"/>
                <a:gd name="T9" fmla="*/ 320 h 321"/>
                <a:gd name="T10" fmla="*/ 116 w 146"/>
                <a:gd name="T11" fmla="*/ 291 h 321"/>
                <a:gd name="T12" fmla="*/ 57 w 146"/>
                <a:gd name="T13" fmla="*/ 175 h 321"/>
                <a:gd name="T14" fmla="*/ 0 w 146"/>
                <a:gd name="T15" fmla="*/ 58 h 321"/>
                <a:gd name="T16" fmla="*/ 29 w 146"/>
                <a:gd name="T17" fmla="*/ 11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21">
                  <a:moveTo>
                    <a:pt x="29" y="117"/>
                  </a:moveTo>
                  <a:lnTo>
                    <a:pt x="29" y="117"/>
                  </a:lnTo>
                  <a:cubicBezTo>
                    <a:pt x="0" y="146"/>
                    <a:pt x="0" y="204"/>
                    <a:pt x="29" y="233"/>
                  </a:cubicBezTo>
                  <a:cubicBezTo>
                    <a:pt x="29" y="233"/>
                    <a:pt x="57" y="233"/>
                    <a:pt x="57" y="262"/>
                  </a:cubicBezTo>
                  <a:cubicBezTo>
                    <a:pt x="57" y="291"/>
                    <a:pt x="57" y="291"/>
                    <a:pt x="57" y="320"/>
                  </a:cubicBezTo>
                  <a:cubicBezTo>
                    <a:pt x="87" y="320"/>
                    <a:pt x="116" y="291"/>
                    <a:pt x="116" y="291"/>
                  </a:cubicBezTo>
                  <a:cubicBezTo>
                    <a:pt x="145" y="204"/>
                    <a:pt x="87" y="204"/>
                    <a:pt x="57" y="175"/>
                  </a:cubicBezTo>
                  <a:cubicBezTo>
                    <a:pt x="116" y="146"/>
                    <a:pt x="57" y="0"/>
                    <a:pt x="0" y="58"/>
                  </a:cubicBezTo>
                  <a:cubicBezTo>
                    <a:pt x="0" y="87"/>
                    <a:pt x="29" y="87"/>
                    <a:pt x="29"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2" name="Freeform 879">
              <a:extLst>
                <a:ext uri="{FF2B5EF4-FFF2-40B4-BE49-F238E27FC236}">
                  <a16:creationId xmlns:a16="http://schemas.microsoft.com/office/drawing/2014/main" id="{49748BB3-C7D3-4D31-AD16-23F1F14B8B56}"/>
                </a:ext>
              </a:extLst>
            </p:cNvPr>
            <p:cNvSpPr>
              <a:spLocks noChangeArrowheads="1"/>
            </p:cNvSpPr>
            <p:nvPr/>
          </p:nvSpPr>
          <p:spPr bwMode="auto">
            <a:xfrm>
              <a:off x="5344346" y="-610047"/>
              <a:ext cx="107636" cy="85770"/>
            </a:xfrm>
            <a:custGeom>
              <a:avLst/>
              <a:gdLst>
                <a:gd name="T0" fmla="*/ 203 w 292"/>
                <a:gd name="T1" fmla="*/ 0 h 235"/>
                <a:gd name="T2" fmla="*/ 203 w 292"/>
                <a:gd name="T3" fmla="*/ 0 h 235"/>
                <a:gd name="T4" fmla="*/ 29 w 292"/>
                <a:gd name="T5" fmla="*/ 29 h 235"/>
                <a:gd name="T6" fmla="*/ 87 w 292"/>
                <a:gd name="T7" fmla="*/ 87 h 235"/>
                <a:gd name="T8" fmla="*/ 58 w 292"/>
                <a:gd name="T9" fmla="*/ 117 h 235"/>
                <a:gd name="T10" fmla="*/ 262 w 292"/>
                <a:gd name="T11" fmla="*/ 146 h 235"/>
                <a:gd name="T12" fmla="*/ 233 w 292"/>
                <a:gd name="T13" fmla="*/ 87 h 235"/>
                <a:gd name="T14" fmla="*/ 203 w 292"/>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35">
                  <a:moveTo>
                    <a:pt x="203" y="0"/>
                  </a:moveTo>
                  <a:lnTo>
                    <a:pt x="203" y="0"/>
                  </a:lnTo>
                  <a:cubicBezTo>
                    <a:pt x="146" y="0"/>
                    <a:pt x="87" y="29"/>
                    <a:pt x="29" y="29"/>
                  </a:cubicBezTo>
                  <a:cubicBezTo>
                    <a:pt x="0" y="87"/>
                    <a:pt x="58" y="87"/>
                    <a:pt x="87" y="87"/>
                  </a:cubicBezTo>
                  <a:cubicBezTo>
                    <a:pt x="58" y="87"/>
                    <a:pt x="58" y="117"/>
                    <a:pt x="58" y="117"/>
                  </a:cubicBezTo>
                  <a:cubicBezTo>
                    <a:pt x="87" y="234"/>
                    <a:pt x="175" y="146"/>
                    <a:pt x="262" y="146"/>
                  </a:cubicBezTo>
                  <a:cubicBezTo>
                    <a:pt x="291" y="87"/>
                    <a:pt x="233" y="117"/>
                    <a:pt x="233" y="87"/>
                  </a:cubicBezTo>
                  <a:cubicBezTo>
                    <a:pt x="203" y="58"/>
                    <a:pt x="233" y="29"/>
                    <a:pt x="20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3" name="Freeform 880">
              <a:extLst>
                <a:ext uri="{FF2B5EF4-FFF2-40B4-BE49-F238E27FC236}">
                  <a16:creationId xmlns:a16="http://schemas.microsoft.com/office/drawing/2014/main" id="{738A3AA3-376F-4A50-843A-4A1A1F6BBB99}"/>
                </a:ext>
              </a:extLst>
            </p:cNvPr>
            <p:cNvSpPr>
              <a:spLocks noChangeArrowheads="1"/>
            </p:cNvSpPr>
            <p:nvPr/>
          </p:nvSpPr>
          <p:spPr bwMode="auto">
            <a:xfrm>
              <a:off x="5063840" y="-470871"/>
              <a:ext cx="86435" cy="43694"/>
            </a:xfrm>
            <a:custGeom>
              <a:avLst/>
              <a:gdLst>
                <a:gd name="T0" fmla="*/ 59 w 235"/>
                <a:gd name="T1" fmla="*/ 117 h 118"/>
                <a:gd name="T2" fmla="*/ 59 w 235"/>
                <a:gd name="T3" fmla="*/ 117 h 118"/>
                <a:gd name="T4" fmla="*/ 88 w 235"/>
                <a:gd name="T5" fmla="*/ 117 h 118"/>
                <a:gd name="T6" fmla="*/ 176 w 235"/>
                <a:gd name="T7" fmla="*/ 0 h 118"/>
                <a:gd name="T8" fmla="*/ 0 w 235"/>
                <a:gd name="T9" fmla="*/ 29 h 118"/>
                <a:gd name="T10" fmla="*/ 0 w 235"/>
                <a:gd name="T11" fmla="*/ 58 h 118"/>
                <a:gd name="T12" fmla="*/ 59 w 235"/>
                <a:gd name="T13" fmla="*/ 88 h 118"/>
                <a:gd name="T14" fmla="*/ 59 w 235"/>
                <a:gd name="T15" fmla="*/ 117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18">
                  <a:moveTo>
                    <a:pt x="59" y="117"/>
                  </a:moveTo>
                  <a:lnTo>
                    <a:pt x="59" y="117"/>
                  </a:lnTo>
                  <a:lnTo>
                    <a:pt x="88" y="117"/>
                  </a:lnTo>
                  <a:cubicBezTo>
                    <a:pt x="146" y="88"/>
                    <a:pt x="234" y="58"/>
                    <a:pt x="176" y="0"/>
                  </a:cubicBezTo>
                  <a:cubicBezTo>
                    <a:pt x="117" y="0"/>
                    <a:pt x="88" y="58"/>
                    <a:pt x="0" y="29"/>
                  </a:cubicBezTo>
                  <a:cubicBezTo>
                    <a:pt x="0" y="58"/>
                    <a:pt x="0" y="58"/>
                    <a:pt x="0" y="58"/>
                  </a:cubicBezTo>
                  <a:cubicBezTo>
                    <a:pt x="29" y="88"/>
                    <a:pt x="59" y="88"/>
                    <a:pt x="59" y="88"/>
                  </a:cubicBezTo>
                  <a:cubicBezTo>
                    <a:pt x="59" y="88"/>
                    <a:pt x="59" y="88"/>
                    <a:pt x="59"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4" name="Freeform 881">
              <a:extLst>
                <a:ext uri="{FF2B5EF4-FFF2-40B4-BE49-F238E27FC236}">
                  <a16:creationId xmlns:a16="http://schemas.microsoft.com/office/drawing/2014/main" id="{9605394F-DB84-4481-B246-411B5CEE8A98}"/>
                </a:ext>
              </a:extLst>
            </p:cNvPr>
            <p:cNvSpPr>
              <a:spLocks noChangeArrowheads="1"/>
            </p:cNvSpPr>
            <p:nvPr/>
          </p:nvSpPr>
          <p:spPr bwMode="auto">
            <a:xfrm>
              <a:off x="5085042" y="-385101"/>
              <a:ext cx="44032" cy="43695"/>
            </a:xfrm>
            <a:custGeom>
              <a:avLst/>
              <a:gdLst>
                <a:gd name="T0" fmla="*/ 117 w 118"/>
                <a:gd name="T1" fmla="*/ 116 h 117"/>
                <a:gd name="T2" fmla="*/ 117 w 118"/>
                <a:gd name="T3" fmla="*/ 116 h 117"/>
                <a:gd name="T4" fmla="*/ 117 w 118"/>
                <a:gd name="T5" fmla="*/ 58 h 117"/>
                <a:gd name="T6" fmla="*/ 0 w 118"/>
                <a:gd name="T7" fmla="*/ 58 h 117"/>
                <a:gd name="T8" fmla="*/ 117 w 118"/>
                <a:gd name="T9" fmla="*/ 116 h 117"/>
              </a:gdLst>
              <a:ahLst/>
              <a:cxnLst>
                <a:cxn ang="0">
                  <a:pos x="T0" y="T1"/>
                </a:cxn>
                <a:cxn ang="0">
                  <a:pos x="T2" y="T3"/>
                </a:cxn>
                <a:cxn ang="0">
                  <a:pos x="T4" y="T5"/>
                </a:cxn>
                <a:cxn ang="0">
                  <a:pos x="T6" y="T7"/>
                </a:cxn>
                <a:cxn ang="0">
                  <a:pos x="T8" y="T9"/>
                </a:cxn>
              </a:cxnLst>
              <a:rect l="0" t="0" r="r" b="b"/>
              <a:pathLst>
                <a:path w="118" h="117">
                  <a:moveTo>
                    <a:pt x="117" y="116"/>
                  </a:moveTo>
                  <a:lnTo>
                    <a:pt x="117" y="116"/>
                  </a:lnTo>
                  <a:cubicBezTo>
                    <a:pt x="117" y="87"/>
                    <a:pt x="117" y="87"/>
                    <a:pt x="117" y="58"/>
                  </a:cubicBezTo>
                  <a:cubicBezTo>
                    <a:pt x="87" y="58"/>
                    <a:pt x="58" y="0"/>
                    <a:pt x="0" y="58"/>
                  </a:cubicBezTo>
                  <a:cubicBezTo>
                    <a:pt x="29" y="87"/>
                    <a:pt x="58" y="116"/>
                    <a:pt x="117"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5" name="Freeform 882">
              <a:extLst>
                <a:ext uri="{FF2B5EF4-FFF2-40B4-BE49-F238E27FC236}">
                  <a16:creationId xmlns:a16="http://schemas.microsoft.com/office/drawing/2014/main" id="{22C7B9FF-4C65-4898-ABF8-07FC19817168}"/>
                </a:ext>
              </a:extLst>
            </p:cNvPr>
            <p:cNvSpPr>
              <a:spLocks noChangeArrowheads="1"/>
            </p:cNvSpPr>
            <p:nvPr/>
          </p:nvSpPr>
          <p:spPr bwMode="auto">
            <a:xfrm>
              <a:off x="4276143" y="-364062"/>
              <a:ext cx="44032" cy="21038"/>
            </a:xfrm>
            <a:custGeom>
              <a:avLst/>
              <a:gdLst>
                <a:gd name="T0" fmla="*/ 0 w 118"/>
                <a:gd name="T1" fmla="*/ 58 h 59"/>
                <a:gd name="T2" fmla="*/ 0 w 118"/>
                <a:gd name="T3" fmla="*/ 58 h 59"/>
                <a:gd name="T4" fmla="*/ 88 w 118"/>
                <a:gd name="T5" fmla="*/ 58 h 59"/>
                <a:gd name="T6" fmla="*/ 117 w 118"/>
                <a:gd name="T7" fmla="*/ 0 h 59"/>
                <a:gd name="T8" fmla="*/ 0 w 118"/>
                <a:gd name="T9" fmla="*/ 29 h 59"/>
                <a:gd name="T10" fmla="*/ 0 w 118"/>
                <a:gd name="T11" fmla="*/ 58 h 59"/>
              </a:gdLst>
              <a:ahLst/>
              <a:cxnLst>
                <a:cxn ang="0">
                  <a:pos x="T0" y="T1"/>
                </a:cxn>
                <a:cxn ang="0">
                  <a:pos x="T2" y="T3"/>
                </a:cxn>
                <a:cxn ang="0">
                  <a:pos x="T4" y="T5"/>
                </a:cxn>
                <a:cxn ang="0">
                  <a:pos x="T6" y="T7"/>
                </a:cxn>
                <a:cxn ang="0">
                  <a:pos x="T8" y="T9"/>
                </a:cxn>
                <a:cxn ang="0">
                  <a:pos x="T10" y="T11"/>
                </a:cxn>
              </a:cxnLst>
              <a:rect l="0" t="0" r="r" b="b"/>
              <a:pathLst>
                <a:path w="118" h="59">
                  <a:moveTo>
                    <a:pt x="0" y="58"/>
                  </a:moveTo>
                  <a:lnTo>
                    <a:pt x="0" y="58"/>
                  </a:lnTo>
                  <a:cubicBezTo>
                    <a:pt x="29" y="29"/>
                    <a:pt x="58" y="58"/>
                    <a:pt x="88" y="58"/>
                  </a:cubicBezTo>
                  <a:cubicBezTo>
                    <a:pt x="88" y="29"/>
                    <a:pt x="117" y="29"/>
                    <a:pt x="117" y="0"/>
                  </a:cubicBezTo>
                  <a:cubicBezTo>
                    <a:pt x="58" y="0"/>
                    <a:pt x="0" y="0"/>
                    <a:pt x="0" y="29"/>
                  </a:cubicBezTo>
                  <a:cubicBezTo>
                    <a:pt x="0" y="29"/>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6" name="Freeform 883">
              <a:extLst>
                <a:ext uri="{FF2B5EF4-FFF2-40B4-BE49-F238E27FC236}">
                  <a16:creationId xmlns:a16="http://schemas.microsoft.com/office/drawing/2014/main" id="{742E0EA9-0964-40E8-A5D0-0E678E311592}"/>
                </a:ext>
              </a:extLst>
            </p:cNvPr>
            <p:cNvSpPr>
              <a:spLocks noChangeArrowheads="1"/>
            </p:cNvSpPr>
            <p:nvPr/>
          </p:nvSpPr>
          <p:spPr bwMode="auto">
            <a:xfrm>
              <a:off x="4383778" y="-299329"/>
              <a:ext cx="21200" cy="32366"/>
            </a:xfrm>
            <a:custGeom>
              <a:avLst/>
              <a:gdLst>
                <a:gd name="T0" fmla="*/ 30 w 59"/>
                <a:gd name="T1" fmla="*/ 88 h 89"/>
                <a:gd name="T2" fmla="*/ 30 w 59"/>
                <a:gd name="T3" fmla="*/ 88 h 89"/>
                <a:gd name="T4" fmla="*/ 58 w 59"/>
                <a:gd name="T5" fmla="*/ 58 h 89"/>
                <a:gd name="T6" fmla="*/ 0 w 59"/>
                <a:gd name="T7" fmla="*/ 58 h 89"/>
                <a:gd name="T8" fmla="*/ 30 w 59"/>
                <a:gd name="T9" fmla="*/ 88 h 89"/>
              </a:gdLst>
              <a:ahLst/>
              <a:cxnLst>
                <a:cxn ang="0">
                  <a:pos x="T0" y="T1"/>
                </a:cxn>
                <a:cxn ang="0">
                  <a:pos x="T2" y="T3"/>
                </a:cxn>
                <a:cxn ang="0">
                  <a:pos x="T4" y="T5"/>
                </a:cxn>
                <a:cxn ang="0">
                  <a:pos x="T6" y="T7"/>
                </a:cxn>
                <a:cxn ang="0">
                  <a:pos x="T8" y="T9"/>
                </a:cxn>
              </a:cxnLst>
              <a:rect l="0" t="0" r="r" b="b"/>
              <a:pathLst>
                <a:path w="59" h="89">
                  <a:moveTo>
                    <a:pt x="30" y="88"/>
                  </a:moveTo>
                  <a:lnTo>
                    <a:pt x="30" y="88"/>
                  </a:lnTo>
                  <a:cubicBezTo>
                    <a:pt x="58" y="88"/>
                    <a:pt x="58" y="58"/>
                    <a:pt x="58" y="58"/>
                  </a:cubicBezTo>
                  <a:cubicBezTo>
                    <a:pt x="30" y="29"/>
                    <a:pt x="0" y="0"/>
                    <a:pt x="0" y="58"/>
                  </a:cubicBezTo>
                  <a:cubicBezTo>
                    <a:pt x="0" y="88"/>
                    <a:pt x="30" y="88"/>
                    <a:pt x="3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7" name="Freeform 884">
              <a:extLst>
                <a:ext uri="{FF2B5EF4-FFF2-40B4-BE49-F238E27FC236}">
                  <a16:creationId xmlns:a16="http://schemas.microsoft.com/office/drawing/2014/main" id="{ABE948CD-554B-4E3B-9014-3BF21B9E28BB}"/>
                </a:ext>
              </a:extLst>
            </p:cNvPr>
            <p:cNvSpPr>
              <a:spLocks noChangeArrowheads="1"/>
            </p:cNvSpPr>
            <p:nvPr/>
          </p:nvSpPr>
          <p:spPr bwMode="auto">
            <a:xfrm>
              <a:off x="5905357" y="-245925"/>
              <a:ext cx="65234" cy="53405"/>
            </a:xfrm>
            <a:custGeom>
              <a:avLst/>
              <a:gdLst>
                <a:gd name="T0" fmla="*/ 145 w 175"/>
                <a:gd name="T1" fmla="*/ 0 h 146"/>
                <a:gd name="T2" fmla="*/ 145 w 175"/>
                <a:gd name="T3" fmla="*/ 0 h 146"/>
                <a:gd name="T4" fmla="*/ 0 w 175"/>
                <a:gd name="T5" fmla="*/ 116 h 146"/>
                <a:gd name="T6" fmla="*/ 174 w 175"/>
                <a:gd name="T7" fmla="*/ 87 h 146"/>
                <a:gd name="T8" fmla="*/ 174 w 175"/>
                <a:gd name="T9" fmla="*/ 29 h 146"/>
                <a:gd name="T10" fmla="*/ 145 w 175"/>
                <a:gd name="T11" fmla="*/ 0 h 146"/>
              </a:gdLst>
              <a:ahLst/>
              <a:cxnLst>
                <a:cxn ang="0">
                  <a:pos x="T0" y="T1"/>
                </a:cxn>
                <a:cxn ang="0">
                  <a:pos x="T2" y="T3"/>
                </a:cxn>
                <a:cxn ang="0">
                  <a:pos x="T4" y="T5"/>
                </a:cxn>
                <a:cxn ang="0">
                  <a:pos x="T6" y="T7"/>
                </a:cxn>
                <a:cxn ang="0">
                  <a:pos x="T8" y="T9"/>
                </a:cxn>
                <a:cxn ang="0">
                  <a:pos x="T10" y="T11"/>
                </a:cxn>
              </a:cxnLst>
              <a:rect l="0" t="0" r="r" b="b"/>
              <a:pathLst>
                <a:path w="175" h="146">
                  <a:moveTo>
                    <a:pt x="145" y="0"/>
                  </a:moveTo>
                  <a:lnTo>
                    <a:pt x="145" y="0"/>
                  </a:lnTo>
                  <a:cubicBezTo>
                    <a:pt x="86" y="0"/>
                    <a:pt x="0" y="29"/>
                    <a:pt x="0" y="116"/>
                  </a:cubicBezTo>
                  <a:cubicBezTo>
                    <a:pt x="57" y="145"/>
                    <a:pt x="116" y="58"/>
                    <a:pt x="174" y="87"/>
                  </a:cubicBezTo>
                  <a:cubicBezTo>
                    <a:pt x="174" y="87"/>
                    <a:pt x="174" y="58"/>
                    <a:pt x="174" y="29"/>
                  </a:cubicBezTo>
                  <a:cubicBezTo>
                    <a:pt x="145" y="58"/>
                    <a:pt x="145" y="29"/>
                    <a:pt x="14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8" name="Freeform 885">
              <a:extLst>
                <a:ext uri="{FF2B5EF4-FFF2-40B4-BE49-F238E27FC236}">
                  <a16:creationId xmlns:a16="http://schemas.microsoft.com/office/drawing/2014/main" id="{358FE9FF-4120-413D-85A2-11AE478FA8EC}"/>
                </a:ext>
              </a:extLst>
            </p:cNvPr>
            <p:cNvSpPr>
              <a:spLocks noChangeArrowheads="1"/>
            </p:cNvSpPr>
            <p:nvPr/>
          </p:nvSpPr>
          <p:spPr bwMode="auto">
            <a:xfrm>
              <a:off x="5807506" y="-213559"/>
              <a:ext cx="151669" cy="118138"/>
            </a:xfrm>
            <a:custGeom>
              <a:avLst/>
              <a:gdLst>
                <a:gd name="T0" fmla="*/ 0 w 410"/>
                <a:gd name="T1" fmla="*/ 205 h 322"/>
                <a:gd name="T2" fmla="*/ 0 w 410"/>
                <a:gd name="T3" fmla="*/ 205 h 322"/>
                <a:gd name="T4" fmla="*/ 59 w 410"/>
                <a:gd name="T5" fmla="*/ 263 h 322"/>
                <a:gd name="T6" fmla="*/ 88 w 410"/>
                <a:gd name="T7" fmla="*/ 234 h 322"/>
                <a:gd name="T8" fmla="*/ 59 w 410"/>
                <a:gd name="T9" fmla="*/ 291 h 322"/>
                <a:gd name="T10" fmla="*/ 147 w 410"/>
                <a:gd name="T11" fmla="*/ 263 h 322"/>
                <a:gd name="T12" fmla="*/ 205 w 410"/>
                <a:gd name="T13" fmla="*/ 234 h 322"/>
                <a:gd name="T14" fmla="*/ 176 w 410"/>
                <a:gd name="T15" fmla="*/ 263 h 322"/>
                <a:gd name="T16" fmla="*/ 264 w 410"/>
                <a:gd name="T17" fmla="*/ 234 h 322"/>
                <a:gd name="T18" fmla="*/ 321 w 410"/>
                <a:gd name="T19" fmla="*/ 205 h 322"/>
                <a:gd name="T20" fmla="*/ 380 w 410"/>
                <a:gd name="T21" fmla="*/ 205 h 322"/>
                <a:gd name="T22" fmla="*/ 409 w 410"/>
                <a:gd name="T23" fmla="*/ 117 h 322"/>
                <a:gd name="T24" fmla="*/ 350 w 410"/>
                <a:gd name="T25" fmla="*/ 117 h 322"/>
                <a:gd name="T26" fmla="*/ 264 w 410"/>
                <a:gd name="T27" fmla="*/ 58 h 322"/>
                <a:gd name="T28" fmla="*/ 264 w 410"/>
                <a:gd name="T29" fmla="*/ 29 h 322"/>
                <a:gd name="T30" fmla="*/ 147 w 410"/>
                <a:gd name="T31" fmla="*/ 58 h 322"/>
                <a:gd name="T32" fmla="*/ 205 w 410"/>
                <a:gd name="T33" fmla="*/ 117 h 322"/>
                <a:gd name="T34" fmla="*/ 176 w 410"/>
                <a:gd name="T35" fmla="*/ 117 h 322"/>
                <a:gd name="T36" fmla="*/ 147 w 410"/>
                <a:gd name="T37" fmla="*/ 88 h 322"/>
                <a:gd name="T38" fmla="*/ 0 w 410"/>
                <a:gd name="T39" fmla="*/ 146 h 322"/>
                <a:gd name="T40" fmla="*/ 30 w 410"/>
                <a:gd name="T41" fmla="*/ 205 h 322"/>
                <a:gd name="T42" fmla="*/ 0 w 410"/>
                <a:gd name="T43" fmla="*/ 205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0" h="322">
                  <a:moveTo>
                    <a:pt x="0" y="205"/>
                  </a:moveTo>
                  <a:lnTo>
                    <a:pt x="0" y="205"/>
                  </a:lnTo>
                  <a:cubicBezTo>
                    <a:pt x="0" y="234"/>
                    <a:pt x="30" y="263"/>
                    <a:pt x="59" y="263"/>
                  </a:cubicBezTo>
                  <a:cubicBezTo>
                    <a:pt x="59" y="263"/>
                    <a:pt x="59" y="234"/>
                    <a:pt x="88" y="234"/>
                  </a:cubicBezTo>
                  <a:cubicBezTo>
                    <a:pt x="117" y="263"/>
                    <a:pt x="59" y="263"/>
                    <a:pt x="59" y="291"/>
                  </a:cubicBezTo>
                  <a:cubicBezTo>
                    <a:pt x="117" y="321"/>
                    <a:pt x="117" y="291"/>
                    <a:pt x="147" y="263"/>
                  </a:cubicBezTo>
                  <a:cubicBezTo>
                    <a:pt x="176" y="234"/>
                    <a:pt x="176" y="234"/>
                    <a:pt x="205" y="234"/>
                  </a:cubicBezTo>
                  <a:lnTo>
                    <a:pt x="176" y="263"/>
                  </a:lnTo>
                  <a:cubicBezTo>
                    <a:pt x="234" y="291"/>
                    <a:pt x="234" y="263"/>
                    <a:pt x="264" y="234"/>
                  </a:cubicBezTo>
                  <a:cubicBezTo>
                    <a:pt x="264" y="234"/>
                    <a:pt x="292" y="205"/>
                    <a:pt x="321" y="205"/>
                  </a:cubicBezTo>
                  <a:cubicBezTo>
                    <a:pt x="321" y="234"/>
                    <a:pt x="350" y="205"/>
                    <a:pt x="380" y="205"/>
                  </a:cubicBezTo>
                  <a:cubicBezTo>
                    <a:pt x="380" y="175"/>
                    <a:pt x="409" y="175"/>
                    <a:pt x="409" y="117"/>
                  </a:cubicBezTo>
                  <a:cubicBezTo>
                    <a:pt x="409" y="117"/>
                    <a:pt x="380" y="88"/>
                    <a:pt x="350" y="117"/>
                  </a:cubicBezTo>
                  <a:cubicBezTo>
                    <a:pt x="350" y="58"/>
                    <a:pt x="292" y="29"/>
                    <a:pt x="264" y="58"/>
                  </a:cubicBezTo>
                  <a:cubicBezTo>
                    <a:pt x="264" y="29"/>
                    <a:pt x="264" y="29"/>
                    <a:pt x="264" y="29"/>
                  </a:cubicBezTo>
                  <a:cubicBezTo>
                    <a:pt x="205" y="29"/>
                    <a:pt x="147" y="0"/>
                    <a:pt x="147" y="58"/>
                  </a:cubicBezTo>
                  <a:cubicBezTo>
                    <a:pt x="176" y="88"/>
                    <a:pt x="205" y="88"/>
                    <a:pt x="205" y="117"/>
                  </a:cubicBezTo>
                  <a:cubicBezTo>
                    <a:pt x="176" y="117"/>
                    <a:pt x="176" y="146"/>
                    <a:pt x="176" y="117"/>
                  </a:cubicBezTo>
                  <a:cubicBezTo>
                    <a:pt x="147" y="117"/>
                    <a:pt x="176" y="117"/>
                    <a:pt x="147" y="88"/>
                  </a:cubicBezTo>
                  <a:cubicBezTo>
                    <a:pt x="88" y="58"/>
                    <a:pt x="30" y="117"/>
                    <a:pt x="0" y="146"/>
                  </a:cubicBezTo>
                  <a:cubicBezTo>
                    <a:pt x="0" y="175"/>
                    <a:pt x="30" y="175"/>
                    <a:pt x="30" y="205"/>
                  </a:cubicBezTo>
                  <a:cubicBezTo>
                    <a:pt x="30" y="175"/>
                    <a:pt x="30" y="205"/>
                    <a:pt x="0" y="20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09" name="Freeform 886">
              <a:extLst>
                <a:ext uri="{FF2B5EF4-FFF2-40B4-BE49-F238E27FC236}">
                  <a16:creationId xmlns:a16="http://schemas.microsoft.com/office/drawing/2014/main" id="{BB5F4CD1-6224-4789-B95C-8A2916D7567E}"/>
                </a:ext>
              </a:extLst>
            </p:cNvPr>
            <p:cNvSpPr>
              <a:spLocks noChangeArrowheads="1"/>
            </p:cNvSpPr>
            <p:nvPr/>
          </p:nvSpPr>
          <p:spPr bwMode="auto">
            <a:xfrm>
              <a:off x="4470213" y="-202230"/>
              <a:ext cx="32617" cy="43694"/>
            </a:xfrm>
            <a:custGeom>
              <a:avLst/>
              <a:gdLst>
                <a:gd name="T0" fmla="*/ 88 w 89"/>
                <a:gd name="T1" fmla="*/ 117 h 118"/>
                <a:gd name="T2" fmla="*/ 88 w 89"/>
                <a:gd name="T3" fmla="*/ 117 h 118"/>
                <a:gd name="T4" fmla="*/ 88 w 89"/>
                <a:gd name="T5" fmla="*/ 88 h 118"/>
                <a:gd name="T6" fmla="*/ 88 w 89"/>
                <a:gd name="T7" fmla="*/ 29 h 118"/>
                <a:gd name="T8" fmla="*/ 30 w 89"/>
                <a:gd name="T9" fmla="*/ 0 h 118"/>
                <a:gd name="T10" fmla="*/ 30 w 89"/>
                <a:gd name="T11" fmla="*/ 59 h 118"/>
                <a:gd name="T12" fmla="*/ 0 w 89"/>
                <a:gd name="T13" fmla="*/ 59 h 118"/>
                <a:gd name="T14" fmla="*/ 88 w 89"/>
                <a:gd name="T15" fmla="*/ 117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18">
                  <a:moveTo>
                    <a:pt x="88" y="117"/>
                  </a:moveTo>
                  <a:lnTo>
                    <a:pt x="88" y="117"/>
                  </a:lnTo>
                  <a:cubicBezTo>
                    <a:pt x="88" y="117"/>
                    <a:pt x="88" y="117"/>
                    <a:pt x="88" y="88"/>
                  </a:cubicBezTo>
                  <a:cubicBezTo>
                    <a:pt x="59" y="88"/>
                    <a:pt x="88" y="59"/>
                    <a:pt x="88" y="29"/>
                  </a:cubicBezTo>
                  <a:cubicBezTo>
                    <a:pt x="88" y="29"/>
                    <a:pt x="59" y="0"/>
                    <a:pt x="30" y="0"/>
                  </a:cubicBezTo>
                  <a:cubicBezTo>
                    <a:pt x="0" y="0"/>
                    <a:pt x="30" y="29"/>
                    <a:pt x="30" y="59"/>
                  </a:cubicBezTo>
                  <a:lnTo>
                    <a:pt x="0" y="59"/>
                  </a:lnTo>
                  <a:cubicBezTo>
                    <a:pt x="30" y="88"/>
                    <a:pt x="59" y="117"/>
                    <a:pt x="88"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0" name="Freeform 887">
              <a:extLst>
                <a:ext uri="{FF2B5EF4-FFF2-40B4-BE49-F238E27FC236}">
                  <a16:creationId xmlns:a16="http://schemas.microsoft.com/office/drawing/2014/main" id="{2E61F08E-783C-4271-AA8A-452DFB08222C}"/>
                </a:ext>
              </a:extLst>
            </p:cNvPr>
            <p:cNvSpPr>
              <a:spLocks noChangeArrowheads="1"/>
            </p:cNvSpPr>
            <p:nvPr/>
          </p:nvSpPr>
          <p:spPr bwMode="auto">
            <a:xfrm>
              <a:off x="4514246" y="-171482"/>
              <a:ext cx="21200" cy="21039"/>
            </a:xfrm>
            <a:custGeom>
              <a:avLst/>
              <a:gdLst>
                <a:gd name="T0" fmla="*/ 58 w 59"/>
                <a:gd name="T1" fmla="*/ 0 h 59"/>
                <a:gd name="T2" fmla="*/ 58 w 59"/>
                <a:gd name="T3" fmla="*/ 0 h 59"/>
                <a:gd name="T4" fmla="*/ 0 w 59"/>
                <a:gd name="T5" fmla="*/ 29 h 59"/>
                <a:gd name="T6" fmla="*/ 58 w 59"/>
                <a:gd name="T7" fmla="*/ 0 h 59"/>
              </a:gdLst>
              <a:ahLst/>
              <a:cxnLst>
                <a:cxn ang="0">
                  <a:pos x="T0" y="T1"/>
                </a:cxn>
                <a:cxn ang="0">
                  <a:pos x="T2" y="T3"/>
                </a:cxn>
                <a:cxn ang="0">
                  <a:pos x="T4" y="T5"/>
                </a:cxn>
                <a:cxn ang="0">
                  <a:pos x="T6" y="T7"/>
                </a:cxn>
              </a:cxnLst>
              <a:rect l="0" t="0" r="r" b="b"/>
              <a:pathLst>
                <a:path w="59" h="59">
                  <a:moveTo>
                    <a:pt x="58" y="0"/>
                  </a:moveTo>
                  <a:lnTo>
                    <a:pt x="58" y="0"/>
                  </a:lnTo>
                  <a:cubicBezTo>
                    <a:pt x="58" y="0"/>
                    <a:pt x="0" y="0"/>
                    <a:pt x="0" y="29"/>
                  </a:cubicBezTo>
                  <a:cubicBezTo>
                    <a:pt x="29" y="58"/>
                    <a:pt x="58" y="29"/>
                    <a:pt x="5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1" name="Freeform 888">
              <a:extLst>
                <a:ext uri="{FF2B5EF4-FFF2-40B4-BE49-F238E27FC236}">
                  <a16:creationId xmlns:a16="http://schemas.microsoft.com/office/drawing/2014/main" id="{B0E0A6A6-953E-4ACC-91E5-EB4E6E360630}"/>
                </a:ext>
              </a:extLst>
            </p:cNvPr>
            <p:cNvSpPr>
              <a:spLocks noChangeArrowheads="1"/>
            </p:cNvSpPr>
            <p:nvPr/>
          </p:nvSpPr>
          <p:spPr bwMode="auto">
            <a:xfrm>
              <a:off x="4524031" y="-171482"/>
              <a:ext cx="44032" cy="43695"/>
            </a:xfrm>
            <a:custGeom>
              <a:avLst/>
              <a:gdLst>
                <a:gd name="T0" fmla="*/ 0 w 118"/>
                <a:gd name="T1" fmla="*/ 88 h 118"/>
                <a:gd name="T2" fmla="*/ 0 w 118"/>
                <a:gd name="T3" fmla="*/ 88 h 118"/>
                <a:gd name="T4" fmla="*/ 87 w 118"/>
                <a:gd name="T5" fmla="*/ 117 h 118"/>
                <a:gd name="T6" fmla="*/ 117 w 118"/>
                <a:gd name="T7" fmla="*/ 29 h 118"/>
                <a:gd name="T8" fmla="*/ 0 w 118"/>
                <a:gd name="T9" fmla="*/ 88 h 118"/>
              </a:gdLst>
              <a:ahLst/>
              <a:cxnLst>
                <a:cxn ang="0">
                  <a:pos x="T0" y="T1"/>
                </a:cxn>
                <a:cxn ang="0">
                  <a:pos x="T2" y="T3"/>
                </a:cxn>
                <a:cxn ang="0">
                  <a:pos x="T4" y="T5"/>
                </a:cxn>
                <a:cxn ang="0">
                  <a:pos x="T6" y="T7"/>
                </a:cxn>
                <a:cxn ang="0">
                  <a:pos x="T8" y="T9"/>
                </a:cxn>
              </a:cxnLst>
              <a:rect l="0" t="0" r="r" b="b"/>
              <a:pathLst>
                <a:path w="118" h="118">
                  <a:moveTo>
                    <a:pt x="0" y="88"/>
                  </a:moveTo>
                  <a:lnTo>
                    <a:pt x="0" y="88"/>
                  </a:lnTo>
                  <a:cubicBezTo>
                    <a:pt x="29" y="117"/>
                    <a:pt x="58" y="117"/>
                    <a:pt x="87" y="117"/>
                  </a:cubicBezTo>
                  <a:cubicBezTo>
                    <a:pt x="87" y="88"/>
                    <a:pt x="117" y="58"/>
                    <a:pt x="117" y="29"/>
                  </a:cubicBezTo>
                  <a:cubicBezTo>
                    <a:pt x="58" y="0"/>
                    <a:pt x="29" y="88"/>
                    <a:pt x="0"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2" name="Freeform 889">
              <a:extLst>
                <a:ext uri="{FF2B5EF4-FFF2-40B4-BE49-F238E27FC236}">
                  <a16:creationId xmlns:a16="http://schemas.microsoft.com/office/drawing/2014/main" id="{C069A3D6-1488-459D-AD7B-03A140C04825}"/>
                </a:ext>
              </a:extLst>
            </p:cNvPr>
            <p:cNvSpPr>
              <a:spLocks noChangeArrowheads="1"/>
            </p:cNvSpPr>
            <p:nvPr/>
          </p:nvSpPr>
          <p:spPr bwMode="auto">
            <a:xfrm>
              <a:off x="6714256" y="-127787"/>
              <a:ext cx="107636" cy="181252"/>
            </a:xfrm>
            <a:custGeom>
              <a:avLst/>
              <a:gdLst>
                <a:gd name="T0" fmla="*/ 176 w 293"/>
                <a:gd name="T1" fmla="*/ 87 h 496"/>
                <a:gd name="T2" fmla="*/ 176 w 293"/>
                <a:gd name="T3" fmla="*/ 87 h 496"/>
                <a:gd name="T4" fmla="*/ 176 w 293"/>
                <a:gd name="T5" fmla="*/ 29 h 496"/>
                <a:gd name="T6" fmla="*/ 59 w 293"/>
                <a:gd name="T7" fmla="*/ 0 h 496"/>
                <a:gd name="T8" fmla="*/ 0 w 293"/>
                <a:gd name="T9" fmla="*/ 57 h 496"/>
                <a:gd name="T10" fmla="*/ 117 w 293"/>
                <a:gd name="T11" fmla="*/ 233 h 496"/>
                <a:gd name="T12" fmla="*/ 59 w 293"/>
                <a:gd name="T13" fmla="*/ 291 h 496"/>
                <a:gd name="T14" fmla="*/ 176 w 293"/>
                <a:gd name="T15" fmla="*/ 350 h 496"/>
                <a:gd name="T16" fmla="*/ 205 w 293"/>
                <a:gd name="T17" fmla="*/ 495 h 496"/>
                <a:gd name="T18" fmla="*/ 234 w 293"/>
                <a:gd name="T19" fmla="*/ 495 h 496"/>
                <a:gd name="T20" fmla="*/ 205 w 293"/>
                <a:gd name="T21" fmla="*/ 233 h 496"/>
                <a:gd name="T22" fmla="*/ 117 w 293"/>
                <a:gd name="T23" fmla="*/ 174 h 496"/>
                <a:gd name="T24" fmla="*/ 176 w 293"/>
                <a:gd name="T25" fmla="*/ 204 h 496"/>
                <a:gd name="T26" fmla="*/ 117 w 293"/>
                <a:gd name="T27" fmla="*/ 57 h 496"/>
                <a:gd name="T28" fmla="*/ 176 w 293"/>
                <a:gd name="T29" fmla="*/ 8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3" h="496">
                  <a:moveTo>
                    <a:pt x="176" y="87"/>
                  </a:moveTo>
                  <a:lnTo>
                    <a:pt x="176" y="87"/>
                  </a:lnTo>
                  <a:cubicBezTo>
                    <a:pt x="205" y="57"/>
                    <a:pt x="176" y="57"/>
                    <a:pt x="176" y="29"/>
                  </a:cubicBezTo>
                  <a:cubicBezTo>
                    <a:pt x="117" y="29"/>
                    <a:pt x="117" y="0"/>
                    <a:pt x="59" y="0"/>
                  </a:cubicBezTo>
                  <a:cubicBezTo>
                    <a:pt x="59" y="29"/>
                    <a:pt x="30" y="29"/>
                    <a:pt x="0" y="57"/>
                  </a:cubicBezTo>
                  <a:cubicBezTo>
                    <a:pt x="30" y="116"/>
                    <a:pt x="59" y="174"/>
                    <a:pt x="117" y="233"/>
                  </a:cubicBezTo>
                  <a:cubicBezTo>
                    <a:pt x="88" y="262"/>
                    <a:pt x="59" y="262"/>
                    <a:pt x="59" y="291"/>
                  </a:cubicBezTo>
                  <a:cubicBezTo>
                    <a:pt x="59" y="350"/>
                    <a:pt x="117" y="350"/>
                    <a:pt x="176" y="350"/>
                  </a:cubicBezTo>
                  <a:cubicBezTo>
                    <a:pt x="176" y="407"/>
                    <a:pt x="205" y="437"/>
                    <a:pt x="205" y="495"/>
                  </a:cubicBezTo>
                  <a:cubicBezTo>
                    <a:pt x="234" y="466"/>
                    <a:pt x="234" y="495"/>
                    <a:pt x="234" y="495"/>
                  </a:cubicBezTo>
                  <a:cubicBezTo>
                    <a:pt x="292" y="407"/>
                    <a:pt x="234" y="291"/>
                    <a:pt x="205" y="233"/>
                  </a:cubicBezTo>
                  <a:cubicBezTo>
                    <a:pt x="176" y="204"/>
                    <a:pt x="88" y="233"/>
                    <a:pt x="117" y="174"/>
                  </a:cubicBezTo>
                  <a:cubicBezTo>
                    <a:pt x="147" y="204"/>
                    <a:pt x="147" y="204"/>
                    <a:pt x="176" y="204"/>
                  </a:cubicBezTo>
                  <a:cubicBezTo>
                    <a:pt x="205" y="116"/>
                    <a:pt x="147" y="116"/>
                    <a:pt x="117" y="57"/>
                  </a:cubicBezTo>
                  <a:cubicBezTo>
                    <a:pt x="147" y="57"/>
                    <a:pt x="147" y="87"/>
                    <a:pt x="176"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3" name="Freeform 890">
              <a:extLst>
                <a:ext uri="{FF2B5EF4-FFF2-40B4-BE49-F238E27FC236}">
                  <a16:creationId xmlns:a16="http://schemas.microsoft.com/office/drawing/2014/main" id="{2D3DC733-2D40-47A5-A08D-B55A76911BFF}"/>
                </a:ext>
              </a:extLst>
            </p:cNvPr>
            <p:cNvSpPr>
              <a:spLocks noChangeArrowheads="1"/>
            </p:cNvSpPr>
            <p:nvPr/>
          </p:nvSpPr>
          <p:spPr bwMode="auto">
            <a:xfrm>
              <a:off x="5225295" y="-116460"/>
              <a:ext cx="119051" cy="53405"/>
            </a:xfrm>
            <a:custGeom>
              <a:avLst/>
              <a:gdLst>
                <a:gd name="T0" fmla="*/ 174 w 322"/>
                <a:gd name="T1" fmla="*/ 58 h 146"/>
                <a:gd name="T2" fmla="*/ 174 w 322"/>
                <a:gd name="T3" fmla="*/ 58 h 146"/>
                <a:gd name="T4" fmla="*/ 291 w 322"/>
                <a:gd name="T5" fmla="*/ 116 h 146"/>
                <a:gd name="T6" fmla="*/ 291 w 322"/>
                <a:gd name="T7" fmla="*/ 0 h 146"/>
                <a:gd name="T8" fmla="*/ 174 w 322"/>
                <a:gd name="T9" fmla="*/ 58 h 146"/>
              </a:gdLst>
              <a:ahLst/>
              <a:cxnLst>
                <a:cxn ang="0">
                  <a:pos x="T0" y="T1"/>
                </a:cxn>
                <a:cxn ang="0">
                  <a:pos x="T2" y="T3"/>
                </a:cxn>
                <a:cxn ang="0">
                  <a:pos x="T4" y="T5"/>
                </a:cxn>
                <a:cxn ang="0">
                  <a:pos x="T6" y="T7"/>
                </a:cxn>
                <a:cxn ang="0">
                  <a:pos x="T8" y="T9"/>
                </a:cxn>
              </a:cxnLst>
              <a:rect l="0" t="0" r="r" b="b"/>
              <a:pathLst>
                <a:path w="322" h="146">
                  <a:moveTo>
                    <a:pt x="174" y="58"/>
                  </a:moveTo>
                  <a:lnTo>
                    <a:pt x="174" y="58"/>
                  </a:lnTo>
                  <a:cubicBezTo>
                    <a:pt x="174" y="116"/>
                    <a:pt x="233" y="145"/>
                    <a:pt x="291" y="116"/>
                  </a:cubicBezTo>
                  <a:cubicBezTo>
                    <a:pt x="262" y="87"/>
                    <a:pt x="321" y="28"/>
                    <a:pt x="291" y="0"/>
                  </a:cubicBezTo>
                  <a:cubicBezTo>
                    <a:pt x="233" y="0"/>
                    <a:pt x="0" y="0"/>
                    <a:pt x="174"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4" name="Freeform 891">
              <a:extLst>
                <a:ext uri="{FF2B5EF4-FFF2-40B4-BE49-F238E27FC236}">
                  <a16:creationId xmlns:a16="http://schemas.microsoft.com/office/drawing/2014/main" id="{A98291CD-EF2B-4E4A-998F-2AB9156B466A}"/>
                </a:ext>
              </a:extLst>
            </p:cNvPr>
            <p:cNvSpPr>
              <a:spLocks noChangeArrowheads="1"/>
            </p:cNvSpPr>
            <p:nvPr/>
          </p:nvSpPr>
          <p:spPr bwMode="auto">
            <a:xfrm>
              <a:off x="4610465" y="-127787"/>
              <a:ext cx="97851" cy="43694"/>
            </a:xfrm>
            <a:custGeom>
              <a:avLst/>
              <a:gdLst>
                <a:gd name="T0" fmla="*/ 233 w 263"/>
                <a:gd name="T1" fmla="*/ 116 h 117"/>
                <a:gd name="T2" fmla="*/ 233 w 263"/>
                <a:gd name="T3" fmla="*/ 116 h 117"/>
                <a:gd name="T4" fmla="*/ 233 w 263"/>
                <a:gd name="T5" fmla="*/ 29 h 117"/>
                <a:gd name="T6" fmla="*/ 174 w 263"/>
                <a:gd name="T7" fmla="*/ 29 h 117"/>
                <a:gd name="T8" fmla="*/ 174 w 263"/>
                <a:gd name="T9" fmla="*/ 57 h 117"/>
                <a:gd name="T10" fmla="*/ 0 w 263"/>
                <a:gd name="T11" fmla="*/ 29 h 117"/>
                <a:gd name="T12" fmla="*/ 233 w 263"/>
                <a:gd name="T13" fmla="*/ 116 h 117"/>
              </a:gdLst>
              <a:ahLst/>
              <a:cxnLst>
                <a:cxn ang="0">
                  <a:pos x="T0" y="T1"/>
                </a:cxn>
                <a:cxn ang="0">
                  <a:pos x="T2" y="T3"/>
                </a:cxn>
                <a:cxn ang="0">
                  <a:pos x="T4" y="T5"/>
                </a:cxn>
                <a:cxn ang="0">
                  <a:pos x="T6" y="T7"/>
                </a:cxn>
                <a:cxn ang="0">
                  <a:pos x="T8" y="T9"/>
                </a:cxn>
                <a:cxn ang="0">
                  <a:pos x="T10" y="T11"/>
                </a:cxn>
                <a:cxn ang="0">
                  <a:pos x="T12" y="T13"/>
                </a:cxn>
              </a:cxnLst>
              <a:rect l="0" t="0" r="r" b="b"/>
              <a:pathLst>
                <a:path w="263" h="117">
                  <a:moveTo>
                    <a:pt x="233" y="116"/>
                  </a:moveTo>
                  <a:lnTo>
                    <a:pt x="233" y="116"/>
                  </a:lnTo>
                  <a:cubicBezTo>
                    <a:pt x="262" y="87"/>
                    <a:pt x="262" y="57"/>
                    <a:pt x="233" y="29"/>
                  </a:cubicBezTo>
                  <a:cubicBezTo>
                    <a:pt x="233" y="29"/>
                    <a:pt x="203" y="29"/>
                    <a:pt x="174" y="29"/>
                  </a:cubicBezTo>
                  <a:lnTo>
                    <a:pt x="174" y="57"/>
                  </a:lnTo>
                  <a:cubicBezTo>
                    <a:pt x="116" y="57"/>
                    <a:pt x="58" y="0"/>
                    <a:pt x="0" y="29"/>
                  </a:cubicBezTo>
                  <a:cubicBezTo>
                    <a:pt x="58" y="87"/>
                    <a:pt x="145" y="116"/>
                    <a:pt x="233"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5" name="Freeform 892">
              <a:extLst>
                <a:ext uri="{FF2B5EF4-FFF2-40B4-BE49-F238E27FC236}">
                  <a16:creationId xmlns:a16="http://schemas.microsoft.com/office/drawing/2014/main" id="{E1B0C043-AC25-433F-9886-C91698E001F2}"/>
                </a:ext>
              </a:extLst>
            </p:cNvPr>
            <p:cNvSpPr>
              <a:spLocks noChangeArrowheads="1"/>
            </p:cNvSpPr>
            <p:nvPr/>
          </p:nvSpPr>
          <p:spPr bwMode="auto">
            <a:xfrm>
              <a:off x="5332930" y="-116460"/>
              <a:ext cx="55449" cy="43695"/>
            </a:xfrm>
            <a:custGeom>
              <a:avLst/>
              <a:gdLst>
                <a:gd name="T0" fmla="*/ 59 w 148"/>
                <a:gd name="T1" fmla="*/ 87 h 117"/>
                <a:gd name="T2" fmla="*/ 59 w 148"/>
                <a:gd name="T3" fmla="*/ 87 h 117"/>
                <a:gd name="T4" fmla="*/ 117 w 148"/>
                <a:gd name="T5" fmla="*/ 116 h 117"/>
                <a:gd name="T6" fmla="*/ 147 w 148"/>
                <a:gd name="T7" fmla="*/ 58 h 117"/>
                <a:gd name="T8" fmla="*/ 30 w 148"/>
                <a:gd name="T9" fmla="*/ 0 h 117"/>
                <a:gd name="T10" fmla="*/ 59 w 148"/>
                <a:gd name="T11" fmla="*/ 87 h 117"/>
              </a:gdLst>
              <a:ahLst/>
              <a:cxnLst>
                <a:cxn ang="0">
                  <a:pos x="T0" y="T1"/>
                </a:cxn>
                <a:cxn ang="0">
                  <a:pos x="T2" y="T3"/>
                </a:cxn>
                <a:cxn ang="0">
                  <a:pos x="T4" y="T5"/>
                </a:cxn>
                <a:cxn ang="0">
                  <a:pos x="T6" y="T7"/>
                </a:cxn>
                <a:cxn ang="0">
                  <a:pos x="T8" y="T9"/>
                </a:cxn>
                <a:cxn ang="0">
                  <a:pos x="T10" y="T11"/>
                </a:cxn>
              </a:cxnLst>
              <a:rect l="0" t="0" r="r" b="b"/>
              <a:pathLst>
                <a:path w="148" h="117">
                  <a:moveTo>
                    <a:pt x="59" y="87"/>
                  </a:moveTo>
                  <a:lnTo>
                    <a:pt x="59" y="87"/>
                  </a:lnTo>
                  <a:cubicBezTo>
                    <a:pt x="88" y="116"/>
                    <a:pt x="88" y="116"/>
                    <a:pt x="117" y="116"/>
                  </a:cubicBezTo>
                  <a:cubicBezTo>
                    <a:pt x="117" y="87"/>
                    <a:pt x="117" y="87"/>
                    <a:pt x="147" y="58"/>
                  </a:cubicBezTo>
                  <a:cubicBezTo>
                    <a:pt x="147" y="0"/>
                    <a:pt x="88" y="0"/>
                    <a:pt x="30" y="0"/>
                  </a:cubicBezTo>
                  <a:cubicBezTo>
                    <a:pt x="0" y="28"/>
                    <a:pt x="59" y="58"/>
                    <a:pt x="59"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6" name="Freeform 893">
              <a:extLst>
                <a:ext uri="{FF2B5EF4-FFF2-40B4-BE49-F238E27FC236}">
                  <a16:creationId xmlns:a16="http://schemas.microsoft.com/office/drawing/2014/main" id="{C1050573-E868-4ABA-8C2C-FC8DF9259ED7}"/>
                </a:ext>
              </a:extLst>
            </p:cNvPr>
            <p:cNvSpPr>
              <a:spLocks noChangeArrowheads="1"/>
            </p:cNvSpPr>
            <p:nvPr/>
          </p:nvSpPr>
          <p:spPr bwMode="auto">
            <a:xfrm>
              <a:off x="5786305" y="-116460"/>
              <a:ext cx="32617" cy="43695"/>
            </a:xfrm>
            <a:custGeom>
              <a:avLst/>
              <a:gdLst>
                <a:gd name="T0" fmla="*/ 0 w 88"/>
                <a:gd name="T1" fmla="*/ 87 h 117"/>
                <a:gd name="T2" fmla="*/ 0 w 88"/>
                <a:gd name="T3" fmla="*/ 87 h 117"/>
                <a:gd name="T4" fmla="*/ 87 w 88"/>
                <a:gd name="T5" fmla="*/ 87 h 117"/>
                <a:gd name="T6" fmla="*/ 87 w 88"/>
                <a:gd name="T7" fmla="*/ 28 h 117"/>
                <a:gd name="T8" fmla="*/ 0 w 88"/>
                <a:gd name="T9" fmla="*/ 87 h 117"/>
              </a:gdLst>
              <a:ahLst/>
              <a:cxnLst>
                <a:cxn ang="0">
                  <a:pos x="T0" y="T1"/>
                </a:cxn>
                <a:cxn ang="0">
                  <a:pos x="T2" y="T3"/>
                </a:cxn>
                <a:cxn ang="0">
                  <a:pos x="T4" y="T5"/>
                </a:cxn>
                <a:cxn ang="0">
                  <a:pos x="T6" y="T7"/>
                </a:cxn>
                <a:cxn ang="0">
                  <a:pos x="T8" y="T9"/>
                </a:cxn>
              </a:cxnLst>
              <a:rect l="0" t="0" r="r" b="b"/>
              <a:pathLst>
                <a:path w="88" h="117">
                  <a:moveTo>
                    <a:pt x="0" y="87"/>
                  </a:moveTo>
                  <a:lnTo>
                    <a:pt x="0" y="87"/>
                  </a:lnTo>
                  <a:cubicBezTo>
                    <a:pt x="0" y="116"/>
                    <a:pt x="57" y="116"/>
                    <a:pt x="87" y="87"/>
                  </a:cubicBezTo>
                  <a:cubicBezTo>
                    <a:pt x="57" y="58"/>
                    <a:pt x="87" y="58"/>
                    <a:pt x="87" y="28"/>
                  </a:cubicBezTo>
                  <a:cubicBezTo>
                    <a:pt x="57" y="0"/>
                    <a:pt x="0" y="28"/>
                    <a:pt x="0" y="8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7" name="Freeform 894">
              <a:extLst>
                <a:ext uri="{FF2B5EF4-FFF2-40B4-BE49-F238E27FC236}">
                  <a16:creationId xmlns:a16="http://schemas.microsoft.com/office/drawing/2014/main" id="{FA4FBEB2-9885-454E-8022-0A535E94BD24}"/>
                </a:ext>
              </a:extLst>
            </p:cNvPr>
            <p:cNvSpPr>
              <a:spLocks noChangeArrowheads="1"/>
            </p:cNvSpPr>
            <p:nvPr/>
          </p:nvSpPr>
          <p:spPr bwMode="auto">
            <a:xfrm>
              <a:off x="5236710" y="-106750"/>
              <a:ext cx="44033" cy="43695"/>
            </a:xfrm>
            <a:custGeom>
              <a:avLst/>
              <a:gdLst>
                <a:gd name="T0" fmla="*/ 29 w 118"/>
                <a:gd name="T1" fmla="*/ 117 h 118"/>
                <a:gd name="T2" fmla="*/ 29 w 118"/>
                <a:gd name="T3" fmla="*/ 117 h 118"/>
                <a:gd name="T4" fmla="*/ 117 w 118"/>
                <a:gd name="T5" fmla="*/ 59 h 118"/>
                <a:gd name="T6" fmla="*/ 29 w 118"/>
                <a:gd name="T7" fmla="*/ 0 h 118"/>
                <a:gd name="T8" fmla="*/ 0 w 118"/>
                <a:gd name="T9" fmla="*/ 59 h 118"/>
                <a:gd name="T10" fmla="*/ 29 w 118"/>
                <a:gd name="T11" fmla="*/ 117 h 118"/>
              </a:gdLst>
              <a:ahLst/>
              <a:cxnLst>
                <a:cxn ang="0">
                  <a:pos x="T0" y="T1"/>
                </a:cxn>
                <a:cxn ang="0">
                  <a:pos x="T2" y="T3"/>
                </a:cxn>
                <a:cxn ang="0">
                  <a:pos x="T4" y="T5"/>
                </a:cxn>
                <a:cxn ang="0">
                  <a:pos x="T6" y="T7"/>
                </a:cxn>
                <a:cxn ang="0">
                  <a:pos x="T8" y="T9"/>
                </a:cxn>
                <a:cxn ang="0">
                  <a:pos x="T10" y="T11"/>
                </a:cxn>
              </a:cxnLst>
              <a:rect l="0" t="0" r="r" b="b"/>
              <a:pathLst>
                <a:path w="118" h="118">
                  <a:moveTo>
                    <a:pt x="29" y="117"/>
                  </a:moveTo>
                  <a:lnTo>
                    <a:pt x="29" y="117"/>
                  </a:lnTo>
                  <a:cubicBezTo>
                    <a:pt x="88" y="117"/>
                    <a:pt x="117" y="88"/>
                    <a:pt x="117" y="59"/>
                  </a:cubicBezTo>
                  <a:cubicBezTo>
                    <a:pt x="88" y="30"/>
                    <a:pt x="59" y="0"/>
                    <a:pt x="29" y="0"/>
                  </a:cubicBezTo>
                  <a:cubicBezTo>
                    <a:pt x="0" y="0"/>
                    <a:pt x="0" y="30"/>
                    <a:pt x="0" y="59"/>
                  </a:cubicBezTo>
                  <a:cubicBezTo>
                    <a:pt x="29" y="88"/>
                    <a:pt x="29" y="88"/>
                    <a:pt x="29"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8" name="Freeform 895">
              <a:extLst>
                <a:ext uri="{FF2B5EF4-FFF2-40B4-BE49-F238E27FC236}">
                  <a16:creationId xmlns:a16="http://schemas.microsoft.com/office/drawing/2014/main" id="{8A87370D-D3CB-424B-9218-EE2F21D075F9}"/>
                </a:ext>
              </a:extLst>
            </p:cNvPr>
            <p:cNvSpPr>
              <a:spLocks noChangeArrowheads="1"/>
            </p:cNvSpPr>
            <p:nvPr/>
          </p:nvSpPr>
          <p:spPr bwMode="auto">
            <a:xfrm>
              <a:off x="5063840" y="-95421"/>
              <a:ext cx="86435" cy="74443"/>
            </a:xfrm>
            <a:custGeom>
              <a:avLst/>
              <a:gdLst>
                <a:gd name="T0" fmla="*/ 176 w 235"/>
                <a:gd name="T1" fmla="*/ 29 h 205"/>
                <a:gd name="T2" fmla="*/ 176 w 235"/>
                <a:gd name="T3" fmla="*/ 29 h 205"/>
                <a:gd name="T4" fmla="*/ 88 w 235"/>
                <a:gd name="T5" fmla="*/ 29 h 205"/>
                <a:gd name="T6" fmla="*/ 59 w 235"/>
                <a:gd name="T7" fmla="*/ 117 h 205"/>
                <a:gd name="T8" fmla="*/ 88 w 235"/>
                <a:gd name="T9" fmla="*/ 146 h 205"/>
                <a:gd name="T10" fmla="*/ 0 w 235"/>
                <a:gd name="T11" fmla="*/ 146 h 205"/>
                <a:gd name="T12" fmla="*/ 0 w 235"/>
                <a:gd name="T13" fmla="*/ 175 h 205"/>
                <a:gd name="T14" fmla="*/ 146 w 235"/>
                <a:gd name="T15" fmla="*/ 204 h 205"/>
                <a:gd name="T16" fmla="*/ 146 w 235"/>
                <a:gd name="T17" fmla="*/ 175 h 205"/>
                <a:gd name="T18" fmla="*/ 234 w 235"/>
                <a:gd name="T19" fmla="*/ 87 h 205"/>
                <a:gd name="T20" fmla="*/ 176 w 235"/>
                <a:gd name="T21" fmla="*/ 58 h 205"/>
                <a:gd name="T22" fmla="*/ 176 w 235"/>
                <a:gd name="T23" fmla="*/ 29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05">
                  <a:moveTo>
                    <a:pt x="176" y="29"/>
                  </a:moveTo>
                  <a:lnTo>
                    <a:pt x="176" y="29"/>
                  </a:lnTo>
                  <a:cubicBezTo>
                    <a:pt x="146" y="0"/>
                    <a:pt x="117" y="29"/>
                    <a:pt x="88" y="29"/>
                  </a:cubicBezTo>
                  <a:cubicBezTo>
                    <a:pt x="88" y="58"/>
                    <a:pt x="88" y="87"/>
                    <a:pt x="59" y="117"/>
                  </a:cubicBezTo>
                  <a:lnTo>
                    <a:pt x="88" y="146"/>
                  </a:lnTo>
                  <a:cubicBezTo>
                    <a:pt x="59" y="146"/>
                    <a:pt x="0" y="117"/>
                    <a:pt x="0" y="146"/>
                  </a:cubicBezTo>
                  <a:cubicBezTo>
                    <a:pt x="0" y="175"/>
                    <a:pt x="0" y="175"/>
                    <a:pt x="0" y="175"/>
                  </a:cubicBezTo>
                  <a:cubicBezTo>
                    <a:pt x="59" y="175"/>
                    <a:pt x="88" y="204"/>
                    <a:pt x="146" y="204"/>
                  </a:cubicBezTo>
                  <a:cubicBezTo>
                    <a:pt x="146" y="175"/>
                    <a:pt x="117" y="175"/>
                    <a:pt x="146" y="175"/>
                  </a:cubicBezTo>
                  <a:cubicBezTo>
                    <a:pt x="176" y="146"/>
                    <a:pt x="205" y="117"/>
                    <a:pt x="234" y="87"/>
                  </a:cubicBezTo>
                  <a:cubicBezTo>
                    <a:pt x="234" y="58"/>
                    <a:pt x="205" y="58"/>
                    <a:pt x="176" y="58"/>
                  </a:cubicBezTo>
                  <a:cubicBezTo>
                    <a:pt x="205" y="29"/>
                    <a:pt x="205" y="29"/>
                    <a:pt x="176"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19" name="Freeform 896">
              <a:extLst>
                <a:ext uri="{FF2B5EF4-FFF2-40B4-BE49-F238E27FC236}">
                  <a16:creationId xmlns:a16="http://schemas.microsoft.com/office/drawing/2014/main" id="{D7B940DC-2BE9-4C3A-BF74-EC2A3ED3AB93}"/>
                </a:ext>
              </a:extLst>
            </p:cNvPr>
            <p:cNvSpPr>
              <a:spLocks noChangeArrowheads="1"/>
            </p:cNvSpPr>
            <p:nvPr/>
          </p:nvSpPr>
          <p:spPr bwMode="auto">
            <a:xfrm>
              <a:off x="4685484" y="-85711"/>
              <a:ext cx="44033" cy="32366"/>
            </a:xfrm>
            <a:custGeom>
              <a:avLst/>
              <a:gdLst>
                <a:gd name="T0" fmla="*/ 117 w 118"/>
                <a:gd name="T1" fmla="*/ 88 h 89"/>
                <a:gd name="T2" fmla="*/ 117 w 118"/>
                <a:gd name="T3" fmla="*/ 88 h 89"/>
                <a:gd name="T4" fmla="*/ 0 w 118"/>
                <a:gd name="T5" fmla="*/ 0 h 89"/>
                <a:gd name="T6" fmla="*/ 117 w 118"/>
                <a:gd name="T7" fmla="*/ 88 h 89"/>
              </a:gdLst>
              <a:ahLst/>
              <a:cxnLst>
                <a:cxn ang="0">
                  <a:pos x="T0" y="T1"/>
                </a:cxn>
                <a:cxn ang="0">
                  <a:pos x="T2" y="T3"/>
                </a:cxn>
                <a:cxn ang="0">
                  <a:pos x="T4" y="T5"/>
                </a:cxn>
                <a:cxn ang="0">
                  <a:pos x="T6" y="T7"/>
                </a:cxn>
              </a:cxnLst>
              <a:rect l="0" t="0" r="r" b="b"/>
              <a:pathLst>
                <a:path w="118" h="89">
                  <a:moveTo>
                    <a:pt x="117" y="88"/>
                  </a:moveTo>
                  <a:lnTo>
                    <a:pt x="117" y="88"/>
                  </a:lnTo>
                  <a:cubicBezTo>
                    <a:pt x="88" y="58"/>
                    <a:pt x="88" y="0"/>
                    <a:pt x="0" y="0"/>
                  </a:cubicBezTo>
                  <a:cubicBezTo>
                    <a:pt x="30" y="58"/>
                    <a:pt x="59" y="88"/>
                    <a:pt x="117" y="8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0" name="Freeform 897">
              <a:extLst>
                <a:ext uri="{FF2B5EF4-FFF2-40B4-BE49-F238E27FC236}">
                  <a16:creationId xmlns:a16="http://schemas.microsoft.com/office/drawing/2014/main" id="{60517CD2-A354-4450-BD84-0DE76228B45F}"/>
                </a:ext>
              </a:extLst>
            </p:cNvPr>
            <p:cNvSpPr>
              <a:spLocks noChangeArrowheads="1"/>
            </p:cNvSpPr>
            <p:nvPr/>
          </p:nvSpPr>
          <p:spPr bwMode="auto">
            <a:xfrm>
              <a:off x="4965990" y="-74383"/>
              <a:ext cx="97851" cy="64733"/>
            </a:xfrm>
            <a:custGeom>
              <a:avLst/>
              <a:gdLst>
                <a:gd name="T0" fmla="*/ 146 w 263"/>
                <a:gd name="T1" fmla="*/ 117 h 177"/>
                <a:gd name="T2" fmla="*/ 146 w 263"/>
                <a:gd name="T3" fmla="*/ 117 h 177"/>
                <a:gd name="T4" fmla="*/ 262 w 263"/>
                <a:gd name="T5" fmla="*/ 29 h 177"/>
                <a:gd name="T6" fmla="*/ 175 w 263"/>
                <a:gd name="T7" fmla="*/ 59 h 177"/>
                <a:gd name="T8" fmla="*/ 146 w 263"/>
                <a:gd name="T9" fmla="*/ 59 h 177"/>
                <a:gd name="T10" fmla="*/ 0 w 263"/>
                <a:gd name="T11" fmla="*/ 117 h 177"/>
                <a:gd name="T12" fmla="*/ 146 w 263"/>
                <a:gd name="T13" fmla="*/ 117 h 177"/>
              </a:gdLst>
              <a:ahLst/>
              <a:cxnLst>
                <a:cxn ang="0">
                  <a:pos x="T0" y="T1"/>
                </a:cxn>
                <a:cxn ang="0">
                  <a:pos x="T2" y="T3"/>
                </a:cxn>
                <a:cxn ang="0">
                  <a:pos x="T4" y="T5"/>
                </a:cxn>
                <a:cxn ang="0">
                  <a:pos x="T6" y="T7"/>
                </a:cxn>
                <a:cxn ang="0">
                  <a:pos x="T8" y="T9"/>
                </a:cxn>
                <a:cxn ang="0">
                  <a:pos x="T10" y="T11"/>
                </a:cxn>
                <a:cxn ang="0">
                  <a:pos x="T12" y="T13"/>
                </a:cxn>
              </a:cxnLst>
              <a:rect l="0" t="0" r="r" b="b"/>
              <a:pathLst>
                <a:path w="263" h="177">
                  <a:moveTo>
                    <a:pt x="146" y="117"/>
                  </a:moveTo>
                  <a:lnTo>
                    <a:pt x="146" y="117"/>
                  </a:lnTo>
                  <a:cubicBezTo>
                    <a:pt x="204" y="88"/>
                    <a:pt x="233" y="59"/>
                    <a:pt x="262" y="29"/>
                  </a:cubicBezTo>
                  <a:cubicBezTo>
                    <a:pt x="233" y="0"/>
                    <a:pt x="204" y="29"/>
                    <a:pt x="175" y="59"/>
                  </a:cubicBezTo>
                  <a:cubicBezTo>
                    <a:pt x="146" y="59"/>
                    <a:pt x="146" y="59"/>
                    <a:pt x="146" y="59"/>
                  </a:cubicBezTo>
                  <a:cubicBezTo>
                    <a:pt x="88" y="88"/>
                    <a:pt x="29" y="88"/>
                    <a:pt x="0" y="117"/>
                  </a:cubicBezTo>
                  <a:cubicBezTo>
                    <a:pt x="58" y="176"/>
                    <a:pt x="117" y="146"/>
                    <a:pt x="146"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1" name="Freeform 898">
              <a:extLst>
                <a:ext uri="{FF2B5EF4-FFF2-40B4-BE49-F238E27FC236}">
                  <a16:creationId xmlns:a16="http://schemas.microsoft.com/office/drawing/2014/main" id="{ADAB6AAC-90A2-4255-8D76-451F641697D6}"/>
                </a:ext>
              </a:extLst>
            </p:cNvPr>
            <p:cNvSpPr>
              <a:spLocks noChangeArrowheads="1"/>
            </p:cNvSpPr>
            <p:nvPr/>
          </p:nvSpPr>
          <p:spPr bwMode="auto">
            <a:xfrm>
              <a:off x="5711287" y="-64673"/>
              <a:ext cx="44032" cy="43695"/>
            </a:xfrm>
            <a:custGeom>
              <a:avLst/>
              <a:gdLst>
                <a:gd name="T0" fmla="*/ 117 w 118"/>
                <a:gd name="T1" fmla="*/ 0 h 118"/>
                <a:gd name="T2" fmla="*/ 117 w 118"/>
                <a:gd name="T3" fmla="*/ 0 h 118"/>
                <a:gd name="T4" fmla="*/ 0 w 118"/>
                <a:gd name="T5" fmla="*/ 117 h 118"/>
                <a:gd name="T6" fmla="*/ 88 w 118"/>
                <a:gd name="T7" fmla="*/ 117 h 118"/>
                <a:gd name="T8" fmla="*/ 117 w 118"/>
                <a:gd name="T9" fmla="*/ 0 h 118"/>
              </a:gdLst>
              <a:ahLst/>
              <a:cxnLst>
                <a:cxn ang="0">
                  <a:pos x="T0" y="T1"/>
                </a:cxn>
                <a:cxn ang="0">
                  <a:pos x="T2" y="T3"/>
                </a:cxn>
                <a:cxn ang="0">
                  <a:pos x="T4" y="T5"/>
                </a:cxn>
                <a:cxn ang="0">
                  <a:pos x="T6" y="T7"/>
                </a:cxn>
                <a:cxn ang="0">
                  <a:pos x="T8" y="T9"/>
                </a:cxn>
              </a:cxnLst>
              <a:rect l="0" t="0" r="r" b="b"/>
              <a:pathLst>
                <a:path w="118" h="118">
                  <a:moveTo>
                    <a:pt x="117" y="0"/>
                  </a:moveTo>
                  <a:lnTo>
                    <a:pt x="117" y="0"/>
                  </a:lnTo>
                  <a:cubicBezTo>
                    <a:pt x="88" y="30"/>
                    <a:pt x="29" y="59"/>
                    <a:pt x="0" y="117"/>
                  </a:cubicBezTo>
                  <a:cubicBezTo>
                    <a:pt x="29" y="117"/>
                    <a:pt x="59" y="117"/>
                    <a:pt x="88" y="117"/>
                  </a:cubicBezTo>
                  <a:cubicBezTo>
                    <a:pt x="88" y="59"/>
                    <a:pt x="117" y="59"/>
                    <a:pt x="117"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2" name="Freeform 899">
              <a:extLst>
                <a:ext uri="{FF2B5EF4-FFF2-40B4-BE49-F238E27FC236}">
                  <a16:creationId xmlns:a16="http://schemas.microsoft.com/office/drawing/2014/main" id="{2C8DDBC4-4799-4CB6-93B5-E044BA9C9520}"/>
                </a:ext>
              </a:extLst>
            </p:cNvPr>
            <p:cNvSpPr>
              <a:spLocks noChangeArrowheads="1"/>
            </p:cNvSpPr>
            <p:nvPr/>
          </p:nvSpPr>
          <p:spPr bwMode="auto">
            <a:xfrm>
              <a:off x="4858354" y="-42017"/>
              <a:ext cx="32617" cy="21039"/>
            </a:xfrm>
            <a:custGeom>
              <a:avLst/>
              <a:gdLst>
                <a:gd name="T0" fmla="*/ 88 w 89"/>
                <a:gd name="T1" fmla="*/ 29 h 59"/>
                <a:gd name="T2" fmla="*/ 88 w 89"/>
                <a:gd name="T3" fmla="*/ 29 h 59"/>
                <a:gd name="T4" fmla="*/ 0 w 89"/>
                <a:gd name="T5" fmla="*/ 58 h 59"/>
                <a:gd name="T6" fmla="*/ 88 w 89"/>
                <a:gd name="T7" fmla="*/ 29 h 59"/>
              </a:gdLst>
              <a:ahLst/>
              <a:cxnLst>
                <a:cxn ang="0">
                  <a:pos x="T0" y="T1"/>
                </a:cxn>
                <a:cxn ang="0">
                  <a:pos x="T2" y="T3"/>
                </a:cxn>
                <a:cxn ang="0">
                  <a:pos x="T4" y="T5"/>
                </a:cxn>
                <a:cxn ang="0">
                  <a:pos x="T6" y="T7"/>
                </a:cxn>
              </a:cxnLst>
              <a:rect l="0" t="0" r="r" b="b"/>
              <a:pathLst>
                <a:path w="89" h="59">
                  <a:moveTo>
                    <a:pt x="88" y="29"/>
                  </a:moveTo>
                  <a:lnTo>
                    <a:pt x="88" y="29"/>
                  </a:lnTo>
                  <a:cubicBezTo>
                    <a:pt x="59" y="29"/>
                    <a:pt x="0" y="0"/>
                    <a:pt x="0" y="58"/>
                  </a:cubicBezTo>
                  <a:cubicBezTo>
                    <a:pt x="30" y="58"/>
                    <a:pt x="59" y="58"/>
                    <a:pt x="88"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3" name="Freeform 900">
              <a:extLst>
                <a:ext uri="{FF2B5EF4-FFF2-40B4-BE49-F238E27FC236}">
                  <a16:creationId xmlns:a16="http://schemas.microsoft.com/office/drawing/2014/main" id="{47F84427-D512-4182-B43E-4876FC9898E0}"/>
                </a:ext>
              </a:extLst>
            </p:cNvPr>
            <p:cNvSpPr>
              <a:spLocks noChangeArrowheads="1"/>
            </p:cNvSpPr>
            <p:nvPr/>
          </p:nvSpPr>
          <p:spPr bwMode="auto">
            <a:xfrm>
              <a:off x="4902387" y="-42017"/>
              <a:ext cx="32617" cy="21039"/>
            </a:xfrm>
            <a:custGeom>
              <a:avLst/>
              <a:gdLst>
                <a:gd name="T0" fmla="*/ 0 w 88"/>
                <a:gd name="T1" fmla="*/ 58 h 59"/>
                <a:gd name="T2" fmla="*/ 0 w 88"/>
                <a:gd name="T3" fmla="*/ 58 h 59"/>
                <a:gd name="T4" fmla="*/ 87 w 88"/>
                <a:gd name="T5" fmla="*/ 58 h 59"/>
                <a:gd name="T6" fmla="*/ 0 w 88"/>
                <a:gd name="T7" fmla="*/ 58 h 59"/>
              </a:gdLst>
              <a:ahLst/>
              <a:cxnLst>
                <a:cxn ang="0">
                  <a:pos x="T0" y="T1"/>
                </a:cxn>
                <a:cxn ang="0">
                  <a:pos x="T2" y="T3"/>
                </a:cxn>
                <a:cxn ang="0">
                  <a:pos x="T4" y="T5"/>
                </a:cxn>
                <a:cxn ang="0">
                  <a:pos x="T6" y="T7"/>
                </a:cxn>
              </a:cxnLst>
              <a:rect l="0" t="0" r="r" b="b"/>
              <a:pathLst>
                <a:path w="88" h="59">
                  <a:moveTo>
                    <a:pt x="0" y="58"/>
                  </a:moveTo>
                  <a:lnTo>
                    <a:pt x="0" y="58"/>
                  </a:lnTo>
                  <a:cubicBezTo>
                    <a:pt x="29" y="58"/>
                    <a:pt x="58" y="58"/>
                    <a:pt x="87" y="58"/>
                  </a:cubicBezTo>
                  <a:cubicBezTo>
                    <a:pt x="87" y="0"/>
                    <a:pt x="0" y="29"/>
                    <a:pt x="0"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4" name="Freeform 901">
              <a:extLst>
                <a:ext uri="{FF2B5EF4-FFF2-40B4-BE49-F238E27FC236}">
                  <a16:creationId xmlns:a16="http://schemas.microsoft.com/office/drawing/2014/main" id="{A0A692B1-4209-4BAD-BBD3-61B7F3B7EF0B}"/>
                </a:ext>
              </a:extLst>
            </p:cNvPr>
            <p:cNvSpPr>
              <a:spLocks noChangeArrowheads="1"/>
            </p:cNvSpPr>
            <p:nvPr/>
          </p:nvSpPr>
          <p:spPr bwMode="auto">
            <a:xfrm>
              <a:off x="6810476" y="-42017"/>
              <a:ext cx="151668" cy="224947"/>
            </a:xfrm>
            <a:custGeom>
              <a:avLst/>
              <a:gdLst>
                <a:gd name="T0" fmla="*/ 58 w 409"/>
                <a:gd name="T1" fmla="*/ 58 h 613"/>
                <a:gd name="T2" fmla="*/ 58 w 409"/>
                <a:gd name="T3" fmla="*/ 58 h 613"/>
                <a:gd name="T4" fmla="*/ 0 w 409"/>
                <a:gd name="T5" fmla="*/ 88 h 613"/>
                <a:gd name="T6" fmla="*/ 29 w 409"/>
                <a:gd name="T7" fmla="*/ 204 h 613"/>
                <a:gd name="T8" fmla="*/ 87 w 409"/>
                <a:gd name="T9" fmla="*/ 174 h 613"/>
                <a:gd name="T10" fmla="*/ 146 w 409"/>
                <a:gd name="T11" fmla="*/ 438 h 613"/>
                <a:gd name="T12" fmla="*/ 204 w 409"/>
                <a:gd name="T13" fmla="*/ 438 h 613"/>
                <a:gd name="T14" fmla="*/ 146 w 409"/>
                <a:gd name="T15" fmla="*/ 496 h 613"/>
                <a:gd name="T16" fmla="*/ 263 w 409"/>
                <a:gd name="T17" fmla="*/ 612 h 613"/>
                <a:gd name="T18" fmla="*/ 263 w 409"/>
                <a:gd name="T19" fmla="*/ 524 h 613"/>
                <a:gd name="T20" fmla="*/ 379 w 409"/>
                <a:gd name="T21" fmla="*/ 583 h 613"/>
                <a:gd name="T22" fmla="*/ 350 w 409"/>
                <a:gd name="T23" fmla="*/ 496 h 613"/>
                <a:gd name="T24" fmla="*/ 379 w 409"/>
                <a:gd name="T25" fmla="*/ 467 h 613"/>
                <a:gd name="T26" fmla="*/ 320 w 409"/>
                <a:gd name="T27" fmla="*/ 438 h 613"/>
                <a:gd name="T28" fmla="*/ 320 w 409"/>
                <a:gd name="T29" fmla="*/ 408 h 613"/>
                <a:gd name="T30" fmla="*/ 379 w 409"/>
                <a:gd name="T31" fmla="*/ 408 h 613"/>
                <a:gd name="T32" fmla="*/ 379 w 409"/>
                <a:gd name="T33" fmla="*/ 350 h 613"/>
                <a:gd name="T34" fmla="*/ 292 w 409"/>
                <a:gd name="T35" fmla="*/ 379 h 613"/>
                <a:gd name="T36" fmla="*/ 263 w 409"/>
                <a:gd name="T37" fmla="*/ 262 h 613"/>
                <a:gd name="T38" fmla="*/ 204 w 409"/>
                <a:gd name="T39" fmla="*/ 262 h 613"/>
                <a:gd name="T40" fmla="*/ 117 w 409"/>
                <a:gd name="T41" fmla="*/ 204 h 613"/>
                <a:gd name="T42" fmla="*/ 175 w 409"/>
                <a:gd name="T43" fmla="*/ 146 h 613"/>
                <a:gd name="T44" fmla="*/ 146 w 409"/>
                <a:gd name="T45" fmla="*/ 88 h 613"/>
                <a:gd name="T46" fmla="*/ 175 w 409"/>
                <a:gd name="T47" fmla="*/ 117 h 613"/>
                <a:gd name="T48" fmla="*/ 58 w 409"/>
                <a:gd name="T49" fmla="*/ 5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9" h="613">
                  <a:moveTo>
                    <a:pt x="58" y="58"/>
                  </a:moveTo>
                  <a:lnTo>
                    <a:pt x="58" y="58"/>
                  </a:lnTo>
                  <a:cubicBezTo>
                    <a:pt x="29" y="58"/>
                    <a:pt x="29" y="88"/>
                    <a:pt x="0" y="88"/>
                  </a:cubicBezTo>
                  <a:cubicBezTo>
                    <a:pt x="29" y="117"/>
                    <a:pt x="0" y="204"/>
                    <a:pt x="29" y="204"/>
                  </a:cubicBezTo>
                  <a:cubicBezTo>
                    <a:pt x="58" y="204"/>
                    <a:pt x="58" y="174"/>
                    <a:pt x="87" y="174"/>
                  </a:cubicBezTo>
                  <a:cubicBezTo>
                    <a:pt x="87" y="262"/>
                    <a:pt x="146" y="321"/>
                    <a:pt x="146" y="438"/>
                  </a:cubicBezTo>
                  <a:cubicBezTo>
                    <a:pt x="175" y="438"/>
                    <a:pt x="204" y="438"/>
                    <a:pt x="204" y="438"/>
                  </a:cubicBezTo>
                  <a:cubicBezTo>
                    <a:pt x="175" y="467"/>
                    <a:pt x="146" y="467"/>
                    <a:pt x="146" y="496"/>
                  </a:cubicBezTo>
                  <a:cubicBezTo>
                    <a:pt x="204" y="524"/>
                    <a:pt x="204" y="583"/>
                    <a:pt x="263" y="612"/>
                  </a:cubicBezTo>
                  <a:cubicBezTo>
                    <a:pt x="320" y="583"/>
                    <a:pt x="263" y="554"/>
                    <a:pt x="263" y="524"/>
                  </a:cubicBezTo>
                  <a:cubicBezTo>
                    <a:pt x="320" y="524"/>
                    <a:pt x="292" y="612"/>
                    <a:pt x="379" y="583"/>
                  </a:cubicBezTo>
                  <a:cubicBezTo>
                    <a:pt x="408" y="554"/>
                    <a:pt x="379" y="524"/>
                    <a:pt x="350" y="496"/>
                  </a:cubicBezTo>
                  <a:cubicBezTo>
                    <a:pt x="379" y="496"/>
                    <a:pt x="379" y="467"/>
                    <a:pt x="379" y="467"/>
                  </a:cubicBezTo>
                  <a:cubicBezTo>
                    <a:pt x="350" y="438"/>
                    <a:pt x="320" y="467"/>
                    <a:pt x="320" y="438"/>
                  </a:cubicBezTo>
                  <a:lnTo>
                    <a:pt x="320" y="408"/>
                  </a:lnTo>
                  <a:cubicBezTo>
                    <a:pt x="350" y="408"/>
                    <a:pt x="350" y="408"/>
                    <a:pt x="379" y="408"/>
                  </a:cubicBezTo>
                  <a:cubicBezTo>
                    <a:pt x="379" y="379"/>
                    <a:pt x="379" y="379"/>
                    <a:pt x="379" y="350"/>
                  </a:cubicBezTo>
                  <a:cubicBezTo>
                    <a:pt x="320" y="350"/>
                    <a:pt x="292" y="379"/>
                    <a:pt x="292" y="379"/>
                  </a:cubicBezTo>
                  <a:cubicBezTo>
                    <a:pt x="263" y="350"/>
                    <a:pt x="263" y="321"/>
                    <a:pt x="263" y="262"/>
                  </a:cubicBezTo>
                  <a:cubicBezTo>
                    <a:pt x="234" y="262"/>
                    <a:pt x="234" y="262"/>
                    <a:pt x="204" y="262"/>
                  </a:cubicBezTo>
                  <a:cubicBezTo>
                    <a:pt x="204" y="233"/>
                    <a:pt x="146" y="233"/>
                    <a:pt x="117" y="204"/>
                  </a:cubicBezTo>
                  <a:cubicBezTo>
                    <a:pt x="146" y="174"/>
                    <a:pt x="175" y="174"/>
                    <a:pt x="175" y="146"/>
                  </a:cubicBezTo>
                  <a:cubicBezTo>
                    <a:pt x="175" y="117"/>
                    <a:pt x="117" y="117"/>
                    <a:pt x="146" y="88"/>
                  </a:cubicBezTo>
                  <a:lnTo>
                    <a:pt x="175" y="117"/>
                  </a:lnTo>
                  <a:cubicBezTo>
                    <a:pt x="263" y="58"/>
                    <a:pt x="87" y="0"/>
                    <a:pt x="58"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5" name="Freeform 902">
              <a:extLst>
                <a:ext uri="{FF2B5EF4-FFF2-40B4-BE49-F238E27FC236}">
                  <a16:creationId xmlns:a16="http://schemas.microsoft.com/office/drawing/2014/main" id="{16404E8F-91F2-4D5B-9817-832790E9106D}"/>
                </a:ext>
              </a:extLst>
            </p:cNvPr>
            <p:cNvSpPr>
              <a:spLocks noChangeArrowheads="1"/>
            </p:cNvSpPr>
            <p:nvPr/>
          </p:nvSpPr>
          <p:spPr bwMode="auto">
            <a:xfrm>
              <a:off x="6875710" y="59"/>
              <a:ext cx="65234" cy="74443"/>
            </a:xfrm>
            <a:custGeom>
              <a:avLst/>
              <a:gdLst>
                <a:gd name="T0" fmla="*/ 117 w 176"/>
                <a:gd name="T1" fmla="*/ 204 h 205"/>
                <a:gd name="T2" fmla="*/ 117 w 176"/>
                <a:gd name="T3" fmla="*/ 204 h 205"/>
                <a:gd name="T4" fmla="*/ 117 w 176"/>
                <a:gd name="T5" fmla="*/ 87 h 205"/>
                <a:gd name="T6" fmla="*/ 0 w 176"/>
                <a:gd name="T7" fmla="*/ 87 h 205"/>
                <a:gd name="T8" fmla="*/ 117 w 176"/>
                <a:gd name="T9" fmla="*/ 204 h 205"/>
              </a:gdLst>
              <a:ahLst/>
              <a:cxnLst>
                <a:cxn ang="0">
                  <a:pos x="T0" y="T1"/>
                </a:cxn>
                <a:cxn ang="0">
                  <a:pos x="T2" y="T3"/>
                </a:cxn>
                <a:cxn ang="0">
                  <a:pos x="T4" y="T5"/>
                </a:cxn>
                <a:cxn ang="0">
                  <a:pos x="T6" y="T7"/>
                </a:cxn>
                <a:cxn ang="0">
                  <a:pos x="T8" y="T9"/>
                </a:cxn>
              </a:cxnLst>
              <a:rect l="0" t="0" r="r" b="b"/>
              <a:pathLst>
                <a:path w="176" h="205">
                  <a:moveTo>
                    <a:pt x="117" y="204"/>
                  </a:moveTo>
                  <a:lnTo>
                    <a:pt x="117" y="204"/>
                  </a:lnTo>
                  <a:cubicBezTo>
                    <a:pt x="175" y="145"/>
                    <a:pt x="145" y="116"/>
                    <a:pt x="117" y="87"/>
                  </a:cubicBezTo>
                  <a:cubicBezTo>
                    <a:pt x="88" y="57"/>
                    <a:pt x="29" y="0"/>
                    <a:pt x="0" y="87"/>
                  </a:cubicBezTo>
                  <a:cubicBezTo>
                    <a:pt x="59" y="116"/>
                    <a:pt x="88" y="145"/>
                    <a:pt x="117"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6" name="Freeform 903">
              <a:extLst>
                <a:ext uri="{FF2B5EF4-FFF2-40B4-BE49-F238E27FC236}">
                  <a16:creationId xmlns:a16="http://schemas.microsoft.com/office/drawing/2014/main" id="{56A7A542-796C-4692-A0A2-CED5CDF1C077}"/>
                </a:ext>
              </a:extLst>
            </p:cNvPr>
            <p:cNvSpPr>
              <a:spLocks noChangeArrowheads="1"/>
            </p:cNvSpPr>
            <p:nvPr/>
          </p:nvSpPr>
          <p:spPr bwMode="auto">
            <a:xfrm>
              <a:off x="6950729" y="53465"/>
              <a:ext cx="32617" cy="97099"/>
            </a:xfrm>
            <a:custGeom>
              <a:avLst/>
              <a:gdLst>
                <a:gd name="T0" fmla="*/ 29 w 89"/>
                <a:gd name="T1" fmla="*/ 262 h 263"/>
                <a:gd name="T2" fmla="*/ 29 w 89"/>
                <a:gd name="T3" fmla="*/ 262 h 263"/>
                <a:gd name="T4" fmla="*/ 88 w 89"/>
                <a:gd name="T5" fmla="*/ 234 h 263"/>
                <a:gd name="T6" fmla="*/ 88 w 89"/>
                <a:gd name="T7" fmla="*/ 88 h 263"/>
                <a:gd name="T8" fmla="*/ 0 w 89"/>
                <a:gd name="T9" fmla="*/ 59 h 263"/>
                <a:gd name="T10" fmla="*/ 29 w 89"/>
                <a:gd name="T11" fmla="*/ 262 h 263"/>
              </a:gdLst>
              <a:ahLst/>
              <a:cxnLst>
                <a:cxn ang="0">
                  <a:pos x="T0" y="T1"/>
                </a:cxn>
                <a:cxn ang="0">
                  <a:pos x="T2" y="T3"/>
                </a:cxn>
                <a:cxn ang="0">
                  <a:pos x="T4" y="T5"/>
                </a:cxn>
                <a:cxn ang="0">
                  <a:pos x="T6" y="T7"/>
                </a:cxn>
                <a:cxn ang="0">
                  <a:pos x="T8" y="T9"/>
                </a:cxn>
                <a:cxn ang="0">
                  <a:pos x="T10" y="T11"/>
                </a:cxn>
              </a:cxnLst>
              <a:rect l="0" t="0" r="r" b="b"/>
              <a:pathLst>
                <a:path w="89" h="263">
                  <a:moveTo>
                    <a:pt x="29" y="262"/>
                  </a:moveTo>
                  <a:lnTo>
                    <a:pt x="29" y="262"/>
                  </a:lnTo>
                  <a:cubicBezTo>
                    <a:pt x="58" y="262"/>
                    <a:pt x="58" y="262"/>
                    <a:pt x="88" y="234"/>
                  </a:cubicBezTo>
                  <a:cubicBezTo>
                    <a:pt x="88" y="205"/>
                    <a:pt x="58" y="146"/>
                    <a:pt x="88" y="88"/>
                  </a:cubicBezTo>
                  <a:cubicBezTo>
                    <a:pt x="88" y="59"/>
                    <a:pt x="29" y="0"/>
                    <a:pt x="0" y="59"/>
                  </a:cubicBezTo>
                  <a:cubicBezTo>
                    <a:pt x="29" y="146"/>
                    <a:pt x="0" y="205"/>
                    <a:pt x="29" y="26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27" name="Freeform 904">
              <a:extLst>
                <a:ext uri="{FF2B5EF4-FFF2-40B4-BE49-F238E27FC236}">
                  <a16:creationId xmlns:a16="http://schemas.microsoft.com/office/drawing/2014/main" id="{541D8F55-E097-46E4-BBD9-87FBE57B3C0F}"/>
                </a:ext>
              </a:extLst>
            </p:cNvPr>
            <p:cNvSpPr>
              <a:spLocks noChangeArrowheads="1"/>
            </p:cNvSpPr>
            <p:nvPr/>
          </p:nvSpPr>
          <p:spPr bwMode="auto">
            <a:xfrm>
              <a:off x="7015963" y="129525"/>
              <a:ext cx="22832" cy="32366"/>
            </a:xfrm>
            <a:custGeom>
              <a:avLst/>
              <a:gdLst>
                <a:gd name="T0" fmla="*/ 0 w 60"/>
                <a:gd name="T1" fmla="*/ 29 h 88"/>
                <a:gd name="T2" fmla="*/ 0 w 60"/>
                <a:gd name="T3" fmla="*/ 29 h 88"/>
                <a:gd name="T4" fmla="*/ 0 w 60"/>
                <a:gd name="T5" fmla="*/ 87 h 88"/>
                <a:gd name="T6" fmla="*/ 30 w 60"/>
                <a:gd name="T7" fmla="*/ 87 h 88"/>
                <a:gd name="T8" fmla="*/ 0 w 60"/>
                <a:gd name="T9" fmla="*/ 29 h 88"/>
              </a:gdLst>
              <a:ahLst/>
              <a:cxnLst>
                <a:cxn ang="0">
                  <a:pos x="T0" y="T1"/>
                </a:cxn>
                <a:cxn ang="0">
                  <a:pos x="T2" y="T3"/>
                </a:cxn>
                <a:cxn ang="0">
                  <a:pos x="T4" y="T5"/>
                </a:cxn>
                <a:cxn ang="0">
                  <a:pos x="T6" y="T7"/>
                </a:cxn>
                <a:cxn ang="0">
                  <a:pos x="T8" y="T9"/>
                </a:cxn>
              </a:cxnLst>
              <a:rect l="0" t="0" r="r" b="b"/>
              <a:pathLst>
                <a:path w="60" h="88">
                  <a:moveTo>
                    <a:pt x="0" y="29"/>
                  </a:moveTo>
                  <a:lnTo>
                    <a:pt x="0" y="29"/>
                  </a:lnTo>
                  <a:cubicBezTo>
                    <a:pt x="0" y="57"/>
                    <a:pt x="0" y="57"/>
                    <a:pt x="0" y="87"/>
                  </a:cubicBezTo>
                  <a:cubicBezTo>
                    <a:pt x="0" y="87"/>
                    <a:pt x="0" y="87"/>
                    <a:pt x="30" y="87"/>
                  </a:cubicBezTo>
                  <a:cubicBezTo>
                    <a:pt x="59" y="57"/>
                    <a:pt x="30" y="0"/>
                    <a:pt x="0" y="2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1028" name="Group 1027">
            <a:extLst>
              <a:ext uri="{FF2B5EF4-FFF2-40B4-BE49-F238E27FC236}">
                <a16:creationId xmlns:a16="http://schemas.microsoft.com/office/drawing/2014/main" id="{8136A538-DE3F-4E85-A183-B3C9D25C3B6E}"/>
              </a:ext>
            </a:extLst>
          </p:cNvPr>
          <p:cNvGrpSpPr/>
          <p:nvPr/>
        </p:nvGrpSpPr>
        <p:grpSpPr>
          <a:xfrm>
            <a:off x="2440825" y="4505654"/>
            <a:ext cx="1273691" cy="823725"/>
            <a:chOff x="9043103" y="-545314"/>
            <a:chExt cx="1273691" cy="823725"/>
          </a:xfrm>
          <a:solidFill>
            <a:schemeClr val="tx2">
              <a:lumMod val="40000"/>
              <a:lumOff val="60000"/>
            </a:schemeClr>
          </a:solidFill>
        </p:grpSpPr>
        <p:sp>
          <p:nvSpPr>
            <p:cNvPr id="1029" name="Freeform 905">
              <a:extLst>
                <a:ext uri="{FF2B5EF4-FFF2-40B4-BE49-F238E27FC236}">
                  <a16:creationId xmlns:a16="http://schemas.microsoft.com/office/drawing/2014/main" id="{64A7CE59-0F7B-4BFC-AFC0-AE82511F420F}"/>
                </a:ext>
              </a:extLst>
            </p:cNvPr>
            <p:cNvSpPr>
              <a:spLocks noChangeArrowheads="1"/>
            </p:cNvSpPr>
            <p:nvPr/>
          </p:nvSpPr>
          <p:spPr bwMode="auto">
            <a:xfrm>
              <a:off x="9108337" y="-545314"/>
              <a:ext cx="172870" cy="106809"/>
            </a:xfrm>
            <a:custGeom>
              <a:avLst/>
              <a:gdLst>
                <a:gd name="T0" fmla="*/ 175 w 468"/>
                <a:gd name="T1" fmla="*/ 175 h 293"/>
                <a:gd name="T2" fmla="*/ 175 w 468"/>
                <a:gd name="T3" fmla="*/ 175 h 293"/>
                <a:gd name="T4" fmla="*/ 408 w 468"/>
                <a:gd name="T5" fmla="*/ 233 h 293"/>
                <a:gd name="T6" fmla="*/ 438 w 468"/>
                <a:gd name="T7" fmla="*/ 29 h 293"/>
                <a:gd name="T8" fmla="*/ 205 w 468"/>
                <a:gd name="T9" fmla="*/ 0 h 293"/>
                <a:gd name="T10" fmla="*/ 175 w 468"/>
                <a:gd name="T11" fmla="*/ 175 h 293"/>
              </a:gdLst>
              <a:ahLst/>
              <a:cxnLst>
                <a:cxn ang="0">
                  <a:pos x="T0" y="T1"/>
                </a:cxn>
                <a:cxn ang="0">
                  <a:pos x="T2" y="T3"/>
                </a:cxn>
                <a:cxn ang="0">
                  <a:pos x="T4" y="T5"/>
                </a:cxn>
                <a:cxn ang="0">
                  <a:pos x="T6" y="T7"/>
                </a:cxn>
                <a:cxn ang="0">
                  <a:pos x="T8" y="T9"/>
                </a:cxn>
                <a:cxn ang="0">
                  <a:pos x="T10" y="T11"/>
                </a:cxn>
              </a:cxnLst>
              <a:rect l="0" t="0" r="r" b="b"/>
              <a:pathLst>
                <a:path w="468" h="293">
                  <a:moveTo>
                    <a:pt x="175" y="175"/>
                  </a:moveTo>
                  <a:lnTo>
                    <a:pt x="175" y="175"/>
                  </a:lnTo>
                  <a:cubicBezTo>
                    <a:pt x="175" y="262"/>
                    <a:pt x="350" y="292"/>
                    <a:pt x="408" y="233"/>
                  </a:cubicBezTo>
                  <a:cubicBezTo>
                    <a:pt x="438" y="146"/>
                    <a:pt x="467" y="88"/>
                    <a:pt x="438" y="29"/>
                  </a:cubicBezTo>
                  <a:cubicBezTo>
                    <a:pt x="350" y="0"/>
                    <a:pt x="291" y="0"/>
                    <a:pt x="205" y="0"/>
                  </a:cubicBezTo>
                  <a:cubicBezTo>
                    <a:pt x="175" y="59"/>
                    <a:pt x="0" y="146"/>
                    <a:pt x="175" y="1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30" name="Freeform 906">
              <a:extLst>
                <a:ext uri="{FF2B5EF4-FFF2-40B4-BE49-F238E27FC236}">
                  <a16:creationId xmlns:a16="http://schemas.microsoft.com/office/drawing/2014/main" id="{D3102816-8824-46C9-87D0-2986E3C62854}"/>
                </a:ext>
              </a:extLst>
            </p:cNvPr>
            <p:cNvSpPr>
              <a:spLocks noChangeArrowheads="1"/>
            </p:cNvSpPr>
            <p:nvPr/>
          </p:nvSpPr>
          <p:spPr bwMode="auto">
            <a:xfrm>
              <a:off x="9043103" y="-503238"/>
              <a:ext cx="53818" cy="74443"/>
            </a:xfrm>
            <a:custGeom>
              <a:avLst/>
              <a:gdLst>
                <a:gd name="T0" fmla="*/ 59 w 147"/>
                <a:gd name="T1" fmla="*/ 204 h 205"/>
                <a:gd name="T2" fmla="*/ 59 w 147"/>
                <a:gd name="T3" fmla="*/ 204 h 205"/>
                <a:gd name="T4" fmla="*/ 87 w 147"/>
                <a:gd name="T5" fmla="*/ 145 h 205"/>
                <a:gd name="T6" fmla="*/ 146 w 147"/>
                <a:gd name="T7" fmla="*/ 116 h 205"/>
                <a:gd name="T8" fmla="*/ 146 w 147"/>
                <a:gd name="T9" fmla="*/ 0 h 205"/>
                <a:gd name="T10" fmla="*/ 116 w 147"/>
                <a:gd name="T11" fmla="*/ 0 h 205"/>
                <a:gd name="T12" fmla="*/ 0 w 147"/>
                <a:gd name="T13" fmla="*/ 175 h 205"/>
                <a:gd name="T14" fmla="*/ 59 w 147"/>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05">
                  <a:moveTo>
                    <a:pt x="59" y="204"/>
                  </a:moveTo>
                  <a:lnTo>
                    <a:pt x="59" y="204"/>
                  </a:lnTo>
                  <a:cubicBezTo>
                    <a:pt x="87" y="204"/>
                    <a:pt x="59" y="175"/>
                    <a:pt x="87" y="145"/>
                  </a:cubicBezTo>
                  <a:cubicBezTo>
                    <a:pt x="116" y="116"/>
                    <a:pt x="146" y="116"/>
                    <a:pt x="146" y="116"/>
                  </a:cubicBezTo>
                  <a:cubicBezTo>
                    <a:pt x="146" y="87"/>
                    <a:pt x="146" y="29"/>
                    <a:pt x="146" y="0"/>
                  </a:cubicBezTo>
                  <a:lnTo>
                    <a:pt x="116" y="0"/>
                  </a:lnTo>
                  <a:cubicBezTo>
                    <a:pt x="87" y="58"/>
                    <a:pt x="0" y="87"/>
                    <a:pt x="0" y="175"/>
                  </a:cubicBezTo>
                  <a:cubicBezTo>
                    <a:pt x="0" y="175"/>
                    <a:pt x="30" y="204"/>
                    <a:pt x="59" y="2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31" name="Freeform 907">
              <a:extLst>
                <a:ext uri="{FF2B5EF4-FFF2-40B4-BE49-F238E27FC236}">
                  <a16:creationId xmlns:a16="http://schemas.microsoft.com/office/drawing/2014/main" id="{74714306-6502-4E40-BCDD-109708488673}"/>
                </a:ext>
              </a:extLst>
            </p:cNvPr>
            <p:cNvSpPr>
              <a:spLocks noChangeArrowheads="1"/>
            </p:cNvSpPr>
            <p:nvPr/>
          </p:nvSpPr>
          <p:spPr bwMode="auto">
            <a:xfrm>
              <a:off x="9496478" y="-417467"/>
              <a:ext cx="151669" cy="129466"/>
            </a:xfrm>
            <a:custGeom>
              <a:avLst/>
              <a:gdLst>
                <a:gd name="T0" fmla="*/ 117 w 409"/>
                <a:gd name="T1" fmla="*/ 321 h 351"/>
                <a:gd name="T2" fmla="*/ 117 w 409"/>
                <a:gd name="T3" fmla="*/ 321 h 351"/>
                <a:gd name="T4" fmla="*/ 205 w 409"/>
                <a:gd name="T5" fmla="*/ 262 h 351"/>
                <a:gd name="T6" fmla="*/ 408 w 409"/>
                <a:gd name="T7" fmla="*/ 321 h 351"/>
                <a:gd name="T8" fmla="*/ 379 w 409"/>
                <a:gd name="T9" fmla="*/ 175 h 351"/>
                <a:gd name="T10" fmla="*/ 321 w 409"/>
                <a:gd name="T11" fmla="*/ 175 h 351"/>
                <a:gd name="T12" fmla="*/ 321 w 409"/>
                <a:gd name="T13" fmla="*/ 204 h 351"/>
                <a:gd name="T14" fmla="*/ 291 w 409"/>
                <a:gd name="T15" fmla="*/ 146 h 351"/>
                <a:gd name="T16" fmla="*/ 205 w 409"/>
                <a:gd name="T17" fmla="*/ 0 h 351"/>
                <a:gd name="T18" fmla="*/ 117 w 409"/>
                <a:gd name="T19" fmla="*/ 59 h 351"/>
                <a:gd name="T20" fmla="*/ 0 w 409"/>
                <a:gd name="T21" fmla="*/ 88 h 351"/>
                <a:gd name="T22" fmla="*/ 88 w 409"/>
                <a:gd name="T23" fmla="*/ 233 h 351"/>
                <a:gd name="T24" fmla="*/ 117 w 409"/>
                <a:gd name="T25" fmla="*/ 32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9" h="351">
                  <a:moveTo>
                    <a:pt x="117" y="321"/>
                  </a:moveTo>
                  <a:lnTo>
                    <a:pt x="117" y="321"/>
                  </a:lnTo>
                  <a:cubicBezTo>
                    <a:pt x="175" y="321"/>
                    <a:pt x="175" y="292"/>
                    <a:pt x="205" y="262"/>
                  </a:cubicBezTo>
                  <a:cubicBezTo>
                    <a:pt x="262" y="321"/>
                    <a:pt x="321" y="350"/>
                    <a:pt x="408" y="321"/>
                  </a:cubicBezTo>
                  <a:cubicBezTo>
                    <a:pt x="408" y="262"/>
                    <a:pt x="379" y="233"/>
                    <a:pt x="379" y="175"/>
                  </a:cubicBezTo>
                  <a:cubicBezTo>
                    <a:pt x="350" y="175"/>
                    <a:pt x="350" y="175"/>
                    <a:pt x="321" y="175"/>
                  </a:cubicBezTo>
                  <a:lnTo>
                    <a:pt x="321" y="204"/>
                  </a:lnTo>
                  <a:cubicBezTo>
                    <a:pt x="321" y="175"/>
                    <a:pt x="291" y="175"/>
                    <a:pt x="291" y="146"/>
                  </a:cubicBezTo>
                  <a:cubicBezTo>
                    <a:pt x="291" y="88"/>
                    <a:pt x="233" y="59"/>
                    <a:pt x="205" y="0"/>
                  </a:cubicBezTo>
                  <a:cubicBezTo>
                    <a:pt x="146" y="0"/>
                    <a:pt x="146" y="29"/>
                    <a:pt x="117" y="59"/>
                  </a:cubicBezTo>
                  <a:cubicBezTo>
                    <a:pt x="58" y="59"/>
                    <a:pt x="29" y="59"/>
                    <a:pt x="0" y="88"/>
                  </a:cubicBezTo>
                  <a:cubicBezTo>
                    <a:pt x="0" y="146"/>
                    <a:pt x="58" y="175"/>
                    <a:pt x="88" y="233"/>
                  </a:cubicBezTo>
                  <a:cubicBezTo>
                    <a:pt x="88" y="262"/>
                    <a:pt x="117" y="292"/>
                    <a:pt x="117" y="3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32" name="Freeform 908">
              <a:extLst>
                <a:ext uri="{FF2B5EF4-FFF2-40B4-BE49-F238E27FC236}">
                  <a16:creationId xmlns:a16="http://schemas.microsoft.com/office/drawing/2014/main" id="{1B04D03C-1F6C-4C10-BE46-24A98FF0C5D0}"/>
                </a:ext>
              </a:extLst>
            </p:cNvPr>
            <p:cNvSpPr>
              <a:spLocks noChangeArrowheads="1"/>
            </p:cNvSpPr>
            <p:nvPr/>
          </p:nvSpPr>
          <p:spPr bwMode="auto">
            <a:xfrm>
              <a:off x="9701965" y="-299329"/>
              <a:ext cx="172870" cy="64733"/>
            </a:xfrm>
            <a:custGeom>
              <a:avLst/>
              <a:gdLst>
                <a:gd name="T0" fmla="*/ 203 w 467"/>
                <a:gd name="T1" fmla="*/ 117 h 176"/>
                <a:gd name="T2" fmla="*/ 203 w 467"/>
                <a:gd name="T3" fmla="*/ 117 h 176"/>
                <a:gd name="T4" fmla="*/ 466 w 467"/>
                <a:gd name="T5" fmla="*/ 58 h 176"/>
                <a:gd name="T6" fmla="*/ 262 w 467"/>
                <a:gd name="T7" fmla="*/ 29 h 176"/>
                <a:gd name="T8" fmla="*/ 57 w 467"/>
                <a:gd name="T9" fmla="*/ 0 h 176"/>
                <a:gd name="T10" fmla="*/ 0 w 467"/>
                <a:gd name="T11" fmla="*/ 146 h 176"/>
                <a:gd name="T12" fmla="*/ 203 w 467"/>
                <a:gd name="T13" fmla="*/ 117 h 176"/>
              </a:gdLst>
              <a:ahLst/>
              <a:cxnLst>
                <a:cxn ang="0">
                  <a:pos x="T0" y="T1"/>
                </a:cxn>
                <a:cxn ang="0">
                  <a:pos x="T2" y="T3"/>
                </a:cxn>
                <a:cxn ang="0">
                  <a:pos x="T4" y="T5"/>
                </a:cxn>
                <a:cxn ang="0">
                  <a:pos x="T6" y="T7"/>
                </a:cxn>
                <a:cxn ang="0">
                  <a:pos x="T8" y="T9"/>
                </a:cxn>
                <a:cxn ang="0">
                  <a:pos x="T10" y="T11"/>
                </a:cxn>
                <a:cxn ang="0">
                  <a:pos x="T12" y="T13"/>
                </a:cxn>
              </a:cxnLst>
              <a:rect l="0" t="0" r="r" b="b"/>
              <a:pathLst>
                <a:path w="467" h="176">
                  <a:moveTo>
                    <a:pt x="203" y="117"/>
                  </a:moveTo>
                  <a:lnTo>
                    <a:pt x="203" y="117"/>
                  </a:lnTo>
                  <a:cubicBezTo>
                    <a:pt x="291" y="175"/>
                    <a:pt x="436" y="146"/>
                    <a:pt x="466" y="58"/>
                  </a:cubicBezTo>
                  <a:cubicBezTo>
                    <a:pt x="407" y="0"/>
                    <a:pt x="291" y="58"/>
                    <a:pt x="262" y="29"/>
                  </a:cubicBezTo>
                  <a:cubicBezTo>
                    <a:pt x="203" y="58"/>
                    <a:pt x="116" y="29"/>
                    <a:pt x="57" y="0"/>
                  </a:cubicBezTo>
                  <a:cubicBezTo>
                    <a:pt x="28" y="58"/>
                    <a:pt x="0" y="88"/>
                    <a:pt x="0" y="146"/>
                  </a:cubicBezTo>
                  <a:cubicBezTo>
                    <a:pt x="28" y="146"/>
                    <a:pt x="145" y="146"/>
                    <a:pt x="203" y="11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33" name="Freeform 909">
              <a:extLst>
                <a:ext uri="{FF2B5EF4-FFF2-40B4-BE49-F238E27FC236}">
                  <a16:creationId xmlns:a16="http://schemas.microsoft.com/office/drawing/2014/main" id="{ECC5784D-9ECB-4E09-9E13-6B77FA7EBAA1}"/>
                </a:ext>
              </a:extLst>
            </p:cNvPr>
            <p:cNvSpPr>
              <a:spLocks noChangeArrowheads="1"/>
            </p:cNvSpPr>
            <p:nvPr/>
          </p:nvSpPr>
          <p:spPr bwMode="auto">
            <a:xfrm>
              <a:off x="9863419" y="-255635"/>
              <a:ext cx="163085" cy="129466"/>
            </a:xfrm>
            <a:custGeom>
              <a:avLst/>
              <a:gdLst>
                <a:gd name="T0" fmla="*/ 0 w 439"/>
                <a:gd name="T1" fmla="*/ 116 h 351"/>
                <a:gd name="T2" fmla="*/ 0 w 439"/>
                <a:gd name="T3" fmla="*/ 116 h 351"/>
                <a:gd name="T4" fmla="*/ 147 w 439"/>
                <a:gd name="T5" fmla="*/ 204 h 351"/>
                <a:gd name="T6" fmla="*/ 350 w 439"/>
                <a:gd name="T7" fmla="*/ 321 h 351"/>
                <a:gd name="T8" fmla="*/ 438 w 439"/>
                <a:gd name="T9" fmla="*/ 204 h 351"/>
                <a:gd name="T10" fmla="*/ 147 w 439"/>
                <a:gd name="T11" fmla="*/ 87 h 351"/>
                <a:gd name="T12" fmla="*/ 88 w 439"/>
                <a:gd name="T13" fmla="*/ 29 h 351"/>
                <a:gd name="T14" fmla="*/ 0 w 439"/>
                <a:gd name="T15" fmla="*/ 116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9" h="351">
                  <a:moveTo>
                    <a:pt x="0" y="116"/>
                  </a:moveTo>
                  <a:lnTo>
                    <a:pt x="0" y="116"/>
                  </a:lnTo>
                  <a:cubicBezTo>
                    <a:pt x="0" y="174"/>
                    <a:pt x="88" y="174"/>
                    <a:pt x="147" y="204"/>
                  </a:cubicBezTo>
                  <a:cubicBezTo>
                    <a:pt x="147" y="321"/>
                    <a:pt x="234" y="350"/>
                    <a:pt x="350" y="321"/>
                  </a:cubicBezTo>
                  <a:cubicBezTo>
                    <a:pt x="409" y="321"/>
                    <a:pt x="438" y="262"/>
                    <a:pt x="438" y="204"/>
                  </a:cubicBezTo>
                  <a:cubicBezTo>
                    <a:pt x="380" y="145"/>
                    <a:pt x="292" y="87"/>
                    <a:pt x="147" y="87"/>
                  </a:cubicBezTo>
                  <a:cubicBezTo>
                    <a:pt x="117" y="58"/>
                    <a:pt x="117" y="29"/>
                    <a:pt x="88" y="29"/>
                  </a:cubicBezTo>
                  <a:cubicBezTo>
                    <a:pt x="59" y="0"/>
                    <a:pt x="0" y="87"/>
                    <a:pt x="0" y="11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34" name="Freeform 910">
              <a:extLst>
                <a:ext uri="{FF2B5EF4-FFF2-40B4-BE49-F238E27FC236}">
                  <a16:creationId xmlns:a16="http://schemas.microsoft.com/office/drawing/2014/main" id="{F2D5EECA-0B4D-4C11-841F-16800CA057FE}"/>
                </a:ext>
              </a:extLst>
            </p:cNvPr>
            <p:cNvSpPr>
              <a:spLocks noChangeArrowheads="1"/>
            </p:cNvSpPr>
            <p:nvPr/>
          </p:nvSpPr>
          <p:spPr bwMode="auto">
            <a:xfrm>
              <a:off x="9776984" y="-245925"/>
              <a:ext cx="75019" cy="97099"/>
            </a:xfrm>
            <a:custGeom>
              <a:avLst/>
              <a:gdLst>
                <a:gd name="T0" fmla="*/ 175 w 205"/>
                <a:gd name="T1" fmla="*/ 175 h 263"/>
                <a:gd name="T2" fmla="*/ 175 w 205"/>
                <a:gd name="T3" fmla="*/ 175 h 263"/>
                <a:gd name="T4" fmla="*/ 175 w 205"/>
                <a:gd name="T5" fmla="*/ 58 h 263"/>
                <a:gd name="T6" fmla="*/ 0 w 205"/>
                <a:gd name="T7" fmla="*/ 87 h 263"/>
                <a:gd name="T8" fmla="*/ 146 w 205"/>
                <a:gd name="T9" fmla="*/ 233 h 263"/>
                <a:gd name="T10" fmla="*/ 175 w 205"/>
                <a:gd name="T11" fmla="*/ 175 h 263"/>
              </a:gdLst>
              <a:ahLst/>
              <a:cxnLst>
                <a:cxn ang="0">
                  <a:pos x="T0" y="T1"/>
                </a:cxn>
                <a:cxn ang="0">
                  <a:pos x="T2" y="T3"/>
                </a:cxn>
                <a:cxn ang="0">
                  <a:pos x="T4" y="T5"/>
                </a:cxn>
                <a:cxn ang="0">
                  <a:pos x="T6" y="T7"/>
                </a:cxn>
                <a:cxn ang="0">
                  <a:pos x="T8" y="T9"/>
                </a:cxn>
                <a:cxn ang="0">
                  <a:pos x="T10" y="T11"/>
                </a:cxn>
              </a:cxnLst>
              <a:rect l="0" t="0" r="r" b="b"/>
              <a:pathLst>
                <a:path w="205" h="263">
                  <a:moveTo>
                    <a:pt x="175" y="175"/>
                  </a:moveTo>
                  <a:lnTo>
                    <a:pt x="175" y="175"/>
                  </a:lnTo>
                  <a:cubicBezTo>
                    <a:pt x="204" y="145"/>
                    <a:pt x="175" y="116"/>
                    <a:pt x="175" y="58"/>
                  </a:cubicBezTo>
                  <a:cubicBezTo>
                    <a:pt x="117" y="87"/>
                    <a:pt x="0" y="0"/>
                    <a:pt x="0" y="87"/>
                  </a:cubicBezTo>
                  <a:cubicBezTo>
                    <a:pt x="59" y="116"/>
                    <a:pt x="59" y="262"/>
                    <a:pt x="146" y="233"/>
                  </a:cubicBezTo>
                  <a:cubicBezTo>
                    <a:pt x="146" y="204"/>
                    <a:pt x="175" y="204"/>
                    <a:pt x="175" y="17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35" name="Freeform 911">
              <a:extLst>
                <a:ext uri="{FF2B5EF4-FFF2-40B4-BE49-F238E27FC236}">
                  <a16:creationId xmlns:a16="http://schemas.microsoft.com/office/drawing/2014/main" id="{CD9CE6D8-B81F-4F7D-B51B-AC9AFEA25B60}"/>
                </a:ext>
              </a:extLst>
            </p:cNvPr>
            <p:cNvSpPr>
              <a:spLocks noChangeArrowheads="1"/>
            </p:cNvSpPr>
            <p:nvPr/>
          </p:nvSpPr>
          <p:spPr bwMode="auto">
            <a:xfrm>
              <a:off x="9840587" y="-148826"/>
              <a:ext cx="76649" cy="43695"/>
            </a:xfrm>
            <a:custGeom>
              <a:avLst/>
              <a:gdLst>
                <a:gd name="T0" fmla="*/ 175 w 206"/>
                <a:gd name="T1" fmla="*/ 0 h 117"/>
                <a:gd name="T2" fmla="*/ 175 w 206"/>
                <a:gd name="T3" fmla="*/ 0 h 117"/>
                <a:gd name="T4" fmla="*/ 58 w 206"/>
                <a:gd name="T5" fmla="*/ 116 h 117"/>
                <a:gd name="T6" fmla="*/ 175 w 206"/>
                <a:gd name="T7" fmla="*/ 88 h 117"/>
                <a:gd name="T8" fmla="*/ 175 w 206"/>
                <a:gd name="T9" fmla="*/ 0 h 117"/>
              </a:gdLst>
              <a:ahLst/>
              <a:cxnLst>
                <a:cxn ang="0">
                  <a:pos x="T0" y="T1"/>
                </a:cxn>
                <a:cxn ang="0">
                  <a:pos x="T2" y="T3"/>
                </a:cxn>
                <a:cxn ang="0">
                  <a:pos x="T4" y="T5"/>
                </a:cxn>
                <a:cxn ang="0">
                  <a:pos x="T6" y="T7"/>
                </a:cxn>
                <a:cxn ang="0">
                  <a:pos x="T8" y="T9"/>
                </a:cxn>
              </a:cxnLst>
              <a:rect l="0" t="0" r="r" b="b"/>
              <a:pathLst>
                <a:path w="206" h="117">
                  <a:moveTo>
                    <a:pt x="175" y="0"/>
                  </a:moveTo>
                  <a:lnTo>
                    <a:pt x="175" y="0"/>
                  </a:lnTo>
                  <a:cubicBezTo>
                    <a:pt x="88" y="0"/>
                    <a:pt x="0" y="59"/>
                    <a:pt x="58" y="116"/>
                  </a:cubicBezTo>
                  <a:cubicBezTo>
                    <a:pt x="117" y="116"/>
                    <a:pt x="146" y="88"/>
                    <a:pt x="175" y="88"/>
                  </a:cubicBezTo>
                  <a:cubicBezTo>
                    <a:pt x="205" y="59"/>
                    <a:pt x="175" y="30"/>
                    <a:pt x="17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36" name="Freeform 912">
              <a:extLst>
                <a:ext uri="{FF2B5EF4-FFF2-40B4-BE49-F238E27FC236}">
                  <a16:creationId xmlns:a16="http://schemas.microsoft.com/office/drawing/2014/main" id="{59CE8F1E-ABC4-4E16-9458-1AC44AF956CE}"/>
                </a:ext>
              </a:extLst>
            </p:cNvPr>
            <p:cNvSpPr>
              <a:spLocks noChangeArrowheads="1"/>
            </p:cNvSpPr>
            <p:nvPr/>
          </p:nvSpPr>
          <p:spPr bwMode="auto">
            <a:xfrm>
              <a:off x="10003672" y="-74383"/>
              <a:ext cx="313122" cy="352794"/>
            </a:xfrm>
            <a:custGeom>
              <a:avLst/>
              <a:gdLst>
                <a:gd name="T0" fmla="*/ 87 w 847"/>
                <a:gd name="T1" fmla="*/ 321 h 963"/>
                <a:gd name="T2" fmla="*/ 87 w 847"/>
                <a:gd name="T3" fmla="*/ 321 h 963"/>
                <a:gd name="T4" fmla="*/ 29 w 847"/>
                <a:gd name="T5" fmla="*/ 467 h 963"/>
                <a:gd name="T6" fmla="*/ 58 w 847"/>
                <a:gd name="T7" fmla="*/ 496 h 963"/>
                <a:gd name="T8" fmla="*/ 117 w 847"/>
                <a:gd name="T9" fmla="*/ 584 h 963"/>
                <a:gd name="T10" fmla="*/ 87 w 847"/>
                <a:gd name="T11" fmla="*/ 759 h 963"/>
                <a:gd name="T12" fmla="*/ 146 w 847"/>
                <a:gd name="T13" fmla="*/ 876 h 963"/>
                <a:gd name="T14" fmla="*/ 262 w 847"/>
                <a:gd name="T15" fmla="*/ 962 h 963"/>
                <a:gd name="T16" fmla="*/ 320 w 847"/>
                <a:gd name="T17" fmla="*/ 876 h 963"/>
                <a:gd name="T18" fmla="*/ 437 w 847"/>
                <a:gd name="T19" fmla="*/ 788 h 963"/>
                <a:gd name="T20" fmla="*/ 525 w 847"/>
                <a:gd name="T21" fmla="*/ 729 h 963"/>
                <a:gd name="T22" fmla="*/ 670 w 847"/>
                <a:gd name="T23" fmla="*/ 700 h 963"/>
                <a:gd name="T24" fmla="*/ 817 w 847"/>
                <a:gd name="T25" fmla="*/ 584 h 963"/>
                <a:gd name="T26" fmla="*/ 817 w 847"/>
                <a:gd name="T27" fmla="*/ 555 h 963"/>
                <a:gd name="T28" fmla="*/ 700 w 847"/>
                <a:gd name="T29" fmla="*/ 438 h 963"/>
                <a:gd name="T30" fmla="*/ 670 w 847"/>
                <a:gd name="T31" fmla="*/ 350 h 963"/>
                <a:gd name="T32" fmla="*/ 408 w 847"/>
                <a:gd name="T33" fmla="*/ 176 h 963"/>
                <a:gd name="T34" fmla="*/ 379 w 847"/>
                <a:gd name="T35" fmla="*/ 117 h 963"/>
                <a:gd name="T36" fmla="*/ 204 w 847"/>
                <a:gd name="T37" fmla="*/ 29 h 963"/>
                <a:gd name="T38" fmla="*/ 146 w 847"/>
                <a:gd name="T39" fmla="*/ 234 h 963"/>
                <a:gd name="T40" fmla="*/ 87 w 847"/>
                <a:gd name="T41" fmla="*/ 32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7" h="963">
                  <a:moveTo>
                    <a:pt x="87" y="321"/>
                  </a:moveTo>
                  <a:lnTo>
                    <a:pt x="87" y="321"/>
                  </a:lnTo>
                  <a:cubicBezTo>
                    <a:pt x="0" y="321"/>
                    <a:pt x="0" y="409"/>
                    <a:pt x="29" y="467"/>
                  </a:cubicBezTo>
                  <a:cubicBezTo>
                    <a:pt x="29" y="467"/>
                    <a:pt x="58" y="467"/>
                    <a:pt x="58" y="496"/>
                  </a:cubicBezTo>
                  <a:cubicBezTo>
                    <a:pt x="58" y="555"/>
                    <a:pt x="87" y="555"/>
                    <a:pt x="117" y="584"/>
                  </a:cubicBezTo>
                  <a:cubicBezTo>
                    <a:pt x="117" y="642"/>
                    <a:pt x="87" y="700"/>
                    <a:pt x="87" y="759"/>
                  </a:cubicBezTo>
                  <a:cubicBezTo>
                    <a:pt x="87" y="817"/>
                    <a:pt x="117" y="817"/>
                    <a:pt x="146" y="876"/>
                  </a:cubicBezTo>
                  <a:cubicBezTo>
                    <a:pt x="204" y="876"/>
                    <a:pt x="204" y="962"/>
                    <a:pt x="262" y="962"/>
                  </a:cubicBezTo>
                  <a:cubicBezTo>
                    <a:pt x="320" y="962"/>
                    <a:pt x="320" y="905"/>
                    <a:pt x="320" y="876"/>
                  </a:cubicBezTo>
                  <a:cubicBezTo>
                    <a:pt x="350" y="876"/>
                    <a:pt x="408" y="817"/>
                    <a:pt x="437" y="788"/>
                  </a:cubicBezTo>
                  <a:cubicBezTo>
                    <a:pt x="467" y="759"/>
                    <a:pt x="496" y="729"/>
                    <a:pt x="525" y="729"/>
                  </a:cubicBezTo>
                  <a:cubicBezTo>
                    <a:pt x="583" y="700"/>
                    <a:pt x="612" y="729"/>
                    <a:pt x="670" y="700"/>
                  </a:cubicBezTo>
                  <a:cubicBezTo>
                    <a:pt x="729" y="700"/>
                    <a:pt x="817" y="612"/>
                    <a:pt x="817" y="584"/>
                  </a:cubicBezTo>
                  <a:cubicBezTo>
                    <a:pt x="817" y="584"/>
                    <a:pt x="846" y="555"/>
                    <a:pt x="817" y="555"/>
                  </a:cubicBezTo>
                  <a:cubicBezTo>
                    <a:pt x="729" y="555"/>
                    <a:pt x="758" y="496"/>
                    <a:pt x="700" y="438"/>
                  </a:cubicBezTo>
                  <a:cubicBezTo>
                    <a:pt x="700" y="409"/>
                    <a:pt x="641" y="409"/>
                    <a:pt x="670" y="350"/>
                  </a:cubicBezTo>
                  <a:cubicBezTo>
                    <a:pt x="554" y="292"/>
                    <a:pt x="525" y="205"/>
                    <a:pt x="408" y="176"/>
                  </a:cubicBezTo>
                  <a:cubicBezTo>
                    <a:pt x="408" y="146"/>
                    <a:pt x="379" y="117"/>
                    <a:pt x="379" y="117"/>
                  </a:cubicBezTo>
                  <a:cubicBezTo>
                    <a:pt x="262" y="117"/>
                    <a:pt x="262" y="59"/>
                    <a:pt x="204" y="29"/>
                  </a:cubicBezTo>
                  <a:cubicBezTo>
                    <a:pt x="58" y="0"/>
                    <a:pt x="146" y="146"/>
                    <a:pt x="146" y="234"/>
                  </a:cubicBezTo>
                  <a:cubicBezTo>
                    <a:pt x="117" y="262"/>
                    <a:pt x="87" y="262"/>
                    <a:pt x="87" y="3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Graphik"/>
                <a:ea typeface="+mn-ea"/>
                <a:cs typeface="+mn-cs"/>
              </a:endParaRPr>
            </a:p>
          </p:txBody>
        </p:sp>
      </p:grpSp>
      <p:sp>
        <p:nvSpPr>
          <p:cNvPr id="4" name="Rectangle 3">
            <a:hlinkClick r:id="rId3" action="ppaction://hlinksldjump"/>
            <a:extLst>
              <a:ext uri="{FF2B5EF4-FFF2-40B4-BE49-F238E27FC236}">
                <a16:creationId xmlns:a16="http://schemas.microsoft.com/office/drawing/2014/main" id="{0FF5E0AA-32ED-4FE5-94C6-6CAAE3EDDAC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37541873"/>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South America</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E0E6D8AE-B5FD-46B5-824D-78A44F4CB866}"/>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grpSp>
        <p:nvGrpSpPr>
          <p:cNvPr id="258" name="Group 257">
            <a:extLst>
              <a:ext uri="{FF2B5EF4-FFF2-40B4-BE49-F238E27FC236}">
                <a16:creationId xmlns:a16="http://schemas.microsoft.com/office/drawing/2014/main" id="{B3FC18C9-1F8E-46A7-9E22-55713045CC6D}"/>
              </a:ext>
            </a:extLst>
          </p:cNvPr>
          <p:cNvGrpSpPr/>
          <p:nvPr/>
        </p:nvGrpSpPr>
        <p:grpSpPr>
          <a:xfrm>
            <a:off x="5680219" y="0"/>
            <a:ext cx="6445566" cy="6386400"/>
            <a:chOff x="5118971" y="0"/>
            <a:chExt cx="6921535" cy="6858000"/>
          </a:xfrm>
          <a:solidFill>
            <a:srgbClr val="96968C">
              <a:lumMod val="40000"/>
              <a:lumOff val="60000"/>
            </a:srgbClr>
          </a:solidFill>
        </p:grpSpPr>
        <p:sp>
          <p:nvSpPr>
            <p:cNvPr id="259" name="Freeform 5">
              <a:extLst>
                <a:ext uri="{FF2B5EF4-FFF2-40B4-BE49-F238E27FC236}">
                  <a16:creationId xmlns:a16="http://schemas.microsoft.com/office/drawing/2014/main" id="{B4C8C130-13BC-4CD8-B8B8-5F706967F147}"/>
                </a:ext>
              </a:extLst>
            </p:cNvPr>
            <p:cNvSpPr>
              <a:spLocks/>
            </p:cNvSpPr>
            <p:nvPr/>
          </p:nvSpPr>
          <p:spPr bwMode="auto">
            <a:xfrm>
              <a:off x="7531128" y="0"/>
              <a:ext cx="56491" cy="16947"/>
            </a:xfrm>
            <a:custGeom>
              <a:avLst/>
              <a:gdLst>
                <a:gd name="T0" fmla="*/ 17 w 17"/>
                <a:gd name="T1" fmla="*/ 0 h 5"/>
                <a:gd name="T2" fmla="*/ 3 w 17"/>
                <a:gd name="T3" fmla="*/ 0 h 5"/>
                <a:gd name="T4" fmla="*/ 4 w 17"/>
                <a:gd name="T5" fmla="*/ 3 h 5"/>
                <a:gd name="T6" fmla="*/ 4 w 17"/>
                <a:gd name="T7" fmla="*/ 3 h 5"/>
                <a:gd name="T8" fmla="*/ 1 w 17"/>
                <a:gd name="T9" fmla="*/ 1 h 5"/>
                <a:gd name="T10" fmla="*/ 1 w 17"/>
                <a:gd name="T11" fmla="*/ 5 h 5"/>
                <a:gd name="T12" fmla="*/ 4 w 17"/>
                <a:gd name="T13" fmla="*/ 5 h 5"/>
                <a:gd name="T14" fmla="*/ 6 w 17"/>
                <a:gd name="T15" fmla="*/ 4 h 5"/>
                <a:gd name="T16" fmla="*/ 6 w 17"/>
                <a:gd name="T17" fmla="*/ 4 h 5"/>
                <a:gd name="T18" fmla="*/ 8 w 17"/>
                <a:gd name="T19" fmla="*/ 4 h 5"/>
                <a:gd name="T20" fmla="*/ 8 w 17"/>
                <a:gd name="T21" fmla="*/ 4 h 5"/>
                <a:gd name="T22" fmla="*/ 11 w 17"/>
                <a:gd name="T23" fmla="*/ 3 h 5"/>
                <a:gd name="T24" fmla="*/ 13 w 17"/>
                <a:gd name="T25" fmla="*/ 3 h 5"/>
                <a:gd name="T26" fmla="*/ 15 w 17"/>
                <a:gd name="T27" fmla="*/ 4 h 5"/>
                <a:gd name="T28" fmla="*/ 14 w 17"/>
                <a:gd name="T29" fmla="*/ 3 h 5"/>
                <a:gd name="T30" fmla="*/ 17 w 17"/>
                <a:gd name="T31" fmla="*/ 4 h 5"/>
                <a:gd name="T32" fmla="*/ 16 w 17"/>
                <a:gd name="T33" fmla="*/ 1 h 5"/>
                <a:gd name="T34" fmla="*/ 17 w 17"/>
                <a:gd name="T3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5">
                  <a:moveTo>
                    <a:pt x="17" y="0"/>
                  </a:moveTo>
                  <a:cubicBezTo>
                    <a:pt x="3" y="0"/>
                    <a:pt x="3" y="0"/>
                    <a:pt x="3" y="0"/>
                  </a:cubicBezTo>
                  <a:cubicBezTo>
                    <a:pt x="4" y="1"/>
                    <a:pt x="5" y="3"/>
                    <a:pt x="4" y="3"/>
                  </a:cubicBezTo>
                  <a:cubicBezTo>
                    <a:pt x="4" y="3"/>
                    <a:pt x="4" y="3"/>
                    <a:pt x="4" y="3"/>
                  </a:cubicBezTo>
                  <a:cubicBezTo>
                    <a:pt x="3" y="3"/>
                    <a:pt x="1" y="1"/>
                    <a:pt x="1" y="1"/>
                  </a:cubicBezTo>
                  <a:cubicBezTo>
                    <a:pt x="0" y="2"/>
                    <a:pt x="0" y="4"/>
                    <a:pt x="1" y="5"/>
                  </a:cubicBezTo>
                  <a:cubicBezTo>
                    <a:pt x="2" y="5"/>
                    <a:pt x="3" y="5"/>
                    <a:pt x="4" y="5"/>
                  </a:cubicBezTo>
                  <a:cubicBezTo>
                    <a:pt x="5" y="5"/>
                    <a:pt x="5" y="4"/>
                    <a:pt x="6" y="4"/>
                  </a:cubicBezTo>
                  <a:cubicBezTo>
                    <a:pt x="6" y="4"/>
                    <a:pt x="6" y="4"/>
                    <a:pt x="6" y="4"/>
                  </a:cubicBezTo>
                  <a:cubicBezTo>
                    <a:pt x="6" y="4"/>
                    <a:pt x="7" y="4"/>
                    <a:pt x="8" y="4"/>
                  </a:cubicBezTo>
                  <a:cubicBezTo>
                    <a:pt x="8" y="4"/>
                    <a:pt x="8" y="4"/>
                    <a:pt x="8" y="4"/>
                  </a:cubicBezTo>
                  <a:cubicBezTo>
                    <a:pt x="10" y="4"/>
                    <a:pt x="10" y="4"/>
                    <a:pt x="11" y="3"/>
                  </a:cubicBezTo>
                  <a:cubicBezTo>
                    <a:pt x="12" y="3"/>
                    <a:pt x="12" y="3"/>
                    <a:pt x="13" y="3"/>
                  </a:cubicBezTo>
                  <a:cubicBezTo>
                    <a:pt x="13" y="3"/>
                    <a:pt x="14" y="3"/>
                    <a:pt x="15" y="4"/>
                  </a:cubicBezTo>
                  <a:cubicBezTo>
                    <a:pt x="14" y="3"/>
                    <a:pt x="14" y="3"/>
                    <a:pt x="14" y="3"/>
                  </a:cubicBezTo>
                  <a:cubicBezTo>
                    <a:pt x="15" y="3"/>
                    <a:pt x="16" y="3"/>
                    <a:pt x="17" y="4"/>
                  </a:cubicBezTo>
                  <a:cubicBezTo>
                    <a:pt x="16" y="3"/>
                    <a:pt x="16" y="2"/>
                    <a:pt x="16" y="1"/>
                  </a:cubicBezTo>
                  <a:cubicBezTo>
                    <a:pt x="17" y="1"/>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 name="Freeform 6">
              <a:extLst>
                <a:ext uri="{FF2B5EF4-FFF2-40B4-BE49-F238E27FC236}">
                  <a16:creationId xmlns:a16="http://schemas.microsoft.com/office/drawing/2014/main" id="{39BEC48F-78AE-4294-9B3E-E2F81BDFE150}"/>
                </a:ext>
              </a:extLst>
            </p:cNvPr>
            <p:cNvSpPr>
              <a:spLocks noEditPoints="1"/>
            </p:cNvSpPr>
            <p:nvPr/>
          </p:nvSpPr>
          <p:spPr bwMode="auto">
            <a:xfrm>
              <a:off x="12030620" y="687777"/>
              <a:ext cx="5649" cy="19772"/>
            </a:xfrm>
            <a:custGeom>
              <a:avLst/>
              <a:gdLst>
                <a:gd name="T0" fmla="*/ 2 w 2"/>
                <a:gd name="T1" fmla="*/ 5 h 6"/>
                <a:gd name="T2" fmla="*/ 2 w 2"/>
                <a:gd name="T3" fmla="*/ 6 h 6"/>
                <a:gd name="T4" fmla="*/ 2 w 2"/>
                <a:gd name="T5" fmla="*/ 5 h 6"/>
                <a:gd name="T6" fmla="*/ 2 w 2"/>
                <a:gd name="T7" fmla="*/ 0 h 6"/>
                <a:gd name="T8" fmla="*/ 1 w 2"/>
                <a:gd name="T9" fmla="*/ 3 h 6"/>
                <a:gd name="T10" fmla="*/ 2 w 2"/>
                <a:gd name="T11" fmla="*/ 5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5"/>
                  </a:moveTo>
                  <a:cubicBezTo>
                    <a:pt x="2" y="5"/>
                    <a:pt x="2" y="6"/>
                    <a:pt x="2" y="6"/>
                  </a:cubicBezTo>
                  <a:cubicBezTo>
                    <a:pt x="2" y="6"/>
                    <a:pt x="2" y="5"/>
                    <a:pt x="2" y="5"/>
                  </a:cubicBezTo>
                  <a:moveTo>
                    <a:pt x="2" y="0"/>
                  </a:moveTo>
                  <a:cubicBezTo>
                    <a:pt x="0" y="0"/>
                    <a:pt x="1" y="2"/>
                    <a:pt x="1" y="3"/>
                  </a:cubicBezTo>
                  <a:cubicBezTo>
                    <a:pt x="2" y="3"/>
                    <a:pt x="2" y="4"/>
                    <a:pt x="2"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 name="Freeform 7">
              <a:extLst>
                <a:ext uri="{FF2B5EF4-FFF2-40B4-BE49-F238E27FC236}">
                  <a16:creationId xmlns:a16="http://schemas.microsoft.com/office/drawing/2014/main" id="{437D4C90-F9EA-41AA-8BDC-8B99C3E3096D}"/>
                </a:ext>
              </a:extLst>
            </p:cNvPr>
            <p:cNvSpPr>
              <a:spLocks/>
            </p:cNvSpPr>
            <p:nvPr/>
          </p:nvSpPr>
          <p:spPr bwMode="auto">
            <a:xfrm>
              <a:off x="12033445" y="737207"/>
              <a:ext cx="7061" cy="16947"/>
            </a:xfrm>
            <a:custGeom>
              <a:avLst/>
              <a:gdLst>
                <a:gd name="T0" fmla="*/ 2 w 2"/>
                <a:gd name="T1" fmla="*/ 0 h 5"/>
                <a:gd name="T2" fmla="*/ 1 w 2"/>
                <a:gd name="T3" fmla="*/ 0 h 5"/>
                <a:gd name="T4" fmla="*/ 0 w 2"/>
                <a:gd name="T5" fmla="*/ 4 h 5"/>
                <a:gd name="T6" fmla="*/ 2 w 2"/>
                <a:gd name="T7" fmla="*/ 5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cubicBezTo>
                    <a:pt x="1" y="0"/>
                    <a:pt x="1" y="0"/>
                    <a:pt x="1" y="0"/>
                  </a:cubicBezTo>
                  <a:cubicBezTo>
                    <a:pt x="0" y="4"/>
                    <a:pt x="0" y="4"/>
                    <a:pt x="0" y="4"/>
                  </a:cubicBezTo>
                  <a:cubicBezTo>
                    <a:pt x="0" y="4"/>
                    <a:pt x="1" y="5"/>
                    <a:pt x="2"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 name="Freeform 8">
              <a:extLst>
                <a:ext uri="{FF2B5EF4-FFF2-40B4-BE49-F238E27FC236}">
                  <a16:creationId xmlns:a16="http://schemas.microsoft.com/office/drawing/2014/main" id="{C4372C21-408D-4E93-B7B7-CABA8E0746C0}"/>
                </a:ext>
              </a:extLst>
            </p:cNvPr>
            <p:cNvSpPr>
              <a:spLocks/>
            </p:cNvSpPr>
            <p:nvPr/>
          </p:nvSpPr>
          <p:spPr bwMode="auto">
            <a:xfrm>
              <a:off x="7754267" y="1341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 name="Freeform 9">
              <a:extLst>
                <a:ext uri="{FF2B5EF4-FFF2-40B4-BE49-F238E27FC236}">
                  <a16:creationId xmlns:a16="http://schemas.microsoft.com/office/drawing/2014/main" id="{2B29B2C3-5B63-442A-8A69-C8979FDBE6DC}"/>
                </a:ext>
              </a:extLst>
            </p:cNvPr>
            <p:cNvSpPr>
              <a:spLocks/>
            </p:cNvSpPr>
            <p:nvPr/>
          </p:nvSpPr>
          <p:spPr bwMode="auto">
            <a:xfrm>
              <a:off x="9006950" y="1234327"/>
              <a:ext cx="2825" cy="0"/>
            </a:xfrm>
            <a:custGeom>
              <a:avLst/>
              <a:gdLst>
                <a:gd name="T0" fmla="*/ 0 w 1"/>
                <a:gd name="T1" fmla="*/ 0 w 1"/>
                <a:gd name="T2" fmla="*/ 0 w 1"/>
                <a:gd name="T3" fmla="*/ 0 w 1"/>
                <a:gd name="T4" fmla="*/ 0 w 1"/>
                <a:gd name="T5" fmla="*/ 0 w 1"/>
                <a:gd name="T6" fmla="*/ 1 w 1"/>
                <a:gd name="T7" fmla="*/ 1 w 1"/>
                <a:gd name="T8" fmla="*/ 0 w 1"/>
                <a:gd name="T9"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 name="Freeform 10">
              <a:extLst>
                <a:ext uri="{FF2B5EF4-FFF2-40B4-BE49-F238E27FC236}">
                  <a16:creationId xmlns:a16="http://schemas.microsoft.com/office/drawing/2014/main" id="{1D313F5B-3073-49B6-B416-BF4E58526CD3}"/>
                </a:ext>
              </a:extLst>
            </p:cNvPr>
            <p:cNvSpPr>
              <a:spLocks/>
            </p:cNvSpPr>
            <p:nvPr/>
          </p:nvSpPr>
          <p:spPr bwMode="auto">
            <a:xfrm>
              <a:off x="10037907" y="4009444"/>
              <a:ext cx="7061" cy="7061"/>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 name="Freeform 11">
              <a:extLst>
                <a:ext uri="{FF2B5EF4-FFF2-40B4-BE49-F238E27FC236}">
                  <a16:creationId xmlns:a16="http://schemas.microsoft.com/office/drawing/2014/main" id="{46F3E435-260C-46E8-8781-2DD8BEFF76D6}"/>
                </a:ext>
              </a:extLst>
            </p:cNvPr>
            <p:cNvSpPr>
              <a:spLocks/>
            </p:cNvSpPr>
            <p:nvPr/>
          </p:nvSpPr>
          <p:spPr bwMode="auto">
            <a:xfrm>
              <a:off x="10094398" y="3979787"/>
              <a:ext cx="2825" cy="282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0" y="0"/>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 name="Rectangle 12">
              <a:extLst>
                <a:ext uri="{FF2B5EF4-FFF2-40B4-BE49-F238E27FC236}">
                  <a16:creationId xmlns:a16="http://schemas.microsoft.com/office/drawing/2014/main" id="{4B25D78B-C0B5-4FCB-99EF-BB0777C00A6A}"/>
                </a:ext>
              </a:extLst>
            </p:cNvPr>
            <p:cNvSpPr>
              <a:spLocks noChangeArrowheads="1"/>
            </p:cNvSpPr>
            <p:nvPr/>
          </p:nvSpPr>
          <p:spPr bwMode="auto">
            <a:xfrm>
              <a:off x="10094398" y="3982611"/>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 name="Freeform 13">
              <a:extLst>
                <a:ext uri="{FF2B5EF4-FFF2-40B4-BE49-F238E27FC236}">
                  <a16:creationId xmlns:a16="http://schemas.microsoft.com/office/drawing/2014/main" id="{39100456-2A8F-423C-86BD-E3FD307E9525}"/>
                </a:ext>
              </a:extLst>
            </p:cNvPr>
            <p:cNvSpPr>
              <a:spLocks/>
            </p:cNvSpPr>
            <p:nvPr/>
          </p:nvSpPr>
          <p:spPr bwMode="auto">
            <a:xfrm>
              <a:off x="10094398" y="398261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 name="Rectangle 14">
              <a:extLst>
                <a:ext uri="{FF2B5EF4-FFF2-40B4-BE49-F238E27FC236}">
                  <a16:creationId xmlns:a16="http://schemas.microsoft.com/office/drawing/2014/main" id="{ED3B7BA4-33C7-4BCD-8599-CEF34A2A95CF}"/>
                </a:ext>
              </a:extLst>
            </p:cNvPr>
            <p:cNvSpPr>
              <a:spLocks noChangeArrowheads="1"/>
            </p:cNvSpPr>
            <p:nvPr/>
          </p:nvSpPr>
          <p:spPr bwMode="auto">
            <a:xfrm>
              <a:off x="9883970" y="2136770"/>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 name="Freeform 15">
              <a:extLst>
                <a:ext uri="{FF2B5EF4-FFF2-40B4-BE49-F238E27FC236}">
                  <a16:creationId xmlns:a16="http://schemas.microsoft.com/office/drawing/2014/main" id="{044E3583-B5FD-441F-AB7C-1DAB8620915A}"/>
                </a:ext>
              </a:extLst>
            </p:cNvPr>
            <p:cNvSpPr>
              <a:spLocks/>
            </p:cNvSpPr>
            <p:nvPr/>
          </p:nvSpPr>
          <p:spPr bwMode="auto">
            <a:xfrm>
              <a:off x="9883970" y="213677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 name="Freeform 16">
              <a:extLst>
                <a:ext uri="{FF2B5EF4-FFF2-40B4-BE49-F238E27FC236}">
                  <a16:creationId xmlns:a16="http://schemas.microsoft.com/office/drawing/2014/main" id="{1E212B12-3357-442B-AC1E-CE70E7E9D68B}"/>
                </a:ext>
              </a:extLst>
            </p:cNvPr>
            <p:cNvSpPr>
              <a:spLocks/>
            </p:cNvSpPr>
            <p:nvPr/>
          </p:nvSpPr>
          <p:spPr bwMode="auto">
            <a:xfrm>
              <a:off x="9783699" y="1659421"/>
              <a:ext cx="7061" cy="9886"/>
            </a:xfrm>
            <a:custGeom>
              <a:avLst/>
              <a:gdLst>
                <a:gd name="T0" fmla="*/ 2 w 2"/>
                <a:gd name="T1" fmla="*/ 0 h 3"/>
                <a:gd name="T2" fmla="*/ 2 w 2"/>
                <a:gd name="T3" fmla="*/ 0 h 3"/>
                <a:gd name="T4" fmla="*/ 2 w 2"/>
                <a:gd name="T5" fmla="*/ 0 h 3"/>
                <a:gd name="T6" fmla="*/ 0 w 2"/>
                <a:gd name="T7" fmla="*/ 2 h 3"/>
                <a:gd name="T8" fmla="*/ 0 w 2"/>
                <a:gd name="T9" fmla="*/ 3 h 3"/>
                <a:gd name="T10" fmla="*/ 0 w 2"/>
                <a:gd name="T11" fmla="*/ 2 h 3"/>
                <a:gd name="T12" fmla="*/ 2 w 2"/>
                <a:gd name="T13" fmla="*/ 0 h 3"/>
                <a:gd name="T14" fmla="*/ 2 w 2"/>
                <a:gd name="T15" fmla="*/ 0 h 3"/>
                <a:gd name="T16" fmla="*/ 2 w 2"/>
                <a:gd name="T17" fmla="*/ 0 h 3"/>
                <a:gd name="T18" fmla="*/ 2 w 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2" y="0"/>
                  </a:moveTo>
                  <a:cubicBezTo>
                    <a:pt x="2" y="0"/>
                    <a:pt x="2" y="0"/>
                    <a:pt x="2" y="0"/>
                  </a:cubicBezTo>
                  <a:cubicBezTo>
                    <a:pt x="2" y="0"/>
                    <a:pt x="2" y="0"/>
                    <a:pt x="2" y="0"/>
                  </a:cubicBezTo>
                  <a:cubicBezTo>
                    <a:pt x="1" y="1"/>
                    <a:pt x="0" y="2"/>
                    <a:pt x="0" y="2"/>
                  </a:cubicBezTo>
                  <a:cubicBezTo>
                    <a:pt x="0" y="2"/>
                    <a:pt x="0" y="2"/>
                    <a:pt x="0" y="3"/>
                  </a:cubicBezTo>
                  <a:cubicBezTo>
                    <a:pt x="0" y="2"/>
                    <a:pt x="0" y="2"/>
                    <a:pt x="0" y="2"/>
                  </a:cubicBezTo>
                  <a:cubicBezTo>
                    <a:pt x="1" y="2"/>
                    <a:pt x="2" y="1"/>
                    <a:pt x="2" y="0"/>
                  </a:cubicBezTo>
                  <a:cubicBezTo>
                    <a:pt x="2" y="0"/>
                    <a:pt x="2" y="0"/>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 name="Freeform 28">
              <a:extLst>
                <a:ext uri="{FF2B5EF4-FFF2-40B4-BE49-F238E27FC236}">
                  <a16:creationId xmlns:a16="http://schemas.microsoft.com/office/drawing/2014/main" id="{34BAFF96-B653-4F1E-86A1-5C3A09F66385}"/>
                </a:ext>
              </a:extLst>
            </p:cNvPr>
            <p:cNvSpPr>
              <a:spLocks/>
            </p:cNvSpPr>
            <p:nvPr/>
          </p:nvSpPr>
          <p:spPr bwMode="auto">
            <a:xfrm>
              <a:off x="8235851" y="279630"/>
              <a:ext cx="12710" cy="7061"/>
            </a:xfrm>
            <a:custGeom>
              <a:avLst/>
              <a:gdLst>
                <a:gd name="T0" fmla="*/ 0 w 4"/>
                <a:gd name="T1" fmla="*/ 0 h 2"/>
                <a:gd name="T2" fmla="*/ 3 w 4"/>
                <a:gd name="T3" fmla="*/ 2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2" y="2"/>
                    <a:pt x="3" y="2"/>
                  </a:cubicBezTo>
                  <a:cubicBezTo>
                    <a:pt x="3" y="2"/>
                    <a:pt x="3" y="2"/>
                    <a:pt x="4"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 name="Freeform 29">
              <a:extLst>
                <a:ext uri="{FF2B5EF4-FFF2-40B4-BE49-F238E27FC236}">
                  <a16:creationId xmlns:a16="http://schemas.microsoft.com/office/drawing/2014/main" id="{8325E4B2-FF95-4F41-ACAB-02E2C02C0DCF}"/>
                </a:ext>
              </a:extLst>
            </p:cNvPr>
            <p:cNvSpPr>
              <a:spLocks/>
            </p:cNvSpPr>
            <p:nvPr/>
          </p:nvSpPr>
          <p:spPr bwMode="auto">
            <a:xfrm>
              <a:off x="8248561" y="286692"/>
              <a:ext cx="16947" cy="2825"/>
            </a:xfrm>
            <a:custGeom>
              <a:avLst/>
              <a:gdLst>
                <a:gd name="T0" fmla="*/ 3 w 5"/>
                <a:gd name="T1" fmla="*/ 0 h 1"/>
                <a:gd name="T2" fmla="*/ 0 w 5"/>
                <a:gd name="T3" fmla="*/ 1 h 1"/>
                <a:gd name="T4" fmla="*/ 5 w 5"/>
                <a:gd name="T5" fmla="*/ 1 h 1"/>
                <a:gd name="T6" fmla="*/ 3 w 5"/>
                <a:gd name="T7" fmla="*/ 0 h 1"/>
              </a:gdLst>
              <a:ahLst/>
              <a:cxnLst>
                <a:cxn ang="0">
                  <a:pos x="T0" y="T1"/>
                </a:cxn>
                <a:cxn ang="0">
                  <a:pos x="T2" y="T3"/>
                </a:cxn>
                <a:cxn ang="0">
                  <a:pos x="T4" y="T5"/>
                </a:cxn>
                <a:cxn ang="0">
                  <a:pos x="T6" y="T7"/>
                </a:cxn>
              </a:cxnLst>
              <a:rect l="0" t="0" r="r" b="b"/>
              <a:pathLst>
                <a:path w="5" h="1">
                  <a:moveTo>
                    <a:pt x="3" y="0"/>
                  </a:moveTo>
                  <a:cubicBezTo>
                    <a:pt x="2" y="0"/>
                    <a:pt x="1" y="0"/>
                    <a:pt x="0" y="1"/>
                  </a:cubicBezTo>
                  <a:cubicBezTo>
                    <a:pt x="2" y="1"/>
                    <a:pt x="3"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 name="Freeform 30">
              <a:extLst>
                <a:ext uri="{FF2B5EF4-FFF2-40B4-BE49-F238E27FC236}">
                  <a16:creationId xmlns:a16="http://schemas.microsoft.com/office/drawing/2014/main" id="{2D888100-C49C-4572-A0ED-3D71ECF37C6B}"/>
                </a:ext>
              </a:extLst>
            </p:cNvPr>
            <p:cNvSpPr>
              <a:spLocks noEditPoints="1"/>
            </p:cNvSpPr>
            <p:nvPr/>
          </p:nvSpPr>
          <p:spPr bwMode="auto">
            <a:xfrm>
              <a:off x="8209018" y="286692"/>
              <a:ext cx="16947" cy="2825"/>
            </a:xfrm>
            <a:custGeom>
              <a:avLst/>
              <a:gdLst>
                <a:gd name="T0" fmla="*/ 1 w 5"/>
                <a:gd name="T1" fmla="*/ 1 h 1"/>
                <a:gd name="T2" fmla="*/ 0 w 5"/>
                <a:gd name="T3" fmla="*/ 1 h 1"/>
                <a:gd name="T4" fmla="*/ 1 w 5"/>
                <a:gd name="T5" fmla="*/ 1 h 1"/>
                <a:gd name="T6" fmla="*/ 5 w 5"/>
                <a:gd name="T7" fmla="*/ 0 h 1"/>
                <a:gd name="T8" fmla="*/ 1 w 5"/>
                <a:gd name="T9" fmla="*/ 1 h 1"/>
                <a:gd name="T10" fmla="*/ 2 w 5"/>
                <a:gd name="T11" fmla="*/ 1 h 1"/>
                <a:gd name="T12" fmla="*/ 3 w 5"/>
                <a:gd name="T13" fmla="*/ 1 h 1"/>
                <a:gd name="T14" fmla="*/ 3 w 5"/>
                <a:gd name="T15" fmla="*/ 1 h 1"/>
                <a:gd name="T16" fmla="*/ 4 w 5"/>
                <a:gd name="T17" fmla="*/ 1 h 1"/>
                <a:gd name="T18" fmla="*/ 5 w 5"/>
                <a:gd name="T19" fmla="*/ 1 h 1"/>
                <a:gd name="T20" fmla="*/ 5 w 5"/>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
                  <a:moveTo>
                    <a:pt x="1" y="1"/>
                  </a:moveTo>
                  <a:cubicBezTo>
                    <a:pt x="1" y="1"/>
                    <a:pt x="1" y="1"/>
                    <a:pt x="0" y="1"/>
                  </a:cubicBezTo>
                  <a:cubicBezTo>
                    <a:pt x="1" y="1"/>
                    <a:pt x="1" y="1"/>
                    <a:pt x="1" y="1"/>
                  </a:cubicBezTo>
                  <a:moveTo>
                    <a:pt x="5" y="0"/>
                  </a:moveTo>
                  <a:cubicBezTo>
                    <a:pt x="4" y="1"/>
                    <a:pt x="3" y="1"/>
                    <a:pt x="1" y="1"/>
                  </a:cubicBezTo>
                  <a:cubicBezTo>
                    <a:pt x="1" y="1"/>
                    <a:pt x="1" y="1"/>
                    <a:pt x="2" y="1"/>
                  </a:cubicBezTo>
                  <a:cubicBezTo>
                    <a:pt x="2" y="1"/>
                    <a:pt x="2" y="1"/>
                    <a:pt x="3" y="1"/>
                  </a:cubicBezTo>
                  <a:cubicBezTo>
                    <a:pt x="3" y="1"/>
                    <a:pt x="3" y="1"/>
                    <a:pt x="3" y="1"/>
                  </a:cubicBezTo>
                  <a:cubicBezTo>
                    <a:pt x="4" y="1"/>
                    <a:pt x="4" y="1"/>
                    <a:pt x="4" y="1"/>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 name="Freeform 31">
              <a:extLst>
                <a:ext uri="{FF2B5EF4-FFF2-40B4-BE49-F238E27FC236}">
                  <a16:creationId xmlns:a16="http://schemas.microsoft.com/office/drawing/2014/main" id="{FDB8261C-0711-4900-B9F4-A115262A6FE7}"/>
                </a:ext>
              </a:extLst>
            </p:cNvPr>
            <p:cNvSpPr>
              <a:spLocks/>
            </p:cNvSpPr>
            <p:nvPr/>
          </p:nvSpPr>
          <p:spPr bwMode="auto">
            <a:xfrm>
              <a:off x="9100160" y="1121345"/>
              <a:ext cx="26833" cy="14123"/>
            </a:xfrm>
            <a:custGeom>
              <a:avLst/>
              <a:gdLst>
                <a:gd name="T0" fmla="*/ 8 w 8"/>
                <a:gd name="T1" fmla="*/ 0 h 4"/>
                <a:gd name="T2" fmla="*/ 0 w 8"/>
                <a:gd name="T3" fmla="*/ 4 h 4"/>
                <a:gd name="T4" fmla="*/ 1 w 8"/>
                <a:gd name="T5" fmla="*/ 4 h 4"/>
                <a:gd name="T6" fmla="*/ 5 w 8"/>
                <a:gd name="T7" fmla="*/ 4 h 4"/>
                <a:gd name="T8" fmla="*/ 8 w 8"/>
                <a:gd name="T9" fmla="*/ 0 h 4"/>
              </a:gdLst>
              <a:ahLst/>
              <a:cxnLst>
                <a:cxn ang="0">
                  <a:pos x="T0" y="T1"/>
                </a:cxn>
                <a:cxn ang="0">
                  <a:pos x="T2" y="T3"/>
                </a:cxn>
                <a:cxn ang="0">
                  <a:pos x="T4" y="T5"/>
                </a:cxn>
                <a:cxn ang="0">
                  <a:pos x="T6" y="T7"/>
                </a:cxn>
                <a:cxn ang="0">
                  <a:pos x="T8" y="T9"/>
                </a:cxn>
              </a:cxnLst>
              <a:rect l="0" t="0" r="r" b="b"/>
              <a:pathLst>
                <a:path w="8" h="4">
                  <a:moveTo>
                    <a:pt x="8" y="0"/>
                  </a:moveTo>
                  <a:cubicBezTo>
                    <a:pt x="5" y="1"/>
                    <a:pt x="3" y="3"/>
                    <a:pt x="0" y="4"/>
                  </a:cubicBezTo>
                  <a:cubicBezTo>
                    <a:pt x="1" y="4"/>
                    <a:pt x="1" y="4"/>
                    <a:pt x="1" y="4"/>
                  </a:cubicBezTo>
                  <a:cubicBezTo>
                    <a:pt x="2" y="4"/>
                    <a:pt x="4" y="4"/>
                    <a:pt x="5" y="4"/>
                  </a:cubicBezTo>
                  <a:cubicBezTo>
                    <a:pt x="7" y="3"/>
                    <a:pt x="8"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 name="Freeform 32">
              <a:extLst>
                <a:ext uri="{FF2B5EF4-FFF2-40B4-BE49-F238E27FC236}">
                  <a16:creationId xmlns:a16="http://schemas.microsoft.com/office/drawing/2014/main" id="{A33495FF-8368-4E3F-8017-A60C4505C76E}"/>
                </a:ext>
              </a:extLst>
            </p:cNvPr>
            <p:cNvSpPr>
              <a:spLocks/>
            </p:cNvSpPr>
            <p:nvPr/>
          </p:nvSpPr>
          <p:spPr bwMode="auto">
            <a:xfrm>
              <a:off x="9083213" y="903855"/>
              <a:ext cx="16947" cy="31070"/>
            </a:xfrm>
            <a:custGeom>
              <a:avLst/>
              <a:gdLst>
                <a:gd name="T0" fmla="*/ 3 w 5"/>
                <a:gd name="T1" fmla="*/ 0 h 9"/>
                <a:gd name="T2" fmla="*/ 0 w 5"/>
                <a:gd name="T3" fmla="*/ 6 h 9"/>
                <a:gd name="T4" fmla="*/ 3 w 5"/>
                <a:gd name="T5" fmla="*/ 9 h 9"/>
                <a:gd name="T6" fmla="*/ 4 w 5"/>
                <a:gd name="T7" fmla="*/ 5 h 9"/>
                <a:gd name="T8" fmla="*/ 3 w 5"/>
                <a:gd name="T9" fmla="*/ 0 h 9"/>
              </a:gdLst>
              <a:ahLst/>
              <a:cxnLst>
                <a:cxn ang="0">
                  <a:pos x="T0" y="T1"/>
                </a:cxn>
                <a:cxn ang="0">
                  <a:pos x="T2" y="T3"/>
                </a:cxn>
                <a:cxn ang="0">
                  <a:pos x="T4" y="T5"/>
                </a:cxn>
                <a:cxn ang="0">
                  <a:pos x="T6" y="T7"/>
                </a:cxn>
                <a:cxn ang="0">
                  <a:pos x="T8" y="T9"/>
                </a:cxn>
              </a:cxnLst>
              <a:rect l="0" t="0" r="r" b="b"/>
              <a:pathLst>
                <a:path w="5" h="9">
                  <a:moveTo>
                    <a:pt x="3" y="0"/>
                  </a:moveTo>
                  <a:cubicBezTo>
                    <a:pt x="2" y="1"/>
                    <a:pt x="0" y="4"/>
                    <a:pt x="0" y="6"/>
                  </a:cubicBezTo>
                  <a:cubicBezTo>
                    <a:pt x="0" y="8"/>
                    <a:pt x="2" y="8"/>
                    <a:pt x="3" y="9"/>
                  </a:cubicBezTo>
                  <a:cubicBezTo>
                    <a:pt x="3" y="8"/>
                    <a:pt x="4" y="6"/>
                    <a:pt x="4" y="5"/>
                  </a:cubicBezTo>
                  <a:cubicBezTo>
                    <a:pt x="5" y="3"/>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 name="Freeform 33">
              <a:extLst>
                <a:ext uri="{FF2B5EF4-FFF2-40B4-BE49-F238E27FC236}">
                  <a16:creationId xmlns:a16="http://schemas.microsoft.com/office/drawing/2014/main" id="{3918DC7F-1759-4665-8CB1-E02D4BA0FA6C}"/>
                </a:ext>
              </a:extLst>
            </p:cNvPr>
            <p:cNvSpPr>
              <a:spLocks/>
            </p:cNvSpPr>
            <p:nvPr/>
          </p:nvSpPr>
          <p:spPr bwMode="auto">
            <a:xfrm>
              <a:off x="8943398" y="643997"/>
              <a:ext cx="16947" cy="9886"/>
            </a:xfrm>
            <a:custGeom>
              <a:avLst/>
              <a:gdLst>
                <a:gd name="T0" fmla="*/ 0 w 5"/>
                <a:gd name="T1" fmla="*/ 0 h 3"/>
                <a:gd name="T2" fmla="*/ 5 w 5"/>
                <a:gd name="T3" fmla="*/ 3 h 3"/>
                <a:gd name="T4" fmla="*/ 0 w 5"/>
                <a:gd name="T5" fmla="*/ 0 h 3"/>
              </a:gdLst>
              <a:ahLst/>
              <a:cxnLst>
                <a:cxn ang="0">
                  <a:pos x="T0" y="T1"/>
                </a:cxn>
                <a:cxn ang="0">
                  <a:pos x="T2" y="T3"/>
                </a:cxn>
                <a:cxn ang="0">
                  <a:pos x="T4" y="T5"/>
                </a:cxn>
              </a:cxnLst>
              <a:rect l="0" t="0" r="r" b="b"/>
              <a:pathLst>
                <a:path w="5" h="3">
                  <a:moveTo>
                    <a:pt x="0" y="0"/>
                  </a:moveTo>
                  <a:cubicBezTo>
                    <a:pt x="1" y="2"/>
                    <a:pt x="3"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 name="Freeform 34">
              <a:extLst>
                <a:ext uri="{FF2B5EF4-FFF2-40B4-BE49-F238E27FC236}">
                  <a16:creationId xmlns:a16="http://schemas.microsoft.com/office/drawing/2014/main" id="{AAB8DD5C-86EA-4224-97CA-3F7407E81F1A}"/>
                </a:ext>
              </a:extLst>
            </p:cNvPr>
            <p:cNvSpPr>
              <a:spLocks/>
            </p:cNvSpPr>
            <p:nvPr/>
          </p:nvSpPr>
          <p:spPr bwMode="auto">
            <a:xfrm>
              <a:off x="8605866" y="553611"/>
              <a:ext cx="129929" cy="46605"/>
            </a:xfrm>
            <a:custGeom>
              <a:avLst/>
              <a:gdLst>
                <a:gd name="T0" fmla="*/ 3 w 39"/>
                <a:gd name="T1" fmla="*/ 0 h 14"/>
                <a:gd name="T2" fmla="*/ 0 w 39"/>
                <a:gd name="T3" fmla="*/ 5 h 14"/>
                <a:gd name="T4" fmla="*/ 1 w 39"/>
                <a:gd name="T5" fmla="*/ 9 h 14"/>
                <a:gd name="T6" fmla="*/ 5 w 39"/>
                <a:gd name="T7" fmla="*/ 13 h 14"/>
                <a:gd name="T8" fmla="*/ 5 w 39"/>
                <a:gd name="T9" fmla="*/ 13 h 14"/>
                <a:gd name="T10" fmla="*/ 10 w 39"/>
                <a:gd name="T11" fmla="*/ 13 h 14"/>
                <a:gd name="T12" fmla="*/ 14 w 39"/>
                <a:gd name="T13" fmla="*/ 12 h 14"/>
                <a:gd name="T14" fmla="*/ 22 w 39"/>
                <a:gd name="T15" fmla="*/ 13 h 14"/>
                <a:gd name="T16" fmla="*/ 25 w 39"/>
                <a:gd name="T17" fmla="*/ 14 h 14"/>
                <a:gd name="T18" fmla="*/ 33 w 39"/>
                <a:gd name="T19" fmla="*/ 11 h 14"/>
                <a:gd name="T20" fmla="*/ 34 w 39"/>
                <a:gd name="T21" fmla="*/ 3 h 14"/>
                <a:gd name="T22" fmla="*/ 28 w 39"/>
                <a:gd name="T23" fmla="*/ 1 h 14"/>
                <a:gd name="T24" fmla="*/ 28 w 39"/>
                <a:gd name="T25" fmla="*/ 1 h 14"/>
                <a:gd name="T26" fmla="*/ 27 w 39"/>
                <a:gd name="T27" fmla="*/ 2 h 14"/>
                <a:gd name="T28" fmla="*/ 26 w 39"/>
                <a:gd name="T29" fmla="*/ 2 h 14"/>
                <a:gd name="T30" fmla="*/ 26 w 39"/>
                <a:gd name="T31" fmla="*/ 2 h 14"/>
                <a:gd name="T32" fmla="*/ 25 w 39"/>
                <a:gd name="T33" fmla="*/ 1 h 14"/>
                <a:gd name="T34" fmla="*/ 20 w 39"/>
                <a:gd name="T35" fmla="*/ 1 h 14"/>
                <a:gd name="T36" fmla="*/ 3 w 3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4">
                  <a:moveTo>
                    <a:pt x="3" y="0"/>
                  </a:moveTo>
                  <a:cubicBezTo>
                    <a:pt x="2" y="2"/>
                    <a:pt x="0" y="2"/>
                    <a:pt x="0" y="5"/>
                  </a:cubicBezTo>
                  <a:cubicBezTo>
                    <a:pt x="0" y="6"/>
                    <a:pt x="1" y="8"/>
                    <a:pt x="1" y="9"/>
                  </a:cubicBezTo>
                  <a:cubicBezTo>
                    <a:pt x="2" y="12"/>
                    <a:pt x="2" y="13"/>
                    <a:pt x="5" y="13"/>
                  </a:cubicBezTo>
                  <a:cubicBezTo>
                    <a:pt x="5" y="13"/>
                    <a:pt x="5" y="13"/>
                    <a:pt x="5" y="13"/>
                  </a:cubicBezTo>
                  <a:cubicBezTo>
                    <a:pt x="7" y="13"/>
                    <a:pt x="9" y="13"/>
                    <a:pt x="10" y="13"/>
                  </a:cubicBezTo>
                  <a:cubicBezTo>
                    <a:pt x="11" y="12"/>
                    <a:pt x="12" y="12"/>
                    <a:pt x="14" y="12"/>
                  </a:cubicBezTo>
                  <a:cubicBezTo>
                    <a:pt x="17" y="12"/>
                    <a:pt x="21" y="13"/>
                    <a:pt x="22" y="13"/>
                  </a:cubicBezTo>
                  <a:cubicBezTo>
                    <a:pt x="23" y="14"/>
                    <a:pt x="24" y="14"/>
                    <a:pt x="25" y="14"/>
                  </a:cubicBezTo>
                  <a:cubicBezTo>
                    <a:pt x="28" y="14"/>
                    <a:pt x="32" y="12"/>
                    <a:pt x="33" y="11"/>
                  </a:cubicBezTo>
                  <a:cubicBezTo>
                    <a:pt x="36" y="7"/>
                    <a:pt x="39" y="5"/>
                    <a:pt x="34" y="3"/>
                  </a:cubicBezTo>
                  <a:cubicBezTo>
                    <a:pt x="32" y="2"/>
                    <a:pt x="30" y="2"/>
                    <a:pt x="28" y="1"/>
                  </a:cubicBezTo>
                  <a:cubicBezTo>
                    <a:pt x="28" y="1"/>
                    <a:pt x="28" y="1"/>
                    <a:pt x="28" y="1"/>
                  </a:cubicBezTo>
                  <a:cubicBezTo>
                    <a:pt x="28" y="1"/>
                    <a:pt x="28" y="1"/>
                    <a:pt x="27" y="2"/>
                  </a:cubicBezTo>
                  <a:cubicBezTo>
                    <a:pt x="27" y="2"/>
                    <a:pt x="27" y="2"/>
                    <a:pt x="26" y="2"/>
                  </a:cubicBezTo>
                  <a:cubicBezTo>
                    <a:pt x="26" y="2"/>
                    <a:pt x="26" y="2"/>
                    <a:pt x="26" y="2"/>
                  </a:cubicBezTo>
                  <a:cubicBezTo>
                    <a:pt x="26" y="1"/>
                    <a:pt x="26" y="1"/>
                    <a:pt x="25" y="1"/>
                  </a:cubicBezTo>
                  <a:cubicBezTo>
                    <a:pt x="23" y="1"/>
                    <a:pt x="22" y="1"/>
                    <a:pt x="20" y="1"/>
                  </a:cubicBezTo>
                  <a:cubicBezTo>
                    <a:pt x="14" y="1"/>
                    <a:pt x="9"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 name="Freeform 35">
              <a:extLst>
                <a:ext uri="{FF2B5EF4-FFF2-40B4-BE49-F238E27FC236}">
                  <a16:creationId xmlns:a16="http://schemas.microsoft.com/office/drawing/2014/main" id="{8D098FAF-BA4E-41CC-831C-DCBAC6EC7333}"/>
                </a:ext>
              </a:extLst>
            </p:cNvPr>
            <p:cNvSpPr>
              <a:spLocks/>
            </p:cNvSpPr>
            <p:nvPr/>
          </p:nvSpPr>
          <p:spPr bwMode="auto">
            <a:xfrm>
              <a:off x="8732970" y="583269"/>
              <a:ext cx="16947" cy="4237"/>
            </a:xfrm>
            <a:custGeom>
              <a:avLst/>
              <a:gdLst>
                <a:gd name="T0" fmla="*/ 5 w 5"/>
                <a:gd name="T1" fmla="*/ 0 h 1"/>
                <a:gd name="T2" fmla="*/ 0 w 5"/>
                <a:gd name="T3" fmla="*/ 1 h 1"/>
                <a:gd name="T4" fmla="*/ 3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4" y="0"/>
                    <a:pt x="2" y="0"/>
                    <a:pt x="0" y="1"/>
                  </a:cubicBezTo>
                  <a:cubicBezTo>
                    <a:pt x="2" y="1"/>
                    <a:pt x="2" y="1"/>
                    <a:pt x="3" y="1"/>
                  </a:cubicBezTo>
                  <a:cubicBezTo>
                    <a:pt x="4"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 name="Freeform 36">
              <a:extLst>
                <a:ext uri="{FF2B5EF4-FFF2-40B4-BE49-F238E27FC236}">
                  <a16:creationId xmlns:a16="http://schemas.microsoft.com/office/drawing/2014/main" id="{BAAC5BDC-C830-4030-BBB7-EB0618EE31BC}"/>
                </a:ext>
              </a:extLst>
            </p:cNvPr>
            <p:cNvSpPr>
              <a:spLocks/>
            </p:cNvSpPr>
            <p:nvPr/>
          </p:nvSpPr>
          <p:spPr bwMode="auto">
            <a:xfrm>
              <a:off x="8997064" y="690602"/>
              <a:ext cx="2825" cy="9886"/>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0"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 name="Freeform 37">
              <a:extLst>
                <a:ext uri="{FF2B5EF4-FFF2-40B4-BE49-F238E27FC236}">
                  <a16:creationId xmlns:a16="http://schemas.microsoft.com/office/drawing/2014/main" id="{5F7C23B2-5E7F-4A4A-86C2-14D0FF2BEEAA}"/>
                </a:ext>
              </a:extLst>
            </p:cNvPr>
            <p:cNvSpPr>
              <a:spLocks/>
            </p:cNvSpPr>
            <p:nvPr/>
          </p:nvSpPr>
          <p:spPr bwMode="auto">
            <a:xfrm>
              <a:off x="9066266" y="844540"/>
              <a:ext cx="36719" cy="33895"/>
            </a:xfrm>
            <a:custGeom>
              <a:avLst/>
              <a:gdLst>
                <a:gd name="T0" fmla="*/ 3 w 11"/>
                <a:gd name="T1" fmla="*/ 0 h 10"/>
                <a:gd name="T2" fmla="*/ 3 w 11"/>
                <a:gd name="T3" fmla="*/ 5 h 10"/>
                <a:gd name="T4" fmla="*/ 6 w 11"/>
                <a:gd name="T5" fmla="*/ 8 h 10"/>
                <a:gd name="T6" fmla="*/ 5 w 11"/>
                <a:gd name="T7" fmla="*/ 8 h 10"/>
                <a:gd name="T8" fmla="*/ 5 w 11"/>
                <a:gd name="T9" fmla="*/ 10 h 10"/>
                <a:gd name="T10" fmla="*/ 7 w 11"/>
                <a:gd name="T11" fmla="*/ 9 h 10"/>
                <a:gd name="T12" fmla="*/ 8 w 11"/>
                <a:gd name="T13" fmla="*/ 9 h 10"/>
                <a:gd name="T14" fmla="*/ 9 w 11"/>
                <a:gd name="T15" fmla="*/ 9 h 10"/>
                <a:gd name="T16" fmla="*/ 11 w 11"/>
                <a:gd name="T17" fmla="*/ 9 h 10"/>
                <a:gd name="T18" fmla="*/ 4 w 11"/>
                <a:gd name="T19" fmla="*/ 0 h 10"/>
                <a:gd name="T20" fmla="*/ 3 w 11"/>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3" y="0"/>
                  </a:moveTo>
                  <a:cubicBezTo>
                    <a:pt x="0" y="0"/>
                    <a:pt x="2" y="4"/>
                    <a:pt x="3" y="5"/>
                  </a:cubicBezTo>
                  <a:cubicBezTo>
                    <a:pt x="4" y="6"/>
                    <a:pt x="8" y="8"/>
                    <a:pt x="6" y="8"/>
                  </a:cubicBezTo>
                  <a:cubicBezTo>
                    <a:pt x="6" y="8"/>
                    <a:pt x="5" y="8"/>
                    <a:pt x="5" y="8"/>
                  </a:cubicBezTo>
                  <a:cubicBezTo>
                    <a:pt x="5" y="8"/>
                    <a:pt x="5" y="9"/>
                    <a:pt x="5" y="10"/>
                  </a:cubicBezTo>
                  <a:cubicBezTo>
                    <a:pt x="6" y="9"/>
                    <a:pt x="7" y="9"/>
                    <a:pt x="7" y="9"/>
                  </a:cubicBezTo>
                  <a:cubicBezTo>
                    <a:pt x="8" y="9"/>
                    <a:pt x="8" y="9"/>
                    <a:pt x="8" y="9"/>
                  </a:cubicBezTo>
                  <a:cubicBezTo>
                    <a:pt x="9" y="9"/>
                    <a:pt x="9" y="9"/>
                    <a:pt x="9" y="9"/>
                  </a:cubicBezTo>
                  <a:cubicBezTo>
                    <a:pt x="10" y="9"/>
                    <a:pt x="10" y="9"/>
                    <a:pt x="11" y="9"/>
                  </a:cubicBezTo>
                  <a:cubicBezTo>
                    <a:pt x="10" y="5"/>
                    <a:pt x="7"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 name="Freeform 39">
              <a:extLst>
                <a:ext uri="{FF2B5EF4-FFF2-40B4-BE49-F238E27FC236}">
                  <a16:creationId xmlns:a16="http://schemas.microsoft.com/office/drawing/2014/main" id="{99EAF9E8-64FF-43E0-A3D1-FBEFC4E58395}"/>
                </a:ext>
              </a:extLst>
            </p:cNvPr>
            <p:cNvSpPr>
              <a:spLocks/>
            </p:cNvSpPr>
            <p:nvPr/>
          </p:nvSpPr>
          <p:spPr bwMode="auto">
            <a:xfrm>
              <a:off x="7744381" y="553611"/>
              <a:ext cx="168060" cy="63552"/>
            </a:xfrm>
            <a:custGeom>
              <a:avLst/>
              <a:gdLst>
                <a:gd name="T0" fmla="*/ 14 w 50"/>
                <a:gd name="T1" fmla="*/ 0 h 19"/>
                <a:gd name="T2" fmla="*/ 0 w 50"/>
                <a:gd name="T3" fmla="*/ 5 h 19"/>
                <a:gd name="T4" fmla="*/ 22 w 50"/>
                <a:gd name="T5" fmla="*/ 16 h 19"/>
                <a:gd name="T6" fmla="*/ 28 w 50"/>
                <a:gd name="T7" fmla="*/ 19 h 19"/>
                <a:gd name="T8" fmla="*/ 28 w 50"/>
                <a:gd name="T9" fmla="*/ 19 h 19"/>
                <a:gd name="T10" fmla="*/ 27 w 50"/>
                <a:gd name="T11" fmla="*/ 18 h 19"/>
                <a:gd name="T12" fmla="*/ 28 w 50"/>
                <a:gd name="T13" fmla="*/ 15 h 19"/>
                <a:gd name="T14" fmla="*/ 33 w 50"/>
                <a:gd name="T15" fmla="*/ 14 h 19"/>
                <a:gd name="T16" fmla="*/ 36 w 50"/>
                <a:gd name="T17" fmla="*/ 13 h 19"/>
                <a:gd name="T18" fmla="*/ 40 w 50"/>
                <a:gd name="T19" fmla="*/ 14 h 19"/>
                <a:gd name="T20" fmla="*/ 46 w 50"/>
                <a:gd name="T21" fmla="*/ 15 h 19"/>
                <a:gd name="T22" fmla="*/ 50 w 50"/>
                <a:gd name="T23" fmla="*/ 15 h 19"/>
                <a:gd name="T24" fmla="*/ 33 w 50"/>
                <a:gd name="T25" fmla="*/ 4 h 19"/>
                <a:gd name="T26" fmla="*/ 14 w 50"/>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19">
                  <a:moveTo>
                    <a:pt x="14" y="0"/>
                  </a:moveTo>
                  <a:cubicBezTo>
                    <a:pt x="9" y="1"/>
                    <a:pt x="5" y="3"/>
                    <a:pt x="0" y="5"/>
                  </a:cubicBezTo>
                  <a:cubicBezTo>
                    <a:pt x="7" y="9"/>
                    <a:pt x="14" y="15"/>
                    <a:pt x="22" y="16"/>
                  </a:cubicBezTo>
                  <a:cubicBezTo>
                    <a:pt x="24" y="16"/>
                    <a:pt x="26" y="19"/>
                    <a:pt x="28" y="19"/>
                  </a:cubicBezTo>
                  <a:cubicBezTo>
                    <a:pt x="28" y="19"/>
                    <a:pt x="28" y="19"/>
                    <a:pt x="28" y="19"/>
                  </a:cubicBezTo>
                  <a:cubicBezTo>
                    <a:pt x="27" y="18"/>
                    <a:pt x="27" y="18"/>
                    <a:pt x="27" y="18"/>
                  </a:cubicBezTo>
                  <a:cubicBezTo>
                    <a:pt x="27" y="17"/>
                    <a:pt x="28" y="16"/>
                    <a:pt x="28" y="15"/>
                  </a:cubicBezTo>
                  <a:cubicBezTo>
                    <a:pt x="29" y="14"/>
                    <a:pt x="32" y="14"/>
                    <a:pt x="33" y="14"/>
                  </a:cubicBezTo>
                  <a:cubicBezTo>
                    <a:pt x="34" y="13"/>
                    <a:pt x="35" y="13"/>
                    <a:pt x="36" y="13"/>
                  </a:cubicBezTo>
                  <a:cubicBezTo>
                    <a:pt x="37" y="13"/>
                    <a:pt x="38" y="14"/>
                    <a:pt x="40" y="14"/>
                  </a:cubicBezTo>
                  <a:cubicBezTo>
                    <a:pt x="43" y="15"/>
                    <a:pt x="45" y="15"/>
                    <a:pt x="46" y="15"/>
                  </a:cubicBezTo>
                  <a:cubicBezTo>
                    <a:pt x="48" y="15"/>
                    <a:pt x="49" y="15"/>
                    <a:pt x="50" y="15"/>
                  </a:cubicBezTo>
                  <a:cubicBezTo>
                    <a:pt x="48" y="9"/>
                    <a:pt x="39" y="6"/>
                    <a:pt x="33" y="4"/>
                  </a:cubicBezTo>
                  <a:cubicBezTo>
                    <a:pt x="27" y="1"/>
                    <a:pt x="21"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 name="Freeform 40">
              <a:extLst>
                <a:ext uri="{FF2B5EF4-FFF2-40B4-BE49-F238E27FC236}">
                  <a16:creationId xmlns:a16="http://schemas.microsoft.com/office/drawing/2014/main" id="{925320E8-B1EE-4116-90B3-44991B474EFF}"/>
                </a:ext>
              </a:extLst>
            </p:cNvPr>
            <p:cNvSpPr>
              <a:spLocks/>
            </p:cNvSpPr>
            <p:nvPr/>
          </p:nvSpPr>
          <p:spPr bwMode="auto">
            <a:xfrm>
              <a:off x="7156877" y="714610"/>
              <a:ext cx="7061" cy="5649"/>
            </a:xfrm>
            <a:custGeom>
              <a:avLst/>
              <a:gdLst>
                <a:gd name="T0" fmla="*/ 2 w 2"/>
                <a:gd name="T1" fmla="*/ 0 h 2"/>
                <a:gd name="T2" fmla="*/ 0 w 2"/>
                <a:gd name="T3" fmla="*/ 2 h 2"/>
                <a:gd name="T4" fmla="*/ 2 w 2"/>
                <a:gd name="T5" fmla="*/ 0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1"/>
                    <a:pt x="0" y="2"/>
                  </a:cubicBezTo>
                  <a:cubicBezTo>
                    <a:pt x="0" y="2"/>
                    <a:pt x="1"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 name="Freeform 41">
              <a:extLst>
                <a:ext uri="{FF2B5EF4-FFF2-40B4-BE49-F238E27FC236}">
                  <a16:creationId xmlns:a16="http://schemas.microsoft.com/office/drawing/2014/main" id="{23905BA3-79A4-4BA9-BAA5-F35FF76146CE}"/>
                </a:ext>
              </a:extLst>
            </p:cNvPr>
            <p:cNvSpPr>
              <a:spLocks/>
            </p:cNvSpPr>
            <p:nvPr/>
          </p:nvSpPr>
          <p:spPr bwMode="auto">
            <a:xfrm>
              <a:off x="8135580" y="521129"/>
              <a:ext cx="43780" cy="15535"/>
            </a:xfrm>
            <a:custGeom>
              <a:avLst/>
              <a:gdLst>
                <a:gd name="T0" fmla="*/ 1 w 13"/>
                <a:gd name="T1" fmla="*/ 0 h 5"/>
                <a:gd name="T2" fmla="*/ 0 w 13"/>
                <a:gd name="T3" fmla="*/ 0 h 5"/>
                <a:gd name="T4" fmla="*/ 8 w 13"/>
                <a:gd name="T5" fmla="*/ 4 h 5"/>
                <a:gd name="T6" fmla="*/ 12 w 13"/>
                <a:gd name="T7" fmla="*/ 5 h 5"/>
                <a:gd name="T8" fmla="*/ 1 w 13"/>
                <a:gd name="T9" fmla="*/ 0 h 5"/>
              </a:gdLst>
              <a:ahLst/>
              <a:cxnLst>
                <a:cxn ang="0">
                  <a:pos x="T0" y="T1"/>
                </a:cxn>
                <a:cxn ang="0">
                  <a:pos x="T2" y="T3"/>
                </a:cxn>
                <a:cxn ang="0">
                  <a:pos x="T4" y="T5"/>
                </a:cxn>
                <a:cxn ang="0">
                  <a:pos x="T6" y="T7"/>
                </a:cxn>
                <a:cxn ang="0">
                  <a:pos x="T8" y="T9"/>
                </a:cxn>
              </a:cxnLst>
              <a:rect l="0" t="0" r="r" b="b"/>
              <a:pathLst>
                <a:path w="13" h="5">
                  <a:moveTo>
                    <a:pt x="1" y="0"/>
                  </a:moveTo>
                  <a:cubicBezTo>
                    <a:pt x="1" y="0"/>
                    <a:pt x="1" y="0"/>
                    <a:pt x="0" y="0"/>
                  </a:cubicBezTo>
                  <a:cubicBezTo>
                    <a:pt x="2" y="2"/>
                    <a:pt x="6" y="4"/>
                    <a:pt x="8" y="4"/>
                  </a:cubicBezTo>
                  <a:cubicBezTo>
                    <a:pt x="9" y="5"/>
                    <a:pt x="11" y="5"/>
                    <a:pt x="12" y="5"/>
                  </a:cubicBezTo>
                  <a:cubicBezTo>
                    <a:pt x="13" y="1"/>
                    <a:pt x="5"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 name="Freeform 42">
              <a:extLst>
                <a:ext uri="{FF2B5EF4-FFF2-40B4-BE49-F238E27FC236}">
                  <a16:creationId xmlns:a16="http://schemas.microsoft.com/office/drawing/2014/main" id="{134234CC-C645-4FF3-AB38-22D83F33861B}"/>
                </a:ext>
              </a:extLst>
            </p:cNvPr>
            <p:cNvSpPr>
              <a:spLocks/>
            </p:cNvSpPr>
            <p:nvPr/>
          </p:nvSpPr>
          <p:spPr bwMode="auto">
            <a:xfrm>
              <a:off x="8162413" y="430743"/>
              <a:ext cx="26833" cy="2825"/>
            </a:xfrm>
            <a:custGeom>
              <a:avLst/>
              <a:gdLst>
                <a:gd name="T0" fmla="*/ 0 w 8"/>
                <a:gd name="T1" fmla="*/ 0 h 1"/>
                <a:gd name="T2" fmla="*/ 2 w 8"/>
                <a:gd name="T3" fmla="*/ 0 h 1"/>
                <a:gd name="T4" fmla="*/ 8 w 8"/>
                <a:gd name="T5" fmla="*/ 1 h 1"/>
                <a:gd name="T6" fmla="*/ 8 w 8"/>
                <a:gd name="T7" fmla="*/ 1 h 1"/>
                <a:gd name="T8" fmla="*/ 8 w 8"/>
                <a:gd name="T9" fmla="*/ 1 h 1"/>
                <a:gd name="T10" fmla="*/ 8 w 8"/>
                <a:gd name="T11" fmla="*/ 1 h 1"/>
                <a:gd name="T12" fmla="*/ 8 w 8"/>
                <a:gd name="T13" fmla="*/ 1 h 1"/>
                <a:gd name="T14" fmla="*/ 7 w 8"/>
                <a:gd name="T15" fmla="*/ 1 h 1"/>
                <a:gd name="T16" fmla="*/ 5 w 8"/>
                <a:gd name="T17" fmla="*/ 1 h 1"/>
                <a:gd name="T18" fmla="*/ 0 w 8"/>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
                  <a:moveTo>
                    <a:pt x="0" y="0"/>
                  </a:moveTo>
                  <a:cubicBezTo>
                    <a:pt x="1" y="0"/>
                    <a:pt x="1" y="0"/>
                    <a:pt x="2" y="0"/>
                  </a:cubicBezTo>
                  <a:cubicBezTo>
                    <a:pt x="4" y="1"/>
                    <a:pt x="6"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6" y="1"/>
                    <a:pt x="6" y="1"/>
                    <a:pt x="5"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 name="Freeform 43">
              <a:extLst>
                <a:ext uri="{FF2B5EF4-FFF2-40B4-BE49-F238E27FC236}">
                  <a16:creationId xmlns:a16="http://schemas.microsoft.com/office/drawing/2014/main" id="{CF627D3F-7ADA-4FC6-BC01-33461F19EFF4}"/>
                </a:ext>
              </a:extLst>
            </p:cNvPr>
            <p:cNvSpPr>
              <a:spLocks/>
            </p:cNvSpPr>
            <p:nvPr/>
          </p:nvSpPr>
          <p:spPr bwMode="auto">
            <a:xfrm>
              <a:off x="9039432" y="717435"/>
              <a:ext cx="33894" cy="19772"/>
            </a:xfrm>
            <a:custGeom>
              <a:avLst/>
              <a:gdLst>
                <a:gd name="T0" fmla="*/ 5 w 10"/>
                <a:gd name="T1" fmla="*/ 0 h 6"/>
                <a:gd name="T2" fmla="*/ 4 w 10"/>
                <a:gd name="T3" fmla="*/ 6 h 6"/>
                <a:gd name="T4" fmla="*/ 4 w 10"/>
                <a:gd name="T5" fmla="*/ 6 h 6"/>
                <a:gd name="T6" fmla="*/ 7 w 10"/>
                <a:gd name="T7" fmla="*/ 5 h 6"/>
                <a:gd name="T8" fmla="*/ 10 w 10"/>
                <a:gd name="T9" fmla="*/ 5 h 6"/>
                <a:gd name="T10" fmla="*/ 10 w 10"/>
                <a:gd name="T11" fmla="*/ 5 h 6"/>
                <a:gd name="T12" fmla="*/ 5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5" y="0"/>
                  </a:moveTo>
                  <a:cubicBezTo>
                    <a:pt x="3" y="1"/>
                    <a:pt x="0" y="5"/>
                    <a:pt x="4" y="6"/>
                  </a:cubicBezTo>
                  <a:cubicBezTo>
                    <a:pt x="4" y="6"/>
                    <a:pt x="4" y="6"/>
                    <a:pt x="4" y="6"/>
                  </a:cubicBezTo>
                  <a:cubicBezTo>
                    <a:pt x="5" y="6"/>
                    <a:pt x="6" y="6"/>
                    <a:pt x="7" y="5"/>
                  </a:cubicBezTo>
                  <a:cubicBezTo>
                    <a:pt x="8" y="5"/>
                    <a:pt x="9" y="5"/>
                    <a:pt x="10" y="5"/>
                  </a:cubicBezTo>
                  <a:cubicBezTo>
                    <a:pt x="10" y="5"/>
                    <a:pt x="10" y="5"/>
                    <a:pt x="10" y="5"/>
                  </a:cubicBezTo>
                  <a:cubicBezTo>
                    <a:pt x="9"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 name="Freeform 44">
              <a:extLst>
                <a:ext uri="{FF2B5EF4-FFF2-40B4-BE49-F238E27FC236}">
                  <a16:creationId xmlns:a16="http://schemas.microsoft.com/office/drawing/2014/main" id="{4B16FD90-B470-4C17-A415-C01C3978D2BA}"/>
                </a:ext>
              </a:extLst>
            </p:cNvPr>
            <p:cNvSpPr>
              <a:spLocks/>
            </p:cNvSpPr>
            <p:nvPr/>
          </p:nvSpPr>
          <p:spPr bwMode="auto">
            <a:xfrm>
              <a:off x="9063441" y="756979"/>
              <a:ext cx="9886" cy="7061"/>
            </a:xfrm>
            <a:custGeom>
              <a:avLst/>
              <a:gdLst>
                <a:gd name="T0" fmla="*/ 2 w 3"/>
                <a:gd name="T1" fmla="*/ 0 h 2"/>
                <a:gd name="T2" fmla="*/ 0 w 3"/>
                <a:gd name="T3" fmla="*/ 0 h 2"/>
                <a:gd name="T4" fmla="*/ 2 w 3"/>
                <a:gd name="T5" fmla="*/ 2 h 2"/>
                <a:gd name="T6" fmla="*/ 3 w 3"/>
                <a:gd name="T7" fmla="*/ 0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2" y="0"/>
                    <a:pt x="1" y="0"/>
                    <a:pt x="0" y="0"/>
                  </a:cubicBezTo>
                  <a:cubicBezTo>
                    <a:pt x="1" y="1"/>
                    <a:pt x="1" y="1"/>
                    <a:pt x="2" y="2"/>
                  </a:cubicBezTo>
                  <a:cubicBezTo>
                    <a:pt x="2" y="1"/>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 name="Freeform 45">
              <a:extLst>
                <a:ext uri="{FF2B5EF4-FFF2-40B4-BE49-F238E27FC236}">
                  <a16:creationId xmlns:a16="http://schemas.microsoft.com/office/drawing/2014/main" id="{3D6515AE-4719-4A0A-90BD-D22ECEFACBF8}"/>
                </a:ext>
              </a:extLst>
            </p:cNvPr>
            <p:cNvSpPr>
              <a:spLocks/>
            </p:cNvSpPr>
            <p:nvPr/>
          </p:nvSpPr>
          <p:spPr bwMode="auto">
            <a:xfrm>
              <a:off x="9026722" y="730145"/>
              <a:ext cx="22596" cy="24009"/>
            </a:xfrm>
            <a:custGeom>
              <a:avLst/>
              <a:gdLst>
                <a:gd name="T0" fmla="*/ 4 w 7"/>
                <a:gd name="T1" fmla="*/ 0 h 7"/>
                <a:gd name="T2" fmla="*/ 0 w 7"/>
                <a:gd name="T3" fmla="*/ 1 h 7"/>
                <a:gd name="T4" fmla="*/ 3 w 7"/>
                <a:gd name="T5" fmla="*/ 7 h 7"/>
                <a:gd name="T6" fmla="*/ 4 w 7"/>
                <a:gd name="T7" fmla="*/ 7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0"/>
                    <a:pt x="1" y="0"/>
                    <a:pt x="0" y="1"/>
                  </a:cubicBezTo>
                  <a:cubicBezTo>
                    <a:pt x="1" y="3"/>
                    <a:pt x="1" y="7"/>
                    <a:pt x="3" y="7"/>
                  </a:cubicBezTo>
                  <a:cubicBezTo>
                    <a:pt x="3" y="7"/>
                    <a:pt x="4" y="7"/>
                    <a:pt x="4" y="7"/>
                  </a:cubicBezTo>
                  <a:cubicBezTo>
                    <a:pt x="7" y="7"/>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 name="Freeform 46">
              <a:extLst>
                <a:ext uri="{FF2B5EF4-FFF2-40B4-BE49-F238E27FC236}">
                  <a16:creationId xmlns:a16="http://schemas.microsoft.com/office/drawing/2014/main" id="{6D3F82D1-895F-40D9-B5DF-B0A3693452F0}"/>
                </a:ext>
              </a:extLst>
            </p:cNvPr>
            <p:cNvSpPr>
              <a:spLocks/>
            </p:cNvSpPr>
            <p:nvPr/>
          </p:nvSpPr>
          <p:spPr bwMode="auto">
            <a:xfrm>
              <a:off x="9026722" y="1050731"/>
              <a:ext cx="12710" cy="16947"/>
            </a:xfrm>
            <a:custGeom>
              <a:avLst/>
              <a:gdLst>
                <a:gd name="T0" fmla="*/ 3 w 4"/>
                <a:gd name="T1" fmla="*/ 0 h 5"/>
                <a:gd name="T2" fmla="*/ 0 w 4"/>
                <a:gd name="T3" fmla="*/ 5 h 5"/>
                <a:gd name="T4" fmla="*/ 4 w 4"/>
                <a:gd name="T5" fmla="*/ 2 h 5"/>
                <a:gd name="T6" fmla="*/ 3 w 4"/>
                <a:gd name="T7" fmla="*/ 0 h 5"/>
              </a:gdLst>
              <a:ahLst/>
              <a:cxnLst>
                <a:cxn ang="0">
                  <a:pos x="T0" y="T1"/>
                </a:cxn>
                <a:cxn ang="0">
                  <a:pos x="T2" y="T3"/>
                </a:cxn>
                <a:cxn ang="0">
                  <a:pos x="T4" y="T5"/>
                </a:cxn>
                <a:cxn ang="0">
                  <a:pos x="T6" y="T7"/>
                </a:cxn>
              </a:cxnLst>
              <a:rect l="0" t="0" r="r" b="b"/>
              <a:pathLst>
                <a:path w="4" h="5">
                  <a:moveTo>
                    <a:pt x="3" y="0"/>
                  </a:moveTo>
                  <a:cubicBezTo>
                    <a:pt x="2" y="0"/>
                    <a:pt x="1" y="5"/>
                    <a:pt x="0" y="5"/>
                  </a:cubicBezTo>
                  <a:cubicBezTo>
                    <a:pt x="2" y="4"/>
                    <a:pt x="3" y="3"/>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 name="Freeform 58">
              <a:extLst>
                <a:ext uri="{FF2B5EF4-FFF2-40B4-BE49-F238E27FC236}">
                  <a16:creationId xmlns:a16="http://schemas.microsoft.com/office/drawing/2014/main" id="{DD009105-3F75-44B2-9DE6-175B422C440E}"/>
                </a:ext>
              </a:extLst>
            </p:cNvPr>
            <p:cNvSpPr>
              <a:spLocks/>
            </p:cNvSpPr>
            <p:nvPr/>
          </p:nvSpPr>
          <p:spPr bwMode="auto">
            <a:xfrm>
              <a:off x="6800985" y="1972946"/>
              <a:ext cx="9886" cy="2825"/>
            </a:xfrm>
            <a:custGeom>
              <a:avLst/>
              <a:gdLst>
                <a:gd name="T0" fmla="*/ 1 w 3"/>
                <a:gd name="T1" fmla="*/ 0 h 1"/>
                <a:gd name="T2" fmla="*/ 0 w 3"/>
                <a:gd name="T3" fmla="*/ 1 h 1"/>
                <a:gd name="T4" fmla="*/ 3 w 3"/>
                <a:gd name="T5" fmla="*/ 1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1" y="1"/>
                    <a:pt x="0" y="1"/>
                  </a:cubicBezTo>
                  <a:cubicBezTo>
                    <a:pt x="1" y="1"/>
                    <a:pt x="2" y="1"/>
                    <a:pt x="3"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 name="Freeform 59">
              <a:extLst>
                <a:ext uri="{FF2B5EF4-FFF2-40B4-BE49-F238E27FC236}">
                  <a16:creationId xmlns:a16="http://schemas.microsoft.com/office/drawing/2014/main" id="{3AB74544-FEBE-41F4-B05D-3BB4D3B116E0}"/>
                </a:ext>
              </a:extLst>
            </p:cNvPr>
            <p:cNvSpPr>
              <a:spLocks/>
            </p:cNvSpPr>
            <p:nvPr/>
          </p:nvSpPr>
          <p:spPr bwMode="auto">
            <a:xfrm>
              <a:off x="6713424" y="2026612"/>
              <a:ext cx="24009" cy="16947"/>
            </a:xfrm>
            <a:custGeom>
              <a:avLst/>
              <a:gdLst>
                <a:gd name="T0" fmla="*/ 4 w 7"/>
                <a:gd name="T1" fmla="*/ 0 h 5"/>
                <a:gd name="T2" fmla="*/ 0 w 7"/>
                <a:gd name="T3" fmla="*/ 0 h 5"/>
                <a:gd name="T4" fmla="*/ 3 w 7"/>
                <a:gd name="T5" fmla="*/ 5 h 5"/>
                <a:gd name="T6" fmla="*/ 4 w 7"/>
                <a:gd name="T7" fmla="*/ 5 h 5"/>
                <a:gd name="T8" fmla="*/ 7 w 7"/>
                <a:gd name="T9" fmla="*/ 2 h 5"/>
                <a:gd name="T10" fmla="*/ 4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4" y="0"/>
                  </a:moveTo>
                  <a:cubicBezTo>
                    <a:pt x="3" y="0"/>
                    <a:pt x="2" y="0"/>
                    <a:pt x="0" y="0"/>
                  </a:cubicBezTo>
                  <a:cubicBezTo>
                    <a:pt x="1" y="2"/>
                    <a:pt x="2" y="3"/>
                    <a:pt x="3" y="5"/>
                  </a:cubicBezTo>
                  <a:cubicBezTo>
                    <a:pt x="4" y="5"/>
                    <a:pt x="4" y="5"/>
                    <a:pt x="4" y="5"/>
                  </a:cubicBezTo>
                  <a:cubicBezTo>
                    <a:pt x="6" y="5"/>
                    <a:pt x="7" y="4"/>
                    <a:pt x="7" y="2"/>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 name="Freeform 60">
              <a:extLst>
                <a:ext uri="{FF2B5EF4-FFF2-40B4-BE49-F238E27FC236}">
                  <a16:creationId xmlns:a16="http://schemas.microsoft.com/office/drawing/2014/main" id="{80F55444-F567-4AAD-B790-7CAD0C6E1060}"/>
                </a:ext>
              </a:extLst>
            </p:cNvPr>
            <p:cNvSpPr>
              <a:spLocks/>
            </p:cNvSpPr>
            <p:nvPr/>
          </p:nvSpPr>
          <p:spPr bwMode="auto">
            <a:xfrm>
              <a:off x="6867361" y="2056270"/>
              <a:ext cx="36719" cy="19772"/>
            </a:xfrm>
            <a:custGeom>
              <a:avLst/>
              <a:gdLst>
                <a:gd name="T0" fmla="*/ 10 w 11"/>
                <a:gd name="T1" fmla="*/ 0 h 6"/>
                <a:gd name="T2" fmla="*/ 4 w 11"/>
                <a:gd name="T3" fmla="*/ 6 h 6"/>
                <a:gd name="T4" fmla="*/ 9 w 11"/>
                <a:gd name="T5" fmla="*/ 2 h 6"/>
                <a:gd name="T6" fmla="*/ 10 w 11"/>
                <a:gd name="T7" fmla="*/ 1 h 6"/>
                <a:gd name="T8" fmla="*/ 10 w 11"/>
                <a:gd name="T9" fmla="*/ 0 h 6"/>
              </a:gdLst>
              <a:ahLst/>
              <a:cxnLst>
                <a:cxn ang="0">
                  <a:pos x="T0" y="T1"/>
                </a:cxn>
                <a:cxn ang="0">
                  <a:pos x="T2" y="T3"/>
                </a:cxn>
                <a:cxn ang="0">
                  <a:pos x="T4" y="T5"/>
                </a:cxn>
                <a:cxn ang="0">
                  <a:pos x="T6" y="T7"/>
                </a:cxn>
                <a:cxn ang="0">
                  <a:pos x="T8" y="T9"/>
                </a:cxn>
              </a:cxnLst>
              <a:rect l="0" t="0" r="r" b="b"/>
              <a:pathLst>
                <a:path w="11" h="6">
                  <a:moveTo>
                    <a:pt x="10" y="0"/>
                  </a:moveTo>
                  <a:cubicBezTo>
                    <a:pt x="7" y="0"/>
                    <a:pt x="0" y="4"/>
                    <a:pt x="4" y="6"/>
                  </a:cubicBezTo>
                  <a:cubicBezTo>
                    <a:pt x="6" y="6"/>
                    <a:pt x="8" y="4"/>
                    <a:pt x="9" y="2"/>
                  </a:cubicBezTo>
                  <a:cubicBezTo>
                    <a:pt x="9" y="2"/>
                    <a:pt x="11" y="1"/>
                    <a:pt x="10"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 name="Freeform 61">
              <a:extLst>
                <a:ext uri="{FF2B5EF4-FFF2-40B4-BE49-F238E27FC236}">
                  <a16:creationId xmlns:a16="http://schemas.microsoft.com/office/drawing/2014/main" id="{228B8E32-6A82-4824-9DC0-06CC6F85D643}"/>
                </a:ext>
              </a:extLst>
            </p:cNvPr>
            <p:cNvSpPr>
              <a:spLocks/>
            </p:cNvSpPr>
            <p:nvPr/>
          </p:nvSpPr>
          <p:spPr bwMode="auto">
            <a:xfrm>
              <a:off x="6806634" y="2100051"/>
              <a:ext cx="7061" cy="9886"/>
            </a:xfrm>
            <a:custGeom>
              <a:avLst/>
              <a:gdLst>
                <a:gd name="T0" fmla="*/ 1 w 2"/>
                <a:gd name="T1" fmla="*/ 0 h 3"/>
                <a:gd name="T2" fmla="*/ 0 w 2"/>
                <a:gd name="T3" fmla="*/ 2 h 3"/>
                <a:gd name="T4" fmla="*/ 1 w 2"/>
                <a:gd name="T5" fmla="*/ 3 h 3"/>
                <a:gd name="T6" fmla="*/ 1 w 2"/>
                <a:gd name="T7" fmla="*/ 0 h 3"/>
              </a:gdLst>
              <a:ahLst/>
              <a:cxnLst>
                <a:cxn ang="0">
                  <a:pos x="T0" y="T1"/>
                </a:cxn>
                <a:cxn ang="0">
                  <a:pos x="T2" y="T3"/>
                </a:cxn>
                <a:cxn ang="0">
                  <a:pos x="T4" y="T5"/>
                </a:cxn>
                <a:cxn ang="0">
                  <a:pos x="T6" y="T7"/>
                </a:cxn>
              </a:cxnLst>
              <a:rect l="0" t="0" r="r" b="b"/>
              <a:pathLst>
                <a:path w="2" h="3">
                  <a:moveTo>
                    <a:pt x="1" y="0"/>
                  </a:moveTo>
                  <a:cubicBezTo>
                    <a:pt x="1" y="1"/>
                    <a:pt x="0" y="1"/>
                    <a:pt x="0" y="2"/>
                  </a:cubicBezTo>
                  <a:cubicBezTo>
                    <a:pt x="0" y="2"/>
                    <a:pt x="0" y="3"/>
                    <a:pt x="1" y="3"/>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 name="Freeform 62">
              <a:extLst>
                <a:ext uri="{FF2B5EF4-FFF2-40B4-BE49-F238E27FC236}">
                  <a16:creationId xmlns:a16="http://schemas.microsoft.com/office/drawing/2014/main" id="{0559EE95-B8BD-46B7-BF55-374F6BD938C5}"/>
                </a:ext>
              </a:extLst>
            </p:cNvPr>
            <p:cNvSpPr>
              <a:spLocks/>
            </p:cNvSpPr>
            <p:nvPr/>
          </p:nvSpPr>
          <p:spPr bwMode="auto">
            <a:xfrm>
              <a:off x="6760029" y="2016727"/>
              <a:ext cx="40956" cy="12710"/>
            </a:xfrm>
            <a:custGeom>
              <a:avLst/>
              <a:gdLst>
                <a:gd name="T0" fmla="*/ 7 w 12"/>
                <a:gd name="T1" fmla="*/ 0 h 4"/>
                <a:gd name="T2" fmla="*/ 6 w 12"/>
                <a:gd name="T3" fmla="*/ 0 h 4"/>
                <a:gd name="T4" fmla="*/ 11 w 12"/>
                <a:gd name="T5" fmla="*/ 4 h 4"/>
                <a:gd name="T6" fmla="*/ 9 w 12"/>
                <a:gd name="T7" fmla="*/ 0 h 4"/>
                <a:gd name="T8" fmla="*/ 7 w 12"/>
                <a:gd name="T9" fmla="*/ 0 h 4"/>
              </a:gdLst>
              <a:ahLst/>
              <a:cxnLst>
                <a:cxn ang="0">
                  <a:pos x="T0" y="T1"/>
                </a:cxn>
                <a:cxn ang="0">
                  <a:pos x="T2" y="T3"/>
                </a:cxn>
                <a:cxn ang="0">
                  <a:pos x="T4" y="T5"/>
                </a:cxn>
                <a:cxn ang="0">
                  <a:pos x="T6" y="T7"/>
                </a:cxn>
                <a:cxn ang="0">
                  <a:pos x="T8" y="T9"/>
                </a:cxn>
              </a:cxnLst>
              <a:rect l="0" t="0" r="r" b="b"/>
              <a:pathLst>
                <a:path w="12" h="4">
                  <a:moveTo>
                    <a:pt x="7" y="0"/>
                  </a:moveTo>
                  <a:cubicBezTo>
                    <a:pt x="6" y="0"/>
                    <a:pt x="6" y="0"/>
                    <a:pt x="6" y="0"/>
                  </a:cubicBezTo>
                  <a:cubicBezTo>
                    <a:pt x="0" y="3"/>
                    <a:pt x="11" y="4"/>
                    <a:pt x="11" y="4"/>
                  </a:cubicBezTo>
                  <a:cubicBezTo>
                    <a:pt x="12" y="2"/>
                    <a:pt x="10"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 name="Freeform 63">
              <a:extLst>
                <a:ext uri="{FF2B5EF4-FFF2-40B4-BE49-F238E27FC236}">
                  <a16:creationId xmlns:a16="http://schemas.microsoft.com/office/drawing/2014/main" id="{CB9EC3BB-B88C-4B1C-AC49-80D686FF2350}"/>
                </a:ext>
              </a:extLst>
            </p:cNvPr>
            <p:cNvSpPr>
              <a:spLocks/>
            </p:cNvSpPr>
            <p:nvPr/>
          </p:nvSpPr>
          <p:spPr bwMode="auto">
            <a:xfrm>
              <a:off x="6717661" y="1989893"/>
              <a:ext cx="66377" cy="96035"/>
            </a:xfrm>
            <a:custGeom>
              <a:avLst/>
              <a:gdLst>
                <a:gd name="T0" fmla="*/ 6 w 20"/>
                <a:gd name="T1" fmla="*/ 0 h 29"/>
                <a:gd name="T2" fmla="*/ 3 w 20"/>
                <a:gd name="T3" fmla="*/ 3 h 29"/>
                <a:gd name="T4" fmla="*/ 1 w 20"/>
                <a:gd name="T5" fmla="*/ 4 h 29"/>
                <a:gd name="T6" fmla="*/ 2 w 20"/>
                <a:gd name="T7" fmla="*/ 5 h 29"/>
                <a:gd name="T8" fmla="*/ 3 w 20"/>
                <a:gd name="T9" fmla="*/ 5 h 29"/>
                <a:gd name="T10" fmla="*/ 4 w 20"/>
                <a:gd name="T11" fmla="*/ 4 h 29"/>
                <a:gd name="T12" fmla="*/ 4 w 20"/>
                <a:gd name="T13" fmla="*/ 5 h 29"/>
                <a:gd name="T14" fmla="*/ 6 w 20"/>
                <a:gd name="T15" fmla="*/ 8 h 29"/>
                <a:gd name="T16" fmla="*/ 8 w 20"/>
                <a:gd name="T17" fmla="*/ 13 h 29"/>
                <a:gd name="T18" fmla="*/ 12 w 20"/>
                <a:gd name="T19" fmla="*/ 19 h 29"/>
                <a:gd name="T20" fmla="*/ 5 w 20"/>
                <a:gd name="T21" fmla="*/ 22 h 29"/>
                <a:gd name="T22" fmla="*/ 11 w 20"/>
                <a:gd name="T23" fmla="*/ 29 h 29"/>
                <a:gd name="T24" fmla="*/ 20 w 20"/>
                <a:gd name="T25" fmla="*/ 21 h 29"/>
                <a:gd name="T26" fmla="*/ 17 w 20"/>
                <a:gd name="T27" fmla="*/ 19 h 29"/>
                <a:gd name="T28" fmla="*/ 17 w 20"/>
                <a:gd name="T29" fmla="*/ 19 h 29"/>
                <a:gd name="T30" fmla="*/ 15 w 20"/>
                <a:gd name="T31" fmla="*/ 13 h 29"/>
                <a:gd name="T32" fmla="*/ 12 w 20"/>
                <a:gd name="T33" fmla="*/ 11 h 29"/>
                <a:gd name="T34" fmla="*/ 6 w 20"/>
                <a:gd name="T35" fmla="*/ 0 h 29"/>
                <a:gd name="T36" fmla="*/ 6 w 20"/>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9">
                  <a:moveTo>
                    <a:pt x="6" y="0"/>
                  </a:moveTo>
                  <a:cubicBezTo>
                    <a:pt x="6" y="0"/>
                    <a:pt x="4" y="2"/>
                    <a:pt x="3" y="3"/>
                  </a:cubicBezTo>
                  <a:cubicBezTo>
                    <a:pt x="1" y="4"/>
                    <a:pt x="1" y="4"/>
                    <a:pt x="1" y="4"/>
                  </a:cubicBezTo>
                  <a:cubicBezTo>
                    <a:pt x="1" y="5"/>
                    <a:pt x="1" y="5"/>
                    <a:pt x="2" y="5"/>
                  </a:cubicBezTo>
                  <a:cubicBezTo>
                    <a:pt x="2" y="5"/>
                    <a:pt x="2" y="5"/>
                    <a:pt x="3" y="5"/>
                  </a:cubicBezTo>
                  <a:cubicBezTo>
                    <a:pt x="3" y="5"/>
                    <a:pt x="4" y="4"/>
                    <a:pt x="4" y="4"/>
                  </a:cubicBezTo>
                  <a:cubicBezTo>
                    <a:pt x="4" y="4"/>
                    <a:pt x="4" y="5"/>
                    <a:pt x="4" y="5"/>
                  </a:cubicBezTo>
                  <a:cubicBezTo>
                    <a:pt x="6" y="5"/>
                    <a:pt x="5" y="7"/>
                    <a:pt x="6" y="8"/>
                  </a:cubicBezTo>
                  <a:cubicBezTo>
                    <a:pt x="6" y="11"/>
                    <a:pt x="7" y="11"/>
                    <a:pt x="8" y="13"/>
                  </a:cubicBezTo>
                  <a:cubicBezTo>
                    <a:pt x="10" y="14"/>
                    <a:pt x="13" y="17"/>
                    <a:pt x="12" y="19"/>
                  </a:cubicBezTo>
                  <a:cubicBezTo>
                    <a:pt x="10" y="21"/>
                    <a:pt x="7" y="20"/>
                    <a:pt x="5" y="22"/>
                  </a:cubicBezTo>
                  <a:cubicBezTo>
                    <a:pt x="0" y="27"/>
                    <a:pt x="7" y="27"/>
                    <a:pt x="11" y="29"/>
                  </a:cubicBezTo>
                  <a:cubicBezTo>
                    <a:pt x="14" y="26"/>
                    <a:pt x="17" y="24"/>
                    <a:pt x="20" y="21"/>
                  </a:cubicBezTo>
                  <a:cubicBezTo>
                    <a:pt x="18" y="21"/>
                    <a:pt x="18" y="19"/>
                    <a:pt x="17" y="19"/>
                  </a:cubicBezTo>
                  <a:cubicBezTo>
                    <a:pt x="17" y="19"/>
                    <a:pt x="17" y="19"/>
                    <a:pt x="17" y="19"/>
                  </a:cubicBezTo>
                  <a:cubicBezTo>
                    <a:pt x="16" y="16"/>
                    <a:pt x="16" y="15"/>
                    <a:pt x="15" y="13"/>
                  </a:cubicBezTo>
                  <a:cubicBezTo>
                    <a:pt x="14" y="12"/>
                    <a:pt x="13" y="12"/>
                    <a:pt x="12" y="11"/>
                  </a:cubicBezTo>
                  <a:cubicBezTo>
                    <a:pt x="10" y="8"/>
                    <a:pt x="10"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 name="Freeform 64">
              <a:extLst>
                <a:ext uri="{FF2B5EF4-FFF2-40B4-BE49-F238E27FC236}">
                  <a16:creationId xmlns:a16="http://schemas.microsoft.com/office/drawing/2014/main" id="{B7A0A2F2-D79B-4E2B-BC15-CAB97004D8C2}"/>
                </a:ext>
              </a:extLst>
            </p:cNvPr>
            <p:cNvSpPr>
              <a:spLocks/>
            </p:cNvSpPr>
            <p:nvPr/>
          </p:nvSpPr>
          <p:spPr bwMode="auto">
            <a:xfrm>
              <a:off x="6796748" y="2043560"/>
              <a:ext cx="36719" cy="15535"/>
            </a:xfrm>
            <a:custGeom>
              <a:avLst/>
              <a:gdLst>
                <a:gd name="T0" fmla="*/ 6 w 11"/>
                <a:gd name="T1" fmla="*/ 0 h 5"/>
                <a:gd name="T2" fmla="*/ 5 w 11"/>
                <a:gd name="T3" fmla="*/ 0 h 5"/>
                <a:gd name="T4" fmla="*/ 6 w 11"/>
                <a:gd name="T5" fmla="*/ 5 h 5"/>
                <a:gd name="T6" fmla="*/ 9 w 11"/>
                <a:gd name="T7" fmla="*/ 5 h 5"/>
                <a:gd name="T8" fmla="*/ 6 w 11"/>
                <a:gd name="T9" fmla="*/ 0 h 5"/>
              </a:gdLst>
              <a:ahLst/>
              <a:cxnLst>
                <a:cxn ang="0">
                  <a:pos x="T0" y="T1"/>
                </a:cxn>
                <a:cxn ang="0">
                  <a:pos x="T2" y="T3"/>
                </a:cxn>
                <a:cxn ang="0">
                  <a:pos x="T4" y="T5"/>
                </a:cxn>
                <a:cxn ang="0">
                  <a:pos x="T6" y="T7"/>
                </a:cxn>
                <a:cxn ang="0">
                  <a:pos x="T8" y="T9"/>
                </a:cxn>
              </a:cxnLst>
              <a:rect l="0" t="0" r="r" b="b"/>
              <a:pathLst>
                <a:path w="11" h="5">
                  <a:moveTo>
                    <a:pt x="6" y="0"/>
                  </a:moveTo>
                  <a:cubicBezTo>
                    <a:pt x="6" y="0"/>
                    <a:pt x="5" y="0"/>
                    <a:pt x="5" y="0"/>
                  </a:cubicBezTo>
                  <a:cubicBezTo>
                    <a:pt x="0" y="1"/>
                    <a:pt x="1" y="5"/>
                    <a:pt x="6" y="5"/>
                  </a:cubicBezTo>
                  <a:cubicBezTo>
                    <a:pt x="7" y="5"/>
                    <a:pt x="8" y="5"/>
                    <a:pt x="9" y="5"/>
                  </a:cubicBezTo>
                  <a:cubicBezTo>
                    <a:pt x="11"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 name="Freeform 65">
              <a:extLst>
                <a:ext uri="{FF2B5EF4-FFF2-40B4-BE49-F238E27FC236}">
                  <a16:creationId xmlns:a16="http://schemas.microsoft.com/office/drawing/2014/main" id="{093CA723-AD82-4B43-9CFD-BC71AE05B050}"/>
                </a:ext>
              </a:extLst>
            </p:cNvPr>
            <p:cNvSpPr>
              <a:spLocks/>
            </p:cNvSpPr>
            <p:nvPr/>
          </p:nvSpPr>
          <p:spPr bwMode="auto">
            <a:xfrm>
              <a:off x="8485823" y="580444"/>
              <a:ext cx="16947" cy="2825"/>
            </a:xfrm>
            <a:custGeom>
              <a:avLst/>
              <a:gdLst>
                <a:gd name="T0" fmla="*/ 2 w 5"/>
                <a:gd name="T1" fmla="*/ 0 h 1"/>
                <a:gd name="T2" fmla="*/ 0 w 5"/>
                <a:gd name="T3" fmla="*/ 0 h 1"/>
                <a:gd name="T4" fmla="*/ 4 w 5"/>
                <a:gd name="T5" fmla="*/ 1 h 1"/>
                <a:gd name="T6" fmla="*/ 5 w 5"/>
                <a:gd name="T7" fmla="*/ 1 h 1"/>
                <a:gd name="T8" fmla="*/ 5 w 5"/>
                <a:gd name="T9" fmla="*/ 1 h 1"/>
                <a:gd name="T10" fmla="*/ 5 w 5"/>
                <a:gd name="T11" fmla="*/ 1 h 1"/>
                <a:gd name="T12" fmla="*/ 4 w 5"/>
                <a:gd name="T13" fmla="*/ 1 h 1"/>
                <a:gd name="T14" fmla="*/ 4 w 5"/>
                <a:gd name="T15" fmla="*/ 1 h 1"/>
                <a:gd name="T16" fmla="*/ 3 w 5"/>
                <a:gd name="T17" fmla="*/ 0 h 1"/>
                <a:gd name="T18" fmla="*/ 2 w 5"/>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
                  <a:moveTo>
                    <a:pt x="2" y="0"/>
                  </a:moveTo>
                  <a:cubicBezTo>
                    <a:pt x="1" y="0"/>
                    <a:pt x="1" y="0"/>
                    <a:pt x="0" y="0"/>
                  </a:cubicBezTo>
                  <a:cubicBezTo>
                    <a:pt x="1" y="1"/>
                    <a:pt x="3" y="1"/>
                    <a:pt x="4"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3" y="0"/>
                    <a:pt x="3"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 name="Freeform 66">
              <a:extLst>
                <a:ext uri="{FF2B5EF4-FFF2-40B4-BE49-F238E27FC236}">
                  <a16:creationId xmlns:a16="http://schemas.microsoft.com/office/drawing/2014/main" id="{ABB36966-3829-498D-8C0A-2A17F302099E}"/>
                </a:ext>
              </a:extLst>
            </p:cNvPr>
            <p:cNvSpPr>
              <a:spLocks/>
            </p:cNvSpPr>
            <p:nvPr/>
          </p:nvSpPr>
          <p:spPr bwMode="auto">
            <a:xfrm>
              <a:off x="9049318" y="783812"/>
              <a:ext cx="24009" cy="33895"/>
            </a:xfrm>
            <a:custGeom>
              <a:avLst/>
              <a:gdLst>
                <a:gd name="T0" fmla="*/ 1 w 7"/>
                <a:gd name="T1" fmla="*/ 0 h 10"/>
                <a:gd name="T2" fmla="*/ 4 w 7"/>
                <a:gd name="T3" fmla="*/ 10 h 10"/>
                <a:gd name="T4" fmla="*/ 1 w 7"/>
                <a:gd name="T5" fmla="*/ 0 h 10"/>
              </a:gdLst>
              <a:ahLst/>
              <a:cxnLst>
                <a:cxn ang="0">
                  <a:pos x="T0" y="T1"/>
                </a:cxn>
                <a:cxn ang="0">
                  <a:pos x="T2" y="T3"/>
                </a:cxn>
                <a:cxn ang="0">
                  <a:pos x="T4" y="T5"/>
                </a:cxn>
              </a:cxnLst>
              <a:rect l="0" t="0" r="r" b="b"/>
              <a:pathLst>
                <a:path w="7" h="10">
                  <a:moveTo>
                    <a:pt x="1" y="0"/>
                  </a:moveTo>
                  <a:cubicBezTo>
                    <a:pt x="0" y="2"/>
                    <a:pt x="1" y="8"/>
                    <a:pt x="4" y="10"/>
                  </a:cubicBezTo>
                  <a:cubicBezTo>
                    <a:pt x="7"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 name="Freeform 67">
              <a:extLst>
                <a:ext uri="{FF2B5EF4-FFF2-40B4-BE49-F238E27FC236}">
                  <a16:creationId xmlns:a16="http://schemas.microsoft.com/office/drawing/2014/main" id="{F648C27D-E92A-46E7-A9E3-F11045AA2C76}"/>
                </a:ext>
              </a:extLst>
            </p:cNvPr>
            <p:cNvSpPr>
              <a:spLocks/>
            </p:cNvSpPr>
            <p:nvPr/>
          </p:nvSpPr>
          <p:spPr bwMode="auto">
            <a:xfrm>
              <a:off x="7805108" y="279630"/>
              <a:ext cx="7061" cy="7061"/>
            </a:xfrm>
            <a:custGeom>
              <a:avLst/>
              <a:gdLst>
                <a:gd name="T0" fmla="*/ 0 w 2"/>
                <a:gd name="T1" fmla="*/ 0 h 2"/>
                <a:gd name="T2" fmla="*/ 2 w 2"/>
                <a:gd name="T3" fmla="*/ 2 h 2"/>
                <a:gd name="T4" fmla="*/ 1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1" y="2"/>
                    <a:pt x="2" y="2"/>
                  </a:cubicBezTo>
                  <a:cubicBezTo>
                    <a:pt x="2" y="2"/>
                    <a:pt x="2" y="1"/>
                    <a:pt x="1" y="1"/>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 name="Freeform 68">
              <a:extLst>
                <a:ext uri="{FF2B5EF4-FFF2-40B4-BE49-F238E27FC236}">
                  <a16:creationId xmlns:a16="http://schemas.microsoft.com/office/drawing/2014/main" id="{A763FBA9-ED85-4362-B3C5-7BE6E1E321EF}"/>
                </a:ext>
              </a:extLst>
            </p:cNvPr>
            <p:cNvSpPr>
              <a:spLocks/>
            </p:cNvSpPr>
            <p:nvPr/>
          </p:nvSpPr>
          <p:spPr bwMode="auto">
            <a:xfrm>
              <a:off x="7717548" y="225964"/>
              <a:ext cx="26833" cy="11298"/>
            </a:xfrm>
            <a:custGeom>
              <a:avLst/>
              <a:gdLst>
                <a:gd name="T0" fmla="*/ 0 w 8"/>
                <a:gd name="T1" fmla="*/ 0 h 3"/>
                <a:gd name="T2" fmla="*/ 8 w 8"/>
                <a:gd name="T3" fmla="*/ 3 h 3"/>
                <a:gd name="T4" fmla="*/ 7 w 8"/>
                <a:gd name="T5" fmla="*/ 0 h 3"/>
                <a:gd name="T6" fmla="*/ 6 w 8"/>
                <a:gd name="T7" fmla="*/ 1 h 3"/>
                <a:gd name="T8" fmla="*/ 4 w 8"/>
                <a:gd name="T9" fmla="*/ 1 h 3"/>
                <a:gd name="T10" fmla="*/ 3 w 8"/>
                <a:gd name="T11" fmla="*/ 1 h 3"/>
                <a:gd name="T12" fmla="*/ 0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0" y="0"/>
                  </a:moveTo>
                  <a:cubicBezTo>
                    <a:pt x="3" y="2"/>
                    <a:pt x="6" y="2"/>
                    <a:pt x="8" y="3"/>
                  </a:cubicBezTo>
                  <a:cubicBezTo>
                    <a:pt x="8" y="1"/>
                    <a:pt x="8" y="0"/>
                    <a:pt x="7" y="0"/>
                  </a:cubicBezTo>
                  <a:cubicBezTo>
                    <a:pt x="7" y="0"/>
                    <a:pt x="6" y="1"/>
                    <a:pt x="6" y="1"/>
                  </a:cubicBezTo>
                  <a:cubicBezTo>
                    <a:pt x="5" y="1"/>
                    <a:pt x="5" y="1"/>
                    <a:pt x="4" y="1"/>
                  </a:cubicBezTo>
                  <a:cubicBezTo>
                    <a:pt x="4" y="1"/>
                    <a:pt x="4"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 name="Freeform 69">
              <a:extLst>
                <a:ext uri="{FF2B5EF4-FFF2-40B4-BE49-F238E27FC236}">
                  <a16:creationId xmlns:a16="http://schemas.microsoft.com/office/drawing/2014/main" id="{C539DE63-DB84-4FFB-99F7-B9AC3FF324E7}"/>
                </a:ext>
              </a:extLst>
            </p:cNvPr>
            <p:cNvSpPr>
              <a:spLocks/>
            </p:cNvSpPr>
            <p:nvPr/>
          </p:nvSpPr>
          <p:spPr bwMode="auto">
            <a:xfrm>
              <a:off x="7508532" y="484410"/>
              <a:ext cx="22596" cy="9886"/>
            </a:xfrm>
            <a:custGeom>
              <a:avLst/>
              <a:gdLst>
                <a:gd name="T0" fmla="*/ 0 w 7"/>
                <a:gd name="T1" fmla="*/ 0 h 3"/>
                <a:gd name="T2" fmla="*/ 2 w 7"/>
                <a:gd name="T3" fmla="*/ 3 h 3"/>
                <a:gd name="T4" fmla="*/ 3 w 7"/>
                <a:gd name="T5" fmla="*/ 3 h 3"/>
                <a:gd name="T6" fmla="*/ 7 w 7"/>
                <a:gd name="T7" fmla="*/ 1 h 3"/>
                <a:gd name="T8" fmla="*/ 7 w 7"/>
                <a:gd name="T9" fmla="*/ 1 h 3"/>
                <a:gd name="T10" fmla="*/ 0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0" y="0"/>
                  </a:moveTo>
                  <a:cubicBezTo>
                    <a:pt x="1" y="1"/>
                    <a:pt x="0" y="3"/>
                    <a:pt x="2" y="3"/>
                  </a:cubicBezTo>
                  <a:cubicBezTo>
                    <a:pt x="2" y="3"/>
                    <a:pt x="2" y="3"/>
                    <a:pt x="3" y="3"/>
                  </a:cubicBezTo>
                  <a:cubicBezTo>
                    <a:pt x="4" y="2"/>
                    <a:pt x="6" y="2"/>
                    <a:pt x="7" y="1"/>
                  </a:cubicBezTo>
                  <a:cubicBezTo>
                    <a:pt x="7" y="1"/>
                    <a:pt x="7" y="1"/>
                    <a:pt x="7"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 name="Freeform 70">
              <a:extLst>
                <a:ext uri="{FF2B5EF4-FFF2-40B4-BE49-F238E27FC236}">
                  <a16:creationId xmlns:a16="http://schemas.microsoft.com/office/drawing/2014/main" id="{10BCFAEA-08D6-4A7F-85CE-BD41CC73A7D8}"/>
                </a:ext>
              </a:extLst>
            </p:cNvPr>
            <p:cNvSpPr>
              <a:spLocks noEditPoints="1"/>
            </p:cNvSpPr>
            <p:nvPr/>
          </p:nvSpPr>
          <p:spPr bwMode="auto">
            <a:xfrm>
              <a:off x="7230315" y="176534"/>
              <a:ext cx="841713" cy="271157"/>
            </a:xfrm>
            <a:custGeom>
              <a:avLst/>
              <a:gdLst>
                <a:gd name="T0" fmla="*/ 11 w 252"/>
                <a:gd name="T1" fmla="*/ 34 h 81"/>
                <a:gd name="T2" fmla="*/ 11 w 252"/>
                <a:gd name="T3" fmla="*/ 34 h 81"/>
                <a:gd name="T4" fmla="*/ 47 w 252"/>
                <a:gd name="T5" fmla="*/ 5 h 81"/>
                <a:gd name="T6" fmla="*/ 15 w 252"/>
                <a:gd name="T7" fmla="*/ 19 h 81"/>
                <a:gd name="T8" fmla="*/ 13 w 252"/>
                <a:gd name="T9" fmla="*/ 29 h 81"/>
                <a:gd name="T10" fmla="*/ 11 w 252"/>
                <a:gd name="T11" fmla="*/ 29 h 81"/>
                <a:gd name="T12" fmla="*/ 5 w 252"/>
                <a:gd name="T13" fmla="*/ 31 h 81"/>
                <a:gd name="T14" fmla="*/ 5 w 252"/>
                <a:gd name="T15" fmla="*/ 33 h 81"/>
                <a:gd name="T16" fmla="*/ 9 w 252"/>
                <a:gd name="T17" fmla="*/ 33 h 81"/>
                <a:gd name="T18" fmla="*/ 11 w 252"/>
                <a:gd name="T19" fmla="*/ 34 h 81"/>
                <a:gd name="T20" fmla="*/ 19 w 252"/>
                <a:gd name="T21" fmla="*/ 31 h 81"/>
                <a:gd name="T22" fmla="*/ 26 w 252"/>
                <a:gd name="T23" fmla="*/ 25 h 81"/>
                <a:gd name="T24" fmla="*/ 32 w 252"/>
                <a:gd name="T25" fmla="*/ 23 h 81"/>
                <a:gd name="T26" fmla="*/ 39 w 252"/>
                <a:gd name="T27" fmla="*/ 22 h 81"/>
                <a:gd name="T28" fmla="*/ 54 w 252"/>
                <a:gd name="T29" fmla="*/ 12 h 81"/>
                <a:gd name="T30" fmla="*/ 64 w 252"/>
                <a:gd name="T31" fmla="*/ 12 h 81"/>
                <a:gd name="T32" fmla="*/ 67 w 252"/>
                <a:gd name="T33" fmla="*/ 12 h 81"/>
                <a:gd name="T34" fmla="*/ 73 w 252"/>
                <a:gd name="T35" fmla="*/ 12 h 81"/>
                <a:gd name="T36" fmla="*/ 73 w 252"/>
                <a:gd name="T37" fmla="*/ 18 h 81"/>
                <a:gd name="T38" fmla="*/ 72 w 252"/>
                <a:gd name="T39" fmla="*/ 18 h 81"/>
                <a:gd name="T40" fmla="*/ 71 w 252"/>
                <a:gd name="T41" fmla="*/ 18 h 81"/>
                <a:gd name="T42" fmla="*/ 69 w 252"/>
                <a:gd name="T43" fmla="*/ 18 h 81"/>
                <a:gd name="T44" fmla="*/ 74 w 252"/>
                <a:gd name="T45" fmla="*/ 24 h 81"/>
                <a:gd name="T46" fmla="*/ 88 w 252"/>
                <a:gd name="T47" fmla="*/ 22 h 81"/>
                <a:gd name="T48" fmla="*/ 95 w 252"/>
                <a:gd name="T49" fmla="*/ 27 h 81"/>
                <a:gd name="T50" fmla="*/ 98 w 252"/>
                <a:gd name="T51" fmla="*/ 27 h 81"/>
                <a:gd name="T52" fmla="*/ 114 w 252"/>
                <a:gd name="T53" fmla="*/ 33 h 81"/>
                <a:gd name="T54" fmla="*/ 145 w 252"/>
                <a:gd name="T55" fmla="*/ 39 h 81"/>
                <a:gd name="T56" fmla="*/ 151 w 252"/>
                <a:gd name="T57" fmla="*/ 52 h 81"/>
                <a:gd name="T58" fmla="*/ 174 w 252"/>
                <a:gd name="T59" fmla="*/ 61 h 81"/>
                <a:gd name="T60" fmla="*/ 176 w 252"/>
                <a:gd name="T61" fmla="*/ 60 h 81"/>
                <a:gd name="T62" fmla="*/ 177 w 252"/>
                <a:gd name="T63" fmla="*/ 60 h 81"/>
                <a:gd name="T64" fmla="*/ 180 w 252"/>
                <a:gd name="T65" fmla="*/ 70 h 81"/>
                <a:gd name="T66" fmla="*/ 168 w 252"/>
                <a:gd name="T67" fmla="*/ 80 h 81"/>
                <a:gd name="T68" fmla="*/ 201 w 252"/>
                <a:gd name="T69" fmla="*/ 79 h 81"/>
                <a:gd name="T70" fmla="*/ 219 w 252"/>
                <a:gd name="T71" fmla="*/ 79 h 81"/>
                <a:gd name="T72" fmla="*/ 227 w 252"/>
                <a:gd name="T73" fmla="*/ 80 h 81"/>
                <a:gd name="T74" fmla="*/ 230 w 252"/>
                <a:gd name="T75" fmla="*/ 80 h 81"/>
                <a:gd name="T76" fmla="*/ 241 w 252"/>
                <a:gd name="T77" fmla="*/ 76 h 81"/>
                <a:gd name="T78" fmla="*/ 245 w 252"/>
                <a:gd name="T79" fmla="*/ 76 h 81"/>
                <a:gd name="T80" fmla="*/ 251 w 252"/>
                <a:gd name="T81" fmla="*/ 73 h 81"/>
                <a:gd name="T82" fmla="*/ 227 w 252"/>
                <a:gd name="T83" fmla="*/ 60 h 81"/>
                <a:gd name="T84" fmla="*/ 213 w 252"/>
                <a:gd name="T85" fmla="*/ 50 h 81"/>
                <a:gd name="T86" fmla="*/ 208 w 252"/>
                <a:gd name="T87" fmla="*/ 50 h 81"/>
                <a:gd name="T88" fmla="*/ 194 w 252"/>
                <a:gd name="T89" fmla="*/ 45 h 81"/>
                <a:gd name="T90" fmla="*/ 182 w 252"/>
                <a:gd name="T91" fmla="*/ 37 h 81"/>
                <a:gd name="T92" fmla="*/ 176 w 252"/>
                <a:gd name="T93" fmla="*/ 34 h 81"/>
                <a:gd name="T94" fmla="*/ 163 w 252"/>
                <a:gd name="T95" fmla="*/ 29 h 81"/>
                <a:gd name="T96" fmla="*/ 136 w 252"/>
                <a:gd name="T97" fmla="*/ 18 h 81"/>
                <a:gd name="T98" fmla="*/ 110 w 252"/>
                <a:gd name="T99" fmla="*/ 7 h 81"/>
                <a:gd name="T100" fmla="*/ 100 w 252"/>
                <a:gd name="T101" fmla="*/ 2 h 81"/>
                <a:gd name="T102" fmla="*/ 93 w 252"/>
                <a:gd name="T103" fmla="*/ 3 h 81"/>
                <a:gd name="T104" fmla="*/ 86 w 252"/>
                <a:gd name="T105" fmla="*/ 2 h 81"/>
                <a:gd name="T106" fmla="*/ 82 w 252"/>
                <a:gd name="T107" fmla="*/ 2 h 81"/>
                <a:gd name="T108" fmla="*/ 67 w 252"/>
                <a:gd name="T10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2" h="81">
                  <a:moveTo>
                    <a:pt x="11" y="34"/>
                  </a:moveTo>
                  <a:cubicBezTo>
                    <a:pt x="11" y="34"/>
                    <a:pt x="11" y="34"/>
                    <a:pt x="11" y="34"/>
                  </a:cubicBezTo>
                  <a:cubicBezTo>
                    <a:pt x="11" y="34"/>
                    <a:pt x="11" y="34"/>
                    <a:pt x="11" y="34"/>
                  </a:cubicBezTo>
                  <a:cubicBezTo>
                    <a:pt x="11" y="34"/>
                    <a:pt x="11" y="34"/>
                    <a:pt x="11" y="34"/>
                  </a:cubicBezTo>
                  <a:moveTo>
                    <a:pt x="67" y="0"/>
                  </a:moveTo>
                  <a:cubicBezTo>
                    <a:pt x="61" y="2"/>
                    <a:pt x="54" y="3"/>
                    <a:pt x="47" y="5"/>
                  </a:cubicBezTo>
                  <a:cubicBezTo>
                    <a:pt x="41" y="6"/>
                    <a:pt x="35" y="8"/>
                    <a:pt x="28" y="10"/>
                  </a:cubicBezTo>
                  <a:cubicBezTo>
                    <a:pt x="24" y="11"/>
                    <a:pt x="18" y="15"/>
                    <a:pt x="15" y="19"/>
                  </a:cubicBezTo>
                  <a:cubicBezTo>
                    <a:pt x="13" y="22"/>
                    <a:pt x="15" y="25"/>
                    <a:pt x="16" y="28"/>
                  </a:cubicBezTo>
                  <a:cubicBezTo>
                    <a:pt x="15" y="29"/>
                    <a:pt x="14" y="29"/>
                    <a:pt x="13" y="29"/>
                  </a:cubicBezTo>
                  <a:cubicBezTo>
                    <a:pt x="13" y="29"/>
                    <a:pt x="13" y="29"/>
                    <a:pt x="12" y="29"/>
                  </a:cubicBezTo>
                  <a:cubicBezTo>
                    <a:pt x="12" y="29"/>
                    <a:pt x="11" y="29"/>
                    <a:pt x="11" y="29"/>
                  </a:cubicBezTo>
                  <a:cubicBezTo>
                    <a:pt x="10" y="29"/>
                    <a:pt x="9" y="29"/>
                    <a:pt x="8" y="29"/>
                  </a:cubicBezTo>
                  <a:cubicBezTo>
                    <a:pt x="7" y="29"/>
                    <a:pt x="6" y="30"/>
                    <a:pt x="5" y="31"/>
                  </a:cubicBezTo>
                  <a:cubicBezTo>
                    <a:pt x="3" y="31"/>
                    <a:pt x="0" y="31"/>
                    <a:pt x="2" y="33"/>
                  </a:cubicBezTo>
                  <a:cubicBezTo>
                    <a:pt x="3" y="33"/>
                    <a:pt x="4" y="33"/>
                    <a:pt x="5" y="33"/>
                  </a:cubicBezTo>
                  <a:cubicBezTo>
                    <a:pt x="6" y="33"/>
                    <a:pt x="6" y="33"/>
                    <a:pt x="7" y="33"/>
                  </a:cubicBezTo>
                  <a:cubicBezTo>
                    <a:pt x="8" y="33"/>
                    <a:pt x="8" y="33"/>
                    <a:pt x="9" y="33"/>
                  </a:cubicBezTo>
                  <a:cubicBezTo>
                    <a:pt x="9" y="33"/>
                    <a:pt x="9" y="33"/>
                    <a:pt x="9" y="33"/>
                  </a:cubicBezTo>
                  <a:cubicBezTo>
                    <a:pt x="9" y="33"/>
                    <a:pt x="11" y="34"/>
                    <a:pt x="11" y="34"/>
                  </a:cubicBezTo>
                  <a:cubicBezTo>
                    <a:pt x="11" y="34"/>
                    <a:pt x="11" y="34"/>
                    <a:pt x="11" y="34"/>
                  </a:cubicBezTo>
                  <a:cubicBezTo>
                    <a:pt x="13" y="34"/>
                    <a:pt x="17" y="32"/>
                    <a:pt x="19" y="31"/>
                  </a:cubicBezTo>
                  <a:cubicBezTo>
                    <a:pt x="21" y="31"/>
                    <a:pt x="22" y="31"/>
                    <a:pt x="22" y="30"/>
                  </a:cubicBezTo>
                  <a:cubicBezTo>
                    <a:pt x="24" y="28"/>
                    <a:pt x="23" y="25"/>
                    <a:pt x="26" y="25"/>
                  </a:cubicBezTo>
                  <a:cubicBezTo>
                    <a:pt x="28" y="24"/>
                    <a:pt x="30" y="23"/>
                    <a:pt x="32" y="23"/>
                  </a:cubicBezTo>
                  <a:cubicBezTo>
                    <a:pt x="32" y="23"/>
                    <a:pt x="32" y="23"/>
                    <a:pt x="32" y="23"/>
                  </a:cubicBezTo>
                  <a:cubicBezTo>
                    <a:pt x="34" y="23"/>
                    <a:pt x="35" y="24"/>
                    <a:pt x="36" y="24"/>
                  </a:cubicBezTo>
                  <a:cubicBezTo>
                    <a:pt x="36" y="24"/>
                    <a:pt x="37" y="23"/>
                    <a:pt x="39" y="22"/>
                  </a:cubicBezTo>
                  <a:cubicBezTo>
                    <a:pt x="41" y="19"/>
                    <a:pt x="44" y="17"/>
                    <a:pt x="47" y="16"/>
                  </a:cubicBezTo>
                  <a:cubicBezTo>
                    <a:pt x="49" y="15"/>
                    <a:pt x="52" y="12"/>
                    <a:pt x="54" y="12"/>
                  </a:cubicBezTo>
                  <a:cubicBezTo>
                    <a:pt x="54" y="12"/>
                    <a:pt x="54" y="12"/>
                    <a:pt x="54" y="12"/>
                  </a:cubicBezTo>
                  <a:cubicBezTo>
                    <a:pt x="58" y="12"/>
                    <a:pt x="61" y="12"/>
                    <a:pt x="64" y="12"/>
                  </a:cubicBezTo>
                  <a:cubicBezTo>
                    <a:pt x="65" y="12"/>
                    <a:pt x="65" y="12"/>
                    <a:pt x="65" y="12"/>
                  </a:cubicBezTo>
                  <a:cubicBezTo>
                    <a:pt x="65" y="12"/>
                    <a:pt x="66" y="12"/>
                    <a:pt x="67" y="12"/>
                  </a:cubicBezTo>
                  <a:cubicBezTo>
                    <a:pt x="68" y="12"/>
                    <a:pt x="68" y="12"/>
                    <a:pt x="69" y="12"/>
                  </a:cubicBezTo>
                  <a:cubicBezTo>
                    <a:pt x="71" y="12"/>
                    <a:pt x="72" y="12"/>
                    <a:pt x="73" y="12"/>
                  </a:cubicBezTo>
                  <a:cubicBezTo>
                    <a:pt x="76" y="14"/>
                    <a:pt x="79" y="16"/>
                    <a:pt x="75" y="18"/>
                  </a:cubicBezTo>
                  <a:cubicBezTo>
                    <a:pt x="74" y="18"/>
                    <a:pt x="74" y="18"/>
                    <a:pt x="73" y="18"/>
                  </a:cubicBezTo>
                  <a:cubicBezTo>
                    <a:pt x="73" y="18"/>
                    <a:pt x="73" y="18"/>
                    <a:pt x="73" y="18"/>
                  </a:cubicBezTo>
                  <a:cubicBezTo>
                    <a:pt x="73" y="18"/>
                    <a:pt x="72" y="18"/>
                    <a:pt x="72" y="18"/>
                  </a:cubicBezTo>
                  <a:cubicBezTo>
                    <a:pt x="72" y="18"/>
                    <a:pt x="72" y="18"/>
                    <a:pt x="72" y="18"/>
                  </a:cubicBezTo>
                  <a:cubicBezTo>
                    <a:pt x="72" y="18"/>
                    <a:pt x="71" y="18"/>
                    <a:pt x="71" y="18"/>
                  </a:cubicBezTo>
                  <a:cubicBezTo>
                    <a:pt x="71" y="18"/>
                    <a:pt x="71" y="18"/>
                    <a:pt x="70" y="18"/>
                  </a:cubicBezTo>
                  <a:cubicBezTo>
                    <a:pt x="70" y="18"/>
                    <a:pt x="69" y="18"/>
                    <a:pt x="69" y="18"/>
                  </a:cubicBezTo>
                  <a:cubicBezTo>
                    <a:pt x="67" y="18"/>
                    <a:pt x="66" y="18"/>
                    <a:pt x="66" y="19"/>
                  </a:cubicBezTo>
                  <a:cubicBezTo>
                    <a:pt x="66" y="21"/>
                    <a:pt x="72" y="24"/>
                    <a:pt x="74" y="24"/>
                  </a:cubicBezTo>
                  <a:cubicBezTo>
                    <a:pt x="74" y="24"/>
                    <a:pt x="75" y="24"/>
                    <a:pt x="76" y="24"/>
                  </a:cubicBezTo>
                  <a:cubicBezTo>
                    <a:pt x="80" y="24"/>
                    <a:pt x="87" y="23"/>
                    <a:pt x="88" y="22"/>
                  </a:cubicBezTo>
                  <a:cubicBezTo>
                    <a:pt x="90" y="25"/>
                    <a:pt x="89" y="27"/>
                    <a:pt x="93" y="27"/>
                  </a:cubicBezTo>
                  <a:cubicBezTo>
                    <a:pt x="94" y="27"/>
                    <a:pt x="94" y="27"/>
                    <a:pt x="95" y="27"/>
                  </a:cubicBezTo>
                  <a:cubicBezTo>
                    <a:pt x="95" y="27"/>
                    <a:pt x="96" y="27"/>
                    <a:pt x="97" y="27"/>
                  </a:cubicBezTo>
                  <a:cubicBezTo>
                    <a:pt x="97" y="27"/>
                    <a:pt x="98" y="27"/>
                    <a:pt x="98" y="27"/>
                  </a:cubicBezTo>
                  <a:cubicBezTo>
                    <a:pt x="101" y="27"/>
                    <a:pt x="103" y="27"/>
                    <a:pt x="105" y="28"/>
                  </a:cubicBezTo>
                  <a:cubicBezTo>
                    <a:pt x="109" y="29"/>
                    <a:pt x="111" y="32"/>
                    <a:pt x="114" y="33"/>
                  </a:cubicBezTo>
                  <a:cubicBezTo>
                    <a:pt x="121" y="36"/>
                    <a:pt x="127" y="37"/>
                    <a:pt x="135" y="38"/>
                  </a:cubicBezTo>
                  <a:cubicBezTo>
                    <a:pt x="138" y="38"/>
                    <a:pt x="141" y="39"/>
                    <a:pt x="145" y="39"/>
                  </a:cubicBezTo>
                  <a:cubicBezTo>
                    <a:pt x="148" y="40"/>
                    <a:pt x="149" y="43"/>
                    <a:pt x="150" y="46"/>
                  </a:cubicBezTo>
                  <a:cubicBezTo>
                    <a:pt x="151" y="48"/>
                    <a:pt x="150" y="50"/>
                    <a:pt x="151" y="52"/>
                  </a:cubicBezTo>
                  <a:cubicBezTo>
                    <a:pt x="151" y="53"/>
                    <a:pt x="153" y="54"/>
                    <a:pt x="154" y="55"/>
                  </a:cubicBezTo>
                  <a:cubicBezTo>
                    <a:pt x="160" y="59"/>
                    <a:pt x="167" y="60"/>
                    <a:pt x="174" y="61"/>
                  </a:cubicBezTo>
                  <a:cubicBezTo>
                    <a:pt x="174" y="61"/>
                    <a:pt x="174" y="61"/>
                    <a:pt x="174" y="61"/>
                  </a:cubicBezTo>
                  <a:cubicBezTo>
                    <a:pt x="175" y="61"/>
                    <a:pt x="175" y="60"/>
                    <a:pt x="176" y="60"/>
                  </a:cubicBezTo>
                  <a:cubicBezTo>
                    <a:pt x="176" y="60"/>
                    <a:pt x="177" y="60"/>
                    <a:pt x="177" y="60"/>
                  </a:cubicBezTo>
                  <a:cubicBezTo>
                    <a:pt x="177" y="60"/>
                    <a:pt x="177" y="60"/>
                    <a:pt x="177" y="60"/>
                  </a:cubicBezTo>
                  <a:cubicBezTo>
                    <a:pt x="178" y="60"/>
                    <a:pt x="180" y="63"/>
                    <a:pt x="181" y="63"/>
                  </a:cubicBezTo>
                  <a:cubicBezTo>
                    <a:pt x="184" y="66"/>
                    <a:pt x="183" y="67"/>
                    <a:pt x="180" y="70"/>
                  </a:cubicBezTo>
                  <a:cubicBezTo>
                    <a:pt x="178" y="72"/>
                    <a:pt x="174" y="74"/>
                    <a:pt x="171" y="77"/>
                  </a:cubicBezTo>
                  <a:cubicBezTo>
                    <a:pt x="170" y="78"/>
                    <a:pt x="169" y="79"/>
                    <a:pt x="168" y="80"/>
                  </a:cubicBezTo>
                  <a:cubicBezTo>
                    <a:pt x="171" y="81"/>
                    <a:pt x="173" y="81"/>
                    <a:pt x="176" y="81"/>
                  </a:cubicBezTo>
                  <a:cubicBezTo>
                    <a:pt x="185" y="81"/>
                    <a:pt x="194" y="79"/>
                    <a:pt x="201" y="79"/>
                  </a:cubicBezTo>
                  <a:cubicBezTo>
                    <a:pt x="204" y="78"/>
                    <a:pt x="206" y="78"/>
                    <a:pt x="208" y="78"/>
                  </a:cubicBezTo>
                  <a:cubicBezTo>
                    <a:pt x="212" y="78"/>
                    <a:pt x="215" y="79"/>
                    <a:pt x="219" y="79"/>
                  </a:cubicBezTo>
                  <a:cubicBezTo>
                    <a:pt x="220" y="79"/>
                    <a:pt x="222" y="80"/>
                    <a:pt x="224" y="80"/>
                  </a:cubicBezTo>
                  <a:cubicBezTo>
                    <a:pt x="225" y="80"/>
                    <a:pt x="226" y="80"/>
                    <a:pt x="227" y="80"/>
                  </a:cubicBezTo>
                  <a:cubicBezTo>
                    <a:pt x="227" y="80"/>
                    <a:pt x="228" y="78"/>
                    <a:pt x="229" y="78"/>
                  </a:cubicBezTo>
                  <a:cubicBezTo>
                    <a:pt x="229" y="78"/>
                    <a:pt x="230" y="78"/>
                    <a:pt x="230" y="80"/>
                  </a:cubicBezTo>
                  <a:cubicBezTo>
                    <a:pt x="233" y="78"/>
                    <a:pt x="236" y="76"/>
                    <a:pt x="239" y="76"/>
                  </a:cubicBezTo>
                  <a:cubicBezTo>
                    <a:pt x="240" y="76"/>
                    <a:pt x="240" y="76"/>
                    <a:pt x="241" y="76"/>
                  </a:cubicBezTo>
                  <a:cubicBezTo>
                    <a:pt x="242" y="76"/>
                    <a:pt x="242" y="76"/>
                    <a:pt x="243" y="76"/>
                  </a:cubicBezTo>
                  <a:cubicBezTo>
                    <a:pt x="244" y="76"/>
                    <a:pt x="244" y="76"/>
                    <a:pt x="245" y="76"/>
                  </a:cubicBezTo>
                  <a:cubicBezTo>
                    <a:pt x="246" y="76"/>
                    <a:pt x="247" y="76"/>
                    <a:pt x="248" y="75"/>
                  </a:cubicBezTo>
                  <a:cubicBezTo>
                    <a:pt x="248" y="75"/>
                    <a:pt x="252" y="73"/>
                    <a:pt x="251" y="73"/>
                  </a:cubicBezTo>
                  <a:cubicBezTo>
                    <a:pt x="248" y="68"/>
                    <a:pt x="241" y="65"/>
                    <a:pt x="236" y="62"/>
                  </a:cubicBezTo>
                  <a:cubicBezTo>
                    <a:pt x="233" y="61"/>
                    <a:pt x="231" y="60"/>
                    <a:pt x="227" y="60"/>
                  </a:cubicBezTo>
                  <a:cubicBezTo>
                    <a:pt x="222" y="59"/>
                    <a:pt x="221" y="60"/>
                    <a:pt x="220" y="56"/>
                  </a:cubicBezTo>
                  <a:cubicBezTo>
                    <a:pt x="218" y="52"/>
                    <a:pt x="217" y="50"/>
                    <a:pt x="213" y="50"/>
                  </a:cubicBezTo>
                  <a:cubicBezTo>
                    <a:pt x="212" y="50"/>
                    <a:pt x="212" y="50"/>
                    <a:pt x="211" y="50"/>
                  </a:cubicBezTo>
                  <a:cubicBezTo>
                    <a:pt x="210" y="50"/>
                    <a:pt x="209" y="50"/>
                    <a:pt x="208" y="50"/>
                  </a:cubicBezTo>
                  <a:cubicBezTo>
                    <a:pt x="206" y="50"/>
                    <a:pt x="205" y="50"/>
                    <a:pt x="202" y="47"/>
                  </a:cubicBezTo>
                  <a:cubicBezTo>
                    <a:pt x="200" y="46"/>
                    <a:pt x="196" y="46"/>
                    <a:pt x="194" y="45"/>
                  </a:cubicBezTo>
                  <a:cubicBezTo>
                    <a:pt x="191" y="44"/>
                    <a:pt x="188" y="43"/>
                    <a:pt x="186" y="41"/>
                  </a:cubicBezTo>
                  <a:cubicBezTo>
                    <a:pt x="185" y="40"/>
                    <a:pt x="183" y="38"/>
                    <a:pt x="182" y="37"/>
                  </a:cubicBezTo>
                  <a:cubicBezTo>
                    <a:pt x="181" y="36"/>
                    <a:pt x="179" y="35"/>
                    <a:pt x="178" y="35"/>
                  </a:cubicBezTo>
                  <a:cubicBezTo>
                    <a:pt x="177" y="34"/>
                    <a:pt x="176" y="34"/>
                    <a:pt x="176" y="34"/>
                  </a:cubicBezTo>
                  <a:cubicBezTo>
                    <a:pt x="175" y="34"/>
                    <a:pt x="176" y="35"/>
                    <a:pt x="176" y="37"/>
                  </a:cubicBezTo>
                  <a:cubicBezTo>
                    <a:pt x="171" y="34"/>
                    <a:pt x="167" y="33"/>
                    <a:pt x="163" y="29"/>
                  </a:cubicBezTo>
                  <a:cubicBezTo>
                    <a:pt x="159" y="26"/>
                    <a:pt x="155" y="24"/>
                    <a:pt x="150" y="23"/>
                  </a:cubicBezTo>
                  <a:cubicBezTo>
                    <a:pt x="146" y="21"/>
                    <a:pt x="141" y="19"/>
                    <a:pt x="136" y="18"/>
                  </a:cubicBezTo>
                  <a:cubicBezTo>
                    <a:pt x="129" y="17"/>
                    <a:pt x="128" y="16"/>
                    <a:pt x="124" y="11"/>
                  </a:cubicBezTo>
                  <a:cubicBezTo>
                    <a:pt x="122" y="7"/>
                    <a:pt x="113" y="8"/>
                    <a:pt x="110" y="7"/>
                  </a:cubicBezTo>
                  <a:cubicBezTo>
                    <a:pt x="107" y="6"/>
                    <a:pt x="105" y="4"/>
                    <a:pt x="103" y="3"/>
                  </a:cubicBezTo>
                  <a:cubicBezTo>
                    <a:pt x="102" y="3"/>
                    <a:pt x="101" y="2"/>
                    <a:pt x="100" y="2"/>
                  </a:cubicBezTo>
                  <a:cubicBezTo>
                    <a:pt x="99" y="2"/>
                    <a:pt x="97" y="3"/>
                    <a:pt x="96" y="3"/>
                  </a:cubicBezTo>
                  <a:cubicBezTo>
                    <a:pt x="95" y="3"/>
                    <a:pt x="94" y="3"/>
                    <a:pt x="93" y="3"/>
                  </a:cubicBezTo>
                  <a:cubicBezTo>
                    <a:pt x="91" y="3"/>
                    <a:pt x="90" y="3"/>
                    <a:pt x="88" y="2"/>
                  </a:cubicBezTo>
                  <a:cubicBezTo>
                    <a:pt x="87" y="2"/>
                    <a:pt x="87" y="2"/>
                    <a:pt x="86" y="2"/>
                  </a:cubicBezTo>
                  <a:cubicBezTo>
                    <a:pt x="85" y="2"/>
                    <a:pt x="85" y="2"/>
                    <a:pt x="84" y="2"/>
                  </a:cubicBezTo>
                  <a:cubicBezTo>
                    <a:pt x="84" y="2"/>
                    <a:pt x="83" y="2"/>
                    <a:pt x="82" y="2"/>
                  </a:cubicBezTo>
                  <a:cubicBezTo>
                    <a:pt x="82" y="2"/>
                    <a:pt x="82" y="2"/>
                    <a:pt x="82" y="2"/>
                  </a:cubicBezTo>
                  <a:cubicBezTo>
                    <a:pt x="77" y="2"/>
                    <a:pt x="72"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 name="Freeform 71">
              <a:extLst>
                <a:ext uri="{FF2B5EF4-FFF2-40B4-BE49-F238E27FC236}">
                  <a16:creationId xmlns:a16="http://schemas.microsoft.com/office/drawing/2014/main" id="{2B346753-CC76-44EE-A7C8-71AB356579EB}"/>
                </a:ext>
              </a:extLst>
            </p:cNvPr>
            <p:cNvSpPr>
              <a:spLocks/>
            </p:cNvSpPr>
            <p:nvPr/>
          </p:nvSpPr>
          <p:spPr bwMode="auto">
            <a:xfrm>
              <a:off x="7655408" y="210429"/>
              <a:ext cx="5649" cy="5649"/>
            </a:xfrm>
            <a:custGeom>
              <a:avLst/>
              <a:gdLst>
                <a:gd name="T0" fmla="*/ 0 w 2"/>
                <a:gd name="T1" fmla="*/ 0 h 2"/>
                <a:gd name="T2" fmla="*/ 2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1" y="2"/>
                    <a:pt x="2" y="2"/>
                  </a:cubicBezTo>
                  <a:cubicBezTo>
                    <a:pt x="2" y="2"/>
                    <a:pt x="2" y="2"/>
                    <a:pt x="2"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 name="Freeform 72">
              <a:extLst>
                <a:ext uri="{FF2B5EF4-FFF2-40B4-BE49-F238E27FC236}">
                  <a16:creationId xmlns:a16="http://schemas.microsoft.com/office/drawing/2014/main" id="{3024B3AF-6782-4EB8-BC62-CD07A8AD4E6D}"/>
                </a:ext>
              </a:extLst>
            </p:cNvPr>
            <p:cNvSpPr>
              <a:spLocks/>
            </p:cNvSpPr>
            <p:nvPr/>
          </p:nvSpPr>
          <p:spPr bwMode="auto">
            <a:xfrm>
              <a:off x="7648347" y="206192"/>
              <a:ext cx="2825" cy="423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 name="Freeform 73">
              <a:extLst>
                <a:ext uri="{FF2B5EF4-FFF2-40B4-BE49-F238E27FC236}">
                  <a16:creationId xmlns:a16="http://schemas.microsoft.com/office/drawing/2014/main" id="{5F0D5D1B-1E42-4B1E-8633-D5962BD37E73}"/>
                </a:ext>
              </a:extLst>
            </p:cNvPr>
            <p:cNvSpPr>
              <a:spLocks noEditPoints="1"/>
            </p:cNvSpPr>
            <p:nvPr/>
          </p:nvSpPr>
          <p:spPr bwMode="auto">
            <a:xfrm>
              <a:off x="7661057" y="216078"/>
              <a:ext cx="9886" cy="7061"/>
            </a:xfrm>
            <a:custGeom>
              <a:avLst/>
              <a:gdLst>
                <a:gd name="T0" fmla="*/ 2 w 3"/>
                <a:gd name="T1" fmla="*/ 1 h 2"/>
                <a:gd name="T2" fmla="*/ 3 w 3"/>
                <a:gd name="T3" fmla="*/ 2 h 2"/>
                <a:gd name="T4" fmla="*/ 2 w 3"/>
                <a:gd name="T5" fmla="*/ 1 h 2"/>
                <a:gd name="T6" fmla="*/ 0 w 3"/>
                <a:gd name="T7" fmla="*/ 0 h 2"/>
                <a:gd name="T8" fmla="*/ 2 w 3"/>
                <a:gd name="T9" fmla="*/ 1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2" y="1"/>
                  </a:moveTo>
                  <a:cubicBezTo>
                    <a:pt x="2" y="2"/>
                    <a:pt x="3" y="2"/>
                    <a:pt x="3" y="2"/>
                  </a:cubicBezTo>
                  <a:cubicBezTo>
                    <a:pt x="3" y="2"/>
                    <a:pt x="2" y="2"/>
                    <a:pt x="2" y="1"/>
                  </a:cubicBezTo>
                  <a:moveTo>
                    <a:pt x="0" y="0"/>
                  </a:moveTo>
                  <a:cubicBezTo>
                    <a:pt x="1" y="0"/>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 name="Freeform 74">
              <a:extLst>
                <a:ext uri="{FF2B5EF4-FFF2-40B4-BE49-F238E27FC236}">
                  <a16:creationId xmlns:a16="http://schemas.microsoft.com/office/drawing/2014/main" id="{E16EAB08-9C1A-4095-8E9F-64EE046CE45E}"/>
                </a:ext>
              </a:extLst>
            </p:cNvPr>
            <p:cNvSpPr>
              <a:spLocks/>
            </p:cNvSpPr>
            <p:nvPr/>
          </p:nvSpPr>
          <p:spPr bwMode="auto">
            <a:xfrm>
              <a:off x="7754267" y="249972"/>
              <a:ext cx="48017" cy="29658"/>
            </a:xfrm>
            <a:custGeom>
              <a:avLst/>
              <a:gdLst>
                <a:gd name="T0" fmla="*/ 6 w 14"/>
                <a:gd name="T1" fmla="*/ 0 h 9"/>
                <a:gd name="T2" fmla="*/ 12 w 14"/>
                <a:gd name="T3" fmla="*/ 9 h 9"/>
                <a:gd name="T4" fmla="*/ 14 w 14"/>
                <a:gd name="T5" fmla="*/ 6 h 9"/>
                <a:gd name="T6" fmla="*/ 11 w 14"/>
                <a:gd name="T7" fmla="*/ 4 h 9"/>
                <a:gd name="T8" fmla="*/ 10 w 14"/>
                <a:gd name="T9" fmla="*/ 6 h 9"/>
                <a:gd name="T10" fmla="*/ 9 w 14"/>
                <a:gd name="T11" fmla="*/ 4 h 9"/>
                <a:gd name="T12" fmla="*/ 9 w 14"/>
                <a:gd name="T13" fmla="*/ 4 h 9"/>
                <a:gd name="T14" fmla="*/ 8 w 14"/>
                <a:gd name="T15" fmla="*/ 1 h 9"/>
                <a:gd name="T16" fmla="*/ 7 w 14"/>
                <a:gd name="T17" fmla="*/ 2 h 9"/>
                <a:gd name="T18" fmla="*/ 7 w 14"/>
                <a:gd name="T19" fmla="*/ 1 h 9"/>
                <a:gd name="T20" fmla="*/ 6 w 14"/>
                <a:gd name="T21" fmla="*/ 1 h 9"/>
                <a:gd name="T22" fmla="*/ 6 w 14"/>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9">
                  <a:moveTo>
                    <a:pt x="6" y="0"/>
                  </a:moveTo>
                  <a:cubicBezTo>
                    <a:pt x="0" y="2"/>
                    <a:pt x="11" y="8"/>
                    <a:pt x="12" y="9"/>
                  </a:cubicBezTo>
                  <a:cubicBezTo>
                    <a:pt x="13" y="8"/>
                    <a:pt x="13" y="7"/>
                    <a:pt x="14" y="6"/>
                  </a:cubicBezTo>
                  <a:cubicBezTo>
                    <a:pt x="13" y="5"/>
                    <a:pt x="12" y="5"/>
                    <a:pt x="11" y="4"/>
                  </a:cubicBezTo>
                  <a:cubicBezTo>
                    <a:pt x="11" y="5"/>
                    <a:pt x="10" y="5"/>
                    <a:pt x="10" y="6"/>
                  </a:cubicBezTo>
                  <a:cubicBezTo>
                    <a:pt x="10" y="5"/>
                    <a:pt x="10" y="4"/>
                    <a:pt x="9" y="4"/>
                  </a:cubicBezTo>
                  <a:cubicBezTo>
                    <a:pt x="9" y="4"/>
                    <a:pt x="9" y="4"/>
                    <a:pt x="9" y="4"/>
                  </a:cubicBezTo>
                  <a:cubicBezTo>
                    <a:pt x="10" y="2"/>
                    <a:pt x="8" y="3"/>
                    <a:pt x="8" y="1"/>
                  </a:cubicBezTo>
                  <a:cubicBezTo>
                    <a:pt x="7" y="2"/>
                    <a:pt x="7" y="2"/>
                    <a:pt x="7" y="2"/>
                  </a:cubicBezTo>
                  <a:cubicBezTo>
                    <a:pt x="7" y="1"/>
                    <a:pt x="7" y="1"/>
                    <a:pt x="7" y="1"/>
                  </a:cubicBezTo>
                  <a:cubicBezTo>
                    <a:pt x="6" y="1"/>
                    <a:pt x="6" y="1"/>
                    <a:pt x="6" y="1"/>
                  </a:cubicBezTo>
                  <a:cubicBezTo>
                    <a:pt x="6" y="1"/>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 name="Freeform 75">
              <a:extLst>
                <a:ext uri="{FF2B5EF4-FFF2-40B4-BE49-F238E27FC236}">
                  <a16:creationId xmlns:a16="http://schemas.microsoft.com/office/drawing/2014/main" id="{A8CC88ED-1A80-481A-9182-7A91712A6170}"/>
                </a:ext>
              </a:extLst>
            </p:cNvPr>
            <p:cNvSpPr>
              <a:spLocks/>
            </p:cNvSpPr>
            <p:nvPr/>
          </p:nvSpPr>
          <p:spPr bwMode="auto">
            <a:xfrm>
              <a:off x="7734495" y="384138"/>
              <a:ext cx="14123" cy="5649"/>
            </a:xfrm>
            <a:custGeom>
              <a:avLst/>
              <a:gdLst>
                <a:gd name="T0" fmla="*/ 1 w 4"/>
                <a:gd name="T1" fmla="*/ 0 h 2"/>
                <a:gd name="T2" fmla="*/ 0 w 4"/>
                <a:gd name="T3" fmla="*/ 0 h 2"/>
                <a:gd name="T4" fmla="*/ 4 w 4"/>
                <a:gd name="T5" fmla="*/ 2 h 2"/>
                <a:gd name="T6" fmla="*/ 1 w 4"/>
                <a:gd name="T7" fmla="*/ 0 h 2"/>
              </a:gdLst>
              <a:ahLst/>
              <a:cxnLst>
                <a:cxn ang="0">
                  <a:pos x="T0" y="T1"/>
                </a:cxn>
                <a:cxn ang="0">
                  <a:pos x="T2" y="T3"/>
                </a:cxn>
                <a:cxn ang="0">
                  <a:pos x="T4" y="T5"/>
                </a:cxn>
                <a:cxn ang="0">
                  <a:pos x="T6" y="T7"/>
                </a:cxn>
              </a:cxnLst>
              <a:rect l="0" t="0" r="r" b="b"/>
              <a:pathLst>
                <a:path w="4" h="2">
                  <a:moveTo>
                    <a:pt x="1" y="0"/>
                  </a:moveTo>
                  <a:cubicBezTo>
                    <a:pt x="0" y="0"/>
                    <a:pt x="0" y="0"/>
                    <a:pt x="0" y="0"/>
                  </a:cubicBezTo>
                  <a:cubicBezTo>
                    <a:pt x="1" y="1"/>
                    <a:pt x="2" y="1"/>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 name="Freeform 76">
              <a:extLst>
                <a:ext uri="{FF2B5EF4-FFF2-40B4-BE49-F238E27FC236}">
                  <a16:creationId xmlns:a16="http://schemas.microsoft.com/office/drawing/2014/main" id="{8C2647DC-8983-4408-ABE2-AC12BB1A8729}"/>
                </a:ext>
              </a:extLst>
            </p:cNvPr>
            <p:cNvSpPr>
              <a:spLocks/>
            </p:cNvSpPr>
            <p:nvPr/>
          </p:nvSpPr>
          <p:spPr bwMode="auto">
            <a:xfrm>
              <a:off x="7374366" y="276806"/>
              <a:ext cx="50842" cy="39544"/>
            </a:xfrm>
            <a:custGeom>
              <a:avLst/>
              <a:gdLst>
                <a:gd name="T0" fmla="*/ 5 w 15"/>
                <a:gd name="T1" fmla="*/ 0 h 12"/>
                <a:gd name="T2" fmla="*/ 2 w 15"/>
                <a:gd name="T3" fmla="*/ 10 h 12"/>
                <a:gd name="T4" fmla="*/ 7 w 15"/>
                <a:gd name="T5" fmla="*/ 12 h 12"/>
                <a:gd name="T6" fmla="*/ 11 w 15"/>
                <a:gd name="T7" fmla="*/ 11 h 12"/>
                <a:gd name="T8" fmla="*/ 14 w 15"/>
                <a:gd name="T9" fmla="*/ 9 h 12"/>
                <a:gd name="T10" fmla="*/ 10 w 15"/>
                <a:gd name="T11" fmla="*/ 3 h 12"/>
                <a:gd name="T12" fmla="*/ 6 w 15"/>
                <a:gd name="T13" fmla="*/ 0 h 12"/>
                <a:gd name="T14" fmla="*/ 5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5" y="0"/>
                  </a:moveTo>
                  <a:cubicBezTo>
                    <a:pt x="0" y="0"/>
                    <a:pt x="2" y="6"/>
                    <a:pt x="2" y="10"/>
                  </a:cubicBezTo>
                  <a:cubicBezTo>
                    <a:pt x="4" y="11"/>
                    <a:pt x="5" y="12"/>
                    <a:pt x="7" y="12"/>
                  </a:cubicBezTo>
                  <a:cubicBezTo>
                    <a:pt x="8" y="12"/>
                    <a:pt x="9" y="11"/>
                    <a:pt x="11" y="11"/>
                  </a:cubicBezTo>
                  <a:cubicBezTo>
                    <a:pt x="12" y="10"/>
                    <a:pt x="13" y="10"/>
                    <a:pt x="14" y="9"/>
                  </a:cubicBezTo>
                  <a:cubicBezTo>
                    <a:pt x="15" y="7"/>
                    <a:pt x="12" y="4"/>
                    <a:pt x="10" y="3"/>
                  </a:cubicBezTo>
                  <a:cubicBezTo>
                    <a:pt x="12" y="1"/>
                    <a:pt x="8"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 name="Freeform 77">
              <a:extLst>
                <a:ext uri="{FF2B5EF4-FFF2-40B4-BE49-F238E27FC236}">
                  <a16:creationId xmlns:a16="http://schemas.microsoft.com/office/drawing/2014/main" id="{D9A713DA-0AF3-4B51-9362-B6C7667DD212}"/>
                </a:ext>
              </a:extLst>
            </p:cNvPr>
            <p:cNvSpPr>
              <a:spLocks/>
            </p:cNvSpPr>
            <p:nvPr/>
          </p:nvSpPr>
          <p:spPr bwMode="auto">
            <a:xfrm>
              <a:off x="7678004" y="353068"/>
              <a:ext cx="9886" cy="7061"/>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0"/>
                    <a:pt x="2" y="1"/>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 name="Freeform 78">
              <a:extLst>
                <a:ext uri="{FF2B5EF4-FFF2-40B4-BE49-F238E27FC236}">
                  <a16:creationId xmlns:a16="http://schemas.microsoft.com/office/drawing/2014/main" id="{10626189-BCEE-4FC7-B572-1EEA4AF05F38}"/>
                </a:ext>
              </a:extLst>
            </p:cNvPr>
            <p:cNvSpPr>
              <a:spLocks/>
            </p:cNvSpPr>
            <p:nvPr/>
          </p:nvSpPr>
          <p:spPr bwMode="auto">
            <a:xfrm>
              <a:off x="7748618" y="237262"/>
              <a:ext cx="22596" cy="12710"/>
            </a:xfrm>
            <a:custGeom>
              <a:avLst/>
              <a:gdLst>
                <a:gd name="T0" fmla="*/ 2 w 7"/>
                <a:gd name="T1" fmla="*/ 0 h 4"/>
                <a:gd name="T2" fmla="*/ 0 w 7"/>
                <a:gd name="T3" fmla="*/ 0 h 4"/>
                <a:gd name="T4" fmla="*/ 7 w 7"/>
                <a:gd name="T5" fmla="*/ 4 h 4"/>
                <a:gd name="T6" fmla="*/ 2 w 7"/>
                <a:gd name="T7" fmla="*/ 0 h 4"/>
              </a:gdLst>
              <a:ahLst/>
              <a:cxnLst>
                <a:cxn ang="0">
                  <a:pos x="T0" y="T1"/>
                </a:cxn>
                <a:cxn ang="0">
                  <a:pos x="T2" y="T3"/>
                </a:cxn>
                <a:cxn ang="0">
                  <a:pos x="T4" y="T5"/>
                </a:cxn>
                <a:cxn ang="0">
                  <a:pos x="T6" y="T7"/>
                </a:cxn>
              </a:cxnLst>
              <a:rect l="0" t="0" r="r" b="b"/>
              <a:pathLst>
                <a:path w="7" h="4">
                  <a:moveTo>
                    <a:pt x="2" y="0"/>
                  </a:moveTo>
                  <a:cubicBezTo>
                    <a:pt x="1" y="0"/>
                    <a:pt x="1" y="0"/>
                    <a:pt x="0" y="0"/>
                  </a:cubicBezTo>
                  <a:cubicBezTo>
                    <a:pt x="2" y="2"/>
                    <a:pt x="5" y="3"/>
                    <a:pt x="7" y="4"/>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 name="Freeform 79">
              <a:extLst>
                <a:ext uri="{FF2B5EF4-FFF2-40B4-BE49-F238E27FC236}">
                  <a16:creationId xmlns:a16="http://schemas.microsoft.com/office/drawing/2014/main" id="{C73039D6-3B22-42D9-9515-FD26776B3D4D}"/>
                </a:ext>
              </a:extLst>
            </p:cNvPr>
            <p:cNvSpPr>
              <a:spLocks/>
            </p:cNvSpPr>
            <p:nvPr/>
          </p:nvSpPr>
          <p:spPr bwMode="auto">
            <a:xfrm>
              <a:off x="8011300" y="132754"/>
              <a:ext cx="11298" cy="4237"/>
            </a:xfrm>
            <a:custGeom>
              <a:avLst/>
              <a:gdLst>
                <a:gd name="T0" fmla="*/ 2 w 3"/>
                <a:gd name="T1" fmla="*/ 0 h 1"/>
                <a:gd name="T2" fmla="*/ 0 w 3"/>
                <a:gd name="T3" fmla="*/ 1 h 1"/>
                <a:gd name="T4" fmla="*/ 3 w 3"/>
                <a:gd name="T5" fmla="*/ 0 h 1"/>
                <a:gd name="T6" fmla="*/ 2 w 3"/>
                <a:gd name="T7" fmla="*/ 0 h 1"/>
              </a:gdLst>
              <a:ahLst/>
              <a:cxnLst>
                <a:cxn ang="0">
                  <a:pos x="T0" y="T1"/>
                </a:cxn>
                <a:cxn ang="0">
                  <a:pos x="T2" y="T3"/>
                </a:cxn>
                <a:cxn ang="0">
                  <a:pos x="T4" y="T5"/>
                </a:cxn>
                <a:cxn ang="0">
                  <a:pos x="T6" y="T7"/>
                </a:cxn>
              </a:cxnLst>
              <a:rect l="0" t="0" r="r" b="b"/>
              <a:pathLst>
                <a:path w="3" h="1">
                  <a:moveTo>
                    <a:pt x="2" y="0"/>
                  </a:moveTo>
                  <a:cubicBezTo>
                    <a:pt x="2" y="0"/>
                    <a:pt x="1" y="0"/>
                    <a:pt x="0" y="1"/>
                  </a:cubicBezTo>
                  <a:cubicBezTo>
                    <a:pt x="1" y="1"/>
                    <a:pt x="2" y="0"/>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 name="Freeform 80">
              <a:extLst>
                <a:ext uri="{FF2B5EF4-FFF2-40B4-BE49-F238E27FC236}">
                  <a16:creationId xmlns:a16="http://schemas.microsoft.com/office/drawing/2014/main" id="{B890AAB9-5E93-401E-80C7-77634EC35EC3}"/>
                </a:ext>
              </a:extLst>
            </p:cNvPr>
            <p:cNvSpPr>
              <a:spLocks noEditPoints="1"/>
            </p:cNvSpPr>
            <p:nvPr/>
          </p:nvSpPr>
          <p:spPr bwMode="auto">
            <a:xfrm>
              <a:off x="7932213" y="142640"/>
              <a:ext cx="22596" cy="14123"/>
            </a:xfrm>
            <a:custGeom>
              <a:avLst/>
              <a:gdLst>
                <a:gd name="T0" fmla="*/ 0 w 7"/>
                <a:gd name="T1" fmla="*/ 0 h 4"/>
                <a:gd name="T2" fmla="*/ 3 w 7"/>
                <a:gd name="T3" fmla="*/ 3 h 4"/>
                <a:gd name="T4" fmla="*/ 7 w 7"/>
                <a:gd name="T5" fmla="*/ 4 h 4"/>
                <a:gd name="T6" fmla="*/ 0 w 7"/>
                <a:gd name="T7" fmla="*/ 0 h 4"/>
                <a:gd name="T8" fmla="*/ 0 w 7"/>
                <a:gd name="T9" fmla="*/ 0 h 4"/>
                <a:gd name="T10" fmla="*/ 0 w 7"/>
                <a:gd name="T11" fmla="*/ 0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cubicBezTo>
                    <a:pt x="2" y="1"/>
                    <a:pt x="2" y="2"/>
                    <a:pt x="3" y="3"/>
                  </a:cubicBezTo>
                  <a:cubicBezTo>
                    <a:pt x="4" y="3"/>
                    <a:pt x="5" y="3"/>
                    <a:pt x="7" y="4"/>
                  </a:cubicBezTo>
                  <a:cubicBezTo>
                    <a:pt x="5" y="2"/>
                    <a:pt x="2"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 name="Freeform 81">
              <a:extLst>
                <a:ext uri="{FF2B5EF4-FFF2-40B4-BE49-F238E27FC236}">
                  <a16:creationId xmlns:a16="http://schemas.microsoft.com/office/drawing/2014/main" id="{7D59261D-5A91-41A5-AD0A-790932BFF436}"/>
                </a:ext>
              </a:extLst>
            </p:cNvPr>
            <p:cNvSpPr>
              <a:spLocks/>
            </p:cNvSpPr>
            <p:nvPr/>
          </p:nvSpPr>
          <p:spPr bwMode="auto">
            <a:xfrm>
              <a:off x="7981642" y="163824"/>
              <a:ext cx="29658" cy="25421"/>
            </a:xfrm>
            <a:custGeom>
              <a:avLst/>
              <a:gdLst>
                <a:gd name="T0" fmla="*/ 4 w 9"/>
                <a:gd name="T1" fmla="*/ 0 h 8"/>
                <a:gd name="T2" fmla="*/ 3 w 9"/>
                <a:gd name="T3" fmla="*/ 5 h 8"/>
                <a:gd name="T4" fmla="*/ 9 w 9"/>
                <a:gd name="T5" fmla="*/ 8 h 8"/>
                <a:gd name="T6" fmla="*/ 4 w 9"/>
                <a:gd name="T7" fmla="*/ 0 h 8"/>
              </a:gdLst>
              <a:ahLst/>
              <a:cxnLst>
                <a:cxn ang="0">
                  <a:pos x="T0" y="T1"/>
                </a:cxn>
                <a:cxn ang="0">
                  <a:pos x="T2" y="T3"/>
                </a:cxn>
                <a:cxn ang="0">
                  <a:pos x="T4" y="T5"/>
                </a:cxn>
                <a:cxn ang="0">
                  <a:pos x="T6" y="T7"/>
                </a:cxn>
              </a:cxnLst>
              <a:rect l="0" t="0" r="r" b="b"/>
              <a:pathLst>
                <a:path w="9" h="8">
                  <a:moveTo>
                    <a:pt x="4" y="0"/>
                  </a:moveTo>
                  <a:cubicBezTo>
                    <a:pt x="5" y="3"/>
                    <a:pt x="0" y="3"/>
                    <a:pt x="3" y="5"/>
                  </a:cubicBezTo>
                  <a:cubicBezTo>
                    <a:pt x="5" y="7"/>
                    <a:pt x="7" y="6"/>
                    <a:pt x="9" y="8"/>
                  </a:cubicBezTo>
                  <a:cubicBezTo>
                    <a:pt x="7" y="6"/>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 name="Freeform 82">
              <a:extLst>
                <a:ext uri="{FF2B5EF4-FFF2-40B4-BE49-F238E27FC236}">
                  <a16:creationId xmlns:a16="http://schemas.microsoft.com/office/drawing/2014/main" id="{32A3CAF8-1571-4BC3-94D0-CB12971D1A62}"/>
                </a:ext>
              </a:extLst>
            </p:cNvPr>
            <p:cNvSpPr>
              <a:spLocks noEditPoints="1"/>
            </p:cNvSpPr>
            <p:nvPr/>
          </p:nvSpPr>
          <p:spPr bwMode="auto">
            <a:xfrm>
              <a:off x="7778275" y="86149"/>
              <a:ext cx="29658" cy="46605"/>
            </a:xfrm>
            <a:custGeom>
              <a:avLst/>
              <a:gdLst>
                <a:gd name="T0" fmla="*/ 0 w 9"/>
                <a:gd name="T1" fmla="*/ 5 h 14"/>
                <a:gd name="T2" fmla="*/ 0 w 9"/>
                <a:gd name="T3" fmla="*/ 5 h 14"/>
                <a:gd name="T4" fmla="*/ 0 w 9"/>
                <a:gd name="T5" fmla="*/ 5 h 14"/>
                <a:gd name="T6" fmla="*/ 4 w 9"/>
                <a:gd name="T7" fmla="*/ 0 h 14"/>
                <a:gd name="T8" fmla="*/ 0 w 9"/>
                <a:gd name="T9" fmla="*/ 5 h 14"/>
                <a:gd name="T10" fmla="*/ 0 w 9"/>
                <a:gd name="T11" fmla="*/ 5 h 14"/>
                <a:gd name="T12" fmla="*/ 1 w 9"/>
                <a:gd name="T13" fmla="*/ 6 h 14"/>
                <a:gd name="T14" fmla="*/ 3 w 9"/>
                <a:gd name="T15" fmla="*/ 7 h 14"/>
                <a:gd name="T16" fmla="*/ 3 w 9"/>
                <a:gd name="T17" fmla="*/ 7 h 14"/>
                <a:gd name="T18" fmla="*/ 4 w 9"/>
                <a:gd name="T19" fmla="*/ 11 h 14"/>
                <a:gd name="T20" fmla="*/ 6 w 9"/>
                <a:gd name="T21" fmla="*/ 14 h 14"/>
                <a:gd name="T22" fmla="*/ 8 w 9"/>
                <a:gd name="T23" fmla="*/ 12 h 14"/>
                <a:gd name="T24" fmla="*/ 9 w 9"/>
                <a:gd name="T25" fmla="*/ 12 h 14"/>
                <a:gd name="T26" fmla="*/ 7 w 9"/>
                <a:gd name="T27" fmla="*/ 2 h 14"/>
                <a:gd name="T28" fmla="*/ 7 w 9"/>
                <a:gd name="T29" fmla="*/ 2 h 14"/>
                <a:gd name="T30" fmla="*/ 6 w 9"/>
                <a:gd name="T31" fmla="*/ 2 h 14"/>
                <a:gd name="T32" fmla="*/ 4 w 9"/>
                <a:gd name="T33" fmla="*/ 3 h 14"/>
                <a:gd name="T34" fmla="*/ 4 w 9"/>
                <a:gd name="T35" fmla="*/ 3 h 14"/>
                <a:gd name="T36" fmla="*/ 4 w 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4">
                  <a:moveTo>
                    <a:pt x="0" y="5"/>
                  </a:moveTo>
                  <a:cubicBezTo>
                    <a:pt x="0" y="5"/>
                    <a:pt x="0" y="5"/>
                    <a:pt x="0" y="5"/>
                  </a:cubicBezTo>
                  <a:cubicBezTo>
                    <a:pt x="0" y="5"/>
                    <a:pt x="0" y="5"/>
                    <a:pt x="0" y="5"/>
                  </a:cubicBezTo>
                  <a:moveTo>
                    <a:pt x="4" y="0"/>
                  </a:moveTo>
                  <a:cubicBezTo>
                    <a:pt x="3" y="0"/>
                    <a:pt x="0" y="3"/>
                    <a:pt x="0" y="5"/>
                  </a:cubicBezTo>
                  <a:cubicBezTo>
                    <a:pt x="0" y="5"/>
                    <a:pt x="0" y="5"/>
                    <a:pt x="0" y="5"/>
                  </a:cubicBezTo>
                  <a:cubicBezTo>
                    <a:pt x="0" y="5"/>
                    <a:pt x="1" y="5"/>
                    <a:pt x="1" y="6"/>
                  </a:cubicBezTo>
                  <a:cubicBezTo>
                    <a:pt x="2" y="7"/>
                    <a:pt x="3" y="7"/>
                    <a:pt x="3" y="7"/>
                  </a:cubicBezTo>
                  <a:cubicBezTo>
                    <a:pt x="3" y="7"/>
                    <a:pt x="3" y="7"/>
                    <a:pt x="3" y="7"/>
                  </a:cubicBezTo>
                  <a:cubicBezTo>
                    <a:pt x="2" y="9"/>
                    <a:pt x="2" y="11"/>
                    <a:pt x="4" y="11"/>
                  </a:cubicBezTo>
                  <a:cubicBezTo>
                    <a:pt x="3" y="14"/>
                    <a:pt x="5" y="13"/>
                    <a:pt x="6" y="14"/>
                  </a:cubicBezTo>
                  <a:cubicBezTo>
                    <a:pt x="6" y="13"/>
                    <a:pt x="7" y="12"/>
                    <a:pt x="8" y="12"/>
                  </a:cubicBezTo>
                  <a:cubicBezTo>
                    <a:pt x="8" y="12"/>
                    <a:pt x="9" y="12"/>
                    <a:pt x="9" y="12"/>
                  </a:cubicBezTo>
                  <a:cubicBezTo>
                    <a:pt x="9" y="11"/>
                    <a:pt x="9" y="2"/>
                    <a:pt x="7" y="2"/>
                  </a:cubicBezTo>
                  <a:cubicBezTo>
                    <a:pt x="7" y="2"/>
                    <a:pt x="7" y="2"/>
                    <a:pt x="7" y="2"/>
                  </a:cubicBezTo>
                  <a:cubicBezTo>
                    <a:pt x="7" y="2"/>
                    <a:pt x="7" y="2"/>
                    <a:pt x="6" y="2"/>
                  </a:cubicBezTo>
                  <a:cubicBezTo>
                    <a:pt x="6" y="3"/>
                    <a:pt x="5" y="3"/>
                    <a:pt x="4" y="3"/>
                  </a:cubicBezTo>
                  <a:cubicBezTo>
                    <a:pt x="4" y="3"/>
                    <a:pt x="4" y="3"/>
                    <a:pt x="4" y="3"/>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 name="Freeform 83">
              <a:extLst>
                <a:ext uri="{FF2B5EF4-FFF2-40B4-BE49-F238E27FC236}">
                  <a16:creationId xmlns:a16="http://schemas.microsoft.com/office/drawing/2014/main" id="{EE6FCC6D-7587-400D-8C88-BA3356DF3639}"/>
                </a:ext>
              </a:extLst>
            </p:cNvPr>
            <p:cNvSpPr>
              <a:spLocks/>
            </p:cNvSpPr>
            <p:nvPr/>
          </p:nvSpPr>
          <p:spPr bwMode="auto">
            <a:xfrm>
              <a:off x="8069203" y="210429"/>
              <a:ext cx="5649" cy="2825"/>
            </a:xfrm>
            <a:custGeom>
              <a:avLst/>
              <a:gdLst>
                <a:gd name="T0" fmla="*/ 0 w 2"/>
                <a:gd name="T1" fmla="*/ 0 h 1"/>
                <a:gd name="T2" fmla="*/ 1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1" y="1"/>
                  </a:cubicBezTo>
                  <a:cubicBezTo>
                    <a:pt x="2" y="1"/>
                    <a:pt x="2" y="1"/>
                    <a:pt x="2"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 name="Freeform 84">
              <a:extLst>
                <a:ext uri="{FF2B5EF4-FFF2-40B4-BE49-F238E27FC236}">
                  <a16:creationId xmlns:a16="http://schemas.microsoft.com/office/drawing/2014/main" id="{25C67D29-D6C7-4F03-BACE-71E5F41E3E59}"/>
                </a:ext>
              </a:extLst>
            </p:cNvPr>
            <p:cNvSpPr>
              <a:spLocks/>
            </p:cNvSpPr>
            <p:nvPr/>
          </p:nvSpPr>
          <p:spPr bwMode="auto">
            <a:xfrm>
              <a:off x="8074852" y="213253"/>
              <a:ext cx="4237" cy="0"/>
            </a:xfrm>
            <a:custGeom>
              <a:avLst/>
              <a:gdLst>
                <a:gd name="T0" fmla="*/ 0 w 1"/>
                <a:gd name="T1" fmla="*/ 0 w 1"/>
                <a:gd name="T2" fmla="*/ 0 w 1"/>
                <a:gd name="T3" fmla="*/ 0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0" y="0"/>
                    <a:pt x="0" y="0"/>
                    <a:pt x="0" y="0"/>
                  </a:cubicBezTo>
                  <a:cubicBezTo>
                    <a:pt x="0" y="0"/>
                    <a:pt x="1" y="0"/>
                    <a:pt x="1" y="0"/>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 name="Freeform 85">
              <a:extLst>
                <a:ext uri="{FF2B5EF4-FFF2-40B4-BE49-F238E27FC236}">
                  <a16:creationId xmlns:a16="http://schemas.microsoft.com/office/drawing/2014/main" id="{32F1FA93-809D-4BC7-B5B8-8F76F8752DA8}"/>
                </a:ext>
              </a:extLst>
            </p:cNvPr>
            <p:cNvSpPr>
              <a:spLocks/>
            </p:cNvSpPr>
            <p:nvPr/>
          </p:nvSpPr>
          <p:spPr bwMode="auto">
            <a:xfrm>
              <a:off x="8059317" y="210429"/>
              <a:ext cx="9886" cy="0"/>
            </a:xfrm>
            <a:custGeom>
              <a:avLst/>
              <a:gdLst>
                <a:gd name="T0" fmla="*/ 1 w 3"/>
                <a:gd name="T1" fmla="*/ 0 w 3"/>
                <a:gd name="T2" fmla="*/ 3 w 3"/>
                <a:gd name="T3" fmla="*/ 1 w 3"/>
              </a:gdLst>
              <a:ahLst/>
              <a:cxnLst>
                <a:cxn ang="0">
                  <a:pos x="T0" y="0"/>
                </a:cxn>
                <a:cxn ang="0">
                  <a:pos x="T1" y="0"/>
                </a:cxn>
                <a:cxn ang="0">
                  <a:pos x="T2" y="0"/>
                </a:cxn>
                <a:cxn ang="0">
                  <a:pos x="T3" y="0"/>
                </a:cxn>
              </a:cxnLst>
              <a:rect l="0" t="0" r="r" b="b"/>
              <a:pathLst>
                <a:path w="3">
                  <a:moveTo>
                    <a:pt x="1" y="0"/>
                  </a:moveTo>
                  <a:cubicBezTo>
                    <a:pt x="1" y="0"/>
                    <a:pt x="0" y="0"/>
                    <a:pt x="0" y="0"/>
                  </a:cubicBezTo>
                  <a:cubicBezTo>
                    <a:pt x="1" y="0"/>
                    <a:pt x="2" y="0"/>
                    <a:pt x="3"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 name="Freeform 86">
              <a:extLst>
                <a:ext uri="{FF2B5EF4-FFF2-40B4-BE49-F238E27FC236}">
                  <a16:creationId xmlns:a16="http://schemas.microsoft.com/office/drawing/2014/main" id="{BD3C7C26-D873-4821-BB3E-FAFA72F26EB8}"/>
                </a:ext>
              </a:extLst>
            </p:cNvPr>
            <p:cNvSpPr>
              <a:spLocks/>
            </p:cNvSpPr>
            <p:nvPr/>
          </p:nvSpPr>
          <p:spPr bwMode="auto">
            <a:xfrm>
              <a:off x="8101685" y="326235"/>
              <a:ext cx="60728" cy="31070"/>
            </a:xfrm>
            <a:custGeom>
              <a:avLst/>
              <a:gdLst>
                <a:gd name="T0" fmla="*/ 16 w 18"/>
                <a:gd name="T1" fmla="*/ 0 h 9"/>
                <a:gd name="T2" fmla="*/ 16 w 18"/>
                <a:gd name="T3" fmla="*/ 0 h 9"/>
                <a:gd name="T4" fmla="*/ 13 w 18"/>
                <a:gd name="T5" fmla="*/ 4 h 9"/>
                <a:gd name="T6" fmla="*/ 11 w 18"/>
                <a:gd name="T7" fmla="*/ 4 h 9"/>
                <a:gd name="T8" fmla="*/ 8 w 18"/>
                <a:gd name="T9" fmla="*/ 2 h 9"/>
                <a:gd name="T10" fmla="*/ 5 w 18"/>
                <a:gd name="T11" fmla="*/ 4 h 9"/>
                <a:gd name="T12" fmla="*/ 1 w 18"/>
                <a:gd name="T13" fmla="*/ 5 h 9"/>
                <a:gd name="T14" fmla="*/ 3 w 18"/>
                <a:gd name="T15" fmla="*/ 9 h 9"/>
                <a:gd name="T16" fmla="*/ 4 w 18"/>
                <a:gd name="T17" fmla="*/ 9 h 9"/>
                <a:gd name="T18" fmla="*/ 5 w 18"/>
                <a:gd name="T19" fmla="*/ 9 h 9"/>
                <a:gd name="T20" fmla="*/ 7 w 18"/>
                <a:gd name="T21" fmla="*/ 9 h 9"/>
                <a:gd name="T22" fmla="*/ 15 w 18"/>
                <a:gd name="T23" fmla="*/ 6 h 9"/>
                <a:gd name="T24" fmla="*/ 16 w 1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9">
                  <a:moveTo>
                    <a:pt x="16" y="0"/>
                  </a:moveTo>
                  <a:cubicBezTo>
                    <a:pt x="16" y="0"/>
                    <a:pt x="16" y="0"/>
                    <a:pt x="16" y="0"/>
                  </a:cubicBezTo>
                  <a:cubicBezTo>
                    <a:pt x="15" y="1"/>
                    <a:pt x="14" y="3"/>
                    <a:pt x="13" y="4"/>
                  </a:cubicBezTo>
                  <a:cubicBezTo>
                    <a:pt x="12" y="4"/>
                    <a:pt x="12" y="4"/>
                    <a:pt x="11" y="4"/>
                  </a:cubicBezTo>
                  <a:cubicBezTo>
                    <a:pt x="10" y="4"/>
                    <a:pt x="9" y="4"/>
                    <a:pt x="8" y="2"/>
                  </a:cubicBezTo>
                  <a:cubicBezTo>
                    <a:pt x="7" y="4"/>
                    <a:pt x="6" y="3"/>
                    <a:pt x="5" y="4"/>
                  </a:cubicBezTo>
                  <a:cubicBezTo>
                    <a:pt x="4" y="4"/>
                    <a:pt x="3" y="5"/>
                    <a:pt x="1" y="5"/>
                  </a:cubicBezTo>
                  <a:cubicBezTo>
                    <a:pt x="2" y="7"/>
                    <a:pt x="0" y="8"/>
                    <a:pt x="3" y="9"/>
                  </a:cubicBezTo>
                  <a:cubicBezTo>
                    <a:pt x="3" y="9"/>
                    <a:pt x="4" y="9"/>
                    <a:pt x="4" y="9"/>
                  </a:cubicBezTo>
                  <a:cubicBezTo>
                    <a:pt x="5" y="9"/>
                    <a:pt x="5" y="9"/>
                    <a:pt x="5" y="9"/>
                  </a:cubicBezTo>
                  <a:cubicBezTo>
                    <a:pt x="6" y="9"/>
                    <a:pt x="6" y="9"/>
                    <a:pt x="7" y="9"/>
                  </a:cubicBezTo>
                  <a:cubicBezTo>
                    <a:pt x="10" y="9"/>
                    <a:pt x="14" y="9"/>
                    <a:pt x="15" y="6"/>
                  </a:cubicBezTo>
                  <a:cubicBezTo>
                    <a:pt x="15" y="5"/>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 name="Freeform 87">
              <a:extLst>
                <a:ext uri="{FF2B5EF4-FFF2-40B4-BE49-F238E27FC236}">
                  <a16:creationId xmlns:a16="http://schemas.microsoft.com/office/drawing/2014/main" id="{8E79ACBF-0E77-4FB2-9DC9-6C61FEC845A7}"/>
                </a:ext>
              </a:extLst>
            </p:cNvPr>
            <p:cNvSpPr>
              <a:spLocks/>
            </p:cNvSpPr>
            <p:nvPr/>
          </p:nvSpPr>
          <p:spPr bwMode="auto">
            <a:xfrm>
              <a:off x="8062142" y="213253"/>
              <a:ext cx="33894" cy="39544"/>
            </a:xfrm>
            <a:custGeom>
              <a:avLst/>
              <a:gdLst>
                <a:gd name="T0" fmla="*/ 9 w 10"/>
                <a:gd name="T1" fmla="*/ 0 h 12"/>
                <a:gd name="T2" fmla="*/ 7 w 10"/>
                <a:gd name="T3" fmla="*/ 0 h 12"/>
                <a:gd name="T4" fmla="*/ 7 w 10"/>
                <a:gd name="T5" fmla="*/ 0 h 12"/>
                <a:gd name="T6" fmla="*/ 6 w 10"/>
                <a:gd name="T7" fmla="*/ 1 h 12"/>
                <a:gd name="T8" fmla="*/ 6 w 10"/>
                <a:gd name="T9" fmla="*/ 1 h 12"/>
                <a:gd name="T10" fmla="*/ 5 w 10"/>
                <a:gd name="T11" fmla="*/ 2 h 12"/>
                <a:gd name="T12" fmla="*/ 6 w 10"/>
                <a:gd name="T13" fmla="*/ 7 h 12"/>
                <a:gd name="T14" fmla="*/ 0 w 10"/>
                <a:gd name="T15" fmla="*/ 12 h 12"/>
                <a:gd name="T16" fmla="*/ 9 w 10"/>
                <a:gd name="T17" fmla="*/ 5 h 12"/>
                <a:gd name="T18" fmla="*/ 9 w 10"/>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9" y="0"/>
                  </a:moveTo>
                  <a:cubicBezTo>
                    <a:pt x="8" y="0"/>
                    <a:pt x="8" y="0"/>
                    <a:pt x="7" y="0"/>
                  </a:cubicBezTo>
                  <a:cubicBezTo>
                    <a:pt x="7" y="0"/>
                    <a:pt x="7" y="0"/>
                    <a:pt x="7" y="0"/>
                  </a:cubicBezTo>
                  <a:cubicBezTo>
                    <a:pt x="7" y="1"/>
                    <a:pt x="7" y="1"/>
                    <a:pt x="6" y="1"/>
                  </a:cubicBezTo>
                  <a:cubicBezTo>
                    <a:pt x="6" y="1"/>
                    <a:pt x="6" y="1"/>
                    <a:pt x="6" y="1"/>
                  </a:cubicBezTo>
                  <a:cubicBezTo>
                    <a:pt x="6" y="1"/>
                    <a:pt x="5" y="2"/>
                    <a:pt x="5" y="2"/>
                  </a:cubicBezTo>
                  <a:cubicBezTo>
                    <a:pt x="10" y="4"/>
                    <a:pt x="9" y="5"/>
                    <a:pt x="6" y="7"/>
                  </a:cubicBezTo>
                  <a:cubicBezTo>
                    <a:pt x="4" y="8"/>
                    <a:pt x="2" y="9"/>
                    <a:pt x="0" y="12"/>
                  </a:cubicBezTo>
                  <a:cubicBezTo>
                    <a:pt x="3" y="10"/>
                    <a:pt x="7" y="8"/>
                    <a:pt x="9" y="5"/>
                  </a:cubicBezTo>
                  <a:cubicBezTo>
                    <a:pt x="10" y="4"/>
                    <a:pt x="10"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 name="Freeform 88">
              <a:extLst>
                <a:ext uri="{FF2B5EF4-FFF2-40B4-BE49-F238E27FC236}">
                  <a16:creationId xmlns:a16="http://schemas.microsoft.com/office/drawing/2014/main" id="{F53D7F4D-F1AC-4868-9A1C-7D996F7138E4}"/>
                </a:ext>
              </a:extLst>
            </p:cNvPr>
            <p:cNvSpPr>
              <a:spLocks/>
            </p:cNvSpPr>
            <p:nvPr/>
          </p:nvSpPr>
          <p:spPr bwMode="auto">
            <a:xfrm>
              <a:off x="8145466" y="237262"/>
              <a:ext cx="36719" cy="9886"/>
            </a:xfrm>
            <a:custGeom>
              <a:avLst/>
              <a:gdLst>
                <a:gd name="T0" fmla="*/ 2 w 11"/>
                <a:gd name="T1" fmla="*/ 0 h 3"/>
                <a:gd name="T2" fmla="*/ 1 w 11"/>
                <a:gd name="T3" fmla="*/ 1 h 3"/>
                <a:gd name="T4" fmla="*/ 3 w 11"/>
                <a:gd name="T5" fmla="*/ 2 h 3"/>
                <a:gd name="T6" fmla="*/ 10 w 11"/>
                <a:gd name="T7" fmla="*/ 3 h 3"/>
                <a:gd name="T8" fmla="*/ 11 w 11"/>
                <a:gd name="T9" fmla="*/ 2 h 3"/>
                <a:gd name="T10" fmla="*/ 7 w 11"/>
                <a:gd name="T11" fmla="*/ 1 h 3"/>
                <a:gd name="T12" fmla="*/ 6 w 11"/>
                <a:gd name="T13" fmla="*/ 1 h 3"/>
                <a:gd name="T14" fmla="*/ 6 w 11"/>
                <a:gd name="T15" fmla="*/ 1 h 3"/>
                <a:gd name="T16" fmla="*/ 6 w 11"/>
                <a:gd name="T17" fmla="*/ 1 h 3"/>
                <a:gd name="T18" fmla="*/ 5 w 11"/>
                <a:gd name="T19" fmla="*/ 1 h 3"/>
                <a:gd name="T20" fmla="*/ 2 w 1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3">
                  <a:moveTo>
                    <a:pt x="2" y="0"/>
                  </a:moveTo>
                  <a:cubicBezTo>
                    <a:pt x="1" y="0"/>
                    <a:pt x="1" y="0"/>
                    <a:pt x="1" y="1"/>
                  </a:cubicBezTo>
                  <a:cubicBezTo>
                    <a:pt x="0" y="2"/>
                    <a:pt x="2" y="2"/>
                    <a:pt x="3" y="2"/>
                  </a:cubicBezTo>
                  <a:cubicBezTo>
                    <a:pt x="5" y="2"/>
                    <a:pt x="7" y="3"/>
                    <a:pt x="10" y="3"/>
                  </a:cubicBezTo>
                  <a:cubicBezTo>
                    <a:pt x="10" y="3"/>
                    <a:pt x="10" y="3"/>
                    <a:pt x="11" y="2"/>
                  </a:cubicBezTo>
                  <a:cubicBezTo>
                    <a:pt x="9" y="2"/>
                    <a:pt x="9" y="1"/>
                    <a:pt x="7" y="1"/>
                  </a:cubicBezTo>
                  <a:cubicBezTo>
                    <a:pt x="7" y="1"/>
                    <a:pt x="7" y="1"/>
                    <a:pt x="6" y="1"/>
                  </a:cubicBezTo>
                  <a:cubicBezTo>
                    <a:pt x="6" y="1"/>
                    <a:pt x="6" y="1"/>
                    <a:pt x="6" y="1"/>
                  </a:cubicBezTo>
                  <a:cubicBezTo>
                    <a:pt x="6" y="1"/>
                    <a:pt x="6" y="1"/>
                    <a:pt x="6" y="1"/>
                  </a:cubicBezTo>
                  <a:cubicBezTo>
                    <a:pt x="5" y="1"/>
                    <a:pt x="5" y="1"/>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 name="Freeform 89">
              <a:extLst>
                <a:ext uri="{FF2B5EF4-FFF2-40B4-BE49-F238E27FC236}">
                  <a16:creationId xmlns:a16="http://schemas.microsoft.com/office/drawing/2014/main" id="{D15893DB-915D-4240-A0C0-46AE07300BA1}"/>
                </a:ext>
              </a:extLst>
            </p:cNvPr>
            <p:cNvSpPr>
              <a:spLocks/>
            </p:cNvSpPr>
            <p:nvPr/>
          </p:nvSpPr>
          <p:spPr bwMode="auto">
            <a:xfrm>
              <a:off x="8038133" y="96035"/>
              <a:ext cx="7061" cy="14123"/>
            </a:xfrm>
            <a:custGeom>
              <a:avLst/>
              <a:gdLst>
                <a:gd name="T0" fmla="*/ 2 w 2"/>
                <a:gd name="T1" fmla="*/ 0 h 4"/>
                <a:gd name="T2" fmla="*/ 1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2"/>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 name="Freeform 90">
              <a:extLst>
                <a:ext uri="{FF2B5EF4-FFF2-40B4-BE49-F238E27FC236}">
                  <a16:creationId xmlns:a16="http://schemas.microsoft.com/office/drawing/2014/main" id="{CA738904-7780-465E-AA17-51921AA35875}"/>
                </a:ext>
              </a:extLst>
            </p:cNvPr>
            <p:cNvSpPr>
              <a:spLocks/>
            </p:cNvSpPr>
            <p:nvPr/>
          </p:nvSpPr>
          <p:spPr bwMode="auto">
            <a:xfrm>
              <a:off x="8152527" y="310700"/>
              <a:ext cx="9886" cy="9886"/>
            </a:xfrm>
            <a:custGeom>
              <a:avLst/>
              <a:gdLst>
                <a:gd name="T0" fmla="*/ 3 w 3"/>
                <a:gd name="T1" fmla="*/ 0 h 3"/>
                <a:gd name="T2" fmla="*/ 1 w 3"/>
                <a:gd name="T3" fmla="*/ 3 h 3"/>
                <a:gd name="T4" fmla="*/ 3 w 3"/>
                <a:gd name="T5" fmla="*/ 0 h 3"/>
              </a:gdLst>
              <a:ahLst/>
              <a:cxnLst>
                <a:cxn ang="0">
                  <a:pos x="T0" y="T1"/>
                </a:cxn>
                <a:cxn ang="0">
                  <a:pos x="T2" y="T3"/>
                </a:cxn>
                <a:cxn ang="0">
                  <a:pos x="T4" y="T5"/>
                </a:cxn>
              </a:cxnLst>
              <a:rect l="0" t="0" r="r" b="b"/>
              <a:pathLst>
                <a:path w="3" h="3">
                  <a:moveTo>
                    <a:pt x="3" y="0"/>
                  </a:moveTo>
                  <a:cubicBezTo>
                    <a:pt x="1" y="0"/>
                    <a:pt x="0" y="1"/>
                    <a:pt x="1" y="3"/>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 name="Freeform 91">
              <a:extLst>
                <a:ext uri="{FF2B5EF4-FFF2-40B4-BE49-F238E27FC236}">
                  <a16:creationId xmlns:a16="http://schemas.microsoft.com/office/drawing/2014/main" id="{1B525891-0618-49FF-A3F8-DD2D7F24B3E1}"/>
                </a:ext>
              </a:extLst>
            </p:cNvPr>
            <p:cNvSpPr>
              <a:spLocks/>
            </p:cNvSpPr>
            <p:nvPr/>
          </p:nvSpPr>
          <p:spPr bwMode="auto">
            <a:xfrm>
              <a:off x="9190545" y="967407"/>
              <a:ext cx="25421" cy="16947"/>
            </a:xfrm>
            <a:custGeom>
              <a:avLst/>
              <a:gdLst>
                <a:gd name="T0" fmla="*/ 3 w 8"/>
                <a:gd name="T1" fmla="*/ 0 h 5"/>
                <a:gd name="T2" fmla="*/ 3 w 8"/>
                <a:gd name="T3" fmla="*/ 5 h 5"/>
                <a:gd name="T4" fmla="*/ 3 w 8"/>
                <a:gd name="T5" fmla="*/ 5 h 5"/>
                <a:gd name="T6" fmla="*/ 3 w 8"/>
                <a:gd name="T7" fmla="*/ 0 h 5"/>
              </a:gdLst>
              <a:ahLst/>
              <a:cxnLst>
                <a:cxn ang="0">
                  <a:pos x="T0" y="T1"/>
                </a:cxn>
                <a:cxn ang="0">
                  <a:pos x="T2" y="T3"/>
                </a:cxn>
                <a:cxn ang="0">
                  <a:pos x="T4" y="T5"/>
                </a:cxn>
                <a:cxn ang="0">
                  <a:pos x="T6" y="T7"/>
                </a:cxn>
              </a:cxnLst>
              <a:rect l="0" t="0" r="r" b="b"/>
              <a:pathLst>
                <a:path w="8" h="5">
                  <a:moveTo>
                    <a:pt x="3" y="0"/>
                  </a:moveTo>
                  <a:cubicBezTo>
                    <a:pt x="0" y="0"/>
                    <a:pt x="1" y="5"/>
                    <a:pt x="3" y="5"/>
                  </a:cubicBezTo>
                  <a:cubicBezTo>
                    <a:pt x="3" y="5"/>
                    <a:pt x="3" y="5"/>
                    <a:pt x="3" y="5"/>
                  </a:cubicBezTo>
                  <a:cubicBezTo>
                    <a:pt x="8"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 name="Freeform 92">
              <a:extLst>
                <a:ext uri="{FF2B5EF4-FFF2-40B4-BE49-F238E27FC236}">
                  <a16:creationId xmlns:a16="http://schemas.microsoft.com/office/drawing/2014/main" id="{D5105343-9DE7-4D11-9708-4ECE9C665425}"/>
                </a:ext>
              </a:extLst>
            </p:cNvPr>
            <p:cNvSpPr>
              <a:spLocks/>
            </p:cNvSpPr>
            <p:nvPr/>
          </p:nvSpPr>
          <p:spPr bwMode="auto">
            <a:xfrm>
              <a:off x="8919389" y="573383"/>
              <a:ext cx="16947" cy="7061"/>
            </a:xfrm>
            <a:custGeom>
              <a:avLst/>
              <a:gdLst>
                <a:gd name="T0" fmla="*/ 5 w 5"/>
                <a:gd name="T1" fmla="*/ 0 h 2"/>
                <a:gd name="T2" fmla="*/ 0 w 5"/>
                <a:gd name="T3" fmla="*/ 2 h 2"/>
                <a:gd name="T4" fmla="*/ 5 w 5"/>
                <a:gd name="T5" fmla="*/ 0 h 2"/>
              </a:gdLst>
              <a:ahLst/>
              <a:cxnLst>
                <a:cxn ang="0">
                  <a:pos x="T0" y="T1"/>
                </a:cxn>
                <a:cxn ang="0">
                  <a:pos x="T2" y="T3"/>
                </a:cxn>
                <a:cxn ang="0">
                  <a:pos x="T4" y="T5"/>
                </a:cxn>
              </a:cxnLst>
              <a:rect l="0" t="0" r="r" b="b"/>
              <a:pathLst>
                <a:path w="5" h="2">
                  <a:moveTo>
                    <a:pt x="5" y="0"/>
                  </a:moveTo>
                  <a:cubicBezTo>
                    <a:pt x="3" y="0"/>
                    <a:pt x="2" y="1"/>
                    <a:pt x="0" y="2"/>
                  </a:cubicBezTo>
                  <a:cubicBezTo>
                    <a:pt x="2" y="2"/>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 name="Freeform 93">
              <a:extLst>
                <a:ext uri="{FF2B5EF4-FFF2-40B4-BE49-F238E27FC236}">
                  <a16:creationId xmlns:a16="http://schemas.microsoft.com/office/drawing/2014/main" id="{B393DF39-D497-418A-AB10-B29101299B9A}"/>
                </a:ext>
              </a:extLst>
            </p:cNvPr>
            <p:cNvSpPr>
              <a:spLocks/>
            </p:cNvSpPr>
            <p:nvPr/>
          </p:nvSpPr>
          <p:spPr bwMode="auto">
            <a:xfrm>
              <a:off x="9019661" y="660944"/>
              <a:ext cx="16947" cy="12710"/>
            </a:xfrm>
            <a:custGeom>
              <a:avLst/>
              <a:gdLst>
                <a:gd name="T0" fmla="*/ 2 w 5"/>
                <a:gd name="T1" fmla="*/ 0 h 4"/>
                <a:gd name="T2" fmla="*/ 0 w 5"/>
                <a:gd name="T3" fmla="*/ 3 h 4"/>
                <a:gd name="T4" fmla="*/ 2 w 5"/>
                <a:gd name="T5" fmla="*/ 4 h 4"/>
                <a:gd name="T6" fmla="*/ 3 w 5"/>
                <a:gd name="T7" fmla="*/ 4 h 4"/>
                <a:gd name="T8" fmla="*/ 3 w 5"/>
                <a:gd name="T9" fmla="*/ 4 h 4"/>
                <a:gd name="T10" fmla="*/ 5 w 5"/>
                <a:gd name="T11" fmla="*/ 3 h 4"/>
                <a:gd name="T12" fmla="*/ 3 w 5"/>
                <a:gd name="T13" fmla="*/ 0 h 4"/>
                <a:gd name="T14" fmla="*/ 2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2" y="0"/>
                  </a:moveTo>
                  <a:cubicBezTo>
                    <a:pt x="1" y="0"/>
                    <a:pt x="1" y="2"/>
                    <a:pt x="0" y="3"/>
                  </a:cubicBezTo>
                  <a:cubicBezTo>
                    <a:pt x="0" y="4"/>
                    <a:pt x="1" y="4"/>
                    <a:pt x="2" y="4"/>
                  </a:cubicBezTo>
                  <a:cubicBezTo>
                    <a:pt x="2" y="4"/>
                    <a:pt x="2" y="4"/>
                    <a:pt x="3" y="4"/>
                  </a:cubicBezTo>
                  <a:cubicBezTo>
                    <a:pt x="3" y="4"/>
                    <a:pt x="3" y="4"/>
                    <a:pt x="3" y="4"/>
                  </a:cubicBezTo>
                  <a:cubicBezTo>
                    <a:pt x="4" y="4"/>
                    <a:pt x="4" y="3"/>
                    <a:pt x="5" y="3"/>
                  </a:cubicBezTo>
                  <a:cubicBezTo>
                    <a:pt x="4" y="2"/>
                    <a:pt x="3"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 name="Freeform 94">
              <a:extLst>
                <a:ext uri="{FF2B5EF4-FFF2-40B4-BE49-F238E27FC236}">
                  <a16:creationId xmlns:a16="http://schemas.microsoft.com/office/drawing/2014/main" id="{074D7C34-9054-4031-A65E-40443D79C467}"/>
                </a:ext>
              </a:extLst>
            </p:cNvPr>
            <p:cNvSpPr>
              <a:spLocks/>
            </p:cNvSpPr>
            <p:nvPr/>
          </p:nvSpPr>
          <p:spPr bwMode="auto">
            <a:xfrm>
              <a:off x="9016836" y="617164"/>
              <a:ext cx="5649" cy="9886"/>
            </a:xfrm>
            <a:custGeom>
              <a:avLst/>
              <a:gdLst>
                <a:gd name="T0" fmla="*/ 2 w 2"/>
                <a:gd name="T1" fmla="*/ 0 h 3"/>
                <a:gd name="T2" fmla="*/ 2 w 2"/>
                <a:gd name="T3" fmla="*/ 3 h 3"/>
                <a:gd name="T4" fmla="*/ 2 w 2"/>
                <a:gd name="T5" fmla="*/ 0 h 3"/>
              </a:gdLst>
              <a:ahLst/>
              <a:cxnLst>
                <a:cxn ang="0">
                  <a:pos x="T0" y="T1"/>
                </a:cxn>
                <a:cxn ang="0">
                  <a:pos x="T2" y="T3"/>
                </a:cxn>
                <a:cxn ang="0">
                  <a:pos x="T4" y="T5"/>
                </a:cxn>
              </a:cxnLst>
              <a:rect l="0" t="0" r="r" b="b"/>
              <a:pathLst>
                <a:path w="2" h="3">
                  <a:moveTo>
                    <a:pt x="2" y="0"/>
                  </a:moveTo>
                  <a:cubicBezTo>
                    <a:pt x="0" y="1"/>
                    <a:pt x="2" y="2"/>
                    <a:pt x="2"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 name="Freeform 95">
              <a:extLst>
                <a:ext uri="{FF2B5EF4-FFF2-40B4-BE49-F238E27FC236}">
                  <a16:creationId xmlns:a16="http://schemas.microsoft.com/office/drawing/2014/main" id="{2386D6EE-C1B8-4FE6-962C-F21CEE0EB87D}"/>
                </a:ext>
              </a:extLst>
            </p:cNvPr>
            <p:cNvSpPr>
              <a:spLocks/>
            </p:cNvSpPr>
            <p:nvPr/>
          </p:nvSpPr>
          <p:spPr bwMode="auto">
            <a:xfrm>
              <a:off x="7694951" y="4707107"/>
              <a:ext cx="16947" cy="7061"/>
            </a:xfrm>
            <a:custGeom>
              <a:avLst/>
              <a:gdLst>
                <a:gd name="T0" fmla="*/ 2 w 5"/>
                <a:gd name="T1" fmla="*/ 0 h 2"/>
                <a:gd name="T2" fmla="*/ 0 w 5"/>
                <a:gd name="T3" fmla="*/ 2 h 2"/>
                <a:gd name="T4" fmla="*/ 5 w 5"/>
                <a:gd name="T5" fmla="*/ 1 h 2"/>
                <a:gd name="T6" fmla="*/ 2 w 5"/>
                <a:gd name="T7" fmla="*/ 0 h 2"/>
              </a:gdLst>
              <a:ahLst/>
              <a:cxnLst>
                <a:cxn ang="0">
                  <a:pos x="T0" y="T1"/>
                </a:cxn>
                <a:cxn ang="0">
                  <a:pos x="T2" y="T3"/>
                </a:cxn>
                <a:cxn ang="0">
                  <a:pos x="T4" y="T5"/>
                </a:cxn>
                <a:cxn ang="0">
                  <a:pos x="T6" y="T7"/>
                </a:cxn>
              </a:cxnLst>
              <a:rect l="0" t="0" r="r" b="b"/>
              <a:pathLst>
                <a:path w="5" h="2">
                  <a:moveTo>
                    <a:pt x="2" y="0"/>
                  </a:moveTo>
                  <a:cubicBezTo>
                    <a:pt x="2" y="0"/>
                    <a:pt x="1" y="1"/>
                    <a:pt x="0" y="2"/>
                  </a:cubicBezTo>
                  <a:cubicBezTo>
                    <a:pt x="2" y="2"/>
                    <a:pt x="4" y="2"/>
                    <a:pt x="5" y="1"/>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7" name="Freeform 97">
              <a:extLst>
                <a:ext uri="{FF2B5EF4-FFF2-40B4-BE49-F238E27FC236}">
                  <a16:creationId xmlns:a16="http://schemas.microsoft.com/office/drawing/2014/main" id="{74803D68-B755-4366-BC96-1078CA70F0DD}"/>
                </a:ext>
              </a:extLst>
            </p:cNvPr>
            <p:cNvSpPr>
              <a:spLocks/>
            </p:cNvSpPr>
            <p:nvPr/>
          </p:nvSpPr>
          <p:spPr bwMode="auto">
            <a:xfrm>
              <a:off x="8786636" y="614339"/>
              <a:ext cx="26833" cy="5649"/>
            </a:xfrm>
            <a:custGeom>
              <a:avLst/>
              <a:gdLst>
                <a:gd name="T0" fmla="*/ 8 w 8"/>
                <a:gd name="T1" fmla="*/ 0 h 2"/>
                <a:gd name="T2" fmla="*/ 0 w 8"/>
                <a:gd name="T3" fmla="*/ 2 h 2"/>
                <a:gd name="T4" fmla="*/ 8 w 8"/>
                <a:gd name="T5" fmla="*/ 0 h 2"/>
              </a:gdLst>
              <a:ahLst/>
              <a:cxnLst>
                <a:cxn ang="0">
                  <a:pos x="T0" y="T1"/>
                </a:cxn>
                <a:cxn ang="0">
                  <a:pos x="T2" y="T3"/>
                </a:cxn>
                <a:cxn ang="0">
                  <a:pos x="T4" y="T5"/>
                </a:cxn>
              </a:cxnLst>
              <a:rect l="0" t="0" r="r" b="b"/>
              <a:pathLst>
                <a:path w="8" h="2">
                  <a:moveTo>
                    <a:pt x="8" y="0"/>
                  </a:moveTo>
                  <a:cubicBezTo>
                    <a:pt x="5" y="0"/>
                    <a:pt x="3" y="1"/>
                    <a:pt x="0" y="2"/>
                  </a:cubicBezTo>
                  <a:cubicBezTo>
                    <a:pt x="3" y="1"/>
                    <a:pt x="5"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8" name="Freeform 98">
              <a:extLst>
                <a:ext uri="{FF2B5EF4-FFF2-40B4-BE49-F238E27FC236}">
                  <a16:creationId xmlns:a16="http://schemas.microsoft.com/office/drawing/2014/main" id="{26A45845-9B2A-4493-B2EA-7F168AFA00C0}"/>
                </a:ext>
              </a:extLst>
            </p:cNvPr>
            <p:cNvSpPr>
              <a:spLocks/>
            </p:cNvSpPr>
            <p:nvPr/>
          </p:nvSpPr>
          <p:spPr bwMode="auto">
            <a:xfrm>
              <a:off x="8776750" y="563497"/>
              <a:ext cx="15535" cy="7061"/>
            </a:xfrm>
            <a:custGeom>
              <a:avLst/>
              <a:gdLst>
                <a:gd name="T0" fmla="*/ 0 w 5"/>
                <a:gd name="T1" fmla="*/ 0 h 2"/>
                <a:gd name="T2" fmla="*/ 4 w 5"/>
                <a:gd name="T3" fmla="*/ 2 h 2"/>
                <a:gd name="T4" fmla="*/ 5 w 5"/>
                <a:gd name="T5" fmla="*/ 1 h 2"/>
                <a:gd name="T6" fmla="*/ 0 w 5"/>
                <a:gd name="T7" fmla="*/ 0 h 2"/>
              </a:gdLst>
              <a:ahLst/>
              <a:cxnLst>
                <a:cxn ang="0">
                  <a:pos x="T0" y="T1"/>
                </a:cxn>
                <a:cxn ang="0">
                  <a:pos x="T2" y="T3"/>
                </a:cxn>
                <a:cxn ang="0">
                  <a:pos x="T4" y="T5"/>
                </a:cxn>
                <a:cxn ang="0">
                  <a:pos x="T6" y="T7"/>
                </a:cxn>
              </a:cxnLst>
              <a:rect l="0" t="0" r="r" b="b"/>
              <a:pathLst>
                <a:path w="5" h="2">
                  <a:moveTo>
                    <a:pt x="0" y="0"/>
                  </a:moveTo>
                  <a:cubicBezTo>
                    <a:pt x="2" y="1"/>
                    <a:pt x="3" y="2"/>
                    <a:pt x="4" y="2"/>
                  </a:cubicBezTo>
                  <a:cubicBezTo>
                    <a:pt x="4" y="2"/>
                    <a:pt x="4" y="2"/>
                    <a:pt x="5"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9" name="Freeform 99">
              <a:extLst>
                <a:ext uri="{FF2B5EF4-FFF2-40B4-BE49-F238E27FC236}">
                  <a16:creationId xmlns:a16="http://schemas.microsoft.com/office/drawing/2014/main" id="{1F216E48-CC31-49A9-9750-74FAECBD4316}"/>
                </a:ext>
              </a:extLst>
            </p:cNvPr>
            <p:cNvSpPr>
              <a:spLocks/>
            </p:cNvSpPr>
            <p:nvPr/>
          </p:nvSpPr>
          <p:spPr bwMode="auto">
            <a:xfrm>
              <a:off x="8802171" y="553611"/>
              <a:ext cx="14123" cy="9886"/>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3" y="1"/>
                    <a:pt x="2" y="2"/>
                    <a:pt x="0" y="3"/>
                  </a:cubicBezTo>
                  <a:cubicBezTo>
                    <a:pt x="2"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0" name="Freeform 100">
              <a:extLst>
                <a:ext uri="{FF2B5EF4-FFF2-40B4-BE49-F238E27FC236}">
                  <a16:creationId xmlns:a16="http://schemas.microsoft.com/office/drawing/2014/main" id="{68B710E0-FEE0-4958-8A19-CA94DD54D369}"/>
                </a:ext>
              </a:extLst>
            </p:cNvPr>
            <p:cNvSpPr>
              <a:spLocks/>
            </p:cNvSpPr>
            <p:nvPr/>
          </p:nvSpPr>
          <p:spPr bwMode="auto">
            <a:xfrm>
              <a:off x="9066266" y="961758"/>
              <a:ext cx="14123" cy="19772"/>
            </a:xfrm>
            <a:custGeom>
              <a:avLst/>
              <a:gdLst>
                <a:gd name="T0" fmla="*/ 3 w 4"/>
                <a:gd name="T1" fmla="*/ 0 h 6"/>
                <a:gd name="T2" fmla="*/ 0 w 4"/>
                <a:gd name="T3" fmla="*/ 3 h 6"/>
                <a:gd name="T4" fmla="*/ 0 w 4"/>
                <a:gd name="T5" fmla="*/ 4 h 6"/>
                <a:gd name="T6" fmla="*/ 2 w 4"/>
                <a:gd name="T7" fmla="*/ 6 h 6"/>
                <a:gd name="T8" fmla="*/ 4 w 4"/>
                <a:gd name="T9" fmla="*/ 3 h 6"/>
                <a:gd name="T10" fmla="*/ 3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3" y="0"/>
                  </a:moveTo>
                  <a:cubicBezTo>
                    <a:pt x="2" y="0"/>
                    <a:pt x="1" y="1"/>
                    <a:pt x="0" y="3"/>
                  </a:cubicBezTo>
                  <a:cubicBezTo>
                    <a:pt x="0" y="3"/>
                    <a:pt x="0" y="4"/>
                    <a:pt x="0" y="4"/>
                  </a:cubicBezTo>
                  <a:cubicBezTo>
                    <a:pt x="1" y="5"/>
                    <a:pt x="2" y="6"/>
                    <a:pt x="2" y="6"/>
                  </a:cubicBezTo>
                  <a:cubicBezTo>
                    <a:pt x="3" y="6"/>
                    <a:pt x="3" y="4"/>
                    <a:pt x="4" y="3"/>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1" name="Freeform 101">
              <a:extLst>
                <a:ext uri="{FF2B5EF4-FFF2-40B4-BE49-F238E27FC236}">
                  <a16:creationId xmlns:a16="http://schemas.microsoft.com/office/drawing/2014/main" id="{687AFA5D-9205-49A1-A13D-2FC18BF8B5B6}"/>
                </a:ext>
              </a:extLst>
            </p:cNvPr>
            <p:cNvSpPr>
              <a:spLocks noEditPoints="1"/>
            </p:cNvSpPr>
            <p:nvPr/>
          </p:nvSpPr>
          <p:spPr bwMode="auto">
            <a:xfrm>
              <a:off x="7508532" y="46605"/>
              <a:ext cx="5649" cy="9886"/>
            </a:xfrm>
            <a:custGeom>
              <a:avLst/>
              <a:gdLst>
                <a:gd name="T0" fmla="*/ 0 w 2"/>
                <a:gd name="T1" fmla="*/ 1 h 3"/>
                <a:gd name="T2" fmla="*/ 1 w 2"/>
                <a:gd name="T3" fmla="*/ 2 h 3"/>
                <a:gd name="T4" fmla="*/ 1 w 2"/>
                <a:gd name="T5" fmla="*/ 3 h 3"/>
                <a:gd name="T6" fmla="*/ 2 w 2"/>
                <a:gd name="T7" fmla="*/ 3 h 3"/>
                <a:gd name="T8" fmla="*/ 2 w 2"/>
                <a:gd name="T9" fmla="*/ 3 h 3"/>
                <a:gd name="T10" fmla="*/ 1 w 2"/>
                <a:gd name="T11" fmla="*/ 3 h 3"/>
                <a:gd name="T12" fmla="*/ 0 w 2"/>
                <a:gd name="T13" fmla="*/ 1 h 3"/>
                <a:gd name="T14" fmla="*/ 0 w 2"/>
                <a:gd name="T15" fmla="*/ 0 h 3"/>
                <a:gd name="T16" fmla="*/ 0 w 2"/>
                <a:gd name="T17" fmla="*/ 1 h 3"/>
                <a:gd name="T18" fmla="*/ 0 w 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1"/>
                  </a:moveTo>
                  <a:cubicBezTo>
                    <a:pt x="0" y="1"/>
                    <a:pt x="1" y="1"/>
                    <a:pt x="1" y="2"/>
                  </a:cubicBezTo>
                  <a:cubicBezTo>
                    <a:pt x="1" y="2"/>
                    <a:pt x="1" y="3"/>
                    <a:pt x="1" y="3"/>
                  </a:cubicBezTo>
                  <a:cubicBezTo>
                    <a:pt x="2" y="3"/>
                    <a:pt x="2" y="3"/>
                    <a:pt x="2" y="3"/>
                  </a:cubicBezTo>
                  <a:cubicBezTo>
                    <a:pt x="2" y="3"/>
                    <a:pt x="2" y="3"/>
                    <a:pt x="2" y="3"/>
                  </a:cubicBezTo>
                  <a:cubicBezTo>
                    <a:pt x="1" y="3"/>
                    <a:pt x="1" y="3"/>
                    <a:pt x="1" y="3"/>
                  </a:cubicBezTo>
                  <a:cubicBezTo>
                    <a:pt x="1" y="2"/>
                    <a:pt x="1" y="1"/>
                    <a:pt x="0" y="1"/>
                  </a:cubicBezTo>
                  <a:moveTo>
                    <a:pt x="0" y="0"/>
                  </a:moveTo>
                  <a:cubicBezTo>
                    <a:pt x="0" y="0"/>
                    <a:pt x="0" y="0"/>
                    <a:pt x="0"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2" name="Freeform 102">
              <a:extLst>
                <a:ext uri="{FF2B5EF4-FFF2-40B4-BE49-F238E27FC236}">
                  <a16:creationId xmlns:a16="http://schemas.microsoft.com/office/drawing/2014/main" id="{766040BE-2ADD-4C90-9DFB-9936A18EB4B8}"/>
                </a:ext>
              </a:extLst>
            </p:cNvPr>
            <p:cNvSpPr>
              <a:spLocks/>
            </p:cNvSpPr>
            <p:nvPr/>
          </p:nvSpPr>
          <p:spPr bwMode="auto">
            <a:xfrm>
              <a:off x="9016836" y="1160889"/>
              <a:ext cx="76263" cy="60728"/>
            </a:xfrm>
            <a:custGeom>
              <a:avLst/>
              <a:gdLst>
                <a:gd name="T0" fmla="*/ 22 w 23"/>
                <a:gd name="T1" fmla="*/ 0 h 18"/>
                <a:gd name="T2" fmla="*/ 18 w 23"/>
                <a:gd name="T3" fmla="*/ 1 h 18"/>
                <a:gd name="T4" fmla="*/ 6 w 23"/>
                <a:gd name="T5" fmla="*/ 3 h 18"/>
                <a:gd name="T6" fmla="*/ 11 w 23"/>
                <a:gd name="T7" fmla="*/ 8 h 18"/>
                <a:gd name="T8" fmla="*/ 10 w 23"/>
                <a:gd name="T9" fmla="*/ 14 h 18"/>
                <a:gd name="T10" fmla="*/ 6 w 23"/>
                <a:gd name="T11" fmla="*/ 15 h 18"/>
                <a:gd name="T12" fmla="*/ 0 w 23"/>
                <a:gd name="T13" fmla="*/ 18 h 18"/>
                <a:gd name="T14" fmla="*/ 3 w 23"/>
                <a:gd name="T15" fmla="*/ 18 h 18"/>
                <a:gd name="T16" fmla="*/ 5 w 23"/>
                <a:gd name="T17" fmla="*/ 18 h 18"/>
                <a:gd name="T18" fmla="*/ 8 w 23"/>
                <a:gd name="T19" fmla="*/ 18 h 18"/>
                <a:gd name="T20" fmla="*/ 10 w 23"/>
                <a:gd name="T21" fmla="*/ 18 h 18"/>
                <a:gd name="T22" fmla="*/ 13 w 23"/>
                <a:gd name="T23" fmla="*/ 18 h 18"/>
                <a:gd name="T24" fmla="*/ 19 w 23"/>
                <a:gd name="T25" fmla="*/ 17 h 18"/>
                <a:gd name="T26" fmla="*/ 21 w 23"/>
                <a:gd name="T27" fmla="*/ 8 h 18"/>
                <a:gd name="T28" fmla="*/ 23 w 23"/>
                <a:gd name="T29" fmla="*/ 0 h 18"/>
                <a:gd name="T30" fmla="*/ 22 w 23"/>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8">
                  <a:moveTo>
                    <a:pt x="22" y="0"/>
                  </a:moveTo>
                  <a:cubicBezTo>
                    <a:pt x="21" y="0"/>
                    <a:pt x="19" y="0"/>
                    <a:pt x="18" y="1"/>
                  </a:cubicBezTo>
                  <a:cubicBezTo>
                    <a:pt x="14" y="1"/>
                    <a:pt x="10" y="2"/>
                    <a:pt x="6" y="3"/>
                  </a:cubicBezTo>
                  <a:cubicBezTo>
                    <a:pt x="10" y="4"/>
                    <a:pt x="10" y="5"/>
                    <a:pt x="11" y="8"/>
                  </a:cubicBezTo>
                  <a:cubicBezTo>
                    <a:pt x="11" y="10"/>
                    <a:pt x="11" y="12"/>
                    <a:pt x="10" y="14"/>
                  </a:cubicBezTo>
                  <a:cubicBezTo>
                    <a:pt x="10" y="14"/>
                    <a:pt x="7" y="14"/>
                    <a:pt x="6" y="15"/>
                  </a:cubicBezTo>
                  <a:cubicBezTo>
                    <a:pt x="5" y="16"/>
                    <a:pt x="2" y="17"/>
                    <a:pt x="0" y="18"/>
                  </a:cubicBezTo>
                  <a:cubicBezTo>
                    <a:pt x="1" y="18"/>
                    <a:pt x="2" y="18"/>
                    <a:pt x="3" y="18"/>
                  </a:cubicBezTo>
                  <a:cubicBezTo>
                    <a:pt x="4" y="18"/>
                    <a:pt x="4" y="18"/>
                    <a:pt x="5" y="18"/>
                  </a:cubicBezTo>
                  <a:cubicBezTo>
                    <a:pt x="6" y="18"/>
                    <a:pt x="7" y="18"/>
                    <a:pt x="8" y="18"/>
                  </a:cubicBezTo>
                  <a:cubicBezTo>
                    <a:pt x="9" y="18"/>
                    <a:pt x="9" y="18"/>
                    <a:pt x="10" y="18"/>
                  </a:cubicBezTo>
                  <a:cubicBezTo>
                    <a:pt x="11" y="18"/>
                    <a:pt x="12" y="18"/>
                    <a:pt x="13" y="18"/>
                  </a:cubicBezTo>
                  <a:cubicBezTo>
                    <a:pt x="15" y="18"/>
                    <a:pt x="17" y="18"/>
                    <a:pt x="19" y="17"/>
                  </a:cubicBezTo>
                  <a:cubicBezTo>
                    <a:pt x="23" y="15"/>
                    <a:pt x="21" y="11"/>
                    <a:pt x="21" y="8"/>
                  </a:cubicBezTo>
                  <a:cubicBezTo>
                    <a:pt x="20" y="5"/>
                    <a:pt x="22" y="3"/>
                    <a:pt x="23" y="0"/>
                  </a:cubicBezTo>
                  <a:cubicBezTo>
                    <a:pt x="23"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3" name="Freeform 103">
              <a:extLst>
                <a:ext uri="{FF2B5EF4-FFF2-40B4-BE49-F238E27FC236}">
                  <a16:creationId xmlns:a16="http://schemas.microsoft.com/office/drawing/2014/main" id="{09A128D0-C872-4EE4-A2CE-DB82EC13DE72}"/>
                </a:ext>
              </a:extLst>
            </p:cNvPr>
            <p:cNvSpPr>
              <a:spLocks/>
            </p:cNvSpPr>
            <p:nvPr/>
          </p:nvSpPr>
          <p:spPr bwMode="auto">
            <a:xfrm>
              <a:off x="7471813" y="1412273"/>
              <a:ext cx="22596" cy="22596"/>
            </a:xfrm>
            <a:custGeom>
              <a:avLst/>
              <a:gdLst>
                <a:gd name="T0" fmla="*/ 3 w 7"/>
                <a:gd name="T1" fmla="*/ 0 h 7"/>
                <a:gd name="T2" fmla="*/ 0 w 7"/>
                <a:gd name="T3" fmla="*/ 3 h 7"/>
                <a:gd name="T4" fmla="*/ 6 w 7"/>
                <a:gd name="T5" fmla="*/ 7 h 7"/>
                <a:gd name="T6" fmla="*/ 7 w 7"/>
                <a:gd name="T7" fmla="*/ 7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cubicBezTo>
                    <a:pt x="2" y="0"/>
                    <a:pt x="1" y="2"/>
                    <a:pt x="0" y="3"/>
                  </a:cubicBezTo>
                  <a:cubicBezTo>
                    <a:pt x="1" y="5"/>
                    <a:pt x="4" y="7"/>
                    <a:pt x="6" y="7"/>
                  </a:cubicBezTo>
                  <a:cubicBezTo>
                    <a:pt x="6" y="7"/>
                    <a:pt x="7" y="7"/>
                    <a:pt x="7" y="7"/>
                  </a:cubicBezTo>
                  <a:cubicBezTo>
                    <a:pt x="6" y="4"/>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4" name="Freeform 104">
              <a:extLst>
                <a:ext uri="{FF2B5EF4-FFF2-40B4-BE49-F238E27FC236}">
                  <a16:creationId xmlns:a16="http://schemas.microsoft.com/office/drawing/2014/main" id="{F296F99E-F176-4133-B93E-10F7D69C344A}"/>
                </a:ext>
              </a:extLst>
            </p:cNvPr>
            <p:cNvSpPr>
              <a:spLocks/>
            </p:cNvSpPr>
            <p:nvPr/>
          </p:nvSpPr>
          <p:spPr bwMode="auto">
            <a:xfrm>
              <a:off x="7531128" y="1415098"/>
              <a:ext cx="7061" cy="4237"/>
            </a:xfrm>
            <a:custGeom>
              <a:avLst/>
              <a:gdLst>
                <a:gd name="T0" fmla="*/ 2 w 2"/>
                <a:gd name="T1" fmla="*/ 0 h 1"/>
                <a:gd name="T2" fmla="*/ 0 w 2"/>
                <a:gd name="T3" fmla="*/ 1 h 1"/>
                <a:gd name="T4" fmla="*/ 0 w 2"/>
                <a:gd name="T5" fmla="*/ 1 h 1"/>
                <a:gd name="T6" fmla="*/ 1 w 2"/>
                <a:gd name="T7" fmla="*/ 1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1" y="1"/>
                    <a:pt x="1" y="1"/>
                    <a:pt x="0" y="1"/>
                  </a:cubicBezTo>
                  <a:cubicBezTo>
                    <a:pt x="0" y="1"/>
                    <a:pt x="0" y="1"/>
                    <a:pt x="0" y="1"/>
                  </a:cubicBezTo>
                  <a:cubicBezTo>
                    <a:pt x="1" y="1"/>
                    <a:pt x="1" y="1"/>
                    <a:pt x="1" y="1"/>
                  </a:cubicBezTo>
                  <a:cubicBezTo>
                    <a:pt x="1" y="1"/>
                    <a:pt x="1" y="1"/>
                    <a:pt x="1"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5" name="Freeform 105">
              <a:extLst>
                <a:ext uri="{FF2B5EF4-FFF2-40B4-BE49-F238E27FC236}">
                  <a16:creationId xmlns:a16="http://schemas.microsoft.com/office/drawing/2014/main" id="{75957BED-351A-496C-BD2F-658D962787BB}"/>
                </a:ext>
              </a:extLst>
            </p:cNvPr>
            <p:cNvSpPr>
              <a:spLocks/>
            </p:cNvSpPr>
            <p:nvPr/>
          </p:nvSpPr>
          <p:spPr bwMode="auto">
            <a:xfrm>
              <a:off x="7528304" y="1419335"/>
              <a:ext cx="2825"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6" name="Freeform 106">
              <a:extLst>
                <a:ext uri="{FF2B5EF4-FFF2-40B4-BE49-F238E27FC236}">
                  <a16:creationId xmlns:a16="http://schemas.microsoft.com/office/drawing/2014/main" id="{FDA692E7-5457-435B-A84A-424EDE332120}"/>
                </a:ext>
              </a:extLst>
            </p:cNvPr>
            <p:cNvSpPr>
              <a:spLocks/>
            </p:cNvSpPr>
            <p:nvPr/>
          </p:nvSpPr>
          <p:spPr bwMode="auto">
            <a:xfrm>
              <a:off x="7447804" y="1278107"/>
              <a:ext cx="9886" cy="7061"/>
            </a:xfrm>
            <a:custGeom>
              <a:avLst/>
              <a:gdLst>
                <a:gd name="T0" fmla="*/ 0 w 3"/>
                <a:gd name="T1" fmla="*/ 0 h 2"/>
                <a:gd name="T2" fmla="*/ 1 w 3"/>
                <a:gd name="T3" fmla="*/ 2 h 2"/>
                <a:gd name="T4" fmla="*/ 3 w 3"/>
                <a:gd name="T5" fmla="*/ 1 h 2"/>
                <a:gd name="T6" fmla="*/ 0 w 3"/>
                <a:gd name="T7" fmla="*/ 0 h 2"/>
              </a:gdLst>
              <a:ahLst/>
              <a:cxnLst>
                <a:cxn ang="0">
                  <a:pos x="T0" y="T1"/>
                </a:cxn>
                <a:cxn ang="0">
                  <a:pos x="T2" y="T3"/>
                </a:cxn>
                <a:cxn ang="0">
                  <a:pos x="T4" y="T5"/>
                </a:cxn>
                <a:cxn ang="0">
                  <a:pos x="T6" y="T7"/>
                </a:cxn>
              </a:cxnLst>
              <a:rect l="0" t="0" r="r" b="b"/>
              <a:pathLst>
                <a:path w="3" h="2">
                  <a:moveTo>
                    <a:pt x="0" y="0"/>
                  </a:moveTo>
                  <a:cubicBezTo>
                    <a:pt x="0" y="1"/>
                    <a:pt x="1" y="2"/>
                    <a:pt x="1" y="2"/>
                  </a:cubicBezTo>
                  <a:cubicBezTo>
                    <a:pt x="2" y="2"/>
                    <a:pt x="2"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7" name="Freeform 107">
              <a:extLst>
                <a:ext uri="{FF2B5EF4-FFF2-40B4-BE49-F238E27FC236}">
                  <a16:creationId xmlns:a16="http://schemas.microsoft.com/office/drawing/2014/main" id="{D630C8D2-BCA7-4CD5-B9C1-BC6EC63946C8}"/>
                </a:ext>
              </a:extLst>
            </p:cNvPr>
            <p:cNvSpPr>
              <a:spLocks/>
            </p:cNvSpPr>
            <p:nvPr/>
          </p:nvSpPr>
          <p:spPr bwMode="auto">
            <a:xfrm>
              <a:off x="7694951" y="1348721"/>
              <a:ext cx="9886" cy="16947"/>
            </a:xfrm>
            <a:custGeom>
              <a:avLst/>
              <a:gdLst>
                <a:gd name="T0" fmla="*/ 3 w 3"/>
                <a:gd name="T1" fmla="*/ 0 h 5"/>
                <a:gd name="T2" fmla="*/ 2 w 3"/>
                <a:gd name="T3" fmla="*/ 5 h 5"/>
                <a:gd name="T4" fmla="*/ 3 w 3"/>
                <a:gd name="T5" fmla="*/ 0 h 5"/>
              </a:gdLst>
              <a:ahLst/>
              <a:cxnLst>
                <a:cxn ang="0">
                  <a:pos x="T0" y="T1"/>
                </a:cxn>
                <a:cxn ang="0">
                  <a:pos x="T2" y="T3"/>
                </a:cxn>
                <a:cxn ang="0">
                  <a:pos x="T4" y="T5"/>
                </a:cxn>
              </a:cxnLst>
              <a:rect l="0" t="0" r="r" b="b"/>
              <a:pathLst>
                <a:path w="3" h="5">
                  <a:moveTo>
                    <a:pt x="3" y="0"/>
                  </a:moveTo>
                  <a:cubicBezTo>
                    <a:pt x="0" y="0"/>
                    <a:pt x="1" y="4"/>
                    <a:pt x="2" y="5"/>
                  </a:cubicBezTo>
                  <a:cubicBezTo>
                    <a:pt x="3"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8" name="Freeform 108">
              <a:extLst>
                <a:ext uri="{FF2B5EF4-FFF2-40B4-BE49-F238E27FC236}">
                  <a16:creationId xmlns:a16="http://schemas.microsoft.com/office/drawing/2014/main" id="{93B8B8F5-DA51-489F-AEDD-7FFB06FF2D74}"/>
                </a:ext>
              </a:extLst>
            </p:cNvPr>
            <p:cNvSpPr>
              <a:spLocks/>
            </p:cNvSpPr>
            <p:nvPr/>
          </p:nvSpPr>
          <p:spPr bwMode="auto">
            <a:xfrm>
              <a:off x="8466051" y="1045082"/>
              <a:ext cx="9886" cy="9886"/>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0" y="2"/>
                    <a:pt x="1"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9" name="Freeform 109">
              <a:extLst>
                <a:ext uri="{FF2B5EF4-FFF2-40B4-BE49-F238E27FC236}">
                  <a16:creationId xmlns:a16="http://schemas.microsoft.com/office/drawing/2014/main" id="{4D345DEC-A9EB-46ED-A581-B8B7355D5174}"/>
                </a:ext>
              </a:extLst>
            </p:cNvPr>
            <p:cNvSpPr>
              <a:spLocks/>
            </p:cNvSpPr>
            <p:nvPr/>
          </p:nvSpPr>
          <p:spPr bwMode="auto">
            <a:xfrm>
              <a:off x="8475937" y="1054968"/>
              <a:ext cx="12710" cy="12710"/>
            </a:xfrm>
            <a:custGeom>
              <a:avLst/>
              <a:gdLst>
                <a:gd name="T0" fmla="*/ 0 w 4"/>
                <a:gd name="T1" fmla="*/ 0 h 4"/>
                <a:gd name="T2" fmla="*/ 0 w 4"/>
                <a:gd name="T3" fmla="*/ 0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cubicBezTo>
                    <a:pt x="0" y="0"/>
                    <a:pt x="0" y="0"/>
                    <a:pt x="0" y="0"/>
                  </a:cubicBezTo>
                  <a:cubicBezTo>
                    <a:pt x="1" y="1"/>
                    <a:pt x="3" y="2"/>
                    <a:pt x="4" y="4"/>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0" name="Freeform 110">
              <a:extLst>
                <a:ext uri="{FF2B5EF4-FFF2-40B4-BE49-F238E27FC236}">
                  <a16:creationId xmlns:a16="http://schemas.microsoft.com/office/drawing/2014/main" id="{8EFC8981-FF98-46A0-BF09-A89F7CFEA266}"/>
                </a:ext>
              </a:extLst>
            </p:cNvPr>
            <p:cNvSpPr>
              <a:spLocks/>
            </p:cNvSpPr>
            <p:nvPr/>
          </p:nvSpPr>
          <p:spPr bwMode="auto">
            <a:xfrm>
              <a:off x="8456165" y="1038021"/>
              <a:ext cx="9886" cy="7061"/>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1" name="Freeform 111">
              <a:extLst>
                <a:ext uri="{FF2B5EF4-FFF2-40B4-BE49-F238E27FC236}">
                  <a16:creationId xmlns:a16="http://schemas.microsoft.com/office/drawing/2014/main" id="{65FEFB12-37EF-4447-A159-B3965133B445}"/>
                </a:ext>
              </a:extLst>
            </p:cNvPr>
            <p:cNvSpPr>
              <a:spLocks/>
            </p:cNvSpPr>
            <p:nvPr/>
          </p:nvSpPr>
          <p:spPr bwMode="auto">
            <a:xfrm>
              <a:off x="8515480" y="1045082"/>
              <a:ext cx="19772" cy="22596"/>
            </a:xfrm>
            <a:custGeom>
              <a:avLst/>
              <a:gdLst>
                <a:gd name="T0" fmla="*/ 0 w 6"/>
                <a:gd name="T1" fmla="*/ 0 h 7"/>
                <a:gd name="T2" fmla="*/ 3 w 6"/>
                <a:gd name="T3" fmla="*/ 7 h 7"/>
                <a:gd name="T4" fmla="*/ 0 w 6"/>
                <a:gd name="T5" fmla="*/ 0 h 7"/>
              </a:gdLst>
              <a:ahLst/>
              <a:cxnLst>
                <a:cxn ang="0">
                  <a:pos x="T0" y="T1"/>
                </a:cxn>
                <a:cxn ang="0">
                  <a:pos x="T2" y="T3"/>
                </a:cxn>
                <a:cxn ang="0">
                  <a:pos x="T4" y="T5"/>
                </a:cxn>
              </a:cxnLst>
              <a:rect l="0" t="0" r="r" b="b"/>
              <a:pathLst>
                <a:path w="6" h="7">
                  <a:moveTo>
                    <a:pt x="0" y="0"/>
                  </a:moveTo>
                  <a:cubicBezTo>
                    <a:pt x="1" y="3"/>
                    <a:pt x="2" y="5"/>
                    <a:pt x="3" y="7"/>
                  </a:cubicBezTo>
                  <a:cubicBezTo>
                    <a:pt x="6"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2" name="Freeform 112">
              <a:extLst>
                <a:ext uri="{FF2B5EF4-FFF2-40B4-BE49-F238E27FC236}">
                  <a16:creationId xmlns:a16="http://schemas.microsoft.com/office/drawing/2014/main" id="{B6FD6D34-02C9-4F3D-A073-60CF31067C70}"/>
                </a:ext>
              </a:extLst>
            </p:cNvPr>
            <p:cNvSpPr>
              <a:spLocks/>
            </p:cNvSpPr>
            <p:nvPr/>
          </p:nvSpPr>
          <p:spPr bwMode="auto">
            <a:xfrm>
              <a:off x="5552538" y="296577"/>
              <a:ext cx="9886" cy="14123"/>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2"/>
                    <a:pt x="2" y="3"/>
                    <a:pt x="3"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3" name="Freeform 113">
              <a:extLst>
                <a:ext uri="{FF2B5EF4-FFF2-40B4-BE49-F238E27FC236}">
                  <a16:creationId xmlns:a16="http://schemas.microsoft.com/office/drawing/2014/main" id="{217BD5EF-4DCF-47CB-AD15-297563FFAB62}"/>
                </a:ext>
              </a:extLst>
            </p:cNvPr>
            <p:cNvSpPr>
              <a:spLocks/>
            </p:cNvSpPr>
            <p:nvPr/>
          </p:nvSpPr>
          <p:spPr bwMode="auto">
            <a:xfrm>
              <a:off x="6710599" y="536664"/>
              <a:ext cx="7061" cy="4237"/>
            </a:xfrm>
            <a:custGeom>
              <a:avLst/>
              <a:gdLst>
                <a:gd name="T0" fmla="*/ 2 w 2"/>
                <a:gd name="T1" fmla="*/ 0 h 1"/>
                <a:gd name="T2" fmla="*/ 2 w 2"/>
                <a:gd name="T3" fmla="*/ 0 h 1"/>
                <a:gd name="T4" fmla="*/ 1 w 2"/>
                <a:gd name="T5" fmla="*/ 0 h 1"/>
                <a:gd name="T6" fmla="*/ 0 w 2"/>
                <a:gd name="T7" fmla="*/ 1 h 1"/>
                <a:gd name="T8" fmla="*/ 1 w 2"/>
                <a:gd name="T9" fmla="*/ 1 h 1"/>
                <a:gd name="T10" fmla="*/ 1 w 2"/>
                <a:gd name="T11" fmla="*/ 1 h 1"/>
                <a:gd name="T12" fmla="*/ 2 w 2"/>
                <a:gd name="T13" fmla="*/ 0 h 1"/>
                <a:gd name="T14" fmla="*/ 2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0"/>
                  </a:moveTo>
                  <a:cubicBezTo>
                    <a:pt x="2" y="0"/>
                    <a:pt x="2" y="0"/>
                    <a:pt x="2" y="0"/>
                  </a:cubicBezTo>
                  <a:cubicBezTo>
                    <a:pt x="1" y="0"/>
                    <a:pt x="1" y="0"/>
                    <a:pt x="1" y="0"/>
                  </a:cubicBezTo>
                  <a:cubicBezTo>
                    <a:pt x="0" y="1"/>
                    <a:pt x="0" y="1"/>
                    <a:pt x="0" y="1"/>
                  </a:cubicBezTo>
                  <a:cubicBezTo>
                    <a:pt x="0" y="1"/>
                    <a:pt x="1" y="1"/>
                    <a:pt x="1" y="1"/>
                  </a:cubicBezTo>
                  <a:cubicBezTo>
                    <a:pt x="1" y="1"/>
                    <a:pt x="1" y="1"/>
                    <a:pt x="1" y="1"/>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4" name="Freeform 114">
              <a:extLst>
                <a:ext uri="{FF2B5EF4-FFF2-40B4-BE49-F238E27FC236}">
                  <a16:creationId xmlns:a16="http://schemas.microsoft.com/office/drawing/2014/main" id="{76DAE6D8-2FC4-4337-B39B-1DE0BBBE3DC0}"/>
                </a:ext>
              </a:extLst>
            </p:cNvPr>
            <p:cNvSpPr>
              <a:spLocks/>
            </p:cNvSpPr>
            <p:nvPr/>
          </p:nvSpPr>
          <p:spPr bwMode="auto">
            <a:xfrm>
              <a:off x="7104623" y="720259"/>
              <a:ext cx="29658" cy="9886"/>
            </a:xfrm>
            <a:custGeom>
              <a:avLst/>
              <a:gdLst>
                <a:gd name="T0" fmla="*/ 9 w 9"/>
                <a:gd name="T1" fmla="*/ 0 h 3"/>
                <a:gd name="T2" fmla="*/ 0 w 9"/>
                <a:gd name="T3" fmla="*/ 3 h 3"/>
                <a:gd name="T4" fmla="*/ 9 w 9"/>
                <a:gd name="T5" fmla="*/ 0 h 3"/>
                <a:gd name="T6" fmla="*/ 9 w 9"/>
                <a:gd name="T7" fmla="*/ 0 h 3"/>
              </a:gdLst>
              <a:ahLst/>
              <a:cxnLst>
                <a:cxn ang="0">
                  <a:pos x="T0" y="T1"/>
                </a:cxn>
                <a:cxn ang="0">
                  <a:pos x="T2" y="T3"/>
                </a:cxn>
                <a:cxn ang="0">
                  <a:pos x="T4" y="T5"/>
                </a:cxn>
                <a:cxn ang="0">
                  <a:pos x="T6" y="T7"/>
                </a:cxn>
              </a:cxnLst>
              <a:rect l="0" t="0" r="r" b="b"/>
              <a:pathLst>
                <a:path w="9" h="3">
                  <a:moveTo>
                    <a:pt x="9" y="0"/>
                  </a:moveTo>
                  <a:cubicBezTo>
                    <a:pt x="6" y="0"/>
                    <a:pt x="2" y="2"/>
                    <a:pt x="0" y="3"/>
                  </a:cubicBezTo>
                  <a:cubicBezTo>
                    <a:pt x="3" y="2"/>
                    <a:pt x="6" y="1"/>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5" name="Freeform 115">
              <a:extLst>
                <a:ext uri="{FF2B5EF4-FFF2-40B4-BE49-F238E27FC236}">
                  <a16:creationId xmlns:a16="http://schemas.microsoft.com/office/drawing/2014/main" id="{AF776E9D-9F45-4600-8E0F-852EA93CD7A5}"/>
                </a:ext>
              </a:extLst>
            </p:cNvPr>
            <p:cNvSpPr>
              <a:spLocks/>
            </p:cNvSpPr>
            <p:nvPr/>
          </p:nvSpPr>
          <p:spPr bwMode="auto">
            <a:xfrm>
              <a:off x="7738732" y="9886"/>
              <a:ext cx="59315" cy="76263"/>
            </a:xfrm>
            <a:custGeom>
              <a:avLst/>
              <a:gdLst>
                <a:gd name="T0" fmla="*/ 5 w 18"/>
                <a:gd name="T1" fmla="*/ 0 h 23"/>
                <a:gd name="T2" fmla="*/ 5 w 18"/>
                <a:gd name="T3" fmla="*/ 9 h 23"/>
                <a:gd name="T4" fmla="*/ 4 w 18"/>
                <a:gd name="T5" fmla="*/ 12 h 23"/>
                <a:gd name="T6" fmla="*/ 5 w 18"/>
                <a:gd name="T7" fmla="*/ 16 h 23"/>
                <a:gd name="T8" fmla="*/ 2 w 18"/>
                <a:gd name="T9" fmla="*/ 13 h 23"/>
                <a:gd name="T10" fmla="*/ 0 w 18"/>
                <a:gd name="T11" fmla="*/ 14 h 23"/>
                <a:gd name="T12" fmla="*/ 5 w 18"/>
                <a:gd name="T13" fmla="*/ 18 h 23"/>
                <a:gd name="T14" fmla="*/ 8 w 18"/>
                <a:gd name="T15" fmla="*/ 20 h 23"/>
                <a:gd name="T16" fmla="*/ 10 w 18"/>
                <a:gd name="T17" fmla="*/ 23 h 23"/>
                <a:gd name="T18" fmla="*/ 10 w 18"/>
                <a:gd name="T19" fmla="*/ 23 h 23"/>
                <a:gd name="T20" fmla="*/ 14 w 18"/>
                <a:gd name="T21" fmla="*/ 19 h 23"/>
                <a:gd name="T22" fmla="*/ 17 w 18"/>
                <a:gd name="T23" fmla="*/ 18 h 23"/>
                <a:gd name="T24" fmla="*/ 15 w 18"/>
                <a:gd name="T25" fmla="*/ 10 h 23"/>
                <a:gd name="T26" fmla="*/ 5 w 18"/>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3">
                  <a:moveTo>
                    <a:pt x="5" y="0"/>
                  </a:moveTo>
                  <a:cubicBezTo>
                    <a:pt x="6" y="4"/>
                    <a:pt x="7" y="6"/>
                    <a:pt x="5" y="9"/>
                  </a:cubicBezTo>
                  <a:cubicBezTo>
                    <a:pt x="4" y="10"/>
                    <a:pt x="3" y="11"/>
                    <a:pt x="4" y="12"/>
                  </a:cubicBezTo>
                  <a:cubicBezTo>
                    <a:pt x="4" y="14"/>
                    <a:pt x="7" y="14"/>
                    <a:pt x="5" y="16"/>
                  </a:cubicBezTo>
                  <a:cubicBezTo>
                    <a:pt x="4" y="15"/>
                    <a:pt x="3" y="14"/>
                    <a:pt x="2" y="13"/>
                  </a:cubicBezTo>
                  <a:cubicBezTo>
                    <a:pt x="2" y="13"/>
                    <a:pt x="0" y="14"/>
                    <a:pt x="0" y="14"/>
                  </a:cubicBezTo>
                  <a:cubicBezTo>
                    <a:pt x="0" y="16"/>
                    <a:pt x="4" y="17"/>
                    <a:pt x="5" y="18"/>
                  </a:cubicBezTo>
                  <a:cubicBezTo>
                    <a:pt x="6" y="19"/>
                    <a:pt x="7" y="19"/>
                    <a:pt x="8" y="20"/>
                  </a:cubicBezTo>
                  <a:cubicBezTo>
                    <a:pt x="9" y="21"/>
                    <a:pt x="9" y="23"/>
                    <a:pt x="10" y="23"/>
                  </a:cubicBezTo>
                  <a:cubicBezTo>
                    <a:pt x="10" y="23"/>
                    <a:pt x="10" y="23"/>
                    <a:pt x="10" y="23"/>
                  </a:cubicBezTo>
                  <a:cubicBezTo>
                    <a:pt x="12" y="22"/>
                    <a:pt x="13" y="20"/>
                    <a:pt x="14" y="19"/>
                  </a:cubicBezTo>
                  <a:cubicBezTo>
                    <a:pt x="14" y="19"/>
                    <a:pt x="16" y="19"/>
                    <a:pt x="17" y="18"/>
                  </a:cubicBezTo>
                  <a:cubicBezTo>
                    <a:pt x="18" y="16"/>
                    <a:pt x="16" y="11"/>
                    <a:pt x="15" y="10"/>
                  </a:cubicBezTo>
                  <a:cubicBezTo>
                    <a:pt x="12" y="4"/>
                    <a:pt x="12"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6" name="Freeform 116">
              <a:extLst>
                <a:ext uri="{FF2B5EF4-FFF2-40B4-BE49-F238E27FC236}">
                  <a16:creationId xmlns:a16="http://schemas.microsoft.com/office/drawing/2014/main" id="{ADF352FA-3A25-4F0E-A1A4-DC421A3CA43D}"/>
                </a:ext>
              </a:extLst>
            </p:cNvPr>
            <p:cNvSpPr>
              <a:spLocks/>
            </p:cNvSpPr>
            <p:nvPr/>
          </p:nvSpPr>
          <p:spPr bwMode="auto">
            <a:xfrm>
              <a:off x="7814994" y="22596"/>
              <a:ext cx="12710" cy="4237"/>
            </a:xfrm>
            <a:custGeom>
              <a:avLst/>
              <a:gdLst>
                <a:gd name="T0" fmla="*/ 4 w 4"/>
                <a:gd name="T1" fmla="*/ 0 h 1"/>
                <a:gd name="T2" fmla="*/ 0 w 4"/>
                <a:gd name="T3" fmla="*/ 1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cubicBezTo>
                    <a:pt x="2" y="0"/>
                    <a:pt x="1" y="1"/>
                    <a:pt x="0" y="1"/>
                  </a:cubicBezTo>
                  <a:cubicBezTo>
                    <a:pt x="0" y="1"/>
                    <a:pt x="0" y="1"/>
                    <a:pt x="0" y="1"/>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7" name="Freeform 117">
              <a:extLst>
                <a:ext uri="{FF2B5EF4-FFF2-40B4-BE49-F238E27FC236}">
                  <a16:creationId xmlns:a16="http://schemas.microsoft.com/office/drawing/2014/main" id="{762F26EE-A1D2-4938-8B07-C31D8E5E6FB8}"/>
                </a:ext>
              </a:extLst>
            </p:cNvPr>
            <p:cNvSpPr>
              <a:spLocks/>
            </p:cNvSpPr>
            <p:nvPr/>
          </p:nvSpPr>
          <p:spPr bwMode="auto">
            <a:xfrm>
              <a:off x="7901143" y="5649"/>
              <a:ext cx="16947" cy="50842"/>
            </a:xfrm>
            <a:custGeom>
              <a:avLst/>
              <a:gdLst>
                <a:gd name="T0" fmla="*/ 1 w 5"/>
                <a:gd name="T1" fmla="*/ 0 h 15"/>
                <a:gd name="T2" fmla="*/ 4 w 5"/>
                <a:gd name="T3" fmla="*/ 3 h 15"/>
                <a:gd name="T4" fmla="*/ 3 w 5"/>
                <a:gd name="T5" fmla="*/ 9 h 15"/>
                <a:gd name="T6" fmla="*/ 4 w 5"/>
                <a:gd name="T7" fmla="*/ 9 h 15"/>
                <a:gd name="T8" fmla="*/ 1 w 5"/>
                <a:gd name="T9" fmla="*/ 11 h 15"/>
                <a:gd name="T10" fmla="*/ 0 w 5"/>
                <a:gd name="T11" fmla="*/ 11 h 15"/>
                <a:gd name="T12" fmla="*/ 4 w 5"/>
                <a:gd name="T13" fmla="*/ 15 h 15"/>
                <a:gd name="T14" fmla="*/ 4 w 5"/>
                <a:gd name="T15" fmla="*/ 7 h 15"/>
                <a:gd name="T16" fmla="*/ 1 w 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5">
                  <a:moveTo>
                    <a:pt x="1" y="0"/>
                  </a:moveTo>
                  <a:cubicBezTo>
                    <a:pt x="1" y="2"/>
                    <a:pt x="3" y="2"/>
                    <a:pt x="4" y="3"/>
                  </a:cubicBezTo>
                  <a:cubicBezTo>
                    <a:pt x="5" y="6"/>
                    <a:pt x="2" y="7"/>
                    <a:pt x="3" y="9"/>
                  </a:cubicBezTo>
                  <a:cubicBezTo>
                    <a:pt x="4" y="9"/>
                    <a:pt x="4" y="9"/>
                    <a:pt x="4" y="9"/>
                  </a:cubicBezTo>
                  <a:cubicBezTo>
                    <a:pt x="3" y="10"/>
                    <a:pt x="2" y="11"/>
                    <a:pt x="1" y="11"/>
                  </a:cubicBezTo>
                  <a:cubicBezTo>
                    <a:pt x="1" y="11"/>
                    <a:pt x="1" y="11"/>
                    <a:pt x="0" y="11"/>
                  </a:cubicBezTo>
                  <a:cubicBezTo>
                    <a:pt x="2" y="12"/>
                    <a:pt x="2" y="14"/>
                    <a:pt x="4" y="15"/>
                  </a:cubicBezTo>
                  <a:cubicBezTo>
                    <a:pt x="5" y="12"/>
                    <a:pt x="4" y="9"/>
                    <a:pt x="4" y="7"/>
                  </a:cubicBezTo>
                  <a:cubicBezTo>
                    <a:pt x="5" y="3"/>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8" name="Freeform 118">
              <a:extLst>
                <a:ext uri="{FF2B5EF4-FFF2-40B4-BE49-F238E27FC236}">
                  <a16:creationId xmlns:a16="http://schemas.microsoft.com/office/drawing/2014/main" id="{E4D9AF1A-1DB5-4C85-8B49-21BECDBE757C}"/>
                </a:ext>
              </a:extLst>
            </p:cNvPr>
            <p:cNvSpPr>
              <a:spLocks/>
            </p:cNvSpPr>
            <p:nvPr/>
          </p:nvSpPr>
          <p:spPr bwMode="auto">
            <a:xfrm>
              <a:off x="7944923" y="53666"/>
              <a:ext cx="36719" cy="46605"/>
            </a:xfrm>
            <a:custGeom>
              <a:avLst/>
              <a:gdLst>
                <a:gd name="T0" fmla="*/ 1 w 11"/>
                <a:gd name="T1" fmla="*/ 0 h 14"/>
                <a:gd name="T2" fmla="*/ 5 w 11"/>
                <a:gd name="T3" fmla="*/ 5 h 14"/>
                <a:gd name="T4" fmla="*/ 7 w 11"/>
                <a:gd name="T5" fmla="*/ 14 h 14"/>
                <a:gd name="T6" fmla="*/ 8 w 11"/>
                <a:gd name="T7" fmla="*/ 9 h 14"/>
                <a:gd name="T8" fmla="*/ 1 w 11"/>
                <a:gd name="T9" fmla="*/ 0 h 14"/>
              </a:gdLst>
              <a:ahLst/>
              <a:cxnLst>
                <a:cxn ang="0">
                  <a:pos x="T0" y="T1"/>
                </a:cxn>
                <a:cxn ang="0">
                  <a:pos x="T2" y="T3"/>
                </a:cxn>
                <a:cxn ang="0">
                  <a:pos x="T4" y="T5"/>
                </a:cxn>
                <a:cxn ang="0">
                  <a:pos x="T6" y="T7"/>
                </a:cxn>
                <a:cxn ang="0">
                  <a:pos x="T8" y="T9"/>
                </a:cxn>
              </a:cxnLst>
              <a:rect l="0" t="0" r="r" b="b"/>
              <a:pathLst>
                <a:path w="11" h="14">
                  <a:moveTo>
                    <a:pt x="1" y="0"/>
                  </a:moveTo>
                  <a:cubicBezTo>
                    <a:pt x="0" y="1"/>
                    <a:pt x="4" y="4"/>
                    <a:pt x="5" y="5"/>
                  </a:cubicBezTo>
                  <a:cubicBezTo>
                    <a:pt x="7" y="8"/>
                    <a:pt x="9" y="10"/>
                    <a:pt x="7" y="14"/>
                  </a:cubicBezTo>
                  <a:cubicBezTo>
                    <a:pt x="10" y="12"/>
                    <a:pt x="11" y="12"/>
                    <a:pt x="8" y="9"/>
                  </a:cubicBezTo>
                  <a:cubicBezTo>
                    <a:pt x="6" y="6"/>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9" name="Freeform 119">
              <a:extLst>
                <a:ext uri="{FF2B5EF4-FFF2-40B4-BE49-F238E27FC236}">
                  <a16:creationId xmlns:a16="http://schemas.microsoft.com/office/drawing/2014/main" id="{D8CD7C31-13E9-4CD4-8CA8-9DFB81566C07}"/>
                </a:ext>
              </a:extLst>
            </p:cNvPr>
            <p:cNvSpPr>
              <a:spLocks/>
            </p:cNvSpPr>
            <p:nvPr/>
          </p:nvSpPr>
          <p:spPr bwMode="auto">
            <a:xfrm>
              <a:off x="8388376" y="1021074"/>
              <a:ext cx="14123" cy="16947"/>
            </a:xfrm>
            <a:custGeom>
              <a:avLst/>
              <a:gdLst>
                <a:gd name="T0" fmla="*/ 0 w 4"/>
                <a:gd name="T1" fmla="*/ 0 h 5"/>
                <a:gd name="T2" fmla="*/ 1 w 4"/>
                <a:gd name="T3" fmla="*/ 3 h 5"/>
                <a:gd name="T4" fmla="*/ 4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0" y="1"/>
                    <a:pt x="0" y="2"/>
                    <a:pt x="1" y="3"/>
                  </a:cubicBezTo>
                  <a:cubicBezTo>
                    <a:pt x="2" y="4"/>
                    <a:pt x="2" y="5"/>
                    <a:pt x="4" y="5"/>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0" name="Freeform 120">
              <a:extLst>
                <a:ext uri="{FF2B5EF4-FFF2-40B4-BE49-F238E27FC236}">
                  <a16:creationId xmlns:a16="http://schemas.microsoft.com/office/drawing/2014/main" id="{347726AE-BAC0-4E2C-9FD7-EC5FAFB27C51}"/>
                </a:ext>
              </a:extLst>
            </p:cNvPr>
            <p:cNvSpPr>
              <a:spLocks/>
            </p:cNvSpPr>
            <p:nvPr/>
          </p:nvSpPr>
          <p:spPr bwMode="auto">
            <a:xfrm>
              <a:off x="8855837" y="1165126"/>
              <a:ext cx="7061" cy="2825"/>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1" name="Freeform 121">
              <a:extLst>
                <a:ext uri="{FF2B5EF4-FFF2-40B4-BE49-F238E27FC236}">
                  <a16:creationId xmlns:a16="http://schemas.microsoft.com/office/drawing/2014/main" id="{06D8202A-4FC0-46F3-9960-ECA4A0553B50}"/>
                </a:ext>
              </a:extLst>
            </p:cNvPr>
            <p:cNvSpPr>
              <a:spLocks/>
            </p:cNvSpPr>
            <p:nvPr/>
          </p:nvSpPr>
          <p:spPr bwMode="auto">
            <a:xfrm>
              <a:off x="8745680" y="1151003"/>
              <a:ext cx="14123" cy="7061"/>
            </a:xfrm>
            <a:custGeom>
              <a:avLst/>
              <a:gdLst>
                <a:gd name="T0" fmla="*/ 2 w 4"/>
                <a:gd name="T1" fmla="*/ 0 h 2"/>
                <a:gd name="T2" fmla="*/ 0 w 4"/>
                <a:gd name="T3" fmla="*/ 1 h 2"/>
                <a:gd name="T4" fmla="*/ 3 w 4"/>
                <a:gd name="T5" fmla="*/ 2 h 2"/>
                <a:gd name="T6" fmla="*/ 4 w 4"/>
                <a:gd name="T7" fmla="*/ 0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cubicBezTo>
                    <a:pt x="2" y="0"/>
                    <a:pt x="1" y="0"/>
                    <a:pt x="0" y="1"/>
                  </a:cubicBezTo>
                  <a:cubicBezTo>
                    <a:pt x="1" y="1"/>
                    <a:pt x="2" y="2"/>
                    <a:pt x="3" y="2"/>
                  </a:cubicBezTo>
                  <a:cubicBezTo>
                    <a:pt x="4" y="1"/>
                    <a:pt x="4" y="1"/>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2" name="Freeform 122">
              <a:extLst>
                <a:ext uri="{FF2B5EF4-FFF2-40B4-BE49-F238E27FC236}">
                  <a16:creationId xmlns:a16="http://schemas.microsoft.com/office/drawing/2014/main" id="{23A8FDC5-4BD1-46B7-A6B5-BD9F79A5B7FA}"/>
                </a:ext>
              </a:extLst>
            </p:cNvPr>
            <p:cNvSpPr>
              <a:spLocks/>
            </p:cNvSpPr>
            <p:nvPr/>
          </p:nvSpPr>
          <p:spPr bwMode="auto">
            <a:xfrm>
              <a:off x="8826180" y="1135468"/>
              <a:ext cx="46605" cy="22596"/>
            </a:xfrm>
            <a:custGeom>
              <a:avLst/>
              <a:gdLst>
                <a:gd name="T0" fmla="*/ 12 w 14"/>
                <a:gd name="T1" fmla="*/ 0 h 7"/>
                <a:gd name="T2" fmla="*/ 6 w 14"/>
                <a:gd name="T3" fmla="*/ 4 h 7"/>
                <a:gd name="T4" fmla="*/ 6 w 14"/>
                <a:gd name="T5" fmla="*/ 4 h 7"/>
                <a:gd name="T6" fmla="*/ 4 w 14"/>
                <a:gd name="T7" fmla="*/ 3 h 7"/>
                <a:gd name="T8" fmla="*/ 3 w 14"/>
                <a:gd name="T9" fmla="*/ 2 h 7"/>
                <a:gd name="T10" fmla="*/ 0 w 14"/>
                <a:gd name="T11" fmla="*/ 3 h 7"/>
                <a:gd name="T12" fmla="*/ 8 w 14"/>
                <a:gd name="T13" fmla="*/ 7 h 7"/>
                <a:gd name="T14" fmla="*/ 13 w 14"/>
                <a:gd name="T15" fmla="*/ 5 h 7"/>
                <a:gd name="T16" fmla="*/ 12 w 1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12" y="0"/>
                  </a:moveTo>
                  <a:cubicBezTo>
                    <a:pt x="10" y="1"/>
                    <a:pt x="8" y="4"/>
                    <a:pt x="6" y="4"/>
                  </a:cubicBezTo>
                  <a:cubicBezTo>
                    <a:pt x="6" y="4"/>
                    <a:pt x="6" y="4"/>
                    <a:pt x="6" y="4"/>
                  </a:cubicBezTo>
                  <a:cubicBezTo>
                    <a:pt x="5" y="4"/>
                    <a:pt x="5" y="3"/>
                    <a:pt x="4" y="3"/>
                  </a:cubicBezTo>
                  <a:cubicBezTo>
                    <a:pt x="4" y="2"/>
                    <a:pt x="3" y="2"/>
                    <a:pt x="3" y="2"/>
                  </a:cubicBezTo>
                  <a:cubicBezTo>
                    <a:pt x="2" y="2"/>
                    <a:pt x="1" y="2"/>
                    <a:pt x="0" y="3"/>
                  </a:cubicBezTo>
                  <a:cubicBezTo>
                    <a:pt x="3" y="4"/>
                    <a:pt x="5" y="6"/>
                    <a:pt x="8" y="7"/>
                  </a:cubicBezTo>
                  <a:cubicBezTo>
                    <a:pt x="10" y="6"/>
                    <a:pt x="12" y="7"/>
                    <a:pt x="13" y="5"/>
                  </a:cubicBezTo>
                  <a:cubicBezTo>
                    <a:pt x="14" y="4"/>
                    <a:pt x="13"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3" name="Freeform 123">
              <a:extLst>
                <a:ext uri="{FF2B5EF4-FFF2-40B4-BE49-F238E27FC236}">
                  <a16:creationId xmlns:a16="http://schemas.microsoft.com/office/drawing/2014/main" id="{814B1ECE-D96F-4F25-BD04-52733E3A088F}"/>
                </a:ext>
              </a:extLst>
            </p:cNvPr>
            <p:cNvSpPr>
              <a:spLocks/>
            </p:cNvSpPr>
            <p:nvPr/>
          </p:nvSpPr>
          <p:spPr bwMode="auto">
            <a:xfrm>
              <a:off x="10865497" y="6654633"/>
              <a:ext cx="173709" cy="96035"/>
            </a:xfrm>
            <a:custGeom>
              <a:avLst/>
              <a:gdLst>
                <a:gd name="T0" fmla="*/ 7 w 52"/>
                <a:gd name="T1" fmla="*/ 0 h 29"/>
                <a:gd name="T2" fmla="*/ 5 w 52"/>
                <a:gd name="T3" fmla="*/ 1 h 29"/>
                <a:gd name="T4" fmla="*/ 4 w 52"/>
                <a:gd name="T5" fmla="*/ 0 h 29"/>
                <a:gd name="T6" fmla="*/ 0 w 52"/>
                <a:gd name="T7" fmla="*/ 1 h 29"/>
                <a:gd name="T8" fmla="*/ 8 w 52"/>
                <a:gd name="T9" fmla="*/ 6 h 29"/>
                <a:gd name="T10" fmla="*/ 14 w 52"/>
                <a:gd name="T11" fmla="*/ 5 h 29"/>
                <a:gd name="T12" fmla="*/ 15 w 52"/>
                <a:gd name="T13" fmla="*/ 6 h 29"/>
                <a:gd name="T14" fmla="*/ 14 w 52"/>
                <a:gd name="T15" fmla="*/ 9 h 29"/>
                <a:gd name="T16" fmla="*/ 45 w 52"/>
                <a:gd name="T17" fmla="*/ 29 h 29"/>
                <a:gd name="T18" fmla="*/ 45 w 52"/>
                <a:gd name="T19" fmla="*/ 25 h 29"/>
                <a:gd name="T20" fmla="*/ 52 w 52"/>
                <a:gd name="T21" fmla="*/ 25 h 29"/>
                <a:gd name="T22" fmla="*/ 49 w 52"/>
                <a:gd name="T23" fmla="*/ 18 h 29"/>
                <a:gd name="T24" fmla="*/ 48 w 52"/>
                <a:gd name="T25" fmla="*/ 18 h 29"/>
                <a:gd name="T26" fmla="*/ 43 w 52"/>
                <a:gd name="T27" fmla="*/ 14 h 29"/>
                <a:gd name="T28" fmla="*/ 42 w 52"/>
                <a:gd name="T29" fmla="*/ 12 h 29"/>
                <a:gd name="T30" fmla="*/ 40 w 52"/>
                <a:gd name="T31" fmla="*/ 9 h 29"/>
                <a:gd name="T32" fmla="*/ 36 w 52"/>
                <a:gd name="T33" fmla="*/ 11 h 29"/>
                <a:gd name="T34" fmla="*/ 35 w 52"/>
                <a:gd name="T35" fmla="*/ 8 h 29"/>
                <a:gd name="T36" fmla="*/ 33 w 52"/>
                <a:gd name="T37" fmla="*/ 9 h 29"/>
                <a:gd name="T38" fmla="*/ 36 w 52"/>
                <a:gd name="T39" fmla="*/ 7 h 29"/>
                <a:gd name="T40" fmla="*/ 34 w 52"/>
                <a:gd name="T41" fmla="*/ 6 h 29"/>
                <a:gd name="T42" fmla="*/ 32 w 52"/>
                <a:gd name="T43" fmla="*/ 6 h 29"/>
                <a:gd name="T44" fmla="*/ 30 w 52"/>
                <a:gd name="T45" fmla="*/ 4 h 29"/>
                <a:gd name="T46" fmla="*/ 27 w 52"/>
                <a:gd name="T47" fmla="*/ 3 h 29"/>
                <a:gd name="T48" fmla="*/ 24 w 52"/>
                <a:gd name="T49" fmla="*/ 2 h 29"/>
                <a:gd name="T50" fmla="*/ 21 w 52"/>
                <a:gd name="T51" fmla="*/ 4 h 29"/>
                <a:gd name="T52" fmla="*/ 20 w 52"/>
                <a:gd name="T53" fmla="*/ 2 h 29"/>
                <a:gd name="T54" fmla="*/ 19 w 52"/>
                <a:gd name="T55" fmla="*/ 2 h 29"/>
                <a:gd name="T56" fmla="*/ 19 w 52"/>
                <a:gd name="T57" fmla="*/ 2 h 29"/>
                <a:gd name="T58" fmla="*/ 16 w 52"/>
                <a:gd name="T59" fmla="*/ 2 h 29"/>
                <a:gd name="T60" fmla="*/ 11 w 52"/>
                <a:gd name="T61" fmla="*/ 1 h 29"/>
                <a:gd name="T62" fmla="*/ 7 w 52"/>
                <a:gd name="T6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9">
                  <a:moveTo>
                    <a:pt x="7" y="0"/>
                  </a:moveTo>
                  <a:cubicBezTo>
                    <a:pt x="7" y="0"/>
                    <a:pt x="7" y="0"/>
                    <a:pt x="7" y="0"/>
                  </a:cubicBezTo>
                  <a:cubicBezTo>
                    <a:pt x="6" y="0"/>
                    <a:pt x="6" y="1"/>
                    <a:pt x="5" y="1"/>
                  </a:cubicBezTo>
                  <a:cubicBezTo>
                    <a:pt x="5" y="1"/>
                    <a:pt x="5" y="1"/>
                    <a:pt x="5" y="1"/>
                  </a:cubicBezTo>
                  <a:cubicBezTo>
                    <a:pt x="5" y="1"/>
                    <a:pt x="5" y="1"/>
                    <a:pt x="4" y="1"/>
                  </a:cubicBezTo>
                  <a:cubicBezTo>
                    <a:pt x="4" y="0"/>
                    <a:pt x="4" y="0"/>
                    <a:pt x="4" y="0"/>
                  </a:cubicBezTo>
                  <a:cubicBezTo>
                    <a:pt x="4" y="0"/>
                    <a:pt x="4" y="0"/>
                    <a:pt x="4" y="0"/>
                  </a:cubicBezTo>
                  <a:cubicBezTo>
                    <a:pt x="2" y="0"/>
                    <a:pt x="1" y="1"/>
                    <a:pt x="0" y="1"/>
                  </a:cubicBezTo>
                  <a:cubicBezTo>
                    <a:pt x="1" y="1"/>
                    <a:pt x="9" y="1"/>
                    <a:pt x="9" y="2"/>
                  </a:cubicBezTo>
                  <a:cubicBezTo>
                    <a:pt x="10" y="4"/>
                    <a:pt x="6" y="5"/>
                    <a:pt x="8" y="6"/>
                  </a:cubicBezTo>
                  <a:cubicBezTo>
                    <a:pt x="8" y="6"/>
                    <a:pt x="9" y="6"/>
                    <a:pt x="9" y="6"/>
                  </a:cubicBezTo>
                  <a:cubicBezTo>
                    <a:pt x="10" y="6"/>
                    <a:pt x="13" y="5"/>
                    <a:pt x="14" y="5"/>
                  </a:cubicBezTo>
                  <a:cubicBezTo>
                    <a:pt x="15" y="5"/>
                    <a:pt x="17" y="5"/>
                    <a:pt x="18" y="5"/>
                  </a:cubicBezTo>
                  <a:cubicBezTo>
                    <a:pt x="17" y="6"/>
                    <a:pt x="16" y="6"/>
                    <a:pt x="15" y="6"/>
                  </a:cubicBezTo>
                  <a:cubicBezTo>
                    <a:pt x="14" y="7"/>
                    <a:pt x="15" y="7"/>
                    <a:pt x="15" y="7"/>
                  </a:cubicBezTo>
                  <a:cubicBezTo>
                    <a:pt x="15" y="7"/>
                    <a:pt x="16" y="8"/>
                    <a:pt x="14" y="9"/>
                  </a:cubicBezTo>
                  <a:cubicBezTo>
                    <a:pt x="19" y="9"/>
                    <a:pt x="23" y="9"/>
                    <a:pt x="27" y="12"/>
                  </a:cubicBezTo>
                  <a:cubicBezTo>
                    <a:pt x="35" y="16"/>
                    <a:pt x="40" y="22"/>
                    <a:pt x="45" y="29"/>
                  </a:cubicBezTo>
                  <a:cubicBezTo>
                    <a:pt x="46" y="29"/>
                    <a:pt x="48" y="28"/>
                    <a:pt x="48" y="28"/>
                  </a:cubicBezTo>
                  <a:cubicBezTo>
                    <a:pt x="47" y="27"/>
                    <a:pt x="46" y="26"/>
                    <a:pt x="45" y="25"/>
                  </a:cubicBezTo>
                  <a:cubicBezTo>
                    <a:pt x="47" y="26"/>
                    <a:pt x="48" y="26"/>
                    <a:pt x="49" y="26"/>
                  </a:cubicBezTo>
                  <a:cubicBezTo>
                    <a:pt x="50" y="26"/>
                    <a:pt x="50" y="26"/>
                    <a:pt x="52" y="25"/>
                  </a:cubicBezTo>
                  <a:cubicBezTo>
                    <a:pt x="49" y="23"/>
                    <a:pt x="48" y="22"/>
                    <a:pt x="50" y="18"/>
                  </a:cubicBezTo>
                  <a:cubicBezTo>
                    <a:pt x="50" y="18"/>
                    <a:pt x="49" y="18"/>
                    <a:pt x="49" y="18"/>
                  </a:cubicBezTo>
                  <a:cubicBezTo>
                    <a:pt x="49" y="18"/>
                    <a:pt x="49" y="18"/>
                    <a:pt x="49" y="18"/>
                  </a:cubicBezTo>
                  <a:cubicBezTo>
                    <a:pt x="48" y="18"/>
                    <a:pt x="48" y="18"/>
                    <a:pt x="48" y="18"/>
                  </a:cubicBezTo>
                  <a:cubicBezTo>
                    <a:pt x="46" y="18"/>
                    <a:pt x="43" y="18"/>
                    <a:pt x="47" y="16"/>
                  </a:cubicBezTo>
                  <a:cubicBezTo>
                    <a:pt x="46" y="15"/>
                    <a:pt x="44" y="15"/>
                    <a:pt x="43" y="14"/>
                  </a:cubicBezTo>
                  <a:cubicBezTo>
                    <a:pt x="43" y="14"/>
                    <a:pt x="44" y="13"/>
                    <a:pt x="43" y="13"/>
                  </a:cubicBezTo>
                  <a:cubicBezTo>
                    <a:pt x="42" y="12"/>
                    <a:pt x="42" y="12"/>
                    <a:pt x="42" y="12"/>
                  </a:cubicBezTo>
                  <a:cubicBezTo>
                    <a:pt x="42" y="12"/>
                    <a:pt x="41" y="13"/>
                    <a:pt x="42" y="11"/>
                  </a:cubicBezTo>
                  <a:cubicBezTo>
                    <a:pt x="41" y="11"/>
                    <a:pt x="41" y="9"/>
                    <a:pt x="40" y="9"/>
                  </a:cubicBezTo>
                  <a:cubicBezTo>
                    <a:pt x="40" y="9"/>
                    <a:pt x="39" y="9"/>
                    <a:pt x="39" y="9"/>
                  </a:cubicBezTo>
                  <a:cubicBezTo>
                    <a:pt x="38" y="9"/>
                    <a:pt x="37" y="10"/>
                    <a:pt x="36" y="11"/>
                  </a:cubicBezTo>
                  <a:cubicBezTo>
                    <a:pt x="35" y="10"/>
                    <a:pt x="36" y="8"/>
                    <a:pt x="36" y="8"/>
                  </a:cubicBezTo>
                  <a:cubicBezTo>
                    <a:pt x="35" y="8"/>
                    <a:pt x="35" y="8"/>
                    <a:pt x="35" y="8"/>
                  </a:cubicBezTo>
                  <a:cubicBezTo>
                    <a:pt x="34" y="8"/>
                    <a:pt x="34" y="9"/>
                    <a:pt x="33" y="9"/>
                  </a:cubicBezTo>
                  <a:cubicBezTo>
                    <a:pt x="33" y="9"/>
                    <a:pt x="33" y="9"/>
                    <a:pt x="33" y="9"/>
                  </a:cubicBezTo>
                  <a:cubicBezTo>
                    <a:pt x="31" y="9"/>
                    <a:pt x="31" y="8"/>
                    <a:pt x="32" y="8"/>
                  </a:cubicBezTo>
                  <a:cubicBezTo>
                    <a:pt x="33" y="7"/>
                    <a:pt x="35" y="7"/>
                    <a:pt x="36" y="7"/>
                  </a:cubicBezTo>
                  <a:cubicBezTo>
                    <a:pt x="36" y="7"/>
                    <a:pt x="36" y="7"/>
                    <a:pt x="36" y="7"/>
                  </a:cubicBezTo>
                  <a:cubicBezTo>
                    <a:pt x="35" y="6"/>
                    <a:pt x="34" y="6"/>
                    <a:pt x="34" y="6"/>
                  </a:cubicBezTo>
                  <a:cubicBezTo>
                    <a:pt x="33" y="6"/>
                    <a:pt x="33" y="6"/>
                    <a:pt x="33" y="6"/>
                  </a:cubicBezTo>
                  <a:cubicBezTo>
                    <a:pt x="32" y="6"/>
                    <a:pt x="32" y="6"/>
                    <a:pt x="32" y="6"/>
                  </a:cubicBezTo>
                  <a:cubicBezTo>
                    <a:pt x="31" y="6"/>
                    <a:pt x="30" y="6"/>
                    <a:pt x="32" y="4"/>
                  </a:cubicBezTo>
                  <a:cubicBezTo>
                    <a:pt x="31" y="4"/>
                    <a:pt x="31" y="4"/>
                    <a:pt x="30" y="4"/>
                  </a:cubicBezTo>
                  <a:cubicBezTo>
                    <a:pt x="30" y="4"/>
                    <a:pt x="29" y="4"/>
                    <a:pt x="28" y="5"/>
                  </a:cubicBezTo>
                  <a:cubicBezTo>
                    <a:pt x="28" y="3"/>
                    <a:pt x="28" y="3"/>
                    <a:pt x="27" y="3"/>
                  </a:cubicBezTo>
                  <a:cubicBezTo>
                    <a:pt x="26" y="3"/>
                    <a:pt x="24" y="4"/>
                    <a:pt x="23" y="4"/>
                  </a:cubicBezTo>
                  <a:cubicBezTo>
                    <a:pt x="24" y="4"/>
                    <a:pt x="24" y="3"/>
                    <a:pt x="24" y="2"/>
                  </a:cubicBezTo>
                  <a:cubicBezTo>
                    <a:pt x="22" y="2"/>
                    <a:pt x="22" y="4"/>
                    <a:pt x="21" y="4"/>
                  </a:cubicBezTo>
                  <a:cubicBezTo>
                    <a:pt x="21" y="4"/>
                    <a:pt x="21" y="4"/>
                    <a:pt x="21" y="4"/>
                  </a:cubicBezTo>
                  <a:cubicBezTo>
                    <a:pt x="21" y="4"/>
                    <a:pt x="21" y="2"/>
                    <a:pt x="21" y="2"/>
                  </a:cubicBezTo>
                  <a:cubicBezTo>
                    <a:pt x="20" y="2"/>
                    <a:pt x="20" y="2"/>
                    <a:pt x="20" y="2"/>
                  </a:cubicBezTo>
                  <a:cubicBezTo>
                    <a:pt x="20" y="2"/>
                    <a:pt x="20" y="2"/>
                    <a:pt x="20" y="2"/>
                  </a:cubicBezTo>
                  <a:cubicBezTo>
                    <a:pt x="19" y="2"/>
                    <a:pt x="19" y="2"/>
                    <a:pt x="19" y="2"/>
                  </a:cubicBezTo>
                  <a:cubicBezTo>
                    <a:pt x="19" y="2"/>
                    <a:pt x="19" y="2"/>
                    <a:pt x="19" y="2"/>
                  </a:cubicBezTo>
                  <a:cubicBezTo>
                    <a:pt x="19" y="2"/>
                    <a:pt x="19" y="2"/>
                    <a:pt x="19" y="2"/>
                  </a:cubicBezTo>
                  <a:cubicBezTo>
                    <a:pt x="18" y="2"/>
                    <a:pt x="18" y="2"/>
                    <a:pt x="17" y="2"/>
                  </a:cubicBezTo>
                  <a:cubicBezTo>
                    <a:pt x="17" y="2"/>
                    <a:pt x="17" y="2"/>
                    <a:pt x="16" y="2"/>
                  </a:cubicBezTo>
                  <a:cubicBezTo>
                    <a:pt x="15" y="2"/>
                    <a:pt x="13" y="2"/>
                    <a:pt x="13" y="0"/>
                  </a:cubicBezTo>
                  <a:cubicBezTo>
                    <a:pt x="13" y="1"/>
                    <a:pt x="12" y="1"/>
                    <a:pt x="11" y="1"/>
                  </a:cubicBezTo>
                  <a:cubicBezTo>
                    <a:pt x="11" y="1"/>
                    <a:pt x="10" y="1"/>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4" name="Freeform 124">
              <a:extLst>
                <a:ext uri="{FF2B5EF4-FFF2-40B4-BE49-F238E27FC236}">
                  <a16:creationId xmlns:a16="http://schemas.microsoft.com/office/drawing/2014/main" id="{26032835-85DB-4E21-B4C6-CB1B3540E7EC}"/>
                </a:ext>
              </a:extLst>
            </p:cNvPr>
            <p:cNvSpPr>
              <a:spLocks/>
            </p:cNvSpPr>
            <p:nvPr/>
          </p:nvSpPr>
          <p:spPr bwMode="auto">
            <a:xfrm>
              <a:off x="8038133" y="5788909"/>
              <a:ext cx="26833" cy="26833"/>
            </a:xfrm>
            <a:custGeom>
              <a:avLst/>
              <a:gdLst>
                <a:gd name="T0" fmla="*/ 5 w 8"/>
                <a:gd name="T1" fmla="*/ 0 h 8"/>
                <a:gd name="T2" fmla="*/ 4 w 8"/>
                <a:gd name="T3" fmla="*/ 8 h 8"/>
                <a:gd name="T4" fmla="*/ 8 w 8"/>
                <a:gd name="T5" fmla="*/ 5 h 8"/>
                <a:gd name="T6" fmla="*/ 7 w 8"/>
                <a:gd name="T7" fmla="*/ 1 h 8"/>
                <a:gd name="T8" fmla="*/ 5 w 8"/>
                <a:gd name="T9" fmla="*/ 0 h 8"/>
              </a:gdLst>
              <a:ahLst/>
              <a:cxnLst>
                <a:cxn ang="0">
                  <a:pos x="T0" y="T1"/>
                </a:cxn>
                <a:cxn ang="0">
                  <a:pos x="T2" y="T3"/>
                </a:cxn>
                <a:cxn ang="0">
                  <a:pos x="T4" y="T5"/>
                </a:cxn>
                <a:cxn ang="0">
                  <a:pos x="T6" y="T7"/>
                </a:cxn>
                <a:cxn ang="0">
                  <a:pos x="T8" y="T9"/>
                </a:cxn>
              </a:cxnLst>
              <a:rect l="0" t="0" r="r" b="b"/>
              <a:pathLst>
                <a:path w="8" h="8">
                  <a:moveTo>
                    <a:pt x="5" y="0"/>
                  </a:moveTo>
                  <a:cubicBezTo>
                    <a:pt x="2" y="0"/>
                    <a:pt x="0" y="8"/>
                    <a:pt x="4" y="8"/>
                  </a:cubicBezTo>
                  <a:cubicBezTo>
                    <a:pt x="5" y="6"/>
                    <a:pt x="7" y="7"/>
                    <a:pt x="8" y="5"/>
                  </a:cubicBezTo>
                  <a:cubicBezTo>
                    <a:pt x="8" y="4"/>
                    <a:pt x="7" y="2"/>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5" name="Freeform 125">
              <a:extLst>
                <a:ext uri="{FF2B5EF4-FFF2-40B4-BE49-F238E27FC236}">
                  <a16:creationId xmlns:a16="http://schemas.microsoft.com/office/drawing/2014/main" id="{C8A891A1-F479-4941-AFEB-CF7CE0A5BC7F}"/>
                </a:ext>
              </a:extLst>
            </p:cNvPr>
            <p:cNvSpPr>
              <a:spLocks/>
            </p:cNvSpPr>
            <p:nvPr/>
          </p:nvSpPr>
          <p:spPr bwMode="auto">
            <a:xfrm>
              <a:off x="8011300" y="6461151"/>
              <a:ext cx="24009" cy="12710"/>
            </a:xfrm>
            <a:custGeom>
              <a:avLst/>
              <a:gdLst>
                <a:gd name="T0" fmla="*/ 0 w 7"/>
                <a:gd name="T1" fmla="*/ 0 h 4"/>
                <a:gd name="T2" fmla="*/ 4 w 7"/>
                <a:gd name="T3" fmla="*/ 4 h 4"/>
                <a:gd name="T4" fmla="*/ 7 w 7"/>
                <a:gd name="T5" fmla="*/ 1 h 4"/>
                <a:gd name="T6" fmla="*/ 5 w 7"/>
                <a:gd name="T7" fmla="*/ 1 h 4"/>
                <a:gd name="T8" fmla="*/ 4 w 7"/>
                <a:gd name="T9" fmla="*/ 1 h 4"/>
                <a:gd name="T10" fmla="*/ 3 w 7"/>
                <a:gd name="T11" fmla="*/ 1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cubicBezTo>
                    <a:pt x="1" y="2"/>
                    <a:pt x="2" y="3"/>
                    <a:pt x="4" y="4"/>
                  </a:cubicBezTo>
                  <a:cubicBezTo>
                    <a:pt x="5" y="3"/>
                    <a:pt x="6" y="2"/>
                    <a:pt x="7" y="1"/>
                  </a:cubicBezTo>
                  <a:cubicBezTo>
                    <a:pt x="6" y="1"/>
                    <a:pt x="6" y="1"/>
                    <a:pt x="5" y="1"/>
                  </a:cubicBezTo>
                  <a:cubicBezTo>
                    <a:pt x="5" y="1"/>
                    <a:pt x="5" y="1"/>
                    <a:pt x="4" y="1"/>
                  </a:cubicBezTo>
                  <a:cubicBezTo>
                    <a:pt x="4" y="1"/>
                    <a:pt x="4"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6" name="Freeform 126">
              <a:extLst>
                <a:ext uri="{FF2B5EF4-FFF2-40B4-BE49-F238E27FC236}">
                  <a16:creationId xmlns:a16="http://schemas.microsoft.com/office/drawing/2014/main" id="{98C28A17-AC99-4781-9179-570827B4C47D}"/>
                </a:ext>
              </a:extLst>
            </p:cNvPr>
            <p:cNvSpPr>
              <a:spLocks/>
            </p:cNvSpPr>
            <p:nvPr/>
          </p:nvSpPr>
          <p:spPr bwMode="auto">
            <a:xfrm>
              <a:off x="7985879" y="6140565"/>
              <a:ext cx="29658" cy="22596"/>
            </a:xfrm>
            <a:custGeom>
              <a:avLst/>
              <a:gdLst>
                <a:gd name="T0" fmla="*/ 7 w 9"/>
                <a:gd name="T1" fmla="*/ 0 h 7"/>
                <a:gd name="T2" fmla="*/ 6 w 9"/>
                <a:gd name="T3" fmla="*/ 0 h 7"/>
                <a:gd name="T4" fmla="*/ 5 w 9"/>
                <a:gd name="T5" fmla="*/ 0 h 7"/>
                <a:gd name="T6" fmla="*/ 4 w 9"/>
                <a:gd name="T7" fmla="*/ 0 h 7"/>
                <a:gd name="T8" fmla="*/ 3 w 9"/>
                <a:gd name="T9" fmla="*/ 0 h 7"/>
                <a:gd name="T10" fmla="*/ 2 w 9"/>
                <a:gd name="T11" fmla="*/ 1 h 7"/>
                <a:gd name="T12" fmla="*/ 4 w 9"/>
                <a:gd name="T13" fmla="*/ 5 h 7"/>
                <a:gd name="T14" fmla="*/ 8 w 9"/>
                <a:gd name="T15" fmla="*/ 7 h 7"/>
                <a:gd name="T16" fmla="*/ 7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0"/>
                  </a:moveTo>
                  <a:cubicBezTo>
                    <a:pt x="6" y="0"/>
                    <a:pt x="6" y="0"/>
                    <a:pt x="6" y="0"/>
                  </a:cubicBezTo>
                  <a:cubicBezTo>
                    <a:pt x="5" y="0"/>
                    <a:pt x="5" y="0"/>
                    <a:pt x="5" y="0"/>
                  </a:cubicBezTo>
                  <a:cubicBezTo>
                    <a:pt x="4" y="0"/>
                    <a:pt x="4" y="0"/>
                    <a:pt x="4" y="0"/>
                  </a:cubicBezTo>
                  <a:cubicBezTo>
                    <a:pt x="4" y="0"/>
                    <a:pt x="3" y="0"/>
                    <a:pt x="3" y="0"/>
                  </a:cubicBezTo>
                  <a:cubicBezTo>
                    <a:pt x="3" y="0"/>
                    <a:pt x="2" y="0"/>
                    <a:pt x="2" y="1"/>
                  </a:cubicBezTo>
                  <a:cubicBezTo>
                    <a:pt x="0" y="3"/>
                    <a:pt x="2" y="4"/>
                    <a:pt x="4" y="5"/>
                  </a:cubicBezTo>
                  <a:cubicBezTo>
                    <a:pt x="5" y="6"/>
                    <a:pt x="6" y="7"/>
                    <a:pt x="8" y="7"/>
                  </a:cubicBezTo>
                  <a:cubicBezTo>
                    <a:pt x="8" y="6"/>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7" name="Freeform 127">
              <a:extLst>
                <a:ext uri="{FF2B5EF4-FFF2-40B4-BE49-F238E27FC236}">
                  <a16:creationId xmlns:a16="http://schemas.microsoft.com/office/drawing/2014/main" id="{BBAD5823-D40F-4A44-A627-46E8510FE03E}"/>
                </a:ext>
              </a:extLst>
            </p:cNvPr>
            <p:cNvSpPr>
              <a:spLocks/>
            </p:cNvSpPr>
            <p:nvPr/>
          </p:nvSpPr>
          <p:spPr bwMode="auto">
            <a:xfrm>
              <a:off x="8028247" y="5803032"/>
              <a:ext cx="14123" cy="12710"/>
            </a:xfrm>
            <a:custGeom>
              <a:avLst/>
              <a:gdLst>
                <a:gd name="T0" fmla="*/ 4 w 4"/>
                <a:gd name="T1" fmla="*/ 0 h 4"/>
                <a:gd name="T2" fmla="*/ 0 w 4"/>
                <a:gd name="T3" fmla="*/ 4 h 4"/>
                <a:gd name="T4" fmla="*/ 2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2" y="1"/>
                    <a:pt x="1" y="2"/>
                    <a:pt x="0" y="4"/>
                  </a:cubicBezTo>
                  <a:cubicBezTo>
                    <a:pt x="1" y="4"/>
                    <a:pt x="1" y="4"/>
                    <a:pt x="2" y="4"/>
                  </a:cubicBezTo>
                  <a:cubicBezTo>
                    <a:pt x="3" y="4"/>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8" name="Freeform 128">
              <a:extLst>
                <a:ext uri="{FF2B5EF4-FFF2-40B4-BE49-F238E27FC236}">
                  <a16:creationId xmlns:a16="http://schemas.microsoft.com/office/drawing/2014/main" id="{9029D5A7-7F6F-4BFE-816C-01E6C68FFC21}"/>
                </a:ext>
              </a:extLst>
            </p:cNvPr>
            <p:cNvSpPr>
              <a:spLocks/>
            </p:cNvSpPr>
            <p:nvPr/>
          </p:nvSpPr>
          <p:spPr bwMode="auto">
            <a:xfrm>
              <a:off x="7954809" y="6079837"/>
              <a:ext cx="31070" cy="26833"/>
            </a:xfrm>
            <a:custGeom>
              <a:avLst/>
              <a:gdLst>
                <a:gd name="T0" fmla="*/ 6 w 9"/>
                <a:gd name="T1" fmla="*/ 0 h 8"/>
                <a:gd name="T2" fmla="*/ 4 w 9"/>
                <a:gd name="T3" fmla="*/ 1 h 8"/>
                <a:gd name="T4" fmla="*/ 3 w 9"/>
                <a:gd name="T5" fmla="*/ 1 h 8"/>
                <a:gd name="T6" fmla="*/ 2 w 9"/>
                <a:gd name="T7" fmla="*/ 1 h 8"/>
                <a:gd name="T8" fmla="*/ 2 w 9"/>
                <a:gd name="T9" fmla="*/ 1 h 8"/>
                <a:gd name="T10" fmla="*/ 2 w 9"/>
                <a:gd name="T11" fmla="*/ 1 h 8"/>
                <a:gd name="T12" fmla="*/ 2 w 9"/>
                <a:gd name="T13" fmla="*/ 1 h 8"/>
                <a:gd name="T14" fmla="*/ 1 w 9"/>
                <a:gd name="T15" fmla="*/ 0 h 8"/>
                <a:gd name="T16" fmla="*/ 0 w 9"/>
                <a:gd name="T17" fmla="*/ 0 h 8"/>
                <a:gd name="T18" fmla="*/ 0 w 9"/>
                <a:gd name="T19" fmla="*/ 1 h 8"/>
                <a:gd name="T20" fmla="*/ 4 w 9"/>
                <a:gd name="T21" fmla="*/ 5 h 8"/>
                <a:gd name="T22" fmla="*/ 2 w 9"/>
                <a:gd name="T23" fmla="*/ 8 h 8"/>
                <a:gd name="T24" fmla="*/ 7 w 9"/>
                <a:gd name="T25" fmla="*/ 1 h 8"/>
                <a:gd name="T26" fmla="*/ 6 w 9"/>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8">
                  <a:moveTo>
                    <a:pt x="6" y="0"/>
                  </a:moveTo>
                  <a:cubicBezTo>
                    <a:pt x="5" y="0"/>
                    <a:pt x="5" y="0"/>
                    <a:pt x="4" y="1"/>
                  </a:cubicBezTo>
                  <a:cubicBezTo>
                    <a:pt x="4" y="1"/>
                    <a:pt x="4" y="1"/>
                    <a:pt x="3" y="1"/>
                  </a:cubicBezTo>
                  <a:cubicBezTo>
                    <a:pt x="3" y="1"/>
                    <a:pt x="3" y="1"/>
                    <a:pt x="2" y="1"/>
                  </a:cubicBezTo>
                  <a:cubicBezTo>
                    <a:pt x="2" y="1"/>
                    <a:pt x="2" y="1"/>
                    <a:pt x="2" y="1"/>
                  </a:cubicBezTo>
                  <a:cubicBezTo>
                    <a:pt x="2" y="1"/>
                    <a:pt x="2" y="1"/>
                    <a:pt x="2" y="1"/>
                  </a:cubicBezTo>
                  <a:cubicBezTo>
                    <a:pt x="2" y="1"/>
                    <a:pt x="2" y="1"/>
                    <a:pt x="2" y="1"/>
                  </a:cubicBezTo>
                  <a:cubicBezTo>
                    <a:pt x="2" y="1"/>
                    <a:pt x="1" y="0"/>
                    <a:pt x="1" y="0"/>
                  </a:cubicBezTo>
                  <a:cubicBezTo>
                    <a:pt x="1" y="0"/>
                    <a:pt x="1" y="0"/>
                    <a:pt x="0" y="0"/>
                  </a:cubicBezTo>
                  <a:cubicBezTo>
                    <a:pt x="0" y="0"/>
                    <a:pt x="0" y="1"/>
                    <a:pt x="0" y="1"/>
                  </a:cubicBezTo>
                  <a:cubicBezTo>
                    <a:pt x="1" y="3"/>
                    <a:pt x="3" y="5"/>
                    <a:pt x="4" y="5"/>
                  </a:cubicBezTo>
                  <a:cubicBezTo>
                    <a:pt x="4" y="6"/>
                    <a:pt x="3" y="7"/>
                    <a:pt x="2" y="8"/>
                  </a:cubicBezTo>
                  <a:cubicBezTo>
                    <a:pt x="5" y="7"/>
                    <a:pt x="9" y="5"/>
                    <a:pt x="7" y="1"/>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9" name="Freeform 129">
              <a:extLst>
                <a:ext uri="{FF2B5EF4-FFF2-40B4-BE49-F238E27FC236}">
                  <a16:creationId xmlns:a16="http://schemas.microsoft.com/office/drawing/2014/main" id="{07E385ED-02A6-4C24-8684-F913DE6F03EF}"/>
                </a:ext>
              </a:extLst>
            </p:cNvPr>
            <p:cNvSpPr>
              <a:spLocks/>
            </p:cNvSpPr>
            <p:nvPr/>
          </p:nvSpPr>
          <p:spPr bwMode="auto">
            <a:xfrm>
              <a:off x="7954809" y="6036057"/>
              <a:ext cx="46605" cy="70614"/>
            </a:xfrm>
            <a:custGeom>
              <a:avLst/>
              <a:gdLst>
                <a:gd name="T0" fmla="*/ 6 w 14"/>
                <a:gd name="T1" fmla="*/ 0 h 21"/>
                <a:gd name="T2" fmla="*/ 3 w 14"/>
                <a:gd name="T3" fmla="*/ 1 h 21"/>
                <a:gd name="T4" fmla="*/ 2 w 14"/>
                <a:gd name="T5" fmla="*/ 9 h 21"/>
                <a:gd name="T6" fmla="*/ 3 w 14"/>
                <a:gd name="T7" fmla="*/ 9 h 21"/>
                <a:gd name="T8" fmla="*/ 4 w 14"/>
                <a:gd name="T9" fmla="*/ 9 h 21"/>
                <a:gd name="T10" fmla="*/ 6 w 14"/>
                <a:gd name="T11" fmla="*/ 9 h 21"/>
                <a:gd name="T12" fmla="*/ 7 w 14"/>
                <a:gd name="T13" fmla="*/ 9 h 21"/>
                <a:gd name="T14" fmla="*/ 2 w 14"/>
                <a:gd name="T15" fmla="*/ 12 h 21"/>
                <a:gd name="T16" fmla="*/ 4 w 14"/>
                <a:gd name="T17" fmla="*/ 12 h 21"/>
                <a:gd name="T18" fmla="*/ 7 w 14"/>
                <a:gd name="T19" fmla="*/ 10 h 21"/>
                <a:gd name="T20" fmla="*/ 9 w 14"/>
                <a:gd name="T21" fmla="*/ 21 h 21"/>
                <a:gd name="T22" fmla="*/ 12 w 14"/>
                <a:gd name="T23" fmla="*/ 14 h 21"/>
                <a:gd name="T24" fmla="*/ 9 w 14"/>
                <a:gd name="T25" fmla="*/ 8 h 21"/>
                <a:gd name="T26" fmla="*/ 7 w 14"/>
                <a:gd name="T27" fmla="*/ 2 h 21"/>
                <a:gd name="T28" fmla="*/ 6 w 14"/>
                <a:gd name="T29" fmla="*/ 0 h 21"/>
                <a:gd name="T30" fmla="*/ 6 w 14"/>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1">
                  <a:moveTo>
                    <a:pt x="6" y="0"/>
                  </a:moveTo>
                  <a:cubicBezTo>
                    <a:pt x="5" y="0"/>
                    <a:pt x="3" y="1"/>
                    <a:pt x="3" y="1"/>
                  </a:cubicBezTo>
                  <a:cubicBezTo>
                    <a:pt x="0" y="4"/>
                    <a:pt x="5" y="6"/>
                    <a:pt x="2" y="9"/>
                  </a:cubicBezTo>
                  <a:cubicBezTo>
                    <a:pt x="2" y="9"/>
                    <a:pt x="3" y="9"/>
                    <a:pt x="3" y="9"/>
                  </a:cubicBezTo>
                  <a:cubicBezTo>
                    <a:pt x="4" y="9"/>
                    <a:pt x="4" y="9"/>
                    <a:pt x="4" y="9"/>
                  </a:cubicBezTo>
                  <a:cubicBezTo>
                    <a:pt x="5" y="9"/>
                    <a:pt x="5" y="9"/>
                    <a:pt x="6" y="9"/>
                  </a:cubicBezTo>
                  <a:cubicBezTo>
                    <a:pt x="6" y="9"/>
                    <a:pt x="6" y="9"/>
                    <a:pt x="7" y="9"/>
                  </a:cubicBezTo>
                  <a:cubicBezTo>
                    <a:pt x="5" y="11"/>
                    <a:pt x="3" y="10"/>
                    <a:pt x="2" y="12"/>
                  </a:cubicBezTo>
                  <a:cubicBezTo>
                    <a:pt x="3" y="12"/>
                    <a:pt x="3" y="12"/>
                    <a:pt x="4" y="12"/>
                  </a:cubicBezTo>
                  <a:cubicBezTo>
                    <a:pt x="5" y="12"/>
                    <a:pt x="7" y="12"/>
                    <a:pt x="7" y="10"/>
                  </a:cubicBezTo>
                  <a:cubicBezTo>
                    <a:pt x="8" y="14"/>
                    <a:pt x="9" y="18"/>
                    <a:pt x="9" y="21"/>
                  </a:cubicBezTo>
                  <a:cubicBezTo>
                    <a:pt x="13" y="18"/>
                    <a:pt x="14" y="17"/>
                    <a:pt x="12" y="14"/>
                  </a:cubicBezTo>
                  <a:cubicBezTo>
                    <a:pt x="11" y="11"/>
                    <a:pt x="10" y="10"/>
                    <a:pt x="9" y="8"/>
                  </a:cubicBezTo>
                  <a:cubicBezTo>
                    <a:pt x="8" y="6"/>
                    <a:pt x="8" y="3"/>
                    <a:pt x="7" y="2"/>
                  </a:cubicBezTo>
                  <a:cubicBezTo>
                    <a:pt x="6" y="1"/>
                    <a:pt x="8"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0" name="Freeform 130">
              <a:extLst>
                <a:ext uri="{FF2B5EF4-FFF2-40B4-BE49-F238E27FC236}">
                  <a16:creationId xmlns:a16="http://schemas.microsoft.com/office/drawing/2014/main" id="{18CA4A14-9985-46AC-86DF-EF6D77A39A35}"/>
                </a:ext>
              </a:extLst>
            </p:cNvPr>
            <p:cNvSpPr>
              <a:spLocks noEditPoints="1"/>
            </p:cNvSpPr>
            <p:nvPr/>
          </p:nvSpPr>
          <p:spPr bwMode="auto">
            <a:xfrm>
              <a:off x="7971756" y="6236600"/>
              <a:ext cx="50842" cy="43780"/>
            </a:xfrm>
            <a:custGeom>
              <a:avLst/>
              <a:gdLst>
                <a:gd name="T0" fmla="*/ 3 w 15"/>
                <a:gd name="T1" fmla="*/ 0 h 13"/>
                <a:gd name="T2" fmla="*/ 1 w 15"/>
                <a:gd name="T3" fmla="*/ 1 h 13"/>
                <a:gd name="T4" fmla="*/ 6 w 15"/>
                <a:gd name="T5" fmla="*/ 5 h 13"/>
                <a:gd name="T6" fmla="*/ 7 w 15"/>
                <a:gd name="T7" fmla="*/ 4 h 13"/>
                <a:gd name="T8" fmla="*/ 4 w 15"/>
                <a:gd name="T9" fmla="*/ 7 h 13"/>
                <a:gd name="T10" fmla="*/ 3 w 15"/>
                <a:gd name="T11" fmla="*/ 7 h 13"/>
                <a:gd name="T12" fmla="*/ 2 w 15"/>
                <a:gd name="T13" fmla="*/ 5 h 13"/>
                <a:gd name="T14" fmla="*/ 2 w 15"/>
                <a:gd name="T15" fmla="*/ 5 h 13"/>
                <a:gd name="T16" fmla="*/ 1 w 15"/>
                <a:gd name="T17" fmla="*/ 5 h 13"/>
                <a:gd name="T18" fmla="*/ 1 w 15"/>
                <a:gd name="T19" fmla="*/ 7 h 13"/>
                <a:gd name="T20" fmla="*/ 5 w 15"/>
                <a:gd name="T21" fmla="*/ 9 h 13"/>
                <a:gd name="T22" fmla="*/ 5 w 15"/>
                <a:gd name="T23" fmla="*/ 9 h 13"/>
                <a:gd name="T24" fmla="*/ 4 w 15"/>
                <a:gd name="T25" fmla="*/ 13 h 13"/>
                <a:gd name="T26" fmla="*/ 11 w 15"/>
                <a:gd name="T27" fmla="*/ 7 h 13"/>
                <a:gd name="T28" fmla="*/ 14 w 15"/>
                <a:gd name="T29" fmla="*/ 6 h 13"/>
                <a:gd name="T30" fmla="*/ 14 w 15"/>
                <a:gd name="T31" fmla="*/ 4 h 13"/>
                <a:gd name="T32" fmla="*/ 8 w 15"/>
                <a:gd name="T33" fmla="*/ 6 h 13"/>
                <a:gd name="T34" fmla="*/ 11 w 15"/>
                <a:gd name="T35" fmla="*/ 2 h 13"/>
                <a:gd name="T36" fmla="*/ 8 w 15"/>
                <a:gd name="T37" fmla="*/ 3 h 13"/>
                <a:gd name="T38" fmla="*/ 7 w 15"/>
                <a:gd name="T39" fmla="*/ 3 h 13"/>
                <a:gd name="T40" fmla="*/ 7 w 15"/>
                <a:gd name="T41" fmla="*/ 1 h 13"/>
                <a:gd name="T42" fmla="*/ 6 w 15"/>
                <a:gd name="T43" fmla="*/ 1 h 13"/>
                <a:gd name="T44" fmla="*/ 6 w 15"/>
                <a:gd name="T45" fmla="*/ 1 h 13"/>
                <a:gd name="T46" fmla="*/ 5 w 15"/>
                <a:gd name="T47" fmla="*/ 1 h 13"/>
                <a:gd name="T48" fmla="*/ 4 w 15"/>
                <a:gd name="T49" fmla="*/ 1 h 13"/>
                <a:gd name="T50" fmla="*/ 5 w 15"/>
                <a:gd name="T51" fmla="*/ 1 h 13"/>
                <a:gd name="T52" fmla="*/ 3 w 15"/>
                <a:gd name="T53" fmla="*/ 0 h 13"/>
                <a:gd name="T54" fmla="*/ 3 w 15"/>
                <a:gd name="T55" fmla="*/ 0 h 13"/>
                <a:gd name="T56" fmla="*/ 3 w 15"/>
                <a:gd name="T57" fmla="*/ 0 h 13"/>
                <a:gd name="T58" fmla="*/ 3 w 15"/>
                <a:gd name="T5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13">
                  <a:moveTo>
                    <a:pt x="3" y="0"/>
                  </a:moveTo>
                  <a:cubicBezTo>
                    <a:pt x="3" y="0"/>
                    <a:pt x="0" y="0"/>
                    <a:pt x="1" y="1"/>
                  </a:cubicBezTo>
                  <a:cubicBezTo>
                    <a:pt x="2" y="2"/>
                    <a:pt x="4" y="5"/>
                    <a:pt x="6" y="5"/>
                  </a:cubicBezTo>
                  <a:cubicBezTo>
                    <a:pt x="6" y="5"/>
                    <a:pt x="7" y="5"/>
                    <a:pt x="7" y="4"/>
                  </a:cubicBezTo>
                  <a:cubicBezTo>
                    <a:pt x="6" y="6"/>
                    <a:pt x="5" y="7"/>
                    <a:pt x="4" y="7"/>
                  </a:cubicBezTo>
                  <a:cubicBezTo>
                    <a:pt x="3" y="7"/>
                    <a:pt x="3" y="7"/>
                    <a:pt x="3" y="7"/>
                  </a:cubicBezTo>
                  <a:cubicBezTo>
                    <a:pt x="3" y="6"/>
                    <a:pt x="1" y="5"/>
                    <a:pt x="2" y="5"/>
                  </a:cubicBezTo>
                  <a:cubicBezTo>
                    <a:pt x="2" y="5"/>
                    <a:pt x="2" y="5"/>
                    <a:pt x="2" y="5"/>
                  </a:cubicBezTo>
                  <a:cubicBezTo>
                    <a:pt x="2" y="5"/>
                    <a:pt x="2" y="5"/>
                    <a:pt x="1" y="5"/>
                  </a:cubicBezTo>
                  <a:cubicBezTo>
                    <a:pt x="0" y="5"/>
                    <a:pt x="0" y="6"/>
                    <a:pt x="1" y="7"/>
                  </a:cubicBezTo>
                  <a:cubicBezTo>
                    <a:pt x="1" y="8"/>
                    <a:pt x="3" y="9"/>
                    <a:pt x="5" y="9"/>
                  </a:cubicBezTo>
                  <a:cubicBezTo>
                    <a:pt x="5" y="9"/>
                    <a:pt x="5" y="9"/>
                    <a:pt x="5" y="9"/>
                  </a:cubicBezTo>
                  <a:cubicBezTo>
                    <a:pt x="5" y="10"/>
                    <a:pt x="5" y="12"/>
                    <a:pt x="4" y="13"/>
                  </a:cubicBezTo>
                  <a:cubicBezTo>
                    <a:pt x="6" y="11"/>
                    <a:pt x="9" y="8"/>
                    <a:pt x="11" y="7"/>
                  </a:cubicBezTo>
                  <a:cubicBezTo>
                    <a:pt x="12" y="6"/>
                    <a:pt x="13" y="7"/>
                    <a:pt x="14" y="6"/>
                  </a:cubicBezTo>
                  <a:cubicBezTo>
                    <a:pt x="15" y="5"/>
                    <a:pt x="15" y="4"/>
                    <a:pt x="14" y="4"/>
                  </a:cubicBezTo>
                  <a:cubicBezTo>
                    <a:pt x="12" y="4"/>
                    <a:pt x="9" y="5"/>
                    <a:pt x="8" y="6"/>
                  </a:cubicBezTo>
                  <a:cubicBezTo>
                    <a:pt x="9" y="4"/>
                    <a:pt x="10" y="4"/>
                    <a:pt x="11" y="2"/>
                  </a:cubicBezTo>
                  <a:cubicBezTo>
                    <a:pt x="10" y="3"/>
                    <a:pt x="9" y="3"/>
                    <a:pt x="8" y="3"/>
                  </a:cubicBezTo>
                  <a:cubicBezTo>
                    <a:pt x="8" y="3"/>
                    <a:pt x="8" y="3"/>
                    <a:pt x="7" y="3"/>
                  </a:cubicBezTo>
                  <a:cubicBezTo>
                    <a:pt x="7" y="2"/>
                    <a:pt x="8" y="1"/>
                    <a:pt x="7" y="1"/>
                  </a:cubicBezTo>
                  <a:cubicBezTo>
                    <a:pt x="7" y="1"/>
                    <a:pt x="6" y="1"/>
                    <a:pt x="6" y="1"/>
                  </a:cubicBezTo>
                  <a:cubicBezTo>
                    <a:pt x="6" y="1"/>
                    <a:pt x="6" y="1"/>
                    <a:pt x="6" y="1"/>
                  </a:cubicBezTo>
                  <a:cubicBezTo>
                    <a:pt x="5" y="1"/>
                    <a:pt x="5" y="1"/>
                    <a:pt x="5" y="1"/>
                  </a:cubicBezTo>
                  <a:cubicBezTo>
                    <a:pt x="5" y="1"/>
                    <a:pt x="5" y="1"/>
                    <a:pt x="4" y="1"/>
                  </a:cubicBezTo>
                  <a:cubicBezTo>
                    <a:pt x="4" y="1"/>
                    <a:pt x="5" y="1"/>
                    <a:pt x="5" y="1"/>
                  </a:cubicBezTo>
                  <a:cubicBezTo>
                    <a:pt x="4" y="1"/>
                    <a:pt x="2" y="0"/>
                    <a:pt x="3" y="0"/>
                  </a:cubicBezTo>
                  <a:moveTo>
                    <a:pt x="3" y="0"/>
                  </a:move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1" name="Freeform 131">
              <a:extLst>
                <a:ext uri="{FF2B5EF4-FFF2-40B4-BE49-F238E27FC236}">
                  <a16:creationId xmlns:a16="http://schemas.microsoft.com/office/drawing/2014/main" id="{9BCA2C29-4D5B-43EF-90ED-3506C17D6DCA}"/>
                </a:ext>
              </a:extLst>
            </p:cNvPr>
            <p:cNvSpPr>
              <a:spLocks/>
            </p:cNvSpPr>
            <p:nvPr/>
          </p:nvSpPr>
          <p:spPr bwMode="auto">
            <a:xfrm>
              <a:off x="7951985" y="6119381"/>
              <a:ext cx="33894" cy="16947"/>
            </a:xfrm>
            <a:custGeom>
              <a:avLst/>
              <a:gdLst>
                <a:gd name="T0" fmla="*/ 7 w 10"/>
                <a:gd name="T1" fmla="*/ 0 h 5"/>
                <a:gd name="T2" fmla="*/ 4 w 10"/>
                <a:gd name="T3" fmla="*/ 2 h 5"/>
                <a:gd name="T4" fmla="*/ 3 w 10"/>
                <a:gd name="T5" fmla="*/ 0 h 5"/>
                <a:gd name="T6" fmla="*/ 3 w 10"/>
                <a:gd name="T7" fmla="*/ 0 h 5"/>
                <a:gd name="T8" fmla="*/ 1 w 10"/>
                <a:gd name="T9" fmla="*/ 1 h 5"/>
                <a:gd name="T10" fmla="*/ 10 w 10"/>
                <a:gd name="T11" fmla="*/ 5 h 5"/>
                <a:gd name="T12" fmla="*/ 8 w 10"/>
                <a:gd name="T13" fmla="*/ 0 h 5"/>
                <a:gd name="T14" fmla="*/ 6 w 10"/>
                <a:gd name="T15" fmla="*/ 1 h 5"/>
                <a:gd name="T16" fmla="*/ 7 w 10"/>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
                  <a:moveTo>
                    <a:pt x="7" y="0"/>
                  </a:moveTo>
                  <a:cubicBezTo>
                    <a:pt x="6" y="0"/>
                    <a:pt x="5" y="2"/>
                    <a:pt x="4" y="2"/>
                  </a:cubicBezTo>
                  <a:cubicBezTo>
                    <a:pt x="4" y="2"/>
                    <a:pt x="4" y="0"/>
                    <a:pt x="3" y="0"/>
                  </a:cubicBezTo>
                  <a:cubicBezTo>
                    <a:pt x="3" y="0"/>
                    <a:pt x="3" y="0"/>
                    <a:pt x="3" y="0"/>
                  </a:cubicBezTo>
                  <a:cubicBezTo>
                    <a:pt x="3" y="0"/>
                    <a:pt x="1" y="1"/>
                    <a:pt x="1" y="1"/>
                  </a:cubicBezTo>
                  <a:cubicBezTo>
                    <a:pt x="0" y="3"/>
                    <a:pt x="8" y="4"/>
                    <a:pt x="10" y="5"/>
                  </a:cubicBezTo>
                  <a:cubicBezTo>
                    <a:pt x="10" y="4"/>
                    <a:pt x="9" y="0"/>
                    <a:pt x="8" y="0"/>
                  </a:cubicBezTo>
                  <a:cubicBezTo>
                    <a:pt x="7" y="0"/>
                    <a:pt x="7" y="1"/>
                    <a:pt x="6" y="1"/>
                  </a:cubicBezTo>
                  <a:cubicBezTo>
                    <a:pt x="6" y="1"/>
                    <a:pt x="6"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2" name="Freeform 132">
              <a:extLst>
                <a:ext uri="{FF2B5EF4-FFF2-40B4-BE49-F238E27FC236}">
                  <a16:creationId xmlns:a16="http://schemas.microsoft.com/office/drawing/2014/main" id="{878457B2-3475-4805-BE62-39D2A27AF1DB}"/>
                </a:ext>
              </a:extLst>
            </p:cNvPr>
            <p:cNvSpPr>
              <a:spLocks/>
            </p:cNvSpPr>
            <p:nvPr/>
          </p:nvSpPr>
          <p:spPr bwMode="auto">
            <a:xfrm>
              <a:off x="8052256" y="5441490"/>
              <a:ext cx="83324" cy="151113"/>
            </a:xfrm>
            <a:custGeom>
              <a:avLst/>
              <a:gdLst>
                <a:gd name="T0" fmla="*/ 10 w 25"/>
                <a:gd name="T1" fmla="*/ 0 h 45"/>
                <a:gd name="T2" fmla="*/ 8 w 25"/>
                <a:gd name="T3" fmla="*/ 2 h 45"/>
                <a:gd name="T4" fmla="*/ 6 w 25"/>
                <a:gd name="T5" fmla="*/ 11 h 45"/>
                <a:gd name="T6" fmla="*/ 4 w 25"/>
                <a:gd name="T7" fmla="*/ 19 h 45"/>
                <a:gd name="T8" fmla="*/ 3 w 25"/>
                <a:gd name="T9" fmla="*/ 34 h 45"/>
                <a:gd name="T10" fmla="*/ 0 w 25"/>
                <a:gd name="T11" fmla="*/ 40 h 45"/>
                <a:gd name="T12" fmla="*/ 12 w 25"/>
                <a:gd name="T13" fmla="*/ 45 h 45"/>
                <a:gd name="T14" fmla="*/ 16 w 25"/>
                <a:gd name="T15" fmla="*/ 41 h 45"/>
                <a:gd name="T16" fmla="*/ 14 w 25"/>
                <a:gd name="T17" fmla="*/ 37 h 45"/>
                <a:gd name="T18" fmla="*/ 15 w 25"/>
                <a:gd name="T19" fmla="*/ 37 h 45"/>
                <a:gd name="T20" fmla="*/ 16 w 25"/>
                <a:gd name="T21" fmla="*/ 37 h 45"/>
                <a:gd name="T22" fmla="*/ 16 w 25"/>
                <a:gd name="T23" fmla="*/ 37 h 45"/>
                <a:gd name="T24" fmla="*/ 19 w 25"/>
                <a:gd name="T25" fmla="*/ 35 h 45"/>
                <a:gd name="T26" fmla="*/ 20 w 25"/>
                <a:gd name="T27" fmla="*/ 35 h 45"/>
                <a:gd name="T28" fmla="*/ 16 w 25"/>
                <a:gd name="T29" fmla="*/ 30 h 45"/>
                <a:gd name="T30" fmla="*/ 19 w 25"/>
                <a:gd name="T31" fmla="*/ 31 h 45"/>
                <a:gd name="T32" fmla="*/ 21 w 25"/>
                <a:gd name="T33" fmla="*/ 29 h 45"/>
                <a:gd name="T34" fmla="*/ 16 w 25"/>
                <a:gd name="T35" fmla="*/ 24 h 45"/>
                <a:gd name="T36" fmla="*/ 13 w 25"/>
                <a:gd name="T37" fmla="*/ 21 h 45"/>
                <a:gd name="T38" fmla="*/ 14 w 25"/>
                <a:gd name="T39" fmla="*/ 19 h 45"/>
                <a:gd name="T40" fmla="*/ 18 w 25"/>
                <a:gd name="T41" fmla="*/ 20 h 45"/>
                <a:gd name="T42" fmla="*/ 19 w 25"/>
                <a:gd name="T43" fmla="*/ 15 h 45"/>
                <a:gd name="T44" fmla="*/ 23 w 25"/>
                <a:gd name="T45" fmla="*/ 11 h 45"/>
                <a:gd name="T46" fmla="*/ 21 w 25"/>
                <a:gd name="T47" fmla="*/ 9 h 45"/>
                <a:gd name="T48" fmla="*/ 22 w 25"/>
                <a:gd name="T49" fmla="*/ 8 h 45"/>
                <a:gd name="T50" fmla="*/ 20 w 25"/>
                <a:gd name="T51" fmla="*/ 6 h 45"/>
                <a:gd name="T52" fmla="*/ 21 w 25"/>
                <a:gd name="T53" fmla="*/ 1 h 45"/>
                <a:gd name="T54" fmla="*/ 18 w 25"/>
                <a:gd name="T55" fmla="*/ 0 h 45"/>
                <a:gd name="T56" fmla="*/ 13 w 25"/>
                <a:gd name="T57" fmla="*/ 2 h 45"/>
                <a:gd name="T58" fmla="*/ 11 w 25"/>
                <a:gd name="T59" fmla="*/ 3 h 45"/>
                <a:gd name="T60" fmla="*/ 9 w 25"/>
                <a:gd name="T61" fmla="*/ 2 h 45"/>
                <a:gd name="T62" fmla="*/ 10 w 25"/>
                <a:gd name="T63" fmla="*/ 2 h 45"/>
                <a:gd name="T64" fmla="*/ 11 w 25"/>
                <a:gd name="T65" fmla="*/ 1 h 45"/>
                <a:gd name="T66" fmla="*/ 10 w 25"/>
                <a:gd name="T6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45">
                  <a:moveTo>
                    <a:pt x="10" y="0"/>
                  </a:moveTo>
                  <a:cubicBezTo>
                    <a:pt x="10" y="0"/>
                    <a:pt x="9" y="1"/>
                    <a:pt x="8" y="2"/>
                  </a:cubicBezTo>
                  <a:cubicBezTo>
                    <a:pt x="7" y="5"/>
                    <a:pt x="7" y="9"/>
                    <a:pt x="6" y="11"/>
                  </a:cubicBezTo>
                  <a:cubicBezTo>
                    <a:pt x="5" y="14"/>
                    <a:pt x="4" y="17"/>
                    <a:pt x="4" y="19"/>
                  </a:cubicBezTo>
                  <a:cubicBezTo>
                    <a:pt x="3" y="25"/>
                    <a:pt x="5" y="29"/>
                    <a:pt x="3" y="34"/>
                  </a:cubicBezTo>
                  <a:cubicBezTo>
                    <a:pt x="2" y="36"/>
                    <a:pt x="1" y="38"/>
                    <a:pt x="0" y="40"/>
                  </a:cubicBezTo>
                  <a:cubicBezTo>
                    <a:pt x="4" y="42"/>
                    <a:pt x="8" y="44"/>
                    <a:pt x="12" y="45"/>
                  </a:cubicBezTo>
                  <a:cubicBezTo>
                    <a:pt x="14" y="44"/>
                    <a:pt x="17" y="44"/>
                    <a:pt x="16" y="41"/>
                  </a:cubicBezTo>
                  <a:cubicBezTo>
                    <a:pt x="16" y="41"/>
                    <a:pt x="13" y="38"/>
                    <a:pt x="14" y="37"/>
                  </a:cubicBezTo>
                  <a:cubicBezTo>
                    <a:pt x="14" y="37"/>
                    <a:pt x="15" y="37"/>
                    <a:pt x="15" y="37"/>
                  </a:cubicBezTo>
                  <a:cubicBezTo>
                    <a:pt x="15" y="37"/>
                    <a:pt x="15" y="37"/>
                    <a:pt x="16" y="37"/>
                  </a:cubicBezTo>
                  <a:cubicBezTo>
                    <a:pt x="16" y="37"/>
                    <a:pt x="16" y="37"/>
                    <a:pt x="16" y="37"/>
                  </a:cubicBezTo>
                  <a:cubicBezTo>
                    <a:pt x="19" y="37"/>
                    <a:pt x="24" y="37"/>
                    <a:pt x="19" y="35"/>
                  </a:cubicBezTo>
                  <a:cubicBezTo>
                    <a:pt x="20" y="35"/>
                    <a:pt x="20" y="35"/>
                    <a:pt x="20" y="35"/>
                  </a:cubicBezTo>
                  <a:cubicBezTo>
                    <a:pt x="19" y="33"/>
                    <a:pt x="18" y="31"/>
                    <a:pt x="16" y="30"/>
                  </a:cubicBezTo>
                  <a:cubicBezTo>
                    <a:pt x="17" y="30"/>
                    <a:pt x="18" y="31"/>
                    <a:pt x="19" y="31"/>
                  </a:cubicBezTo>
                  <a:cubicBezTo>
                    <a:pt x="20" y="31"/>
                    <a:pt x="21" y="30"/>
                    <a:pt x="21" y="29"/>
                  </a:cubicBezTo>
                  <a:cubicBezTo>
                    <a:pt x="21" y="27"/>
                    <a:pt x="17" y="25"/>
                    <a:pt x="16" y="24"/>
                  </a:cubicBezTo>
                  <a:cubicBezTo>
                    <a:pt x="14" y="23"/>
                    <a:pt x="13" y="23"/>
                    <a:pt x="13" y="21"/>
                  </a:cubicBezTo>
                  <a:cubicBezTo>
                    <a:pt x="14" y="20"/>
                    <a:pt x="14" y="19"/>
                    <a:pt x="14" y="19"/>
                  </a:cubicBezTo>
                  <a:cubicBezTo>
                    <a:pt x="15" y="19"/>
                    <a:pt x="16" y="20"/>
                    <a:pt x="18" y="20"/>
                  </a:cubicBezTo>
                  <a:cubicBezTo>
                    <a:pt x="15" y="18"/>
                    <a:pt x="17" y="16"/>
                    <a:pt x="19" y="15"/>
                  </a:cubicBezTo>
                  <a:cubicBezTo>
                    <a:pt x="21" y="14"/>
                    <a:pt x="25" y="15"/>
                    <a:pt x="23" y="11"/>
                  </a:cubicBezTo>
                  <a:cubicBezTo>
                    <a:pt x="23" y="10"/>
                    <a:pt x="21" y="10"/>
                    <a:pt x="21" y="9"/>
                  </a:cubicBezTo>
                  <a:cubicBezTo>
                    <a:pt x="20" y="9"/>
                    <a:pt x="22" y="9"/>
                    <a:pt x="22" y="8"/>
                  </a:cubicBezTo>
                  <a:cubicBezTo>
                    <a:pt x="21" y="7"/>
                    <a:pt x="21" y="7"/>
                    <a:pt x="20" y="6"/>
                  </a:cubicBezTo>
                  <a:cubicBezTo>
                    <a:pt x="20" y="4"/>
                    <a:pt x="18" y="3"/>
                    <a:pt x="21" y="1"/>
                  </a:cubicBezTo>
                  <a:cubicBezTo>
                    <a:pt x="20" y="1"/>
                    <a:pt x="19" y="0"/>
                    <a:pt x="18" y="0"/>
                  </a:cubicBezTo>
                  <a:cubicBezTo>
                    <a:pt x="16" y="0"/>
                    <a:pt x="15" y="2"/>
                    <a:pt x="13" y="2"/>
                  </a:cubicBezTo>
                  <a:cubicBezTo>
                    <a:pt x="13" y="2"/>
                    <a:pt x="12" y="3"/>
                    <a:pt x="11" y="3"/>
                  </a:cubicBezTo>
                  <a:cubicBezTo>
                    <a:pt x="11" y="3"/>
                    <a:pt x="10" y="2"/>
                    <a:pt x="9" y="2"/>
                  </a:cubicBezTo>
                  <a:cubicBezTo>
                    <a:pt x="9" y="2"/>
                    <a:pt x="9" y="2"/>
                    <a:pt x="10" y="2"/>
                  </a:cubicBezTo>
                  <a:cubicBezTo>
                    <a:pt x="11" y="2"/>
                    <a:pt x="11" y="1"/>
                    <a:pt x="11" y="1"/>
                  </a:cubicBezTo>
                  <a:cubicBezTo>
                    <a:pt x="11" y="1"/>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3" name="Freeform 133">
              <a:extLst>
                <a:ext uri="{FF2B5EF4-FFF2-40B4-BE49-F238E27FC236}">
                  <a16:creationId xmlns:a16="http://schemas.microsoft.com/office/drawing/2014/main" id="{3EA6DABB-0C06-4336-ACE7-5E25AEBE47D4}"/>
                </a:ext>
              </a:extLst>
            </p:cNvPr>
            <p:cNvSpPr>
              <a:spLocks/>
            </p:cNvSpPr>
            <p:nvPr/>
          </p:nvSpPr>
          <p:spPr bwMode="auto">
            <a:xfrm>
              <a:off x="8018361" y="5702760"/>
              <a:ext cx="9886" cy="12710"/>
            </a:xfrm>
            <a:custGeom>
              <a:avLst/>
              <a:gdLst>
                <a:gd name="T0" fmla="*/ 1 w 3"/>
                <a:gd name="T1" fmla="*/ 0 h 4"/>
                <a:gd name="T2" fmla="*/ 1 w 3"/>
                <a:gd name="T3" fmla="*/ 4 h 4"/>
                <a:gd name="T4" fmla="*/ 1 w 3"/>
                <a:gd name="T5" fmla="*/ 0 h 4"/>
              </a:gdLst>
              <a:ahLst/>
              <a:cxnLst>
                <a:cxn ang="0">
                  <a:pos x="T0" y="T1"/>
                </a:cxn>
                <a:cxn ang="0">
                  <a:pos x="T2" y="T3"/>
                </a:cxn>
                <a:cxn ang="0">
                  <a:pos x="T4" y="T5"/>
                </a:cxn>
              </a:cxnLst>
              <a:rect l="0" t="0" r="r" b="b"/>
              <a:pathLst>
                <a:path w="3" h="4">
                  <a:moveTo>
                    <a:pt x="1" y="0"/>
                  </a:moveTo>
                  <a:cubicBezTo>
                    <a:pt x="0" y="1"/>
                    <a:pt x="1" y="2"/>
                    <a:pt x="1" y="4"/>
                  </a:cubicBezTo>
                  <a:cubicBezTo>
                    <a:pt x="2"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4" name="Freeform 134">
              <a:extLst>
                <a:ext uri="{FF2B5EF4-FFF2-40B4-BE49-F238E27FC236}">
                  <a16:creationId xmlns:a16="http://schemas.microsoft.com/office/drawing/2014/main" id="{C55D51A9-8913-43B1-AE5F-5DA3412BC709}"/>
                </a:ext>
              </a:extLst>
            </p:cNvPr>
            <p:cNvSpPr>
              <a:spLocks/>
            </p:cNvSpPr>
            <p:nvPr/>
          </p:nvSpPr>
          <p:spPr bwMode="auto">
            <a:xfrm>
              <a:off x="8072027" y="5629322"/>
              <a:ext cx="26833" cy="12710"/>
            </a:xfrm>
            <a:custGeom>
              <a:avLst/>
              <a:gdLst>
                <a:gd name="T0" fmla="*/ 6 w 8"/>
                <a:gd name="T1" fmla="*/ 0 h 4"/>
                <a:gd name="T2" fmla="*/ 4 w 8"/>
                <a:gd name="T3" fmla="*/ 0 h 4"/>
                <a:gd name="T4" fmla="*/ 2 w 8"/>
                <a:gd name="T5" fmla="*/ 1 h 4"/>
                <a:gd name="T6" fmla="*/ 0 w 8"/>
                <a:gd name="T7" fmla="*/ 1 h 4"/>
                <a:gd name="T8" fmla="*/ 3 w 8"/>
                <a:gd name="T9" fmla="*/ 4 h 4"/>
                <a:gd name="T10" fmla="*/ 5 w 8"/>
                <a:gd name="T11" fmla="*/ 2 h 4"/>
                <a:gd name="T12" fmla="*/ 6 w 8"/>
                <a:gd name="T13" fmla="*/ 2 h 4"/>
                <a:gd name="T14" fmla="*/ 8 w 8"/>
                <a:gd name="T15" fmla="*/ 3 h 4"/>
                <a:gd name="T16" fmla="*/ 8 w 8"/>
                <a:gd name="T17" fmla="*/ 3 h 4"/>
                <a:gd name="T18" fmla="*/ 6 w 8"/>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6" y="0"/>
                  </a:moveTo>
                  <a:cubicBezTo>
                    <a:pt x="5" y="0"/>
                    <a:pt x="5" y="0"/>
                    <a:pt x="4" y="0"/>
                  </a:cubicBezTo>
                  <a:cubicBezTo>
                    <a:pt x="3" y="1"/>
                    <a:pt x="3" y="1"/>
                    <a:pt x="2" y="1"/>
                  </a:cubicBezTo>
                  <a:cubicBezTo>
                    <a:pt x="1" y="1"/>
                    <a:pt x="1" y="1"/>
                    <a:pt x="0" y="1"/>
                  </a:cubicBezTo>
                  <a:cubicBezTo>
                    <a:pt x="1" y="2"/>
                    <a:pt x="2" y="3"/>
                    <a:pt x="3" y="4"/>
                  </a:cubicBezTo>
                  <a:cubicBezTo>
                    <a:pt x="4" y="2"/>
                    <a:pt x="4" y="2"/>
                    <a:pt x="5" y="2"/>
                  </a:cubicBezTo>
                  <a:cubicBezTo>
                    <a:pt x="5" y="2"/>
                    <a:pt x="6" y="2"/>
                    <a:pt x="6" y="2"/>
                  </a:cubicBezTo>
                  <a:cubicBezTo>
                    <a:pt x="7" y="3"/>
                    <a:pt x="7" y="3"/>
                    <a:pt x="8" y="3"/>
                  </a:cubicBezTo>
                  <a:cubicBezTo>
                    <a:pt x="8" y="3"/>
                    <a:pt x="8" y="3"/>
                    <a:pt x="8" y="3"/>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5" name="Freeform 135">
              <a:extLst>
                <a:ext uri="{FF2B5EF4-FFF2-40B4-BE49-F238E27FC236}">
                  <a16:creationId xmlns:a16="http://schemas.microsoft.com/office/drawing/2014/main" id="{32C80FE9-DF3E-49B9-8914-41EF06822F49}"/>
                </a:ext>
              </a:extLst>
            </p:cNvPr>
            <p:cNvSpPr>
              <a:spLocks/>
            </p:cNvSpPr>
            <p:nvPr/>
          </p:nvSpPr>
          <p:spPr bwMode="auto">
            <a:xfrm>
              <a:off x="8052256" y="5705585"/>
              <a:ext cx="39544" cy="19772"/>
            </a:xfrm>
            <a:custGeom>
              <a:avLst/>
              <a:gdLst>
                <a:gd name="T0" fmla="*/ 6 w 12"/>
                <a:gd name="T1" fmla="*/ 0 h 6"/>
                <a:gd name="T2" fmla="*/ 0 w 12"/>
                <a:gd name="T3" fmla="*/ 1 h 6"/>
                <a:gd name="T4" fmla="*/ 3 w 12"/>
                <a:gd name="T5" fmla="*/ 6 h 6"/>
                <a:gd name="T6" fmla="*/ 12 w 12"/>
                <a:gd name="T7" fmla="*/ 3 h 6"/>
                <a:gd name="T8" fmla="*/ 6 w 12"/>
                <a:gd name="T9" fmla="*/ 0 h 6"/>
              </a:gdLst>
              <a:ahLst/>
              <a:cxnLst>
                <a:cxn ang="0">
                  <a:pos x="T0" y="T1"/>
                </a:cxn>
                <a:cxn ang="0">
                  <a:pos x="T2" y="T3"/>
                </a:cxn>
                <a:cxn ang="0">
                  <a:pos x="T4" y="T5"/>
                </a:cxn>
                <a:cxn ang="0">
                  <a:pos x="T6" y="T7"/>
                </a:cxn>
                <a:cxn ang="0">
                  <a:pos x="T8" y="T9"/>
                </a:cxn>
              </a:cxnLst>
              <a:rect l="0" t="0" r="r" b="b"/>
              <a:pathLst>
                <a:path w="12" h="6">
                  <a:moveTo>
                    <a:pt x="6" y="0"/>
                  </a:moveTo>
                  <a:cubicBezTo>
                    <a:pt x="4" y="0"/>
                    <a:pt x="2" y="1"/>
                    <a:pt x="0" y="1"/>
                  </a:cubicBezTo>
                  <a:cubicBezTo>
                    <a:pt x="1" y="3"/>
                    <a:pt x="2" y="4"/>
                    <a:pt x="3" y="6"/>
                  </a:cubicBezTo>
                  <a:cubicBezTo>
                    <a:pt x="6" y="5"/>
                    <a:pt x="9" y="3"/>
                    <a:pt x="12" y="3"/>
                  </a:cubicBezTo>
                  <a:cubicBezTo>
                    <a:pt x="10"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6" name="Freeform 136">
              <a:extLst>
                <a:ext uri="{FF2B5EF4-FFF2-40B4-BE49-F238E27FC236}">
                  <a16:creationId xmlns:a16="http://schemas.microsoft.com/office/drawing/2014/main" id="{6BE98CCD-653C-4F0E-A1D6-99AEA1308181}"/>
                </a:ext>
              </a:extLst>
            </p:cNvPr>
            <p:cNvSpPr>
              <a:spLocks/>
            </p:cNvSpPr>
            <p:nvPr/>
          </p:nvSpPr>
          <p:spPr bwMode="auto">
            <a:xfrm>
              <a:off x="7998589" y="6050180"/>
              <a:ext cx="46605" cy="56491"/>
            </a:xfrm>
            <a:custGeom>
              <a:avLst/>
              <a:gdLst>
                <a:gd name="T0" fmla="*/ 8 w 14"/>
                <a:gd name="T1" fmla="*/ 0 h 17"/>
                <a:gd name="T2" fmla="*/ 7 w 14"/>
                <a:gd name="T3" fmla="*/ 11 h 17"/>
                <a:gd name="T4" fmla="*/ 5 w 14"/>
                <a:gd name="T5" fmla="*/ 8 h 17"/>
                <a:gd name="T6" fmla="*/ 3 w 14"/>
                <a:gd name="T7" fmla="*/ 9 h 17"/>
                <a:gd name="T8" fmla="*/ 2 w 14"/>
                <a:gd name="T9" fmla="*/ 14 h 17"/>
                <a:gd name="T10" fmla="*/ 9 w 14"/>
                <a:gd name="T11" fmla="*/ 16 h 17"/>
                <a:gd name="T12" fmla="*/ 11 w 14"/>
                <a:gd name="T13" fmla="*/ 17 h 17"/>
                <a:gd name="T14" fmla="*/ 11 w 14"/>
                <a:gd name="T15" fmla="*/ 17 h 17"/>
                <a:gd name="T16" fmla="*/ 10 w 14"/>
                <a:gd name="T17" fmla="*/ 9 h 17"/>
                <a:gd name="T18" fmla="*/ 9 w 14"/>
                <a:gd name="T19" fmla="*/ 3 h 17"/>
                <a:gd name="T20" fmla="*/ 8 w 14"/>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7">
                  <a:moveTo>
                    <a:pt x="8" y="0"/>
                  </a:moveTo>
                  <a:cubicBezTo>
                    <a:pt x="5" y="4"/>
                    <a:pt x="7" y="6"/>
                    <a:pt x="7" y="11"/>
                  </a:cubicBezTo>
                  <a:cubicBezTo>
                    <a:pt x="6" y="9"/>
                    <a:pt x="6" y="8"/>
                    <a:pt x="5" y="8"/>
                  </a:cubicBezTo>
                  <a:cubicBezTo>
                    <a:pt x="4" y="8"/>
                    <a:pt x="4" y="8"/>
                    <a:pt x="3" y="9"/>
                  </a:cubicBezTo>
                  <a:cubicBezTo>
                    <a:pt x="2" y="10"/>
                    <a:pt x="0" y="12"/>
                    <a:pt x="2" y="14"/>
                  </a:cubicBezTo>
                  <a:cubicBezTo>
                    <a:pt x="4" y="15"/>
                    <a:pt x="7" y="15"/>
                    <a:pt x="9" y="16"/>
                  </a:cubicBezTo>
                  <a:cubicBezTo>
                    <a:pt x="10" y="16"/>
                    <a:pt x="10" y="17"/>
                    <a:pt x="11" y="17"/>
                  </a:cubicBezTo>
                  <a:cubicBezTo>
                    <a:pt x="11" y="17"/>
                    <a:pt x="11" y="17"/>
                    <a:pt x="11" y="17"/>
                  </a:cubicBezTo>
                  <a:cubicBezTo>
                    <a:pt x="14" y="16"/>
                    <a:pt x="10" y="10"/>
                    <a:pt x="10" y="9"/>
                  </a:cubicBezTo>
                  <a:cubicBezTo>
                    <a:pt x="11" y="6"/>
                    <a:pt x="9" y="5"/>
                    <a:pt x="9" y="3"/>
                  </a:cubicBezTo>
                  <a:cubicBezTo>
                    <a:pt x="9" y="2"/>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7" name="Freeform 137">
              <a:extLst>
                <a:ext uri="{FF2B5EF4-FFF2-40B4-BE49-F238E27FC236}">
                  <a16:creationId xmlns:a16="http://schemas.microsoft.com/office/drawing/2014/main" id="{F70CF37A-AF27-4851-B352-4DA57C9259AD}"/>
                </a:ext>
              </a:extLst>
            </p:cNvPr>
            <p:cNvSpPr>
              <a:spLocks/>
            </p:cNvSpPr>
            <p:nvPr/>
          </p:nvSpPr>
          <p:spPr bwMode="auto">
            <a:xfrm>
              <a:off x="8052256" y="6451265"/>
              <a:ext cx="36719" cy="32482"/>
            </a:xfrm>
            <a:custGeom>
              <a:avLst/>
              <a:gdLst>
                <a:gd name="T0" fmla="*/ 2 w 11"/>
                <a:gd name="T1" fmla="*/ 0 h 10"/>
                <a:gd name="T2" fmla="*/ 0 w 11"/>
                <a:gd name="T3" fmla="*/ 1 h 10"/>
                <a:gd name="T4" fmla="*/ 5 w 11"/>
                <a:gd name="T5" fmla="*/ 3 h 10"/>
                <a:gd name="T6" fmla="*/ 6 w 11"/>
                <a:gd name="T7" fmla="*/ 10 h 10"/>
                <a:gd name="T8" fmla="*/ 10 w 11"/>
                <a:gd name="T9" fmla="*/ 8 h 10"/>
                <a:gd name="T10" fmla="*/ 10 w 11"/>
                <a:gd name="T11" fmla="*/ 8 h 10"/>
                <a:gd name="T12" fmla="*/ 7 w 11"/>
                <a:gd name="T13" fmla="*/ 3 h 10"/>
                <a:gd name="T14" fmla="*/ 2 w 11"/>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0">
                  <a:moveTo>
                    <a:pt x="2" y="0"/>
                  </a:moveTo>
                  <a:cubicBezTo>
                    <a:pt x="1" y="0"/>
                    <a:pt x="0" y="0"/>
                    <a:pt x="0" y="1"/>
                  </a:cubicBezTo>
                  <a:cubicBezTo>
                    <a:pt x="1" y="2"/>
                    <a:pt x="5" y="2"/>
                    <a:pt x="5" y="3"/>
                  </a:cubicBezTo>
                  <a:cubicBezTo>
                    <a:pt x="7" y="6"/>
                    <a:pt x="2" y="6"/>
                    <a:pt x="6" y="10"/>
                  </a:cubicBezTo>
                  <a:cubicBezTo>
                    <a:pt x="6" y="9"/>
                    <a:pt x="10" y="8"/>
                    <a:pt x="10" y="8"/>
                  </a:cubicBezTo>
                  <a:cubicBezTo>
                    <a:pt x="10" y="8"/>
                    <a:pt x="10" y="8"/>
                    <a:pt x="10" y="8"/>
                  </a:cubicBezTo>
                  <a:cubicBezTo>
                    <a:pt x="11" y="7"/>
                    <a:pt x="8" y="4"/>
                    <a:pt x="7" y="3"/>
                  </a:cubicBezTo>
                  <a:cubicBezTo>
                    <a:pt x="5"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8" name="Freeform 138">
              <a:extLst>
                <a:ext uri="{FF2B5EF4-FFF2-40B4-BE49-F238E27FC236}">
                  <a16:creationId xmlns:a16="http://schemas.microsoft.com/office/drawing/2014/main" id="{0CC5A30D-EF8C-4337-88E7-AA2387105786}"/>
                </a:ext>
              </a:extLst>
            </p:cNvPr>
            <p:cNvSpPr>
              <a:spLocks/>
            </p:cNvSpPr>
            <p:nvPr/>
          </p:nvSpPr>
          <p:spPr bwMode="auto">
            <a:xfrm>
              <a:off x="7981642" y="6366529"/>
              <a:ext cx="26833" cy="36719"/>
            </a:xfrm>
            <a:custGeom>
              <a:avLst/>
              <a:gdLst>
                <a:gd name="T0" fmla="*/ 3 w 8"/>
                <a:gd name="T1" fmla="*/ 0 h 11"/>
                <a:gd name="T2" fmla="*/ 0 w 8"/>
                <a:gd name="T3" fmla="*/ 11 h 11"/>
                <a:gd name="T4" fmla="*/ 2 w 8"/>
                <a:gd name="T5" fmla="*/ 8 h 11"/>
                <a:gd name="T6" fmla="*/ 3 w 8"/>
                <a:gd name="T7" fmla="*/ 9 h 11"/>
                <a:gd name="T8" fmla="*/ 3 w 8"/>
                <a:gd name="T9" fmla="*/ 5 h 11"/>
                <a:gd name="T10" fmla="*/ 4 w 8"/>
                <a:gd name="T11" fmla="*/ 5 h 11"/>
                <a:gd name="T12" fmla="*/ 7 w 8"/>
                <a:gd name="T13" fmla="*/ 2 h 11"/>
                <a:gd name="T14" fmla="*/ 7 w 8"/>
                <a:gd name="T15" fmla="*/ 2 h 11"/>
                <a:gd name="T16" fmla="*/ 3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3" y="0"/>
                  </a:moveTo>
                  <a:cubicBezTo>
                    <a:pt x="1" y="0"/>
                    <a:pt x="0" y="9"/>
                    <a:pt x="0" y="11"/>
                  </a:cubicBezTo>
                  <a:cubicBezTo>
                    <a:pt x="1" y="11"/>
                    <a:pt x="2" y="10"/>
                    <a:pt x="2" y="8"/>
                  </a:cubicBezTo>
                  <a:cubicBezTo>
                    <a:pt x="2" y="9"/>
                    <a:pt x="3" y="9"/>
                    <a:pt x="3" y="9"/>
                  </a:cubicBezTo>
                  <a:cubicBezTo>
                    <a:pt x="4" y="9"/>
                    <a:pt x="3" y="6"/>
                    <a:pt x="3" y="5"/>
                  </a:cubicBezTo>
                  <a:cubicBezTo>
                    <a:pt x="3" y="5"/>
                    <a:pt x="4" y="5"/>
                    <a:pt x="4" y="5"/>
                  </a:cubicBezTo>
                  <a:cubicBezTo>
                    <a:pt x="5" y="5"/>
                    <a:pt x="8" y="3"/>
                    <a:pt x="7" y="2"/>
                  </a:cubicBezTo>
                  <a:cubicBezTo>
                    <a:pt x="7" y="2"/>
                    <a:pt x="7" y="2"/>
                    <a:pt x="7" y="2"/>
                  </a:cubicBezTo>
                  <a:cubicBezTo>
                    <a:pt x="7" y="2"/>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9" name="Freeform 139">
              <a:extLst>
                <a:ext uri="{FF2B5EF4-FFF2-40B4-BE49-F238E27FC236}">
                  <a16:creationId xmlns:a16="http://schemas.microsoft.com/office/drawing/2014/main" id="{779C3E45-CE12-48CB-B2EE-F270BD0D7531}"/>
                </a:ext>
              </a:extLst>
            </p:cNvPr>
            <p:cNvSpPr>
              <a:spLocks/>
            </p:cNvSpPr>
            <p:nvPr/>
          </p:nvSpPr>
          <p:spPr bwMode="auto">
            <a:xfrm>
              <a:off x="8038133" y="5773374"/>
              <a:ext cx="14123" cy="9886"/>
            </a:xfrm>
            <a:custGeom>
              <a:avLst/>
              <a:gdLst>
                <a:gd name="T0" fmla="*/ 3 w 4"/>
                <a:gd name="T1" fmla="*/ 0 h 3"/>
                <a:gd name="T2" fmla="*/ 2 w 4"/>
                <a:gd name="T3" fmla="*/ 0 h 3"/>
                <a:gd name="T4" fmla="*/ 4 w 4"/>
                <a:gd name="T5" fmla="*/ 3 h 3"/>
                <a:gd name="T6" fmla="*/ 3 w 4"/>
                <a:gd name="T7" fmla="*/ 0 h 3"/>
              </a:gdLst>
              <a:ahLst/>
              <a:cxnLst>
                <a:cxn ang="0">
                  <a:pos x="T0" y="T1"/>
                </a:cxn>
                <a:cxn ang="0">
                  <a:pos x="T2" y="T3"/>
                </a:cxn>
                <a:cxn ang="0">
                  <a:pos x="T4" y="T5"/>
                </a:cxn>
                <a:cxn ang="0">
                  <a:pos x="T6" y="T7"/>
                </a:cxn>
              </a:cxnLst>
              <a:rect l="0" t="0" r="r" b="b"/>
              <a:pathLst>
                <a:path w="4" h="3">
                  <a:moveTo>
                    <a:pt x="3" y="0"/>
                  </a:moveTo>
                  <a:cubicBezTo>
                    <a:pt x="3" y="0"/>
                    <a:pt x="2" y="0"/>
                    <a:pt x="2" y="0"/>
                  </a:cubicBezTo>
                  <a:cubicBezTo>
                    <a:pt x="0" y="0"/>
                    <a:pt x="3" y="2"/>
                    <a:pt x="4" y="3"/>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0" name="Freeform 140">
              <a:extLst>
                <a:ext uri="{FF2B5EF4-FFF2-40B4-BE49-F238E27FC236}">
                  <a16:creationId xmlns:a16="http://schemas.microsoft.com/office/drawing/2014/main" id="{90C58CB3-5522-4D71-96F1-BA0799FFF2BD}"/>
                </a:ext>
              </a:extLst>
            </p:cNvPr>
            <p:cNvSpPr>
              <a:spLocks/>
            </p:cNvSpPr>
            <p:nvPr/>
          </p:nvSpPr>
          <p:spPr bwMode="auto">
            <a:xfrm>
              <a:off x="8074852" y="6434318"/>
              <a:ext cx="31070" cy="22596"/>
            </a:xfrm>
            <a:custGeom>
              <a:avLst/>
              <a:gdLst>
                <a:gd name="T0" fmla="*/ 1 w 9"/>
                <a:gd name="T1" fmla="*/ 0 h 7"/>
                <a:gd name="T2" fmla="*/ 0 w 9"/>
                <a:gd name="T3" fmla="*/ 0 h 7"/>
                <a:gd name="T4" fmla="*/ 9 w 9"/>
                <a:gd name="T5" fmla="*/ 7 h 7"/>
                <a:gd name="T6" fmla="*/ 1 w 9"/>
                <a:gd name="T7" fmla="*/ 0 h 7"/>
              </a:gdLst>
              <a:ahLst/>
              <a:cxnLst>
                <a:cxn ang="0">
                  <a:pos x="T0" y="T1"/>
                </a:cxn>
                <a:cxn ang="0">
                  <a:pos x="T2" y="T3"/>
                </a:cxn>
                <a:cxn ang="0">
                  <a:pos x="T4" y="T5"/>
                </a:cxn>
                <a:cxn ang="0">
                  <a:pos x="T6" y="T7"/>
                </a:cxn>
              </a:cxnLst>
              <a:rect l="0" t="0" r="r" b="b"/>
              <a:pathLst>
                <a:path w="9" h="7">
                  <a:moveTo>
                    <a:pt x="1" y="0"/>
                  </a:moveTo>
                  <a:cubicBezTo>
                    <a:pt x="0" y="0"/>
                    <a:pt x="0" y="0"/>
                    <a:pt x="0" y="0"/>
                  </a:cubicBezTo>
                  <a:cubicBezTo>
                    <a:pt x="3" y="3"/>
                    <a:pt x="6" y="5"/>
                    <a:pt x="9" y="7"/>
                  </a:cubicBezTo>
                  <a:cubicBezTo>
                    <a:pt x="8" y="5"/>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1" name="Freeform 141">
              <a:extLst>
                <a:ext uri="{FF2B5EF4-FFF2-40B4-BE49-F238E27FC236}">
                  <a16:creationId xmlns:a16="http://schemas.microsoft.com/office/drawing/2014/main" id="{18F52477-AE8A-45CD-A74A-FD6267F5AEA6}"/>
                </a:ext>
              </a:extLst>
            </p:cNvPr>
            <p:cNvSpPr>
              <a:spLocks/>
            </p:cNvSpPr>
            <p:nvPr/>
          </p:nvSpPr>
          <p:spPr bwMode="auto">
            <a:xfrm>
              <a:off x="8045194" y="6020522"/>
              <a:ext cx="53666" cy="12710"/>
            </a:xfrm>
            <a:custGeom>
              <a:avLst/>
              <a:gdLst>
                <a:gd name="T0" fmla="*/ 6 w 16"/>
                <a:gd name="T1" fmla="*/ 0 h 4"/>
                <a:gd name="T2" fmla="*/ 0 w 16"/>
                <a:gd name="T3" fmla="*/ 2 h 4"/>
                <a:gd name="T4" fmla="*/ 4 w 16"/>
                <a:gd name="T5" fmla="*/ 4 h 4"/>
                <a:gd name="T6" fmla="*/ 10 w 16"/>
                <a:gd name="T7" fmla="*/ 3 h 4"/>
                <a:gd name="T8" fmla="*/ 11 w 16"/>
                <a:gd name="T9" fmla="*/ 4 h 4"/>
                <a:gd name="T10" fmla="*/ 11 w 16"/>
                <a:gd name="T11" fmla="*/ 4 h 4"/>
                <a:gd name="T12" fmla="*/ 12 w 16"/>
                <a:gd name="T13" fmla="*/ 3 h 4"/>
                <a:gd name="T14" fmla="*/ 12 w 16"/>
                <a:gd name="T15" fmla="*/ 3 h 4"/>
                <a:gd name="T16" fmla="*/ 13 w 16"/>
                <a:gd name="T17" fmla="*/ 3 h 4"/>
                <a:gd name="T18" fmla="*/ 13 w 16"/>
                <a:gd name="T19" fmla="*/ 4 h 4"/>
                <a:gd name="T20" fmla="*/ 13 w 16"/>
                <a:gd name="T21" fmla="*/ 4 h 4"/>
                <a:gd name="T22" fmla="*/ 16 w 16"/>
                <a:gd name="T23" fmla="*/ 2 h 4"/>
                <a:gd name="T24" fmla="*/ 6 w 1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
                  <a:moveTo>
                    <a:pt x="6" y="0"/>
                  </a:moveTo>
                  <a:cubicBezTo>
                    <a:pt x="4" y="0"/>
                    <a:pt x="2" y="0"/>
                    <a:pt x="0" y="2"/>
                  </a:cubicBezTo>
                  <a:cubicBezTo>
                    <a:pt x="1" y="3"/>
                    <a:pt x="2" y="4"/>
                    <a:pt x="4" y="4"/>
                  </a:cubicBezTo>
                  <a:cubicBezTo>
                    <a:pt x="6" y="4"/>
                    <a:pt x="8" y="3"/>
                    <a:pt x="10" y="3"/>
                  </a:cubicBezTo>
                  <a:cubicBezTo>
                    <a:pt x="10" y="3"/>
                    <a:pt x="11" y="3"/>
                    <a:pt x="11" y="4"/>
                  </a:cubicBezTo>
                  <a:cubicBezTo>
                    <a:pt x="11" y="4"/>
                    <a:pt x="11" y="4"/>
                    <a:pt x="11" y="4"/>
                  </a:cubicBezTo>
                  <a:cubicBezTo>
                    <a:pt x="11" y="4"/>
                    <a:pt x="12" y="3"/>
                    <a:pt x="12" y="3"/>
                  </a:cubicBezTo>
                  <a:cubicBezTo>
                    <a:pt x="12" y="3"/>
                    <a:pt x="12" y="3"/>
                    <a:pt x="12" y="3"/>
                  </a:cubicBezTo>
                  <a:cubicBezTo>
                    <a:pt x="13" y="3"/>
                    <a:pt x="13" y="3"/>
                    <a:pt x="13" y="3"/>
                  </a:cubicBezTo>
                  <a:cubicBezTo>
                    <a:pt x="13" y="3"/>
                    <a:pt x="13" y="4"/>
                    <a:pt x="13" y="4"/>
                  </a:cubicBezTo>
                  <a:cubicBezTo>
                    <a:pt x="13" y="4"/>
                    <a:pt x="13" y="4"/>
                    <a:pt x="13" y="4"/>
                  </a:cubicBezTo>
                  <a:cubicBezTo>
                    <a:pt x="15" y="3"/>
                    <a:pt x="15" y="4"/>
                    <a:pt x="16" y="2"/>
                  </a:cubicBezTo>
                  <a:cubicBezTo>
                    <a:pt x="13"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2" name="Freeform 142">
              <a:extLst>
                <a:ext uri="{FF2B5EF4-FFF2-40B4-BE49-F238E27FC236}">
                  <a16:creationId xmlns:a16="http://schemas.microsoft.com/office/drawing/2014/main" id="{6C0D3ABC-1524-456C-A499-6F683AEE0C21}"/>
                </a:ext>
              </a:extLst>
            </p:cNvPr>
            <p:cNvSpPr>
              <a:spLocks/>
            </p:cNvSpPr>
            <p:nvPr/>
          </p:nvSpPr>
          <p:spPr bwMode="auto">
            <a:xfrm>
              <a:off x="8201956" y="6667343"/>
              <a:ext cx="16947" cy="9886"/>
            </a:xfrm>
            <a:custGeom>
              <a:avLst/>
              <a:gdLst>
                <a:gd name="T0" fmla="*/ 5 w 5"/>
                <a:gd name="T1" fmla="*/ 0 h 3"/>
                <a:gd name="T2" fmla="*/ 0 w 5"/>
                <a:gd name="T3" fmla="*/ 1 h 3"/>
                <a:gd name="T4" fmla="*/ 3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4" y="0"/>
                    <a:pt x="2" y="0"/>
                    <a:pt x="0" y="1"/>
                  </a:cubicBezTo>
                  <a:cubicBezTo>
                    <a:pt x="1" y="2"/>
                    <a:pt x="2" y="3"/>
                    <a:pt x="3" y="3"/>
                  </a:cubicBezTo>
                  <a:cubicBezTo>
                    <a:pt x="4" y="3"/>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3" name="Freeform 143">
              <a:extLst>
                <a:ext uri="{FF2B5EF4-FFF2-40B4-BE49-F238E27FC236}">
                  <a16:creationId xmlns:a16="http://schemas.microsoft.com/office/drawing/2014/main" id="{8B97EAE0-D576-4182-8487-5B58031BA33C}"/>
                </a:ext>
              </a:extLst>
            </p:cNvPr>
            <p:cNvSpPr>
              <a:spLocks/>
            </p:cNvSpPr>
            <p:nvPr/>
          </p:nvSpPr>
          <p:spPr bwMode="auto">
            <a:xfrm>
              <a:off x="8081913" y="5658980"/>
              <a:ext cx="9886" cy="9886"/>
            </a:xfrm>
            <a:custGeom>
              <a:avLst/>
              <a:gdLst>
                <a:gd name="T0" fmla="*/ 1 w 3"/>
                <a:gd name="T1" fmla="*/ 0 h 3"/>
                <a:gd name="T2" fmla="*/ 0 w 3"/>
                <a:gd name="T3" fmla="*/ 1 h 3"/>
                <a:gd name="T4" fmla="*/ 3 w 3"/>
                <a:gd name="T5" fmla="*/ 3 h 3"/>
                <a:gd name="T6" fmla="*/ 1 w 3"/>
                <a:gd name="T7" fmla="*/ 0 h 3"/>
              </a:gdLst>
              <a:ahLst/>
              <a:cxnLst>
                <a:cxn ang="0">
                  <a:pos x="T0" y="T1"/>
                </a:cxn>
                <a:cxn ang="0">
                  <a:pos x="T2" y="T3"/>
                </a:cxn>
                <a:cxn ang="0">
                  <a:pos x="T4" y="T5"/>
                </a:cxn>
                <a:cxn ang="0">
                  <a:pos x="T6" y="T7"/>
                </a:cxn>
              </a:cxnLst>
              <a:rect l="0" t="0" r="r" b="b"/>
              <a:pathLst>
                <a:path w="3" h="3">
                  <a:moveTo>
                    <a:pt x="1" y="0"/>
                  </a:moveTo>
                  <a:cubicBezTo>
                    <a:pt x="1" y="0"/>
                    <a:pt x="0" y="0"/>
                    <a:pt x="0" y="1"/>
                  </a:cubicBezTo>
                  <a:cubicBezTo>
                    <a:pt x="1" y="2"/>
                    <a:pt x="2" y="2"/>
                    <a:pt x="3"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4" name="Freeform 144">
              <a:extLst>
                <a:ext uri="{FF2B5EF4-FFF2-40B4-BE49-F238E27FC236}">
                  <a16:creationId xmlns:a16="http://schemas.microsoft.com/office/drawing/2014/main" id="{F218218C-7F70-45D4-A902-161989FD58C5}"/>
                </a:ext>
              </a:extLst>
            </p:cNvPr>
            <p:cNvSpPr>
              <a:spLocks/>
            </p:cNvSpPr>
            <p:nvPr/>
          </p:nvSpPr>
          <p:spPr bwMode="auto">
            <a:xfrm>
              <a:off x="8022598" y="5605313"/>
              <a:ext cx="9886" cy="9886"/>
            </a:xfrm>
            <a:custGeom>
              <a:avLst/>
              <a:gdLst>
                <a:gd name="T0" fmla="*/ 1 w 3"/>
                <a:gd name="T1" fmla="*/ 0 h 3"/>
                <a:gd name="T2" fmla="*/ 0 w 3"/>
                <a:gd name="T3" fmla="*/ 3 h 3"/>
                <a:gd name="T4" fmla="*/ 3 w 3"/>
                <a:gd name="T5" fmla="*/ 2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0" y="1"/>
                    <a:pt x="0" y="3"/>
                  </a:cubicBezTo>
                  <a:cubicBezTo>
                    <a:pt x="1" y="3"/>
                    <a:pt x="2" y="2"/>
                    <a:pt x="3"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5" name="Freeform 145">
              <a:extLst>
                <a:ext uri="{FF2B5EF4-FFF2-40B4-BE49-F238E27FC236}">
                  <a16:creationId xmlns:a16="http://schemas.microsoft.com/office/drawing/2014/main" id="{EAE41854-D06A-4162-96A8-57D31E889153}"/>
                </a:ext>
              </a:extLst>
            </p:cNvPr>
            <p:cNvSpPr>
              <a:spLocks/>
            </p:cNvSpPr>
            <p:nvPr/>
          </p:nvSpPr>
          <p:spPr bwMode="auto">
            <a:xfrm>
              <a:off x="8011300" y="6310038"/>
              <a:ext cx="43780" cy="36719"/>
            </a:xfrm>
            <a:custGeom>
              <a:avLst/>
              <a:gdLst>
                <a:gd name="T0" fmla="*/ 5 w 13"/>
                <a:gd name="T1" fmla="*/ 0 h 11"/>
                <a:gd name="T2" fmla="*/ 8 w 13"/>
                <a:gd name="T3" fmla="*/ 3 h 11"/>
                <a:gd name="T4" fmla="*/ 5 w 13"/>
                <a:gd name="T5" fmla="*/ 5 h 11"/>
                <a:gd name="T6" fmla="*/ 3 w 13"/>
                <a:gd name="T7" fmla="*/ 5 h 11"/>
                <a:gd name="T8" fmla="*/ 0 w 13"/>
                <a:gd name="T9" fmla="*/ 5 h 11"/>
                <a:gd name="T10" fmla="*/ 3 w 13"/>
                <a:gd name="T11" fmla="*/ 9 h 11"/>
                <a:gd name="T12" fmla="*/ 4 w 13"/>
                <a:gd name="T13" fmla="*/ 11 h 11"/>
                <a:gd name="T14" fmla="*/ 6 w 13"/>
                <a:gd name="T15" fmla="*/ 11 h 11"/>
                <a:gd name="T16" fmla="*/ 7 w 13"/>
                <a:gd name="T17" fmla="*/ 10 h 11"/>
                <a:gd name="T18" fmla="*/ 8 w 13"/>
                <a:gd name="T19" fmla="*/ 9 h 11"/>
                <a:gd name="T20" fmla="*/ 10 w 13"/>
                <a:gd name="T21" fmla="*/ 9 h 11"/>
                <a:gd name="T22" fmla="*/ 12 w 13"/>
                <a:gd name="T23" fmla="*/ 11 h 11"/>
                <a:gd name="T24" fmla="*/ 11 w 13"/>
                <a:gd name="T25" fmla="*/ 7 h 11"/>
                <a:gd name="T26" fmla="*/ 12 w 13"/>
                <a:gd name="T27" fmla="*/ 4 h 11"/>
                <a:gd name="T28" fmla="*/ 5 w 1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1">
                  <a:moveTo>
                    <a:pt x="5" y="0"/>
                  </a:moveTo>
                  <a:cubicBezTo>
                    <a:pt x="6" y="1"/>
                    <a:pt x="7" y="2"/>
                    <a:pt x="8" y="3"/>
                  </a:cubicBezTo>
                  <a:cubicBezTo>
                    <a:pt x="7" y="4"/>
                    <a:pt x="6" y="4"/>
                    <a:pt x="5" y="5"/>
                  </a:cubicBezTo>
                  <a:cubicBezTo>
                    <a:pt x="4" y="5"/>
                    <a:pt x="4" y="5"/>
                    <a:pt x="3" y="5"/>
                  </a:cubicBezTo>
                  <a:cubicBezTo>
                    <a:pt x="2" y="5"/>
                    <a:pt x="1" y="5"/>
                    <a:pt x="0" y="5"/>
                  </a:cubicBezTo>
                  <a:cubicBezTo>
                    <a:pt x="0" y="6"/>
                    <a:pt x="2" y="8"/>
                    <a:pt x="3" y="9"/>
                  </a:cubicBezTo>
                  <a:cubicBezTo>
                    <a:pt x="4" y="11"/>
                    <a:pt x="4" y="11"/>
                    <a:pt x="4" y="11"/>
                  </a:cubicBezTo>
                  <a:cubicBezTo>
                    <a:pt x="5" y="11"/>
                    <a:pt x="5" y="11"/>
                    <a:pt x="6" y="11"/>
                  </a:cubicBezTo>
                  <a:cubicBezTo>
                    <a:pt x="7" y="10"/>
                    <a:pt x="7" y="10"/>
                    <a:pt x="7" y="10"/>
                  </a:cubicBezTo>
                  <a:cubicBezTo>
                    <a:pt x="8" y="9"/>
                    <a:pt x="8" y="9"/>
                    <a:pt x="8" y="9"/>
                  </a:cubicBezTo>
                  <a:cubicBezTo>
                    <a:pt x="9" y="9"/>
                    <a:pt x="9" y="9"/>
                    <a:pt x="10" y="9"/>
                  </a:cubicBezTo>
                  <a:cubicBezTo>
                    <a:pt x="11" y="9"/>
                    <a:pt x="11" y="9"/>
                    <a:pt x="12" y="11"/>
                  </a:cubicBezTo>
                  <a:cubicBezTo>
                    <a:pt x="13" y="9"/>
                    <a:pt x="12" y="9"/>
                    <a:pt x="11" y="7"/>
                  </a:cubicBezTo>
                  <a:cubicBezTo>
                    <a:pt x="11" y="6"/>
                    <a:pt x="12" y="5"/>
                    <a:pt x="12" y="4"/>
                  </a:cubicBezTo>
                  <a:cubicBezTo>
                    <a:pt x="11" y="2"/>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6" name="Freeform 146">
              <a:extLst>
                <a:ext uri="{FF2B5EF4-FFF2-40B4-BE49-F238E27FC236}">
                  <a16:creationId xmlns:a16="http://schemas.microsoft.com/office/drawing/2014/main" id="{83472BF8-6FF4-4E11-A823-D7B9C442F2A1}"/>
                </a:ext>
              </a:extLst>
            </p:cNvPr>
            <p:cNvSpPr>
              <a:spLocks/>
            </p:cNvSpPr>
            <p:nvPr/>
          </p:nvSpPr>
          <p:spPr bwMode="auto">
            <a:xfrm>
              <a:off x="8064966" y="6571308"/>
              <a:ext cx="14123" cy="5649"/>
            </a:xfrm>
            <a:custGeom>
              <a:avLst/>
              <a:gdLst>
                <a:gd name="T0" fmla="*/ 3 w 4"/>
                <a:gd name="T1" fmla="*/ 0 h 2"/>
                <a:gd name="T2" fmla="*/ 0 w 4"/>
                <a:gd name="T3" fmla="*/ 2 h 2"/>
                <a:gd name="T4" fmla="*/ 4 w 4"/>
                <a:gd name="T5" fmla="*/ 0 h 2"/>
                <a:gd name="T6" fmla="*/ 3 w 4"/>
                <a:gd name="T7" fmla="*/ 0 h 2"/>
              </a:gdLst>
              <a:ahLst/>
              <a:cxnLst>
                <a:cxn ang="0">
                  <a:pos x="T0" y="T1"/>
                </a:cxn>
                <a:cxn ang="0">
                  <a:pos x="T2" y="T3"/>
                </a:cxn>
                <a:cxn ang="0">
                  <a:pos x="T4" y="T5"/>
                </a:cxn>
                <a:cxn ang="0">
                  <a:pos x="T6" y="T7"/>
                </a:cxn>
              </a:cxnLst>
              <a:rect l="0" t="0" r="r" b="b"/>
              <a:pathLst>
                <a:path w="4" h="2">
                  <a:moveTo>
                    <a:pt x="3" y="0"/>
                  </a:moveTo>
                  <a:cubicBezTo>
                    <a:pt x="1" y="0"/>
                    <a:pt x="0" y="1"/>
                    <a:pt x="0" y="2"/>
                  </a:cubicBezTo>
                  <a:cubicBezTo>
                    <a:pt x="1" y="1"/>
                    <a:pt x="2"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7" name="Freeform 147">
              <a:extLst>
                <a:ext uri="{FF2B5EF4-FFF2-40B4-BE49-F238E27FC236}">
                  <a16:creationId xmlns:a16="http://schemas.microsoft.com/office/drawing/2014/main" id="{DDD1B14B-A611-4B73-B376-EF77D3E7EF19}"/>
                </a:ext>
              </a:extLst>
            </p:cNvPr>
            <p:cNvSpPr>
              <a:spLocks noEditPoints="1"/>
            </p:cNvSpPr>
            <p:nvPr/>
          </p:nvSpPr>
          <p:spPr bwMode="auto">
            <a:xfrm>
              <a:off x="8022598" y="6517642"/>
              <a:ext cx="125692" cy="66377"/>
            </a:xfrm>
            <a:custGeom>
              <a:avLst/>
              <a:gdLst>
                <a:gd name="T0" fmla="*/ 28 w 38"/>
                <a:gd name="T1" fmla="*/ 12 h 20"/>
                <a:gd name="T2" fmla="*/ 28 w 38"/>
                <a:gd name="T3" fmla="*/ 12 h 20"/>
                <a:gd name="T4" fmla="*/ 28 w 38"/>
                <a:gd name="T5" fmla="*/ 12 h 20"/>
                <a:gd name="T6" fmla="*/ 2 w 38"/>
                <a:gd name="T7" fmla="*/ 0 h 20"/>
                <a:gd name="T8" fmla="*/ 1 w 38"/>
                <a:gd name="T9" fmla="*/ 0 h 20"/>
                <a:gd name="T10" fmla="*/ 6 w 38"/>
                <a:gd name="T11" fmla="*/ 7 h 20"/>
                <a:gd name="T12" fmla="*/ 11 w 38"/>
                <a:gd name="T13" fmla="*/ 11 h 20"/>
                <a:gd name="T14" fmla="*/ 13 w 38"/>
                <a:gd name="T15" fmla="*/ 11 h 20"/>
                <a:gd name="T16" fmla="*/ 21 w 38"/>
                <a:gd name="T17" fmla="*/ 10 h 20"/>
                <a:gd name="T18" fmla="*/ 27 w 38"/>
                <a:gd name="T19" fmla="*/ 18 h 20"/>
                <a:gd name="T20" fmla="*/ 38 w 38"/>
                <a:gd name="T21" fmla="*/ 20 h 20"/>
                <a:gd name="T22" fmla="*/ 34 w 38"/>
                <a:gd name="T23" fmla="*/ 17 h 20"/>
                <a:gd name="T24" fmla="*/ 34 w 38"/>
                <a:gd name="T25" fmla="*/ 17 h 20"/>
                <a:gd name="T26" fmla="*/ 34 w 38"/>
                <a:gd name="T27" fmla="*/ 17 h 20"/>
                <a:gd name="T28" fmla="*/ 33 w 38"/>
                <a:gd name="T29" fmla="*/ 17 h 20"/>
                <a:gd name="T30" fmla="*/ 33 w 38"/>
                <a:gd name="T31" fmla="*/ 17 h 20"/>
                <a:gd name="T32" fmla="*/ 33 w 38"/>
                <a:gd name="T33" fmla="*/ 15 h 20"/>
                <a:gd name="T34" fmla="*/ 31 w 38"/>
                <a:gd name="T35" fmla="*/ 13 h 20"/>
                <a:gd name="T36" fmla="*/ 31 w 38"/>
                <a:gd name="T37" fmla="*/ 13 h 20"/>
                <a:gd name="T38" fmla="*/ 29 w 38"/>
                <a:gd name="T39" fmla="*/ 16 h 20"/>
                <a:gd name="T40" fmla="*/ 28 w 38"/>
                <a:gd name="T41" fmla="*/ 12 h 20"/>
                <a:gd name="T42" fmla="*/ 28 w 38"/>
                <a:gd name="T43" fmla="*/ 12 h 20"/>
                <a:gd name="T44" fmla="*/ 28 w 38"/>
                <a:gd name="T45" fmla="*/ 11 h 20"/>
                <a:gd name="T46" fmla="*/ 27 w 38"/>
                <a:gd name="T47" fmla="*/ 11 h 20"/>
                <a:gd name="T48" fmla="*/ 27 w 38"/>
                <a:gd name="T49" fmla="*/ 11 h 20"/>
                <a:gd name="T50" fmla="*/ 27 w 38"/>
                <a:gd name="T51" fmla="*/ 10 h 20"/>
                <a:gd name="T52" fmla="*/ 26 w 38"/>
                <a:gd name="T53" fmla="*/ 11 h 20"/>
                <a:gd name="T54" fmla="*/ 25 w 38"/>
                <a:gd name="T55" fmla="*/ 11 h 20"/>
                <a:gd name="T56" fmla="*/ 25 w 38"/>
                <a:gd name="T57" fmla="*/ 11 h 20"/>
                <a:gd name="T58" fmla="*/ 22 w 38"/>
                <a:gd name="T59" fmla="*/ 10 h 20"/>
                <a:gd name="T60" fmla="*/ 20 w 38"/>
                <a:gd name="T61" fmla="*/ 9 h 20"/>
                <a:gd name="T62" fmla="*/ 19 w 38"/>
                <a:gd name="T63" fmla="*/ 9 h 20"/>
                <a:gd name="T64" fmla="*/ 19 w 38"/>
                <a:gd name="T65" fmla="*/ 9 h 20"/>
                <a:gd name="T66" fmla="*/ 18 w 38"/>
                <a:gd name="T67" fmla="*/ 8 h 20"/>
                <a:gd name="T68" fmla="*/ 16 w 38"/>
                <a:gd name="T69" fmla="*/ 7 h 20"/>
                <a:gd name="T70" fmla="*/ 14 w 38"/>
                <a:gd name="T71" fmla="*/ 7 h 20"/>
                <a:gd name="T72" fmla="*/ 9 w 38"/>
                <a:gd name="T73" fmla="*/ 6 h 20"/>
                <a:gd name="T74" fmla="*/ 8 w 38"/>
                <a:gd name="T75" fmla="*/ 4 h 20"/>
                <a:gd name="T76" fmla="*/ 7 w 38"/>
                <a:gd name="T77" fmla="*/ 3 h 20"/>
                <a:gd name="T78" fmla="*/ 4 w 38"/>
                <a:gd name="T79" fmla="*/ 1 h 20"/>
                <a:gd name="T80" fmla="*/ 2 w 38"/>
                <a:gd name="T8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0">
                  <a:moveTo>
                    <a:pt x="28" y="12"/>
                  </a:moveTo>
                  <a:cubicBezTo>
                    <a:pt x="28" y="12"/>
                    <a:pt x="28" y="12"/>
                    <a:pt x="28" y="12"/>
                  </a:cubicBezTo>
                  <a:cubicBezTo>
                    <a:pt x="28" y="12"/>
                    <a:pt x="28" y="12"/>
                    <a:pt x="28" y="12"/>
                  </a:cubicBezTo>
                  <a:moveTo>
                    <a:pt x="2" y="0"/>
                  </a:moveTo>
                  <a:cubicBezTo>
                    <a:pt x="2" y="0"/>
                    <a:pt x="2" y="0"/>
                    <a:pt x="1" y="0"/>
                  </a:cubicBezTo>
                  <a:cubicBezTo>
                    <a:pt x="0" y="1"/>
                    <a:pt x="5" y="6"/>
                    <a:pt x="6" y="7"/>
                  </a:cubicBezTo>
                  <a:cubicBezTo>
                    <a:pt x="8" y="8"/>
                    <a:pt x="9" y="11"/>
                    <a:pt x="11" y="11"/>
                  </a:cubicBezTo>
                  <a:cubicBezTo>
                    <a:pt x="11" y="11"/>
                    <a:pt x="12" y="11"/>
                    <a:pt x="13" y="11"/>
                  </a:cubicBezTo>
                  <a:cubicBezTo>
                    <a:pt x="15" y="11"/>
                    <a:pt x="20" y="11"/>
                    <a:pt x="21" y="10"/>
                  </a:cubicBezTo>
                  <a:cubicBezTo>
                    <a:pt x="23" y="12"/>
                    <a:pt x="25" y="16"/>
                    <a:pt x="27" y="18"/>
                  </a:cubicBezTo>
                  <a:cubicBezTo>
                    <a:pt x="30" y="20"/>
                    <a:pt x="35" y="20"/>
                    <a:pt x="38" y="20"/>
                  </a:cubicBezTo>
                  <a:cubicBezTo>
                    <a:pt x="37" y="19"/>
                    <a:pt x="36" y="18"/>
                    <a:pt x="34" y="17"/>
                  </a:cubicBezTo>
                  <a:cubicBezTo>
                    <a:pt x="34" y="17"/>
                    <a:pt x="34" y="17"/>
                    <a:pt x="34" y="17"/>
                  </a:cubicBezTo>
                  <a:cubicBezTo>
                    <a:pt x="34" y="17"/>
                    <a:pt x="34" y="17"/>
                    <a:pt x="34" y="17"/>
                  </a:cubicBezTo>
                  <a:cubicBezTo>
                    <a:pt x="33" y="17"/>
                    <a:pt x="33" y="17"/>
                    <a:pt x="33" y="17"/>
                  </a:cubicBezTo>
                  <a:cubicBezTo>
                    <a:pt x="33" y="17"/>
                    <a:pt x="33" y="17"/>
                    <a:pt x="33" y="17"/>
                  </a:cubicBezTo>
                  <a:cubicBezTo>
                    <a:pt x="32" y="17"/>
                    <a:pt x="33" y="16"/>
                    <a:pt x="33" y="15"/>
                  </a:cubicBezTo>
                  <a:cubicBezTo>
                    <a:pt x="31" y="13"/>
                    <a:pt x="31" y="13"/>
                    <a:pt x="31" y="13"/>
                  </a:cubicBezTo>
                  <a:cubicBezTo>
                    <a:pt x="31" y="13"/>
                    <a:pt x="31" y="13"/>
                    <a:pt x="31" y="13"/>
                  </a:cubicBezTo>
                  <a:cubicBezTo>
                    <a:pt x="29" y="13"/>
                    <a:pt x="30" y="15"/>
                    <a:pt x="29" y="16"/>
                  </a:cubicBezTo>
                  <a:cubicBezTo>
                    <a:pt x="28" y="15"/>
                    <a:pt x="29" y="14"/>
                    <a:pt x="28" y="12"/>
                  </a:cubicBezTo>
                  <a:cubicBezTo>
                    <a:pt x="28" y="12"/>
                    <a:pt x="28" y="12"/>
                    <a:pt x="28" y="12"/>
                  </a:cubicBezTo>
                  <a:cubicBezTo>
                    <a:pt x="28" y="12"/>
                    <a:pt x="28" y="12"/>
                    <a:pt x="28" y="11"/>
                  </a:cubicBezTo>
                  <a:cubicBezTo>
                    <a:pt x="27" y="11"/>
                    <a:pt x="27" y="11"/>
                    <a:pt x="27" y="11"/>
                  </a:cubicBezTo>
                  <a:cubicBezTo>
                    <a:pt x="27" y="11"/>
                    <a:pt x="27" y="11"/>
                    <a:pt x="27" y="11"/>
                  </a:cubicBezTo>
                  <a:cubicBezTo>
                    <a:pt x="27" y="10"/>
                    <a:pt x="27" y="10"/>
                    <a:pt x="27" y="10"/>
                  </a:cubicBezTo>
                  <a:cubicBezTo>
                    <a:pt x="26" y="10"/>
                    <a:pt x="26" y="11"/>
                    <a:pt x="26" y="11"/>
                  </a:cubicBezTo>
                  <a:cubicBezTo>
                    <a:pt x="25" y="11"/>
                    <a:pt x="25" y="11"/>
                    <a:pt x="25" y="11"/>
                  </a:cubicBezTo>
                  <a:cubicBezTo>
                    <a:pt x="25" y="11"/>
                    <a:pt x="25" y="11"/>
                    <a:pt x="25" y="11"/>
                  </a:cubicBezTo>
                  <a:cubicBezTo>
                    <a:pt x="24" y="11"/>
                    <a:pt x="23" y="10"/>
                    <a:pt x="22" y="10"/>
                  </a:cubicBezTo>
                  <a:cubicBezTo>
                    <a:pt x="22" y="10"/>
                    <a:pt x="21" y="9"/>
                    <a:pt x="20" y="9"/>
                  </a:cubicBezTo>
                  <a:cubicBezTo>
                    <a:pt x="21" y="9"/>
                    <a:pt x="20" y="9"/>
                    <a:pt x="19" y="9"/>
                  </a:cubicBezTo>
                  <a:cubicBezTo>
                    <a:pt x="19" y="9"/>
                    <a:pt x="19" y="9"/>
                    <a:pt x="19" y="9"/>
                  </a:cubicBezTo>
                  <a:cubicBezTo>
                    <a:pt x="18" y="9"/>
                    <a:pt x="19" y="8"/>
                    <a:pt x="18" y="8"/>
                  </a:cubicBezTo>
                  <a:cubicBezTo>
                    <a:pt x="18" y="7"/>
                    <a:pt x="17" y="7"/>
                    <a:pt x="16" y="7"/>
                  </a:cubicBezTo>
                  <a:cubicBezTo>
                    <a:pt x="15" y="7"/>
                    <a:pt x="15" y="7"/>
                    <a:pt x="14" y="7"/>
                  </a:cubicBezTo>
                  <a:cubicBezTo>
                    <a:pt x="14" y="6"/>
                    <a:pt x="10" y="7"/>
                    <a:pt x="9" y="6"/>
                  </a:cubicBezTo>
                  <a:cubicBezTo>
                    <a:pt x="9" y="6"/>
                    <a:pt x="8" y="4"/>
                    <a:pt x="8" y="4"/>
                  </a:cubicBezTo>
                  <a:cubicBezTo>
                    <a:pt x="7" y="3"/>
                    <a:pt x="7" y="3"/>
                    <a:pt x="7" y="3"/>
                  </a:cubicBezTo>
                  <a:cubicBezTo>
                    <a:pt x="6" y="3"/>
                    <a:pt x="6" y="2"/>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8" name="Freeform 148">
              <a:extLst>
                <a:ext uri="{FF2B5EF4-FFF2-40B4-BE49-F238E27FC236}">
                  <a16:creationId xmlns:a16="http://schemas.microsoft.com/office/drawing/2014/main" id="{EA3E30B2-2D8E-4848-8884-986B8B039006}"/>
                </a:ext>
              </a:extLst>
            </p:cNvPr>
            <p:cNvSpPr>
              <a:spLocks/>
            </p:cNvSpPr>
            <p:nvPr/>
          </p:nvSpPr>
          <p:spPr bwMode="auto">
            <a:xfrm>
              <a:off x="8072027" y="5695699"/>
              <a:ext cx="9886" cy="7061"/>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0" y="1"/>
                    <a:pt x="1"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9" name="Freeform 149">
              <a:extLst>
                <a:ext uri="{FF2B5EF4-FFF2-40B4-BE49-F238E27FC236}">
                  <a16:creationId xmlns:a16="http://schemas.microsoft.com/office/drawing/2014/main" id="{27CD294C-4DEE-4E5B-AAA3-2CDFC2C3159F}"/>
                </a:ext>
              </a:extLst>
            </p:cNvPr>
            <p:cNvSpPr>
              <a:spLocks/>
            </p:cNvSpPr>
            <p:nvPr/>
          </p:nvSpPr>
          <p:spPr bwMode="auto">
            <a:xfrm>
              <a:off x="8105922" y="6584019"/>
              <a:ext cx="120043" cy="80500"/>
            </a:xfrm>
            <a:custGeom>
              <a:avLst/>
              <a:gdLst>
                <a:gd name="T0" fmla="*/ 15 w 36"/>
                <a:gd name="T1" fmla="*/ 0 h 24"/>
                <a:gd name="T2" fmla="*/ 11 w 36"/>
                <a:gd name="T3" fmla="*/ 4 h 24"/>
                <a:gd name="T4" fmla="*/ 10 w 36"/>
                <a:gd name="T5" fmla="*/ 4 h 24"/>
                <a:gd name="T6" fmla="*/ 7 w 36"/>
                <a:gd name="T7" fmla="*/ 3 h 24"/>
                <a:gd name="T8" fmla="*/ 14 w 36"/>
                <a:gd name="T9" fmla="*/ 8 h 24"/>
                <a:gd name="T10" fmla="*/ 15 w 36"/>
                <a:gd name="T11" fmla="*/ 7 h 24"/>
                <a:gd name="T12" fmla="*/ 15 w 36"/>
                <a:gd name="T13" fmla="*/ 7 h 24"/>
                <a:gd name="T14" fmla="*/ 16 w 36"/>
                <a:gd name="T15" fmla="*/ 9 h 24"/>
                <a:gd name="T16" fmla="*/ 14 w 36"/>
                <a:gd name="T17" fmla="*/ 10 h 24"/>
                <a:gd name="T18" fmla="*/ 9 w 36"/>
                <a:gd name="T19" fmla="*/ 8 h 24"/>
                <a:gd name="T20" fmla="*/ 6 w 36"/>
                <a:gd name="T21" fmla="*/ 6 h 24"/>
                <a:gd name="T22" fmla="*/ 3 w 36"/>
                <a:gd name="T23" fmla="*/ 7 h 24"/>
                <a:gd name="T24" fmla="*/ 5 w 36"/>
                <a:gd name="T25" fmla="*/ 12 h 24"/>
                <a:gd name="T26" fmla="*/ 6 w 36"/>
                <a:gd name="T27" fmla="*/ 11 h 24"/>
                <a:gd name="T28" fmla="*/ 10 w 36"/>
                <a:gd name="T29" fmla="*/ 11 h 24"/>
                <a:gd name="T30" fmla="*/ 9 w 36"/>
                <a:gd name="T31" fmla="*/ 16 h 24"/>
                <a:gd name="T32" fmla="*/ 9 w 36"/>
                <a:gd name="T33" fmla="*/ 19 h 24"/>
                <a:gd name="T34" fmla="*/ 14 w 36"/>
                <a:gd name="T35" fmla="*/ 16 h 24"/>
                <a:gd name="T36" fmla="*/ 15 w 36"/>
                <a:gd name="T37" fmla="*/ 15 h 24"/>
                <a:gd name="T38" fmla="*/ 17 w 36"/>
                <a:gd name="T39" fmla="*/ 15 h 24"/>
                <a:gd name="T40" fmla="*/ 19 w 36"/>
                <a:gd name="T41" fmla="*/ 16 h 24"/>
                <a:gd name="T42" fmla="*/ 20 w 36"/>
                <a:gd name="T43" fmla="*/ 15 h 24"/>
                <a:gd name="T44" fmla="*/ 20 w 36"/>
                <a:gd name="T45" fmla="*/ 15 h 24"/>
                <a:gd name="T46" fmla="*/ 24 w 36"/>
                <a:gd name="T47" fmla="*/ 16 h 24"/>
                <a:gd name="T48" fmla="*/ 20 w 36"/>
                <a:gd name="T49" fmla="*/ 18 h 24"/>
                <a:gd name="T50" fmla="*/ 18 w 36"/>
                <a:gd name="T51" fmla="*/ 21 h 24"/>
                <a:gd name="T52" fmla="*/ 16 w 36"/>
                <a:gd name="T53" fmla="*/ 22 h 24"/>
                <a:gd name="T54" fmla="*/ 20 w 36"/>
                <a:gd name="T55" fmla="*/ 24 h 24"/>
                <a:gd name="T56" fmla="*/ 25 w 36"/>
                <a:gd name="T57" fmla="*/ 21 h 24"/>
                <a:gd name="T58" fmla="*/ 26 w 36"/>
                <a:gd name="T59" fmla="*/ 23 h 24"/>
                <a:gd name="T60" fmla="*/ 28 w 36"/>
                <a:gd name="T61" fmla="*/ 20 h 24"/>
                <a:gd name="T62" fmla="*/ 31 w 36"/>
                <a:gd name="T63" fmla="*/ 21 h 24"/>
                <a:gd name="T64" fmla="*/ 31 w 36"/>
                <a:gd name="T65" fmla="*/ 21 h 24"/>
                <a:gd name="T66" fmla="*/ 30 w 36"/>
                <a:gd name="T67" fmla="*/ 17 h 24"/>
                <a:gd name="T68" fmla="*/ 31 w 36"/>
                <a:gd name="T69" fmla="*/ 17 h 24"/>
                <a:gd name="T70" fmla="*/ 31 w 36"/>
                <a:gd name="T71" fmla="*/ 15 h 24"/>
                <a:gd name="T72" fmla="*/ 31 w 36"/>
                <a:gd name="T73" fmla="*/ 15 h 24"/>
                <a:gd name="T74" fmla="*/ 32 w 36"/>
                <a:gd name="T75" fmla="*/ 15 h 24"/>
                <a:gd name="T76" fmla="*/ 32 w 36"/>
                <a:gd name="T77" fmla="*/ 16 h 24"/>
                <a:gd name="T78" fmla="*/ 34 w 36"/>
                <a:gd name="T79" fmla="*/ 15 h 24"/>
                <a:gd name="T80" fmla="*/ 36 w 36"/>
                <a:gd name="T81" fmla="*/ 14 h 24"/>
                <a:gd name="T82" fmla="*/ 31 w 36"/>
                <a:gd name="T83" fmla="*/ 10 h 24"/>
                <a:gd name="T84" fmla="*/ 30 w 36"/>
                <a:gd name="T85" fmla="*/ 11 h 24"/>
                <a:gd name="T86" fmla="*/ 29 w 36"/>
                <a:gd name="T87" fmla="*/ 11 h 24"/>
                <a:gd name="T88" fmla="*/ 29 w 36"/>
                <a:gd name="T89" fmla="*/ 7 h 24"/>
                <a:gd name="T90" fmla="*/ 26 w 36"/>
                <a:gd name="T91" fmla="*/ 6 h 24"/>
                <a:gd name="T92" fmla="*/ 22 w 36"/>
                <a:gd name="T93" fmla="*/ 6 h 24"/>
                <a:gd name="T94" fmla="*/ 20 w 36"/>
                <a:gd name="T95" fmla="*/ 3 h 24"/>
                <a:gd name="T96" fmla="*/ 18 w 36"/>
                <a:gd name="T97" fmla="*/ 3 h 24"/>
                <a:gd name="T98" fmla="*/ 16 w 36"/>
                <a:gd name="T99" fmla="*/ 1 h 24"/>
                <a:gd name="T100" fmla="*/ 16 w 36"/>
                <a:gd name="T101" fmla="*/ 1 h 24"/>
                <a:gd name="T102" fmla="*/ 15 w 36"/>
                <a:gd name="T10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 h="24">
                  <a:moveTo>
                    <a:pt x="15" y="0"/>
                  </a:moveTo>
                  <a:cubicBezTo>
                    <a:pt x="14" y="0"/>
                    <a:pt x="11" y="4"/>
                    <a:pt x="11" y="4"/>
                  </a:cubicBezTo>
                  <a:cubicBezTo>
                    <a:pt x="11" y="4"/>
                    <a:pt x="10" y="4"/>
                    <a:pt x="10" y="4"/>
                  </a:cubicBezTo>
                  <a:cubicBezTo>
                    <a:pt x="9" y="4"/>
                    <a:pt x="8" y="3"/>
                    <a:pt x="7" y="3"/>
                  </a:cubicBezTo>
                  <a:cubicBezTo>
                    <a:pt x="9" y="5"/>
                    <a:pt x="12" y="8"/>
                    <a:pt x="14" y="8"/>
                  </a:cubicBezTo>
                  <a:cubicBezTo>
                    <a:pt x="14" y="8"/>
                    <a:pt x="15" y="7"/>
                    <a:pt x="15" y="7"/>
                  </a:cubicBezTo>
                  <a:cubicBezTo>
                    <a:pt x="15" y="7"/>
                    <a:pt x="15" y="7"/>
                    <a:pt x="15" y="7"/>
                  </a:cubicBezTo>
                  <a:cubicBezTo>
                    <a:pt x="17" y="7"/>
                    <a:pt x="17" y="8"/>
                    <a:pt x="16" y="9"/>
                  </a:cubicBezTo>
                  <a:cubicBezTo>
                    <a:pt x="15" y="10"/>
                    <a:pt x="14" y="10"/>
                    <a:pt x="14" y="10"/>
                  </a:cubicBezTo>
                  <a:cubicBezTo>
                    <a:pt x="12" y="10"/>
                    <a:pt x="10" y="9"/>
                    <a:pt x="9" y="8"/>
                  </a:cubicBezTo>
                  <a:cubicBezTo>
                    <a:pt x="8" y="7"/>
                    <a:pt x="7" y="6"/>
                    <a:pt x="6" y="6"/>
                  </a:cubicBezTo>
                  <a:cubicBezTo>
                    <a:pt x="3" y="7"/>
                    <a:pt x="3" y="7"/>
                    <a:pt x="3" y="7"/>
                  </a:cubicBezTo>
                  <a:cubicBezTo>
                    <a:pt x="0" y="9"/>
                    <a:pt x="3" y="12"/>
                    <a:pt x="5" y="12"/>
                  </a:cubicBezTo>
                  <a:cubicBezTo>
                    <a:pt x="5" y="12"/>
                    <a:pt x="6" y="12"/>
                    <a:pt x="6" y="11"/>
                  </a:cubicBezTo>
                  <a:cubicBezTo>
                    <a:pt x="7" y="11"/>
                    <a:pt x="9" y="11"/>
                    <a:pt x="10" y="11"/>
                  </a:cubicBezTo>
                  <a:cubicBezTo>
                    <a:pt x="10" y="12"/>
                    <a:pt x="10" y="14"/>
                    <a:pt x="9" y="16"/>
                  </a:cubicBezTo>
                  <a:cubicBezTo>
                    <a:pt x="9" y="17"/>
                    <a:pt x="11" y="18"/>
                    <a:pt x="9" y="19"/>
                  </a:cubicBezTo>
                  <a:cubicBezTo>
                    <a:pt x="11" y="18"/>
                    <a:pt x="13" y="18"/>
                    <a:pt x="14" y="16"/>
                  </a:cubicBezTo>
                  <a:cubicBezTo>
                    <a:pt x="15" y="15"/>
                    <a:pt x="15" y="15"/>
                    <a:pt x="15" y="15"/>
                  </a:cubicBezTo>
                  <a:cubicBezTo>
                    <a:pt x="15" y="15"/>
                    <a:pt x="16" y="15"/>
                    <a:pt x="17" y="15"/>
                  </a:cubicBezTo>
                  <a:cubicBezTo>
                    <a:pt x="17" y="15"/>
                    <a:pt x="18" y="16"/>
                    <a:pt x="19" y="16"/>
                  </a:cubicBezTo>
                  <a:cubicBezTo>
                    <a:pt x="19" y="16"/>
                    <a:pt x="20" y="15"/>
                    <a:pt x="20" y="15"/>
                  </a:cubicBezTo>
                  <a:cubicBezTo>
                    <a:pt x="20" y="15"/>
                    <a:pt x="20" y="15"/>
                    <a:pt x="20" y="15"/>
                  </a:cubicBezTo>
                  <a:cubicBezTo>
                    <a:pt x="22" y="15"/>
                    <a:pt x="22" y="15"/>
                    <a:pt x="24" y="16"/>
                  </a:cubicBezTo>
                  <a:cubicBezTo>
                    <a:pt x="23" y="17"/>
                    <a:pt x="21" y="17"/>
                    <a:pt x="20" y="18"/>
                  </a:cubicBezTo>
                  <a:cubicBezTo>
                    <a:pt x="20" y="19"/>
                    <a:pt x="19" y="20"/>
                    <a:pt x="18" y="21"/>
                  </a:cubicBezTo>
                  <a:cubicBezTo>
                    <a:pt x="18" y="22"/>
                    <a:pt x="17" y="22"/>
                    <a:pt x="16" y="22"/>
                  </a:cubicBezTo>
                  <a:cubicBezTo>
                    <a:pt x="17" y="23"/>
                    <a:pt x="19" y="24"/>
                    <a:pt x="20" y="24"/>
                  </a:cubicBezTo>
                  <a:cubicBezTo>
                    <a:pt x="23" y="23"/>
                    <a:pt x="23" y="23"/>
                    <a:pt x="25" y="21"/>
                  </a:cubicBezTo>
                  <a:cubicBezTo>
                    <a:pt x="25" y="22"/>
                    <a:pt x="26" y="23"/>
                    <a:pt x="26" y="23"/>
                  </a:cubicBezTo>
                  <a:cubicBezTo>
                    <a:pt x="27" y="23"/>
                    <a:pt x="27" y="21"/>
                    <a:pt x="28" y="20"/>
                  </a:cubicBezTo>
                  <a:cubicBezTo>
                    <a:pt x="29" y="20"/>
                    <a:pt x="29" y="21"/>
                    <a:pt x="31" y="21"/>
                  </a:cubicBezTo>
                  <a:cubicBezTo>
                    <a:pt x="31" y="21"/>
                    <a:pt x="31" y="21"/>
                    <a:pt x="31" y="21"/>
                  </a:cubicBezTo>
                  <a:cubicBezTo>
                    <a:pt x="34" y="21"/>
                    <a:pt x="30" y="18"/>
                    <a:pt x="30" y="17"/>
                  </a:cubicBezTo>
                  <a:cubicBezTo>
                    <a:pt x="30" y="17"/>
                    <a:pt x="31" y="17"/>
                    <a:pt x="31" y="17"/>
                  </a:cubicBezTo>
                  <a:cubicBezTo>
                    <a:pt x="32" y="17"/>
                    <a:pt x="31" y="16"/>
                    <a:pt x="31" y="15"/>
                  </a:cubicBezTo>
                  <a:cubicBezTo>
                    <a:pt x="31" y="15"/>
                    <a:pt x="31" y="15"/>
                    <a:pt x="31" y="15"/>
                  </a:cubicBezTo>
                  <a:cubicBezTo>
                    <a:pt x="31" y="15"/>
                    <a:pt x="32" y="15"/>
                    <a:pt x="32" y="15"/>
                  </a:cubicBezTo>
                  <a:cubicBezTo>
                    <a:pt x="32" y="16"/>
                    <a:pt x="32" y="16"/>
                    <a:pt x="32" y="16"/>
                  </a:cubicBezTo>
                  <a:cubicBezTo>
                    <a:pt x="33" y="16"/>
                    <a:pt x="34" y="16"/>
                    <a:pt x="34" y="15"/>
                  </a:cubicBezTo>
                  <a:cubicBezTo>
                    <a:pt x="35" y="15"/>
                    <a:pt x="35" y="14"/>
                    <a:pt x="36" y="14"/>
                  </a:cubicBezTo>
                  <a:cubicBezTo>
                    <a:pt x="34" y="13"/>
                    <a:pt x="33" y="10"/>
                    <a:pt x="31" y="10"/>
                  </a:cubicBezTo>
                  <a:cubicBezTo>
                    <a:pt x="31" y="10"/>
                    <a:pt x="30" y="11"/>
                    <a:pt x="30" y="11"/>
                  </a:cubicBezTo>
                  <a:cubicBezTo>
                    <a:pt x="29" y="11"/>
                    <a:pt x="29" y="11"/>
                    <a:pt x="29" y="11"/>
                  </a:cubicBezTo>
                  <a:cubicBezTo>
                    <a:pt x="28" y="11"/>
                    <a:pt x="30" y="8"/>
                    <a:pt x="29" y="7"/>
                  </a:cubicBezTo>
                  <a:cubicBezTo>
                    <a:pt x="29" y="6"/>
                    <a:pt x="26" y="6"/>
                    <a:pt x="26" y="6"/>
                  </a:cubicBezTo>
                  <a:cubicBezTo>
                    <a:pt x="25" y="6"/>
                    <a:pt x="22" y="6"/>
                    <a:pt x="22" y="6"/>
                  </a:cubicBezTo>
                  <a:cubicBezTo>
                    <a:pt x="21" y="5"/>
                    <a:pt x="21" y="3"/>
                    <a:pt x="20" y="3"/>
                  </a:cubicBezTo>
                  <a:cubicBezTo>
                    <a:pt x="19" y="3"/>
                    <a:pt x="19" y="3"/>
                    <a:pt x="18" y="3"/>
                  </a:cubicBezTo>
                  <a:cubicBezTo>
                    <a:pt x="19" y="2"/>
                    <a:pt x="17" y="1"/>
                    <a:pt x="16" y="1"/>
                  </a:cubicBezTo>
                  <a:cubicBezTo>
                    <a:pt x="16" y="1"/>
                    <a:pt x="16" y="1"/>
                    <a:pt x="16" y="1"/>
                  </a:cubicBezTo>
                  <a:cubicBezTo>
                    <a:pt x="16" y="1"/>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0" name="Freeform 150">
              <a:extLst>
                <a:ext uri="{FF2B5EF4-FFF2-40B4-BE49-F238E27FC236}">
                  <a16:creationId xmlns:a16="http://schemas.microsoft.com/office/drawing/2014/main" id="{E8364CA4-02CF-45A7-937F-5E20634130D0}"/>
                </a:ext>
              </a:extLst>
            </p:cNvPr>
            <p:cNvSpPr>
              <a:spLocks/>
            </p:cNvSpPr>
            <p:nvPr/>
          </p:nvSpPr>
          <p:spPr bwMode="auto">
            <a:xfrm>
              <a:off x="8069203" y="5766313"/>
              <a:ext cx="29658" cy="12710"/>
            </a:xfrm>
            <a:custGeom>
              <a:avLst/>
              <a:gdLst>
                <a:gd name="T0" fmla="*/ 3 w 9"/>
                <a:gd name="T1" fmla="*/ 0 h 4"/>
                <a:gd name="T2" fmla="*/ 1 w 9"/>
                <a:gd name="T3" fmla="*/ 2 h 4"/>
                <a:gd name="T4" fmla="*/ 4 w 9"/>
                <a:gd name="T5" fmla="*/ 4 h 4"/>
                <a:gd name="T6" fmla="*/ 9 w 9"/>
                <a:gd name="T7" fmla="*/ 3 h 4"/>
                <a:gd name="T8" fmla="*/ 3 w 9"/>
                <a:gd name="T9" fmla="*/ 0 h 4"/>
              </a:gdLst>
              <a:ahLst/>
              <a:cxnLst>
                <a:cxn ang="0">
                  <a:pos x="T0" y="T1"/>
                </a:cxn>
                <a:cxn ang="0">
                  <a:pos x="T2" y="T3"/>
                </a:cxn>
                <a:cxn ang="0">
                  <a:pos x="T4" y="T5"/>
                </a:cxn>
                <a:cxn ang="0">
                  <a:pos x="T6" y="T7"/>
                </a:cxn>
                <a:cxn ang="0">
                  <a:pos x="T8" y="T9"/>
                </a:cxn>
              </a:cxnLst>
              <a:rect l="0" t="0" r="r" b="b"/>
              <a:pathLst>
                <a:path w="9" h="4">
                  <a:moveTo>
                    <a:pt x="3" y="0"/>
                  </a:moveTo>
                  <a:cubicBezTo>
                    <a:pt x="2" y="0"/>
                    <a:pt x="2" y="0"/>
                    <a:pt x="1" y="2"/>
                  </a:cubicBezTo>
                  <a:cubicBezTo>
                    <a:pt x="0" y="3"/>
                    <a:pt x="3" y="4"/>
                    <a:pt x="4" y="4"/>
                  </a:cubicBezTo>
                  <a:cubicBezTo>
                    <a:pt x="6" y="4"/>
                    <a:pt x="8" y="4"/>
                    <a:pt x="9" y="3"/>
                  </a:cubicBezTo>
                  <a:cubicBezTo>
                    <a:pt x="8" y="3"/>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1" name="Freeform 151">
              <a:extLst>
                <a:ext uri="{FF2B5EF4-FFF2-40B4-BE49-F238E27FC236}">
                  <a16:creationId xmlns:a16="http://schemas.microsoft.com/office/drawing/2014/main" id="{D4E51D54-746F-417B-805F-B2BE76CEF297}"/>
                </a:ext>
              </a:extLst>
            </p:cNvPr>
            <p:cNvSpPr>
              <a:spLocks/>
            </p:cNvSpPr>
            <p:nvPr/>
          </p:nvSpPr>
          <p:spPr bwMode="auto">
            <a:xfrm>
              <a:off x="8321999" y="6603791"/>
              <a:ext cx="43780" cy="70614"/>
            </a:xfrm>
            <a:custGeom>
              <a:avLst/>
              <a:gdLst>
                <a:gd name="T0" fmla="*/ 10 w 13"/>
                <a:gd name="T1" fmla="*/ 0 h 21"/>
                <a:gd name="T2" fmla="*/ 5 w 13"/>
                <a:gd name="T3" fmla="*/ 4 h 21"/>
                <a:gd name="T4" fmla="*/ 4 w 13"/>
                <a:gd name="T5" fmla="*/ 8 h 21"/>
                <a:gd name="T6" fmla="*/ 3 w 13"/>
                <a:gd name="T7" fmla="*/ 9 h 21"/>
                <a:gd name="T8" fmla="*/ 3 w 13"/>
                <a:gd name="T9" fmla="*/ 9 h 21"/>
                <a:gd name="T10" fmla="*/ 3 w 13"/>
                <a:gd name="T11" fmla="*/ 9 h 21"/>
                <a:gd name="T12" fmla="*/ 2 w 13"/>
                <a:gd name="T13" fmla="*/ 9 h 21"/>
                <a:gd name="T14" fmla="*/ 0 w 13"/>
                <a:gd name="T15" fmla="*/ 14 h 21"/>
                <a:gd name="T16" fmla="*/ 9 w 13"/>
                <a:gd name="T17" fmla="*/ 21 h 21"/>
                <a:gd name="T18" fmla="*/ 7 w 13"/>
                <a:gd name="T19" fmla="*/ 15 h 21"/>
                <a:gd name="T20" fmla="*/ 5 w 13"/>
                <a:gd name="T21" fmla="*/ 12 h 21"/>
                <a:gd name="T22" fmla="*/ 11 w 13"/>
                <a:gd name="T23" fmla="*/ 15 h 21"/>
                <a:gd name="T24" fmla="*/ 12 w 13"/>
                <a:gd name="T25" fmla="*/ 15 h 21"/>
                <a:gd name="T26" fmla="*/ 10 w 13"/>
                <a:gd name="T27" fmla="*/ 9 h 21"/>
                <a:gd name="T28" fmla="*/ 10 w 13"/>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1">
                  <a:moveTo>
                    <a:pt x="10" y="0"/>
                  </a:moveTo>
                  <a:cubicBezTo>
                    <a:pt x="9" y="1"/>
                    <a:pt x="6" y="3"/>
                    <a:pt x="5" y="4"/>
                  </a:cubicBezTo>
                  <a:cubicBezTo>
                    <a:pt x="4" y="5"/>
                    <a:pt x="4" y="7"/>
                    <a:pt x="4" y="8"/>
                  </a:cubicBezTo>
                  <a:cubicBezTo>
                    <a:pt x="4" y="9"/>
                    <a:pt x="4" y="9"/>
                    <a:pt x="3" y="9"/>
                  </a:cubicBezTo>
                  <a:cubicBezTo>
                    <a:pt x="3" y="9"/>
                    <a:pt x="3" y="9"/>
                    <a:pt x="3" y="9"/>
                  </a:cubicBezTo>
                  <a:cubicBezTo>
                    <a:pt x="3" y="9"/>
                    <a:pt x="3" y="9"/>
                    <a:pt x="3" y="9"/>
                  </a:cubicBezTo>
                  <a:cubicBezTo>
                    <a:pt x="3" y="9"/>
                    <a:pt x="3" y="9"/>
                    <a:pt x="2" y="9"/>
                  </a:cubicBezTo>
                  <a:cubicBezTo>
                    <a:pt x="0" y="11"/>
                    <a:pt x="0" y="10"/>
                    <a:pt x="0" y="14"/>
                  </a:cubicBezTo>
                  <a:cubicBezTo>
                    <a:pt x="1" y="18"/>
                    <a:pt x="6" y="20"/>
                    <a:pt x="9" y="21"/>
                  </a:cubicBezTo>
                  <a:cubicBezTo>
                    <a:pt x="9" y="19"/>
                    <a:pt x="8" y="17"/>
                    <a:pt x="7" y="15"/>
                  </a:cubicBezTo>
                  <a:cubicBezTo>
                    <a:pt x="6" y="14"/>
                    <a:pt x="5" y="13"/>
                    <a:pt x="5" y="12"/>
                  </a:cubicBezTo>
                  <a:cubicBezTo>
                    <a:pt x="6" y="12"/>
                    <a:pt x="9" y="15"/>
                    <a:pt x="11" y="15"/>
                  </a:cubicBezTo>
                  <a:cubicBezTo>
                    <a:pt x="12" y="15"/>
                    <a:pt x="12" y="15"/>
                    <a:pt x="12" y="15"/>
                  </a:cubicBezTo>
                  <a:cubicBezTo>
                    <a:pt x="13" y="14"/>
                    <a:pt x="11" y="10"/>
                    <a:pt x="10" y="9"/>
                  </a:cubicBezTo>
                  <a:cubicBezTo>
                    <a:pt x="10" y="6"/>
                    <a:pt x="10"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2" name="Freeform 152">
              <a:extLst>
                <a:ext uri="{FF2B5EF4-FFF2-40B4-BE49-F238E27FC236}">
                  <a16:creationId xmlns:a16="http://schemas.microsoft.com/office/drawing/2014/main" id="{39A27DEB-AFF4-4FBB-8DE8-2C14674B8E48}"/>
                </a:ext>
              </a:extLst>
            </p:cNvPr>
            <p:cNvSpPr>
              <a:spLocks/>
            </p:cNvSpPr>
            <p:nvPr/>
          </p:nvSpPr>
          <p:spPr bwMode="auto">
            <a:xfrm>
              <a:off x="7964695" y="6106671"/>
              <a:ext cx="90385" cy="134166"/>
            </a:xfrm>
            <a:custGeom>
              <a:avLst/>
              <a:gdLst>
                <a:gd name="T0" fmla="*/ 18 w 27"/>
                <a:gd name="T1" fmla="*/ 0 h 40"/>
                <a:gd name="T2" fmla="*/ 15 w 27"/>
                <a:gd name="T3" fmla="*/ 0 h 40"/>
                <a:gd name="T4" fmla="*/ 12 w 27"/>
                <a:gd name="T5" fmla="*/ 4 h 40"/>
                <a:gd name="T6" fmla="*/ 15 w 27"/>
                <a:gd name="T7" fmla="*/ 4 h 40"/>
                <a:gd name="T8" fmla="*/ 11 w 27"/>
                <a:gd name="T9" fmla="*/ 6 h 40"/>
                <a:gd name="T10" fmla="*/ 14 w 27"/>
                <a:gd name="T11" fmla="*/ 7 h 40"/>
                <a:gd name="T12" fmla="*/ 16 w 27"/>
                <a:gd name="T13" fmla="*/ 7 h 40"/>
                <a:gd name="T14" fmla="*/ 13 w 27"/>
                <a:gd name="T15" fmla="*/ 9 h 40"/>
                <a:gd name="T16" fmla="*/ 16 w 27"/>
                <a:gd name="T17" fmla="*/ 12 h 40"/>
                <a:gd name="T18" fmla="*/ 14 w 27"/>
                <a:gd name="T19" fmla="*/ 20 h 40"/>
                <a:gd name="T20" fmla="*/ 10 w 27"/>
                <a:gd name="T21" fmla="*/ 15 h 40"/>
                <a:gd name="T22" fmla="*/ 9 w 27"/>
                <a:gd name="T23" fmla="*/ 18 h 40"/>
                <a:gd name="T24" fmla="*/ 8 w 27"/>
                <a:gd name="T25" fmla="*/ 18 h 40"/>
                <a:gd name="T26" fmla="*/ 7 w 27"/>
                <a:gd name="T27" fmla="*/ 19 h 40"/>
                <a:gd name="T28" fmla="*/ 5 w 27"/>
                <a:gd name="T29" fmla="*/ 17 h 40"/>
                <a:gd name="T30" fmla="*/ 4 w 27"/>
                <a:gd name="T31" fmla="*/ 19 h 40"/>
                <a:gd name="T32" fmla="*/ 2 w 27"/>
                <a:gd name="T33" fmla="*/ 17 h 40"/>
                <a:gd name="T34" fmla="*/ 2 w 27"/>
                <a:gd name="T35" fmla="*/ 17 h 40"/>
                <a:gd name="T36" fmla="*/ 3 w 27"/>
                <a:gd name="T37" fmla="*/ 23 h 40"/>
                <a:gd name="T38" fmla="*/ 8 w 27"/>
                <a:gd name="T39" fmla="*/ 33 h 40"/>
                <a:gd name="T40" fmla="*/ 9 w 27"/>
                <a:gd name="T41" fmla="*/ 34 h 40"/>
                <a:gd name="T42" fmla="*/ 11 w 27"/>
                <a:gd name="T43" fmla="*/ 33 h 40"/>
                <a:gd name="T44" fmla="*/ 12 w 27"/>
                <a:gd name="T45" fmla="*/ 31 h 40"/>
                <a:gd name="T46" fmla="*/ 13 w 27"/>
                <a:gd name="T47" fmla="*/ 29 h 40"/>
                <a:gd name="T48" fmla="*/ 12 w 27"/>
                <a:gd name="T49" fmla="*/ 23 h 40"/>
                <a:gd name="T50" fmla="*/ 14 w 27"/>
                <a:gd name="T51" fmla="*/ 24 h 40"/>
                <a:gd name="T52" fmla="*/ 17 w 27"/>
                <a:gd name="T53" fmla="*/ 21 h 40"/>
                <a:gd name="T54" fmla="*/ 20 w 27"/>
                <a:gd name="T55" fmla="*/ 19 h 40"/>
                <a:gd name="T56" fmla="*/ 15 w 27"/>
                <a:gd name="T57" fmla="*/ 25 h 40"/>
                <a:gd name="T58" fmla="*/ 18 w 27"/>
                <a:gd name="T59" fmla="*/ 28 h 40"/>
                <a:gd name="T60" fmla="*/ 18 w 27"/>
                <a:gd name="T61" fmla="*/ 28 h 40"/>
                <a:gd name="T62" fmla="*/ 16 w 27"/>
                <a:gd name="T63" fmla="*/ 28 h 40"/>
                <a:gd name="T64" fmla="*/ 15 w 27"/>
                <a:gd name="T65" fmla="*/ 27 h 40"/>
                <a:gd name="T66" fmla="*/ 14 w 27"/>
                <a:gd name="T67" fmla="*/ 28 h 40"/>
                <a:gd name="T68" fmla="*/ 16 w 27"/>
                <a:gd name="T69" fmla="*/ 35 h 40"/>
                <a:gd name="T70" fmla="*/ 14 w 27"/>
                <a:gd name="T71" fmla="*/ 36 h 40"/>
                <a:gd name="T72" fmla="*/ 16 w 27"/>
                <a:gd name="T73" fmla="*/ 36 h 40"/>
                <a:gd name="T74" fmla="*/ 18 w 27"/>
                <a:gd name="T75" fmla="*/ 36 h 40"/>
                <a:gd name="T76" fmla="*/ 19 w 27"/>
                <a:gd name="T77" fmla="*/ 37 h 40"/>
                <a:gd name="T78" fmla="*/ 16 w 27"/>
                <a:gd name="T79" fmla="*/ 39 h 40"/>
                <a:gd name="T80" fmla="*/ 19 w 27"/>
                <a:gd name="T81" fmla="*/ 40 h 40"/>
                <a:gd name="T82" fmla="*/ 21 w 27"/>
                <a:gd name="T83" fmla="*/ 40 h 40"/>
                <a:gd name="T84" fmla="*/ 24 w 27"/>
                <a:gd name="T85" fmla="*/ 34 h 40"/>
                <a:gd name="T86" fmla="*/ 25 w 27"/>
                <a:gd name="T87" fmla="*/ 35 h 40"/>
                <a:gd name="T88" fmla="*/ 24 w 27"/>
                <a:gd name="T89" fmla="*/ 31 h 40"/>
                <a:gd name="T90" fmla="*/ 25 w 27"/>
                <a:gd name="T91" fmla="*/ 31 h 40"/>
                <a:gd name="T92" fmla="*/ 23 w 27"/>
                <a:gd name="T93" fmla="*/ 25 h 40"/>
                <a:gd name="T94" fmla="*/ 25 w 27"/>
                <a:gd name="T95" fmla="*/ 18 h 40"/>
                <a:gd name="T96" fmla="*/ 24 w 27"/>
                <a:gd name="T97" fmla="*/ 10 h 40"/>
                <a:gd name="T98" fmla="*/ 24 w 27"/>
                <a:gd name="T99" fmla="*/ 9 h 40"/>
                <a:gd name="T100" fmla="*/ 24 w 27"/>
                <a:gd name="T101" fmla="*/ 8 h 40"/>
                <a:gd name="T102" fmla="*/ 23 w 27"/>
                <a:gd name="T103" fmla="*/ 4 h 40"/>
                <a:gd name="T104" fmla="*/ 23 w 27"/>
                <a:gd name="T105" fmla="*/ 1 h 40"/>
                <a:gd name="T106" fmla="*/ 22 w 27"/>
                <a:gd name="T107" fmla="*/ 0 h 40"/>
                <a:gd name="T108" fmla="*/ 22 w 27"/>
                <a:gd name="T109" fmla="*/ 1 h 40"/>
                <a:gd name="T110" fmla="*/ 21 w 27"/>
                <a:gd name="T111" fmla="*/ 1 h 40"/>
                <a:gd name="T112" fmla="*/ 20 w 27"/>
                <a:gd name="T113" fmla="*/ 1 h 40"/>
                <a:gd name="T114" fmla="*/ 18 w 27"/>
                <a:gd name="T11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40">
                  <a:moveTo>
                    <a:pt x="18" y="0"/>
                  </a:moveTo>
                  <a:cubicBezTo>
                    <a:pt x="17" y="0"/>
                    <a:pt x="16" y="0"/>
                    <a:pt x="15" y="0"/>
                  </a:cubicBezTo>
                  <a:cubicBezTo>
                    <a:pt x="12" y="2"/>
                    <a:pt x="10" y="4"/>
                    <a:pt x="12" y="4"/>
                  </a:cubicBezTo>
                  <a:cubicBezTo>
                    <a:pt x="13" y="4"/>
                    <a:pt x="14" y="4"/>
                    <a:pt x="15" y="4"/>
                  </a:cubicBezTo>
                  <a:cubicBezTo>
                    <a:pt x="14" y="5"/>
                    <a:pt x="12" y="5"/>
                    <a:pt x="11" y="6"/>
                  </a:cubicBezTo>
                  <a:cubicBezTo>
                    <a:pt x="12" y="7"/>
                    <a:pt x="13" y="7"/>
                    <a:pt x="14" y="7"/>
                  </a:cubicBezTo>
                  <a:cubicBezTo>
                    <a:pt x="15" y="7"/>
                    <a:pt x="15" y="7"/>
                    <a:pt x="16" y="7"/>
                  </a:cubicBezTo>
                  <a:cubicBezTo>
                    <a:pt x="15" y="8"/>
                    <a:pt x="14" y="8"/>
                    <a:pt x="13" y="9"/>
                  </a:cubicBezTo>
                  <a:cubicBezTo>
                    <a:pt x="14" y="10"/>
                    <a:pt x="16" y="11"/>
                    <a:pt x="16" y="12"/>
                  </a:cubicBezTo>
                  <a:cubicBezTo>
                    <a:pt x="16" y="15"/>
                    <a:pt x="15" y="17"/>
                    <a:pt x="14" y="20"/>
                  </a:cubicBezTo>
                  <a:cubicBezTo>
                    <a:pt x="14" y="18"/>
                    <a:pt x="12" y="17"/>
                    <a:pt x="10" y="15"/>
                  </a:cubicBezTo>
                  <a:cubicBezTo>
                    <a:pt x="9" y="15"/>
                    <a:pt x="9" y="17"/>
                    <a:pt x="9" y="18"/>
                  </a:cubicBezTo>
                  <a:cubicBezTo>
                    <a:pt x="8" y="18"/>
                    <a:pt x="8" y="18"/>
                    <a:pt x="8" y="18"/>
                  </a:cubicBezTo>
                  <a:cubicBezTo>
                    <a:pt x="8" y="18"/>
                    <a:pt x="8" y="18"/>
                    <a:pt x="7" y="19"/>
                  </a:cubicBezTo>
                  <a:cubicBezTo>
                    <a:pt x="7" y="18"/>
                    <a:pt x="6" y="17"/>
                    <a:pt x="5" y="17"/>
                  </a:cubicBezTo>
                  <a:cubicBezTo>
                    <a:pt x="4" y="17"/>
                    <a:pt x="4" y="17"/>
                    <a:pt x="4" y="19"/>
                  </a:cubicBezTo>
                  <a:cubicBezTo>
                    <a:pt x="4" y="18"/>
                    <a:pt x="3" y="17"/>
                    <a:pt x="2" y="17"/>
                  </a:cubicBezTo>
                  <a:cubicBezTo>
                    <a:pt x="2" y="17"/>
                    <a:pt x="2" y="17"/>
                    <a:pt x="2" y="17"/>
                  </a:cubicBezTo>
                  <a:cubicBezTo>
                    <a:pt x="0" y="18"/>
                    <a:pt x="2" y="21"/>
                    <a:pt x="3" y="23"/>
                  </a:cubicBezTo>
                  <a:cubicBezTo>
                    <a:pt x="4" y="26"/>
                    <a:pt x="5" y="30"/>
                    <a:pt x="8" y="33"/>
                  </a:cubicBezTo>
                  <a:cubicBezTo>
                    <a:pt x="8" y="34"/>
                    <a:pt x="9" y="34"/>
                    <a:pt x="9" y="34"/>
                  </a:cubicBezTo>
                  <a:cubicBezTo>
                    <a:pt x="10" y="34"/>
                    <a:pt x="10" y="34"/>
                    <a:pt x="11" y="33"/>
                  </a:cubicBezTo>
                  <a:cubicBezTo>
                    <a:pt x="13" y="33"/>
                    <a:pt x="12" y="32"/>
                    <a:pt x="12" y="31"/>
                  </a:cubicBezTo>
                  <a:cubicBezTo>
                    <a:pt x="13" y="29"/>
                    <a:pt x="13" y="29"/>
                    <a:pt x="13" y="29"/>
                  </a:cubicBezTo>
                  <a:cubicBezTo>
                    <a:pt x="13" y="26"/>
                    <a:pt x="11" y="25"/>
                    <a:pt x="12" y="23"/>
                  </a:cubicBezTo>
                  <a:cubicBezTo>
                    <a:pt x="13" y="24"/>
                    <a:pt x="14" y="24"/>
                    <a:pt x="14" y="24"/>
                  </a:cubicBezTo>
                  <a:cubicBezTo>
                    <a:pt x="14" y="23"/>
                    <a:pt x="18" y="23"/>
                    <a:pt x="17" y="21"/>
                  </a:cubicBezTo>
                  <a:cubicBezTo>
                    <a:pt x="18" y="20"/>
                    <a:pt x="19" y="20"/>
                    <a:pt x="20" y="19"/>
                  </a:cubicBezTo>
                  <a:cubicBezTo>
                    <a:pt x="19" y="22"/>
                    <a:pt x="17" y="23"/>
                    <a:pt x="15" y="25"/>
                  </a:cubicBezTo>
                  <a:cubicBezTo>
                    <a:pt x="16" y="26"/>
                    <a:pt x="17" y="26"/>
                    <a:pt x="18" y="28"/>
                  </a:cubicBezTo>
                  <a:cubicBezTo>
                    <a:pt x="18" y="28"/>
                    <a:pt x="18" y="28"/>
                    <a:pt x="18" y="28"/>
                  </a:cubicBezTo>
                  <a:cubicBezTo>
                    <a:pt x="17" y="28"/>
                    <a:pt x="17" y="28"/>
                    <a:pt x="16" y="28"/>
                  </a:cubicBezTo>
                  <a:cubicBezTo>
                    <a:pt x="16" y="27"/>
                    <a:pt x="16" y="27"/>
                    <a:pt x="15" y="27"/>
                  </a:cubicBezTo>
                  <a:cubicBezTo>
                    <a:pt x="15" y="27"/>
                    <a:pt x="14" y="28"/>
                    <a:pt x="14" y="28"/>
                  </a:cubicBezTo>
                  <a:cubicBezTo>
                    <a:pt x="13" y="31"/>
                    <a:pt x="19" y="31"/>
                    <a:pt x="16" y="35"/>
                  </a:cubicBezTo>
                  <a:cubicBezTo>
                    <a:pt x="16" y="35"/>
                    <a:pt x="12" y="36"/>
                    <a:pt x="14" y="36"/>
                  </a:cubicBezTo>
                  <a:cubicBezTo>
                    <a:pt x="15" y="36"/>
                    <a:pt x="15" y="36"/>
                    <a:pt x="16" y="36"/>
                  </a:cubicBezTo>
                  <a:cubicBezTo>
                    <a:pt x="16" y="36"/>
                    <a:pt x="17" y="36"/>
                    <a:pt x="18" y="36"/>
                  </a:cubicBezTo>
                  <a:cubicBezTo>
                    <a:pt x="18" y="36"/>
                    <a:pt x="19" y="36"/>
                    <a:pt x="19" y="37"/>
                  </a:cubicBezTo>
                  <a:cubicBezTo>
                    <a:pt x="19" y="37"/>
                    <a:pt x="13" y="38"/>
                    <a:pt x="16" y="39"/>
                  </a:cubicBezTo>
                  <a:cubicBezTo>
                    <a:pt x="17" y="40"/>
                    <a:pt x="18" y="40"/>
                    <a:pt x="19" y="40"/>
                  </a:cubicBezTo>
                  <a:cubicBezTo>
                    <a:pt x="19" y="40"/>
                    <a:pt x="20" y="40"/>
                    <a:pt x="21" y="40"/>
                  </a:cubicBezTo>
                  <a:cubicBezTo>
                    <a:pt x="23" y="39"/>
                    <a:pt x="24" y="37"/>
                    <a:pt x="24" y="34"/>
                  </a:cubicBezTo>
                  <a:cubicBezTo>
                    <a:pt x="25" y="35"/>
                    <a:pt x="25" y="35"/>
                    <a:pt x="25" y="35"/>
                  </a:cubicBezTo>
                  <a:cubicBezTo>
                    <a:pt x="25" y="34"/>
                    <a:pt x="25" y="32"/>
                    <a:pt x="24" y="31"/>
                  </a:cubicBezTo>
                  <a:cubicBezTo>
                    <a:pt x="24" y="31"/>
                    <a:pt x="25" y="31"/>
                    <a:pt x="25" y="31"/>
                  </a:cubicBezTo>
                  <a:cubicBezTo>
                    <a:pt x="27" y="31"/>
                    <a:pt x="23" y="25"/>
                    <a:pt x="23" y="25"/>
                  </a:cubicBezTo>
                  <a:cubicBezTo>
                    <a:pt x="23" y="23"/>
                    <a:pt x="25" y="20"/>
                    <a:pt x="25" y="18"/>
                  </a:cubicBezTo>
                  <a:cubicBezTo>
                    <a:pt x="25" y="15"/>
                    <a:pt x="24" y="13"/>
                    <a:pt x="24" y="10"/>
                  </a:cubicBezTo>
                  <a:cubicBezTo>
                    <a:pt x="24" y="10"/>
                    <a:pt x="24" y="9"/>
                    <a:pt x="24" y="9"/>
                  </a:cubicBezTo>
                  <a:cubicBezTo>
                    <a:pt x="24" y="9"/>
                    <a:pt x="24" y="8"/>
                    <a:pt x="24" y="8"/>
                  </a:cubicBezTo>
                  <a:cubicBezTo>
                    <a:pt x="24" y="6"/>
                    <a:pt x="23" y="5"/>
                    <a:pt x="23" y="4"/>
                  </a:cubicBezTo>
                  <a:cubicBezTo>
                    <a:pt x="23" y="3"/>
                    <a:pt x="23" y="2"/>
                    <a:pt x="23" y="1"/>
                  </a:cubicBezTo>
                  <a:cubicBezTo>
                    <a:pt x="23" y="1"/>
                    <a:pt x="22" y="0"/>
                    <a:pt x="22" y="0"/>
                  </a:cubicBezTo>
                  <a:cubicBezTo>
                    <a:pt x="22" y="0"/>
                    <a:pt x="22" y="0"/>
                    <a:pt x="22" y="1"/>
                  </a:cubicBezTo>
                  <a:cubicBezTo>
                    <a:pt x="22" y="1"/>
                    <a:pt x="21" y="1"/>
                    <a:pt x="21" y="1"/>
                  </a:cubicBezTo>
                  <a:cubicBezTo>
                    <a:pt x="21" y="1"/>
                    <a:pt x="21" y="1"/>
                    <a:pt x="20" y="1"/>
                  </a:cubicBezTo>
                  <a:cubicBezTo>
                    <a:pt x="19"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3" name="Freeform 153">
              <a:extLst>
                <a:ext uri="{FF2B5EF4-FFF2-40B4-BE49-F238E27FC236}">
                  <a16:creationId xmlns:a16="http://schemas.microsoft.com/office/drawing/2014/main" id="{CE5E43E5-1614-4178-8369-CE593DEF7198}"/>
                </a:ext>
              </a:extLst>
            </p:cNvPr>
            <p:cNvSpPr>
              <a:spLocks/>
            </p:cNvSpPr>
            <p:nvPr/>
          </p:nvSpPr>
          <p:spPr bwMode="auto">
            <a:xfrm>
              <a:off x="8064966" y="5742304"/>
              <a:ext cx="40956" cy="31070"/>
            </a:xfrm>
            <a:custGeom>
              <a:avLst/>
              <a:gdLst>
                <a:gd name="T0" fmla="*/ 7 w 12"/>
                <a:gd name="T1" fmla="*/ 0 h 9"/>
                <a:gd name="T2" fmla="*/ 0 w 12"/>
                <a:gd name="T3" fmla="*/ 3 h 9"/>
                <a:gd name="T4" fmla="*/ 11 w 12"/>
                <a:gd name="T5" fmla="*/ 9 h 9"/>
                <a:gd name="T6" fmla="*/ 8 w 12"/>
                <a:gd name="T7" fmla="*/ 0 h 9"/>
                <a:gd name="T8" fmla="*/ 7 w 12"/>
                <a:gd name="T9" fmla="*/ 0 h 9"/>
              </a:gdLst>
              <a:ahLst/>
              <a:cxnLst>
                <a:cxn ang="0">
                  <a:pos x="T0" y="T1"/>
                </a:cxn>
                <a:cxn ang="0">
                  <a:pos x="T2" y="T3"/>
                </a:cxn>
                <a:cxn ang="0">
                  <a:pos x="T4" y="T5"/>
                </a:cxn>
                <a:cxn ang="0">
                  <a:pos x="T6" y="T7"/>
                </a:cxn>
                <a:cxn ang="0">
                  <a:pos x="T8" y="T9"/>
                </a:cxn>
              </a:cxnLst>
              <a:rect l="0" t="0" r="r" b="b"/>
              <a:pathLst>
                <a:path w="12" h="9">
                  <a:moveTo>
                    <a:pt x="7" y="0"/>
                  </a:moveTo>
                  <a:cubicBezTo>
                    <a:pt x="5" y="0"/>
                    <a:pt x="0" y="1"/>
                    <a:pt x="0" y="3"/>
                  </a:cubicBezTo>
                  <a:cubicBezTo>
                    <a:pt x="3" y="5"/>
                    <a:pt x="7" y="7"/>
                    <a:pt x="11" y="9"/>
                  </a:cubicBezTo>
                  <a:cubicBezTo>
                    <a:pt x="12" y="6"/>
                    <a:pt x="12"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4" name="Freeform 154">
              <a:extLst>
                <a:ext uri="{FF2B5EF4-FFF2-40B4-BE49-F238E27FC236}">
                  <a16:creationId xmlns:a16="http://schemas.microsoft.com/office/drawing/2014/main" id="{365F340E-A92A-48DE-8C20-78182D04AE7F}"/>
                </a:ext>
              </a:extLst>
            </p:cNvPr>
            <p:cNvSpPr>
              <a:spLocks/>
            </p:cNvSpPr>
            <p:nvPr/>
          </p:nvSpPr>
          <p:spPr bwMode="auto">
            <a:xfrm>
              <a:off x="8052256" y="5759251"/>
              <a:ext cx="9886" cy="14123"/>
            </a:xfrm>
            <a:custGeom>
              <a:avLst/>
              <a:gdLst>
                <a:gd name="T0" fmla="*/ 0 w 3"/>
                <a:gd name="T1" fmla="*/ 0 h 4"/>
                <a:gd name="T2" fmla="*/ 1 w 3"/>
                <a:gd name="T3" fmla="*/ 4 h 4"/>
                <a:gd name="T4" fmla="*/ 0 w 3"/>
                <a:gd name="T5" fmla="*/ 0 h 4"/>
              </a:gdLst>
              <a:ahLst/>
              <a:cxnLst>
                <a:cxn ang="0">
                  <a:pos x="T0" y="T1"/>
                </a:cxn>
                <a:cxn ang="0">
                  <a:pos x="T2" y="T3"/>
                </a:cxn>
                <a:cxn ang="0">
                  <a:pos x="T4" y="T5"/>
                </a:cxn>
              </a:cxnLst>
              <a:rect l="0" t="0" r="r" b="b"/>
              <a:pathLst>
                <a:path w="3" h="4">
                  <a:moveTo>
                    <a:pt x="0" y="0"/>
                  </a:moveTo>
                  <a:cubicBezTo>
                    <a:pt x="0" y="1"/>
                    <a:pt x="1" y="3"/>
                    <a:pt x="1"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5" name="Freeform 155">
              <a:extLst>
                <a:ext uri="{FF2B5EF4-FFF2-40B4-BE49-F238E27FC236}">
                  <a16:creationId xmlns:a16="http://schemas.microsoft.com/office/drawing/2014/main" id="{A5A1D335-547C-4CB7-A41D-D92B255C3D1E}"/>
                </a:ext>
              </a:extLst>
            </p:cNvPr>
            <p:cNvSpPr>
              <a:spLocks/>
            </p:cNvSpPr>
            <p:nvPr/>
          </p:nvSpPr>
          <p:spPr bwMode="auto">
            <a:xfrm>
              <a:off x="8619988" y="6781737"/>
              <a:ext cx="12710" cy="5649"/>
            </a:xfrm>
            <a:custGeom>
              <a:avLst/>
              <a:gdLst>
                <a:gd name="T0" fmla="*/ 3 w 4"/>
                <a:gd name="T1" fmla="*/ 0 h 2"/>
                <a:gd name="T2" fmla="*/ 0 w 4"/>
                <a:gd name="T3" fmla="*/ 2 h 2"/>
                <a:gd name="T4" fmla="*/ 1 w 4"/>
                <a:gd name="T5" fmla="*/ 2 h 2"/>
                <a:gd name="T6" fmla="*/ 4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0" y="1"/>
                    <a:pt x="0" y="2"/>
                  </a:cubicBezTo>
                  <a:cubicBezTo>
                    <a:pt x="0" y="2"/>
                    <a:pt x="0" y="2"/>
                    <a:pt x="1" y="2"/>
                  </a:cubicBezTo>
                  <a:cubicBezTo>
                    <a:pt x="2" y="2"/>
                    <a:pt x="3" y="1"/>
                    <a:pt x="4"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6" name="Freeform 156">
              <a:extLst>
                <a:ext uri="{FF2B5EF4-FFF2-40B4-BE49-F238E27FC236}">
                  <a16:creationId xmlns:a16="http://schemas.microsoft.com/office/drawing/2014/main" id="{8F9FEB30-BC6B-4052-A467-3EA48CC95BD0}"/>
                </a:ext>
              </a:extLst>
            </p:cNvPr>
            <p:cNvSpPr>
              <a:spLocks noEditPoints="1"/>
            </p:cNvSpPr>
            <p:nvPr/>
          </p:nvSpPr>
          <p:spPr bwMode="auto">
            <a:xfrm>
              <a:off x="8388376" y="6750667"/>
              <a:ext cx="160999" cy="83324"/>
            </a:xfrm>
            <a:custGeom>
              <a:avLst/>
              <a:gdLst>
                <a:gd name="T0" fmla="*/ 23 w 48"/>
                <a:gd name="T1" fmla="*/ 4 h 25"/>
                <a:gd name="T2" fmla="*/ 35 w 48"/>
                <a:gd name="T3" fmla="*/ 0 h 25"/>
                <a:gd name="T4" fmla="*/ 24 w 48"/>
                <a:gd name="T5" fmla="*/ 1 h 25"/>
                <a:gd name="T6" fmla="*/ 22 w 48"/>
                <a:gd name="T7" fmla="*/ 1 h 25"/>
                <a:gd name="T8" fmla="*/ 17 w 48"/>
                <a:gd name="T9" fmla="*/ 2 h 25"/>
                <a:gd name="T10" fmla="*/ 15 w 48"/>
                <a:gd name="T11" fmla="*/ 3 h 25"/>
                <a:gd name="T12" fmla="*/ 14 w 48"/>
                <a:gd name="T13" fmla="*/ 3 h 25"/>
                <a:gd name="T14" fmla="*/ 13 w 48"/>
                <a:gd name="T15" fmla="*/ 3 h 25"/>
                <a:gd name="T16" fmla="*/ 12 w 48"/>
                <a:gd name="T17" fmla="*/ 3 h 25"/>
                <a:gd name="T18" fmla="*/ 11 w 48"/>
                <a:gd name="T19" fmla="*/ 7 h 25"/>
                <a:gd name="T20" fmla="*/ 9 w 48"/>
                <a:gd name="T21" fmla="*/ 3 h 25"/>
                <a:gd name="T22" fmla="*/ 0 w 48"/>
                <a:gd name="T23" fmla="*/ 7 h 25"/>
                <a:gd name="T24" fmla="*/ 12 w 48"/>
                <a:gd name="T25" fmla="*/ 8 h 25"/>
                <a:gd name="T26" fmla="*/ 6 w 48"/>
                <a:gd name="T27" fmla="*/ 12 h 25"/>
                <a:gd name="T28" fmla="*/ 15 w 48"/>
                <a:gd name="T29" fmla="*/ 15 h 25"/>
                <a:gd name="T30" fmla="*/ 17 w 48"/>
                <a:gd name="T31" fmla="*/ 15 h 25"/>
                <a:gd name="T32" fmla="*/ 18 w 48"/>
                <a:gd name="T33" fmla="*/ 15 h 25"/>
                <a:gd name="T34" fmla="*/ 13 w 48"/>
                <a:gd name="T35" fmla="*/ 10 h 25"/>
                <a:gd name="T36" fmla="*/ 16 w 48"/>
                <a:gd name="T37" fmla="*/ 7 h 25"/>
                <a:gd name="T38" fmla="*/ 22 w 48"/>
                <a:gd name="T39" fmla="*/ 8 h 25"/>
                <a:gd name="T40" fmla="*/ 28 w 48"/>
                <a:gd name="T41" fmla="*/ 8 h 25"/>
                <a:gd name="T42" fmla="*/ 29 w 48"/>
                <a:gd name="T43" fmla="*/ 13 h 25"/>
                <a:gd name="T44" fmla="*/ 27 w 48"/>
                <a:gd name="T45" fmla="*/ 17 h 25"/>
                <a:gd name="T46" fmla="*/ 33 w 48"/>
                <a:gd name="T47" fmla="*/ 16 h 25"/>
                <a:gd name="T48" fmla="*/ 45 w 48"/>
                <a:gd name="T49" fmla="*/ 25 h 25"/>
                <a:gd name="T50" fmla="*/ 45 w 48"/>
                <a:gd name="T51" fmla="*/ 20 h 25"/>
                <a:gd name="T52" fmla="*/ 43 w 48"/>
                <a:gd name="T53" fmla="*/ 17 h 25"/>
                <a:gd name="T54" fmla="*/ 37 w 48"/>
                <a:gd name="T55" fmla="*/ 13 h 25"/>
                <a:gd name="T56" fmla="*/ 33 w 48"/>
                <a:gd name="T57" fmla="*/ 14 h 25"/>
                <a:gd name="T58" fmla="*/ 39 w 48"/>
                <a:gd name="T59" fmla="*/ 12 h 25"/>
                <a:gd name="T60" fmla="*/ 35 w 48"/>
                <a:gd name="T61" fmla="*/ 8 h 25"/>
                <a:gd name="T62" fmla="*/ 24 w 48"/>
                <a:gd name="T63" fmla="*/ 4 h 25"/>
                <a:gd name="T64" fmla="*/ 33 w 48"/>
                <a:gd name="T65" fmla="*/ 5 h 25"/>
                <a:gd name="T66" fmla="*/ 37 w 48"/>
                <a:gd name="T67" fmla="*/ 4 h 25"/>
                <a:gd name="T68" fmla="*/ 39 w 48"/>
                <a:gd name="T69"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25">
                  <a:moveTo>
                    <a:pt x="23" y="4"/>
                  </a:moveTo>
                  <a:cubicBezTo>
                    <a:pt x="23" y="4"/>
                    <a:pt x="23" y="4"/>
                    <a:pt x="23" y="4"/>
                  </a:cubicBezTo>
                  <a:cubicBezTo>
                    <a:pt x="23" y="4"/>
                    <a:pt x="23" y="4"/>
                    <a:pt x="23" y="4"/>
                  </a:cubicBezTo>
                  <a:moveTo>
                    <a:pt x="35" y="0"/>
                  </a:moveTo>
                  <a:cubicBezTo>
                    <a:pt x="34" y="0"/>
                    <a:pt x="33" y="0"/>
                    <a:pt x="33" y="0"/>
                  </a:cubicBezTo>
                  <a:cubicBezTo>
                    <a:pt x="30" y="0"/>
                    <a:pt x="27" y="1"/>
                    <a:pt x="24" y="1"/>
                  </a:cubicBezTo>
                  <a:cubicBezTo>
                    <a:pt x="24" y="1"/>
                    <a:pt x="23" y="1"/>
                    <a:pt x="23" y="1"/>
                  </a:cubicBezTo>
                  <a:cubicBezTo>
                    <a:pt x="23" y="1"/>
                    <a:pt x="22" y="1"/>
                    <a:pt x="22" y="1"/>
                  </a:cubicBezTo>
                  <a:cubicBezTo>
                    <a:pt x="22" y="1"/>
                    <a:pt x="21" y="1"/>
                    <a:pt x="21" y="1"/>
                  </a:cubicBezTo>
                  <a:cubicBezTo>
                    <a:pt x="19" y="1"/>
                    <a:pt x="18" y="1"/>
                    <a:pt x="17" y="2"/>
                  </a:cubicBezTo>
                  <a:cubicBezTo>
                    <a:pt x="16" y="2"/>
                    <a:pt x="16" y="3"/>
                    <a:pt x="15" y="3"/>
                  </a:cubicBezTo>
                  <a:cubicBezTo>
                    <a:pt x="15" y="3"/>
                    <a:pt x="15" y="3"/>
                    <a:pt x="15" y="3"/>
                  </a:cubicBezTo>
                  <a:cubicBezTo>
                    <a:pt x="15" y="3"/>
                    <a:pt x="15" y="3"/>
                    <a:pt x="14" y="3"/>
                  </a:cubicBezTo>
                  <a:cubicBezTo>
                    <a:pt x="14" y="3"/>
                    <a:pt x="14" y="3"/>
                    <a:pt x="14" y="3"/>
                  </a:cubicBezTo>
                  <a:cubicBezTo>
                    <a:pt x="14" y="3"/>
                    <a:pt x="14" y="3"/>
                    <a:pt x="14" y="3"/>
                  </a:cubicBezTo>
                  <a:cubicBezTo>
                    <a:pt x="14" y="3"/>
                    <a:pt x="14" y="3"/>
                    <a:pt x="13" y="3"/>
                  </a:cubicBezTo>
                  <a:cubicBezTo>
                    <a:pt x="13" y="3"/>
                    <a:pt x="13" y="3"/>
                    <a:pt x="13" y="3"/>
                  </a:cubicBezTo>
                  <a:cubicBezTo>
                    <a:pt x="13" y="3"/>
                    <a:pt x="13" y="3"/>
                    <a:pt x="12" y="3"/>
                  </a:cubicBezTo>
                  <a:cubicBezTo>
                    <a:pt x="12" y="3"/>
                    <a:pt x="12" y="3"/>
                    <a:pt x="12" y="3"/>
                  </a:cubicBezTo>
                  <a:cubicBezTo>
                    <a:pt x="11" y="4"/>
                    <a:pt x="11" y="6"/>
                    <a:pt x="11" y="7"/>
                  </a:cubicBezTo>
                  <a:cubicBezTo>
                    <a:pt x="11" y="5"/>
                    <a:pt x="11" y="4"/>
                    <a:pt x="10" y="3"/>
                  </a:cubicBezTo>
                  <a:cubicBezTo>
                    <a:pt x="10" y="3"/>
                    <a:pt x="9" y="3"/>
                    <a:pt x="9" y="3"/>
                  </a:cubicBezTo>
                  <a:cubicBezTo>
                    <a:pt x="9" y="3"/>
                    <a:pt x="6" y="4"/>
                    <a:pt x="6" y="4"/>
                  </a:cubicBezTo>
                  <a:cubicBezTo>
                    <a:pt x="3" y="4"/>
                    <a:pt x="2" y="6"/>
                    <a:pt x="0" y="7"/>
                  </a:cubicBezTo>
                  <a:cubicBezTo>
                    <a:pt x="3" y="7"/>
                    <a:pt x="6" y="8"/>
                    <a:pt x="9" y="8"/>
                  </a:cubicBezTo>
                  <a:cubicBezTo>
                    <a:pt x="10" y="8"/>
                    <a:pt x="11" y="8"/>
                    <a:pt x="12" y="8"/>
                  </a:cubicBezTo>
                  <a:cubicBezTo>
                    <a:pt x="11" y="9"/>
                    <a:pt x="8" y="9"/>
                    <a:pt x="9" y="11"/>
                  </a:cubicBezTo>
                  <a:cubicBezTo>
                    <a:pt x="8" y="11"/>
                    <a:pt x="7" y="11"/>
                    <a:pt x="6" y="12"/>
                  </a:cubicBezTo>
                  <a:cubicBezTo>
                    <a:pt x="8" y="13"/>
                    <a:pt x="14" y="15"/>
                    <a:pt x="14" y="18"/>
                  </a:cubicBezTo>
                  <a:cubicBezTo>
                    <a:pt x="14" y="17"/>
                    <a:pt x="15" y="15"/>
                    <a:pt x="15" y="15"/>
                  </a:cubicBezTo>
                  <a:cubicBezTo>
                    <a:pt x="15" y="15"/>
                    <a:pt x="15" y="15"/>
                    <a:pt x="16" y="15"/>
                  </a:cubicBezTo>
                  <a:cubicBezTo>
                    <a:pt x="16" y="15"/>
                    <a:pt x="16" y="15"/>
                    <a:pt x="17" y="15"/>
                  </a:cubicBezTo>
                  <a:cubicBezTo>
                    <a:pt x="17" y="15"/>
                    <a:pt x="17" y="15"/>
                    <a:pt x="17" y="15"/>
                  </a:cubicBezTo>
                  <a:cubicBezTo>
                    <a:pt x="18" y="15"/>
                    <a:pt x="18" y="15"/>
                    <a:pt x="18" y="15"/>
                  </a:cubicBezTo>
                  <a:cubicBezTo>
                    <a:pt x="19" y="13"/>
                    <a:pt x="16" y="14"/>
                    <a:pt x="17" y="13"/>
                  </a:cubicBezTo>
                  <a:cubicBezTo>
                    <a:pt x="16" y="12"/>
                    <a:pt x="13" y="11"/>
                    <a:pt x="13" y="10"/>
                  </a:cubicBezTo>
                  <a:cubicBezTo>
                    <a:pt x="15" y="10"/>
                    <a:pt x="16" y="10"/>
                    <a:pt x="18" y="9"/>
                  </a:cubicBezTo>
                  <a:cubicBezTo>
                    <a:pt x="18" y="8"/>
                    <a:pt x="17" y="7"/>
                    <a:pt x="16" y="7"/>
                  </a:cubicBezTo>
                  <a:cubicBezTo>
                    <a:pt x="17" y="7"/>
                    <a:pt x="17" y="7"/>
                    <a:pt x="18" y="7"/>
                  </a:cubicBezTo>
                  <a:cubicBezTo>
                    <a:pt x="19" y="7"/>
                    <a:pt x="21" y="7"/>
                    <a:pt x="22" y="8"/>
                  </a:cubicBezTo>
                  <a:cubicBezTo>
                    <a:pt x="24" y="8"/>
                    <a:pt x="25" y="9"/>
                    <a:pt x="26" y="9"/>
                  </a:cubicBezTo>
                  <a:cubicBezTo>
                    <a:pt x="27" y="9"/>
                    <a:pt x="28" y="9"/>
                    <a:pt x="28" y="8"/>
                  </a:cubicBezTo>
                  <a:cubicBezTo>
                    <a:pt x="28" y="10"/>
                    <a:pt x="26" y="13"/>
                    <a:pt x="25" y="14"/>
                  </a:cubicBezTo>
                  <a:cubicBezTo>
                    <a:pt x="26" y="14"/>
                    <a:pt x="28" y="13"/>
                    <a:pt x="29" y="13"/>
                  </a:cubicBezTo>
                  <a:cubicBezTo>
                    <a:pt x="29" y="13"/>
                    <a:pt x="25" y="15"/>
                    <a:pt x="25" y="15"/>
                  </a:cubicBezTo>
                  <a:cubicBezTo>
                    <a:pt x="25" y="17"/>
                    <a:pt x="26" y="17"/>
                    <a:pt x="27" y="17"/>
                  </a:cubicBezTo>
                  <a:cubicBezTo>
                    <a:pt x="28" y="17"/>
                    <a:pt x="29" y="17"/>
                    <a:pt x="30" y="17"/>
                  </a:cubicBezTo>
                  <a:cubicBezTo>
                    <a:pt x="32" y="17"/>
                    <a:pt x="33" y="16"/>
                    <a:pt x="33" y="16"/>
                  </a:cubicBezTo>
                  <a:cubicBezTo>
                    <a:pt x="34" y="16"/>
                    <a:pt x="35" y="16"/>
                    <a:pt x="36" y="17"/>
                  </a:cubicBezTo>
                  <a:cubicBezTo>
                    <a:pt x="39" y="19"/>
                    <a:pt x="42" y="23"/>
                    <a:pt x="45" y="25"/>
                  </a:cubicBezTo>
                  <a:cubicBezTo>
                    <a:pt x="47" y="25"/>
                    <a:pt x="48" y="24"/>
                    <a:pt x="47" y="22"/>
                  </a:cubicBezTo>
                  <a:cubicBezTo>
                    <a:pt x="47" y="21"/>
                    <a:pt x="46" y="21"/>
                    <a:pt x="45" y="20"/>
                  </a:cubicBezTo>
                  <a:cubicBezTo>
                    <a:pt x="45" y="18"/>
                    <a:pt x="46" y="17"/>
                    <a:pt x="45" y="17"/>
                  </a:cubicBezTo>
                  <a:cubicBezTo>
                    <a:pt x="44" y="17"/>
                    <a:pt x="44" y="17"/>
                    <a:pt x="43" y="17"/>
                  </a:cubicBezTo>
                  <a:cubicBezTo>
                    <a:pt x="45" y="14"/>
                    <a:pt x="40" y="15"/>
                    <a:pt x="39" y="14"/>
                  </a:cubicBezTo>
                  <a:cubicBezTo>
                    <a:pt x="39" y="14"/>
                    <a:pt x="38" y="13"/>
                    <a:pt x="37" y="13"/>
                  </a:cubicBezTo>
                  <a:cubicBezTo>
                    <a:pt x="37" y="13"/>
                    <a:pt x="37" y="13"/>
                    <a:pt x="37" y="13"/>
                  </a:cubicBezTo>
                  <a:cubicBezTo>
                    <a:pt x="36" y="13"/>
                    <a:pt x="34" y="13"/>
                    <a:pt x="33" y="14"/>
                  </a:cubicBezTo>
                  <a:cubicBezTo>
                    <a:pt x="33" y="12"/>
                    <a:pt x="32" y="13"/>
                    <a:pt x="32" y="11"/>
                  </a:cubicBezTo>
                  <a:cubicBezTo>
                    <a:pt x="33" y="11"/>
                    <a:pt x="36" y="12"/>
                    <a:pt x="39" y="12"/>
                  </a:cubicBezTo>
                  <a:cubicBezTo>
                    <a:pt x="40" y="12"/>
                    <a:pt x="41" y="12"/>
                    <a:pt x="42" y="11"/>
                  </a:cubicBezTo>
                  <a:cubicBezTo>
                    <a:pt x="43" y="10"/>
                    <a:pt x="37" y="8"/>
                    <a:pt x="35" y="8"/>
                  </a:cubicBezTo>
                  <a:cubicBezTo>
                    <a:pt x="33" y="8"/>
                    <a:pt x="30" y="8"/>
                    <a:pt x="28" y="7"/>
                  </a:cubicBezTo>
                  <a:cubicBezTo>
                    <a:pt x="26" y="6"/>
                    <a:pt x="25" y="5"/>
                    <a:pt x="24" y="4"/>
                  </a:cubicBezTo>
                  <a:cubicBezTo>
                    <a:pt x="26" y="5"/>
                    <a:pt x="31" y="7"/>
                    <a:pt x="33" y="7"/>
                  </a:cubicBezTo>
                  <a:cubicBezTo>
                    <a:pt x="34" y="7"/>
                    <a:pt x="35" y="6"/>
                    <a:pt x="33" y="5"/>
                  </a:cubicBezTo>
                  <a:cubicBezTo>
                    <a:pt x="34" y="5"/>
                    <a:pt x="35" y="5"/>
                    <a:pt x="36" y="5"/>
                  </a:cubicBezTo>
                  <a:cubicBezTo>
                    <a:pt x="37" y="5"/>
                    <a:pt x="37" y="5"/>
                    <a:pt x="37" y="4"/>
                  </a:cubicBezTo>
                  <a:cubicBezTo>
                    <a:pt x="38" y="4"/>
                    <a:pt x="38" y="4"/>
                    <a:pt x="39" y="4"/>
                  </a:cubicBezTo>
                  <a:cubicBezTo>
                    <a:pt x="39" y="4"/>
                    <a:pt x="40" y="4"/>
                    <a:pt x="39" y="2"/>
                  </a:cubicBezTo>
                  <a:cubicBezTo>
                    <a:pt x="39" y="0"/>
                    <a:pt x="36"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7" name="Freeform 157">
              <a:extLst>
                <a:ext uri="{FF2B5EF4-FFF2-40B4-BE49-F238E27FC236}">
                  <a16:creationId xmlns:a16="http://schemas.microsoft.com/office/drawing/2014/main" id="{B1C46567-4476-48EE-89E5-F3153C8F36DC}"/>
                </a:ext>
              </a:extLst>
            </p:cNvPr>
            <p:cNvSpPr>
              <a:spLocks/>
            </p:cNvSpPr>
            <p:nvPr/>
          </p:nvSpPr>
          <p:spPr bwMode="auto">
            <a:xfrm>
              <a:off x="7964695" y="6283205"/>
              <a:ext cx="33894" cy="33895"/>
            </a:xfrm>
            <a:custGeom>
              <a:avLst/>
              <a:gdLst>
                <a:gd name="T0" fmla="*/ 4 w 10"/>
                <a:gd name="T1" fmla="*/ 0 h 10"/>
                <a:gd name="T2" fmla="*/ 3 w 10"/>
                <a:gd name="T3" fmla="*/ 0 h 10"/>
                <a:gd name="T4" fmla="*/ 1 w 10"/>
                <a:gd name="T5" fmla="*/ 3 h 10"/>
                <a:gd name="T6" fmla="*/ 4 w 10"/>
                <a:gd name="T7" fmla="*/ 10 h 10"/>
                <a:gd name="T8" fmla="*/ 5 w 10"/>
                <a:gd name="T9" fmla="*/ 6 h 10"/>
                <a:gd name="T10" fmla="*/ 4 w 10"/>
                <a:gd name="T11" fmla="*/ 3 h 10"/>
                <a:gd name="T12" fmla="*/ 7 w 10"/>
                <a:gd name="T13" fmla="*/ 4 h 10"/>
                <a:gd name="T14" fmla="*/ 7 w 10"/>
                <a:gd name="T15" fmla="*/ 3 h 10"/>
                <a:gd name="T16" fmla="*/ 7 w 10"/>
                <a:gd name="T17" fmla="*/ 3 h 10"/>
                <a:gd name="T18" fmla="*/ 10 w 10"/>
                <a:gd name="T19" fmla="*/ 1 h 10"/>
                <a:gd name="T20" fmla="*/ 4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4" y="0"/>
                  </a:moveTo>
                  <a:cubicBezTo>
                    <a:pt x="4" y="0"/>
                    <a:pt x="3" y="0"/>
                    <a:pt x="3" y="0"/>
                  </a:cubicBezTo>
                  <a:cubicBezTo>
                    <a:pt x="2" y="0"/>
                    <a:pt x="1" y="0"/>
                    <a:pt x="1" y="3"/>
                  </a:cubicBezTo>
                  <a:cubicBezTo>
                    <a:pt x="0" y="7"/>
                    <a:pt x="1" y="7"/>
                    <a:pt x="4" y="10"/>
                  </a:cubicBezTo>
                  <a:cubicBezTo>
                    <a:pt x="5" y="8"/>
                    <a:pt x="6" y="6"/>
                    <a:pt x="5" y="6"/>
                  </a:cubicBezTo>
                  <a:cubicBezTo>
                    <a:pt x="7" y="5"/>
                    <a:pt x="3" y="3"/>
                    <a:pt x="4" y="3"/>
                  </a:cubicBezTo>
                  <a:cubicBezTo>
                    <a:pt x="4" y="3"/>
                    <a:pt x="5" y="3"/>
                    <a:pt x="7" y="4"/>
                  </a:cubicBezTo>
                  <a:cubicBezTo>
                    <a:pt x="7" y="3"/>
                    <a:pt x="7" y="3"/>
                    <a:pt x="7" y="3"/>
                  </a:cubicBezTo>
                  <a:cubicBezTo>
                    <a:pt x="7" y="3"/>
                    <a:pt x="7" y="3"/>
                    <a:pt x="7" y="3"/>
                  </a:cubicBezTo>
                  <a:cubicBezTo>
                    <a:pt x="8" y="3"/>
                    <a:pt x="9" y="2"/>
                    <a:pt x="10" y="1"/>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8" name="Freeform 158">
              <a:extLst>
                <a:ext uri="{FF2B5EF4-FFF2-40B4-BE49-F238E27FC236}">
                  <a16:creationId xmlns:a16="http://schemas.microsoft.com/office/drawing/2014/main" id="{C1F783BB-71F4-432B-B53F-A6345AACB124}"/>
                </a:ext>
              </a:extLst>
            </p:cNvPr>
            <p:cNvSpPr>
              <a:spLocks/>
            </p:cNvSpPr>
            <p:nvPr/>
          </p:nvSpPr>
          <p:spPr bwMode="auto">
            <a:xfrm>
              <a:off x="7998589" y="5722532"/>
              <a:ext cx="2825" cy="14123"/>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2"/>
                    <a:pt x="0" y="3"/>
                    <a:pt x="0" y="4"/>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9" name="Freeform 159">
              <a:extLst>
                <a:ext uri="{FF2B5EF4-FFF2-40B4-BE49-F238E27FC236}">
                  <a16:creationId xmlns:a16="http://schemas.microsoft.com/office/drawing/2014/main" id="{6341918C-E62E-4637-A996-E71DE683CC3C}"/>
                </a:ext>
              </a:extLst>
            </p:cNvPr>
            <p:cNvSpPr>
              <a:spLocks/>
            </p:cNvSpPr>
            <p:nvPr/>
          </p:nvSpPr>
          <p:spPr bwMode="auto">
            <a:xfrm>
              <a:off x="8118632" y="5685813"/>
              <a:ext cx="63552" cy="53666"/>
            </a:xfrm>
            <a:custGeom>
              <a:avLst/>
              <a:gdLst>
                <a:gd name="T0" fmla="*/ 12 w 19"/>
                <a:gd name="T1" fmla="*/ 0 h 16"/>
                <a:gd name="T2" fmla="*/ 8 w 19"/>
                <a:gd name="T3" fmla="*/ 1 h 16"/>
                <a:gd name="T4" fmla="*/ 8 w 19"/>
                <a:gd name="T5" fmla="*/ 1 h 16"/>
                <a:gd name="T6" fmla="*/ 8 w 19"/>
                <a:gd name="T7" fmla="*/ 1 h 16"/>
                <a:gd name="T8" fmla="*/ 7 w 19"/>
                <a:gd name="T9" fmla="*/ 1 h 16"/>
                <a:gd name="T10" fmla="*/ 7 w 19"/>
                <a:gd name="T11" fmla="*/ 1 h 16"/>
                <a:gd name="T12" fmla="*/ 9 w 19"/>
                <a:gd name="T13" fmla="*/ 5 h 16"/>
                <a:gd name="T14" fmla="*/ 8 w 19"/>
                <a:gd name="T15" fmla="*/ 4 h 16"/>
                <a:gd name="T16" fmla="*/ 5 w 19"/>
                <a:gd name="T17" fmla="*/ 6 h 16"/>
                <a:gd name="T18" fmla="*/ 3 w 19"/>
                <a:gd name="T19" fmla="*/ 6 h 16"/>
                <a:gd name="T20" fmla="*/ 3 w 19"/>
                <a:gd name="T21" fmla="*/ 6 h 16"/>
                <a:gd name="T22" fmla="*/ 7 w 19"/>
                <a:gd name="T23" fmla="*/ 12 h 16"/>
                <a:gd name="T24" fmla="*/ 6 w 19"/>
                <a:gd name="T25" fmla="*/ 12 h 16"/>
                <a:gd name="T26" fmla="*/ 3 w 19"/>
                <a:gd name="T27" fmla="*/ 12 h 16"/>
                <a:gd name="T28" fmla="*/ 6 w 19"/>
                <a:gd name="T29" fmla="*/ 16 h 16"/>
                <a:gd name="T30" fmla="*/ 13 w 19"/>
                <a:gd name="T31" fmla="*/ 12 h 16"/>
                <a:gd name="T32" fmla="*/ 15 w 19"/>
                <a:gd name="T33" fmla="*/ 10 h 16"/>
                <a:gd name="T34" fmla="*/ 13 w 19"/>
                <a:gd name="T35" fmla="*/ 7 h 16"/>
                <a:gd name="T36" fmla="*/ 16 w 19"/>
                <a:gd name="T37" fmla="*/ 7 h 16"/>
                <a:gd name="T38" fmla="*/ 18 w 19"/>
                <a:gd name="T39" fmla="*/ 5 h 16"/>
                <a:gd name="T40" fmla="*/ 16 w 19"/>
                <a:gd name="T41" fmla="*/ 2 h 16"/>
                <a:gd name="T42" fmla="*/ 13 w 19"/>
                <a:gd name="T43" fmla="*/ 3 h 16"/>
                <a:gd name="T44" fmla="*/ 12 w 19"/>
                <a:gd name="T45" fmla="*/ 0 h 16"/>
                <a:gd name="T46" fmla="*/ 12 w 19"/>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6">
                  <a:moveTo>
                    <a:pt x="12" y="0"/>
                  </a:moveTo>
                  <a:cubicBezTo>
                    <a:pt x="11" y="0"/>
                    <a:pt x="8" y="1"/>
                    <a:pt x="8" y="1"/>
                  </a:cubicBezTo>
                  <a:cubicBezTo>
                    <a:pt x="8" y="1"/>
                    <a:pt x="8" y="1"/>
                    <a:pt x="8" y="1"/>
                  </a:cubicBezTo>
                  <a:cubicBezTo>
                    <a:pt x="8" y="1"/>
                    <a:pt x="8" y="1"/>
                    <a:pt x="8" y="1"/>
                  </a:cubicBezTo>
                  <a:cubicBezTo>
                    <a:pt x="8" y="1"/>
                    <a:pt x="8" y="1"/>
                    <a:pt x="7" y="1"/>
                  </a:cubicBezTo>
                  <a:cubicBezTo>
                    <a:pt x="7" y="1"/>
                    <a:pt x="7" y="1"/>
                    <a:pt x="7" y="1"/>
                  </a:cubicBezTo>
                  <a:cubicBezTo>
                    <a:pt x="7" y="2"/>
                    <a:pt x="9" y="4"/>
                    <a:pt x="9" y="5"/>
                  </a:cubicBezTo>
                  <a:cubicBezTo>
                    <a:pt x="8" y="4"/>
                    <a:pt x="8" y="4"/>
                    <a:pt x="8" y="4"/>
                  </a:cubicBezTo>
                  <a:cubicBezTo>
                    <a:pt x="6" y="4"/>
                    <a:pt x="7" y="5"/>
                    <a:pt x="5" y="6"/>
                  </a:cubicBezTo>
                  <a:cubicBezTo>
                    <a:pt x="5" y="6"/>
                    <a:pt x="4" y="6"/>
                    <a:pt x="3" y="6"/>
                  </a:cubicBezTo>
                  <a:cubicBezTo>
                    <a:pt x="3" y="6"/>
                    <a:pt x="3" y="6"/>
                    <a:pt x="3" y="6"/>
                  </a:cubicBezTo>
                  <a:cubicBezTo>
                    <a:pt x="0" y="8"/>
                    <a:pt x="5" y="10"/>
                    <a:pt x="7" y="12"/>
                  </a:cubicBezTo>
                  <a:cubicBezTo>
                    <a:pt x="7" y="12"/>
                    <a:pt x="7" y="12"/>
                    <a:pt x="6" y="12"/>
                  </a:cubicBezTo>
                  <a:cubicBezTo>
                    <a:pt x="5" y="12"/>
                    <a:pt x="4" y="12"/>
                    <a:pt x="3" y="12"/>
                  </a:cubicBezTo>
                  <a:cubicBezTo>
                    <a:pt x="4" y="14"/>
                    <a:pt x="5" y="15"/>
                    <a:pt x="6" y="16"/>
                  </a:cubicBezTo>
                  <a:cubicBezTo>
                    <a:pt x="9" y="15"/>
                    <a:pt x="10" y="14"/>
                    <a:pt x="13" y="12"/>
                  </a:cubicBezTo>
                  <a:cubicBezTo>
                    <a:pt x="13" y="11"/>
                    <a:pt x="15" y="11"/>
                    <a:pt x="15" y="10"/>
                  </a:cubicBezTo>
                  <a:cubicBezTo>
                    <a:pt x="17" y="8"/>
                    <a:pt x="14" y="8"/>
                    <a:pt x="13" y="7"/>
                  </a:cubicBezTo>
                  <a:cubicBezTo>
                    <a:pt x="14" y="7"/>
                    <a:pt x="15" y="7"/>
                    <a:pt x="16" y="7"/>
                  </a:cubicBezTo>
                  <a:cubicBezTo>
                    <a:pt x="17" y="7"/>
                    <a:pt x="17" y="7"/>
                    <a:pt x="18" y="5"/>
                  </a:cubicBezTo>
                  <a:cubicBezTo>
                    <a:pt x="19" y="3"/>
                    <a:pt x="17" y="2"/>
                    <a:pt x="16" y="2"/>
                  </a:cubicBezTo>
                  <a:cubicBezTo>
                    <a:pt x="15" y="2"/>
                    <a:pt x="14" y="2"/>
                    <a:pt x="13" y="3"/>
                  </a:cubicBezTo>
                  <a:cubicBezTo>
                    <a:pt x="14" y="2"/>
                    <a:pt x="14"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0" name="Freeform 160">
              <a:extLst>
                <a:ext uri="{FF2B5EF4-FFF2-40B4-BE49-F238E27FC236}">
                  <a16:creationId xmlns:a16="http://schemas.microsoft.com/office/drawing/2014/main" id="{56DEE36F-85E5-445D-86C7-C213C5AA86AF}"/>
                </a:ext>
              </a:extLst>
            </p:cNvPr>
            <p:cNvSpPr>
              <a:spLocks/>
            </p:cNvSpPr>
            <p:nvPr/>
          </p:nvSpPr>
          <p:spPr bwMode="auto">
            <a:xfrm>
              <a:off x="7998589" y="6403248"/>
              <a:ext cx="24009" cy="50842"/>
            </a:xfrm>
            <a:custGeom>
              <a:avLst/>
              <a:gdLst>
                <a:gd name="T0" fmla="*/ 5 w 7"/>
                <a:gd name="T1" fmla="*/ 0 h 15"/>
                <a:gd name="T2" fmla="*/ 4 w 7"/>
                <a:gd name="T3" fmla="*/ 0 h 15"/>
                <a:gd name="T4" fmla="*/ 5 w 7"/>
                <a:gd name="T5" fmla="*/ 6 h 15"/>
                <a:gd name="T6" fmla="*/ 3 w 7"/>
                <a:gd name="T7" fmla="*/ 5 h 15"/>
                <a:gd name="T8" fmla="*/ 1 w 7"/>
                <a:gd name="T9" fmla="*/ 8 h 15"/>
                <a:gd name="T10" fmla="*/ 3 w 7"/>
                <a:gd name="T11" fmla="*/ 15 h 15"/>
                <a:gd name="T12" fmla="*/ 7 w 7"/>
                <a:gd name="T13" fmla="*/ 5 h 15"/>
                <a:gd name="T14" fmla="*/ 7 w 7"/>
                <a:gd name="T15" fmla="*/ 1 h 15"/>
                <a:gd name="T16" fmla="*/ 5 w 7"/>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5" y="0"/>
                  </a:moveTo>
                  <a:cubicBezTo>
                    <a:pt x="5" y="0"/>
                    <a:pt x="5" y="0"/>
                    <a:pt x="4" y="0"/>
                  </a:cubicBezTo>
                  <a:cubicBezTo>
                    <a:pt x="3" y="0"/>
                    <a:pt x="5" y="5"/>
                    <a:pt x="5" y="6"/>
                  </a:cubicBezTo>
                  <a:cubicBezTo>
                    <a:pt x="4" y="6"/>
                    <a:pt x="4" y="5"/>
                    <a:pt x="3" y="5"/>
                  </a:cubicBezTo>
                  <a:cubicBezTo>
                    <a:pt x="2" y="5"/>
                    <a:pt x="2" y="7"/>
                    <a:pt x="1" y="8"/>
                  </a:cubicBezTo>
                  <a:cubicBezTo>
                    <a:pt x="0" y="11"/>
                    <a:pt x="1" y="12"/>
                    <a:pt x="3" y="15"/>
                  </a:cubicBezTo>
                  <a:cubicBezTo>
                    <a:pt x="5" y="13"/>
                    <a:pt x="6" y="8"/>
                    <a:pt x="7" y="5"/>
                  </a:cubicBezTo>
                  <a:cubicBezTo>
                    <a:pt x="7" y="4"/>
                    <a:pt x="7" y="2"/>
                    <a:pt x="7" y="1"/>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1" name="Freeform 161">
              <a:extLst>
                <a:ext uri="{FF2B5EF4-FFF2-40B4-BE49-F238E27FC236}">
                  <a16:creationId xmlns:a16="http://schemas.microsoft.com/office/drawing/2014/main" id="{72C58762-4A5A-4A2E-82F7-0464D05CCC76}"/>
                </a:ext>
              </a:extLst>
            </p:cNvPr>
            <p:cNvSpPr>
              <a:spLocks noEditPoints="1"/>
            </p:cNvSpPr>
            <p:nvPr/>
          </p:nvSpPr>
          <p:spPr bwMode="auto">
            <a:xfrm>
              <a:off x="8218904" y="6634861"/>
              <a:ext cx="96034" cy="56491"/>
            </a:xfrm>
            <a:custGeom>
              <a:avLst/>
              <a:gdLst>
                <a:gd name="T0" fmla="*/ 20 w 29"/>
                <a:gd name="T1" fmla="*/ 4 h 17"/>
                <a:gd name="T2" fmla="*/ 20 w 29"/>
                <a:gd name="T3" fmla="*/ 4 h 17"/>
                <a:gd name="T4" fmla="*/ 20 w 29"/>
                <a:gd name="T5" fmla="*/ 4 h 17"/>
                <a:gd name="T6" fmla="*/ 7 w 29"/>
                <a:gd name="T7" fmla="*/ 0 h 17"/>
                <a:gd name="T8" fmla="*/ 7 w 29"/>
                <a:gd name="T9" fmla="*/ 0 h 17"/>
                <a:gd name="T10" fmla="*/ 3 w 29"/>
                <a:gd name="T11" fmla="*/ 4 h 17"/>
                <a:gd name="T12" fmla="*/ 0 w 29"/>
                <a:gd name="T13" fmla="*/ 3 h 17"/>
                <a:gd name="T14" fmla="*/ 0 w 29"/>
                <a:gd name="T15" fmla="*/ 3 h 17"/>
                <a:gd name="T16" fmla="*/ 9 w 29"/>
                <a:gd name="T17" fmla="*/ 16 h 17"/>
                <a:gd name="T18" fmla="*/ 8 w 29"/>
                <a:gd name="T19" fmla="*/ 10 h 17"/>
                <a:gd name="T20" fmla="*/ 7 w 29"/>
                <a:gd name="T21" fmla="*/ 5 h 17"/>
                <a:gd name="T22" fmla="*/ 12 w 29"/>
                <a:gd name="T23" fmla="*/ 10 h 17"/>
                <a:gd name="T24" fmla="*/ 13 w 29"/>
                <a:gd name="T25" fmla="*/ 10 h 17"/>
                <a:gd name="T26" fmla="*/ 13 w 29"/>
                <a:gd name="T27" fmla="*/ 12 h 17"/>
                <a:gd name="T28" fmla="*/ 14 w 29"/>
                <a:gd name="T29" fmla="*/ 12 h 17"/>
                <a:gd name="T30" fmla="*/ 19 w 29"/>
                <a:gd name="T31" fmla="*/ 9 h 17"/>
                <a:gd name="T32" fmla="*/ 26 w 29"/>
                <a:gd name="T33" fmla="*/ 17 h 17"/>
                <a:gd name="T34" fmla="*/ 29 w 29"/>
                <a:gd name="T35" fmla="*/ 10 h 17"/>
                <a:gd name="T36" fmla="*/ 26 w 29"/>
                <a:gd name="T37" fmla="*/ 8 h 17"/>
                <a:gd name="T38" fmla="*/ 23 w 29"/>
                <a:gd name="T39" fmla="*/ 11 h 17"/>
                <a:gd name="T40" fmla="*/ 22 w 29"/>
                <a:gd name="T41" fmla="*/ 8 h 17"/>
                <a:gd name="T42" fmla="*/ 20 w 29"/>
                <a:gd name="T43" fmla="*/ 4 h 17"/>
                <a:gd name="T44" fmla="*/ 20 w 29"/>
                <a:gd name="T45" fmla="*/ 4 h 17"/>
                <a:gd name="T46" fmla="*/ 18 w 29"/>
                <a:gd name="T47" fmla="*/ 4 h 17"/>
                <a:gd name="T48" fmla="*/ 18 w 29"/>
                <a:gd name="T49" fmla="*/ 4 h 17"/>
                <a:gd name="T50" fmla="*/ 18 w 29"/>
                <a:gd name="T51" fmla="*/ 4 h 17"/>
                <a:gd name="T52" fmla="*/ 18 w 29"/>
                <a:gd name="T53" fmla="*/ 4 h 17"/>
                <a:gd name="T54" fmla="*/ 18 w 29"/>
                <a:gd name="T55" fmla="*/ 4 h 17"/>
                <a:gd name="T56" fmla="*/ 17 w 29"/>
                <a:gd name="T57" fmla="*/ 4 h 17"/>
                <a:gd name="T58" fmla="*/ 17 w 29"/>
                <a:gd name="T59" fmla="*/ 4 h 17"/>
                <a:gd name="T60" fmla="*/ 15 w 29"/>
                <a:gd name="T61" fmla="*/ 3 h 17"/>
                <a:gd name="T62" fmla="*/ 14 w 29"/>
                <a:gd name="T63" fmla="*/ 3 h 17"/>
                <a:gd name="T64" fmla="*/ 13 w 29"/>
                <a:gd name="T65" fmla="*/ 7 h 17"/>
                <a:gd name="T66" fmla="*/ 12 w 29"/>
                <a:gd name="T67" fmla="*/ 6 h 17"/>
                <a:gd name="T68" fmla="*/ 13 w 29"/>
                <a:gd name="T69" fmla="*/ 5 h 17"/>
                <a:gd name="T70" fmla="*/ 13 w 29"/>
                <a:gd name="T71" fmla="*/ 3 h 17"/>
                <a:gd name="T72" fmla="*/ 11 w 29"/>
                <a:gd name="T73" fmla="*/ 2 h 17"/>
                <a:gd name="T74" fmla="*/ 9 w 29"/>
                <a:gd name="T75" fmla="*/ 4 h 17"/>
                <a:gd name="T76" fmla="*/ 7 w 29"/>
                <a:gd name="T7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17">
                  <a:moveTo>
                    <a:pt x="20" y="4"/>
                  </a:moveTo>
                  <a:cubicBezTo>
                    <a:pt x="20" y="4"/>
                    <a:pt x="20" y="4"/>
                    <a:pt x="20" y="4"/>
                  </a:cubicBezTo>
                  <a:cubicBezTo>
                    <a:pt x="20" y="4"/>
                    <a:pt x="20" y="4"/>
                    <a:pt x="20" y="4"/>
                  </a:cubicBezTo>
                  <a:moveTo>
                    <a:pt x="7" y="0"/>
                  </a:moveTo>
                  <a:cubicBezTo>
                    <a:pt x="7" y="0"/>
                    <a:pt x="7" y="0"/>
                    <a:pt x="7" y="0"/>
                  </a:cubicBezTo>
                  <a:cubicBezTo>
                    <a:pt x="6" y="0"/>
                    <a:pt x="4" y="4"/>
                    <a:pt x="3" y="4"/>
                  </a:cubicBezTo>
                  <a:cubicBezTo>
                    <a:pt x="3" y="3"/>
                    <a:pt x="2" y="3"/>
                    <a:pt x="0" y="3"/>
                  </a:cubicBezTo>
                  <a:cubicBezTo>
                    <a:pt x="0" y="3"/>
                    <a:pt x="0" y="3"/>
                    <a:pt x="0" y="3"/>
                  </a:cubicBezTo>
                  <a:cubicBezTo>
                    <a:pt x="2" y="7"/>
                    <a:pt x="6" y="12"/>
                    <a:pt x="9" y="16"/>
                  </a:cubicBezTo>
                  <a:cubicBezTo>
                    <a:pt x="11" y="12"/>
                    <a:pt x="11" y="13"/>
                    <a:pt x="8" y="10"/>
                  </a:cubicBezTo>
                  <a:cubicBezTo>
                    <a:pt x="7" y="9"/>
                    <a:pt x="7" y="7"/>
                    <a:pt x="7" y="5"/>
                  </a:cubicBezTo>
                  <a:cubicBezTo>
                    <a:pt x="8" y="6"/>
                    <a:pt x="10" y="10"/>
                    <a:pt x="12" y="10"/>
                  </a:cubicBezTo>
                  <a:cubicBezTo>
                    <a:pt x="12" y="10"/>
                    <a:pt x="12" y="10"/>
                    <a:pt x="13" y="10"/>
                  </a:cubicBezTo>
                  <a:cubicBezTo>
                    <a:pt x="13" y="11"/>
                    <a:pt x="13" y="11"/>
                    <a:pt x="13" y="12"/>
                  </a:cubicBezTo>
                  <a:cubicBezTo>
                    <a:pt x="13" y="12"/>
                    <a:pt x="14" y="12"/>
                    <a:pt x="14" y="12"/>
                  </a:cubicBezTo>
                  <a:cubicBezTo>
                    <a:pt x="16" y="12"/>
                    <a:pt x="18" y="9"/>
                    <a:pt x="19" y="9"/>
                  </a:cubicBezTo>
                  <a:cubicBezTo>
                    <a:pt x="22" y="11"/>
                    <a:pt x="24" y="15"/>
                    <a:pt x="26" y="17"/>
                  </a:cubicBezTo>
                  <a:cubicBezTo>
                    <a:pt x="28" y="15"/>
                    <a:pt x="29" y="13"/>
                    <a:pt x="29" y="10"/>
                  </a:cubicBezTo>
                  <a:cubicBezTo>
                    <a:pt x="28" y="8"/>
                    <a:pt x="27" y="8"/>
                    <a:pt x="26" y="8"/>
                  </a:cubicBezTo>
                  <a:cubicBezTo>
                    <a:pt x="25" y="8"/>
                    <a:pt x="24" y="9"/>
                    <a:pt x="23" y="11"/>
                  </a:cubicBezTo>
                  <a:cubicBezTo>
                    <a:pt x="23" y="10"/>
                    <a:pt x="23" y="9"/>
                    <a:pt x="22" y="8"/>
                  </a:cubicBezTo>
                  <a:cubicBezTo>
                    <a:pt x="24" y="6"/>
                    <a:pt x="21" y="5"/>
                    <a:pt x="20" y="4"/>
                  </a:cubicBezTo>
                  <a:cubicBezTo>
                    <a:pt x="20" y="4"/>
                    <a:pt x="20" y="4"/>
                    <a:pt x="20" y="4"/>
                  </a:cubicBezTo>
                  <a:cubicBezTo>
                    <a:pt x="19" y="4"/>
                    <a:pt x="19" y="4"/>
                    <a:pt x="18" y="4"/>
                  </a:cubicBezTo>
                  <a:cubicBezTo>
                    <a:pt x="18" y="4"/>
                    <a:pt x="18" y="4"/>
                    <a:pt x="18" y="4"/>
                  </a:cubicBezTo>
                  <a:cubicBezTo>
                    <a:pt x="18" y="4"/>
                    <a:pt x="18" y="4"/>
                    <a:pt x="18" y="4"/>
                  </a:cubicBezTo>
                  <a:cubicBezTo>
                    <a:pt x="18" y="4"/>
                    <a:pt x="18" y="4"/>
                    <a:pt x="18" y="4"/>
                  </a:cubicBezTo>
                  <a:cubicBezTo>
                    <a:pt x="18" y="4"/>
                    <a:pt x="18" y="4"/>
                    <a:pt x="18" y="4"/>
                  </a:cubicBezTo>
                  <a:cubicBezTo>
                    <a:pt x="17" y="4"/>
                    <a:pt x="17" y="4"/>
                    <a:pt x="17" y="4"/>
                  </a:cubicBezTo>
                  <a:cubicBezTo>
                    <a:pt x="17" y="4"/>
                    <a:pt x="17" y="4"/>
                    <a:pt x="17" y="4"/>
                  </a:cubicBezTo>
                  <a:cubicBezTo>
                    <a:pt x="17" y="4"/>
                    <a:pt x="16" y="3"/>
                    <a:pt x="15" y="3"/>
                  </a:cubicBezTo>
                  <a:cubicBezTo>
                    <a:pt x="15" y="3"/>
                    <a:pt x="14" y="3"/>
                    <a:pt x="14" y="3"/>
                  </a:cubicBezTo>
                  <a:cubicBezTo>
                    <a:pt x="14" y="4"/>
                    <a:pt x="13" y="6"/>
                    <a:pt x="13" y="7"/>
                  </a:cubicBezTo>
                  <a:cubicBezTo>
                    <a:pt x="12" y="7"/>
                    <a:pt x="12" y="7"/>
                    <a:pt x="12" y="6"/>
                  </a:cubicBezTo>
                  <a:cubicBezTo>
                    <a:pt x="12" y="6"/>
                    <a:pt x="13" y="5"/>
                    <a:pt x="13" y="5"/>
                  </a:cubicBezTo>
                  <a:cubicBezTo>
                    <a:pt x="13" y="4"/>
                    <a:pt x="12" y="4"/>
                    <a:pt x="13" y="3"/>
                  </a:cubicBezTo>
                  <a:cubicBezTo>
                    <a:pt x="12" y="2"/>
                    <a:pt x="11" y="2"/>
                    <a:pt x="11" y="2"/>
                  </a:cubicBezTo>
                  <a:cubicBezTo>
                    <a:pt x="10" y="2"/>
                    <a:pt x="10" y="3"/>
                    <a:pt x="9" y="4"/>
                  </a:cubicBezTo>
                  <a:cubicBezTo>
                    <a:pt x="9" y="3"/>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2" name="Freeform 162">
              <a:extLst>
                <a:ext uri="{FF2B5EF4-FFF2-40B4-BE49-F238E27FC236}">
                  <a16:creationId xmlns:a16="http://schemas.microsoft.com/office/drawing/2014/main" id="{54CF680D-F2DC-4FA2-913B-672A5DA0DC65}"/>
                </a:ext>
              </a:extLst>
            </p:cNvPr>
            <p:cNvSpPr>
              <a:spLocks/>
            </p:cNvSpPr>
            <p:nvPr/>
          </p:nvSpPr>
          <p:spPr bwMode="auto">
            <a:xfrm>
              <a:off x="7954809" y="6197056"/>
              <a:ext cx="36719" cy="29658"/>
            </a:xfrm>
            <a:custGeom>
              <a:avLst/>
              <a:gdLst>
                <a:gd name="T0" fmla="*/ 3 w 11"/>
                <a:gd name="T1" fmla="*/ 0 h 9"/>
                <a:gd name="T2" fmla="*/ 1 w 11"/>
                <a:gd name="T3" fmla="*/ 2 h 9"/>
                <a:gd name="T4" fmla="*/ 2 w 11"/>
                <a:gd name="T5" fmla="*/ 6 h 9"/>
                <a:gd name="T6" fmla="*/ 7 w 11"/>
                <a:gd name="T7" fmla="*/ 5 h 9"/>
                <a:gd name="T8" fmla="*/ 11 w 11"/>
                <a:gd name="T9" fmla="*/ 9 h 9"/>
                <a:gd name="T10" fmla="*/ 6 w 11"/>
                <a:gd name="T11" fmla="*/ 1 h 9"/>
                <a:gd name="T12" fmla="*/ 3 w 1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0"/>
                  </a:moveTo>
                  <a:cubicBezTo>
                    <a:pt x="2" y="0"/>
                    <a:pt x="1" y="1"/>
                    <a:pt x="1" y="2"/>
                  </a:cubicBezTo>
                  <a:cubicBezTo>
                    <a:pt x="0" y="5"/>
                    <a:pt x="1" y="6"/>
                    <a:pt x="2" y="6"/>
                  </a:cubicBezTo>
                  <a:cubicBezTo>
                    <a:pt x="3" y="6"/>
                    <a:pt x="5" y="5"/>
                    <a:pt x="7" y="5"/>
                  </a:cubicBezTo>
                  <a:cubicBezTo>
                    <a:pt x="5" y="9"/>
                    <a:pt x="9" y="8"/>
                    <a:pt x="11" y="9"/>
                  </a:cubicBezTo>
                  <a:cubicBezTo>
                    <a:pt x="9" y="6"/>
                    <a:pt x="7" y="4"/>
                    <a:pt x="6"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3" name="Freeform 163">
              <a:extLst>
                <a:ext uri="{FF2B5EF4-FFF2-40B4-BE49-F238E27FC236}">
                  <a16:creationId xmlns:a16="http://schemas.microsoft.com/office/drawing/2014/main" id="{C9B11BBB-86A4-4E74-9A8C-82AE4B1F11A8}"/>
                </a:ext>
              </a:extLst>
            </p:cNvPr>
            <p:cNvSpPr>
              <a:spLocks/>
            </p:cNvSpPr>
            <p:nvPr/>
          </p:nvSpPr>
          <p:spPr bwMode="auto">
            <a:xfrm>
              <a:off x="8519717" y="6747843"/>
              <a:ext cx="103096" cy="43780"/>
            </a:xfrm>
            <a:custGeom>
              <a:avLst/>
              <a:gdLst>
                <a:gd name="T0" fmla="*/ 6 w 31"/>
                <a:gd name="T1" fmla="*/ 0 h 13"/>
                <a:gd name="T2" fmla="*/ 0 w 31"/>
                <a:gd name="T3" fmla="*/ 1 h 13"/>
                <a:gd name="T4" fmla="*/ 4 w 31"/>
                <a:gd name="T5" fmla="*/ 4 h 13"/>
                <a:gd name="T6" fmla="*/ 4 w 31"/>
                <a:gd name="T7" fmla="*/ 6 h 13"/>
                <a:gd name="T8" fmla="*/ 5 w 31"/>
                <a:gd name="T9" fmla="*/ 9 h 13"/>
                <a:gd name="T10" fmla="*/ 14 w 31"/>
                <a:gd name="T11" fmla="*/ 11 h 13"/>
                <a:gd name="T12" fmla="*/ 11 w 31"/>
                <a:gd name="T13" fmla="*/ 11 h 13"/>
                <a:gd name="T14" fmla="*/ 14 w 31"/>
                <a:gd name="T15" fmla="*/ 12 h 13"/>
                <a:gd name="T16" fmla="*/ 16 w 31"/>
                <a:gd name="T17" fmla="*/ 11 h 13"/>
                <a:gd name="T18" fmla="*/ 20 w 31"/>
                <a:gd name="T19" fmla="*/ 9 h 13"/>
                <a:gd name="T20" fmla="*/ 21 w 31"/>
                <a:gd name="T21" fmla="*/ 9 h 13"/>
                <a:gd name="T22" fmla="*/ 23 w 31"/>
                <a:gd name="T23" fmla="*/ 13 h 13"/>
                <a:gd name="T24" fmla="*/ 24 w 31"/>
                <a:gd name="T25" fmla="*/ 13 h 13"/>
                <a:gd name="T26" fmla="*/ 30 w 31"/>
                <a:gd name="T27" fmla="*/ 8 h 13"/>
                <a:gd name="T28" fmla="*/ 17 w 31"/>
                <a:gd name="T29" fmla="*/ 1 h 13"/>
                <a:gd name="T30" fmla="*/ 15 w 31"/>
                <a:gd name="T31" fmla="*/ 1 h 13"/>
                <a:gd name="T32" fmla="*/ 8 w 31"/>
                <a:gd name="T33" fmla="*/ 0 h 13"/>
                <a:gd name="T34" fmla="*/ 6 w 31"/>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13">
                  <a:moveTo>
                    <a:pt x="6" y="0"/>
                  </a:moveTo>
                  <a:cubicBezTo>
                    <a:pt x="4" y="0"/>
                    <a:pt x="2" y="0"/>
                    <a:pt x="0" y="1"/>
                  </a:cubicBezTo>
                  <a:cubicBezTo>
                    <a:pt x="1" y="2"/>
                    <a:pt x="3" y="3"/>
                    <a:pt x="4" y="4"/>
                  </a:cubicBezTo>
                  <a:cubicBezTo>
                    <a:pt x="4" y="5"/>
                    <a:pt x="4" y="5"/>
                    <a:pt x="4" y="6"/>
                  </a:cubicBezTo>
                  <a:cubicBezTo>
                    <a:pt x="4" y="7"/>
                    <a:pt x="4" y="8"/>
                    <a:pt x="5" y="9"/>
                  </a:cubicBezTo>
                  <a:cubicBezTo>
                    <a:pt x="2" y="11"/>
                    <a:pt x="13" y="10"/>
                    <a:pt x="14" y="11"/>
                  </a:cubicBezTo>
                  <a:cubicBezTo>
                    <a:pt x="13" y="11"/>
                    <a:pt x="12" y="11"/>
                    <a:pt x="11" y="11"/>
                  </a:cubicBezTo>
                  <a:cubicBezTo>
                    <a:pt x="12" y="11"/>
                    <a:pt x="13" y="12"/>
                    <a:pt x="14" y="12"/>
                  </a:cubicBezTo>
                  <a:cubicBezTo>
                    <a:pt x="15" y="12"/>
                    <a:pt x="16" y="12"/>
                    <a:pt x="16" y="11"/>
                  </a:cubicBezTo>
                  <a:cubicBezTo>
                    <a:pt x="17" y="10"/>
                    <a:pt x="18" y="9"/>
                    <a:pt x="20" y="9"/>
                  </a:cubicBezTo>
                  <a:cubicBezTo>
                    <a:pt x="20" y="9"/>
                    <a:pt x="20" y="9"/>
                    <a:pt x="21" y="9"/>
                  </a:cubicBezTo>
                  <a:cubicBezTo>
                    <a:pt x="22" y="10"/>
                    <a:pt x="21" y="13"/>
                    <a:pt x="23" y="13"/>
                  </a:cubicBezTo>
                  <a:cubicBezTo>
                    <a:pt x="24" y="13"/>
                    <a:pt x="24" y="13"/>
                    <a:pt x="24" y="13"/>
                  </a:cubicBezTo>
                  <a:cubicBezTo>
                    <a:pt x="26" y="13"/>
                    <a:pt x="29" y="10"/>
                    <a:pt x="30" y="8"/>
                  </a:cubicBezTo>
                  <a:cubicBezTo>
                    <a:pt x="31" y="3"/>
                    <a:pt x="21" y="2"/>
                    <a:pt x="17" y="1"/>
                  </a:cubicBezTo>
                  <a:cubicBezTo>
                    <a:pt x="17" y="1"/>
                    <a:pt x="16" y="1"/>
                    <a:pt x="15" y="1"/>
                  </a:cubicBezTo>
                  <a:cubicBezTo>
                    <a:pt x="13" y="1"/>
                    <a:pt x="10" y="0"/>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4" name="Freeform 164">
              <a:extLst>
                <a:ext uri="{FF2B5EF4-FFF2-40B4-BE49-F238E27FC236}">
                  <a16:creationId xmlns:a16="http://schemas.microsoft.com/office/drawing/2014/main" id="{8F63631F-8B54-4247-A17A-0A47B9E61D68}"/>
                </a:ext>
              </a:extLst>
            </p:cNvPr>
            <p:cNvSpPr>
              <a:spLocks/>
            </p:cNvSpPr>
            <p:nvPr/>
          </p:nvSpPr>
          <p:spPr bwMode="auto">
            <a:xfrm>
              <a:off x="8096036" y="5786084"/>
              <a:ext cx="12710" cy="29658"/>
            </a:xfrm>
            <a:custGeom>
              <a:avLst/>
              <a:gdLst>
                <a:gd name="T0" fmla="*/ 4 w 4"/>
                <a:gd name="T1" fmla="*/ 0 h 9"/>
                <a:gd name="T2" fmla="*/ 1 w 4"/>
                <a:gd name="T3" fmla="*/ 5 h 9"/>
                <a:gd name="T4" fmla="*/ 2 w 4"/>
                <a:gd name="T5" fmla="*/ 8 h 9"/>
                <a:gd name="T6" fmla="*/ 4 w 4"/>
                <a:gd name="T7" fmla="*/ 9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cubicBezTo>
                    <a:pt x="1" y="2"/>
                    <a:pt x="1" y="3"/>
                    <a:pt x="1" y="5"/>
                  </a:cubicBezTo>
                  <a:cubicBezTo>
                    <a:pt x="1" y="7"/>
                    <a:pt x="0" y="6"/>
                    <a:pt x="2" y="8"/>
                  </a:cubicBezTo>
                  <a:cubicBezTo>
                    <a:pt x="3" y="8"/>
                    <a:pt x="3" y="9"/>
                    <a:pt x="4" y="9"/>
                  </a:cubicBezTo>
                  <a:cubicBezTo>
                    <a:pt x="4" y="6"/>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5" name="Freeform 165">
              <a:extLst>
                <a:ext uri="{FF2B5EF4-FFF2-40B4-BE49-F238E27FC236}">
                  <a16:creationId xmlns:a16="http://schemas.microsoft.com/office/drawing/2014/main" id="{CD239805-898E-40D3-8CB4-D0E0EE40C6A9}"/>
                </a:ext>
              </a:extLst>
            </p:cNvPr>
            <p:cNvSpPr>
              <a:spLocks/>
            </p:cNvSpPr>
            <p:nvPr/>
          </p:nvSpPr>
          <p:spPr bwMode="auto">
            <a:xfrm>
              <a:off x="8079089" y="5663217"/>
              <a:ext cx="12710" cy="15535"/>
            </a:xfrm>
            <a:custGeom>
              <a:avLst/>
              <a:gdLst>
                <a:gd name="T0" fmla="*/ 0 w 4"/>
                <a:gd name="T1" fmla="*/ 0 h 5"/>
                <a:gd name="T2" fmla="*/ 1 w 4"/>
                <a:gd name="T3" fmla="*/ 5 h 5"/>
                <a:gd name="T4" fmla="*/ 3 w 4"/>
                <a:gd name="T5" fmla="*/ 3 h 5"/>
                <a:gd name="T6" fmla="*/ 4 w 4"/>
                <a:gd name="T7" fmla="*/ 3 h 5"/>
                <a:gd name="T8" fmla="*/ 0 w 4"/>
                <a:gd name="T9" fmla="*/ 0 h 5"/>
              </a:gdLst>
              <a:ahLst/>
              <a:cxnLst>
                <a:cxn ang="0">
                  <a:pos x="T0" y="T1"/>
                </a:cxn>
                <a:cxn ang="0">
                  <a:pos x="T2" y="T3"/>
                </a:cxn>
                <a:cxn ang="0">
                  <a:pos x="T4" y="T5"/>
                </a:cxn>
                <a:cxn ang="0">
                  <a:pos x="T6" y="T7"/>
                </a:cxn>
                <a:cxn ang="0">
                  <a:pos x="T8" y="T9"/>
                </a:cxn>
              </a:cxnLst>
              <a:rect l="0" t="0" r="r" b="b"/>
              <a:pathLst>
                <a:path w="4" h="5">
                  <a:moveTo>
                    <a:pt x="0" y="0"/>
                  </a:moveTo>
                  <a:cubicBezTo>
                    <a:pt x="0" y="2"/>
                    <a:pt x="0" y="4"/>
                    <a:pt x="1" y="5"/>
                  </a:cubicBezTo>
                  <a:cubicBezTo>
                    <a:pt x="1" y="4"/>
                    <a:pt x="2" y="3"/>
                    <a:pt x="3" y="3"/>
                  </a:cubicBezTo>
                  <a:cubicBezTo>
                    <a:pt x="3" y="3"/>
                    <a:pt x="3" y="3"/>
                    <a:pt x="4" y="3"/>
                  </a:cubicBezTo>
                  <a:cubicBezTo>
                    <a:pt x="2" y="2"/>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6" name="Freeform 166">
              <a:extLst>
                <a:ext uri="{FF2B5EF4-FFF2-40B4-BE49-F238E27FC236}">
                  <a16:creationId xmlns:a16="http://schemas.microsoft.com/office/drawing/2014/main" id="{834B7BC1-D670-4B7E-B8FD-CA71E2FDD660}"/>
                </a:ext>
              </a:extLst>
            </p:cNvPr>
            <p:cNvSpPr>
              <a:spLocks/>
            </p:cNvSpPr>
            <p:nvPr/>
          </p:nvSpPr>
          <p:spPr bwMode="auto">
            <a:xfrm>
              <a:off x="8069203" y="5798795"/>
              <a:ext cx="22596" cy="14123"/>
            </a:xfrm>
            <a:custGeom>
              <a:avLst/>
              <a:gdLst>
                <a:gd name="T0" fmla="*/ 4 w 7"/>
                <a:gd name="T1" fmla="*/ 0 h 4"/>
                <a:gd name="T2" fmla="*/ 6 w 7"/>
                <a:gd name="T3" fmla="*/ 4 h 4"/>
                <a:gd name="T4" fmla="*/ 5 w 7"/>
                <a:gd name="T5" fmla="*/ 0 h 4"/>
                <a:gd name="T6" fmla="*/ 4 w 7"/>
                <a:gd name="T7" fmla="*/ 0 h 4"/>
              </a:gdLst>
              <a:ahLst/>
              <a:cxnLst>
                <a:cxn ang="0">
                  <a:pos x="T0" y="T1"/>
                </a:cxn>
                <a:cxn ang="0">
                  <a:pos x="T2" y="T3"/>
                </a:cxn>
                <a:cxn ang="0">
                  <a:pos x="T4" y="T5"/>
                </a:cxn>
                <a:cxn ang="0">
                  <a:pos x="T6" y="T7"/>
                </a:cxn>
              </a:cxnLst>
              <a:rect l="0" t="0" r="r" b="b"/>
              <a:pathLst>
                <a:path w="7" h="4">
                  <a:moveTo>
                    <a:pt x="4" y="0"/>
                  </a:moveTo>
                  <a:cubicBezTo>
                    <a:pt x="0" y="0"/>
                    <a:pt x="3" y="2"/>
                    <a:pt x="6" y="4"/>
                  </a:cubicBezTo>
                  <a:cubicBezTo>
                    <a:pt x="6" y="2"/>
                    <a:pt x="7"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7" name="Freeform 167">
              <a:extLst>
                <a:ext uri="{FF2B5EF4-FFF2-40B4-BE49-F238E27FC236}">
                  <a16:creationId xmlns:a16="http://schemas.microsoft.com/office/drawing/2014/main" id="{A40CB48E-9D96-4C35-8E1D-C450DDB72135}"/>
                </a:ext>
              </a:extLst>
            </p:cNvPr>
            <p:cNvSpPr>
              <a:spLocks/>
            </p:cNvSpPr>
            <p:nvPr/>
          </p:nvSpPr>
          <p:spPr bwMode="auto">
            <a:xfrm>
              <a:off x="8579032" y="6821281"/>
              <a:ext cx="26833" cy="22596"/>
            </a:xfrm>
            <a:custGeom>
              <a:avLst/>
              <a:gdLst>
                <a:gd name="T0" fmla="*/ 4 w 8"/>
                <a:gd name="T1" fmla="*/ 0 h 7"/>
                <a:gd name="T2" fmla="*/ 4 w 8"/>
                <a:gd name="T3" fmla="*/ 4 h 7"/>
                <a:gd name="T4" fmla="*/ 1 w 8"/>
                <a:gd name="T5" fmla="*/ 3 h 7"/>
                <a:gd name="T6" fmla="*/ 0 w 8"/>
                <a:gd name="T7" fmla="*/ 4 h 7"/>
                <a:gd name="T8" fmla="*/ 5 w 8"/>
                <a:gd name="T9" fmla="*/ 6 h 7"/>
                <a:gd name="T10" fmla="*/ 6 w 8"/>
                <a:gd name="T11" fmla="*/ 6 h 7"/>
                <a:gd name="T12" fmla="*/ 7 w 8"/>
                <a:gd name="T13" fmla="*/ 7 h 7"/>
                <a:gd name="T14" fmla="*/ 7 w 8"/>
                <a:gd name="T15" fmla="*/ 6 h 7"/>
                <a:gd name="T16" fmla="*/ 4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0"/>
                  </a:moveTo>
                  <a:cubicBezTo>
                    <a:pt x="4" y="1"/>
                    <a:pt x="4" y="3"/>
                    <a:pt x="4" y="4"/>
                  </a:cubicBezTo>
                  <a:cubicBezTo>
                    <a:pt x="3" y="3"/>
                    <a:pt x="2" y="3"/>
                    <a:pt x="1" y="3"/>
                  </a:cubicBezTo>
                  <a:cubicBezTo>
                    <a:pt x="1" y="3"/>
                    <a:pt x="1" y="3"/>
                    <a:pt x="0" y="4"/>
                  </a:cubicBezTo>
                  <a:cubicBezTo>
                    <a:pt x="1" y="5"/>
                    <a:pt x="4" y="6"/>
                    <a:pt x="5" y="6"/>
                  </a:cubicBezTo>
                  <a:cubicBezTo>
                    <a:pt x="5" y="6"/>
                    <a:pt x="6" y="6"/>
                    <a:pt x="6" y="6"/>
                  </a:cubicBezTo>
                  <a:cubicBezTo>
                    <a:pt x="5" y="6"/>
                    <a:pt x="6" y="7"/>
                    <a:pt x="7" y="7"/>
                  </a:cubicBezTo>
                  <a:cubicBezTo>
                    <a:pt x="7" y="7"/>
                    <a:pt x="7" y="7"/>
                    <a:pt x="7" y="6"/>
                  </a:cubicBezTo>
                  <a:cubicBezTo>
                    <a:pt x="8" y="5"/>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8" name="Freeform 168">
              <a:extLst>
                <a:ext uri="{FF2B5EF4-FFF2-40B4-BE49-F238E27FC236}">
                  <a16:creationId xmlns:a16="http://schemas.microsoft.com/office/drawing/2014/main" id="{CBD726BD-6B7A-47AC-A44D-D9BC06E5A0D3}"/>
                </a:ext>
              </a:extLst>
            </p:cNvPr>
            <p:cNvSpPr>
              <a:spLocks/>
            </p:cNvSpPr>
            <p:nvPr/>
          </p:nvSpPr>
          <p:spPr bwMode="auto">
            <a:xfrm>
              <a:off x="8062142" y="5732418"/>
              <a:ext cx="26833" cy="14123"/>
            </a:xfrm>
            <a:custGeom>
              <a:avLst/>
              <a:gdLst>
                <a:gd name="T0" fmla="*/ 4 w 8"/>
                <a:gd name="T1" fmla="*/ 0 h 4"/>
                <a:gd name="T2" fmla="*/ 0 w 8"/>
                <a:gd name="T3" fmla="*/ 4 h 4"/>
                <a:gd name="T4" fmla="*/ 8 w 8"/>
                <a:gd name="T5" fmla="*/ 2 h 4"/>
                <a:gd name="T6" fmla="*/ 4 w 8"/>
                <a:gd name="T7" fmla="*/ 0 h 4"/>
              </a:gdLst>
              <a:ahLst/>
              <a:cxnLst>
                <a:cxn ang="0">
                  <a:pos x="T0" y="T1"/>
                </a:cxn>
                <a:cxn ang="0">
                  <a:pos x="T2" y="T3"/>
                </a:cxn>
                <a:cxn ang="0">
                  <a:pos x="T4" y="T5"/>
                </a:cxn>
                <a:cxn ang="0">
                  <a:pos x="T6" y="T7"/>
                </a:cxn>
              </a:cxnLst>
              <a:rect l="0" t="0" r="r" b="b"/>
              <a:pathLst>
                <a:path w="8" h="4">
                  <a:moveTo>
                    <a:pt x="4" y="0"/>
                  </a:moveTo>
                  <a:cubicBezTo>
                    <a:pt x="2" y="0"/>
                    <a:pt x="1" y="2"/>
                    <a:pt x="0" y="4"/>
                  </a:cubicBezTo>
                  <a:cubicBezTo>
                    <a:pt x="2" y="3"/>
                    <a:pt x="5" y="4"/>
                    <a:pt x="8"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9" name="Freeform 169">
              <a:extLst>
                <a:ext uri="{FF2B5EF4-FFF2-40B4-BE49-F238E27FC236}">
                  <a16:creationId xmlns:a16="http://schemas.microsoft.com/office/drawing/2014/main" id="{1A78DA5E-D421-4A93-916F-D99498DCD6B6}"/>
                </a:ext>
              </a:extLst>
            </p:cNvPr>
            <p:cNvSpPr>
              <a:spLocks/>
            </p:cNvSpPr>
            <p:nvPr/>
          </p:nvSpPr>
          <p:spPr bwMode="auto">
            <a:xfrm>
              <a:off x="7985879" y="6043118"/>
              <a:ext cx="32482" cy="36719"/>
            </a:xfrm>
            <a:custGeom>
              <a:avLst/>
              <a:gdLst>
                <a:gd name="T0" fmla="*/ 0 w 10"/>
                <a:gd name="T1" fmla="*/ 0 h 11"/>
                <a:gd name="T2" fmla="*/ 0 w 10"/>
                <a:gd name="T3" fmla="*/ 0 h 11"/>
                <a:gd name="T4" fmla="*/ 5 w 10"/>
                <a:gd name="T5" fmla="*/ 11 h 11"/>
                <a:gd name="T6" fmla="*/ 10 w 10"/>
                <a:gd name="T7" fmla="*/ 4 h 11"/>
                <a:gd name="T8" fmla="*/ 8 w 10"/>
                <a:gd name="T9" fmla="*/ 5 h 11"/>
                <a:gd name="T10" fmla="*/ 5 w 10"/>
                <a:gd name="T11" fmla="*/ 1 h 11"/>
                <a:gd name="T12" fmla="*/ 0 w 10"/>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0" y="0"/>
                  </a:moveTo>
                  <a:cubicBezTo>
                    <a:pt x="0" y="0"/>
                    <a:pt x="0" y="0"/>
                    <a:pt x="0" y="0"/>
                  </a:cubicBezTo>
                  <a:cubicBezTo>
                    <a:pt x="1" y="5"/>
                    <a:pt x="3" y="7"/>
                    <a:pt x="5" y="11"/>
                  </a:cubicBezTo>
                  <a:cubicBezTo>
                    <a:pt x="7" y="9"/>
                    <a:pt x="9" y="6"/>
                    <a:pt x="10" y="4"/>
                  </a:cubicBezTo>
                  <a:cubicBezTo>
                    <a:pt x="10" y="4"/>
                    <a:pt x="9" y="5"/>
                    <a:pt x="8" y="5"/>
                  </a:cubicBezTo>
                  <a:cubicBezTo>
                    <a:pt x="8" y="3"/>
                    <a:pt x="7" y="2"/>
                    <a:pt x="5"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0" name="Freeform 170">
              <a:extLst>
                <a:ext uri="{FF2B5EF4-FFF2-40B4-BE49-F238E27FC236}">
                  <a16:creationId xmlns:a16="http://schemas.microsoft.com/office/drawing/2014/main" id="{3E519E26-701A-4554-B4D7-8F98BEFBA598}"/>
                </a:ext>
              </a:extLst>
            </p:cNvPr>
            <p:cNvSpPr>
              <a:spLocks/>
            </p:cNvSpPr>
            <p:nvPr/>
          </p:nvSpPr>
          <p:spPr bwMode="auto">
            <a:xfrm>
              <a:off x="7954809" y="6136328"/>
              <a:ext cx="31070" cy="26833"/>
            </a:xfrm>
            <a:custGeom>
              <a:avLst/>
              <a:gdLst>
                <a:gd name="T0" fmla="*/ 7 w 9"/>
                <a:gd name="T1" fmla="*/ 0 h 8"/>
                <a:gd name="T2" fmla="*/ 1 w 9"/>
                <a:gd name="T3" fmla="*/ 4 h 8"/>
                <a:gd name="T4" fmla="*/ 3 w 9"/>
                <a:gd name="T5" fmla="*/ 8 h 8"/>
                <a:gd name="T6" fmla="*/ 5 w 9"/>
                <a:gd name="T7" fmla="*/ 4 h 8"/>
                <a:gd name="T8" fmla="*/ 5 w 9"/>
                <a:gd name="T9" fmla="*/ 4 h 8"/>
                <a:gd name="T10" fmla="*/ 6 w 9"/>
                <a:gd name="T11" fmla="*/ 4 h 8"/>
                <a:gd name="T12" fmla="*/ 7 w 9"/>
                <a:gd name="T13" fmla="*/ 4 h 8"/>
                <a:gd name="T14" fmla="*/ 7 w 9"/>
                <a:gd name="T15" fmla="*/ 4 h 8"/>
                <a:gd name="T16" fmla="*/ 7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7" y="0"/>
                  </a:moveTo>
                  <a:cubicBezTo>
                    <a:pt x="5" y="1"/>
                    <a:pt x="3" y="2"/>
                    <a:pt x="1" y="4"/>
                  </a:cubicBezTo>
                  <a:cubicBezTo>
                    <a:pt x="0" y="6"/>
                    <a:pt x="0" y="6"/>
                    <a:pt x="3" y="8"/>
                  </a:cubicBezTo>
                  <a:cubicBezTo>
                    <a:pt x="3" y="7"/>
                    <a:pt x="4" y="5"/>
                    <a:pt x="5" y="4"/>
                  </a:cubicBezTo>
                  <a:cubicBezTo>
                    <a:pt x="5" y="4"/>
                    <a:pt x="5" y="4"/>
                    <a:pt x="5" y="4"/>
                  </a:cubicBezTo>
                  <a:cubicBezTo>
                    <a:pt x="6" y="4"/>
                    <a:pt x="6" y="4"/>
                    <a:pt x="6" y="4"/>
                  </a:cubicBezTo>
                  <a:cubicBezTo>
                    <a:pt x="6" y="4"/>
                    <a:pt x="6" y="4"/>
                    <a:pt x="7" y="4"/>
                  </a:cubicBezTo>
                  <a:cubicBezTo>
                    <a:pt x="7" y="4"/>
                    <a:pt x="7" y="4"/>
                    <a:pt x="7" y="4"/>
                  </a:cubicBezTo>
                  <a:cubicBezTo>
                    <a:pt x="9" y="2"/>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1" name="Freeform 171">
              <a:extLst>
                <a:ext uri="{FF2B5EF4-FFF2-40B4-BE49-F238E27FC236}">
                  <a16:creationId xmlns:a16="http://schemas.microsoft.com/office/drawing/2014/main" id="{550C2843-48EC-49C0-91BD-72B493A66646}"/>
                </a:ext>
              </a:extLst>
            </p:cNvPr>
            <p:cNvSpPr>
              <a:spLocks/>
            </p:cNvSpPr>
            <p:nvPr/>
          </p:nvSpPr>
          <p:spPr bwMode="auto">
            <a:xfrm>
              <a:off x="8042370" y="5715471"/>
              <a:ext cx="9886" cy="16947"/>
            </a:xfrm>
            <a:custGeom>
              <a:avLst/>
              <a:gdLst>
                <a:gd name="T0" fmla="*/ 1 w 3"/>
                <a:gd name="T1" fmla="*/ 0 h 5"/>
                <a:gd name="T2" fmla="*/ 0 w 3"/>
                <a:gd name="T3" fmla="*/ 1 h 5"/>
                <a:gd name="T4" fmla="*/ 3 w 3"/>
                <a:gd name="T5" fmla="*/ 5 h 5"/>
                <a:gd name="T6" fmla="*/ 1 w 3"/>
                <a:gd name="T7" fmla="*/ 0 h 5"/>
              </a:gdLst>
              <a:ahLst/>
              <a:cxnLst>
                <a:cxn ang="0">
                  <a:pos x="T0" y="T1"/>
                </a:cxn>
                <a:cxn ang="0">
                  <a:pos x="T2" y="T3"/>
                </a:cxn>
                <a:cxn ang="0">
                  <a:pos x="T4" y="T5"/>
                </a:cxn>
                <a:cxn ang="0">
                  <a:pos x="T6" y="T7"/>
                </a:cxn>
              </a:cxnLst>
              <a:rect l="0" t="0" r="r" b="b"/>
              <a:pathLst>
                <a:path w="3" h="5">
                  <a:moveTo>
                    <a:pt x="1" y="0"/>
                  </a:moveTo>
                  <a:cubicBezTo>
                    <a:pt x="1" y="0"/>
                    <a:pt x="1" y="1"/>
                    <a:pt x="0" y="1"/>
                  </a:cubicBezTo>
                  <a:cubicBezTo>
                    <a:pt x="1" y="2"/>
                    <a:pt x="2" y="3"/>
                    <a:pt x="3" y="5"/>
                  </a:cubicBezTo>
                  <a:cubicBezTo>
                    <a:pt x="3"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2" name="Freeform 172">
              <a:extLst>
                <a:ext uri="{FF2B5EF4-FFF2-40B4-BE49-F238E27FC236}">
                  <a16:creationId xmlns:a16="http://schemas.microsoft.com/office/drawing/2014/main" id="{B506AD6F-5F4C-4116-B11D-86E2CFDAB640}"/>
                </a:ext>
              </a:extLst>
            </p:cNvPr>
            <p:cNvSpPr>
              <a:spLocks/>
            </p:cNvSpPr>
            <p:nvPr/>
          </p:nvSpPr>
          <p:spPr bwMode="auto">
            <a:xfrm>
              <a:off x="8399674" y="6745018"/>
              <a:ext cx="56491" cy="15535"/>
            </a:xfrm>
            <a:custGeom>
              <a:avLst/>
              <a:gdLst>
                <a:gd name="T0" fmla="*/ 5 w 17"/>
                <a:gd name="T1" fmla="*/ 0 h 5"/>
                <a:gd name="T2" fmla="*/ 0 w 17"/>
                <a:gd name="T3" fmla="*/ 5 h 5"/>
                <a:gd name="T4" fmla="*/ 10 w 17"/>
                <a:gd name="T5" fmla="*/ 4 h 5"/>
                <a:gd name="T6" fmla="*/ 17 w 17"/>
                <a:gd name="T7" fmla="*/ 3 h 5"/>
                <a:gd name="T8" fmla="*/ 6 w 17"/>
                <a:gd name="T9" fmla="*/ 0 h 5"/>
                <a:gd name="T10" fmla="*/ 5 w 17"/>
                <a:gd name="T11" fmla="*/ 0 h 5"/>
              </a:gdLst>
              <a:ahLst/>
              <a:cxnLst>
                <a:cxn ang="0">
                  <a:pos x="T0" y="T1"/>
                </a:cxn>
                <a:cxn ang="0">
                  <a:pos x="T2" y="T3"/>
                </a:cxn>
                <a:cxn ang="0">
                  <a:pos x="T4" y="T5"/>
                </a:cxn>
                <a:cxn ang="0">
                  <a:pos x="T6" y="T7"/>
                </a:cxn>
                <a:cxn ang="0">
                  <a:pos x="T8" y="T9"/>
                </a:cxn>
                <a:cxn ang="0">
                  <a:pos x="T10" y="T11"/>
                </a:cxn>
              </a:cxnLst>
              <a:rect l="0" t="0" r="r" b="b"/>
              <a:pathLst>
                <a:path w="17" h="5">
                  <a:moveTo>
                    <a:pt x="5" y="0"/>
                  </a:moveTo>
                  <a:cubicBezTo>
                    <a:pt x="2" y="0"/>
                    <a:pt x="1" y="2"/>
                    <a:pt x="0" y="5"/>
                  </a:cubicBezTo>
                  <a:cubicBezTo>
                    <a:pt x="2" y="4"/>
                    <a:pt x="7" y="5"/>
                    <a:pt x="10" y="4"/>
                  </a:cubicBezTo>
                  <a:cubicBezTo>
                    <a:pt x="11" y="4"/>
                    <a:pt x="14" y="3"/>
                    <a:pt x="17" y="3"/>
                  </a:cubicBezTo>
                  <a:cubicBezTo>
                    <a:pt x="14" y="2"/>
                    <a:pt x="10"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3" name="Freeform 173">
              <a:extLst>
                <a:ext uri="{FF2B5EF4-FFF2-40B4-BE49-F238E27FC236}">
                  <a16:creationId xmlns:a16="http://schemas.microsoft.com/office/drawing/2014/main" id="{3B277ECA-ED50-4BE8-9345-8993B338D66C}"/>
                </a:ext>
              </a:extLst>
            </p:cNvPr>
            <p:cNvSpPr>
              <a:spLocks/>
            </p:cNvSpPr>
            <p:nvPr/>
          </p:nvSpPr>
          <p:spPr bwMode="auto">
            <a:xfrm>
              <a:off x="7995765" y="6413134"/>
              <a:ext cx="12710" cy="16947"/>
            </a:xfrm>
            <a:custGeom>
              <a:avLst/>
              <a:gdLst>
                <a:gd name="T0" fmla="*/ 4 w 4"/>
                <a:gd name="T1" fmla="*/ 0 h 5"/>
                <a:gd name="T2" fmla="*/ 0 w 4"/>
                <a:gd name="T3" fmla="*/ 5 h 5"/>
                <a:gd name="T4" fmla="*/ 4 w 4"/>
                <a:gd name="T5" fmla="*/ 0 h 5"/>
              </a:gdLst>
              <a:ahLst/>
              <a:cxnLst>
                <a:cxn ang="0">
                  <a:pos x="T0" y="T1"/>
                </a:cxn>
                <a:cxn ang="0">
                  <a:pos x="T2" y="T3"/>
                </a:cxn>
                <a:cxn ang="0">
                  <a:pos x="T4" y="T5"/>
                </a:cxn>
              </a:cxnLst>
              <a:rect l="0" t="0" r="r" b="b"/>
              <a:pathLst>
                <a:path w="4" h="5">
                  <a:moveTo>
                    <a:pt x="4" y="0"/>
                  </a:moveTo>
                  <a:cubicBezTo>
                    <a:pt x="2" y="1"/>
                    <a:pt x="1" y="3"/>
                    <a:pt x="0" y="5"/>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4" name="Freeform 174">
              <a:extLst>
                <a:ext uri="{FF2B5EF4-FFF2-40B4-BE49-F238E27FC236}">
                  <a16:creationId xmlns:a16="http://schemas.microsoft.com/office/drawing/2014/main" id="{8682CFD3-6B07-4A66-96E4-9CB59963ECF5}"/>
                </a:ext>
              </a:extLst>
            </p:cNvPr>
            <p:cNvSpPr>
              <a:spLocks/>
            </p:cNvSpPr>
            <p:nvPr/>
          </p:nvSpPr>
          <p:spPr bwMode="auto">
            <a:xfrm>
              <a:off x="8231614" y="6718185"/>
              <a:ext cx="7061" cy="12710"/>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0"/>
                    <a:pt x="0" y="2"/>
                    <a:pt x="2" y="4"/>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5" name="Freeform 175">
              <a:extLst>
                <a:ext uri="{FF2B5EF4-FFF2-40B4-BE49-F238E27FC236}">
                  <a16:creationId xmlns:a16="http://schemas.microsoft.com/office/drawing/2014/main" id="{8D22B7A5-FE00-4977-9FC1-BBFCCBDF31A5}"/>
                </a:ext>
              </a:extLst>
            </p:cNvPr>
            <p:cNvSpPr>
              <a:spLocks/>
            </p:cNvSpPr>
            <p:nvPr/>
          </p:nvSpPr>
          <p:spPr bwMode="auto">
            <a:xfrm>
              <a:off x="8125694" y="6654633"/>
              <a:ext cx="16947" cy="9886"/>
            </a:xfrm>
            <a:custGeom>
              <a:avLst/>
              <a:gdLst>
                <a:gd name="T0" fmla="*/ 2 w 5"/>
                <a:gd name="T1" fmla="*/ 0 h 3"/>
                <a:gd name="T2" fmla="*/ 0 w 5"/>
                <a:gd name="T3" fmla="*/ 1 h 3"/>
                <a:gd name="T4" fmla="*/ 5 w 5"/>
                <a:gd name="T5" fmla="*/ 3 h 3"/>
                <a:gd name="T6" fmla="*/ 2 w 5"/>
                <a:gd name="T7" fmla="*/ 0 h 3"/>
              </a:gdLst>
              <a:ahLst/>
              <a:cxnLst>
                <a:cxn ang="0">
                  <a:pos x="T0" y="T1"/>
                </a:cxn>
                <a:cxn ang="0">
                  <a:pos x="T2" y="T3"/>
                </a:cxn>
                <a:cxn ang="0">
                  <a:pos x="T4" y="T5"/>
                </a:cxn>
                <a:cxn ang="0">
                  <a:pos x="T6" y="T7"/>
                </a:cxn>
              </a:cxnLst>
              <a:rect l="0" t="0" r="r" b="b"/>
              <a:pathLst>
                <a:path w="5" h="3">
                  <a:moveTo>
                    <a:pt x="2" y="0"/>
                  </a:moveTo>
                  <a:cubicBezTo>
                    <a:pt x="1" y="0"/>
                    <a:pt x="1" y="0"/>
                    <a:pt x="0" y="1"/>
                  </a:cubicBezTo>
                  <a:cubicBezTo>
                    <a:pt x="1" y="2"/>
                    <a:pt x="3" y="2"/>
                    <a:pt x="5"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6" name="Freeform 176">
              <a:extLst>
                <a:ext uri="{FF2B5EF4-FFF2-40B4-BE49-F238E27FC236}">
                  <a16:creationId xmlns:a16="http://schemas.microsoft.com/office/drawing/2014/main" id="{DBD64366-DE03-4950-A8EE-1A1A0CC3B471}"/>
                </a:ext>
              </a:extLst>
            </p:cNvPr>
            <p:cNvSpPr>
              <a:spLocks/>
            </p:cNvSpPr>
            <p:nvPr/>
          </p:nvSpPr>
          <p:spPr bwMode="auto">
            <a:xfrm>
              <a:off x="8005651" y="6302977"/>
              <a:ext cx="22596" cy="24009"/>
            </a:xfrm>
            <a:custGeom>
              <a:avLst/>
              <a:gdLst>
                <a:gd name="T0" fmla="*/ 3 w 7"/>
                <a:gd name="T1" fmla="*/ 0 h 7"/>
                <a:gd name="T2" fmla="*/ 2 w 7"/>
                <a:gd name="T3" fmla="*/ 1 h 7"/>
                <a:gd name="T4" fmla="*/ 7 w 7"/>
                <a:gd name="T5" fmla="*/ 7 h 7"/>
                <a:gd name="T6" fmla="*/ 6 w 7"/>
                <a:gd name="T7" fmla="*/ 3 h 7"/>
                <a:gd name="T8" fmla="*/ 5 w 7"/>
                <a:gd name="T9" fmla="*/ 1 h 7"/>
                <a:gd name="T10" fmla="*/ 3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3" y="0"/>
                  </a:moveTo>
                  <a:cubicBezTo>
                    <a:pt x="3" y="0"/>
                    <a:pt x="2" y="0"/>
                    <a:pt x="2" y="1"/>
                  </a:cubicBezTo>
                  <a:cubicBezTo>
                    <a:pt x="0" y="3"/>
                    <a:pt x="5" y="6"/>
                    <a:pt x="7" y="7"/>
                  </a:cubicBezTo>
                  <a:cubicBezTo>
                    <a:pt x="5" y="4"/>
                    <a:pt x="6" y="5"/>
                    <a:pt x="6" y="3"/>
                  </a:cubicBezTo>
                  <a:cubicBezTo>
                    <a:pt x="5" y="1"/>
                    <a:pt x="6"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7" name="Freeform 177">
              <a:extLst>
                <a:ext uri="{FF2B5EF4-FFF2-40B4-BE49-F238E27FC236}">
                  <a16:creationId xmlns:a16="http://schemas.microsoft.com/office/drawing/2014/main" id="{6D607092-FF97-4B42-B831-61D5E3FABCB8}"/>
                </a:ext>
              </a:extLst>
            </p:cNvPr>
            <p:cNvSpPr>
              <a:spLocks/>
            </p:cNvSpPr>
            <p:nvPr/>
          </p:nvSpPr>
          <p:spPr bwMode="auto">
            <a:xfrm>
              <a:off x="8069203" y="5786084"/>
              <a:ext cx="32482" cy="12710"/>
            </a:xfrm>
            <a:custGeom>
              <a:avLst/>
              <a:gdLst>
                <a:gd name="T0" fmla="*/ 3 w 10"/>
                <a:gd name="T1" fmla="*/ 0 h 4"/>
                <a:gd name="T2" fmla="*/ 2 w 10"/>
                <a:gd name="T3" fmla="*/ 1 h 4"/>
                <a:gd name="T4" fmla="*/ 2 w 10"/>
                <a:gd name="T5" fmla="*/ 4 h 4"/>
                <a:gd name="T6" fmla="*/ 2 w 10"/>
                <a:gd name="T7" fmla="*/ 4 h 4"/>
                <a:gd name="T8" fmla="*/ 4 w 10"/>
                <a:gd name="T9" fmla="*/ 3 h 4"/>
                <a:gd name="T10" fmla="*/ 5 w 10"/>
                <a:gd name="T11" fmla="*/ 3 h 4"/>
                <a:gd name="T12" fmla="*/ 6 w 10"/>
                <a:gd name="T13" fmla="*/ 3 h 4"/>
                <a:gd name="T14" fmla="*/ 7 w 10"/>
                <a:gd name="T15" fmla="*/ 3 h 4"/>
                <a:gd name="T16" fmla="*/ 4 w 10"/>
                <a:gd name="T17" fmla="*/ 0 h 4"/>
                <a:gd name="T18" fmla="*/ 4 w 10"/>
                <a:gd name="T19" fmla="*/ 0 h 4"/>
                <a:gd name="T20" fmla="*/ 4 w 10"/>
                <a:gd name="T21" fmla="*/ 0 h 4"/>
                <a:gd name="T22" fmla="*/ 4 w 10"/>
                <a:gd name="T23" fmla="*/ 0 h 4"/>
                <a:gd name="T24" fmla="*/ 3 w 10"/>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4">
                  <a:moveTo>
                    <a:pt x="3" y="0"/>
                  </a:moveTo>
                  <a:cubicBezTo>
                    <a:pt x="3" y="0"/>
                    <a:pt x="2" y="0"/>
                    <a:pt x="2" y="1"/>
                  </a:cubicBezTo>
                  <a:cubicBezTo>
                    <a:pt x="1" y="2"/>
                    <a:pt x="0" y="4"/>
                    <a:pt x="2" y="4"/>
                  </a:cubicBezTo>
                  <a:cubicBezTo>
                    <a:pt x="2" y="4"/>
                    <a:pt x="2" y="4"/>
                    <a:pt x="2" y="4"/>
                  </a:cubicBezTo>
                  <a:cubicBezTo>
                    <a:pt x="3" y="3"/>
                    <a:pt x="3" y="3"/>
                    <a:pt x="4" y="3"/>
                  </a:cubicBezTo>
                  <a:cubicBezTo>
                    <a:pt x="4" y="3"/>
                    <a:pt x="5" y="3"/>
                    <a:pt x="5" y="3"/>
                  </a:cubicBezTo>
                  <a:cubicBezTo>
                    <a:pt x="5" y="3"/>
                    <a:pt x="6" y="3"/>
                    <a:pt x="6" y="3"/>
                  </a:cubicBezTo>
                  <a:cubicBezTo>
                    <a:pt x="6" y="3"/>
                    <a:pt x="7" y="3"/>
                    <a:pt x="7" y="3"/>
                  </a:cubicBezTo>
                  <a:cubicBezTo>
                    <a:pt x="10" y="3"/>
                    <a:pt x="6" y="0"/>
                    <a:pt x="4" y="0"/>
                  </a:cubicBezTo>
                  <a:cubicBezTo>
                    <a:pt x="4" y="0"/>
                    <a:pt x="4" y="0"/>
                    <a:pt x="4" y="0"/>
                  </a:cubicBezTo>
                  <a:cubicBezTo>
                    <a:pt x="4" y="0"/>
                    <a:pt x="4" y="0"/>
                    <a:pt x="4" y="0"/>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8" name="Freeform 178">
              <a:extLst>
                <a:ext uri="{FF2B5EF4-FFF2-40B4-BE49-F238E27FC236}">
                  <a16:creationId xmlns:a16="http://schemas.microsoft.com/office/drawing/2014/main" id="{44318001-B8BC-4AC6-BCC7-BF3A16EDFE9D}"/>
                </a:ext>
              </a:extLst>
            </p:cNvPr>
            <p:cNvSpPr>
              <a:spLocks/>
            </p:cNvSpPr>
            <p:nvPr/>
          </p:nvSpPr>
          <p:spPr bwMode="auto">
            <a:xfrm>
              <a:off x="8615751" y="6843877"/>
              <a:ext cx="0" cy="14123"/>
            </a:xfrm>
            <a:custGeom>
              <a:avLst/>
              <a:gdLst>
                <a:gd name="T0" fmla="*/ 0 h 4"/>
                <a:gd name="T1" fmla="*/ 4 h 4"/>
                <a:gd name="T2" fmla="*/ 0 h 4"/>
              </a:gdLst>
              <a:ahLst/>
              <a:cxnLst>
                <a:cxn ang="0">
                  <a:pos x="0" y="T0"/>
                </a:cxn>
                <a:cxn ang="0">
                  <a:pos x="0" y="T1"/>
                </a:cxn>
                <a:cxn ang="0">
                  <a:pos x="0" y="T2"/>
                </a:cxn>
              </a:cxnLst>
              <a:rect l="0" t="0" r="r" b="b"/>
              <a:pathLst>
                <a:path h="4">
                  <a:moveTo>
                    <a:pt x="0" y="0"/>
                  </a:moveTo>
                  <a:cubicBezTo>
                    <a:pt x="0" y="1"/>
                    <a:pt x="0" y="3"/>
                    <a:pt x="0" y="4"/>
                  </a:cubicBezTo>
                  <a:cubicBezTo>
                    <a:pt x="0" y="3"/>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9" name="Freeform 179">
              <a:extLst>
                <a:ext uri="{FF2B5EF4-FFF2-40B4-BE49-F238E27FC236}">
                  <a16:creationId xmlns:a16="http://schemas.microsoft.com/office/drawing/2014/main" id="{EF6F35F4-CFD0-4EDA-9D1D-5908A62CFF48}"/>
                </a:ext>
              </a:extLst>
            </p:cNvPr>
            <p:cNvSpPr>
              <a:spLocks/>
            </p:cNvSpPr>
            <p:nvPr/>
          </p:nvSpPr>
          <p:spPr bwMode="auto">
            <a:xfrm>
              <a:off x="8032484" y="5709822"/>
              <a:ext cx="12710" cy="5649"/>
            </a:xfrm>
            <a:custGeom>
              <a:avLst/>
              <a:gdLst>
                <a:gd name="T0" fmla="*/ 1 w 4"/>
                <a:gd name="T1" fmla="*/ 0 h 2"/>
                <a:gd name="T2" fmla="*/ 0 w 4"/>
                <a:gd name="T3" fmla="*/ 1 h 2"/>
                <a:gd name="T4" fmla="*/ 4 w 4"/>
                <a:gd name="T5" fmla="*/ 2 h 2"/>
                <a:gd name="T6" fmla="*/ 1 w 4"/>
                <a:gd name="T7" fmla="*/ 0 h 2"/>
              </a:gdLst>
              <a:ahLst/>
              <a:cxnLst>
                <a:cxn ang="0">
                  <a:pos x="T0" y="T1"/>
                </a:cxn>
                <a:cxn ang="0">
                  <a:pos x="T2" y="T3"/>
                </a:cxn>
                <a:cxn ang="0">
                  <a:pos x="T4" y="T5"/>
                </a:cxn>
                <a:cxn ang="0">
                  <a:pos x="T6" y="T7"/>
                </a:cxn>
              </a:cxnLst>
              <a:rect l="0" t="0" r="r" b="b"/>
              <a:pathLst>
                <a:path w="4" h="2">
                  <a:moveTo>
                    <a:pt x="1" y="0"/>
                  </a:moveTo>
                  <a:cubicBezTo>
                    <a:pt x="1" y="0"/>
                    <a:pt x="0" y="0"/>
                    <a:pt x="0" y="1"/>
                  </a:cubicBezTo>
                  <a:cubicBezTo>
                    <a:pt x="1"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0" name="Freeform 180">
              <a:extLst>
                <a:ext uri="{FF2B5EF4-FFF2-40B4-BE49-F238E27FC236}">
                  <a16:creationId xmlns:a16="http://schemas.microsoft.com/office/drawing/2014/main" id="{905E1623-7A93-4F7D-A3B1-976D7331320A}"/>
                </a:ext>
              </a:extLst>
            </p:cNvPr>
            <p:cNvSpPr>
              <a:spLocks/>
            </p:cNvSpPr>
            <p:nvPr/>
          </p:nvSpPr>
          <p:spPr bwMode="auto">
            <a:xfrm>
              <a:off x="8045194" y="6410309"/>
              <a:ext cx="36719" cy="26833"/>
            </a:xfrm>
            <a:custGeom>
              <a:avLst/>
              <a:gdLst>
                <a:gd name="T0" fmla="*/ 0 w 11"/>
                <a:gd name="T1" fmla="*/ 0 h 8"/>
                <a:gd name="T2" fmla="*/ 7 w 11"/>
                <a:gd name="T3" fmla="*/ 8 h 8"/>
                <a:gd name="T4" fmla="*/ 4 w 11"/>
                <a:gd name="T5" fmla="*/ 3 h 8"/>
                <a:gd name="T6" fmla="*/ 0 w 11"/>
                <a:gd name="T7" fmla="*/ 0 h 8"/>
              </a:gdLst>
              <a:ahLst/>
              <a:cxnLst>
                <a:cxn ang="0">
                  <a:pos x="T0" y="T1"/>
                </a:cxn>
                <a:cxn ang="0">
                  <a:pos x="T2" y="T3"/>
                </a:cxn>
                <a:cxn ang="0">
                  <a:pos x="T4" y="T5"/>
                </a:cxn>
                <a:cxn ang="0">
                  <a:pos x="T6" y="T7"/>
                </a:cxn>
              </a:cxnLst>
              <a:rect l="0" t="0" r="r" b="b"/>
              <a:pathLst>
                <a:path w="11" h="8">
                  <a:moveTo>
                    <a:pt x="0" y="0"/>
                  </a:moveTo>
                  <a:cubicBezTo>
                    <a:pt x="2" y="3"/>
                    <a:pt x="5" y="5"/>
                    <a:pt x="7" y="8"/>
                  </a:cubicBezTo>
                  <a:cubicBezTo>
                    <a:pt x="11" y="5"/>
                    <a:pt x="5" y="4"/>
                    <a:pt x="4" y="3"/>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1" name="Freeform 181">
              <a:extLst>
                <a:ext uri="{FF2B5EF4-FFF2-40B4-BE49-F238E27FC236}">
                  <a16:creationId xmlns:a16="http://schemas.microsoft.com/office/drawing/2014/main" id="{541FABD0-F8A2-4C72-8193-E86A6180E093}"/>
                </a:ext>
              </a:extLst>
            </p:cNvPr>
            <p:cNvSpPr>
              <a:spLocks/>
            </p:cNvSpPr>
            <p:nvPr/>
          </p:nvSpPr>
          <p:spPr bwMode="auto">
            <a:xfrm>
              <a:off x="8559261" y="6848114"/>
              <a:ext cx="19772" cy="0"/>
            </a:xfrm>
            <a:custGeom>
              <a:avLst/>
              <a:gdLst>
                <a:gd name="T0" fmla="*/ 2 w 6"/>
                <a:gd name="T1" fmla="*/ 0 w 6"/>
                <a:gd name="T2" fmla="*/ 1 w 6"/>
                <a:gd name="T3" fmla="*/ 6 w 6"/>
                <a:gd name="T4" fmla="*/ 2 w 6"/>
              </a:gdLst>
              <a:ahLst/>
              <a:cxnLst>
                <a:cxn ang="0">
                  <a:pos x="T0" y="0"/>
                </a:cxn>
                <a:cxn ang="0">
                  <a:pos x="T1" y="0"/>
                </a:cxn>
                <a:cxn ang="0">
                  <a:pos x="T2" y="0"/>
                </a:cxn>
                <a:cxn ang="0">
                  <a:pos x="T3" y="0"/>
                </a:cxn>
                <a:cxn ang="0">
                  <a:pos x="T4" y="0"/>
                </a:cxn>
              </a:cxnLst>
              <a:rect l="0" t="0" r="r" b="b"/>
              <a:pathLst>
                <a:path w="6">
                  <a:moveTo>
                    <a:pt x="2" y="0"/>
                  </a:moveTo>
                  <a:cubicBezTo>
                    <a:pt x="1" y="0"/>
                    <a:pt x="0" y="0"/>
                    <a:pt x="0" y="0"/>
                  </a:cubicBezTo>
                  <a:cubicBezTo>
                    <a:pt x="0" y="0"/>
                    <a:pt x="1" y="0"/>
                    <a:pt x="1" y="0"/>
                  </a:cubicBezTo>
                  <a:cubicBezTo>
                    <a:pt x="3" y="0"/>
                    <a:pt x="4" y="0"/>
                    <a:pt x="6" y="0"/>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2" name="Freeform 182">
              <a:extLst>
                <a:ext uri="{FF2B5EF4-FFF2-40B4-BE49-F238E27FC236}">
                  <a16:creationId xmlns:a16="http://schemas.microsoft.com/office/drawing/2014/main" id="{DA7825C2-2F8B-4C74-A2C5-C7EBE001CAAC}"/>
                </a:ext>
              </a:extLst>
            </p:cNvPr>
            <p:cNvSpPr>
              <a:spLocks/>
            </p:cNvSpPr>
            <p:nvPr/>
          </p:nvSpPr>
          <p:spPr bwMode="auto">
            <a:xfrm>
              <a:off x="8194895" y="6687115"/>
              <a:ext cx="21184" cy="9886"/>
            </a:xfrm>
            <a:custGeom>
              <a:avLst/>
              <a:gdLst>
                <a:gd name="T0" fmla="*/ 2 w 6"/>
                <a:gd name="T1" fmla="*/ 0 h 3"/>
                <a:gd name="T2" fmla="*/ 2 w 6"/>
                <a:gd name="T3" fmla="*/ 3 h 3"/>
                <a:gd name="T4" fmla="*/ 4 w 6"/>
                <a:gd name="T5" fmla="*/ 0 h 3"/>
                <a:gd name="T6" fmla="*/ 5 w 6"/>
                <a:gd name="T7" fmla="*/ 0 h 3"/>
                <a:gd name="T8" fmla="*/ 5 w 6"/>
                <a:gd name="T9" fmla="*/ 0 h 3"/>
                <a:gd name="T10" fmla="*/ 2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2" y="0"/>
                  </a:moveTo>
                  <a:cubicBezTo>
                    <a:pt x="1" y="0"/>
                    <a:pt x="0" y="0"/>
                    <a:pt x="2" y="3"/>
                  </a:cubicBezTo>
                  <a:cubicBezTo>
                    <a:pt x="3" y="2"/>
                    <a:pt x="4" y="1"/>
                    <a:pt x="4" y="0"/>
                  </a:cubicBezTo>
                  <a:cubicBezTo>
                    <a:pt x="4" y="0"/>
                    <a:pt x="5" y="0"/>
                    <a:pt x="5" y="0"/>
                  </a:cubicBezTo>
                  <a:cubicBezTo>
                    <a:pt x="6" y="0"/>
                    <a:pt x="6"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3" name="Freeform 183">
              <a:extLst>
                <a:ext uri="{FF2B5EF4-FFF2-40B4-BE49-F238E27FC236}">
                  <a16:creationId xmlns:a16="http://schemas.microsoft.com/office/drawing/2014/main" id="{0E940457-F7D9-465A-AD71-044C30D346FD}"/>
                </a:ext>
              </a:extLst>
            </p:cNvPr>
            <p:cNvSpPr>
              <a:spLocks noEditPoints="1"/>
            </p:cNvSpPr>
            <p:nvPr/>
          </p:nvSpPr>
          <p:spPr bwMode="auto">
            <a:xfrm>
              <a:off x="8655295" y="6781737"/>
              <a:ext cx="11298" cy="5649"/>
            </a:xfrm>
            <a:custGeom>
              <a:avLst/>
              <a:gdLst>
                <a:gd name="T0" fmla="*/ 1 w 3"/>
                <a:gd name="T1" fmla="*/ 2 h 2"/>
                <a:gd name="T2" fmla="*/ 0 w 3"/>
                <a:gd name="T3" fmla="*/ 2 h 2"/>
                <a:gd name="T4" fmla="*/ 1 w 3"/>
                <a:gd name="T5" fmla="*/ 2 h 2"/>
                <a:gd name="T6" fmla="*/ 3 w 3"/>
                <a:gd name="T7" fmla="*/ 0 h 2"/>
                <a:gd name="T8" fmla="*/ 1 w 3"/>
                <a:gd name="T9" fmla="*/ 2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2"/>
                  </a:moveTo>
                  <a:cubicBezTo>
                    <a:pt x="1" y="2"/>
                    <a:pt x="0" y="2"/>
                    <a:pt x="0" y="2"/>
                  </a:cubicBezTo>
                  <a:cubicBezTo>
                    <a:pt x="0" y="2"/>
                    <a:pt x="1" y="2"/>
                    <a:pt x="1" y="2"/>
                  </a:cubicBezTo>
                  <a:moveTo>
                    <a:pt x="3" y="0"/>
                  </a:moveTo>
                  <a:cubicBezTo>
                    <a:pt x="2" y="1"/>
                    <a:pt x="1" y="1"/>
                    <a:pt x="1" y="2"/>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4" name="Freeform 184">
              <a:extLst>
                <a:ext uri="{FF2B5EF4-FFF2-40B4-BE49-F238E27FC236}">
                  <a16:creationId xmlns:a16="http://schemas.microsoft.com/office/drawing/2014/main" id="{50E6E5CE-1A79-4D25-BA4A-BF814A8DAD2F}"/>
                </a:ext>
              </a:extLst>
            </p:cNvPr>
            <p:cNvSpPr>
              <a:spLocks/>
            </p:cNvSpPr>
            <p:nvPr/>
          </p:nvSpPr>
          <p:spPr bwMode="auto">
            <a:xfrm>
              <a:off x="8091799" y="6593905"/>
              <a:ext cx="16947" cy="14123"/>
            </a:xfrm>
            <a:custGeom>
              <a:avLst/>
              <a:gdLst>
                <a:gd name="T0" fmla="*/ 1 w 5"/>
                <a:gd name="T1" fmla="*/ 0 h 4"/>
                <a:gd name="T2" fmla="*/ 1 w 5"/>
                <a:gd name="T3" fmla="*/ 4 h 4"/>
                <a:gd name="T4" fmla="*/ 1 w 5"/>
                <a:gd name="T5" fmla="*/ 0 h 4"/>
              </a:gdLst>
              <a:ahLst/>
              <a:cxnLst>
                <a:cxn ang="0">
                  <a:pos x="T0" y="T1"/>
                </a:cxn>
                <a:cxn ang="0">
                  <a:pos x="T2" y="T3"/>
                </a:cxn>
                <a:cxn ang="0">
                  <a:pos x="T4" y="T5"/>
                </a:cxn>
              </a:cxnLst>
              <a:rect l="0" t="0" r="r" b="b"/>
              <a:pathLst>
                <a:path w="5" h="4">
                  <a:moveTo>
                    <a:pt x="1" y="0"/>
                  </a:moveTo>
                  <a:cubicBezTo>
                    <a:pt x="0" y="1"/>
                    <a:pt x="1" y="3"/>
                    <a:pt x="1" y="4"/>
                  </a:cubicBezTo>
                  <a:cubicBezTo>
                    <a:pt x="4" y="1"/>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5" name="Freeform 185">
              <a:extLst>
                <a:ext uri="{FF2B5EF4-FFF2-40B4-BE49-F238E27FC236}">
                  <a16:creationId xmlns:a16="http://schemas.microsoft.com/office/drawing/2014/main" id="{16F7E8BB-A24C-4999-9334-90AD8D16085C}"/>
                </a:ext>
              </a:extLst>
            </p:cNvPr>
            <p:cNvSpPr>
              <a:spLocks/>
            </p:cNvSpPr>
            <p:nvPr/>
          </p:nvSpPr>
          <p:spPr bwMode="auto">
            <a:xfrm>
              <a:off x="8045194" y="5945671"/>
              <a:ext cx="14123" cy="7061"/>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2" y="0"/>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6" name="Freeform 186">
              <a:extLst>
                <a:ext uri="{FF2B5EF4-FFF2-40B4-BE49-F238E27FC236}">
                  <a16:creationId xmlns:a16="http://schemas.microsoft.com/office/drawing/2014/main" id="{61059990-4428-4A39-99D6-788AD3DA1EBD}"/>
                </a:ext>
              </a:extLst>
            </p:cNvPr>
            <p:cNvSpPr>
              <a:spLocks/>
            </p:cNvSpPr>
            <p:nvPr/>
          </p:nvSpPr>
          <p:spPr bwMode="auto">
            <a:xfrm>
              <a:off x="8038133" y="5685813"/>
              <a:ext cx="26833" cy="9886"/>
            </a:xfrm>
            <a:custGeom>
              <a:avLst/>
              <a:gdLst>
                <a:gd name="T0" fmla="*/ 6 w 8"/>
                <a:gd name="T1" fmla="*/ 0 h 3"/>
                <a:gd name="T2" fmla="*/ 4 w 8"/>
                <a:gd name="T3" fmla="*/ 2 h 3"/>
                <a:gd name="T4" fmla="*/ 3 w 8"/>
                <a:gd name="T5" fmla="*/ 2 h 3"/>
                <a:gd name="T6" fmla="*/ 3 w 8"/>
                <a:gd name="T7" fmla="*/ 2 h 3"/>
                <a:gd name="T8" fmla="*/ 2 w 8"/>
                <a:gd name="T9" fmla="*/ 2 h 3"/>
                <a:gd name="T10" fmla="*/ 0 w 8"/>
                <a:gd name="T11" fmla="*/ 2 h 3"/>
                <a:gd name="T12" fmla="*/ 4 w 8"/>
                <a:gd name="T13" fmla="*/ 3 h 3"/>
                <a:gd name="T14" fmla="*/ 6 w 8"/>
                <a:gd name="T15" fmla="*/ 3 h 3"/>
                <a:gd name="T16" fmla="*/ 8 w 8"/>
                <a:gd name="T17" fmla="*/ 3 h 3"/>
                <a:gd name="T18" fmla="*/ 8 w 8"/>
                <a:gd name="T19" fmla="*/ 3 h 3"/>
                <a:gd name="T20" fmla="*/ 6 w 8"/>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6" y="0"/>
                  </a:moveTo>
                  <a:cubicBezTo>
                    <a:pt x="5" y="0"/>
                    <a:pt x="5" y="2"/>
                    <a:pt x="4" y="2"/>
                  </a:cubicBezTo>
                  <a:cubicBezTo>
                    <a:pt x="4" y="2"/>
                    <a:pt x="4" y="2"/>
                    <a:pt x="3" y="2"/>
                  </a:cubicBezTo>
                  <a:cubicBezTo>
                    <a:pt x="3" y="2"/>
                    <a:pt x="3" y="2"/>
                    <a:pt x="3" y="2"/>
                  </a:cubicBezTo>
                  <a:cubicBezTo>
                    <a:pt x="2" y="2"/>
                    <a:pt x="2" y="2"/>
                    <a:pt x="2" y="2"/>
                  </a:cubicBezTo>
                  <a:cubicBezTo>
                    <a:pt x="1" y="2"/>
                    <a:pt x="1" y="2"/>
                    <a:pt x="0" y="2"/>
                  </a:cubicBezTo>
                  <a:cubicBezTo>
                    <a:pt x="2" y="3"/>
                    <a:pt x="3" y="3"/>
                    <a:pt x="4" y="3"/>
                  </a:cubicBezTo>
                  <a:cubicBezTo>
                    <a:pt x="5" y="3"/>
                    <a:pt x="5" y="3"/>
                    <a:pt x="6" y="3"/>
                  </a:cubicBezTo>
                  <a:cubicBezTo>
                    <a:pt x="7" y="3"/>
                    <a:pt x="7" y="3"/>
                    <a:pt x="8" y="3"/>
                  </a:cubicBezTo>
                  <a:cubicBezTo>
                    <a:pt x="8" y="3"/>
                    <a:pt x="8" y="3"/>
                    <a:pt x="8" y="3"/>
                  </a:cubicBezTo>
                  <a:cubicBezTo>
                    <a:pt x="7"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7" name="Freeform 187">
              <a:extLst>
                <a:ext uri="{FF2B5EF4-FFF2-40B4-BE49-F238E27FC236}">
                  <a16:creationId xmlns:a16="http://schemas.microsoft.com/office/drawing/2014/main" id="{FE69A2DF-9E88-4651-BFB5-81936214462C}"/>
                </a:ext>
              </a:extLst>
            </p:cNvPr>
            <p:cNvSpPr>
              <a:spLocks/>
            </p:cNvSpPr>
            <p:nvPr/>
          </p:nvSpPr>
          <p:spPr bwMode="auto">
            <a:xfrm>
              <a:off x="8096036" y="5699936"/>
              <a:ext cx="12710" cy="15535"/>
            </a:xfrm>
            <a:custGeom>
              <a:avLst/>
              <a:gdLst>
                <a:gd name="T0" fmla="*/ 3 w 4"/>
                <a:gd name="T1" fmla="*/ 0 h 5"/>
                <a:gd name="T2" fmla="*/ 1 w 4"/>
                <a:gd name="T3" fmla="*/ 1 h 5"/>
                <a:gd name="T4" fmla="*/ 2 w 4"/>
                <a:gd name="T5" fmla="*/ 5 h 5"/>
                <a:gd name="T6" fmla="*/ 4 w 4"/>
                <a:gd name="T7" fmla="*/ 4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2" y="0"/>
                    <a:pt x="2" y="1"/>
                    <a:pt x="1" y="1"/>
                  </a:cubicBezTo>
                  <a:cubicBezTo>
                    <a:pt x="0" y="2"/>
                    <a:pt x="0" y="5"/>
                    <a:pt x="2" y="5"/>
                  </a:cubicBezTo>
                  <a:cubicBezTo>
                    <a:pt x="3" y="5"/>
                    <a:pt x="3" y="5"/>
                    <a:pt x="4" y="4"/>
                  </a:cubicBezTo>
                  <a:cubicBezTo>
                    <a:pt x="4" y="3"/>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8" name="Freeform 188">
              <a:extLst>
                <a:ext uri="{FF2B5EF4-FFF2-40B4-BE49-F238E27FC236}">
                  <a16:creationId xmlns:a16="http://schemas.microsoft.com/office/drawing/2014/main" id="{D621FF15-CEAB-44A8-8435-712247DCD519}"/>
                </a:ext>
              </a:extLst>
            </p:cNvPr>
            <p:cNvSpPr>
              <a:spLocks/>
            </p:cNvSpPr>
            <p:nvPr/>
          </p:nvSpPr>
          <p:spPr bwMode="auto">
            <a:xfrm>
              <a:off x="8005651" y="6356643"/>
              <a:ext cx="36719" cy="31070"/>
            </a:xfrm>
            <a:custGeom>
              <a:avLst/>
              <a:gdLst>
                <a:gd name="T0" fmla="*/ 8 w 11"/>
                <a:gd name="T1" fmla="*/ 0 h 9"/>
                <a:gd name="T2" fmla="*/ 0 w 11"/>
                <a:gd name="T3" fmla="*/ 9 h 9"/>
                <a:gd name="T4" fmla="*/ 6 w 11"/>
                <a:gd name="T5" fmla="*/ 4 h 9"/>
                <a:gd name="T6" fmla="*/ 7 w 11"/>
                <a:gd name="T7" fmla="*/ 3 h 9"/>
                <a:gd name="T8" fmla="*/ 9 w 11"/>
                <a:gd name="T9" fmla="*/ 7 h 9"/>
                <a:gd name="T10" fmla="*/ 9 w 11"/>
                <a:gd name="T11" fmla="*/ 7 h 9"/>
                <a:gd name="T12" fmla="*/ 9 w 11"/>
                <a:gd name="T13" fmla="*/ 3 h 9"/>
                <a:gd name="T14" fmla="*/ 10 w 11"/>
                <a:gd name="T15" fmla="*/ 3 h 9"/>
                <a:gd name="T16" fmla="*/ 8 w 1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
                  <a:moveTo>
                    <a:pt x="8" y="0"/>
                  </a:moveTo>
                  <a:cubicBezTo>
                    <a:pt x="5" y="0"/>
                    <a:pt x="1" y="7"/>
                    <a:pt x="0" y="9"/>
                  </a:cubicBezTo>
                  <a:cubicBezTo>
                    <a:pt x="3" y="8"/>
                    <a:pt x="7" y="7"/>
                    <a:pt x="6" y="4"/>
                  </a:cubicBezTo>
                  <a:cubicBezTo>
                    <a:pt x="6" y="4"/>
                    <a:pt x="7" y="3"/>
                    <a:pt x="7" y="3"/>
                  </a:cubicBezTo>
                  <a:cubicBezTo>
                    <a:pt x="7" y="4"/>
                    <a:pt x="8" y="7"/>
                    <a:pt x="9" y="7"/>
                  </a:cubicBezTo>
                  <a:cubicBezTo>
                    <a:pt x="9" y="7"/>
                    <a:pt x="9" y="7"/>
                    <a:pt x="9" y="7"/>
                  </a:cubicBezTo>
                  <a:cubicBezTo>
                    <a:pt x="11" y="6"/>
                    <a:pt x="9" y="4"/>
                    <a:pt x="9" y="3"/>
                  </a:cubicBezTo>
                  <a:cubicBezTo>
                    <a:pt x="9" y="3"/>
                    <a:pt x="10" y="3"/>
                    <a:pt x="10" y="3"/>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9" name="Freeform 189">
              <a:extLst>
                <a:ext uri="{FF2B5EF4-FFF2-40B4-BE49-F238E27FC236}">
                  <a16:creationId xmlns:a16="http://schemas.microsoft.com/office/drawing/2014/main" id="{AC8C0161-DF76-47A4-8D84-61E19654B373}"/>
                </a:ext>
              </a:extLst>
            </p:cNvPr>
            <p:cNvSpPr>
              <a:spLocks/>
            </p:cNvSpPr>
            <p:nvPr/>
          </p:nvSpPr>
          <p:spPr bwMode="auto">
            <a:xfrm>
              <a:off x="7985879" y="6020522"/>
              <a:ext cx="36719" cy="22596"/>
            </a:xfrm>
            <a:custGeom>
              <a:avLst/>
              <a:gdLst>
                <a:gd name="T0" fmla="*/ 8 w 11"/>
                <a:gd name="T1" fmla="*/ 0 h 7"/>
                <a:gd name="T2" fmla="*/ 7 w 11"/>
                <a:gd name="T3" fmla="*/ 5 h 7"/>
                <a:gd name="T4" fmla="*/ 3 w 11"/>
                <a:gd name="T5" fmla="*/ 3 h 7"/>
                <a:gd name="T6" fmla="*/ 0 w 11"/>
                <a:gd name="T7" fmla="*/ 6 h 7"/>
                <a:gd name="T8" fmla="*/ 7 w 11"/>
                <a:gd name="T9" fmla="*/ 7 h 7"/>
                <a:gd name="T10" fmla="*/ 8 w 11"/>
                <a:gd name="T11" fmla="*/ 0 h 7"/>
              </a:gdLst>
              <a:ahLst/>
              <a:cxnLst>
                <a:cxn ang="0">
                  <a:pos x="T0" y="T1"/>
                </a:cxn>
                <a:cxn ang="0">
                  <a:pos x="T2" y="T3"/>
                </a:cxn>
                <a:cxn ang="0">
                  <a:pos x="T4" y="T5"/>
                </a:cxn>
                <a:cxn ang="0">
                  <a:pos x="T6" y="T7"/>
                </a:cxn>
                <a:cxn ang="0">
                  <a:pos x="T8" y="T9"/>
                </a:cxn>
                <a:cxn ang="0">
                  <a:pos x="T10" y="T11"/>
                </a:cxn>
              </a:cxnLst>
              <a:rect l="0" t="0" r="r" b="b"/>
              <a:pathLst>
                <a:path w="11" h="7">
                  <a:moveTo>
                    <a:pt x="8" y="0"/>
                  </a:moveTo>
                  <a:cubicBezTo>
                    <a:pt x="7" y="2"/>
                    <a:pt x="6" y="4"/>
                    <a:pt x="7" y="5"/>
                  </a:cubicBezTo>
                  <a:cubicBezTo>
                    <a:pt x="6" y="4"/>
                    <a:pt x="4" y="3"/>
                    <a:pt x="3" y="3"/>
                  </a:cubicBezTo>
                  <a:cubicBezTo>
                    <a:pt x="1" y="3"/>
                    <a:pt x="0" y="4"/>
                    <a:pt x="0" y="6"/>
                  </a:cubicBezTo>
                  <a:cubicBezTo>
                    <a:pt x="2" y="6"/>
                    <a:pt x="5" y="7"/>
                    <a:pt x="7" y="7"/>
                  </a:cubicBezTo>
                  <a:cubicBezTo>
                    <a:pt x="11" y="7"/>
                    <a:pt x="9"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0" name="Freeform 190">
              <a:extLst>
                <a:ext uri="{FF2B5EF4-FFF2-40B4-BE49-F238E27FC236}">
                  <a16:creationId xmlns:a16="http://schemas.microsoft.com/office/drawing/2014/main" id="{1C066E0A-3147-40D7-95A2-D13893D450D7}"/>
                </a:ext>
              </a:extLst>
            </p:cNvPr>
            <p:cNvSpPr>
              <a:spLocks/>
            </p:cNvSpPr>
            <p:nvPr/>
          </p:nvSpPr>
          <p:spPr bwMode="auto">
            <a:xfrm>
              <a:off x="8062142" y="6397599"/>
              <a:ext cx="26833" cy="22596"/>
            </a:xfrm>
            <a:custGeom>
              <a:avLst/>
              <a:gdLst>
                <a:gd name="T0" fmla="*/ 5 w 8"/>
                <a:gd name="T1" fmla="*/ 0 h 7"/>
                <a:gd name="T2" fmla="*/ 3 w 8"/>
                <a:gd name="T3" fmla="*/ 3 h 7"/>
                <a:gd name="T4" fmla="*/ 1 w 8"/>
                <a:gd name="T5" fmla="*/ 3 h 7"/>
                <a:gd name="T6" fmla="*/ 1 w 8"/>
                <a:gd name="T7" fmla="*/ 4 h 7"/>
                <a:gd name="T8" fmla="*/ 4 w 8"/>
                <a:gd name="T9" fmla="*/ 6 h 7"/>
                <a:gd name="T10" fmla="*/ 6 w 8"/>
                <a:gd name="T11" fmla="*/ 7 h 7"/>
                <a:gd name="T12" fmla="*/ 5 w 8"/>
                <a:gd name="T13" fmla="*/ 0 h 7"/>
                <a:gd name="T14" fmla="*/ 5 w 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5" y="0"/>
                  </a:moveTo>
                  <a:cubicBezTo>
                    <a:pt x="2" y="0"/>
                    <a:pt x="4" y="2"/>
                    <a:pt x="3" y="3"/>
                  </a:cubicBezTo>
                  <a:cubicBezTo>
                    <a:pt x="1" y="3"/>
                    <a:pt x="1" y="3"/>
                    <a:pt x="1" y="3"/>
                  </a:cubicBezTo>
                  <a:cubicBezTo>
                    <a:pt x="1" y="3"/>
                    <a:pt x="0" y="3"/>
                    <a:pt x="1" y="4"/>
                  </a:cubicBezTo>
                  <a:cubicBezTo>
                    <a:pt x="2" y="5"/>
                    <a:pt x="3" y="6"/>
                    <a:pt x="4" y="6"/>
                  </a:cubicBezTo>
                  <a:cubicBezTo>
                    <a:pt x="5" y="7"/>
                    <a:pt x="5" y="7"/>
                    <a:pt x="6" y="7"/>
                  </a:cubicBezTo>
                  <a:cubicBezTo>
                    <a:pt x="8" y="7"/>
                    <a:pt x="6" y="3"/>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1" name="Freeform 191">
              <a:extLst>
                <a:ext uri="{FF2B5EF4-FFF2-40B4-BE49-F238E27FC236}">
                  <a16:creationId xmlns:a16="http://schemas.microsoft.com/office/drawing/2014/main" id="{69AF61BA-F363-40C1-8DD2-1F5D2D38BB4C}"/>
                </a:ext>
              </a:extLst>
            </p:cNvPr>
            <p:cNvSpPr>
              <a:spLocks/>
            </p:cNvSpPr>
            <p:nvPr/>
          </p:nvSpPr>
          <p:spPr bwMode="auto">
            <a:xfrm>
              <a:off x="7978818" y="6006399"/>
              <a:ext cx="26833" cy="16947"/>
            </a:xfrm>
            <a:custGeom>
              <a:avLst/>
              <a:gdLst>
                <a:gd name="T0" fmla="*/ 4 w 8"/>
                <a:gd name="T1" fmla="*/ 0 h 5"/>
                <a:gd name="T2" fmla="*/ 2 w 8"/>
                <a:gd name="T3" fmla="*/ 2 h 5"/>
                <a:gd name="T4" fmla="*/ 3 w 8"/>
                <a:gd name="T5" fmla="*/ 5 h 5"/>
                <a:gd name="T6" fmla="*/ 5 w 8"/>
                <a:gd name="T7" fmla="*/ 1 h 5"/>
                <a:gd name="T8" fmla="*/ 4 w 8"/>
                <a:gd name="T9" fmla="*/ 0 h 5"/>
              </a:gdLst>
              <a:ahLst/>
              <a:cxnLst>
                <a:cxn ang="0">
                  <a:pos x="T0" y="T1"/>
                </a:cxn>
                <a:cxn ang="0">
                  <a:pos x="T2" y="T3"/>
                </a:cxn>
                <a:cxn ang="0">
                  <a:pos x="T4" y="T5"/>
                </a:cxn>
                <a:cxn ang="0">
                  <a:pos x="T6" y="T7"/>
                </a:cxn>
                <a:cxn ang="0">
                  <a:pos x="T8" y="T9"/>
                </a:cxn>
              </a:cxnLst>
              <a:rect l="0" t="0" r="r" b="b"/>
              <a:pathLst>
                <a:path w="8" h="5">
                  <a:moveTo>
                    <a:pt x="4" y="0"/>
                  </a:moveTo>
                  <a:cubicBezTo>
                    <a:pt x="4" y="0"/>
                    <a:pt x="3" y="1"/>
                    <a:pt x="2" y="2"/>
                  </a:cubicBezTo>
                  <a:cubicBezTo>
                    <a:pt x="0" y="3"/>
                    <a:pt x="2" y="4"/>
                    <a:pt x="3" y="5"/>
                  </a:cubicBezTo>
                  <a:cubicBezTo>
                    <a:pt x="5" y="5"/>
                    <a:pt x="8" y="3"/>
                    <a:pt x="5"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2" name="Freeform 192">
              <a:extLst>
                <a:ext uri="{FF2B5EF4-FFF2-40B4-BE49-F238E27FC236}">
                  <a16:creationId xmlns:a16="http://schemas.microsoft.com/office/drawing/2014/main" id="{84578A04-B62D-4588-86B7-1D3589C1C169}"/>
                </a:ext>
              </a:extLst>
            </p:cNvPr>
            <p:cNvSpPr>
              <a:spLocks/>
            </p:cNvSpPr>
            <p:nvPr/>
          </p:nvSpPr>
          <p:spPr bwMode="auto">
            <a:xfrm>
              <a:off x="8079089" y="6487984"/>
              <a:ext cx="29658" cy="29658"/>
            </a:xfrm>
            <a:custGeom>
              <a:avLst/>
              <a:gdLst>
                <a:gd name="T0" fmla="*/ 7 w 9"/>
                <a:gd name="T1" fmla="*/ 0 h 9"/>
                <a:gd name="T2" fmla="*/ 0 w 9"/>
                <a:gd name="T3" fmla="*/ 4 h 9"/>
                <a:gd name="T4" fmla="*/ 1 w 9"/>
                <a:gd name="T5" fmla="*/ 4 h 9"/>
                <a:gd name="T6" fmla="*/ 4 w 9"/>
                <a:gd name="T7" fmla="*/ 3 h 9"/>
                <a:gd name="T8" fmla="*/ 3 w 9"/>
                <a:gd name="T9" fmla="*/ 9 h 9"/>
                <a:gd name="T10" fmla="*/ 7 w 9"/>
                <a:gd name="T11" fmla="*/ 5 h 9"/>
                <a:gd name="T12" fmla="*/ 7 w 9"/>
                <a:gd name="T13" fmla="*/ 2 h 9"/>
                <a:gd name="T14" fmla="*/ 9 w 9"/>
                <a:gd name="T15" fmla="*/ 1 h 9"/>
                <a:gd name="T16" fmla="*/ 7 w 9"/>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7" y="0"/>
                  </a:moveTo>
                  <a:cubicBezTo>
                    <a:pt x="5" y="0"/>
                    <a:pt x="1" y="2"/>
                    <a:pt x="0" y="4"/>
                  </a:cubicBezTo>
                  <a:cubicBezTo>
                    <a:pt x="0" y="4"/>
                    <a:pt x="1" y="4"/>
                    <a:pt x="1" y="4"/>
                  </a:cubicBezTo>
                  <a:cubicBezTo>
                    <a:pt x="2" y="4"/>
                    <a:pt x="3" y="4"/>
                    <a:pt x="4" y="3"/>
                  </a:cubicBezTo>
                  <a:cubicBezTo>
                    <a:pt x="4" y="5"/>
                    <a:pt x="3" y="7"/>
                    <a:pt x="3" y="9"/>
                  </a:cubicBezTo>
                  <a:cubicBezTo>
                    <a:pt x="5" y="8"/>
                    <a:pt x="7" y="7"/>
                    <a:pt x="7" y="5"/>
                  </a:cubicBezTo>
                  <a:cubicBezTo>
                    <a:pt x="7" y="5"/>
                    <a:pt x="7" y="3"/>
                    <a:pt x="7" y="2"/>
                  </a:cubicBezTo>
                  <a:cubicBezTo>
                    <a:pt x="8" y="2"/>
                    <a:pt x="9"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3" name="Freeform 193">
              <a:extLst>
                <a:ext uri="{FF2B5EF4-FFF2-40B4-BE49-F238E27FC236}">
                  <a16:creationId xmlns:a16="http://schemas.microsoft.com/office/drawing/2014/main" id="{6821F531-1AE5-4E46-BDFB-1DD49859B483}"/>
                </a:ext>
              </a:extLst>
            </p:cNvPr>
            <p:cNvSpPr>
              <a:spLocks/>
            </p:cNvSpPr>
            <p:nvPr/>
          </p:nvSpPr>
          <p:spPr bwMode="auto">
            <a:xfrm>
              <a:off x="8088975" y="5722532"/>
              <a:ext cx="9886" cy="19772"/>
            </a:xfrm>
            <a:custGeom>
              <a:avLst/>
              <a:gdLst>
                <a:gd name="T0" fmla="*/ 1 w 3"/>
                <a:gd name="T1" fmla="*/ 0 h 6"/>
                <a:gd name="T2" fmla="*/ 2 w 3"/>
                <a:gd name="T3" fmla="*/ 6 h 6"/>
                <a:gd name="T4" fmla="*/ 2 w 3"/>
                <a:gd name="T5" fmla="*/ 0 h 6"/>
                <a:gd name="T6" fmla="*/ 1 w 3"/>
                <a:gd name="T7" fmla="*/ 0 h 6"/>
              </a:gdLst>
              <a:ahLst/>
              <a:cxnLst>
                <a:cxn ang="0">
                  <a:pos x="T0" y="T1"/>
                </a:cxn>
                <a:cxn ang="0">
                  <a:pos x="T2" y="T3"/>
                </a:cxn>
                <a:cxn ang="0">
                  <a:pos x="T4" y="T5"/>
                </a:cxn>
                <a:cxn ang="0">
                  <a:pos x="T6" y="T7"/>
                </a:cxn>
              </a:cxnLst>
              <a:rect l="0" t="0" r="r" b="b"/>
              <a:pathLst>
                <a:path w="3" h="6">
                  <a:moveTo>
                    <a:pt x="1" y="0"/>
                  </a:moveTo>
                  <a:cubicBezTo>
                    <a:pt x="0" y="0"/>
                    <a:pt x="2" y="5"/>
                    <a:pt x="2" y="6"/>
                  </a:cubicBezTo>
                  <a:cubicBezTo>
                    <a:pt x="3" y="4"/>
                    <a:pt x="3" y="2"/>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4" name="Freeform 194">
              <a:extLst>
                <a:ext uri="{FF2B5EF4-FFF2-40B4-BE49-F238E27FC236}">
                  <a16:creationId xmlns:a16="http://schemas.microsoft.com/office/drawing/2014/main" id="{CF0A9F06-4D26-45E4-AAD4-9460E2A0ECD6}"/>
                </a:ext>
              </a:extLst>
            </p:cNvPr>
            <p:cNvSpPr>
              <a:spLocks/>
            </p:cNvSpPr>
            <p:nvPr/>
          </p:nvSpPr>
          <p:spPr bwMode="auto">
            <a:xfrm>
              <a:off x="8312113" y="6747843"/>
              <a:ext cx="63552" cy="26833"/>
            </a:xfrm>
            <a:custGeom>
              <a:avLst/>
              <a:gdLst>
                <a:gd name="T0" fmla="*/ 15 w 19"/>
                <a:gd name="T1" fmla="*/ 0 h 8"/>
                <a:gd name="T2" fmla="*/ 7 w 19"/>
                <a:gd name="T3" fmla="*/ 2 h 8"/>
                <a:gd name="T4" fmla="*/ 7 w 19"/>
                <a:gd name="T5" fmla="*/ 2 h 8"/>
                <a:gd name="T6" fmla="*/ 6 w 19"/>
                <a:gd name="T7" fmla="*/ 1 h 8"/>
                <a:gd name="T8" fmla="*/ 6 w 19"/>
                <a:gd name="T9" fmla="*/ 1 h 8"/>
                <a:gd name="T10" fmla="*/ 5 w 19"/>
                <a:gd name="T11" fmla="*/ 2 h 8"/>
                <a:gd name="T12" fmla="*/ 4 w 19"/>
                <a:gd name="T13" fmla="*/ 2 h 8"/>
                <a:gd name="T14" fmla="*/ 4 w 19"/>
                <a:gd name="T15" fmla="*/ 1 h 8"/>
                <a:gd name="T16" fmla="*/ 3 w 19"/>
                <a:gd name="T17" fmla="*/ 1 h 8"/>
                <a:gd name="T18" fmla="*/ 0 w 19"/>
                <a:gd name="T19" fmla="*/ 2 h 8"/>
                <a:gd name="T20" fmla="*/ 15 w 19"/>
                <a:gd name="T21" fmla="*/ 8 h 8"/>
                <a:gd name="T22" fmla="*/ 17 w 19"/>
                <a:gd name="T23" fmla="*/ 4 h 8"/>
                <a:gd name="T24" fmla="*/ 16 w 19"/>
                <a:gd name="T25" fmla="*/ 4 h 8"/>
                <a:gd name="T26" fmla="*/ 14 w 19"/>
                <a:gd name="T27" fmla="*/ 4 h 8"/>
                <a:gd name="T28" fmla="*/ 12 w 19"/>
                <a:gd name="T29" fmla="*/ 4 h 8"/>
                <a:gd name="T30" fmla="*/ 12 w 19"/>
                <a:gd name="T31" fmla="*/ 4 h 8"/>
                <a:gd name="T32" fmla="*/ 7 w 19"/>
                <a:gd name="T33" fmla="*/ 4 h 8"/>
                <a:gd name="T34" fmla="*/ 12 w 19"/>
                <a:gd name="T35" fmla="*/ 3 h 8"/>
                <a:gd name="T36" fmla="*/ 13 w 19"/>
                <a:gd name="T37" fmla="*/ 1 h 8"/>
                <a:gd name="T38" fmla="*/ 16 w 19"/>
                <a:gd name="T39" fmla="*/ 0 h 8"/>
                <a:gd name="T40" fmla="*/ 15 w 19"/>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8">
                  <a:moveTo>
                    <a:pt x="15" y="0"/>
                  </a:moveTo>
                  <a:cubicBezTo>
                    <a:pt x="12" y="0"/>
                    <a:pt x="9" y="1"/>
                    <a:pt x="7" y="2"/>
                  </a:cubicBezTo>
                  <a:cubicBezTo>
                    <a:pt x="7" y="2"/>
                    <a:pt x="7" y="2"/>
                    <a:pt x="7" y="2"/>
                  </a:cubicBezTo>
                  <a:cubicBezTo>
                    <a:pt x="7" y="2"/>
                    <a:pt x="6" y="2"/>
                    <a:pt x="6" y="1"/>
                  </a:cubicBezTo>
                  <a:cubicBezTo>
                    <a:pt x="6" y="1"/>
                    <a:pt x="6" y="1"/>
                    <a:pt x="6" y="1"/>
                  </a:cubicBezTo>
                  <a:cubicBezTo>
                    <a:pt x="5" y="1"/>
                    <a:pt x="5" y="1"/>
                    <a:pt x="5" y="2"/>
                  </a:cubicBezTo>
                  <a:cubicBezTo>
                    <a:pt x="5" y="2"/>
                    <a:pt x="5" y="2"/>
                    <a:pt x="4" y="2"/>
                  </a:cubicBezTo>
                  <a:cubicBezTo>
                    <a:pt x="4" y="2"/>
                    <a:pt x="4" y="2"/>
                    <a:pt x="4" y="1"/>
                  </a:cubicBezTo>
                  <a:cubicBezTo>
                    <a:pt x="4" y="1"/>
                    <a:pt x="4" y="1"/>
                    <a:pt x="3" y="1"/>
                  </a:cubicBezTo>
                  <a:cubicBezTo>
                    <a:pt x="3" y="1"/>
                    <a:pt x="1" y="2"/>
                    <a:pt x="0" y="2"/>
                  </a:cubicBezTo>
                  <a:cubicBezTo>
                    <a:pt x="5" y="4"/>
                    <a:pt x="10" y="6"/>
                    <a:pt x="15" y="8"/>
                  </a:cubicBezTo>
                  <a:cubicBezTo>
                    <a:pt x="16" y="8"/>
                    <a:pt x="19" y="6"/>
                    <a:pt x="17" y="4"/>
                  </a:cubicBezTo>
                  <a:cubicBezTo>
                    <a:pt x="17" y="4"/>
                    <a:pt x="16" y="4"/>
                    <a:pt x="16" y="4"/>
                  </a:cubicBezTo>
                  <a:cubicBezTo>
                    <a:pt x="15" y="4"/>
                    <a:pt x="14" y="4"/>
                    <a:pt x="14" y="4"/>
                  </a:cubicBezTo>
                  <a:cubicBezTo>
                    <a:pt x="13" y="4"/>
                    <a:pt x="13" y="4"/>
                    <a:pt x="12" y="4"/>
                  </a:cubicBezTo>
                  <a:cubicBezTo>
                    <a:pt x="12" y="4"/>
                    <a:pt x="12" y="4"/>
                    <a:pt x="12" y="4"/>
                  </a:cubicBezTo>
                  <a:cubicBezTo>
                    <a:pt x="11" y="4"/>
                    <a:pt x="9" y="4"/>
                    <a:pt x="7" y="4"/>
                  </a:cubicBezTo>
                  <a:cubicBezTo>
                    <a:pt x="9" y="3"/>
                    <a:pt x="10" y="3"/>
                    <a:pt x="12" y="3"/>
                  </a:cubicBezTo>
                  <a:cubicBezTo>
                    <a:pt x="12" y="3"/>
                    <a:pt x="12" y="1"/>
                    <a:pt x="13" y="1"/>
                  </a:cubicBezTo>
                  <a:cubicBezTo>
                    <a:pt x="14" y="1"/>
                    <a:pt x="15" y="1"/>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5" name="Freeform 195">
              <a:extLst>
                <a:ext uri="{FF2B5EF4-FFF2-40B4-BE49-F238E27FC236}">
                  <a16:creationId xmlns:a16="http://schemas.microsoft.com/office/drawing/2014/main" id="{D719781B-4A5F-4F87-B542-D2CCEB64BC1A}"/>
                </a:ext>
              </a:extLst>
            </p:cNvPr>
            <p:cNvSpPr>
              <a:spLocks/>
            </p:cNvSpPr>
            <p:nvPr/>
          </p:nvSpPr>
          <p:spPr bwMode="auto">
            <a:xfrm>
              <a:off x="8282456" y="6740781"/>
              <a:ext cx="36719" cy="14123"/>
            </a:xfrm>
            <a:custGeom>
              <a:avLst/>
              <a:gdLst>
                <a:gd name="T0" fmla="*/ 3 w 11"/>
                <a:gd name="T1" fmla="*/ 0 h 4"/>
                <a:gd name="T2" fmla="*/ 2 w 11"/>
                <a:gd name="T3" fmla="*/ 4 h 4"/>
                <a:gd name="T4" fmla="*/ 5 w 11"/>
                <a:gd name="T5" fmla="*/ 1 h 4"/>
                <a:gd name="T6" fmla="*/ 7 w 11"/>
                <a:gd name="T7" fmla="*/ 2 h 4"/>
                <a:gd name="T8" fmla="*/ 7 w 11"/>
                <a:gd name="T9" fmla="*/ 2 h 4"/>
                <a:gd name="T10" fmla="*/ 8 w 11"/>
                <a:gd name="T11" fmla="*/ 4 h 4"/>
                <a:gd name="T12" fmla="*/ 8 w 11"/>
                <a:gd name="T13" fmla="*/ 4 h 4"/>
                <a:gd name="T14" fmla="*/ 9 w 11"/>
                <a:gd name="T15" fmla="*/ 3 h 4"/>
                <a:gd name="T16" fmla="*/ 9 w 11"/>
                <a:gd name="T17" fmla="*/ 3 h 4"/>
                <a:gd name="T18" fmla="*/ 10 w 11"/>
                <a:gd name="T19" fmla="*/ 3 h 4"/>
                <a:gd name="T20" fmla="*/ 11 w 11"/>
                <a:gd name="T21" fmla="*/ 3 h 4"/>
                <a:gd name="T22" fmla="*/ 11 w 11"/>
                <a:gd name="T23" fmla="*/ 3 h 4"/>
                <a:gd name="T24" fmla="*/ 4 w 11"/>
                <a:gd name="T25" fmla="*/ 0 h 4"/>
                <a:gd name="T26" fmla="*/ 3 w 11"/>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3" y="0"/>
                  </a:moveTo>
                  <a:cubicBezTo>
                    <a:pt x="0" y="0"/>
                    <a:pt x="1" y="0"/>
                    <a:pt x="2" y="4"/>
                  </a:cubicBezTo>
                  <a:cubicBezTo>
                    <a:pt x="3" y="2"/>
                    <a:pt x="3" y="1"/>
                    <a:pt x="5" y="1"/>
                  </a:cubicBezTo>
                  <a:cubicBezTo>
                    <a:pt x="4" y="1"/>
                    <a:pt x="7" y="2"/>
                    <a:pt x="7" y="2"/>
                  </a:cubicBezTo>
                  <a:cubicBezTo>
                    <a:pt x="7" y="2"/>
                    <a:pt x="7" y="2"/>
                    <a:pt x="7" y="2"/>
                  </a:cubicBezTo>
                  <a:cubicBezTo>
                    <a:pt x="8" y="2"/>
                    <a:pt x="7" y="3"/>
                    <a:pt x="8" y="4"/>
                  </a:cubicBezTo>
                  <a:cubicBezTo>
                    <a:pt x="8" y="4"/>
                    <a:pt x="8" y="4"/>
                    <a:pt x="8" y="4"/>
                  </a:cubicBezTo>
                  <a:cubicBezTo>
                    <a:pt x="9" y="4"/>
                    <a:pt x="9" y="3"/>
                    <a:pt x="9" y="3"/>
                  </a:cubicBezTo>
                  <a:cubicBezTo>
                    <a:pt x="9" y="3"/>
                    <a:pt x="9" y="3"/>
                    <a:pt x="9" y="3"/>
                  </a:cubicBezTo>
                  <a:cubicBezTo>
                    <a:pt x="9" y="3"/>
                    <a:pt x="10" y="3"/>
                    <a:pt x="10" y="3"/>
                  </a:cubicBezTo>
                  <a:cubicBezTo>
                    <a:pt x="10" y="3"/>
                    <a:pt x="10" y="3"/>
                    <a:pt x="11" y="3"/>
                  </a:cubicBezTo>
                  <a:cubicBezTo>
                    <a:pt x="11" y="3"/>
                    <a:pt x="11" y="3"/>
                    <a:pt x="11" y="3"/>
                  </a:cubicBezTo>
                  <a:cubicBezTo>
                    <a:pt x="9" y="1"/>
                    <a:pt x="6"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6" name="Freeform 196">
              <a:extLst>
                <a:ext uri="{FF2B5EF4-FFF2-40B4-BE49-F238E27FC236}">
                  <a16:creationId xmlns:a16="http://schemas.microsoft.com/office/drawing/2014/main" id="{ECA9EC36-9FAD-4B99-B977-3C02C6577315}"/>
                </a:ext>
              </a:extLst>
            </p:cNvPr>
            <p:cNvSpPr>
              <a:spLocks noEditPoints="1"/>
            </p:cNvSpPr>
            <p:nvPr/>
          </p:nvSpPr>
          <p:spPr bwMode="auto">
            <a:xfrm>
              <a:off x="8032484" y="6280380"/>
              <a:ext cx="39544" cy="43780"/>
            </a:xfrm>
            <a:custGeom>
              <a:avLst/>
              <a:gdLst>
                <a:gd name="T0" fmla="*/ 10 w 12"/>
                <a:gd name="T1" fmla="*/ 13 h 13"/>
                <a:gd name="T2" fmla="*/ 10 w 12"/>
                <a:gd name="T3" fmla="*/ 13 h 13"/>
                <a:gd name="T4" fmla="*/ 10 w 12"/>
                <a:gd name="T5" fmla="*/ 13 h 13"/>
                <a:gd name="T6" fmla="*/ 1 w 12"/>
                <a:gd name="T7" fmla="*/ 0 h 13"/>
                <a:gd name="T8" fmla="*/ 0 w 12"/>
                <a:gd name="T9" fmla="*/ 1 h 13"/>
                <a:gd name="T10" fmla="*/ 6 w 12"/>
                <a:gd name="T11" fmla="*/ 12 h 13"/>
                <a:gd name="T12" fmla="*/ 9 w 12"/>
                <a:gd name="T13" fmla="*/ 12 h 13"/>
                <a:gd name="T14" fmla="*/ 10 w 12"/>
                <a:gd name="T15" fmla="*/ 13 h 13"/>
                <a:gd name="T16" fmla="*/ 7 w 12"/>
                <a:gd name="T17" fmla="*/ 7 h 13"/>
                <a:gd name="T18" fmla="*/ 9 w 12"/>
                <a:gd name="T19" fmla="*/ 8 h 13"/>
                <a:gd name="T20" fmla="*/ 7 w 12"/>
                <a:gd name="T21" fmla="*/ 3 h 13"/>
                <a:gd name="T22" fmla="*/ 6 w 12"/>
                <a:gd name="T23" fmla="*/ 1 h 13"/>
                <a:gd name="T24" fmla="*/ 4 w 12"/>
                <a:gd name="T25" fmla="*/ 1 h 13"/>
                <a:gd name="T26" fmla="*/ 1 w 12"/>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10" y="13"/>
                  </a:moveTo>
                  <a:cubicBezTo>
                    <a:pt x="10" y="13"/>
                    <a:pt x="10" y="13"/>
                    <a:pt x="10" y="13"/>
                  </a:cubicBezTo>
                  <a:cubicBezTo>
                    <a:pt x="10" y="13"/>
                    <a:pt x="10" y="13"/>
                    <a:pt x="10" y="13"/>
                  </a:cubicBezTo>
                  <a:moveTo>
                    <a:pt x="1" y="0"/>
                  </a:moveTo>
                  <a:cubicBezTo>
                    <a:pt x="0" y="0"/>
                    <a:pt x="0" y="0"/>
                    <a:pt x="0" y="1"/>
                  </a:cubicBezTo>
                  <a:cubicBezTo>
                    <a:pt x="0" y="4"/>
                    <a:pt x="3" y="11"/>
                    <a:pt x="6" y="12"/>
                  </a:cubicBezTo>
                  <a:cubicBezTo>
                    <a:pt x="6" y="12"/>
                    <a:pt x="8" y="12"/>
                    <a:pt x="9" y="12"/>
                  </a:cubicBezTo>
                  <a:cubicBezTo>
                    <a:pt x="10" y="12"/>
                    <a:pt x="11" y="12"/>
                    <a:pt x="10" y="13"/>
                  </a:cubicBezTo>
                  <a:cubicBezTo>
                    <a:pt x="12" y="11"/>
                    <a:pt x="8" y="9"/>
                    <a:pt x="7" y="7"/>
                  </a:cubicBezTo>
                  <a:cubicBezTo>
                    <a:pt x="8" y="8"/>
                    <a:pt x="8" y="8"/>
                    <a:pt x="9" y="8"/>
                  </a:cubicBezTo>
                  <a:cubicBezTo>
                    <a:pt x="9" y="7"/>
                    <a:pt x="8" y="4"/>
                    <a:pt x="7" y="3"/>
                  </a:cubicBezTo>
                  <a:cubicBezTo>
                    <a:pt x="6" y="1"/>
                    <a:pt x="6" y="1"/>
                    <a:pt x="6" y="1"/>
                  </a:cubicBezTo>
                  <a:cubicBezTo>
                    <a:pt x="6" y="1"/>
                    <a:pt x="5" y="1"/>
                    <a:pt x="4" y="1"/>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7" name="Freeform 197">
              <a:extLst>
                <a:ext uri="{FF2B5EF4-FFF2-40B4-BE49-F238E27FC236}">
                  <a16:creationId xmlns:a16="http://schemas.microsoft.com/office/drawing/2014/main" id="{1542AA8C-A99D-4573-98EC-8036101AC81B}"/>
                </a:ext>
              </a:extLst>
            </p:cNvPr>
            <p:cNvSpPr>
              <a:spLocks/>
            </p:cNvSpPr>
            <p:nvPr/>
          </p:nvSpPr>
          <p:spPr bwMode="auto">
            <a:xfrm>
              <a:off x="9903742" y="1835956"/>
              <a:ext cx="4237" cy="2825"/>
            </a:xfrm>
            <a:custGeom>
              <a:avLst/>
              <a:gdLst>
                <a:gd name="T0" fmla="*/ 1 w 1"/>
                <a:gd name="T1" fmla="*/ 0 h 1"/>
                <a:gd name="T2" fmla="*/ 0 w 1"/>
                <a:gd name="T3" fmla="*/ 0 h 1"/>
                <a:gd name="T4" fmla="*/ 0 w 1"/>
                <a:gd name="T5" fmla="*/ 1 h 1"/>
                <a:gd name="T6" fmla="*/ 1 w 1"/>
                <a:gd name="T7" fmla="*/ 0 h 1"/>
                <a:gd name="T8" fmla="*/ 1 w 1"/>
                <a:gd name="T9" fmla="*/ 0 h 1"/>
                <a:gd name="T10" fmla="*/ 1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0" y="0"/>
                  </a:cubicBezTo>
                  <a:cubicBezTo>
                    <a:pt x="0" y="1"/>
                    <a:pt x="0" y="1"/>
                    <a:pt x="0" y="1"/>
                  </a:cubicBezTo>
                  <a:cubicBezTo>
                    <a:pt x="0" y="1"/>
                    <a:pt x="0" y="0"/>
                    <a:pt x="1"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8" name="Freeform 198">
              <a:extLst>
                <a:ext uri="{FF2B5EF4-FFF2-40B4-BE49-F238E27FC236}">
                  <a16:creationId xmlns:a16="http://schemas.microsoft.com/office/drawing/2014/main" id="{E0354E18-A9D5-4400-BE38-328D07C5399F}"/>
                </a:ext>
              </a:extLst>
            </p:cNvPr>
            <p:cNvSpPr>
              <a:spLocks/>
            </p:cNvSpPr>
            <p:nvPr/>
          </p:nvSpPr>
          <p:spPr bwMode="auto">
            <a:xfrm>
              <a:off x="9861373" y="2006841"/>
              <a:ext cx="36719" cy="19772"/>
            </a:xfrm>
            <a:custGeom>
              <a:avLst/>
              <a:gdLst>
                <a:gd name="T0" fmla="*/ 8 w 11"/>
                <a:gd name="T1" fmla="*/ 0 h 6"/>
                <a:gd name="T2" fmla="*/ 7 w 11"/>
                <a:gd name="T3" fmla="*/ 0 h 6"/>
                <a:gd name="T4" fmla="*/ 4 w 11"/>
                <a:gd name="T5" fmla="*/ 1 h 6"/>
                <a:gd name="T6" fmla="*/ 1 w 11"/>
                <a:gd name="T7" fmla="*/ 3 h 6"/>
                <a:gd name="T8" fmla="*/ 3 w 11"/>
                <a:gd name="T9" fmla="*/ 5 h 6"/>
                <a:gd name="T10" fmla="*/ 3 w 11"/>
                <a:gd name="T11" fmla="*/ 5 h 6"/>
                <a:gd name="T12" fmla="*/ 4 w 11"/>
                <a:gd name="T13" fmla="*/ 6 h 6"/>
                <a:gd name="T14" fmla="*/ 5 w 11"/>
                <a:gd name="T15" fmla="*/ 5 h 6"/>
                <a:gd name="T16" fmla="*/ 6 w 11"/>
                <a:gd name="T17" fmla="*/ 4 h 6"/>
                <a:gd name="T18" fmla="*/ 6 w 11"/>
                <a:gd name="T19" fmla="*/ 4 h 6"/>
                <a:gd name="T20" fmla="*/ 11 w 11"/>
                <a:gd name="T21" fmla="*/ 1 h 6"/>
                <a:gd name="T22" fmla="*/ 8 w 11"/>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6">
                  <a:moveTo>
                    <a:pt x="8" y="0"/>
                  </a:moveTo>
                  <a:cubicBezTo>
                    <a:pt x="8" y="0"/>
                    <a:pt x="8" y="0"/>
                    <a:pt x="7" y="0"/>
                  </a:cubicBezTo>
                  <a:cubicBezTo>
                    <a:pt x="6" y="0"/>
                    <a:pt x="5" y="0"/>
                    <a:pt x="4" y="1"/>
                  </a:cubicBezTo>
                  <a:cubicBezTo>
                    <a:pt x="2" y="1"/>
                    <a:pt x="1" y="1"/>
                    <a:pt x="1" y="3"/>
                  </a:cubicBezTo>
                  <a:cubicBezTo>
                    <a:pt x="0" y="4"/>
                    <a:pt x="1" y="5"/>
                    <a:pt x="3" y="5"/>
                  </a:cubicBezTo>
                  <a:cubicBezTo>
                    <a:pt x="3" y="5"/>
                    <a:pt x="3" y="5"/>
                    <a:pt x="3" y="5"/>
                  </a:cubicBezTo>
                  <a:cubicBezTo>
                    <a:pt x="4" y="6"/>
                    <a:pt x="4" y="6"/>
                    <a:pt x="4" y="6"/>
                  </a:cubicBezTo>
                  <a:cubicBezTo>
                    <a:pt x="5" y="5"/>
                    <a:pt x="5" y="5"/>
                    <a:pt x="5" y="5"/>
                  </a:cubicBezTo>
                  <a:cubicBezTo>
                    <a:pt x="6" y="4"/>
                    <a:pt x="6" y="4"/>
                    <a:pt x="6" y="4"/>
                  </a:cubicBezTo>
                  <a:cubicBezTo>
                    <a:pt x="6" y="4"/>
                    <a:pt x="6" y="4"/>
                    <a:pt x="6" y="4"/>
                  </a:cubicBezTo>
                  <a:cubicBezTo>
                    <a:pt x="8" y="3"/>
                    <a:pt x="9" y="2"/>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9" name="Freeform 199">
              <a:extLst>
                <a:ext uri="{FF2B5EF4-FFF2-40B4-BE49-F238E27FC236}">
                  <a16:creationId xmlns:a16="http://schemas.microsoft.com/office/drawing/2014/main" id="{F3A308AE-EA12-4969-BDCF-B82DD9AA33CF}"/>
                </a:ext>
              </a:extLst>
            </p:cNvPr>
            <p:cNvSpPr>
              <a:spLocks/>
            </p:cNvSpPr>
            <p:nvPr/>
          </p:nvSpPr>
          <p:spPr bwMode="auto">
            <a:xfrm>
              <a:off x="9907978" y="1980007"/>
              <a:ext cx="63552" cy="22596"/>
            </a:xfrm>
            <a:custGeom>
              <a:avLst/>
              <a:gdLst>
                <a:gd name="T0" fmla="*/ 16 w 19"/>
                <a:gd name="T1" fmla="*/ 0 h 7"/>
                <a:gd name="T2" fmla="*/ 11 w 19"/>
                <a:gd name="T3" fmla="*/ 0 h 7"/>
                <a:gd name="T4" fmla="*/ 10 w 19"/>
                <a:gd name="T5" fmla="*/ 0 h 7"/>
                <a:gd name="T6" fmla="*/ 8 w 19"/>
                <a:gd name="T7" fmla="*/ 1 h 7"/>
                <a:gd name="T8" fmla="*/ 4 w 19"/>
                <a:gd name="T9" fmla="*/ 2 h 7"/>
                <a:gd name="T10" fmla="*/ 3 w 19"/>
                <a:gd name="T11" fmla="*/ 2 h 7"/>
                <a:gd name="T12" fmla="*/ 1 w 19"/>
                <a:gd name="T13" fmla="*/ 3 h 7"/>
                <a:gd name="T14" fmla="*/ 2 w 19"/>
                <a:gd name="T15" fmla="*/ 6 h 7"/>
                <a:gd name="T16" fmla="*/ 8 w 19"/>
                <a:gd name="T17" fmla="*/ 7 h 7"/>
                <a:gd name="T18" fmla="*/ 10 w 19"/>
                <a:gd name="T19" fmla="*/ 7 h 7"/>
                <a:gd name="T20" fmla="*/ 11 w 19"/>
                <a:gd name="T21" fmla="*/ 7 h 7"/>
                <a:gd name="T22" fmla="*/ 12 w 19"/>
                <a:gd name="T23" fmla="*/ 7 h 7"/>
                <a:gd name="T24" fmla="*/ 13 w 19"/>
                <a:gd name="T25" fmla="*/ 5 h 7"/>
                <a:gd name="T26" fmla="*/ 14 w 19"/>
                <a:gd name="T27" fmla="*/ 5 h 7"/>
                <a:gd name="T28" fmla="*/ 16 w 19"/>
                <a:gd name="T29" fmla="*/ 3 h 7"/>
                <a:gd name="T30" fmla="*/ 18 w 19"/>
                <a:gd name="T31" fmla="*/ 2 h 7"/>
                <a:gd name="T32" fmla="*/ 16 w 19"/>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7">
                  <a:moveTo>
                    <a:pt x="16" y="0"/>
                  </a:moveTo>
                  <a:cubicBezTo>
                    <a:pt x="14" y="0"/>
                    <a:pt x="11" y="0"/>
                    <a:pt x="11" y="0"/>
                  </a:cubicBezTo>
                  <a:cubicBezTo>
                    <a:pt x="10" y="0"/>
                    <a:pt x="10" y="0"/>
                    <a:pt x="10" y="0"/>
                  </a:cubicBezTo>
                  <a:cubicBezTo>
                    <a:pt x="10" y="1"/>
                    <a:pt x="9" y="1"/>
                    <a:pt x="8" y="1"/>
                  </a:cubicBezTo>
                  <a:cubicBezTo>
                    <a:pt x="7" y="1"/>
                    <a:pt x="5" y="2"/>
                    <a:pt x="4" y="2"/>
                  </a:cubicBezTo>
                  <a:cubicBezTo>
                    <a:pt x="3" y="2"/>
                    <a:pt x="3" y="2"/>
                    <a:pt x="3" y="2"/>
                  </a:cubicBezTo>
                  <a:cubicBezTo>
                    <a:pt x="2" y="2"/>
                    <a:pt x="2" y="2"/>
                    <a:pt x="1" y="3"/>
                  </a:cubicBezTo>
                  <a:cubicBezTo>
                    <a:pt x="0" y="4"/>
                    <a:pt x="1" y="5"/>
                    <a:pt x="2" y="6"/>
                  </a:cubicBezTo>
                  <a:cubicBezTo>
                    <a:pt x="3" y="7"/>
                    <a:pt x="6" y="7"/>
                    <a:pt x="8" y="7"/>
                  </a:cubicBezTo>
                  <a:cubicBezTo>
                    <a:pt x="9" y="7"/>
                    <a:pt x="9" y="7"/>
                    <a:pt x="10" y="7"/>
                  </a:cubicBezTo>
                  <a:cubicBezTo>
                    <a:pt x="11" y="7"/>
                    <a:pt x="11" y="7"/>
                    <a:pt x="11" y="7"/>
                  </a:cubicBezTo>
                  <a:cubicBezTo>
                    <a:pt x="12" y="7"/>
                    <a:pt x="12" y="7"/>
                    <a:pt x="12" y="7"/>
                  </a:cubicBezTo>
                  <a:cubicBezTo>
                    <a:pt x="13" y="7"/>
                    <a:pt x="13" y="6"/>
                    <a:pt x="13" y="5"/>
                  </a:cubicBezTo>
                  <a:cubicBezTo>
                    <a:pt x="14" y="5"/>
                    <a:pt x="14" y="5"/>
                    <a:pt x="14" y="5"/>
                  </a:cubicBezTo>
                  <a:cubicBezTo>
                    <a:pt x="15" y="4"/>
                    <a:pt x="16" y="4"/>
                    <a:pt x="16" y="3"/>
                  </a:cubicBezTo>
                  <a:cubicBezTo>
                    <a:pt x="17" y="3"/>
                    <a:pt x="18" y="3"/>
                    <a:pt x="18" y="2"/>
                  </a:cubicBezTo>
                  <a:cubicBezTo>
                    <a:pt x="19"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0" name="Freeform 200">
              <a:extLst>
                <a:ext uri="{FF2B5EF4-FFF2-40B4-BE49-F238E27FC236}">
                  <a16:creationId xmlns:a16="http://schemas.microsoft.com/office/drawing/2014/main" id="{92F1CA93-3BB4-4BBD-9BC9-C0EDD0773330}"/>
                </a:ext>
              </a:extLst>
            </p:cNvPr>
            <p:cNvSpPr>
              <a:spLocks/>
            </p:cNvSpPr>
            <p:nvPr/>
          </p:nvSpPr>
          <p:spPr bwMode="auto">
            <a:xfrm>
              <a:off x="8789461" y="6728071"/>
              <a:ext cx="80499" cy="19772"/>
            </a:xfrm>
            <a:custGeom>
              <a:avLst/>
              <a:gdLst>
                <a:gd name="T0" fmla="*/ 15 w 24"/>
                <a:gd name="T1" fmla="*/ 0 h 6"/>
                <a:gd name="T2" fmla="*/ 4 w 24"/>
                <a:gd name="T3" fmla="*/ 6 h 6"/>
                <a:gd name="T4" fmla="*/ 24 w 24"/>
                <a:gd name="T5" fmla="*/ 0 h 6"/>
                <a:gd name="T6" fmla="*/ 15 w 24"/>
                <a:gd name="T7" fmla="*/ 0 h 6"/>
              </a:gdLst>
              <a:ahLst/>
              <a:cxnLst>
                <a:cxn ang="0">
                  <a:pos x="T0" y="T1"/>
                </a:cxn>
                <a:cxn ang="0">
                  <a:pos x="T2" y="T3"/>
                </a:cxn>
                <a:cxn ang="0">
                  <a:pos x="T4" y="T5"/>
                </a:cxn>
                <a:cxn ang="0">
                  <a:pos x="T6" y="T7"/>
                </a:cxn>
              </a:cxnLst>
              <a:rect l="0" t="0" r="r" b="b"/>
              <a:pathLst>
                <a:path w="24" h="6">
                  <a:moveTo>
                    <a:pt x="15" y="0"/>
                  </a:moveTo>
                  <a:cubicBezTo>
                    <a:pt x="8" y="0"/>
                    <a:pt x="0" y="1"/>
                    <a:pt x="4" y="6"/>
                  </a:cubicBezTo>
                  <a:cubicBezTo>
                    <a:pt x="11" y="4"/>
                    <a:pt x="18" y="2"/>
                    <a:pt x="24" y="0"/>
                  </a:cubicBezTo>
                  <a:cubicBezTo>
                    <a:pt x="23" y="0"/>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1" name="Freeform 201">
              <a:extLst>
                <a:ext uri="{FF2B5EF4-FFF2-40B4-BE49-F238E27FC236}">
                  <a16:creationId xmlns:a16="http://schemas.microsoft.com/office/drawing/2014/main" id="{234A576E-D423-4877-B26D-DD1F90751519}"/>
                </a:ext>
              </a:extLst>
            </p:cNvPr>
            <p:cNvSpPr>
              <a:spLocks/>
            </p:cNvSpPr>
            <p:nvPr/>
          </p:nvSpPr>
          <p:spPr bwMode="auto">
            <a:xfrm>
              <a:off x="9002713" y="5195754"/>
              <a:ext cx="19772" cy="12710"/>
            </a:xfrm>
            <a:custGeom>
              <a:avLst/>
              <a:gdLst>
                <a:gd name="T0" fmla="*/ 0 w 6"/>
                <a:gd name="T1" fmla="*/ 0 h 4"/>
                <a:gd name="T2" fmla="*/ 5 w 6"/>
                <a:gd name="T3" fmla="*/ 4 h 4"/>
                <a:gd name="T4" fmla="*/ 0 w 6"/>
                <a:gd name="T5" fmla="*/ 0 h 4"/>
              </a:gdLst>
              <a:ahLst/>
              <a:cxnLst>
                <a:cxn ang="0">
                  <a:pos x="T0" y="T1"/>
                </a:cxn>
                <a:cxn ang="0">
                  <a:pos x="T2" y="T3"/>
                </a:cxn>
                <a:cxn ang="0">
                  <a:pos x="T4" y="T5"/>
                </a:cxn>
              </a:cxnLst>
              <a:rect l="0" t="0" r="r" b="b"/>
              <a:pathLst>
                <a:path w="6" h="4">
                  <a:moveTo>
                    <a:pt x="0" y="0"/>
                  </a:moveTo>
                  <a:cubicBezTo>
                    <a:pt x="2" y="1"/>
                    <a:pt x="3" y="3"/>
                    <a:pt x="5" y="4"/>
                  </a:cubicBezTo>
                  <a:cubicBezTo>
                    <a:pt x="6" y="0"/>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2" name="Freeform 202">
              <a:extLst>
                <a:ext uri="{FF2B5EF4-FFF2-40B4-BE49-F238E27FC236}">
                  <a16:creationId xmlns:a16="http://schemas.microsoft.com/office/drawing/2014/main" id="{498183A7-53A8-475A-B592-10DC5C9EC037}"/>
                </a:ext>
              </a:extLst>
            </p:cNvPr>
            <p:cNvSpPr>
              <a:spLocks noEditPoints="1"/>
            </p:cNvSpPr>
            <p:nvPr/>
          </p:nvSpPr>
          <p:spPr bwMode="auto">
            <a:xfrm>
              <a:off x="9186308" y="6363704"/>
              <a:ext cx="156762" cy="112982"/>
            </a:xfrm>
            <a:custGeom>
              <a:avLst/>
              <a:gdLst>
                <a:gd name="T0" fmla="*/ 30 w 47"/>
                <a:gd name="T1" fmla="*/ 7 h 34"/>
                <a:gd name="T2" fmla="*/ 30 w 47"/>
                <a:gd name="T3" fmla="*/ 7 h 34"/>
                <a:gd name="T4" fmla="*/ 15 w 47"/>
                <a:gd name="T5" fmla="*/ 5 h 34"/>
                <a:gd name="T6" fmla="*/ 15 w 47"/>
                <a:gd name="T7" fmla="*/ 8 h 34"/>
                <a:gd name="T8" fmla="*/ 17 w 47"/>
                <a:gd name="T9" fmla="*/ 17 h 34"/>
                <a:gd name="T10" fmla="*/ 13 w 47"/>
                <a:gd name="T11" fmla="*/ 14 h 34"/>
                <a:gd name="T12" fmla="*/ 3 w 47"/>
                <a:gd name="T13" fmla="*/ 29 h 34"/>
                <a:gd name="T14" fmla="*/ 3 w 47"/>
                <a:gd name="T15" fmla="*/ 29 h 34"/>
                <a:gd name="T16" fmla="*/ 4 w 47"/>
                <a:gd name="T17" fmla="*/ 29 h 34"/>
                <a:gd name="T18" fmla="*/ 5 w 47"/>
                <a:gd name="T19" fmla="*/ 31 h 34"/>
                <a:gd name="T20" fmla="*/ 7 w 47"/>
                <a:gd name="T21" fmla="*/ 27 h 34"/>
                <a:gd name="T22" fmla="*/ 10 w 47"/>
                <a:gd name="T23" fmla="*/ 28 h 34"/>
                <a:gd name="T24" fmla="*/ 15 w 47"/>
                <a:gd name="T25" fmla="*/ 30 h 34"/>
                <a:gd name="T26" fmla="*/ 13 w 47"/>
                <a:gd name="T27" fmla="*/ 23 h 34"/>
                <a:gd name="T28" fmla="*/ 19 w 47"/>
                <a:gd name="T29" fmla="*/ 26 h 34"/>
                <a:gd name="T30" fmla="*/ 22 w 47"/>
                <a:gd name="T31" fmla="*/ 25 h 34"/>
                <a:gd name="T32" fmla="*/ 25 w 47"/>
                <a:gd name="T33" fmla="*/ 27 h 34"/>
                <a:gd name="T34" fmla="*/ 26 w 47"/>
                <a:gd name="T35" fmla="*/ 23 h 34"/>
                <a:gd name="T36" fmla="*/ 18 w 47"/>
                <a:gd name="T37" fmla="*/ 17 h 34"/>
                <a:gd name="T38" fmla="*/ 22 w 47"/>
                <a:gd name="T39" fmla="*/ 20 h 34"/>
                <a:gd name="T40" fmla="*/ 24 w 47"/>
                <a:gd name="T41" fmla="*/ 20 h 34"/>
                <a:gd name="T42" fmla="*/ 25 w 47"/>
                <a:gd name="T43" fmla="*/ 20 h 34"/>
                <a:gd name="T44" fmla="*/ 29 w 47"/>
                <a:gd name="T45" fmla="*/ 20 h 34"/>
                <a:gd name="T46" fmla="*/ 37 w 47"/>
                <a:gd name="T47" fmla="*/ 16 h 34"/>
                <a:gd name="T48" fmla="*/ 37 w 47"/>
                <a:gd name="T49" fmla="*/ 10 h 34"/>
                <a:gd name="T50" fmla="*/ 41 w 47"/>
                <a:gd name="T51" fmla="*/ 9 h 34"/>
                <a:gd name="T52" fmla="*/ 43 w 47"/>
                <a:gd name="T53" fmla="*/ 5 h 34"/>
                <a:gd name="T54" fmla="*/ 36 w 47"/>
                <a:gd name="T55" fmla="*/ 4 h 34"/>
                <a:gd name="T56" fmla="*/ 33 w 47"/>
                <a:gd name="T57" fmla="*/ 10 h 34"/>
                <a:gd name="T58" fmla="*/ 32 w 47"/>
                <a:gd name="T59" fmla="*/ 10 h 34"/>
                <a:gd name="T60" fmla="*/ 32 w 47"/>
                <a:gd name="T61" fmla="*/ 10 h 34"/>
                <a:gd name="T62" fmla="*/ 30 w 47"/>
                <a:gd name="T63" fmla="*/ 8 h 34"/>
                <a:gd name="T64" fmla="*/ 30 w 47"/>
                <a:gd name="T65" fmla="*/ 7 h 34"/>
                <a:gd name="T66" fmla="*/ 29 w 47"/>
                <a:gd name="T67" fmla="*/ 7 h 34"/>
                <a:gd name="T68" fmla="*/ 28 w 47"/>
                <a:gd name="T69" fmla="*/ 7 h 34"/>
                <a:gd name="T70" fmla="*/ 29 w 47"/>
                <a:gd name="T71" fmla="*/ 5 h 34"/>
                <a:gd name="T72" fmla="*/ 32 w 47"/>
                <a:gd name="T73" fmla="*/ 6 h 34"/>
                <a:gd name="T74" fmla="*/ 28 w 47"/>
                <a:gd name="T75" fmla="*/ 2 h 34"/>
                <a:gd name="T76" fmla="*/ 23 w 47"/>
                <a:gd name="T7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34">
                  <a:moveTo>
                    <a:pt x="30" y="7"/>
                  </a:moveTo>
                  <a:cubicBezTo>
                    <a:pt x="30" y="7"/>
                    <a:pt x="30" y="7"/>
                    <a:pt x="30" y="7"/>
                  </a:cubicBezTo>
                  <a:cubicBezTo>
                    <a:pt x="30" y="7"/>
                    <a:pt x="30" y="7"/>
                    <a:pt x="30" y="7"/>
                  </a:cubicBezTo>
                  <a:cubicBezTo>
                    <a:pt x="30" y="7"/>
                    <a:pt x="30" y="7"/>
                    <a:pt x="30" y="7"/>
                  </a:cubicBezTo>
                  <a:moveTo>
                    <a:pt x="19" y="0"/>
                  </a:moveTo>
                  <a:cubicBezTo>
                    <a:pt x="20" y="4"/>
                    <a:pt x="20" y="4"/>
                    <a:pt x="15" y="5"/>
                  </a:cubicBezTo>
                  <a:cubicBezTo>
                    <a:pt x="16" y="7"/>
                    <a:pt x="18" y="7"/>
                    <a:pt x="17" y="10"/>
                  </a:cubicBezTo>
                  <a:cubicBezTo>
                    <a:pt x="16" y="9"/>
                    <a:pt x="15" y="9"/>
                    <a:pt x="15" y="8"/>
                  </a:cubicBezTo>
                  <a:cubicBezTo>
                    <a:pt x="14" y="12"/>
                    <a:pt x="16" y="11"/>
                    <a:pt x="17" y="13"/>
                  </a:cubicBezTo>
                  <a:cubicBezTo>
                    <a:pt x="18" y="13"/>
                    <a:pt x="17" y="15"/>
                    <a:pt x="17" y="17"/>
                  </a:cubicBezTo>
                  <a:cubicBezTo>
                    <a:pt x="16" y="15"/>
                    <a:pt x="16" y="14"/>
                    <a:pt x="15" y="14"/>
                  </a:cubicBezTo>
                  <a:cubicBezTo>
                    <a:pt x="14" y="14"/>
                    <a:pt x="14" y="14"/>
                    <a:pt x="13" y="14"/>
                  </a:cubicBezTo>
                  <a:cubicBezTo>
                    <a:pt x="8" y="16"/>
                    <a:pt x="4" y="23"/>
                    <a:pt x="0" y="27"/>
                  </a:cubicBezTo>
                  <a:cubicBezTo>
                    <a:pt x="2" y="27"/>
                    <a:pt x="2" y="28"/>
                    <a:pt x="3" y="29"/>
                  </a:cubicBezTo>
                  <a:cubicBezTo>
                    <a:pt x="3" y="29"/>
                    <a:pt x="3" y="29"/>
                    <a:pt x="3" y="29"/>
                  </a:cubicBezTo>
                  <a:cubicBezTo>
                    <a:pt x="3" y="29"/>
                    <a:pt x="3" y="29"/>
                    <a:pt x="3" y="29"/>
                  </a:cubicBezTo>
                  <a:cubicBezTo>
                    <a:pt x="3" y="29"/>
                    <a:pt x="3" y="29"/>
                    <a:pt x="4" y="29"/>
                  </a:cubicBezTo>
                  <a:cubicBezTo>
                    <a:pt x="4" y="29"/>
                    <a:pt x="4" y="29"/>
                    <a:pt x="4" y="29"/>
                  </a:cubicBezTo>
                  <a:cubicBezTo>
                    <a:pt x="4" y="30"/>
                    <a:pt x="4" y="30"/>
                    <a:pt x="4" y="31"/>
                  </a:cubicBezTo>
                  <a:cubicBezTo>
                    <a:pt x="5" y="31"/>
                    <a:pt x="5" y="31"/>
                    <a:pt x="5" y="31"/>
                  </a:cubicBezTo>
                  <a:cubicBezTo>
                    <a:pt x="7" y="32"/>
                    <a:pt x="8" y="33"/>
                    <a:pt x="9" y="34"/>
                  </a:cubicBezTo>
                  <a:cubicBezTo>
                    <a:pt x="9" y="32"/>
                    <a:pt x="7" y="30"/>
                    <a:pt x="7" y="27"/>
                  </a:cubicBezTo>
                  <a:cubicBezTo>
                    <a:pt x="7" y="27"/>
                    <a:pt x="8" y="27"/>
                    <a:pt x="8" y="27"/>
                  </a:cubicBezTo>
                  <a:cubicBezTo>
                    <a:pt x="9" y="27"/>
                    <a:pt x="9" y="27"/>
                    <a:pt x="10" y="28"/>
                  </a:cubicBezTo>
                  <a:cubicBezTo>
                    <a:pt x="12" y="29"/>
                    <a:pt x="11" y="29"/>
                    <a:pt x="13" y="30"/>
                  </a:cubicBezTo>
                  <a:cubicBezTo>
                    <a:pt x="14" y="30"/>
                    <a:pt x="14" y="30"/>
                    <a:pt x="15" y="30"/>
                  </a:cubicBezTo>
                  <a:cubicBezTo>
                    <a:pt x="18" y="30"/>
                    <a:pt x="13" y="24"/>
                    <a:pt x="10" y="23"/>
                  </a:cubicBezTo>
                  <a:cubicBezTo>
                    <a:pt x="11" y="23"/>
                    <a:pt x="12" y="23"/>
                    <a:pt x="13" y="23"/>
                  </a:cubicBezTo>
                  <a:cubicBezTo>
                    <a:pt x="14" y="23"/>
                    <a:pt x="16" y="23"/>
                    <a:pt x="17" y="24"/>
                  </a:cubicBezTo>
                  <a:cubicBezTo>
                    <a:pt x="18" y="25"/>
                    <a:pt x="18" y="26"/>
                    <a:pt x="19" y="26"/>
                  </a:cubicBezTo>
                  <a:cubicBezTo>
                    <a:pt x="19" y="26"/>
                    <a:pt x="20" y="26"/>
                    <a:pt x="20" y="26"/>
                  </a:cubicBezTo>
                  <a:cubicBezTo>
                    <a:pt x="21" y="25"/>
                    <a:pt x="21" y="25"/>
                    <a:pt x="22" y="25"/>
                  </a:cubicBezTo>
                  <a:cubicBezTo>
                    <a:pt x="22" y="25"/>
                    <a:pt x="23" y="25"/>
                    <a:pt x="24" y="25"/>
                  </a:cubicBezTo>
                  <a:cubicBezTo>
                    <a:pt x="24" y="25"/>
                    <a:pt x="25" y="27"/>
                    <a:pt x="25" y="27"/>
                  </a:cubicBezTo>
                  <a:cubicBezTo>
                    <a:pt x="25" y="27"/>
                    <a:pt x="25" y="27"/>
                    <a:pt x="25" y="27"/>
                  </a:cubicBezTo>
                  <a:cubicBezTo>
                    <a:pt x="26" y="27"/>
                    <a:pt x="26" y="24"/>
                    <a:pt x="26" y="23"/>
                  </a:cubicBezTo>
                  <a:cubicBezTo>
                    <a:pt x="24" y="22"/>
                    <a:pt x="21" y="21"/>
                    <a:pt x="19" y="20"/>
                  </a:cubicBezTo>
                  <a:cubicBezTo>
                    <a:pt x="18" y="19"/>
                    <a:pt x="17" y="17"/>
                    <a:pt x="18" y="17"/>
                  </a:cubicBezTo>
                  <a:cubicBezTo>
                    <a:pt x="19" y="17"/>
                    <a:pt x="19" y="17"/>
                    <a:pt x="19" y="18"/>
                  </a:cubicBezTo>
                  <a:cubicBezTo>
                    <a:pt x="20" y="18"/>
                    <a:pt x="21" y="19"/>
                    <a:pt x="22" y="20"/>
                  </a:cubicBezTo>
                  <a:cubicBezTo>
                    <a:pt x="23" y="20"/>
                    <a:pt x="23" y="20"/>
                    <a:pt x="23" y="20"/>
                  </a:cubicBezTo>
                  <a:cubicBezTo>
                    <a:pt x="23" y="20"/>
                    <a:pt x="24" y="20"/>
                    <a:pt x="24" y="20"/>
                  </a:cubicBezTo>
                  <a:cubicBezTo>
                    <a:pt x="24" y="20"/>
                    <a:pt x="25" y="20"/>
                    <a:pt x="25" y="20"/>
                  </a:cubicBezTo>
                  <a:cubicBezTo>
                    <a:pt x="25" y="20"/>
                    <a:pt x="25" y="20"/>
                    <a:pt x="25" y="20"/>
                  </a:cubicBezTo>
                  <a:cubicBezTo>
                    <a:pt x="26" y="20"/>
                    <a:pt x="26" y="20"/>
                    <a:pt x="27" y="20"/>
                  </a:cubicBezTo>
                  <a:cubicBezTo>
                    <a:pt x="28" y="20"/>
                    <a:pt x="29" y="20"/>
                    <a:pt x="29" y="20"/>
                  </a:cubicBezTo>
                  <a:cubicBezTo>
                    <a:pt x="31" y="19"/>
                    <a:pt x="32" y="20"/>
                    <a:pt x="33" y="19"/>
                  </a:cubicBezTo>
                  <a:cubicBezTo>
                    <a:pt x="35" y="18"/>
                    <a:pt x="36" y="16"/>
                    <a:pt x="37" y="16"/>
                  </a:cubicBezTo>
                  <a:cubicBezTo>
                    <a:pt x="40" y="15"/>
                    <a:pt x="43" y="15"/>
                    <a:pt x="46" y="14"/>
                  </a:cubicBezTo>
                  <a:cubicBezTo>
                    <a:pt x="45" y="10"/>
                    <a:pt x="38" y="12"/>
                    <a:pt x="37" y="10"/>
                  </a:cubicBezTo>
                  <a:cubicBezTo>
                    <a:pt x="37" y="9"/>
                    <a:pt x="38" y="8"/>
                    <a:pt x="39" y="8"/>
                  </a:cubicBezTo>
                  <a:cubicBezTo>
                    <a:pt x="39" y="8"/>
                    <a:pt x="40" y="9"/>
                    <a:pt x="41" y="9"/>
                  </a:cubicBezTo>
                  <a:cubicBezTo>
                    <a:pt x="42" y="9"/>
                    <a:pt x="43" y="9"/>
                    <a:pt x="44" y="9"/>
                  </a:cubicBezTo>
                  <a:cubicBezTo>
                    <a:pt x="46" y="9"/>
                    <a:pt x="47" y="8"/>
                    <a:pt x="43" y="5"/>
                  </a:cubicBezTo>
                  <a:cubicBezTo>
                    <a:pt x="42" y="4"/>
                    <a:pt x="40" y="4"/>
                    <a:pt x="39" y="4"/>
                  </a:cubicBezTo>
                  <a:cubicBezTo>
                    <a:pt x="37" y="4"/>
                    <a:pt x="36" y="4"/>
                    <a:pt x="36" y="4"/>
                  </a:cubicBezTo>
                  <a:cubicBezTo>
                    <a:pt x="31" y="7"/>
                    <a:pt x="38" y="10"/>
                    <a:pt x="35" y="12"/>
                  </a:cubicBezTo>
                  <a:cubicBezTo>
                    <a:pt x="35" y="11"/>
                    <a:pt x="34" y="10"/>
                    <a:pt x="33" y="10"/>
                  </a:cubicBezTo>
                  <a:cubicBezTo>
                    <a:pt x="33" y="10"/>
                    <a:pt x="33" y="9"/>
                    <a:pt x="33" y="9"/>
                  </a:cubicBezTo>
                  <a:cubicBezTo>
                    <a:pt x="33" y="9"/>
                    <a:pt x="33" y="10"/>
                    <a:pt x="32" y="10"/>
                  </a:cubicBezTo>
                  <a:cubicBezTo>
                    <a:pt x="32" y="10"/>
                    <a:pt x="32" y="10"/>
                    <a:pt x="32" y="10"/>
                  </a:cubicBezTo>
                  <a:cubicBezTo>
                    <a:pt x="32" y="10"/>
                    <a:pt x="32" y="10"/>
                    <a:pt x="32" y="10"/>
                  </a:cubicBezTo>
                  <a:cubicBezTo>
                    <a:pt x="30" y="8"/>
                    <a:pt x="30" y="8"/>
                    <a:pt x="30" y="8"/>
                  </a:cubicBezTo>
                  <a:cubicBezTo>
                    <a:pt x="30" y="8"/>
                    <a:pt x="30" y="8"/>
                    <a:pt x="30" y="8"/>
                  </a:cubicBezTo>
                  <a:cubicBezTo>
                    <a:pt x="31" y="8"/>
                    <a:pt x="30" y="8"/>
                    <a:pt x="30" y="8"/>
                  </a:cubicBezTo>
                  <a:cubicBezTo>
                    <a:pt x="30" y="7"/>
                    <a:pt x="30" y="7"/>
                    <a:pt x="30" y="7"/>
                  </a:cubicBezTo>
                  <a:cubicBezTo>
                    <a:pt x="30" y="7"/>
                    <a:pt x="30" y="7"/>
                    <a:pt x="30" y="7"/>
                  </a:cubicBezTo>
                  <a:cubicBezTo>
                    <a:pt x="30" y="7"/>
                    <a:pt x="29" y="7"/>
                    <a:pt x="29" y="7"/>
                  </a:cubicBezTo>
                  <a:cubicBezTo>
                    <a:pt x="29" y="7"/>
                    <a:pt x="29" y="7"/>
                    <a:pt x="29" y="7"/>
                  </a:cubicBezTo>
                  <a:cubicBezTo>
                    <a:pt x="28" y="7"/>
                    <a:pt x="28" y="7"/>
                    <a:pt x="28" y="7"/>
                  </a:cubicBezTo>
                  <a:cubicBezTo>
                    <a:pt x="28" y="7"/>
                    <a:pt x="28" y="6"/>
                    <a:pt x="28" y="6"/>
                  </a:cubicBezTo>
                  <a:cubicBezTo>
                    <a:pt x="28" y="5"/>
                    <a:pt x="28" y="5"/>
                    <a:pt x="29" y="5"/>
                  </a:cubicBezTo>
                  <a:cubicBezTo>
                    <a:pt x="29" y="5"/>
                    <a:pt x="30" y="5"/>
                    <a:pt x="30" y="5"/>
                  </a:cubicBezTo>
                  <a:cubicBezTo>
                    <a:pt x="31" y="5"/>
                    <a:pt x="31" y="6"/>
                    <a:pt x="32" y="6"/>
                  </a:cubicBezTo>
                  <a:cubicBezTo>
                    <a:pt x="32" y="6"/>
                    <a:pt x="33" y="5"/>
                    <a:pt x="32" y="4"/>
                  </a:cubicBezTo>
                  <a:cubicBezTo>
                    <a:pt x="31" y="2"/>
                    <a:pt x="30" y="2"/>
                    <a:pt x="28" y="2"/>
                  </a:cubicBezTo>
                  <a:cubicBezTo>
                    <a:pt x="28" y="2"/>
                    <a:pt x="28" y="2"/>
                    <a:pt x="28" y="2"/>
                  </a:cubicBezTo>
                  <a:cubicBezTo>
                    <a:pt x="26" y="2"/>
                    <a:pt x="25" y="2"/>
                    <a:pt x="23" y="2"/>
                  </a:cubicBezTo>
                  <a:cubicBezTo>
                    <a:pt x="22" y="2"/>
                    <a:pt x="20"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3" name="Freeform 203">
              <a:extLst>
                <a:ext uri="{FF2B5EF4-FFF2-40B4-BE49-F238E27FC236}">
                  <a16:creationId xmlns:a16="http://schemas.microsoft.com/office/drawing/2014/main" id="{30FFCFDE-3619-4D41-A513-C162F93C6ECE}"/>
                </a:ext>
              </a:extLst>
            </p:cNvPr>
            <p:cNvSpPr>
              <a:spLocks/>
            </p:cNvSpPr>
            <p:nvPr/>
          </p:nvSpPr>
          <p:spPr bwMode="auto">
            <a:xfrm>
              <a:off x="9076151" y="6417371"/>
              <a:ext cx="24009" cy="19772"/>
            </a:xfrm>
            <a:custGeom>
              <a:avLst/>
              <a:gdLst>
                <a:gd name="T0" fmla="*/ 6 w 7"/>
                <a:gd name="T1" fmla="*/ 0 h 6"/>
                <a:gd name="T2" fmla="*/ 5 w 7"/>
                <a:gd name="T3" fmla="*/ 0 h 6"/>
                <a:gd name="T4" fmla="*/ 2 w 7"/>
                <a:gd name="T5" fmla="*/ 2 h 6"/>
                <a:gd name="T6" fmla="*/ 1 w 7"/>
                <a:gd name="T7" fmla="*/ 2 h 6"/>
                <a:gd name="T8" fmla="*/ 1 w 7"/>
                <a:gd name="T9" fmla="*/ 2 h 6"/>
                <a:gd name="T10" fmla="*/ 1 w 7"/>
                <a:gd name="T11" fmla="*/ 2 h 6"/>
                <a:gd name="T12" fmla="*/ 1 w 7"/>
                <a:gd name="T13" fmla="*/ 2 h 6"/>
                <a:gd name="T14" fmla="*/ 4 w 7"/>
                <a:gd name="T15" fmla="*/ 6 h 6"/>
                <a:gd name="T16" fmla="*/ 6 w 7"/>
                <a:gd name="T17" fmla="*/ 2 h 6"/>
                <a:gd name="T18" fmla="*/ 6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6" y="0"/>
                  </a:moveTo>
                  <a:cubicBezTo>
                    <a:pt x="6" y="0"/>
                    <a:pt x="5" y="0"/>
                    <a:pt x="5" y="0"/>
                  </a:cubicBezTo>
                  <a:cubicBezTo>
                    <a:pt x="4" y="0"/>
                    <a:pt x="2" y="1"/>
                    <a:pt x="2" y="2"/>
                  </a:cubicBezTo>
                  <a:cubicBezTo>
                    <a:pt x="2" y="2"/>
                    <a:pt x="1" y="2"/>
                    <a:pt x="1" y="2"/>
                  </a:cubicBezTo>
                  <a:cubicBezTo>
                    <a:pt x="1" y="2"/>
                    <a:pt x="1" y="2"/>
                    <a:pt x="1" y="2"/>
                  </a:cubicBezTo>
                  <a:cubicBezTo>
                    <a:pt x="1" y="2"/>
                    <a:pt x="1" y="2"/>
                    <a:pt x="1" y="2"/>
                  </a:cubicBezTo>
                  <a:cubicBezTo>
                    <a:pt x="1" y="2"/>
                    <a:pt x="0" y="2"/>
                    <a:pt x="1" y="2"/>
                  </a:cubicBezTo>
                  <a:cubicBezTo>
                    <a:pt x="1" y="4"/>
                    <a:pt x="3" y="5"/>
                    <a:pt x="4" y="6"/>
                  </a:cubicBezTo>
                  <a:cubicBezTo>
                    <a:pt x="7" y="6"/>
                    <a:pt x="6" y="5"/>
                    <a:pt x="6" y="2"/>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4" name="Freeform 204">
              <a:extLst>
                <a:ext uri="{FF2B5EF4-FFF2-40B4-BE49-F238E27FC236}">
                  <a16:creationId xmlns:a16="http://schemas.microsoft.com/office/drawing/2014/main" id="{9C0516E4-7B77-4DAF-AF9C-BC26BF211011}"/>
                </a:ext>
              </a:extLst>
            </p:cNvPr>
            <p:cNvSpPr>
              <a:spLocks/>
            </p:cNvSpPr>
            <p:nvPr/>
          </p:nvSpPr>
          <p:spPr bwMode="auto">
            <a:xfrm>
              <a:off x="9086037" y="6373590"/>
              <a:ext cx="141227" cy="93210"/>
            </a:xfrm>
            <a:custGeom>
              <a:avLst/>
              <a:gdLst>
                <a:gd name="T0" fmla="*/ 38 w 42"/>
                <a:gd name="T1" fmla="*/ 0 h 28"/>
                <a:gd name="T2" fmla="*/ 36 w 42"/>
                <a:gd name="T3" fmla="*/ 1 h 28"/>
                <a:gd name="T4" fmla="*/ 31 w 42"/>
                <a:gd name="T5" fmla="*/ 3 h 28"/>
                <a:gd name="T6" fmla="*/ 30 w 42"/>
                <a:gd name="T7" fmla="*/ 3 h 28"/>
                <a:gd name="T8" fmla="*/ 28 w 42"/>
                <a:gd name="T9" fmla="*/ 2 h 28"/>
                <a:gd name="T10" fmla="*/ 26 w 42"/>
                <a:gd name="T11" fmla="*/ 1 h 28"/>
                <a:gd name="T12" fmla="*/ 25 w 42"/>
                <a:gd name="T13" fmla="*/ 2 h 28"/>
                <a:gd name="T14" fmla="*/ 18 w 42"/>
                <a:gd name="T15" fmla="*/ 4 h 28"/>
                <a:gd name="T16" fmla="*/ 16 w 42"/>
                <a:gd name="T17" fmla="*/ 3 h 28"/>
                <a:gd name="T18" fmla="*/ 9 w 42"/>
                <a:gd name="T19" fmla="*/ 0 h 28"/>
                <a:gd name="T20" fmla="*/ 15 w 42"/>
                <a:gd name="T21" fmla="*/ 4 h 28"/>
                <a:gd name="T22" fmla="*/ 15 w 42"/>
                <a:gd name="T23" fmla="*/ 4 h 28"/>
                <a:gd name="T24" fmla="*/ 12 w 42"/>
                <a:gd name="T25" fmla="*/ 4 h 28"/>
                <a:gd name="T26" fmla="*/ 22 w 42"/>
                <a:gd name="T27" fmla="*/ 10 h 28"/>
                <a:gd name="T28" fmla="*/ 17 w 42"/>
                <a:gd name="T29" fmla="*/ 10 h 28"/>
                <a:gd name="T30" fmla="*/ 15 w 42"/>
                <a:gd name="T31" fmla="*/ 10 h 28"/>
                <a:gd name="T32" fmla="*/ 12 w 42"/>
                <a:gd name="T33" fmla="*/ 11 h 28"/>
                <a:gd name="T34" fmla="*/ 9 w 42"/>
                <a:gd name="T35" fmla="*/ 10 h 28"/>
                <a:gd name="T36" fmla="*/ 12 w 42"/>
                <a:gd name="T37" fmla="*/ 13 h 28"/>
                <a:gd name="T38" fmla="*/ 19 w 42"/>
                <a:gd name="T39" fmla="*/ 11 h 28"/>
                <a:gd name="T40" fmla="*/ 19 w 42"/>
                <a:gd name="T41" fmla="*/ 11 h 28"/>
                <a:gd name="T42" fmla="*/ 15 w 42"/>
                <a:gd name="T43" fmla="*/ 14 h 28"/>
                <a:gd name="T44" fmla="*/ 15 w 42"/>
                <a:gd name="T45" fmla="*/ 13 h 28"/>
                <a:gd name="T46" fmla="*/ 10 w 42"/>
                <a:gd name="T47" fmla="*/ 18 h 28"/>
                <a:gd name="T48" fmla="*/ 12 w 42"/>
                <a:gd name="T49" fmla="*/ 18 h 28"/>
                <a:gd name="T50" fmla="*/ 14 w 42"/>
                <a:gd name="T51" fmla="*/ 17 h 28"/>
                <a:gd name="T52" fmla="*/ 10 w 42"/>
                <a:gd name="T53" fmla="*/ 19 h 28"/>
                <a:gd name="T54" fmla="*/ 9 w 42"/>
                <a:gd name="T55" fmla="*/ 19 h 28"/>
                <a:gd name="T56" fmla="*/ 7 w 42"/>
                <a:gd name="T57" fmla="*/ 19 h 28"/>
                <a:gd name="T58" fmla="*/ 7 w 42"/>
                <a:gd name="T59" fmla="*/ 19 h 28"/>
                <a:gd name="T60" fmla="*/ 3 w 42"/>
                <a:gd name="T61" fmla="*/ 21 h 28"/>
                <a:gd name="T62" fmla="*/ 2 w 42"/>
                <a:gd name="T63" fmla="*/ 21 h 28"/>
                <a:gd name="T64" fmla="*/ 0 w 42"/>
                <a:gd name="T65" fmla="*/ 20 h 28"/>
                <a:gd name="T66" fmla="*/ 9 w 42"/>
                <a:gd name="T67" fmla="*/ 28 h 28"/>
                <a:gd name="T68" fmla="*/ 11 w 42"/>
                <a:gd name="T69" fmla="*/ 24 h 28"/>
                <a:gd name="T70" fmla="*/ 14 w 42"/>
                <a:gd name="T71" fmla="*/ 25 h 28"/>
                <a:gd name="T72" fmla="*/ 17 w 42"/>
                <a:gd name="T73" fmla="*/ 24 h 28"/>
                <a:gd name="T74" fmla="*/ 19 w 42"/>
                <a:gd name="T75" fmla="*/ 19 h 28"/>
                <a:gd name="T76" fmla="*/ 19 w 42"/>
                <a:gd name="T77" fmla="*/ 19 h 28"/>
                <a:gd name="T78" fmla="*/ 20 w 42"/>
                <a:gd name="T79" fmla="*/ 20 h 28"/>
                <a:gd name="T80" fmla="*/ 21 w 42"/>
                <a:gd name="T81" fmla="*/ 20 h 28"/>
                <a:gd name="T82" fmla="*/ 21 w 42"/>
                <a:gd name="T83" fmla="*/ 20 h 28"/>
                <a:gd name="T84" fmla="*/ 22 w 42"/>
                <a:gd name="T85" fmla="*/ 19 h 28"/>
                <a:gd name="T86" fmla="*/ 22 w 42"/>
                <a:gd name="T87" fmla="*/ 19 h 28"/>
                <a:gd name="T88" fmla="*/ 23 w 42"/>
                <a:gd name="T89" fmla="*/ 19 h 28"/>
                <a:gd name="T90" fmla="*/ 25 w 42"/>
                <a:gd name="T91" fmla="*/ 19 h 28"/>
                <a:gd name="T92" fmla="*/ 26 w 42"/>
                <a:gd name="T93" fmla="*/ 19 h 28"/>
                <a:gd name="T94" fmla="*/ 32 w 42"/>
                <a:gd name="T95" fmla="*/ 13 h 28"/>
                <a:gd name="T96" fmla="*/ 34 w 42"/>
                <a:gd name="T97" fmla="*/ 10 h 28"/>
                <a:gd name="T98" fmla="*/ 36 w 42"/>
                <a:gd name="T99" fmla="*/ 8 h 28"/>
                <a:gd name="T100" fmla="*/ 36 w 42"/>
                <a:gd name="T101" fmla="*/ 8 h 28"/>
                <a:gd name="T102" fmla="*/ 37 w 42"/>
                <a:gd name="T103" fmla="*/ 8 h 28"/>
                <a:gd name="T104" fmla="*/ 37 w 42"/>
                <a:gd name="T105" fmla="*/ 8 h 28"/>
                <a:gd name="T106" fmla="*/ 37 w 42"/>
                <a:gd name="T107" fmla="*/ 8 h 28"/>
                <a:gd name="T108" fmla="*/ 39 w 42"/>
                <a:gd name="T109" fmla="*/ 4 h 28"/>
                <a:gd name="T110" fmla="*/ 42 w 42"/>
                <a:gd name="T111" fmla="*/ 2 h 28"/>
                <a:gd name="T112" fmla="*/ 38 w 42"/>
                <a:gd name="T11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28">
                  <a:moveTo>
                    <a:pt x="38" y="0"/>
                  </a:moveTo>
                  <a:cubicBezTo>
                    <a:pt x="37" y="0"/>
                    <a:pt x="37" y="0"/>
                    <a:pt x="36" y="1"/>
                  </a:cubicBezTo>
                  <a:cubicBezTo>
                    <a:pt x="34" y="2"/>
                    <a:pt x="33" y="3"/>
                    <a:pt x="31" y="3"/>
                  </a:cubicBezTo>
                  <a:cubicBezTo>
                    <a:pt x="31" y="3"/>
                    <a:pt x="30" y="3"/>
                    <a:pt x="30" y="3"/>
                  </a:cubicBezTo>
                  <a:cubicBezTo>
                    <a:pt x="29" y="3"/>
                    <a:pt x="29" y="2"/>
                    <a:pt x="28" y="2"/>
                  </a:cubicBezTo>
                  <a:cubicBezTo>
                    <a:pt x="27" y="1"/>
                    <a:pt x="27" y="1"/>
                    <a:pt x="26" y="1"/>
                  </a:cubicBezTo>
                  <a:cubicBezTo>
                    <a:pt x="26" y="1"/>
                    <a:pt x="26" y="2"/>
                    <a:pt x="25" y="2"/>
                  </a:cubicBezTo>
                  <a:cubicBezTo>
                    <a:pt x="22" y="2"/>
                    <a:pt x="21" y="4"/>
                    <a:pt x="18" y="4"/>
                  </a:cubicBezTo>
                  <a:cubicBezTo>
                    <a:pt x="17" y="4"/>
                    <a:pt x="17" y="4"/>
                    <a:pt x="16" y="3"/>
                  </a:cubicBezTo>
                  <a:cubicBezTo>
                    <a:pt x="14" y="2"/>
                    <a:pt x="12" y="1"/>
                    <a:pt x="9" y="0"/>
                  </a:cubicBezTo>
                  <a:cubicBezTo>
                    <a:pt x="11" y="3"/>
                    <a:pt x="13" y="2"/>
                    <a:pt x="15" y="4"/>
                  </a:cubicBezTo>
                  <a:cubicBezTo>
                    <a:pt x="15" y="4"/>
                    <a:pt x="15" y="4"/>
                    <a:pt x="15" y="4"/>
                  </a:cubicBezTo>
                  <a:cubicBezTo>
                    <a:pt x="14" y="4"/>
                    <a:pt x="13" y="4"/>
                    <a:pt x="12" y="4"/>
                  </a:cubicBezTo>
                  <a:cubicBezTo>
                    <a:pt x="15" y="7"/>
                    <a:pt x="19" y="9"/>
                    <a:pt x="22" y="10"/>
                  </a:cubicBezTo>
                  <a:cubicBezTo>
                    <a:pt x="20" y="10"/>
                    <a:pt x="19" y="10"/>
                    <a:pt x="17" y="10"/>
                  </a:cubicBezTo>
                  <a:cubicBezTo>
                    <a:pt x="16" y="10"/>
                    <a:pt x="16" y="10"/>
                    <a:pt x="15" y="10"/>
                  </a:cubicBezTo>
                  <a:cubicBezTo>
                    <a:pt x="14" y="10"/>
                    <a:pt x="13" y="11"/>
                    <a:pt x="12" y="11"/>
                  </a:cubicBezTo>
                  <a:cubicBezTo>
                    <a:pt x="11" y="11"/>
                    <a:pt x="10" y="10"/>
                    <a:pt x="9" y="10"/>
                  </a:cubicBezTo>
                  <a:cubicBezTo>
                    <a:pt x="10" y="11"/>
                    <a:pt x="11" y="13"/>
                    <a:pt x="12" y="13"/>
                  </a:cubicBezTo>
                  <a:cubicBezTo>
                    <a:pt x="13" y="12"/>
                    <a:pt x="16" y="11"/>
                    <a:pt x="19" y="11"/>
                  </a:cubicBezTo>
                  <a:cubicBezTo>
                    <a:pt x="19" y="11"/>
                    <a:pt x="19" y="11"/>
                    <a:pt x="19" y="11"/>
                  </a:cubicBezTo>
                  <a:cubicBezTo>
                    <a:pt x="18" y="12"/>
                    <a:pt x="16" y="13"/>
                    <a:pt x="15" y="14"/>
                  </a:cubicBezTo>
                  <a:cubicBezTo>
                    <a:pt x="15" y="13"/>
                    <a:pt x="15" y="13"/>
                    <a:pt x="15" y="13"/>
                  </a:cubicBezTo>
                  <a:cubicBezTo>
                    <a:pt x="13" y="13"/>
                    <a:pt x="12" y="16"/>
                    <a:pt x="10" y="18"/>
                  </a:cubicBezTo>
                  <a:cubicBezTo>
                    <a:pt x="11" y="18"/>
                    <a:pt x="11" y="18"/>
                    <a:pt x="12" y="18"/>
                  </a:cubicBezTo>
                  <a:cubicBezTo>
                    <a:pt x="13" y="18"/>
                    <a:pt x="14" y="18"/>
                    <a:pt x="14" y="17"/>
                  </a:cubicBezTo>
                  <a:cubicBezTo>
                    <a:pt x="13" y="19"/>
                    <a:pt x="11" y="19"/>
                    <a:pt x="10" y="19"/>
                  </a:cubicBezTo>
                  <a:cubicBezTo>
                    <a:pt x="10" y="19"/>
                    <a:pt x="9" y="19"/>
                    <a:pt x="9" y="19"/>
                  </a:cubicBezTo>
                  <a:cubicBezTo>
                    <a:pt x="8" y="19"/>
                    <a:pt x="7" y="19"/>
                    <a:pt x="7" y="19"/>
                  </a:cubicBezTo>
                  <a:cubicBezTo>
                    <a:pt x="7" y="19"/>
                    <a:pt x="7" y="19"/>
                    <a:pt x="7" y="19"/>
                  </a:cubicBezTo>
                  <a:cubicBezTo>
                    <a:pt x="4" y="19"/>
                    <a:pt x="5" y="19"/>
                    <a:pt x="3" y="21"/>
                  </a:cubicBezTo>
                  <a:cubicBezTo>
                    <a:pt x="2" y="21"/>
                    <a:pt x="2" y="21"/>
                    <a:pt x="2" y="21"/>
                  </a:cubicBezTo>
                  <a:cubicBezTo>
                    <a:pt x="1" y="21"/>
                    <a:pt x="1" y="21"/>
                    <a:pt x="0" y="20"/>
                  </a:cubicBezTo>
                  <a:cubicBezTo>
                    <a:pt x="3" y="23"/>
                    <a:pt x="6" y="25"/>
                    <a:pt x="9" y="28"/>
                  </a:cubicBezTo>
                  <a:cubicBezTo>
                    <a:pt x="12" y="27"/>
                    <a:pt x="13" y="26"/>
                    <a:pt x="11" y="24"/>
                  </a:cubicBezTo>
                  <a:cubicBezTo>
                    <a:pt x="12" y="25"/>
                    <a:pt x="13" y="25"/>
                    <a:pt x="14" y="25"/>
                  </a:cubicBezTo>
                  <a:cubicBezTo>
                    <a:pt x="15" y="25"/>
                    <a:pt x="16" y="25"/>
                    <a:pt x="17" y="24"/>
                  </a:cubicBezTo>
                  <a:cubicBezTo>
                    <a:pt x="19" y="22"/>
                    <a:pt x="16" y="20"/>
                    <a:pt x="19" y="19"/>
                  </a:cubicBezTo>
                  <a:cubicBezTo>
                    <a:pt x="19" y="19"/>
                    <a:pt x="19" y="19"/>
                    <a:pt x="19" y="19"/>
                  </a:cubicBezTo>
                  <a:cubicBezTo>
                    <a:pt x="19" y="19"/>
                    <a:pt x="20" y="20"/>
                    <a:pt x="20" y="20"/>
                  </a:cubicBezTo>
                  <a:cubicBezTo>
                    <a:pt x="21" y="20"/>
                    <a:pt x="21" y="20"/>
                    <a:pt x="21" y="20"/>
                  </a:cubicBezTo>
                  <a:cubicBezTo>
                    <a:pt x="21" y="20"/>
                    <a:pt x="21" y="20"/>
                    <a:pt x="21" y="20"/>
                  </a:cubicBezTo>
                  <a:cubicBezTo>
                    <a:pt x="22" y="20"/>
                    <a:pt x="22" y="19"/>
                    <a:pt x="22" y="19"/>
                  </a:cubicBezTo>
                  <a:cubicBezTo>
                    <a:pt x="22" y="19"/>
                    <a:pt x="22" y="19"/>
                    <a:pt x="22" y="19"/>
                  </a:cubicBezTo>
                  <a:cubicBezTo>
                    <a:pt x="23" y="19"/>
                    <a:pt x="23" y="19"/>
                    <a:pt x="23" y="19"/>
                  </a:cubicBezTo>
                  <a:cubicBezTo>
                    <a:pt x="24" y="19"/>
                    <a:pt x="24" y="19"/>
                    <a:pt x="25" y="19"/>
                  </a:cubicBezTo>
                  <a:cubicBezTo>
                    <a:pt x="25" y="19"/>
                    <a:pt x="26" y="19"/>
                    <a:pt x="26" y="19"/>
                  </a:cubicBezTo>
                  <a:cubicBezTo>
                    <a:pt x="28" y="18"/>
                    <a:pt x="30" y="14"/>
                    <a:pt x="32" y="13"/>
                  </a:cubicBezTo>
                  <a:cubicBezTo>
                    <a:pt x="32" y="12"/>
                    <a:pt x="33" y="11"/>
                    <a:pt x="34" y="10"/>
                  </a:cubicBezTo>
                  <a:cubicBezTo>
                    <a:pt x="35" y="9"/>
                    <a:pt x="35" y="9"/>
                    <a:pt x="36" y="8"/>
                  </a:cubicBezTo>
                  <a:cubicBezTo>
                    <a:pt x="36" y="8"/>
                    <a:pt x="36" y="8"/>
                    <a:pt x="36" y="8"/>
                  </a:cubicBezTo>
                  <a:cubicBezTo>
                    <a:pt x="36" y="8"/>
                    <a:pt x="36" y="8"/>
                    <a:pt x="37" y="8"/>
                  </a:cubicBezTo>
                  <a:cubicBezTo>
                    <a:pt x="37" y="8"/>
                    <a:pt x="37" y="8"/>
                    <a:pt x="37" y="8"/>
                  </a:cubicBezTo>
                  <a:cubicBezTo>
                    <a:pt x="37" y="8"/>
                    <a:pt x="37" y="8"/>
                    <a:pt x="37" y="8"/>
                  </a:cubicBezTo>
                  <a:cubicBezTo>
                    <a:pt x="38" y="7"/>
                    <a:pt x="38" y="5"/>
                    <a:pt x="39" y="4"/>
                  </a:cubicBezTo>
                  <a:cubicBezTo>
                    <a:pt x="39" y="4"/>
                    <a:pt x="41" y="3"/>
                    <a:pt x="42" y="2"/>
                  </a:cubicBezTo>
                  <a:cubicBezTo>
                    <a:pt x="41" y="1"/>
                    <a:pt x="39"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5" name="Freeform 206">
              <a:extLst>
                <a:ext uri="{FF2B5EF4-FFF2-40B4-BE49-F238E27FC236}">
                  <a16:creationId xmlns:a16="http://schemas.microsoft.com/office/drawing/2014/main" id="{B0CCE3EE-B3AB-481B-9F79-5921DC1DD76B}"/>
                </a:ext>
              </a:extLst>
            </p:cNvPr>
            <p:cNvSpPr>
              <a:spLocks/>
            </p:cNvSpPr>
            <p:nvPr/>
          </p:nvSpPr>
          <p:spPr bwMode="auto">
            <a:xfrm>
              <a:off x="6997290" y="580444"/>
              <a:ext cx="14123" cy="24009"/>
            </a:xfrm>
            <a:custGeom>
              <a:avLst/>
              <a:gdLst>
                <a:gd name="T0" fmla="*/ 4 w 4"/>
                <a:gd name="T1" fmla="*/ 0 h 7"/>
                <a:gd name="T2" fmla="*/ 0 w 4"/>
                <a:gd name="T3" fmla="*/ 7 h 7"/>
                <a:gd name="T4" fmla="*/ 1 w 4"/>
                <a:gd name="T5" fmla="*/ 6 h 7"/>
                <a:gd name="T6" fmla="*/ 2 w 4"/>
                <a:gd name="T7" fmla="*/ 5 h 7"/>
                <a:gd name="T8" fmla="*/ 2 w 4"/>
                <a:gd name="T9" fmla="*/ 4 h 7"/>
                <a:gd name="T10" fmla="*/ 4 w 4"/>
                <a:gd name="T11" fmla="*/ 1 h 7"/>
                <a:gd name="T12" fmla="*/ 4 w 4"/>
                <a:gd name="T13" fmla="*/ 1 h 7"/>
                <a:gd name="T14" fmla="*/ 4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cubicBezTo>
                    <a:pt x="2" y="2"/>
                    <a:pt x="1" y="5"/>
                    <a:pt x="0" y="7"/>
                  </a:cubicBezTo>
                  <a:cubicBezTo>
                    <a:pt x="1" y="6"/>
                    <a:pt x="1" y="6"/>
                    <a:pt x="1" y="6"/>
                  </a:cubicBezTo>
                  <a:cubicBezTo>
                    <a:pt x="2" y="5"/>
                    <a:pt x="2" y="5"/>
                    <a:pt x="2" y="5"/>
                  </a:cubicBezTo>
                  <a:cubicBezTo>
                    <a:pt x="2" y="5"/>
                    <a:pt x="2" y="5"/>
                    <a:pt x="2" y="4"/>
                  </a:cubicBezTo>
                  <a:cubicBezTo>
                    <a:pt x="3" y="3"/>
                    <a:pt x="4" y="2"/>
                    <a:pt x="4" y="1"/>
                  </a:cubicBezTo>
                  <a:cubicBezTo>
                    <a:pt x="4" y="1"/>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6" name="Freeform 207">
              <a:extLst>
                <a:ext uri="{FF2B5EF4-FFF2-40B4-BE49-F238E27FC236}">
                  <a16:creationId xmlns:a16="http://schemas.microsoft.com/office/drawing/2014/main" id="{15D8766C-653E-4831-94EC-4127BB262BCA}"/>
                </a:ext>
              </a:extLst>
            </p:cNvPr>
            <p:cNvSpPr>
              <a:spLocks/>
            </p:cNvSpPr>
            <p:nvPr/>
          </p:nvSpPr>
          <p:spPr bwMode="auto">
            <a:xfrm>
              <a:off x="10294940" y="3876691"/>
              <a:ext cx="16947" cy="19772"/>
            </a:xfrm>
            <a:custGeom>
              <a:avLst/>
              <a:gdLst>
                <a:gd name="T0" fmla="*/ 3 w 5"/>
                <a:gd name="T1" fmla="*/ 0 h 6"/>
                <a:gd name="T2" fmla="*/ 3 w 5"/>
                <a:gd name="T3" fmla="*/ 0 h 6"/>
                <a:gd name="T4" fmla="*/ 3 w 5"/>
                <a:gd name="T5" fmla="*/ 0 h 6"/>
                <a:gd name="T6" fmla="*/ 0 w 5"/>
                <a:gd name="T7" fmla="*/ 3 h 6"/>
                <a:gd name="T8" fmla="*/ 0 w 5"/>
                <a:gd name="T9" fmla="*/ 4 h 6"/>
                <a:gd name="T10" fmla="*/ 2 w 5"/>
                <a:gd name="T11" fmla="*/ 5 h 6"/>
                <a:gd name="T12" fmla="*/ 4 w 5"/>
                <a:gd name="T13" fmla="*/ 6 h 6"/>
                <a:gd name="T14" fmla="*/ 4 w 5"/>
                <a:gd name="T15" fmla="*/ 6 h 6"/>
                <a:gd name="T16" fmla="*/ 4 w 5"/>
                <a:gd name="T17" fmla="*/ 2 h 6"/>
                <a:gd name="T18" fmla="*/ 5 w 5"/>
                <a:gd name="T19" fmla="*/ 1 h 6"/>
                <a:gd name="T20" fmla="*/ 4 w 5"/>
                <a:gd name="T21" fmla="*/ 1 h 6"/>
                <a:gd name="T22" fmla="*/ 4 w 5"/>
                <a:gd name="T23" fmla="*/ 0 h 6"/>
                <a:gd name="T24" fmla="*/ 3 w 5"/>
                <a:gd name="T25" fmla="*/ 0 h 6"/>
                <a:gd name="T26" fmla="*/ 3 w 5"/>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3" y="0"/>
                  </a:moveTo>
                  <a:cubicBezTo>
                    <a:pt x="3" y="0"/>
                    <a:pt x="3" y="0"/>
                    <a:pt x="3" y="0"/>
                  </a:cubicBezTo>
                  <a:cubicBezTo>
                    <a:pt x="3" y="0"/>
                    <a:pt x="3" y="0"/>
                    <a:pt x="3" y="0"/>
                  </a:cubicBezTo>
                  <a:cubicBezTo>
                    <a:pt x="2" y="1"/>
                    <a:pt x="0" y="3"/>
                    <a:pt x="0" y="3"/>
                  </a:cubicBezTo>
                  <a:cubicBezTo>
                    <a:pt x="0" y="4"/>
                    <a:pt x="0" y="4"/>
                    <a:pt x="0" y="4"/>
                  </a:cubicBezTo>
                  <a:cubicBezTo>
                    <a:pt x="0" y="5"/>
                    <a:pt x="0" y="5"/>
                    <a:pt x="2" y="5"/>
                  </a:cubicBezTo>
                  <a:cubicBezTo>
                    <a:pt x="2" y="5"/>
                    <a:pt x="3" y="6"/>
                    <a:pt x="4" y="6"/>
                  </a:cubicBezTo>
                  <a:cubicBezTo>
                    <a:pt x="4" y="6"/>
                    <a:pt x="4" y="6"/>
                    <a:pt x="4" y="6"/>
                  </a:cubicBezTo>
                  <a:cubicBezTo>
                    <a:pt x="3" y="5"/>
                    <a:pt x="4" y="3"/>
                    <a:pt x="4" y="2"/>
                  </a:cubicBezTo>
                  <a:cubicBezTo>
                    <a:pt x="5" y="1"/>
                    <a:pt x="5" y="1"/>
                    <a:pt x="5" y="1"/>
                  </a:cubicBezTo>
                  <a:cubicBezTo>
                    <a:pt x="4" y="1"/>
                    <a:pt x="4" y="1"/>
                    <a:pt x="4" y="1"/>
                  </a:cubicBezTo>
                  <a:cubicBezTo>
                    <a:pt x="4" y="0"/>
                    <a:pt x="4" y="0"/>
                    <a:pt x="4" y="0"/>
                  </a:cubicBez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7" name="Freeform 208">
              <a:extLst>
                <a:ext uri="{FF2B5EF4-FFF2-40B4-BE49-F238E27FC236}">
                  <a16:creationId xmlns:a16="http://schemas.microsoft.com/office/drawing/2014/main" id="{67B41212-8416-42BA-9B80-FA4FECF96024}"/>
                </a:ext>
              </a:extLst>
            </p:cNvPr>
            <p:cNvSpPr>
              <a:spLocks/>
            </p:cNvSpPr>
            <p:nvPr/>
          </p:nvSpPr>
          <p:spPr bwMode="auto">
            <a:xfrm>
              <a:off x="9920689" y="1933402"/>
              <a:ext cx="19772" cy="12710"/>
            </a:xfrm>
            <a:custGeom>
              <a:avLst/>
              <a:gdLst>
                <a:gd name="T0" fmla="*/ 6 w 6"/>
                <a:gd name="T1" fmla="*/ 0 h 4"/>
                <a:gd name="T2" fmla="*/ 0 w 6"/>
                <a:gd name="T3" fmla="*/ 4 h 4"/>
                <a:gd name="T4" fmla="*/ 3 w 6"/>
                <a:gd name="T5" fmla="*/ 4 h 4"/>
                <a:gd name="T6" fmla="*/ 5 w 6"/>
                <a:gd name="T7" fmla="*/ 2 h 4"/>
                <a:gd name="T8" fmla="*/ 5 w 6"/>
                <a:gd name="T9" fmla="*/ 2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cubicBezTo>
                    <a:pt x="4" y="1"/>
                    <a:pt x="2" y="3"/>
                    <a:pt x="0" y="4"/>
                  </a:cubicBezTo>
                  <a:cubicBezTo>
                    <a:pt x="1" y="4"/>
                    <a:pt x="2" y="4"/>
                    <a:pt x="3" y="4"/>
                  </a:cubicBezTo>
                  <a:cubicBezTo>
                    <a:pt x="4" y="3"/>
                    <a:pt x="4" y="3"/>
                    <a:pt x="5" y="2"/>
                  </a:cubicBezTo>
                  <a:cubicBezTo>
                    <a:pt x="5" y="2"/>
                    <a:pt x="5" y="2"/>
                    <a:pt x="5" y="2"/>
                  </a:cubicBezTo>
                  <a:cubicBezTo>
                    <a:pt x="5"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8" name="Freeform 209">
              <a:extLst>
                <a:ext uri="{FF2B5EF4-FFF2-40B4-BE49-F238E27FC236}">
                  <a16:creationId xmlns:a16="http://schemas.microsoft.com/office/drawing/2014/main" id="{248432DA-FBA9-4D65-A2BF-B0AAF035EEC9}"/>
                </a:ext>
              </a:extLst>
            </p:cNvPr>
            <p:cNvSpPr>
              <a:spLocks/>
            </p:cNvSpPr>
            <p:nvPr/>
          </p:nvSpPr>
          <p:spPr bwMode="auto">
            <a:xfrm>
              <a:off x="9917864" y="1955999"/>
              <a:ext cx="19772" cy="19772"/>
            </a:xfrm>
            <a:custGeom>
              <a:avLst/>
              <a:gdLst>
                <a:gd name="T0" fmla="*/ 4 w 6"/>
                <a:gd name="T1" fmla="*/ 0 h 6"/>
                <a:gd name="T2" fmla="*/ 1 w 6"/>
                <a:gd name="T3" fmla="*/ 1 h 6"/>
                <a:gd name="T4" fmla="*/ 1 w 6"/>
                <a:gd name="T5" fmla="*/ 1 h 6"/>
                <a:gd name="T6" fmla="*/ 0 w 6"/>
                <a:gd name="T7" fmla="*/ 2 h 6"/>
                <a:gd name="T8" fmla="*/ 1 w 6"/>
                <a:gd name="T9" fmla="*/ 6 h 6"/>
                <a:gd name="T10" fmla="*/ 6 w 6"/>
                <a:gd name="T11" fmla="*/ 2 h 6"/>
                <a:gd name="T12" fmla="*/ 6 w 6"/>
                <a:gd name="T13" fmla="*/ 1 h 6"/>
                <a:gd name="T14" fmla="*/ 6 w 6"/>
                <a:gd name="T15" fmla="*/ 1 h 6"/>
                <a:gd name="T16" fmla="*/ 6 w 6"/>
                <a:gd name="T17" fmla="*/ 1 h 6"/>
                <a:gd name="T18" fmla="*/ 6 w 6"/>
                <a:gd name="T19" fmla="*/ 0 h 6"/>
                <a:gd name="T20" fmla="*/ 5 w 6"/>
                <a:gd name="T21" fmla="*/ 0 h 6"/>
                <a:gd name="T22" fmla="*/ 5 w 6"/>
                <a:gd name="T23" fmla="*/ 0 h 6"/>
                <a:gd name="T24" fmla="*/ 5 w 6"/>
                <a:gd name="T25" fmla="*/ 0 h 6"/>
                <a:gd name="T26" fmla="*/ 4 w 6"/>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4" y="0"/>
                  </a:moveTo>
                  <a:cubicBezTo>
                    <a:pt x="3" y="0"/>
                    <a:pt x="2" y="0"/>
                    <a:pt x="1" y="1"/>
                  </a:cubicBezTo>
                  <a:cubicBezTo>
                    <a:pt x="1" y="1"/>
                    <a:pt x="1" y="1"/>
                    <a:pt x="1" y="1"/>
                  </a:cubicBezTo>
                  <a:cubicBezTo>
                    <a:pt x="0" y="2"/>
                    <a:pt x="0" y="2"/>
                    <a:pt x="0" y="2"/>
                  </a:cubicBezTo>
                  <a:cubicBezTo>
                    <a:pt x="0" y="4"/>
                    <a:pt x="1" y="5"/>
                    <a:pt x="1" y="6"/>
                  </a:cubicBezTo>
                  <a:cubicBezTo>
                    <a:pt x="2" y="6"/>
                    <a:pt x="6" y="3"/>
                    <a:pt x="6" y="2"/>
                  </a:cubicBezTo>
                  <a:cubicBezTo>
                    <a:pt x="6" y="1"/>
                    <a:pt x="6" y="1"/>
                    <a:pt x="6" y="1"/>
                  </a:cubicBezTo>
                  <a:cubicBezTo>
                    <a:pt x="6" y="1"/>
                    <a:pt x="6" y="1"/>
                    <a:pt x="6" y="1"/>
                  </a:cubicBezTo>
                  <a:cubicBezTo>
                    <a:pt x="6" y="1"/>
                    <a:pt x="6" y="1"/>
                    <a:pt x="6" y="1"/>
                  </a:cubicBezTo>
                  <a:cubicBezTo>
                    <a:pt x="6" y="0"/>
                    <a:pt x="6" y="0"/>
                    <a:pt x="6" y="0"/>
                  </a:cubicBezTo>
                  <a:cubicBezTo>
                    <a:pt x="6" y="0"/>
                    <a:pt x="5" y="0"/>
                    <a:pt x="5" y="0"/>
                  </a:cubicBezTo>
                  <a:cubicBezTo>
                    <a:pt x="5" y="0"/>
                    <a:pt x="5" y="0"/>
                    <a:pt x="5" y="0"/>
                  </a:cubicBezTo>
                  <a:cubicBezTo>
                    <a:pt x="5" y="0"/>
                    <a:pt x="5"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9" name="Freeform 210">
              <a:extLst>
                <a:ext uri="{FF2B5EF4-FFF2-40B4-BE49-F238E27FC236}">
                  <a16:creationId xmlns:a16="http://schemas.microsoft.com/office/drawing/2014/main" id="{AC5EE4C1-0CC0-4B7A-A379-4496CA05E840}"/>
                </a:ext>
              </a:extLst>
            </p:cNvPr>
            <p:cNvSpPr>
              <a:spLocks/>
            </p:cNvSpPr>
            <p:nvPr/>
          </p:nvSpPr>
          <p:spPr bwMode="auto">
            <a:xfrm>
              <a:off x="9893856" y="1989893"/>
              <a:ext cx="14123" cy="12710"/>
            </a:xfrm>
            <a:custGeom>
              <a:avLst/>
              <a:gdLst>
                <a:gd name="T0" fmla="*/ 1 w 4"/>
                <a:gd name="T1" fmla="*/ 0 h 4"/>
                <a:gd name="T2" fmla="*/ 1 w 4"/>
                <a:gd name="T3" fmla="*/ 3 h 4"/>
                <a:gd name="T4" fmla="*/ 1 w 4"/>
                <a:gd name="T5" fmla="*/ 4 h 4"/>
                <a:gd name="T6" fmla="*/ 4 w 4"/>
                <a:gd name="T7" fmla="*/ 4 h 4"/>
                <a:gd name="T8" fmla="*/ 2 w 4"/>
                <a:gd name="T9" fmla="*/ 1 h 4"/>
                <a:gd name="T10" fmla="*/ 1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1" y="0"/>
                  </a:moveTo>
                  <a:cubicBezTo>
                    <a:pt x="0" y="1"/>
                    <a:pt x="0" y="3"/>
                    <a:pt x="1" y="3"/>
                  </a:cubicBezTo>
                  <a:cubicBezTo>
                    <a:pt x="1" y="4"/>
                    <a:pt x="1" y="4"/>
                    <a:pt x="1" y="4"/>
                  </a:cubicBezTo>
                  <a:cubicBezTo>
                    <a:pt x="2" y="4"/>
                    <a:pt x="3" y="4"/>
                    <a:pt x="4" y="4"/>
                  </a:cubicBezTo>
                  <a:cubicBezTo>
                    <a:pt x="4" y="3"/>
                    <a:pt x="4" y="1"/>
                    <a:pt x="2" y="1"/>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0" name="Freeform 211">
              <a:extLst>
                <a:ext uri="{FF2B5EF4-FFF2-40B4-BE49-F238E27FC236}">
                  <a16:creationId xmlns:a16="http://schemas.microsoft.com/office/drawing/2014/main" id="{FEBB9D54-DE35-4484-B435-4A1C403DF541}"/>
                </a:ext>
              </a:extLst>
            </p:cNvPr>
            <p:cNvSpPr>
              <a:spLocks/>
            </p:cNvSpPr>
            <p:nvPr/>
          </p:nvSpPr>
          <p:spPr bwMode="auto">
            <a:xfrm>
              <a:off x="9903742" y="1955999"/>
              <a:ext cx="9886" cy="33895"/>
            </a:xfrm>
            <a:custGeom>
              <a:avLst/>
              <a:gdLst>
                <a:gd name="T0" fmla="*/ 2 w 3"/>
                <a:gd name="T1" fmla="*/ 0 h 10"/>
                <a:gd name="T2" fmla="*/ 2 w 3"/>
                <a:gd name="T3" fmla="*/ 0 h 10"/>
                <a:gd name="T4" fmla="*/ 2 w 3"/>
                <a:gd name="T5" fmla="*/ 2 h 10"/>
                <a:gd name="T6" fmla="*/ 1 w 3"/>
                <a:gd name="T7" fmla="*/ 3 h 10"/>
                <a:gd name="T8" fmla="*/ 0 w 3"/>
                <a:gd name="T9" fmla="*/ 5 h 10"/>
                <a:gd name="T10" fmla="*/ 1 w 3"/>
                <a:gd name="T11" fmla="*/ 10 h 10"/>
                <a:gd name="T12" fmla="*/ 3 w 3"/>
                <a:gd name="T13" fmla="*/ 8 h 10"/>
                <a:gd name="T14" fmla="*/ 3 w 3"/>
                <a:gd name="T15" fmla="*/ 8 h 10"/>
                <a:gd name="T16" fmla="*/ 3 w 3"/>
                <a:gd name="T17" fmla="*/ 7 h 10"/>
                <a:gd name="T18" fmla="*/ 3 w 3"/>
                <a:gd name="T19" fmla="*/ 6 h 10"/>
                <a:gd name="T20" fmla="*/ 3 w 3"/>
                <a:gd name="T21" fmla="*/ 5 h 10"/>
                <a:gd name="T22" fmla="*/ 3 w 3"/>
                <a:gd name="T23" fmla="*/ 1 h 10"/>
                <a:gd name="T24" fmla="*/ 2 w 3"/>
                <a:gd name="T25" fmla="*/ 1 h 10"/>
                <a:gd name="T26" fmla="*/ 2 w 3"/>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0">
                  <a:moveTo>
                    <a:pt x="2" y="0"/>
                  </a:moveTo>
                  <a:cubicBezTo>
                    <a:pt x="2" y="0"/>
                    <a:pt x="2" y="0"/>
                    <a:pt x="2" y="0"/>
                  </a:cubicBezTo>
                  <a:cubicBezTo>
                    <a:pt x="2" y="1"/>
                    <a:pt x="2" y="1"/>
                    <a:pt x="2" y="2"/>
                  </a:cubicBezTo>
                  <a:cubicBezTo>
                    <a:pt x="1" y="2"/>
                    <a:pt x="1" y="3"/>
                    <a:pt x="1" y="3"/>
                  </a:cubicBezTo>
                  <a:cubicBezTo>
                    <a:pt x="1" y="4"/>
                    <a:pt x="1" y="5"/>
                    <a:pt x="0" y="5"/>
                  </a:cubicBezTo>
                  <a:cubicBezTo>
                    <a:pt x="0" y="7"/>
                    <a:pt x="0" y="8"/>
                    <a:pt x="1" y="10"/>
                  </a:cubicBezTo>
                  <a:cubicBezTo>
                    <a:pt x="2" y="9"/>
                    <a:pt x="2" y="8"/>
                    <a:pt x="3" y="8"/>
                  </a:cubicBezTo>
                  <a:cubicBezTo>
                    <a:pt x="3" y="8"/>
                    <a:pt x="3" y="8"/>
                    <a:pt x="3" y="8"/>
                  </a:cubicBezTo>
                  <a:cubicBezTo>
                    <a:pt x="3" y="7"/>
                    <a:pt x="3" y="7"/>
                    <a:pt x="3" y="7"/>
                  </a:cubicBezTo>
                  <a:cubicBezTo>
                    <a:pt x="3" y="7"/>
                    <a:pt x="3" y="7"/>
                    <a:pt x="3" y="6"/>
                  </a:cubicBezTo>
                  <a:cubicBezTo>
                    <a:pt x="3" y="5"/>
                    <a:pt x="3" y="5"/>
                    <a:pt x="3" y="5"/>
                  </a:cubicBezTo>
                  <a:cubicBezTo>
                    <a:pt x="3" y="4"/>
                    <a:pt x="3" y="2"/>
                    <a:pt x="3" y="1"/>
                  </a:cubicBezTo>
                  <a:cubicBezTo>
                    <a:pt x="2"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1" name="Freeform 212">
              <a:extLst>
                <a:ext uri="{FF2B5EF4-FFF2-40B4-BE49-F238E27FC236}">
                  <a16:creationId xmlns:a16="http://schemas.microsoft.com/office/drawing/2014/main" id="{9117C71C-B12F-43A7-8EB6-FEA8F5FF63F8}"/>
                </a:ext>
              </a:extLst>
            </p:cNvPr>
            <p:cNvSpPr>
              <a:spLocks/>
            </p:cNvSpPr>
            <p:nvPr/>
          </p:nvSpPr>
          <p:spPr bwMode="auto">
            <a:xfrm>
              <a:off x="9793585" y="2043560"/>
              <a:ext cx="60728" cy="73438"/>
            </a:xfrm>
            <a:custGeom>
              <a:avLst/>
              <a:gdLst>
                <a:gd name="T0" fmla="*/ 14 w 18"/>
                <a:gd name="T1" fmla="*/ 0 h 22"/>
                <a:gd name="T2" fmla="*/ 11 w 18"/>
                <a:gd name="T3" fmla="*/ 1 h 22"/>
                <a:gd name="T4" fmla="*/ 0 w 18"/>
                <a:gd name="T5" fmla="*/ 22 h 22"/>
                <a:gd name="T6" fmla="*/ 3 w 18"/>
                <a:gd name="T7" fmla="*/ 21 h 22"/>
                <a:gd name="T8" fmla="*/ 4 w 18"/>
                <a:gd name="T9" fmla="*/ 21 h 22"/>
                <a:gd name="T10" fmla="*/ 5 w 18"/>
                <a:gd name="T11" fmla="*/ 20 h 22"/>
                <a:gd name="T12" fmla="*/ 5 w 18"/>
                <a:gd name="T13" fmla="*/ 20 h 22"/>
                <a:gd name="T14" fmla="*/ 10 w 18"/>
                <a:gd name="T15" fmla="*/ 16 h 22"/>
                <a:gd name="T16" fmla="*/ 14 w 18"/>
                <a:gd name="T17" fmla="*/ 11 h 22"/>
                <a:gd name="T18" fmla="*/ 16 w 18"/>
                <a:gd name="T19" fmla="*/ 2 h 22"/>
                <a:gd name="T20" fmla="*/ 15 w 18"/>
                <a:gd name="T21" fmla="*/ 1 h 22"/>
                <a:gd name="T22" fmla="*/ 14 w 18"/>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2">
                  <a:moveTo>
                    <a:pt x="14" y="0"/>
                  </a:moveTo>
                  <a:cubicBezTo>
                    <a:pt x="13" y="0"/>
                    <a:pt x="13" y="1"/>
                    <a:pt x="11" y="1"/>
                  </a:cubicBezTo>
                  <a:cubicBezTo>
                    <a:pt x="4" y="4"/>
                    <a:pt x="2" y="16"/>
                    <a:pt x="0" y="22"/>
                  </a:cubicBezTo>
                  <a:cubicBezTo>
                    <a:pt x="1" y="22"/>
                    <a:pt x="2" y="22"/>
                    <a:pt x="3" y="21"/>
                  </a:cubicBezTo>
                  <a:cubicBezTo>
                    <a:pt x="3" y="21"/>
                    <a:pt x="4" y="21"/>
                    <a:pt x="4" y="21"/>
                  </a:cubicBezTo>
                  <a:cubicBezTo>
                    <a:pt x="4" y="21"/>
                    <a:pt x="5" y="21"/>
                    <a:pt x="5" y="20"/>
                  </a:cubicBezTo>
                  <a:cubicBezTo>
                    <a:pt x="5" y="20"/>
                    <a:pt x="5" y="20"/>
                    <a:pt x="5" y="20"/>
                  </a:cubicBezTo>
                  <a:cubicBezTo>
                    <a:pt x="7" y="19"/>
                    <a:pt x="9" y="17"/>
                    <a:pt x="10" y="16"/>
                  </a:cubicBezTo>
                  <a:cubicBezTo>
                    <a:pt x="12" y="14"/>
                    <a:pt x="13" y="13"/>
                    <a:pt x="14" y="11"/>
                  </a:cubicBezTo>
                  <a:cubicBezTo>
                    <a:pt x="16" y="8"/>
                    <a:pt x="18" y="4"/>
                    <a:pt x="16" y="2"/>
                  </a:cubicBezTo>
                  <a:cubicBezTo>
                    <a:pt x="16" y="1"/>
                    <a:pt x="16" y="1"/>
                    <a:pt x="15" y="1"/>
                  </a:cubicBezTo>
                  <a:cubicBezTo>
                    <a:pt x="15"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2" name="Freeform 213">
              <a:extLst>
                <a:ext uri="{FF2B5EF4-FFF2-40B4-BE49-F238E27FC236}">
                  <a16:creationId xmlns:a16="http://schemas.microsoft.com/office/drawing/2014/main" id="{6C2B6421-B5BE-498C-A87B-E50E718064B1}"/>
                </a:ext>
              </a:extLst>
            </p:cNvPr>
            <p:cNvSpPr>
              <a:spLocks/>
            </p:cNvSpPr>
            <p:nvPr/>
          </p:nvSpPr>
          <p:spPr bwMode="auto">
            <a:xfrm>
              <a:off x="10050618" y="4180329"/>
              <a:ext cx="14123" cy="36719"/>
            </a:xfrm>
            <a:custGeom>
              <a:avLst/>
              <a:gdLst>
                <a:gd name="T0" fmla="*/ 4 w 4"/>
                <a:gd name="T1" fmla="*/ 0 h 11"/>
                <a:gd name="T2" fmla="*/ 0 w 4"/>
                <a:gd name="T3" fmla="*/ 11 h 11"/>
                <a:gd name="T4" fmla="*/ 2 w 4"/>
                <a:gd name="T5" fmla="*/ 9 h 11"/>
                <a:gd name="T6" fmla="*/ 2 w 4"/>
                <a:gd name="T7" fmla="*/ 8 h 11"/>
                <a:gd name="T8" fmla="*/ 4 w 4"/>
                <a:gd name="T9" fmla="*/ 3 h 11"/>
                <a:gd name="T10" fmla="*/ 4 w 4"/>
                <a:gd name="T11" fmla="*/ 3 h 11"/>
                <a:gd name="T12" fmla="*/ 4 w 4"/>
                <a:gd name="T13" fmla="*/ 2 h 11"/>
                <a:gd name="T14" fmla="*/ 4 w 4"/>
                <a:gd name="T15" fmla="*/ 1 h 11"/>
                <a:gd name="T16" fmla="*/ 4 w 4"/>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4" y="0"/>
                  </a:moveTo>
                  <a:cubicBezTo>
                    <a:pt x="2" y="3"/>
                    <a:pt x="1" y="7"/>
                    <a:pt x="0" y="11"/>
                  </a:cubicBezTo>
                  <a:cubicBezTo>
                    <a:pt x="1" y="10"/>
                    <a:pt x="1" y="9"/>
                    <a:pt x="2" y="9"/>
                  </a:cubicBezTo>
                  <a:cubicBezTo>
                    <a:pt x="2" y="8"/>
                    <a:pt x="2" y="8"/>
                    <a:pt x="2" y="8"/>
                  </a:cubicBezTo>
                  <a:cubicBezTo>
                    <a:pt x="3" y="7"/>
                    <a:pt x="4" y="5"/>
                    <a:pt x="4" y="3"/>
                  </a:cubicBezTo>
                  <a:cubicBezTo>
                    <a:pt x="4" y="3"/>
                    <a:pt x="4" y="3"/>
                    <a:pt x="4" y="3"/>
                  </a:cubicBezTo>
                  <a:cubicBezTo>
                    <a:pt x="4" y="2"/>
                    <a:pt x="4" y="2"/>
                    <a:pt x="4" y="2"/>
                  </a:cubicBezTo>
                  <a:cubicBezTo>
                    <a:pt x="4" y="1"/>
                    <a:pt x="4" y="1"/>
                    <a:pt x="4" y="1"/>
                  </a:cubicBezTo>
                  <a:cubicBezTo>
                    <a:pt x="4"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3" name="Freeform 214">
              <a:extLst>
                <a:ext uri="{FF2B5EF4-FFF2-40B4-BE49-F238E27FC236}">
                  <a16:creationId xmlns:a16="http://schemas.microsoft.com/office/drawing/2014/main" id="{CA41726C-AE66-4CFF-8C64-F52C8BAFDD71}"/>
                </a:ext>
              </a:extLst>
            </p:cNvPr>
            <p:cNvSpPr>
              <a:spLocks/>
            </p:cNvSpPr>
            <p:nvPr/>
          </p:nvSpPr>
          <p:spPr bwMode="auto">
            <a:xfrm>
              <a:off x="9850075" y="2049209"/>
              <a:ext cx="26833" cy="31070"/>
            </a:xfrm>
            <a:custGeom>
              <a:avLst/>
              <a:gdLst>
                <a:gd name="T0" fmla="*/ 8 w 8"/>
                <a:gd name="T1" fmla="*/ 0 h 9"/>
                <a:gd name="T2" fmla="*/ 1 w 8"/>
                <a:gd name="T3" fmla="*/ 5 h 9"/>
                <a:gd name="T4" fmla="*/ 0 w 8"/>
                <a:gd name="T5" fmla="*/ 9 h 9"/>
                <a:gd name="T6" fmla="*/ 4 w 8"/>
                <a:gd name="T7" fmla="*/ 6 h 9"/>
                <a:gd name="T8" fmla="*/ 5 w 8"/>
                <a:gd name="T9" fmla="*/ 4 h 9"/>
                <a:gd name="T10" fmla="*/ 5 w 8"/>
                <a:gd name="T11" fmla="*/ 3 h 9"/>
                <a:gd name="T12" fmla="*/ 7 w 8"/>
                <a:gd name="T13" fmla="*/ 2 h 9"/>
                <a:gd name="T14" fmla="*/ 8 w 8"/>
                <a:gd name="T15" fmla="*/ 0 h 9"/>
                <a:gd name="T16" fmla="*/ 8 w 8"/>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0"/>
                  </a:moveTo>
                  <a:cubicBezTo>
                    <a:pt x="4" y="1"/>
                    <a:pt x="2" y="2"/>
                    <a:pt x="1" y="5"/>
                  </a:cubicBezTo>
                  <a:cubicBezTo>
                    <a:pt x="1" y="6"/>
                    <a:pt x="1" y="7"/>
                    <a:pt x="0" y="9"/>
                  </a:cubicBezTo>
                  <a:cubicBezTo>
                    <a:pt x="1" y="8"/>
                    <a:pt x="3" y="7"/>
                    <a:pt x="4" y="6"/>
                  </a:cubicBezTo>
                  <a:cubicBezTo>
                    <a:pt x="4" y="5"/>
                    <a:pt x="4" y="4"/>
                    <a:pt x="5" y="4"/>
                  </a:cubicBezTo>
                  <a:cubicBezTo>
                    <a:pt x="5" y="3"/>
                    <a:pt x="5" y="3"/>
                    <a:pt x="5" y="3"/>
                  </a:cubicBezTo>
                  <a:cubicBezTo>
                    <a:pt x="6" y="3"/>
                    <a:pt x="7" y="2"/>
                    <a:pt x="7" y="2"/>
                  </a:cubicBezTo>
                  <a:cubicBezTo>
                    <a:pt x="8" y="2"/>
                    <a:pt x="8"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4" name="Freeform 215">
              <a:extLst>
                <a:ext uri="{FF2B5EF4-FFF2-40B4-BE49-F238E27FC236}">
                  <a16:creationId xmlns:a16="http://schemas.microsoft.com/office/drawing/2014/main" id="{A244AF94-51D8-4647-AF9C-C3C31696A95F}"/>
                </a:ext>
              </a:extLst>
            </p:cNvPr>
            <p:cNvSpPr>
              <a:spLocks/>
            </p:cNvSpPr>
            <p:nvPr/>
          </p:nvSpPr>
          <p:spPr bwMode="auto">
            <a:xfrm>
              <a:off x="9834540" y="2012490"/>
              <a:ext cx="22596" cy="26833"/>
            </a:xfrm>
            <a:custGeom>
              <a:avLst/>
              <a:gdLst>
                <a:gd name="T0" fmla="*/ 6 w 7"/>
                <a:gd name="T1" fmla="*/ 0 h 8"/>
                <a:gd name="T2" fmla="*/ 0 w 7"/>
                <a:gd name="T3" fmla="*/ 8 h 8"/>
                <a:gd name="T4" fmla="*/ 5 w 7"/>
                <a:gd name="T5" fmla="*/ 4 h 8"/>
                <a:gd name="T6" fmla="*/ 5 w 7"/>
                <a:gd name="T7" fmla="*/ 4 h 8"/>
                <a:gd name="T8" fmla="*/ 6 w 7"/>
                <a:gd name="T9" fmla="*/ 2 h 8"/>
                <a:gd name="T10" fmla="*/ 6 w 7"/>
                <a:gd name="T11" fmla="*/ 0 h 8"/>
              </a:gdLst>
              <a:ahLst/>
              <a:cxnLst>
                <a:cxn ang="0">
                  <a:pos x="T0" y="T1"/>
                </a:cxn>
                <a:cxn ang="0">
                  <a:pos x="T2" y="T3"/>
                </a:cxn>
                <a:cxn ang="0">
                  <a:pos x="T4" y="T5"/>
                </a:cxn>
                <a:cxn ang="0">
                  <a:pos x="T6" y="T7"/>
                </a:cxn>
                <a:cxn ang="0">
                  <a:pos x="T8" y="T9"/>
                </a:cxn>
                <a:cxn ang="0">
                  <a:pos x="T10" y="T11"/>
                </a:cxn>
              </a:cxnLst>
              <a:rect l="0" t="0" r="r" b="b"/>
              <a:pathLst>
                <a:path w="7" h="8">
                  <a:moveTo>
                    <a:pt x="6" y="0"/>
                  </a:moveTo>
                  <a:cubicBezTo>
                    <a:pt x="4" y="3"/>
                    <a:pt x="2" y="6"/>
                    <a:pt x="0" y="8"/>
                  </a:cubicBezTo>
                  <a:cubicBezTo>
                    <a:pt x="1" y="7"/>
                    <a:pt x="4" y="6"/>
                    <a:pt x="5" y="4"/>
                  </a:cubicBezTo>
                  <a:cubicBezTo>
                    <a:pt x="5" y="4"/>
                    <a:pt x="5" y="4"/>
                    <a:pt x="5" y="4"/>
                  </a:cubicBezTo>
                  <a:cubicBezTo>
                    <a:pt x="7" y="3"/>
                    <a:pt x="6" y="3"/>
                    <a:pt x="6" y="2"/>
                  </a:cubicBezTo>
                  <a:cubicBezTo>
                    <a:pt x="6" y="2"/>
                    <a:pt x="6"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5" name="Freeform 216">
              <a:extLst>
                <a:ext uri="{FF2B5EF4-FFF2-40B4-BE49-F238E27FC236}">
                  <a16:creationId xmlns:a16="http://schemas.microsoft.com/office/drawing/2014/main" id="{594AE03D-6E76-47B4-BE83-5937FA14B07A}"/>
                </a:ext>
              </a:extLst>
            </p:cNvPr>
            <p:cNvSpPr>
              <a:spLocks/>
            </p:cNvSpPr>
            <p:nvPr/>
          </p:nvSpPr>
          <p:spPr bwMode="auto">
            <a:xfrm>
              <a:off x="9954583" y="2002604"/>
              <a:ext cx="32482" cy="14123"/>
            </a:xfrm>
            <a:custGeom>
              <a:avLst/>
              <a:gdLst>
                <a:gd name="T0" fmla="*/ 5 w 10"/>
                <a:gd name="T1" fmla="*/ 0 h 4"/>
                <a:gd name="T2" fmla="*/ 2 w 10"/>
                <a:gd name="T3" fmla="*/ 0 h 4"/>
                <a:gd name="T4" fmla="*/ 1 w 10"/>
                <a:gd name="T5" fmla="*/ 0 h 4"/>
                <a:gd name="T6" fmla="*/ 0 w 10"/>
                <a:gd name="T7" fmla="*/ 2 h 4"/>
                <a:gd name="T8" fmla="*/ 0 w 10"/>
                <a:gd name="T9" fmla="*/ 2 h 4"/>
                <a:gd name="T10" fmla="*/ 0 w 10"/>
                <a:gd name="T11" fmla="*/ 2 h 4"/>
                <a:gd name="T12" fmla="*/ 2 w 10"/>
                <a:gd name="T13" fmla="*/ 3 h 4"/>
                <a:gd name="T14" fmla="*/ 3 w 10"/>
                <a:gd name="T15" fmla="*/ 4 h 4"/>
                <a:gd name="T16" fmla="*/ 10 w 10"/>
                <a:gd name="T17" fmla="*/ 0 h 4"/>
                <a:gd name="T18" fmla="*/ 5 w 1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
                  <a:moveTo>
                    <a:pt x="5" y="0"/>
                  </a:moveTo>
                  <a:cubicBezTo>
                    <a:pt x="4" y="0"/>
                    <a:pt x="3" y="0"/>
                    <a:pt x="2" y="0"/>
                  </a:cubicBezTo>
                  <a:cubicBezTo>
                    <a:pt x="1" y="0"/>
                    <a:pt x="1" y="0"/>
                    <a:pt x="1" y="0"/>
                  </a:cubicBezTo>
                  <a:cubicBezTo>
                    <a:pt x="1" y="1"/>
                    <a:pt x="0" y="1"/>
                    <a:pt x="0" y="2"/>
                  </a:cubicBezTo>
                  <a:cubicBezTo>
                    <a:pt x="0" y="2"/>
                    <a:pt x="0" y="2"/>
                    <a:pt x="0" y="2"/>
                  </a:cubicBezTo>
                  <a:cubicBezTo>
                    <a:pt x="0" y="2"/>
                    <a:pt x="0" y="2"/>
                    <a:pt x="0" y="2"/>
                  </a:cubicBezTo>
                  <a:cubicBezTo>
                    <a:pt x="1" y="3"/>
                    <a:pt x="1" y="3"/>
                    <a:pt x="2" y="3"/>
                  </a:cubicBezTo>
                  <a:cubicBezTo>
                    <a:pt x="2" y="4"/>
                    <a:pt x="2" y="4"/>
                    <a:pt x="3" y="4"/>
                  </a:cubicBezTo>
                  <a:cubicBezTo>
                    <a:pt x="5" y="4"/>
                    <a:pt x="8" y="1"/>
                    <a:pt x="10"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6" name="Freeform 217">
              <a:extLst>
                <a:ext uri="{FF2B5EF4-FFF2-40B4-BE49-F238E27FC236}">
                  <a16:creationId xmlns:a16="http://schemas.microsoft.com/office/drawing/2014/main" id="{4E9A7A95-5D00-43CB-8CB2-94381CFC6B36}"/>
                </a:ext>
              </a:extLst>
            </p:cNvPr>
            <p:cNvSpPr>
              <a:spLocks/>
            </p:cNvSpPr>
            <p:nvPr/>
          </p:nvSpPr>
          <p:spPr bwMode="auto">
            <a:xfrm>
              <a:off x="10378264" y="3823024"/>
              <a:ext cx="19772" cy="12710"/>
            </a:xfrm>
            <a:custGeom>
              <a:avLst/>
              <a:gdLst>
                <a:gd name="T0" fmla="*/ 3 w 6"/>
                <a:gd name="T1" fmla="*/ 0 h 4"/>
                <a:gd name="T2" fmla="*/ 3 w 6"/>
                <a:gd name="T3" fmla="*/ 1 h 4"/>
                <a:gd name="T4" fmla="*/ 0 w 6"/>
                <a:gd name="T5" fmla="*/ 4 h 4"/>
                <a:gd name="T6" fmla="*/ 5 w 6"/>
                <a:gd name="T7" fmla="*/ 2 h 4"/>
                <a:gd name="T8" fmla="*/ 6 w 6"/>
                <a:gd name="T9" fmla="*/ 2 h 4"/>
                <a:gd name="T10" fmla="*/ 5 w 6"/>
                <a:gd name="T11" fmla="*/ 2 h 4"/>
                <a:gd name="T12" fmla="*/ 5 w 6"/>
                <a:gd name="T13" fmla="*/ 2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3" y="0"/>
                    <a:pt x="3" y="1"/>
                    <a:pt x="3" y="1"/>
                  </a:cubicBezTo>
                  <a:cubicBezTo>
                    <a:pt x="2" y="1"/>
                    <a:pt x="2" y="2"/>
                    <a:pt x="0" y="4"/>
                  </a:cubicBezTo>
                  <a:cubicBezTo>
                    <a:pt x="2" y="3"/>
                    <a:pt x="4" y="2"/>
                    <a:pt x="5" y="2"/>
                  </a:cubicBezTo>
                  <a:cubicBezTo>
                    <a:pt x="5" y="2"/>
                    <a:pt x="6" y="2"/>
                    <a:pt x="6" y="2"/>
                  </a:cubicBezTo>
                  <a:cubicBezTo>
                    <a:pt x="5" y="2"/>
                    <a:pt x="5" y="2"/>
                    <a:pt x="5" y="2"/>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7" name="Freeform 218">
              <a:extLst>
                <a:ext uri="{FF2B5EF4-FFF2-40B4-BE49-F238E27FC236}">
                  <a16:creationId xmlns:a16="http://schemas.microsoft.com/office/drawing/2014/main" id="{AA95A6AC-F47D-4A34-8733-3976AC2AB90A}"/>
                </a:ext>
              </a:extLst>
            </p:cNvPr>
            <p:cNvSpPr>
              <a:spLocks/>
            </p:cNvSpPr>
            <p:nvPr/>
          </p:nvSpPr>
          <p:spPr bwMode="auto">
            <a:xfrm>
              <a:off x="7572084" y="0"/>
              <a:ext cx="25421" cy="29658"/>
            </a:xfrm>
            <a:custGeom>
              <a:avLst/>
              <a:gdLst>
                <a:gd name="T0" fmla="*/ 8 w 8"/>
                <a:gd name="T1" fmla="*/ 0 h 9"/>
                <a:gd name="T2" fmla="*/ 2 w 8"/>
                <a:gd name="T3" fmla="*/ 7 h 9"/>
                <a:gd name="T4" fmla="*/ 1 w 8"/>
                <a:gd name="T5" fmla="*/ 9 h 9"/>
                <a:gd name="T6" fmla="*/ 0 w 8"/>
                <a:gd name="T7" fmla="*/ 9 h 9"/>
                <a:gd name="T8" fmla="*/ 8 w 8"/>
                <a:gd name="T9" fmla="*/ 0 h 9"/>
              </a:gdLst>
              <a:ahLst/>
              <a:cxnLst>
                <a:cxn ang="0">
                  <a:pos x="T0" y="T1"/>
                </a:cxn>
                <a:cxn ang="0">
                  <a:pos x="T2" y="T3"/>
                </a:cxn>
                <a:cxn ang="0">
                  <a:pos x="T4" y="T5"/>
                </a:cxn>
                <a:cxn ang="0">
                  <a:pos x="T6" y="T7"/>
                </a:cxn>
                <a:cxn ang="0">
                  <a:pos x="T8" y="T9"/>
                </a:cxn>
              </a:cxnLst>
              <a:rect l="0" t="0" r="r" b="b"/>
              <a:pathLst>
                <a:path w="8" h="9">
                  <a:moveTo>
                    <a:pt x="8" y="0"/>
                  </a:moveTo>
                  <a:cubicBezTo>
                    <a:pt x="6" y="2"/>
                    <a:pt x="4" y="4"/>
                    <a:pt x="2" y="7"/>
                  </a:cubicBezTo>
                  <a:cubicBezTo>
                    <a:pt x="2" y="7"/>
                    <a:pt x="1" y="8"/>
                    <a:pt x="1" y="9"/>
                  </a:cubicBezTo>
                  <a:cubicBezTo>
                    <a:pt x="0" y="9"/>
                    <a:pt x="0" y="9"/>
                    <a:pt x="0" y="9"/>
                  </a:cubicBezTo>
                  <a:cubicBezTo>
                    <a:pt x="3" y="7"/>
                    <a:pt x="6"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8" name="Freeform 219">
              <a:extLst>
                <a:ext uri="{FF2B5EF4-FFF2-40B4-BE49-F238E27FC236}">
                  <a16:creationId xmlns:a16="http://schemas.microsoft.com/office/drawing/2014/main" id="{8C393866-C737-4808-A4C4-8823CCF37B94}"/>
                </a:ext>
              </a:extLst>
            </p:cNvPr>
            <p:cNvSpPr>
              <a:spLocks/>
            </p:cNvSpPr>
            <p:nvPr/>
          </p:nvSpPr>
          <p:spPr bwMode="auto">
            <a:xfrm>
              <a:off x="5239014" y="16947"/>
              <a:ext cx="12710" cy="19772"/>
            </a:xfrm>
            <a:custGeom>
              <a:avLst/>
              <a:gdLst>
                <a:gd name="T0" fmla="*/ 0 w 4"/>
                <a:gd name="T1" fmla="*/ 0 h 6"/>
                <a:gd name="T2" fmla="*/ 3 w 4"/>
                <a:gd name="T3" fmla="*/ 5 h 6"/>
                <a:gd name="T4" fmla="*/ 3 w 4"/>
                <a:gd name="T5" fmla="*/ 6 h 6"/>
                <a:gd name="T6" fmla="*/ 3 w 4"/>
                <a:gd name="T7" fmla="*/ 6 h 6"/>
                <a:gd name="T8" fmla="*/ 3 w 4"/>
                <a:gd name="T9" fmla="*/ 6 h 6"/>
                <a:gd name="T10" fmla="*/ 4 w 4"/>
                <a:gd name="T11" fmla="*/ 6 h 6"/>
                <a:gd name="T12" fmla="*/ 0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0"/>
                  </a:moveTo>
                  <a:cubicBezTo>
                    <a:pt x="1" y="3"/>
                    <a:pt x="1" y="4"/>
                    <a:pt x="3" y="5"/>
                  </a:cubicBezTo>
                  <a:cubicBezTo>
                    <a:pt x="3" y="6"/>
                    <a:pt x="3" y="6"/>
                    <a:pt x="3" y="6"/>
                  </a:cubicBezTo>
                  <a:cubicBezTo>
                    <a:pt x="3" y="6"/>
                    <a:pt x="3" y="6"/>
                    <a:pt x="3" y="6"/>
                  </a:cubicBezTo>
                  <a:cubicBezTo>
                    <a:pt x="3" y="6"/>
                    <a:pt x="3" y="6"/>
                    <a:pt x="3" y="6"/>
                  </a:cubicBezTo>
                  <a:cubicBezTo>
                    <a:pt x="3" y="6"/>
                    <a:pt x="4" y="6"/>
                    <a:pt x="4" y="6"/>
                  </a:cubicBezTo>
                  <a:cubicBezTo>
                    <a:pt x="3"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9" name="Freeform 220">
              <a:extLst>
                <a:ext uri="{FF2B5EF4-FFF2-40B4-BE49-F238E27FC236}">
                  <a16:creationId xmlns:a16="http://schemas.microsoft.com/office/drawing/2014/main" id="{D9F1AE3B-3656-49EE-B77F-8736F7C293EF}"/>
                </a:ext>
              </a:extLst>
            </p:cNvPr>
            <p:cNvSpPr>
              <a:spLocks/>
            </p:cNvSpPr>
            <p:nvPr/>
          </p:nvSpPr>
          <p:spPr bwMode="auto">
            <a:xfrm>
              <a:off x="5302566" y="79087"/>
              <a:ext cx="9886" cy="16947"/>
            </a:xfrm>
            <a:custGeom>
              <a:avLst/>
              <a:gdLst>
                <a:gd name="T0" fmla="*/ 0 w 3"/>
                <a:gd name="T1" fmla="*/ 0 h 5"/>
                <a:gd name="T2" fmla="*/ 3 w 3"/>
                <a:gd name="T3" fmla="*/ 5 h 5"/>
                <a:gd name="T4" fmla="*/ 0 w 3"/>
                <a:gd name="T5" fmla="*/ 0 h 5"/>
              </a:gdLst>
              <a:ahLst/>
              <a:cxnLst>
                <a:cxn ang="0">
                  <a:pos x="T0" y="T1"/>
                </a:cxn>
                <a:cxn ang="0">
                  <a:pos x="T2" y="T3"/>
                </a:cxn>
                <a:cxn ang="0">
                  <a:pos x="T4" y="T5"/>
                </a:cxn>
              </a:cxnLst>
              <a:rect l="0" t="0" r="r" b="b"/>
              <a:pathLst>
                <a:path w="3" h="5">
                  <a:moveTo>
                    <a:pt x="0" y="0"/>
                  </a:moveTo>
                  <a:cubicBezTo>
                    <a:pt x="1" y="2"/>
                    <a:pt x="2" y="4"/>
                    <a:pt x="3" y="5"/>
                  </a:cubicBezTo>
                  <a:cubicBezTo>
                    <a:pt x="2" y="4"/>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0" name="Freeform 221">
              <a:extLst>
                <a:ext uri="{FF2B5EF4-FFF2-40B4-BE49-F238E27FC236}">
                  <a16:creationId xmlns:a16="http://schemas.microsoft.com/office/drawing/2014/main" id="{31221BA3-4293-4154-9486-D7E04E2DE1EC}"/>
                </a:ext>
              </a:extLst>
            </p:cNvPr>
            <p:cNvSpPr>
              <a:spLocks/>
            </p:cNvSpPr>
            <p:nvPr/>
          </p:nvSpPr>
          <p:spPr bwMode="auto">
            <a:xfrm>
              <a:off x="7073553" y="386963"/>
              <a:ext cx="21184" cy="26833"/>
            </a:xfrm>
            <a:custGeom>
              <a:avLst/>
              <a:gdLst>
                <a:gd name="T0" fmla="*/ 6 w 6"/>
                <a:gd name="T1" fmla="*/ 0 h 8"/>
                <a:gd name="T2" fmla="*/ 5 w 6"/>
                <a:gd name="T3" fmla="*/ 0 h 8"/>
                <a:gd name="T4" fmla="*/ 5 w 6"/>
                <a:gd name="T5" fmla="*/ 1 h 8"/>
                <a:gd name="T6" fmla="*/ 3 w 6"/>
                <a:gd name="T7" fmla="*/ 1 h 8"/>
                <a:gd name="T8" fmla="*/ 2 w 6"/>
                <a:gd name="T9" fmla="*/ 1 h 8"/>
                <a:gd name="T10" fmla="*/ 1 w 6"/>
                <a:gd name="T11" fmla="*/ 8 h 8"/>
                <a:gd name="T12" fmla="*/ 6 w 6"/>
                <a:gd name="T13" fmla="*/ 1 h 8"/>
                <a:gd name="T14" fmla="*/ 6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0"/>
                  </a:moveTo>
                  <a:cubicBezTo>
                    <a:pt x="5" y="0"/>
                    <a:pt x="5" y="0"/>
                    <a:pt x="5" y="0"/>
                  </a:cubicBezTo>
                  <a:cubicBezTo>
                    <a:pt x="5" y="1"/>
                    <a:pt x="5" y="1"/>
                    <a:pt x="5" y="1"/>
                  </a:cubicBezTo>
                  <a:cubicBezTo>
                    <a:pt x="4" y="1"/>
                    <a:pt x="4" y="1"/>
                    <a:pt x="3" y="1"/>
                  </a:cubicBezTo>
                  <a:cubicBezTo>
                    <a:pt x="2" y="1"/>
                    <a:pt x="2" y="1"/>
                    <a:pt x="2" y="1"/>
                  </a:cubicBezTo>
                  <a:cubicBezTo>
                    <a:pt x="0" y="3"/>
                    <a:pt x="0" y="6"/>
                    <a:pt x="1" y="8"/>
                  </a:cubicBezTo>
                  <a:cubicBezTo>
                    <a:pt x="2" y="6"/>
                    <a:pt x="5" y="3"/>
                    <a:pt x="6" y="1"/>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1" name="Freeform 222">
              <a:extLst>
                <a:ext uri="{FF2B5EF4-FFF2-40B4-BE49-F238E27FC236}">
                  <a16:creationId xmlns:a16="http://schemas.microsoft.com/office/drawing/2014/main" id="{C2F9925F-F9D6-4D5C-A018-EEC34647306F}"/>
                </a:ext>
              </a:extLst>
            </p:cNvPr>
            <p:cNvSpPr>
              <a:spLocks/>
            </p:cNvSpPr>
            <p:nvPr/>
          </p:nvSpPr>
          <p:spPr bwMode="auto">
            <a:xfrm>
              <a:off x="5265847" y="66377"/>
              <a:ext cx="5649" cy="9886"/>
            </a:xfrm>
            <a:custGeom>
              <a:avLst/>
              <a:gdLst>
                <a:gd name="T0" fmla="*/ 1 w 2"/>
                <a:gd name="T1" fmla="*/ 0 h 3"/>
                <a:gd name="T2" fmla="*/ 1 w 2"/>
                <a:gd name="T3" fmla="*/ 0 h 3"/>
                <a:gd name="T4" fmla="*/ 1 w 2"/>
                <a:gd name="T5" fmla="*/ 3 h 3"/>
                <a:gd name="T6" fmla="*/ 1 w 2"/>
                <a:gd name="T7" fmla="*/ 0 h 3"/>
                <a:gd name="T8" fmla="*/ 1 w 2"/>
                <a:gd name="T9" fmla="*/ 0 h 3"/>
                <a:gd name="T10" fmla="*/ 1 w 2"/>
                <a:gd name="T11" fmla="*/ 0 h 3"/>
                <a:gd name="T12" fmla="*/ 1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0"/>
                  </a:moveTo>
                  <a:cubicBezTo>
                    <a:pt x="1" y="0"/>
                    <a:pt x="1" y="0"/>
                    <a:pt x="1" y="0"/>
                  </a:cubicBezTo>
                  <a:cubicBezTo>
                    <a:pt x="0" y="0"/>
                    <a:pt x="1" y="2"/>
                    <a:pt x="1" y="3"/>
                  </a:cubicBezTo>
                  <a:cubicBezTo>
                    <a:pt x="2" y="2"/>
                    <a:pt x="2" y="1"/>
                    <a:pt x="1"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2" name="Freeform 223">
              <a:extLst>
                <a:ext uri="{FF2B5EF4-FFF2-40B4-BE49-F238E27FC236}">
                  <a16:creationId xmlns:a16="http://schemas.microsoft.com/office/drawing/2014/main" id="{C366BDB5-2BAD-4F12-866C-0DDD12DB9CA0}"/>
                </a:ext>
              </a:extLst>
            </p:cNvPr>
            <p:cNvSpPr>
              <a:spLocks/>
            </p:cNvSpPr>
            <p:nvPr/>
          </p:nvSpPr>
          <p:spPr bwMode="auto">
            <a:xfrm>
              <a:off x="5118971" y="2825"/>
              <a:ext cx="12710" cy="60728"/>
            </a:xfrm>
            <a:custGeom>
              <a:avLst/>
              <a:gdLst>
                <a:gd name="T0" fmla="*/ 3 w 4"/>
                <a:gd name="T1" fmla="*/ 0 h 18"/>
                <a:gd name="T2" fmla="*/ 2 w 4"/>
                <a:gd name="T3" fmla="*/ 5 h 18"/>
                <a:gd name="T4" fmla="*/ 0 w 4"/>
                <a:gd name="T5" fmla="*/ 11 h 18"/>
                <a:gd name="T6" fmla="*/ 3 w 4"/>
                <a:gd name="T7" fmla="*/ 15 h 18"/>
                <a:gd name="T8" fmla="*/ 3 w 4"/>
                <a:gd name="T9" fmla="*/ 16 h 18"/>
                <a:gd name="T10" fmla="*/ 4 w 4"/>
                <a:gd name="T11" fmla="*/ 18 h 18"/>
                <a:gd name="T12" fmla="*/ 2 w 4"/>
                <a:gd name="T13" fmla="*/ 11 h 18"/>
                <a:gd name="T14" fmla="*/ 2 w 4"/>
                <a:gd name="T15" fmla="*/ 6 h 18"/>
                <a:gd name="T16" fmla="*/ 2 w 4"/>
                <a:gd name="T17" fmla="*/ 6 h 18"/>
                <a:gd name="T18" fmla="*/ 3 w 4"/>
                <a:gd name="T19" fmla="*/ 2 h 18"/>
                <a:gd name="T20" fmla="*/ 3 w 4"/>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8">
                  <a:moveTo>
                    <a:pt x="3" y="0"/>
                  </a:moveTo>
                  <a:cubicBezTo>
                    <a:pt x="3" y="2"/>
                    <a:pt x="2" y="3"/>
                    <a:pt x="2" y="5"/>
                  </a:cubicBezTo>
                  <a:cubicBezTo>
                    <a:pt x="1" y="7"/>
                    <a:pt x="1" y="9"/>
                    <a:pt x="0" y="11"/>
                  </a:cubicBezTo>
                  <a:cubicBezTo>
                    <a:pt x="2" y="12"/>
                    <a:pt x="2" y="13"/>
                    <a:pt x="3" y="15"/>
                  </a:cubicBezTo>
                  <a:cubicBezTo>
                    <a:pt x="3" y="15"/>
                    <a:pt x="2" y="15"/>
                    <a:pt x="3" y="16"/>
                  </a:cubicBezTo>
                  <a:cubicBezTo>
                    <a:pt x="3" y="17"/>
                    <a:pt x="4" y="18"/>
                    <a:pt x="4" y="18"/>
                  </a:cubicBezTo>
                  <a:cubicBezTo>
                    <a:pt x="4" y="16"/>
                    <a:pt x="3" y="12"/>
                    <a:pt x="2" y="11"/>
                  </a:cubicBezTo>
                  <a:cubicBezTo>
                    <a:pt x="2" y="9"/>
                    <a:pt x="2" y="8"/>
                    <a:pt x="2" y="6"/>
                  </a:cubicBezTo>
                  <a:cubicBezTo>
                    <a:pt x="2" y="6"/>
                    <a:pt x="2" y="6"/>
                    <a:pt x="2" y="6"/>
                  </a:cubicBezTo>
                  <a:cubicBezTo>
                    <a:pt x="3" y="4"/>
                    <a:pt x="3" y="3"/>
                    <a:pt x="3" y="2"/>
                  </a:cubicBezTo>
                  <a:cubicBezTo>
                    <a:pt x="3"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3" name="Freeform 224">
              <a:extLst>
                <a:ext uri="{FF2B5EF4-FFF2-40B4-BE49-F238E27FC236}">
                  <a16:creationId xmlns:a16="http://schemas.microsoft.com/office/drawing/2014/main" id="{68736725-FB9A-4087-98EE-CCE6E9B73A35}"/>
                </a:ext>
              </a:extLst>
            </p:cNvPr>
            <p:cNvSpPr>
              <a:spLocks/>
            </p:cNvSpPr>
            <p:nvPr/>
          </p:nvSpPr>
          <p:spPr bwMode="auto">
            <a:xfrm>
              <a:off x="5215005" y="523953"/>
              <a:ext cx="7061" cy="12710"/>
            </a:xfrm>
            <a:custGeom>
              <a:avLst/>
              <a:gdLst>
                <a:gd name="T0" fmla="*/ 1 w 2"/>
                <a:gd name="T1" fmla="*/ 0 h 4"/>
                <a:gd name="T2" fmla="*/ 0 w 2"/>
                <a:gd name="T3" fmla="*/ 1 h 4"/>
                <a:gd name="T4" fmla="*/ 0 w 2"/>
                <a:gd name="T5" fmla="*/ 1 h 4"/>
                <a:gd name="T6" fmla="*/ 0 w 2"/>
                <a:gd name="T7" fmla="*/ 2 h 4"/>
                <a:gd name="T8" fmla="*/ 0 w 2"/>
                <a:gd name="T9" fmla="*/ 2 h 4"/>
                <a:gd name="T10" fmla="*/ 0 w 2"/>
                <a:gd name="T11" fmla="*/ 3 h 4"/>
                <a:gd name="T12" fmla="*/ 2 w 2"/>
                <a:gd name="T13" fmla="*/ 4 h 4"/>
                <a:gd name="T14" fmla="*/ 2 w 2"/>
                <a:gd name="T15" fmla="*/ 3 h 4"/>
                <a:gd name="T16" fmla="*/ 2 w 2"/>
                <a:gd name="T17" fmla="*/ 3 h 4"/>
                <a:gd name="T18" fmla="*/ 1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1" y="0"/>
                  </a:moveTo>
                  <a:cubicBezTo>
                    <a:pt x="0" y="0"/>
                    <a:pt x="0" y="1"/>
                    <a:pt x="0" y="1"/>
                  </a:cubicBezTo>
                  <a:cubicBezTo>
                    <a:pt x="0" y="1"/>
                    <a:pt x="0" y="1"/>
                    <a:pt x="0" y="1"/>
                  </a:cubicBezTo>
                  <a:cubicBezTo>
                    <a:pt x="0" y="2"/>
                    <a:pt x="0" y="2"/>
                    <a:pt x="0" y="2"/>
                  </a:cubicBezTo>
                  <a:cubicBezTo>
                    <a:pt x="0" y="2"/>
                    <a:pt x="0" y="2"/>
                    <a:pt x="0" y="2"/>
                  </a:cubicBezTo>
                  <a:cubicBezTo>
                    <a:pt x="0" y="3"/>
                    <a:pt x="0" y="3"/>
                    <a:pt x="0" y="3"/>
                  </a:cubicBezTo>
                  <a:cubicBezTo>
                    <a:pt x="1" y="3"/>
                    <a:pt x="1" y="3"/>
                    <a:pt x="2" y="4"/>
                  </a:cubicBezTo>
                  <a:cubicBezTo>
                    <a:pt x="2" y="3"/>
                    <a:pt x="2" y="3"/>
                    <a:pt x="2" y="3"/>
                  </a:cubicBezTo>
                  <a:cubicBezTo>
                    <a:pt x="2" y="3"/>
                    <a:pt x="2" y="3"/>
                    <a:pt x="2"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4" name="Freeform 225">
              <a:extLst>
                <a:ext uri="{FF2B5EF4-FFF2-40B4-BE49-F238E27FC236}">
                  <a16:creationId xmlns:a16="http://schemas.microsoft.com/office/drawing/2014/main" id="{25CAAD01-7FBF-41B3-AEA1-E3FB54322EC7}"/>
                </a:ext>
              </a:extLst>
            </p:cNvPr>
            <p:cNvSpPr>
              <a:spLocks/>
            </p:cNvSpPr>
            <p:nvPr/>
          </p:nvSpPr>
          <p:spPr bwMode="auto">
            <a:xfrm>
              <a:off x="7011413" y="641172"/>
              <a:ext cx="0" cy="9886"/>
            </a:xfrm>
            <a:custGeom>
              <a:avLst/>
              <a:gdLst>
                <a:gd name="T0" fmla="*/ 0 h 3"/>
                <a:gd name="T1" fmla="*/ 2 h 3"/>
                <a:gd name="T2" fmla="*/ 2 h 3"/>
                <a:gd name="T3" fmla="*/ 2 h 3"/>
                <a:gd name="T4" fmla="*/ 3 h 3"/>
                <a:gd name="T5" fmla="*/ 2 h 3"/>
                <a:gd name="T6" fmla="*/ 0 h 3"/>
              </a:gdLst>
              <a:ahLst/>
              <a:cxnLst>
                <a:cxn ang="0">
                  <a:pos x="0" y="T0"/>
                </a:cxn>
                <a:cxn ang="0">
                  <a:pos x="0" y="T1"/>
                </a:cxn>
                <a:cxn ang="0">
                  <a:pos x="0" y="T2"/>
                </a:cxn>
                <a:cxn ang="0">
                  <a:pos x="0" y="T3"/>
                </a:cxn>
                <a:cxn ang="0">
                  <a:pos x="0" y="T4"/>
                </a:cxn>
                <a:cxn ang="0">
                  <a:pos x="0" y="T5"/>
                </a:cxn>
                <a:cxn ang="0">
                  <a:pos x="0" y="T6"/>
                </a:cxn>
              </a:cxnLst>
              <a:rect l="0" t="0" r="r" b="b"/>
              <a:pathLst>
                <a:path h="3">
                  <a:moveTo>
                    <a:pt x="0" y="0"/>
                  </a:moveTo>
                  <a:cubicBezTo>
                    <a:pt x="0" y="1"/>
                    <a:pt x="0" y="1"/>
                    <a:pt x="0" y="2"/>
                  </a:cubicBezTo>
                  <a:cubicBezTo>
                    <a:pt x="0" y="2"/>
                    <a:pt x="0" y="2"/>
                    <a:pt x="0" y="2"/>
                  </a:cubicBezTo>
                  <a:cubicBezTo>
                    <a:pt x="0" y="2"/>
                    <a:pt x="0" y="2"/>
                    <a:pt x="0" y="2"/>
                  </a:cubicBezTo>
                  <a:cubicBezTo>
                    <a:pt x="0" y="3"/>
                    <a:pt x="0" y="3"/>
                    <a:pt x="0" y="3"/>
                  </a:cubicBezTo>
                  <a:cubicBezTo>
                    <a:pt x="0" y="2"/>
                    <a:pt x="0" y="2"/>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5" name="Freeform 226">
              <a:extLst>
                <a:ext uri="{FF2B5EF4-FFF2-40B4-BE49-F238E27FC236}">
                  <a16:creationId xmlns:a16="http://schemas.microsoft.com/office/drawing/2014/main" id="{9EEA59C0-4A07-4484-AE07-3561F90744B3}"/>
                </a:ext>
              </a:extLst>
            </p:cNvPr>
            <p:cNvSpPr>
              <a:spLocks/>
            </p:cNvSpPr>
            <p:nvPr/>
          </p:nvSpPr>
          <p:spPr bwMode="auto">
            <a:xfrm>
              <a:off x="7000115" y="636935"/>
              <a:ext cx="14123" cy="16947"/>
            </a:xfrm>
            <a:custGeom>
              <a:avLst/>
              <a:gdLst>
                <a:gd name="T0" fmla="*/ 2 w 4"/>
                <a:gd name="T1" fmla="*/ 0 h 5"/>
                <a:gd name="T2" fmla="*/ 2 w 4"/>
                <a:gd name="T3" fmla="*/ 1 h 5"/>
                <a:gd name="T4" fmla="*/ 1 w 4"/>
                <a:gd name="T5" fmla="*/ 2 h 5"/>
                <a:gd name="T6" fmla="*/ 0 w 4"/>
                <a:gd name="T7" fmla="*/ 5 h 5"/>
                <a:gd name="T8" fmla="*/ 4 w 4"/>
                <a:gd name="T9" fmla="*/ 0 h 5"/>
                <a:gd name="T10" fmla="*/ 2 w 4"/>
                <a:gd name="T11" fmla="*/ 0 h 5"/>
                <a:gd name="T12" fmla="*/ 2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0"/>
                  </a:moveTo>
                  <a:cubicBezTo>
                    <a:pt x="2" y="1"/>
                    <a:pt x="2" y="1"/>
                    <a:pt x="2" y="1"/>
                  </a:cubicBezTo>
                  <a:cubicBezTo>
                    <a:pt x="2" y="1"/>
                    <a:pt x="1" y="1"/>
                    <a:pt x="1" y="2"/>
                  </a:cubicBezTo>
                  <a:cubicBezTo>
                    <a:pt x="1" y="3"/>
                    <a:pt x="1" y="4"/>
                    <a:pt x="0" y="5"/>
                  </a:cubicBezTo>
                  <a:cubicBezTo>
                    <a:pt x="2" y="3"/>
                    <a:pt x="3" y="2"/>
                    <a:pt x="4" y="0"/>
                  </a:cubicBezTo>
                  <a:cubicBezTo>
                    <a:pt x="3" y="0"/>
                    <a:pt x="3"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6" name="Freeform 227">
              <a:extLst>
                <a:ext uri="{FF2B5EF4-FFF2-40B4-BE49-F238E27FC236}">
                  <a16:creationId xmlns:a16="http://schemas.microsoft.com/office/drawing/2014/main" id="{2FE78ABE-0B01-4FB6-B68B-DD1A5546BD19}"/>
                </a:ext>
              </a:extLst>
            </p:cNvPr>
            <p:cNvSpPr>
              <a:spLocks/>
            </p:cNvSpPr>
            <p:nvPr/>
          </p:nvSpPr>
          <p:spPr bwMode="auto">
            <a:xfrm>
              <a:off x="7594680" y="2210208"/>
              <a:ext cx="33894" cy="26833"/>
            </a:xfrm>
            <a:custGeom>
              <a:avLst/>
              <a:gdLst>
                <a:gd name="T0" fmla="*/ 7 w 10"/>
                <a:gd name="T1" fmla="*/ 0 h 8"/>
                <a:gd name="T2" fmla="*/ 1 w 10"/>
                <a:gd name="T3" fmla="*/ 4 h 8"/>
                <a:gd name="T4" fmla="*/ 2 w 10"/>
                <a:gd name="T5" fmla="*/ 8 h 8"/>
                <a:gd name="T6" fmla="*/ 7 w 10"/>
                <a:gd name="T7" fmla="*/ 0 h 8"/>
              </a:gdLst>
              <a:ahLst/>
              <a:cxnLst>
                <a:cxn ang="0">
                  <a:pos x="T0" y="T1"/>
                </a:cxn>
                <a:cxn ang="0">
                  <a:pos x="T2" y="T3"/>
                </a:cxn>
                <a:cxn ang="0">
                  <a:pos x="T4" y="T5"/>
                </a:cxn>
                <a:cxn ang="0">
                  <a:pos x="T6" y="T7"/>
                </a:cxn>
              </a:cxnLst>
              <a:rect l="0" t="0" r="r" b="b"/>
              <a:pathLst>
                <a:path w="10" h="8">
                  <a:moveTo>
                    <a:pt x="7" y="0"/>
                  </a:moveTo>
                  <a:cubicBezTo>
                    <a:pt x="4" y="0"/>
                    <a:pt x="1" y="1"/>
                    <a:pt x="1" y="4"/>
                  </a:cubicBezTo>
                  <a:cubicBezTo>
                    <a:pt x="0" y="7"/>
                    <a:pt x="1" y="8"/>
                    <a:pt x="2" y="8"/>
                  </a:cubicBezTo>
                  <a:cubicBezTo>
                    <a:pt x="5" y="8"/>
                    <a:pt x="10"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7" name="Freeform 228">
              <a:extLst>
                <a:ext uri="{FF2B5EF4-FFF2-40B4-BE49-F238E27FC236}">
                  <a16:creationId xmlns:a16="http://schemas.microsoft.com/office/drawing/2014/main" id="{8EA3948C-8A98-4BEB-B040-E15BC3F4E83B}"/>
                </a:ext>
              </a:extLst>
            </p:cNvPr>
            <p:cNvSpPr>
              <a:spLocks/>
            </p:cNvSpPr>
            <p:nvPr/>
          </p:nvSpPr>
          <p:spPr bwMode="auto">
            <a:xfrm>
              <a:off x="11842788" y="660944"/>
              <a:ext cx="43780" cy="19772"/>
            </a:xfrm>
            <a:custGeom>
              <a:avLst/>
              <a:gdLst>
                <a:gd name="T0" fmla="*/ 7 w 13"/>
                <a:gd name="T1" fmla="*/ 0 h 6"/>
                <a:gd name="T2" fmla="*/ 5 w 13"/>
                <a:gd name="T3" fmla="*/ 0 h 6"/>
                <a:gd name="T4" fmla="*/ 3 w 13"/>
                <a:gd name="T5" fmla="*/ 6 h 6"/>
                <a:gd name="T6" fmla="*/ 8 w 13"/>
                <a:gd name="T7" fmla="*/ 0 h 6"/>
                <a:gd name="T8" fmla="*/ 7 w 13"/>
                <a:gd name="T9" fmla="*/ 0 h 6"/>
              </a:gdLst>
              <a:ahLst/>
              <a:cxnLst>
                <a:cxn ang="0">
                  <a:pos x="T0" y="T1"/>
                </a:cxn>
                <a:cxn ang="0">
                  <a:pos x="T2" y="T3"/>
                </a:cxn>
                <a:cxn ang="0">
                  <a:pos x="T4" y="T5"/>
                </a:cxn>
                <a:cxn ang="0">
                  <a:pos x="T6" y="T7"/>
                </a:cxn>
                <a:cxn ang="0">
                  <a:pos x="T8" y="T9"/>
                </a:cxn>
              </a:cxnLst>
              <a:rect l="0" t="0" r="r" b="b"/>
              <a:pathLst>
                <a:path w="13" h="6">
                  <a:moveTo>
                    <a:pt x="7" y="0"/>
                  </a:moveTo>
                  <a:cubicBezTo>
                    <a:pt x="7" y="0"/>
                    <a:pt x="6" y="0"/>
                    <a:pt x="5" y="0"/>
                  </a:cubicBezTo>
                  <a:cubicBezTo>
                    <a:pt x="0" y="2"/>
                    <a:pt x="3" y="3"/>
                    <a:pt x="3" y="6"/>
                  </a:cubicBezTo>
                  <a:cubicBezTo>
                    <a:pt x="5" y="5"/>
                    <a:pt x="13"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8" name="Freeform 229">
              <a:extLst>
                <a:ext uri="{FF2B5EF4-FFF2-40B4-BE49-F238E27FC236}">
                  <a16:creationId xmlns:a16="http://schemas.microsoft.com/office/drawing/2014/main" id="{550C004F-0409-4A77-8154-79E674CDFF3E}"/>
                </a:ext>
              </a:extLst>
            </p:cNvPr>
            <p:cNvSpPr>
              <a:spLocks/>
            </p:cNvSpPr>
            <p:nvPr/>
          </p:nvSpPr>
          <p:spPr bwMode="auto">
            <a:xfrm>
              <a:off x="11862560" y="680716"/>
              <a:ext cx="16947" cy="9886"/>
            </a:xfrm>
            <a:custGeom>
              <a:avLst/>
              <a:gdLst>
                <a:gd name="T0" fmla="*/ 5 w 5"/>
                <a:gd name="T1" fmla="*/ 0 h 3"/>
                <a:gd name="T2" fmla="*/ 4 w 5"/>
                <a:gd name="T3" fmla="*/ 3 h 3"/>
                <a:gd name="T4" fmla="*/ 5 w 5"/>
                <a:gd name="T5" fmla="*/ 0 h 3"/>
              </a:gdLst>
              <a:ahLst/>
              <a:cxnLst>
                <a:cxn ang="0">
                  <a:pos x="T0" y="T1"/>
                </a:cxn>
                <a:cxn ang="0">
                  <a:pos x="T2" y="T3"/>
                </a:cxn>
                <a:cxn ang="0">
                  <a:pos x="T4" y="T5"/>
                </a:cxn>
              </a:cxnLst>
              <a:rect l="0" t="0" r="r" b="b"/>
              <a:pathLst>
                <a:path w="5" h="3">
                  <a:moveTo>
                    <a:pt x="5" y="0"/>
                  </a:moveTo>
                  <a:cubicBezTo>
                    <a:pt x="3" y="0"/>
                    <a:pt x="0" y="2"/>
                    <a:pt x="4" y="3"/>
                  </a:cubicBezTo>
                  <a:cubicBezTo>
                    <a:pt x="4"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9" name="Freeform 230">
              <a:extLst>
                <a:ext uri="{FF2B5EF4-FFF2-40B4-BE49-F238E27FC236}">
                  <a16:creationId xmlns:a16="http://schemas.microsoft.com/office/drawing/2014/main" id="{0DDB85C1-65D3-45A0-A3D9-AA180D3FE122}"/>
                </a:ext>
              </a:extLst>
            </p:cNvPr>
            <p:cNvSpPr>
              <a:spLocks/>
            </p:cNvSpPr>
            <p:nvPr/>
          </p:nvSpPr>
          <p:spPr bwMode="auto">
            <a:xfrm>
              <a:off x="11916226" y="700488"/>
              <a:ext cx="33894" cy="14123"/>
            </a:xfrm>
            <a:custGeom>
              <a:avLst/>
              <a:gdLst>
                <a:gd name="T0" fmla="*/ 3 w 10"/>
                <a:gd name="T1" fmla="*/ 0 h 4"/>
                <a:gd name="T2" fmla="*/ 4 w 10"/>
                <a:gd name="T3" fmla="*/ 4 h 4"/>
                <a:gd name="T4" fmla="*/ 10 w 10"/>
                <a:gd name="T5" fmla="*/ 2 h 4"/>
                <a:gd name="T6" fmla="*/ 6 w 10"/>
                <a:gd name="T7" fmla="*/ 1 h 4"/>
                <a:gd name="T8" fmla="*/ 3 w 10"/>
                <a:gd name="T9" fmla="*/ 0 h 4"/>
              </a:gdLst>
              <a:ahLst/>
              <a:cxnLst>
                <a:cxn ang="0">
                  <a:pos x="T0" y="T1"/>
                </a:cxn>
                <a:cxn ang="0">
                  <a:pos x="T2" y="T3"/>
                </a:cxn>
                <a:cxn ang="0">
                  <a:pos x="T4" y="T5"/>
                </a:cxn>
                <a:cxn ang="0">
                  <a:pos x="T6" y="T7"/>
                </a:cxn>
                <a:cxn ang="0">
                  <a:pos x="T8" y="T9"/>
                </a:cxn>
              </a:cxnLst>
              <a:rect l="0" t="0" r="r" b="b"/>
              <a:pathLst>
                <a:path w="10" h="4">
                  <a:moveTo>
                    <a:pt x="3" y="0"/>
                  </a:moveTo>
                  <a:cubicBezTo>
                    <a:pt x="0" y="0"/>
                    <a:pt x="3" y="1"/>
                    <a:pt x="4" y="4"/>
                  </a:cubicBezTo>
                  <a:cubicBezTo>
                    <a:pt x="6" y="4"/>
                    <a:pt x="8" y="3"/>
                    <a:pt x="10" y="2"/>
                  </a:cubicBezTo>
                  <a:cubicBezTo>
                    <a:pt x="9" y="1"/>
                    <a:pt x="7" y="1"/>
                    <a:pt x="6"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0" name="Freeform 231">
              <a:extLst>
                <a:ext uri="{FF2B5EF4-FFF2-40B4-BE49-F238E27FC236}">
                  <a16:creationId xmlns:a16="http://schemas.microsoft.com/office/drawing/2014/main" id="{DF0172AD-1061-478C-8206-29986F0E01A6}"/>
                </a:ext>
              </a:extLst>
            </p:cNvPr>
            <p:cNvSpPr>
              <a:spLocks/>
            </p:cNvSpPr>
            <p:nvPr/>
          </p:nvSpPr>
          <p:spPr bwMode="auto">
            <a:xfrm>
              <a:off x="12009436" y="807820"/>
              <a:ext cx="7061" cy="16947"/>
            </a:xfrm>
            <a:custGeom>
              <a:avLst/>
              <a:gdLst>
                <a:gd name="T0" fmla="*/ 2 w 2"/>
                <a:gd name="T1" fmla="*/ 0 h 5"/>
                <a:gd name="T2" fmla="*/ 2 w 2"/>
                <a:gd name="T3" fmla="*/ 5 h 5"/>
                <a:gd name="T4" fmla="*/ 2 w 2"/>
                <a:gd name="T5" fmla="*/ 0 h 5"/>
              </a:gdLst>
              <a:ahLst/>
              <a:cxnLst>
                <a:cxn ang="0">
                  <a:pos x="T0" y="T1"/>
                </a:cxn>
                <a:cxn ang="0">
                  <a:pos x="T2" y="T3"/>
                </a:cxn>
                <a:cxn ang="0">
                  <a:pos x="T4" y="T5"/>
                </a:cxn>
              </a:cxnLst>
              <a:rect l="0" t="0" r="r" b="b"/>
              <a:pathLst>
                <a:path w="2" h="5">
                  <a:moveTo>
                    <a:pt x="2" y="0"/>
                  </a:moveTo>
                  <a:cubicBezTo>
                    <a:pt x="0" y="1"/>
                    <a:pt x="0" y="4"/>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1" name="Freeform 232">
              <a:extLst>
                <a:ext uri="{FF2B5EF4-FFF2-40B4-BE49-F238E27FC236}">
                  <a16:creationId xmlns:a16="http://schemas.microsoft.com/office/drawing/2014/main" id="{24D6B2BB-EC62-4C33-AF2A-ED7C470727C3}"/>
                </a:ext>
              </a:extLst>
            </p:cNvPr>
            <p:cNvSpPr>
              <a:spLocks/>
            </p:cNvSpPr>
            <p:nvPr/>
          </p:nvSpPr>
          <p:spPr bwMode="auto">
            <a:xfrm>
              <a:off x="11967068" y="807820"/>
              <a:ext cx="29658" cy="33895"/>
            </a:xfrm>
            <a:custGeom>
              <a:avLst/>
              <a:gdLst>
                <a:gd name="T0" fmla="*/ 1 w 9"/>
                <a:gd name="T1" fmla="*/ 0 h 10"/>
                <a:gd name="T2" fmla="*/ 7 w 9"/>
                <a:gd name="T3" fmla="*/ 10 h 10"/>
                <a:gd name="T4" fmla="*/ 1 w 9"/>
                <a:gd name="T5" fmla="*/ 0 h 10"/>
              </a:gdLst>
              <a:ahLst/>
              <a:cxnLst>
                <a:cxn ang="0">
                  <a:pos x="T0" y="T1"/>
                </a:cxn>
                <a:cxn ang="0">
                  <a:pos x="T2" y="T3"/>
                </a:cxn>
                <a:cxn ang="0">
                  <a:pos x="T4" y="T5"/>
                </a:cxn>
              </a:cxnLst>
              <a:rect l="0" t="0" r="r" b="b"/>
              <a:pathLst>
                <a:path w="9" h="10">
                  <a:moveTo>
                    <a:pt x="1" y="0"/>
                  </a:moveTo>
                  <a:cubicBezTo>
                    <a:pt x="2" y="4"/>
                    <a:pt x="0" y="9"/>
                    <a:pt x="7" y="10"/>
                  </a:cubicBezTo>
                  <a:cubicBezTo>
                    <a:pt x="9"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2" name="Freeform 233">
              <a:extLst>
                <a:ext uri="{FF2B5EF4-FFF2-40B4-BE49-F238E27FC236}">
                  <a16:creationId xmlns:a16="http://schemas.microsoft.com/office/drawing/2014/main" id="{521C74B0-4D1E-4811-9854-455AE2A94FAC}"/>
                </a:ext>
              </a:extLst>
            </p:cNvPr>
            <p:cNvSpPr>
              <a:spLocks/>
            </p:cNvSpPr>
            <p:nvPr/>
          </p:nvSpPr>
          <p:spPr bwMode="auto">
            <a:xfrm>
              <a:off x="11909165" y="830417"/>
              <a:ext cx="14123" cy="16947"/>
            </a:xfrm>
            <a:custGeom>
              <a:avLst/>
              <a:gdLst>
                <a:gd name="T0" fmla="*/ 4 w 4"/>
                <a:gd name="T1" fmla="*/ 0 h 5"/>
                <a:gd name="T2" fmla="*/ 4 w 4"/>
                <a:gd name="T3" fmla="*/ 5 h 5"/>
                <a:gd name="T4" fmla="*/ 4 w 4"/>
                <a:gd name="T5" fmla="*/ 0 h 5"/>
              </a:gdLst>
              <a:ahLst/>
              <a:cxnLst>
                <a:cxn ang="0">
                  <a:pos x="T0" y="T1"/>
                </a:cxn>
                <a:cxn ang="0">
                  <a:pos x="T2" y="T3"/>
                </a:cxn>
                <a:cxn ang="0">
                  <a:pos x="T4" y="T5"/>
                </a:cxn>
              </a:cxnLst>
              <a:rect l="0" t="0" r="r" b="b"/>
              <a:pathLst>
                <a:path w="4" h="5">
                  <a:moveTo>
                    <a:pt x="4" y="0"/>
                  </a:moveTo>
                  <a:cubicBezTo>
                    <a:pt x="0" y="1"/>
                    <a:pt x="0" y="4"/>
                    <a:pt x="4" y="5"/>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3" name="Freeform 234">
              <a:extLst>
                <a:ext uri="{FF2B5EF4-FFF2-40B4-BE49-F238E27FC236}">
                  <a16:creationId xmlns:a16="http://schemas.microsoft.com/office/drawing/2014/main" id="{9DB3F4E9-D513-463B-9E95-C0E6FE68D790}"/>
                </a:ext>
              </a:extLst>
            </p:cNvPr>
            <p:cNvSpPr>
              <a:spLocks/>
            </p:cNvSpPr>
            <p:nvPr/>
          </p:nvSpPr>
          <p:spPr bwMode="auto">
            <a:xfrm>
              <a:off x="8262684" y="49712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4" name="Freeform 235">
              <a:extLst>
                <a:ext uri="{FF2B5EF4-FFF2-40B4-BE49-F238E27FC236}">
                  <a16:creationId xmlns:a16="http://schemas.microsoft.com/office/drawing/2014/main" id="{73BD8880-FD2C-4AAC-995D-9FD890813F5F}"/>
                </a:ext>
              </a:extLst>
            </p:cNvPr>
            <p:cNvSpPr>
              <a:spLocks/>
            </p:cNvSpPr>
            <p:nvPr/>
          </p:nvSpPr>
          <p:spPr bwMode="auto">
            <a:xfrm>
              <a:off x="7183710" y="1101573"/>
              <a:ext cx="14123" cy="12710"/>
            </a:xfrm>
            <a:custGeom>
              <a:avLst/>
              <a:gdLst>
                <a:gd name="T0" fmla="*/ 0 w 4"/>
                <a:gd name="T1" fmla="*/ 0 h 4"/>
                <a:gd name="T2" fmla="*/ 4 w 4"/>
                <a:gd name="T3" fmla="*/ 4 h 4"/>
                <a:gd name="T4" fmla="*/ 0 w 4"/>
                <a:gd name="T5" fmla="*/ 0 h 4"/>
              </a:gdLst>
              <a:ahLst/>
              <a:cxnLst>
                <a:cxn ang="0">
                  <a:pos x="T0" y="T1"/>
                </a:cxn>
                <a:cxn ang="0">
                  <a:pos x="T2" y="T3"/>
                </a:cxn>
                <a:cxn ang="0">
                  <a:pos x="T4" y="T5"/>
                </a:cxn>
              </a:cxnLst>
              <a:rect l="0" t="0" r="r" b="b"/>
              <a:pathLst>
                <a:path w="4" h="4">
                  <a:moveTo>
                    <a:pt x="0" y="0"/>
                  </a:moveTo>
                  <a:cubicBezTo>
                    <a:pt x="0" y="2"/>
                    <a:pt x="3" y="4"/>
                    <a:pt x="4" y="4"/>
                  </a:cubicBezTo>
                  <a:cubicBezTo>
                    <a:pt x="4" y="4"/>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5" name="Rectangle 236">
              <a:extLst>
                <a:ext uri="{FF2B5EF4-FFF2-40B4-BE49-F238E27FC236}">
                  <a16:creationId xmlns:a16="http://schemas.microsoft.com/office/drawing/2014/main" id="{707A4363-3F84-473E-9D64-00498F8261C5}"/>
                </a:ext>
              </a:extLst>
            </p:cNvPr>
            <p:cNvSpPr>
              <a:spLocks noChangeArrowheads="1"/>
            </p:cNvSpPr>
            <p:nvPr/>
          </p:nvSpPr>
          <p:spPr bwMode="auto">
            <a:xfrm>
              <a:off x="9252685" y="1916455"/>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6" name="Freeform 237">
              <a:extLst>
                <a:ext uri="{FF2B5EF4-FFF2-40B4-BE49-F238E27FC236}">
                  <a16:creationId xmlns:a16="http://schemas.microsoft.com/office/drawing/2014/main" id="{BF4F6612-75F4-4F1C-A759-A4071F1F5959}"/>
                </a:ext>
              </a:extLst>
            </p:cNvPr>
            <p:cNvSpPr>
              <a:spLocks/>
            </p:cNvSpPr>
            <p:nvPr/>
          </p:nvSpPr>
          <p:spPr bwMode="auto">
            <a:xfrm>
              <a:off x="9252685" y="191645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7" name="Rectangle 238">
              <a:extLst>
                <a:ext uri="{FF2B5EF4-FFF2-40B4-BE49-F238E27FC236}">
                  <a16:creationId xmlns:a16="http://schemas.microsoft.com/office/drawing/2014/main" id="{D4CBDE95-3DE2-4187-9747-A6E6889DCBE5}"/>
                </a:ext>
              </a:extLst>
            </p:cNvPr>
            <p:cNvSpPr>
              <a:spLocks noChangeArrowheads="1"/>
            </p:cNvSpPr>
            <p:nvPr/>
          </p:nvSpPr>
          <p:spPr bwMode="auto">
            <a:xfrm>
              <a:off x="9480061" y="1862789"/>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8" name="Freeform 239">
              <a:extLst>
                <a:ext uri="{FF2B5EF4-FFF2-40B4-BE49-F238E27FC236}">
                  <a16:creationId xmlns:a16="http://schemas.microsoft.com/office/drawing/2014/main" id="{C84DB906-928E-4557-8D7C-B0A61247C1EC}"/>
                </a:ext>
              </a:extLst>
            </p:cNvPr>
            <p:cNvSpPr>
              <a:spLocks/>
            </p:cNvSpPr>
            <p:nvPr/>
          </p:nvSpPr>
          <p:spPr bwMode="auto">
            <a:xfrm>
              <a:off x="9480061" y="186278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9" name="Rectangle 240">
              <a:extLst>
                <a:ext uri="{FF2B5EF4-FFF2-40B4-BE49-F238E27FC236}">
                  <a16:creationId xmlns:a16="http://schemas.microsoft.com/office/drawing/2014/main" id="{AE97BA39-A89E-4F8E-A318-100DE1D016BC}"/>
                </a:ext>
              </a:extLst>
            </p:cNvPr>
            <p:cNvSpPr>
              <a:spLocks noChangeArrowheads="1"/>
            </p:cNvSpPr>
            <p:nvPr/>
          </p:nvSpPr>
          <p:spPr bwMode="auto">
            <a:xfrm>
              <a:off x="9279518" y="4163382"/>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0" name="Freeform 241">
              <a:extLst>
                <a:ext uri="{FF2B5EF4-FFF2-40B4-BE49-F238E27FC236}">
                  <a16:creationId xmlns:a16="http://schemas.microsoft.com/office/drawing/2014/main" id="{8E1B36AD-389B-4458-AE47-E37BAF07F18C}"/>
                </a:ext>
              </a:extLst>
            </p:cNvPr>
            <p:cNvSpPr>
              <a:spLocks/>
            </p:cNvSpPr>
            <p:nvPr/>
          </p:nvSpPr>
          <p:spPr bwMode="auto">
            <a:xfrm>
              <a:off x="9279518" y="416338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1" name="Freeform 242">
              <a:extLst>
                <a:ext uri="{FF2B5EF4-FFF2-40B4-BE49-F238E27FC236}">
                  <a16:creationId xmlns:a16="http://schemas.microsoft.com/office/drawing/2014/main" id="{F44069A6-D0ED-4327-AC2C-0CA4C5EB3E7D}"/>
                </a:ext>
              </a:extLst>
            </p:cNvPr>
            <p:cNvSpPr>
              <a:spLocks noEditPoints="1"/>
            </p:cNvSpPr>
            <p:nvPr/>
          </p:nvSpPr>
          <p:spPr bwMode="auto">
            <a:xfrm>
              <a:off x="8098861" y="1605755"/>
              <a:ext cx="3019433" cy="3108414"/>
            </a:xfrm>
            <a:custGeom>
              <a:avLst/>
              <a:gdLst>
                <a:gd name="T0" fmla="*/ 296 w 905"/>
                <a:gd name="T1" fmla="*/ 16 h 931"/>
                <a:gd name="T2" fmla="*/ 240 w 905"/>
                <a:gd name="T3" fmla="*/ 33 h 931"/>
                <a:gd name="T4" fmla="*/ 229 w 905"/>
                <a:gd name="T5" fmla="*/ 59 h 931"/>
                <a:gd name="T6" fmla="*/ 218 w 905"/>
                <a:gd name="T7" fmla="*/ 89 h 931"/>
                <a:gd name="T8" fmla="*/ 162 w 905"/>
                <a:gd name="T9" fmla="*/ 95 h 931"/>
                <a:gd name="T10" fmla="*/ 99 w 905"/>
                <a:gd name="T11" fmla="*/ 81 h 931"/>
                <a:gd name="T12" fmla="*/ 88 w 905"/>
                <a:gd name="T13" fmla="*/ 118 h 931"/>
                <a:gd name="T14" fmla="*/ 82 w 905"/>
                <a:gd name="T15" fmla="*/ 221 h 931"/>
                <a:gd name="T16" fmla="*/ 24 w 905"/>
                <a:gd name="T17" fmla="*/ 240 h 931"/>
                <a:gd name="T18" fmla="*/ 4 w 905"/>
                <a:gd name="T19" fmla="*/ 291 h 931"/>
                <a:gd name="T20" fmla="*/ 51 w 905"/>
                <a:gd name="T21" fmla="*/ 350 h 931"/>
                <a:gd name="T22" fmla="*/ 86 w 905"/>
                <a:gd name="T23" fmla="*/ 372 h 931"/>
                <a:gd name="T24" fmla="*/ 122 w 905"/>
                <a:gd name="T25" fmla="*/ 374 h 931"/>
                <a:gd name="T26" fmla="*/ 184 w 905"/>
                <a:gd name="T27" fmla="*/ 343 h 931"/>
                <a:gd name="T28" fmla="*/ 198 w 905"/>
                <a:gd name="T29" fmla="*/ 356 h 931"/>
                <a:gd name="T30" fmla="*/ 222 w 905"/>
                <a:gd name="T31" fmla="*/ 408 h 931"/>
                <a:gd name="T32" fmla="*/ 252 w 905"/>
                <a:gd name="T33" fmla="*/ 416 h 931"/>
                <a:gd name="T34" fmla="*/ 297 w 905"/>
                <a:gd name="T35" fmla="*/ 432 h 931"/>
                <a:gd name="T36" fmla="*/ 315 w 905"/>
                <a:gd name="T37" fmla="*/ 473 h 931"/>
                <a:gd name="T38" fmla="*/ 361 w 905"/>
                <a:gd name="T39" fmla="*/ 501 h 931"/>
                <a:gd name="T40" fmla="*/ 376 w 905"/>
                <a:gd name="T41" fmla="*/ 562 h 931"/>
                <a:gd name="T42" fmla="*/ 360 w 905"/>
                <a:gd name="T43" fmla="*/ 588 h 931"/>
                <a:gd name="T44" fmla="*/ 271 w 905"/>
                <a:gd name="T45" fmla="*/ 603 h 931"/>
                <a:gd name="T46" fmla="*/ 275 w 905"/>
                <a:gd name="T47" fmla="*/ 657 h 931"/>
                <a:gd name="T48" fmla="*/ 361 w 905"/>
                <a:gd name="T49" fmla="*/ 709 h 931"/>
                <a:gd name="T50" fmla="*/ 402 w 905"/>
                <a:gd name="T51" fmla="*/ 771 h 931"/>
                <a:gd name="T52" fmla="*/ 442 w 905"/>
                <a:gd name="T53" fmla="*/ 727 h 931"/>
                <a:gd name="T54" fmla="*/ 467 w 905"/>
                <a:gd name="T55" fmla="*/ 761 h 931"/>
                <a:gd name="T56" fmla="*/ 421 w 905"/>
                <a:gd name="T57" fmla="*/ 793 h 931"/>
                <a:gd name="T58" fmla="*/ 417 w 905"/>
                <a:gd name="T59" fmla="*/ 860 h 931"/>
                <a:gd name="T60" fmla="*/ 465 w 905"/>
                <a:gd name="T61" fmla="*/ 887 h 931"/>
                <a:gd name="T62" fmla="*/ 502 w 905"/>
                <a:gd name="T63" fmla="*/ 889 h 931"/>
                <a:gd name="T64" fmla="*/ 535 w 905"/>
                <a:gd name="T65" fmla="*/ 846 h 931"/>
                <a:gd name="T66" fmla="*/ 577 w 905"/>
                <a:gd name="T67" fmla="*/ 804 h 931"/>
                <a:gd name="T68" fmla="*/ 585 w 905"/>
                <a:gd name="T69" fmla="*/ 735 h 931"/>
                <a:gd name="T70" fmla="*/ 589 w 905"/>
                <a:gd name="T71" fmla="*/ 718 h 931"/>
                <a:gd name="T72" fmla="*/ 636 w 905"/>
                <a:gd name="T73" fmla="*/ 683 h 931"/>
                <a:gd name="T74" fmla="*/ 694 w 905"/>
                <a:gd name="T75" fmla="*/ 660 h 931"/>
                <a:gd name="T76" fmla="*/ 762 w 905"/>
                <a:gd name="T77" fmla="*/ 636 h 931"/>
                <a:gd name="T78" fmla="*/ 804 w 905"/>
                <a:gd name="T79" fmla="*/ 439 h 931"/>
                <a:gd name="T80" fmla="*/ 847 w 905"/>
                <a:gd name="T81" fmla="*/ 380 h 931"/>
                <a:gd name="T82" fmla="*/ 878 w 905"/>
                <a:gd name="T83" fmla="*/ 236 h 931"/>
                <a:gd name="T84" fmla="*/ 726 w 905"/>
                <a:gd name="T85" fmla="*/ 181 h 931"/>
                <a:gd name="T86" fmla="*/ 682 w 905"/>
                <a:gd name="T87" fmla="*/ 169 h 931"/>
                <a:gd name="T88" fmla="*/ 669 w 905"/>
                <a:gd name="T89" fmla="*/ 155 h 931"/>
                <a:gd name="T90" fmla="*/ 648 w 905"/>
                <a:gd name="T91" fmla="*/ 145 h 931"/>
                <a:gd name="T92" fmla="*/ 628 w 905"/>
                <a:gd name="T93" fmla="*/ 139 h 931"/>
                <a:gd name="T94" fmla="*/ 588 w 905"/>
                <a:gd name="T95" fmla="*/ 156 h 931"/>
                <a:gd name="T96" fmla="*/ 560 w 905"/>
                <a:gd name="T97" fmla="*/ 159 h 931"/>
                <a:gd name="T98" fmla="*/ 567 w 905"/>
                <a:gd name="T99" fmla="*/ 157 h 931"/>
                <a:gd name="T100" fmla="*/ 587 w 905"/>
                <a:gd name="T101" fmla="*/ 136 h 931"/>
                <a:gd name="T102" fmla="*/ 541 w 905"/>
                <a:gd name="T103" fmla="*/ 122 h 931"/>
                <a:gd name="T104" fmla="*/ 535 w 905"/>
                <a:gd name="T105" fmla="*/ 143 h 931"/>
                <a:gd name="T106" fmla="*/ 533 w 905"/>
                <a:gd name="T107" fmla="*/ 148 h 931"/>
                <a:gd name="T108" fmla="*/ 549 w 905"/>
                <a:gd name="T109" fmla="*/ 96 h 931"/>
                <a:gd name="T110" fmla="*/ 534 w 905"/>
                <a:gd name="T111" fmla="*/ 68 h 931"/>
                <a:gd name="T112" fmla="*/ 497 w 905"/>
                <a:gd name="T113" fmla="*/ 57 h 931"/>
                <a:gd name="T114" fmla="*/ 455 w 905"/>
                <a:gd name="T115" fmla="*/ 72 h 931"/>
                <a:gd name="T116" fmla="*/ 417 w 905"/>
                <a:gd name="T117" fmla="*/ 73 h 931"/>
                <a:gd name="T118" fmla="*/ 392 w 905"/>
                <a:gd name="T119" fmla="*/ 77 h 931"/>
                <a:gd name="T120" fmla="*/ 321 w 905"/>
                <a:gd name="T121" fmla="*/ 66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5" h="931">
                  <a:moveTo>
                    <a:pt x="198" y="381"/>
                  </a:moveTo>
                  <a:cubicBezTo>
                    <a:pt x="198" y="381"/>
                    <a:pt x="198" y="381"/>
                    <a:pt x="198" y="381"/>
                  </a:cubicBezTo>
                  <a:cubicBezTo>
                    <a:pt x="198" y="381"/>
                    <a:pt x="198" y="381"/>
                    <a:pt x="198" y="381"/>
                  </a:cubicBezTo>
                  <a:moveTo>
                    <a:pt x="311" y="0"/>
                  </a:moveTo>
                  <a:cubicBezTo>
                    <a:pt x="311" y="0"/>
                    <a:pt x="310" y="0"/>
                    <a:pt x="309" y="0"/>
                  </a:cubicBezTo>
                  <a:cubicBezTo>
                    <a:pt x="309" y="0"/>
                    <a:pt x="308" y="0"/>
                    <a:pt x="308" y="1"/>
                  </a:cubicBezTo>
                  <a:cubicBezTo>
                    <a:pt x="308" y="1"/>
                    <a:pt x="308" y="1"/>
                    <a:pt x="308" y="2"/>
                  </a:cubicBezTo>
                  <a:cubicBezTo>
                    <a:pt x="308" y="2"/>
                    <a:pt x="308" y="3"/>
                    <a:pt x="308" y="4"/>
                  </a:cubicBezTo>
                  <a:cubicBezTo>
                    <a:pt x="308" y="4"/>
                    <a:pt x="308" y="4"/>
                    <a:pt x="308" y="4"/>
                  </a:cubicBezTo>
                  <a:cubicBezTo>
                    <a:pt x="308" y="5"/>
                    <a:pt x="308" y="6"/>
                    <a:pt x="307" y="6"/>
                  </a:cubicBezTo>
                  <a:cubicBezTo>
                    <a:pt x="312" y="10"/>
                    <a:pt x="312" y="10"/>
                    <a:pt x="312" y="10"/>
                  </a:cubicBezTo>
                  <a:cubicBezTo>
                    <a:pt x="307" y="8"/>
                    <a:pt x="307" y="8"/>
                    <a:pt x="307" y="8"/>
                  </a:cubicBezTo>
                  <a:cubicBezTo>
                    <a:pt x="306" y="8"/>
                    <a:pt x="306" y="8"/>
                    <a:pt x="306" y="8"/>
                  </a:cubicBezTo>
                  <a:cubicBezTo>
                    <a:pt x="306" y="8"/>
                    <a:pt x="306" y="8"/>
                    <a:pt x="306" y="8"/>
                  </a:cubicBezTo>
                  <a:cubicBezTo>
                    <a:pt x="305" y="9"/>
                    <a:pt x="305" y="9"/>
                    <a:pt x="305" y="9"/>
                  </a:cubicBezTo>
                  <a:cubicBezTo>
                    <a:pt x="304" y="10"/>
                    <a:pt x="302" y="12"/>
                    <a:pt x="301" y="13"/>
                  </a:cubicBezTo>
                  <a:cubicBezTo>
                    <a:pt x="304" y="16"/>
                    <a:pt x="304" y="16"/>
                    <a:pt x="304" y="16"/>
                  </a:cubicBezTo>
                  <a:cubicBezTo>
                    <a:pt x="300" y="14"/>
                    <a:pt x="300" y="14"/>
                    <a:pt x="300" y="14"/>
                  </a:cubicBezTo>
                  <a:cubicBezTo>
                    <a:pt x="299" y="14"/>
                    <a:pt x="299" y="14"/>
                    <a:pt x="299" y="14"/>
                  </a:cubicBezTo>
                  <a:cubicBezTo>
                    <a:pt x="299" y="15"/>
                    <a:pt x="298" y="16"/>
                    <a:pt x="296" y="16"/>
                  </a:cubicBezTo>
                  <a:cubicBezTo>
                    <a:pt x="296" y="16"/>
                    <a:pt x="295" y="16"/>
                    <a:pt x="294" y="17"/>
                  </a:cubicBezTo>
                  <a:cubicBezTo>
                    <a:pt x="293" y="17"/>
                    <a:pt x="293" y="17"/>
                    <a:pt x="293" y="17"/>
                  </a:cubicBezTo>
                  <a:cubicBezTo>
                    <a:pt x="293" y="17"/>
                    <a:pt x="293" y="17"/>
                    <a:pt x="293" y="17"/>
                  </a:cubicBezTo>
                  <a:cubicBezTo>
                    <a:pt x="292" y="17"/>
                    <a:pt x="291" y="17"/>
                    <a:pt x="290" y="18"/>
                  </a:cubicBezTo>
                  <a:cubicBezTo>
                    <a:pt x="289" y="18"/>
                    <a:pt x="289" y="19"/>
                    <a:pt x="288" y="19"/>
                  </a:cubicBezTo>
                  <a:cubicBezTo>
                    <a:pt x="287" y="21"/>
                    <a:pt x="285" y="22"/>
                    <a:pt x="282" y="22"/>
                  </a:cubicBezTo>
                  <a:cubicBezTo>
                    <a:pt x="278" y="23"/>
                    <a:pt x="278" y="23"/>
                    <a:pt x="278" y="23"/>
                  </a:cubicBezTo>
                  <a:cubicBezTo>
                    <a:pt x="272" y="24"/>
                    <a:pt x="267" y="25"/>
                    <a:pt x="262" y="26"/>
                  </a:cubicBezTo>
                  <a:cubicBezTo>
                    <a:pt x="261" y="26"/>
                    <a:pt x="260" y="27"/>
                    <a:pt x="260" y="27"/>
                  </a:cubicBezTo>
                  <a:cubicBezTo>
                    <a:pt x="259" y="27"/>
                    <a:pt x="258" y="27"/>
                    <a:pt x="258" y="27"/>
                  </a:cubicBezTo>
                  <a:cubicBezTo>
                    <a:pt x="258" y="27"/>
                    <a:pt x="258" y="27"/>
                    <a:pt x="258" y="27"/>
                  </a:cubicBezTo>
                  <a:cubicBezTo>
                    <a:pt x="258" y="28"/>
                    <a:pt x="258" y="28"/>
                    <a:pt x="258" y="28"/>
                  </a:cubicBezTo>
                  <a:cubicBezTo>
                    <a:pt x="258" y="28"/>
                    <a:pt x="258" y="28"/>
                    <a:pt x="258" y="28"/>
                  </a:cubicBezTo>
                  <a:cubicBezTo>
                    <a:pt x="258" y="29"/>
                    <a:pt x="258" y="30"/>
                    <a:pt x="258" y="32"/>
                  </a:cubicBezTo>
                  <a:cubicBezTo>
                    <a:pt x="258" y="32"/>
                    <a:pt x="258" y="32"/>
                    <a:pt x="258" y="32"/>
                  </a:cubicBezTo>
                  <a:cubicBezTo>
                    <a:pt x="257" y="36"/>
                    <a:pt x="255" y="38"/>
                    <a:pt x="252" y="38"/>
                  </a:cubicBezTo>
                  <a:cubicBezTo>
                    <a:pt x="249" y="38"/>
                    <a:pt x="247" y="36"/>
                    <a:pt x="245" y="33"/>
                  </a:cubicBezTo>
                  <a:cubicBezTo>
                    <a:pt x="244" y="32"/>
                    <a:pt x="243" y="31"/>
                    <a:pt x="243" y="30"/>
                  </a:cubicBezTo>
                  <a:cubicBezTo>
                    <a:pt x="242" y="30"/>
                    <a:pt x="242" y="30"/>
                    <a:pt x="241" y="30"/>
                  </a:cubicBezTo>
                  <a:cubicBezTo>
                    <a:pt x="240" y="33"/>
                    <a:pt x="240" y="33"/>
                    <a:pt x="240" y="33"/>
                  </a:cubicBezTo>
                  <a:cubicBezTo>
                    <a:pt x="237" y="31"/>
                    <a:pt x="237" y="31"/>
                    <a:pt x="237" y="31"/>
                  </a:cubicBezTo>
                  <a:cubicBezTo>
                    <a:pt x="236" y="30"/>
                    <a:pt x="235" y="30"/>
                    <a:pt x="234" y="30"/>
                  </a:cubicBezTo>
                  <a:cubicBezTo>
                    <a:pt x="233" y="30"/>
                    <a:pt x="232" y="30"/>
                    <a:pt x="231" y="30"/>
                  </a:cubicBezTo>
                  <a:cubicBezTo>
                    <a:pt x="230" y="30"/>
                    <a:pt x="229" y="30"/>
                    <a:pt x="229" y="31"/>
                  </a:cubicBezTo>
                  <a:cubicBezTo>
                    <a:pt x="228" y="31"/>
                    <a:pt x="228" y="31"/>
                    <a:pt x="227" y="31"/>
                  </a:cubicBezTo>
                  <a:cubicBezTo>
                    <a:pt x="226" y="31"/>
                    <a:pt x="225" y="30"/>
                    <a:pt x="224" y="30"/>
                  </a:cubicBezTo>
                  <a:cubicBezTo>
                    <a:pt x="224" y="30"/>
                    <a:pt x="224" y="30"/>
                    <a:pt x="224" y="30"/>
                  </a:cubicBezTo>
                  <a:cubicBezTo>
                    <a:pt x="223" y="29"/>
                    <a:pt x="222" y="28"/>
                    <a:pt x="220" y="27"/>
                  </a:cubicBezTo>
                  <a:cubicBezTo>
                    <a:pt x="218" y="26"/>
                    <a:pt x="217" y="25"/>
                    <a:pt x="215" y="24"/>
                  </a:cubicBezTo>
                  <a:cubicBezTo>
                    <a:pt x="216" y="26"/>
                    <a:pt x="217" y="27"/>
                    <a:pt x="217" y="27"/>
                  </a:cubicBezTo>
                  <a:cubicBezTo>
                    <a:pt x="218" y="28"/>
                    <a:pt x="219" y="28"/>
                    <a:pt x="219" y="29"/>
                  </a:cubicBezTo>
                  <a:cubicBezTo>
                    <a:pt x="221" y="30"/>
                    <a:pt x="222" y="31"/>
                    <a:pt x="224" y="32"/>
                  </a:cubicBezTo>
                  <a:cubicBezTo>
                    <a:pt x="224" y="33"/>
                    <a:pt x="225" y="34"/>
                    <a:pt x="225" y="36"/>
                  </a:cubicBezTo>
                  <a:cubicBezTo>
                    <a:pt x="226" y="37"/>
                    <a:pt x="225" y="38"/>
                    <a:pt x="225" y="38"/>
                  </a:cubicBezTo>
                  <a:cubicBezTo>
                    <a:pt x="225" y="39"/>
                    <a:pt x="225" y="39"/>
                    <a:pt x="225" y="39"/>
                  </a:cubicBezTo>
                  <a:cubicBezTo>
                    <a:pt x="225" y="41"/>
                    <a:pt x="226" y="43"/>
                    <a:pt x="227" y="46"/>
                  </a:cubicBezTo>
                  <a:cubicBezTo>
                    <a:pt x="228" y="48"/>
                    <a:pt x="229" y="51"/>
                    <a:pt x="230" y="53"/>
                  </a:cubicBezTo>
                  <a:cubicBezTo>
                    <a:pt x="230" y="55"/>
                    <a:pt x="229" y="56"/>
                    <a:pt x="229" y="58"/>
                  </a:cubicBezTo>
                  <a:cubicBezTo>
                    <a:pt x="229" y="58"/>
                    <a:pt x="229" y="58"/>
                    <a:pt x="229" y="58"/>
                  </a:cubicBezTo>
                  <a:cubicBezTo>
                    <a:pt x="229" y="59"/>
                    <a:pt x="229" y="59"/>
                    <a:pt x="229" y="59"/>
                  </a:cubicBezTo>
                  <a:cubicBezTo>
                    <a:pt x="230" y="59"/>
                    <a:pt x="233" y="60"/>
                    <a:pt x="240" y="60"/>
                  </a:cubicBezTo>
                  <a:cubicBezTo>
                    <a:pt x="241" y="60"/>
                    <a:pt x="241" y="60"/>
                    <a:pt x="241" y="60"/>
                  </a:cubicBezTo>
                  <a:cubicBezTo>
                    <a:pt x="241" y="60"/>
                    <a:pt x="242" y="60"/>
                    <a:pt x="242" y="60"/>
                  </a:cubicBezTo>
                  <a:cubicBezTo>
                    <a:pt x="245" y="60"/>
                    <a:pt x="245" y="60"/>
                    <a:pt x="245" y="60"/>
                  </a:cubicBezTo>
                  <a:cubicBezTo>
                    <a:pt x="244" y="64"/>
                    <a:pt x="244" y="64"/>
                    <a:pt x="244" y="64"/>
                  </a:cubicBezTo>
                  <a:cubicBezTo>
                    <a:pt x="244" y="64"/>
                    <a:pt x="244" y="65"/>
                    <a:pt x="244" y="65"/>
                  </a:cubicBezTo>
                  <a:cubicBezTo>
                    <a:pt x="244" y="68"/>
                    <a:pt x="242" y="69"/>
                    <a:pt x="240" y="70"/>
                  </a:cubicBezTo>
                  <a:cubicBezTo>
                    <a:pt x="242" y="76"/>
                    <a:pt x="242" y="76"/>
                    <a:pt x="242" y="76"/>
                  </a:cubicBezTo>
                  <a:cubicBezTo>
                    <a:pt x="239" y="71"/>
                    <a:pt x="239" y="71"/>
                    <a:pt x="239" y="71"/>
                  </a:cubicBezTo>
                  <a:cubicBezTo>
                    <a:pt x="235" y="72"/>
                    <a:pt x="235" y="72"/>
                    <a:pt x="235" y="72"/>
                  </a:cubicBezTo>
                  <a:cubicBezTo>
                    <a:pt x="233" y="73"/>
                    <a:pt x="231" y="74"/>
                    <a:pt x="229" y="75"/>
                  </a:cubicBezTo>
                  <a:cubicBezTo>
                    <a:pt x="229" y="76"/>
                    <a:pt x="229" y="77"/>
                    <a:pt x="228" y="77"/>
                  </a:cubicBezTo>
                  <a:cubicBezTo>
                    <a:pt x="228" y="78"/>
                    <a:pt x="228" y="78"/>
                    <a:pt x="228" y="79"/>
                  </a:cubicBezTo>
                  <a:cubicBezTo>
                    <a:pt x="227" y="81"/>
                    <a:pt x="224" y="86"/>
                    <a:pt x="222" y="88"/>
                  </a:cubicBezTo>
                  <a:cubicBezTo>
                    <a:pt x="221" y="88"/>
                    <a:pt x="221" y="88"/>
                    <a:pt x="221" y="88"/>
                  </a:cubicBezTo>
                  <a:cubicBezTo>
                    <a:pt x="220" y="89"/>
                    <a:pt x="220" y="89"/>
                    <a:pt x="220" y="89"/>
                  </a:cubicBezTo>
                  <a:cubicBezTo>
                    <a:pt x="220" y="89"/>
                    <a:pt x="220" y="89"/>
                    <a:pt x="219" y="89"/>
                  </a:cubicBezTo>
                  <a:cubicBezTo>
                    <a:pt x="219" y="90"/>
                    <a:pt x="219" y="90"/>
                    <a:pt x="219" y="90"/>
                  </a:cubicBezTo>
                  <a:cubicBezTo>
                    <a:pt x="218" y="89"/>
                    <a:pt x="218" y="89"/>
                    <a:pt x="218" y="89"/>
                  </a:cubicBezTo>
                  <a:cubicBezTo>
                    <a:pt x="218" y="89"/>
                    <a:pt x="218" y="89"/>
                    <a:pt x="218" y="89"/>
                  </a:cubicBezTo>
                  <a:cubicBezTo>
                    <a:pt x="217" y="89"/>
                    <a:pt x="217" y="89"/>
                    <a:pt x="216" y="89"/>
                  </a:cubicBezTo>
                  <a:cubicBezTo>
                    <a:pt x="216" y="89"/>
                    <a:pt x="216" y="89"/>
                    <a:pt x="216" y="89"/>
                  </a:cubicBezTo>
                  <a:cubicBezTo>
                    <a:pt x="214" y="90"/>
                    <a:pt x="211" y="92"/>
                    <a:pt x="209" y="93"/>
                  </a:cubicBezTo>
                  <a:cubicBezTo>
                    <a:pt x="208" y="93"/>
                    <a:pt x="208" y="93"/>
                    <a:pt x="208" y="93"/>
                  </a:cubicBezTo>
                  <a:cubicBezTo>
                    <a:pt x="204" y="94"/>
                    <a:pt x="203" y="94"/>
                    <a:pt x="201" y="96"/>
                  </a:cubicBezTo>
                  <a:cubicBezTo>
                    <a:pt x="201" y="98"/>
                    <a:pt x="200" y="98"/>
                    <a:pt x="199" y="99"/>
                  </a:cubicBezTo>
                  <a:cubicBezTo>
                    <a:pt x="199" y="99"/>
                    <a:pt x="199" y="99"/>
                    <a:pt x="199" y="99"/>
                  </a:cubicBezTo>
                  <a:cubicBezTo>
                    <a:pt x="199" y="100"/>
                    <a:pt x="199" y="100"/>
                    <a:pt x="199" y="100"/>
                  </a:cubicBezTo>
                  <a:cubicBezTo>
                    <a:pt x="198" y="100"/>
                    <a:pt x="198" y="101"/>
                    <a:pt x="197" y="102"/>
                  </a:cubicBezTo>
                  <a:cubicBezTo>
                    <a:pt x="197" y="102"/>
                    <a:pt x="197" y="102"/>
                    <a:pt x="197" y="102"/>
                  </a:cubicBezTo>
                  <a:cubicBezTo>
                    <a:pt x="193" y="105"/>
                    <a:pt x="192" y="106"/>
                    <a:pt x="191" y="106"/>
                  </a:cubicBezTo>
                  <a:cubicBezTo>
                    <a:pt x="190" y="106"/>
                    <a:pt x="189" y="105"/>
                    <a:pt x="188" y="104"/>
                  </a:cubicBezTo>
                  <a:cubicBezTo>
                    <a:pt x="187" y="103"/>
                    <a:pt x="187" y="102"/>
                    <a:pt x="187" y="100"/>
                  </a:cubicBezTo>
                  <a:cubicBezTo>
                    <a:pt x="186" y="101"/>
                    <a:pt x="185" y="101"/>
                    <a:pt x="184" y="102"/>
                  </a:cubicBezTo>
                  <a:cubicBezTo>
                    <a:pt x="184" y="102"/>
                    <a:pt x="184" y="102"/>
                    <a:pt x="184" y="102"/>
                  </a:cubicBezTo>
                  <a:cubicBezTo>
                    <a:pt x="181" y="103"/>
                    <a:pt x="179" y="104"/>
                    <a:pt x="177" y="104"/>
                  </a:cubicBezTo>
                  <a:cubicBezTo>
                    <a:pt x="177" y="104"/>
                    <a:pt x="177" y="104"/>
                    <a:pt x="177" y="104"/>
                  </a:cubicBezTo>
                  <a:cubicBezTo>
                    <a:pt x="173" y="104"/>
                    <a:pt x="170" y="102"/>
                    <a:pt x="167" y="100"/>
                  </a:cubicBezTo>
                  <a:cubicBezTo>
                    <a:pt x="166" y="99"/>
                    <a:pt x="165" y="98"/>
                    <a:pt x="164" y="97"/>
                  </a:cubicBezTo>
                  <a:cubicBezTo>
                    <a:pt x="162" y="95"/>
                    <a:pt x="162" y="95"/>
                    <a:pt x="162" y="95"/>
                  </a:cubicBezTo>
                  <a:cubicBezTo>
                    <a:pt x="161" y="95"/>
                    <a:pt x="161" y="95"/>
                    <a:pt x="161" y="95"/>
                  </a:cubicBezTo>
                  <a:cubicBezTo>
                    <a:pt x="161" y="95"/>
                    <a:pt x="161" y="95"/>
                    <a:pt x="161" y="95"/>
                  </a:cubicBezTo>
                  <a:cubicBezTo>
                    <a:pt x="160" y="94"/>
                    <a:pt x="160" y="94"/>
                    <a:pt x="159" y="93"/>
                  </a:cubicBezTo>
                  <a:cubicBezTo>
                    <a:pt x="159" y="93"/>
                    <a:pt x="159" y="93"/>
                    <a:pt x="159" y="93"/>
                  </a:cubicBezTo>
                  <a:cubicBezTo>
                    <a:pt x="159" y="93"/>
                    <a:pt x="159" y="93"/>
                    <a:pt x="159" y="93"/>
                  </a:cubicBezTo>
                  <a:cubicBezTo>
                    <a:pt x="158" y="93"/>
                    <a:pt x="158" y="93"/>
                    <a:pt x="157" y="93"/>
                  </a:cubicBezTo>
                  <a:cubicBezTo>
                    <a:pt x="157" y="93"/>
                    <a:pt x="157" y="93"/>
                    <a:pt x="157" y="93"/>
                  </a:cubicBezTo>
                  <a:cubicBezTo>
                    <a:pt x="157" y="93"/>
                    <a:pt x="157" y="93"/>
                    <a:pt x="157" y="93"/>
                  </a:cubicBezTo>
                  <a:cubicBezTo>
                    <a:pt x="156" y="93"/>
                    <a:pt x="155" y="93"/>
                    <a:pt x="154" y="92"/>
                  </a:cubicBezTo>
                  <a:cubicBezTo>
                    <a:pt x="152" y="90"/>
                    <a:pt x="152" y="86"/>
                    <a:pt x="153" y="83"/>
                  </a:cubicBezTo>
                  <a:cubicBezTo>
                    <a:pt x="153" y="81"/>
                    <a:pt x="150" y="76"/>
                    <a:pt x="148" y="73"/>
                  </a:cubicBezTo>
                  <a:cubicBezTo>
                    <a:pt x="147" y="73"/>
                    <a:pt x="146" y="74"/>
                    <a:pt x="143" y="76"/>
                  </a:cubicBezTo>
                  <a:cubicBezTo>
                    <a:pt x="142" y="77"/>
                    <a:pt x="141" y="78"/>
                    <a:pt x="141" y="78"/>
                  </a:cubicBezTo>
                  <a:cubicBezTo>
                    <a:pt x="139" y="79"/>
                    <a:pt x="138" y="80"/>
                    <a:pt x="137" y="80"/>
                  </a:cubicBezTo>
                  <a:cubicBezTo>
                    <a:pt x="139" y="81"/>
                    <a:pt x="139" y="81"/>
                    <a:pt x="139" y="81"/>
                  </a:cubicBezTo>
                  <a:cubicBezTo>
                    <a:pt x="130" y="81"/>
                    <a:pt x="130" y="81"/>
                    <a:pt x="130" y="81"/>
                  </a:cubicBezTo>
                  <a:cubicBezTo>
                    <a:pt x="128" y="81"/>
                    <a:pt x="125" y="81"/>
                    <a:pt x="121" y="81"/>
                  </a:cubicBezTo>
                  <a:cubicBezTo>
                    <a:pt x="114" y="81"/>
                    <a:pt x="107" y="81"/>
                    <a:pt x="102" y="81"/>
                  </a:cubicBezTo>
                  <a:cubicBezTo>
                    <a:pt x="101" y="81"/>
                    <a:pt x="101" y="81"/>
                    <a:pt x="100" y="81"/>
                  </a:cubicBezTo>
                  <a:cubicBezTo>
                    <a:pt x="100" y="81"/>
                    <a:pt x="99" y="81"/>
                    <a:pt x="99" y="81"/>
                  </a:cubicBezTo>
                  <a:cubicBezTo>
                    <a:pt x="97" y="81"/>
                    <a:pt x="95" y="81"/>
                    <a:pt x="94" y="81"/>
                  </a:cubicBezTo>
                  <a:cubicBezTo>
                    <a:pt x="94" y="82"/>
                    <a:pt x="94" y="82"/>
                    <a:pt x="94" y="82"/>
                  </a:cubicBezTo>
                  <a:cubicBezTo>
                    <a:pt x="94" y="85"/>
                    <a:pt x="94" y="87"/>
                    <a:pt x="94" y="90"/>
                  </a:cubicBezTo>
                  <a:cubicBezTo>
                    <a:pt x="94" y="90"/>
                    <a:pt x="95" y="90"/>
                    <a:pt x="95" y="90"/>
                  </a:cubicBezTo>
                  <a:cubicBezTo>
                    <a:pt x="97" y="90"/>
                    <a:pt x="99" y="91"/>
                    <a:pt x="101" y="91"/>
                  </a:cubicBezTo>
                  <a:cubicBezTo>
                    <a:pt x="101" y="91"/>
                    <a:pt x="102" y="91"/>
                    <a:pt x="103" y="91"/>
                  </a:cubicBezTo>
                  <a:cubicBezTo>
                    <a:pt x="103" y="91"/>
                    <a:pt x="103" y="91"/>
                    <a:pt x="103" y="91"/>
                  </a:cubicBezTo>
                  <a:cubicBezTo>
                    <a:pt x="106" y="91"/>
                    <a:pt x="108" y="94"/>
                    <a:pt x="109" y="96"/>
                  </a:cubicBezTo>
                  <a:cubicBezTo>
                    <a:pt x="109" y="97"/>
                    <a:pt x="110" y="100"/>
                    <a:pt x="111" y="103"/>
                  </a:cubicBezTo>
                  <a:cubicBezTo>
                    <a:pt x="111" y="106"/>
                    <a:pt x="111" y="106"/>
                    <a:pt x="111" y="106"/>
                  </a:cubicBezTo>
                  <a:cubicBezTo>
                    <a:pt x="108" y="106"/>
                    <a:pt x="108" y="106"/>
                    <a:pt x="108" y="106"/>
                  </a:cubicBezTo>
                  <a:cubicBezTo>
                    <a:pt x="108" y="106"/>
                    <a:pt x="108" y="106"/>
                    <a:pt x="107" y="106"/>
                  </a:cubicBezTo>
                  <a:cubicBezTo>
                    <a:pt x="106" y="106"/>
                    <a:pt x="103" y="106"/>
                    <a:pt x="101" y="105"/>
                  </a:cubicBezTo>
                  <a:cubicBezTo>
                    <a:pt x="100" y="104"/>
                    <a:pt x="99" y="104"/>
                    <a:pt x="99" y="104"/>
                  </a:cubicBezTo>
                  <a:cubicBezTo>
                    <a:pt x="98" y="104"/>
                    <a:pt x="98" y="105"/>
                    <a:pt x="97" y="105"/>
                  </a:cubicBezTo>
                  <a:cubicBezTo>
                    <a:pt x="96" y="105"/>
                    <a:pt x="95" y="105"/>
                    <a:pt x="95" y="105"/>
                  </a:cubicBezTo>
                  <a:cubicBezTo>
                    <a:pt x="94" y="106"/>
                    <a:pt x="94" y="106"/>
                    <a:pt x="94" y="106"/>
                  </a:cubicBezTo>
                  <a:cubicBezTo>
                    <a:pt x="90" y="106"/>
                    <a:pt x="89" y="107"/>
                    <a:pt x="89" y="107"/>
                  </a:cubicBezTo>
                  <a:cubicBezTo>
                    <a:pt x="89" y="110"/>
                    <a:pt x="89" y="112"/>
                    <a:pt x="89" y="115"/>
                  </a:cubicBezTo>
                  <a:cubicBezTo>
                    <a:pt x="89" y="116"/>
                    <a:pt x="89" y="117"/>
                    <a:pt x="88" y="118"/>
                  </a:cubicBezTo>
                  <a:cubicBezTo>
                    <a:pt x="88" y="121"/>
                    <a:pt x="92" y="125"/>
                    <a:pt x="96" y="127"/>
                  </a:cubicBezTo>
                  <a:cubicBezTo>
                    <a:pt x="100" y="129"/>
                    <a:pt x="101" y="133"/>
                    <a:pt x="101" y="137"/>
                  </a:cubicBezTo>
                  <a:cubicBezTo>
                    <a:pt x="102" y="138"/>
                    <a:pt x="102" y="139"/>
                    <a:pt x="102" y="140"/>
                  </a:cubicBezTo>
                  <a:cubicBezTo>
                    <a:pt x="104" y="145"/>
                    <a:pt x="103" y="152"/>
                    <a:pt x="101" y="165"/>
                  </a:cubicBezTo>
                  <a:cubicBezTo>
                    <a:pt x="100" y="171"/>
                    <a:pt x="100" y="171"/>
                    <a:pt x="100" y="171"/>
                  </a:cubicBezTo>
                  <a:cubicBezTo>
                    <a:pt x="100" y="172"/>
                    <a:pt x="100" y="172"/>
                    <a:pt x="100" y="172"/>
                  </a:cubicBezTo>
                  <a:cubicBezTo>
                    <a:pt x="99" y="175"/>
                    <a:pt x="99" y="175"/>
                    <a:pt x="99" y="175"/>
                  </a:cubicBezTo>
                  <a:cubicBezTo>
                    <a:pt x="99" y="176"/>
                    <a:pt x="99" y="176"/>
                    <a:pt x="99" y="176"/>
                  </a:cubicBezTo>
                  <a:cubicBezTo>
                    <a:pt x="98" y="179"/>
                    <a:pt x="98" y="179"/>
                    <a:pt x="98" y="179"/>
                  </a:cubicBezTo>
                  <a:cubicBezTo>
                    <a:pt x="98" y="180"/>
                    <a:pt x="98" y="180"/>
                    <a:pt x="98" y="181"/>
                  </a:cubicBezTo>
                  <a:cubicBezTo>
                    <a:pt x="98" y="183"/>
                    <a:pt x="98" y="183"/>
                    <a:pt x="98" y="183"/>
                  </a:cubicBezTo>
                  <a:cubicBezTo>
                    <a:pt x="98" y="184"/>
                    <a:pt x="97" y="184"/>
                    <a:pt x="97" y="185"/>
                  </a:cubicBezTo>
                  <a:cubicBezTo>
                    <a:pt x="97" y="186"/>
                    <a:pt x="97" y="186"/>
                    <a:pt x="97" y="186"/>
                  </a:cubicBezTo>
                  <a:cubicBezTo>
                    <a:pt x="97" y="187"/>
                    <a:pt x="97" y="189"/>
                    <a:pt x="96" y="190"/>
                  </a:cubicBezTo>
                  <a:cubicBezTo>
                    <a:pt x="96" y="190"/>
                    <a:pt x="96" y="190"/>
                    <a:pt x="96" y="190"/>
                  </a:cubicBezTo>
                  <a:cubicBezTo>
                    <a:pt x="94" y="201"/>
                    <a:pt x="92" y="212"/>
                    <a:pt x="91" y="216"/>
                  </a:cubicBezTo>
                  <a:cubicBezTo>
                    <a:pt x="92" y="218"/>
                    <a:pt x="92" y="220"/>
                    <a:pt x="90" y="222"/>
                  </a:cubicBezTo>
                  <a:cubicBezTo>
                    <a:pt x="88" y="223"/>
                    <a:pt x="88" y="223"/>
                    <a:pt x="88" y="223"/>
                  </a:cubicBezTo>
                  <a:cubicBezTo>
                    <a:pt x="87" y="222"/>
                    <a:pt x="87" y="222"/>
                    <a:pt x="87" y="222"/>
                  </a:cubicBezTo>
                  <a:cubicBezTo>
                    <a:pt x="85" y="222"/>
                    <a:pt x="84" y="221"/>
                    <a:pt x="82" y="221"/>
                  </a:cubicBezTo>
                  <a:cubicBezTo>
                    <a:pt x="81" y="221"/>
                    <a:pt x="78" y="221"/>
                    <a:pt x="78" y="218"/>
                  </a:cubicBezTo>
                  <a:cubicBezTo>
                    <a:pt x="77" y="218"/>
                    <a:pt x="77" y="218"/>
                    <a:pt x="77" y="218"/>
                  </a:cubicBezTo>
                  <a:cubicBezTo>
                    <a:pt x="77" y="218"/>
                    <a:pt x="77" y="217"/>
                    <a:pt x="76" y="217"/>
                  </a:cubicBezTo>
                  <a:cubicBezTo>
                    <a:pt x="76" y="217"/>
                    <a:pt x="75" y="217"/>
                    <a:pt x="75" y="218"/>
                  </a:cubicBezTo>
                  <a:cubicBezTo>
                    <a:pt x="74" y="218"/>
                    <a:pt x="74" y="218"/>
                    <a:pt x="73" y="219"/>
                  </a:cubicBezTo>
                  <a:cubicBezTo>
                    <a:pt x="72" y="219"/>
                    <a:pt x="72" y="219"/>
                    <a:pt x="71" y="220"/>
                  </a:cubicBezTo>
                  <a:cubicBezTo>
                    <a:pt x="71" y="220"/>
                    <a:pt x="71" y="220"/>
                    <a:pt x="71" y="220"/>
                  </a:cubicBezTo>
                  <a:cubicBezTo>
                    <a:pt x="70" y="221"/>
                    <a:pt x="69" y="222"/>
                    <a:pt x="67" y="223"/>
                  </a:cubicBezTo>
                  <a:cubicBezTo>
                    <a:pt x="66" y="224"/>
                    <a:pt x="65" y="224"/>
                    <a:pt x="64" y="224"/>
                  </a:cubicBezTo>
                  <a:cubicBezTo>
                    <a:pt x="63" y="224"/>
                    <a:pt x="62" y="224"/>
                    <a:pt x="61" y="224"/>
                  </a:cubicBezTo>
                  <a:cubicBezTo>
                    <a:pt x="60" y="224"/>
                    <a:pt x="60" y="224"/>
                    <a:pt x="60" y="224"/>
                  </a:cubicBezTo>
                  <a:cubicBezTo>
                    <a:pt x="58" y="224"/>
                    <a:pt x="56" y="224"/>
                    <a:pt x="54" y="225"/>
                  </a:cubicBezTo>
                  <a:cubicBezTo>
                    <a:pt x="53" y="225"/>
                    <a:pt x="53" y="225"/>
                    <a:pt x="53" y="225"/>
                  </a:cubicBezTo>
                  <a:cubicBezTo>
                    <a:pt x="52" y="226"/>
                    <a:pt x="51" y="226"/>
                    <a:pt x="50" y="226"/>
                  </a:cubicBezTo>
                  <a:cubicBezTo>
                    <a:pt x="50" y="226"/>
                    <a:pt x="50" y="226"/>
                    <a:pt x="50" y="226"/>
                  </a:cubicBezTo>
                  <a:cubicBezTo>
                    <a:pt x="46" y="227"/>
                    <a:pt x="42" y="228"/>
                    <a:pt x="38" y="231"/>
                  </a:cubicBezTo>
                  <a:cubicBezTo>
                    <a:pt x="36" y="232"/>
                    <a:pt x="35" y="233"/>
                    <a:pt x="33" y="234"/>
                  </a:cubicBezTo>
                  <a:cubicBezTo>
                    <a:pt x="33" y="234"/>
                    <a:pt x="33" y="234"/>
                    <a:pt x="33" y="234"/>
                  </a:cubicBezTo>
                  <a:cubicBezTo>
                    <a:pt x="31" y="236"/>
                    <a:pt x="29" y="237"/>
                    <a:pt x="27" y="238"/>
                  </a:cubicBezTo>
                  <a:cubicBezTo>
                    <a:pt x="24" y="240"/>
                    <a:pt x="24" y="240"/>
                    <a:pt x="24" y="240"/>
                  </a:cubicBezTo>
                  <a:cubicBezTo>
                    <a:pt x="24" y="240"/>
                    <a:pt x="24" y="240"/>
                    <a:pt x="24" y="240"/>
                  </a:cubicBezTo>
                  <a:cubicBezTo>
                    <a:pt x="24" y="241"/>
                    <a:pt x="24" y="241"/>
                    <a:pt x="24" y="241"/>
                  </a:cubicBezTo>
                  <a:cubicBezTo>
                    <a:pt x="23" y="244"/>
                    <a:pt x="23" y="247"/>
                    <a:pt x="22" y="250"/>
                  </a:cubicBezTo>
                  <a:cubicBezTo>
                    <a:pt x="22" y="250"/>
                    <a:pt x="22" y="250"/>
                    <a:pt x="22" y="250"/>
                  </a:cubicBezTo>
                  <a:cubicBezTo>
                    <a:pt x="22" y="251"/>
                    <a:pt x="21" y="252"/>
                    <a:pt x="21" y="253"/>
                  </a:cubicBezTo>
                  <a:cubicBezTo>
                    <a:pt x="21" y="254"/>
                    <a:pt x="20" y="256"/>
                    <a:pt x="19" y="257"/>
                  </a:cubicBezTo>
                  <a:cubicBezTo>
                    <a:pt x="19" y="258"/>
                    <a:pt x="18" y="260"/>
                    <a:pt x="18" y="261"/>
                  </a:cubicBezTo>
                  <a:cubicBezTo>
                    <a:pt x="17" y="261"/>
                    <a:pt x="17" y="261"/>
                    <a:pt x="17" y="261"/>
                  </a:cubicBezTo>
                  <a:cubicBezTo>
                    <a:pt x="17" y="262"/>
                    <a:pt x="17" y="262"/>
                    <a:pt x="17" y="262"/>
                  </a:cubicBezTo>
                  <a:cubicBezTo>
                    <a:pt x="17" y="262"/>
                    <a:pt x="17" y="262"/>
                    <a:pt x="17" y="262"/>
                  </a:cubicBezTo>
                  <a:cubicBezTo>
                    <a:pt x="17" y="263"/>
                    <a:pt x="17" y="263"/>
                    <a:pt x="17" y="264"/>
                  </a:cubicBezTo>
                  <a:cubicBezTo>
                    <a:pt x="17" y="264"/>
                    <a:pt x="17" y="264"/>
                    <a:pt x="17" y="264"/>
                  </a:cubicBezTo>
                  <a:cubicBezTo>
                    <a:pt x="18" y="265"/>
                    <a:pt x="18" y="265"/>
                    <a:pt x="18" y="266"/>
                  </a:cubicBezTo>
                  <a:cubicBezTo>
                    <a:pt x="18" y="266"/>
                    <a:pt x="18" y="266"/>
                    <a:pt x="18" y="266"/>
                  </a:cubicBezTo>
                  <a:cubicBezTo>
                    <a:pt x="18" y="268"/>
                    <a:pt x="18" y="270"/>
                    <a:pt x="16" y="271"/>
                  </a:cubicBezTo>
                  <a:cubicBezTo>
                    <a:pt x="15" y="273"/>
                    <a:pt x="14" y="274"/>
                    <a:pt x="12" y="275"/>
                  </a:cubicBezTo>
                  <a:cubicBezTo>
                    <a:pt x="11" y="275"/>
                    <a:pt x="10" y="275"/>
                    <a:pt x="10" y="276"/>
                  </a:cubicBezTo>
                  <a:cubicBezTo>
                    <a:pt x="7" y="278"/>
                    <a:pt x="5" y="279"/>
                    <a:pt x="3" y="282"/>
                  </a:cubicBezTo>
                  <a:cubicBezTo>
                    <a:pt x="3" y="284"/>
                    <a:pt x="3" y="284"/>
                    <a:pt x="3" y="286"/>
                  </a:cubicBezTo>
                  <a:cubicBezTo>
                    <a:pt x="4" y="286"/>
                    <a:pt x="5" y="288"/>
                    <a:pt x="4" y="291"/>
                  </a:cubicBezTo>
                  <a:cubicBezTo>
                    <a:pt x="4" y="292"/>
                    <a:pt x="4" y="292"/>
                    <a:pt x="4" y="292"/>
                  </a:cubicBezTo>
                  <a:cubicBezTo>
                    <a:pt x="3" y="292"/>
                    <a:pt x="3" y="292"/>
                    <a:pt x="3" y="292"/>
                  </a:cubicBezTo>
                  <a:cubicBezTo>
                    <a:pt x="2" y="293"/>
                    <a:pt x="1" y="293"/>
                    <a:pt x="0" y="294"/>
                  </a:cubicBezTo>
                  <a:cubicBezTo>
                    <a:pt x="2" y="296"/>
                    <a:pt x="4" y="297"/>
                    <a:pt x="5" y="300"/>
                  </a:cubicBezTo>
                  <a:cubicBezTo>
                    <a:pt x="6" y="302"/>
                    <a:pt x="6" y="304"/>
                    <a:pt x="7" y="305"/>
                  </a:cubicBezTo>
                  <a:cubicBezTo>
                    <a:pt x="7" y="307"/>
                    <a:pt x="7" y="309"/>
                    <a:pt x="8" y="310"/>
                  </a:cubicBezTo>
                  <a:cubicBezTo>
                    <a:pt x="10" y="314"/>
                    <a:pt x="13" y="318"/>
                    <a:pt x="16" y="321"/>
                  </a:cubicBezTo>
                  <a:cubicBezTo>
                    <a:pt x="17" y="322"/>
                    <a:pt x="17" y="322"/>
                    <a:pt x="17" y="322"/>
                  </a:cubicBezTo>
                  <a:cubicBezTo>
                    <a:pt x="18" y="322"/>
                    <a:pt x="18" y="323"/>
                    <a:pt x="18" y="323"/>
                  </a:cubicBezTo>
                  <a:cubicBezTo>
                    <a:pt x="20" y="325"/>
                    <a:pt x="22" y="327"/>
                    <a:pt x="22" y="329"/>
                  </a:cubicBezTo>
                  <a:cubicBezTo>
                    <a:pt x="22" y="332"/>
                    <a:pt x="21" y="334"/>
                    <a:pt x="20" y="336"/>
                  </a:cubicBezTo>
                  <a:cubicBezTo>
                    <a:pt x="27" y="336"/>
                    <a:pt x="36" y="337"/>
                    <a:pt x="38" y="343"/>
                  </a:cubicBezTo>
                  <a:cubicBezTo>
                    <a:pt x="38" y="343"/>
                    <a:pt x="38" y="344"/>
                    <a:pt x="38" y="344"/>
                  </a:cubicBezTo>
                  <a:cubicBezTo>
                    <a:pt x="38" y="344"/>
                    <a:pt x="38" y="344"/>
                    <a:pt x="38" y="344"/>
                  </a:cubicBezTo>
                  <a:cubicBezTo>
                    <a:pt x="39" y="345"/>
                    <a:pt x="39" y="345"/>
                    <a:pt x="39" y="346"/>
                  </a:cubicBezTo>
                  <a:cubicBezTo>
                    <a:pt x="40" y="347"/>
                    <a:pt x="40" y="348"/>
                    <a:pt x="41" y="349"/>
                  </a:cubicBezTo>
                  <a:cubicBezTo>
                    <a:pt x="41" y="349"/>
                    <a:pt x="42" y="349"/>
                    <a:pt x="43" y="349"/>
                  </a:cubicBezTo>
                  <a:cubicBezTo>
                    <a:pt x="45" y="350"/>
                    <a:pt x="45" y="350"/>
                    <a:pt x="45" y="350"/>
                  </a:cubicBezTo>
                  <a:cubicBezTo>
                    <a:pt x="46" y="350"/>
                    <a:pt x="48" y="350"/>
                    <a:pt x="49" y="350"/>
                  </a:cubicBezTo>
                  <a:cubicBezTo>
                    <a:pt x="50" y="350"/>
                    <a:pt x="50" y="350"/>
                    <a:pt x="51" y="350"/>
                  </a:cubicBezTo>
                  <a:cubicBezTo>
                    <a:pt x="54" y="350"/>
                    <a:pt x="56" y="349"/>
                    <a:pt x="57" y="349"/>
                  </a:cubicBezTo>
                  <a:cubicBezTo>
                    <a:pt x="58" y="349"/>
                    <a:pt x="58" y="348"/>
                    <a:pt x="58" y="348"/>
                  </a:cubicBezTo>
                  <a:cubicBezTo>
                    <a:pt x="59" y="348"/>
                    <a:pt x="59" y="348"/>
                    <a:pt x="59" y="347"/>
                  </a:cubicBezTo>
                  <a:cubicBezTo>
                    <a:pt x="60" y="347"/>
                    <a:pt x="60" y="347"/>
                    <a:pt x="61" y="346"/>
                  </a:cubicBezTo>
                  <a:cubicBezTo>
                    <a:pt x="61" y="346"/>
                    <a:pt x="61" y="346"/>
                    <a:pt x="61" y="346"/>
                  </a:cubicBezTo>
                  <a:cubicBezTo>
                    <a:pt x="62" y="346"/>
                    <a:pt x="62" y="346"/>
                    <a:pt x="63" y="345"/>
                  </a:cubicBezTo>
                  <a:cubicBezTo>
                    <a:pt x="64" y="344"/>
                    <a:pt x="64" y="344"/>
                    <a:pt x="64" y="344"/>
                  </a:cubicBezTo>
                  <a:cubicBezTo>
                    <a:pt x="65" y="343"/>
                    <a:pt x="65" y="343"/>
                    <a:pt x="65" y="343"/>
                  </a:cubicBezTo>
                  <a:cubicBezTo>
                    <a:pt x="68" y="340"/>
                    <a:pt x="72" y="338"/>
                    <a:pt x="74" y="336"/>
                  </a:cubicBezTo>
                  <a:cubicBezTo>
                    <a:pt x="82" y="332"/>
                    <a:pt x="82" y="332"/>
                    <a:pt x="82" y="332"/>
                  </a:cubicBezTo>
                  <a:cubicBezTo>
                    <a:pt x="78" y="340"/>
                    <a:pt x="78" y="340"/>
                    <a:pt x="78" y="340"/>
                  </a:cubicBezTo>
                  <a:cubicBezTo>
                    <a:pt x="78" y="341"/>
                    <a:pt x="78" y="342"/>
                    <a:pt x="77" y="342"/>
                  </a:cubicBezTo>
                  <a:cubicBezTo>
                    <a:pt x="78" y="343"/>
                    <a:pt x="78" y="343"/>
                    <a:pt x="78" y="344"/>
                  </a:cubicBezTo>
                  <a:cubicBezTo>
                    <a:pt x="78" y="345"/>
                    <a:pt x="78" y="347"/>
                    <a:pt x="77" y="348"/>
                  </a:cubicBezTo>
                  <a:cubicBezTo>
                    <a:pt x="75" y="353"/>
                    <a:pt x="75" y="360"/>
                    <a:pt x="76" y="367"/>
                  </a:cubicBezTo>
                  <a:cubicBezTo>
                    <a:pt x="76" y="369"/>
                    <a:pt x="76" y="371"/>
                    <a:pt x="76" y="372"/>
                  </a:cubicBezTo>
                  <a:cubicBezTo>
                    <a:pt x="77" y="372"/>
                    <a:pt x="78" y="373"/>
                    <a:pt x="79" y="373"/>
                  </a:cubicBezTo>
                  <a:cubicBezTo>
                    <a:pt x="80" y="374"/>
                    <a:pt x="81" y="374"/>
                    <a:pt x="81" y="374"/>
                  </a:cubicBezTo>
                  <a:cubicBezTo>
                    <a:pt x="82" y="374"/>
                    <a:pt x="83" y="373"/>
                    <a:pt x="85" y="373"/>
                  </a:cubicBezTo>
                  <a:cubicBezTo>
                    <a:pt x="86" y="372"/>
                    <a:pt x="86" y="372"/>
                    <a:pt x="86" y="372"/>
                  </a:cubicBezTo>
                  <a:cubicBezTo>
                    <a:pt x="88" y="371"/>
                    <a:pt x="89" y="371"/>
                    <a:pt x="90" y="371"/>
                  </a:cubicBezTo>
                  <a:cubicBezTo>
                    <a:pt x="90" y="371"/>
                    <a:pt x="91" y="371"/>
                    <a:pt x="91" y="371"/>
                  </a:cubicBezTo>
                  <a:cubicBezTo>
                    <a:pt x="91" y="371"/>
                    <a:pt x="92" y="371"/>
                    <a:pt x="92" y="371"/>
                  </a:cubicBezTo>
                  <a:cubicBezTo>
                    <a:pt x="92" y="371"/>
                    <a:pt x="92" y="371"/>
                    <a:pt x="92" y="371"/>
                  </a:cubicBezTo>
                  <a:cubicBezTo>
                    <a:pt x="93" y="371"/>
                    <a:pt x="93" y="371"/>
                    <a:pt x="93" y="371"/>
                  </a:cubicBezTo>
                  <a:cubicBezTo>
                    <a:pt x="90" y="368"/>
                    <a:pt x="90" y="368"/>
                    <a:pt x="90" y="368"/>
                  </a:cubicBezTo>
                  <a:cubicBezTo>
                    <a:pt x="99" y="372"/>
                    <a:pt x="99" y="372"/>
                    <a:pt x="99" y="372"/>
                  </a:cubicBezTo>
                  <a:cubicBezTo>
                    <a:pt x="105" y="373"/>
                    <a:pt x="105" y="373"/>
                    <a:pt x="105" y="373"/>
                  </a:cubicBezTo>
                  <a:cubicBezTo>
                    <a:pt x="106" y="373"/>
                    <a:pt x="107" y="373"/>
                    <a:pt x="108" y="374"/>
                  </a:cubicBezTo>
                  <a:cubicBezTo>
                    <a:pt x="108" y="375"/>
                    <a:pt x="108" y="375"/>
                    <a:pt x="108" y="375"/>
                  </a:cubicBezTo>
                  <a:cubicBezTo>
                    <a:pt x="108" y="375"/>
                    <a:pt x="108" y="375"/>
                    <a:pt x="108" y="375"/>
                  </a:cubicBezTo>
                  <a:cubicBezTo>
                    <a:pt x="108" y="374"/>
                    <a:pt x="108" y="374"/>
                    <a:pt x="108" y="374"/>
                  </a:cubicBezTo>
                  <a:cubicBezTo>
                    <a:pt x="109" y="374"/>
                    <a:pt x="110" y="374"/>
                    <a:pt x="111" y="374"/>
                  </a:cubicBezTo>
                  <a:cubicBezTo>
                    <a:pt x="112" y="374"/>
                    <a:pt x="112" y="374"/>
                    <a:pt x="112" y="374"/>
                  </a:cubicBezTo>
                  <a:cubicBezTo>
                    <a:pt x="112" y="374"/>
                    <a:pt x="113" y="375"/>
                    <a:pt x="114" y="375"/>
                  </a:cubicBezTo>
                  <a:cubicBezTo>
                    <a:pt x="114" y="375"/>
                    <a:pt x="115" y="375"/>
                    <a:pt x="115" y="375"/>
                  </a:cubicBezTo>
                  <a:cubicBezTo>
                    <a:pt x="116" y="375"/>
                    <a:pt x="116" y="375"/>
                    <a:pt x="117" y="375"/>
                  </a:cubicBezTo>
                  <a:cubicBezTo>
                    <a:pt x="118" y="375"/>
                    <a:pt x="118" y="375"/>
                    <a:pt x="118" y="375"/>
                  </a:cubicBezTo>
                  <a:cubicBezTo>
                    <a:pt x="119" y="375"/>
                    <a:pt x="120" y="375"/>
                    <a:pt x="122" y="374"/>
                  </a:cubicBezTo>
                  <a:cubicBezTo>
                    <a:pt x="122" y="374"/>
                    <a:pt x="122" y="374"/>
                    <a:pt x="122" y="374"/>
                  </a:cubicBezTo>
                  <a:cubicBezTo>
                    <a:pt x="123" y="374"/>
                    <a:pt x="124" y="374"/>
                    <a:pt x="125" y="373"/>
                  </a:cubicBezTo>
                  <a:cubicBezTo>
                    <a:pt x="126" y="373"/>
                    <a:pt x="126" y="372"/>
                    <a:pt x="127" y="372"/>
                  </a:cubicBezTo>
                  <a:cubicBezTo>
                    <a:pt x="128" y="370"/>
                    <a:pt x="129" y="369"/>
                    <a:pt x="132" y="368"/>
                  </a:cubicBezTo>
                  <a:cubicBezTo>
                    <a:pt x="133" y="368"/>
                    <a:pt x="133" y="368"/>
                    <a:pt x="134" y="367"/>
                  </a:cubicBezTo>
                  <a:cubicBezTo>
                    <a:pt x="135" y="367"/>
                    <a:pt x="135" y="367"/>
                    <a:pt x="135" y="367"/>
                  </a:cubicBezTo>
                  <a:cubicBezTo>
                    <a:pt x="137" y="367"/>
                    <a:pt x="138" y="367"/>
                    <a:pt x="139" y="366"/>
                  </a:cubicBezTo>
                  <a:cubicBezTo>
                    <a:pt x="139" y="366"/>
                    <a:pt x="139" y="366"/>
                    <a:pt x="140" y="365"/>
                  </a:cubicBezTo>
                  <a:cubicBezTo>
                    <a:pt x="140" y="364"/>
                    <a:pt x="140" y="364"/>
                    <a:pt x="140" y="364"/>
                  </a:cubicBezTo>
                  <a:cubicBezTo>
                    <a:pt x="141" y="363"/>
                    <a:pt x="142" y="362"/>
                    <a:pt x="143" y="362"/>
                  </a:cubicBezTo>
                  <a:cubicBezTo>
                    <a:pt x="145" y="361"/>
                    <a:pt x="147" y="360"/>
                    <a:pt x="148" y="359"/>
                  </a:cubicBezTo>
                  <a:cubicBezTo>
                    <a:pt x="150" y="358"/>
                    <a:pt x="151" y="358"/>
                    <a:pt x="152" y="357"/>
                  </a:cubicBezTo>
                  <a:cubicBezTo>
                    <a:pt x="154" y="356"/>
                    <a:pt x="156" y="354"/>
                    <a:pt x="158" y="353"/>
                  </a:cubicBezTo>
                  <a:cubicBezTo>
                    <a:pt x="158" y="353"/>
                    <a:pt x="158" y="353"/>
                    <a:pt x="158" y="353"/>
                  </a:cubicBezTo>
                  <a:cubicBezTo>
                    <a:pt x="159" y="352"/>
                    <a:pt x="160" y="351"/>
                    <a:pt x="161" y="350"/>
                  </a:cubicBezTo>
                  <a:cubicBezTo>
                    <a:pt x="163" y="348"/>
                    <a:pt x="166" y="347"/>
                    <a:pt x="168" y="347"/>
                  </a:cubicBezTo>
                  <a:cubicBezTo>
                    <a:pt x="171" y="346"/>
                    <a:pt x="171" y="346"/>
                    <a:pt x="171" y="346"/>
                  </a:cubicBezTo>
                  <a:cubicBezTo>
                    <a:pt x="181" y="344"/>
                    <a:pt x="181" y="344"/>
                    <a:pt x="181" y="344"/>
                  </a:cubicBezTo>
                  <a:cubicBezTo>
                    <a:pt x="182" y="344"/>
                    <a:pt x="182" y="344"/>
                    <a:pt x="183" y="344"/>
                  </a:cubicBezTo>
                  <a:cubicBezTo>
                    <a:pt x="183" y="344"/>
                    <a:pt x="183" y="344"/>
                    <a:pt x="183" y="344"/>
                  </a:cubicBezTo>
                  <a:cubicBezTo>
                    <a:pt x="183" y="343"/>
                    <a:pt x="184" y="343"/>
                    <a:pt x="184" y="343"/>
                  </a:cubicBezTo>
                  <a:cubicBezTo>
                    <a:pt x="184" y="343"/>
                    <a:pt x="185" y="344"/>
                    <a:pt x="185" y="344"/>
                  </a:cubicBezTo>
                  <a:cubicBezTo>
                    <a:pt x="186" y="344"/>
                    <a:pt x="186" y="344"/>
                    <a:pt x="186" y="344"/>
                  </a:cubicBezTo>
                  <a:cubicBezTo>
                    <a:pt x="186" y="344"/>
                    <a:pt x="187" y="344"/>
                    <a:pt x="187" y="344"/>
                  </a:cubicBezTo>
                  <a:cubicBezTo>
                    <a:pt x="188" y="344"/>
                    <a:pt x="189" y="345"/>
                    <a:pt x="189" y="345"/>
                  </a:cubicBezTo>
                  <a:cubicBezTo>
                    <a:pt x="190" y="345"/>
                    <a:pt x="190" y="345"/>
                    <a:pt x="190" y="345"/>
                  </a:cubicBezTo>
                  <a:cubicBezTo>
                    <a:pt x="190" y="345"/>
                    <a:pt x="190" y="345"/>
                    <a:pt x="190" y="345"/>
                  </a:cubicBezTo>
                  <a:cubicBezTo>
                    <a:pt x="190" y="344"/>
                    <a:pt x="190" y="344"/>
                    <a:pt x="190" y="344"/>
                  </a:cubicBezTo>
                  <a:cubicBezTo>
                    <a:pt x="190" y="344"/>
                    <a:pt x="191" y="343"/>
                    <a:pt x="191" y="343"/>
                  </a:cubicBezTo>
                  <a:cubicBezTo>
                    <a:pt x="193" y="342"/>
                    <a:pt x="193" y="342"/>
                    <a:pt x="193" y="342"/>
                  </a:cubicBezTo>
                  <a:cubicBezTo>
                    <a:pt x="194" y="342"/>
                    <a:pt x="194" y="342"/>
                    <a:pt x="194" y="342"/>
                  </a:cubicBezTo>
                  <a:cubicBezTo>
                    <a:pt x="194" y="342"/>
                    <a:pt x="194" y="342"/>
                    <a:pt x="194" y="342"/>
                  </a:cubicBezTo>
                  <a:cubicBezTo>
                    <a:pt x="194" y="342"/>
                    <a:pt x="195" y="342"/>
                    <a:pt x="195" y="342"/>
                  </a:cubicBezTo>
                  <a:cubicBezTo>
                    <a:pt x="195" y="342"/>
                    <a:pt x="195" y="342"/>
                    <a:pt x="196" y="343"/>
                  </a:cubicBezTo>
                  <a:cubicBezTo>
                    <a:pt x="197" y="343"/>
                    <a:pt x="197" y="343"/>
                    <a:pt x="197" y="343"/>
                  </a:cubicBezTo>
                  <a:cubicBezTo>
                    <a:pt x="197" y="344"/>
                    <a:pt x="197" y="344"/>
                    <a:pt x="197" y="344"/>
                  </a:cubicBezTo>
                  <a:cubicBezTo>
                    <a:pt x="197" y="344"/>
                    <a:pt x="197" y="344"/>
                    <a:pt x="197" y="344"/>
                  </a:cubicBezTo>
                  <a:cubicBezTo>
                    <a:pt x="198" y="344"/>
                    <a:pt x="198" y="344"/>
                    <a:pt x="198" y="344"/>
                  </a:cubicBezTo>
                  <a:cubicBezTo>
                    <a:pt x="198" y="345"/>
                    <a:pt x="199" y="345"/>
                    <a:pt x="199" y="346"/>
                  </a:cubicBezTo>
                  <a:cubicBezTo>
                    <a:pt x="199" y="348"/>
                    <a:pt x="199" y="350"/>
                    <a:pt x="199" y="353"/>
                  </a:cubicBezTo>
                  <a:cubicBezTo>
                    <a:pt x="198" y="356"/>
                    <a:pt x="198" y="356"/>
                    <a:pt x="198" y="356"/>
                  </a:cubicBezTo>
                  <a:cubicBezTo>
                    <a:pt x="198" y="357"/>
                    <a:pt x="198" y="358"/>
                    <a:pt x="198" y="360"/>
                  </a:cubicBezTo>
                  <a:cubicBezTo>
                    <a:pt x="198" y="361"/>
                    <a:pt x="198" y="361"/>
                    <a:pt x="197" y="361"/>
                  </a:cubicBezTo>
                  <a:cubicBezTo>
                    <a:pt x="197" y="362"/>
                    <a:pt x="197" y="362"/>
                    <a:pt x="197" y="362"/>
                  </a:cubicBezTo>
                  <a:cubicBezTo>
                    <a:pt x="197" y="364"/>
                    <a:pt x="197" y="367"/>
                    <a:pt x="197" y="369"/>
                  </a:cubicBezTo>
                  <a:cubicBezTo>
                    <a:pt x="197" y="370"/>
                    <a:pt x="197" y="370"/>
                    <a:pt x="197" y="370"/>
                  </a:cubicBezTo>
                  <a:cubicBezTo>
                    <a:pt x="197" y="370"/>
                    <a:pt x="197" y="370"/>
                    <a:pt x="197" y="371"/>
                  </a:cubicBezTo>
                  <a:cubicBezTo>
                    <a:pt x="197" y="371"/>
                    <a:pt x="197" y="371"/>
                    <a:pt x="197" y="371"/>
                  </a:cubicBezTo>
                  <a:cubicBezTo>
                    <a:pt x="198" y="372"/>
                    <a:pt x="198" y="372"/>
                    <a:pt x="198" y="373"/>
                  </a:cubicBezTo>
                  <a:cubicBezTo>
                    <a:pt x="198" y="375"/>
                    <a:pt x="199" y="377"/>
                    <a:pt x="198" y="378"/>
                  </a:cubicBezTo>
                  <a:cubicBezTo>
                    <a:pt x="198" y="379"/>
                    <a:pt x="198" y="380"/>
                    <a:pt x="197" y="380"/>
                  </a:cubicBezTo>
                  <a:cubicBezTo>
                    <a:pt x="197" y="380"/>
                    <a:pt x="197" y="380"/>
                    <a:pt x="197" y="380"/>
                  </a:cubicBezTo>
                  <a:cubicBezTo>
                    <a:pt x="198" y="381"/>
                    <a:pt x="198" y="381"/>
                    <a:pt x="198" y="381"/>
                  </a:cubicBezTo>
                  <a:cubicBezTo>
                    <a:pt x="198" y="381"/>
                    <a:pt x="198" y="381"/>
                    <a:pt x="198" y="381"/>
                  </a:cubicBezTo>
                  <a:cubicBezTo>
                    <a:pt x="198" y="381"/>
                    <a:pt x="198" y="382"/>
                    <a:pt x="198" y="382"/>
                  </a:cubicBezTo>
                  <a:cubicBezTo>
                    <a:pt x="199" y="384"/>
                    <a:pt x="200" y="386"/>
                    <a:pt x="201" y="387"/>
                  </a:cubicBezTo>
                  <a:cubicBezTo>
                    <a:pt x="202" y="389"/>
                    <a:pt x="202" y="389"/>
                    <a:pt x="202" y="389"/>
                  </a:cubicBezTo>
                  <a:cubicBezTo>
                    <a:pt x="203" y="391"/>
                    <a:pt x="204" y="393"/>
                    <a:pt x="206" y="394"/>
                  </a:cubicBezTo>
                  <a:cubicBezTo>
                    <a:pt x="215" y="402"/>
                    <a:pt x="215" y="402"/>
                    <a:pt x="215" y="402"/>
                  </a:cubicBezTo>
                  <a:cubicBezTo>
                    <a:pt x="215" y="403"/>
                    <a:pt x="216" y="403"/>
                    <a:pt x="217" y="404"/>
                  </a:cubicBezTo>
                  <a:cubicBezTo>
                    <a:pt x="218" y="406"/>
                    <a:pt x="220" y="408"/>
                    <a:pt x="222" y="408"/>
                  </a:cubicBezTo>
                  <a:cubicBezTo>
                    <a:pt x="222" y="408"/>
                    <a:pt x="223" y="408"/>
                    <a:pt x="224" y="408"/>
                  </a:cubicBezTo>
                  <a:cubicBezTo>
                    <a:pt x="224" y="409"/>
                    <a:pt x="224" y="409"/>
                    <a:pt x="224" y="409"/>
                  </a:cubicBezTo>
                  <a:cubicBezTo>
                    <a:pt x="225" y="409"/>
                    <a:pt x="226" y="409"/>
                    <a:pt x="226" y="409"/>
                  </a:cubicBezTo>
                  <a:cubicBezTo>
                    <a:pt x="227" y="409"/>
                    <a:pt x="228" y="409"/>
                    <a:pt x="229" y="408"/>
                  </a:cubicBezTo>
                  <a:cubicBezTo>
                    <a:pt x="230" y="408"/>
                    <a:pt x="230" y="408"/>
                    <a:pt x="230" y="408"/>
                  </a:cubicBezTo>
                  <a:cubicBezTo>
                    <a:pt x="231" y="407"/>
                    <a:pt x="232" y="407"/>
                    <a:pt x="232" y="407"/>
                  </a:cubicBezTo>
                  <a:cubicBezTo>
                    <a:pt x="233" y="408"/>
                    <a:pt x="233" y="408"/>
                    <a:pt x="233" y="408"/>
                  </a:cubicBezTo>
                  <a:cubicBezTo>
                    <a:pt x="233" y="407"/>
                    <a:pt x="233" y="407"/>
                    <a:pt x="233" y="407"/>
                  </a:cubicBezTo>
                  <a:cubicBezTo>
                    <a:pt x="233" y="407"/>
                    <a:pt x="233" y="407"/>
                    <a:pt x="233" y="407"/>
                  </a:cubicBezTo>
                  <a:cubicBezTo>
                    <a:pt x="233" y="407"/>
                    <a:pt x="234" y="407"/>
                    <a:pt x="235" y="408"/>
                  </a:cubicBezTo>
                  <a:cubicBezTo>
                    <a:pt x="235" y="408"/>
                    <a:pt x="235" y="408"/>
                    <a:pt x="235" y="408"/>
                  </a:cubicBezTo>
                  <a:cubicBezTo>
                    <a:pt x="236" y="408"/>
                    <a:pt x="236" y="408"/>
                    <a:pt x="236" y="408"/>
                  </a:cubicBezTo>
                  <a:cubicBezTo>
                    <a:pt x="237" y="408"/>
                    <a:pt x="237" y="408"/>
                    <a:pt x="237" y="408"/>
                  </a:cubicBezTo>
                  <a:cubicBezTo>
                    <a:pt x="237" y="408"/>
                    <a:pt x="238" y="408"/>
                    <a:pt x="239" y="409"/>
                  </a:cubicBezTo>
                  <a:cubicBezTo>
                    <a:pt x="241" y="409"/>
                    <a:pt x="242" y="410"/>
                    <a:pt x="244" y="411"/>
                  </a:cubicBezTo>
                  <a:cubicBezTo>
                    <a:pt x="244" y="411"/>
                    <a:pt x="244" y="411"/>
                    <a:pt x="244" y="411"/>
                  </a:cubicBezTo>
                  <a:cubicBezTo>
                    <a:pt x="245" y="411"/>
                    <a:pt x="245" y="411"/>
                    <a:pt x="245" y="411"/>
                  </a:cubicBezTo>
                  <a:cubicBezTo>
                    <a:pt x="247" y="411"/>
                    <a:pt x="248" y="411"/>
                    <a:pt x="249" y="412"/>
                  </a:cubicBezTo>
                  <a:cubicBezTo>
                    <a:pt x="250" y="413"/>
                    <a:pt x="251" y="414"/>
                    <a:pt x="252" y="415"/>
                  </a:cubicBezTo>
                  <a:cubicBezTo>
                    <a:pt x="252" y="416"/>
                    <a:pt x="252" y="416"/>
                    <a:pt x="252" y="416"/>
                  </a:cubicBezTo>
                  <a:cubicBezTo>
                    <a:pt x="253" y="417"/>
                    <a:pt x="253" y="417"/>
                    <a:pt x="253" y="417"/>
                  </a:cubicBezTo>
                  <a:cubicBezTo>
                    <a:pt x="253" y="417"/>
                    <a:pt x="254" y="418"/>
                    <a:pt x="254" y="418"/>
                  </a:cubicBezTo>
                  <a:cubicBezTo>
                    <a:pt x="255" y="418"/>
                    <a:pt x="255" y="418"/>
                    <a:pt x="255" y="418"/>
                  </a:cubicBezTo>
                  <a:cubicBezTo>
                    <a:pt x="255" y="419"/>
                    <a:pt x="256" y="419"/>
                    <a:pt x="256" y="420"/>
                  </a:cubicBezTo>
                  <a:cubicBezTo>
                    <a:pt x="258" y="421"/>
                    <a:pt x="260" y="421"/>
                    <a:pt x="263" y="421"/>
                  </a:cubicBezTo>
                  <a:cubicBezTo>
                    <a:pt x="263" y="421"/>
                    <a:pt x="263" y="421"/>
                    <a:pt x="263" y="421"/>
                  </a:cubicBezTo>
                  <a:cubicBezTo>
                    <a:pt x="265" y="422"/>
                    <a:pt x="267" y="422"/>
                    <a:pt x="269" y="423"/>
                  </a:cubicBezTo>
                  <a:cubicBezTo>
                    <a:pt x="272" y="424"/>
                    <a:pt x="273" y="425"/>
                    <a:pt x="274" y="427"/>
                  </a:cubicBezTo>
                  <a:cubicBezTo>
                    <a:pt x="275" y="428"/>
                    <a:pt x="275" y="429"/>
                    <a:pt x="276" y="429"/>
                  </a:cubicBezTo>
                  <a:cubicBezTo>
                    <a:pt x="277" y="430"/>
                    <a:pt x="277" y="431"/>
                    <a:pt x="278" y="431"/>
                  </a:cubicBezTo>
                  <a:cubicBezTo>
                    <a:pt x="278" y="432"/>
                    <a:pt x="278" y="432"/>
                    <a:pt x="278" y="432"/>
                  </a:cubicBezTo>
                  <a:cubicBezTo>
                    <a:pt x="279" y="432"/>
                    <a:pt x="279" y="432"/>
                    <a:pt x="279" y="432"/>
                  </a:cubicBezTo>
                  <a:cubicBezTo>
                    <a:pt x="279" y="432"/>
                    <a:pt x="279" y="432"/>
                    <a:pt x="279" y="432"/>
                  </a:cubicBezTo>
                  <a:cubicBezTo>
                    <a:pt x="280" y="432"/>
                    <a:pt x="280" y="432"/>
                    <a:pt x="280" y="432"/>
                  </a:cubicBezTo>
                  <a:cubicBezTo>
                    <a:pt x="281" y="432"/>
                    <a:pt x="281" y="432"/>
                    <a:pt x="281" y="432"/>
                  </a:cubicBezTo>
                  <a:cubicBezTo>
                    <a:pt x="282" y="432"/>
                    <a:pt x="283" y="432"/>
                    <a:pt x="284" y="432"/>
                  </a:cubicBezTo>
                  <a:cubicBezTo>
                    <a:pt x="285" y="431"/>
                    <a:pt x="285" y="431"/>
                    <a:pt x="285" y="431"/>
                  </a:cubicBezTo>
                  <a:cubicBezTo>
                    <a:pt x="285" y="431"/>
                    <a:pt x="285" y="431"/>
                    <a:pt x="285" y="431"/>
                  </a:cubicBezTo>
                  <a:cubicBezTo>
                    <a:pt x="288" y="431"/>
                    <a:pt x="290" y="431"/>
                    <a:pt x="292" y="431"/>
                  </a:cubicBezTo>
                  <a:cubicBezTo>
                    <a:pt x="294" y="431"/>
                    <a:pt x="295" y="431"/>
                    <a:pt x="297" y="432"/>
                  </a:cubicBezTo>
                  <a:cubicBezTo>
                    <a:pt x="297" y="432"/>
                    <a:pt x="298" y="432"/>
                    <a:pt x="298" y="433"/>
                  </a:cubicBezTo>
                  <a:cubicBezTo>
                    <a:pt x="299" y="433"/>
                    <a:pt x="299" y="433"/>
                    <a:pt x="299" y="433"/>
                  </a:cubicBezTo>
                  <a:cubicBezTo>
                    <a:pt x="300" y="434"/>
                    <a:pt x="300" y="434"/>
                    <a:pt x="300" y="434"/>
                  </a:cubicBezTo>
                  <a:cubicBezTo>
                    <a:pt x="300" y="434"/>
                    <a:pt x="301" y="434"/>
                    <a:pt x="301" y="434"/>
                  </a:cubicBezTo>
                  <a:cubicBezTo>
                    <a:pt x="303" y="436"/>
                    <a:pt x="305" y="437"/>
                    <a:pt x="306" y="438"/>
                  </a:cubicBezTo>
                  <a:cubicBezTo>
                    <a:pt x="310" y="441"/>
                    <a:pt x="310" y="441"/>
                    <a:pt x="310" y="441"/>
                  </a:cubicBezTo>
                  <a:cubicBezTo>
                    <a:pt x="311" y="442"/>
                    <a:pt x="311" y="442"/>
                    <a:pt x="312" y="443"/>
                  </a:cubicBezTo>
                  <a:cubicBezTo>
                    <a:pt x="313" y="444"/>
                    <a:pt x="313" y="446"/>
                    <a:pt x="313" y="447"/>
                  </a:cubicBezTo>
                  <a:cubicBezTo>
                    <a:pt x="313" y="448"/>
                    <a:pt x="313" y="448"/>
                    <a:pt x="313" y="448"/>
                  </a:cubicBezTo>
                  <a:cubicBezTo>
                    <a:pt x="313" y="448"/>
                    <a:pt x="313" y="448"/>
                    <a:pt x="313" y="448"/>
                  </a:cubicBezTo>
                  <a:cubicBezTo>
                    <a:pt x="313" y="449"/>
                    <a:pt x="313" y="449"/>
                    <a:pt x="313" y="449"/>
                  </a:cubicBezTo>
                  <a:cubicBezTo>
                    <a:pt x="313" y="452"/>
                    <a:pt x="314" y="454"/>
                    <a:pt x="315" y="457"/>
                  </a:cubicBezTo>
                  <a:cubicBezTo>
                    <a:pt x="315" y="460"/>
                    <a:pt x="316" y="464"/>
                    <a:pt x="316" y="467"/>
                  </a:cubicBezTo>
                  <a:cubicBezTo>
                    <a:pt x="317" y="468"/>
                    <a:pt x="317" y="468"/>
                    <a:pt x="317" y="468"/>
                  </a:cubicBezTo>
                  <a:cubicBezTo>
                    <a:pt x="317" y="469"/>
                    <a:pt x="317" y="469"/>
                    <a:pt x="317" y="469"/>
                  </a:cubicBezTo>
                  <a:cubicBezTo>
                    <a:pt x="317" y="470"/>
                    <a:pt x="317" y="470"/>
                    <a:pt x="317" y="470"/>
                  </a:cubicBezTo>
                  <a:cubicBezTo>
                    <a:pt x="317" y="470"/>
                    <a:pt x="317" y="470"/>
                    <a:pt x="317" y="470"/>
                  </a:cubicBezTo>
                  <a:cubicBezTo>
                    <a:pt x="317" y="470"/>
                    <a:pt x="317" y="470"/>
                    <a:pt x="317" y="470"/>
                  </a:cubicBezTo>
                  <a:cubicBezTo>
                    <a:pt x="316" y="471"/>
                    <a:pt x="316" y="471"/>
                    <a:pt x="316" y="471"/>
                  </a:cubicBezTo>
                  <a:cubicBezTo>
                    <a:pt x="316" y="472"/>
                    <a:pt x="316" y="472"/>
                    <a:pt x="315" y="473"/>
                  </a:cubicBezTo>
                  <a:cubicBezTo>
                    <a:pt x="315" y="473"/>
                    <a:pt x="315" y="473"/>
                    <a:pt x="315" y="473"/>
                  </a:cubicBezTo>
                  <a:cubicBezTo>
                    <a:pt x="314" y="474"/>
                    <a:pt x="314" y="474"/>
                    <a:pt x="314" y="474"/>
                  </a:cubicBezTo>
                  <a:cubicBezTo>
                    <a:pt x="314" y="474"/>
                    <a:pt x="314" y="474"/>
                    <a:pt x="314" y="474"/>
                  </a:cubicBezTo>
                  <a:cubicBezTo>
                    <a:pt x="313" y="474"/>
                    <a:pt x="313" y="475"/>
                    <a:pt x="313" y="475"/>
                  </a:cubicBezTo>
                  <a:cubicBezTo>
                    <a:pt x="315" y="477"/>
                    <a:pt x="315" y="477"/>
                    <a:pt x="315" y="477"/>
                  </a:cubicBezTo>
                  <a:cubicBezTo>
                    <a:pt x="318" y="481"/>
                    <a:pt x="318" y="486"/>
                    <a:pt x="318" y="491"/>
                  </a:cubicBezTo>
                  <a:cubicBezTo>
                    <a:pt x="318" y="492"/>
                    <a:pt x="318" y="493"/>
                    <a:pt x="319" y="494"/>
                  </a:cubicBezTo>
                  <a:cubicBezTo>
                    <a:pt x="319" y="495"/>
                    <a:pt x="319" y="495"/>
                    <a:pt x="319" y="496"/>
                  </a:cubicBezTo>
                  <a:cubicBezTo>
                    <a:pt x="319" y="497"/>
                    <a:pt x="319" y="497"/>
                    <a:pt x="319" y="497"/>
                  </a:cubicBezTo>
                  <a:cubicBezTo>
                    <a:pt x="319" y="497"/>
                    <a:pt x="319" y="497"/>
                    <a:pt x="319" y="497"/>
                  </a:cubicBezTo>
                  <a:cubicBezTo>
                    <a:pt x="320" y="497"/>
                    <a:pt x="321" y="497"/>
                    <a:pt x="321" y="497"/>
                  </a:cubicBezTo>
                  <a:cubicBezTo>
                    <a:pt x="329" y="497"/>
                    <a:pt x="329" y="497"/>
                    <a:pt x="329" y="497"/>
                  </a:cubicBezTo>
                  <a:cubicBezTo>
                    <a:pt x="331" y="498"/>
                    <a:pt x="333" y="498"/>
                    <a:pt x="335" y="498"/>
                  </a:cubicBezTo>
                  <a:cubicBezTo>
                    <a:pt x="337" y="498"/>
                    <a:pt x="339" y="498"/>
                    <a:pt x="342" y="498"/>
                  </a:cubicBezTo>
                  <a:cubicBezTo>
                    <a:pt x="359" y="497"/>
                    <a:pt x="359" y="497"/>
                    <a:pt x="359" y="497"/>
                  </a:cubicBezTo>
                  <a:cubicBezTo>
                    <a:pt x="359" y="498"/>
                    <a:pt x="359" y="498"/>
                    <a:pt x="359" y="498"/>
                  </a:cubicBezTo>
                  <a:cubicBezTo>
                    <a:pt x="360" y="498"/>
                    <a:pt x="360" y="498"/>
                    <a:pt x="361" y="498"/>
                  </a:cubicBezTo>
                  <a:cubicBezTo>
                    <a:pt x="361" y="499"/>
                    <a:pt x="361" y="499"/>
                    <a:pt x="361" y="499"/>
                  </a:cubicBezTo>
                  <a:cubicBezTo>
                    <a:pt x="362" y="501"/>
                    <a:pt x="362" y="501"/>
                    <a:pt x="362" y="501"/>
                  </a:cubicBezTo>
                  <a:cubicBezTo>
                    <a:pt x="361" y="501"/>
                    <a:pt x="361" y="501"/>
                    <a:pt x="361" y="501"/>
                  </a:cubicBezTo>
                  <a:cubicBezTo>
                    <a:pt x="362" y="502"/>
                    <a:pt x="362" y="503"/>
                    <a:pt x="361" y="504"/>
                  </a:cubicBezTo>
                  <a:cubicBezTo>
                    <a:pt x="361" y="505"/>
                    <a:pt x="360" y="506"/>
                    <a:pt x="360" y="507"/>
                  </a:cubicBezTo>
                  <a:cubicBezTo>
                    <a:pt x="359" y="508"/>
                    <a:pt x="359" y="508"/>
                    <a:pt x="359" y="508"/>
                  </a:cubicBezTo>
                  <a:cubicBezTo>
                    <a:pt x="359" y="508"/>
                    <a:pt x="359" y="508"/>
                    <a:pt x="359" y="508"/>
                  </a:cubicBezTo>
                  <a:cubicBezTo>
                    <a:pt x="358" y="511"/>
                    <a:pt x="358" y="512"/>
                    <a:pt x="359" y="515"/>
                  </a:cubicBezTo>
                  <a:cubicBezTo>
                    <a:pt x="359" y="520"/>
                    <a:pt x="360" y="522"/>
                    <a:pt x="364" y="524"/>
                  </a:cubicBezTo>
                  <a:cubicBezTo>
                    <a:pt x="365" y="526"/>
                    <a:pt x="367" y="526"/>
                    <a:pt x="369" y="527"/>
                  </a:cubicBezTo>
                  <a:cubicBezTo>
                    <a:pt x="373" y="528"/>
                    <a:pt x="374" y="531"/>
                    <a:pt x="375" y="534"/>
                  </a:cubicBezTo>
                  <a:cubicBezTo>
                    <a:pt x="376" y="535"/>
                    <a:pt x="376" y="536"/>
                    <a:pt x="376" y="537"/>
                  </a:cubicBezTo>
                  <a:cubicBezTo>
                    <a:pt x="377" y="538"/>
                    <a:pt x="377" y="539"/>
                    <a:pt x="377" y="540"/>
                  </a:cubicBezTo>
                  <a:cubicBezTo>
                    <a:pt x="378" y="541"/>
                    <a:pt x="378" y="541"/>
                    <a:pt x="378" y="541"/>
                  </a:cubicBezTo>
                  <a:cubicBezTo>
                    <a:pt x="378" y="541"/>
                    <a:pt x="378" y="541"/>
                    <a:pt x="378" y="541"/>
                  </a:cubicBezTo>
                  <a:cubicBezTo>
                    <a:pt x="379" y="543"/>
                    <a:pt x="380" y="544"/>
                    <a:pt x="381" y="546"/>
                  </a:cubicBezTo>
                  <a:cubicBezTo>
                    <a:pt x="382" y="551"/>
                    <a:pt x="382" y="551"/>
                    <a:pt x="382" y="551"/>
                  </a:cubicBezTo>
                  <a:cubicBezTo>
                    <a:pt x="379" y="550"/>
                    <a:pt x="379" y="550"/>
                    <a:pt x="379" y="550"/>
                  </a:cubicBezTo>
                  <a:cubicBezTo>
                    <a:pt x="378" y="552"/>
                    <a:pt x="378" y="554"/>
                    <a:pt x="377" y="556"/>
                  </a:cubicBezTo>
                  <a:cubicBezTo>
                    <a:pt x="377" y="557"/>
                    <a:pt x="377" y="557"/>
                    <a:pt x="377" y="557"/>
                  </a:cubicBezTo>
                  <a:cubicBezTo>
                    <a:pt x="377" y="558"/>
                    <a:pt x="377" y="559"/>
                    <a:pt x="377" y="560"/>
                  </a:cubicBezTo>
                  <a:cubicBezTo>
                    <a:pt x="376" y="560"/>
                    <a:pt x="376" y="560"/>
                    <a:pt x="376" y="560"/>
                  </a:cubicBezTo>
                  <a:cubicBezTo>
                    <a:pt x="376" y="561"/>
                    <a:pt x="376" y="561"/>
                    <a:pt x="376" y="562"/>
                  </a:cubicBezTo>
                  <a:cubicBezTo>
                    <a:pt x="376" y="563"/>
                    <a:pt x="375" y="564"/>
                    <a:pt x="375" y="565"/>
                  </a:cubicBezTo>
                  <a:cubicBezTo>
                    <a:pt x="374" y="567"/>
                    <a:pt x="374" y="568"/>
                    <a:pt x="373" y="570"/>
                  </a:cubicBezTo>
                  <a:cubicBezTo>
                    <a:pt x="371" y="573"/>
                    <a:pt x="371" y="573"/>
                    <a:pt x="371" y="573"/>
                  </a:cubicBezTo>
                  <a:cubicBezTo>
                    <a:pt x="371" y="574"/>
                    <a:pt x="370" y="575"/>
                    <a:pt x="370" y="576"/>
                  </a:cubicBezTo>
                  <a:cubicBezTo>
                    <a:pt x="369" y="578"/>
                    <a:pt x="369" y="578"/>
                    <a:pt x="369" y="578"/>
                  </a:cubicBezTo>
                  <a:cubicBezTo>
                    <a:pt x="369" y="579"/>
                    <a:pt x="368" y="580"/>
                    <a:pt x="368" y="582"/>
                  </a:cubicBezTo>
                  <a:cubicBezTo>
                    <a:pt x="373" y="583"/>
                    <a:pt x="373" y="583"/>
                    <a:pt x="373" y="583"/>
                  </a:cubicBezTo>
                  <a:cubicBezTo>
                    <a:pt x="367" y="583"/>
                    <a:pt x="367" y="583"/>
                    <a:pt x="367" y="583"/>
                  </a:cubicBezTo>
                  <a:cubicBezTo>
                    <a:pt x="368" y="584"/>
                    <a:pt x="368" y="584"/>
                    <a:pt x="368" y="584"/>
                  </a:cubicBezTo>
                  <a:cubicBezTo>
                    <a:pt x="369" y="584"/>
                    <a:pt x="369" y="584"/>
                    <a:pt x="369" y="584"/>
                  </a:cubicBezTo>
                  <a:cubicBezTo>
                    <a:pt x="371" y="586"/>
                    <a:pt x="372" y="588"/>
                    <a:pt x="372" y="590"/>
                  </a:cubicBezTo>
                  <a:cubicBezTo>
                    <a:pt x="372" y="592"/>
                    <a:pt x="370" y="592"/>
                    <a:pt x="369" y="593"/>
                  </a:cubicBezTo>
                  <a:cubicBezTo>
                    <a:pt x="368" y="593"/>
                    <a:pt x="368" y="593"/>
                    <a:pt x="368" y="593"/>
                  </a:cubicBezTo>
                  <a:cubicBezTo>
                    <a:pt x="367" y="593"/>
                    <a:pt x="367" y="593"/>
                    <a:pt x="367" y="593"/>
                  </a:cubicBezTo>
                  <a:cubicBezTo>
                    <a:pt x="367" y="594"/>
                    <a:pt x="366" y="594"/>
                    <a:pt x="365" y="595"/>
                  </a:cubicBezTo>
                  <a:cubicBezTo>
                    <a:pt x="365" y="595"/>
                    <a:pt x="365" y="595"/>
                    <a:pt x="365" y="595"/>
                  </a:cubicBezTo>
                  <a:cubicBezTo>
                    <a:pt x="351" y="610"/>
                    <a:pt x="351" y="610"/>
                    <a:pt x="351" y="610"/>
                  </a:cubicBezTo>
                  <a:cubicBezTo>
                    <a:pt x="360" y="593"/>
                    <a:pt x="360" y="593"/>
                    <a:pt x="360" y="593"/>
                  </a:cubicBezTo>
                  <a:cubicBezTo>
                    <a:pt x="360" y="592"/>
                    <a:pt x="360" y="592"/>
                    <a:pt x="360" y="592"/>
                  </a:cubicBezTo>
                  <a:cubicBezTo>
                    <a:pt x="360" y="590"/>
                    <a:pt x="360" y="590"/>
                    <a:pt x="360" y="588"/>
                  </a:cubicBezTo>
                  <a:cubicBezTo>
                    <a:pt x="360" y="588"/>
                    <a:pt x="360" y="588"/>
                    <a:pt x="360" y="588"/>
                  </a:cubicBezTo>
                  <a:cubicBezTo>
                    <a:pt x="360" y="587"/>
                    <a:pt x="360" y="587"/>
                    <a:pt x="360" y="587"/>
                  </a:cubicBezTo>
                  <a:cubicBezTo>
                    <a:pt x="360" y="587"/>
                    <a:pt x="360" y="587"/>
                    <a:pt x="360" y="587"/>
                  </a:cubicBezTo>
                  <a:cubicBezTo>
                    <a:pt x="341" y="575"/>
                    <a:pt x="341" y="575"/>
                    <a:pt x="341" y="575"/>
                  </a:cubicBezTo>
                  <a:cubicBezTo>
                    <a:pt x="340" y="575"/>
                    <a:pt x="338" y="575"/>
                    <a:pt x="337" y="575"/>
                  </a:cubicBezTo>
                  <a:cubicBezTo>
                    <a:pt x="334" y="575"/>
                    <a:pt x="334" y="575"/>
                    <a:pt x="334" y="575"/>
                  </a:cubicBezTo>
                  <a:cubicBezTo>
                    <a:pt x="334" y="575"/>
                    <a:pt x="333" y="575"/>
                    <a:pt x="333" y="575"/>
                  </a:cubicBezTo>
                  <a:cubicBezTo>
                    <a:pt x="331" y="575"/>
                    <a:pt x="329" y="575"/>
                    <a:pt x="327" y="575"/>
                  </a:cubicBezTo>
                  <a:cubicBezTo>
                    <a:pt x="326" y="575"/>
                    <a:pt x="326" y="575"/>
                    <a:pt x="326" y="575"/>
                  </a:cubicBezTo>
                  <a:cubicBezTo>
                    <a:pt x="323" y="575"/>
                    <a:pt x="319" y="576"/>
                    <a:pt x="315" y="577"/>
                  </a:cubicBezTo>
                  <a:cubicBezTo>
                    <a:pt x="313" y="577"/>
                    <a:pt x="313" y="577"/>
                    <a:pt x="313" y="577"/>
                  </a:cubicBezTo>
                  <a:cubicBezTo>
                    <a:pt x="310" y="578"/>
                    <a:pt x="307" y="579"/>
                    <a:pt x="304" y="579"/>
                  </a:cubicBezTo>
                  <a:cubicBezTo>
                    <a:pt x="300" y="580"/>
                    <a:pt x="295" y="581"/>
                    <a:pt x="291" y="582"/>
                  </a:cubicBezTo>
                  <a:cubicBezTo>
                    <a:pt x="283" y="583"/>
                    <a:pt x="283" y="583"/>
                    <a:pt x="283" y="583"/>
                  </a:cubicBezTo>
                  <a:cubicBezTo>
                    <a:pt x="282" y="583"/>
                    <a:pt x="281" y="584"/>
                    <a:pt x="281" y="585"/>
                  </a:cubicBezTo>
                  <a:cubicBezTo>
                    <a:pt x="280" y="587"/>
                    <a:pt x="280" y="587"/>
                    <a:pt x="280" y="587"/>
                  </a:cubicBezTo>
                  <a:cubicBezTo>
                    <a:pt x="280" y="589"/>
                    <a:pt x="279" y="592"/>
                    <a:pt x="277" y="594"/>
                  </a:cubicBezTo>
                  <a:cubicBezTo>
                    <a:pt x="277" y="595"/>
                    <a:pt x="276" y="595"/>
                    <a:pt x="275" y="596"/>
                  </a:cubicBezTo>
                  <a:cubicBezTo>
                    <a:pt x="275" y="597"/>
                    <a:pt x="274" y="599"/>
                    <a:pt x="272" y="601"/>
                  </a:cubicBezTo>
                  <a:cubicBezTo>
                    <a:pt x="272" y="601"/>
                    <a:pt x="272" y="602"/>
                    <a:pt x="271" y="603"/>
                  </a:cubicBezTo>
                  <a:cubicBezTo>
                    <a:pt x="271" y="604"/>
                    <a:pt x="271" y="605"/>
                    <a:pt x="271" y="606"/>
                  </a:cubicBezTo>
                  <a:cubicBezTo>
                    <a:pt x="271" y="610"/>
                    <a:pt x="271" y="610"/>
                    <a:pt x="271" y="610"/>
                  </a:cubicBezTo>
                  <a:cubicBezTo>
                    <a:pt x="270" y="611"/>
                    <a:pt x="270" y="612"/>
                    <a:pt x="270" y="614"/>
                  </a:cubicBezTo>
                  <a:cubicBezTo>
                    <a:pt x="270" y="617"/>
                    <a:pt x="269" y="620"/>
                    <a:pt x="267" y="624"/>
                  </a:cubicBezTo>
                  <a:cubicBezTo>
                    <a:pt x="267" y="625"/>
                    <a:pt x="267" y="625"/>
                    <a:pt x="267" y="625"/>
                  </a:cubicBezTo>
                  <a:cubicBezTo>
                    <a:pt x="267" y="626"/>
                    <a:pt x="266" y="627"/>
                    <a:pt x="266" y="628"/>
                  </a:cubicBezTo>
                  <a:cubicBezTo>
                    <a:pt x="265" y="633"/>
                    <a:pt x="265" y="633"/>
                    <a:pt x="265" y="633"/>
                  </a:cubicBezTo>
                  <a:cubicBezTo>
                    <a:pt x="264" y="634"/>
                    <a:pt x="263" y="637"/>
                    <a:pt x="263" y="639"/>
                  </a:cubicBezTo>
                  <a:cubicBezTo>
                    <a:pt x="262" y="640"/>
                    <a:pt x="262" y="641"/>
                    <a:pt x="262" y="642"/>
                  </a:cubicBezTo>
                  <a:cubicBezTo>
                    <a:pt x="262" y="643"/>
                    <a:pt x="262" y="643"/>
                    <a:pt x="262" y="643"/>
                  </a:cubicBezTo>
                  <a:cubicBezTo>
                    <a:pt x="262" y="643"/>
                    <a:pt x="263" y="644"/>
                    <a:pt x="266" y="646"/>
                  </a:cubicBezTo>
                  <a:cubicBezTo>
                    <a:pt x="266" y="646"/>
                    <a:pt x="267" y="647"/>
                    <a:pt x="267" y="647"/>
                  </a:cubicBezTo>
                  <a:cubicBezTo>
                    <a:pt x="268" y="648"/>
                    <a:pt x="268" y="648"/>
                    <a:pt x="269" y="649"/>
                  </a:cubicBezTo>
                  <a:cubicBezTo>
                    <a:pt x="270" y="650"/>
                    <a:pt x="271" y="651"/>
                    <a:pt x="272" y="653"/>
                  </a:cubicBezTo>
                  <a:cubicBezTo>
                    <a:pt x="272" y="653"/>
                    <a:pt x="272" y="653"/>
                    <a:pt x="272" y="653"/>
                  </a:cubicBezTo>
                  <a:cubicBezTo>
                    <a:pt x="272" y="654"/>
                    <a:pt x="272" y="654"/>
                    <a:pt x="272" y="654"/>
                  </a:cubicBezTo>
                  <a:cubicBezTo>
                    <a:pt x="275" y="652"/>
                    <a:pt x="275" y="652"/>
                    <a:pt x="275" y="652"/>
                  </a:cubicBezTo>
                  <a:cubicBezTo>
                    <a:pt x="273" y="655"/>
                    <a:pt x="273" y="655"/>
                    <a:pt x="273" y="655"/>
                  </a:cubicBezTo>
                  <a:cubicBezTo>
                    <a:pt x="274" y="656"/>
                    <a:pt x="274" y="656"/>
                    <a:pt x="274" y="656"/>
                  </a:cubicBezTo>
                  <a:cubicBezTo>
                    <a:pt x="274" y="656"/>
                    <a:pt x="274" y="657"/>
                    <a:pt x="275" y="657"/>
                  </a:cubicBezTo>
                  <a:cubicBezTo>
                    <a:pt x="276" y="659"/>
                    <a:pt x="276" y="659"/>
                    <a:pt x="276" y="659"/>
                  </a:cubicBezTo>
                  <a:cubicBezTo>
                    <a:pt x="277" y="659"/>
                    <a:pt x="277" y="660"/>
                    <a:pt x="278" y="661"/>
                  </a:cubicBezTo>
                  <a:cubicBezTo>
                    <a:pt x="281" y="664"/>
                    <a:pt x="281" y="664"/>
                    <a:pt x="281" y="664"/>
                  </a:cubicBezTo>
                  <a:cubicBezTo>
                    <a:pt x="281" y="665"/>
                    <a:pt x="282" y="665"/>
                    <a:pt x="282" y="666"/>
                  </a:cubicBezTo>
                  <a:cubicBezTo>
                    <a:pt x="284" y="667"/>
                    <a:pt x="284" y="667"/>
                    <a:pt x="284" y="667"/>
                  </a:cubicBezTo>
                  <a:cubicBezTo>
                    <a:pt x="285" y="668"/>
                    <a:pt x="285" y="668"/>
                    <a:pt x="285" y="668"/>
                  </a:cubicBezTo>
                  <a:cubicBezTo>
                    <a:pt x="287" y="669"/>
                    <a:pt x="288" y="671"/>
                    <a:pt x="289" y="672"/>
                  </a:cubicBezTo>
                  <a:cubicBezTo>
                    <a:pt x="290" y="672"/>
                    <a:pt x="290" y="672"/>
                    <a:pt x="290" y="672"/>
                  </a:cubicBezTo>
                  <a:cubicBezTo>
                    <a:pt x="291" y="674"/>
                    <a:pt x="292" y="675"/>
                    <a:pt x="294" y="676"/>
                  </a:cubicBezTo>
                  <a:cubicBezTo>
                    <a:pt x="297" y="678"/>
                    <a:pt x="299" y="680"/>
                    <a:pt x="302" y="681"/>
                  </a:cubicBezTo>
                  <a:cubicBezTo>
                    <a:pt x="302" y="681"/>
                    <a:pt x="302" y="681"/>
                    <a:pt x="302" y="681"/>
                  </a:cubicBezTo>
                  <a:cubicBezTo>
                    <a:pt x="303" y="681"/>
                    <a:pt x="303" y="681"/>
                    <a:pt x="303" y="681"/>
                  </a:cubicBezTo>
                  <a:cubicBezTo>
                    <a:pt x="303" y="681"/>
                    <a:pt x="303" y="681"/>
                    <a:pt x="303" y="681"/>
                  </a:cubicBezTo>
                  <a:cubicBezTo>
                    <a:pt x="305" y="682"/>
                    <a:pt x="308" y="682"/>
                    <a:pt x="310" y="682"/>
                  </a:cubicBezTo>
                  <a:cubicBezTo>
                    <a:pt x="311" y="682"/>
                    <a:pt x="312" y="683"/>
                    <a:pt x="313" y="683"/>
                  </a:cubicBezTo>
                  <a:cubicBezTo>
                    <a:pt x="316" y="683"/>
                    <a:pt x="318" y="684"/>
                    <a:pt x="321" y="685"/>
                  </a:cubicBezTo>
                  <a:cubicBezTo>
                    <a:pt x="324" y="686"/>
                    <a:pt x="326" y="688"/>
                    <a:pt x="329" y="690"/>
                  </a:cubicBezTo>
                  <a:cubicBezTo>
                    <a:pt x="331" y="691"/>
                    <a:pt x="331" y="691"/>
                    <a:pt x="331" y="691"/>
                  </a:cubicBezTo>
                  <a:cubicBezTo>
                    <a:pt x="333" y="693"/>
                    <a:pt x="334" y="694"/>
                    <a:pt x="336" y="695"/>
                  </a:cubicBezTo>
                  <a:cubicBezTo>
                    <a:pt x="344" y="700"/>
                    <a:pt x="353" y="705"/>
                    <a:pt x="361" y="709"/>
                  </a:cubicBezTo>
                  <a:cubicBezTo>
                    <a:pt x="365" y="711"/>
                    <a:pt x="370" y="713"/>
                    <a:pt x="374" y="715"/>
                  </a:cubicBezTo>
                  <a:cubicBezTo>
                    <a:pt x="376" y="716"/>
                    <a:pt x="377" y="718"/>
                    <a:pt x="378" y="721"/>
                  </a:cubicBezTo>
                  <a:cubicBezTo>
                    <a:pt x="379" y="723"/>
                    <a:pt x="378" y="726"/>
                    <a:pt x="377" y="728"/>
                  </a:cubicBezTo>
                  <a:cubicBezTo>
                    <a:pt x="376" y="731"/>
                    <a:pt x="374" y="733"/>
                    <a:pt x="372" y="736"/>
                  </a:cubicBezTo>
                  <a:cubicBezTo>
                    <a:pt x="371" y="738"/>
                    <a:pt x="369" y="739"/>
                    <a:pt x="368" y="741"/>
                  </a:cubicBezTo>
                  <a:cubicBezTo>
                    <a:pt x="365" y="746"/>
                    <a:pt x="363" y="751"/>
                    <a:pt x="361" y="757"/>
                  </a:cubicBezTo>
                  <a:cubicBezTo>
                    <a:pt x="361" y="759"/>
                    <a:pt x="361" y="759"/>
                    <a:pt x="361" y="759"/>
                  </a:cubicBezTo>
                  <a:cubicBezTo>
                    <a:pt x="360" y="761"/>
                    <a:pt x="358" y="763"/>
                    <a:pt x="356" y="764"/>
                  </a:cubicBezTo>
                  <a:cubicBezTo>
                    <a:pt x="355" y="765"/>
                    <a:pt x="355" y="765"/>
                    <a:pt x="354" y="766"/>
                  </a:cubicBezTo>
                  <a:cubicBezTo>
                    <a:pt x="354" y="766"/>
                    <a:pt x="354" y="766"/>
                    <a:pt x="354" y="766"/>
                  </a:cubicBezTo>
                  <a:cubicBezTo>
                    <a:pt x="358" y="765"/>
                    <a:pt x="360" y="765"/>
                    <a:pt x="363" y="765"/>
                  </a:cubicBezTo>
                  <a:cubicBezTo>
                    <a:pt x="366" y="765"/>
                    <a:pt x="369" y="766"/>
                    <a:pt x="372" y="766"/>
                  </a:cubicBezTo>
                  <a:cubicBezTo>
                    <a:pt x="372" y="766"/>
                    <a:pt x="372" y="766"/>
                    <a:pt x="372" y="766"/>
                  </a:cubicBezTo>
                  <a:cubicBezTo>
                    <a:pt x="374" y="766"/>
                    <a:pt x="376" y="767"/>
                    <a:pt x="378" y="768"/>
                  </a:cubicBezTo>
                  <a:cubicBezTo>
                    <a:pt x="380" y="768"/>
                    <a:pt x="382" y="769"/>
                    <a:pt x="385" y="769"/>
                  </a:cubicBezTo>
                  <a:cubicBezTo>
                    <a:pt x="386" y="769"/>
                    <a:pt x="386" y="769"/>
                    <a:pt x="387" y="769"/>
                  </a:cubicBezTo>
                  <a:cubicBezTo>
                    <a:pt x="389" y="769"/>
                    <a:pt x="389" y="769"/>
                    <a:pt x="389" y="769"/>
                  </a:cubicBezTo>
                  <a:cubicBezTo>
                    <a:pt x="390" y="769"/>
                    <a:pt x="391" y="769"/>
                    <a:pt x="392" y="769"/>
                  </a:cubicBezTo>
                  <a:cubicBezTo>
                    <a:pt x="394" y="769"/>
                    <a:pt x="397" y="769"/>
                    <a:pt x="399" y="770"/>
                  </a:cubicBezTo>
                  <a:cubicBezTo>
                    <a:pt x="400" y="770"/>
                    <a:pt x="401" y="771"/>
                    <a:pt x="402" y="771"/>
                  </a:cubicBezTo>
                  <a:cubicBezTo>
                    <a:pt x="403" y="772"/>
                    <a:pt x="403" y="772"/>
                    <a:pt x="403" y="772"/>
                  </a:cubicBezTo>
                  <a:cubicBezTo>
                    <a:pt x="403" y="772"/>
                    <a:pt x="403" y="772"/>
                    <a:pt x="403" y="772"/>
                  </a:cubicBezTo>
                  <a:cubicBezTo>
                    <a:pt x="404" y="771"/>
                    <a:pt x="404" y="771"/>
                    <a:pt x="405" y="771"/>
                  </a:cubicBezTo>
                  <a:cubicBezTo>
                    <a:pt x="406" y="770"/>
                    <a:pt x="406" y="770"/>
                    <a:pt x="406" y="770"/>
                  </a:cubicBezTo>
                  <a:cubicBezTo>
                    <a:pt x="407" y="769"/>
                    <a:pt x="409" y="768"/>
                    <a:pt x="411" y="767"/>
                  </a:cubicBezTo>
                  <a:cubicBezTo>
                    <a:pt x="412" y="767"/>
                    <a:pt x="412" y="767"/>
                    <a:pt x="412" y="767"/>
                  </a:cubicBezTo>
                  <a:cubicBezTo>
                    <a:pt x="412" y="767"/>
                    <a:pt x="413" y="766"/>
                    <a:pt x="413" y="766"/>
                  </a:cubicBezTo>
                  <a:cubicBezTo>
                    <a:pt x="414" y="767"/>
                    <a:pt x="415" y="767"/>
                    <a:pt x="416" y="768"/>
                  </a:cubicBezTo>
                  <a:cubicBezTo>
                    <a:pt x="417" y="768"/>
                    <a:pt x="417" y="768"/>
                    <a:pt x="417" y="768"/>
                  </a:cubicBezTo>
                  <a:cubicBezTo>
                    <a:pt x="417" y="768"/>
                    <a:pt x="417" y="768"/>
                    <a:pt x="417" y="768"/>
                  </a:cubicBezTo>
                  <a:cubicBezTo>
                    <a:pt x="417" y="768"/>
                    <a:pt x="417" y="768"/>
                    <a:pt x="418" y="768"/>
                  </a:cubicBezTo>
                  <a:cubicBezTo>
                    <a:pt x="418" y="767"/>
                    <a:pt x="418" y="767"/>
                    <a:pt x="418" y="767"/>
                  </a:cubicBezTo>
                  <a:cubicBezTo>
                    <a:pt x="418" y="767"/>
                    <a:pt x="419" y="767"/>
                    <a:pt x="419" y="767"/>
                  </a:cubicBezTo>
                  <a:cubicBezTo>
                    <a:pt x="419" y="767"/>
                    <a:pt x="419" y="767"/>
                    <a:pt x="419" y="767"/>
                  </a:cubicBezTo>
                  <a:cubicBezTo>
                    <a:pt x="419" y="763"/>
                    <a:pt x="422" y="761"/>
                    <a:pt x="423" y="761"/>
                  </a:cubicBezTo>
                  <a:cubicBezTo>
                    <a:pt x="423" y="760"/>
                    <a:pt x="425" y="760"/>
                    <a:pt x="426" y="759"/>
                  </a:cubicBezTo>
                  <a:cubicBezTo>
                    <a:pt x="428" y="758"/>
                    <a:pt x="429" y="757"/>
                    <a:pt x="431" y="755"/>
                  </a:cubicBezTo>
                  <a:cubicBezTo>
                    <a:pt x="432" y="754"/>
                    <a:pt x="434" y="752"/>
                    <a:pt x="436" y="751"/>
                  </a:cubicBezTo>
                  <a:cubicBezTo>
                    <a:pt x="438" y="749"/>
                    <a:pt x="439" y="748"/>
                    <a:pt x="439" y="747"/>
                  </a:cubicBezTo>
                  <a:cubicBezTo>
                    <a:pt x="441" y="741"/>
                    <a:pt x="441" y="734"/>
                    <a:pt x="442" y="727"/>
                  </a:cubicBezTo>
                  <a:cubicBezTo>
                    <a:pt x="443" y="720"/>
                    <a:pt x="443" y="720"/>
                    <a:pt x="443" y="720"/>
                  </a:cubicBezTo>
                  <a:cubicBezTo>
                    <a:pt x="448" y="724"/>
                    <a:pt x="448" y="724"/>
                    <a:pt x="448" y="724"/>
                  </a:cubicBezTo>
                  <a:cubicBezTo>
                    <a:pt x="448" y="724"/>
                    <a:pt x="448" y="724"/>
                    <a:pt x="448" y="724"/>
                  </a:cubicBezTo>
                  <a:cubicBezTo>
                    <a:pt x="451" y="720"/>
                    <a:pt x="451" y="720"/>
                    <a:pt x="451" y="720"/>
                  </a:cubicBezTo>
                  <a:cubicBezTo>
                    <a:pt x="450" y="725"/>
                    <a:pt x="450" y="725"/>
                    <a:pt x="450" y="725"/>
                  </a:cubicBezTo>
                  <a:cubicBezTo>
                    <a:pt x="450" y="725"/>
                    <a:pt x="451" y="725"/>
                    <a:pt x="451" y="724"/>
                  </a:cubicBezTo>
                  <a:cubicBezTo>
                    <a:pt x="452" y="724"/>
                    <a:pt x="452" y="724"/>
                    <a:pt x="453" y="723"/>
                  </a:cubicBezTo>
                  <a:cubicBezTo>
                    <a:pt x="453" y="723"/>
                    <a:pt x="454" y="723"/>
                    <a:pt x="455" y="723"/>
                  </a:cubicBezTo>
                  <a:cubicBezTo>
                    <a:pt x="456" y="723"/>
                    <a:pt x="456" y="723"/>
                    <a:pt x="457" y="723"/>
                  </a:cubicBezTo>
                  <a:cubicBezTo>
                    <a:pt x="458" y="723"/>
                    <a:pt x="458" y="723"/>
                    <a:pt x="458" y="723"/>
                  </a:cubicBezTo>
                  <a:cubicBezTo>
                    <a:pt x="459" y="723"/>
                    <a:pt x="461" y="724"/>
                    <a:pt x="462" y="725"/>
                  </a:cubicBezTo>
                  <a:cubicBezTo>
                    <a:pt x="462" y="726"/>
                    <a:pt x="462" y="726"/>
                    <a:pt x="462" y="726"/>
                  </a:cubicBezTo>
                  <a:cubicBezTo>
                    <a:pt x="463" y="726"/>
                    <a:pt x="463" y="726"/>
                    <a:pt x="463" y="727"/>
                  </a:cubicBezTo>
                  <a:cubicBezTo>
                    <a:pt x="469" y="739"/>
                    <a:pt x="469" y="739"/>
                    <a:pt x="469" y="739"/>
                  </a:cubicBezTo>
                  <a:cubicBezTo>
                    <a:pt x="471" y="743"/>
                    <a:pt x="470" y="748"/>
                    <a:pt x="469" y="752"/>
                  </a:cubicBezTo>
                  <a:cubicBezTo>
                    <a:pt x="469" y="753"/>
                    <a:pt x="469" y="753"/>
                    <a:pt x="469" y="753"/>
                  </a:cubicBezTo>
                  <a:cubicBezTo>
                    <a:pt x="469" y="754"/>
                    <a:pt x="469" y="755"/>
                    <a:pt x="468" y="756"/>
                  </a:cubicBezTo>
                  <a:cubicBezTo>
                    <a:pt x="468" y="756"/>
                    <a:pt x="468" y="757"/>
                    <a:pt x="468" y="757"/>
                  </a:cubicBezTo>
                  <a:cubicBezTo>
                    <a:pt x="468" y="759"/>
                    <a:pt x="468" y="759"/>
                    <a:pt x="468" y="759"/>
                  </a:cubicBezTo>
                  <a:cubicBezTo>
                    <a:pt x="467" y="760"/>
                    <a:pt x="467" y="760"/>
                    <a:pt x="467" y="761"/>
                  </a:cubicBezTo>
                  <a:cubicBezTo>
                    <a:pt x="467" y="763"/>
                    <a:pt x="467" y="763"/>
                    <a:pt x="467" y="763"/>
                  </a:cubicBezTo>
                  <a:cubicBezTo>
                    <a:pt x="466" y="763"/>
                    <a:pt x="466" y="763"/>
                    <a:pt x="466" y="764"/>
                  </a:cubicBezTo>
                  <a:cubicBezTo>
                    <a:pt x="466" y="765"/>
                    <a:pt x="465" y="766"/>
                    <a:pt x="465" y="767"/>
                  </a:cubicBezTo>
                  <a:cubicBezTo>
                    <a:pt x="464" y="768"/>
                    <a:pt x="463" y="768"/>
                    <a:pt x="462" y="769"/>
                  </a:cubicBezTo>
                  <a:cubicBezTo>
                    <a:pt x="461" y="769"/>
                    <a:pt x="461" y="769"/>
                    <a:pt x="461" y="769"/>
                  </a:cubicBezTo>
                  <a:cubicBezTo>
                    <a:pt x="461" y="770"/>
                    <a:pt x="460" y="770"/>
                    <a:pt x="460" y="770"/>
                  </a:cubicBezTo>
                  <a:cubicBezTo>
                    <a:pt x="454" y="773"/>
                    <a:pt x="449" y="775"/>
                    <a:pt x="443" y="777"/>
                  </a:cubicBezTo>
                  <a:cubicBezTo>
                    <a:pt x="441" y="777"/>
                    <a:pt x="440" y="779"/>
                    <a:pt x="438" y="780"/>
                  </a:cubicBezTo>
                  <a:cubicBezTo>
                    <a:pt x="437" y="781"/>
                    <a:pt x="436" y="782"/>
                    <a:pt x="436" y="783"/>
                  </a:cubicBezTo>
                  <a:cubicBezTo>
                    <a:pt x="435" y="783"/>
                    <a:pt x="434" y="784"/>
                    <a:pt x="433" y="785"/>
                  </a:cubicBezTo>
                  <a:cubicBezTo>
                    <a:pt x="432" y="785"/>
                    <a:pt x="432" y="785"/>
                    <a:pt x="432" y="785"/>
                  </a:cubicBezTo>
                  <a:cubicBezTo>
                    <a:pt x="432" y="786"/>
                    <a:pt x="431" y="787"/>
                    <a:pt x="430" y="787"/>
                  </a:cubicBezTo>
                  <a:cubicBezTo>
                    <a:pt x="430" y="787"/>
                    <a:pt x="430" y="788"/>
                    <a:pt x="429" y="788"/>
                  </a:cubicBezTo>
                  <a:cubicBezTo>
                    <a:pt x="429" y="789"/>
                    <a:pt x="428" y="789"/>
                    <a:pt x="428" y="790"/>
                  </a:cubicBezTo>
                  <a:cubicBezTo>
                    <a:pt x="427" y="790"/>
                    <a:pt x="427" y="790"/>
                    <a:pt x="427" y="790"/>
                  </a:cubicBezTo>
                  <a:cubicBezTo>
                    <a:pt x="427" y="790"/>
                    <a:pt x="427" y="791"/>
                    <a:pt x="426" y="791"/>
                  </a:cubicBezTo>
                  <a:cubicBezTo>
                    <a:pt x="426" y="791"/>
                    <a:pt x="426" y="791"/>
                    <a:pt x="426" y="791"/>
                  </a:cubicBezTo>
                  <a:cubicBezTo>
                    <a:pt x="425" y="791"/>
                    <a:pt x="425" y="791"/>
                    <a:pt x="424" y="791"/>
                  </a:cubicBezTo>
                  <a:cubicBezTo>
                    <a:pt x="423" y="792"/>
                    <a:pt x="423" y="792"/>
                    <a:pt x="423" y="792"/>
                  </a:cubicBezTo>
                  <a:cubicBezTo>
                    <a:pt x="422" y="792"/>
                    <a:pt x="421" y="793"/>
                    <a:pt x="421" y="793"/>
                  </a:cubicBezTo>
                  <a:cubicBezTo>
                    <a:pt x="421" y="793"/>
                    <a:pt x="421" y="793"/>
                    <a:pt x="421" y="793"/>
                  </a:cubicBezTo>
                  <a:cubicBezTo>
                    <a:pt x="422" y="794"/>
                    <a:pt x="422" y="795"/>
                    <a:pt x="422" y="796"/>
                  </a:cubicBezTo>
                  <a:cubicBezTo>
                    <a:pt x="423" y="799"/>
                    <a:pt x="423" y="799"/>
                    <a:pt x="423" y="799"/>
                  </a:cubicBezTo>
                  <a:cubicBezTo>
                    <a:pt x="420" y="799"/>
                    <a:pt x="420" y="799"/>
                    <a:pt x="420" y="799"/>
                  </a:cubicBezTo>
                  <a:cubicBezTo>
                    <a:pt x="419" y="799"/>
                    <a:pt x="419" y="799"/>
                    <a:pt x="419" y="799"/>
                  </a:cubicBezTo>
                  <a:cubicBezTo>
                    <a:pt x="416" y="801"/>
                    <a:pt x="412" y="805"/>
                    <a:pt x="410" y="807"/>
                  </a:cubicBezTo>
                  <a:cubicBezTo>
                    <a:pt x="407" y="810"/>
                    <a:pt x="405" y="812"/>
                    <a:pt x="403" y="815"/>
                  </a:cubicBezTo>
                  <a:cubicBezTo>
                    <a:pt x="402" y="817"/>
                    <a:pt x="401" y="818"/>
                    <a:pt x="400" y="819"/>
                  </a:cubicBezTo>
                  <a:cubicBezTo>
                    <a:pt x="394" y="827"/>
                    <a:pt x="387" y="833"/>
                    <a:pt x="381" y="840"/>
                  </a:cubicBezTo>
                  <a:cubicBezTo>
                    <a:pt x="381" y="840"/>
                    <a:pt x="381" y="840"/>
                    <a:pt x="381" y="840"/>
                  </a:cubicBezTo>
                  <a:cubicBezTo>
                    <a:pt x="381" y="840"/>
                    <a:pt x="383" y="841"/>
                    <a:pt x="383" y="841"/>
                  </a:cubicBezTo>
                  <a:cubicBezTo>
                    <a:pt x="383" y="841"/>
                    <a:pt x="383" y="841"/>
                    <a:pt x="383" y="841"/>
                  </a:cubicBezTo>
                  <a:cubicBezTo>
                    <a:pt x="384" y="840"/>
                    <a:pt x="384" y="839"/>
                    <a:pt x="385" y="838"/>
                  </a:cubicBezTo>
                  <a:cubicBezTo>
                    <a:pt x="386" y="837"/>
                    <a:pt x="388" y="836"/>
                    <a:pt x="390" y="836"/>
                  </a:cubicBezTo>
                  <a:cubicBezTo>
                    <a:pt x="393" y="836"/>
                    <a:pt x="396" y="837"/>
                    <a:pt x="398" y="839"/>
                  </a:cubicBezTo>
                  <a:cubicBezTo>
                    <a:pt x="400" y="840"/>
                    <a:pt x="401" y="842"/>
                    <a:pt x="403" y="844"/>
                  </a:cubicBezTo>
                  <a:cubicBezTo>
                    <a:pt x="405" y="845"/>
                    <a:pt x="407" y="847"/>
                    <a:pt x="409" y="848"/>
                  </a:cubicBezTo>
                  <a:cubicBezTo>
                    <a:pt x="414" y="853"/>
                    <a:pt x="414" y="853"/>
                    <a:pt x="414" y="853"/>
                  </a:cubicBezTo>
                  <a:cubicBezTo>
                    <a:pt x="414" y="854"/>
                    <a:pt x="416" y="857"/>
                    <a:pt x="416" y="860"/>
                  </a:cubicBezTo>
                  <a:cubicBezTo>
                    <a:pt x="417" y="860"/>
                    <a:pt x="417" y="860"/>
                    <a:pt x="417" y="860"/>
                  </a:cubicBezTo>
                  <a:cubicBezTo>
                    <a:pt x="417" y="860"/>
                    <a:pt x="417" y="860"/>
                    <a:pt x="417" y="860"/>
                  </a:cubicBezTo>
                  <a:cubicBezTo>
                    <a:pt x="417" y="859"/>
                    <a:pt x="418" y="859"/>
                    <a:pt x="418" y="859"/>
                  </a:cubicBezTo>
                  <a:cubicBezTo>
                    <a:pt x="418" y="858"/>
                    <a:pt x="418" y="858"/>
                    <a:pt x="418" y="858"/>
                  </a:cubicBezTo>
                  <a:cubicBezTo>
                    <a:pt x="418" y="857"/>
                    <a:pt x="418" y="857"/>
                    <a:pt x="418" y="857"/>
                  </a:cubicBezTo>
                  <a:cubicBezTo>
                    <a:pt x="418" y="858"/>
                    <a:pt x="418" y="858"/>
                    <a:pt x="418" y="858"/>
                  </a:cubicBezTo>
                  <a:cubicBezTo>
                    <a:pt x="419" y="857"/>
                    <a:pt x="419" y="856"/>
                    <a:pt x="421" y="855"/>
                  </a:cubicBezTo>
                  <a:cubicBezTo>
                    <a:pt x="421" y="855"/>
                    <a:pt x="422" y="855"/>
                    <a:pt x="422" y="855"/>
                  </a:cubicBezTo>
                  <a:cubicBezTo>
                    <a:pt x="425" y="855"/>
                    <a:pt x="427" y="859"/>
                    <a:pt x="430" y="863"/>
                  </a:cubicBezTo>
                  <a:cubicBezTo>
                    <a:pt x="430" y="863"/>
                    <a:pt x="430" y="863"/>
                    <a:pt x="430" y="863"/>
                  </a:cubicBezTo>
                  <a:cubicBezTo>
                    <a:pt x="431" y="864"/>
                    <a:pt x="432" y="866"/>
                    <a:pt x="432" y="866"/>
                  </a:cubicBezTo>
                  <a:cubicBezTo>
                    <a:pt x="433" y="867"/>
                    <a:pt x="436" y="868"/>
                    <a:pt x="438" y="868"/>
                  </a:cubicBezTo>
                  <a:cubicBezTo>
                    <a:pt x="441" y="869"/>
                    <a:pt x="444" y="870"/>
                    <a:pt x="446" y="871"/>
                  </a:cubicBezTo>
                  <a:cubicBezTo>
                    <a:pt x="448" y="873"/>
                    <a:pt x="449" y="874"/>
                    <a:pt x="450" y="876"/>
                  </a:cubicBezTo>
                  <a:cubicBezTo>
                    <a:pt x="450" y="876"/>
                    <a:pt x="450" y="876"/>
                    <a:pt x="450" y="876"/>
                  </a:cubicBezTo>
                  <a:cubicBezTo>
                    <a:pt x="451" y="878"/>
                    <a:pt x="452" y="878"/>
                    <a:pt x="454" y="879"/>
                  </a:cubicBezTo>
                  <a:cubicBezTo>
                    <a:pt x="455" y="880"/>
                    <a:pt x="455" y="880"/>
                    <a:pt x="455" y="880"/>
                  </a:cubicBezTo>
                  <a:cubicBezTo>
                    <a:pt x="455" y="880"/>
                    <a:pt x="456" y="880"/>
                    <a:pt x="456" y="880"/>
                  </a:cubicBezTo>
                  <a:cubicBezTo>
                    <a:pt x="457" y="881"/>
                    <a:pt x="457" y="881"/>
                    <a:pt x="458" y="881"/>
                  </a:cubicBezTo>
                  <a:cubicBezTo>
                    <a:pt x="460" y="882"/>
                    <a:pt x="462" y="883"/>
                    <a:pt x="464" y="885"/>
                  </a:cubicBezTo>
                  <a:cubicBezTo>
                    <a:pt x="465" y="887"/>
                    <a:pt x="465" y="887"/>
                    <a:pt x="465" y="887"/>
                  </a:cubicBezTo>
                  <a:cubicBezTo>
                    <a:pt x="466" y="889"/>
                    <a:pt x="467" y="890"/>
                    <a:pt x="468" y="892"/>
                  </a:cubicBezTo>
                  <a:cubicBezTo>
                    <a:pt x="469" y="894"/>
                    <a:pt x="469" y="894"/>
                    <a:pt x="469" y="894"/>
                  </a:cubicBezTo>
                  <a:cubicBezTo>
                    <a:pt x="471" y="897"/>
                    <a:pt x="474" y="899"/>
                    <a:pt x="478" y="901"/>
                  </a:cubicBezTo>
                  <a:cubicBezTo>
                    <a:pt x="482" y="903"/>
                    <a:pt x="482" y="903"/>
                    <a:pt x="482" y="903"/>
                  </a:cubicBezTo>
                  <a:cubicBezTo>
                    <a:pt x="481" y="906"/>
                    <a:pt x="481" y="906"/>
                    <a:pt x="481" y="906"/>
                  </a:cubicBezTo>
                  <a:cubicBezTo>
                    <a:pt x="480" y="908"/>
                    <a:pt x="479" y="909"/>
                    <a:pt x="477" y="911"/>
                  </a:cubicBezTo>
                  <a:cubicBezTo>
                    <a:pt x="476" y="913"/>
                    <a:pt x="474" y="915"/>
                    <a:pt x="473" y="917"/>
                  </a:cubicBezTo>
                  <a:cubicBezTo>
                    <a:pt x="472" y="919"/>
                    <a:pt x="472" y="926"/>
                    <a:pt x="473" y="927"/>
                  </a:cubicBezTo>
                  <a:cubicBezTo>
                    <a:pt x="473" y="928"/>
                    <a:pt x="473" y="928"/>
                    <a:pt x="473" y="928"/>
                  </a:cubicBezTo>
                  <a:cubicBezTo>
                    <a:pt x="474" y="929"/>
                    <a:pt x="474" y="929"/>
                    <a:pt x="474" y="929"/>
                  </a:cubicBezTo>
                  <a:cubicBezTo>
                    <a:pt x="474" y="930"/>
                    <a:pt x="474" y="930"/>
                    <a:pt x="474" y="930"/>
                  </a:cubicBezTo>
                  <a:cubicBezTo>
                    <a:pt x="474" y="930"/>
                    <a:pt x="474" y="930"/>
                    <a:pt x="474" y="930"/>
                  </a:cubicBezTo>
                  <a:cubicBezTo>
                    <a:pt x="477" y="928"/>
                    <a:pt x="477" y="928"/>
                    <a:pt x="477" y="928"/>
                  </a:cubicBezTo>
                  <a:cubicBezTo>
                    <a:pt x="476" y="931"/>
                    <a:pt x="476" y="931"/>
                    <a:pt x="476" y="931"/>
                  </a:cubicBezTo>
                  <a:cubicBezTo>
                    <a:pt x="478" y="929"/>
                    <a:pt x="481" y="927"/>
                    <a:pt x="483" y="924"/>
                  </a:cubicBezTo>
                  <a:cubicBezTo>
                    <a:pt x="486" y="922"/>
                    <a:pt x="489" y="919"/>
                    <a:pt x="491" y="915"/>
                  </a:cubicBezTo>
                  <a:cubicBezTo>
                    <a:pt x="493" y="911"/>
                    <a:pt x="494" y="906"/>
                    <a:pt x="497" y="902"/>
                  </a:cubicBezTo>
                  <a:cubicBezTo>
                    <a:pt x="499" y="899"/>
                    <a:pt x="503" y="895"/>
                    <a:pt x="503" y="890"/>
                  </a:cubicBezTo>
                  <a:cubicBezTo>
                    <a:pt x="504" y="889"/>
                    <a:pt x="503" y="888"/>
                    <a:pt x="503" y="888"/>
                  </a:cubicBezTo>
                  <a:cubicBezTo>
                    <a:pt x="503" y="888"/>
                    <a:pt x="502" y="889"/>
                    <a:pt x="502" y="889"/>
                  </a:cubicBezTo>
                  <a:cubicBezTo>
                    <a:pt x="502" y="888"/>
                    <a:pt x="502" y="887"/>
                    <a:pt x="502" y="886"/>
                  </a:cubicBezTo>
                  <a:cubicBezTo>
                    <a:pt x="502" y="884"/>
                    <a:pt x="500" y="883"/>
                    <a:pt x="500" y="882"/>
                  </a:cubicBezTo>
                  <a:cubicBezTo>
                    <a:pt x="500" y="880"/>
                    <a:pt x="502" y="877"/>
                    <a:pt x="504" y="877"/>
                  </a:cubicBezTo>
                  <a:cubicBezTo>
                    <a:pt x="504" y="877"/>
                    <a:pt x="505" y="877"/>
                    <a:pt x="505" y="878"/>
                  </a:cubicBezTo>
                  <a:cubicBezTo>
                    <a:pt x="506" y="875"/>
                    <a:pt x="506" y="872"/>
                    <a:pt x="508" y="870"/>
                  </a:cubicBezTo>
                  <a:cubicBezTo>
                    <a:pt x="510" y="868"/>
                    <a:pt x="515" y="866"/>
                    <a:pt x="518" y="864"/>
                  </a:cubicBezTo>
                  <a:cubicBezTo>
                    <a:pt x="518" y="862"/>
                    <a:pt x="520" y="859"/>
                    <a:pt x="520" y="856"/>
                  </a:cubicBezTo>
                  <a:cubicBezTo>
                    <a:pt x="520" y="854"/>
                    <a:pt x="520" y="853"/>
                    <a:pt x="520" y="853"/>
                  </a:cubicBezTo>
                  <a:cubicBezTo>
                    <a:pt x="521" y="853"/>
                    <a:pt x="522" y="855"/>
                    <a:pt x="522" y="856"/>
                  </a:cubicBezTo>
                  <a:cubicBezTo>
                    <a:pt x="522" y="855"/>
                    <a:pt x="522" y="854"/>
                    <a:pt x="522" y="853"/>
                  </a:cubicBezTo>
                  <a:cubicBezTo>
                    <a:pt x="522" y="852"/>
                    <a:pt x="522" y="850"/>
                    <a:pt x="523" y="849"/>
                  </a:cubicBezTo>
                  <a:cubicBezTo>
                    <a:pt x="524" y="847"/>
                    <a:pt x="526" y="846"/>
                    <a:pt x="527" y="845"/>
                  </a:cubicBezTo>
                  <a:cubicBezTo>
                    <a:pt x="526" y="845"/>
                    <a:pt x="526" y="845"/>
                    <a:pt x="525" y="846"/>
                  </a:cubicBezTo>
                  <a:cubicBezTo>
                    <a:pt x="524" y="842"/>
                    <a:pt x="523" y="840"/>
                    <a:pt x="523" y="837"/>
                  </a:cubicBezTo>
                  <a:cubicBezTo>
                    <a:pt x="524" y="838"/>
                    <a:pt x="523" y="841"/>
                    <a:pt x="525" y="842"/>
                  </a:cubicBezTo>
                  <a:cubicBezTo>
                    <a:pt x="526" y="843"/>
                    <a:pt x="528" y="843"/>
                    <a:pt x="531" y="843"/>
                  </a:cubicBezTo>
                  <a:cubicBezTo>
                    <a:pt x="534" y="843"/>
                    <a:pt x="537" y="843"/>
                    <a:pt x="539" y="843"/>
                  </a:cubicBezTo>
                  <a:cubicBezTo>
                    <a:pt x="539" y="844"/>
                    <a:pt x="539" y="845"/>
                    <a:pt x="539" y="846"/>
                  </a:cubicBezTo>
                  <a:cubicBezTo>
                    <a:pt x="538" y="846"/>
                    <a:pt x="537" y="846"/>
                    <a:pt x="536" y="846"/>
                  </a:cubicBezTo>
                  <a:cubicBezTo>
                    <a:pt x="535" y="846"/>
                    <a:pt x="535" y="846"/>
                    <a:pt x="535" y="846"/>
                  </a:cubicBezTo>
                  <a:cubicBezTo>
                    <a:pt x="537" y="849"/>
                    <a:pt x="536" y="857"/>
                    <a:pt x="533" y="858"/>
                  </a:cubicBezTo>
                  <a:cubicBezTo>
                    <a:pt x="527" y="860"/>
                    <a:pt x="532" y="860"/>
                    <a:pt x="529" y="865"/>
                  </a:cubicBezTo>
                  <a:cubicBezTo>
                    <a:pt x="529" y="865"/>
                    <a:pt x="529" y="865"/>
                    <a:pt x="529" y="865"/>
                  </a:cubicBezTo>
                  <a:cubicBezTo>
                    <a:pt x="528" y="865"/>
                    <a:pt x="529" y="864"/>
                    <a:pt x="529" y="864"/>
                  </a:cubicBezTo>
                  <a:cubicBezTo>
                    <a:pt x="528" y="864"/>
                    <a:pt x="528" y="864"/>
                    <a:pt x="528" y="864"/>
                  </a:cubicBezTo>
                  <a:cubicBezTo>
                    <a:pt x="522" y="864"/>
                    <a:pt x="525" y="871"/>
                    <a:pt x="521" y="875"/>
                  </a:cubicBezTo>
                  <a:cubicBezTo>
                    <a:pt x="520" y="877"/>
                    <a:pt x="518" y="877"/>
                    <a:pt x="516" y="879"/>
                  </a:cubicBezTo>
                  <a:cubicBezTo>
                    <a:pt x="515" y="880"/>
                    <a:pt x="514" y="881"/>
                    <a:pt x="512" y="882"/>
                  </a:cubicBezTo>
                  <a:cubicBezTo>
                    <a:pt x="510" y="884"/>
                    <a:pt x="509" y="884"/>
                    <a:pt x="508" y="884"/>
                  </a:cubicBezTo>
                  <a:cubicBezTo>
                    <a:pt x="507" y="884"/>
                    <a:pt x="506" y="883"/>
                    <a:pt x="504" y="883"/>
                  </a:cubicBezTo>
                  <a:cubicBezTo>
                    <a:pt x="504" y="883"/>
                    <a:pt x="504" y="883"/>
                    <a:pt x="504" y="883"/>
                  </a:cubicBezTo>
                  <a:cubicBezTo>
                    <a:pt x="502" y="883"/>
                    <a:pt x="504" y="885"/>
                    <a:pt x="504" y="885"/>
                  </a:cubicBezTo>
                  <a:cubicBezTo>
                    <a:pt x="505" y="887"/>
                    <a:pt x="504" y="890"/>
                    <a:pt x="504" y="892"/>
                  </a:cubicBezTo>
                  <a:cubicBezTo>
                    <a:pt x="505" y="888"/>
                    <a:pt x="509" y="885"/>
                    <a:pt x="513" y="883"/>
                  </a:cubicBezTo>
                  <a:cubicBezTo>
                    <a:pt x="517" y="881"/>
                    <a:pt x="520" y="879"/>
                    <a:pt x="523" y="876"/>
                  </a:cubicBezTo>
                  <a:cubicBezTo>
                    <a:pt x="530" y="870"/>
                    <a:pt x="535" y="864"/>
                    <a:pt x="539" y="857"/>
                  </a:cubicBezTo>
                  <a:cubicBezTo>
                    <a:pt x="542" y="853"/>
                    <a:pt x="544" y="850"/>
                    <a:pt x="546" y="846"/>
                  </a:cubicBezTo>
                  <a:cubicBezTo>
                    <a:pt x="549" y="840"/>
                    <a:pt x="552" y="834"/>
                    <a:pt x="555" y="828"/>
                  </a:cubicBezTo>
                  <a:cubicBezTo>
                    <a:pt x="556" y="824"/>
                    <a:pt x="558" y="820"/>
                    <a:pt x="561" y="818"/>
                  </a:cubicBezTo>
                  <a:cubicBezTo>
                    <a:pt x="566" y="813"/>
                    <a:pt x="571" y="808"/>
                    <a:pt x="577" y="804"/>
                  </a:cubicBezTo>
                  <a:cubicBezTo>
                    <a:pt x="578" y="802"/>
                    <a:pt x="580" y="801"/>
                    <a:pt x="581" y="799"/>
                  </a:cubicBezTo>
                  <a:cubicBezTo>
                    <a:pt x="581" y="799"/>
                    <a:pt x="580" y="799"/>
                    <a:pt x="580" y="799"/>
                  </a:cubicBezTo>
                  <a:cubicBezTo>
                    <a:pt x="578" y="799"/>
                    <a:pt x="578" y="796"/>
                    <a:pt x="579" y="794"/>
                  </a:cubicBezTo>
                  <a:cubicBezTo>
                    <a:pt x="580" y="795"/>
                    <a:pt x="580" y="796"/>
                    <a:pt x="581" y="798"/>
                  </a:cubicBezTo>
                  <a:cubicBezTo>
                    <a:pt x="581" y="794"/>
                    <a:pt x="584" y="791"/>
                    <a:pt x="584" y="786"/>
                  </a:cubicBezTo>
                  <a:cubicBezTo>
                    <a:pt x="584" y="781"/>
                    <a:pt x="584" y="776"/>
                    <a:pt x="584" y="770"/>
                  </a:cubicBezTo>
                  <a:cubicBezTo>
                    <a:pt x="584" y="766"/>
                    <a:pt x="584" y="767"/>
                    <a:pt x="587" y="765"/>
                  </a:cubicBezTo>
                  <a:cubicBezTo>
                    <a:pt x="587" y="765"/>
                    <a:pt x="587" y="765"/>
                    <a:pt x="587" y="765"/>
                  </a:cubicBezTo>
                  <a:cubicBezTo>
                    <a:pt x="583" y="765"/>
                    <a:pt x="583" y="758"/>
                    <a:pt x="583" y="754"/>
                  </a:cubicBezTo>
                  <a:cubicBezTo>
                    <a:pt x="582" y="752"/>
                    <a:pt x="585" y="748"/>
                    <a:pt x="584" y="746"/>
                  </a:cubicBezTo>
                  <a:cubicBezTo>
                    <a:pt x="583" y="745"/>
                    <a:pt x="583" y="745"/>
                    <a:pt x="583" y="745"/>
                  </a:cubicBezTo>
                  <a:cubicBezTo>
                    <a:pt x="584" y="746"/>
                    <a:pt x="584" y="746"/>
                    <a:pt x="585" y="747"/>
                  </a:cubicBezTo>
                  <a:cubicBezTo>
                    <a:pt x="585" y="746"/>
                    <a:pt x="587" y="742"/>
                    <a:pt x="587" y="742"/>
                  </a:cubicBezTo>
                  <a:cubicBezTo>
                    <a:pt x="587" y="741"/>
                    <a:pt x="586" y="741"/>
                    <a:pt x="586" y="741"/>
                  </a:cubicBezTo>
                  <a:cubicBezTo>
                    <a:pt x="586" y="741"/>
                    <a:pt x="585" y="741"/>
                    <a:pt x="585" y="741"/>
                  </a:cubicBezTo>
                  <a:cubicBezTo>
                    <a:pt x="584" y="741"/>
                    <a:pt x="583" y="742"/>
                    <a:pt x="583" y="743"/>
                  </a:cubicBezTo>
                  <a:cubicBezTo>
                    <a:pt x="582" y="743"/>
                    <a:pt x="582" y="743"/>
                    <a:pt x="582" y="743"/>
                  </a:cubicBezTo>
                  <a:cubicBezTo>
                    <a:pt x="581" y="742"/>
                    <a:pt x="581" y="740"/>
                    <a:pt x="580" y="737"/>
                  </a:cubicBezTo>
                  <a:cubicBezTo>
                    <a:pt x="580" y="739"/>
                    <a:pt x="581" y="740"/>
                    <a:pt x="581" y="741"/>
                  </a:cubicBezTo>
                  <a:cubicBezTo>
                    <a:pt x="583" y="740"/>
                    <a:pt x="585" y="737"/>
                    <a:pt x="585" y="735"/>
                  </a:cubicBezTo>
                  <a:cubicBezTo>
                    <a:pt x="585" y="733"/>
                    <a:pt x="585" y="732"/>
                    <a:pt x="583" y="732"/>
                  </a:cubicBezTo>
                  <a:cubicBezTo>
                    <a:pt x="583" y="732"/>
                    <a:pt x="583" y="732"/>
                    <a:pt x="583" y="732"/>
                  </a:cubicBezTo>
                  <a:cubicBezTo>
                    <a:pt x="583" y="732"/>
                    <a:pt x="583" y="732"/>
                    <a:pt x="583" y="732"/>
                  </a:cubicBezTo>
                  <a:cubicBezTo>
                    <a:pt x="582" y="732"/>
                    <a:pt x="582" y="732"/>
                    <a:pt x="581" y="732"/>
                  </a:cubicBezTo>
                  <a:cubicBezTo>
                    <a:pt x="581" y="732"/>
                    <a:pt x="581" y="732"/>
                    <a:pt x="581" y="732"/>
                  </a:cubicBezTo>
                  <a:cubicBezTo>
                    <a:pt x="583" y="732"/>
                    <a:pt x="583" y="732"/>
                    <a:pt x="584" y="731"/>
                  </a:cubicBezTo>
                  <a:cubicBezTo>
                    <a:pt x="585" y="730"/>
                    <a:pt x="590" y="726"/>
                    <a:pt x="590" y="725"/>
                  </a:cubicBezTo>
                  <a:cubicBezTo>
                    <a:pt x="590" y="725"/>
                    <a:pt x="590" y="725"/>
                    <a:pt x="590" y="725"/>
                  </a:cubicBezTo>
                  <a:cubicBezTo>
                    <a:pt x="589" y="725"/>
                    <a:pt x="589" y="725"/>
                    <a:pt x="589" y="725"/>
                  </a:cubicBezTo>
                  <a:cubicBezTo>
                    <a:pt x="589" y="725"/>
                    <a:pt x="589" y="725"/>
                    <a:pt x="589" y="725"/>
                  </a:cubicBezTo>
                  <a:cubicBezTo>
                    <a:pt x="589" y="725"/>
                    <a:pt x="589" y="725"/>
                    <a:pt x="589" y="725"/>
                  </a:cubicBezTo>
                  <a:cubicBezTo>
                    <a:pt x="588" y="725"/>
                    <a:pt x="586" y="724"/>
                    <a:pt x="586" y="724"/>
                  </a:cubicBezTo>
                  <a:cubicBezTo>
                    <a:pt x="585" y="724"/>
                    <a:pt x="584" y="723"/>
                    <a:pt x="583" y="722"/>
                  </a:cubicBezTo>
                  <a:cubicBezTo>
                    <a:pt x="583" y="722"/>
                    <a:pt x="583" y="722"/>
                    <a:pt x="583" y="722"/>
                  </a:cubicBezTo>
                  <a:cubicBezTo>
                    <a:pt x="582" y="721"/>
                    <a:pt x="582" y="721"/>
                    <a:pt x="581" y="720"/>
                  </a:cubicBezTo>
                  <a:cubicBezTo>
                    <a:pt x="581" y="720"/>
                    <a:pt x="581" y="720"/>
                    <a:pt x="581" y="720"/>
                  </a:cubicBezTo>
                  <a:cubicBezTo>
                    <a:pt x="582" y="721"/>
                    <a:pt x="582" y="721"/>
                    <a:pt x="583" y="722"/>
                  </a:cubicBezTo>
                  <a:cubicBezTo>
                    <a:pt x="583" y="722"/>
                    <a:pt x="583" y="722"/>
                    <a:pt x="584" y="722"/>
                  </a:cubicBezTo>
                  <a:cubicBezTo>
                    <a:pt x="584" y="722"/>
                    <a:pt x="585" y="722"/>
                    <a:pt x="585" y="721"/>
                  </a:cubicBezTo>
                  <a:cubicBezTo>
                    <a:pt x="587" y="720"/>
                    <a:pt x="588" y="718"/>
                    <a:pt x="589" y="718"/>
                  </a:cubicBezTo>
                  <a:cubicBezTo>
                    <a:pt x="589" y="718"/>
                    <a:pt x="589" y="718"/>
                    <a:pt x="589" y="718"/>
                  </a:cubicBezTo>
                  <a:cubicBezTo>
                    <a:pt x="590" y="718"/>
                    <a:pt x="590" y="718"/>
                    <a:pt x="591" y="717"/>
                  </a:cubicBezTo>
                  <a:cubicBezTo>
                    <a:pt x="591" y="718"/>
                    <a:pt x="591" y="719"/>
                    <a:pt x="591" y="720"/>
                  </a:cubicBezTo>
                  <a:cubicBezTo>
                    <a:pt x="592" y="719"/>
                    <a:pt x="593" y="719"/>
                    <a:pt x="594" y="719"/>
                  </a:cubicBezTo>
                  <a:cubicBezTo>
                    <a:pt x="594" y="719"/>
                    <a:pt x="595" y="719"/>
                    <a:pt x="596" y="719"/>
                  </a:cubicBezTo>
                  <a:cubicBezTo>
                    <a:pt x="596" y="719"/>
                    <a:pt x="596" y="719"/>
                    <a:pt x="596" y="719"/>
                  </a:cubicBezTo>
                  <a:cubicBezTo>
                    <a:pt x="597" y="719"/>
                    <a:pt x="601" y="714"/>
                    <a:pt x="601" y="713"/>
                  </a:cubicBezTo>
                  <a:cubicBezTo>
                    <a:pt x="601" y="713"/>
                    <a:pt x="599" y="712"/>
                    <a:pt x="598" y="712"/>
                  </a:cubicBezTo>
                  <a:cubicBezTo>
                    <a:pt x="598" y="712"/>
                    <a:pt x="598" y="712"/>
                    <a:pt x="598" y="712"/>
                  </a:cubicBezTo>
                  <a:cubicBezTo>
                    <a:pt x="598" y="712"/>
                    <a:pt x="598" y="712"/>
                    <a:pt x="598" y="712"/>
                  </a:cubicBezTo>
                  <a:cubicBezTo>
                    <a:pt x="598" y="712"/>
                    <a:pt x="598" y="712"/>
                    <a:pt x="598" y="712"/>
                  </a:cubicBezTo>
                  <a:cubicBezTo>
                    <a:pt x="598" y="712"/>
                    <a:pt x="598" y="712"/>
                    <a:pt x="598" y="712"/>
                  </a:cubicBezTo>
                  <a:cubicBezTo>
                    <a:pt x="598" y="712"/>
                    <a:pt x="598" y="712"/>
                    <a:pt x="598" y="712"/>
                  </a:cubicBezTo>
                  <a:cubicBezTo>
                    <a:pt x="598" y="711"/>
                    <a:pt x="598" y="711"/>
                    <a:pt x="598" y="711"/>
                  </a:cubicBezTo>
                  <a:cubicBezTo>
                    <a:pt x="599" y="712"/>
                    <a:pt x="598" y="711"/>
                    <a:pt x="598" y="712"/>
                  </a:cubicBezTo>
                  <a:cubicBezTo>
                    <a:pt x="598" y="712"/>
                    <a:pt x="598" y="712"/>
                    <a:pt x="598" y="712"/>
                  </a:cubicBezTo>
                  <a:cubicBezTo>
                    <a:pt x="602" y="709"/>
                    <a:pt x="605" y="706"/>
                    <a:pt x="609" y="704"/>
                  </a:cubicBezTo>
                  <a:cubicBezTo>
                    <a:pt x="615" y="700"/>
                    <a:pt x="621" y="697"/>
                    <a:pt x="627" y="693"/>
                  </a:cubicBezTo>
                  <a:cubicBezTo>
                    <a:pt x="630" y="691"/>
                    <a:pt x="633" y="689"/>
                    <a:pt x="636" y="687"/>
                  </a:cubicBezTo>
                  <a:cubicBezTo>
                    <a:pt x="637" y="687"/>
                    <a:pt x="636" y="684"/>
                    <a:pt x="636" y="683"/>
                  </a:cubicBezTo>
                  <a:cubicBezTo>
                    <a:pt x="636" y="684"/>
                    <a:pt x="637" y="684"/>
                    <a:pt x="638" y="684"/>
                  </a:cubicBezTo>
                  <a:cubicBezTo>
                    <a:pt x="639" y="684"/>
                    <a:pt x="641" y="683"/>
                    <a:pt x="642" y="683"/>
                  </a:cubicBezTo>
                  <a:cubicBezTo>
                    <a:pt x="645" y="682"/>
                    <a:pt x="647" y="681"/>
                    <a:pt x="650" y="681"/>
                  </a:cubicBezTo>
                  <a:cubicBezTo>
                    <a:pt x="651" y="681"/>
                    <a:pt x="651" y="681"/>
                    <a:pt x="652" y="681"/>
                  </a:cubicBezTo>
                  <a:cubicBezTo>
                    <a:pt x="653" y="681"/>
                    <a:pt x="656" y="682"/>
                    <a:pt x="657" y="682"/>
                  </a:cubicBezTo>
                  <a:cubicBezTo>
                    <a:pt x="658" y="682"/>
                    <a:pt x="658" y="682"/>
                    <a:pt x="659" y="682"/>
                  </a:cubicBezTo>
                  <a:cubicBezTo>
                    <a:pt x="659" y="682"/>
                    <a:pt x="658" y="681"/>
                    <a:pt x="659" y="680"/>
                  </a:cubicBezTo>
                  <a:cubicBezTo>
                    <a:pt x="660" y="679"/>
                    <a:pt x="661" y="678"/>
                    <a:pt x="663" y="677"/>
                  </a:cubicBezTo>
                  <a:cubicBezTo>
                    <a:pt x="668" y="674"/>
                    <a:pt x="674" y="672"/>
                    <a:pt x="680" y="669"/>
                  </a:cubicBezTo>
                  <a:cubicBezTo>
                    <a:pt x="679" y="668"/>
                    <a:pt x="678" y="668"/>
                    <a:pt x="678" y="668"/>
                  </a:cubicBezTo>
                  <a:cubicBezTo>
                    <a:pt x="677" y="667"/>
                    <a:pt x="676" y="665"/>
                    <a:pt x="676" y="664"/>
                  </a:cubicBezTo>
                  <a:cubicBezTo>
                    <a:pt x="676" y="663"/>
                    <a:pt x="676" y="663"/>
                    <a:pt x="676" y="663"/>
                  </a:cubicBezTo>
                  <a:cubicBezTo>
                    <a:pt x="676" y="663"/>
                    <a:pt x="676" y="663"/>
                    <a:pt x="676" y="663"/>
                  </a:cubicBezTo>
                  <a:cubicBezTo>
                    <a:pt x="676" y="663"/>
                    <a:pt x="676" y="663"/>
                    <a:pt x="676" y="663"/>
                  </a:cubicBezTo>
                  <a:cubicBezTo>
                    <a:pt x="677" y="663"/>
                    <a:pt x="677" y="663"/>
                    <a:pt x="677" y="663"/>
                  </a:cubicBezTo>
                  <a:cubicBezTo>
                    <a:pt x="677" y="662"/>
                    <a:pt x="682" y="660"/>
                    <a:pt x="683" y="660"/>
                  </a:cubicBezTo>
                  <a:cubicBezTo>
                    <a:pt x="683" y="660"/>
                    <a:pt x="684" y="660"/>
                    <a:pt x="684" y="660"/>
                  </a:cubicBezTo>
                  <a:cubicBezTo>
                    <a:pt x="685" y="660"/>
                    <a:pt x="683" y="662"/>
                    <a:pt x="683" y="662"/>
                  </a:cubicBezTo>
                  <a:cubicBezTo>
                    <a:pt x="688" y="663"/>
                    <a:pt x="688" y="663"/>
                    <a:pt x="688" y="663"/>
                  </a:cubicBezTo>
                  <a:cubicBezTo>
                    <a:pt x="690" y="663"/>
                    <a:pt x="692" y="660"/>
                    <a:pt x="694" y="660"/>
                  </a:cubicBezTo>
                  <a:cubicBezTo>
                    <a:pt x="694" y="660"/>
                    <a:pt x="695" y="660"/>
                    <a:pt x="695" y="660"/>
                  </a:cubicBezTo>
                  <a:cubicBezTo>
                    <a:pt x="699" y="660"/>
                    <a:pt x="703" y="661"/>
                    <a:pt x="706" y="661"/>
                  </a:cubicBezTo>
                  <a:cubicBezTo>
                    <a:pt x="707" y="661"/>
                    <a:pt x="708" y="662"/>
                    <a:pt x="709" y="662"/>
                  </a:cubicBezTo>
                  <a:cubicBezTo>
                    <a:pt x="710" y="662"/>
                    <a:pt x="711" y="661"/>
                    <a:pt x="711" y="660"/>
                  </a:cubicBezTo>
                  <a:cubicBezTo>
                    <a:pt x="711" y="659"/>
                    <a:pt x="710" y="659"/>
                    <a:pt x="709" y="659"/>
                  </a:cubicBezTo>
                  <a:cubicBezTo>
                    <a:pt x="709" y="659"/>
                    <a:pt x="709" y="658"/>
                    <a:pt x="709" y="658"/>
                  </a:cubicBezTo>
                  <a:cubicBezTo>
                    <a:pt x="710" y="657"/>
                    <a:pt x="712" y="654"/>
                    <a:pt x="713" y="654"/>
                  </a:cubicBezTo>
                  <a:cubicBezTo>
                    <a:pt x="714" y="654"/>
                    <a:pt x="714" y="654"/>
                    <a:pt x="714" y="654"/>
                  </a:cubicBezTo>
                  <a:cubicBezTo>
                    <a:pt x="715" y="655"/>
                    <a:pt x="713" y="656"/>
                    <a:pt x="713" y="656"/>
                  </a:cubicBezTo>
                  <a:cubicBezTo>
                    <a:pt x="713" y="657"/>
                    <a:pt x="713" y="658"/>
                    <a:pt x="712" y="659"/>
                  </a:cubicBezTo>
                  <a:cubicBezTo>
                    <a:pt x="716" y="660"/>
                    <a:pt x="720" y="661"/>
                    <a:pt x="724" y="661"/>
                  </a:cubicBezTo>
                  <a:cubicBezTo>
                    <a:pt x="726" y="661"/>
                    <a:pt x="730" y="662"/>
                    <a:pt x="734" y="662"/>
                  </a:cubicBezTo>
                  <a:cubicBezTo>
                    <a:pt x="736" y="662"/>
                    <a:pt x="737" y="662"/>
                    <a:pt x="738" y="661"/>
                  </a:cubicBezTo>
                  <a:cubicBezTo>
                    <a:pt x="738" y="661"/>
                    <a:pt x="738" y="661"/>
                    <a:pt x="738" y="661"/>
                  </a:cubicBezTo>
                  <a:cubicBezTo>
                    <a:pt x="737" y="661"/>
                    <a:pt x="737" y="659"/>
                    <a:pt x="738" y="659"/>
                  </a:cubicBezTo>
                  <a:cubicBezTo>
                    <a:pt x="738" y="658"/>
                    <a:pt x="740" y="657"/>
                    <a:pt x="741" y="656"/>
                  </a:cubicBezTo>
                  <a:cubicBezTo>
                    <a:pt x="740" y="656"/>
                    <a:pt x="740" y="656"/>
                    <a:pt x="740" y="656"/>
                  </a:cubicBezTo>
                  <a:cubicBezTo>
                    <a:pt x="739" y="656"/>
                    <a:pt x="738" y="655"/>
                    <a:pt x="738" y="654"/>
                  </a:cubicBezTo>
                  <a:cubicBezTo>
                    <a:pt x="738" y="648"/>
                    <a:pt x="747" y="645"/>
                    <a:pt x="752" y="642"/>
                  </a:cubicBezTo>
                  <a:cubicBezTo>
                    <a:pt x="754" y="641"/>
                    <a:pt x="761" y="639"/>
                    <a:pt x="762" y="636"/>
                  </a:cubicBezTo>
                  <a:cubicBezTo>
                    <a:pt x="762" y="635"/>
                    <a:pt x="761" y="634"/>
                    <a:pt x="761" y="633"/>
                  </a:cubicBezTo>
                  <a:cubicBezTo>
                    <a:pt x="760" y="631"/>
                    <a:pt x="760" y="627"/>
                    <a:pt x="760" y="626"/>
                  </a:cubicBezTo>
                  <a:cubicBezTo>
                    <a:pt x="761" y="621"/>
                    <a:pt x="764" y="614"/>
                    <a:pt x="767" y="610"/>
                  </a:cubicBezTo>
                  <a:cubicBezTo>
                    <a:pt x="769" y="607"/>
                    <a:pt x="772" y="605"/>
                    <a:pt x="775" y="603"/>
                  </a:cubicBezTo>
                  <a:cubicBezTo>
                    <a:pt x="777" y="601"/>
                    <a:pt x="776" y="597"/>
                    <a:pt x="776" y="595"/>
                  </a:cubicBezTo>
                  <a:cubicBezTo>
                    <a:pt x="777" y="595"/>
                    <a:pt x="778" y="596"/>
                    <a:pt x="778" y="596"/>
                  </a:cubicBezTo>
                  <a:cubicBezTo>
                    <a:pt x="780" y="596"/>
                    <a:pt x="779" y="591"/>
                    <a:pt x="781" y="589"/>
                  </a:cubicBezTo>
                  <a:cubicBezTo>
                    <a:pt x="784" y="585"/>
                    <a:pt x="790" y="579"/>
                    <a:pt x="791" y="574"/>
                  </a:cubicBezTo>
                  <a:cubicBezTo>
                    <a:pt x="792" y="572"/>
                    <a:pt x="791" y="569"/>
                    <a:pt x="791" y="567"/>
                  </a:cubicBezTo>
                  <a:cubicBezTo>
                    <a:pt x="790" y="566"/>
                    <a:pt x="790" y="565"/>
                    <a:pt x="790" y="563"/>
                  </a:cubicBezTo>
                  <a:cubicBezTo>
                    <a:pt x="790" y="559"/>
                    <a:pt x="790" y="551"/>
                    <a:pt x="793" y="547"/>
                  </a:cubicBezTo>
                  <a:cubicBezTo>
                    <a:pt x="796" y="544"/>
                    <a:pt x="804" y="537"/>
                    <a:pt x="804" y="533"/>
                  </a:cubicBezTo>
                  <a:cubicBezTo>
                    <a:pt x="804" y="532"/>
                    <a:pt x="803" y="530"/>
                    <a:pt x="803" y="530"/>
                  </a:cubicBezTo>
                  <a:cubicBezTo>
                    <a:pt x="801" y="519"/>
                    <a:pt x="806" y="506"/>
                    <a:pt x="809" y="496"/>
                  </a:cubicBezTo>
                  <a:cubicBezTo>
                    <a:pt x="809" y="492"/>
                    <a:pt x="808" y="487"/>
                    <a:pt x="808" y="483"/>
                  </a:cubicBezTo>
                  <a:cubicBezTo>
                    <a:pt x="808" y="475"/>
                    <a:pt x="808" y="467"/>
                    <a:pt x="808" y="459"/>
                  </a:cubicBezTo>
                  <a:cubicBezTo>
                    <a:pt x="808" y="455"/>
                    <a:pt x="808" y="451"/>
                    <a:pt x="809" y="447"/>
                  </a:cubicBezTo>
                  <a:cubicBezTo>
                    <a:pt x="809" y="445"/>
                    <a:pt x="809" y="443"/>
                    <a:pt x="809" y="443"/>
                  </a:cubicBezTo>
                  <a:cubicBezTo>
                    <a:pt x="809" y="443"/>
                    <a:pt x="809" y="444"/>
                    <a:pt x="808" y="444"/>
                  </a:cubicBezTo>
                  <a:cubicBezTo>
                    <a:pt x="808" y="443"/>
                    <a:pt x="804" y="440"/>
                    <a:pt x="804" y="439"/>
                  </a:cubicBezTo>
                  <a:cubicBezTo>
                    <a:pt x="804" y="439"/>
                    <a:pt x="804" y="439"/>
                    <a:pt x="804" y="439"/>
                  </a:cubicBezTo>
                  <a:cubicBezTo>
                    <a:pt x="805" y="439"/>
                    <a:pt x="805" y="439"/>
                    <a:pt x="805" y="439"/>
                  </a:cubicBezTo>
                  <a:cubicBezTo>
                    <a:pt x="808" y="438"/>
                    <a:pt x="808" y="434"/>
                    <a:pt x="807" y="434"/>
                  </a:cubicBezTo>
                  <a:cubicBezTo>
                    <a:pt x="806" y="434"/>
                    <a:pt x="806" y="435"/>
                    <a:pt x="805" y="436"/>
                  </a:cubicBezTo>
                  <a:cubicBezTo>
                    <a:pt x="806" y="434"/>
                    <a:pt x="806" y="432"/>
                    <a:pt x="806" y="430"/>
                  </a:cubicBezTo>
                  <a:cubicBezTo>
                    <a:pt x="807" y="431"/>
                    <a:pt x="807" y="431"/>
                    <a:pt x="807" y="431"/>
                  </a:cubicBezTo>
                  <a:cubicBezTo>
                    <a:pt x="810" y="428"/>
                    <a:pt x="812" y="423"/>
                    <a:pt x="814" y="419"/>
                  </a:cubicBezTo>
                  <a:cubicBezTo>
                    <a:pt x="814" y="419"/>
                    <a:pt x="814" y="419"/>
                    <a:pt x="813" y="419"/>
                  </a:cubicBezTo>
                  <a:cubicBezTo>
                    <a:pt x="812" y="419"/>
                    <a:pt x="809" y="416"/>
                    <a:pt x="810" y="414"/>
                  </a:cubicBezTo>
                  <a:cubicBezTo>
                    <a:pt x="810" y="415"/>
                    <a:pt x="810" y="416"/>
                    <a:pt x="810" y="417"/>
                  </a:cubicBezTo>
                  <a:cubicBezTo>
                    <a:pt x="812" y="415"/>
                    <a:pt x="813" y="413"/>
                    <a:pt x="815" y="413"/>
                  </a:cubicBezTo>
                  <a:cubicBezTo>
                    <a:pt x="815" y="413"/>
                    <a:pt x="816" y="413"/>
                    <a:pt x="816" y="414"/>
                  </a:cubicBezTo>
                  <a:cubicBezTo>
                    <a:pt x="819" y="416"/>
                    <a:pt x="819" y="419"/>
                    <a:pt x="820" y="422"/>
                  </a:cubicBezTo>
                  <a:cubicBezTo>
                    <a:pt x="823" y="420"/>
                    <a:pt x="825" y="418"/>
                    <a:pt x="828" y="415"/>
                  </a:cubicBezTo>
                  <a:cubicBezTo>
                    <a:pt x="829" y="414"/>
                    <a:pt x="830" y="413"/>
                    <a:pt x="831" y="411"/>
                  </a:cubicBezTo>
                  <a:cubicBezTo>
                    <a:pt x="833" y="408"/>
                    <a:pt x="835" y="405"/>
                    <a:pt x="837" y="401"/>
                  </a:cubicBezTo>
                  <a:cubicBezTo>
                    <a:pt x="839" y="397"/>
                    <a:pt x="844" y="391"/>
                    <a:pt x="845" y="386"/>
                  </a:cubicBezTo>
                  <a:cubicBezTo>
                    <a:pt x="844" y="386"/>
                    <a:pt x="843" y="387"/>
                    <a:pt x="843" y="387"/>
                  </a:cubicBezTo>
                  <a:cubicBezTo>
                    <a:pt x="843" y="385"/>
                    <a:pt x="844" y="382"/>
                    <a:pt x="845" y="380"/>
                  </a:cubicBezTo>
                  <a:cubicBezTo>
                    <a:pt x="846" y="380"/>
                    <a:pt x="846" y="380"/>
                    <a:pt x="847" y="380"/>
                  </a:cubicBezTo>
                  <a:cubicBezTo>
                    <a:pt x="847" y="380"/>
                    <a:pt x="847" y="380"/>
                    <a:pt x="847" y="380"/>
                  </a:cubicBezTo>
                  <a:cubicBezTo>
                    <a:pt x="848" y="380"/>
                    <a:pt x="848" y="380"/>
                    <a:pt x="848" y="380"/>
                  </a:cubicBezTo>
                  <a:cubicBezTo>
                    <a:pt x="848" y="380"/>
                    <a:pt x="849" y="380"/>
                    <a:pt x="849" y="379"/>
                  </a:cubicBezTo>
                  <a:cubicBezTo>
                    <a:pt x="852" y="378"/>
                    <a:pt x="848" y="377"/>
                    <a:pt x="848" y="375"/>
                  </a:cubicBezTo>
                  <a:cubicBezTo>
                    <a:pt x="850" y="375"/>
                    <a:pt x="855" y="373"/>
                    <a:pt x="851" y="371"/>
                  </a:cubicBezTo>
                  <a:cubicBezTo>
                    <a:pt x="851" y="370"/>
                    <a:pt x="852" y="369"/>
                    <a:pt x="852" y="369"/>
                  </a:cubicBezTo>
                  <a:cubicBezTo>
                    <a:pt x="853" y="370"/>
                    <a:pt x="853" y="372"/>
                    <a:pt x="854" y="373"/>
                  </a:cubicBezTo>
                  <a:cubicBezTo>
                    <a:pt x="855" y="371"/>
                    <a:pt x="858" y="369"/>
                    <a:pt x="860" y="367"/>
                  </a:cubicBezTo>
                  <a:cubicBezTo>
                    <a:pt x="861" y="366"/>
                    <a:pt x="863" y="365"/>
                    <a:pt x="865" y="364"/>
                  </a:cubicBezTo>
                  <a:cubicBezTo>
                    <a:pt x="868" y="363"/>
                    <a:pt x="868" y="362"/>
                    <a:pt x="870" y="359"/>
                  </a:cubicBezTo>
                  <a:cubicBezTo>
                    <a:pt x="872" y="355"/>
                    <a:pt x="876" y="352"/>
                    <a:pt x="879" y="348"/>
                  </a:cubicBezTo>
                  <a:cubicBezTo>
                    <a:pt x="882" y="345"/>
                    <a:pt x="880" y="344"/>
                    <a:pt x="879" y="342"/>
                  </a:cubicBezTo>
                  <a:cubicBezTo>
                    <a:pt x="879" y="342"/>
                    <a:pt x="879" y="343"/>
                    <a:pt x="880" y="343"/>
                  </a:cubicBezTo>
                  <a:cubicBezTo>
                    <a:pt x="882" y="343"/>
                    <a:pt x="887" y="340"/>
                    <a:pt x="887" y="339"/>
                  </a:cubicBezTo>
                  <a:cubicBezTo>
                    <a:pt x="891" y="334"/>
                    <a:pt x="896" y="328"/>
                    <a:pt x="898" y="322"/>
                  </a:cubicBezTo>
                  <a:cubicBezTo>
                    <a:pt x="900" y="316"/>
                    <a:pt x="903" y="309"/>
                    <a:pt x="904" y="302"/>
                  </a:cubicBezTo>
                  <a:cubicBezTo>
                    <a:pt x="904" y="299"/>
                    <a:pt x="902" y="296"/>
                    <a:pt x="903" y="293"/>
                  </a:cubicBezTo>
                  <a:cubicBezTo>
                    <a:pt x="904" y="290"/>
                    <a:pt x="905" y="287"/>
                    <a:pt x="905" y="284"/>
                  </a:cubicBezTo>
                  <a:cubicBezTo>
                    <a:pt x="904" y="271"/>
                    <a:pt x="897" y="256"/>
                    <a:pt x="893" y="244"/>
                  </a:cubicBezTo>
                  <a:cubicBezTo>
                    <a:pt x="890" y="237"/>
                    <a:pt x="884" y="236"/>
                    <a:pt x="878" y="236"/>
                  </a:cubicBezTo>
                  <a:cubicBezTo>
                    <a:pt x="876" y="236"/>
                    <a:pt x="873" y="236"/>
                    <a:pt x="871" y="236"/>
                  </a:cubicBezTo>
                  <a:cubicBezTo>
                    <a:pt x="868" y="237"/>
                    <a:pt x="866" y="237"/>
                    <a:pt x="864" y="237"/>
                  </a:cubicBezTo>
                  <a:cubicBezTo>
                    <a:pt x="864" y="237"/>
                    <a:pt x="864" y="237"/>
                    <a:pt x="864" y="237"/>
                  </a:cubicBezTo>
                  <a:cubicBezTo>
                    <a:pt x="858" y="237"/>
                    <a:pt x="851" y="233"/>
                    <a:pt x="847" y="230"/>
                  </a:cubicBezTo>
                  <a:cubicBezTo>
                    <a:pt x="842" y="225"/>
                    <a:pt x="836" y="221"/>
                    <a:pt x="831" y="217"/>
                  </a:cubicBezTo>
                  <a:cubicBezTo>
                    <a:pt x="821" y="207"/>
                    <a:pt x="810" y="200"/>
                    <a:pt x="797" y="193"/>
                  </a:cubicBezTo>
                  <a:cubicBezTo>
                    <a:pt x="790" y="189"/>
                    <a:pt x="784" y="187"/>
                    <a:pt x="776" y="184"/>
                  </a:cubicBezTo>
                  <a:cubicBezTo>
                    <a:pt x="775" y="184"/>
                    <a:pt x="774" y="184"/>
                    <a:pt x="774" y="184"/>
                  </a:cubicBezTo>
                  <a:cubicBezTo>
                    <a:pt x="772" y="184"/>
                    <a:pt x="772" y="184"/>
                    <a:pt x="770" y="184"/>
                  </a:cubicBezTo>
                  <a:cubicBezTo>
                    <a:pt x="767" y="184"/>
                    <a:pt x="765" y="185"/>
                    <a:pt x="763" y="185"/>
                  </a:cubicBezTo>
                  <a:cubicBezTo>
                    <a:pt x="762" y="185"/>
                    <a:pt x="762" y="185"/>
                    <a:pt x="762" y="185"/>
                  </a:cubicBezTo>
                  <a:cubicBezTo>
                    <a:pt x="761" y="185"/>
                    <a:pt x="760" y="185"/>
                    <a:pt x="760" y="185"/>
                  </a:cubicBezTo>
                  <a:cubicBezTo>
                    <a:pt x="759" y="185"/>
                    <a:pt x="758" y="185"/>
                    <a:pt x="758" y="185"/>
                  </a:cubicBezTo>
                  <a:cubicBezTo>
                    <a:pt x="756" y="185"/>
                    <a:pt x="755" y="185"/>
                    <a:pt x="754" y="186"/>
                  </a:cubicBezTo>
                  <a:cubicBezTo>
                    <a:pt x="755" y="186"/>
                    <a:pt x="755" y="188"/>
                    <a:pt x="755" y="189"/>
                  </a:cubicBezTo>
                  <a:cubicBezTo>
                    <a:pt x="752" y="187"/>
                    <a:pt x="745" y="183"/>
                    <a:pt x="742" y="183"/>
                  </a:cubicBezTo>
                  <a:cubicBezTo>
                    <a:pt x="741" y="183"/>
                    <a:pt x="741" y="183"/>
                    <a:pt x="741" y="183"/>
                  </a:cubicBezTo>
                  <a:cubicBezTo>
                    <a:pt x="738" y="183"/>
                    <a:pt x="735" y="184"/>
                    <a:pt x="733" y="184"/>
                  </a:cubicBezTo>
                  <a:cubicBezTo>
                    <a:pt x="733" y="184"/>
                    <a:pt x="732" y="184"/>
                    <a:pt x="732" y="184"/>
                  </a:cubicBezTo>
                  <a:cubicBezTo>
                    <a:pt x="730" y="184"/>
                    <a:pt x="728" y="182"/>
                    <a:pt x="726" y="181"/>
                  </a:cubicBezTo>
                  <a:cubicBezTo>
                    <a:pt x="720" y="179"/>
                    <a:pt x="714" y="177"/>
                    <a:pt x="709" y="175"/>
                  </a:cubicBezTo>
                  <a:cubicBezTo>
                    <a:pt x="708" y="175"/>
                    <a:pt x="705" y="174"/>
                    <a:pt x="704" y="174"/>
                  </a:cubicBezTo>
                  <a:cubicBezTo>
                    <a:pt x="704" y="174"/>
                    <a:pt x="703" y="174"/>
                    <a:pt x="704" y="175"/>
                  </a:cubicBezTo>
                  <a:cubicBezTo>
                    <a:pt x="700" y="176"/>
                    <a:pt x="696" y="176"/>
                    <a:pt x="693" y="178"/>
                  </a:cubicBezTo>
                  <a:cubicBezTo>
                    <a:pt x="692" y="178"/>
                    <a:pt x="691" y="179"/>
                    <a:pt x="691" y="180"/>
                  </a:cubicBezTo>
                  <a:cubicBezTo>
                    <a:pt x="689" y="182"/>
                    <a:pt x="688" y="183"/>
                    <a:pt x="686" y="183"/>
                  </a:cubicBezTo>
                  <a:cubicBezTo>
                    <a:pt x="685" y="183"/>
                    <a:pt x="685" y="183"/>
                    <a:pt x="683" y="183"/>
                  </a:cubicBezTo>
                  <a:cubicBezTo>
                    <a:pt x="687" y="181"/>
                    <a:pt x="689" y="177"/>
                    <a:pt x="690" y="174"/>
                  </a:cubicBezTo>
                  <a:cubicBezTo>
                    <a:pt x="690" y="174"/>
                    <a:pt x="690" y="174"/>
                    <a:pt x="690" y="174"/>
                  </a:cubicBezTo>
                  <a:cubicBezTo>
                    <a:pt x="688" y="174"/>
                    <a:pt x="684" y="176"/>
                    <a:pt x="683" y="177"/>
                  </a:cubicBezTo>
                  <a:cubicBezTo>
                    <a:pt x="682" y="178"/>
                    <a:pt x="682" y="182"/>
                    <a:pt x="682" y="183"/>
                  </a:cubicBezTo>
                  <a:cubicBezTo>
                    <a:pt x="681" y="188"/>
                    <a:pt x="678" y="190"/>
                    <a:pt x="675" y="194"/>
                  </a:cubicBezTo>
                  <a:cubicBezTo>
                    <a:pt x="674" y="194"/>
                    <a:pt x="674" y="194"/>
                    <a:pt x="674" y="194"/>
                  </a:cubicBezTo>
                  <a:cubicBezTo>
                    <a:pt x="673" y="194"/>
                    <a:pt x="674" y="193"/>
                    <a:pt x="674" y="193"/>
                  </a:cubicBezTo>
                  <a:cubicBezTo>
                    <a:pt x="674" y="193"/>
                    <a:pt x="674" y="193"/>
                    <a:pt x="674" y="193"/>
                  </a:cubicBezTo>
                  <a:cubicBezTo>
                    <a:pt x="674" y="193"/>
                    <a:pt x="675" y="192"/>
                    <a:pt x="675" y="192"/>
                  </a:cubicBezTo>
                  <a:cubicBezTo>
                    <a:pt x="676" y="187"/>
                    <a:pt x="676" y="183"/>
                    <a:pt x="678" y="178"/>
                  </a:cubicBezTo>
                  <a:cubicBezTo>
                    <a:pt x="678" y="177"/>
                    <a:pt x="678" y="177"/>
                    <a:pt x="678" y="177"/>
                  </a:cubicBezTo>
                  <a:cubicBezTo>
                    <a:pt x="678" y="178"/>
                    <a:pt x="677" y="178"/>
                    <a:pt x="676" y="179"/>
                  </a:cubicBezTo>
                  <a:cubicBezTo>
                    <a:pt x="682" y="169"/>
                    <a:pt x="682" y="169"/>
                    <a:pt x="682" y="169"/>
                  </a:cubicBezTo>
                  <a:cubicBezTo>
                    <a:pt x="682" y="168"/>
                    <a:pt x="681" y="168"/>
                    <a:pt x="681" y="168"/>
                  </a:cubicBezTo>
                  <a:cubicBezTo>
                    <a:pt x="680" y="168"/>
                    <a:pt x="679" y="169"/>
                    <a:pt x="679" y="169"/>
                  </a:cubicBezTo>
                  <a:cubicBezTo>
                    <a:pt x="678" y="169"/>
                    <a:pt x="677" y="171"/>
                    <a:pt x="677" y="171"/>
                  </a:cubicBezTo>
                  <a:cubicBezTo>
                    <a:pt x="676" y="171"/>
                    <a:pt x="676" y="171"/>
                    <a:pt x="676" y="171"/>
                  </a:cubicBezTo>
                  <a:cubicBezTo>
                    <a:pt x="676" y="171"/>
                    <a:pt x="675" y="171"/>
                    <a:pt x="675" y="171"/>
                  </a:cubicBezTo>
                  <a:cubicBezTo>
                    <a:pt x="674" y="171"/>
                    <a:pt x="674" y="171"/>
                    <a:pt x="673" y="171"/>
                  </a:cubicBezTo>
                  <a:cubicBezTo>
                    <a:pt x="673" y="171"/>
                    <a:pt x="673" y="171"/>
                    <a:pt x="672" y="171"/>
                  </a:cubicBezTo>
                  <a:cubicBezTo>
                    <a:pt x="674" y="171"/>
                    <a:pt x="675" y="171"/>
                    <a:pt x="676" y="170"/>
                  </a:cubicBezTo>
                  <a:cubicBezTo>
                    <a:pt x="677" y="169"/>
                    <a:pt x="679" y="162"/>
                    <a:pt x="679" y="161"/>
                  </a:cubicBezTo>
                  <a:cubicBezTo>
                    <a:pt x="678" y="160"/>
                    <a:pt x="677" y="159"/>
                    <a:pt x="676" y="158"/>
                  </a:cubicBezTo>
                  <a:cubicBezTo>
                    <a:pt x="676" y="160"/>
                    <a:pt x="675" y="160"/>
                    <a:pt x="674" y="160"/>
                  </a:cubicBezTo>
                  <a:cubicBezTo>
                    <a:pt x="674" y="160"/>
                    <a:pt x="673" y="160"/>
                    <a:pt x="673" y="160"/>
                  </a:cubicBezTo>
                  <a:cubicBezTo>
                    <a:pt x="673" y="160"/>
                    <a:pt x="674" y="159"/>
                    <a:pt x="675" y="158"/>
                  </a:cubicBezTo>
                  <a:cubicBezTo>
                    <a:pt x="675" y="158"/>
                    <a:pt x="675" y="158"/>
                    <a:pt x="675" y="158"/>
                  </a:cubicBezTo>
                  <a:cubicBezTo>
                    <a:pt x="673" y="158"/>
                    <a:pt x="673" y="157"/>
                    <a:pt x="673" y="156"/>
                  </a:cubicBezTo>
                  <a:cubicBezTo>
                    <a:pt x="673" y="156"/>
                    <a:pt x="673" y="156"/>
                    <a:pt x="673" y="156"/>
                  </a:cubicBezTo>
                  <a:cubicBezTo>
                    <a:pt x="672" y="155"/>
                    <a:pt x="672" y="155"/>
                    <a:pt x="672" y="155"/>
                  </a:cubicBezTo>
                  <a:cubicBezTo>
                    <a:pt x="672" y="155"/>
                    <a:pt x="672" y="155"/>
                    <a:pt x="672" y="156"/>
                  </a:cubicBezTo>
                  <a:cubicBezTo>
                    <a:pt x="671" y="156"/>
                    <a:pt x="671" y="156"/>
                    <a:pt x="671" y="156"/>
                  </a:cubicBezTo>
                  <a:cubicBezTo>
                    <a:pt x="670" y="156"/>
                    <a:pt x="670" y="156"/>
                    <a:pt x="669" y="155"/>
                  </a:cubicBezTo>
                  <a:cubicBezTo>
                    <a:pt x="670" y="155"/>
                    <a:pt x="671" y="153"/>
                    <a:pt x="671" y="151"/>
                  </a:cubicBezTo>
                  <a:cubicBezTo>
                    <a:pt x="670" y="153"/>
                    <a:pt x="669" y="153"/>
                    <a:pt x="669" y="154"/>
                  </a:cubicBezTo>
                  <a:cubicBezTo>
                    <a:pt x="668" y="153"/>
                    <a:pt x="667" y="153"/>
                    <a:pt x="666" y="152"/>
                  </a:cubicBezTo>
                  <a:cubicBezTo>
                    <a:pt x="666" y="153"/>
                    <a:pt x="666" y="153"/>
                    <a:pt x="666" y="153"/>
                  </a:cubicBezTo>
                  <a:cubicBezTo>
                    <a:pt x="666" y="153"/>
                    <a:pt x="666" y="153"/>
                    <a:pt x="665" y="153"/>
                  </a:cubicBezTo>
                  <a:cubicBezTo>
                    <a:pt x="665" y="153"/>
                    <a:pt x="665" y="153"/>
                    <a:pt x="665" y="153"/>
                  </a:cubicBezTo>
                  <a:cubicBezTo>
                    <a:pt x="663" y="153"/>
                    <a:pt x="662" y="157"/>
                    <a:pt x="661" y="159"/>
                  </a:cubicBezTo>
                  <a:cubicBezTo>
                    <a:pt x="661" y="155"/>
                    <a:pt x="661" y="152"/>
                    <a:pt x="660" y="149"/>
                  </a:cubicBezTo>
                  <a:cubicBezTo>
                    <a:pt x="659" y="151"/>
                    <a:pt x="659" y="151"/>
                    <a:pt x="656" y="153"/>
                  </a:cubicBezTo>
                  <a:cubicBezTo>
                    <a:pt x="657" y="152"/>
                    <a:pt x="657" y="150"/>
                    <a:pt x="658" y="148"/>
                  </a:cubicBezTo>
                  <a:cubicBezTo>
                    <a:pt x="658" y="149"/>
                    <a:pt x="658" y="149"/>
                    <a:pt x="657" y="149"/>
                  </a:cubicBezTo>
                  <a:cubicBezTo>
                    <a:pt x="657" y="149"/>
                    <a:pt x="656" y="149"/>
                    <a:pt x="656" y="148"/>
                  </a:cubicBezTo>
                  <a:cubicBezTo>
                    <a:pt x="655" y="148"/>
                    <a:pt x="655" y="148"/>
                    <a:pt x="654" y="148"/>
                  </a:cubicBezTo>
                  <a:cubicBezTo>
                    <a:pt x="654" y="148"/>
                    <a:pt x="654" y="148"/>
                    <a:pt x="654" y="148"/>
                  </a:cubicBezTo>
                  <a:cubicBezTo>
                    <a:pt x="653" y="148"/>
                    <a:pt x="653" y="150"/>
                    <a:pt x="652" y="150"/>
                  </a:cubicBezTo>
                  <a:cubicBezTo>
                    <a:pt x="652" y="150"/>
                    <a:pt x="652" y="150"/>
                    <a:pt x="652" y="150"/>
                  </a:cubicBezTo>
                  <a:cubicBezTo>
                    <a:pt x="651" y="150"/>
                    <a:pt x="651" y="145"/>
                    <a:pt x="651" y="145"/>
                  </a:cubicBezTo>
                  <a:cubicBezTo>
                    <a:pt x="651" y="145"/>
                    <a:pt x="651" y="147"/>
                    <a:pt x="650" y="147"/>
                  </a:cubicBezTo>
                  <a:cubicBezTo>
                    <a:pt x="650" y="147"/>
                    <a:pt x="650" y="147"/>
                    <a:pt x="650" y="147"/>
                  </a:cubicBezTo>
                  <a:cubicBezTo>
                    <a:pt x="649" y="146"/>
                    <a:pt x="648" y="145"/>
                    <a:pt x="648" y="145"/>
                  </a:cubicBezTo>
                  <a:cubicBezTo>
                    <a:pt x="647" y="146"/>
                    <a:pt x="647" y="146"/>
                    <a:pt x="647" y="146"/>
                  </a:cubicBezTo>
                  <a:cubicBezTo>
                    <a:pt x="647" y="146"/>
                    <a:pt x="647" y="146"/>
                    <a:pt x="647" y="146"/>
                  </a:cubicBezTo>
                  <a:cubicBezTo>
                    <a:pt x="647" y="146"/>
                    <a:pt x="646" y="146"/>
                    <a:pt x="646" y="146"/>
                  </a:cubicBezTo>
                  <a:cubicBezTo>
                    <a:pt x="646" y="146"/>
                    <a:pt x="646" y="146"/>
                    <a:pt x="645" y="146"/>
                  </a:cubicBezTo>
                  <a:cubicBezTo>
                    <a:pt x="645" y="146"/>
                    <a:pt x="645" y="146"/>
                    <a:pt x="645" y="146"/>
                  </a:cubicBezTo>
                  <a:cubicBezTo>
                    <a:pt x="645" y="145"/>
                    <a:pt x="645" y="144"/>
                    <a:pt x="645" y="143"/>
                  </a:cubicBezTo>
                  <a:cubicBezTo>
                    <a:pt x="644" y="144"/>
                    <a:pt x="644" y="145"/>
                    <a:pt x="643" y="146"/>
                  </a:cubicBezTo>
                  <a:cubicBezTo>
                    <a:pt x="643" y="144"/>
                    <a:pt x="643" y="144"/>
                    <a:pt x="642" y="144"/>
                  </a:cubicBezTo>
                  <a:cubicBezTo>
                    <a:pt x="642" y="144"/>
                    <a:pt x="640" y="145"/>
                    <a:pt x="639" y="145"/>
                  </a:cubicBezTo>
                  <a:cubicBezTo>
                    <a:pt x="640" y="144"/>
                    <a:pt x="640" y="142"/>
                    <a:pt x="640" y="140"/>
                  </a:cubicBezTo>
                  <a:cubicBezTo>
                    <a:pt x="640" y="140"/>
                    <a:pt x="640" y="139"/>
                    <a:pt x="640" y="139"/>
                  </a:cubicBezTo>
                  <a:cubicBezTo>
                    <a:pt x="640" y="139"/>
                    <a:pt x="640" y="140"/>
                    <a:pt x="640" y="140"/>
                  </a:cubicBezTo>
                  <a:cubicBezTo>
                    <a:pt x="639" y="140"/>
                    <a:pt x="639" y="141"/>
                    <a:pt x="639" y="141"/>
                  </a:cubicBezTo>
                  <a:cubicBezTo>
                    <a:pt x="639" y="141"/>
                    <a:pt x="639" y="141"/>
                    <a:pt x="639" y="141"/>
                  </a:cubicBezTo>
                  <a:cubicBezTo>
                    <a:pt x="639" y="141"/>
                    <a:pt x="638" y="143"/>
                    <a:pt x="637" y="143"/>
                  </a:cubicBezTo>
                  <a:cubicBezTo>
                    <a:pt x="636" y="143"/>
                    <a:pt x="636" y="143"/>
                    <a:pt x="636" y="143"/>
                  </a:cubicBezTo>
                  <a:cubicBezTo>
                    <a:pt x="633" y="143"/>
                    <a:pt x="630" y="143"/>
                    <a:pt x="627" y="142"/>
                  </a:cubicBezTo>
                  <a:cubicBezTo>
                    <a:pt x="629" y="141"/>
                    <a:pt x="632" y="138"/>
                    <a:pt x="629" y="138"/>
                  </a:cubicBezTo>
                  <a:cubicBezTo>
                    <a:pt x="629" y="138"/>
                    <a:pt x="629" y="138"/>
                    <a:pt x="629" y="138"/>
                  </a:cubicBezTo>
                  <a:cubicBezTo>
                    <a:pt x="629" y="138"/>
                    <a:pt x="628" y="138"/>
                    <a:pt x="628" y="139"/>
                  </a:cubicBezTo>
                  <a:cubicBezTo>
                    <a:pt x="628" y="139"/>
                    <a:pt x="628" y="140"/>
                    <a:pt x="627" y="140"/>
                  </a:cubicBezTo>
                  <a:cubicBezTo>
                    <a:pt x="627" y="140"/>
                    <a:pt x="627" y="139"/>
                    <a:pt x="627" y="139"/>
                  </a:cubicBezTo>
                  <a:cubicBezTo>
                    <a:pt x="626" y="138"/>
                    <a:pt x="626" y="136"/>
                    <a:pt x="626" y="135"/>
                  </a:cubicBezTo>
                  <a:cubicBezTo>
                    <a:pt x="625" y="137"/>
                    <a:pt x="624" y="137"/>
                    <a:pt x="623" y="139"/>
                  </a:cubicBezTo>
                  <a:cubicBezTo>
                    <a:pt x="622" y="138"/>
                    <a:pt x="622" y="137"/>
                    <a:pt x="622" y="136"/>
                  </a:cubicBezTo>
                  <a:cubicBezTo>
                    <a:pt x="621" y="137"/>
                    <a:pt x="621" y="138"/>
                    <a:pt x="620" y="138"/>
                  </a:cubicBezTo>
                  <a:cubicBezTo>
                    <a:pt x="618" y="138"/>
                    <a:pt x="615" y="134"/>
                    <a:pt x="614" y="133"/>
                  </a:cubicBezTo>
                  <a:cubicBezTo>
                    <a:pt x="613" y="133"/>
                    <a:pt x="612" y="133"/>
                    <a:pt x="611" y="133"/>
                  </a:cubicBezTo>
                  <a:cubicBezTo>
                    <a:pt x="609" y="133"/>
                    <a:pt x="607" y="133"/>
                    <a:pt x="605" y="134"/>
                  </a:cubicBezTo>
                  <a:cubicBezTo>
                    <a:pt x="600" y="134"/>
                    <a:pt x="596" y="135"/>
                    <a:pt x="593" y="139"/>
                  </a:cubicBezTo>
                  <a:cubicBezTo>
                    <a:pt x="592" y="140"/>
                    <a:pt x="591" y="141"/>
                    <a:pt x="591" y="142"/>
                  </a:cubicBezTo>
                  <a:cubicBezTo>
                    <a:pt x="591" y="142"/>
                    <a:pt x="592" y="143"/>
                    <a:pt x="592" y="144"/>
                  </a:cubicBezTo>
                  <a:cubicBezTo>
                    <a:pt x="592" y="144"/>
                    <a:pt x="593" y="145"/>
                    <a:pt x="592" y="146"/>
                  </a:cubicBezTo>
                  <a:cubicBezTo>
                    <a:pt x="591" y="146"/>
                    <a:pt x="589" y="147"/>
                    <a:pt x="588" y="148"/>
                  </a:cubicBezTo>
                  <a:cubicBezTo>
                    <a:pt x="587" y="149"/>
                    <a:pt x="586" y="151"/>
                    <a:pt x="587" y="152"/>
                  </a:cubicBezTo>
                  <a:cubicBezTo>
                    <a:pt x="587" y="153"/>
                    <a:pt x="588" y="153"/>
                    <a:pt x="589" y="153"/>
                  </a:cubicBezTo>
                  <a:cubicBezTo>
                    <a:pt x="589" y="153"/>
                    <a:pt x="590" y="153"/>
                    <a:pt x="591" y="153"/>
                  </a:cubicBezTo>
                  <a:cubicBezTo>
                    <a:pt x="592" y="152"/>
                    <a:pt x="593" y="152"/>
                    <a:pt x="593" y="152"/>
                  </a:cubicBezTo>
                  <a:cubicBezTo>
                    <a:pt x="593" y="152"/>
                    <a:pt x="594" y="152"/>
                    <a:pt x="594" y="152"/>
                  </a:cubicBezTo>
                  <a:cubicBezTo>
                    <a:pt x="590" y="153"/>
                    <a:pt x="586" y="152"/>
                    <a:pt x="588" y="156"/>
                  </a:cubicBezTo>
                  <a:cubicBezTo>
                    <a:pt x="586" y="156"/>
                    <a:pt x="585" y="154"/>
                    <a:pt x="584" y="154"/>
                  </a:cubicBezTo>
                  <a:cubicBezTo>
                    <a:pt x="583" y="154"/>
                    <a:pt x="583" y="154"/>
                    <a:pt x="582" y="155"/>
                  </a:cubicBezTo>
                  <a:cubicBezTo>
                    <a:pt x="578" y="157"/>
                    <a:pt x="573" y="160"/>
                    <a:pt x="570" y="163"/>
                  </a:cubicBezTo>
                  <a:cubicBezTo>
                    <a:pt x="567" y="167"/>
                    <a:pt x="566" y="174"/>
                    <a:pt x="564" y="178"/>
                  </a:cubicBezTo>
                  <a:cubicBezTo>
                    <a:pt x="563" y="176"/>
                    <a:pt x="565" y="170"/>
                    <a:pt x="566" y="168"/>
                  </a:cubicBezTo>
                  <a:cubicBezTo>
                    <a:pt x="567" y="165"/>
                    <a:pt x="568" y="162"/>
                    <a:pt x="568" y="158"/>
                  </a:cubicBezTo>
                  <a:cubicBezTo>
                    <a:pt x="565" y="159"/>
                    <a:pt x="564" y="160"/>
                    <a:pt x="561" y="161"/>
                  </a:cubicBezTo>
                  <a:cubicBezTo>
                    <a:pt x="560" y="162"/>
                    <a:pt x="559" y="162"/>
                    <a:pt x="557" y="162"/>
                  </a:cubicBezTo>
                  <a:cubicBezTo>
                    <a:pt x="556" y="163"/>
                    <a:pt x="556" y="163"/>
                    <a:pt x="555" y="165"/>
                  </a:cubicBezTo>
                  <a:cubicBezTo>
                    <a:pt x="555" y="162"/>
                    <a:pt x="552" y="161"/>
                    <a:pt x="550" y="161"/>
                  </a:cubicBezTo>
                  <a:cubicBezTo>
                    <a:pt x="549" y="161"/>
                    <a:pt x="548" y="161"/>
                    <a:pt x="548" y="163"/>
                  </a:cubicBezTo>
                  <a:cubicBezTo>
                    <a:pt x="546" y="162"/>
                    <a:pt x="544" y="162"/>
                    <a:pt x="543" y="161"/>
                  </a:cubicBezTo>
                  <a:cubicBezTo>
                    <a:pt x="546" y="161"/>
                    <a:pt x="548" y="160"/>
                    <a:pt x="550" y="160"/>
                  </a:cubicBezTo>
                  <a:cubicBezTo>
                    <a:pt x="551" y="160"/>
                    <a:pt x="553" y="160"/>
                    <a:pt x="555" y="161"/>
                  </a:cubicBezTo>
                  <a:cubicBezTo>
                    <a:pt x="555" y="161"/>
                    <a:pt x="555" y="161"/>
                    <a:pt x="555" y="161"/>
                  </a:cubicBezTo>
                  <a:cubicBezTo>
                    <a:pt x="556" y="161"/>
                    <a:pt x="556" y="160"/>
                    <a:pt x="557" y="160"/>
                  </a:cubicBezTo>
                  <a:cubicBezTo>
                    <a:pt x="557" y="160"/>
                    <a:pt x="558" y="159"/>
                    <a:pt x="558" y="159"/>
                  </a:cubicBezTo>
                  <a:cubicBezTo>
                    <a:pt x="559" y="159"/>
                    <a:pt x="559" y="159"/>
                    <a:pt x="559" y="159"/>
                  </a:cubicBezTo>
                  <a:cubicBezTo>
                    <a:pt x="559" y="159"/>
                    <a:pt x="559" y="159"/>
                    <a:pt x="560" y="159"/>
                  </a:cubicBezTo>
                  <a:cubicBezTo>
                    <a:pt x="560" y="159"/>
                    <a:pt x="560" y="159"/>
                    <a:pt x="560" y="159"/>
                  </a:cubicBezTo>
                  <a:cubicBezTo>
                    <a:pt x="561" y="159"/>
                    <a:pt x="561" y="159"/>
                    <a:pt x="561" y="159"/>
                  </a:cubicBezTo>
                  <a:cubicBezTo>
                    <a:pt x="561" y="159"/>
                    <a:pt x="561" y="159"/>
                    <a:pt x="561" y="159"/>
                  </a:cubicBezTo>
                  <a:cubicBezTo>
                    <a:pt x="561" y="159"/>
                    <a:pt x="561" y="159"/>
                    <a:pt x="561" y="159"/>
                  </a:cubicBezTo>
                  <a:cubicBezTo>
                    <a:pt x="562" y="159"/>
                    <a:pt x="562" y="159"/>
                    <a:pt x="562" y="159"/>
                  </a:cubicBezTo>
                  <a:cubicBezTo>
                    <a:pt x="562" y="158"/>
                    <a:pt x="562" y="158"/>
                    <a:pt x="562" y="158"/>
                  </a:cubicBezTo>
                  <a:cubicBezTo>
                    <a:pt x="563" y="157"/>
                    <a:pt x="563" y="157"/>
                    <a:pt x="563" y="157"/>
                  </a:cubicBezTo>
                  <a:cubicBezTo>
                    <a:pt x="563" y="157"/>
                    <a:pt x="563" y="157"/>
                    <a:pt x="563" y="157"/>
                  </a:cubicBezTo>
                  <a:cubicBezTo>
                    <a:pt x="563" y="156"/>
                    <a:pt x="563" y="156"/>
                    <a:pt x="563" y="156"/>
                  </a:cubicBezTo>
                  <a:cubicBezTo>
                    <a:pt x="563" y="155"/>
                    <a:pt x="563" y="155"/>
                    <a:pt x="563" y="155"/>
                  </a:cubicBezTo>
                  <a:cubicBezTo>
                    <a:pt x="563" y="155"/>
                    <a:pt x="563" y="154"/>
                    <a:pt x="563" y="154"/>
                  </a:cubicBezTo>
                  <a:cubicBezTo>
                    <a:pt x="564" y="155"/>
                    <a:pt x="564" y="155"/>
                    <a:pt x="564" y="155"/>
                  </a:cubicBezTo>
                  <a:cubicBezTo>
                    <a:pt x="564" y="156"/>
                    <a:pt x="565" y="156"/>
                    <a:pt x="565" y="157"/>
                  </a:cubicBezTo>
                  <a:cubicBezTo>
                    <a:pt x="565" y="157"/>
                    <a:pt x="565" y="157"/>
                    <a:pt x="565" y="157"/>
                  </a:cubicBezTo>
                  <a:cubicBezTo>
                    <a:pt x="565" y="157"/>
                    <a:pt x="565" y="157"/>
                    <a:pt x="565" y="157"/>
                  </a:cubicBezTo>
                  <a:cubicBezTo>
                    <a:pt x="565" y="157"/>
                    <a:pt x="565" y="157"/>
                    <a:pt x="565" y="157"/>
                  </a:cubicBezTo>
                  <a:cubicBezTo>
                    <a:pt x="566" y="157"/>
                    <a:pt x="566" y="157"/>
                    <a:pt x="566" y="157"/>
                  </a:cubicBezTo>
                  <a:cubicBezTo>
                    <a:pt x="566" y="157"/>
                    <a:pt x="566" y="157"/>
                    <a:pt x="566" y="157"/>
                  </a:cubicBezTo>
                  <a:cubicBezTo>
                    <a:pt x="566" y="157"/>
                    <a:pt x="566" y="157"/>
                    <a:pt x="566" y="157"/>
                  </a:cubicBezTo>
                  <a:cubicBezTo>
                    <a:pt x="566" y="157"/>
                    <a:pt x="566" y="157"/>
                    <a:pt x="566" y="157"/>
                  </a:cubicBezTo>
                  <a:cubicBezTo>
                    <a:pt x="567" y="157"/>
                    <a:pt x="567" y="157"/>
                    <a:pt x="567" y="157"/>
                  </a:cubicBezTo>
                  <a:cubicBezTo>
                    <a:pt x="567" y="157"/>
                    <a:pt x="567" y="157"/>
                    <a:pt x="567" y="157"/>
                  </a:cubicBezTo>
                  <a:cubicBezTo>
                    <a:pt x="567" y="157"/>
                    <a:pt x="567" y="157"/>
                    <a:pt x="567" y="157"/>
                  </a:cubicBezTo>
                  <a:cubicBezTo>
                    <a:pt x="568" y="157"/>
                    <a:pt x="569" y="157"/>
                    <a:pt x="570" y="157"/>
                  </a:cubicBezTo>
                  <a:cubicBezTo>
                    <a:pt x="570" y="157"/>
                    <a:pt x="571" y="157"/>
                    <a:pt x="571" y="157"/>
                  </a:cubicBezTo>
                  <a:cubicBezTo>
                    <a:pt x="573" y="156"/>
                    <a:pt x="577" y="155"/>
                    <a:pt x="579" y="153"/>
                  </a:cubicBezTo>
                  <a:cubicBezTo>
                    <a:pt x="580" y="152"/>
                    <a:pt x="581" y="148"/>
                    <a:pt x="582" y="146"/>
                  </a:cubicBezTo>
                  <a:cubicBezTo>
                    <a:pt x="582" y="145"/>
                    <a:pt x="582" y="145"/>
                    <a:pt x="582" y="145"/>
                  </a:cubicBezTo>
                  <a:cubicBezTo>
                    <a:pt x="582" y="145"/>
                    <a:pt x="582" y="145"/>
                    <a:pt x="582" y="145"/>
                  </a:cubicBezTo>
                  <a:cubicBezTo>
                    <a:pt x="583" y="145"/>
                    <a:pt x="583" y="144"/>
                    <a:pt x="584" y="144"/>
                  </a:cubicBezTo>
                  <a:cubicBezTo>
                    <a:pt x="584" y="143"/>
                    <a:pt x="584" y="142"/>
                    <a:pt x="584" y="142"/>
                  </a:cubicBezTo>
                  <a:cubicBezTo>
                    <a:pt x="584" y="141"/>
                    <a:pt x="584" y="141"/>
                    <a:pt x="584" y="141"/>
                  </a:cubicBezTo>
                  <a:cubicBezTo>
                    <a:pt x="585" y="140"/>
                    <a:pt x="585" y="140"/>
                    <a:pt x="585" y="140"/>
                  </a:cubicBezTo>
                  <a:cubicBezTo>
                    <a:pt x="585" y="140"/>
                    <a:pt x="586" y="140"/>
                    <a:pt x="586" y="139"/>
                  </a:cubicBezTo>
                  <a:cubicBezTo>
                    <a:pt x="586" y="139"/>
                    <a:pt x="586" y="139"/>
                    <a:pt x="586" y="139"/>
                  </a:cubicBezTo>
                  <a:cubicBezTo>
                    <a:pt x="586" y="139"/>
                    <a:pt x="586" y="139"/>
                    <a:pt x="586" y="139"/>
                  </a:cubicBezTo>
                  <a:cubicBezTo>
                    <a:pt x="586" y="139"/>
                    <a:pt x="586" y="138"/>
                    <a:pt x="586" y="138"/>
                  </a:cubicBezTo>
                  <a:cubicBezTo>
                    <a:pt x="586" y="138"/>
                    <a:pt x="586" y="138"/>
                    <a:pt x="586" y="138"/>
                  </a:cubicBezTo>
                  <a:cubicBezTo>
                    <a:pt x="586" y="137"/>
                    <a:pt x="586" y="137"/>
                    <a:pt x="586" y="136"/>
                  </a:cubicBezTo>
                  <a:cubicBezTo>
                    <a:pt x="587" y="136"/>
                    <a:pt x="587" y="136"/>
                    <a:pt x="587" y="136"/>
                  </a:cubicBezTo>
                  <a:cubicBezTo>
                    <a:pt x="587" y="136"/>
                    <a:pt x="587" y="136"/>
                    <a:pt x="587" y="136"/>
                  </a:cubicBezTo>
                  <a:cubicBezTo>
                    <a:pt x="587" y="135"/>
                    <a:pt x="587" y="134"/>
                    <a:pt x="587" y="133"/>
                  </a:cubicBezTo>
                  <a:cubicBezTo>
                    <a:pt x="588" y="132"/>
                    <a:pt x="588" y="131"/>
                    <a:pt x="589" y="130"/>
                  </a:cubicBezTo>
                  <a:cubicBezTo>
                    <a:pt x="589" y="129"/>
                    <a:pt x="589" y="129"/>
                    <a:pt x="589" y="128"/>
                  </a:cubicBezTo>
                  <a:cubicBezTo>
                    <a:pt x="589" y="128"/>
                    <a:pt x="589" y="128"/>
                    <a:pt x="589" y="128"/>
                  </a:cubicBezTo>
                  <a:cubicBezTo>
                    <a:pt x="589" y="127"/>
                    <a:pt x="589" y="127"/>
                    <a:pt x="589" y="126"/>
                  </a:cubicBezTo>
                  <a:cubicBezTo>
                    <a:pt x="588" y="126"/>
                    <a:pt x="588" y="126"/>
                    <a:pt x="586" y="126"/>
                  </a:cubicBezTo>
                  <a:cubicBezTo>
                    <a:pt x="583" y="125"/>
                    <a:pt x="580" y="124"/>
                    <a:pt x="577" y="124"/>
                  </a:cubicBezTo>
                  <a:cubicBezTo>
                    <a:pt x="576" y="123"/>
                    <a:pt x="574" y="123"/>
                    <a:pt x="572" y="123"/>
                  </a:cubicBezTo>
                  <a:cubicBezTo>
                    <a:pt x="571" y="123"/>
                    <a:pt x="571" y="123"/>
                    <a:pt x="571" y="123"/>
                  </a:cubicBezTo>
                  <a:cubicBezTo>
                    <a:pt x="571" y="123"/>
                    <a:pt x="571" y="123"/>
                    <a:pt x="571" y="123"/>
                  </a:cubicBezTo>
                  <a:cubicBezTo>
                    <a:pt x="569" y="123"/>
                    <a:pt x="567" y="123"/>
                    <a:pt x="567" y="124"/>
                  </a:cubicBezTo>
                  <a:cubicBezTo>
                    <a:pt x="566" y="125"/>
                    <a:pt x="566" y="125"/>
                    <a:pt x="566" y="125"/>
                  </a:cubicBezTo>
                  <a:cubicBezTo>
                    <a:pt x="566" y="125"/>
                    <a:pt x="566" y="125"/>
                    <a:pt x="566" y="125"/>
                  </a:cubicBezTo>
                  <a:cubicBezTo>
                    <a:pt x="565" y="125"/>
                    <a:pt x="565" y="125"/>
                    <a:pt x="565" y="125"/>
                  </a:cubicBezTo>
                  <a:cubicBezTo>
                    <a:pt x="559" y="124"/>
                    <a:pt x="553" y="123"/>
                    <a:pt x="548" y="123"/>
                  </a:cubicBezTo>
                  <a:cubicBezTo>
                    <a:pt x="548" y="123"/>
                    <a:pt x="548" y="123"/>
                    <a:pt x="548" y="123"/>
                  </a:cubicBezTo>
                  <a:cubicBezTo>
                    <a:pt x="548" y="123"/>
                    <a:pt x="548" y="123"/>
                    <a:pt x="548" y="123"/>
                  </a:cubicBezTo>
                  <a:cubicBezTo>
                    <a:pt x="547" y="122"/>
                    <a:pt x="546" y="122"/>
                    <a:pt x="545" y="122"/>
                  </a:cubicBezTo>
                  <a:cubicBezTo>
                    <a:pt x="544" y="122"/>
                    <a:pt x="543" y="122"/>
                    <a:pt x="542" y="122"/>
                  </a:cubicBezTo>
                  <a:cubicBezTo>
                    <a:pt x="542" y="122"/>
                    <a:pt x="542" y="122"/>
                    <a:pt x="541" y="122"/>
                  </a:cubicBezTo>
                  <a:cubicBezTo>
                    <a:pt x="540" y="123"/>
                    <a:pt x="539" y="123"/>
                    <a:pt x="538" y="124"/>
                  </a:cubicBezTo>
                  <a:cubicBezTo>
                    <a:pt x="536" y="126"/>
                    <a:pt x="535" y="128"/>
                    <a:pt x="536" y="131"/>
                  </a:cubicBezTo>
                  <a:cubicBezTo>
                    <a:pt x="536" y="132"/>
                    <a:pt x="536" y="132"/>
                    <a:pt x="536" y="132"/>
                  </a:cubicBezTo>
                  <a:cubicBezTo>
                    <a:pt x="537" y="133"/>
                    <a:pt x="537" y="133"/>
                    <a:pt x="537" y="133"/>
                  </a:cubicBezTo>
                  <a:cubicBezTo>
                    <a:pt x="537" y="133"/>
                    <a:pt x="537" y="133"/>
                    <a:pt x="537" y="133"/>
                  </a:cubicBezTo>
                  <a:cubicBezTo>
                    <a:pt x="538" y="134"/>
                    <a:pt x="538" y="134"/>
                    <a:pt x="539" y="135"/>
                  </a:cubicBezTo>
                  <a:cubicBezTo>
                    <a:pt x="537" y="135"/>
                    <a:pt x="535" y="134"/>
                    <a:pt x="535" y="132"/>
                  </a:cubicBezTo>
                  <a:cubicBezTo>
                    <a:pt x="535" y="133"/>
                    <a:pt x="534" y="133"/>
                    <a:pt x="534" y="134"/>
                  </a:cubicBezTo>
                  <a:cubicBezTo>
                    <a:pt x="534" y="135"/>
                    <a:pt x="534" y="135"/>
                    <a:pt x="534" y="135"/>
                  </a:cubicBezTo>
                  <a:cubicBezTo>
                    <a:pt x="534" y="135"/>
                    <a:pt x="533" y="136"/>
                    <a:pt x="533" y="136"/>
                  </a:cubicBezTo>
                  <a:cubicBezTo>
                    <a:pt x="533" y="137"/>
                    <a:pt x="533" y="137"/>
                    <a:pt x="533" y="137"/>
                  </a:cubicBezTo>
                  <a:cubicBezTo>
                    <a:pt x="533" y="138"/>
                    <a:pt x="533" y="138"/>
                    <a:pt x="533" y="139"/>
                  </a:cubicBezTo>
                  <a:cubicBezTo>
                    <a:pt x="533" y="139"/>
                    <a:pt x="533" y="139"/>
                    <a:pt x="533" y="139"/>
                  </a:cubicBezTo>
                  <a:cubicBezTo>
                    <a:pt x="534" y="140"/>
                    <a:pt x="534" y="140"/>
                    <a:pt x="534" y="140"/>
                  </a:cubicBezTo>
                  <a:cubicBezTo>
                    <a:pt x="534" y="141"/>
                    <a:pt x="534" y="141"/>
                    <a:pt x="534" y="141"/>
                  </a:cubicBezTo>
                  <a:cubicBezTo>
                    <a:pt x="534" y="141"/>
                    <a:pt x="534" y="141"/>
                    <a:pt x="534" y="141"/>
                  </a:cubicBezTo>
                  <a:cubicBezTo>
                    <a:pt x="534" y="141"/>
                    <a:pt x="534" y="141"/>
                    <a:pt x="534" y="141"/>
                  </a:cubicBezTo>
                  <a:cubicBezTo>
                    <a:pt x="534" y="142"/>
                    <a:pt x="534" y="142"/>
                    <a:pt x="534" y="142"/>
                  </a:cubicBezTo>
                  <a:cubicBezTo>
                    <a:pt x="535" y="142"/>
                    <a:pt x="535" y="142"/>
                    <a:pt x="535" y="142"/>
                  </a:cubicBezTo>
                  <a:cubicBezTo>
                    <a:pt x="535" y="143"/>
                    <a:pt x="535" y="143"/>
                    <a:pt x="535" y="143"/>
                  </a:cubicBezTo>
                  <a:cubicBezTo>
                    <a:pt x="536" y="143"/>
                    <a:pt x="536" y="144"/>
                    <a:pt x="537" y="144"/>
                  </a:cubicBezTo>
                  <a:cubicBezTo>
                    <a:pt x="538" y="144"/>
                    <a:pt x="539" y="143"/>
                    <a:pt x="540" y="143"/>
                  </a:cubicBezTo>
                  <a:cubicBezTo>
                    <a:pt x="540" y="143"/>
                    <a:pt x="540" y="143"/>
                    <a:pt x="540" y="143"/>
                  </a:cubicBezTo>
                  <a:cubicBezTo>
                    <a:pt x="540" y="144"/>
                    <a:pt x="540" y="144"/>
                    <a:pt x="540" y="144"/>
                  </a:cubicBezTo>
                  <a:cubicBezTo>
                    <a:pt x="539" y="144"/>
                    <a:pt x="539" y="144"/>
                    <a:pt x="539" y="144"/>
                  </a:cubicBezTo>
                  <a:cubicBezTo>
                    <a:pt x="538" y="145"/>
                    <a:pt x="537" y="146"/>
                    <a:pt x="536" y="146"/>
                  </a:cubicBezTo>
                  <a:cubicBezTo>
                    <a:pt x="536" y="146"/>
                    <a:pt x="535" y="145"/>
                    <a:pt x="534" y="145"/>
                  </a:cubicBezTo>
                  <a:cubicBezTo>
                    <a:pt x="534" y="145"/>
                    <a:pt x="534" y="145"/>
                    <a:pt x="534" y="145"/>
                  </a:cubicBezTo>
                  <a:cubicBezTo>
                    <a:pt x="534" y="145"/>
                    <a:pt x="534" y="145"/>
                    <a:pt x="534" y="145"/>
                  </a:cubicBezTo>
                  <a:cubicBezTo>
                    <a:pt x="534" y="145"/>
                    <a:pt x="534" y="145"/>
                    <a:pt x="534" y="145"/>
                  </a:cubicBezTo>
                  <a:cubicBezTo>
                    <a:pt x="533" y="145"/>
                    <a:pt x="533" y="145"/>
                    <a:pt x="533" y="145"/>
                  </a:cubicBezTo>
                  <a:cubicBezTo>
                    <a:pt x="533" y="145"/>
                    <a:pt x="533" y="148"/>
                    <a:pt x="534" y="150"/>
                  </a:cubicBezTo>
                  <a:cubicBezTo>
                    <a:pt x="535" y="151"/>
                    <a:pt x="535" y="152"/>
                    <a:pt x="535" y="152"/>
                  </a:cubicBezTo>
                  <a:cubicBezTo>
                    <a:pt x="536" y="154"/>
                    <a:pt x="538" y="157"/>
                    <a:pt x="539" y="159"/>
                  </a:cubicBezTo>
                  <a:cubicBezTo>
                    <a:pt x="540" y="160"/>
                    <a:pt x="540" y="160"/>
                    <a:pt x="540" y="161"/>
                  </a:cubicBezTo>
                  <a:cubicBezTo>
                    <a:pt x="539" y="160"/>
                    <a:pt x="537" y="160"/>
                    <a:pt x="535" y="159"/>
                  </a:cubicBezTo>
                  <a:cubicBezTo>
                    <a:pt x="535" y="159"/>
                    <a:pt x="535" y="159"/>
                    <a:pt x="535" y="159"/>
                  </a:cubicBezTo>
                  <a:cubicBezTo>
                    <a:pt x="535" y="159"/>
                    <a:pt x="535" y="159"/>
                    <a:pt x="535" y="159"/>
                  </a:cubicBezTo>
                  <a:cubicBezTo>
                    <a:pt x="535" y="159"/>
                    <a:pt x="535" y="159"/>
                    <a:pt x="535" y="159"/>
                  </a:cubicBezTo>
                  <a:cubicBezTo>
                    <a:pt x="535" y="155"/>
                    <a:pt x="533" y="152"/>
                    <a:pt x="533" y="148"/>
                  </a:cubicBezTo>
                  <a:cubicBezTo>
                    <a:pt x="533" y="145"/>
                    <a:pt x="532" y="140"/>
                    <a:pt x="530" y="140"/>
                  </a:cubicBezTo>
                  <a:cubicBezTo>
                    <a:pt x="530" y="140"/>
                    <a:pt x="529" y="140"/>
                    <a:pt x="529" y="141"/>
                  </a:cubicBezTo>
                  <a:cubicBezTo>
                    <a:pt x="528" y="141"/>
                    <a:pt x="527" y="143"/>
                    <a:pt x="526" y="144"/>
                  </a:cubicBezTo>
                  <a:cubicBezTo>
                    <a:pt x="524" y="145"/>
                    <a:pt x="523" y="146"/>
                    <a:pt x="522" y="147"/>
                  </a:cubicBezTo>
                  <a:cubicBezTo>
                    <a:pt x="519" y="149"/>
                    <a:pt x="516" y="150"/>
                    <a:pt x="513" y="151"/>
                  </a:cubicBezTo>
                  <a:cubicBezTo>
                    <a:pt x="513" y="152"/>
                    <a:pt x="512" y="152"/>
                    <a:pt x="512" y="152"/>
                  </a:cubicBezTo>
                  <a:cubicBezTo>
                    <a:pt x="512" y="152"/>
                    <a:pt x="511" y="152"/>
                    <a:pt x="511" y="152"/>
                  </a:cubicBezTo>
                  <a:cubicBezTo>
                    <a:pt x="508" y="154"/>
                    <a:pt x="503" y="158"/>
                    <a:pt x="500" y="158"/>
                  </a:cubicBezTo>
                  <a:cubicBezTo>
                    <a:pt x="500" y="158"/>
                    <a:pt x="499" y="158"/>
                    <a:pt x="499" y="157"/>
                  </a:cubicBezTo>
                  <a:cubicBezTo>
                    <a:pt x="499" y="156"/>
                    <a:pt x="499" y="155"/>
                    <a:pt x="498" y="154"/>
                  </a:cubicBezTo>
                  <a:cubicBezTo>
                    <a:pt x="498" y="154"/>
                    <a:pt x="497" y="154"/>
                    <a:pt x="497" y="154"/>
                  </a:cubicBezTo>
                  <a:cubicBezTo>
                    <a:pt x="494" y="154"/>
                    <a:pt x="490" y="155"/>
                    <a:pt x="489" y="156"/>
                  </a:cubicBezTo>
                  <a:cubicBezTo>
                    <a:pt x="489" y="153"/>
                    <a:pt x="497" y="151"/>
                    <a:pt x="499" y="150"/>
                  </a:cubicBezTo>
                  <a:cubicBezTo>
                    <a:pt x="501" y="150"/>
                    <a:pt x="502" y="150"/>
                    <a:pt x="503" y="150"/>
                  </a:cubicBezTo>
                  <a:cubicBezTo>
                    <a:pt x="503" y="150"/>
                    <a:pt x="503" y="150"/>
                    <a:pt x="503" y="150"/>
                  </a:cubicBezTo>
                  <a:cubicBezTo>
                    <a:pt x="504" y="151"/>
                    <a:pt x="504" y="151"/>
                    <a:pt x="505" y="151"/>
                  </a:cubicBezTo>
                  <a:cubicBezTo>
                    <a:pt x="508" y="151"/>
                    <a:pt x="508" y="145"/>
                    <a:pt x="509" y="143"/>
                  </a:cubicBezTo>
                  <a:cubicBezTo>
                    <a:pt x="513" y="137"/>
                    <a:pt x="516" y="132"/>
                    <a:pt x="520" y="127"/>
                  </a:cubicBezTo>
                  <a:cubicBezTo>
                    <a:pt x="522" y="123"/>
                    <a:pt x="524" y="121"/>
                    <a:pt x="527" y="118"/>
                  </a:cubicBezTo>
                  <a:cubicBezTo>
                    <a:pt x="535" y="111"/>
                    <a:pt x="542" y="103"/>
                    <a:pt x="549" y="96"/>
                  </a:cubicBezTo>
                  <a:cubicBezTo>
                    <a:pt x="550" y="95"/>
                    <a:pt x="555" y="92"/>
                    <a:pt x="554" y="90"/>
                  </a:cubicBezTo>
                  <a:cubicBezTo>
                    <a:pt x="554" y="90"/>
                    <a:pt x="553" y="89"/>
                    <a:pt x="553" y="89"/>
                  </a:cubicBezTo>
                  <a:cubicBezTo>
                    <a:pt x="552" y="89"/>
                    <a:pt x="550" y="90"/>
                    <a:pt x="549" y="90"/>
                  </a:cubicBezTo>
                  <a:cubicBezTo>
                    <a:pt x="554" y="88"/>
                    <a:pt x="555" y="87"/>
                    <a:pt x="555" y="83"/>
                  </a:cubicBezTo>
                  <a:cubicBezTo>
                    <a:pt x="554" y="79"/>
                    <a:pt x="553" y="78"/>
                    <a:pt x="549" y="77"/>
                  </a:cubicBezTo>
                  <a:cubicBezTo>
                    <a:pt x="548" y="76"/>
                    <a:pt x="544" y="77"/>
                    <a:pt x="543" y="76"/>
                  </a:cubicBezTo>
                  <a:cubicBezTo>
                    <a:pt x="543" y="75"/>
                    <a:pt x="543" y="75"/>
                    <a:pt x="543" y="75"/>
                  </a:cubicBezTo>
                  <a:cubicBezTo>
                    <a:pt x="543" y="75"/>
                    <a:pt x="543" y="75"/>
                    <a:pt x="543" y="75"/>
                  </a:cubicBezTo>
                  <a:cubicBezTo>
                    <a:pt x="544" y="75"/>
                    <a:pt x="545" y="74"/>
                    <a:pt x="545" y="73"/>
                  </a:cubicBezTo>
                  <a:cubicBezTo>
                    <a:pt x="545" y="72"/>
                    <a:pt x="545" y="71"/>
                    <a:pt x="544" y="71"/>
                  </a:cubicBezTo>
                  <a:cubicBezTo>
                    <a:pt x="543" y="70"/>
                    <a:pt x="543" y="70"/>
                    <a:pt x="542" y="70"/>
                  </a:cubicBezTo>
                  <a:cubicBezTo>
                    <a:pt x="542" y="70"/>
                    <a:pt x="541" y="70"/>
                    <a:pt x="541" y="70"/>
                  </a:cubicBezTo>
                  <a:cubicBezTo>
                    <a:pt x="540" y="71"/>
                    <a:pt x="540" y="71"/>
                    <a:pt x="540" y="71"/>
                  </a:cubicBezTo>
                  <a:cubicBezTo>
                    <a:pt x="540" y="71"/>
                    <a:pt x="540" y="71"/>
                    <a:pt x="540" y="71"/>
                  </a:cubicBezTo>
                  <a:cubicBezTo>
                    <a:pt x="540" y="71"/>
                    <a:pt x="540" y="72"/>
                    <a:pt x="540" y="72"/>
                  </a:cubicBezTo>
                  <a:cubicBezTo>
                    <a:pt x="539" y="71"/>
                    <a:pt x="538" y="69"/>
                    <a:pt x="537" y="69"/>
                  </a:cubicBezTo>
                  <a:cubicBezTo>
                    <a:pt x="537" y="69"/>
                    <a:pt x="537" y="69"/>
                    <a:pt x="537" y="69"/>
                  </a:cubicBezTo>
                  <a:cubicBezTo>
                    <a:pt x="536" y="69"/>
                    <a:pt x="536" y="69"/>
                    <a:pt x="535" y="69"/>
                  </a:cubicBezTo>
                  <a:cubicBezTo>
                    <a:pt x="535" y="70"/>
                    <a:pt x="535" y="70"/>
                    <a:pt x="534" y="70"/>
                  </a:cubicBezTo>
                  <a:cubicBezTo>
                    <a:pt x="534" y="70"/>
                    <a:pt x="534" y="69"/>
                    <a:pt x="534" y="68"/>
                  </a:cubicBezTo>
                  <a:cubicBezTo>
                    <a:pt x="535" y="69"/>
                    <a:pt x="535" y="69"/>
                    <a:pt x="535" y="69"/>
                  </a:cubicBezTo>
                  <a:cubicBezTo>
                    <a:pt x="534" y="61"/>
                    <a:pt x="530" y="52"/>
                    <a:pt x="528" y="44"/>
                  </a:cubicBezTo>
                  <a:cubicBezTo>
                    <a:pt x="527" y="39"/>
                    <a:pt x="528" y="33"/>
                    <a:pt x="526" y="27"/>
                  </a:cubicBezTo>
                  <a:cubicBezTo>
                    <a:pt x="525" y="29"/>
                    <a:pt x="525" y="31"/>
                    <a:pt x="524" y="33"/>
                  </a:cubicBezTo>
                  <a:cubicBezTo>
                    <a:pt x="525" y="27"/>
                    <a:pt x="524" y="23"/>
                    <a:pt x="520" y="19"/>
                  </a:cubicBezTo>
                  <a:cubicBezTo>
                    <a:pt x="519" y="19"/>
                    <a:pt x="516" y="16"/>
                    <a:pt x="516" y="16"/>
                  </a:cubicBezTo>
                  <a:cubicBezTo>
                    <a:pt x="516" y="16"/>
                    <a:pt x="516" y="16"/>
                    <a:pt x="516" y="16"/>
                  </a:cubicBezTo>
                  <a:cubicBezTo>
                    <a:pt x="515" y="17"/>
                    <a:pt x="516" y="21"/>
                    <a:pt x="517" y="22"/>
                  </a:cubicBezTo>
                  <a:cubicBezTo>
                    <a:pt x="516" y="21"/>
                    <a:pt x="516" y="21"/>
                    <a:pt x="515" y="20"/>
                  </a:cubicBezTo>
                  <a:cubicBezTo>
                    <a:pt x="515" y="21"/>
                    <a:pt x="515" y="21"/>
                    <a:pt x="515" y="22"/>
                  </a:cubicBezTo>
                  <a:cubicBezTo>
                    <a:pt x="517" y="23"/>
                    <a:pt x="517" y="23"/>
                    <a:pt x="517" y="23"/>
                  </a:cubicBezTo>
                  <a:cubicBezTo>
                    <a:pt x="515" y="28"/>
                    <a:pt x="515" y="28"/>
                    <a:pt x="515" y="28"/>
                  </a:cubicBezTo>
                  <a:cubicBezTo>
                    <a:pt x="511" y="33"/>
                    <a:pt x="511" y="33"/>
                    <a:pt x="511" y="33"/>
                  </a:cubicBezTo>
                  <a:cubicBezTo>
                    <a:pt x="510" y="35"/>
                    <a:pt x="509" y="36"/>
                    <a:pt x="508" y="38"/>
                  </a:cubicBezTo>
                  <a:cubicBezTo>
                    <a:pt x="505" y="41"/>
                    <a:pt x="503" y="43"/>
                    <a:pt x="502" y="46"/>
                  </a:cubicBezTo>
                  <a:cubicBezTo>
                    <a:pt x="501" y="48"/>
                    <a:pt x="501" y="48"/>
                    <a:pt x="501" y="48"/>
                  </a:cubicBezTo>
                  <a:cubicBezTo>
                    <a:pt x="500" y="48"/>
                    <a:pt x="500" y="49"/>
                    <a:pt x="500" y="50"/>
                  </a:cubicBezTo>
                  <a:cubicBezTo>
                    <a:pt x="499" y="51"/>
                    <a:pt x="499" y="51"/>
                    <a:pt x="499" y="51"/>
                  </a:cubicBezTo>
                  <a:cubicBezTo>
                    <a:pt x="499" y="53"/>
                    <a:pt x="498" y="54"/>
                    <a:pt x="497" y="56"/>
                  </a:cubicBezTo>
                  <a:cubicBezTo>
                    <a:pt x="497" y="57"/>
                    <a:pt x="497" y="57"/>
                    <a:pt x="497" y="57"/>
                  </a:cubicBezTo>
                  <a:cubicBezTo>
                    <a:pt x="496" y="57"/>
                    <a:pt x="496" y="58"/>
                    <a:pt x="496" y="59"/>
                  </a:cubicBezTo>
                  <a:cubicBezTo>
                    <a:pt x="495" y="60"/>
                    <a:pt x="495" y="62"/>
                    <a:pt x="494" y="63"/>
                  </a:cubicBezTo>
                  <a:cubicBezTo>
                    <a:pt x="494" y="63"/>
                    <a:pt x="494" y="64"/>
                    <a:pt x="494" y="64"/>
                  </a:cubicBezTo>
                  <a:cubicBezTo>
                    <a:pt x="493" y="64"/>
                    <a:pt x="493" y="64"/>
                    <a:pt x="493" y="64"/>
                  </a:cubicBezTo>
                  <a:cubicBezTo>
                    <a:pt x="492" y="66"/>
                    <a:pt x="490" y="67"/>
                    <a:pt x="489" y="69"/>
                  </a:cubicBezTo>
                  <a:cubicBezTo>
                    <a:pt x="488" y="69"/>
                    <a:pt x="488" y="69"/>
                    <a:pt x="488" y="69"/>
                  </a:cubicBezTo>
                  <a:cubicBezTo>
                    <a:pt x="488" y="70"/>
                    <a:pt x="487" y="70"/>
                    <a:pt x="486" y="70"/>
                  </a:cubicBezTo>
                  <a:cubicBezTo>
                    <a:pt x="485" y="71"/>
                    <a:pt x="484" y="71"/>
                    <a:pt x="484" y="71"/>
                  </a:cubicBezTo>
                  <a:cubicBezTo>
                    <a:pt x="483" y="72"/>
                    <a:pt x="482" y="72"/>
                    <a:pt x="482" y="72"/>
                  </a:cubicBezTo>
                  <a:cubicBezTo>
                    <a:pt x="476" y="71"/>
                    <a:pt x="476" y="71"/>
                    <a:pt x="476" y="71"/>
                  </a:cubicBezTo>
                  <a:cubicBezTo>
                    <a:pt x="475" y="71"/>
                    <a:pt x="474" y="70"/>
                    <a:pt x="473" y="69"/>
                  </a:cubicBezTo>
                  <a:cubicBezTo>
                    <a:pt x="473" y="68"/>
                    <a:pt x="473" y="68"/>
                    <a:pt x="473" y="68"/>
                  </a:cubicBezTo>
                  <a:cubicBezTo>
                    <a:pt x="473" y="68"/>
                    <a:pt x="473" y="68"/>
                    <a:pt x="473" y="68"/>
                  </a:cubicBezTo>
                  <a:cubicBezTo>
                    <a:pt x="472" y="68"/>
                    <a:pt x="471" y="69"/>
                    <a:pt x="470" y="69"/>
                  </a:cubicBezTo>
                  <a:cubicBezTo>
                    <a:pt x="466" y="69"/>
                    <a:pt x="463" y="70"/>
                    <a:pt x="460" y="71"/>
                  </a:cubicBezTo>
                  <a:cubicBezTo>
                    <a:pt x="459" y="72"/>
                    <a:pt x="459" y="72"/>
                    <a:pt x="459" y="72"/>
                  </a:cubicBezTo>
                  <a:cubicBezTo>
                    <a:pt x="459" y="72"/>
                    <a:pt x="458" y="73"/>
                    <a:pt x="457" y="73"/>
                  </a:cubicBezTo>
                  <a:cubicBezTo>
                    <a:pt x="457" y="73"/>
                    <a:pt x="457" y="73"/>
                    <a:pt x="457" y="73"/>
                  </a:cubicBezTo>
                  <a:cubicBezTo>
                    <a:pt x="456" y="73"/>
                    <a:pt x="456" y="73"/>
                    <a:pt x="455" y="73"/>
                  </a:cubicBezTo>
                  <a:cubicBezTo>
                    <a:pt x="455" y="72"/>
                    <a:pt x="455" y="72"/>
                    <a:pt x="455" y="72"/>
                  </a:cubicBezTo>
                  <a:cubicBezTo>
                    <a:pt x="455" y="73"/>
                    <a:pt x="455" y="73"/>
                    <a:pt x="455" y="73"/>
                  </a:cubicBezTo>
                  <a:cubicBezTo>
                    <a:pt x="455" y="73"/>
                    <a:pt x="455" y="73"/>
                    <a:pt x="455" y="73"/>
                  </a:cubicBezTo>
                  <a:cubicBezTo>
                    <a:pt x="454" y="72"/>
                    <a:pt x="453" y="72"/>
                    <a:pt x="453" y="72"/>
                  </a:cubicBezTo>
                  <a:cubicBezTo>
                    <a:pt x="452" y="72"/>
                    <a:pt x="452" y="72"/>
                    <a:pt x="452" y="72"/>
                  </a:cubicBezTo>
                  <a:cubicBezTo>
                    <a:pt x="450" y="71"/>
                    <a:pt x="448" y="70"/>
                    <a:pt x="446" y="69"/>
                  </a:cubicBezTo>
                  <a:cubicBezTo>
                    <a:pt x="443" y="67"/>
                    <a:pt x="443" y="67"/>
                    <a:pt x="443" y="67"/>
                  </a:cubicBezTo>
                  <a:cubicBezTo>
                    <a:pt x="441" y="66"/>
                    <a:pt x="441" y="66"/>
                    <a:pt x="441" y="66"/>
                  </a:cubicBezTo>
                  <a:cubicBezTo>
                    <a:pt x="441" y="66"/>
                    <a:pt x="441" y="66"/>
                    <a:pt x="441" y="66"/>
                  </a:cubicBezTo>
                  <a:cubicBezTo>
                    <a:pt x="439" y="65"/>
                    <a:pt x="439" y="65"/>
                    <a:pt x="439" y="65"/>
                  </a:cubicBezTo>
                  <a:cubicBezTo>
                    <a:pt x="435" y="62"/>
                    <a:pt x="435" y="62"/>
                    <a:pt x="435" y="62"/>
                  </a:cubicBezTo>
                  <a:cubicBezTo>
                    <a:pt x="434" y="62"/>
                    <a:pt x="433" y="63"/>
                    <a:pt x="432" y="63"/>
                  </a:cubicBezTo>
                  <a:cubicBezTo>
                    <a:pt x="430" y="64"/>
                    <a:pt x="428" y="65"/>
                    <a:pt x="425" y="65"/>
                  </a:cubicBezTo>
                  <a:cubicBezTo>
                    <a:pt x="425" y="65"/>
                    <a:pt x="425" y="65"/>
                    <a:pt x="425" y="65"/>
                  </a:cubicBezTo>
                  <a:cubicBezTo>
                    <a:pt x="424" y="65"/>
                    <a:pt x="424" y="65"/>
                    <a:pt x="424" y="65"/>
                  </a:cubicBezTo>
                  <a:cubicBezTo>
                    <a:pt x="423" y="65"/>
                    <a:pt x="423" y="65"/>
                    <a:pt x="422" y="65"/>
                  </a:cubicBezTo>
                  <a:cubicBezTo>
                    <a:pt x="420" y="65"/>
                    <a:pt x="417" y="65"/>
                    <a:pt x="415" y="64"/>
                  </a:cubicBezTo>
                  <a:cubicBezTo>
                    <a:pt x="414" y="65"/>
                    <a:pt x="414" y="66"/>
                    <a:pt x="414" y="66"/>
                  </a:cubicBezTo>
                  <a:cubicBezTo>
                    <a:pt x="415" y="67"/>
                    <a:pt x="415" y="67"/>
                    <a:pt x="415" y="67"/>
                  </a:cubicBezTo>
                  <a:cubicBezTo>
                    <a:pt x="415" y="68"/>
                    <a:pt x="416" y="69"/>
                    <a:pt x="417" y="70"/>
                  </a:cubicBezTo>
                  <a:cubicBezTo>
                    <a:pt x="418" y="71"/>
                    <a:pt x="418" y="72"/>
                    <a:pt x="417" y="73"/>
                  </a:cubicBezTo>
                  <a:cubicBezTo>
                    <a:pt x="417" y="75"/>
                    <a:pt x="417" y="77"/>
                    <a:pt x="416" y="78"/>
                  </a:cubicBezTo>
                  <a:cubicBezTo>
                    <a:pt x="415" y="78"/>
                    <a:pt x="415" y="78"/>
                    <a:pt x="414" y="78"/>
                  </a:cubicBezTo>
                  <a:cubicBezTo>
                    <a:pt x="414" y="78"/>
                    <a:pt x="414" y="78"/>
                    <a:pt x="414" y="78"/>
                  </a:cubicBezTo>
                  <a:cubicBezTo>
                    <a:pt x="413" y="79"/>
                    <a:pt x="413" y="79"/>
                    <a:pt x="413" y="79"/>
                  </a:cubicBezTo>
                  <a:cubicBezTo>
                    <a:pt x="413" y="79"/>
                    <a:pt x="413" y="79"/>
                    <a:pt x="413" y="79"/>
                  </a:cubicBezTo>
                  <a:cubicBezTo>
                    <a:pt x="412" y="79"/>
                    <a:pt x="412" y="79"/>
                    <a:pt x="412" y="79"/>
                  </a:cubicBezTo>
                  <a:cubicBezTo>
                    <a:pt x="412" y="79"/>
                    <a:pt x="412" y="79"/>
                    <a:pt x="412" y="79"/>
                  </a:cubicBezTo>
                  <a:cubicBezTo>
                    <a:pt x="412" y="79"/>
                    <a:pt x="411" y="78"/>
                    <a:pt x="410" y="78"/>
                  </a:cubicBezTo>
                  <a:cubicBezTo>
                    <a:pt x="407" y="78"/>
                    <a:pt x="407" y="78"/>
                    <a:pt x="407" y="78"/>
                  </a:cubicBezTo>
                  <a:cubicBezTo>
                    <a:pt x="405" y="78"/>
                    <a:pt x="402" y="77"/>
                    <a:pt x="400" y="76"/>
                  </a:cubicBezTo>
                  <a:cubicBezTo>
                    <a:pt x="400" y="76"/>
                    <a:pt x="400" y="76"/>
                    <a:pt x="400" y="76"/>
                  </a:cubicBezTo>
                  <a:cubicBezTo>
                    <a:pt x="399" y="77"/>
                    <a:pt x="399" y="77"/>
                    <a:pt x="399" y="77"/>
                  </a:cubicBezTo>
                  <a:cubicBezTo>
                    <a:pt x="399" y="77"/>
                    <a:pt x="399" y="77"/>
                    <a:pt x="399" y="77"/>
                  </a:cubicBezTo>
                  <a:cubicBezTo>
                    <a:pt x="398" y="77"/>
                    <a:pt x="398" y="77"/>
                    <a:pt x="398" y="77"/>
                  </a:cubicBezTo>
                  <a:cubicBezTo>
                    <a:pt x="397" y="77"/>
                    <a:pt x="397" y="77"/>
                    <a:pt x="397" y="77"/>
                  </a:cubicBezTo>
                  <a:cubicBezTo>
                    <a:pt x="397" y="77"/>
                    <a:pt x="396" y="77"/>
                    <a:pt x="395" y="77"/>
                  </a:cubicBezTo>
                  <a:cubicBezTo>
                    <a:pt x="395" y="77"/>
                    <a:pt x="395" y="77"/>
                    <a:pt x="395" y="77"/>
                  </a:cubicBezTo>
                  <a:cubicBezTo>
                    <a:pt x="395" y="77"/>
                    <a:pt x="394" y="77"/>
                    <a:pt x="394" y="77"/>
                  </a:cubicBezTo>
                  <a:cubicBezTo>
                    <a:pt x="393" y="77"/>
                    <a:pt x="393" y="77"/>
                    <a:pt x="392" y="77"/>
                  </a:cubicBezTo>
                  <a:cubicBezTo>
                    <a:pt x="392" y="77"/>
                    <a:pt x="392" y="77"/>
                    <a:pt x="392" y="77"/>
                  </a:cubicBezTo>
                  <a:cubicBezTo>
                    <a:pt x="391" y="77"/>
                    <a:pt x="391" y="77"/>
                    <a:pt x="391" y="77"/>
                  </a:cubicBezTo>
                  <a:cubicBezTo>
                    <a:pt x="389" y="77"/>
                    <a:pt x="388" y="77"/>
                    <a:pt x="387" y="76"/>
                  </a:cubicBezTo>
                  <a:cubicBezTo>
                    <a:pt x="385" y="76"/>
                    <a:pt x="385" y="76"/>
                    <a:pt x="385" y="76"/>
                  </a:cubicBezTo>
                  <a:cubicBezTo>
                    <a:pt x="384" y="76"/>
                    <a:pt x="383" y="76"/>
                    <a:pt x="383" y="77"/>
                  </a:cubicBezTo>
                  <a:cubicBezTo>
                    <a:pt x="379" y="82"/>
                    <a:pt x="375" y="83"/>
                    <a:pt x="375" y="83"/>
                  </a:cubicBezTo>
                  <a:cubicBezTo>
                    <a:pt x="375" y="83"/>
                    <a:pt x="375" y="83"/>
                    <a:pt x="374" y="83"/>
                  </a:cubicBezTo>
                  <a:cubicBezTo>
                    <a:pt x="373" y="84"/>
                    <a:pt x="368" y="85"/>
                    <a:pt x="358" y="87"/>
                  </a:cubicBezTo>
                  <a:cubicBezTo>
                    <a:pt x="358" y="88"/>
                    <a:pt x="358" y="89"/>
                    <a:pt x="358" y="89"/>
                  </a:cubicBezTo>
                  <a:cubicBezTo>
                    <a:pt x="357" y="91"/>
                    <a:pt x="355" y="92"/>
                    <a:pt x="351" y="94"/>
                  </a:cubicBezTo>
                  <a:cubicBezTo>
                    <a:pt x="350" y="94"/>
                    <a:pt x="349" y="94"/>
                    <a:pt x="348" y="94"/>
                  </a:cubicBezTo>
                  <a:cubicBezTo>
                    <a:pt x="347" y="94"/>
                    <a:pt x="347" y="94"/>
                    <a:pt x="346" y="94"/>
                  </a:cubicBezTo>
                  <a:cubicBezTo>
                    <a:pt x="346" y="94"/>
                    <a:pt x="346" y="94"/>
                    <a:pt x="346" y="94"/>
                  </a:cubicBezTo>
                  <a:cubicBezTo>
                    <a:pt x="345" y="93"/>
                    <a:pt x="345" y="93"/>
                    <a:pt x="344" y="93"/>
                  </a:cubicBezTo>
                  <a:cubicBezTo>
                    <a:pt x="344" y="93"/>
                    <a:pt x="344" y="93"/>
                    <a:pt x="344" y="93"/>
                  </a:cubicBezTo>
                  <a:cubicBezTo>
                    <a:pt x="344" y="92"/>
                    <a:pt x="343" y="92"/>
                    <a:pt x="343" y="92"/>
                  </a:cubicBezTo>
                  <a:cubicBezTo>
                    <a:pt x="342" y="91"/>
                    <a:pt x="342" y="91"/>
                    <a:pt x="341" y="91"/>
                  </a:cubicBezTo>
                  <a:cubicBezTo>
                    <a:pt x="336" y="90"/>
                    <a:pt x="333" y="87"/>
                    <a:pt x="332" y="85"/>
                  </a:cubicBezTo>
                  <a:cubicBezTo>
                    <a:pt x="331" y="85"/>
                    <a:pt x="331" y="85"/>
                    <a:pt x="331" y="85"/>
                  </a:cubicBezTo>
                  <a:cubicBezTo>
                    <a:pt x="330" y="84"/>
                    <a:pt x="325" y="80"/>
                    <a:pt x="324" y="74"/>
                  </a:cubicBezTo>
                  <a:cubicBezTo>
                    <a:pt x="324" y="68"/>
                    <a:pt x="321" y="66"/>
                    <a:pt x="321" y="66"/>
                  </a:cubicBezTo>
                  <a:cubicBezTo>
                    <a:pt x="321" y="66"/>
                    <a:pt x="321" y="66"/>
                    <a:pt x="321" y="66"/>
                  </a:cubicBezTo>
                  <a:cubicBezTo>
                    <a:pt x="320" y="65"/>
                    <a:pt x="319" y="64"/>
                    <a:pt x="319" y="61"/>
                  </a:cubicBezTo>
                  <a:cubicBezTo>
                    <a:pt x="317" y="58"/>
                    <a:pt x="317" y="52"/>
                    <a:pt x="320" y="43"/>
                  </a:cubicBezTo>
                  <a:cubicBezTo>
                    <a:pt x="320" y="43"/>
                    <a:pt x="324" y="32"/>
                    <a:pt x="326" y="30"/>
                  </a:cubicBezTo>
                  <a:cubicBezTo>
                    <a:pt x="327" y="30"/>
                    <a:pt x="327" y="29"/>
                    <a:pt x="328" y="29"/>
                  </a:cubicBezTo>
                  <a:cubicBezTo>
                    <a:pt x="324" y="25"/>
                    <a:pt x="323" y="22"/>
                    <a:pt x="324" y="18"/>
                  </a:cubicBezTo>
                  <a:cubicBezTo>
                    <a:pt x="322" y="18"/>
                    <a:pt x="320" y="17"/>
                    <a:pt x="317" y="17"/>
                  </a:cubicBezTo>
                  <a:cubicBezTo>
                    <a:pt x="312" y="17"/>
                    <a:pt x="312" y="17"/>
                    <a:pt x="312" y="17"/>
                  </a:cubicBezTo>
                  <a:cubicBezTo>
                    <a:pt x="314" y="13"/>
                    <a:pt x="314" y="13"/>
                    <a:pt x="314" y="13"/>
                  </a:cubicBezTo>
                  <a:cubicBezTo>
                    <a:pt x="317" y="7"/>
                    <a:pt x="318" y="3"/>
                    <a:pt x="316" y="2"/>
                  </a:cubicBezTo>
                  <a:cubicBezTo>
                    <a:pt x="316" y="1"/>
                    <a:pt x="316" y="1"/>
                    <a:pt x="315" y="1"/>
                  </a:cubicBezTo>
                  <a:cubicBezTo>
                    <a:pt x="315" y="1"/>
                    <a:pt x="315" y="1"/>
                    <a:pt x="315" y="1"/>
                  </a:cubicBezTo>
                  <a:cubicBezTo>
                    <a:pt x="314" y="0"/>
                    <a:pt x="313" y="0"/>
                    <a:pt x="313" y="0"/>
                  </a:cubicBezTo>
                  <a:cubicBezTo>
                    <a:pt x="312" y="0"/>
                    <a:pt x="312" y="0"/>
                    <a:pt x="312" y="0"/>
                  </a:cubicBezTo>
                  <a:cubicBezTo>
                    <a:pt x="312" y="0"/>
                    <a:pt x="312" y="0"/>
                    <a:pt x="3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2" name="Freeform 243">
              <a:extLst>
                <a:ext uri="{FF2B5EF4-FFF2-40B4-BE49-F238E27FC236}">
                  <a16:creationId xmlns:a16="http://schemas.microsoft.com/office/drawing/2014/main" id="{436B8FEC-4EB2-4FBA-90F7-5CCFB13C483F}"/>
                </a:ext>
              </a:extLst>
            </p:cNvPr>
            <p:cNvSpPr>
              <a:spLocks/>
            </p:cNvSpPr>
            <p:nvPr/>
          </p:nvSpPr>
          <p:spPr bwMode="auto">
            <a:xfrm>
              <a:off x="8429332" y="2770881"/>
              <a:ext cx="917975" cy="1022486"/>
            </a:xfrm>
            <a:custGeom>
              <a:avLst/>
              <a:gdLst>
                <a:gd name="T0" fmla="*/ 85 w 275"/>
                <a:gd name="T1" fmla="*/ 0 h 306"/>
                <a:gd name="T2" fmla="*/ 56 w 275"/>
                <a:gd name="T3" fmla="*/ 13 h 306"/>
                <a:gd name="T4" fmla="*/ 37 w 275"/>
                <a:gd name="T5" fmla="*/ 24 h 306"/>
                <a:gd name="T6" fmla="*/ 25 w 275"/>
                <a:gd name="T7" fmla="*/ 31 h 306"/>
                <a:gd name="T8" fmla="*/ 14 w 275"/>
                <a:gd name="T9" fmla="*/ 31 h 306"/>
                <a:gd name="T10" fmla="*/ 5 w 275"/>
                <a:gd name="T11" fmla="*/ 29 h 306"/>
                <a:gd name="T12" fmla="*/ 18 w 275"/>
                <a:gd name="T13" fmla="*/ 71 h 306"/>
                <a:gd name="T14" fmla="*/ 13 w 275"/>
                <a:gd name="T15" fmla="*/ 86 h 306"/>
                <a:gd name="T16" fmla="*/ 16 w 275"/>
                <a:gd name="T17" fmla="*/ 96 h 306"/>
                <a:gd name="T18" fmla="*/ 16 w 275"/>
                <a:gd name="T19" fmla="*/ 105 h 306"/>
                <a:gd name="T20" fmla="*/ 8 w 275"/>
                <a:gd name="T21" fmla="*/ 120 h 306"/>
                <a:gd name="T22" fmla="*/ 13 w 275"/>
                <a:gd name="T23" fmla="*/ 148 h 306"/>
                <a:gd name="T24" fmla="*/ 13 w 275"/>
                <a:gd name="T25" fmla="*/ 161 h 306"/>
                <a:gd name="T26" fmla="*/ 0 w 275"/>
                <a:gd name="T27" fmla="*/ 175 h 306"/>
                <a:gd name="T28" fmla="*/ 3 w 275"/>
                <a:gd name="T29" fmla="*/ 179 h 306"/>
                <a:gd name="T30" fmla="*/ 5 w 275"/>
                <a:gd name="T31" fmla="*/ 184 h 306"/>
                <a:gd name="T32" fmla="*/ 10 w 275"/>
                <a:gd name="T33" fmla="*/ 190 h 306"/>
                <a:gd name="T34" fmla="*/ 21 w 275"/>
                <a:gd name="T35" fmla="*/ 219 h 306"/>
                <a:gd name="T36" fmla="*/ 23 w 275"/>
                <a:gd name="T37" fmla="*/ 233 h 306"/>
                <a:gd name="T38" fmla="*/ 25 w 275"/>
                <a:gd name="T39" fmla="*/ 253 h 306"/>
                <a:gd name="T40" fmla="*/ 29 w 275"/>
                <a:gd name="T41" fmla="*/ 263 h 306"/>
                <a:gd name="T42" fmla="*/ 34 w 275"/>
                <a:gd name="T43" fmla="*/ 273 h 306"/>
                <a:gd name="T44" fmla="*/ 36 w 275"/>
                <a:gd name="T45" fmla="*/ 284 h 306"/>
                <a:gd name="T46" fmla="*/ 40 w 275"/>
                <a:gd name="T47" fmla="*/ 298 h 306"/>
                <a:gd name="T48" fmla="*/ 53 w 275"/>
                <a:gd name="T49" fmla="*/ 306 h 306"/>
                <a:gd name="T50" fmla="*/ 72 w 275"/>
                <a:gd name="T51" fmla="*/ 289 h 306"/>
                <a:gd name="T52" fmla="*/ 74 w 275"/>
                <a:gd name="T53" fmla="*/ 280 h 306"/>
                <a:gd name="T54" fmla="*/ 102 w 275"/>
                <a:gd name="T55" fmla="*/ 289 h 306"/>
                <a:gd name="T56" fmla="*/ 126 w 275"/>
                <a:gd name="T57" fmla="*/ 289 h 306"/>
                <a:gd name="T58" fmla="*/ 137 w 275"/>
                <a:gd name="T59" fmla="*/ 286 h 306"/>
                <a:gd name="T60" fmla="*/ 154 w 275"/>
                <a:gd name="T61" fmla="*/ 286 h 306"/>
                <a:gd name="T62" fmla="*/ 159 w 275"/>
                <a:gd name="T63" fmla="*/ 286 h 306"/>
                <a:gd name="T64" fmla="*/ 166 w 275"/>
                <a:gd name="T65" fmla="*/ 260 h 306"/>
                <a:gd name="T66" fmla="*/ 172 w 275"/>
                <a:gd name="T67" fmla="*/ 243 h 306"/>
                <a:gd name="T68" fmla="*/ 204 w 275"/>
                <a:gd name="T69" fmla="*/ 225 h 306"/>
                <a:gd name="T70" fmla="*/ 235 w 275"/>
                <a:gd name="T71" fmla="*/ 220 h 306"/>
                <a:gd name="T72" fmla="*/ 263 w 275"/>
                <a:gd name="T73" fmla="*/ 232 h 306"/>
                <a:gd name="T74" fmla="*/ 271 w 275"/>
                <a:gd name="T75" fmla="*/ 214 h 306"/>
                <a:gd name="T76" fmla="*/ 275 w 275"/>
                <a:gd name="T77" fmla="*/ 197 h 306"/>
                <a:gd name="T78" fmla="*/ 271 w 275"/>
                <a:gd name="T79" fmla="*/ 187 h 306"/>
                <a:gd name="T80" fmla="*/ 257 w 275"/>
                <a:gd name="T81" fmla="*/ 154 h 306"/>
                <a:gd name="T82" fmla="*/ 214 w 275"/>
                <a:gd name="T83" fmla="*/ 147 h 306"/>
                <a:gd name="T84" fmla="*/ 207 w 275"/>
                <a:gd name="T85" fmla="*/ 121 h 306"/>
                <a:gd name="T86" fmla="*/ 210 w 275"/>
                <a:gd name="T87" fmla="*/ 110 h 306"/>
                <a:gd name="T88" fmla="*/ 207 w 275"/>
                <a:gd name="T89" fmla="*/ 96 h 306"/>
                <a:gd name="T90" fmla="*/ 196 w 275"/>
                <a:gd name="T91" fmla="*/ 88 h 306"/>
                <a:gd name="T92" fmla="*/ 183 w 275"/>
                <a:gd name="T93" fmla="*/ 89 h 306"/>
                <a:gd name="T94" fmla="*/ 170 w 275"/>
                <a:gd name="T95" fmla="*/ 81 h 306"/>
                <a:gd name="T96" fmla="*/ 151 w 275"/>
                <a:gd name="T97" fmla="*/ 73 h 306"/>
                <a:gd name="T98" fmla="*/ 147 w 275"/>
                <a:gd name="T99" fmla="*/ 68 h 306"/>
                <a:gd name="T100" fmla="*/ 133 w 275"/>
                <a:gd name="T101" fmla="*/ 64 h 306"/>
                <a:gd name="T102" fmla="*/ 126 w 275"/>
                <a:gd name="T103" fmla="*/ 65 h 306"/>
                <a:gd name="T104" fmla="*/ 112 w 275"/>
                <a:gd name="T105" fmla="*/ 57 h 306"/>
                <a:gd name="T106" fmla="*/ 93 w 275"/>
                <a:gd name="T107" fmla="*/ 32 h 306"/>
                <a:gd name="T108" fmla="*/ 93 w 275"/>
                <a:gd name="T109" fmla="*/ 22 h 306"/>
                <a:gd name="T110" fmla="*/ 94 w 275"/>
                <a:gd name="T111" fmla="*/ 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5" h="306">
                  <a:moveTo>
                    <a:pt x="95" y="0"/>
                  </a:moveTo>
                  <a:cubicBezTo>
                    <a:pt x="94" y="1"/>
                    <a:pt x="93" y="1"/>
                    <a:pt x="91" y="1"/>
                  </a:cubicBezTo>
                  <a:cubicBezTo>
                    <a:pt x="91" y="1"/>
                    <a:pt x="90" y="1"/>
                    <a:pt x="90" y="1"/>
                  </a:cubicBezTo>
                  <a:cubicBezTo>
                    <a:pt x="88" y="1"/>
                    <a:pt x="87" y="1"/>
                    <a:pt x="87" y="1"/>
                  </a:cubicBezTo>
                  <a:cubicBezTo>
                    <a:pt x="86" y="0"/>
                    <a:pt x="85" y="0"/>
                    <a:pt x="85" y="0"/>
                  </a:cubicBezTo>
                  <a:cubicBezTo>
                    <a:pt x="85" y="0"/>
                    <a:pt x="85" y="0"/>
                    <a:pt x="85" y="0"/>
                  </a:cubicBezTo>
                  <a:cubicBezTo>
                    <a:pt x="84" y="0"/>
                    <a:pt x="84" y="0"/>
                    <a:pt x="84" y="0"/>
                  </a:cubicBezTo>
                  <a:cubicBezTo>
                    <a:pt x="83" y="0"/>
                    <a:pt x="83" y="0"/>
                    <a:pt x="83" y="0"/>
                  </a:cubicBezTo>
                  <a:cubicBezTo>
                    <a:pt x="71" y="3"/>
                    <a:pt x="71" y="3"/>
                    <a:pt x="71" y="3"/>
                  </a:cubicBezTo>
                  <a:cubicBezTo>
                    <a:pt x="69" y="4"/>
                    <a:pt x="67" y="4"/>
                    <a:pt x="66" y="6"/>
                  </a:cubicBezTo>
                  <a:cubicBezTo>
                    <a:pt x="65" y="6"/>
                    <a:pt x="64" y="7"/>
                    <a:pt x="63" y="8"/>
                  </a:cubicBezTo>
                  <a:cubicBezTo>
                    <a:pt x="60" y="10"/>
                    <a:pt x="58" y="12"/>
                    <a:pt x="56" y="13"/>
                  </a:cubicBezTo>
                  <a:cubicBezTo>
                    <a:pt x="54" y="14"/>
                    <a:pt x="53" y="15"/>
                    <a:pt x="51" y="15"/>
                  </a:cubicBezTo>
                  <a:cubicBezTo>
                    <a:pt x="50" y="16"/>
                    <a:pt x="49" y="17"/>
                    <a:pt x="47" y="17"/>
                  </a:cubicBezTo>
                  <a:cubicBezTo>
                    <a:pt x="47" y="18"/>
                    <a:pt x="46" y="18"/>
                    <a:pt x="46" y="19"/>
                  </a:cubicBezTo>
                  <a:cubicBezTo>
                    <a:pt x="45" y="19"/>
                    <a:pt x="45" y="19"/>
                    <a:pt x="45" y="19"/>
                  </a:cubicBezTo>
                  <a:cubicBezTo>
                    <a:pt x="45" y="20"/>
                    <a:pt x="44" y="21"/>
                    <a:pt x="43" y="22"/>
                  </a:cubicBezTo>
                  <a:cubicBezTo>
                    <a:pt x="41" y="23"/>
                    <a:pt x="39" y="24"/>
                    <a:pt x="37" y="24"/>
                  </a:cubicBezTo>
                  <a:cubicBezTo>
                    <a:pt x="37" y="24"/>
                    <a:pt x="37" y="24"/>
                    <a:pt x="37" y="24"/>
                  </a:cubicBezTo>
                  <a:cubicBezTo>
                    <a:pt x="36" y="24"/>
                    <a:pt x="35" y="24"/>
                    <a:pt x="34" y="25"/>
                  </a:cubicBezTo>
                  <a:cubicBezTo>
                    <a:pt x="33" y="25"/>
                    <a:pt x="33" y="25"/>
                    <a:pt x="32" y="26"/>
                  </a:cubicBezTo>
                  <a:cubicBezTo>
                    <a:pt x="31" y="27"/>
                    <a:pt x="31" y="28"/>
                    <a:pt x="29" y="29"/>
                  </a:cubicBezTo>
                  <a:cubicBezTo>
                    <a:pt x="28" y="30"/>
                    <a:pt x="26" y="30"/>
                    <a:pt x="25" y="31"/>
                  </a:cubicBezTo>
                  <a:cubicBezTo>
                    <a:pt x="25" y="31"/>
                    <a:pt x="25" y="31"/>
                    <a:pt x="25" y="31"/>
                  </a:cubicBezTo>
                  <a:cubicBezTo>
                    <a:pt x="24" y="31"/>
                    <a:pt x="24" y="31"/>
                    <a:pt x="24" y="31"/>
                  </a:cubicBezTo>
                  <a:cubicBezTo>
                    <a:pt x="23" y="31"/>
                    <a:pt x="21" y="32"/>
                    <a:pt x="19" y="32"/>
                  </a:cubicBezTo>
                  <a:cubicBezTo>
                    <a:pt x="19" y="32"/>
                    <a:pt x="19" y="32"/>
                    <a:pt x="18" y="32"/>
                  </a:cubicBezTo>
                  <a:cubicBezTo>
                    <a:pt x="18" y="32"/>
                    <a:pt x="18" y="32"/>
                    <a:pt x="17" y="32"/>
                  </a:cubicBezTo>
                  <a:cubicBezTo>
                    <a:pt x="17" y="32"/>
                    <a:pt x="17" y="32"/>
                    <a:pt x="16" y="32"/>
                  </a:cubicBezTo>
                  <a:cubicBezTo>
                    <a:pt x="15" y="31"/>
                    <a:pt x="15" y="31"/>
                    <a:pt x="14" y="31"/>
                  </a:cubicBezTo>
                  <a:cubicBezTo>
                    <a:pt x="14" y="31"/>
                    <a:pt x="13" y="31"/>
                    <a:pt x="13" y="31"/>
                  </a:cubicBezTo>
                  <a:cubicBezTo>
                    <a:pt x="12" y="31"/>
                    <a:pt x="12" y="31"/>
                    <a:pt x="12" y="31"/>
                  </a:cubicBezTo>
                  <a:cubicBezTo>
                    <a:pt x="12" y="31"/>
                    <a:pt x="11" y="31"/>
                    <a:pt x="11" y="31"/>
                  </a:cubicBezTo>
                  <a:cubicBezTo>
                    <a:pt x="10" y="31"/>
                    <a:pt x="9" y="30"/>
                    <a:pt x="8" y="30"/>
                  </a:cubicBezTo>
                  <a:cubicBezTo>
                    <a:pt x="7" y="30"/>
                    <a:pt x="7" y="30"/>
                    <a:pt x="7" y="30"/>
                  </a:cubicBezTo>
                  <a:cubicBezTo>
                    <a:pt x="7" y="30"/>
                    <a:pt x="6" y="30"/>
                    <a:pt x="5" y="29"/>
                  </a:cubicBezTo>
                  <a:cubicBezTo>
                    <a:pt x="5" y="30"/>
                    <a:pt x="5" y="30"/>
                    <a:pt x="5" y="30"/>
                  </a:cubicBezTo>
                  <a:cubicBezTo>
                    <a:pt x="8" y="34"/>
                    <a:pt x="10" y="38"/>
                    <a:pt x="12" y="42"/>
                  </a:cubicBezTo>
                  <a:cubicBezTo>
                    <a:pt x="15" y="47"/>
                    <a:pt x="18" y="52"/>
                    <a:pt x="20" y="57"/>
                  </a:cubicBezTo>
                  <a:cubicBezTo>
                    <a:pt x="22" y="60"/>
                    <a:pt x="22" y="60"/>
                    <a:pt x="22" y="60"/>
                  </a:cubicBezTo>
                  <a:cubicBezTo>
                    <a:pt x="22" y="61"/>
                    <a:pt x="23" y="62"/>
                    <a:pt x="22" y="63"/>
                  </a:cubicBezTo>
                  <a:cubicBezTo>
                    <a:pt x="22" y="65"/>
                    <a:pt x="20" y="68"/>
                    <a:pt x="18" y="71"/>
                  </a:cubicBezTo>
                  <a:cubicBezTo>
                    <a:pt x="17" y="72"/>
                    <a:pt x="17" y="72"/>
                    <a:pt x="17" y="72"/>
                  </a:cubicBezTo>
                  <a:cubicBezTo>
                    <a:pt x="17" y="73"/>
                    <a:pt x="16" y="74"/>
                    <a:pt x="16" y="75"/>
                  </a:cubicBezTo>
                  <a:cubicBezTo>
                    <a:pt x="15" y="76"/>
                    <a:pt x="15" y="78"/>
                    <a:pt x="15" y="80"/>
                  </a:cubicBezTo>
                  <a:cubicBezTo>
                    <a:pt x="15" y="81"/>
                    <a:pt x="14" y="82"/>
                    <a:pt x="14" y="83"/>
                  </a:cubicBezTo>
                  <a:cubicBezTo>
                    <a:pt x="14" y="84"/>
                    <a:pt x="13" y="85"/>
                    <a:pt x="13" y="86"/>
                  </a:cubicBezTo>
                  <a:cubicBezTo>
                    <a:pt x="13" y="86"/>
                    <a:pt x="13" y="86"/>
                    <a:pt x="13" y="86"/>
                  </a:cubicBezTo>
                  <a:cubicBezTo>
                    <a:pt x="13" y="87"/>
                    <a:pt x="13" y="87"/>
                    <a:pt x="13" y="88"/>
                  </a:cubicBezTo>
                  <a:cubicBezTo>
                    <a:pt x="13" y="89"/>
                    <a:pt x="13" y="89"/>
                    <a:pt x="13" y="89"/>
                  </a:cubicBezTo>
                  <a:cubicBezTo>
                    <a:pt x="14" y="90"/>
                    <a:pt x="14" y="90"/>
                    <a:pt x="14" y="90"/>
                  </a:cubicBezTo>
                  <a:cubicBezTo>
                    <a:pt x="14" y="91"/>
                    <a:pt x="14" y="92"/>
                    <a:pt x="15" y="93"/>
                  </a:cubicBezTo>
                  <a:cubicBezTo>
                    <a:pt x="15" y="94"/>
                    <a:pt x="15" y="94"/>
                    <a:pt x="15" y="94"/>
                  </a:cubicBezTo>
                  <a:cubicBezTo>
                    <a:pt x="16" y="96"/>
                    <a:pt x="16" y="96"/>
                    <a:pt x="16" y="96"/>
                  </a:cubicBezTo>
                  <a:cubicBezTo>
                    <a:pt x="16" y="97"/>
                    <a:pt x="17" y="98"/>
                    <a:pt x="17" y="99"/>
                  </a:cubicBezTo>
                  <a:cubicBezTo>
                    <a:pt x="18" y="100"/>
                    <a:pt x="18" y="100"/>
                    <a:pt x="18" y="100"/>
                  </a:cubicBezTo>
                  <a:cubicBezTo>
                    <a:pt x="18" y="102"/>
                    <a:pt x="18" y="102"/>
                    <a:pt x="18" y="102"/>
                  </a:cubicBezTo>
                  <a:cubicBezTo>
                    <a:pt x="18" y="103"/>
                    <a:pt x="18" y="103"/>
                    <a:pt x="18" y="103"/>
                  </a:cubicBezTo>
                  <a:cubicBezTo>
                    <a:pt x="17" y="104"/>
                    <a:pt x="17" y="104"/>
                    <a:pt x="16" y="105"/>
                  </a:cubicBezTo>
                  <a:cubicBezTo>
                    <a:pt x="16" y="105"/>
                    <a:pt x="16" y="105"/>
                    <a:pt x="16" y="105"/>
                  </a:cubicBezTo>
                  <a:cubicBezTo>
                    <a:pt x="16" y="105"/>
                    <a:pt x="15" y="106"/>
                    <a:pt x="15" y="106"/>
                  </a:cubicBezTo>
                  <a:cubicBezTo>
                    <a:pt x="15" y="107"/>
                    <a:pt x="15" y="107"/>
                    <a:pt x="15" y="108"/>
                  </a:cubicBezTo>
                  <a:cubicBezTo>
                    <a:pt x="14" y="109"/>
                    <a:pt x="12" y="110"/>
                    <a:pt x="11" y="111"/>
                  </a:cubicBezTo>
                  <a:cubicBezTo>
                    <a:pt x="11" y="111"/>
                    <a:pt x="11" y="111"/>
                    <a:pt x="11" y="111"/>
                  </a:cubicBezTo>
                  <a:cubicBezTo>
                    <a:pt x="10" y="112"/>
                    <a:pt x="10" y="112"/>
                    <a:pt x="9" y="113"/>
                  </a:cubicBezTo>
                  <a:cubicBezTo>
                    <a:pt x="7" y="116"/>
                    <a:pt x="7" y="116"/>
                    <a:pt x="8" y="120"/>
                  </a:cubicBezTo>
                  <a:cubicBezTo>
                    <a:pt x="8" y="120"/>
                    <a:pt x="8" y="121"/>
                    <a:pt x="9" y="123"/>
                  </a:cubicBezTo>
                  <a:cubicBezTo>
                    <a:pt x="11" y="125"/>
                    <a:pt x="12" y="127"/>
                    <a:pt x="11" y="128"/>
                  </a:cubicBezTo>
                  <a:cubicBezTo>
                    <a:pt x="6" y="135"/>
                    <a:pt x="6" y="135"/>
                    <a:pt x="6" y="135"/>
                  </a:cubicBezTo>
                  <a:cubicBezTo>
                    <a:pt x="6" y="137"/>
                    <a:pt x="6" y="137"/>
                    <a:pt x="6" y="137"/>
                  </a:cubicBezTo>
                  <a:cubicBezTo>
                    <a:pt x="6" y="138"/>
                    <a:pt x="7" y="139"/>
                    <a:pt x="7" y="141"/>
                  </a:cubicBezTo>
                  <a:cubicBezTo>
                    <a:pt x="8" y="145"/>
                    <a:pt x="9" y="147"/>
                    <a:pt x="13" y="148"/>
                  </a:cubicBezTo>
                  <a:cubicBezTo>
                    <a:pt x="13" y="148"/>
                    <a:pt x="13" y="148"/>
                    <a:pt x="13" y="148"/>
                  </a:cubicBezTo>
                  <a:cubicBezTo>
                    <a:pt x="16" y="148"/>
                    <a:pt x="17" y="148"/>
                    <a:pt x="18" y="149"/>
                  </a:cubicBezTo>
                  <a:cubicBezTo>
                    <a:pt x="19" y="151"/>
                    <a:pt x="18" y="153"/>
                    <a:pt x="18" y="153"/>
                  </a:cubicBezTo>
                  <a:cubicBezTo>
                    <a:pt x="18" y="154"/>
                    <a:pt x="18" y="154"/>
                    <a:pt x="18" y="154"/>
                  </a:cubicBezTo>
                  <a:cubicBezTo>
                    <a:pt x="14" y="160"/>
                    <a:pt x="14" y="160"/>
                    <a:pt x="14" y="160"/>
                  </a:cubicBezTo>
                  <a:cubicBezTo>
                    <a:pt x="13" y="160"/>
                    <a:pt x="13" y="160"/>
                    <a:pt x="13" y="161"/>
                  </a:cubicBezTo>
                  <a:cubicBezTo>
                    <a:pt x="12" y="161"/>
                    <a:pt x="12" y="162"/>
                    <a:pt x="11" y="163"/>
                  </a:cubicBezTo>
                  <a:cubicBezTo>
                    <a:pt x="11" y="164"/>
                    <a:pt x="11" y="164"/>
                    <a:pt x="11" y="164"/>
                  </a:cubicBezTo>
                  <a:cubicBezTo>
                    <a:pt x="9" y="166"/>
                    <a:pt x="8" y="168"/>
                    <a:pt x="6" y="170"/>
                  </a:cubicBezTo>
                  <a:cubicBezTo>
                    <a:pt x="6" y="170"/>
                    <a:pt x="5" y="170"/>
                    <a:pt x="4" y="171"/>
                  </a:cubicBezTo>
                  <a:cubicBezTo>
                    <a:pt x="4" y="171"/>
                    <a:pt x="4" y="171"/>
                    <a:pt x="4" y="171"/>
                  </a:cubicBezTo>
                  <a:cubicBezTo>
                    <a:pt x="2" y="173"/>
                    <a:pt x="1" y="174"/>
                    <a:pt x="0" y="175"/>
                  </a:cubicBezTo>
                  <a:cubicBezTo>
                    <a:pt x="0" y="175"/>
                    <a:pt x="0" y="175"/>
                    <a:pt x="0" y="175"/>
                  </a:cubicBezTo>
                  <a:cubicBezTo>
                    <a:pt x="1" y="175"/>
                    <a:pt x="1" y="176"/>
                    <a:pt x="2" y="177"/>
                  </a:cubicBezTo>
                  <a:cubicBezTo>
                    <a:pt x="2" y="177"/>
                    <a:pt x="2" y="177"/>
                    <a:pt x="2" y="177"/>
                  </a:cubicBezTo>
                  <a:cubicBezTo>
                    <a:pt x="3" y="178"/>
                    <a:pt x="3" y="178"/>
                    <a:pt x="3" y="178"/>
                  </a:cubicBezTo>
                  <a:cubicBezTo>
                    <a:pt x="3" y="178"/>
                    <a:pt x="3" y="178"/>
                    <a:pt x="3" y="179"/>
                  </a:cubicBezTo>
                  <a:cubicBezTo>
                    <a:pt x="3" y="179"/>
                    <a:pt x="3" y="179"/>
                    <a:pt x="3" y="179"/>
                  </a:cubicBezTo>
                  <a:cubicBezTo>
                    <a:pt x="3" y="180"/>
                    <a:pt x="3" y="180"/>
                    <a:pt x="3" y="180"/>
                  </a:cubicBezTo>
                  <a:cubicBezTo>
                    <a:pt x="4" y="182"/>
                    <a:pt x="4" y="182"/>
                    <a:pt x="4" y="182"/>
                  </a:cubicBezTo>
                  <a:cubicBezTo>
                    <a:pt x="4" y="182"/>
                    <a:pt x="4" y="182"/>
                    <a:pt x="4" y="182"/>
                  </a:cubicBezTo>
                  <a:cubicBezTo>
                    <a:pt x="4" y="182"/>
                    <a:pt x="5" y="183"/>
                    <a:pt x="5" y="183"/>
                  </a:cubicBezTo>
                  <a:cubicBezTo>
                    <a:pt x="4" y="184"/>
                    <a:pt x="4" y="184"/>
                    <a:pt x="4" y="184"/>
                  </a:cubicBezTo>
                  <a:cubicBezTo>
                    <a:pt x="5" y="184"/>
                    <a:pt x="5" y="184"/>
                    <a:pt x="5" y="184"/>
                  </a:cubicBezTo>
                  <a:cubicBezTo>
                    <a:pt x="5" y="184"/>
                    <a:pt x="5" y="184"/>
                    <a:pt x="5" y="184"/>
                  </a:cubicBezTo>
                  <a:cubicBezTo>
                    <a:pt x="5" y="185"/>
                    <a:pt x="6" y="186"/>
                    <a:pt x="6" y="187"/>
                  </a:cubicBezTo>
                  <a:cubicBezTo>
                    <a:pt x="7" y="189"/>
                    <a:pt x="7" y="189"/>
                    <a:pt x="8" y="189"/>
                  </a:cubicBezTo>
                  <a:cubicBezTo>
                    <a:pt x="9" y="190"/>
                    <a:pt x="9" y="190"/>
                    <a:pt x="9" y="190"/>
                  </a:cubicBezTo>
                  <a:cubicBezTo>
                    <a:pt x="10" y="190"/>
                    <a:pt x="10" y="190"/>
                    <a:pt x="10" y="190"/>
                  </a:cubicBezTo>
                  <a:cubicBezTo>
                    <a:pt x="10" y="190"/>
                    <a:pt x="10" y="190"/>
                    <a:pt x="10" y="190"/>
                  </a:cubicBezTo>
                  <a:cubicBezTo>
                    <a:pt x="10" y="190"/>
                    <a:pt x="11" y="190"/>
                    <a:pt x="11" y="190"/>
                  </a:cubicBezTo>
                  <a:cubicBezTo>
                    <a:pt x="13" y="191"/>
                    <a:pt x="14" y="194"/>
                    <a:pt x="14" y="196"/>
                  </a:cubicBezTo>
                  <a:cubicBezTo>
                    <a:pt x="14" y="198"/>
                    <a:pt x="14" y="201"/>
                    <a:pt x="14" y="203"/>
                  </a:cubicBezTo>
                  <a:cubicBezTo>
                    <a:pt x="14" y="204"/>
                    <a:pt x="14" y="205"/>
                    <a:pt x="14" y="206"/>
                  </a:cubicBezTo>
                  <a:cubicBezTo>
                    <a:pt x="15" y="211"/>
                    <a:pt x="15" y="213"/>
                    <a:pt x="18" y="216"/>
                  </a:cubicBezTo>
                  <a:cubicBezTo>
                    <a:pt x="19" y="217"/>
                    <a:pt x="20" y="218"/>
                    <a:pt x="21" y="219"/>
                  </a:cubicBezTo>
                  <a:cubicBezTo>
                    <a:pt x="21" y="219"/>
                    <a:pt x="21" y="219"/>
                    <a:pt x="21" y="219"/>
                  </a:cubicBezTo>
                  <a:cubicBezTo>
                    <a:pt x="23" y="221"/>
                    <a:pt x="25" y="223"/>
                    <a:pt x="27" y="225"/>
                  </a:cubicBezTo>
                  <a:cubicBezTo>
                    <a:pt x="30" y="228"/>
                    <a:pt x="30" y="228"/>
                    <a:pt x="30" y="228"/>
                  </a:cubicBezTo>
                  <a:cubicBezTo>
                    <a:pt x="26" y="229"/>
                    <a:pt x="26" y="229"/>
                    <a:pt x="26" y="229"/>
                  </a:cubicBezTo>
                  <a:cubicBezTo>
                    <a:pt x="25" y="230"/>
                    <a:pt x="25" y="230"/>
                    <a:pt x="25" y="230"/>
                  </a:cubicBezTo>
                  <a:cubicBezTo>
                    <a:pt x="24" y="231"/>
                    <a:pt x="24" y="232"/>
                    <a:pt x="23" y="233"/>
                  </a:cubicBezTo>
                  <a:cubicBezTo>
                    <a:pt x="24" y="233"/>
                    <a:pt x="24" y="234"/>
                    <a:pt x="24" y="235"/>
                  </a:cubicBezTo>
                  <a:cubicBezTo>
                    <a:pt x="26" y="238"/>
                    <a:pt x="25" y="241"/>
                    <a:pt x="23" y="243"/>
                  </a:cubicBezTo>
                  <a:cubicBezTo>
                    <a:pt x="22" y="244"/>
                    <a:pt x="21" y="244"/>
                    <a:pt x="20" y="244"/>
                  </a:cubicBezTo>
                  <a:cubicBezTo>
                    <a:pt x="20" y="244"/>
                    <a:pt x="20" y="244"/>
                    <a:pt x="20" y="244"/>
                  </a:cubicBezTo>
                  <a:cubicBezTo>
                    <a:pt x="20" y="248"/>
                    <a:pt x="21" y="249"/>
                    <a:pt x="22" y="250"/>
                  </a:cubicBezTo>
                  <a:cubicBezTo>
                    <a:pt x="24" y="251"/>
                    <a:pt x="25" y="252"/>
                    <a:pt x="25" y="253"/>
                  </a:cubicBezTo>
                  <a:cubicBezTo>
                    <a:pt x="27" y="255"/>
                    <a:pt x="27" y="257"/>
                    <a:pt x="27" y="259"/>
                  </a:cubicBezTo>
                  <a:cubicBezTo>
                    <a:pt x="27" y="260"/>
                    <a:pt x="27" y="260"/>
                    <a:pt x="27" y="260"/>
                  </a:cubicBezTo>
                  <a:cubicBezTo>
                    <a:pt x="26" y="260"/>
                    <a:pt x="26" y="261"/>
                    <a:pt x="26" y="261"/>
                  </a:cubicBezTo>
                  <a:cubicBezTo>
                    <a:pt x="27" y="261"/>
                    <a:pt x="27" y="261"/>
                    <a:pt x="27" y="261"/>
                  </a:cubicBezTo>
                  <a:cubicBezTo>
                    <a:pt x="27" y="261"/>
                    <a:pt x="27" y="262"/>
                    <a:pt x="28" y="263"/>
                  </a:cubicBezTo>
                  <a:cubicBezTo>
                    <a:pt x="29" y="263"/>
                    <a:pt x="29" y="263"/>
                    <a:pt x="29" y="263"/>
                  </a:cubicBezTo>
                  <a:cubicBezTo>
                    <a:pt x="30" y="264"/>
                    <a:pt x="30" y="265"/>
                    <a:pt x="30" y="265"/>
                  </a:cubicBezTo>
                  <a:cubicBezTo>
                    <a:pt x="31" y="266"/>
                    <a:pt x="32" y="267"/>
                    <a:pt x="32" y="269"/>
                  </a:cubicBezTo>
                  <a:cubicBezTo>
                    <a:pt x="33" y="269"/>
                    <a:pt x="33" y="269"/>
                    <a:pt x="33" y="269"/>
                  </a:cubicBezTo>
                  <a:cubicBezTo>
                    <a:pt x="33" y="270"/>
                    <a:pt x="33" y="271"/>
                    <a:pt x="34" y="272"/>
                  </a:cubicBezTo>
                  <a:cubicBezTo>
                    <a:pt x="34" y="272"/>
                    <a:pt x="34" y="273"/>
                    <a:pt x="34" y="273"/>
                  </a:cubicBezTo>
                  <a:cubicBezTo>
                    <a:pt x="34" y="273"/>
                    <a:pt x="34" y="273"/>
                    <a:pt x="34" y="273"/>
                  </a:cubicBezTo>
                  <a:cubicBezTo>
                    <a:pt x="34" y="274"/>
                    <a:pt x="34" y="274"/>
                    <a:pt x="35" y="274"/>
                  </a:cubicBezTo>
                  <a:cubicBezTo>
                    <a:pt x="35" y="275"/>
                    <a:pt x="35" y="276"/>
                    <a:pt x="35" y="276"/>
                  </a:cubicBezTo>
                  <a:cubicBezTo>
                    <a:pt x="35" y="277"/>
                    <a:pt x="35" y="277"/>
                    <a:pt x="35" y="277"/>
                  </a:cubicBezTo>
                  <a:cubicBezTo>
                    <a:pt x="35" y="278"/>
                    <a:pt x="35" y="279"/>
                    <a:pt x="35" y="280"/>
                  </a:cubicBezTo>
                  <a:cubicBezTo>
                    <a:pt x="35" y="281"/>
                    <a:pt x="35" y="281"/>
                    <a:pt x="35" y="281"/>
                  </a:cubicBezTo>
                  <a:cubicBezTo>
                    <a:pt x="36" y="282"/>
                    <a:pt x="36" y="283"/>
                    <a:pt x="36" y="284"/>
                  </a:cubicBezTo>
                  <a:cubicBezTo>
                    <a:pt x="36" y="285"/>
                    <a:pt x="36" y="287"/>
                    <a:pt x="37" y="288"/>
                  </a:cubicBezTo>
                  <a:cubicBezTo>
                    <a:pt x="37" y="288"/>
                    <a:pt x="37" y="288"/>
                    <a:pt x="37" y="288"/>
                  </a:cubicBezTo>
                  <a:cubicBezTo>
                    <a:pt x="37" y="289"/>
                    <a:pt x="37" y="289"/>
                    <a:pt x="37" y="289"/>
                  </a:cubicBezTo>
                  <a:cubicBezTo>
                    <a:pt x="38" y="290"/>
                    <a:pt x="40" y="292"/>
                    <a:pt x="40" y="294"/>
                  </a:cubicBezTo>
                  <a:cubicBezTo>
                    <a:pt x="40" y="295"/>
                    <a:pt x="40" y="296"/>
                    <a:pt x="40" y="296"/>
                  </a:cubicBezTo>
                  <a:cubicBezTo>
                    <a:pt x="40" y="297"/>
                    <a:pt x="40" y="297"/>
                    <a:pt x="40" y="298"/>
                  </a:cubicBezTo>
                  <a:cubicBezTo>
                    <a:pt x="40" y="298"/>
                    <a:pt x="40" y="298"/>
                    <a:pt x="40" y="298"/>
                  </a:cubicBezTo>
                  <a:cubicBezTo>
                    <a:pt x="41" y="300"/>
                    <a:pt x="41" y="301"/>
                    <a:pt x="41" y="303"/>
                  </a:cubicBezTo>
                  <a:cubicBezTo>
                    <a:pt x="41" y="304"/>
                    <a:pt x="41" y="305"/>
                    <a:pt x="41" y="306"/>
                  </a:cubicBezTo>
                  <a:cubicBezTo>
                    <a:pt x="41" y="306"/>
                    <a:pt x="41" y="306"/>
                    <a:pt x="41" y="306"/>
                  </a:cubicBezTo>
                  <a:cubicBezTo>
                    <a:pt x="52" y="306"/>
                    <a:pt x="52" y="306"/>
                    <a:pt x="52" y="306"/>
                  </a:cubicBezTo>
                  <a:cubicBezTo>
                    <a:pt x="53" y="306"/>
                    <a:pt x="53" y="306"/>
                    <a:pt x="53" y="306"/>
                  </a:cubicBezTo>
                  <a:cubicBezTo>
                    <a:pt x="53" y="306"/>
                    <a:pt x="53" y="306"/>
                    <a:pt x="53" y="306"/>
                  </a:cubicBezTo>
                  <a:cubicBezTo>
                    <a:pt x="54" y="305"/>
                    <a:pt x="56" y="303"/>
                    <a:pt x="56" y="302"/>
                  </a:cubicBezTo>
                  <a:cubicBezTo>
                    <a:pt x="57" y="301"/>
                    <a:pt x="57" y="301"/>
                    <a:pt x="58" y="300"/>
                  </a:cubicBezTo>
                  <a:cubicBezTo>
                    <a:pt x="60" y="298"/>
                    <a:pt x="62" y="296"/>
                    <a:pt x="64" y="293"/>
                  </a:cubicBezTo>
                  <a:cubicBezTo>
                    <a:pt x="66" y="292"/>
                    <a:pt x="67" y="291"/>
                    <a:pt x="70" y="290"/>
                  </a:cubicBezTo>
                  <a:cubicBezTo>
                    <a:pt x="71" y="289"/>
                    <a:pt x="72" y="289"/>
                    <a:pt x="72" y="289"/>
                  </a:cubicBezTo>
                  <a:cubicBezTo>
                    <a:pt x="72" y="289"/>
                    <a:pt x="72" y="289"/>
                    <a:pt x="72" y="289"/>
                  </a:cubicBezTo>
                  <a:cubicBezTo>
                    <a:pt x="72" y="288"/>
                    <a:pt x="72" y="288"/>
                    <a:pt x="72" y="288"/>
                  </a:cubicBezTo>
                  <a:cubicBezTo>
                    <a:pt x="73" y="287"/>
                    <a:pt x="73" y="286"/>
                    <a:pt x="73" y="285"/>
                  </a:cubicBezTo>
                  <a:cubicBezTo>
                    <a:pt x="74" y="283"/>
                    <a:pt x="74" y="283"/>
                    <a:pt x="74" y="283"/>
                  </a:cubicBezTo>
                  <a:cubicBezTo>
                    <a:pt x="74" y="283"/>
                    <a:pt x="74" y="283"/>
                    <a:pt x="74" y="283"/>
                  </a:cubicBezTo>
                  <a:cubicBezTo>
                    <a:pt x="74" y="280"/>
                    <a:pt x="74" y="280"/>
                    <a:pt x="74" y="280"/>
                  </a:cubicBezTo>
                  <a:cubicBezTo>
                    <a:pt x="77" y="281"/>
                    <a:pt x="77" y="281"/>
                    <a:pt x="77" y="281"/>
                  </a:cubicBezTo>
                  <a:cubicBezTo>
                    <a:pt x="80" y="281"/>
                    <a:pt x="83" y="284"/>
                    <a:pt x="85" y="285"/>
                  </a:cubicBezTo>
                  <a:cubicBezTo>
                    <a:pt x="87" y="287"/>
                    <a:pt x="89" y="289"/>
                    <a:pt x="91" y="289"/>
                  </a:cubicBezTo>
                  <a:cubicBezTo>
                    <a:pt x="94" y="289"/>
                    <a:pt x="94" y="289"/>
                    <a:pt x="94" y="289"/>
                  </a:cubicBezTo>
                  <a:cubicBezTo>
                    <a:pt x="95" y="289"/>
                    <a:pt x="95" y="289"/>
                    <a:pt x="96" y="289"/>
                  </a:cubicBezTo>
                  <a:cubicBezTo>
                    <a:pt x="98" y="289"/>
                    <a:pt x="100" y="289"/>
                    <a:pt x="102" y="289"/>
                  </a:cubicBezTo>
                  <a:cubicBezTo>
                    <a:pt x="103" y="289"/>
                    <a:pt x="105" y="289"/>
                    <a:pt x="106" y="289"/>
                  </a:cubicBezTo>
                  <a:cubicBezTo>
                    <a:pt x="107" y="289"/>
                    <a:pt x="107" y="289"/>
                    <a:pt x="107" y="289"/>
                  </a:cubicBezTo>
                  <a:cubicBezTo>
                    <a:pt x="108" y="290"/>
                    <a:pt x="110" y="290"/>
                    <a:pt x="112" y="290"/>
                  </a:cubicBezTo>
                  <a:cubicBezTo>
                    <a:pt x="115" y="291"/>
                    <a:pt x="116" y="292"/>
                    <a:pt x="118" y="295"/>
                  </a:cubicBezTo>
                  <a:cubicBezTo>
                    <a:pt x="119" y="296"/>
                    <a:pt x="120" y="299"/>
                    <a:pt x="121" y="301"/>
                  </a:cubicBezTo>
                  <a:cubicBezTo>
                    <a:pt x="123" y="297"/>
                    <a:pt x="124" y="293"/>
                    <a:pt x="126" y="289"/>
                  </a:cubicBezTo>
                  <a:cubicBezTo>
                    <a:pt x="127" y="288"/>
                    <a:pt x="127" y="288"/>
                    <a:pt x="127" y="288"/>
                  </a:cubicBezTo>
                  <a:cubicBezTo>
                    <a:pt x="127" y="288"/>
                    <a:pt x="127" y="288"/>
                    <a:pt x="127" y="288"/>
                  </a:cubicBezTo>
                  <a:cubicBezTo>
                    <a:pt x="129" y="287"/>
                    <a:pt x="131" y="286"/>
                    <a:pt x="133" y="286"/>
                  </a:cubicBezTo>
                  <a:cubicBezTo>
                    <a:pt x="133" y="286"/>
                    <a:pt x="133" y="286"/>
                    <a:pt x="133" y="286"/>
                  </a:cubicBezTo>
                  <a:cubicBezTo>
                    <a:pt x="134" y="286"/>
                    <a:pt x="135" y="286"/>
                    <a:pt x="136" y="286"/>
                  </a:cubicBezTo>
                  <a:cubicBezTo>
                    <a:pt x="136" y="286"/>
                    <a:pt x="137" y="286"/>
                    <a:pt x="137" y="286"/>
                  </a:cubicBezTo>
                  <a:cubicBezTo>
                    <a:pt x="150" y="286"/>
                    <a:pt x="150" y="286"/>
                    <a:pt x="150" y="286"/>
                  </a:cubicBezTo>
                  <a:cubicBezTo>
                    <a:pt x="150" y="286"/>
                    <a:pt x="151" y="286"/>
                    <a:pt x="151" y="286"/>
                  </a:cubicBezTo>
                  <a:cubicBezTo>
                    <a:pt x="151" y="286"/>
                    <a:pt x="151" y="286"/>
                    <a:pt x="151" y="286"/>
                  </a:cubicBezTo>
                  <a:cubicBezTo>
                    <a:pt x="152" y="286"/>
                    <a:pt x="153" y="286"/>
                    <a:pt x="153" y="286"/>
                  </a:cubicBezTo>
                  <a:cubicBezTo>
                    <a:pt x="154" y="286"/>
                    <a:pt x="154" y="286"/>
                    <a:pt x="154" y="286"/>
                  </a:cubicBezTo>
                  <a:cubicBezTo>
                    <a:pt x="154" y="286"/>
                    <a:pt x="154" y="286"/>
                    <a:pt x="154" y="286"/>
                  </a:cubicBezTo>
                  <a:cubicBezTo>
                    <a:pt x="154" y="286"/>
                    <a:pt x="154" y="286"/>
                    <a:pt x="154" y="286"/>
                  </a:cubicBezTo>
                  <a:cubicBezTo>
                    <a:pt x="155" y="286"/>
                    <a:pt x="155" y="286"/>
                    <a:pt x="155" y="286"/>
                  </a:cubicBezTo>
                  <a:cubicBezTo>
                    <a:pt x="156" y="286"/>
                    <a:pt x="156" y="286"/>
                    <a:pt x="156" y="286"/>
                  </a:cubicBezTo>
                  <a:cubicBezTo>
                    <a:pt x="156" y="286"/>
                    <a:pt x="157" y="286"/>
                    <a:pt x="157" y="286"/>
                  </a:cubicBezTo>
                  <a:cubicBezTo>
                    <a:pt x="158" y="287"/>
                    <a:pt x="158" y="287"/>
                    <a:pt x="158" y="288"/>
                  </a:cubicBezTo>
                  <a:cubicBezTo>
                    <a:pt x="159" y="286"/>
                    <a:pt x="159" y="286"/>
                    <a:pt x="159" y="286"/>
                  </a:cubicBezTo>
                  <a:cubicBezTo>
                    <a:pt x="159" y="285"/>
                    <a:pt x="160" y="283"/>
                    <a:pt x="160" y="282"/>
                  </a:cubicBezTo>
                  <a:cubicBezTo>
                    <a:pt x="162" y="278"/>
                    <a:pt x="162" y="278"/>
                    <a:pt x="162" y="278"/>
                  </a:cubicBezTo>
                  <a:cubicBezTo>
                    <a:pt x="162" y="276"/>
                    <a:pt x="162" y="275"/>
                    <a:pt x="163" y="274"/>
                  </a:cubicBezTo>
                  <a:cubicBezTo>
                    <a:pt x="163" y="273"/>
                    <a:pt x="163" y="273"/>
                    <a:pt x="163" y="273"/>
                  </a:cubicBezTo>
                  <a:cubicBezTo>
                    <a:pt x="164" y="270"/>
                    <a:pt x="165" y="267"/>
                    <a:pt x="166" y="264"/>
                  </a:cubicBezTo>
                  <a:cubicBezTo>
                    <a:pt x="166" y="263"/>
                    <a:pt x="166" y="262"/>
                    <a:pt x="166" y="260"/>
                  </a:cubicBezTo>
                  <a:cubicBezTo>
                    <a:pt x="166" y="260"/>
                    <a:pt x="166" y="259"/>
                    <a:pt x="166" y="258"/>
                  </a:cubicBezTo>
                  <a:cubicBezTo>
                    <a:pt x="166" y="256"/>
                    <a:pt x="166" y="256"/>
                    <a:pt x="166" y="256"/>
                  </a:cubicBezTo>
                  <a:cubicBezTo>
                    <a:pt x="166" y="255"/>
                    <a:pt x="167" y="254"/>
                    <a:pt x="167" y="253"/>
                  </a:cubicBezTo>
                  <a:cubicBezTo>
                    <a:pt x="167" y="251"/>
                    <a:pt x="168" y="250"/>
                    <a:pt x="169" y="248"/>
                  </a:cubicBezTo>
                  <a:cubicBezTo>
                    <a:pt x="170" y="247"/>
                    <a:pt x="171" y="245"/>
                    <a:pt x="172" y="244"/>
                  </a:cubicBezTo>
                  <a:cubicBezTo>
                    <a:pt x="172" y="243"/>
                    <a:pt x="172" y="243"/>
                    <a:pt x="172" y="243"/>
                  </a:cubicBezTo>
                  <a:cubicBezTo>
                    <a:pt x="173" y="242"/>
                    <a:pt x="173" y="242"/>
                    <a:pt x="173" y="242"/>
                  </a:cubicBezTo>
                  <a:cubicBezTo>
                    <a:pt x="175" y="240"/>
                    <a:pt x="175" y="238"/>
                    <a:pt x="176" y="236"/>
                  </a:cubicBezTo>
                  <a:cubicBezTo>
                    <a:pt x="177" y="234"/>
                    <a:pt x="177" y="234"/>
                    <a:pt x="177" y="234"/>
                  </a:cubicBezTo>
                  <a:cubicBezTo>
                    <a:pt x="178" y="231"/>
                    <a:pt x="180" y="230"/>
                    <a:pt x="183" y="229"/>
                  </a:cubicBezTo>
                  <a:cubicBezTo>
                    <a:pt x="192" y="227"/>
                    <a:pt x="192" y="227"/>
                    <a:pt x="192" y="227"/>
                  </a:cubicBezTo>
                  <a:cubicBezTo>
                    <a:pt x="196" y="226"/>
                    <a:pt x="200" y="226"/>
                    <a:pt x="204" y="225"/>
                  </a:cubicBezTo>
                  <a:cubicBezTo>
                    <a:pt x="207" y="224"/>
                    <a:pt x="210" y="224"/>
                    <a:pt x="212" y="223"/>
                  </a:cubicBezTo>
                  <a:cubicBezTo>
                    <a:pt x="215" y="222"/>
                    <a:pt x="215" y="222"/>
                    <a:pt x="215" y="222"/>
                  </a:cubicBezTo>
                  <a:cubicBezTo>
                    <a:pt x="219" y="221"/>
                    <a:pt x="223" y="221"/>
                    <a:pt x="226" y="221"/>
                  </a:cubicBezTo>
                  <a:cubicBezTo>
                    <a:pt x="228" y="221"/>
                    <a:pt x="228" y="221"/>
                    <a:pt x="228" y="221"/>
                  </a:cubicBezTo>
                  <a:cubicBezTo>
                    <a:pt x="230" y="221"/>
                    <a:pt x="232" y="220"/>
                    <a:pt x="234" y="220"/>
                  </a:cubicBezTo>
                  <a:cubicBezTo>
                    <a:pt x="234" y="220"/>
                    <a:pt x="234" y="220"/>
                    <a:pt x="235" y="220"/>
                  </a:cubicBezTo>
                  <a:cubicBezTo>
                    <a:pt x="235" y="220"/>
                    <a:pt x="235" y="220"/>
                    <a:pt x="235" y="220"/>
                  </a:cubicBezTo>
                  <a:cubicBezTo>
                    <a:pt x="236" y="220"/>
                    <a:pt x="237" y="220"/>
                    <a:pt x="238" y="220"/>
                  </a:cubicBezTo>
                  <a:cubicBezTo>
                    <a:pt x="239" y="220"/>
                    <a:pt x="241" y="220"/>
                    <a:pt x="242" y="220"/>
                  </a:cubicBezTo>
                  <a:cubicBezTo>
                    <a:pt x="243" y="220"/>
                    <a:pt x="243" y="220"/>
                    <a:pt x="243" y="220"/>
                  </a:cubicBezTo>
                  <a:cubicBezTo>
                    <a:pt x="243" y="220"/>
                    <a:pt x="244" y="221"/>
                    <a:pt x="244" y="221"/>
                  </a:cubicBezTo>
                  <a:cubicBezTo>
                    <a:pt x="263" y="232"/>
                    <a:pt x="263" y="232"/>
                    <a:pt x="263" y="232"/>
                  </a:cubicBezTo>
                  <a:cubicBezTo>
                    <a:pt x="263" y="232"/>
                    <a:pt x="263" y="232"/>
                    <a:pt x="263" y="232"/>
                  </a:cubicBezTo>
                  <a:cubicBezTo>
                    <a:pt x="263" y="230"/>
                    <a:pt x="264" y="228"/>
                    <a:pt x="265" y="226"/>
                  </a:cubicBezTo>
                  <a:cubicBezTo>
                    <a:pt x="266" y="225"/>
                    <a:pt x="266" y="225"/>
                    <a:pt x="266" y="225"/>
                  </a:cubicBezTo>
                  <a:cubicBezTo>
                    <a:pt x="266" y="224"/>
                    <a:pt x="267" y="223"/>
                    <a:pt x="267" y="222"/>
                  </a:cubicBezTo>
                  <a:cubicBezTo>
                    <a:pt x="269" y="218"/>
                    <a:pt x="269" y="218"/>
                    <a:pt x="269" y="218"/>
                  </a:cubicBezTo>
                  <a:cubicBezTo>
                    <a:pt x="269" y="217"/>
                    <a:pt x="270" y="215"/>
                    <a:pt x="271" y="214"/>
                  </a:cubicBezTo>
                  <a:cubicBezTo>
                    <a:pt x="271" y="213"/>
                    <a:pt x="271" y="212"/>
                    <a:pt x="271" y="211"/>
                  </a:cubicBezTo>
                  <a:cubicBezTo>
                    <a:pt x="272" y="211"/>
                    <a:pt x="272" y="210"/>
                    <a:pt x="272" y="210"/>
                  </a:cubicBezTo>
                  <a:cubicBezTo>
                    <a:pt x="272" y="209"/>
                    <a:pt x="272" y="208"/>
                    <a:pt x="273" y="207"/>
                  </a:cubicBezTo>
                  <a:cubicBezTo>
                    <a:pt x="273" y="206"/>
                    <a:pt x="273" y="206"/>
                    <a:pt x="273" y="206"/>
                  </a:cubicBezTo>
                  <a:cubicBezTo>
                    <a:pt x="273" y="204"/>
                    <a:pt x="273" y="201"/>
                    <a:pt x="274" y="199"/>
                  </a:cubicBezTo>
                  <a:cubicBezTo>
                    <a:pt x="274" y="198"/>
                    <a:pt x="275" y="197"/>
                    <a:pt x="275" y="197"/>
                  </a:cubicBezTo>
                  <a:cubicBezTo>
                    <a:pt x="275" y="196"/>
                    <a:pt x="275" y="196"/>
                    <a:pt x="275" y="196"/>
                  </a:cubicBezTo>
                  <a:cubicBezTo>
                    <a:pt x="274" y="195"/>
                    <a:pt x="274" y="195"/>
                    <a:pt x="274" y="195"/>
                  </a:cubicBezTo>
                  <a:cubicBezTo>
                    <a:pt x="273" y="194"/>
                    <a:pt x="273" y="194"/>
                    <a:pt x="273" y="194"/>
                  </a:cubicBezTo>
                  <a:cubicBezTo>
                    <a:pt x="272" y="192"/>
                    <a:pt x="272" y="190"/>
                    <a:pt x="272" y="189"/>
                  </a:cubicBezTo>
                  <a:cubicBezTo>
                    <a:pt x="272" y="189"/>
                    <a:pt x="272" y="189"/>
                    <a:pt x="272" y="189"/>
                  </a:cubicBezTo>
                  <a:cubicBezTo>
                    <a:pt x="271" y="188"/>
                    <a:pt x="271" y="187"/>
                    <a:pt x="271" y="187"/>
                  </a:cubicBezTo>
                  <a:cubicBezTo>
                    <a:pt x="270" y="184"/>
                    <a:pt x="270" y="183"/>
                    <a:pt x="268" y="183"/>
                  </a:cubicBezTo>
                  <a:cubicBezTo>
                    <a:pt x="266" y="182"/>
                    <a:pt x="264" y="182"/>
                    <a:pt x="262" y="180"/>
                  </a:cubicBezTo>
                  <a:cubicBezTo>
                    <a:pt x="256" y="177"/>
                    <a:pt x="255" y="173"/>
                    <a:pt x="254" y="167"/>
                  </a:cubicBezTo>
                  <a:cubicBezTo>
                    <a:pt x="253" y="164"/>
                    <a:pt x="253" y="160"/>
                    <a:pt x="255" y="157"/>
                  </a:cubicBezTo>
                  <a:cubicBezTo>
                    <a:pt x="255" y="156"/>
                    <a:pt x="256" y="156"/>
                    <a:pt x="256" y="156"/>
                  </a:cubicBezTo>
                  <a:cubicBezTo>
                    <a:pt x="256" y="155"/>
                    <a:pt x="257" y="154"/>
                    <a:pt x="257" y="154"/>
                  </a:cubicBezTo>
                  <a:cubicBezTo>
                    <a:pt x="244" y="154"/>
                    <a:pt x="244" y="154"/>
                    <a:pt x="244" y="154"/>
                  </a:cubicBezTo>
                  <a:cubicBezTo>
                    <a:pt x="241" y="154"/>
                    <a:pt x="239" y="154"/>
                    <a:pt x="236" y="154"/>
                  </a:cubicBezTo>
                  <a:cubicBezTo>
                    <a:pt x="234" y="154"/>
                    <a:pt x="232" y="154"/>
                    <a:pt x="229" y="154"/>
                  </a:cubicBezTo>
                  <a:cubicBezTo>
                    <a:pt x="222" y="154"/>
                    <a:pt x="222" y="154"/>
                    <a:pt x="222" y="154"/>
                  </a:cubicBezTo>
                  <a:cubicBezTo>
                    <a:pt x="221" y="154"/>
                    <a:pt x="220" y="154"/>
                    <a:pt x="220" y="154"/>
                  </a:cubicBezTo>
                  <a:cubicBezTo>
                    <a:pt x="215" y="153"/>
                    <a:pt x="214" y="151"/>
                    <a:pt x="214" y="147"/>
                  </a:cubicBezTo>
                  <a:cubicBezTo>
                    <a:pt x="214" y="147"/>
                    <a:pt x="214" y="146"/>
                    <a:pt x="214" y="146"/>
                  </a:cubicBezTo>
                  <a:cubicBezTo>
                    <a:pt x="214" y="144"/>
                    <a:pt x="214" y="143"/>
                    <a:pt x="214" y="142"/>
                  </a:cubicBezTo>
                  <a:cubicBezTo>
                    <a:pt x="214" y="138"/>
                    <a:pt x="213" y="134"/>
                    <a:pt x="211" y="132"/>
                  </a:cubicBezTo>
                  <a:cubicBezTo>
                    <a:pt x="210" y="130"/>
                    <a:pt x="208" y="127"/>
                    <a:pt x="206" y="125"/>
                  </a:cubicBezTo>
                  <a:cubicBezTo>
                    <a:pt x="203" y="122"/>
                    <a:pt x="203" y="122"/>
                    <a:pt x="203" y="122"/>
                  </a:cubicBezTo>
                  <a:cubicBezTo>
                    <a:pt x="207" y="121"/>
                    <a:pt x="207" y="121"/>
                    <a:pt x="207" y="121"/>
                  </a:cubicBezTo>
                  <a:cubicBezTo>
                    <a:pt x="208" y="120"/>
                    <a:pt x="209" y="120"/>
                    <a:pt x="210" y="120"/>
                  </a:cubicBezTo>
                  <a:cubicBezTo>
                    <a:pt x="211" y="120"/>
                    <a:pt x="211" y="120"/>
                    <a:pt x="211" y="120"/>
                  </a:cubicBezTo>
                  <a:cubicBezTo>
                    <a:pt x="207" y="119"/>
                    <a:pt x="207" y="119"/>
                    <a:pt x="207" y="119"/>
                  </a:cubicBezTo>
                  <a:cubicBezTo>
                    <a:pt x="212" y="119"/>
                    <a:pt x="212" y="119"/>
                    <a:pt x="212" y="119"/>
                  </a:cubicBezTo>
                  <a:cubicBezTo>
                    <a:pt x="212" y="118"/>
                    <a:pt x="212" y="118"/>
                    <a:pt x="212" y="118"/>
                  </a:cubicBezTo>
                  <a:cubicBezTo>
                    <a:pt x="212" y="116"/>
                    <a:pt x="211" y="113"/>
                    <a:pt x="210" y="110"/>
                  </a:cubicBezTo>
                  <a:cubicBezTo>
                    <a:pt x="210" y="110"/>
                    <a:pt x="210" y="110"/>
                    <a:pt x="210" y="110"/>
                  </a:cubicBezTo>
                  <a:cubicBezTo>
                    <a:pt x="209" y="107"/>
                    <a:pt x="208" y="103"/>
                    <a:pt x="208" y="100"/>
                  </a:cubicBezTo>
                  <a:cubicBezTo>
                    <a:pt x="208" y="100"/>
                    <a:pt x="208" y="100"/>
                    <a:pt x="208" y="100"/>
                  </a:cubicBezTo>
                  <a:cubicBezTo>
                    <a:pt x="208" y="99"/>
                    <a:pt x="208" y="99"/>
                    <a:pt x="208" y="99"/>
                  </a:cubicBezTo>
                  <a:cubicBezTo>
                    <a:pt x="208" y="98"/>
                    <a:pt x="208" y="98"/>
                    <a:pt x="208" y="98"/>
                  </a:cubicBezTo>
                  <a:cubicBezTo>
                    <a:pt x="208" y="97"/>
                    <a:pt x="208" y="97"/>
                    <a:pt x="207" y="96"/>
                  </a:cubicBezTo>
                  <a:cubicBezTo>
                    <a:pt x="207" y="96"/>
                    <a:pt x="207" y="96"/>
                    <a:pt x="207" y="96"/>
                  </a:cubicBezTo>
                  <a:cubicBezTo>
                    <a:pt x="206" y="95"/>
                    <a:pt x="205" y="94"/>
                    <a:pt x="204" y="93"/>
                  </a:cubicBezTo>
                  <a:cubicBezTo>
                    <a:pt x="202" y="92"/>
                    <a:pt x="201" y="91"/>
                    <a:pt x="199" y="90"/>
                  </a:cubicBezTo>
                  <a:cubicBezTo>
                    <a:pt x="199" y="90"/>
                    <a:pt x="198" y="89"/>
                    <a:pt x="197" y="89"/>
                  </a:cubicBezTo>
                  <a:cubicBezTo>
                    <a:pt x="196" y="88"/>
                    <a:pt x="196" y="88"/>
                    <a:pt x="196" y="88"/>
                  </a:cubicBezTo>
                  <a:cubicBezTo>
                    <a:pt x="196" y="88"/>
                    <a:pt x="196" y="88"/>
                    <a:pt x="196" y="88"/>
                  </a:cubicBezTo>
                  <a:cubicBezTo>
                    <a:pt x="195" y="88"/>
                    <a:pt x="194" y="88"/>
                    <a:pt x="193" y="88"/>
                  </a:cubicBezTo>
                  <a:cubicBezTo>
                    <a:pt x="191" y="88"/>
                    <a:pt x="190" y="88"/>
                    <a:pt x="187" y="88"/>
                  </a:cubicBezTo>
                  <a:cubicBezTo>
                    <a:pt x="187" y="88"/>
                    <a:pt x="187" y="88"/>
                    <a:pt x="187" y="88"/>
                  </a:cubicBezTo>
                  <a:cubicBezTo>
                    <a:pt x="186" y="88"/>
                    <a:pt x="186" y="88"/>
                    <a:pt x="185" y="88"/>
                  </a:cubicBezTo>
                  <a:cubicBezTo>
                    <a:pt x="185" y="88"/>
                    <a:pt x="184" y="88"/>
                    <a:pt x="184" y="88"/>
                  </a:cubicBezTo>
                  <a:cubicBezTo>
                    <a:pt x="183" y="89"/>
                    <a:pt x="183" y="89"/>
                    <a:pt x="183" y="89"/>
                  </a:cubicBezTo>
                  <a:cubicBezTo>
                    <a:pt x="182" y="89"/>
                    <a:pt x="181" y="89"/>
                    <a:pt x="180" y="89"/>
                  </a:cubicBezTo>
                  <a:cubicBezTo>
                    <a:pt x="178" y="89"/>
                    <a:pt x="177" y="89"/>
                    <a:pt x="176" y="88"/>
                  </a:cubicBezTo>
                  <a:cubicBezTo>
                    <a:pt x="176" y="88"/>
                    <a:pt x="175" y="87"/>
                    <a:pt x="175" y="86"/>
                  </a:cubicBezTo>
                  <a:cubicBezTo>
                    <a:pt x="174" y="86"/>
                    <a:pt x="174" y="86"/>
                    <a:pt x="174" y="86"/>
                  </a:cubicBezTo>
                  <a:cubicBezTo>
                    <a:pt x="174" y="85"/>
                    <a:pt x="174" y="85"/>
                    <a:pt x="173" y="85"/>
                  </a:cubicBezTo>
                  <a:cubicBezTo>
                    <a:pt x="172" y="84"/>
                    <a:pt x="171" y="82"/>
                    <a:pt x="170" y="81"/>
                  </a:cubicBezTo>
                  <a:cubicBezTo>
                    <a:pt x="169" y="80"/>
                    <a:pt x="169" y="79"/>
                    <a:pt x="168" y="79"/>
                  </a:cubicBezTo>
                  <a:cubicBezTo>
                    <a:pt x="167" y="78"/>
                    <a:pt x="165" y="78"/>
                    <a:pt x="163" y="78"/>
                  </a:cubicBezTo>
                  <a:cubicBezTo>
                    <a:pt x="161" y="78"/>
                    <a:pt x="158" y="78"/>
                    <a:pt x="156" y="77"/>
                  </a:cubicBezTo>
                  <a:cubicBezTo>
                    <a:pt x="155" y="76"/>
                    <a:pt x="155" y="76"/>
                    <a:pt x="154" y="76"/>
                  </a:cubicBezTo>
                  <a:cubicBezTo>
                    <a:pt x="153" y="75"/>
                    <a:pt x="152" y="74"/>
                    <a:pt x="152" y="74"/>
                  </a:cubicBezTo>
                  <a:cubicBezTo>
                    <a:pt x="151" y="73"/>
                    <a:pt x="151" y="73"/>
                    <a:pt x="151" y="73"/>
                  </a:cubicBezTo>
                  <a:cubicBezTo>
                    <a:pt x="151" y="73"/>
                    <a:pt x="151" y="73"/>
                    <a:pt x="150" y="72"/>
                  </a:cubicBezTo>
                  <a:cubicBezTo>
                    <a:pt x="150" y="72"/>
                    <a:pt x="150" y="72"/>
                    <a:pt x="150" y="72"/>
                  </a:cubicBezTo>
                  <a:cubicBezTo>
                    <a:pt x="149" y="71"/>
                    <a:pt x="149" y="71"/>
                    <a:pt x="149" y="71"/>
                  </a:cubicBezTo>
                  <a:cubicBezTo>
                    <a:pt x="149" y="71"/>
                    <a:pt x="149" y="71"/>
                    <a:pt x="149" y="71"/>
                  </a:cubicBezTo>
                  <a:cubicBezTo>
                    <a:pt x="148" y="70"/>
                    <a:pt x="148" y="69"/>
                    <a:pt x="147" y="69"/>
                  </a:cubicBezTo>
                  <a:cubicBezTo>
                    <a:pt x="147" y="68"/>
                    <a:pt x="147" y="68"/>
                    <a:pt x="147" y="68"/>
                  </a:cubicBezTo>
                  <a:cubicBezTo>
                    <a:pt x="147" y="68"/>
                    <a:pt x="146" y="67"/>
                    <a:pt x="145" y="67"/>
                  </a:cubicBezTo>
                  <a:cubicBezTo>
                    <a:pt x="145" y="67"/>
                    <a:pt x="145" y="67"/>
                    <a:pt x="145" y="67"/>
                  </a:cubicBezTo>
                  <a:cubicBezTo>
                    <a:pt x="144" y="67"/>
                    <a:pt x="144" y="67"/>
                    <a:pt x="143" y="67"/>
                  </a:cubicBezTo>
                  <a:cubicBezTo>
                    <a:pt x="142" y="66"/>
                    <a:pt x="141" y="66"/>
                    <a:pt x="139" y="65"/>
                  </a:cubicBezTo>
                  <a:cubicBezTo>
                    <a:pt x="138" y="65"/>
                    <a:pt x="138" y="65"/>
                    <a:pt x="138" y="65"/>
                  </a:cubicBezTo>
                  <a:cubicBezTo>
                    <a:pt x="136" y="64"/>
                    <a:pt x="135" y="64"/>
                    <a:pt x="133" y="64"/>
                  </a:cubicBezTo>
                  <a:cubicBezTo>
                    <a:pt x="133" y="64"/>
                    <a:pt x="133" y="64"/>
                    <a:pt x="133" y="64"/>
                  </a:cubicBezTo>
                  <a:cubicBezTo>
                    <a:pt x="132" y="64"/>
                    <a:pt x="132" y="65"/>
                    <a:pt x="131" y="65"/>
                  </a:cubicBezTo>
                  <a:cubicBezTo>
                    <a:pt x="130" y="65"/>
                    <a:pt x="129" y="65"/>
                    <a:pt x="128" y="65"/>
                  </a:cubicBezTo>
                  <a:cubicBezTo>
                    <a:pt x="128" y="65"/>
                    <a:pt x="128" y="65"/>
                    <a:pt x="128" y="65"/>
                  </a:cubicBezTo>
                  <a:cubicBezTo>
                    <a:pt x="127" y="65"/>
                    <a:pt x="127" y="65"/>
                    <a:pt x="126" y="65"/>
                  </a:cubicBezTo>
                  <a:cubicBezTo>
                    <a:pt x="126" y="65"/>
                    <a:pt x="126" y="65"/>
                    <a:pt x="126" y="65"/>
                  </a:cubicBezTo>
                  <a:cubicBezTo>
                    <a:pt x="125" y="65"/>
                    <a:pt x="125" y="65"/>
                    <a:pt x="125" y="65"/>
                  </a:cubicBezTo>
                  <a:cubicBezTo>
                    <a:pt x="125" y="65"/>
                    <a:pt x="125" y="65"/>
                    <a:pt x="124" y="65"/>
                  </a:cubicBezTo>
                  <a:cubicBezTo>
                    <a:pt x="124" y="65"/>
                    <a:pt x="124" y="65"/>
                    <a:pt x="123" y="65"/>
                  </a:cubicBezTo>
                  <a:cubicBezTo>
                    <a:pt x="122" y="65"/>
                    <a:pt x="121" y="65"/>
                    <a:pt x="121" y="64"/>
                  </a:cubicBezTo>
                  <a:cubicBezTo>
                    <a:pt x="118" y="63"/>
                    <a:pt x="116" y="61"/>
                    <a:pt x="114" y="59"/>
                  </a:cubicBezTo>
                  <a:cubicBezTo>
                    <a:pt x="113" y="59"/>
                    <a:pt x="113" y="58"/>
                    <a:pt x="112" y="57"/>
                  </a:cubicBezTo>
                  <a:cubicBezTo>
                    <a:pt x="103" y="50"/>
                    <a:pt x="103" y="50"/>
                    <a:pt x="103" y="50"/>
                  </a:cubicBezTo>
                  <a:cubicBezTo>
                    <a:pt x="101" y="48"/>
                    <a:pt x="99" y="45"/>
                    <a:pt x="98" y="43"/>
                  </a:cubicBezTo>
                  <a:cubicBezTo>
                    <a:pt x="97" y="41"/>
                    <a:pt x="97" y="41"/>
                    <a:pt x="97" y="41"/>
                  </a:cubicBezTo>
                  <a:cubicBezTo>
                    <a:pt x="96" y="40"/>
                    <a:pt x="95" y="38"/>
                    <a:pt x="94" y="36"/>
                  </a:cubicBezTo>
                  <a:cubicBezTo>
                    <a:pt x="93" y="35"/>
                    <a:pt x="93" y="34"/>
                    <a:pt x="93" y="33"/>
                  </a:cubicBezTo>
                  <a:cubicBezTo>
                    <a:pt x="93" y="33"/>
                    <a:pt x="93" y="32"/>
                    <a:pt x="93" y="32"/>
                  </a:cubicBezTo>
                  <a:cubicBezTo>
                    <a:pt x="93" y="31"/>
                    <a:pt x="93" y="31"/>
                    <a:pt x="93" y="30"/>
                  </a:cubicBezTo>
                  <a:cubicBezTo>
                    <a:pt x="93" y="29"/>
                    <a:pt x="93" y="28"/>
                    <a:pt x="94" y="28"/>
                  </a:cubicBezTo>
                  <a:cubicBezTo>
                    <a:pt x="94" y="27"/>
                    <a:pt x="94" y="26"/>
                    <a:pt x="93" y="26"/>
                  </a:cubicBezTo>
                  <a:cubicBezTo>
                    <a:pt x="93" y="25"/>
                    <a:pt x="93" y="25"/>
                    <a:pt x="93" y="25"/>
                  </a:cubicBezTo>
                  <a:cubicBezTo>
                    <a:pt x="93" y="24"/>
                    <a:pt x="93" y="24"/>
                    <a:pt x="93" y="23"/>
                  </a:cubicBezTo>
                  <a:cubicBezTo>
                    <a:pt x="93" y="23"/>
                    <a:pt x="93" y="22"/>
                    <a:pt x="93" y="22"/>
                  </a:cubicBezTo>
                  <a:cubicBezTo>
                    <a:pt x="93" y="21"/>
                    <a:pt x="93" y="21"/>
                    <a:pt x="93" y="21"/>
                  </a:cubicBezTo>
                  <a:cubicBezTo>
                    <a:pt x="93" y="21"/>
                    <a:pt x="93" y="21"/>
                    <a:pt x="93" y="21"/>
                  </a:cubicBezTo>
                  <a:cubicBezTo>
                    <a:pt x="93" y="20"/>
                    <a:pt x="93" y="20"/>
                    <a:pt x="93" y="20"/>
                  </a:cubicBezTo>
                  <a:cubicBezTo>
                    <a:pt x="92" y="18"/>
                    <a:pt x="92" y="15"/>
                    <a:pt x="93" y="12"/>
                  </a:cubicBezTo>
                  <a:cubicBezTo>
                    <a:pt x="93" y="11"/>
                    <a:pt x="93" y="11"/>
                    <a:pt x="93" y="10"/>
                  </a:cubicBezTo>
                  <a:cubicBezTo>
                    <a:pt x="93" y="8"/>
                    <a:pt x="94" y="7"/>
                    <a:pt x="94" y="5"/>
                  </a:cubicBezTo>
                  <a:cubicBezTo>
                    <a:pt x="94" y="3"/>
                    <a:pt x="94" y="3"/>
                    <a:pt x="94" y="3"/>
                  </a:cubicBezTo>
                  <a:cubicBezTo>
                    <a:pt x="94" y="2"/>
                    <a:pt x="95" y="1"/>
                    <a:pt x="9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3" name="Freeform 244">
              <a:extLst>
                <a:ext uri="{FF2B5EF4-FFF2-40B4-BE49-F238E27FC236}">
                  <a16:creationId xmlns:a16="http://schemas.microsoft.com/office/drawing/2014/main" id="{DE597F22-FF88-4E5E-A5A5-679B90C21B24}"/>
                </a:ext>
              </a:extLst>
            </p:cNvPr>
            <p:cNvSpPr>
              <a:spLocks/>
            </p:cNvSpPr>
            <p:nvPr/>
          </p:nvSpPr>
          <p:spPr bwMode="auto">
            <a:xfrm>
              <a:off x="8348832" y="2306243"/>
              <a:ext cx="29658" cy="21184"/>
            </a:xfrm>
            <a:custGeom>
              <a:avLst/>
              <a:gdLst>
                <a:gd name="T0" fmla="*/ 5 w 9"/>
                <a:gd name="T1" fmla="*/ 0 h 6"/>
                <a:gd name="T2" fmla="*/ 4 w 9"/>
                <a:gd name="T3" fmla="*/ 1 h 6"/>
                <a:gd name="T4" fmla="*/ 3 w 9"/>
                <a:gd name="T5" fmla="*/ 1 h 6"/>
                <a:gd name="T6" fmla="*/ 3 w 9"/>
                <a:gd name="T7" fmla="*/ 1 h 6"/>
                <a:gd name="T8" fmla="*/ 3 w 9"/>
                <a:gd name="T9" fmla="*/ 1 h 6"/>
                <a:gd name="T10" fmla="*/ 2 w 9"/>
                <a:gd name="T11" fmla="*/ 1 h 6"/>
                <a:gd name="T12" fmla="*/ 0 w 9"/>
                <a:gd name="T13" fmla="*/ 1 h 6"/>
                <a:gd name="T14" fmla="*/ 0 w 9"/>
                <a:gd name="T15" fmla="*/ 1 h 6"/>
                <a:gd name="T16" fmla="*/ 0 w 9"/>
                <a:gd name="T17" fmla="*/ 2 h 6"/>
                <a:gd name="T18" fmla="*/ 1 w 9"/>
                <a:gd name="T19" fmla="*/ 2 h 6"/>
                <a:gd name="T20" fmla="*/ 5 w 9"/>
                <a:gd name="T21" fmla="*/ 3 h 6"/>
                <a:gd name="T22" fmla="*/ 8 w 9"/>
                <a:gd name="T23" fmla="*/ 6 h 6"/>
                <a:gd name="T24" fmla="*/ 9 w 9"/>
                <a:gd name="T25" fmla="*/ 6 h 6"/>
                <a:gd name="T26" fmla="*/ 6 w 9"/>
                <a:gd name="T27" fmla="*/ 2 h 6"/>
                <a:gd name="T28" fmla="*/ 5 w 9"/>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6">
                  <a:moveTo>
                    <a:pt x="5" y="0"/>
                  </a:moveTo>
                  <a:cubicBezTo>
                    <a:pt x="4" y="1"/>
                    <a:pt x="4" y="1"/>
                    <a:pt x="4" y="1"/>
                  </a:cubicBezTo>
                  <a:cubicBezTo>
                    <a:pt x="3" y="1"/>
                    <a:pt x="3" y="1"/>
                    <a:pt x="3" y="1"/>
                  </a:cubicBezTo>
                  <a:cubicBezTo>
                    <a:pt x="3" y="1"/>
                    <a:pt x="3" y="1"/>
                    <a:pt x="3" y="1"/>
                  </a:cubicBezTo>
                  <a:cubicBezTo>
                    <a:pt x="3" y="1"/>
                    <a:pt x="3" y="1"/>
                    <a:pt x="3" y="1"/>
                  </a:cubicBezTo>
                  <a:cubicBezTo>
                    <a:pt x="2" y="1"/>
                    <a:pt x="2" y="1"/>
                    <a:pt x="2" y="1"/>
                  </a:cubicBezTo>
                  <a:cubicBezTo>
                    <a:pt x="1" y="1"/>
                    <a:pt x="1" y="1"/>
                    <a:pt x="0" y="1"/>
                  </a:cubicBezTo>
                  <a:cubicBezTo>
                    <a:pt x="0" y="1"/>
                    <a:pt x="0" y="1"/>
                    <a:pt x="0" y="1"/>
                  </a:cubicBezTo>
                  <a:cubicBezTo>
                    <a:pt x="0" y="2"/>
                    <a:pt x="0" y="2"/>
                    <a:pt x="0" y="2"/>
                  </a:cubicBezTo>
                  <a:cubicBezTo>
                    <a:pt x="0" y="2"/>
                    <a:pt x="1" y="2"/>
                    <a:pt x="1" y="2"/>
                  </a:cubicBezTo>
                  <a:cubicBezTo>
                    <a:pt x="3" y="2"/>
                    <a:pt x="5" y="2"/>
                    <a:pt x="5" y="3"/>
                  </a:cubicBezTo>
                  <a:cubicBezTo>
                    <a:pt x="6" y="4"/>
                    <a:pt x="7" y="4"/>
                    <a:pt x="8" y="6"/>
                  </a:cubicBezTo>
                  <a:cubicBezTo>
                    <a:pt x="9" y="6"/>
                    <a:pt x="9" y="6"/>
                    <a:pt x="9" y="6"/>
                  </a:cubicBezTo>
                  <a:cubicBezTo>
                    <a:pt x="6" y="2"/>
                    <a:pt x="6" y="2"/>
                    <a:pt x="6" y="2"/>
                  </a:cubicBezTo>
                  <a:cubicBezTo>
                    <a:pt x="5" y="1"/>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4" name="Freeform 245">
              <a:extLst>
                <a:ext uri="{FF2B5EF4-FFF2-40B4-BE49-F238E27FC236}">
                  <a16:creationId xmlns:a16="http://schemas.microsoft.com/office/drawing/2014/main" id="{E1914DD4-0F03-4EE2-BDC7-FB193B6E7461}"/>
                </a:ext>
              </a:extLst>
            </p:cNvPr>
            <p:cNvSpPr>
              <a:spLocks/>
            </p:cNvSpPr>
            <p:nvPr/>
          </p:nvSpPr>
          <p:spPr bwMode="auto">
            <a:xfrm>
              <a:off x="7514181" y="2022376"/>
              <a:ext cx="971642" cy="1413686"/>
            </a:xfrm>
            <a:custGeom>
              <a:avLst/>
              <a:gdLst>
                <a:gd name="T0" fmla="*/ 139 w 291"/>
                <a:gd name="T1" fmla="*/ 2 h 423"/>
                <a:gd name="T2" fmla="*/ 144 w 291"/>
                <a:gd name="T3" fmla="*/ 17 h 423"/>
                <a:gd name="T4" fmla="*/ 135 w 291"/>
                <a:gd name="T5" fmla="*/ 33 h 423"/>
                <a:gd name="T6" fmla="*/ 96 w 291"/>
                <a:gd name="T7" fmla="*/ 61 h 423"/>
                <a:gd name="T8" fmla="*/ 77 w 291"/>
                <a:gd name="T9" fmla="*/ 73 h 423"/>
                <a:gd name="T10" fmla="*/ 63 w 291"/>
                <a:gd name="T11" fmla="*/ 102 h 423"/>
                <a:gd name="T12" fmla="*/ 54 w 291"/>
                <a:gd name="T13" fmla="*/ 112 h 423"/>
                <a:gd name="T14" fmla="*/ 39 w 291"/>
                <a:gd name="T15" fmla="*/ 103 h 423"/>
                <a:gd name="T16" fmla="*/ 31 w 291"/>
                <a:gd name="T17" fmla="*/ 98 h 423"/>
                <a:gd name="T18" fmla="*/ 21 w 291"/>
                <a:gd name="T19" fmla="*/ 100 h 423"/>
                <a:gd name="T20" fmla="*/ 18 w 291"/>
                <a:gd name="T21" fmla="*/ 94 h 423"/>
                <a:gd name="T22" fmla="*/ 23 w 291"/>
                <a:gd name="T23" fmla="*/ 83 h 423"/>
                <a:gd name="T24" fmla="*/ 1 w 291"/>
                <a:gd name="T25" fmla="*/ 104 h 423"/>
                <a:gd name="T26" fmla="*/ 48 w 291"/>
                <a:gd name="T27" fmla="*/ 180 h 423"/>
                <a:gd name="T28" fmla="*/ 85 w 291"/>
                <a:gd name="T29" fmla="*/ 256 h 423"/>
                <a:gd name="T30" fmla="*/ 105 w 291"/>
                <a:gd name="T31" fmla="*/ 286 h 423"/>
                <a:gd name="T32" fmla="*/ 117 w 291"/>
                <a:gd name="T33" fmla="*/ 325 h 423"/>
                <a:gd name="T34" fmla="*/ 154 w 291"/>
                <a:gd name="T35" fmla="*/ 360 h 423"/>
                <a:gd name="T36" fmla="*/ 251 w 291"/>
                <a:gd name="T37" fmla="*/ 423 h 423"/>
                <a:gd name="T38" fmla="*/ 269 w 291"/>
                <a:gd name="T39" fmla="*/ 403 h 423"/>
                <a:gd name="T40" fmla="*/ 268 w 291"/>
                <a:gd name="T41" fmla="*/ 399 h 423"/>
                <a:gd name="T42" fmla="*/ 282 w 291"/>
                <a:gd name="T43" fmla="*/ 381 h 423"/>
                <a:gd name="T44" fmla="*/ 275 w 291"/>
                <a:gd name="T45" fmla="*/ 363 h 423"/>
                <a:gd name="T46" fmla="*/ 281 w 291"/>
                <a:gd name="T47" fmla="*/ 331 h 423"/>
                <a:gd name="T48" fmla="*/ 285 w 291"/>
                <a:gd name="T49" fmla="*/ 322 h 423"/>
                <a:gd name="T50" fmla="*/ 282 w 291"/>
                <a:gd name="T51" fmla="*/ 310 h 423"/>
                <a:gd name="T52" fmla="*/ 286 w 291"/>
                <a:gd name="T53" fmla="*/ 294 h 423"/>
                <a:gd name="T54" fmla="*/ 271 w 291"/>
                <a:gd name="T55" fmla="*/ 252 h 423"/>
                <a:gd name="T56" fmla="*/ 267 w 291"/>
                <a:gd name="T57" fmla="*/ 252 h 423"/>
                <a:gd name="T58" fmla="*/ 256 w 291"/>
                <a:gd name="T59" fmla="*/ 255 h 423"/>
                <a:gd name="T60" fmla="*/ 245 w 291"/>
                <a:gd name="T61" fmla="*/ 243 h 423"/>
                <a:gd name="T62" fmla="*/ 241 w 291"/>
                <a:gd name="T63" fmla="*/ 225 h 423"/>
                <a:gd name="T64" fmla="*/ 226 w 291"/>
                <a:gd name="T65" fmla="*/ 230 h 423"/>
                <a:gd name="T66" fmla="*/ 209 w 291"/>
                <a:gd name="T67" fmla="*/ 224 h 423"/>
                <a:gd name="T68" fmla="*/ 182 w 291"/>
                <a:gd name="T69" fmla="*/ 215 h 423"/>
                <a:gd name="T70" fmla="*/ 178 w 291"/>
                <a:gd name="T71" fmla="*/ 188 h 423"/>
                <a:gd name="T72" fmla="*/ 168 w 291"/>
                <a:gd name="T73" fmla="*/ 167 h 423"/>
                <a:gd name="T74" fmla="*/ 183 w 291"/>
                <a:gd name="T75" fmla="*/ 145 h 423"/>
                <a:gd name="T76" fmla="*/ 187 w 291"/>
                <a:gd name="T77" fmla="*/ 137 h 423"/>
                <a:gd name="T78" fmla="*/ 191 w 291"/>
                <a:gd name="T79" fmla="*/ 126 h 423"/>
                <a:gd name="T80" fmla="*/ 196 w 291"/>
                <a:gd name="T81" fmla="*/ 110 h 423"/>
                <a:gd name="T82" fmla="*/ 224 w 291"/>
                <a:gd name="T83" fmla="*/ 95 h 423"/>
                <a:gd name="T84" fmla="*/ 240 w 291"/>
                <a:gd name="T85" fmla="*/ 93 h 423"/>
                <a:gd name="T86" fmla="*/ 249 w 291"/>
                <a:gd name="T87" fmla="*/ 87 h 423"/>
                <a:gd name="T88" fmla="*/ 251 w 291"/>
                <a:gd name="T89" fmla="*/ 69 h 423"/>
                <a:gd name="T90" fmla="*/ 255 w 291"/>
                <a:gd name="T91" fmla="*/ 55 h 423"/>
                <a:gd name="T92" fmla="*/ 242 w 291"/>
                <a:gd name="T93" fmla="*/ 50 h 423"/>
                <a:gd name="T94" fmla="*/ 238 w 291"/>
                <a:gd name="T95" fmla="*/ 50 h 423"/>
                <a:gd name="T96" fmla="*/ 225 w 291"/>
                <a:gd name="T97" fmla="*/ 50 h 423"/>
                <a:gd name="T98" fmla="*/ 216 w 291"/>
                <a:gd name="T99" fmla="*/ 54 h 423"/>
                <a:gd name="T100" fmla="*/ 208 w 291"/>
                <a:gd name="T101" fmla="*/ 55 h 423"/>
                <a:gd name="T102" fmla="*/ 202 w 291"/>
                <a:gd name="T103" fmla="*/ 55 h 423"/>
                <a:gd name="T104" fmla="*/ 189 w 291"/>
                <a:gd name="T105" fmla="*/ 42 h 423"/>
                <a:gd name="T106" fmla="*/ 187 w 291"/>
                <a:gd name="T107" fmla="*/ 40 h 423"/>
                <a:gd name="T108" fmla="*/ 182 w 291"/>
                <a:gd name="T109" fmla="*/ 39 h 423"/>
                <a:gd name="T110" fmla="*/ 179 w 291"/>
                <a:gd name="T111" fmla="*/ 32 h 423"/>
                <a:gd name="T112" fmla="*/ 171 w 291"/>
                <a:gd name="T113" fmla="*/ 25 h 423"/>
                <a:gd name="T114" fmla="*/ 159 w 291"/>
                <a:gd name="T115" fmla="*/ 10 h 423"/>
                <a:gd name="T116" fmla="*/ 149 w 291"/>
                <a:gd name="T117" fmla="*/ 1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1" h="423">
                  <a:moveTo>
                    <a:pt x="147" y="0"/>
                  </a:moveTo>
                  <a:cubicBezTo>
                    <a:pt x="140" y="0"/>
                    <a:pt x="140" y="0"/>
                    <a:pt x="140" y="0"/>
                  </a:cubicBezTo>
                  <a:cubicBezTo>
                    <a:pt x="140" y="0"/>
                    <a:pt x="140" y="0"/>
                    <a:pt x="140" y="0"/>
                  </a:cubicBezTo>
                  <a:cubicBezTo>
                    <a:pt x="139" y="0"/>
                    <a:pt x="139" y="0"/>
                    <a:pt x="139" y="0"/>
                  </a:cubicBezTo>
                  <a:cubicBezTo>
                    <a:pt x="139" y="0"/>
                    <a:pt x="139" y="1"/>
                    <a:pt x="139" y="1"/>
                  </a:cubicBezTo>
                  <a:cubicBezTo>
                    <a:pt x="139" y="2"/>
                    <a:pt x="139" y="2"/>
                    <a:pt x="139" y="2"/>
                  </a:cubicBezTo>
                  <a:cubicBezTo>
                    <a:pt x="140" y="2"/>
                    <a:pt x="140" y="2"/>
                    <a:pt x="140" y="2"/>
                  </a:cubicBezTo>
                  <a:cubicBezTo>
                    <a:pt x="140" y="3"/>
                    <a:pt x="140" y="3"/>
                    <a:pt x="140" y="3"/>
                  </a:cubicBezTo>
                  <a:cubicBezTo>
                    <a:pt x="140" y="4"/>
                    <a:pt x="141" y="4"/>
                    <a:pt x="141" y="5"/>
                  </a:cubicBezTo>
                  <a:cubicBezTo>
                    <a:pt x="142" y="6"/>
                    <a:pt x="142" y="7"/>
                    <a:pt x="143" y="8"/>
                  </a:cubicBezTo>
                  <a:cubicBezTo>
                    <a:pt x="143" y="9"/>
                    <a:pt x="144" y="10"/>
                    <a:pt x="144" y="11"/>
                  </a:cubicBezTo>
                  <a:cubicBezTo>
                    <a:pt x="145" y="13"/>
                    <a:pt x="145" y="15"/>
                    <a:pt x="144" y="17"/>
                  </a:cubicBezTo>
                  <a:cubicBezTo>
                    <a:pt x="144" y="18"/>
                    <a:pt x="143" y="20"/>
                    <a:pt x="141" y="22"/>
                  </a:cubicBezTo>
                  <a:cubicBezTo>
                    <a:pt x="141" y="22"/>
                    <a:pt x="141" y="23"/>
                    <a:pt x="140" y="23"/>
                  </a:cubicBezTo>
                  <a:cubicBezTo>
                    <a:pt x="140" y="24"/>
                    <a:pt x="140" y="24"/>
                    <a:pt x="140" y="24"/>
                  </a:cubicBezTo>
                  <a:cubicBezTo>
                    <a:pt x="139" y="25"/>
                    <a:pt x="139" y="25"/>
                    <a:pt x="139" y="25"/>
                  </a:cubicBezTo>
                  <a:cubicBezTo>
                    <a:pt x="139" y="26"/>
                    <a:pt x="139" y="26"/>
                    <a:pt x="139" y="26"/>
                  </a:cubicBezTo>
                  <a:cubicBezTo>
                    <a:pt x="138" y="28"/>
                    <a:pt x="137" y="31"/>
                    <a:pt x="135" y="33"/>
                  </a:cubicBezTo>
                  <a:cubicBezTo>
                    <a:pt x="135" y="33"/>
                    <a:pt x="135" y="33"/>
                    <a:pt x="135" y="33"/>
                  </a:cubicBezTo>
                  <a:cubicBezTo>
                    <a:pt x="134" y="34"/>
                    <a:pt x="134" y="34"/>
                    <a:pt x="134" y="34"/>
                  </a:cubicBezTo>
                  <a:cubicBezTo>
                    <a:pt x="132" y="36"/>
                    <a:pt x="130" y="38"/>
                    <a:pt x="128" y="40"/>
                  </a:cubicBezTo>
                  <a:cubicBezTo>
                    <a:pt x="127" y="42"/>
                    <a:pt x="125" y="43"/>
                    <a:pt x="123" y="45"/>
                  </a:cubicBezTo>
                  <a:cubicBezTo>
                    <a:pt x="120" y="48"/>
                    <a:pt x="116" y="52"/>
                    <a:pt x="112" y="55"/>
                  </a:cubicBezTo>
                  <a:cubicBezTo>
                    <a:pt x="107" y="58"/>
                    <a:pt x="102" y="60"/>
                    <a:pt x="96" y="61"/>
                  </a:cubicBezTo>
                  <a:cubicBezTo>
                    <a:pt x="95" y="62"/>
                    <a:pt x="95" y="62"/>
                    <a:pt x="95" y="62"/>
                  </a:cubicBezTo>
                  <a:cubicBezTo>
                    <a:pt x="94" y="62"/>
                    <a:pt x="92" y="63"/>
                    <a:pt x="90" y="63"/>
                  </a:cubicBezTo>
                  <a:cubicBezTo>
                    <a:pt x="86" y="64"/>
                    <a:pt x="83" y="66"/>
                    <a:pt x="80" y="68"/>
                  </a:cubicBezTo>
                  <a:cubicBezTo>
                    <a:pt x="80" y="69"/>
                    <a:pt x="80" y="69"/>
                    <a:pt x="79" y="69"/>
                  </a:cubicBezTo>
                  <a:cubicBezTo>
                    <a:pt x="79" y="70"/>
                    <a:pt x="79" y="70"/>
                    <a:pt x="79" y="70"/>
                  </a:cubicBezTo>
                  <a:cubicBezTo>
                    <a:pt x="78" y="71"/>
                    <a:pt x="77" y="72"/>
                    <a:pt x="77" y="73"/>
                  </a:cubicBezTo>
                  <a:cubicBezTo>
                    <a:pt x="77" y="73"/>
                    <a:pt x="77" y="73"/>
                    <a:pt x="77" y="73"/>
                  </a:cubicBezTo>
                  <a:cubicBezTo>
                    <a:pt x="77" y="75"/>
                    <a:pt x="76" y="77"/>
                    <a:pt x="74" y="78"/>
                  </a:cubicBezTo>
                  <a:cubicBezTo>
                    <a:pt x="73" y="78"/>
                    <a:pt x="72" y="79"/>
                    <a:pt x="71" y="79"/>
                  </a:cubicBezTo>
                  <a:cubicBezTo>
                    <a:pt x="71" y="79"/>
                    <a:pt x="71" y="80"/>
                    <a:pt x="71" y="81"/>
                  </a:cubicBezTo>
                  <a:cubicBezTo>
                    <a:pt x="71" y="81"/>
                    <a:pt x="71" y="81"/>
                    <a:pt x="71" y="82"/>
                  </a:cubicBezTo>
                  <a:cubicBezTo>
                    <a:pt x="69" y="88"/>
                    <a:pt x="67" y="96"/>
                    <a:pt x="63" y="102"/>
                  </a:cubicBezTo>
                  <a:cubicBezTo>
                    <a:pt x="62" y="104"/>
                    <a:pt x="61" y="106"/>
                    <a:pt x="59" y="108"/>
                  </a:cubicBezTo>
                  <a:cubicBezTo>
                    <a:pt x="59" y="108"/>
                    <a:pt x="59" y="108"/>
                    <a:pt x="59" y="108"/>
                  </a:cubicBezTo>
                  <a:cubicBezTo>
                    <a:pt x="58" y="109"/>
                    <a:pt x="57" y="109"/>
                    <a:pt x="57" y="110"/>
                  </a:cubicBezTo>
                  <a:cubicBezTo>
                    <a:pt x="56" y="111"/>
                    <a:pt x="56" y="111"/>
                    <a:pt x="55" y="111"/>
                  </a:cubicBezTo>
                  <a:cubicBezTo>
                    <a:pt x="55" y="112"/>
                    <a:pt x="55" y="112"/>
                    <a:pt x="54" y="112"/>
                  </a:cubicBezTo>
                  <a:cubicBezTo>
                    <a:pt x="54" y="112"/>
                    <a:pt x="54" y="112"/>
                    <a:pt x="54" y="112"/>
                  </a:cubicBezTo>
                  <a:cubicBezTo>
                    <a:pt x="53" y="113"/>
                    <a:pt x="53" y="113"/>
                    <a:pt x="52" y="113"/>
                  </a:cubicBezTo>
                  <a:cubicBezTo>
                    <a:pt x="51" y="113"/>
                    <a:pt x="50" y="113"/>
                    <a:pt x="49" y="112"/>
                  </a:cubicBezTo>
                  <a:cubicBezTo>
                    <a:pt x="49" y="112"/>
                    <a:pt x="49" y="112"/>
                    <a:pt x="49" y="112"/>
                  </a:cubicBezTo>
                  <a:cubicBezTo>
                    <a:pt x="46" y="112"/>
                    <a:pt x="44" y="110"/>
                    <a:pt x="42" y="108"/>
                  </a:cubicBezTo>
                  <a:cubicBezTo>
                    <a:pt x="41" y="107"/>
                    <a:pt x="41" y="107"/>
                    <a:pt x="41" y="107"/>
                  </a:cubicBezTo>
                  <a:cubicBezTo>
                    <a:pt x="41" y="106"/>
                    <a:pt x="40" y="104"/>
                    <a:pt x="39" y="103"/>
                  </a:cubicBezTo>
                  <a:cubicBezTo>
                    <a:pt x="39" y="102"/>
                    <a:pt x="39" y="101"/>
                    <a:pt x="38" y="100"/>
                  </a:cubicBezTo>
                  <a:cubicBezTo>
                    <a:pt x="37" y="100"/>
                    <a:pt x="37" y="100"/>
                    <a:pt x="37" y="100"/>
                  </a:cubicBezTo>
                  <a:cubicBezTo>
                    <a:pt x="37" y="101"/>
                    <a:pt x="37" y="101"/>
                    <a:pt x="37" y="101"/>
                  </a:cubicBezTo>
                  <a:cubicBezTo>
                    <a:pt x="36" y="100"/>
                    <a:pt x="36" y="100"/>
                    <a:pt x="36" y="100"/>
                  </a:cubicBezTo>
                  <a:cubicBezTo>
                    <a:pt x="35" y="100"/>
                    <a:pt x="33" y="99"/>
                    <a:pt x="32" y="98"/>
                  </a:cubicBezTo>
                  <a:cubicBezTo>
                    <a:pt x="31" y="98"/>
                    <a:pt x="31" y="98"/>
                    <a:pt x="31" y="98"/>
                  </a:cubicBezTo>
                  <a:cubicBezTo>
                    <a:pt x="30" y="98"/>
                    <a:pt x="29" y="97"/>
                    <a:pt x="28" y="97"/>
                  </a:cubicBezTo>
                  <a:cubicBezTo>
                    <a:pt x="27" y="97"/>
                    <a:pt x="27" y="97"/>
                    <a:pt x="27" y="97"/>
                  </a:cubicBezTo>
                  <a:cubicBezTo>
                    <a:pt x="27" y="98"/>
                    <a:pt x="27" y="98"/>
                    <a:pt x="26" y="98"/>
                  </a:cubicBezTo>
                  <a:cubicBezTo>
                    <a:pt x="25" y="99"/>
                    <a:pt x="24" y="99"/>
                    <a:pt x="23" y="99"/>
                  </a:cubicBezTo>
                  <a:cubicBezTo>
                    <a:pt x="22" y="99"/>
                    <a:pt x="22" y="99"/>
                    <a:pt x="22" y="99"/>
                  </a:cubicBezTo>
                  <a:cubicBezTo>
                    <a:pt x="22" y="100"/>
                    <a:pt x="21" y="100"/>
                    <a:pt x="21" y="100"/>
                  </a:cubicBezTo>
                  <a:cubicBezTo>
                    <a:pt x="21" y="100"/>
                    <a:pt x="21" y="100"/>
                    <a:pt x="20" y="100"/>
                  </a:cubicBezTo>
                  <a:cubicBezTo>
                    <a:pt x="20" y="100"/>
                    <a:pt x="20" y="100"/>
                    <a:pt x="20" y="100"/>
                  </a:cubicBezTo>
                  <a:cubicBezTo>
                    <a:pt x="20" y="100"/>
                    <a:pt x="18" y="99"/>
                    <a:pt x="18" y="98"/>
                  </a:cubicBezTo>
                  <a:cubicBezTo>
                    <a:pt x="17" y="97"/>
                    <a:pt x="17" y="96"/>
                    <a:pt x="17" y="95"/>
                  </a:cubicBezTo>
                  <a:cubicBezTo>
                    <a:pt x="17" y="95"/>
                    <a:pt x="17" y="95"/>
                    <a:pt x="17" y="95"/>
                  </a:cubicBezTo>
                  <a:cubicBezTo>
                    <a:pt x="18" y="94"/>
                    <a:pt x="18" y="94"/>
                    <a:pt x="18" y="94"/>
                  </a:cubicBezTo>
                  <a:cubicBezTo>
                    <a:pt x="17" y="94"/>
                    <a:pt x="17" y="94"/>
                    <a:pt x="17" y="94"/>
                  </a:cubicBezTo>
                  <a:cubicBezTo>
                    <a:pt x="17" y="93"/>
                    <a:pt x="17" y="93"/>
                    <a:pt x="17" y="93"/>
                  </a:cubicBezTo>
                  <a:cubicBezTo>
                    <a:pt x="17" y="91"/>
                    <a:pt x="15" y="87"/>
                    <a:pt x="19" y="85"/>
                  </a:cubicBezTo>
                  <a:cubicBezTo>
                    <a:pt x="19" y="85"/>
                    <a:pt x="19" y="85"/>
                    <a:pt x="19" y="85"/>
                  </a:cubicBezTo>
                  <a:cubicBezTo>
                    <a:pt x="20" y="84"/>
                    <a:pt x="20" y="84"/>
                    <a:pt x="20" y="84"/>
                  </a:cubicBezTo>
                  <a:cubicBezTo>
                    <a:pt x="21" y="84"/>
                    <a:pt x="22" y="83"/>
                    <a:pt x="23" y="83"/>
                  </a:cubicBezTo>
                  <a:cubicBezTo>
                    <a:pt x="24" y="83"/>
                    <a:pt x="24" y="83"/>
                    <a:pt x="24" y="83"/>
                  </a:cubicBezTo>
                  <a:cubicBezTo>
                    <a:pt x="24" y="83"/>
                    <a:pt x="23" y="82"/>
                    <a:pt x="23" y="82"/>
                  </a:cubicBezTo>
                  <a:cubicBezTo>
                    <a:pt x="22" y="80"/>
                    <a:pt x="21" y="78"/>
                    <a:pt x="21" y="76"/>
                  </a:cubicBezTo>
                  <a:cubicBezTo>
                    <a:pt x="19" y="77"/>
                    <a:pt x="16" y="79"/>
                    <a:pt x="15" y="80"/>
                  </a:cubicBezTo>
                  <a:cubicBezTo>
                    <a:pt x="12" y="83"/>
                    <a:pt x="9" y="87"/>
                    <a:pt x="6" y="90"/>
                  </a:cubicBezTo>
                  <a:cubicBezTo>
                    <a:pt x="0" y="95"/>
                    <a:pt x="0" y="97"/>
                    <a:pt x="1" y="104"/>
                  </a:cubicBezTo>
                  <a:cubicBezTo>
                    <a:pt x="1" y="112"/>
                    <a:pt x="10" y="119"/>
                    <a:pt x="10" y="127"/>
                  </a:cubicBezTo>
                  <a:cubicBezTo>
                    <a:pt x="10" y="130"/>
                    <a:pt x="9" y="129"/>
                    <a:pt x="8" y="131"/>
                  </a:cubicBezTo>
                  <a:cubicBezTo>
                    <a:pt x="6" y="132"/>
                    <a:pt x="4" y="134"/>
                    <a:pt x="4" y="136"/>
                  </a:cubicBezTo>
                  <a:cubicBezTo>
                    <a:pt x="7" y="137"/>
                    <a:pt x="10" y="139"/>
                    <a:pt x="14" y="141"/>
                  </a:cubicBezTo>
                  <a:cubicBezTo>
                    <a:pt x="21" y="144"/>
                    <a:pt x="30" y="149"/>
                    <a:pt x="34" y="156"/>
                  </a:cubicBezTo>
                  <a:cubicBezTo>
                    <a:pt x="39" y="164"/>
                    <a:pt x="43" y="172"/>
                    <a:pt x="48" y="180"/>
                  </a:cubicBezTo>
                  <a:cubicBezTo>
                    <a:pt x="51" y="183"/>
                    <a:pt x="54" y="185"/>
                    <a:pt x="56" y="189"/>
                  </a:cubicBezTo>
                  <a:cubicBezTo>
                    <a:pt x="58" y="194"/>
                    <a:pt x="60" y="198"/>
                    <a:pt x="62" y="203"/>
                  </a:cubicBezTo>
                  <a:cubicBezTo>
                    <a:pt x="64" y="209"/>
                    <a:pt x="68" y="214"/>
                    <a:pt x="71" y="221"/>
                  </a:cubicBezTo>
                  <a:cubicBezTo>
                    <a:pt x="73" y="227"/>
                    <a:pt x="76" y="234"/>
                    <a:pt x="79" y="240"/>
                  </a:cubicBezTo>
                  <a:cubicBezTo>
                    <a:pt x="81" y="243"/>
                    <a:pt x="83" y="245"/>
                    <a:pt x="84" y="248"/>
                  </a:cubicBezTo>
                  <a:cubicBezTo>
                    <a:pt x="85" y="250"/>
                    <a:pt x="84" y="254"/>
                    <a:pt x="85" y="256"/>
                  </a:cubicBezTo>
                  <a:cubicBezTo>
                    <a:pt x="86" y="259"/>
                    <a:pt x="90" y="261"/>
                    <a:pt x="92" y="262"/>
                  </a:cubicBezTo>
                  <a:cubicBezTo>
                    <a:pt x="95" y="265"/>
                    <a:pt x="96" y="266"/>
                    <a:pt x="96" y="270"/>
                  </a:cubicBezTo>
                  <a:cubicBezTo>
                    <a:pt x="97" y="269"/>
                    <a:pt x="98" y="269"/>
                    <a:pt x="99" y="269"/>
                  </a:cubicBezTo>
                  <a:cubicBezTo>
                    <a:pt x="103" y="269"/>
                    <a:pt x="106" y="272"/>
                    <a:pt x="106" y="275"/>
                  </a:cubicBezTo>
                  <a:cubicBezTo>
                    <a:pt x="106" y="278"/>
                    <a:pt x="104" y="280"/>
                    <a:pt x="101" y="281"/>
                  </a:cubicBezTo>
                  <a:cubicBezTo>
                    <a:pt x="103" y="283"/>
                    <a:pt x="104" y="284"/>
                    <a:pt x="105" y="286"/>
                  </a:cubicBezTo>
                  <a:cubicBezTo>
                    <a:pt x="109" y="292"/>
                    <a:pt x="113" y="298"/>
                    <a:pt x="117" y="305"/>
                  </a:cubicBezTo>
                  <a:cubicBezTo>
                    <a:pt x="118" y="306"/>
                    <a:pt x="120" y="311"/>
                    <a:pt x="119" y="312"/>
                  </a:cubicBezTo>
                  <a:cubicBezTo>
                    <a:pt x="117" y="314"/>
                    <a:pt x="115" y="317"/>
                    <a:pt x="115" y="319"/>
                  </a:cubicBezTo>
                  <a:cubicBezTo>
                    <a:pt x="115" y="319"/>
                    <a:pt x="115" y="319"/>
                    <a:pt x="115" y="319"/>
                  </a:cubicBezTo>
                  <a:cubicBezTo>
                    <a:pt x="115" y="319"/>
                    <a:pt x="116" y="321"/>
                    <a:pt x="116" y="322"/>
                  </a:cubicBezTo>
                  <a:cubicBezTo>
                    <a:pt x="116" y="323"/>
                    <a:pt x="117" y="324"/>
                    <a:pt x="117" y="325"/>
                  </a:cubicBezTo>
                  <a:cubicBezTo>
                    <a:pt x="117" y="325"/>
                    <a:pt x="118" y="325"/>
                    <a:pt x="118" y="325"/>
                  </a:cubicBezTo>
                  <a:cubicBezTo>
                    <a:pt x="119" y="325"/>
                    <a:pt x="121" y="329"/>
                    <a:pt x="122" y="330"/>
                  </a:cubicBezTo>
                  <a:cubicBezTo>
                    <a:pt x="123" y="332"/>
                    <a:pt x="124" y="335"/>
                    <a:pt x="125" y="337"/>
                  </a:cubicBezTo>
                  <a:cubicBezTo>
                    <a:pt x="127" y="339"/>
                    <a:pt x="130" y="340"/>
                    <a:pt x="133" y="341"/>
                  </a:cubicBezTo>
                  <a:cubicBezTo>
                    <a:pt x="137" y="345"/>
                    <a:pt x="141" y="350"/>
                    <a:pt x="144" y="354"/>
                  </a:cubicBezTo>
                  <a:cubicBezTo>
                    <a:pt x="146" y="357"/>
                    <a:pt x="151" y="359"/>
                    <a:pt x="154" y="360"/>
                  </a:cubicBezTo>
                  <a:cubicBezTo>
                    <a:pt x="165" y="366"/>
                    <a:pt x="175" y="373"/>
                    <a:pt x="187" y="378"/>
                  </a:cubicBezTo>
                  <a:cubicBezTo>
                    <a:pt x="197" y="382"/>
                    <a:pt x="207" y="386"/>
                    <a:pt x="216" y="392"/>
                  </a:cubicBezTo>
                  <a:cubicBezTo>
                    <a:pt x="220" y="394"/>
                    <a:pt x="223" y="397"/>
                    <a:pt x="227" y="399"/>
                  </a:cubicBezTo>
                  <a:cubicBezTo>
                    <a:pt x="229" y="401"/>
                    <a:pt x="229" y="404"/>
                    <a:pt x="230" y="407"/>
                  </a:cubicBezTo>
                  <a:cubicBezTo>
                    <a:pt x="231" y="411"/>
                    <a:pt x="238" y="412"/>
                    <a:pt x="242" y="415"/>
                  </a:cubicBezTo>
                  <a:cubicBezTo>
                    <a:pt x="245" y="418"/>
                    <a:pt x="248" y="420"/>
                    <a:pt x="251" y="423"/>
                  </a:cubicBezTo>
                  <a:cubicBezTo>
                    <a:pt x="264" y="418"/>
                    <a:pt x="264" y="418"/>
                    <a:pt x="264" y="418"/>
                  </a:cubicBezTo>
                  <a:cubicBezTo>
                    <a:pt x="264" y="418"/>
                    <a:pt x="264" y="418"/>
                    <a:pt x="264" y="418"/>
                  </a:cubicBezTo>
                  <a:cubicBezTo>
                    <a:pt x="264" y="417"/>
                    <a:pt x="264" y="417"/>
                    <a:pt x="264" y="417"/>
                  </a:cubicBezTo>
                  <a:cubicBezTo>
                    <a:pt x="265" y="416"/>
                    <a:pt x="264" y="413"/>
                    <a:pt x="264" y="412"/>
                  </a:cubicBezTo>
                  <a:cubicBezTo>
                    <a:pt x="262" y="409"/>
                    <a:pt x="266" y="406"/>
                    <a:pt x="267" y="405"/>
                  </a:cubicBezTo>
                  <a:cubicBezTo>
                    <a:pt x="268" y="404"/>
                    <a:pt x="269" y="404"/>
                    <a:pt x="269" y="403"/>
                  </a:cubicBezTo>
                  <a:cubicBezTo>
                    <a:pt x="270" y="403"/>
                    <a:pt x="270" y="403"/>
                    <a:pt x="270" y="403"/>
                  </a:cubicBezTo>
                  <a:cubicBezTo>
                    <a:pt x="270" y="403"/>
                    <a:pt x="270" y="403"/>
                    <a:pt x="270" y="403"/>
                  </a:cubicBezTo>
                  <a:cubicBezTo>
                    <a:pt x="270" y="402"/>
                    <a:pt x="270" y="402"/>
                    <a:pt x="270" y="402"/>
                  </a:cubicBezTo>
                  <a:cubicBezTo>
                    <a:pt x="269" y="402"/>
                    <a:pt x="269" y="402"/>
                    <a:pt x="269" y="401"/>
                  </a:cubicBezTo>
                  <a:cubicBezTo>
                    <a:pt x="268" y="401"/>
                    <a:pt x="268" y="401"/>
                    <a:pt x="268" y="401"/>
                  </a:cubicBezTo>
                  <a:cubicBezTo>
                    <a:pt x="268" y="399"/>
                    <a:pt x="268" y="399"/>
                    <a:pt x="268" y="399"/>
                  </a:cubicBezTo>
                  <a:cubicBezTo>
                    <a:pt x="268" y="397"/>
                    <a:pt x="269" y="396"/>
                    <a:pt x="274" y="391"/>
                  </a:cubicBezTo>
                  <a:cubicBezTo>
                    <a:pt x="275" y="390"/>
                    <a:pt x="275" y="390"/>
                    <a:pt x="275" y="390"/>
                  </a:cubicBezTo>
                  <a:cubicBezTo>
                    <a:pt x="276" y="390"/>
                    <a:pt x="276" y="390"/>
                    <a:pt x="276" y="389"/>
                  </a:cubicBezTo>
                  <a:cubicBezTo>
                    <a:pt x="278" y="388"/>
                    <a:pt x="279" y="386"/>
                    <a:pt x="280" y="384"/>
                  </a:cubicBezTo>
                  <a:cubicBezTo>
                    <a:pt x="281" y="383"/>
                    <a:pt x="281" y="383"/>
                    <a:pt x="281" y="383"/>
                  </a:cubicBezTo>
                  <a:cubicBezTo>
                    <a:pt x="281" y="383"/>
                    <a:pt x="282" y="382"/>
                    <a:pt x="282" y="381"/>
                  </a:cubicBezTo>
                  <a:cubicBezTo>
                    <a:pt x="282" y="381"/>
                    <a:pt x="283" y="381"/>
                    <a:pt x="283" y="380"/>
                  </a:cubicBezTo>
                  <a:cubicBezTo>
                    <a:pt x="285" y="379"/>
                    <a:pt x="285" y="379"/>
                    <a:pt x="285" y="379"/>
                  </a:cubicBezTo>
                  <a:cubicBezTo>
                    <a:pt x="286" y="377"/>
                    <a:pt x="286" y="377"/>
                    <a:pt x="286" y="377"/>
                  </a:cubicBezTo>
                  <a:cubicBezTo>
                    <a:pt x="278" y="376"/>
                    <a:pt x="277" y="371"/>
                    <a:pt x="276" y="366"/>
                  </a:cubicBezTo>
                  <a:cubicBezTo>
                    <a:pt x="275" y="365"/>
                    <a:pt x="275" y="364"/>
                    <a:pt x="275" y="363"/>
                  </a:cubicBezTo>
                  <a:cubicBezTo>
                    <a:pt x="275" y="363"/>
                    <a:pt x="275" y="363"/>
                    <a:pt x="275" y="363"/>
                  </a:cubicBezTo>
                  <a:cubicBezTo>
                    <a:pt x="274" y="361"/>
                    <a:pt x="273" y="358"/>
                    <a:pt x="275" y="356"/>
                  </a:cubicBezTo>
                  <a:cubicBezTo>
                    <a:pt x="279" y="350"/>
                    <a:pt x="279" y="350"/>
                    <a:pt x="279" y="350"/>
                  </a:cubicBezTo>
                  <a:cubicBezTo>
                    <a:pt x="279" y="350"/>
                    <a:pt x="279" y="350"/>
                    <a:pt x="279" y="350"/>
                  </a:cubicBezTo>
                  <a:cubicBezTo>
                    <a:pt x="277" y="348"/>
                    <a:pt x="276" y="347"/>
                    <a:pt x="276" y="345"/>
                  </a:cubicBezTo>
                  <a:cubicBezTo>
                    <a:pt x="275" y="339"/>
                    <a:pt x="276" y="338"/>
                    <a:pt x="279" y="334"/>
                  </a:cubicBezTo>
                  <a:cubicBezTo>
                    <a:pt x="279" y="333"/>
                    <a:pt x="280" y="332"/>
                    <a:pt x="281" y="331"/>
                  </a:cubicBezTo>
                  <a:cubicBezTo>
                    <a:pt x="282" y="330"/>
                    <a:pt x="282" y="330"/>
                    <a:pt x="282" y="330"/>
                  </a:cubicBezTo>
                  <a:cubicBezTo>
                    <a:pt x="283" y="330"/>
                    <a:pt x="283" y="329"/>
                    <a:pt x="284" y="329"/>
                  </a:cubicBezTo>
                  <a:cubicBezTo>
                    <a:pt x="284" y="328"/>
                    <a:pt x="284" y="328"/>
                    <a:pt x="284" y="328"/>
                  </a:cubicBezTo>
                  <a:cubicBezTo>
                    <a:pt x="284" y="327"/>
                    <a:pt x="285" y="325"/>
                    <a:pt x="285" y="325"/>
                  </a:cubicBezTo>
                  <a:cubicBezTo>
                    <a:pt x="286" y="325"/>
                    <a:pt x="286" y="325"/>
                    <a:pt x="286" y="325"/>
                  </a:cubicBezTo>
                  <a:cubicBezTo>
                    <a:pt x="285" y="324"/>
                    <a:pt x="285" y="323"/>
                    <a:pt x="285" y="322"/>
                  </a:cubicBezTo>
                  <a:cubicBezTo>
                    <a:pt x="283" y="317"/>
                    <a:pt x="283" y="317"/>
                    <a:pt x="283" y="317"/>
                  </a:cubicBezTo>
                  <a:cubicBezTo>
                    <a:pt x="283" y="316"/>
                    <a:pt x="283" y="316"/>
                    <a:pt x="283" y="316"/>
                  </a:cubicBezTo>
                  <a:cubicBezTo>
                    <a:pt x="282" y="316"/>
                    <a:pt x="282" y="316"/>
                    <a:pt x="282" y="316"/>
                  </a:cubicBezTo>
                  <a:cubicBezTo>
                    <a:pt x="282" y="315"/>
                    <a:pt x="282" y="315"/>
                    <a:pt x="282" y="315"/>
                  </a:cubicBezTo>
                  <a:cubicBezTo>
                    <a:pt x="282" y="314"/>
                    <a:pt x="281" y="313"/>
                    <a:pt x="281" y="312"/>
                  </a:cubicBezTo>
                  <a:cubicBezTo>
                    <a:pt x="281" y="311"/>
                    <a:pt x="281" y="310"/>
                    <a:pt x="282" y="310"/>
                  </a:cubicBezTo>
                  <a:cubicBezTo>
                    <a:pt x="282" y="309"/>
                    <a:pt x="282" y="309"/>
                    <a:pt x="282" y="309"/>
                  </a:cubicBezTo>
                  <a:cubicBezTo>
                    <a:pt x="282" y="308"/>
                    <a:pt x="282" y="307"/>
                    <a:pt x="282" y="306"/>
                  </a:cubicBezTo>
                  <a:cubicBezTo>
                    <a:pt x="282" y="305"/>
                    <a:pt x="282" y="305"/>
                    <a:pt x="282" y="305"/>
                  </a:cubicBezTo>
                  <a:cubicBezTo>
                    <a:pt x="283" y="304"/>
                    <a:pt x="283" y="303"/>
                    <a:pt x="283" y="303"/>
                  </a:cubicBezTo>
                  <a:cubicBezTo>
                    <a:pt x="283" y="301"/>
                    <a:pt x="284" y="299"/>
                    <a:pt x="284" y="297"/>
                  </a:cubicBezTo>
                  <a:cubicBezTo>
                    <a:pt x="285" y="296"/>
                    <a:pt x="286" y="295"/>
                    <a:pt x="286" y="294"/>
                  </a:cubicBezTo>
                  <a:cubicBezTo>
                    <a:pt x="287" y="292"/>
                    <a:pt x="287" y="292"/>
                    <a:pt x="287" y="292"/>
                  </a:cubicBezTo>
                  <a:cubicBezTo>
                    <a:pt x="288" y="291"/>
                    <a:pt x="290" y="288"/>
                    <a:pt x="291" y="286"/>
                  </a:cubicBezTo>
                  <a:cubicBezTo>
                    <a:pt x="289" y="283"/>
                    <a:pt x="289" y="283"/>
                    <a:pt x="289" y="283"/>
                  </a:cubicBezTo>
                  <a:cubicBezTo>
                    <a:pt x="287" y="279"/>
                    <a:pt x="284" y="274"/>
                    <a:pt x="281" y="269"/>
                  </a:cubicBezTo>
                  <a:cubicBezTo>
                    <a:pt x="279" y="265"/>
                    <a:pt x="279" y="265"/>
                    <a:pt x="279" y="265"/>
                  </a:cubicBezTo>
                  <a:cubicBezTo>
                    <a:pt x="276" y="261"/>
                    <a:pt x="274" y="257"/>
                    <a:pt x="271" y="252"/>
                  </a:cubicBezTo>
                  <a:cubicBezTo>
                    <a:pt x="271" y="252"/>
                    <a:pt x="271" y="252"/>
                    <a:pt x="271" y="252"/>
                  </a:cubicBezTo>
                  <a:cubicBezTo>
                    <a:pt x="271" y="252"/>
                    <a:pt x="271" y="252"/>
                    <a:pt x="271" y="252"/>
                  </a:cubicBezTo>
                  <a:cubicBezTo>
                    <a:pt x="270" y="252"/>
                    <a:pt x="270" y="252"/>
                    <a:pt x="270" y="252"/>
                  </a:cubicBezTo>
                  <a:cubicBezTo>
                    <a:pt x="270" y="252"/>
                    <a:pt x="270" y="252"/>
                    <a:pt x="269" y="252"/>
                  </a:cubicBezTo>
                  <a:cubicBezTo>
                    <a:pt x="269" y="252"/>
                    <a:pt x="269" y="252"/>
                    <a:pt x="268" y="252"/>
                  </a:cubicBezTo>
                  <a:cubicBezTo>
                    <a:pt x="268" y="252"/>
                    <a:pt x="267" y="252"/>
                    <a:pt x="267" y="252"/>
                  </a:cubicBezTo>
                  <a:cubicBezTo>
                    <a:pt x="266" y="252"/>
                    <a:pt x="266" y="252"/>
                    <a:pt x="266" y="252"/>
                  </a:cubicBezTo>
                  <a:cubicBezTo>
                    <a:pt x="266" y="252"/>
                    <a:pt x="266" y="252"/>
                    <a:pt x="265" y="252"/>
                  </a:cubicBezTo>
                  <a:cubicBezTo>
                    <a:pt x="265" y="252"/>
                    <a:pt x="265" y="252"/>
                    <a:pt x="263" y="252"/>
                  </a:cubicBezTo>
                  <a:cubicBezTo>
                    <a:pt x="262" y="253"/>
                    <a:pt x="262" y="253"/>
                    <a:pt x="262" y="253"/>
                  </a:cubicBezTo>
                  <a:cubicBezTo>
                    <a:pt x="261" y="254"/>
                    <a:pt x="259" y="254"/>
                    <a:pt x="257" y="255"/>
                  </a:cubicBezTo>
                  <a:cubicBezTo>
                    <a:pt x="257" y="255"/>
                    <a:pt x="256" y="255"/>
                    <a:pt x="256" y="255"/>
                  </a:cubicBezTo>
                  <a:cubicBezTo>
                    <a:pt x="256" y="255"/>
                    <a:pt x="256" y="255"/>
                    <a:pt x="255" y="255"/>
                  </a:cubicBezTo>
                  <a:cubicBezTo>
                    <a:pt x="254" y="254"/>
                    <a:pt x="253" y="254"/>
                    <a:pt x="251" y="253"/>
                  </a:cubicBezTo>
                  <a:cubicBezTo>
                    <a:pt x="251" y="253"/>
                    <a:pt x="250" y="253"/>
                    <a:pt x="250" y="253"/>
                  </a:cubicBezTo>
                  <a:cubicBezTo>
                    <a:pt x="245" y="259"/>
                    <a:pt x="245" y="259"/>
                    <a:pt x="245" y="259"/>
                  </a:cubicBezTo>
                  <a:cubicBezTo>
                    <a:pt x="245" y="251"/>
                    <a:pt x="245" y="251"/>
                    <a:pt x="245" y="251"/>
                  </a:cubicBezTo>
                  <a:cubicBezTo>
                    <a:pt x="245" y="248"/>
                    <a:pt x="245" y="246"/>
                    <a:pt x="245" y="243"/>
                  </a:cubicBezTo>
                  <a:cubicBezTo>
                    <a:pt x="245" y="235"/>
                    <a:pt x="244" y="227"/>
                    <a:pt x="246" y="221"/>
                  </a:cubicBezTo>
                  <a:cubicBezTo>
                    <a:pt x="247" y="220"/>
                    <a:pt x="247" y="220"/>
                    <a:pt x="247" y="220"/>
                  </a:cubicBezTo>
                  <a:cubicBezTo>
                    <a:pt x="247" y="220"/>
                    <a:pt x="247" y="220"/>
                    <a:pt x="247" y="220"/>
                  </a:cubicBezTo>
                  <a:cubicBezTo>
                    <a:pt x="246" y="220"/>
                    <a:pt x="245" y="221"/>
                    <a:pt x="244" y="222"/>
                  </a:cubicBezTo>
                  <a:cubicBezTo>
                    <a:pt x="243" y="223"/>
                    <a:pt x="243" y="223"/>
                    <a:pt x="243" y="223"/>
                  </a:cubicBezTo>
                  <a:cubicBezTo>
                    <a:pt x="242" y="224"/>
                    <a:pt x="242" y="225"/>
                    <a:pt x="241" y="225"/>
                  </a:cubicBezTo>
                  <a:cubicBezTo>
                    <a:pt x="240" y="226"/>
                    <a:pt x="240" y="226"/>
                    <a:pt x="239" y="226"/>
                  </a:cubicBezTo>
                  <a:cubicBezTo>
                    <a:pt x="238" y="227"/>
                    <a:pt x="238" y="227"/>
                    <a:pt x="238" y="227"/>
                  </a:cubicBezTo>
                  <a:cubicBezTo>
                    <a:pt x="238" y="227"/>
                    <a:pt x="238" y="227"/>
                    <a:pt x="237" y="227"/>
                  </a:cubicBezTo>
                  <a:cubicBezTo>
                    <a:pt x="237" y="228"/>
                    <a:pt x="237" y="228"/>
                    <a:pt x="237" y="228"/>
                  </a:cubicBezTo>
                  <a:cubicBezTo>
                    <a:pt x="236" y="228"/>
                    <a:pt x="235" y="229"/>
                    <a:pt x="234" y="229"/>
                  </a:cubicBezTo>
                  <a:cubicBezTo>
                    <a:pt x="232" y="230"/>
                    <a:pt x="229" y="230"/>
                    <a:pt x="226" y="230"/>
                  </a:cubicBezTo>
                  <a:cubicBezTo>
                    <a:pt x="223" y="230"/>
                    <a:pt x="221" y="230"/>
                    <a:pt x="218" y="230"/>
                  </a:cubicBezTo>
                  <a:cubicBezTo>
                    <a:pt x="216" y="230"/>
                    <a:pt x="216" y="230"/>
                    <a:pt x="216" y="230"/>
                  </a:cubicBezTo>
                  <a:cubicBezTo>
                    <a:pt x="215" y="230"/>
                    <a:pt x="213" y="230"/>
                    <a:pt x="212" y="230"/>
                  </a:cubicBezTo>
                  <a:cubicBezTo>
                    <a:pt x="208" y="230"/>
                    <a:pt x="208" y="230"/>
                    <a:pt x="208" y="230"/>
                  </a:cubicBezTo>
                  <a:cubicBezTo>
                    <a:pt x="209" y="226"/>
                    <a:pt x="209" y="226"/>
                    <a:pt x="209" y="226"/>
                  </a:cubicBezTo>
                  <a:cubicBezTo>
                    <a:pt x="210" y="225"/>
                    <a:pt x="210" y="225"/>
                    <a:pt x="209" y="224"/>
                  </a:cubicBezTo>
                  <a:cubicBezTo>
                    <a:pt x="209" y="223"/>
                    <a:pt x="209" y="223"/>
                    <a:pt x="209" y="223"/>
                  </a:cubicBezTo>
                  <a:cubicBezTo>
                    <a:pt x="208" y="222"/>
                    <a:pt x="208" y="222"/>
                    <a:pt x="208" y="221"/>
                  </a:cubicBezTo>
                  <a:cubicBezTo>
                    <a:pt x="207" y="221"/>
                    <a:pt x="207" y="220"/>
                    <a:pt x="207" y="219"/>
                  </a:cubicBezTo>
                  <a:cubicBezTo>
                    <a:pt x="206" y="217"/>
                    <a:pt x="197" y="216"/>
                    <a:pt x="193" y="216"/>
                  </a:cubicBezTo>
                  <a:cubicBezTo>
                    <a:pt x="191" y="216"/>
                    <a:pt x="189" y="216"/>
                    <a:pt x="188" y="216"/>
                  </a:cubicBezTo>
                  <a:cubicBezTo>
                    <a:pt x="182" y="215"/>
                    <a:pt x="182" y="215"/>
                    <a:pt x="182" y="215"/>
                  </a:cubicBezTo>
                  <a:cubicBezTo>
                    <a:pt x="186" y="211"/>
                    <a:pt x="186" y="211"/>
                    <a:pt x="186" y="211"/>
                  </a:cubicBezTo>
                  <a:cubicBezTo>
                    <a:pt x="191" y="207"/>
                    <a:pt x="192" y="205"/>
                    <a:pt x="191" y="205"/>
                  </a:cubicBezTo>
                  <a:cubicBezTo>
                    <a:pt x="191" y="204"/>
                    <a:pt x="190" y="203"/>
                    <a:pt x="189" y="202"/>
                  </a:cubicBezTo>
                  <a:cubicBezTo>
                    <a:pt x="189" y="202"/>
                    <a:pt x="188" y="201"/>
                    <a:pt x="188" y="201"/>
                  </a:cubicBezTo>
                  <a:cubicBezTo>
                    <a:pt x="187" y="200"/>
                    <a:pt x="187" y="200"/>
                    <a:pt x="187" y="200"/>
                  </a:cubicBezTo>
                  <a:cubicBezTo>
                    <a:pt x="184" y="196"/>
                    <a:pt x="181" y="193"/>
                    <a:pt x="178" y="188"/>
                  </a:cubicBezTo>
                  <a:cubicBezTo>
                    <a:pt x="177" y="186"/>
                    <a:pt x="176" y="184"/>
                    <a:pt x="176" y="182"/>
                  </a:cubicBezTo>
                  <a:cubicBezTo>
                    <a:pt x="176" y="180"/>
                    <a:pt x="175" y="178"/>
                    <a:pt x="175" y="177"/>
                  </a:cubicBezTo>
                  <a:cubicBezTo>
                    <a:pt x="174" y="176"/>
                    <a:pt x="172" y="174"/>
                    <a:pt x="171" y="173"/>
                  </a:cubicBezTo>
                  <a:cubicBezTo>
                    <a:pt x="170" y="172"/>
                    <a:pt x="169" y="172"/>
                    <a:pt x="168" y="171"/>
                  </a:cubicBezTo>
                  <a:cubicBezTo>
                    <a:pt x="166" y="169"/>
                    <a:pt x="166" y="169"/>
                    <a:pt x="166" y="169"/>
                  </a:cubicBezTo>
                  <a:cubicBezTo>
                    <a:pt x="168" y="167"/>
                    <a:pt x="168" y="167"/>
                    <a:pt x="168" y="167"/>
                  </a:cubicBezTo>
                  <a:cubicBezTo>
                    <a:pt x="169" y="167"/>
                    <a:pt x="170" y="166"/>
                    <a:pt x="171" y="165"/>
                  </a:cubicBezTo>
                  <a:cubicBezTo>
                    <a:pt x="172" y="164"/>
                    <a:pt x="173" y="164"/>
                    <a:pt x="173" y="163"/>
                  </a:cubicBezTo>
                  <a:cubicBezTo>
                    <a:pt x="173" y="163"/>
                    <a:pt x="173" y="163"/>
                    <a:pt x="173" y="163"/>
                  </a:cubicBezTo>
                  <a:cubicBezTo>
                    <a:pt x="172" y="160"/>
                    <a:pt x="172" y="158"/>
                    <a:pt x="173" y="155"/>
                  </a:cubicBezTo>
                  <a:cubicBezTo>
                    <a:pt x="175" y="150"/>
                    <a:pt x="178" y="148"/>
                    <a:pt x="182" y="146"/>
                  </a:cubicBezTo>
                  <a:cubicBezTo>
                    <a:pt x="182" y="146"/>
                    <a:pt x="183" y="145"/>
                    <a:pt x="183" y="145"/>
                  </a:cubicBezTo>
                  <a:cubicBezTo>
                    <a:pt x="184" y="145"/>
                    <a:pt x="184" y="145"/>
                    <a:pt x="184" y="145"/>
                  </a:cubicBezTo>
                  <a:cubicBezTo>
                    <a:pt x="185" y="144"/>
                    <a:pt x="186" y="143"/>
                    <a:pt x="187" y="143"/>
                  </a:cubicBezTo>
                  <a:cubicBezTo>
                    <a:pt x="187" y="142"/>
                    <a:pt x="187" y="142"/>
                    <a:pt x="187" y="142"/>
                  </a:cubicBezTo>
                  <a:cubicBezTo>
                    <a:pt x="187" y="141"/>
                    <a:pt x="187" y="141"/>
                    <a:pt x="187" y="141"/>
                  </a:cubicBezTo>
                  <a:cubicBezTo>
                    <a:pt x="187" y="141"/>
                    <a:pt x="187" y="141"/>
                    <a:pt x="187" y="140"/>
                  </a:cubicBezTo>
                  <a:cubicBezTo>
                    <a:pt x="187" y="139"/>
                    <a:pt x="187" y="138"/>
                    <a:pt x="187" y="137"/>
                  </a:cubicBezTo>
                  <a:cubicBezTo>
                    <a:pt x="186" y="137"/>
                    <a:pt x="187" y="136"/>
                    <a:pt x="187" y="136"/>
                  </a:cubicBezTo>
                  <a:cubicBezTo>
                    <a:pt x="187" y="135"/>
                    <a:pt x="187" y="135"/>
                    <a:pt x="187" y="135"/>
                  </a:cubicBezTo>
                  <a:cubicBezTo>
                    <a:pt x="187" y="134"/>
                    <a:pt x="187" y="134"/>
                    <a:pt x="187" y="134"/>
                  </a:cubicBezTo>
                  <a:cubicBezTo>
                    <a:pt x="188" y="132"/>
                    <a:pt x="188" y="131"/>
                    <a:pt x="189" y="130"/>
                  </a:cubicBezTo>
                  <a:cubicBezTo>
                    <a:pt x="189" y="129"/>
                    <a:pt x="189" y="129"/>
                    <a:pt x="189" y="129"/>
                  </a:cubicBezTo>
                  <a:cubicBezTo>
                    <a:pt x="190" y="128"/>
                    <a:pt x="190" y="127"/>
                    <a:pt x="191" y="126"/>
                  </a:cubicBezTo>
                  <a:cubicBezTo>
                    <a:pt x="191" y="126"/>
                    <a:pt x="191" y="125"/>
                    <a:pt x="191" y="125"/>
                  </a:cubicBezTo>
                  <a:cubicBezTo>
                    <a:pt x="191" y="124"/>
                    <a:pt x="191" y="124"/>
                    <a:pt x="191" y="124"/>
                  </a:cubicBezTo>
                  <a:cubicBezTo>
                    <a:pt x="191" y="123"/>
                    <a:pt x="191" y="123"/>
                    <a:pt x="191" y="123"/>
                  </a:cubicBezTo>
                  <a:cubicBezTo>
                    <a:pt x="192" y="120"/>
                    <a:pt x="193" y="118"/>
                    <a:pt x="193" y="115"/>
                  </a:cubicBezTo>
                  <a:cubicBezTo>
                    <a:pt x="193" y="114"/>
                    <a:pt x="193" y="114"/>
                    <a:pt x="193" y="114"/>
                  </a:cubicBezTo>
                  <a:cubicBezTo>
                    <a:pt x="194" y="112"/>
                    <a:pt x="195" y="111"/>
                    <a:pt x="196" y="110"/>
                  </a:cubicBezTo>
                  <a:cubicBezTo>
                    <a:pt x="198" y="109"/>
                    <a:pt x="198" y="109"/>
                    <a:pt x="198" y="109"/>
                  </a:cubicBezTo>
                  <a:cubicBezTo>
                    <a:pt x="198" y="109"/>
                    <a:pt x="199" y="108"/>
                    <a:pt x="199" y="108"/>
                  </a:cubicBezTo>
                  <a:cubicBezTo>
                    <a:pt x="201" y="107"/>
                    <a:pt x="203" y="106"/>
                    <a:pt x="205" y="104"/>
                  </a:cubicBezTo>
                  <a:cubicBezTo>
                    <a:pt x="206" y="103"/>
                    <a:pt x="208" y="102"/>
                    <a:pt x="210" y="101"/>
                  </a:cubicBezTo>
                  <a:cubicBezTo>
                    <a:pt x="215" y="98"/>
                    <a:pt x="220" y="96"/>
                    <a:pt x="224" y="95"/>
                  </a:cubicBezTo>
                  <a:cubicBezTo>
                    <a:pt x="224" y="95"/>
                    <a:pt x="224" y="95"/>
                    <a:pt x="224" y="95"/>
                  </a:cubicBezTo>
                  <a:cubicBezTo>
                    <a:pt x="225" y="95"/>
                    <a:pt x="226" y="95"/>
                    <a:pt x="226" y="95"/>
                  </a:cubicBezTo>
                  <a:cubicBezTo>
                    <a:pt x="227" y="95"/>
                    <a:pt x="227" y="95"/>
                    <a:pt x="227" y="95"/>
                  </a:cubicBezTo>
                  <a:cubicBezTo>
                    <a:pt x="230" y="94"/>
                    <a:pt x="233" y="93"/>
                    <a:pt x="235" y="93"/>
                  </a:cubicBezTo>
                  <a:cubicBezTo>
                    <a:pt x="237" y="93"/>
                    <a:pt x="237" y="93"/>
                    <a:pt x="237" y="93"/>
                  </a:cubicBezTo>
                  <a:cubicBezTo>
                    <a:pt x="238" y="93"/>
                    <a:pt x="239" y="93"/>
                    <a:pt x="239" y="93"/>
                  </a:cubicBezTo>
                  <a:cubicBezTo>
                    <a:pt x="239" y="93"/>
                    <a:pt x="240" y="93"/>
                    <a:pt x="240" y="93"/>
                  </a:cubicBezTo>
                  <a:cubicBezTo>
                    <a:pt x="240" y="93"/>
                    <a:pt x="241" y="92"/>
                    <a:pt x="241" y="92"/>
                  </a:cubicBezTo>
                  <a:cubicBezTo>
                    <a:pt x="242" y="91"/>
                    <a:pt x="242" y="91"/>
                    <a:pt x="242" y="91"/>
                  </a:cubicBezTo>
                  <a:cubicBezTo>
                    <a:pt x="243" y="89"/>
                    <a:pt x="245" y="89"/>
                    <a:pt x="246" y="88"/>
                  </a:cubicBezTo>
                  <a:cubicBezTo>
                    <a:pt x="246" y="88"/>
                    <a:pt x="246" y="88"/>
                    <a:pt x="246" y="88"/>
                  </a:cubicBezTo>
                  <a:cubicBezTo>
                    <a:pt x="247" y="88"/>
                    <a:pt x="247" y="88"/>
                    <a:pt x="247" y="88"/>
                  </a:cubicBezTo>
                  <a:cubicBezTo>
                    <a:pt x="248" y="87"/>
                    <a:pt x="248" y="87"/>
                    <a:pt x="249" y="87"/>
                  </a:cubicBezTo>
                  <a:cubicBezTo>
                    <a:pt x="249" y="86"/>
                    <a:pt x="249" y="86"/>
                    <a:pt x="249" y="86"/>
                  </a:cubicBezTo>
                  <a:cubicBezTo>
                    <a:pt x="248" y="86"/>
                    <a:pt x="248" y="86"/>
                    <a:pt x="248" y="86"/>
                  </a:cubicBezTo>
                  <a:cubicBezTo>
                    <a:pt x="246" y="85"/>
                    <a:pt x="245" y="84"/>
                    <a:pt x="245" y="83"/>
                  </a:cubicBezTo>
                  <a:cubicBezTo>
                    <a:pt x="245" y="81"/>
                    <a:pt x="245" y="79"/>
                    <a:pt x="246" y="77"/>
                  </a:cubicBezTo>
                  <a:cubicBezTo>
                    <a:pt x="247" y="75"/>
                    <a:pt x="247" y="75"/>
                    <a:pt x="247" y="75"/>
                  </a:cubicBezTo>
                  <a:cubicBezTo>
                    <a:pt x="249" y="73"/>
                    <a:pt x="250" y="71"/>
                    <a:pt x="251" y="69"/>
                  </a:cubicBezTo>
                  <a:cubicBezTo>
                    <a:pt x="252" y="68"/>
                    <a:pt x="252" y="68"/>
                    <a:pt x="252" y="68"/>
                  </a:cubicBezTo>
                  <a:cubicBezTo>
                    <a:pt x="254" y="65"/>
                    <a:pt x="256" y="62"/>
                    <a:pt x="258" y="59"/>
                  </a:cubicBezTo>
                  <a:cubicBezTo>
                    <a:pt x="258" y="58"/>
                    <a:pt x="258" y="57"/>
                    <a:pt x="258" y="57"/>
                  </a:cubicBezTo>
                  <a:cubicBezTo>
                    <a:pt x="258" y="57"/>
                    <a:pt x="258" y="57"/>
                    <a:pt x="258" y="57"/>
                  </a:cubicBezTo>
                  <a:cubicBezTo>
                    <a:pt x="258" y="57"/>
                    <a:pt x="257" y="56"/>
                    <a:pt x="257" y="56"/>
                  </a:cubicBezTo>
                  <a:cubicBezTo>
                    <a:pt x="255" y="55"/>
                    <a:pt x="255" y="55"/>
                    <a:pt x="255" y="55"/>
                  </a:cubicBezTo>
                  <a:cubicBezTo>
                    <a:pt x="254" y="55"/>
                    <a:pt x="254" y="55"/>
                    <a:pt x="254" y="55"/>
                  </a:cubicBezTo>
                  <a:cubicBezTo>
                    <a:pt x="253" y="55"/>
                    <a:pt x="253" y="55"/>
                    <a:pt x="252" y="54"/>
                  </a:cubicBezTo>
                  <a:cubicBezTo>
                    <a:pt x="252" y="54"/>
                    <a:pt x="252" y="54"/>
                    <a:pt x="252" y="54"/>
                  </a:cubicBezTo>
                  <a:cubicBezTo>
                    <a:pt x="249" y="53"/>
                    <a:pt x="247" y="53"/>
                    <a:pt x="246" y="52"/>
                  </a:cubicBezTo>
                  <a:cubicBezTo>
                    <a:pt x="245" y="51"/>
                    <a:pt x="245" y="51"/>
                    <a:pt x="244" y="51"/>
                  </a:cubicBezTo>
                  <a:cubicBezTo>
                    <a:pt x="243" y="50"/>
                    <a:pt x="243" y="50"/>
                    <a:pt x="242" y="50"/>
                  </a:cubicBezTo>
                  <a:cubicBezTo>
                    <a:pt x="242" y="50"/>
                    <a:pt x="242" y="50"/>
                    <a:pt x="242" y="50"/>
                  </a:cubicBezTo>
                  <a:cubicBezTo>
                    <a:pt x="242" y="50"/>
                    <a:pt x="242" y="50"/>
                    <a:pt x="242" y="50"/>
                  </a:cubicBezTo>
                  <a:cubicBezTo>
                    <a:pt x="241" y="50"/>
                    <a:pt x="240" y="50"/>
                    <a:pt x="240" y="50"/>
                  </a:cubicBezTo>
                  <a:cubicBezTo>
                    <a:pt x="239" y="51"/>
                    <a:pt x="239" y="51"/>
                    <a:pt x="239" y="51"/>
                  </a:cubicBezTo>
                  <a:cubicBezTo>
                    <a:pt x="239" y="50"/>
                    <a:pt x="239" y="50"/>
                    <a:pt x="239" y="50"/>
                  </a:cubicBezTo>
                  <a:cubicBezTo>
                    <a:pt x="238" y="50"/>
                    <a:pt x="238" y="50"/>
                    <a:pt x="238" y="50"/>
                  </a:cubicBezTo>
                  <a:cubicBezTo>
                    <a:pt x="238" y="51"/>
                    <a:pt x="238" y="51"/>
                    <a:pt x="238" y="51"/>
                  </a:cubicBezTo>
                  <a:cubicBezTo>
                    <a:pt x="237" y="51"/>
                    <a:pt x="237" y="51"/>
                    <a:pt x="236" y="52"/>
                  </a:cubicBezTo>
                  <a:cubicBezTo>
                    <a:pt x="235" y="52"/>
                    <a:pt x="234" y="52"/>
                    <a:pt x="233" y="52"/>
                  </a:cubicBezTo>
                  <a:cubicBezTo>
                    <a:pt x="232" y="52"/>
                    <a:pt x="232" y="52"/>
                    <a:pt x="232" y="52"/>
                  </a:cubicBezTo>
                  <a:cubicBezTo>
                    <a:pt x="231" y="52"/>
                    <a:pt x="231" y="52"/>
                    <a:pt x="231" y="52"/>
                  </a:cubicBezTo>
                  <a:cubicBezTo>
                    <a:pt x="228" y="52"/>
                    <a:pt x="226" y="51"/>
                    <a:pt x="225" y="50"/>
                  </a:cubicBezTo>
                  <a:cubicBezTo>
                    <a:pt x="224" y="50"/>
                    <a:pt x="224" y="50"/>
                    <a:pt x="224" y="50"/>
                  </a:cubicBezTo>
                  <a:cubicBezTo>
                    <a:pt x="223" y="50"/>
                    <a:pt x="223" y="49"/>
                    <a:pt x="223" y="49"/>
                  </a:cubicBezTo>
                  <a:cubicBezTo>
                    <a:pt x="222" y="50"/>
                    <a:pt x="222" y="50"/>
                    <a:pt x="222" y="50"/>
                  </a:cubicBezTo>
                  <a:cubicBezTo>
                    <a:pt x="220" y="52"/>
                    <a:pt x="219" y="52"/>
                    <a:pt x="218" y="52"/>
                  </a:cubicBezTo>
                  <a:cubicBezTo>
                    <a:pt x="217" y="52"/>
                    <a:pt x="217" y="52"/>
                    <a:pt x="217" y="52"/>
                  </a:cubicBezTo>
                  <a:cubicBezTo>
                    <a:pt x="217" y="53"/>
                    <a:pt x="216" y="53"/>
                    <a:pt x="216" y="54"/>
                  </a:cubicBezTo>
                  <a:cubicBezTo>
                    <a:pt x="215" y="54"/>
                    <a:pt x="214" y="54"/>
                    <a:pt x="214" y="54"/>
                  </a:cubicBezTo>
                  <a:cubicBezTo>
                    <a:pt x="213" y="54"/>
                    <a:pt x="213" y="54"/>
                    <a:pt x="213" y="54"/>
                  </a:cubicBezTo>
                  <a:cubicBezTo>
                    <a:pt x="213" y="54"/>
                    <a:pt x="213" y="54"/>
                    <a:pt x="213" y="54"/>
                  </a:cubicBezTo>
                  <a:cubicBezTo>
                    <a:pt x="212" y="55"/>
                    <a:pt x="211" y="55"/>
                    <a:pt x="210" y="55"/>
                  </a:cubicBezTo>
                  <a:cubicBezTo>
                    <a:pt x="210" y="55"/>
                    <a:pt x="210" y="55"/>
                    <a:pt x="210" y="55"/>
                  </a:cubicBezTo>
                  <a:cubicBezTo>
                    <a:pt x="210" y="55"/>
                    <a:pt x="209" y="55"/>
                    <a:pt x="208" y="55"/>
                  </a:cubicBezTo>
                  <a:cubicBezTo>
                    <a:pt x="208" y="54"/>
                    <a:pt x="208" y="54"/>
                    <a:pt x="208" y="54"/>
                  </a:cubicBezTo>
                  <a:cubicBezTo>
                    <a:pt x="207" y="54"/>
                    <a:pt x="207" y="54"/>
                    <a:pt x="207" y="54"/>
                  </a:cubicBezTo>
                  <a:cubicBezTo>
                    <a:pt x="206" y="54"/>
                    <a:pt x="206" y="54"/>
                    <a:pt x="206" y="54"/>
                  </a:cubicBezTo>
                  <a:cubicBezTo>
                    <a:pt x="205" y="54"/>
                    <a:pt x="205" y="53"/>
                    <a:pt x="204" y="53"/>
                  </a:cubicBezTo>
                  <a:cubicBezTo>
                    <a:pt x="204" y="53"/>
                    <a:pt x="204" y="53"/>
                    <a:pt x="204" y="53"/>
                  </a:cubicBezTo>
                  <a:cubicBezTo>
                    <a:pt x="204" y="54"/>
                    <a:pt x="203" y="54"/>
                    <a:pt x="202" y="55"/>
                  </a:cubicBezTo>
                  <a:cubicBezTo>
                    <a:pt x="201" y="55"/>
                    <a:pt x="201" y="55"/>
                    <a:pt x="199" y="55"/>
                  </a:cubicBezTo>
                  <a:cubicBezTo>
                    <a:pt x="198" y="55"/>
                    <a:pt x="197" y="55"/>
                    <a:pt x="197" y="55"/>
                  </a:cubicBezTo>
                  <a:cubicBezTo>
                    <a:pt x="191" y="54"/>
                    <a:pt x="190" y="49"/>
                    <a:pt x="189" y="45"/>
                  </a:cubicBezTo>
                  <a:cubicBezTo>
                    <a:pt x="189" y="44"/>
                    <a:pt x="189" y="44"/>
                    <a:pt x="189" y="44"/>
                  </a:cubicBezTo>
                  <a:cubicBezTo>
                    <a:pt x="189" y="44"/>
                    <a:pt x="189" y="43"/>
                    <a:pt x="189" y="43"/>
                  </a:cubicBezTo>
                  <a:cubicBezTo>
                    <a:pt x="189" y="42"/>
                    <a:pt x="189" y="42"/>
                    <a:pt x="189" y="42"/>
                  </a:cubicBezTo>
                  <a:cubicBezTo>
                    <a:pt x="189" y="41"/>
                    <a:pt x="189" y="41"/>
                    <a:pt x="189" y="41"/>
                  </a:cubicBezTo>
                  <a:cubicBezTo>
                    <a:pt x="189" y="41"/>
                    <a:pt x="189" y="41"/>
                    <a:pt x="189" y="41"/>
                  </a:cubicBezTo>
                  <a:cubicBezTo>
                    <a:pt x="188" y="40"/>
                    <a:pt x="188" y="40"/>
                    <a:pt x="188" y="40"/>
                  </a:cubicBezTo>
                  <a:cubicBezTo>
                    <a:pt x="188" y="40"/>
                    <a:pt x="188" y="40"/>
                    <a:pt x="188" y="40"/>
                  </a:cubicBezTo>
                  <a:cubicBezTo>
                    <a:pt x="188" y="40"/>
                    <a:pt x="188" y="40"/>
                    <a:pt x="188" y="40"/>
                  </a:cubicBezTo>
                  <a:cubicBezTo>
                    <a:pt x="187" y="40"/>
                    <a:pt x="187" y="40"/>
                    <a:pt x="187" y="40"/>
                  </a:cubicBezTo>
                  <a:cubicBezTo>
                    <a:pt x="186" y="40"/>
                    <a:pt x="186" y="40"/>
                    <a:pt x="186" y="40"/>
                  </a:cubicBezTo>
                  <a:cubicBezTo>
                    <a:pt x="185" y="40"/>
                    <a:pt x="185" y="40"/>
                    <a:pt x="185" y="40"/>
                  </a:cubicBezTo>
                  <a:cubicBezTo>
                    <a:pt x="185" y="40"/>
                    <a:pt x="185" y="40"/>
                    <a:pt x="185" y="40"/>
                  </a:cubicBezTo>
                  <a:cubicBezTo>
                    <a:pt x="183" y="46"/>
                    <a:pt x="183" y="46"/>
                    <a:pt x="183" y="46"/>
                  </a:cubicBezTo>
                  <a:cubicBezTo>
                    <a:pt x="183" y="40"/>
                    <a:pt x="183" y="40"/>
                    <a:pt x="183" y="40"/>
                  </a:cubicBezTo>
                  <a:cubicBezTo>
                    <a:pt x="182" y="39"/>
                    <a:pt x="182" y="39"/>
                    <a:pt x="182" y="39"/>
                  </a:cubicBezTo>
                  <a:cubicBezTo>
                    <a:pt x="182" y="39"/>
                    <a:pt x="182" y="39"/>
                    <a:pt x="182" y="39"/>
                  </a:cubicBezTo>
                  <a:cubicBezTo>
                    <a:pt x="182" y="39"/>
                    <a:pt x="181" y="39"/>
                    <a:pt x="181" y="38"/>
                  </a:cubicBezTo>
                  <a:cubicBezTo>
                    <a:pt x="180" y="37"/>
                    <a:pt x="180" y="37"/>
                    <a:pt x="180" y="37"/>
                  </a:cubicBezTo>
                  <a:cubicBezTo>
                    <a:pt x="180" y="37"/>
                    <a:pt x="180" y="37"/>
                    <a:pt x="180" y="37"/>
                  </a:cubicBezTo>
                  <a:cubicBezTo>
                    <a:pt x="179" y="35"/>
                    <a:pt x="179" y="33"/>
                    <a:pt x="179" y="32"/>
                  </a:cubicBezTo>
                  <a:cubicBezTo>
                    <a:pt x="179" y="32"/>
                    <a:pt x="179" y="32"/>
                    <a:pt x="179" y="32"/>
                  </a:cubicBezTo>
                  <a:cubicBezTo>
                    <a:pt x="180" y="31"/>
                    <a:pt x="180" y="31"/>
                    <a:pt x="180" y="31"/>
                  </a:cubicBezTo>
                  <a:cubicBezTo>
                    <a:pt x="179" y="30"/>
                    <a:pt x="179" y="30"/>
                    <a:pt x="179" y="30"/>
                  </a:cubicBezTo>
                  <a:cubicBezTo>
                    <a:pt x="179" y="29"/>
                    <a:pt x="178" y="29"/>
                    <a:pt x="178" y="29"/>
                  </a:cubicBezTo>
                  <a:cubicBezTo>
                    <a:pt x="178" y="28"/>
                    <a:pt x="178" y="28"/>
                    <a:pt x="178" y="28"/>
                  </a:cubicBezTo>
                  <a:cubicBezTo>
                    <a:pt x="177" y="28"/>
                    <a:pt x="176" y="27"/>
                    <a:pt x="175" y="27"/>
                  </a:cubicBezTo>
                  <a:cubicBezTo>
                    <a:pt x="174" y="26"/>
                    <a:pt x="172" y="26"/>
                    <a:pt x="171" y="25"/>
                  </a:cubicBezTo>
                  <a:cubicBezTo>
                    <a:pt x="171" y="25"/>
                    <a:pt x="170" y="24"/>
                    <a:pt x="169" y="23"/>
                  </a:cubicBezTo>
                  <a:cubicBezTo>
                    <a:pt x="168" y="23"/>
                    <a:pt x="168" y="22"/>
                    <a:pt x="167" y="22"/>
                  </a:cubicBezTo>
                  <a:cubicBezTo>
                    <a:pt x="166" y="22"/>
                    <a:pt x="166" y="22"/>
                    <a:pt x="166" y="22"/>
                  </a:cubicBezTo>
                  <a:cubicBezTo>
                    <a:pt x="165" y="21"/>
                    <a:pt x="164" y="21"/>
                    <a:pt x="163" y="20"/>
                  </a:cubicBezTo>
                  <a:cubicBezTo>
                    <a:pt x="161" y="19"/>
                    <a:pt x="160" y="15"/>
                    <a:pt x="159" y="12"/>
                  </a:cubicBezTo>
                  <a:cubicBezTo>
                    <a:pt x="159" y="12"/>
                    <a:pt x="159" y="11"/>
                    <a:pt x="159" y="10"/>
                  </a:cubicBezTo>
                  <a:cubicBezTo>
                    <a:pt x="159" y="9"/>
                    <a:pt x="159" y="9"/>
                    <a:pt x="159" y="9"/>
                  </a:cubicBezTo>
                  <a:cubicBezTo>
                    <a:pt x="158" y="9"/>
                    <a:pt x="157" y="7"/>
                    <a:pt x="154" y="4"/>
                  </a:cubicBezTo>
                  <a:cubicBezTo>
                    <a:pt x="153" y="3"/>
                    <a:pt x="153" y="3"/>
                    <a:pt x="153" y="3"/>
                  </a:cubicBezTo>
                  <a:cubicBezTo>
                    <a:pt x="152" y="2"/>
                    <a:pt x="150" y="2"/>
                    <a:pt x="150" y="1"/>
                  </a:cubicBezTo>
                  <a:cubicBezTo>
                    <a:pt x="149" y="1"/>
                    <a:pt x="149" y="1"/>
                    <a:pt x="149" y="1"/>
                  </a:cubicBezTo>
                  <a:cubicBezTo>
                    <a:pt x="149" y="1"/>
                    <a:pt x="149" y="1"/>
                    <a:pt x="149" y="1"/>
                  </a:cubicBezTo>
                  <a:cubicBezTo>
                    <a:pt x="149" y="1"/>
                    <a:pt x="149" y="1"/>
                    <a:pt x="149" y="1"/>
                  </a:cubicBezTo>
                  <a:cubicBezTo>
                    <a:pt x="148" y="0"/>
                    <a:pt x="148" y="0"/>
                    <a:pt x="148" y="0"/>
                  </a:cubicBezTo>
                  <a:cubicBezTo>
                    <a:pt x="148"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5" name="Freeform 246">
              <a:extLst>
                <a:ext uri="{FF2B5EF4-FFF2-40B4-BE49-F238E27FC236}">
                  <a16:creationId xmlns:a16="http://schemas.microsoft.com/office/drawing/2014/main" id="{4A47096A-0276-44B1-84DF-E9777CABFA10}"/>
                </a:ext>
              </a:extLst>
            </p:cNvPr>
            <p:cNvSpPr>
              <a:spLocks noEditPoints="1"/>
            </p:cNvSpPr>
            <p:nvPr/>
          </p:nvSpPr>
          <p:spPr bwMode="auto">
            <a:xfrm>
              <a:off x="7944923" y="3385220"/>
              <a:ext cx="668004" cy="3252466"/>
            </a:xfrm>
            <a:custGeom>
              <a:avLst/>
              <a:gdLst>
                <a:gd name="T0" fmla="*/ 76 w 200"/>
                <a:gd name="T1" fmla="*/ 913 h 974"/>
                <a:gd name="T2" fmla="*/ 58 w 200"/>
                <a:gd name="T3" fmla="*/ 920 h 974"/>
                <a:gd name="T4" fmla="*/ 64 w 200"/>
                <a:gd name="T5" fmla="*/ 907 h 974"/>
                <a:gd name="T6" fmla="*/ 125 w 200"/>
                <a:gd name="T7" fmla="*/ 21 h 974"/>
                <a:gd name="T8" fmla="*/ 114 w 200"/>
                <a:gd name="T9" fmla="*/ 226 h 974"/>
                <a:gd name="T10" fmla="*/ 98 w 200"/>
                <a:gd name="T11" fmla="*/ 360 h 974"/>
                <a:gd name="T12" fmla="*/ 53 w 200"/>
                <a:gd name="T13" fmla="*/ 491 h 974"/>
                <a:gd name="T14" fmla="*/ 47 w 200"/>
                <a:gd name="T15" fmla="*/ 615 h 974"/>
                <a:gd name="T16" fmla="*/ 76 w 200"/>
                <a:gd name="T17" fmla="*/ 631 h 974"/>
                <a:gd name="T18" fmla="*/ 68 w 200"/>
                <a:gd name="T19" fmla="*/ 673 h 974"/>
                <a:gd name="T20" fmla="*/ 55 w 200"/>
                <a:gd name="T21" fmla="*/ 715 h 974"/>
                <a:gd name="T22" fmla="*/ 52 w 200"/>
                <a:gd name="T23" fmla="*/ 730 h 974"/>
                <a:gd name="T24" fmla="*/ 41 w 200"/>
                <a:gd name="T25" fmla="*/ 744 h 974"/>
                <a:gd name="T26" fmla="*/ 34 w 200"/>
                <a:gd name="T27" fmla="*/ 730 h 974"/>
                <a:gd name="T28" fmla="*/ 24 w 200"/>
                <a:gd name="T29" fmla="*/ 733 h 974"/>
                <a:gd name="T30" fmla="*/ 1 w 200"/>
                <a:gd name="T31" fmla="*/ 758 h 974"/>
                <a:gd name="T32" fmla="*/ 21 w 200"/>
                <a:gd name="T33" fmla="*/ 759 h 974"/>
                <a:gd name="T34" fmla="*/ 42 w 200"/>
                <a:gd name="T35" fmla="*/ 772 h 974"/>
                <a:gd name="T36" fmla="*/ 37 w 200"/>
                <a:gd name="T37" fmla="*/ 783 h 974"/>
                <a:gd name="T38" fmla="*/ 30 w 200"/>
                <a:gd name="T39" fmla="*/ 787 h 974"/>
                <a:gd name="T40" fmla="*/ 53 w 200"/>
                <a:gd name="T41" fmla="*/ 799 h 974"/>
                <a:gd name="T42" fmla="*/ 35 w 200"/>
                <a:gd name="T43" fmla="*/ 804 h 974"/>
                <a:gd name="T44" fmla="*/ 36 w 200"/>
                <a:gd name="T45" fmla="*/ 815 h 974"/>
                <a:gd name="T46" fmla="*/ 40 w 200"/>
                <a:gd name="T47" fmla="*/ 828 h 974"/>
                <a:gd name="T48" fmla="*/ 35 w 200"/>
                <a:gd name="T49" fmla="*/ 846 h 974"/>
                <a:gd name="T50" fmla="*/ 34 w 200"/>
                <a:gd name="T51" fmla="*/ 855 h 974"/>
                <a:gd name="T52" fmla="*/ 25 w 200"/>
                <a:gd name="T53" fmla="*/ 860 h 974"/>
                <a:gd name="T54" fmla="*/ 53 w 200"/>
                <a:gd name="T55" fmla="*/ 874 h 974"/>
                <a:gd name="T56" fmla="*/ 47 w 200"/>
                <a:gd name="T57" fmla="*/ 890 h 974"/>
                <a:gd name="T58" fmla="*/ 50 w 200"/>
                <a:gd name="T59" fmla="*/ 906 h 974"/>
                <a:gd name="T60" fmla="*/ 50 w 200"/>
                <a:gd name="T61" fmla="*/ 935 h 974"/>
                <a:gd name="T62" fmla="*/ 61 w 200"/>
                <a:gd name="T63" fmla="*/ 950 h 974"/>
                <a:gd name="T64" fmla="*/ 78 w 200"/>
                <a:gd name="T65" fmla="*/ 941 h 974"/>
                <a:gd name="T66" fmla="*/ 66 w 200"/>
                <a:gd name="T67" fmla="*/ 958 h 974"/>
                <a:gd name="T68" fmla="*/ 78 w 200"/>
                <a:gd name="T69" fmla="*/ 949 h 974"/>
                <a:gd name="T70" fmla="*/ 88 w 200"/>
                <a:gd name="T71" fmla="*/ 964 h 974"/>
                <a:gd name="T72" fmla="*/ 104 w 200"/>
                <a:gd name="T73" fmla="*/ 974 h 974"/>
                <a:gd name="T74" fmla="*/ 134 w 200"/>
                <a:gd name="T75" fmla="*/ 918 h 974"/>
                <a:gd name="T76" fmla="*/ 77 w 200"/>
                <a:gd name="T77" fmla="*/ 896 h 974"/>
                <a:gd name="T78" fmla="*/ 70 w 200"/>
                <a:gd name="T79" fmla="*/ 876 h 974"/>
                <a:gd name="T80" fmla="*/ 57 w 200"/>
                <a:gd name="T81" fmla="*/ 876 h 974"/>
                <a:gd name="T82" fmla="*/ 49 w 200"/>
                <a:gd name="T83" fmla="*/ 856 h 974"/>
                <a:gd name="T84" fmla="*/ 65 w 200"/>
                <a:gd name="T85" fmla="*/ 822 h 974"/>
                <a:gd name="T86" fmla="*/ 74 w 200"/>
                <a:gd name="T87" fmla="*/ 795 h 974"/>
                <a:gd name="T88" fmla="*/ 91 w 200"/>
                <a:gd name="T89" fmla="*/ 752 h 974"/>
                <a:gd name="T90" fmla="*/ 95 w 200"/>
                <a:gd name="T91" fmla="*/ 720 h 974"/>
                <a:gd name="T92" fmla="*/ 89 w 200"/>
                <a:gd name="T93" fmla="*/ 708 h 974"/>
                <a:gd name="T94" fmla="*/ 98 w 200"/>
                <a:gd name="T95" fmla="*/ 692 h 974"/>
                <a:gd name="T96" fmla="*/ 89 w 200"/>
                <a:gd name="T97" fmla="*/ 657 h 974"/>
                <a:gd name="T98" fmla="*/ 89 w 200"/>
                <a:gd name="T99" fmla="*/ 620 h 974"/>
                <a:gd name="T100" fmla="*/ 93 w 200"/>
                <a:gd name="T101" fmla="*/ 566 h 974"/>
                <a:gd name="T102" fmla="*/ 110 w 200"/>
                <a:gd name="T103" fmla="*/ 525 h 974"/>
                <a:gd name="T104" fmla="*/ 118 w 200"/>
                <a:gd name="T105" fmla="*/ 462 h 974"/>
                <a:gd name="T106" fmla="*/ 125 w 200"/>
                <a:gd name="T107" fmla="*/ 426 h 974"/>
                <a:gd name="T108" fmla="*/ 126 w 200"/>
                <a:gd name="T109" fmla="*/ 365 h 974"/>
                <a:gd name="T110" fmla="*/ 125 w 200"/>
                <a:gd name="T111" fmla="*/ 327 h 974"/>
                <a:gd name="T112" fmla="*/ 132 w 200"/>
                <a:gd name="T113" fmla="*/ 283 h 974"/>
                <a:gd name="T114" fmla="*/ 169 w 200"/>
                <a:gd name="T115" fmla="*/ 227 h 974"/>
                <a:gd name="T116" fmla="*/ 189 w 200"/>
                <a:gd name="T117" fmla="*/ 154 h 974"/>
                <a:gd name="T118" fmla="*/ 181 w 200"/>
                <a:gd name="T119" fmla="*/ 126 h 974"/>
                <a:gd name="T120" fmla="*/ 173 w 200"/>
                <a:gd name="T121" fmla="*/ 88 h 974"/>
                <a:gd name="T122" fmla="*/ 164 w 200"/>
                <a:gd name="T123" fmla="*/ 55 h 974"/>
                <a:gd name="T124" fmla="*/ 151 w 200"/>
                <a:gd name="T125" fmla="*/ 1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974">
                  <a:moveTo>
                    <a:pt x="87" y="969"/>
                  </a:moveTo>
                  <a:cubicBezTo>
                    <a:pt x="87" y="969"/>
                    <a:pt x="87" y="969"/>
                    <a:pt x="87" y="969"/>
                  </a:cubicBezTo>
                  <a:cubicBezTo>
                    <a:pt x="87" y="969"/>
                    <a:pt x="87" y="969"/>
                    <a:pt x="87" y="969"/>
                  </a:cubicBezTo>
                  <a:moveTo>
                    <a:pt x="43" y="880"/>
                  </a:moveTo>
                  <a:cubicBezTo>
                    <a:pt x="43" y="880"/>
                    <a:pt x="43" y="880"/>
                    <a:pt x="43" y="880"/>
                  </a:cubicBezTo>
                  <a:cubicBezTo>
                    <a:pt x="43" y="880"/>
                    <a:pt x="43" y="880"/>
                    <a:pt x="43" y="880"/>
                  </a:cubicBezTo>
                  <a:moveTo>
                    <a:pt x="71" y="910"/>
                  </a:moveTo>
                  <a:cubicBezTo>
                    <a:pt x="73" y="910"/>
                    <a:pt x="75" y="908"/>
                    <a:pt x="74" y="907"/>
                  </a:cubicBezTo>
                  <a:cubicBezTo>
                    <a:pt x="73" y="906"/>
                    <a:pt x="72" y="906"/>
                    <a:pt x="71" y="906"/>
                  </a:cubicBezTo>
                  <a:cubicBezTo>
                    <a:pt x="71" y="905"/>
                    <a:pt x="71" y="904"/>
                    <a:pt x="70" y="904"/>
                  </a:cubicBezTo>
                  <a:cubicBezTo>
                    <a:pt x="69" y="903"/>
                    <a:pt x="68" y="903"/>
                    <a:pt x="67" y="902"/>
                  </a:cubicBezTo>
                  <a:cubicBezTo>
                    <a:pt x="63" y="901"/>
                    <a:pt x="62" y="900"/>
                    <a:pt x="58" y="899"/>
                  </a:cubicBezTo>
                  <a:cubicBezTo>
                    <a:pt x="59" y="898"/>
                    <a:pt x="60" y="898"/>
                    <a:pt x="61" y="898"/>
                  </a:cubicBezTo>
                  <a:cubicBezTo>
                    <a:pt x="62" y="898"/>
                    <a:pt x="63" y="899"/>
                    <a:pt x="65" y="900"/>
                  </a:cubicBezTo>
                  <a:cubicBezTo>
                    <a:pt x="68" y="902"/>
                    <a:pt x="71" y="902"/>
                    <a:pt x="74" y="906"/>
                  </a:cubicBezTo>
                  <a:cubicBezTo>
                    <a:pt x="76" y="908"/>
                    <a:pt x="78" y="911"/>
                    <a:pt x="76" y="913"/>
                  </a:cubicBezTo>
                  <a:cubicBezTo>
                    <a:pt x="75" y="915"/>
                    <a:pt x="74" y="913"/>
                    <a:pt x="72" y="916"/>
                  </a:cubicBezTo>
                  <a:cubicBezTo>
                    <a:pt x="72" y="918"/>
                    <a:pt x="77" y="920"/>
                    <a:pt x="76" y="923"/>
                  </a:cubicBezTo>
                  <a:cubicBezTo>
                    <a:pt x="76" y="927"/>
                    <a:pt x="69" y="928"/>
                    <a:pt x="66" y="929"/>
                  </a:cubicBezTo>
                  <a:cubicBezTo>
                    <a:pt x="69" y="928"/>
                    <a:pt x="76" y="925"/>
                    <a:pt x="75" y="921"/>
                  </a:cubicBezTo>
                  <a:cubicBezTo>
                    <a:pt x="74" y="918"/>
                    <a:pt x="72" y="918"/>
                    <a:pt x="72" y="916"/>
                  </a:cubicBezTo>
                  <a:cubicBezTo>
                    <a:pt x="71" y="914"/>
                    <a:pt x="70" y="913"/>
                    <a:pt x="69" y="913"/>
                  </a:cubicBezTo>
                  <a:cubicBezTo>
                    <a:pt x="67" y="913"/>
                    <a:pt x="65" y="918"/>
                    <a:pt x="66" y="921"/>
                  </a:cubicBezTo>
                  <a:cubicBezTo>
                    <a:pt x="67" y="920"/>
                    <a:pt x="68" y="918"/>
                    <a:pt x="70" y="917"/>
                  </a:cubicBezTo>
                  <a:cubicBezTo>
                    <a:pt x="70" y="918"/>
                    <a:pt x="69" y="921"/>
                    <a:pt x="68" y="922"/>
                  </a:cubicBezTo>
                  <a:cubicBezTo>
                    <a:pt x="68" y="922"/>
                    <a:pt x="67" y="923"/>
                    <a:pt x="67" y="923"/>
                  </a:cubicBezTo>
                  <a:cubicBezTo>
                    <a:pt x="67" y="923"/>
                    <a:pt x="66" y="922"/>
                    <a:pt x="66" y="922"/>
                  </a:cubicBezTo>
                  <a:cubicBezTo>
                    <a:pt x="65" y="922"/>
                    <a:pt x="65" y="922"/>
                    <a:pt x="64" y="922"/>
                  </a:cubicBezTo>
                  <a:cubicBezTo>
                    <a:pt x="64" y="922"/>
                    <a:pt x="63" y="922"/>
                    <a:pt x="62" y="922"/>
                  </a:cubicBezTo>
                  <a:cubicBezTo>
                    <a:pt x="63" y="920"/>
                    <a:pt x="64" y="919"/>
                    <a:pt x="64" y="917"/>
                  </a:cubicBezTo>
                  <a:cubicBezTo>
                    <a:pt x="62" y="917"/>
                    <a:pt x="59" y="919"/>
                    <a:pt x="59" y="920"/>
                  </a:cubicBezTo>
                  <a:cubicBezTo>
                    <a:pt x="59" y="920"/>
                    <a:pt x="58" y="920"/>
                    <a:pt x="58" y="920"/>
                  </a:cubicBezTo>
                  <a:cubicBezTo>
                    <a:pt x="58" y="919"/>
                    <a:pt x="57" y="916"/>
                    <a:pt x="57" y="914"/>
                  </a:cubicBezTo>
                  <a:cubicBezTo>
                    <a:pt x="58" y="916"/>
                    <a:pt x="58" y="918"/>
                    <a:pt x="59" y="918"/>
                  </a:cubicBezTo>
                  <a:cubicBezTo>
                    <a:pt x="59" y="918"/>
                    <a:pt x="60" y="917"/>
                    <a:pt x="60" y="917"/>
                  </a:cubicBezTo>
                  <a:cubicBezTo>
                    <a:pt x="61" y="915"/>
                    <a:pt x="60" y="914"/>
                    <a:pt x="62" y="913"/>
                  </a:cubicBezTo>
                  <a:cubicBezTo>
                    <a:pt x="62" y="912"/>
                    <a:pt x="68" y="910"/>
                    <a:pt x="65" y="910"/>
                  </a:cubicBezTo>
                  <a:cubicBezTo>
                    <a:pt x="65" y="910"/>
                    <a:pt x="65" y="910"/>
                    <a:pt x="65" y="910"/>
                  </a:cubicBezTo>
                  <a:cubicBezTo>
                    <a:pt x="64" y="910"/>
                    <a:pt x="64" y="911"/>
                    <a:pt x="63" y="911"/>
                  </a:cubicBezTo>
                  <a:cubicBezTo>
                    <a:pt x="62" y="911"/>
                    <a:pt x="61" y="911"/>
                    <a:pt x="60" y="911"/>
                  </a:cubicBezTo>
                  <a:cubicBezTo>
                    <a:pt x="60" y="911"/>
                    <a:pt x="60" y="911"/>
                    <a:pt x="60" y="911"/>
                  </a:cubicBezTo>
                  <a:cubicBezTo>
                    <a:pt x="62" y="911"/>
                    <a:pt x="60" y="910"/>
                    <a:pt x="61" y="909"/>
                  </a:cubicBezTo>
                  <a:cubicBezTo>
                    <a:pt x="62" y="908"/>
                    <a:pt x="62" y="908"/>
                    <a:pt x="62" y="908"/>
                  </a:cubicBezTo>
                  <a:cubicBezTo>
                    <a:pt x="63" y="908"/>
                    <a:pt x="63" y="908"/>
                    <a:pt x="64" y="908"/>
                  </a:cubicBezTo>
                  <a:cubicBezTo>
                    <a:pt x="63" y="907"/>
                    <a:pt x="62" y="906"/>
                    <a:pt x="61" y="906"/>
                  </a:cubicBezTo>
                  <a:cubicBezTo>
                    <a:pt x="61" y="906"/>
                    <a:pt x="61" y="906"/>
                    <a:pt x="62" y="906"/>
                  </a:cubicBezTo>
                  <a:cubicBezTo>
                    <a:pt x="62" y="906"/>
                    <a:pt x="62" y="906"/>
                    <a:pt x="62" y="906"/>
                  </a:cubicBezTo>
                  <a:cubicBezTo>
                    <a:pt x="63" y="906"/>
                    <a:pt x="63" y="906"/>
                    <a:pt x="64" y="907"/>
                  </a:cubicBezTo>
                  <a:cubicBezTo>
                    <a:pt x="64" y="908"/>
                    <a:pt x="65" y="908"/>
                    <a:pt x="65" y="908"/>
                  </a:cubicBezTo>
                  <a:cubicBezTo>
                    <a:pt x="65" y="908"/>
                    <a:pt x="65" y="908"/>
                    <a:pt x="65" y="908"/>
                  </a:cubicBezTo>
                  <a:cubicBezTo>
                    <a:pt x="66" y="908"/>
                    <a:pt x="66" y="908"/>
                    <a:pt x="66" y="908"/>
                  </a:cubicBezTo>
                  <a:cubicBezTo>
                    <a:pt x="66" y="908"/>
                    <a:pt x="66" y="908"/>
                    <a:pt x="66" y="908"/>
                  </a:cubicBezTo>
                  <a:cubicBezTo>
                    <a:pt x="67" y="908"/>
                    <a:pt x="68" y="908"/>
                    <a:pt x="68" y="908"/>
                  </a:cubicBezTo>
                  <a:cubicBezTo>
                    <a:pt x="69" y="908"/>
                    <a:pt x="70" y="910"/>
                    <a:pt x="71" y="910"/>
                  </a:cubicBezTo>
                  <a:cubicBezTo>
                    <a:pt x="71" y="910"/>
                    <a:pt x="71" y="910"/>
                    <a:pt x="71" y="910"/>
                  </a:cubicBezTo>
                  <a:moveTo>
                    <a:pt x="144" y="0"/>
                  </a:moveTo>
                  <a:cubicBezTo>
                    <a:pt x="144" y="0"/>
                    <a:pt x="144" y="0"/>
                    <a:pt x="144" y="0"/>
                  </a:cubicBezTo>
                  <a:cubicBezTo>
                    <a:pt x="143" y="1"/>
                    <a:pt x="143" y="1"/>
                    <a:pt x="143" y="1"/>
                  </a:cubicBezTo>
                  <a:cubicBezTo>
                    <a:pt x="142" y="1"/>
                    <a:pt x="142" y="1"/>
                    <a:pt x="141" y="1"/>
                  </a:cubicBezTo>
                  <a:cubicBezTo>
                    <a:pt x="141" y="2"/>
                    <a:pt x="141" y="2"/>
                    <a:pt x="140" y="2"/>
                  </a:cubicBezTo>
                  <a:cubicBezTo>
                    <a:pt x="141" y="4"/>
                    <a:pt x="141" y="8"/>
                    <a:pt x="140" y="11"/>
                  </a:cubicBezTo>
                  <a:cubicBezTo>
                    <a:pt x="140" y="14"/>
                    <a:pt x="138" y="15"/>
                    <a:pt x="137" y="15"/>
                  </a:cubicBezTo>
                  <a:cubicBezTo>
                    <a:pt x="125" y="20"/>
                    <a:pt x="125" y="20"/>
                    <a:pt x="125" y="20"/>
                  </a:cubicBezTo>
                  <a:cubicBezTo>
                    <a:pt x="125" y="20"/>
                    <a:pt x="125" y="20"/>
                    <a:pt x="125" y="21"/>
                  </a:cubicBezTo>
                  <a:cubicBezTo>
                    <a:pt x="126" y="25"/>
                    <a:pt x="126" y="29"/>
                    <a:pt x="127" y="34"/>
                  </a:cubicBezTo>
                  <a:cubicBezTo>
                    <a:pt x="129" y="48"/>
                    <a:pt x="130" y="63"/>
                    <a:pt x="131" y="78"/>
                  </a:cubicBezTo>
                  <a:cubicBezTo>
                    <a:pt x="132" y="82"/>
                    <a:pt x="133" y="88"/>
                    <a:pt x="132" y="92"/>
                  </a:cubicBezTo>
                  <a:cubicBezTo>
                    <a:pt x="131" y="100"/>
                    <a:pt x="130" y="109"/>
                    <a:pt x="128" y="117"/>
                  </a:cubicBezTo>
                  <a:cubicBezTo>
                    <a:pt x="127" y="123"/>
                    <a:pt x="128" y="131"/>
                    <a:pt x="121" y="131"/>
                  </a:cubicBezTo>
                  <a:cubicBezTo>
                    <a:pt x="121" y="131"/>
                    <a:pt x="121" y="131"/>
                    <a:pt x="121" y="131"/>
                  </a:cubicBezTo>
                  <a:cubicBezTo>
                    <a:pt x="121" y="135"/>
                    <a:pt x="120" y="138"/>
                    <a:pt x="119" y="141"/>
                  </a:cubicBezTo>
                  <a:cubicBezTo>
                    <a:pt x="120" y="142"/>
                    <a:pt x="120" y="142"/>
                    <a:pt x="121" y="142"/>
                  </a:cubicBezTo>
                  <a:cubicBezTo>
                    <a:pt x="121" y="142"/>
                    <a:pt x="122" y="141"/>
                    <a:pt x="122" y="140"/>
                  </a:cubicBezTo>
                  <a:cubicBezTo>
                    <a:pt x="122" y="149"/>
                    <a:pt x="121" y="158"/>
                    <a:pt x="120" y="167"/>
                  </a:cubicBezTo>
                  <a:cubicBezTo>
                    <a:pt x="120" y="169"/>
                    <a:pt x="120" y="172"/>
                    <a:pt x="121" y="174"/>
                  </a:cubicBezTo>
                  <a:cubicBezTo>
                    <a:pt x="123" y="178"/>
                    <a:pt x="124" y="182"/>
                    <a:pt x="123" y="186"/>
                  </a:cubicBezTo>
                  <a:cubicBezTo>
                    <a:pt x="123" y="188"/>
                    <a:pt x="122" y="189"/>
                    <a:pt x="121" y="191"/>
                  </a:cubicBezTo>
                  <a:cubicBezTo>
                    <a:pt x="119" y="193"/>
                    <a:pt x="117" y="197"/>
                    <a:pt x="117" y="199"/>
                  </a:cubicBezTo>
                  <a:cubicBezTo>
                    <a:pt x="117" y="201"/>
                    <a:pt x="119" y="203"/>
                    <a:pt x="119" y="205"/>
                  </a:cubicBezTo>
                  <a:cubicBezTo>
                    <a:pt x="118" y="213"/>
                    <a:pt x="117" y="219"/>
                    <a:pt x="114" y="226"/>
                  </a:cubicBezTo>
                  <a:cubicBezTo>
                    <a:pt x="112" y="232"/>
                    <a:pt x="112" y="234"/>
                    <a:pt x="112" y="239"/>
                  </a:cubicBezTo>
                  <a:cubicBezTo>
                    <a:pt x="112" y="242"/>
                    <a:pt x="113" y="243"/>
                    <a:pt x="111" y="245"/>
                  </a:cubicBezTo>
                  <a:cubicBezTo>
                    <a:pt x="110" y="248"/>
                    <a:pt x="107" y="250"/>
                    <a:pt x="107" y="253"/>
                  </a:cubicBezTo>
                  <a:cubicBezTo>
                    <a:pt x="107" y="260"/>
                    <a:pt x="106" y="264"/>
                    <a:pt x="104" y="270"/>
                  </a:cubicBezTo>
                  <a:cubicBezTo>
                    <a:pt x="102" y="273"/>
                    <a:pt x="98" y="274"/>
                    <a:pt x="99" y="278"/>
                  </a:cubicBezTo>
                  <a:cubicBezTo>
                    <a:pt x="99" y="283"/>
                    <a:pt x="100" y="284"/>
                    <a:pt x="103" y="288"/>
                  </a:cubicBezTo>
                  <a:cubicBezTo>
                    <a:pt x="104" y="289"/>
                    <a:pt x="103" y="291"/>
                    <a:pt x="104" y="293"/>
                  </a:cubicBezTo>
                  <a:cubicBezTo>
                    <a:pt x="104" y="295"/>
                    <a:pt x="104" y="299"/>
                    <a:pt x="104" y="302"/>
                  </a:cubicBezTo>
                  <a:cubicBezTo>
                    <a:pt x="104" y="302"/>
                    <a:pt x="103" y="303"/>
                    <a:pt x="102" y="304"/>
                  </a:cubicBezTo>
                  <a:cubicBezTo>
                    <a:pt x="102" y="305"/>
                    <a:pt x="102" y="308"/>
                    <a:pt x="101" y="308"/>
                  </a:cubicBezTo>
                  <a:cubicBezTo>
                    <a:pt x="101" y="308"/>
                    <a:pt x="101" y="308"/>
                    <a:pt x="100" y="308"/>
                  </a:cubicBezTo>
                  <a:cubicBezTo>
                    <a:pt x="99" y="309"/>
                    <a:pt x="99" y="310"/>
                    <a:pt x="98" y="311"/>
                  </a:cubicBezTo>
                  <a:cubicBezTo>
                    <a:pt x="95" y="312"/>
                    <a:pt x="95" y="313"/>
                    <a:pt x="95" y="316"/>
                  </a:cubicBezTo>
                  <a:cubicBezTo>
                    <a:pt x="95" y="321"/>
                    <a:pt x="95" y="325"/>
                    <a:pt x="96" y="330"/>
                  </a:cubicBezTo>
                  <a:cubicBezTo>
                    <a:pt x="96" y="336"/>
                    <a:pt x="97" y="343"/>
                    <a:pt x="97" y="350"/>
                  </a:cubicBezTo>
                  <a:cubicBezTo>
                    <a:pt x="97" y="353"/>
                    <a:pt x="97" y="357"/>
                    <a:pt x="98" y="360"/>
                  </a:cubicBezTo>
                  <a:cubicBezTo>
                    <a:pt x="99" y="361"/>
                    <a:pt x="102" y="363"/>
                    <a:pt x="101" y="365"/>
                  </a:cubicBezTo>
                  <a:cubicBezTo>
                    <a:pt x="100" y="368"/>
                    <a:pt x="100" y="372"/>
                    <a:pt x="99" y="374"/>
                  </a:cubicBezTo>
                  <a:cubicBezTo>
                    <a:pt x="97" y="376"/>
                    <a:pt x="94" y="380"/>
                    <a:pt x="94" y="382"/>
                  </a:cubicBezTo>
                  <a:cubicBezTo>
                    <a:pt x="93" y="385"/>
                    <a:pt x="95" y="388"/>
                    <a:pt x="95" y="391"/>
                  </a:cubicBezTo>
                  <a:cubicBezTo>
                    <a:pt x="95" y="396"/>
                    <a:pt x="96" y="398"/>
                    <a:pt x="92" y="402"/>
                  </a:cubicBezTo>
                  <a:cubicBezTo>
                    <a:pt x="88" y="408"/>
                    <a:pt x="87" y="417"/>
                    <a:pt x="86" y="424"/>
                  </a:cubicBezTo>
                  <a:cubicBezTo>
                    <a:pt x="84" y="429"/>
                    <a:pt x="83" y="433"/>
                    <a:pt x="80" y="438"/>
                  </a:cubicBezTo>
                  <a:cubicBezTo>
                    <a:pt x="78" y="441"/>
                    <a:pt x="75" y="445"/>
                    <a:pt x="73" y="449"/>
                  </a:cubicBezTo>
                  <a:cubicBezTo>
                    <a:pt x="72" y="450"/>
                    <a:pt x="74" y="453"/>
                    <a:pt x="73" y="454"/>
                  </a:cubicBezTo>
                  <a:cubicBezTo>
                    <a:pt x="72" y="456"/>
                    <a:pt x="69" y="459"/>
                    <a:pt x="69" y="461"/>
                  </a:cubicBezTo>
                  <a:cubicBezTo>
                    <a:pt x="68" y="464"/>
                    <a:pt x="67" y="468"/>
                    <a:pt x="66" y="471"/>
                  </a:cubicBezTo>
                  <a:cubicBezTo>
                    <a:pt x="65" y="478"/>
                    <a:pt x="65" y="477"/>
                    <a:pt x="60" y="480"/>
                  </a:cubicBezTo>
                  <a:cubicBezTo>
                    <a:pt x="61" y="481"/>
                    <a:pt x="60" y="485"/>
                    <a:pt x="60" y="487"/>
                  </a:cubicBezTo>
                  <a:cubicBezTo>
                    <a:pt x="60" y="489"/>
                    <a:pt x="60" y="489"/>
                    <a:pt x="58" y="490"/>
                  </a:cubicBezTo>
                  <a:cubicBezTo>
                    <a:pt x="57" y="490"/>
                    <a:pt x="55" y="491"/>
                    <a:pt x="54" y="491"/>
                  </a:cubicBezTo>
                  <a:cubicBezTo>
                    <a:pt x="54" y="491"/>
                    <a:pt x="54" y="491"/>
                    <a:pt x="53" y="491"/>
                  </a:cubicBezTo>
                  <a:cubicBezTo>
                    <a:pt x="52" y="490"/>
                    <a:pt x="52" y="490"/>
                    <a:pt x="51" y="490"/>
                  </a:cubicBezTo>
                  <a:cubicBezTo>
                    <a:pt x="51" y="490"/>
                    <a:pt x="50" y="490"/>
                    <a:pt x="50" y="490"/>
                  </a:cubicBezTo>
                  <a:cubicBezTo>
                    <a:pt x="48" y="492"/>
                    <a:pt x="49" y="495"/>
                    <a:pt x="49" y="496"/>
                  </a:cubicBezTo>
                  <a:cubicBezTo>
                    <a:pt x="50" y="501"/>
                    <a:pt x="48" y="503"/>
                    <a:pt x="50" y="507"/>
                  </a:cubicBezTo>
                  <a:cubicBezTo>
                    <a:pt x="54" y="513"/>
                    <a:pt x="51" y="519"/>
                    <a:pt x="52" y="525"/>
                  </a:cubicBezTo>
                  <a:cubicBezTo>
                    <a:pt x="53" y="533"/>
                    <a:pt x="56" y="540"/>
                    <a:pt x="58" y="547"/>
                  </a:cubicBezTo>
                  <a:cubicBezTo>
                    <a:pt x="59" y="553"/>
                    <a:pt x="57" y="559"/>
                    <a:pt x="55" y="564"/>
                  </a:cubicBezTo>
                  <a:cubicBezTo>
                    <a:pt x="55" y="563"/>
                    <a:pt x="54" y="562"/>
                    <a:pt x="54" y="562"/>
                  </a:cubicBezTo>
                  <a:cubicBezTo>
                    <a:pt x="52" y="562"/>
                    <a:pt x="50" y="564"/>
                    <a:pt x="49" y="565"/>
                  </a:cubicBezTo>
                  <a:cubicBezTo>
                    <a:pt x="47" y="568"/>
                    <a:pt x="47" y="572"/>
                    <a:pt x="47" y="575"/>
                  </a:cubicBezTo>
                  <a:cubicBezTo>
                    <a:pt x="45" y="581"/>
                    <a:pt x="43" y="587"/>
                    <a:pt x="41" y="592"/>
                  </a:cubicBezTo>
                  <a:cubicBezTo>
                    <a:pt x="40" y="596"/>
                    <a:pt x="43" y="602"/>
                    <a:pt x="44" y="605"/>
                  </a:cubicBezTo>
                  <a:cubicBezTo>
                    <a:pt x="45" y="607"/>
                    <a:pt x="45" y="609"/>
                    <a:pt x="47" y="610"/>
                  </a:cubicBezTo>
                  <a:cubicBezTo>
                    <a:pt x="48" y="610"/>
                    <a:pt x="48" y="611"/>
                    <a:pt x="49" y="611"/>
                  </a:cubicBezTo>
                  <a:cubicBezTo>
                    <a:pt x="51" y="611"/>
                    <a:pt x="52" y="610"/>
                    <a:pt x="53" y="609"/>
                  </a:cubicBezTo>
                  <a:cubicBezTo>
                    <a:pt x="51" y="613"/>
                    <a:pt x="48" y="610"/>
                    <a:pt x="47" y="615"/>
                  </a:cubicBezTo>
                  <a:cubicBezTo>
                    <a:pt x="47" y="615"/>
                    <a:pt x="47" y="615"/>
                    <a:pt x="47" y="615"/>
                  </a:cubicBezTo>
                  <a:cubicBezTo>
                    <a:pt x="49" y="615"/>
                    <a:pt x="50" y="615"/>
                    <a:pt x="51" y="616"/>
                  </a:cubicBezTo>
                  <a:cubicBezTo>
                    <a:pt x="52" y="616"/>
                    <a:pt x="53" y="616"/>
                    <a:pt x="54" y="616"/>
                  </a:cubicBezTo>
                  <a:cubicBezTo>
                    <a:pt x="54" y="616"/>
                    <a:pt x="54" y="616"/>
                    <a:pt x="55" y="616"/>
                  </a:cubicBezTo>
                  <a:cubicBezTo>
                    <a:pt x="55" y="615"/>
                    <a:pt x="60" y="616"/>
                    <a:pt x="61" y="615"/>
                  </a:cubicBezTo>
                  <a:cubicBezTo>
                    <a:pt x="63" y="613"/>
                    <a:pt x="61" y="610"/>
                    <a:pt x="63" y="610"/>
                  </a:cubicBezTo>
                  <a:cubicBezTo>
                    <a:pt x="63" y="610"/>
                    <a:pt x="63" y="610"/>
                    <a:pt x="64" y="610"/>
                  </a:cubicBezTo>
                  <a:cubicBezTo>
                    <a:pt x="66" y="611"/>
                    <a:pt x="71" y="614"/>
                    <a:pt x="74" y="614"/>
                  </a:cubicBezTo>
                  <a:cubicBezTo>
                    <a:pt x="75" y="614"/>
                    <a:pt x="75" y="614"/>
                    <a:pt x="76" y="613"/>
                  </a:cubicBezTo>
                  <a:cubicBezTo>
                    <a:pt x="72" y="615"/>
                    <a:pt x="69" y="617"/>
                    <a:pt x="67" y="620"/>
                  </a:cubicBezTo>
                  <a:cubicBezTo>
                    <a:pt x="67" y="620"/>
                    <a:pt x="70" y="622"/>
                    <a:pt x="71" y="622"/>
                  </a:cubicBezTo>
                  <a:cubicBezTo>
                    <a:pt x="71" y="623"/>
                    <a:pt x="72" y="623"/>
                    <a:pt x="72" y="623"/>
                  </a:cubicBezTo>
                  <a:cubicBezTo>
                    <a:pt x="74" y="623"/>
                    <a:pt x="75" y="622"/>
                    <a:pt x="77" y="621"/>
                  </a:cubicBezTo>
                  <a:cubicBezTo>
                    <a:pt x="76" y="623"/>
                    <a:pt x="79" y="634"/>
                    <a:pt x="78" y="635"/>
                  </a:cubicBezTo>
                  <a:cubicBezTo>
                    <a:pt x="77" y="635"/>
                    <a:pt x="77" y="635"/>
                    <a:pt x="77" y="635"/>
                  </a:cubicBezTo>
                  <a:cubicBezTo>
                    <a:pt x="77" y="635"/>
                    <a:pt x="76" y="632"/>
                    <a:pt x="76" y="631"/>
                  </a:cubicBezTo>
                  <a:cubicBezTo>
                    <a:pt x="75" y="630"/>
                    <a:pt x="75" y="628"/>
                    <a:pt x="74" y="627"/>
                  </a:cubicBezTo>
                  <a:cubicBezTo>
                    <a:pt x="74" y="627"/>
                    <a:pt x="73" y="627"/>
                    <a:pt x="73" y="627"/>
                  </a:cubicBezTo>
                  <a:cubicBezTo>
                    <a:pt x="72" y="627"/>
                    <a:pt x="69" y="629"/>
                    <a:pt x="68" y="630"/>
                  </a:cubicBezTo>
                  <a:cubicBezTo>
                    <a:pt x="69" y="631"/>
                    <a:pt x="70" y="633"/>
                    <a:pt x="71" y="634"/>
                  </a:cubicBezTo>
                  <a:cubicBezTo>
                    <a:pt x="72" y="636"/>
                    <a:pt x="73" y="636"/>
                    <a:pt x="75" y="638"/>
                  </a:cubicBezTo>
                  <a:cubicBezTo>
                    <a:pt x="73" y="637"/>
                    <a:pt x="72" y="636"/>
                    <a:pt x="71" y="636"/>
                  </a:cubicBezTo>
                  <a:cubicBezTo>
                    <a:pt x="70" y="636"/>
                    <a:pt x="69" y="636"/>
                    <a:pt x="68" y="638"/>
                  </a:cubicBezTo>
                  <a:cubicBezTo>
                    <a:pt x="65" y="642"/>
                    <a:pt x="69" y="648"/>
                    <a:pt x="70" y="652"/>
                  </a:cubicBezTo>
                  <a:cubicBezTo>
                    <a:pt x="69" y="651"/>
                    <a:pt x="69" y="650"/>
                    <a:pt x="68" y="650"/>
                  </a:cubicBezTo>
                  <a:cubicBezTo>
                    <a:pt x="68" y="650"/>
                    <a:pt x="68" y="651"/>
                    <a:pt x="68" y="651"/>
                  </a:cubicBezTo>
                  <a:cubicBezTo>
                    <a:pt x="67" y="651"/>
                    <a:pt x="67" y="655"/>
                    <a:pt x="66" y="657"/>
                  </a:cubicBezTo>
                  <a:cubicBezTo>
                    <a:pt x="65" y="658"/>
                    <a:pt x="64" y="659"/>
                    <a:pt x="63" y="660"/>
                  </a:cubicBezTo>
                  <a:cubicBezTo>
                    <a:pt x="61" y="663"/>
                    <a:pt x="63" y="667"/>
                    <a:pt x="66" y="667"/>
                  </a:cubicBezTo>
                  <a:cubicBezTo>
                    <a:pt x="65" y="668"/>
                    <a:pt x="64" y="669"/>
                    <a:pt x="63" y="670"/>
                  </a:cubicBezTo>
                  <a:cubicBezTo>
                    <a:pt x="64" y="670"/>
                    <a:pt x="66" y="670"/>
                    <a:pt x="67" y="670"/>
                  </a:cubicBezTo>
                  <a:cubicBezTo>
                    <a:pt x="68" y="670"/>
                    <a:pt x="69" y="670"/>
                    <a:pt x="68" y="673"/>
                  </a:cubicBezTo>
                  <a:cubicBezTo>
                    <a:pt x="68" y="672"/>
                    <a:pt x="67" y="672"/>
                    <a:pt x="67" y="672"/>
                  </a:cubicBezTo>
                  <a:cubicBezTo>
                    <a:pt x="66" y="672"/>
                    <a:pt x="66" y="672"/>
                    <a:pt x="65" y="673"/>
                  </a:cubicBezTo>
                  <a:cubicBezTo>
                    <a:pt x="64" y="673"/>
                    <a:pt x="63" y="678"/>
                    <a:pt x="62" y="679"/>
                  </a:cubicBezTo>
                  <a:cubicBezTo>
                    <a:pt x="61" y="681"/>
                    <a:pt x="59" y="682"/>
                    <a:pt x="58" y="683"/>
                  </a:cubicBezTo>
                  <a:cubicBezTo>
                    <a:pt x="59" y="684"/>
                    <a:pt x="60" y="685"/>
                    <a:pt x="62" y="686"/>
                  </a:cubicBezTo>
                  <a:cubicBezTo>
                    <a:pt x="63" y="686"/>
                    <a:pt x="64" y="686"/>
                    <a:pt x="65" y="687"/>
                  </a:cubicBezTo>
                  <a:cubicBezTo>
                    <a:pt x="67" y="689"/>
                    <a:pt x="69" y="693"/>
                    <a:pt x="73" y="693"/>
                  </a:cubicBezTo>
                  <a:cubicBezTo>
                    <a:pt x="73" y="693"/>
                    <a:pt x="73" y="692"/>
                    <a:pt x="73" y="692"/>
                  </a:cubicBezTo>
                  <a:cubicBezTo>
                    <a:pt x="71" y="693"/>
                    <a:pt x="72" y="696"/>
                    <a:pt x="71" y="697"/>
                  </a:cubicBezTo>
                  <a:cubicBezTo>
                    <a:pt x="70" y="700"/>
                    <a:pt x="71" y="699"/>
                    <a:pt x="69" y="700"/>
                  </a:cubicBezTo>
                  <a:cubicBezTo>
                    <a:pt x="68" y="701"/>
                    <a:pt x="66" y="702"/>
                    <a:pt x="65" y="703"/>
                  </a:cubicBezTo>
                  <a:cubicBezTo>
                    <a:pt x="63" y="703"/>
                    <a:pt x="62" y="704"/>
                    <a:pt x="61" y="705"/>
                  </a:cubicBezTo>
                  <a:cubicBezTo>
                    <a:pt x="60" y="705"/>
                    <a:pt x="59" y="705"/>
                    <a:pt x="58" y="706"/>
                  </a:cubicBezTo>
                  <a:cubicBezTo>
                    <a:pt x="52" y="707"/>
                    <a:pt x="57" y="708"/>
                    <a:pt x="57" y="711"/>
                  </a:cubicBezTo>
                  <a:cubicBezTo>
                    <a:pt x="57" y="712"/>
                    <a:pt x="51" y="715"/>
                    <a:pt x="55" y="715"/>
                  </a:cubicBezTo>
                  <a:cubicBezTo>
                    <a:pt x="55" y="715"/>
                    <a:pt x="55" y="715"/>
                    <a:pt x="55" y="715"/>
                  </a:cubicBezTo>
                  <a:cubicBezTo>
                    <a:pt x="56" y="715"/>
                    <a:pt x="57" y="715"/>
                    <a:pt x="57" y="714"/>
                  </a:cubicBezTo>
                  <a:cubicBezTo>
                    <a:pt x="57" y="714"/>
                    <a:pt x="58" y="714"/>
                    <a:pt x="58" y="714"/>
                  </a:cubicBezTo>
                  <a:cubicBezTo>
                    <a:pt x="58" y="714"/>
                    <a:pt x="59" y="714"/>
                    <a:pt x="59" y="714"/>
                  </a:cubicBezTo>
                  <a:cubicBezTo>
                    <a:pt x="61" y="714"/>
                    <a:pt x="63" y="717"/>
                    <a:pt x="65" y="718"/>
                  </a:cubicBezTo>
                  <a:cubicBezTo>
                    <a:pt x="66" y="719"/>
                    <a:pt x="70" y="720"/>
                    <a:pt x="66" y="720"/>
                  </a:cubicBezTo>
                  <a:cubicBezTo>
                    <a:pt x="66" y="720"/>
                    <a:pt x="66" y="720"/>
                    <a:pt x="66" y="720"/>
                  </a:cubicBezTo>
                  <a:cubicBezTo>
                    <a:pt x="65" y="720"/>
                    <a:pt x="64" y="719"/>
                    <a:pt x="63" y="719"/>
                  </a:cubicBezTo>
                  <a:cubicBezTo>
                    <a:pt x="62" y="718"/>
                    <a:pt x="60" y="715"/>
                    <a:pt x="58" y="715"/>
                  </a:cubicBezTo>
                  <a:cubicBezTo>
                    <a:pt x="57" y="715"/>
                    <a:pt x="57" y="716"/>
                    <a:pt x="57" y="718"/>
                  </a:cubicBezTo>
                  <a:cubicBezTo>
                    <a:pt x="56" y="717"/>
                    <a:pt x="56" y="717"/>
                    <a:pt x="56" y="717"/>
                  </a:cubicBezTo>
                  <a:cubicBezTo>
                    <a:pt x="54" y="721"/>
                    <a:pt x="52" y="725"/>
                    <a:pt x="51" y="729"/>
                  </a:cubicBezTo>
                  <a:cubicBezTo>
                    <a:pt x="52" y="728"/>
                    <a:pt x="53" y="726"/>
                    <a:pt x="54" y="726"/>
                  </a:cubicBezTo>
                  <a:cubicBezTo>
                    <a:pt x="55" y="725"/>
                    <a:pt x="56" y="725"/>
                    <a:pt x="56" y="725"/>
                  </a:cubicBezTo>
                  <a:cubicBezTo>
                    <a:pt x="57" y="725"/>
                    <a:pt x="58" y="726"/>
                    <a:pt x="60" y="726"/>
                  </a:cubicBezTo>
                  <a:cubicBezTo>
                    <a:pt x="58" y="727"/>
                    <a:pt x="56" y="726"/>
                    <a:pt x="54" y="727"/>
                  </a:cubicBezTo>
                  <a:cubicBezTo>
                    <a:pt x="53" y="728"/>
                    <a:pt x="53" y="729"/>
                    <a:pt x="52" y="730"/>
                  </a:cubicBezTo>
                  <a:cubicBezTo>
                    <a:pt x="52" y="732"/>
                    <a:pt x="50" y="734"/>
                    <a:pt x="49" y="736"/>
                  </a:cubicBezTo>
                  <a:cubicBezTo>
                    <a:pt x="49" y="737"/>
                    <a:pt x="47" y="744"/>
                    <a:pt x="48" y="745"/>
                  </a:cubicBezTo>
                  <a:cubicBezTo>
                    <a:pt x="48" y="745"/>
                    <a:pt x="48" y="745"/>
                    <a:pt x="49" y="745"/>
                  </a:cubicBezTo>
                  <a:cubicBezTo>
                    <a:pt x="49" y="745"/>
                    <a:pt x="50" y="742"/>
                    <a:pt x="50" y="742"/>
                  </a:cubicBezTo>
                  <a:cubicBezTo>
                    <a:pt x="50" y="742"/>
                    <a:pt x="51" y="742"/>
                    <a:pt x="51" y="742"/>
                  </a:cubicBezTo>
                  <a:cubicBezTo>
                    <a:pt x="52" y="742"/>
                    <a:pt x="52" y="744"/>
                    <a:pt x="52" y="745"/>
                  </a:cubicBezTo>
                  <a:cubicBezTo>
                    <a:pt x="52" y="746"/>
                    <a:pt x="48" y="749"/>
                    <a:pt x="47" y="751"/>
                  </a:cubicBezTo>
                  <a:cubicBezTo>
                    <a:pt x="47" y="751"/>
                    <a:pt x="47" y="751"/>
                    <a:pt x="47" y="751"/>
                  </a:cubicBezTo>
                  <a:cubicBezTo>
                    <a:pt x="46" y="751"/>
                    <a:pt x="46" y="751"/>
                    <a:pt x="45" y="752"/>
                  </a:cubicBezTo>
                  <a:cubicBezTo>
                    <a:pt x="45" y="752"/>
                    <a:pt x="44" y="753"/>
                    <a:pt x="43" y="753"/>
                  </a:cubicBezTo>
                  <a:cubicBezTo>
                    <a:pt x="43" y="753"/>
                    <a:pt x="43" y="753"/>
                    <a:pt x="42" y="752"/>
                  </a:cubicBezTo>
                  <a:cubicBezTo>
                    <a:pt x="40" y="751"/>
                    <a:pt x="45" y="748"/>
                    <a:pt x="46" y="746"/>
                  </a:cubicBezTo>
                  <a:cubicBezTo>
                    <a:pt x="47" y="743"/>
                    <a:pt x="46" y="740"/>
                    <a:pt x="43" y="740"/>
                  </a:cubicBezTo>
                  <a:cubicBezTo>
                    <a:pt x="42" y="740"/>
                    <a:pt x="41" y="741"/>
                    <a:pt x="41" y="742"/>
                  </a:cubicBezTo>
                  <a:cubicBezTo>
                    <a:pt x="42" y="742"/>
                    <a:pt x="43" y="744"/>
                    <a:pt x="44" y="745"/>
                  </a:cubicBezTo>
                  <a:cubicBezTo>
                    <a:pt x="43" y="745"/>
                    <a:pt x="42" y="744"/>
                    <a:pt x="41" y="744"/>
                  </a:cubicBezTo>
                  <a:cubicBezTo>
                    <a:pt x="40" y="744"/>
                    <a:pt x="40" y="744"/>
                    <a:pt x="40" y="745"/>
                  </a:cubicBezTo>
                  <a:cubicBezTo>
                    <a:pt x="40" y="744"/>
                    <a:pt x="40" y="742"/>
                    <a:pt x="40" y="741"/>
                  </a:cubicBezTo>
                  <a:cubicBezTo>
                    <a:pt x="38" y="742"/>
                    <a:pt x="36" y="743"/>
                    <a:pt x="34" y="743"/>
                  </a:cubicBezTo>
                  <a:cubicBezTo>
                    <a:pt x="32" y="743"/>
                    <a:pt x="31" y="742"/>
                    <a:pt x="30" y="740"/>
                  </a:cubicBezTo>
                  <a:cubicBezTo>
                    <a:pt x="31" y="742"/>
                    <a:pt x="32" y="742"/>
                    <a:pt x="34" y="742"/>
                  </a:cubicBezTo>
                  <a:cubicBezTo>
                    <a:pt x="35" y="742"/>
                    <a:pt x="36" y="742"/>
                    <a:pt x="37" y="742"/>
                  </a:cubicBezTo>
                  <a:cubicBezTo>
                    <a:pt x="38" y="741"/>
                    <a:pt x="43" y="739"/>
                    <a:pt x="42" y="737"/>
                  </a:cubicBezTo>
                  <a:cubicBezTo>
                    <a:pt x="42" y="737"/>
                    <a:pt x="41" y="736"/>
                    <a:pt x="41" y="736"/>
                  </a:cubicBezTo>
                  <a:cubicBezTo>
                    <a:pt x="40" y="736"/>
                    <a:pt x="39" y="739"/>
                    <a:pt x="38" y="739"/>
                  </a:cubicBezTo>
                  <a:cubicBezTo>
                    <a:pt x="39" y="738"/>
                    <a:pt x="40" y="735"/>
                    <a:pt x="40" y="734"/>
                  </a:cubicBezTo>
                  <a:cubicBezTo>
                    <a:pt x="40" y="733"/>
                    <a:pt x="39" y="733"/>
                    <a:pt x="38" y="733"/>
                  </a:cubicBezTo>
                  <a:cubicBezTo>
                    <a:pt x="38" y="733"/>
                    <a:pt x="38" y="733"/>
                    <a:pt x="38" y="733"/>
                  </a:cubicBezTo>
                  <a:cubicBezTo>
                    <a:pt x="38" y="732"/>
                    <a:pt x="39" y="731"/>
                    <a:pt x="38" y="730"/>
                  </a:cubicBezTo>
                  <a:cubicBezTo>
                    <a:pt x="38" y="730"/>
                    <a:pt x="37" y="730"/>
                    <a:pt x="37" y="730"/>
                  </a:cubicBezTo>
                  <a:cubicBezTo>
                    <a:pt x="36" y="730"/>
                    <a:pt x="35" y="730"/>
                    <a:pt x="34" y="730"/>
                  </a:cubicBezTo>
                  <a:cubicBezTo>
                    <a:pt x="34" y="730"/>
                    <a:pt x="34" y="730"/>
                    <a:pt x="34" y="730"/>
                  </a:cubicBezTo>
                  <a:cubicBezTo>
                    <a:pt x="33" y="730"/>
                    <a:pt x="33" y="730"/>
                    <a:pt x="33" y="730"/>
                  </a:cubicBezTo>
                  <a:cubicBezTo>
                    <a:pt x="32" y="730"/>
                    <a:pt x="32" y="730"/>
                    <a:pt x="32" y="730"/>
                  </a:cubicBezTo>
                  <a:cubicBezTo>
                    <a:pt x="31" y="730"/>
                    <a:pt x="30" y="731"/>
                    <a:pt x="30" y="733"/>
                  </a:cubicBezTo>
                  <a:cubicBezTo>
                    <a:pt x="30" y="733"/>
                    <a:pt x="30" y="733"/>
                    <a:pt x="30" y="733"/>
                  </a:cubicBezTo>
                  <a:cubicBezTo>
                    <a:pt x="29" y="733"/>
                    <a:pt x="29" y="733"/>
                    <a:pt x="28" y="732"/>
                  </a:cubicBezTo>
                  <a:cubicBezTo>
                    <a:pt x="28" y="731"/>
                    <a:pt x="28" y="731"/>
                    <a:pt x="27" y="731"/>
                  </a:cubicBezTo>
                  <a:cubicBezTo>
                    <a:pt x="26" y="731"/>
                    <a:pt x="25" y="731"/>
                    <a:pt x="24" y="732"/>
                  </a:cubicBezTo>
                  <a:cubicBezTo>
                    <a:pt x="25" y="731"/>
                    <a:pt x="25" y="730"/>
                    <a:pt x="24" y="730"/>
                  </a:cubicBezTo>
                  <a:cubicBezTo>
                    <a:pt x="22" y="730"/>
                    <a:pt x="20" y="732"/>
                    <a:pt x="19" y="732"/>
                  </a:cubicBezTo>
                  <a:cubicBezTo>
                    <a:pt x="19" y="732"/>
                    <a:pt x="20" y="733"/>
                    <a:pt x="21" y="733"/>
                  </a:cubicBezTo>
                  <a:cubicBezTo>
                    <a:pt x="19" y="733"/>
                    <a:pt x="18" y="732"/>
                    <a:pt x="17" y="732"/>
                  </a:cubicBezTo>
                  <a:cubicBezTo>
                    <a:pt x="16" y="732"/>
                    <a:pt x="16" y="732"/>
                    <a:pt x="15" y="732"/>
                  </a:cubicBezTo>
                  <a:cubicBezTo>
                    <a:pt x="17" y="736"/>
                    <a:pt x="17" y="734"/>
                    <a:pt x="21" y="736"/>
                  </a:cubicBezTo>
                  <a:cubicBezTo>
                    <a:pt x="19" y="736"/>
                    <a:pt x="13" y="737"/>
                    <a:pt x="17" y="739"/>
                  </a:cubicBezTo>
                  <a:cubicBezTo>
                    <a:pt x="18" y="739"/>
                    <a:pt x="18" y="739"/>
                    <a:pt x="18" y="739"/>
                  </a:cubicBezTo>
                  <a:cubicBezTo>
                    <a:pt x="21" y="739"/>
                    <a:pt x="22" y="734"/>
                    <a:pt x="24" y="733"/>
                  </a:cubicBezTo>
                  <a:cubicBezTo>
                    <a:pt x="24" y="736"/>
                    <a:pt x="24" y="739"/>
                    <a:pt x="23" y="742"/>
                  </a:cubicBezTo>
                  <a:cubicBezTo>
                    <a:pt x="22" y="741"/>
                    <a:pt x="22" y="741"/>
                    <a:pt x="22" y="741"/>
                  </a:cubicBezTo>
                  <a:cubicBezTo>
                    <a:pt x="21" y="741"/>
                    <a:pt x="20" y="743"/>
                    <a:pt x="18" y="743"/>
                  </a:cubicBezTo>
                  <a:cubicBezTo>
                    <a:pt x="18" y="743"/>
                    <a:pt x="18" y="743"/>
                    <a:pt x="18" y="743"/>
                  </a:cubicBezTo>
                  <a:cubicBezTo>
                    <a:pt x="18" y="743"/>
                    <a:pt x="17" y="743"/>
                    <a:pt x="17" y="743"/>
                  </a:cubicBezTo>
                  <a:cubicBezTo>
                    <a:pt x="17" y="743"/>
                    <a:pt x="16" y="743"/>
                    <a:pt x="16" y="743"/>
                  </a:cubicBezTo>
                  <a:cubicBezTo>
                    <a:pt x="16" y="743"/>
                    <a:pt x="15" y="743"/>
                    <a:pt x="15" y="743"/>
                  </a:cubicBezTo>
                  <a:cubicBezTo>
                    <a:pt x="14" y="745"/>
                    <a:pt x="16" y="745"/>
                    <a:pt x="17" y="746"/>
                  </a:cubicBezTo>
                  <a:cubicBezTo>
                    <a:pt x="16" y="746"/>
                    <a:pt x="16" y="745"/>
                    <a:pt x="15" y="745"/>
                  </a:cubicBezTo>
                  <a:cubicBezTo>
                    <a:pt x="14" y="745"/>
                    <a:pt x="14" y="746"/>
                    <a:pt x="13" y="747"/>
                  </a:cubicBezTo>
                  <a:cubicBezTo>
                    <a:pt x="13" y="747"/>
                    <a:pt x="13" y="747"/>
                    <a:pt x="13" y="747"/>
                  </a:cubicBezTo>
                  <a:cubicBezTo>
                    <a:pt x="13" y="747"/>
                    <a:pt x="12" y="747"/>
                    <a:pt x="12" y="746"/>
                  </a:cubicBezTo>
                  <a:cubicBezTo>
                    <a:pt x="12" y="746"/>
                    <a:pt x="12" y="746"/>
                    <a:pt x="12" y="746"/>
                  </a:cubicBezTo>
                  <a:cubicBezTo>
                    <a:pt x="12" y="746"/>
                    <a:pt x="12" y="746"/>
                    <a:pt x="12" y="746"/>
                  </a:cubicBezTo>
                  <a:cubicBezTo>
                    <a:pt x="11" y="747"/>
                    <a:pt x="10" y="748"/>
                    <a:pt x="9" y="749"/>
                  </a:cubicBezTo>
                  <a:cubicBezTo>
                    <a:pt x="7" y="752"/>
                    <a:pt x="0" y="752"/>
                    <a:pt x="1" y="758"/>
                  </a:cubicBezTo>
                  <a:cubicBezTo>
                    <a:pt x="2" y="759"/>
                    <a:pt x="3" y="761"/>
                    <a:pt x="4" y="762"/>
                  </a:cubicBezTo>
                  <a:cubicBezTo>
                    <a:pt x="5" y="762"/>
                    <a:pt x="5" y="762"/>
                    <a:pt x="6" y="762"/>
                  </a:cubicBezTo>
                  <a:cubicBezTo>
                    <a:pt x="8" y="762"/>
                    <a:pt x="11" y="760"/>
                    <a:pt x="8" y="760"/>
                  </a:cubicBezTo>
                  <a:cubicBezTo>
                    <a:pt x="10" y="758"/>
                    <a:pt x="8" y="759"/>
                    <a:pt x="8" y="758"/>
                  </a:cubicBezTo>
                  <a:cubicBezTo>
                    <a:pt x="7" y="757"/>
                    <a:pt x="9" y="757"/>
                    <a:pt x="7" y="756"/>
                  </a:cubicBezTo>
                  <a:cubicBezTo>
                    <a:pt x="7" y="756"/>
                    <a:pt x="7" y="756"/>
                    <a:pt x="7" y="756"/>
                  </a:cubicBezTo>
                  <a:cubicBezTo>
                    <a:pt x="6" y="756"/>
                    <a:pt x="4" y="757"/>
                    <a:pt x="3" y="757"/>
                  </a:cubicBezTo>
                  <a:cubicBezTo>
                    <a:pt x="4" y="756"/>
                    <a:pt x="6" y="755"/>
                    <a:pt x="8" y="754"/>
                  </a:cubicBezTo>
                  <a:cubicBezTo>
                    <a:pt x="8" y="754"/>
                    <a:pt x="8" y="754"/>
                    <a:pt x="8" y="754"/>
                  </a:cubicBezTo>
                  <a:cubicBezTo>
                    <a:pt x="9" y="754"/>
                    <a:pt x="9" y="754"/>
                    <a:pt x="9" y="754"/>
                  </a:cubicBezTo>
                  <a:cubicBezTo>
                    <a:pt x="9" y="754"/>
                    <a:pt x="10" y="754"/>
                    <a:pt x="10" y="754"/>
                  </a:cubicBezTo>
                  <a:cubicBezTo>
                    <a:pt x="11" y="754"/>
                    <a:pt x="12" y="754"/>
                    <a:pt x="13" y="753"/>
                  </a:cubicBezTo>
                  <a:cubicBezTo>
                    <a:pt x="13" y="753"/>
                    <a:pt x="13" y="753"/>
                    <a:pt x="14" y="753"/>
                  </a:cubicBezTo>
                  <a:cubicBezTo>
                    <a:pt x="15" y="753"/>
                    <a:pt x="16" y="752"/>
                    <a:pt x="17" y="751"/>
                  </a:cubicBezTo>
                  <a:cubicBezTo>
                    <a:pt x="16" y="755"/>
                    <a:pt x="17" y="758"/>
                    <a:pt x="21" y="759"/>
                  </a:cubicBezTo>
                  <a:cubicBezTo>
                    <a:pt x="21" y="759"/>
                    <a:pt x="21" y="759"/>
                    <a:pt x="21" y="759"/>
                  </a:cubicBezTo>
                  <a:cubicBezTo>
                    <a:pt x="21" y="759"/>
                    <a:pt x="21" y="759"/>
                    <a:pt x="21" y="759"/>
                  </a:cubicBezTo>
                  <a:cubicBezTo>
                    <a:pt x="22" y="758"/>
                    <a:pt x="22" y="758"/>
                    <a:pt x="22" y="758"/>
                  </a:cubicBezTo>
                  <a:cubicBezTo>
                    <a:pt x="22" y="758"/>
                    <a:pt x="22" y="758"/>
                    <a:pt x="22" y="758"/>
                  </a:cubicBezTo>
                  <a:cubicBezTo>
                    <a:pt x="22" y="758"/>
                    <a:pt x="22" y="759"/>
                    <a:pt x="23" y="759"/>
                  </a:cubicBezTo>
                  <a:cubicBezTo>
                    <a:pt x="24" y="759"/>
                    <a:pt x="24" y="760"/>
                    <a:pt x="25" y="760"/>
                  </a:cubicBezTo>
                  <a:cubicBezTo>
                    <a:pt x="25" y="761"/>
                    <a:pt x="27" y="761"/>
                    <a:pt x="28" y="761"/>
                  </a:cubicBezTo>
                  <a:cubicBezTo>
                    <a:pt x="29" y="761"/>
                    <a:pt x="30" y="761"/>
                    <a:pt x="31" y="760"/>
                  </a:cubicBezTo>
                  <a:cubicBezTo>
                    <a:pt x="31" y="760"/>
                    <a:pt x="31" y="760"/>
                    <a:pt x="30" y="760"/>
                  </a:cubicBezTo>
                  <a:cubicBezTo>
                    <a:pt x="29" y="760"/>
                    <a:pt x="27" y="759"/>
                    <a:pt x="26" y="758"/>
                  </a:cubicBezTo>
                  <a:cubicBezTo>
                    <a:pt x="27" y="758"/>
                    <a:pt x="27" y="758"/>
                    <a:pt x="27" y="758"/>
                  </a:cubicBezTo>
                  <a:cubicBezTo>
                    <a:pt x="28" y="758"/>
                    <a:pt x="29" y="758"/>
                    <a:pt x="30" y="758"/>
                  </a:cubicBezTo>
                  <a:cubicBezTo>
                    <a:pt x="29" y="758"/>
                    <a:pt x="28" y="757"/>
                    <a:pt x="28" y="757"/>
                  </a:cubicBezTo>
                  <a:cubicBezTo>
                    <a:pt x="30" y="758"/>
                    <a:pt x="33" y="757"/>
                    <a:pt x="34" y="759"/>
                  </a:cubicBezTo>
                  <a:cubicBezTo>
                    <a:pt x="35" y="759"/>
                    <a:pt x="35" y="760"/>
                    <a:pt x="35" y="761"/>
                  </a:cubicBezTo>
                  <a:cubicBezTo>
                    <a:pt x="37" y="763"/>
                    <a:pt x="39" y="764"/>
                    <a:pt x="41" y="765"/>
                  </a:cubicBezTo>
                  <a:cubicBezTo>
                    <a:pt x="43" y="766"/>
                    <a:pt x="42" y="770"/>
                    <a:pt x="42" y="772"/>
                  </a:cubicBezTo>
                  <a:cubicBezTo>
                    <a:pt x="41" y="771"/>
                    <a:pt x="41" y="771"/>
                    <a:pt x="41" y="770"/>
                  </a:cubicBezTo>
                  <a:cubicBezTo>
                    <a:pt x="40" y="771"/>
                    <a:pt x="39" y="773"/>
                    <a:pt x="38" y="775"/>
                  </a:cubicBezTo>
                  <a:cubicBezTo>
                    <a:pt x="37" y="773"/>
                    <a:pt x="38" y="771"/>
                    <a:pt x="36" y="771"/>
                  </a:cubicBezTo>
                  <a:cubicBezTo>
                    <a:pt x="36" y="771"/>
                    <a:pt x="36" y="771"/>
                    <a:pt x="36" y="771"/>
                  </a:cubicBezTo>
                  <a:cubicBezTo>
                    <a:pt x="34" y="771"/>
                    <a:pt x="30" y="775"/>
                    <a:pt x="29" y="777"/>
                  </a:cubicBezTo>
                  <a:cubicBezTo>
                    <a:pt x="29" y="778"/>
                    <a:pt x="29" y="778"/>
                    <a:pt x="29" y="778"/>
                  </a:cubicBezTo>
                  <a:cubicBezTo>
                    <a:pt x="29" y="778"/>
                    <a:pt x="30" y="778"/>
                    <a:pt x="30" y="777"/>
                  </a:cubicBezTo>
                  <a:cubicBezTo>
                    <a:pt x="30" y="779"/>
                    <a:pt x="31" y="779"/>
                    <a:pt x="32" y="780"/>
                  </a:cubicBezTo>
                  <a:cubicBezTo>
                    <a:pt x="33" y="782"/>
                    <a:pt x="33" y="782"/>
                    <a:pt x="33" y="782"/>
                  </a:cubicBezTo>
                  <a:cubicBezTo>
                    <a:pt x="34" y="782"/>
                    <a:pt x="34" y="782"/>
                    <a:pt x="35" y="782"/>
                  </a:cubicBezTo>
                  <a:cubicBezTo>
                    <a:pt x="35" y="782"/>
                    <a:pt x="36" y="782"/>
                    <a:pt x="36" y="782"/>
                  </a:cubicBezTo>
                  <a:cubicBezTo>
                    <a:pt x="36" y="782"/>
                    <a:pt x="36" y="782"/>
                    <a:pt x="37" y="782"/>
                  </a:cubicBezTo>
                  <a:cubicBezTo>
                    <a:pt x="38" y="782"/>
                    <a:pt x="39" y="782"/>
                    <a:pt x="40" y="783"/>
                  </a:cubicBezTo>
                  <a:cubicBezTo>
                    <a:pt x="39" y="783"/>
                    <a:pt x="39" y="783"/>
                    <a:pt x="39" y="783"/>
                  </a:cubicBezTo>
                  <a:cubicBezTo>
                    <a:pt x="38" y="783"/>
                    <a:pt x="38" y="783"/>
                    <a:pt x="38" y="783"/>
                  </a:cubicBezTo>
                  <a:cubicBezTo>
                    <a:pt x="38" y="783"/>
                    <a:pt x="38" y="783"/>
                    <a:pt x="37" y="783"/>
                  </a:cubicBezTo>
                  <a:cubicBezTo>
                    <a:pt x="37" y="783"/>
                    <a:pt x="36" y="783"/>
                    <a:pt x="35" y="784"/>
                  </a:cubicBezTo>
                  <a:cubicBezTo>
                    <a:pt x="36" y="784"/>
                    <a:pt x="37" y="784"/>
                    <a:pt x="38" y="784"/>
                  </a:cubicBezTo>
                  <a:cubicBezTo>
                    <a:pt x="34" y="784"/>
                    <a:pt x="33" y="786"/>
                    <a:pt x="37" y="787"/>
                  </a:cubicBezTo>
                  <a:cubicBezTo>
                    <a:pt x="37" y="787"/>
                    <a:pt x="37" y="787"/>
                    <a:pt x="36" y="787"/>
                  </a:cubicBezTo>
                  <a:cubicBezTo>
                    <a:pt x="35" y="787"/>
                    <a:pt x="35" y="786"/>
                    <a:pt x="34" y="786"/>
                  </a:cubicBezTo>
                  <a:cubicBezTo>
                    <a:pt x="33" y="785"/>
                    <a:pt x="34" y="785"/>
                    <a:pt x="33" y="784"/>
                  </a:cubicBezTo>
                  <a:cubicBezTo>
                    <a:pt x="33" y="784"/>
                    <a:pt x="33" y="784"/>
                    <a:pt x="33" y="784"/>
                  </a:cubicBezTo>
                  <a:cubicBezTo>
                    <a:pt x="32" y="784"/>
                    <a:pt x="31" y="785"/>
                    <a:pt x="30" y="785"/>
                  </a:cubicBezTo>
                  <a:cubicBezTo>
                    <a:pt x="31" y="784"/>
                    <a:pt x="33" y="784"/>
                    <a:pt x="32" y="782"/>
                  </a:cubicBezTo>
                  <a:cubicBezTo>
                    <a:pt x="32" y="782"/>
                    <a:pt x="32" y="782"/>
                    <a:pt x="32" y="782"/>
                  </a:cubicBezTo>
                  <a:cubicBezTo>
                    <a:pt x="31" y="782"/>
                    <a:pt x="32" y="781"/>
                    <a:pt x="31" y="781"/>
                  </a:cubicBezTo>
                  <a:cubicBezTo>
                    <a:pt x="30" y="781"/>
                    <a:pt x="29" y="783"/>
                    <a:pt x="28" y="784"/>
                  </a:cubicBezTo>
                  <a:cubicBezTo>
                    <a:pt x="27" y="785"/>
                    <a:pt x="23" y="784"/>
                    <a:pt x="25" y="787"/>
                  </a:cubicBezTo>
                  <a:cubicBezTo>
                    <a:pt x="26" y="787"/>
                    <a:pt x="27" y="787"/>
                    <a:pt x="27" y="787"/>
                  </a:cubicBezTo>
                  <a:cubicBezTo>
                    <a:pt x="28" y="787"/>
                    <a:pt x="28" y="787"/>
                    <a:pt x="29" y="787"/>
                  </a:cubicBezTo>
                  <a:cubicBezTo>
                    <a:pt x="29" y="787"/>
                    <a:pt x="29" y="787"/>
                    <a:pt x="30" y="787"/>
                  </a:cubicBezTo>
                  <a:cubicBezTo>
                    <a:pt x="30" y="787"/>
                    <a:pt x="30" y="787"/>
                    <a:pt x="30" y="787"/>
                  </a:cubicBezTo>
                  <a:cubicBezTo>
                    <a:pt x="32" y="787"/>
                    <a:pt x="33" y="787"/>
                    <a:pt x="35" y="787"/>
                  </a:cubicBezTo>
                  <a:cubicBezTo>
                    <a:pt x="37" y="787"/>
                    <a:pt x="40" y="789"/>
                    <a:pt x="42" y="789"/>
                  </a:cubicBezTo>
                  <a:cubicBezTo>
                    <a:pt x="43" y="789"/>
                    <a:pt x="43" y="789"/>
                    <a:pt x="43" y="789"/>
                  </a:cubicBezTo>
                  <a:cubicBezTo>
                    <a:pt x="47" y="788"/>
                    <a:pt x="46" y="784"/>
                    <a:pt x="49" y="782"/>
                  </a:cubicBezTo>
                  <a:cubicBezTo>
                    <a:pt x="49" y="784"/>
                    <a:pt x="48" y="785"/>
                    <a:pt x="48" y="788"/>
                  </a:cubicBezTo>
                  <a:cubicBezTo>
                    <a:pt x="48" y="789"/>
                    <a:pt x="50" y="790"/>
                    <a:pt x="51" y="791"/>
                  </a:cubicBezTo>
                  <a:cubicBezTo>
                    <a:pt x="54" y="794"/>
                    <a:pt x="55" y="792"/>
                    <a:pt x="59" y="794"/>
                  </a:cubicBezTo>
                  <a:cubicBezTo>
                    <a:pt x="58" y="794"/>
                    <a:pt x="56" y="794"/>
                    <a:pt x="55" y="794"/>
                  </a:cubicBezTo>
                  <a:cubicBezTo>
                    <a:pt x="54" y="793"/>
                    <a:pt x="52" y="793"/>
                    <a:pt x="51" y="793"/>
                  </a:cubicBezTo>
                  <a:cubicBezTo>
                    <a:pt x="50" y="793"/>
                    <a:pt x="50" y="793"/>
                    <a:pt x="50" y="793"/>
                  </a:cubicBezTo>
                  <a:cubicBezTo>
                    <a:pt x="49" y="794"/>
                    <a:pt x="52" y="797"/>
                    <a:pt x="53" y="798"/>
                  </a:cubicBezTo>
                  <a:cubicBezTo>
                    <a:pt x="54" y="798"/>
                    <a:pt x="55" y="799"/>
                    <a:pt x="55" y="799"/>
                  </a:cubicBezTo>
                  <a:cubicBezTo>
                    <a:pt x="56" y="799"/>
                    <a:pt x="57" y="798"/>
                    <a:pt x="58" y="797"/>
                  </a:cubicBezTo>
                  <a:cubicBezTo>
                    <a:pt x="58" y="799"/>
                    <a:pt x="57" y="799"/>
                    <a:pt x="56" y="800"/>
                  </a:cubicBezTo>
                  <a:cubicBezTo>
                    <a:pt x="55" y="800"/>
                    <a:pt x="54" y="799"/>
                    <a:pt x="53" y="799"/>
                  </a:cubicBezTo>
                  <a:cubicBezTo>
                    <a:pt x="53" y="799"/>
                    <a:pt x="52" y="800"/>
                    <a:pt x="51" y="801"/>
                  </a:cubicBezTo>
                  <a:cubicBezTo>
                    <a:pt x="50" y="800"/>
                    <a:pt x="51" y="799"/>
                    <a:pt x="50" y="798"/>
                  </a:cubicBezTo>
                  <a:cubicBezTo>
                    <a:pt x="49" y="797"/>
                    <a:pt x="47" y="797"/>
                    <a:pt x="46" y="797"/>
                  </a:cubicBezTo>
                  <a:cubicBezTo>
                    <a:pt x="47" y="796"/>
                    <a:pt x="47" y="795"/>
                    <a:pt x="46" y="795"/>
                  </a:cubicBezTo>
                  <a:cubicBezTo>
                    <a:pt x="46" y="795"/>
                    <a:pt x="45" y="796"/>
                    <a:pt x="44" y="797"/>
                  </a:cubicBezTo>
                  <a:cubicBezTo>
                    <a:pt x="45" y="795"/>
                    <a:pt x="40" y="794"/>
                    <a:pt x="37" y="794"/>
                  </a:cubicBezTo>
                  <a:cubicBezTo>
                    <a:pt x="35" y="794"/>
                    <a:pt x="34" y="794"/>
                    <a:pt x="33" y="795"/>
                  </a:cubicBezTo>
                  <a:cubicBezTo>
                    <a:pt x="34" y="796"/>
                    <a:pt x="38" y="801"/>
                    <a:pt x="36" y="801"/>
                  </a:cubicBezTo>
                  <a:cubicBezTo>
                    <a:pt x="36" y="801"/>
                    <a:pt x="36" y="801"/>
                    <a:pt x="36" y="800"/>
                  </a:cubicBezTo>
                  <a:cubicBezTo>
                    <a:pt x="34" y="800"/>
                    <a:pt x="35" y="798"/>
                    <a:pt x="34" y="796"/>
                  </a:cubicBezTo>
                  <a:cubicBezTo>
                    <a:pt x="33" y="794"/>
                    <a:pt x="31" y="793"/>
                    <a:pt x="30" y="793"/>
                  </a:cubicBezTo>
                  <a:cubicBezTo>
                    <a:pt x="30" y="793"/>
                    <a:pt x="30" y="793"/>
                    <a:pt x="30" y="793"/>
                  </a:cubicBezTo>
                  <a:cubicBezTo>
                    <a:pt x="26" y="793"/>
                    <a:pt x="26" y="797"/>
                    <a:pt x="27" y="797"/>
                  </a:cubicBezTo>
                  <a:cubicBezTo>
                    <a:pt x="28" y="797"/>
                    <a:pt x="28" y="796"/>
                    <a:pt x="29" y="796"/>
                  </a:cubicBezTo>
                  <a:cubicBezTo>
                    <a:pt x="29" y="798"/>
                    <a:pt x="31" y="799"/>
                    <a:pt x="33" y="800"/>
                  </a:cubicBezTo>
                  <a:cubicBezTo>
                    <a:pt x="33" y="801"/>
                    <a:pt x="35" y="804"/>
                    <a:pt x="35" y="804"/>
                  </a:cubicBezTo>
                  <a:cubicBezTo>
                    <a:pt x="35" y="804"/>
                    <a:pt x="35" y="804"/>
                    <a:pt x="35" y="804"/>
                  </a:cubicBezTo>
                  <a:cubicBezTo>
                    <a:pt x="35" y="804"/>
                    <a:pt x="36" y="804"/>
                    <a:pt x="36" y="804"/>
                  </a:cubicBezTo>
                  <a:cubicBezTo>
                    <a:pt x="37" y="803"/>
                    <a:pt x="38" y="803"/>
                    <a:pt x="38" y="803"/>
                  </a:cubicBezTo>
                  <a:cubicBezTo>
                    <a:pt x="38" y="803"/>
                    <a:pt x="39" y="803"/>
                    <a:pt x="39" y="803"/>
                  </a:cubicBezTo>
                  <a:cubicBezTo>
                    <a:pt x="38" y="804"/>
                    <a:pt x="37" y="804"/>
                    <a:pt x="36" y="805"/>
                  </a:cubicBezTo>
                  <a:cubicBezTo>
                    <a:pt x="36" y="805"/>
                    <a:pt x="36" y="805"/>
                    <a:pt x="36" y="805"/>
                  </a:cubicBezTo>
                  <a:cubicBezTo>
                    <a:pt x="37" y="805"/>
                    <a:pt x="38" y="805"/>
                    <a:pt x="40" y="805"/>
                  </a:cubicBezTo>
                  <a:cubicBezTo>
                    <a:pt x="41" y="806"/>
                    <a:pt x="42" y="806"/>
                    <a:pt x="43" y="806"/>
                  </a:cubicBezTo>
                  <a:cubicBezTo>
                    <a:pt x="43" y="806"/>
                    <a:pt x="43" y="806"/>
                    <a:pt x="43" y="806"/>
                  </a:cubicBezTo>
                  <a:cubicBezTo>
                    <a:pt x="42" y="807"/>
                    <a:pt x="43" y="811"/>
                    <a:pt x="41" y="812"/>
                  </a:cubicBezTo>
                  <a:cubicBezTo>
                    <a:pt x="41" y="812"/>
                    <a:pt x="41" y="812"/>
                    <a:pt x="41" y="812"/>
                  </a:cubicBezTo>
                  <a:cubicBezTo>
                    <a:pt x="40" y="812"/>
                    <a:pt x="41" y="811"/>
                    <a:pt x="40" y="810"/>
                  </a:cubicBezTo>
                  <a:cubicBezTo>
                    <a:pt x="39" y="810"/>
                    <a:pt x="37" y="808"/>
                    <a:pt x="36" y="808"/>
                  </a:cubicBezTo>
                  <a:cubicBezTo>
                    <a:pt x="36" y="808"/>
                    <a:pt x="36" y="808"/>
                    <a:pt x="36" y="808"/>
                  </a:cubicBezTo>
                  <a:cubicBezTo>
                    <a:pt x="34" y="809"/>
                    <a:pt x="32" y="813"/>
                    <a:pt x="33" y="814"/>
                  </a:cubicBezTo>
                  <a:cubicBezTo>
                    <a:pt x="33" y="815"/>
                    <a:pt x="34" y="815"/>
                    <a:pt x="36" y="815"/>
                  </a:cubicBezTo>
                  <a:cubicBezTo>
                    <a:pt x="36" y="815"/>
                    <a:pt x="36" y="815"/>
                    <a:pt x="36" y="815"/>
                  </a:cubicBezTo>
                  <a:cubicBezTo>
                    <a:pt x="36" y="815"/>
                    <a:pt x="36" y="815"/>
                    <a:pt x="37" y="815"/>
                  </a:cubicBezTo>
                  <a:cubicBezTo>
                    <a:pt x="37" y="815"/>
                    <a:pt x="39" y="816"/>
                    <a:pt x="40" y="816"/>
                  </a:cubicBezTo>
                  <a:cubicBezTo>
                    <a:pt x="38" y="816"/>
                    <a:pt x="33" y="816"/>
                    <a:pt x="32" y="818"/>
                  </a:cubicBezTo>
                  <a:cubicBezTo>
                    <a:pt x="30" y="819"/>
                    <a:pt x="31" y="818"/>
                    <a:pt x="31" y="820"/>
                  </a:cubicBezTo>
                  <a:cubicBezTo>
                    <a:pt x="31" y="820"/>
                    <a:pt x="32" y="821"/>
                    <a:pt x="31" y="822"/>
                  </a:cubicBezTo>
                  <a:cubicBezTo>
                    <a:pt x="31" y="823"/>
                    <a:pt x="30" y="824"/>
                    <a:pt x="30" y="825"/>
                  </a:cubicBezTo>
                  <a:cubicBezTo>
                    <a:pt x="30" y="826"/>
                    <a:pt x="31" y="826"/>
                    <a:pt x="31" y="826"/>
                  </a:cubicBezTo>
                  <a:cubicBezTo>
                    <a:pt x="31" y="826"/>
                    <a:pt x="31" y="826"/>
                    <a:pt x="31" y="826"/>
                  </a:cubicBezTo>
                  <a:cubicBezTo>
                    <a:pt x="31" y="826"/>
                    <a:pt x="31" y="827"/>
                    <a:pt x="31" y="828"/>
                  </a:cubicBezTo>
                  <a:cubicBezTo>
                    <a:pt x="32" y="831"/>
                    <a:pt x="31" y="834"/>
                    <a:pt x="32" y="836"/>
                  </a:cubicBezTo>
                  <a:cubicBezTo>
                    <a:pt x="33" y="838"/>
                    <a:pt x="34" y="839"/>
                    <a:pt x="36" y="839"/>
                  </a:cubicBezTo>
                  <a:cubicBezTo>
                    <a:pt x="36" y="839"/>
                    <a:pt x="36" y="839"/>
                    <a:pt x="37" y="839"/>
                  </a:cubicBezTo>
                  <a:cubicBezTo>
                    <a:pt x="38" y="837"/>
                    <a:pt x="37" y="832"/>
                    <a:pt x="37" y="830"/>
                  </a:cubicBezTo>
                  <a:cubicBezTo>
                    <a:pt x="37" y="830"/>
                    <a:pt x="38" y="831"/>
                    <a:pt x="38" y="831"/>
                  </a:cubicBezTo>
                  <a:cubicBezTo>
                    <a:pt x="39" y="831"/>
                    <a:pt x="40" y="829"/>
                    <a:pt x="40" y="828"/>
                  </a:cubicBezTo>
                  <a:cubicBezTo>
                    <a:pt x="40" y="826"/>
                    <a:pt x="40" y="824"/>
                    <a:pt x="41" y="824"/>
                  </a:cubicBezTo>
                  <a:cubicBezTo>
                    <a:pt x="41" y="824"/>
                    <a:pt x="42" y="824"/>
                    <a:pt x="43" y="825"/>
                  </a:cubicBezTo>
                  <a:cubicBezTo>
                    <a:pt x="42" y="826"/>
                    <a:pt x="41" y="830"/>
                    <a:pt x="41" y="831"/>
                  </a:cubicBezTo>
                  <a:cubicBezTo>
                    <a:pt x="41" y="833"/>
                    <a:pt x="43" y="833"/>
                    <a:pt x="44" y="834"/>
                  </a:cubicBezTo>
                  <a:cubicBezTo>
                    <a:pt x="44" y="834"/>
                    <a:pt x="44" y="834"/>
                    <a:pt x="44" y="834"/>
                  </a:cubicBezTo>
                  <a:cubicBezTo>
                    <a:pt x="43" y="834"/>
                    <a:pt x="42" y="834"/>
                    <a:pt x="41" y="833"/>
                  </a:cubicBezTo>
                  <a:cubicBezTo>
                    <a:pt x="40" y="834"/>
                    <a:pt x="38" y="838"/>
                    <a:pt x="39" y="839"/>
                  </a:cubicBezTo>
                  <a:cubicBezTo>
                    <a:pt x="40" y="839"/>
                    <a:pt x="41" y="839"/>
                    <a:pt x="42" y="839"/>
                  </a:cubicBezTo>
                  <a:cubicBezTo>
                    <a:pt x="43" y="840"/>
                    <a:pt x="43" y="843"/>
                    <a:pt x="45" y="844"/>
                  </a:cubicBezTo>
                  <a:cubicBezTo>
                    <a:pt x="46" y="844"/>
                    <a:pt x="49" y="846"/>
                    <a:pt x="47" y="847"/>
                  </a:cubicBezTo>
                  <a:cubicBezTo>
                    <a:pt x="47" y="845"/>
                    <a:pt x="45" y="845"/>
                    <a:pt x="44" y="844"/>
                  </a:cubicBezTo>
                  <a:cubicBezTo>
                    <a:pt x="43" y="843"/>
                    <a:pt x="42" y="840"/>
                    <a:pt x="41" y="840"/>
                  </a:cubicBezTo>
                  <a:cubicBezTo>
                    <a:pt x="41" y="840"/>
                    <a:pt x="41" y="841"/>
                    <a:pt x="41" y="842"/>
                  </a:cubicBezTo>
                  <a:cubicBezTo>
                    <a:pt x="41" y="841"/>
                    <a:pt x="40" y="840"/>
                    <a:pt x="39" y="840"/>
                  </a:cubicBezTo>
                  <a:cubicBezTo>
                    <a:pt x="37" y="840"/>
                    <a:pt x="34" y="842"/>
                    <a:pt x="34" y="843"/>
                  </a:cubicBezTo>
                  <a:cubicBezTo>
                    <a:pt x="33" y="845"/>
                    <a:pt x="34" y="846"/>
                    <a:pt x="35" y="846"/>
                  </a:cubicBezTo>
                  <a:cubicBezTo>
                    <a:pt x="35" y="846"/>
                    <a:pt x="36" y="846"/>
                    <a:pt x="36" y="846"/>
                  </a:cubicBezTo>
                  <a:cubicBezTo>
                    <a:pt x="37" y="846"/>
                    <a:pt x="37" y="846"/>
                    <a:pt x="38" y="846"/>
                  </a:cubicBezTo>
                  <a:cubicBezTo>
                    <a:pt x="38" y="846"/>
                    <a:pt x="39" y="846"/>
                    <a:pt x="39" y="846"/>
                  </a:cubicBezTo>
                  <a:cubicBezTo>
                    <a:pt x="36" y="846"/>
                    <a:pt x="31" y="848"/>
                    <a:pt x="35" y="851"/>
                  </a:cubicBezTo>
                  <a:cubicBezTo>
                    <a:pt x="36" y="851"/>
                    <a:pt x="37" y="851"/>
                    <a:pt x="38" y="851"/>
                  </a:cubicBezTo>
                  <a:cubicBezTo>
                    <a:pt x="38" y="852"/>
                    <a:pt x="38" y="853"/>
                    <a:pt x="39" y="853"/>
                  </a:cubicBezTo>
                  <a:cubicBezTo>
                    <a:pt x="39" y="853"/>
                    <a:pt x="39" y="853"/>
                    <a:pt x="39" y="853"/>
                  </a:cubicBezTo>
                  <a:cubicBezTo>
                    <a:pt x="40" y="853"/>
                    <a:pt x="41" y="852"/>
                    <a:pt x="41" y="852"/>
                  </a:cubicBezTo>
                  <a:cubicBezTo>
                    <a:pt x="41" y="852"/>
                    <a:pt x="42" y="851"/>
                    <a:pt x="42" y="851"/>
                  </a:cubicBezTo>
                  <a:cubicBezTo>
                    <a:pt x="43" y="851"/>
                    <a:pt x="43" y="851"/>
                    <a:pt x="43" y="851"/>
                  </a:cubicBezTo>
                  <a:cubicBezTo>
                    <a:pt x="42" y="853"/>
                    <a:pt x="40" y="854"/>
                    <a:pt x="42" y="855"/>
                  </a:cubicBezTo>
                  <a:cubicBezTo>
                    <a:pt x="42" y="855"/>
                    <a:pt x="41" y="855"/>
                    <a:pt x="41" y="855"/>
                  </a:cubicBezTo>
                  <a:cubicBezTo>
                    <a:pt x="40" y="855"/>
                    <a:pt x="38" y="854"/>
                    <a:pt x="37" y="854"/>
                  </a:cubicBezTo>
                  <a:cubicBezTo>
                    <a:pt x="36" y="853"/>
                    <a:pt x="36" y="852"/>
                    <a:pt x="35" y="852"/>
                  </a:cubicBezTo>
                  <a:cubicBezTo>
                    <a:pt x="35" y="852"/>
                    <a:pt x="35" y="852"/>
                    <a:pt x="35" y="852"/>
                  </a:cubicBezTo>
                  <a:cubicBezTo>
                    <a:pt x="32" y="852"/>
                    <a:pt x="33" y="854"/>
                    <a:pt x="34" y="855"/>
                  </a:cubicBezTo>
                  <a:cubicBezTo>
                    <a:pt x="34" y="856"/>
                    <a:pt x="35" y="856"/>
                    <a:pt x="36" y="857"/>
                  </a:cubicBezTo>
                  <a:cubicBezTo>
                    <a:pt x="37" y="859"/>
                    <a:pt x="36" y="859"/>
                    <a:pt x="38" y="860"/>
                  </a:cubicBezTo>
                  <a:cubicBezTo>
                    <a:pt x="38" y="860"/>
                    <a:pt x="40" y="861"/>
                    <a:pt x="40" y="861"/>
                  </a:cubicBezTo>
                  <a:cubicBezTo>
                    <a:pt x="41" y="861"/>
                    <a:pt x="43" y="862"/>
                    <a:pt x="44" y="863"/>
                  </a:cubicBezTo>
                  <a:cubicBezTo>
                    <a:pt x="44" y="863"/>
                    <a:pt x="44" y="863"/>
                    <a:pt x="44" y="863"/>
                  </a:cubicBezTo>
                  <a:cubicBezTo>
                    <a:pt x="42" y="863"/>
                    <a:pt x="41" y="861"/>
                    <a:pt x="39" y="861"/>
                  </a:cubicBezTo>
                  <a:cubicBezTo>
                    <a:pt x="39" y="861"/>
                    <a:pt x="38" y="861"/>
                    <a:pt x="38" y="861"/>
                  </a:cubicBezTo>
                  <a:cubicBezTo>
                    <a:pt x="38" y="861"/>
                    <a:pt x="38" y="861"/>
                    <a:pt x="37" y="861"/>
                  </a:cubicBezTo>
                  <a:cubicBezTo>
                    <a:pt x="37" y="861"/>
                    <a:pt x="37" y="861"/>
                    <a:pt x="37" y="861"/>
                  </a:cubicBezTo>
                  <a:cubicBezTo>
                    <a:pt x="37" y="861"/>
                    <a:pt x="37" y="861"/>
                    <a:pt x="36" y="860"/>
                  </a:cubicBezTo>
                  <a:cubicBezTo>
                    <a:pt x="35" y="859"/>
                    <a:pt x="34" y="857"/>
                    <a:pt x="32" y="857"/>
                  </a:cubicBezTo>
                  <a:cubicBezTo>
                    <a:pt x="32" y="856"/>
                    <a:pt x="32" y="856"/>
                    <a:pt x="32" y="856"/>
                  </a:cubicBezTo>
                  <a:cubicBezTo>
                    <a:pt x="31" y="856"/>
                    <a:pt x="31" y="857"/>
                    <a:pt x="30" y="857"/>
                  </a:cubicBezTo>
                  <a:cubicBezTo>
                    <a:pt x="30" y="857"/>
                    <a:pt x="29" y="858"/>
                    <a:pt x="29" y="858"/>
                  </a:cubicBezTo>
                  <a:cubicBezTo>
                    <a:pt x="29" y="858"/>
                    <a:pt x="29" y="858"/>
                    <a:pt x="29" y="857"/>
                  </a:cubicBezTo>
                  <a:cubicBezTo>
                    <a:pt x="27" y="858"/>
                    <a:pt x="26" y="859"/>
                    <a:pt x="25" y="860"/>
                  </a:cubicBezTo>
                  <a:cubicBezTo>
                    <a:pt x="27" y="861"/>
                    <a:pt x="27" y="862"/>
                    <a:pt x="29" y="863"/>
                  </a:cubicBezTo>
                  <a:cubicBezTo>
                    <a:pt x="30" y="864"/>
                    <a:pt x="31" y="865"/>
                    <a:pt x="32" y="865"/>
                  </a:cubicBezTo>
                  <a:cubicBezTo>
                    <a:pt x="32" y="865"/>
                    <a:pt x="33" y="865"/>
                    <a:pt x="33" y="865"/>
                  </a:cubicBezTo>
                  <a:cubicBezTo>
                    <a:pt x="33" y="866"/>
                    <a:pt x="34" y="867"/>
                    <a:pt x="35" y="867"/>
                  </a:cubicBezTo>
                  <a:cubicBezTo>
                    <a:pt x="36" y="867"/>
                    <a:pt x="38" y="866"/>
                    <a:pt x="39" y="866"/>
                  </a:cubicBezTo>
                  <a:cubicBezTo>
                    <a:pt x="36" y="868"/>
                    <a:pt x="40" y="868"/>
                    <a:pt x="40" y="868"/>
                  </a:cubicBezTo>
                  <a:cubicBezTo>
                    <a:pt x="42" y="869"/>
                    <a:pt x="42" y="870"/>
                    <a:pt x="44" y="871"/>
                  </a:cubicBezTo>
                  <a:cubicBezTo>
                    <a:pt x="42" y="870"/>
                    <a:pt x="40" y="870"/>
                    <a:pt x="39" y="869"/>
                  </a:cubicBezTo>
                  <a:cubicBezTo>
                    <a:pt x="39" y="871"/>
                    <a:pt x="39" y="871"/>
                    <a:pt x="38" y="871"/>
                  </a:cubicBezTo>
                  <a:cubicBezTo>
                    <a:pt x="38" y="871"/>
                    <a:pt x="36" y="869"/>
                    <a:pt x="34" y="869"/>
                  </a:cubicBezTo>
                  <a:cubicBezTo>
                    <a:pt x="36" y="872"/>
                    <a:pt x="38" y="879"/>
                    <a:pt x="41" y="879"/>
                  </a:cubicBezTo>
                  <a:cubicBezTo>
                    <a:pt x="42" y="879"/>
                    <a:pt x="43" y="879"/>
                    <a:pt x="43" y="878"/>
                  </a:cubicBezTo>
                  <a:cubicBezTo>
                    <a:pt x="46" y="876"/>
                    <a:pt x="45" y="874"/>
                    <a:pt x="46" y="872"/>
                  </a:cubicBezTo>
                  <a:cubicBezTo>
                    <a:pt x="47" y="869"/>
                    <a:pt x="49" y="869"/>
                    <a:pt x="51" y="866"/>
                  </a:cubicBezTo>
                  <a:cubicBezTo>
                    <a:pt x="51" y="868"/>
                    <a:pt x="48" y="871"/>
                    <a:pt x="48" y="871"/>
                  </a:cubicBezTo>
                  <a:cubicBezTo>
                    <a:pt x="48" y="873"/>
                    <a:pt x="52" y="874"/>
                    <a:pt x="53" y="874"/>
                  </a:cubicBezTo>
                  <a:cubicBezTo>
                    <a:pt x="53" y="875"/>
                    <a:pt x="52" y="875"/>
                    <a:pt x="52" y="875"/>
                  </a:cubicBezTo>
                  <a:cubicBezTo>
                    <a:pt x="51" y="875"/>
                    <a:pt x="51" y="875"/>
                    <a:pt x="50" y="874"/>
                  </a:cubicBezTo>
                  <a:cubicBezTo>
                    <a:pt x="50" y="874"/>
                    <a:pt x="50" y="874"/>
                    <a:pt x="49" y="874"/>
                  </a:cubicBezTo>
                  <a:cubicBezTo>
                    <a:pt x="49" y="874"/>
                    <a:pt x="48" y="874"/>
                    <a:pt x="47" y="875"/>
                  </a:cubicBezTo>
                  <a:cubicBezTo>
                    <a:pt x="47" y="876"/>
                    <a:pt x="47" y="883"/>
                    <a:pt x="45" y="883"/>
                  </a:cubicBezTo>
                  <a:cubicBezTo>
                    <a:pt x="45" y="883"/>
                    <a:pt x="45" y="883"/>
                    <a:pt x="45" y="883"/>
                  </a:cubicBezTo>
                  <a:cubicBezTo>
                    <a:pt x="45" y="883"/>
                    <a:pt x="44" y="881"/>
                    <a:pt x="43" y="880"/>
                  </a:cubicBezTo>
                  <a:cubicBezTo>
                    <a:pt x="44" y="881"/>
                    <a:pt x="40" y="881"/>
                    <a:pt x="40" y="881"/>
                  </a:cubicBezTo>
                  <a:cubicBezTo>
                    <a:pt x="38" y="881"/>
                    <a:pt x="36" y="883"/>
                    <a:pt x="36" y="886"/>
                  </a:cubicBezTo>
                  <a:cubicBezTo>
                    <a:pt x="36" y="887"/>
                    <a:pt x="38" y="890"/>
                    <a:pt x="39" y="891"/>
                  </a:cubicBezTo>
                  <a:cubicBezTo>
                    <a:pt x="39" y="891"/>
                    <a:pt x="39" y="891"/>
                    <a:pt x="40" y="891"/>
                  </a:cubicBezTo>
                  <a:cubicBezTo>
                    <a:pt x="41" y="891"/>
                    <a:pt x="40" y="889"/>
                    <a:pt x="41" y="888"/>
                  </a:cubicBezTo>
                  <a:cubicBezTo>
                    <a:pt x="41" y="889"/>
                    <a:pt x="42" y="891"/>
                    <a:pt x="43" y="892"/>
                  </a:cubicBezTo>
                  <a:cubicBezTo>
                    <a:pt x="43" y="892"/>
                    <a:pt x="43" y="892"/>
                    <a:pt x="43" y="892"/>
                  </a:cubicBezTo>
                  <a:cubicBezTo>
                    <a:pt x="44" y="892"/>
                    <a:pt x="45" y="891"/>
                    <a:pt x="45" y="891"/>
                  </a:cubicBezTo>
                  <a:cubicBezTo>
                    <a:pt x="46" y="890"/>
                    <a:pt x="46" y="890"/>
                    <a:pt x="47" y="890"/>
                  </a:cubicBezTo>
                  <a:cubicBezTo>
                    <a:pt x="47" y="890"/>
                    <a:pt x="47" y="890"/>
                    <a:pt x="48" y="890"/>
                  </a:cubicBezTo>
                  <a:cubicBezTo>
                    <a:pt x="47" y="891"/>
                    <a:pt x="47" y="891"/>
                    <a:pt x="46" y="892"/>
                  </a:cubicBezTo>
                  <a:cubicBezTo>
                    <a:pt x="48" y="893"/>
                    <a:pt x="47" y="895"/>
                    <a:pt x="48" y="897"/>
                  </a:cubicBezTo>
                  <a:cubicBezTo>
                    <a:pt x="49" y="898"/>
                    <a:pt x="50" y="898"/>
                    <a:pt x="50" y="899"/>
                  </a:cubicBezTo>
                  <a:cubicBezTo>
                    <a:pt x="51" y="900"/>
                    <a:pt x="50" y="903"/>
                    <a:pt x="50" y="904"/>
                  </a:cubicBezTo>
                  <a:cubicBezTo>
                    <a:pt x="50" y="903"/>
                    <a:pt x="49" y="901"/>
                    <a:pt x="48" y="900"/>
                  </a:cubicBezTo>
                  <a:cubicBezTo>
                    <a:pt x="47" y="898"/>
                    <a:pt x="46" y="898"/>
                    <a:pt x="46" y="897"/>
                  </a:cubicBezTo>
                  <a:cubicBezTo>
                    <a:pt x="44" y="899"/>
                    <a:pt x="44" y="901"/>
                    <a:pt x="44" y="903"/>
                  </a:cubicBezTo>
                  <a:cubicBezTo>
                    <a:pt x="45" y="904"/>
                    <a:pt x="46" y="906"/>
                    <a:pt x="47" y="907"/>
                  </a:cubicBezTo>
                  <a:cubicBezTo>
                    <a:pt x="47" y="908"/>
                    <a:pt x="48" y="908"/>
                    <a:pt x="48" y="908"/>
                  </a:cubicBezTo>
                  <a:cubicBezTo>
                    <a:pt x="48" y="908"/>
                    <a:pt x="48" y="908"/>
                    <a:pt x="48" y="908"/>
                  </a:cubicBezTo>
                  <a:cubicBezTo>
                    <a:pt x="49" y="906"/>
                    <a:pt x="49" y="906"/>
                    <a:pt x="49" y="906"/>
                  </a:cubicBezTo>
                  <a:cubicBezTo>
                    <a:pt x="49" y="906"/>
                    <a:pt x="49" y="906"/>
                    <a:pt x="49" y="906"/>
                  </a:cubicBezTo>
                  <a:cubicBezTo>
                    <a:pt x="49" y="906"/>
                    <a:pt x="49" y="906"/>
                    <a:pt x="49" y="906"/>
                  </a:cubicBezTo>
                  <a:cubicBezTo>
                    <a:pt x="50" y="906"/>
                    <a:pt x="50" y="906"/>
                    <a:pt x="50" y="906"/>
                  </a:cubicBezTo>
                  <a:cubicBezTo>
                    <a:pt x="50" y="906"/>
                    <a:pt x="50" y="906"/>
                    <a:pt x="50" y="906"/>
                  </a:cubicBezTo>
                  <a:cubicBezTo>
                    <a:pt x="53" y="906"/>
                    <a:pt x="53" y="906"/>
                    <a:pt x="53" y="906"/>
                  </a:cubicBezTo>
                  <a:cubicBezTo>
                    <a:pt x="52" y="907"/>
                    <a:pt x="51" y="907"/>
                    <a:pt x="51" y="908"/>
                  </a:cubicBezTo>
                  <a:cubicBezTo>
                    <a:pt x="51" y="910"/>
                    <a:pt x="54" y="914"/>
                    <a:pt x="55" y="916"/>
                  </a:cubicBezTo>
                  <a:cubicBezTo>
                    <a:pt x="54" y="915"/>
                    <a:pt x="52" y="912"/>
                    <a:pt x="51" y="912"/>
                  </a:cubicBezTo>
                  <a:cubicBezTo>
                    <a:pt x="51" y="912"/>
                    <a:pt x="51" y="912"/>
                    <a:pt x="51" y="912"/>
                  </a:cubicBezTo>
                  <a:cubicBezTo>
                    <a:pt x="46" y="912"/>
                    <a:pt x="54" y="918"/>
                    <a:pt x="55" y="919"/>
                  </a:cubicBezTo>
                  <a:cubicBezTo>
                    <a:pt x="53" y="918"/>
                    <a:pt x="50" y="916"/>
                    <a:pt x="48" y="916"/>
                  </a:cubicBezTo>
                  <a:cubicBezTo>
                    <a:pt x="48" y="916"/>
                    <a:pt x="47" y="917"/>
                    <a:pt x="48" y="919"/>
                  </a:cubicBezTo>
                  <a:cubicBezTo>
                    <a:pt x="49" y="920"/>
                    <a:pt x="51" y="921"/>
                    <a:pt x="51" y="922"/>
                  </a:cubicBezTo>
                  <a:cubicBezTo>
                    <a:pt x="51" y="923"/>
                    <a:pt x="50" y="924"/>
                    <a:pt x="50" y="924"/>
                  </a:cubicBezTo>
                  <a:cubicBezTo>
                    <a:pt x="50" y="925"/>
                    <a:pt x="51" y="925"/>
                    <a:pt x="51" y="926"/>
                  </a:cubicBezTo>
                  <a:cubicBezTo>
                    <a:pt x="51" y="927"/>
                    <a:pt x="48" y="927"/>
                    <a:pt x="49" y="928"/>
                  </a:cubicBezTo>
                  <a:cubicBezTo>
                    <a:pt x="49" y="929"/>
                    <a:pt x="49" y="929"/>
                    <a:pt x="50" y="929"/>
                  </a:cubicBezTo>
                  <a:cubicBezTo>
                    <a:pt x="51" y="929"/>
                    <a:pt x="52" y="928"/>
                    <a:pt x="52" y="928"/>
                  </a:cubicBezTo>
                  <a:cubicBezTo>
                    <a:pt x="52" y="930"/>
                    <a:pt x="47" y="935"/>
                    <a:pt x="49" y="935"/>
                  </a:cubicBezTo>
                  <a:cubicBezTo>
                    <a:pt x="50" y="935"/>
                    <a:pt x="50" y="935"/>
                    <a:pt x="50" y="935"/>
                  </a:cubicBezTo>
                  <a:cubicBezTo>
                    <a:pt x="50" y="936"/>
                    <a:pt x="50" y="937"/>
                    <a:pt x="50" y="938"/>
                  </a:cubicBezTo>
                  <a:cubicBezTo>
                    <a:pt x="51" y="937"/>
                    <a:pt x="52" y="937"/>
                    <a:pt x="52" y="936"/>
                  </a:cubicBezTo>
                  <a:cubicBezTo>
                    <a:pt x="54" y="935"/>
                    <a:pt x="54" y="934"/>
                    <a:pt x="55" y="932"/>
                  </a:cubicBezTo>
                  <a:cubicBezTo>
                    <a:pt x="56" y="934"/>
                    <a:pt x="57" y="936"/>
                    <a:pt x="58" y="936"/>
                  </a:cubicBezTo>
                  <a:cubicBezTo>
                    <a:pt x="58" y="936"/>
                    <a:pt x="58" y="936"/>
                    <a:pt x="58" y="936"/>
                  </a:cubicBezTo>
                  <a:cubicBezTo>
                    <a:pt x="60" y="934"/>
                    <a:pt x="60" y="934"/>
                    <a:pt x="60" y="934"/>
                  </a:cubicBezTo>
                  <a:cubicBezTo>
                    <a:pt x="61" y="932"/>
                    <a:pt x="62" y="930"/>
                    <a:pt x="64" y="930"/>
                  </a:cubicBezTo>
                  <a:cubicBezTo>
                    <a:pt x="64" y="930"/>
                    <a:pt x="65" y="931"/>
                    <a:pt x="66" y="931"/>
                  </a:cubicBezTo>
                  <a:cubicBezTo>
                    <a:pt x="63" y="933"/>
                    <a:pt x="56" y="937"/>
                    <a:pt x="59" y="940"/>
                  </a:cubicBezTo>
                  <a:cubicBezTo>
                    <a:pt x="58" y="940"/>
                    <a:pt x="58" y="940"/>
                    <a:pt x="57" y="940"/>
                  </a:cubicBezTo>
                  <a:cubicBezTo>
                    <a:pt x="55" y="940"/>
                    <a:pt x="53" y="940"/>
                    <a:pt x="51" y="940"/>
                  </a:cubicBezTo>
                  <a:cubicBezTo>
                    <a:pt x="53" y="941"/>
                    <a:pt x="56" y="943"/>
                    <a:pt x="57" y="943"/>
                  </a:cubicBezTo>
                  <a:cubicBezTo>
                    <a:pt x="57" y="943"/>
                    <a:pt x="57" y="943"/>
                    <a:pt x="57" y="942"/>
                  </a:cubicBezTo>
                  <a:cubicBezTo>
                    <a:pt x="58" y="944"/>
                    <a:pt x="60" y="943"/>
                    <a:pt x="58" y="945"/>
                  </a:cubicBezTo>
                  <a:cubicBezTo>
                    <a:pt x="58" y="945"/>
                    <a:pt x="55" y="946"/>
                    <a:pt x="54" y="946"/>
                  </a:cubicBezTo>
                  <a:cubicBezTo>
                    <a:pt x="56" y="947"/>
                    <a:pt x="58" y="950"/>
                    <a:pt x="61" y="950"/>
                  </a:cubicBezTo>
                  <a:cubicBezTo>
                    <a:pt x="61" y="950"/>
                    <a:pt x="62" y="949"/>
                    <a:pt x="64" y="949"/>
                  </a:cubicBezTo>
                  <a:cubicBezTo>
                    <a:pt x="65" y="948"/>
                    <a:pt x="65" y="947"/>
                    <a:pt x="65" y="945"/>
                  </a:cubicBezTo>
                  <a:cubicBezTo>
                    <a:pt x="65" y="945"/>
                    <a:pt x="64" y="942"/>
                    <a:pt x="64" y="942"/>
                  </a:cubicBezTo>
                  <a:cubicBezTo>
                    <a:pt x="65" y="940"/>
                    <a:pt x="68" y="940"/>
                    <a:pt x="70" y="938"/>
                  </a:cubicBezTo>
                  <a:cubicBezTo>
                    <a:pt x="72" y="936"/>
                    <a:pt x="71" y="936"/>
                    <a:pt x="71" y="935"/>
                  </a:cubicBezTo>
                  <a:cubicBezTo>
                    <a:pt x="71" y="935"/>
                    <a:pt x="68" y="934"/>
                    <a:pt x="68" y="934"/>
                  </a:cubicBezTo>
                  <a:cubicBezTo>
                    <a:pt x="67" y="934"/>
                    <a:pt x="66" y="937"/>
                    <a:pt x="64" y="937"/>
                  </a:cubicBezTo>
                  <a:cubicBezTo>
                    <a:pt x="65" y="937"/>
                    <a:pt x="66" y="935"/>
                    <a:pt x="67" y="934"/>
                  </a:cubicBezTo>
                  <a:cubicBezTo>
                    <a:pt x="69" y="932"/>
                    <a:pt x="75" y="931"/>
                    <a:pt x="78" y="931"/>
                  </a:cubicBezTo>
                  <a:cubicBezTo>
                    <a:pt x="78" y="932"/>
                    <a:pt x="78" y="932"/>
                    <a:pt x="78" y="932"/>
                  </a:cubicBezTo>
                  <a:cubicBezTo>
                    <a:pt x="78" y="932"/>
                    <a:pt x="77" y="932"/>
                    <a:pt x="77" y="932"/>
                  </a:cubicBezTo>
                  <a:cubicBezTo>
                    <a:pt x="77" y="932"/>
                    <a:pt x="77" y="932"/>
                    <a:pt x="77" y="932"/>
                  </a:cubicBezTo>
                  <a:cubicBezTo>
                    <a:pt x="77" y="932"/>
                    <a:pt x="77" y="932"/>
                    <a:pt x="77" y="932"/>
                  </a:cubicBezTo>
                  <a:cubicBezTo>
                    <a:pt x="77" y="935"/>
                    <a:pt x="78" y="935"/>
                    <a:pt x="80" y="935"/>
                  </a:cubicBezTo>
                  <a:cubicBezTo>
                    <a:pt x="81" y="935"/>
                    <a:pt x="82" y="935"/>
                    <a:pt x="84" y="935"/>
                  </a:cubicBezTo>
                  <a:cubicBezTo>
                    <a:pt x="83" y="938"/>
                    <a:pt x="79" y="938"/>
                    <a:pt x="78" y="941"/>
                  </a:cubicBezTo>
                  <a:cubicBezTo>
                    <a:pt x="78" y="941"/>
                    <a:pt x="77" y="942"/>
                    <a:pt x="77" y="942"/>
                  </a:cubicBezTo>
                  <a:cubicBezTo>
                    <a:pt x="77" y="942"/>
                    <a:pt x="76" y="941"/>
                    <a:pt x="75" y="941"/>
                  </a:cubicBezTo>
                  <a:cubicBezTo>
                    <a:pt x="75" y="940"/>
                    <a:pt x="75" y="940"/>
                    <a:pt x="74" y="940"/>
                  </a:cubicBezTo>
                  <a:cubicBezTo>
                    <a:pt x="73" y="940"/>
                    <a:pt x="73" y="941"/>
                    <a:pt x="71" y="942"/>
                  </a:cubicBezTo>
                  <a:cubicBezTo>
                    <a:pt x="71" y="941"/>
                    <a:pt x="73" y="940"/>
                    <a:pt x="73" y="938"/>
                  </a:cubicBezTo>
                  <a:cubicBezTo>
                    <a:pt x="73" y="938"/>
                    <a:pt x="72" y="938"/>
                    <a:pt x="72" y="938"/>
                  </a:cubicBezTo>
                  <a:cubicBezTo>
                    <a:pt x="70" y="938"/>
                    <a:pt x="69" y="939"/>
                    <a:pt x="68" y="940"/>
                  </a:cubicBezTo>
                  <a:cubicBezTo>
                    <a:pt x="66" y="942"/>
                    <a:pt x="65" y="948"/>
                    <a:pt x="66" y="950"/>
                  </a:cubicBezTo>
                  <a:cubicBezTo>
                    <a:pt x="67" y="952"/>
                    <a:pt x="70" y="953"/>
                    <a:pt x="71" y="955"/>
                  </a:cubicBezTo>
                  <a:cubicBezTo>
                    <a:pt x="70" y="955"/>
                    <a:pt x="68" y="952"/>
                    <a:pt x="66" y="952"/>
                  </a:cubicBezTo>
                  <a:cubicBezTo>
                    <a:pt x="65" y="952"/>
                    <a:pt x="65" y="951"/>
                    <a:pt x="65" y="951"/>
                  </a:cubicBezTo>
                  <a:cubicBezTo>
                    <a:pt x="64" y="951"/>
                    <a:pt x="63" y="952"/>
                    <a:pt x="62" y="952"/>
                  </a:cubicBezTo>
                  <a:cubicBezTo>
                    <a:pt x="62" y="952"/>
                    <a:pt x="61" y="952"/>
                    <a:pt x="61" y="952"/>
                  </a:cubicBezTo>
                  <a:cubicBezTo>
                    <a:pt x="60" y="952"/>
                    <a:pt x="59" y="952"/>
                    <a:pt x="57" y="952"/>
                  </a:cubicBezTo>
                  <a:cubicBezTo>
                    <a:pt x="60" y="953"/>
                    <a:pt x="61" y="955"/>
                    <a:pt x="64" y="956"/>
                  </a:cubicBezTo>
                  <a:cubicBezTo>
                    <a:pt x="65" y="957"/>
                    <a:pt x="66" y="957"/>
                    <a:pt x="66" y="958"/>
                  </a:cubicBezTo>
                  <a:cubicBezTo>
                    <a:pt x="67" y="958"/>
                    <a:pt x="68" y="960"/>
                    <a:pt x="69" y="960"/>
                  </a:cubicBezTo>
                  <a:cubicBezTo>
                    <a:pt x="69" y="960"/>
                    <a:pt x="69" y="960"/>
                    <a:pt x="70" y="959"/>
                  </a:cubicBezTo>
                  <a:cubicBezTo>
                    <a:pt x="71" y="962"/>
                    <a:pt x="75" y="963"/>
                    <a:pt x="78" y="963"/>
                  </a:cubicBezTo>
                  <a:cubicBezTo>
                    <a:pt x="78" y="963"/>
                    <a:pt x="79" y="963"/>
                    <a:pt x="79" y="963"/>
                  </a:cubicBezTo>
                  <a:cubicBezTo>
                    <a:pt x="77" y="961"/>
                    <a:pt x="75" y="960"/>
                    <a:pt x="73" y="958"/>
                  </a:cubicBezTo>
                  <a:cubicBezTo>
                    <a:pt x="73" y="958"/>
                    <a:pt x="74" y="958"/>
                    <a:pt x="74" y="958"/>
                  </a:cubicBezTo>
                  <a:cubicBezTo>
                    <a:pt x="75" y="958"/>
                    <a:pt x="76" y="957"/>
                    <a:pt x="76" y="955"/>
                  </a:cubicBezTo>
                  <a:cubicBezTo>
                    <a:pt x="76" y="955"/>
                    <a:pt x="76" y="955"/>
                    <a:pt x="77" y="955"/>
                  </a:cubicBezTo>
                  <a:cubicBezTo>
                    <a:pt x="78" y="955"/>
                    <a:pt x="77" y="954"/>
                    <a:pt x="75" y="953"/>
                  </a:cubicBezTo>
                  <a:cubicBezTo>
                    <a:pt x="76" y="953"/>
                    <a:pt x="77" y="954"/>
                    <a:pt x="78" y="954"/>
                  </a:cubicBezTo>
                  <a:cubicBezTo>
                    <a:pt x="80" y="954"/>
                    <a:pt x="80" y="953"/>
                    <a:pt x="79" y="952"/>
                  </a:cubicBezTo>
                  <a:cubicBezTo>
                    <a:pt x="80" y="953"/>
                    <a:pt x="81" y="953"/>
                    <a:pt x="82" y="953"/>
                  </a:cubicBezTo>
                  <a:cubicBezTo>
                    <a:pt x="82" y="953"/>
                    <a:pt x="83" y="953"/>
                    <a:pt x="83" y="952"/>
                  </a:cubicBezTo>
                  <a:cubicBezTo>
                    <a:pt x="83" y="951"/>
                    <a:pt x="81" y="951"/>
                    <a:pt x="80" y="951"/>
                  </a:cubicBezTo>
                  <a:cubicBezTo>
                    <a:pt x="79" y="950"/>
                    <a:pt x="80" y="949"/>
                    <a:pt x="78" y="949"/>
                  </a:cubicBezTo>
                  <a:cubicBezTo>
                    <a:pt x="78" y="949"/>
                    <a:pt x="78" y="949"/>
                    <a:pt x="78" y="949"/>
                  </a:cubicBezTo>
                  <a:cubicBezTo>
                    <a:pt x="77" y="949"/>
                    <a:pt x="77" y="949"/>
                    <a:pt x="76" y="949"/>
                  </a:cubicBezTo>
                  <a:cubicBezTo>
                    <a:pt x="76" y="949"/>
                    <a:pt x="76" y="949"/>
                    <a:pt x="75" y="949"/>
                  </a:cubicBezTo>
                  <a:cubicBezTo>
                    <a:pt x="75" y="949"/>
                    <a:pt x="75" y="949"/>
                    <a:pt x="75" y="949"/>
                  </a:cubicBezTo>
                  <a:cubicBezTo>
                    <a:pt x="75" y="948"/>
                    <a:pt x="76" y="948"/>
                    <a:pt x="77" y="948"/>
                  </a:cubicBezTo>
                  <a:cubicBezTo>
                    <a:pt x="80" y="948"/>
                    <a:pt x="83" y="950"/>
                    <a:pt x="85" y="950"/>
                  </a:cubicBezTo>
                  <a:cubicBezTo>
                    <a:pt x="85" y="950"/>
                    <a:pt x="85" y="951"/>
                    <a:pt x="86" y="951"/>
                  </a:cubicBezTo>
                  <a:cubicBezTo>
                    <a:pt x="87" y="951"/>
                    <a:pt x="88" y="949"/>
                    <a:pt x="89" y="948"/>
                  </a:cubicBezTo>
                  <a:cubicBezTo>
                    <a:pt x="91" y="946"/>
                    <a:pt x="93" y="944"/>
                    <a:pt x="96" y="943"/>
                  </a:cubicBezTo>
                  <a:cubicBezTo>
                    <a:pt x="99" y="941"/>
                    <a:pt x="102" y="941"/>
                    <a:pt x="105" y="941"/>
                  </a:cubicBezTo>
                  <a:cubicBezTo>
                    <a:pt x="106" y="941"/>
                    <a:pt x="106" y="941"/>
                    <a:pt x="106" y="941"/>
                  </a:cubicBezTo>
                  <a:cubicBezTo>
                    <a:pt x="109" y="941"/>
                    <a:pt x="108" y="942"/>
                    <a:pt x="107" y="944"/>
                  </a:cubicBezTo>
                  <a:cubicBezTo>
                    <a:pt x="106" y="946"/>
                    <a:pt x="104" y="949"/>
                    <a:pt x="102" y="950"/>
                  </a:cubicBezTo>
                  <a:cubicBezTo>
                    <a:pt x="100" y="951"/>
                    <a:pt x="98" y="951"/>
                    <a:pt x="97" y="952"/>
                  </a:cubicBezTo>
                  <a:cubicBezTo>
                    <a:pt x="96" y="952"/>
                    <a:pt x="94" y="953"/>
                    <a:pt x="93" y="954"/>
                  </a:cubicBezTo>
                  <a:cubicBezTo>
                    <a:pt x="91" y="956"/>
                    <a:pt x="94" y="960"/>
                    <a:pt x="92" y="962"/>
                  </a:cubicBezTo>
                  <a:cubicBezTo>
                    <a:pt x="92" y="963"/>
                    <a:pt x="89" y="964"/>
                    <a:pt x="88" y="964"/>
                  </a:cubicBezTo>
                  <a:cubicBezTo>
                    <a:pt x="87" y="964"/>
                    <a:pt x="87" y="964"/>
                    <a:pt x="87" y="963"/>
                  </a:cubicBezTo>
                  <a:cubicBezTo>
                    <a:pt x="88" y="962"/>
                    <a:pt x="91" y="962"/>
                    <a:pt x="91" y="961"/>
                  </a:cubicBezTo>
                  <a:cubicBezTo>
                    <a:pt x="93" y="960"/>
                    <a:pt x="92" y="957"/>
                    <a:pt x="91" y="955"/>
                  </a:cubicBezTo>
                  <a:cubicBezTo>
                    <a:pt x="91" y="954"/>
                    <a:pt x="90" y="953"/>
                    <a:pt x="88" y="953"/>
                  </a:cubicBezTo>
                  <a:cubicBezTo>
                    <a:pt x="88" y="953"/>
                    <a:pt x="88" y="953"/>
                    <a:pt x="87" y="954"/>
                  </a:cubicBezTo>
                  <a:cubicBezTo>
                    <a:pt x="86" y="955"/>
                    <a:pt x="88" y="957"/>
                    <a:pt x="87" y="958"/>
                  </a:cubicBezTo>
                  <a:cubicBezTo>
                    <a:pt x="87" y="959"/>
                    <a:pt x="84" y="960"/>
                    <a:pt x="83" y="960"/>
                  </a:cubicBezTo>
                  <a:cubicBezTo>
                    <a:pt x="82" y="960"/>
                    <a:pt x="82" y="960"/>
                    <a:pt x="82" y="960"/>
                  </a:cubicBezTo>
                  <a:cubicBezTo>
                    <a:pt x="86" y="959"/>
                    <a:pt x="86" y="954"/>
                    <a:pt x="82" y="954"/>
                  </a:cubicBezTo>
                  <a:cubicBezTo>
                    <a:pt x="82" y="954"/>
                    <a:pt x="81" y="954"/>
                    <a:pt x="81" y="954"/>
                  </a:cubicBezTo>
                  <a:cubicBezTo>
                    <a:pt x="76" y="956"/>
                    <a:pt x="81" y="966"/>
                    <a:pt x="85" y="968"/>
                  </a:cubicBezTo>
                  <a:cubicBezTo>
                    <a:pt x="85" y="968"/>
                    <a:pt x="86" y="968"/>
                    <a:pt x="87" y="969"/>
                  </a:cubicBezTo>
                  <a:cubicBezTo>
                    <a:pt x="87" y="969"/>
                    <a:pt x="87" y="969"/>
                    <a:pt x="87" y="969"/>
                  </a:cubicBezTo>
                  <a:cubicBezTo>
                    <a:pt x="87" y="969"/>
                    <a:pt x="88" y="969"/>
                    <a:pt x="89" y="969"/>
                  </a:cubicBezTo>
                  <a:cubicBezTo>
                    <a:pt x="90" y="970"/>
                    <a:pt x="92" y="970"/>
                    <a:pt x="93" y="971"/>
                  </a:cubicBezTo>
                  <a:cubicBezTo>
                    <a:pt x="96" y="973"/>
                    <a:pt x="100" y="974"/>
                    <a:pt x="104" y="974"/>
                  </a:cubicBezTo>
                  <a:cubicBezTo>
                    <a:pt x="104" y="974"/>
                    <a:pt x="105" y="974"/>
                    <a:pt x="105" y="974"/>
                  </a:cubicBezTo>
                  <a:cubicBezTo>
                    <a:pt x="110" y="973"/>
                    <a:pt x="110" y="972"/>
                    <a:pt x="111" y="968"/>
                  </a:cubicBezTo>
                  <a:cubicBezTo>
                    <a:pt x="111" y="967"/>
                    <a:pt x="112" y="966"/>
                    <a:pt x="112" y="964"/>
                  </a:cubicBezTo>
                  <a:cubicBezTo>
                    <a:pt x="112" y="962"/>
                    <a:pt x="111" y="961"/>
                    <a:pt x="111" y="959"/>
                  </a:cubicBezTo>
                  <a:cubicBezTo>
                    <a:pt x="111" y="956"/>
                    <a:pt x="112" y="953"/>
                    <a:pt x="113" y="950"/>
                  </a:cubicBezTo>
                  <a:cubicBezTo>
                    <a:pt x="114" y="948"/>
                    <a:pt x="117" y="944"/>
                    <a:pt x="114" y="943"/>
                  </a:cubicBezTo>
                  <a:cubicBezTo>
                    <a:pt x="115" y="942"/>
                    <a:pt x="115" y="940"/>
                    <a:pt x="116" y="940"/>
                  </a:cubicBezTo>
                  <a:cubicBezTo>
                    <a:pt x="116" y="939"/>
                    <a:pt x="115" y="939"/>
                    <a:pt x="114" y="938"/>
                  </a:cubicBezTo>
                  <a:cubicBezTo>
                    <a:pt x="118" y="937"/>
                    <a:pt x="121" y="937"/>
                    <a:pt x="125" y="936"/>
                  </a:cubicBezTo>
                  <a:cubicBezTo>
                    <a:pt x="131" y="934"/>
                    <a:pt x="139" y="934"/>
                    <a:pt x="145" y="928"/>
                  </a:cubicBezTo>
                  <a:cubicBezTo>
                    <a:pt x="147" y="926"/>
                    <a:pt x="149" y="923"/>
                    <a:pt x="151" y="923"/>
                  </a:cubicBezTo>
                  <a:cubicBezTo>
                    <a:pt x="150" y="922"/>
                    <a:pt x="150" y="922"/>
                    <a:pt x="150" y="922"/>
                  </a:cubicBezTo>
                  <a:cubicBezTo>
                    <a:pt x="149" y="922"/>
                    <a:pt x="148" y="922"/>
                    <a:pt x="146" y="922"/>
                  </a:cubicBezTo>
                  <a:cubicBezTo>
                    <a:pt x="144" y="921"/>
                    <a:pt x="142" y="920"/>
                    <a:pt x="140" y="920"/>
                  </a:cubicBezTo>
                  <a:cubicBezTo>
                    <a:pt x="138" y="919"/>
                    <a:pt x="136" y="919"/>
                    <a:pt x="135" y="918"/>
                  </a:cubicBezTo>
                  <a:cubicBezTo>
                    <a:pt x="134" y="918"/>
                    <a:pt x="134" y="918"/>
                    <a:pt x="134" y="918"/>
                  </a:cubicBezTo>
                  <a:cubicBezTo>
                    <a:pt x="133" y="918"/>
                    <a:pt x="133" y="918"/>
                    <a:pt x="133" y="918"/>
                  </a:cubicBezTo>
                  <a:cubicBezTo>
                    <a:pt x="131" y="918"/>
                    <a:pt x="129" y="917"/>
                    <a:pt x="127" y="917"/>
                  </a:cubicBezTo>
                  <a:cubicBezTo>
                    <a:pt x="125" y="917"/>
                    <a:pt x="123" y="918"/>
                    <a:pt x="121" y="918"/>
                  </a:cubicBezTo>
                  <a:cubicBezTo>
                    <a:pt x="121" y="918"/>
                    <a:pt x="121" y="918"/>
                    <a:pt x="121" y="918"/>
                  </a:cubicBezTo>
                  <a:cubicBezTo>
                    <a:pt x="118" y="918"/>
                    <a:pt x="116" y="918"/>
                    <a:pt x="114" y="918"/>
                  </a:cubicBezTo>
                  <a:cubicBezTo>
                    <a:pt x="92" y="918"/>
                    <a:pt x="92" y="918"/>
                    <a:pt x="92" y="918"/>
                  </a:cubicBezTo>
                  <a:cubicBezTo>
                    <a:pt x="89" y="918"/>
                    <a:pt x="87" y="917"/>
                    <a:pt x="86" y="915"/>
                  </a:cubicBezTo>
                  <a:cubicBezTo>
                    <a:pt x="85" y="914"/>
                    <a:pt x="85" y="913"/>
                    <a:pt x="85" y="913"/>
                  </a:cubicBezTo>
                  <a:cubicBezTo>
                    <a:pt x="85" y="912"/>
                    <a:pt x="84" y="911"/>
                    <a:pt x="84" y="910"/>
                  </a:cubicBezTo>
                  <a:cubicBezTo>
                    <a:pt x="84" y="910"/>
                    <a:pt x="83" y="910"/>
                    <a:pt x="83" y="910"/>
                  </a:cubicBezTo>
                  <a:cubicBezTo>
                    <a:pt x="81" y="908"/>
                    <a:pt x="81" y="908"/>
                    <a:pt x="81" y="908"/>
                  </a:cubicBezTo>
                  <a:cubicBezTo>
                    <a:pt x="79" y="907"/>
                    <a:pt x="78" y="907"/>
                    <a:pt x="77" y="904"/>
                  </a:cubicBezTo>
                  <a:cubicBezTo>
                    <a:pt x="76" y="904"/>
                    <a:pt x="76" y="904"/>
                    <a:pt x="76" y="904"/>
                  </a:cubicBezTo>
                  <a:cubicBezTo>
                    <a:pt x="75" y="902"/>
                    <a:pt x="75" y="902"/>
                    <a:pt x="75" y="902"/>
                  </a:cubicBezTo>
                  <a:cubicBezTo>
                    <a:pt x="75" y="901"/>
                    <a:pt x="75" y="900"/>
                    <a:pt x="76" y="898"/>
                  </a:cubicBezTo>
                  <a:cubicBezTo>
                    <a:pt x="76" y="897"/>
                    <a:pt x="77" y="897"/>
                    <a:pt x="77" y="896"/>
                  </a:cubicBezTo>
                  <a:cubicBezTo>
                    <a:pt x="78" y="895"/>
                    <a:pt x="78" y="894"/>
                    <a:pt x="78" y="893"/>
                  </a:cubicBezTo>
                  <a:cubicBezTo>
                    <a:pt x="78" y="893"/>
                    <a:pt x="78" y="893"/>
                    <a:pt x="78" y="893"/>
                  </a:cubicBezTo>
                  <a:cubicBezTo>
                    <a:pt x="77" y="892"/>
                    <a:pt x="77" y="892"/>
                    <a:pt x="77" y="892"/>
                  </a:cubicBezTo>
                  <a:cubicBezTo>
                    <a:pt x="77" y="891"/>
                    <a:pt x="77" y="891"/>
                    <a:pt x="77" y="891"/>
                  </a:cubicBezTo>
                  <a:cubicBezTo>
                    <a:pt x="76" y="891"/>
                    <a:pt x="76" y="891"/>
                    <a:pt x="76" y="891"/>
                  </a:cubicBezTo>
                  <a:cubicBezTo>
                    <a:pt x="76" y="890"/>
                    <a:pt x="76" y="889"/>
                    <a:pt x="76" y="888"/>
                  </a:cubicBezTo>
                  <a:cubicBezTo>
                    <a:pt x="76" y="886"/>
                    <a:pt x="77" y="885"/>
                    <a:pt x="77" y="884"/>
                  </a:cubicBezTo>
                  <a:cubicBezTo>
                    <a:pt x="78" y="883"/>
                    <a:pt x="78" y="883"/>
                    <a:pt x="78" y="883"/>
                  </a:cubicBezTo>
                  <a:cubicBezTo>
                    <a:pt x="78" y="882"/>
                    <a:pt x="78" y="880"/>
                    <a:pt x="78" y="879"/>
                  </a:cubicBezTo>
                  <a:cubicBezTo>
                    <a:pt x="78" y="878"/>
                    <a:pt x="78" y="877"/>
                    <a:pt x="78" y="876"/>
                  </a:cubicBezTo>
                  <a:cubicBezTo>
                    <a:pt x="78" y="875"/>
                    <a:pt x="78" y="875"/>
                    <a:pt x="78" y="875"/>
                  </a:cubicBezTo>
                  <a:cubicBezTo>
                    <a:pt x="77" y="875"/>
                    <a:pt x="77" y="875"/>
                    <a:pt x="76" y="876"/>
                  </a:cubicBezTo>
                  <a:cubicBezTo>
                    <a:pt x="75" y="876"/>
                    <a:pt x="75" y="876"/>
                    <a:pt x="75" y="876"/>
                  </a:cubicBezTo>
                  <a:cubicBezTo>
                    <a:pt x="74" y="877"/>
                    <a:pt x="74" y="877"/>
                    <a:pt x="74" y="877"/>
                  </a:cubicBezTo>
                  <a:cubicBezTo>
                    <a:pt x="74" y="877"/>
                    <a:pt x="73" y="877"/>
                    <a:pt x="73" y="877"/>
                  </a:cubicBezTo>
                  <a:cubicBezTo>
                    <a:pt x="71" y="877"/>
                    <a:pt x="71" y="876"/>
                    <a:pt x="70" y="876"/>
                  </a:cubicBezTo>
                  <a:cubicBezTo>
                    <a:pt x="70" y="876"/>
                    <a:pt x="70" y="876"/>
                    <a:pt x="70" y="876"/>
                  </a:cubicBezTo>
                  <a:cubicBezTo>
                    <a:pt x="69" y="876"/>
                    <a:pt x="69" y="876"/>
                    <a:pt x="68" y="877"/>
                  </a:cubicBezTo>
                  <a:cubicBezTo>
                    <a:pt x="68" y="877"/>
                    <a:pt x="67" y="878"/>
                    <a:pt x="67" y="878"/>
                  </a:cubicBezTo>
                  <a:cubicBezTo>
                    <a:pt x="66" y="879"/>
                    <a:pt x="66" y="879"/>
                    <a:pt x="65" y="879"/>
                  </a:cubicBezTo>
                  <a:cubicBezTo>
                    <a:pt x="65" y="879"/>
                    <a:pt x="64" y="879"/>
                    <a:pt x="64" y="880"/>
                  </a:cubicBezTo>
                  <a:cubicBezTo>
                    <a:pt x="63" y="880"/>
                    <a:pt x="63" y="880"/>
                    <a:pt x="63" y="880"/>
                  </a:cubicBezTo>
                  <a:cubicBezTo>
                    <a:pt x="63" y="880"/>
                    <a:pt x="63" y="880"/>
                    <a:pt x="62" y="880"/>
                  </a:cubicBezTo>
                  <a:cubicBezTo>
                    <a:pt x="62" y="880"/>
                    <a:pt x="62" y="880"/>
                    <a:pt x="62" y="880"/>
                  </a:cubicBezTo>
                  <a:cubicBezTo>
                    <a:pt x="61" y="880"/>
                    <a:pt x="61" y="880"/>
                    <a:pt x="61" y="880"/>
                  </a:cubicBezTo>
                  <a:cubicBezTo>
                    <a:pt x="61" y="880"/>
                    <a:pt x="60" y="880"/>
                    <a:pt x="60" y="880"/>
                  </a:cubicBezTo>
                  <a:cubicBezTo>
                    <a:pt x="59" y="879"/>
                    <a:pt x="59" y="879"/>
                    <a:pt x="59" y="879"/>
                  </a:cubicBezTo>
                  <a:cubicBezTo>
                    <a:pt x="59" y="878"/>
                    <a:pt x="59" y="878"/>
                    <a:pt x="59" y="878"/>
                  </a:cubicBezTo>
                  <a:cubicBezTo>
                    <a:pt x="58" y="878"/>
                    <a:pt x="58" y="878"/>
                    <a:pt x="58" y="878"/>
                  </a:cubicBezTo>
                  <a:cubicBezTo>
                    <a:pt x="58" y="877"/>
                    <a:pt x="58" y="877"/>
                    <a:pt x="58" y="877"/>
                  </a:cubicBezTo>
                  <a:cubicBezTo>
                    <a:pt x="57" y="877"/>
                    <a:pt x="57" y="877"/>
                    <a:pt x="57" y="877"/>
                  </a:cubicBezTo>
                  <a:cubicBezTo>
                    <a:pt x="57" y="876"/>
                    <a:pt x="57" y="876"/>
                    <a:pt x="57" y="876"/>
                  </a:cubicBezTo>
                  <a:cubicBezTo>
                    <a:pt x="57" y="874"/>
                    <a:pt x="57" y="874"/>
                    <a:pt x="57" y="874"/>
                  </a:cubicBezTo>
                  <a:cubicBezTo>
                    <a:pt x="56" y="872"/>
                    <a:pt x="56" y="872"/>
                    <a:pt x="56" y="872"/>
                  </a:cubicBezTo>
                  <a:cubicBezTo>
                    <a:pt x="56" y="871"/>
                    <a:pt x="56" y="871"/>
                    <a:pt x="56" y="870"/>
                  </a:cubicBezTo>
                  <a:cubicBezTo>
                    <a:pt x="56" y="869"/>
                    <a:pt x="56" y="869"/>
                    <a:pt x="56" y="869"/>
                  </a:cubicBezTo>
                  <a:cubicBezTo>
                    <a:pt x="56" y="868"/>
                    <a:pt x="55" y="867"/>
                    <a:pt x="55" y="866"/>
                  </a:cubicBezTo>
                  <a:cubicBezTo>
                    <a:pt x="55" y="865"/>
                    <a:pt x="55" y="865"/>
                    <a:pt x="55" y="865"/>
                  </a:cubicBezTo>
                  <a:cubicBezTo>
                    <a:pt x="55" y="864"/>
                    <a:pt x="55" y="864"/>
                    <a:pt x="55" y="864"/>
                  </a:cubicBezTo>
                  <a:cubicBezTo>
                    <a:pt x="54" y="863"/>
                    <a:pt x="54" y="863"/>
                    <a:pt x="53" y="863"/>
                  </a:cubicBezTo>
                  <a:cubicBezTo>
                    <a:pt x="52" y="862"/>
                    <a:pt x="52" y="862"/>
                    <a:pt x="52" y="862"/>
                  </a:cubicBezTo>
                  <a:cubicBezTo>
                    <a:pt x="52" y="862"/>
                    <a:pt x="52" y="861"/>
                    <a:pt x="51" y="861"/>
                  </a:cubicBezTo>
                  <a:cubicBezTo>
                    <a:pt x="51" y="861"/>
                    <a:pt x="51" y="860"/>
                    <a:pt x="50" y="860"/>
                  </a:cubicBezTo>
                  <a:cubicBezTo>
                    <a:pt x="45" y="863"/>
                    <a:pt x="45" y="863"/>
                    <a:pt x="45" y="863"/>
                  </a:cubicBezTo>
                  <a:cubicBezTo>
                    <a:pt x="50" y="859"/>
                    <a:pt x="50" y="859"/>
                    <a:pt x="50" y="859"/>
                  </a:cubicBezTo>
                  <a:cubicBezTo>
                    <a:pt x="49" y="858"/>
                    <a:pt x="49" y="858"/>
                    <a:pt x="49" y="858"/>
                  </a:cubicBezTo>
                  <a:cubicBezTo>
                    <a:pt x="49" y="857"/>
                    <a:pt x="49" y="857"/>
                    <a:pt x="49" y="857"/>
                  </a:cubicBezTo>
                  <a:cubicBezTo>
                    <a:pt x="49" y="857"/>
                    <a:pt x="49" y="856"/>
                    <a:pt x="49" y="856"/>
                  </a:cubicBezTo>
                  <a:cubicBezTo>
                    <a:pt x="49" y="855"/>
                    <a:pt x="49" y="855"/>
                    <a:pt x="49" y="855"/>
                  </a:cubicBezTo>
                  <a:cubicBezTo>
                    <a:pt x="49" y="855"/>
                    <a:pt x="49" y="854"/>
                    <a:pt x="49" y="854"/>
                  </a:cubicBezTo>
                  <a:cubicBezTo>
                    <a:pt x="49" y="852"/>
                    <a:pt x="49" y="850"/>
                    <a:pt x="49" y="847"/>
                  </a:cubicBezTo>
                  <a:cubicBezTo>
                    <a:pt x="49" y="846"/>
                    <a:pt x="50" y="844"/>
                    <a:pt x="50" y="843"/>
                  </a:cubicBezTo>
                  <a:cubicBezTo>
                    <a:pt x="49" y="842"/>
                    <a:pt x="49" y="842"/>
                    <a:pt x="49" y="842"/>
                  </a:cubicBezTo>
                  <a:cubicBezTo>
                    <a:pt x="48" y="842"/>
                    <a:pt x="48" y="842"/>
                    <a:pt x="48" y="842"/>
                  </a:cubicBezTo>
                  <a:cubicBezTo>
                    <a:pt x="48" y="841"/>
                    <a:pt x="48" y="841"/>
                    <a:pt x="48" y="841"/>
                  </a:cubicBezTo>
                  <a:cubicBezTo>
                    <a:pt x="48" y="840"/>
                    <a:pt x="48" y="839"/>
                    <a:pt x="48" y="839"/>
                  </a:cubicBezTo>
                  <a:cubicBezTo>
                    <a:pt x="49" y="837"/>
                    <a:pt x="49" y="835"/>
                    <a:pt x="50" y="833"/>
                  </a:cubicBezTo>
                  <a:cubicBezTo>
                    <a:pt x="51" y="832"/>
                    <a:pt x="51" y="832"/>
                    <a:pt x="51" y="832"/>
                  </a:cubicBezTo>
                  <a:cubicBezTo>
                    <a:pt x="53" y="830"/>
                    <a:pt x="55" y="830"/>
                    <a:pt x="56" y="829"/>
                  </a:cubicBezTo>
                  <a:cubicBezTo>
                    <a:pt x="57" y="829"/>
                    <a:pt x="58" y="829"/>
                    <a:pt x="59" y="829"/>
                  </a:cubicBezTo>
                  <a:cubicBezTo>
                    <a:pt x="59" y="829"/>
                    <a:pt x="59" y="829"/>
                    <a:pt x="59" y="829"/>
                  </a:cubicBezTo>
                  <a:cubicBezTo>
                    <a:pt x="60" y="828"/>
                    <a:pt x="61" y="827"/>
                    <a:pt x="63" y="825"/>
                  </a:cubicBezTo>
                  <a:cubicBezTo>
                    <a:pt x="63" y="824"/>
                    <a:pt x="63" y="824"/>
                    <a:pt x="63" y="824"/>
                  </a:cubicBezTo>
                  <a:cubicBezTo>
                    <a:pt x="64" y="823"/>
                    <a:pt x="64" y="823"/>
                    <a:pt x="65" y="822"/>
                  </a:cubicBezTo>
                  <a:cubicBezTo>
                    <a:pt x="65" y="821"/>
                    <a:pt x="66" y="821"/>
                    <a:pt x="67" y="820"/>
                  </a:cubicBezTo>
                  <a:cubicBezTo>
                    <a:pt x="68" y="819"/>
                    <a:pt x="68" y="819"/>
                    <a:pt x="68" y="819"/>
                  </a:cubicBezTo>
                  <a:cubicBezTo>
                    <a:pt x="68" y="819"/>
                    <a:pt x="69" y="818"/>
                    <a:pt x="70" y="818"/>
                  </a:cubicBezTo>
                  <a:cubicBezTo>
                    <a:pt x="71" y="817"/>
                    <a:pt x="71" y="817"/>
                    <a:pt x="71" y="816"/>
                  </a:cubicBezTo>
                  <a:cubicBezTo>
                    <a:pt x="71" y="811"/>
                    <a:pt x="71" y="811"/>
                    <a:pt x="71" y="811"/>
                  </a:cubicBezTo>
                  <a:cubicBezTo>
                    <a:pt x="71" y="810"/>
                    <a:pt x="71" y="809"/>
                    <a:pt x="71" y="808"/>
                  </a:cubicBezTo>
                  <a:cubicBezTo>
                    <a:pt x="72" y="807"/>
                    <a:pt x="73" y="806"/>
                    <a:pt x="73" y="805"/>
                  </a:cubicBezTo>
                  <a:cubicBezTo>
                    <a:pt x="74" y="804"/>
                    <a:pt x="75" y="804"/>
                    <a:pt x="76" y="803"/>
                  </a:cubicBezTo>
                  <a:cubicBezTo>
                    <a:pt x="77" y="803"/>
                    <a:pt x="77" y="803"/>
                    <a:pt x="78" y="802"/>
                  </a:cubicBezTo>
                  <a:cubicBezTo>
                    <a:pt x="78" y="802"/>
                    <a:pt x="78" y="802"/>
                    <a:pt x="78" y="802"/>
                  </a:cubicBezTo>
                  <a:cubicBezTo>
                    <a:pt x="78" y="801"/>
                    <a:pt x="78" y="800"/>
                    <a:pt x="77" y="799"/>
                  </a:cubicBezTo>
                  <a:cubicBezTo>
                    <a:pt x="77" y="798"/>
                    <a:pt x="77" y="798"/>
                    <a:pt x="77" y="798"/>
                  </a:cubicBezTo>
                  <a:cubicBezTo>
                    <a:pt x="77" y="798"/>
                    <a:pt x="77" y="798"/>
                    <a:pt x="77" y="798"/>
                  </a:cubicBezTo>
                  <a:cubicBezTo>
                    <a:pt x="76" y="797"/>
                    <a:pt x="76" y="797"/>
                    <a:pt x="76" y="797"/>
                  </a:cubicBezTo>
                  <a:cubicBezTo>
                    <a:pt x="76" y="797"/>
                    <a:pt x="75" y="796"/>
                    <a:pt x="75" y="796"/>
                  </a:cubicBezTo>
                  <a:cubicBezTo>
                    <a:pt x="74" y="795"/>
                    <a:pt x="74" y="795"/>
                    <a:pt x="74" y="795"/>
                  </a:cubicBezTo>
                  <a:cubicBezTo>
                    <a:pt x="72" y="792"/>
                    <a:pt x="72" y="790"/>
                    <a:pt x="74" y="788"/>
                  </a:cubicBezTo>
                  <a:cubicBezTo>
                    <a:pt x="77" y="780"/>
                    <a:pt x="77" y="780"/>
                    <a:pt x="77" y="780"/>
                  </a:cubicBezTo>
                  <a:cubicBezTo>
                    <a:pt x="76" y="779"/>
                    <a:pt x="76" y="779"/>
                    <a:pt x="76" y="779"/>
                  </a:cubicBezTo>
                  <a:cubicBezTo>
                    <a:pt x="77" y="778"/>
                    <a:pt x="77" y="778"/>
                    <a:pt x="77" y="778"/>
                  </a:cubicBezTo>
                  <a:cubicBezTo>
                    <a:pt x="78" y="776"/>
                    <a:pt x="80" y="774"/>
                    <a:pt x="82" y="773"/>
                  </a:cubicBezTo>
                  <a:cubicBezTo>
                    <a:pt x="83" y="773"/>
                    <a:pt x="83" y="773"/>
                    <a:pt x="83" y="773"/>
                  </a:cubicBezTo>
                  <a:cubicBezTo>
                    <a:pt x="83" y="772"/>
                    <a:pt x="84" y="772"/>
                    <a:pt x="85" y="771"/>
                  </a:cubicBezTo>
                  <a:cubicBezTo>
                    <a:pt x="85" y="771"/>
                    <a:pt x="85" y="771"/>
                    <a:pt x="85" y="771"/>
                  </a:cubicBezTo>
                  <a:cubicBezTo>
                    <a:pt x="86" y="771"/>
                    <a:pt x="87" y="770"/>
                    <a:pt x="87" y="770"/>
                  </a:cubicBezTo>
                  <a:cubicBezTo>
                    <a:pt x="87" y="770"/>
                    <a:pt x="87" y="770"/>
                    <a:pt x="87" y="770"/>
                  </a:cubicBezTo>
                  <a:cubicBezTo>
                    <a:pt x="87" y="769"/>
                    <a:pt x="87" y="769"/>
                    <a:pt x="87" y="769"/>
                  </a:cubicBezTo>
                  <a:cubicBezTo>
                    <a:pt x="86" y="764"/>
                    <a:pt x="85" y="762"/>
                    <a:pt x="89" y="757"/>
                  </a:cubicBezTo>
                  <a:cubicBezTo>
                    <a:pt x="89" y="757"/>
                    <a:pt x="89" y="757"/>
                    <a:pt x="89" y="757"/>
                  </a:cubicBezTo>
                  <a:cubicBezTo>
                    <a:pt x="91" y="755"/>
                    <a:pt x="91" y="755"/>
                    <a:pt x="91" y="755"/>
                  </a:cubicBezTo>
                  <a:cubicBezTo>
                    <a:pt x="92" y="754"/>
                    <a:pt x="92" y="754"/>
                    <a:pt x="92" y="754"/>
                  </a:cubicBezTo>
                  <a:cubicBezTo>
                    <a:pt x="92" y="753"/>
                    <a:pt x="91" y="752"/>
                    <a:pt x="91" y="752"/>
                  </a:cubicBezTo>
                  <a:cubicBezTo>
                    <a:pt x="91" y="750"/>
                    <a:pt x="91" y="750"/>
                    <a:pt x="91" y="750"/>
                  </a:cubicBezTo>
                  <a:cubicBezTo>
                    <a:pt x="88" y="742"/>
                    <a:pt x="88" y="742"/>
                    <a:pt x="88" y="742"/>
                  </a:cubicBezTo>
                  <a:cubicBezTo>
                    <a:pt x="88" y="742"/>
                    <a:pt x="88" y="742"/>
                    <a:pt x="88" y="742"/>
                  </a:cubicBezTo>
                  <a:cubicBezTo>
                    <a:pt x="88" y="740"/>
                    <a:pt x="89" y="739"/>
                    <a:pt x="89" y="738"/>
                  </a:cubicBezTo>
                  <a:cubicBezTo>
                    <a:pt x="92" y="735"/>
                    <a:pt x="92" y="735"/>
                    <a:pt x="92" y="735"/>
                  </a:cubicBezTo>
                  <a:cubicBezTo>
                    <a:pt x="92" y="735"/>
                    <a:pt x="92" y="735"/>
                    <a:pt x="92" y="735"/>
                  </a:cubicBezTo>
                  <a:cubicBezTo>
                    <a:pt x="92" y="734"/>
                    <a:pt x="92" y="734"/>
                    <a:pt x="92" y="734"/>
                  </a:cubicBezTo>
                  <a:cubicBezTo>
                    <a:pt x="92" y="734"/>
                    <a:pt x="92" y="734"/>
                    <a:pt x="92" y="734"/>
                  </a:cubicBezTo>
                  <a:cubicBezTo>
                    <a:pt x="92" y="734"/>
                    <a:pt x="92" y="733"/>
                    <a:pt x="91" y="733"/>
                  </a:cubicBezTo>
                  <a:cubicBezTo>
                    <a:pt x="91" y="732"/>
                    <a:pt x="91" y="732"/>
                    <a:pt x="91" y="732"/>
                  </a:cubicBezTo>
                  <a:cubicBezTo>
                    <a:pt x="90" y="730"/>
                    <a:pt x="90" y="729"/>
                    <a:pt x="90" y="728"/>
                  </a:cubicBezTo>
                  <a:cubicBezTo>
                    <a:pt x="89" y="724"/>
                    <a:pt x="91" y="722"/>
                    <a:pt x="94" y="720"/>
                  </a:cubicBezTo>
                  <a:cubicBezTo>
                    <a:pt x="94" y="720"/>
                    <a:pt x="95" y="720"/>
                    <a:pt x="95" y="720"/>
                  </a:cubicBezTo>
                  <a:cubicBezTo>
                    <a:pt x="96" y="721"/>
                    <a:pt x="96" y="721"/>
                    <a:pt x="96" y="721"/>
                  </a:cubicBezTo>
                  <a:cubicBezTo>
                    <a:pt x="96" y="721"/>
                    <a:pt x="96" y="721"/>
                    <a:pt x="96" y="721"/>
                  </a:cubicBezTo>
                  <a:cubicBezTo>
                    <a:pt x="95" y="720"/>
                    <a:pt x="95" y="720"/>
                    <a:pt x="95" y="720"/>
                  </a:cubicBezTo>
                  <a:cubicBezTo>
                    <a:pt x="96" y="720"/>
                    <a:pt x="96" y="719"/>
                    <a:pt x="97" y="719"/>
                  </a:cubicBezTo>
                  <a:cubicBezTo>
                    <a:pt x="97" y="719"/>
                    <a:pt x="98" y="719"/>
                    <a:pt x="98" y="717"/>
                  </a:cubicBezTo>
                  <a:cubicBezTo>
                    <a:pt x="98" y="717"/>
                    <a:pt x="98" y="717"/>
                    <a:pt x="98" y="717"/>
                  </a:cubicBezTo>
                  <a:cubicBezTo>
                    <a:pt x="99" y="716"/>
                    <a:pt x="99" y="716"/>
                    <a:pt x="99" y="716"/>
                  </a:cubicBezTo>
                  <a:cubicBezTo>
                    <a:pt x="99" y="716"/>
                    <a:pt x="100" y="715"/>
                    <a:pt x="100" y="715"/>
                  </a:cubicBezTo>
                  <a:cubicBezTo>
                    <a:pt x="100" y="715"/>
                    <a:pt x="100" y="715"/>
                    <a:pt x="100" y="715"/>
                  </a:cubicBezTo>
                  <a:cubicBezTo>
                    <a:pt x="100" y="715"/>
                    <a:pt x="100" y="714"/>
                    <a:pt x="99" y="714"/>
                  </a:cubicBezTo>
                  <a:cubicBezTo>
                    <a:pt x="99" y="713"/>
                    <a:pt x="99" y="713"/>
                    <a:pt x="99" y="713"/>
                  </a:cubicBezTo>
                  <a:cubicBezTo>
                    <a:pt x="98" y="713"/>
                    <a:pt x="98" y="713"/>
                    <a:pt x="98" y="713"/>
                  </a:cubicBezTo>
                  <a:cubicBezTo>
                    <a:pt x="98" y="712"/>
                    <a:pt x="97" y="711"/>
                    <a:pt x="97" y="710"/>
                  </a:cubicBezTo>
                  <a:cubicBezTo>
                    <a:pt x="97" y="710"/>
                    <a:pt x="96" y="710"/>
                    <a:pt x="96" y="709"/>
                  </a:cubicBezTo>
                  <a:cubicBezTo>
                    <a:pt x="96" y="708"/>
                    <a:pt x="96" y="708"/>
                    <a:pt x="96" y="708"/>
                  </a:cubicBezTo>
                  <a:cubicBezTo>
                    <a:pt x="95" y="708"/>
                    <a:pt x="93" y="708"/>
                    <a:pt x="92" y="708"/>
                  </a:cubicBezTo>
                  <a:cubicBezTo>
                    <a:pt x="92" y="708"/>
                    <a:pt x="92" y="708"/>
                    <a:pt x="92" y="708"/>
                  </a:cubicBezTo>
                  <a:cubicBezTo>
                    <a:pt x="91" y="708"/>
                    <a:pt x="90" y="708"/>
                    <a:pt x="90" y="708"/>
                  </a:cubicBezTo>
                  <a:cubicBezTo>
                    <a:pt x="90" y="708"/>
                    <a:pt x="89" y="708"/>
                    <a:pt x="89" y="708"/>
                  </a:cubicBezTo>
                  <a:cubicBezTo>
                    <a:pt x="88" y="707"/>
                    <a:pt x="86" y="707"/>
                    <a:pt x="85" y="706"/>
                  </a:cubicBezTo>
                  <a:cubicBezTo>
                    <a:pt x="84" y="705"/>
                    <a:pt x="83" y="704"/>
                    <a:pt x="83" y="703"/>
                  </a:cubicBezTo>
                  <a:cubicBezTo>
                    <a:pt x="83" y="703"/>
                    <a:pt x="83" y="703"/>
                    <a:pt x="83" y="703"/>
                  </a:cubicBezTo>
                  <a:cubicBezTo>
                    <a:pt x="83" y="702"/>
                    <a:pt x="83" y="702"/>
                    <a:pt x="83" y="702"/>
                  </a:cubicBezTo>
                  <a:cubicBezTo>
                    <a:pt x="81" y="698"/>
                    <a:pt x="81" y="698"/>
                    <a:pt x="81" y="698"/>
                  </a:cubicBezTo>
                  <a:cubicBezTo>
                    <a:pt x="85" y="698"/>
                    <a:pt x="85" y="698"/>
                    <a:pt x="85" y="698"/>
                  </a:cubicBezTo>
                  <a:cubicBezTo>
                    <a:pt x="86" y="697"/>
                    <a:pt x="88" y="697"/>
                    <a:pt x="89" y="697"/>
                  </a:cubicBezTo>
                  <a:cubicBezTo>
                    <a:pt x="90" y="697"/>
                    <a:pt x="90" y="697"/>
                    <a:pt x="90" y="697"/>
                  </a:cubicBezTo>
                  <a:cubicBezTo>
                    <a:pt x="90" y="697"/>
                    <a:pt x="91" y="697"/>
                    <a:pt x="91" y="697"/>
                  </a:cubicBezTo>
                  <a:cubicBezTo>
                    <a:pt x="93" y="697"/>
                    <a:pt x="95" y="697"/>
                    <a:pt x="97" y="697"/>
                  </a:cubicBezTo>
                  <a:cubicBezTo>
                    <a:pt x="100" y="698"/>
                    <a:pt x="100" y="698"/>
                    <a:pt x="100" y="698"/>
                  </a:cubicBezTo>
                  <a:cubicBezTo>
                    <a:pt x="101" y="698"/>
                    <a:pt x="102" y="698"/>
                    <a:pt x="102" y="698"/>
                  </a:cubicBezTo>
                  <a:cubicBezTo>
                    <a:pt x="102" y="697"/>
                    <a:pt x="102" y="697"/>
                    <a:pt x="102" y="697"/>
                  </a:cubicBezTo>
                  <a:cubicBezTo>
                    <a:pt x="103" y="696"/>
                    <a:pt x="103" y="694"/>
                    <a:pt x="105" y="693"/>
                  </a:cubicBezTo>
                  <a:cubicBezTo>
                    <a:pt x="105" y="693"/>
                    <a:pt x="105" y="693"/>
                    <a:pt x="105" y="693"/>
                  </a:cubicBezTo>
                  <a:cubicBezTo>
                    <a:pt x="104" y="692"/>
                    <a:pt x="100" y="692"/>
                    <a:pt x="98" y="692"/>
                  </a:cubicBezTo>
                  <a:cubicBezTo>
                    <a:pt x="96" y="692"/>
                    <a:pt x="95" y="692"/>
                    <a:pt x="94" y="692"/>
                  </a:cubicBezTo>
                  <a:cubicBezTo>
                    <a:pt x="93" y="692"/>
                    <a:pt x="93" y="692"/>
                    <a:pt x="93" y="692"/>
                  </a:cubicBezTo>
                  <a:cubicBezTo>
                    <a:pt x="92" y="693"/>
                    <a:pt x="92" y="693"/>
                    <a:pt x="92" y="693"/>
                  </a:cubicBezTo>
                  <a:cubicBezTo>
                    <a:pt x="91" y="692"/>
                    <a:pt x="91" y="692"/>
                    <a:pt x="91" y="692"/>
                  </a:cubicBezTo>
                  <a:cubicBezTo>
                    <a:pt x="88" y="690"/>
                    <a:pt x="89" y="688"/>
                    <a:pt x="89" y="686"/>
                  </a:cubicBezTo>
                  <a:cubicBezTo>
                    <a:pt x="90" y="681"/>
                    <a:pt x="90" y="681"/>
                    <a:pt x="90" y="681"/>
                  </a:cubicBezTo>
                  <a:cubicBezTo>
                    <a:pt x="90" y="680"/>
                    <a:pt x="91" y="679"/>
                    <a:pt x="92" y="678"/>
                  </a:cubicBezTo>
                  <a:cubicBezTo>
                    <a:pt x="92" y="676"/>
                    <a:pt x="92" y="676"/>
                    <a:pt x="92" y="676"/>
                  </a:cubicBezTo>
                  <a:cubicBezTo>
                    <a:pt x="93" y="676"/>
                    <a:pt x="93" y="676"/>
                    <a:pt x="93" y="676"/>
                  </a:cubicBezTo>
                  <a:cubicBezTo>
                    <a:pt x="93" y="675"/>
                    <a:pt x="92" y="673"/>
                    <a:pt x="91" y="671"/>
                  </a:cubicBezTo>
                  <a:cubicBezTo>
                    <a:pt x="91" y="669"/>
                    <a:pt x="91" y="669"/>
                    <a:pt x="91" y="668"/>
                  </a:cubicBezTo>
                  <a:cubicBezTo>
                    <a:pt x="90" y="667"/>
                    <a:pt x="90" y="667"/>
                    <a:pt x="90" y="667"/>
                  </a:cubicBezTo>
                  <a:cubicBezTo>
                    <a:pt x="90" y="667"/>
                    <a:pt x="90" y="667"/>
                    <a:pt x="90" y="667"/>
                  </a:cubicBezTo>
                  <a:cubicBezTo>
                    <a:pt x="90" y="667"/>
                    <a:pt x="90" y="667"/>
                    <a:pt x="90" y="667"/>
                  </a:cubicBezTo>
                  <a:cubicBezTo>
                    <a:pt x="88" y="665"/>
                    <a:pt x="87" y="664"/>
                    <a:pt x="86" y="662"/>
                  </a:cubicBezTo>
                  <a:cubicBezTo>
                    <a:pt x="86" y="660"/>
                    <a:pt x="87" y="659"/>
                    <a:pt x="89" y="657"/>
                  </a:cubicBezTo>
                  <a:cubicBezTo>
                    <a:pt x="89" y="657"/>
                    <a:pt x="89" y="657"/>
                    <a:pt x="89" y="657"/>
                  </a:cubicBezTo>
                  <a:cubicBezTo>
                    <a:pt x="89" y="657"/>
                    <a:pt x="89" y="657"/>
                    <a:pt x="89" y="657"/>
                  </a:cubicBezTo>
                  <a:cubicBezTo>
                    <a:pt x="90" y="657"/>
                    <a:pt x="90" y="657"/>
                    <a:pt x="90" y="657"/>
                  </a:cubicBezTo>
                  <a:cubicBezTo>
                    <a:pt x="90" y="656"/>
                    <a:pt x="89" y="656"/>
                    <a:pt x="89" y="656"/>
                  </a:cubicBezTo>
                  <a:cubicBezTo>
                    <a:pt x="87" y="656"/>
                    <a:pt x="84" y="655"/>
                    <a:pt x="82" y="653"/>
                  </a:cubicBezTo>
                  <a:cubicBezTo>
                    <a:pt x="81" y="651"/>
                    <a:pt x="81" y="649"/>
                    <a:pt x="82" y="647"/>
                  </a:cubicBezTo>
                  <a:cubicBezTo>
                    <a:pt x="82" y="647"/>
                    <a:pt x="82" y="647"/>
                    <a:pt x="82" y="646"/>
                  </a:cubicBezTo>
                  <a:cubicBezTo>
                    <a:pt x="82" y="644"/>
                    <a:pt x="82" y="644"/>
                    <a:pt x="82" y="644"/>
                  </a:cubicBezTo>
                  <a:cubicBezTo>
                    <a:pt x="82" y="643"/>
                    <a:pt x="82" y="641"/>
                    <a:pt x="82" y="639"/>
                  </a:cubicBezTo>
                  <a:cubicBezTo>
                    <a:pt x="82" y="638"/>
                    <a:pt x="82" y="638"/>
                    <a:pt x="82" y="638"/>
                  </a:cubicBezTo>
                  <a:cubicBezTo>
                    <a:pt x="82" y="637"/>
                    <a:pt x="82" y="635"/>
                    <a:pt x="83" y="634"/>
                  </a:cubicBezTo>
                  <a:cubicBezTo>
                    <a:pt x="83" y="634"/>
                    <a:pt x="83" y="633"/>
                    <a:pt x="83" y="632"/>
                  </a:cubicBezTo>
                  <a:cubicBezTo>
                    <a:pt x="83" y="628"/>
                    <a:pt x="83" y="626"/>
                    <a:pt x="89" y="624"/>
                  </a:cubicBezTo>
                  <a:cubicBezTo>
                    <a:pt x="90" y="623"/>
                    <a:pt x="90" y="623"/>
                    <a:pt x="90" y="623"/>
                  </a:cubicBezTo>
                  <a:cubicBezTo>
                    <a:pt x="90" y="623"/>
                    <a:pt x="90" y="622"/>
                    <a:pt x="90" y="622"/>
                  </a:cubicBezTo>
                  <a:cubicBezTo>
                    <a:pt x="89" y="620"/>
                    <a:pt x="89" y="620"/>
                    <a:pt x="89" y="620"/>
                  </a:cubicBezTo>
                  <a:cubicBezTo>
                    <a:pt x="88" y="615"/>
                    <a:pt x="86" y="612"/>
                    <a:pt x="87" y="606"/>
                  </a:cubicBezTo>
                  <a:cubicBezTo>
                    <a:pt x="87" y="605"/>
                    <a:pt x="87" y="604"/>
                    <a:pt x="87" y="603"/>
                  </a:cubicBezTo>
                  <a:cubicBezTo>
                    <a:pt x="87" y="602"/>
                    <a:pt x="87" y="602"/>
                    <a:pt x="87" y="602"/>
                  </a:cubicBezTo>
                  <a:cubicBezTo>
                    <a:pt x="88" y="599"/>
                    <a:pt x="88" y="597"/>
                    <a:pt x="88" y="594"/>
                  </a:cubicBezTo>
                  <a:cubicBezTo>
                    <a:pt x="88" y="594"/>
                    <a:pt x="88" y="594"/>
                    <a:pt x="88" y="594"/>
                  </a:cubicBezTo>
                  <a:cubicBezTo>
                    <a:pt x="88" y="593"/>
                    <a:pt x="88" y="592"/>
                    <a:pt x="87" y="592"/>
                  </a:cubicBezTo>
                  <a:cubicBezTo>
                    <a:pt x="87" y="591"/>
                    <a:pt x="87" y="591"/>
                    <a:pt x="87" y="591"/>
                  </a:cubicBezTo>
                  <a:cubicBezTo>
                    <a:pt x="87" y="589"/>
                    <a:pt x="87" y="586"/>
                    <a:pt x="87" y="584"/>
                  </a:cubicBezTo>
                  <a:cubicBezTo>
                    <a:pt x="87" y="583"/>
                    <a:pt x="87" y="583"/>
                    <a:pt x="87" y="583"/>
                  </a:cubicBezTo>
                  <a:cubicBezTo>
                    <a:pt x="88" y="581"/>
                    <a:pt x="90" y="578"/>
                    <a:pt x="91" y="576"/>
                  </a:cubicBezTo>
                  <a:cubicBezTo>
                    <a:pt x="91" y="576"/>
                    <a:pt x="91" y="576"/>
                    <a:pt x="91" y="576"/>
                  </a:cubicBezTo>
                  <a:cubicBezTo>
                    <a:pt x="91" y="576"/>
                    <a:pt x="91" y="576"/>
                    <a:pt x="91" y="576"/>
                  </a:cubicBezTo>
                  <a:cubicBezTo>
                    <a:pt x="90" y="575"/>
                    <a:pt x="89" y="573"/>
                    <a:pt x="89" y="571"/>
                  </a:cubicBezTo>
                  <a:cubicBezTo>
                    <a:pt x="89" y="570"/>
                    <a:pt x="89" y="568"/>
                    <a:pt x="91" y="567"/>
                  </a:cubicBezTo>
                  <a:cubicBezTo>
                    <a:pt x="91" y="566"/>
                    <a:pt x="92" y="566"/>
                    <a:pt x="93" y="566"/>
                  </a:cubicBezTo>
                  <a:cubicBezTo>
                    <a:pt x="93" y="566"/>
                    <a:pt x="93" y="566"/>
                    <a:pt x="93" y="566"/>
                  </a:cubicBezTo>
                  <a:cubicBezTo>
                    <a:pt x="93" y="565"/>
                    <a:pt x="93" y="563"/>
                    <a:pt x="93" y="559"/>
                  </a:cubicBezTo>
                  <a:cubicBezTo>
                    <a:pt x="93" y="558"/>
                    <a:pt x="93" y="558"/>
                    <a:pt x="93" y="558"/>
                  </a:cubicBezTo>
                  <a:cubicBezTo>
                    <a:pt x="93" y="557"/>
                    <a:pt x="93" y="556"/>
                    <a:pt x="93" y="555"/>
                  </a:cubicBezTo>
                  <a:cubicBezTo>
                    <a:pt x="93" y="552"/>
                    <a:pt x="93" y="552"/>
                    <a:pt x="93" y="552"/>
                  </a:cubicBezTo>
                  <a:cubicBezTo>
                    <a:pt x="96" y="553"/>
                    <a:pt x="96" y="553"/>
                    <a:pt x="96" y="553"/>
                  </a:cubicBezTo>
                  <a:cubicBezTo>
                    <a:pt x="97" y="553"/>
                    <a:pt x="97" y="553"/>
                    <a:pt x="97" y="553"/>
                  </a:cubicBezTo>
                  <a:cubicBezTo>
                    <a:pt x="97" y="552"/>
                    <a:pt x="97" y="552"/>
                    <a:pt x="97" y="551"/>
                  </a:cubicBezTo>
                  <a:cubicBezTo>
                    <a:pt x="97" y="551"/>
                    <a:pt x="97" y="551"/>
                    <a:pt x="97" y="551"/>
                  </a:cubicBezTo>
                  <a:cubicBezTo>
                    <a:pt x="99" y="538"/>
                    <a:pt x="99" y="538"/>
                    <a:pt x="99" y="538"/>
                  </a:cubicBezTo>
                  <a:cubicBezTo>
                    <a:pt x="99" y="537"/>
                    <a:pt x="99" y="536"/>
                    <a:pt x="99" y="536"/>
                  </a:cubicBezTo>
                  <a:cubicBezTo>
                    <a:pt x="100" y="535"/>
                    <a:pt x="100" y="535"/>
                    <a:pt x="101" y="534"/>
                  </a:cubicBezTo>
                  <a:cubicBezTo>
                    <a:pt x="101" y="534"/>
                    <a:pt x="102" y="533"/>
                    <a:pt x="103" y="533"/>
                  </a:cubicBezTo>
                  <a:cubicBezTo>
                    <a:pt x="104" y="532"/>
                    <a:pt x="104" y="532"/>
                    <a:pt x="104" y="532"/>
                  </a:cubicBezTo>
                  <a:cubicBezTo>
                    <a:pt x="105" y="532"/>
                    <a:pt x="106" y="532"/>
                    <a:pt x="107" y="531"/>
                  </a:cubicBezTo>
                  <a:cubicBezTo>
                    <a:pt x="109" y="530"/>
                    <a:pt x="111" y="530"/>
                    <a:pt x="111" y="530"/>
                  </a:cubicBezTo>
                  <a:cubicBezTo>
                    <a:pt x="111" y="529"/>
                    <a:pt x="110" y="527"/>
                    <a:pt x="110" y="525"/>
                  </a:cubicBezTo>
                  <a:cubicBezTo>
                    <a:pt x="109" y="524"/>
                    <a:pt x="109" y="523"/>
                    <a:pt x="109" y="523"/>
                  </a:cubicBezTo>
                  <a:cubicBezTo>
                    <a:pt x="109" y="522"/>
                    <a:pt x="108" y="520"/>
                    <a:pt x="108" y="518"/>
                  </a:cubicBezTo>
                  <a:cubicBezTo>
                    <a:pt x="107" y="515"/>
                    <a:pt x="106" y="512"/>
                    <a:pt x="106" y="509"/>
                  </a:cubicBezTo>
                  <a:cubicBezTo>
                    <a:pt x="106" y="508"/>
                    <a:pt x="106" y="508"/>
                    <a:pt x="106" y="508"/>
                  </a:cubicBezTo>
                  <a:cubicBezTo>
                    <a:pt x="106" y="507"/>
                    <a:pt x="105" y="506"/>
                    <a:pt x="105" y="504"/>
                  </a:cubicBezTo>
                  <a:cubicBezTo>
                    <a:pt x="105" y="504"/>
                    <a:pt x="105" y="504"/>
                    <a:pt x="105" y="504"/>
                  </a:cubicBezTo>
                  <a:cubicBezTo>
                    <a:pt x="105" y="500"/>
                    <a:pt x="104" y="497"/>
                    <a:pt x="104" y="493"/>
                  </a:cubicBezTo>
                  <a:cubicBezTo>
                    <a:pt x="104" y="492"/>
                    <a:pt x="104" y="492"/>
                    <a:pt x="104" y="492"/>
                  </a:cubicBezTo>
                  <a:cubicBezTo>
                    <a:pt x="104" y="492"/>
                    <a:pt x="104" y="491"/>
                    <a:pt x="104" y="491"/>
                  </a:cubicBezTo>
                  <a:cubicBezTo>
                    <a:pt x="105" y="487"/>
                    <a:pt x="105" y="483"/>
                    <a:pt x="106" y="478"/>
                  </a:cubicBezTo>
                  <a:cubicBezTo>
                    <a:pt x="107" y="474"/>
                    <a:pt x="107" y="474"/>
                    <a:pt x="107" y="474"/>
                  </a:cubicBezTo>
                  <a:cubicBezTo>
                    <a:pt x="107" y="469"/>
                    <a:pt x="111" y="468"/>
                    <a:pt x="113" y="468"/>
                  </a:cubicBezTo>
                  <a:cubicBezTo>
                    <a:pt x="114" y="468"/>
                    <a:pt x="115" y="468"/>
                    <a:pt x="116" y="467"/>
                  </a:cubicBezTo>
                  <a:cubicBezTo>
                    <a:pt x="116" y="467"/>
                    <a:pt x="116" y="466"/>
                    <a:pt x="117" y="465"/>
                  </a:cubicBezTo>
                  <a:cubicBezTo>
                    <a:pt x="117" y="464"/>
                    <a:pt x="117" y="463"/>
                    <a:pt x="118" y="462"/>
                  </a:cubicBezTo>
                  <a:cubicBezTo>
                    <a:pt x="118" y="462"/>
                    <a:pt x="118" y="462"/>
                    <a:pt x="118" y="462"/>
                  </a:cubicBezTo>
                  <a:cubicBezTo>
                    <a:pt x="115" y="462"/>
                    <a:pt x="115" y="462"/>
                    <a:pt x="115" y="462"/>
                  </a:cubicBezTo>
                  <a:cubicBezTo>
                    <a:pt x="121" y="460"/>
                    <a:pt x="121" y="460"/>
                    <a:pt x="121" y="460"/>
                  </a:cubicBezTo>
                  <a:cubicBezTo>
                    <a:pt x="121" y="460"/>
                    <a:pt x="121" y="460"/>
                    <a:pt x="121" y="460"/>
                  </a:cubicBezTo>
                  <a:cubicBezTo>
                    <a:pt x="121" y="460"/>
                    <a:pt x="121" y="459"/>
                    <a:pt x="121" y="458"/>
                  </a:cubicBezTo>
                  <a:cubicBezTo>
                    <a:pt x="122" y="454"/>
                    <a:pt x="122" y="449"/>
                    <a:pt x="120" y="445"/>
                  </a:cubicBezTo>
                  <a:cubicBezTo>
                    <a:pt x="120" y="445"/>
                    <a:pt x="120" y="445"/>
                    <a:pt x="120" y="445"/>
                  </a:cubicBezTo>
                  <a:cubicBezTo>
                    <a:pt x="120" y="444"/>
                    <a:pt x="120" y="444"/>
                    <a:pt x="120" y="444"/>
                  </a:cubicBezTo>
                  <a:cubicBezTo>
                    <a:pt x="119" y="442"/>
                    <a:pt x="117" y="440"/>
                    <a:pt x="118" y="438"/>
                  </a:cubicBezTo>
                  <a:cubicBezTo>
                    <a:pt x="119" y="437"/>
                    <a:pt x="119" y="436"/>
                    <a:pt x="120" y="436"/>
                  </a:cubicBezTo>
                  <a:cubicBezTo>
                    <a:pt x="116" y="433"/>
                    <a:pt x="116" y="433"/>
                    <a:pt x="116" y="433"/>
                  </a:cubicBezTo>
                  <a:cubicBezTo>
                    <a:pt x="121" y="435"/>
                    <a:pt x="121" y="435"/>
                    <a:pt x="121" y="435"/>
                  </a:cubicBezTo>
                  <a:cubicBezTo>
                    <a:pt x="121" y="435"/>
                    <a:pt x="121" y="435"/>
                    <a:pt x="121" y="435"/>
                  </a:cubicBezTo>
                  <a:cubicBezTo>
                    <a:pt x="122" y="434"/>
                    <a:pt x="122" y="433"/>
                    <a:pt x="123" y="432"/>
                  </a:cubicBezTo>
                  <a:cubicBezTo>
                    <a:pt x="123" y="432"/>
                    <a:pt x="123" y="432"/>
                    <a:pt x="123" y="432"/>
                  </a:cubicBezTo>
                  <a:cubicBezTo>
                    <a:pt x="123" y="431"/>
                    <a:pt x="124" y="430"/>
                    <a:pt x="124" y="429"/>
                  </a:cubicBezTo>
                  <a:cubicBezTo>
                    <a:pt x="125" y="426"/>
                    <a:pt x="125" y="426"/>
                    <a:pt x="125" y="426"/>
                  </a:cubicBezTo>
                  <a:cubicBezTo>
                    <a:pt x="125" y="425"/>
                    <a:pt x="125" y="425"/>
                    <a:pt x="125" y="424"/>
                  </a:cubicBezTo>
                  <a:cubicBezTo>
                    <a:pt x="130" y="414"/>
                    <a:pt x="130" y="414"/>
                    <a:pt x="130" y="414"/>
                  </a:cubicBezTo>
                  <a:cubicBezTo>
                    <a:pt x="131" y="412"/>
                    <a:pt x="133" y="411"/>
                    <a:pt x="134" y="410"/>
                  </a:cubicBezTo>
                  <a:cubicBezTo>
                    <a:pt x="134" y="409"/>
                    <a:pt x="134" y="407"/>
                    <a:pt x="134" y="407"/>
                  </a:cubicBezTo>
                  <a:cubicBezTo>
                    <a:pt x="134" y="405"/>
                    <a:pt x="134" y="404"/>
                    <a:pt x="134" y="403"/>
                  </a:cubicBezTo>
                  <a:cubicBezTo>
                    <a:pt x="136" y="392"/>
                    <a:pt x="136" y="392"/>
                    <a:pt x="136" y="392"/>
                  </a:cubicBezTo>
                  <a:cubicBezTo>
                    <a:pt x="135" y="392"/>
                    <a:pt x="135" y="392"/>
                    <a:pt x="135" y="392"/>
                  </a:cubicBezTo>
                  <a:cubicBezTo>
                    <a:pt x="134" y="391"/>
                    <a:pt x="134" y="391"/>
                    <a:pt x="133" y="391"/>
                  </a:cubicBezTo>
                  <a:cubicBezTo>
                    <a:pt x="131" y="389"/>
                    <a:pt x="130" y="387"/>
                    <a:pt x="129" y="385"/>
                  </a:cubicBezTo>
                  <a:cubicBezTo>
                    <a:pt x="129" y="384"/>
                    <a:pt x="129" y="384"/>
                    <a:pt x="129" y="384"/>
                  </a:cubicBezTo>
                  <a:cubicBezTo>
                    <a:pt x="128" y="382"/>
                    <a:pt x="129" y="380"/>
                    <a:pt x="129" y="378"/>
                  </a:cubicBezTo>
                  <a:cubicBezTo>
                    <a:pt x="129" y="377"/>
                    <a:pt x="129" y="376"/>
                    <a:pt x="129" y="375"/>
                  </a:cubicBezTo>
                  <a:cubicBezTo>
                    <a:pt x="129" y="373"/>
                    <a:pt x="129" y="373"/>
                    <a:pt x="129" y="373"/>
                  </a:cubicBezTo>
                  <a:cubicBezTo>
                    <a:pt x="128" y="371"/>
                    <a:pt x="128" y="369"/>
                    <a:pt x="127" y="366"/>
                  </a:cubicBezTo>
                  <a:cubicBezTo>
                    <a:pt x="123" y="368"/>
                    <a:pt x="123" y="368"/>
                    <a:pt x="123" y="368"/>
                  </a:cubicBezTo>
                  <a:cubicBezTo>
                    <a:pt x="126" y="365"/>
                    <a:pt x="126" y="365"/>
                    <a:pt x="126" y="365"/>
                  </a:cubicBezTo>
                  <a:cubicBezTo>
                    <a:pt x="126" y="364"/>
                    <a:pt x="126" y="364"/>
                    <a:pt x="126" y="364"/>
                  </a:cubicBezTo>
                  <a:cubicBezTo>
                    <a:pt x="126" y="364"/>
                    <a:pt x="126" y="364"/>
                    <a:pt x="125" y="364"/>
                  </a:cubicBezTo>
                  <a:cubicBezTo>
                    <a:pt x="125" y="363"/>
                    <a:pt x="125" y="363"/>
                    <a:pt x="125" y="363"/>
                  </a:cubicBezTo>
                  <a:cubicBezTo>
                    <a:pt x="124" y="361"/>
                    <a:pt x="123" y="360"/>
                    <a:pt x="123" y="358"/>
                  </a:cubicBezTo>
                  <a:cubicBezTo>
                    <a:pt x="122" y="356"/>
                    <a:pt x="123" y="356"/>
                    <a:pt x="123" y="355"/>
                  </a:cubicBezTo>
                  <a:cubicBezTo>
                    <a:pt x="123" y="354"/>
                    <a:pt x="124" y="353"/>
                    <a:pt x="125" y="353"/>
                  </a:cubicBezTo>
                  <a:cubicBezTo>
                    <a:pt x="124" y="352"/>
                    <a:pt x="124" y="352"/>
                    <a:pt x="124" y="352"/>
                  </a:cubicBezTo>
                  <a:cubicBezTo>
                    <a:pt x="124" y="352"/>
                    <a:pt x="124" y="352"/>
                    <a:pt x="124" y="352"/>
                  </a:cubicBezTo>
                  <a:cubicBezTo>
                    <a:pt x="123" y="349"/>
                    <a:pt x="122" y="347"/>
                    <a:pt x="121" y="345"/>
                  </a:cubicBezTo>
                  <a:cubicBezTo>
                    <a:pt x="120" y="343"/>
                    <a:pt x="120" y="343"/>
                    <a:pt x="120" y="343"/>
                  </a:cubicBezTo>
                  <a:cubicBezTo>
                    <a:pt x="118" y="339"/>
                    <a:pt x="118" y="335"/>
                    <a:pt x="120" y="331"/>
                  </a:cubicBezTo>
                  <a:cubicBezTo>
                    <a:pt x="121" y="330"/>
                    <a:pt x="121" y="330"/>
                    <a:pt x="122" y="329"/>
                  </a:cubicBezTo>
                  <a:cubicBezTo>
                    <a:pt x="123" y="329"/>
                    <a:pt x="123" y="328"/>
                    <a:pt x="124" y="328"/>
                  </a:cubicBezTo>
                  <a:cubicBezTo>
                    <a:pt x="125" y="328"/>
                    <a:pt x="125" y="328"/>
                    <a:pt x="125" y="328"/>
                  </a:cubicBezTo>
                  <a:cubicBezTo>
                    <a:pt x="125" y="328"/>
                    <a:pt x="125" y="328"/>
                    <a:pt x="125" y="328"/>
                  </a:cubicBezTo>
                  <a:cubicBezTo>
                    <a:pt x="125" y="327"/>
                    <a:pt x="125" y="327"/>
                    <a:pt x="125" y="327"/>
                  </a:cubicBezTo>
                  <a:cubicBezTo>
                    <a:pt x="125" y="323"/>
                    <a:pt x="125" y="320"/>
                    <a:pt x="126" y="317"/>
                  </a:cubicBezTo>
                  <a:cubicBezTo>
                    <a:pt x="126" y="316"/>
                    <a:pt x="126" y="316"/>
                    <a:pt x="126" y="316"/>
                  </a:cubicBezTo>
                  <a:cubicBezTo>
                    <a:pt x="127" y="315"/>
                    <a:pt x="127" y="315"/>
                    <a:pt x="127" y="315"/>
                  </a:cubicBezTo>
                  <a:cubicBezTo>
                    <a:pt x="128" y="312"/>
                    <a:pt x="130" y="310"/>
                    <a:pt x="133" y="308"/>
                  </a:cubicBezTo>
                  <a:cubicBezTo>
                    <a:pt x="133" y="308"/>
                    <a:pt x="133" y="308"/>
                    <a:pt x="133" y="308"/>
                  </a:cubicBezTo>
                  <a:cubicBezTo>
                    <a:pt x="133" y="306"/>
                    <a:pt x="133" y="306"/>
                    <a:pt x="133" y="306"/>
                  </a:cubicBezTo>
                  <a:cubicBezTo>
                    <a:pt x="132" y="305"/>
                    <a:pt x="132" y="304"/>
                    <a:pt x="132" y="303"/>
                  </a:cubicBezTo>
                  <a:cubicBezTo>
                    <a:pt x="132" y="303"/>
                    <a:pt x="132" y="302"/>
                    <a:pt x="133" y="301"/>
                  </a:cubicBezTo>
                  <a:cubicBezTo>
                    <a:pt x="133" y="299"/>
                    <a:pt x="133" y="299"/>
                    <a:pt x="133" y="299"/>
                  </a:cubicBezTo>
                  <a:cubicBezTo>
                    <a:pt x="133" y="299"/>
                    <a:pt x="133" y="299"/>
                    <a:pt x="133" y="298"/>
                  </a:cubicBezTo>
                  <a:cubicBezTo>
                    <a:pt x="127" y="298"/>
                    <a:pt x="127" y="298"/>
                    <a:pt x="127" y="298"/>
                  </a:cubicBezTo>
                  <a:cubicBezTo>
                    <a:pt x="133" y="297"/>
                    <a:pt x="133" y="297"/>
                    <a:pt x="133" y="297"/>
                  </a:cubicBezTo>
                  <a:cubicBezTo>
                    <a:pt x="133" y="296"/>
                    <a:pt x="133" y="296"/>
                    <a:pt x="133" y="296"/>
                  </a:cubicBezTo>
                  <a:cubicBezTo>
                    <a:pt x="133" y="295"/>
                    <a:pt x="132" y="294"/>
                    <a:pt x="132" y="293"/>
                  </a:cubicBezTo>
                  <a:cubicBezTo>
                    <a:pt x="131" y="291"/>
                    <a:pt x="131" y="289"/>
                    <a:pt x="131" y="287"/>
                  </a:cubicBezTo>
                  <a:cubicBezTo>
                    <a:pt x="131" y="285"/>
                    <a:pt x="131" y="284"/>
                    <a:pt x="132" y="283"/>
                  </a:cubicBezTo>
                  <a:cubicBezTo>
                    <a:pt x="132" y="282"/>
                    <a:pt x="132" y="282"/>
                    <a:pt x="133" y="281"/>
                  </a:cubicBezTo>
                  <a:cubicBezTo>
                    <a:pt x="135" y="278"/>
                    <a:pt x="136" y="273"/>
                    <a:pt x="138" y="268"/>
                  </a:cubicBezTo>
                  <a:cubicBezTo>
                    <a:pt x="138" y="267"/>
                    <a:pt x="138" y="265"/>
                    <a:pt x="139" y="264"/>
                  </a:cubicBezTo>
                  <a:cubicBezTo>
                    <a:pt x="139" y="264"/>
                    <a:pt x="139" y="263"/>
                    <a:pt x="139" y="262"/>
                  </a:cubicBezTo>
                  <a:cubicBezTo>
                    <a:pt x="141" y="258"/>
                    <a:pt x="144" y="255"/>
                    <a:pt x="146" y="253"/>
                  </a:cubicBezTo>
                  <a:cubicBezTo>
                    <a:pt x="148" y="251"/>
                    <a:pt x="149" y="249"/>
                    <a:pt x="150" y="248"/>
                  </a:cubicBezTo>
                  <a:cubicBezTo>
                    <a:pt x="151" y="247"/>
                    <a:pt x="151" y="247"/>
                    <a:pt x="151" y="247"/>
                  </a:cubicBezTo>
                  <a:cubicBezTo>
                    <a:pt x="153" y="244"/>
                    <a:pt x="155" y="240"/>
                    <a:pt x="156" y="236"/>
                  </a:cubicBezTo>
                  <a:cubicBezTo>
                    <a:pt x="157" y="234"/>
                    <a:pt x="158" y="232"/>
                    <a:pt x="159" y="231"/>
                  </a:cubicBezTo>
                  <a:cubicBezTo>
                    <a:pt x="160" y="228"/>
                    <a:pt x="161" y="228"/>
                    <a:pt x="163" y="228"/>
                  </a:cubicBezTo>
                  <a:cubicBezTo>
                    <a:pt x="163" y="228"/>
                    <a:pt x="164" y="228"/>
                    <a:pt x="164" y="228"/>
                  </a:cubicBezTo>
                  <a:cubicBezTo>
                    <a:pt x="165" y="228"/>
                    <a:pt x="165" y="228"/>
                    <a:pt x="165" y="228"/>
                  </a:cubicBezTo>
                  <a:cubicBezTo>
                    <a:pt x="166" y="228"/>
                    <a:pt x="166" y="228"/>
                    <a:pt x="166" y="228"/>
                  </a:cubicBezTo>
                  <a:cubicBezTo>
                    <a:pt x="166" y="228"/>
                    <a:pt x="166" y="228"/>
                    <a:pt x="166" y="228"/>
                  </a:cubicBezTo>
                  <a:cubicBezTo>
                    <a:pt x="167" y="227"/>
                    <a:pt x="168" y="227"/>
                    <a:pt x="168" y="227"/>
                  </a:cubicBezTo>
                  <a:cubicBezTo>
                    <a:pt x="169" y="227"/>
                    <a:pt x="169" y="227"/>
                    <a:pt x="169" y="227"/>
                  </a:cubicBezTo>
                  <a:cubicBezTo>
                    <a:pt x="170" y="227"/>
                    <a:pt x="170" y="227"/>
                    <a:pt x="170" y="227"/>
                  </a:cubicBezTo>
                  <a:cubicBezTo>
                    <a:pt x="170" y="226"/>
                    <a:pt x="170" y="226"/>
                    <a:pt x="170" y="226"/>
                  </a:cubicBezTo>
                  <a:cubicBezTo>
                    <a:pt x="170" y="226"/>
                    <a:pt x="170" y="226"/>
                    <a:pt x="170" y="226"/>
                  </a:cubicBezTo>
                  <a:cubicBezTo>
                    <a:pt x="170" y="225"/>
                    <a:pt x="170" y="225"/>
                    <a:pt x="170" y="225"/>
                  </a:cubicBezTo>
                  <a:cubicBezTo>
                    <a:pt x="169" y="224"/>
                    <a:pt x="168" y="223"/>
                    <a:pt x="168" y="222"/>
                  </a:cubicBezTo>
                  <a:cubicBezTo>
                    <a:pt x="166" y="220"/>
                    <a:pt x="164" y="218"/>
                    <a:pt x="164" y="216"/>
                  </a:cubicBezTo>
                  <a:cubicBezTo>
                    <a:pt x="164" y="215"/>
                    <a:pt x="164" y="213"/>
                    <a:pt x="164" y="212"/>
                  </a:cubicBezTo>
                  <a:cubicBezTo>
                    <a:pt x="164" y="211"/>
                    <a:pt x="164" y="211"/>
                    <a:pt x="164" y="211"/>
                  </a:cubicBezTo>
                  <a:cubicBezTo>
                    <a:pt x="164" y="207"/>
                    <a:pt x="165" y="203"/>
                    <a:pt x="165" y="198"/>
                  </a:cubicBezTo>
                  <a:cubicBezTo>
                    <a:pt x="165" y="186"/>
                    <a:pt x="165" y="186"/>
                    <a:pt x="165" y="186"/>
                  </a:cubicBezTo>
                  <a:cubicBezTo>
                    <a:pt x="165" y="183"/>
                    <a:pt x="166" y="181"/>
                    <a:pt x="168" y="180"/>
                  </a:cubicBezTo>
                  <a:cubicBezTo>
                    <a:pt x="166" y="178"/>
                    <a:pt x="164" y="175"/>
                    <a:pt x="165" y="172"/>
                  </a:cubicBezTo>
                  <a:cubicBezTo>
                    <a:pt x="165" y="172"/>
                    <a:pt x="165" y="167"/>
                    <a:pt x="168" y="166"/>
                  </a:cubicBezTo>
                  <a:cubicBezTo>
                    <a:pt x="168" y="166"/>
                    <a:pt x="169" y="165"/>
                    <a:pt x="169" y="164"/>
                  </a:cubicBezTo>
                  <a:cubicBezTo>
                    <a:pt x="172" y="162"/>
                    <a:pt x="174" y="160"/>
                    <a:pt x="178" y="159"/>
                  </a:cubicBezTo>
                  <a:cubicBezTo>
                    <a:pt x="189" y="154"/>
                    <a:pt x="189" y="154"/>
                    <a:pt x="189" y="154"/>
                  </a:cubicBezTo>
                  <a:cubicBezTo>
                    <a:pt x="190" y="154"/>
                    <a:pt x="191" y="153"/>
                    <a:pt x="192" y="153"/>
                  </a:cubicBezTo>
                  <a:cubicBezTo>
                    <a:pt x="193" y="152"/>
                    <a:pt x="193" y="152"/>
                    <a:pt x="194" y="152"/>
                  </a:cubicBezTo>
                  <a:cubicBezTo>
                    <a:pt x="195" y="150"/>
                    <a:pt x="195" y="147"/>
                    <a:pt x="196" y="145"/>
                  </a:cubicBezTo>
                  <a:cubicBezTo>
                    <a:pt x="196" y="144"/>
                    <a:pt x="196" y="144"/>
                    <a:pt x="196" y="144"/>
                  </a:cubicBezTo>
                  <a:cubicBezTo>
                    <a:pt x="196" y="143"/>
                    <a:pt x="196" y="141"/>
                    <a:pt x="197" y="140"/>
                  </a:cubicBezTo>
                  <a:cubicBezTo>
                    <a:pt x="197" y="139"/>
                    <a:pt x="197" y="139"/>
                    <a:pt x="198" y="138"/>
                  </a:cubicBezTo>
                  <a:cubicBezTo>
                    <a:pt x="198" y="136"/>
                    <a:pt x="199" y="133"/>
                    <a:pt x="200" y="131"/>
                  </a:cubicBezTo>
                  <a:cubicBezTo>
                    <a:pt x="200" y="130"/>
                    <a:pt x="200" y="130"/>
                    <a:pt x="200" y="130"/>
                  </a:cubicBezTo>
                  <a:cubicBezTo>
                    <a:pt x="200" y="129"/>
                    <a:pt x="200" y="129"/>
                    <a:pt x="200" y="129"/>
                  </a:cubicBezTo>
                  <a:cubicBezTo>
                    <a:pt x="200" y="128"/>
                    <a:pt x="199" y="128"/>
                    <a:pt x="199" y="128"/>
                  </a:cubicBezTo>
                  <a:cubicBezTo>
                    <a:pt x="198" y="128"/>
                    <a:pt x="198" y="128"/>
                    <a:pt x="198" y="128"/>
                  </a:cubicBezTo>
                  <a:cubicBezTo>
                    <a:pt x="197" y="128"/>
                    <a:pt x="197" y="128"/>
                    <a:pt x="197" y="128"/>
                  </a:cubicBezTo>
                  <a:cubicBezTo>
                    <a:pt x="186" y="128"/>
                    <a:pt x="186" y="128"/>
                    <a:pt x="186" y="128"/>
                  </a:cubicBezTo>
                  <a:cubicBezTo>
                    <a:pt x="186" y="128"/>
                    <a:pt x="186" y="128"/>
                    <a:pt x="185" y="128"/>
                  </a:cubicBezTo>
                  <a:cubicBezTo>
                    <a:pt x="184" y="127"/>
                    <a:pt x="183" y="127"/>
                    <a:pt x="182" y="126"/>
                  </a:cubicBezTo>
                  <a:cubicBezTo>
                    <a:pt x="181" y="126"/>
                    <a:pt x="181" y="126"/>
                    <a:pt x="181" y="126"/>
                  </a:cubicBezTo>
                  <a:cubicBezTo>
                    <a:pt x="181" y="125"/>
                    <a:pt x="180" y="125"/>
                    <a:pt x="180" y="124"/>
                  </a:cubicBezTo>
                  <a:cubicBezTo>
                    <a:pt x="180" y="123"/>
                    <a:pt x="180" y="122"/>
                    <a:pt x="180" y="121"/>
                  </a:cubicBezTo>
                  <a:cubicBezTo>
                    <a:pt x="181" y="121"/>
                    <a:pt x="181" y="120"/>
                    <a:pt x="181" y="119"/>
                  </a:cubicBezTo>
                  <a:cubicBezTo>
                    <a:pt x="181" y="118"/>
                    <a:pt x="180" y="117"/>
                    <a:pt x="180" y="116"/>
                  </a:cubicBezTo>
                  <a:cubicBezTo>
                    <a:pt x="180" y="115"/>
                    <a:pt x="180" y="115"/>
                    <a:pt x="180" y="115"/>
                  </a:cubicBezTo>
                  <a:cubicBezTo>
                    <a:pt x="179" y="115"/>
                    <a:pt x="179" y="114"/>
                    <a:pt x="179" y="113"/>
                  </a:cubicBezTo>
                  <a:cubicBezTo>
                    <a:pt x="179" y="113"/>
                    <a:pt x="179" y="113"/>
                    <a:pt x="179" y="113"/>
                  </a:cubicBezTo>
                  <a:cubicBezTo>
                    <a:pt x="179" y="112"/>
                    <a:pt x="179" y="112"/>
                    <a:pt x="179" y="112"/>
                  </a:cubicBezTo>
                  <a:cubicBezTo>
                    <a:pt x="179" y="111"/>
                    <a:pt x="179" y="111"/>
                    <a:pt x="179" y="111"/>
                  </a:cubicBezTo>
                  <a:cubicBezTo>
                    <a:pt x="179" y="110"/>
                    <a:pt x="179" y="109"/>
                    <a:pt x="178" y="108"/>
                  </a:cubicBezTo>
                  <a:cubicBezTo>
                    <a:pt x="177" y="108"/>
                    <a:pt x="177" y="108"/>
                    <a:pt x="177" y="108"/>
                  </a:cubicBezTo>
                  <a:cubicBezTo>
                    <a:pt x="177" y="107"/>
                    <a:pt x="177" y="107"/>
                    <a:pt x="177" y="106"/>
                  </a:cubicBezTo>
                  <a:cubicBezTo>
                    <a:pt x="175" y="104"/>
                    <a:pt x="175" y="102"/>
                    <a:pt x="175" y="100"/>
                  </a:cubicBezTo>
                  <a:cubicBezTo>
                    <a:pt x="175" y="100"/>
                    <a:pt x="175" y="99"/>
                    <a:pt x="175" y="98"/>
                  </a:cubicBezTo>
                  <a:cubicBezTo>
                    <a:pt x="174" y="96"/>
                    <a:pt x="174" y="96"/>
                    <a:pt x="174" y="96"/>
                  </a:cubicBezTo>
                  <a:cubicBezTo>
                    <a:pt x="174" y="93"/>
                    <a:pt x="174" y="90"/>
                    <a:pt x="173" y="88"/>
                  </a:cubicBezTo>
                  <a:cubicBezTo>
                    <a:pt x="173" y="88"/>
                    <a:pt x="172" y="88"/>
                    <a:pt x="172" y="87"/>
                  </a:cubicBezTo>
                  <a:cubicBezTo>
                    <a:pt x="172" y="86"/>
                    <a:pt x="171" y="85"/>
                    <a:pt x="171" y="84"/>
                  </a:cubicBezTo>
                  <a:cubicBezTo>
                    <a:pt x="170" y="84"/>
                    <a:pt x="170" y="83"/>
                    <a:pt x="170" y="83"/>
                  </a:cubicBezTo>
                  <a:cubicBezTo>
                    <a:pt x="169" y="83"/>
                    <a:pt x="169" y="83"/>
                    <a:pt x="169" y="83"/>
                  </a:cubicBezTo>
                  <a:cubicBezTo>
                    <a:pt x="169" y="82"/>
                    <a:pt x="169" y="82"/>
                    <a:pt x="169" y="82"/>
                  </a:cubicBezTo>
                  <a:cubicBezTo>
                    <a:pt x="168" y="82"/>
                    <a:pt x="168" y="82"/>
                    <a:pt x="168" y="82"/>
                  </a:cubicBezTo>
                  <a:cubicBezTo>
                    <a:pt x="165" y="80"/>
                    <a:pt x="165" y="78"/>
                    <a:pt x="166" y="75"/>
                  </a:cubicBezTo>
                  <a:cubicBezTo>
                    <a:pt x="166" y="74"/>
                    <a:pt x="166" y="74"/>
                    <a:pt x="166" y="74"/>
                  </a:cubicBezTo>
                  <a:cubicBezTo>
                    <a:pt x="166" y="74"/>
                    <a:pt x="166" y="74"/>
                    <a:pt x="166" y="74"/>
                  </a:cubicBezTo>
                  <a:cubicBezTo>
                    <a:pt x="166" y="73"/>
                    <a:pt x="166" y="73"/>
                    <a:pt x="166" y="73"/>
                  </a:cubicBezTo>
                  <a:cubicBezTo>
                    <a:pt x="165" y="72"/>
                    <a:pt x="165" y="71"/>
                    <a:pt x="164" y="71"/>
                  </a:cubicBezTo>
                  <a:cubicBezTo>
                    <a:pt x="160" y="67"/>
                    <a:pt x="159" y="64"/>
                    <a:pt x="159" y="60"/>
                  </a:cubicBezTo>
                  <a:cubicBezTo>
                    <a:pt x="159" y="59"/>
                    <a:pt x="159" y="59"/>
                    <a:pt x="159" y="59"/>
                  </a:cubicBezTo>
                  <a:cubicBezTo>
                    <a:pt x="159" y="58"/>
                    <a:pt x="160" y="57"/>
                    <a:pt x="160" y="57"/>
                  </a:cubicBezTo>
                  <a:cubicBezTo>
                    <a:pt x="161" y="56"/>
                    <a:pt x="162" y="55"/>
                    <a:pt x="163" y="55"/>
                  </a:cubicBezTo>
                  <a:cubicBezTo>
                    <a:pt x="164" y="55"/>
                    <a:pt x="164" y="55"/>
                    <a:pt x="164" y="55"/>
                  </a:cubicBezTo>
                  <a:cubicBezTo>
                    <a:pt x="164" y="54"/>
                    <a:pt x="164" y="54"/>
                    <a:pt x="164" y="54"/>
                  </a:cubicBezTo>
                  <a:cubicBezTo>
                    <a:pt x="165" y="54"/>
                    <a:pt x="165" y="54"/>
                    <a:pt x="165" y="54"/>
                  </a:cubicBezTo>
                  <a:cubicBezTo>
                    <a:pt x="164" y="53"/>
                    <a:pt x="164" y="53"/>
                    <a:pt x="164" y="53"/>
                  </a:cubicBezTo>
                  <a:cubicBezTo>
                    <a:pt x="164" y="53"/>
                    <a:pt x="164" y="53"/>
                    <a:pt x="164" y="53"/>
                  </a:cubicBezTo>
                  <a:cubicBezTo>
                    <a:pt x="161" y="51"/>
                    <a:pt x="162" y="48"/>
                    <a:pt x="163" y="47"/>
                  </a:cubicBezTo>
                  <a:cubicBezTo>
                    <a:pt x="163" y="46"/>
                    <a:pt x="164" y="44"/>
                    <a:pt x="166" y="42"/>
                  </a:cubicBezTo>
                  <a:cubicBezTo>
                    <a:pt x="165" y="41"/>
                    <a:pt x="163" y="40"/>
                    <a:pt x="162" y="39"/>
                  </a:cubicBezTo>
                  <a:cubicBezTo>
                    <a:pt x="162" y="39"/>
                    <a:pt x="162" y="39"/>
                    <a:pt x="162" y="39"/>
                  </a:cubicBezTo>
                  <a:cubicBezTo>
                    <a:pt x="161" y="38"/>
                    <a:pt x="160" y="37"/>
                    <a:pt x="159" y="36"/>
                  </a:cubicBezTo>
                  <a:cubicBezTo>
                    <a:pt x="155" y="32"/>
                    <a:pt x="154" y="28"/>
                    <a:pt x="154" y="23"/>
                  </a:cubicBezTo>
                  <a:cubicBezTo>
                    <a:pt x="153" y="22"/>
                    <a:pt x="153" y="20"/>
                    <a:pt x="153" y="19"/>
                  </a:cubicBezTo>
                  <a:cubicBezTo>
                    <a:pt x="153" y="19"/>
                    <a:pt x="153" y="19"/>
                    <a:pt x="153" y="19"/>
                  </a:cubicBezTo>
                  <a:cubicBezTo>
                    <a:pt x="153" y="17"/>
                    <a:pt x="153" y="14"/>
                    <a:pt x="153" y="13"/>
                  </a:cubicBezTo>
                  <a:cubicBezTo>
                    <a:pt x="153" y="12"/>
                    <a:pt x="153" y="12"/>
                    <a:pt x="153" y="11"/>
                  </a:cubicBezTo>
                  <a:cubicBezTo>
                    <a:pt x="153" y="11"/>
                    <a:pt x="153" y="11"/>
                    <a:pt x="153" y="11"/>
                  </a:cubicBezTo>
                  <a:cubicBezTo>
                    <a:pt x="151" y="10"/>
                    <a:pt x="151" y="10"/>
                    <a:pt x="151" y="10"/>
                  </a:cubicBezTo>
                  <a:cubicBezTo>
                    <a:pt x="148" y="9"/>
                    <a:pt x="147" y="8"/>
                    <a:pt x="146" y="5"/>
                  </a:cubicBezTo>
                  <a:cubicBezTo>
                    <a:pt x="145" y="4"/>
                    <a:pt x="145" y="3"/>
                    <a:pt x="145" y="2"/>
                  </a:cubicBezTo>
                  <a:cubicBezTo>
                    <a:pt x="145" y="2"/>
                    <a:pt x="145" y="2"/>
                    <a:pt x="145" y="2"/>
                  </a:cubicBezTo>
                  <a:cubicBezTo>
                    <a:pt x="144" y="1"/>
                    <a:pt x="144" y="1"/>
                    <a:pt x="1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6" name="Freeform 247">
              <a:extLst>
                <a:ext uri="{FF2B5EF4-FFF2-40B4-BE49-F238E27FC236}">
                  <a16:creationId xmlns:a16="http://schemas.microsoft.com/office/drawing/2014/main" id="{2F99C580-DE03-4AE7-9E03-299929DE6E63}"/>
                </a:ext>
              </a:extLst>
            </p:cNvPr>
            <p:cNvSpPr>
              <a:spLocks/>
            </p:cNvSpPr>
            <p:nvPr/>
          </p:nvSpPr>
          <p:spPr bwMode="auto">
            <a:xfrm>
              <a:off x="8125694" y="3732639"/>
              <a:ext cx="1525252" cy="2734161"/>
            </a:xfrm>
            <a:custGeom>
              <a:avLst/>
              <a:gdLst>
                <a:gd name="T0" fmla="*/ 150 w 457"/>
                <a:gd name="T1" fmla="*/ 21 h 819"/>
                <a:gd name="T2" fmla="*/ 141 w 457"/>
                <a:gd name="T3" fmla="*/ 54 h 819"/>
                <a:gd name="T4" fmla="*/ 116 w 457"/>
                <a:gd name="T5" fmla="*/ 82 h 819"/>
                <a:gd name="T6" fmla="*/ 122 w 457"/>
                <a:gd name="T7" fmla="*/ 124 h 819"/>
                <a:gd name="T8" fmla="*/ 109 w 457"/>
                <a:gd name="T9" fmla="*/ 130 h 819"/>
                <a:gd name="T10" fmla="*/ 83 w 457"/>
                <a:gd name="T11" fmla="*/ 182 h 819"/>
                <a:gd name="T12" fmla="*/ 84 w 457"/>
                <a:gd name="T13" fmla="*/ 199 h 819"/>
                <a:gd name="T14" fmla="*/ 75 w 457"/>
                <a:gd name="T15" fmla="*/ 228 h 819"/>
                <a:gd name="T16" fmla="*/ 75 w 457"/>
                <a:gd name="T17" fmla="*/ 253 h 819"/>
                <a:gd name="T18" fmla="*/ 81 w 457"/>
                <a:gd name="T19" fmla="*/ 279 h 819"/>
                <a:gd name="T20" fmla="*/ 85 w 457"/>
                <a:gd name="T21" fmla="*/ 311 h 819"/>
                <a:gd name="T22" fmla="*/ 71 w 457"/>
                <a:gd name="T23" fmla="*/ 335 h 819"/>
                <a:gd name="T24" fmla="*/ 73 w 457"/>
                <a:gd name="T25" fmla="*/ 361 h 819"/>
                <a:gd name="T26" fmla="*/ 56 w 457"/>
                <a:gd name="T27" fmla="*/ 388 h 819"/>
                <a:gd name="T28" fmla="*/ 55 w 457"/>
                <a:gd name="T29" fmla="*/ 433 h 819"/>
                <a:gd name="T30" fmla="*/ 41 w 457"/>
                <a:gd name="T31" fmla="*/ 468 h 819"/>
                <a:gd name="T32" fmla="*/ 39 w 457"/>
                <a:gd name="T33" fmla="*/ 486 h 819"/>
                <a:gd name="T34" fmla="*/ 34 w 457"/>
                <a:gd name="T35" fmla="*/ 531 h 819"/>
                <a:gd name="T36" fmla="*/ 39 w 457"/>
                <a:gd name="T37" fmla="*/ 558 h 819"/>
                <a:gd name="T38" fmla="*/ 55 w 457"/>
                <a:gd name="T39" fmla="*/ 585 h 819"/>
                <a:gd name="T40" fmla="*/ 46 w 457"/>
                <a:gd name="T41" fmla="*/ 601 h 819"/>
                <a:gd name="T42" fmla="*/ 45 w 457"/>
                <a:gd name="T43" fmla="*/ 620 h 819"/>
                <a:gd name="T44" fmla="*/ 42 w 457"/>
                <a:gd name="T45" fmla="*/ 645 h 819"/>
                <a:gd name="T46" fmla="*/ 33 w 457"/>
                <a:gd name="T47" fmla="*/ 671 h 819"/>
                <a:gd name="T48" fmla="*/ 25 w 457"/>
                <a:gd name="T49" fmla="*/ 688 h 819"/>
                <a:gd name="T50" fmla="*/ 23 w 457"/>
                <a:gd name="T51" fmla="*/ 706 h 819"/>
                <a:gd name="T52" fmla="*/ 1 w 457"/>
                <a:gd name="T53" fmla="*/ 732 h 819"/>
                <a:gd name="T54" fmla="*/ 3 w 457"/>
                <a:gd name="T55" fmla="*/ 754 h 819"/>
                <a:gd name="T56" fmla="*/ 10 w 457"/>
                <a:gd name="T57" fmla="*/ 769 h 819"/>
                <a:gd name="T58" fmla="*/ 29 w 457"/>
                <a:gd name="T59" fmla="*/ 769 h 819"/>
                <a:gd name="T60" fmla="*/ 29 w 457"/>
                <a:gd name="T61" fmla="*/ 799 h 819"/>
                <a:gd name="T62" fmla="*/ 81 w 457"/>
                <a:gd name="T63" fmla="*/ 808 h 819"/>
                <a:gd name="T64" fmla="*/ 100 w 457"/>
                <a:gd name="T65" fmla="*/ 800 h 819"/>
                <a:gd name="T66" fmla="*/ 98 w 457"/>
                <a:gd name="T67" fmla="*/ 779 h 819"/>
                <a:gd name="T68" fmla="*/ 107 w 457"/>
                <a:gd name="T69" fmla="*/ 750 h 819"/>
                <a:gd name="T70" fmla="*/ 134 w 457"/>
                <a:gd name="T71" fmla="*/ 726 h 819"/>
                <a:gd name="T72" fmla="*/ 165 w 457"/>
                <a:gd name="T73" fmla="*/ 663 h 819"/>
                <a:gd name="T74" fmla="*/ 183 w 457"/>
                <a:gd name="T75" fmla="*/ 601 h 819"/>
                <a:gd name="T76" fmla="*/ 196 w 457"/>
                <a:gd name="T77" fmla="*/ 538 h 819"/>
                <a:gd name="T78" fmla="*/ 215 w 457"/>
                <a:gd name="T79" fmla="*/ 530 h 819"/>
                <a:gd name="T80" fmla="*/ 202 w 457"/>
                <a:gd name="T81" fmla="*/ 485 h 819"/>
                <a:gd name="T82" fmla="*/ 261 w 457"/>
                <a:gd name="T83" fmla="*/ 480 h 819"/>
                <a:gd name="T84" fmla="*/ 260 w 457"/>
                <a:gd name="T85" fmla="*/ 444 h 819"/>
                <a:gd name="T86" fmla="*/ 351 w 457"/>
                <a:gd name="T87" fmla="*/ 421 h 819"/>
                <a:gd name="T88" fmla="*/ 369 w 457"/>
                <a:gd name="T89" fmla="*/ 329 h 819"/>
                <a:gd name="T90" fmla="*/ 354 w 457"/>
                <a:gd name="T91" fmla="*/ 276 h 819"/>
                <a:gd name="T92" fmla="*/ 354 w 457"/>
                <a:gd name="T93" fmla="*/ 244 h 819"/>
                <a:gd name="T94" fmla="*/ 359 w 457"/>
                <a:gd name="T95" fmla="*/ 218 h 819"/>
                <a:gd name="T96" fmla="*/ 407 w 457"/>
                <a:gd name="T97" fmla="*/ 154 h 819"/>
                <a:gd name="T98" fmla="*/ 434 w 457"/>
                <a:gd name="T99" fmla="*/ 134 h 819"/>
                <a:gd name="T100" fmla="*/ 455 w 457"/>
                <a:gd name="T101" fmla="*/ 114 h 819"/>
                <a:gd name="T102" fmla="*/ 442 w 457"/>
                <a:gd name="T103" fmla="*/ 94 h 819"/>
                <a:gd name="T104" fmla="*/ 420 w 457"/>
                <a:gd name="T105" fmla="*/ 127 h 819"/>
                <a:gd name="T106" fmla="*/ 406 w 457"/>
                <a:gd name="T107" fmla="*/ 136 h 819"/>
                <a:gd name="T108" fmla="*/ 392 w 457"/>
                <a:gd name="T109" fmla="*/ 140 h 819"/>
                <a:gd name="T110" fmla="*/ 345 w 457"/>
                <a:gd name="T111" fmla="*/ 135 h 819"/>
                <a:gd name="T112" fmla="*/ 360 w 457"/>
                <a:gd name="T113" fmla="*/ 95 h 819"/>
                <a:gd name="T114" fmla="*/ 294 w 457"/>
                <a:gd name="T115" fmla="*/ 50 h 819"/>
                <a:gd name="T116" fmla="*/ 266 w 457"/>
                <a:gd name="T117" fmla="*/ 28 h 819"/>
                <a:gd name="T118" fmla="*/ 250 w 457"/>
                <a:gd name="T119" fmla="*/ 11 h 819"/>
                <a:gd name="T120" fmla="*/ 226 w 457"/>
                <a:gd name="T121" fmla="*/ 4 h 819"/>
                <a:gd name="T122" fmla="*/ 196 w 457"/>
                <a:gd name="T123" fmla="*/ 7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7" h="819">
                  <a:moveTo>
                    <a:pt x="170" y="0"/>
                  </a:moveTo>
                  <a:cubicBezTo>
                    <a:pt x="169" y="1"/>
                    <a:pt x="169" y="2"/>
                    <a:pt x="169" y="2"/>
                  </a:cubicBezTo>
                  <a:cubicBezTo>
                    <a:pt x="168" y="4"/>
                    <a:pt x="168" y="5"/>
                    <a:pt x="167" y="5"/>
                  </a:cubicBezTo>
                  <a:cubicBezTo>
                    <a:pt x="166" y="6"/>
                    <a:pt x="164" y="7"/>
                    <a:pt x="163" y="7"/>
                  </a:cubicBezTo>
                  <a:cubicBezTo>
                    <a:pt x="161" y="8"/>
                    <a:pt x="160" y="8"/>
                    <a:pt x="159" y="9"/>
                  </a:cubicBezTo>
                  <a:cubicBezTo>
                    <a:pt x="157" y="12"/>
                    <a:pt x="155" y="14"/>
                    <a:pt x="153" y="16"/>
                  </a:cubicBezTo>
                  <a:cubicBezTo>
                    <a:pt x="152" y="17"/>
                    <a:pt x="152" y="17"/>
                    <a:pt x="152" y="17"/>
                  </a:cubicBezTo>
                  <a:cubicBezTo>
                    <a:pt x="152" y="17"/>
                    <a:pt x="152" y="17"/>
                    <a:pt x="152" y="17"/>
                  </a:cubicBezTo>
                  <a:cubicBezTo>
                    <a:pt x="151" y="18"/>
                    <a:pt x="151" y="19"/>
                    <a:pt x="150" y="20"/>
                  </a:cubicBezTo>
                  <a:cubicBezTo>
                    <a:pt x="150" y="21"/>
                    <a:pt x="150" y="21"/>
                    <a:pt x="150" y="21"/>
                  </a:cubicBezTo>
                  <a:cubicBezTo>
                    <a:pt x="150" y="21"/>
                    <a:pt x="150" y="21"/>
                    <a:pt x="150" y="21"/>
                  </a:cubicBezTo>
                  <a:cubicBezTo>
                    <a:pt x="150" y="21"/>
                    <a:pt x="150" y="21"/>
                    <a:pt x="150" y="21"/>
                  </a:cubicBezTo>
                  <a:cubicBezTo>
                    <a:pt x="151" y="22"/>
                    <a:pt x="151" y="23"/>
                    <a:pt x="151" y="23"/>
                  </a:cubicBezTo>
                  <a:cubicBezTo>
                    <a:pt x="152" y="25"/>
                    <a:pt x="152" y="26"/>
                    <a:pt x="151" y="27"/>
                  </a:cubicBezTo>
                  <a:cubicBezTo>
                    <a:pt x="151" y="28"/>
                    <a:pt x="151" y="28"/>
                    <a:pt x="151" y="28"/>
                  </a:cubicBezTo>
                  <a:cubicBezTo>
                    <a:pt x="151" y="31"/>
                    <a:pt x="150" y="34"/>
                    <a:pt x="149" y="36"/>
                  </a:cubicBezTo>
                  <a:cubicBezTo>
                    <a:pt x="149" y="36"/>
                    <a:pt x="149" y="36"/>
                    <a:pt x="149" y="36"/>
                  </a:cubicBezTo>
                  <a:cubicBezTo>
                    <a:pt x="149" y="37"/>
                    <a:pt x="148" y="37"/>
                    <a:pt x="148" y="38"/>
                  </a:cubicBezTo>
                  <a:cubicBezTo>
                    <a:pt x="148" y="39"/>
                    <a:pt x="148" y="40"/>
                    <a:pt x="147" y="41"/>
                  </a:cubicBezTo>
                  <a:cubicBezTo>
                    <a:pt x="147" y="42"/>
                    <a:pt x="147" y="42"/>
                    <a:pt x="147" y="42"/>
                  </a:cubicBezTo>
                  <a:cubicBezTo>
                    <a:pt x="147" y="45"/>
                    <a:pt x="146" y="49"/>
                    <a:pt x="144" y="51"/>
                  </a:cubicBezTo>
                  <a:cubicBezTo>
                    <a:pt x="143" y="52"/>
                    <a:pt x="142" y="53"/>
                    <a:pt x="141" y="54"/>
                  </a:cubicBezTo>
                  <a:cubicBezTo>
                    <a:pt x="140" y="54"/>
                    <a:pt x="138" y="55"/>
                    <a:pt x="137" y="55"/>
                  </a:cubicBezTo>
                  <a:cubicBezTo>
                    <a:pt x="136" y="56"/>
                    <a:pt x="136" y="56"/>
                    <a:pt x="136" y="56"/>
                  </a:cubicBezTo>
                  <a:cubicBezTo>
                    <a:pt x="126" y="60"/>
                    <a:pt x="126" y="60"/>
                    <a:pt x="126" y="60"/>
                  </a:cubicBezTo>
                  <a:cubicBezTo>
                    <a:pt x="123" y="61"/>
                    <a:pt x="121" y="63"/>
                    <a:pt x="120" y="64"/>
                  </a:cubicBezTo>
                  <a:cubicBezTo>
                    <a:pt x="119" y="65"/>
                    <a:pt x="119" y="66"/>
                    <a:pt x="118" y="66"/>
                  </a:cubicBezTo>
                  <a:cubicBezTo>
                    <a:pt x="116" y="69"/>
                    <a:pt x="116" y="69"/>
                    <a:pt x="116" y="69"/>
                  </a:cubicBezTo>
                  <a:cubicBezTo>
                    <a:pt x="117" y="71"/>
                    <a:pt x="118" y="74"/>
                    <a:pt x="120" y="75"/>
                  </a:cubicBezTo>
                  <a:cubicBezTo>
                    <a:pt x="123" y="77"/>
                    <a:pt x="123" y="77"/>
                    <a:pt x="123" y="77"/>
                  </a:cubicBezTo>
                  <a:cubicBezTo>
                    <a:pt x="120" y="79"/>
                    <a:pt x="120" y="79"/>
                    <a:pt x="120" y="79"/>
                  </a:cubicBezTo>
                  <a:cubicBezTo>
                    <a:pt x="119" y="80"/>
                    <a:pt x="118" y="80"/>
                    <a:pt x="118" y="80"/>
                  </a:cubicBezTo>
                  <a:cubicBezTo>
                    <a:pt x="116" y="81"/>
                    <a:pt x="116" y="81"/>
                    <a:pt x="116" y="82"/>
                  </a:cubicBezTo>
                  <a:cubicBezTo>
                    <a:pt x="116" y="94"/>
                    <a:pt x="116" y="94"/>
                    <a:pt x="116" y="94"/>
                  </a:cubicBezTo>
                  <a:cubicBezTo>
                    <a:pt x="116" y="98"/>
                    <a:pt x="116" y="103"/>
                    <a:pt x="116" y="108"/>
                  </a:cubicBezTo>
                  <a:cubicBezTo>
                    <a:pt x="116" y="109"/>
                    <a:pt x="116" y="109"/>
                    <a:pt x="116" y="109"/>
                  </a:cubicBezTo>
                  <a:cubicBezTo>
                    <a:pt x="115" y="110"/>
                    <a:pt x="115" y="110"/>
                    <a:pt x="115" y="111"/>
                  </a:cubicBezTo>
                  <a:cubicBezTo>
                    <a:pt x="116" y="112"/>
                    <a:pt x="117" y="113"/>
                    <a:pt x="118" y="114"/>
                  </a:cubicBezTo>
                  <a:cubicBezTo>
                    <a:pt x="119" y="116"/>
                    <a:pt x="120" y="117"/>
                    <a:pt x="121" y="118"/>
                  </a:cubicBezTo>
                  <a:cubicBezTo>
                    <a:pt x="121" y="119"/>
                    <a:pt x="121" y="119"/>
                    <a:pt x="121" y="120"/>
                  </a:cubicBezTo>
                  <a:cubicBezTo>
                    <a:pt x="122" y="120"/>
                    <a:pt x="122" y="121"/>
                    <a:pt x="122" y="121"/>
                  </a:cubicBezTo>
                  <a:cubicBezTo>
                    <a:pt x="122" y="122"/>
                    <a:pt x="122" y="122"/>
                    <a:pt x="122" y="122"/>
                  </a:cubicBezTo>
                  <a:cubicBezTo>
                    <a:pt x="122" y="122"/>
                    <a:pt x="122" y="123"/>
                    <a:pt x="122" y="123"/>
                  </a:cubicBezTo>
                  <a:cubicBezTo>
                    <a:pt x="122" y="124"/>
                    <a:pt x="122" y="124"/>
                    <a:pt x="122" y="124"/>
                  </a:cubicBezTo>
                  <a:cubicBezTo>
                    <a:pt x="122" y="124"/>
                    <a:pt x="122" y="125"/>
                    <a:pt x="121" y="125"/>
                  </a:cubicBezTo>
                  <a:cubicBezTo>
                    <a:pt x="120" y="128"/>
                    <a:pt x="118" y="128"/>
                    <a:pt x="116" y="128"/>
                  </a:cubicBezTo>
                  <a:cubicBezTo>
                    <a:pt x="116" y="129"/>
                    <a:pt x="116" y="129"/>
                    <a:pt x="116" y="129"/>
                  </a:cubicBezTo>
                  <a:cubicBezTo>
                    <a:pt x="116" y="129"/>
                    <a:pt x="116" y="129"/>
                    <a:pt x="116" y="129"/>
                  </a:cubicBezTo>
                  <a:cubicBezTo>
                    <a:pt x="115" y="129"/>
                    <a:pt x="115" y="129"/>
                    <a:pt x="115" y="130"/>
                  </a:cubicBezTo>
                  <a:cubicBezTo>
                    <a:pt x="114" y="130"/>
                    <a:pt x="114" y="130"/>
                    <a:pt x="113" y="130"/>
                  </a:cubicBezTo>
                  <a:cubicBezTo>
                    <a:pt x="113" y="130"/>
                    <a:pt x="112" y="130"/>
                    <a:pt x="112" y="130"/>
                  </a:cubicBezTo>
                  <a:cubicBezTo>
                    <a:pt x="112" y="130"/>
                    <a:pt x="111" y="130"/>
                    <a:pt x="111" y="130"/>
                  </a:cubicBezTo>
                  <a:cubicBezTo>
                    <a:pt x="111" y="130"/>
                    <a:pt x="110" y="130"/>
                    <a:pt x="110" y="130"/>
                  </a:cubicBezTo>
                  <a:cubicBezTo>
                    <a:pt x="109" y="130"/>
                    <a:pt x="109" y="130"/>
                    <a:pt x="109" y="130"/>
                  </a:cubicBezTo>
                  <a:cubicBezTo>
                    <a:pt x="109" y="130"/>
                    <a:pt x="109" y="130"/>
                    <a:pt x="109" y="130"/>
                  </a:cubicBezTo>
                  <a:cubicBezTo>
                    <a:pt x="109" y="131"/>
                    <a:pt x="108" y="132"/>
                    <a:pt x="108" y="134"/>
                  </a:cubicBezTo>
                  <a:cubicBezTo>
                    <a:pt x="108" y="134"/>
                    <a:pt x="108" y="134"/>
                    <a:pt x="108" y="134"/>
                  </a:cubicBezTo>
                  <a:cubicBezTo>
                    <a:pt x="106" y="139"/>
                    <a:pt x="104" y="143"/>
                    <a:pt x="101" y="146"/>
                  </a:cubicBezTo>
                  <a:cubicBezTo>
                    <a:pt x="101" y="147"/>
                    <a:pt x="101" y="147"/>
                    <a:pt x="101" y="147"/>
                  </a:cubicBezTo>
                  <a:cubicBezTo>
                    <a:pt x="100" y="149"/>
                    <a:pt x="98" y="151"/>
                    <a:pt x="97" y="152"/>
                  </a:cubicBezTo>
                  <a:cubicBezTo>
                    <a:pt x="94" y="155"/>
                    <a:pt x="92" y="158"/>
                    <a:pt x="91" y="160"/>
                  </a:cubicBezTo>
                  <a:cubicBezTo>
                    <a:pt x="90" y="161"/>
                    <a:pt x="90" y="161"/>
                    <a:pt x="90" y="162"/>
                  </a:cubicBezTo>
                  <a:cubicBezTo>
                    <a:pt x="90" y="163"/>
                    <a:pt x="89" y="164"/>
                    <a:pt x="89" y="165"/>
                  </a:cubicBezTo>
                  <a:cubicBezTo>
                    <a:pt x="89" y="165"/>
                    <a:pt x="89" y="165"/>
                    <a:pt x="89" y="165"/>
                  </a:cubicBezTo>
                  <a:cubicBezTo>
                    <a:pt x="88" y="171"/>
                    <a:pt x="86" y="176"/>
                    <a:pt x="84" y="180"/>
                  </a:cubicBezTo>
                  <a:cubicBezTo>
                    <a:pt x="83" y="181"/>
                    <a:pt x="83" y="181"/>
                    <a:pt x="83" y="182"/>
                  </a:cubicBezTo>
                  <a:cubicBezTo>
                    <a:pt x="83" y="182"/>
                    <a:pt x="83" y="182"/>
                    <a:pt x="83" y="182"/>
                  </a:cubicBezTo>
                  <a:cubicBezTo>
                    <a:pt x="82" y="182"/>
                    <a:pt x="82" y="182"/>
                    <a:pt x="82" y="183"/>
                  </a:cubicBezTo>
                  <a:cubicBezTo>
                    <a:pt x="82" y="184"/>
                    <a:pt x="83" y="185"/>
                    <a:pt x="83" y="187"/>
                  </a:cubicBezTo>
                  <a:cubicBezTo>
                    <a:pt x="84" y="188"/>
                    <a:pt x="85" y="190"/>
                    <a:pt x="85" y="192"/>
                  </a:cubicBezTo>
                  <a:cubicBezTo>
                    <a:pt x="85" y="192"/>
                    <a:pt x="85" y="192"/>
                    <a:pt x="85" y="192"/>
                  </a:cubicBezTo>
                  <a:cubicBezTo>
                    <a:pt x="85" y="192"/>
                    <a:pt x="85" y="192"/>
                    <a:pt x="85" y="192"/>
                  </a:cubicBezTo>
                  <a:cubicBezTo>
                    <a:pt x="85" y="193"/>
                    <a:pt x="85" y="193"/>
                    <a:pt x="85" y="193"/>
                  </a:cubicBezTo>
                  <a:cubicBezTo>
                    <a:pt x="85" y="193"/>
                    <a:pt x="85" y="193"/>
                    <a:pt x="85" y="193"/>
                  </a:cubicBezTo>
                  <a:cubicBezTo>
                    <a:pt x="84" y="194"/>
                    <a:pt x="84" y="195"/>
                    <a:pt x="84" y="196"/>
                  </a:cubicBezTo>
                  <a:cubicBezTo>
                    <a:pt x="84" y="198"/>
                    <a:pt x="84" y="198"/>
                    <a:pt x="84" y="198"/>
                  </a:cubicBezTo>
                  <a:cubicBezTo>
                    <a:pt x="84" y="198"/>
                    <a:pt x="84" y="199"/>
                    <a:pt x="84" y="199"/>
                  </a:cubicBezTo>
                  <a:cubicBezTo>
                    <a:pt x="85" y="199"/>
                    <a:pt x="85" y="200"/>
                    <a:pt x="85" y="200"/>
                  </a:cubicBezTo>
                  <a:cubicBezTo>
                    <a:pt x="86" y="200"/>
                    <a:pt x="86" y="201"/>
                    <a:pt x="86" y="202"/>
                  </a:cubicBezTo>
                  <a:cubicBezTo>
                    <a:pt x="87" y="202"/>
                    <a:pt x="87" y="203"/>
                    <a:pt x="87" y="203"/>
                  </a:cubicBezTo>
                  <a:cubicBezTo>
                    <a:pt x="87" y="206"/>
                    <a:pt x="83" y="208"/>
                    <a:pt x="81" y="209"/>
                  </a:cubicBezTo>
                  <a:cubicBezTo>
                    <a:pt x="80" y="210"/>
                    <a:pt x="79" y="211"/>
                    <a:pt x="78" y="213"/>
                  </a:cubicBezTo>
                  <a:cubicBezTo>
                    <a:pt x="78" y="213"/>
                    <a:pt x="78" y="214"/>
                    <a:pt x="78" y="215"/>
                  </a:cubicBezTo>
                  <a:cubicBezTo>
                    <a:pt x="77" y="218"/>
                    <a:pt x="76" y="220"/>
                    <a:pt x="76" y="222"/>
                  </a:cubicBezTo>
                  <a:cubicBezTo>
                    <a:pt x="76" y="223"/>
                    <a:pt x="76" y="223"/>
                    <a:pt x="76" y="223"/>
                  </a:cubicBezTo>
                  <a:cubicBezTo>
                    <a:pt x="76" y="224"/>
                    <a:pt x="77" y="225"/>
                    <a:pt x="76" y="226"/>
                  </a:cubicBezTo>
                  <a:cubicBezTo>
                    <a:pt x="76" y="227"/>
                    <a:pt x="76" y="227"/>
                    <a:pt x="75" y="228"/>
                  </a:cubicBezTo>
                  <a:cubicBezTo>
                    <a:pt x="75" y="228"/>
                    <a:pt x="75" y="228"/>
                    <a:pt x="75" y="228"/>
                  </a:cubicBezTo>
                  <a:cubicBezTo>
                    <a:pt x="74" y="229"/>
                    <a:pt x="74" y="229"/>
                    <a:pt x="74" y="229"/>
                  </a:cubicBezTo>
                  <a:cubicBezTo>
                    <a:pt x="73" y="228"/>
                    <a:pt x="73" y="228"/>
                    <a:pt x="73" y="228"/>
                  </a:cubicBezTo>
                  <a:cubicBezTo>
                    <a:pt x="73" y="229"/>
                    <a:pt x="73" y="229"/>
                    <a:pt x="73" y="229"/>
                  </a:cubicBezTo>
                  <a:cubicBezTo>
                    <a:pt x="71" y="230"/>
                    <a:pt x="71" y="230"/>
                    <a:pt x="71" y="230"/>
                  </a:cubicBezTo>
                  <a:cubicBezTo>
                    <a:pt x="71" y="230"/>
                    <a:pt x="71" y="230"/>
                    <a:pt x="71" y="230"/>
                  </a:cubicBezTo>
                  <a:cubicBezTo>
                    <a:pt x="70" y="232"/>
                    <a:pt x="70" y="234"/>
                    <a:pt x="71" y="237"/>
                  </a:cubicBezTo>
                  <a:cubicBezTo>
                    <a:pt x="72" y="239"/>
                    <a:pt x="72" y="239"/>
                    <a:pt x="72" y="239"/>
                  </a:cubicBezTo>
                  <a:cubicBezTo>
                    <a:pt x="73" y="241"/>
                    <a:pt x="74" y="243"/>
                    <a:pt x="75" y="245"/>
                  </a:cubicBezTo>
                  <a:cubicBezTo>
                    <a:pt x="75" y="246"/>
                    <a:pt x="76" y="246"/>
                    <a:pt x="76" y="247"/>
                  </a:cubicBezTo>
                  <a:cubicBezTo>
                    <a:pt x="77" y="247"/>
                    <a:pt x="77" y="248"/>
                    <a:pt x="77" y="249"/>
                  </a:cubicBezTo>
                  <a:cubicBezTo>
                    <a:pt x="77" y="251"/>
                    <a:pt x="75" y="252"/>
                    <a:pt x="75" y="253"/>
                  </a:cubicBezTo>
                  <a:cubicBezTo>
                    <a:pt x="74" y="253"/>
                    <a:pt x="74" y="253"/>
                    <a:pt x="74" y="253"/>
                  </a:cubicBezTo>
                  <a:cubicBezTo>
                    <a:pt x="75" y="254"/>
                    <a:pt x="75" y="255"/>
                    <a:pt x="76" y="256"/>
                  </a:cubicBezTo>
                  <a:cubicBezTo>
                    <a:pt x="76" y="256"/>
                    <a:pt x="76" y="256"/>
                    <a:pt x="76" y="256"/>
                  </a:cubicBezTo>
                  <a:cubicBezTo>
                    <a:pt x="76" y="257"/>
                    <a:pt x="77" y="257"/>
                    <a:pt x="77" y="258"/>
                  </a:cubicBezTo>
                  <a:cubicBezTo>
                    <a:pt x="78" y="259"/>
                    <a:pt x="78" y="259"/>
                    <a:pt x="78" y="259"/>
                  </a:cubicBezTo>
                  <a:cubicBezTo>
                    <a:pt x="79" y="262"/>
                    <a:pt x="80" y="265"/>
                    <a:pt x="80" y="268"/>
                  </a:cubicBezTo>
                  <a:cubicBezTo>
                    <a:pt x="80" y="270"/>
                    <a:pt x="80" y="270"/>
                    <a:pt x="80" y="270"/>
                  </a:cubicBezTo>
                  <a:cubicBezTo>
                    <a:pt x="81" y="271"/>
                    <a:pt x="81" y="273"/>
                    <a:pt x="80" y="274"/>
                  </a:cubicBezTo>
                  <a:cubicBezTo>
                    <a:pt x="80" y="276"/>
                    <a:pt x="80" y="277"/>
                    <a:pt x="81" y="278"/>
                  </a:cubicBezTo>
                  <a:cubicBezTo>
                    <a:pt x="81" y="278"/>
                    <a:pt x="81" y="279"/>
                    <a:pt x="81" y="279"/>
                  </a:cubicBezTo>
                  <a:cubicBezTo>
                    <a:pt x="81" y="279"/>
                    <a:pt x="81" y="279"/>
                    <a:pt x="81" y="279"/>
                  </a:cubicBezTo>
                  <a:cubicBezTo>
                    <a:pt x="81" y="280"/>
                    <a:pt x="81" y="281"/>
                    <a:pt x="82" y="282"/>
                  </a:cubicBezTo>
                  <a:cubicBezTo>
                    <a:pt x="82" y="282"/>
                    <a:pt x="83" y="282"/>
                    <a:pt x="83" y="282"/>
                  </a:cubicBezTo>
                  <a:cubicBezTo>
                    <a:pt x="84" y="283"/>
                    <a:pt x="87" y="283"/>
                    <a:pt x="87" y="286"/>
                  </a:cubicBezTo>
                  <a:cubicBezTo>
                    <a:pt x="87" y="286"/>
                    <a:pt x="87" y="287"/>
                    <a:pt x="87" y="288"/>
                  </a:cubicBezTo>
                  <a:cubicBezTo>
                    <a:pt x="88" y="288"/>
                    <a:pt x="88" y="288"/>
                    <a:pt x="88" y="288"/>
                  </a:cubicBezTo>
                  <a:cubicBezTo>
                    <a:pt x="87" y="289"/>
                    <a:pt x="87" y="289"/>
                    <a:pt x="87" y="289"/>
                  </a:cubicBezTo>
                  <a:cubicBezTo>
                    <a:pt x="85" y="300"/>
                    <a:pt x="85" y="300"/>
                    <a:pt x="85" y="300"/>
                  </a:cubicBezTo>
                  <a:cubicBezTo>
                    <a:pt x="85" y="301"/>
                    <a:pt x="85" y="301"/>
                    <a:pt x="85" y="302"/>
                  </a:cubicBezTo>
                  <a:cubicBezTo>
                    <a:pt x="85" y="304"/>
                    <a:pt x="86" y="306"/>
                    <a:pt x="86" y="307"/>
                  </a:cubicBezTo>
                  <a:cubicBezTo>
                    <a:pt x="88" y="310"/>
                    <a:pt x="88" y="310"/>
                    <a:pt x="88" y="310"/>
                  </a:cubicBezTo>
                  <a:cubicBezTo>
                    <a:pt x="85" y="311"/>
                    <a:pt x="85" y="311"/>
                    <a:pt x="85" y="311"/>
                  </a:cubicBezTo>
                  <a:cubicBezTo>
                    <a:pt x="84" y="311"/>
                    <a:pt x="83" y="312"/>
                    <a:pt x="82" y="312"/>
                  </a:cubicBezTo>
                  <a:cubicBezTo>
                    <a:pt x="81" y="312"/>
                    <a:pt x="81" y="312"/>
                    <a:pt x="81" y="312"/>
                  </a:cubicBezTo>
                  <a:cubicBezTo>
                    <a:pt x="77" y="322"/>
                    <a:pt x="77" y="322"/>
                    <a:pt x="77" y="322"/>
                  </a:cubicBezTo>
                  <a:cubicBezTo>
                    <a:pt x="76" y="323"/>
                    <a:pt x="76" y="323"/>
                    <a:pt x="76" y="323"/>
                  </a:cubicBezTo>
                  <a:cubicBezTo>
                    <a:pt x="76" y="324"/>
                    <a:pt x="76" y="324"/>
                    <a:pt x="76" y="324"/>
                  </a:cubicBezTo>
                  <a:cubicBezTo>
                    <a:pt x="76" y="325"/>
                    <a:pt x="76" y="325"/>
                    <a:pt x="76" y="326"/>
                  </a:cubicBezTo>
                  <a:cubicBezTo>
                    <a:pt x="75" y="326"/>
                    <a:pt x="75" y="326"/>
                    <a:pt x="75" y="326"/>
                  </a:cubicBezTo>
                  <a:cubicBezTo>
                    <a:pt x="75" y="328"/>
                    <a:pt x="75" y="329"/>
                    <a:pt x="74" y="331"/>
                  </a:cubicBezTo>
                  <a:cubicBezTo>
                    <a:pt x="74" y="331"/>
                    <a:pt x="74" y="331"/>
                    <a:pt x="74" y="331"/>
                  </a:cubicBezTo>
                  <a:cubicBezTo>
                    <a:pt x="73" y="332"/>
                    <a:pt x="72" y="333"/>
                    <a:pt x="72" y="334"/>
                  </a:cubicBezTo>
                  <a:cubicBezTo>
                    <a:pt x="71" y="335"/>
                    <a:pt x="71" y="335"/>
                    <a:pt x="71" y="335"/>
                  </a:cubicBezTo>
                  <a:cubicBezTo>
                    <a:pt x="71" y="335"/>
                    <a:pt x="71" y="335"/>
                    <a:pt x="71" y="335"/>
                  </a:cubicBezTo>
                  <a:cubicBezTo>
                    <a:pt x="70" y="336"/>
                    <a:pt x="70" y="336"/>
                    <a:pt x="70" y="336"/>
                  </a:cubicBezTo>
                  <a:cubicBezTo>
                    <a:pt x="70" y="337"/>
                    <a:pt x="71" y="337"/>
                    <a:pt x="71" y="338"/>
                  </a:cubicBezTo>
                  <a:cubicBezTo>
                    <a:pt x="71" y="338"/>
                    <a:pt x="71" y="338"/>
                    <a:pt x="71" y="338"/>
                  </a:cubicBezTo>
                  <a:cubicBezTo>
                    <a:pt x="71" y="338"/>
                    <a:pt x="71" y="339"/>
                    <a:pt x="71" y="339"/>
                  </a:cubicBezTo>
                  <a:cubicBezTo>
                    <a:pt x="74" y="344"/>
                    <a:pt x="73" y="349"/>
                    <a:pt x="73" y="355"/>
                  </a:cubicBezTo>
                  <a:cubicBezTo>
                    <a:pt x="73" y="355"/>
                    <a:pt x="73" y="356"/>
                    <a:pt x="73" y="356"/>
                  </a:cubicBezTo>
                  <a:cubicBezTo>
                    <a:pt x="76" y="356"/>
                    <a:pt x="76" y="356"/>
                    <a:pt x="76" y="356"/>
                  </a:cubicBezTo>
                  <a:cubicBezTo>
                    <a:pt x="73" y="357"/>
                    <a:pt x="73" y="357"/>
                    <a:pt x="73" y="357"/>
                  </a:cubicBezTo>
                  <a:cubicBezTo>
                    <a:pt x="73" y="358"/>
                    <a:pt x="73" y="358"/>
                    <a:pt x="73" y="359"/>
                  </a:cubicBezTo>
                  <a:cubicBezTo>
                    <a:pt x="73" y="361"/>
                    <a:pt x="73" y="361"/>
                    <a:pt x="73" y="361"/>
                  </a:cubicBezTo>
                  <a:cubicBezTo>
                    <a:pt x="70" y="361"/>
                    <a:pt x="70" y="361"/>
                    <a:pt x="70" y="361"/>
                  </a:cubicBezTo>
                  <a:cubicBezTo>
                    <a:pt x="70" y="361"/>
                    <a:pt x="69" y="362"/>
                    <a:pt x="69" y="362"/>
                  </a:cubicBezTo>
                  <a:cubicBezTo>
                    <a:pt x="69" y="362"/>
                    <a:pt x="69" y="362"/>
                    <a:pt x="69" y="362"/>
                  </a:cubicBezTo>
                  <a:cubicBezTo>
                    <a:pt x="68" y="362"/>
                    <a:pt x="68" y="362"/>
                    <a:pt x="68" y="363"/>
                  </a:cubicBezTo>
                  <a:cubicBezTo>
                    <a:pt x="68" y="364"/>
                    <a:pt x="67" y="366"/>
                    <a:pt x="66" y="367"/>
                  </a:cubicBezTo>
                  <a:cubicBezTo>
                    <a:pt x="64" y="369"/>
                    <a:pt x="62" y="369"/>
                    <a:pt x="60" y="370"/>
                  </a:cubicBezTo>
                  <a:cubicBezTo>
                    <a:pt x="60" y="370"/>
                    <a:pt x="59" y="370"/>
                    <a:pt x="59" y="370"/>
                  </a:cubicBezTo>
                  <a:cubicBezTo>
                    <a:pt x="59" y="370"/>
                    <a:pt x="59" y="370"/>
                    <a:pt x="59" y="370"/>
                  </a:cubicBezTo>
                  <a:cubicBezTo>
                    <a:pt x="58" y="370"/>
                    <a:pt x="58" y="370"/>
                    <a:pt x="58" y="370"/>
                  </a:cubicBezTo>
                  <a:cubicBezTo>
                    <a:pt x="58" y="375"/>
                    <a:pt x="58" y="375"/>
                    <a:pt x="58" y="375"/>
                  </a:cubicBezTo>
                  <a:cubicBezTo>
                    <a:pt x="57" y="379"/>
                    <a:pt x="57" y="384"/>
                    <a:pt x="56" y="388"/>
                  </a:cubicBezTo>
                  <a:cubicBezTo>
                    <a:pt x="56" y="388"/>
                    <a:pt x="56" y="388"/>
                    <a:pt x="56" y="388"/>
                  </a:cubicBezTo>
                  <a:cubicBezTo>
                    <a:pt x="56" y="389"/>
                    <a:pt x="56" y="389"/>
                    <a:pt x="56" y="389"/>
                  </a:cubicBezTo>
                  <a:cubicBezTo>
                    <a:pt x="56" y="392"/>
                    <a:pt x="56" y="396"/>
                    <a:pt x="57" y="400"/>
                  </a:cubicBezTo>
                  <a:cubicBezTo>
                    <a:pt x="57" y="401"/>
                    <a:pt x="57" y="401"/>
                    <a:pt x="57" y="401"/>
                  </a:cubicBezTo>
                  <a:cubicBezTo>
                    <a:pt x="57" y="402"/>
                    <a:pt x="57" y="403"/>
                    <a:pt x="57" y="404"/>
                  </a:cubicBezTo>
                  <a:cubicBezTo>
                    <a:pt x="57" y="405"/>
                    <a:pt x="57" y="405"/>
                    <a:pt x="57" y="405"/>
                  </a:cubicBezTo>
                  <a:cubicBezTo>
                    <a:pt x="58" y="407"/>
                    <a:pt x="59" y="410"/>
                    <a:pt x="59" y="413"/>
                  </a:cubicBezTo>
                  <a:cubicBezTo>
                    <a:pt x="60" y="415"/>
                    <a:pt x="60" y="416"/>
                    <a:pt x="61" y="418"/>
                  </a:cubicBezTo>
                  <a:cubicBezTo>
                    <a:pt x="61" y="418"/>
                    <a:pt x="61" y="419"/>
                    <a:pt x="61" y="419"/>
                  </a:cubicBezTo>
                  <a:cubicBezTo>
                    <a:pt x="63" y="424"/>
                    <a:pt x="63" y="427"/>
                    <a:pt x="62" y="428"/>
                  </a:cubicBezTo>
                  <a:cubicBezTo>
                    <a:pt x="61" y="430"/>
                    <a:pt x="59" y="431"/>
                    <a:pt x="55" y="433"/>
                  </a:cubicBezTo>
                  <a:cubicBezTo>
                    <a:pt x="54" y="433"/>
                    <a:pt x="53" y="433"/>
                    <a:pt x="53" y="433"/>
                  </a:cubicBezTo>
                  <a:cubicBezTo>
                    <a:pt x="52" y="434"/>
                    <a:pt x="52" y="434"/>
                    <a:pt x="52" y="434"/>
                  </a:cubicBezTo>
                  <a:cubicBezTo>
                    <a:pt x="52" y="434"/>
                    <a:pt x="51" y="434"/>
                    <a:pt x="51" y="435"/>
                  </a:cubicBezTo>
                  <a:cubicBezTo>
                    <a:pt x="51" y="435"/>
                    <a:pt x="51" y="435"/>
                    <a:pt x="51" y="435"/>
                  </a:cubicBezTo>
                  <a:cubicBezTo>
                    <a:pt x="49" y="447"/>
                    <a:pt x="49" y="447"/>
                    <a:pt x="49" y="447"/>
                  </a:cubicBezTo>
                  <a:cubicBezTo>
                    <a:pt x="49" y="448"/>
                    <a:pt x="49" y="449"/>
                    <a:pt x="49" y="451"/>
                  </a:cubicBezTo>
                  <a:cubicBezTo>
                    <a:pt x="48" y="451"/>
                    <a:pt x="48" y="451"/>
                    <a:pt x="48" y="451"/>
                  </a:cubicBezTo>
                  <a:cubicBezTo>
                    <a:pt x="48" y="452"/>
                    <a:pt x="48" y="452"/>
                    <a:pt x="48" y="452"/>
                  </a:cubicBezTo>
                  <a:cubicBezTo>
                    <a:pt x="47" y="453"/>
                    <a:pt x="46" y="454"/>
                    <a:pt x="45" y="454"/>
                  </a:cubicBezTo>
                  <a:cubicBezTo>
                    <a:pt x="45" y="461"/>
                    <a:pt x="45" y="464"/>
                    <a:pt x="43" y="466"/>
                  </a:cubicBezTo>
                  <a:cubicBezTo>
                    <a:pt x="43" y="467"/>
                    <a:pt x="42" y="468"/>
                    <a:pt x="41" y="468"/>
                  </a:cubicBezTo>
                  <a:cubicBezTo>
                    <a:pt x="41" y="468"/>
                    <a:pt x="42" y="469"/>
                    <a:pt x="42" y="469"/>
                  </a:cubicBezTo>
                  <a:cubicBezTo>
                    <a:pt x="42" y="469"/>
                    <a:pt x="42" y="470"/>
                    <a:pt x="42" y="470"/>
                  </a:cubicBezTo>
                  <a:cubicBezTo>
                    <a:pt x="43" y="471"/>
                    <a:pt x="43" y="471"/>
                    <a:pt x="43" y="471"/>
                  </a:cubicBezTo>
                  <a:cubicBezTo>
                    <a:pt x="43" y="472"/>
                    <a:pt x="43" y="472"/>
                    <a:pt x="43" y="472"/>
                  </a:cubicBezTo>
                  <a:cubicBezTo>
                    <a:pt x="42" y="473"/>
                    <a:pt x="42" y="473"/>
                    <a:pt x="42" y="473"/>
                  </a:cubicBezTo>
                  <a:cubicBezTo>
                    <a:pt x="43" y="474"/>
                    <a:pt x="43" y="474"/>
                    <a:pt x="43" y="474"/>
                  </a:cubicBezTo>
                  <a:cubicBezTo>
                    <a:pt x="42" y="475"/>
                    <a:pt x="42" y="475"/>
                    <a:pt x="42" y="475"/>
                  </a:cubicBezTo>
                  <a:cubicBezTo>
                    <a:pt x="42" y="475"/>
                    <a:pt x="42" y="475"/>
                    <a:pt x="42" y="475"/>
                  </a:cubicBezTo>
                  <a:cubicBezTo>
                    <a:pt x="41" y="477"/>
                    <a:pt x="40" y="479"/>
                    <a:pt x="39" y="481"/>
                  </a:cubicBezTo>
                  <a:cubicBezTo>
                    <a:pt x="39" y="483"/>
                    <a:pt x="39" y="484"/>
                    <a:pt x="39" y="486"/>
                  </a:cubicBezTo>
                  <a:cubicBezTo>
                    <a:pt x="39" y="486"/>
                    <a:pt x="39" y="486"/>
                    <a:pt x="39" y="486"/>
                  </a:cubicBezTo>
                  <a:cubicBezTo>
                    <a:pt x="39" y="487"/>
                    <a:pt x="39" y="488"/>
                    <a:pt x="39" y="489"/>
                  </a:cubicBezTo>
                  <a:cubicBezTo>
                    <a:pt x="39" y="489"/>
                    <a:pt x="40" y="490"/>
                    <a:pt x="40" y="490"/>
                  </a:cubicBezTo>
                  <a:cubicBezTo>
                    <a:pt x="40" y="493"/>
                    <a:pt x="39" y="496"/>
                    <a:pt x="39" y="499"/>
                  </a:cubicBezTo>
                  <a:cubicBezTo>
                    <a:pt x="39" y="500"/>
                    <a:pt x="39" y="501"/>
                    <a:pt x="39" y="502"/>
                  </a:cubicBezTo>
                  <a:cubicBezTo>
                    <a:pt x="38" y="507"/>
                    <a:pt x="39" y="510"/>
                    <a:pt x="41" y="514"/>
                  </a:cubicBezTo>
                  <a:cubicBezTo>
                    <a:pt x="41" y="515"/>
                    <a:pt x="41" y="515"/>
                    <a:pt x="41" y="515"/>
                  </a:cubicBezTo>
                  <a:cubicBezTo>
                    <a:pt x="42" y="516"/>
                    <a:pt x="42" y="517"/>
                    <a:pt x="42" y="518"/>
                  </a:cubicBezTo>
                  <a:cubicBezTo>
                    <a:pt x="43" y="521"/>
                    <a:pt x="42" y="523"/>
                    <a:pt x="39" y="524"/>
                  </a:cubicBezTo>
                  <a:cubicBezTo>
                    <a:pt x="37" y="525"/>
                    <a:pt x="37" y="525"/>
                    <a:pt x="37" y="525"/>
                  </a:cubicBezTo>
                  <a:cubicBezTo>
                    <a:pt x="35" y="526"/>
                    <a:pt x="35" y="526"/>
                    <a:pt x="34" y="528"/>
                  </a:cubicBezTo>
                  <a:cubicBezTo>
                    <a:pt x="34" y="529"/>
                    <a:pt x="34" y="530"/>
                    <a:pt x="34" y="531"/>
                  </a:cubicBezTo>
                  <a:cubicBezTo>
                    <a:pt x="34" y="532"/>
                    <a:pt x="34" y="533"/>
                    <a:pt x="34" y="534"/>
                  </a:cubicBezTo>
                  <a:cubicBezTo>
                    <a:pt x="33" y="536"/>
                    <a:pt x="33" y="536"/>
                    <a:pt x="33" y="536"/>
                  </a:cubicBezTo>
                  <a:cubicBezTo>
                    <a:pt x="33" y="541"/>
                    <a:pt x="33" y="541"/>
                    <a:pt x="33" y="541"/>
                  </a:cubicBezTo>
                  <a:cubicBezTo>
                    <a:pt x="33" y="543"/>
                    <a:pt x="33" y="543"/>
                    <a:pt x="33" y="544"/>
                  </a:cubicBezTo>
                  <a:cubicBezTo>
                    <a:pt x="33" y="544"/>
                    <a:pt x="33" y="545"/>
                    <a:pt x="33" y="546"/>
                  </a:cubicBezTo>
                  <a:cubicBezTo>
                    <a:pt x="34" y="546"/>
                    <a:pt x="34" y="546"/>
                    <a:pt x="36" y="547"/>
                  </a:cubicBezTo>
                  <a:cubicBezTo>
                    <a:pt x="37" y="547"/>
                    <a:pt x="39" y="547"/>
                    <a:pt x="41" y="549"/>
                  </a:cubicBezTo>
                  <a:cubicBezTo>
                    <a:pt x="42" y="550"/>
                    <a:pt x="43" y="551"/>
                    <a:pt x="43" y="552"/>
                  </a:cubicBezTo>
                  <a:cubicBezTo>
                    <a:pt x="43" y="553"/>
                    <a:pt x="43" y="554"/>
                    <a:pt x="42" y="555"/>
                  </a:cubicBezTo>
                  <a:cubicBezTo>
                    <a:pt x="42" y="555"/>
                    <a:pt x="42" y="556"/>
                    <a:pt x="41" y="556"/>
                  </a:cubicBezTo>
                  <a:cubicBezTo>
                    <a:pt x="41" y="557"/>
                    <a:pt x="40" y="557"/>
                    <a:pt x="39" y="558"/>
                  </a:cubicBezTo>
                  <a:cubicBezTo>
                    <a:pt x="39" y="558"/>
                    <a:pt x="39" y="558"/>
                    <a:pt x="39" y="558"/>
                  </a:cubicBezTo>
                  <a:cubicBezTo>
                    <a:pt x="40" y="559"/>
                    <a:pt x="40" y="559"/>
                    <a:pt x="40" y="559"/>
                  </a:cubicBezTo>
                  <a:cubicBezTo>
                    <a:pt x="41" y="560"/>
                    <a:pt x="42" y="560"/>
                    <a:pt x="42" y="562"/>
                  </a:cubicBezTo>
                  <a:cubicBezTo>
                    <a:pt x="42" y="563"/>
                    <a:pt x="43" y="564"/>
                    <a:pt x="43" y="565"/>
                  </a:cubicBezTo>
                  <a:cubicBezTo>
                    <a:pt x="44" y="568"/>
                    <a:pt x="45" y="571"/>
                    <a:pt x="44" y="573"/>
                  </a:cubicBezTo>
                  <a:cubicBezTo>
                    <a:pt x="44" y="574"/>
                    <a:pt x="43" y="575"/>
                    <a:pt x="43" y="576"/>
                  </a:cubicBezTo>
                  <a:cubicBezTo>
                    <a:pt x="43" y="576"/>
                    <a:pt x="43" y="576"/>
                    <a:pt x="43" y="576"/>
                  </a:cubicBezTo>
                  <a:cubicBezTo>
                    <a:pt x="42" y="577"/>
                    <a:pt x="42" y="578"/>
                    <a:pt x="42" y="578"/>
                  </a:cubicBezTo>
                  <a:cubicBezTo>
                    <a:pt x="41" y="582"/>
                    <a:pt x="41" y="582"/>
                    <a:pt x="41" y="582"/>
                  </a:cubicBezTo>
                  <a:cubicBezTo>
                    <a:pt x="42" y="582"/>
                    <a:pt x="43" y="582"/>
                    <a:pt x="44" y="582"/>
                  </a:cubicBezTo>
                  <a:cubicBezTo>
                    <a:pt x="48" y="582"/>
                    <a:pt x="53" y="583"/>
                    <a:pt x="55" y="585"/>
                  </a:cubicBezTo>
                  <a:cubicBezTo>
                    <a:pt x="56" y="586"/>
                    <a:pt x="56" y="586"/>
                    <a:pt x="56" y="586"/>
                  </a:cubicBezTo>
                  <a:cubicBezTo>
                    <a:pt x="57" y="587"/>
                    <a:pt x="57" y="589"/>
                    <a:pt x="57" y="591"/>
                  </a:cubicBezTo>
                  <a:cubicBezTo>
                    <a:pt x="56" y="592"/>
                    <a:pt x="55" y="593"/>
                    <a:pt x="55" y="593"/>
                  </a:cubicBezTo>
                  <a:cubicBezTo>
                    <a:pt x="54" y="594"/>
                    <a:pt x="54" y="594"/>
                    <a:pt x="54" y="595"/>
                  </a:cubicBezTo>
                  <a:cubicBezTo>
                    <a:pt x="53" y="597"/>
                    <a:pt x="53" y="599"/>
                    <a:pt x="51" y="599"/>
                  </a:cubicBezTo>
                  <a:cubicBezTo>
                    <a:pt x="50" y="600"/>
                    <a:pt x="50" y="600"/>
                    <a:pt x="49" y="600"/>
                  </a:cubicBezTo>
                  <a:cubicBezTo>
                    <a:pt x="49" y="600"/>
                    <a:pt x="48" y="600"/>
                    <a:pt x="48" y="600"/>
                  </a:cubicBezTo>
                  <a:cubicBezTo>
                    <a:pt x="47" y="600"/>
                    <a:pt x="46" y="599"/>
                    <a:pt x="45" y="599"/>
                  </a:cubicBezTo>
                  <a:cubicBezTo>
                    <a:pt x="44" y="599"/>
                    <a:pt x="44" y="599"/>
                    <a:pt x="44" y="599"/>
                  </a:cubicBezTo>
                  <a:cubicBezTo>
                    <a:pt x="45" y="600"/>
                    <a:pt x="45" y="600"/>
                    <a:pt x="45" y="600"/>
                  </a:cubicBezTo>
                  <a:cubicBezTo>
                    <a:pt x="46" y="601"/>
                    <a:pt x="46" y="601"/>
                    <a:pt x="46" y="601"/>
                  </a:cubicBezTo>
                  <a:cubicBezTo>
                    <a:pt x="47" y="601"/>
                    <a:pt x="47" y="602"/>
                    <a:pt x="47" y="602"/>
                  </a:cubicBezTo>
                  <a:cubicBezTo>
                    <a:pt x="47" y="603"/>
                    <a:pt x="47" y="603"/>
                    <a:pt x="47" y="603"/>
                  </a:cubicBezTo>
                  <a:cubicBezTo>
                    <a:pt x="48" y="604"/>
                    <a:pt x="48" y="604"/>
                    <a:pt x="48" y="604"/>
                  </a:cubicBezTo>
                  <a:cubicBezTo>
                    <a:pt x="48" y="604"/>
                    <a:pt x="48" y="604"/>
                    <a:pt x="49" y="605"/>
                  </a:cubicBezTo>
                  <a:cubicBezTo>
                    <a:pt x="49" y="605"/>
                    <a:pt x="50" y="606"/>
                    <a:pt x="50" y="606"/>
                  </a:cubicBezTo>
                  <a:cubicBezTo>
                    <a:pt x="51" y="608"/>
                    <a:pt x="52" y="609"/>
                    <a:pt x="52" y="611"/>
                  </a:cubicBezTo>
                  <a:cubicBezTo>
                    <a:pt x="52" y="613"/>
                    <a:pt x="51" y="614"/>
                    <a:pt x="50" y="615"/>
                  </a:cubicBezTo>
                  <a:cubicBezTo>
                    <a:pt x="50" y="615"/>
                    <a:pt x="50" y="615"/>
                    <a:pt x="50" y="615"/>
                  </a:cubicBezTo>
                  <a:cubicBezTo>
                    <a:pt x="50" y="616"/>
                    <a:pt x="50" y="616"/>
                    <a:pt x="50" y="616"/>
                  </a:cubicBezTo>
                  <a:cubicBezTo>
                    <a:pt x="49" y="616"/>
                    <a:pt x="49" y="616"/>
                    <a:pt x="49" y="616"/>
                  </a:cubicBezTo>
                  <a:cubicBezTo>
                    <a:pt x="48" y="618"/>
                    <a:pt x="48" y="619"/>
                    <a:pt x="45" y="620"/>
                  </a:cubicBezTo>
                  <a:cubicBezTo>
                    <a:pt x="44" y="621"/>
                    <a:pt x="43" y="621"/>
                    <a:pt x="43" y="621"/>
                  </a:cubicBezTo>
                  <a:cubicBezTo>
                    <a:pt x="42" y="622"/>
                    <a:pt x="42" y="622"/>
                    <a:pt x="42" y="622"/>
                  </a:cubicBezTo>
                  <a:cubicBezTo>
                    <a:pt x="42" y="622"/>
                    <a:pt x="41" y="622"/>
                    <a:pt x="41" y="623"/>
                  </a:cubicBezTo>
                  <a:cubicBezTo>
                    <a:pt x="41" y="624"/>
                    <a:pt x="42" y="624"/>
                    <a:pt x="42" y="625"/>
                  </a:cubicBezTo>
                  <a:cubicBezTo>
                    <a:pt x="42" y="626"/>
                    <a:pt x="43" y="626"/>
                    <a:pt x="43" y="627"/>
                  </a:cubicBezTo>
                  <a:cubicBezTo>
                    <a:pt x="43" y="627"/>
                    <a:pt x="43" y="627"/>
                    <a:pt x="43" y="627"/>
                  </a:cubicBezTo>
                  <a:cubicBezTo>
                    <a:pt x="44" y="629"/>
                    <a:pt x="45" y="631"/>
                    <a:pt x="44" y="633"/>
                  </a:cubicBezTo>
                  <a:cubicBezTo>
                    <a:pt x="43" y="634"/>
                    <a:pt x="43" y="634"/>
                    <a:pt x="43" y="634"/>
                  </a:cubicBezTo>
                  <a:cubicBezTo>
                    <a:pt x="43" y="634"/>
                    <a:pt x="43" y="635"/>
                    <a:pt x="42" y="635"/>
                  </a:cubicBezTo>
                  <a:cubicBezTo>
                    <a:pt x="40" y="638"/>
                    <a:pt x="40" y="638"/>
                    <a:pt x="40" y="638"/>
                  </a:cubicBezTo>
                  <a:cubicBezTo>
                    <a:pt x="42" y="645"/>
                    <a:pt x="42" y="645"/>
                    <a:pt x="42" y="645"/>
                  </a:cubicBezTo>
                  <a:cubicBezTo>
                    <a:pt x="43" y="646"/>
                    <a:pt x="43" y="646"/>
                    <a:pt x="43" y="646"/>
                  </a:cubicBezTo>
                  <a:cubicBezTo>
                    <a:pt x="43" y="648"/>
                    <a:pt x="44" y="651"/>
                    <a:pt x="43" y="653"/>
                  </a:cubicBezTo>
                  <a:cubicBezTo>
                    <a:pt x="43" y="654"/>
                    <a:pt x="41" y="655"/>
                    <a:pt x="41" y="655"/>
                  </a:cubicBezTo>
                  <a:cubicBezTo>
                    <a:pt x="40" y="656"/>
                    <a:pt x="40" y="656"/>
                    <a:pt x="40" y="656"/>
                  </a:cubicBezTo>
                  <a:cubicBezTo>
                    <a:pt x="40" y="656"/>
                    <a:pt x="39" y="657"/>
                    <a:pt x="39" y="657"/>
                  </a:cubicBezTo>
                  <a:cubicBezTo>
                    <a:pt x="37" y="659"/>
                    <a:pt x="37" y="659"/>
                    <a:pt x="38" y="663"/>
                  </a:cubicBezTo>
                  <a:cubicBezTo>
                    <a:pt x="39" y="666"/>
                    <a:pt x="39" y="666"/>
                    <a:pt x="39" y="666"/>
                  </a:cubicBezTo>
                  <a:cubicBezTo>
                    <a:pt x="40" y="669"/>
                    <a:pt x="37" y="670"/>
                    <a:pt x="36" y="671"/>
                  </a:cubicBezTo>
                  <a:cubicBezTo>
                    <a:pt x="36" y="671"/>
                    <a:pt x="35" y="672"/>
                    <a:pt x="34" y="672"/>
                  </a:cubicBezTo>
                  <a:cubicBezTo>
                    <a:pt x="33" y="671"/>
                    <a:pt x="33" y="671"/>
                    <a:pt x="33" y="671"/>
                  </a:cubicBezTo>
                  <a:cubicBezTo>
                    <a:pt x="33" y="671"/>
                    <a:pt x="33" y="671"/>
                    <a:pt x="33" y="671"/>
                  </a:cubicBezTo>
                  <a:cubicBezTo>
                    <a:pt x="33" y="672"/>
                    <a:pt x="33" y="672"/>
                    <a:pt x="33" y="672"/>
                  </a:cubicBezTo>
                  <a:cubicBezTo>
                    <a:pt x="33" y="673"/>
                    <a:pt x="32" y="673"/>
                    <a:pt x="32" y="673"/>
                  </a:cubicBezTo>
                  <a:cubicBezTo>
                    <a:pt x="31" y="674"/>
                    <a:pt x="31" y="674"/>
                    <a:pt x="31" y="674"/>
                  </a:cubicBezTo>
                  <a:cubicBezTo>
                    <a:pt x="30" y="674"/>
                    <a:pt x="30" y="675"/>
                    <a:pt x="29" y="675"/>
                  </a:cubicBezTo>
                  <a:cubicBezTo>
                    <a:pt x="29" y="675"/>
                    <a:pt x="29" y="676"/>
                    <a:pt x="29" y="676"/>
                  </a:cubicBezTo>
                  <a:cubicBezTo>
                    <a:pt x="28" y="677"/>
                    <a:pt x="28" y="677"/>
                    <a:pt x="28" y="677"/>
                  </a:cubicBezTo>
                  <a:cubicBezTo>
                    <a:pt x="25" y="686"/>
                    <a:pt x="25" y="686"/>
                    <a:pt x="25" y="686"/>
                  </a:cubicBezTo>
                  <a:cubicBezTo>
                    <a:pt x="24" y="686"/>
                    <a:pt x="24" y="687"/>
                    <a:pt x="24" y="687"/>
                  </a:cubicBezTo>
                  <a:cubicBezTo>
                    <a:pt x="24" y="687"/>
                    <a:pt x="24" y="687"/>
                    <a:pt x="24" y="687"/>
                  </a:cubicBezTo>
                  <a:cubicBezTo>
                    <a:pt x="25" y="688"/>
                    <a:pt x="25" y="688"/>
                    <a:pt x="25" y="688"/>
                  </a:cubicBezTo>
                  <a:cubicBezTo>
                    <a:pt x="25" y="688"/>
                    <a:pt x="25" y="688"/>
                    <a:pt x="25" y="688"/>
                  </a:cubicBezTo>
                  <a:cubicBezTo>
                    <a:pt x="27" y="689"/>
                    <a:pt x="28" y="690"/>
                    <a:pt x="29" y="691"/>
                  </a:cubicBezTo>
                  <a:cubicBezTo>
                    <a:pt x="29" y="692"/>
                    <a:pt x="29" y="694"/>
                    <a:pt x="29" y="695"/>
                  </a:cubicBezTo>
                  <a:cubicBezTo>
                    <a:pt x="29" y="695"/>
                    <a:pt x="29" y="697"/>
                    <a:pt x="29" y="698"/>
                  </a:cubicBezTo>
                  <a:cubicBezTo>
                    <a:pt x="29" y="698"/>
                    <a:pt x="29" y="699"/>
                    <a:pt x="29" y="701"/>
                  </a:cubicBezTo>
                  <a:cubicBezTo>
                    <a:pt x="29" y="702"/>
                    <a:pt x="28" y="703"/>
                    <a:pt x="27" y="703"/>
                  </a:cubicBezTo>
                  <a:cubicBezTo>
                    <a:pt x="26" y="703"/>
                    <a:pt x="25" y="704"/>
                    <a:pt x="25" y="705"/>
                  </a:cubicBezTo>
                  <a:cubicBezTo>
                    <a:pt x="25" y="705"/>
                    <a:pt x="25" y="705"/>
                    <a:pt x="25" y="705"/>
                  </a:cubicBezTo>
                  <a:cubicBezTo>
                    <a:pt x="24" y="705"/>
                    <a:pt x="23" y="705"/>
                    <a:pt x="23" y="705"/>
                  </a:cubicBezTo>
                  <a:cubicBezTo>
                    <a:pt x="23" y="705"/>
                    <a:pt x="23" y="705"/>
                    <a:pt x="23" y="705"/>
                  </a:cubicBezTo>
                  <a:cubicBezTo>
                    <a:pt x="23" y="706"/>
                    <a:pt x="23" y="706"/>
                    <a:pt x="23" y="706"/>
                  </a:cubicBezTo>
                  <a:cubicBezTo>
                    <a:pt x="23" y="706"/>
                    <a:pt x="23" y="706"/>
                    <a:pt x="23" y="706"/>
                  </a:cubicBezTo>
                  <a:cubicBezTo>
                    <a:pt x="23" y="708"/>
                    <a:pt x="23" y="708"/>
                    <a:pt x="23" y="708"/>
                  </a:cubicBezTo>
                  <a:cubicBezTo>
                    <a:pt x="23" y="710"/>
                    <a:pt x="23" y="711"/>
                    <a:pt x="23" y="711"/>
                  </a:cubicBezTo>
                  <a:cubicBezTo>
                    <a:pt x="23" y="712"/>
                    <a:pt x="23" y="712"/>
                    <a:pt x="23" y="712"/>
                  </a:cubicBezTo>
                  <a:cubicBezTo>
                    <a:pt x="23" y="716"/>
                    <a:pt x="21" y="717"/>
                    <a:pt x="19" y="718"/>
                  </a:cubicBezTo>
                  <a:cubicBezTo>
                    <a:pt x="19" y="719"/>
                    <a:pt x="18" y="719"/>
                    <a:pt x="18" y="719"/>
                  </a:cubicBezTo>
                  <a:cubicBezTo>
                    <a:pt x="17" y="720"/>
                    <a:pt x="17" y="720"/>
                    <a:pt x="17" y="720"/>
                  </a:cubicBezTo>
                  <a:cubicBezTo>
                    <a:pt x="16" y="721"/>
                    <a:pt x="15" y="721"/>
                    <a:pt x="15" y="722"/>
                  </a:cubicBezTo>
                  <a:cubicBezTo>
                    <a:pt x="15" y="722"/>
                    <a:pt x="14" y="723"/>
                    <a:pt x="14" y="724"/>
                  </a:cubicBezTo>
                  <a:cubicBezTo>
                    <a:pt x="11" y="727"/>
                    <a:pt x="9" y="730"/>
                    <a:pt x="7" y="730"/>
                  </a:cubicBezTo>
                  <a:cubicBezTo>
                    <a:pt x="6" y="731"/>
                    <a:pt x="4" y="731"/>
                    <a:pt x="3" y="731"/>
                  </a:cubicBezTo>
                  <a:cubicBezTo>
                    <a:pt x="2" y="731"/>
                    <a:pt x="2" y="732"/>
                    <a:pt x="1" y="732"/>
                  </a:cubicBezTo>
                  <a:cubicBezTo>
                    <a:pt x="1" y="733"/>
                    <a:pt x="0" y="734"/>
                    <a:pt x="0" y="735"/>
                  </a:cubicBezTo>
                  <a:cubicBezTo>
                    <a:pt x="1" y="736"/>
                    <a:pt x="1" y="736"/>
                    <a:pt x="1" y="736"/>
                  </a:cubicBezTo>
                  <a:cubicBezTo>
                    <a:pt x="1" y="737"/>
                    <a:pt x="1" y="737"/>
                    <a:pt x="1" y="738"/>
                  </a:cubicBezTo>
                  <a:cubicBezTo>
                    <a:pt x="1" y="740"/>
                    <a:pt x="1" y="742"/>
                    <a:pt x="1" y="744"/>
                  </a:cubicBezTo>
                  <a:cubicBezTo>
                    <a:pt x="1" y="746"/>
                    <a:pt x="0" y="748"/>
                    <a:pt x="1" y="749"/>
                  </a:cubicBezTo>
                  <a:cubicBezTo>
                    <a:pt x="1" y="751"/>
                    <a:pt x="1" y="751"/>
                    <a:pt x="1" y="751"/>
                  </a:cubicBezTo>
                  <a:cubicBezTo>
                    <a:pt x="1" y="752"/>
                    <a:pt x="1" y="752"/>
                    <a:pt x="1" y="752"/>
                  </a:cubicBezTo>
                  <a:cubicBezTo>
                    <a:pt x="1" y="752"/>
                    <a:pt x="1" y="752"/>
                    <a:pt x="1" y="752"/>
                  </a:cubicBezTo>
                  <a:cubicBezTo>
                    <a:pt x="1" y="753"/>
                    <a:pt x="1" y="753"/>
                    <a:pt x="1" y="753"/>
                  </a:cubicBezTo>
                  <a:cubicBezTo>
                    <a:pt x="2" y="753"/>
                    <a:pt x="2" y="753"/>
                    <a:pt x="2" y="753"/>
                  </a:cubicBezTo>
                  <a:cubicBezTo>
                    <a:pt x="3" y="754"/>
                    <a:pt x="3" y="754"/>
                    <a:pt x="3" y="754"/>
                  </a:cubicBezTo>
                  <a:cubicBezTo>
                    <a:pt x="3" y="754"/>
                    <a:pt x="4" y="755"/>
                    <a:pt x="5" y="756"/>
                  </a:cubicBezTo>
                  <a:cubicBezTo>
                    <a:pt x="6" y="757"/>
                    <a:pt x="6" y="758"/>
                    <a:pt x="6" y="759"/>
                  </a:cubicBezTo>
                  <a:cubicBezTo>
                    <a:pt x="7" y="761"/>
                    <a:pt x="7" y="761"/>
                    <a:pt x="7" y="761"/>
                  </a:cubicBezTo>
                  <a:cubicBezTo>
                    <a:pt x="7" y="762"/>
                    <a:pt x="7" y="763"/>
                    <a:pt x="7" y="764"/>
                  </a:cubicBezTo>
                  <a:cubicBezTo>
                    <a:pt x="7" y="765"/>
                    <a:pt x="8" y="766"/>
                    <a:pt x="8" y="767"/>
                  </a:cubicBezTo>
                  <a:cubicBezTo>
                    <a:pt x="8" y="770"/>
                    <a:pt x="8" y="770"/>
                    <a:pt x="8" y="770"/>
                  </a:cubicBezTo>
                  <a:cubicBezTo>
                    <a:pt x="8" y="770"/>
                    <a:pt x="8" y="770"/>
                    <a:pt x="8" y="770"/>
                  </a:cubicBezTo>
                  <a:cubicBezTo>
                    <a:pt x="8" y="770"/>
                    <a:pt x="8" y="770"/>
                    <a:pt x="8" y="770"/>
                  </a:cubicBezTo>
                  <a:cubicBezTo>
                    <a:pt x="9" y="770"/>
                    <a:pt x="9" y="770"/>
                    <a:pt x="9" y="770"/>
                  </a:cubicBezTo>
                  <a:cubicBezTo>
                    <a:pt x="9" y="769"/>
                    <a:pt x="10" y="769"/>
                    <a:pt x="10" y="769"/>
                  </a:cubicBezTo>
                  <a:cubicBezTo>
                    <a:pt x="10" y="769"/>
                    <a:pt x="10" y="769"/>
                    <a:pt x="10" y="769"/>
                  </a:cubicBezTo>
                  <a:cubicBezTo>
                    <a:pt x="11" y="768"/>
                    <a:pt x="12" y="767"/>
                    <a:pt x="12" y="767"/>
                  </a:cubicBezTo>
                  <a:cubicBezTo>
                    <a:pt x="14" y="766"/>
                    <a:pt x="15" y="766"/>
                    <a:pt x="16" y="766"/>
                  </a:cubicBezTo>
                  <a:cubicBezTo>
                    <a:pt x="16" y="766"/>
                    <a:pt x="16" y="766"/>
                    <a:pt x="17" y="766"/>
                  </a:cubicBezTo>
                  <a:cubicBezTo>
                    <a:pt x="18" y="766"/>
                    <a:pt x="18" y="766"/>
                    <a:pt x="19" y="767"/>
                  </a:cubicBezTo>
                  <a:cubicBezTo>
                    <a:pt x="19" y="766"/>
                    <a:pt x="19" y="766"/>
                    <a:pt x="19" y="766"/>
                  </a:cubicBezTo>
                  <a:cubicBezTo>
                    <a:pt x="21" y="766"/>
                    <a:pt x="23" y="765"/>
                    <a:pt x="24" y="765"/>
                  </a:cubicBezTo>
                  <a:cubicBezTo>
                    <a:pt x="25" y="765"/>
                    <a:pt x="25" y="765"/>
                    <a:pt x="25" y="765"/>
                  </a:cubicBezTo>
                  <a:cubicBezTo>
                    <a:pt x="25" y="764"/>
                    <a:pt x="25" y="764"/>
                    <a:pt x="25" y="764"/>
                  </a:cubicBezTo>
                  <a:cubicBezTo>
                    <a:pt x="25" y="766"/>
                    <a:pt x="25" y="766"/>
                    <a:pt x="25" y="766"/>
                  </a:cubicBezTo>
                  <a:cubicBezTo>
                    <a:pt x="26" y="766"/>
                    <a:pt x="27" y="766"/>
                    <a:pt x="28" y="766"/>
                  </a:cubicBezTo>
                  <a:cubicBezTo>
                    <a:pt x="29" y="767"/>
                    <a:pt x="29" y="768"/>
                    <a:pt x="29" y="769"/>
                  </a:cubicBezTo>
                  <a:cubicBezTo>
                    <a:pt x="29" y="770"/>
                    <a:pt x="29" y="770"/>
                    <a:pt x="29" y="770"/>
                  </a:cubicBezTo>
                  <a:cubicBezTo>
                    <a:pt x="30" y="772"/>
                    <a:pt x="30" y="773"/>
                    <a:pt x="30" y="775"/>
                  </a:cubicBezTo>
                  <a:cubicBezTo>
                    <a:pt x="30" y="776"/>
                    <a:pt x="30" y="778"/>
                    <a:pt x="30" y="780"/>
                  </a:cubicBezTo>
                  <a:cubicBezTo>
                    <a:pt x="29" y="782"/>
                    <a:pt x="29" y="783"/>
                    <a:pt x="28" y="784"/>
                  </a:cubicBezTo>
                  <a:cubicBezTo>
                    <a:pt x="28" y="784"/>
                    <a:pt x="28" y="784"/>
                    <a:pt x="28" y="784"/>
                  </a:cubicBezTo>
                  <a:cubicBezTo>
                    <a:pt x="28" y="785"/>
                    <a:pt x="28" y="785"/>
                    <a:pt x="28" y="785"/>
                  </a:cubicBezTo>
                  <a:cubicBezTo>
                    <a:pt x="29" y="786"/>
                    <a:pt x="30" y="787"/>
                    <a:pt x="30" y="788"/>
                  </a:cubicBezTo>
                  <a:cubicBezTo>
                    <a:pt x="30" y="790"/>
                    <a:pt x="29" y="793"/>
                    <a:pt x="28" y="794"/>
                  </a:cubicBezTo>
                  <a:cubicBezTo>
                    <a:pt x="28" y="795"/>
                    <a:pt x="28" y="796"/>
                    <a:pt x="27" y="796"/>
                  </a:cubicBezTo>
                  <a:cubicBezTo>
                    <a:pt x="27" y="797"/>
                    <a:pt x="27" y="797"/>
                    <a:pt x="27" y="797"/>
                  </a:cubicBezTo>
                  <a:cubicBezTo>
                    <a:pt x="28" y="799"/>
                    <a:pt x="28" y="799"/>
                    <a:pt x="29" y="799"/>
                  </a:cubicBezTo>
                  <a:cubicBezTo>
                    <a:pt x="31" y="800"/>
                    <a:pt x="31" y="800"/>
                    <a:pt x="31" y="800"/>
                  </a:cubicBezTo>
                  <a:cubicBezTo>
                    <a:pt x="31" y="800"/>
                    <a:pt x="31" y="800"/>
                    <a:pt x="31" y="801"/>
                  </a:cubicBezTo>
                  <a:cubicBezTo>
                    <a:pt x="32" y="801"/>
                    <a:pt x="33" y="802"/>
                    <a:pt x="34" y="803"/>
                  </a:cubicBezTo>
                  <a:cubicBezTo>
                    <a:pt x="35" y="804"/>
                    <a:pt x="36" y="806"/>
                    <a:pt x="36" y="807"/>
                  </a:cubicBezTo>
                  <a:cubicBezTo>
                    <a:pt x="36" y="807"/>
                    <a:pt x="37" y="807"/>
                    <a:pt x="37" y="808"/>
                  </a:cubicBezTo>
                  <a:cubicBezTo>
                    <a:pt x="37" y="808"/>
                    <a:pt x="37" y="808"/>
                    <a:pt x="38" y="808"/>
                  </a:cubicBezTo>
                  <a:cubicBezTo>
                    <a:pt x="60" y="808"/>
                    <a:pt x="60" y="808"/>
                    <a:pt x="60" y="808"/>
                  </a:cubicBezTo>
                  <a:cubicBezTo>
                    <a:pt x="62" y="808"/>
                    <a:pt x="64" y="808"/>
                    <a:pt x="66" y="808"/>
                  </a:cubicBezTo>
                  <a:cubicBezTo>
                    <a:pt x="68" y="808"/>
                    <a:pt x="71" y="808"/>
                    <a:pt x="73" y="808"/>
                  </a:cubicBezTo>
                  <a:cubicBezTo>
                    <a:pt x="75" y="808"/>
                    <a:pt x="78" y="808"/>
                    <a:pt x="80" y="808"/>
                  </a:cubicBezTo>
                  <a:cubicBezTo>
                    <a:pt x="81" y="808"/>
                    <a:pt x="81" y="808"/>
                    <a:pt x="81" y="808"/>
                  </a:cubicBezTo>
                  <a:cubicBezTo>
                    <a:pt x="81" y="808"/>
                    <a:pt x="82" y="809"/>
                    <a:pt x="82" y="809"/>
                  </a:cubicBezTo>
                  <a:cubicBezTo>
                    <a:pt x="84" y="809"/>
                    <a:pt x="86" y="810"/>
                    <a:pt x="87" y="810"/>
                  </a:cubicBezTo>
                  <a:cubicBezTo>
                    <a:pt x="88" y="810"/>
                    <a:pt x="88" y="810"/>
                    <a:pt x="88" y="810"/>
                  </a:cubicBezTo>
                  <a:cubicBezTo>
                    <a:pt x="90" y="811"/>
                    <a:pt x="91" y="812"/>
                    <a:pt x="93" y="812"/>
                  </a:cubicBezTo>
                  <a:cubicBezTo>
                    <a:pt x="94" y="812"/>
                    <a:pt x="96" y="812"/>
                    <a:pt x="98" y="813"/>
                  </a:cubicBezTo>
                  <a:cubicBezTo>
                    <a:pt x="103" y="814"/>
                    <a:pt x="109" y="817"/>
                    <a:pt x="114" y="819"/>
                  </a:cubicBezTo>
                  <a:cubicBezTo>
                    <a:pt x="111" y="814"/>
                    <a:pt x="108" y="809"/>
                    <a:pt x="106" y="804"/>
                  </a:cubicBezTo>
                  <a:cubicBezTo>
                    <a:pt x="105" y="802"/>
                    <a:pt x="104" y="800"/>
                    <a:pt x="102" y="799"/>
                  </a:cubicBezTo>
                  <a:cubicBezTo>
                    <a:pt x="102" y="799"/>
                    <a:pt x="102" y="799"/>
                    <a:pt x="102" y="799"/>
                  </a:cubicBezTo>
                  <a:cubicBezTo>
                    <a:pt x="102" y="799"/>
                    <a:pt x="102" y="800"/>
                    <a:pt x="101" y="800"/>
                  </a:cubicBezTo>
                  <a:cubicBezTo>
                    <a:pt x="101" y="800"/>
                    <a:pt x="101" y="800"/>
                    <a:pt x="100" y="800"/>
                  </a:cubicBezTo>
                  <a:cubicBezTo>
                    <a:pt x="100" y="800"/>
                    <a:pt x="100" y="800"/>
                    <a:pt x="100" y="800"/>
                  </a:cubicBezTo>
                  <a:cubicBezTo>
                    <a:pt x="99" y="800"/>
                    <a:pt x="97" y="799"/>
                    <a:pt x="96" y="799"/>
                  </a:cubicBezTo>
                  <a:cubicBezTo>
                    <a:pt x="95" y="799"/>
                    <a:pt x="95" y="799"/>
                    <a:pt x="94" y="799"/>
                  </a:cubicBezTo>
                  <a:cubicBezTo>
                    <a:pt x="92" y="799"/>
                    <a:pt x="91" y="799"/>
                    <a:pt x="89" y="799"/>
                  </a:cubicBezTo>
                  <a:cubicBezTo>
                    <a:pt x="91" y="799"/>
                    <a:pt x="93" y="798"/>
                    <a:pt x="95" y="798"/>
                  </a:cubicBezTo>
                  <a:cubicBezTo>
                    <a:pt x="96" y="798"/>
                    <a:pt x="96" y="798"/>
                    <a:pt x="97" y="798"/>
                  </a:cubicBezTo>
                  <a:cubicBezTo>
                    <a:pt x="98" y="798"/>
                    <a:pt x="99" y="799"/>
                    <a:pt x="100" y="799"/>
                  </a:cubicBezTo>
                  <a:cubicBezTo>
                    <a:pt x="100" y="799"/>
                    <a:pt x="100" y="799"/>
                    <a:pt x="100" y="799"/>
                  </a:cubicBezTo>
                  <a:cubicBezTo>
                    <a:pt x="101" y="799"/>
                    <a:pt x="101" y="798"/>
                    <a:pt x="102" y="798"/>
                  </a:cubicBezTo>
                  <a:cubicBezTo>
                    <a:pt x="103" y="798"/>
                    <a:pt x="103" y="798"/>
                    <a:pt x="103" y="798"/>
                  </a:cubicBezTo>
                  <a:cubicBezTo>
                    <a:pt x="102" y="792"/>
                    <a:pt x="101" y="785"/>
                    <a:pt x="98" y="779"/>
                  </a:cubicBezTo>
                  <a:cubicBezTo>
                    <a:pt x="97" y="780"/>
                    <a:pt x="95" y="781"/>
                    <a:pt x="94" y="783"/>
                  </a:cubicBezTo>
                  <a:cubicBezTo>
                    <a:pt x="94" y="782"/>
                    <a:pt x="94" y="782"/>
                    <a:pt x="94" y="782"/>
                  </a:cubicBezTo>
                  <a:cubicBezTo>
                    <a:pt x="94" y="780"/>
                    <a:pt x="98" y="779"/>
                    <a:pt x="99" y="777"/>
                  </a:cubicBezTo>
                  <a:cubicBezTo>
                    <a:pt x="101" y="775"/>
                    <a:pt x="99" y="772"/>
                    <a:pt x="100" y="770"/>
                  </a:cubicBezTo>
                  <a:cubicBezTo>
                    <a:pt x="102" y="767"/>
                    <a:pt x="104" y="764"/>
                    <a:pt x="105" y="761"/>
                  </a:cubicBezTo>
                  <a:cubicBezTo>
                    <a:pt x="107" y="759"/>
                    <a:pt x="109" y="758"/>
                    <a:pt x="111" y="757"/>
                  </a:cubicBezTo>
                  <a:cubicBezTo>
                    <a:pt x="113" y="757"/>
                    <a:pt x="118" y="755"/>
                    <a:pt x="117" y="754"/>
                  </a:cubicBezTo>
                  <a:cubicBezTo>
                    <a:pt x="116" y="753"/>
                    <a:pt x="116" y="753"/>
                    <a:pt x="116" y="753"/>
                  </a:cubicBezTo>
                  <a:cubicBezTo>
                    <a:pt x="115" y="752"/>
                    <a:pt x="114" y="750"/>
                    <a:pt x="113" y="750"/>
                  </a:cubicBezTo>
                  <a:cubicBezTo>
                    <a:pt x="113" y="749"/>
                    <a:pt x="112" y="749"/>
                    <a:pt x="111" y="749"/>
                  </a:cubicBezTo>
                  <a:cubicBezTo>
                    <a:pt x="110" y="749"/>
                    <a:pt x="109" y="749"/>
                    <a:pt x="107" y="750"/>
                  </a:cubicBezTo>
                  <a:cubicBezTo>
                    <a:pt x="106" y="750"/>
                    <a:pt x="105" y="750"/>
                    <a:pt x="104" y="750"/>
                  </a:cubicBezTo>
                  <a:cubicBezTo>
                    <a:pt x="104" y="750"/>
                    <a:pt x="103" y="750"/>
                    <a:pt x="103" y="750"/>
                  </a:cubicBezTo>
                  <a:cubicBezTo>
                    <a:pt x="105" y="749"/>
                    <a:pt x="108" y="749"/>
                    <a:pt x="110" y="748"/>
                  </a:cubicBezTo>
                  <a:cubicBezTo>
                    <a:pt x="114" y="747"/>
                    <a:pt x="111" y="744"/>
                    <a:pt x="109" y="742"/>
                  </a:cubicBezTo>
                  <a:cubicBezTo>
                    <a:pt x="113" y="742"/>
                    <a:pt x="113" y="751"/>
                    <a:pt x="118" y="753"/>
                  </a:cubicBezTo>
                  <a:cubicBezTo>
                    <a:pt x="118" y="753"/>
                    <a:pt x="118" y="753"/>
                    <a:pt x="118" y="753"/>
                  </a:cubicBezTo>
                  <a:cubicBezTo>
                    <a:pt x="121" y="753"/>
                    <a:pt x="130" y="749"/>
                    <a:pt x="131" y="747"/>
                  </a:cubicBezTo>
                  <a:cubicBezTo>
                    <a:pt x="132" y="746"/>
                    <a:pt x="132" y="744"/>
                    <a:pt x="132" y="743"/>
                  </a:cubicBezTo>
                  <a:cubicBezTo>
                    <a:pt x="133" y="738"/>
                    <a:pt x="135" y="732"/>
                    <a:pt x="135" y="727"/>
                  </a:cubicBezTo>
                  <a:cubicBezTo>
                    <a:pt x="134" y="729"/>
                    <a:pt x="132" y="730"/>
                    <a:pt x="130" y="731"/>
                  </a:cubicBezTo>
                  <a:cubicBezTo>
                    <a:pt x="131" y="729"/>
                    <a:pt x="133" y="728"/>
                    <a:pt x="134" y="726"/>
                  </a:cubicBezTo>
                  <a:cubicBezTo>
                    <a:pt x="138" y="719"/>
                    <a:pt x="142" y="716"/>
                    <a:pt x="147" y="711"/>
                  </a:cubicBezTo>
                  <a:cubicBezTo>
                    <a:pt x="152" y="707"/>
                    <a:pt x="156" y="704"/>
                    <a:pt x="161" y="701"/>
                  </a:cubicBezTo>
                  <a:cubicBezTo>
                    <a:pt x="166" y="698"/>
                    <a:pt x="173" y="696"/>
                    <a:pt x="177" y="690"/>
                  </a:cubicBezTo>
                  <a:cubicBezTo>
                    <a:pt x="178" y="688"/>
                    <a:pt x="177" y="688"/>
                    <a:pt x="175" y="687"/>
                  </a:cubicBezTo>
                  <a:cubicBezTo>
                    <a:pt x="175" y="685"/>
                    <a:pt x="176" y="684"/>
                    <a:pt x="173" y="684"/>
                  </a:cubicBezTo>
                  <a:cubicBezTo>
                    <a:pt x="173" y="684"/>
                    <a:pt x="173" y="684"/>
                    <a:pt x="173" y="684"/>
                  </a:cubicBezTo>
                  <a:cubicBezTo>
                    <a:pt x="174" y="683"/>
                    <a:pt x="175" y="683"/>
                    <a:pt x="176" y="682"/>
                  </a:cubicBezTo>
                  <a:cubicBezTo>
                    <a:pt x="177" y="680"/>
                    <a:pt x="178" y="677"/>
                    <a:pt x="178" y="675"/>
                  </a:cubicBezTo>
                  <a:cubicBezTo>
                    <a:pt x="179" y="674"/>
                    <a:pt x="179" y="672"/>
                    <a:pt x="179" y="671"/>
                  </a:cubicBezTo>
                  <a:cubicBezTo>
                    <a:pt x="179" y="669"/>
                    <a:pt x="179" y="667"/>
                    <a:pt x="177" y="666"/>
                  </a:cubicBezTo>
                  <a:cubicBezTo>
                    <a:pt x="173" y="665"/>
                    <a:pt x="169" y="664"/>
                    <a:pt x="165" y="663"/>
                  </a:cubicBezTo>
                  <a:cubicBezTo>
                    <a:pt x="160" y="662"/>
                    <a:pt x="156" y="661"/>
                    <a:pt x="153" y="659"/>
                  </a:cubicBezTo>
                  <a:cubicBezTo>
                    <a:pt x="150" y="657"/>
                    <a:pt x="148" y="655"/>
                    <a:pt x="146" y="653"/>
                  </a:cubicBezTo>
                  <a:cubicBezTo>
                    <a:pt x="140" y="648"/>
                    <a:pt x="136" y="644"/>
                    <a:pt x="135" y="636"/>
                  </a:cubicBezTo>
                  <a:cubicBezTo>
                    <a:pt x="135" y="632"/>
                    <a:pt x="138" y="629"/>
                    <a:pt x="140" y="625"/>
                  </a:cubicBezTo>
                  <a:cubicBezTo>
                    <a:pt x="143" y="621"/>
                    <a:pt x="146" y="614"/>
                    <a:pt x="150" y="610"/>
                  </a:cubicBezTo>
                  <a:cubicBezTo>
                    <a:pt x="152" y="609"/>
                    <a:pt x="153" y="609"/>
                    <a:pt x="155" y="608"/>
                  </a:cubicBezTo>
                  <a:cubicBezTo>
                    <a:pt x="158" y="606"/>
                    <a:pt x="161" y="605"/>
                    <a:pt x="164" y="603"/>
                  </a:cubicBezTo>
                  <a:cubicBezTo>
                    <a:pt x="167" y="602"/>
                    <a:pt x="168" y="602"/>
                    <a:pt x="169" y="602"/>
                  </a:cubicBezTo>
                  <a:cubicBezTo>
                    <a:pt x="170" y="602"/>
                    <a:pt x="172" y="602"/>
                    <a:pt x="173" y="602"/>
                  </a:cubicBezTo>
                  <a:cubicBezTo>
                    <a:pt x="175" y="602"/>
                    <a:pt x="177" y="603"/>
                    <a:pt x="179" y="603"/>
                  </a:cubicBezTo>
                  <a:cubicBezTo>
                    <a:pt x="181" y="603"/>
                    <a:pt x="182" y="603"/>
                    <a:pt x="183" y="601"/>
                  </a:cubicBezTo>
                  <a:cubicBezTo>
                    <a:pt x="184" y="598"/>
                    <a:pt x="180" y="597"/>
                    <a:pt x="180" y="595"/>
                  </a:cubicBezTo>
                  <a:cubicBezTo>
                    <a:pt x="180" y="593"/>
                    <a:pt x="182" y="592"/>
                    <a:pt x="183" y="591"/>
                  </a:cubicBezTo>
                  <a:cubicBezTo>
                    <a:pt x="186" y="589"/>
                    <a:pt x="189" y="586"/>
                    <a:pt x="190" y="583"/>
                  </a:cubicBezTo>
                  <a:cubicBezTo>
                    <a:pt x="191" y="581"/>
                    <a:pt x="191" y="575"/>
                    <a:pt x="191" y="573"/>
                  </a:cubicBezTo>
                  <a:cubicBezTo>
                    <a:pt x="191" y="573"/>
                    <a:pt x="191" y="573"/>
                    <a:pt x="191" y="573"/>
                  </a:cubicBezTo>
                  <a:cubicBezTo>
                    <a:pt x="189" y="573"/>
                    <a:pt x="188" y="568"/>
                    <a:pt x="188" y="567"/>
                  </a:cubicBezTo>
                  <a:cubicBezTo>
                    <a:pt x="191" y="563"/>
                    <a:pt x="193" y="557"/>
                    <a:pt x="196" y="553"/>
                  </a:cubicBezTo>
                  <a:cubicBezTo>
                    <a:pt x="199" y="551"/>
                    <a:pt x="201" y="550"/>
                    <a:pt x="204" y="549"/>
                  </a:cubicBezTo>
                  <a:cubicBezTo>
                    <a:pt x="205" y="549"/>
                    <a:pt x="213" y="546"/>
                    <a:pt x="212" y="544"/>
                  </a:cubicBezTo>
                  <a:cubicBezTo>
                    <a:pt x="208" y="545"/>
                    <a:pt x="208" y="545"/>
                    <a:pt x="208" y="545"/>
                  </a:cubicBezTo>
                  <a:cubicBezTo>
                    <a:pt x="204" y="545"/>
                    <a:pt x="199" y="541"/>
                    <a:pt x="196" y="538"/>
                  </a:cubicBezTo>
                  <a:cubicBezTo>
                    <a:pt x="197" y="535"/>
                    <a:pt x="204" y="532"/>
                    <a:pt x="207" y="532"/>
                  </a:cubicBezTo>
                  <a:cubicBezTo>
                    <a:pt x="207" y="532"/>
                    <a:pt x="207" y="532"/>
                    <a:pt x="207" y="532"/>
                  </a:cubicBezTo>
                  <a:cubicBezTo>
                    <a:pt x="211" y="532"/>
                    <a:pt x="215" y="535"/>
                    <a:pt x="214" y="538"/>
                  </a:cubicBezTo>
                  <a:cubicBezTo>
                    <a:pt x="218" y="539"/>
                    <a:pt x="223" y="539"/>
                    <a:pt x="228" y="539"/>
                  </a:cubicBezTo>
                  <a:cubicBezTo>
                    <a:pt x="228" y="534"/>
                    <a:pt x="230" y="521"/>
                    <a:pt x="223" y="521"/>
                  </a:cubicBezTo>
                  <a:cubicBezTo>
                    <a:pt x="223" y="521"/>
                    <a:pt x="222" y="521"/>
                    <a:pt x="221" y="521"/>
                  </a:cubicBezTo>
                  <a:cubicBezTo>
                    <a:pt x="218" y="522"/>
                    <a:pt x="214" y="524"/>
                    <a:pt x="211" y="525"/>
                  </a:cubicBezTo>
                  <a:cubicBezTo>
                    <a:pt x="213" y="525"/>
                    <a:pt x="221" y="525"/>
                    <a:pt x="218" y="529"/>
                  </a:cubicBezTo>
                  <a:cubicBezTo>
                    <a:pt x="217" y="530"/>
                    <a:pt x="216" y="530"/>
                    <a:pt x="215" y="530"/>
                  </a:cubicBezTo>
                  <a:cubicBezTo>
                    <a:pt x="215" y="530"/>
                    <a:pt x="215" y="530"/>
                    <a:pt x="215" y="530"/>
                  </a:cubicBezTo>
                  <a:cubicBezTo>
                    <a:pt x="215" y="530"/>
                    <a:pt x="215" y="530"/>
                    <a:pt x="215" y="530"/>
                  </a:cubicBezTo>
                  <a:cubicBezTo>
                    <a:pt x="214" y="530"/>
                    <a:pt x="214" y="530"/>
                    <a:pt x="214" y="530"/>
                  </a:cubicBezTo>
                  <a:cubicBezTo>
                    <a:pt x="213" y="530"/>
                    <a:pt x="212" y="530"/>
                    <a:pt x="210" y="530"/>
                  </a:cubicBezTo>
                  <a:cubicBezTo>
                    <a:pt x="208" y="530"/>
                    <a:pt x="207" y="530"/>
                    <a:pt x="205" y="530"/>
                  </a:cubicBezTo>
                  <a:cubicBezTo>
                    <a:pt x="206" y="528"/>
                    <a:pt x="204" y="526"/>
                    <a:pt x="202" y="525"/>
                  </a:cubicBezTo>
                  <a:cubicBezTo>
                    <a:pt x="200" y="523"/>
                    <a:pt x="198" y="521"/>
                    <a:pt x="195" y="519"/>
                  </a:cubicBezTo>
                  <a:cubicBezTo>
                    <a:pt x="194" y="518"/>
                    <a:pt x="195" y="517"/>
                    <a:pt x="195" y="515"/>
                  </a:cubicBezTo>
                  <a:cubicBezTo>
                    <a:pt x="195" y="511"/>
                    <a:pt x="196" y="507"/>
                    <a:pt x="196" y="504"/>
                  </a:cubicBezTo>
                  <a:cubicBezTo>
                    <a:pt x="195" y="500"/>
                    <a:pt x="194" y="496"/>
                    <a:pt x="193" y="492"/>
                  </a:cubicBezTo>
                  <a:cubicBezTo>
                    <a:pt x="192" y="487"/>
                    <a:pt x="192" y="486"/>
                    <a:pt x="196" y="484"/>
                  </a:cubicBezTo>
                  <a:cubicBezTo>
                    <a:pt x="197" y="483"/>
                    <a:pt x="198" y="482"/>
                    <a:pt x="199" y="482"/>
                  </a:cubicBezTo>
                  <a:cubicBezTo>
                    <a:pt x="200" y="482"/>
                    <a:pt x="201" y="483"/>
                    <a:pt x="202" y="485"/>
                  </a:cubicBezTo>
                  <a:cubicBezTo>
                    <a:pt x="200" y="485"/>
                    <a:pt x="199" y="485"/>
                    <a:pt x="198" y="485"/>
                  </a:cubicBezTo>
                  <a:cubicBezTo>
                    <a:pt x="198" y="485"/>
                    <a:pt x="199" y="486"/>
                    <a:pt x="199" y="486"/>
                  </a:cubicBezTo>
                  <a:cubicBezTo>
                    <a:pt x="200" y="486"/>
                    <a:pt x="200" y="486"/>
                    <a:pt x="200" y="485"/>
                  </a:cubicBezTo>
                  <a:cubicBezTo>
                    <a:pt x="201" y="485"/>
                    <a:pt x="201" y="485"/>
                    <a:pt x="201" y="485"/>
                  </a:cubicBezTo>
                  <a:cubicBezTo>
                    <a:pt x="201" y="485"/>
                    <a:pt x="202" y="485"/>
                    <a:pt x="202" y="485"/>
                  </a:cubicBezTo>
                  <a:cubicBezTo>
                    <a:pt x="207" y="486"/>
                    <a:pt x="214" y="490"/>
                    <a:pt x="219" y="492"/>
                  </a:cubicBezTo>
                  <a:cubicBezTo>
                    <a:pt x="224" y="494"/>
                    <a:pt x="226" y="494"/>
                    <a:pt x="231" y="494"/>
                  </a:cubicBezTo>
                  <a:cubicBezTo>
                    <a:pt x="233" y="495"/>
                    <a:pt x="235" y="495"/>
                    <a:pt x="237" y="495"/>
                  </a:cubicBezTo>
                  <a:cubicBezTo>
                    <a:pt x="238" y="495"/>
                    <a:pt x="240" y="495"/>
                    <a:pt x="241" y="494"/>
                  </a:cubicBezTo>
                  <a:cubicBezTo>
                    <a:pt x="244" y="493"/>
                    <a:pt x="247" y="492"/>
                    <a:pt x="250" y="490"/>
                  </a:cubicBezTo>
                  <a:cubicBezTo>
                    <a:pt x="255" y="488"/>
                    <a:pt x="259" y="487"/>
                    <a:pt x="261" y="480"/>
                  </a:cubicBezTo>
                  <a:cubicBezTo>
                    <a:pt x="261" y="480"/>
                    <a:pt x="261" y="480"/>
                    <a:pt x="261" y="480"/>
                  </a:cubicBezTo>
                  <a:cubicBezTo>
                    <a:pt x="259" y="480"/>
                    <a:pt x="257" y="476"/>
                    <a:pt x="256" y="475"/>
                  </a:cubicBezTo>
                  <a:cubicBezTo>
                    <a:pt x="253" y="469"/>
                    <a:pt x="256" y="471"/>
                    <a:pt x="256" y="467"/>
                  </a:cubicBezTo>
                  <a:cubicBezTo>
                    <a:pt x="257" y="464"/>
                    <a:pt x="257" y="462"/>
                    <a:pt x="258" y="459"/>
                  </a:cubicBezTo>
                  <a:cubicBezTo>
                    <a:pt x="258" y="458"/>
                    <a:pt x="258" y="458"/>
                    <a:pt x="259" y="458"/>
                  </a:cubicBezTo>
                  <a:cubicBezTo>
                    <a:pt x="259" y="458"/>
                    <a:pt x="259" y="458"/>
                    <a:pt x="259" y="458"/>
                  </a:cubicBezTo>
                  <a:cubicBezTo>
                    <a:pt x="259" y="458"/>
                    <a:pt x="259" y="458"/>
                    <a:pt x="259" y="458"/>
                  </a:cubicBezTo>
                  <a:cubicBezTo>
                    <a:pt x="259" y="458"/>
                    <a:pt x="259" y="458"/>
                    <a:pt x="259" y="458"/>
                  </a:cubicBezTo>
                  <a:cubicBezTo>
                    <a:pt x="261" y="456"/>
                    <a:pt x="263" y="453"/>
                    <a:pt x="264" y="450"/>
                  </a:cubicBezTo>
                  <a:cubicBezTo>
                    <a:pt x="264" y="447"/>
                    <a:pt x="261" y="446"/>
                    <a:pt x="259" y="444"/>
                  </a:cubicBezTo>
                  <a:cubicBezTo>
                    <a:pt x="259" y="444"/>
                    <a:pt x="260" y="444"/>
                    <a:pt x="260" y="444"/>
                  </a:cubicBezTo>
                  <a:cubicBezTo>
                    <a:pt x="261" y="444"/>
                    <a:pt x="261" y="444"/>
                    <a:pt x="262" y="445"/>
                  </a:cubicBezTo>
                  <a:cubicBezTo>
                    <a:pt x="262" y="445"/>
                    <a:pt x="263" y="445"/>
                    <a:pt x="263" y="445"/>
                  </a:cubicBezTo>
                  <a:cubicBezTo>
                    <a:pt x="264" y="445"/>
                    <a:pt x="264" y="445"/>
                    <a:pt x="265" y="445"/>
                  </a:cubicBezTo>
                  <a:cubicBezTo>
                    <a:pt x="264" y="444"/>
                    <a:pt x="263" y="444"/>
                    <a:pt x="262" y="443"/>
                  </a:cubicBezTo>
                  <a:cubicBezTo>
                    <a:pt x="260" y="442"/>
                    <a:pt x="258" y="443"/>
                    <a:pt x="258" y="440"/>
                  </a:cubicBezTo>
                  <a:cubicBezTo>
                    <a:pt x="257" y="437"/>
                    <a:pt x="257" y="433"/>
                    <a:pt x="257" y="430"/>
                  </a:cubicBezTo>
                  <a:cubicBezTo>
                    <a:pt x="261" y="431"/>
                    <a:pt x="266" y="432"/>
                    <a:pt x="270" y="433"/>
                  </a:cubicBezTo>
                  <a:cubicBezTo>
                    <a:pt x="276" y="434"/>
                    <a:pt x="281" y="435"/>
                    <a:pt x="286" y="435"/>
                  </a:cubicBezTo>
                  <a:cubicBezTo>
                    <a:pt x="287" y="435"/>
                    <a:pt x="289" y="435"/>
                    <a:pt x="290" y="435"/>
                  </a:cubicBezTo>
                  <a:cubicBezTo>
                    <a:pt x="297" y="434"/>
                    <a:pt x="304" y="433"/>
                    <a:pt x="311" y="431"/>
                  </a:cubicBezTo>
                  <a:cubicBezTo>
                    <a:pt x="325" y="429"/>
                    <a:pt x="338" y="425"/>
                    <a:pt x="351" y="421"/>
                  </a:cubicBezTo>
                  <a:cubicBezTo>
                    <a:pt x="358" y="419"/>
                    <a:pt x="363" y="416"/>
                    <a:pt x="367" y="410"/>
                  </a:cubicBezTo>
                  <a:cubicBezTo>
                    <a:pt x="370" y="406"/>
                    <a:pt x="374" y="401"/>
                    <a:pt x="377" y="396"/>
                  </a:cubicBezTo>
                  <a:cubicBezTo>
                    <a:pt x="380" y="392"/>
                    <a:pt x="382" y="389"/>
                    <a:pt x="385" y="385"/>
                  </a:cubicBezTo>
                  <a:cubicBezTo>
                    <a:pt x="386" y="384"/>
                    <a:pt x="389" y="380"/>
                    <a:pt x="389" y="378"/>
                  </a:cubicBezTo>
                  <a:cubicBezTo>
                    <a:pt x="389" y="376"/>
                    <a:pt x="389" y="365"/>
                    <a:pt x="387" y="363"/>
                  </a:cubicBezTo>
                  <a:cubicBezTo>
                    <a:pt x="387" y="364"/>
                    <a:pt x="386" y="364"/>
                    <a:pt x="385" y="364"/>
                  </a:cubicBezTo>
                  <a:cubicBezTo>
                    <a:pt x="383" y="364"/>
                    <a:pt x="381" y="364"/>
                    <a:pt x="380" y="363"/>
                  </a:cubicBezTo>
                  <a:cubicBezTo>
                    <a:pt x="376" y="360"/>
                    <a:pt x="375" y="357"/>
                    <a:pt x="374" y="352"/>
                  </a:cubicBezTo>
                  <a:cubicBezTo>
                    <a:pt x="373" y="347"/>
                    <a:pt x="374" y="346"/>
                    <a:pt x="377" y="342"/>
                  </a:cubicBezTo>
                  <a:cubicBezTo>
                    <a:pt x="379" y="339"/>
                    <a:pt x="377" y="336"/>
                    <a:pt x="374" y="333"/>
                  </a:cubicBezTo>
                  <a:cubicBezTo>
                    <a:pt x="373" y="332"/>
                    <a:pt x="371" y="331"/>
                    <a:pt x="369" y="329"/>
                  </a:cubicBezTo>
                  <a:cubicBezTo>
                    <a:pt x="364" y="326"/>
                    <a:pt x="359" y="324"/>
                    <a:pt x="353" y="321"/>
                  </a:cubicBezTo>
                  <a:cubicBezTo>
                    <a:pt x="352" y="323"/>
                    <a:pt x="350" y="324"/>
                    <a:pt x="348" y="324"/>
                  </a:cubicBezTo>
                  <a:cubicBezTo>
                    <a:pt x="344" y="324"/>
                    <a:pt x="341" y="322"/>
                    <a:pt x="341" y="318"/>
                  </a:cubicBezTo>
                  <a:cubicBezTo>
                    <a:pt x="341" y="315"/>
                    <a:pt x="344" y="313"/>
                    <a:pt x="347" y="312"/>
                  </a:cubicBezTo>
                  <a:cubicBezTo>
                    <a:pt x="347" y="312"/>
                    <a:pt x="344" y="303"/>
                    <a:pt x="347" y="298"/>
                  </a:cubicBezTo>
                  <a:cubicBezTo>
                    <a:pt x="345" y="298"/>
                    <a:pt x="345" y="298"/>
                    <a:pt x="345" y="298"/>
                  </a:cubicBezTo>
                  <a:cubicBezTo>
                    <a:pt x="345" y="297"/>
                    <a:pt x="345" y="297"/>
                    <a:pt x="345" y="297"/>
                  </a:cubicBezTo>
                  <a:cubicBezTo>
                    <a:pt x="346" y="294"/>
                    <a:pt x="346" y="290"/>
                    <a:pt x="346" y="288"/>
                  </a:cubicBezTo>
                  <a:cubicBezTo>
                    <a:pt x="346" y="286"/>
                    <a:pt x="348" y="283"/>
                    <a:pt x="350" y="279"/>
                  </a:cubicBezTo>
                  <a:cubicBezTo>
                    <a:pt x="351" y="278"/>
                    <a:pt x="352" y="277"/>
                    <a:pt x="353" y="277"/>
                  </a:cubicBezTo>
                  <a:cubicBezTo>
                    <a:pt x="354" y="276"/>
                    <a:pt x="354" y="276"/>
                    <a:pt x="354" y="276"/>
                  </a:cubicBezTo>
                  <a:cubicBezTo>
                    <a:pt x="355" y="275"/>
                    <a:pt x="354" y="273"/>
                    <a:pt x="353" y="271"/>
                  </a:cubicBezTo>
                  <a:cubicBezTo>
                    <a:pt x="353" y="270"/>
                    <a:pt x="353" y="269"/>
                    <a:pt x="352" y="269"/>
                  </a:cubicBezTo>
                  <a:cubicBezTo>
                    <a:pt x="351" y="265"/>
                    <a:pt x="351" y="263"/>
                    <a:pt x="351" y="259"/>
                  </a:cubicBezTo>
                  <a:cubicBezTo>
                    <a:pt x="351" y="258"/>
                    <a:pt x="351" y="258"/>
                    <a:pt x="351" y="257"/>
                  </a:cubicBezTo>
                  <a:cubicBezTo>
                    <a:pt x="351" y="255"/>
                    <a:pt x="351" y="255"/>
                    <a:pt x="351" y="255"/>
                  </a:cubicBezTo>
                  <a:cubicBezTo>
                    <a:pt x="351" y="254"/>
                    <a:pt x="351" y="253"/>
                    <a:pt x="351" y="252"/>
                  </a:cubicBezTo>
                  <a:cubicBezTo>
                    <a:pt x="351" y="251"/>
                    <a:pt x="351" y="251"/>
                    <a:pt x="351" y="251"/>
                  </a:cubicBezTo>
                  <a:cubicBezTo>
                    <a:pt x="351" y="250"/>
                    <a:pt x="351" y="250"/>
                    <a:pt x="351" y="250"/>
                  </a:cubicBezTo>
                  <a:cubicBezTo>
                    <a:pt x="351" y="249"/>
                    <a:pt x="351" y="249"/>
                    <a:pt x="351" y="249"/>
                  </a:cubicBezTo>
                  <a:cubicBezTo>
                    <a:pt x="351" y="248"/>
                    <a:pt x="351" y="248"/>
                    <a:pt x="351" y="248"/>
                  </a:cubicBezTo>
                  <a:cubicBezTo>
                    <a:pt x="352" y="246"/>
                    <a:pt x="353" y="245"/>
                    <a:pt x="354" y="244"/>
                  </a:cubicBezTo>
                  <a:cubicBezTo>
                    <a:pt x="355" y="243"/>
                    <a:pt x="355" y="243"/>
                    <a:pt x="355" y="243"/>
                  </a:cubicBezTo>
                  <a:cubicBezTo>
                    <a:pt x="355" y="243"/>
                    <a:pt x="355" y="243"/>
                    <a:pt x="355" y="241"/>
                  </a:cubicBezTo>
                  <a:cubicBezTo>
                    <a:pt x="355" y="241"/>
                    <a:pt x="355" y="241"/>
                    <a:pt x="355" y="241"/>
                  </a:cubicBezTo>
                  <a:cubicBezTo>
                    <a:pt x="355" y="239"/>
                    <a:pt x="355" y="237"/>
                    <a:pt x="356" y="235"/>
                  </a:cubicBezTo>
                  <a:cubicBezTo>
                    <a:pt x="356" y="233"/>
                    <a:pt x="356" y="233"/>
                    <a:pt x="356" y="233"/>
                  </a:cubicBezTo>
                  <a:cubicBezTo>
                    <a:pt x="357" y="233"/>
                    <a:pt x="357" y="232"/>
                    <a:pt x="357" y="232"/>
                  </a:cubicBezTo>
                  <a:cubicBezTo>
                    <a:pt x="358" y="230"/>
                    <a:pt x="358" y="227"/>
                    <a:pt x="359" y="225"/>
                  </a:cubicBezTo>
                  <a:cubicBezTo>
                    <a:pt x="359" y="223"/>
                    <a:pt x="359" y="222"/>
                    <a:pt x="360" y="221"/>
                  </a:cubicBezTo>
                  <a:cubicBezTo>
                    <a:pt x="360" y="221"/>
                    <a:pt x="360" y="220"/>
                    <a:pt x="360" y="220"/>
                  </a:cubicBezTo>
                  <a:cubicBezTo>
                    <a:pt x="360" y="219"/>
                    <a:pt x="359" y="219"/>
                    <a:pt x="359" y="218"/>
                  </a:cubicBezTo>
                  <a:cubicBezTo>
                    <a:pt x="359" y="218"/>
                    <a:pt x="359" y="218"/>
                    <a:pt x="359" y="218"/>
                  </a:cubicBezTo>
                  <a:cubicBezTo>
                    <a:pt x="359" y="217"/>
                    <a:pt x="358" y="216"/>
                    <a:pt x="358" y="214"/>
                  </a:cubicBezTo>
                  <a:cubicBezTo>
                    <a:pt x="358" y="212"/>
                    <a:pt x="359" y="209"/>
                    <a:pt x="361" y="207"/>
                  </a:cubicBezTo>
                  <a:cubicBezTo>
                    <a:pt x="362" y="205"/>
                    <a:pt x="364" y="204"/>
                    <a:pt x="365" y="202"/>
                  </a:cubicBezTo>
                  <a:cubicBezTo>
                    <a:pt x="366" y="202"/>
                    <a:pt x="366" y="202"/>
                    <a:pt x="366" y="202"/>
                  </a:cubicBezTo>
                  <a:cubicBezTo>
                    <a:pt x="366" y="201"/>
                    <a:pt x="367" y="201"/>
                    <a:pt x="367" y="201"/>
                  </a:cubicBezTo>
                  <a:cubicBezTo>
                    <a:pt x="369" y="199"/>
                    <a:pt x="369" y="199"/>
                    <a:pt x="369" y="199"/>
                  </a:cubicBezTo>
                  <a:cubicBezTo>
                    <a:pt x="375" y="193"/>
                    <a:pt x="382" y="186"/>
                    <a:pt x="388" y="179"/>
                  </a:cubicBezTo>
                  <a:cubicBezTo>
                    <a:pt x="389" y="177"/>
                    <a:pt x="390" y="176"/>
                    <a:pt x="391" y="175"/>
                  </a:cubicBezTo>
                  <a:cubicBezTo>
                    <a:pt x="393" y="172"/>
                    <a:pt x="395" y="169"/>
                    <a:pt x="398" y="166"/>
                  </a:cubicBezTo>
                  <a:cubicBezTo>
                    <a:pt x="400" y="164"/>
                    <a:pt x="404" y="160"/>
                    <a:pt x="408" y="158"/>
                  </a:cubicBezTo>
                  <a:cubicBezTo>
                    <a:pt x="407" y="157"/>
                    <a:pt x="407" y="155"/>
                    <a:pt x="407" y="154"/>
                  </a:cubicBezTo>
                  <a:cubicBezTo>
                    <a:pt x="408" y="154"/>
                    <a:pt x="408" y="153"/>
                    <a:pt x="408" y="153"/>
                  </a:cubicBezTo>
                  <a:cubicBezTo>
                    <a:pt x="409" y="152"/>
                    <a:pt x="410" y="151"/>
                    <a:pt x="412" y="150"/>
                  </a:cubicBezTo>
                  <a:cubicBezTo>
                    <a:pt x="413" y="149"/>
                    <a:pt x="413" y="149"/>
                    <a:pt x="413" y="149"/>
                  </a:cubicBezTo>
                  <a:cubicBezTo>
                    <a:pt x="413" y="149"/>
                    <a:pt x="414" y="149"/>
                    <a:pt x="414" y="149"/>
                  </a:cubicBezTo>
                  <a:cubicBezTo>
                    <a:pt x="416" y="149"/>
                    <a:pt x="416" y="149"/>
                    <a:pt x="416" y="149"/>
                  </a:cubicBezTo>
                  <a:cubicBezTo>
                    <a:pt x="416" y="148"/>
                    <a:pt x="416" y="148"/>
                    <a:pt x="416" y="148"/>
                  </a:cubicBezTo>
                  <a:cubicBezTo>
                    <a:pt x="417" y="147"/>
                    <a:pt x="418" y="146"/>
                    <a:pt x="418" y="146"/>
                  </a:cubicBezTo>
                  <a:cubicBezTo>
                    <a:pt x="419" y="145"/>
                    <a:pt x="420" y="144"/>
                    <a:pt x="421" y="144"/>
                  </a:cubicBezTo>
                  <a:cubicBezTo>
                    <a:pt x="422" y="143"/>
                    <a:pt x="423" y="142"/>
                    <a:pt x="424" y="141"/>
                  </a:cubicBezTo>
                  <a:cubicBezTo>
                    <a:pt x="425" y="141"/>
                    <a:pt x="425" y="140"/>
                    <a:pt x="426" y="140"/>
                  </a:cubicBezTo>
                  <a:cubicBezTo>
                    <a:pt x="428" y="137"/>
                    <a:pt x="430" y="135"/>
                    <a:pt x="434" y="134"/>
                  </a:cubicBezTo>
                  <a:cubicBezTo>
                    <a:pt x="439" y="133"/>
                    <a:pt x="444" y="131"/>
                    <a:pt x="449" y="128"/>
                  </a:cubicBezTo>
                  <a:cubicBezTo>
                    <a:pt x="449" y="128"/>
                    <a:pt x="450" y="128"/>
                    <a:pt x="450" y="128"/>
                  </a:cubicBezTo>
                  <a:cubicBezTo>
                    <a:pt x="452" y="127"/>
                    <a:pt x="452" y="127"/>
                    <a:pt x="452" y="127"/>
                  </a:cubicBezTo>
                  <a:cubicBezTo>
                    <a:pt x="452" y="126"/>
                    <a:pt x="452" y="126"/>
                    <a:pt x="452" y="126"/>
                  </a:cubicBezTo>
                  <a:cubicBezTo>
                    <a:pt x="452" y="126"/>
                    <a:pt x="453" y="126"/>
                    <a:pt x="453" y="125"/>
                  </a:cubicBezTo>
                  <a:cubicBezTo>
                    <a:pt x="453" y="124"/>
                    <a:pt x="453" y="124"/>
                    <a:pt x="453" y="123"/>
                  </a:cubicBezTo>
                  <a:cubicBezTo>
                    <a:pt x="454" y="122"/>
                    <a:pt x="454" y="122"/>
                    <a:pt x="454" y="122"/>
                  </a:cubicBezTo>
                  <a:cubicBezTo>
                    <a:pt x="454" y="122"/>
                    <a:pt x="454" y="121"/>
                    <a:pt x="454" y="121"/>
                  </a:cubicBezTo>
                  <a:cubicBezTo>
                    <a:pt x="455" y="118"/>
                    <a:pt x="455" y="118"/>
                    <a:pt x="455" y="118"/>
                  </a:cubicBezTo>
                  <a:cubicBezTo>
                    <a:pt x="455" y="117"/>
                    <a:pt x="455" y="116"/>
                    <a:pt x="455" y="115"/>
                  </a:cubicBezTo>
                  <a:cubicBezTo>
                    <a:pt x="455" y="114"/>
                    <a:pt x="455" y="114"/>
                    <a:pt x="455" y="114"/>
                  </a:cubicBezTo>
                  <a:cubicBezTo>
                    <a:pt x="456" y="111"/>
                    <a:pt x="457" y="107"/>
                    <a:pt x="456" y="105"/>
                  </a:cubicBezTo>
                  <a:cubicBezTo>
                    <a:pt x="450" y="92"/>
                    <a:pt x="450" y="92"/>
                    <a:pt x="450" y="92"/>
                  </a:cubicBezTo>
                  <a:cubicBezTo>
                    <a:pt x="450" y="92"/>
                    <a:pt x="450" y="92"/>
                    <a:pt x="450" y="92"/>
                  </a:cubicBezTo>
                  <a:cubicBezTo>
                    <a:pt x="450" y="92"/>
                    <a:pt x="449" y="92"/>
                    <a:pt x="449" y="92"/>
                  </a:cubicBezTo>
                  <a:cubicBezTo>
                    <a:pt x="449" y="92"/>
                    <a:pt x="449" y="92"/>
                    <a:pt x="449" y="92"/>
                  </a:cubicBezTo>
                  <a:cubicBezTo>
                    <a:pt x="449" y="92"/>
                    <a:pt x="449" y="92"/>
                    <a:pt x="448" y="92"/>
                  </a:cubicBezTo>
                  <a:cubicBezTo>
                    <a:pt x="448" y="92"/>
                    <a:pt x="448" y="92"/>
                    <a:pt x="448" y="92"/>
                  </a:cubicBezTo>
                  <a:cubicBezTo>
                    <a:pt x="447" y="91"/>
                    <a:pt x="447" y="91"/>
                    <a:pt x="447" y="91"/>
                  </a:cubicBezTo>
                  <a:cubicBezTo>
                    <a:pt x="447" y="92"/>
                    <a:pt x="447" y="92"/>
                    <a:pt x="447" y="92"/>
                  </a:cubicBezTo>
                  <a:cubicBezTo>
                    <a:pt x="446" y="92"/>
                    <a:pt x="446" y="92"/>
                    <a:pt x="446" y="92"/>
                  </a:cubicBezTo>
                  <a:cubicBezTo>
                    <a:pt x="445" y="93"/>
                    <a:pt x="443" y="94"/>
                    <a:pt x="442" y="94"/>
                  </a:cubicBezTo>
                  <a:cubicBezTo>
                    <a:pt x="441" y="94"/>
                    <a:pt x="441" y="94"/>
                    <a:pt x="441" y="94"/>
                  </a:cubicBezTo>
                  <a:cubicBezTo>
                    <a:pt x="441" y="98"/>
                    <a:pt x="441" y="98"/>
                    <a:pt x="441" y="98"/>
                  </a:cubicBezTo>
                  <a:cubicBezTo>
                    <a:pt x="440" y="94"/>
                    <a:pt x="440" y="94"/>
                    <a:pt x="440" y="94"/>
                  </a:cubicBezTo>
                  <a:cubicBezTo>
                    <a:pt x="440" y="93"/>
                    <a:pt x="440" y="93"/>
                    <a:pt x="440" y="93"/>
                  </a:cubicBezTo>
                  <a:cubicBezTo>
                    <a:pt x="440" y="93"/>
                    <a:pt x="440" y="93"/>
                    <a:pt x="440" y="93"/>
                  </a:cubicBezTo>
                  <a:cubicBezTo>
                    <a:pt x="440" y="93"/>
                    <a:pt x="440" y="93"/>
                    <a:pt x="440" y="93"/>
                  </a:cubicBezTo>
                  <a:cubicBezTo>
                    <a:pt x="440" y="93"/>
                    <a:pt x="440" y="93"/>
                    <a:pt x="440" y="93"/>
                  </a:cubicBezTo>
                  <a:cubicBezTo>
                    <a:pt x="439" y="99"/>
                    <a:pt x="438" y="105"/>
                    <a:pt x="436" y="112"/>
                  </a:cubicBezTo>
                  <a:cubicBezTo>
                    <a:pt x="435" y="114"/>
                    <a:pt x="434" y="116"/>
                    <a:pt x="432" y="118"/>
                  </a:cubicBezTo>
                  <a:cubicBezTo>
                    <a:pt x="430" y="119"/>
                    <a:pt x="428" y="121"/>
                    <a:pt x="427" y="122"/>
                  </a:cubicBezTo>
                  <a:cubicBezTo>
                    <a:pt x="425" y="124"/>
                    <a:pt x="423" y="126"/>
                    <a:pt x="420" y="127"/>
                  </a:cubicBezTo>
                  <a:cubicBezTo>
                    <a:pt x="419" y="128"/>
                    <a:pt x="418" y="128"/>
                    <a:pt x="418" y="128"/>
                  </a:cubicBezTo>
                  <a:cubicBezTo>
                    <a:pt x="417" y="129"/>
                    <a:pt x="417" y="129"/>
                    <a:pt x="417" y="129"/>
                  </a:cubicBezTo>
                  <a:cubicBezTo>
                    <a:pt x="417" y="131"/>
                    <a:pt x="417" y="131"/>
                    <a:pt x="417" y="131"/>
                  </a:cubicBezTo>
                  <a:cubicBezTo>
                    <a:pt x="417" y="131"/>
                    <a:pt x="417" y="131"/>
                    <a:pt x="417" y="131"/>
                  </a:cubicBezTo>
                  <a:cubicBezTo>
                    <a:pt x="417" y="132"/>
                    <a:pt x="416" y="133"/>
                    <a:pt x="415" y="134"/>
                  </a:cubicBezTo>
                  <a:cubicBezTo>
                    <a:pt x="414" y="135"/>
                    <a:pt x="414" y="135"/>
                    <a:pt x="414" y="135"/>
                  </a:cubicBezTo>
                  <a:cubicBezTo>
                    <a:pt x="414" y="135"/>
                    <a:pt x="414" y="135"/>
                    <a:pt x="414" y="135"/>
                  </a:cubicBezTo>
                  <a:cubicBezTo>
                    <a:pt x="413" y="135"/>
                    <a:pt x="413" y="135"/>
                    <a:pt x="413" y="135"/>
                  </a:cubicBezTo>
                  <a:cubicBezTo>
                    <a:pt x="413" y="135"/>
                    <a:pt x="413" y="135"/>
                    <a:pt x="413" y="135"/>
                  </a:cubicBezTo>
                  <a:cubicBezTo>
                    <a:pt x="412" y="136"/>
                    <a:pt x="411" y="137"/>
                    <a:pt x="409" y="137"/>
                  </a:cubicBezTo>
                  <a:cubicBezTo>
                    <a:pt x="408" y="137"/>
                    <a:pt x="407" y="137"/>
                    <a:pt x="406" y="136"/>
                  </a:cubicBezTo>
                  <a:cubicBezTo>
                    <a:pt x="406" y="136"/>
                    <a:pt x="406" y="136"/>
                    <a:pt x="406" y="136"/>
                  </a:cubicBezTo>
                  <a:cubicBezTo>
                    <a:pt x="405" y="136"/>
                    <a:pt x="405" y="136"/>
                    <a:pt x="405" y="136"/>
                  </a:cubicBezTo>
                  <a:cubicBezTo>
                    <a:pt x="405" y="136"/>
                    <a:pt x="405" y="136"/>
                    <a:pt x="405" y="136"/>
                  </a:cubicBezTo>
                  <a:cubicBezTo>
                    <a:pt x="404" y="136"/>
                    <a:pt x="402" y="137"/>
                    <a:pt x="401" y="138"/>
                  </a:cubicBezTo>
                  <a:cubicBezTo>
                    <a:pt x="399" y="139"/>
                    <a:pt x="399" y="139"/>
                    <a:pt x="399" y="139"/>
                  </a:cubicBezTo>
                  <a:cubicBezTo>
                    <a:pt x="399" y="139"/>
                    <a:pt x="399" y="140"/>
                    <a:pt x="398" y="140"/>
                  </a:cubicBezTo>
                  <a:cubicBezTo>
                    <a:pt x="398" y="141"/>
                    <a:pt x="397" y="141"/>
                    <a:pt x="396" y="141"/>
                  </a:cubicBezTo>
                  <a:cubicBezTo>
                    <a:pt x="396" y="141"/>
                    <a:pt x="396" y="141"/>
                    <a:pt x="396" y="141"/>
                  </a:cubicBezTo>
                  <a:cubicBezTo>
                    <a:pt x="395" y="141"/>
                    <a:pt x="395" y="141"/>
                    <a:pt x="395" y="141"/>
                  </a:cubicBezTo>
                  <a:cubicBezTo>
                    <a:pt x="394" y="141"/>
                    <a:pt x="393" y="140"/>
                    <a:pt x="392" y="140"/>
                  </a:cubicBezTo>
                  <a:cubicBezTo>
                    <a:pt x="392" y="140"/>
                    <a:pt x="392" y="140"/>
                    <a:pt x="392" y="140"/>
                  </a:cubicBezTo>
                  <a:cubicBezTo>
                    <a:pt x="390" y="139"/>
                    <a:pt x="390" y="139"/>
                    <a:pt x="390" y="139"/>
                  </a:cubicBezTo>
                  <a:cubicBezTo>
                    <a:pt x="390" y="138"/>
                    <a:pt x="389" y="138"/>
                    <a:pt x="389" y="138"/>
                  </a:cubicBezTo>
                  <a:cubicBezTo>
                    <a:pt x="387" y="138"/>
                    <a:pt x="386" y="137"/>
                    <a:pt x="384" y="137"/>
                  </a:cubicBezTo>
                  <a:cubicBezTo>
                    <a:pt x="383" y="137"/>
                    <a:pt x="382" y="137"/>
                    <a:pt x="382" y="137"/>
                  </a:cubicBezTo>
                  <a:cubicBezTo>
                    <a:pt x="379" y="138"/>
                    <a:pt x="379" y="138"/>
                    <a:pt x="379" y="138"/>
                  </a:cubicBezTo>
                  <a:cubicBezTo>
                    <a:pt x="378" y="138"/>
                    <a:pt x="378" y="138"/>
                    <a:pt x="377" y="138"/>
                  </a:cubicBezTo>
                  <a:cubicBezTo>
                    <a:pt x="374" y="138"/>
                    <a:pt x="371" y="137"/>
                    <a:pt x="368" y="136"/>
                  </a:cubicBezTo>
                  <a:cubicBezTo>
                    <a:pt x="366" y="135"/>
                    <a:pt x="365" y="135"/>
                    <a:pt x="364" y="135"/>
                  </a:cubicBezTo>
                  <a:cubicBezTo>
                    <a:pt x="363" y="135"/>
                    <a:pt x="363" y="135"/>
                    <a:pt x="363" y="135"/>
                  </a:cubicBezTo>
                  <a:cubicBezTo>
                    <a:pt x="361" y="134"/>
                    <a:pt x="358" y="134"/>
                    <a:pt x="355" y="134"/>
                  </a:cubicBezTo>
                  <a:cubicBezTo>
                    <a:pt x="352" y="134"/>
                    <a:pt x="348" y="134"/>
                    <a:pt x="345" y="135"/>
                  </a:cubicBezTo>
                  <a:cubicBezTo>
                    <a:pt x="342" y="135"/>
                    <a:pt x="342" y="135"/>
                    <a:pt x="342" y="135"/>
                  </a:cubicBezTo>
                  <a:cubicBezTo>
                    <a:pt x="341" y="132"/>
                    <a:pt x="341" y="132"/>
                    <a:pt x="341" y="132"/>
                  </a:cubicBezTo>
                  <a:cubicBezTo>
                    <a:pt x="341" y="132"/>
                    <a:pt x="341" y="131"/>
                    <a:pt x="341" y="131"/>
                  </a:cubicBezTo>
                  <a:cubicBezTo>
                    <a:pt x="341" y="130"/>
                    <a:pt x="340" y="129"/>
                    <a:pt x="341" y="127"/>
                  </a:cubicBezTo>
                  <a:cubicBezTo>
                    <a:pt x="341" y="126"/>
                    <a:pt x="342" y="126"/>
                    <a:pt x="342" y="125"/>
                  </a:cubicBezTo>
                  <a:cubicBezTo>
                    <a:pt x="343" y="124"/>
                    <a:pt x="343" y="124"/>
                    <a:pt x="344" y="123"/>
                  </a:cubicBezTo>
                  <a:cubicBezTo>
                    <a:pt x="345" y="122"/>
                    <a:pt x="347" y="121"/>
                    <a:pt x="347" y="120"/>
                  </a:cubicBezTo>
                  <a:cubicBezTo>
                    <a:pt x="348" y="118"/>
                    <a:pt x="348" y="118"/>
                    <a:pt x="348" y="118"/>
                  </a:cubicBezTo>
                  <a:cubicBezTo>
                    <a:pt x="350" y="112"/>
                    <a:pt x="352" y="106"/>
                    <a:pt x="356" y="100"/>
                  </a:cubicBezTo>
                  <a:cubicBezTo>
                    <a:pt x="357" y="99"/>
                    <a:pt x="358" y="97"/>
                    <a:pt x="359" y="96"/>
                  </a:cubicBezTo>
                  <a:cubicBezTo>
                    <a:pt x="360" y="95"/>
                    <a:pt x="360" y="95"/>
                    <a:pt x="360" y="95"/>
                  </a:cubicBezTo>
                  <a:cubicBezTo>
                    <a:pt x="361" y="93"/>
                    <a:pt x="363" y="90"/>
                    <a:pt x="364" y="88"/>
                  </a:cubicBezTo>
                  <a:cubicBezTo>
                    <a:pt x="365" y="88"/>
                    <a:pt x="365" y="87"/>
                    <a:pt x="364" y="85"/>
                  </a:cubicBezTo>
                  <a:cubicBezTo>
                    <a:pt x="364" y="85"/>
                    <a:pt x="364" y="84"/>
                    <a:pt x="363" y="83"/>
                  </a:cubicBezTo>
                  <a:cubicBezTo>
                    <a:pt x="359" y="81"/>
                    <a:pt x="355" y="79"/>
                    <a:pt x="351" y="77"/>
                  </a:cubicBezTo>
                  <a:cubicBezTo>
                    <a:pt x="341" y="72"/>
                    <a:pt x="333" y="68"/>
                    <a:pt x="324" y="62"/>
                  </a:cubicBezTo>
                  <a:cubicBezTo>
                    <a:pt x="323" y="61"/>
                    <a:pt x="322" y="61"/>
                    <a:pt x="320" y="60"/>
                  </a:cubicBezTo>
                  <a:cubicBezTo>
                    <a:pt x="317" y="57"/>
                    <a:pt x="317" y="57"/>
                    <a:pt x="317" y="57"/>
                  </a:cubicBezTo>
                  <a:cubicBezTo>
                    <a:pt x="315" y="56"/>
                    <a:pt x="313" y="54"/>
                    <a:pt x="311" y="53"/>
                  </a:cubicBezTo>
                  <a:cubicBezTo>
                    <a:pt x="309" y="52"/>
                    <a:pt x="306" y="52"/>
                    <a:pt x="304" y="51"/>
                  </a:cubicBezTo>
                  <a:cubicBezTo>
                    <a:pt x="303" y="51"/>
                    <a:pt x="302" y="51"/>
                    <a:pt x="301" y="51"/>
                  </a:cubicBezTo>
                  <a:cubicBezTo>
                    <a:pt x="298" y="50"/>
                    <a:pt x="296" y="50"/>
                    <a:pt x="294" y="50"/>
                  </a:cubicBezTo>
                  <a:cubicBezTo>
                    <a:pt x="292" y="49"/>
                    <a:pt x="292" y="49"/>
                    <a:pt x="292" y="49"/>
                  </a:cubicBezTo>
                  <a:cubicBezTo>
                    <a:pt x="291" y="49"/>
                    <a:pt x="290" y="49"/>
                    <a:pt x="290" y="48"/>
                  </a:cubicBezTo>
                  <a:cubicBezTo>
                    <a:pt x="287" y="47"/>
                    <a:pt x="285" y="46"/>
                    <a:pt x="282" y="43"/>
                  </a:cubicBezTo>
                  <a:cubicBezTo>
                    <a:pt x="280" y="42"/>
                    <a:pt x="279" y="41"/>
                    <a:pt x="277" y="39"/>
                  </a:cubicBezTo>
                  <a:cubicBezTo>
                    <a:pt x="276" y="38"/>
                    <a:pt x="275" y="37"/>
                    <a:pt x="274" y="36"/>
                  </a:cubicBezTo>
                  <a:cubicBezTo>
                    <a:pt x="273" y="35"/>
                    <a:pt x="273" y="35"/>
                    <a:pt x="272" y="35"/>
                  </a:cubicBezTo>
                  <a:cubicBezTo>
                    <a:pt x="270" y="33"/>
                    <a:pt x="270" y="33"/>
                    <a:pt x="270" y="33"/>
                  </a:cubicBezTo>
                  <a:cubicBezTo>
                    <a:pt x="270" y="32"/>
                    <a:pt x="269" y="31"/>
                    <a:pt x="268" y="31"/>
                  </a:cubicBezTo>
                  <a:cubicBezTo>
                    <a:pt x="268" y="31"/>
                    <a:pt x="268" y="31"/>
                    <a:pt x="268" y="31"/>
                  </a:cubicBezTo>
                  <a:cubicBezTo>
                    <a:pt x="268" y="30"/>
                    <a:pt x="267" y="30"/>
                    <a:pt x="267" y="29"/>
                  </a:cubicBezTo>
                  <a:cubicBezTo>
                    <a:pt x="266" y="28"/>
                    <a:pt x="266" y="28"/>
                    <a:pt x="266" y="28"/>
                  </a:cubicBezTo>
                  <a:cubicBezTo>
                    <a:pt x="265" y="27"/>
                    <a:pt x="264" y="26"/>
                    <a:pt x="263" y="25"/>
                  </a:cubicBezTo>
                  <a:cubicBezTo>
                    <a:pt x="262" y="24"/>
                    <a:pt x="262" y="24"/>
                    <a:pt x="262" y="24"/>
                  </a:cubicBezTo>
                  <a:cubicBezTo>
                    <a:pt x="262" y="23"/>
                    <a:pt x="261" y="23"/>
                    <a:pt x="261" y="22"/>
                  </a:cubicBezTo>
                  <a:cubicBezTo>
                    <a:pt x="260" y="21"/>
                    <a:pt x="260" y="21"/>
                    <a:pt x="260" y="21"/>
                  </a:cubicBezTo>
                  <a:cubicBezTo>
                    <a:pt x="260" y="20"/>
                    <a:pt x="259" y="19"/>
                    <a:pt x="259" y="19"/>
                  </a:cubicBezTo>
                  <a:cubicBezTo>
                    <a:pt x="258" y="18"/>
                    <a:pt x="257" y="16"/>
                    <a:pt x="257" y="15"/>
                  </a:cubicBezTo>
                  <a:cubicBezTo>
                    <a:pt x="256" y="15"/>
                    <a:pt x="256" y="15"/>
                    <a:pt x="256" y="14"/>
                  </a:cubicBezTo>
                  <a:cubicBezTo>
                    <a:pt x="255" y="14"/>
                    <a:pt x="255" y="14"/>
                    <a:pt x="254" y="14"/>
                  </a:cubicBezTo>
                  <a:cubicBezTo>
                    <a:pt x="253" y="13"/>
                    <a:pt x="252" y="12"/>
                    <a:pt x="252" y="12"/>
                  </a:cubicBezTo>
                  <a:cubicBezTo>
                    <a:pt x="252" y="12"/>
                    <a:pt x="252" y="12"/>
                    <a:pt x="252" y="12"/>
                  </a:cubicBezTo>
                  <a:cubicBezTo>
                    <a:pt x="250" y="11"/>
                    <a:pt x="250" y="11"/>
                    <a:pt x="250" y="11"/>
                  </a:cubicBezTo>
                  <a:cubicBezTo>
                    <a:pt x="248" y="8"/>
                    <a:pt x="248" y="8"/>
                    <a:pt x="248" y="8"/>
                  </a:cubicBezTo>
                  <a:cubicBezTo>
                    <a:pt x="247" y="8"/>
                    <a:pt x="247" y="7"/>
                    <a:pt x="247" y="7"/>
                  </a:cubicBezTo>
                  <a:cubicBezTo>
                    <a:pt x="247" y="7"/>
                    <a:pt x="247" y="7"/>
                    <a:pt x="247" y="7"/>
                  </a:cubicBezTo>
                  <a:cubicBezTo>
                    <a:pt x="246" y="6"/>
                    <a:pt x="246" y="5"/>
                    <a:pt x="245" y="4"/>
                  </a:cubicBezTo>
                  <a:cubicBezTo>
                    <a:pt x="245" y="4"/>
                    <a:pt x="245" y="4"/>
                    <a:pt x="245" y="4"/>
                  </a:cubicBezTo>
                  <a:cubicBezTo>
                    <a:pt x="244" y="3"/>
                    <a:pt x="244" y="3"/>
                    <a:pt x="244" y="3"/>
                  </a:cubicBezTo>
                  <a:cubicBezTo>
                    <a:pt x="244" y="3"/>
                    <a:pt x="243" y="4"/>
                    <a:pt x="242" y="4"/>
                  </a:cubicBezTo>
                  <a:cubicBezTo>
                    <a:pt x="242" y="4"/>
                    <a:pt x="242" y="4"/>
                    <a:pt x="241" y="4"/>
                  </a:cubicBezTo>
                  <a:cubicBezTo>
                    <a:pt x="228" y="4"/>
                    <a:pt x="228" y="4"/>
                    <a:pt x="228" y="4"/>
                  </a:cubicBezTo>
                  <a:cubicBezTo>
                    <a:pt x="228" y="4"/>
                    <a:pt x="227" y="4"/>
                    <a:pt x="227" y="4"/>
                  </a:cubicBezTo>
                  <a:cubicBezTo>
                    <a:pt x="226" y="4"/>
                    <a:pt x="226" y="4"/>
                    <a:pt x="226" y="4"/>
                  </a:cubicBezTo>
                  <a:cubicBezTo>
                    <a:pt x="225" y="4"/>
                    <a:pt x="225" y="4"/>
                    <a:pt x="224" y="4"/>
                  </a:cubicBezTo>
                  <a:cubicBezTo>
                    <a:pt x="223" y="4"/>
                    <a:pt x="223" y="4"/>
                    <a:pt x="222" y="4"/>
                  </a:cubicBezTo>
                  <a:cubicBezTo>
                    <a:pt x="219" y="10"/>
                    <a:pt x="217" y="16"/>
                    <a:pt x="215" y="22"/>
                  </a:cubicBezTo>
                  <a:cubicBezTo>
                    <a:pt x="212" y="29"/>
                    <a:pt x="212" y="29"/>
                    <a:pt x="212" y="29"/>
                  </a:cubicBezTo>
                  <a:cubicBezTo>
                    <a:pt x="209" y="22"/>
                    <a:pt x="209" y="22"/>
                    <a:pt x="209" y="22"/>
                  </a:cubicBezTo>
                  <a:cubicBezTo>
                    <a:pt x="209" y="21"/>
                    <a:pt x="208" y="19"/>
                    <a:pt x="207" y="17"/>
                  </a:cubicBezTo>
                  <a:cubicBezTo>
                    <a:pt x="207" y="17"/>
                    <a:pt x="207" y="17"/>
                    <a:pt x="207" y="17"/>
                  </a:cubicBezTo>
                  <a:cubicBezTo>
                    <a:pt x="206" y="14"/>
                    <a:pt x="205" y="11"/>
                    <a:pt x="204" y="9"/>
                  </a:cubicBezTo>
                  <a:cubicBezTo>
                    <a:pt x="203" y="9"/>
                    <a:pt x="203" y="9"/>
                    <a:pt x="201" y="8"/>
                  </a:cubicBezTo>
                  <a:cubicBezTo>
                    <a:pt x="200" y="8"/>
                    <a:pt x="199" y="7"/>
                    <a:pt x="197" y="7"/>
                  </a:cubicBezTo>
                  <a:cubicBezTo>
                    <a:pt x="196" y="7"/>
                    <a:pt x="196" y="7"/>
                    <a:pt x="196" y="7"/>
                  </a:cubicBezTo>
                  <a:cubicBezTo>
                    <a:pt x="195" y="7"/>
                    <a:pt x="194" y="6"/>
                    <a:pt x="193" y="6"/>
                  </a:cubicBezTo>
                  <a:cubicBezTo>
                    <a:pt x="192" y="6"/>
                    <a:pt x="192" y="6"/>
                    <a:pt x="192" y="6"/>
                  </a:cubicBezTo>
                  <a:cubicBezTo>
                    <a:pt x="190" y="6"/>
                    <a:pt x="189" y="6"/>
                    <a:pt x="187" y="6"/>
                  </a:cubicBezTo>
                  <a:cubicBezTo>
                    <a:pt x="186" y="6"/>
                    <a:pt x="184" y="6"/>
                    <a:pt x="182" y="6"/>
                  </a:cubicBezTo>
                  <a:cubicBezTo>
                    <a:pt x="182" y="6"/>
                    <a:pt x="181" y="6"/>
                    <a:pt x="181" y="6"/>
                  </a:cubicBezTo>
                  <a:cubicBezTo>
                    <a:pt x="177" y="6"/>
                    <a:pt x="175" y="4"/>
                    <a:pt x="172" y="2"/>
                  </a:cubicBezTo>
                  <a:cubicBezTo>
                    <a:pt x="172" y="2"/>
                    <a:pt x="172" y="2"/>
                    <a:pt x="172" y="2"/>
                  </a:cubicBezTo>
                  <a:cubicBezTo>
                    <a:pt x="171" y="1"/>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7" name="Freeform 248">
              <a:extLst>
                <a:ext uri="{FF2B5EF4-FFF2-40B4-BE49-F238E27FC236}">
                  <a16:creationId xmlns:a16="http://schemas.microsoft.com/office/drawing/2014/main" id="{9636445F-F25E-4A7E-8D5C-441E250CFC1A}"/>
                </a:ext>
              </a:extLst>
            </p:cNvPr>
            <p:cNvSpPr>
              <a:spLocks/>
            </p:cNvSpPr>
            <p:nvPr/>
          </p:nvSpPr>
          <p:spPr bwMode="auto">
            <a:xfrm>
              <a:off x="8282456" y="523812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8" name="Freeform 249">
              <a:extLst>
                <a:ext uri="{FF2B5EF4-FFF2-40B4-BE49-F238E27FC236}">
                  <a16:creationId xmlns:a16="http://schemas.microsoft.com/office/drawing/2014/main" id="{FA72806E-FE3E-4BD9-9136-6EA2293A108C}"/>
                </a:ext>
              </a:extLst>
            </p:cNvPr>
            <p:cNvSpPr>
              <a:spLocks/>
            </p:cNvSpPr>
            <p:nvPr/>
          </p:nvSpPr>
          <p:spPr bwMode="auto">
            <a:xfrm>
              <a:off x="8282456" y="5238122"/>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9" name="Freeform 250">
              <a:extLst>
                <a:ext uri="{FF2B5EF4-FFF2-40B4-BE49-F238E27FC236}">
                  <a16:creationId xmlns:a16="http://schemas.microsoft.com/office/drawing/2014/main" id="{D439E576-491D-4527-9F37-4DDD2010AD30}"/>
                </a:ext>
              </a:extLst>
            </p:cNvPr>
            <p:cNvSpPr>
              <a:spLocks/>
            </p:cNvSpPr>
            <p:nvPr/>
          </p:nvSpPr>
          <p:spPr bwMode="auto">
            <a:xfrm>
              <a:off x="8505594" y="6520467"/>
              <a:ext cx="264094" cy="244323"/>
            </a:xfrm>
            <a:custGeom>
              <a:avLst/>
              <a:gdLst>
                <a:gd name="T0" fmla="*/ 0 w 79"/>
                <a:gd name="T1" fmla="*/ 0 h 73"/>
                <a:gd name="T2" fmla="*/ 0 w 79"/>
                <a:gd name="T3" fmla="*/ 67 h 73"/>
                <a:gd name="T4" fmla="*/ 28 w 79"/>
                <a:gd name="T5" fmla="*/ 68 h 73"/>
                <a:gd name="T6" fmla="*/ 25 w 79"/>
                <a:gd name="T7" fmla="*/ 67 h 73"/>
                <a:gd name="T8" fmla="*/ 25 w 79"/>
                <a:gd name="T9" fmla="*/ 67 h 73"/>
                <a:gd name="T10" fmla="*/ 44 w 79"/>
                <a:gd name="T11" fmla="*/ 72 h 73"/>
                <a:gd name="T12" fmla="*/ 48 w 79"/>
                <a:gd name="T13" fmla="*/ 73 h 73"/>
                <a:gd name="T14" fmla="*/ 50 w 79"/>
                <a:gd name="T15" fmla="*/ 72 h 73"/>
                <a:gd name="T16" fmla="*/ 74 w 79"/>
                <a:gd name="T17" fmla="*/ 69 h 73"/>
                <a:gd name="T18" fmla="*/ 79 w 79"/>
                <a:gd name="T19" fmla="*/ 60 h 73"/>
                <a:gd name="T20" fmla="*/ 75 w 79"/>
                <a:gd name="T21" fmla="*/ 60 h 73"/>
                <a:gd name="T22" fmla="*/ 67 w 79"/>
                <a:gd name="T23" fmla="*/ 60 h 73"/>
                <a:gd name="T24" fmla="*/ 67 w 79"/>
                <a:gd name="T25" fmla="*/ 60 h 73"/>
                <a:gd name="T26" fmla="*/ 45 w 79"/>
                <a:gd name="T27" fmla="*/ 51 h 73"/>
                <a:gd name="T28" fmla="*/ 25 w 79"/>
                <a:gd name="T29" fmla="*/ 38 h 73"/>
                <a:gd name="T30" fmla="*/ 14 w 79"/>
                <a:gd name="T31" fmla="*/ 28 h 73"/>
                <a:gd name="T32" fmla="*/ 8 w 79"/>
                <a:gd name="T33" fmla="*/ 19 h 73"/>
                <a:gd name="T34" fmla="*/ 2 w 79"/>
                <a:gd name="T35" fmla="*/ 16 h 73"/>
                <a:gd name="T36" fmla="*/ 0 w 79"/>
                <a:gd name="T37" fmla="*/ 14 h 73"/>
                <a:gd name="T38" fmla="*/ 0 w 79"/>
                <a:gd name="T39" fmla="*/ 14 h 73"/>
                <a:gd name="T40" fmla="*/ 0 w 79"/>
                <a:gd name="T41" fmla="*/ 13 h 73"/>
                <a:gd name="T42" fmla="*/ 5 w 79"/>
                <a:gd name="T43" fmla="*/ 7 h 73"/>
                <a:gd name="T44" fmla="*/ 0 w 79"/>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73">
                  <a:moveTo>
                    <a:pt x="0" y="0"/>
                  </a:moveTo>
                  <a:cubicBezTo>
                    <a:pt x="0" y="28"/>
                    <a:pt x="0" y="60"/>
                    <a:pt x="0" y="67"/>
                  </a:cubicBezTo>
                  <a:cubicBezTo>
                    <a:pt x="10" y="68"/>
                    <a:pt x="19" y="68"/>
                    <a:pt x="28" y="68"/>
                  </a:cubicBezTo>
                  <a:cubicBezTo>
                    <a:pt x="27" y="68"/>
                    <a:pt x="26" y="68"/>
                    <a:pt x="25" y="67"/>
                  </a:cubicBezTo>
                  <a:cubicBezTo>
                    <a:pt x="25" y="67"/>
                    <a:pt x="25" y="67"/>
                    <a:pt x="25" y="67"/>
                  </a:cubicBezTo>
                  <a:cubicBezTo>
                    <a:pt x="31" y="68"/>
                    <a:pt x="38" y="70"/>
                    <a:pt x="44" y="72"/>
                  </a:cubicBezTo>
                  <a:cubicBezTo>
                    <a:pt x="45" y="72"/>
                    <a:pt x="46" y="73"/>
                    <a:pt x="48" y="73"/>
                  </a:cubicBezTo>
                  <a:cubicBezTo>
                    <a:pt x="49" y="73"/>
                    <a:pt x="49" y="72"/>
                    <a:pt x="50" y="72"/>
                  </a:cubicBezTo>
                  <a:cubicBezTo>
                    <a:pt x="58" y="71"/>
                    <a:pt x="66" y="70"/>
                    <a:pt x="74" y="69"/>
                  </a:cubicBezTo>
                  <a:cubicBezTo>
                    <a:pt x="76" y="68"/>
                    <a:pt x="76" y="61"/>
                    <a:pt x="79" y="60"/>
                  </a:cubicBezTo>
                  <a:cubicBezTo>
                    <a:pt x="77" y="60"/>
                    <a:pt x="76" y="60"/>
                    <a:pt x="75" y="60"/>
                  </a:cubicBezTo>
                  <a:cubicBezTo>
                    <a:pt x="72" y="60"/>
                    <a:pt x="70" y="60"/>
                    <a:pt x="67" y="60"/>
                  </a:cubicBezTo>
                  <a:cubicBezTo>
                    <a:pt x="67" y="60"/>
                    <a:pt x="67" y="60"/>
                    <a:pt x="67" y="60"/>
                  </a:cubicBezTo>
                  <a:cubicBezTo>
                    <a:pt x="59" y="60"/>
                    <a:pt x="51" y="55"/>
                    <a:pt x="45" y="51"/>
                  </a:cubicBezTo>
                  <a:cubicBezTo>
                    <a:pt x="38" y="47"/>
                    <a:pt x="32" y="42"/>
                    <a:pt x="25" y="38"/>
                  </a:cubicBezTo>
                  <a:cubicBezTo>
                    <a:pt x="21" y="36"/>
                    <a:pt x="18" y="31"/>
                    <a:pt x="14" y="28"/>
                  </a:cubicBezTo>
                  <a:cubicBezTo>
                    <a:pt x="12" y="25"/>
                    <a:pt x="10" y="22"/>
                    <a:pt x="8" y="19"/>
                  </a:cubicBezTo>
                  <a:cubicBezTo>
                    <a:pt x="6" y="16"/>
                    <a:pt x="5" y="18"/>
                    <a:pt x="2" y="16"/>
                  </a:cubicBezTo>
                  <a:cubicBezTo>
                    <a:pt x="1" y="16"/>
                    <a:pt x="0" y="15"/>
                    <a:pt x="0" y="14"/>
                  </a:cubicBezTo>
                  <a:cubicBezTo>
                    <a:pt x="0" y="14"/>
                    <a:pt x="0" y="14"/>
                    <a:pt x="0" y="14"/>
                  </a:cubicBezTo>
                  <a:cubicBezTo>
                    <a:pt x="0" y="13"/>
                    <a:pt x="0" y="13"/>
                    <a:pt x="0" y="13"/>
                  </a:cubicBezTo>
                  <a:cubicBezTo>
                    <a:pt x="1" y="10"/>
                    <a:pt x="3" y="8"/>
                    <a:pt x="5" y="7"/>
                  </a:cubicBezTo>
                  <a:cubicBezTo>
                    <a:pt x="3" y="5"/>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0" name="Freeform 251">
              <a:extLst>
                <a:ext uri="{FF2B5EF4-FFF2-40B4-BE49-F238E27FC236}">
                  <a16:creationId xmlns:a16="http://schemas.microsoft.com/office/drawing/2014/main" id="{FC4ADD79-FCD9-4F7C-8392-7DC7A74BE304}"/>
                </a:ext>
              </a:extLst>
            </p:cNvPr>
            <p:cNvSpPr>
              <a:spLocks/>
            </p:cNvSpPr>
            <p:nvPr/>
          </p:nvSpPr>
          <p:spPr bwMode="auto">
            <a:xfrm>
              <a:off x="7538189" y="1902332"/>
              <a:ext cx="440628" cy="477348"/>
            </a:xfrm>
            <a:custGeom>
              <a:avLst/>
              <a:gdLst>
                <a:gd name="T0" fmla="*/ 47 w 132"/>
                <a:gd name="T1" fmla="*/ 3 h 143"/>
                <a:gd name="T2" fmla="*/ 29 w 132"/>
                <a:gd name="T3" fmla="*/ 9 h 143"/>
                <a:gd name="T4" fmla="*/ 23 w 132"/>
                <a:gd name="T5" fmla="*/ 19 h 143"/>
                <a:gd name="T6" fmla="*/ 13 w 132"/>
                <a:gd name="T7" fmla="*/ 40 h 143"/>
                <a:gd name="T8" fmla="*/ 9 w 132"/>
                <a:gd name="T9" fmla="*/ 51 h 143"/>
                <a:gd name="T10" fmla="*/ 2 w 132"/>
                <a:gd name="T11" fmla="*/ 81 h 143"/>
                <a:gd name="T12" fmla="*/ 15 w 132"/>
                <a:gd name="T13" fmla="*/ 92 h 143"/>
                <a:gd name="T14" fmla="*/ 17 w 132"/>
                <a:gd name="T15" fmla="*/ 91 h 143"/>
                <a:gd name="T16" fmla="*/ 18 w 132"/>
                <a:gd name="T17" fmla="*/ 91 h 143"/>
                <a:gd name="T18" fmla="*/ 23 w 132"/>
                <a:gd name="T19" fmla="*/ 90 h 143"/>
                <a:gd name="T20" fmla="*/ 30 w 132"/>
                <a:gd name="T21" fmla="*/ 88 h 143"/>
                <a:gd name="T22" fmla="*/ 19 w 132"/>
                <a:gd name="T23" fmla="*/ 108 h 143"/>
                <a:gd name="T24" fmla="*/ 21 w 132"/>
                <a:gd name="T25" fmla="*/ 116 h 143"/>
                <a:gd name="T26" fmla="*/ 22 w 132"/>
                <a:gd name="T27" fmla="*/ 121 h 143"/>
                <a:gd name="T28" fmla="*/ 18 w 132"/>
                <a:gd name="T29" fmla="*/ 124 h 143"/>
                <a:gd name="T30" fmla="*/ 15 w 132"/>
                <a:gd name="T31" fmla="*/ 126 h 143"/>
                <a:gd name="T32" fmla="*/ 17 w 132"/>
                <a:gd name="T33" fmla="*/ 129 h 143"/>
                <a:gd name="T34" fmla="*/ 23 w 132"/>
                <a:gd name="T35" fmla="*/ 127 h 143"/>
                <a:gd name="T36" fmla="*/ 32 w 132"/>
                <a:gd name="T37" fmla="*/ 130 h 143"/>
                <a:gd name="T38" fmla="*/ 34 w 132"/>
                <a:gd name="T39" fmla="*/ 131 h 143"/>
                <a:gd name="T40" fmla="*/ 39 w 132"/>
                <a:gd name="T41" fmla="*/ 140 h 143"/>
                <a:gd name="T42" fmla="*/ 44 w 132"/>
                <a:gd name="T43" fmla="*/ 143 h 143"/>
                <a:gd name="T44" fmla="*/ 45 w 132"/>
                <a:gd name="T45" fmla="*/ 143 h 143"/>
                <a:gd name="T46" fmla="*/ 51 w 132"/>
                <a:gd name="T47" fmla="*/ 135 h 143"/>
                <a:gd name="T48" fmla="*/ 63 w 132"/>
                <a:gd name="T49" fmla="*/ 109 h 143"/>
                <a:gd name="T50" fmla="*/ 65 w 132"/>
                <a:gd name="T51" fmla="*/ 105 h 143"/>
                <a:gd name="T52" fmla="*/ 69 w 132"/>
                <a:gd name="T53" fmla="*/ 100 h 143"/>
                <a:gd name="T54" fmla="*/ 101 w 132"/>
                <a:gd name="T55" fmla="*/ 86 h 143"/>
                <a:gd name="T56" fmla="*/ 123 w 132"/>
                <a:gd name="T57" fmla="*/ 66 h 143"/>
                <a:gd name="T58" fmla="*/ 127 w 132"/>
                <a:gd name="T59" fmla="*/ 60 h 143"/>
                <a:gd name="T60" fmla="*/ 129 w 132"/>
                <a:gd name="T61" fmla="*/ 56 h 143"/>
                <a:gd name="T62" fmla="*/ 132 w 132"/>
                <a:gd name="T63" fmla="*/ 49 h 143"/>
                <a:gd name="T64" fmla="*/ 128 w 132"/>
                <a:gd name="T65" fmla="*/ 41 h 143"/>
                <a:gd name="T66" fmla="*/ 127 w 132"/>
                <a:gd name="T67" fmla="*/ 38 h 143"/>
                <a:gd name="T68" fmla="*/ 125 w 132"/>
                <a:gd name="T69" fmla="*/ 37 h 143"/>
                <a:gd name="T70" fmla="*/ 122 w 132"/>
                <a:gd name="T71" fmla="*/ 34 h 143"/>
                <a:gd name="T72" fmla="*/ 124 w 132"/>
                <a:gd name="T73" fmla="*/ 31 h 143"/>
                <a:gd name="T74" fmla="*/ 114 w 132"/>
                <a:gd name="T75" fmla="*/ 25 h 143"/>
                <a:gd name="T76" fmla="*/ 109 w 132"/>
                <a:gd name="T77" fmla="*/ 25 h 143"/>
                <a:gd name="T78" fmla="*/ 94 w 132"/>
                <a:gd name="T79" fmla="*/ 25 h 143"/>
                <a:gd name="T80" fmla="*/ 87 w 132"/>
                <a:gd name="T81" fmla="*/ 25 h 143"/>
                <a:gd name="T82" fmla="*/ 81 w 132"/>
                <a:gd name="T83" fmla="*/ 22 h 143"/>
                <a:gd name="T84" fmla="*/ 79 w 132"/>
                <a:gd name="T85" fmla="*/ 16 h 143"/>
                <a:gd name="T86" fmla="*/ 50 w 132"/>
                <a:gd name="T8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2" h="143">
                  <a:moveTo>
                    <a:pt x="50" y="0"/>
                  </a:moveTo>
                  <a:cubicBezTo>
                    <a:pt x="49" y="1"/>
                    <a:pt x="48" y="3"/>
                    <a:pt x="47" y="4"/>
                  </a:cubicBezTo>
                  <a:cubicBezTo>
                    <a:pt x="47" y="4"/>
                    <a:pt x="47" y="3"/>
                    <a:pt x="47" y="3"/>
                  </a:cubicBezTo>
                  <a:cubicBezTo>
                    <a:pt x="45" y="4"/>
                    <a:pt x="43" y="5"/>
                    <a:pt x="40" y="5"/>
                  </a:cubicBezTo>
                  <a:cubicBezTo>
                    <a:pt x="37" y="6"/>
                    <a:pt x="31" y="6"/>
                    <a:pt x="33" y="10"/>
                  </a:cubicBezTo>
                  <a:cubicBezTo>
                    <a:pt x="32" y="10"/>
                    <a:pt x="31" y="9"/>
                    <a:pt x="29" y="9"/>
                  </a:cubicBezTo>
                  <a:cubicBezTo>
                    <a:pt x="26" y="9"/>
                    <a:pt x="21" y="11"/>
                    <a:pt x="21" y="14"/>
                  </a:cubicBezTo>
                  <a:cubicBezTo>
                    <a:pt x="22" y="15"/>
                    <a:pt x="23" y="15"/>
                    <a:pt x="23" y="16"/>
                  </a:cubicBezTo>
                  <a:cubicBezTo>
                    <a:pt x="23" y="17"/>
                    <a:pt x="23" y="18"/>
                    <a:pt x="23" y="19"/>
                  </a:cubicBezTo>
                  <a:cubicBezTo>
                    <a:pt x="23" y="20"/>
                    <a:pt x="24" y="22"/>
                    <a:pt x="24" y="22"/>
                  </a:cubicBezTo>
                  <a:cubicBezTo>
                    <a:pt x="23" y="25"/>
                    <a:pt x="23" y="29"/>
                    <a:pt x="21" y="31"/>
                  </a:cubicBezTo>
                  <a:cubicBezTo>
                    <a:pt x="18" y="33"/>
                    <a:pt x="12" y="37"/>
                    <a:pt x="13" y="40"/>
                  </a:cubicBezTo>
                  <a:cubicBezTo>
                    <a:pt x="13" y="42"/>
                    <a:pt x="15" y="45"/>
                    <a:pt x="17" y="45"/>
                  </a:cubicBezTo>
                  <a:cubicBezTo>
                    <a:pt x="15" y="45"/>
                    <a:pt x="14" y="47"/>
                    <a:pt x="13" y="48"/>
                  </a:cubicBezTo>
                  <a:cubicBezTo>
                    <a:pt x="11" y="51"/>
                    <a:pt x="10" y="51"/>
                    <a:pt x="9" y="51"/>
                  </a:cubicBezTo>
                  <a:cubicBezTo>
                    <a:pt x="5" y="53"/>
                    <a:pt x="2" y="53"/>
                    <a:pt x="3" y="57"/>
                  </a:cubicBezTo>
                  <a:cubicBezTo>
                    <a:pt x="5" y="60"/>
                    <a:pt x="6" y="60"/>
                    <a:pt x="5" y="65"/>
                  </a:cubicBezTo>
                  <a:cubicBezTo>
                    <a:pt x="5" y="69"/>
                    <a:pt x="9" y="81"/>
                    <a:pt x="2" y="81"/>
                  </a:cubicBezTo>
                  <a:cubicBezTo>
                    <a:pt x="2" y="81"/>
                    <a:pt x="1" y="81"/>
                    <a:pt x="0" y="81"/>
                  </a:cubicBezTo>
                  <a:cubicBezTo>
                    <a:pt x="2" y="84"/>
                    <a:pt x="4" y="84"/>
                    <a:pt x="6" y="85"/>
                  </a:cubicBezTo>
                  <a:cubicBezTo>
                    <a:pt x="10" y="87"/>
                    <a:pt x="12" y="90"/>
                    <a:pt x="15" y="92"/>
                  </a:cubicBezTo>
                  <a:cubicBezTo>
                    <a:pt x="16" y="93"/>
                    <a:pt x="17" y="93"/>
                    <a:pt x="17" y="93"/>
                  </a:cubicBezTo>
                  <a:cubicBezTo>
                    <a:pt x="17" y="93"/>
                    <a:pt x="18" y="93"/>
                    <a:pt x="18" y="93"/>
                  </a:cubicBezTo>
                  <a:cubicBezTo>
                    <a:pt x="18" y="93"/>
                    <a:pt x="17" y="91"/>
                    <a:pt x="17" y="91"/>
                  </a:cubicBezTo>
                  <a:cubicBezTo>
                    <a:pt x="17" y="91"/>
                    <a:pt x="17" y="91"/>
                    <a:pt x="18" y="91"/>
                  </a:cubicBezTo>
                  <a:cubicBezTo>
                    <a:pt x="18" y="91"/>
                    <a:pt x="18" y="91"/>
                    <a:pt x="18" y="91"/>
                  </a:cubicBezTo>
                  <a:cubicBezTo>
                    <a:pt x="18" y="91"/>
                    <a:pt x="18" y="91"/>
                    <a:pt x="18" y="91"/>
                  </a:cubicBezTo>
                  <a:cubicBezTo>
                    <a:pt x="19" y="91"/>
                    <a:pt x="19" y="91"/>
                    <a:pt x="19" y="91"/>
                  </a:cubicBezTo>
                  <a:cubicBezTo>
                    <a:pt x="21" y="89"/>
                    <a:pt x="22" y="87"/>
                    <a:pt x="24" y="85"/>
                  </a:cubicBezTo>
                  <a:cubicBezTo>
                    <a:pt x="25" y="88"/>
                    <a:pt x="25" y="88"/>
                    <a:pt x="23" y="90"/>
                  </a:cubicBezTo>
                  <a:cubicBezTo>
                    <a:pt x="23" y="91"/>
                    <a:pt x="24" y="91"/>
                    <a:pt x="24" y="91"/>
                  </a:cubicBezTo>
                  <a:cubicBezTo>
                    <a:pt x="27" y="91"/>
                    <a:pt x="27" y="85"/>
                    <a:pt x="27" y="83"/>
                  </a:cubicBezTo>
                  <a:cubicBezTo>
                    <a:pt x="28" y="85"/>
                    <a:pt x="29" y="86"/>
                    <a:pt x="30" y="88"/>
                  </a:cubicBezTo>
                  <a:cubicBezTo>
                    <a:pt x="30" y="90"/>
                    <a:pt x="30" y="90"/>
                    <a:pt x="29" y="92"/>
                  </a:cubicBezTo>
                  <a:cubicBezTo>
                    <a:pt x="28" y="95"/>
                    <a:pt x="27" y="99"/>
                    <a:pt x="25" y="103"/>
                  </a:cubicBezTo>
                  <a:cubicBezTo>
                    <a:pt x="24" y="106"/>
                    <a:pt x="22" y="107"/>
                    <a:pt x="19" y="108"/>
                  </a:cubicBezTo>
                  <a:cubicBezTo>
                    <a:pt x="19" y="108"/>
                    <a:pt x="19" y="108"/>
                    <a:pt x="19" y="108"/>
                  </a:cubicBezTo>
                  <a:cubicBezTo>
                    <a:pt x="19" y="109"/>
                    <a:pt x="19" y="109"/>
                    <a:pt x="19" y="109"/>
                  </a:cubicBezTo>
                  <a:cubicBezTo>
                    <a:pt x="19" y="110"/>
                    <a:pt x="20" y="112"/>
                    <a:pt x="21" y="116"/>
                  </a:cubicBezTo>
                  <a:cubicBezTo>
                    <a:pt x="22" y="116"/>
                    <a:pt x="22" y="116"/>
                    <a:pt x="22" y="116"/>
                  </a:cubicBezTo>
                  <a:cubicBezTo>
                    <a:pt x="22" y="117"/>
                    <a:pt x="22" y="117"/>
                    <a:pt x="22" y="117"/>
                  </a:cubicBezTo>
                  <a:cubicBezTo>
                    <a:pt x="23" y="119"/>
                    <a:pt x="23" y="120"/>
                    <a:pt x="22" y="121"/>
                  </a:cubicBezTo>
                  <a:cubicBezTo>
                    <a:pt x="22" y="122"/>
                    <a:pt x="22" y="123"/>
                    <a:pt x="21" y="123"/>
                  </a:cubicBezTo>
                  <a:cubicBezTo>
                    <a:pt x="21" y="123"/>
                    <a:pt x="21" y="123"/>
                    <a:pt x="21" y="123"/>
                  </a:cubicBezTo>
                  <a:cubicBezTo>
                    <a:pt x="20" y="124"/>
                    <a:pt x="19" y="124"/>
                    <a:pt x="18" y="124"/>
                  </a:cubicBezTo>
                  <a:cubicBezTo>
                    <a:pt x="18" y="124"/>
                    <a:pt x="18" y="124"/>
                    <a:pt x="18" y="124"/>
                  </a:cubicBezTo>
                  <a:cubicBezTo>
                    <a:pt x="17" y="125"/>
                    <a:pt x="16" y="125"/>
                    <a:pt x="16" y="125"/>
                  </a:cubicBezTo>
                  <a:cubicBezTo>
                    <a:pt x="15" y="126"/>
                    <a:pt x="15" y="126"/>
                    <a:pt x="15" y="126"/>
                  </a:cubicBezTo>
                  <a:cubicBezTo>
                    <a:pt x="15" y="126"/>
                    <a:pt x="16" y="127"/>
                    <a:pt x="16" y="127"/>
                  </a:cubicBezTo>
                  <a:cubicBezTo>
                    <a:pt x="16" y="128"/>
                    <a:pt x="16" y="129"/>
                    <a:pt x="16" y="129"/>
                  </a:cubicBezTo>
                  <a:cubicBezTo>
                    <a:pt x="17" y="129"/>
                    <a:pt x="17" y="129"/>
                    <a:pt x="17" y="129"/>
                  </a:cubicBezTo>
                  <a:cubicBezTo>
                    <a:pt x="18" y="128"/>
                    <a:pt x="18" y="128"/>
                    <a:pt x="18" y="127"/>
                  </a:cubicBezTo>
                  <a:cubicBezTo>
                    <a:pt x="20" y="127"/>
                    <a:pt x="20" y="127"/>
                    <a:pt x="21" y="127"/>
                  </a:cubicBezTo>
                  <a:cubicBezTo>
                    <a:pt x="22" y="127"/>
                    <a:pt x="23" y="127"/>
                    <a:pt x="23" y="127"/>
                  </a:cubicBezTo>
                  <a:cubicBezTo>
                    <a:pt x="24" y="128"/>
                    <a:pt x="25" y="128"/>
                    <a:pt x="26" y="129"/>
                  </a:cubicBezTo>
                  <a:cubicBezTo>
                    <a:pt x="28" y="130"/>
                    <a:pt x="29" y="130"/>
                    <a:pt x="30" y="131"/>
                  </a:cubicBezTo>
                  <a:cubicBezTo>
                    <a:pt x="31" y="130"/>
                    <a:pt x="31" y="130"/>
                    <a:pt x="32" y="130"/>
                  </a:cubicBezTo>
                  <a:cubicBezTo>
                    <a:pt x="32" y="130"/>
                    <a:pt x="32" y="130"/>
                    <a:pt x="32" y="130"/>
                  </a:cubicBezTo>
                  <a:cubicBezTo>
                    <a:pt x="33" y="131"/>
                    <a:pt x="33" y="131"/>
                    <a:pt x="33" y="131"/>
                  </a:cubicBezTo>
                  <a:cubicBezTo>
                    <a:pt x="34" y="131"/>
                    <a:pt x="34" y="131"/>
                    <a:pt x="34" y="131"/>
                  </a:cubicBezTo>
                  <a:cubicBezTo>
                    <a:pt x="36" y="133"/>
                    <a:pt x="37" y="135"/>
                    <a:pt x="38" y="137"/>
                  </a:cubicBezTo>
                  <a:cubicBezTo>
                    <a:pt x="38" y="138"/>
                    <a:pt x="38" y="139"/>
                    <a:pt x="39" y="139"/>
                  </a:cubicBezTo>
                  <a:cubicBezTo>
                    <a:pt x="39" y="140"/>
                    <a:pt x="39" y="140"/>
                    <a:pt x="39" y="140"/>
                  </a:cubicBezTo>
                  <a:cubicBezTo>
                    <a:pt x="40" y="140"/>
                    <a:pt x="40" y="140"/>
                    <a:pt x="40" y="140"/>
                  </a:cubicBezTo>
                  <a:cubicBezTo>
                    <a:pt x="41" y="142"/>
                    <a:pt x="42" y="143"/>
                    <a:pt x="43" y="143"/>
                  </a:cubicBezTo>
                  <a:cubicBezTo>
                    <a:pt x="44" y="143"/>
                    <a:pt x="44" y="143"/>
                    <a:pt x="44" y="143"/>
                  </a:cubicBezTo>
                  <a:cubicBezTo>
                    <a:pt x="45" y="143"/>
                    <a:pt x="45" y="143"/>
                    <a:pt x="45" y="143"/>
                  </a:cubicBezTo>
                  <a:cubicBezTo>
                    <a:pt x="45" y="143"/>
                    <a:pt x="45" y="143"/>
                    <a:pt x="45" y="143"/>
                  </a:cubicBezTo>
                  <a:cubicBezTo>
                    <a:pt x="45" y="143"/>
                    <a:pt x="45" y="143"/>
                    <a:pt x="45" y="143"/>
                  </a:cubicBezTo>
                  <a:cubicBezTo>
                    <a:pt x="46" y="142"/>
                    <a:pt x="46" y="141"/>
                    <a:pt x="47" y="141"/>
                  </a:cubicBezTo>
                  <a:cubicBezTo>
                    <a:pt x="47" y="140"/>
                    <a:pt x="47" y="140"/>
                    <a:pt x="47" y="140"/>
                  </a:cubicBezTo>
                  <a:cubicBezTo>
                    <a:pt x="49" y="138"/>
                    <a:pt x="51" y="137"/>
                    <a:pt x="51" y="135"/>
                  </a:cubicBezTo>
                  <a:cubicBezTo>
                    <a:pt x="54" y="130"/>
                    <a:pt x="57" y="123"/>
                    <a:pt x="58" y="117"/>
                  </a:cubicBezTo>
                  <a:cubicBezTo>
                    <a:pt x="58" y="116"/>
                    <a:pt x="58" y="116"/>
                    <a:pt x="58" y="116"/>
                  </a:cubicBezTo>
                  <a:cubicBezTo>
                    <a:pt x="59" y="112"/>
                    <a:pt x="59" y="110"/>
                    <a:pt x="63" y="109"/>
                  </a:cubicBezTo>
                  <a:cubicBezTo>
                    <a:pt x="63" y="109"/>
                    <a:pt x="64" y="109"/>
                    <a:pt x="64" y="109"/>
                  </a:cubicBezTo>
                  <a:cubicBezTo>
                    <a:pt x="64" y="109"/>
                    <a:pt x="64" y="109"/>
                    <a:pt x="64" y="109"/>
                  </a:cubicBezTo>
                  <a:cubicBezTo>
                    <a:pt x="64" y="108"/>
                    <a:pt x="64" y="106"/>
                    <a:pt x="65" y="105"/>
                  </a:cubicBezTo>
                  <a:cubicBezTo>
                    <a:pt x="66" y="104"/>
                    <a:pt x="66" y="104"/>
                    <a:pt x="67" y="103"/>
                  </a:cubicBezTo>
                  <a:cubicBezTo>
                    <a:pt x="68" y="102"/>
                    <a:pt x="68" y="102"/>
                    <a:pt x="68" y="102"/>
                  </a:cubicBezTo>
                  <a:cubicBezTo>
                    <a:pt x="68" y="101"/>
                    <a:pt x="68" y="101"/>
                    <a:pt x="69" y="100"/>
                  </a:cubicBezTo>
                  <a:cubicBezTo>
                    <a:pt x="73" y="97"/>
                    <a:pt x="77" y="95"/>
                    <a:pt x="81" y="94"/>
                  </a:cubicBezTo>
                  <a:cubicBezTo>
                    <a:pt x="83" y="93"/>
                    <a:pt x="85" y="93"/>
                    <a:pt x="87" y="92"/>
                  </a:cubicBezTo>
                  <a:cubicBezTo>
                    <a:pt x="93" y="90"/>
                    <a:pt x="98" y="89"/>
                    <a:pt x="101" y="86"/>
                  </a:cubicBezTo>
                  <a:cubicBezTo>
                    <a:pt x="105" y="83"/>
                    <a:pt x="109" y="80"/>
                    <a:pt x="113" y="76"/>
                  </a:cubicBezTo>
                  <a:cubicBezTo>
                    <a:pt x="114" y="75"/>
                    <a:pt x="116" y="73"/>
                    <a:pt x="117" y="72"/>
                  </a:cubicBezTo>
                  <a:cubicBezTo>
                    <a:pt x="119" y="70"/>
                    <a:pt x="121" y="68"/>
                    <a:pt x="123" y="66"/>
                  </a:cubicBezTo>
                  <a:cubicBezTo>
                    <a:pt x="123" y="66"/>
                    <a:pt x="123" y="66"/>
                    <a:pt x="123" y="65"/>
                  </a:cubicBezTo>
                  <a:cubicBezTo>
                    <a:pt x="124" y="65"/>
                    <a:pt x="124" y="65"/>
                    <a:pt x="124" y="65"/>
                  </a:cubicBezTo>
                  <a:cubicBezTo>
                    <a:pt x="125" y="63"/>
                    <a:pt x="126" y="62"/>
                    <a:pt x="127" y="60"/>
                  </a:cubicBezTo>
                  <a:cubicBezTo>
                    <a:pt x="127" y="59"/>
                    <a:pt x="127" y="59"/>
                    <a:pt x="127" y="59"/>
                  </a:cubicBezTo>
                  <a:cubicBezTo>
                    <a:pt x="127" y="59"/>
                    <a:pt x="128" y="58"/>
                    <a:pt x="128" y="58"/>
                  </a:cubicBezTo>
                  <a:cubicBezTo>
                    <a:pt x="129" y="56"/>
                    <a:pt x="129" y="56"/>
                    <a:pt x="129" y="56"/>
                  </a:cubicBezTo>
                  <a:cubicBezTo>
                    <a:pt x="129" y="56"/>
                    <a:pt x="129" y="55"/>
                    <a:pt x="130" y="54"/>
                  </a:cubicBezTo>
                  <a:cubicBezTo>
                    <a:pt x="130" y="54"/>
                    <a:pt x="132" y="52"/>
                    <a:pt x="132" y="51"/>
                  </a:cubicBezTo>
                  <a:cubicBezTo>
                    <a:pt x="132" y="51"/>
                    <a:pt x="132" y="50"/>
                    <a:pt x="132" y="49"/>
                  </a:cubicBezTo>
                  <a:cubicBezTo>
                    <a:pt x="131" y="48"/>
                    <a:pt x="131" y="47"/>
                    <a:pt x="131" y="46"/>
                  </a:cubicBezTo>
                  <a:cubicBezTo>
                    <a:pt x="130" y="46"/>
                    <a:pt x="130" y="45"/>
                    <a:pt x="129" y="44"/>
                  </a:cubicBezTo>
                  <a:cubicBezTo>
                    <a:pt x="129" y="43"/>
                    <a:pt x="128" y="42"/>
                    <a:pt x="128" y="41"/>
                  </a:cubicBezTo>
                  <a:cubicBezTo>
                    <a:pt x="128" y="41"/>
                    <a:pt x="127" y="40"/>
                    <a:pt x="127" y="40"/>
                  </a:cubicBezTo>
                  <a:cubicBezTo>
                    <a:pt x="127" y="40"/>
                    <a:pt x="127" y="40"/>
                    <a:pt x="127" y="40"/>
                  </a:cubicBezTo>
                  <a:cubicBezTo>
                    <a:pt x="127" y="38"/>
                    <a:pt x="127" y="38"/>
                    <a:pt x="127" y="38"/>
                  </a:cubicBezTo>
                  <a:cubicBezTo>
                    <a:pt x="127" y="38"/>
                    <a:pt x="127" y="38"/>
                    <a:pt x="127" y="38"/>
                  </a:cubicBezTo>
                  <a:cubicBezTo>
                    <a:pt x="126" y="38"/>
                    <a:pt x="126" y="38"/>
                    <a:pt x="126" y="38"/>
                  </a:cubicBezTo>
                  <a:cubicBezTo>
                    <a:pt x="126" y="37"/>
                    <a:pt x="126" y="37"/>
                    <a:pt x="125" y="37"/>
                  </a:cubicBezTo>
                  <a:cubicBezTo>
                    <a:pt x="125" y="37"/>
                    <a:pt x="125" y="37"/>
                    <a:pt x="125" y="37"/>
                  </a:cubicBezTo>
                  <a:cubicBezTo>
                    <a:pt x="124" y="36"/>
                    <a:pt x="123" y="36"/>
                    <a:pt x="123" y="35"/>
                  </a:cubicBezTo>
                  <a:cubicBezTo>
                    <a:pt x="122" y="34"/>
                    <a:pt x="122" y="34"/>
                    <a:pt x="122" y="34"/>
                  </a:cubicBezTo>
                  <a:cubicBezTo>
                    <a:pt x="123" y="32"/>
                    <a:pt x="123" y="32"/>
                    <a:pt x="123" y="32"/>
                  </a:cubicBezTo>
                  <a:cubicBezTo>
                    <a:pt x="123" y="31"/>
                    <a:pt x="123" y="31"/>
                    <a:pt x="123" y="31"/>
                  </a:cubicBezTo>
                  <a:cubicBezTo>
                    <a:pt x="124" y="31"/>
                    <a:pt x="124" y="31"/>
                    <a:pt x="124" y="31"/>
                  </a:cubicBezTo>
                  <a:cubicBezTo>
                    <a:pt x="119" y="28"/>
                    <a:pt x="119" y="28"/>
                    <a:pt x="119" y="28"/>
                  </a:cubicBezTo>
                  <a:cubicBezTo>
                    <a:pt x="118" y="28"/>
                    <a:pt x="117" y="27"/>
                    <a:pt x="117" y="27"/>
                  </a:cubicBezTo>
                  <a:cubicBezTo>
                    <a:pt x="115" y="26"/>
                    <a:pt x="114" y="25"/>
                    <a:pt x="114" y="25"/>
                  </a:cubicBezTo>
                  <a:cubicBezTo>
                    <a:pt x="113" y="25"/>
                    <a:pt x="113" y="25"/>
                    <a:pt x="113" y="25"/>
                  </a:cubicBezTo>
                  <a:cubicBezTo>
                    <a:pt x="113" y="25"/>
                    <a:pt x="112" y="25"/>
                    <a:pt x="112" y="25"/>
                  </a:cubicBezTo>
                  <a:cubicBezTo>
                    <a:pt x="111" y="25"/>
                    <a:pt x="110" y="25"/>
                    <a:pt x="109" y="25"/>
                  </a:cubicBezTo>
                  <a:cubicBezTo>
                    <a:pt x="108" y="26"/>
                    <a:pt x="108" y="26"/>
                    <a:pt x="108" y="26"/>
                  </a:cubicBezTo>
                  <a:cubicBezTo>
                    <a:pt x="105" y="26"/>
                    <a:pt x="103" y="26"/>
                    <a:pt x="102" y="26"/>
                  </a:cubicBezTo>
                  <a:cubicBezTo>
                    <a:pt x="99" y="26"/>
                    <a:pt x="97" y="26"/>
                    <a:pt x="94" y="25"/>
                  </a:cubicBezTo>
                  <a:cubicBezTo>
                    <a:pt x="93" y="25"/>
                    <a:pt x="92" y="25"/>
                    <a:pt x="91" y="25"/>
                  </a:cubicBezTo>
                  <a:cubicBezTo>
                    <a:pt x="91" y="25"/>
                    <a:pt x="91" y="25"/>
                    <a:pt x="91" y="25"/>
                  </a:cubicBezTo>
                  <a:cubicBezTo>
                    <a:pt x="89" y="25"/>
                    <a:pt x="88" y="25"/>
                    <a:pt x="87" y="25"/>
                  </a:cubicBezTo>
                  <a:cubicBezTo>
                    <a:pt x="86" y="25"/>
                    <a:pt x="86" y="25"/>
                    <a:pt x="85" y="24"/>
                  </a:cubicBezTo>
                  <a:cubicBezTo>
                    <a:pt x="84" y="24"/>
                    <a:pt x="83" y="24"/>
                    <a:pt x="82" y="23"/>
                  </a:cubicBezTo>
                  <a:cubicBezTo>
                    <a:pt x="82" y="22"/>
                    <a:pt x="82" y="22"/>
                    <a:pt x="81" y="22"/>
                  </a:cubicBezTo>
                  <a:cubicBezTo>
                    <a:pt x="81" y="21"/>
                    <a:pt x="80" y="20"/>
                    <a:pt x="80" y="19"/>
                  </a:cubicBezTo>
                  <a:cubicBezTo>
                    <a:pt x="80" y="18"/>
                    <a:pt x="79" y="17"/>
                    <a:pt x="79" y="17"/>
                  </a:cubicBezTo>
                  <a:cubicBezTo>
                    <a:pt x="79" y="16"/>
                    <a:pt x="79" y="16"/>
                    <a:pt x="79" y="16"/>
                  </a:cubicBezTo>
                  <a:cubicBezTo>
                    <a:pt x="78" y="14"/>
                    <a:pt x="77" y="14"/>
                    <a:pt x="74" y="13"/>
                  </a:cubicBezTo>
                  <a:cubicBezTo>
                    <a:pt x="73" y="13"/>
                    <a:pt x="72" y="13"/>
                    <a:pt x="72" y="12"/>
                  </a:cubicBezTo>
                  <a:cubicBezTo>
                    <a:pt x="64" y="9"/>
                    <a:pt x="58" y="5"/>
                    <a:pt x="50" y="0"/>
                  </a:cubicBezTo>
                  <a:cubicBezTo>
                    <a:pt x="50" y="0"/>
                    <a:pt x="50" y="0"/>
                    <a:pt x="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1" name="Freeform 252">
              <a:extLst>
                <a:ext uri="{FF2B5EF4-FFF2-40B4-BE49-F238E27FC236}">
                  <a16:creationId xmlns:a16="http://schemas.microsoft.com/office/drawing/2014/main" id="{C4CA7EFB-D5C7-477F-8393-36F2205EDB17}"/>
                </a:ext>
              </a:extLst>
            </p:cNvPr>
            <p:cNvSpPr>
              <a:spLocks noEditPoints="1"/>
            </p:cNvSpPr>
            <p:nvPr/>
          </p:nvSpPr>
          <p:spPr bwMode="auto">
            <a:xfrm>
              <a:off x="8152527" y="1054968"/>
              <a:ext cx="1016834" cy="878434"/>
            </a:xfrm>
            <a:custGeom>
              <a:avLst/>
              <a:gdLst>
                <a:gd name="T0" fmla="*/ 257 w 305"/>
                <a:gd name="T1" fmla="*/ 54 h 263"/>
                <a:gd name="T2" fmla="*/ 256 w 305"/>
                <a:gd name="T3" fmla="*/ 54 h 263"/>
                <a:gd name="T4" fmla="*/ 71 w 305"/>
                <a:gd name="T5" fmla="*/ 13 h 263"/>
                <a:gd name="T6" fmla="*/ 67 w 305"/>
                <a:gd name="T7" fmla="*/ 20 h 263"/>
                <a:gd name="T8" fmla="*/ 46 w 305"/>
                <a:gd name="T9" fmla="*/ 57 h 263"/>
                <a:gd name="T10" fmla="*/ 23 w 305"/>
                <a:gd name="T11" fmla="*/ 58 h 263"/>
                <a:gd name="T12" fmla="*/ 28 w 305"/>
                <a:gd name="T13" fmla="*/ 21 h 263"/>
                <a:gd name="T14" fmla="*/ 13 w 305"/>
                <a:gd name="T15" fmla="*/ 33 h 263"/>
                <a:gd name="T16" fmla="*/ 6 w 305"/>
                <a:gd name="T17" fmla="*/ 48 h 263"/>
                <a:gd name="T18" fmla="*/ 5 w 305"/>
                <a:gd name="T19" fmla="*/ 67 h 263"/>
                <a:gd name="T20" fmla="*/ 10 w 305"/>
                <a:gd name="T21" fmla="*/ 72 h 263"/>
                <a:gd name="T22" fmla="*/ 18 w 305"/>
                <a:gd name="T23" fmla="*/ 108 h 263"/>
                <a:gd name="T24" fmla="*/ 27 w 305"/>
                <a:gd name="T25" fmla="*/ 118 h 263"/>
                <a:gd name="T26" fmla="*/ 40 w 305"/>
                <a:gd name="T27" fmla="*/ 119 h 263"/>
                <a:gd name="T28" fmla="*/ 65 w 305"/>
                <a:gd name="T29" fmla="*/ 118 h 263"/>
                <a:gd name="T30" fmla="*/ 87 w 305"/>
                <a:gd name="T31" fmla="*/ 139 h 263"/>
                <a:gd name="T32" fmla="*/ 110 w 305"/>
                <a:gd name="T33" fmla="*/ 136 h 263"/>
                <a:gd name="T34" fmla="*/ 129 w 305"/>
                <a:gd name="T35" fmla="*/ 155 h 263"/>
                <a:gd name="T36" fmla="*/ 124 w 305"/>
                <a:gd name="T37" fmla="*/ 176 h 263"/>
                <a:gd name="T38" fmla="*/ 130 w 305"/>
                <a:gd name="T39" fmla="*/ 196 h 263"/>
                <a:gd name="T40" fmla="*/ 132 w 305"/>
                <a:gd name="T41" fmla="*/ 212 h 263"/>
                <a:gd name="T42" fmla="*/ 129 w 305"/>
                <a:gd name="T43" fmla="*/ 217 h 263"/>
                <a:gd name="T44" fmla="*/ 146 w 305"/>
                <a:gd name="T45" fmla="*/ 251 h 263"/>
                <a:gd name="T46" fmla="*/ 151 w 305"/>
                <a:gd name="T47" fmla="*/ 257 h 263"/>
                <a:gd name="T48" fmla="*/ 175 w 305"/>
                <a:gd name="T49" fmla="*/ 259 h 263"/>
                <a:gd name="T50" fmla="*/ 198 w 305"/>
                <a:gd name="T51" fmla="*/ 249 h 263"/>
                <a:gd name="T52" fmla="*/ 217 w 305"/>
                <a:gd name="T53" fmla="*/ 232 h 263"/>
                <a:gd name="T54" fmla="*/ 206 w 305"/>
                <a:gd name="T55" fmla="*/ 213 h 263"/>
                <a:gd name="T56" fmla="*/ 194 w 305"/>
                <a:gd name="T57" fmla="*/ 192 h 263"/>
                <a:gd name="T58" fmla="*/ 207 w 305"/>
                <a:gd name="T59" fmla="*/ 187 h 263"/>
                <a:gd name="T60" fmla="*/ 218 w 305"/>
                <a:gd name="T61" fmla="*/ 189 h 263"/>
                <a:gd name="T62" fmla="*/ 236 w 305"/>
                <a:gd name="T63" fmla="*/ 197 h 263"/>
                <a:gd name="T64" fmla="*/ 243 w 305"/>
                <a:gd name="T65" fmla="*/ 186 h 263"/>
                <a:gd name="T66" fmla="*/ 276 w 305"/>
                <a:gd name="T67" fmla="*/ 176 h 263"/>
                <a:gd name="T68" fmla="*/ 281 w 305"/>
                <a:gd name="T69" fmla="*/ 167 h 263"/>
                <a:gd name="T70" fmla="*/ 286 w 305"/>
                <a:gd name="T71" fmla="*/ 166 h 263"/>
                <a:gd name="T72" fmla="*/ 270 w 305"/>
                <a:gd name="T73" fmla="*/ 144 h 263"/>
                <a:gd name="T74" fmla="*/ 274 w 305"/>
                <a:gd name="T75" fmla="*/ 133 h 263"/>
                <a:gd name="T76" fmla="*/ 284 w 305"/>
                <a:gd name="T77" fmla="*/ 123 h 263"/>
                <a:gd name="T78" fmla="*/ 293 w 305"/>
                <a:gd name="T79" fmla="*/ 121 h 263"/>
                <a:gd name="T80" fmla="*/ 288 w 305"/>
                <a:gd name="T81" fmla="*/ 119 h 263"/>
                <a:gd name="T82" fmla="*/ 287 w 305"/>
                <a:gd name="T83" fmla="*/ 106 h 263"/>
                <a:gd name="T84" fmla="*/ 302 w 305"/>
                <a:gd name="T85" fmla="*/ 87 h 263"/>
                <a:gd name="T86" fmla="*/ 280 w 305"/>
                <a:gd name="T87" fmla="*/ 88 h 263"/>
                <a:gd name="T88" fmla="*/ 269 w 305"/>
                <a:gd name="T89" fmla="*/ 84 h 263"/>
                <a:gd name="T90" fmla="*/ 278 w 305"/>
                <a:gd name="T91" fmla="*/ 74 h 263"/>
                <a:gd name="T92" fmla="*/ 253 w 305"/>
                <a:gd name="T93" fmla="*/ 53 h 263"/>
                <a:gd name="T94" fmla="*/ 240 w 305"/>
                <a:gd name="T95" fmla="*/ 51 h 263"/>
                <a:gd name="T96" fmla="*/ 240 w 305"/>
                <a:gd name="T97" fmla="*/ 49 h 263"/>
                <a:gd name="T98" fmla="*/ 235 w 305"/>
                <a:gd name="T99" fmla="*/ 40 h 263"/>
                <a:gd name="T100" fmla="*/ 220 w 305"/>
                <a:gd name="T101" fmla="*/ 37 h 263"/>
                <a:gd name="T102" fmla="*/ 212 w 305"/>
                <a:gd name="T103" fmla="*/ 40 h 263"/>
                <a:gd name="T104" fmla="*/ 169 w 305"/>
                <a:gd name="T105" fmla="*/ 46 h 263"/>
                <a:gd name="T106" fmla="*/ 137 w 305"/>
                <a:gd name="T107" fmla="*/ 38 h 263"/>
                <a:gd name="T108" fmla="*/ 89 w 305"/>
                <a:gd name="T109" fmla="*/ 17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5" h="263">
                  <a:moveTo>
                    <a:pt x="205" y="36"/>
                  </a:moveTo>
                  <a:cubicBezTo>
                    <a:pt x="205" y="36"/>
                    <a:pt x="205" y="36"/>
                    <a:pt x="205" y="36"/>
                  </a:cubicBezTo>
                  <a:cubicBezTo>
                    <a:pt x="205" y="36"/>
                    <a:pt x="205" y="36"/>
                    <a:pt x="205" y="36"/>
                  </a:cubicBezTo>
                  <a:moveTo>
                    <a:pt x="256" y="54"/>
                  </a:moveTo>
                  <a:cubicBezTo>
                    <a:pt x="256" y="54"/>
                    <a:pt x="256" y="54"/>
                    <a:pt x="256" y="54"/>
                  </a:cubicBezTo>
                  <a:cubicBezTo>
                    <a:pt x="256" y="54"/>
                    <a:pt x="256" y="54"/>
                    <a:pt x="256" y="54"/>
                  </a:cubicBezTo>
                  <a:cubicBezTo>
                    <a:pt x="257" y="54"/>
                    <a:pt x="257" y="54"/>
                    <a:pt x="257" y="54"/>
                  </a:cubicBezTo>
                  <a:cubicBezTo>
                    <a:pt x="257" y="54"/>
                    <a:pt x="257" y="54"/>
                    <a:pt x="257" y="54"/>
                  </a:cubicBezTo>
                  <a:cubicBezTo>
                    <a:pt x="257" y="54"/>
                    <a:pt x="257" y="54"/>
                    <a:pt x="257"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cubicBezTo>
                    <a:pt x="256" y="54"/>
                    <a:pt x="256" y="54"/>
                    <a:pt x="256" y="54"/>
                  </a:cubicBezTo>
                  <a:moveTo>
                    <a:pt x="71" y="0"/>
                  </a:moveTo>
                  <a:cubicBezTo>
                    <a:pt x="69" y="0"/>
                    <a:pt x="68" y="2"/>
                    <a:pt x="66" y="4"/>
                  </a:cubicBezTo>
                  <a:cubicBezTo>
                    <a:pt x="65" y="6"/>
                    <a:pt x="65" y="7"/>
                    <a:pt x="66" y="9"/>
                  </a:cubicBezTo>
                  <a:cubicBezTo>
                    <a:pt x="67" y="11"/>
                    <a:pt x="68" y="13"/>
                    <a:pt x="69" y="13"/>
                  </a:cubicBezTo>
                  <a:cubicBezTo>
                    <a:pt x="69" y="13"/>
                    <a:pt x="69" y="13"/>
                    <a:pt x="70" y="13"/>
                  </a:cubicBezTo>
                  <a:cubicBezTo>
                    <a:pt x="70" y="13"/>
                    <a:pt x="70" y="13"/>
                    <a:pt x="71" y="13"/>
                  </a:cubicBezTo>
                  <a:cubicBezTo>
                    <a:pt x="71" y="13"/>
                    <a:pt x="71" y="13"/>
                    <a:pt x="71" y="13"/>
                  </a:cubicBezTo>
                  <a:cubicBezTo>
                    <a:pt x="73" y="13"/>
                    <a:pt x="75" y="12"/>
                    <a:pt x="76" y="12"/>
                  </a:cubicBezTo>
                  <a:cubicBezTo>
                    <a:pt x="77" y="13"/>
                    <a:pt x="77" y="15"/>
                    <a:pt x="78" y="16"/>
                  </a:cubicBezTo>
                  <a:cubicBezTo>
                    <a:pt x="77" y="16"/>
                    <a:pt x="76" y="16"/>
                    <a:pt x="75" y="16"/>
                  </a:cubicBezTo>
                  <a:cubicBezTo>
                    <a:pt x="73" y="16"/>
                    <a:pt x="71" y="16"/>
                    <a:pt x="69" y="15"/>
                  </a:cubicBezTo>
                  <a:cubicBezTo>
                    <a:pt x="70" y="15"/>
                    <a:pt x="71" y="16"/>
                    <a:pt x="71" y="17"/>
                  </a:cubicBezTo>
                  <a:cubicBezTo>
                    <a:pt x="70" y="18"/>
                    <a:pt x="68" y="19"/>
                    <a:pt x="67" y="20"/>
                  </a:cubicBezTo>
                  <a:cubicBezTo>
                    <a:pt x="62" y="20"/>
                    <a:pt x="55" y="23"/>
                    <a:pt x="50" y="24"/>
                  </a:cubicBezTo>
                  <a:cubicBezTo>
                    <a:pt x="47" y="25"/>
                    <a:pt x="45" y="27"/>
                    <a:pt x="42" y="28"/>
                  </a:cubicBezTo>
                  <a:cubicBezTo>
                    <a:pt x="42" y="28"/>
                    <a:pt x="42" y="28"/>
                    <a:pt x="41" y="28"/>
                  </a:cubicBezTo>
                  <a:cubicBezTo>
                    <a:pt x="41" y="28"/>
                    <a:pt x="41" y="28"/>
                    <a:pt x="40" y="28"/>
                  </a:cubicBezTo>
                  <a:cubicBezTo>
                    <a:pt x="40" y="28"/>
                    <a:pt x="40" y="28"/>
                    <a:pt x="40" y="28"/>
                  </a:cubicBezTo>
                  <a:cubicBezTo>
                    <a:pt x="39" y="28"/>
                    <a:pt x="39" y="28"/>
                    <a:pt x="38" y="29"/>
                  </a:cubicBezTo>
                  <a:cubicBezTo>
                    <a:pt x="32" y="32"/>
                    <a:pt x="44" y="52"/>
                    <a:pt x="46" y="57"/>
                  </a:cubicBezTo>
                  <a:cubicBezTo>
                    <a:pt x="48" y="62"/>
                    <a:pt x="48" y="67"/>
                    <a:pt x="43" y="71"/>
                  </a:cubicBezTo>
                  <a:cubicBezTo>
                    <a:pt x="42" y="72"/>
                    <a:pt x="39" y="73"/>
                    <a:pt x="37" y="74"/>
                  </a:cubicBezTo>
                  <a:cubicBezTo>
                    <a:pt x="36" y="74"/>
                    <a:pt x="35" y="74"/>
                    <a:pt x="35" y="74"/>
                  </a:cubicBezTo>
                  <a:cubicBezTo>
                    <a:pt x="34" y="74"/>
                    <a:pt x="34" y="74"/>
                    <a:pt x="33" y="74"/>
                  </a:cubicBezTo>
                  <a:cubicBezTo>
                    <a:pt x="32" y="73"/>
                    <a:pt x="32" y="70"/>
                    <a:pt x="32" y="68"/>
                  </a:cubicBezTo>
                  <a:cubicBezTo>
                    <a:pt x="32" y="66"/>
                    <a:pt x="31" y="66"/>
                    <a:pt x="28" y="64"/>
                  </a:cubicBezTo>
                  <a:cubicBezTo>
                    <a:pt x="27" y="64"/>
                    <a:pt x="24" y="60"/>
                    <a:pt x="23" y="58"/>
                  </a:cubicBezTo>
                  <a:cubicBezTo>
                    <a:pt x="22" y="55"/>
                    <a:pt x="24" y="53"/>
                    <a:pt x="26" y="50"/>
                  </a:cubicBezTo>
                  <a:cubicBezTo>
                    <a:pt x="28" y="47"/>
                    <a:pt x="30" y="45"/>
                    <a:pt x="32" y="42"/>
                  </a:cubicBezTo>
                  <a:cubicBezTo>
                    <a:pt x="34" y="39"/>
                    <a:pt x="34" y="37"/>
                    <a:pt x="33" y="34"/>
                  </a:cubicBezTo>
                  <a:cubicBezTo>
                    <a:pt x="33" y="32"/>
                    <a:pt x="32" y="29"/>
                    <a:pt x="31" y="28"/>
                  </a:cubicBezTo>
                  <a:cubicBezTo>
                    <a:pt x="32" y="28"/>
                    <a:pt x="32" y="28"/>
                    <a:pt x="33" y="28"/>
                  </a:cubicBezTo>
                  <a:cubicBezTo>
                    <a:pt x="33" y="28"/>
                    <a:pt x="34" y="28"/>
                    <a:pt x="34" y="28"/>
                  </a:cubicBezTo>
                  <a:cubicBezTo>
                    <a:pt x="31" y="26"/>
                    <a:pt x="29" y="24"/>
                    <a:pt x="28" y="21"/>
                  </a:cubicBezTo>
                  <a:cubicBezTo>
                    <a:pt x="27" y="20"/>
                    <a:pt x="26" y="18"/>
                    <a:pt x="26" y="17"/>
                  </a:cubicBezTo>
                  <a:cubicBezTo>
                    <a:pt x="26" y="17"/>
                    <a:pt x="25" y="18"/>
                    <a:pt x="25" y="20"/>
                  </a:cubicBezTo>
                  <a:cubicBezTo>
                    <a:pt x="24" y="21"/>
                    <a:pt x="24" y="22"/>
                    <a:pt x="23" y="23"/>
                  </a:cubicBezTo>
                  <a:cubicBezTo>
                    <a:pt x="23" y="24"/>
                    <a:pt x="23" y="24"/>
                    <a:pt x="23" y="24"/>
                  </a:cubicBezTo>
                  <a:cubicBezTo>
                    <a:pt x="21" y="27"/>
                    <a:pt x="19" y="27"/>
                    <a:pt x="18" y="27"/>
                  </a:cubicBezTo>
                  <a:cubicBezTo>
                    <a:pt x="17" y="28"/>
                    <a:pt x="16" y="28"/>
                    <a:pt x="15" y="28"/>
                  </a:cubicBezTo>
                  <a:cubicBezTo>
                    <a:pt x="14" y="29"/>
                    <a:pt x="13" y="31"/>
                    <a:pt x="13" y="33"/>
                  </a:cubicBezTo>
                  <a:cubicBezTo>
                    <a:pt x="12" y="34"/>
                    <a:pt x="12" y="34"/>
                    <a:pt x="12" y="34"/>
                  </a:cubicBezTo>
                  <a:cubicBezTo>
                    <a:pt x="11" y="35"/>
                    <a:pt x="11" y="36"/>
                    <a:pt x="10" y="37"/>
                  </a:cubicBezTo>
                  <a:cubicBezTo>
                    <a:pt x="9" y="37"/>
                    <a:pt x="9" y="37"/>
                    <a:pt x="9" y="37"/>
                  </a:cubicBezTo>
                  <a:cubicBezTo>
                    <a:pt x="9" y="37"/>
                    <a:pt x="9" y="37"/>
                    <a:pt x="9" y="37"/>
                  </a:cubicBezTo>
                  <a:cubicBezTo>
                    <a:pt x="10" y="38"/>
                    <a:pt x="10" y="38"/>
                    <a:pt x="10" y="38"/>
                  </a:cubicBezTo>
                  <a:cubicBezTo>
                    <a:pt x="9" y="39"/>
                    <a:pt x="7" y="41"/>
                    <a:pt x="7" y="42"/>
                  </a:cubicBezTo>
                  <a:cubicBezTo>
                    <a:pt x="7" y="44"/>
                    <a:pt x="6" y="46"/>
                    <a:pt x="6" y="48"/>
                  </a:cubicBezTo>
                  <a:cubicBezTo>
                    <a:pt x="6" y="48"/>
                    <a:pt x="6" y="48"/>
                    <a:pt x="6" y="48"/>
                  </a:cubicBezTo>
                  <a:cubicBezTo>
                    <a:pt x="6" y="50"/>
                    <a:pt x="6" y="51"/>
                    <a:pt x="5" y="53"/>
                  </a:cubicBezTo>
                  <a:cubicBezTo>
                    <a:pt x="5" y="54"/>
                    <a:pt x="5" y="55"/>
                    <a:pt x="5" y="56"/>
                  </a:cubicBezTo>
                  <a:cubicBezTo>
                    <a:pt x="3" y="60"/>
                    <a:pt x="2" y="63"/>
                    <a:pt x="0" y="66"/>
                  </a:cubicBezTo>
                  <a:cubicBezTo>
                    <a:pt x="0" y="66"/>
                    <a:pt x="1" y="65"/>
                    <a:pt x="1" y="65"/>
                  </a:cubicBezTo>
                  <a:cubicBezTo>
                    <a:pt x="4" y="64"/>
                    <a:pt x="4" y="64"/>
                    <a:pt x="4" y="64"/>
                  </a:cubicBezTo>
                  <a:cubicBezTo>
                    <a:pt x="5" y="67"/>
                    <a:pt x="5" y="67"/>
                    <a:pt x="5" y="67"/>
                  </a:cubicBezTo>
                  <a:cubicBezTo>
                    <a:pt x="5" y="68"/>
                    <a:pt x="5" y="68"/>
                    <a:pt x="5" y="69"/>
                  </a:cubicBezTo>
                  <a:cubicBezTo>
                    <a:pt x="5" y="69"/>
                    <a:pt x="5" y="69"/>
                    <a:pt x="5" y="69"/>
                  </a:cubicBezTo>
                  <a:cubicBezTo>
                    <a:pt x="6" y="69"/>
                    <a:pt x="6" y="69"/>
                    <a:pt x="6" y="69"/>
                  </a:cubicBezTo>
                  <a:cubicBezTo>
                    <a:pt x="6" y="69"/>
                    <a:pt x="6" y="69"/>
                    <a:pt x="6" y="69"/>
                  </a:cubicBezTo>
                  <a:cubicBezTo>
                    <a:pt x="6" y="69"/>
                    <a:pt x="6" y="69"/>
                    <a:pt x="6" y="69"/>
                  </a:cubicBezTo>
                  <a:cubicBezTo>
                    <a:pt x="7" y="69"/>
                    <a:pt x="7" y="69"/>
                    <a:pt x="7" y="69"/>
                  </a:cubicBezTo>
                  <a:cubicBezTo>
                    <a:pt x="9" y="70"/>
                    <a:pt x="10" y="71"/>
                    <a:pt x="10" y="72"/>
                  </a:cubicBezTo>
                  <a:cubicBezTo>
                    <a:pt x="12" y="74"/>
                    <a:pt x="13" y="76"/>
                    <a:pt x="13" y="79"/>
                  </a:cubicBezTo>
                  <a:cubicBezTo>
                    <a:pt x="17" y="87"/>
                    <a:pt x="17" y="87"/>
                    <a:pt x="17" y="87"/>
                  </a:cubicBezTo>
                  <a:cubicBezTo>
                    <a:pt x="18" y="89"/>
                    <a:pt x="19" y="92"/>
                    <a:pt x="20" y="96"/>
                  </a:cubicBezTo>
                  <a:cubicBezTo>
                    <a:pt x="20" y="96"/>
                    <a:pt x="20" y="96"/>
                    <a:pt x="20" y="96"/>
                  </a:cubicBezTo>
                  <a:cubicBezTo>
                    <a:pt x="20" y="97"/>
                    <a:pt x="20" y="97"/>
                    <a:pt x="20" y="97"/>
                  </a:cubicBezTo>
                  <a:cubicBezTo>
                    <a:pt x="19" y="98"/>
                    <a:pt x="19" y="99"/>
                    <a:pt x="19" y="100"/>
                  </a:cubicBezTo>
                  <a:cubicBezTo>
                    <a:pt x="17" y="102"/>
                    <a:pt x="17" y="105"/>
                    <a:pt x="18" y="108"/>
                  </a:cubicBezTo>
                  <a:cubicBezTo>
                    <a:pt x="18" y="109"/>
                    <a:pt x="18" y="109"/>
                    <a:pt x="18" y="109"/>
                  </a:cubicBezTo>
                  <a:cubicBezTo>
                    <a:pt x="18" y="109"/>
                    <a:pt x="19" y="109"/>
                    <a:pt x="19" y="109"/>
                  </a:cubicBezTo>
                  <a:cubicBezTo>
                    <a:pt x="21" y="110"/>
                    <a:pt x="23" y="110"/>
                    <a:pt x="25" y="113"/>
                  </a:cubicBezTo>
                  <a:cubicBezTo>
                    <a:pt x="25" y="113"/>
                    <a:pt x="25" y="113"/>
                    <a:pt x="25" y="113"/>
                  </a:cubicBezTo>
                  <a:cubicBezTo>
                    <a:pt x="25" y="114"/>
                    <a:pt x="25" y="114"/>
                    <a:pt x="25" y="114"/>
                  </a:cubicBezTo>
                  <a:cubicBezTo>
                    <a:pt x="25" y="115"/>
                    <a:pt x="26" y="115"/>
                    <a:pt x="26" y="116"/>
                  </a:cubicBezTo>
                  <a:cubicBezTo>
                    <a:pt x="26" y="117"/>
                    <a:pt x="27" y="118"/>
                    <a:pt x="27" y="118"/>
                  </a:cubicBezTo>
                  <a:cubicBezTo>
                    <a:pt x="27" y="118"/>
                    <a:pt x="27" y="118"/>
                    <a:pt x="27" y="118"/>
                  </a:cubicBezTo>
                  <a:cubicBezTo>
                    <a:pt x="27" y="118"/>
                    <a:pt x="27" y="118"/>
                    <a:pt x="27" y="118"/>
                  </a:cubicBezTo>
                  <a:cubicBezTo>
                    <a:pt x="28" y="118"/>
                    <a:pt x="28" y="118"/>
                    <a:pt x="28" y="118"/>
                  </a:cubicBezTo>
                  <a:cubicBezTo>
                    <a:pt x="30" y="118"/>
                    <a:pt x="32" y="118"/>
                    <a:pt x="34" y="118"/>
                  </a:cubicBezTo>
                  <a:cubicBezTo>
                    <a:pt x="35" y="118"/>
                    <a:pt x="36" y="118"/>
                    <a:pt x="37" y="118"/>
                  </a:cubicBezTo>
                  <a:cubicBezTo>
                    <a:pt x="38" y="118"/>
                    <a:pt x="39" y="118"/>
                    <a:pt x="40" y="118"/>
                  </a:cubicBezTo>
                  <a:cubicBezTo>
                    <a:pt x="40" y="119"/>
                    <a:pt x="40" y="119"/>
                    <a:pt x="40" y="119"/>
                  </a:cubicBezTo>
                  <a:cubicBezTo>
                    <a:pt x="42" y="119"/>
                    <a:pt x="44" y="119"/>
                    <a:pt x="45" y="119"/>
                  </a:cubicBezTo>
                  <a:cubicBezTo>
                    <a:pt x="45" y="119"/>
                    <a:pt x="46" y="119"/>
                    <a:pt x="46" y="119"/>
                  </a:cubicBezTo>
                  <a:cubicBezTo>
                    <a:pt x="47" y="119"/>
                    <a:pt x="47" y="119"/>
                    <a:pt x="47" y="119"/>
                  </a:cubicBezTo>
                  <a:cubicBezTo>
                    <a:pt x="48" y="119"/>
                    <a:pt x="49" y="118"/>
                    <a:pt x="50" y="118"/>
                  </a:cubicBezTo>
                  <a:cubicBezTo>
                    <a:pt x="52" y="117"/>
                    <a:pt x="54" y="117"/>
                    <a:pt x="56" y="117"/>
                  </a:cubicBezTo>
                  <a:cubicBezTo>
                    <a:pt x="56" y="117"/>
                    <a:pt x="57" y="117"/>
                    <a:pt x="57" y="117"/>
                  </a:cubicBezTo>
                  <a:cubicBezTo>
                    <a:pt x="60" y="117"/>
                    <a:pt x="62" y="118"/>
                    <a:pt x="65" y="118"/>
                  </a:cubicBezTo>
                  <a:cubicBezTo>
                    <a:pt x="70" y="120"/>
                    <a:pt x="71" y="121"/>
                    <a:pt x="74" y="124"/>
                  </a:cubicBezTo>
                  <a:cubicBezTo>
                    <a:pt x="75" y="125"/>
                    <a:pt x="76" y="126"/>
                    <a:pt x="77" y="127"/>
                  </a:cubicBezTo>
                  <a:cubicBezTo>
                    <a:pt x="78" y="128"/>
                    <a:pt x="78" y="128"/>
                    <a:pt x="78" y="128"/>
                  </a:cubicBezTo>
                  <a:cubicBezTo>
                    <a:pt x="78" y="129"/>
                    <a:pt x="79" y="130"/>
                    <a:pt x="79" y="131"/>
                  </a:cubicBezTo>
                  <a:cubicBezTo>
                    <a:pt x="83" y="136"/>
                    <a:pt x="85" y="139"/>
                    <a:pt x="86" y="139"/>
                  </a:cubicBezTo>
                  <a:cubicBezTo>
                    <a:pt x="87" y="139"/>
                    <a:pt x="87" y="139"/>
                    <a:pt x="87" y="139"/>
                  </a:cubicBezTo>
                  <a:cubicBezTo>
                    <a:pt x="87" y="139"/>
                    <a:pt x="87" y="139"/>
                    <a:pt x="87" y="139"/>
                  </a:cubicBezTo>
                  <a:cubicBezTo>
                    <a:pt x="88" y="139"/>
                    <a:pt x="91" y="139"/>
                    <a:pt x="92" y="139"/>
                  </a:cubicBezTo>
                  <a:cubicBezTo>
                    <a:pt x="93" y="138"/>
                    <a:pt x="93" y="138"/>
                    <a:pt x="93" y="138"/>
                  </a:cubicBezTo>
                  <a:cubicBezTo>
                    <a:pt x="94" y="138"/>
                    <a:pt x="94" y="138"/>
                    <a:pt x="95" y="138"/>
                  </a:cubicBezTo>
                  <a:cubicBezTo>
                    <a:pt x="97" y="138"/>
                    <a:pt x="100" y="138"/>
                    <a:pt x="102" y="137"/>
                  </a:cubicBezTo>
                  <a:cubicBezTo>
                    <a:pt x="105" y="137"/>
                    <a:pt x="105" y="137"/>
                    <a:pt x="105" y="137"/>
                  </a:cubicBezTo>
                  <a:cubicBezTo>
                    <a:pt x="106" y="137"/>
                    <a:pt x="108" y="137"/>
                    <a:pt x="109" y="136"/>
                  </a:cubicBezTo>
                  <a:cubicBezTo>
                    <a:pt x="110" y="136"/>
                    <a:pt x="110" y="136"/>
                    <a:pt x="110" y="136"/>
                  </a:cubicBezTo>
                  <a:cubicBezTo>
                    <a:pt x="114" y="136"/>
                    <a:pt x="117" y="135"/>
                    <a:pt x="121" y="135"/>
                  </a:cubicBezTo>
                  <a:cubicBezTo>
                    <a:pt x="122" y="135"/>
                    <a:pt x="123" y="135"/>
                    <a:pt x="123" y="135"/>
                  </a:cubicBezTo>
                  <a:cubicBezTo>
                    <a:pt x="131" y="136"/>
                    <a:pt x="134" y="139"/>
                    <a:pt x="134" y="142"/>
                  </a:cubicBezTo>
                  <a:cubicBezTo>
                    <a:pt x="134" y="144"/>
                    <a:pt x="134" y="147"/>
                    <a:pt x="133" y="149"/>
                  </a:cubicBezTo>
                  <a:cubicBezTo>
                    <a:pt x="132" y="151"/>
                    <a:pt x="131" y="153"/>
                    <a:pt x="130" y="154"/>
                  </a:cubicBezTo>
                  <a:cubicBezTo>
                    <a:pt x="129" y="154"/>
                    <a:pt x="129" y="154"/>
                    <a:pt x="129" y="154"/>
                  </a:cubicBezTo>
                  <a:cubicBezTo>
                    <a:pt x="129" y="155"/>
                    <a:pt x="129" y="155"/>
                    <a:pt x="129" y="155"/>
                  </a:cubicBezTo>
                  <a:cubicBezTo>
                    <a:pt x="128" y="156"/>
                    <a:pt x="128" y="156"/>
                    <a:pt x="128" y="157"/>
                  </a:cubicBezTo>
                  <a:cubicBezTo>
                    <a:pt x="127" y="157"/>
                    <a:pt x="127" y="157"/>
                    <a:pt x="127" y="157"/>
                  </a:cubicBezTo>
                  <a:cubicBezTo>
                    <a:pt x="126" y="159"/>
                    <a:pt x="125" y="160"/>
                    <a:pt x="125" y="161"/>
                  </a:cubicBezTo>
                  <a:cubicBezTo>
                    <a:pt x="125" y="163"/>
                    <a:pt x="125" y="163"/>
                    <a:pt x="125" y="163"/>
                  </a:cubicBezTo>
                  <a:cubicBezTo>
                    <a:pt x="125" y="166"/>
                    <a:pt x="125" y="168"/>
                    <a:pt x="124" y="170"/>
                  </a:cubicBezTo>
                  <a:cubicBezTo>
                    <a:pt x="124" y="171"/>
                    <a:pt x="124" y="171"/>
                    <a:pt x="124" y="171"/>
                  </a:cubicBezTo>
                  <a:cubicBezTo>
                    <a:pt x="124" y="172"/>
                    <a:pt x="124" y="174"/>
                    <a:pt x="124" y="176"/>
                  </a:cubicBezTo>
                  <a:cubicBezTo>
                    <a:pt x="124" y="176"/>
                    <a:pt x="124" y="177"/>
                    <a:pt x="124" y="177"/>
                  </a:cubicBezTo>
                  <a:cubicBezTo>
                    <a:pt x="124" y="179"/>
                    <a:pt x="124" y="179"/>
                    <a:pt x="124" y="179"/>
                  </a:cubicBezTo>
                  <a:cubicBezTo>
                    <a:pt x="125" y="179"/>
                    <a:pt x="125" y="180"/>
                    <a:pt x="125" y="180"/>
                  </a:cubicBezTo>
                  <a:cubicBezTo>
                    <a:pt x="125" y="183"/>
                    <a:pt x="126" y="186"/>
                    <a:pt x="127" y="189"/>
                  </a:cubicBezTo>
                  <a:cubicBezTo>
                    <a:pt x="128" y="190"/>
                    <a:pt x="128" y="191"/>
                    <a:pt x="129" y="192"/>
                  </a:cubicBezTo>
                  <a:cubicBezTo>
                    <a:pt x="129" y="193"/>
                    <a:pt x="130" y="195"/>
                    <a:pt x="130" y="195"/>
                  </a:cubicBezTo>
                  <a:cubicBezTo>
                    <a:pt x="130" y="196"/>
                    <a:pt x="130" y="196"/>
                    <a:pt x="130" y="196"/>
                  </a:cubicBezTo>
                  <a:cubicBezTo>
                    <a:pt x="130" y="196"/>
                    <a:pt x="130" y="196"/>
                    <a:pt x="130" y="196"/>
                  </a:cubicBezTo>
                  <a:cubicBezTo>
                    <a:pt x="133" y="198"/>
                    <a:pt x="134" y="199"/>
                    <a:pt x="135" y="201"/>
                  </a:cubicBezTo>
                  <a:cubicBezTo>
                    <a:pt x="135" y="201"/>
                    <a:pt x="135" y="201"/>
                    <a:pt x="135" y="201"/>
                  </a:cubicBezTo>
                  <a:cubicBezTo>
                    <a:pt x="136" y="202"/>
                    <a:pt x="137" y="203"/>
                    <a:pt x="137" y="204"/>
                  </a:cubicBezTo>
                  <a:cubicBezTo>
                    <a:pt x="137" y="205"/>
                    <a:pt x="137" y="205"/>
                    <a:pt x="137" y="206"/>
                  </a:cubicBezTo>
                  <a:cubicBezTo>
                    <a:pt x="136" y="207"/>
                    <a:pt x="136" y="207"/>
                    <a:pt x="136" y="207"/>
                  </a:cubicBezTo>
                  <a:cubicBezTo>
                    <a:pt x="135" y="209"/>
                    <a:pt x="134" y="211"/>
                    <a:pt x="132" y="212"/>
                  </a:cubicBezTo>
                  <a:cubicBezTo>
                    <a:pt x="132" y="212"/>
                    <a:pt x="132" y="212"/>
                    <a:pt x="132" y="212"/>
                  </a:cubicBezTo>
                  <a:cubicBezTo>
                    <a:pt x="131" y="213"/>
                    <a:pt x="131" y="213"/>
                    <a:pt x="131" y="213"/>
                  </a:cubicBezTo>
                  <a:cubicBezTo>
                    <a:pt x="131" y="213"/>
                    <a:pt x="131" y="213"/>
                    <a:pt x="130" y="214"/>
                  </a:cubicBezTo>
                  <a:cubicBezTo>
                    <a:pt x="130" y="214"/>
                    <a:pt x="130" y="214"/>
                    <a:pt x="130" y="214"/>
                  </a:cubicBezTo>
                  <a:cubicBezTo>
                    <a:pt x="129" y="215"/>
                    <a:pt x="128" y="216"/>
                    <a:pt x="127" y="217"/>
                  </a:cubicBezTo>
                  <a:cubicBezTo>
                    <a:pt x="127" y="217"/>
                    <a:pt x="127" y="217"/>
                    <a:pt x="127" y="217"/>
                  </a:cubicBezTo>
                  <a:cubicBezTo>
                    <a:pt x="128" y="217"/>
                    <a:pt x="128" y="217"/>
                    <a:pt x="129" y="217"/>
                  </a:cubicBezTo>
                  <a:cubicBezTo>
                    <a:pt x="129" y="218"/>
                    <a:pt x="130" y="218"/>
                    <a:pt x="130" y="218"/>
                  </a:cubicBezTo>
                  <a:cubicBezTo>
                    <a:pt x="131" y="219"/>
                    <a:pt x="131" y="219"/>
                    <a:pt x="131" y="219"/>
                  </a:cubicBezTo>
                  <a:cubicBezTo>
                    <a:pt x="132" y="220"/>
                    <a:pt x="133" y="221"/>
                    <a:pt x="134" y="222"/>
                  </a:cubicBezTo>
                  <a:cubicBezTo>
                    <a:pt x="135" y="224"/>
                    <a:pt x="136" y="225"/>
                    <a:pt x="137" y="227"/>
                  </a:cubicBezTo>
                  <a:cubicBezTo>
                    <a:pt x="139" y="232"/>
                    <a:pt x="142" y="238"/>
                    <a:pt x="144" y="245"/>
                  </a:cubicBezTo>
                  <a:cubicBezTo>
                    <a:pt x="144" y="246"/>
                    <a:pt x="144" y="247"/>
                    <a:pt x="145" y="248"/>
                  </a:cubicBezTo>
                  <a:cubicBezTo>
                    <a:pt x="145" y="249"/>
                    <a:pt x="145" y="250"/>
                    <a:pt x="146" y="251"/>
                  </a:cubicBezTo>
                  <a:cubicBezTo>
                    <a:pt x="146" y="252"/>
                    <a:pt x="146" y="252"/>
                    <a:pt x="146" y="252"/>
                  </a:cubicBezTo>
                  <a:cubicBezTo>
                    <a:pt x="146" y="252"/>
                    <a:pt x="146" y="253"/>
                    <a:pt x="146" y="253"/>
                  </a:cubicBezTo>
                  <a:cubicBezTo>
                    <a:pt x="147" y="253"/>
                    <a:pt x="147" y="253"/>
                    <a:pt x="147" y="253"/>
                  </a:cubicBezTo>
                  <a:cubicBezTo>
                    <a:pt x="147" y="254"/>
                    <a:pt x="148" y="255"/>
                    <a:pt x="148" y="255"/>
                  </a:cubicBezTo>
                  <a:cubicBezTo>
                    <a:pt x="149" y="255"/>
                    <a:pt x="149" y="255"/>
                    <a:pt x="149" y="255"/>
                  </a:cubicBezTo>
                  <a:cubicBezTo>
                    <a:pt x="150" y="256"/>
                    <a:pt x="150" y="256"/>
                    <a:pt x="150" y="256"/>
                  </a:cubicBezTo>
                  <a:cubicBezTo>
                    <a:pt x="151" y="257"/>
                    <a:pt x="151" y="257"/>
                    <a:pt x="151" y="257"/>
                  </a:cubicBezTo>
                  <a:cubicBezTo>
                    <a:pt x="152" y="258"/>
                    <a:pt x="154" y="259"/>
                    <a:pt x="155" y="261"/>
                  </a:cubicBezTo>
                  <a:cubicBezTo>
                    <a:pt x="157" y="262"/>
                    <a:pt x="159" y="263"/>
                    <a:pt x="161" y="263"/>
                  </a:cubicBezTo>
                  <a:cubicBezTo>
                    <a:pt x="161" y="263"/>
                    <a:pt x="161" y="263"/>
                    <a:pt x="161" y="263"/>
                  </a:cubicBezTo>
                  <a:cubicBezTo>
                    <a:pt x="162" y="263"/>
                    <a:pt x="164" y="262"/>
                    <a:pt x="165" y="262"/>
                  </a:cubicBezTo>
                  <a:cubicBezTo>
                    <a:pt x="166" y="261"/>
                    <a:pt x="166" y="261"/>
                    <a:pt x="166" y="261"/>
                  </a:cubicBezTo>
                  <a:cubicBezTo>
                    <a:pt x="169" y="260"/>
                    <a:pt x="172" y="259"/>
                    <a:pt x="174" y="259"/>
                  </a:cubicBezTo>
                  <a:cubicBezTo>
                    <a:pt x="175" y="259"/>
                    <a:pt x="175" y="259"/>
                    <a:pt x="175" y="259"/>
                  </a:cubicBezTo>
                  <a:cubicBezTo>
                    <a:pt x="176" y="259"/>
                    <a:pt x="177" y="260"/>
                    <a:pt x="178" y="260"/>
                  </a:cubicBezTo>
                  <a:cubicBezTo>
                    <a:pt x="178" y="261"/>
                    <a:pt x="178" y="261"/>
                    <a:pt x="178" y="261"/>
                  </a:cubicBezTo>
                  <a:cubicBezTo>
                    <a:pt x="179" y="260"/>
                    <a:pt x="180" y="259"/>
                    <a:pt x="181" y="258"/>
                  </a:cubicBezTo>
                  <a:cubicBezTo>
                    <a:pt x="184" y="254"/>
                    <a:pt x="186" y="254"/>
                    <a:pt x="190" y="252"/>
                  </a:cubicBezTo>
                  <a:cubicBezTo>
                    <a:pt x="191" y="252"/>
                    <a:pt x="191" y="252"/>
                    <a:pt x="191" y="252"/>
                  </a:cubicBezTo>
                  <a:cubicBezTo>
                    <a:pt x="193" y="252"/>
                    <a:pt x="195" y="250"/>
                    <a:pt x="197" y="249"/>
                  </a:cubicBezTo>
                  <a:cubicBezTo>
                    <a:pt x="198" y="249"/>
                    <a:pt x="198" y="249"/>
                    <a:pt x="198" y="249"/>
                  </a:cubicBezTo>
                  <a:cubicBezTo>
                    <a:pt x="199" y="248"/>
                    <a:pt x="200" y="247"/>
                    <a:pt x="201" y="247"/>
                  </a:cubicBezTo>
                  <a:cubicBezTo>
                    <a:pt x="204" y="245"/>
                    <a:pt x="204" y="245"/>
                    <a:pt x="204" y="245"/>
                  </a:cubicBezTo>
                  <a:cubicBezTo>
                    <a:pt x="205" y="244"/>
                    <a:pt x="206" y="242"/>
                    <a:pt x="207" y="241"/>
                  </a:cubicBezTo>
                  <a:cubicBezTo>
                    <a:pt x="207" y="240"/>
                    <a:pt x="207" y="240"/>
                    <a:pt x="207" y="240"/>
                  </a:cubicBezTo>
                  <a:cubicBezTo>
                    <a:pt x="207" y="240"/>
                    <a:pt x="207" y="240"/>
                    <a:pt x="207" y="240"/>
                  </a:cubicBezTo>
                  <a:cubicBezTo>
                    <a:pt x="207" y="238"/>
                    <a:pt x="208" y="237"/>
                    <a:pt x="210" y="235"/>
                  </a:cubicBezTo>
                  <a:cubicBezTo>
                    <a:pt x="212" y="234"/>
                    <a:pt x="215" y="233"/>
                    <a:pt x="217" y="232"/>
                  </a:cubicBezTo>
                  <a:cubicBezTo>
                    <a:pt x="220" y="231"/>
                    <a:pt x="220" y="231"/>
                    <a:pt x="220" y="231"/>
                  </a:cubicBezTo>
                  <a:cubicBezTo>
                    <a:pt x="220" y="231"/>
                    <a:pt x="220" y="231"/>
                    <a:pt x="220" y="231"/>
                  </a:cubicBezTo>
                  <a:cubicBezTo>
                    <a:pt x="220" y="231"/>
                    <a:pt x="220" y="231"/>
                    <a:pt x="220" y="231"/>
                  </a:cubicBezTo>
                  <a:cubicBezTo>
                    <a:pt x="211" y="230"/>
                    <a:pt x="208" y="229"/>
                    <a:pt x="207" y="227"/>
                  </a:cubicBezTo>
                  <a:cubicBezTo>
                    <a:pt x="207" y="225"/>
                    <a:pt x="207" y="224"/>
                    <a:pt x="207" y="222"/>
                  </a:cubicBezTo>
                  <a:cubicBezTo>
                    <a:pt x="208" y="221"/>
                    <a:pt x="208" y="220"/>
                    <a:pt x="208" y="219"/>
                  </a:cubicBezTo>
                  <a:cubicBezTo>
                    <a:pt x="208" y="217"/>
                    <a:pt x="207" y="215"/>
                    <a:pt x="206" y="213"/>
                  </a:cubicBezTo>
                  <a:cubicBezTo>
                    <a:pt x="205" y="211"/>
                    <a:pt x="203" y="208"/>
                    <a:pt x="203" y="205"/>
                  </a:cubicBezTo>
                  <a:cubicBezTo>
                    <a:pt x="203" y="204"/>
                    <a:pt x="203" y="203"/>
                    <a:pt x="203" y="202"/>
                  </a:cubicBezTo>
                  <a:cubicBezTo>
                    <a:pt x="204" y="202"/>
                    <a:pt x="204" y="202"/>
                    <a:pt x="204" y="202"/>
                  </a:cubicBezTo>
                  <a:cubicBezTo>
                    <a:pt x="203" y="201"/>
                    <a:pt x="203" y="201"/>
                    <a:pt x="203" y="201"/>
                  </a:cubicBezTo>
                  <a:cubicBezTo>
                    <a:pt x="202" y="200"/>
                    <a:pt x="201" y="199"/>
                    <a:pt x="200" y="199"/>
                  </a:cubicBezTo>
                  <a:cubicBezTo>
                    <a:pt x="199" y="198"/>
                    <a:pt x="198" y="197"/>
                    <a:pt x="198" y="197"/>
                  </a:cubicBezTo>
                  <a:cubicBezTo>
                    <a:pt x="196" y="195"/>
                    <a:pt x="195" y="194"/>
                    <a:pt x="194" y="192"/>
                  </a:cubicBezTo>
                  <a:cubicBezTo>
                    <a:pt x="193" y="191"/>
                    <a:pt x="193" y="190"/>
                    <a:pt x="192" y="189"/>
                  </a:cubicBezTo>
                  <a:cubicBezTo>
                    <a:pt x="192" y="189"/>
                    <a:pt x="191" y="189"/>
                    <a:pt x="191" y="189"/>
                  </a:cubicBezTo>
                  <a:cubicBezTo>
                    <a:pt x="185" y="186"/>
                    <a:pt x="185" y="186"/>
                    <a:pt x="185" y="186"/>
                  </a:cubicBezTo>
                  <a:cubicBezTo>
                    <a:pt x="191" y="183"/>
                    <a:pt x="191" y="183"/>
                    <a:pt x="191" y="183"/>
                  </a:cubicBezTo>
                  <a:cubicBezTo>
                    <a:pt x="192" y="183"/>
                    <a:pt x="193" y="183"/>
                    <a:pt x="194" y="183"/>
                  </a:cubicBezTo>
                  <a:cubicBezTo>
                    <a:pt x="195" y="183"/>
                    <a:pt x="195" y="183"/>
                    <a:pt x="195" y="183"/>
                  </a:cubicBezTo>
                  <a:cubicBezTo>
                    <a:pt x="200" y="183"/>
                    <a:pt x="204" y="185"/>
                    <a:pt x="207" y="187"/>
                  </a:cubicBezTo>
                  <a:cubicBezTo>
                    <a:pt x="208" y="188"/>
                    <a:pt x="208" y="188"/>
                    <a:pt x="208" y="188"/>
                  </a:cubicBezTo>
                  <a:cubicBezTo>
                    <a:pt x="209" y="188"/>
                    <a:pt x="210" y="189"/>
                    <a:pt x="211" y="190"/>
                  </a:cubicBezTo>
                  <a:cubicBezTo>
                    <a:pt x="211" y="190"/>
                    <a:pt x="211" y="190"/>
                    <a:pt x="211" y="190"/>
                  </a:cubicBezTo>
                  <a:cubicBezTo>
                    <a:pt x="212" y="190"/>
                    <a:pt x="212" y="190"/>
                    <a:pt x="212" y="190"/>
                  </a:cubicBezTo>
                  <a:cubicBezTo>
                    <a:pt x="212" y="190"/>
                    <a:pt x="213" y="190"/>
                    <a:pt x="213" y="190"/>
                  </a:cubicBezTo>
                  <a:cubicBezTo>
                    <a:pt x="214" y="190"/>
                    <a:pt x="214" y="190"/>
                    <a:pt x="214" y="190"/>
                  </a:cubicBezTo>
                  <a:cubicBezTo>
                    <a:pt x="215" y="189"/>
                    <a:pt x="216" y="189"/>
                    <a:pt x="218" y="189"/>
                  </a:cubicBezTo>
                  <a:cubicBezTo>
                    <a:pt x="219" y="189"/>
                    <a:pt x="220" y="189"/>
                    <a:pt x="222" y="190"/>
                  </a:cubicBezTo>
                  <a:cubicBezTo>
                    <a:pt x="222" y="189"/>
                    <a:pt x="223" y="189"/>
                    <a:pt x="224" y="189"/>
                  </a:cubicBezTo>
                  <a:cubicBezTo>
                    <a:pt x="224" y="189"/>
                    <a:pt x="225" y="189"/>
                    <a:pt x="225" y="189"/>
                  </a:cubicBezTo>
                  <a:cubicBezTo>
                    <a:pt x="227" y="189"/>
                    <a:pt x="229" y="190"/>
                    <a:pt x="231" y="191"/>
                  </a:cubicBezTo>
                  <a:cubicBezTo>
                    <a:pt x="232" y="192"/>
                    <a:pt x="232" y="193"/>
                    <a:pt x="233" y="194"/>
                  </a:cubicBezTo>
                  <a:cubicBezTo>
                    <a:pt x="233" y="195"/>
                    <a:pt x="233" y="195"/>
                    <a:pt x="233" y="195"/>
                  </a:cubicBezTo>
                  <a:cubicBezTo>
                    <a:pt x="234" y="195"/>
                    <a:pt x="235" y="196"/>
                    <a:pt x="236" y="197"/>
                  </a:cubicBezTo>
                  <a:cubicBezTo>
                    <a:pt x="236" y="197"/>
                    <a:pt x="236" y="196"/>
                    <a:pt x="236" y="196"/>
                  </a:cubicBezTo>
                  <a:cubicBezTo>
                    <a:pt x="237" y="194"/>
                    <a:pt x="237" y="194"/>
                    <a:pt x="237" y="194"/>
                  </a:cubicBezTo>
                  <a:cubicBezTo>
                    <a:pt x="237" y="194"/>
                    <a:pt x="237" y="194"/>
                    <a:pt x="237" y="194"/>
                  </a:cubicBezTo>
                  <a:cubicBezTo>
                    <a:pt x="236" y="192"/>
                    <a:pt x="236" y="192"/>
                    <a:pt x="236" y="192"/>
                  </a:cubicBezTo>
                  <a:cubicBezTo>
                    <a:pt x="236" y="192"/>
                    <a:pt x="237" y="191"/>
                    <a:pt x="237" y="191"/>
                  </a:cubicBezTo>
                  <a:cubicBezTo>
                    <a:pt x="238" y="187"/>
                    <a:pt x="240" y="187"/>
                    <a:pt x="243" y="186"/>
                  </a:cubicBezTo>
                  <a:cubicBezTo>
                    <a:pt x="243" y="186"/>
                    <a:pt x="243" y="186"/>
                    <a:pt x="243" y="186"/>
                  </a:cubicBezTo>
                  <a:cubicBezTo>
                    <a:pt x="243" y="186"/>
                    <a:pt x="244" y="186"/>
                    <a:pt x="244" y="186"/>
                  </a:cubicBezTo>
                  <a:cubicBezTo>
                    <a:pt x="250" y="184"/>
                    <a:pt x="257" y="183"/>
                    <a:pt x="262" y="182"/>
                  </a:cubicBezTo>
                  <a:cubicBezTo>
                    <a:pt x="265" y="182"/>
                    <a:pt x="265" y="182"/>
                    <a:pt x="265" y="182"/>
                  </a:cubicBezTo>
                  <a:cubicBezTo>
                    <a:pt x="266" y="182"/>
                    <a:pt x="268" y="181"/>
                    <a:pt x="269" y="180"/>
                  </a:cubicBezTo>
                  <a:cubicBezTo>
                    <a:pt x="270" y="179"/>
                    <a:pt x="270" y="179"/>
                    <a:pt x="271" y="178"/>
                  </a:cubicBezTo>
                  <a:cubicBezTo>
                    <a:pt x="272" y="177"/>
                    <a:pt x="273" y="177"/>
                    <a:pt x="275" y="176"/>
                  </a:cubicBezTo>
                  <a:cubicBezTo>
                    <a:pt x="275" y="176"/>
                    <a:pt x="276" y="176"/>
                    <a:pt x="276" y="176"/>
                  </a:cubicBezTo>
                  <a:cubicBezTo>
                    <a:pt x="276" y="176"/>
                    <a:pt x="277" y="176"/>
                    <a:pt x="278" y="176"/>
                  </a:cubicBezTo>
                  <a:cubicBezTo>
                    <a:pt x="278" y="176"/>
                    <a:pt x="279" y="176"/>
                    <a:pt x="279" y="176"/>
                  </a:cubicBezTo>
                  <a:cubicBezTo>
                    <a:pt x="279" y="176"/>
                    <a:pt x="279" y="175"/>
                    <a:pt x="280" y="175"/>
                  </a:cubicBezTo>
                  <a:cubicBezTo>
                    <a:pt x="280" y="174"/>
                    <a:pt x="280" y="174"/>
                    <a:pt x="280" y="174"/>
                  </a:cubicBezTo>
                  <a:cubicBezTo>
                    <a:pt x="280" y="174"/>
                    <a:pt x="280" y="174"/>
                    <a:pt x="280" y="174"/>
                  </a:cubicBezTo>
                  <a:cubicBezTo>
                    <a:pt x="282" y="173"/>
                    <a:pt x="284" y="172"/>
                    <a:pt x="285" y="170"/>
                  </a:cubicBezTo>
                  <a:cubicBezTo>
                    <a:pt x="281" y="167"/>
                    <a:pt x="281" y="167"/>
                    <a:pt x="281" y="167"/>
                  </a:cubicBezTo>
                  <a:cubicBezTo>
                    <a:pt x="286" y="169"/>
                    <a:pt x="286" y="169"/>
                    <a:pt x="286" y="169"/>
                  </a:cubicBezTo>
                  <a:cubicBezTo>
                    <a:pt x="286" y="169"/>
                    <a:pt x="286" y="169"/>
                    <a:pt x="286" y="169"/>
                  </a:cubicBezTo>
                  <a:cubicBezTo>
                    <a:pt x="287" y="168"/>
                    <a:pt x="287" y="168"/>
                    <a:pt x="287" y="168"/>
                  </a:cubicBezTo>
                  <a:cubicBezTo>
                    <a:pt x="287" y="168"/>
                    <a:pt x="287" y="168"/>
                    <a:pt x="287" y="168"/>
                  </a:cubicBezTo>
                  <a:cubicBezTo>
                    <a:pt x="286" y="167"/>
                    <a:pt x="286" y="167"/>
                    <a:pt x="286" y="167"/>
                  </a:cubicBezTo>
                  <a:cubicBezTo>
                    <a:pt x="286" y="166"/>
                    <a:pt x="286" y="166"/>
                    <a:pt x="286" y="166"/>
                  </a:cubicBezTo>
                  <a:cubicBezTo>
                    <a:pt x="286" y="166"/>
                    <a:pt x="286" y="166"/>
                    <a:pt x="286" y="166"/>
                  </a:cubicBezTo>
                  <a:cubicBezTo>
                    <a:pt x="285" y="165"/>
                    <a:pt x="285" y="165"/>
                    <a:pt x="285" y="165"/>
                  </a:cubicBezTo>
                  <a:cubicBezTo>
                    <a:pt x="284" y="164"/>
                    <a:pt x="282" y="162"/>
                    <a:pt x="281" y="161"/>
                  </a:cubicBezTo>
                  <a:cubicBezTo>
                    <a:pt x="281" y="161"/>
                    <a:pt x="281" y="161"/>
                    <a:pt x="281" y="161"/>
                  </a:cubicBezTo>
                  <a:cubicBezTo>
                    <a:pt x="280" y="160"/>
                    <a:pt x="280" y="160"/>
                    <a:pt x="280" y="159"/>
                  </a:cubicBezTo>
                  <a:cubicBezTo>
                    <a:pt x="270" y="149"/>
                    <a:pt x="270" y="149"/>
                    <a:pt x="270" y="149"/>
                  </a:cubicBezTo>
                  <a:cubicBezTo>
                    <a:pt x="269" y="148"/>
                    <a:pt x="269" y="146"/>
                    <a:pt x="270" y="144"/>
                  </a:cubicBezTo>
                  <a:cubicBezTo>
                    <a:pt x="270" y="144"/>
                    <a:pt x="270" y="144"/>
                    <a:pt x="270" y="144"/>
                  </a:cubicBezTo>
                  <a:cubicBezTo>
                    <a:pt x="271" y="143"/>
                    <a:pt x="272" y="142"/>
                    <a:pt x="273" y="141"/>
                  </a:cubicBezTo>
                  <a:cubicBezTo>
                    <a:pt x="274" y="141"/>
                    <a:pt x="275" y="140"/>
                    <a:pt x="275" y="139"/>
                  </a:cubicBezTo>
                  <a:cubicBezTo>
                    <a:pt x="275" y="139"/>
                    <a:pt x="275" y="139"/>
                    <a:pt x="275" y="139"/>
                  </a:cubicBezTo>
                  <a:cubicBezTo>
                    <a:pt x="275" y="138"/>
                    <a:pt x="275" y="138"/>
                    <a:pt x="275" y="138"/>
                  </a:cubicBezTo>
                  <a:cubicBezTo>
                    <a:pt x="275" y="137"/>
                    <a:pt x="274" y="136"/>
                    <a:pt x="274" y="135"/>
                  </a:cubicBezTo>
                  <a:cubicBezTo>
                    <a:pt x="274" y="134"/>
                    <a:pt x="274" y="134"/>
                    <a:pt x="274" y="134"/>
                  </a:cubicBezTo>
                  <a:cubicBezTo>
                    <a:pt x="274" y="133"/>
                    <a:pt x="274" y="133"/>
                    <a:pt x="274" y="133"/>
                  </a:cubicBezTo>
                  <a:cubicBezTo>
                    <a:pt x="274" y="131"/>
                    <a:pt x="274" y="128"/>
                    <a:pt x="276" y="126"/>
                  </a:cubicBezTo>
                  <a:cubicBezTo>
                    <a:pt x="277" y="125"/>
                    <a:pt x="277" y="125"/>
                    <a:pt x="277" y="125"/>
                  </a:cubicBezTo>
                  <a:cubicBezTo>
                    <a:pt x="279" y="125"/>
                    <a:pt x="279" y="125"/>
                    <a:pt x="279" y="125"/>
                  </a:cubicBezTo>
                  <a:cubicBezTo>
                    <a:pt x="279" y="125"/>
                    <a:pt x="279" y="125"/>
                    <a:pt x="279" y="125"/>
                  </a:cubicBezTo>
                  <a:cubicBezTo>
                    <a:pt x="279" y="125"/>
                    <a:pt x="279" y="125"/>
                    <a:pt x="279" y="125"/>
                  </a:cubicBezTo>
                  <a:cubicBezTo>
                    <a:pt x="281" y="124"/>
                    <a:pt x="282" y="124"/>
                    <a:pt x="283" y="123"/>
                  </a:cubicBezTo>
                  <a:cubicBezTo>
                    <a:pt x="283" y="123"/>
                    <a:pt x="284" y="123"/>
                    <a:pt x="284" y="123"/>
                  </a:cubicBezTo>
                  <a:cubicBezTo>
                    <a:pt x="284" y="123"/>
                    <a:pt x="285" y="124"/>
                    <a:pt x="285" y="124"/>
                  </a:cubicBezTo>
                  <a:cubicBezTo>
                    <a:pt x="286" y="124"/>
                    <a:pt x="286" y="124"/>
                    <a:pt x="286" y="124"/>
                  </a:cubicBezTo>
                  <a:cubicBezTo>
                    <a:pt x="286" y="124"/>
                    <a:pt x="286" y="124"/>
                    <a:pt x="286" y="124"/>
                  </a:cubicBezTo>
                  <a:cubicBezTo>
                    <a:pt x="286" y="124"/>
                    <a:pt x="286" y="124"/>
                    <a:pt x="286" y="124"/>
                  </a:cubicBezTo>
                  <a:cubicBezTo>
                    <a:pt x="288" y="123"/>
                    <a:pt x="288" y="123"/>
                    <a:pt x="289" y="123"/>
                  </a:cubicBezTo>
                  <a:cubicBezTo>
                    <a:pt x="291" y="122"/>
                    <a:pt x="291" y="122"/>
                    <a:pt x="291" y="122"/>
                  </a:cubicBezTo>
                  <a:cubicBezTo>
                    <a:pt x="292" y="122"/>
                    <a:pt x="293" y="121"/>
                    <a:pt x="293" y="121"/>
                  </a:cubicBezTo>
                  <a:cubicBezTo>
                    <a:pt x="293" y="121"/>
                    <a:pt x="293" y="121"/>
                    <a:pt x="293" y="121"/>
                  </a:cubicBezTo>
                  <a:cubicBezTo>
                    <a:pt x="293" y="120"/>
                    <a:pt x="293" y="120"/>
                    <a:pt x="293" y="120"/>
                  </a:cubicBezTo>
                  <a:cubicBezTo>
                    <a:pt x="293" y="120"/>
                    <a:pt x="293" y="120"/>
                    <a:pt x="293" y="120"/>
                  </a:cubicBezTo>
                  <a:cubicBezTo>
                    <a:pt x="293" y="120"/>
                    <a:pt x="293" y="120"/>
                    <a:pt x="293" y="120"/>
                  </a:cubicBezTo>
                  <a:cubicBezTo>
                    <a:pt x="291" y="120"/>
                    <a:pt x="291" y="120"/>
                    <a:pt x="290" y="120"/>
                  </a:cubicBezTo>
                  <a:cubicBezTo>
                    <a:pt x="289" y="120"/>
                    <a:pt x="289" y="120"/>
                    <a:pt x="289" y="120"/>
                  </a:cubicBezTo>
                  <a:cubicBezTo>
                    <a:pt x="288" y="119"/>
                    <a:pt x="288" y="119"/>
                    <a:pt x="288" y="119"/>
                  </a:cubicBezTo>
                  <a:cubicBezTo>
                    <a:pt x="288" y="119"/>
                    <a:pt x="287" y="118"/>
                    <a:pt x="287" y="117"/>
                  </a:cubicBezTo>
                  <a:cubicBezTo>
                    <a:pt x="286" y="116"/>
                    <a:pt x="286" y="116"/>
                    <a:pt x="286" y="116"/>
                  </a:cubicBezTo>
                  <a:cubicBezTo>
                    <a:pt x="286" y="116"/>
                    <a:pt x="286" y="116"/>
                    <a:pt x="286" y="116"/>
                  </a:cubicBezTo>
                  <a:cubicBezTo>
                    <a:pt x="286" y="115"/>
                    <a:pt x="286" y="113"/>
                    <a:pt x="285" y="112"/>
                  </a:cubicBezTo>
                  <a:cubicBezTo>
                    <a:pt x="285" y="112"/>
                    <a:pt x="285" y="112"/>
                    <a:pt x="285" y="112"/>
                  </a:cubicBezTo>
                  <a:cubicBezTo>
                    <a:pt x="285" y="111"/>
                    <a:pt x="285" y="111"/>
                    <a:pt x="285" y="111"/>
                  </a:cubicBezTo>
                  <a:cubicBezTo>
                    <a:pt x="285" y="109"/>
                    <a:pt x="285" y="107"/>
                    <a:pt x="287" y="106"/>
                  </a:cubicBezTo>
                  <a:cubicBezTo>
                    <a:pt x="287" y="105"/>
                    <a:pt x="287" y="105"/>
                    <a:pt x="288" y="105"/>
                  </a:cubicBezTo>
                  <a:cubicBezTo>
                    <a:pt x="288" y="103"/>
                    <a:pt x="289" y="102"/>
                    <a:pt x="291" y="100"/>
                  </a:cubicBezTo>
                  <a:cubicBezTo>
                    <a:pt x="292" y="100"/>
                    <a:pt x="292" y="100"/>
                    <a:pt x="292" y="100"/>
                  </a:cubicBezTo>
                  <a:cubicBezTo>
                    <a:pt x="295" y="99"/>
                    <a:pt x="297" y="97"/>
                    <a:pt x="300" y="95"/>
                  </a:cubicBezTo>
                  <a:cubicBezTo>
                    <a:pt x="300" y="95"/>
                    <a:pt x="301" y="94"/>
                    <a:pt x="302" y="94"/>
                  </a:cubicBezTo>
                  <a:cubicBezTo>
                    <a:pt x="303" y="93"/>
                    <a:pt x="304" y="92"/>
                    <a:pt x="305" y="91"/>
                  </a:cubicBezTo>
                  <a:cubicBezTo>
                    <a:pt x="304" y="91"/>
                    <a:pt x="303" y="89"/>
                    <a:pt x="302" y="87"/>
                  </a:cubicBezTo>
                  <a:cubicBezTo>
                    <a:pt x="301" y="86"/>
                    <a:pt x="301" y="86"/>
                    <a:pt x="301" y="86"/>
                  </a:cubicBezTo>
                  <a:cubicBezTo>
                    <a:pt x="301" y="85"/>
                    <a:pt x="301" y="85"/>
                    <a:pt x="301" y="85"/>
                  </a:cubicBezTo>
                  <a:cubicBezTo>
                    <a:pt x="300" y="84"/>
                    <a:pt x="300" y="84"/>
                    <a:pt x="300" y="84"/>
                  </a:cubicBezTo>
                  <a:cubicBezTo>
                    <a:pt x="300" y="84"/>
                    <a:pt x="300" y="84"/>
                    <a:pt x="300" y="84"/>
                  </a:cubicBezTo>
                  <a:cubicBezTo>
                    <a:pt x="299" y="84"/>
                    <a:pt x="298" y="84"/>
                    <a:pt x="296" y="83"/>
                  </a:cubicBezTo>
                  <a:cubicBezTo>
                    <a:pt x="296" y="83"/>
                    <a:pt x="296" y="83"/>
                    <a:pt x="296" y="83"/>
                  </a:cubicBezTo>
                  <a:cubicBezTo>
                    <a:pt x="291" y="83"/>
                    <a:pt x="284" y="86"/>
                    <a:pt x="280" y="88"/>
                  </a:cubicBezTo>
                  <a:cubicBezTo>
                    <a:pt x="280" y="87"/>
                    <a:pt x="280" y="87"/>
                    <a:pt x="280" y="87"/>
                  </a:cubicBezTo>
                  <a:cubicBezTo>
                    <a:pt x="278" y="87"/>
                    <a:pt x="276" y="89"/>
                    <a:pt x="274" y="89"/>
                  </a:cubicBezTo>
                  <a:cubicBezTo>
                    <a:pt x="274" y="89"/>
                    <a:pt x="274" y="89"/>
                    <a:pt x="274" y="89"/>
                  </a:cubicBezTo>
                  <a:cubicBezTo>
                    <a:pt x="271" y="88"/>
                    <a:pt x="268" y="86"/>
                    <a:pt x="266" y="85"/>
                  </a:cubicBezTo>
                  <a:cubicBezTo>
                    <a:pt x="265" y="84"/>
                    <a:pt x="266" y="84"/>
                    <a:pt x="267" y="84"/>
                  </a:cubicBezTo>
                  <a:cubicBezTo>
                    <a:pt x="267" y="84"/>
                    <a:pt x="269" y="84"/>
                    <a:pt x="269" y="84"/>
                  </a:cubicBezTo>
                  <a:cubicBezTo>
                    <a:pt x="269" y="84"/>
                    <a:pt x="269" y="84"/>
                    <a:pt x="269" y="84"/>
                  </a:cubicBezTo>
                  <a:cubicBezTo>
                    <a:pt x="270" y="84"/>
                    <a:pt x="270" y="84"/>
                    <a:pt x="270" y="84"/>
                  </a:cubicBezTo>
                  <a:cubicBezTo>
                    <a:pt x="270" y="84"/>
                    <a:pt x="271" y="84"/>
                    <a:pt x="271" y="84"/>
                  </a:cubicBezTo>
                  <a:cubicBezTo>
                    <a:pt x="271" y="84"/>
                    <a:pt x="271" y="84"/>
                    <a:pt x="271" y="84"/>
                  </a:cubicBezTo>
                  <a:cubicBezTo>
                    <a:pt x="272" y="84"/>
                    <a:pt x="273" y="85"/>
                    <a:pt x="274" y="85"/>
                  </a:cubicBezTo>
                  <a:cubicBezTo>
                    <a:pt x="274" y="85"/>
                    <a:pt x="274" y="85"/>
                    <a:pt x="274" y="85"/>
                  </a:cubicBezTo>
                  <a:cubicBezTo>
                    <a:pt x="277" y="84"/>
                    <a:pt x="279" y="75"/>
                    <a:pt x="280" y="72"/>
                  </a:cubicBezTo>
                  <a:cubicBezTo>
                    <a:pt x="279" y="73"/>
                    <a:pt x="279" y="73"/>
                    <a:pt x="278" y="74"/>
                  </a:cubicBezTo>
                  <a:cubicBezTo>
                    <a:pt x="279" y="71"/>
                    <a:pt x="284" y="69"/>
                    <a:pt x="286" y="67"/>
                  </a:cubicBezTo>
                  <a:cubicBezTo>
                    <a:pt x="281" y="63"/>
                    <a:pt x="275" y="60"/>
                    <a:pt x="270" y="56"/>
                  </a:cubicBezTo>
                  <a:cubicBezTo>
                    <a:pt x="269" y="55"/>
                    <a:pt x="268" y="55"/>
                    <a:pt x="267" y="54"/>
                  </a:cubicBezTo>
                  <a:cubicBezTo>
                    <a:pt x="269" y="58"/>
                    <a:pt x="263" y="57"/>
                    <a:pt x="264" y="61"/>
                  </a:cubicBezTo>
                  <a:cubicBezTo>
                    <a:pt x="260" y="56"/>
                    <a:pt x="259" y="53"/>
                    <a:pt x="253" y="51"/>
                  </a:cubicBezTo>
                  <a:cubicBezTo>
                    <a:pt x="254" y="52"/>
                    <a:pt x="255" y="53"/>
                    <a:pt x="255" y="54"/>
                  </a:cubicBezTo>
                  <a:cubicBezTo>
                    <a:pt x="255" y="53"/>
                    <a:pt x="254" y="53"/>
                    <a:pt x="253" y="53"/>
                  </a:cubicBezTo>
                  <a:cubicBezTo>
                    <a:pt x="253" y="55"/>
                    <a:pt x="254" y="57"/>
                    <a:pt x="254" y="59"/>
                  </a:cubicBezTo>
                  <a:cubicBezTo>
                    <a:pt x="253" y="56"/>
                    <a:pt x="254" y="55"/>
                    <a:pt x="252" y="52"/>
                  </a:cubicBezTo>
                  <a:cubicBezTo>
                    <a:pt x="251" y="54"/>
                    <a:pt x="251" y="56"/>
                    <a:pt x="250" y="58"/>
                  </a:cubicBezTo>
                  <a:cubicBezTo>
                    <a:pt x="249" y="55"/>
                    <a:pt x="248" y="52"/>
                    <a:pt x="246" y="49"/>
                  </a:cubicBezTo>
                  <a:cubicBezTo>
                    <a:pt x="246" y="48"/>
                    <a:pt x="246" y="47"/>
                    <a:pt x="245" y="47"/>
                  </a:cubicBezTo>
                  <a:cubicBezTo>
                    <a:pt x="245" y="47"/>
                    <a:pt x="244" y="47"/>
                    <a:pt x="244" y="48"/>
                  </a:cubicBezTo>
                  <a:cubicBezTo>
                    <a:pt x="242" y="50"/>
                    <a:pt x="241" y="51"/>
                    <a:pt x="240" y="51"/>
                  </a:cubicBezTo>
                  <a:cubicBezTo>
                    <a:pt x="238" y="51"/>
                    <a:pt x="237" y="50"/>
                    <a:pt x="234" y="49"/>
                  </a:cubicBezTo>
                  <a:cubicBezTo>
                    <a:pt x="234" y="49"/>
                    <a:pt x="235" y="49"/>
                    <a:pt x="235" y="49"/>
                  </a:cubicBezTo>
                  <a:cubicBezTo>
                    <a:pt x="236" y="49"/>
                    <a:pt x="237" y="50"/>
                    <a:pt x="238" y="50"/>
                  </a:cubicBezTo>
                  <a:cubicBezTo>
                    <a:pt x="239" y="50"/>
                    <a:pt x="239" y="50"/>
                    <a:pt x="239" y="50"/>
                  </a:cubicBezTo>
                  <a:cubicBezTo>
                    <a:pt x="239" y="50"/>
                    <a:pt x="239" y="50"/>
                    <a:pt x="239" y="50"/>
                  </a:cubicBezTo>
                  <a:cubicBezTo>
                    <a:pt x="239" y="50"/>
                    <a:pt x="239" y="49"/>
                    <a:pt x="240" y="49"/>
                  </a:cubicBezTo>
                  <a:cubicBezTo>
                    <a:pt x="240" y="49"/>
                    <a:pt x="240" y="49"/>
                    <a:pt x="240" y="49"/>
                  </a:cubicBezTo>
                  <a:cubicBezTo>
                    <a:pt x="240" y="49"/>
                    <a:pt x="240" y="49"/>
                    <a:pt x="241" y="50"/>
                  </a:cubicBezTo>
                  <a:cubicBezTo>
                    <a:pt x="241" y="50"/>
                    <a:pt x="241" y="50"/>
                    <a:pt x="241" y="50"/>
                  </a:cubicBezTo>
                  <a:cubicBezTo>
                    <a:pt x="242" y="50"/>
                    <a:pt x="242" y="50"/>
                    <a:pt x="242" y="49"/>
                  </a:cubicBezTo>
                  <a:cubicBezTo>
                    <a:pt x="245" y="47"/>
                    <a:pt x="240" y="43"/>
                    <a:pt x="237" y="43"/>
                  </a:cubicBezTo>
                  <a:cubicBezTo>
                    <a:pt x="236" y="43"/>
                    <a:pt x="236" y="43"/>
                    <a:pt x="236" y="43"/>
                  </a:cubicBezTo>
                  <a:cubicBezTo>
                    <a:pt x="237" y="43"/>
                    <a:pt x="237" y="42"/>
                    <a:pt x="238" y="42"/>
                  </a:cubicBezTo>
                  <a:cubicBezTo>
                    <a:pt x="237" y="41"/>
                    <a:pt x="236" y="41"/>
                    <a:pt x="235" y="40"/>
                  </a:cubicBezTo>
                  <a:cubicBezTo>
                    <a:pt x="236" y="39"/>
                    <a:pt x="237" y="39"/>
                    <a:pt x="239" y="39"/>
                  </a:cubicBezTo>
                  <a:cubicBezTo>
                    <a:pt x="240" y="39"/>
                    <a:pt x="241" y="39"/>
                    <a:pt x="242" y="39"/>
                  </a:cubicBezTo>
                  <a:cubicBezTo>
                    <a:pt x="243" y="39"/>
                    <a:pt x="244" y="39"/>
                    <a:pt x="245" y="39"/>
                  </a:cubicBezTo>
                  <a:cubicBezTo>
                    <a:pt x="246" y="39"/>
                    <a:pt x="247" y="39"/>
                    <a:pt x="247" y="39"/>
                  </a:cubicBezTo>
                  <a:cubicBezTo>
                    <a:pt x="252" y="37"/>
                    <a:pt x="256" y="36"/>
                    <a:pt x="260" y="35"/>
                  </a:cubicBezTo>
                  <a:cubicBezTo>
                    <a:pt x="250" y="35"/>
                    <a:pt x="241" y="35"/>
                    <a:pt x="231" y="35"/>
                  </a:cubicBezTo>
                  <a:cubicBezTo>
                    <a:pt x="228" y="35"/>
                    <a:pt x="224" y="37"/>
                    <a:pt x="220" y="37"/>
                  </a:cubicBezTo>
                  <a:cubicBezTo>
                    <a:pt x="218" y="37"/>
                    <a:pt x="216" y="36"/>
                    <a:pt x="215" y="35"/>
                  </a:cubicBezTo>
                  <a:cubicBezTo>
                    <a:pt x="215" y="37"/>
                    <a:pt x="213" y="37"/>
                    <a:pt x="211" y="37"/>
                  </a:cubicBezTo>
                  <a:cubicBezTo>
                    <a:pt x="210" y="37"/>
                    <a:pt x="209" y="37"/>
                    <a:pt x="209" y="37"/>
                  </a:cubicBezTo>
                  <a:cubicBezTo>
                    <a:pt x="208" y="37"/>
                    <a:pt x="205" y="36"/>
                    <a:pt x="205" y="36"/>
                  </a:cubicBezTo>
                  <a:cubicBezTo>
                    <a:pt x="203" y="37"/>
                    <a:pt x="206" y="39"/>
                    <a:pt x="207" y="39"/>
                  </a:cubicBezTo>
                  <a:cubicBezTo>
                    <a:pt x="208" y="40"/>
                    <a:pt x="209" y="40"/>
                    <a:pt x="210" y="40"/>
                  </a:cubicBezTo>
                  <a:cubicBezTo>
                    <a:pt x="211" y="40"/>
                    <a:pt x="212" y="40"/>
                    <a:pt x="212" y="40"/>
                  </a:cubicBezTo>
                  <a:cubicBezTo>
                    <a:pt x="213" y="39"/>
                    <a:pt x="214" y="39"/>
                    <a:pt x="214" y="39"/>
                  </a:cubicBezTo>
                  <a:cubicBezTo>
                    <a:pt x="216" y="39"/>
                    <a:pt x="217" y="40"/>
                    <a:pt x="218" y="40"/>
                  </a:cubicBezTo>
                  <a:cubicBezTo>
                    <a:pt x="211" y="41"/>
                    <a:pt x="206" y="43"/>
                    <a:pt x="199" y="45"/>
                  </a:cubicBezTo>
                  <a:cubicBezTo>
                    <a:pt x="196" y="46"/>
                    <a:pt x="193" y="48"/>
                    <a:pt x="191" y="49"/>
                  </a:cubicBezTo>
                  <a:cubicBezTo>
                    <a:pt x="190" y="50"/>
                    <a:pt x="190" y="50"/>
                    <a:pt x="189" y="50"/>
                  </a:cubicBezTo>
                  <a:cubicBezTo>
                    <a:pt x="187" y="50"/>
                    <a:pt x="183" y="49"/>
                    <a:pt x="182" y="49"/>
                  </a:cubicBezTo>
                  <a:cubicBezTo>
                    <a:pt x="178" y="48"/>
                    <a:pt x="173" y="48"/>
                    <a:pt x="169" y="46"/>
                  </a:cubicBezTo>
                  <a:cubicBezTo>
                    <a:pt x="166" y="45"/>
                    <a:pt x="163" y="41"/>
                    <a:pt x="164" y="38"/>
                  </a:cubicBezTo>
                  <a:cubicBezTo>
                    <a:pt x="161" y="37"/>
                    <a:pt x="159" y="37"/>
                    <a:pt x="156" y="37"/>
                  </a:cubicBezTo>
                  <a:cubicBezTo>
                    <a:pt x="154" y="37"/>
                    <a:pt x="152" y="37"/>
                    <a:pt x="149" y="37"/>
                  </a:cubicBezTo>
                  <a:cubicBezTo>
                    <a:pt x="149" y="38"/>
                    <a:pt x="150" y="39"/>
                    <a:pt x="150" y="40"/>
                  </a:cubicBezTo>
                  <a:cubicBezTo>
                    <a:pt x="150" y="43"/>
                    <a:pt x="147" y="46"/>
                    <a:pt x="143" y="46"/>
                  </a:cubicBezTo>
                  <a:cubicBezTo>
                    <a:pt x="140" y="46"/>
                    <a:pt x="137" y="43"/>
                    <a:pt x="137" y="40"/>
                  </a:cubicBezTo>
                  <a:cubicBezTo>
                    <a:pt x="137" y="39"/>
                    <a:pt x="137" y="39"/>
                    <a:pt x="137" y="38"/>
                  </a:cubicBezTo>
                  <a:cubicBezTo>
                    <a:pt x="134" y="39"/>
                    <a:pt x="131" y="39"/>
                    <a:pt x="127" y="39"/>
                  </a:cubicBezTo>
                  <a:cubicBezTo>
                    <a:pt x="125" y="40"/>
                    <a:pt x="124" y="40"/>
                    <a:pt x="122" y="40"/>
                  </a:cubicBezTo>
                  <a:cubicBezTo>
                    <a:pt x="121" y="40"/>
                    <a:pt x="120" y="40"/>
                    <a:pt x="118" y="39"/>
                  </a:cubicBezTo>
                  <a:cubicBezTo>
                    <a:pt x="114" y="38"/>
                    <a:pt x="112" y="39"/>
                    <a:pt x="112" y="34"/>
                  </a:cubicBezTo>
                  <a:cubicBezTo>
                    <a:pt x="111" y="32"/>
                    <a:pt x="111" y="27"/>
                    <a:pt x="109" y="25"/>
                  </a:cubicBezTo>
                  <a:cubicBezTo>
                    <a:pt x="107" y="24"/>
                    <a:pt x="104" y="20"/>
                    <a:pt x="101" y="20"/>
                  </a:cubicBezTo>
                  <a:cubicBezTo>
                    <a:pt x="97" y="19"/>
                    <a:pt x="93" y="18"/>
                    <a:pt x="89" y="17"/>
                  </a:cubicBezTo>
                  <a:cubicBezTo>
                    <a:pt x="86" y="17"/>
                    <a:pt x="83" y="17"/>
                    <a:pt x="81" y="16"/>
                  </a:cubicBezTo>
                  <a:cubicBezTo>
                    <a:pt x="79" y="15"/>
                    <a:pt x="78" y="15"/>
                    <a:pt x="77" y="12"/>
                  </a:cubicBezTo>
                  <a:cubicBezTo>
                    <a:pt x="77" y="10"/>
                    <a:pt x="76" y="8"/>
                    <a:pt x="76" y="6"/>
                  </a:cubicBezTo>
                  <a:cubicBezTo>
                    <a:pt x="75" y="3"/>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2" name="Freeform 253">
              <a:extLst>
                <a:ext uri="{FF2B5EF4-FFF2-40B4-BE49-F238E27FC236}">
                  <a16:creationId xmlns:a16="http://schemas.microsoft.com/office/drawing/2014/main" id="{B38E290E-C151-4CCA-9C52-83DC5D9EDAD0}"/>
                </a:ext>
              </a:extLst>
            </p:cNvPr>
            <p:cNvSpPr>
              <a:spLocks/>
            </p:cNvSpPr>
            <p:nvPr/>
          </p:nvSpPr>
          <p:spPr bwMode="auto">
            <a:xfrm>
              <a:off x="9073327" y="1358607"/>
              <a:ext cx="333296" cy="543725"/>
            </a:xfrm>
            <a:custGeom>
              <a:avLst/>
              <a:gdLst>
                <a:gd name="T0" fmla="*/ 29 w 100"/>
                <a:gd name="T1" fmla="*/ 7 h 163"/>
                <a:gd name="T2" fmla="*/ 18 w 100"/>
                <a:gd name="T3" fmla="*/ 14 h 163"/>
                <a:gd name="T4" fmla="*/ 15 w 100"/>
                <a:gd name="T5" fmla="*/ 19 h 163"/>
                <a:gd name="T6" fmla="*/ 16 w 100"/>
                <a:gd name="T7" fmla="*/ 24 h 163"/>
                <a:gd name="T8" fmla="*/ 23 w 100"/>
                <a:gd name="T9" fmla="*/ 28 h 163"/>
                <a:gd name="T10" fmla="*/ 21 w 100"/>
                <a:gd name="T11" fmla="*/ 34 h 163"/>
                <a:gd name="T12" fmla="*/ 13 w 100"/>
                <a:gd name="T13" fmla="*/ 38 h 163"/>
                <a:gd name="T14" fmla="*/ 8 w 100"/>
                <a:gd name="T15" fmla="*/ 38 h 163"/>
                <a:gd name="T16" fmla="*/ 5 w 100"/>
                <a:gd name="T17" fmla="*/ 40 h 163"/>
                <a:gd name="T18" fmla="*/ 4 w 100"/>
                <a:gd name="T19" fmla="*/ 42 h 163"/>
                <a:gd name="T20" fmla="*/ 5 w 100"/>
                <a:gd name="T21" fmla="*/ 47 h 163"/>
                <a:gd name="T22" fmla="*/ 0 w 100"/>
                <a:gd name="T23" fmla="*/ 55 h 163"/>
                <a:gd name="T24" fmla="*/ 9 w 100"/>
                <a:gd name="T25" fmla="*/ 66 h 163"/>
                <a:gd name="T26" fmla="*/ 13 w 100"/>
                <a:gd name="T27" fmla="*/ 69 h 163"/>
                <a:gd name="T28" fmla="*/ 15 w 100"/>
                <a:gd name="T29" fmla="*/ 69 h 163"/>
                <a:gd name="T30" fmla="*/ 18 w 100"/>
                <a:gd name="T31" fmla="*/ 69 h 163"/>
                <a:gd name="T32" fmla="*/ 21 w 100"/>
                <a:gd name="T33" fmla="*/ 69 h 163"/>
                <a:gd name="T34" fmla="*/ 23 w 100"/>
                <a:gd name="T35" fmla="*/ 69 h 163"/>
                <a:gd name="T36" fmla="*/ 26 w 100"/>
                <a:gd name="T37" fmla="*/ 70 h 163"/>
                <a:gd name="T38" fmla="*/ 29 w 100"/>
                <a:gd name="T39" fmla="*/ 72 h 163"/>
                <a:gd name="T40" fmla="*/ 38 w 100"/>
                <a:gd name="T41" fmla="*/ 92 h 163"/>
                <a:gd name="T42" fmla="*/ 42 w 100"/>
                <a:gd name="T43" fmla="*/ 101 h 163"/>
                <a:gd name="T44" fmla="*/ 32 w 100"/>
                <a:gd name="T45" fmla="*/ 132 h 163"/>
                <a:gd name="T46" fmla="*/ 38 w 100"/>
                <a:gd name="T47" fmla="*/ 148 h 163"/>
                <a:gd name="T48" fmla="*/ 49 w 100"/>
                <a:gd name="T49" fmla="*/ 159 h 163"/>
                <a:gd name="T50" fmla="*/ 57 w 100"/>
                <a:gd name="T51" fmla="*/ 162 h 163"/>
                <a:gd name="T52" fmla="*/ 58 w 100"/>
                <a:gd name="T53" fmla="*/ 158 h 163"/>
                <a:gd name="T54" fmla="*/ 86 w 100"/>
                <a:gd name="T55" fmla="*/ 148 h 163"/>
                <a:gd name="T56" fmla="*/ 97 w 100"/>
                <a:gd name="T57" fmla="*/ 144 h 163"/>
                <a:gd name="T58" fmla="*/ 100 w 100"/>
                <a:gd name="T59" fmla="*/ 145 h 163"/>
                <a:gd name="T60" fmla="*/ 98 w 100"/>
                <a:gd name="T61" fmla="*/ 142 h 163"/>
                <a:gd name="T62" fmla="*/ 90 w 100"/>
                <a:gd name="T63" fmla="*/ 129 h 163"/>
                <a:gd name="T64" fmla="*/ 88 w 100"/>
                <a:gd name="T65" fmla="*/ 118 h 163"/>
                <a:gd name="T66" fmla="*/ 81 w 100"/>
                <a:gd name="T67" fmla="*/ 116 h 163"/>
                <a:gd name="T68" fmla="*/ 72 w 100"/>
                <a:gd name="T69" fmla="*/ 93 h 163"/>
                <a:gd name="T70" fmla="*/ 73 w 100"/>
                <a:gd name="T71" fmla="*/ 90 h 163"/>
                <a:gd name="T72" fmla="*/ 74 w 100"/>
                <a:gd name="T73" fmla="*/ 86 h 163"/>
                <a:gd name="T74" fmla="*/ 76 w 100"/>
                <a:gd name="T75" fmla="*/ 79 h 163"/>
                <a:gd name="T76" fmla="*/ 86 w 100"/>
                <a:gd name="T77" fmla="*/ 74 h 163"/>
                <a:gd name="T78" fmla="*/ 88 w 100"/>
                <a:gd name="T79" fmla="*/ 73 h 163"/>
                <a:gd name="T80" fmla="*/ 89 w 100"/>
                <a:gd name="T81" fmla="*/ 67 h 163"/>
                <a:gd name="T82" fmla="*/ 91 w 100"/>
                <a:gd name="T83" fmla="*/ 57 h 163"/>
                <a:gd name="T84" fmla="*/ 92 w 100"/>
                <a:gd name="T85" fmla="*/ 55 h 163"/>
                <a:gd name="T86" fmla="*/ 86 w 100"/>
                <a:gd name="T87" fmla="*/ 48 h 163"/>
                <a:gd name="T88" fmla="*/ 68 w 100"/>
                <a:gd name="T89" fmla="*/ 33 h 163"/>
                <a:gd name="T90" fmla="*/ 63 w 100"/>
                <a:gd name="T91" fmla="*/ 28 h 163"/>
                <a:gd name="T92" fmla="*/ 34 w 100"/>
                <a:gd name="T9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0" h="163">
                  <a:moveTo>
                    <a:pt x="34" y="0"/>
                  </a:moveTo>
                  <a:cubicBezTo>
                    <a:pt x="35" y="1"/>
                    <a:pt x="34" y="2"/>
                    <a:pt x="34" y="3"/>
                  </a:cubicBezTo>
                  <a:cubicBezTo>
                    <a:pt x="33" y="5"/>
                    <a:pt x="31" y="6"/>
                    <a:pt x="29" y="7"/>
                  </a:cubicBezTo>
                  <a:cubicBezTo>
                    <a:pt x="28" y="8"/>
                    <a:pt x="28" y="8"/>
                    <a:pt x="27" y="9"/>
                  </a:cubicBezTo>
                  <a:cubicBezTo>
                    <a:pt x="25" y="11"/>
                    <a:pt x="22" y="12"/>
                    <a:pt x="19" y="14"/>
                  </a:cubicBezTo>
                  <a:cubicBezTo>
                    <a:pt x="18" y="14"/>
                    <a:pt x="18" y="14"/>
                    <a:pt x="18" y="14"/>
                  </a:cubicBezTo>
                  <a:cubicBezTo>
                    <a:pt x="17" y="15"/>
                    <a:pt x="17" y="15"/>
                    <a:pt x="17" y="16"/>
                  </a:cubicBezTo>
                  <a:cubicBezTo>
                    <a:pt x="16" y="17"/>
                    <a:pt x="16" y="17"/>
                    <a:pt x="15" y="18"/>
                  </a:cubicBezTo>
                  <a:cubicBezTo>
                    <a:pt x="15" y="19"/>
                    <a:pt x="15" y="19"/>
                    <a:pt x="15" y="19"/>
                  </a:cubicBezTo>
                  <a:cubicBezTo>
                    <a:pt x="15" y="20"/>
                    <a:pt x="15" y="20"/>
                    <a:pt x="15" y="20"/>
                  </a:cubicBezTo>
                  <a:cubicBezTo>
                    <a:pt x="15" y="21"/>
                    <a:pt x="16" y="22"/>
                    <a:pt x="16" y="23"/>
                  </a:cubicBezTo>
                  <a:cubicBezTo>
                    <a:pt x="16" y="24"/>
                    <a:pt x="16" y="24"/>
                    <a:pt x="16" y="24"/>
                  </a:cubicBezTo>
                  <a:cubicBezTo>
                    <a:pt x="17" y="24"/>
                    <a:pt x="17" y="24"/>
                    <a:pt x="17" y="24"/>
                  </a:cubicBezTo>
                  <a:cubicBezTo>
                    <a:pt x="19" y="24"/>
                    <a:pt x="22" y="24"/>
                    <a:pt x="23" y="27"/>
                  </a:cubicBezTo>
                  <a:cubicBezTo>
                    <a:pt x="23" y="27"/>
                    <a:pt x="23" y="28"/>
                    <a:pt x="23" y="28"/>
                  </a:cubicBezTo>
                  <a:cubicBezTo>
                    <a:pt x="23" y="29"/>
                    <a:pt x="23" y="29"/>
                    <a:pt x="23" y="29"/>
                  </a:cubicBezTo>
                  <a:cubicBezTo>
                    <a:pt x="23" y="30"/>
                    <a:pt x="23" y="32"/>
                    <a:pt x="21" y="34"/>
                  </a:cubicBezTo>
                  <a:cubicBezTo>
                    <a:pt x="21" y="34"/>
                    <a:pt x="21" y="34"/>
                    <a:pt x="21" y="34"/>
                  </a:cubicBezTo>
                  <a:cubicBezTo>
                    <a:pt x="19" y="35"/>
                    <a:pt x="18" y="36"/>
                    <a:pt x="17" y="36"/>
                  </a:cubicBezTo>
                  <a:cubicBezTo>
                    <a:pt x="16" y="37"/>
                    <a:pt x="16" y="37"/>
                    <a:pt x="16" y="37"/>
                  </a:cubicBezTo>
                  <a:cubicBezTo>
                    <a:pt x="15" y="37"/>
                    <a:pt x="14" y="38"/>
                    <a:pt x="13" y="38"/>
                  </a:cubicBezTo>
                  <a:cubicBezTo>
                    <a:pt x="13" y="38"/>
                    <a:pt x="12" y="39"/>
                    <a:pt x="11" y="39"/>
                  </a:cubicBezTo>
                  <a:cubicBezTo>
                    <a:pt x="11" y="39"/>
                    <a:pt x="11" y="39"/>
                    <a:pt x="11" y="39"/>
                  </a:cubicBezTo>
                  <a:cubicBezTo>
                    <a:pt x="10" y="39"/>
                    <a:pt x="9" y="39"/>
                    <a:pt x="8" y="38"/>
                  </a:cubicBezTo>
                  <a:cubicBezTo>
                    <a:pt x="8" y="38"/>
                    <a:pt x="8" y="38"/>
                    <a:pt x="8" y="38"/>
                  </a:cubicBezTo>
                  <a:cubicBezTo>
                    <a:pt x="6" y="39"/>
                    <a:pt x="6" y="39"/>
                    <a:pt x="6" y="39"/>
                  </a:cubicBezTo>
                  <a:cubicBezTo>
                    <a:pt x="6" y="39"/>
                    <a:pt x="6" y="39"/>
                    <a:pt x="5" y="40"/>
                  </a:cubicBezTo>
                  <a:cubicBezTo>
                    <a:pt x="5" y="40"/>
                    <a:pt x="5" y="40"/>
                    <a:pt x="4" y="40"/>
                  </a:cubicBezTo>
                  <a:cubicBezTo>
                    <a:pt x="4" y="41"/>
                    <a:pt x="4" y="41"/>
                    <a:pt x="4" y="42"/>
                  </a:cubicBezTo>
                  <a:cubicBezTo>
                    <a:pt x="4" y="42"/>
                    <a:pt x="4" y="42"/>
                    <a:pt x="4" y="42"/>
                  </a:cubicBezTo>
                  <a:cubicBezTo>
                    <a:pt x="4" y="43"/>
                    <a:pt x="4" y="43"/>
                    <a:pt x="4" y="44"/>
                  </a:cubicBezTo>
                  <a:cubicBezTo>
                    <a:pt x="4" y="45"/>
                    <a:pt x="4" y="45"/>
                    <a:pt x="4" y="46"/>
                  </a:cubicBezTo>
                  <a:cubicBezTo>
                    <a:pt x="4" y="46"/>
                    <a:pt x="5" y="47"/>
                    <a:pt x="5" y="47"/>
                  </a:cubicBezTo>
                  <a:cubicBezTo>
                    <a:pt x="5" y="48"/>
                    <a:pt x="5" y="49"/>
                    <a:pt x="4" y="51"/>
                  </a:cubicBezTo>
                  <a:cubicBezTo>
                    <a:pt x="4" y="52"/>
                    <a:pt x="2" y="53"/>
                    <a:pt x="1" y="54"/>
                  </a:cubicBezTo>
                  <a:cubicBezTo>
                    <a:pt x="0" y="55"/>
                    <a:pt x="0" y="55"/>
                    <a:pt x="0" y="55"/>
                  </a:cubicBezTo>
                  <a:cubicBezTo>
                    <a:pt x="0" y="55"/>
                    <a:pt x="0" y="55"/>
                    <a:pt x="0" y="55"/>
                  </a:cubicBezTo>
                  <a:cubicBezTo>
                    <a:pt x="8" y="65"/>
                    <a:pt x="8" y="65"/>
                    <a:pt x="8" y="65"/>
                  </a:cubicBezTo>
                  <a:cubicBezTo>
                    <a:pt x="9" y="66"/>
                    <a:pt x="9" y="66"/>
                    <a:pt x="9" y="66"/>
                  </a:cubicBezTo>
                  <a:cubicBezTo>
                    <a:pt x="9" y="66"/>
                    <a:pt x="9" y="66"/>
                    <a:pt x="9" y="66"/>
                  </a:cubicBezTo>
                  <a:cubicBezTo>
                    <a:pt x="10" y="67"/>
                    <a:pt x="11" y="68"/>
                    <a:pt x="12" y="69"/>
                  </a:cubicBezTo>
                  <a:cubicBezTo>
                    <a:pt x="13" y="69"/>
                    <a:pt x="13" y="69"/>
                    <a:pt x="13" y="69"/>
                  </a:cubicBezTo>
                  <a:cubicBezTo>
                    <a:pt x="13" y="69"/>
                    <a:pt x="13" y="69"/>
                    <a:pt x="13" y="69"/>
                  </a:cubicBezTo>
                  <a:cubicBezTo>
                    <a:pt x="14" y="69"/>
                    <a:pt x="14" y="69"/>
                    <a:pt x="14" y="69"/>
                  </a:cubicBezTo>
                  <a:cubicBezTo>
                    <a:pt x="14" y="69"/>
                    <a:pt x="14" y="69"/>
                    <a:pt x="15" y="69"/>
                  </a:cubicBezTo>
                  <a:cubicBezTo>
                    <a:pt x="16" y="69"/>
                    <a:pt x="16" y="69"/>
                    <a:pt x="16" y="69"/>
                  </a:cubicBezTo>
                  <a:cubicBezTo>
                    <a:pt x="16" y="69"/>
                    <a:pt x="16" y="69"/>
                    <a:pt x="17" y="69"/>
                  </a:cubicBezTo>
                  <a:cubicBezTo>
                    <a:pt x="18" y="69"/>
                    <a:pt x="18" y="69"/>
                    <a:pt x="18" y="69"/>
                  </a:cubicBezTo>
                  <a:cubicBezTo>
                    <a:pt x="18" y="69"/>
                    <a:pt x="19" y="69"/>
                    <a:pt x="20" y="69"/>
                  </a:cubicBezTo>
                  <a:cubicBezTo>
                    <a:pt x="20" y="69"/>
                    <a:pt x="20" y="69"/>
                    <a:pt x="20" y="69"/>
                  </a:cubicBezTo>
                  <a:cubicBezTo>
                    <a:pt x="21" y="69"/>
                    <a:pt x="21" y="69"/>
                    <a:pt x="21" y="69"/>
                  </a:cubicBezTo>
                  <a:cubicBezTo>
                    <a:pt x="21" y="69"/>
                    <a:pt x="21" y="69"/>
                    <a:pt x="21" y="69"/>
                  </a:cubicBezTo>
                  <a:cubicBezTo>
                    <a:pt x="21" y="69"/>
                    <a:pt x="21" y="69"/>
                    <a:pt x="22" y="69"/>
                  </a:cubicBezTo>
                  <a:cubicBezTo>
                    <a:pt x="22" y="69"/>
                    <a:pt x="23" y="69"/>
                    <a:pt x="23" y="69"/>
                  </a:cubicBezTo>
                  <a:cubicBezTo>
                    <a:pt x="24" y="69"/>
                    <a:pt x="24" y="69"/>
                    <a:pt x="24" y="69"/>
                  </a:cubicBezTo>
                  <a:cubicBezTo>
                    <a:pt x="24" y="69"/>
                    <a:pt x="24" y="69"/>
                    <a:pt x="24" y="69"/>
                  </a:cubicBezTo>
                  <a:cubicBezTo>
                    <a:pt x="25" y="69"/>
                    <a:pt x="25" y="70"/>
                    <a:pt x="26" y="70"/>
                  </a:cubicBezTo>
                  <a:cubicBezTo>
                    <a:pt x="26" y="70"/>
                    <a:pt x="26" y="70"/>
                    <a:pt x="26" y="70"/>
                  </a:cubicBezTo>
                  <a:cubicBezTo>
                    <a:pt x="27" y="70"/>
                    <a:pt x="27" y="70"/>
                    <a:pt x="27" y="70"/>
                  </a:cubicBezTo>
                  <a:cubicBezTo>
                    <a:pt x="28" y="71"/>
                    <a:pt x="28" y="71"/>
                    <a:pt x="29" y="72"/>
                  </a:cubicBezTo>
                  <a:cubicBezTo>
                    <a:pt x="31" y="75"/>
                    <a:pt x="31" y="80"/>
                    <a:pt x="29" y="86"/>
                  </a:cubicBezTo>
                  <a:cubicBezTo>
                    <a:pt x="33" y="86"/>
                    <a:pt x="38" y="88"/>
                    <a:pt x="38" y="92"/>
                  </a:cubicBezTo>
                  <a:cubicBezTo>
                    <a:pt x="38" y="92"/>
                    <a:pt x="38" y="92"/>
                    <a:pt x="38" y="92"/>
                  </a:cubicBezTo>
                  <a:cubicBezTo>
                    <a:pt x="37" y="93"/>
                    <a:pt x="37" y="93"/>
                    <a:pt x="37" y="93"/>
                  </a:cubicBezTo>
                  <a:cubicBezTo>
                    <a:pt x="37" y="94"/>
                    <a:pt x="38" y="97"/>
                    <a:pt x="41" y="100"/>
                  </a:cubicBezTo>
                  <a:cubicBezTo>
                    <a:pt x="42" y="101"/>
                    <a:pt x="42" y="101"/>
                    <a:pt x="42" y="101"/>
                  </a:cubicBezTo>
                  <a:cubicBezTo>
                    <a:pt x="42" y="103"/>
                    <a:pt x="42" y="103"/>
                    <a:pt x="42" y="103"/>
                  </a:cubicBezTo>
                  <a:cubicBezTo>
                    <a:pt x="41" y="106"/>
                    <a:pt x="39" y="108"/>
                    <a:pt x="38" y="109"/>
                  </a:cubicBezTo>
                  <a:cubicBezTo>
                    <a:pt x="36" y="112"/>
                    <a:pt x="29" y="129"/>
                    <a:pt x="32" y="132"/>
                  </a:cubicBezTo>
                  <a:cubicBezTo>
                    <a:pt x="32" y="133"/>
                    <a:pt x="32" y="133"/>
                    <a:pt x="32" y="133"/>
                  </a:cubicBezTo>
                  <a:cubicBezTo>
                    <a:pt x="32" y="134"/>
                    <a:pt x="33" y="135"/>
                    <a:pt x="33" y="136"/>
                  </a:cubicBezTo>
                  <a:cubicBezTo>
                    <a:pt x="35" y="137"/>
                    <a:pt x="38" y="141"/>
                    <a:pt x="38" y="148"/>
                  </a:cubicBezTo>
                  <a:cubicBezTo>
                    <a:pt x="38" y="150"/>
                    <a:pt x="41" y="153"/>
                    <a:pt x="43" y="154"/>
                  </a:cubicBezTo>
                  <a:cubicBezTo>
                    <a:pt x="43" y="155"/>
                    <a:pt x="43" y="155"/>
                    <a:pt x="44" y="156"/>
                  </a:cubicBezTo>
                  <a:cubicBezTo>
                    <a:pt x="45" y="157"/>
                    <a:pt x="47" y="159"/>
                    <a:pt x="49" y="159"/>
                  </a:cubicBezTo>
                  <a:cubicBezTo>
                    <a:pt x="52" y="159"/>
                    <a:pt x="54" y="161"/>
                    <a:pt x="55" y="162"/>
                  </a:cubicBezTo>
                  <a:cubicBezTo>
                    <a:pt x="55" y="162"/>
                    <a:pt x="56" y="163"/>
                    <a:pt x="56" y="163"/>
                  </a:cubicBezTo>
                  <a:cubicBezTo>
                    <a:pt x="57" y="163"/>
                    <a:pt x="57" y="162"/>
                    <a:pt x="57" y="162"/>
                  </a:cubicBezTo>
                  <a:cubicBezTo>
                    <a:pt x="59" y="162"/>
                    <a:pt x="60" y="161"/>
                    <a:pt x="60" y="161"/>
                  </a:cubicBezTo>
                  <a:cubicBezTo>
                    <a:pt x="60" y="161"/>
                    <a:pt x="60" y="161"/>
                    <a:pt x="60" y="161"/>
                  </a:cubicBezTo>
                  <a:cubicBezTo>
                    <a:pt x="58" y="158"/>
                    <a:pt x="58" y="158"/>
                    <a:pt x="58" y="158"/>
                  </a:cubicBezTo>
                  <a:cubicBezTo>
                    <a:pt x="62" y="157"/>
                    <a:pt x="62" y="157"/>
                    <a:pt x="62" y="157"/>
                  </a:cubicBezTo>
                  <a:cubicBezTo>
                    <a:pt x="77" y="153"/>
                    <a:pt x="81" y="152"/>
                    <a:pt x="81" y="152"/>
                  </a:cubicBezTo>
                  <a:cubicBezTo>
                    <a:pt x="82" y="152"/>
                    <a:pt x="84" y="151"/>
                    <a:pt x="86" y="148"/>
                  </a:cubicBezTo>
                  <a:cubicBezTo>
                    <a:pt x="88" y="145"/>
                    <a:pt x="92" y="143"/>
                    <a:pt x="94" y="143"/>
                  </a:cubicBezTo>
                  <a:cubicBezTo>
                    <a:pt x="94" y="143"/>
                    <a:pt x="94" y="143"/>
                    <a:pt x="95" y="143"/>
                  </a:cubicBezTo>
                  <a:cubicBezTo>
                    <a:pt x="95" y="143"/>
                    <a:pt x="96" y="144"/>
                    <a:pt x="97" y="144"/>
                  </a:cubicBezTo>
                  <a:cubicBezTo>
                    <a:pt x="98" y="144"/>
                    <a:pt x="98" y="145"/>
                    <a:pt x="99" y="145"/>
                  </a:cubicBezTo>
                  <a:cubicBezTo>
                    <a:pt x="99" y="145"/>
                    <a:pt x="99" y="145"/>
                    <a:pt x="99" y="145"/>
                  </a:cubicBezTo>
                  <a:cubicBezTo>
                    <a:pt x="100" y="145"/>
                    <a:pt x="100" y="145"/>
                    <a:pt x="100" y="145"/>
                  </a:cubicBezTo>
                  <a:cubicBezTo>
                    <a:pt x="100" y="144"/>
                    <a:pt x="100" y="144"/>
                    <a:pt x="100" y="144"/>
                  </a:cubicBezTo>
                  <a:cubicBezTo>
                    <a:pt x="99" y="144"/>
                    <a:pt x="99" y="144"/>
                    <a:pt x="99" y="143"/>
                  </a:cubicBezTo>
                  <a:cubicBezTo>
                    <a:pt x="98" y="142"/>
                    <a:pt x="98" y="142"/>
                    <a:pt x="98" y="142"/>
                  </a:cubicBezTo>
                  <a:cubicBezTo>
                    <a:pt x="96" y="139"/>
                    <a:pt x="95" y="136"/>
                    <a:pt x="93" y="133"/>
                  </a:cubicBezTo>
                  <a:cubicBezTo>
                    <a:pt x="91" y="131"/>
                    <a:pt x="91" y="131"/>
                    <a:pt x="91" y="131"/>
                  </a:cubicBezTo>
                  <a:cubicBezTo>
                    <a:pt x="91" y="130"/>
                    <a:pt x="91" y="130"/>
                    <a:pt x="90" y="129"/>
                  </a:cubicBezTo>
                  <a:cubicBezTo>
                    <a:pt x="90" y="128"/>
                    <a:pt x="90" y="127"/>
                    <a:pt x="90" y="126"/>
                  </a:cubicBezTo>
                  <a:cubicBezTo>
                    <a:pt x="90" y="126"/>
                    <a:pt x="90" y="125"/>
                    <a:pt x="90" y="125"/>
                  </a:cubicBezTo>
                  <a:cubicBezTo>
                    <a:pt x="89" y="123"/>
                    <a:pt x="89" y="121"/>
                    <a:pt x="88" y="118"/>
                  </a:cubicBezTo>
                  <a:cubicBezTo>
                    <a:pt x="88" y="119"/>
                    <a:pt x="87" y="119"/>
                    <a:pt x="87" y="119"/>
                  </a:cubicBezTo>
                  <a:cubicBezTo>
                    <a:pt x="85" y="119"/>
                    <a:pt x="83" y="118"/>
                    <a:pt x="81" y="117"/>
                  </a:cubicBezTo>
                  <a:cubicBezTo>
                    <a:pt x="81" y="116"/>
                    <a:pt x="81" y="116"/>
                    <a:pt x="81" y="116"/>
                  </a:cubicBezTo>
                  <a:cubicBezTo>
                    <a:pt x="78" y="115"/>
                    <a:pt x="77" y="112"/>
                    <a:pt x="75" y="109"/>
                  </a:cubicBezTo>
                  <a:cubicBezTo>
                    <a:pt x="72" y="104"/>
                    <a:pt x="69" y="99"/>
                    <a:pt x="70" y="96"/>
                  </a:cubicBezTo>
                  <a:cubicBezTo>
                    <a:pt x="70" y="94"/>
                    <a:pt x="72" y="93"/>
                    <a:pt x="72" y="93"/>
                  </a:cubicBezTo>
                  <a:cubicBezTo>
                    <a:pt x="73" y="92"/>
                    <a:pt x="73" y="92"/>
                    <a:pt x="73" y="92"/>
                  </a:cubicBezTo>
                  <a:cubicBezTo>
                    <a:pt x="73" y="92"/>
                    <a:pt x="73" y="92"/>
                    <a:pt x="73" y="92"/>
                  </a:cubicBezTo>
                  <a:cubicBezTo>
                    <a:pt x="73" y="92"/>
                    <a:pt x="73" y="91"/>
                    <a:pt x="73" y="90"/>
                  </a:cubicBezTo>
                  <a:cubicBezTo>
                    <a:pt x="73" y="89"/>
                    <a:pt x="73" y="89"/>
                    <a:pt x="73" y="89"/>
                  </a:cubicBezTo>
                  <a:cubicBezTo>
                    <a:pt x="73" y="88"/>
                    <a:pt x="74" y="87"/>
                    <a:pt x="74" y="87"/>
                  </a:cubicBezTo>
                  <a:cubicBezTo>
                    <a:pt x="74" y="86"/>
                    <a:pt x="74" y="86"/>
                    <a:pt x="74" y="86"/>
                  </a:cubicBezTo>
                  <a:cubicBezTo>
                    <a:pt x="74" y="85"/>
                    <a:pt x="75" y="84"/>
                    <a:pt x="75" y="82"/>
                  </a:cubicBezTo>
                  <a:cubicBezTo>
                    <a:pt x="75" y="80"/>
                    <a:pt x="75" y="80"/>
                    <a:pt x="75" y="80"/>
                  </a:cubicBezTo>
                  <a:cubicBezTo>
                    <a:pt x="75" y="80"/>
                    <a:pt x="75" y="79"/>
                    <a:pt x="76" y="79"/>
                  </a:cubicBezTo>
                  <a:cubicBezTo>
                    <a:pt x="76" y="77"/>
                    <a:pt x="78" y="75"/>
                    <a:pt x="81" y="74"/>
                  </a:cubicBezTo>
                  <a:cubicBezTo>
                    <a:pt x="81" y="74"/>
                    <a:pt x="82" y="74"/>
                    <a:pt x="83" y="74"/>
                  </a:cubicBezTo>
                  <a:cubicBezTo>
                    <a:pt x="84" y="74"/>
                    <a:pt x="85" y="74"/>
                    <a:pt x="86" y="74"/>
                  </a:cubicBezTo>
                  <a:cubicBezTo>
                    <a:pt x="86" y="74"/>
                    <a:pt x="87" y="74"/>
                    <a:pt x="87" y="74"/>
                  </a:cubicBezTo>
                  <a:cubicBezTo>
                    <a:pt x="88" y="74"/>
                    <a:pt x="88" y="74"/>
                    <a:pt x="88" y="74"/>
                  </a:cubicBezTo>
                  <a:cubicBezTo>
                    <a:pt x="88" y="74"/>
                    <a:pt x="88" y="73"/>
                    <a:pt x="88" y="73"/>
                  </a:cubicBezTo>
                  <a:cubicBezTo>
                    <a:pt x="88" y="72"/>
                    <a:pt x="88" y="72"/>
                    <a:pt x="88" y="72"/>
                  </a:cubicBezTo>
                  <a:cubicBezTo>
                    <a:pt x="89" y="71"/>
                    <a:pt x="89" y="69"/>
                    <a:pt x="89" y="68"/>
                  </a:cubicBezTo>
                  <a:cubicBezTo>
                    <a:pt x="89" y="67"/>
                    <a:pt x="89" y="67"/>
                    <a:pt x="89" y="67"/>
                  </a:cubicBezTo>
                  <a:cubicBezTo>
                    <a:pt x="89" y="65"/>
                    <a:pt x="89" y="62"/>
                    <a:pt x="90" y="60"/>
                  </a:cubicBezTo>
                  <a:cubicBezTo>
                    <a:pt x="90" y="59"/>
                    <a:pt x="91" y="58"/>
                    <a:pt x="91" y="58"/>
                  </a:cubicBezTo>
                  <a:cubicBezTo>
                    <a:pt x="91" y="57"/>
                    <a:pt x="91" y="57"/>
                    <a:pt x="91" y="57"/>
                  </a:cubicBezTo>
                  <a:cubicBezTo>
                    <a:pt x="92" y="56"/>
                    <a:pt x="92" y="56"/>
                    <a:pt x="92" y="56"/>
                  </a:cubicBezTo>
                  <a:cubicBezTo>
                    <a:pt x="92" y="56"/>
                    <a:pt x="92" y="56"/>
                    <a:pt x="92" y="56"/>
                  </a:cubicBezTo>
                  <a:cubicBezTo>
                    <a:pt x="92" y="55"/>
                    <a:pt x="92" y="55"/>
                    <a:pt x="92" y="55"/>
                  </a:cubicBezTo>
                  <a:cubicBezTo>
                    <a:pt x="94" y="55"/>
                    <a:pt x="94" y="55"/>
                    <a:pt x="94" y="55"/>
                  </a:cubicBezTo>
                  <a:cubicBezTo>
                    <a:pt x="93" y="53"/>
                    <a:pt x="92" y="50"/>
                    <a:pt x="91" y="49"/>
                  </a:cubicBezTo>
                  <a:cubicBezTo>
                    <a:pt x="90" y="48"/>
                    <a:pt x="87" y="48"/>
                    <a:pt x="86" y="48"/>
                  </a:cubicBezTo>
                  <a:cubicBezTo>
                    <a:pt x="85" y="47"/>
                    <a:pt x="84" y="46"/>
                    <a:pt x="83" y="45"/>
                  </a:cubicBezTo>
                  <a:cubicBezTo>
                    <a:pt x="81" y="42"/>
                    <a:pt x="79" y="40"/>
                    <a:pt x="76" y="37"/>
                  </a:cubicBezTo>
                  <a:cubicBezTo>
                    <a:pt x="73" y="35"/>
                    <a:pt x="71" y="35"/>
                    <a:pt x="68" y="33"/>
                  </a:cubicBezTo>
                  <a:cubicBezTo>
                    <a:pt x="67" y="33"/>
                    <a:pt x="67" y="33"/>
                    <a:pt x="66" y="33"/>
                  </a:cubicBezTo>
                  <a:cubicBezTo>
                    <a:pt x="63" y="33"/>
                    <a:pt x="61" y="42"/>
                    <a:pt x="60" y="44"/>
                  </a:cubicBezTo>
                  <a:cubicBezTo>
                    <a:pt x="58" y="39"/>
                    <a:pt x="63" y="33"/>
                    <a:pt x="63" y="28"/>
                  </a:cubicBezTo>
                  <a:cubicBezTo>
                    <a:pt x="63" y="21"/>
                    <a:pt x="59" y="17"/>
                    <a:pt x="55" y="13"/>
                  </a:cubicBezTo>
                  <a:cubicBezTo>
                    <a:pt x="51" y="9"/>
                    <a:pt x="49" y="7"/>
                    <a:pt x="44" y="5"/>
                  </a:cubicBezTo>
                  <a:cubicBezTo>
                    <a:pt x="41" y="3"/>
                    <a:pt x="37" y="1"/>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3" name="Freeform 254">
              <a:extLst>
                <a:ext uri="{FF2B5EF4-FFF2-40B4-BE49-F238E27FC236}">
                  <a16:creationId xmlns:a16="http://schemas.microsoft.com/office/drawing/2014/main" id="{99301583-8B3F-4B1F-A392-79D8025D13CC}"/>
                </a:ext>
              </a:extLst>
            </p:cNvPr>
            <p:cNvSpPr>
              <a:spLocks/>
            </p:cNvSpPr>
            <p:nvPr/>
          </p:nvSpPr>
          <p:spPr bwMode="auto">
            <a:xfrm>
              <a:off x="9323299" y="1539378"/>
              <a:ext cx="296577" cy="310700"/>
            </a:xfrm>
            <a:custGeom>
              <a:avLst/>
              <a:gdLst>
                <a:gd name="T0" fmla="*/ 65 w 89"/>
                <a:gd name="T1" fmla="*/ 1 h 93"/>
                <a:gd name="T2" fmla="*/ 52 w 89"/>
                <a:gd name="T3" fmla="*/ 1 h 93"/>
                <a:gd name="T4" fmla="*/ 48 w 89"/>
                <a:gd name="T5" fmla="*/ 2 h 93"/>
                <a:gd name="T6" fmla="*/ 29 w 89"/>
                <a:gd name="T7" fmla="*/ 1 h 93"/>
                <a:gd name="T8" fmla="*/ 21 w 89"/>
                <a:gd name="T9" fmla="*/ 1 h 93"/>
                <a:gd name="T10" fmla="*/ 23 w 89"/>
                <a:gd name="T11" fmla="*/ 2 h 93"/>
                <a:gd name="T12" fmla="*/ 21 w 89"/>
                <a:gd name="T13" fmla="*/ 6 h 93"/>
                <a:gd name="T14" fmla="*/ 21 w 89"/>
                <a:gd name="T15" fmla="*/ 8 h 93"/>
                <a:gd name="T16" fmla="*/ 20 w 89"/>
                <a:gd name="T17" fmla="*/ 14 h 93"/>
                <a:gd name="T18" fmla="*/ 19 w 89"/>
                <a:gd name="T19" fmla="*/ 19 h 93"/>
                <a:gd name="T20" fmla="*/ 19 w 89"/>
                <a:gd name="T21" fmla="*/ 22 h 93"/>
                <a:gd name="T22" fmla="*/ 18 w 89"/>
                <a:gd name="T23" fmla="*/ 24 h 93"/>
                <a:gd name="T24" fmla="*/ 13 w 89"/>
                <a:gd name="T25" fmla="*/ 26 h 93"/>
                <a:gd name="T26" fmla="*/ 8 w 89"/>
                <a:gd name="T27" fmla="*/ 26 h 93"/>
                <a:gd name="T28" fmla="*/ 6 w 89"/>
                <a:gd name="T29" fmla="*/ 27 h 93"/>
                <a:gd name="T30" fmla="*/ 4 w 89"/>
                <a:gd name="T31" fmla="*/ 34 h 93"/>
                <a:gd name="T32" fmla="*/ 3 w 89"/>
                <a:gd name="T33" fmla="*/ 38 h 93"/>
                <a:gd name="T34" fmla="*/ 2 w 89"/>
                <a:gd name="T35" fmla="*/ 42 h 93"/>
                <a:gd name="T36" fmla="*/ 1 w 89"/>
                <a:gd name="T37" fmla="*/ 43 h 93"/>
                <a:gd name="T38" fmla="*/ 0 w 89"/>
                <a:gd name="T39" fmla="*/ 43 h 93"/>
                <a:gd name="T40" fmla="*/ 9 w 89"/>
                <a:gd name="T41" fmla="*/ 58 h 93"/>
                <a:gd name="T42" fmla="*/ 12 w 89"/>
                <a:gd name="T43" fmla="*/ 59 h 93"/>
                <a:gd name="T44" fmla="*/ 17 w 89"/>
                <a:gd name="T45" fmla="*/ 57 h 93"/>
                <a:gd name="T46" fmla="*/ 20 w 89"/>
                <a:gd name="T47" fmla="*/ 70 h 93"/>
                <a:gd name="T48" fmla="*/ 21 w 89"/>
                <a:gd name="T49" fmla="*/ 73 h 93"/>
                <a:gd name="T50" fmla="*/ 23 w 89"/>
                <a:gd name="T51" fmla="*/ 76 h 93"/>
                <a:gd name="T52" fmla="*/ 29 w 89"/>
                <a:gd name="T53" fmla="*/ 86 h 93"/>
                <a:gd name="T54" fmla="*/ 30 w 89"/>
                <a:gd name="T55" fmla="*/ 87 h 93"/>
                <a:gd name="T56" fmla="*/ 30 w 89"/>
                <a:gd name="T57" fmla="*/ 88 h 93"/>
                <a:gd name="T58" fmla="*/ 34 w 89"/>
                <a:gd name="T59" fmla="*/ 91 h 93"/>
                <a:gd name="T60" fmla="*/ 41 w 89"/>
                <a:gd name="T61" fmla="*/ 92 h 93"/>
                <a:gd name="T62" fmla="*/ 45 w 89"/>
                <a:gd name="T63" fmla="*/ 93 h 93"/>
                <a:gd name="T64" fmla="*/ 44 w 89"/>
                <a:gd name="T65" fmla="*/ 91 h 93"/>
                <a:gd name="T66" fmla="*/ 44 w 89"/>
                <a:gd name="T67" fmla="*/ 79 h 93"/>
                <a:gd name="T68" fmla="*/ 49 w 89"/>
                <a:gd name="T69" fmla="*/ 79 h 93"/>
                <a:gd name="T70" fmla="*/ 58 w 89"/>
                <a:gd name="T71" fmla="*/ 80 h 93"/>
                <a:gd name="T72" fmla="*/ 62 w 89"/>
                <a:gd name="T73" fmla="*/ 78 h 93"/>
                <a:gd name="T74" fmla="*/ 67 w 89"/>
                <a:gd name="T75" fmla="*/ 76 h 93"/>
                <a:gd name="T76" fmla="*/ 72 w 89"/>
                <a:gd name="T77" fmla="*/ 78 h 93"/>
                <a:gd name="T78" fmla="*/ 75 w 89"/>
                <a:gd name="T79" fmla="*/ 79 h 93"/>
                <a:gd name="T80" fmla="*/ 78 w 89"/>
                <a:gd name="T81" fmla="*/ 81 h 93"/>
                <a:gd name="T82" fmla="*/ 82 w 89"/>
                <a:gd name="T83" fmla="*/ 77 h 93"/>
                <a:gd name="T84" fmla="*/ 85 w 89"/>
                <a:gd name="T85" fmla="*/ 73 h 93"/>
                <a:gd name="T86" fmla="*/ 86 w 89"/>
                <a:gd name="T87" fmla="*/ 68 h 93"/>
                <a:gd name="T88" fmla="*/ 88 w 89"/>
                <a:gd name="T89" fmla="*/ 67 h 93"/>
                <a:gd name="T90" fmla="*/ 87 w 89"/>
                <a:gd name="T91" fmla="*/ 66 h 93"/>
                <a:gd name="T92" fmla="*/ 89 w 89"/>
                <a:gd name="T93" fmla="*/ 57 h 93"/>
                <a:gd name="T94" fmla="*/ 89 w 89"/>
                <a:gd name="T95" fmla="*/ 56 h 93"/>
                <a:gd name="T96" fmla="*/ 88 w 89"/>
                <a:gd name="T97" fmla="*/ 55 h 93"/>
                <a:gd name="T98" fmla="*/ 86 w 89"/>
                <a:gd name="T99" fmla="*/ 51 h 93"/>
                <a:gd name="T100" fmla="*/ 78 w 89"/>
                <a:gd name="T101" fmla="*/ 30 h 93"/>
                <a:gd name="T102" fmla="*/ 82 w 89"/>
                <a:gd name="T103" fmla="*/ 17 h 93"/>
                <a:gd name="T104" fmla="*/ 87 w 89"/>
                <a:gd name="T105" fmla="*/ 9 h 93"/>
                <a:gd name="T106" fmla="*/ 89 w 89"/>
                <a:gd name="T107" fmla="*/ 3 h 93"/>
                <a:gd name="T108" fmla="*/ 82 w 89"/>
                <a:gd name="T109" fmla="*/ 2 h 93"/>
                <a:gd name="T110" fmla="*/ 67 w 89"/>
                <a:gd name="T11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93">
                  <a:moveTo>
                    <a:pt x="67" y="0"/>
                  </a:moveTo>
                  <a:cubicBezTo>
                    <a:pt x="66" y="0"/>
                    <a:pt x="65" y="0"/>
                    <a:pt x="65" y="1"/>
                  </a:cubicBezTo>
                  <a:cubicBezTo>
                    <a:pt x="66" y="4"/>
                    <a:pt x="66" y="4"/>
                    <a:pt x="66" y="4"/>
                  </a:cubicBezTo>
                  <a:cubicBezTo>
                    <a:pt x="62" y="1"/>
                    <a:pt x="57" y="1"/>
                    <a:pt x="52" y="1"/>
                  </a:cubicBezTo>
                  <a:cubicBezTo>
                    <a:pt x="51" y="1"/>
                    <a:pt x="51" y="1"/>
                    <a:pt x="50" y="1"/>
                  </a:cubicBezTo>
                  <a:cubicBezTo>
                    <a:pt x="49" y="1"/>
                    <a:pt x="49" y="1"/>
                    <a:pt x="48" y="2"/>
                  </a:cubicBezTo>
                  <a:cubicBezTo>
                    <a:pt x="47" y="3"/>
                    <a:pt x="48" y="5"/>
                    <a:pt x="48" y="7"/>
                  </a:cubicBezTo>
                  <a:cubicBezTo>
                    <a:pt x="42" y="5"/>
                    <a:pt x="35" y="1"/>
                    <a:pt x="29" y="1"/>
                  </a:cubicBezTo>
                  <a:cubicBezTo>
                    <a:pt x="28" y="1"/>
                    <a:pt x="25" y="1"/>
                    <a:pt x="23" y="1"/>
                  </a:cubicBezTo>
                  <a:cubicBezTo>
                    <a:pt x="22" y="1"/>
                    <a:pt x="21" y="1"/>
                    <a:pt x="21" y="1"/>
                  </a:cubicBezTo>
                  <a:cubicBezTo>
                    <a:pt x="21" y="2"/>
                    <a:pt x="21" y="2"/>
                    <a:pt x="21" y="2"/>
                  </a:cubicBezTo>
                  <a:cubicBezTo>
                    <a:pt x="23" y="2"/>
                    <a:pt x="23" y="2"/>
                    <a:pt x="23" y="2"/>
                  </a:cubicBezTo>
                  <a:cubicBezTo>
                    <a:pt x="22" y="3"/>
                    <a:pt x="22" y="3"/>
                    <a:pt x="22" y="3"/>
                  </a:cubicBezTo>
                  <a:cubicBezTo>
                    <a:pt x="22" y="4"/>
                    <a:pt x="22" y="5"/>
                    <a:pt x="21" y="6"/>
                  </a:cubicBezTo>
                  <a:cubicBezTo>
                    <a:pt x="21" y="6"/>
                    <a:pt x="21" y="6"/>
                    <a:pt x="21" y="6"/>
                  </a:cubicBezTo>
                  <a:cubicBezTo>
                    <a:pt x="21" y="7"/>
                    <a:pt x="21" y="7"/>
                    <a:pt x="21" y="8"/>
                  </a:cubicBezTo>
                  <a:cubicBezTo>
                    <a:pt x="20" y="9"/>
                    <a:pt x="19" y="11"/>
                    <a:pt x="20" y="13"/>
                  </a:cubicBezTo>
                  <a:cubicBezTo>
                    <a:pt x="20" y="14"/>
                    <a:pt x="20" y="14"/>
                    <a:pt x="20" y="14"/>
                  </a:cubicBezTo>
                  <a:cubicBezTo>
                    <a:pt x="20" y="14"/>
                    <a:pt x="20" y="14"/>
                    <a:pt x="20" y="14"/>
                  </a:cubicBezTo>
                  <a:cubicBezTo>
                    <a:pt x="20" y="16"/>
                    <a:pt x="19" y="18"/>
                    <a:pt x="19" y="19"/>
                  </a:cubicBezTo>
                  <a:cubicBezTo>
                    <a:pt x="19" y="20"/>
                    <a:pt x="19" y="20"/>
                    <a:pt x="19" y="20"/>
                  </a:cubicBezTo>
                  <a:cubicBezTo>
                    <a:pt x="19" y="20"/>
                    <a:pt x="19" y="21"/>
                    <a:pt x="19" y="22"/>
                  </a:cubicBezTo>
                  <a:cubicBezTo>
                    <a:pt x="18" y="23"/>
                    <a:pt x="18" y="23"/>
                    <a:pt x="18" y="23"/>
                  </a:cubicBezTo>
                  <a:cubicBezTo>
                    <a:pt x="18" y="24"/>
                    <a:pt x="18" y="24"/>
                    <a:pt x="18" y="24"/>
                  </a:cubicBezTo>
                  <a:cubicBezTo>
                    <a:pt x="17" y="25"/>
                    <a:pt x="16" y="26"/>
                    <a:pt x="14" y="26"/>
                  </a:cubicBezTo>
                  <a:cubicBezTo>
                    <a:pt x="13" y="26"/>
                    <a:pt x="13" y="26"/>
                    <a:pt x="13" y="26"/>
                  </a:cubicBezTo>
                  <a:cubicBezTo>
                    <a:pt x="11" y="26"/>
                    <a:pt x="11" y="26"/>
                    <a:pt x="10" y="26"/>
                  </a:cubicBezTo>
                  <a:cubicBezTo>
                    <a:pt x="9" y="26"/>
                    <a:pt x="9" y="26"/>
                    <a:pt x="8" y="26"/>
                  </a:cubicBezTo>
                  <a:cubicBezTo>
                    <a:pt x="7" y="26"/>
                    <a:pt x="7" y="26"/>
                    <a:pt x="7" y="26"/>
                  </a:cubicBezTo>
                  <a:cubicBezTo>
                    <a:pt x="7" y="26"/>
                    <a:pt x="6" y="26"/>
                    <a:pt x="6" y="27"/>
                  </a:cubicBezTo>
                  <a:cubicBezTo>
                    <a:pt x="6" y="28"/>
                    <a:pt x="6" y="28"/>
                    <a:pt x="6" y="28"/>
                  </a:cubicBezTo>
                  <a:cubicBezTo>
                    <a:pt x="5" y="31"/>
                    <a:pt x="5" y="33"/>
                    <a:pt x="4" y="34"/>
                  </a:cubicBezTo>
                  <a:cubicBezTo>
                    <a:pt x="4" y="35"/>
                    <a:pt x="4" y="36"/>
                    <a:pt x="3" y="37"/>
                  </a:cubicBezTo>
                  <a:cubicBezTo>
                    <a:pt x="3" y="37"/>
                    <a:pt x="3" y="38"/>
                    <a:pt x="3" y="38"/>
                  </a:cubicBezTo>
                  <a:cubicBezTo>
                    <a:pt x="3" y="39"/>
                    <a:pt x="3" y="40"/>
                    <a:pt x="3" y="40"/>
                  </a:cubicBezTo>
                  <a:cubicBezTo>
                    <a:pt x="3" y="41"/>
                    <a:pt x="2" y="41"/>
                    <a:pt x="2" y="42"/>
                  </a:cubicBezTo>
                  <a:cubicBezTo>
                    <a:pt x="2" y="42"/>
                    <a:pt x="2" y="42"/>
                    <a:pt x="2" y="42"/>
                  </a:cubicBezTo>
                  <a:cubicBezTo>
                    <a:pt x="1" y="43"/>
                    <a:pt x="1" y="43"/>
                    <a:pt x="1" y="43"/>
                  </a:cubicBezTo>
                  <a:cubicBezTo>
                    <a:pt x="1" y="43"/>
                    <a:pt x="1" y="43"/>
                    <a:pt x="1" y="43"/>
                  </a:cubicBezTo>
                  <a:cubicBezTo>
                    <a:pt x="0" y="43"/>
                    <a:pt x="0" y="43"/>
                    <a:pt x="0" y="43"/>
                  </a:cubicBezTo>
                  <a:cubicBezTo>
                    <a:pt x="0" y="44"/>
                    <a:pt x="0" y="45"/>
                    <a:pt x="5" y="52"/>
                  </a:cubicBezTo>
                  <a:cubicBezTo>
                    <a:pt x="7" y="55"/>
                    <a:pt x="8" y="57"/>
                    <a:pt x="9" y="58"/>
                  </a:cubicBezTo>
                  <a:cubicBezTo>
                    <a:pt x="10" y="59"/>
                    <a:pt x="10" y="59"/>
                    <a:pt x="11" y="59"/>
                  </a:cubicBezTo>
                  <a:cubicBezTo>
                    <a:pt x="12" y="59"/>
                    <a:pt x="12" y="59"/>
                    <a:pt x="12" y="59"/>
                  </a:cubicBezTo>
                  <a:cubicBezTo>
                    <a:pt x="12" y="59"/>
                    <a:pt x="13" y="59"/>
                    <a:pt x="13" y="58"/>
                  </a:cubicBezTo>
                  <a:cubicBezTo>
                    <a:pt x="17" y="57"/>
                    <a:pt x="17" y="57"/>
                    <a:pt x="17" y="57"/>
                  </a:cubicBezTo>
                  <a:cubicBezTo>
                    <a:pt x="18" y="60"/>
                    <a:pt x="18" y="60"/>
                    <a:pt x="18" y="60"/>
                  </a:cubicBezTo>
                  <a:cubicBezTo>
                    <a:pt x="19" y="63"/>
                    <a:pt x="20" y="66"/>
                    <a:pt x="20" y="70"/>
                  </a:cubicBezTo>
                  <a:cubicBezTo>
                    <a:pt x="20" y="70"/>
                    <a:pt x="20" y="71"/>
                    <a:pt x="20" y="71"/>
                  </a:cubicBezTo>
                  <a:cubicBezTo>
                    <a:pt x="21" y="72"/>
                    <a:pt x="21" y="72"/>
                    <a:pt x="21" y="73"/>
                  </a:cubicBezTo>
                  <a:cubicBezTo>
                    <a:pt x="21" y="74"/>
                    <a:pt x="21" y="74"/>
                    <a:pt x="21" y="74"/>
                  </a:cubicBezTo>
                  <a:cubicBezTo>
                    <a:pt x="23" y="76"/>
                    <a:pt x="23" y="76"/>
                    <a:pt x="23" y="76"/>
                  </a:cubicBezTo>
                  <a:cubicBezTo>
                    <a:pt x="25" y="79"/>
                    <a:pt x="26" y="82"/>
                    <a:pt x="28" y="85"/>
                  </a:cubicBezTo>
                  <a:cubicBezTo>
                    <a:pt x="29" y="86"/>
                    <a:pt x="29" y="86"/>
                    <a:pt x="29" y="86"/>
                  </a:cubicBezTo>
                  <a:cubicBezTo>
                    <a:pt x="29" y="87"/>
                    <a:pt x="29" y="87"/>
                    <a:pt x="29" y="87"/>
                  </a:cubicBezTo>
                  <a:cubicBezTo>
                    <a:pt x="30" y="87"/>
                    <a:pt x="30" y="87"/>
                    <a:pt x="30" y="87"/>
                  </a:cubicBezTo>
                  <a:cubicBezTo>
                    <a:pt x="32" y="85"/>
                    <a:pt x="32" y="85"/>
                    <a:pt x="32" y="85"/>
                  </a:cubicBezTo>
                  <a:cubicBezTo>
                    <a:pt x="30" y="88"/>
                    <a:pt x="30" y="88"/>
                    <a:pt x="30" y="88"/>
                  </a:cubicBezTo>
                  <a:cubicBezTo>
                    <a:pt x="31" y="89"/>
                    <a:pt x="31" y="89"/>
                    <a:pt x="31" y="89"/>
                  </a:cubicBezTo>
                  <a:cubicBezTo>
                    <a:pt x="32" y="90"/>
                    <a:pt x="33" y="90"/>
                    <a:pt x="34" y="91"/>
                  </a:cubicBezTo>
                  <a:cubicBezTo>
                    <a:pt x="35" y="91"/>
                    <a:pt x="35" y="91"/>
                    <a:pt x="35" y="91"/>
                  </a:cubicBezTo>
                  <a:cubicBezTo>
                    <a:pt x="37" y="92"/>
                    <a:pt x="39" y="92"/>
                    <a:pt x="41" y="92"/>
                  </a:cubicBezTo>
                  <a:cubicBezTo>
                    <a:pt x="44" y="93"/>
                    <a:pt x="44" y="93"/>
                    <a:pt x="44" y="93"/>
                  </a:cubicBezTo>
                  <a:cubicBezTo>
                    <a:pt x="45" y="93"/>
                    <a:pt x="45" y="93"/>
                    <a:pt x="45" y="93"/>
                  </a:cubicBezTo>
                  <a:cubicBezTo>
                    <a:pt x="45" y="93"/>
                    <a:pt x="45" y="93"/>
                    <a:pt x="45" y="93"/>
                  </a:cubicBezTo>
                  <a:cubicBezTo>
                    <a:pt x="44" y="92"/>
                    <a:pt x="44" y="92"/>
                    <a:pt x="44" y="91"/>
                  </a:cubicBezTo>
                  <a:cubicBezTo>
                    <a:pt x="43" y="90"/>
                    <a:pt x="41" y="89"/>
                    <a:pt x="41" y="87"/>
                  </a:cubicBezTo>
                  <a:cubicBezTo>
                    <a:pt x="41" y="85"/>
                    <a:pt x="42" y="81"/>
                    <a:pt x="44" y="79"/>
                  </a:cubicBezTo>
                  <a:cubicBezTo>
                    <a:pt x="45" y="78"/>
                    <a:pt x="46" y="78"/>
                    <a:pt x="47" y="78"/>
                  </a:cubicBezTo>
                  <a:cubicBezTo>
                    <a:pt x="48" y="78"/>
                    <a:pt x="48" y="78"/>
                    <a:pt x="49" y="79"/>
                  </a:cubicBezTo>
                  <a:cubicBezTo>
                    <a:pt x="50" y="79"/>
                    <a:pt x="53" y="80"/>
                    <a:pt x="55" y="80"/>
                  </a:cubicBezTo>
                  <a:cubicBezTo>
                    <a:pt x="56" y="80"/>
                    <a:pt x="57" y="80"/>
                    <a:pt x="58" y="80"/>
                  </a:cubicBezTo>
                  <a:cubicBezTo>
                    <a:pt x="58" y="80"/>
                    <a:pt x="58" y="80"/>
                    <a:pt x="58" y="80"/>
                  </a:cubicBezTo>
                  <a:cubicBezTo>
                    <a:pt x="60" y="80"/>
                    <a:pt x="61" y="79"/>
                    <a:pt x="62" y="78"/>
                  </a:cubicBezTo>
                  <a:cubicBezTo>
                    <a:pt x="64" y="78"/>
                    <a:pt x="65" y="77"/>
                    <a:pt x="67" y="76"/>
                  </a:cubicBezTo>
                  <a:cubicBezTo>
                    <a:pt x="67" y="76"/>
                    <a:pt x="67" y="76"/>
                    <a:pt x="67" y="76"/>
                  </a:cubicBezTo>
                  <a:cubicBezTo>
                    <a:pt x="69" y="76"/>
                    <a:pt x="69" y="76"/>
                    <a:pt x="69" y="76"/>
                  </a:cubicBezTo>
                  <a:cubicBezTo>
                    <a:pt x="70" y="76"/>
                    <a:pt x="71" y="77"/>
                    <a:pt x="72" y="78"/>
                  </a:cubicBezTo>
                  <a:cubicBezTo>
                    <a:pt x="73" y="78"/>
                    <a:pt x="74" y="79"/>
                    <a:pt x="75" y="79"/>
                  </a:cubicBezTo>
                  <a:cubicBezTo>
                    <a:pt x="75" y="79"/>
                    <a:pt x="75" y="79"/>
                    <a:pt x="75" y="79"/>
                  </a:cubicBezTo>
                  <a:cubicBezTo>
                    <a:pt x="76" y="80"/>
                    <a:pt x="76" y="80"/>
                    <a:pt x="76" y="80"/>
                  </a:cubicBezTo>
                  <a:cubicBezTo>
                    <a:pt x="78" y="81"/>
                    <a:pt x="78" y="81"/>
                    <a:pt x="78" y="81"/>
                  </a:cubicBezTo>
                  <a:cubicBezTo>
                    <a:pt x="79" y="80"/>
                    <a:pt x="79" y="80"/>
                    <a:pt x="79" y="80"/>
                  </a:cubicBezTo>
                  <a:cubicBezTo>
                    <a:pt x="80" y="79"/>
                    <a:pt x="81" y="78"/>
                    <a:pt x="82" y="77"/>
                  </a:cubicBezTo>
                  <a:cubicBezTo>
                    <a:pt x="83" y="76"/>
                    <a:pt x="83" y="76"/>
                    <a:pt x="84" y="75"/>
                  </a:cubicBezTo>
                  <a:cubicBezTo>
                    <a:pt x="84" y="75"/>
                    <a:pt x="85" y="74"/>
                    <a:pt x="85" y="73"/>
                  </a:cubicBezTo>
                  <a:cubicBezTo>
                    <a:pt x="85" y="73"/>
                    <a:pt x="85" y="72"/>
                    <a:pt x="85" y="72"/>
                  </a:cubicBezTo>
                  <a:cubicBezTo>
                    <a:pt x="86" y="71"/>
                    <a:pt x="86" y="69"/>
                    <a:pt x="86" y="68"/>
                  </a:cubicBezTo>
                  <a:cubicBezTo>
                    <a:pt x="86" y="67"/>
                    <a:pt x="86" y="67"/>
                    <a:pt x="86" y="67"/>
                  </a:cubicBezTo>
                  <a:cubicBezTo>
                    <a:pt x="88" y="67"/>
                    <a:pt x="88" y="67"/>
                    <a:pt x="88" y="67"/>
                  </a:cubicBezTo>
                  <a:cubicBezTo>
                    <a:pt x="88" y="67"/>
                    <a:pt x="88" y="67"/>
                    <a:pt x="88" y="67"/>
                  </a:cubicBezTo>
                  <a:cubicBezTo>
                    <a:pt x="87" y="66"/>
                    <a:pt x="87" y="66"/>
                    <a:pt x="87" y="66"/>
                  </a:cubicBezTo>
                  <a:cubicBezTo>
                    <a:pt x="87" y="63"/>
                    <a:pt x="87" y="60"/>
                    <a:pt x="89" y="58"/>
                  </a:cubicBezTo>
                  <a:cubicBezTo>
                    <a:pt x="89" y="57"/>
                    <a:pt x="89" y="57"/>
                    <a:pt x="89" y="57"/>
                  </a:cubicBezTo>
                  <a:cubicBezTo>
                    <a:pt x="89" y="56"/>
                    <a:pt x="89" y="56"/>
                    <a:pt x="89" y="56"/>
                  </a:cubicBezTo>
                  <a:cubicBezTo>
                    <a:pt x="89" y="56"/>
                    <a:pt x="89" y="56"/>
                    <a:pt x="89" y="56"/>
                  </a:cubicBezTo>
                  <a:cubicBezTo>
                    <a:pt x="89" y="56"/>
                    <a:pt x="89" y="56"/>
                    <a:pt x="89" y="56"/>
                  </a:cubicBezTo>
                  <a:cubicBezTo>
                    <a:pt x="88" y="55"/>
                    <a:pt x="88" y="55"/>
                    <a:pt x="88" y="55"/>
                  </a:cubicBezTo>
                  <a:cubicBezTo>
                    <a:pt x="88" y="55"/>
                    <a:pt x="87" y="54"/>
                    <a:pt x="87" y="53"/>
                  </a:cubicBezTo>
                  <a:cubicBezTo>
                    <a:pt x="86" y="51"/>
                    <a:pt x="86" y="51"/>
                    <a:pt x="86" y="51"/>
                  </a:cubicBezTo>
                  <a:cubicBezTo>
                    <a:pt x="84" y="48"/>
                    <a:pt x="83" y="46"/>
                    <a:pt x="82" y="43"/>
                  </a:cubicBezTo>
                  <a:cubicBezTo>
                    <a:pt x="80" y="38"/>
                    <a:pt x="79" y="34"/>
                    <a:pt x="78" y="30"/>
                  </a:cubicBezTo>
                  <a:cubicBezTo>
                    <a:pt x="78" y="26"/>
                    <a:pt x="78" y="23"/>
                    <a:pt x="80" y="20"/>
                  </a:cubicBezTo>
                  <a:cubicBezTo>
                    <a:pt x="81" y="19"/>
                    <a:pt x="82" y="18"/>
                    <a:pt x="82" y="17"/>
                  </a:cubicBezTo>
                  <a:cubicBezTo>
                    <a:pt x="83" y="16"/>
                    <a:pt x="83" y="15"/>
                    <a:pt x="84" y="15"/>
                  </a:cubicBezTo>
                  <a:cubicBezTo>
                    <a:pt x="85" y="13"/>
                    <a:pt x="86" y="12"/>
                    <a:pt x="87" y="9"/>
                  </a:cubicBezTo>
                  <a:cubicBezTo>
                    <a:pt x="88" y="8"/>
                    <a:pt x="88" y="8"/>
                    <a:pt x="88" y="8"/>
                  </a:cubicBezTo>
                  <a:cubicBezTo>
                    <a:pt x="89" y="3"/>
                    <a:pt x="89" y="3"/>
                    <a:pt x="89" y="3"/>
                  </a:cubicBezTo>
                  <a:cubicBezTo>
                    <a:pt x="88" y="3"/>
                    <a:pt x="88" y="3"/>
                    <a:pt x="88" y="3"/>
                  </a:cubicBezTo>
                  <a:cubicBezTo>
                    <a:pt x="86" y="2"/>
                    <a:pt x="84" y="2"/>
                    <a:pt x="82" y="2"/>
                  </a:cubicBezTo>
                  <a:cubicBezTo>
                    <a:pt x="79" y="1"/>
                    <a:pt x="76" y="1"/>
                    <a:pt x="73" y="1"/>
                  </a:cubicBezTo>
                  <a:cubicBezTo>
                    <a:pt x="72" y="1"/>
                    <a:pt x="69"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4" name="Freeform 255">
              <a:extLst>
                <a:ext uri="{FF2B5EF4-FFF2-40B4-BE49-F238E27FC236}">
                  <a16:creationId xmlns:a16="http://schemas.microsoft.com/office/drawing/2014/main" id="{E56B9B08-1188-47B2-92DA-206C463648A2}"/>
                </a:ext>
              </a:extLst>
            </p:cNvPr>
            <p:cNvSpPr>
              <a:spLocks/>
            </p:cNvSpPr>
            <p:nvPr/>
          </p:nvSpPr>
          <p:spPr bwMode="auto">
            <a:xfrm>
              <a:off x="9600104" y="1554913"/>
              <a:ext cx="210428" cy="273981"/>
            </a:xfrm>
            <a:custGeom>
              <a:avLst/>
              <a:gdLst>
                <a:gd name="T0" fmla="*/ 10 w 63"/>
                <a:gd name="T1" fmla="*/ 4 h 82"/>
                <a:gd name="T2" fmla="*/ 5 w 63"/>
                <a:gd name="T3" fmla="*/ 14 h 82"/>
                <a:gd name="T4" fmla="*/ 2 w 63"/>
                <a:gd name="T5" fmla="*/ 18 h 82"/>
                <a:gd name="T6" fmla="*/ 4 w 63"/>
                <a:gd name="T7" fmla="*/ 36 h 82"/>
                <a:gd name="T8" fmla="*/ 9 w 63"/>
                <a:gd name="T9" fmla="*/ 46 h 82"/>
                <a:gd name="T10" fmla="*/ 10 w 63"/>
                <a:gd name="T11" fmla="*/ 47 h 82"/>
                <a:gd name="T12" fmla="*/ 12 w 63"/>
                <a:gd name="T13" fmla="*/ 51 h 82"/>
                <a:gd name="T14" fmla="*/ 9 w 63"/>
                <a:gd name="T15" fmla="*/ 62 h 82"/>
                <a:gd name="T16" fmla="*/ 9 w 63"/>
                <a:gd name="T17" fmla="*/ 64 h 82"/>
                <a:gd name="T18" fmla="*/ 7 w 63"/>
                <a:gd name="T19" fmla="*/ 70 h 82"/>
                <a:gd name="T20" fmla="*/ 3 w 63"/>
                <a:gd name="T21" fmla="*/ 76 h 82"/>
                <a:gd name="T22" fmla="*/ 0 w 63"/>
                <a:gd name="T23" fmla="*/ 79 h 82"/>
                <a:gd name="T24" fmla="*/ 5 w 63"/>
                <a:gd name="T25" fmla="*/ 82 h 82"/>
                <a:gd name="T26" fmla="*/ 6 w 63"/>
                <a:gd name="T27" fmla="*/ 82 h 82"/>
                <a:gd name="T28" fmla="*/ 19 w 63"/>
                <a:gd name="T29" fmla="*/ 78 h 82"/>
                <a:gd name="T30" fmla="*/ 24 w 63"/>
                <a:gd name="T31" fmla="*/ 78 h 82"/>
                <a:gd name="T32" fmla="*/ 25 w 63"/>
                <a:gd name="T33" fmla="*/ 78 h 82"/>
                <a:gd name="T34" fmla="*/ 32 w 63"/>
                <a:gd name="T35" fmla="*/ 81 h 82"/>
                <a:gd name="T36" fmla="*/ 33 w 63"/>
                <a:gd name="T37" fmla="*/ 80 h 82"/>
                <a:gd name="T38" fmla="*/ 35 w 63"/>
                <a:gd name="T39" fmla="*/ 79 h 82"/>
                <a:gd name="T40" fmla="*/ 39 w 63"/>
                <a:gd name="T41" fmla="*/ 75 h 82"/>
                <a:gd name="T42" fmla="*/ 40 w 63"/>
                <a:gd name="T43" fmla="*/ 72 h 82"/>
                <a:gd name="T44" fmla="*/ 37 w 63"/>
                <a:gd name="T45" fmla="*/ 68 h 82"/>
                <a:gd name="T46" fmla="*/ 42 w 63"/>
                <a:gd name="T47" fmla="*/ 68 h 82"/>
                <a:gd name="T48" fmla="*/ 44 w 63"/>
                <a:gd name="T49" fmla="*/ 63 h 82"/>
                <a:gd name="T50" fmla="*/ 47 w 63"/>
                <a:gd name="T51" fmla="*/ 58 h 82"/>
                <a:gd name="T52" fmla="*/ 60 w 63"/>
                <a:gd name="T53" fmla="*/ 40 h 82"/>
                <a:gd name="T54" fmla="*/ 63 w 63"/>
                <a:gd name="T55" fmla="*/ 36 h 82"/>
                <a:gd name="T56" fmla="*/ 57 w 63"/>
                <a:gd name="T57" fmla="*/ 27 h 82"/>
                <a:gd name="T58" fmla="*/ 57 w 63"/>
                <a:gd name="T59" fmla="*/ 31 h 82"/>
                <a:gd name="T60" fmla="*/ 55 w 63"/>
                <a:gd name="T61" fmla="*/ 33 h 82"/>
                <a:gd name="T62" fmla="*/ 55 w 63"/>
                <a:gd name="T63" fmla="*/ 34 h 82"/>
                <a:gd name="T64" fmla="*/ 57 w 63"/>
                <a:gd name="T65" fmla="*/ 31 h 82"/>
                <a:gd name="T66" fmla="*/ 55 w 63"/>
                <a:gd name="T67" fmla="*/ 27 h 82"/>
                <a:gd name="T68" fmla="*/ 47 w 63"/>
                <a:gd name="T69" fmla="*/ 24 h 82"/>
                <a:gd name="T70" fmla="*/ 47 w 63"/>
                <a:gd name="T71" fmla="*/ 21 h 82"/>
                <a:gd name="T72" fmla="*/ 11 w 63"/>
                <a:gd name="T7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 h="82">
                  <a:moveTo>
                    <a:pt x="11" y="0"/>
                  </a:moveTo>
                  <a:cubicBezTo>
                    <a:pt x="10" y="4"/>
                    <a:pt x="10" y="4"/>
                    <a:pt x="10" y="4"/>
                  </a:cubicBezTo>
                  <a:cubicBezTo>
                    <a:pt x="9" y="6"/>
                    <a:pt x="9" y="6"/>
                    <a:pt x="9" y="6"/>
                  </a:cubicBezTo>
                  <a:cubicBezTo>
                    <a:pt x="8" y="9"/>
                    <a:pt x="7" y="11"/>
                    <a:pt x="5" y="14"/>
                  </a:cubicBezTo>
                  <a:cubicBezTo>
                    <a:pt x="4" y="15"/>
                    <a:pt x="4" y="15"/>
                    <a:pt x="4" y="15"/>
                  </a:cubicBezTo>
                  <a:cubicBezTo>
                    <a:pt x="3" y="16"/>
                    <a:pt x="3" y="17"/>
                    <a:pt x="2" y="18"/>
                  </a:cubicBezTo>
                  <a:cubicBezTo>
                    <a:pt x="1" y="20"/>
                    <a:pt x="1" y="22"/>
                    <a:pt x="1" y="25"/>
                  </a:cubicBezTo>
                  <a:cubicBezTo>
                    <a:pt x="1" y="28"/>
                    <a:pt x="2" y="31"/>
                    <a:pt x="4" y="36"/>
                  </a:cubicBezTo>
                  <a:cubicBezTo>
                    <a:pt x="5" y="38"/>
                    <a:pt x="6" y="40"/>
                    <a:pt x="7" y="42"/>
                  </a:cubicBezTo>
                  <a:cubicBezTo>
                    <a:pt x="9" y="46"/>
                    <a:pt x="9" y="46"/>
                    <a:pt x="9" y="46"/>
                  </a:cubicBezTo>
                  <a:cubicBezTo>
                    <a:pt x="9" y="46"/>
                    <a:pt x="10" y="47"/>
                    <a:pt x="10" y="47"/>
                  </a:cubicBezTo>
                  <a:cubicBezTo>
                    <a:pt x="10" y="47"/>
                    <a:pt x="10" y="47"/>
                    <a:pt x="10" y="47"/>
                  </a:cubicBezTo>
                  <a:cubicBezTo>
                    <a:pt x="11" y="48"/>
                    <a:pt x="11" y="48"/>
                    <a:pt x="11" y="48"/>
                  </a:cubicBezTo>
                  <a:cubicBezTo>
                    <a:pt x="11" y="49"/>
                    <a:pt x="12" y="50"/>
                    <a:pt x="12" y="51"/>
                  </a:cubicBezTo>
                  <a:cubicBezTo>
                    <a:pt x="12" y="52"/>
                    <a:pt x="12" y="54"/>
                    <a:pt x="11" y="56"/>
                  </a:cubicBezTo>
                  <a:cubicBezTo>
                    <a:pt x="10" y="58"/>
                    <a:pt x="9" y="59"/>
                    <a:pt x="9" y="62"/>
                  </a:cubicBezTo>
                  <a:cubicBezTo>
                    <a:pt x="9" y="62"/>
                    <a:pt x="9" y="63"/>
                    <a:pt x="9" y="64"/>
                  </a:cubicBezTo>
                  <a:cubicBezTo>
                    <a:pt x="9" y="64"/>
                    <a:pt x="9" y="64"/>
                    <a:pt x="9" y="64"/>
                  </a:cubicBezTo>
                  <a:cubicBezTo>
                    <a:pt x="8" y="66"/>
                    <a:pt x="8" y="68"/>
                    <a:pt x="7" y="70"/>
                  </a:cubicBezTo>
                  <a:cubicBezTo>
                    <a:pt x="7" y="70"/>
                    <a:pt x="7" y="70"/>
                    <a:pt x="7" y="70"/>
                  </a:cubicBezTo>
                  <a:cubicBezTo>
                    <a:pt x="7" y="72"/>
                    <a:pt x="6" y="73"/>
                    <a:pt x="5" y="73"/>
                  </a:cubicBezTo>
                  <a:cubicBezTo>
                    <a:pt x="5" y="74"/>
                    <a:pt x="4" y="75"/>
                    <a:pt x="3" y="76"/>
                  </a:cubicBezTo>
                  <a:cubicBezTo>
                    <a:pt x="2" y="77"/>
                    <a:pt x="1" y="78"/>
                    <a:pt x="0" y="79"/>
                  </a:cubicBezTo>
                  <a:cubicBezTo>
                    <a:pt x="0" y="79"/>
                    <a:pt x="0" y="79"/>
                    <a:pt x="0" y="79"/>
                  </a:cubicBezTo>
                  <a:cubicBezTo>
                    <a:pt x="2" y="80"/>
                    <a:pt x="3" y="81"/>
                    <a:pt x="4" y="81"/>
                  </a:cubicBezTo>
                  <a:cubicBezTo>
                    <a:pt x="5" y="82"/>
                    <a:pt x="5" y="82"/>
                    <a:pt x="5" y="82"/>
                  </a:cubicBezTo>
                  <a:cubicBezTo>
                    <a:pt x="6" y="82"/>
                    <a:pt x="6" y="82"/>
                    <a:pt x="6" y="82"/>
                  </a:cubicBezTo>
                  <a:cubicBezTo>
                    <a:pt x="6" y="82"/>
                    <a:pt x="6" y="82"/>
                    <a:pt x="6" y="82"/>
                  </a:cubicBezTo>
                  <a:cubicBezTo>
                    <a:pt x="8" y="81"/>
                    <a:pt x="8" y="81"/>
                    <a:pt x="8" y="81"/>
                  </a:cubicBezTo>
                  <a:cubicBezTo>
                    <a:pt x="11" y="79"/>
                    <a:pt x="15" y="79"/>
                    <a:pt x="19" y="78"/>
                  </a:cubicBezTo>
                  <a:cubicBezTo>
                    <a:pt x="20" y="78"/>
                    <a:pt x="21" y="78"/>
                    <a:pt x="23" y="78"/>
                  </a:cubicBezTo>
                  <a:cubicBezTo>
                    <a:pt x="23" y="78"/>
                    <a:pt x="23" y="78"/>
                    <a:pt x="24" y="78"/>
                  </a:cubicBezTo>
                  <a:cubicBezTo>
                    <a:pt x="25" y="77"/>
                    <a:pt x="25" y="77"/>
                    <a:pt x="25" y="77"/>
                  </a:cubicBezTo>
                  <a:cubicBezTo>
                    <a:pt x="25" y="78"/>
                    <a:pt x="25" y="78"/>
                    <a:pt x="25" y="78"/>
                  </a:cubicBezTo>
                  <a:cubicBezTo>
                    <a:pt x="26" y="78"/>
                    <a:pt x="28" y="78"/>
                    <a:pt x="28" y="81"/>
                  </a:cubicBezTo>
                  <a:cubicBezTo>
                    <a:pt x="32" y="81"/>
                    <a:pt x="32" y="81"/>
                    <a:pt x="32" y="81"/>
                  </a:cubicBezTo>
                  <a:cubicBezTo>
                    <a:pt x="32" y="81"/>
                    <a:pt x="32" y="81"/>
                    <a:pt x="32" y="81"/>
                  </a:cubicBezTo>
                  <a:cubicBezTo>
                    <a:pt x="33" y="81"/>
                    <a:pt x="33" y="81"/>
                    <a:pt x="33" y="80"/>
                  </a:cubicBezTo>
                  <a:cubicBezTo>
                    <a:pt x="34" y="80"/>
                    <a:pt x="34" y="80"/>
                    <a:pt x="35" y="80"/>
                  </a:cubicBezTo>
                  <a:cubicBezTo>
                    <a:pt x="35" y="79"/>
                    <a:pt x="35" y="79"/>
                    <a:pt x="35" y="79"/>
                  </a:cubicBezTo>
                  <a:cubicBezTo>
                    <a:pt x="37" y="78"/>
                    <a:pt x="38" y="77"/>
                    <a:pt x="39" y="76"/>
                  </a:cubicBezTo>
                  <a:cubicBezTo>
                    <a:pt x="39" y="75"/>
                    <a:pt x="39" y="75"/>
                    <a:pt x="39" y="75"/>
                  </a:cubicBezTo>
                  <a:cubicBezTo>
                    <a:pt x="40" y="74"/>
                    <a:pt x="40" y="74"/>
                    <a:pt x="40" y="73"/>
                  </a:cubicBezTo>
                  <a:cubicBezTo>
                    <a:pt x="40" y="72"/>
                    <a:pt x="40" y="72"/>
                    <a:pt x="40" y="72"/>
                  </a:cubicBezTo>
                  <a:cubicBezTo>
                    <a:pt x="41" y="72"/>
                    <a:pt x="41" y="71"/>
                    <a:pt x="41" y="70"/>
                  </a:cubicBezTo>
                  <a:cubicBezTo>
                    <a:pt x="37" y="68"/>
                    <a:pt x="37" y="68"/>
                    <a:pt x="37" y="68"/>
                  </a:cubicBezTo>
                  <a:cubicBezTo>
                    <a:pt x="42" y="69"/>
                    <a:pt x="42" y="69"/>
                    <a:pt x="42" y="69"/>
                  </a:cubicBezTo>
                  <a:cubicBezTo>
                    <a:pt x="42" y="68"/>
                    <a:pt x="42" y="68"/>
                    <a:pt x="42" y="68"/>
                  </a:cubicBezTo>
                  <a:cubicBezTo>
                    <a:pt x="43" y="67"/>
                    <a:pt x="43" y="65"/>
                    <a:pt x="44" y="64"/>
                  </a:cubicBezTo>
                  <a:cubicBezTo>
                    <a:pt x="44" y="63"/>
                    <a:pt x="44" y="63"/>
                    <a:pt x="44" y="63"/>
                  </a:cubicBezTo>
                  <a:cubicBezTo>
                    <a:pt x="45" y="62"/>
                    <a:pt x="45" y="61"/>
                    <a:pt x="46" y="59"/>
                  </a:cubicBezTo>
                  <a:cubicBezTo>
                    <a:pt x="47" y="58"/>
                    <a:pt x="47" y="58"/>
                    <a:pt x="47" y="58"/>
                  </a:cubicBezTo>
                  <a:cubicBezTo>
                    <a:pt x="49" y="55"/>
                    <a:pt x="51" y="52"/>
                    <a:pt x="53" y="49"/>
                  </a:cubicBezTo>
                  <a:cubicBezTo>
                    <a:pt x="60" y="40"/>
                    <a:pt x="60" y="40"/>
                    <a:pt x="60" y="40"/>
                  </a:cubicBezTo>
                  <a:cubicBezTo>
                    <a:pt x="61" y="36"/>
                    <a:pt x="61" y="36"/>
                    <a:pt x="61" y="36"/>
                  </a:cubicBezTo>
                  <a:cubicBezTo>
                    <a:pt x="63" y="36"/>
                    <a:pt x="63" y="36"/>
                    <a:pt x="63" y="36"/>
                  </a:cubicBezTo>
                  <a:cubicBezTo>
                    <a:pt x="62" y="34"/>
                    <a:pt x="62" y="32"/>
                    <a:pt x="62" y="31"/>
                  </a:cubicBezTo>
                  <a:cubicBezTo>
                    <a:pt x="61" y="30"/>
                    <a:pt x="59" y="27"/>
                    <a:pt x="57" y="27"/>
                  </a:cubicBezTo>
                  <a:cubicBezTo>
                    <a:pt x="57" y="28"/>
                    <a:pt x="57" y="30"/>
                    <a:pt x="57" y="31"/>
                  </a:cubicBezTo>
                  <a:cubicBezTo>
                    <a:pt x="57" y="31"/>
                    <a:pt x="57" y="31"/>
                    <a:pt x="57" y="31"/>
                  </a:cubicBezTo>
                  <a:cubicBezTo>
                    <a:pt x="57" y="31"/>
                    <a:pt x="57" y="31"/>
                    <a:pt x="57" y="31"/>
                  </a:cubicBezTo>
                  <a:cubicBezTo>
                    <a:pt x="57" y="32"/>
                    <a:pt x="56" y="33"/>
                    <a:pt x="55" y="33"/>
                  </a:cubicBezTo>
                  <a:cubicBezTo>
                    <a:pt x="55" y="33"/>
                    <a:pt x="55" y="33"/>
                    <a:pt x="55" y="34"/>
                  </a:cubicBezTo>
                  <a:cubicBezTo>
                    <a:pt x="55" y="34"/>
                    <a:pt x="55" y="34"/>
                    <a:pt x="55" y="34"/>
                  </a:cubicBezTo>
                  <a:cubicBezTo>
                    <a:pt x="55" y="33"/>
                    <a:pt x="55" y="33"/>
                    <a:pt x="55" y="33"/>
                  </a:cubicBezTo>
                  <a:cubicBezTo>
                    <a:pt x="55" y="33"/>
                    <a:pt x="56" y="32"/>
                    <a:pt x="57" y="31"/>
                  </a:cubicBezTo>
                  <a:cubicBezTo>
                    <a:pt x="57" y="31"/>
                    <a:pt x="57" y="31"/>
                    <a:pt x="57" y="31"/>
                  </a:cubicBezTo>
                  <a:cubicBezTo>
                    <a:pt x="56" y="29"/>
                    <a:pt x="55" y="28"/>
                    <a:pt x="55" y="27"/>
                  </a:cubicBezTo>
                  <a:cubicBezTo>
                    <a:pt x="53" y="24"/>
                    <a:pt x="52" y="23"/>
                    <a:pt x="51" y="23"/>
                  </a:cubicBezTo>
                  <a:cubicBezTo>
                    <a:pt x="50" y="23"/>
                    <a:pt x="49" y="24"/>
                    <a:pt x="47" y="24"/>
                  </a:cubicBezTo>
                  <a:cubicBezTo>
                    <a:pt x="49" y="23"/>
                    <a:pt x="49" y="21"/>
                    <a:pt x="47" y="20"/>
                  </a:cubicBezTo>
                  <a:cubicBezTo>
                    <a:pt x="47" y="21"/>
                    <a:pt x="47" y="21"/>
                    <a:pt x="47" y="21"/>
                  </a:cubicBezTo>
                  <a:cubicBezTo>
                    <a:pt x="42" y="13"/>
                    <a:pt x="33" y="8"/>
                    <a:pt x="25" y="6"/>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5" name="Freeform 256">
              <a:extLst>
                <a:ext uri="{FF2B5EF4-FFF2-40B4-BE49-F238E27FC236}">
                  <a16:creationId xmlns:a16="http://schemas.microsoft.com/office/drawing/2014/main" id="{DDE296A1-1954-49FF-A291-80BB01AFE52D}"/>
                </a:ext>
              </a:extLst>
            </p:cNvPr>
            <p:cNvSpPr>
              <a:spLocks/>
            </p:cNvSpPr>
            <p:nvPr/>
          </p:nvSpPr>
          <p:spPr bwMode="auto">
            <a:xfrm>
              <a:off x="9286580" y="4417591"/>
              <a:ext cx="394023" cy="409559"/>
            </a:xfrm>
            <a:custGeom>
              <a:avLst/>
              <a:gdLst>
                <a:gd name="T0" fmla="*/ 33 w 118"/>
                <a:gd name="T1" fmla="*/ 0 h 123"/>
                <a:gd name="T2" fmla="*/ 31 w 118"/>
                <a:gd name="T3" fmla="*/ 4 h 123"/>
                <a:gd name="T4" fmla="*/ 21 w 118"/>
                <a:gd name="T5" fmla="*/ 3 h 123"/>
                <a:gd name="T6" fmla="*/ 20 w 118"/>
                <a:gd name="T7" fmla="*/ 3 h 123"/>
                <a:gd name="T8" fmla="*/ 18 w 118"/>
                <a:gd name="T9" fmla="*/ 5 h 123"/>
                <a:gd name="T10" fmla="*/ 16 w 118"/>
                <a:gd name="T11" fmla="*/ 11 h 123"/>
                <a:gd name="T12" fmla="*/ 17 w 118"/>
                <a:gd name="T13" fmla="*/ 17 h 123"/>
                <a:gd name="T14" fmla="*/ 14 w 118"/>
                <a:gd name="T15" fmla="*/ 29 h 123"/>
                <a:gd name="T16" fmla="*/ 13 w 118"/>
                <a:gd name="T17" fmla="*/ 32 h 123"/>
                <a:gd name="T18" fmla="*/ 12 w 118"/>
                <a:gd name="T19" fmla="*/ 41 h 123"/>
                <a:gd name="T20" fmla="*/ 9 w 118"/>
                <a:gd name="T21" fmla="*/ 44 h 123"/>
                <a:gd name="T22" fmla="*/ 9 w 118"/>
                <a:gd name="T23" fmla="*/ 47 h 123"/>
                <a:gd name="T24" fmla="*/ 9 w 118"/>
                <a:gd name="T25" fmla="*/ 52 h 123"/>
                <a:gd name="T26" fmla="*/ 10 w 118"/>
                <a:gd name="T27" fmla="*/ 62 h 123"/>
                <a:gd name="T28" fmla="*/ 10 w 118"/>
                <a:gd name="T29" fmla="*/ 64 h 123"/>
                <a:gd name="T30" fmla="*/ 8 w 118"/>
                <a:gd name="T31" fmla="*/ 77 h 123"/>
                <a:gd name="T32" fmla="*/ 4 w 118"/>
                <a:gd name="T33" fmla="*/ 84 h 123"/>
                <a:gd name="T34" fmla="*/ 3 w 118"/>
                <a:gd name="T35" fmla="*/ 94 h 123"/>
                <a:gd name="T36" fmla="*/ 1 w 118"/>
                <a:gd name="T37" fmla="*/ 94 h 123"/>
                <a:gd name="T38" fmla="*/ 14 w 118"/>
                <a:gd name="T39" fmla="*/ 110 h 123"/>
                <a:gd name="T40" fmla="*/ 19 w 118"/>
                <a:gd name="T41" fmla="*/ 110 h 123"/>
                <a:gd name="T42" fmla="*/ 22 w 118"/>
                <a:gd name="T43" fmla="*/ 109 h 123"/>
                <a:gd name="T44" fmla="*/ 24 w 118"/>
                <a:gd name="T45" fmla="*/ 109 h 123"/>
                <a:gd name="T46" fmla="*/ 31 w 118"/>
                <a:gd name="T47" fmla="*/ 110 h 123"/>
                <a:gd name="T48" fmla="*/ 57 w 118"/>
                <a:gd name="T49" fmla="*/ 120 h 123"/>
                <a:gd name="T50" fmla="*/ 70 w 118"/>
                <a:gd name="T51" fmla="*/ 118 h 123"/>
                <a:gd name="T52" fmla="*/ 81 w 118"/>
                <a:gd name="T53" fmla="*/ 123 h 123"/>
                <a:gd name="T54" fmla="*/ 91 w 118"/>
                <a:gd name="T55" fmla="*/ 119 h 123"/>
                <a:gd name="T56" fmla="*/ 96 w 118"/>
                <a:gd name="T57" fmla="*/ 112 h 123"/>
                <a:gd name="T58" fmla="*/ 108 w 118"/>
                <a:gd name="T59" fmla="*/ 107 h 123"/>
                <a:gd name="T60" fmla="*/ 114 w 118"/>
                <a:gd name="T61" fmla="*/ 98 h 123"/>
                <a:gd name="T62" fmla="*/ 116 w 118"/>
                <a:gd name="T63" fmla="*/ 93 h 123"/>
                <a:gd name="T64" fmla="*/ 112 w 118"/>
                <a:gd name="T65" fmla="*/ 89 h 123"/>
                <a:gd name="T66" fmla="*/ 112 w 118"/>
                <a:gd name="T67" fmla="*/ 73 h 123"/>
                <a:gd name="T68" fmla="*/ 118 w 118"/>
                <a:gd name="T69" fmla="*/ 63 h 123"/>
                <a:gd name="T70" fmla="*/ 107 w 118"/>
                <a:gd name="T71" fmla="*/ 53 h 123"/>
                <a:gd name="T72" fmla="*/ 103 w 118"/>
                <a:gd name="T73" fmla="*/ 47 h 123"/>
                <a:gd name="T74" fmla="*/ 97 w 118"/>
                <a:gd name="T75" fmla="*/ 43 h 123"/>
                <a:gd name="T76" fmla="*/ 89 w 118"/>
                <a:gd name="T77" fmla="*/ 37 h 123"/>
                <a:gd name="T78" fmla="*/ 87 w 118"/>
                <a:gd name="T79" fmla="*/ 34 h 123"/>
                <a:gd name="T80" fmla="*/ 72 w 118"/>
                <a:gd name="T81" fmla="*/ 28 h 123"/>
                <a:gd name="T82" fmla="*/ 67 w 118"/>
                <a:gd name="T83" fmla="*/ 20 h 123"/>
                <a:gd name="T84" fmla="*/ 67 w 118"/>
                <a:gd name="T85" fmla="*/ 21 h 123"/>
                <a:gd name="T86" fmla="*/ 66 w 118"/>
                <a:gd name="T87" fmla="*/ 21 h 123"/>
                <a:gd name="T88" fmla="*/ 66 w 118"/>
                <a:gd name="T89" fmla="*/ 21 h 123"/>
                <a:gd name="T90" fmla="*/ 65 w 118"/>
                <a:gd name="T91" fmla="*/ 22 h 123"/>
                <a:gd name="T92" fmla="*/ 64 w 118"/>
                <a:gd name="T93" fmla="*/ 23 h 123"/>
                <a:gd name="T94" fmla="*/ 62 w 118"/>
                <a:gd name="T95" fmla="*/ 24 h 123"/>
                <a:gd name="T96" fmla="*/ 57 w 118"/>
                <a:gd name="T97" fmla="*/ 25 h 123"/>
                <a:gd name="T98" fmla="*/ 54 w 118"/>
                <a:gd name="T99" fmla="*/ 21 h 123"/>
                <a:gd name="T100" fmla="*/ 53 w 118"/>
                <a:gd name="T101" fmla="*/ 14 h 123"/>
                <a:gd name="T102" fmla="*/ 43 w 118"/>
                <a:gd name="T103" fmla="*/ 6 h 123"/>
                <a:gd name="T104" fmla="*/ 34 w 118"/>
                <a:gd name="T10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123">
                  <a:moveTo>
                    <a:pt x="34" y="0"/>
                  </a:moveTo>
                  <a:cubicBezTo>
                    <a:pt x="34" y="0"/>
                    <a:pt x="33" y="0"/>
                    <a:pt x="33" y="0"/>
                  </a:cubicBezTo>
                  <a:cubicBezTo>
                    <a:pt x="33" y="0"/>
                    <a:pt x="33" y="0"/>
                    <a:pt x="33" y="0"/>
                  </a:cubicBezTo>
                  <a:cubicBezTo>
                    <a:pt x="33" y="1"/>
                    <a:pt x="32" y="3"/>
                    <a:pt x="31" y="4"/>
                  </a:cubicBezTo>
                  <a:cubicBezTo>
                    <a:pt x="30" y="4"/>
                    <a:pt x="29" y="5"/>
                    <a:pt x="28" y="5"/>
                  </a:cubicBezTo>
                  <a:cubicBezTo>
                    <a:pt x="26" y="5"/>
                    <a:pt x="23" y="4"/>
                    <a:pt x="21" y="3"/>
                  </a:cubicBezTo>
                  <a:cubicBezTo>
                    <a:pt x="21" y="3"/>
                    <a:pt x="21" y="3"/>
                    <a:pt x="21" y="3"/>
                  </a:cubicBezTo>
                  <a:cubicBezTo>
                    <a:pt x="20" y="3"/>
                    <a:pt x="20" y="3"/>
                    <a:pt x="20" y="3"/>
                  </a:cubicBezTo>
                  <a:cubicBezTo>
                    <a:pt x="19" y="3"/>
                    <a:pt x="19" y="3"/>
                    <a:pt x="19" y="3"/>
                  </a:cubicBezTo>
                  <a:cubicBezTo>
                    <a:pt x="19" y="4"/>
                    <a:pt x="18" y="4"/>
                    <a:pt x="18" y="5"/>
                  </a:cubicBezTo>
                  <a:cubicBezTo>
                    <a:pt x="17" y="6"/>
                    <a:pt x="16" y="8"/>
                    <a:pt x="16" y="9"/>
                  </a:cubicBezTo>
                  <a:cubicBezTo>
                    <a:pt x="16" y="10"/>
                    <a:pt x="16" y="10"/>
                    <a:pt x="16" y="11"/>
                  </a:cubicBezTo>
                  <a:cubicBezTo>
                    <a:pt x="17" y="12"/>
                    <a:pt x="17" y="13"/>
                    <a:pt x="17" y="14"/>
                  </a:cubicBezTo>
                  <a:cubicBezTo>
                    <a:pt x="17" y="15"/>
                    <a:pt x="17" y="16"/>
                    <a:pt x="17" y="17"/>
                  </a:cubicBezTo>
                  <a:cubicBezTo>
                    <a:pt x="17" y="18"/>
                    <a:pt x="17" y="19"/>
                    <a:pt x="17" y="21"/>
                  </a:cubicBezTo>
                  <a:cubicBezTo>
                    <a:pt x="16" y="23"/>
                    <a:pt x="15" y="26"/>
                    <a:pt x="14" y="29"/>
                  </a:cubicBezTo>
                  <a:cubicBezTo>
                    <a:pt x="14" y="30"/>
                    <a:pt x="14" y="30"/>
                    <a:pt x="13" y="31"/>
                  </a:cubicBezTo>
                  <a:cubicBezTo>
                    <a:pt x="13" y="32"/>
                    <a:pt x="13" y="32"/>
                    <a:pt x="13" y="32"/>
                  </a:cubicBezTo>
                  <a:cubicBezTo>
                    <a:pt x="13" y="33"/>
                    <a:pt x="12" y="35"/>
                    <a:pt x="12" y="36"/>
                  </a:cubicBezTo>
                  <a:cubicBezTo>
                    <a:pt x="13" y="38"/>
                    <a:pt x="13" y="39"/>
                    <a:pt x="12" y="41"/>
                  </a:cubicBezTo>
                  <a:cubicBezTo>
                    <a:pt x="11" y="42"/>
                    <a:pt x="10" y="43"/>
                    <a:pt x="9" y="44"/>
                  </a:cubicBezTo>
                  <a:cubicBezTo>
                    <a:pt x="9" y="44"/>
                    <a:pt x="9" y="44"/>
                    <a:pt x="9" y="44"/>
                  </a:cubicBezTo>
                  <a:cubicBezTo>
                    <a:pt x="9" y="45"/>
                    <a:pt x="9" y="45"/>
                    <a:pt x="9" y="45"/>
                  </a:cubicBezTo>
                  <a:cubicBezTo>
                    <a:pt x="9" y="45"/>
                    <a:pt x="9" y="46"/>
                    <a:pt x="9" y="47"/>
                  </a:cubicBezTo>
                  <a:cubicBezTo>
                    <a:pt x="9" y="48"/>
                    <a:pt x="9" y="50"/>
                    <a:pt x="9" y="51"/>
                  </a:cubicBezTo>
                  <a:cubicBezTo>
                    <a:pt x="9" y="52"/>
                    <a:pt x="9" y="52"/>
                    <a:pt x="9" y="52"/>
                  </a:cubicBezTo>
                  <a:cubicBezTo>
                    <a:pt x="9" y="52"/>
                    <a:pt x="9" y="53"/>
                    <a:pt x="9" y="54"/>
                  </a:cubicBezTo>
                  <a:cubicBezTo>
                    <a:pt x="9" y="57"/>
                    <a:pt x="9" y="59"/>
                    <a:pt x="10" y="62"/>
                  </a:cubicBezTo>
                  <a:cubicBezTo>
                    <a:pt x="10" y="63"/>
                    <a:pt x="10" y="63"/>
                    <a:pt x="10" y="63"/>
                  </a:cubicBezTo>
                  <a:cubicBezTo>
                    <a:pt x="10" y="64"/>
                    <a:pt x="10" y="64"/>
                    <a:pt x="10" y="64"/>
                  </a:cubicBezTo>
                  <a:cubicBezTo>
                    <a:pt x="11" y="67"/>
                    <a:pt x="13" y="71"/>
                    <a:pt x="10" y="75"/>
                  </a:cubicBezTo>
                  <a:cubicBezTo>
                    <a:pt x="10" y="76"/>
                    <a:pt x="9" y="76"/>
                    <a:pt x="8" y="77"/>
                  </a:cubicBezTo>
                  <a:cubicBezTo>
                    <a:pt x="7" y="77"/>
                    <a:pt x="7" y="77"/>
                    <a:pt x="7" y="77"/>
                  </a:cubicBezTo>
                  <a:cubicBezTo>
                    <a:pt x="5" y="80"/>
                    <a:pt x="4" y="82"/>
                    <a:pt x="4" y="84"/>
                  </a:cubicBezTo>
                  <a:cubicBezTo>
                    <a:pt x="4" y="86"/>
                    <a:pt x="3" y="90"/>
                    <a:pt x="3" y="93"/>
                  </a:cubicBezTo>
                  <a:cubicBezTo>
                    <a:pt x="3" y="94"/>
                    <a:pt x="3" y="94"/>
                    <a:pt x="3" y="94"/>
                  </a:cubicBezTo>
                  <a:cubicBezTo>
                    <a:pt x="0" y="94"/>
                    <a:pt x="0" y="94"/>
                    <a:pt x="0" y="94"/>
                  </a:cubicBezTo>
                  <a:cubicBezTo>
                    <a:pt x="1" y="94"/>
                    <a:pt x="1" y="94"/>
                    <a:pt x="1" y="94"/>
                  </a:cubicBezTo>
                  <a:cubicBezTo>
                    <a:pt x="2" y="97"/>
                    <a:pt x="6" y="101"/>
                    <a:pt x="8" y="103"/>
                  </a:cubicBezTo>
                  <a:cubicBezTo>
                    <a:pt x="10" y="106"/>
                    <a:pt x="12" y="108"/>
                    <a:pt x="14" y="110"/>
                  </a:cubicBezTo>
                  <a:cubicBezTo>
                    <a:pt x="14" y="110"/>
                    <a:pt x="14" y="110"/>
                    <a:pt x="15" y="110"/>
                  </a:cubicBezTo>
                  <a:cubicBezTo>
                    <a:pt x="16" y="110"/>
                    <a:pt x="17" y="110"/>
                    <a:pt x="19" y="110"/>
                  </a:cubicBezTo>
                  <a:cubicBezTo>
                    <a:pt x="20" y="110"/>
                    <a:pt x="21" y="109"/>
                    <a:pt x="22" y="109"/>
                  </a:cubicBezTo>
                  <a:cubicBezTo>
                    <a:pt x="22" y="109"/>
                    <a:pt x="22" y="109"/>
                    <a:pt x="22" y="109"/>
                  </a:cubicBezTo>
                  <a:cubicBezTo>
                    <a:pt x="22" y="109"/>
                    <a:pt x="22" y="109"/>
                    <a:pt x="22" y="109"/>
                  </a:cubicBezTo>
                  <a:cubicBezTo>
                    <a:pt x="23" y="109"/>
                    <a:pt x="24" y="109"/>
                    <a:pt x="24" y="109"/>
                  </a:cubicBezTo>
                  <a:cubicBezTo>
                    <a:pt x="25" y="109"/>
                    <a:pt x="26" y="109"/>
                    <a:pt x="27" y="109"/>
                  </a:cubicBezTo>
                  <a:cubicBezTo>
                    <a:pt x="28" y="109"/>
                    <a:pt x="30" y="109"/>
                    <a:pt x="31" y="110"/>
                  </a:cubicBezTo>
                  <a:cubicBezTo>
                    <a:pt x="38" y="113"/>
                    <a:pt x="45" y="117"/>
                    <a:pt x="52" y="119"/>
                  </a:cubicBezTo>
                  <a:cubicBezTo>
                    <a:pt x="54" y="120"/>
                    <a:pt x="55" y="120"/>
                    <a:pt x="57" y="120"/>
                  </a:cubicBezTo>
                  <a:cubicBezTo>
                    <a:pt x="58" y="120"/>
                    <a:pt x="60" y="120"/>
                    <a:pt x="62" y="120"/>
                  </a:cubicBezTo>
                  <a:cubicBezTo>
                    <a:pt x="63" y="120"/>
                    <a:pt x="67" y="118"/>
                    <a:pt x="70" y="118"/>
                  </a:cubicBezTo>
                  <a:cubicBezTo>
                    <a:pt x="70" y="118"/>
                    <a:pt x="71" y="118"/>
                    <a:pt x="71" y="119"/>
                  </a:cubicBezTo>
                  <a:cubicBezTo>
                    <a:pt x="73" y="119"/>
                    <a:pt x="79" y="123"/>
                    <a:pt x="81" y="123"/>
                  </a:cubicBezTo>
                  <a:cubicBezTo>
                    <a:pt x="81" y="123"/>
                    <a:pt x="81" y="123"/>
                    <a:pt x="81" y="123"/>
                  </a:cubicBezTo>
                  <a:cubicBezTo>
                    <a:pt x="84" y="121"/>
                    <a:pt x="88" y="120"/>
                    <a:pt x="91" y="119"/>
                  </a:cubicBezTo>
                  <a:cubicBezTo>
                    <a:pt x="93" y="118"/>
                    <a:pt x="96" y="117"/>
                    <a:pt x="96" y="115"/>
                  </a:cubicBezTo>
                  <a:cubicBezTo>
                    <a:pt x="97" y="114"/>
                    <a:pt x="95" y="113"/>
                    <a:pt x="96" y="112"/>
                  </a:cubicBezTo>
                  <a:cubicBezTo>
                    <a:pt x="96" y="112"/>
                    <a:pt x="99" y="111"/>
                    <a:pt x="99" y="111"/>
                  </a:cubicBezTo>
                  <a:cubicBezTo>
                    <a:pt x="101" y="110"/>
                    <a:pt x="107" y="109"/>
                    <a:pt x="108" y="107"/>
                  </a:cubicBezTo>
                  <a:cubicBezTo>
                    <a:pt x="109" y="107"/>
                    <a:pt x="108" y="106"/>
                    <a:pt x="108" y="106"/>
                  </a:cubicBezTo>
                  <a:cubicBezTo>
                    <a:pt x="110" y="103"/>
                    <a:pt x="113" y="101"/>
                    <a:pt x="114" y="98"/>
                  </a:cubicBezTo>
                  <a:cubicBezTo>
                    <a:pt x="114" y="98"/>
                    <a:pt x="115" y="96"/>
                    <a:pt x="116" y="93"/>
                  </a:cubicBezTo>
                  <a:cubicBezTo>
                    <a:pt x="116" y="93"/>
                    <a:pt x="116" y="93"/>
                    <a:pt x="116" y="93"/>
                  </a:cubicBezTo>
                  <a:cubicBezTo>
                    <a:pt x="114" y="92"/>
                    <a:pt x="114" y="91"/>
                    <a:pt x="113" y="90"/>
                  </a:cubicBezTo>
                  <a:cubicBezTo>
                    <a:pt x="113" y="90"/>
                    <a:pt x="112" y="89"/>
                    <a:pt x="112" y="89"/>
                  </a:cubicBezTo>
                  <a:cubicBezTo>
                    <a:pt x="110" y="86"/>
                    <a:pt x="111" y="75"/>
                    <a:pt x="112" y="73"/>
                  </a:cubicBezTo>
                  <a:cubicBezTo>
                    <a:pt x="112" y="73"/>
                    <a:pt x="112" y="73"/>
                    <a:pt x="112" y="73"/>
                  </a:cubicBezTo>
                  <a:cubicBezTo>
                    <a:pt x="113" y="70"/>
                    <a:pt x="115" y="68"/>
                    <a:pt x="117" y="65"/>
                  </a:cubicBezTo>
                  <a:cubicBezTo>
                    <a:pt x="117" y="65"/>
                    <a:pt x="118" y="64"/>
                    <a:pt x="118" y="63"/>
                  </a:cubicBezTo>
                  <a:cubicBezTo>
                    <a:pt x="114" y="61"/>
                    <a:pt x="111" y="59"/>
                    <a:pt x="108" y="55"/>
                  </a:cubicBezTo>
                  <a:cubicBezTo>
                    <a:pt x="107" y="53"/>
                    <a:pt x="107" y="53"/>
                    <a:pt x="107" y="53"/>
                  </a:cubicBezTo>
                  <a:cubicBezTo>
                    <a:pt x="106" y="52"/>
                    <a:pt x="105" y="50"/>
                    <a:pt x="104" y="48"/>
                  </a:cubicBezTo>
                  <a:cubicBezTo>
                    <a:pt x="103" y="47"/>
                    <a:pt x="103" y="47"/>
                    <a:pt x="103" y="47"/>
                  </a:cubicBezTo>
                  <a:cubicBezTo>
                    <a:pt x="102" y="46"/>
                    <a:pt x="101" y="45"/>
                    <a:pt x="99" y="44"/>
                  </a:cubicBezTo>
                  <a:cubicBezTo>
                    <a:pt x="99" y="44"/>
                    <a:pt x="98" y="44"/>
                    <a:pt x="97" y="43"/>
                  </a:cubicBezTo>
                  <a:cubicBezTo>
                    <a:pt x="97" y="43"/>
                    <a:pt x="96" y="43"/>
                    <a:pt x="96" y="42"/>
                  </a:cubicBezTo>
                  <a:cubicBezTo>
                    <a:pt x="93" y="41"/>
                    <a:pt x="90" y="40"/>
                    <a:pt x="89" y="37"/>
                  </a:cubicBezTo>
                  <a:cubicBezTo>
                    <a:pt x="88" y="36"/>
                    <a:pt x="88" y="36"/>
                    <a:pt x="88" y="36"/>
                  </a:cubicBezTo>
                  <a:cubicBezTo>
                    <a:pt x="88" y="35"/>
                    <a:pt x="87" y="34"/>
                    <a:pt x="87" y="34"/>
                  </a:cubicBezTo>
                  <a:cubicBezTo>
                    <a:pt x="85" y="33"/>
                    <a:pt x="83" y="32"/>
                    <a:pt x="81" y="32"/>
                  </a:cubicBezTo>
                  <a:cubicBezTo>
                    <a:pt x="78" y="31"/>
                    <a:pt x="75" y="30"/>
                    <a:pt x="72" y="28"/>
                  </a:cubicBezTo>
                  <a:cubicBezTo>
                    <a:pt x="71" y="27"/>
                    <a:pt x="70" y="26"/>
                    <a:pt x="69" y="24"/>
                  </a:cubicBezTo>
                  <a:cubicBezTo>
                    <a:pt x="68" y="23"/>
                    <a:pt x="68" y="22"/>
                    <a:pt x="67" y="20"/>
                  </a:cubicBezTo>
                  <a:cubicBezTo>
                    <a:pt x="66" y="21"/>
                    <a:pt x="66" y="21"/>
                    <a:pt x="66" y="21"/>
                  </a:cubicBezTo>
                  <a:cubicBezTo>
                    <a:pt x="67" y="21"/>
                    <a:pt x="67" y="21"/>
                    <a:pt x="67" y="21"/>
                  </a:cubicBezTo>
                  <a:cubicBezTo>
                    <a:pt x="66" y="21"/>
                    <a:pt x="66" y="21"/>
                    <a:pt x="66" y="21"/>
                  </a:cubicBezTo>
                  <a:cubicBezTo>
                    <a:pt x="66" y="21"/>
                    <a:pt x="66" y="21"/>
                    <a:pt x="66" y="21"/>
                  </a:cubicBezTo>
                  <a:cubicBezTo>
                    <a:pt x="66" y="21"/>
                    <a:pt x="66" y="21"/>
                    <a:pt x="66" y="21"/>
                  </a:cubicBezTo>
                  <a:cubicBezTo>
                    <a:pt x="66" y="21"/>
                    <a:pt x="66" y="21"/>
                    <a:pt x="66" y="21"/>
                  </a:cubicBezTo>
                  <a:cubicBezTo>
                    <a:pt x="65" y="22"/>
                    <a:pt x="65" y="22"/>
                    <a:pt x="65" y="22"/>
                  </a:cubicBezTo>
                  <a:cubicBezTo>
                    <a:pt x="65" y="22"/>
                    <a:pt x="65" y="22"/>
                    <a:pt x="65" y="22"/>
                  </a:cubicBezTo>
                  <a:cubicBezTo>
                    <a:pt x="64" y="22"/>
                    <a:pt x="64" y="22"/>
                    <a:pt x="64" y="22"/>
                  </a:cubicBezTo>
                  <a:cubicBezTo>
                    <a:pt x="64" y="23"/>
                    <a:pt x="64" y="23"/>
                    <a:pt x="64" y="23"/>
                  </a:cubicBezTo>
                  <a:cubicBezTo>
                    <a:pt x="64" y="23"/>
                    <a:pt x="64" y="23"/>
                    <a:pt x="64" y="23"/>
                  </a:cubicBezTo>
                  <a:cubicBezTo>
                    <a:pt x="62" y="24"/>
                    <a:pt x="62" y="24"/>
                    <a:pt x="62" y="24"/>
                  </a:cubicBezTo>
                  <a:cubicBezTo>
                    <a:pt x="62" y="24"/>
                    <a:pt x="62" y="24"/>
                    <a:pt x="62" y="24"/>
                  </a:cubicBezTo>
                  <a:cubicBezTo>
                    <a:pt x="60" y="24"/>
                    <a:pt x="59" y="24"/>
                    <a:pt x="57" y="25"/>
                  </a:cubicBezTo>
                  <a:cubicBezTo>
                    <a:pt x="52" y="26"/>
                    <a:pt x="52" y="26"/>
                    <a:pt x="52" y="26"/>
                  </a:cubicBezTo>
                  <a:cubicBezTo>
                    <a:pt x="54" y="21"/>
                    <a:pt x="54" y="21"/>
                    <a:pt x="54" y="21"/>
                  </a:cubicBezTo>
                  <a:cubicBezTo>
                    <a:pt x="54" y="20"/>
                    <a:pt x="54" y="20"/>
                    <a:pt x="54" y="19"/>
                  </a:cubicBezTo>
                  <a:cubicBezTo>
                    <a:pt x="54" y="17"/>
                    <a:pt x="54" y="15"/>
                    <a:pt x="53" y="14"/>
                  </a:cubicBezTo>
                  <a:cubicBezTo>
                    <a:pt x="49" y="11"/>
                    <a:pt x="49" y="11"/>
                    <a:pt x="49" y="11"/>
                  </a:cubicBezTo>
                  <a:cubicBezTo>
                    <a:pt x="47" y="9"/>
                    <a:pt x="45" y="7"/>
                    <a:pt x="43" y="6"/>
                  </a:cubicBezTo>
                  <a:cubicBezTo>
                    <a:pt x="42" y="4"/>
                    <a:pt x="40" y="3"/>
                    <a:pt x="38" y="1"/>
                  </a:cubicBezTo>
                  <a:cubicBezTo>
                    <a:pt x="37" y="0"/>
                    <a:pt x="35"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6" name="Freeform 257">
              <a:extLst>
                <a:ext uri="{FF2B5EF4-FFF2-40B4-BE49-F238E27FC236}">
                  <a16:creationId xmlns:a16="http://schemas.microsoft.com/office/drawing/2014/main" id="{7E0EA2DA-DE6C-4BA8-BCFC-5DB0837278B8}"/>
                </a:ext>
              </a:extLst>
            </p:cNvPr>
            <p:cNvSpPr>
              <a:spLocks/>
            </p:cNvSpPr>
            <p:nvPr/>
          </p:nvSpPr>
          <p:spPr bwMode="auto">
            <a:xfrm>
              <a:off x="8235851" y="6490809"/>
              <a:ext cx="252796" cy="259858"/>
            </a:xfrm>
            <a:custGeom>
              <a:avLst/>
              <a:gdLst>
                <a:gd name="T0" fmla="*/ 56 w 76"/>
                <a:gd name="T1" fmla="*/ 2 h 78"/>
                <a:gd name="T2" fmla="*/ 45 w 76"/>
                <a:gd name="T3" fmla="*/ 9 h 78"/>
                <a:gd name="T4" fmla="*/ 37 w 76"/>
                <a:gd name="T5" fmla="*/ 9 h 78"/>
                <a:gd name="T6" fmla="*/ 41 w 76"/>
                <a:gd name="T7" fmla="*/ 13 h 78"/>
                <a:gd name="T8" fmla="*/ 42 w 76"/>
                <a:gd name="T9" fmla="*/ 13 h 78"/>
                <a:gd name="T10" fmla="*/ 44 w 76"/>
                <a:gd name="T11" fmla="*/ 13 h 78"/>
                <a:gd name="T12" fmla="*/ 39 w 76"/>
                <a:gd name="T13" fmla="*/ 15 h 78"/>
                <a:gd name="T14" fmla="*/ 45 w 76"/>
                <a:gd name="T15" fmla="*/ 30 h 78"/>
                <a:gd name="T16" fmla="*/ 58 w 76"/>
                <a:gd name="T17" fmla="*/ 27 h 78"/>
                <a:gd name="T18" fmla="*/ 49 w 76"/>
                <a:gd name="T19" fmla="*/ 37 h 78"/>
                <a:gd name="T20" fmla="*/ 43 w 76"/>
                <a:gd name="T21" fmla="*/ 41 h 78"/>
                <a:gd name="T22" fmla="*/ 49 w 76"/>
                <a:gd name="T23" fmla="*/ 53 h 78"/>
                <a:gd name="T24" fmla="*/ 66 w 76"/>
                <a:gd name="T25" fmla="*/ 60 h 78"/>
                <a:gd name="T26" fmla="*/ 61 w 76"/>
                <a:gd name="T27" fmla="*/ 68 h 78"/>
                <a:gd name="T28" fmla="*/ 60 w 76"/>
                <a:gd name="T29" fmla="*/ 60 h 78"/>
                <a:gd name="T30" fmla="*/ 59 w 76"/>
                <a:gd name="T31" fmla="*/ 59 h 78"/>
                <a:gd name="T32" fmla="*/ 58 w 76"/>
                <a:gd name="T33" fmla="*/ 61 h 78"/>
                <a:gd name="T34" fmla="*/ 52 w 76"/>
                <a:gd name="T35" fmla="*/ 57 h 78"/>
                <a:gd name="T36" fmla="*/ 52 w 76"/>
                <a:gd name="T37" fmla="*/ 65 h 78"/>
                <a:gd name="T38" fmla="*/ 47 w 76"/>
                <a:gd name="T39" fmla="*/ 58 h 78"/>
                <a:gd name="T40" fmla="*/ 45 w 76"/>
                <a:gd name="T41" fmla="*/ 58 h 78"/>
                <a:gd name="T42" fmla="*/ 40 w 76"/>
                <a:gd name="T43" fmla="*/ 59 h 78"/>
                <a:gd name="T44" fmla="*/ 30 w 76"/>
                <a:gd name="T45" fmla="*/ 56 h 78"/>
                <a:gd name="T46" fmla="*/ 36 w 76"/>
                <a:gd name="T47" fmla="*/ 60 h 78"/>
                <a:gd name="T48" fmla="*/ 34 w 76"/>
                <a:gd name="T49" fmla="*/ 61 h 78"/>
                <a:gd name="T50" fmla="*/ 30 w 76"/>
                <a:gd name="T51" fmla="*/ 66 h 78"/>
                <a:gd name="T52" fmla="*/ 33 w 76"/>
                <a:gd name="T53" fmla="*/ 59 h 78"/>
                <a:gd name="T54" fmla="*/ 21 w 76"/>
                <a:gd name="T55" fmla="*/ 62 h 78"/>
                <a:gd name="T56" fmla="*/ 16 w 76"/>
                <a:gd name="T57" fmla="*/ 62 h 78"/>
                <a:gd name="T58" fmla="*/ 12 w 76"/>
                <a:gd name="T59" fmla="*/ 64 h 78"/>
                <a:gd name="T60" fmla="*/ 6 w 76"/>
                <a:gd name="T61" fmla="*/ 63 h 78"/>
                <a:gd name="T62" fmla="*/ 8 w 76"/>
                <a:gd name="T63" fmla="*/ 66 h 78"/>
                <a:gd name="T64" fmla="*/ 8 w 76"/>
                <a:gd name="T65" fmla="*/ 66 h 78"/>
                <a:gd name="T66" fmla="*/ 3 w 76"/>
                <a:gd name="T67" fmla="*/ 67 h 78"/>
                <a:gd name="T68" fmla="*/ 3 w 76"/>
                <a:gd name="T69" fmla="*/ 69 h 78"/>
                <a:gd name="T70" fmla="*/ 15 w 76"/>
                <a:gd name="T71" fmla="*/ 65 h 78"/>
                <a:gd name="T72" fmla="*/ 18 w 76"/>
                <a:gd name="T73" fmla="*/ 69 h 78"/>
                <a:gd name="T74" fmla="*/ 19 w 76"/>
                <a:gd name="T75" fmla="*/ 70 h 78"/>
                <a:gd name="T76" fmla="*/ 23 w 76"/>
                <a:gd name="T77" fmla="*/ 73 h 78"/>
                <a:gd name="T78" fmla="*/ 28 w 76"/>
                <a:gd name="T79" fmla="*/ 69 h 78"/>
                <a:gd name="T80" fmla="*/ 32 w 76"/>
                <a:gd name="T81" fmla="*/ 70 h 78"/>
                <a:gd name="T82" fmla="*/ 35 w 76"/>
                <a:gd name="T83" fmla="*/ 68 h 78"/>
                <a:gd name="T84" fmla="*/ 28 w 76"/>
                <a:gd name="T85" fmla="*/ 73 h 78"/>
                <a:gd name="T86" fmla="*/ 35 w 76"/>
                <a:gd name="T87" fmla="*/ 73 h 78"/>
                <a:gd name="T88" fmla="*/ 40 w 76"/>
                <a:gd name="T89" fmla="*/ 75 h 78"/>
                <a:gd name="T90" fmla="*/ 47 w 76"/>
                <a:gd name="T91" fmla="*/ 70 h 78"/>
                <a:gd name="T92" fmla="*/ 52 w 76"/>
                <a:gd name="T93" fmla="*/ 71 h 78"/>
                <a:gd name="T94" fmla="*/ 55 w 76"/>
                <a:gd name="T95" fmla="*/ 74 h 78"/>
                <a:gd name="T96" fmla="*/ 67 w 76"/>
                <a:gd name="T97" fmla="*/ 78 h 78"/>
                <a:gd name="T98" fmla="*/ 71 w 76"/>
                <a:gd name="T99" fmla="*/ 73 h 78"/>
                <a:gd name="T100" fmla="*/ 76 w 76"/>
                <a:gd name="T101" fmla="*/ 5 h 78"/>
                <a:gd name="T102" fmla="*/ 72 w 76"/>
                <a:gd name="T103" fmla="*/ 5 h 78"/>
                <a:gd name="T104" fmla="*/ 70 w 76"/>
                <a:gd name="T105" fmla="*/ 5 h 78"/>
                <a:gd name="T106" fmla="*/ 59 w 76"/>
                <a:gd name="T10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8">
                  <a:moveTo>
                    <a:pt x="59" y="0"/>
                  </a:moveTo>
                  <a:cubicBezTo>
                    <a:pt x="59" y="0"/>
                    <a:pt x="58" y="1"/>
                    <a:pt x="56" y="2"/>
                  </a:cubicBezTo>
                  <a:cubicBezTo>
                    <a:pt x="53" y="5"/>
                    <a:pt x="51" y="11"/>
                    <a:pt x="48" y="11"/>
                  </a:cubicBezTo>
                  <a:cubicBezTo>
                    <a:pt x="47" y="11"/>
                    <a:pt x="46" y="10"/>
                    <a:pt x="45" y="9"/>
                  </a:cubicBezTo>
                  <a:cubicBezTo>
                    <a:pt x="44" y="8"/>
                    <a:pt x="42" y="8"/>
                    <a:pt x="41" y="8"/>
                  </a:cubicBezTo>
                  <a:cubicBezTo>
                    <a:pt x="39" y="8"/>
                    <a:pt x="38" y="8"/>
                    <a:pt x="37" y="9"/>
                  </a:cubicBezTo>
                  <a:cubicBezTo>
                    <a:pt x="38" y="9"/>
                    <a:pt x="40" y="9"/>
                    <a:pt x="40" y="10"/>
                  </a:cubicBezTo>
                  <a:cubicBezTo>
                    <a:pt x="41" y="11"/>
                    <a:pt x="40" y="12"/>
                    <a:pt x="41" y="13"/>
                  </a:cubicBezTo>
                  <a:cubicBezTo>
                    <a:pt x="41" y="13"/>
                    <a:pt x="41" y="13"/>
                    <a:pt x="41" y="13"/>
                  </a:cubicBezTo>
                  <a:cubicBezTo>
                    <a:pt x="41" y="13"/>
                    <a:pt x="42" y="13"/>
                    <a:pt x="42" y="13"/>
                  </a:cubicBezTo>
                  <a:cubicBezTo>
                    <a:pt x="43" y="13"/>
                    <a:pt x="43" y="12"/>
                    <a:pt x="43" y="12"/>
                  </a:cubicBezTo>
                  <a:cubicBezTo>
                    <a:pt x="44" y="12"/>
                    <a:pt x="44" y="13"/>
                    <a:pt x="44" y="13"/>
                  </a:cubicBezTo>
                  <a:cubicBezTo>
                    <a:pt x="45" y="13"/>
                    <a:pt x="42" y="17"/>
                    <a:pt x="40" y="17"/>
                  </a:cubicBezTo>
                  <a:cubicBezTo>
                    <a:pt x="39" y="17"/>
                    <a:pt x="39" y="17"/>
                    <a:pt x="39" y="15"/>
                  </a:cubicBezTo>
                  <a:cubicBezTo>
                    <a:pt x="34" y="18"/>
                    <a:pt x="36" y="31"/>
                    <a:pt x="42" y="31"/>
                  </a:cubicBezTo>
                  <a:cubicBezTo>
                    <a:pt x="43" y="31"/>
                    <a:pt x="44" y="31"/>
                    <a:pt x="45" y="30"/>
                  </a:cubicBezTo>
                  <a:cubicBezTo>
                    <a:pt x="48" y="28"/>
                    <a:pt x="50" y="27"/>
                    <a:pt x="54" y="27"/>
                  </a:cubicBezTo>
                  <a:cubicBezTo>
                    <a:pt x="55" y="27"/>
                    <a:pt x="57" y="27"/>
                    <a:pt x="58" y="27"/>
                  </a:cubicBezTo>
                  <a:cubicBezTo>
                    <a:pt x="60" y="27"/>
                    <a:pt x="62" y="27"/>
                    <a:pt x="62" y="30"/>
                  </a:cubicBezTo>
                  <a:cubicBezTo>
                    <a:pt x="62" y="35"/>
                    <a:pt x="53" y="36"/>
                    <a:pt x="49" y="37"/>
                  </a:cubicBezTo>
                  <a:cubicBezTo>
                    <a:pt x="48" y="37"/>
                    <a:pt x="46" y="39"/>
                    <a:pt x="45" y="39"/>
                  </a:cubicBezTo>
                  <a:cubicBezTo>
                    <a:pt x="44" y="40"/>
                    <a:pt x="43" y="39"/>
                    <a:pt x="43" y="41"/>
                  </a:cubicBezTo>
                  <a:cubicBezTo>
                    <a:pt x="43" y="43"/>
                    <a:pt x="43" y="45"/>
                    <a:pt x="44" y="46"/>
                  </a:cubicBezTo>
                  <a:cubicBezTo>
                    <a:pt x="45" y="49"/>
                    <a:pt x="46" y="51"/>
                    <a:pt x="49" y="53"/>
                  </a:cubicBezTo>
                  <a:cubicBezTo>
                    <a:pt x="52" y="54"/>
                    <a:pt x="55" y="55"/>
                    <a:pt x="58" y="56"/>
                  </a:cubicBezTo>
                  <a:cubicBezTo>
                    <a:pt x="61" y="58"/>
                    <a:pt x="64" y="59"/>
                    <a:pt x="66" y="60"/>
                  </a:cubicBezTo>
                  <a:cubicBezTo>
                    <a:pt x="68" y="61"/>
                    <a:pt x="70" y="61"/>
                    <a:pt x="70" y="62"/>
                  </a:cubicBezTo>
                  <a:cubicBezTo>
                    <a:pt x="70" y="65"/>
                    <a:pt x="63" y="66"/>
                    <a:pt x="61" y="68"/>
                  </a:cubicBezTo>
                  <a:cubicBezTo>
                    <a:pt x="61" y="65"/>
                    <a:pt x="66" y="65"/>
                    <a:pt x="64" y="62"/>
                  </a:cubicBezTo>
                  <a:cubicBezTo>
                    <a:pt x="64" y="62"/>
                    <a:pt x="61" y="60"/>
                    <a:pt x="60" y="60"/>
                  </a:cubicBezTo>
                  <a:cubicBezTo>
                    <a:pt x="60" y="60"/>
                    <a:pt x="60" y="59"/>
                    <a:pt x="59" y="59"/>
                  </a:cubicBezTo>
                  <a:cubicBezTo>
                    <a:pt x="59" y="59"/>
                    <a:pt x="59" y="59"/>
                    <a:pt x="59" y="59"/>
                  </a:cubicBezTo>
                  <a:cubicBezTo>
                    <a:pt x="57" y="59"/>
                    <a:pt x="59" y="60"/>
                    <a:pt x="58" y="61"/>
                  </a:cubicBezTo>
                  <a:cubicBezTo>
                    <a:pt x="58" y="61"/>
                    <a:pt x="58" y="61"/>
                    <a:pt x="58" y="61"/>
                  </a:cubicBezTo>
                  <a:cubicBezTo>
                    <a:pt x="57" y="61"/>
                    <a:pt x="56" y="60"/>
                    <a:pt x="55" y="59"/>
                  </a:cubicBezTo>
                  <a:cubicBezTo>
                    <a:pt x="54" y="58"/>
                    <a:pt x="52" y="57"/>
                    <a:pt x="52" y="57"/>
                  </a:cubicBezTo>
                  <a:cubicBezTo>
                    <a:pt x="51" y="57"/>
                    <a:pt x="51" y="58"/>
                    <a:pt x="51" y="59"/>
                  </a:cubicBezTo>
                  <a:cubicBezTo>
                    <a:pt x="51" y="62"/>
                    <a:pt x="53" y="63"/>
                    <a:pt x="52" y="65"/>
                  </a:cubicBezTo>
                  <a:cubicBezTo>
                    <a:pt x="51" y="64"/>
                    <a:pt x="50" y="62"/>
                    <a:pt x="49" y="61"/>
                  </a:cubicBezTo>
                  <a:cubicBezTo>
                    <a:pt x="49" y="60"/>
                    <a:pt x="48" y="58"/>
                    <a:pt x="47" y="58"/>
                  </a:cubicBezTo>
                  <a:cubicBezTo>
                    <a:pt x="47" y="57"/>
                    <a:pt x="46" y="56"/>
                    <a:pt x="46" y="56"/>
                  </a:cubicBezTo>
                  <a:cubicBezTo>
                    <a:pt x="45" y="56"/>
                    <a:pt x="45" y="57"/>
                    <a:pt x="45" y="58"/>
                  </a:cubicBezTo>
                  <a:cubicBezTo>
                    <a:pt x="45" y="60"/>
                    <a:pt x="45" y="61"/>
                    <a:pt x="44" y="61"/>
                  </a:cubicBezTo>
                  <a:cubicBezTo>
                    <a:pt x="43" y="61"/>
                    <a:pt x="41" y="60"/>
                    <a:pt x="40" y="59"/>
                  </a:cubicBezTo>
                  <a:cubicBezTo>
                    <a:pt x="35" y="56"/>
                    <a:pt x="30" y="54"/>
                    <a:pt x="26" y="52"/>
                  </a:cubicBezTo>
                  <a:cubicBezTo>
                    <a:pt x="27" y="53"/>
                    <a:pt x="28" y="55"/>
                    <a:pt x="30" y="56"/>
                  </a:cubicBezTo>
                  <a:cubicBezTo>
                    <a:pt x="31" y="57"/>
                    <a:pt x="32" y="56"/>
                    <a:pt x="33" y="57"/>
                  </a:cubicBezTo>
                  <a:cubicBezTo>
                    <a:pt x="35" y="58"/>
                    <a:pt x="35" y="59"/>
                    <a:pt x="36" y="60"/>
                  </a:cubicBezTo>
                  <a:cubicBezTo>
                    <a:pt x="38" y="63"/>
                    <a:pt x="41" y="64"/>
                    <a:pt x="43" y="65"/>
                  </a:cubicBezTo>
                  <a:cubicBezTo>
                    <a:pt x="41" y="64"/>
                    <a:pt x="35" y="63"/>
                    <a:pt x="34" y="61"/>
                  </a:cubicBezTo>
                  <a:cubicBezTo>
                    <a:pt x="33" y="62"/>
                    <a:pt x="31" y="66"/>
                    <a:pt x="30" y="66"/>
                  </a:cubicBezTo>
                  <a:cubicBezTo>
                    <a:pt x="30" y="66"/>
                    <a:pt x="30" y="66"/>
                    <a:pt x="30" y="66"/>
                  </a:cubicBezTo>
                  <a:cubicBezTo>
                    <a:pt x="29" y="65"/>
                    <a:pt x="29" y="63"/>
                    <a:pt x="30" y="62"/>
                  </a:cubicBezTo>
                  <a:cubicBezTo>
                    <a:pt x="31" y="61"/>
                    <a:pt x="32" y="60"/>
                    <a:pt x="33" y="59"/>
                  </a:cubicBezTo>
                  <a:cubicBezTo>
                    <a:pt x="29" y="60"/>
                    <a:pt x="26" y="62"/>
                    <a:pt x="22" y="62"/>
                  </a:cubicBezTo>
                  <a:cubicBezTo>
                    <a:pt x="22" y="62"/>
                    <a:pt x="22" y="62"/>
                    <a:pt x="21" y="62"/>
                  </a:cubicBezTo>
                  <a:cubicBezTo>
                    <a:pt x="20" y="62"/>
                    <a:pt x="20" y="62"/>
                    <a:pt x="19" y="62"/>
                  </a:cubicBezTo>
                  <a:cubicBezTo>
                    <a:pt x="18" y="62"/>
                    <a:pt x="17" y="62"/>
                    <a:pt x="16" y="62"/>
                  </a:cubicBezTo>
                  <a:cubicBezTo>
                    <a:pt x="14" y="62"/>
                    <a:pt x="12" y="62"/>
                    <a:pt x="10" y="63"/>
                  </a:cubicBezTo>
                  <a:cubicBezTo>
                    <a:pt x="11" y="63"/>
                    <a:pt x="11" y="64"/>
                    <a:pt x="12" y="64"/>
                  </a:cubicBezTo>
                  <a:cubicBezTo>
                    <a:pt x="11" y="64"/>
                    <a:pt x="11" y="64"/>
                    <a:pt x="10" y="64"/>
                  </a:cubicBezTo>
                  <a:cubicBezTo>
                    <a:pt x="9" y="64"/>
                    <a:pt x="8" y="64"/>
                    <a:pt x="6" y="63"/>
                  </a:cubicBezTo>
                  <a:cubicBezTo>
                    <a:pt x="7" y="64"/>
                    <a:pt x="9" y="64"/>
                    <a:pt x="10" y="65"/>
                  </a:cubicBezTo>
                  <a:cubicBezTo>
                    <a:pt x="9" y="66"/>
                    <a:pt x="9" y="66"/>
                    <a:pt x="8" y="66"/>
                  </a:cubicBezTo>
                  <a:cubicBezTo>
                    <a:pt x="8" y="66"/>
                    <a:pt x="7" y="66"/>
                    <a:pt x="7" y="66"/>
                  </a:cubicBezTo>
                  <a:cubicBezTo>
                    <a:pt x="8" y="66"/>
                    <a:pt x="8" y="66"/>
                    <a:pt x="8" y="66"/>
                  </a:cubicBezTo>
                  <a:cubicBezTo>
                    <a:pt x="5" y="66"/>
                    <a:pt x="3" y="65"/>
                    <a:pt x="0" y="65"/>
                  </a:cubicBezTo>
                  <a:cubicBezTo>
                    <a:pt x="0" y="66"/>
                    <a:pt x="1" y="66"/>
                    <a:pt x="3" y="67"/>
                  </a:cubicBezTo>
                  <a:cubicBezTo>
                    <a:pt x="0" y="68"/>
                    <a:pt x="1" y="69"/>
                    <a:pt x="3" y="69"/>
                  </a:cubicBezTo>
                  <a:cubicBezTo>
                    <a:pt x="3" y="69"/>
                    <a:pt x="3" y="69"/>
                    <a:pt x="3" y="69"/>
                  </a:cubicBezTo>
                  <a:cubicBezTo>
                    <a:pt x="7" y="68"/>
                    <a:pt x="11" y="68"/>
                    <a:pt x="15" y="67"/>
                  </a:cubicBezTo>
                  <a:cubicBezTo>
                    <a:pt x="14" y="66"/>
                    <a:pt x="15" y="66"/>
                    <a:pt x="15" y="65"/>
                  </a:cubicBezTo>
                  <a:cubicBezTo>
                    <a:pt x="17" y="66"/>
                    <a:pt x="18" y="67"/>
                    <a:pt x="18" y="69"/>
                  </a:cubicBezTo>
                  <a:cubicBezTo>
                    <a:pt x="18" y="69"/>
                    <a:pt x="18" y="69"/>
                    <a:pt x="18" y="69"/>
                  </a:cubicBezTo>
                  <a:cubicBezTo>
                    <a:pt x="17" y="69"/>
                    <a:pt x="16" y="69"/>
                    <a:pt x="18" y="70"/>
                  </a:cubicBezTo>
                  <a:cubicBezTo>
                    <a:pt x="18" y="70"/>
                    <a:pt x="18" y="70"/>
                    <a:pt x="19" y="70"/>
                  </a:cubicBezTo>
                  <a:cubicBezTo>
                    <a:pt x="20" y="70"/>
                    <a:pt x="21" y="69"/>
                    <a:pt x="22" y="67"/>
                  </a:cubicBezTo>
                  <a:cubicBezTo>
                    <a:pt x="23" y="69"/>
                    <a:pt x="24" y="71"/>
                    <a:pt x="23" y="73"/>
                  </a:cubicBezTo>
                  <a:cubicBezTo>
                    <a:pt x="24" y="71"/>
                    <a:pt x="24" y="70"/>
                    <a:pt x="26" y="69"/>
                  </a:cubicBezTo>
                  <a:cubicBezTo>
                    <a:pt x="26" y="69"/>
                    <a:pt x="27" y="69"/>
                    <a:pt x="28" y="69"/>
                  </a:cubicBezTo>
                  <a:cubicBezTo>
                    <a:pt x="28" y="69"/>
                    <a:pt x="29" y="69"/>
                    <a:pt x="30" y="69"/>
                  </a:cubicBezTo>
                  <a:cubicBezTo>
                    <a:pt x="31" y="70"/>
                    <a:pt x="32" y="70"/>
                    <a:pt x="32" y="70"/>
                  </a:cubicBezTo>
                  <a:cubicBezTo>
                    <a:pt x="32" y="70"/>
                    <a:pt x="32" y="70"/>
                    <a:pt x="33" y="70"/>
                  </a:cubicBezTo>
                  <a:cubicBezTo>
                    <a:pt x="33" y="69"/>
                    <a:pt x="34" y="68"/>
                    <a:pt x="35" y="68"/>
                  </a:cubicBezTo>
                  <a:cubicBezTo>
                    <a:pt x="35" y="68"/>
                    <a:pt x="35" y="68"/>
                    <a:pt x="35" y="68"/>
                  </a:cubicBezTo>
                  <a:cubicBezTo>
                    <a:pt x="34" y="72"/>
                    <a:pt x="29" y="70"/>
                    <a:pt x="28" y="73"/>
                  </a:cubicBezTo>
                  <a:cubicBezTo>
                    <a:pt x="27" y="74"/>
                    <a:pt x="28" y="75"/>
                    <a:pt x="29" y="75"/>
                  </a:cubicBezTo>
                  <a:cubicBezTo>
                    <a:pt x="31" y="75"/>
                    <a:pt x="34" y="73"/>
                    <a:pt x="35" y="73"/>
                  </a:cubicBezTo>
                  <a:cubicBezTo>
                    <a:pt x="37" y="73"/>
                    <a:pt x="40" y="72"/>
                    <a:pt x="41" y="70"/>
                  </a:cubicBezTo>
                  <a:cubicBezTo>
                    <a:pt x="41" y="70"/>
                    <a:pt x="38" y="75"/>
                    <a:pt x="40" y="75"/>
                  </a:cubicBezTo>
                  <a:cubicBezTo>
                    <a:pt x="40" y="75"/>
                    <a:pt x="40" y="75"/>
                    <a:pt x="41" y="75"/>
                  </a:cubicBezTo>
                  <a:cubicBezTo>
                    <a:pt x="44" y="74"/>
                    <a:pt x="47" y="73"/>
                    <a:pt x="47" y="70"/>
                  </a:cubicBezTo>
                  <a:cubicBezTo>
                    <a:pt x="48" y="72"/>
                    <a:pt x="48" y="73"/>
                    <a:pt x="48" y="73"/>
                  </a:cubicBezTo>
                  <a:cubicBezTo>
                    <a:pt x="49" y="73"/>
                    <a:pt x="50" y="72"/>
                    <a:pt x="52" y="71"/>
                  </a:cubicBezTo>
                  <a:cubicBezTo>
                    <a:pt x="53" y="71"/>
                    <a:pt x="53" y="71"/>
                    <a:pt x="53" y="71"/>
                  </a:cubicBezTo>
                  <a:cubicBezTo>
                    <a:pt x="55" y="71"/>
                    <a:pt x="54" y="73"/>
                    <a:pt x="55" y="74"/>
                  </a:cubicBezTo>
                  <a:cubicBezTo>
                    <a:pt x="56" y="76"/>
                    <a:pt x="61" y="77"/>
                    <a:pt x="63" y="77"/>
                  </a:cubicBezTo>
                  <a:cubicBezTo>
                    <a:pt x="64" y="77"/>
                    <a:pt x="65" y="78"/>
                    <a:pt x="67" y="78"/>
                  </a:cubicBezTo>
                  <a:cubicBezTo>
                    <a:pt x="69" y="78"/>
                    <a:pt x="70" y="77"/>
                    <a:pt x="72" y="74"/>
                  </a:cubicBezTo>
                  <a:cubicBezTo>
                    <a:pt x="72" y="74"/>
                    <a:pt x="71" y="73"/>
                    <a:pt x="71" y="73"/>
                  </a:cubicBezTo>
                  <a:cubicBezTo>
                    <a:pt x="72" y="73"/>
                    <a:pt x="74" y="74"/>
                    <a:pt x="76" y="75"/>
                  </a:cubicBezTo>
                  <a:cubicBezTo>
                    <a:pt x="75" y="62"/>
                    <a:pt x="76" y="19"/>
                    <a:pt x="76" y="5"/>
                  </a:cubicBezTo>
                  <a:cubicBezTo>
                    <a:pt x="76" y="5"/>
                    <a:pt x="75" y="5"/>
                    <a:pt x="75" y="5"/>
                  </a:cubicBezTo>
                  <a:cubicBezTo>
                    <a:pt x="74" y="5"/>
                    <a:pt x="73" y="5"/>
                    <a:pt x="72" y="5"/>
                  </a:cubicBezTo>
                  <a:cubicBezTo>
                    <a:pt x="71" y="5"/>
                    <a:pt x="71" y="5"/>
                    <a:pt x="70" y="5"/>
                  </a:cubicBezTo>
                  <a:cubicBezTo>
                    <a:pt x="70" y="5"/>
                    <a:pt x="70" y="5"/>
                    <a:pt x="70" y="5"/>
                  </a:cubicBezTo>
                  <a:cubicBezTo>
                    <a:pt x="66" y="5"/>
                    <a:pt x="64" y="2"/>
                    <a:pt x="61" y="1"/>
                  </a:cubicBezTo>
                  <a:cubicBezTo>
                    <a:pt x="61" y="0"/>
                    <a:pt x="60"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7" name="Freeform 258">
              <a:extLst>
                <a:ext uri="{FF2B5EF4-FFF2-40B4-BE49-F238E27FC236}">
                  <a16:creationId xmlns:a16="http://schemas.microsoft.com/office/drawing/2014/main" id="{D7A921CD-345A-4697-8D5A-964A9E486043}"/>
                </a:ext>
              </a:extLst>
            </p:cNvPr>
            <p:cNvSpPr>
              <a:spLocks/>
            </p:cNvSpPr>
            <p:nvPr/>
          </p:nvSpPr>
          <p:spPr bwMode="auto">
            <a:xfrm>
              <a:off x="7156877" y="1145354"/>
              <a:ext cx="244323" cy="210429"/>
            </a:xfrm>
            <a:custGeom>
              <a:avLst/>
              <a:gdLst>
                <a:gd name="T0" fmla="*/ 7 w 73"/>
                <a:gd name="T1" fmla="*/ 1 h 63"/>
                <a:gd name="T2" fmla="*/ 5 w 73"/>
                <a:gd name="T3" fmla="*/ 1 h 63"/>
                <a:gd name="T4" fmla="*/ 2 w 73"/>
                <a:gd name="T5" fmla="*/ 2 h 63"/>
                <a:gd name="T6" fmla="*/ 6 w 73"/>
                <a:gd name="T7" fmla="*/ 6 h 63"/>
                <a:gd name="T8" fmla="*/ 3 w 73"/>
                <a:gd name="T9" fmla="*/ 13 h 63"/>
                <a:gd name="T10" fmla="*/ 11 w 73"/>
                <a:gd name="T11" fmla="*/ 28 h 63"/>
                <a:gd name="T12" fmla="*/ 19 w 73"/>
                <a:gd name="T13" fmla="*/ 34 h 63"/>
                <a:gd name="T14" fmla="*/ 19 w 73"/>
                <a:gd name="T15" fmla="*/ 35 h 63"/>
                <a:gd name="T16" fmla="*/ 25 w 73"/>
                <a:gd name="T17" fmla="*/ 29 h 63"/>
                <a:gd name="T18" fmla="*/ 15 w 73"/>
                <a:gd name="T19" fmla="*/ 18 h 63"/>
                <a:gd name="T20" fmla="*/ 27 w 73"/>
                <a:gd name="T21" fmla="*/ 25 h 63"/>
                <a:gd name="T22" fmla="*/ 36 w 73"/>
                <a:gd name="T23" fmla="*/ 36 h 63"/>
                <a:gd name="T24" fmla="*/ 40 w 73"/>
                <a:gd name="T25" fmla="*/ 37 h 63"/>
                <a:gd name="T26" fmla="*/ 52 w 73"/>
                <a:gd name="T27" fmla="*/ 45 h 63"/>
                <a:gd name="T28" fmla="*/ 55 w 73"/>
                <a:gd name="T29" fmla="*/ 60 h 63"/>
                <a:gd name="T30" fmla="*/ 57 w 73"/>
                <a:gd name="T31" fmla="*/ 55 h 63"/>
                <a:gd name="T32" fmla="*/ 65 w 73"/>
                <a:gd name="T33" fmla="*/ 59 h 63"/>
                <a:gd name="T34" fmla="*/ 66 w 73"/>
                <a:gd name="T35" fmla="*/ 60 h 63"/>
                <a:gd name="T36" fmla="*/ 68 w 73"/>
                <a:gd name="T37" fmla="*/ 58 h 63"/>
                <a:gd name="T38" fmla="*/ 70 w 73"/>
                <a:gd name="T39" fmla="*/ 50 h 63"/>
                <a:gd name="T40" fmla="*/ 67 w 73"/>
                <a:gd name="T41" fmla="*/ 48 h 63"/>
                <a:gd name="T42" fmla="*/ 67 w 73"/>
                <a:gd name="T43" fmla="*/ 46 h 63"/>
                <a:gd name="T44" fmla="*/ 67 w 73"/>
                <a:gd name="T45" fmla="*/ 44 h 63"/>
                <a:gd name="T46" fmla="*/ 70 w 73"/>
                <a:gd name="T47" fmla="*/ 32 h 63"/>
                <a:gd name="T48" fmla="*/ 71 w 73"/>
                <a:gd name="T49" fmla="*/ 31 h 63"/>
                <a:gd name="T50" fmla="*/ 73 w 73"/>
                <a:gd name="T51" fmla="*/ 31 h 63"/>
                <a:gd name="T52" fmla="*/ 55 w 73"/>
                <a:gd name="T53" fmla="*/ 6 h 63"/>
                <a:gd name="T54" fmla="*/ 50 w 73"/>
                <a:gd name="T55" fmla="*/ 9 h 63"/>
                <a:gd name="T56" fmla="*/ 48 w 73"/>
                <a:gd name="T57" fmla="*/ 9 h 63"/>
                <a:gd name="T58" fmla="*/ 46 w 73"/>
                <a:gd name="T59" fmla="*/ 9 h 63"/>
                <a:gd name="T60" fmla="*/ 36 w 73"/>
                <a:gd name="T61" fmla="*/ 6 h 63"/>
                <a:gd name="T62" fmla="*/ 32 w 73"/>
                <a:gd name="T63" fmla="*/ 4 h 63"/>
                <a:gd name="T64" fmla="*/ 32 w 73"/>
                <a:gd name="T65" fmla="*/ 3 h 63"/>
                <a:gd name="T66" fmla="*/ 31 w 73"/>
                <a:gd name="T67" fmla="*/ 3 h 63"/>
                <a:gd name="T68" fmla="*/ 25 w 73"/>
                <a:gd name="T69" fmla="*/ 5 h 63"/>
                <a:gd name="T70" fmla="*/ 24 w 73"/>
                <a:gd name="T71" fmla="*/ 5 h 63"/>
                <a:gd name="T72" fmla="*/ 10 w 73"/>
                <a:gd name="T7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63">
                  <a:moveTo>
                    <a:pt x="9" y="0"/>
                  </a:moveTo>
                  <a:cubicBezTo>
                    <a:pt x="8" y="0"/>
                    <a:pt x="7" y="1"/>
                    <a:pt x="7" y="1"/>
                  </a:cubicBezTo>
                  <a:cubicBezTo>
                    <a:pt x="5" y="2"/>
                    <a:pt x="5" y="2"/>
                    <a:pt x="5" y="2"/>
                  </a:cubicBezTo>
                  <a:cubicBezTo>
                    <a:pt x="5" y="1"/>
                    <a:pt x="5" y="1"/>
                    <a:pt x="5" y="1"/>
                  </a:cubicBezTo>
                  <a:cubicBezTo>
                    <a:pt x="3" y="3"/>
                    <a:pt x="3" y="3"/>
                    <a:pt x="3" y="3"/>
                  </a:cubicBezTo>
                  <a:cubicBezTo>
                    <a:pt x="3" y="3"/>
                    <a:pt x="3" y="2"/>
                    <a:pt x="2" y="2"/>
                  </a:cubicBezTo>
                  <a:cubicBezTo>
                    <a:pt x="2" y="2"/>
                    <a:pt x="1" y="3"/>
                    <a:pt x="0" y="4"/>
                  </a:cubicBezTo>
                  <a:cubicBezTo>
                    <a:pt x="1" y="4"/>
                    <a:pt x="6" y="5"/>
                    <a:pt x="6" y="6"/>
                  </a:cubicBezTo>
                  <a:cubicBezTo>
                    <a:pt x="6" y="7"/>
                    <a:pt x="8" y="10"/>
                    <a:pt x="7" y="10"/>
                  </a:cubicBezTo>
                  <a:cubicBezTo>
                    <a:pt x="6" y="10"/>
                    <a:pt x="3" y="12"/>
                    <a:pt x="3" y="13"/>
                  </a:cubicBezTo>
                  <a:cubicBezTo>
                    <a:pt x="4" y="16"/>
                    <a:pt x="5" y="20"/>
                    <a:pt x="5" y="24"/>
                  </a:cubicBezTo>
                  <a:cubicBezTo>
                    <a:pt x="6" y="26"/>
                    <a:pt x="9" y="27"/>
                    <a:pt x="11" y="28"/>
                  </a:cubicBezTo>
                  <a:cubicBezTo>
                    <a:pt x="14" y="29"/>
                    <a:pt x="16" y="31"/>
                    <a:pt x="18" y="33"/>
                  </a:cubicBezTo>
                  <a:cubicBezTo>
                    <a:pt x="19" y="34"/>
                    <a:pt x="19" y="34"/>
                    <a:pt x="19" y="34"/>
                  </a:cubicBezTo>
                  <a:cubicBezTo>
                    <a:pt x="19" y="34"/>
                    <a:pt x="19" y="35"/>
                    <a:pt x="19" y="35"/>
                  </a:cubicBezTo>
                  <a:cubicBezTo>
                    <a:pt x="19" y="35"/>
                    <a:pt x="19" y="35"/>
                    <a:pt x="19" y="35"/>
                  </a:cubicBezTo>
                  <a:cubicBezTo>
                    <a:pt x="19" y="35"/>
                    <a:pt x="21" y="32"/>
                    <a:pt x="22" y="32"/>
                  </a:cubicBezTo>
                  <a:cubicBezTo>
                    <a:pt x="23" y="31"/>
                    <a:pt x="24" y="29"/>
                    <a:pt x="25" y="29"/>
                  </a:cubicBezTo>
                  <a:cubicBezTo>
                    <a:pt x="23" y="27"/>
                    <a:pt x="20" y="26"/>
                    <a:pt x="18" y="24"/>
                  </a:cubicBezTo>
                  <a:cubicBezTo>
                    <a:pt x="17" y="23"/>
                    <a:pt x="16" y="20"/>
                    <a:pt x="15" y="18"/>
                  </a:cubicBezTo>
                  <a:cubicBezTo>
                    <a:pt x="17" y="20"/>
                    <a:pt x="18" y="20"/>
                    <a:pt x="20" y="21"/>
                  </a:cubicBezTo>
                  <a:cubicBezTo>
                    <a:pt x="23" y="22"/>
                    <a:pt x="25" y="24"/>
                    <a:pt x="27" y="25"/>
                  </a:cubicBezTo>
                  <a:cubicBezTo>
                    <a:pt x="29" y="26"/>
                    <a:pt x="28" y="30"/>
                    <a:pt x="29" y="32"/>
                  </a:cubicBezTo>
                  <a:cubicBezTo>
                    <a:pt x="30" y="34"/>
                    <a:pt x="33" y="35"/>
                    <a:pt x="36" y="36"/>
                  </a:cubicBezTo>
                  <a:cubicBezTo>
                    <a:pt x="37" y="37"/>
                    <a:pt x="39" y="37"/>
                    <a:pt x="40" y="37"/>
                  </a:cubicBezTo>
                  <a:cubicBezTo>
                    <a:pt x="40" y="37"/>
                    <a:pt x="40" y="37"/>
                    <a:pt x="40" y="37"/>
                  </a:cubicBezTo>
                  <a:cubicBezTo>
                    <a:pt x="43" y="39"/>
                    <a:pt x="46" y="40"/>
                    <a:pt x="48" y="42"/>
                  </a:cubicBezTo>
                  <a:cubicBezTo>
                    <a:pt x="50" y="43"/>
                    <a:pt x="51" y="44"/>
                    <a:pt x="52" y="45"/>
                  </a:cubicBezTo>
                  <a:cubicBezTo>
                    <a:pt x="53" y="46"/>
                    <a:pt x="53" y="46"/>
                    <a:pt x="53" y="48"/>
                  </a:cubicBezTo>
                  <a:cubicBezTo>
                    <a:pt x="55" y="54"/>
                    <a:pt x="48" y="56"/>
                    <a:pt x="55" y="60"/>
                  </a:cubicBezTo>
                  <a:cubicBezTo>
                    <a:pt x="56" y="61"/>
                    <a:pt x="60" y="62"/>
                    <a:pt x="62" y="63"/>
                  </a:cubicBezTo>
                  <a:cubicBezTo>
                    <a:pt x="60" y="60"/>
                    <a:pt x="59" y="58"/>
                    <a:pt x="57" y="55"/>
                  </a:cubicBezTo>
                  <a:cubicBezTo>
                    <a:pt x="58" y="55"/>
                    <a:pt x="59" y="55"/>
                    <a:pt x="60" y="55"/>
                  </a:cubicBezTo>
                  <a:cubicBezTo>
                    <a:pt x="63" y="55"/>
                    <a:pt x="65" y="56"/>
                    <a:pt x="65" y="59"/>
                  </a:cubicBezTo>
                  <a:cubicBezTo>
                    <a:pt x="65" y="60"/>
                    <a:pt x="65" y="61"/>
                    <a:pt x="65" y="61"/>
                  </a:cubicBezTo>
                  <a:cubicBezTo>
                    <a:pt x="66" y="61"/>
                    <a:pt x="66" y="60"/>
                    <a:pt x="66" y="60"/>
                  </a:cubicBezTo>
                  <a:cubicBezTo>
                    <a:pt x="67" y="60"/>
                    <a:pt x="67" y="60"/>
                    <a:pt x="67" y="60"/>
                  </a:cubicBezTo>
                  <a:cubicBezTo>
                    <a:pt x="67" y="59"/>
                    <a:pt x="68" y="58"/>
                    <a:pt x="68" y="58"/>
                  </a:cubicBezTo>
                  <a:cubicBezTo>
                    <a:pt x="68" y="57"/>
                    <a:pt x="67" y="55"/>
                    <a:pt x="67" y="54"/>
                  </a:cubicBezTo>
                  <a:cubicBezTo>
                    <a:pt x="68" y="52"/>
                    <a:pt x="69" y="51"/>
                    <a:pt x="70" y="50"/>
                  </a:cubicBezTo>
                  <a:cubicBezTo>
                    <a:pt x="69" y="49"/>
                    <a:pt x="69" y="49"/>
                    <a:pt x="69" y="49"/>
                  </a:cubicBezTo>
                  <a:cubicBezTo>
                    <a:pt x="67" y="48"/>
                    <a:pt x="67" y="48"/>
                    <a:pt x="67" y="48"/>
                  </a:cubicBezTo>
                  <a:cubicBezTo>
                    <a:pt x="67" y="46"/>
                    <a:pt x="67" y="46"/>
                    <a:pt x="67" y="46"/>
                  </a:cubicBezTo>
                  <a:cubicBezTo>
                    <a:pt x="67" y="46"/>
                    <a:pt x="67" y="46"/>
                    <a:pt x="67" y="46"/>
                  </a:cubicBezTo>
                  <a:cubicBezTo>
                    <a:pt x="67" y="46"/>
                    <a:pt x="67" y="45"/>
                    <a:pt x="67" y="44"/>
                  </a:cubicBezTo>
                  <a:cubicBezTo>
                    <a:pt x="67" y="44"/>
                    <a:pt x="67" y="44"/>
                    <a:pt x="67" y="44"/>
                  </a:cubicBezTo>
                  <a:cubicBezTo>
                    <a:pt x="67" y="42"/>
                    <a:pt x="67" y="39"/>
                    <a:pt x="68" y="37"/>
                  </a:cubicBezTo>
                  <a:cubicBezTo>
                    <a:pt x="68" y="35"/>
                    <a:pt x="68" y="33"/>
                    <a:pt x="70" y="32"/>
                  </a:cubicBezTo>
                  <a:cubicBezTo>
                    <a:pt x="70" y="32"/>
                    <a:pt x="70" y="31"/>
                    <a:pt x="71" y="31"/>
                  </a:cubicBezTo>
                  <a:cubicBezTo>
                    <a:pt x="71" y="31"/>
                    <a:pt x="71" y="31"/>
                    <a:pt x="71" y="31"/>
                  </a:cubicBezTo>
                  <a:cubicBezTo>
                    <a:pt x="72" y="31"/>
                    <a:pt x="72" y="31"/>
                    <a:pt x="72" y="31"/>
                  </a:cubicBezTo>
                  <a:cubicBezTo>
                    <a:pt x="73" y="31"/>
                    <a:pt x="73" y="31"/>
                    <a:pt x="73" y="31"/>
                  </a:cubicBezTo>
                  <a:cubicBezTo>
                    <a:pt x="70" y="28"/>
                    <a:pt x="67" y="25"/>
                    <a:pt x="63" y="21"/>
                  </a:cubicBezTo>
                  <a:cubicBezTo>
                    <a:pt x="59" y="17"/>
                    <a:pt x="57" y="11"/>
                    <a:pt x="55" y="6"/>
                  </a:cubicBezTo>
                  <a:cubicBezTo>
                    <a:pt x="53" y="7"/>
                    <a:pt x="53" y="8"/>
                    <a:pt x="52" y="8"/>
                  </a:cubicBezTo>
                  <a:cubicBezTo>
                    <a:pt x="51" y="9"/>
                    <a:pt x="50" y="9"/>
                    <a:pt x="50" y="9"/>
                  </a:cubicBezTo>
                  <a:cubicBezTo>
                    <a:pt x="49" y="9"/>
                    <a:pt x="49" y="9"/>
                    <a:pt x="49" y="9"/>
                  </a:cubicBezTo>
                  <a:cubicBezTo>
                    <a:pt x="48" y="9"/>
                    <a:pt x="48" y="9"/>
                    <a:pt x="48" y="9"/>
                  </a:cubicBezTo>
                  <a:cubicBezTo>
                    <a:pt x="48" y="9"/>
                    <a:pt x="48" y="9"/>
                    <a:pt x="48" y="9"/>
                  </a:cubicBezTo>
                  <a:cubicBezTo>
                    <a:pt x="46" y="9"/>
                    <a:pt x="46" y="9"/>
                    <a:pt x="46" y="9"/>
                  </a:cubicBezTo>
                  <a:cubicBezTo>
                    <a:pt x="43" y="9"/>
                    <a:pt x="41" y="9"/>
                    <a:pt x="37" y="7"/>
                  </a:cubicBezTo>
                  <a:cubicBezTo>
                    <a:pt x="37" y="7"/>
                    <a:pt x="37" y="7"/>
                    <a:pt x="36" y="6"/>
                  </a:cubicBezTo>
                  <a:cubicBezTo>
                    <a:pt x="36" y="6"/>
                    <a:pt x="36" y="6"/>
                    <a:pt x="36" y="6"/>
                  </a:cubicBezTo>
                  <a:cubicBezTo>
                    <a:pt x="35" y="5"/>
                    <a:pt x="33" y="4"/>
                    <a:pt x="32" y="4"/>
                  </a:cubicBezTo>
                  <a:cubicBezTo>
                    <a:pt x="32" y="3"/>
                    <a:pt x="32" y="3"/>
                    <a:pt x="32" y="3"/>
                  </a:cubicBezTo>
                  <a:cubicBezTo>
                    <a:pt x="32" y="3"/>
                    <a:pt x="32" y="3"/>
                    <a:pt x="32" y="3"/>
                  </a:cubicBezTo>
                  <a:cubicBezTo>
                    <a:pt x="31" y="3"/>
                    <a:pt x="31" y="3"/>
                    <a:pt x="31" y="3"/>
                  </a:cubicBezTo>
                  <a:cubicBezTo>
                    <a:pt x="31" y="3"/>
                    <a:pt x="31" y="3"/>
                    <a:pt x="31" y="3"/>
                  </a:cubicBezTo>
                  <a:cubicBezTo>
                    <a:pt x="31" y="3"/>
                    <a:pt x="30" y="4"/>
                    <a:pt x="29" y="4"/>
                  </a:cubicBezTo>
                  <a:cubicBezTo>
                    <a:pt x="27" y="4"/>
                    <a:pt x="26" y="5"/>
                    <a:pt x="25" y="5"/>
                  </a:cubicBezTo>
                  <a:cubicBezTo>
                    <a:pt x="25" y="5"/>
                    <a:pt x="25" y="5"/>
                    <a:pt x="25" y="5"/>
                  </a:cubicBezTo>
                  <a:cubicBezTo>
                    <a:pt x="24" y="5"/>
                    <a:pt x="24" y="5"/>
                    <a:pt x="24" y="5"/>
                  </a:cubicBezTo>
                  <a:cubicBezTo>
                    <a:pt x="20" y="4"/>
                    <a:pt x="17" y="3"/>
                    <a:pt x="14" y="1"/>
                  </a:cubicBezTo>
                  <a:cubicBezTo>
                    <a:pt x="12" y="1"/>
                    <a:pt x="11"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8" name="Freeform 259">
              <a:extLst>
                <a:ext uri="{FF2B5EF4-FFF2-40B4-BE49-F238E27FC236}">
                  <a16:creationId xmlns:a16="http://schemas.microsoft.com/office/drawing/2014/main" id="{75C78F1B-C565-4DFE-BBCF-152C0566C48D}"/>
                </a:ext>
              </a:extLst>
            </p:cNvPr>
            <p:cNvSpPr>
              <a:spLocks/>
            </p:cNvSpPr>
            <p:nvPr/>
          </p:nvSpPr>
          <p:spPr bwMode="auto">
            <a:xfrm>
              <a:off x="7048132" y="994241"/>
              <a:ext cx="0" cy="4237"/>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9" name="Freeform 260">
              <a:extLst>
                <a:ext uri="{FF2B5EF4-FFF2-40B4-BE49-F238E27FC236}">
                  <a16:creationId xmlns:a16="http://schemas.microsoft.com/office/drawing/2014/main" id="{AC248135-5C24-4231-B39D-F7E3C244E2F7}"/>
                </a:ext>
              </a:extLst>
            </p:cNvPr>
            <p:cNvSpPr>
              <a:spLocks/>
            </p:cNvSpPr>
            <p:nvPr/>
          </p:nvSpPr>
          <p:spPr bwMode="auto">
            <a:xfrm>
              <a:off x="7048132" y="994241"/>
              <a:ext cx="0" cy="4237"/>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0" name="Freeform 261">
              <a:extLst>
                <a:ext uri="{FF2B5EF4-FFF2-40B4-BE49-F238E27FC236}">
                  <a16:creationId xmlns:a16="http://schemas.microsoft.com/office/drawing/2014/main" id="{225F7955-B182-41C0-92E5-19752825948C}"/>
                </a:ext>
              </a:extLst>
            </p:cNvPr>
            <p:cNvSpPr>
              <a:spLocks/>
            </p:cNvSpPr>
            <p:nvPr/>
          </p:nvSpPr>
          <p:spPr bwMode="auto">
            <a:xfrm>
              <a:off x="7017062" y="851601"/>
              <a:ext cx="354480" cy="303639"/>
            </a:xfrm>
            <a:custGeom>
              <a:avLst/>
              <a:gdLst>
                <a:gd name="T0" fmla="*/ 97 w 106"/>
                <a:gd name="T1" fmla="*/ 1 h 91"/>
                <a:gd name="T2" fmla="*/ 85 w 106"/>
                <a:gd name="T3" fmla="*/ 4 h 91"/>
                <a:gd name="T4" fmla="*/ 83 w 106"/>
                <a:gd name="T5" fmla="*/ 4 h 91"/>
                <a:gd name="T6" fmla="*/ 82 w 106"/>
                <a:gd name="T7" fmla="*/ 5 h 91"/>
                <a:gd name="T8" fmla="*/ 79 w 106"/>
                <a:gd name="T9" fmla="*/ 6 h 91"/>
                <a:gd name="T10" fmla="*/ 71 w 106"/>
                <a:gd name="T11" fmla="*/ 4 h 91"/>
                <a:gd name="T12" fmla="*/ 68 w 106"/>
                <a:gd name="T13" fmla="*/ 2 h 91"/>
                <a:gd name="T14" fmla="*/ 66 w 106"/>
                <a:gd name="T15" fmla="*/ 3 h 91"/>
                <a:gd name="T16" fmla="*/ 63 w 106"/>
                <a:gd name="T17" fmla="*/ 7 h 91"/>
                <a:gd name="T18" fmla="*/ 62 w 106"/>
                <a:gd name="T19" fmla="*/ 13 h 91"/>
                <a:gd name="T20" fmla="*/ 58 w 106"/>
                <a:gd name="T21" fmla="*/ 15 h 91"/>
                <a:gd name="T22" fmla="*/ 51 w 106"/>
                <a:gd name="T23" fmla="*/ 21 h 91"/>
                <a:gd name="T24" fmla="*/ 46 w 106"/>
                <a:gd name="T25" fmla="*/ 25 h 91"/>
                <a:gd name="T26" fmla="*/ 40 w 106"/>
                <a:gd name="T27" fmla="*/ 21 h 91"/>
                <a:gd name="T28" fmla="*/ 39 w 106"/>
                <a:gd name="T29" fmla="*/ 21 h 91"/>
                <a:gd name="T30" fmla="*/ 31 w 106"/>
                <a:gd name="T31" fmla="*/ 27 h 91"/>
                <a:gd name="T32" fmla="*/ 28 w 106"/>
                <a:gd name="T33" fmla="*/ 26 h 91"/>
                <a:gd name="T34" fmla="*/ 26 w 106"/>
                <a:gd name="T35" fmla="*/ 27 h 91"/>
                <a:gd name="T36" fmla="*/ 27 w 106"/>
                <a:gd name="T37" fmla="*/ 31 h 91"/>
                <a:gd name="T38" fmla="*/ 25 w 106"/>
                <a:gd name="T39" fmla="*/ 37 h 91"/>
                <a:gd name="T40" fmla="*/ 22 w 106"/>
                <a:gd name="T41" fmla="*/ 38 h 91"/>
                <a:gd name="T42" fmla="*/ 20 w 106"/>
                <a:gd name="T43" fmla="*/ 41 h 91"/>
                <a:gd name="T44" fmla="*/ 12 w 106"/>
                <a:gd name="T45" fmla="*/ 45 h 91"/>
                <a:gd name="T46" fmla="*/ 11 w 106"/>
                <a:gd name="T47" fmla="*/ 45 h 91"/>
                <a:gd name="T48" fmla="*/ 9 w 106"/>
                <a:gd name="T49" fmla="*/ 44 h 91"/>
                <a:gd name="T50" fmla="*/ 4 w 106"/>
                <a:gd name="T51" fmla="*/ 40 h 91"/>
                <a:gd name="T52" fmla="*/ 15 w 106"/>
                <a:gd name="T53" fmla="*/ 55 h 91"/>
                <a:gd name="T54" fmla="*/ 25 w 106"/>
                <a:gd name="T55" fmla="*/ 66 h 91"/>
                <a:gd name="T56" fmla="*/ 46 w 106"/>
                <a:gd name="T57" fmla="*/ 84 h 91"/>
                <a:gd name="T58" fmla="*/ 47 w 106"/>
                <a:gd name="T59" fmla="*/ 83 h 91"/>
                <a:gd name="T60" fmla="*/ 50 w 106"/>
                <a:gd name="T61" fmla="*/ 82 h 91"/>
                <a:gd name="T62" fmla="*/ 51 w 106"/>
                <a:gd name="T63" fmla="*/ 82 h 91"/>
                <a:gd name="T64" fmla="*/ 53 w 106"/>
                <a:gd name="T65" fmla="*/ 82 h 91"/>
                <a:gd name="T66" fmla="*/ 43 w 106"/>
                <a:gd name="T67" fmla="*/ 69 h 91"/>
                <a:gd name="T68" fmla="*/ 49 w 106"/>
                <a:gd name="T69" fmla="*/ 64 h 91"/>
                <a:gd name="T70" fmla="*/ 73 w 106"/>
                <a:gd name="T71" fmla="*/ 86 h 91"/>
                <a:gd name="T72" fmla="*/ 74 w 106"/>
                <a:gd name="T73" fmla="*/ 86 h 91"/>
                <a:gd name="T74" fmla="*/ 82 w 106"/>
                <a:gd name="T75" fmla="*/ 90 h 91"/>
                <a:gd name="T76" fmla="*/ 89 w 106"/>
                <a:gd name="T77" fmla="*/ 91 h 91"/>
                <a:gd name="T78" fmla="*/ 91 w 106"/>
                <a:gd name="T79" fmla="*/ 91 h 91"/>
                <a:gd name="T80" fmla="*/ 93 w 106"/>
                <a:gd name="T81" fmla="*/ 89 h 91"/>
                <a:gd name="T82" fmla="*/ 95 w 106"/>
                <a:gd name="T83" fmla="*/ 75 h 91"/>
                <a:gd name="T84" fmla="*/ 94 w 106"/>
                <a:gd name="T85" fmla="*/ 66 h 91"/>
                <a:gd name="T86" fmla="*/ 93 w 106"/>
                <a:gd name="T87" fmla="*/ 54 h 91"/>
                <a:gd name="T88" fmla="*/ 97 w 106"/>
                <a:gd name="T89" fmla="*/ 49 h 91"/>
                <a:gd name="T90" fmla="*/ 96 w 106"/>
                <a:gd name="T91" fmla="*/ 57 h 91"/>
                <a:gd name="T92" fmla="*/ 98 w 106"/>
                <a:gd name="T93" fmla="*/ 49 h 91"/>
                <a:gd name="T94" fmla="*/ 104 w 106"/>
                <a:gd name="T95" fmla="*/ 15 h 91"/>
                <a:gd name="T96" fmla="*/ 102 w 106"/>
                <a:gd name="T9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91">
                  <a:moveTo>
                    <a:pt x="102" y="0"/>
                  </a:moveTo>
                  <a:cubicBezTo>
                    <a:pt x="100" y="0"/>
                    <a:pt x="98" y="1"/>
                    <a:pt x="97" y="1"/>
                  </a:cubicBezTo>
                  <a:cubicBezTo>
                    <a:pt x="93" y="2"/>
                    <a:pt x="93" y="2"/>
                    <a:pt x="93" y="2"/>
                  </a:cubicBezTo>
                  <a:cubicBezTo>
                    <a:pt x="90" y="3"/>
                    <a:pt x="87" y="3"/>
                    <a:pt x="85" y="4"/>
                  </a:cubicBezTo>
                  <a:cubicBezTo>
                    <a:pt x="84" y="4"/>
                    <a:pt x="84" y="4"/>
                    <a:pt x="84" y="4"/>
                  </a:cubicBezTo>
                  <a:cubicBezTo>
                    <a:pt x="84" y="4"/>
                    <a:pt x="83" y="4"/>
                    <a:pt x="83" y="4"/>
                  </a:cubicBezTo>
                  <a:cubicBezTo>
                    <a:pt x="83" y="4"/>
                    <a:pt x="83" y="4"/>
                    <a:pt x="83" y="4"/>
                  </a:cubicBezTo>
                  <a:cubicBezTo>
                    <a:pt x="82" y="4"/>
                    <a:pt x="82" y="5"/>
                    <a:pt x="82" y="5"/>
                  </a:cubicBezTo>
                  <a:cubicBezTo>
                    <a:pt x="81" y="5"/>
                    <a:pt x="80" y="5"/>
                    <a:pt x="80" y="6"/>
                  </a:cubicBezTo>
                  <a:cubicBezTo>
                    <a:pt x="79" y="6"/>
                    <a:pt x="79" y="6"/>
                    <a:pt x="79" y="6"/>
                  </a:cubicBezTo>
                  <a:cubicBezTo>
                    <a:pt x="78" y="6"/>
                    <a:pt x="78" y="6"/>
                    <a:pt x="77" y="6"/>
                  </a:cubicBezTo>
                  <a:cubicBezTo>
                    <a:pt x="74" y="6"/>
                    <a:pt x="72" y="5"/>
                    <a:pt x="71" y="4"/>
                  </a:cubicBezTo>
                  <a:cubicBezTo>
                    <a:pt x="70" y="3"/>
                    <a:pt x="70" y="3"/>
                    <a:pt x="70" y="3"/>
                  </a:cubicBezTo>
                  <a:cubicBezTo>
                    <a:pt x="69" y="3"/>
                    <a:pt x="68" y="2"/>
                    <a:pt x="68" y="2"/>
                  </a:cubicBezTo>
                  <a:cubicBezTo>
                    <a:pt x="68" y="2"/>
                    <a:pt x="68" y="2"/>
                    <a:pt x="68" y="2"/>
                  </a:cubicBezTo>
                  <a:cubicBezTo>
                    <a:pt x="67" y="2"/>
                    <a:pt x="66" y="3"/>
                    <a:pt x="66" y="3"/>
                  </a:cubicBezTo>
                  <a:cubicBezTo>
                    <a:pt x="66" y="4"/>
                    <a:pt x="66" y="5"/>
                    <a:pt x="65" y="6"/>
                  </a:cubicBezTo>
                  <a:cubicBezTo>
                    <a:pt x="65" y="7"/>
                    <a:pt x="64" y="7"/>
                    <a:pt x="63" y="7"/>
                  </a:cubicBezTo>
                  <a:cubicBezTo>
                    <a:pt x="63" y="8"/>
                    <a:pt x="63" y="9"/>
                    <a:pt x="63" y="10"/>
                  </a:cubicBezTo>
                  <a:cubicBezTo>
                    <a:pt x="63" y="11"/>
                    <a:pt x="63" y="12"/>
                    <a:pt x="62" y="13"/>
                  </a:cubicBezTo>
                  <a:cubicBezTo>
                    <a:pt x="61" y="14"/>
                    <a:pt x="60" y="14"/>
                    <a:pt x="59" y="15"/>
                  </a:cubicBezTo>
                  <a:cubicBezTo>
                    <a:pt x="58" y="15"/>
                    <a:pt x="58" y="15"/>
                    <a:pt x="58" y="15"/>
                  </a:cubicBezTo>
                  <a:cubicBezTo>
                    <a:pt x="56" y="17"/>
                    <a:pt x="54" y="18"/>
                    <a:pt x="53" y="19"/>
                  </a:cubicBezTo>
                  <a:cubicBezTo>
                    <a:pt x="52" y="20"/>
                    <a:pt x="52" y="20"/>
                    <a:pt x="51" y="21"/>
                  </a:cubicBezTo>
                  <a:cubicBezTo>
                    <a:pt x="51" y="21"/>
                    <a:pt x="51" y="21"/>
                    <a:pt x="51" y="21"/>
                  </a:cubicBezTo>
                  <a:cubicBezTo>
                    <a:pt x="50" y="23"/>
                    <a:pt x="49" y="25"/>
                    <a:pt x="46" y="25"/>
                  </a:cubicBezTo>
                  <a:cubicBezTo>
                    <a:pt x="46" y="25"/>
                    <a:pt x="45" y="24"/>
                    <a:pt x="43" y="24"/>
                  </a:cubicBezTo>
                  <a:cubicBezTo>
                    <a:pt x="42" y="23"/>
                    <a:pt x="41" y="22"/>
                    <a:pt x="40" y="21"/>
                  </a:cubicBezTo>
                  <a:cubicBezTo>
                    <a:pt x="40" y="21"/>
                    <a:pt x="40" y="21"/>
                    <a:pt x="40" y="21"/>
                  </a:cubicBezTo>
                  <a:cubicBezTo>
                    <a:pt x="39" y="21"/>
                    <a:pt x="39" y="21"/>
                    <a:pt x="39" y="21"/>
                  </a:cubicBezTo>
                  <a:cubicBezTo>
                    <a:pt x="38" y="23"/>
                    <a:pt x="37" y="24"/>
                    <a:pt x="36" y="25"/>
                  </a:cubicBezTo>
                  <a:cubicBezTo>
                    <a:pt x="34" y="26"/>
                    <a:pt x="33" y="27"/>
                    <a:pt x="31" y="27"/>
                  </a:cubicBezTo>
                  <a:cubicBezTo>
                    <a:pt x="30" y="27"/>
                    <a:pt x="30" y="27"/>
                    <a:pt x="29" y="26"/>
                  </a:cubicBezTo>
                  <a:cubicBezTo>
                    <a:pt x="28" y="26"/>
                    <a:pt x="28" y="26"/>
                    <a:pt x="28" y="26"/>
                  </a:cubicBezTo>
                  <a:cubicBezTo>
                    <a:pt x="28" y="26"/>
                    <a:pt x="27" y="26"/>
                    <a:pt x="26" y="26"/>
                  </a:cubicBezTo>
                  <a:cubicBezTo>
                    <a:pt x="26" y="27"/>
                    <a:pt x="26" y="27"/>
                    <a:pt x="26" y="27"/>
                  </a:cubicBezTo>
                  <a:cubicBezTo>
                    <a:pt x="26" y="28"/>
                    <a:pt x="26" y="29"/>
                    <a:pt x="26" y="30"/>
                  </a:cubicBezTo>
                  <a:cubicBezTo>
                    <a:pt x="27" y="31"/>
                    <a:pt x="27" y="31"/>
                    <a:pt x="27" y="31"/>
                  </a:cubicBezTo>
                  <a:cubicBezTo>
                    <a:pt x="27" y="32"/>
                    <a:pt x="27" y="32"/>
                    <a:pt x="27" y="33"/>
                  </a:cubicBezTo>
                  <a:cubicBezTo>
                    <a:pt x="27" y="35"/>
                    <a:pt x="26" y="36"/>
                    <a:pt x="25" y="37"/>
                  </a:cubicBezTo>
                  <a:cubicBezTo>
                    <a:pt x="24" y="38"/>
                    <a:pt x="24" y="38"/>
                    <a:pt x="24" y="38"/>
                  </a:cubicBezTo>
                  <a:cubicBezTo>
                    <a:pt x="24" y="38"/>
                    <a:pt x="23" y="38"/>
                    <a:pt x="22" y="38"/>
                  </a:cubicBezTo>
                  <a:cubicBezTo>
                    <a:pt x="22" y="38"/>
                    <a:pt x="22" y="38"/>
                    <a:pt x="22" y="38"/>
                  </a:cubicBezTo>
                  <a:cubicBezTo>
                    <a:pt x="22" y="39"/>
                    <a:pt x="21" y="40"/>
                    <a:pt x="20" y="41"/>
                  </a:cubicBezTo>
                  <a:cubicBezTo>
                    <a:pt x="20" y="42"/>
                    <a:pt x="20" y="42"/>
                    <a:pt x="20" y="42"/>
                  </a:cubicBezTo>
                  <a:cubicBezTo>
                    <a:pt x="17" y="44"/>
                    <a:pt x="16" y="45"/>
                    <a:pt x="12" y="45"/>
                  </a:cubicBezTo>
                  <a:cubicBezTo>
                    <a:pt x="11" y="45"/>
                    <a:pt x="11" y="45"/>
                    <a:pt x="11" y="45"/>
                  </a:cubicBezTo>
                  <a:cubicBezTo>
                    <a:pt x="11" y="45"/>
                    <a:pt x="11" y="45"/>
                    <a:pt x="11" y="45"/>
                  </a:cubicBezTo>
                  <a:cubicBezTo>
                    <a:pt x="10" y="45"/>
                    <a:pt x="10" y="45"/>
                    <a:pt x="10" y="45"/>
                  </a:cubicBezTo>
                  <a:cubicBezTo>
                    <a:pt x="9" y="44"/>
                    <a:pt x="9" y="44"/>
                    <a:pt x="9" y="44"/>
                  </a:cubicBezTo>
                  <a:cubicBezTo>
                    <a:pt x="9" y="44"/>
                    <a:pt x="9" y="44"/>
                    <a:pt x="9" y="44"/>
                  </a:cubicBezTo>
                  <a:cubicBezTo>
                    <a:pt x="6" y="43"/>
                    <a:pt x="6" y="42"/>
                    <a:pt x="4" y="40"/>
                  </a:cubicBezTo>
                  <a:cubicBezTo>
                    <a:pt x="3" y="42"/>
                    <a:pt x="0" y="43"/>
                    <a:pt x="3" y="45"/>
                  </a:cubicBezTo>
                  <a:cubicBezTo>
                    <a:pt x="6" y="48"/>
                    <a:pt x="11" y="52"/>
                    <a:pt x="15" y="55"/>
                  </a:cubicBezTo>
                  <a:cubicBezTo>
                    <a:pt x="17" y="56"/>
                    <a:pt x="19" y="58"/>
                    <a:pt x="22" y="60"/>
                  </a:cubicBezTo>
                  <a:cubicBezTo>
                    <a:pt x="23" y="61"/>
                    <a:pt x="24" y="64"/>
                    <a:pt x="25" y="66"/>
                  </a:cubicBezTo>
                  <a:cubicBezTo>
                    <a:pt x="30" y="73"/>
                    <a:pt x="38" y="79"/>
                    <a:pt x="45" y="85"/>
                  </a:cubicBezTo>
                  <a:cubicBezTo>
                    <a:pt x="46" y="84"/>
                    <a:pt x="46" y="84"/>
                    <a:pt x="46" y="84"/>
                  </a:cubicBezTo>
                  <a:cubicBezTo>
                    <a:pt x="47" y="83"/>
                    <a:pt x="47" y="83"/>
                    <a:pt x="47" y="83"/>
                  </a:cubicBezTo>
                  <a:cubicBezTo>
                    <a:pt x="47" y="83"/>
                    <a:pt x="47" y="83"/>
                    <a:pt x="47" y="83"/>
                  </a:cubicBezTo>
                  <a:cubicBezTo>
                    <a:pt x="48" y="82"/>
                    <a:pt x="48" y="82"/>
                    <a:pt x="48" y="82"/>
                  </a:cubicBezTo>
                  <a:cubicBezTo>
                    <a:pt x="49" y="82"/>
                    <a:pt x="49" y="82"/>
                    <a:pt x="50" y="82"/>
                  </a:cubicBezTo>
                  <a:cubicBezTo>
                    <a:pt x="50" y="82"/>
                    <a:pt x="50" y="82"/>
                    <a:pt x="51" y="82"/>
                  </a:cubicBezTo>
                  <a:cubicBezTo>
                    <a:pt x="51" y="82"/>
                    <a:pt x="51" y="82"/>
                    <a:pt x="51" y="82"/>
                  </a:cubicBezTo>
                  <a:cubicBezTo>
                    <a:pt x="51" y="82"/>
                    <a:pt x="52" y="82"/>
                    <a:pt x="53" y="82"/>
                  </a:cubicBezTo>
                  <a:cubicBezTo>
                    <a:pt x="53" y="82"/>
                    <a:pt x="53" y="82"/>
                    <a:pt x="53" y="82"/>
                  </a:cubicBezTo>
                  <a:cubicBezTo>
                    <a:pt x="50" y="81"/>
                    <a:pt x="48" y="80"/>
                    <a:pt x="46" y="78"/>
                  </a:cubicBezTo>
                  <a:cubicBezTo>
                    <a:pt x="44" y="75"/>
                    <a:pt x="44" y="72"/>
                    <a:pt x="43" y="69"/>
                  </a:cubicBezTo>
                  <a:cubicBezTo>
                    <a:pt x="43" y="66"/>
                    <a:pt x="44" y="63"/>
                    <a:pt x="46" y="63"/>
                  </a:cubicBezTo>
                  <a:cubicBezTo>
                    <a:pt x="47" y="63"/>
                    <a:pt x="48" y="63"/>
                    <a:pt x="49" y="64"/>
                  </a:cubicBezTo>
                  <a:cubicBezTo>
                    <a:pt x="54" y="65"/>
                    <a:pt x="72" y="81"/>
                    <a:pt x="70" y="86"/>
                  </a:cubicBezTo>
                  <a:cubicBezTo>
                    <a:pt x="71" y="86"/>
                    <a:pt x="72" y="86"/>
                    <a:pt x="73" y="86"/>
                  </a:cubicBezTo>
                  <a:cubicBezTo>
                    <a:pt x="74" y="86"/>
                    <a:pt x="74" y="86"/>
                    <a:pt x="74" y="86"/>
                  </a:cubicBezTo>
                  <a:cubicBezTo>
                    <a:pt x="74" y="86"/>
                    <a:pt x="74" y="86"/>
                    <a:pt x="74" y="86"/>
                  </a:cubicBezTo>
                  <a:cubicBezTo>
                    <a:pt x="76" y="86"/>
                    <a:pt x="78" y="87"/>
                    <a:pt x="81" y="89"/>
                  </a:cubicBezTo>
                  <a:cubicBezTo>
                    <a:pt x="82" y="90"/>
                    <a:pt x="82" y="90"/>
                    <a:pt x="82" y="90"/>
                  </a:cubicBezTo>
                  <a:cubicBezTo>
                    <a:pt x="84" y="91"/>
                    <a:pt x="85" y="91"/>
                    <a:pt x="88" y="91"/>
                  </a:cubicBezTo>
                  <a:cubicBezTo>
                    <a:pt x="89" y="91"/>
                    <a:pt x="89" y="91"/>
                    <a:pt x="89" y="91"/>
                  </a:cubicBezTo>
                  <a:cubicBezTo>
                    <a:pt x="90" y="91"/>
                    <a:pt x="90" y="91"/>
                    <a:pt x="90" y="91"/>
                  </a:cubicBezTo>
                  <a:cubicBezTo>
                    <a:pt x="91" y="91"/>
                    <a:pt x="91" y="91"/>
                    <a:pt x="91" y="91"/>
                  </a:cubicBezTo>
                  <a:cubicBezTo>
                    <a:pt x="91" y="91"/>
                    <a:pt x="91" y="91"/>
                    <a:pt x="91" y="91"/>
                  </a:cubicBezTo>
                  <a:cubicBezTo>
                    <a:pt x="91" y="91"/>
                    <a:pt x="92" y="90"/>
                    <a:pt x="93" y="89"/>
                  </a:cubicBezTo>
                  <a:cubicBezTo>
                    <a:pt x="91" y="87"/>
                    <a:pt x="90" y="84"/>
                    <a:pt x="90" y="83"/>
                  </a:cubicBezTo>
                  <a:cubicBezTo>
                    <a:pt x="90" y="80"/>
                    <a:pt x="92" y="75"/>
                    <a:pt x="95" y="75"/>
                  </a:cubicBezTo>
                  <a:cubicBezTo>
                    <a:pt x="91" y="68"/>
                    <a:pt x="91" y="70"/>
                    <a:pt x="92" y="62"/>
                  </a:cubicBezTo>
                  <a:cubicBezTo>
                    <a:pt x="93" y="63"/>
                    <a:pt x="94" y="65"/>
                    <a:pt x="94" y="66"/>
                  </a:cubicBezTo>
                  <a:cubicBezTo>
                    <a:pt x="95" y="62"/>
                    <a:pt x="95" y="59"/>
                    <a:pt x="93" y="55"/>
                  </a:cubicBezTo>
                  <a:cubicBezTo>
                    <a:pt x="93" y="54"/>
                    <a:pt x="93" y="54"/>
                    <a:pt x="93" y="54"/>
                  </a:cubicBezTo>
                  <a:cubicBezTo>
                    <a:pt x="92" y="54"/>
                    <a:pt x="92" y="54"/>
                    <a:pt x="92" y="54"/>
                  </a:cubicBezTo>
                  <a:cubicBezTo>
                    <a:pt x="92" y="52"/>
                    <a:pt x="96" y="52"/>
                    <a:pt x="97" y="49"/>
                  </a:cubicBezTo>
                  <a:cubicBezTo>
                    <a:pt x="97" y="52"/>
                    <a:pt x="96" y="54"/>
                    <a:pt x="96" y="57"/>
                  </a:cubicBezTo>
                  <a:cubicBezTo>
                    <a:pt x="96" y="57"/>
                    <a:pt x="96" y="57"/>
                    <a:pt x="96" y="57"/>
                  </a:cubicBezTo>
                  <a:cubicBezTo>
                    <a:pt x="97" y="57"/>
                    <a:pt x="97" y="57"/>
                    <a:pt x="97" y="57"/>
                  </a:cubicBezTo>
                  <a:cubicBezTo>
                    <a:pt x="100" y="57"/>
                    <a:pt x="99" y="50"/>
                    <a:pt x="98" y="49"/>
                  </a:cubicBezTo>
                  <a:cubicBezTo>
                    <a:pt x="98" y="42"/>
                    <a:pt x="99" y="36"/>
                    <a:pt x="101" y="28"/>
                  </a:cubicBezTo>
                  <a:cubicBezTo>
                    <a:pt x="102" y="24"/>
                    <a:pt x="102" y="19"/>
                    <a:pt x="104" y="15"/>
                  </a:cubicBezTo>
                  <a:cubicBezTo>
                    <a:pt x="104" y="14"/>
                    <a:pt x="105" y="13"/>
                    <a:pt x="105" y="12"/>
                  </a:cubicBezTo>
                  <a:cubicBezTo>
                    <a:pt x="106" y="9"/>
                    <a:pt x="105" y="1"/>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1" name="Rectangle 262">
              <a:extLst>
                <a:ext uri="{FF2B5EF4-FFF2-40B4-BE49-F238E27FC236}">
                  <a16:creationId xmlns:a16="http://schemas.microsoft.com/office/drawing/2014/main" id="{1A0AEAE8-04DA-4E6E-B7AD-D56E962456BE}"/>
                </a:ext>
              </a:extLst>
            </p:cNvPr>
            <p:cNvSpPr>
              <a:spLocks noChangeArrowheads="1"/>
            </p:cNvSpPr>
            <p:nvPr/>
          </p:nvSpPr>
          <p:spPr bwMode="auto">
            <a:xfrm>
              <a:off x="6860300" y="915153"/>
              <a:ext cx="1412" cy="14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2" name="Freeform 263">
              <a:extLst>
                <a:ext uri="{FF2B5EF4-FFF2-40B4-BE49-F238E27FC236}">
                  <a16:creationId xmlns:a16="http://schemas.microsoft.com/office/drawing/2014/main" id="{AA5276EB-2A29-497B-9AF4-D46CFB5E4B28}"/>
                </a:ext>
              </a:extLst>
            </p:cNvPr>
            <p:cNvSpPr>
              <a:spLocks/>
            </p:cNvSpPr>
            <p:nvPr/>
          </p:nvSpPr>
          <p:spPr bwMode="auto">
            <a:xfrm>
              <a:off x="6860300" y="91515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3" name="Freeform 264">
              <a:extLst>
                <a:ext uri="{FF2B5EF4-FFF2-40B4-BE49-F238E27FC236}">
                  <a16:creationId xmlns:a16="http://schemas.microsoft.com/office/drawing/2014/main" id="{A2713492-274D-4AC2-B421-7E45256A7262}"/>
                </a:ext>
              </a:extLst>
            </p:cNvPr>
            <p:cNvSpPr>
              <a:spLocks/>
            </p:cNvSpPr>
            <p:nvPr/>
          </p:nvSpPr>
          <p:spPr bwMode="auto">
            <a:xfrm>
              <a:off x="6887133" y="888320"/>
              <a:ext cx="2825"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4" name="Freeform 265">
              <a:extLst>
                <a:ext uri="{FF2B5EF4-FFF2-40B4-BE49-F238E27FC236}">
                  <a16:creationId xmlns:a16="http://schemas.microsoft.com/office/drawing/2014/main" id="{0E3E7994-3ED4-4406-A584-DA5F80192953}"/>
                </a:ext>
              </a:extLst>
            </p:cNvPr>
            <p:cNvSpPr>
              <a:spLocks/>
            </p:cNvSpPr>
            <p:nvPr/>
          </p:nvSpPr>
          <p:spPr bwMode="auto">
            <a:xfrm>
              <a:off x="6887133" y="888320"/>
              <a:ext cx="2825" cy="0"/>
            </a:xfrm>
            <a:custGeom>
              <a:avLst/>
              <a:gdLst>
                <a:gd name="T0" fmla="*/ 0 w 2"/>
                <a:gd name="T1" fmla="*/ 0 w 2"/>
                <a:gd name="T2" fmla="*/ 0 w 2"/>
                <a:gd name="T3" fmla="*/ 2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5" name="Freeform 266">
              <a:extLst>
                <a:ext uri="{FF2B5EF4-FFF2-40B4-BE49-F238E27FC236}">
                  <a16:creationId xmlns:a16="http://schemas.microsoft.com/office/drawing/2014/main" id="{9311C68A-433F-4CEA-893D-F330B48BB7A6}"/>
                </a:ext>
              </a:extLst>
            </p:cNvPr>
            <p:cNvSpPr>
              <a:spLocks/>
            </p:cNvSpPr>
            <p:nvPr/>
          </p:nvSpPr>
          <p:spPr bwMode="auto">
            <a:xfrm>
              <a:off x="6843353" y="888320"/>
              <a:ext cx="168060" cy="93210"/>
            </a:xfrm>
            <a:custGeom>
              <a:avLst/>
              <a:gdLst>
                <a:gd name="T0" fmla="*/ 16 w 50"/>
                <a:gd name="T1" fmla="*/ 0 h 28"/>
                <a:gd name="T2" fmla="*/ 16 w 50"/>
                <a:gd name="T3" fmla="*/ 1 h 28"/>
                <a:gd name="T4" fmla="*/ 15 w 50"/>
                <a:gd name="T5" fmla="*/ 1 h 28"/>
                <a:gd name="T6" fmla="*/ 14 w 50"/>
                <a:gd name="T7" fmla="*/ 1 h 28"/>
                <a:gd name="T8" fmla="*/ 13 w 50"/>
                <a:gd name="T9" fmla="*/ 3 h 28"/>
                <a:gd name="T10" fmla="*/ 9 w 50"/>
                <a:gd name="T11" fmla="*/ 6 h 28"/>
                <a:gd name="T12" fmla="*/ 9 w 50"/>
                <a:gd name="T13" fmla="*/ 6 h 28"/>
                <a:gd name="T14" fmla="*/ 9 w 50"/>
                <a:gd name="T15" fmla="*/ 6 h 28"/>
                <a:gd name="T16" fmla="*/ 9 w 50"/>
                <a:gd name="T17" fmla="*/ 6 h 28"/>
                <a:gd name="T18" fmla="*/ 9 w 50"/>
                <a:gd name="T19" fmla="*/ 14 h 28"/>
                <a:gd name="T20" fmla="*/ 4 w 50"/>
                <a:gd name="T21" fmla="*/ 9 h 28"/>
                <a:gd name="T22" fmla="*/ 4 w 50"/>
                <a:gd name="T23" fmla="*/ 9 h 28"/>
                <a:gd name="T24" fmla="*/ 2 w 50"/>
                <a:gd name="T25" fmla="*/ 10 h 28"/>
                <a:gd name="T26" fmla="*/ 0 w 50"/>
                <a:gd name="T27" fmla="*/ 14 h 28"/>
                <a:gd name="T28" fmla="*/ 0 w 50"/>
                <a:gd name="T29" fmla="*/ 15 h 28"/>
                <a:gd name="T30" fmla="*/ 12 w 50"/>
                <a:gd name="T31" fmla="*/ 20 h 28"/>
                <a:gd name="T32" fmla="*/ 27 w 50"/>
                <a:gd name="T33" fmla="*/ 25 h 28"/>
                <a:gd name="T34" fmla="*/ 44 w 50"/>
                <a:gd name="T35" fmla="*/ 27 h 28"/>
                <a:gd name="T36" fmla="*/ 48 w 50"/>
                <a:gd name="T37" fmla="*/ 28 h 28"/>
                <a:gd name="T38" fmla="*/ 48 w 50"/>
                <a:gd name="T39" fmla="*/ 27 h 28"/>
                <a:gd name="T40" fmla="*/ 50 w 50"/>
                <a:gd name="T41" fmla="*/ 23 h 28"/>
                <a:gd name="T42" fmla="*/ 49 w 50"/>
                <a:gd name="T43" fmla="*/ 23 h 28"/>
                <a:gd name="T44" fmla="*/ 49 w 50"/>
                <a:gd name="T45" fmla="*/ 22 h 28"/>
                <a:gd name="T46" fmla="*/ 49 w 50"/>
                <a:gd name="T47" fmla="*/ 20 h 28"/>
                <a:gd name="T48" fmla="*/ 49 w 50"/>
                <a:gd name="T49" fmla="*/ 20 h 28"/>
                <a:gd name="T50" fmla="*/ 49 w 50"/>
                <a:gd name="T51" fmla="*/ 16 h 28"/>
                <a:gd name="T52" fmla="*/ 49 w 50"/>
                <a:gd name="T53" fmla="*/ 15 h 28"/>
                <a:gd name="T54" fmla="*/ 50 w 50"/>
                <a:gd name="T55" fmla="*/ 13 h 28"/>
                <a:gd name="T56" fmla="*/ 50 w 50"/>
                <a:gd name="T57" fmla="*/ 13 h 28"/>
                <a:gd name="T58" fmla="*/ 49 w 50"/>
                <a:gd name="T59" fmla="*/ 13 h 28"/>
                <a:gd name="T60" fmla="*/ 48 w 50"/>
                <a:gd name="T61" fmla="*/ 13 h 28"/>
                <a:gd name="T62" fmla="*/ 48 w 50"/>
                <a:gd name="T63" fmla="*/ 13 h 28"/>
                <a:gd name="T64" fmla="*/ 47 w 50"/>
                <a:gd name="T65" fmla="*/ 13 h 28"/>
                <a:gd name="T66" fmla="*/ 46 w 50"/>
                <a:gd name="T67" fmla="*/ 12 h 28"/>
                <a:gd name="T68" fmla="*/ 43 w 50"/>
                <a:gd name="T69" fmla="*/ 11 h 28"/>
                <a:gd name="T70" fmla="*/ 43 w 50"/>
                <a:gd name="T71" fmla="*/ 10 h 28"/>
                <a:gd name="T72" fmla="*/ 43 w 50"/>
                <a:gd name="T73" fmla="*/ 10 h 28"/>
                <a:gd name="T74" fmla="*/ 42 w 50"/>
                <a:gd name="T75" fmla="*/ 10 h 28"/>
                <a:gd name="T76" fmla="*/ 41 w 50"/>
                <a:gd name="T77" fmla="*/ 12 h 28"/>
                <a:gd name="T78" fmla="*/ 39 w 50"/>
                <a:gd name="T79" fmla="*/ 12 h 28"/>
                <a:gd name="T80" fmla="*/ 37 w 50"/>
                <a:gd name="T81" fmla="*/ 13 h 28"/>
                <a:gd name="T82" fmla="*/ 36 w 50"/>
                <a:gd name="T83" fmla="*/ 13 h 28"/>
                <a:gd name="T84" fmla="*/ 31 w 50"/>
                <a:gd name="T85" fmla="*/ 14 h 28"/>
                <a:gd name="T86" fmla="*/ 32 w 50"/>
                <a:gd name="T87" fmla="*/ 10 h 28"/>
                <a:gd name="T88" fmla="*/ 31 w 50"/>
                <a:gd name="T89" fmla="*/ 10 h 28"/>
                <a:gd name="T90" fmla="*/ 30 w 50"/>
                <a:gd name="T91" fmla="*/ 10 h 28"/>
                <a:gd name="T92" fmla="*/ 27 w 50"/>
                <a:gd name="T93" fmla="*/ 8 h 28"/>
                <a:gd name="T94" fmla="*/ 27 w 50"/>
                <a:gd name="T95" fmla="*/ 7 h 28"/>
                <a:gd name="T96" fmla="*/ 25 w 50"/>
                <a:gd name="T97" fmla="*/ 6 h 28"/>
                <a:gd name="T98" fmla="*/ 22 w 50"/>
                <a:gd name="T99" fmla="*/ 10 h 28"/>
                <a:gd name="T100" fmla="*/ 24 w 50"/>
                <a:gd name="T101" fmla="*/ 5 h 28"/>
                <a:gd name="T102" fmla="*/ 21 w 50"/>
                <a:gd name="T103" fmla="*/ 3 h 28"/>
                <a:gd name="T104" fmla="*/ 19 w 50"/>
                <a:gd name="T105" fmla="*/ 1 h 28"/>
                <a:gd name="T106" fmla="*/ 19 w 50"/>
                <a:gd name="T107" fmla="*/ 1 h 28"/>
                <a:gd name="T108" fmla="*/ 16 w 50"/>
                <a:gd name="T109" fmla="*/ 0 h 28"/>
                <a:gd name="T110" fmla="*/ 16 w 50"/>
                <a:gd name="T11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28">
                  <a:moveTo>
                    <a:pt x="16" y="0"/>
                  </a:moveTo>
                  <a:cubicBezTo>
                    <a:pt x="16" y="1"/>
                    <a:pt x="16" y="1"/>
                    <a:pt x="16" y="1"/>
                  </a:cubicBezTo>
                  <a:cubicBezTo>
                    <a:pt x="15" y="1"/>
                    <a:pt x="15" y="1"/>
                    <a:pt x="15" y="1"/>
                  </a:cubicBezTo>
                  <a:cubicBezTo>
                    <a:pt x="14" y="1"/>
                    <a:pt x="14" y="1"/>
                    <a:pt x="14" y="1"/>
                  </a:cubicBezTo>
                  <a:cubicBezTo>
                    <a:pt x="14" y="2"/>
                    <a:pt x="14" y="3"/>
                    <a:pt x="13" y="3"/>
                  </a:cubicBezTo>
                  <a:cubicBezTo>
                    <a:pt x="12" y="5"/>
                    <a:pt x="10" y="6"/>
                    <a:pt x="9" y="6"/>
                  </a:cubicBezTo>
                  <a:cubicBezTo>
                    <a:pt x="9" y="6"/>
                    <a:pt x="9" y="6"/>
                    <a:pt x="9" y="6"/>
                  </a:cubicBezTo>
                  <a:cubicBezTo>
                    <a:pt x="9" y="6"/>
                    <a:pt x="9" y="6"/>
                    <a:pt x="9" y="6"/>
                  </a:cubicBezTo>
                  <a:cubicBezTo>
                    <a:pt x="9" y="6"/>
                    <a:pt x="9" y="6"/>
                    <a:pt x="9" y="6"/>
                  </a:cubicBezTo>
                  <a:cubicBezTo>
                    <a:pt x="9" y="14"/>
                    <a:pt x="9" y="14"/>
                    <a:pt x="9" y="14"/>
                  </a:cubicBezTo>
                  <a:cubicBezTo>
                    <a:pt x="4" y="9"/>
                    <a:pt x="4" y="9"/>
                    <a:pt x="4" y="9"/>
                  </a:cubicBezTo>
                  <a:cubicBezTo>
                    <a:pt x="4" y="9"/>
                    <a:pt x="4" y="9"/>
                    <a:pt x="4" y="9"/>
                  </a:cubicBezTo>
                  <a:cubicBezTo>
                    <a:pt x="3" y="9"/>
                    <a:pt x="2" y="10"/>
                    <a:pt x="2" y="10"/>
                  </a:cubicBezTo>
                  <a:cubicBezTo>
                    <a:pt x="2" y="10"/>
                    <a:pt x="1" y="12"/>
                    <a:pt x="0" y="14"/>
                  </a:cubicBezTo>
                  <a:cubicBezTo>
                    <a:pt x="0" y="15"/>
                    <a:pt x="0" y="15"/>
                    <a:pt x="0" y="15"/>
                  </a:cubicBezTo>
                  <a:cubicBezTo>
                    <a:pt x="4" y="17"/>
                    <a:pt x="8" y="19"/>
                    <a:pt x="12" y="20"/>
                  </a:cubicBezTo>
                  <a:cubicBezTo>
                    <a:pt x="18" y="21"/>
                    <a:pt x="22" y="23"/>
                    <a:pt x="27" y="25"/>
                  </a:cubicBezTo>
                  <a:cubicBezTo>
                    <a:pt x="32" y="27"/>
                    <a:pt x="38" y="26"/>
                    <a:pt x="44" y="27"/>
                  </a:cubicBezTo>
                  <a:cubicBezTo>
                    <a:pt x="44" y="27"/>
                    <a:pt x="46" y="28"/>
                    <a:pt x="48" y="28"/>
                  </a:cubicBezTo>
                  <a:cubicBezTo>
                    <a:pt x="48" y="28"/>
                    <a:pt x="48" y="27"/>
                    <a:pt x="48" y="27"/>
                  </a:cubicBezTo>
                  <a:cubicBezTo>
                    <a:pt x="49" y="27"/>
                    <a:pt x="50" y="25"/>
                    <a:pt x="50" y="23"/>
                  </a:cubicBezTo>
                  <a:cubicBezTo>
                    <a:pt x="49" y="23"/>
                    <a:pt x="49" y="23"/>
                    <a:pt x="49" y="23"/>
                  </a:cubicBezTo>
                  <a:cubicBezTo>
                    <a:pt x="49" y="22"/>
                    <a:pt x="49" y="22"/>
                    <a:pt x="49" y="22"/>
                  </a:cubicBezTo>
                  <a:cubicBezTo>
                    <a:pt x="49" y="22"/>
                    <a:pt x="49" y="21"/>
                    <a:pt x="49" y="20"/>
                  </a:cubicBezTo>
                  <a:cubicBezTo>
                    <a:pt x="49" y="20"/>
                    <a:pt x="49" y="20"/>
                    <a:pt x="49" y="20"/>
                  </a:cubicBezTo>
                  <a:cubicBezTo>
                    <a:pt x="49" y="18"/>
                    <a:pt x="49" y="17"/>
                    <a:pt x="49" y="16"/>
                  </a:cubicBezTo>
                  <a:cubicBezTo>
                    <a:pt x="49" y="16"/>
                    <a:pt x="49" y="15"/>
                    <a:pt x="49" y="15"/>
                  </a:cubicBezTo>
                  <a:cubicBezTo>
                    <a:pt x="50" y="14"/>
                    <a:pt x="50" y="13"/>
                    <a:pt x="50" y="13"/>
                  </a:cubicBezTo>
                  <a:cubicBezTo>
                    <a:pt x="50" y="13"/>
                    <a:pt x="50" y="13"/>
                    <a:pt x="50" y="13"/>
                  </a:cubicBezTo>
                  <a:cubicBezTo>
                    <a:pt x="50" y="13"/>
                    <a:pt x="49" y="13"/>
                    <a:pt x="49" y="13"/>
                  </a:cubicBezTo>
                  <a:cubicBezTo>
                    <a:pt x="49" y="13"/>
                    <a:pt x="48" y="13"/>
                    <a:pt x="48" y="13"/>
                  </a:cubicBezTo>
                  <a:cubicBezTo>
                    <a:pt x="48" y="13"/>
                    <a:pt x="48" y="13"/>
                    <a:pt x="48" y="13"/>
                  </a:cubicBezTo>
                  <a:cubicBezTo>
                    <a:pt x="47" y="13"/>
                    <a:pt x="47" y="13"/>
                    <a:pt x="47" y="13"/>
                  </a:cubicBezTo>
                  <a:cubicBezTo>
                    <a:pt x="46" y="12"/>
                    <a:pt x="46" y="12"/>
                    <a:pt x="46" y="12"/>
                  </a:cubicBezTo>
                  <a:cubicBezTo>
                    <a:pt x="45" y="12"/>
                    <a:pt x="44" y="11"/>
                    <a:pt x="43" y="11"/>
                  </a:cubicBezTo>
                  <a:cubicBezTo>
                    <a:pt x="43" y="10"/>
                    <a:pt x="43" y="10"/>
                    <a:pt x="43" y="10"/>
                  </a:cubicBezTo>
                  <a:cubicBezTo>
                    <a:pt x="43" y="10"/>
                    <a:pt x="43" y="10"/>
                    <a:pt x="43" y="10"/>
                  </a:cubicBezTo>
                  <a:cubicBezTo>
                    <a:pt x="42" y="10"/>
                    <a:pt x="42" y="10"/>
                    <a:pt x="42" y="10"/>
                  </a:cubicBezTo>
                  <a:cubicBezTo>
                    <a:pt x="42" y="11"/>
                    <a:pt x="42" y="11"/>
                    <a:pt x="41" y="12"/>
                  </a:cubicBezTo>
                  <a:cubicBezTo>
                    <a:pt x="41" y="12"/>
                    <a:pt x="40" y="12"/>
                    <a:pt x="39" y="12"/>
                  </a:cubicBezTo>
                  <a:cubicBezTo>
                    <a:pt x="37" y="13"/>
                    <a:pt x="37" y="13"/>
                    <a:pt x="37" y="13"/>
                  </a:cubicBezTo>
                  <a:cubicBezTo>
                    <a:pt x="37" y="13"/>
                    <a:pt x="36" y="13"/>
                    <a:pt x="36" y="13"/>
                  </a:cubicBezTo>
                  <a:cubicBezTo>
                    <a:pt x="31" y="14"/>
                    <a:pt x="31" y="14"/>
                    <a:pt x="31" y="14"/>
                  </a:cubicBezTo>
                  <a:cubicBezTo>
                    <a:pt x="32" y="10"/>
                    <a:pt x="32" y="10"/>
                    <a:pt x="32" y="10"/>
                  </a:cubicBezTo>
                  <a:cubicBezTo>
                    <a:pt x="31" y="10"/>
                    <a:pt x="31" y="10"/>
                    <a:pt x="31" y="10"/>
                  </a:cubicBezTo>
                  <a:cubicBezTo>
                    <a:pt x="30" y="10"/>
                    <a:pt x="30" y="10"/>
                    <a:pt x="30" y="10"/>
                  </a:cubicBezTo>
                  <a:cubicBezTo>
                    <a:pt x="29" y="9"/>
                    <a:pt x="28" y="8"/>
                    <a:pt x="27" y="8"/>
                  </a:cubicBezTo>
                  <a:cubicBezTo>
                    <a:pt x="27" y="7"/>
                    <a:pt x="27" y="7"/>
                    <a:pt x="27" y="7"/>
                  </a:cubicBezTo>
                  <a:cubicBezTo>
                    <a:pt x="26" y="7"/>
                    <a:pt x="26" y="6"/>
                    <a:pt x="25" y="6"/>
                  </a:cubicBezTo>
                  <a:cubicBezTo>
                    <a:pt x="22" y="10"/>
                    <a:pt x="22" y="10"/>
                    <a:pt x="22" y="10"/>
                  </a:cubicBezTo>
                  <a:cubicBezTo>
                    <a:pt x="24" y="5"/>
                    <a:pt x="24" y="5"/>
                    <a:pt x="24" y="5"/>
                  </a:cubicBezTo>
                  <a:cubicBezTo>
                    <a:pt x="23" y="5"/>
                    <a:pt x="23" y="4"/>
                    <a:pt x="21" y="3"/>
                  </a:cubicBezTo>
                  <a:cubicBezTo>
                    <a:pt x="21" y="2"/>
                    <a:pt x="20" y="1"/>
                    <a:pt x="19" y="1"/>
                  </a:cubicBezTo>
                  <a:cubicBezTo>
                    <a:pt x="19" y="1"/>
                    <a:pt x="19" y="1"/>
                    <a:pt x="19" y="1"/>
                  </a:cubicBezTo>
                  <a:cubicBezTo>
                    <a:pt x="19" y="1"/>
                    <a:pt x="17" y="0"/>
                    <a:pt x="16" y="0"/>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6" name="Freeform 267">
              <a:extLst>
                <a:ext uri="{FF2B5EF4-FFF2-40B4-BE49-F238E27FC236}">
                  <a16:creationId xmlns:a16="http://schemas.microsoft.com/office/drawing/2014/main" id="{8AE78871-4EC0-48A8-8171-1FF71C877360}"/>
                </a:ext>
              </a:extLst>
            </p:cNvPr>
            <p:cNvSpPr>
              <a:spLocks/>
            </p:cNvSpPr>
            <p:nvPr/>
          </p:nvSpPr>
          <p:spPr bwMode="auto">
            <a:xfrm>
              <a:off x="6913966" y="751329"/>
              <a:ext cx="453339" cy="233025"/>
            </a:xfrm>
            <a:custGeom>
              <a:avLst/>
              <a:gdLst>
                <a:gd name="T0" fmla="*/ 60 w 136"/>
                <a:gd name="T1" fmla="*/ 6 h 70"/>
                <a:gd name="T2" fmla="*/ 53 w 136"/>
                <a:gd name="T3" fmla="*/ 6 h 70"/>
                <a:gd name="T4" fmla="*/ 33 w 136"/>
                <a:gd name="T5" fmla="*/ 3 h 70"/>
                <a:gd name="T6" fmla="*/ 23 w 136"/>
                <a:gd name="T7" fmla="*/ 8 h 70"/>
                <a:gd name="T8" fmla="*/ 16 w 136"/>
                <a:gd name="T9" fmla="*/ 14 h 70"/>
                <a:gd name="T10" fmla="*/ 8 w 136"/>
                <a:gd name="T11" fmla="*/ 21 h 70"/>
                <a:gd name="T12" fmla="*/ 1 w 136"/>
                <a:gd name="T13" fmla="*/ 25 h 70"/>
                <a:gd name="T14" fmla="*/ 4 w 136"/>
                <a:gd name="T15" fmla="*/ 25 h 70"/>
                <a:gd name="T16" fmla="*/ 2 w 136"/>
                <a:gd name="T17" fmla="*/ 32 h 70"/>
                <a:gd name="T18" fmla="*/ 0 w 136"/>
                <a:gd name="T19" fmla="*/ 36 h 70"/>
                <a:gd name="T20" fmla="*/ 7 w 136"/>
                <a:gd name="T21" fmla="*/ 42 h 70"/>
                <a:gd name="T22" fmla="*/ 15 w 136"/>
                <a:gd name="T23" fmla="*/ 47 h 70"/>
                <a:gd name="T24" fmla="*/ 17 w 136"/>
                <a:gd name="T25" fmla="*/ 48 h 70"/>
                <a:gd name="T26" fmla="*/ 21 w 136"/>
                <a:gd name="T27" fmla="*/ 45 h 70"/>
                <a:gd name="T28" fmla="*/ 27 w 136"/>
                <a:gd name="T29" fmla="*/ 48 h 70"/>
                <a:gd name="T30" fmla="*/ 35 w 136"/>
                <a:gd name="T31" fmla="*/ 54 h 70"/>
                <a:gd name="T32" fmla="*/ 34 w 136"/>
                <a:gd name="T33" fmla="*/ 58 h 70"/>
                <a:gd name="T34" fmla="*/ 34 w 136"/>
                <a:gd name="T35" fmla="*/ 62 h 70"/>
                <a:gd name="T36" fmla="*/ 37 w 136"/>
                <a:gd name="T37" fmla="*/ 65 h 70"/>
                <a:gd name="T38" fmla="*/ 43 w 136"/>
                <a:gd name="T39" fmla="*/ 69 h 70"/>
                <a:gd name="T40" fmla="*/ 47 w 136"/>
                <a:gd name="T41" fmla="*/ 67 h 70"/>
                <a:gd name="T42" fmla="*/ 48 w 136"/>
                <a:gd name="T43" fmla="*/ 65 h 70"/>
                <a:gd name="T44" fmla="*/ 52 w 136"/>
                <a:gd name="T45" fmla="*/ 62 h 70"/>
                <a:gd name="T46" fmla="*/ 59 w 136"/>
                <a:gd name="T47" fmla="*/ 50 h 70"/>
                <a:gd name="T48" fmla="*/ 67 w 136"/>
                <a:gd name="T49" fmla="*/ 47 h 70"/>
                <a:gd name="T50" fmla="*/ 72 w 136"/>
                <a:gd name="T51" fmla="*/ 43 h 70"/>
                <a:gd name="T52" fmla="*/ 75 w 136"/>
                <a:gd name="T53" fmla="*/ 47 h 70"/>
                <a:gd name="T54" fmla="*/ 77 w 136"/>
                <a:gd name="T55" fmla="*/ 48 h 70"/>
                <a:gd name="T56" fmla="*/ 86 w 136"/>
                <a:gd name="T57" fmla="*/ 40 h 70"/>
                <a:gd name="T58" fmla="*/ 88 w 136"/>
                <a:gd name="T59" fmla="*/ 37 h 70"/>
                <a:gd name="T60" fmla="*/ 92 w 136"/>
                <a:gd name="T61" fmla="*/ 32 h 70"/>
                <a:gd name="T62" fmla="*/ 99 w 136"/>
                <a:gd name="T63" fmla="*/ 26 h 70"/>
                <a:gd name="T64" fmla="*/ 105 w 136"/>
                <a:gd name="T65" fmla="*/ 29 h 70"/>
                <a:gd name="T66" fmla="*/ 109 w 136"/>
                <a:gd name="T67" fmla="*/ 30 h 70"/>
                <a:gd name="T68" fmla="*/ 112 w 136"/>
                <a:gd name="T69" fmla="*/ 29 h 70"/>
                <a:gd name="T70" fmla="*/ 123 w 136"/>
                <a:gd name="T71" fmla="*/ 26 h 70"/>
                <a:gd name="T72" fmla="*/ 135 w 136"/>
                <a:gd name="T73" fmla="*/ 23 h 70"/>
                <a:gd name="T74" fmla="*/ 125 w 136"/>
                <a:gd name="T75" fmla="*/ 20 h 70"/>
                <a:gd name="T76" fmla="*/ 117 w 136"/>
                <a:gd name="T77" fmla="*/ 17 h 70"/>
                <a:gd name="T78" fmla="*/ 124 w 136"/>
                <a:gd name="T79" fmla="*/ 15 h 70"/>
                <a:gd name="T80" fmla="*/ 110 w 136"/>
                <a:gd name="T81" fmla="*/ 6 h 70"/>
                <a:gd name="T82" fmla="*/ 95 w 136"/>
                <a:gd name="T83" fmla="*/ 1 h 70"/>
                <a:gd name="T84" fmla="*/ 87 w 136"/>
                <a:gd name="T85" fmla="*/ 3 h 70"/>
                <a:gd name="T86" fmla="*/ 73 w 136"/>
                <a:gd name="T8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0">
                  <a:moveTo>
                    <a:pt x="73" y="0"/>
                  </a:moveTo>
                  <a:cubicBezTo>
                    <a:pt x="74" y="1"/>
                    <a:pt x="73" y="2"/>
                    <a:pt x="72" y="3"/>
                  </a:cubicBezTo>
                  <a:cubicBezTo>
                    <a:pt x="68" y="4"/>
                    <a:pt x="64" y="6"/>
                    <a:pt x="60" y="6"/>
                  </a:cubicBezTo>
                  <a:cubicBezTo>
                    <a:pt x="60" y="6"/>
                    <a:pt x="59" y="6"/>
                    <a:pt x="59" y="6"/>
                  </a:cubicBezTo>
                  <a:cubicBezTo>
                    <a:pt x="58" y="6"/>
                    <a:pt x="58" y="6"/>
                    <a:pt x="57" y="6"/>
                  </a:cubicBezTo>
                  <a:cubicBezTo>
                    <a:pt x="56" y="6"/>
                    <a:pt x="54" y="6"/>
                    <a:pt x="53" y="6"/>
                  </a:cubicBezTo>
                  <a:cubicBezTo>
                    <a:pt x="52" y="6"/>
                    <a:pt x="51" y="6"/>
                    <a:pt x="49" y="6"/>
                  </a:cubicBezTo>
                  <a:cubicBezTo>
                    <a:pt x="48" y="6"/>
                    <a:pt x="47" y="6"/>
                    <a:pt x="46" y="6"/>
                  </a:cubicBezTo>
                  <a:cubicBezTo>
                    <a:pt x="42" y="5"/>
                    <a:pt x="37" y="4"/>
                    <a:pt x="33" y="3"/>
                  </a:cubicBezTo>
                  <a:cubicBezTo>
                    <a:pt x="32" y="3"/>
                    <a:pt x="32" y="3"/>
                    <a:pt x="32" y="3"/>
                  </a:cubicBezTo>
                  <a:cubicBezTo>
                    <a:pt x="30" y="3"/>
                    <a:pt x="25" y="5"/>
                    <a:pt x="22" y="7"/>
                  </a:cubicBezTo>
                  <a:cubicBezTo>
                    <a:pt x="23" y="8"/>
                    <a:pt x="23" y="8"/>
                    <a:pt x="23" y="8"/>
                  </a:cubicBezTo>
                  <a:cubicBezTo>
                    <a:pt x="22" y="9"/>
                    <a:pt x="22" y="9"/>
                    <a:pt x="22" y="9"/>
                  </a:cubicBezTo>
                  <a:cubicBezTo>
                    <a:pt x="21" y="10"/>
                    <a:pt x="19" y="12"/>
                    <a:pt x="17" y="13"/>
                  </a:cubicBezTo>
                  <a:cubicBezTo>
                    <a:pt x="16" y="14"/>
                    <a:pt x="16" y="14"/>
                    <a:pt x="16" y="14"/>
                  </a:cubicBezTo>
                  <a:cubicBezTo>
                    <a:pt x="16" y="15"/>
                    <a:pt x="15" y="15"/>
                    <a:pt x="15" y="16"/>
                  </a:cubicBezTo>
                  <a:cubicBezTo>
                    <a:pt x="13" y="17"/>
                    <a:pt x="10" y="19"/>
                    <a:pt x="8" y="21"/>
                  </a:cubicBezTo>
                  <a:cubicBezTo>
                    <a:pt x="8" y="21"/>
                    <a:pt x="8" y="21"/>
                    <a:pt x="8" y="21"/>
                  </a:cubicBezTo>
                  <a:cubicBezTo>
                    <a:pt x="7" y="22"/>
                    <a:pt x="6" y="23"/>
                    <a:pt x="5" y="23"/>
                  </a:cubicBezTo>
                  <a:cubicBezTo>
                    <a:pt x="3" y="24"/>
                    <a:pt x="3" y="24"/>
                    <a:pt x="3" y="24"/>
                  </a:cubicBezTo>
                  <a:cubicBezTo>
                    <a:pt x="2" y="24"/>
                    <a:pt x="2" y="25"/>
                    <a:pt x="1" y="25"/>
                  </a:cubicBezTo>
                  <a:cubicBezTo>
                    <a:pt x="1" y="25"/>
                    <a:pt x="1" y="26"/>
                    <a:pt x="1" y="26"/>
                  </a:cubicBezTo>
                  <a:cubicBezTo>
                    <a:pt x="1" y="27"/>
                    <a:pt x="1" y="27"/>
                    <a:pt x="1" y="27"/>
                  </a:cubicBezTo>
                  <a:cubicBezTo>
                    <a:pt x="4" y="25"/>
                    <a:pt x="4" y="25"/>
                    <a:pt x="4" y="25"/>
                  </a:cubicBezTo>
                  <a:cubicBezTo>
                    <a:pt x="1" y="29"/>
                    <a:pt x="1" y="29"/>
                    <a:pt x="1" y="29"/>
                  </a:cubicBezTo>
                  <a:cubicBezTo>
                    <a:pt x="1" y="29"/>
                    <a:pt x="1" y="30"/>
                    <a:pt x="1" y="30"/>
                  </a:cubicBezTo>
                  <a:cubicBezTo>
                    <a:pt x="1" y="31"/>
                    <a:pt x="2" y="31"/>
                    <a:pt x="2" y="32"/>
                  </a:cubicBezTo>
                  <a:cubicBezTo>
                    <a:pt x="2" y="33"/>
                    <a:pt x="1" y="34"/>
                    <a:pt x="1" y="34"/>
                  </a:cubicBezTo>
                  <a:cubicBezTo>
                    <a:pt x="1" y="35"/>
                    <a:pt x="1" y="35"/>
                    <a:pt x="1" y="35"/>
                  </a:cubicBezTo>
                  <a:cubicBezTo>
                    <a:pt x="1" y="35"/>
                    <a:pt x="0" y="36"/>
                    <a:pt x="0" y="36"/>
                  </a:cubicBezTo>
                  <a:cubicBezTo>
                    <a:pt x="1" y="36"/>
                    <a:pt x="2" y="37"/>
                    <a:pt x="4" y="40"/>
                  </a:cubicBezTo>
                  <a:cubicBezTo>
                    <a:pt x="5" y="40"/>
                    <a:pt x="6" y="42"/>
                    <a:pt x="7" y="42"/>
                  </a:cubicBezTo>
                  <a:cubicBezTo>
                    <a:pt x="7" y="42"/>
                    <a:pt x="7" y="42"/>
                    <a:pt x="7" y="42"/>
                  </a:cubicBezTo>
                  <a:cubicBezTo>
                    <a:pt x="8" y="43"/>
                    <a:pt x="9" y="43"/>
                    <a:pt x="10" y="44"/>
                  </a:cubicBezTo>
                  <a:cubicBezTo>
                    <a:pt x="10" y="44"/>
                    <a:pt x="11" y="45"/>
                    <a:pt x="11" y="45"/>
                  </a:cubicBezTo>
                  <a:cubicBezTo>
                    <a:pt x="13" y="45"/>
                    <a:pt x="14" y="46"/>
                    <a:pt x="15" y="47"/>
                  </a:cubicBezTo>
                  <a:cubicBezTo>
                    <a:pt x="15" y="47"/>
                    <a:pt x="16" y="47"/>
                    <a:pt x="16" y="48"/>
                  </a:cubicBezTo>
                  <a:cubicBezTo>
                    <a:pt x="17" y="48"/>
                    <a:pt x="17" y="48"/>
                    <a:pt x="17" y="48"/>
                  </a:cubicBezTo>
                  <a:cubicBezTo>
                    <a:pt x="17" y="48"/>
                    <a:pt x="17" y="48"/>
                    <a:pt x="17" y="48"/>
                  </a:cubicBezTo>
                  <a:cubicBezTo>
                    <a:pt x="17" y="48"/>
                    <a:pt x="17" y="48"/>
                    <a:pt x="17" y="48"/>
                  </a:cubicBezTo>
                  <a:cubicBezTo>
                    <a:pt x="17" y="47"/>
                    <a:pt x="18" y="47"/>
                    <a:pt x="19" y="46"/>
                  </a:cubicBezTo>
                  <a:cubicBezTo>
                    <a:pt x="19" y="46"/>
                    <a:pt x="20" y="45"/>
                    <a:pt x="21" y="45"/>
                  </a:cubicBezTo>
                  <a:cubicBezTo>
                    <a:pt x="23" y="45"/>
                    <a:pt x="24" y="46"/>
                    <a:pt x="26" y="47"/>
                  </a:cubicBezTo>
                  <a:cubicBezTo>
                    <a:pt x="26" y="47"/>
                    <a:pt x="26" y="47"/>
                    <a:pt x="26" y="47"/>
                  </a:cubicBezTo>
                  <a:cubicBezTo>
                    <a:pt x="26" y="47"/>
                    <a:pt x="26" y="48"/>
                    <a:pt x="27" y="48"/>
                  </a:cubicBezTo>
                  <a:cubicBezTo>
                    <a:pt x="28" y="48"/>
                    <a:pt x="30" y="48"/>
                    <a:pt x="32" y="49"/>
                  </a:cubicBezTo>
                  <a:cubicBezTo>
                    <a:pt x="33" y="49"/>
                    <a:pt x="33" y="49"/>
                    <a:pt x="33" y="49"/>
                  </a:cubicBezTo>
                  <a:cubicBezTo>
                    <a:pt x="34" y="50"/>
                    <a:pt x="35" y="52"/>
                    <a:pt x="35" y="54"/>
                  </a:cubicBezTo>
                  <a:cubicBezTo>
                    <a:pt x="35" y="55"/>
                    <a:pt x="34" y="56"/>
                    <a:pt x="34" y="57"/>
                  </a:cubicBezTo>
                  <a:cubicBezTo>
                    <a:pt x="34" y="58"/>
                    <a:pt x="34" y="58"/>
                    <a:pt x="34" y="58"/>
                  </a:cubicBezTo>
                  <a:cubicBezTo>
                    <a:pt x="34" y="58"/>
                    <a:pt x="34" y="58"/>
                    <a:pt x="34" y="58"/>
                  </a:cubicBezTo>
                  <a:cubicBezTo>
                    <a:pt x="34" y="59"/>
                    <a:pt x="34" y="59"/>
                    <a:pt x="34" y="60"/>
                  </a:cubicBezTo>
                  <a:cubicBezTo>
                    <a:pt x="34" y="61"/>
                    <a:pt x="34" y="61"/>
                    <a:pt x="34" y="61"/>
                  </a:cubicBezTo>
                  <a:cubicBezTo>
                    <a:pt x="34" y="62"/>
                    <a:pt x="34" y="62"/>
                    <a:pt x="34" y="62"/>
                  </a:cubicBezTo>
                  <a:cubicBezTo>
                    <a:pt x="34" y="62"/>
                    <a:pt x="34" y="62"/>
                    <a:pt x="34" y="62"/>
                  </a:cubicBezTo>
                  <a:cubicBezTo>
                    <a:pt x="36" y="62"/>
                    <a:pt x="38" y="62"/>
                    <a:pt x="40" y="63"/>
                  </a:cubicBezTo>
                  <a:cubicBezTo>
                    <a:pt x="39" y="63"/>
                    <a:pt x="37" y="65"/>
                    <a:pt x="37" y="65"/>
                  </a:cubicBezTo>
                  <a:cubicBezTo>
                    <a:pt x="36" y="67"/>
                    <a:pt x="40" y="68"/>
                    <a:pt x="41" y="70"/>
                  </a:cubicBezTo>
                  <a:cubicBezTo>
                    <a:pt x="41" y="69"/>
                    <a:pt x="41" y="69"/>
                    <a:pt x="41" y="69"/>
                  </a:cubicBezTo>
                  <a:cubicBezTo>
                    <a:pt x="43" y="69"/>
                    <a:pt x="43" y="69"/>
                    <a:pt x="43" y="69"/>
                  </a:cubicBezTo>
                  <a:cubicBezTo>
                    <a:pt x="43" y="69"/>
                    <a:pt x="43" y="69"/>
                    <a:pt x="43" y="69"/>
                  </a:cubicBezTo>
                  <a:cubicBezTo>
                    <a:pt x="45" y="69"/>
                    <a:pt x="45" y="69"/>
                    <a:pt x="47" y="67"/>
                  </a:cubicBezTo>
                  <a:cubicBezTo>
                    <a:pt x="47" y="67"/>
                    <a:pt x="47" y="67"/>
                    <a:pt x="47" y="67"/>
                  </a:cubicBezTo>
                  <a:cubicBezTo>
                    <a:pt x="48" y="67"/>
                    <a:pt x="48" y="67"/>
                    <a:pt x="48" y="67"/>
                  </a:cubicBezTo>
                  <a:cubicBezTo>
                    <a:pt x="48" y="66"/>
                    <a:pt x="48" y="66"/>
                    <a:pt x="48" y="66"/>
                  </a:cubicBezTo>
                  <a:cubicBezTo>
                    <a:pt x="48" y="65"/>
                    <a:pt x="48" y="65"/>
                    <a:pt x="48" y="65"/>
                  </a:cubicBezTo>
                  <a:cubicBezTo>
                    <a:pt x="49" y="63"/>
                    <a:pt x="51" y="63"/>
                    <a:pt x="52" y="63"/>
                  </a:cubicBezTo>
                  <a:cubicBezTo>
                    <a:pt x="52" y="62"/>
                    <a:pt x="52" y="62"/>
                    <a:pt x="52" y="62"/>
                  </a:cubicBezTo>
                  <a:cubicBezTo>
                    <a:pt x="52" y="62"/>
                    <a:pt x="52" y="62"/>
                    <a:pt x="52" y="62"/>
                  </a:cubicBezTo>
                  <a:cubicBezTo>
                    <a:pt x="52" y="60"/>
                    <a:pt x="51" y="59"/>
                    <a:pt x="51" y="58"/>
                  </a:cubicBezTo>
                  <a:cubicBezTo>
                    <a:pt x="51" y="56"/>
                    <a:pt x="51" y="54"/>
                    <a:pt x="52" y="52"/>
                  </a:cubicBezTo>
                  <a:cubicBezTo>
                    <a:pt x="53" y="51"/>
                    <a:pt x="59" y="50"/>
                    <a:pt x="59" y="50"/>
                  </a:cubicBezTo>
                  <a:cubicBezTo>
                    <a:pt x="60" y="50"/>
                    <a:pt x="61" y="51"/>
                    <a:pt x="62" y="51"/>
                  </a:cubicBezTo>
                  <a:cubicBezTo>
                    <a:pt x="62" y="51"/>
                    <a:pt x="62" y="51"/>
                    <a:pt x="62" y="51"/>
                  </a:cubicBezTo>
                  <a:cubicBezTo>
                    <a:pt x="64" y="49"/>
                    <a:pt x="65" y="48"/>
                    <a:pt x="67" y="47"/>
                  </a:cubicBezTo>
                  <a:cubicBezTo>
                    <a:pt x="68" y="46"/>
                    <a:pt x="68" y="46"/>
                    <a:pt x="68" y="46"/>
                  </a:cubicBezTo>
                  <a:cubicBezTo>
                    <a:pt x="69" y="45"/>
                    <a:pt x="70" y="44"/>
                    <a:pt x="71" y="44"/>
                  </a:cubicBezTo>
                  <a:cubicBezTo>
                    <a:pt x="72" y="43"/>
                    <a:pt x="72" y="43"/>
                    <a:pt x="72" y="43"/>
                  </a:cubicBezTo>
                  <a:cubicBezTo>
                    <a:pt x="74" y="45"/>
                    <a:pt x="74" y="45"/>
                    <a:pt x="74" y="45"/>
                  </a:cubicBezTo>
                  <a:cubicBezTo>
                    <a:pt x="74" y="45"/>
                    <a:pt x="74" y="46"/>
                    <a:pt x="74" y="47"/>
                  </a:cubicBezTo>
                  <a:cubicBezTo>
                    <a:pt x="75" y="47"/>
                    <a:pt x="75" y="47"/>
                    <a:pt x="75" y="47"/>
                  </a:cubicBezTo>
                  <a:cubicBezTo>
                    <a:pt x="75" y="48"/>
                    <a:pt x="76" y="48"/>
                    <a:pt x="77" y="49"/>
                  </a:cubicBezTo>
                  <a:cubicBezTo>
                    <a:pt x="77" y="49"/>
                    <a:pt x="77" y="49"/>
                    <a:pt x="77" y="49"/>
                  </a:cubicBezTo>
                  <a:cubicBezTo>
                    <a:pt x="77" y="48"/>
                    <a:pt x="77" y="48"/>
                    <a:pt x="77" y="48"/>
                  </a:cubicBezTo>
                  <a:cubicBezTo>
                    <a:pt x="78" y="48"/>
                    <a:pt x="78" y="48"/>
                    <a:pt x="78" y="48"/>
                  </a:cubicBezTo>
                  <a:cubicBezTo>
                    <a:pt x="78" y="47"/>
                    <a:pt x="79" y="46"/>
                    <a:pt x="80" y="45"/>
                  </a:cubicBezTo>
                  <a:cubicBezTo>
                    <a:pt x="82" y="43"/>
                    <a:pt x="84" y="42"/>
                    <a:pt x="86" y="40"/>
                  </a:cubicBezTo>
                  <a:cubicBezTo>
                    <a:pt x="87" y="40"/>
                    <a:pt x="88" y="39"/>
                    <a:pt x="88" y="39"/>
                  </a:cubicBezTo>
                  <a:cubicBezTo>
                    <a:pt x="89" y="38"/>
                    <a:pt x="88" y="38"/>
                    <a:pt x="88" y="37"/>
                  </a:cubicBezTo>
                  <a:cubicBezTo>
                    <a:pt x="88" y="37"/>
                    <a:pt x="88" y="37"/>
                    <a:pt x="88" y="37"/>
                  </a:cubicBezTo>
                  <a:cubicBezTo>
                    <a:pt x="88" y="36"/>
                    <a:pt x="88" y="36"/>
                    <a:pt x="88" y="36"/>
                  </a:cubicBezTo>
                  <a:cubicBezTo>
                    <a:pt x="88" y="35"/>
                    <a:pt x="88" y="35"/>
                    <a:pt x="88" y="35"/>
                  </a:cubicBezTo>
                  <a:cubicBezTo>
                    <a:pt x="88" y="34"/>
                    <a:pt x="89" y="32"/>
                    <a:pt x="92" y="32"/>
                  </a:cubicBezTo>
                  <a:cubicBezTo>
                    <a:pt x="92" y="29"/>
                    <a:pt x="95" y="27"/>
                    <a:pt x="97" y="26"/>
                  </a:cubicBezTo>
                  <a:cubicBezTo>
                    <a:pt x="98" y="26"/>
                    <a:pt x="98" y="26"/>
                    <a:pt x="99" y="26"/>
                  </a:cubicBezTo>
                  <a:cubicBezTo>
                    <a:pt x="99" y="26"/>
                    <a:pt x="99" y="26"/>
                    <a:pt x="99" y="26"/>
                  </a:cubicBezTo>
                  <a:cubicBezTo>
                    <a:pt x="101" y="26"/>
                    <a:pt x="101" y="26"/>
                    <a:pt x="101" y="26"/>
                  </a:cubicBezTo>
                  <a:cubicBezTo>
                    <a:pt x="101" y="27"/>
                    <a:pt x="101" y="27"/>
                    <a:pt x="101" y="27"/>
                  </a:cubicBezTo>
                  <a:cubicBezTo>
                    <a:pt x="102" y="27"/>
                    <a:pt x="103" y="28"/>
                    <a:pt x="105" y="29"/>
                  </a:cubicBezTo>
                  <a:cubicBezTo>
                    <a:pt x="106" y="30"/>
                    <a:pt x="107" y="30"/>
                    <a:pt x="108" y="30"/>
                  </a:cubicBezTo>
                  <a:cubicBezTo>
                    <a:pt x="108" y="30"/>
                    <a:pt x="108" y="30"/>
                    <a:pt x="108" y="30"/>
                  </a:cubicBezTo>
                  <a:cubicBezTo>
                    <a:pt x="109" y="30"/>
                    <a:pt x="109" y="30"/>
                    <a:pt x="109" y="30"/>
                  </a:cubicBezTo>
                  <a:cubicBezTo>
                    <a:pt x="110" y="30"/>
                    <a:pt x="110" y="30"/>
                    <a:pt x="110" y="30"/>
                  </a:cubicBezTo>
                  <a:cubicBezTo>
                    <a:pt x="110" y="30"/>
                    <a:pt x="110" y="30"/>
                    <a:pt x="110" y="30"/>
                  </a:cubicBezTo>
                  <a:cubicBezTo>
                    <a:pt x="111" y="29"/>
                    <a:pt x="111" y="29"/>
                    <a:pt x="112" y="29"/>
                  </a:cubicBezTo>
                  <a:cubicBezTo>
                    <a:pt x="113" y="29"/>
                    <a:pt x="113" y="29"/>
                    <a:pt x="114" y="29"/>
                  </a:cubicBezTo>
                  <a:cubicBezTo>
                    <a:pt x="115" y="28"/>
                    <a:pt x="115" y="28"/>
                    <a:pt x="115" y="28"/>
                  </a:cubicBezTo>
                  <a:cubicBezTo>
                    <a:pt x="117" y="28"/>
                    <a:pt x="120" y="27"/>
                    <a:pt x="123" y="26"/>
                  </a:cubicBezTo>
                  <a:cubicBezTo>
                    <a:pt x="127" y="25"/>
                    <a:pt x="132" y="24"/>
                    <a:pt x="136" y="23"/>
                  </a:cubicBezTo>
                  <a:cubicBezTo>
                    <a:pt x="136" y="23"/>
                    <a:pt x="136" y="23"/>
                    <a:pt x="136" y="23"/>
                  </a:cubicBezTo>
                  <a:cubicBezTo>
                    <a:pt x="136" y="23"/>
                    <a:pt x="135" y="23"/>
                    <a:pt x="135" y="23"/>
                  </a:cubicBezTo>
                  <a:cubicBezTo>
                    <a:pt x="132" y="22"/>
                    <a:pt x="129" y="21"/>
                    <a:pt x="127" y="21"/>
                  </a:cubicBezTo>
                  <a:cubicBezTo>
                    <a:pt x="128" y="20"/>
                    <a:pt x="129" y="19"/>
                    <a:pt x="129" y="18"/>
                  </a:cubicBezTo>
                  <a:cubicBezTo>
                    <a:pt x="128" y="18"/>
                    <a:pt x="125" y="20"/>
                    <a:pt x="125" y="20"/>
                  </a:cubicBezTo>
                  <a:cubicBezTo>
                    <a:pt x="125" y="20"/>
                    <a:pt x="125" y="20"/>
                    <a:pt x="125" y="20"/>
                  </a:cubicBezTo>
                  <a:cubicBezTo>
                    <a:pt x="123" y="20"/>
                    <a:pt x="122" y="19"/>
                    <a:pt x="121" y="19"/>
                  </a:cubicBezTo>
                  <a:cubicBezTo>
                    <a:pt x="120" y="18"/>
                    <a:pt x="119" y="19"/>
                    <a:pt x="117" y="17"/>
                  </a:cubicBezTo>
                  <a:cubicBezTo>
                    <a:pt x="117" y="16"/>
                    <a:pt x="116" y="13"/>
                    <a:pt x="118" y="12"/>
                  </a:cubicBezTo>
                  <a:cubicBezTo>
                    <a:pt x="119" y="13"/>
                    <a:pt x="119" y="13"/>
                    <a:pt x="119" y="13"/>
                  </a:cubicBezTo>
                  <a:cubicBezTo>
                    <a:pt x="120" y="13"/>
                    <a:pt x="122" y="15"/>
                    <a:pt x="124" y="15"/>
                  </a:cubicBezTo>
                  <a:cubicBezTo>
                    <a:pt x="124" y="15"/>
                    <a:pt x="124" y="15"/>
                    <a:pt x="124" y="15"/>
                  </a:cubicBezTo>
                  <a:cubicBezTo>
                    <a:pt x="122" y="13"/>
                    <a:pt x="119" y="11"/>
                    <a:pt x="116" y="9"/>
                  </a:cubicBezTo>
                  <a:cubicBezTo>
                    <a:pt x="113" y="6"/>
                    <a:pt x="113" y="6"/>
                    <a:pt x="110" y="6"/>
                  </a:cubicBezTo>
                  <a:cubicBezTo>
                    <a:pt x="110" y="6"/>
                    <a:pt x="109" y="6"/>
                    <a:pt x="108" y="6"/>
                  </a:cubicBezTo>
                  <a:cubicBezTo>
                    <a:pt x="107" y="6"/>
                    <a:pt x="107" y="6"/>
                    <a:pt x="106" y="6"/>
                  </a:cubicBezTo>
                  <a:cubicBezTo>
                    <a:pt x="102" y="6"/>
                    <a:pt x="100" y="4"/>
                    <a:pt x="95" y="1"/>
                  </a:cubicBezTo>
                  <a:cubicBezTo>
                    <a:pt x="95" y="1"/>
                    <a:pt x="95" y="1"/>
                    <a:pt x="94" y="1"/>
                  </a:cubicBezTo>
                  <a:cubicBezTo>
                    <a:pt x="93" y="1"/>
                    <a:pt x="92" y="2"/>
                    <a:pt x="91" y="2"/>
                  </a:cubicBezTo>
                  <a:cubicBezTo>
                    <a:pt x="89" y="3"/>
                    <a:pt x="88" y="3"/>
                    <a:pt x="87" y="3"/>
                  </a:cubicBezTo>
                  <a:cubicBezTo>
                    <a:pt x="87" y="3"/>
                    <a:pt x="87" y="3"/>
                    <a:pt x="87" y="3"/>
                  </a:cubicBezTo>
                  <a:cubicBezTo>
                    <a:pt x="83" y="3"/>
                    <a:pt x="80" y="2"/>
                    <a:pt x="77" y="1"/>
                  </a:cubicBezTo>
                  <a:cubicBezTo>
                    <a:pt x="76" y="1"/>
                    <a:pt x="74" y="1"/>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7" name="Freeform 268">
              <a:extLst>
                <a:ext uri="{FF2B5EF4-FFF2-40B4-BE49-F238E27FC236}">
                  <a16:creationId xmlns:a16="http://schemas.microsoft.com/office/drawing/2014/main" id="{3A43E76C-05F7-4F1B-A086-28E8C298E331}"/>
                </a:ext>
              </a:extLst>
            </p:cNvPr>
            <p:cNvSpPr>
              <a:spLocks/>
            </p:cNvSpPr>
            <p:nvPr/>
          </p:nvSpPr>
          <p:spPr bwMode="auto">
            <a:xfrm>
              <a:off x="6901256" y="8374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8" name="Freeform 269">
              <a:extLst>
                <a:ext uri="{FF2B5EF4-FFF2-40B4-BE49-F238E27FC236}">
                  <a16:creationId xmlns:a16="http://schemas.microsoft.com/office/drawing/2014/main" id="{54ED6D64-9611-42F0-846B-3DBFDDB31DC9}"/>
                </a:ext>
              </a:extLst>
            </p:cNvPr>
            <p:cNvSpPr>
              <a:spLocks/>
            </p:cNvSpPr>
            <p:nvPr/>
          </p:nvSpPr>
          <p:spPr bwMode="auto">
            <a:xfrm>
              <a:off x="6901256" y="837478"/>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9" name="Freeform 270">
              <a:extLst>
                <a:ext uri="{FF2B5EF4-FFF2-40B4-BE49-F238E27FC236}">
                  <a16:creationId xmlns:a16="http://schemas.microsoft.com/office/drawing/2014/main" id="{584C9924-0941-45DE-826B-DDDFB67C97C1}"/>
                </a:ext>
              </a:extLst>
            </p:cNvPr>
            <p:cNvSpPr>
              <a:spLocks/>
            </p:cNvSpPr>
            <p:nvPr/>
          </p:nvSpPr>
          <p:spPr bwMode="auto">
            <a:xfrm>
              <a:off x="6676705" y="617164"/>
              <a:ext cx="293752" cy="310700"/>
            </a:xfrm>
            <a:custGeom>
              <a:avLst/>
              <a:gdLst>
                <a:gd name="T0" fmla="*/ 29 w 88"/>
                <a:gd name="T1" fmla="*/ 0 h 93"/>
                <a:gd name="T2" fmla="*/ 30 w 88"/>
                <a:gd name="T3" fmla="*/ 10 h 93"/>
                <a:gd name="T4" fmla="*/ 30 w 88"/>
                <a:gd name="T5" fmla="*/ 11 h 93"/>
                <a:gd name="T6" fmla="*/ 24 w 88"/>
                <a:gd name="T7" fmla="*/ 14 h 93"/>
                <a:gd name="T8" fmla="*/ 29 w 88"/>
                <a:gd name="T9" fmla="*/ 18 h 93"/>
                <a:gd name="T10" fmla="*/ 32 w 88"/>
                <a:gd name="T11" fmla="*/ 21 h 93"/>
                <a:gd name="T12" fmla="*/ 39 w 88"/>
                <a:gd name="T13" fmla="*/ 27 h 93"/>
                <a:gd name="T14" fmla="*/ 42 w 88"/>
                <a:gd name="T15" fmla="*/ 29 h 93"/>
                <a:gd name="T16" fmla="*/ 43 w 88"/>
                <a:gd name="T17" fmla="*/ 34 h 93"/>
                <a:gd name="T18" fmla="*/ 43 w 88"/>
                <a:gd name="T19" fmla="*/ 36 h 93"/>
                <a:gd name="T20" fmla="*/ 38 w 88"/>
                <a:gd name="T21" fmla="*/ 42 h 93"/>
                <a:gd name="T22" fmla="*/ 24 w 88"/>
                <a:gd name="T23" fmla="*/ 42 h 93"/>
                <a:gd name="T24" fmla="*/ 16 w 88"/>
                <a:gd name="T25" fmla="*/ 42 h 93"/>
                <a:gd name="T26" fmla="*/ 12 w 88"/>
                <a:gd name="T27" fmla="*/ 44 h 93"/>
                <a:gd name="T28" fmla="*/ 9 w 88"/>
                <a:gd name="T29" fmla="*/ 46 h 93"/>
                <a:gd name="T30" fmla="*/ 3 w 88"/>
                <a:gd name="T31" fmla="*/ 57 h 93"/>
                <a:gd name="T32" fmla="*/ 2 w 88"/>
                <a:gd name="T33" fmla="*/ 58 h 93"/>
                <a:gd name="T34" fmla="*/ 2 w 88"/>
                <a:gd name="T35" fmla="*/ 58 h 93"/>
                <a:gd name="T36" fmla="*/ 3 w 88"/>
                <a:gd name="T37" fmla="*/ 59 h 93"/>
                <a:gd name="T38" fmla="*/ 4 w 88"/>
                <a:gd name="T39" fmla="*/ 64 h 93"/>
                <a:gd name="T40" fmla="*/ 3 w 88"/>
                <a:gd name="T41" fmla="*/ 66 h 93"/>
                <a:gd name="T42" fmla="*/ 2 w 88"/>
                <a:gd name="T43" fmla="*/ 69 h 93"/>
                <a:gd name="T44" fmla="*/ 2 w 88"/>
                <a:gd name="T45" fmla="*/ 71 h 93"/>
                <a:gd name="T46" fmla="*/ 2 w 88"/>
                <a:gd name="T47" fmla="*/ 73 h 93"/>
                <a:gd name="T48" fmla="*/ 1 w 88"/>
                <a:gd name="T49" fmla="*/ 76 h 93"/>
                <a:gd name="T50" fmla="*/ 1 w 88"/>
                <a:gd name="T51" fmla="*/ 78 h 93"/>
                <a:gd name="T52" fmla="*/ 26 w 88"/>
                <a:gd name="T53" fmla="*/ 90 h 93"/>
                <a:gd name="T54" fmla="*/ 31 w 88"/>
                <a:gd name="T55" fmla="*/ 90 h 93"/>
                <a:gd name="T56" fmla="*/ 35 w 88"/>
                <a:gd name="T57" fmla="*/ 90 h 93"/>
                <a:gd name="T58" fmla="*/ 45 w 88"/>
                <a:gd name="T59" fmla="*/ 93 h 93"/>
                <a:gd name="T60" fmla="*/ 48 w 88"/>
                <a:gd name="T61" fmla="*/ 88 h 93"/>
                <a:gd name="T62" fmla="*/ 54 w 88"/>
                <a:gd name="T63" fmla="*/ 84 h 93"/>
                <a:gd name="T64" fmla="*/ 57 w 88"/>
                <a:gd name="T65" fmla="*/ 82 h 93"/>
                <a:gd name="T66" fmla="*/ 62 w 88"/>
                <a:gd name="T67" fmla="*/ 75 h 93"/>
                <a:gd name="T68" fmla="*/ 64 w 88"/>
                <a:gd name="T69" fmla="*/ 75 h 93"/>
                <a:gd name="T70" fmla="*/ 67 w 88"/>
                <a:gd name="T71" fmla="*/ 72 h 93"/>
                <a:gd name="T72" fmla="*/ 66 w 88"/>
                <a:gd name="T73" fmla="*/ 69 h 93"/>
                <a:gd name="T74" fmla="*/ 66 w 88"/>
                <a:gd name="T75" fmla="*/ 65 h 93"/>
                <a:gd name="T76" fmla="*/ 67 w 88"/>
                <a:gd name="T77" fmla="*/ 63 h 93"/>
                <a:gd name="T78" fmla="*/ 73 w 88"/>
                <a:gd name="T79" fmla="*/ 60 h 93"/>
                <a:gd name="T80" fmla="*/ 73 w 88"/>
                <a:gd name="T81" fmla="*/ 58 h 93"/>
                <a:gd name="T82" fmla="*/ 76 w 88"/>
                <a:gd name="T83" fmla="*/ 56 h 93"/>
                <a:gd name="T84" fmla="*/ 84 w 88"/>
                <a:gd name="T85" fmla="*/ 50 h 93"/>
                <a:gd name="T86" fmla="*/ 88 w 88"/>
                <a:gd name="T87" fmla="*/ 46 h 93"/>
                <a:gd name="T88" fmla="*/ 85 w 88"/>
                <a:gd name="T89" fmla="*/ 45 h 93"/>
                <a:gd name="T90" fmla="*/ 77 w 88"/>
                <a:gd name="T91" fmla="*/ 44 h 93"/>
                <a:gd name="T92" fmla="*/ 77 w 88"/>
                <a:gd name="T93" fmla="*/ 45 h 93"/>
                <a:gd name="T94" fmla="*/ 75 w 88"/>
                <a:gd name="T95" fmla="*/ 46 h 93"/>
                <a:gd name="T96" fmla="*/ 73 w 88"/>
                <a:gd name="T97" fmla="*/ 47 h 93"/>
                <a:gd name="T98" fmla="*/ 73 w 88"/>
                <a:gd name="T99" fmla="*/ 46 h 93"/>
                <a:gd name="T100" fmla="*/ 69 w 88"/>
                <a:gd name="T101" fmla="*/ 46 h 93"/>
                <a:gd name="T102" fmla="*/ 65 w 88"/>
                <a:gd name="T103" fmla="*/ 42 h 93"/>
                <a:gd name="T104" fmla="*/ 67 w 88"/>
                <a:gd name="T105" fmla="*/ 12 h 93"/>
                <a:gd name="T106" fmla="*/ 67 w 88"/>
                <a:gd name="T107" fmla="*/ 4 h 93"/>
                <a:gd name="T108" fmla="*/ 37 w 88"/>
                <a:gd name="T109" fmla="*/ 0 h 93"/>
                <a:gd name="T110" fmla="*/ 34 w 88"/>
                <a:gd name="T11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93">
                  <a:moveTo>
                    <a:pt x="29" y="0"/>
                  </a:moveTo>
                  <a:cubicBezTo>
                    <a:pt x="29" y="0"/>
                    <a:pt x="29" y="0"/>
                    <a:pt x="29" y="0"/>
                  </a:cubicBezTo>
                  <a:cubicBezTo>
                    <a:pt x="29" y="2"/>
                    <a:pt x="29" y="6"/>
                    <a:pt x="30" y="7"/>
                  </a:cubicBezTo>
                  <a:cubicBezTo>
                    <a:pt x="30" y="8"/>
                    <a:pt x="30" y="9"/>
                    <a:pt x="30" y="10"/>
                  </a:cubicBezTo>
                  <a:cubicBezTo>
                    <a:pt x="30" y="11"/>
                    <a:pt x="30" y="11"/>
                    <a:pt x="30" y="11"/>
                  </a:cubicBezTo>
                  <a:cubicBezTo>
                    <a:pt x="30" y="11"/>
                    <a:pt x="30" y="11"/>
                    <a:pt x="30" y="11"/>
                  </a:cubicBezTo>
                  <a:cubicBezTo>
                    <a:pt x="29" y="13"/>
                    <a:pt x="27" y="14"/>
                    <a:pt x="26" y="14"/>
                  </a:cubicBezTo>
                  <a:cubicBezTo>
                    <a:pt x="24" y="14"/>
                    <a:pt x="24" y="14"/>
                    <a:pt x="24" y="14"/>
                  </a:cubicBezTo>
                  <a:cubicBezTo>
                    <a:pt x="26" y="15"/>
                    <a:pt x="26" y="15"/>
                    <a:pt x="26" y="15"/>
                  </a:cubicBezTo>
                  <a:cubicBezTo>
                    <a:pt x="27" y="16"/>
                    <a:pt x="28" y="17"/>
                    <a:pt x="29" y="18"/>
                  </a:cubicBezTo>
                  <a:cubicBezTo>
                    <a:pt x="30" y="19"/>
                    <a:pt x="31" y="20"/>
                    <a:pt x="31" y="21"/>
                  </a:cubicBezTo>
                  <a:cubicBezTo>
                    <a:pt x="32" y="21"/>
                    <a:pt x="32" y="21"/>
                    <a:pt x="32" y="21"/>
                  </a:cubicBezTo>
                  <a:cubicBezTo>
                    <a:pt x="34" y="23"/>
                    <a:pt x="36" y="25"/>
                    <a:pt x="38" y="27"/>
                  </a:cubicBezTo>
                  <a:cubicBezTo>
                    <a:pt x="39" y="27"/>
                    <a:pt x="39" y="27"/>
                    <a:pt x="39" y="27"/>
                  </a:cubicBezTo>
                  <a:cubicBezTo>
                    <a:pt x="39" y="27"/>
                    <a:pt x="39" y="27"/>
                    <a:pt x="40" y="28"/>
                  </a:cubicBezTo>
                  <a:cubicBezTo>
                    <a:pt x="41" y="28"/>
                    <a:pt x="41" y="28"/>
                    <a:pt x="42" y="29"/>
                  </a:cubicBezTo>
                  <a:cubicBezTo>
                    <a:pt x="42" y="29"/>
                    <a:pt x="42" y="29"/>
                    <a:pt x="42" y="29"/>
                  </a:cubicBezTo>
                  <a:cubicBezTo>
                    <a:pt x="44" y="31"/>
                    <a:pt x="44" y="32"/>
                    <a:pt x="43" y="34"/>
                  </a:cubicBezTo>
                  <a:cubicBezTo>
                    <a:pt x="43" y="35"/>
                    <a:pt x="43" y="35"/>
                    <a:pt x="43" y="36"/>
                  </a:cubicBezTo>
                  <a:cubicBezTo>
                    <a:pt x="43" y="36"/>
                    <a:pt x="43" y="36"/>
                    <a:pt x="43" y="36"/>
                  </a:cubicBezTo>
                  <a:cubicBezTo>
                    <a:pt x="43" y="37"/>
                    <a:pt x="43" y="38"/>
                    <a:pt x="42" y="39"/>
                  </a:cubicBezTo>
                  <a:cubicBezTo>
                    <a:pt x="42" y="40"/>
                    <a:pt x="41" y="42"/>
                    <a:pt x="38" y="42"/>
                  </a:cubicBezTo>
                  <a:cubicBezTo>
                    <a:pt x="27" y="42"/>
                    <a:pt x="27" y="42"/>
                    <a:pt x="27" y="42"/>
                  </a:cubicBezTo>
                  <a:cubicBezTo>
                    <a:pt x="24" y="42"/>
                    <a:pt x="24" y="42"/>
                    <a:pt x="24" y="42"/>
                  </a:cubicBezTo>
                  <a:cubicBezTo>
                    <a:pt x="23" y="42"/>
                    <a:pt x="22" y="42"/>
                    <a:pt x="21" y="42"/>
                  </a:cubicBezTo>
                  <a:cubicBezTo>
                    <a:pt x="19" y="42"/>
                    <a:pt x="17" y="42"/>
                    <a:pt x="16" y="42"/>
                  </a:cubicBezTo>
                  <a:cubicBezTo>
                    <a:pt x="15" y="42"/>
                    <a:pt x="13" y="43"/>
                    <a:pt x="12" y="43"/>
                  </a:cubicBezTo>
                  <a:cubicBezTo>
                    <a:pt x="12" y="44"/>
                    <a:pt x="12" y="44"/>
                    <a:pt x="12" y="44"/>
                  </a:cubicBezTo>
                  <a:cubicBezTo>
                    <a:pt x="11" y="44"/>
                    <a:pt x="11" y="44"/>
                    <a:pt x="11" y="44"/>
                  </a:cubicBezTo>
                  <a:cubicBezTo>
                    <a:pt x="10" y="44"/>
                    <a:pt x="10" y="45"/>
                    <a:pt x="9" y="46"/>
                  </a:cubicBezTo>
                  <a:cubicBezTo>
                    <a:pt x="9" y="47"/>
                    <a:pt x="9" y="47"/>
                    <a:pt x="9" y="47"/>
                  </a:cubicBezTo>
                  <a:cubicBezTo>
                    <a:pt x="7" y="50"/>
                    <a:pt x="4" y="53"/>
                    <a:pt x="3" y="57"/>
                  </a:cubicBezTo>
                  <a:cubicBezTo>
                    <a:pt x="2" y="58"/>
                    <a:pt x="2" y="58"/>
                    <a:pt x="2" y="58"/>
                  </a:cubicBezTo>
                  <a:cubicBezTo>
                    <a:pt x="2" y="58"/>
                    <a:pt x="2" y="58"/>
                    <a:pt x="2" y="58"/>
                  </a:cubicBezTo>
                  <a:cubicBezTo>
                    <a:pt x="2" y="58"/>
                    <a:pt x="2" y="58"/>
                    <a:pt x="2" y="58"/>
                  </a:cubicBezTo>
                  <a:cubicBezTo>
                    <a:pt x="2" y="58"/>
                    <a:pt x="2" y="58"/>
                    <a:pt x="2" y="58"/>
                  </a:cubicBezTo>
                  <a:cubicBezTo>
                    <a:pt x="2" y="59"/>
                    <a:pt x="2" y="59"/>
                    <a:pt x="2" y="59"/>
                  </a:cubicBezTo>
                  <a:cubicBezTo>
                    <a:pt x="3" y="59"/>
                    <a:pt x="3" y="59"/>
                    <a:pt x="3" y="59"/>
                  </a:cubicBezTo>
                  <a:cubicBezTo>
                    <a:pt x="4" y="61"/>
                    <a:pt x="4" y="62"/>
                    <a:pt x="4" y="64"/>
                  </a:cubicBezTo>
                  <a:cubicBezTo>
                    <a:pt x="4" y="64"/>
                    <a:pt x="4" y="64"/>
                    <a:pt x="4" y="64"/>
                  </a:cubicBezTo>
                  <a:cubicBezTo>
                    <a:pt x="4" y="65"/>
                    <a:pt x="4" y="65"/>
                    <a:pt x="4" y="65"/>
                  </a:cubicBezTo>
                  <a:cubicBezTo>
                    <a:pt x="3" y="66"/>
                    <a:pt x="3" y="66"/>
                    <a:pt x="3" y="66"/>
                  </a:cubicBezTo>
                  <a:cubicBezTo>
                    <a:pt x="3" y="67"/>
                    <a:pt x="3" y="67"/>
                    <a:pt x="3" y="67"/>
                  </a:cubicBezTo>
                  <a:cubicBezTo>
                    <a:pt x="3" y="68"/>
                    <a:pt x="3" y="68"/>
                    <a:pt x="2" y="69"/>
                  </a:cubicBezTo>
                  <a:cubicBezTo>
                    <a:pt x="2" y="69"/>
                    <a:pt x="2" y="69"/>
                    <a:pt x="2" y="70"/>
                  </a:cubicBezTo>
                  <a:cubicBezTo>
                    <a:pt x="2" y="70"/>
                    <a:pt x="2" y="71"/>
                    <a:pt x="2" y="71"/>
                  </a:cubicBezTo>
                  <a:cubicBezTo>
                    <a:pt x="2" y="72"/>
                    <a:pt x="2" y="72"/>
                    <a:pt x="2" y="72"/>
                  </a:cubicBezTo>
                  <a:cubicBezTo>
                    <a:pt x="2" y="72"/>
                    <a:pt x="2" y="73"/>
                    <a:pt x="2" y="73"/>
                  </a:cubicBezTo>
                  <a:cubicBezTo>
                    <a:pt x="2" y="75"/>
                    <a:pt x="2" y="75"/>
                    <a:pt x="2" y="75"/>
                  </a:cubicBezTo>
                  <a:cubicBezTo>
                    <a:pt x="2" y="75"/>
                    <a:pt x="1" y="75"/>
                    <a:pt x="1" y="76"/>
                  </a:cubicBezTo>
                  <a:cubicBezTo>
                    <a:pt x="0" y="77"/>
                    <a:pt x="0" y="77"/>
                    <a:pt x="0" y="77"/>
                  </a:cubicBezTo>
                  <a:cubicBezTo>
                    <a:pt x="1" y="78"/>
                    <a:pt x="1" y="78"/>
                    <a:pt x="1" y="78"/>
                  </a:cubicBezTo>
                  <a:cubicBezTo>
                    <a:pt x="4" y="80"/>
                    <a:pt x="6" y="82"/>
                    <a:pt x="8" y="84"/>
                  </a:cubicBezTo>
                  <a:cubicBezTo>
                    <a:pt x="15" y="87"/>
                    <a:pt x="19" y="89"/>
                    <a:pt x="26" y="90"/>
                  </a:cubicBezTo>
                  <a:cubicBezTo>
                    <a:pt x="27" y="90"/>
                    <a:pt x="27" y="90"/>
                    <a:pt x="28" y="90"/>
                  </a:cubicBezTo>
                  <a:cubicBezTo>
                    <a:pt x="29" y="90"/>
                    <a:pt x="30" y="90"/>
                    <a:pt x="31" y="90"/>
                  </a:cubicBezTo>
                  <a:cubicBezTo>
                    <a:pt x="32" y="90"/>
                    <a:pt x="33" y="90"/>
                    <a:pt x="34" y="90"/>
                  </a:cubicBezTo>
                  <a:cubicBezTo>
                    <a:pt x="34" y="90"/>
                    <a:pt x="35" y="90"/>
                    <a:pt x="35" y="90"/>
                  </a:cubicBezTo>
                  <a:cubicBezTo>
                    <a:pt x="38" y="90"/>
                    <a:pt x="41" y="92"/>
                    <a:pt x="44" y="93"/>
                  </a:cubicBezTo>
                  <a:cubicBezTo>
                    <a:pt x="45" y="93"/>
                    <a:pt x="45" y="93"/>
                    <a:pt x="45" y="93"/>
                  </a:cubicBezTo>
                  <a:cubicBezTo>
                    <a:pt x="45" y="93"/>
                    <a:pt x="45" y="93"/>
                    <a:pt x="45" y="93"/>
                  </a:cubicBezTo>
                  <a:cubicBezTo>
                    <a:pt x="47" y="88"/>
                    <a:pt x="47" y="88"/>
                    <a:pt x="48" y="88"/>
                  </a:cubicBezTo>
                  <a:cubicBezTo>
                    <a:pt x="48" y="86"/>
                    <a:pt x="50" y="85"/>
                    <a:pt x="52" y="85"/>
                  </a:cubicBezTo>
                  <a:cubicBezTo>
                    <a:pt x="52" y="84"/>
                    <a:pt x="53" y="84"/>
                    <a:pt x="54" y="84"/>
                  </a:cubicBezTo>
                  <a:cubicBezTo>
                    <a:pt x="54" y="83"/>
                    <a:pt x="56" y="82"/>
                    <a:pt x="57" y="82"/>
                  </a:cubicBezTo>
                  <a:cubicBezTo>
                    <a:pt x="57" y="82"/>
                    <a:pt x="57" y="82"/>
                    <a:pt x="57" y="82"/>
                  </a:cubicBezTo>
                  <a:cubicBezTo>
                    <a:pt x="57" y="81"/>
                    <a:pt x="56" y="80"/>
                    <a:pt x="57" y="79"/>
                  </a:cubicBezTo>
                  <a:cubicBezTo>
                    <a:pt x="57" y="77"/>
                    <a:pt x="59" y="76"/>
                    <a:pt x="62" y="75"/>
                  </a:cubicBezTo>
                  <a:cubicBezTo>
                    <a:pt x="62" y="75"/>
                    <a:pt x="62" y="75"/>
                    <a:pt x="63" y="75"/>
                  </a:cubicBezTo>
                  <a:cubicBezTo>
                    <a:pt x="64" y="75"/>
                    <a:pt x="64" y="75"/>
                    <a:pt x="64" y="75"/>
                  </a:cubicBezTo>
                  <a:cubicBezTo>
                    <a:pt x="65" y="74"/>
                    <a:pt x="65" y="74"/>
                    <a:pt x="65" y="74"/>
                  </a:cubicBezTo>
                  <a:cubicBezTo>
                    <a:pt x="65" y="74"/>
                    <a:pt x="67" y="72"/>
                    <a:pt x="67" y="72"/>
                  </a:cubicBezTo>
                  <a:cubicBezTo>
                    <a:pt x="67" y="72"/>
                    <a:pt x="67" y="72"/>
                    <a:pt x="67" y="72"/>
                  </a:cubicBezTo>
                  <a:cubicBezTo>
                    <a:pt x="66" y="71"/>
                    <a:pt x="66" y="70"/>
                    <a:pt x="66" y="69"/>
                  </a:cubicBezTo>
                  <a:cubicBezTo>
                    <a:pt x="66" y="68"/>
                    <a:pt x="66" y="66"/>
                    <a:pt x="66" y="65"/>
                  </a:cubicBezTo>
                  <a:cubicBezTo>
                    <a:pt x="66" y="65"/>
                    <a:pt x="66" y="65"/>
                    <a:pt x="66" y="65"/>
                  </a:cubicBezTo>
                  <a:cubicBezTo>
                    <a:pt x="66" y="65"/>
                    <a:pt x="66" y="65"/>
                    <a:pt x="66" y="65"/>
                  </a:cubicBezTo>
                  <a:cubicBezTo>
                    <a:pt x="66" y="64"/>
                    <a:pt x="67" y="64"/>
                    <a:pt x="67" y="63"/>
                  </a:cubicBezTo>
                  <a:cubicBezTo>
                    <a:pt x="67" y="61"/>
                    <a:pt x="70" y="60"/>
                    <a:pt x="72" y="59"/>
                  </a:cubicBezTo>
                  <a:cubicBezTo>
                    <a:pt x="73" y="60"/>
                    <a:pt x="73" y="60"/>
                    <a:pt x="73" y="60"/>
                  </a:cubicBezTo>
                  <a:cubicBezTo>
                    <a:pt x="72" y="58"/>
                    <a:pt x="72" y="58"/>
                    <a:pt x="72" y="58"/>
                  </a:cubicBezTo>
                  <a:cubicBezTo>
                    <a:pt x="73" y="58"/>
                    <a:pt x="73" y="58"/>
                    <a:pt x="73" y="58"/>
                  </a:cubicBezTo>
                  <a:cubicBezTo>
                    <a:pt x="74" y="58"/>
                    <a:pt x="75" y="57"/>
                    <a:pt x="75" y="57"/>
                  </a:cubicBezTo>
                  <a:cubicBezTo>
                    <a:pt x="76" y="56"/>
                    <a:pt x="76" y="56"/>
                    <a:pt x="76" y="56"/>
                  </a:cubicBezTo>
                  <a:cubicBezTo>
                    <a:pt x="78" y="55"/>
                    <a:pt x="80" y="53"/>
                    <a:pt x="82" y="51"/>
                  </a:cubicBezTo>
                  <a:cubicBezTo>
                    <a:pt x="82" y="51"/>
                    <a:pt x="83" y="50"/>
                    <a:pt x="84" y="50"/>
                  </a:cubicBezTo>
                  <a:cubicBezTo>
                    <a:pt x="84" y="49"/>
                    <a:pt x="84" y="49"/>
                    <a:pt x="84" y="49"/>
                  </a:cubicBezTo>
                  <a:cubicBezTo>
                    <a:pt x="86" y="48"/>
                    <a:pt x="87" y="47"/>
                    <a:pt x="88" y="46"/>
                  </a:cubicBezTo>
                  <a:cubicBezTo>
                    <a:pt x="86" y="44"/>
                    <a:pt x="84" y="43"/>
                    <a:pt x="82" y="42"/>
                  </a:cubicBezTo>
                  <a:cubicBezTo>
                    <a:pt x="83" y="43"/>
                    <a:pt x="84" y="44"/>
                    <a:pt x="85" y="45"/>
                  </a:cubicBezTo>
                  <a:cubicBezTo>
                    <a:pt x="83" y="45"/>
                    <a:pt x="82" y="46"/>
                    <a:pt x="81" y="46"/>
                  </a:cubicBezTo>
                  <a:cubicBezTo>
                    <a:pt x="80" y="46"/>
                    <a:pt x="79" y="45"/>
                    <a:pt x="77" y="44"/>
                  </a:cubicBezTo>
                  <a:cubicBezTo>
                    <a:pt x="76" y="44"/>
                    <a:pt x="76" y="44"/>
                    <a:pt x="76" y="44"/>
                  </a:cubicBezTo>
                  <a:cubicBezTo>
                    <a:pt x="77" y="45"/>
                    <a:pt x="77" y="45"/>
                    <a:pt x="77" y="45"/>
                  </a:cubicBezTo>
                  <a:cubicBezTo>
                    <a:pt x="75" y="46"/>
                    <a:pt x="75" y="46"/>
                    <a:pt x="75" y="46"/>
                  </a:cubicBezTo>
                  <a:cubicBezTo>
                    <a:pt x="75" y="46"/>
                    <a:pt x="75" y="46"/>
                    <a:pt x="75" y="46"/>
                  </a:cubicBezTo>
                  <a:cubicBezTo>
                    <a:pt x="75" y="46"/>
                    <a:pt x="75" y="46"/>
                    <a:pt x="75" y="46"/>
                  </a:cubicBezTo>
                  <a:cubicBezTo>
                    <a:pt x="73" y="47"/>
                    <a:pt x="73" y="47"/>
                    <a:pt x="73" y="47"/>
                  </a:cubicBezTo>
                  <a:cubicBezTo>
                    <a:pt x="73" y="46"/>
                    <a:pt x="73" y="46"/>
                    <a:pt x="73" y="46"/>
                  </a:cubicBezTo>
                  <a:cubicBezTo>
                    <a:pt x="73" y="46"/>
                    <a:pt x="73" y="46"/>
                    <a:pt x="73" y="46"/>
                  </a:cubicBezTo>
                  <a:cubicBezTo>
                    <a:pt x="72" y="46"/>
                    <a:pt x="72" y="46"/>
                    <a:pt x="72" y="46"/>
                  </a:cubicBezTo>
                  <a:cubicBezTo>
                    <a:pt x="71" y="46"/>
                    <a:pt x="70" y="46"/>
                    <a:pt x="69" y="46"/>
                  </a:cubicBezTo>
                  <a:cubicBezTo>
                    <a:pt x="65" y="46"/>
                    <a:pt x="65" y="46"/>
                    <a:pt x="65" y="46"/>
                  </a:cubicBezTo>
                  <a:cubicBezTo>
                    <a:pt x="65" y="42"/>
                    <a:pt x="65" y="42"/>
                    <a:pt x="65" y="42"/>
                  </a:cubicBezTo>
                  <a:cubicBezTo>
                    <a:pt x="66" y="31"/>
                    <a:pt x="66" y="22"/>
                    <a:pt x="67" y="13"/>
                  </a:cubicBezTo>
                  <a:cubicBezTo>
                    <a:pt x="67" y="12"/>
                    <a:pt x="67" y="12"/>
                    <a:pt x="67" y="12"/>
                  </a:cubicBezTo>
                  <a:cubicBezTo>
                    <a:pt x="67" y="10"/>
                    <a:pt x="67" y="8"/>
                    <a:pt x="67" y="6"/>
                  </a:cubicBezTo>
                  <a:cubicBezTo>
                    <a:pt x="67" y="4"/>
                    <a:pt x="67" y="4"/>
                    <a:pt x="67" y="4"/>
                  </a:cubicBezTo>
                  <a:cubicBezTo>
                    <a:pt x="67" y="3"/>
                    <a:pt x="67" y="2"/>
                    <a:pt x="67" y="0"/>
                  </a:cubicBezTo>
                  <a:cubicBezTo>
                    <a:pt x="37" y="0"/>
                    <a:pt x="37" y="0"/>
                    <a:pt x="37" y="0"/>
                  </a:cubicBezTo>
                  <a:cubicBezTo>
                    <a:pt x="37" y="0"/>
                    <a:pt x="36" y="0"/>
                    <a:pt x="35" y="0"/>
                  </a:cubicBezTo>
                  <a:cubicBezTo>
                    <a:pt x="34" y="0"/>
                    <a:pt x="34" y="0"/>
                    <a:pt x="34" y="0"/>
                  </a:cubicBezTo>
                  <a:cubicBezTo>
                    <a:pt x="32"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0" name="Freeform 271">
              <a:extLst>
                <a:ext uri="{FF2B5EF4-FFF2-40B4-BE49-F238E27FC236}">
                  <a16:creationId xmlns:a16="http://schemas.microsoft.com/office/drawing/2014/main" id="{7DAAFAFB-5267-4FCD-95AC-AD7697F9050C}"/>
                </a:ext>
              </a:extLst>
            </p:cNvPr>
            <p:cNvSpPr>
              <a:spLocks/>
            </p:cNvSpPr>
            <p:nvPr/>
          </p:nvSpPr>
          <p:spPr bwMode="auto">
            <a:xfrm>
              <a:off x="7692127" y="1035196"/>
              <a:ext cx="903853" cy="1271046"/>
            </a:xfrm>
            <a:custGeom>
              <a:avLst/>
              <a:gdLst>
                <a:gd name="T0" fmla="*/ 135 w 271"/>
                <a:gd name="T1" fmla="*/ 26 h 381"/>
                <a:gd name="T2" fmla="*/ 107 w 271"/>
                <a:gd name="T3" fmla="*/ 40 h 381"/>
                <a:gd name="T4" fmla="*/ 109 w 271"/>
                <a:gd name="T5" fmla="*/ 35 h 381"/>
                <a:gd name="T6" fmla="*/ 97 w 271"/>
                <a:gd name="T7" fmla="*/ 32 h 381"/>
                <a:gd name="T8" fmla="*/ 81 w 271"/>
                <a:gd name="T9" fmla="*/ 52 h 381"/>
                <a:gd name="T10" fmla="*/ 70 w 271"/>
                <a:gd name="T11" fmla="*/ 73 h 381"/>
                <a:gd name="T12" fmla="*/ 53 w 271"/>
                <a:gd name="T13" fmla="*/ 106 h 381"/>
                <a:gd name="T14" fmla="*/ 46 w 271"/>
                <a:gd name="T15" fmla="*/ 104 h 381"/>
                <a:gd name="T16" fmla="*/ 33 w 271"/>
                <a:gd name="T17" fmla="*/ 118 h 381"/>
                <a:gd name="T18" fmla="*/ 39 w 271"/>
                <a:gd name="T19" fmla="*/ 137 h 381"/>
                <a:gd name="T20" fmla="*/ 40 w 271"/>
                <a:gd name="T21" fmla="*/ 180 h 381"/>
                <a:gd name="T22" fmla="*/ 46 w 271"/>
                <a:gd name="T23" fmla="*/ 199 h 381"/>
                <a:gd name="T24" fmla="*/ 8 w 271"/>
                <a:gd name="T25" fmla="*/ 240 h 381"/>
                <a:gd name="T26" fmla="*/ 5 w 271"/>
                <a:gd name="T27" fmla="*/ 254 h 381"/>
                <a:gd name="T28" fmla="*/ 40 w 271"/>
                <a:gd name="T29" fmla="*/ 278 h 381"/>
                <a:gd name="T30" fmla="*/ 56 w 271"/>
                <a:gd name="T31" fmla="*/ 281 h 381"/>
                <a:gd name="T32" fmla="*/ 74 w 271"/>
                <a:gd name="T33" fmla="*/ 282 h 381"/>
                <a:gd name="T34" fmla="*/ 90 w 271"/>
                <a:gd name="T35" fmla="*/ 289 h 381"/>
                <a:gd name="T36" fmla="*/ 95 w 271"/>
                <a:gd name="T37" fmla="*/ 290 h 381"/>
                <a:gd name="T38" fmla="*/ 99 w 271"/>
                <a:gd name="T39" fmla="*/ 292 h 381"/>
                <a:gd name="T40" fmla="*/ 111 w 271"/>
                <a:gd name="T41" fmla="*/ 304 h 381"/>
                <a:gd name="T42" fmla="*/ 117 w 271"/>
                <a:gd name="T43" fmla="*/ 313 h 381"/>
                <a:gd name="T44" fmla="*/ 132 w 271"/>
                <a:gd name="T45" fmla="*/ 326 h 381"/>
                <a:gd name="T46" fmla="*/ 132 w 271"/>
                <a:gd name="T47" fmla="*/ 330 h 381"/>
                <a:gd name="T48" fmla="*/ 141 w 271"/>
                <a:gd name="T49" fmla="*/ 334 h 381"/>
                <a:gd name="T50" fmla="*/ 142 w 271"/>
                <a:gd name="T51" fmla="*/ 340 h 381"/>
                <a:gd name="T52" fmla="*/ 155 w 271"/>
                <a:gd name="T53" fmla="*/ 344 h 381"/>
                <a:gd name="T54" fmla="*/ 160 w 271"/>
                <a:gd name="T55" fmla="*/ 344 h 381"/>
                <a:gd name="T56" fmla="*/ 163 w 271"/>
                <a:gd name="T57" fmla="*/ 343 h 381"/>
                <a:gd name="T58" fmla="*/ 173 w 271"/>
                <a:gd name="T59" fmla="*/ 341 h 381"/>
                <a:gd name="T60" fmla="*/ 181 w 271"/>
                <a:gd name="T61" fmla="*/ 342 h 381"/>
                <a:gd name="T62" fmla="*/ 189 w 271"/>
                <a:gd name="T63" fmla="*/ 340 h 381"/>
                <a:gd name="T64" fmla="*/ 209 w 271"/>
                <a:gd name="T65" fmla="*/ 350 h 381"/>
                <a:gd name="T66" fmla="*/ 198 w 271"/>
                <a:gd name="T67" fmla="*/ 376 h 381"/>
                <a:gd name="T68" fmla="*/ 207 w 271"/>
                <a:gd name="T69" fmla="*/ 379 h 381"/>
                <a:gd name="T70" fmla="*/ 212 w 271"/>
                <a:gd name="T71" fmla="*/ 365 h 381"/>
                <a:gd name="T72" fmla="*/ 215 w 271"/>
                <a:gd name="T73" fmla="*/ 350 h 381"/>
                <a:gd name="T74" fmla="*/ 217 w 271"/>
                <a:gd name="T75" fmla="*/ 339 h 381"/>
                <a:gd name="T76" fmla="*/ 216 w 271"/>
                <a:gd name="T77" fmla="*/ 303 h 381"/>
                <a:gd name="T78" fmla="*/ 215 w 271"/>
                <a:gd name="T79" fmla="*/ 271 h 381"/>
                <a:gd name="T80" fmla="*/ 225 w 271"/>
                <a:gd name="T81" fmla="*/ 268 h 381"/>
                <a:gd name="T82" fmla="*/ 210 w 271"/>
                <a:gd name="T83" fmla="*/ 265 h 381"/>
                <a:gd name="T84" fmla="*/ 242 w 271"/>
                <a:gd name="T85" fmla="*/ 247 h 381"/>
                <a:gd name="T86" fmla="*/ 259 w 271"/>
                <a:gd name="T87" fmla="*/ 245 h 381"/>
                <a:gd name="T88" fmla="*/ 265 w 271"/>
                <a:gd name="T89" fmla="*/ 229 h 381"/>
                <a:gd name="T90" fmla="*/ 259 w 271"/>
                <a:gd name="T91" fmla="*/ 220 h 381"/>
                <a:gd name="T92" fmla="*/ 266 w 271"/>
                <a:gd name="T93" fmla="*/ 214 h 381"/>
                <a:gd name="T94" fmla="*/ 263 w 271"/>
                <a:gd name="T95" fmla="*/ 205 h 381"/>
                <a:gd name="T96" fmla="*/ 251 w 271"/>
                <a:gd name="T97" fmla="*/ 186 h 381"/>
                <a:gd name="T98" fmla="*/ 257 w 271"/>
                <a:gd name="T99" fmla="*/ 167 h 381"/>
                <a:gd name="T100" fmla="*/ 266 w 271"/>
                <a:gd name="T101" fmla="*/ 149 h 381"/>
                <a:gd name="T102" fmla="*/ 234 w 271"/>
                <a:gd name="T103" fmla="*/ 150 h 381"/>
                <a:gd name="T104" fmla="*/ 211 w 271"/>
                <a:gd name="T105" fmla="*/ 138 h 381"/>
                <a:gd name="T106" fmla="*/ 185 w 271"/>
                <a:gd name="T107" fmla="*/ 130 h 381"/>
                <a:gd name="T108" fmla="*/ 165 w 271"/>
                <a:gd name="T109" fmla="*/ 130 h 381"/>
                <a:gd name="T110" fmla="*/ 154 w 271"/>
                <a:gd name="T111" fmla="*/ 121 h 381"/>
                <a:gd name="T112" fmla="*/ 146 w 271"/>
                <a:gd name="T113" fmla="*/ 86 h 381"/>
                <a:gd name="T114" fmla="*/ 133 w 271"/>
                <a:gd name="T115" fmla="*/ 80 h 381"/>
                <a:gd name="T116" fmla="*/ 132 w 271"/>
                <a:gd name="T117" fmla="*/ 71 h 381"/>
                <a:gd name="T118" fmla="*/ 143 w 271"/>
                <a:gd name="T119" fmla="*/ 40 h 381"/>
                <a:gd name="T120" fmla="*/ 156 w 271"/>
                <a:gd name="T121" fmla="*/ 27 h 381"/>
                <a:gd name="T122" fmla="*/ 174 w 271"/>
                <a:gd name="T123" fmla="*/ 13 h 381"/>
                <a:gd name="T124" fmla="*/ 180 w 271"/>
                <a:gd name="T125" fmla="*/ 2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 h="381">
                  <a:moveTo>
                    <a:pt x="172" y="0"/>
                  </a:moveTo>
                  <a:cubicBezTo>
                    <a:pt x="172" y="0"/>
                    <a:pt x="172" y="0"/>
                    <a:pt x="172" y="0"/>
                  </a:cubicBezTo>
                  <a:cubicBezTo>
                    <a:pt x="169" y="0"/>
                    <a:pt x="164" y="3"/>
                    <a:pt x="161" y="5"/>
                  </a:cubicBezTo>
                  <a:cubicBezTo>
                    <a:pt x="158" y="6"/>
                    <a:pt x="157" y="11"/>
                    <a:pt x="155" y="14"/>
                  </a:cubicBezTo>
                  <a:cubicBezTo>
                    <a:pt x="151" y="16"/>
                    <a:pt x="147" y="18"/>
                    <a:pt x="143" y="20"/>
                  </a:cubicBezTo>
                  <a:cubicBezTo>
                    <a:pt x="140" y="22"/>
                    <a:pt x="138" y="25"/>
                    <a:pt x="135" y="26"/>
                  </a:cubicBezTo>
                  <a:cubicBezTo>
                    <a:pt x="133" y="27"/>
                    <a:pt x="129" y="28"/>
                    <a:pt x="126" y="28"/>
                  </a:cubicBezTo>
                  <a:cubicBezTo>
                    <a:pt x="124" y="28"/>
                    <a:pt x="121" y="27"/>
                    <a:pt x="119" y="27"/>
                  </a:cubicBezTo>
                  <a:cubicBezTo>
                    <a:pt x="117" y="26"/>
                    <a:pt x="117" y="26"/>
                    <a:pt x="116" y="26"/>
                  </a:cubicBezTo>
                  <a:cubicBezTo>
                    <a:pt x="116" y="26"/>
                    <a:pt x="115" y="26"/>
                    <a:pt x="114" y="26"/>
                  </a:cubicBezTo>
                  <a:cubicBezTo>
                    <a:pt x="113" y="28"/>
                    <a:pt x="111" y="33"/>
                    <a:pt x="110" y="36"/>
                  </a:cubicBezTo>
                  <a:cubicBezTo>
                    <a:pt x="109" y="38"/>
                    <a:pt x="108" y="40"/>
                    <a:pt x="107" y="40"/>
                  </a:cubicBezTo>
                  <a:cubicBezTo>
                    <a:pt x="106" y="40"/>
                    <a:pt x="105" y="39"/>
                    <a:pt x="104" y="38"/>
                  </a:cubicBezTo>
                  <a:cubicBezTo>
                    <a:pt x="103" y="39"/>
                    <a:pt x="103" y="39"/>
                    <a:pt x="103" y="39"/>
                  </a:cubicBezTo>
                  <a:cubicBezTo>
                    <a:pt x="104" y="38"/>
                    <a:pt x="105" y="36"/>
                    <a:pt x="106" y="35"/>
                  </a:cubicBezTo>
                  <a:cubicBezTo>
                    <a:pt x="106" y="35"/>
                    <a:pt x="106" y="34"/>
                    <a:pt x="107" y="34"/>
                  </a:cubicBezTo>
                  <a:cubicBezTo>
                    <a:pt x="107" y="34"/>
                    <a:pt x="107" y="35"/>
                    <a:pt x="108" y="35"/>
                  </a:cubicBezTo>
                  <a:cubicBezTo>
                    <a:pt x="108" y="35"/>
                    <a:pt x="108" y="35"/>
                    <a:pt x="109" y="35"/>
                  </a:cubicBezTo>
                  <a:cubicBezTo>
                    <a:pt x="109" y="35"/>
                    <a:pt x="109" y="35"/>
                    <a:pt x="109" y="35"/>
                  </a:cubicBezTo>
                  <a:cubicBezTo>
                    <a:pt x="110" y="35"/>
                    <a:pt x="110" y="34"/>
                    <a:pt x="110" y="34"/>
                  </a:cubicBezTo>
                  <a:cubicBezTo>
                    <a:pt x="109" y="34"/>
                    <a:pt x="108" y="34"/>
                    <a:pt x="107" y="34"/>
                  </a:cubicBezTo>
                  <a:cubicBezTo>
                    <a:pt x="106" y="34"/>
                    <a:pt x="105" y="34"/>
                    <a:pt x="104" y="34"/>
                  </a:cubicBezTo>
                  <a:cubicBezTo>
                    <a:pt x="103" y="33"/>
                    <a:pt x="99" y="31"/>
                    <a:pt x="98" y="31"/>
                  </a:cubicBezTo>
                  <a:cubicBezTo>
                    <a:pt x="97" y="31"/>
                    <a:pt x="97" y="31"/>
                    <a:pt x="97" y="32"/>
                  </a:cubicBezTo>
                  <a:cubicBezTo>
                    <a:pt x="95" y="33"/>
                    <a:pt x="94" y="36"/>
                    <a:pt x="92" y="37"/>
                  </a:cubicBezTo>
                  <a:cubicBezTo>
                    <a:pt x="91" y="37"/>
                    <a:pt x="89" y="38"/>
                    <a:pt x="89" y="39"/>
                  </a:cubicBezTo>
                  <a:cubicBezTo>
                    <a:pt x="88" y="40"/>
                    <a:pt x="88" y="41"/>
                    <a:pt x="88" y="41"/>
                  </a:cubicBezTo>
                  <a:cubicBezTo>
                    <a:pt x="87" y="42"/>
                    <a:pt x="83" y="42"/>
                    <a:pt x="82" y="44"/>
                  </a:cubicBezTo>
                  <a:cubicBezTo>
                    <a:pt x="80" y="47"/>
                    <a:pt x="80" y="51"/>
                    <a:pt x="77" y="54"/>
                  </a:cubicBezTo>
                  <a:cubicBezTo>
                    <a:pt x="79" y="53"/>
                    <a:pt x="80" y="52"/>
                    <a:pt x="81" y="52"/>
                  </a:cubicBezTo>
                  <a:cubicBezTo>
                    <a:pt x="81" y="55"/>
                    <a:pt x="79" y="60"/>
                    <a:pt x="78" y="63"/>
                  </a:cubicBezTo>
                  <a:cubicBezTo>
                    <a:pt x="77" y="66"/>
                    <a:pt x="80" y="65"/>
                    <a:pt x="80" y="67"/>
                  </a:cubicBezTo>
                  <a:cubicBezTo>
                    <a:pt x="79" y="68"/>
                    <a:pt x="79" y="71"/>
                    <a:pt x="77" y="71"/>
                  </a:cubicBezTo>
                  <a:cubicBezTo>
                    <a:pt x="76" y="71"/>
                    <a:pt x="76" y="71"/>
                    <a:pt x="76" y="71"/>
                  </a:cubicBezTo>
                  <a:cubicBezTo>
                    <a:pt x="76" y="71"/>
                    <a:pt x="75" y="71"/>
                    <a:pt x="75" y="71"/>
                  </a:cubicBezTo>
                  <a:cubicBezTo>
                    <a:pt x="73" y="71"/>
                    <a:pt x="72" y="72"/>
                    <a:pt x="70" y="73"/>
                  </a:cubicBezTo>
                  <a:cubicBezTo>
                    <a:pt x="67" y="74"/>
                    <a:pt x="66" y="79"/>
                    <a:pt x="64" y="82"/>
                  </a:cubicBezTo>
                  <a:cubicBezTo>
                    <a:pt x="62" y="85"/>
                    <a:pt x="55" y="88"/>
                    <a:pt x="52" y="89"/>
                  </a:cubicBezTo>
                  <a:cubicBezTo>
                    <a:pt x="52" y="89"/>
                    <a:pt x="51" y="89"/>
                    <a:pt x="50" y="90"/>
                  </a:cubicBezTo>
                  <a:cubicBezTo>
                    <a:pt x="47" y="92"/>
                    <a:pt x="50" y="94"/>
                    <a:pt x="52" y="97"/>
                  </a:cubicBezTo>
                  <a:cubicBezTo>
                    <a:pt x="53" y="98"/>
                    <a:pt x="54" y="102"/>
                    <a:pt x="54" y="103"/>
                  </a:cubicBezTo>
                  <a:cubicBezTo>
                    <a:pt x="54" y="104"/>
                    <a:pt x="54" y="106"/>
                    <a:pt x="53" y="106"/>
                  </a:cubicBezTo>
                  <a:cubicBezTo>
                    <a:pt x="53" y="106"/>
                    <a:pt x="53" y="106"/>
                    <a:pt x="52" y="106"/>
                  </a:cubicBezTo>
                  <a:cubicBezTo>
                    <a:pt x="51" y="106"/>
                    <a:pt x="51" y="105"/>
                    <a:pt x="51" y="104"/>
                  </a:cubicBezTo>
                  <a:cubicBezTo>
                    <a:pt x="48" y="99"/>
                    <a:pt x="44" y="95"/>
                    <a:pt x="41" y="91"/>
                  </a:cubicBezTo>
                  <a:cubicBezTo>
                    <a:pt x="40" y="91"/>
                    <a:pt x="40" y="92"/>
                    <a:pt x="40" y="92"/>
                  </a:cubicBezTo>
                  <a:cubicBezTo>
                    <a:pt x="41" y="93"/>
                    <a:pt x="42" y="95"/>
                    <a:pt x="42" y="97"/>
                  </a:cubicBezTo>
                  <a:cubicBezTo>
                    <a:pt x="43" y="99"/>
                    <a:pt x="45" y="101"/>
                    <a:pt x="46" y="104"/>
                  </a:cubicBezTo>
                  <a:cubicBezTo>
                    <a:pt x="48" y="107"/>
                    <a:pt x="48" y="107"/>
                    <a:pt x="48" y="107"/>
                  </a:cubicBezTo>
                  <a:cubicBezTo>
                    <a:pt x="45" y="108"/>
                    <a:pt x="45" y="108"/>
                    <a:pt x="45" y="108"/>
                  </a:cubicBezTo>
                  <a:cubicBezTo>
                    <a:pt x="43" y="110"/>
                    <a:pt x="41" y="112"/>
                    <a:pt x="39" y="113"/>
                  </a:cubicBezTo>
                  <a:cubicBezTo>
                    <a:pt x="37" y="116"/>
                    <a:pt x="36" y="118"/>
                    <a:pt x="35" y="118"/>
                  </a:cubicBezTo>
                  <a:cubicBezTo>
                    <a:pt x="34" y="118"/>
                    <a:pt x="34" y="118"/>
                    <a:pt x="34" y="118"/>
                  </a:cubicBezTo>
                  <a:cubicBezTo>
                    <a:pt x="33" y="118"/>
                    <a:pt x="33" y="118"/>
                    <a:pt x="33" y="118"/>
                  </a:cubicBezTo>
                  <a:cubicBezTo>
                    <a:pt x="32" y="119"/>
                    <a:pt x="31" y="120"/>
                    <a:pt x="31" y="121"/>
                  </a:cubicBezTo>
                  <a:cubicBezTo>
                    <a:pt x="30" y="122"/>
                    <a:pt x="30" y="122"/>
                    <a:pt x="30" y="122"/>
                  </a:cubicBezTo>
                  <a:cubicBezTo>
                    <a:pt x="30" y="125"/>
                    <a:pt x="30" y="125"/>
                    <a:pt x="30" y="125"/>
                  </a:cubicBezTo>
                  <a:cubicBezTo>
                    <a:pt x="29" y="125"/>
                    <a:pt x="29" y="125"/>
                    <a:pt x="29" y="125"/>
                  </a:cubicBezTo>
                  <a:cubicBezTo>
                    <a:pt x="31" y="128"/>
                    <a:pt x="33" y="130"/>
                    <a:pt x="35" y="133"/>
                  </a:cubicBezTo>
                  <a:cubicBezTo>
                    <a:pt x="36" y="134"/>
                    <a:pt x="39" y="136"/>
                    <a:pt x="39" y="137"/>
                  </a:cubicBezTo>
                  <a:cubicBezTo>
                    <a:pt x="40" y="140"/>
                    <a:pt x="36" y="143"/>
                    <a:pt x="36" y="145"/>
                  </a:cubicBezTo>
                  <a:cubicBezTo>
                    <a:pt x="37" y="148"/>
                    <a:pt x="39" y="151"/>
                    <a:pt x="40" y="154"/>
                  </a:cubicBezTo>
                  <a:cubicBezTo>
                    <a:pt x="41" y="154"/>
                    <a:pt x="42" y="155"/>
                    <a:pt x="42" y="156"/>
                  </a:cubicBezTo>
                  <a:cubicBezTo>
                    <a:pt x="42" y="159"/>
                    <a:pt x="35" y="160"/>
                    <a:pt x="36" y="162"/>
                  </a:cubicBezTo>
                  <a:cubicBezTo>
                    <a:pt x="37" y="164"/>
                    <a:pt x="39" y="167"/>
                    <a:pt x="39" y="169"/>
                  </a:cubicBezTo>
                  <a:cubicBezTo>
                    <a:pt x="40" y="173"/>
                    <a:pt x="40" y="177"/>
                    <a:pt x="40" y="180"/>
                  </a:cubicBezTo>
                  <a:cubicBezTo>
                    <a:pt x="40" y="183"/>
                    <a:pt x="40" y="185"/>
                    <a:pt x="39" y="188"/>
                  </a:cubicBezTo>
                  <a:cubicBezTo>
                    <a:pt x="38" y="190"/>
                    <a:pt x="40" y="191"/>
                    <a:pt x="42" y="192"/>
                  </a:cubicBezTo>
                  <a:cubicBezTo>
                    <a:pt x="39" y="195"/>
                    <a:pt x="35" y="194"/>
                    <a:pt x="40" y="198"/>
                  </a:cubicBezTo>
                  <a:cubicBezTo>
                    <a:pt x="40" y="196"/>
                    <a:pt x="41" y="196"/>
                    <a:pt x="42" y="195"/>
                  </a:cubicBezTo>
                  <a:cubicBezTo>
                    <a:pt x="44" y="196"/>
                    <a:pt x="43" y="199"/>
                    <a:pt x="43" y="201"/>
                  </a:cubicBezTo>
                  <a:cubicBezTo>
                    <a:pt x="44" y="200"/>
                    <a:pt x="45" y="199"/>
                    <a:pt x="46" y="199"/>
                  </a:cubicBezTo>
                  <a:cubicBezTo>
                    <a:pt x="46" y="199"/>
                    <a:pt x="46" y="199"/>
                    <a:pt x="47" y="199"/>
                  </a:cubicBezTo>
                  <a:cubicBezTo>
                    <a:pt x="43" y="205"/>
                    <a:pt x="39" y="217"/>
                    <a:pt x="31" y="219"/>
                  </a:cubicBezTo>
                  <a:cubicBezTo>
                    <a:pt x="32" y="223"/>
                    <a:pt x="33" y="223"/>
                    <a:pt x="30" y="226"/>
                  </a:cubicBezTo>
                  <a:cubicBezTo>
                    <a:pt x="29" y="228"/>
                    <a:pt x="27" y="230"/>
                    <a:pt x="25" y="231"/>
                  </a:cubicBezTo>
                  <a:cubicBezTo>
                    <a:pt x="20" y="233"/>
                    <a:pt x="15" y="231"/>
                    <a:pt x="11" y="235"/>
                  </a:cubicBezTo>
                  <a:cubicBezTo>
                    <a:pt x="10" y="236"/>
                    <a:pt x="8" y="238"/>
                    <a:pt x="8" y="240"/>
                  </a:cubicBezTo>
                  <a:cubicBezTo>
                    <a:pt x="8" y="242"/>
                    <a:pt x="11" y="244"/>
                    <a:pt x="12" y="246"/>
                  </a:cubicBezTo>
                  <a:cubicBezTo>
                    <a:pt x="12" y="250"/>
                    <a:pt x="3" y="251"/>
                    <a:pt x="0" y="252"/>
                  </a:cubicBezTo>
                  <a:cubicBezTo>
                    <a:pt x="1" y="254"/>
                    <a:pt x="1" y="253"/>
                    <a:pt x="2" y="253"/>
                  </a:cubicBezTo>
                  <a:cubicBezTo>
                    <a:pt x="3" y="254"/>
                    <a:pt x="3" y="254"/>
                    <a:pt x="3" y="254"/>
                  </a:cubicBezTo>
                  <a:cubicBezTo>
                    <a:pt x="3" y="254"/>
                    <a:pt x="3" y="254"/>
                    <a:pt x="3" y="254"/>
                  </a:cubicBezTo>
                  <a:cubicBezTo>
                    <a:pt x="5" y="254"/>
                    <a:pt x="5" y="254"/>
                    <a:pt x="5" y="254"/>
                  </a:cubicBezTo>
                  <a:cubicBezTo>
                    <a:pt x="6" y="254"/>
                    <a:pt x="7" y="254"/>
                    <a:pt x="7" y="255"/>
                  </a:cubicBezTo>
                  <a:cubicBezTo>
                    <a:pt x="14" y="260"/>
                    <a:pt x="20" y="264"/>
                    <a:pt x="28" y="267"/>
                  </a:cubicBezTo>
                  <a:cubicBezTo>
                    <a:pt x="28" y="267"/>
                    <a:pt x="29" y="268"/>
                    <a:pt x="30" y="268"/>
                  </a:cubicBezTo>
                  <a:cubicBezTo>
                    <a:pt x="33" y="269"/>
                    <a:pt x="36" y="270"/>
                    <a:pt x="38" y="274"/>
                  </a:cubicBezTo>
                  <a:cubicBezTo>
                    <a:pt x="39" y="275"/>
                    <a:pt x="39" y="276"/>
                    <a:pt x="39" y="277"/>
                  </a:cubicBezTo>
                  <a:cubicBezTo>
                    <a:pt x="40" y="277"/>
                    <a:pt x="40" y="278"/>
                    <a:pt x="40" y="278"/>
                  </a:cubicBezTo>
                  <a:cubicBezTo>
                    <a:pt x="41" y="279"/>
                    <a:pt x="41" y="279"/>
                    <a:pt x="41" y="279"/>
                  </a:cubicBezTo>
                  <a:cubicBezTo>
                    <a:pt x="41" y="279"/>
                    <a:pt x="41" y="279"/>
                    <a:pt x="41" y="279"/>
                  </a:cubicBezTo>
                  <a:cubicBezTo>
                    <a:pt x="43" y="279"/>
                    <a:pt x="44" y="279"/>
                    <a:pt x="45" y="279"/>
                  </a:cubicBezTo>
                  <a:cubicBezTo>
                    <a:pt x="45" y="279"/>
                    <a:pt x="46" y="279"/>
                    <a:pt x="46" y="279"/>
                  </a:cubicBezTo>
                  <a:cubicBezTo>
                    <a:pt x="47" y="279"/>
                    <a:pt x="48" y="280"/>
                    <a:pt x="49" y="280"/>
                  </a:cubicBezTo>
                  <a:cubicBezTo>
                    <a:pt x="52" y="280"/>
                    <a:pt x="54" y="281"/>
                    <a:pt x="56" y="281"/>
                  </a:cubicBezTo>
                  <a:cubicBezTo>
                    <a:pt x="57" y="281"/>
                    <a:pt x="58" y="280"/>
                    <a:pt x="60" y="280"/>
                  </a:cubicBezTo>
                  <a:cubicBezTo>
                    <a:pt x="61" y="280"/>
                    <a:pt x="61" y="280"/>
                    <a:pt x="61" y="280"/>
                  </a:cubicBezTo>
                  <a:cubicBezTo>
                    <a:pt x="62" y="279"/>
                    <a:pt x="64" y="279"/>
                    <a:pt x="66" y="279"/>
                  </a:cubicBezTo>
                  <a:cubicBezTo>
                    <a:pt x="67" y="279"/>
                    <a:pt x="68" y="279"/>
                    <a:pt x="70" y="280"/>
                  </a:cubicBezTo>
                  <a:cubicBezTo>
                    <a:pt x="71" y="280"/>
                    <a:pt x="72" y="281"/>
                    <a:pt x="73" y="282"/>
                  </a:cubicBezTo>
                  <a:cubicBezTo>
                    <a:pt x="74" y="282"/>
                    <a:pt x="74" y="282"/>
                    <a:pt x="74" y="282"/>
                  </a:cubicBezTo>
                  <a:cubicBezTo>
                    <a:pt x="74" y="282"/>
                    <a:pt x="75" y="283"/>
                    <a:pt x="76" y="283"/>
                  </a:cubicBezTo>
                  <a:cubicBezTo>
                    <a:pt x="81" y="286"/>
                    <a:pt x="81" y="286"/>
                    <a:pt x="81" y="286"/>
                  </a:cubicBezTo>
                  <a:cubicBezTo>
                    <a:pt x="82" y="287"/>
                    <a:pt x="83" y="287"/>
                    <a:pt x="83" y="288"/>
                  </a:cubicBezTo>
                  <a:cubicBezTo>
                    <a:pt x="85" y="289"/>
                    <a:pt x="85" y="289"/>
                    <a:pt x="85" y="289"/>
                  </a:cubicBezTo>
                  <a:cubicBezTo>
                    <a:pt x="86" y="289"/>
                    <a:pt x="87" y="289"/>
                    <a:pt x="87" y="290"/>
                  </a:cubicBezTo>
                  <a:cubicBezTo>
                    <a:pt x="88" y="290"/>
                    <a:pt x="89" y="289"/>
                    <a:pt x="90" y="289"/>
                  </a:cubicBezTo>
                  <a:cubicBezTo>
                    <a:pt x="90" y="289"/>
                    <a:pt x="90" y="289"/>
                    <a:pt x="90" y="289"/>
                  </a:cubicBezTo>
                  <a:cubicBezTo>
                    <a:pt x="91" y="289"/>
                    <a:pt x="91" y="289"/>
                    <a:pt x="91" y="289"/>
                  </a:cubicBezTo>
                  <a:cubicBezTo>
                    <a:pt x="91" y="289"/>
                    <a:pt x="91" y="289"/>
                    <a:pt x="91" y="289"/>
                  </a:cubicBezTo>
                  <a:cubicBezTo>
                    <a:pt x="91" y="289"/>
                    <a:pt x="92" y="289"/>
                    <a:pt x="93" y="290"/>
                  </a:cubicBezTo>
                  <a:cubicBezTo>
                    <a:pt x="93" y="290"/>
                    <a:pt x="94" y="290"/>
                    <a:pt x="94" y="290"/>
                  </a:cubicBezTo>
                  <a:cubicBezTo>
                    <a:pt x="95" y="290"/>
                    <a:pt x="95" y="290"/>
                    <a:pt x="95" y="290"/>
                  </a:cubicBezTo>
                  <a:cubicBezTo>
                    <a:pt x="96" y="291"/>
                    <a:pt x="96" y="291"/>
                    <a:pt x="96" y="291"/>
                  </a:cubicBezTo>
                  <a:cubicBezTo>
                    <a:pt x="98" y="287"/>
                    <a:pt x="98" y="287"/>
                    <a:pt x="98" y="287"/>
                  </a:cubicBezTo>
                  <a:cubicBezTo>
                    <a:pt x="97" y="291"/>
                    <a:pt x="97" y="291"/>
                    <a:pt x="97" y="291"/>
                  </a:cubicBezTo>
                  <a:cubicBezTo>
                    <a:pt x="98" y="292"/>
                    <a:pt x="98" y="292"/>
                    <a:pt x="98" y="292"/>
                  </a:cubicBezTo>
                  <a:cubicBezTo>
                    <a:pt x="99" y="292"/>
                    <a:pt x="99" y="292"/>
                    <a:pt x="99" y="292"/>
                  </a:cubicBezTo>
                  <a:cubicBezTo>
                    <a:pt x="99" y="292"/>
                    <a:pt x="99" y="292"/>
                    <a:pt x="99" y="292"/>
                  </a:cubicBezTo>
                  <a:cubicBezTo>
                    <a:pt x="100" y="292"/>
                    <a:pt x="100" y="292"/>
                    <a:pt x="100" y="292"/>
                  </a:cubicBezTo>
                  <a:cubicBezTo>
                    <a:pt x="100" y="293"/>
                    <a:pt x="101" y="293"/>
                    <a:pt x="102" y="294"/>
                  </a:cubicBezTo>
                  <a:cubicBezTo>
                    <a:pt x="104" y="291"/>
                    <a:pt x="104" y="291"/>
                    <a:pt x="104" y="291"/>
                  </a:cubicBezTo>
                  <a:cubicBezTo>
                    <a:pt x="103" y="295"/>
                    <a:pt x="103" y="295"/>
                    <a:pt x="103" y="295"/>
                  </a:cubicBezTo>
                  <a:cubicBezTo>
                    <a:pt x="104" y="295"/>
                    <a:pt x="104" y="295"/>
                    <a:pt x="104" y="295"/>
                  </a:cubicBezTo>
                  <a:cubicBezTo>
                    <a:pt x="107" y="298"/>
                    <a:pt x="110" y="301"/>
                    <a:pt x="111" y="304"/>
                  </a:cubicBezTo>
                  <a:cubicBezTo>
                    <a:pt x="111" y="304"/>
                    <a:pt x="111" y="304"/>
                    <a:pt x="111" y="304"/>
                  </a:cubicBezTo>
                  <a:cubicBezTo>
                    <a:pt x="112" y="305"/>
                    <a:pt x="112" y="306"/>
                    <a:pt x="112" y="307"/>
                  </a:cubicBezTo>
                  <a:cubicBezTo>
                    <a:pt x="112" y="308"/>
                    <a:pt x="113" y="311"/>
                    <a:pt x="114" y="312"/>
                  </a:cubicBezTo>
                  <a:cubicBezTo>
                    <a:pt x="114" y="312"/>
                    <a:pt x="114" y="312"/>
                    <a:pt x="114" y="312"/>
                  </a:cubicBezTo>
                  <a:cubicBezTo>
                    <a:pt x="115" y="312"/>
                    <a:pt x="116" y="312"/>
                    <a:pt x="117" y="313"/>
                  </a:cubicBezTo>
                  <a:cubicBezTo>
                    <a:pt x="117" y="313"/>
                    <a:pt x="117" y="313"/>
                    <a:pt x="117" y="313"/>
                  </a:cubicBezTo>
                  <a:cubicBezTo>
                    <a:pt x="118" y="313"/>
                    <a:pt x="119" y="314"/>
                    <a:pt x="120" y="315"/>
                  </a:cubicBezTo>
                  <a:cubicBezTo>
                    <a:pt x="121" y="316"/>
                    <a:pt x="121" y="316"/>
                    <a:pt x="122" y="316"/>
                  </a:cubicBezTo>
                  <a:cubicBezTo>
                    <a:pt x="122" y="317"/>
                    <a:pt x="123" y="317"/>
                    <a:pt x="124" y="318"/>
                  </a:cubicBezTo>
                  <a:cubicBezTo>
                    <a:pt x="126" y="318"/>
                    <a:pt x="127" y="319"/>
                    <a:pt x="129" y="320"/>
                  </a:cubicBezTo>
                  <a:cubicBezTo>
                    <a:pt x="130" y="321"/>
                    <a:pt x="131" y="323"/>
                    <a:pt x="132" y="324"/>
                  </a:cubicBezTo>
                  <a:cubicBezTo>
                    <a:pt x="132" y="325"/>
                    <a:pt x="132" y="325"/>
                    <a:pt x="132" y="326"/>
                  </a:cubicBezTo>
                  <a:cubicBezTo>
                    <a:pt x="132" y="327"/>
                    <a:pt x="132" y="328"/>
                    <a:pt x="132" y="329"/>
                  </a:cubicBezTo>
                  <a:cubicBezTo>
                    <a:pt x="132" y="329"/>
                    <a:pt x="132" y="329"/>
                    <a:pt x="132" y="329"/>
                  </a:cubicBezTo>
                  <a:cubicBezTo>
                    <a:pt x="132" y="329"/>
                    <a:pt x="132" y="329"/>
                    <a:pt x="132" y="329"/>
                  </a:cubicBezTo>
                  <a:cubicBezTo>
                    <a:pt x="132" y="330"/>
                    <a:pt x="132" y="330"/>
                    <a:pt x="132" y="330"/>
                  </a:cubicBezTo>
                  <a:cubicBezTo>
                    <a:pt x="132" y="330"/>
                    <a:pt x="132" y="330"/>
                    <a:pt x="132" y="330"/>
                  </a:cubicBezTo>
                  <a:cubicBezTo>
                    <a:pt x="132" y="330"/>
                    <a:pt x="132" y="330"/>
                    <a:pt x="132" y="330"/>
                  </a:cubicBezTo>
                  <a:cubicBezTo>
                    <a:pt x="133" y="330"/>
                    <a:pt x="133" y="330"/>
                    <a:pt x="134" y="330"/>
                  </a:cubicBezTo>
                  <a:cubicBezTo>
                    <a:pt x="134" y="330"/>
                    <a:pt x="134" y="330"/>
                    <a:pt x="135" y="330"/>
                  </a:cubicBezTo>
                  <a:cubicBezTo>
                    <a:pt x="136" y="330"/>
                    <a:pt x="137" y="330"/>
                    <a:pt x="139" y="331"/>
                  </a:cubicBezTo>
                  <a:cubicBezTo>
                    <a:pt x="139" y="332"/>
                    <a:pt x="140" y="332"/>
                    <a:pt x="140" y="333"/>
                  </a:cubicBezTo>
                  <a:cubicBezTo>
                    <a:pt x="140" y="333"/>
                    <a:pt x="140" y="333"/>
                    <a:pt x="140" y="333"/>
                  </a:cubicBezTo>
                  <a:cubicBezTo>
                    <a:pt x="141" y="334"/>
                    <a:pt x="141" y="334"/>
                    <a:pt x="141" y="334"/>
                  </a:cubicBezTo>
                  <a:cubicBezTo>
                    <a:pt x="146" y="332"/>
                    <a:pt x="146" y="332"/>
                    <a:pt x="146" y="332"/>
                  </a:cubicBezTo>
                  <a:cubicBezTo>
                    <a:pt x="141" y="335"/>
                    <a:pt x="141" y="335"/>
                    <a:pt x="141" y="335"/>
                  </a:cubicBezTo>
                  <a:cubicBezTo>
                    <a:pt x="141" y="336"/>
                    <a:pt x="141" y="336"/>
                    <a:pt x="141" y="336"/>
                  </a:cubicBezTo>
                  <a:cubicBezTo>
                    <a:pt x="141" y="336"/>
                    <a:pt x="141" y="337"/>
                    <a:pt x="141" y="338"/>
                  </a:cubicBezTo>
                  <a:cubicBezTo>
                    <a:pt x="141" y="338"/>
                    <a:pt x="141" y="339"/>
                    <a:pt x="142" y="339"/>
                  </a:cubicBezTo>
                  <a:cubicBezTo>
                    <a:pt x="142" y="340"/>
                    <a:pt x="142" y="340"/>
                    <a:pt x="142" y="340"/>
                  </a:cubicBezTo>
                  <a:cubicBezTo>
                    <a:pt x="143" y="344"/>
                    <a:pt x="143" y="345"/>
                    <a:pt x="145" y="345"/>
                  </a:cubicBezTo>
                  <a:cubicBezTo>
                    <a:pt x="145" y="345"/>
                    <a:pt x="146" y="345"/>
                    <a:pt x="147" y="345"/>
                  </a:cubicBezTo>
                  <a:cubicBezTo>
                    <a:pt x="147" y="344"/>
                    <a:pt x="148" y="344"/>
                    <a:pt x="149" y="343"/>
                  </a:cubicBezTo>
                  <a:cubicBezTo>
                    <a:pt x="150" y="343"/>
                    <a:pt x="150" y="343"/>
                    <a:pt x="150" y="343"/>
                  </a:cubicBezTo>
                  <a:cubicBezTo>
                    <a:pt x="151" y="343"/>
                    <a:pt x="152" y="343"/>
                    <a:pt x="153" y="344"/>
                  </a:cubicBezTo>
                  <a:cubicBezTo>
                    <a:pt x="153" y="344"/>
                    <a:pt x="154" y="344"/>
                    <a:pt x="155" y="344"/>
                  </a:cubicBezTo>
                  <a:cubicBezTo>
                    <a:pt x="156" y="345"/>
                    <a:pt x="156" y="345"/>
                    <a:pt x="156" y="345"/>
                  </a:cubicBezTo>
                  <a:cubicBezTo>
                    <a:pt x="157" y="345"/>
                    <a:pt x="157" y="345"/>
                    <a:pt x="157" y="345"/>
                  </a:cubicBezTo>
                  <a:cubicBezTo>
                    <a:pt x="157" y="345"/>
                    <a:pt x="157" y="345"/>
                    <a:pt x="157" y="345"/>
                  </a:cubicBezTo>
                  <a:cubicBezTo>
                    <a:pt x="157" y="345"/>
                    <a:pt x="158" y="345"/>
                    <a:pt x="158" y="344"/>
                  </a:cubicBezTo>
                  <a:cubicBezTo>
                    <a:pt x="158" y="344"/>
                    <a:pt x="159" y="344"/>
                    <a:pt x="159" y="344"/>
                  </a:cubicBezTo>
                  <a:cubicBezTo>
                    <a:pt x="159" y="344"/>
                    <a:pt x="159" y="344"/>
                    <a:pt x="160" y="344"/>
                  </a:cubicBezTo>
                  <a:cubicBezTo>
                    <a:pt x="160" y="344"/>
                    <a:pt x="160" y="344"/>
                    <a:pt x="160" y="344"/>
                  </a:cubicBezTo>
                  <a:cubicBezTo>
                    <a:pt x="160" y="344"/>
                    <a:pt x="160" y="344"/>
                    <a:pt x="160" y="344"/>
                  </a:cubicBezTo>
                  <a:cubicBezTo>
                    <a:pt x="160" y="344"/>
                    <a:pt x="160" y="344"/>
                    <a:pt x="160" y="344"/>
                  </a:cubicBezTo>
                  <a:cubicBezTo>
                    <a:pt x="161" y="343"/>
                    <a:pt x="161" y="343"/>
                    <a:pt x="161" y="343"/>
                  </a:cubicBezTo>
                  <a:cubicBezTo>
                    <a:pt x="162" y="343"/>
                    <a:pt x="162" y="343"/>
                    <a:pt x="163" y="343"/>
                  </a:cubicBezTo>
                  <a:cubicBezTo>
                    <a:pt x="163" y="343"/>
                    <a:pt x="163" y="343"/>
                    <a:pt x="163" y="343"/>
                  </a:cubicBezTo>
                  <a:cubicBezTo>
                    <a:pt x="164" y="342"/>
                    <a:pt x="164" y="342"/>
                    <a:pt x="165" y="342"/>
                  </a:cubicBezTo>
                  <a:cubicBezTo>
                    <a:pt x="165" y="342"/>
                    <a:pt x="165" y="342"/>
                    <a:pt x="165" y="342"/>
                  </a:cubicBezTo>
                  <a:cubicBezTo>
                    <a:pt x="166" y="341"/>
                    <a:pt x="166" y="341"/>
                    <a:pt x="166" y="341"/>
                  </a:cubicBezTo>
                  <a:cubicBezTo>
                    <a:pt x="166" y="340"/>
                    <a:pt x="167" y="339"/>
                    <a:pt x="168" y="339"/>
                  </a:cubicBezTo>
                  <a:cubicBezTo>
                    <a:pt x="169" y="339"/>
                    <a:pt x="170" y="339"/>
                    <a:pt x="171" y="340"/>
                  </a:cubicBezTo>
                  <a:cubicBezTo>
                    <a:pt x="171" y="340"/>
                    <a:pt x="172" y="340"/>
                    <a:pt x="173" y="341"/>
                  </a:cubicBezTo>
                  <a:cubicBezTo>
                    <a:pt x="174" y="341"/>
                    <a:pt x="174" y="341"/>
                    <a:pt x="174" y="341"/>
                  </a:cubicBezTo>
                  <a:cubicBezTo>
                    <a:pt x="176" y="342"/>
                    <a:pt x="177" y="342"/>
                    <a:pt x="179" y="343"/>
                  </a:cubicBezTo>
                  <a:cubicBezTo>
                    <a:pt x="179" y="343"/>
                    <a:pt x="179" y="343"/>
                    <a:pt x="179" y="343"/>
                  </a:cubicBezTo>
                  <a:cubicBezTo>
                    <a:pt x="179" y="343"/>
                    <a:pt x="179" y="343"/>
                    <a:pt x="179" y="343"/>
                  </a:cubicBezTo>
                  <a:cubicBezTo>
                    <a:pt x="180" y="343"/>
                    <a:pt x="180" y="343"/>
                    <a:pt x="181" y="342"/>
                  </a:cubicBezTo>
                  <a:cubicBezTo>
                    <a:pt x="181" y="342"/>
                    <a:pt x="181" y="342"/>
                    <a:pt x="181" y="342"/>
                  </a:cubicBezTo>
                  <a:cubicBezTo>
                    <a:pt x="182" y="342"/>
                    <a:pt x="182" y="342"/>
                    <a:pt x="182" y="342"/>
                  </a:cubicBezTo>
                  <a:cubicBezTo>
                    <a:pt x="183" y="341"/>
                    <a:pt x="183" y="341"/>
                    <a:pt x="183" y="341"/>
                  </a:cubicBezTo>
                  <a:cubicBezTo>
                    <a:pt x="184" y="341"/>
                    <a:pt x="185" y="341"/>
                    <a:pt x="185" y="341"/>
                  </a:cubicBezTo>
                  <a:cubicBezTo>
                    <a:pt x="185" y="341"/>
                    <a:pt x="185" y="341"/>
                    <a:pt x="185" y="341"/>
                  </a:cubicBezTo>
                  <a:cubicBezTo>
                    <a:pt x="186" y="341"/>
                    <a:pt x="186" y="340"/>
                    <a:pt x="187" y="340"/>
                  </a:cubicBezTo>
                  <a:cubicBezTo>
                    <a:pt x="188" y="340"/>
                    <a:pt x="189" y="340"/>
                    <a:pt x="189" y="340"/>
                  </a:cubicBezTo>
                  <a:cubicBezTo>
                    <a:pt x="192" y="340"/>
                    <a:pt x="194" y="341"/>
                    <a:pt x="195" y="342"/>
                  </a:cubicBezTo>
                  <a:cubicBezTo>
                    <a:pt x="195" y="343"/>
                    <a:pt x="196" y="343"/>
                    <a:pt x="196" y="343"/>
                  </a:cubicBezTo>
                  <a:cubicBezTo>
                    <a:pt x="197" y="344"/>
                    <a:pt x="198" y="344"/>
                    <a:pt x="200" y="345"/>
                  </a:cubicBezTo>
                  <a:cubicBezTo>
                    <a:pt x="201" y="345"/>
                    <a:pt x="202" y="345"/>
                    <a:pt x="203" y="345"/>
                  </a:cubicBezTo>
                  <a:cubicBezTo>
                    <a:pt x="204" y="346"/>
                    <a:pt x="205" y="346"/>
                    <a:pt x="207" y="347"/>
                  </a:cubicBezTo>
                  <a:cubicBezTo>
                    <a:pt x="208" y="348"/>
                    <a:pt x="209" y="349"/>
                    <a:pt x="209" y="350"/>
                  </a:cubicBezTo>
                  <a:cubicBezTo>
                    <a:pt x="210" y="350"/>
                    <a:pt x="210" y="350"/>
                    <a:pt x="210" y="351"/>
                  </a:cubicBezTo>
                  <a:cubicBezTo>
                    <a:pt x="212" y="354"/>
                    <a:pt x="210" y="356"/>
                    <a:pt x="210" y="357"/>
                  </a:cubicBezTo>
                  <a:cubicBezTo>
                    <a:pt x="208" y="361"/>
                    <a:pt x="205" y="365"/>
                    <a:pt x="203" y="368"/>
                  </a:cubicBezTo>
                  <a:cubicBezTo>
                    <a:pt x="203" y="368"/>
                    <a:pt x="203" y="368"/>
                    <a:pt x="203" y="368"/>
                  </a:cubicBezTo>
                  <a:cubicBezTo>
                    <a:pt x="202" y="370"/>
                    <a:pt x="200" y="372"/>
                    <a:pt x="199" y="374"/>
                  </a:cubicBezTo>
                  <a:cubicBezTo>
                    <a:pt x="198" y="376"/>
                    <a:pt x="198" y="376"/>
                    <a:pt x="198" y="376"/>
                  </a:cubicBezTo>
                  <a:cubicBezTo>
                    <a:pt x="198" y="376"/>
                    <a:pt x="198" y="376"/>
                    <a:pt x="198" y="377"/>
                  </a:cubicBezTo>
                  <a:cubicBezTo>
                    <a:pt x="198" y="377"/>
                    <a:pt x="199" y="376"/>
                    <a:pt x="200" y="376"/>
                  </a:cubicBezTo>
                  <a:cubicBezTo>
                    <a:pt x="200" y="376"/>
                    <a:pt x="200" y="376"/>
                    <a:pt x="200" y="376"/>
                  </a:cubicBezTo>
                  <a:cubicBezTo>
                    <a:pt x="200" y="376"/>
                    <a:pt x="201" y="376"/>
                    <a:pt x="201" y="376"/>
                  </a:cubicBezTo>
                  <a:cubicBezTo>
                    <a:pt x="202" y="376"/>
                    <a:pt x="203" y="376"/>
                    <a:pt x="204" y="376"/>
                  </a:cubicBezTo>
                  <a:cubicBezTo>
                    <a:pt x="205" y="377"/>
                    <a:pt x="206" y="378"/>
                    <a:pt x="207" y="379"/>
                  </a:cubicBezTo>
                  <a:cubicBezTo>
                    <a:pt x="209" y="381"/>
                    <a:pt x="209" y="381"/>
                    <a:pt x="209" y="381"/>
                  </a:cubicBezTo>
                  <a:cubicBezTo>
                    <a:pt x="209" y="379"/>
                    <a:pt x="210" y="376"/>
                    <a:pt x="210" y="374"/>
                  </a:cubicBezTo>
                  <a:cubicBezTo>
                    <a:pt x="211" y="369"/>
                    <a:pt x="211" y="369"/>
                    <a:pt x="211" y="369"/>
                  </a:cubicBezTo>
                  <a:cubicBezTo>
                    <a:pt x="212" y="369"/>
                    <a:pt x="212" y="369"/>
                    <a:pt x="212" y="369"/>
                  </a:cubicBezTo>
                  <a:cubicBezTo>
                    <a:pt x="211" y="369"/>
                    <a:pt x="211" y="369"/>
                    <a:pt x="211" y="369"/>
                  </a:cubicBezTo>
                  <a:cubicBezTo>
                    <a:pt x="212" y="365"/>
                    <a:pt x="212" y="365"/>
                    <a:pt x="212" y="365"/>
                  </a:cubicBezTo>
                  <a:cubicBezTo>
                    <a:pt x="212" y="364"/>
                    <a:pt x="212" y="364"/>
                    <a:pt x="212" y="363"/>
                  </a:cubicBezTo>
                  <a:cubicBezTo>
                    <a:pt x="212" y="362"/>
                    <a:pt x="212" y="362"/>
                    <a:pt x="212" y="362"/>
                  </a:cubicBezTo>
                  <a:cubicBezTo>
                    <a:pt x="212" y="362"/>
                    <a:pt x="213" y="361"/>
                    <a:pt x="213" y="361"/>
                  </a:cubicBezTo>
                  <a:cubicBezTo>
                    <a:pt x="214" y="354"/>
                    <a:pt x="214" y="354"/>
                    <a:pt x="214" y="354"/>
                  </a:cubicBezTo>
                  <a:cubicBezTo>
                    <a:pt x="214" y="353"/>
                    <a:pt x="214" y="353"/>
                    <a:pt x="214" y="353"/>
                  </a:cubicBezTo>
                  <a:cubicBezTo>
                    <a:pt x="215" y="350"/>
                    <a:pt x="215" y="350"/>
                    <a:pt x="215" y="350"/>
                  </a:cubicBezTo>
                  <a:cubicBezTo>
                    <a:pt x="215" y="350"/>
                    <a:pt x="215" y="349"/>
                    <a:pt x="215" y="349"/>
                  </a:cubicBezTo>
                  <a:cubicBezTo>
                    <a:pt x="215" y="348"/>
                    <a:pt x="215" y="347"/>
                    <a:pt x="215" y="347"/>
                  </a:cubicBezTo>
                  <a:cubicBezTo>
                    <a:pt x="216" y="343"/>
                    <a:pt x="216" y="343"/>
                    <a:pt x="216" y="343"/>
                  </a:cubicBezTo>
                  <a:cubicBezTo>
                    <a:pt x="216" y="342"/>
                    <a:pt x="216" y="342"/>
                    <a:pt x="216" y="342"/>
                  </a:cubicBezTo>
                  <a:cubicBezTo>
                    <a:pt x="216" y="340"/>
                    <a:pt x="216" y="340"/>
                    <a:pt x="216" y="340"/>
                  </a:cubicBezTo>
                  <a:cubicBezTo>
                    <a:pt x="217" y="339"/>
                    <a:pt x="217" y="339"/>
                    <a:pt x="217" y="339"/>
                  </a:cubicBezTo>
                  <a:cubicBezTo>
                    <a:pt x="217" y="338"/>
                    <a:pt x="217" y="338"/>
                    <a:pt x="217" y="338"/>
                  </a:cubicBezTo>
                  <a:cubicBezTo>
                    <a:pt x="217" y="338"/>
                    <a:pt x="217" y="338"/>
                    <a:pt x="217" y="337"/>
                  </a:cubicBezTo>
                  <a:cubicBezTo>
                    <a:pt x="217" y="335"/>
                    <a:pt x="217" y="335"/>
                    <a:pt x="217" y="335"/>
                  </a:cubicBezTo>
                  <a:cubicBezTo>
                    <a:pt x="219" y="325"/>
                    <a:pt x="220" y="316"/>
                    <a:pt x="219" y="314"/>
                  </a:cubicBezTo>
                  <a:cubicBezTo>
                    <a:pt x="218" y="312"/>
                    <a:pt x="218" y="310"/>
                    <a:pt x="218" y="308"/>
                  </a:cubicBezTo>
                  <a:cubicBezTo>
                    <a:pt x="217" y="305"/>
                    <a:pt x="217" y="303"/>
                    <a:pt x="216" y="303"/>
                  </a:cubicBezTo>
                  <a:cubicBezTo>
                    <a:pt x="212" y="301"/>
                    <a:pt x="204" y="295"/>
                    <a:pt x="205" y="289"/>
                  </a:cubicBezTo>
                  <a:cubicBezTo>
                    <a:pt x="205" y="287"/>
                    <a:pt x="205" y="286"/>
                    <a:pt x="205" y="285"/>
                  </a:cubicBezTo>
                  <a:cubicBezTo>
                    <a:pt x="205" y="285"/>
                    <a:pt x="205" y="285"/>
                    <a:pt x="205" y="285"/>
                  </a:cubicBezTo>
                  <a:cubicBezTo>
                    <a:pt x="205" y="283"/>
                    <a:pt x="206" y="281"/>
                    <a:pt x="205" y="279"/>
                  </a:cubicBezTo>
                  <a:cubicBezTo>
                    <a:pt x="204" y="273"/>
                    <a:pt x="212" y="272"/>
                    <a:pt x="215" y="271"/>
                  </a:cubicBezTo>
                  <a:cubicBezTo>
                    <a:pt x="215" y="271"/>
                    <a:pt x="215" y="271"/>
                    <a:pt x="215" y="271"/>
                  </a:cubicBezTo>
                  <a:cubicBezTo>
                    <a:pt x="216" y="271"/>
                    <a:pt x="216" y="271"/>
                    <a:pt x="217" y="270"/>
                  </a:cubicBezTo>
                  <a:cubicBezTo>
                    <a:pt x="218" y="270"/>
                    <a:pt x="219" y="270"/>
                    <a:pt x="221" y="270"/>
                  </a:cubicBezTo>
                  <a:cubicBezTo>
                    <a:pt x="222" y="270"/>
                    <a:pt x="223" y="270"/>
                    <a:pt x="225" y="270"/>
                  </a:cubicBezTo>
                  <a:cubicBezTo>
                    <a:pt x="225" y="271"/>
                    <a:pt x="226" y="271"/>
                    <a:pt x="226" y="271"/>
                  </a:cubicBezTo>
                  <a:cubicBezTo>
                    <a:pt x="226" y="270"/>
                    <a:pt x="226" y="270"/>
                    <a:pt x="226" y="269"/>
                  </a:cubicBezTo>
                  <a:cubicBezTo>
                    <a:pt x="225" y="269"/>
                    <a:pt x="225" y="268"/>
                    <a:pt x="225" y="268"/>
                  </a:cubicBezTo>
                  <a:cubicBezTo>
                    <a:pt x="224" y="269"/>
                    <a:pt x="224" y="269"/>
                    <a:pt x="224" y="269"/>
                  </a:cubicBezTo>
                  <a:cubicBezTo>
                    <a:pt x="222" y="268"/>
                    <a:pt x="222" y="268"/>
                    <a:pt x="222" y="268"/>
                  </a:cubicBezTo>
                  <a:cubicBezTo>
                    <a:pt x="220" y="267"/>
                    <a:pt x="218" y="267"/>
                    <a:pt x="217" y="267"/>
                  </a:cubicBezTo>
                  <a:cubicBezTo>
                    <a:pt x="216" y="267"/>
                    <a:pt x="215" y="267"/>
                    <a:pt x="215" y="267"/>
                  </a:cubicBezTo>
                  <a:cubicBezTo>
                    <a:pt x="210" y="270"/>
                    <a:pt x="210" y="270"/>
                    <a:pt x="210" y="270"/>
                  </a:cubicBezTo>
                  <a:cubicBezTo>
                    <a:pt x="210" y="265"/>
                    <a:pt x="210" y="265"/>
                    <a:pt x="210" y="265"/>
                  </a:cubicBezTo>
                  <a:cubicBezTo>
                    <a:pt x="210" y="260"/>
                    <a:pt x="210" y="250"/>
                    <a:pt x="210" y="250"/>
                  </a:cubicBezTo>
                  <a:cubicBezTo>
                    <a:pt x="210" y="248"/>
                    <a:pt x="210" y="248"/>
                    <a:pt x="210" y="248"/>
                  </a:cubicBezTo>
                  <a:cubicBezTo>
                    <a:pt x="212" y="247"/>
                    <a:pt x="212" y="247"/>
                    <a:pt x="212" y="247"/>
                  </a:cubicBezTo>
                  <a:cubicBezTo>
                    <a:pt x="212" y="247"/>
                    <a:pt x="215" y="246"/>
                    <a:pt x="222" y="246"/>
                  </a:cubicBezTo>
                  <a:cubicBezTo>
                    <a:pt x="223" y="246"/>
                    <a:pt x="224" y="246"/>
                    <a:pt x="224" y="247"/>
                  </a:cubicBezTo>
                  <a:cubicBezTo>
                    <a:pt x="229" y="247"/>
                    <a:pt x="236" y="247"/>
                    <a:pt x="242" y="247"/>
                  </a:cubicBezTo>
                  <a:cubicBezTo>
                    <a:pt x="244" y="247"/>
                    <a:pt x="246" y="247"/>
                    <a:pt x="247" y="247"/>
                  </a:cubicBezTo>
                  <a:cubicBezTo>
                    <a:pt x="247" y="245"/>
                    <a:pt x="248" y="243"/>
                    <a:pt x="249" y="241"/>
                  </a:cubicBezTo>
                  <a:cubicBezTo>
                    <a:pt x="252" y="238"/>
                    <a:pt x="252" y="238"/>
                    <a:pt x="252" y="238"/>
                  </a:cubicBezTo>
                  <a:cubicBezTo>
                    <a:pt x="255" y="243"/>
                    <a:pt x="255" y="243"/>
                    <a:pt x="255" y="243"/>
                  </a:cubicBezTo>
                  <a:cubicBezTo>
                    <a:pt x="256" y="244"/>
                    <a:pt x="257" y="245"/>
                    <a:pt x="258" y="246"/>
                  </a:cubicBezTo>
                  <a:cubicBezTo>
                    <a:pt x="258" y="246"/>
                    <a:pt x="258" y="245"/>
                    <a:pt x="259" y="245"/>
                  </a:cubicBezTo>
                  <a:cubicBezTo>
                    <a:pt x="259" y="244"/>
                    <a:pt x="260" y="244"/>
                    <a:pt x="261" y="243"/>
                  </a:cubicBezTo>
                  <a:cubicBezTo>
                    <a:pt x="264" y="241"/>
                    <a:pt x="267" y="238"/>
                    <a:pt x="270" y="238"/>
                  </a:cubicBezTo>
                  <a:cubicBezTo>
                    <a:pt x="270" y="238"/>
                    <a:pt x="271" y="238"/>
                    <a:pt x="271" y="238"/>
                  </a:cubicBezTo>
                  <a:cubicBezTo>
                    <a:pt x="271" y="237"/>
                    <a:pt x="270" y="236"/>
                    <a:pt x="270" y="235"/>
                  </a:cubicBezTo>
                  <a:cubicBezTo>
                    <a:pt x="269" y="234"/>
                    <a:pt x="268" y="233"/>
                    <a:pt x="268" y="232"/>
                  </a:cubicBezTo>
                  <a:cubicBezTo>
                    <a:pt x="267" y="231"/>
                    <a:pt x="266" y="230"/>
                    <a:pt x="265" y="229"/>
                  </a:cubicBezTo>
                  <a:cubicBezTo>
                    <a:pt x="264" y="228"/>
                    <a:pt x="264" y="228"/>
                    <a:pt x="264" y="228"/>
                  </a:cubicBezTo>
                  <a:cubicBezTo>
                    <a:pt x="264" y="228"/>
                    <a:pt x="264" y="228"/>
                    <a:pt x="264" y="228"/>
                  </a:cubicBezTo>
                  <a:cubicBezTo>
                    <a:pt x="264" y="228"/>
                    <a:pt x="263" y="228"/>
                    <a:pt x="262" y="228"/>
                  </a:cubicBezTo>
                  <a:cubicBezTo>
                    <a:pt x="262" y="228"/>
                    <a:pt x="261" y="228"/>
                    <a:pt x="260" y="228"/>
                  </a:cubicBezTo>
                  <a:cubicBezTo>
                    <a:pt x="258" y="228"/>
                    <a:pt x="257" y="226"/>
                    <a:pt x="257" y="224"/>
                  </a:cubicBezTo>
                  <a:cubicBezTo>
                    <a:pt x="257" y="222"/>
                    <a:pt x="258" y="221"/>
                    <a:pt x="259" y="220"/>
                  </a:cubicBezTo>
                  <a:cubicBezTo>
                    <a:pt x="260" y="219"/>
                    <a:pt x="262" y="217"/>
                    <a:pt x="264" y="216"/>
                  </a:cubicBezTo>
                  <a:cubicBezTo>
                    <a:pt x="264" y="216"/>
                    <a:pt x="264" y="216"/>
                    <a:pt x="264" y="216"/>
                  </a:cubicBezTo>
                  <a:cubicBezTo>
                    <a:pt x="265" y="215"/>
                    <a:pt x="265" y="215"/>
                    <a:pt x="265" y="215"/>
                  </a:cubicBezTo>
                  <a:cubicBezTo>
                    <a:pt x="262" y="211"/>
                    <a:pt x="262" y="211"/>
                    <a:pt x="262" y="211"/>
                  </a:cubicBezTo>
                  <a:cubicBezTo>
                    <a:pt x="266" y="214"/>
                    <a:pt x="266" y="214"/>
                    <a:pt x="266" y="214"/>
                  </a:cubicBezTo>
                  <a:cubicBezTo>
                    <a:pt x="266" y="214"/>
                    <a:pt x="266" y="214"/>
                    <a:pt x="266" y="214"/>
                  </a:cubicBezTo>
                  <a:cubicBezTo>
                    <a:pt x="267" y="213"/>
                    <a:pt x="268" y="212"/>
                    <a:pt x="269" y="211"/>
                  </a:cubicBezTo>
                  <a:cubicBezTo>
                    <a:pt x="269" y="211"/>
                    <a:pt x="269" y="211"/>
                    <a:pt x="269" y="211"/>
                  </a:cubicBezTo>
                  <a:cubicBezTo>
                    <a:pt x="268" y="210"/>
                    <a:pt x="268" y="210"/>
                    <a:pt x="268" y="210"/>
                  </a:cubicBezTo>
                  <a:cubicBezTo>
                    <a:pt x="268" y="210"/>
                    <a:pt x="268" y="210"/>
                    <a:pt x="268" y="210"/>
                  </a:cubicBezTo>
                  <a:cubicBezTo>
                    <a:pt x="267" y="208"/>
                    <a:pt x="267" y="207"/>
                    <a:pt x="266" y="207"/>
                  </a:cubicBezTo>
                  <a:cubicBezTo>
                    <a:pt x="265" y="207"/>
                    <a:pt x="264" y="206"/>
                    <a:pt x="263" y="205"/>
                  </a:cubicBezTo>
                  <a:cubicBezTo>
                    <a:pt x="262" y="203"/>
                    <a:pt x="262" y="202"/>
                    <a:pt x="261" y="200"/>
                  </a:cubicBezTo>
                  <a:cubicBezTo>
                    <a:pt x="261" y="200"/>
                    <a:pt x="261" y="200"/>
                    <a:pt x="261" y="200"/>
                  </a:cubicBezTo>
                  <a:cubicBezTo>
                    <a:pt x="261" y="199"/>
                    <a:pt x="261" y="198"/>
                    <a:pt x="260" y="197"/>
                  </a:cubicBezTo>
                  <a:cubicBezTo>
                    <a:pt x="259" y="194"/>
                    <a:pt x="258" y="191"/>
                    <a:pt x="257" y="187"/>
                  </a:cubicBezTo>
                  <a:cubicBezTo>
                    <a:pt x="257" y="187"/>
                    <a:pt x="257" y="186"/>
                    <a:pt x="257" y="186"/>
                  </a:cubicBezTo>
                  <a:cubicBezTo>
                    <a:pt x="251" y="186"/>
                    <a:pt x="251" y="186"/>
                    <a:pt x="251" y="186"/>
                  </a:cubicBezTo>
                  <a:cubicBezTo>
                    <a:pt x="257" y="184"/>
                    <a:pt x="257" y="184"/>
                    <a:pt x="257" y="184"/>
                  </a:cubicBezTo>
                  <a:cubicBezTo>
                    <a:pt x="257" y="183"/>
                    <a:pt x="257" y="183"/>
                    <a:pt x="257" y="183"/>
                  </a:cubicBezTo>
                  <a:cubicBezTo>
                    <a:pt x="257" y="183"/>
                    <a:pt x="257" y="182"/>
                    <a:pt x="257" y="181"/>
                  </a:cubicBezTo>
                  <a:cubicBezTo>
                    <a:pt x="257" y="180"/>
                    <a:pt x="257" y="178"/>
                    <a:pt x="257" y="176"/>
                  </a:cubicBezTo>
                  <a:cubicBezTo>
                    <a:pt x="257" y="174"/>
                    <a:pt x="257" y="171"/>
                    <a:pt x="257" y="168"/>
                  </a:cubicBezTo>
                  <a:cubicBezTo>
                    <a:pt x="257" y="167"/>
                    <a:pt x="257" y="167"/>
                    <a:pt x="257" y="167"/>
                  </a:cubicBezTo>
                  <a:cubicBezTo>
                    <a:pt x="257" y="164"/>
                    <a:pt x="259" y="162"/>
                    <a:pt x="261" y="160"/>
                  </a:cubicBezTo>
                  <a:cubicBezTo>
                    <a:pt x="261" y="159"/>
                    <a:pt x="261" y="159"/>
                    <a:pt x="262" y="158"/>
                  </a:cubicBezTo>
                  <a:cubicBezTo>
                    <a:pt x="262" y="158"/>
                    <a:pt x="263" y="157"/>
                    <a:pt x="263" y="157"/>
                  </a:cubicBezTo>
                  <a:cubicBezTo>
                    <a:pt x="263" y="156"/>
                    <a:pt x="263" y="156"/>
                    <a:pt x="263" y="156"/>
                  </a:cubicBezTo>
                  <a:cubicBezTo>
                    <a:pt x="264" y="155"/>
                    <a:pt x="265" y="154"/>
                    <a:pt x="266" y="152"/>
                  </a:cubicBezTo>
                  <a:cubicBezTo>
                    <a:pt x="266" y="151"/>
                    <a:pt x="267" y="150"/>
                    <a:pt x="266" y="149"/>
                  </a:cubicBezTo>
                  <a:cubicBezTo>
                    <a:pt x="266" y="147"/>
                    <a:pt x="262" y="147"/>
                    <a:pt x="261" y="147"/>
                  </a:cubicBezTo>
                  <a:cubicBezTo>
                    <a:pt x="260" y="147"/>
                    <a:pt x="260" y="147"/>
                    <a:pt x="259" y="147"/>
                  </a:cubicBezTo>
                  <a:cubicBezTo>
                    <a:pt x="256" y="147"/>
                    <a:pt x="252" y="147"/>
                    <a:pt x="249" y="148"/>
                  </a:cubicBezTo>
                  <a:cubicBezTo>
                    <a:pt x="247" y="148"/>
                    <a:pt x="245" y="148"/>
                    <a:pt x="244" y="149"/>
                  </a:cubicBezTo>
                  <a:cubicBezTo>
                    <a:pt x="241" y="149"/>
                    <a:pt x="241" y="149"/>
                    <a:pt x="241" y="149"/>
                  </a:cubicBezTo>
                  <a:cubicBezTo>
                    <a:pt x="238" y="149"/>
                    <a:pt x="236" y="149"/>
                    <a:pt x="234" y="150"/>
                  </a:cubicBezTo>
                  <a:cubicBezTo>
                    <a:pt x="233" y="150"/>
                    <a:pt x="233" y="150"/>
                    <a:pt x="233" y="150"/>
                  </a:cubicBezTo>
                  <a:cubicBezTo>
                    <a:pt x="233" y="150"/>
                    <a:pt x="232" y="150"/>
                    <a:pt x="232" y="150"/>
                  </a:cubicBezTo>
                  <a:cubicBezTo>
                    <a:pt x="229" y="151"/>
                    <a:pt x="226" y="151"/>
                    <a:pt x="225" y="151"/>
                  </a:cubicBezTo>
                  <a:cubicBezTo>
                    <a:pt x="223" y="151"/>
                    <a:pt x="222" y="151"/>
                    <a:pt x="221" y="150"/>
                  </a:cubicBezTo>
                  <a:cubicBezTo>
                    <a:pt x="219" y="149"/>
                    <a:pt x="216" y="145"/>
                    <a:pt x="212" y="140"/>
                  </a:cubicBezTo>
                  <a:cubicBezTo>
                    <a:pt x="212" y="139"/>
                    <a:pt x="212" y="139"/>
                    <a:pt x="211" y="138"/>
                  </a:cubicBezTo>
                  <a:cubicBezTo>
                    <a:pt x="210" y="137"/>
                    <a:pt x="210" y="137"/>
                    <a:pt x="210" y="137"/>
                  </a:cubicBezTo>
                  <a:cubicBezTo>
                    <a:pt x="210" y="136"/>
                    <a:pt x="209" y="135"/>
                    <a:pt x="208" y="134"/>
                  </a:cubicBezTo>
                  <a:cubicBezTo>
                    <a:pt x="205" y="131"/>
                    <a:pt x="205" y="131"/>
                    <a:pt x="202" y="130"/>
                  </a:cubicBezTo>
                  <a:cubicBezTo>
                    <a:pt x="199" y="129"/>
                    <a:pt x="197" y="129"/>
                    <a:pt x="194" y="128"/>
                  </a:cubicBezTo>
                  <a:cubicBezTo>
                    <a:pt x="193" y="128"/>
                    <a:pt x="192" y="129"/>
                    <a:pt x="190" y="129"/>
                  </a:cubicBezTo>
                  <a:cubicBezTo>
                    <a:pt x="188" y="130"/>
                    <a:pt x="187" y="130"/>
                    <a:pt x="185" y="130"/>
                  </a:cubicBezTo>
                  <a:cubicBezTo>
                    <a:pt x="184" y="131"/>
                    <a:pt x="184" y="131"/>
                    <a:pt x="183" y="131"/>
                  </a:cubicBezTo>
                  <a:cubicBezTo>
                    <a:pt x="181" y="131"/>
                    <a:pt x="179" y="130"/>
                    <a:pt x="177" y="130"/>
                  </a:cubicBezTo>
                  <a:cubicBezTo>
                    <a:pt x="176" y="130"/>
                    <a:pt x="176" y="130"/>
                    <a:pt x="175" y="130"/>
                  </a:cubicBezTo>
                  <a:cubicBezTo>
                    <a:pt x="174" y="130"/>
                    <a:pt x="173" y="130"/>
                    <a:pt x="172" y="130"/>
                  </a:cubicBezTo>
                  <a:cubicBezTo>
                    <a:pt x="170" y="130"/>
                    <a:pt x="169" y="130"/>
                    <a:pt x="167" y="130"/>
                  </a:cubicBezTo>
                  <a:cubicBezTo>
                    <a:pt x="167" y="130"/>
                    <a:pt x="166" y="130"/>
                    <a:pt x="165" y="130"/>
                  </a:cubicBezTo>
                  <a:cubicBezTo>
                    <a:pt x="164" y="130"/>
                    <a:pt x="163" y="130"/>
                    <a:pt x="162" y="129"/>
                  </a:cubicBezTo>
                  <a:cubicBezTo>
                    <a:pt x="161" y="128"/>
                    <a:pt x="160" y="126"/>
                    <a:pt x="159" y="124"/>
                  </a:cubicBezTo>
                  <a:cubicBezTo>
                    <a:pt x="159" y="124"/>
                    <a:pt x="158" y="123"/>
                    <a:pt x="158" y="123"/>
                  </a:cubicBezTo>
                  <a:cubicBezTo>
                    <a:pt x="158" y="122"/>
                    <a:pt x="158" y="122"/>
                    <a:pt x="157" y="122"/>
                  </a:cubicBezTo>
                  <a:cubicBezTo>
                    <a:pt x="157" y="121"/>
                    <a:pt x="157" y="121"/>
                    <a:pt x="156" y="121"/>
                  </a:cubicBezTo>
                  <a:cubicBezTo>
                    <a:pt x="156" y="121"/>
                    <a:pt x="155" y="121"/>
                    <a:pt x="154" y="121"/>
                  </a:cubicBezTo>
                  <a:cubicBezTo>
                    <a:pt x="151" y="120"/>
                    <a:pt x="151" y="118"/>
                    <a:pt x="150" y="115"/>
                  </a:cubicBezTo>
                  <a:cubicBezTo>
                    <a:pt x="149" y="110"/>
                    <a:pt x="150" y="106"/>
                    <a:pt x="152" y="103"/>
                  </a:cubicBezTo>
                  <a:cubicBezTo>
                    <a:pt x="152" y="103"/>
                    <a:pt x="152" y="102"/>
                    <a:pt x="152" y="102"/>
                  </a:cubicBezTo>
                  <a:cubicBezTo>
                    <a:pt x="152" y="99"/>
                    <a:pt x="151" y="97"/>
                    <a:pt x="150" y="95"/>
                  </a:cubicBezTo>
                  <a:cubicBezTo>
                    <a:pt x="149" y="94"/>
                    <a:pt x="149" y="94"/>
                    <a:pt x="149" y="94"/>
                  </a:cubicBezTo>
                  <a:cubicBezTo>
                    <a:pt x="146" y="86"/>
                    <a:pt x="146" y="86"/>
                    <a:pt x="146" y="86"/>
                  </a:cubicBezTo>
                  <a:cubicBezTo>
                    <a:pt x="145" y="84"/>
                    <a:pt x="144" y="83"/>
                    <a:pt x="143" y="81"/>
                  </a:cubicBezTo>
                  <a:cubicBezTo>
                    <a:pt x="143" y="81"/>
                    <a:pt x="142" y="81"/>
                    <a:pt x="142" y="81"/>
                  </a:cubicBezTo>
                  <a:cubicBezTo>
                    <a:pt x="140" y="81"/>
                    <a:pt x="139" y="80"/>
                    <a:pt x="139" y="80"/>
                  </a:cubicBezTo>
                  <a:cubicBezTo>
                    <a:pt x="139" y="79"/>
                    <a:pt x="139" y="79"/>
                    <a:pt x="139" y="79"/>
                  </a:cubicBezTo>
                  <a:cubicBezTo>
                    <a:pt x="138" y="79"/>
                    <a:pt x="138" y="78"/>
                    <a:pt x="138" y="78"/>
                  </a:cubicBezTo>
                  <a:cubicBezTo>
                    <a:pt x="136" y="79"/>
                    <a:pt x="134" y="79"/>
                    <a:pt x="133" y="80"/>
                  </a:cubicBezTo>
                  <a:cubicBezTo>
                    <a:pt x="131" y="80"/>
                    <a:pt x="131" y="80"/>
                    <a:pt x="131" y="80"/>
                  </a:cubicBezTo>
                  <a:cubicBezTo>
                    <a:pt x="130" y="79"/>
                    <a:pt x="130" y="79"/>
                    <a:pt x="130" y="79"/>
                  </a:cubicBezTo>
                  <a:cubicBezTo>
                    <a:pt x="128" y="77"/>
                    <a:pt x="129" y="74"/>
                    <a:pt x="130" y="73"/>
                  </a:cubicBezTo>
                  <a:cubicBezTo>
                    <a:pt x="131" y="72"/>
                    <a:pt x="131" y="72"/>
                    <a:pt x="131" y="72"/>
                  </a:cubicBezTo>
                  <a:cubicBezTo>
                    <a:pt x="131" y="72"/>
                    <a:pt x="131" y="71"/>
                    <a:pt x="132" y="71"/>
                  </a:cubicBezTo>
                  <a:cubicBezTo>
                    <a:pt x="132" y="71"/>
                    <a:pt x="132" y="71"/>
                    <a:pt x="132" y="71"/>
                  </a:cubicBezTo>
                  <a:cubicBezTo>
                    <a:pt x="134" y="67"/>
                    <a:pt x="136" y="64"/>
                    <a:pt x="137" y="60"/>
                  </a:cubicBezTo>
                  <a:cubicBezTo>
                    <a:pt x="137" y="60"/>
                    <a:pt x="138" y="59"/>
                    <a:pt x="138" y="58"/>
                  </a:cubicBezTo>
                  <a:cubicBezTo>
                    <a:pt x="138" y="56"/>
                    <a:pt x="138" y="55"/>
                    <a:pt x="138" y="53"/>
                  </a:cubicBezTo>
                  <a:cubicBezTo>
                    <a:pt x="139" y="51"/>
                    <a:pt x="139" y="49"/>
                    <a:pt x="140" y="47"/>
                  </a:cubicBezTo>
                  <a:cubicBezTo>
                    <a:pt x="140" y="45"/>
                    <a:pt x="142" y="42"/>
                    <a:pt x="143" y="40"/>
                  </a:cubicBezTo>
                  <a:cubicBezTo>
                    <a:pt x="143" y="40"/>
                    <a:pt x="143" y="40"/>
                    <a:pt x="143" y="40"/>
                  </a:cubicBezTo>
                  <a:cubicBezTo>
                    <a:pt x="144" y="39"/>
                    <a:pt x="144" y="38"/>
                    <a:pt x="145" y="37"/>
                  </a:cubicBezTo>
                  <a:cubicBezTo>
                    <a:pt x="145" y="36"/>
                    <a:pt x="145" y="36"/>
                    <a:pt x="145" y="36"/>
                  </a:cubicBezTo>
                  <a:cubicBezTo>
                    <a:pt x="145" y="36"/>
                    <a:pt x="145" y="36"/>
                    <a:pt x="145" y="36"/>
                  </a:cubicBezTo>
                  <a:cubicBezTo>
                    <a:pt x="146" y="34"/>
                    <a:pt x="148" y="32"/>
                    <a:pt x="150" y="30"/>
                  </a:cubicBezTo>
                  <a:cubicBezTo>
                    <a:pt x="152" y="29"/>
                    <a:pt x="153" y="28"/>
                    <a:pt x="154" y="28"/>
                  </a:cubicBezTo>
                  <a:cubicBezTo>
                    <a:pt x="155" y="28"/>
                    <a:pt x="156" y="28"/>
                    <a:pt x="156" y="27"/>
                  </a:cubicBezTo>
                  <a:cubicBezTo>
                    <a:pt x="156" y="26"/>
                    <a:pt x="156" y="26"/>
                    <a:pt x="156" y="26"/>
                  </a:cubicBezTo>
                  <a:cubicBezTo>
                    <a:pt x="157" y="25"/>
                    <a:pt x="157" y="25"/>
                    <a:pt x="158" y="24"/>
                  </a:cubicBezTo>
                  <a:cubicBezTo>
                    <a:pt x="159" y="20"/>
                    <a:pt x="160" y="17"/>
                    <a:pt x="162" y="16"/>
                  </a:cubicBezTo>
                  <a:cubicBezTo>
                    <a:pt x="164" y="15"/>
                    <a:pt x="166" y="14"/>
                    <a:pt x="168" y="14"/>
                  </a:cubicBezTo>
                  <a:cubicBezTo>
                    <a:pt x="169" y="14"/>
                    <a:pt x="170" y="14"/>
                    <a:pt x="170" y="14"/>
                  </a:cubicBezTo>
                  <a:cubicBezTo>
                    <a:pt x="174" y="13"/>
                    <a:pt x="174" y="13"/>
                    <a:pt x="174" y="13"/>
                  </a:cubicBezTo>
                  <a:cubicBezTo>
                    <a:pt x="175" y="12"/>
                    <a:pt x="176" y="12"/>
                    <a:pt x="178" y="12"/>
                  </a:cubicBezTo>
                  <a:cubicBezTo>
                    <a:pt x="180" y="12"/>
                    <a:pt x="180" y="12"/>
                    <a:pt x="180" y="12"/>
                  </a:cubicBezTo>
                  <a:cubicBezTo>
                    <a:pt x="180" y="13"/>
                    <a:pt x="180" y="13"/>
                    <a:pt x="180" y="13"/>
                  </a:cubicBezTo>
                  <a:cubicBezTo>
                    <a:pt x="180" y="12"/>
                    <a:pt x="181" y="12"/>
                    <a:pt x="182" y="11"/>
                  </a:cubicBezTo>
                  <a:cubicBezTo>
                    <a:pt x="184" y="9"/>
                    <a:pt x="184" y="10"/>
                    <a:pt x="183" y="7"/>
                  </a:cubicBezTo>
                  <a:cubicBezTo>
                    <a:pt x="182" y="5"/>
                    <a:pt x="181" y="3"/>
                    <a:pt x="180" y="2"/>
                  </a:cubicBezTo>
                  <a:cubicBezTo>
                    <a:pt x="178" y="1"/>
                    <a:pt x="175" y="0"/>
                    <a:pt x="1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1" name="Freeform 272">
              <a:extLst>
                <a:ext uri="{FF2B5EF4-FFF2-40B4-BE49-F238E27FC236}">
                  <a16:creationId xmlns:a16="http://schemas.microsoft.com/office/drawing/2014/main" id="{FB6CC75D-EB23-4D6C-91DE-83A27E710C11}"/>
                </a:ext>
              </a:extLst>
            </p:cNvPr>
            <p:cNvSpPr>
              <a:spLocks noEditPoints="1"/>
            </p:cNvSpPr>
            <p:nvPr/>
          </p:nvSpPr>
          <p:spPr bwMode="auto">
            <a:xfrm>
              <a:off x="7391313" y="1261160"/>
              <a:ext cx="433567" cy="180771"/>
            </a:xfrm>
            <a:custGeom>
              <a:avLst/>
              <a:gdLst>
                <a:gd name="T0" fmla="*/ 105 w 130"/>
                <a:gd name="T1" fmla="*/ 28 h 54"/>
                <a:gd name="T2" fmla="*/ 105 w 130"/>
                <a:gd name="T3" fmla="*/ 28 h 54"/>
                <a:gd name="T4" fmla="*/ 109 w 130"/>
                <a:gd name="T5" fmla="*/ 24 h 54"/>
                <a:gd name="T6" fmla="*/ 109 w 130"/>
                <a:gd name="T7" fmla="*/ 24 h 54"/>
                <a:gd name="T8" fmla="*/ 81 w 130"/>
                <a:gd name="T9" fmla="*/ 0 h 54"/>
                <a:gd name="T10" fmla="*/ 51 w 130"/>
                <a:gd name="T11" fmla="*/ 14 h 54"/>
                <a:gd name="T12" fmla="*/ 38 w 130"/>
                <a:gd name="T13" fmla="*/ 17 h 54"/>
                <a:gd name="T14" fmla="*/ 27 w 130"/>
                <a:gd name="T15" fmla="*/ 13 h 54"/>
                <a:gd name="T16" fmla="*/ 20 w 130"/>
                <a:gd name="T17" fmla="*/ 14 h 54"/>
                <a:gd name="T18" fmla="*/ 17 w 130"/>
                <a:gd name="T19" fmla="*/ 9 h 54"/>
                <a:gd name="T20" fmla="*/ 9 w 130"/>
                <a:gd name="T21" fmla="*/ 2 h 54"/>
                <a:gd name="T22" fmla="*/ 4 w 130"/>
                <a:gd name="T23" fmla="*/ 2 h 54"/>
                <a:gd name="T24" fmla="*/ 3 w 130"/>
                <a:gd name="T25" fmla="*/ 3 h 54"/>
                <a:gd name="T26" fmla="*/ 3 w 130"/>
                <a:gd name="T27" fmla="*/ 9 h 54"/>
                <a:gd name="T28" fmla="*/ 5 w 130"/>
                <a:gd name="T29" fmla="*/ 11 h 54"/>
                <a:gd name="T30" fmla="*/ 9 w 130"/>
                <a:gd name="T31" fmla="*/ 14 h 54"/>
                <a:gd name="T32" fmla="*/ 6 w 130"/>
                <a:gd name="T33" fmla="*/ 18 h 54"/>
                <a:gd name="T34" fmla="*/ 3 w 130"/>
                <a:gd name="T35" fmla="*/ 20 h 54"/>
                <a:gd name="T36" fmla="*/ 3 w 130"/>
                <a:gd name="T37" fmla="*/ 26 h 54"/>
                <a:gd name="T38" fmla="*/ 1 w 130"/>
                <a:gd name="T39" fmla="*/ 28 h 54"/>
                <a:gd name="T40" fmla="*/ 0 w 130"/>
                <a:gd name="T41" fmla="*/ 29 h 54"/>
                <a:gd name="T42" fmla="*/ 6 w 130"/>
                <a:gd name="T43" fmla="*/ 29 h 54"/>
                <a:gd name="T44" fmla="*/ 18 w 130"/>
                <a:gd name="T45" fmla="*/ 32 h 54"/>
                <a:gd name="T46" fmla="*/ 23 w 130"/>
                <a:gd name="T47" fmla="*/ 31 h 54"/>
                <a:gd name="T48" fmla="*/ 24 w 130"/>
                <a:gd name="T49" fmla="*/ 32 h 54"/>
                <a:gd name="T50" fmla="*/ 27 w 130"/>
                <a:gd name="T51" fmla="*/ 32 h 54"/>
                <a:gd name="T52" fmla="*/ 36 w 130"/>
                <a:gd name="T53" fmla="*/ 44 h 54"/>
                <a:gd name="T54" fmla="*/ 42 w 130"/>
                <a:gd name="T55" fmla="*/ 39 h 54"/>
                <a:gd name="T56" fmla="*/ 45 w 130"/>
                <a:gd name="T57" fmla="*/ 45 h 54"/>
                <a:gd name="T58" fmla="*/ 46 w 130"/>
                <a:gd name="T59" fmla="*/ 54 h 54"/>
                <a:gd name="T60" fmla="*/ 56 w 130"/>
                <a:gd name="T61" fmla="*/ 53 h 54"/>
                <a:gd name="T62" fmla="*/ 61 w 130"/>
                <a:gd name="T63" fmla="*/ 39 h 54"/>
                <a:gd name="T64" fmla="*/ 60 w 130"/>
                <a:gd name="T65" fmla="*/ 29 h 54"/>
                <a:gd name="T66" fmla="*/ 73 w 130"/>
                <a:gd name="T67" fmla="*/ 22 h 54"/>
                <a:gd name="T68" fmla="*/ 72 w 130"/>
                <a:gd name="T69" fmla="*/ 22 h 54"/>
                <a:gd name="T70" fmla="*/ 75 w 130"/>
                <a:gd name="T71" fmla="*/ 16 h 54"/>
                <a:gd name="T72" fmla="*/ 89 w 130"/>
                <a:gd name="T73" fmla="*/ 11 h 54"/>
                <a:gd name="T74" fmla="*/ 100 w 130"/>
                <a:gd name="T75" fmla="*/ 19 h 54"/>
                <a:gd name="T76" fmla="*/ 105 w 130"/>
                <a:gd name="T77" fmla="*/ 28 h 54"/>
                <a:gd name="T78" fmla="*/ 105 w 130"/>
                <a:gd name="T79" fmla="*/ 24 h 54"/>
                <a:gd name="T80" fmla="*/ 106 w 130"/>
                <a:gd name="T81" fmla="*/ 24 h 54"/>
                <a:gd name="T82" fmla="*/ 108 w 130"/>
                <a:gd name="T83" fmla="*/ 27 h 54"/>
                <a:gd name="T84" fmla="*/ 112 w 130"/>
                <a:gd name="T85" fmla="*/ 26 h 54"/>
                <a:gd name="T86" fmla="*/ 118 w 130"/>
                <a:gd name="T87" fmla="*/ 33 h 54"/>
                <a:gd name="T88" fmla="*/ 113 w 130"/>
                <a:gd name="T89" fmla="*/ 30 h 54"/>
                <a:gd name="T90" fmla="*/ 111 w 130"/>
                <a:gd name="T91" fmla="*/ 27 h 54"/>
                <a:gd name="T92" fmla="*/ 105 w 130"/>
                <a:gd name="T93" fmla="*/ 34 h 54"/>
                <a:gd name="T94" fmla="*/ 115 w 130"/>
                <a:gd name="T95" fmla="*/ 52 h 54"/>
                <a:gd name="T96" fmla="*/ 116 w 130"/>
                <a:gd name="T97" fmla="*/ 50 h 54"/>
                <a:gd name="T98" fmla="*/ 117 w 130"/>
                <a:gd name="T99" fmla="*/ 47 h 54"/>
                <a:gd name="T100" fmla="*/ 118 w 130"/>
                <a:gd name="T101" fmla="*/ 44 h 54"/>
                <a:gd name="T102" fmla="*/ 118 w 130"/>
                <a:gd name="T103" fmla="*/ 41 h 54"/>
                <a:gd name="T104" fmla="*/ 122 w 130"/>
                <a:gd name="T105" fmla="*/ 40 h 54"/>
                <a:gd name="T106" fmla="*/ 124 w 130"/>
                <a:gd name="T107" fmla="*/ 43 h 54"/>
                <a:gd name="T108" fmla="*/ 130 w 130"/>
                <a:gd name="T109" fmla="*/ 37 h 54"/>
                <a:gd name="T110" fmla="*/ 125 w 130"/>
                <a:gd name="T111" fmla="*/ 26 h 54"/>
                <a:gd name="T112" fmla="*/ 116 w 130"/>
                <a:gd name="T113" fmla="*/ 10 h 54"/>
                <a:gd name="T114" fmla="*/ 81 w 130"/>
                <a:gd name="T11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54">
                  <a:moveTo>
                    <a:pt x="105" y="28"/>
                  </a:moveTo>
                  <a:cubicBezTo>
                    <a:pt x="105" y="28"/>
                    <a:pt x="105" y="28"/>
                    <a:pt x="105" y="28"/>
                  </a:cubicBezTo>
                  <a:cubicBezTo>
                    <a:pt x="105" y="28"/>
                    <a:pt x="105" y="28"/>
                    <a:pt x="105" y="28"/>
                  </a:cubicBezTo>
                  <a:cubicBezTo>
                    <a:pt x="105" y="28"/>
                    <a:pt x="105" y="28"/>
                    <a:pt x="105" y="28"/>
                  </a:cubicBezTo>
                  <a:moveTo>
                    <a:pt x="109" y="24"/>
                  </a:moveTo>
                  <a:cubicBezTo>
                    <a:pt x="109" y="24"/>
                    <a:pt x="109" y="24"/>
                    <a:pt x="109" y="24"/>
                  </a:cubicBezTo>
                  <a:cubicBezTo>
                    <a:pt x="109" y="24"/>
                    <a:pt x="109" y="24"/>
                    <a:pt x="109" y="24"/>
                  </a:cubicBezTo>
                  <a:cubicBezTo>
                    <a:pt x="109" y="24"/>
                    <a:pt x="109" y="24"/>
                    <a:pt x="109" y="24"/>
                  </a:cubicBezTo>
                  <a:cubicBezTo>
                    <a:pt x="109" y="24"/>
                    <a:pt x="109" y="24"/>
                    <a:pt x="109" y="24"/>
                  </a:cubicBezTo>
                  <a:moveTo>
                    <a:pt x="81" y="0"/>
                  </a:moveTo>
                  <a:cubicBezTo>
                    <a:pt x="77" y="0"/>
                    <a:pt x="70" y="3"/>
                    <a:pt x="67" y="6"/>
                  </a:cubicBezTo>
                  <a:cubicBezTo>
                    <a:pt x="63" y="10"/>
                    <a:pt x="56" y="12"/>
                    <a:pt x="51" y="14"/>
                  </a:cubicBezTo>
                  <a:cubicBezTo>
                    <a:pt x="48" y="16"/>
                    <a:pt x="44" y="18"/>
                    <a:pt x="41" y="18"/>
                  </a:cubicBezTo>
                  <a:cubicBezTo>
                    <a:pt x="40" y="18"/>
                    <a:pt x="39" y="17"/>
                    <a:pt x="38" y="17"/>
                  </a:cubicBezTo>
                  <a:cubicBezTo>
                    <a:pt x="34" y="15"/>
                    <a:pt x="27" y="13"/>
                    <a:pt x="24" y="9"/>
                  </a:cubicBezTo>
                  <a:cubicBezTo>
                    <a:pt x="25" y="10"/>
                    <a:pt x="26" y="12"/>
                    <a:pt x="27" y="13"/>
                  </a:cubicBezTo>
                  <a:cubicBezTo>
                    <a:pt x="25" y="14"/>
                    <a:pt x="23" y="15"/>
                    <a:pt x="21" y="15"/>
                  </a:cubicBezTo>
                  <a:cubicBezTo>
                    <a:pt x="21" y="15"/>
                    <a:pt x="21" y="15"/>
                    <a:pt x="20" y="14"/>
                  </a:cubicBezTo>
                  <a:cubicBezTo>
                    <a:pt x="18" y="14"/>
                    <a:pt x="14" y="11"/>
                    <a:pt x="17" y="9"/>
                  </a:cubicBezTo>
                  <a:cubicBezTo>
                    <a:pt x="17" y="9"/>
                    <a:pt x="17" y="9"/>
                    <a:pt x="17" y="9"/>
                  </a:cubicBezTo>
                  <a:cubicBezTo>
                    <a:pt x="14" y="9"/>
                    <a:pt x="12" y="5"/>
                    <a:pt x="10" y="2"/>
                  </a:cubicBezTo>
                  <a:cubicBezTo>
                    <a:pt x="9" y="2"/>
                    <a:pt x="9" y="2"/>
                    <a:pt x="9" y="2"/>
                  </a:cubicBezTo>
                  <a:cubicBezTo>
                    <a:pt x="7" y="2"/>
                    <a:pt x="5" y="3"/>
                    <a:pt x="4" y="3"/>
                  </a:cubicBezTo>
                  <a:cubicBezTo>
                    <a:pt x="4" y="2"/>
                    <a:pt x="4" y="2"/>
                    <a:pt x="4" y="2"/>
                  </a:cubicBezTo>
                  <a:cubicBezTo>
                    <a:pt x="3" y="2"/>
                    <a:pt x="3" y="2"/>
                    <a:pt x="3" y="2"/>
                  </a:cubicBezTo>
                  <a:cubicBezTo>
                    <a:pt x="3" y="3"/>
                    <a:pt x="3" y="3"/>
                    <a:pt x="3" y="3"/>
                  </a:cubicBezTo>
                  <a:cubicBezTo>
                    <a:pt x="3" y="3"/>
                    <a:pt x="3" y="3"/>
                    <a:pt x="3" y="3"/>
                  </a:cubicBezTo>
                  <a:cubicBezTo>
                    <a:pt x="3" y="5"/>
                    <a:pt x="3" y="7"/>
                    <a:pt x="3" y="9"/>
                  </a:cubicBezTo>
                  <a:cubicBezTo>
                    <a:pt x="3" y="10"/>
                    <a:pt x="3" y="10"/>
                    <a:pt x="3" y="10"/>
                  </a:cubicBezTo>
                  <a:cubicBezTo>
                    <a:pt x="4" y="11"/>
                    <a:pt x="4" y="11"/>
                    <a:pt x="5" y="11"/>
                  </a:cubicBezTo>
                  <a:cubicBezTo>
                    <a:pt x="5" y="12"/>
                    <a:pt x="6" y="12"/>
                    <a:pt x="6" y="12"/>
                  </a:cubicBezTo>
                  <a:cubicBezTo>
                    <a:pt x="9" y="14"/>
                    <a:pt x="9" y="14"/>
                    <a:pt x="9" y="14"/>
                  </a:cubicBezTo>
                  <a:cubicBezTo>
                    <a:pt x="7" y="17"/>
                    <a:pt x="7" y="17"/>
                    <a:pt x="7" y="17"/>
                  </a:cubicBezTo>
                  <a:cubicBezTo>
                    <a:pt x="7" y="17"/>
                    <a:pt x="6" y="17"/>
                    <a:pt x="6" y="18"/>
                  </a:cubicBezTo>
                  <a:cubicBezTo>
                    <a:pt x="5" y="18"/>
                    <a:pt x="5" y="18"/>
                    <a:pt x="5" y="18"/>
                  </a:cubicBezTo>
                  <a:cubicBezTo>
                    <a:pt x="4" y="19"/>
                    <a:pt x="4" y="19"/>
                    <a:pt x="3" y="20"/>
                  </a:cubicBezTo>
                  <a:cubicBezTo>
                    <a:pt x="4" y="20"/>
                    <a:pt x="5" y="21"/>
                    <a:pt x="5" y="22"/>
                  </a:cubicBezTo>
                  <a:cubicBezTo>
                    <a:pt x="5" y="24"/>
                    <a:pt x="4" y="25"/>
                    <a:pt x="3" y="26"/>
                  </a:cubicBezTo>
                  <a:cubicBezTo>
                    <a:pt x="3" y="26"/>
                    <a:pt x="3" y="26"/>
                    <a:pt x="3" y="26"/>
                  </a:cubicBezTo>
                  <a:cubicBezTo>
                    <a:pt x="2" y="27"/>
                    <a:pt x="1" y="28"/>
                    <a:pt x="1" y="28"/>
                  </a:cubicBezTo>
                  <a:cubicBezTo>
                    <a:pt x="0" y="29"/>
                    <a:pt x="0" y="29"/>
                    <a:pt x="0" y="29"/>
                  </a:cubicBezTo>
                  <a:cubicBezTo>
                    <a:pt x="0" y="29"/>
                    <a:pt x="0" y="29"/>
                    <a:pt x="0" y="29"/>
                  </a:cubicBezTo>
                  <a:cubicBezTo>
                    <a:pt x="2" y="33"/>
                    <a:pt x="2" y="33"/>
                    <a:pt x="2" y="33"/>
                  </a:cubicBezTo>
                  <a:cubicBezTo>
                    <a:pt x="3" y="31"/>
                    <a:pt x="5" y="29"/>
                    <a:pt x="6" y="29"/>
                  </a:cubicBezTo>
                  <a:cubicBezTo>
                    <a:pt x="10" y="29"/>
                    <a:pt x="13" y="29"/>
                    <a:pt x="16" y="28"/>
                  </a:cubicBezTo>
                  <a:cubicBezTo>
                    <a:pt x="17" y="30"/>
                    <a:pt x="16" y="32"/>
                    <a:pt x="18" y="32"/>
                  </a:cubicBezTo>
                  <a:cubicBezTo>
                    <a:pt x="18" y="32"/>
                    <a:pt x="18" y="32"/>
                    <a:pt x="18" y="32"/>
                  </a:cubicBezTo>
                  <a:cubicBezTo>
                    <a:pt x="19" y="32"/>
                    <a:pt x="21" y="31"/>
                    <a:pt x="23" y="31"/>
                  </a:cubicBezTo>
                  <a:cubicBezTo>
                    <a:pt x="23" y="31"/>
                    <a:pt x="23" y="31"/>
                    <a:pt x="23" y="31"/>
                  </a:cubicBezTo>
                  <a:cubicBezTo>
                    <a:pt x="24" y="31"/>
                    <a:pt x="24" y="31"/>
                    <a:pt x="24" y="32"/>
                  </a:cubicBezTo>
                  <a:cubicBezTo>
                    <a:pt x="25" y="32"/>
                    <a:pt x="25" y="33"/>
                    <a:pt x="26" y="33"/>
                  </a:cubicBezTo>
                  <a:cubicBezTo>
                    <a:pt x="26" y="33"/>
                    <a:pt x="27" y="32"/>
                    <a:pt x="27" y="32"/>
                  </a:cubicBezTo>
                  <a:cubicBezTo>
                    <a:pt x="29" y="36"/>
                    <a:pt x="30" y="39"/>
                    <a:pt x="33" y="42"/>
                  </a:cubicBezTo>
                  <a:cubicBezTo>
                    <a:pt x="32" y="43"/>
                    <a:pt x="35" y="44"/>
                    <a:pt x="36" y="44"/>
                  </a:cubicBezTo>
                  <a:cubicBezTo>
                    <a:pt x="37" y="44"/>
                    <a:pt x="38" y="45"/>
                    <a:pt x="39" y="45"/>
                  </a:cubicBezTo>
                  <a:cubicBezTo>
                    <a:pt x="40" y="42"/>
                    <a:pt x="38" y="39"/>
                    <a:pt x="42" y="39"/>
                  </a:cubicBezTo>
                  <a:cubicBezTo>
                    <a:pt x="42" y="39"/>
                    <a:pt x="42" y="39"/>
                    <a:pt x="42" y="39"/>
                  </a:cubicBezTo>
                  <a:cubicBezTo>
                    <a:pt x="44" y="39"/>
                    <a:pt x="44" y="43"/>
                    <a:pt x="45" y="45"/>
                  </a:cubicBezTo>
                  <a:cubicBezTo>
                    <a:pt x="46" y="47"/>
                    <a:pt x="47" y="50"/>
                    <a:pt x="47" y="51"/>
                  </a:cubicBezTo>
                  <a:cubicBezTo>
                    <a:pt x="47" y="52"/>
                    <a:pt x="47" y="53"/>
                    <a:pt x="46" y="54"/>
                  </a:cubicBezTo>
                  <a:cubicBezTo>
                    <a:pt x="48" y="54"/>
                    <a:pt x="49" y="54"/>
                    <a:pt x="51" y="54"/>
                  </a:cubicBezTo>
                  <a:cubicBezTo>
                    <a:pt x="53" y="54"/>
                    <a:pt x="54" y="54"/>
                    <a:pt x="56" y="53"/>
                  </a:cubicBezTo>
                  <a:cubicBezTo>
                    <a:pt x="60" y="51"/>
                    <a:pt x="63" y="50"/>
                    <a:pt x="68" y="49"/>
                  </a:cubicBezTo>
                  <a:cubicBezTo>
                    <a:pt x="66" y="44"/>
                    <a:pt x="64" y="42"/>
                    <a:pt x="61" y="39"/>
                  </a:cubicBezTo>
                  <a:cubicBezTo>
                    <a:pt x="58" y="36"/>
                    <a:pt x="55" y="33"/>
                    <a:pt x="59" y="29"/>
                  </a:cubicBezTo>
                  <a:cubicBezTo>
                    <a:pt x="59" y="29"/>
                    <a:pt x="60" y="29"/>
                    <a:pt x="60" y="29"/>
                  </a:cubicBezTo>
                  <a:cubicBezTo>
                    <a:pt x="64" y="29"/>
                    <a:pt x="72" y="23"/>
                    <a:pt x="75" y="21"/>
                  </a:cubicBezTo>
                  <a:cubicBezTo>
                    <a:pt x="74" y="21"/>
                    <a:pt x="74" y="22"/>
                    <a:pt x="73" y="22"/>
                  </a:cubicBezTo>
                  <a:cubicBezTo>
                    <a:pt x="73" y="22"/>
                    <a:pt x="73" y="22"/>
                    <a:pt x="73" y="22"/>
                  </a:cubicBezTo>
                  <a:cubicBezTo>
                    <a:pt x="73" y="22"/>
                    <a:pt x="73" y="22"/>
                    <a:pt x="72" y="22"/>
                  </a:cubicBezTo>
                  <a:cubicBezTo>
                    <a:pt x="72" y="22"/>
                    <a:pt x="72" y="22"/>
                    <a:pt x="72" y="22"/>
                  </a:cubicBezTo>
                  <a:cubicBezTo>
                    <a:pt x="73" y="20"/>
                    <a:pt x="73" y="18"/>
                    <a:pt x="75" y="16"/>
                  </a:cubicBezTo>
                  <a:cubicBezTo>
                    <a:pt x="75" y="16"/>
                    <a:pt x="78" y="15"/>
                    <a:pt x="79" y="14"/>
                  </a:cubicBezTo>
                  <a:cubicBezTo>
                    <a:pt x="82" y="12"/>
                    <a:pt x="86" y="14"/>
                    <a:pt x="89" y="11"/>
                  </a:cubicBezTo>
                  <a:cubicBezTo>
                    <a:pt x="88" y="13"/>
                    <a:pt x="89" y="13"/>
                    <a:pt x="91" y="14"/>
                  </a:cubicBezTo>
                  <a:cubicBezTo>
                    <a:pt x="94" y="15"/>
                    <a:pt x="97" y="17"/>
                    <a:pt x="100" y="19"/>
                  </a:cubicBezTo>
                  <a:cubicBezTo>
                    <a:pt x="100" y="18"/>
                    <a:pt x="100" y="18"/>
                    <a:pt x="100" y="18"/>
                  </a:cubicBezTo>
                  <a:cubicBezTo>
                    <a:pt x="102" y="21"/>
                    <a:pt x="103" y="25"/>
                    <a:pt x="105" y="28"/>
                  </a:cubicBezTo>
                  <a:cubicBezTo>
                    <a:pt x="105" y="28"/>
                    <a:pt x="105" y="27"/>
                    <a:pt x="105" y="26"/>
                  </a:cubicBezTo>
                  <a:cubicBezTo>
                    <a:pt x="105" y="25"/>
                    <a:pt x="105" y="24"/>
                    <a:pt x="105" y="24"/>
                  </a:cubicBezTo>
                  <a:cubicBezTo>
                    <a:pt x="105" y="24"/>
                    <a:pt x="105" y="24"/>
                    <a:pt x="105" y="24"/>
                  </a:cubicBezTo>
                  <a:cubicBezTo>
                    <a:pt x="105" y="24"/>
                    <a:pt x="106" y="24"/>
                    <a:pt x="106" y="24"/>
                  </a:cubicBezTo>
                  <a:cubicBezTo>
                    <a:pt x="107" y="24"/>
                    <a:pt x="108" y="24"/>
                    <a:pt x="109" y="25"/>
                  </a:cubicBezTo>
                  <a:cubicBezTo>
                    <a:pt x="109" y="25"/>
                    <a:pt x="109" y="27"/>
                    <a:pt x="108" y="27"/>
                  </a:cubicBezTo>
                  <a:cubicBezTo>
                    <a:pt x="109" y="26"/>
                    <a:pt x="110" y="25"/>
                    <a:pt x="111" y="25"/>
                  </a:cubicBezTo>
                  <a:cubicBezTo>
                    <a:pt x="111" y="25"/>
                    <a:pt x="111" y="26"/>
                    <a:pt x="112" y="26"/>
                  </a:cubicBezTo>
                  <a:cubicBezTo>
                    <a:pt x="112" y="25"/>
                    <a:pt x="112" y="24"/>
                    <a:pt x="111" y="23"/>
                  </a:cubicBezTo>
                  <a:cubicBezTo>
                    <a:pt x="114" y="26"/>
                    <a:pt x="117" y="29"/>
                    <a:pt x="118" y="33"/>
                  </a:cubicBezTo>
                  <a:cubicBezTo>
                    <a:pt x="118" y="32"/>
                    <a:pt x="117" y="31"/>
                    <a:pt x="116" y="31"/>
                  </a:cubicBezTo>
                  <a:cubicBezTo>
                    <a:pt x="115" y="30"/>
                    <a:pt x="115" y="31"/>
                    <a:pt x="113" y="30"/>
                  </a:cubicBezTo>
                  <a:cubicBezTo>
                    <a:pt x="113" y="30"/>
                    <a:pt x="112" y="29"/>
                    <a:pt x="112" y="28"/>
                  </a:cubicBezTo>
                  <a:cubicBezTo>
                    <a:pt x="111" y="28"/>
                    <a:pt x="112" y="27"/>
                    <a:pt x="111" y="27"/>
                  </a:cubicBezTo>
                  <a:cubicBezTo>
                    <a:pt x="111" y="27"/>
                    <a:pt x="111" y="27"/>
                    <a:pt x="111" y="27"/>
                  </a:cubicBezTo>
                  <a:cubicBezTo>
                    <a:pt x="109" y="27"/>
                    <a:pt x="105" y="33"/>
                    <a:pt x="105" y="34"/>
                  </a:cubicBezTo>
                  <a:cubicBezTo>
                    <a:pt x="103" y="40"/>
                    <a:pt x="110" y="47"/>
                    <a:pt x="115" y="52"/>
                  </a:cubicBezTo>
                  <a:cubicBezTo>
                    <a:pt x="115" y="52"/>
                    <a:pt x="115" y="52"/>
                    <a:pt x="115" y="52"/>
                  </a:cubicBezTo>
                  <a:cubicBezTo>
                    <a:pt x="115" y="51"/>
                    <a:pt x="115" y="51"/>
                    <a:pt x="116" y="50"/>
                  </a:cubicBezTo>
                  <a:cubicBezTo>
                    <a:pt x="116" y="50"/>
                    <a:pt x="116" y="50"/>
                    <a:pt x="116" y="50"/>
                  </a:cubicBezTo>
                  <a:cubicBezTo>
                    <a:pt x="117" y="49"/>
                    <a:pt x="117" y="48"/>
                    <a:pt x="117" y="48"/>
                  </a:cubicBezTo>
                  <a:cubicBezTo>
                    <a:pt x="117" y="47"/>
                    <a:pt x="117" y="47"/>
                    <a:pt x="117" y="47"/>
                  </a:cubicBezTo>
                  <a:cubicBezTo>
                    <a:pt x="118" y="47"/>
                    <a:pt x="118" y="46"/>
                    <a:pt x="118" y="46"/>
                  </a:cubicBezTo>
                  <a:cubicBezTo>
                    <a:pt x="118" y="44"/>
                    <a:pt x="118" y="44"/>
                    <a:pt x="118" y="44"/>
                  </a:cubicBezTo>
                  <a:cubicBezTo>
                    <a:pt x="118" y="44"/>
                    <a:pt x="118" y="43"/>
                    <a:pt x="118" y="42"/>
                  </a:cubicBezTo>
                  <a:cubicBezTo>
                    <a:pt x="118" y="41"/>
                    <a:pt x="118" y="41"/>
                    <a:pt x="118" y="41"/>
                  </a:cubicBezTo>
                  <a:cubicBezTo>
                    <a:pt x="120" y="42"/>
                    <a:pt x="120" y="42"/>
                    <a:pt x="120" y="42"/>
                  </a:cubicBezTo>
                  <a:cubicBezTo>
                    <a:pt x="122" y="40"/>
                    <a:pt x="122" y="40"/>
                    <a:pt x="122" y="40"/>
                  </a:cubicBezTo>
                  <a:cubicBezTo>
                    <a:pt x="123" y="41"/>
                    <a:pt x="123" y="41"/>
                    <a:pt x="123" y="41"/>
                  </a:cubicBezTo>
                  <a:cubicBezTo>
                    <a:pt x="123" y="41"/>
                    <a:pt x="124" y="42"/>
                    <a:pt x="124" y="43"/>
                  </a:cubicBezTo>
                  <a:cubicBezTo>
                    <a:pt x="124" y="43"/>
                    <a:pt x="125" y="42"/>
                    <a:pt x="125" y="42"/>
                  </a:cubicBezTo>
                  <a:cubicBezTo>
                    <a:pt x="126" y="40"/>
                    <a:pt x="128" y="38"/>
                    <a:pt x="130" y="37"/>
                  </a:cubicBezTo>
                  <a:cubicBezTo>
                    <a:pt x="129" y="35"/>
                    <a:pt x="128" y="33"/>
                    <a:pt x="127" y="31"/>
                  </a:cubicBezTo>
                  <a:cubicBezTo>
                    <a:pt x="126" y="29"/>
                    <a:pt x="126" y="28"/>
                    <a:pt x="125" y="26"/>
                  </a:cubicBezTo>
                  <a:cubicBezTo>
                    <a:pt x="123" y="24"/>
                    <a:pt x="125" y="22"/>
                    <a:pt x="126" y="20"/>
                  </a:cubicBezTo>
                  <a:cubicBezTo>
                    <a:pt x="123" y="18"/>
                    <a:pt x="119" y="11"/>
                    <a:pt x="116" y="10"/>
                  </a:cubicBezTo>
                  <a:cubicBezTo>
                    <a:pt x="110" y="8"/>
                    <a:pt x="103" y="5"/>
                    <a:pt x="96" y="3"/>
                  </a:cubicBezTo>
                  <a:cubicBezTo>
                    <a:pt x="91" y="1"/>
                    <a:pt x="87" y="0"/>
                    <a:pt x="81" y="0"/>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2" name="Freeform 273">
              <a:extLst>
                <a:ext uri="{FF2B5EF4-FFF2-40B4-BE49-F238E27FC236}">
                  <a16:creationId xmlns:a16="http://schemas.microsoft.com/office/drawing/2014/main" id="{C03527CE-1DA4-42C2-9C18-4CFC2E4BA5D9}"/>
                </a:ext>
              </a:extLst>
            </p:cNvPr>
            <p:cNvSpPr>
              <a:spLocks noEditPoints="1"/>
            </p:cNvSpPr>
            <p:nvPr/>
          </p:nvSpPr>
          <p:spPr bwMode="auto">
            <a:xfrm>
              <a:off x="5124620" y="0"/>
              <a:ext cx="1970117" cy="861487"/>
            </a:xfrm>
            <a:custGeom>
              <a:avLst/>
              <a:gdLst>
                <a:gd name="T0" fmla="*/ 482 w 590"/>
                <a:gd name="T1" fmla="*/ 157 h 258"/>
                <a:gd name="T2" fmla="*/ 3 w 590"/>
                <a:gd name="T3" fmla="*/ 0 h 258"/>
                <a:gd name="T4" fmla="*/ 14 w 590"/>
                <a:gd name="T5" fmla="*/ 20 h 258"/>
                <a:gd name="T6" fmla="*/ 62 w 590"/>
                <a:gd name="T7" fmla="*/ 54 h 258"/>
                <a:gd name="T8" fmla="*/ 54 w 590"/>
                <a:gd name="T9" fmla="*/ 32 h 258"/>
                <a:gd name="T10" fmla="*/ 43 w 590"/>
                <a:gd name="T11" fmla="*/ 28 h 258"/>
                <a:gd name="T12" fmla="*/ 336 w 590"/>
                <a:gd name="T13" fmla="*/ 0 h 258"/>
                <a:gd name="T14" fmla="*/ 101 w 590"/>
                <a:gd name="T15" fmla="*/ 20 h 258"/>
                <a:gd name="T16" fmla="*/ 107 w 590"/>
                <a:gd name="T17" fmla="*/ 21 h 258"/>
                <a:gd name="T18" fmla="*/ 126 w 590"/>
                <a:gd name="T19" fmla="*/ 43 h 258"/>
                <a:gd name="T20" fmla="*/ 158 w 590"/>
                <a:gd name="T21" fmla="*/ 108 h 258"/>
                <a:gd name="T22" fmla="*/ 152 w 590"/>
                <a:gd name="T23" fmla="*/ 119 h 258"/>
                <a:gd name="T24" fmla="*/ 210 w 590"/>
                <a:gd name="T25" fmla="*/ 173 h 258"/>
                <a:gd name="T26" fmla="*/ 238 w 590"/>
                <a:gd name="T27" fmla="*/ 179 h 258"/>
                <a:gd name="T28" fmla="*/ 323 w 590"/>
                <a:gd name="T29" fmla="*/ 220 h 258"/>
                <a:gd name="T30" fmla="*/ 365 w 590"/>
                <a:gd name="T31" fmla="*/ 234 h 258"/>
                <a:gd name="T32" fmla="*/ 402 w 590"/>
                <a:gd name="T33" fmla="*/ 221 h 258"/>
                <a:gd name="T34" fmla="*/ 407 w 590"/>
                <a:gd name="T35" fmla="*/ 218 h 258"/>
                <a:gd name="T36" fmla="*/ 414 w 590"/>
                <a:gd name="T37" fmla="*/ 220 h 258"/>
                <a:gd name="T38" fmla="*/ 461 w 590"/>
                <a:gd name="T39" fmla="*/ 258 h 258"/>
                <a:gd name="T40" fmla="*/ 462 w 590"/>
                <a:gd name="T41" fmla="*/ 251 h 258"/>
                <a:gd name="T42" fmla="*/ 462 w 590"/>
                <a:gd name="T43" fmla="*/ 241 h 258"/>
                <a:gd name="T44" fmla="*/ 470 w 590"/>
                <a:gd name="T45" fmla="*/ 227 h 258"/>
                <a:gd name="T46" fmla="*/ 489 w 590"/>
                <a:gd name="T47" fmla="*/ 221 h 258"/>
                <a:gd name="T48" fmla="*/ 503 w 590"/>
                <a:gd name="T49" fmla="*/ 218 h 258"/>
                <a:gd name="T50" fmla="*/ 493 w 590"/>
                <a:gd name="T51" fmla="*/ 210 h 258"/>
                <a:gd name="T52" fmla="*/ 480 w 590"/>
                <a:gd name="T53" fmla="*/ 198 h 258"/>
                <a:gd name="T54" fmla="*/ 495 w 590"/>
                <a:gd name="T55" fmla="*/ 179 h 258"/>
                <a:gd name="T56" fmla="*/ 532 w 590"/>
                <a:gd name="T57" fmla="*/ 180 h 258"/>
                <a:gd name="T58" fmla="*/ 534 w 590"/>
                <a:gd name="T59" fmla="*/ 177 h 258"/>
                <a:gd name="T60" fmla="*/ 541 w 590"/>
                <a:gd name="T61" fmla="*/ 177 h 258"/>
                <a:gd name="T62" fmla="*/ 546 w 590"/>
                <a:gd name="T63" fmla="*/ 169 h 258"/>
                <a:gd name="T64" fmla="*/ 556 w 590"/>
                <a:gd name="T65" fmla="*/ 164 h 258"/>
                <a:gd name="T66" fmla="*/ 574 w 590"/>
                <a:gd name="T67" fmla="*/ 147 h 258"/>
                <a:gd name="T68" fmla="*/ 572 w 590"/>
                <a:gd name="T69" fmla="*/ 144 h 258"/>
                <a:gd name="T70" fmla="*/ 574 w 590"/>
                <a:gd name="T71" fmla="*/ 130 h 258"/>
                <a:gd name="T72" fmla="*/ 585 w 590"/>
                <a:gd name="T73" fmla="*/ 93 h 258"/>
                <a:gd name="T74" fmla="*/ 573 w 590"/>
                <a:gd name="T75" fmla="*/ 94 h 258"/>
                <a:gd name="T76" fmla="*/ 515 w 590"/>
                <a:gd name="T77" fmla="*/ 101 h 258"/>
                <a:gd name="T78" fmla="*/ 498 w 590"/>
                <a:gd name="T79" fmla="*/ 143 h 258"/>
                <a:gd name="T80" fmla="*/ 484 w 590"/>
                <a:gd name="T81" fmla="*/ 160 h 258"/>
                <a:gd name="T82" fmla="*/ 473 w 590"/>
                <a:gd name="T83" fmla="*/ 169 h 258"/>
                <a:gd name="T84" fmla="*/ 468 w 590"/>
                <a:gd name="T85" fmla="*/ 161 h 258"/>
                <a:gd name="T86" fmla="*/ 441 w 590"/>
                <a:gd name="T87" fmla="*/ 168 h 258"/>
                <a:gd name="T88" fmla="*/ 402 w 590"/>
                <a:gd name="T89" fmla="*/ 165 h 258"/>
                <a:gd name="T90" fmla="*/ 386 w 590"/>
                <a:gd name="T91" fmla="*/ 161 h 258"/>
                <a:gd name="T92" fmla="*/ 376 w 590"/>
                <a:gd name="T93" fmla="*/ 158 h 258"/>
                <a:gd name="T94" fmla="*/ 358 w 590"/>
                <a:gd name="T95" fmla="*/ 125 h 258"/>
                <a:gd name="T96" fmla="*/ 343 w 590"/>
                <a:gd name="T97" fmla="*/ 96 h 258"/>
                <a:gd name="T98" fmla="*/ 334 w 590"/>
                <a:gd name="T99" fmla="*/ 53 h 258"/>
                <a:gd name="T100" fmla="*/ 336 w 590"/>
                <a:gd name="T101" fmla="*/ 0 h 258"/>
                <a:gd name="T102" fmla="*/ 340 w 590"/>
                <a:gd name="T10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0" h="258">
                  <a:moveTo>
                    <a:pt x="482" y="157"/>
                  </a:moveTo>
                  <a:cubicBezTo>
                    <a:pt x="482" y="157"/>
                    <a:pt x="482" y="157"/>
                    <a:pt x="482" y="157"/>
                  </a:cubicBezTo>
                  <a:cubicBezTo>
                    <a:pt x="482" y="157"/>
                    <a:pt x="482" y="157"/>
                    <a:pt x="482" y="157"/>
                  </a:cubicBezTo>
                  <a:cubicBezTo>
                    <a:pt x="482" y="157"/>
                    <a:pt x="482" y="157"/>
                    <a:pt x="482" y="157"/>
                  </a:cubicBezTo>
                  <a:moveTo>
                    <a:pt x="482" y="157"/>
                  </a:moveTo>
                  <a:cubicBezTo>
                    <a:pt x="482" y="157"/>
                    <a:pt x="482" y="157"/>
                    <a:pt x="482" y="157"/>
                  </a:cubicBezTo>
                  <a:cubicBezTo>
                    <a:pt x="482" y="157"/>
                    <a:pt x="482" y="157"/>
                    <a:pt x="482" y="157"/>
                  </a:cubicBezTo>
                  <a:cubicBezTo>
                    <a:pt x="482" y="157"/>
                    <a:pt x="482" y="157"/>
                    <a:pt x="482" y="157"/>
                  </a:cubicBezTo>
                  <a:moveTo>
                    <a:pt x="29" y="0"/>
                  </a:moveTo>
                  <a:cubicBezTo>
                    <a:pt x="3" y="0"/>
                    <a:pt x="3" y="0"/>
                    <a:pt x="3" y="0"/>
                  </a:cubicBezTo>
                  <a:cubicBezTo>
                    <a:pt x="3" y="1"/>
                    <a:pt x="2" y="2"/>
                    <a:pt x="1" y="4"/>
                  </a:cubicBezTo>
                  <a:cubicBezTo>
                    <a:pt x="1" y="6"/>
                    <a:pt x="1" y="9"/>
                    <a:pt x="0" y="12"/>
                  </a:cubicBezTo>
                  <a:cubicBezTo>
                    <a:pt x="1" y="10"/>
                    <a:pt x="1" y="9"/>
                    <a:pt x="2" y="8"/>
                  </a:cubicBezTo>
                  <a:cubicBezTo>
                    <a:pt x="2" y="9"/>
                    <a:pt x="2" y="12"/>
                    <a:pt x="2" y="13"/>
                  </a:cubicBezTo>
                  <a:cubicBezTo>
                    <a:pt x="6" y="16"/>
                    <a:pt x="10" y="17"/>
                    <a:pt x="14" y="20"/>
                  </a:cubicBezTo>
                  <a:cubicBezTo>
                    <a:pt x="21" y="26"/>
                    <a:pt x="28" y="31"/>
                    <a:pt x="35" y="36"/>
                  </a:cubicBezTo>
                  <a:cubicBezTo>
                    <a:pt x="38" y="39"/>
                    <a:pt x="41" y="41"/>
                    <a:pt x="43" y="44"/>
                  </a:cubicBezTo>
                  <a:cubicBezTo>
                    <a:pt x="47" y="48"/>
                    <a:pt x="50" y="55"/>
                    <a:pt x="53" y="60"/>
                  </a:cubicBezTo>
                  <a:cubicBezTo>
                    <a:pt x="54" y="59"/>
                    <a:pt x="56" y="57"/>
                    <a:pt x="58" y="56"/>
                  </a:cubicBezTo>
                  <a:cubicBezTo>
                    <a:pt x="59" y="55"/>
                    <a:pt x="61" y="55"/>
                    <a:pt x="62" y="54"/>
                  </a:cubicBezTo>
                  <a:cubicBezTo>
                    <a:pt x="64" y="52"/>
                    <a:pt x="64" y="49"/>
                    <a:pt x="64" y="47"/>
                  </a:cubicBezTo>
                  <a:cubicBezTo>
                    <a:pt x="63" y="42"/>
                    <a:pt x="59" y="42"/>
                    <a:pt x="58" y="39"/>
                  </a:cubicBezTo>
                  <a:cubicBezTo>
                    <a:pt x="57" y="38"/>
                    <a:pt x="57" y="33"/>
                    <a:pt x="56" y="32"/>
                  </a:cubicBezTo>
                  <a:cubicBezTo>
                    <a:pt x="55" y="32"/>
                    <a:pt x="55" y="32"/>
                    <a:pt x="55" y="32"/>
                  </a:cubicBezTo>
                  <a:cubicBezTo>
                    <a:pt x="54" y="32"/>
                    <a:pt x="54" y="32"/>
                    <a:pt x="54" y="32"/>
                  </a:cubicBezTo>
                  <a:cubicBezTo>
                    <a:pt x="53" y="32"/>
                    <a:pt x="53" y="32"/>
                    <a:pt x="53" y="32"/>
                  </a:cubicBezTo>
                  <a:cubicBezTo>
                    <a:pt x="52" y="32"/>
                    <a:pt x="52" y="32"/>
                    <a:pt x="52" y="32"/>
                  </a:cubicBezTo>
                  <a:cubicBezTo>
                    <a:pt x="50" y="31"/>
                    <a:pt x="47" y="24"/>
                    <a:pt x="45" y="24"/>
                  </a:cubicBezTo>
                  <a:cubicBezTo>
                    <a:pt x="45" y="24"/>
                    <a:pt x="45" y="24"/>
                    <a:pt x="45" y="24"/>
                  </a:cubicBezTo>
                  <a:cubicBezTo>
                    <a:pt x="43" y="24"/>
                    <a:pt x="44" y="26"/>
                    <a:pt x="43" y="28"/>
                  </a:cubicBezTo>
                  <a:cubicBezTo>
                    <a:pt x="41" y="28"/>
                    <a:pt x="39" y="28"/>
                    <a:pt x="37" y="27"/>
                  </a:cubicBezTo>
                  <a:cubicBezTo>
                    <a:pt x="34" y="24"/>
                    <a:pt x="35" y="18"/>
                    <a:pt x="35" y="15"/>
                  </a:cubicBezTo>
                  <a:cubicBezTo>
                    <a:pt x="35" y="10"/>
                    <a:pt x="32" y="6"/>
                    <a:pt x="30" y="1"/>
                  </a:cubicBezTo>
                  <a:cubicBezTo>
                    <a:pt x="29" y="1"/>
                    <a:pt x="29" y="0"/>
                    <a:pt x="29" y="0"/>
                  </a:cubicBezTo>
                  <a:moveTo>
                    <a:pt x="336" y="0"/>
                  </a:moveTo>
                  <a:cubicBezTo>
                    <a:pt x="84" y="0"/>
                    <a:pt x="84" y="0"/>
                    <a:pt x="84" y="0"/>
                  </a:cubicBezTo>
                  <a:cubicBezTo>
                    <a:pt x="87" y="1"/>
                    <a:pt x="90" y="2"/>
                    <a:pt x="92" y="4"/>
                  </a:cubicBezTo>
                  <a:cubicBezTo>
                    <a:pt x="94" y="6"/>
                    <a:pt x="95" y="7"/>
                    <a:pt x="97" y="9"/>
                  </a:cubicBezTo>
                  <a:cubicBezTo>
                    <a:pt x="98" y="9"/>
                    <a:pt x="97" y="12"/>
                    <a:pt x="97" y="13"/>
                  </a:cubicBezTo>
                  <a:cubicBezTo>
                    <a:pt x="98" y="15"/>
                    <a:pt x="98" y="19"/>
                    <a:pt x="101" y="20"/>
                  </a:cubicBezTo>
                  <a:cubicBezTo>
                    <a:pt x="101" y="19"/>
                    <a:pt x="100" y="19"/>
                    <a:pt x="100" y="18"/>
                  </a:cubicBezTo>
                  <a:cubicBezTo>
                    <a:pt x="101" y="19"/>
                    <a:pt x="102" y="20"/>
                    <a:pt x="104" y="21"/>
                  </a:cubicBezTo>
                  <a:cubicBezTo>
                    <a:pt x="105" y="21"/>
                    <a:pt x="105" y="21"/>
                    <a:pt x="106" y="21"/>
                  </a:cubicBezTo>
                  <a:cubicBezTo>
                    <a:pt x="106" y="21"/>
                    <a:pt x="106" y="21"/>
                    <a:pt x="106" y="21"/>
                  </a:cubicBezTo>
                  <a:cubicBezTo>
                    <a:pt x="107" y="21"/>
                    <a:pt x="107" y="21"/>
                    <a:pt x="107" y="21"/>
                  </a:cubicBezTo>
                  <a:cubicBezTo>
                    <a:pt x="107" y="20"/>
                    <a:pt x="108" y="20"/>
                    <a:pt x="108" y="20"/>
                  </a:cubicBezTo>
                  <a:cubicBezTo>
                    <a:pt x="108" y="20"/>
                    <a:pt x="108" y="20"/>
                    <a:pt x="108" y="20"/>
                  </a:cubicBezTo>
                  <a:cubicBezTo>
                    <a:pt x="110" y="21"/>
                    <a:pt x="108" y="23"/>
                    <a:pt x="107" y="23"/>
                  </a:cubicBezTo>
                  <a:cubicBezTo>
                    <a:pt x="107" y="23"/>
                    <a:pt x="107" y="23"/>
                    <a:pt x="107" y="23"/>
                  </a:cubicBezTo>
                  <a:cubicBezTo>
                    <a:pt x="114" y="29"/>
                    <a:pt x="120" y="35"/>
                    <a:pt x="126" y="43"/>
                  </a:cubicBezTo>
                  <a:cubicBezTo>
                    <a:pt x="133" y="52"/>
                    <a:pt x="140" y="59"/>
                    <a:pt x="148" y="67"/>
                  </a:cubicBezTo>
                  <a:cubicBezTo>
                    <a:pt x="151" y="70"/>
                    <a:pt x="152" y="76"/>
                    <a:pt x="152" y="80"/>
                  </a:cubicBezTo>
                  <a:cubicBezTo>
                    <a:pt x="152" y="85"/>
                    <a:pt x="157" y="90"/>
                    <a:pt x="159" y="93"/>
                  </a:cubicBezTo>
                  <a:cubicBezTo>
                    <a:pt x="161" y="96"/>
                    <a:pt x="162" y="96"/>
                    <a:pt x="161" y="98"/>
                  </a:cubicBezTo>
                  <a:cubicBezTo>
                    <a:pt x="160" y="101"/>
                    <a:pt x="159" y="105"/>
                    <a:pt x="158" y="108"/>
                  </a:cubicBezTo>
                  <a:cubicBezTo>
                    <a:pt x="157" y="109"/>
                    <a:pt x="156" y="110"/>
                    <a:pt x="154" y="111"/>
                  </a:cubicBezTo>
                  <a:cubicBezTo>
                    <a:pt x="156" y="112"/>
                    <a:pt x="157" y="112"/>
                    <a:pt x="159" y="112"/>
                  </a:cubicBezTo>
                  <a:cubicBezTo>
                    <a:pt x="159" y="113"/>
                    <a:pt x="160" y="113"/>
                    <a:pt x="161" y="113"/>
                  </a:cubicBezTo>
                  <a:cubicBezTo>
                    <a:pt x="160" y="115"/>
                    <a:pt x="162" y="116"/>
                    <a:pt x="160" y="116"/>
                  </a:cubicBezTo>
                  <a:cubicBezTo>
                    <a:pt x="158" y="117"/>
                    <a:pt x="153" y="118"/>
                    <a:pt x="152" y="119"/>
                  </a:cubicBezTo>
                  <a:cubicBezTo>
                    <a:pt x="150" y="123"/>
                    <a:pt x="159" y="134"/>
                    <a:pt x="160" y="137"/>
                  </a:cubicBezTo>
                  <a:cubicBezTo>
                    <a:pt x="164" y="143"/>
                    <a:pt x="169" y="147"/>
                    <a:pt x="175" y="150"/>
                  </a:cubicBezTo>
                  <a:cubicBezTo>
                    <a:pt x="180" y="153"/>
                    <a:pt x="186" y="155"/>
                    <a:pt x="191" y="158"/>
                  </a:cubicBezTo>
                  <a:cubicBezTo>
                    <a:pt x="196" y="161"/>
                    <a:pt x="198" y="165"/>
                    <a:pt x="201" y="169"/>
                  </a:cubicBezTo>
                  <a:cubicBezTo>
                    <a:pt x="203" y="171"/>
                    <a:pt x="206" y="172"/>
                    <a:pt x="210" y="173"/>
                  </a:cubicBezTo>
                  <a:cubicBezTo>
                    <a:pt x="217" y="176"/>
                    <a:pt x="224" y="178"/>
                    <a:pt x="231" y="180"/>
                  </a:cubicBezTo>
                  <a:cubicBezTo>
                    <a:pt x="231" y="180"/>
                    <a:pt x="231" y="180"/>
                    <a:pt x="232" y="180"/>
                  </a:cubicBezTo>
                  <a:cubicBezTo>
                    <a:pt x="233" y="180"/>
                    <a:pt x="233" y="179"/>
                    <a:pt x="234" y="179"/>
                  </a:cubicBezTo>
                  <a:cubicBezTo>
                    <a:pt x="235" y="179"/>
                    <a:pt x="235" y="179"/>
                    <a:pt x="236" y="179"/>
                  </a:cubicBezTo>
                  <a:cubicBezTo>
                    <a:pt x="237" y="179"/>
                    <a:pt x="237" y="179"/>
                    <a:pt x="238" y="179"/>
                  </a:cubicBezTo>
                  <a:cubicBezTo>
                    <a:pt x="243" y="183"/>
                    <a:pt x="248" y="187"/>
                    <a:pt x="253" y="191"/>
                  </a:cubicBezTo>
                  <a:cubicBezTo>
                    <a:pt x="264" y="198"/>
                    <a:pt x="277" y="201"/>
                    <a:pt x="289" y="207"/>
                  </a:cubicBezTo>
                  <a:cubicBezTo>
                    <a:pt x="295" y="210"/>
                    <a:pt x="301" y="211"/>
                    <a:pt x="307" y="213"/>
                  </a:cubicBezTo>
                  <a:cubicBezTo>
                    <a:pt x="311" y="213"/>
                    <a:pt x="312" y="213"/>
                    <a:pt x="314" y="216"/>
                  </a:cubicBezTo>
                  <a:cubicBezTo>
                    <a:pt x="317" y="219"/>
                    <a:pt x="319" y="219"/>
                    <a:pt x="323" y="220"/>
                  </a:cubicBezTo>
                  <a:cubicBezTo>
                    <a:pt x="325" y="221"/>
                    <a:pt x="328" y="222"/>
                    <a:pt x="330" y="224"/>
                  </a:cubicBezTo>
                  <a:cubicBezTo>
                    <a:pt x="334" y="226"/>
                    <a:pt x="336" y="226"/>
                    <a:pt x="340" y="227"/>
                  </a:cubicBezTo>
                  <a:cubicBezTo>
                    <a:pt x="343" y="227"/>
                    <a:pt x="345" y="227"/>
                    <a:pt x="348" y="228"/>
                  </a:cubicBezTo>
                  <a:cubicBezTo>
                    <a:pt x="351" y="229"/>
                    <a:pt x="353" y="231"/>
                    <a:pt x="355" y="232"/>
                  </a:cubicBezTo>
                  <a:cubicBezTo>
                    <a:pt x="359" y="233"/>
                    <a:pt x="362" y="234"/>
                    <a:pt x="365" y="234"/>
                  </a:cubicBezTo>
                  <a:cubicBezTo>
                    <a:pt x="367" y="234"/>
                    <a:pt x="369" y="233"/>
                    <a:pt x="372" y="232"/>
                  </a:cubicBezTo>
                  <a:cubicBezTo>
                    <a:pt x="377" y="231"/>
                    <a:pt x="382" y="228"/>
                    <a:pt x="387" y="227"/>
                  </a:cubicBezTo>
                  <a:cubicBezTo>
                    <a:pt x="390" y="226"/>
                    <a:pt x="391" y="223"/>
                    <a:pt x="394" y="223"/>
                  </a:cubicBezTo>
                  <a:cubicBezTo>
                    <a:pt x="396" y="222"/>
                    <a:pt x="398" y="221"/>
                    <a:pt x="400" y="221"/>
                  </a:cubicBezTo>
                  <a:cubicBezTo>
                    <a:pt x="400" y="221"/>
                    <a:pt x="401" y="221"/>
                    <a:pt x="402" y="221"/>
                  </a:cubicBezTo>
                  <a:cubicBezTo>
                    <a:pt x="402" y="221"/>
                    <a:pt x="402" y="221"/>
                    <a:pt x="402" y="221"/>
                  </a:cubicBezTo>
                  <a:cubicBezTo>
                    <a:pt x="401" y="220"/>
                    <a:pt x="399" y="220"/>
                    <a:pt x="397" y="219"/>
                  </a:cubicBezTo>
                  <a:cubicBezTo>
                    <a:pt x="399" y="218"/>
                    <a:pt x="401" y="217"/>
                    <a:pt x="403" y="216"/>
                  </a:cubicBezTo>
                  <a:cubicBezTo>
                    <a:pt x="403" y="219"/>
                    <a:pt x="403" y="219"/>
                    <a:pt x="404" y="219"/>
                  </a:cubicBezTo>
                  <a:cubicBezTo>
                    <a:pt x="405" y="219"/>
                    <a:pt x="406" y="219"/>
                    <a:pt x="407" y="218"/>
                  </a:cubicBezTo>
                  <a:cubicBezTo>
                    <a:pt x="407" y="219"/>
                    <a:pt x="407" y="221"/>
                    <a:pt x="405" y="221"/>
                  </a:cubicBezTo>
                  <a:cubicBezTo>
                    <a:pt x="407" y="222"/>
                    <a:pt x="410" y="222"/>
                    <a:pt x="412" y="222"/>
                  </a:cubicBezTo>
                  <a:cubicBezTo>
                    <a:pt x="415" y="222"/>
                    <a:pt x="418" y="224"/>
                    <a:pt x="420" y="225"/>
                  </a:cubicBezTo>
                  <a:cubicBezTo>
                    <a:pt x="420" y="222"/>
                    <a:pt x="415" y="222"/>
                    <a:pt x="412" y="221"/>
                  </a:cubicBezTo>
                  <a:cubicBezTo>
                    <a:pt x="413" y="220"/>
                    <a:pt x="413" y="220"/>
                    <a:pt x="414" y="220"/>
                  </a:cubicBezTo>
                  <a:cubicBezTo>
                    <a:pt x="417" y="220"/>
                    <a:pt x="423" y="224"/>
                    <a:pt x="425" y="226"/>
                  </a:cubicBezTo>
                  <a:cubicBezTo>
                    <a:pt x="430" y="230"/>
                    <a:pt x="435" y="234"/>
                    <a:pt x="440" y="238"/>
                  </a:cubicBezTo>
                  <a:cubicBezTo>
                    <a:pt x="442" y="240"/>
                    <a:pt x="444" y="242"/>
                    <a:pt x="445" y="243"/>
                  </a:cubicBezTo>
                  <a:cubicBezTo>
                    <a:pt x="447" y="244"/>
                    <a:pt x="450" y="245"/>
                    <a:pt x="451" y="246"/>
                  </a:cubicBezTo>
                  <a:cubicBezTo>
                    <a:pt x="454" y="251"/>
                    <a:pt x="457" y="255"/>
                    <a:pt x="461" y="258"/>
                  </a:cubicBezTo>
                  <a:cubicBezTo>
                    <a:pt x="462" y="257"/>
                    <a:pt x="462" y="257"/>
                    <a:pt x="462" y="257"/>
                  </a:cubicBezTo>
                  <a:cubicBezTo>
                    <a:pt x="462" y="257"/>
                    <a:pt x="462" y="257"/>
                    <a:pt x="462" y="257"/>
                  </a:cubicBezTo>
                  <a:cubicBezTo>
                    <a:pt x="462" y="256"/>
                    <a:pt x="462" y="256"/>
                    <a:pt x="462" y="256"/>
                  </a:cubicBezTo>
                  <a:cubicBezTo>
                    <a:pt x="461" y="255"/>
                    <a:pt x="461" y="255"/>
                    <a:pt x="461" y="255"/>
                  </a:cubicBezTo>
                  <a:cubicBezTo>
                    <a:pt x="461" y="254"/>
                    <a:pt x="461" y="253"/>
                    <a:pt x="462" y="251"/>
                  </a:cubicBezTo>
                  <a:cubicBezTo>
                    <a:pt x="462" y="251"/>
                    <a:pt x="462" y="251"/>
                    <a:pt x="462" y="251"/>
                  </a:cubicBezTo>
                  <a:cubicBezTo>
                    <a:pt x="462" y="251"/>
                    <a:pt x="462" y="250"/>
                    <a:pt x="463" y="248"/>
                  </a:cubicBezTo>
                  <a:cubicBezTo>
                    <a:pt x="463" y="248"/>
                    <a:pt x="463" y="248"/>
                    <a:pt x="463" y="248"/>
                  </a:cubicBezTo>
                  <a:cubicBezTo>
                    <a:pt x="462" y="246"/>
                    <a:pt x="461" y="244"/>
                    <a:pt x="462" y="242"/>
                  </a:cubicBezTo>
                  <a:cubicBezTo>
                    <a:pt x="462" y="241"/>
                    <a:pt x="462" y="241"/>
                    <a:pt x="462" y="241"/>
                  </a:cubicBezTo>
                  <a:cubicBezTo>
                    <a:pt x="462" y="241"/>
                    <a:pt x="462" y="241"/>
                    <a:pt x="462" y="241"/>
                  </a:cubicBezTo>
                  <a:cubicBezTo>
                    <a:pt x="462" y="240"/>
                    <a:pt x="462" y="240"/>
                    <a:pt x="462" y="240"/>
                  </a:cubicBezTo>
                  <a:cubicBezTo>
                    <a:pt x="463" y="239"/>
                    <a:pt x="463" y="239"/>
                    <a:pt x="463" y="239"/>
                  </a:cubicBezTo>
                  <a:cubicBezTo>
                    <a:pt x="464" y="236"/>
                    <a:pt x="467" y="232"/>
                    <a:pt x="469" y="229"/>
                  </a:cubicBezTo>
                  <a:cubicBezTo>
                    <a:pt x="470" y="227"/>
                    <a:pt x="470" y="227"/>
                    <a:pt x="470" y="227"/>
                  </a:cubicBezTo>
                  <a:cubicBezTo>
                    <a:pt x="471" y="226"/>
                    <a:pt x="472" y="225"/>
                    <a:pt x="473" y="224"/>
                  </a:cubicBezTo>
                  <a:cubicBezTo>
                    <a:pt x="474" y="224"/>
                    <a:pt x="474" y="223"/>
                    <a:pt x="475" y="223"/>
                  </a:cubicBezTo>
                  <a:cubicBezTo>
                    <a:pt x="477" y="222"/>
                    <a:pt x="478" y="222"/>
                    <a:pt x="480" y="222"/>
                  </a:cubicBezTo>
                  <a:cubicBezTo>
                    <a:pt x="482" y="221"/>
                    <a:pt x="484" y="221"/>
                    <a:pt x="486" y="221"/>
                  </a:cubicBezTo>
                  <a:cubicBezTo>
                    <a:pt x="487" y="221"/>
                    <a:pt x="488" y="221"/>
                    <a:pt x="489" y="221"/>
                  </a:cubicBezTo>
                  <a:cubicBezTo>
                    <a:pt x="490" y="221"/>
                    <a:pt x="491" y="221"/>
                    <a:pt x="492" y="221"/>
                  </a:cubicBezTo>
                  <a:cubicBezTo>
                    <a:pt x="502" y="221"/>
                    <a:pt x="502" y="221"/>
                    <a:pt x="502" y="221"/>
                  </a:cubicBezTo>
                  <a:cubicBezTo>
                    <a:pt x="502" y="220"/>
                    <a:pt x="502" y="220"/>
                    <a:pt x="502" y="220"/>
                  </a:cubicBezTo>
                  <a:cubicBezTo>
                    <a:pt x="503" y="220"/>
                    <a:pt x="503" y="220"/>
                    <a:pt x="503" y="220"/>
                  </a:cubicBezTo>
                  <a:cubicBezTo>
                    <a:pt x="503" y="219"/>
                    <a:pt x="503" y="219"/>
                    <a:pt x="503" y="218"/>
                  </a:cubicBezTo>
                  <a:cubicBezTo>
                    <a:pt x="503" y="218"/>
                    <a:pt x="503" y="218"/>
                    <a:pt x="503" y="218"/>
                  </a:cubicBezTo>
                  <a:cubicBezTo>
                    <a:pt x="502" y="218"/>
                    <a:pt x="502" y="218"/>
                    <a:pt x="502" y="218"/>
                  </a:cubicBezTo>
                  <a:cubicBezTo>
                    <a:pt x="502" y="218"/>
                    <a:pt x="501" y="217"/>
                    <a:pt x="501" y="217"/>
                  </a:cubicBezTo>
                  <a:cubicBezTo>
                    <a:pt x="498" y="215"/>
                    <a:pt x="495" y="213"/>
                    <a:pt x="493" y="210"/>
                  </a:cubicBezTo>
                  <a:cubicBezTo>
                    <a:pt x="493" y="210"/>
                    <a:pt x="493" y="210"/>
                    <a:pt x="493" y="210"/>
                  </a:cubicBezTo>
                  <a:cubicBezTo>
                    <a:pt x="493" y="210"/>
                    <a:pt x="493" y="210"/>
                    <a:pt x="493" y="210"/>
                  </a:cubicBezTo>
                  <a:cubicBezTo>
                    <a:pt x="492" y="209"/>
                    <a:pt x="491" y="208"/>
                    <a:pt x="490" y="207"/>
                  </a:cubicBezTo>
                  <a:cubicBezTo>
                    <a:pt x="489" y="207"/>
                    <a:pt x="489" y="206"/>
                    <a:pt x="488" y="206"/>
                  </a:cubicBezTo>
                  <a:cubicBezTo>
                    <a:pt x="485" y="203"/>
                    <a:pt x="485" y="203"/>
                    <a:pt x="485" y="203"/>
                  </a:cubicBezTo>
                  <a:cubicBezTo>
                    <a:pt x="483" y="201"/>
                    <a:pt x="482" y="200"/>
                    <a:pt x="480" y="198"/>
                  </a:cubicBezTo>
                  <a:cubicBezTo>
                    <a:pt x="473" y="193"/>
                    <a:pt x="473" y="193"/>
                    <a:pt x="473" y="193"/>
                  </a:cubicBezTo>
                  <a:cubicBezTo>
                    <a:pt x="489" y="193"/>
                    <a:pt x="489" y="193"/>
                    <a:pt x="489" y="193"/>
                  </a:cubicBezTo>
                  <a:cubicBezTo>
                    <a:pt x="489" y="193"/>
                    <a:pt x="489" y="193"/>
                    <a:pt x="489" y="193"/>
                  </a:cubicBezTo>
                  <a:cubicBezTo>
                    <a:pt x="488" y="186"/>
                    <a:pt x="488" y="182"/>
                    <a:pt x="490" y="181"/>
                  </a:cubicBezTo>
                  <a:cubicBezTo>
                    <a:pt x="491" y="180"/>
                    <a:pt x="492" y="179"/>
                    <a:pt x="495" y="179"/>
                  </a:cubicBezTo>
                  <a:cubicBezTo>
                    <a:pt x="496" y="179"/>
                    <a:pt x="498" y="179"/>
                    <a:pt x="500" y="179"/>
                  </a:cubicBezTo>
                  <a:cubicBezTo>
                    <a:pt x="501" y="180"/>
                    <a:pt x="501" y="180"/>
                    <a:pt x="501" y="180"/>
                  </a:cubicBezTo>
                  <a:cubicBezTo>
                    <a:pt x="501" y="180"/>
                    <a:pt x="502" y="180"/>
                    <a:pt x="502" y="180"/>
                  </a:cubicBezTo>
                  <a:cubicBezTo>
                    <a:pt x="517" y="180"/>
                    <a:pt x="517" y="180"/>
                    <a:pt x="517" y="180"/>
                  </a:cubicBezTo>
                  <a:cubicBezTo>
                    <a:pt x="522" y="180"/>
                    <a:pt x="527" y="180"/>
                    <a:pt x="532" y="180"/>
                  </a:cubicBezTo>
                  <a:cubicBezTo>
                    <a:pt x="532" y="179"/>
                    <a:pt x="532" y="179"/>
                    <a:pt x="532" y="179"/>
                  </a:cubicBezTo>
                  <a:cubicBezTo>
                    <a:pt x="532" y="179"/>
                    <a:pt x="532" y="179"/>
                    <a:pt x="532" y="179"/>
                  </a:cubicBezTo>
                  <a:cubicBezTo>
                    <a:pt x="533" y="179"/>
                    <a:pt x="533" y="179"/>
                    <a:pt x="533" y="179"/>
                  </a:cubicBezTo>
                  <a:cubicBezTo>
                    <a:pt x="534" y="178"/>
                    <a:pt x="534" y="178"/>
                    <a:pt x="534" y="178"/>
                  </a:cubicBezTo>
                  <a:cubicBezTo>
                    <a:pt x="534" y="177"/>
                    <a:pt x="534" y="177"/>
                    <a:pt x="534" y="177"/>
                  </a:cubicBezTo>
                  <a:cubicBezTo>
                    <a:pt x="535" y="177"/>
                    <a:pt x="535" y="177"/>
                    <a:pt x="536" y="177"/>
                  </a:cubicBezTo>
                  <a:cubicBezTo>
                    <a:pt x="536" y="176"/>
                    <a:pt x="537" y="176"/>
                    <a:pt x="538" y="176"/>
                  </a:cubicBezTo>
                  <a:cubicBezTo>
                    <a:pt x="538" y="176"/>
                    <a:pt x="538" y="176"/>
                    <a:pt x="538" y="176"/>
                  </a:cubicBezTo>
                  <a:cubicBezTo>
                    <a:pt x="539" y="177"/>
                    <a:pt x="540" y="177"/>
                    <a:pt x="540" y="177"/>
                  </a:cubicBezTo>
                  <a:cubicBezTo>
                    <a:pt x="541" y="177"/>
                    <a:pt x="541" y="177"/>
                    <a:pt x="541" y="177"/>
                  </a:cubicBezTo>
                  <a:cubicBezTo>
                    <a:pt x="541" y="177"/>
                    <a:pt x="541" y="177"/>
                    <a:pt x="542" y="175"/>
                  </a:cubicBezTo>
                  <a:cubicBezTo>
                    <a:pt x="543" y="174"/>
                    <a:pt x="544" y="173"/>
                    <a:pt x="544" y="172"/>
                  </a:cubicBezTo>
                  <a:cubicBezTo>
                    <a:pt x="544" y="171"/>
                    <a:pt x="544" y="171"/>
                    <a:pt x="544" y="171"/>
                  </a:cubicBezTo>
                  <a:cubicBezTo>
                    <a:pt x="545" y="171"/>
                    <a:pt x="545" y="171"/>
                    <a:pt x="545" y="171"/>
                  </a:cubicBezTo>
                  <a:cubicBezTo>
                    <a:pt x="546" y="169"/>
                    <a:pt x="546" y="169"/>
                    <a:pt x="546" y="169"/>
                  </a:cubicBezTo>
                  <a:cubicBezTo>
                    <a:pt x="547" y="165"/>
                    <a:pt x="550" y="164"/>
                    <a:pt x="551" y="164"/>
                  </a:cubicBezTo>
                  <a:cubicBezTo>
                    <a:pt x="552" y="164"/>
                    <a:pt x="552" y="164"/>
                    <a:pt x="552" y="164"/>
                  </a:cubicBezTo>
                  <a:cubicBezTo>
                    <a:pt x="553" y="164"/>
                    <a:pt x="554" y="164"/>
                    <a:pt x="555" y="164"/>
                  </a:cubicBezTo>
                  <a:cubicBezTo>
                    <a:pt x="556" y="164"/>
                    <a:pt x="556" y="164"/>
                    <a:pt x="556" y="164"/>
                  </a:cubicBezTo>
                  <a:cubicBezTo>
                    <a:pt x="556" y="164"/>
                    <a:pt x="556" y="164"/>
                    <a:pt x="556" y="164"/>
                  </a:cubicBezTo>
                  <a:cubicBezTo>
                    <a:pt x="557" y="163"/>
                    <a:pt x="558" y="162"/>
                    <a:pt x="557" y="160"/>
                  </a:cubicBezTo>
                  <a:cubicBezTo>
                    <a:pt x="558" y="160"/>
                    <a:pt x="559" y="159"/>
                    <a:pt x="560" y="158"/>
                  </a:cubicBezTo>
                  <a:cubicBezTo>
                    <a:pt x="560" y="160"/>
                    <a:pt x="559" y="164"/>
                    <a:pt x="559" y="166"/>
                  </a:cubicBezTo>
                  <a:cubicBezTo>
                    <a:pt x="560" y="169"/>
                    <a:pt x="563" y="172"/>
                    <a:pt x="565" y="174"/>
                  </a:cubicBezTo>
                  <a:cubicBezTo>
                    <a:pt x="567" y="165"/>
                    <a:pt x="568" y="154"/>
                    <a:pt x="574" y="147"/>
                  </a:cubicBezTo>
                  <a:cubicBezTo>
                    <a:pt x="573" y="147"/>
                    <a:pt x="573" y="147"/>
                    <a:pt x="572" y="147"/>
                  </a:cubicBezTo>
                  <a:cubicBezTo>
                    <a:pt x="571" y="147"/>
                    <a:pt x="571" y="148"/>
                    <a:pt x="570" y="149"/>
                  </a:cubicBezTo>
                  <a:cubicBezTo>
                    <a:pt x="570" y="149"/>
                    <a:pt x="570" y="149"/>
                    <a:pt x="569" y="149"/>
                  </a:cubicBezTo>
                  <a:cubicBezTo>
                    <a:pt x="567" y="149"/>
                    <a:pt x="571" y="145"/>
                    <a:pt x="572" y="144"/>
                  </a:cubicBezTo>
                  <a:cubicBezTo>
                    <a:pt x="572" y="144"/>
                    <a:pt x="572" y="144"/>
                    <a:pt x="572" y="144"/>
                  </a:cubicBezTo>
                  <a:cubicBezTo>
                    <a:pt x="574" y="144"/>
                    <a:pt x="575" y="142"/>
                    <a:pt x="575" y="140"/>
                  </a:cubicBezTo>
                  <a:cubicBezTo>
                    <a:pt x="574" y="141"/>
                    <a:pt x="572" y="141"/>
                    <a:pt x="570" y="141"/>
                  </a:cubicBezTo>
                  <a:cubicBezTo>
                    <a:pt x="568" y="141"/>
                    <a:pt x="567" y="141"/>
                    <a:pt x="567" y="138"/>
                  </a:cubicBezTo>
                  <a:cubicBezTo>
                    <a:pt x="568" y="136"/>
                    <a:pt x="572" y="136"/>
                    <a:pt x="573" y="135"/>
                  </a:cubicBezTo>
                  <a:cubicBezTo>
                    <a:pt x="574" y="134"/>
                    <a:pt x="573" y="131"/>
                    <a:pt x="574" y="130"/>
                  </a:cubicBezTo>
                  <a:cubicBezTo>
                    <a:pt x="574" y="129"/>
                    <a:pt x="573" y="127"/>
                    <a:pt x="574" y="126"/>
                  </a:cubicBezTo>
                  <a:cubicBezTo>
                    <a:pt x="576" y="121"/>
                    <a:pt x="582" y="117"/>
                    <a:pt x="585" y="112"/>
                  </a:cubicBezTo>
                  <a:cubicBezTo>
                    <a:pt x="587" y="109"/>
                    <a:pt x="588" y="106"/>
                    <a:pt x="590" y="103"/>
                  </a:cubicBezTo>
                  <a:cubicBezTo>
                    <a:pt x="590" y="103"/>
                    <a:pt x="589" y="99"/>
                    <a:pt x="589" y="98"/>
                  </a:cubicBezTo>
                  <a:cubicBezTo>
                    <a:pt x="588" y="96"/>
                    <a:pt x="587" y="94"/>
                    <a:pt x="585" y="93"/>
                  </a:cubicBezTo>
                  <a:cubicBezTo>
                    <a:pt x="584" y="92"/>
                    <a:pt x="584" y="92"/>
                    <a:pt x="583" y="92"/>
                  </a:cubicBezTo>
                  <a:cubicBezTo>
                    <a:pt x="582" y="92"/>
                    <a:pt x="581" y="93"/>
                    <a:pt x="579" y="93"/>
                  </a:cubicBezTo>
                  <a:cubicBezTo>
                    <a:pt x="579" y="93"/>
                    <a:pt x="577" y="92"/>
                    <a:pt x="576" y="92"/>
                  </a:cubicBezTo>
                  <a:cubicBezTo>
                    <a:pt x="576" y="92"/>
                    <a:pt x="576" y="92"/>
                    <a:pt x="576" y="92"/>
                  </a:cubicBezTo>
                  <a:cubicBezTo>
                    <a:pt x="575" y="92"/>
                    <a:pt x="574" y="93"/>
                    <a:pt x="573" y="94"/>
                  </a:cubicBezTo>
                  <a:cubicBezTo>
                    <a:pt x="569" y="93"/>
                    <a:pt x="565" y="92"/>
                    <a:pt x="561" y="92"/>
                  </a:cubicBezTo>
                  <a:cubicBezTo>
                    <a:pt x="559" y="92"/>
                    <a:pt x="558" y="92"/>
                    <a:pt x="557" y="92"/>
                  </a:cubicBezTo>
                  <a:cubicBezTo>
                    <a:pt x="552" y="92"/>
                    <a:pt x="547" y="94"/>
                    <a:pt x="541" y="96"/>
                  </a:cubicBezTo>
                  <a:cubicBezTo>
                    <a:pt x="536" y="98"/>
                    <a:pt x="529" y="98"/>
                    <a:pt x="523" y="99"/>
                  </a:cubicBezTo>
                  <a:cubicBezTo>
                    <a:pt x="520" y="99"/>
                    <a:pt x="517" y="100"/>
                    <a:pt x="515" y="101"/>
                  </a:cubicBezTo>
                  <a:cubicBezTo>
                    <a:pt x="512" y="103"/>
                    <a:pt x="507" y="106"/>
                    <a:pt x="506" y="109"/>
                  </a:cubicBezTo>
                  <a:cubicBezTo>
                    <a:pt x="505" y="112"/>
                    <a:pt x="505" y="116"/>
                    <a:pt x="504" y="119"/>
                  </a:cubicBezTo>
                  <a:cubicBezTo>
                    <a:pt x="503" y="122"/>
                    <a:pt x="504" y="126"/>
                    <a:pt x="503" y="128"/>
                  </a:cubicBezTo>
                  <a:cubicBezTo>
                    <a:pt x="503" y="131"/>
                    <a:pt x="499" y="133"/>
                    <a:pt x="499" y="136"/>
                  </a:cubicBezTo>
                  <a:cubicBezTo>
                    <a:pt x="499" y="138"/>
                    <a:pt x="499" y="141"/>
                    <a:pt x="498" y="143"/>
                  </a:cubicBezTo>
                  <a:cubicBezTo>
                    <a:pt x="498" y="145"/>
                    <a:pt x="498" y="146"/>
                    <a:pt x="496" y="147"/>
                  </a:cubicBezTo>
                  <a:cubicBezTo>
                    <a:pt x="495" y="148"/>
                    <a:pt x="484" y="156"/>
                    <a:pt x="482" y="157"/>
                  </a:cubicBezTo>
                  <a:cubicBezTo>
                    <a:pt x="483" y="156"/>
                    <a:pt x="485" y="156"/>
                    <a:pt x="486" y="155"/>
                  </a:cubicBezTo>
                  <a:cubicBezTo>
                    <a:pt x="485" y="157"/>
                    <a:pt x="484" y="158"/>
                    <a:pt x="483" y="160"/>
                  </a:cubicBezTo>
                  <a:cubicBezTo>
                    <a:pt x="484" y="160"/>
                    <a:pt x="484" y="160"/>
                    <a:pt x="484" y="160"/>
                  </a:cubicBezTo>
                  <a:cubicBezTo>
                    <a:pt x="484" y="160"/>
                    <a:pt x="484" y="160"/>
                    <a:pt x="485" y="160"/>
                  </a:cubicBezTo>
                  <a:cubicBezTo>
                    <a:pt x="486" y="160"/>
                    <a:pt x="485" y="162"/>
                    <a:pt x="485" y="163"/>
                  </a:cubicBezTo>
                  <a:cubicBezTo>
                    <a:pt x="486" y="163"/>
                    <a:pt x="487" y="163"/>
                    <a:pt x="487" y="162"/>
                  </a:cubicBezTo>
                  <a:cubicBezTo>
                    <a:pt x="483" y="165"/>
                    <a:pt x="478" y="167"/>
                    <a:pt x="474" y="168"/>
                  </a:cubicBezTo>
                  <a:cubicBezTo>
                    <a:pt x="474" y="169"/>
                    <a:pt x="473" y="169"/>
                    <a:pt x="473" y="169"/>
                  </a:cubicBezTo>
                  <a:cubicBezTo>
                    <a:pt x="471" y="169"/>
                    <a:pt x="471" y="164"/>
                    <a:pt x="468" y="163"/>
                  </a:cubicBezTo>
                  <a:cubicBezTo>
                    <a:pt x="469" y="163"/>
                    <a:pt x="469" y="163"/>
                    <a:pt x="470" y="163"/>
                  </a:cubicBezTo>
                  <a:cubicBezTo>
                    <a:pt x="470" y="163"/>
                    <a:pt x="471" y="163"/>
                    <a:pt x="472" y="163"/>
                  </a:cubicBezTo>
                  <a:cubicBezTo>
                    <a:pt x="471" y="163"/>
                    <a:pt x="470" y="161"/>
                    <a:pt x="469" y="161"/>
                  </a:cubicBezTo>
                  <a:cubicBezTo>
                    <a:pt x="469" y="161"/>
                    <a:pt x="468" y="161"/>
                    <a:pt x="468" y="161"/>
                  </a:cubicBezTo>
                  <a:cubicBezTo>
                    <a:pt x="465" y="161"/>
                    <a:pt x="461" y="162"/>
                    <a:pt x="459" y="162"/>
                  </a:cubicBezTo>
                  <a:cubicBezTo>
                    <a:pt x="456" y="163"/>
                    <a:pt x="454" y="165"/>
                    <a:pt x="453" y="167"/>
                  </a:cubicBezTo>
                  <a:cubicBezTo>
                    <a:pt x="453" y="165"/>
                    <a:pt x="453" y="164"/>
                    <a:pt x="451" y="164"/>
                  </a:cubicBezTo>
                  <a:cubicBezTo>
                    <a:pt x="451" y="164"/>
                    <a:pt x="451" y="164"/>
                    <a:pt x="451" y="164"/>
                  </a:cubicBezTo>
                  <a:cubicBezTo>
                    <a:pt x="448" y="164"/>
                    <a:pt x="444" y="167"/>
                    <a:pt x="441" y="168"/>
                  </a:cubicBezTo>
                  <a:cubicBezTo>
                    <a:pt x="435" y="168"/>
                    <a:pt x="433" y="168"/>
                    <a:pt x="429" y="171"/>
                  </a:cubicBezTo>
                  <a:cubicBezTo>
                    <a:pt x="425" y="173"/>
                    <a:pt x="421" y="173"/>
                    <a:pt x="417" y="174"/>
                  </a:cubicBezTo>
                  <a:cubicBezTo>
                    <a:pt x="416" y="174"/>
                    <a:pt x="414" y="174"/>
                    <a:pt x="413" y="174"/>
                  </a:cubicBezTo>
                  <a:cubicBezTo>
                    <a:pt x="410" y="174"/>
                    <a:pt x="408" y="173"/>
                    <a:pt x="406" y="170"/>
                  </a:cubicBezTo>
                  <a:cubicBezTo>
                    <a:pt x="405" y="169"/>
                    <a:pt x="404" y="166"/>
                    <a:pt x="402" y="165"/>
                  </a:cubicBezTo>
                  <a:cubicBezTo>
                    <a:pt x="401" y="165"/>
                    <a:pt x="399" y="165"/>
                    <a:pt x="397" y="164"/>
                  </a:cubicBezTo>
                  <a:cubicBezTo>
                    <a:pt x="395" y="163"/>
                    <a:pt x="394" y="161"/>
                    <a:pt x="392" y="161"/>
                  </a:cubicBezTo>
                  <a:cubicBezTo>
                    <a:pt x="392" y="161"/>
                    <a:pt x="392" y="161"/>
                    <a:pt x="392" y="161"/>
                  </a:cubicBezTo>
                  <a:cubicBezTo>
                    <a:pt x="391" y="161"/>
                    <a:pt x="389" y="161"/>
                    <a:pt x="388" y="161"/>
                  </a:cubicBezTo>
                  <a:cubicBezTo>
                    <a:pt x="388" y="161"/>
                    <a:pt x="387" y="161"/>
                    <a:pt x="386" y="161"/>
                  </a:cubicBezTo>
                  <a:cubicBezTo>
                    <a:pt x="385" y="161"/>
                    <a:pt x="383" y="161"/>
                    <a:pt x="382" y="161"/>
                  </a:cubicBezTo>
                  <a:cubicBezTo>
                    <a:pt x="380" y="161"/>
                    <a:pt x="378" y="161"/>
                    <a:pt x="378" y="165"/>
                  </a:cubicBezTo>
                  <a:cubicBezTo>
                    <a:pt x="377" y="165"/>
                    <a:pt x="376" y="166"/>
                    <a:pt x="375" y="167"/>
                  </a:cubicBezTo>
                  <a:cubicBezTo>
                    <a:pt x="375" y="165"/>
                    <a:pt x="376" y="164"/>
                    <a:pt x="377" y="162"/>
                  </a:cubicBezTo>
                  <a:cubicBezTo>
                    <a:pt x="379" y="159"/>
                    <a:pt x="377" y="160"/>
                    <a:pt x="376" y="158"/>
                  </a:cubicBezTo>
                  <a:cubicBezTo>
                    <a:pt x="378" y="158"/>
                    <a:pt x="379" y="159"/>
                    <a:pt x="380" y="159"/>
                  </a:cubicBezTo>
                  <a:cubicBezTo>
                    <a:pt x="381" y="159"/>
                    <a:pt x="381" y="159"/>
                    <a:pt x="381" y="159"/>
                  </a:cubicBezTo>
                  <a:cubicBezTo>
                    <a:pt x="377" y="154"/>
                    <a:pt x="371" y="150"/>
                    <a:pt x="368" y="144"/>
                  </a:cubicBezTo>
                  <a:cubicBezTo>
                    <a:pt x="367" y="141"/>
                    <a:pt x="367" y="136"/>
                    <a:pt x="365" y="133"/>
                  </a:cubicBezTo>
                  <a:cubicBezTo>
                    <a:pt x="363" y="131"/>
                    <a:pt x="361" y="127"/>
                    <a:pt x="358" y="125"/>
                  </a:cubicBezTo>
                  <a:cubicBezTo>
                    <a:pt x="355" y="122"/>
                    <a:pt x="352" y="119"/>
                    <a:pt x="350" y="116"/>
                  </a:cubicBezTo>
                  <a:cubicBezTo>
                    <a:pt x="348" y="113"/>
                    <a:pt x="346" y="109"/>
                    <a:pt x="345" y="105"/>
                  </a:cubicBezTo>
                  <a:cubicBezTo>
                    <a:pt x="342" y="98"/>
                    <a:pt x="338" y="92"/>
                    <a:pt x="336" y="84"/>
                  </a:cubicBezTo>
                  <a:cubicBezTo>
                    <a:pt x="338" y="87"/>
                    <a:pt x="341" y="89"/>
                    <a:pt x="342" y="92"/>
                  </a:cubicBezTo>
                  <a:cubicBezTo>
                    <a:pt x="344" y="94"/>
                    <a:pt x="343" y="93"/>
                    <a:pt x="343" y="96"/>
                  </a:cubicBezTo>
                  <a:cubicBezTo>
                    <a:pt x="342" y="97"/>
                    <a:pt x="342" y="98"/>
                    <a:pt x="343" y="99"/>
                  </a:cubicBezTo>
                  <a:cubicBezTo>
                    <a:pt x="343" y="98"/>
                    <a:pt x="345" y="95"/>
                    <a:pt x="345" y="94"/>
                  </a:cubicBezTo>
                  <a:cubicBezTo>
                    <a:pt x="345" y="88"/>
                    <a:pt x="336" y="83"/>
                    <a:pt x="334" y="78"/>
                  </a:cubicBezTo>
                  <a:cubicBezTo>
                    <a:pt x="333" y="74"/>
                    <a:pt x="334" y="69"/>
                    <a:pt x="333" y="65"/>
                  </a:cubicBezTo>
                  <a:cubicBezTo>
                    <a:pt x="332" y="61"/>
                    <a:pt x="334" y="57"/>
                    <a:pt x="334" y="53"/>
                  </a:cubicBezTo>
                  <a:cubicBezTo>
                    <a:pt x="335" y="45"/>
                    <a:pt x="336" y="38"/>
                    <a:pt x="336" y="30"/>
                  </a:cubicBezTo>
                  <a:cubicBezTo>
                    <a:pt x="336" y="32"/>
                    <a:pt x="336" y="35"/>
                    <a:pt x="335" y="37"/>
                  </a:cubicBezTo>
                  <a:cubicBezTo>
                    <a:pt x="334" y="31"/>
                    <a:pt x="331" y="24"/>
                    <a:pt x="334" y="18"/>
                  </a:cubicBezTo>
                  <a:cubicBezTo>
                    <a:pt x="335" y="16"/>
                    <a:pt x="338" y="11"/>
                    <a:pt x="337" y="9"/>
                  </a:cubicBezTo>
                  <a:cubicBezTo>
                    <a:pt x="335" y="7"/>
                    <a:pt x="335" y="3"/>
                    <a:pt x="336" y="0"/>
                  </a:cubicBezTo>
                  <a:moveTo>
                    <a:pt x="340" y="0"/>
                  </a:moveTo>
                  <a:cubicBezTo>
                    <a:pt x="337" y="0"/>
                    <a:pt x="337" y="0"/>
                    <a:pt x="337" y="0"/>
                  </a:cubicBezTo>
                  <a:cubicBezTo>
                    <a:pt x="338" y="0"/>
                    <a:pt x="339" y="1"/>
                    <a:pt x="340" y="1"/>
                  </a:cubicBezTo>
                  <a:cubicBezTo>
                    <a:pt x="340" y="1"/>
                    <a:pt x="340" y="1"/>
                    <a:pt x="340" y="1"/>
                  </a:cubicBezTo>
                  <a:cubicBezTo>
                    <a:pt x="341" y="1"/>
                    <a:pt x="340" y="0"/>
                    <a:pt x="340" y="0"/>
                  </a:cubicBezTo>
                  <a:moveTo>
                    <a:pt x="343" y="0"/>
                  </a:moveTo>
                  <a:cubicBezTo>
                    <a:pt x="342" y="0"/>
                    <a:pt x="342" y="0"/>
                    <a:pt x="342" y="0"/>
                  </a:cubicBezTo>
                  <a:cubicBezTo>
                    <a:pt x="342" y="3"/>
                    <a:pt x="340" y="7"/>
                    <a:pt x="340" y="11"/>
                  </a:cubicBezTo>
                  <a:cubicBezTo>
                    <a:pt x="341" y="7"/>
                    <a:pt x="342" y="3"/>
                    <a:pt x="3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3" name="Freeform 274">
              <a:extLst>
                <a:ext uri="{FF2B5EF4-FFF2-40B4-BE49-F238E27FC236}">
                  <a16:creationId xmlns:a16="http://schemas.microsoft.com/office/drawing/2014/main" id="{85665724-2A1D-4404-B6D7-EC94F04F0CFF}"/>
                </a:ext>
              </a:extLst>
            </p:cNvPr>
            <p:cNvSpPr>
              <a:spLocks/>
            </p:cNvSpPr>
            <p:nvPr/>
          </p:nvSpPr>
          <p:spPr bwMode="auto">
            <a:xfrm>
              <a:off x="8248561" y="440629"/>
              <a:ext cx="273980" cy="186420"/>
            </a:xfrm>
            <a:custGeom>
              <a:avLst/>
              <a:gdLst>
                <a:gd name="T0" fmla="*/ 14 w 82"/>
                <a:gd name="T1" fmla="*/ 2 h 56"/>
                <a:gd name="T2" fmla="*/ 3 w 82"/>
                <a:gd name="T3" fmla="*/ 2 h 56"/>
                <a:gd name="T4" fmla="*/ 4 w 82"/>
                <a:gd name="T5" fmla="*/ 3 h 56"/>
                <a:gd name="T6" fmla="*/ 5 w 82"/>
                <a:gd name="T7" fmla="*/ 7 h 56"/>
                <a:gd name="T8" fmla="*/ 6 w 82"/>
                <a:gd name="T9" fmla="*/ 10 h 56"/>
                <a:gd name="T10" fmla="*/ 5 w 82"/>
                <a:gd name="T11" fmla="*/ 13 h 56"/>
                <a:gd name="T12" fmla="*/ 7 w 82"/>
                <a:gd name="T13" fmla="*/ 14 h 56"/>
                <a:gd name="T14" fmla="*/ 8 w 82"/>
                <a:gd name="T15" fmla="*/ 15 h 56"/>
                <a:gd name="T16" fmla="*/ 5 w 82"/>
                <a:gd name="T17" fmla="*/ 26 h 56"/>
                <a:gd name="T18" fmla="*/ 5 w 82"/>
                <a:gd name="T19" fmla="*/ 29 h 56"/>
                <a:gd name="T20" fmla="*/ 4 w 82"/>
                <a:gd name="T21" fmla="*/ 30 h 56"/>
                <a:gd name="T22" fmla="*/ 0 w 82"/>
                <a:gd name="T23" fmla="*/ 33 h 56"/>
                <a:gd name="T24" fmla="*/ 3 w 82"/>
                <a:gd name="T25" fmla="*/ 35 h 56"/>
                <a:gd name="T26" fmla="*/ 5 w 82"/>
                <a:gd name="T27" fmla="*/ 41 h 56"/>
                <a:gd name="T28" fmla="*/ 4 w 82"/>
                <a:gd name="T29" fmla="*/ 43 h 56"/>
                <a:gd name="T30" fmla="*/ 4 w 82"/>
                <a:gd name="T31" fmla="*/ 46 h 56"/>
                <a:gd name="T32" fmla="*/ 3 w 82"/>
                <a:gd name="T33" fmla="*/ 47 h 56"/>
                <a:gd name="T34" fmla="*/ 4 w 82"/>
                <a:gd name="T35" fmla="*/ 52 h 56"/>
                <a:gd name="T36" fmla="*/ 9 w 82"/>
                <a:gd name="T37" fmla="*/ 56 h 56"/>
                <a:gd name="T38" fmla="*/ 12 w 82"/>
                <a:gd name="T39" fmla="*/ 52 h 56"/>
                <a:gd name="T40" fmla="*/ 18 w 82"/>
                <a:gd name="T41" fmla="*/ 39 h 56"/>
                <a:gd name="T42" fmla="*/ 19 w 82"/>
                <a:gd name="T43" fmla="*/ 39 h 56"/>
                <a:gd name="T44" fmla="*/ 23 w 82"/>
                <a:gd name="T45" fmla="*/ 39 h 56"/>
                <a:gd name="T46" fmla="*/ 28 w 82"/>
                <a:gd name="T47" fmla="*/ 36 h 56"/>
                <a:gd name="T48" fmla="*/ 29 w 82"/>
                <a:gd name="T49" fmla="*/ 39 h 56"/>
                <a:gd name="T50" fmla="*/ 37 w 82"/>
                <a:gd name="T51" fmla="*/ 40 h 56"/>
                <a:gd name="T52" fmla="*/ 47 w 82"/>
                <a:gd name="T53" fmla="*/ 35 h 56"/>
                <a:gd name="T54" fmla="*/ 59 w 82"/>
                <a:gd name="T55" fmla="*/ 37 h 56"/>
                <a:gd name="T56" fmla="*/ 65 w 82"/>
                <a:gd name="T57" fmla="*/ 36 h 56"/>
                <a:gd name="T58" fmla="*/ 74 w 82"/>
                <a:gd name="T59" fmla="*/ 41 h 56"/>
                <a:gd name="T60" fmla="*/ 80 w 82"/>
                <a:gd name="T61" fmla="*/ 35 h 56"/>
                <a:gd name="T62" fmla="*/ 75 w 82"/>
                <a:gd name="T63" fmla="*/ 26 h 56"/>
                <a:gd name="T64" fmla="*/ 56 w 82"/>
                <a:gd name="T65" fmla="*/ 21 h 56"/>
                <a:gd name="T66" fmla="*/ 54 w 82"/>
                <a:gd name="T67" fmla="*/ 17 h 56"/>
                <a:gd name="T68" fmla="*/ 61 w 82"/>
                <a:gd name="T69" fmla="*/ 14 h 56"/>
                <a:gd name="T70" fmla="*/ 58 w 82"/>
                <a:gd name="T71" fmla="*/ 15 h 56"/>
                <a:gd name="T72" fmla="*/ 53 w 82"/>
                <a:gd name="T73" fmla="*/ 15 h 56"/>
                <a:gd name="T74" fmla="*/ 50 w 82"/>
                <a:gd name="T75" fmla="*/ 16 h 56"/>
                <a:gd name="T76" fmla="*/ 46 w 82"/>
                <a:gd name="T77" fmla="*/ 7 h 56"/>
                <a:gd name="T78" fmla="*/ 41 w 82"/>
                <a:gd name="T79" fmla="*/ 7 h 56"/>
                <a:gd name="T80" fmla="*/ 24 w 82"/>
                <a:gd name="T81"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56">
                  <a:moveTo>
                    <a:pt x="20" y="0"/>
                  </a:moveTo>
                  <a:cubicBezTo>
                    <a:pt x="18" y="0"/>
                    <a:pt x="17" y="1"/>
                    <a:pt x="14" y="2"/>
                  </a:cubicBezTo>
                  <a:cubicBezTo>
                    <a:pt x="11" y="2"/>
                    <a:pt x="8" y="1"/>
                    <a:pt x="4" y="1"/>
                  </a:cubicBezTo>
                  <a:cubicBezTo>
                    <a:pt x="4" y="2"/>
                    <a:pt x="3" y="1"/>
                    <a:pt x="3" y="2"/>
                  </a:cubicBezTo>
                  <a:cubicBezTo>
                    <a:pt x="2" y="3"/>
                    <a:pt x="2" y="3"/>
                    <a:pt x="2" y="4"/>
                  </a:cubicBezTo>
                  <a:cubicBezTo>
                    <a:pt x="4" y="3"/>
                    <a:pt x="4" y="3"/>
                    <a:pt x="4" y="3"/>
                  </a:cubicBezTo>
                  <a:cubicBezTo>
                    <a:pt x="4" y="5"/>
                    <a:pt x="4" y="5"/>
                    <a:pt x="4" y="5"/>
                  </a:cubicBezTo>
                  <a:cubicBezTo>
                    <a:pt x="5" y="6"/>
                    <a:pt x="5" y="7"/>
                    <a:pt x="5" y="7"/>
                  </a:cubicBezTo>
                  <a:cubicBezTo>
                    <a:pt x="5" y="8"/>
                    <a:pt x="5" y="8"/>
                    <a:pt x="5" y="8"/>
                  </a:cubicBezTo>
                  <a:cubicBezTo>
                    <a:pt x="6" y="9"/>
                    <a:pt x="6" y="10"/>
                    <a:pt x="6" y="10"/>
                  </a:cubicBezTo>
                  <a:cubicBezTo>
                    <a:pt x="6" y="12"/>
                    <a:pt x="6" y="13"/>
                    <a:pt x="5" y="13"/>
                  </a:cubicBezTo>
                  <a:cubicBezTo>
                    <a:pt x="5" y="13"/>
                    <a:pt x="5" y="13"/>
                    <a:pt x="5" y="13"/>
                  </a:cubicBezTo>
                  <a:cubicBezTo>
                    <a:pt x="6" y="14"/>
                    <a:pt x="6" y="14"/>
                    <a:pt x="6" y="14"/>
                  </a:cubicBezTo>
                  <a:cubicBezTo>
                    <a:pt x="7" y="14"/>
                    <a:pt x="7" y="14"/>
                    <a:pt x="7" y="14"/>
                  </a:cubicBezTo>
                  <a:cubicBezTo>
                    <a:pt x="7" y="15"/>
                    <a:pt x="7" y="15"/>
                    <a:pt x="7" y="15"/>
                  </a:cubicBezTo>
                  <a:cubicBezTo>
                    <a:pt x="8" y="15"/>
                    <a:pt x="8" y="15"/>
                    <a:pt x="8" y="15"/>
                  </a:cubicBezTo>
                  <a:cubicBezTo>
                    <a:pt x="7" y="18"/>
                    <a:pt x="7" y="18"/>
                    <a:pt x="7" y="18"/>
                  </a:cubicBezTo>
                  <a:cubicBezTo>
                    <a:pt x="5" y="26"/>
                    <a:pt x="5" y="26"/>
                    <a:pt x="5" y="26"/>
                  </a:cubicBezTo>
                  <a:cubicBezTo>
                    <a:pt x="5" y="27"/>
                    <a:pt x="5" y="27"/>
                    <a:pt x="5" y="28"/>
                  </a:cubicBezTo>
                  <a:cubicBezTo>
                    <a:pt x="5" y="29"/>
                    <a:pt x="5" y="29"/>
                    <a:pt x="5" y="29"/>
                  </a:cubicBezTo>
                  <a:cubicBezTo>
                    <a:pt x="5" y="32"/>
                    <a:pt x="5" y="32"/>
                    <a:pt x="5" y="32"/>
                  </a:cubicBezTo>
                  <a:cubicBezTo>
                    <a:pt x="4" y="30"/>
                    <a:pt x="4" y="30"/>
                    <a:pt x="4" y="30"/>
                  </a:cubicBezTo>
                  <a:cubicBezTo>
                    <a:pt x="4" y="31"/>
                    <a:pt x="3" y="31"/>
                    <a:pt x="3" y="31"/>
                  </a:cubicBezTo>
                  <a:cubicBezTo>
                    <a:pt x="2" y="32"/>
                    <a:pt x="1" y="32"/>
                    <a:pt x="0" y="33"/>
                  </a:cubicBezTo>
                  <a:cubicBezTo>
                    <a:pt x="1" y="33"/>
                    <a:pt x="2" y="34"/>
                    <a:pt x="2" y="34"/>
                  </a:cubicBezTo>
                  <a:cubicBezTo>
                    <a:pt x="3" y="35"/>
                    <a:pt x="3" y="35"/>
                    <a:pt x="3" y="35"/>
                  </a:cubicBezTo>
                  <a:cubicBezTo>
                    <a:pt x="3" y="35"/>
                    <a:pt x="3" y="35"/>
                    <a:pt x="3" y="35"/>
                  </a:cubicBezTo>
                  <a:cubicBezTo>
                    <a:pt x="5" y="37"/>
                    <a:pt x="5" y="39"/>
                    <a:pt x="5" y="41"/>
                  </a:cubicBezTo>
                  <a:cubicBezTo>
                    <a:pt x="5" y="41"/>
                    <a:pt x="5" y="41"/>
                    <a:pt x="5" y="41"/>
                  </a:cubicBezTo>
                  <a:cubicBezTo>
                    <a:pt x="5" y="42"/>
                    <a:pt x="5" y="43"/>
                    <a:pt x="4" y="43"/>
                  </a:cubicBezTo>
                  <a:cubicBezTo>
                    <a:pt x="4" y="44"/>
                    <a:pt x="4" y="44"/>
                    <a:pt x="4" y="44"/>
                  </a:cubicBezTo>
                  <a:cubicBezTo>
                    <a:pt x="4" y="46"/>
                    <a:pt x="4" y="46"/>
                    <a:pt x="4" y="46"/>
                  </a:cubicBezTo>
                  <a:cubicBezTo>
                    <a:pt x="4" y="46"/>
                    <a:pt x="4" y="46"/>
                    <a:pt x="4" y="46"/>
                  </a:cubicBezTo>
                  <a:cubicBezTo>
                    <a:pt x="3" y="47"/>
                    <a:pt x="3" y="47"/>
                    <a:pt x="3" y="47"/>
                  </a:cubicBezTo>
                  <a:cubicBezTo>
                    <a:pt x="2" y="47"/>
                    <a:pt x="2" y="47"/>
                    <a:pt x="2" y="47"/>
                  </a:cubicBezTo>
                  <a:cubicBezTo>
                    <a:pt x="3" y="49"/>
                    <a:pt x="3" y="51"/>
                    <a:pt x="4" y="52"/>
                  </a:cubicBezTo>
                  <a:cubicBezTo>
                    <a:pt x="4" y="51"/>
                    <a:pt x="4" y="51"/>
                    <a:pt x="4" y="51"/>
                  </a:cubicBezTo>
                  <a:cubicBezTo>
                    <a:pt x="5" y="53"/>
                    <a:pt x="7" y="56"/>
                    <a:pt x="9" y="56"/>
                  </a:cubicBezTo>
                  <a:cubicBezTo>
                    <a:pt x="10" y="56"/>
                    <a:pt x="10" y="56"/>
                    <a:pt x="10" y="55"/>
                  </a:cubicBezTo>
                  <a:cubicBezTo>
                    <a:pt x="11" y="55"/>
                    <a:pt x="11" y="53"/>
                    <a:pt x="12" y="52"/>
                  </a:cubicBezTo>
                  <a:cubicBezTo>
                    <a:pt x="13" y="50"/>
                    <a:pt x="14" y="48"/>
                    <a:pt x="15" y="45"/>
                  </a:cubicBezTo>
                  <a:cubicBezTo>
                    <a:pt x="15" y="44"/>
                    <a:pt x="17" y="40"/>
                    <a:pt x="18" y="39"/>
                  </a:cubicBezTo>
                  <a:cubicBezTo>
                    <a:pt x="18" y="39"/>
                    <a:pt x="18" y="39"/>
                    <a:pt x="19" y="39"/>
                  </a:cubicBezTo>
                  <a:cubicBezTo>
                    <a:pt x="19" y="39"/>
                    <a:pt x="19" y="39"/>
                    <a:pt x="19" y="39"/>
                  </a:cubicBezTo>
                  <a:cubicBezTo>
                    <a:pt x="20" y="40"/>
                    <a:pt x="20" y="40"/>
                    <a:pt x="21" y="40"/>
                  </a:cubicBezTo>
                  <a:cubicBezTo>
                    <a:pt x="21" y="40"/>
                    <a:pt x="22" y="39"/>
                    <a:pt x="23" y="39"/>
                  </a:cubicBezTo>
                  <a:cubicBezTo>
                    <a:pt x="24" y="38"/>
                    <a:pt x="26" y="36"/>
                    <a:pt x="28" y="36"/>
                  </a:cubicBezTo>
                  <a:cubicBezTo>
                    <a:pt x="28" y="36"/>
                    <a:pt x="28" y="36"/>
                    <a:pt x="28" y="36"/>
                  </a:cubicBezTo>
                  <a:cubicBezTo>
                    <a:pt x="28" y="36"/>
                    <a:pt x="29" y="36"/>
                    <a:pt x="29" y="37"/>
                  </a:cubicBezTo>
                  <a:cubicBezTo>
                    <a:pt x="30" y="37"/>
                    <a:pt x="29" y="39"/>
                    <a:pt x="29" y="39"/>
                  </a:cubicBezTo>
                  <a:cubicBezTo>
                    <a:pt x="29" y="40"/>
                    <a:pt x="32" y="40"/>
                    <a:pt x="33" y="40"/>
                  </a:cubicBezTo>
                  <a:cubicBezTo>
                    <a:pt x="35" y="40"/>
                    <a:pt x="36" y="40"/>
                    <a:pt x="37" y="40"/>
                  </a:cubicBezTo>
                  <a:cubicBezTo>
                    <a:pt x="38" y="40"/>
                    <a:pt x="39" y="40"/>
                    <a:pt x="41" y="38"/>
                  </a:cubicBezTo>
                  <a:cubicBezTo>
                    <a:pt x="43" y="36"/>
                    <a:pt x="45" y="35"/>
                    <a:pt x="47" y="35"/>
                  </a:cubicBezTo>
                  <a:cubicBezTo>
                    <a:pt x="51" y="35"/>
                    <a:pt x="55" y="37"/>
                    <a:pt x="59" y="37"/>
                  </a:cubicBezTo>
                  <a:cubicBezTo>
                    <a:pt x="59" y="37"/>
                    <a:pt x="59" y="37"/>
                    <a:pt x="59" y="37"/>
                  </a:cubicBezTo>
                  <a:cubicBezTo>
                    <a:pt x="60" y="37"/>
                    <a:pt x="61" y="37"/>
                    <a:pt x="62" y="36"/>
                  </a:cubicBezTo>
                  <a:cubicBezTo>
                    <a:pt x="63" y="36"/>
                    <a:pt x="64" y="36"/>
                    <a:pt x="65" y="36"/>
                  </a:cubicBezTo>
                  <a:cubicBezTo>
                    <a:pt x="67" y="36"/>
                    <a:pt x="68" y="36"/>
                    <a:pt x="68" y="37"/>
                  </a:cubicBezTo>
                  <a:cubicBezTo>
                    <a:pt x="71" y="37"/>
                    <a:pt x="73" y="40"/>
                    <a:pt x="74" y="41"/>
                  </a:cubicBezTo>
                  <a:cubicBezTo>
                    <a:pt x="74" y="39"/>
                    <a:pt x="77" y="39"/>
                    <a:pt x="78" y="38"/>
                  </a:cubicBezTo>
                  <a:cubicBezTo>
                    <a:pt x="79" y="38"/>
                    <a:pt x="80" y="35"/>
                    <a:pt x="80" y="35"/>
                  </a:cubicBezTo>
                  <a:cubicBezTo>
                    <a:pt x="82" y="31"/>
                    <a:pt x="82" y="31"/>
                    <a:pt x="79" y="29"/>
                  </a:cubicBezTo>
                  <a:cubicBezTo>
                    <a:pt x="78" y="28"/>
                    <a:pt x="76" y="27"/>
                    <a:pt x="75" y="26"/>
                  </a:cubicBezTo>
                  <a:cubicBezTo>
                    <a:pt x="72" y="23"/>
                    <a:pt x="70" y="23"/>
                    <a:pt x="66" y="22"/>
                  </a:cubicBezTo>
                  <a:cubicBezTo>
                    <a:pt x="62" y="22"/>
                    <a:pt x="59" y="21"/>
                    <a:pt x="56" y="21"/>
                  </a:cubicBezTo>
                  <a:cubicBezTo>
                    <a:pt x="53" y="20"/>
                    <a:pt x="52" y="20"/>
                    <a:pt x="52" y="17"/>
                  </a:cubicBezTo>
                  <a:cubicBezTo>
                    <a:pt x="52" y="17"/>
                    <a:pt x="53" y="17"/>
                    <a:pt x="54" y="17"/>
                  </a:cubicBezTo>
                  <a:cubicBezTo>
                    <a:pt x="56" y="17"/>
                    <a:pt x="60" y="16"/>
                    <a:pt x="62" y="15"/>
                  </a:cubicBezTo>
                  <a:cubicBezTo>
                    <a:pt x="62" y="14"/>
                    <a:pt x="61" y="14"/>
                    <a:pt x="61" y="14"/>
                  </a:cubicBezTo>
                  <a:cubicBezTo>
                    <a:pt x="60" y="14"/>
                    <a:pt x="59" y="15"/>
                    <a:pt x="58" y="15"/>
                  </a:cubicBezTo>
                  <a:cubicBezTo>
                    <a:pt x="58" y="15"/>
                    <a:pt x="58" y="15"/>
                    <a:pt x="58" y="15"/>
                  </a:cubicBezTo>
                  <a:cubicBezTo>
                    <a:pt x="57" y="15"/>
                    <a:pt x="57" y="15"/>
                    <a:pt x="56" y="15"/>
                  </a:cubicBezTo>
                  <a:cubicBezTo>
                    <a:pt x="55" y="15"/>
                    <a:pt x="54" y="15"/>
                    <a:pt x="53" y="15"/>
                  </a:cubicBezTo>
                  <a:cubicBezTo>
                    <a:pt x="53" y="15"/>
                    <a:pt x="53" y="15"/>
                    <a:pt x="53" y="15"/>
                  </a:cubicBezTo>
                  <a:cubicBezTo>
                    <a:pt x="52" y="15"/>
                    <a:pt x="51" y="16"/>
                    <a:pt x="50" y="16"/>
                  </a:cubicBezTo>
                  <a:cubicBezTo>
                    <a:pt x="49" y="16"/>
                    <a:pt x="49" y="16"/>
                    <a:pt x="49" y="15"/>
                  </a:cubicBezTo>
                  <a:cubicBezTo>
                    <a:pt x="47" y="15"/>
                    <a:pt x="47" y="9"/>
                    <a:pt x="46" y="7"/>
                  </a:cubicBezTo>
                  <a:cubicBezTo>
                    <a:pt x="45" y="6"/>
                    <a:pt x="44" y="6"/>
                    <a:pt x="43" y="6"/>
                  </a:cubicBezTo>
                  <a:cubicBezTo>
                    <a:pt x="43" y="6"/>
                    <a:pt x="42" y="6"/>
                    <a:pt x="41" y="7"/>
                  </a:cubicBezTo>
                  <a:cubicBezTo>
                    <a:pt x="41" y="7"/>
                    <a:pt x="40" y="7"/>
                    <a:pt x="40" y="7"/>
                  </a:cubicBezTo>
                  <a:cubicBezTo>
                    <a:pt x="35" y="7"/>
                    <a:pt x="27" y="2"/>
                    <a:pt x="24" y="1"/>
                  </a:cubicBezTo>
                  <a:cubicBezTo>
                    <a:pt x="22" y="0"/>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4" name="Freeform 275">
              <a:extLst>
                <a:ext uri="{FF2B5EF4-FFF2-40B4-BE49-F238E27FC236}">
                  <a16:creationId xmlns:a16="http://schemas.microsoft.com/office/drawing/2014/main" id="{03F8B860-B042-4E6E-85FC-1473FCAEA41F}"/>
                </a:ext>
              </a:extLst>
            </p:cNvPr>
            <p:cNvSpPr>
              <a:spLocks/>
            </p:cNvSpPr>
            <p:nvPr/>
          </p:nvSpPr>
          <p:spPr bwMode="auto">
            <a:xfrm>
              <a:off x="8042370" y="436393"/>
              <a:ext cx="206191" cy="158175"/>
            </a:xfrm>
            <a:custGeom>
              <a:avLst/>
              <a:gdLst>
                <a:gd name="T0" fmla="*/ 31 w 62"/>
                <a:gd name="T1" fmla="*/ 2 h 47"/>
                <a:gd name="T2" fmla="*/ 31 w 62"/>
                <a:gd name="T3" fmla="*/ 8 h 47"/>
                <a:gd name="T4" fmla="*/ 32 w 62"/>
                <a:gd name="T5" fmla="*/ 8 h 47"/>
                <a:gd name="T6" fmla="*/ 38 w 62"/>
                <a:gd name="T7" fmla="*/ 10 h 47"/>
                <a:gd name="T8" fmla="*/ 40 w 62"/>
                <a:gd name="T9" fmla="*/ 12 h 47"/>
                <a:gd name="T10" fmla="*/ 41 w 62"/>
                <a:gd name="T11" fmla="*/ 13 h 47"/>
                <a:gd name="T12" fmla="*/ 41 w 62"/>
                <a:gd name="T13" fmla="*/ 13 h 47"/>
                <a:gd name="T14" fmla="*/ 40 w 62"/>
                <a:gd name="T15" fmla="*/ 18 h 47"/>
                <a:gd name="T16" fmla="*/ 42 w 62"/>
                <a:gd name="T17" fmla="*/ 22 h 47"/>
                <a:gd name="T18" fmla="*/ 50 w 62"/>
                <a:gd name="T19" fmla="*/ 31 h 47"/>
                <a:gd name="T20" fmla="*/ 49 w 62"/>
                <a:gd name="T21" fmla="*/ 34 h 47"/>
                <a:gd name="T22" fmla="*/ 49 w 62"/>
                <a:gd name="T23" fmla="*/ 34 h 47"/>
                <a:gd name="T24" fmla="*/ 46 w 62"/>
                <a:gd name="T25" fmla="*/ 34 h 47"/>
                <a:gd name="T26" fmla="*/ 46 w 62"/>
                <a:gd name="T27" fmla="*/ 34 h 47"/>
                <a:gd name="T28" fmla="*/ 40 w 62"/>
                <a:gd name="T29" fmla="*/ 37 h 47"/>
                <a:gd name="T30" fmla="*/ 26 w 62"/>
                <a:gd name="T31" fmla="*/ 35 h 47"/>
                <a:gd name="T32" fmla="*/ 24 w 62"/>
                <a:gd name="T33" fmla="*/ 35 h 47"/>
                <a:gd name="T34" fmla="*/ 9 w 62"/>
                <a:gd name="T35" fmla="*/ 32 h 47"/>
                <a:gd name="T36" fmla="*/ 7 w 62"/>
                <a:gd name="T37" fmla="*/ 31 h 47"/>
                <a:gd name="T38" fmla="*/ 5 w 62"/>
                <a:gd name="T39" fmla="*/ 31 h 47"/>
                <a:gd name="T40" fmla="*/ 3 w 62"/>
                <a:gd name="T41" fmla="*/ 39 h 47"/>
                <a:gd name="T42" fmla="*/ 6 w 62"/>
                <a:gd name="T43" fmla="*/ 40 h 47"/>
                <a:gd name="T44" fmla="*/ 24 w 62"/>
                <a:gd name="T45" fmla="*/ 41 h 47"/>
                <a:gd name="T46" fmla="*/ 42 w 62"/>
                <a:gd name="T47" fmla="*/ 44 h 47"/>
                <a:gd name="T48" fmla="*/ 53 w 62"/>
                <a:gd name="T49" fmla="*/ 42 h 47"/>
                <a:gd name="T50" fmla="*/ 56 w 62"/>
                <a:gd name="T51" fmla="*/ 42 h 47"/>
                <a:gd name="T52" fmla="*/ 61 w 62"/>
                <a:gd name="T53" fmla="*/ 44 h 47"/>
                <a:gd name="T54" fmla="*/ 61 w 62"/>
                <a:gd name="T55" fmla="*/ 41 h 47"/>
                <a:gd name="T56" fmla="*/ 60 w 62"/>
                <a:gd name="T57" fmla="*/ 40 h 47"/>
                <a:gd name="T58" fmla="*/ 56 w 62"/>
                <a:gd name="T59" fmla="*/ 31 h 47"/>
                <a:gd name="T60" fmla="*/ 58 w 62"/>
                <a:gd name="T61" fmla="*/ 29 h 47"/>
                <a:gd name="T62" fmla="*/ 60 w 62"/>
                <a:gd name="T63" fmla="*/ 28 h 47"/>
                <a:gd name="T64" fmla="*/ 58 w 62"/>
                <a:gd name="T65" fmla="*/ 24 h 47"/>
                <a:gd name="T66" fmla="*/ 59 w 62"/>
                <a:gd name="T67" fmla="*/ 22 h 47"/>
                <a:gd name="T68" fmla="*/ 61 w 62"/>
                <a:gd name="T69" fmla="*/ 20 h 47"/>
                <a:gd name="T70" fmla="*/ 62 w 62"/>
                <a:gd name="T71" fmla="*/ 19 h 47"/>
                <a:gd name="T72" fmla="*/ 62 w 62"/>
                <a:gd name="T73" fmla="*/ 14 h 47"/>
                <a:gd name="T74" fmla="*/ 62 w 62"/>
                <a:gd name="T75" fmla="*/ 12 h 47"/>
                <a:gd name="T76" fmla="*/ 61 w 62"/>
                <a:gd name="T77" fmla="*/ 8 h 47"/>
                <a:gd name="T78" fmla="*/ 61 w 62"/>
                <a:gd name="T79" fmla="*/ 6 h 47"/>
                <a:gd name="T80" fmla="*/ 54 w 62"/>
                <a:gd name="T81" fmla="*/ 5 h 47"/>
                <a:gd name="T82" fmla="*/ 52 w 62"/>
                <a:gd name="T83" fmla="*/ 6 h 47"/>
                <a:gd name="T84" fmla="*/ 43 w 62"/>
                <a:gd name="T85" fmla="*/ 1 h 47"/>
                <a:gd name="T86" fmla="*/ 40 w 62"/>
                <a:gd name="T8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47">
                  <a:moveTo>
                    <a:pt x="40" y="0"/>
                  </a:moveTo>
                  <a:cubicBezTo>
                    <a:pt x="37" y="0"/>
                    <a:pt x="34" y="1"/>
                    <a:pt x="31" y="2"/>
                  </a:cubicBezTo>
                  <a:cubicBezTo>
                    <a:pt x="28" y="3"/>
                    <a:pt x="27" y="4"/>
                    <a:pt x="25" y="6"/>
                  </a:cubicBezTo>
                  <a:cubicBezTo>
                    <a:pt x="27" y="7"/>
                    <a:pt x="28" y="8"/>
                    <a:pt x="31" y="8"/>
                  </a:cubicBezTo>
                  <a:cubicBezTo>
                    <a:pt x="31" y="8"/>
                    <a:pt x="31" y="8"/>
                    <a:pt x="31" y="8"/>
                  </a:cubicBezTo>
                  <a:cubicBezTo>
                    <a:pt x="32" y="8"/>
                    <a:pt x="32" y="8"/>
                    <a:pt x="32" y="8"/>
                  </a:cubicBezTo>
                  <a:cubicBezTo>
                    <a:pt x="34" y="8"/>
                    <a:pt x="36" y="9"/>
                    <a:pt x="38" y="10"/>
                  </a:cubicBezTo>
                  <a:cubicBezTo>
                    <a:pt x="38" y="10"/>
                    <a:pt x="38" y="10"/>
                    <a:pt x="38" y="10"/>
                  </a:cubicBezTo>
                  <a:cubicBezTo>
                    <a:pt x="39" y="11"/>
                    <a:pt x="39" y="11"/>
                    <a:pt x="39" y="11"/>
                  </a:cubicBezTo>
                  <a:cubicBezTo>
                    <a:pt x="39" y="11"/>
                    <a:pt x="39" y="11"/>
                    <a:pt x="40" y="12"/>
                  </a:cubicBezTo>
                  <a:cubicBezTo>
                    <a:pt x="40" y="12"/>
                    <a:pt x="40" y="12"/>
                    <a:pt x="40" y="12"/>
                  </a:cubicBezTo>
                  <a:cubicBezTo>
                    <a:pt x="41" y="13"/>
                    <a:pt x="41" y="13"/>
                    <a:pt x="41" y="13"/>
                  </a:cubicBezTo>
                  <a:cubicBezTo>
                    <a:pt x="41" y="13"/>
                    <a:pt x="41" y="13"/>
                    <a:pt x="41" y="13"/>
                  </a:cubicBezTo>
                  <a:cubicBezTo>
                    <a:pt x="41" y="13"/>
                    <a:pt x="41" y="13"/>
                    <a:pt x="41" y="13"/>
                  </a:cubicBezTo>
                  <a:cubicBezTo>
                    <a:pt x="41" y="14"/>
                    <a:pt x="42" y="14"/>
                    <a:pt x="42" y="15"/>
                  </a:cubicBezTo>
                  <a:cubicBezTo>
                    <a:pt x="42" y="17"/>
                    <a:pt x="40" y="16"/>
                    <a:pt x="40" y="18"/>
                  </a:cubicBezTo>
                  <a:cubicBezTo>
                    <a:pt x="40" y="19"/>
                    <a:pt x="41" y="21"/>
                    <a:pt x="42" y="22"/>
                  </a:cubicBezTo>
                  <a:cubicBezTo>
                    <a:pt x="42" y="22"/>
                    <a:pt x="42" y="22"/>
                    <a:pt x="42" y="22"/>
                  </a:cubicBezTo>
                  <a:cubicBezTo>
                    <a:pt x="42" y="23"/>
                    <a:pt x="42" y="23"/>
                    <a:pt x="42" y="23"/>
                  </a:cubicBezTo>
                  <a:cubicBezTo>
                    <a:pt x="43" y="25"/>
                    <a:pt x="48" y="28"/>
                    <a:pt x="50" y="31"/>
                  </a:cubicBezTo>
                  <a:cubicBezTo>
                    <a:pt x="50" y="31"/>
                    <a:pt x="50" y="32"/>
                    <a:pt x="50" y="32"/>
                  </a:cubicBezTo>
                  <a:cubicBezTo>
                    <a:pt x="51" y="34"/>
                    <a:pt x="50" y="34"/>
                    <a:pt x="49" y="34"/>
                  </a:cubicBezTo>
                  <a:cubicBezTo>
                    <a:pt x="49" y="34"/>
                    <a:pt x="49" y="34"/>
                    <a:pt x="49" y="34"/>
                  </a:cubicBezTo>
                  <a:cubicBezTo>
                    <a:pt x="49" y="34"/>
                    <a:pt x="49" y="34"/>
                    <a:pt x="49" y="34"/>
                  </a:cubicBezTo>
                  <a:cubicBezTo>
                    <a:pt x="48" y="34"/>
                    <a:pt x="48" y="34"/>
                    <a:pt x="47" y="34"/>
                  </a:cubicBezTo>
                  <a:cubicBezTo>
                    <a:pt x="46" y="34"/>
                    <a:pt x="46" y="34"/>
                    <a:pt x="46" y="34"/>
                  </a:cubicBezTo>
                  <a:cubicBezTo>
                    <a:pt x="46" y="34"/>
                    <a:pt x="46" y="34"/>
                    <a:pt x="46" y="34"/>
                  </a:cubicBezTo>
                  <a:cubicBezTo>
                    <a:pt x="46" y="34"/>
                    <a:pt x="46" y="34"/>
                    <a:pt x="46" y="34"/>
                  </a:cubicBezTo>
                  <a:cubicBezTo>
                    <a:pt x="45" y="35"/>
                    <a:pt x="44" y="35"/>
                    <a:pt x="44" y="36"/>
                  </a:cubicBezTo>
                  <a:cubicBezTo>
                    <a:pt x="42" y="36"/>
                    <a:pt x="42" y="37"/>
                    <a:pt x="40" y="37"/>
                  </a:cubicBezTo>
                  <a:cubicBezTo>
                    <a:pt x="40" y="37"/>
                    <a:pt x="39" y="37"/>
                    <a:pt x="39" y="37"/>
                  </a:cubicBezTo>
                  <a:cubicBezTo>
                    <a:pt x="35" y="36"/>
                    <a:pt x="30" y="35"/>
                    <a:pt x="26" y="35"/>
                  </a:cubicBezTo>
                  <a:cubicBezTo>
                    <a:pt x="26" y="35"/>
                    <a:pt x="26" y="35"/>
                    <a:pt x="25" y="35"/>
                  </a:cubicBezTo>
                  <a:cubicBezTo>
                    <a:pt x="25" y="35"/>
                    <a:pt x="25" y="35"/>
                    <a:pt x="24" y="35"/>
                  </a:cubicBezTo>
                  <a:cubicBezTo>
                    <a:pt x="21" y="35"/>
                    <a:pt x="18" y="35"/>
                    <a:pt x="15" y="34"/>
                  </a:cubicBezTo>
                  <a:cubicBezTo>
                    <a:pt x="13" y="33"/>
                    <a:pt x="10" y="32"/>
                    <a:pt x="9" y="32"/>
                  </a:cubicBezTo>
                  <a:cubicBezTo>
                    <a:pt x="8" y="32"/>
                    <a:pt x="8" y="32"/>
                    <a:pt x="8" y="32"/>
                  </a:cubicBezTo>
                  <a:cubicBezTo>
                    <a:pt x="7" y="31"/>
                    <a:pt x="7" y="31"/>
                    <a:pt x="7" y="31"/>
                  </a:cubicBezTo>
                  <a:cubicBezTo>
                    <a:pt x="7" y="31"/>
                    <a:pt x="7" y="31"/>
                    <a:pt x="7" y="31"/>
                  </a:cubicBezTo>
                  <a:cubicBezTo>
                    <a:pt x="6" y="31"/>
                    <a:pt x="6" y="31"/>
                    <a:pt x="5" y="31"/>
                  </a:cubicBezTo>
                  <a:cubicBezTo>
                    <a:pt x="4" y="31"/>
                    <a:pt x="4" y="31"/>
                    <a:pt x="3" y="32"/>
                  </a:cubicBezTo>
                  <a:cubicBezTo>
                    <a:pt x="1" y="34"/>
                    <a:pt x="0" y="39"/>
                    <a:pt x="3" y="39"/>
                  </a:cubicBezTo>
                  <a:cubicBezTo>
                    <a:pt x="3" y="39"/>
                    <a:pt x="4" y="39"/>
                    <a:pt x="5" y="39"/>
                  </a:cubicBezTo>
                  <a:cubicBezTo>
                    <a:pt x="5" y="40"/>
                    <a:pt x="5" y="40"/>
                    <a:pt x="6" y="40"/>
                  </a:cubicBezTo>
                  <a:cubicBezTo>
                    <a:pt x="10" y="41"/>
                    <a:pt x="12" y="43"/>
                    <a:pt x="15" y="47"/>
                  </a:cubicBezTo>
                  <a:cubicBezTo>
                    <a:pt x="15" y="42"/>
                    <a:pt x="19" y="41"/>
                    <a:pt x="24" y="41"/>
                  </a:cubicBezTo>
                  <a:cubicBezTo>
                    <a:pt x="30" y="41"/>
                    <a:pt x="38" y="43"/>
                    <a:pt x="40" y="44"/>
                  </a:cubicBezTo>
                  <a:cubicBezTo>
                    <a:pt x="41" y="44"/>
                    <a:pt x="41" y="44"/>
                    <a:pt x="42" y="44"/>
                  </a:cubicBezTo>
                  <a:cubicBezTo>
                    <a:pt x="43" y="44"/>
                    <a:pt x="45" y="43"/>
                    <a:pt x="47" y="43"/>
                  </a:cubicBezTo>
                  <a:cubicBezTo>
                    <a:pt x="49" y="42"/>
                    <a:pt x="51" y="42"/>
                    <a:pt x="53" y="42"/>
                  </a:cubicBezTo>
                  <a:cubicBezTo>
                    <a:pt x="53" y="42"/>
                    <a:pt x="53" y="42"/>
                    <a:pt x="53" y="42"/>
                  </a:cubicBezTo>
                  <a:cubicBezTo>
                    <a:pt x="54" y="42"/>
                    <a:pt x="55" y="42"/>
                    <a:pt x="56" y="42"/>
                  </a:cubicBezTo>
                  <a:cubicBezTo>
                    <a:pt x="56" y="42"/>
                    <a:pt x="56" y="42"/>
                    <a:pt x="56" y="42"/>
                  </a:cubicBezTo>
                  <a:cubicBezTo>
                    <a:pt x="58" y="42"/>
                    <a:pt x="59" y="43"/>
                    <a:pt x="61" y="44"/>
                  </a:cubicBezTo>
                  <a:cubicBezTo>
                    <a:pt x="61" y="43"/>
                    <a:pt x="61" y="43"/>
                    <a:pt x="61" y="42"/>
                  </a:cubicBezTo>
                  <a:cubicBezTo>
                    <a:pt x="61" y="42"/>
                    <a:pt x="61" y="42"/>
                    <a:pt x="61" y="41"/>
                  </a:cubicBezTo>
                  <a:cubicBezTo>
                    <a:pt x="61" y="41"/>
                    <a:pt x="61" y="41"/>
                    <a:pt x="61" y="40"/>
                  </a:cubicBezTo>
                  <a:cubicBezTo>
                    <a:pt x="60" y="40"/>
                    <a:pt x="60" y="40"/>
                    <a:pt x="60" y="40"/>
                  </a:cubicBezTo>
                  <a:cubicBezTo>
                    <a:pt x="58" y="38"/>
                    <a:pt x="55" y="36"/>
                    <a:pt x="55" y="33"/>
                  </a:cubicBezTo>
                  <a:cubicBezTo>
                    <a:pt x="55" y="32"/>
                    <a:pt x="56" y="32"/>
                    <a:pt x="56" y="31"/>
                  </a:cubicBezTo>
                  <a:cubicBezTo>
                    <a:pt x="56" y="30"/>
                    <a:pt x="56" y="30"/>
                    <a:pt x="56" y="30"/>
                  </a:cubicBezTo>
                  <a:cubicBezTo>
                    <a:pt x="58" y="29"/>
                    <a:pt x="58" y="29"/>
                    <a:pt x="58" y="29"/>
                  </a:cubicBezTo>
                  <a:cubicBezTo>
                    <a:pt x="60" y="29"/>
                    <a:pt x="60" y="28"/>
                    <a:pt x="61" y="28"/>
                  </a:cubicBezTo>
                  <a:cubicBezTo>
                    <a:pt x="60" y="28"/>
                    <a:pt x="60" y="28"/>
                    <a:pt x="60" y="28"/>
                  </a:cubicBezTo>
                  <a:cubicBezTo>
                    <a:pt x="60" y="27"/>
                    <a:pt x="59" y="26"/>
                    <a:pt x="59" y="25"/>
                  </a:cubicBezTo>
                  <a:cubicBezTo>
                    <a:pt x="58" y="24"/>
                    <a:pt x="58" y="24"/>
                    <a:pt x="58" y="24"/>
                  </a:cubicBezTo>
                  <a:cubicBezTo>
                    <a:pt x="59" y="22"/>
                    <a:pt x="59" y="22"/>
                    <a:pt x="59" y="22"/>
                  </a:cubicBezTo>
                  <a:cubicBezTo>
                    <a:pt x="59" y="22"/>
                    <a:pt x="59" y="22"/>
                    <a:pt x="59" y="22"/>
                  </a:cubicBezTo>
                  <a:cubicBezTo>
                    <a:pt x="60" y="21"/>
                    <a:pt x="60" y="21"/>
                    <a:pt x="60" y="21"/>
                  </a:cubicBezTo>
                  <a:cubicBezTo>
                    <a:pt x="61" y="20"/>
                    <a:pt x="61" y="20"/>
                    <a:pt x="61" y="20"/>
                  </a:cubicBezTo>
                  <a:cubicBezTo>
                    <a:pt x="61" y="20"/>
                    <a:pt x="62" y="19"/>
                    <a:pt x="62" y="19"/>
                  </a:cubicBezTo>
                  <a:cubicBezTo>
                    <a:pt x="62" y="19"/>
                    <a:pt x="62" y="19"/>
                    <a:pt x="62" y="19"/>
                  </a:cubicBezTo>
                  <a:cubicBezTo>
                    <a:pt x="62" y="18"/>
                    <a:pt x="62" y="18"/>
                    <a:pt x="61" y="17"/>
                  </a:cubicBezTo>
                  <a:cubicBezTo>
                    <a:pt x="61" y="16"/>
                    <a:pt x="61" y="15"/>
                    <a:pt x="62" y="14"/>
                  </a:cubicBezTo>
                  <a:cubicBezTo>
                    <a:pt x="62" y="14"/>
                    <a:pt x="62" y="14"/>
                    <a:pt x="62" y="13"/>
                  </a:cubicBezTo>
                  <a:cubicBezTo>
                    <a:pt x="62" y="13"/>
                    <a:pt x="62" y="12"/>
                    <a:pt x="62" y="12"/>
                  </a:cubicBezTo>
                  <a:cubicBezTo>
                    <a:pt x="62" y="11"/>
                    <a:pt x="62" y="11"/>
                    <a:pt x="62" y="10"/>
                  </a:cubicBezTo>
                  <a:cubicBezTo>
                    <a:pt x="61" y="10"/>
                    <a:pt x="61" y="8"/>
                    <a:pt x="61" y="8"/>
                  </a:cubicBezTo>
                  <a:cubicBezTo>
                    <a:pt x="60" y="6"/>
                    <a:pt x="60" y="6"/>
                    <a:pt x="60" y="6"/>
                  </a:cubicBezTo>
                  <a:cubicBezTo>
                    <a:pt x="61" y="6"/>
                    <a:pt x="61" y="6"/>
                    <a:pt x="61" y="6"/>
                  </a:cubicBezTo>
                  <a:cubicBezTo>
                    <a:pt x="60" y="6"/>
                    <a:pt x="60" y="6"/>
                    <a:pt x="60" y="6"/>
                  </a:cubicBezTo>
                  <a:cubicBezTo>
                    <a:pt x="58" y="6"/>
                    <a:pt x="56" y="6"/>
                    <a:pt x="54" y="5"/>
                  </a:cubicBezTo>
                  <a:cubicBezTo>
                    <a:pt x="53" y="5"/>
                    <a:pt x="53" y="5"/>
                    <a:pt x="53" y="5"/>
                  </a:cubicBezTo>
                  <a:cubicBezTo>
                    <a:pt x="53" y="5"/>
                    <a:pt x="52" y="5"/>
                    <a:pt x="52" y="6"/>
                  </a:cubicBezTo>
                  <a:cubicBezTo>
                    <a:pt x="51" y="5"/>
                    <a:pt x="50" y="5"/>
                    <a:pt x="50" y="5"/>
                  </a:cubicBezTo>
                  <a:cubicBezTo>
                    <a:pt x="49" y="3"/>
                    <a:pt x="46" y="2"/>
                    <a:pt x="43" y="1"/>
                  </a:cubicBezTo>
                  <a:cubicBezTo>
                    <a:pt x="42" y="1"/>
                    <a:pt x="42" y="1"/>
                    <a:pt x="41" y="1"/>
                  </a:cubicBez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5" name="Rectangle 276">
              <a:extLst>
                <a:ext uri="{FF2B5EF4-FFF2-40B4-BE49-F238E27FC236}">
                  <a16:creationId xmlns:a16="http://schemas.microsoft.com/office/drawing/2014/main" id="{D47D11DD-02D3-4857-9E68-22D0B5FE6810}"/>
                </a:ext>
              </a:extLst>
            </p:cNvPr>
            <p:cNvSpPr>
              <a:spLocks noChangeArrowheads="1"/>
            </p:cNvSpPr>
            <p:nvPr/>
          </p:nvSpPr>
          <p:spPr bwMode="auto">
            <a:xfrm>
              <a:off x="8248561" y="531015"/>
              <a:ext cx="1412" cy="2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6" name="Freeform 277">
              <a:extLst>
                <a:ext uri="{FF2B5EF4-FFF2-40B4-BE49-F238E27FC236}">
                  <a16:creationId xmlns:a16="http://schemas.microsoft.com/office/drawing/2014/main" id="{3BF4EF79-59F0-4AEB-B211-95E010DB7A87}"/>
                </a:ext>
              </a:extLst>
            </p:cNvPr>
            <p:cNvSpPr>
              <a:spLocks/>
            </p:cNvSpPr>
            <p:nvPr/>
          </p:nvSpPr>
          <p:spPr bwMode="auto">
            <a:xfrm>
              <a:off x="8248561" y="531015"/>
              <a:ext cx="0" cy="2825"/>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7" name="Freeform 278">
              <a:extLst>
                <a:ext uri="{FF2B5EF4-FFF2-40B4-BE49-F238E27FC236}">
                  <a16:creationId xmlns:a16="http://schemas.microsoft.com/office/drawing/2014/main" id="{CD8C4110-6553-40E2-BAA0-DB1061B70BC0}"/>
                </a:ext>
              </a:extLst>
            </p:cNvPr>
            <p:cNvSpPr>
              <a:spLocks/>
            </p:cNvSpPr>
            <p:nvPr/>
          </p:nvSpPr>
          <p:spPr bwMode="auto">
            <a:xfrm>
              <a:off x="6913966" y="563497"/>
              <a:ext cx="76263" cy="197718"/>
            </a:xfrm>
            <a:custGeom>
              <a:avLst/>
              <a:gdLst>
                <a:gd name="T0" fmla="*/ 23 w 23"/>
                <a:gd name="T1" fmla="*/ 0 h 59"/>
                <a:gd name="T2" fmla="*/ 21 w 23"/>
                <a:gd name="T3" fmla="*/ 1 h 59"/>
                <a:gd name="T4" fmla="*/ 21 w 23"/>
                <a:gd name="T5" fmla="*/ 1 h 59"/>
                <a:gd name="T6" fmla="*/ 20 w 23"/>
                <a:gd name="T7" fmla="*/ 1 h 59"/>
                <a:gd name="T8" fmla="*/ 20 w 23"/>
                <a:gd name="T9" fmla="*/ 1 h 59"/>
                <a:gd name="T10" fmla="*/ 19 w 23"/>
                <a:gd name="T11" fmla="*/ 1 h 59"/>
                <a:gd name="T12" fmla="*/ 19 w 23"/>
                <a:gd name="T13" fmla="*/ 1 h 59"/>
                <a:gd name="T14" fmla="*/ 18 w 23"/>
                <a:gd name="T15" fmla="*/ 1 h 59"/>
                <a:gd name="T16" fmla="*/ 18 w 23"/>
                <a:gd name="T17" fmla="*/ 1 h 59"/>
                <a:gd name="T18" fmla="*/ 17 w 23"/>
                <a:gd name="T19" fmla="*/ 1 h 59"/>
                <a:gd name="T20" fmla="*/ 16 w 23"/>
                <a:gd name="T21" fmla="*/ 0 h 59"/>
                <a:gd name="T22" fmla="*/ 15 w 23"/>
                <a:gd name="T23" fmla="*/ 2 h 59"/>
                <a:gd name="T24" fmla="*/ 13 w 23"/>
                <a:gd name="T25" fmla="*/ 5 h 59"/>
                <a:gd name="T26" fmla="*/ 11 w 23"/>
                <a:gd name="T27" fmla="*/ 9 h 59"/>
                <a:gd name="T28" fmla="*/ 7 w 23"/>
                <a:gd name="T29" fmla="*/ 13 h 59"/>
                <a:gd name="T30" fmla="*/ 5 w 23"/>
                <a:gd name="T31" fmla="*/ 14 h 59"/>
                <a:gd name="T32" fmla="*/ 5 w 23"/>
                <a:gd name="T33" fmla="*/ 14 h 59"/>
                <a:gd name="T34" fmla="*/ 4 w 23"/>
                <a:gd name="T35" fmla="*/ 14 h 59"/>
                <a:gd name="T36" fmla="*/ 2 w 23"/>
                <a:gd name="T37" fmla="*/ 13 h 59"/>
                <a:gd name="T38" fmla="*/ 2 w 23"/>
                <a:gd name="T39" fmla="*/ 13 h 59"/>
                <a:gd name="T40" fmla="*/ 1 w 23"/>
                <a:gd name="T41" fmla="*/ 13 h 59"/>
                <a:gd name="T42" fmla="*/ 2 w 23"/>
                <a:gd name="T43" fmla="*/ 14 h 59"/>
                <a:gd name="T44" fmla="*/ 1 w 23"/>
                <a:gd name="T45" fmla="*/ 14 h 59"/>
                <a:gd name="T46" fmla="*/ 1 w 23"/>
                <a:gd name="T47" fmla="*/ 15 h 59"/>
                <a:gd name="T48" fmla="*/ 1 w 23"/>
                <a:gd name="T49" fmla="*/ 18 h 59"/>
                <a:gd name="T50" fmla="*/ 1 w 23"/>
                <a:gd name="T51" fmla="*/ 22 h 59"/>
                <a:gd name="T52" fmla="*/ 1 w 23"/>
                <a:gd name="T53" fmla="*/ 29 h 59"/>
                <a:gd name="T54" fmla="*/ 0 w 23"/>
                <a:gd name="T55" fmla="*/ 57 h 59"/>
                <a:gd name="T56" fmla="*/ 1 w 23"/>
                <a:gd name="T57" fmla="*/ 57 h 59"/>
                <a:gd name="T58" fmla="*/ 3 w 23"/>
                <a:gd name="T59" fmla="*/ 57 h 59"/>
                <a:gd name="T60" fmla="*/ 4 w 23"/>
                <a:gd name="T61" fmla="*/ 57 h 59"/>
                <a:gd name="T62" fmla="*/ 4 w 23"/>
                <a:gd name="T63" fmla="*/ 59 h 59"/>
                <a:gd name="T64" fmla="*/ 5 w 23"/>
                <a:gd name="T65" fmla="*/ 59 h 59"/>
                <a:gd name="T66" fmla="*/ 13 w 23"/>
                <a:gd name="T67" fmla="*/ 49 h 59"/>
                <a:gd name="T68" fmla="*/ 17 w 23"/>
                <a:gd name="T69" fmla="*/ 43 h 59"/>
                <a:gd name="T70" fmla="*/ 20 w 23"/>
                <a:gd name="T71" fmla="*/ 34 h 59"/>
                <a:gd name="T72" fmla="*/ 18 w 23"/>
                <a:gd name="T73" fmla="*/ 29 h 59"/>
                <a:gd name="T74" fmla="*/ 20 w 23"/>
                <a:gd name="T75" fmla="*/ 16 h 59"/>
                <a:gd name="T76" fmla="*/ 23 w 23"/>
                <a:gd name="T7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59">
                  <a:moveTo>
                    <a:pt x="23" y="0"/>
                  </a:moveTo>
                  <a:cubicBezTo>
                    <a:pt x="22" y="1"/>
                    <a:pt x="22" y="1"/>
                    <a:pt x="21" y="1"/>
                  </a:cubicBezTo>
                  <a:cubicBezTo>
                    <a:pt x="21" y="1"/>
                    <a:pt x="21" y="1"/>
                    <a:pt x="21" y="1"/>
                  </a:cubicBezTo>
                  <a:cubicBezTo>
                    <a:pt x="20" y="1"/>
                    <a:pt x="20" y="1"/>
                    <a:pt x="20" y="1"/>
                  </a:cubicBezTo>
                  <a:cubicBezTo>
                    <a:pt x="20" y="1"/>
                    <a:pt x="20" y="1"/>
                    <a:pt x="20" y="1"/>
                  </a:cubicBezTo>
                  <a:cubicBezTo>
                    <a:pt x="19" y="1"/>
                    <a:pt x="19" y="1"/>
                    <a:pt x="19" y="1"/>
                  </a:cubicBezTo>
                  <a:cubicBezTo>
                    <a:pt x="19" y="1"/>
                    <a:pt x="19" y="1"/>
                    <a:pt x="19" y="1"/>
                  </a:cubicBezTo>
                  <a:cubicBezTo>
                    <a:pt x="18" y="1"/>
                    <a:pt x="18" y="1"/>
                    <a:pt x="18" y="1"/>
                  </a:cubicBezTo>
                  <a:cubicBezTo>
                    <a:pt x="18" y="1"/>
                    <a:pt x="18" y="1"/>
                    <a:pt x="18" y="1"/>
                  </a:cubicBezTo>
                  <a:cubicBezTo>
                    <a:pt x="17" y="1"/>
                    <a:pt x="17" y="1"/>
                    <a:pt x="17" y="1"/>
                  </a:cubicBezTo>
                  <a:cubicBezTo>
                    <a:pt x="16" y="0"/>
                    <a:pt x="16" y="0"/>
                    <a:pt x="16" y="0"/>
                  </a:cubicBezTo>
                  <a:cubicBezTo>
                    <a:pt x="16" y="1"/>
                    <a:pt x="15" y="1"/>
                    <a:pt x="15" y="2"/>
                  </a:cubicBezTo>
                  <a:cubicBezTo>
                    <a:pt x="13" y="5"/>
                    <a:pt x="13" y="5"/>
                    <a:pt x="13" y="5"/>
                  </a:cubicBezTo>
                  <a:cubicBezTo>
                    <a:pt x="12" y="7"/>
                    <a:pt x="12" y="8"/>
                    <a:pt x="11" y="9"/>
                  </a:cubicBezTo>
                  <a:cubicBezTo>
                    <a:pt x="10" y="11"/>
                    <a:pt x="9" y="13"/>
                    <a:pt x="7" y="13"/>
                  </a:cubicBezTo>
                  <a:cubicBezTo>
                    <a:pt x="6" y="14"/>
                    <a:pt x="6" y="14"/>
                    <a:pt x="5" y="14"/>
                  </a:cubicBezTo>
                  <a:cubicBezTo>
                    <a:pt x="5" y="14"/>
                    <a:pt x="5" y="14"/>
                    <a:pt x="5" y="14"/>
                  </a:cubicBezTo>
                  <a:cubicBezTo>
                    <a:pt x="4" y="14"/>
                    <a:pt x="4" y="14"/>
                    <a:pt x="4" y="14"/>
                  </a:cubicBezTo>
                  <a:cubicBezTo>
                    <a:pt x="3" y="14"/>
                    <a:pt x="3" y="14"/>
                    <a:pt x="2" y="13"/>
                  </a:cubicBezTo>
                  <a:cubicBezTo>
                    <a:pt x="2" y="13"/>
                    <a:pt x="2" y="13"/>
                    <a:pt x="2" y="13"/>
                  </a:cubicBezTo>
                  <a:cubicBezTo>
                    <a:pt x="1" y="13"/>
                    <a:pt x="1" y="13"/>
                    <a:pt x="1" y="13"/>
                  </a:cubicBezTo>
                  <a:cubicBezTo>
                    <a:pt x="2" y="14"/>
                    <a:pt x="2" y="14"/>
                    <a:pt x="2" y="14"/>
                  </a:cubicBezTo>
                  <a:cubicBezTo>
                    <a:pt x="1" y="14"/>
                    <a:pt x="1" y="14"/>
                    <a:pt x="1" y="14"/>
                  </a:cubicBezTo>
                  <a:cubicBezTo>
                    <a:pt x="1" y="15"/>
                    <a:pt x="1" y="15"/>
                    <a:pt x="1" y="15"/>
                  </a:cubicBezTo>
                  <a:cubicBezTo>
                    <a:pt x="1" y="16"/>
                    <a:pt x="1" y="17"/>
                    <a:pt x="1" y="18"/>
                  </a:cubicBezTo>
                  <a:cubicBezTo>
                    <a:pt x="1" y="22"/>
                    <a:pt x="1" y="22"/>
                    <a:pt x="1" y="22"/>
                  </a:cubicBezTo>
                  <a:cubicBezTo>
                    <a:pt x="1" y="24"/>
                    <a:pt x="1" y="26"/>
                    <a:pt x="1" y="29"/>
                  </a:cubicBezTo>
                  <a:cubicBezTo>
                    <a:pt x="1" y="38"/>
                    <a:pt x="0" y="48"/>
                    <a:pt x="0" y="57"/>
                  </a:cubicBezTo>
                  <a:cubicBezTo>
                    <a:pt x="1" y="57"/>
                    <a:pt x="1" y="57"/>
                    <a:pt x="1" y="57"/>
                  </a:cubicBezTo>
                  <a:cubicBezTo>
                    <a:pt x="1" y="57"/>
                    <a:pt x="2" y="57"/>
                    <a:pt x="3" y="57"/>
                  </a:cubicBezTo>
                  <a:cubicBezTo>
                    <a:pt x="4" y="57"/>
                    <a:pt x="4" y="57"/>
                    <a:pt x="4" y="57"/>
                  </a:cubicBezTo>
                  <a:cubicBezTo>
                    <a:pt x="4" y="59"/>
                    <a:pt x="4" y="59"/>
                    <a:pt x="4" y="59"/>
                  </a:cubicBezTo>
                  <a:cubicBezTo>
                    <a:pt x="5" y="59"/>
                    <a:pt x="5" y="59"/>
                    <a:pt x="5" y="59"/>
                  </a:cubicBezTo>
                  <a:cubicBezTo>
                    <a:pt x="8" y="55"/>
                    <a:pt x="10" y="52"/>
                    <a:pt x="13" y="49"/>
                  </a:cubicBezTo>
                  <a:cubicBezTo>
                    <a:pt x="15" y="47"/>
                    <a:pt x="16" y="45"/>
                    <a:pt x="17" y="43"/>
                  </a:cubicBezTo>
                  <a:cubicBezTo>
                    <a:pt x="18" y="41"/>
                    <a:pt x="20" y="36"/>
                    <a:pt x="20" y="34"/>
                  </a:cubicBezTo>
                  <a:cubicBezTo>
                    <a:pt x="20" y="32"/>
                    <a:pt x="18" y="31"/>
                    <a:pt x="18" y="29"/>
                  </a:cubicBezTo>
                  <a:cubicBezTo>
                    <a:pt x="19" y="25"/>
                    <a:pt x="20" y="20"/>
                    <a:pt x="20" y="16"/>
                  </a:cubicBezTo>
                  <a:cubicBezTo>
                    <a:pt x="21" y="11"/>
                    <a:pt x="23" y="6"/>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4" name="Rectangle 3">
            <a:hlinkClick r:id="rId3" action="ppaction://hlinksldjump"/>
            <a:extLst>
              <a:ext uri="{FF2B5EF4-FFF2-40B4-BE49-F238E27FC236}">
                <a16:creationId xmlns:a16="http://schemas.microsoft.com/office/drawing/2014/main" id="{35C67987-02DA-4665-90E4-8FFB8B3F0AA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86951268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Brazil</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8" name="Group 47">
            <a:extLst>
              <a:ext uri="{FF2B5EF4-FFF2-40B4-BE49-F238E27FC236}">
                <a16:creationId xmlns:a16="http://schemas.microsoft.com/office/drawing/2014/main" id="{7268A973-B455-40B2-8726-51C8DD7DAD5B}"/>
              </a:ext>
            </a:extLst>
          </p:cNvPr>
          <p:cNvGrpSpPr/>
          <p:nvPr/>
        </p:nvGrpSpPr>
        <p:grpSpPr bwMode="auto">
          <a:xfrm>
            <a:off x="4093069" y="1919941"/>
            <a:ext cx="3847667" cy="3826739"/>
            <a:chOff x="483406" y="1702755"/>
            <a:chExt cx="3847667" cy="3826739"/>
          </a:xfrm>
          <a:solidFill>
            <a:srgbClr val="96968C">
              <a:lumMod val="40000"/>
              <a:lumOff val="60000"/>
            </a:srgbClr>
          </a:solidFill>
        </p:grpSpPr>
        <p:sp>
          <p:nvSpPr>
            <p:cNvPr id="49" name="Freeform 46">
              <a:extLst>
                <a:ext uri="{FF2B5EF4-FFF2-40B4-BE49-F238E27FC236}">
                  <a16:creationId xmlns:a16="http://schemas.microsoft.com/office/drawing/2014/main" id="{97800CD2-F7EF-4777-B2BF-38C11562BB3D}"/>
                </a:ext>
              </a:extLst>
            </p:cNvPr>
            <p:cNvSpPr>
              <a:spLocks/>
            </p:cNvSpPr>
            <p:nvPr/>
          </p:nvSpPr>
          <p:spPr bwMode="auto">
            <a:xfrm>
              <a:off x="1218857" y="1702755"/>
              <a:ext cx="594938" cy="657721"/>
            </a:xfrm>
            <a:custGeom>
              <a:avLst/>
              <a:gdLst>
                <a:gd name="T0" fmla="*/ 390 w 398"/>
                <a:gd name="T1" fmla="*/ 334 h 440"/>
                <a:gd name="T2" fmla="*/ 364 w 398"/>
                <a:gd name="T3" fmla="*/ 334 h 440"/>
                <a:gd name="T4" fmla="*/ 336 w 398"/>
                <a:gd name="T5" fmla="*/ 334 h 440"/>
                <a:gd name="T6" fmla="*/ 316 w 398"/>
                <a:gd name="T7" fmla="*/ 360 h 440"/>
                <a:gd name="T8" fmla="*/ 296 w 398"/>
                <a:gd name="T9" fmla="*/ 386 h 440"/>
                <a:gd name="T10" fmla="*/ 290 w 398"/>
                <a:gd name="T11" fmla="*/ 412 h 440"/>
                <a:gd name="T12" fmla="*/ 262 w 398"/>
                <a:gd name="T13" fmla="*/ 396 h 440"/>
                <a:gd name="T14" fmla="*/ 234 w 398"/>
                <a:gd name="T15" fmla="*/ 396 h 440"/>
                <a:gd name="T16" fmla="*/ 216 w 398"/>
                <a:gd name="T17" fmla="*/ 422 h 440"/>
                <a:gd name="T18" fmla="*/ 200 w 398"/>
                <a:gd name="T19" fmla="*/ 440 h 440"/>
                <a:gd name="T20" fmla="*/ 174 w 398"/>
                <a:gd name="T21" fmla="*/ 422 h 440"/>
                <a:gd name="T22" fmla="*/ 160 w 398"/>
                <a:gd name="T23" fmla="*/ 386 h 440"/>
                <a:gd name="T24" fmla="*/ 160 w 398"/>
                <a:gd name="T25" fmla="*/ 352 h 440"/>
                <a:gd name="T26" fmla="*/ 160 w 398"/>
                <a:gd name="T27" fmla="*/ 318 h 440"/>
                <a:gd name="T28" fmla="*/ 142 w 398"/>
                <a:gd name="T29" fmla="*/ 292 h 440"/>
                <a:gd name="T30" fmla="*/ 126 w 398"/>
                <a:gd name="T31" fmla="*/ 258 h 440"/>
                <a:gd name="T32" fmla="*/ 114 w 398"/>
                <a:gd name="T33" fmla="*/ 222 h 440"/>
                <a:gd name="T34" fmla="*/ 100 w 398"/>
                <a:gd name="T35" fmla="*/ 204 h 440"/>
                <a:gd name="T36" fmla="*/ 92 w 398"/>
                <a:gd name="T37" fmla="*/ 196 h 440"/>
                <a:gd name="T38" fmla="*/ 50 w 398"/>
                <a:gd name="T39" fmla="*/ 196 h 440"/>
                <a:gd name="T40" fmla="*/ 26 w 398"/>
                <a:gd name="T41" fmla="*/ 180 h 440"/>
                <a:gd name="T42" fmla="*/ 32 w 398"/>
                <a:gd name="T43" fmla="*/ 144 h 440"/>
                <a:gd name="T44" fmla="*/ 32 w 398"/>
                <a:gd name="T45" fmla="*/ 114 h 440"/>
                <a:gd name="T46" fmla="*/ 0 w 398"/>
                <a:gd name="T47" fmla="*/ 94 h 440"/>
                <a:gd name="T48" fmla="*/ 24 w 398"/>
                <a:gd name="T49" fmla="*/ 80 h 440"/>
                <a:gd name="T50" fmla="*/ 52 w 398"/>
                <a:gd name="T51" fmla="*/ 92 h 440"/>
                <a:gd name="T52" fmla="*/ 80 w 398"/>
                <a:gd name="T53" fmla="*/ 102 h 440"/>
                <a:gd name="T54" fmla="*/ 106 w 398"/>
                <a:gd name="T55" fmla="*/ 102 h 440"/>
                <a:gd name="T56" fmla="*/ 134 w 398"/>
                <a:gd name="T57" fmla="*/ 110 h 440"/>
                <a:gd name="T58" fmla="*/ 160 w 398"/>
                <a:gd name="T59" fmla="*/ 86 h 440"/>
                <a:gd name="T60" fmla="*/ 180 w 398"/>
                <a:gd name="T61" fmla="*/ 86 h 440"/>
                <a:gd name="T62" fmla="*/ 208 w 398"/>
                <a:gd name="T63" fmla="*/ 76 h 440"/>
                <a:gd name="T64" fmla="*/ 234 w 398"/>
                <a:gd name="T65" fmla="*/ 60 h 440"/>
                <a:gd name="T66" fmla="*/ 262 w 398"/>
                <a:gd name="T67" fmla="*/ 34 h 440"/>
                <a:gd name="T68" fmla="*/ 282 w 398"/>
                <a:gd name="T69" fmla="*/ 4 h 440"/>
                <a:gd name="T70" fmla="*/ 308 w 398"/>
                <a:gd name="T71" fmla="*/ 4 h 440"/>
                <a:gd name="T72" fmla="*/ 314 w 398"/>
                <a:gd name="T73" fmla="*/ 40 h 440"/>
                <a:gd name="T74" fmla="*/ 342 w 398"/>
                <a:gd name="T75" fmla="*/ 60 h 440"/>
                <a:gd name="T76" fmla="*/ 336 w 398"/>
                <a:gd name="T77" fmla="*/ 92 h 440"/>
                <a:gd name="T78" fmla="*/ 322 w 398"/>
                <a:gd name="T79" fmla="*/ 118 h 440"/>
                <a:gd name="T80" fmla="*/ 322 w 398"/>
                <a:gd name="T81" fmla="*/ 154 h 440"/>
                <a:gd name="T82" fmla="*/ 314 w 398"/>
                <a:gd name="T83" fmla="*/ 188 h 440"/>
                <a:gd name="T84" fmla="*/ 342 w 398"/>
                <a:gd name="T85" fmla="*/ 204 h 440"/>
                <a:gd name="T86" fmla="*/ 342 w 398"/>
                <a:gd name="T87" fmla="*/ 240 h 440"/>
                <a:gd name="T88" fmla="*/ 368 w 398"/>
                <a:gd name="T89" fmla="*/ 258 h 440"/>
                <a:gd name="T90" fmla="*/ 390 w 398"/>
                <a:gd name="T91" fmla="*/ 276 h 440"/>
                <a:gd name="T92" fmla="*/ 390 w 398"/>
                <a:gd name="T93" fmla="*/ 302 h 440"/>
                <a:gd name="T94" fmla="*/ 398 w 398"/>
                <a:gd name="T95" fmla="*/ 318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8" h="440">
                  <a:moveTo>
                    <a:pt x="398" y="318"/>
                  </a:moveTo>
                  <a:lnTo>
                    <a:pt x="390" y="334"/>
                  </a:lnTo>
                  <a:lnTo>
                    <a:pt x="376" y="334"/>
                  </a:lnTo>
                  <a:lnTo>
                    <a:pt x="364" y="334"/>
                  </a:lnTo>
                  <a:lnTo>
                    <a:pt x="350" y="334"/>
                  </a:lnTo>
                  <a:lnTo>
                    <a:pt x="336" y="334"/>
                  </a:lnTo>
                  <a:lnTo>
                    <a:pt x="322" y="344"/>
                  </a:lnTo>
                  <a:lnTo>
                    <a:pt x="316" y="360"/>
                  </a:lnTo>
                  <a:lnTo>
                    <a:pt x="310" y="378"/>
                  </a:lnTo>
                  <a:lnTo>
                    <a:pt x="296" y="386"/>
                  </a:lnTo>
                  <a:lnTo>
                    <a:pt x="302" y="404"/>
                  </a:lnTo>
                  <a:lnTo>
                    <a:pt x="290" y="412"/>
                  </a:lnTo>
                  <a:lnTo>
                    <a:pt x="276" y="412"/>
                  </a:lnTo>
                  <a:lnTo>
                    <a:pt x="262" y="396"/>
                  </a:lnTo>
                  <a:lnTo>
                    <a:pt x="248" y="396"/>
                  </a:lnTo>
                  <a:lnTo>
                    <a:pt x="234" y="396"/>
                  </a:lnTo>
                  <a:lnTo>
                    <a:pt x="220" y="404"/>
                  </a:lnTo>
                  <a:lnTo>
                    <a:pt x="216" y="422"/>
                  </a:lnTo>
                  <a:lnTo>
                    <a:pt x="208" y="440"/>
                  </a:lnTo>
                  <a:lnTo>
                    <a:pt x="200" y="440"/>
                  </a:lnTo>
                  <a:lnTo>
                    <a:pt x="188" y="428"/>
                  </a:lnTo>
                  <a:lnTo>
                    <a:pt x="174" y="422"/>
                  </a:lnTo>
                  <a:lnTo>
                    <a:pt x="160" y="404"/>
                  </a:lnTo>
                  <a:lnTo>
                    <a:pt x="160" y="386"/>
                  </a:lnTo>
                  <a:lnTo>
                    <a:pt x="166" y="368"/>
                  </a:lnTo>
                  <a:lnTo>
                    <a:pt x="160" y="352"/>
                  </a:lnTo>
                  <a:lnTo>
                    <a:pt x="160" y="334"/>
                  </a:lnTo>
                  <a:lnTo>
                    <a:pt x="160" y="318"/>
                  </a:lnTo>
                  <a:lnTo>
                    <a:pt x="154" y="302"/>
                  </a:lnTo>
                  <a:lnTo>
                    <a:pt x="142" y="292"/>
                  </a:lnTo>
                  <a:lnTo>
                    <a:pt x="126" y="272"/>
                  </a:lnTo>
                  <a:lnTo>
                    <a:pt x="126" y="258"/>
                  </a:lnTo>
                  <a:lnTo>
                    <a:pt x="120" y="240"/>
                  </a:lnTo>
                  <a:lnTo>
                    <a:pt x="114" y="222"/>
                  </a:lnTo>
                  <a:lnTo>
                    <a:pt x="114" y="204"/>
                  </a:lnTo>
                  <a:lnTo>
                    <a:pt x="100" y="204"/>
                  </a:lnTo>
                  <a:lnTo>
                    <a:pt x="98" y="204"/>
                  </a:lnTo>
                  <a:lnTo>
                    <a:pt x="92" y="196"/>
                  </a:lnTo>
                  <a:lnTo>
                    <a:pt x="64" y="198"/>
                  </a:lnTo>
                  <a:lnTo>
                    <a:pt x="50" y="196"/>
                  </a:lnTo>
                  <a:lnTo>
                    <a:pt x="32" y="192"/>
                  </a:lnTo>
                  <a:lnTo>
                    <a:pt x="26" y="180"/>
                  </a:lnTo>
                  <a:lnTo>
                    <a:pt x="26" y="162"/>
                  </a:lnTo>
                  <a:lnTo>
                    <a:pt x="32" y="144"/>
                  </a:lnTo>
                  <a:lnTo>
                    <a:pt x="40" y="126"/>
                  </a:lnTo>
                  <a:lnTo>
                    <a:pt x="32" y="114"/>
                  </a:lnTo>
                  <a:lnTo>
                    <a:pt x="14" y="100"/>
                  </a:lnTo>
                  <a:lnTo>
                    <a:pt x="0" y="94"/>
                  </a:lnTo>
                  <a:lnTo>
                    <a:pt x="0" y="82"/>
                  </a:lnTo>
                  <a:lnTo>
                    <a:pt x="24" y="80"/>
                  </a:lnTo>
                  <a:lnTo>
                    <a:pt x="40" y="86"/>
                  </a:lnTo>
                  <a:lnTo>
                    <a:pt x="52" y="92"/>
                  </a:lnTo>
                  <a:lnTo>
                    <a:pt x="66" y="92"/>
                  </a:lnTo>
                  <a:lnTo>
                    <a:pt x="80" y="102"/>
                  </a:lnTo>
                  <a:lnTo>
                    <a:pt x="92" y="102"/>
                  </a:lnTo>
                  <a:lnTo>
                    <a:pt x="106" y="102"/>
                  </a:lnTo>
                  <a:lnTo>
                    <a:pt x="120" y="110"/>
                  </a:lnTo>
                  <a:lnTo>
                    <a:pt x="134" y="110"/>
                  </a:lnTo>
                  <a:lnTo>
                    <a:pt x="148" y="92"/>
                  </a:lnTo>
                  <a:lnTo>
                    <a:pt x="160" y="86"/>
                  </a:lnTo>
                  <a:lnTo>
                    <a:pt x="166" y="86"/>
                  </a:lnTo>
                  <a:lnTo>
                    <a:pt x="180" y="86"/>
                  </a:lnTo>
                  <a:lnTo>
                    <a:pt x="196" y="76"/>
                  </a:lnTo>
                  <a:lnTo>
                    <a:pt x="208" y="76"/>
                  </a:lnTo>
                  <a:lnTo>
                    <a:pt x="220" y="66"/>
                  </a:lnTo>
                  <a:lnTo>
                    <a:pt x="234" y="60"/>
                  </a:lnTo>
                  <a:lnTo>
                    <a:pt x="248" y="40"/>
                  </a:lnTo>
                  <a:lnTo>
                    <a:pt x="262" y="34"/>
                  </a:lnTo>
                  <a:lnTo>
                    <a:pt x="274" y="24"/>
                  </a:lnTo>
                  <a:lnTo>
                    <a:pt x="282" y="4"/>
                  </a:lnTo>
                  <a:lnTo>
                    <a:pt x="296" y="0"/>
                  </a:lnTo>
                  <a:lnTo>
                    <a:pt x="308" y="4"/>
                  </a:lnTo>
                  <a:lnTo>
                    <a:pt x="308" y="24"/>
                  </a:lnTo>
                  <a:lnTo>
                    <a:pt x="314" y="40"/>
                  </a:lnTo>
                  <a:lnTo>
                    <a:pt x="328" y="40"/>
                  </a:lnTo>
                  <a:lnTo>
                    <a:pt x="342" y="60"/>
                  </a:lnTo>
                  <a:lnTo>
                    <a:pt x="342" y="76"/>
                  </a:lnTo>
                  <a:lnTo>
                    <a:pt x="336" y="92"/>
                  </a:lnTo>
                  <a:lnTo>
                    <a:pt x="336" y="110"/>
                  </a:lnTo>
                  <a:lnTo>
                    <a:pt x="322" y="118"/>
                  </a:lnTo>
                  <a:lnTo>
                    <a:pt x="314" y="136"/>
                  </a:lnTo>
                  <a:lnTo>
                    <a:pt x="322" y="154"/>
                  </a:lnTo>
                  <a:lnTo>
                    <a:pt x="314" y="170"/>
                  </a:lnTo>
                  <a:lnTo>
                    <a:pt x="314" y="188"/>
                  </a:lnTo>
                  <a:lnTo>
                    <a:pt x="328" y="204"/>
                  </a:lnTo>
                  <a:lnTo>
                    <a:pt x="342" y="204"/>
                  </a:lnTo>
                  <a:lnTo>
                    <a:pt x="342" y="222"/>
                  </a:lnTo>
                  <a:lnTo>
                    <a:pt x="342" y="240"/>
                  </a:lnTo>
                  <a:lnTo>
                    <a:pt x="356" y="258"/>
                  </a:lnTo>
                  <a:lnTo>
                    <a:pt x="368" y="258"/>
                  </a:lnTo>
                  <a:lnTo>
                    <a:pt x="384" y="266"/>
                  </a:lnTo>
                  <a:lnTo>
                    <a:pt x="390" y="276"/>
                  </a:lnTo>
                  <a:lnTo>
                    <a:pt x="396" y="292"/>
                  </a:lnTo>
                  <a:lnTo>
                    <a:pt x="390" y="302"/>
                  </a:lnTo>
                  <a:lnTo>
                    <a:pt x="396" y="318"/>
                  </a:lnTo>
                  <a:lnTo>
                    <a:pt x="398" y="3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Freeform 47">
              <a:extLst>
                <a:ext uri="{FF2B5EF4-FFF2-40B4-BE49-F238E27FC236}">
                  <a16:creationId xmlns:a16="http://schemas.microsoft.com/office/drawing/2014/main" id="{F81003DC-169A-4F9A-A3BA-26BA7E0DB3DF}"/>
                </a:ext>
              </a:extLst>
            </p:cNvPr>
            <p:cNvSpPr>
              <a:spLocks/>
            </p:cNvSpPr>
            <p:nvPr/>
          </p:nvSpPr>
          <p:spPr bwMode="auto">
            <a:xfrm>
              <a:off x="1371329" y="1702755"/>
              <a:ext cx="594938" cy="657721"/>
            </a:xfrm>
            <a:custGeom>
              <a:avLst/>
              <a:gdLst>
                <a:gd name="T0" fmla="*/ 390 w 398"/>
                <a:gd name="T1" fmla="*/ 334 h 440"/>
                <a:gd name="T2" fmla="*/ 364 w 398"/>
                <a:gd name="T3" fmla="*/ 334 h 440"/>
                <a:gd name="T4" fmla="*/ 336 w 398"/>
                <a:gd name="T5" fmla="*/ 334 h 440"/>
                <a:gd name="T6" fmla="*/ 316 w 398"/>
                <a:gd name="T7" fmla="*/ 360 h 440"/>
                <a:gd name="T8" fmla="*/ 296 w 398"/>
                <a:gd name="T9" fmla="*/ 386 h 440"/>
                <a:gd name="T10" fmla="*/ 290 w 398"/>
                <a:gd name="T11" fmla="*/ 412 h 440"/>
                <a:gd name="T12" fmla="*/ 262 w 398"/>
                <a:gd name="T13" fmla="*/ 396 h 440"/>
                <a:gd name="T14" fmla="*/ 234 w 398"/>
                <a:gd name="T15" fmla="*/ 396 h 440"/>
                <a:gd name="T16" fmla="*/ 216 w 398"/>
                <a:gd name="T17" fmla="*/ 422 h 440"/>
                <a:gd name="T18" fmla="*/ 200 w 398"/>
                <a:gd name="T19" fmla="*/ 440 h 440"/>
                <a:gd name="T20" fmla="*/ 174 w 398"/>
                <a:gd name="T21" fmla="*/ 422 h 440"/>
                <a:gd name="T22" fmla="*/ 160 w 398"/>
                <a:gd name="T23" fmla="*/ 386 h 440"/>
                <a:gd name="T24" fmla="*/ 160 w 398"/>
                <a:gd name="T25" fmla="*/ 352 h 440"/>
                <a:gd name="T26" fmla="*/ 160 w 398"/>
                <a:gd name="T27" fmla="*/ 318 h 440"/>
                <a:gd name="T28" fmla="*/ 142 w 398"/>
                <a:gd name="T29" fmla="*/ 292 h 440"/>
                <a:gd name="T30" fmla="*/ 126 w 398"/>
                <a:gd name="T31" fmla="*/ 258 h 440"/>
                <a:gd name="T32" fmla="*/ 114 w 398"/>
                <a:gd name="T33" fmla="*/ 222 h 440"/>
                <a:gd name="T34" fmla="*/ 100 w 398"/>
                <a:gd name="T35" fmla="*/ 204 h 440"/>
                <a:gd name="T36" fmla="*/ 92 w 398"/>
                <a:gd name="T37" fmla="*/ 196 h 440"/>
                <a:gd name="T38" fmla="*/ 50 w 398"/>
                <a:gd name="T39" fmla="*/ 196 h 440"/>
                <a:gd name="T40" fmla="*/ 26 w 398"/>
                <a:gd name="T41" fmla="*/ 180 h 440"/>
                <a:gd name="T42" fmla="*/ 32 w 398"/>
                <a:gd name="T43" fmla="*/ 144 h 440"/>
                <a:gd name="T44" fmla="*/ 32 w 398"/>
                <a:gd name="T45" fmla="*/ 114 h 440"/>
                <a:gd name="T46" fmla="*/ 0 w 398"/>
                <a:gd name="T47" fmla="*/ 94 h 440"/>
                <a:gd name="T48" fmla="*/ 24 w 398"/>
                <a:gd name="T49" fmla="*/ 80 h 440"/>
                <a:gd name="T50" fmla="*/ 52 w 398"/>
                <a:gd name="T51" fmla="*/ 92 h 440"/>
                <a:gd name="T52" fmla="*/ 80 w 398"/>
                <a:gd name="T53" fmla="*/ 102 h 440"/>
                <a:gd name="T54" fmla="*/ 106 w 398"/>
                <a:gd name="T55" fmla="*/ 102 h 440"/>
                <a:gd name="T56" fmla="*/ 134 w 398"/>
                <a:gd name="T57" fmla="*/ 110 h 440"/>
                <a:gd name="T58" fmla="*/ 160 w 398"/>
                <a:gd name="T59" fmla="*/ 86 h 440"/>
                <a:gd name="T60" fmla="*/ 180 w 398"/>
                <a:gd name="T61" fmla="*/ 86 h 440"/>
                <a:gd name="T62" fmla="*/ 208 w 398"/>
                <a:gd name="T63" fmla="*/ 76 h 440"/>
                <a:gd name="T64" fmla="*/ 234 w 398"/>
                <a:gd name="T65" fmla="*/ 60 h 440"/>
                <a:gd name="T66" fmla="*/ 262 w 398"/>
                <a:gd name="T67" fmla="*/ 34 h 440"/>
                <a:gd name="T68" fmla="*/ 282 w 398"/>
                <a:gd name="T69" fmla="*/ 4 h 440"/>
                <a:gd name="T70" fmla="*/ 308 w 398"/>
                <a:gd name="T71" fmla="*/ 4 h 440"/>
                <a:gd name="T72" fmla="*/ 314 w 398"/>
                <a:gd name="T73" fmla="*/ 40 h 440"/>
                <a:gd name="T74" fmla="*/ 342 w 398"/>
                <a:gd name="T75" fmla="*/ 60 h 440"/>
                <a:gd name="T76" fmla="*/ 336 w 398"/>
                <a:gd name="T77" fmla="*/ 92 h 440"/>
                <a:gd name="T78" fmla="*/ 322 w 398"/>
                <a:gd name="T79" fmla="*/ 118 h 440"/>
                <a:gd name="T80" fmla="*/ 322 w 398"/>
                <a:gd name="T81" fmla="*/ 154 h 440"/>
                <a:gd name="T82" fmla="*/ 314 w 398"/>
                <a:gd name="T83" fmla="*/ 188 h 440"/>
                <a:gd name="T84" fmla="*/ 342 w 398"/>
                <a:gd name="T85" fmla="*/ 204 h 440"/>
                <a:gd name="T86" fmla="*/ 342 w 398"/>
                <a:gd name="T87" fmla="*/ 240 h 440"/>
                <a:gd name="T88" fmla="*/ 368 w 398"/>
                <a:gd name="T89" fmla="*/ 258 h 440"/>
                <a:gd name="T90" fmla="*/ 390 w 398"/>
                <a:gd name="T91" fmla="*/ 276 h 440"/>
                <a:gd name="T92" fmla="*/ 390 w 398"/>
                <a:gd name="T93" fmla="*/ 302 h 440"/>
                <a:gd name="T94" fmla="*/ 398 w 398"/>
                <a:gd name="T95" fmla="*/ 318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8" h="440">
                  <a:moveTo>
                    <a:pt x="398" y="318"/>
                  </a:moveTo>
                  <a:lnTo>
                    <a:pt x="390" y="334"/>
                  </a:lnTo>
                  <a:lnTo>
                    <a:pt x="376" y="334"/>
                  </a:lnTo>
                  <a:lnTo>
                    <a:pt x="364" y="334"/>
                  </a:lnTo>
                  <a:lnTo>
                    <a:pt x="350" y="334"/>
                  </a:lnTo>
                  <a:lnTo>
                    <a:pt x="336" y="334"/>
                  </a:lnTo>
                  <a:lnTo>
                    <a:pt x="322" y="344"/>
                  </a:lnTo>
                  <a:lnTo>
                    <a:pt x="316" y="360"/>
                  </a:lnTo>
                  <a:lnTo>
                    <a:pt x="310" y="378"/>
                  </a:lnTo>
                  <a:lnTo>
                    <a:pt x="296" y="386"/>
                  </a:lnTo>
                  <a:lnTo>
                    <a:pt x="302" y="404"/>
                  </a:lnTo>
                  <a:lnTo>
                    <a:pt x="290" y="412"/>
                  </a:lnTo>
                  <a:lnTo>
                    <a:pt x="276" y="412"/>
                  </a:lnTo>
                  <a:lnTo>
                    <a:pt x="262" y="396"/>
                  </a:lnTo>
                  <a:lnTo>
                    <a:pt x="248" y="396"/>
                  </a:lnTo>
                  <a:lnTo>
                    <a:pt x="234" y="396"/>
                  </a:lnTo>
                  <a:lnTo>
                    <a:pt x="220" y="404"/>
                  </a:lnTo>
                  <a:lnTo>
                    <a:pt x="216" y="422"/>
                  </a:lnTo>
                  <a:lnTo>
                    <a:pt x="208" y="440"/>
                  </a:lnTo>
                  <a:lnTo>
                    <a:pt x="200" y="440"/>
                  </a:lnTo>
                  <a:lnTo>
                    <a:pt x="188" y="428"/>
                  </a:lnTo>
                  <a:lnTo>
                    <a:pt x="174" y="422"/>
                  </a:lnTo>
                  <a:lnTo>
                    <a:pt x="160" y="404"/>
                  </a:lnTo>
                  <a:lnTo>
                    <a:pt x="160" y="386"/>
                  </a:lnTo>
                  <a:lnTo>
                    <a:pt x="166" y="368"/>
                  </a:lnTo>
                  <a:lnTo>
                    <a:pt x="160" y="352"/>
                  </a:lnTo>
                  <a:lnTo>
                    <a:pt x="160" y="334"/>
                  </a:lnTo>
                  <a:lnTo>
                    <a:pt x="160" y="318"/>
                  </a:lnTo>
                  <a:lnTo>
                    <a:pt x="154" y="302"/>
                  </a:lnTo>
                  <a:lnTo>
                    <a:pt x="142" y="292"/>
                  </a:lnTo>
                  <a:lnTo>
                    <a:pt x="126" y="272"/>
                  </a:lnTo>
                  <a:lnTo>
                    <a:pt x="126" y="258"/>
                  </a:lnTo>
                  <a:lnTo>
                    <a:pt x="120" y="240"/>
                  </a:lnTo>
                  <a:lnTo>
                    <a:pt x="114" y="222"/>
                  </a:lnTo>
                  <a:lnTo>
                    <a:pt x="114" y="204"/>
                  </a:lnTo>
                  <a:lnTo>
                    <a:pt x="100" y="204"/>
                  </a:lnTo>
                  <a:lnTo>
                    <a:pt x="98" y="204"/>
                  </a:lnTo>
                  <a:lnTo>
                    <a:pt x="92" y="196"/>
                  </a:lnTo>
                  <a:lnTo>
                    <a:pt x="64" y="198"/>
                  </a:lnTo>
                  <a:lnTo>
                    <a:pt x="50" y="196"/>
                  </a:lnTo>
                  <a:lnTo>
                    <a:pt x="32" y="192"/>
                  </a:lnTo>
                  <a:lnTo>
                    <a:pt x="26" y="180"/>
                  </a:lnTo>
                  <a:lnTo>
                    <a:pt x="26" y="162"/>
                  </a:lnTo>
                  <a:lnTo>
                    <a:pt x="32" y="144"/>
                  </a:lnTo>
                  <a:lnTo>
                    <a:pt x="40" y="126"/>
                  </a:lnTo>
                  <a:lnTo>
                    <a:pt x="32" y="114"/>
                  </a:lnTo>
                  <a:lnTo>
                    <a:pt x="14" y="100"/>
                  </a:lnTo>
                  <a:lnTo>
                    <a:pt x="0" y="94"/>
                  </a:lnTo>
                  <a:lnTo>
                    <a:pt x="0" y="82"/>
                  </a:lnTo>
                  <a:lnTo>
                    <a:pt x="24" y="80"/>
                  </a:lnTo>
                  <a:lnTo>
                    <a:pt x="40" y="86"/>
                  </a:lnTo>
                  <a:lnTo>
                    <a:pt x="52" y="92"/>
                  </a:lnTo>
                  <a:lnTo>
                    <a:pt x="66" y="92"/>
                  </a:lnTo>
                  <a:lnTo>
                    <a:pt x="80" y="102"/>
                  </a:lnTo>
                  <a:lnTo>
                    <a:pt x="92" y="102"/>
                  </a:lnTo>
                  <a:lnTo>
                    <a:pt x="106" y="102"/>
                  </a:lnTo>
                  <a:lnTo>
                    <a:pt x="120" y="110"/>
                  </a:lnTo>
                  <a:lnTo>
                    <a:pt x="134" y="110"/>
                  </a:lnTo>
                  <a:lnTo>
                    <a:pt x="148" y="92"/>
                  </a:lnTo>
                  <a:lnTo>
                    <a:pt x="160" y="86"/>
                  </a:lnTo>
                  <a:lnTo>
                    <a:pt x="166" y="86"/>
                  </a:lnTo>
                  <a:lnTo>
                    <a:pt x="180" y="86"/>
                  </a:lnTo>
                  <a:lnTo>
                    <a:pt x="196" y="76"/>
                  </a:lnTo>
                  <a:lnTo>
                    <a:pt x="208" y="76"/>
                  </a:lnTo>
                  <a:lnTo>
                    <a:pt x="220" y="66"/>
                  </a:lnTo>
                  <a:lnTo>
                    <a:pt x="234" y="60"/>
                  </a:lnTo>
                  <a:lnTo>
                    <a:pt x="248" y="40"/>
                  </a:lnTo>
                  <a:lnTo>
                    <a:pt x="262" y="34"/>
                  </a:lnTo>
                  <a:lnTo>
                    <a:pt x="274" y="24"/>
                  </a:lnTo>
                  <a:lnTo>
                    <a:pt x="282" y="4"/>
                  </a:lnTo>
                  <a:lnTo>
                    <a:pt x="296" y="0"/>
                  </a:lnTo>
                  <a:lnTo>
                    <a:pt x="308" y="4"/>
                  </a:lnTo>
                  <a:lnTo>
                    <a:pt x="308" y="24"/>
                  </a:lnTo>
                  <a:lnTo>
                    <a:pt x="314" y="40"/>
                  </a:lnTo>
                  <a:lnTo>
                    <a:pt x="328" y="40"/>
                  </a:lnTo>
                  <a:lnTo>
                    <a:pt x="342" y="60"/>
                  </a:lnTo>
                  <a:lnTo>
                    <a:pt x="342" y="76"/>
                  </a:lnTo>
                  <a:lnTo>
                    <a:pt x="336" y="92"/>
                  </a:lnTo>
                  <a:lnTo>
                    <a:pt x="336" y="110"/>
                  </a:lnTo>
                  <a:lnTo>
                    <a:pt x="322" y="118"/>
                  </a:lnTo>
                  <a:lnTo>
                    <a:pt x="314" y="136"/>
                  </a:lnTo>
                  <a:lnTo>
                    <a:pt x="322" y="154"/>
                  </a:lnTo>
                  <a:lnTo>
                    <a:pt x="314" y="170"/>
                  </a:lnTo>
                  <a:lnTo>
                    <a:pt x="314" y="188"/>
                  </a:lnTo>
                  <a:lnTo>
                    <a:pt x="328" y="204"/>
                  </a:lnTo>
                  <a:lnTo>
                    <a:pt x="342" y="204"/>
                  </a:lnTo>
                  <a:lnTo>
                    <a:pt x="342" y="222"/>
                  </a:lnTo>
                  <a:lnTo>
                    <a:pt x="342" y="240"/>
                  </a:lnTo>
                  <a:lnTo>
                    <a:pt x="356" y="258"/>
                  </a:lnTo>
                  <a:lnTo>
                    <a:pt x="368" y="258"/>
                  </a:lnTo>
                  <a:lnTo>
                    <a:pt x="384" y="266"/>
                  </a:lnTo>
                  <a:lnTo>
                    <a:pt x="390" y="276"/>
                  </a:lnTo>
                  <a:lnTo>
                    <a:pt x="396" y="292"/>
                  </a:lnTo>
                  <a:lnTo>
                    <a:pt x="390" y="302"/>
                  </a:lnTo>
                  <a:lnTo>
                    <a:pt x="396" y="318"/>
                  </a:lnTo>
                  <a:lnTo>
                    <a:pt x="398" y="318"/>
                  </a:lnTo>
                </a:path>
              </a:pathLst>
            </a:custGeom>
            <a:grpFill/>
            <a:ln w="8">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Freeform 48">
              <a:extLst>
                <a:ext uri="{FF2B5EF4-FFF2-40B4-BE49-F238E27FC236}">
                  <a16:creationId xmlns:a16="http://schemas.microsoft.com/office/drawing/2014/main" id="{BE49422F-3BE7-4307-A788-5A47CC1A7752}"/>
                </a:ext>
              </a:extLst>
            </p:cNvPr>
            <p:cNvSpPr>
              <a:spLocks/>
            </p:cNvSpPr>
            <p:nvPr/>
          </p:nvSpPr>
          <p:spPr bwMode="auto">
            <a:xfrm>
              <a:off x="1218858" y="3030155"/>
              <a:ext cx="678648" cy="559063"/>
            </a:xfrm>
            <a:custGeom>
              <a:avLst/>
              <a:gdLst>
                <a:gd name="T0" fmla="*/ 412 w 454"/>
                <a:gd name="T1" fmla="*/ 358 h 374"/>
                <a:gd name="T2" fmla="*/ 426 w 454"/>
                <a:gd name="T3" fmla="*/ 330 h 374"/>
                <a:gd name="T4" fmla="*/ 446 w 454"/>
                <a:gd name="T5" fmla="*/ 314 h 374"/>
                <a:gd name="T6" fmla="*/ 454 w 454"/>
                <a:gd name="T7" fmla="*/ 278 h 374"/>
                <a:gd name="T8" fmla="*/ 440 w 454"/>
                <a:gd name="T9" fmla="*/ 244 h 374"/>
                <a:gd name="T10" fmla="*/ 446 w 454"/>
                <a:gd name="T11" fmla="*/ 208 h 374"/>
                <a:gd name="T12" fmla="*/ 420 w 454"/>
                <a:gd name="T13" fmla="*/ 208 h 374"/>
                <a:gd name="T14" fmla="*/ 398 w 454"/>
                <a:gd name="T15" fmla="*/ 200 h 374"/>
                <a:gd name="T16" fmla="*/ 372 w 454"/>
                <a:gd name="T17" fmla="*/ 182 h 374"/>
                <a:gd name="T18" fmla="*/ 344 w 454"/>
                <a:gd name="T19" fmla="*/ 158 h 374"/>
                <a:gd name="T20" fmla="*/ 344 w 454"/>
                <a:gd name="T21" fmla="*/ 122 h 374"/>
                <a:gd name="T22" fmla="*/ 344 w 454"/>
                <a:gd name="T23" fmla="*/ 86 h 374"/>
                <a:gd name="T24" fmla="*/ 338 w 454"/>
                <a:gd name="T25" fmla="*/ 52 h 374"/>
                <a:gd name="T26" fmla="*/ 324 w 454"/>
                <a:gd name="T27" fmla="*/ 42 h 374"/>
                <a:gd name="T28" fmla="*/ 298 w 454"/>
                <a:gd name="T29" fmla="*/ 34 h 374"/>
                <a:gd name="T30" fmla="*/ 270 w 454"/>
                <a:gd name="T31" fmla="*/ 26 h 374"/>
                <a:gd name="T32" fmla="*/ 242 w 454"/>
                <a:gd name="T33" fmla="*/ 8 h 374"/>
                <a:gd name="T34" fmla="*/ 216 w 454"/>
                <a:gd name="T35" fmla="*/ 0 h 374"/>
                <a:gd name="T36" fmla="*/ 188 w 454"/>
                <a:gd name="T37" fmla="*/ 8 h 374"/>
                <a:gd name="T38" fmla="*/ 168 w 454"/>
                <a:gd name="T39" fmla="*/ 34 h 374"/>
                <a:gd name="T40" fmla="*/ 150 w 454"/>
                <a:gd name="T41" fmla="*/ 60 h 374"/>
                <a:gd name="T42" fmla="*/ 122 w 454"/>
                <a:gd name="T43" fmla="*/ 52 h 374"/>
                <a:gd name="T44" fmla="*/ 106 w 454"/>
                <a:gd name="T45" fmla="*/ 86 h 374"/>
                <a:gd name="T46" fmla="*/ 94 w 454"/>
                <a:gd name="T47" fmla="*/ 96 h 374"/>
                <a:gd name="T48" fmla="*/ 72 w 454"/>
                <a:gd name="T49" fmla="*/ 106 h 374"/>
                <a:gd name="T50" fmla="*/ 40 w 454"/>
                <a:gd name="T51" fmla="*/ 96 h 374"/>
                <a:gd name="T52" fmla="*/ 14 w 454"/>
                <a:gd name="T53" fmla="*/ 96 h 374"/>
                <a:gd name="T54" fmla="*/ 0 w 454"/>
                <a:gd name="T55" fmla="*/ 124 h 374"/>
                <a:gd name="T56" fmla="*/ 44 w 454"/>
                <a:gd name="T57" fmla="*/ 116 h 374"/>
                <a:gd name="T58" fmla="*/ 72 w 454"/>
                <a:gd name="T59" fmla="*/ 118 h 374"/>
                <a:gd name="T60" fmla="*/ 80 w 454"/>
                <a:gd name="T61" fmla="*/ 132 h 374"/>
                <a:gd name="T62" fmla="*/ 88 w 454"/>
                <a:gd name="T63" fmla="*/ 166 h 374"/>
                <a:gd name="T64" fmla="*/ 88 w 454"/>
                <a:gd name="T65" fmla="*/ 200 h 374"/>
                <a:gd name="T66" fmla="*/ 94 w 454"/>
                <a:gd name="T67" fmla="*/ 236 h 374"/>
                <a:gd name="T68" fmla="*/ 122 w 454"/>
                <a:gd name="T69" fmla="*/ 278 h 374"/>
                <a:gd name="T70" fmla="*/ 150 w 454"/>
                <a:gd name="T71" fmla="*/ 296 h 374"/>
                <a:gd name="T72" fmla="*/ 182 w 454"/>
                <a:gd name="T73" fmla="*/ 304 h 374"/>
                <a:gd name="T74" fmla="*/ 210 w 454"/>
                <a:gd name="T75" fmla="*/ 304 h 374"/>
                <a:gd name="T76" fmla="*/ 236 w 454"/>
                <a:gd name="T77" fmla="*/ 314 h 374"/>
                <a:gd name="T78" fmla="*/ 270 w 454"/>
                <a:gd name="T79" fmla="*/ 330 h 374"/>
                <a:gd name="T80" fmla="*/ 298 w 454"/>
                <a:gd name="T81" fmla="*/ 340 h 374"/>
                <a:gd name="T82" fmla="*/ 324 w 454"/>
                <a:gd name="T83" fmla="*/ 366 h 374"/>
                <a:gd name="T84" fmla="*/ 352 w 454"/>
                <a:gd name="T85" fmla="*/ 374 h 374"/>
                <a:gd name="T86" fmla="*/ 380 w 454"/>
                <a:gd name="T87" fmla="*/ 366 h 374"/>
                <a:gd name="T88" fmla="*/ 398 w 454"/>
                <a:gd name="T89"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4" h="374">
                  <a:moveTo>
                    <a:pt x="398" y="374"/>
                  </a:moveTo>
                  <a:lnTo>
                    <a:pt x="412" y="358"/>
                  </a:lnTo>
                  <a:lnTo>
                    <a:pt x="420" y="340"/>
                  </a:lnTo>
                  <a:lnTo>
                    <a:pt x="426" y="330"/>
                  </a:lnTo>
                  <a:lnTo>
                    <a:pt x="432" y="322"/>
                  </a:lnTo>
                  <a:lnTo>
                    <a:pt x="446" y="314"/>
                  </a:lnTo>
                  <a:lnTo>
                    <a:pt x="454" y="296"/>
                  </a:lnTo>
                  <a:lnTo>
                    <a:pt x="454" y="278"/>
                  </a:lnTo>
                  <a:lnTo>
                    <a:pt x="446" y="262"/>
                  </a:lnTo>
                  <a:lnTo>
                    <a:pt x="440" y="244"/>
                  </a:lnTo>
                  <a:lnTo>
                    <a:pt x="440" y="226"/>
                  </a:lnTo>
                  <a:lnTo>
                    <a:pt x="446" y="208"/>
                  </a:lnTo>
                  <a:lnTo>
                    <a:pt x="432" y="208"/>
                  </a:lnTo>
                  <a:lnTo>
                    <a:pt x="420" y="208"/>
                  </a:lnTo>
                  <a:lnTo>
                    <a:pt x="412" y="190"/>
                  </a:lnTo>
                  <a:lnTo>
                    <a:pt x="398" y="200"/>
                  </a:lnTo>
                  <a:lnTo>
                    <a:pt x="384" y="190"/>
                  </a:lnTo>
                  <a:lnTo>
                    <a:pt x="372" y="182"/>
                  </a:lnTo>
                  <a:lnTo>
                    <a:pt x="358" y="174"/>
                  </a:lnTo>
                  <a:lnTo>
                    <a:pt x="344" y="158"/>
                  </a:lnTo>
                  <a:lnTo>
                    <a:pt x="338" y="140"/>
                  </a:lnTo>
                  <a:lnTo>
                    <a:pt x="344" y="122"/>
                  </a:lnTo>
                  <a:lnTo>
                    <a:pt x="352" y="106"/>
                  </a:lnTo>
                  <a:lnTo>
                    <a:pt x="344" y="86"/>
                  </a:lnTo>
                  <a:lnTo>
                    <a:pt x="338" y="70"/>
                  </a:lnTo>
                  <a:lnTo>
                    <a:pt x="338" y="52"/>
                  </a:lnTo>
                  <a:lnTo>
                    <a:pt x="338" y="42"/>
                  </a:lnTo>
                  <a:lnTo>
                    <a:pt x="324" y="42"/>
                  </a:lnTo>
                  <a:lnTo>
                    <a:pt x="312" y="34"/>
                  </a:lnTo>
                  <a:lnTo>
                    <a:pt x="298" y="34"/>
                  </a:lnTo>
                  <a:lnTo>
                    <a:pt x="284" y="34"/>
                  </a:lnTo>
                  <a:lnTo>
                    <a:pt x="270" y="26"/>
                  </a:lnTo>
                  <a:lnTo>
                    <a:pt x="256" y="16"/>
                  </a:lnTo>
                  <a:lnTo>
                    <a:pt x="242" y="8"/>
                  </a:lnTo>
                  <a:lnTo>
                    <a:pt x="228" y="8"/>
                  </a:lnTo>
                  <a:lnTo>
                    <a:pt x="216" y="0"/>
                  </a:lnTo>
                  <a:lnTo>
                    <a:pt x="202" y="16"/>
                  </a:lnTo>
                  <a:lnTo>
                    <a:pt x="188" y="8"/>
                  </a:lnTo>
                  <a:lnTo>
                    <a:pt x="174" y="16"/>
                  </a:lnTo>
                  <a:lnTo>
                    <a:pt x="168" y="34"/>
                  </a:lnTo>
                  <a:lnTo>
                    <a:pt x="164" y="52"/>
                  </a:lnTo>
                  <a:lnTo>
                    <a:pt x="150" y="60"/>
                  </a:lnTo>
                  <a:lnTo>
                    <a:pt x="136" y="60"/>
                  </a:lnTo>
                  <a:lnTo>
                    <a:pt x="122" y="52"/>
                  </a:lnTo>
                  <a:lnTo>
                    <a:pt x="116" y="70"/>
                  </a:lnTo>
                  <a:lnTo>
                    <a:pt x="106" y="86"/>
                  </a:lnTo>
                  <a:lnTo>
                    <a:pt x="100" y="106"/>
                  </a:lnTo>
                  <a:lnTo>
                    <a:pt x="94" y="96"/>
                  </a:lnTo>
                  <a:lnTo>
                    <a:pt x="80" y="96"/>
                  </a:lnTo>
                  <a:lnTo>
                    <a:pt x="72" y="106"/>
                  </a:lnTo>
                  <a:lnTo>
                    <a:pt x="54" y="96"/>
                  </a:lnTo>
                  <a:lnTo>
                    <a:pt x="40" y="96"/>
                  </a:lnTo>
                  <a:lnTo>
                    <a:pt x="28" y="96"/>
                  </a:lnTo>
                  <a:lnTo>
                    <a:pt x="14" y="96"/>
                  </a:lnTo>
                  <a:lnTo>
                    <a:pt x="0" y="114"/>
                  </a:lnTo>
                  <a:lnTo>
                    <a:pt x="0" y="124"/>
                  </a:lnTo>
                  <a:lnTo>
                    <a:pt x="30" y="120"/>
                  </a:lnTo>
                  <a:lnTo>
                    <a:pt x="44" y="116"/>
                  </a:lnTo>
                  <a:lnTo>
                    <a:pt x="56" y="116"/>
                  </a:lnTo>
                  <a:lnTo>
                    <a:pt x="72" y="118"/>
                  </a:lnTo>
                  <a:lnTo>
                    <a:pt x="80" y="122"/>
                  </a:lnTo>
                  <a:lnTo>
                    <a:pt x="80" y="132"/>
                  </a:lnTo>
                  <a:lnTo>
                    <a:pt x="80" y="150"/>
                  </a:lnTo>
                  <a:lnTo>
                    <a:pt x="88" y="166"/>
                  </a:lnTo>
                  <a:lnTo>
                    <a:pt x="88" y="182"/>
                  </a:lnTo>
                  <a:lnTo>
                    <a:pt x="88" y="200"/>
                  </a:lnTo>
                  <a:lnTo>
                    <a:pt x="88" y="218"/>
                  </a:lnTo>
                  <a:lnTo>
                    <a:pt x="94" y="236"/>
                  </a:lnTo>
                  <a:lnTo>
                    <a:pt x="106" y="262"/>
                  </a:lnTo>
                  <a:lnTo>
                    <a:pt x="122" y="278"/>
                  </a:lnTo>
                  <a:lnTo>
                    <a:pt x="136" y="288"/>
                  </a:lnTo>
                  <a:lnTo>
                    <a:pt x="150" y="296"/>
                  </a:lnTo>
                  <a:lnTo>
                    <a:pt x="164" y="304"/>
                  </a:lnTo>
                  <a:lnTo>
                    <a:pt x="182" y="304"/>
                  </a:lnTo>
                  <a:lnTo>
                    <a:pt x="196" y="304"/>
                  </a:lnTo>
                  <a:lnTo>
                    <a:pt x="210" y="304"/>
                  </a:lnTo>
                  <a:lnTo>
                    <a:pt x="222" y="304"/>
                  </a:lnTo>
                  <a:lnTo>
                    <a:pt x="236" y="314"/>
                  </a:lnTo>
                  <a:lnTo>
                    <a:pt x="250" y="322"/>
                  </a:lnTo>
                  <a:lnTo>
                    <a:pt x="270" y="330"/>
                  </a:lnTo>
                  <a:lnTo>
                    <a:pt x="284" y="330"/>
                  </a:lnTo>
                  <a:lnTo>
                    <a:pt x="298" y="340"/>
                  </a:lnTo>
                  <a:lnTo>
                    <a:pt x="312" y="358"/>
                  </a:lnTo>
                  <a:lnTo>
                    <a:pt x="324" y="366"/>
                  </a:lnTo>
                  <a:lnTo>
                    <a:pt x="338" y="374"/>
                  </a:lnTo>
                  <a:lnTo>
                    <a:pt x="352" y="374"/>
                  </a:lnTo>
                  <a:lnTo>
                    <a:pt x="364" y="366"/>
                  </a:lnTo>
                  <a:lnTo>
                    <a:pt x="380" y="366"/>
                  </a:lnTo>
                  <a:lnTo>
                    <a:pt x="392" y="374"/>
                  </a:lnTo>
                  <a:lnTo>
                    <a:pt x="398" y="374"/>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2" name="Freeform 49">
              <a:extLst>
                <a:ext uri="{FF2B5EF4-FFF2-40B4-BE49-F238E27FC236}">
                  <a16:creationId xmlns:a16="http://schemas.microsoft.com/office/drawing/2014/main" id="{A2944EBC-5A40-4B11-8206-7139BF9E274B}"/>
                </a:ext>
              </a:extLst>
            </p:cNvPr>
            <p:cNvSpPr>
              <a:spLocks/>
            </p:cNvSpPr>
            <p:nvPr/>
          </p:nvSpPr>
          <p:spPr bwMode="auto">
            <a:xfrm>
              <a:off x="1218858" y="3030155"/>
              <a:ext cx="678648" cy="559063"/>
            </a:xfrm>
            <a:custGeom>
              <a:avLst/>
              <a:gdLst>
                <a:gd name="T0" fmla="*/ 412 w 454"/>
                <a:gd name="T1" fmla="*/ 358 h 374"/>
                <a:gd name="T2" fmla="*/ 426 w 454"/>
                <a:gd name="T3" fmla="*/ 330 h 374"/>
                <a:gd name="T4" fmla="*/ 446 w 454"/>
                <a:gd name="T5" fmla="*/ 314 h 374"/>
                <a:gd name="T6" fmla="*/ 454 w 454"/>
                <a:gd name="T7" fmla="*/ 278 h 374"/>
                <a:gd name="T8" fmla="*/ 440 w 454"/>
                <a:gd name="T9" fmla="*/ 244 h 374"/>
                <a:gd name="T10" fmla="*/ 446 w 454"/>
                <a:gd name="T11" fmla="*/ 208 h 374"/>
                <a:gd name="T12" fmla="*/ 420 w 454"/>
                <a:gd name="T13" fmla="*/ 208 h 374"/>
                <a:gd name="T14" fmla="*/ 398 w 454"/>
                <a:gd name="T15" fmla="*/ 200 h 374"/>
                <a:gd name="T16" fmla="*/ 372 w 454"/>
                <a:gd name="T17" fmla="*/ 182 h 374"/>
                <a:gd name="T18" fmla="*/ 344 w 454"/>
                <a:gd name="T19" fmla="*/ 158 h 374"/>
                <a:gd name="T20" fmla="*/ 344 w 454"/>
                <a:gd name="T21" fmla="*/ 122 h 374"/>
                <a:gd name="T22" fmla="*/ 344 w 454"/>
                <a:gd name="T23" fmla="*/ 86 h 374"/>
                <a:gd name="T24" fmla="*/ 338 w 454"/>
                <a:gd name="T25" fmla="*/ 52 h 374"/>
                <a:gd name="T26" fmla="*/ 324 w 454"/>
                <a:gd name="T27" fmla="*/ 42 h 374"/>
                <a:gd name="T28" fmla="*/ 298 w 454"/>
                <a:gd name="T29" fmla="*/ 34 h 374"/>
                <a:gd name="T30" fmla="*/ 270 w 454"/>
                <a:gd name="T31" fmla="*/ 26 h 374"/>
                <a:gd name="T32" fmla="*/ 242 w 454"/>
                <a:gd name="T33" fmla="*/ 8 h 374"/>
                <a:gd name="T34" fmla="*/ 216 w 454"/>
                <a:gd name="T35" fmla="*/ 0 h 374"/>
                <a:gd name="T36" fmla="*/ 188 w 454"/>
                <a:gd name="T37" fmla="*/ 8 h 374"/>
                <a:gd name="T38" fmla="*/ 168 w 454"/>
                <a:gd name="T39" fmla="*/ 34 h 374"/>
                <a:gd name="T40" fmla="*/ 150 w 454"/>
                <a:gd name="T41" fmla="*/ 60 h 374"/>
                <a:gd name="T42" fmla="*/ 122 w 454"/>
                <a:gd name="T43" fmla="*/ 52 h 374"/>
                <a:gd name="T44" fmla="*/ 106 w 454"/>
                <a:gd name="T45" fmla="*/ 86 h 374"/>
                <a:gd name="T46" fmla="*/ 94 w 454"/>
                <a:gd name="T47" fmla="*/ 96 h 374"/>
                <a:gd name="T48" fmla="*/ 72 w 454"/>
                <a:gd name="T49" fmla="*/ 106 h 374"/>
                <a:gd name="T50" fmla="*/ 40 w 454"/>
                <a:gd name="T51" fmla="*/ 96 h 374"/>
                <a:gd name="T52" fmla="*/ 14 w 454"/>
                <a:gd name="T53" fmla="*/ 96 h 374"/>
                <a:gd name="T54" fmla="*/ 0 w 454"/>
                <a:gd name="T55" fmla="*/ 124 h 374"/>
                <a:gd name="T56" fmla="*/ 44 w 454"/>
                <a:gd name="T57" fmla="*/ 116 h 374"/>
                <a:gd name="T58" fmla="*/ 72 w 454"/>
                <a:gd name="T59" fmla="*/ 118 h 374"/>
                <a:gd name="T60" fmla="*/ 80 w 454"/>
                <a:gd name="T61" fmla="*/ 132 h 374"/>
                <a:gd name="T62" fmla="*/ 88 w 454"/>
                <a:gd name="T63" fmla="*/ 166 h 374"/>
                <a:gd name="T64" fmla="*/ 88 w 454"/>
                <a:gd name="T65" fmla="*/ 200 h 374"/>
                <a:gd name="T66" fmla="*/ 94 w 454"/>
                <a:gd name="T67" fmla="*/ 236 h 374"/>
                <a:gd name="T68" fmla="*/ 122 w 454"/>
                <a:gd name="T69" fmla="*/ 278 h 374"/>
                <a:gd name="T70" fmla="*/ 150 w 454"/>
                <a:gd name="T71" fmla="*/ 296 h 374"/>
                <a:gd name="T72" fmla="*/ 182 w 454"/>
                <a:gd name="T73" fmla="*/ 304 h 374"/>
                <a:gd name="T74" fmla="*/ 210 w 454"/>
                <a:gd name="T75" fmla="*/ 304 h 374"/>
                <a:gd name="T76" fmla="*/ 236 w 454"/>
                <a:gd name="T77" fmla="*/ 314 h 374"/>
                <a:gd name="T78" fmla="*/ 270 w 454"/>
                <a:gd name="T79" fmla="*/ 330 h 374"/>
                <a:gd name="T80" fmla="*/ 298 w 454"/>
                <a:gd name="T81" fmla="*/ 340 h 374"/>
                <a:gd name="T82" fmla="*/ 324 w 454"/>
                <a:gd name="T83" fmla="*/ 366 h 374"/>
                <a:gd name="T84" fmla="*/ 352 w 454"/>
                <a:gd name="T85" fmla="*/ 374 h 374"/>
                <a:gd name="T86" fmla="*/ 380 w 454"/>
                <a:gd name="T87" fmla="*/ 366 h 374"/>
                <a:gd name="T88" fmla="*/ 398 w 454"/>
                <a:gd name="T89"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4" h="374">
                  <a:moveTo>
                    <a:pt x="398" y="374"/>
                  </a:moveTo>
                  <a:lnTo>
                    <a:pt x="412" y="358"/>
                  </a:lnTo>
                  <a:lnTo>
                    <a:pt x="420" y="340"/>
                  </a:lnTo>
                  <a:lnTo>
                    <a:pt x="426" y="330"/>
                  </a:lnTo>
                  <a:lnTo>
                    <a:pt x="432" y="322"/>
                  </a:lnTo>
                  <a:lnTo>
                    <a:pt x="446" y="314"/>
                  </a:lnTo>
                  <a:lnTo>
                    <a:pt x="454" y="296"/>
                  </a:lnTo>
                  <a:lnTo>
                    <a:pt x="454" y="278"/>
                  </a:lnTo>
                  <a:lnTo>
                    <a:pt x="446" y="262"/>
                  </a:lnTo>
                  <a:lnTo>
                    <a:pt x="440" y="244"/>
                  </a:lnTo>
                  <a:lnTo>
                    <a:pt x="440" y="226"/>
                  </a:lnTo>
                  <a:lnTo>
                    <a:pt x="446" y="208"/>
                  </a:lnTo>
                  <a:lnTo>
                    <a:pt x="432" y="208"/>
                  </a:lnTo>
                  <a:lnTo>
                    <a:pt x="420" y="208"/>
                  </a:lnTo>
                  <a:lnTo>
                    <a:pt x="412" y="190"/>
                  </a:lnTo>
                  <a:lnTo>
                    <a:pt x="398" y="200"/>
                  </a:lnTo>
                  <a:lnTo>
                    <a:pt x="384" y="190"/>
                  </a:lnTo>
                  <a:lnTo>
                    <a:pt x="372" y="182"/>
                  </a:lnTo>
                  <a:lnTo>
                    <a:pt x="358" y="174"/>
                  </a:lnTo>
                  <a:lnTo>
                    <a:pt x="344" y="158"/>
                  </a:lnTo>
                  <a:lnTo>
                    <a:pt x="338" y="140"/>
                  </a:lnTo>
                  <a:lnTo>
                    <a:pt x="344" y="122"/>
                  </a:lnTo>
                  <a:lnTo>
                    <a:pt x="352" y="106"/>
                  </a:lnTo>
                  <a:lnTo>
                    <a:pt x="344" y="86"/>
                  </a:lnTo>
                  <a:lnTo>
                    <a:pt x="338" y="70"/>
                  </a:lnTo>
                  <a:lnTo>
                    <a:pt x="338" y="52"/>
                  </a:lnTo>
                  <a:lnTo>
                    <a:pt x="338" y="42"/>
                  </a:lnTo>
                  <a:lnTo>
                    <a:pt x="324" y="42"/>
                  </a:lnTo>
                  <a:lnTo>
                    <a:pt x="312" y="34"/>
                  </a:lnTo>
                  <a:lnTo>
                    <a:pt x="298" y="34"/>
                  </a:lnTo>
                  <a:lnTo>
                    <a:pt x="284" y="34"/>
                  </a:lnTo>
                  <a:lnTo>
                    <a:pt x="270" y="26"/>
                  </a:lnTo>
                  <a:lnTo>
                    <a:pt x="256" y="16"/>
                  </a:lnTo>
                  <a:lnTo>
                    <a:pt x="242" y="8"/>
                  </a:lnTo>
                  <a:lnTo>
                    <a:pt x="228" y="8"/>
                  </a:lnTo>
                  <a:lnTo>
                    <a:pt x="216" y="0"/>
                  </a:lnTo>
                  <a:lnTo>
                    <a:pt x="202" y="16"/>
                  </a:lnTo>
                  <a:lnTo>
                    <a:pt x="188" y="8"/>
                  </a:lnTo>
                  <a:lnTo>
                    <a:pt x="174" y="16"/>
                  </a:lnTo>
                  <a:lnTo>
                    <a:pt x="168" y="34"/>
                  </a:lnTo>
                  <a:lnTo>
                    <a:pt x="164" y="52"/>
                  </a:lnTo>
                  <a:lnTo>
                    <a:pt x="150" y="60"/>
                  </a:lnTo>
                  <a:lnTo>
                    <a:pt x="136" y="60"/>
                  </a:lnTo>
                  <a:lnTo>
                    <a:pt x="122" y="52"/>
                  </a:lnTo>
                  <a:lnTo>
                    <a:pt x="116" y="70"/>
                  </a:lnTo>
                  <a:lnTo>
                    <a:pt x="106" y="86"/>
                  </a:lnTo>
                  <a:lnTo>
                    <a:pt x="100" y="106"/>
                  </a:lnTo>
                  <a:lnTo>
                    <a:pt x="94" y="96"/>
                  </a:lnTo>
                  <a:lnTo>
                    <a:pt x="80" y="96"/>
                  </a:lnTo>
                  <a:lnTo>
                    <a:pt x="72" y="106"/>
                  </a:lnTo>
                  <a:lnTo>
                    <a:pt x="54" y="96"/>
                  </a:lnTo>
                  <a:lnTo>
                    <a:pt x="40" y="96"/>
                  </a:lnTo>
                  <a:lnTo>
                    <a:pt x="28" y="96"/>
                  </a:lnTo>
                  <a:lnTo>
                    <a:pt x="14" y="96"/>
                  </a:lnTo>
                  <a:lnTo>
                    <a:pt x="0" y="114"/>
                  </a:lnTo>
                  <a:lnTo>
                    <a:pt x="0" y="124"/>
                  </a:lnTo>
                  <a:lnTo>
                    <a:pt x="30" y="120"/>
                  </a:lnTo>
                  <a:lnTo>
                    <a:pt x="44" y="116"/>
                  </a:lnTo>
                  <a:lnTo>
                    <a:pt x="56" y="116"/>
                  </a:lnTo>
                  <a:lnTo>
                    <a:pt x="72" y="118"/>
                  </a:lnTo>
                  <a:lnTo>
                    <a:pt x="80" y="122"/>
                  </a:lnTo>
                  <a:lnTo>
                    <a:pt x="80" y="132"/>
                  </a:lnTo>
                  <a:lnTo>
                    <a:pt x="80" y="150"/>
                  </a:lnTo>
                  <a:lnTo>
                    <a:pt x="88" y="166"/>
                  </a:lnTo>
                  <a:lnTo>
                    <a:pt x="88" y="182"/>
                  </a:lnTo>
                  <a:lnTo>
                    <a:pt x="88" y="200"/>
                  </a:lnTo>
                  <a:lnTo>
                    <a:pt x="88" y="218"/>
                  </a:lnTo>
                  <a:lnTo>
                    <a:pt x="94" y="236"/>
                  </a:lnTo>
                  <a:lnTo>
                    <a:pt x="106" y="262"/>
                  </a:lnTo>
                  <a:lnTo>
                    <a:pt x="122" y="278"/>
                  </a:lnTo>
                  <a:lnTo>
                    <a:pt x="136" y="288"/>
                  </a:lnTo>
                  <a:lnTo>
                    <a:pt x="150" y="296"/>
                  </a:lnTo>
                  <a:lnTo>
                    <a:pt x="164" y="304"/>
                  </a:lnTo>
                  <a:lnTo>
                    <a:pt x="182" y="304"/>
                  </a:lnTo>
                  <a:lnTo>
                    <a:pt x="196" y="304"/>
                  </a:lnTo>
                  <a:lnTo>
                    <a:pt x="210" y="304"/>
                  </a:lnTo>
                  <a:lnTo>
                    <a:pt x="222" y="304"/>
                  </a:lnTo>
                  <a:lnTo>
                    <a:pt x="236" y="314"/>
                  </a:lnTo>
                  <a:lnTo>
                    <a:pt x="250" y="322"/>
                  </a:lnTo>
                  <a:lnTo>
                    <a:pt x="270" y="330"/>
                  </a:lnTo>
                  <a:lnTo>
                    <a:pt x="284" y="330"/>
                  </a:lnTo>
                  <a:lnTo>
                    <a:pt x="298" y="340"/>
                  </a:lnTo>
                  <a:lnTo>
                    <a:pt x="312" y="358"/>
                  </a:lnTo>
                  <a:lnTo>
                    <a:pt x="324" y="366"/>
                  </a:lnTo>
                  <a:lnTo>
                    <a:pt x="338" y="374"/>
                  </a:lnTo>
                  <a:lnTo>
                    <a:pt x="352" y="374"/>
                  </a:lnTo>
                  <a:lnTo>
                    <a:pt x="364" y="366"/>
                  </a:lnTo>
                  <a:lnTo>
                    <a:pt x="380" y="366"/>
                  </a:lnTo>
                  <a:lnTo>
                    <a:pt x="392" y="374"/>
                  </a:lnTo>
                  <a:lnTo>
                    <a:pt x="398" y="374"/>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Freeform 52">
              <a:extLst>
                <a:ext uri="{FF2B5EF4-FFF2-40B4-BE49-F238E27FC236}">
                  <a16:creationId xmlns:a16="http://schemas.microsoft.com/office/drawing/2014/main" id="{047BA618-9C40-4313-B9CA-254547E7FC9A}"/>
                </a:ext>
              </a:extLst>
            </p:cNvPr>
            <p:cNvSpPr>
              <a:spLocks/>
            </p:cNvSpPr>
            <p:nvPr/>
          </p:nvSpPr>
          <p:spPr bwMode="auto">
            <a:xfrm>
              <a:off x="1721117" y="2967373"/>
              <a:ext cx="1106167" cy="1022457"/>
            </a:xfrm>
            <a:custGeom>
              <a:avLst/>
              <a:gdLst>
                <a:gd name="T0" fmla="*/ 210 w 740"/>
                <a:gd name="T1" fmla="*/ 34 h 684"/>
                <a:gd name="T2" fmla="*/ 196 w 740"/>
                <a:gd name="T3" fmla="*/ 76 h 684"/>
                <a:gd name="T4" fmla="*/ 142 w 740"/>
                <a:gd name="T5" fmla="*/ 86 h 684"/>
                <a:gd name="T6" fmla="*/ 88 w 740"/>
                <a:gd name="T7" fmla="*/ 76 h 684"/>
                <a:gd name="T8" fmla="*/ 34 w 740"/>
                <a:gd name="T9" fmla="*/ 86 h 684"/>
                <a:gd name="T10" fmla="*/ 0 w 740"/>
                <a:gd name="T11" fmla="*/ 86 h 684"/>
                <a:gd name="T12" fmla="*/ 0 w 740"/>
                <a:gd name="T13" fmla="*/ 114 h 684"/>
                <a:gd name="T14" fmla="*/ 8 w 740"/>
                <a:gd name="T15" fmla="*/ 164 h 684"/>
                <a:gd name="T16" fmla="*/ 22 w 740"/>
                <a:gd name="T17" fmla="*/ 218 h 684"/>
                <a:gd name="T18" fmla="*/ 62 w 740"/>
                <a:gd name="T19" fmla="*/ 242 h 684"/>
                <a:gd name="T20" fmla="*/ 96 w 740"/>
                <a:gd name="T21" fmla="*/ 250 h 684"/>
                <a:gd name="T22" fmla="*/ 102 w 740"/>
                <a:gd name="T23" fmla="*/ 286 h 684"/>
                <a:gd name="T24" fmla="*/ 118 w 740"/>
                <a:gd name="T25" fmla="*/ 338 h 684"/>
                <a:gd name="T26" fmla="*/ 88 w 740"/>
                <a:gd name="T27" fmla="*/ 372 h 684"/>
                <a:gd name="T28" fmla="*/ 62 w 740"/>
                <a:gd name="T29" fmla="*/ 416 h 684"/>
                <a:gd name="T30" fmla="*/ 82 w 740"/>
                <a:gd name="T31" fmla="*/ 442 h 684"/>
                <a:gd name="T32" fmla="*/ 74 w 740"/>
                <a:gd name="T33" fmla="*/ 502 h 684"/>
                <a:gd name="T34" fmla="*/ 82 w 740"/>
                <a:gd name="T35" fmla="*/ 552 h 684"/>
                <a:gd name="T36" fmla="*/ 134 w 740"/>
                <a:gd name="T37" fmla="*/ 562 h 684"/>
                <a:gd name="T38" fmla="*/ 176 w 740"/>
                <a:gd name="T39" fmla="*/ 572 h 684"/>
                <a:gd name="T40" fmla="*/ 210 w 740"/>
                <a:gd name="T41" fmla="*/ 596 h 684"/>
                <a:gd name="T42" fmla="*/ 230 w 740"/>
                <a:gd name="T43" fmla="*/ 640 h 684"/>
                <a:gd name="T44" fmla="*/ 252 w 740"/>
                <a:gd name="T45" fmla="*/ 676 h 684"/>
                <a:gd name="T46" fmla="*/ 284 w 740"/>
                <a:gd name="T47" fmla="*/ 666 h 684"/>
                <a:gd name="T48" fmla="*/ 326 w 740"/>
                <a:gd name="T49" fmla="*/ 632 h 684"/>
                <a:gd name="T50" fmla="*/ 372 w 740"/>
                <a:gd name="T51" fmla="*/ 632 h 684"/>
                <a:gd name="T52" fmla="*/ 422 w 740"/>
                <a:gd name="T53" fmla="*/ 648 h 684"/>
                <a:gd name="T54" fmla="*/ 466 w 740"/>
                <a:gd name="T55" fmla="*/ 648 h 684"/>
                <a:gd name="T56" fmla="*/ 514 w 740"/>
                <a:gd name="T57" fmla="*/ 632 h 684"/>
                <a:gd name="T58" fmla="*/ 514 w 740"/>
                <a:gd name="T59" fmla="*/ 684 h 684"/>
                <a:gd name="T60" fmla="*/ 548 w 740"/>
                <a:gd name="T61" fmla="*/ 666 h 684"/>
                <a:gd name="T62" fmla="*/ 562 w 740"/>
                <a:gd name="T63" fmla="*/ 614 h 684"/>
                <a:gd name="T64" fmla="*/ 590 w 740"/>
                <a:gd name="T65" fmla="*/ 562 h 684"/>
                <a:gd name="T66" fmla="*/ 624 w 740"/>
                <a:gd name="T67" fmla="*/ 536 h 684"/>
                <a:gd name="T68" fmla="*/ 650 w 740"/>
                <a:gd name="T69" fmla="*/ 492 h 684"/>
                <a:gd name="T70" fmla="*/ 684 w 740"/>
                <a:gd name="T71" fmla="*/ 468 h 684"/>
                <a:gd name="T72" fmla="*/ 704 w 740"/>
                <a:gd name="T73" fmla="*/ 416 h 684"/>
                <a:gd name="T74" fmla="*/ 710 w 740"/>
                <a:gd name="T75" fmla="*/ 362 h 684"/>
                <a:gd name="T76" fmla="*/ 704 w 740"/>
                <a:gd name="T77" fmla="*/ 310 h 684"/>
                <a:gd name="T78" fmla="*/ 710 w 740"/>
                <a:gd name="T79" fmla="*/ 258 h 684"/>
                <a:gd name="T80" fmla="*/ 704 w 740"/>
                <a:gd name="T81" fmla="*/ 206 h 684"/>
                <a:gd name="T82" fmla="*/ 724 w 740"/>
                <a:gd name="T83" fmla="*/ 164 h 684"/>
                <a:gd name="T84" fmla="*/ 726 w 740"/>
                <a:gd name="T85" fmla="*/ 146 h 684"/>
                <a:gd name="T86" fmla="*/ 664 w 740"/>
                <a:gd name="T87" fmla="*/ 156 h 684"/>
                <a:gd name="T88" fmla="*/ 604 w 740"/>
                <a:gd name="T89" fmla="*/ 146 h 684"/>
                <a:gd name="T90" fmla="*/ 536 w 740"/>
                <a:gd name="T91" fmla="*/ 146 h 684"/>
                <a:gd name="T92" fmla="*/ 482 w 740"/>
                <a:gd name="T93" fmla="*/ 146 h 684"/>
                <a:gd name="T94" fmla="*/ 414 w 740"/>
                <a:gd name="T95" fmla="*/ 146 h 684"/>
                <a:gd name="T96" fmla="*/ 354 w 740"/>
                <a:gd name="T97" fmla="*/ 138 h 684"/>
                <a:gd name="T98" fmla="*/ 314 w 740"/>
                <a:gd name="T99" fmla="*/ 138 h 684"/>
                <a:gd name="T100" fmla="*/ 286 w 740"/>
                <a:gd name="T101" fmla="*/ 104 h 684"/>
                <a:gd name="T102" fmla="*/ 252 w 740"/>
                <a:gd name="T103" fmla="*/ 70 h 684"/>
                <a:gd name="T104" fmla="*/ 238 w 740"/>
                <a:gd name="T105" fmla="*/ 16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0" h="684">
                  <a:moveTo>
                    <a:pt x="230" y="0"/>
                  </a:moveTo>
                  <a:lnTo>
                    <a:pt x="214" y="16"/>
                  </a:lnTo>
                  <a:lnTo>
                    <a:pt x="210" y="34"/>
                  </a:lnTo>
                  <a:lnTo>
                    <a:pt x="202" y="52"/>
                  </a:lnTo>
                  <a:lnTo>
                    <a:pt x="202" y="70"/>
                  </a:lnTo>
                  <a:lnTo>
                    <a:pt x="196" y="76"/>
                  </a:lnTo>
                  <a:lnTo>
                    <a:pt x="182" y="76"/>
                  </a:lnTo>
                  <a:lnTo>
                    <a:pt x="162" y="86"/>
                  </a:lnTo>
                  <a:lnTo>
                    <a:pt x="142" y="86"/>
                  </a:lnTo>
                  <a:lnTo>
                    <a:pt x="128" y="86"/>
                  </a:lnTo>
                  <a:lnTo>
                    <a:pt x="108" y="76"/>
                  </a:lnTo>
                  <a:lnTo>
                    <a:pt x="88" y="76"/>
                  </a:lnTo>
                  <a:lnTo>
                    <a:pt x="68" y="86"/>
                  </a:lnTo>
                  <a:lnTo>
                    <a:pt x="54" y="86"/>
                  </a:lnTo>
                  <a:lnTo>
                    <a:pt x="34" y="86"/>
                  </a:lnTo>
                  <a:lnTo>
                    <a:pt x="20" y="86"/>
                  </a:lnTo>
                  <a:lnTo>
                    <a:pt x="8" y="86"/>
                  </a:lnTo>
                  <a:lnTo>
                    <a:pt x="0" y="86"/>
                  </a:lnTo>
                  <a:lnTo>
                    <a:pt x="0" y="86"/>
                  </a:lnTo>
                  <a:lnTo>
                    <a:pt x="0" y="94"/>
                  </a:lnTo>
                  <a:lnTo>
                    <a:pt x="0" y="114"/>
                  </a:lnTo>
                  <a:lnTo>
                    <a:pt x="8" y="130"/>
                  </a:lnTo>
                  <a:lnTo>
                    <a:pt x="14" y="148"/>
                  </a:lnTo>
                  <a:lnTo>
                    <a:pt x="8" y="164"/>
                  </a:lnTo>
                  <a:lnTo>
                    <a:pt x="0" y="182"/>
                  </a:lnTo>
                  <a:lnTo>
                    <a:pt x="8" y="198"/>
                  </a:lnTo>
                  <a:lnTo>
                    <a:pt x="22" y="218"/>
                  </a:lnTo>
                  <a:lnTo>
                    <a:pt x="36" y="224"/>
                  </a:lnTo>
                  <a:lnTo>
                    <a:pt x="48" y="234"/>
                  </a:lnTo>
                  <a:lnTo>
                    <a:pt x="62" y="242"/>
                  </a:lnTo>
                  <a:lnTo>
                    <a:pt x="76" y="234"/>
                  </a:lnTo>
                  <a:lnTo>
                    <a:pt x="82" y="250"/>
                  </a:lnTo>
                  <a:lnTo>
                    <a:pt x="96" y="250"/>
                  </a:lnTo>
                  <a:lnTo>
                    <a:pt x="110" y="250"/>
                  </a:lnTo>
                  <a:lnTo>
                    <a:pt x="102" y="268"/>
                  </a:lnTo>
                  <a:lnTo>
                    <a:pt x="102" y="286"/>
                  </a:lnTo>
                  <a:lnTo>
                    <a:pt x="110" y="304"/>
                  </a:lnTo>
                  <a:lnTo>
                    <a:pt x="118" y="320"/>
                  </a:lnTo>
                  <a:lnTo>
                    <a:pt x="118" y="338"/>
                  </a:lnTo>
                  <a:lnTo>
                    <a:pt x="110" y="356"/>
                  </a:lnTo>
                  <a:lnTo>
                    <a:pt x="96" y="364"/>
                  </a:lnTo>
                  <a:lnTo>
                    <a:pt x="88" y="372"/>
                  </a:lnTo>
                  <a:lnTo>
                    <a:pt x="82" y="380"/>
                  </a:lnTo>
                  <a:lnTo>
                    <a:pt x="76" y="398"/>
                  </a:lnTo>
                  <a:lnTo>
                    <a:pt x="62" y="416"/>
                  </a:lnTo>
                  <a:lnTo>
                    <a:pt x="60" y="416"/>
                  </a:lnTo>
                  <a:lnTo>
                    <a:pt x="68" y="422"/>
                  </a:lnTo>
                  <a:lnTo>
                    <a:pt x="82" y="442"/>
                  </a:lnTo>
                  <a:lnTo>
                    <a:pt x="82" y="458"/>
                  </a:lnTo>
                  <a:lnTo>
                    <a:pt x="74" y="474"/>
                  </a:lnTo>
                  <a:lnTo>
                    <a:pt x="74" y="502"/>
                  </a:lnTo>
                  <a:lnTo>
                    <a:pt x="68" y="520"/>
                  </a:lnTo>
                  <a:lnTo>
                    <a:pt x="74" y="536"/>
                  </a:lnTo>
                  <a:lnTo>
                    <a:pt x="82" y="552"/>
                  </a:lnTo>
                  <a:lnTo>
                    <a:pt x="102" y="562"/>
                  </a:lnTo>
                  <a:lnTo>
                    <a:pt x="122" y="562"/>
                  </a:lnTo>
                  <a:lnTo>
                    <a:pt x="134" y="562"/>
                  </a:lnTo>
                  <a:lnTo>
                    <a:pt x="150" y="572"/>
                  </a:lnTo>
                  <a:lnTo>
                    <a:pt x="162" y="572"/>
                  </a:lnTo>
                  <a:lnTo>
                    <a:pt x="176" y="572"/>
                  </a:lnTo>
                  <a:lnTo>
                    <a:pt x="190" y="572"/>
                  </a:lnTo>
                  <a:lnTo>
                    <a:pt x="210" y="580"/>
                  </a:lnTo>
                  <a:lnTo>
                    <a:pt x="210" y="596"/>
                  </a:lnTo>
                  <a:lnTo>
                    <a:pt x="210" y="614"/>
                  </a:lnTo>
                  <a:lnTo>
                    <a:pt x="218" y="632"/>
                  </a:lnTo>
                  <a:lnTo>
                    <a:pt x="230" y="640"/>
                  </a:lnTo>
                  <a:lnTo>
                    <a:pt x="244" y="640"/>
                  </a:lnTo>
                  <a:lnTo>
                    <a:pt x="252" y="658"/>
                  </a:lnTo>
                  <a:lnTo>
                    <a:pt x="252" y="676"/>
                  </a:lnTo>
                  <a:lnTo>
                    <a:pt x="256" y="676"/>
                  </a:lnTo>
                  <a:lnTo>
                    <a:pt x="272" y="676"/>
                  </a:lnTo>
                  <a:lnTo>
                    <a:pt x="284" y="666"/>
                  </a:lnTo>
                  <a:lnTo>
                    <a:pt x="298" y="658"/>
                  </a:lnTo>
                  <a:lnTo>
                    <a:pt x="312" y="640"/>
                  </a:lnTo>
                  <a:lnTo>
                    <a:pt x="326" y="632"/>
                  </a:lnTo>
                  <a:lnTo>
                    <a:pt x="340" y="632"/>
                  </a:lnTo>
                  <a:lnTo>
                    <a:pt x="360" y="632"/>
                  </a:lnTo>
                  <a:lnTo>
                    <a:pt x="372" y="632"/>
                  </a:lnTo>
                  <a:lnTo>
                    <a:pt x="386" y="640"/>
                  </a:lnTo>
                  <a:lnTo>
                    <a:pt x="406" y="648"/>
                  </a:lnTo>
                  <a:lnTo>
                    <a:pt x="422" y="648"/>
                  </a:lnTo>
                  <a:lnTo>
                    <a:pt x="440" y="648"/>
                  </a:lnTo>
                  <a:lnTo>
                    <a:pt x="452" y="648"/>
                  </a:lnTo>
                  <a:lnTo>
                    <a:pt x="466" y="648"/>
                  </a:lnTo>
                  <a:lnTo>
                    <a:pt x="488" y="640"/>
                  </a:lnTo>
                  <a:lnTo>
                    <a:pt x="502" y="640"/>
                  </a:lnTo>
                  <a:lnTo>
                    <a:pt x="514" y="632"/>
                  </a:lnTo>
                  <a:lnTo>
                    <a:pt x="514" y="648"/>
                  </a:lnTo>
                  <a:lnTo>
                    <a:pt x="514" y="666"/>
                  </a:lnTo>
                  <a:lnTo>
                    <a:pt x="514" y="684"/>
                  </a:lnTo>
                  <a:lnTo>
                    <a:pt x="528" y="684"/>
                  </a:lnTo>
                  <a:lnTo>
                    <a:pt x="542" y="684"/>
                  </a:lnTo>
                  <a:lnTo>
                    <a:pt x="548" y="666"/>
                  </a:lnTo>
                  <a:lnTo>
                    <a:pt x="542" y="648"/>
                  </a:lnTo>
                  <a:lnTo>
                    <a:pt x="548" y="632"/>
                  </a:lnTo>
                  <a:lnTo>
                    <a:pt x="562" y="614"/>
                  </a:lnTo>
                  <a:lnTo>
                    <a:pt x="568" y="596"/>
                  </a:lnTo>
                  <a:lnTo>
                    <a:pt x="582" y="580"/>
                  </a:lnTo>
                  <a:lnTo>
                    <a:pt x="590" y="562"/>
                  </a:lnTo>
                  <a:lnTo>
                    <a:pt x="596" y="544"/>
                  </a:lnTo>
                  <a:lnTo>
                    <a:pt x="610" y="544"/>
                  </a:lnTo>
                  <a:lnTo>
                    <a:pt x="624" y="536"/>
                  </a:lnTo>
                  <a:lnTo>
                    <a:pt x="638" y="526"/>
                  </a:lnTo>
                  <a:lnTo>
                    <a:pt x="638" y="510"/>
                  </a:lnTo>
                  <a:lnTo>
                    <a:pt x="650" y="492"/>
                  </a:lnTo>
                  <a:lnTo>
                    <a:pt x="662" y="484"/>
                  </a:lnTo>
                  <a:lnTo>
                    <a:pt x="678" y="484"/>
                  </a:lnTo>
                  <a:lnTo>
                    <a:pt x="684" y="468"/>
                  </a:lnTo>
                  <a:lnTo>
                    <a:pt x="684" y="450"/>
                  </a:lnTo>
                  <a:lnTo>
                    <a:pt x="690" y="432"/>
                  </a:lnTo>
                  <a:lnTo>
                    <a:pt x="704" y="416"/>
                  </a:lnTo>
                  <a:lnTo>
                    <a:pt x="704" y="398"/>
                  </a:lnTo>
                  <a:lnTo>
                    <a:pt x="704" y="380"/>
                  </a:lnTo>
                  <a:lnTo>
                    <a:pt x="710" y="362"/>
                  </a:lnTo>
                  <a:lnTo>
                    <a:pt x="710" y="346"/>
                  </a:lnTo>
                  <a:lnTo>
                    <a:pt x="704" y="328"/>
                  </a:lnTo>
                  <a:lnTo>
                    <a:pt x="704" y="310"/>
                  </a:lnTo>
                  <a:lnTo>
                    <a:pt x="704" y="294"/>
                  </a:lnTo>
                  <a:lnTo>
                    <a:pt x="704" y="278"/>
                  </a:lnTo>
                  <a:lnTo>
                    <a:pt x="710" y="258"/>
                  </a:lnTo>
                  <a:lnTo>
                    <a:pt x="704" y="242"/>
                  </a:lnTo>
                  <a:lnTo>
                    <a:pt x="704" y="224"/>
                  </a:lnTo>
                  <a:lnTo>
                    <a:pt x="704" y="206"/>
                  </a:lnTo>
                  <a:lnTo>
                    <a:pt x="710" y="198"/>
                  </a:lnTo>
                  <a:lnTo>
                    <a:pt x="718" y="180"/>
                  </a:lnTo>
                  <a:lnTo>
                    <a:pt x="724" y="164"/>
                  </a:lnTo>
                  <a:lnTo>
                    <a:pt x="740" y="146"/>
                  </a:lnTo>
                  <a:lnTo>
                    <a:pt x="740" y="146"/>
                  </a:lnTo>
                  <a:lnTo>
                    <a:pt x="726" y="146"/>
                  </a:lnTo>
                  <a:lnTo>
                    <a:pt x="706" y="146"/>
                  </a:lnTo>
                  <a:lnTo>
                    <a:pt x="686" y="156"/>
                  </a:lnTo>
                  <a:lnTo>
                    <a:pt x="664" y="156"/>
                  </a:lnTo>
                  <a:lnTo>
                    <a:pt x="646" y="156"/>
                  </a:lnTo>
                  <a:lnTo>
                    <a:pt x="624" y="156"/>
                  </a:lnTo>
                  <a:lnTo>
                    <a:pt x="604" y="146"/>
                  </a:lnTo>
                  <a:lnTo>
                    <a:pt x="584" y="146"/>
                  </a:lnTo>
                  <a:lnTo>
                    <a:pt x="556" y="146"/>
                  </a:lnTo>
                  <a:lnTo>
                    <a:pt x="536" y="146"/>
                  </a:lnTo>
                  <a:lnTo>
                    <a:pt x="516" y="146"/>
                  </a:lnTo>
                  <a:lnTo>
                    <a:pt x="502" y="146"/>
                  </a:lnTo>
                  <a:lnTo>
                    <a:pt x="482" y="146"/>
                  </a:lnTo>
                  <a:lnTo>
                    <a:pt x="462" y="146"/>
                  </a:lnTo>
                  <a:lnTo>
                    <a:pt x="436" y="146"/>
                  </a:lnTo>
                  <a:lnTo>
                    <a:pt x="414" y="146"/>
                  </a:lnTo>
                  <a:lnTo>
                    <a:pt x="394" y="146"/>
                  </a:lnTo>
                  <a:lnTo>
                    <a:pt x="374" y="146"/>
                  </a:lnTo>
                  <a:lnTo>
                    <a:pt x="354" y="138"/>
                  </a:lnTo>
                  <a:lnTo>
                    <a:pt x="340" y="138"/>
                  </a:lnTo>
                  <a:lnTo>
                    <a:pt x="326" y="146"/>
                  </a:lnTo>
                  <a:lnTo>
                    <a:pt x="314" y="138"/>
                  </a:lnTo>
                  <a:lnTo>
                    <a:pt x="306" y="122"/>
                  </a:lnTo>
                  <a:lnTo>
                    <a:pt x="292" y="122"/>
                  </a:lnTo>
                  <a:lnTo>
                    <a:pt x="286" y="104"/>
                  </a:lnTo>
                  <a:lnTo>
                    <a:pt x="272" y="86"/>
                  </a:lnTo>
                  <a:lnTo>
                    <a:pt x="258" y="86"/>
                  </a:lnTo>
                  <a:lnTo>
                    <a:pt x="252" y="70"/>
                  </a:lnTo>
                  <a:lnTo>
                    <a:pt x="252" y="52"/>
                  </a:lnTo>
                  <a:lnTo>
                    <a:pt x="244" y="34"/>
                  </a:lnTo>
                  <a:lnTo>
                    <a:pt x="238" y="16"/>
                  </a:lnTo>
                  <a:lnTo>
                    <a:pt x="232" y="8"/>
                  </a:lnTo>
                  <a:lnTo>
                    <a:pt x="230"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4" name="Freeform 53">
              <a:extLst>
                <a:ext uri="{FF2B5EF4-FFF2-40B4-BE49-F238E27FC236}">
                  <a16:creationId xmlns:a16="http://schemas.microsoft.com/office/drawing/2014/main" id="{54D2BDC5-94CD-4966-8C9E-71EB3178FC4E}"/>
                </a:ext>
              </a:extLst>
            </p:cNvPr>
            <p:cNvSpPr>
              <a:spLocks/>
            </p:cNvSpPr>
            <p:nvPr/>
          </p:nvSpPr>
          <p:spPr bwMode="auto">
            <a:xfrm>
              <a:off x="1721117" y="2967373"/>
              <a:ext cx="1106167" cy="1022457"/>
            </a:xfrm>
            <a:custGeom>
              <a:avLst/>
              <a:gdLst>
                <a:gd name="T0" fmla="*/ 210 w 740"/>
                <a:gd name="T1" fmla="*/ 34 h 684"/>
                <a:gd name="T2" fmla="*/ 196 w 740"/>
                <a:gd name="T3" fmla="*/ 76 h 684"/>
                <a:gd name="T4" fmla="*/ 142 w 740"/>
                <a:gd name="T5" fmla="*/ 86 h 684"/>
                <a:gd name="T6" fmla="*/ 88 w 740"/>
                <a:gd name="T7" fmla="*/ 76 h 684"/>
                <a:gd name="T8" fmla="*/ 34 w 740"/>
                <a:gd name="T9" fmla="*/ 86 h 684"/>
                <a:gd name="T10" fmla="*/ 0 w 740"/>
                <a:gd name="T11" fmla="*/ 86 h 684"/>
                <a:gd name="T12" fmla="*/ 0 w 740"/>
                <a:gd name="T13" fmla="*/ 114 h 684"/>
                <a:gd name="T14" fmla="*/ 8 w 740"/>
                <a:gd name="T15" fmla="*/ 164 h 684"/>
                <a:gd name="T16" fmla="*/ 22 w 740"/>
                <a:gd name="T17" fmla="*/ 218 h 684"/>
                <a:gd name="T18" fmla="*/ 62 w 740"/>
                <a:gd name="T19" fmla="*/ 242 h 684"/>
                <a:gd name="T20" fmla="*/ 96 w 740"/>
                <a:gd name="T21" fmla="*/ 250 h 684"/>
                <a:gd name="T22" fmla="*/ 102 w 740"/>
                <a:gd name="T23" fmla="*/ 286 h 684"/>
                <a:gd name="T24" fmla="*/ 118 w 740"/>
                <a:gd name="T25" fmla="*/ 338 h 684"/>
                <a:gd name="T26" fmla="*/ 88 w 740"/>
                <a:gd name="T27" fmla="*/ 372 h 684"/>
                <a:gd name="T28" fmla="*/ 62 w 740"/>
                <a:gd name="T29" fmla="*/ 416 h 684"/>
                <a:gd name="T30" fmla="*/ 82 w 740"/>
                <a:gd name="T31" fmla="*/ 442 h 684"/>
                <a:gd name="T32" fmla="*/ 74 w 740"/>
                <a:gd name="T33" fmla="*/ 502 h 684"/>
                <a:gd name="T34" fmla="*/ 82 w 740"/>
                <a:gd name="T35" fmla="*/ 552 h 684"/>
                <a:gd name="T36" fmla="*/ 134 w 740"/>
                <a:gd name="T37" fmla="*/ 562 h 684"/>
                <a:gd name="T38" fmla="*/ 176 w 740"/>
                <a:gd name="T39" fmla="*/ 572 h 684"/>
                <a:gd name="T40" fmla="*/ 210 w 740"/>
                <a:gd name="T41" fmla="*/ 596 h 684"/>
                <a:gd name="T42" fmla="*/ 230 w 740"/>
                <a:gd name="T43" fmla="*/ 640 h 684"/>
                <a:gd name="T44" fmla="*/ 252 w 740"/>
                <a:gd name="T45" fmla="*/ 676 h 684"/>
                <a:gd name="T46" fmla="*/ 284 w 740"/>
                <a:gd name="T47" fmla="*/ 666 h 684"/>
                <a:gd name="T48" fmla="*/ 326 w 740"/>
                <a:gd name="T49" fmla="*/ 632 h 684"/>
                <a:gd name="T50" fmla="*/ 372 w 740"/>
                <a:gd name="T51" fmla="*/ 632 h 684"/>
                <a:gd name="T52" fmla="*/ 422 w 740"/>
                <a:gd name="T53" fmla="*/ 648 h 684"/>
                <a:gd name="T54" fmla="*/ 466 w 740"/>
                <a:gd name="T55" fmla="*/ 648 h 684"/>
                <a:gd name="T56" fmla="*/ 514 w 740"/>
                <a:gd name="T57" fmla="*/ 632 h 684"/>
                <a:gd name="T58" fmla="*/ 514 w 740"/>
                <a:gd name="T59" fmla="*/ 684 h 684"/>
                <a:gd name="T60" fmla="*/ 548 w 740"/>
                <a:gd name="T61" fmla="*/ 666 h 684"/>
                <a:gd name="T62" fmla="*/ 562 w 740"/>
                <a:gd name="T63" fmla="*/ 614 h 684"/>
                <a:gd name="T64" fmla="*/ 590 w 740"/>
                <a:gd name="T65" fmla="*/ 562 h 684"/>
                <a:gd name="T66" fmla="*/ 624 w 740"/>
                <a:gd name="T67" fmla="*/ 536 h 684"/>
                <a:gd name="T68" fmla="*/ 650 w 740"/>
                <a:gd name="T69" fmla="*/ 492 h 684"/>
                <a:gd name="T70" fmla="*/ 684 w 740"/>
                <a:gd name="T71" fmla="*/ 468 h 684"/>
                <a:gd name="T72" fmla="*/ 704 w 740"/>
                <a:gd name="T73" fmla="*/ 416 h 684"/>
                <a:gd name="T74" fmla="*/ 710 w 740"/>
                <a:gd name="T75" fmla="*/ 362 h 684"/>
                <a:gd name="T76" fmla="*/ 704 w 740"/>
                <a:gd name="T77" fmla="*/ 310 h 684"/>
                <a:gd name="T78" fmla="*/ 710 w 740"/>
                <a:gd name="T79" fmla="*/ 258 h 684"/>
                <a:gd name="T80" fmla="*/ 704 w 740"/>
                <a:gd name="T81" fmla="*/ 206 h 684"/>
                <a:gd name="T82" fmla="*/ 724 w 740"/>
                <a:gd name="T83" fmla="*/ 164 h 684"/>
                <a:gd name="T84" fmla="*/ 726 w 740"/>
                <a:gd name="T85" fmla="*/ 146 h 684"/>
                <a:gd name="T86" fmla="*/ 664 w 740"/>
                <a:gd name="T87" fmla="*/ 156 h 684"/>
                <a:gd name="T88" fmla="*/ 604 w 740"/>
                <a:gd name="T89" fmla="*/ 146 h 684"/>
                <a:gd name="T90" fmla="*/ 536 w 740"/>
                <a:gd name="T91" fmla="*/ 146 h 684"/>
                <a:gd name="T92" fmla="*/ 482 w 740"/>
                <a:gd name="T93" fmla="*/ 146 h 684"/>
                <a:gd name="T94" fmla="*/ 414 w 740"/>
                <a:gd name="T95" fmla="*/ 146 h 684"/>
                <a:gd name="T96" fmla="*/ 354 w 740"/>
                <a:gd name="T97" fmla="*/ 138 h 684"/>
                <a:gd name="T98" fmla="*/ 314 w 740"/>
                <a:gd name="T99" fmla="*/ 138 h 684"/>
                <a:gd name="T100" fmla="*/ 286 w 740"/>
                <a:gd name="T101" fmla="*/ 104 h 684"/>
                <a:gd name="T102" fmla="*/ 252 w 740"/>
                <a:gd name="T103" fmla="*/ 70 h 684"/>
                <a:gd name="T104" fmla="*/ 238 w 740"/>
                <a:gd name="T105" fmla="*/ 16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0" h="684">
                  <a:moveTo>
                    <a:pt x="230" y="0"/>
                  </a:moveTo>
                  <a:lnTo>
                    <a:pt x="214" y="16"/>
                  </a:lnTo>
                  <a:lnTo>
                    <a:pt x="210" y="34"/>
                  </a:lnTo>
                  <a:lnTo>
                    <a:pt x="202" y="52"/>
                  </a:lnTo>
                  <a:lnTo>
                    <a:pt x="202" y="70"/>
                  </a:lnTo>
                  <a:lnTo>
                    <a:pt x="196" y="76"/>
                  </a:lnTo>
                  <a:lnTo>
                    <a:pt x="182" y="76"/>
                  </a:lnTo>
                  <a:lnTo>
                    <a:pt x="162" y="86"/>
                  </a:lnTo>
                  <a:lnTo>
                    <a:pt x="142" y="86"/>
                  </a:lnTo>
                  <a:lnTo>
                    <a:pt x="128" y="86"/>
                  </a:lnTo>
                  <a:lnTo>
                    <a:pt x="108" y="76"/>
                  </a:lnTo>
                  <a:lnTo>
                    <a:pt x="88" y="76"/>
                  </a:lnTo>
                  <a:lnTo>
                    <a:pt x="68" y="86"/>
                  </a:lnTo>
                  <a:lnTo>
                    <a:pt x="54" y="86"/>
                  </a:lnTo>
                  <a:lnTo>
                    <a:pt x="34" y="86"/>
                  </a:lnTo>
                  <a:lnTo>
                    <a:pt x="20" y="86"/>
                  </a:lnTo>
                  <a:lnTo>
                    <a:pt x="8" y="86"/>
                  </a:lnTo>
                  <a:lnTo>
                    <a:pt x="0" y="86"/>
                  </a:lnTo>
                  <a:lnTo>
                    <a:pt x="0" y="86"/>
                  </a:lnTo>
                  <a:lnTo>
                    <a:pt x="0" y="94"/>
                  </a:lnTo>
                  <a:lnTo>
                    <a:pt x="0" y="114"/>
                  </a:lnTo>
                  <a:lnTo>
                    <a:pt x="8" y="130"/>
                  </a:lnTo>
                  <a:lnTo>
                    <a:pt x="14" y="148"/>
                  </a:lnTo>
                  <a:lnTo>
                    <a:pt x="8" y="164"/>
                  </a:lnTo>
                  <a:lnTo>
                    <a:pt x="0" y="182"/>
                  </a:lnTo>
                  <a:lnTo>
                    <a:pt x="8" y="198"/>
                  </a:lnTo>
                  <a:lnTo>
                    <a:pt x="22" y="218"/>
                  </a:lnTo>
                  <a:lnTo>
                    <a:pt x="36" y="224"/>
                  </a:lnTo>
                  <a:lnTo>
                    <a:pt x="48" y="234"/>
                  </a:lnTo>
                  <a:lnTo>
                    <a:pt x="62" y="242"/>
                  </a:lnTo>
                  <a:lnTo>
                    <a:pt x="76" y="234"/>
                  </a:lnTo>
                  <a:lnTo>
                    <a:pt x="82" y="250"/>
                  </a:lnTo>
                  <a:lnTo>
                    <a:pt x="96" y="250"/>
                  </a:lnTo>
                  <a:lnTo>
                    <a:pt x="110" y="250"/>
                  </a:lnTo>
                  <a:lnTo>
                    <a:pt x="102" y="268"/>
                  </a:lnTo>
                  <a:lnTo>
                    <a:pt x="102" y="286"/>
                  </a:lnTo>
                  <a:lnTo>
                    <a:pt x="110" y="304"/>
                  </a:lnTo>
                  <a:lnTo>
                    <a:pt x="118" y="320"/>
                  </a:lnTo>
                  <a:lnTo>
                    <a:pt x="118" y="338"/>
                  </a:lnTo>
                  <a:lnTo>
                    <a:pt x="110" y="356"/>
                  </a:lnTo>
                  <a:lnTo>
                    <a:pt x="96" y="364"/>
                  </a:lnTo>
                  <a:lnTo>
                    <a:pt x="88" y="372"/>
                  </a:lnTo>
                  <a:lnTo>
                    <a:pt x="82" y="380"/>
                  </a:lnTo>
                  <a:lnTo>
                    <a:pt x="76" y="398"/>
                  </a:lnTo>
                  <a:lnTo>
                    <a:pt x="62" y="416"/>
                  </a:lnTo>
                  <a:lnTo>
                    <a:pt x="60" y="416"/>
                  </a:lnTo>
                  <a:lnTo>
                    <a:pt x="68" y="422"/>
                  </a:lnTo>
                  <a:lnTo>
                    <a:pt x="82" y="442"/>
                  </a:lnTo>
                  <a:lnTo>
                    <a:pt x="82" y="458"/>
                  </a:lnTo>
                  <a:lnTo>
                    <a:pt x="74" y="474"/>
                  </a:lnTo>
                  <a:lnTo>
                    <a:pt x="74" y="502"/>
                  </a:lnTo>
                  <a:lnTo>
                    <a:pt x="68" y="520"/>
                  </a:lnTo>
                  <a:lnTo>
                    <a:pt x="74" y="536"/>
                  </a:lnTo>
                  <a:lnTo>
                    <a:pt x="82" y="552"/>
                  </a:lnTo>
                  <a:lnTo>
                    <a:pt x="102" y="562"/>
                  </a:lnTo>
                  <a:lnTo>
                    <a:pt x="122" y="562"/>
                  </a:lnTo>
                  <a:lnTo>
                    <a:pt x="134" y="562"/>
                  </a:lnTo>
                  <a:lnTo>
                    <a:pt x="150" y="572"/>
                  </a:lnTo>
                  <a:lnTo>
                    <a:pt x="162" y="572"/>
                  </a:lnTo>
                  <a:lnTo>
                    <a:pt x="176" y="572"/>
                  </a:lnTo>
                  <a:lnTo>
                    <a:pt x="190" y="572"/>
                  </a:lnTo>
                  <a:lnTo>
                    <a:pt x="210" y="580"/>
                  </a:lnTo>
                  <a:lnTo>
                    <a:pt x="210" y="596"/>
                  </a:lnTo>
                  <a:lnTo>
                    <a:pt x="210" y="614"/>
                  </a:lnTo>
                  <a:lnTo>
                    <a:pt x="218" y="632"/>
                  </a:lnTo>
                  <a:lnTo>
                    <a:pt x="230" y="640"/>
                  </a:lnTo>
                  <a:lnTo>
                    <a:pt x="244" y="640"/>
                  </a:lnTo>
                  <a:lnTo>
                    <a:pt x="252" y="658"/>
                  </a:lnTo>
                  <a:lnTo>
                    <a:pt x="252" y="676"/>
                  </a:lnTo>
                  <a:lnTo>
                    <a:pt x="256" y="676"/>
                  </a:lnTo>
                  <a:lnTo>
                    <a:pt x="272" y="676"/>
                  </a:lnTo>
                  <a:lnTo>
                    <a:pt x="284" y="666"/>
                  </a:lnTo>
                  <a:lnTo>
                    <a:pt x="298" y="658"/>
                  </a:lnTo>
                  <a:lnTo>
                    <a:pt x="312" y="640"/>
                  </a:lnTo>
                  <a:lnTo>
                    <a:pt x="326" y="632"/>
                  </a:lnTo>
                  <a:lnTo>
                    <a:pt x="340" y="632"/>
                  </a:lnTo>
                  <a:lnTo>
                    <a:pt x="360" y="632"/>
                  </a:lnTo>
                  <a:lnTo>
                    <a:pt x="372" y="632"/>
                  </a:lnTo>
                  <a:lnTo>
                    <a:pt x="386" y="640"/>
                  </a:lnTo>
                  <a:lnTo>
                    <a:pt x="406" y="648"/>
                  </a:lnTo>
                  <a:lnTo>
                    <a:pt x="422" y="648"/>
                  </a:lnTo>
                  <a:lnTo>
                    <a:pt x="440" y="648"/>
                  </a:lnTo>
                  <a:lnTo>
                    <a:pt x="452" y="648"/>
                  </a:lnTo>
                  <a:lnTo>
                    <a:pt x="466" y="648"/>
                  </a:lnTo>
                  <a:lnTo>
                    <a:pt x="488" y="640"/>
                  </a:lnTo>
                  <a:lnTo>
                    <a:pt x="502" y="640"/>
                  </a:lnTo>
                  <a:lnTo>
                    <a:pt x="514" y="632"/>
                  </a:lnTo>
                  <a:lnTo>
                    <a:pt x="514" y="648"/>
                  </a:lnTo>
                  <a:lnTo>
                    <a:pt x="514" y="666"/>
                  </a:lnTo>
                  <a:lnTo>
                    <a:pt x="514" y="684"/>
                  </a:lnTo>
                  <a:lnTo>
                    <a:pt x="528" y="684"/>
                  </a:lnTo>
                  <a:lnTo>
                    <a:pt x="542" y="684"/>
                  </a:lnTo>
                  <a:lnTo>
                    <a:pt x="548" y="666"/>
                  </a:lnTo>
                  <a:lnTo>
                    <a:pt x="542" y="648"/>
                  </a:lnTo>
                  <a:lnTo>
                    <a:pt x="548" y="632"/>
                  </a:lnTo>
                  <a:lnTo>
                    <a:pt x="562" y="614"/>
                  </a:lnTo>
                  <a:lnTo>
                    <a:pt x="568" y="596"/>
                  </a:lnTo>
                  <a:lnTo>
                    <a:pt x="582" y="580"/>
                  </a:lnTo>
                  <a:lnTo>
                    <a:pt x="590" y="562"/>
                  </a:lnTo>
                  <a:lnTo>
                    <a:pt x="596" y="544"/>
                  </a:lnTo>
                  <a:lnTo>
                    <a:pt x="610" y="544"/>
                  </a:lnTo>
                  <a:lnTo>
                    <a:pt x="624" y="536"/>
                  </a:lnTo>
                  <a:lnTo>
                    <a:pt x="638" y="526"/>
                  </a:lnTo>
                  <a:lnTo>
                    <a:pt x="638" y="510"/>
                  </a:lnTo>
                  <a:lnTo>
                    <a:pt x="650" y="492"/>
                  </a:lnTo>
                  <a:lnTo>
                    <a:pt x="662" y="484"/>
                  </a:lnTo>
                  <a:lnTo>
                    <a:pt x="678" y="484"/>
                  </a:lnTo>
                  <a:lnTo>
                    <a:pt x="684" y="468"/>
                  </a:lnTo>
                  <a:lnTo>
                    <a:pt x="684" y="450"/>
                  </a:lnTo>
                  <a:lnTo>
                    <a:pt x="690" y="432"/>
                  </a:lnTo>
                  <a:lnTo>
                    <a:pt x="704" y="416"/>
                  </a:lnTo>
                  <a:lnTo>
                    <a:pt x="704" y="398"/>
                  </a:lnTo>
                  <a:lnTo>
                    <a:pt x="704" y="380"/>
                  </a:lnTo>
                  <a:lnTo>
                    <a:pt x="710" y="362"/>
                  </a:lnTo>
                  <a:lnTo>
                    <a:pt x="710" y="346"/>
                  </a:lnTo>
                  <a:lnTo>
                    <a:pt x="704" y="328"/>
                  </a:lnTo>
                  <a:lnTo>
                    <a:pt x="704" y="310"/>
                  </a:lnTo>
                  <a:lnTo>
                    <a:pt x="704" y="294"/>
                  </a:lnTo>
                  <a:lnTo>
                    <a:pt x="704" y="278"/>
                  </a:lnTo>
                  <a:lnTo>
                    <a:pt x="710" y="258"/>
                  </a:lnTo>
                  <a:lnTo>
                    <a:pt x="704" y="242"/>
                  </a:lnTo>
                  <a:lnTo>
                    <a:pt x="704" y="224"/>
                  </a:lnTo>
                  <a:lnTo>
                    <a:pt x="704" y="206"/>
                  </a:lnTo>
                  <a:lnTo>
                    <a:pt x="710" y="198"/>
                  </a:lnTo>
                  <a:lnTo>
                    <a:pt x="718" y="180"/>
                  </a:lnTo>
                  <a:lnTo>
                    <a:pt x="724" y="164"/>
                  </a:lnTo>
                  <a:lnTo>
                    <a:pt x="740" y="146"/>
                  </a:lnTo>
                  <a:lnTo>
                    <a:pt x="740" y="146"/>
                  </a:lnTo>
                  <a:lnTo>
                    <a:pt x="726" y="146"/>
                  </a:lnTo>
                  <a:lnTo>
                    <a:pt x="706" y="146"/>
                  </a:lnTo>
                  <a:lnTo>
                    <a:pt x="686" y="156"/>
                  </a:lnTo>
                  <a:lnTo>
                    <a:pt x="664" y="156"/>
                  </a:lnTo>
                  <a:lnTo>
                    <a:pt x="646" y="156"/>
                  </a:lnTo>
                  <a:lnTo>
                    <a:pt x="624" y="156"/>
                  </a:lnTo>
                  <a:lnTo>
                    <a:pt x="604" y="146"/>
                  </a:lnTo>
                  <a:lnTo>
                    <a:pt x="584" y="146"/>
                  </a:lnTo>
                  <a:lnTo>
                    <a:pt x="556" y="146"/>
                  </a:lnTo>
                  <a:lnTo>
                    <a:pt x="536" y="146"/>
                  </a:lnTo>
                  <a:lnTo>
                    <a:pt x="516" y="146"/>
                  </a:lnTo>
                  <a:lnTo>
                    <a:pt x="502" y="146"/>
                  </a:lnTo>
                  <a:lnTo>
                    <a:pt x="482" y="146"/>
                  </a:lnTo>
                  <a:lnTo>
                    <a:pt x="462" y="146"/>
                  </a:lnTo>
                  <a:lnTo>
                    <a:pt x="436" y="146"/>
                  </a:lnTo>
                  <a:lnTo>
                    <a:pt x="414" y="146"/>
                  </a:lnTo>
                  <a:lnTo>
                    <a:pt x="394" y="146"/>
                  </a:lnTo>
                  <a:lnTo>
                    <a:pt x="374" y="146"/>
                  </a:lnTo>
                  <a:lnTo>
                    <a:pt x="354" y="138"/>
                  </a:lnTo>
                  <a:lnTo>
                    <a:pt x="340" y="138"/>
                  </a:lnTo>
                  <a:lnTo>
                    <a:pt x="326" y="146"/>
                  </a:lnTo>
                  <a:lnTo>
                    <a:pt x="314" y="138"/>
                  </a:lnTo>
                  <a:lnTo>
                    <a:pt x="306" y="122"/>
                  </a:lnTo>
                  <a:lnTo>
                    <a:pt x="292" y="122"/>
                  </a:lnTo>
                  <a:lnTo>
                    <a:pt x="286" y="104"/>
                  </a:lnTo>
                  <a:lnTo>
                    <a:pt x="272" y="86"/>
                  </a:lnTo>
                  <a:lnTo>
                    <a:pt x="258" y="86"/>
                  </a:lnTo>
                  <a:lnTo>
                    <a:pt x="252" y="70"/>
                  </a:lnTo>
                  <a:lnTo>
                    <a:pt x="252" y="52"/>
                  </a:lnTo>
                  <a:lnTo>
                    <a:pt x="244" y="34"/>
                  </a:lnTo>
                  <a:lnTo>
                    <a:pt x="238" y="16"/>
                  </a:lnTo>
                  <a:lnTo>
                    <a:pt x="232" y="8"/>
                  </a:lnTo>
                  <a:lnTo>
                    <a:pt x="230" y="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5" name="Freeform 59">
              <a:extLst>
                <a:ext uri="{FF2B5EF4-FFF2-40B4-BE49-F238E27FC236}">
                  <a16:creationId xmlns:a16="http://schemas.microsoft.com/office/drawing/2014/main" id="{01BB61A7-4133-403F-A2EA-33E228CD17D3}"/>
                </a:ext>
              </a:extLst>
            </p:cNvPr>
            <p:cNvSpPr>
              <a:spLocks/>
            </p:cNvSpPr>
            <p:nvPr/>
          </p:nvSpPr>
          <p:spPr bwMode="auto">
            <a:xfrm>
              <a:off x="3966337" y="2707274"/>
              <a:ext cx="343809" cy="233192"/>
            </a:xfrm>
            <a:custGeom>
              <a:avLst/>
              <a:gdLst>
                <a:gd name="T0" fmla="*/ 230 w 230"/>
                <a:gd name="T1" fmla="*/ 130 h 156"/>
                <a:gd name="T2" fmla="*/ 230 w 230"/>
                <a:gd name="T3" fmla="*/ 120 h 156"/>
                <a:gd name="T4" fmla="*/ 230 w 230"/>
                <a:gd name="T5" fmla="*/ 104 h 156"/>
                <a:gd name="T6" fmla="*/ 230 w 230"/>
                <a:gd name="T7" fmla="*/ 86 h 156"/>
                <a:gd name="T8" fmla="*/ 222 w 230"/>
                <a:gd name="T9" fmla="*/ 70 h 156"/>
                <a:gd name="T10" fmla="*/ 216 w 230"/>
                <a:gd name="T11" fmla="*/ 52 h 156"/>
                <a:gd name="T12" fmla="*/ 204 w 230"/>
                <a:gd name="T13" fmla="*/ 42 h 156"/>
                <a:gd name="T14" fmla="*/ 190 w 230"/>
                <a:gd name="T15" fmla="*/ 34 h 156"/>
                <a:gd name="T16" fmla="*/ 176 w 230"/>
                <a:gd name="T17" fmla="*/ 34 h 156"/>
                <a:gd name="T18" fmla="*/ 162 w 230"/>
                <a:gd name="T19" fmla="*/ 26 h 156"/>
                <a:gd name="T20" fmla="*/ 148 w 230"/>
                <a:gd name="T21" fmla="*/ 26 h 156"/>
                <a:gd name="T22" fmla="*/ 134 w 230"/>
                <a:gd name="T23" fmla="*/ 26 h 156"/>
                <a:gd name="T24" fmla="*/ 120 w 230"/>
                <a:gd name="T25" fmla="*/ 26 h 156"/>
                <a:gd name="T26" fmla="*/ 108 w 230"/>
                <a:gd name="T27" fmla="*/ 26 h 156"/>
                <a:gd name="T28" fmla="*/ 94 w 230"/>
                <a:gd name="T29" fmla="*/ 8 h 156"/>
                <a:gd name="T30" fmla="*/ 88 w 230"/>
                <a:gd name="T31" fmla="*/ 0 h 156"/>
                <a:gd name="T32" fmla="*/ 74 w 230"/>
                <a:gd name="T33" fmla="*/ 8 h 156"/>
                <a:gd name="T34" fmla="*/ 60 w 230"/>
                <a:gd name="T35" fmla="*/ 16 h 156"/>
                <a:gd name="T36" fmla="*/ 52 w 230"/>
                <a:gd name="T37" fmla="*/ 34 h 156"/>
                <a:gd name="T38" fmla="*/ 46 w 230"/>
                <a:gd name="T39" fmla="*/ 52 h 156"/>
                <a:gd name="T40" fmla="*/ 38 w 230"/>
                <a:gd name="T41" fmla="*/ 70 h 156"/>
                <a:gd name="T42" fmla="*/ 26 w 230"/>
                <a:gd name="T43" fmla="*/ 70 h 156"/>
                <a:gd name="T44" fmla="*/ 14 w 230"/>
                <a:gd name="T45" fmla="*/ 78 h 156"/>
                <a:gd name="T46" fmla="*/ 0 w 230"/>
                <a:gd name="T47" fmla="*/ 94 h 156"/>
                <a:gd name="T48" fmla="*/ 14 w 230"/>
                <a:gd name="T49" fmla="*/ 112 h 156"/>
                <a:gd name="T50" fmla="*/ 26 w 230"/>
                <a:gd name="T51" fmla="*/ 120 h 156"/>
                <a:gd name="T52" fmla="*/ 38 w 230"/>
                <a:gd name="T53" fmla="*/ 112 h 156"/>
                <a:gd name="T54" fmla="*/ 52 w 230"/>
                <a:gd name="T55" fmla="*/ 112 h 156"/>
                <a:gd name="T56" fmla="*/ 66 w 230"/>
                <a:gd name="T57" fmla="*/ 104 h 156"/>
                <a:gd name="T58" fmla="*/ 80 w 230"/>
                <a:gd name="T59" fmla="*/ 94 h 156"/>
                <a:gd name="T60" fmla="*/ 88 w 230"/>
                <a:gd name="T61" fmla="*/ 112 h 156"/>
                <a:gd name="T62" fmla="*/ 74 w 230"/>
                <a:gd name="T63" fmla="*/ 120 h 156"/>
                <a:gd name="T64" fmla="*/ 74 w 230"/>
                <a:gd name="T65" fmla="*/ 138 h 156"/>
                <a:gd name="T66" fmla="*/ 88 w 230"/>
                <a:gd name="T67" fmla="*/ 148 h 156"/>
                <a:gd name="T68" fmla="*/ 102 w 230"/>
                <a:gd name="T69" fmla="*/ 138 h 156"/>
                <a:gd name="T70" fmla="*/ 114 w 230"/>
                <a:gd name="T71" fmla="*/ 148 h 156"/>
                <a:gd name="T72" fmla="*/ 128 w 230"/>
                <a:gd name="T73" fmla="*/ 156 h 156"/>
                <a:gd name="T74" fmla="*/ 134 w 230"/>
                <a:gd name="T75" fmla="*/ 148 h 156"/>
                <a:gd name="T76" fmla="*/ 134 w 230"/>
                <a:gd name="T77" fmla="*/ 130 h 156"/>
                <a:gd name="T78" fmla="*/ 148 w 230"/>
                <a:gd name="T79" fmla="*/ 120 h 156"/>
                <a:gd name="T80" fmla="*/ 162 w 230"/>
                <a:gd name="T81" fmla="*/ 130 h 156"/>
                <a:gd name="T82" fmla="*/ 176 w 230"/>
                <a:gd name="T83" fmla="*/ 130 h 156"/>
                <a:gd name="T84" fmla="*/ 190 w 230"/>
                <a:gd name="T85" fmla="*/ 120 h 156"/>
                <a:gd name="T86" fmla="*/ 204 w 230"/>
                <a:gd name="T87" fmla="*/ 138 h 156"/>
                <a:gd name="T88" fmla="*/ 216 w 230"/>
                <a:gd name="T89" fmla="*/ 138 h 156"/>
                <a:gd name="T90" fmla="*/ 230 w 230"/>
                <a:gd name="T91" fmla="*/ 13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56">
                  <a:moveTo>
                    <a:pt x="230" y="130"/>
                  </a:moveTo>
                  <a:lnTo>
                    <a:pt x="230" y="120"/>
                  </a:lnTo>
                  <a:lnTo>
                    <a:pt x="230" y="104"/>
                  </a:lnTo>
                  <a:lnTo>
                    <a:pt x="230" y="86"/>
                  </a:lnTo>
                  <a:lnTo>
                    <a:pt x="222" y="70"/>
                  </a:lnTo>
                  <a:lnTo>
                    <a:pt x="216" y="52"/>
                  </a:lnTo>
                  <a:lnTo>
                    <a:pt x="204" y="42"/>
                  </a:lnTo>
                  <a:lnTo>
                    <a:pt x="190" y="34"/>
                  </a:lnTo>
                  <a:lnTo>
                    <a:pt x="176" y="34"/>
                  </a:lnTo>
                  <a:lnTo>
                    <a:pt x="162" y="26"/>
                  </a:lnTo>
                  <a:lnTo>
                    <a:pt x="148" y="26"/>
                  </a:lnTo>
                  <a:lnTo>
                    <a:pt x="134" y="26"/>
                  </a:lnTo>
                  <a:lnTo>
                    <a:pt x="120" y="26"/>
                  </a:lnTo>
                  <a:lnTo>
                    <a:pt x="108" y="26"/>
                  </a:lnTo>
                  <a:lnTo>
                    <a:pt x="94" y="8"/>
                  </a:lnTo>
                  <a:lnTo>
                    <a:pt x="88" y="0"/>
                  </a:lnTo>
                  <a:lnTo>
                    <a:pt x="74" y="8"/>
                  </a:lnTo>
                  <a:lnTo>
                    <a:pt x="60" y="16"/>
                  </a:lnTo>
                  <a:lnTo>
                    <a:pt x="52" y="34"/>
                  </a:lnTo>
                  <a:lnTo>
                    <a:pt x="46" y="52"/>
                  </a:lnTo>
                  <a:lnTo>
                    <a:pt x="38" y="70"/>
                  </a:lnTo>
                  <a:lnTo>
                    <a:pt x="26" y="70"/>
                  </a:lnTo>
                  <a:lnTo>
                    <a:pt x="14" y="78"/>
                  </a:lnTo>
                  <a:lnTo>
                    <a:pt x="0" y="94"/>
                  </a:lnTo>
                  <a:lnTo>
                    <a:pt x="14" y="112"/>
                  </a:lnTo>
                  <a:lnTo>
                    <a:pt x="26" y="120"/>
                  </a:lnTo>
                  <a:lnTo>
                    <a:pt x="38" y="112"/>
                  </a:lnTo>
                  <a:lnTo>
                    <a:pt x="52" y="112"/>
                  </a:lnTo>
                  <a:lnTo>
                    <a:pt x="66" y="104"/>
                  </a:lnTo>
                  <a:lnTo>
                    <a:pt x="80" y="94"/>
                  </a:lnTo>
                  <a:lnTo>
                    <a:pt x="88" y="112"/>
                  </a:lnTo>
                  <a:lnTo>
                    <a:pt x="74" y="120"/>
                  </a:lnTo>
                  <a:lnTo>
                    <a:pt x="74" y="138"/>
                  </a:lnTo>
                  <a:lnTo>
                    <a:pt x="88" y="148"/>
                  </a:lnTo>
                  <a:lnTo>
                    <a:pt x="102" y="138"/>
                  </a:lnTo>
                  <a:lnTo>
                    <a:pt x="114" y="148"/>
                  </a:lnTo>
                  <a:lnTo>
                    <a:pt x="128" y="156"/>
                  </a:lnTo>
                  <a:lnTo>
                    <a:pt x="134" y="148"/>
                  </a:lnTo>
                  <a:lnTo>
                    <a:pt x="134" y="130"/>
                  </a:lnTo>
                  <a:lnTo>
                    <a:pt x="148" y="120"/>
                  </a:lnTo>
                  <a:lnTo>
                    <a:pt x="162" y="130"/>
                  </a:lnTo>
                  <a:lnTo>
                    <a:pt x="176" y="130"/>
                  </a:lnTo>
                  <a:lnTo>
                    <a:pt x="190" y="120"/>
                  </a:lnTo>
                  <a:lnTo>
                    <a:pt x="204" y="138"/>
                  </a:lnTo>
                  <a:lnTo>
                    <a:pt x="216" y="138"/>
                  </a:lnTo>
                  <a:lnTo>
                    <a:pt x="230" y="13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Freeform 62">
              <a:extLst>
                <a:ext uri="{FF2B5EF4-FFF2-40B4-BE49-F238E27FC236}">
                  <a16:creationId xmlns:a16="http://schemas.microsoft.com/office/drawing/2014/main" id="{02D30EC0-D71E-47B6-9FBE-9B297249B8F0}"/>
                </a:ext>
              </a:extLst>
            </p:cNvPr>
            <p:cNvSpPr>
              <a:spLocks/>
            </p:cNvSpPr>
            <p:nvPr/>
          </p:nvSpPr>
          <p:spPr bwMode="auto">
            <a:xfrm>
              <a:off x="3993244" y="3131803"/>
              <a:ext cx="307933" cy="263088"/>
            </a:xfrm>
            <a:custGeom>
              <a:avLst/>
              <a:gdLst>
                <a:gd name="T0" fmla="*/ 2 w 206"/>
                <a:gd name="T1" fmla="*/ 28 h 176"/>
                <a:gd name="T2" fmla="*/ 16 w 206"/>
                <a:gd name="T3" fmla="*/ 8 h 176"/>
                <a:gd name="T4" fmla="*/ 28 w 206"/>
                <a:gd name="T5" fmla="*/ 8 h 176"/>
                <a:gd name="T6" fmla="*/ 42 w 206"/>
                <a:gd name="T7" fmla="*/ 8 h 176"/>
                <a:gd name="T8" fmla="*/ 56 w 206"/>
                <a:gd name="T9" fmla="*/ 28 h 176"/>
                <a:gd name="T10" fmla="*/ 70 w 206"/>
                <a:gd name="T11" fmla="*/ 36 h 176"/>
                <a:gd name="T12" fmla="*/ 84 w 206"/>
                <a:gd name="T13" fmla="*/ 36 h 176"/>
                <a:gd name="T14" fmla="*/ 98 w 206"/>
                <a:gd name="T15" fmla="*/ 36 h 176"/>
                <a:gd name="T16" fmla="*/ 112 w 206"/>
                <a:gd name="T17" fmla="*/ 36 h 176"/>
                <a:gd name="T18" fmla="*/ 124 w 206"/>
                <a:gd name="T19" fmla="*/ 28 h 176"/>
                <a:gd name="T20" fmla="*/ 138 w 206"/>
                <a:gd name="T21" fmla="*/ 18 h 176"/>
                <a:gd name="T22" fmla="*/ 150 w 206"/>
                <a:gd name="T23" fmla="*/ 0 h 176"/>
                <a:gd name="T24" fmla="*/ 164 w 206"/>
                <a:gd name="T25" fmla="*/ 0 h 176"/>
                <a:gd name="T26" fmla="*/ 178 w 206"/>
                <a:gd name="T27" fmla="*/ 0 h 176"/>
                <a:gd name="T28" fmla="*/ 192 w 206"/>
                <a:gd name="T29" fmla="*/ 0 h 176"/>
                <a:gd name="T30" fmla="*/ 206 w 206"/>
                <a:gd name="T31" fmla="*/ 8 h 176"/>
                <a:gd name="T32" fmla="*/ 204 w 206"/>
                <a:gd name="T33" fmla="*/ 12 h 176"/>
                <a:gd name="T34" fmla="*/ 200 w 206"/>
                <a:gd name="T35" fmla="*/ 18 h 176"/>
                <a:gd name="T36" fmla="*/ 186 w 206"/>
                <a:gd name="T37" fmla="*/ 38 h 176"/>
                <a:gd name="T38" fmla="*/ 172 w 206"/>
                <a:gd name="T39" fmla="*/ 54 h 176"/>
                <a:gd name="T40" fmla="*/ 158 w 206"/>
                <a:gd name="T41" fmla="*/ 64 h 176"/>
                <a:gd name="T42" fmla="*/ 144 w 206"/>
                <a:gd name="T43" fmla="*/ 82 h 176"/>
                <a:gd name="T44" fmla="*/ 130 w 206"/>
                <a:gd name="T45" fmla="*/ 90 h 176"/>
                <a:gd name="T46" fmla="*/ 124 w 206"/>
                <a:gd name="T47" fmla="*/ 106 h 176"/>
                <a:gd name="T48" fmla="*/ 110 w 206"/>
                <a:gd name="T49" fmla="*/ 116 h 176"/>
                <a:gd name="T50" fmla="*/ 112 w 206"/>
                <a:gd name="T51" fmla="*/ 118 h 176"/>
                <a:gd name="T52" fmla="*/ 104 w 206"/>
                <a:gd name="T53" fmla="*/ 124 h 176"/>
                <a:gd name="T54" fmla="*/ 90 w 206"/>
                <a:gd name="T55" fmla="*/ 128 h 176"/>
                <a:gd name="T56" fmla="*/ 78 w 206"/>
                <a:gd name="T57" fmla="*/ 140 h 176"/>
                <a:gd name="T58" fmla="*/ 62 w 206"/>
                <a:gd name="T59" fmla="*/ 160 h 176"/>
                <a:gd name="T60" fmla="*/ 56 w 206"/>
                <a:gd name="T61" fmla="*/ 176 h 176"/>
                <a:gd name="T62" fmla="*/ 52 w 206"/>
                <a:gd name="T63" fmla="*/ 176 h 176"/>
                <a:gd name="T64" fmla="*/ 48 w 206"/>
                <a:gd name="T65" fmla="*/ 176 h 176"/>
                <a:gd name="T66" fmla="*/ 34 w 206"/>
                <a:gd name="T67" fmla="*/ 176 h 176"/>
                <a:gd name="T68" fmla="*/ 22 w 206"/>
                <a:gd name="T69" fmla="*/ 168 h 176"/>
                <a:gd name="T70" fmla="*/ 8 w 206"/>
                <a:gd name="T71" fmla="*/ 160 h 176"/>
                <a:gd name="T72" fmla="*/ 0 w 206"/>
                <a:gd name="T73" fmla="*/ 140 h 176"/>
                <a:gd name="T74" fmla="*/ 0 w 206"/>
                <a:gd name="T75" fmla="*/ 124 h 176"/>
                <a:gd name="T76" fmla="*/ 14 w 206"/>
                <a:gd name="T77" fmla="*/ 124 h 176"/>
                <a:gd name="T78" fmla="*/ 22 w 206"/>
                <a:gd name="T79" fmla="*/ 106 h 176"/>
                <a:gd name="T80" fmla="*/ 28 w 206"/>
                <a:gd name="T81" fmla="*/ 90 h 176"/>
                <a:gd name="T82" fmla="*/ 28 w 206"/>
                <a:gd name="T83" fmla="*/ 72 h 176"/>
                <a:gd name="T84" fmla="*/ 14 w 206"/>
                <a:gd name="T85" fmla="*/ 64 h 176"/>
                <a:gd name="T86" fmla="*/ 0 w 206"/>
                <a:gd name="T87" fmla="*/ 32 h 176"/>
                <a:gd name="T88" fmla="*/ 2 w 206"/>
                <a:gd name="T89"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6" h="176">
                  <a:moveTo>
                    <a:pt x="2" y="28"/>
                  </a:moveTo>
                  <a:lnTo>
                    <a:pt x="16" y="8"/>
                  </a:lnTo>
                  <a:lnTo>
                    <a:pt x="28" y="8"/>
                  </a:lnTo>
                  <a:lnTo>
                    <a:pt x="42" y="8"/>
                  </a:lnTo>
                  <a:lnTo>
                    <a:pt x="56" y="28"/>
                  </a:lnTo>
                  <a:lnTo>
                    <a:pt x="70" y="36"/>
                  </a:lnTo>
                  <a:lnTo>
                    <a:pt x="84" y="36"/>
                  </a:lnTo>
                  <a:lnTo>
                    <a:pt x="98" y="36"/>
                  </a:lnTo>
                  <a:lnTo>
                    <a:pt x="112" y="36"/>
                  </a:lnTo>
                  <a:lnTo>
                    <a:pt x="124" y="28"/>
                  </a:lnTo>
                  <a:lnTo>
                    <a:pt x="138" y="18"/>
                  </a:lnTo>
                  <a:lnTo>
                    <a:pt x="150" y="0"/>
                  </a:lnTo>
                  <a:lnTo>
                    <a:pt x="164" y="0"/>
                  </a:lnTo>
                  <a:lnTo>
                    <a:pt x="178" y="0"/>
                  </a:lnTo>
                  <a:lnTo>
                    <a:pt x="192" y="0"/>
                  </a:lnTo>
                  <a:lnTo>
                    <a:pt x="206" y="8"/>
                  </a:lnTo>
                  <a:lnTo>
                    <a:pt x="204" y="12"/>
                  </a:lnTo>
                  <a:lnTo>
                    <a:pt x="200" y="18"/>
                  </a:lnTo>
                  <a:lnTo>
                    <a:pt x="186" y="38"/>
                  </a:lnTo>
                  <a:lnTo>
                    <a:pt x="172" y="54"/>
                  </a:lnTo>
                  <a:lnTo>
                    <a:pt x="158" y="64"/>
                  </a:lnTo>
                  <a:lnTo>
                    <a:pt x="144" y="82"/>
                  </a:lnTo>
                  <a:lnTo>
                    <a:pt x="130" y="90"/>
                  </a:lnTo>
                  <a:lnTo>
                    <a:pt x="124" y="106"/>
                  </a:lnTo>
                  <a:lnTo>
                    <a:pt x="110" y="116"/>
                  </a:lnTo>
                  <a:lnTo>
                    <a:pt x="112" y="118"/>
                  </a:lnTo>
                  <a:lnTo>
                    <a:pt x="104" y="124"/>
                  </a:lnTo>
                  <a:lnTo>
                    <a:pt x="90" y="128"/>
                  </a:lnTo>
                  <a:lnTo>
                    <a:pt x="78" y="140"/>
                  </a:lnTo>
                  <a:lnTo>
                    <a:pt x="62" y="160"/>
                  </a:lnTo>
                  <a:lnTo>
                    <a:pt x="56" y="176"/>
                  </a:lnTo>
                  <a:lnTo>
                    <a:pt x="52" y="176"/>
                  </a:lnTo>
                  <a:lnTo>
                    <a:pt x="48" y="176"/>
                  </a:lnTo>
                  <a:lnTo>
                    <a:pt x="34" y="176"/>
                  </a:lnTo>
                  <a:lnTo>
                    <a:pt x="22" y="168"/>
                  </a:lnTo>
                  <a:lnTo>
                    <a:pt x="8" y="160"/>
                  </a:lnTo>
                  <a:lnTo>
                    <a:pt x="0" y="140"/>
                  </a:lnTo>
                  <a:lnTo>
                    <a:pt x="0" y="124"/>
                  </a:lnTo>
                  <a:lnTo>
                    <a:pt x="14" y="124"/>
                  </a:lnTo>
                  <a:lnTo>
                    <a:pt x="22" y="106"/>
                  </a:lnTo>
                  <a:lnTo>
                    <a:pt x="28" y="90"/>
                  </a:lnTo>
                  <a:lnTo>
                    <a:pt x="28" y="72"/>
                  </a:lnTo>
                  <a:lnTo>
                    <a:pt x="14" y="64"/>
                  </a:lnTo>
                  <a:lnTo>
                    <a:pt x="0" y="32"/>
                  </a:lnTo>
                  <a:lnTo>
                    <a:pt x="2" y="2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Freeform 63">
              <a:extLst>
                <a:ext uri="{FF2B5EF4-FFF2-40B4-BE49-F238E27FC236}">
                  <a16:creationId xmlns:a16="http://schemas.microsoft.com/office/drawing/2014/main" id="{4DB99A20-12ED-4818-9D24-4BE3F9DDDB30}"/>
                </a:ext>
              </a:extLst>
            </p:cNvPr>
            <p:cNvSpPr>
              <a:spLocks/>
            </p:cNvSpPr>
            <p:nvPr/>
          </p:nvSpPr>
          <p:spPr bwMode="auto">
            <a:xfrm>
              <a:off x="3993244" y="3131803"/>
              <a:ext cx="307933" cy="263088"/>
            </a:xfrm>
            <a:custGeom>
              <a:avLst/>
              <a:gdLst>
                <a:gd name="T0" fmla="*/ 2 w 206"/>
                <a:gd name="T1" fmla="*/ 28 h 176"/>
                <a:gd name="T2" fmla="*/ 16 w 206"/>
                <a:gd name="T3" fmla="*/ 8 h 176"/>
                <a:gd name="T4" fmla="*/ 28 w 206"/>
                <a:gd name="T5" fmla="*/ 8 h 176"/>
                <a:gd name="T6" fmla="*/ 42 w 206"/>
                <a:gd name="T7" fmla="*/ 8 h 176"/>
                <a:gd name="T8" fmla="*/ 56 w 206"/>
                <a:gd name="T9" fmla="*/ 28 h 176"/>
                <a:gd name="T10" fmla="*/ 70 w 206"/>
                <a:gd name="T11" fmla="*/ 36 h 176"/>
                <a:gd name="T12" fmla="*/ 84 w 206"/>
                <a:gd name="T13" fmla="*/ 36 h 176"/>
                <a:gd name="T14" fmla="*/ 98 w 206"/>
                <a:gd name="T15" fmla="*/ 36 h 176"/>
                <a:gd name="T16" fmla="*/ 112 w 206"/>
                <a:gd name="T17" fmla="*/ 36 h 176"/>
                <a:gd name="T18" fmla="*/ 124 w 206"/>
                <a:gd name="T19" fmla="*/ 28 h 176"/>
                <a:gd name="T20" fmla="*/ 138 w 206"/>
                <a:gd name="T21" fmla="*/ 18 h 176"/>
                <a:gd name="T22" fmla="*/ 150 w 206"/>
                <a:gd name="T23" fmla="*/ 0 h 176"/>
                <a:gd name="T24" fmla="*/ 164 w 206"/>
                <a:gd name="T25" fmla="*/ 0 h 176"/>
                <a:gd name="T26" fmla="*/ 178 w 206"/>
                <a:gd name="T27" fmla="*/ 0 h 176"/>
                <a:gd name="T28" fmla="*/ 192 w 206"/>
                <a:gd name="T29" fmla="*/ 0 h 176"/>
                <a:gd name="T30" fmla="*/ 206 w 206"/>
                <a:gd name="T31" fmla="*/ 8 h 176"/>
                <a:gd name="T32" fmla="*/ 204 w 206"/>
                <a:gd name="T33" fmla="*/ 12 h 176"/>
                <a:gd name="T34" fmla="*/ 200 w 206"/>
                <a:gd name="T35" fmla="*/ 18 h 176"/>
                <a:gd name="T36" fmla="*/ 186 w 206"/>
                <a:gd name="T37" fmla="*/ 38 h 176"/>
                <a:gd name="T38" fmla="*/ 172 w 206"/>
                <a:gd name="T39" fmla="*/ 54 h 176"/>
                <a:gd name="T40" fmla="*/ 158 w 206"/>
                <a:gd name="T41" fmla="*/ 64 h 176"/>
                <a:gd name="T42" fmla="*/ 144 w 206"/>
                <a:gd name="T43" fmla="*/ 82 h 176"/>
                <a:gd name="T44" fmla="*/ 130 w 206"/>
                <a:gd name="T45" fmla="*/ 90 h 176"/>
                <a:gd name="T46" fmla="*/ 124 w 206"/>
                <a:gd name="T47" fmla="*/ 106 h 176"/>
                <a:gd name="T48" fmla="*/ 110 w 206"/>
                <a:gd name="T49" fmla="*/ 116 h 176"/>
                <a:gd name="T50" fmla="*/ 112 w 206"/>
                <a:gd name="T51" fmla="*/ 118 h 176"/>
                <a:gd name="T52" fmla="*/ 104 w 206"/>
                <a:gd name="T53" fmla="*/ 124 h 176"/>
                <a:gd name="T54" fmla="*/ 90 w 206"/>
                <a:gd name="T55" fmla="*/ 128 h 176"/>
                <a:gd name="T56" fmla="*/ 78 w 206"/>
                <a:gd name="T57" fmla="*/ 140 h 176"/>
                <a:gd name="T58" fmla="*/ 62 w 206"/>
                <a:gd name="T59" fmla="*/ 160 h 176"/>
                <a:gd name="T60" fmla="*/ 56 w 206"/>
                <a:gd name="T61" fmla="*/ 176 h 176"/>
                <a:gd name="T62" fmla="*/ 52 w 206"/>
                <a:gd name="T63" fmla="*/ 176 h 176"/>
                <a:gd name="T64" fmla="*/ 48 w 206"/>
                <a:gd name="T65" fmla="*/ 176 h 176"/>
                <a:gd name="T66" fmla="*/ 34 w 206"/>
                <a:gd name="T67" fmla="*/ 176 h 176"/>
                <a:gd name="T68" fmla="*/ 22 w 206"/>
                <a:gd name="T69" fmla="*/ 168 h 176"/>
                <a:gd name="T70" fmla="*/ 8 w 206"/>
                <a:gd name="T71" fmla="*/ 160 h 176"/>
                <a:gd name="T72" fmla="*/ 0 w 206"/>
                <a:gd name="T73" fmla="*/ 140 h 176"/>
                <a:gd name="T74" fmla="*/ 0 w 206"/>
                <a:gd name="T75" fmla="*/ 124 h 176"/>
                <a:gd name="T76" fmla="*/ 14 w 206"/>
                <a:gd name="T77" fmla="*/ 124 h 176"/>
                <a:gd name="T78" fmla="*/ 22 w 206"/>
                <a:gd name="T79" fmla="*/ 106 h 176"/>
                <a:gd name="T80" fmla="*/ 28 w 206"/>
                <a:gd name="T81" fmla="*/ 90 h 176"/>
                <a:gd name="T82" fmla="*/ 28 w 206"/>
                <a:gd name="T83" fmla="*/ 72 h 176"/>
                <a:gd name="T84" fmla="*/ 14 w 206"/>
                <a:gd name="T85" fmla="*/ 64 h 176"/>
                <a:gd name="T86" fmla="*/ 0 w 206"/>
                <a:gd name="T87" fmla="*/ 32 h 176"/>
                <a:gd name="T88" fmla="*/ 2 w 206"/>
                <a:gd name="T89" fmla="*/ 2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6" h="176">
                  <a:moveTo>
                    <a:pt x="2" y="28"/>
                  </a:moveTo>
                  <a:lnTo>
                    <a:pt x="16" y="8"/>
                  </a:lnTo>
                  <a:lnTo>
                    <a:pt x="28" y="8"/>
                  </a:lnTo>
                  <a:lnTo>
                    <a:pt x="42" y="8"/>
                  </a:lnTo>
                  <a:lnTo>
                    <a:pt x="56" y="28"/>
                  </a:lnTo>
                  <a:lnTo>
                    <a:pt x="70" y="36"/>
                  </a:lnTo>
                  <a:lnTo>
                    <a:pt x="84" y="36"/>
                  </a:lnTo>
                  <a:lnTo>
                    <a:pt x="98" y="36"/>
                  </a:lnTo>
                  <a:lnTo>
                    <a:pt x="112" y="36"/>
                  </a:lnTo>
                  <a:lnTo>
                    <a:pt x="124" y="28"/>
                  </a:lnTo>
                  <a:lnTo>
                    <a:pt x="138" y="18"/>
                  </a:lnTo>
                  <a:lnTo>
                    <a:pt x="150" y="0"/>
                  </a:lnTo>
                  <a:lnTo>
                    <a:pt x="164" y="0"/>
                  </a:lnTo>
                  <a:lnTo>
                    <a:pt x="178" y="0"/>
                  </a:lnTo>
                  <a:lnTo>
                    <a:pt x="192" y="0"/>
                  </a:lnTo>
                  <a:lnTo>
                    <a:pt x="206" y="8"/>
                  </a:lnTo>
                  <a:lnTo>
                    <a:pt x="204" y="12"/>
                  </a:lnTo>
                  <a:lnTo>
                    <a:pt x="200" y="18"/>
                  </a:lnTo>
                  <a:lnTo>
                    <a:pt x="186" y="38"/>
                  </a:lnTo>
                  <a:lnTo>
                    <a:pt x="172" y="54"/>
                  </a:lnTo>
                  <a:lnTo>
                    <a:pt x="158" y="64"/>
                  </a:lnTo>
                  <a:lnTo>
                    <a:pt x="144" y="82"/>
                  </a:lnTo>
                  <a:lnTo>
                    <a:pt x="130" y="90"/>
                  </a:lnTo>
                  <a:lnTo>
                    <a:pt x="124" y="106"/>
                  </a:lnTo>
                  <a:lnTo>
                    <a:pt x="110" y="116"/>
                  </a:lnTo>
                  <a:lnTo>
                    <a:pt x="112" y="118"/>
                  </a:lnTo>
                  <a:lnTo>
                    <a:pt x="104" y="124"/>
                  </a:lnTo>
                  <a:lnTo>
                    <a:pt x="90" y="128"/>
                  </a:lnTo>
                  <a:lnTo>
                    <a:pt x="78" y="140"/>
                  </a:lnTo>
                  <a:lnTo>
                    <a:pt x="62" y="160"/>
                  </a:lnTo>
                  <a:lnTo>
                    <a:pt x="56" y="176"/>
                  </a:lnTo>
                  <a:lnTo>
                    <a:pt x="52" y="176"/>
                  </a:lnTo>
                  <a:lnTo>
                    <a:pt x="48" y="176"/>
                  </a:lnTo>
                  <a:lnTo>
                    <a:pt x="34" y="176"/>
                  </a:lnTo>
                  <a:lnTo>
                    <a:pt x="22" y="168"/>
                  </a:lnTo>
                  <a:lnTo>
                    <a:pt x="8" y="160"/>
                  </a:lnTo>
                  <a:lnTo>
                    <a:pt x="0" y="140"/>
                  </a:lnTo>
                  <a:lnTo>
                    <a:pt x="0" y="124"/>
                  </a:lnTo>
                  <a:lnTo>
                    <a:pt x="14" y="124"/>
                  </a:lnTo>
                  <a:lnTo>
                    <a:pt x="22" y="106"/>
                  </a:lnTo>
                  <a:lnTo>
                    <a:pt x="28" y="90"/>
                  </a:lnTo>
                  <a:lnTo>
                    <a:pt x="28" y="72"/>
                  </a:lnTo>
                  <a:lnTo>
                    <a:pt x="14" y="64"/>
                  </a:lnTo>
                  <a:lnTo>
                    <a:pt x="0" y="32"/>
                  </a:lnTo>
                  <a:lnTo>
                    <a:pt x="2" y="28"/>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8" name="Freeform 64">
              <a:extLst>
                <a:ext uri="{FF2B5EF4-FFF2-40B4-BE49-F238E27FC236}">
                  <a16:creationId xmlns:a16="http://schemas.microsoft.com/office/drawing/2014/main" id="{28D113AB-DDA8-4C16-94AD-0F84A2B4582A}"/>
                </a:ext>
              </a:extLst>
            </p:cNvPr>
            <p:cNvSpPr>
              <a:spLocks/>
            </p:cNvSpPr>
            <p:nvPr/>
          </p:nvSpPr>
          <p:spPr bwMode="auto">
            <a:xfrm>
              <a:off x="3189030" y="3092938"/>
              <a:ext cx="887923" cy="974623"/>
            </a:xfrm>
            <a:custGeom>
              <a:avLst/>
              <a:gdLst>
                <a:gd name="T0" fmla="*/ 356 w 594"/>
                <a:gd name="T1" fmla="*/ 576 h 652"/>
                <a:gd name="T2" fmla="*/ 376 w 594"/>
                <a:gd name="T3" fmla="*/ 540 h 652"/>
                <a:gd name="T4" fmla="*/ 398 w 594"/>
                <a:gd name="T5" fmla="*/ 488 h 652"/>
                <a:gd name="T6" fmla="*/ 356 w 594"/>
                <a:gd name="T7" fmla="*/ 468 h 652"/>
                <a:gd name="T8" fmla="*/ 304 w 594"/>
                <a:gd name="T9" fmla="*/ 462 h 652"/>
                <a:gd name="T10" fmla="*/ 264 w 594"/>
                <a:gd name="T11" fmla="*/ 426 h 652"/>
                <a:gd name="T12" fmla="*/ 216 w 594"/>
                <a:gd name="T13" fmla="*/ 392 h 652"/>
                <a:gd name="T14" fmla="*/ 174 w 594"/>
                <a:gd name="T15" fmla="*/ 402 h 652"/>
                <a:gd name="T16" fmla="*/ 136 w 594"/>
                <a:gd name="T17" fmla="*/ 366 h 652"/>
                <a:gd name="T18" fmla="*/ 88 w 594"/>
                <a:gd name="T19" fmla="*/ 384 h 652"/>
                <a:gd name="T20" fmla="*/ 40 w 594"/>
                <a:gd name="T21" fmla="*/ 426 h 652"/>
                <a:gd name="T22" fmla="*/ 14 w 594"/>
                <a:gd name="T23" fmla="*/ 418 h 652"/>
                <a:gd name="T24" fmla="*/ 28 w 594"/>
                <a:gd name="T25" fmla="*/ 402 h 652"/>
                <a:gd name="T26" fmla="*/ 22 w 594"/>
                <a:gd name="T27" fmla="*/ 356 h 652"/>
                <a:gd name="T28" fmla="*/ 6 w 594"/>
                <a:gd name="T29" fmla="*/ 314 h 652"/>
                <a:gd name="T30" fmla="*/ 22 w 594"/>
                <a:gd name="T31" fmla="*/ 270 h 652"/>
                <a:gd name="T32" fmla="*/ 14 w 594"/>
                <a:gd name="T33" fmla="*/ 226 h 652"/>
                <a:gd name="T34" fmla="*/ 28 w 594"/>
                <a:gd name="T35" fmla="*/ 184 h 652"/>
                <a:gd name="T36" fmla="*/ 0 w 594"/>
                <a:gd name="T37" fmla="*/ 166 h 652"/>
                <a:gd name="T38" fmla="*/ 28 w 594"/>
                <a:gd name="T39" fmla="*/ 122 h 652"/>
                <a:gd name="T40" fmla="*/ 56 w 594"/>
                <a:gd name="T41" fmla="*/ 114 h 652"/>
                <a:gd name="T42" fmla="*/ 94 w 594"/>
                <a:gd name="T43" fmla="*/ 140 h 652"/>
                <a:gd name="T44" fmla="*/ 136 w 594"/>
                <a:gd name="T45" fmla="*/ 114 h 652"/>
                <a:gd name="T46" fmla="*/ 174 w 594"/>
                <a:gd name="T47" fmla="*/ 98 h 652"/>
                <a:gd name="T48" fmla="*/ 174 w 594"/>
                <a:gd name="T49" fmla="*/ 44 h 652"/>
                <a:gd name="T50" fmla="*/ 216 w 594"/>
                <a:gd name="T51" fmla="*/ 44 h 652"/>
                <a:gd name="T52" fmla="*/ 254 w 594"/>
                <a:gd name="T53" fmla="*/ 52 h 652"/>
                <a:gd name="T54" fmla="*/ 304 w 594"/>
                <a:gd name="T55" fmla="*/ 28 h 652"/>
                <a:gd name="T56" fmla="*/ 340 w 594"/>
                <a:gd name="T57" fmla="*/ 0 h 652"/>
                <a:gd name="T58" fmla="*/ 356 w 594"/>
                <a:gd name="T59" fmla="*/ 18 h 652"/>
                <a:gd name="T60" fmla="*/ 376 w 594"/>
                <a:gd name="T61" fmla="*/ 62 h 652"/>
                <a:gd name="T62" fmla="*/ 426 w 594"/>
                <a:gd name="T63" fmla="*/ 36 h 652"/>
                <a:gd name="T64" fmla="*/ 472 w 594"/>
                <a:gd name="T65" fmla="*/ 0 h 652"/>
                <a:gd name="T66" fmla="*/ 512 w 594"/>
                <a:gd name="T67" fmla="*/ 18 h 652"/>
                <a:gd name="T68" fmla="*/ 540 w 594"/>
                <a:gd name="T69" fmla="*/ 52 h 652"/>
                <a:gd name="T70" fmla="*/ 566 w 594"/>
                <a:gd name="T71" fmla="*/ 98 h 652"/>
                <a:gd name="T72" fmla="*/ 552 w 594"/>
                <a:gd name="T73" fmla="*/ 148 h 652"/>
                <a:gd name="T74" fmla="*/ 548 w 594"/>
                <a:gd name="T75" fmla="*/ 184 h 652"/>
                <a:gd name="T76" fmla="*/ 586 w 594"/>
                <a:gd name="T77" fmla="*/ 200 h 652"/>
                <a:gd name="T78" fmla="*/ 586 w 594"/>
                <a:gd name="T79" fmla="*/ 218 h 652"/>
                <a:gd name="T80" fmla="*/ 552 w 594"/>
                <a:gd name="T81" fmla="*/ 254 h 652"/>
                <a:gd name="T82" fmla="*/ 526 w 594"/>
                <a:gd name="T83" fmla="*/ 288 h 652"/>
                <a:gd name="T84" fmla="*/ 498 w 594"/>
                <a:gd name="T85" fmla="*/ 288 h 652"/>
                <a:gd name="T86" fmla="*/ 480 w 594"/>
                <a:gd name="T87" fmla="*/ 332 h 652"/>
                <a:gd name="T88" fmla="*/ 472 w 594"/>
                <a:gd name="T89" fmla="*/ 392 h 652"/>
                <a:gd name="T90" fmla="*/ 466 w 594"/>
                <a:gd name="T91" fmla="*/ 452 h 652"/>
                <a:gd name="T92" fmla="*/ 466 w 594"/>
                <a:gd name="T93" fmla="*/ 506 h 652"/>
                <a:gd name="T94" fmla="*/ 452 w 594"/>
                <a:gd name="T95" fmla="*/ 548 h 652"/>
                <a:gd name="T96" fmla="*/ 444 w 594"/>
                <a:gd name="T97" fmla="*/ 600 h 652"/>
                <a:gd name="T98" fmla="*/ 418 w 594"/>
                <a:gd name="T99" fmla="*/ 646 h 652"/>
                <a:gd name="T100" fmla="*/ 398 w 594"/>
                <a:gd name="T101" fmla="*/ 636 h 652"/>
                <a:gd name="T102" fmla="*/ 376 w 594"/>
                <a:gd name="T103" fmla="*/ 61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652">
                  <a:moveTo>
                    <a:pt x="376" y="610"/>
                  </a:moveTo>
                  <a:lnTo>
                    <a:pt x="370" y="592"/>
                  </a:lnTo>
                  <a:lnTo>
                    <a:pt x="356" y="576"/>
                  </a:lnTo>
                  <a:lnTo>
                    <a:pt x="356" y="558"/>
                  </a:lnTo>
                  <a:lnTo>
                    <a:pt x="364" y="540"/>
                  </a:lnTo>
                  <a:lnTo>
                    <a:pt x="376" y="540"/>
                  </a:lnTo>
                  <a:lnTo>
                    <a:pt x="392" y="522"/>
                  </a:lnTo>
                  <a:lnTo>
                    <a:pt x="404" y="506"/>
                  </a:lnTo>
                  <a:lnTo>
                    <a:pt x="398" y="488"/>
                  </a:lnTo>
                  <a:lnTo>
                    <a:pt x="384" y="478"/>
                  </a:lnTo>
                  <a:lnTo>
                    <a:pt x="364" y="488"/>
                  </a:lnTo>
                  <a:lnTo>
                    <a:pt x="356" y="468"/>
                  </a:lnTo>
                  <a:lnTo>
                    <a:pt x="336" y="478"/>
                  </a:lnTo>
                  <a:lnTo>
                    <a:pt x="322" y="468"/>
                  </a:lnTo>
                  <a:lnTo>
                    <a:pt x="304" y="462"/>
                  </a:lnTo>
                  <a:lnTo>
                    <a:pt x="298" y="444"/>
                  </a:lnTo>
                  <a:lnTo>
                    <a:pt x="278" y="436"/>
                  </a:lnTo>
                  <a:lnTo>
                    <a:pt x="264" y="426"/>
                  </a:lnTo>
                  <a:lnTo>
                    <a:pt x="250" y="426"/>
                  </a:lnTo>
                  <a:lnTo>
                    <a:pt x="228" y="408"/>
                  </a:lnTo>
                  <a:lnTo>
                    <a:pt x="216" y="392"/>
                  </a:lnTo>
                  <a:lnTo>
                    <a:pt x="202" y="392"/>
                  </a:lnTo>
                  <a:lnTo>
                    <a:pt x="190" y="402"/>
                  </a:lnTo>
                  <a:lnTo>
                    <a:pt x="174" y="402"/>
                  </a:lnTo>
                  <a:lnTo>
                    <a:pt x="150" y="392"/>
                  </a:lnTo>
                  <a:lnTo>
                    <a:pt x="150" y="374"/>
                  </a:lnTo>
                  <a:lnTo>
                    <a:pt x="136" y="366"/>
                  </a:lnTo>
                  <a:lnTo>
                    <a:pt x="114" y="366"/>
                  </a:lnTo>
                  <a:lnTo>
                    <a:pt x="100" y="374"/>
                  </a:lnTo>
                  <a:lnTo>
                    <a:pt x="88" y="384"/>
                  </a:lnTo>
                  <a:lnTo>
                    <a:pt x="74" y="402"/>
                  </a:lnTo>
                  <a:lnTo>
                    <a:pt x="60" y="408"/>
                  </a:lnTo>
                  <a:lnTo>
                    <a:pt x="40" y="426"/>
                  </a:lnTo>
                  <a:lnTo>
                    <a:pt x="34" y="426"/>
                  </a:lnTo>
                  <a:lnTo>
                    <a:pt x="20" y="436"/>
                  </a:lnTo>
                  <a:lnTo>
                    <a:pt x="14" y="418"/>
                  </a:lnTo>
                  <a:lnTo>
                    <a:pt x="14" y="408"/>
                  </a:lnTo>
                  <a:lnTo>
                    <a:pt x="14" y="408"/>
                  </a:lnTo>
                  <a:lnTo>
                    <a:pt x="28" y="402"/>
                  </a:lnTo>
                  <a:lnTo>
                    <a:pt x="34" y="384"/>
                  </a:lnTo>
                  <a:lnTo>
                    <a:pt x="34" y="366"/>
                  </a:lnTo>
                  <a:lnTo>
                    <a:pt x="22" y="356"/>
                  </a:lnTo>
                  <a:lnTo>
                    <a:pt x="6" y="348"/>
                  </a:lnTo>
                  <a:lnTo>
                    <a:pt x="6" y="332"/>
                  </a:lnTo>
                  <a:lnTo>
                    <a:pt x="6" y="314"/>
                  </a:lnTo>
                  <a:lnTo>
                    <a:pt x="22" y="304"/>
                  </a:lnTo>
                  <a:lnTo>
                    <a:pt x="22" y="288"/>
                  </a:lnTo>
                  <a:lnTo>
                    <a:pt x="22" y="270"/>
                  </a:lnTo>
                  <a:lnTo>
                    <a:pt x="14" y="252"/>
                  </a:lnTo>
                  <a:lnTo>
                    <a:pt x="0" y="244"/>
                  </a:lnTo>
                  <a:lnTo>
                    <a:pt x="14" y="226"/>
                  </a:lnTo>
                  <a:lnTo>
                    <a:pt x="6" y="210"/>
                  </a:lnTo>
                  <a:lnTo>
                    <a:pt x="22" y="200"/>
                  </a:lnTo>
                  <a:lnTo>
                    <a:pt x="28" y="184"/>
                  </a:lnTo>
                  <a:lnTo>
                    <a:pt x="14" y="184"/>
                  </a:lnTo>
                  <a:lnTo>
                    <a:pt x="0" y="184"/>
                  </a:lnTo>
                  <a:lnTo>
                    <a:pt x="0" y="166"/>
                  </a:lnTo>
                  <a:lnTo>
                    <a:pt x="6" y="148"/>
                  </a:lnTo>
                  <a:lnTo>
                    <a:pt x="14" y="132"/>
                  </a:lnTo>
                  <a:lnTo>
                    <a:pt x="28" y="122"/>
                  </a:lnTo>
                  <a:lnTo>
                    <a:pt x="34" y="106"/>
                  </a:lnTo>
                  <a:lnTo>
                    <a:pt x="40" y="106"/>
                  </a:lnTo>
                  <a:lnTo>
                    <a:pt x="56" y="114"/>
                  </a:lnTo>
                  <a:lnTo>
                    <a:pt x="66" y="124"/>
                  </a:lnTo>
                  <a:lnTo>
                    <a:pt x="80" y="132"/>
                  </a:lnTo>
                  <a:lnTo>
                    <a:pt x="94" y="140"/>
                  </a:lnTo>
                  <a:lnTo>
                    <a:pt x="108" y="140"/>
                  </a:lnTo>
                  <a:lnTo>
                    <a:pt x="122" y="132"/>
                  </a:lnTo>
                  <a:lnTo>
                    <a:pt x="136" y="114"/>
                  </a:lnTo>
                  <a:lnTo>
                    <a:pt x="150" y="114"/>
                  </a:lnTo>
                  <a:lnTo>
                    <a:pt x="168" y="114"/>
                  </a:lnTo>
                  <a:lnTo>
                    <a:pt x="174" y="98"/>
                  </a:lnTo>
                  <a:lnTo>
                    <a:pt x="174" y="78"/>
                  </a:lnTo>
                  <a:lnTo>
                    <a:pt x="168" y="62"/>
                  </a:lnTo>
                  <a:lnTo>
                    <a:pt x="174" y="44"/>
                  </a:lnTo>
                  <a:lnTo>
                    <a:pt x="190" y="44"/>
                  </a:lnTo>
                  <a:lnTo>
                    <a:pt x="202" y="44"/>
                  </a:lnTo>
                  <a:lnTo>
                    <a:pt x="216" y="44"/>
                  </a:lnTo>
                  <a:lnTo>
                    <a:pt x="228" y="44"/>
                  </a:lnTo>
                  <a:lnTo>
                    <a:pt x="242" y="52"/>
                  </a:lnTo>
                  <a:lnTo>
                    <a:pt x="254" y="52"/>
                  </a:lnTo>
                  <a:lnTo>
                    <a:pt x="270" y="44"/>
                  </a:lnTo>
                  <a:lnTo>
                    <a:pt x="282" y="28"/>
                  </a:lnTo>
                  <a:lnTo>
                    <a:pt x="304" y="28"/>
                  </a:lnTo>
                  <a:lnTo>
                    <a:pt x="318" y="18"/>
                  </a:lnTo>
                  <a:lnTo>
                    <a:pt x="328" y="10"/>
                  </a:lnTo>
                  <a:lnTo>
                    <a:pt x="340" y="0"/>
                  </a:lnTo>
                  <a:lnTo>
                    <a:pt x="338" y="0"/>
                  </a:lnTo>
                  <a:lnTo>
                    <a:pt x="350" y="0"/>
                  </a:lnTo>
                  <a:lnTo>
                    <a:pt x="356" y="18"/>
                  </a:lnTo>
                  <a:lnTo>
                    <a:pt x="370" y="28"/>
                  </a:lnTo>
                  <a:lnTo>
                    <a:pt x="370" y="44"/>
                  </a:lnTo>
                  <a:lnTo>
                    <a:pt x="376" y="62"/>
                  </a:lnTo>
                  <a:lnTo>
                    <a:pt x="398" y="62"/>
                  </a:lnTo>
                  <a:lnTo>
                    <a:pt x="412" y="44"/>
                  </a:lnTo>
                  <a:lnTo>
                    <a:pt x="426" y="36"/>
                  </a:lnTo>
                  <a:lnTo>
                    <a:pt x="436" y="18"/>
                  </a:lnTo>
                  <a:lnTo>
                    <a:pt x="452" y="10"/>
                  </a:lnTo>
                  <a:lnTo>
                    <a:pt x="472" y="0"/>
                  </a:lnTo>
                  <a:lnTo>
                    <a:pt x="486" y="10"/>
                  </a:lnTo>
                  <a:lnTo>
                    <a:pt x="498" y="18"/>
                  </a:lnTo>
                  <a:lnTo>
                    <a:pt x="512" y="18"/>
                  </a:lnTo>
                  <a:lnTo>
                    <a:pt x="526" y="28"/>
                  </a:lnTo>
                  <a:lnTo>
                    <a:pt x="534" y="44"/>
                  </a:lnTo>
                  <a:lnTo>
                    <a:pt x="540" y="52"/>
                  </a:lnTo>
                  <a:lnTo>
                    <a:pt x="538" y="54"/>
                  </a:lnTo>
                  <a:lnTo>
                    <a:pt x="552" y="90"/>
                  </a:lnTo>
                  <a:lnTo>
                    <a:pt x="566" y="98"/>
                  </a:lnTo>
                  <a:lnTo>
                    <a:pt x="566" y="114"/>
                  </a:lnTo>
                  <a:lnTo>
                    <a:pt x="562" y="132"/>
                  </a:lnTo>
                  <a:lnTo>
                    <a:pt x="552" y="148"/>
                  </a:lnTo>
                  <a:lnTo>
                    <a:pt x="538" y="148"/>
                  </a:lnTo>
                  <a:lnTo>
                    <a:pt x="538" y="166"/>
                  </a:lnTo>
                  <a:lnTo>
                    <a:pt x="548" y="184"/>
                  </a:lnTo>
                  <a:lnTo>
                    <a:pt x="562" y="192"/>
                  </a:lnTo>
                  <a:lnTo>
                    <a:pt x="572" y="200"/>
                  </a:lnTo>
                  <a:lnTo>
                    <a:pt x="586" y="200"/>
                  </a:lnTo>
                  <a:lnTo>
                    <a:pt x="592" y="200"/>
                  </a:lnTo>
                  <a:lnTo>
                    <a:pt x="594" y="200"/>
                  </a:lnTo>
                  <a:lnTo>
                    <a:pt x="586" y="218"/>
                  </a:lnTo>
                  <a:lnTo>
                    <a:pt x="572" y="226"/>
                  </a:lnTo>
                  <a:lnTo>
                    <a:pt x="562" y="236"/>
                  </a:lnTo>
                  <a:lnTo>
                    <a:pt x="552" y="254"/>
                  </a:lnTo>
                  <a:lnTo>
                    <a:pt x="548" y="270"/>
                  </a:lnTo>
                  <a:lnTo>
                    <a:pt x="538" y="288"/>
                  </a:lnTo>
                  <a:lnTo>
                    <a:pt x="526" y="288"/>
                  </a:lnTo>
                  <a:lnTo>
                    <a:pt x="520" y="270"/>
                  </a:lnTo>
                  <a:lnTo>
                    <a:pt x="506" y="270"/>
                  </a:lnTo>
                  <a:lnTo>
                    <a:pt x="498" y="288"/>
                  </a:lnTo>
                  <a:lnTo>
                    <a:pt x="498" y="298"/>
                  </a:lnTo>
                  <a:lnTo>
                    <a:pt x="492" y="314"/>
                  </a:lnTo>
                  <a:lnTo>
                    <a:pt x="480" y="332"/>
                  </a:lnTo>
                  <a:lnTo>
                    <a:pt x="480" y="348"/>
                  </a:lnTo>
                  <a:lnTo>
                    <a:pt x="480" y="366"/>
                  </a:lnTo>
                  <a:lnTo>
                    <a:pt x="472" y="392"/>
                  </a:lnTo>
                  <a:lnTo>
                    <a:pt x="472" y="408"/>
                  </a:lnTo>
                  <a:lnTo>
                    <a:pt x="466" y="436"/>
                  </a:lnTo>
                  <a:lnTo>
                    <a:pt x="466" y="452"/>
                  </a:lnTo>
                  <a:lnTo>
                    <a:pt x="472" y="468"/>
                  </a:lnTo>
                  <a:lnTo>
                    <a:pt x="472" y="488"/>
                  </a:lnTo>
                  <a:lnTo>
                    <a:pt x="466" y="506"/>
                  </a:lnTo>
                  <a:lnTo>
                    <a:pt x="466" y="522"/>
                  </a:lnTo>
                  <a:lnTo>
                    <a:pt x="458" y="530"/>
                  </a:lnTo>
                  <a:lnTo>
                    <a:pt x="452" y="548"/>
                  </a:lnTo>
                  <a:lnTo>
                    <a:pt x="452" y="568"/>
                  </a:lnTo>
                  <a:lnTo>
                    <a:pt x="452" y="584"/>
                  </a:lnTo>
                  <a:lnTo>
                    <a:pt x="444" y="600"/>
                  </a:lnTo>
                  <a:lnTo>
                    <a:pt x="436" y="618"/>
                  </a:lnTo>
                  <a:lnTo>
                    <a:pt x="432" y="636"/>
                  </a:lnTo>
                  <a:lnTo>
                    <a:pt x="418" y="646"/>
                  </a:lnTo>
                  <a:lnTo>
                    <a:pt x="418" y="652"/>
                  </a:lnTo>
                  <a:lnTo>
                    <a:pt x="412" y="652"/>
                  </a:lnTo>
                  <a:lnTo>
                    <a:pt x="398" y="636"/>
                  </a:lnTo>
                  <a:lnTo>
                    <a:pt x="388" y="620"/>
                  </a:lnTo>
                  <a:lnTo>
                    <a:pt x="384" y="618"/>
                  </a:lnTo>
                  <a:lnTo>
                    <a:pt x="376" y="61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Freeform 65">
              <a:extLst>
                <a:ext uri="{FF2B5EF4-FFF2-40B4-BE49-F238E27FC236}">
                  <a16:creationId xmlns:a16="http://schemas.microsoft.com/office/drawing/2014/main" id="{65A7FED7-289F-4A7A-A2D4-5CBB89577ECE}"/>
                </a:ext>
              </a:extLst>
            </p:cNvPr>
            <p:cNvSpPr>
              <a:spLocks/>
            </p:cNvSpPr>
            <p:nvPr/>
          </p:nvSpPr>
          <p:spPr bwMode="auto">
            <a:xfrm>
              <a:off x="3189030" y="3092938"/>
              <a:ext cx="887923" cy="974623"/>
            </a:xfrm>
            <a:custGeom>
              <a:avLst/>
              <a:gdLst>
                <a:gd name="T0" fmla="*/ 356 w 594"/>
                <a:gd name="T1" fmla="*/ 576 h 652"/>
                <a:gd name="T2" fmla="*/ 376 w 594"/>
                <a:gd name="T3" fmla="*/ 540 h 652"/>
                <a:gd name="T4" fmla="*/ 398 w 594"/>
                <a:gd name="T5" fmla="*/ 488 h 652"/>
                <a:gd name="T6" fmla="*/ 356 w 594"/>
                <a:gd name="T7" fmla="*/ 468 h 652"/>
                <a:gd name="T8" fmla="*/ 304 w 594"/>
                <a:gd name="T9" fmla="*/ 462 h 652"/>
                <a:gd name="T10" fmla="*/ 264 w 594"/>
                <a:gd name="T11" fmla="*/ 426 h 652"/>
                <a:gd name="T12" fmla="*/ 216 w 594"/>
                <a:gd name="T13" fmla="*/ 392 h 652"/>
                <a:gd name="T14" fmla="*/ 174 w 594"/>
                <a:gd name="T15" fmla="*/ 402 h 652"/>
                <a:gd name="T16" fmla="*/ 136 w 594"/>
                <a:gd name="T17" fmla="*/ 366 h 652"/>
                <a:gd name="T18" fmla="*/ 88 w 594"/>
                <a:gd name="T19" fmla="*/ 384 h 652"/>
                <a:gd name="T20" fmla="*/ 40 w 594"/>
                <a:gd name="T21" fmla="*/ 426 h 652"/>
                <a:gd name="T22" fmla="*/ 14 w 594"/>
                <a:gd name="T23" fmla="*/ 418 h 652"/>
                <a:gd name="T24" fmla="*/ 28 w 594"/>
                <a:gd name="T25" fmla="*/ 402 h 652"/>
                <a:gd name="T26" fmla="*/ 22 w 594"/>
                <a:gd name="T27" fmla="*/ 356 h 652"/>
                <a:gd name="T28" fmla="*/ 6 w 594"/>
                <a:gd name="T29" fmla="*/ 314 h 652"/>
                <a:gd name="T30" fmla="*/ 22 w 594"/>
                <a:gd name="T31" fmla="*/ 270 h 652"/>
                <a:gd name="T32" fmla="*/ 14 w 594"/>
                <a:gd name="T33" fmla="*/ 226 h 652"/>
                <a:gd name="T34" fmla="*/ 28 w 594"/>
                <a:gd name="T35" fmla="*/ 184 h 652"/>
                <a:gd name="T36" fmla="*/ 0 w 594"/>
                <a:gd name="T37" fmla="*/ 166 h 652"/>
                <a:gd name="T38" fmla="*/ 28 w 594"/>
                <a:gd name="T39" fmla="*/ 122 h 652"/>
                <a:gd name="T40" fmla="*/ 56 w 594"/>
                <a:gd name="T41" fmla="*/ 114 h 652"/>
                <a:gd name="T42" fmla="*/ 94 w 594"/>
                <a:gd name="T43" fmla="*/ 140 h 652"/>
                <a:gd name="T44" fmla="*/ 136 w 594"/>
                <a:gd name="T45" fmla="*/ 114 h 652"/>
                <a:gd name="T46" fmla="*/ 174 w 594"/>
                <a:gd name="T47" fmla="*/ 98 h 652"/>
                <a:gd name="T48" fmla="*/ 174 w 594"/>
                <a:gd name="T49" fmla="*/ 44 h 652"/>
                <a:gd name="T50" fmla="*/ 216 w 594"/>
                <a:gd name="T51" fmla="*/ 44 h 652"/>
                <a:gd name="T52" fmla="*/ 254 w 594"/>
                <a:gd name="T53" fmla="*/ 52 h 652"/>
                <a:gd name="T54" fmla="*/ 304 w 594"/>
                <a:gd name="T55" fmla="*/ 28 h 652"/>
                <a:gd name="T56" fmla="*/ 340 w 594"/>
                <a:gd name="T57" fmla="*/ 0 h 652"/>
                <a:gd name="T58" fmla="*/ 356 w 594"/>
                <a:gd name="T59" fmla="*/ 18 h 652"/>
                <a:gd name="T60" fmla="*/ 376 w 594"/>
                <a:gd name="T61" fmla="*/ 62 h 652"/>
                <a:gd name="T62" fmla="*/ 426 w 594"/>
                <a:gd name="T63" fmla="*/ 36 h 652"/>
                <a:gd name="T64" fmla="*/ 472 w 594"/>
                <a:gd name="T65" fmla="*/ 0 h 652"/>
                <a:gd name="T66" fmla="*/ 512 w 594"/>
                <a:gd name="T67" fmla="*/ 18 h 652"/>
                <a:gd name="T68" fmla="*/ 540 w 594"/>
                <a:gd name="T69" fmla="*/ 52 h 652"/>
                <a:gd name="T70" fmla="*/ 566 w 594"/>
                <a:gd name="T71" fmla="*/ 98 h 652"/>
                <a:gd name="T72" fmla="*/ 552 w 594"/>
                <a:gd name="T73" fmla="*/ 148 h 652"/>
                <a:gd name="T74" fmla="*/ 548 w 594"/>
                <a:gd name="T75" fmla="*/ 184 h 652"/>
                <a:gd name="T76" fmla="*/ 586 w 594"/>
                <a:gd name="T77" fmla="*/ 200 h 652"/>
                <a:gd name="T78" fmla="*/ 586 w 594"/>
                <a:gd name="T79" fmla="*/ 218 h 652"/>
                <a:gd name="T80" fmla="*/ 552 w 594"/>
                <a:gd name="T81" fmla="*/ 254 h 652"/>
                <a:gd name="T82" fmla="*/ 526 w 594"/>
                <a:gd name="T83" fmla="*/ 288 h 652"/>
                <a:gd name="T84" fmla="*/ 498 w 594"/>
                <a:gd name="T85" fmla="*/ 288 h 652"/>
                <a:gd name="T86" fmla="*/ 480 w 594"/>
                <a:gd name="T87" fmla="*/ 332 h 652"/>
                <a:gd name="T88" fmla="*/ 472 w 594"/>
                <a:gd name="T89" fmla="*/ 392 h 652"/>
                <a:gd name="T90" fmla="*/ 466 w 594"/>
                <a:gd name="T91" fmla="*/ 452 h 652"/>
                <a:gd name="T92" fmla="*/ 466 w 594"/>
                <a:gd name="T93" fmla="*/ 506 h 652"/>
                <a:gd name="T94" fmla="*/ 452 w 594"/>
                <a:gd name="T95" fmla="*/ 548 h 652"/>
                <a:gd name="T96" fmla="*/ 444 w 594"/>
                <a:gd name="T97" fmla="*/ 600 h 652"/>
                <a:gd name="T98" fmla="*/ 418 w 594"/>
                <a:gd name="T99" fmla="*/ 646 h 652"/>
                <a:gd name="T100" fmla="*/ 398 w 594"/>
                <a:gd name="T101" fmla="*/ 636 h 652"/>
                <a:gd name="T102" fmla="*/ 376 w 594"/>
                <a:gd name="T103" fmla="*/ 61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652">
                  <a:moveTo>
                    <a:pt x="376" y="610"/>
                  </a:moveTo>
                  <a:lnTo>
                    <a:pt x="370" y="592"/>
                  </a:lnTo>
                  <a:lnTo>
                    <a:pt x="356" y="576"/>
                  </a:lnTo>
                  <a:lnTo>
                    <a:pt x="356" y="558"/>
                  </a:lnTo>
                  <a:lnTo>
                    <a:pt x="364" y="540"/>
                  </a:lnTo>
                  <a:lnTo>
                    <a:pt x="376" y="540"/>
                  </a:lnTo>
                  <a:lnTo>
                    <a:pt x="392" y="522"/>
                  </a:lnTo>
                  <a:lnTo>
                    <a:pt x="404" y="506"/>
                  </a:lnTo>
                  <a:lnTo>
                    <a:pt x="398" y="488"/>
                  </a:lnTo>
                  <a:lnTo>
                    <a:pt x="384" y="478"/>
                  </a:lnTo>
                  <a:lnTo>
                    <a:pt x="364" y="488"/>
                  </a:lnTo>
                  <a:lnTo>
                    <a:pt x="356" y="468"/>
                  </a:lnTo>
                  <a:lnTo>
                    <a:pt x="336" y="478"/>
                  </a:lnTo>
                  <a:lnTo>
                    <a:pt x="322" y="468"/>
                  </a:lnTo>
                  <a:lnTo>
                    <a:pt x="304" y="462"/>
                  </a:lnTo>
                  <a:lnTo>
                    <a:pt x="298" y="444"/>
                  </a:lnTo>
                  <a:lnTo>
                    <a:pt x="278" y="436"/>
                  </a:lnTo>
                  <a:lnTo>
                    <a:pt x="264" y="426"/>
                  </a:lnTo>
                  <a:lnTo>
                    <a:pt x="250" y="426"/>
                  </a:lnTo>
                  <a:lnTo>
                    <a:pt x="228" y="408"/>
                  </a:lnTo>
                  <a:lnTo>
                    <a:pt x="216" y="392"/>
                  </a:lnTo>
                  <a:lnTo>
                    <a:pt x="202" y="392"/>
                  </a:lnTo>
                  <a:lnTo>
                    <a:pt x="190" y="402"/>
                  </a:lnTo>
                  <a:lnTo>
                    <a:pt x="174" y="402"/>
                  </a:lnTo>
                  <a:lnTo>
                    <a:pt x="150" y="392"/>
                  </a:lnTo>
                  <a:lnTo>
                    <a:pt x="150" y="374"/>
                  </a:lnTo>
                  <a:lnTo>
                    <a:pt x="136" y="366"/>
                  </a:lnTo>
                  <a:lnTo>
                    <a:pt x="114" y="366"/>
                  </a:lnTo>
                  <a:lnTo>
                    <a:pt x="100" y="374"/>
                  </a:lnTo>
                  <a:lnTo>
                    <a:pt x="88" y="384"/>
                  </a:lnTo>
                  <a:lnTo>
                    <a:pt x="74" y="402"/>
                  </a:lnTo>
                  <a:lnTo>
                    <a:pt x="60" y="408"/>
                  </a:lnTo>
                  <a:lnTo>
                    <a:pt x="40" y="426"/>
                  </a:lnTo>
                  <a:lnTo>
                    <a:pt x="34" y="426"/>
                  </a:lnTo>
                  <a:lnTo>
                    <a:pt x="20" y="436"/>
                  </a:lnTo>
                  <a:lnTo>
                    <a:pt x="14" y="418"/>
                  </a:lnTo>
                  <a:lnTo>
                    <a:pt x="14" y="408"/>
                  </a:lnTo>
                  <a:lnTo>
                    <a:pt x="14" y="408"/>
                  </a:lnTo>
                  <a:lnTo>
                    <a:pt x="28" y="402"/>
                  </a:lnTo>
                  <a:lnTo>
                    <a:pt x="34" y="384"/>
                  </a:lnTo>
                  <a:lnTo>
                    <a:pt x="34" y="366"/>
                  </a:lnTo>
                  <a:lnTo>
                    <a:pt x="22" y="356"/>
                  </a:lnTo>
                  <a:lnTo>
                    <a:pt x="6" y="348"/>
                  </a:lnTo>
                  <a:lnTo>
                    <a:pt x="6" y="332"/>
                  </a:lnTo>
                  <a:lnTo>
                    <a:pt x="6" y="314"/>
                  </a:lnTo>
                  <a:lnTo>
                    <a:pt x="22" y="304"/>
                  </a:lnTo>
                  <a:lnTo>
                    <a:pt x="22" y="288"/>
                  </a:lnTo>
                  <a:lnTo>
                    <a:pt x="22" y="270"/>
                  </a:lnTo>
                  <a:lnTo>
                    <a:pt x="14" y="252"/>
                  </a:lnTo>
                  <a:lnTo>
                    <a:pt x="0" y="244"/>
                  </a:lnTo>
                  <a:lnTo>
                    <a:pt x="14" y="226"/>
                  </a:lnTo>
                  <a:lnTo>
                    <a:pt x="6" y="210"/>
                  </a:lnTo>
                  <a:lnTo>
                    <a:pt x="22" y="200"/>
                  </a:lnTo>
                  <a:lnTo>
                    <a:pt x="28" y="184"/>
                  </a:lnTo>
                  <a:lnTo>
                    <a:pt x="14" y="184"/>
                  </a:lnTo>
                  <a:lnTo>
                    <a:pt x="0" y="184"/>
                  </a:lnTo>
                  <a:lnTo>
                    <a:pt x="0" y="166"/>
                  </a:lnTo>
                  <a:lnTo>
                    <a:pt x="6" y="148"/>
                  </a:lnTo>
                  <a:lnTo>
                    <a:pt x="14" y="132"/>
                  </a:lnTo>
                  <a:lnTo>
                    <a:pt x="28" y="122"/>
                  </a:lnTo>
                  <a:lnTo>
                    <a:pt x="34" y="106"/>
                  </a:lnTo>
                  <a:lnTo>
                    <a:pt x="40" y="106"/>
                  </a:lnTo>
                  <a:lnTo>
                    <a:pt x="56" y="114"/>
                  </a:lnTo>
                  <a:lnTo>
                    <a:pt x="66" y="124"/>
                  </a:lnTo>
                  <a:lnTo>
                    <a:pt x="80" y="132"/>
                  </a:lnTo>
                  <a:lnTo>
                    <a:pt x="94" y="140"/>
                  </a:lnTo>
                  <a:lnTo>
                    <a:pt x="108" y="140"/>
                  </a:lnTo>
                  <a:lnTo>
                    <a:pt x="122" y="132"/>
                  </a:lnTo>
                  <a:lnTo>
                    <a:pt x="136" y="114"/>
                  </a:lnTo>
                  <a:lnTo>
                    <a:pt x="150" y="114"/>
                  </a:lnTo>
                  <a:lnTo>
                    <a:pt x="168" y="114"/>
                  </a:lnTo>
                  <a:lnTo>
                    <a:pt x="174" y="98"/>
                  </a:lnTo>
                  <a:lnTo>
                    <a:pt x="174" y="78"/>
                  </a:lnTo>
                  <a:lnTo>
                    <a:pt x="168" y="62"/>
                  </a:lnTo>
                  <a:lnTo>
                    <a:pt x="174" y="44"/>
                  </a:lnTo>
                  <a:lnTo>
                    <a:pt x="190" y="44"/>
                  </a:lnTo>
                  <a:lnTo>
                    <a:pt x="202" y="44"/>
                  </a:lnTo>
                  <a:lnTo>
                    <a:pt x="216" y="44"/>
                  </a:lnTo>
                  <a:lnTo>
                    <a:pt x="228" y="44"/>
                  </a:lnTo>
                  <a:lnTo>
                    <a:pt x="242" y="52"/>
                  </a:lnTo>
                  <a:lnTo>
                    <a:pt x="254" y="52"/>
                  </a:lnTo>
                  <a:lnTo>
                    <a:pt x="270" y="44"/>
                  </a:lnTo>
                  <a:lnTo>
                    <a:pt x="282" y="28"/>
                  </a:lnTo>
                  <a:lnTo>
                    <a:pt x="304" y="28"/>
                  </a:lnTo>
                  <a:lnTo>
                    <a:pt x="318" y="18"/>
                  </a:lnTo>
                  <a:lnTo>
                    <a:pt x="328" y="10"/>
                  </a:lnTo>
                  <a:lnTo>
                    <a:pt x="340" y="0"/>
                  </a:lnTo>
                  <a:lnTo>
                    <a:pt x="338" y="0"/>
                  </a:lnTo>
                  <a:lnTo>
                    <a:pt x="350" y="0"/>
                  </a:lnTo>
                  <a:lnTo>
                    <a:pt x="356" y="18"/>
                  </a:lnTo>
                  <a:lnTo>
                    <a:pt x="370" y="28"/>
                  </a:lnTo>
                  <a:lnTo>
                    <a:pt x="370" y="44"/>
                  </a:lnTo>
                  <a:lnTo>
                    <a:pt x="376" y="62"/>
                  </a:lnTo>
                  <a:lnTo>
                    <a:pt x="398" y="62"/>
                  </a:lnTo>
                  <a:lnTo>
                    <a:pt x="412" y="44"/>
                  </a:lnTo>
                  <a:lnTo>
                    <a:pt x="426" y="36"/>
                  </a:lnTo>
                  <a:lnTo>
                    <a:pt x="436" y="18"/>
                  </a:lnTo>
                  <a:lnTo>
                    <a:pt x="452" y="10"/>
                  </a:lnTo>
                  <a:lnTo>
                    <a:pt x="472" y="0"/>
                  </a:lnTo>
                  <a:lnTo>
                    <a:pt x="486" y="10"/>
                  </a:lnTo>
                  <a:lnTo>
                    <a:pt x="498" y="18"/>
                  </a:lnTo>
                  <a:lnTo>
                    <a:pt x="512" y="18"/>
                  </a:lnTo>
                  <a:lnTo>
                    <a:pt x="526" y="28"/>
                  </a:lnTo>
                  <a:lnTo>
                    <a:pt x="534" y="44"/>
                  </a:lnTo>
                  <a:lnTo>
                    <a:pt x="540" y="52"/>
                  </a:lnTo>
                  <a:lnTo>
                    <a:pt x="538" y="54"/>
                  </a:lnTo>
                  <a:lnTo>
                    <a:pt x="552" y="90"/>
                  </a:lnTo>
                  <a:lnTo>
                    <a:pt x="566" y="98"/>
                  </a:lnTo>
                  <a:lnTo>
                    <a:pt x="566" y="114"/>
                  </a:lnTo>
                  <a:lnTo>
                    <a:pt x="562" y="132"/>
                  </a:lnTo>
                  <a:lnTo>
                    <a:pt x="552" y="148"/>
                  </a:lnTo>
                  <a:lnTo>
                    <a:pt x="538" y="148"/>
                  </a:lnTo>
                  <a:lnTo>
                    <a:pt x="538" y="166"/>
                  </a:lnTo>
                  <a:lnTo>
                    <a:pt x="548" y="184"/>
                  </a:lnTo>
                  <a:lnTo>
                    <a:pt x="562" y="192"/>
                  </a:lnTo>
                  <a:lnTo>
                    <a:pt x="572" y="200"/>
                  </a:lnTo>
                  <a:lnTo>
                    <a:pt x="586" y="200"/>
                  </a:lnTo>
                  <a:lnTo>
                    <a:pt x="592" y="200"/>
                  </a:lnTo>
                  <a:lnTo>
                    <a:pt x="594" y="200"/>
                  </a:lnTo>
                  <a:lnTo>
                    <a:pt x="586" y="218"/>
                  </a:lnTo>
                  <a:lnTo>
                    <a:pt x="572" y="226"/>
                  </a:lnTo>
                  <a:lnTo>
                    <a:pt x="562" y="236"/>
                  </a:lnTo>
                  <a:lnTo>
                    <a:pt x="552" y="254"/>
                  </a:lnTo>
                  <a:lnTo>
                    <a:pt x="548" y="270"/>
                  </a:lnTo>
                  <a:lnTo>
                    <a:pt x="538" y="288"/>
                  </a:lnTo>
                  <a:lnTo>
                    <a:pt x="526" y="288"/>
                  </a:lnTo>
                  <a:lnTo>
                    <a:pt x="520" y="270"/>
                  </a:lnTo>
                  <a:lnTo>
                    <a:pt x="506" y="270"/>
                  </a:lnTo>
                  <a:lnTo>
                    <a:pt x="498" y="288"/>
                  </a:lnTo>
                  <a:lnTo>
                    <a:pt x="498" y="298"/>
                  </a:lnTo>
                  <a:lnTo>
                    <a:pt x="492" y="314"/>
                  </a:lnTo>
                  <a:lnTo>
                    <a:pt x="480" y="332"/>
                  </a:lnTo>
                  <a:lnTo>
                    <a:pt x="480" y="348"/>
                  </a:lnTo>
                  <a:lnTo>
                    <a:pt x="480" y="366"/>
                  </a:lnTo>
                  <a:lnTo>
                    <a:pt x="472" y="392"/>
                  </a:lnTo>
                  <a:lnTo>
                    <a:pt x="472" y="408"/>
                  </a:lnTo>
                  <a:lnTo>
                    <a:pt x="466" y="436"/>
                  </a:lnTo>
                  <a:lnTo>
                    <a:pt x="466" y="452"/>
                  </a:lnTo>
                  <a:lnTo>
                    <a:pt x="472" y="468"/>
                  </a:lnTo>
                  <a:lnTo>
                    <a:pt x="472" y="488"/>
                  </a:lnTo>
                  <a:lnTo>
                    <a:pt x="466" y="506"/>
                  </a:lnTo>
                  <a:lnTo>
                    <a:pt x="466" y="522"/>
                  </a:lnTo>
                  <a:lnTo>
                    <a:pt x="458" y="530"/>
                  </a:lnTo>
                  <a:lnTo>
                    <a:pt x="452" y="548"/>
                  </a:lnTo>
                  <a:lnTo>
                    <a:pt x="452" y="568"/>
                  </a:lnTo>
                  <a:lnTo>
                    <a:pt x="452" y="584"/>
                  </a:lnTo>
                  <a:lnTo>
                    <a:pt x="444" y="600"/>
                  </a:lnTo>
                  <a:lnTo>
                    <a:pt x="436" y="618"/>
                  </a:lnTo>
                  <a:lnTo>
                    <a:pt x="432" y="636"/>
                  </a:lnTo>
                  <a:lnTo>
                    <a:pt x="418" y="646"/>
                  </a:lnTo>
                  <a:lnTo>
                    <a:pt x="418" y="652"/>
                  </a:lnTo>
                  <a:lnTo>
                    <a:pt x="412" y="652"/>
                  </a:lnTo>
                  <a:lnTo>
                    <a:pt x="398" y="636"/>
                  </a:lnTo>
                  <a:lnTo>
                    <a:pt x="388" y="620"/>
                  </a:lnTo>
                  <a:lnTo>
                    <a:pt x="384" y="618"/>
                  </a:lnTo>
                  <a:lnTo>
                    <a:pt x="376" y="61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0" name="Freeform 66">
              <a:extLst>
                <a:ext uri="{FF2B5EF4-FFF2-40B4-BE49-F238E27FC236}">
                  <a16:creationId xmlns:a16="http://schemas.microsoft.com/office/drawing/2014/main" id="{346F1240-0197-4232-AAC5-BBE2E90DF540}"/>
                </a:ext>
              </a:extLst>
            </p:cNvPr>
            <p:cNvSpPr>
              <a:spLocks/>
            </p:cNvSpPr>
            <p:nvPr/>
          </p:nvSpPr>
          <p:spPr bwMode="auto">
            <a:xfrm>
              <a:off x="3592632" y="4013747"/>
              <a:ext cx="215254" cy="322881"/>
            </a:xfrm>
            <a:custGeom>
              <a:avLst/>
              <a:gdLst>
                <a:gd name="T0" fmla="*/ 62 w 144"/>
                <a:gd name="T1" fmla="*/ 206 h 216"/>
                <a:gd name="T2" fmla="*/ 82 w 144"/>
                <a:gd name="T3" fmla="*/ 198 h 216"/>
                <a:gd name="T4" fmla="*/ 94 w 144"/>
                <a:gd name="T5" fmla="*/ 182 h 216"/>
                <a:gd name="T6" fmla="*/ 94 w 144"/>
                <a:gd name="T7" fmla="*/ 164 h 216"/>
                <a:gd name="T8" fmla="*/ 102 w 144"/>
                <a:gd name="T9" fmla="*/ 146 h 216"/>
                <a:gd name="T10" fmla="*/ 116 w 144"/>
                <a:gd name="T11" fmla="*/ 130 h 216"/>
                <a:gd name="T12" fmla="*/ 130 w 144"/>
                <a:gd name="T13" fmla="*/ 122 h 216"/>
                <a:gd name="T14" fmla="*/ 144 w 144"/>
                <a:gd name="T15" fmla="*/ 104 h 216"/>
                <a:gd name="T16" fmla="*/ 136 w 144"/>
                <a:gd name="T17" fmla="*/ 86 h 216"/>
                <a:gd name="T18" fmla="*/ 136 w 144"/>
                <a:gd name="T19" fmla="*/ 70 h 216"/>
                <a:gd name="T20" fmla="*/ 136 w 144"/>
                <a:gd name="T21" fmla="*/ 52 h 216"/>
                <a:gd name="T22" fmla="*/ 144 w 144"/>
                <a:gd name="T23" fmla="*/ 34 h 216"/>
                <a:gd name="T24" fmla="*/ 130 w 144"/>
                <a:gd name="T25" fmla="*/ 16 h 216"/>
                <a:gd name="T26" fmla="*/ 120 w 144"/>
                <a:gd name="T27" fmla="*/ 2 h 216"/>
                <a:gd name="T28" fmla="*/ 116 w 144"/>
                <a:gd name="T29" fmla="*/ 0 h 216"/>
                <a:gd name="T30" fmla="*/ 102 w 144"/>
                <a:gd name="T31" fmla="*/ 0 h 216"/>
                <a:gd name="T32" fmla="*/ 88 w 144"/>
                <a:gd name="T33" fmla="*/ 0 h 216"/>
                <a:gd name="T34" fmla="*/ 74 w 144"/>
                <a:gd name="T35" fmla="*/ 8 h 216"/>
                <a:gd name="T36" fmla="*/ 68 w 144"/>
                <a:gd name="T37" fmla="*/ 28 h 216"/>
                <a:gd name="T38" fmla="*/ 68 w 144"/>
                <a:gd name="T39" fmla="*/ 44 h 216"/>
                <a:gd name="T40" fmla="*/ 68 w 144"/>
                <a:gd name="T41" fmla="*/ 60 h 216"/>
                <a:gd name="T42" fmla="*/ 68 w 144"/>
                <a:gd name="T43" fmla="*/ 78 h 216"/>
                <a:gd name="T44" fmla="*/ 68 w 144"/>
                <a:gd name="T45" fmla="*/ 96 h 216"/>
                <a:gd name="T46" fmla="*/ 62 w 144"/>
                <a:gd name="T47" fmla="*/ 112 h 216"/>
                <a:gd name="T48" fmla="*/ 48 w 144"/>
                <a:gd name="T49" fmla="*/ 122 h 216"/>
                <a:gd name="T50" fmla="*/ 40 w 144"/>
                <a:gd name="T51" fmla="*/ 138 h 216"/>
                <a:gd name="T52" fmla="*/ 26 w 144"/>
                <a:gd name="T53" fmla="*/ 156 h 216"/>
                <a:gd name="T54" fmla="*/ 14 w 144"/>
                <a:gd name="T55" fmla="*/ 146 h 216"/>
                <a:gd name="T56" fmla="*/ 0 w 144"/>
                <a:gd name="T57" fmla="*/ 164 h 216"/>
                <a:gd name="T58" fmla="*/ 0 w 144"/>
                <a:gd name="T59" fmla="*/ 182 h 216"/>
                <a:gd name="T60" fmla="*/ 0 w 144"/>
                <a:gd name="T61" fmla="*/ 190 h 216"/>
                <a:gd name="T62" fmla="*/ 6 w 144"/>
                <a:gd name="T63" fmla="*/ 206 h 216"/>
                <a:gd name="T64" fmla="*/ 26 w 144"/>
                <a:gd name="T65" fmla="*/ 216 h 216"/>
                <a:gd name="T66" fmla="*/ 40 w 144"/>
                <a:gd name="T67" fmla="*/ 216 h 216"/>
                <a:gd name="T68" fmla="*/ 48 w 144"/>
                <a:gd name="T69" fmla="*/ 216 h 216"/>
                <a:gd name="T70" fmla="*/ 54 w 144"/>
                <a:gd name="T71" fmla="*/ 216 h 216"/>
                <a:gd name="T72" fmla="*/ 62 w 144"/>
                <a:gd name="T73" fmla="*/ 20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216">
                  <a:moveTo>
                    <a:pt x="62" y="206"/>
                  </a:moveTo>
                  <a:lnTo>
                    <a:pt x="82" y="198"/>
                  </a:lnTo>
                  <a:lnTo>
                    <a:pt x="94" y="182"/>
                  </a:lnTo>
                  <a:lnTo>
                    <a:pt x="94" y="164"/>
                  </a:lnTo>
                  <a:lnTo>
                    <a:pt x="102" y="146"/>
                  </a:lnTo>
                  <a:lnTo>
                    <a:pt x="116" y="130"/>
                  </a:lnTo>
                  <a:lnTo>
                    <a:pt x="130" y="122"/>
                  </a:lnTo>
                  <a:lnTo>
                    <a:pt x="144" y="104"/>
                  </a:lnTo>
                  <a:lnTo>
                    <a:pt x="136" y="86"/>
                  </a:lnTo>
                  <a:lnTo>
                    <a:pt x="136" y="70"/>
                  </a:lnTo>
                  <a:lnTo>
                    <a:pt x="136" y="52"/>
                  </a:lnTo>
                  <a:lnTo>
                    <a:pt x="144" y="34"/>
                  </a:lnTo>
                  <a:lnTo>
                    <a:pt x="130" y="16"/>
                  </a:lnTo>
                  <a:lnTo>
                    <a:pt x="120" y="2"/>
                  </a:lnTo>
                  <a:lnTo>
                    <a:pt x="116" y="0"/>
                  </a:lnTo>
                  <a:lnTo>
                    <a:pt x="102" y="0"/>
                  </a:lnTo>
                  <a:lnTo>
                    <a:pt x="88" y="0"/>
                  </a:lnTo>
                  <a:lnTo>
                    <a:pt x="74" y="8"/>
                  </a:lnTo>
                  <a:lnTo>
                    <a:pt x="68" y="28"/>
                  </a:lnTo>
                  <a:lnTo>
                    <a:pt x="68" y="44"/>
                  </a:lnTo>
                  <a:lnTo>
                    <a:pt x="68" y="60"/>
                  </a:lnTo>
                  <a:lnTo>
                    <a:pt x="68" y="78"/>
                  </a:lnTo>
                  <a:lnTo>
                    <a:pt x="68" y="96"/>
                  </a:lnTo>
                  <a:lnTo>
                    <a:pt x="62" y="112"/>
                  </a:lnTo>
                  <a:lnTo>
                    <a:pt x="48" y="122"/>
                  </a:lnTo>
                  <a:lnTo>
                    <a:pt x="40" y="138"/>
                  </a:lnTo>
                  <a:lnTo>
                    <a:pt x="26" y="156"/>
                  </a:lnTo>
                  <a:lnTo>
                    <a:pt x="14" y="146"/>
                  </a:lnTo>
                  <a:lnTo>
                    <a:pt x="0" y="164"/>
                  </a:lnTo>
                  <a:lnTo>
                    <a:pt x="0" y="182"/>
                  </a:lnTo>
                  <a:lnTo>
                    <a:pt x="0" y="190"/>
                  </a:lnTo>
                  <a:lnTo>
                    <a:pt x="6" y="206"/>
                  </a:lnTo>
                  <a:lnTo>
                    <a:pt x="26" y="216"/>
                  </a:lnTo>
                  <a:lnTo>
                    <a:pt x="40" y="216"/>
                  </a:lnTo>
                  <a:lnTo>
                    <a:pt x="48" y="216"/>
                  </a:lnTo>
                  <a:lnTo>
                    <a:pt x="54" y="216"/>
                  </a:lnTo>
                  <a:lnTo>
                    <a:pt x="62" y="20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1" name="Freeform 67">
              <a:extLst>
                <a:ext uri="{FF2B5EF4-FFF2-40B4-BE49-F238E27FC236}">
                  <a16:creationId xmlns:a16="http://schemas.microsoft.com/office/drawing/2014/main" id="{67D67A16-0110-4F0E-8599-7D7E90AE9B00}"/>
                </a:ext>
              </a:extLst>
            </p:cNvPr>
            <p:cNvSpPr>
              <a:spLocks/>
            </p:cNvSpPr>
            <p:nvPr/>
          </p:nvSpPr>
          <p:spPr bwMode="auto">
            <a:xfrm>
              <a:off x="3592632" y="4013747"/>
              <a:ext cx="215254" cy="322881"/>
            </a:xfrm>
            <a:custGeom>
              <a:avLst/>
              <a:gdLst>
                <a:gd name="T0" fmla="*/ 62 w 144"/>
                <a:gd name="T1" fmla="*/ 206 h 216"/>
                <a:gd name="T2" fmla="*/ 82 w 144"/>
                <a:gd name="T3" fmla="*/ 198 h 216"/>
                <a:gd name="T4" fmla="*/ 94 w 144"/>
                <a:gd name="T5" fmla="*/ 182 h 216"/>
                <a:gd name="T6" fmla="*/ 94 w 144"/>
                <a:gd name="T7" fmla="*/ 164 h 216"/>
                <a:gd name="T8" fmla="*/ 102 w 144"/>
                <a:gd name="T9" fmla="*/ 146 h 216"/>
                <a:gd name="T10" fmla="*/ 116 w 144"/>
                <a:gd name="T11" fmla="*/ 130 h 216"/>
                <a:gd name="T12" fmla="*/ 130 w 144"/>
                <a:gd name="T13" fmla="*/ 122 h 216"/>
                <a:gd name="T14" fmla="*/ 144 w 144"/>
                <a:gd name="T15" fmla="*/ 104 h 216"/>
                <a:gd name="T16" fmla="*/ 136 w 144"/>
                <a:gd name="T17" fmla="*/ 86 h 216"/>
                <a:gd name="T18" fmla="*/ 136 w 144"/>
                <a:gd name="T19" fmla="*/ 70 h 216"/>
                <a:gd name="T20" fmla="*/ 136 w 144"/>
                <a:gd name="T21" fmla="*/ 52 h 216"/>
                <a:gd name="T22" fmla="*/ 144 w 144"/>
                <a:gd name="T23" fmla="*/ 34 h 216"/>
                <a:gd name="T24" fmla="*/ 130 w 144"/>
                <a:gd name="T25" fmla="*/ 16 h 216"/>
                <a:gd name="T26" fmla="*/ 120 w 144"/>
                <a:gd name="T27" fmla="*/ 2 h 216"/>
                <a:gd name="T28" fmla="*/ 116 w 144"/>
                <a:gd name="T29" fmla="*/ 0 h 216"/>
                <a:gd name="T30" fmla="*/ 102 w 144"/>
                <a:gd name="T31" fmla="*/ 0 h 216"/>
                <a:gd name="T32" fmla="*/ 88 w 144"/>
                <a:gd name="T33" fmla="*/ 0 h 216"/>
                <a:gd name="T34" fmla="*/ 74 w 144"/>
                <a:gd name="T35" fmla="*/ 8 h 216"/>
                <a:gd name="T36" fmla="*/ 68 w 144"/>
                <a:gd name="T37" fmla="*/ 28 h 216"/>
                <a:gd name="T38" fmla="*/ 68 w 144"/>
                <a:gd name="T39" fmla="*/ 44 h 216"/>
                <a:gd name="T40" fmla="*/ 68 w 144"/>
                <a:gd name="T41" fmla="*/ 60 h 216"/>
                <a:gd name="T42" fmla="*/ 68 w 144"/>
                <a:gd name="T43" fmla="*/ 78 h 216"/>
                <a:gd name="T44" fmla="*/ 68 w 144"/>
                <a:gd name="T45" fmla="*/ 96 h 216"/>
                <a:gd name="T46" fmla="*/ 62 w 144"/>
                <a:gd name="T47" fmla="*/ 112 h 216"/>
                <a:gd name="T48" fmla="*/ 48 w 144"/>
                <a:gd name="T49" fmla="*/ 122 h 216"/>
                <a:gd name="T50" fmla="*/ 40 w 144"/>
                <a:gd name="T51" fmla="*/ 138 h 216"/>
                <a:gd name="T52" fmla="*/ 26 w 144"/>
                <a:gd name="T53" fmla="*/ 156 h 216"/>
                <a:gd name="T54" fmla="*/ 14 w 144"/>
                <a:gd name="T55" fmla="*/ 146 h 216"/>
                <a:gd name="T56" fmla="*/ 0 w 144"/>
                <a:gd name="T57" fmla="*/ 164 h 216"/>
                <a:gd name="T58" fmla="*/ 0 w 144"/>
                <a:gd name="T59" fmla="*/ 182 h 216"/>
                <a:gd name="T60" fmla="*/ 0 w 144"/>
                <a:gd name="T61" fmla="*/ 190 h 216"/>
                <a:gd name="T62" fmla="*/ 6 w 144"/>
                <a:gd name="T63" fmla="*/ 206 h 216"/>
                <a:gd name="T64" fmla="*/ 26 w 144"/>
                <a:gd name="T65" fmla="*/ 216 h 216"/>
                <a:gd name="T66" fmla="*/ 40 w 144"/>
                <a:gd name="T67" fmla="*/ 216 h 216"/>
                <a:gd name="T68" fmla="*/ 48 w 144"/>
                <a:gd name="T69" fmla="*/ 216 h 216"/>
                <a:gd name="T70" fmla="*/ 54 w 144"/>
                <a:gd name="T71" fmla="*/ 216 h 216"/>
                <a:gd name="T72" fmla="*/ 62 w 144"/>
                <a:gd name="T73" fmla="*/ 20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216">
                  <a:moveTo>
                    <a:pt x="62" y="206"/>
                  </a:moveTo>
                  <a:lnTo>
                    <a:pt x="82" y="198"/>
                  </a:lnTo>
                  <a:lnTo>
                    <a:pt x="94" y="182"/>
                  </a:lnTo>
                  <a:lnTo>
                    <a:pt x="94" y="164"/>
                  </a:lnTo>
                  <a:lnTo>
                    <a:pt x="102" y="146"/>
                  </a:lnTo>
                  <a:lnTo>
                    <a:pt x="116" y="130"/>
                  </a:lnTo>
                  <a:lnTo>
                    <a:pt x="130" y="122"/>
                  </a:lnTo>
                  <a:lnTo>
                    <a:pt x="144" y="104"/>
                  </a:lnTo>
                  <a:lnTo>
                    <a:pt x="136" y="86"/>
                  </a:lnTo>
                  <a:lnTo>
                    <a:pt x="136" y="70"/>
                  </a:lnTo>
                  <a:lnTo>
                    <a:pt x="136" y="52"/>
                  </a:lnTo>
                  <a:lnTo>
                    <a:pt x="144" y="34"/>
                  </a:lnTo>
                  <a:lnTo>
                    <a:pt x="130" y="16"/>
                  </a:lnTo>
                  <a:lnTo>
                    <a:pt x="120" y="2"/>
                  </a:lnTo>
                  <a:lnTo>
                    <a:pt x="116" y="0"/>
                  </a:lnTo>
                  <a:lnTo>
                    <a:pt x="102" y="0"/>
                  </a:lnTo>
                  <a:lnTo>
                    <a:pt x="88" y="0"/>
                  </a:lnTo>
                  <a:lnTo>
                    <a:pt x="74" y="8"/>
                  </a:lnTo>
                  <a:lnTo>
                    <a:pt x="68" y="28"/>
                  </a:lnTo>
                  <a:lnTo>
                    <a:pt x="68" y="44"/>
                  </a:lnTo>
                  <a:lnTo>
                    <a:pt x="68" y="60"/>
                  </a:lnTo>
                  <a:lnTo>
                    <a:pt x="68" y="78"/>
                  </a:lnTo>
                  <a:lnTo>
                    <a:pt x="68" y="96"/>
                  </a:lnTo>
                  <a:lnTo>
                    <a:pt x="62" y="112"/>
                  </a:lnTo>
                  <a:lnTo>
                    <a:pt x="48" y="122"/>
                  </a:lnTo>
                  <a:lnTo>
                    <a:pt x="40" y="138"/>
                  </a:lnTo>
                  <a:lnTo>
                    <a:pt x="26" y="156"/>
                  </a:lnTo>
                  <a:lnTo>
                    <a:pt x="14" y="146"/>
                  </a:lnTo>
                  <a:lnTo>
                    <a:pt x="0" y="164"/>
                  </a:lnTo>
                  <a:lnTo>
                    <a:pt x="0" y="182"/>
                  </a:lnTo>
                  <a:lnTo>
                    <a:pt x="0" y="190"/>
                  </a:lnTo>
                  <a:lnTo>
                    <a:pt x="6" y="206"/>
                  </a:lnTo>
                  <a:lnTo>
                    <a:pt x="26" y="216"/>
                  </a:lnTo>
                  <a:lnTo>
                    <a:pt x="40" y="216"/>
                  </a:lnTo>
                  <a:lnTo>
                    <a:pt x="48" y="216"/>
                  </a:lnTo>
                  <a:lnTo>
                    <a:pt x="54" y="216"/>
                  </a:lnTo>
                  <a:lnTo>
                    <a:pt x="62" y="206"/>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2" name="Freeform 68">
              <a:extLst>
                <a:ext uri="{FF2B5EF4-FFF2-40B4-BE49-F238E27FC236}">
                  <a16:creationId xmlns:a16="http://schemas.microsoft.com/office/drawing/2014/main" id="{3383E28B-648E-4889-95DB-A8ED2FFEF12F}"/>
                </a:ext>
              </a:extLst>
            </p:cNvPr>
            <p:cNvSpPr>
              <a:spLocks/>
            </p:cNvSpPr>
            <p:nvPr/>
          </p:nvSpPr>
          <p:spPr bwMode="auto">
            <a:xfrm>
              <a:off x="3308616" y="4297762"/>
              <a:ext cx="364736" cy="209275"/>
            </a:xfrm>
            <a:custGeom>
              <a:avLst/>
              <a:gdLst>
                <a:gd name="T0" fmla="*/ 244 w 244"/>
                <a:gd name="T1" fmla="*/ 26 h 140"/>
                <a:gd name="T2" fmla="*/ 238 w 244"/>
                <a:gd name="T3" fmla="*/ 26 h 140"/>
                <a:gd name="T4" fmla="*/ 230 w 244"/>
                <a:gd name="T5" fmla="*/ 26 h 140"/>
                <a:gd name="T6" fmla="*/ 216 w 244"/>
                <a:gd name="T7" fmla="*/ 26 h 140"/>
                <a:gd name="T8" fmla="*/ 198 w 244"/>
                <a:gd name="T9" fmla="*/ 16 h 140"/>
                <a:gd name="T10" fmla="*/ 190 w 244"/>
                <a:gd name="T11" fmla="*/ 0 h 140"/>
                <a:gd name="T12" fmla="*/ 190 w 244"/>
                <a:gd name="T13" fmla="*/ 2 h 140"/>
                <a:gd name="T14" fmla="*/ 184 w 244"/>
                <a:gd name="T15" fmla="*/ 6 h 140"/>
                <a:gd name="T16" fmla="*/ 176 w 244"/>
                <a:gd name="T17" fmla="*/ 26 h 140"/>
                <a:gd name="T18" fmla="*/ 170 w 244"/>
                <a:gd name="T19" fmla="*/ 44 h 140"/>
                <a:gd name="T20" fmla="*/ 156 w 244"/>
                <a:gd name="T21" fmla="*/ 60 h 140"/>
                <a:gd name="T22" fmla="*/ 136 w 244"/>
                <a:gd name="T23" fmla="*/ 70 h 140"/>
                <a:gd name="T24" fmla="*/ 122 w 244"/>
                <a:gd name="T25" fmla="*/ 70 h 140"/>
                <a:gd name="T26" fmla="*/ 108 w 244"/>
                <a:gd name="T27" fmla="*/ 78 h 140"/>
                <a:gd name="T28" fmla="*/ 94 w 244"/>
                <a:gd name="T29" fmla="*/ 78 h 140"/>
                <a:gd name="T30" fmla="*/ 80 w 244"/>
                <a:gd name="T31" fmla="*/ 78 h 140"/>
                <a:gd name="T32" fmla="*/ 66 w 244"/>
                <a:gd name="T33" fmla="*/ 78 h 140"/>
                <a:gd name="T34" fmla="*/ 54 w 244"/>
                <a:gd name="T35" fmla="*/ 70 h 140"/>
                <a:gd name="T36" fmla="*/ 42 w 244"/>
                <a:gd name="T37" fmla="*/ 78 h 140"/>
                <a:gd name="T38" fmla="*/ 28 w 244"/>
                <a:gd name="T39" fmla="*/ 78 h 140"/>
                <a:gd name="T40" fmla="*/ 14 w 244"/>
                <a:gd name="T41" fmla="*/ 96 h 140"/>
                <a:gd name="T42" fmla="*/ 14 w 244"/>
                <a:gd name="T43" fmla="*/ 114 h 140"/>
                <a:gd name="T44" fmla="*/ 0 w 244"/>
                <a:gd name="T45" fmla="*/ 120 h 140"/>
                <a:gd name="T46" fmla="*/ 0 w 244"/>
                <a:gd name="T47" fmla="*/ 140 h 140"/>
                <a:gd name="T48" fmla="*/ 14 w 244"/>
                <a:gd name="T49" fmla="*/ 132 h 140"/>
                <a:gd name="T50" fmla="*/ 28 w 244"/>
                <a:gd name="T51" fmla="*/ 120 h 140"/>
                <a:gd name="T52" fmla="*/ 42 w 244"/>
                <a:gd name="T53" fmla="*/ 120 h 140"/>
                <a:gd name="T54" fmla="*/ 54 w 244"/>
                <a:gd name="T55" fmla="*/ 132 h 140"/>
                <a:gd name="T56" fmla="*/ 66 w 244"/>
                <a:gd name="T57" fmla="*/ 140 h 140"/>
                <a:gd name="T58" fmla="*/ 80 w 244"/>
                <a:gd name="T59" fmla="*/ 140 h 140"/>
                <a:gd name="T60" fmla="*/ 94 w 244"/>
                <a:gd name="T61" fmla="*/ 132 h 140"/>
                <a:gd name="T62" fmla="*/ 108 w 244"/>
                <a:gd name="T63" fmla="*/ 120 h 140"/>
                <a:gd name="T64" fmla="*/ 122 w 244"/>
                <a:gd name="T65" fmla="*/ 132 h 140"/>
                <a:gd name="T66" fmla="*/ 136 w 244"/>
                <a:gd name="T67" fmla="*/ 140 h 140"/>
                <a:gd name="T68" fmla="*/ 148 w 244"/>
                <a:gd name="T69" fmla="*/ 140 h 140"/>
                <a:gd name="T70" fmla="*/ 162 w 244"/>
                <a:gd name="T71" fmla="*/ 132 h 140"/>
                <a:gd name="T72" fmla="*/ 170 w 244"/>
                <a:gd name="T73" fmla="*/ 114 h 140"/>
                <a:gd name="T74" fmla="*/ 184 w 244"/>
                <a:gd name="T75" fmla="*/ 96 h 140"/>
                <a:gd name="T76" fmla="*/ 198 w 244"/>
                <a:gd name="T77" fmla="*/ 86 h 140"/>
                <a:gd name="T78" fmla="*/ 204 w 244"/>
                <a:gd name="T79" fmla="*/ 86 h 140"/>
                <a:gd name="T80" fmla="*/ 216 w 244"/>
                <a:gd name="T81" fmla="*/ 86 h 140"/>
                <a:gd name="T82" fmla="*/ 230 w 244"/>
                <a:gd name="T83" fmla="*/ 78 h 140"/>
                <a:gd name="T84" fmla="*/ 238 w 244"/>
                <a:gd name="T85" fmla="*/ 60 h 140"/>
                <a:gd name="T86" fmla="*/ 238 w 244"/>
                <a:gd name="T87" fmla="*/ 44 h 140"/>
                <a:gd name="T88" fmla="*/ 244 w 244"/>
                <a:gd name="T89" fmla="*/ 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140">
                  <a:moveTo>
                    <a:pt x="244" y="26"/>
                  </a:moveTo>
                  <a:lnTo>
                    <a:pt x="238" y="26"/>
                  </a:lnTo>
                  <a:lnTo>
                    <a:pt x="230" y="26"/>
                  </a:lnTo>
                  <a:lnTo>
                    <a:pt x="216" y="26"/>
                  </a:lnTo>
                  <a:lnTo>
                    <a:pt x="198" y="16"/>
                  </a:lnTo>
                  <a:lnTo>
                    <a:pt x="190" y="0"/>
                  </a:lnTo>
                  <a:lnTo>
                    <a:pt x="190" y="2"/>
                  </a:lnTo>
                  <a:lnTo>
                    <a:pt x="184" y="6"/>
                  </a:lnTo>
                  <a:lnTo>
                    <a:pt x="176" y="26"/>
                  </a:lnTo>
                  <a:lnTo>
                    <a:pt x="170" y="44"/>
                  </a:lnTo>
                  <a:lnTo>
                    <a:pt x="156" y="60"/>
                  </a:lnTo>
                  <a:lnTo>
                    <a:pt x="136" y="70"/>
                  </a:lnTo>
                  <a:lnTo>
                    <a:pt x="122" y="70"/>
                  </a:lnTo>
                  <a:lnTo>
                    <a:pt x="108" y="78"/>
                  </a:lnTo>
                  <a:lnTo>
                    <a:pt x="94" y="78"/>
                  </a:lnTo>
                  <a:lnTo>
                    <a:pt x="80" y="78"/>
                  </a:lnTo>
                  <a:lnTo>
                    <a:pt x="66" y="78"/>
                  </a:lnTo>
                  <a:lnTo>
                    <a:pt x="54" y="70"/>
                  </a:lnTo>
                  <a:lnTo>
                    <a:pt x="42" y="78"/>
                  </a:lnTo>
                  <a:lnTo>
                    <a:pt x="28" y="78"/>
                  </a:lnTo>
                  <a:lnTo>
                    <a:pt x="14" y="96"/>
                  </a:lnTo>
                  <a:lnTo>
                    <a:pt x="14" y="114"/>
                  </a:lnTo>
                  <a:lnTo>
                    <a:pt x="0" y="120"/>
                  </a:lnTo>
                  <a:lnTo>
                    <a:pt x="0" y="140"/>
                  </a:lnTo>
                  <a:lnTo>
                    <a:pt x="14" y="132"/>
                  </a:lnTo>
                  <a:lnTo>
                    <a:pt x="28" y="120"/>
                  </a:lnTo>
                  <a:lnTo>
                    <a:pt x="42" y="120"/>
                  </a:lnTo>
                  <a:lnTo>
                    <a:pt x="54" y="132"/>
                  </a:lnTo>
                  <a:lnTo>
                    <a:pt x="66" y="140"/>
                  </a:lnTo>
                  <a:lnTo>
                    <a:pt x="80" y="140"/>
                  </a:lnTo>
                  <a:lnTo>
                    <a:pt x="94" y="132"/>
                  </a:lnTo>
                  <a:lnTo>
                    <a:pt x="108" y="120"/>
                  </a:lnTo>
                  <a:lnTo>
                    <a:pt x="122" y="132"/>
                  </a:lnTo>
                  <a:lnTo>
                    <a:pt x="136" y="140"/>
                  </a:lnTo>
                  <a:lnTo>
                    <a:pt x="148" y="140"/>
                  </a:lnTo>
                  <a:lnTo>
                    <a:pt x="162" y="132"/>
                  </a:lnTo>
                  <a:lnTo>
                    <a:pt x="170" y="114"/>
                  </a:lnTo>
                  <a:lnTo>
                    <a:pt x="184" y="96"/>
                  </a:lnTo>
                  <a:lnTo>
                    <a:pt x="198" y="86"/>
                  </a:lnTo>
                  <a:lnTo>
                    <a:pt x="204" y="86"/>
                  </a:lnTo>
                  <a:lnTo>
                    <a:pt x="216" y="86"/>
                  </a:lnTo>
                  <a:lnTo>
                    <a:pt x="230" y="78"/>
                  </a:lnTo>
                  <a:lnTo>
                    <a:pt x="238" y="60"/>
                  </a:lnTo>
                  <a:lnTo>
                    <a:pt x="238" y="44"/>
                  </a:lnTo>
                  <a:lnTo>
                    <a:pt x="244" y="2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Freeform 69">
              <a:extLst>
                <a:ext uri="{FF2B5EF4-FFF2-40B4-BE49-F238E27FC236}">
                  <a16:creationId xmlns:a16="http://schemas.microsoft.com/office/drawing/2014/main" id="{FEC77600-B55D-43E4-B458-8A4D92F01527}"/>
                </a:ext>
              </a:extLst>
            </p:cNvPr>
            <p:cNvSpPr>
              <a:spLocks/>
            </p:cNvSpPr>
            <p:nvPr/>
          </p:nvSpPr>
          <p:spPr bwMode="auto">
            <a:xfrm>
              <a:off x="3308616" y="4297762"/>
              <a:ext cx="364736" cy="209275"/>
            </a:xfrm>
            <a:custGeom>
              <a:avLst/>
              <a:gdLst>
                <a:gd name="T0" fmla="*/ 244 w 244"/>
                <a:gd name="T1" fmla="*/ 26 h 140"/>
                <a:gd name="T2" fmla="*/ 238 w 244"/>
                <a:gd name="T3" fmla="*/ 26 h 140"/>
                <a:gd name="T4" fmla="*/ 230 w 244"/>
                <a:gd name="T5" fmla="*/ 26 h 140"/>
                <a:gd name="T6" fmla="*/ 216 w 244"/>
                <a:gd name="T7" fmla="*/ 26 h 140"/>
                <a:gd name="T8" fmla="*/ 198 w 244"/>
                <a:gd name="T9" fmla="*/ 16 h 140"/>
                <a:gd name="T10" fmla="*/ 190 w 244"/>
                <a:gd name="T11" fmla="*/ 0 h 140"/>
                <a:gd name="T12" fmla="*/ 190 w 244"/>
                <a:gd name="T13" fmla="*/ 2 h 140"/>
                <a:gd name="T14" fmla="*/ 184 w 244"/>
                <a:gd name="T15" fmla="*/ 6 h 140"/>
                <a:gd name="T16" fmla="*/ 176 w 244"/>
                <a:gd name="T17" fmla="*/ 26 h 140"/>
                <a:gd name="T18" fmla="*/ 170 w 244"/>
                <a:gd name="T19" fmla="*/ 44 h 140"/>
                <a:gd name="T20" fmla="*/ 156 w 244"/>
                <a:gd name="T21" fmla="*/ 60 h 140"/>
                <a:gd name="T22" fmla="*/ 136 w 244"/>
                <a:gd name="T23" fmla="*/ 70 h 140"/>
                <a:gd name="T24" fmla="*/ 122 w 244"/>
                <a:gd name="T25" fmla="*/ 70 h 140"/>
                <a:gd name="T26" fmla="*/ 108 w 244"/>
                <a:gd name="T27" fmla="*/ 78 h 140"/>
                <a:gd name="T28" fmla="*/ 94 w 244"/>
                <a:gd name="T29" fmla="*/ 78 h 140"/>
                <a:gd name="T30" fmla="*/ 80 w 244"/>
                <a:gd name="T31" fmla="*/ 78 h 140"/>
                <a:gd name="T32" fmla="*/ 66 w 244"/>
                <a:gd name="T33" fmla="*/ 78 h 140"/>
                <a:gd name="T34" fmla="*/ 54 w 244"/>
                <a:gd name="T35" fmla="*/ 70 h 140"/>
                <a:gd name="T36" fmla="*/ 42 w 244"/>
                <a:gd name="T37" fmla="*/ 78 h 140"/>
                <a:gd name="T38" fmla="*/ 28 w 244"/>
                <a:gd name="T39" fmla="*/ 78 h 140"/>
                <a:gd name="T40" fmla="*/ 14 w 244"/>
                <a:gd name="T41" fmla="*/ 96 h 140"/>
                <a:gd name="T42" fmla="*/ 14 w 244"/>
                <a:gd name="T43" fmla="*/ 114 h 140"/>
                <a:gd name="T44" fmla="*/ 0 w 244"/>
                <a:gd name="T45" fmla="*/ 120 h 140"/>
                <a:gd name="T46" fmla="*/ 0 w 244"/>
                <a:gd name="T47" fmla="*/ 140 h 140"/>
                <a:gd name="T48" fmla="*/ 14 w 244"/>
                <a:gd name="T49" fmla="*/ 132 h 140"/>
                <a:gd name="T50" fmla="*/ 28 w 244"/>
                <a:gd name="T51" fmla="*/ 120 h 140"/>
                <a:gd name="T52" fmla="*/ 42 w 244"/>
                <a:gd name="T53" fmla="*/ 120 h 140"/>
                <a:gd name="T54" fmla="*/ 54 w 244"/>
                <a:gd name="T55" fmla="*/ 132 h 140"/>
                <a:gd name="T56" fmla="*/ 66 w 244"/>
                <a:gd name="T57" fmla="*/ 140 h 140"/>
                <a:gd name="T58" fmla="*/ 80 w 244"/>
                <a:gd name="T59" fmla="*/ 140 h 140"/>
                <a:gd name="T60" fmla="*/ 94 w 244"/>
                <a:gd name="T61" fmla="*/ 132 h 140"/>
                <a:gd name="T62" fmla="*/ 108 w 244"/>
                <a:gd name="T63" fmla="*/ 120 h 140"/>
                <a:gd name="T64" fmla="*/ 122 w 244"/>
                <a:gd name="T65" fmla="*/ 132 h 140"/>
                <a:gd name="T66" fmla="*/ 136 w 244"/>
                <a:gd name="T67" fmla="*/ 140 h 140"/>
                <a:gd name="T68" fmla="*/ 148 w 244"/>
                <a:gd name="T69" fmla="*/ 140 h 140"/>
                <a:gd name="T70" fmla="*/ 162 w 244"/>
                <a:gd name="T71" fmla="*/ 132 h 140"/>
                <a:gd name="T72" fmla="*/ 170 w 244"/>
                <a:gd name="T73" fmla="*/ 114 h 140"/>
                <a:gd name="T74" fmla="*/ 184 w 244"/>
                <a:gd name="T75" fmla="*/ 96 h 140"/>
                <a:gd name="T76" fmla="*/ 198 w 244"/>
                <a:gd name="T77" fmla="*/ 86 h 140"/>
                <a:gd name="T78" fmla="*/ 204 w 244"/>
                <a:gd name="T79" fmla="*/ 86 h 140"/>
                <a:gd name="T80" fmla="*/ 216 w 244"/>
                <a:gd name="T81" fmla="*/ 86 h 140"/>
                <a:gd name="T82" fmla="*/ 230 w 244"/>
                <a:gd name="T83" fmla="*/ 78 h 140"/>
                <a:gd name="T84" fmla="*/ 238 w 244"/>
                <a:gd name="T85" fmla="*/ 60 h 140"/>
                <a:gd name="T86" fmla="*/ 238 w 244"/>
                <a:gd name="T87" fmla="*/ 44 h 140"/>
                <a:gd name="T88" fmla="*/ 244 w 244"/>
                <a:gd name="T89" fmla="*/ 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140">
                  <a:moveTo>
                    <a:pt x="244" y="26"/>
                  </a:moveTo>
                  <a:lnTo>
                    <a:pt x="238" y="26"/>
                  </a:lnTo>
                  <a:lnTo>
                    <a:pt x="230" y="26"/>
                  </a:lnTo>
                  <a:lnTo>
                    <a:pt x="216" y="26"/>
                  </a:lnTo>
                  <a:lnTo>
                    <a:pt x="198" y="16"/>
                  </a:lnTo>
                  <a:lnTo>
                    <a:pt x="190" y="0"/>
                  </a:lnTo>
                  <a:lnTo>
                    <a:pt x="190" y="2"/>
                  </a:lnTo>
                  <a:lnTo>
                    <a:pt x="184" y="6"/>
                  </a:lnTo>
                  <a:lnTo>
                    <a:pt x="176" y="26"/>
                  </a:lnTo>
                  <a:lnTo>
                    <a:pt x="170" y="44"/>
                  </a:lnTo>
                  <a:lnTo>
                    <a:pt x="156" y="60"/>
                  </a:lnTo>
                  <a:lnTo>
                    <a:pt x="136" y="70"/>
                  </a:lnTo>
                  <a:lnTo>
                    <a:pt x="122" y="70"/>
                  </a:lnTo>
                  <a:lnTo>
                    <a:pt x="108" y="78"/>
                  </a:lnTo>
                  <a:lnTo>
                    <a:pt x="94" y="78"/>
                  </a:lnTo>
                  <a:lnTo>
                    <a:pt x="80" y="78"/>
                  </a:lnTo>
                  <a:lnTo>
                    <a:pt x="66" y="78"/>
                  </a:lnTo>
                  <a:lnTo>
                    <a:pt x="54" y="70"/>
                  </a:lnTo>
                  <a:lnTo>
                    <a:pt x="42" y="78"/>
                  </a:lnTo>
                  <a:lnTo>
                    <a:pt x="28" y="78"/>
                  </a:lnTo>
                  <a:lnTo>
                    <a:pt x="14" y="96"/>
                  </a:lnTo>
                  <a:lnTo>
                    <a:pt x="14" y="114"/>
                  </a:lnTo>
                  <a:lnTo>
                    <a:pt x="0" y="120"/>
                  </a:lnTo>
                  <a:lnTo>
                    <a:pt x="0" y="140"/>
                  </a:lnTo>
                  <a:lnTo>
                    <a:pt x="14" y="132"/>
                  </a:lnTo>
                  <a:lnTo>
                    <a:pt x="28" y="120"/>
                  </a:lnTo>
                  <a:lnTo>
                    <a:pt x="42" y="120"/>
                  </a:lnTo>
                  <a:lnTo>
                    <a:pt x="54" y="132"/>
                  </a:lnTo>
                  <a:lnTo>
                    <a:pt x="66" y="140"/>
                  </a:lnTo>
                  <a:lnTo>
                    <a:pt x="80" y="140"/>
                  </a:lnTo>
                  <a:lnTo>
                    <a:pt x="94" y="132"/>
                  </a:lnTo>
                  <a:lnTo>
                    <a:pt x="108" y="120"/>
                  </a:lnTo>
                  <a:lnTo>
                    <a:pt x="122" y="132"/>
                  </a:lnTo>
                  <a:lnTo>
                    <a:pt x="136" y="140"/>
                  </a:lnTo>
                  <a:lnTo>
                    <a:pt x="148" y="140"/>
                  </a:lnTo>
                  <a:lnTo>
                    <a:pt x="162" y="132"/>
                  </a:lnTo>
                  <a:lnTo>
                    <a:pt x="170" y="114"/>
                  </a:lnTo>
                  <a:lnTo>
                    <a:pt x="184" y="96"/>
                  </a:lnTo>
                  <a:lnTo>
                    <a:pt x="198" y="86"/>
                  </a:lnTo>
                  <a:lnTo>
                    <a:pt x="204" y="86"/>
                  </a:lnTo>
                  <a:lnTo>
                    <a:pt x="216" y="86"/>
                  </a:lnTo>
                  <a:lnTo>
                    <a:pt x="230" y="78"/>
                  </a:lnTo>
                  <a:lnTo>
                    <a:pt x="238" y="60"/>
                  </a:lnTo>
                  <a:lnTo>
                    <a:pt x="238" y="44"/>
                  </a:lnTo>
                  <a:lnTo>
                    <a:pt x="244" y="26"/>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Freeform 70">
              <a:extLst>
                <a:ext uri="{FF2B5EF4-FFF2-40B4-BE49-F238E27FC236}">
                  <a16:creationId xmlns:a16="http://schemas.microsoft.com/office/drawing/2014/main" id="{3073CA46-4679-4EAD-ABF9-802B08E7C090}"/>
                </a:ext>
              </a:extLst>
            </p:cNvPr>
            <p:cNvSpPr>
              <a:spLocks/>
            </p:cNvSpPr>
            <p:nvPr/>
          </p:nvSpPr>
          <p:spPr bwMode="auto">
            <a:xfrm>
              <a:off x="2725636" y="3640042"/>
              <a:ext cx="1070291" cy="840089"/>
            </a:xfrm>
            <a:custGeom>
              <a:avLst/>
              <a:gdLst>
                <a:gd name="T0" fmla="*/ 668 w 716"/>
                <a:gd name="T1" fmla="*/ 250 h 562"/>
                <a:gd name="T2" fmla="*/ 650 w 716"/>
                <a:gd name="T3" fmla="*/ 294 h 562"/>
                <a:gd name="T4" fmla="*/ 650 w 716"/>
                <a:gd name="T5" fmla="*/ 346 h 562"/>
                <a:gd name="T6" fmla="*/ 620 w 716"/>
                <a:gd name="T7" fmla="*/ 388 h 562"/>
                <a:gd name="T8" fmla="*/ 580 w 716"/>
                <a:gd name="T9" fmla="*/ 416 h 562"/>
                <a:gd name="T10" fmla="*/ 580 w 716"/>
                <a:gd name="T11" fmla="*/ 440 h 562"/>
                <a:gd name="T12" fmla="*/ 562 w 716"/>
                <a:gd name="T13" fmla="*/ 484 h 562"/>
                <a:gd name="T14" fmla="*/ 514 w 716"/>
                <a:gd name="T15" fmla="*/ 510 h 562"/>
                <a:gd name="T16" fmla="*/ 472 w 716"/>
                <a:gd name="T17" fmla="*/ 520 h 562"/>
                <a:gd name="T18" fmla="*/ 432 w 716"/>
                <a:gd name="T19" fmla="*/ 520 h 562"/>
                <a:gd name="T20" fmla="*/ 398 w 716"/>
                <a:gd name="T21" fmla="*/ 536 h 562"/>
                <a:gd name="T22" fmla="*/ 358 w 716"/>
                <a:gd name="T23" fmla="*/ 554 h 562"/>
                <a:gd name="T24" fmla="*/ 318 w 716"/>
                <a:gd name="T25" fmla="*/ 554 h 562"/>
                <a:gd name="T26" fmla="*/ 282 w 716"/>
                <a:gd name="T27" fmla="*/ 536 h 562"/>
                <a:gd name="T28" fmla="*/ 270 w 716"/>
                <a:gd name="T29" fmla="*/ 492 h 562"/>
                <a:gd name="T30" fmla="*/ 250 w 716"/>
                <a:gd name="T31" fmla="*/ 448 h 562"/>
                <a:gd name="T32" fmla="*/ 236 w 716"/>
                <a:gd name="T33" fmla="*/ 406 h 562"/>
                <a:gd name="T34" fmla="*/ 208 w 716"/>
                <a:gd name="T35" fmla="*/ 372 h 562"/>
                <a:gd name="T36" fmla="*/ 168 w 716"/>
                <a:gd name="T37" fmla="*/ 380 h 562"/>
                <a:gd name="T38" fmla="*/ 128 w 716"/>
                <a:gd name="T39" fmla="*/ 380 h 562"/>
                <a:gd name="T40" fmla="*/ 106 w 716"/>
                <a:gd name="T41" fmla="*/ 354 h 562"/>
                <a:gd name="T42" fmla="*/ 66 w 716"/>
                <a:gd name="T43" fmla="*/ 364 h 562"/>
                <a:gd name="T44" fmla="*/ 24 w 716"/>
                <a:gd name="T45" fmla="*/ 372 h 562"/>
                <a:gd name="T46" fmla="*/ 12 w 716"/>
                <a:gd name="T47" fmla="*/ 364 h 562"/>
                <a:gd name="T48" fmla="*/ 24 w 716"/>
                <a:gd name="T49" fmla="*/ 326 h 562"/>
                <a:gd name="T50" fmla="*/ 52 w 716"/>
                <a:gd name="T51" fmla="*/ 284 h 562"/>
                <a:gd name="T52" fmla="*/ 94 w 716"/>
                <a:gd name="T53" fmla="*/ 268 h 562"/>
                <a:gd name="T54" fmla="*/ 134 w 716"/>
                <a:gd name="T55" fmla="*/ 268 h 562"/>
                <a:gd name="T56" fmla="*/ 174 w 716"/>
                <a:gd name="T57" fmla="*/ 268 h 562"/>
                <a:gd name="T58" fmla="*/ 236 w 716"/>
                <a:gd name="T59" fmla="*/ 250 h 562"/>
                <a:gd name="T60" fmla="*/ 236 w 716"/>
                <a:gd name="T61" fmla="*/ 206 h 562"/>
                <a:gd name="T62" fmla="*/ 242 w 716"/>
                <a:gd name="T63" fmla="*/ 154 h 562"/>
                <a:gd name="T64" fmla="*/ 256 w 716"/>
                <a:gd name="T65" fmla="*/ 102 h 562"/>
                <a:gd name="T66" fmla="*/ 282 w 716"/>
                <a:gd name="T67" fmla="*/ 68 h 562"/>
                <a:gd name="T68" fmla="*/ 296 w 716"/>
                <a:gd name="T69" fmla="*/ 34 h 562"/>
                <a:gd name="T70" fmla="*/ 324 w 716"/>
                <a:gd name="T71" fmla="*/ 42 h 562"/>
                <a:gd name="T72" fmla="*/ 344 w 716"/>
                <a:gd name="T73" fmla="*/ 62 h 562"/>
                <a:gd name="T74" fmla="*/ 384 w 716"/>
                <a:gd name="T75" fmla="*/ 34 h 562"/>
                <a:gd name="T76" fmla="*/ 426 w 716"/>
                <a:gd name="T77" fmla="*/ 0 h 562"/>
                <a:gd name="T78" fmla="*/ 460 w 716"/>
                <a:gd name="T79" fmla="*/ 26 h 562"/>
                <a:gd name="T80" fmla="*/ 512 w 716"/>
                <a:gd name="T81" fmla="*/ 26 h 562"/>
                <a:gd name="T82" fmla="*/ 560 w 716"/>
                <a:gd name="T83" fmla="*/ 62 h 562"/>
                <a:gd name="T84" fmla="*/ 608 w 716"/>
                <a:gd name="T85" fmla="*/ 78 h 562"/>
                <a:gd name="T86" fmla="*/ 650 w 716"/>
                <a:gd name="T87" fmla="*/ 112 h 562"/>
                <a:gd name="T88" fmla="*/ 696 w 716"/>
                <a:gd name="T89" fmla="*/ 112 h 562"/>
                <a:gd name="T90" fmla="*/ 702 w 716"/>
                <a:gd name="T91" fmla="*/ 154 h 562"/>
                <a:gd name="T92" fmla="*/ 668 w 716"/>
                <a:gd name="T93" fmla="*/ 190 h 562"/>
                <a:gd name="T94" fmla="*/ 688 w 716"/>
                <a:gd name="T95" fmla="*/ 24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6" h="562">
                  <a:moveTo>
                    <a:pt x="696" y="250"/>
                  </a:moveTo>
                  <a:lnTo>
                    <a:pt x="682" y="250"/>
                  </a:lnTo>
                  <a:lnTo>
                    <a:pt x="668" y="250"/>
                  </a:lnTo>
                  <a:lnTo>
                    <a:pt x="656" y="260"/>
                  </a:lnTo>
                  <a:lnTo>
                    <a:pt x="650" y="278"/>
                  </a:lnTo>
                  <a:lnTo>
                    <a:pt x="650" y="294"/>
                  </a:lnTo>
                  <a:lnTo>
                    <a:pt x="650" y="312"/>
                  </a:lnTo>
                  <a:lnTo>
                    <a:pt x="650" y="328"/>
                  </a:lnTo>
                  <a:lnTo>
                    <a:pt x="650" y="346"/>
                  </a:lnTo>
                  <a:lnTo>
                    <a:pt x="642" y="364"/>
                  </a:lnTo>
                  <a:lnTo>
                    <a:pt x="630" y="372"/>
                  </a:lnTo>
                  <a:lnTo>
                    <a:pt x="620" y="388"/>
                  </a:lnTo>
                  <a:lnTo>
                    <a:pt x="608" y="408"/>
                  </a:lnTo>
                  <a:lnTo>
                    <a:pt x="594" y="396"/>
                  </a:lnTo>
                  <a:lnTo>
                    <a:pt x="580" y="416"/>
                  </a:lnTo>
                  <a:lnTo>
                    <a:pt x="580" y="432"/>
                  </a:lnTo>
                  <a:lnTo>
                    <a:pt x="580" y="440"/>
                  </a:lnTo>
                  <a:lnTo>
                    <a:pt x="580" y="440"/>
                  </a:lnTo>
                  <a:lnTo>
                    <a:pt x="574" y="448"/>
                  </a:lnTo>
                  <a:lnTo>
                    <a:pt x="568" y="468"/>
                  </a:lnTo>
                  <a:lnTo>
                    <a:pt x="562" y="484"/>
                  </a:lnTo>
                  <a:lnTo>
                    <a:pt x="548" y="502"/>
                  </a:lnTo>
                  <a:lnTo>
                    <a:pt x="526" y="510"/>
                  </a:lnTo>
                  <a:lnTo>
                    <a:pt x="514" y="510"/>
                  </a:lnTo>
                  <a:lnTo>
                    <a:pt x="500" y="520"/>
                  </a:lnTo>
                  <a:lnTo>
                    <a:pt x="488" y="520"/>
                  </a:lnTo>
                  <a:lnTo>
                    <a:pt x="472" y="520"/>
                  </a:lnTo>
                  <a:lnTo>
                    <a:pt x="460" y="520"/>
                  </a:lnTo>
                  <a:lnTo>
                    <a:pt x="446" y="510"/>
                  </a:lnTo>
                  <a:lnTo>
                    <a:pt x="432" y="520"/>
                  </a:lnTo>
                  <a:lnTo>
                    <a:pt x="420" y="520"/>
                  </a:lnTo>
                  <a:lnTo>
                    <a:pt x="404" y="536"/>
                  </a:lnTo>
                  <a:lnTo>
                    <a:pt x="398" y="536"/>
                  </a:lnTo>
                  <a:lnTo>
                    <a:pt x="384" y="536"/>
                  </a:lnTo>
                  <a:lnTo>
                    <a:pt x="372" y="546"/>
                  </a:lnTo>
                  <a:lnTo>
                    <a:pt x="358" y="554"/>
                  </a:lnTo>
                  <a:lnTo>
                    <a:pt x="344" y="562"/>
                  </a:lnTo>
                  <a:lnTo>
                    <a:pt x="330" y="562"/>
                  </a:lnTo>
                  <a:lnTo>
                    <a:pt x="318" y="554"/>
                  </a:lnTo>
                  <a:lnTo>
                    <a:pt x="302" y="562"/>
                  </a:lnTo>
                  <a:lnTo>
                    <a:pt x="290" y="554"/>
                  </a:lnTo>
                  <a:lnTo>
                    <a:pt x="282" y="536"/>
                  </a:lnTo>
                  <a:lnTo>
                    <a:pt x="270" y="526"/>
                  </a:lnTo>
                  <a:lnTo>
                    <a:pt x="276" y="510"/>
                  </a:lnTo>
                  <a:lnTo>
                    <a:pt x="270" y="492"/>
                  </a:lnTo>
                  <a:lnTo>
                    <a:pt x="270" y="474"/>
                  </a:lnTo>
                  <a:lnTo>
                    <a:pt x="256" y="468"/>
                  </a:lnTo>
                  <a:lnTo>
                    <a:pt x="250" y="448"/>
                  </a:lnTo>
                  <a:lnTo>
                    <a:pt x="250" y="432"/>
                  </a:lnTo>
                  <a:lnTo>
                    <a:pt x="250" y="414"/>
                  </a:lnTo>
                  <a:lnTo>
                    <a:pt x="236" y="406"/>
                  </a:lnTo>
                  <a:lnTo>
                    <a:pt x="228" y="388"/>
                  </a:lnTo>
                  <a:lnTo>
                    <a:pt x="222" y="372"/>
                  </a:lnTo>
                  <a:lnTo>
                    <a:pt x="208" y="372"/>
                  </a:lnTo>
                  <a:lnTo>
                    <a:pt x="194" y="380"/>
                  </a:lnTo>
                  <a:lnTo>
                    <a:pt x="180" y="380"/>
                  </a:lnTo>
                  <a:lnTo>
                    <a:pt x="168" y="380"/>
                  </a:lnTo>
                  <a:lnTo>
                    <a:pt x="156" y="396"/>
                  </a:lnTo>
                  <a:lnTo>
                    <a:pt x="140" y="388"/>
                  </a:lnTo>
                  <a:lnTo>
                    <a:pt x="128" y="380"/>
                  </a:lnTo>
                  <a:lnTo>
                    <a:pt x="112" y="388"/>
                  </a:lnTo>
                  <a:lnTo>
                    <a:pt x="106" y="372"/>
                  </a:lnTo>
                  <a:lnTo>
                    <a:pt x="106" y="354"/>
                  </a:lnTo>
                  <a:lnTo>
                    <a:pt x="94" y="354"/>
                  </a:lnTo>
                  <a:lnTo>
                    <a:pt x="80" y="364"/>
                  </a:lnTo>
                  <a:lnTo>
                    <a:pt x="66" y="364"/>
                  </a:lnTo>
                  <a:lnTo>
                    <a:pt x="52" y="354"/>
                  </a:lnTo>
                  <a:lnTo>
                    <a:pt x="38" y="354"/>
                  </a:lnTo>
                  <a:lnTo>
                    <a:pt x="24" y="372"/>
                  </a:lnTo>
                  <a:lnTo>
                    <a:pt x="12" y="380"/>
                  </a:lnTo>
                  <a:lnTo>
                    <a:pt x="0" y="388"/>
                  </a:lnTo>
                  <a:lnTo>
                    <a:pt x="12" y="364"/>
                  </a:lnTo>
                  <a:lnTo>
                    <a:pt x="4" y="346"/>
                  </a:lnTo>
                  <a:lnTo>
                    <a:pt x="12" y="336"/>
                  </a:lnTo>
                  <a:lnTo>
                    <a:pt x="24" y="326"/>
                  </a:lnTo>
                  <a:lnTo>
                    <a:pt x="24" y="310"/>
                  </a:lnTo>
                  <a:lnTo>
                    <a:pt x="38" y="294"/>
                  </a:lnTo>
                  <a:lnTo>
                    <a:pt x="52" y="284"/>
                  </a:lnTo>
                  <a:lnTo>
                    <a:pt x="66" y="278"/>
                  </a:lnTo>
                  <a:lnTo>
                    <a:pt x="80" y="268"/>
                  </a:lnTo>
                  <a:lnTo>
                    <a:pt x="94" y="268"/>
                  </a:lnTo>
                  <a:lnTo>
                    <a:pt x="106" y="268"/>
                  </a:lnTo>
                  <a:lnTo>
                    <a:pt x="120" y="278"/>
                  </a:lnTo>
                  <a:lnTo>
                    <a:pt x="134" y="268"/>
                  </a:lnTo>
                  <a:lnTo>
                    <a:pt x="148" y="268"/>
                  </a:lnTo>
                  <a:lnTo>
                    <a:pt x="160" y="258"/>
                  </a:lnTo>
                  <a:lnTo>
                    <a:pt x="174" y="268"/>
                  </a:lnTo>
                  <a:lnTo>
                    <a:pt x="200" y="258"/>
                  </a:lnTo>
                  <a:lnTo>
                    <a:pt x="222" y="258"/>
                  </a:lnTo>
                  <a:lnTo>
                    <a:pt x="236" y="250"/>
                  </a:lnTo>
                  <a:lnTo>
                    <a:pt x="242" y="232"/>
                  </a:lnTo>
                  <a:lnTo>
                    <a:pt x="250" y="216"/>
                  </a:lnTo>
                  <a:lnTo>
                    <a:pt x="236" y="206"/>
                  </a:lnTo>
                  <a:lnTo>
                    <a:pt x="242" y="190"/>
                  </a:lnTo>
                  <a:lnTo>
                    <a:pt x="256" y="172"/>
                  </a:lnTo>
                  <a:lnTo>
                    <a:pt x="242" y="154"/>
                  </a:lnTo>
                  <a:lnTo>
                    <a:pt x="236" y="138"/>
                  </a:lnTo>
                  <a:lnTo>
                    <a:pt x="242" y="120"/>
                  </a:lnTo>
                  <a:lnTo>
                    <a:pt x="256" y="102"/>
                  </a:lnTo>
                  <a:lnTo>
                    <a:pt x="270" y="102"/>
                  </a:lnTo>
                  <a:lnTo>
                    <a:pt x="282" y="84"/>
                  </a:lnTo>
                  <a:lnTo>
                    <a:pt x="282" y="68"/>
                  </a:lnTo>
                  <a:lnTo>
                    <a:pt x="282" y="52"/>
                  </a:lnTo>
                  <a:lnTo>
                    <a:pt x="296" y="52"/>
                  </a:lnTo>
                  <a:lnTo>
                    <a:pt x="296" y="34"/>
                  </a:lnTo>
                  <a:lnTo>
                    <a:pt x="310" y="34"/>
                  </a:lnTo>
                  <a:lnTo>
                    <a:pt x="324" y="42"/>
                  </a:lnTo>
                  <a:lnTo>
                    <a:pt x="324" y="42"/>
                  </a:lnTo>
                  <a:lnTo>
                    <a:pt x="324" y="52"/>
                  </a:lnTo>
                  <a:lnTo>
                    <a:pt x="330" y="70"/>
                  </a:lnTo>
                  <a:lnTo>
                    <a:pt x="344" y="62"/>
                  </a:lnTo>
                  <a:lnTo>
                    <a:pt x="350" y="62"/>
                  </a:lnTo>
                  <a:lnTo>
                    <a:pt x="372" y="42"/>
                  </a:lnTo>
                  <a:lnTo>
                    <a:pt x="384" y="34"/>
                  </a:lnTo>
                  <a:lnTo>
                    <a:pt x="398" y="18"/>
                  </a:lnTo>
                  <a:lnTo>
                    <a:pt x="412" y="8"/>
                  </a:lnTo>
                  <a:lnTo>
                    <a:pt x="426" y="0"/>
                  </a:lnTo>
                  <a:lnTo>
                    <a:pt x="446" y="0"/>
                  </a:lnTo>
                  <a:lnTo>
                    <a:pt x="460" y="8"/>
                  </a:lnTo>
                  <a:lnTo>
                    <a:pt x="460" y="26"/>
                  </a:lnTo>
                  <a:lnTo>
                    <a:pt x="488" y="34"/>
                  </a:lnTo>
                  <a:lnTo>
                    <a:pt x="498" y="34"/>
                  </a:lnTo>
                  <a:lnTo>
                    <a:pt x="512" y="26"/>
                  </a:lnTo>
                  <a:lnTo>
                    <a:pt x="526" y="26"/>
                  </a:lnTo>
                  <a:lnTo>
                    <a:pt x="538" y="42"/>
                  </a:lnTo>
                  <a:lnTo>
                    <a:pt x="560" y="62"/>
                  </a:lnTo>
                  <a:lnTo>
                    <a:pt x="574" y="62"/>
                  </a:lnTo>
                  <a:lnTo>
                    <a:pt x="588" y="70"/>
                  </a:lnTo>
                  <a:lnTo>
                    <a:pt x="608" y="78"/>
                  </a:lnTo>
                  <a:lnTo>
                    <a:pt x="614" y="94"/>
                  </a:lnTo>
                  <a:lnTo>
                    <a:pt x="634" y="104"/>
                  </a:lnTo>
                  <a:lnTo>
                    <a:pt x="650" y="112"/>
                  </a:lnTo>
                  <a:lnTo>
                    <a:pt x="668" y="104"/>
                  </a:lnTo>
                  <a:lnTo>
                    <a:pt x="676" y="122"/>
                  </a:lnTo>
                  <a:lnTo>
                    <a:pt x="696" y="112"/>
                  </a:lnTo>
                  <a:lnTo>
                    <a:pt x="710" y="122"/>
                  </a:lnTo>
                  <a:lnTo>
                    <a:pt x="716" y="138"/>
                  </a:lnTo>
                  <a:lnTo>
                    <a:pt x="702" y="154"/>
                  </a:lnTo>
                  <a:lnTo>
                    <a:pt x="688" y="174"/>
                  </a:lnTo>
                  <a:lnTo>
                    <a:pt x="676" y="174"/>
                  </a:lnTo>
                  <a:lnTo>
                    <a:pt x="668" y="190"/>
                  </a:lnTo>
                  <a:lnTo>
                    <a:pt x="668" y="208"/>
                  </a:lnTo>
                  <a:lnTo>
                    <a:pt x="682" y="226"/>
                  </a:lnTo>
                  <a:lnTo>
                    <a:pt x="688" y="242"/>
                  </a:lnTo>
                  <a:lnTo>
                    <a:pt x="696" y="25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Freeform 71">
              <a:extLst>
                <a:ext uri="{FF2B5EF4-FFF2-40B4-BE49-F238E27FC236}">
                  <a16:creationId xmlns:a16="http://schemas.microsoft.com/office/drawing/2014/main" id="{334B664E-FF07-4F07-86CD-23866E92C7D2}"/>
                </a:ext>
              </a:extLst>
            </p:cNvPr>
            <p:cNvSpPr>
              <a:spLocks/>
            </p:cNvSpPr>
            <p:nvPr/>
          </p:nvSpPr>
          <p:spPr bwMode="auto">
            <a:xfrm>
              <a:off x="2725636" y="3640042"/>
              <a:ext cx="1070291" cy="840089"/>
            </a:xfrm>
            <a:custGeom>
              <a:avLst/>
              <a:gdLst>
                <a:gd name="T0" fmla="*/ 668 w 716"/>
                <a:gd name="T1" fmla="*/ 250 h 562"/>
                <a:gd name="T2" fmla="*/ 650 w 716"/>
                <a:gd name="T3" fmla="*/ 294 h 562"/>
                <a:gd name="T4" fmla="*/ 650 w 716"/>
                <a:gd name="T5" fmla="*/ 346 h 562"/>
                <a:gd name="T6" fmla="*/ 620 w 716"/>
                <a:gd name="T7" fmla="*/ 388 h 562"/>
                <a:gd name="T8" fmla="*/ 580 w 716"/>
                <a:gd name="T9" fmla="*/ 416 h 562"/>
                <a:gd name="T10" fmla="*/ 580 w 716"/>
                <a:gd name="T11" fmla="*/ 440 h 562"/>
                <a:gd name="T12" fmla="*/ 562 w 716"/>
                <a:gd name="T13" fmla="*/ 484 h 562"/>
                <a:gd name="T14" fmla="*/ 514 w 716"/>
                <a:gd name="T15" fmla="*/ 510 h 562"/>
                <a:gd name="T16" fmla="*/ 472 w 716"/>
                <a:gd name="T17" fmla="*/ 520 h 562"/>
                <a:gd name="T18" fmla="*/ 432 w 716"/>
                <a:gd name="T19" fmla="*/ 520 h 562"/>
                <a:gd name="T20" fmla="*/ 398 w 716"/>
                <a:gd name="T21" fmla="*/ 536 h 562"/>
                <a:gd name="T22" fmla="*/ 358 w 716"/>
                <a:gd name="T23" fmla="*/ 554 h 562"/>
                <a:gd name="T24" fmla="*/ 318 w 716"/>
                <a:gd name="T25" fmla="*/ 554 h 562"/>
                <a:gd name="T26" fmla="*/ 282 w 716"/>
                <a:gd name="T27" fmla="*/ 536 h 562"/>
                <a:gd name="T28" fmla="*/ 270 w 716"/>
                <a:gd name="T29" fmla="*/ 492 h 562"/>
                <a:gd name="T30" fmla="*/ 250 w 716"/>
                <a:gd name="T31" fmla="*/ 448 h 562"/>
                <a:gd name="T32" fmla="*/ 236 w 716"/>
                <a:gd name="T33" fmla="*/ 406 h 562"/>
                <a:gd name="T34" fmla="*/ 208 w 716"/>
                <a:gd name="T35" fmla="*/ 372 h 562"/>
                <a:gd name="T36" fmla="*/ 168 w 716"/>
                <a:gd name="T37" fmla="*/ 380 h 562"/>
                <a:gd name="T38" fmla="*/ 128 w 716"/>
                <a:gd name="T39" fmla="*/ 380 h 562"/>
                <a:gd name="T40" fmla="*/ 106 w 716"/>
                <a:gd name="T41" fmla="*/ 354 h 562"/>
                <a:gd name="T42" fmla="*/ 66 w 716"/>
                <a:gd name="T43" fmla="*/ 364 h 562"/>
                <a:gd name="T44" fmla="*/ 24 w 716"/>
                <a:gd name="T45" fmla="*/ 372 h 562"/>
                <a:gd name="T46" fmla="*/ 12 w 716"/>
                <a:gd name="T47" fmla="*/ 364 h 562"/>
                <a:gd name="T48" fmla="*/ 24 w 716"/>
                <a:gd name="T49" fmla="*/ 326 h 562"/>
                <a:gd name="T50" fmla="*/ 52 w 716"/>
                <a:gd name="T51" fmla="*/ 284 h 562"/>
                <a:gd name="T52" fmla="*/ 94 w 716"/>
                <a:gd name="T53" fmla="*/ 268 h 562"/>
                <a:gd name="T54" fmla="*/ 134 w 716"/>
                <a:gd name="T55" fmla="*/ 268 h 562"/>
                <a:gd name="T56" fmla="*/ 174 w 716"/>
                <a:gd name="T57" fmla="*/ 268 h 562"/>
                <a:gd name="T58" fmla="*/ 236 w 716"/>
                <a:gd name="T59" fmla="*/ 250 h 562"/>
                <a:gd name="T60" fmla="*/ 236 w 716"/>
                <a:gd name="T61" fmla="*/ 206 h 562"/>
                <a:gd name="T62" fmla="*/ 242 w 716"/>
                <a:gd name="T63" fmla="*/ 154 h 562"/>
                <a:gd name="T64" fmla="*/ 256 w 716"/>
                <a:gd name="T65" fmla="*/ 102 h 562"/>
                <a:gd name="T66" fmla="*/ 282 w 716"/>
                <a:gd name="T67" fmla="*/ 68 h 562"/>
                <a:gd name="T68" fmla="*/ 296 w 716"/>
                <a:gd name="T69" fmla="*/ 34 h 562"/>
                <a:gd name="T70" fmla="*/ 324 w 716"/>
                <a:gd name="T71" fmla="*/ 42 h 562"/>
                <a:gd name="T72" fmla="*/ 344 w 716"/>
                <a:gd name="T73" fmla="*/ 62 h 562"/>
                <a:gd name="T74" fmla="*/ 384 w 716"/>
                <a:gd name="T75" fmla="*/ 34 h 562"/>
                <a:gd name="T76" fmla="*/ 426 w 716"/>
                <a:gd name="T77" fmla="*/ 0 h 562"/>
                <a:gd name="T78" fmla="*/ 460 w 716"/>
                <a:gd name="T79" fmla="*/ 26 h 562"/>
                <a:gd name="T80" fmla="*/ 512 w 716"/>
                <a:gd name="T81" fmla="*/ 26 h 562"/>
                <a:gd name="T82" fmla="*/ 560 w 716"/>
                <a:gd name="T83" fmla="*/ 62 h 562"/>
                <a:gd name="T84" fmla="*/ 608 w 716"/>
                <a:gd name="T85" fmla="*/ 78 h 562"/>
                <a:gd name="T86" fmla="*/ 650 w 716"/>
                <a:gd name="T87" fmla="*/ 112 h 562"/>
                <a:gd name="T88" fmla="*/ 696 w 716"/>
                <a:gd name="T89" fmla="*/ 112 h 562"/>
                <a:gd name="T90" fmla="*/ 702 w 716"/>
                <a:gd name="T91" fmla="*/ 154 h 562"/>
                <a:gd name="T92" fmla="*/ 668 w 716"/>
                <a:gd name="T93" fmla="*/ 190 h 562"/>
                <a:gd name="T94" fmla="*/ 688 w 716"/>
                <a:gd name="T95" fmla="*/ 24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6" h="562">
                  <a:moveTo>
                    <a:pt x="696" y="250"/>
                  </a:moveTo>
                  <a:lnTo>
                    <a:pt x="682" y="250"/>
                  </a:lnTo>
                  <a:lnTo>
                    <a:pt x="668" y="250"/>
                  </a:lnTo>
                  <a:lnTo>
                    <a:pt x="656" y="260"/>
                  </a:lnTo>
                  <a:lnTo>
                    <a:pt x="650" y="278"/>
                  </a:lnTo>
                  <a:lnTo>
                    <a:pt x="650" y="294"/>
                  </a:lnTo>
                  <a:lnTo>
                    <a:pt x="650" y="312"/>
                  </a:lnTo>
                  <a:lnTo>
                    <a:pt x="650" y="328"/>
                  </a:lnTo>
                  <a:lnTo>
                    <a:pt x="650" y="346"/>
                  </a:lnTo>
                  <a:lnTo>
                    <a:pt x="642" y="364"/>
                  </a:lnTo>
                  <a:lnTo>
                    <a:pt x="630" y="372"/>
                  </a:lnTo>
                  <a:lnTo>
                    <a:pt x="620" y="388"/>
                  </a:lnTo>
                  <a:lnTo>
                    <a:pt x="608" y="408"/>
                  </a:lnTo>
                  <a:lnTo>
                    <a:pt x="594" y="396"/>
                  </a:lnTo>
                  <a:lnTo>
                    <a:pt x="580" y="416"/>
                  </a:lnTo>
                  <a:lnTo>
                    <a:pt x="580" y="432"/>
                  </a:lnTo>
                  <a:lnTo>
                    <a:pt x="580" y="440"/>
                  </a:lnTo>
                  <a:lnTo>
                    <a:pt x="580" y="440"/>
                  </a:lnTo>
                  <a:lnTo>
                    <a:pt x="574" y="448"/>
                  </a:lnTo>
                  <a:lnTo>
                    <a:pt x="568" y="468"/>
                  </a:lnTo>
                  <a:lnTo>
                    <a:pt x="562" y="484"/>
                  </a:lnTo>
                  <a:lnTo>
                    <a:pt x="548" y="502"/>
                  </a:lnTo>
                  <a:lnTo>
                    <a:pt x="526" y="510"/>
                  </a:lnTo>
                  <a:lnTo>
                    <a:pt x="514" y="510"/>
                  </a:lnTo>
                  <a:lnTo>
                    <a:pt x="500" y="520"/>
                  </a:lnTo>
                  <a:lnTo>
                    <a:pt x="488" y="520"/>
                  </a:lnTo>
                  <a:lnTo>
                    <a:pt x="472" y="520"/>
                  </a:lnTo>
                  <a:lnTo>
                    <a:pt x="460" y="520"/>
                  </a:lnTo>
                  <a:lnTo>
                    <a:pt x="446" y="510"/>
                  </a:lnTo>
                  <a:lnTo>
                    <a:pt x="432" y="520"/>
                  </a:lnTo>
                  <a:lnTo>
                    <a:pt x="420" y="520"/>
                  </a:lnTo>
                  <a:lnTo>
                    <a:pt x="404" y="536"/>
                  </a:lnTo>
                  <a:lnTo>
                    <a:pt x="398" y="536"/>
                  </a:lnTo>
                  <a:lnTo>
                    <a:pt x="384" y="536"/>
                  </a:lnTo>
                  <a:lnTo>
                    <a:pt x="372" y="546"/>
                  </a:lnTo>
                  <a:lnTo>
                    <a:pt x="358" y="554"/>
                  </a:lnTo>
                  <a:lnTo>
                    <a:pt x="344" y="562"/>
                  </a:lnTo>
                  <a:lnTo>
                    <a:pt x="330" y="562"/>
                  </a:lnTo>
                  <a:lnTo>
                    <a:pt x="318" y="554"/>
                  </a:lnTo>
                  <a:lnTo>
                    <a:pt x="302" y="562"/>
                  </a:lnTo>
                  <a:lnTo>
                    <a:pt x="290" y="554"/>
                  </a:lnTo>
                  <a:lnTo>
                    <a:pt x="282" y="536"/>
                  </a:lnTo>
                  <a:lnTo>
                    <a:pt x="270" y="526"/>
                  </a:lnTo>
                  <a:lnTo>
                    <a:pt x="276" y="510"/>
                  </a:lnTo>
                  <a:lnTo>
                    <a:pt x="270" y="492"/>
                  </a:lnTo>
                  <a:lnTo>
                    <a:pt x="270" y="474"/>
                  </a:lnTo>
                  <a:lnTo>
                    <a:pt x="256" y="468"/>
                  </a:lnTo>
                  <a:lnTo>
                    <a:pt x="250" y="448"/>
                  </a:lnTo>
                  <a:lnTo>
                    <a:pt x="250" y="432"/>
                  </a:lnTo>
                  <a:lnTo>
                    <a:pt x="250" y="414"/>
                  </a:lnTo>
                  <a:lnTo>
                    <a:pt x="236" y="406"/>
                  </a:lnTo>
                  <a:lnTo>
                    <a:pt x="228" y="388"/>
                  </a:lnTo>
                  <a:lnTo>
                    <a:pt x="222" y="372"/>
                  </a:lnTo>
                  <a:lnTo>
                    <a:pt x="208" y="372"/>
                  </a:lnTo>
                  <a:lnTo>
                    <a:pt x="194" y="380"/>
                  </a:lnTo>
                  <a:lnTo>
                    <a:pt x="180" y="380"/>
                  </a:lnTo>
                  <a:lnTo>
                    <a:pt x="168" y="380"/>
                  </a:lnTo>
                  <a:lnTo>
                    <a:pt x="156" y="396"/>
                  </a:lnTo>
                  <a:lnTo>
                    <a:pt x="140" y="388"/>
                  </a:lnTo>
                  <a:lnTo>
                    <a:pt x="128" y="380"/>
                  </a:lnTo>
                  <a:lnTo>
                    <a:pt x="112" y="388"/>
                  </a:lnTo>
                  <a:lnTo>
                    <a:pt x="106" y="372"/>
                  </a:lnTo>
                  <a:lnTo>
                    <a:pt x="106" y="354"/>
                  </a:lnTo>
                  <a:lnTo>
                    <a:pt x="94" y="354"/>
                  </a:lnTo>
                  <a:lnTo>
                    <a:pt x="80" y="364"/>
                  </a:lnTo>
                  <a:lnTo>
                    <a:pt x="66" y="364"/>
                  </a:lnTo>
                  <a:lnTo>
                    <a:pt x="52" y="354"/>
                  </a:lnTo>
                  <a:lnTo>
                    <a:pt x="38" y="354"/>
                  </a:lnTo>
                  <a:lnTo>
                    <a:pt x="24" y="372"/>
                  </a:lnTo>
                  <a:lnTo>
                    <a:pt x="12" y="380"/>
                  </a:lnTo>
                  <a:lnTo>
                    <a:pt x="0" y="388"/>
                  </a:lnTo>
                  <a:lnTo>
                    <a:pt x="12" y="364"/>
                  </a:lnTo>
                  <a:lnTo>
                    <a:pt x="4" y="346"/>
                  </a:lnTo>
                  <a:lnTo>
                    <a:pt x="12" y="336"/>
                  </a:lnTo>
                  <a:lnTo>
                    <a:pt x="24" y="326"/>
                  </a:lnTo>
                  <a:lnTo>
                    <a:pt x="24" y="310"/>
                  </a:lnTo>
                  <a:lnTo>
                    <a:pt x="38" y="294"/>
                  </a:lnTo>
                  <a:lnTo>
                    <a:pt x="52" y="284"/>
                  </a:lnTo>
                  <a:lnTo>
                    <a:pt x="66" y="278"/>
                  </a:lnTo>
                  <a:lnTo>
                    <a:pt x="80" y="268"/>
                  </a:lnTo>
                  <a:lnTo>
                    <a:pt x="94" y="268"/>
                  </a:lnTo>
                  <a:lnTo>
                    <a:pt x="106" y="268"/>
                  </a:lnTo>
                  <a:lnTo>
                    <a:pt x="120" y="278"/>
                  </a:lnTo>
                  <a:lnTo>
                    <a:pt x="134" y="268"/>
                  </a:lnTo>
                  <a:lnTo>
                    <a:pt x="148" y="268"/>
                  </a:lnTo>
                  <a:lnTo>
                    <a:pt x="160" y="258"/>
                  </a:lnTo>
                  <a:lnTo>
                    <a:pt x="174" y="268"/>
                  </a:lnTo>
                  <a:lnTo>
                    <a:pt x="200" y="258"/>
                  </a:lnTo>
                  <a:lnTo>
                    <a:pt x="222" y="258"/>
                  </a:lnTo>
                  <a:lnTo>
                    <a:pt x="236" y="250"/>
                  </a:lnTo>
                  <a:lnTo>
                    <a:pt x="242" y="232"/>
                  </a:lnTo>
                  <a:lnTo>
                    <a:pt x="250" y="216"/>
                  </a:lnTo>
                  <a:lnTo>
                    <a:pt x="236" y="206"/>
                  </a:lnTo>
                  <a:lnTo>
                    <a:pt x="242" y="190"/>
                  </a:lnTo>
                  <a:lnTo>
                    <a:pt x="256" y="172"/>
                  </a:lnTo>
                  <a:lnTo>
                    <a:pt x="242" y="154"/>
                  </a:lnTo>
                  <a:lnTo>
                    <a:pt x="236" y="138"/>
                  </a:lnTo>
                  <a:lnTo>
                    <a:pt x="242" y="120"/>
                  </a:lnTo>
                  <a:lnTo>
                    <a:pt x="256" y="102"/>
                  </a:lnTo>
                  <a:lnTo>
                    <a:pt x="270" y="102"/>
                  </a:lnTo>
                  <a:lnTo>
                    <a:pt x="282" y="84"/>
                  </a:lnTo>
                  <a:lnTo>
                    <a:pt x="282" y="68"/>
                  </a:lnTo>
                  <a:lnTo>
                    <a:pt x="282" y="52"/>
                  </a:lnTo>
                  <a:lnTo>
                    <a:pt x="296" y="52"/>
                  </a:lnTo>
                  <a:lnTo>
                    <a:pt x="296" y="34"/>
                  </a:lnTo>
                  <a:lnTo>
                    <a:pt x="310" y="34"/>
                  </a:lnTo>
                  <a:lnTo>
                    <a:pt x="324" y="42"/>
                  </a:lnTo>
                  <a:lnTo>
                    <a:pt x="324" y="42"/>
                  </a:lnTo>
                  <a:lnTo>
                    <a:pt x="324" y="52"/>
                  </a:lnTo>
                  <a:lnTo>
                    <a:pt x="330" y="70"/>
                  </a:lnTo>
                  <a:lnTo>
                    <a:pt x="344" y="62"/>
                  </a:lnTo>
                  <a:lnTo>
                    <a:pt x="350" y="62"/>
                  </a:lnTo>
                  <a:lnTo>
                    <a:pt x="372" y="42"/>
                  </a:lnTo>
                  <a:lnTo>
                    <a:pt x="384" y="34"/>
                  </a:lnTo>
                  <a:lnTo>
                    <a:pt x="398" y="18"/>
                  </a:lnTo>
                  <a:lnTo>
                    <a:pt x="412" y="8"/>
                  </a:lnTo>
                  <a:lnTo>
                    <a:pt x="426" y="0"/>
                  </a:lnTo>
                  <a:lnTo>
                    <a:pt x="446" y="0"/>
                  </a:lnTo>
                  <a:lnTo>
                    <a:pt x="460" y="8"/>
                  </a:lnTo>
                  <a:lnTo>
                    <a:pt x="460" y="26"/>
                  </a:lnTo>
                  <a:lnTo>
                    <a:pt x="488" y="34"/>
                  </a:lnTo>
                  <a:lnTo>
                    <a:pt x="498" y="34"/>
                  </a:lnTo>
                  <a:lnTo>
                    <a:pt x="512" y="26"/>
                  </a:lnTo>
                  <a:lnTo>
                    <a:pt x="526" y="26"/>
                  </a:lnTo>
                  <a:lnTo>
                    <a:pt x="538" y="42"/>
                  </a:lnTo>
                  <a:lnTo>
                    <a:pt x="560" y="62"/>
                  </a:lnTo>
                  <a:lnTo>
                    <a:pt x="574" y="62"/>
                  </a:lnTo>
                  <a:lnTo>
                    <a:pt x="588" y="70"/>
                  </a:lnTo>
                  <a:lnTo>
                    <a:pt x="608" y="78"/>
                  </a:lnTo>
                  <a:lnTo>
                    <a:pt x="614" y="94"/>
                  </a:lnTo>
                  <a:lnTo>
                    <a:pt x="634" y="104"/>
                  </a:lnTo>
                  <a:lnTo>
                    <a:pt x="650" y="112"/>
                  </a:lnTo>
                  <a:lnTo>
                    <a:pt x="668" y="104"/>
                  </a:lnTo>
                  <a:lnTo>
                    <a:pt x="676" y="122"/>
                  </a:lnTo>
                  <a:lnTo>
                    <a:pt x="696" y="112"/>
                  </a:lnTo>
                  <a:lnTo>
                    <a:pt x="710" y="122"/>
                  </a:lnTo>
                  <a:lnTo>
                    <a:pt x="716" y="138"/>
                  </a:lnTo>
                  <a:lnTo>
                    <a:pt x="702" y="154"/>
                  </a:lnTo>
                  <a:lnTo>
                    <a:pt x="688" y="174"/>
                  </a:lnTo>
                  <a:lnTo>
                    <a:pt x="676" y="174"/>
                  </a:lnTo>
                  <a:lnTo>
                    <a:pt x="668" y="190"/>
                  </a:lnTo>
                  <a:lnTo>
                    <a:pt x="668" y="208"/>
                  </a:lnTo>
                  <a:lnTo>
                    <a:pt x="682" y="226"/>
                  </a:lnTo>
                  <a:lnTo>
                    <a:pt x="688" y="242"/>
                  </a:lnTo>
                  <a:lnTo>
                    <a:pt x="696" y="25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6" name="Freeform 72">
              <a:extLst>
                <a:ext uri="{FF2B5EF4-FFF2-40B4-BE49-F238E27FC236}">
                  <a16:creationId xmlns:a16="http://schemas.microsoft.com/office/drawing/2014/main" id="{A60CEAB5-E8C2-47A2-9282-B63B9742D0D1}"/>
                </a:ext>
              </a:extLst>
            </p:cNvPr>
            <p:cNvSpPr>
              <a:spLocks/>
            </p:cNvSpPr>
            <p:nvPr/>
          </p:nvSpPr>
          <p:spPr bwMode="auto">
            <a:xfrm>
              <a:off x="2067915" y="3912099"/>
              <a:ext cx="681638" cy="699576"/>
            </a:xfrm>
            <a:custGeom>
              <a:avLst/>
              <a:gdLst>
                <a:gd name="T0" fmla="*/ 310 w 456"/>
                <a:gd name="T1" fmla="*/ 60 h 468"/>
                <a:gd name="T2" fmla="*/ 338 w 456"/>
                <a:gd name="T3" fmla="*/ 86 h 468"/>
                <a:gd name="T4" fmla="*/ 366 w 456"/>
                <a:gd name="T5" fmla="*/ 94 h 468"/>
                <a:gd name="T6" fmla="*/ 394 w 456"/>
                <a:gd name="T7" fmla="*/ 120 h 468"/>
                <a:gd name="T8" fmla="*/ 420 w 456"/>
                <a:gd name="T9" fmla="*/ 120 h 468"/>
                <a:gd name="T10" fmla="*/ 446 w 456"/>
                <a:gd name="T11" fmla="*/ 130 h 468"/>
                <a:gd name="T12" fmla="*/ 446 w 456"/>
                <a:gd name="T13" fmla="*/ 164 h 468"/>
                <a:gd name="T14" fmla="*/ 446 w 456"/>
                <a:gd name="T15" fmla="*/ 198 h 468"/>
                <a:gd name="T16" fmla="*/ 446 w 456"/>
                <a:gd name="T17" fmla="*/ 208 h 468"/>
                <a:gd name="T18" fmla="*/ 418 w 456"/>
                <a:gd name="T19" fmla="*/ 224 h 468"/>
                <a:gd name="T20" fmla="*/ 398 w 456"/>
                <a:gd name="T21" fmla="*/ 260 h 468"/>
                <a:gd name="T22" fmla="*/ 378 w 456"/>
                <a:gd name="T23" fmla="*/ 286 h 468"/>
                <a:gd name="T24" fmla="*/ 378 w 456"/>
                <a:gd name="T25" fmla="*/ 320 h 468"/>
                <a:gd name="T26" fmla="*/ 350 w 456"/>
                <a:gd name="T27" fmla="*/ 338 h 468"/>
                <a:gd name="T28" fmla="*/ 322 w 456"/>
                <a:gd name="T29" fmla="*/ 364 h 468"/>
                <a:gd name="T30" fmla="*/ 304 w 456"/>
                <a:gd name="T31" fmla="*/ 374 h 468"/>
                <a:gd name="T32" fmla="*/ 282 w 456"/>
                <a:gd name="T33" fmla="*/ 398 h 468"/>
                <a:gd name="T34" fmla="*/ 268 w 456"/>
                <a:gd name="T35" fmla="*/ 414 h 468"/>
                <a:gd name="T36" fmla="*/ 264 w 456"/>
                <a:gd name="T37" fmla="*/ 450 h 468"/>
                <a:gd name="T38" fmla="*/ 236 w 456"/>
                <a:gd name="T39" fmla="*/ 468 h 468"/>
                <a:gd name="T40" fmla="*/ 222 w 456"/>
                <a:gd name="T41" fmla="*/ 440 h 468"/>
                <a:gd name="T42" fmla="*/ 194 w 456"/>
                <a:gd name="T43" fmla="*/ 450 h 468"/>
                <a:gd name="T44" fmla="*/ 174 w 456"/>
                <a:gd name="T45" fmla="*/ 422 h 468"/>
                <a:gd name="T46" fmla="*/ 174 w 456"/>
                <a:gd name="T47" fmla="*/ 388 h 468"/>
                <a:gd name="T48" fmla="*/ 154 w 456"/>
                <a:gd name="T49" fmla="*/ 354 h 468"/>
                <a:gd name="T50" fmla="*/ 134 w 456"/>
                <a:gd name="T51" fmla="*/ 338 h 468"/>
                <a:gd name="T52" fmla="*/ 108 w 456"/>
                <a:gd name="T53" fmla="*/ 338 h 468"/>
                <a:gd name="T54" fmla="*/ 80 w 456"/>
                <a:gd name="T55" fmla="*/ 338 h 468"/>
                <a:gd name="T56" fmla="*/ 52 w 456"/>
                <a:gd name="T57" fmla="*/ 330 h 468"/>
                <a:gd name="T58" fmla="*/ 26 w 456"/>
                <a:gd name="T59" fmla="*/ 338 h 468"/>
                <a:gd name="T60" fmla="*/ 12 w 456"/>
                <a:gd name="T61" fmla="*/ 302 h 468"/>
                <a:gd name="T62" fmla="*/ 12 w 456"/>
                <a:gd name="T63" fmla="*/ 266 h 468"/>
                <a:gd name="T64" fmla="*/ 12 w 456"/>
                <a:gd name="T65" fmla="*/ 234 h 468"/>
                <a:gd name="T66" fmla="*/ 0 w 456"/>
                <a:gd name="T67" fmla="*/ 198 h 468"/>
                <a:gd name="T68" fmla="*/ 0 w 456"/>
                <a:gd name="T69" fmla="*/ 164 h 468"/>
                <a:gd name="T70" fmla="*/ 20 w 456"/>
                <a:gd name="T71" fmla="*/ 130 h 468"/>
                <a:gd name="T72" fmla="*/ 26 w 456"/>
                <a:gd name="T73" fmla="*/ 96 h 468"/>
                <a:gd name="T74" fmla="*/ 20 w 456"/>
                <a:gd name="T75" fmla="*/ 44 h 468"/>
                <a:gd name="T76" fmla="*/ 40 w 456"/>
                <a:gd name="T77" fmla="*/ 44 h 468"/>
                <a:gd name="T78" fmla="*/ 66 w 456"/>
                <a:gd name="T79" fmla="*/ 28 h 468"/>
                <a:gd name="T80" fmla="*/ 94 w 456"/>
                <a:gd name="T81" fmla="*/ 0 h 468"/>
                <a:gd name="T82" fmla="*/ 128 w 456"/>
                <a:gd name="T83" fmla="*/ 0 h 468"/>
                <a:gd name="T84" fmla="*/ 154 w 456"/>
                <a:gd name="T85" fmla="*/ 10 h 468"/>
                <a:gd name="T86" fmla="*/ 190 w 456"/>
                <a:gd name="T87" fmla="*/ 18 h 468"/>
                <a:gd name="T88" fmla="*/ 222 w 456"/>
                <a:gd name="T89" fmla="*/ 18 h 468"/>
                <a:gd name="T90" fmla="*/ 256 w 456"/>
                <a:gd name="T91" fmla="*/ 10 h 468"/>
                <a:gd name="T92" fmla="*/ 282 w 456"/>
                <a:gd name="T93" fmla="*/ 0 h 468"/>
                <a:gd name="T94" fmla="*/ 282 w 456"/>
                <a:gd name="T95" fmla="*/ 34 h 468"/>
                <a:gd name="T96" fmla="*/ 296 w 456"/>
                <a:gd name="T97" fmla="*/ 5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6" h="468">
                  <a:moveTo>
                    <a:pt x="310" y="50"/>
                  </a:moveTo>
                  <a:lnTo>
                    <a:pt x="310" y="60"/>
                  </a:lnTo>
                  <a:lnTo>
                    <a:pt x="324" y="76"/>
                  </a:lnTo>
                  <a:lnTo>
                    <a:pt x="338" y="86"/>
                  </a:lnTo>
                  <a:lnTo>
                    <a:pt x="350" y="94"/>
                  </a:lnTo>
                  <a:lnTo>
                    <a:pt x="366" y="94"/>
                  </a:lnTo>
                  <a:lnTo>
                    <a:pt x="378" y="104"/>
                  </a:lnTo>
                  <a:lnTo>
                    <a:pt x="394" y="120"/>
                  </a:lnTo>
                  <a:lnTo>
                    <a:pt x="408" y="120"/>
                  </a:lnTo>
                  <a:lnTo>
                    <a:pt x="420" y="120"/>
                  </a:lnTo>
                  <a:lnTo>
                    <a:pt x="432" y="120"/>
                  </a:lnTo>
                  <a:lnTo>
                    <a:pt x="446" y="130"/>
                  </a:lnTo>
                  <a:lnTo>
                    <a:pt x="456" y="146"/>
                  </a:lnTo>
                  <a:lnTo>
                    <a:pt x="446" y="164"/>
                  </a:lnTo>
                  <a:lnTo>
                    <a:pt x="456" y="180"/>
                  </a:lnTo>
                  <a:lnTo>
                    <a:pt x="446" y="198"/>
                  </a:lnTo>
                  <a:lnTo>
                    <a:pt x="446" y="198"/>
                  </a:lnTo>
                  <a:lnTo>
                    <a:pt x="446" y="208"/>
                  </a:lnTo>
                  <a:lnTo>
                    <a:pt x="430" y="216"/>
                  </a:lnTo>
                  <a:lnTo>
                    <a:pt x="418" y="224"/>
                  </a:lnTo>
                  <a:lnTo>
                    <a:pt x="406" y="242"/>
                  </a:lnTo>
                  <a:lnTo>
                    <a:pt x="398" y="260"/>
                  </a:lnTo>
                  <a:lnTo>
                    <a:pt x="392" y="276"/>
                  </a:lnTo>
                  <a:lnTo>
                    <a:pt x="378" y="286"/>
                  </a:lnTo>
                  <a:lnTo>
                    <a:pt x="378" y="302"/>
                  </a:lnTo>
                  <a:lnTo>
                    <a:pt x="378" y="320"/>
                  </a:lnTo>
                  <a:lnTo>
                    <a:pt x="364" y="330"/>
                  </a:lnTo>
                  <a:lnTo>
                    <a:pt x="350" y="338"/>
                  </a:lnTo>
                  <a:lnTo>
                    <a:pt x="338" y="344"/>
                  </a:lnTo>
                  <a:lnTo>
                    <a:pt x="322" y="364"/>
                  </a:lnTo>
                  <a:lnTo>
                    <a:pt x="318" y="364"/>
                  </a:lnTo>
                  <a:lnTo>
                    <a:pt x="304" y="374"/>
                  </a:lnTo>
                  <a:lnTo>
                    <a:pt x="290" y="380"/>
                  </a:lnTo>
                  <a:lnTo>
                    <a:pt x="282" y="398"/>
                  </a:lnTo>
                  <a:lnTo>
                    <a:pt x="282" y="414"/>
                  </a:lnTo>
                  <a:lnTo>
                    <a:pt x="268" y="414"/>
                  </a:lnTo>
                  <a:lnTo>
                    <a:pt x="264" y="430"/>
                  </a:lnTo>
                  <a:lnTo>
                    <a:pt x="264" y="450"/>
                  </a:lnTo>
                  <a:lnTo>
                    <a:pt x="250" y="458"/>
                  </a:lnTo>
                  <a:lnTo>
                    <a:pt x="236" y="468"/>
                  </a:lnTo>
                  <a:lnTo>
                    <a:pt x="236" y="450"/>
                  </a:lnTo>
                  <a:lnTo>
                    <a:pt x="222" y="440"/>
                  </a:lnTo>
                  <a:lnTo>
                    <a:pt x="208" y="450"/>
                  </a:lnTo>
                  <a:lnTo>
                    <a:pt x="194" y="450"/>
                  </a:lnTo>
                  <a:lnTo>
                    <a:pt x="184" y="440"/>
                  </a:lnTo>
                  <a:lnTo>
                    <a:pt x="174" y="422"/>
                  </a:lnTo>
                  <a:lnTo>
                    <a:pt x="174" y="406"/>
                  </a:lnTo>
                  <a:lnTo>
                    <a:pt x="174" y="388"/>
                  </a:lnTo>
                  <a:lnTo>
                    <a:pt x="160" y="374"/>
                  </a:lnTo>
                  <a:lnTo>
                    <a:pt x="154" y="354"/>
                  </a:lnTo>
                  <a:lnTo>
                    <a:pt x="148" y="338"/>
                  </a:lnTo>
                  <a:lnTo>
                    <a:pt x="134" y="338"/>
                  </a:lnTo>
                  <a:lnTo>
                    <a:pt x="120" y="330"/>
                  </a:lnTo>
                  <a:lnTo>
                    <a:pt x="108" y="338"/>
                  </a:lnTo>
                  <a:lnTo>
                    <a:pt x="94" y="344"/>
                  </a:lnTo>
                  <a:lnTo>
                    <a:pt x="80" y="338"/>
                  </a:lnTo>
                  <a:lnTo>
                    <a:pt x="66" y="338"/>
                  </a:lnTo>
                  <a:lnTo>
                    <a:pt x="52" y="330"/>
                  </a:lnTo>
                  <a:lnTo>
                    <a:pt x="40" y="338"/>
                  </a:lnTo>
                  <a:lnTo>
                    <a:pt x="26" y="338"/>
                  </a:lnTo>
                  <a:lnTo>
                    <a:pt x="20" y="320"/>
                  </a:lnTo>
                  <a:lnTo>
                    <a:pt x="12" y="302"/>
                  </a:lnTo>
                  <a:lnTo>
                    <a:pt x="12" y="286"/>
                  </a:lnTo>
                  <a:lnTo>
                    <a:pt x="12" y="266"/>
                  </a:lnTo>
                  <a:lnTo>
                    <a:pt x="20" y="250"/>
                  </a:lnTo>
                  <a:lnTo>
                    <a:pt x="12" y="234"/>
                  </a:lnTo>
                  <a:lnTo>
                    <a:pt x="12" y="216"/>
                  </a:lnTo>
                  <a:lnTo>
                    <a:pt x="0" y="198"/>
                  </a:lnTo>
                  <a:lnTo>
                    <a:pt x="0" y="180"/>
                  </a:lnTo>
                  <a:lnTo>
                    <a:pt x="0" y="164"/>
                  </a:lnTo>
                  <a:lnTo>
                    <a:pt x="6" y="148"/>
                  </a:lnTo>
                  <a:lnTo>
                    <a:pt x="20" y="130"/>
                  </a:lnTo>
                  <a:lnTo>
                    <a:pt x="26" y="114"/>
                  </a:lnTo>
                  <a:lnTo>
                    <a:pt x="26" y="96"/>
                  </a:lnTo>
                  <a:lnTo>
                    <a:pt x="26" y="78"/>
                  </a:lnTo>
                  <a:lnTo>
                    <a:pt x="20" y="44"/>
                  </a:lnTo>
                  <a:lnTo>
                    <a:pt x="26" y="44"/>
                  </a:lnTo>
                  <a:lnTo>
                    <a:pt x="40" y="44"/>
                  </a:lnTo>
                  <a:lnTo>
                    <a:pt x="52" y="34"/>
                  </a:lnTo>
                  <a:lnTo>
                    <a:pt x="66" y="28"/>
                  </a:lnTo>
                  <a:lnTo>
                    <a:pt x="80" y="10"/>
                  </a:lnTo>
                  <a:lnTo>
                    <a:pt x="94" y="0"/>
                  </a:lnTo>
                  <a:lnTo>
                    <a:pt x="108" y="0"/>
                  </a:lnTo>
                  <a:lnTo>
                    <a:pt x="128" y="0"/>
                  </a:lnTo>
                  <a:lnTo>
                    <a:pt x="142" y="0"/>
                  </a:lnTo>
                  <a:lnTo>
                    <a:pt x="154" y="10"/>
                  </a:lnTo>
                  <a:lnTo>
                    <a:pt x="174" y="18"/>
                  </a:lnTo>
                  <a:lnTo>
                    <a:pt x="190" y="18"/>
                  </a:lnTo>
                  <a:lnTo>
                    <a:pt x="208" y="18"/>
                  </a:lnTo>
                  <a:lnTo>
                    <a:pt x="222" y="18"/>
                  </a:lnTo>
                  <a:lnTo>
                    <a:pt x="236" y="18"/>
                  </a:lnTo>
                  <a:lnTo>
                    <a:pt x="256" y="10"/>
                  </a:lnTo>
                  <a:lnTo>
                    <a:pt x="268" y="10"/>
                  </a:lnTo>
                  <a:lnTo>
                    <a:pt x="282" y="0"/>
                  </a:lnTo>
                  <a:lnTo>
                    <a:pt x="282" y="18"/>
                  </a:lnTo>
                  <a:lnTo>
                    <a:pt x="282" y="34"/>
                  </a:lnTo>
                  <a:lnTo>
                    <a:pt x="282" y="50"/>
                  </a:lnTo>
                  <a:lnTo>
                    <a:pt x="296" y="50"/>
                  </a:lnTo>
                  <a:lnTo>
                    <a:pt x="310" y="5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7" name="Freeform 73">
              <a:extLst>
                <a:ext uri="{FF2B5EF4-FFF2-40B4-BE49-F238E27FC236}">
                  <a16:creationId xmlns:a16="http://schemas.microsoft.com/office/drawing/2014/main" id="{72829E97-CC8F-45BB-BCE0-702DB16CD882}"/>
                </a:ext>
              </a:extLst>
            </p:cNvPr>
            <p:cNvSpPr>
              <a:spLocks/>
            </p:cNvSpPr>
            <p:nvPr/>
          </p:nvSpPr>
          <p:spPr bwMode="auto">
            <a:xfrm>
              <a:off x="2067915" y="3912099"/>
              <a:ext cx="681638" cy="699576"/>
            </a:xfrm>
            <a:custGeom>
              <a:avLst/>
              <a:gdLst>
                <a:gd name="T0" fmla="*/ 310 w 456"/>
                <a:gd name="T1" fmla="*/ 60 h 468"/>
                <a:gd name="T2" fmla="*/ 338 w 456"/>
                <a:gd name="T3" fmla="*/ 86 h 468"/>
                <a:gd name="T4" fmla="*/ 366 w 456"/>
                <a:gd name="T5" fmla="*/ 94 h 468"/>
                <a:gd name="T6" fmla="*/ 394 w 456"/>
                <a:gd name="T7" fmla="*/ 120 h 468"/>
                <a:gd name="T8" fmla="*/ 420 w 456"/>
                <a:gd name="T9" fmla="*/ 120 h 468"/>
                <a:gd name="T10" fmla="*/ 446 w 456"/>
                <a:gd name="T11" fmla="*/ 130 h 468"/>
                <a:gd name="T12" fmla="*/ 446 w 456"/>
                <a:gd name="T13" fmla="*/ 164 h 468"/>
                <a:gd name="T14" fmla="*/ 446 w 456"/>
                <a:gd name="T15" fmla="*/ 198 h 468"/>
                <a:gd name="T16" fmla="*/ 446 w 456"/>
                <a:gd name="T17" fmla="*/ 208 h 468"/>
                <a:gd name="T18" fmla="*/ 418 w 456"/>
                <a:gd name="T19" fmla="*/ 224 h 468"/>
                <a:gd name="T20" fmla="*/ 398 w 456"/>
                <a:gd name="T21" fmla="*/ 260 h 468"/>
                <a:gd name="T22" fmla="*/ 378 w 456"/>
                <a:gd name="T23" fmla="*/ 286 h 468"/>
                <a:gd name="T24" fmla="*/ 378 w 456"/>
                <a:gd name="T25" fmla="*/ 320 h 468"/>
                <a:gd name="T26" fmla="*/ 350 w 456"/>
                <a:gd name="T27" fmla="*/ 338 h 468"/>
                <a:gd name="T28" fmla="*/ 322 w 456"/>
                <a:gd name="T29" fmla="*/ 364 h 468"/>
                <a:gd name="T30" fmla="*/ 304 w 456"/>
                <a:gd name="T31" fmla="*/ 374 h 468"/>
                <a:gd name="T32" fmla="*/ 282 w 456"/>
                <a:gd name="T33" fmla="*/ 398 h 468"/>
                <a:gd name="T34" fmla="*/ 268 w 456"/>
                <a:gd name="T35" fmla="*/ 414 h 468"/>
                <a:gd name="T36" fmla="*/ 264 w 456"/>
                <a:gd name="T37" fmla="*/ 450 h 468"/>
                <a:gd name="T38" fmla="*/ 236 w 456"/>
                <a:gd name="T39" fmla="*/ 468 h 468"/>
                <a:gd name="T40" fmla="*/ 222 w 456"/>
                <a:gd name="T41" fmla="*/ 440 h 468"/>
                <a:gd name="T42" fmla="*/ 194 w 456"/>
                <a:gd name="T43" fmla="*/ 450 h 468"/>
                <a:gd name="T44" fmla="*/ 174 w 456"/>
                <a:gd name="T45" fmla="*/ 422 h 468"/>
                <a:gd name="T46" fmla="*/ 174 w 456"/>
                <a:gd name="T47" fmla="*/ 388 h 468"/>
                <a:gd name="T48" fmla="*/ 154 w 456"/>
                <a:gd name="T49" fmla="*/ 354 h 468"/>
                <a:gd name="T50" fmla="*/ 134 w 456"/>
                <a:gd name="T51" fmla="*/ 338 h 468"/>
                <a:gd name="T52" fmla="*/ 108 w 456"/>
                <a:gd name="T53" fmla="*/ 338 h 468"/>
                <a:gd name="T54" fmla="*/ 80 w 456"/>
                <a:gd name="T55" fmla="*/ 338 h 468"/>
                <a:gd name="T56" fmla="*/ 52 w 456"/>
                <a:gd name="T57" fmla="*/ 330 h 468"/>
                <a:gd name="T58" fmla="*/ 26 w 456"/>
                <a:gd name="T59" fmla="*/ 338 h 468"/>
                <a:gd name="T60" fmla="*/ 12 w 456"/>
                <a:gd name="T61" fmla="*/ 302 h 468"/>
                <a:gd name="T62" fmla="*/ 12 w 456"/>
                <a:gd name="T63" fmla="*/ 266 h 468"/>
                <a:gd name="T64" fmla="*/ 12 w 456"/>
                <a:gd name="T65" fmla="*/ 234 h 468"/>
                <a:gd name="T66" fmla="*/ 0 w 456"/>
                <a:gd name="T67" fmla="*/ 198 h 468"/>
                <a:gd name="T68" fmla="*/ 0 w 456"/>
                <a:gd name="T69" fmla="*/ 164 h 468"/>
                <a:gd name="T70" fmla="*/ 20 w 456"/>
                <a:gd name="T71" fmla="*/ 130 h 468"/>
                <a:gd name="T72" fmla="*/ 26 w 456"/>
                <a:gd name="T73" fmla="*/ 96 h 468"/>
                <a:gd name="T74" fmla="*/ 20 w 456"/>
                <a:gd name="T75" fmla="*/ 44 h 468"/>
                <a:gd name="T76" fmla="*/ 40 w 456"/>
                <a:gd name="T77" fmla="*/ 44 h 468"/>
                <a:gd name="T78" fmla="*/ 66 w 456"/>
                <a:gd name="T79" fmla="*/ 28 h 468"/>
                <a:gd name="T80" fmla="*/ 94 w 456"/>
                <a:gd name="T81" fmla="*/ 0 h 468"/>
                <a:gd name="T82" fmla="*/ 128 w 456"/>
                <a:gd name="T83" fmla="*/ 0 h 468"/>
                <a:gd name="T84" fmla="*/ 154 w 456"/>
                <a:gd name="T85" fmla="*/ 10 h 468"/>
                <a:gd name="T86" fmla="*/ 190 w 456"/>
                <a:gd name="T87" fmla="*/ 18 h 468"/>
                <a:gd name="T88" fmla="*/ 222 w 456"/>
                <a:gd name="T89" fmla="*/ 18 h 468"/>
                <a:gd name="T90" fmla="*/ 256 w 456"/>
                <a:gd name="T91" fmla="*/ 10 h 468"/>
                <a:gd name="T92" fmla="*/ 282 w 456"/>
                <a:gd name="T93" fmla="*/ 0 h 468"/>
                <a:gd name="T94" fmla="*/ 282 w 456"/>
                <a:gd name="T95" fmla="*/ 34 h 468"/>
                <a:gd name="T96" fmla="*/ 296 w 456"/>
                <a:gd name="T97" fmla="*/ 5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6" h="468">
                  <a:moveTo>
                    <a:pt x="310" y="50"/>
                  </a:moveTo>
                  <a:lnTo>
                    <a:pt x="310" y="60"/>
                  </a:lnTo>
                  <a:lnTo>
                    <a:pt x="324" y="76"/>
                  </a:lnTo>
                  <a:lnTo>
                    <a:pt x="338" y="86"/>
                  </a:lnTo>
                  <a:lnTo>
                    <a:pt x="350" y="94"/>
                  </a:lnTo>
                  <a:lnTo>
                    <a:pt x="366" y="94"/>
                  </a:lnTo>
                  <a:lnTo>
                    <a:pt x="378" y="104"/>
                  </a:lnTo>
                  <a:lnTo>
                    <a:pt x="394" y="120"/>
                  </a:lnTo>
                  <a:lnTo>
                    <a:pt x="408" y="120"/>
                  </a:lnTo>
                  <a:lnTo>
                    <a:pt x="420" y="120"/>
                  </a:lnTo>
                  <a:lnTo>
                    <a:pt x="432" y="120"/>
                  </a:lnTo>
                  <a:lnTo>
                    <a:pt x="446" y="130"/>
                  </a:lnTo>
                  <a:lnTo>
                    <a:pt x="456" y="146"/>
                  </a:lnTo>
                  <a:lnTo>
                    <a:pt x="446" y="164"/>
                  </a:lnTo>
                  <a:lnTo>
                    <a:pt x="456" y="180"/>
                  </a:lnTo>
                  <a:lnTo>
                    <a:pt x="446" y="198"/>
                  </a:lnTo>
                  <a:lnTo>
                    <a:pt x="446" y="198"/>
                  </a:lnTo>
                  <a:lnTo>
                    <a:pt x="446" y="208"/>
                  </a:lnTo>
                  <a:lnTo>
                    <a:pt x="430" y="216"/>
                  </a:lnTo>
                  <a:lnTo>
                    <a:pt x="418" y="224"/>
                  </a:lnTo>
                  <a:lnTo>
                    <a:pt x="406" y="242"/>
                  </a:lnTo>
                  <a:lnTo>
                    <a:pt x="398" y="260"/>
                  </a:lnTo>
                  <a:lnTo>
                    <a:pt x="392" y="276"/>
                  </a:lnTo>
                  <a:lnTo>
                    <a:pt x="378" y="286"/>
                  </a:lnTo>
                  <a:lnTo>
                    <a:pt x="378" y="302"/>
                  </a:lnTo>
                  <a:lnTo>
                    <a:pt x="378" y="320"/>
                  </a:lnTo>
                  <a:lnTo>
                    <a:pt x="364" y="330"/>
                  </a:lnTo>
                  <a:lnTo>
                    <a:pt x="350" y="338"/>
                  </a:lnTo>
                  <a:lnTo>
                    <a:pt x="338" y="344"/>
                  </a:lnTo>
                  <a:lnTo>
                    <a:pt x="322" y="364"/>
                  </a:lnTo>
                  <a:lnTo>
                    <a:pt x="318" y="364"/>
                  </a:lnTo>
                  <a:lnTo>
                    <a:pt x="304" y="374"/>
                  </a:lnTo>
                  <a:lnTo>
                    <a:pt x="290" y="380"/>
                  </a:lnTo>
                  <a:lnTo>
                    <a:pt x="282" y="398"/>
                  </a:lnTo>
                  <a:lnTo>
                    <a:pt x="282" y="414"/>
                  </a:lnTo>
                  <a:lnTo>
                    <a:pt x="268" y="414"/>
                  </a:lnTo>
                  <a:lnTo>
                    <a:pt x="264" y="430"/>
                  </a:lnTo>
                  <a:lnTo>
                    <a:pt x="264" y="450"/>
                  </a:lnTo>
                  <a:lnTo>
                    <a:pt x="250" y="458"/>
                  </a:lnTo>
                  <a:lnTo>
                    <a:pt x="236" y="468"/>
                  </a:lnTo>
                  <a:lnTo>
                    <a:pt x="236" y="450"/>
                  </a:lnTo>
                  <a:lnTo>
                    <a:pt x="222" y="440"/>
                  </a:lnTo>
                  <a:lnTo>
                    <a:pt x="208" y="450"/>
                  </a:lnTo>
                  <a:lnTo>
                    <a:pt x="194" y="450"/>
                  </a:lnTo>
                  <a:lnTo>
                    <a:pt x="184" y="440"/>
                  </a:lnTo>
                  <a:lnTo>
                    <a:pt x="174" y="422"/>
                  </a:lnTo>
                  <a:lnTo>
                    <a:pt x="174" y="406"/>
                  </a:lnTo>
                  <a:lnTo>
                    <a:pt x="174" y="388"/>
                  </a:lnTo>
                  <a:lnTo>
                    <a:pt x="160" y="374"/>
                  </a:lnTo>
                  <a:lnTo>
                    <a:pt x="154" y="354"/>
                  </a:lnTo>
                  <a:lnTo>
                    <a:pt x="148" y="338"/>
                  </a:lnTo>
                  <a:lnTo>
                    <a:pt x="134" y="338"/>
                  </a:lnTo>
                  <a:lnTo>
                    <a:pt x="120" y="330"/>
                  </a:lnTo>
                  <a:lnTo>
                    <a:pt x="108" y="338"/>
                  </a:lnTo>
                  <a:lnTo>
                    <a:pt x="94" y="344"/>
                  </a:lnTo>
                  <a:lnTo>
                    <a:pt x="80" y="338"/>
                  </a:lnTo>
                  <a:lnTo>
                    <a:pt x="66" y="338"/>
                  </a:lnTo>
                  <a:lnTo>
                    <a:pt x="52" y="330"/>
                  </a:lnTo>
                  <a:lnTo>
                    <a:pt x="40" y="338"/>
                  </a:lnTo>
                  <a:lnTo>
                    <a:pt x="26" y="338"/>
                  </a:lnTo>
                  <a:lnTo>
                    <a:pt x="20" y="320"/>
                  </a:lnTo>
                  <a:lnTo>
                    <a:pt x="12" y="302"/>
                  </a:lnTo>
                  <a:lnTo>
                    <a:pt x="12" y="286"/>
                  </a:lnTo>
                  <a:lnTo>
                    <a:pt x="12" y="266"/>
                  </a:lnTo>
                  <a:lnTo>
                    <a:pt x="20" y="250"/>
                  </a:lnTo>
                  <a:lnTo>
                    <a:pt x="12" y="234"/>
                  </a:lnTo>
                  <a:lnTo>
                    <a:pt x="12" y="216"/>
                  </a:lnTo>
                  <a:lnTo>
                    <a:pt x="0" y="198"/>
                  </a:lnTo>
                  <a:lnTo>
                    <a:pt x="0" y="180"/>
                  </a:lnTo>
                  <a:lnTo>
                    <a:pt x="0" y="164"/>
                  </a:lnTo>
                  <a:lnTo>
                    <a:pt x="6" y="148"/>
                  </a:lnTo>
                  <a:lnTo>
                    <a:pt x="20" y="130"/>
                  </a:lnTo>
                  <a:lnTo>
                    <a:pt x="26" y="114"/>
                  </a:lnTo>
                  <a:lnTo>
                    <a:pt x="26" y="96"/>
                  </a:lnTo>
                  <a:lnTo>
                    <a:pt x="26" y="78"/>
                  </a:lnTo>
                  <a:lnTo>
                    <a:pt x="20" y="44"/>
                  </a:lnTo>
                  <a:lnTo>
                    <a:pt x="26" y="44"/>
                  </a:lnTo>
                  <a:lnTo>
                    <a:pt x="40" y="44"/>
                  </a:lnTo>
                  <a:lnTo>
                    <a:pt x="52" y="34"/>
                  </a:lnTo>
                  <a:lnTo>
                    <a:pt x="66" y="28"/>
                  </a:lnTo>
                  <a:lnTo>
                    <a:pt x="80" y="10"/>
                  </a:lnTo>
                  <a:lnTo>
                    <a:pt x="94" y="0"/>
                  </a:lnTo>
                  <a:lnTo>
                    <a:pt x="108" y="0"/>
                  </a:lnTo>
                  <a:lnTo>
                    <a:pt x="128" y="0"/>
                  </a:lnTo>
                  <a:lnTo>
                    <a:pt x="142" y="0"/>
                  </a:lnTo>
                  <a:lnTo>
                    <a:pt x="154" y="10"/>
                  </a:lnTo>
                  <a:lnTo>
                    <a:pt x="174" y="18"/>
                  </a:lnTo>
                  <a:lnTo>
                    <a:pt x="190" y="18"/>
                  </a:lnTo>
                  <a:lnTo>
                    <a:pt x="208" y="18"/>
                  </a:lnTo>
                  <a:lnTo>
                    <a:pt x="222" y="18"/>
                  </a:lnTo>
                  <a:lnTo>
                    <a:pt x="236" y="18"/>
                  </a:lnTo>
                  <a:lnTo>
                    <a:pt x="256" y="10"/>
                  </a:lnTo>
                  <a:lnTo>
                    <a:pt x="268" y="10"/>
                  </a:lnTo>
                  <a:lnTo>
                    <a:pt x="282" y="0"/>
                  </a:lnTo>
                  <a:lnTo>
                    <a:pt x="282" y="18"/>
                  </a:lnTo>
                  <a:lnTo>
                    <a:pt x="282" y="34"/>
                  </a:lnTo>
                  <a:lnTo>
                    <a:pt x="282" y="50"/>
                  </a:lnTo>
                  <a:lnTo>
                    <a:pt x="296" y="50"/>
                  </a:lnTo>
                  <a:lnTo>
                    <a:pt x="310" y="5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8" name="Freeform 74">
              <a:extLst>
                <a:ext uri="{FF2B5EF4-FFF2-40B4-BE49-F238E27FC236}">
                  <a16:creationId xmlns:a16="http://schemas.microsoft.com/office/drawing/2014/main" id="{8A7DD742-BEF6-4023-8517-498F4755AE26}"/>
                </a:ext>
              </a:extLst>
            </p:cNvPr>
            <p:cNvSpPr>
              <a:spLocks/>
            </p:cNvSpPr>
            <p:nvPr/>
          </p:nvSpPr>
          <p:spPr bwMode="auto">
            <a:xfrm>
              <a:off x="2540278" y="4172198"/>
              <a:ext cx="789265" cy="541125"/>
            </a:xfrm>
            <a:custGeom>
              <a:avLst/>
              <a:gdLst>
                <a:gd name="T0" fmla="*/ 136 w 528"/>
                <a:gd name="T1" fmla="*/ 24 h 362"/>
                <a:gd name="T2" fmla="*/ 162 w 528"/>
                <a:gd name="T3" fmla="*/ 0 h 362"/>
                <a:gd name="T4" fmla="*/ 190 w 528"/>
                <a:gd name="T5" fmla="*/ 4 h 362"/>
                <a:gd name="T6" fmla="*/ 216 w 528"/>
                <a:gd name="T7" fmla="*/ 0 h 362"/>
                <a:gd name="T8" fmla="*/ 230 w 528"/>
                <a:gd name="T9" fmla="*/ 16 h 362"/>
                <a:gd name="T10" fmla="*/ 250 w 528"/>
                <a:gd name="T11" fmla="*/ 24 h 362"/>
                <a:gd name="T12" fmla="*/ 278 w 528"/>
                <a:gd name="T13" fmla="*/ 42 h 362"/>
                <a:gd name="T14" fmla="*/ 304 w 528"/>
                <a:gd name="T15" fmla="*/ 24 h 362"/>
                <a:gd name="T16" fmla="*/ 330 w 528"/>
                <a:gd name="T17" fmla="*/ 16 h 362"/>
                <a:gd name="T18" fmla="*/ 354 w 528"/>
                <a:gd name="T19" fmla="*/ 32 h 362"/>
                <a:gd name="T20" fmla="*/ 372 w 528"/>
                <a:gd name="T21" fmla="*/ 60 h 362"/>
                <a:gd name="T22" fmla="*/ 372 w 528"/>
                <a:gd name="T23" fmla="*/ 92 h 362"/>
                <a:gd name="T24" fmla="*/ 392 w 528"/>
                <a:gd name="T25" fmla="*/ 120 h 362"/>
                <a:gd name="T26" fmla="*/ 400 w 528"/>
                <a:gd name="T27" fmla="*/ 154 h 362"/>
                <a:gd name="T28" fmla="*/ 406 w 528"/>
                <a:gd name="T29" fmla="*/ 180 h 362"/>
                <a:gd name="T30" fmla="*/ 426 w 528"/>
                <a:gd name="T31" fmla="*/ 206 h 362"/>
                <a:gd name="T32" fmla="*/ 454 w 528"/>
                <a:gd name="T33" fmla="*/ 206 h 362"/>
                <a:gd name="T34" fmla="*/ 480 w 528"/>
                <a:gd name="T35" fmla="*/ 198 h 362"/>
                <a:gd name="T36" fmla="*/ 506 w 528"/>
                <a:gd name="T37" fmla="*/ 180 h 362"/>
                <a:gd name="T38" fmla="*/ 528 w 528"/>
                <a:gd name="T39" fmla="*/ 180 h 362"/>
                <a:gd name="T40" fmla="*/ 514 w 528"/>
                <a:gd name="T41" fmla="*/ 206 h 362"/>
                <a:gd name="T42" fmla="*/ 522 w 528"/>
                <a:gd name="T43" fmla="*/ 232 h 362"/>
                <a:gd name="T44" fmla="*/ 500 w 528"/>
                <a:gd name="T45" fmla="*/ 250 h 362"/>
                <a:gd name="T46" fmla="*/ 468 w 528"/>
                <a:gd name="T47" fmla="*/ 258 h 362"/>
                <a:gd name="T48" fmla="*/ 440 w 528"/>
                <a:gd name="T49" fmla="*/ 276 h 362"/>
                <a:gd name="T50" fmla="*/ 400 w 528"/>
                <a:gd name="T51" fmla="*/ 276 h 362"/>
                <a:gd name="T52" fmla="*/ 372 w 528"/>
                <a:gd name="T53" fmla="*/ 302 h 362"/>
                <a:gd name="T54" fmla="*/ 344 w 528"/>
                <a:gd name="T55" fmla="*/ 328 h 362"/>
                <a:gd name="T56" fmla="*/ 316 w 528"/>
                <a:gd name="T57" fmla="*/ 354 h 362"/>
                <a:gd name="T58" fmla="*/ 304 w 528"/>
                <a:gd name="T59" fmla="*/ 354 h 362"/>
                <a:gd name="T60" fmla="*/ 292 w 528"/>
                <a:gd name="T61" fmla="*/ 346 h 362"/>
                <a:gd name="T62" fmla="*/ 270 w 528"/>
                <a:gd name="T63" fmla="*/ 336 h 362"/>
                <a:gd name="T64" fmla="*/ 244 w 528"/>
                <a:gd name="T65" fmla="*/ 328 h 362"/>
                <a:gd name="T66" fmla="*/ 222 w 528"/>
                <a:gd name="T67" fmla="*/ 312 h 362"/>
                <a:gd name="T68" fmla="*/ 230 w 528"/>
                <a:gd name="T69" fmla="*/ 276 h 362"/>
                <a:gd name="T70" fmla="*/ 208 w 528"/>
                <a:gd name="T71" fmla="*/ 250 h 362"/>
                <a:gd name="T72" fmla="*/ 202 w 528"/>
                <a:gd name="T73" fmla="*/ 216 h 362"/>
                <a:gd name="T74" fmla="*/ 168 w 528"/>
                <a:gd name="T75" fmla="*/ 206 h 362"/>
                <a:gd name="T76" fmla="*/ 140 w 528"/>
                <a:gd name="T77" fmla="*/ 216 h 362"/>
                <a:gd name="T78" fmla="*/ 114 w 528"/>
                <a:gd name="T79" fmla="*/ 190 h 362"/>
                <a:gd name="T80" fmla="*/ 88 w 528"/>
                <a:gd name="T81" fmla="*/ 190 h 362"/>
                <a:gd name="T82" fmla="*/ 62 w 528"/>
                <a:gd name="T83" fmla="*/ 180 h 362"/>
                <a:gd name="T84" fmla="*/ 34 w 528"/>
                <a:gd name="T85" fmla="*/ 198 h 362"/>
                <a:gd name="T86" fmla="*/ 6 w 528"/>
                <a:gd name="T87" fmla="*/ 190 h 362"/>
                <a:gd name="T88" fmla="*/ 6 w 528"/>
                <a:gd name="T89" fmla="*/ 190 h 362"/>
                <a:gd name="T90" fmla="*/ 34 w 528"/>
                <a:gd name="T91" fmla="*/ 162 h 362"/>
                <a:gd name="T92" fmla="*/ 62 w 528"/>
                <a:gd name="T93" fmla="*/ 144 h 362"/>
                <a:gd name="T94" fmla="*/ 62 w 528"/>
                <a:gd name="T95" fmla="*/ 108 h 362"/>
                <a:gd name="T96" fmla="*/ 82 w 528"/>
                <a:gd name="T97" fmla="*/ 84 h 362"/>
                <a:gd name="T98" fmla="*/ 102 w 528"/>
                <a:gd name="T99" fmla="*/ 48 h 362"/>
                <a:gd name="T100" fmla="*/ 128 w 528"/>
                <a:gd name="T101" fmla="*/ 30 h 362"/>
                <a:gd name="T102" fmla="*/ 122 w 528"/>
                <a:gd name="T103" fmla="*/ 3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8" h="362">
                  <a:moveTo>
                    <a:pt x="122" y="32"/>
                  </a:moveTo>
                  <a:lnTo>
                    <a:pt x="136" y="24"/>
                  </a:lnTo>
                  <a:lnTo>
                    <a:pt x="148" y="16"/>
                  </a:lnTo>
                  <a:lnTo>
                    <a:pt x="162" y="0"/>
                  </a:lnTo>
                  <a:lnTo>
                    <a:pt x="176" y="0"/>
                  </a:lnTo>
                  <a:lnTo>
                    <a:pt x="190" y="4"/>
                  </a:lnTo>
                  <a:lnTo>
                    <a:pt x="204" y="4"/>
                  </a:lnTo>
                  <a:lnTo>
                    <a:pt x="216" y="0"/>
                  </a:lnTo>
                  <a:lnTo>
                    <a:pt x="230" y="0"/>
                  </a:lnTo>
                  <a:lnTo>
                    <a:pt x="230" y="16"/>
                  </a:lnTo>
                  <a:lnTo>
                    <a:pt x="238" y="32"/>
                  </a:lnTo>
                  <a:lnTo>
                    <a:pt x="250" y="24"/>
                  </a:lnTo>
                  <a:lnTo>
                    <a:pt x="264" y="32"/>
                  </a:lnTo>
                  <a:lnTo>
                    <a:pt x="278" y="42"/>
                  </a:lnTo>
                  <a:lnTo>
                    <a:pt x="292" y="24"/>
                  </a:lnTo>
                  <a:lnTo>
                    <a:pt x="304" y="24"/>
                  </a:lnTo>
                  <a:lnTo>
                    <a:pt x="316" y="24"/>
                  </a:lnTo>
                  <a:lnTo>
                    <a:pt x="330" y="16"/>
                  </a:lnTo>
                  <a:lnTo>
                    <a:pt x="344" y="16"/>
                  </a:lnTo>
                  <a:lnTo>
                    <a:pt x="354" y="32"/>
                  </a:lnTo>
                  <a:lnTo>
                    <a:pt x="360" y="50"/>
                  </a:lnTo>
                  <a:lnTo>
                    <a:pt x="372" y="60"/>
                  </a:lnTo>
                  <a:lnTo>
                    <a:pt x="372" y="76"/>
                  </a:lnTo>
                  <a:lnTo>
                    <a:pt x="372" y="92"/>
                  </a:lnTo>
                  <a:lnTo>
                    <a:pt x="378" y="110"/>
                  </a:lnTo>
                  <a:lnTo>
                    <a:pt x="392" y="120"/>
                  </a:lnTo>
                  <a:lnTo>
                    <a:pt x="392" y="138"/>
                  </a:lnTo>
                  <a:lnTo>
                    <a:pt x="400" y="154"/>
                  </a:lnTo>
                  <a:lnTo>
                    <a:pt x="392" y="170"/>
                  </a:lnTo>
                  <a:lnTo>
                    <a:pt x="406" y="180"/>
                  </a:lnTo>
                  <a:lnTo>
                    <a:pt x="414" y="198"/>
                  </a:lnTo>
                  <a:lnTo>
                    <a:pt x="426" y="206"/>
                  </a:lnTo>
                  <a:lnTo>
                    <a:pt x="440" y="198"/>
                  </a:lnTo>
                  <a:lnTo>
                    <a:pt x="454" y="206"/>
                  </a:lnTo>
                  <a:lnTo>
                    <a:pt x="468" y="206"/>
                  </a:lnTo>
                  <a:lnTo>
                    <a:pt x="480" y="198"/>
                  </a:lnTo>
                  <a:lnTo>
                    <a:pt x="494" y="190"/>
                  </a:lnTo>
                  <a:lnTo>
                    <a:pt x="506" y="180"/>
                  </a:lnTo>
                  <a:lnTo>
                    <a:pt x="522" y="180"/>
                  </a:lnTo>
                  <a:lnTo>
                    <a:pt x="528" y="180"/>
                  </a:lnTo>
                  <a:lnTo>
                    <a:pt x="528" y="196"/>
                  </a:lnTo>
                  <a:lnTo>
                    <a:pt x="514" y="206"/>
                  </a:lnTo>
                  <a:lnTo>
                    <a:pt x="514" y="222"/>
                  </a:lnTo>
                  <a:lnTo>
                    <a:pt x="522" y="232"/>
                  </a:lnTo>
                  <a:lnTo>
                    <a:pt x="514" y="250"/>
                  </a:lnTo>
                  <a:lnTo>
                    <a:pt x="500" y="250"/>
                  </a:lnTo>
                  <a:lnTo>
                    <a:pt x="480" y="250"/>
                  </a:lnTo>
                  <a:lnTo>
                    <a:pt x="468" y="258"/>
                  </a:lnTo>
                  <a:lnTo>
                    <a:pt x="462" y="276"/>
                  </a:lnTo>
                  <a:lnTo>
                    <a:pt x="440" y="276"/>
                  </a:lnTo>
                  <a:lnTo>
                    <a:pt x="420" y="276"/>
                  </a:lnTo>
                  <a:lnTo>
                    <a:pt x="400" y="276"/>
                  </a:lnTo>
                  <a:lnTo>
                    <a:pt x="386" y="292"/>
                  </a:lnTo>
                  <a:lnTo>
                    <a:pt x="372" y="302"/>
                  </a:lnTo>
                  <a:lnTo>
                    <a:pt x="352" y="312"/>
                  </a:lnTo>
                  <a:lnTo>
                    <a:pt x="344" y="328"/>
                  </a:lnTo>
                  <a:lnTo>
                    <a:pt x="330" y="336"/>
                  </a:lnTo>
                  <a:lnTo>
                    <a:pt x="316" y="354"/>
                  </a:lnTo>
                  <a:lnTo>
                    <a:pt x="304" y="362"/>
                  </a:lnTo>
                  <a:lnTo>
                    <a:pt x="304" y="354"/>
                  </a:lnTo>
                  <a:lnTo>
                    <a:pt x="298" y="348"/>
                  </a:lnTo>
                  <a:lnTo>
                    <a:pt x="292" y="346"/>
                  </a:lnTo>
                  <a:lnTo>
                    <a:pt x="278" y="354"/>
                  </a:lnTo>
                  <a:lnTo>
                    <a:pt x="270" y="336"/>
                  </a:lnTo>
                  <a:lnTo>
                    <a:pt x="258" y="328"/>
                  </a:lnTo>
                  <a:lnTo>
                    <a:pt x="244" y="328"/>
                  </a:lnTo>
                  <a:lnTo>
                    <a:pt x="230" y="328"/>
                  </a:lnTo>
                  <a:lnTo>
                    <a:pt x="222" y="312"/>
                  </a:lnTo>
                  <a:lnTo>
                    <a:pt x="230" y="292"/>
                  </a:lnTo>
                  <a:lnTo>
                    <a:pt x="230" y="276"/>
                  </a:lnTo>
                  <a:lnTo>
                    <a:pt x="216" y="266"/>
                  </a:lnTo>
                  <a:lnTo>
                    <a:pt x="208" y="250"/>
                  </a:lnTo>
                  <a:lnTo>
                    <a:pt x="216" y="232"/>
                  </a:lnTo>
                  <a:lnTo>
                    <a:pt x="202" y="216"/>
                  </a:lnTo>
                  <a:lnTo>
                    <a:pt x="182" y="206"/>
                  </a:lnTo>
                  <a:lnTo>
                    <a:pt x="168" y="206"/>
                  </a:lnTo>
                  <a:lnTo>
                    <a:pt x="156" y="216"/>
                  </a:lnTo>
                  <a:lnTo>
                    <a:pt x="140" y="216"/>
                  </a:lnTo>
                  <a:lnTo>
                    <a:pt x="128" y="198"/>
                  </a:lnTo>
                  <a:lnTo>
                    <a:pt x="114" y="190"/>
                  </a:lnTo>
                  <a:lnTo>
                    <a:pt x="102" y="190"/>
                  </a:lnTo>
                  <a:lnTo>
                    <a:pt x="88" y="190"/>
                  </a:lnTo>
                  <a:lnTo>
                    <a:pt x="76" y="180"/>
                  </a:lnTo>
                  <a:lnTo>
                    <a:pt x="62" y="180"/>
                  </a:lnTo>
                  <a:lnTo>
                    <a:pt x="46" y="190"/>
                  </a:lnTo>
                  <a:lnTo>
                    <a:pt x="34" y="198"/>
                  </a:lnTo>
                  <a:lnTo>
                    <a:pt x="20" y="198"/>
                  </a:lnTo>
                  <a:lnTo>
                    <a:pt x="6" y="190"/>
                  </a:lnTo>
                  <a:lnTo>
                    <a:pt x="0" y="190"/>
                  </a:lnTo>
                  <a:lnTo>
                    <a:pt x="6" y="190"/>
                  </a:lnTo>
                  <a:lnTo>
                    <a:pt x="20" y="170"/>
                  </a:lnTo>
                  <a:lnTo>
                    <a:pt x="34" y="162"/>
                  </a:lnTo>
                  <a:lnTo>
                    <a:pt x="46" y="152"/>
                  </a:lnTo>
                  <a:lnTo>
                    <a:pt x="62" y="144"/>
                  </a:lnTo>
                  <a:lnTo>
                    <a:pt x="62" y="128"/>
                  </a:lnTo>
                  <a:lnTo>
                    <a:pt x="62" y="108"/>
                  </a:lnTo>
                  <a:lnTo>
                    <a:pt x="72" y="102"/>
                  </a:lnTo>
                  <a:lnTo>
                    <a:pt x="82" y="84"/>
                  </a:lnTo>
                  <a:lnTo>
                    <a:pt x="86" y="66"/>
                  </a:lnTo>
                  <a:lnTo>
                    <a:pt x="102" y="48"/>
                  </a:lnTo>
                  <a:lnTo>
                    <a:pt x="114" y="40"/>
                  </a:lnTo>
                  <a:lnTo>
                    <a:pt x="128" y="30"/>
                  </a:lnTo>
                  <a:lnTo>
                    <a:pt x="128" y="28"/>
                  </a:lnTo>
                  <a:lnTo>
                    <a:pt x="122" y="3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69" name="Freeform 75">
              <a:extLst>
                <a:ext uri="{FF2B5EF4-FFF2-40B4-BE49-F238E27FC236}">
                  <a16:creationId xmlns:a16="http://schemas.microsoft.com/office/drawing/2014/main" id="{69707A5C-724B-4B20-9FE3-37E9FF7367E1}"/>
                </a:ext>
              </a:extLst>
            </p:cNvPr>
            <p:cNvSpPr>
              <a:spLocks/>
            </p:cNvSpPr>
            <p:nvPr/>
          </p:nvSpPr>
          <p:spPr bwMode="auto">
            <a:xfrm>
              <a:off x="2540278" y="4172198"/>
              <a:ext cx="789265" cy="541125"/>
            </a:xfrm>
            <a:custGeom>
              <a:avLst/>
              <a:gdLst>
                <a:gd name="T0" fmla="*/ 136 w 528"/>
                <a:gd name="T1" fmla="*/ 24 h 362"/>
                <a:gd name="T2" fmla="*/ 162 w 528"/>
                <a:gd name="T3" fmla="*/ 0 h 362"/>
                <a:gd name="T4" fmla="*/ 190 w 528"/>
                <a:gd name="T5" fmla="*/ 4 h 362"/>
                <a:gd name="T6" fmla="*/ 216 w 528"/>
                <a:gd name="T7" fmla="*/ 0 h 362"/>
                <a:gd name="T8" fmla="*/ 230 w 528"/>
                <a:gd name="T9" fmla="*/ 16 h 362"/>
                <a:gd name="T10" fmla="*/ 250 w 528"/>
                <a:gd name="T11" fmla="*/ 24 h 362"/>
                <a:gd name="T12" fmla="*/ 278 w 528"/>
                <a:gd name="T13" fmla="*/ 42 h 362"/>
                <a:gd name="T14" fmla="*/ 304 w 528"/>
                <a:gd name="T15" fmla="*/ 24 h 362"/>
                <a:gd name="T16" fmla="*/ 330 w 528"/>
                <a:gd name="T17" fmla="*/ 16 h 362"/>
                <a:gd name="T18" fmla="*/ 354 w 528"/>
                <a:gd name="T19" fmla="*/ 32 h 362"/>
                <a:gd name="T20" fmla="*/ 372 w 528"/>
                <a:gd name="T21" fmla="*/ 60 h 362"/>
                <a:gd name="T22" fmla="*/ 372 w 528"/>
                <a:gd name="T23" fmla="*/ 92 h 362"/>
                <a:gd name="T24" fmla="*/ 392 w 528"/>
                <a:gd name="T25" fmla="*/ 120 h 362"/>
                <a:gd name="T26" fmla="*/ 400 w 528"/>
                <a:gd name="T27" fmla="*/ 154 h 362"/>
                <a:gd name="T28" fmla="*/ 406 w 528"/>
                <a:gd name="T29" fmla="*/ 180 h 362"/>
                <a:gd name="T30" fmla="*/ 426 w 528"/>
                <a:gd name="T31" fmla="*/ 206 h 362"/>
                <a:gd name="T32" fmla="*/ 454 w 528"/>
                <a:gd name="T33" fmla="*/ 206 h 362"/>
                <a:gd name="T34" fmla="*/ 480 w 528"/>
                <a:gd name="T35" fmla="*/ 198 h 362"/>
                <a:gd name="T36" fmla="*/ 506 w 528"/>
                <a:gd name="T37" fmla="*/ 180 h 362"/>
                <a:gd name="T38" fmla="*/ 528 w 528"/>
                <a:gd name="T39" fmla="*/ 180 h 362"/>
                <a:gd name="T40" fmla="*/ 514 w 528"/>
                <a:gd name="T41" fmla="*/ 206 h 362"/>
                <a:gd name="T42" fmla="*/ 522 w 528"/>
                <a:gd name="T43" fmla="*/ 232 h 362"/>
                <a:gd name="T44" fmla="*/ 500 w 528"/>
                <a:gd name="T45" fmla="*/ 250 h 362"/>
                <a:gd name="T46" fmla="*/ 468 w 528"/>
                <a:gd name="T47" fmla="*/ 258 h 362"/>
                <a:gd name="T48" fmla="*/ 440 w 528"/>
                <a:gd name="T49" fmla="*/ 276 h 362"/>
                <a:gd name="T50" fmla="*/ 400 w 528"/>
                <a:gd name="T51" fmla="*/ 276 h 362"/>
                <a:gd name="T52" fmla="*/ 372 w 528"/>
                <a:gd name="T53" fmla="*/ 302 h 362"/>
                <a:gd name="T54" fmla="*/ 344 w 528"/>
                <a:gd name="T55" fmla="*/ 328 h 362"/>
                <a:gd name="T56" fmla="*/ 316 w 528"/>
                <a:gd name="T57" fmla="*/ 354 h 362"/>
                <a:gd name="T58" fmla="*/ 304 w 528"/>
                <a:gd name="T59" fmla="*/ 354 h 362"/>
                <a:gd name="T60" fmla="*/ 292 w 528"/>
                <a:gd name="T61" fmla="*/ 346 h 362"/>
                <a:gd name="T62" fmla="*/ 270 w 528"/>
                <a:gd name="T63" fmla="*/ 336 h 362"/>
                <a:gd name="T64" fmla="*/ 244 w 528"/>
                <a:gd name="T65" fmla="*/ 328 h 362"/>
                <a:gd name="T66" fmla="*/ 222 w 528"/>
                <a:gd name="T67" fmla="*/ 312 h 362"/>
                <a:gd name="T68" fmla="*/ 230 w 528"/>
                <a:gd name="T69" fmla="*/ 276 h 362"/>
                <a:gd name="T70" fmla="*/ 208 w 528"/>
                <a:gd name="T71" fmla="*/ 250 h 362"/>
                <a:gd name="T72" fmla="*/ 202 w 528"/>
                <a:gd name="T73" fmla="*/ 216 h 362"/>
                <a:gd name="T74" fmla="*/ 168 w 528"/>
                <a:gd name="T75" fmla="*/ 206 h 362"/>
                <a:gd name="T76" fmla="*/ 140 w 528"/>
                <a:gd name="T77" fmla="*/ 216 h 362"/>
                <a:gd name="T78" fmla="*/ 114 w 528"/>
                <a:gd name="T79" fmla="*/ 190 h 362"/>
                <a:gd name="T80" fmla="*/ 88 w 528"/>
                <a:gd name="T81" fmla="*/ 190 h 362"/>
                <a:gd name="T82" fmla="*/ 62 w 528"/>
                <a:gd name="T83" fmla="*/ 180 h 362"/>
                <a:gd name="T84" fmla="*/ 34 w 528"/>
                <a:gd name="T85" fmla="*/ 198 h 362"/>
                <a:gd name="T86" fmla="*/ 6 w 528"/>
                <a:gd name="T87" fmla="*/ 190 h 362"/>
                <a:gd name="T88" fmla="*/ 6 w 528"/>
                <a:gd name="T89" fmla="*/ 190 h 362"/>
                <a:gd name="T90" fmla="*/ 34 w 528"/>
                <a:gd name="T91" fmla="*/ 162 h 362"/>
                <a:gd name="T92" fmla="*/ 62 w 528"/>
                <a:gd name="T93" fmla="*/ 144 h 362"/>
                <a:gd name="T94" fmla="*/ 62 w 528"/>
                <a:gd name="T95" fmla="*/ 108 h 362"/>
                <a:gd name="T96" fmla="*/ 82 w 528"/>
                <a:gd name="T97" fmla="*/ 84 h 362"/>
                <a:gd name="T98" fmla="*/ 102 w 528"/>
                <a:gd name="T99" fmla="*/ 48 h 362"/>
                <a:gd name="T100" fmla="*/ 128 w 528"/>
                <a:gd name="T101" fmla="*/ 30 h 362"/>
                <a:gd name="T102" fmla="*/ 122 w 528"/>
                <a:gd name="T103" fmla="*/ 3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8" h="362">
                  <a:moveTo>
                    <a:pt x="122" y="32"/>
                  </a:moveTo>
                  <a:lnTo>
                    <a:pt x="136" y="24"/>
                  </a:lnTo>
                  <a:lnTo>
                    <a:pt x="148" y="16"/>
                  </a:lnTo>
                  <a:lnTo>
                    <a:pt x="162" y="0"/>
                  </a:lnTo>
                  <a:lnTo>
                    <a:pt x="176" y="0"/>
                  </a:lnTo>
                  <a:lnTo>
                    <a:pt x="190" y="4"/>
                  </a:lnTo>
                  <a:lnTo>
                    <a:pt x="204" y="4"/>
                  </a:lnTo>
                  <a:lnTo>
                    <a:pt x="216" y="0"/>
                  </a:lnTo>
                  <a:lnTo>
                    <a:pt x="230" y="0"/>
                  </a:lnTo>
                  <a:lnTo>
                    <a:pt x="230" y="16"/>
                  </a:lnTo>
                  <a:lnTo>
                    <a:pt x="238" y="32"/>
                  </a:lnTo>
                  <a:lnTo>
                    <a:pt x="250" y="24"/>
                  </a:lnTo>
                  <a:lnTo>
                    <a:pt x="264" y="32"/>
                  </a:lnTo>
                  <a:lnTo>
                    <a:pt x="278" y="42"/>
                  </a:lnTo>
                  <a:lnTo>
                    <a:pt x="292" y="24"/>
                  </a:lnTo>
                  <a:lnTo>
                    <a:pt x="304" y="24"/>
                  </a:lnTo>
                  <a:lnTo>
                    <a:pt x="316" y="24"/>
                  </a:lnTo>
                  <a:lnTo>
                    <a:pt x="330" y="16"/>
                  </a:lnTo>
                  <a:lnTo>
                    <a:pt x="344" y="16"/>
                  </a:lnTo>
                  <a:lnTo>
                    <a:pt x="354" y="32"/>
                  </a:lnTo>
                  <a:lnTo>
                    <a:pt x="360" y="50"/>
                  </a:lnTo>
                  <a:lnTo>
                    <a:pt x="372" y="60"/>
                  </a:lnTo>
                  <a:lnTo>
                    <a:pt x="372" y="76"/>
                  </a:lnTo>
                  <a:lnTo>
                    <a:pt x="372" y="92"/>
                  </a:lnTo>
                  <a:lnTo>
                    <a:pt x="378" y="110"/>
                  </a:lnTo>
                  <a:lnTo>
                    <a:pt x="392" y="120"/>
                  </a:lnTo>
                  <a:lnTo>
                    <a:pt x="392" y="138"/>
                  </a:lnTo>
                  <a:lnTo>
                    <a:pt x="400" y="154"/>
                  </a:lnTo>
                  <a:lnTo>
                    <a:pt x="392" y="170"/>
                  </a:lnTo>
                  <a:lnTo>
                    <a:pt x="406" y="180"/>
                  </a:lnTo>
                  <a:lnTo>
                    <a:pt x="414" y="198"/>
                  </a:lnTo>
                  <a:lnTo>
                    <a:pt x="426" y="206"/>
                  </a:lnTo>
                  <a:lnTo>
                    <a:pt x="440" y="198"/>
                  </a:lnTo>
                  <a:lnTo>
                    <a:pt x="454" y="206"/>
                  </a:lnTo>
                  <a:lnTo>
                    <a:pt x="468" y="206"/>
                  </a:lnTo>
                  <a:lnTo>
                    <a:pt x="480" y="198"/>
                  </a:lnTo>
                  <a:lnTo>
                    <a:pt x="494" y="190"/>
                  </a:lnTo>
                  <a:lnTo>
                    <a:pt x="506" y="180"/>
                  </a:lnTo>
                  <a:lnTo>
                    <a:pt x="522" y="180"/>
                  </a:lnTo>
                  <a:lnTo>
                    <a:pt x="528" y="180"/>
                  </a:lnTo>
                  <a:lnTo>
                    <a:pt x="528" y="196"/>
                  </a:lnTo>
                  <a:lnTo>
                    <a:pt x="514" y="206"/>
                  </a:lnTo>
                  <a:lnTo>
                    <a:pt x="514" y="222"/>
                  </a:lnTo>
                  <a:lnTo>
                    <a:pt x="522" y="232"/>
                  </a:lnTo>
                  <a:lnTo>
                    <a:pt x="514" y="250"/>
                  </a:lnTo>
                  <a:lnTo>
                    <a:pt x="500" y="250"/>
                  </a:lnTo>
                  <a:lnTo>
                    <a:pt x="480" y="250"/>
                  </a:lnTo>
                  <a:lnTo>
                    <a:pt x="468" y="258"/>
                  </a:lnTo>
                  <a:lnTo>
                    <a:pt x="462" y="276"/>
                  </a:lnTo>
                  <a:lnTo>
                    <a:pt x="440" y="276"/>
                  </a:lnTo>
                  <a:lnTo>
                    <a:pt x="420" y="276"/>
                  </a:lnTo>
                  <a:lnTo>
                    <a:pt x="400" y="276"/>
                  </a:lnTo>
                  <a:lnTo>
                    <a:pt x="386" y="292"/>
                  </a:lnTo>
                  <a:lnTo>
                    <a:pt x="372" y="302"/>
                  </a:lnTo>
                  <a:lnTo>
                    <a:pt x="352" y="312"/>
                  </a:lnTo>
                  <a:lnTo>
                    <a:pt x="344" y="328"/>
                  </a:lnTo>
                  <a:lnTo>
                    <a:pt x="330" y="336"/>
                  </a:lnTo>
                  <a:lnTo>
                    <a:pt x="316" y="354"/>
                  </a:lnTo>
                  <a:lnTo>
                    <a:pt x="304" y="362"/>
                  </a:lnTo>
                  <a:lnTo>
                    <a:pt x="304" y="354"/>
                  </a:lnTo>
                  <a:lnTo>
                    <a:pt x="298" y="348"/>
                  </a:lnTo>
                  <a:lnTo>
                    <a:pt x="292" y="346"/>
                  </a:lnTo>
                  <a:lnTo>
                    <a:pt x="278" y="354"/>
                  </a:lnTo>
                  <a:lnTo>
                    <a:pt x="270" y="336"/>
                  </a:lnTo>
                  <a:lnTo>
                    <a:pt x="258" y="328"/>
                  </a:lnTo>
                  <a:lnTo>
                    <a:pt x="244" y="328"/>
                  </a:lnTo>
                  <a:lnTo>
                    <a:pt x="230" y="328"/>
                  </a:lnTo>
                  <a:lnTo>
                    <a:pt x="222" y="312"/>
                  </a:lnTo>
                  <a:lnTo>
                    <a:pt x="230" y="292"/>
                  </a:lnTo>
                  <a:lnTo>
                    <a:pt x="230" y="276"/>
                  </a:lnTo>
                  <a:lnTo>
                    <a:pt x="216" y="266"/>
                  </a:lnTo>
                  <a:lnTo>
                    <a:pt x="208" y="250"/>
                  </a:lnTo>
                  <a:lnTo>
                    <a:pt x="216" y="232"/>
                  </a:lnTo>
                  <a:lnTo>
                    <a:pt x="202" y="216"/>
                  </a:lnTo>
                  <a:lnTo>
                    <a:pt x="182" y="206"/>
                  </a:lnTo>
                  <a:lnTo>
                    <a:pt x="168" y="206"/>
                  </a:lnTo>
                  <a:lnTo>
                    <a:pt x="156" y="216"/>
                  </a:lnTo>
                  <a:lnTo>
                    <a:pt x="140" y="216"/>
                  </a:lnTo>
                  <a:lnTo>
                    <a:pt x="128" y="198"/>
                  </a:lnTo>
                  <a:lnTo>
                    <a:pt x="114" y="190"/>
                  </a:lnTo>
                  <a:lnTo>
                    <a:pt x="102" y="190"/>
                  </a:lnTo>
                  <a:lnTo>
                    <a:pt x="88" y="190"/>
                  </a:lnTo>
                  <a:lnTo>
                    <a:pt x="76" y="180"/>
                  </a:lnTo>
                  <a:lnTo>
                    <a:pt x="62" y="180"/>
                  </a:lnTo>
                  <a:lnTo>
                    <a:pt x="46" y="190"/>
                  </a:lnTo>
                  <a:lnTo>
                    <a:pt x="34" y="198"/>
                  </a:lnTo>
                  <a:lnTo>
                    <a:pt x="20" y="198"/>
                  </a:lnTo>
                  <a:lnTo>
                    <a:pt x="6" y="190"/>
                  </a:lnTo>
                  <a:lnTo>
                    <a:pt x="0" y="190"/>
                  </a:lnTo>
                  <a:lnTo>
                    <a:pt x="6" y="190"/>
                  </a:lnTo>
                  <a:lnTo>
                    <a:pt x="20" y="170"/>
                  </a:lnTo>
                  <a:lnTo>
                    <a:pt x="34" y="162"/>
                  </a:lnTo>
                  <a:lnTo>
                    <a:pt x="46" y="152"/>
                  </a:lnTo>
                  <a:lnTo>
                    <a:pt x="62" y="144"/>
                  </a:lnTo>
                  <a:lnTo>
                    <a:pt x="62" y="128"/>
                  </a:lnTo>
                  <a:lnTo>
                    <a:pt x="62" y="108"/>
                  </a:lnTo>
                  <a:lnTo>
                    <a:pt x="72" y="102"/>
                  </a:lnTo>
                  <a:lnTo>
                    <a:pt x="82" y="84"/>
                  </a:lnTo>
                  <a:lnTo>
                    <a:pt x="86" y="66"/>
                  </a:lnTo>
                  <a:lnTo>
                    <a:pt x="102" y="48"/>
                  </a:lnTo>
                  <a:lnTo>
                    <a:pt x="114" y="40"/>
                  </a:lnTo>
                  <a:lnTo>
                    <a:pt x="128" y="30"/>
                  </a:lnTo>
                  <a:lnTo>
                    <a:pt x="128" y="28"/>
                  </a:lnTo>
                  <a:lnTo>
                    <a:pt x="122" y="32"/>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0" name="Freeform 76">
              <a:extLst>
                <a:ext uri="{FF2B5EF4-FFF2-40B4-BE49-F238E27FC236}">
                  <a16:creationId xmlns:a16="http://schemas.microsoft.com/office/drawing/2014/main" id="{5341AFD9-5767-48EC-8B9A-D0CD6150301B}"/>
                </a:ext>
              </a:extLst>
            </p:cNvPr>
            <p:cNvSpPr>
              <a:spLocks/>
            </p:cNvSpPr>
            <p:nvPr/>
          </p:nvSpPr>
          <p:spPr bwMode="auto">
            <a:xfrm>
              <a:off x="2399765" y="4438275"/>
              <a:ext cx="594938" cy="418550"/>
            </a:xfrm>
            <a:custGeom>
              <a:avLst/>
              <a:gdLst>
                <a:gd name="T0" fmla="*/ 94 w 398"/>
                <a:gd name="T1" fmla="*/ 10 h 280"/>
                <a:gd name="T2" fmla="*/ 66 w 398"/>
                <a:gd name="T3" fmla="*/ 28 h 280"/>
                <a:gd name="T4" fmla="*/ 58 w 398"/>
                <a:gd name="T5" fmla="*/ 62 h 280"/>
                <a:gd name="T6" fmla="*/ 40 w 398"/>
                <a:gd name="T7" fmla="*/ 80 h 280"/>
                <a:gd name="T8" fmla="*/ 28 w 398"/>
                <a:gd name="T9" fmla="*/ 106 h 280"/>
                <a:gd name="T10" fmla="*/ 6 w 398"/>
                <a:gd name="T11" fmla="*/ 126 h 280"/>
                <a:gd name="T12" fmla="*/ 0 w 398"/>
                <a:gd name="T13" fmla="*/ 158 h 280"/>
                <a:gd name="T14" fmla="*/ 6 w 398"/>
                <a:gd name="T15" fmla="*/ 192 h 280"/>
                <a:gd name="T16" fmla="*/ 34 w 398"/>
                <a:gd name="T17" fmla="*/ 184 h 280"/>
                <a:gd name="T18" fmla="*/ 60 w 398"/>
                <a:gd name="T19" fmla="*/ 208 h 280"/>
                <a:gd name="T20" fmla="*/ 60 w 398"/>
                <a:gd name="T21" fmla="*/ 244 h 280"/>
                <a:gd name="T22" fmla="*/ 66 w 398"/>
                <a:gd name="T23" fmla="*/ 252 h 280"/>
                <a:gd name="T24" fmla="*/ 94 w 398"/>
                <a:gd name="T25" fmla="*/ 262 h 280"/>
                <a:gd name="T26" fmla="*/ 120 w 398"/>
                <a:gd name="T27" fmla="*/ 270 h 280"/>
                <a:gd name="T28" fmla="*/ 150 w 398"/>
                <a:gd name="T29" fmla="*/ 262 h 280"/>
                <a:gd name="T30" fmla="*/ 176 w 398"/>
                <a:gd name="T31" fmla="*/ 270 h 280"/>
                <a:gd name="T32" fmla="*/ 196 w 398"/>
                <a:gd name="T33" fmla="*/ 280 h 280"/>
                <a:gd name="T34" fmla="*/ 222 w 398"/>
                <a:gd name="T35" fmla="*/ 270 h 280"/>
                <a:gd name="T36" fmla="*/ 236 w 398"/>
                <a:gd name="T37" fmla="*/ 252 h 280"/>
                <a:gd name="T38" fmla="*/ 262 w 398"/>
                <a:gd name="T39" fmla="*/ 236 h 280"/>
                <a:gd name="T40" fmla="*/ 296 w 398"/>
                <a:gd name="T41" fmla="*/ 252 h 280"/>
                <a:gd name="T42" fmla="*/ 324 w 398"/>
                <a:gd name="T43" fmla="*/ 244 h 280"/>
                <a:gd name="T44" fmla="*/ 352 w 398"/>
                <a:gd name="T45" fmla="*/ 244 h 280"/>
                <a:gd name="T46" fmla="*/ 364 w 398"/>
                <a:gd name="T47" fmla="*/ 234 h 280"/>
                <a:gd name="T48" fmla="*/ 364 w 398"/>
                <a:gd name="T49" fmla="*/ 200 h 280"/>
                <a:gd name="T50" fmla="*/ 392 w 398"/>
                <a:gd name="T51" fmla="*/ 190 h 280"/>
                <a:gd name="T52" fmla="*/ 384 w 398"/>
                <a:gd name="T53" fmla="*/ 166 h 280"/>
                <a:gd name="T54" fmla="*/ 364 w 398"/>
                <a:gd name="T55" fmla="*/ 156 h 280"/>
                <a:gd name="T56" fmla="*/ 338 w 398"/>
                <a:gd name="T57" fmla="*/ 150 h 280"/>
                <a:gd name="T58" fmla="*/ 318 w 398"/>
                <a:gd name="T59" fmla="*/ 130 h 280"/>
                <a:gd name="T60" fmla="*/ 324 w 398"/>
                <a:gd name="T61" fmla="*/ 96 h 280"/>
                <a:gd name="T62" fmla="*/ 302 w 398"/>
                <a:gd name="T63" fmla="*/ 70 h 280"/>
                <a:gd name="T64" fmla="*/ 296 w 398"/>
                <a:gd name="T65" fmla="*/ 36 h 280"/>
                <a:gd name="T66" fmla="*/ 262 w 398"/>
                <a:gd name="T67" fmla="*/ 26 h 280"/>
                <a:gd name="T68" fmla="*/ 236 w 398"/>
                <a:gd name="T69" fmla="*/ 36 h 280"/>
                <a:gd name="T70" fmla="*/ 208 w 398"/>
                <a:gd name="T71" fmla="*/ 10 h 280"/>
                <a:gd name="T72" fmla="*/ 182 w 398"/>
                <a:gd name="T73" fmla="*/ 10 h 280"/>
                <a:gd name="T74" fmla="*/ 156 w 398"/>
                <a:gd name="T75" fmla="*/ 0 h 280"/>
                <a:gd name="T76" fmla="*/ 128 w 398"/>
                <a:gd name="T77" fmla="*/ 18 h 280"/>
                <a:gd name="T78" fmla="*/ 102 w 398"/>
                <a:gd name="T79" fmla="*/ 10 h 280"/>
                <a:gd name="T80" fmla="*/ 102 w 398"/>
                <a:gd name="T81" fmla="*/ 1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8" h="280">
                  <a:moveTo>
                    <a:pt x="102" y="10"/>
                  </a:moveTo>
                  <a:lnTo>
                    <a:pt x="94" y="10"/>
                  </a:lnTo>
                  <a:lnTo>
                    <a:pt x="80" y="20"/>
                  </a:lnTo>
                  <a:lnTo>
                    <a:pt x="66" y="28"/>
                  </a:lnTo>
                  <a:lnTo>
                    <a:pt x="58" y="46"/>
                  </a:lnTo>
                  <a:lnTo>
                    <a:pt x="58" y="62"/>
                  </a:lnTo>
                  <a:lnTo>
                    <a:pt x="46" y="62"/>
                  </a:lnTo>
                  <a:lnTo>
                    <a:pt x="40" y="80"/>
                  </a:lnTo>
                  <a:lnTo>
                    <a:pt x="40" y="96"/>
                  </a:lnTo>
                  <a:lnTo>
                    <a:pt x="28" y="106"/>
                  </a:lnTo>
                  <a:lnTo>
                    <a:pt x="12" y="114"/>
                  </a:lnTo>
                  <a:lnTo>
                    <a:pt x="6" y="126"/>
                  </a:lnTo>
                  <a:lnTo>
                    <a:pt x="0" y="142"/>
                  </a:lnTo>
                  <a:lnTo>
                    <a:pt x="0" y="158"/>
                  </a:lnTo>
                  <a:lnTo>
                    <a:pt x="0" y="174"/>
                  </a:lnTo>
                  <a:lnTo>
                    <a:pt x="6" y="192"/>
                  </a:lnTo>
                  <a:lnTo>
                    <a:pt x="20" y="192"/>
                  </a:lnTo>
                  <a:lnTo>
                    <a:pt x="34" y="184"/>
                  </a:lnTo>
                  <a:lnTo>
                    <a:pt x="48" y="202"/>
                  </a:lnTo>
                  <a:lnTo>
                    <a:pt x="60" y="208"/>
                  </a:lnTo>
                  <a:lnTo>
                    <a:pt x="60" y="226"/>
                  </a:lnTo>
                  <a:lnTo>
                    <a:pt x="60" y="244"/>
                  </a:lnTo>
                  <a:lnTo>
                    <a:pt x="54" y="252"/>
                  </a:lnTo>
                  <a:lnTo>
                    <a:pt x="66" y="252"/>
                  </a:lnTo>
                  <a:lnTo>
                    <a:pt x="80" y="252"/>
                  </a:lnTo>
                  <a:lnTo>
                    <a:pt x="94" y="262"/>
                  </a:lnTo>
                  <a:lnTo>
                    <a:pt x="108" y="270"/>
                  </a:lnTo>
                  <a:lnTo>
                    <a:pt x="120" y="270"/>
                  </a:lnTo>
                  <a:lnTo>
                    <a:pt x="134" y="262"/>
                  </a:lnTo>
                  <a:lnTo>
                    <a:pt x="150" y="262"/>
                  </a:lnTo>
                  <a:lnTo>
                    <a:pt x="162" y="262"/>
                  </a:lnTo>
                  <a:lnTo>
                    <a:pt x="176" y="270"/>
                  </a:lnTo>
                  <a:lnTo>
                    <a:pt x="182" y="270"/>
                  </a:lnTo>
                  <a:lnTo>
                    <a:pt x="196" y="280"/>
                  </a:lnTo>
                  <a:lnTo>
                    <a:pt x="208" y="280"/>
                  </a:lnTo>
                  <a:lnTo>
                    <a:pt x="222" y="270"/>
                  </a:lnTo>
                  <a:lnTo>
                    <a:pt x="222" y="252"/>
                  </a:lnTo>
                  <a:lnTo>
                    <a:pt x="236" y="252"/>
                  </a:lnTo>
                  <a:lnTo>
                    <a:pt x="250" y="244"/>
                  </a:lnTo>
                  <a:lnTo>
                    <a:pt x="262" y="236"/>
                  </a:lnTo>
                  <a:lnTo>
                    <a:pt x="278" y="244"/>
                  </a:lnTo>
                  <a:lnTo>
                    <a:pt x="296" y="252"/>
                  </a:lnTo>
                  <a:lnTo>
                    <a:pt x="318" y="252"/>
                  </a:lnTo>
                  <a:lnTo>
                    <a:pt x="324" y="244"/>
                  </a:lnTo>
                  <a:lnTo>
                    <a:pt x="338" y="236"/>
                  </a:lnTo>
                  <a:lnTo>
                    <a:pt x="352" y="244"/>
                  </a:lnTo>
                  <a:lnTo>
                    <a:pt x="352" y="244"/>
                  </a:lnTo>
                  <a:lnTo>
                    <a:pt x="364" y="234"/>
                  </a:lnTo>
                  <a:lnTo>
                    <a:pt x="372" y="218"/>
                  </a:lnTo>
                  <a:lnTo>
                    <a:pt x="364" y="200"/>
                  </a:lnTo>
                  <a:lnTo>
                    <a:pt x="378" y="190"/>
                  </a:lnTo>
                  <a:lnTo>
                    <a:pt x="392" y="190"/>
                  </a:lnTo>
                  <a:lnTo>
                    <a:pt x="398" y="174"/>
                  </a:lnTo>
                  <a:lnTo>
                    <a:pt x="384" y="166"/>
                  </a:lnTo>
                  <a:lnTo>
                    <a:pt x="372" y="174"/>
                  </a:lnTo>
                  <a:lnTo>
                    <a:pt x="364" y="156"/>
                  </a:lnTo>
                  <a:lnTo>
                    <a:pt x="352" y="150"/>
                  </a:lnTo>
                  <a:lnTo>
                    <a:pt x="338" y="150"/>
                  </a:lnTo>
                  <a:lnTo>
                    <a:pt x="324" y="150"/>
                  </a:lnTo>
                  <a:lnTo>
                    <a:pt x="318" y="130"/>
                  </a:lnTo>
                  <a:lnTo>
                    <a:pt x="324" y="114"/>
                  </a:lnTo>
                  <a:lnTo>
                    <a:pt x="324" y="96"/>
                  </a:lnTo>
                  <a:lnTo>
                    <a:pt x="310" y="88"/>
                  </a:lnTo>
                  <a:lnTo>
                    <a:pt x="302" y="70"/>
                  </a:lnTo>
                  <a:lnTo>
                    <a:pt x="310" y="52"/>
                  </a:lnTo>
                  <a:lnTo>
                    <a:pt x="296" y="36"/>
                  </a:lnTo>
                  <a:lnTo>
                    <a:pt x="278" y="26"/>
                  </a:lnTo>
                  <a:lnTo>
                    <a:pt x="262" y="26"/>
                  </a:lnTo>
                  <a:lnTo>
                    <a:pt x="250" y="36"/>
                  </a:lnTo>
                  <a:lnTo>
                    <a:pt x="236" y="36"/>
                  </a:lnTo>
                  <a:lnTo>
                    <a:pt x="222" y="18"/>
                  </a:lnTo>
                  <a:lnTo>
                    <a:pt x="208" y="10"/>
                  </a:lnTo>
                  <a:lnTo>
                    <a:pt x="196" y="10"/>
                  </a:lnTo>
                  <a:lnTo>
                    <a:pt x="182" y="10"/>
                  </a:lnTo>
                  <a:lnTo>
                    <a:pt x="170" y="0"/>
                  </a:lnTo>
                  <a:lnTo>
                    <a:pt x="156" y="0"/>
                  </a:lnTo>
                  <a:lnTo>
                    <a:pt x="142" y="10"/>
                  </a:lnTo>
                  <a:lnTo>
                    <a:pt x="128" y="18"/>
                  </a:lnTo>
                  <a:lnTo>
                    <a:pt x="114" y="18"/>
                  </a:lnTo>
                  <a:lnTo>
                    <a:pt x="102" y="10"/>
                  </a:lnTo>
                  <a:lnTo>
                    <a:pt x="94" y="10"/>
                  </a:lnTo>
                  <a:lnTo>
                    <a:pt x="102" y="1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1" name="Freeform 77">
              <a:extLst>
                <a:ext uri="{FF2B5EF4-FFF2-40B4-BE49-F238E27FC236}">
                  <a16:creationId xmlns:a16="http://schemas.microsoft.com/office/drawing/2014/main" id="{230B0963-89ED-4B3F-B015-8E7309A79927}"/>
                </a:ext>
              </a:extLst>
            </p:cNvPr>
            <p:cNvSpPr>
              <a:spLocks/>
            </p:cNvSpPr>
            <p:nvPr/>
          </p:nvSpPr>
          <p:spPr bwMode="auto">
            <a:xfrm>
              <a:off x="2399765" y="4438275"/>
              <a:ext cx="594938" cy="418550"/>
            </a:xfrm>
            <a:custGeom>
              <a:avLst/>
              <a:gdLst>
                <a:gd name="T0" fmla="*/ 94 w 398"/>
                <a:gd name="T1" fmla="*/ 10 h 280"/>
                <a:gd name="T2" fmla="*/ 66 w 398"/>
                <a:gd name="T3" fmla="*/ 28 h 280"/>
                <a:gd name="T4" fmla="*/ 58 w 398"/>
                <a:gd name="T5" fmla="*/ 62 h 280"/>
                <a:gd name="T6" fmla="*/ 40 w 398"/>
                <a:gd name="T7" fmla="*/ 80 h 280"/>
                <a:gd name="T8" fmla="*/ 28 w 398"/>
                <a:gd name="T9" fmla="*/ 106 h 280"/>
                <a:gd name="T10" fmla="*/ 6 w 398"/>
                <a:gd name="T11" fmla="*/ 126 h 280"/>
                <a:gd name="T12" fmla="*/ 0 w 398"/>
                <a:gd name="T13" fmla="*/ 158 h 280"/>
                <a:gd name="T14" fmla="*/ 6 w 398"/>
                <a:gd name="T15" fmla="*/ 192 h 280"/>
                <a:gd name="T16" fmla="*/ 34 w 398"/>
                <a:gd name="T17" fmla="*/ 184 h 280"/>
                <a:gd name="T18" fmla="*/ 60 w 398"/>
                <a:gd name="T19" fmla="*/ 208 h 280"/>
                <a:gd name="T20" fmla="*/ 60 w 398"/>
                <a:gd name="T21" fmla="*/ 244 h 280"/>
                <a:gd name="T22" fmla="*/ 66 w 398"/>
                <a:gd name="T23" fmla="*/ 252 h 280"/>
                <a:gd name="T24" fmla="*/ 94 w 398"/>
                <a:gd name="T25" fmla="*/ 262 h 280"/>
                <a:gd name="T26" fmla="*/ 120 w 398"/>
                <a:gd name="T27" fmla="*/ 270 h 280"/>
                <a:gd name="T28" fmla="*/ 150 w 398"/>
                <a:gd name="T29" fmla="*/ 262 h 280"/>
                <a:gd name="T30" fmla="*/ 176 w 398"/>
                <a:gd name="T31" fmla="*/ 270 h 280"/>
                <a:gd name="T32" fmla="*/ 196 w 398"/>
                <a:gd name="T33" fmla="*/ 280 h 280"/>
                <a:gd name="T34" fmla="*/ 222 w 398"/>
                <a:gd name="T35" fmla="*/ 270 h 280"/>
                <a:gd name="T36" fmla="*/ 236 w 398"/>
                <a:gd name="T37" fmla="*/ 252 h 280"/>
                <a:gd name="T38" fmla="*/ 262 w 398"/>
                <a:gd name="T39" fmla="*/ 236 h 280"/>
                <a:gd name="T40" fmla="*/ 296 w 398"/>
                <a:gd name="T41" fmla="*/ 252 h 280"/>
                <a:gd name="T42" fmla="*/ 324 w 398"/>
                <a:gd name="T43" fmla="*/ 244 h 280"/>
                <a:gd name="T44" fmla="*/ 352 w 398"/>
                <a:gd name="T45" fmla="*/ 244 h 280"/>
                <a:gd name="T46" fmla="*/ 364 w 398"/>
                <a:gd name="T47" fmla="*/ 234 h 280"/>
                <a:gd name="T48" fmla="*/ 364 w 398"/>
                <a:gd name="T49" fmla="*/ 200 h 280"/>
                <a:gd name="T50" fmla="*/ 392 w 398"/>
                <a:gd name="T51" fmla="*/ 190 h 280"/>
                <a:gd name="T52" fmla="*/ 384 w 398"/>
                <a:gd name="T53" fmla="*/ 166 h 280"/>
                <a:gd name="T54" fmla="*/ 364 w 398"/>
                <a:gd name="T55" fmla="*/ 156 h 280"/>
                <a:gd name="T56" fmla="*/ 338 w 398"/>
                <a:gd name="T57" fmla="*/ 150 h 280"/>
                <a:gd name="T58" fmla="*/ 318 w 398"/>
                <a:gd name="T59" fmla="*/ 130 h 280"/>
                <a:gd name="T60" fmla="*/ 324 w 398"/>
                <a:gd name="T61" fmla="*/ 96 h 280"/>
                <a:gd name="T62" fmla="*/ 302 w 398"/>
                <a:gd name="T63" fmla="*/ 70 h 280"/>
                <a:gd name="T64" fmla="*/ 296 w 398"/>
                <a:gd name="T65" fmla="*/ 36 h 280"/>
                <a:gd name="T66" fmla="*/ 262 w 398"/>
                <a:gd name="T67" fmla="*/ 26 h 280"/>
                <a:gd name="T68" fmla="*/ 236 w 398"/>
                <a:gd name="T69" fmla="*/ 36 h 280"/>
                <a:gd name="T70" fmla="*/ 208 w 398"/>
                <a:gd name="T71" fmla="*/ 10 h 280"/>
                <a:gd name="T72" fmla="*/ 182 w 398"/>
                <a:gd name="T73" fmla="*/ 10 h 280"/>
                <a:gd name="T74" fmla="*/ 156 w 398"/>
                <a:gd name="T75" fmla="*/ 0 h 280"/>
                <a:gd name="T76" fmla="*/ 128 w 398"/>
                <a:gd name="T77" fmla="*/ 18 h 280"/>
                <a:gd name="T78" fmla="*/ 102 w 398"/>
                <a:gd name="T79" fmla="*/ 10 h 280"/>
                <a:gd name="T80" fmla="*/ 102 w 398"/>
                <a:gd name="T81" fmla="*/ 1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8" h="280">
                  <a:moveTo>
                    <a:pt x="102" y="10"/>
                  </a:moveTo>
                  <a:lnTo>
                    <a:pt x="94" y="10"/>
                  </a:lnTo>
                  <a:lnTo>
                    <a:pt x="80" y="20"/>
                  </a:lnTo>
                  <a:lnTo>
                    <a:pt x="66" y="28"/>
                  </a:lnTo>
                  <a:lnTo>
                    <a:pt x="58" y="46"/>
                  </a:lnTo>
                  <a:lnTo>
                    <a:pt x="58" y="62"/>
                  </a:lnTo>
                  <a:lnTo>
                    <a:pt x="46" y="62"/>
                  </a:lnTo>
                  <a:lnTo>
                    <a:pt x="40" y="80"/>
                  </a:lnTo>
                  <a:lnTo>
                    <a:pt x="40" y="96"/>
                  </a:lnTo>
                  <a:lnTo>
                    <a:pt x="28" y="106"/>
                  </a:lnTo>
                  <a:lnTo>
                    <a:pt x="12" y="114"/>
                  </a:lnTo>
                  <a:lnTo>
                    <a:pt x="6" y="126"/>
                  </a:lnTo>
                  <a:lnTo>
                    <a:pt x="0" y="142"/>
                  </a:lnTo>
                  <a:lnTo>
                    <a:pt x="0" y="158"/>
                  </a:lnTo>
                  <a:lnTo>
                    <a:pt x="0" y="174"/>
                  </a:lnTo>
                  <a:lnTo>
                    <a:pt x="6" y="192"/>
                  </a:lnTo>
                  <a:lnTo>
                    <a:pt x="20" y="192"/>
                  </a:lnTo>
                  <a:lnTo>
                    <a:pt x="34" y="184"/>
                  </a:lnTo>
                  <a:lnTo>
                    <a:pt x="48" y="202"/>
                  </a:lnTo>
                  <a:lnTo>
                    <a:pt x="60" y="208"/>
                  </a:lnTo>
                  <a:lnTo>
                    <a:pt x="60" y="226"/>
                  </a:lnTo>
                  <a:lnTo>
                    <a:pt x="60" y="244"/>
                  </a:lnTo>
                  <a:lnTo>
                    <a:pt x="54" y="252"/>
                  </a:lnTo>
                  <a:lnTo>
                    <a:pt x="66" y="252"/>
                  </a:lnTo>
                  <a:lnTo>
                    <a:pt x="80" y="252"/>
                  </a:lnTo>
                  <a:lnTo>
                    <a:pt x="94" y="262"/>
                  </a:lnTo>
                  <a:lnTo>
                    <a:pt x="108" y="270"/>
                  </a:lnTo>
                  <a:lnTo>
                    <a:pt x="120" y="270"/>
                  </a:lnTo>
                  <a:lnTo>
                    <a:pt x="134" y="262"/>
                  </a:lnTo>
                  <a:lnTo>
                    <a:pt x="150" y="262"/>
                  </a:lnTo>
                  <a:lnTo>
                    <a:pt x="162" y="262"/>
                  </a:lnTo>
                  <a:lnTo>
                    <a:pt x="176" y="270"/>
                  </a:lnTo>
                  <a:lnTo>
                    <a:pt x="182" y="270"/>
                  </a:lnTo>
                  <a:lnTo>
                    <a:pt x="196" y="280"/>
                  </a:lnTo>
                  <a:lnTo>
                    <a:pt x="208" y="280"/>
                  </a:lnTo>
                  <a:lnTo>
                    <a:pt x="222" y="270"/>
                  </a:lnTo>
                  <a:lnTo>
                    <a:pt x="222" y="252"/>
                  </a:lnTo>
                  <a:lnTo>
                    <a:pt x="236" y="252"/>
                  </a:lnTo>
                  <a:lnTo>
                    <a:pt x="250" y="244"/>
                  </a:lnTo>
                  <a:lnTo>
                    <a:pt x="262" y="236"/>
                  </a:lnTo>
                  <a:lnTo>
                    <a:pt x="278" y="244"/>
                  </a:lnTo>
                  <a:lnTo>
                    <a:pt x="296" y="252"/>
                  </a:lnTo>
                  <a:lnTo>
                    <a:pt x="318" y="252"/>
                  </a:lnTo>
                  <a:lnTo>
                    <a:pt x="324" y="244"/>
                  </a:lnTo>
                  <a:lnTo>
                    <a:pt x="338" y="236"/>
                  </a:lnTo>
                  <a:lnTo>
                    <a:pt x="352" y="244"/>
                  </a:lnTo>
                  <a:lnTo>
                    <a:pt x="352" y="244"/>
                  </a:lnTo>
                  <a:lnTo>
                    <a:pt x="364" y="234"/>
                  </a:lnTo>
                  <a:lnTo>
                    <a:pt x="372" y="218"/>
                  </a:lnTo>
                  <a:lnTo>
                    <a:pt x="364" y="200"/>
                  </a:lnTo>
                  <a:lnTo>
                    <a:pt x="378" y="190"/>
                  </a:lnTo>
                  <a:lnTo>
                    <a:pt x="392" y="190"/>
                  </a:lnTo>
                  <a:lnTo>
                    <a:pt x="398" y="174"/>
                  </a:lnTo>
                  <a:lnTo>
                    <a:pt x="384" y="166"/>
                  </a:lnTo>
                  <a:lnTo>
                    <a:pt x="372" y="174"/>
                  </a:lnTo>
                  <a:lnTo>
                    <a:pt x="364" y="156"/>
                  </a:lnTo>
                  <a:lnTo>
                    <a:pt x="352" y="150"/>
                  </a:lnTo>
                  <a:lnTo>
                    <a:pt x="338" y="150"/>
                  </a:lnTo>
                  <a:lnTo>
                    <a:pt x="324" y="150"/>
                  </a:lnTo>
                  <a:lnTo>
                    <a:pt x="318" y="130"/>
                  </a:lnTo>
                  <a:lnTo>
                    <a:pt x="324" y="114"/>
                  </a:lnTo>
                  <a:lnTo>
                    <a:pt x="324" y="96"/>
                  </a:lnTo>
                  <a:lnTo>
                    <a:pt x="310" y="88"/>
                  </a:lnTo>
                  <a:lnTo>
                    <a:pt x="302" y="70"/>
                  </a:lnTo>
                  <a:lnTo>
                    <a:pt x="310" y="52"/>
                  </a:lnTo>
                  <a:lnTo>
                    <a:pt x="296" y="36"/>
                  </a:lnTo>
                  <a:lnTo>
                    <a:pt x="278" y="26"/>
                  </a:lnTo>
                  <a:lnTo>
                    <a:pt x="262" y="26"/>
                  </a:lnTo>
                  <a:lnTo>
                    <a:pt x="250" y="36"/>
                  </a:lnTo>
                  <a:lnTo>
                    <a:pt x="236" y="36"/>
                  </a:lnTo>
                  <a:lnTo>
                    <a:pt x="222" y="18"/>
                  </a:lnTo>
                  <a:lnTo>
                    <a:pt x="208" y="10"/>
                  </a:lnTo>
                  <a:lnTo>
                    <a:pt x="196" y="10"/>
                  </a:lnTo>
                  <a:lnTo>
                    <a:pt x="182" y="10"/>
                  </a:lnTo>
                  <a:lnTo>
                    <a:pt x="170" y="0"/>
                  </a:lnTo>
                  <a:lnTo>
                    <a:pt x="156" y="0"/>
                  </a:lnTo>
                  <a:lnTo>
                    <a:pt x="142" y="10"/>
                  </a:lnTo>
                  <a:lnTo>
                    <a:pt x="128" y="18"/>
                  </a:lnTo>
                  <a:lnTo>
                    <a:pt x="114" y="18"/>
                  </a:lnTo>
                  <a:lnTo>
                    <a:pt x="102" y="10"/>
                  </a:lnTo>
                  <a:lnTo>
                    <a:pt x="94" y="10"/>
                  </a:lnTo>
                  <a:lnTo>
                    <a:pt x="102" y="10"/>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2" name="Freeform 78">
              <a:extLst>
                <a:ext uri="{FF2B5EF4-FFF2-40B4-BE49-F238E27FC236}">
                  <a16:creationId xmlns:a16="http://schemas.microsoft.com/office/drawing/2014/main" id="{6229D4E4-3EEB-40D4-9034-D0159A0E3891}"/>
                </a:ext>
              </a:extLst>
            </p:cNvPr>
            <p:cNvSpPr>
              <a:spLocks/>
            </p:cNvSpPr>
            <p:nvPr/>
          </p:nvSpPr>
          <p:spPr bwMode="auto">
            <a:xfrm>
              <a:off x="2471517" y="4791053"/>
              <a:ext cx="475353" cy="325871"/>
            </a:xfrm>
            <a:custGeom>
              <a:avLst/>
              <a:gdLst>
                <a:gd name="T0" fmla="*/ 6 w 318"/>
                <a:gd name="T1" fmla="*/ 18 h 218"/>
                <a:gd name="T2" fmla="*/ 20 w 318"/>
                <a:gd name="T3" fmla="*/ 18 h 218"/>
                <a:gd name="T4" fmla="*/ 34 w 318"/>
                <a:gd name="T5" fmla="*/ 18 h 218"/>
                <a:gd name="T6" fmla="*/ 46 w 318"/>
                <a:gd name="T7" fmla="*/ 26 h 218"/>
                <a:gd name="T8" fmla="*/ 60 w 318"/>
                <a:gd name="T9" fmla="*/ 36 h 218"/>
                <a:gd name="T10" fmla="*/ 74 w 318"/>
                <a:gd name="T11" fmla="*/ 36 h 218"/>
                <a:gd name="T12" fmla="*/ 88 w 318"/>
                <a:gd name="T13" fmla="*/ 26 h 218"/>
                <a:gd name="T14" fmla="*/ 102 w 318"/>
                <a:gd name="T15" fmla="*/ 26 h 218"/>
                <a:gd name="T16" fmla="*/ 116 w 318"/>
                <a:gd name="T17" fmla="*/ 26 h 218"/>
                <a:gd name="T18" fmla="*/ 128 w 318"/>
                <a:gd name="T19" fmla="*/ 36 h 218"/>
                <a:gd name="T20" fmla="*/ 134 w 318"/>
                <a:gd name="T21" fmla="*/ 36 h 218"/>
                <a:gd name="T22" fmla="*/ 148 w 318"/>
                <a:gd name="T23" fmla="*/ 42 h 218"/>
                <a:gd name="T24" fmla="*/ 160 w 318"/>
                <a:gd name="T25" fmla="*/ 42 h 218"/>
                <a:gd name="T26" fmla="*/ 176 w 318"/>
                <a:gd name="T27" fmla="*/ 36 h 218"/>
                <a:gd name="T28" fmla="*/ 176 w 318"/>
                <a:gd name="T29" fmla="*/ 18 h 218"/>
                <a:gd name="T30" fmla="*/ 188 w 318"/>
                <a:gd name="T31" fmla="*/ 18 h 218"/>
                <a:gd name="T32" fmla="*/ 202 w 318"/>
                <a:gd name="T33" fmla="*/ 10 h 218"/>
                <a:gd name="T34" fmla="*/ 216 w 318"/>
                <a:gd name="T35" fmla="*/ 0 h 218"/>
                <a:gd name="T36" fmla="*/ 228 w 318"/>
                <a:gd name="T37" fmla="*/ 10 h 218"/>
                <a:gd name="T38" fmla="*/ 250 w 318"/>
                <a:gd name="T39" fmla="*/ 18 h 218"/>
                <a:gd name="T40" fmla="*/ 270 w 318"/>
                <a:gd name="T41" fmla="*/ 18 h 218"/>
                <a:gd name="T42" fmla="*/ 278 w 318"/>
                <a:gd name="T43" fmla="*/ 10 h 218"/>
                <a:gd name="T44" fmla="*/ 290 w 318"/>
                <a:gd name="T45" fmla="*/ 0 h 218"/>
                <a:gd name="T46" fmla="*/ 306 w 318"/>
                <a:gd name="T47" fmla="*/ 10 h 218"/>
                <a:gd name="T48" fmla="*/ 312 w 318"/>
                <a:gd name="T49" fmla="*/ 28 h 218"/>
                <a:gd name="T50" fmla="*/ 318 w 318"/>
                <a:gd name="T51" fmla="*/ 44 h 218"/>
                <a:gd name="T52" fmla="*/ 312 w 318"/>
                <a:gd name="T53" fmla="*/ 62 h 218"/>
                <a:gd name="T54" fmla="*/ 318 w 318"/>
                <a:gd name="T55" fmla="*/ 78 h 218"/>
                <a:gd name="T56" fmla="*/ 318 w 318"/>
                <a:gd name="T57" fmla="*/ 98 h 218"/>
                <a:gd name="T58" fmla="*/ 312 w 318"/>
                <a:gd name="T59" fmla="*/ 112 h 218"/>
                <a:gd name="T60" fmla="*/ 306 w 318"/>
                <a:gd name="T61" fmla="*/ 130 h 218"/>
                <a:gd name="T62" fmla="*/ 306 w 318"/>
                <a:gd name="T63" fmla="*/ 148 h 218"/>
                <a:gd name="T64" fmla="*/ 290 w 318"/>
                <a:gd name="T65" fmla="*/ 172 h 218"/>
                <a:gd name="T66" fmla="*/ 278 w 318"/>
                <a:gd name="T67" fmla="*/ 180 h 218"/>
                <a:gd name="T68" fmla="*/ 256 w 318"/>
                <a:gd name="T69" fmla="*/ 200 h 218"/>
                <a:gd name="T70" fmla="*/ 256 w 318"/>
                <a:gd name="T71" fmla="*/ 200 h 218"/>
                <a:gd name="T72" fmla="*/ 236 w 318"/>
                <a:gd name="T73" fmla="*/ 218 h 218"/>
                <a:gd name="T74" fmla="*/ 222 w 318"/>
                <a:gd name="T75" fmla="*/ 218 h 218"/>
                <a:gd name="T76" fmla="*/ 210 w 318"/>
                <a:gd name="T77" fmla="*/ 206 h 218"/>
                <a:gd name="T78" fmla="*/ 222 w 318"/>
                <a:gd name="T79" fmla="*/ 200 h 218"/>
                <a:gd name="T80" fmla="*/ 236 w 318"/>
                <a:gd name="T81" fmla="*/ 180 h 218"/>
                <a:gd name="T82" fmla="*/ 244 w 318"/>
                <a:gd name="T83" fmla="*/ 164 h 218"/>
                <a:gd name="T84" fmla="*/ 228 w 318"/>
                <a:gd name="T85" fmla="*/ 154 h 218"/>
                <a:gd name="T86" fmla="*/ 216 w 318"/>
                <a:gd name="T87" fmla="*/ 164 h 218"/>
                <a:gd name="T88" fmla="*/ 204 w 318"/>
                <a:gd name="T89" fmla="*/ 154 h 218"/>
                <a:gd name="T90" fmla="*/ 188 w 318"/>
                <a:gd name="T91" fmla="*/ 138 h 218"/>
                <a:gd name="T92" fmla="*/ 176 w 318"/>
                <a:gd name="T93" fmla="*/ 130 h 218"/>
                <a:gd name="T94" fmla="*/ 160 w 318"/>
                <a:gd name="T95" fmla="*/ 120 h 218"/>
                <a:gd name="T96" fmla="*/ 150 w 318"/>
                <a:gd name="T97" fmla="*/ 112 h 218"/>
                <a:gd name="T98" fmla="*/ 128 w 318"/>
                <a:gd name="T99" fmla="*/ 104 h 218"/>
                <a:gd name="T100" fmla="*/ 116 w 318"/>
                <a:gd name="T101" fmla="*/ 104 h 218"/>
                <a:gd name="T102" fmla="*/ 102 w 318"/>
                <a:gd name="T103" fmla="*/ 98 h 218"/>
                <a:gd name="T104" fmla="*/ 88 w 318"/>
                <a:gd name="T105" fmla="*/ 88 h 218"/>
                <a:gd name="T106" fmla="*/ 74 w 318"/>
                <a:gd name="T107" fmla="*/ 78 h 218"/>
                <a:gd name="T108" fmla="*/ 52 w 318"/>
                <a:gd name="T109" fmla="*/ 78 h 218"/>
                <a:gd name="T110" fmla="*/ 40 w 318"/>
                <a:gd name="T111" fmla="*/ 78 h 218"/>
                <a:gd name="T112" fmla="*/ 26 w 318"/>
                <a:gd name="T113" fmla="*/ 78 h 218"/>
                <a:gd name="T114" fmla="*/ 12 w 318"/>
                <a:gd name="T115" fmla="*/ 70 h 218"/>
                <a:gd name="T116" fmla="*/ 0 w 318"/>
                <a:gd name="T117" fmla="*/ 62 h 218"/>
                <a:gd name="T118" fmla="*/ 8 w 318"/>
                <a:gd name="T119" fmla="*/ 44 h 218"/>
                <a:gd name="T120" fmla="*/ 8 w 318"/>
                <a:gd name="T121" fmla="*/ 28 h 218"/>
                <a:gd name="T122" fmla="*/ 10 w 318"/>
                <a:gd name="T123" fmla="*/ 18 h 218"/>
                <a:gd name="T124" fmla="*/ 6 w 318"/>
                <a:gd name="T125" fmla="*/ 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8" h="218">
                  <a:moveTo>
                    <a:pt x="6" y="18"/>
                  </a:moveTo>
                  <a:lnTo>
                    <a:pt x="20" y="18"/>
                  </a:lnTo>
                  <a:lnTo>
                    <a:pt x="34" y="18"/>
                  </a:lnTo>
                  <a:lnTo>
                    <a:pt x="46" y="26"/>
                  </a:lnTo>
                  <a:lnTo>
                    <a:pt x="60" y="36"/>
                  </a:lnTo>
                  <a:lnTo>
                    <a:pt x="74" y="36"/>
                  </a:lnTo>
                  <a:lnTo>
                    <a:pt x="88" y="26"/>
                  </a:lnTo>
                  <a:lnTo>
                    <a:pt x="102" y="26"/>
                  </a:lnTo>
                  <a:lnTo>
                    <a:pt x="116" y="26"/>
                  </a:lnTo>
                  <a:lnTo>
                    <a:pt x="128" y="36"/>
                  </a:lnTo>
                  <a:lnTo>
                    <a:pt x="134" y="36"/>
                  </a:lnTo>
                  <a:lnTo>
                    <a:pt x="148" y="42"/>
                  </a:lnTo>
                  <a:lnTo>
                    <a:pt x="160" y="42"/>
                  </a:lnTo>
                  <a:lnTo>
                    <a:pt x="176" y="36"/>
                  </a:lnTo>
                  <a:lnTo>
                    <a:pt x="176" y="18"/>
                  </a:lnTo>
                  <a:lnTo>
                    <a:pt x="188" y="18"/>
                  </a:lnTo>
                  <a:lnTo>
                    <a:pt x="202" y="10"/>
                  </a:lnTo>
                  <a:lnTo>
                    <a:pt x="216" y="0"/>
                  </a:lnTo>
                  <a:lnTo>
                    <a:pt x="228" y="10"/>
                  </a:lnTo>
                  <a:lnTo>
                    <a:pt x="250" y="18"/>
                  </a:lnTo>
                  <a:lnTo>
                    <a:pt x="270" y="18"/>
                  </a:lnTo>
                  <a:lnTo>
                    <a:pt x="278" y="10"/>
                  </a:lnTo>
                  <a:lnTo>
                    <a:pt x="290" y="0"/>
                  </a:lnTo>
                  <a:lnTo>
                    <a:pt x="306" y="10"/>
                  </a:lnTo>
                  <a:lnTo>
                    <a:pt x="312" y="28"/>
                  </a:lnTo>
                  <a:lnTo>
                    <a:pt x="318" y="44"/>
                  </a:lnTo>
                  <a:lnTo>
                    <a:pt x="312" y="62"/>
                  </a:lnTo>
                  <a:lnTo>
                    <a:pt x="318" y="78"/>
                  </a:lnTo>
                  <a:lnTo>
                    <a:pt x="318" y="98"/>
                  </a:lnTo>
                  <a:lnTo>
                    <a:pt x="312" y="112"/>
                  </a:lnTo>
                  <a:lnTo>
                    <a:pt x="306" y="130"/>
                  </a:lnTo>
                  <a:lnTo>
                    <a:pt x="306" y="148"/>
                  </a:lnTo>
                  <a:lnTo>
                    <a:pt x="290" y="172"/>
                  </a:lnTo>
                  <a:lnTo>
                    <a:pt x="278" y="180"/>
                  </a:lnTo>
                  <a:lnTo>
                    <a:pt x="256" y="200"/>
                  </a:lnTo>
                  <a:lnTo>
                    <a:pt x="256" y="200"/>
                  </a:lnTo>
                  <a:lnTo>
                    <a:pt x="236" y="218"/>
                  </a:lnTo>
                  <a:lnTo>
                    <a:pt x="222" y="218"/>
                  </a:lnTo>
                  <a:lnTo>
                    <a:pt x="210" y="206"/>
                  </a:lnTo>
                  <a:lnTo>
                    <a:pt x="222" y="200"/>
                  </a:lnTo>
                  <a:lnTo>
                    <a:pt x="236" y="180"/>
                  </a:lnTo>
                  <a:lnTo>
                    <a:pt x="244" y="164"/>
                  </a:lnTo>
                  <a:lnTo>
                    <a:pt x="228" y="154"/>
                  </a:lnTo>
                  <a:lnTo>
                    <a:pt x="216" y="164"/>
                  </a:lnTo>
                  <a:lnTo>
                    <a:pt x="204" y="154"/>
                  </a:lnTo>
                  <a:lnTo>
                    <a:pt x="188" y="138"/>
                  </a:lnTo>
                  <a:lnTo>
                    <a:pt x="176" y="130"/>
                  </a:lnTo>
                  <a:lnTo>
                    <a:pt x="160" y="120"/>
                  </a:lnTo>
                  <a:lnTo>
                    <a:pt x="150" y="112"/>
                  </a:lnTo>
                  <a:lnTo>
                    <a:pt x="128" y="104"/>
                  </a:lnTo>
                  <a:lnTo>
                    <a:pt x="116" y="104"/>
                  </a:lnTo>
                  <a:lnTo>
                    <a:pt x="102" y="98"/>
                  </a:lnTo>
                  <a:lnTo>
                    <a:pt x="88" y="88"/>
                  </a:lnTo>
                  <a:lnTo>
                    <a:pt x="74" y="78"/>
                  </a:lnTo>
                  <a:lnTo>
                    <a:pt x="52" y="78"/>
                  </a:lnTo>
                  <a:lnTo>
                    <a:pt x="40" y="78"/>
                  </a:lnTo>
                  <a:lnTo>
                    <a:pt x="26" y="78"/>
                  </a:lnTo>
                  <a:lnTo>
                    <a:pt x="12" y="70"/>
                  </a:lnTo>
                  <a:lnTo>
                    <a:pt x="0" y="62"/>
                  </a:lnTo>
                  <a:lnTo>
                    <a:pt x="8" y="44"/>
                  </a:lnTo>
                  <a:lnTo>
                    <a:pt x="8" y="28"/>
                  </a:lnTo>
                  <a:lnTo>
                    <a:pt x="10" y="18"/>
                  </a:lnTo>
                  <a:lnTo>
                    <a:pt x="6" y="1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3" name="Freeform 79">
              <a:extLst>
                <a:ext uri="{FF2B5EF4-FFF2-40B4-BE49-F238E27FC236}">
                  <a16:creationId xmlns:a16="http://schemas.microsoft.com/office/drawing/2014/main" id="{18047015-1635-4EDF-A4E6-DAB7E130493D}"/>
                </a:ext>
              </a:extLst>
            </p:cNvPr>
            <p:cNvSpPr>
              <a:spLocks/>
            </p:cNvSpPr>
            <p:nvPr/>
          </p:nvSpPr>
          <p:spPr bwMode="auto">
            <a:xfrm>
              <a:off x="2471517" y="4791053"/>
              <a:ext cx="475353" cy="325871"/>
            </a:xfrm>
            <a:custGeom>
              <a:avLst/>
              <a:gdLst>
                <a:gd name="T0" fmla="*/ 6 w 318"/>
                <a:gd name="T1" fmla="*/ 18 h 218"/>
                <a:gd name="T2" fmla="*/ 20 w 318"/>
                <a:gd name="T3" fmla="*/ 18 h 218"/>
                <a:gd name="T4" fmla="*/ 34 w 318"/>
                <a:gd name="T5" fmla="*/ 18 h 218"/>
                <a:gd name="T6" fmla="*/ 46 w 318"/>
                <a:gd name="T7" fmla="*/ 26 h 218"/>
                <a:gd name="T8" fmla="*/ 60 w 318"/>
                <a:gd name="T9" fmla="*/ 36 h 218"/>
                <a:gd name="T10" fmla="*/ 74 w 318"/>
                <a:gd name="T11" fmla="*/ 36 h 218"/>
                <a:gd name="T12" fmla="*/ 88 w 318"/>
                <a:gd name="T13" fmla="*/ 26 h 218"/>
                <a:gd name="T14" fmla="*/ 102 w 318"/>
                <a:gd name="T15" fmla="*/ 26 h 218"/>
                <a:gd name="T16" fmla="*/ 116 w 318"/>
                <a:gd name="T17" fmla="*/ 26 h 218"/>
                <a:gd name="T18" fmla="*/ 128 w 318"/>
                <a:gd name="T19" fmla="*/ 36 h 218"/>
                <a:gd name="T20" fmla="*/ 134 w 318"/>
                <a:gd name="T21" fmla="*/ 36 h 218"/>
                <a:gd name="T22" fmla="*/ 148 w 318"/>
                <a:gd name="T23" fmla="*/ 42 h 218"/>
                <a:gd name="T24" fmla="*/ 160 w 318"/>
                <a:gd name="T25" fmla="*/ 42 h 218"/>
                <a:gd name="T26" fmla="*/ 176 w 318"/>
                <a:gd name="T27" fmla="*/ 36 h 218"/>
                <a:gd name="T28" fmla="*/ 176 w 318"/>
                <a:gd name="T29" fmla="*/ 18 h 218"/>
                <a:gd name="T30" fmla="*/ 188 w 318"/>
                <a:gd name="T31" fmla="*/ 18 h 218"/>
                <a:gd name="T32" fmla="*/ 202 w 318"/>
                <a:gd name="T33" fmla="*/ 10 h 218"/>
                <a:gd name="T34" fmla="*/ 216 w 318"/>
                <a:gd name="T35" fmla="*/ 0 h 218"/>
                <a:gd name="T36" fmla="*/ 228 w 318"/>
                <a:gd name="T37" fmla="*/ 10 h 218"/>
                <a:gd name="T38" fmla="*/ 250 w 318"/>
                <a:gd name="T39" fmla="*/ 18 h 218"/>
                <a:gd name="T40" fmla="*/ 270 w 318"/>
                <a:gd name="T41" fmla="*/ 18 h 218"/>
                <a:gd name="T42" fmla="*/ 278 w 318"/>
                <a:gd name="T43" fmla="*/ 10 h 218"/>
                <a:gd name="T44" fmla="*/ 290 w 318"/>
                <a:gd name="T45" fmla="*/ 0 h 218"/>
                <a:gd name="T46" fmla="*/ 306 w 318"/>
                <a:gd name="T47" fmla="*/ 10 h 218"/>
                <a:gd name="T48" fmla="*/ 312 w 318"/>
                <a:gd name="T49" fmla="*/ 28 h 218"/>
                <a:gd name="T50" fmla="*/ 318 w 318"/>
                <a:gd name="T51" fmla="*/ 44 h 218"/>
                <a:gd name="T52" fmla="*/ 312 w 318"/>
                <a:gd name="T53" fmla="*/ 62 h 218"/>
                <a:gd name="T54" fmla="*/ 318 w 318"/>
                <a:gd name="T55" fmla="*/ 78 h 218"/>
                <a:gd name="T56" fmla="*/ 318 w 318"/>
                <a:gd name="T57" fmla="*/ 98 h 218"/>
                <a:gd name="T58" fmla="*/ 312 w 318"/>
                <a:gd name="T59" fmla="*/ 112 h 218"/>
                <a:gd name="T60" fmla="*/ 306 w 318"/>
                <a:gd name="T61" fmla="*/ 130 h 218"/>
                <a:gd name="T62" fmla="*/ 306 w 318"/>
                <a:gd name="T63" fmla="*/ 148 h 218"/>
                <a:gd name="T64" fmla="*/ 290 w 318"/>
                <a:gd name="T65" fmla="*/ 172 h 218"/>
                <a:gd name="T66" fmla="*/ 278 w 318"/>
                <a:gd name="T67" fmla="*/ 180 h 218"/>
                <a:gd name="T68" fmla="*/ 256 w 318"/>
                <a:gd name="T69" fmla="*/ 200 h 218"/>
                <a:gd name="T70" fmla="*/ 256 w 318"/>
                <a:gd name="T71" fmla="*/ 200 h 218"/>
                <a:gd name="T72" fmla="*/ 236 w 318"/>
                <a:gd name="T73" fmla="*/ 218 h 218"/>
                <a:gd name="T74" fmla="*/ 222 w 318"/>
                <a:gd name="T75" fmla="*/ 218 h 218"/>
                <a:gd name="T76" fmla="*/ 210 w 318"/>
                <a:gd name="T77" fmla="*/ 206 h 218"/>
                <a:gd name="T78" fmla="*/ 222 w 318"/>
                <a:gd name="T79" fmla="*/ 200 h 218"/>
                <a:gd name="T80" fmla="*/ 236 w 318"/>
                <a:gd name="T81" fmla="*/ 180 h 218"/>
                <a:gd name="T82" fmla="*/ 244 w 318"/>
                <a:gd name="T83" fmla="*/ 164 h 218"/>
                <a:gd name="T84" fmla="*/ 228 w 318"/>
                <a:gd name="T85" fmla="*/ 154 h 218"/>
                <a:gd name="T86" fmla="*/ 216 w 318"/>
                <a:gd name="T87" fmla="*/ 164 h 218"/>
                <a:gd name="T88" fmla="*/ 204 w 318"/>
                <a:gd name="T89" fmla="*/ 154 h 218"/>
                <a:gd name="T90" fmla="*/ 188 w 318"/>
                <a:gd name="T91" fmla="*/ 138 h 218"/>
                <a:gd name="T92" fmla="*/ 176 w 318"/>
                <a:gd name="T93" fmla="*/ 130 h 218"/>
                <a:gd name="T94" fmla="*/ 160 w 318"/>
                <a:gd name="T95" fmla="*/ 120 h 218"/>
                <a:gd name="T96" fmla="*/ 150 w 318"/>
                <a:gd name="T97" fmla="*/ 112 h 218"/>
                <a:gd name="T98" fmla="*/ 128 w 318"/>
                <a:gd name="T99" fmla="*/ 104 h 218"/>
                <a:gd name="T100" fmla="*/ 116 w 318"/>
                <a:gd name="T101" fmla="*/ 104 h 218"/>
                <a:gd name="T102" fmla="*/ 102 w 318"/>
                <a:gd name="T103" fmla="*/ 98 h 218"/>
                <a:gd name="T104" fmla="*/ 88 w 318"/>
                <a:gd name="T105" fmla="*/ 88 h 218"/>
                <a:gd name="T106" fmla="*/ 74 w 318"/>
                <a:gd name="T107" fmla="*/ 78 h 218"/>
                <a:gd name="T108" fmla="*/ 52 w 318"/>
                <a:gd name="T109" fmla="*/ 78 h 218"/>
                <a:gd name="T110" fmla="*/ 40 w 318"/>
                <a:gd name="T111" fmla="*/ 78 h 218"/>
                <a:gd name="T112" fmla="*/ 26 w 318"/>
                <a:gd name="T113" fmla="*/ 78 h 218"/>
                <a:gd name="T114" fmla="*/ 12 w 318"/>
                <a:gd name="T115" fmla="*/ 70 h 218"/>
                <a:gd name="T116" fmla="*/ 0 w 318"/>
                <a:gd name="T117" fmla="*/ 62 h 218"/>
                <a:gd name="T118" fmla="*/ 8 w 318"/>
                <a:gd name="T119" fmla="*/ 44 h 218"/>
                <a:gd name="T120" fmla="*/ 8 w 318"/>
                <a:gd name="T121" fmla="*/ 28 h 218"/>
                <a:gd name="T122" fmla="*/ 10 w 318"/>
                <a:gd name="T123" fmla="*/ 18 h 218"/>
                <a:gd name="T124" fmla="*/ 6 w 318"/>
                <a:gd name="T125" fmla="*/ 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8" h="218">
                  <a:moveTo>
                    <a:pt x="6" y="18"/>
                  </a:moveTo>
                  <a:lnTo>
                    <a:pt x="20" y="18"/>
                  </a:lnTo>
                  <a:lnTo>
                    <a:pt x="34" y="18"/>
                  </a:lnTo>
                  <a:lnTo>
                    <a:pt x="46" y="26"/>
                  </a:lnTo>
                  <a:lnTo>
                    <a:pt x="60" y="36"/>
                  </a:lnTo>
                  <a:lnTo>
                    <a:pt x="74" y="36"/>
                  </a:lnTo>
                  <a:lnTo>
                    <a:pt x="88" y="26"/>
                  </a:lnTo>
                  <a:lnTo>
                    <a:pt x="102" y="26"/>
                  </a:lnTo>
                  <a:lnTo>
                    <a:pt x="116" y="26"/>
                  </a:lnTo>
                  <a:lnTo>
                    <a:pt x="128" y="36"/>
                  </a:lnTo>
                  <a:lnTo>
                    <a:pt x="134" y="36"/>
                  </a:lnTo>
                  <a:lnTo>
                    <a:pt x="148" y="42"/>
                  </a:lnTo>
                  <a:lnTo>
                    <a:pt x="160" y="42"/>
                  </a:lnTo>
                  <a:lnTo>
                    <a:pt x="176" y="36"/>
                  </a:lnTo>
                  <a:lnTo>
                    <a:pt x="176" y="18"/>
                  </a:lnTo>
                  <a:lnTo>
                    <a:pt x="188" y="18"/>
                  </a:lnTo>
                  <a:lnTo>
                    <a:pt x="202" y="10"/>
                  </a:lnTo>
                  <a:lnTo>
                    <a:pt x="216" y="0"/>
                  </a:lnTo>
                  <a:lnTo>
                    <a:pt x="228" y="10"/>
                  </a:lnTo>
                  <a:lnTo>
                    <a:pt x="250" y="18"/>
                  </a:lnTo>
                  <a:lnTo>
                    <a:pt x="270" y="18"/>
                  </a:lnTo>
                  <a:lnTo>
                    <a:pt x="278" y="10"/>
                  </a:lnTo>
                  <a:lnTo>
                    <a:pt x="290" y="0"/>
                  </a:lnTo>
                  <a:lnTo>
                    <a:pt x="306" y="10"/>
                  </a:lnTo>
                  <a:lnTo>
                    <a:pt x="312" y="28"/>
                  </a:lnTo>
                  <a:lnTo>
                    <a:pt x="318" y="44"/>
                  </a:lnTo>
                  <a:lnTo>
                    <a:pt x="312" y="62"/>
                  </a:lnTo>
                  <a:lnTo>
                    <a:pt x="318" y="78"/>
                  </a:lnTo>
                  <a:lnTo>
                    <a:pt x="318" y="98"/>
                  </a:lnTo>
                  <a:lnTo>
                    <a:pt x="312" y="112"/>
                  </a:lnTo>
                  <a:lnTo>
                    <a:pt x="306" y="130"/>
                  </a:lnTo>
                  <a:lnTo>
                    <a:pt x="306" y="148"/>
                  </a:lnTo>
                  <a:lnTo>
                    <a:pt x="290" y="172"/>
                  </a:lnTo>
                  <a:lnTo>
                    <a:pt x="278" y="180"/>
                  </a:lnTo>
                  <a:lnTo>
                    <a:pt x="256" y="200"/>
                  </a:lnTo>
                  <a:lnTo>
                    <a:pt x="256" y="200"/>
                  </a:lnTo>
                  <a:lnTo>
                    <a:pt x="236" y="218"/>
                  </a:lnTo>
                  <a:lnTo>
                    <a:pt x="222" y="218"/>
                  </a:lnTo>
                  <a:lnTo>
                    <a:pt x="210" y="206"/>
                  </a:lnTo>
                  <a:lnTo>
                    <a:pt x="222" y="200"/>
                  </a:lnTo>
                  <a:lnTo>
                    <a:pt x="236" y="180"/>
                  </a:lnTo>
                  <a:lnTo>
                    <a:pt x="244" y="164"/>
                  </a:lnTo>
                  <a:lnTo>
                    <a:pt x="228" y="154"/>
                  </a:lnTo>
                  <a:lnTo>
                    <a:pt x="216" y="164"/>
                  </a:lnTo>
                  <a:lnTo>
                    <a:pt x="204" y="154"/>
                  </a:lnTo>
                  <a:lnTo>
                    <a:pt x="188" y="138"/>
                  </a:lnTo>
                  <a:lnTo>
                    <a:pt x="176" y="130"/>
                  </a:lnTo>
                  <a:lnTo>
                    <a:pt x="160" y="120"/>
                  </a:lnTo>
                  <a:lnTo>
                    <a:pt x="150" y="112"/>
                  </a:lnTo>
                  <a:lnTo>
                    <a:pt x="128" y="104"/>
                  </a:lnTo>
                  <a:lnTo>
                    <a:pt x="116" y="104"/>
                  </a:lnTo>
                  <a:lnTo>
                    <a:pt x="102" y="98"/>
                  </a:lnTo>
                  <a:lnTo>
                    <a:pt x="88" y="88"/>
                  </a:lnTo>
                  <a:lnTo>
                    <a:pt x="74" y="78"/>
                  </a:lnTo>
                  <a:lnTo>
                    <a:pt x="52" y="78"/>
                  </a:lnTo>
                  <a:lnTo>
                    <a:pt x="40" y="78"/>
                  </a:lnTo>
                  <a:lnTo>
                    <a:pt x="26" y="78"/>
                  </a:lnTo>
                  <a:lnTo>
                    <a:pt x="12" y="70"/>
                  </a:lnTo>
                  <a:lnTo>
                    <a:pt x="0" y="62"/>
                  </a:lnTo>
                  <a:lnTo>
                    <a:pt x="8" y="44"/>
                  </a:lnTo>
                  <a:lnTo>
                    <a:pt x="8" y="28"/>
                  </a:lnTo>
                  <a:lnTo>
                    <a:pt x="10" y="18"/>
                  </a:lnTo>
                  <a:lnTo>
                    <a:pt x="6" y="18"/>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4" name="Freeform 80">
              <a:extLst>
                <a:ext uri="{FF2B5EF4-FFF2-40B4-BE49-F238E27FC236}">
                  <a16:creationId xmlns:a16="http://schemas.microsoft.com/office/drawing/2014/main" id="{D1319C0D-DFED-4B26-9138-F21034FEA06D}"/>
                </a:ext>
              </a:extLst>
            </p:cNvPr>
            <p:cNvSpPr>
              <a:spLocks/>
            </p:cNvSpPr>
            <p:nvPr/>
          </p:nvSpPr>
          <p:spPr bwMode="auto">
            <a:xfrm>
              <a:off x="2157605" y="4883732"/>
              <a:ext cx="693597" cy="645762"/>
            </a:xfrm>
            <a:custGeom>
              <a:avLst/>
              <a:gdLst>
                <a:gd name="T0" fmla="*/ 444 w 464"/>
                <a:gd name="T1" fmla="*/ 156 h 432"/>
                <a:gd name="T2" fmla="*/ 416 w 464"/>
                <a:gd name="T3" fmla="*/ 146 h 432"/>
                <a:gd name="T4" fmla="*/ 444 w 464"/>
                <a:gd name="T5" fmla="*/ 120 h 432"/>
                <a:gd name="T6" fmla="*/ 436 w 464"/>
                <a:gd name="T7" fmla="*/ 92 h 432"/>
                <a:gd name="T8" fmla="*/ 412 w 464"/>
                <a:gd name="T9" fmla="*/ 92 h 432"/>
                <a:gd name="T10" fmla="*/ 384 w 464"/>
                <a:gd name="T11" fmla="*/ 68 h 432"/>
                <a:gd name="T12" fmla="*/ 358 w 464"/>
                <a:gd name="T13" fmla="*/ 50 h 432"/>
                <a:gd name="T14" fmla="*/ 322 w 464"/>
                <a:gd name="T15" fmla="*/ 42 h 432"/>
                <a:gd name="T16" fmla="*/ 298 w 464"/>
                <a:gd name="T17" fmla="*/ 26 h 432"/>
                <a:gd name="T18" fmla="*/ 262 w 464"/>
                <a:gd name="T19" fmla="*/ 16 h 432"/>
                <a:gd name="T20" fmla="*/ 236 w 464"/>
                <a:gd name="T21" fmla="*/ 16 h 432"/>
                <a:gd name="T22" fmla="*/ 208 w 464"/>
                <a:gd name="T23" fmla="*/ 0 h 432"/>
                <a:gd name="T24" fmla="*/ 188 w 464"/>
                <a:gd name="T25" fmla="*/ 16 h 432"/>
                <a:gd name="T26" fmla="*/ 160 w 464"/>
                <a:gd name="T27" fmla="*/ 26 h 432"/>
                <a:gd name="T28" fmla="*/ 136 w 464"/>
                <a:gd name="T29" fmla="*/ 50 h 432"/>
                <a:gd name="T30" fmla="*/ 106 w 464"/>
                <a:gd name="T31" fmla="*/ 76 h 432"/>
                <a:gd name="T32" fmla="*/ 80 w 464"/>
                <a:gd name="T33" fmla="*/ 112 h 432"/>
                <a:gd name="T34" fmla="*/ 52 w 464"/>
                <a:gd name="T35" fmla="*/ 146 h 432"/>
                <a:gd name="T36" fmla="*/ 20 w 464"/>
                <a:gd name="T37" fmla="*/ 188 h 432"/>
                <a:gd name="T38" fmla="*/ 0 w 464"/>
                <a:gd name="T39" fmla="*/ 224 h 432"/>
                <a:gd name="T40" fmla="*/ 26 w 464"/>
                <a:gd name="T41" fmla="*/ 216 h 432"/>
                <a:gd name="T42" fmla="*/ 60 w 464"/>
                <a:gd name="T43" fmla="*/ 216 h 432"/>
                <a:gd name="T44" fmla="*/ 88 w 464"/>
                <a:gd name="T45" fmla="*/ 250 h 432"/>
                <a:gd name="T46" fmla="*/ 112 w 464"/>
                <a:gd name="T47" fmla="*/ 260 h 432"/>
                <a:gd name="T48" fmla="*/ 140 w 464"/>
                <a:gd name="T49" fmla="*/ 276 h 432"/>
                <a:gd name="T50" fmla="*/ 168 w 464"/>
                <a:gd name="T51" fmla="*/ 292 h 432"/>
                <a:gd name="T52" fmla="*/ 196 w 464"/>
                <a:gd name="T53" fmla="*/ 310 h 432"/>
                <a:gd name="T54" fmla="*/ 220 w 464"/>
                <a:gd name="T55" fmla="*/ 344 h 432"/>
                <a:gd name="T56" fmla="*/ 250 w 464"/>
                <a:gd name="T57" fmla="*/ 372 h 432"/>
                <a:gd name="T58" fmla="*/ 242 w 464"/>
                <a:gd name="T59" fmla="*/ 398 h 432"/>
                <a:gd name="T60" fmla="*/ 236 w 464"/>
                <a:gd name="T61" fmla="*/ 432 h 432"/>
                <a:gd name="T62" fmla="*/ 262 w 464"/>
                <a:gd name="T63" fmla="*/ 422 h 432"/>
                <a:gd name="T64" fmla="*/ 290 w 464"/>
                <a:gd name="T65" fmla="*/ 398 h 432"/>
                <a:gd name="T66" fmla="*/ 302 w 464"/>
                <a:gd name="T67" fmla="*/ 362 h 432"/>
                <a:gd name="T68" fmla="*/ 322 w 464"/>
                <a:gd name="T69" fmla="*/ 338 h 432"/>
                <a:gd name="T70" fmla="*/ 350 w 464"/>
                <a:gd name="T71" fmla="*/ 310 h 432"/>
                <a:gd name="T72" fmla="*/ 378 w 464"/>
                <a:gd name="T73" fmla="*/ 286 h 432"/>
                <a:gd name="T74" fmla="*/ 402 w 464"/>
                <a:gd name="T75" fmla="*/ 260 h 432"/>
                <a:gd name="T76" fmla="*/ 416 w 464"/>
                <a:gd name="T77" fmla="*/ 216 h 432"/>
                <a:gd name="T78" fmla="*/ 444 w 464"/>
                <a:gd name="T79" fmla="*/ 172 h 432"/>
                <a:gd name="T80" fmla="*/ 464 w 464"/>
                <a:gd name="T81" fmla="*/ 14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4" h="432">
                  <a:moveTo>
                    <a:pt x="464" y="142"/>
                  </a:moveTo>
                  <a:lnTo>
                    <a:pt x="444" y="156"/>
                  </a:lnTo>
                  <a:lnTo>
                    <a:pt x="430" y="156"/>
                  </a:lnTo>
                  <a:lnTo>
                    <a:pt x="416" y="146"/>
                  </a:lnTo>
                  <a:lnTo>
                    <a:pt x="430" y="138"/>
                  </a:lnTo>
                  <a:lnTo>
                    <a:pt x="444" y="120"/>
                  </a:lnTo>
                  <a:lnTo>
                    <a:pt x="452" y="104"/>
                  </a:lnTo>
                  <a:lnTo>
                    <a:pt x="436" y="92"/>
                  </a:lnTo>
                  <a:lnTo>
                    <a:pt x="424" y="104"/>
                  </a:lnTo>
                  <a:lnTo>
                    <a:pt x="412" y="92"/>
                  </a:lnTo>
                  <a:lnTo>
                    <a:pt x="396" y="76"/>
                  </a:lnTo>
                  <a:lnTo>
                    <a:pt x="384" y="68"/>
                  </a:lnTo>
                  <a:lnTo>
                    <a:pt x="370" y="60"/>
                  </a:lnTo>
                  <a:lnTo>
                    <a:pt x="358" y="50"/>
                  </a:lnTo>
                  <a:lnTo>
                    <a:pt x="338" y="42"/>
                  </a:lnTo>
                  <a:lnTo>
                    <a:pt x="322" y="42"/>
                  </a:lnTo>
                  <a:lnTo>
                    <a:pt x="310" y="36"/>
                  </a:lnTo>
                  <a:lnTo>
                    <a:pt x="298" y="26"/>
                  </a:lnTo>
                  <a:lnTo>
                    <a:pt x="282" y="16"/>
                  </a:lnTo>
                  <a:lnTo>
                    <a:pt x="262" y="16"/>
                  </a:lnTo>
                  <a:lnTo>
                    <a:pt x="250" y="16"/>
                  </a:lnTo>
                  <a:lnTo>
                    <a:pt x="236" y="16"/>
                  </a:lnTo>
                  <a:lnTo>
                    <a:pt x="220" y="8"/>
                  </a:lnTo>
                  <a:lnTo>
                    <a:pt x="208" y="0"/>
                  </a:lnTo>
                  <a:lnTo>
                    <a:pt x="202" y="8"/>
                  </a:lnTo>
                  <a:lnTo>
                    <a:pt x="188" y="16"/>
                  </a:lnTo>
                  <a:lnTo>
                    <a:pt x="174" y="16"/>
                  </a:lnTo>
                  <a:lnTo>
                    <a:pt x="160" y="26"/>
                  </a:lnTo>
                  <a:lnTo>
                    <a:pt x="148" y="42"/>
                  </a:lnTo>
                  <a:lnTo>
                    <a:pt x="136" y="50"/>
                  </a:lnTo>
                  <a:lnTo>
                    <a:pt x="120" y="68"/>
                  </a:lnTo>
                  <a:lnTo>
                    <a:pt x="106" y="76"/>
                  </a:lnTo>
                  <a:lnTo>
                    <a:pt x="94" y="92"/>
                  </a:lnTo>
                  <a:lnTo>
                    <a:pt x="80" y="112"/>
                  </a:lnTo>
                  <a:lnTo>
                    <a:pt x="68" y="128"/>
                  </a:lnTo>
                  <a:lnTo>
                    <a:pt x="52" y="146"/>
                  </a:lnTo>
                  <a:lnTo>
                    <a:pt x="40" y="164"/>
                  </a:lnTo>
                  <a:lnTo>
                    <a:pt x="20" y="188"/>
                  </a:lnTo>
                  <a:lnTo>
                    <a:pt x="6" y="208"/>
                  </a:lnTo>
                  <a:lnTo>
                    <a:pt x="0" y="224"/>
                  </a:lnTo>
                  <a:lnTo>
                    <a:pt x="14" y="224"/>
                  </a:lnTo>
                  <a:lnTo>
                    <a:pt x="26" y="216"/>
                  </a:lnTo>
                  <a:lnTo>
                    <a:pt x="40" y="208"/>
                  </a:lnTo>
                  <a:lnTo>
                    <a:pt x="60" y="216"/>
                  </a:lnTo>
                  <a:lnTo>
                    <a:pt x="74" y="224"/>
                  </a:lnTo>
                  <a:lnTo>
                    <a:pt x="88" y="250"/>
                  </a:lnTo>
                  <a:lnTo>
                    <a:pt x="98" y="260"/>
                  </a:lnTo>
                  <a:lnTo>
                    <a:pt x="112" y="260"/>
                  </a:lnTo>
                  <a:lnTo>
                    <a:pt x="128" y="266"/>
                  </a:lnTo>
                  <a:lnTo>
                    <a:pt x="140" y="276"/>
                  </a:lnTo>
                  <a:lnTo>
                    <a:pt x="154" y="286"/>
                  </a:lnTo>
                  <a:lnTo>
                    <a:pt x="168" y="292"/>
                  </a:lnTo>
                  <a:lnTo>
                    <a:pt x="182" y="302"/>
                  </a:lnTo>
                  <a:lnTo>
                    <a:pt x="196" y="310"/>
                  </a:lnTo>
                  <a:lnTo>
                    <a:pt x="208" y="328"/>
                  </a:lnTo>
                  <a:lnTo>
                    <a:pt x="220" y="344"/>
                  </a:lnTo>
                  <a:lnTo>
                    <a:pt x="236" y="354"/>
                  </a:lnTo>
                  <a:lnTo>
                    <a:pt x="250" y="372"/>
                  </a:lnTo>
                  <a:lnTo>
                    <a:pt x="256" y="390"/>
                  </a:lnTo>
                  <a:lnTo>
                    <a:pt x="242" y="398"/>
                  </a:lnTo>
                  <a:lnTo>
                    <a:pt x="236" y="414"/>
                  </a:lnTo>
                  <a:lnTo>
                    <a:pt x="236" y="432"/>
                  </a:lnTo>
                  <a:lnTo>
                    <a:pt x="250" y="432"/>
                  </a:lnTo>
                  <a:lnTo>
                    <a:pt x="262" y="422"/>
                  </a:lnTo>
                  <a:lnTo>
                    <a:pt x="276" y="414"/>
                  </a:lnTo>
                  <a:lnTo>
                    <a:pt x="290" y="398"/>
                  </a:lnTo>
                  <a:lnTo>
                    <a:pt x="298" y="380"/>
                  </a:lnTo>
                  <a:lnTo>
                    <a:pt x="302" y="362"/>
                  </a:lnTo>
                  <a:lnTo>
                    <a:pt x="310" y="344"/>
                  </a:lnTo>
                  <a:lnTo>
                    <a:pt x="322" y="338"/>
                  </a:lnTo>
                  <a:lnTo>
                    <a:pt x="338" y="318"/>
                  </a:lnTo>
                  <a:lnTo>
                    <a:pt x="350" y="310"/>
                  </a:lnTo>
                  <a:lnTo>
                    <a:pt x="364" y="302"/>
                  </a:lnTo>
                  <a:lnTo>
                    <a:pt x="378" y="286"/>
                  </a:lnTo>
                  <a:lnTo>
                    <a:pt x="392" y="276"/>
                  </a:lnTo>
                  <a:lnTo>
                    <a:pt x="402" y="260"/>
                  </a:lnTo>
                  <a:lnTo>
                    <a:pt x="412" y="242"/>
                  </a:lnTo>
                  <a:lnTo>
                    <a:pt x="416" y="216"/>
                  </a:lnTo>
                  <a:lnTo>
                    <a:pt x="424" y="198"/>
                  </a:lnTo>
                  <a:lnTo>
                    <a:pt x="444" y="172"/>
                  </a:lnTo>
                  <a:lnTo>
                    <a:pt x="458" y="156"/>
                  </a:lnTo>
                  <a:lnTo>
                    <a:pt x="464" y="14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5" name="Freeform 81">
              <a:extLst>
                <a:ext uri="{FF2B5EF4-FFF2-40B4-BE49-F238E27FC236}">
                  <a16:creationId xmlns:a16="http://schemas.microsoft.com/office/drawing/2014/main" id="{162D61B2-6C38-4C0F-BA18-6CD3DEB73E16}"/>
                </a:ext>
              </a:extLst>
            </p:cNvPr>
            <p:cNvSpPr>
              <a:spLocks/>
            </p:cNvSpPr>
            <p:nvPr/>
          </p:nvSpPr>
          <p:spPr bwMode="auto">
            <a:xfrm>
              <a:off x="2157605" y="4883732"/>
              <a:ext cx="693597" cy="645762"/>
            </a:xfrm>
            <a:custGeom>
              <a:avLst/>
              <a:gdLst>
                <a:gd name="T0" fmla="*/ 444 w 464"/>
                <a:gd name="T1" fmla="*/ 156 h 432"/>
                <a:gd name="T2" fmla="*/ 416 w 464"/>
                <a:gd name="T3" fmla="*/ 146 h 432"/>
                <a:gd name="T4" fmla="*/ 444 w 464"/>
                <a:gd name="T5" fmla="*/ 120 h 432"/>
                <a:gd name="T6" fmla="*/ 436 w 464"/>
                <a:gd name="T7" fmla="*/ 92 h 432"/>
                <a:gd name="T8" fmla="*/ 412 w 464"/>
                <a:gd name="T9" fmla="*/ 92 h 432"/>
                <a:gd name="T10" fmla="*/ 384 w 464"/>
                <a:gd name="T11" fmla="*/ 68 h 432"/>
                <a:gd name="T12" fmla="*/ 358 w 464"/>
                <a:gd name="T13" fmla="*/ 50 h 432"/>
                <a:gd name="T14" fmla="*/ 322 w 464"/>
                <a:gd name="T15" fmla="*/ 42 h 432"/>
                <a:gd name="T16" fmla="*/ 298 w 464"/>
                <a:gd name="T17" fmla="*/ 26 h 432"/>
                <a:gd name="T18" fmla="*/ 262 w 464"/>
                <a:gd name="T19" fmla="*/ 16 h 432"/>
                <a:gd name="T20" fmla="*/ 236 w 464"/>
                <a:gd name="T21" fmla="*/ 16 h 432"/>
                <a:gd name="T22" fmla="*/ 208 w 464"/>
                <a:gd name="T23" fmla="*/ 0 h 432"/>
                <a:gd name="T24" fmla="*/ 188 w 464"/>
                <a:gd name="T25" fmla="*/ 16 h 432"/>
                <a:gd name="T26" fmla="*/ 160 w 464"/>
                <a:gd name="T27" fmla="*/ 26 h 432"/>
                <a:gd name="T28" fmla="*/ 136 w 464"/>
                <a:gd name="T29" fmla="*/ 50 h 432"/>
                <a:gd name="T30" fmla="*/ 106 w 464"/>
                <a:gd name="T31" fmla="*/ 76 h 432"/>
                <a:gd name="T32" fmla="*/ 80 w 464"/>
                <a:gd name="T33" fmla="*/ 112 h 432"/>
                <a:gd name="T34" fmla="*/ 52 w 464"/>
                <a:gd name="T35" fmla="*/ 146 h 432"/>
                <a:gd name="T36" fmla="*/ 20 w 464"/>
                <a:gd name="T37" fmla="*/ 188 h 432"/>
                <a:gd name="T38" fmla="*/ 0 w 464"/>
                <a:gd name="T39" fmla="*/ 224 h 432"/>
                <a:gd name="T40" fmla="*/ 26 w 464"/>
                <a:gd name="T41" fmla="*/ 216 h 432"/>
                <a:gd name="T42" fmla="*/ 60 w 464"/>
                <a:gd name="T43" fmla="*/ 216 h 432"/>
                <a:gd name="T44" fmla="*/ 88 w 464"/>
                <a:gd name="T45" fmla="*/ 250 h 432"/>
                <a:gd name="T46" fmla="*/ 112 w 464"/>
                <a:gd name="T47" fmla="*/ 260 h 432"/>
                <a:gd name="T48" fmla="*/ 140 w 464"/>
                <a:gd name="T49" fmla="*/ 276 h 432"/>
                <a:gd name="T50" fmla="*/ 168 w 464"/>
                <a:gd name="T51" fmla="*/ 292 h 432"/>
                <a:gd name="T52" fmla="*/ 196 w 464"/>
                <a:gd name="T53" fmla="*/ 310 h 432"/>
                <a:gd name="T54" fmla="*/ 220 w 464"/>
                <a:gd name="T55" fmla="*/ 344 h 432"/>
                <a:gd name="T56" fmla="*/ 250 w 464"/>
                <a:gd name="T57" fmla="*/ 372 h 432"/>
                <a:gd name="T58" fmla="*/ 242 w 464"/>
                <a:gd name="T59" fmla="*/ 398 h 432"/>
                <a:gd name="T60" fmla="*/ 236 w 464"/>
                <a:gd name="T61" fmla="*/ 432 h 432"/>
                <a:gd name="T62" fmla="*/ 262 w 464"/>
                <a:gd name="T63" fmla="*/ 422 h 432"/>
                <a:gd name="T64" fmla="*/ 290 w 464"/>
                <a:gd name="T65" fmla="*/ 398 h 432"/>
                <a:gd name="T66" fmla="*/ 302 w 464"/>
                <a:gd name="T67" fmla="*/ 362 h 432"/>
                <a:gd name="T68" fmla="*/ 322 w 464"/>
                <a:gd name="T69" fmla="*/ 338 h 432"/>
                <a:gd name="T70" fmla="*/ 350 w 464"/>
                <a:gd name="T71" fmla="*/ 310 h 432"/>
                <a:gd name="T72" fmla="*/ 378 w 464"/>
                <a:gd name="T73" fmla="*/ 286 h 432"/>
                <a:gd name="T74" fmla="*/ 402 w 464"/>
                <a:gd name="T75" fmla="*/ 260 h 432"/>
                <a:gd name="T76" fmla="*/ 416 w 464"/>
                <a:gd name="T77" fmla="*/ 216 h 432"/>
                <a:gd name="T78" fmla="*/ 444 w 464"/>
                <a:gd name="T79" fmla="*/ 172 h 432"/>
                <a:gd name="T80" fmla="*/ 464 w 464"/>
                <a:gd name="T81" fmla="*/ 14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4" h="432">
                  <a:moveTo>
                    <a:pt x="464" y="142"/>
                  </a:moveTo>
                  <a:lnTo>
                    <a:pt x="444" y="156"/>
                  </a:lnTo>
                  <a:lnTo>
                    <a:pt x="430" y="156"/>
                  </a:lnTo>
                  <a:lnTo>
                    <a:pt x="416" y="146"/>
                  </a:lnTo>
                  <a:lnTo>
                    <a:pt x="430" y="138"/>
                  </a:lnTo>
                  <a:lnTo>
                    <a:pt x="444" y="120"/>
                  </a:lnTo>
                  <a:lnTo>
                    <a:pt x="452" y="104"/>
                  </a:lnTo>
                  <a:lnTo>
                    <a:pt x="436" y="92"/>
                  </a:lnTo>
                  <a:lnTo>
                    <a:pt x="424" y="104"/>
                  </a:lnTo>
                  <a:lnTo>
                    <a:pt x="412" y="92"/>
                  </a:lnTo>
                  <a:lnTo>
                    <a:pt x="396" y="76"/>
                  </a:lnTo>
                  <a:lnTo>
                    <a:pt x="384" y="68"/>
                  </a:lnTo>
                  <a:lnTo>
                    <a:pt x="370" y="60"/>
                  </a:lnTo>
                  <a:lnTo>
                    <a:pt x="358" y="50"/>
                  </a:lnTo>
                  <a:lnTo>
                    <a:pt x="338" y="42"/>
                  </a:lnTo>
                  <a:lnTo>
                    <a:pt x="322" y="42"/>
                  </a:lnTo>
                  <a:lnTo>
                    <a:pt x="310" y="36"/>
                  </a:lnTo>
                  <a:lnTo>
                    <a:pt x="298" y="26"/>
                  </a:lnTo>
                  <a:lnTo>
                    <a:pt x="282" y="16"/>
                  </a:lnTo>
                  <a:lnTo>
                    <a:pt x="262" y="16"/>
                  </a:lnTo>
                  <a:lnTo>
                    <a:pt x="250" y="16"/>
                  </a:lnTo>
                  <a:lnTo>
                    <a:pt x="236" y="16"/>
                  </a:lnTo>
                  <a:lnTo>
                    <a:pt x="220" y="8"/>
                  </a:lnTo>
                  <a:lnTo>
                    <a:pt x="208" y="0"/>
                  </a:lnTo>
                  <a:lnTo>
                    <a:pt x="202" y="8"/>
                  </a:lnTo>
                  <a:lnTo>
                    <a:pt x="188" y="16"/>
                  </a:lnTo>
                  <a:lnTo>
                    <a:pt x="174" y="16"/>
                  </a:lnTo>
                  <a:lnTo>
                    <a:pt x="160" y="26"/>
                  </a:lnTo>
                  <a:lnTo>
                    <a:pt x="148" y="42"/>
                  </a:lnTo>
                  <a:lnTo>
                    <a:pt x="136" y="50"/>
                  </a:lnTo>
                  <a:lnTo>
                    <a:pt x="120" y="68"/>
                  </a:lnTo>
                  <a:lnTo>
                    <a:pt x="106" y="76"/>
                  </a:lnTo>
                  <a:lnTo>
                    <a:pt x="94" y="92"/>
                  </a:lnTo>
                  <a:lnTo>
                    <a:pt x="80" y="112"/>
                  </a:lnTo>
                  <a:lnTo>
                    <a:pt x="68" y="128"/>
                  </a:lnTo>
                  <a:lnTo>
                    <a:pt x="52" y="146"/>
                  </a:lnTo>
                  <a:lnTo>
                    <a:pt x="40" y="164"/>
                  </a:lnTo>
                  <a:lnTo>
                    <a:pt x="20" y="188"/>
                  </a:lnTo>
                  <a:lnTo>
                    <a:pt x="6" y="208"/>
                  </a:lnTo>
                  <a:lnTo>
                    <a:pt x="0" y="224"/>
                  </a:lnTo>
                  <a:lnTo>
                    <a:pt x="14" y="224"/>
                  </a:lnTo>
                  <a:lnTo>
                    <a:pt x="26" y="216"/>
                  </a:lnTo>
                  <a:lnTo>
                    <a:pt x="40" y="208"/>
                  </a:lnTo>
                  <a:lnTo>
                    <a:pt x="60" y="216"/>
                  </a:lnTo>
                  <a:lnTo>
                    <a:pt x="74" y="224"/>
                  </a:lnTo>
                  <a:lnTo>
                    <a:pt x="88" y="250"/>
                  </a:lnTo>
                  <a:lnTo>
                    <a:pt x="98" y="260"/>
                  </a:lnTo>
                  <a:lnTo>
                    <a:pt x="112" y="260"/>
                  </a:lnTo>
                  <a:lnTo>
                    <a:pt x="128" y="266"/>
                  </a:lnTo>
                  <a:lnTo>
                    <a:pt x="140" y="276"/>
                  </a:lnTo>
                  <a:lnTo>
                    <a:pt x="154" y="286"/>
                  </a:lnTo>
                  <a:lnTo>
                    <a:pt x="168" y="292"/>
                  </a:lnTo>
                  <a:lnTo>
                    <a:pt x="182" y="302"/>
                  </a:lnTo>
                  <a:lnTo>
                    <a:pt x="196" y="310"/>
                  </a:lnTo>
                  <a:lnTo>
                    <a:pt x="208" y="328"/>
                  </a:lnTo>
                  <a:lnTo>
                    <a:pt x="220" y="344"/>
                  </a:lnTo>
                  <a:lnTo>
                    <a:pt x="236" y="354"/>
                  </a:lnTo>
                  <a:lnTo>
                    <a:pt x="250" y="372"/>
                  </a:lnTo>
                  <a:lnTo>
                    <a:pt x="256" y="390"/>
                  </a:lnTo>
                  <a:lnTo>
                    <a:pt x="242" y="398"/>
                  </a:lnTo>
                  <a:lnTo>
                    <a:pt x="236" y="414"/>
                  </a:lnTo>
                  <a:lnTo>
                    <a:pt x="236" y="432"/>
                  </a:lnTo>
                  <a:lnTo>
                    <a:pt x="250" y="432"/>
                  </a:lnTo>
                  <a:lnTo>
                    <a:pt x="262" y="422"/>
                  </a:lnTo>
                  <a:lnTo>
                    <a:pt x="276" y="414"/>
                  </a:lnTo>
                  <a:lnTo>
                    <a:pt x="290" y="398"/>
                  </a:lnTo>
                  <a:lnTo>
                    <a:pt x="298" y="380"/>
                  </a:lnTo>
                  <a:lnTo>
                    <a:pt x="302" y="362"/>
                  </a:lnTo>
                  <a:lnTo>
                    <a:pt x="310" y="344"/>
                  </a:lnTo>
                  <a:lnTo>
                    <a:pt x="322" y="338"/>
                  </a:lnTo>
                  <a:lnTo>
                    <a:pt x="338" y="318"/>
                  </a:lnTo>
                  <a:lnTo>
                    <a:pt x="350" y="310"/>
                  </a:lnTo>
                  <a:lnTo>
                    <a:pt x="364" y="302"/>
                  </a:lnTo>
                  <a:lnTo>
                    <a:pt x="378" y="286"/>
                  </a:lnTo>
                  <a:lnTo>
                    <a:pt x="392" y="276"/>
                  </a:lnTo>
                  <a:lnTo>
                    <a:pt x="402" y="260"/>
                  </a:lnTo>
                  <a:lnTo>
                    <a:pt x="412" y="242"/>
                  </a:lnTo>
                  <a:lnTo>
                    <a:pt x="416" y="216"/>
                  </a:lnTo>
                  <a:lnTo>
                    <a:pt x="424" y="198"/>
                  </a:lnTo>
                  <a:lnTo>
                    <a:pt x="444" y="172"/>
                  </a:lnTo>
                  <a:lnTo>
                    <a:pt x="458" y="156"/>
                  </a:lnTo>
                  <a:lnTo>
                    <a:pt x="464" y="142"/>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6" name="Freeform 82">
              <a:extLst>
                <a:ext uri="{FF2B5EF4-FFF2-40B4-BE49-F238E27FC236}">
                  <a16:creationId xmlns:a16="http://schemas.microsoft.com/office/drawing/2014/main" id="{F27E9963-29F4-4724-84A7-E35B2CD61E24}"/>
                </a:ext>
              </a:extLst>
            </p:cNvPr>
            <p:cNvSpPr>
              <a:spLocks/>
            </p:cNvSpPr>
            <p:nvPr/>
          </p:nvSpPr>
          <p:spPr bwMode="auto">
            <a:xfrm>
              <a:off x="3691290" y="2964383"/>
              <a:ext cx="639783" cy="221233"/>
            </a:xfrm>
            <a:custGeom>
              <a:avLst/>
              <a:gdLst>
                <a:gd name="T0" fmla="*/ 414 w 428"/>
                <a:gd name="T1" fmla="*/ 104 h 148"/>
                <a:gd name="T2" fmla="*/ 420 w 428"/>
                <a:gd name="T3" fmla="*/ 70 h 148"/>
                <a:gd name="T4" fmla="*/ 428 w 428"/>
                <a:gd name="T5" fmla="*/ 36 h 148"/>
                <a:gd name="T6" fmla="*/ 428 w 428"/>
                <a:gd name="T7" fmla="*/ 18 h 148"/>
                <a:gd name="T8" fmla="*/ 400 w 428"/>
                <a:gd name="T9" fmla="*/ 18 h 148"/>
                <a:gd name="T10" fmla="*/ 380 w 428"/>
                <a:gd name="T11" fmla="*/ 44 h 148"/>
                <a:gd name="T12" fmla="*/ 352 w 428"/>
                <a:gd name="T13" fmla="*/ 54 h 148"/>
                <a:gd name="T14" fmla="*/ 326 w 428"/>
                <a:gd name="T15" fmla="*/ 54 h 148"/>
                <a:gd name="T16" fmla="*/ 300 w 428"/>
                <a:gd name="T17" fmla="*/ 80 h 148"/>
                <a:gd name="T18" fmla="*/ 272 w 428"/>
                <a:gd name="T19" fmla="*/ 62 h 148"/>
                <a:gd name="T20" fmla="*/ 276 w 428"/>
                <a:gd name="T21" fmla="*/ 36 h 148"/>
                <a:gd name="T22" fmla="*/ 276 w 428"/>
                <a:gd name="T23" fmla="*/ 2 h 148"/>
                <a:gd name="T24" fmla="*/ 250 w 428"/>
                <a:gd name="T25" fmla="*/ 10 h 148"/>
                <a:gd name="T26" fmla="*/ 224 w 428"/>
                <a:gd name="T27" fmla="*/ 36 h 148"/>
                <a:gd name="T28" fmla="*/ 198 w 428"/>
                <a:gd name="T29" fmla="*/ 36 h 148"/>
                <a:gd name="T30" fmla="*/ 182 w 428"/>
                <a:gd name="T31" fmla="*/ 16 h 148"/>
                <a:gd name="T32" fmla="*/ 156 w 428"/>
                <a:gd name="T33" fmla="*/ 34 h 148"/>
                <a:gd name="T34" fmla="*/ 136 w 428"/>
                <a:gd name="T35" fmla="*/ 26 h 148"/>
                <a:gd name="T36" fmla="*/ 110 w 428"/>
                <a:gd name="T37" fmla="*/ 2 h 148"/>
                <a:gd name="T38" fmla="*/ 82 w 428"/>
                <a:gd name="T39" fmla="*/ 10 h 148"/>
                <a:gd name="T40" fmla="*/ 60 w 428"/>
                <a:gd name="T41" fmla="*/ 0 h 148"/>
                <a:gd name="T42" fmla="*/ 48 w 428"/>
                <a:gd name="T43" fmla="*/ 36 h 148"/>
                <a:gd name="T44" fmla="*/ 34 w 428"/>
                <a:gd name="T45" fmla="*/ 70 h 148"/>
                <a:gd name="T46" fmla="*/ 8 w 428"/>
                <a:gd name="T47" fmla="*/ 86 h 148"/>
                <a:gd name="T48" fmla="*/ 14 w 428"/>
                <a:gd name="T49" fmla="*/ 86 h 148"/>
                <a:gd name="T50" fmla="*/ 34 w 428"/>
                <a:gd name="T51" fmla="*/ 114 h 148"/>
                <a:gd name="T52" fmla="*/ 40 w 428"/>
                <a:gd name="T53" fmla="*/ 148 h 148"/>
                <a:gd name="T54" fmla="*/ 76 w 428"/>
                <a:gd name="T55" fmla="*/ 130 h 148"/>
                <a:gd name="T56" fmla="*/ 100 w 428"/>
                <a:gd name="T57" fmla="*/ 104 h 148"/>
                <a:gd name="T58" fmla="*/ 136 w 428"/>
                <a:gd name="T59" fmla="*/ 86 h 148"/>
                <a:gd name="T60" fmla="*/ 162 w 428"/>
                <a:gd name="T61" fmla="*/ 104 h 148"/>
                <a:gd name="T62" fmla="*/ 190 w 428"/>
                <a:gd name="T63" fmla="*/ 114 h 148"/>
                <a:gd name="T64" fmla="*/ 204 w 428"/>
                <a:gd name="T65" fmla="*/ 140 h 148"/>
                <a:gd name="T66" fmla="*/ 230 w 428"/>
                <a:gd name="T67" fmla="*/ 122 h 148"/>
                <a:gd name="T68" fmla="*/ 258 w 428"/>
                <a:gd name="T69" fmla="*/ 140 h 148"/>
                <a:gd name="T70" fmla="*/ 286 w 428"/>
                <a:gd name="T71" fmla="*/ 148 h 148"/>
                <a:gd name="T72" fmla="*/ 312 w 428"/>
                <a:gd name="T73" fmla="*/ 148 h 148"/>
                <a:gd name="T74" fmla="*/ 338 w 428"/>
                <a:gd name="T75" fmla="*/ 130 h 148"/>
                <a:gd name="T76" fmla="*/ 366 w 428"/>
                <a:gd name="T77" fmla="*/ 114 h 148"/>
                <a:gd name="T78" fmla="*/ 394 w 428"/>
                <a:gd name="T79" fmla="*/ 11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8" h="148">
                  <a:moveTo>
                    <a:pt x="408" y="122"/>
                  </a:moveTo>
                  <a:lnTo>
                    <a:pt x="414" y="104"/>
                  </a:lnTo>
                  <a:lnTo>
                    <a:pt x="414" y="86"/>
                  </a:lnTo>
                  <a:lnTo>
                    <a:pt x="420" y="70"/>
                  </a:lnTo>
                  <a:lnTo>
                    <a:pt x="420" y="54"/>
                  </a:lnTo>
                  <a:lnTo>
                    <a:pt x="428" y="36"/>
                  </a:lnTo>
                  <a:lnTo>
                    <a:pt x="428" y="18"/>
                  </a:lnTo>
                  <a:lnTo>
                    <a:pt x="428" y="18"/>
                  </a:lnTo>
                  <a:lnTo>
                    <a:pt x="414" y="18"/>
                  </a:lnTo>
                  <a:lnTo>
                    <a:pt x="400" y="18"/>
                  </a:lnTo>
                  <a:lnTo>
                    <a:pt x="386" y="26"/>
                  </a:lnTo>
                  <a:lnTo>
                    <a:pt x="380" y="44"/>
                  </a:lnTo>
                  <a:lnTo>
                    <a:pt x="366" y="54"/>
                  </a:lnTo>
                  <a:lnTo>
                    <a:pt x="352" y="54"/>
                  </a:lnTo>
                  <a:lnTo>
                    <a:pt x="338" y="54"/>
                  </a:lnTo>
                  <a:lnTo>
                    <a:pt x="326" y="54"/>
                  </a:lnTo>
                  <a:lnTo>
                    <a:pt x="312" y="62"/>
                  </a:lnTo>
                  <a:lnTo>
                    <a:pt x="300" y="80"/>
                  </a:lnTo>
                  <a:lnTo>
                    <a:pt x="286" y="80"/>
                  </a:lnTo>
                  <a:lnTo>
                    <a:pt x="272" y="62"/>
                  </a:lnTo>
                  <a:lnTo>
                    <a:pt x="264" y="44"/>
                  </a:lnTo>
                  <a:lnTo>
                    <a:pt x="276" y="36"/>
                  </a:lnTo>
                  <a:lnTo>
                    <a:pt x="286" y="18"/>
                  </a:lnTo>
                  <a:lnTo>
                    <a:pt x="276" y="2"/>
                  </a:lnTo>
                  <a:lnTo>
                    <a:pt x="264" y="2"/>
                  </a:lnTo>
                  <a:lnTo>
                    <a:pt x="250" y="10"/>
                  </a:lnTo>
                  <a:lnTo>
                    <a:pt x="236" y="18"/>
                  </a:lnTo>
                  <a:lnTo>
                    <a:pt x="224" y="36"/>
                  </a:lnTo>
                  <a:lnTo>
                    <a:pt x="210" y="44"/>
                  </a:lnTo>
                  <a:lnTo>
                    <a:pt x="198" y="36"/>
                  </a:lnTo>
                  <a:lnTo>
                    <a:pt x="182" y="18"/>
                  </a:lnTo>
                  <a:lnTo>
                    <a:pt x="182" y="16"/>
                  </a:lnTo>
                  <a:lnTo>
                    <a:pt x="164" y="16"/>
                  </a:lnTo>
                  <a:lnTo>
                    <a:pt x="156" y="34"/>
                  </a:lnTo>
                  <a:lnTo>
                    <a:pt x="152" y="40"/>
                  </a:lnTo>
                  <a:lnTo>
                    <a:pt x="136" y="26"/>
                  </a:lnTo>
                  <a:lnTo>
                    <a:pt x="122" y="10"/>
                  </a:lnTo>
                  <a:lnTo>
                    <a:pt x="110" y="2"/>
                  </a:lnTo>
                  <a:lnTo>
                    <a:pt x="96" y="2"/>
                  </a:lnTo>
                  <a:lnTo>
                    <a:pt x="82" y="10"/>
                  </a:lnTo>
                  <a:lnTo>
                    <a:pt x="68" y="10"/>
                  </a:lnTo>
                  <a:lnTo>
                    <a:pt x="60" y="0"/>
                  </a:lnTo>
                  <a:lnTo>
                    <a:pt x="48" y="18"/>
                  </a:lnTo>
                  <a:lnTo>
                    <a:pt x="48" y="36"/>
                  </a:lnTo>
                  <a:lnTo>
                    <a:pt x="48" y="54"/>
                  </a:lnTo>
                  <a:lnTo>
                    <a:pt x="34" y="70"/>
                  </a:lnTo>
                  <a:lnTo>
                    <a:pt x="20" y="70"/>
                  </a:lnTo>
                  <a:lnTo>
                    <a:pt x="8" y="86"/>
                  </a:lnTo>
                  <a:lnTo>
                    <a:pt x="0" y="86"/>
                  </a:lnTo>
                  <a:lnTo>
                    <a:pt x="14" y="86"/>
                  </a:lnTo>
                  <a:lnTo>
                    <a:pt x="20" y="104"/>
                  </a:lnTo>
                  <a:lnTo>
                    <a:pt x="34" y="114"/>
                  </a:lnTo>
                  <a:lnTo>
                    <a:pt x="34" y="130"/>
                  </a:lnTo>
                  <a:lnTo>
                    <a:pt x="40" y="148"/>
                  </a:lnTo>
                  <a:lnTo>
                    <a:pt x="60" y="148"/>
                  </a:lnTo>
                  <a:lnTo>
                    <a:pt x="76" y="130"/>
                  </a:lnTo>
                  <a:lnTo>
                    <a:pt x="88" y="122"/>
                  </a:lnTo>
                  <a:lnTo>
                    <a:pt x="100" y="104"/>
                  </a:lnTo>
                  <a:lnTo>
                    <a:pt x="114" y="98"/>
                  </a:lnTo>
                  <a:lnTo>
                    <a:pt x="136" y="86"/>
                  </a:lnTo>
                  <a:lnTo>
                    <a:pt x="152" y="98"/>
                  </a:lnTo>
                  <a:lnTo>
                    <a:pt x="162" y="104"/>
                  </a:lnTo>
                  <a:lnTo>
                    <a:pt x="176" y="104"/>
                  </a:lnTo>
                  <a:lnTo>
                    <a:pt x="190" y="114"/>
                  </a:lnTo>
                  <a:lnTo>
                    <a:pt x="198" y="130"/>
                  </a:lnTo>
                  <a:lnTo>
                    <a:pt x="204" y="140"/>
                  </a:lnTo>
                  <a:lnTo>
                    <a:pt x="218" y="122"/>
                  </a:lnTo>
                  <a:lnTo>
                    <a:pt x="230" y="122"/>
                  </a:lnTo>
                  <a:lnTo>
                    <a:pt x="244" y="122"/>
                  </a:lnTo>
                  <a:lnTo>
                    <a:pt x="258" y="140"/>
                  </a:lnTo>
                  <a:lnTo>
                    <a:pt x="272" y="148"/>
                  </a:lnTo>
                  <a:lnTo>
                    <a:pt x="286" y="148"/>
                  </a:lnTo>
                  <a:lnTo>
                    <a:pt x="300" y="148"/>
                  </a:lnTo>
                  <a:lnTo>
                    <a:pt x="312" y="148"/>
                  </a:lnTo>
                  <a:lnTo>
                    <a:pt x="326" y="140"/>
                  </a:lnTo>
                  <a:lnTo>
                    <a:pt x="338" y="130"/>
                  </a:lnTo>
                  <a:lnTo>
                    <a:pt x="352" y="114"/>
                  </a:lnTo>
                  <a:lnTo>
                    <a:pt x="366" y="114"/>
                  </a:lnTo>
                  <a:lnTo>
                    <a:pt x="380" y="114"/>
                  </a:lnTo>
                  <a:lnTo>
                    <a:pt x="394" y="114"/>
                  </a:lnTo>
                  <a:lnTo>
                    <a:pt x="408" y="12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7" name="Freeform 83">
              <a:extLst>
                <a:ext uri="{FF2B5EF4-FFF2-40B4-BE49-F238E27FC236}">
                  <a16:creationId xmlns:a16="http://schemas.microsoft.com/office/drawing/2014/main" id="{70862D23-178B-453F-9141-286E159E7E77}"/>
                </a:ext>
              </a:extLst>
            </p:cNvPr>
            <p:cNvSpPr>
              <a:spLocks/>
            </p:cNvSpPr>
            <p:nvPr/>
          </p:nvSpPr>
          <p:spPr bwMode="auto">
            <a:xfrm>
              <a:off x="3691290" y="2964383"/>
              <a:ext cx="639783" cy="221233"/>
            </a:xfrm>
            <a:custGeom>
              <a:avLst/>
              <a:gdLst>
                <a:gd name="T0" fmla="*/ 414 w 428"/>
                <a:gd name="T1" fmla="*/ 104 h 148"/>
                <a:gd name="T2" fmla="*/ 420 w 428"/>
                <a:gd name="T3" fmla="*/ 70 h 148"/>
                <a:gd name="T4" fmla="*/ 428 w 428"/>
                <a:gd name="T5" fmla="*/ 36 h 148"/>
                <a:gd name="T6" fmla="*/ 428 w 428"/>
                <a:gd name="T7" fmla="*/ 18 h 148"/>
                <a:gd name="T8" fmla="*/ 400 w 428"/>
                <a:gd name="T9" fmla="*/ 18 h 148"/>
                <a:gd name="T10" fmla="*/ 380 w 428"/>
                <a:gd name="T11" fmla="*/ 44 h 148"/>
                <a:gd name="T12" fmla="*/ 352 w 428"/>
                <a:gd name="T13" fmla="*/ 54 h 148"/>
                <a:gd name="T14" fmla="*/ 326 w 428"/>
                <a:gd name="T15" fmla="*/ 54 h 148"/>
                <a:gd name="T16" fmla="*/ 300 w 428"/>
                <a:gd name="T17" fmla="*/ 80 h 148"/>
                <a:gd name="T18" fmla="*/ 272 w 428"/>
                <a:gd name="T19" fmla="*/ 62 h 148"/>
                <a:gd name="T20" fmla="*/ 276 w 428"/>
                <a:gd name="T21" fmla="*/ 36 h 148"/>
                <a:gd name="T22" fmla="*/ 276 w 428"/>
                <a:gd name="T23" fmla="*/ 2 h 148"/>
                <a:gd name="T24" fmla="*/ 250 w 428"/>
                <a:gd name="T25" fmla="*/ 10 h 148"/>
                <a:gd name="T26" fmla="*/ 224 w 428"/>
                <a:gd name="T27" fmla="*/ 36 h 148"/>
                <a:gd name="T28" fmla="*/ 198 w 428"/>
                <a:gd name="T29" fmla="*/ 36 h 148"/>
                <a:gd name="T30" fmla="*/ 182 w 428"/>
                <a:gd name="T31" fmla="*/ 16 h 148"/>
                <a:gd name="T32" fmla="*/ 156 w 428"/>
                <a:gd name="T33" fmla="*/ 34 h 148"/>
                <a:gd name="T34" fmla="*/ 136 w 428"/>
                <a:gd name="T35" fmla="*/ 26 h 148"/>
                <a:gd name="T36" fmla="*/ 110 w 428"/>
                <a:gd name="T37" fmla="*/ 2 h 148"/>
                <a:gd name="T38" fmla="*/ 82 w 428"/>
                <a:gd name="T39" fmla="*/ 10 h 148"/>
                <a:gd name="T40" fmla="*/ 60 w 428"/>
                <a:gd name="T41" fmla="*/ 0 h 148"/>
                <a:gd name="T42" fmla="*/ 48 w 428"/>
                <a:gd name="T43" fmla="*/ 36 h 148"/>
                <a:gd name="T44" fmla="*/ 34 w 428"/>
                <a:gd name="T45" fmla="*/ 70 h 148"/>
                <a:gd name="T46" fmla="*/ 8 w 428"/>
                <a:gd name="T47" fmla="*/ 86 h 148"/>
                <a:gd name="T48" fmla="*/ 14 w 428"/>
                <a:gd name="T49" fmla="*/ 86 h 148"/>
                <a:gd name="T50" fmla="*/ 34 w 428"/>
                <a:gd name="T51" fmla="*/ 114 h 148"/>
                <a:gd name="T52" fmla="*/ 40 w 428"/>
                <a:gd name="T53" fmla="*/ 148 h 148"/>
                <a:gd name="T54" fmla="*/ 76 w 428"/>
                <a:gd name="T55" fmla="*/ 130 h 148"/>
                <a:gd name="T56" fmla="*/ 100 w 428"/>
                <a:gd name="T57" fmla="*/ 104 h 148"/>
                <a:gd name="T58" fmla="*/ 136 w 428"/>
                <a:gd name="T59" fmla="*/ 86 h 148"/>
                <a:gd name="T60" fmla="*/ 162 w 428"/>
                <a:gd name="T61" fmla="*/ 104 h 148"/>
                <a:gd name="T62" fmla="*/ 190 w 428"/>
                <a:gd name="T63" fmla="*/ 114 h 148"/>
                <a:gd name="T64" fmla="*/ 204 w 428"/>
                <a:gd name="T65" fmla="*/ 140 h 148"/>
                <a:gd name="T66" fmla="*/ 230 w 428"/>
                <a:gd name="T67" fmla="*/ 122 h 148"/>
                <a:gd name="T68" fmla="*/ 258 w 428"/>
                <a:gd name="T69" fmla="*/ 140 h 148"/>
                <a:gd name="T70" fmla="*/ 286 w 428"/>
                <a:gd name="T71" fmla="*/ 148 h 148"/>
                <a:gd name="T72" fmla="*/ 312 w 428"/>
                <a:gd name="T73" fmla="*/ 148 h 148"/>
                <a:gd name="T74" fmla="*/ 338 w 428"/>
                <a:gd name="T75" fmla="*/ 130 h 148"/>
                <a:gd name="T76" fmla="*/ 366 w 428"/>
                <a:gd name="T77" fmla="*/ 114 h 148"/>
                <a:gd name="T78" fmla="*/ 394 w 428"/>
                <a:gd name="T79" fmla="*/ 11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8" h="148">
                  <a:moveTo>
                    <a:pt x="408" y="122"/>
                  </a:moveTo>
                  <a:lnTo>
                    <a:pt x="414" y="104"/>
                  </a:lnTo>
                  <a:lnTo>
                    <a:pt x="414" y="86"/>
                  </a:lnTo>
                  <a:lnTo>
                    <a:pt x="420" y="70"/>
                  </a:lnTo>
                  <a:lnTo>
                    <a:pt x="420" y="54"/>
                  </a:lnTo>
                  <a:lnTo>
                    <a:pt x="428" y="36"/>
                  </a:lnTo>
                  <a:lnTo>
                    <a:pt x="428" y="18"/>
                  </a:lnTo>
                  <a:lnTo>
                    <a:pt x="428" y="18"/>
                  </a:lnTo>
                  <a:lnTo>
                    <a:pt x="414" y="18"/>
                  </a:lnTo>
                  <a:lnTo>
                    <a:pt x="400" y="18"/>
                  </a:lnTo>
                  <a:lnTo>
                    <a:pt x="386" y="26"/>
                  </a:lnTo>
                  <a:lnTo>
                    <a:pt x="380" y="44"/>
                  </a:lnTo>
                  <a:lnTo>
                    <a:pt x="366" y="54"/>
                  </a:lnTo>
                  <a:lnTo>
                    <a:pt x="352" y="54"/>
                  </a:lnTo>
                  <a:lnTo>
                    <a:pt x="338" y="54"/>
                  </a:lnTo>
                  <a:lnTo>
                    <a:pt x="326" y="54"/>
                  </a:lnTo>
                  <a:lnTo>
                    <a:pt x="312" y="62"/>
                  </a:lnTo>
                  <a:lnTo>
                    <a:pt x="300" y="80"/>
                  </a:lnTo>
                  <a:lnTo>
                    <a:pt x="286" y="80"/>
                  </a:lnTo>
                  <a:lnTo>
                    <a:pt x="272" y="62"/>
                  </a:lnTo>
                  <a:lnTo>
                    <a:pt x="264" y="44"/>
                  </a:lnTo>
                  <a:lnTo>
                    <a:pt x="276" y="36"/>
                  </a:lnTo>
                  <a:lnTo>
                    <a:pt x="286" y="18"/>
                  </a:lnTo>
                  <a:lnTo>
                    <a:pt x="276" y="2"/>
                  </a:lnTo>
                  <a:lnTo>
                    <a:pt x="264" y="2"/>
                  </a:lnTo>
                  <a:lnTo>
                    <a:pt x="250" y="10"/>
                  </a:lnTo>
                  <a:lnTo>
                    <a:pt x="236" y="18"/>
                  </a:lnTo>
                  <a:lnTo>
                    <a:pt x="224" y="36"/>
                  </a:lnTo>
                  <a:lnTo>
                    <a:pt x="210" y="44"/>
                  </a:lnTo>
                  <a:lnTo>
                    <a:pt x="198" y="36"/>
                  </a:lnTo>
                  <a:lnTo>
                    <a:pt x="182" y="18"/>
                  </a:lnTo>
                  <a:lnTo>
                    <a:pt x="182" y="16"/>
                  </a:lnTo>
                  <a:lnTo>
                    <a:pt x="164" y="16"/>
                  </a:lnTo>
                  <a:lnTo>
                    <a:pt x="156" y="34"/>
                  </a:lnTo>
                  <a:lnTo>
                    <a:pt x="152" y="40"/>
                  </a:lnTo>
                  <a:lnTo>
                    <a:pt x="136" y="26"/>
                  </a:lnTo>
                  <a:lnTo>
                    <a:pt x="122" y="10"/>
                  </a:lnTo>
                  <a:lnTo>
                    <a:pt x="110" y="2"/>
                  </a:lnTo>
                  <a:lnTo>
                    <a:pt x="96" y="2"/>
                  </a:lnTo>
                  <a:lnTo>
                    <a:pt x="82" y="10"/>
                  </a:lnTo>
                  <a:lnTo>
                    <a:pt x="68" y="10"/>
                  </a:lnTo>
                  <a:lnTo>
                    <a:pt x="60" y="0"/>
                  </a:lnTo>
                  <a:lnTo>
                    <a:pt x="48" y="18"/>
                  </a:lnTo>
                  <a:lnTo>
                    <a:pt x="48" y="36"/>
                  </a:lnTo>
                  <a:lnTo>
                    <a:pt x="48" y="54"/>
                  </a:lnTo>
                  <a:lnTo>
                    <a:pt x="34" y="70"/>
                  </a:lnTo>
                  <a:lnTo>
                    <a:pt x="20" y="70"/>
                  </a:lnTo>
                  <a:lnTo>
                    <a:pt x="8" y="86"/>
                  </a:lnTo>
                  <a:lnTo>
                    <a:pt x="0" y="86"/>
                  </a:lnTo>
                  <a:lnTo>
                    <a:pt x="14" y="86"/>
                  </a:lnTo>
                  <a:lnTo>
                    <a:pt x="20" y="104"/>
                  </a:lnTo>
                  <a:lnTo>
                    <a:pt x="34" y="114"/>
                  </a:lnTo>
                  <a:lnTo>
                    <a:pt x="34" y="130"/>
                  </a:lnTo>
                  <a:lnTo>
                    <a:pt x="40" y="148"/>
                  </a:lnTo>
                  <a:lnTo>
                    <a:pt x="60" y="148"/>
                  </a:lnTo>
                  <a:lnTo>
                    <a:pt x="76" y="130"/>
                  </a:lnTo>
                  <a:lnTo>
                    <a:pt x="88" y="122"/>
                  </a:lnTo>
                  <a:lnTo>
                    <a:pt x="100" y="104"/>
                  </a:lnTo>
                  <a:lnTo>
                    <a:pt x="114" y="98"/>
                  </a:lnTo>
                  <a:lnTo>
                    <a:pt x="136" y="86"/>
                  </a:lnTo>
                  <a:lnTo>
                    <a:pt x="152" y="98"/>
                  </a:lnTo>
                  <a:lnTo>
                    <a:pt x="162" y="104"/>
                  </a:lnTo>
                  <a:lnTo>
                    <a:pt x="176" y="104"/>
                  </a:lnTo>
                  <a:lnTo>
                    <a:pt x="190" y="114"/>
                  </a:lnTo>
                  <a:lnTo>
                    <a:pt x="198" y="130"/>
                  </a:lnTo>
                  <a:lnTo>
                    <a:pt x="204" y="140"/>
                  </a:lnTo>
                  <a:lnTo>
                    <a:pt x="218" y="122"/>
                  </a:lnTo>
                  <a:lnTo>
                    <a:pt x="230" y="122"/>
                  </a:lnTo>
                  <a:lnTo>
                    <a:pt x="244" y="122"/>
                  </a:lnTo>
                  <a:lnTo>
                    <a:pt x="258" y="140"/>
                  </a:lnTo>
                  <a:lnTo>
                    <a:pt x="272" y="148"/>
                  </a:lnTo>
                  <a:lnTo>
                    <a:pt x="286" y="148"/>
                  </a:lnTo>
                  <a:lnTo>
                    <a:pt x="300" y="148"/>
                  </a:lnTo>
                  <a:lnTo>
                    <a:pt x="312" y="148"/>
                  </a:lnTo>
                  <a:lnTo>
                    <a:pt x="326" y="140"/>
                  </a:lnTo>
                  <a:lnTo>
                    <a:pt x="338" y="130"/>
                  </a:lnTo>
                  <a:lnTo>
                    <a:pt x="352" y="114"/>
                  </a:lnTo>
                  <a:lnTo>
                    <a:pt x="366" y="114"/>
                  </a:lnTo>
                  <a:lnTo>
                    <a:pt x="380" y="114"/>
                  </a:lnTo>
                  <a:lnTo>
                    <a:pt x="394" y="114"/>
                  </a:lnTo>
                  <a:lnTo>
                    <a:pt x="408" y="122"/>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8" name="Freeform 84">
              <a:extLst>
                <a:ext uri="{FF2B5EF4-FFF2-40B4-BE49-F238E27FC236}">
                  <a16:creationId xmlns:a16="http://schemas.microsoft.com/office/drawing/2014/main" id="{7EE237ED-9C28-4072-BBCD-ED16910299B3}"/>
                </a:ext>
              </a:extLst>
            </p:cNvPr>
            <p:cNvSpPr>
              <a:spLocks/>
            </p:cNvSpPr>
            <p:nvPr/>
          </p:nvSpPr>
          <p:spPr bwMode="auto">
            <a:xfrm>
              <a:off x="3957368" y="2850777"/>
              <a:ext cx="373705" cy="230202"/>
            </a:xfrm>
            <a:custGeom>
              <a:avLst/>
              <a:gdLst>
                <a:gd name="T0" fmla="*/ 0 w 250"/>
                <a:gd name="T1" fmla="*/ 86 h 154"/>
                <a:gd name="T2" fmla="*/ 6 w 250"/>
                <a:gd name="T3" fmla="*/ 78 h 154"/>
                <a:gd name="T4" fmla="*/ 6 w 250"/>
                <a:gd name="T5" fmla="*/ 58 h 154"/>
                <a:gd name="T6" fmla="*/ 12 w 250"/>
                <a:gd name="T7" fmla="*/ 42 h 154"/>
                <a:gd name="T8" fmla="*/ 12 w 250"/>
                <a:gd name="T9" fmla="*/ 26 h 154"/>
                <a:gd name="T10" fmla="*/ 20 w 250"/>
                <a:gd name="T11" fmla="*/ 16 h 154"/>
                <a:gd name="T12" fmla="*/ 32 w 250"/>
                <a:gd name="T13" fmla="*/ 26 h 154"/>
                <a:gd name="T14" fmla="*/ 46 w 250"/>
                <a:gd name="T15" fmla="*/ 16 h 154"/>
                <a:gd name="T16" fmla="*/ 58 w 250"/>
                <a:gd name="T17" fmla="*/ 16 h 154"/>
                <a:gd name="T18" fmla="*/ 72 w 250"/>
                <a:gd name="T19" fmla="*/ 8 h 154"/>
                <a:gd name="T20" fmla="*/ 86 w 250"/>
                <a:gd name="T21" fmla="*/ 0 h 154"/>
                <a:gd name="T22" fmla="*/ 94 w 250"/>
                <a:gd name="T23" fmla="*/ 16 h 154"/>
                <a:gd name="T24" fmla="*/ 82 w 250"/>
                <a:gd name="T25" fmla="*/ 26 h 154"/>
                <a:gd name="T26" fmla="*/ 82 w 250"/>
                <a:gd name="T27" fmla="*/ 42 h 154"/>
                <a:gd name="T28" fmla="*/ 94 w 250"/>
                <a:gd name="T29" fmla="*/ 52 h 154"/>
                <a:gd name="T30" fmla="*/ 108 w 250"/>
                <a:gd name="T31" fmla="*/ 42 h 154"/>
                <a:gd name="T32" fmla="*/ 120 w 250"/>
                <a:gd name="T33" fmla="*/ 52 h 154"/>
                <a:gd name="T34" fmla="*/ 134 w 250"/>
                <a:gd name="T35" fmla="*/ 58 h 154"/>
                <a:gd name="T36" fmla="*/ 142 w 250"/>
                <a:gd name="T37" fmla="*/ 52 h 154"/>
                <a:gd name="T38" fmla="*/ 142 w 250"/>
                <a:gd name="T39" fmla="*/ 34 h 154"/>
                <a:gd name="T40" fmla="*/ 154 w 250"/>
                <a:gd name="T41" fmla="*/ 26 h 154"/>
                <a:gd name="T42" fmla="*/ 168 w 250"/>
                <a:gd name="T43" fmla="*/ 34 h 154"/>
                <a:gd name="T44" fmla="*/ 182 w 250"/>
                <a:gd name="T45" fmla="*/ 34 h 154"/>
                <a:gd name="T46" fmla="*/ 196 w 250"/>
                <a:gd name="T47" fmla="*/ 26 h 154"/>
                <a:gd name="T48" fmla="*/ 208 w 250"/>
                <a:gd name="T49" fmla="*/ 42 h 154"/>
                <a:gd name="T50" fmla="*/ 222 w 250"/>
                <a:gd name="T51" fmla="*/ 42 h 154"/>
                <a:gd name="T52" fmla="*/ 236 w 250"/>
                <a:gd name="T53" fmla="*/ 34 h 154"/>
                <a:gd name="T54" fmla="*/ 236 w 250"/>
                <a:gd name="T55" fmla="*/ 42 h 154"/>
                <a:gd name="T56" fmla="*/ 236 w 250"/>
                <a:gd name="T57" fmla="*/ 34 h 154"/>
                <a:gd name="T58" fmla="*/ 242 w 250"/>
                <a:gd name="T59" fmla="*/ 52 h 154"/>
                <a:gd name="T60" fmla="*/ 250 w 250"/>
                <a:gd name="T61" fmla="*/ 68 h 154"/>
                <a:gd name="T62" fmla="*/ 250 w 250"/>
                <a:gd name="T63" fmla="*/ 86 h 154"/>
                <a:gd name="T64" fmla="*/ 250 w 250"/>
                <a:gd name="T65" fmla="*/ 94 h 154"/>
                <a:gd name="T66" fmla="*/ 250 w 250"/>
                <a:gd name="T67" fmla="*/ 94 h 154"/>
                <a:gd name="T68" fmla="*/ 236 w 250"/>
                <a:gd name="T69" fmla="*/ 94 h 154"/>
                <a:gd name="T70" fmla="*/ 222 w 250"/>
                <a:gd name="T71" fmla="*/ 94 h 154"/>
                <a:gd name="T72" fmla="*/ 208 w 250"/>
                <a:gd name="T73" fmla="*/ 104 h 154"/>
                <a:gd name="T74" fmla="*/ 202 w 250"/>
                <a:gd name="T75" fmla="*/ 120 h 154"/>
                <a:gd name="T76" fmla="*/ 188 w 250"/>
                <a:gd name="T77" fmla="*/ 128 h 154"/>
                <a:gd name="T78" fmla="*/ 174 w 250"/>
                <a:gd name="T79" fmla="*/ 128 h 154"/>
                <a:gd name="T80" fmla="*/ 160 w 250"/>
                <a:gd name="T81" fmla="*/ 128 h 154"/>
                <a:gd name="T82" fmla="*/ 148 w 250"/>
                <a:gd name="T83" fmla="*/ 128 h 154"/>
                <a:gd name="T84" fmla="*/ 134 w 250"/>
                <a:gd name="T85" fmla="*/ 138 h 154"/>
                <a:gd name="T86" fmla="*/ 120 w 250"/>
                <a:gd name="T87" fmla="*/ 154 h 154"/>
                <a:gd name="T88" fmla="*/ 108 w 250"/>
                <a:gd name="T89" fmla="*/ 154 h 154"/>
                <a:gd name="T90" fmla="*/ 94 w 250"/>
                <a:gd name="T91" fmla="*/ 138 h 154"/>
                <a:gd name="T92" fmla="*/ 86 w 250"/>
                <a:gd name="T93" fmla="*/ 120 h 154"/>
                <a:gd name="T94" fmla="*/ 100 w 250"/>
                <a:gd name="T95" fmla="*/ 112 h 154"/>
                <a:gd name="T96" fmla="*/ 108 w 250"/>
                <a:gd name="T97" fmla="*/ 94 h 154"/>
                <a:gd name="T98" fmla="*/ 100 w 250"/>
                <a:gd name="T99" fmla="*/ 78 h 154"/>
                <a:gd name="T100" fmla="*/ 86 w 250"/>
                <a:gd name="T101" fmla="*/ 78 h 154"/>
                <a:gd name="T102" fmla="*/ 72 w 250"/>
                <a:gd name="T103" fmla="*/ 86 h 154"/>
                <a:gd name="T104" fmla="*/ 58 w 250"/>
                <a:gd name="T105" fmla="*/ 94 h 154"/>
                <a:gd name="T106" fmla="*/ 46 w 250"/>
                <a:gd name="T107" fmla="*/ 112 h 154"/>
                <a:gd name="T108" fmla="*/ 32 w 250"/>
                <a:gd name="T109" fmla="*/ 120 h 154"/>
                <a:gd name="T110" fmla="*/ 20 w 250"/>
                <a:gd name="T111" fmla="*/ 112 h 154"/>
                <a:gd name="T112" fmla="*/ 6 w 250"/>
                <a:gd name="T113" fmla="*/ 94 h 154"/>
                <a:gd name="T114" fmla="*/ 0 w 250"/>
                <a:gd name="T115" fmla="*/ 8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154">
                  <a:moveTo>
                    <a:pt x="0" y="86"/>
                  </a:moveTo>
                  <a:lnTo>
                    <a:pt x="6" y="78"/>
                  </a:lnTo>
                  <a:lnTo>
                    <a:pt x="6" y="58"/>
                  </a:lnTo>
                  <a:lnTo>
                    <a:pt x="12" y="42"/>
                  </a:lnTo>
                  <a:lnTo>
                    <a:pt x="12" y="26"/>
                  </a:lnTo>
                  <a:lnTo>
                    <a:pt x="20" y="16"/>
                  </a:lnTo>
                  <a:lnTo>
                    <a:pt x="32" y="26"/>
                  </a:lnTo>
                  <a:lnTo>
                    <a:pt x="46" y="16"/>
                  </a:lnTo>
                  <a:lnTo>
                    <a:pt x="58" y="16"/>
                  </a:lnTo>
                  <a:lnTo>
                    <a:pt x="72" y="8"/>
                  </a:lnTo>
                  <a:lnTo>
                    <a:pt x="86" y="0"/>
                  </a:lnTo>
                  <a:lnTo>
                    <a:pt x="94" y="16"/>
                  </a:lnTo>
                  <a:lnTo>
                    <a:pt x="82" y="26"/>
                  </a:lnTo>
                  <a:lnTo>
                    <a:pt x="82" y="42"/>
                  </a:lnTo>
                  <a:lnTo>
                    <a:pt x="94" y="52"/>
                  </a:lnTo>
                  <a:lnTo>
                    <a:pt x="108" y="42"/>
                  </a:lnTo>
                  <a:lnTo>
                    <a:pt x="120" y="52"/>
                  </a:lnTo>
                  <a:lnTo>
                    <a:pt x="134" y="58"/>
                  </a:lnTo>
                  <a:lnTo>
                    <a:pt x="142" y="52"/>
                  </a:lnTo>
                  <a:lnTo>
                    <a:pt x="142" y="34"/>
                  </a:lnTo>
                  <a:lnTo>
                    <a:pt x="154" y="26"/>
                  </a:lnTo>
                  <a:lnTo>
                    <a:pt x="168" y="34"/>
                  </a:lnTo>
                  <a:lnTo>
                    <a:pt x="182" y="34"/>
                  </a:lnTo>
                  <a:lnTo>
                    <a:pt x="196" y="26"/>
                  </a:lnTo>
                  <a:lnTo>
                    <a:pt x="208" y="42"/>
                  </a:lnTo>
                  <a:lnTo>
                    <a:pt x="222" y="42"/>
                  </a:lnTo>
                  <a:lnTo>
                    <a:pt x="236" y="34"/>
                  </a:lnTo>
                  <a:lnTo>
                    <a:pt x="236" y="42"/>
                  </a:lnTo>
                  <a:lnTo>
                    <a:pt x="236" y="34"/>
                  </a:lnTo>
                  <a:lnTo>
                    <a:pt x="242" y="52"/>
                  </a:lnTo>
                  <a:lnTo>
                    <a:pt x="250" y="68"/>
                  </a:lnTo>
                  <a:lnTo>
                    <a:pt x="250" y="86"/>
                  </a:lnTo>
                  <a:lnTo>
                    <a:pt x="250" y="94"/>
                  </a:lnTo>
                  <a:lnTo>
                    <a:pt x="250" y="94"/>
                  </a:lnTo>
                  <a:lnTo>
                    <a:pt x="236" y="94"/>
                  </a:lnTo>
                  <a:lnTo>
                    <a:pt x="222" y="94"/>
                  </a:lnTo>
                  <a:lnTo>
                    <a:pt x="208" y="104"/>
                  </a:lnTo>
                  <a:lnTo>
                    <a:pt x="202" y="120"/>
                  </a:lnTo>
                  <a:lnTo>
                    <a:pt x="188" y="128"/>
                  </a:lnTo>
                  <a:lnTo>
                    <a:pt x="174" y="128"/>
                  </a:lnTo>
                  <a:lnTo>
                    <a:pt x="160" y="128"/>
                  </a:lnTo>
                  <a:lnTo>
                    <a:pt x="148" y="128"/>
                  </a:lnTo>
                  <a:lnTo>
                    <a:pt x="134" y="138"/>
                  </a:lnTo>
                  <a:lnTo>
                    <a:pt x="120" y="154"/>
                  </a:lnTo>
                  <a:lnTo>
                    <a:pt x="108" y="154"/>
                  </a:lnTo>
                  <a:lnTo>
                    <a:pt x="94" y="138"/>
                  </a:lnTo>
                  <a:lnTo>
                    <a:pt x="86" y="120"/>
                  </a:lnTo>
                  <a:lnTo>
                    <a:pt x="100" y="112"/>
                  </a:lnTo>
                  <a:lnTo>
                    <a:pt x="108" y="94"/>
                  </a:lnTo>
                  <a:lnTo>
                    <a:pt x="100" y="78"/>
                  </a:lnTo>
                  <a:lnTo>
                    <a:pt x="86" y="78"/>
                  </a:lnTo>
                  <a:lnTo>
                    <a:pt x="72" y="86"/>
                  </a:lnTo>
                  <a:lnTo>
                    <a:pt x="58" y="94"/>
                  </a:lnTo>
                  <a:lnTo>
                    <a:pt x="46" y="112"/>
                  </a:lnTo>
                  <a:lnTo>
                    <a:pt x="32" y="120"/>
                  </a:lnTo>
                  <a:lnTo>
                    <a:pt x="20" y="112"/>
                  </a:lnTo>
                  <a:lnTo>
                    <a:pt x="6" y="94"/>
                  </a:lnTo>
                  <a:lnTo>
                    <a:pt x="0" y="8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9" name="Freeform 85">
              <a:extLst>
                <a:ext uri="{FF2B5EF4-FFF2-40B4-BE49-F238E27FC236}">
                  <a16:creationId xmlns:a16="http://schemas.microsoft.com/office/drawing/2014/main" id="{04D0EE9F-1325-4085-A014-3C8A65FBE6A2}"/>
                </a:ext>
              </a:extLst>
            </p:cNvPr>
            <p:cNvSpPr>
              <a:spLocks/>
            </p:cNvSpPr>
            <p:nvPr/>
          </p:nvSpPr>
          <p:spPr bwMode="auto">
            <a:xfrm>
              <a:off x="3957368" y="2850777"/>
              <a:ext cx="373705" cy="230202"/>
            </a:xfrm>
            <a:custGeom>
              <a:avLst/>
              <a:gdLst>
                <a:gd name="T0" fmla="*/ 0 w 250"/>
                <a:gd name="T1" fmla="*/ 86 h 154"/>
                <a:gd name="T2" fmla="*/ 6 w 250"/>
                <a:gd name="T3" fmla="*/ 78 h 154"/>
                <a:gd name="T4" fmla="*/ 6 w 250"/>
                <a:gd name="T5" fmla="*/ 58 h 154"/>
                <a:gd name="T6" fmla="*/ 12 w 250"/>
                <a:gd name="T7" fmla="*/ 42 h 154"/>
                <a:gd name="T8" fmla="*/ 12 w 250"/>
                <a:gd name="T9" fmla="*/ 26 h 154"/>
                <a:gd name="T10" fmla="*/ 20 w 250"/>
                <a:gd name="T11" fmla="*/ 16 h 154"/>
                <a:gd name="T12" fmla="*/ 32 w 250"/>
                <a:gd name="T13" fmla="*/ 26 h 154"/>
                <a:gd name="T14" fmla="*/ 46 w 250"/>
                <a:gd name="T15" fmla="*/ 16 h 154"/>
                <a:gd name="T16" fmla="*/ 58 w 250"/>
                <a:gd name="T17" fmla="*/ 16 h 154"/>
                <a:gd name="T18" fmla="*/ 72 w 250"/>
                <a:gd name="T19" fmla="*/ 8 h 154"/>
                <a:gd name="T20" fmla="*/ 86 w 250"/>
                <a:gd name="T21" fmla="*/ 0 h 154"/>
                <a:gd name="T22" fmla="*/ 94 w 250"/>
                <a:gd name="T23" fmla="*/ 16 h 154"/>
                <a:gd name="T24" fmla="*/ 82 w 250"/>
                <a:gd name="T25" fmla="*/ 26 h 154"/>
                <a:gd name="T26" fmla="*/ 82 w 250"/>
                <a:gd name="T27" fmla="*/ 42 h 154"/>
                <a:gd name="T28" fmla="*/ 94 w 250"/>
                <a:gd name="T29" fmla="*/ 52 h 154"/>
                <a:gd name="T30" fmla="*/ 108 w 250"/>
                <a:gd name="T31" fmla="*/ 42 h 154"/>
                <a:gd name="T32" fmla="*/ 120 w 250"/>
                <a:gd name="T33" fmla="*/ 52 h 154"/>
                <a:gd name="T34" fmla="*/ 134 w 250"/>
                <a:gd name="T35" fmla="*/ 58 h 154"/>
                <a:gd name="T36" fmla="*/ 142 w 250"/>
                <a:gd name="T37" fmla="*/ 52 h 154"/>
                <a:gd name="T38" fmla="*/ 142 w 250"/>
                <a:gd name="T39" fmla="*/ 34 h 154"/>
                <a:gd name="T40" fmla="*/ 154 w 250"/>
                <a:gd name="T41" fmla="*/ 26 h 154"/>
                <a:gd name="T42" fmla="*/ 168 w 250"/>
                <a:gd name="T43" fmla="*/ 34 h 154"/>
                <a:gd name="T44" fmla="*/ 182 w 250"/>
                <a:gd name="T45" fmla="*/ 34 h 154"/>
                <a:gd name="T46" fmla="*/ 196 w 250"/>
                <a:gd name="T47" fmla="*/ 26 h 154"/>
                <a:gd name="T48" fmla="*/ 208 w 250"/>
                <a:gd name="T49" fmla="*/ 42 h 154"/>
                <a:gd name="T50" fmla="*/ 222 w 250"/>
                <a:gd name="T51" fmla="*/ 42 h 154"/>
                <a:gd name="T52" fmla="*/ 236 w 250"/>
                <a:gd name="T53" fmla="*/ 34 h 154"/>
                <a:gd name="T54" fmla="*/ 236 w 250"/>
                <a:gd name="T55" fmla="*/ 42 h 154"/>
                <a:gd name="T56" fmla="*/ 236 w 250"/>
                <a:gd name="T57" fmla="*/ 34 h 154"/>
                <a:gd name="T58" fmla="*/ 242 w 250"/>
                <a:gd name="T59" fmla="*/ 52 h 154"/>
                <a:gd name="T60" fmla="*/ 250 w 250"/>
                <a:gd name="T61" fmla="*/ 68 h 154"/>
                <a:gd name="T62" fmla="*/ 250 w 250"/>
                <a:gd name="T63" fmla="*/ 86 h 154"/>
                <a:gd name="T64" fmla="*/ 250 w 250"/>
                <a:gd name="T65" fmla="*/ 94 h 154"/>
                <a:gd name="T66" fmla="*/ 250 w 250"/>
                <a:gd name="T67" fmla="*/ 94 h 154"/>
                <a:gd name="T68" fmla="*/ 236 w 250"/>
                <a:gd name="T69" fmla="*/ 94 h 154"/>
                <a:gd name="T70" fmla="*/ 222 w 250"/>
                <a:gd name="T71" fmla="*/ 94 h 154"/>
                <a:gd name="T72" fmla="*/ 208 w 250"/>
                <a:gd name="T73" fmla="*/ 104 h 154"/>
                <a:gd name="T74" fmla="*/ 202 w 250"/>
                <a:gd name="T75" fmla="*/ 120 h 154"/>
                <a:gd name="T76" fmla="*/ 188 w 250"/>
                <a:gd name="T77" fmla="*/ 128 h 154"/>
                <a:gd name="T78" fmla="*/ 174 w 250"/>
                <a:gd name="T79" fmla="*/ 128 h 154"/>
                <a:gd name="T80" fmla="*/ 160 w 250"/>
                <a:gd name="T81" fmla="*/ 128 h 154"/>
                <a:gd name="T82" fmla="*/ 148 w 250"/>
                <a:gd name="T83" fmla="*/ 128 h 154"/>
                <a:gd name="T84" fmla="*/ 134 w 250"/>
                <a:gd name="T85" fmla="*/ 138 h 154"/>
                <a:gd name="T86" fmla="*/ 120 w 250"/>
                <a:gd name="T87" fmla="*/ 154 h 154"/>
                <a:gd name="T88" fmla="*/ 108 w 250"/>
                <a:gd name="T89" fmla="*/ 154 h 154"/>
                <a:gd name="T90" fmla="*/ 94 w 250"/>
                <a:gd name="T91" fmla="*/ 138 h 154"/>
                <a:gd name="T92" fmla="*/ 86 w 250"/>
                <a:gd name="T93" fmla="*/ 120 h 154"/>
                <a:gd name="T94" fmla="*/ 100 w 250"/>
                <a:gd name="T95" fmla="*/ 112 h 154"/>
                <a:gd name="T96" fmla="*/ 108 w 250"/>
                <a:gd name="T97" fmla="*/ 94 h 154"/>
                <a:gd name="T98" fmla="*/ 100 w 250"/>
                <a:gd name="T99" fmla="*/ 78 h 154"/>
                <a:gd name="T100" fmla="*/ 86 w 250"/>
                <a:gd name="T101" fmla="*/ 78 h 154"/>
                <a:gd name="T102" fmla="*/ 72 w 250"/>
                <a:gd name="T103" fmla="*/ 86 h 154"/>
                <a:gd name="T104" fmla="*/ 58 w 250"/>
                <a:gd name="T105" fmla="*/ 94 h 154"/>
                <a:gd name="T106" fmla="*/ 46 w 250"/>
                <a:gd name="T107" fmla="*/ 112 h 154"/>
                <a:gd name="T108" fmla="*/ 32 w 250"/>
                <a:gd name="T109" fmla="*/ 120 h 154"/>
                <a:gd name="T110" fmla="*/ 20 w 250"/>
                <a:gd name="T111" fmla="*/ 112 h 154"/>
                <a:gd name="T112" fmla="*/ 6 w 250"/>
                <a:gd name="T113" fmla="*/ 94 h 154"/>
                <a:gd name="T114" fmla="*/ 0 w 250"/>
                <a:gd name="T115" fmla="*/ 8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154">
                  <a:moveTo>
                    <a:pt x="0" y="86"/>
                  </a:moveTo>
                  <a:lnTo>
                    <a:pt x="6" y="78"/>
                  </a:lnTo>
                  <a:lnTo>
                    <a:pt x="6" y="58"/>
                  </a:lnTo>
                  <a:lnTo>
                    <a:pt x="12" y="42"/>
                  </a:lnTo>
                  <a:lnTo>
                    <a:pt x="12" y="26"/>
                  </a:lnTo>
                  <a:lnTo>
                    <a:pt x="20" y="16"/>
                  </a:lnTo>
                  <a:lnTo>
                    <a:pt x="32" y="26"/>
                  </a:lnTo>
                  <a:lnTo>
                    <a:pt x="46" y="16"/>
                  </a:lnTo>
                  <a:lnTo>
                    <a:pt x="58" y="16"/>
                  </a:lnTo>
                  <a:lnTo>
                    <a:pt x="72" y="8"/>
                  </a:lnTo>
                  <a:lnTo>
                    <a:pt x="86" y="0"/>
                  </a:lnTo>
                  <a:lnTo>
                    <a:pt x="94" y="16"/>
                  </a:lnTo>
                  <a:lnTo>
                    <a:pt x="82" y="26"/>
                  </a:lnTo>
                  <a:lnTo>
                    <a:pt x="82" y="42"/>
                  </a:lnTo>
                  <a:lnTo>
                    <a:pt x="94" y="52"/>
                  </a:lnTo>
                  <a:lnTo>
                    <a:pt x="108" y="42"/>
                  </a:lnTo>
                  <a:lnTo>
                    <a:pt x="120" y="52"/>
                  </a:lnTo>
                  <a:lnTo>
                    <a:pt x="134" y="58"/>
                  </a:lnTo>
                  <a:lnTo>
                    <a:pt x="142" y="52"/>
                  </a:lnTo>
                  <a:lnTo>
                    <a:pt x="142" y="34"/>
                  </a:lnTo>
                  <a:lnTo>
                    <a:pt x="154" y="26"/>
                  </a:lnTo>
                  <a:lnTo>
                    <a:pt x="168" y="34"/>
                  </a:lnTo>
                  <a:lnTo>
                    <a:pt x="182" y="34"/>
                  </a:lnTo>
                  <a:lnTo>
                    <a:pt x="196" y="26"/>
                  </a:lnTo>
                  <a:lnTo>
                    <a:pt x="208" y="42"/>
                  </a:lnTo>
                  <a:lnTo>
                    <a:pt x="222" y="42"/>
                  </a:lnTo>
                  <a:lnTo>
                    <a:pt x="236" y="34"/>
                  </a:lnTo>
                  <a:lnTo>
                    <a:pt x="236" y="42"/>
                  </a:lnTo>
                  <a:lnTo>
                    <a:pt x="236" y="34"/>
                  </a:lnTo>
                  <a:lnTo>
                    <a:pt x="242" y="52"/>
                  </a:lnTo>
                  <a:lnTo>
                    <a:pt x="250" y="68"/>
                  </a:lnTo>
                  <a:lnTo>
                    <a:pt x="250" y="86"/>
                  </a:lnTo>
                  <a:lnTo>
                    <a:pt x="250" y="94"/>
                  </a:lnTo>
                  <a:lnTo>
                    <a:pt x="250" y="94"/>
                  </a:lnTo>
                  <a:lnTo>
                    <a:pt x="236" y="94"/>
                  </a:lnTo>
                  <a:lnTo>
                    <a:pt x="222" y="94"/>
                  </a:lnTo>
                  <a:lnTo>
                    <a:pt x="208" y="104"/>
                  </a:lnTo>
                  <a:lnTo>
                    <a:pt x="202" y="120"/>
                  </a:lnTo>
                  <a:lnTo>
                    <a:pt x="188" y="128"/>
                  </a:lnTo>
                  <a:lnTo>
                    <a:pt x="174" y="128"/>
                  </a:lnTo>
                  <a:lnTo>
                    <a:pt x="160" y="128"/>
                  </a:lnTo>
                  <a:lnTo>
                    <a:pt x="148" y="128"/>
                  </a:lnTo>
                  <a:lnTo>
                    <a:pt x="134" y="138"/>
                  </a:lnTo>
                  <a:lnTo>
                    <a:pt x="120" y="154"/>
                  </a:lnTo>
                  <a:lnTo>
                    <a:pt x="108" y="154"/>
                  </a:lnTo>
                  <a:lnTo>
                    <a:pt x="94" y="138"/>
                  </a:lnTo>
                  <a:lnTo>
                    <a:pt x="86" y="120"/>
                  </a:lnTo>
                  <a:lnTo>
                    <a:pt x="100" y="112"/>
                  </a:lnTo>
                  <a:lnTo>
                    <a:pt x="108" y="94"/>
                  </a:lnTo>
                  <a:lnTo>
                    <a:pt x="100" y="78"/>
                  </a:lnTo>
                  <a:lnTo>
                    <a:pt x="86" y="78"/>
                  </a:lnTo>
                  <a:lnTo>
                    <a:pt x="72" y="86"/>
                  </a:lnTo>
                  <a:lnTo>
                    <a:pt x="58" y="94"/>
                  </a:lnTo>
                  <a:lnTo>
                    <a:pt x="46" y="112"/>
                  </a:lnTo>
                  <a:lnTo>
                    <a:pt x="32" y="120"/>
                  </a:lnTo>
                  <a:lnTo>
                    <a:pt x="20" y="112"/>
                  </a:lnTo>
                  <a:lnTo>
                    <a:pt x="6" y="94"/>
                  </a:lnTo>
                  <a:lnTo>
                    <a:pt x="0" y="86"/>
                  </a:lnTo>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0" name="Freeform 88">
              <a:extLst>
                <a:ext uri="{FF2B5EF4-FFF2-40B4-BE49-F238E27FC236}">
                  <a16:creationId xmlns:a16="http://schemas.microsoft.com/office/drawing/2014/main" id="{B629E259-FB99-42F3-B667-93A47394CB41}"/>
                </a:ext>
              </a:extLst>
            </p:cNvPr>
            <p:cNvSpPr>
              <a:spLocks/>
            </p:cNvSpPr>
            <p:nvPr/>
          </p:nvSpPr>
          <p:spPr bwMode="auto">
            <a:xfrm>
              <a:off x="483406" y="3018197"/>
              <a:ext cx="735452" cy="322881"/>
            </a:xfrm>
            <a:custGeom>
              <a:avLst/>
              <a:gdLst>
                <a:gd name="T0" fmla="*/ 258 w 492"/>
                <a:gd name="T1" fmla="*/ 50 h 216"/>
                <a:gd name="T2" fmla="*/ 214 w 492"/>
                <a:gd name="T3" fmla="*/ 50 h 216"/>
                <a:gd name="T4" fmla="*/ 42 w 492"/>
                <a:gd name="T5" fmla="*/ 10 h 216"/>
                <a:gd name="T6" fmla="*/ 0 w 492"/>
                <a:gd name="T7" fmla="*/ 0 h 216"/>
                <a:gd name="T8" fmla="*/ 26 w 492"/>
                <a:gd name="T9" fmla="*/ 36 h 216"/>
                <a:gd name="T10" fmla="*/ 32 w 492"/>
                <a:gd name="T11" fmla="*/ 50 h 216"/>
                <a:gd name="T12" fmla="*/ 46 w 492"/>
                <a:gd name="T13" fmla="*/ 60 h 216"/>
                <a:gd name="T14" fmla="*/ 52 w 492"/>
                <a:gd name="T15" fmla="*/ 78 h 216"/>
                <a:gd name="T16" fmla="*/ 66 w 492"/>
                <a:gd name="T17" fmla="*/ 102 h 216"/>
                <a:gd name="T18" fmla="*/ 60 w 492"/>
                <a:gd name="T19" fmla="*/ 120 h 216"/>
                <a:gd name="T20" fmla="*/ 72 w 492"/>
                <a:gd name="T21" fmla="*/ 128 h 216"/>
                <a:gd name="T22" fmla="*/ 86 w 492"/>
                <a:gd name="T23" fmla="*/ 128 h 216"/>
                <a:gd name="T24" fmla="*/ 98 w 492"/>
                <a:gd name="T25" fmla="*/ 128 h 216"/>
                <a:gd name="T26" fmla="*/ 114 w 492"/>
                <a:gd name="T27" fmla="*/ 140 h 216"/>
                <a:gd name="T28" fmla="*/ 126 w 492"/>
                <a:gd name="T29" fmla="*/ 146 h 216"/>
                <a:gd name="T30" fmla="*/ 140 w 492"/>
                <a:gd name="T31" fmla="*/ 156 h 216"/>
                <a:gd name="T32" fmla="*/ 168 w 492"/>
                <a:gd name="T33" fmla="*/ 156 h 216"/>
                <a:gd name="T34" fmla="*/ 180 w 492"/>
                <a:gd name="T35" fmla="*/ 146 h 216"/>
                <a:gd name="T36" fmla="*/ 222 w 492"/>
                <a:gd name="T37" fmla="*/ 120 h 216"/>
                <a:gd name="T38" fmla="*/ 236 w 492"/>
                <a:gd name="T39" fmla="*/ 128 h 216"/>
                <a:gd name="T40" fmla="*/ 228 w 492"/>
                <a:gd name="T41" fmla="*/ 146 h 216"/>
                <a:gd name="T42" fmla="*/ 228 w 492"/>
                <a:gd name="T43" fmla="*/ 164 h 216"/>
                <a:gd name="T44" fmla="*/ 236 w 492"/>
                <a:gd name="T45" fmla="*/ 180 h 216"/>
                <a:gd name="T46" fmla="*/ 236 w 492"/>
                <a:gd name="T47" fmla="*/ 216 h 216"/>
                <a:gd name="T48" fmla="*/ 276 w 492"/>
                <a:gd name="T49" fmla="*/ 216 h 216"/>
                <a:gd name="T50" fmla="*/ 288 w 492"/>
                <a:gd name="T51" fmla="*/ 208 h 216"/>
                <a:gd name="T52" fmla="*/ 330 w 492"/>
                <a:gd name="T53" fmla="*/ 208 h 216"/>
                <a:gd name="T54" fmla="*/ 344 w 492"/>
                <a:gd name="T55" fmla="*/ 216 h 216"/>
                <a:gd name="T56" fmla="*/ 368 w 492"/>
                <a:gd name="T57" fmla="*/ 216 h 216"/>
                <a:gd name="T58" fmla="*/ 384 w 492"/>
                <a:gd name="T59" fmla="*/ 198 h 216"/>
                <a:gd name="T60" fmla="*/ 404 w 492"/>
                <a:gd name="T61" fmla="*/ 190 h 216"/>
                <a:gd name="T62" fmla="*/ 418 w 492"/>
                <a:gd name="T63" fmla="*/ 190 h 216"/>
                <a:gd name="T64" fmla="*/ 430 w 492"/>
                <a:gd name="T65" fmla="*/ 180 h 216"/>
                <a:gd name="T66" fmla="*/ 438 w 492"/>
                <a:gd name="T67" fmla="*/ 164 h 216"/>
                <a:gd name="T68" fmla="*/ 452 w 492"/>
                <a:gd name="T69" fmla="*/ 174 h 216"/>
                <a:gd name="T70" fmla="*/ 476 w 492"/>
                <a:gd name="T71" fmla="*/ 156 h 216"/>
                <a:gd name="T72" fmla="*/ 492 w 492"/>
                <a:gd name="T73" fmla="*/ 130 h 216"/>
                <a:gd name="T74" fmla="*/ 492 w 492"/>
                <a:gd name="T75" fmla="*/ 130 h 216"/>
                <a:gd name="T76" fmla="*/ 258 w 492"/>
                <a:gd name="T77" fmla="*/ 5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 h="216">
                  <a:moveTo>
                    <a:pt x="258" y="50"/>
                  </a:moveTo>
                  <a:lnTo>
                    <a:pt x="214" y="50"/>
                  </a:lnTo>
                  <a:lnTo>
                    <a:pt x="42" y="10"/>
                  </a:lnTo>
                  <a:lnTo>
                    <a:pt x="0" y="0"/>
                  </a:lnTo>
                  <a:lnTo>
                    <a:pt x="26" y="36"/>
                  </a:lnTo>
                  <a:lnTo>
                    <a:pt x="32" y="50"/>
                  </a:lnTo>
                  <a:lnTo>
                    <a:pt x="46" y="60"/>
                  </a:lnTo>
                  <a:lnTo>
                    <a:pt x="52" y="78"/>
                  </a:lnTo>
                  <a:lnTo>
                    <a:pt x="66" y="102"/>
                  </a:lnTo>
                  <a:lnTo>
                    <a:pt x="60" y="120"/>
                  </a:lnTo>
                  <a:lnTo>
                    <a:pt x="72" y="128"/>
                  </a:lnTo>
                  <a:lnTo>
                    <a:pt x="86" y="128"/>
                  </a:lnTo>
                  <a:lnTo>
                    <a:pt x="98" y="128"/>
                  </a:lnTo>
                  <a:lnTo>
                    <a:pt x="114" y="140"/>
                  </a:lnTo>
                  <a:lnTo>
                    <a:pt x="126" y="146"/>
                  </a:lnTo>
                  <a:lnTo>
                    <a:pt x="140" y="156"/>
                  </a:lnTo>
                  <a:lnTo>
                    <a:pt x="168" y="156"/>
                  </a:lnTo>
                  <a:lnTo>
                    <a:pt x="180" y="146"/>
                  </a:lnTo>
                  <a:lnTo>
                    <a:pt x="222" y="120"/>
                  </a:lnTo>
                  <a:lnTo>
                    <a:pt x="236" y="128"/>
                  </a:lnTo>
                  <a:lnTo>
                    <a:pt x="228" y="146"/>
                  </a:lnTo>
                  <a:lnTo>
                    <a:pt x="228" y="164"/>
                  </a:lnTo>
                  <a:lnTo>
                    <a:pt x="236" y="180"/>
                  </a:lnTo>
                  <a:lnTo>
                    <a:pt x="236" y="216"/>
                  </a:lnTo>
                  <a:lnTo>
                    <a:pt x="276" y="216"/>
                  </a:lnTo>
                  <a:lnTo>
                    <a:pt x="288" y="208"/>
                  </a:lnTo>
                  <a:lnTo>
                    <a:pt x="330" y="208"/>
                  </a:lnTo>
                  <a:lnTo>
                    <a:pt x="344" y="216"/>
                  </a:lnTo>
                  <a:lnTo>
                    <a:pt x="368" y="216"/>
                  </a:lnTo>
                  <a:lnTo>
                    <a:pt x="384" y="198"/>
                  </a:lnTo>
                  <a:lnTo>
                    <a:pt x="404" y="190"/>
                  </a:lnTo>
                  <a:lnTo>
                    <a:pt x="418" y="190"/>
                  </a:lnTo>
                  <a:lnTo>
                    <a:pt x="430" y="180"/>
                  </a:lnTo>
                  <a:lnTo>
                    <a:pt x="438" y="164"/>
                  </a:lnTo>
                  <a:lnTo>
                    <a:pt x="452" y="174"/>
                  </a:lnTo>
                  <a:lnTo>
                    <a:pt x="476" y="156"/>
                  </a:lnTo>
                  <a:lnTo>
                    <a:pt x="492" y="130"/>
                  </a:lnTo>
                  <a:lnTo>
                    <a:pt x="492" y="130"/>
                  </a:lnTo>
                  <a:lnTo>
                    <a:pt x="258" y="50"/>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1" name="Freeform 89">
              <a:extLst>
                <a:ext uri="{FF2B5EF4-FFF2-40B4-BE49-F238E27FC236}">
                  <a16:creationId xmlns:a16="http://schemas.microsoft.com/office/drawing/2014/main" id="{9F2F7D2B-A0BD-4D58-81D2-1E07F4A206F2}"/>
                </a:ext>
              </a:extLst>
            </p:cNvPr>
            <p:cNvSpPr>
              <a:spLocks/>
            </p:cNvSpPr>
            <p:nvPr/>
          </p:nvSpPr>
          <p:spPr bwMode="auto">
            <a:xfrm>
              <a:off x="483406" y="2010688"/>
              <a:ext cx="1733991" cy="1204825"/>
            </a:xfrm>
            <a:custGeom>
              <a:avLst/>
              <a:gdLst>
                <a:gd name="T0" fmla="*/ 1140 w 1160"/>
                <a:gd name="T1" fmla="*/ 276 h 806"/>
                <a:gd name="T2" fmla="*/ 1100 w 1160"/>
                <a:gd name="T3" fmla="*/ 248 h 806"/>
                <a:gd name="T4" fmla="*/ 1064 w 1160"/>
                <a:gd name="T5" fmla="*/ 240 h 806"/>
                <a:gd name="T6" fmla="*/ 1018 w 1160"/>
                <a:gd name="T7" fmla="*/ 224 h 806"/>
                <a:gd name="T8" fmla="*/ 998 w 1160"/>
                <a:gd name="T9" fmla="*/ 172 h 806"/>
                <a:gd name="T10" fmla="*/ 984 w 1160"/>
                <a:gd name="T11" fmla="*/ 126 h 806"/>
                <a:gd name="T12" fmla="*/ 910 w 1160"/>
                <a:gd name="T13" fmla="*/ 154 h 806"/>
                <a:gd name="T14" fmla="*/ 896 w 1160"/>
                <a:gd name="T15" fmla="*/ 198 h 806"/>
                <a:gd name="T16" fmla="*/ 856 w 1160"/>
                <a:gd name="T17" fmla="*/ 188 h 806"/>
                <a:gd name="T18" fmla="*/ 814 w 1160"/>
                <a:gd name="T19" fmla="*/ 198 h 806"/>
                <a:gd name="T20" fmla="*/ 796 w 1160"/>
                <a:gd name="T21" fmla="*/ 232 h 806"/>
                <a:gd name="T22" fmla="*/ 754 w 1160"/>
                <a:gd name="T23" fmla="*/ 198 h 806"/>
                <a:gd name="T24" fmla="*/ 754 w 1160"/>
                <a:gd name="T25" fmla="*/ 146 h 806"/>
                <a:gd name="T26" fmla="*/ 734 w 1160"/>
                <a:gd name="T27" fmla="*/ 86 h 806"/>
                <a:gd name="T28" fmla="*/ 714 w 1160"/>
                <a:gd name="T29" fmla="*/ 32 h 806"/>
                <a:gd name="T30" fmla="*/ 694 w 1160"/>
                <a:gd name="T31" fmla="*/ 0 h 806"/>
                <a:gd name="T32" fmla="*/ 626 w 1160"/>
                <a:gd name="T33" fmla="*/ 50 h 806"/>
                <a:gd name="T34" fmla="*/ 594 w 1160"/>
                <a:gd name="T35" fmla="*/ 76 h 806"/>
                <a:gd name="T36" fmla="*/ 546 w 1160"/>
                <a:gd name="T37" fmla="*/ 112 h 806"/>
                <a:gd name="T38" fmla="*/ 476 w 1160"/>
                <a:gd name="T39" fmla="*/ 92 h 806"/>
                <a:gd name="T40" fmla="*/ 438 w 1160"/>
                <a:gd name="T41" fmla="*/ 86 h 806"/>
                <a:gd name="T42" fmla="*/ 430 w 1160"/>
                <a:gd name="T43" fmla="*/ 32 h 806"/>
                <a:gd name="T44" fmla="*/ 390 w 1160"/>
                <a:gd name="T45" fmla="*/ 42 h 806"/>
                <a:gd name="T46" fmla="*/ 348 w 1160"/>
                <a:gd name="T47" fmla="*/ 32 h 806"/>
                <a:gd name="T48" fmla="*/ 324 w 1160"/>
                <a:gd name="T49" fmla="*/ 50 h 806"/>
                <a:gd name="T50" fmla="*/ 282 w 1160"/>
                <a:gd name="T51" fmla="*/ 42 h 806"/>
                <a:gd name="T52" fmla="*/ 248 w 1160"/>
                <a:gd name="T53" fmla="*/ 76 h 806"/>
                <a:gd name="T54" fmla="*/ 282 w 1160"/>
                <a:gd name="T55" fmla="*/ 102 h 806"/>
                <a:gd name="T56" fmla="*/ 282 w 1160"/>
                <a:gd name="T57" fmla="*/ 126 h 806"/>
                <a:gd name="T58" fmla="*/ 248 w 1160"/>
                <a:gd name="T59" fmla="*/ 162 h 806"/>
                <a:gd name="T60" fmla="*/ 276 w 1160"/>
                <a:gd name="T61" fmla="*/ 232 h 806"/>
                <a:gd name="T62" fmla="*/ 268 w 1160"/>
                <a:gd name="T63" fmla="*/ 378 h 806"/>
                <a:gd name="T64" fmla="*/ 256 w 1160"/>
                <a:gd name="T65" fmla="*/ 432 h 806"/>
                <a:gd name="T66" fmla="*/ 196 w 1160"/>
                <a:gd name="T67" fmla="*/ 448 h 806"/>
                <a:gd name="T68" fmla="*/ 126 w 1160"/>
                <a:gd name="T69" fmla="*/ 466 h 806"/>
                <a:gd name="T70" fmla="*/ 86 w 1160"/>
                <a:gd name="T71" fmla="*/ 500 h 806"/>
                <a:gd name="T72" fmla="*/ 46 w 1160"/>
                <a:gd name="T73" fmla="*/ 570 h 806"/>
                <a:gd name="T74" fmla="*/ 26 w 1160"/>
                <a:gd name="T75" fmla="*/ 612 h 806"/>
                <a:gd name="T76" fmla="*/ 0 w 1160"/>
                <a:gd name="T77" fmla="*/ 654 h 806"/>
                <a:gd name="T78" fmla="*/ 214 w 1160"/>
                <a:gd name="T79" fmla="*/ 724 h 806"/>
                <a:gd name="T80" fmla="*/ 492 w 1160"/>
                <a:gd name="T81" fmla="*/ 804 h 806"/>
                <a:gd name="T82" fmla="*/ 532 w 1160"/>
                <a:gd name="T83" fmla="*/ 776 h 806"/>
                <a:gd name="T84" fmla="*/ 572 w 1160"/>
                <a:gd name="T85" fmla="*/ 776 h 806"/>
                <a:gd name="T86" fmla="*/ 600 w 1160"/>
                <a:gd name="T87" fmla="*/ 768 h 806"/>
                <a:gd name="T88" fmla="*/ 626 w 1160"/>
                <a:gd name="T89" fmla="*/ 742 h 806"/>
                <a:gd name="T90" fmla="*/ 660 w 1160"/>
                <a:gd name="T91" fmla="*/ 716 h 806"/>
                <a:gd name="T92" fmla="*/ 694 w 1160"/>
                <a:gd name="T93" fmla="*/ 698 h 806"/>
                <a:gd name="T94" fmla="*/ 734 w 1160"/>
                <a:gd name="T95" fmla="*/ 692 h 806"/>
                <a:gd name="T96" fmla="*/ 774 w 1160"/>
                <a:gd name="T97" fmla="*/ 716 h 806"/>
                <a:gd name="T98" fmla="*/ 814 w 1160"/>
                <a:gd name="T99" fmla="*/ 724 h 806"/>
                <a:gd name="T100" fmla="*/ 936 w 1160"/>
                <a:gd name="T101" fmla="*/ 716 h 806"/>
                <a:gd name="T102" fmla="*/ 992 w 1160"/>
                <a:gd name="T103" fmla="*/ 724 h 806"/>
                <a:gd name="T104" fmla="*/ 1032 w 1160"/>
                <a:gd name="T105" fmla="*/ 710 h 806"/>
                <a:gd name="T106" fmla="*/ 1060 w 1160"/>
                <a:gd name="T107" fmla="*/ 632 h 806"/>
                <a:gd name="T108" fmla="*/ 1160 w 1160"/>
                <a:gd name="T109" fmla="*/ 286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60" h="806">
                  <a:moveTo>
                    <a:pt x="1160" y="286"/>
                  </a:moveTo>
                  <a:lnTo>
                    <a:pt x="1160" y="268"/>
                  </a:lnTo>
                  <a:lnTo>
                    <a:pt x="1140" y="276"/>
                  </a:lnTo>
                  <a:lnTo>
                    <a:pt x="1120" y="276"/>
                  </a:lnTo>
                  <a:lnTo>
                    <a:pt x="1106" y="268"/>
                  </a:lnTo>
                  <a:lnTo>
                    <a:pt x="1100" y="248"/>
                  </a:lnTo>
                  <a:lnTo>
                    <a:pt x="1094" y="240"/>
                  </a:lnTo>
                  <a:lnTo>
                    <a:pt x="1080" y="240"/>
                  </a:lnTo>
                  <a:lnTo>
                    <a:pt x="1064" y="240"/>
                  </a:lnTo>
                  <a:lnTo>
                    <a:pt x="1052" y="240"/>
                  </a:lnTo>
                  <a:lnTo>
                    <a:pt x="1032" y="232"/>
                  </a:lnTo>
                  <a:lnTo>
                    <a:pt x="1018" y="224"/>
                  </a:lnTo>
                  <a:lnTo>
                    <a:pt x="1018" y="208"/>
                  </a:lnTo>
                  <a:lnTo>
                    <a:pt x="1004" y="188"/>
                  </a:lnTo>
                  <a:lnTo>
                    <a:pt x="998" y="172"/>
                  </a:lnTo>
                  <a:lnTo>
                    <a:pt x="992" y="154"/>
                  </a:lnTo>
                  <a:lnTo>
                    <a:pt x="984" y="136"/>
                  </a:lnTo>
                  <a:lnTo>
                    <a:pt x="984" y="126"/>
                  </a:lnTo>
                  <a:lnTo>
                    <a:pt x="930" y="126"/>
                  </a:lnTo>
                  <a:lnTo>
                    <a:pt x="916" y="136"/>
                  </a:lnTo>
                  <a:lnTo>
                    <a:pt x="910" y="154"/>
                  </a:lnTo>
                  <a:lnTo>
                    <a:pt x="904" y="172"/>
                  </a:lnTo>
                  <a:lnTo>
                    <a:pt x="890" y="180"/>
                  </a:lnTo>
                  <a:lnTo>
                    <a:pt x="896" y="198"/>
                  </a:lnTo>
                  <a:lnTo>
                    <a:pt x="882" y="208"/>
                  </a:lnTo>
                  <a:lnTo>
                    <a:pt x="870" y="208"/>
                  </a:lnTo>
                  <a:lnTo>
                    <a:pt x="856" y="188"/>
                  </a:lnTo>
                  <a:lnTo>
                    <a:pt x="842" y="188"/>
                  </a:lnTo>
                  <a:lnTo>
                    <a:pt x="828" y="188"/>
                  </a:lnTo>
                  <a:lnTo>
                    <a:pt x="814" y="198"/>
                  </a:lnTo>
                  <a:lnTo>
                    <a:pt x="808" y="214"/>
                  </a:lnTo>
                  <a:lnTo>
                    <a:pt x="802" y="232"/>
                  </a:lnTo>
                  <a:lnTo>
                    <a:pt x="796" y="232"/>
                  </a:lnTo>
                  <a:lnTo>
                    <a:pt x="782" y="224"/>
                  </a:lnTo>
                  <a:lnTo>
                    <a:pt x="768" y="214"/>
                  </a:lnTo>
                  <a:lnTo>
                    <a:pt x="754" y="198"/>
                  </a:lnTo>
                  <a:lnTo>
                    <a:pt x="754" y="180"/>
                  </a:lnTo>
                  <a:lnTo>
                    <a:pt x="762" y="162"/>
                  </a:lnTo>
                  <a:lnTo>
                    <a:pt x="754" y="146"/>
                  </a:lnTo>
                  <a:lnTo>
                    <a:pt x="754" y="112"/>
                  </a:lnTo>
                  <a:lnTo>
                    <a:pt x="746" y="92"/>
                  </a:lnTo>
                  <a:lnTo>
                    <a:pt x="734" y="86"/>
                  </a:lnTo>
                  <a:lnTo>
                    <a:pt x="720" y="68"/>
                  </a:lnTo>
                  <a:lnTo>
                    <a:pt x="720" y="50"/>
                  </a:lnTo>
                  <a:lnTo>
                    <a:pt x="714" y="32"/>
                  </a:lnTo>
                  <a:lnTo>
                    <a:pt x="708" y="16"/>
                  </a:lnTo>
                  <a:lnTo>
                    <a:pt x="708" y="0"/>
                  </a:lnTo>
                  <a:lnTo>
                    <a:pt x="694" y="0"/>
                  </a:lnTo>
                  <a:lnTo>
                    <a:pt x="666" y="16"/>
                  </a:lnTo>
                  <a:lnTo>
                    <a:pt x="640" y="16"/>
                  </a:lnTo>
                  <a:lnTo>
                    <a:pt x="626" y="50"/>
                  </a:lnTo>
                  <a:lnTo>
                    <a:pt x="618" y="68"/>
                  </a:lnTo>
                  <a:lnTo>
                    <a:pt x="608" y="68"/>
                  </a:lnTo>
                  <a:lnTo>
                    <a:pt x="594" y="76"/>
                  </a:lnTo>
                  <a:lnTo>
                    <a:pt x="580" y="76"/>
                  </a:lnTo>
                  <a:lnTo>
                    <a:pt x="572" y="92"/>
                  </a:lnTo>
                  <a:lnTo>
                    <a:pt x="546" y="112"/>
                  </a:lnTo>
                  <a:lnTo>
                    <a:pt x="532" y="102"/>
                  </a:lnTo>
                  <a:lnTo>
                    <a:pt x="490" y="102"/>
                  </a:lnTo>
                  <a:lnTo>
                    <a:pt x="476" y="92"/>
                  </a:lnTo>
                  <a:lnTo>
                    <a:pt x="464" y="86"/>
                  </a:lnTo>
                  <a:lnTo>
                    <a:pt x="452" y="86"/>
                  </a:lnTo>
                  <a:lnTo>
                    <a:pt x="438" y="86"/>
                  </a:lnTo>
                  <a:lnTo>
                    <a:pt x="430" y="68"/>
                  </a:lnTo>
                  <a:lnTo>
                    <a:pt x="430" y="50"/>
                  </a:lnTo>
                  <a:lnTo>
                    <a:pt x="430" y="32"/>
                  </a:lnTo>
                  <a:lnTo>
                    <a:pt x="418" y="16"/>
                  </a:lnTo>
                  <a:lnTo>
                    <a:pt x="404" y="32"/>
                  </a:lnTo>
                  <a:lnTo>
                    <a:pt x="390" y="42"/>
                  </a:lnTo>
                  <a:lnTo>
                    <a:pt x="378" y="42"/>
                  </a:lnTo>
                  <a:lnTo>
                    <a:pt x="362" y="32"/>
                  </a:lnTo>
                  <a:lnTo>
                    <a:pt x="348" y="32"/>
                  </a:lnTo>
                  <a:lnTo>
                    <a:pt x="344" y="50"/>
                  </a:lnTo>
                  <a:lnTo>
                    <a:pt x="336" y="50"/>
                  </a:lnTo>
                  <a:lnTo>
                    <a:pt x="324" y="50"/>
                  </a:lnTo>
                  <a:lnTo>
                    <a:pt x="310" y="50"/>
                  </a:lnTo>
                  <a:lnTo>
                    <a:pt x="296" y="42"/>
                  </a:lnTo>
                  <a:lnTo>
                    <a:pt x="282" y="42"/>
                  </a:lnTo>
                  <a:lnTo>
                    <a:pt x="268" y="42"/>
                  </a:lnTo>
                  <a:lnTo>
                    <a:pt x="256" y="60"/>
                  </a:lnTo>
                  <a:lnTo>
                    <a:pt x="248" y="76"/>
                  </a:lnTo>
                  <a:lnTo>
                    <a:pt x="256" y="92"/>
                  </a:lnTo>
                  <a:lnTo>
                    <a:pt x="268" y="92"/>
                  </a:lnTo>
                  <a:lnTo>
                    <a:pt x="282" y="102"/>
                  </a:lnTo>
                  <a:lnTo>
                    <a:pt x="296" y="102"/>
                  </a:lnTo>
                  <a:lnTo>
                    <a:pt x="296" y="120"/>
                  </a:lnTo>
                  <a:lnTo>
                    <a:pt x="282" y="126"/>
                  </a:lnTo>
                  <a:lnTo>
                    <a:pt x="268" y="120"/>
                  </a:lnTo>
                  <a:lnTo>
                    <a:pt x="240" y="146"/>
                  </a:lnTo>
                  <a:lnTo>
                    <a:pt x="248" y="162"/>
                  </a:lnTo>
                  <a:lnTo>
                    <a:pt x="248" y="180"/>
                  </a:lnTo>
                  <a:lnTo>
                    <a:pt x="256" y="198"/>
                  </a:lnTo>
                  <a:lnTo>
                    <a:pt x="276" y="232"/>
                  </a:lnTo>
                  <a:lnTo>
                    <a:pt x="276" y="308"/>
                  </a:lnTo>
                  <a:lnTo>
                    <a:pt x="268" y="336"/>
                  </a:lnTo>
                  <a:lnTo>
                    <a:pt x="268" y="378"/>
                  </a:lnTo>
                  <a:lnTo>
                    <a:pt x="262" y="396"/>
                  </a:lnTo>
                  <a:lnTo>
                    <a:pt x="262" y="414"/>
                  </a:lnTo>
                  <a:lnTo>
                    <a:pt x="256" y="432"/>
                  </a:lnTo>
                  <a:lnTo>
                    <a:pt x="228" y="448"/>
                  </a:lnTo>
                  <a:lnTo>
                    <a:pt x="216" y="448"/>
                  </a:lnTo>
                  <a:lnTo>
                    <a:pt x="196" y="448"/>
                  </a:lnTo>
                  <a:lnTo>
                    <a:pt x="180" y="456"/>
                  </a:lnTo>
                  <a:lnTo>
                    <a:pt x="168" y="466"/>
                  </a:lnTo>
                  <a:lnTo>
                    <a:pt x="126" y="466"/>
                  </a:lnTo>
                  <a:lnTo>
                    <a:pt x="114" y="476"/>
                  </a:lnTo>
                  <a:lnTo>
                    <a:pt x="98" y="492"/>
                  </a:lnTo>
                  <a:lnTo>
                    <a:pt x="86" y="500"/>
                  </a:lnTo>
                  <a:lnTo>
                    <a:pt x="72" y="518"/>
                  </a:lnTo>
                  <a:lnTo>
                    <a:pt x="52" y="552"/>
                  </a:lnTo>
                  <a:lnTo>
                    <a:pt x="46" y="570"/>
                  </a:lnTo>
                  <a:lnTo>
                    <a:pt x="46" y="586"/>
                  </a:lnTo>
                  <a:lnTo>
                    <a:pt x="38" y="612"/>
                  </a:lnTo>
                  <a:lnTo>
                    <a:pt x="26" y="612"/>
                  </a:lnTo>
                  <a:lnTo>
                    <a:pt x="12" y="622"/>
                  </a:lnTo>
                  <a:lnTo>
                    <a:pt x="4" y="640"/>
                  </a:lnTo>
                  <a:lnTo>
                    <a:pt x="0" y="654"/>
                  </a:lnTo>
                  <a:lnTo>
                    <a:pt x="0" y="674"/>
                  </a:lnTo>
                  <a:lnTo>
                    <a:pt x="42" y="684"/>
                  </a:lnTo>
                  <a:lnTo>
                    <a:pt x="214" y="724"/>
                  </a:lnTo>
                  <a:lnTo>
                    <a:pt x="258" y="724"/>
                  </a:lnTo>
                  <a:lnTo>
                    <a:pt x="496" y="806"/>
                  </a:lnTo>
                  <a:lnTo>
                    <a:pt x="492" y="804"/>
                  </a:lnTo>
                  <a:lnTo>
                    <a:pt x="512" y="776"/>
                  </a:lnTo>
                  <a:lnTo>
                    <a:pt x="518" y="776"/>
                  </a:lnTo>
                  <a:lnTo>
                    <a:pt x="532" y="776"/>
                  </a:lnTo>
                  <a:lnTo>
                    <a:pt x="546" y="776"/>
                  </a:lnTo>
                  <a:lnTo>
                    <a:pt x="562" y="788"/>
                  </a:lnTo>
                  <a:lnTo>
                    <a:pt x="572" y="776"/>
                  </a:lnTo>
                  <a:lnTo>
                    <a:pt x="584" y="776"/>
                  </a:lnTo>
                  <a:lnTo>
                    <a:pt x="590" y="788"/>
                  </a:lnTo>
                  <a:lnTo>
                    <a:pt x="600" y="768"/>
                  </a:lnTo>
                  <a:lnTo>
                    <a:pt x="608" y="752"/>
                  </a:lnTo>
                  <a:lnTo>
                    <a:pt x="612" y="734"/>
                  </a:lnTo>
                  <a:lnTo>
                    <a:pt x="626" y="742"/>
                  </a:lnTo>
                  <a:lnTo>
                    <a:pt x="640" y="742"/>
                  </a:lnTo>
                  <a:lnTo>
                    <a:pt x="654" y="734"/>
                  </a:lnTo>
                  <a:lnTo>
                    <a:pt x="660" y="716"/>
                  </a:lnTo>
                  <a:lnTo>
                    <a:pt x="666" y="698"/>
                  </a:lnTo>
                  <a:lnTo>
                    <a:pt x="680" y="692"/>
                  </a:lnTo>
                  <a:lnTo>
                    <a:pt x="694" y="698"/>
                  </a:lnTo>
                  <a:lnTo>
                    <a:pt x="708" y="682"/>
                  </a:lnTo>
                  <a:lnTo>
                    <a:pt x="720" y="692"/>
                  </a:lnTo>
                  <a:lnTo>
                    <a:pt x="734" y="692"/>
                  </a:lnTo>
                  <a:lnTo>
                    <a:pt x="746" y="698"/>
                  </a:lnTo>
                  <a:lnTo>
                    <a:pt x="762" y="710"/>
                  </a:lnTo>
                  <a:lnTo>
                    <a:pt x="774" y="716"/>
                  </a:lnTo>
                  <a:lnTo>
                    <a:pt x="788" y="716"/>
                  </a:lnTo>
                  <a:lnTo>
                    <a:pt x="802" y="716"/>
                  </a:lnTo>
                  <a:lnTo>
                    <a:pt x="814" y="724"/>
                  </a:lnTo>
                  <a:lnTo>
                    <a:pt x="896" y="724"/>
                  </a:lnTo>
                  <a:lnTo>
                    <a:pt x="916" y="716"/>
                  </a:lnTo>
                  <a:lnTo>
                    <a:pt x="936" y="716"/>
                  </a:lnTo>
                  <a:lnTo>
                    <a:pt x="956" y="724"/>
                  </a:lnTo>
                  <a:lnTo>
                    <a:pt x="970" y="724"/>
                  </a:lnTo>
                  <a:lnTo>
                    <a:pt x="992" y="724"/>
                  </a:lnTo>
                  <a:lnTo>
                    <a:pt x="1012" y="716"/>
                  </a:lnTo>
                  <a:lnTo>
                    <a:pt x="1026" y="716"/>
                  </a:lnTo>
                  <a:lnTo>
                    <a:pt x="1032" y="710"/>
                  </a:lnTo>
                  <a:lnTo>
                    <a:pt x="1032" y="692"/>
                  </a:lnTo>
                  <a:lnTo>
                    <a:pt x="1054" y="640"/>
                  </a:lnTo>
                  <a:lnTo>
                    <a:pt x="1060" y="632"/>
                  </a:lnTo>
                  <a:lnTo>
                    <a:pt x="1038" y="594"/>
                  </a:lnTo>
                  <a:lnTo>
                    <a:pt x="1038" y="578"/>
                  </a:lnTo>
                  <a:lnTo>
                    <a:pt x="1160" y="286"/>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2" name="Freeform 90">
              <a:extLst>
                <a:ext uri="{FF2B5EF4-FFF2-40B4-BE49-F238E27FC236}">
                  <a16:creationId xmlns:a16="http://schemas.microsoft.com/office/drawing/2014/main" id="{DAE6C021-8B73-4492-A666-AB27F38CAC71}"/>
                </a:ext>
              </a:extLst>
            </p:cNvPr>
            <p:cNvSpPr>
              <a:spLocks/>
            </p:cNvSpPr>
            <p:nvPr/>
          </p:nvSpPr>
          <p:spPr bwMode="auto">
            <a:xfrm>
              <a:off x="3993244" y="3248399"/>
              <a:ext cx="185358" cy="146492"/>
            </a:xfrm>
            <a:custGeom>
              <a:avLst/>
              <a:gdLst>
                <a:gd name="T0" fmla="*/ 120 w 124"/>
                <a:gd name="T1" fmla="*/ 30 h 98"/>
                <a:gd name="T2" fmla="*/ 118 w 124"/>
                <a:gd name="T3" fmla="*/ 30 h 98"/>
                <a:gd name="T4" fmla="*/ 114 w 124"/>
                <a:gd name="T5" fmla="*/ 26 h 98"/>
                <a:gd name="T6" fmla="*/ 110 w 124"/>
                <a:gd name="T7" fmla="*/ 24 h 98"/>
                <a:gd name="T8" fmla="*/ 104 w 124"/>
                <a:gd name="T9" fmla="*/ 20 h 98"/>
                <a:gd name="T10" fmla="*/ 96 w 124"/>
                <a:gd name="T11" fmla="*/ 16 h 98"/>
                <a:gd name="T12" fmla="*/ 90 w 124"/>
                <a:gd name="T13" fmla="*/ 12 h 98"/>
                <a:gd name="T14" fmla="*/ 84 w 124"/>
                <a:gd name="T15" fmla="*/ 8 h 98"/>
                <a:gd name="T16" fmla="*/ 78 w 124"/>
                <a:gd name="T17" fmla="*/ 8 h 98"/>
                <a:gd name="T18" fmla="*/ 76 w 124"/>
                <a:gd name="T19" fmla="*/ 8 h 98"/>
                <a:gd name="T20" fmla="*/ 74 w 124"/>
                <a:gd name="T21" fmla="*/ 8 h 98"/>
                <a:gd name="T22" fmla="*/ 72 w 124"/>
                <a:gd name="T23" fmla="*/ 8 h 98"/>
                <a:gd name="T24" fmla="*/ 70 w 124"/>
                <a:gd name="T25" fmla="*/ 10 h 98"/>
                <a:gd name="T26" fmla="*/ 66 w 124"/>
                <a:gd name="T27" fmla="*/ 10 h 98"/>
                <a:gd name="T28" fmla="*/ 64 w 124"/>
                <a:gd name="T29" fmla="*/ 12 h 98"/>
                <a:gd name="T30" fmla="*/ 60 w 124"/>
                <a:gd name="T31" fmla="*/ 12 h 98"/>
                <a:gd name="T32" fmla="*/ 58 w 124"/>
                <a:gd name="T33" fmla="*/ 12 h 98"/>
                <a:gd name="T34" fmla="*/ 54 w 124"/>
                <a:gd name="T35" fmla="*/ 12 h 98"/>
                <a:gd name="T36" fmla="*/ 48 w 124"/>
                <a:gd name="T37" fmla="*/ 10 h 98"/>
                <a:gd name="T38" fmla="*/ 44 w 124"/>
                <a:gd name="T39" fmla="*/ 8 h 98"/>
                <a:gd name="T40" fmla="*/ 40 w 124"/>
                <a:gd name="T41" fmla="*/ 6 h 98"/>
                <a:gd name="T42" fmla="*/ 36 w 124"/>
                <a:gd name="T43" fmla="*/ 4 h 98"/>
                <a:gd name="T44" fmla="*/ 32 w 124"/>
                <a:gd name="T45" fmla="*/ 2 h 98"/>
                <a:gd name="T46" fmla="*/ 30 w 124"/>
                <a:gd name="T47" fmla="*/ 2 h 98"/>
                <a:gd name="T48" fmla="*/ 28 w 124"/>
                <a:gd name="T49" fmla="*/ 0 h 98"/>
                <a:gd name="T50" fmla="*/ 22 w 124"/>
                <a:gd name="T51" fmla="*/ 28 h 98"/>
                <a:gd name="T52" fmla="*/ 0 w 124"/>
                <a:gd name="T53" fmla="*/ 46 h 98"/>
                <a:gd name="T54" fmla="*/ 8 w 124"/>
                <a:gd name="T55" fmla="*/ 82 h 98"/>
                <a:gd name="T56" fmla="*/ 34 w 124"/>
                <a:gd name="T57" fmla="*/ 98 h 98"/>
                <a:gd name="T58" fmla="*/ 52 w 124"/>
                <a:gd name="T59" fmla="*/ 98 h 98"/>
                <a:gd name="T60" fmla="*/ 62 w 124"/>
                <a:gd name="T61" fmla="*/ 82 h 98"/>
                <a:gd name="T62" fmla="*/ 90 w 124"/>
                <a:gd name="T63" fmla="*/ 50 h 98"/>
                <a:gd name="T64" fmla="*/ 112 w 124"/>
                <a:gd name="T65" fmla="*/ 40 h 98"/>
                <a:gd name="T66" fmla="*/ 124 w 124"/>
                <a:gd name="T67"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 h="98">
                  <a:moveTo>
                    <a:pt x="124" y="28"/>
                  </a:moveTo>
                  <a:lnTo>
                    <a:pt x="120" y="30"/>
                  </a:lnTo>
                  <a:lnTo>
                    <a:pt x="118" y="30"/>
                  </a:lnTo>
                  <a:lnTo>
                    <a:pt x="118" y="30"/>
                  </a:lnTo>
                  <a:lnTo>
                    <a:pt x="116" y="28"/>
                  </a:lnTo>
                  <a:lnTo>
                    <a:pt x="114" y="26"/>
                  </a:lnTo>
                  <a:lnTo>
                    <a:pt x="112" y="26"/>
                  </a:lnTo>
                  <a:lnTo>
                    <a:pt x="110" y="24"/>
                  </a:lnTo>
                  <a:lnTo>
                    <a:pt x="106" y="22"/>
                  </a:lnTo>
                  <a:lnTo>
                    <a:pt x="104" y="20"/>
                  </a:lnTo>
                  <a:lnTo>
                    <a:pt x="100" y="18"/>
                  </a:lnTo>
                  <a:lnTo>
                    <a:pt x="96" y="16"/>
                  </a:lnTo>
                  <a:lnTo>
                    <a:pt x="92" y="14"/>
                  </a:lnTo>
                  <a:lnTo>
                    <a:pt x="90" y="12"/>
                  </a:lnTo>
                  <a:lnTo>
                    <a:pt x="86" y="10"/>
                  </a:lnTo>
                  <a:lnTo>
                    <a:pt x="84" y="8"/>
                  </a:lnTo>
                  <a:lnTo>
                    <a:pt x="80" y="8"/>
                  </a:lnTo>
                  <a:lnTo>
                    <a:pt x="78" y="8"/>
                  </a:lnTo>
                  <a:lnTo>
                    <a:pt x="78" y="8"/>
                  </a:lnTo>
                  <a:lnTo>
                    <a:pt x="76" y="8"/>
                  </a:lnTo>
                  <a:lnTo>
                    <a:pt x="76" y="8"/>
                  </a:lnTo>
                  <a:lnTo>
                    <a:pt x="74" y="8"/>
                  </a:lnTo>
                  <a:lnTo>
                    <a:pt x="74" y="8"/>
                  </a:lnTo>
                  <a:lnTo>
                    <a:pt x="72" y="8"/>
                  </a:lnTo>
                  <a:lnTo>
                    <a:pt x="70" y="10"/>
                  </a:lnTo>
                  <a:lnTo>
                    <a:pt x="70" y="10"/>
                  </a:lnTo>
                  <a:lnTo>
                    <a:pt x="68" y="10"/>
                  </a:lnTo>
                  <a:lnTo>
                    <a:pt x="66" y="10"/>
                  </a:lnTo>
                  <a:lnTo>
                    <a:pt x="64" y="12"/>
                  </a:lnTo>
                  <a:lnTo>
                    <a:pt x="64" y="12"/>
                  </a:lnTo>
                  <a:lnTo>
                    <a:pt x="62" y="12"/>
                  </a:lnTo>
                  <a:lnTo>
                    <a:pt x="60" y="12"/>
                  </a:lnTo>
                  <a:lnTo>
                    <a:pt x="60" y="12"/>
                  </a:lnTo>
                  <a:lnTo>
                    <a:pt x="58" y="12"/>
                  </a:lnTo>
                  <a:lnTo>
                    <a:pt x="56" y="12"/>
                  </a:lnTo>
                  <a:lnTo>
                    <a:pt x="54" y="12"/>
                  </a:lnTo>
                  <a:lnTo>
                    <a:pt x="52" y="10"/>
                  </a:lnTo>
                  <a:lnTo>
                    <a:pt x="48" y="10"/>
                  </a:lnTo>
                  <a:lnTo>
                    <a:pt x="46" y="8"/>
                  </a:lnTo>
                  <a:lnTo>
                    <a:pt x="44" y="8"/>
                  </a:lnTo>
                  <a:lnTo>
                    <a:pt x="42" y="6"/>
                  </a:lnTo>
                  <a:lnTo>
                    <a:pt x="40" y="6"/>
                  </a:lnTo>
                  <a:lnTo>
                    <a:pt x="38" y="4"/>
                  </a:lnTo>
                  <a:lnTo>
                    <a:pt x="36" y="4"/>
                  </a:lnTo>
                  <a:lnTo>
                    <a:pt x="34" y="2"/>
                  </a:lnTo>
                  <a:lnTo>
                    <a:pt x="32" y="2"/>
                  </a:lnTo>
                  <a:lnTo>
                    <a:pt x="32" y="2"/>
                  </a:lnTo>
                  <a:lnTo>
                    <a:pt x="30" y="2"/>
                  </a:lnTo>
                  <a:lnTo>
                    <a:pt x="30" y="0"/>
                  </a:lnTo>
                  <a:lnTo>
                    <a:pt x="28" y="0"/>
                  </a:lnTo>
                  <a:lnTo>
                    <a:pt x="28" y="12"/>
                  </a:lnTo>
                  <a:lnTo>
                    <a:pt x="22" y="28"/>
                  </a:lnTo>
                  <a:lnTo>
                    <a:pt x="14" y="46"/>
                  </a:lnTo>
                  <a:lnTo>
                    <a:pt x="0" y="46"/>
                  </a:lnTo>
                  <a:lnTo>
                    <a:pt x="0" y="62"/>
                  </a:lnTo>
                  <a:lnTo>
                    <a:pt x="8" y="82"/>
                  </a:lnTo>
                  <a:lnTo>
                    <a:pt x="22" y="90"/>
                  </a:lnTo>
                  <a:lnTo>
                    <a:pt x="34" y="98"/>
                  </a:lnTo>
                  <a:lnTo>
                    <a:pt x="48" y="98"/>
                  </a:lnTo>
                  <a:lnTo>
                    <a:pt x="52" y="98"/>
                  </a:lnTo>
                  <a:lnTo>
                    <a:pt x="56" y="98"/>
                  </a:lnTo>
                  <a:lnTo>
                    <a:pt x="62" y="82"/>
                  </a:lnTo>
                  <a:lnTo>
                    <a:pt x="78" y="62"/>
                  </a:lnTo>
                  <a:lnTo>
                    <a:pt x="90" y="50"/>
                  </a:lnTo>
                  <a:lnTo>
                    <a:pt x="104" y="46"/>
                  </a:lnTo>
                  <a:lnTo>
                    <a:pt x="112" y="40"/>
                  </a:lnTo>
                  <a:lnTo>
                    <a:pt x="110" y="38"/>
                  </a:lnTo>
                  <a:lnTo>
                    <a:pt x="124" y="28"/>
                  </a:lnTo>
                  <a:lnTo>
                    <a:pt x="124" y="28"/>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3" name="Freeform 91">
              <a:extLst>
                <a:ext uri="{FF2B5EF4-FFF2-40B4-BE49-F238E27FC236}">
                  <a16:creationId xmlns:a16="http://schemas.microsoft.com/office/drawing/2014/main" id="{0CDAED75-6B9B-451A-B029-06FC48C30345}"/>
                </a:ext>
              </a:extLst>
            </p:cNvPr>
            <p:cNvSpPr>
              <a:spLocks/>
            </p:cNvSpPr>
            <p:nvPr/>
          </p:nvSpPr>
          <p:spPr bwMode="auto">
            <a:xfrm>
              <a:off x="2531310" y="3469632"/>
              <a:ext cx="708545" cy="681638"/>
            </a:xfrm>
            <a:custGeom>
              <a:avLst/>
              <a:gdLst>
                <a:gd name="T0" fmla="*/ 386 w 474"/>
                <a:gd name="T1" fmla="*/ 286 h 456"/>
                <a:gd name="T2" fmla="*/ 366 w 474"/>
                <a:gd name="T3" fmla="*/ 252 h 456"/>
                <a:gd name="T4" fmla="*/ 386 w 474"/>
                <a:gd name="T5" fmla="*/ 216 h 456"/>
                <a:gd name="T6" fmla="*/ 412 w 474"/>
                <a:gd name="T7" fmla="*/ 198 h 456"/>
                <a:gd name="T8" fmla="*/ 412 w 474"/>
                <a:gd name="T9" fmla="*/ 166 h 456"/>
                <a:gd name="T10" fmla="*/ 426 w 474"/>
                <a:gd name="T11" fmla="*/ 148 h 456"/>
                <a:gd name="T12" fmla="*/ 454 w 474"/>
                <a:gd name="T13" fmla="*/ 156 h 456"/>
                <a:gd name="T14" fmla="*/ 454 w 474"/>
                <a:gd name="T15" fmla="*/ 156 h 456"/>
                <a:gd name="T16" fmla="*/ 474 w 474"/>
                <a:gd name="T17" fmla="*/ 132 h 456"/>
                <a:gd name="T18" fmla="*/ 462 w 474"/>
                <a:gd name="T19" fmla="*/ 104 h 456"/>
                <a:gd name="T20" fmla="*/ 446 w 474"/>
                <a:gd name="T21" fmla="*/ 80 h 456"/>
                <a:gd name="T22" fmla="*/ 446 w 474"/>
                <a:gd name="T23" fmla="*/ 66 h 456"/>
                <a:gd name="T24" fmla="*/ 364 w 474"/>
                <a:gd name="T25" fmla="*/ 46 h 456"/>
                <a:gd name="T26" fmla="*/ 288 w 474"/>
                <a:gd name="T27" fmla="*/ 54 h 456"/>
                <a:gd name="T28" fmla="*/ 254 w 474"/>
                <a:gd name="T29" fmla="*/ 28 h 456"/>
                <a:gd name="T30" fmla="*/ 170 w 474"/>
                <a:gd name="T31" fmla="*/ 12 h 456"/>
                <a:gd name="T32" fmla="*/ 168 w 474"/>
                <a:gd name="T33" fmla="*/ 26 h 456"/>
                <a:gd name="T34" fmla="*/ 162 w 474"/>
                <a:gd name="T35" fmla="*/ 62 h 456"/>
                <a:gd name="T36" fmla="*/ 148 w 474"/>
                <a:gd name="T37" fmla="*/ 96 h 456"/>
                <a:gd name="T38" fmla="*/ 142 w 474"/>
                <a:gd name="T39" fmla="*/ 132 h 456"/>
                <a:gd name="T40" fmla="*/ 120 w 474"/>
                <a:gd name="T41" fmla="*/ 148 h 456"/>
                <a:gd name="T42" fmla="*/ 96 w 474"/>
                <a:gd name="T43" fmla="*/ 174 h 456"/>
                <a:gd name="T44" fmla="*/ 82 w 474"/>
                <a:gd name="T45" fmla="*/ 200 h 456"/>
                <a:gd name="T46" fmla="*/ 54 w 474"/>
                <a:gd name="T47" fmla="*/ 208 h 456"/>
                <a:gd name="T48" fmla="*/ 40 w 474"/>
                <a:gd name="T49" fmla="*/ 244 h 456"/>
                <a:gd name="T50" fmla="*/ 20 w 474"/>
                <a:gd name="T51" fmla="*/ 278 h 456"/>
                <a:gd name="T52" fmla="*/ 0 w 474"/>
                <a:gd name="T53" fmla="*/ 312 h 456"/>
                <a:gd name="T54" fmla="*/ 0 w 474"/>
                <a:gd name="T55" fmla="*/ 346 h 456"/>
                <a:gd name="T56" fmla="*/ 0 w 474"/>
                <a:gd name="T57" fmla="*/ 356 h 456"/>
                <a:gd name="T58" fmla="*/ 28 w 474"/>
                <a:gd name="T59" fmla="*/ 382 h 456"/>
                <a:gd name="T60" fmla="*/ 56 w 474"/>
                <a:gd name="T61" fmla="*/ 390 h 456"/>
                <a:gd name="T62" fmla="*/ 84 w 474"/>
                <a:gd name="T63" fmla="*/ 416 h 456"/>
                <a:gd name="T64" fmla="*/ 110 w 474"/>
                <a:gd name="T65" fmla="*/ 416 h 456"/>
                <a:gd name="T66" fmla="*/ 136 w 474"/>
                <a:gd name="T67" fmla="*/ 426 h 456"/>
                <a:gd name="T68" fmla="*/ 138 w 474"/>
                <a:gd name="T69" fmla="*/ 456 h 456"/>
                <a:gd name="T70" fmla="*/ 154 w 474"/>
                <a:gd name="T71" fmla="*/ 440 h 456"/>
                <a:gd name="T72" fmla="*/ 168 w 474"/>
                <a:gd name="T73" fmla="*/ 408 h 456"/>
                <a:gd name="T74" fmla="*/ 196 w 474"/>
                <a:gd name="T75" fmla="*/ 392 h 456"/>
                <a:gd name="T76" fmla="*/ 224 w 474"/>
                <a:gd name="T77" fmla="*/ 382 h 456"/>
                <a:gd name="T78" fmla="*/ 250 w 474"/>
                <a:gd name="T79" fmla="*/ 392 h 456"/>
                <a:gd name="T80" fmla="*/ 278 w 474"/>
                <a:gd name="T81" fmla="*/ 382 h 456"/>
                <a:gd name="T82" fmla="*/ 304 w 474"/>
                <a:gd name="T83" fmla="*/ 382 h 456"/>
                <a:gd name="T84" fmla="*/ 352 w 474"/>
                <a:gd name="T85" fmla="*/ 372 h 456"/>
                <a:gd name="T86" fmla="*/ 372 w 474"/>
                <a:gd name="T87" fmla="*/ 346 h 456"/>
                <a:gd name="T88" fmla="*/ 366 w 474"/>
                <a:gd name="T89" fmla="*/ 32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4" h="456">
                  <a:moveTo>
                    <a:pt x="372" y="304"/>
                  </a:moveTo>
                  <a:lnTo>
                    <a:pt x="386" y="286"/>
                  </a:lnTo>
                  <a:lnTo>
                    <a:pt x="372" y="268"/>
                  </a:lnTo>
                  <a:lnTo>
                    <a:pt x="366" y="252"/>
                  </a:lnTo>
                  <a:lnTo>
                    <a:pt x="372" y="234"/>
                  </a:lnTo>
                  <a:lnTo>
                    <a:pt x="386" y="216"/>
                  </a:lnTo>
                  <a:lnTo>
                    <a:pt x="400" y="216"/>
                  </a:lnTo>
                  <a:lnTo>
                    <a:pt x="412" y="198"/>
                  </a:lnTo>
                  <a:lnTo>
                    <a:pt x="412" y="182"/>
                  </a:lnTo>
                  <a:lnTo>
                    <a:pt x="412" y="166"/>
                  </a:lnTo>
                  <a:lnTo>
                    <a:pt x="426" y="166"/>
                  </a:lnTo>
                  <a:lnTo>
                    <a:pt x="426" y="148"/>
                  </a:lnTo>
                  <a:lnTo>
                    <a:pt x="440" y="148"/>
                  </a:lnTo>
                  <a:lnTo>
                    <a:pt x="454" y="156"/>
                  </a:lnTo>
                  <a:lnTo>
                    <a:pt x="454" y="156"/>
                  </a:lnTo>
                  <a:lnTo>
                    <a:pt x="454" y="156"/>
                  </a:lnTo>
                  <a:lnTo>
                    <a:pt x="468" y="150"/>
                  </a:lnTo>
                  <a:lnTo>
                    <a:pt x="474" y="132"/>
                  </a:lnTo>
                  <a:lnTo>
                    <a:pt x="474" y="114"/>
                  </a:lnTo>
                  <a:lnTo>
                    <a:pt x="462" y="104"/>
                  </a:lnTo>
                  <a:lnTo>
                    <a:pt x="446" y="96"/>
                  </a:lnTo>
                  <a:lnTo>
                    <a:pt x="446" y="80"/>
                  </a:lnTo>
                  <a:lnTo>
                    <a:pt x="446" y="66"/>
                  </a:lnTo>
                  <a:lnTo>
                    <a:pt x="446" y="66"/>
                  </a:lnTo>
                  <a:lnTo>
                    <a:pt x="406" y="42"/>
                  </a:lnTo>
                  <a:lnTo>
                    <a:pt x="364" y="46"/>
                  </a:lnTo>
                  <a:lnTo>
                    <a:pt x="320" y="28"/>
                  </a:lnTo>
                  <a:lnTo>
                    <a:pt x="288" y="54"/>
                  </a:lnTo>
                  <a:lnTo>
                    <a:pt x="284" y="0"/>
                  </a:lnTo>
                  <a:lnTo>
                    <a:pt x="254" y="28"/>
                  </a:lnTo>
                  <a:lnTo>
                    <a:pt x="206" y="12"/>
                  </a:lnTo>
                  <a:lnTo>
                    <a:pt x="170" y="12"/>
                  </a:lnTo>
                  <a:lnTo>
                    <a:pt x="168" y="12"/>
                  </a:lnTo>
                  <a:lnTo>
                    <a:pt x="168" y="26"/>
                  </a:lnTo>
                  <a:lnTo>
                    <a:pt x="162" y="44"/>
                  </a:lnTo>
                  <a:lnTo>
                    <a:pt x="162" y="62"/>
                  </a:lnTo>
                  <a:lnTo>
                    <a:pt x="162" y="80"/>
                  </a:lnTo>
                  <a:lnTo>
                    <a:pt x="148" y="96"/>
                  </a:lnTo>
                  <a:lnTo>
                    <a:pt x="142" y="114"/>
                  </a:lnTo>
                  <a:lnTo>
                    <a:pt x="142" y="132"/>
                  </a:lnTo>
                  <a:lnTo>
                    <a:pt x="136" y="148"/>
                  </a:lnTo>
                  <a:lnTo>
                    <a:pt x="120" y="148"/>
                  </a:lnTo>
                  <a:lnTo>
                    <a:pt x="108" y="156"/>
                  </a:lnTo>
                  <a:lnTo>
                    <a:pt x="96" y="174"/>
                  </a:lnTo>
                  <a:lnTo>
                    <a:pt x="96" y="190"/>
                  </a:lnTo>
                  <a:lnTo>
                    <a:pt x="82" y="200"/>
                  </a:lnTo>
                  <a:lnTo>
                    <a:pt x="68" y="208"/>
                  </a:lnTo>
                  <a:lnTo>
                    <a:pt x="54" y="208"/>
                  </a:lnTo>
                  <a:lnTo>
                    <a:pt x="48" y="226"/>
                  </a:lnTo>
                  <a:lnTo>
                    <a:pt x="40" y="244"/>
                  </a:lnTo>
                  <a:lnTo>
                    <a:pt x="26" y="260"/>
                  </a:lnTo>
                  <a:lnTo>
                    <a:pt x="20" y="278"/>
                  </a:lnTo>
                  <a:lnTo>
                    <a:pt x="6" y="296"/>
                  </a:lnTo>
                  <a:lnTo>
                    <a:pt x="0" y="312"/>
                  </a:lnTo>
                  <a:lnTo>
                    <a:pt x="6" y="330"/>
                  </a:lnTo>
                  <a:lnTo>
                    <a:pt x="0" y="346"/>
                  </a:lnTo>
                  <a:lnTo>
                    <a:pt x="0" y="346"/>
                  </a:lnTo>
                  <a:lnTo>
                    <a:pt x="0" y="356"/>
                  </a:lnTo>
                  <a:lnTo>
                    <a:pt x="14" y="372"/>
                  </a:lnTo>
                  <a:lnTo>
                    <a:pt x="28" y="382"/>
                  </a:lnTo>
                  <a:lnTo>
                    <a:pt x="40" y="390"/>
                  </a:lnTo>
                  <a:lnTo>
                    <a:pt x="56" y="390"/>
                  </a:lnTo>
                  <a:lnTo>
                    <a:pt x="68" y="400"/>
                  </a:lnTo>
                  <a:lnTo>
                    <a:pt x="84" y="416"/>
                  </a:lnTo>
                  <a:lnTo>
                    <a:pt x="98" y="416"/>
                  </a:lnTo>
                  <a:lnTo>
                    <a:pt x="110" y="416"/>
                  </a:lnTo>
                  <a:lnTo>
                    <a:pt x="122" y="416"/>
                  </a:lnTo>
                  <a:lnTo>
                    <a:pt x="136" y="426"/>
                  </a:lnTo>
                  <a:lnTo>
                    <a:pt x="146" y="442"/>
                  </a:lnTo>
                  <a:lnTo>
                    <a:pt x="138" y="456"/>
                  </a:lnTo>
                  <a:lnTo>
                    <a:pt x="142" y="450"/>
                  </a:lnTo>
                  <a:lnTo>
                    <a:pt x="154" y="440"/>
                  </a:lnTo>
                  <a:lnTo>
                    <a:pt x="154" y="424"/>
                  </a:lnTo>
                  <a:lnTo>
                    <a:pt x="168" y="408"/>
                  </a:lnTo>
                  <a:lnTo>
                    <a:pt x="182" y="398"/>
                  </a:lnTo>
                  <a:lnTo>
                    <a:pt x="196" y="392"/>
                  </a:lnTo>
                  <a:lnTo>
                    <a:pt x="210" y="382"/>
                  </a:lnTo>
                  <a:lnTo>
                    <a:pt x="224" y="382"/>
                  </a:lnTo>
                  <a:lnTo>
                    <a:pt x="236" y="382"/>
                  </a:lnTo>
                  <a:lnTo>
                    <a:pt x="250" y="392"/>
                  </a:lnTo>
                  <a:lnTo>
                    <a:pt x="264" y="382"/>
                  </a:lnTo>
                  <a:lnTo>
                    <a:pt x="278" y="382"/>
                  </a:lnTo>
                  <a:lnTo>
                    <a:pt x="290" y="372"/>
                  </a:lnTo>
                  <a:lnTo>
                    <a:pt x="304" y="382"/>
                  </a:lnTo>
                  <a:lnTo>
                    <a:pt x="330" y="372"/>
                  </a:lnTo>
                  <a:lnTo>
                    <a:pt x="352" y="372"/>
                  </a:lnTo>
                  <a:lnTo>
                    <a:pt x="366" y="364"/>
                  </a:lnTo>
                  <a:lnTo>
                    <a:pt x="372" y="346"/>
                  </a:lnTo>
                  <a:lnTo>
                    <a:pt x="380" y="330"/>
                  </a:lnTo>
                  <a:lnTo>
                    <a:pt x="366" y="320"/>
                  </a:lnTo>
                  <a:lnTo>
                    <a:pt x="372" y="304"/>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4" name="Freeform 50">
              <a:extLst>
                <a:ext uri="{FF2B5EF4-FFF2-40B4-BE49-F238E27FC236}">
                  <a16:creationId xmlns:a16="http://schemas.microsoft.com/office/drawing/2014/main" id="{BC7A3822-67E0-4DF8-BEEB-FA99DEF7181D}"/>
                </a:ext>
              </a:extLst>
            </p:cNvPr>
            <p:cNvSpPr>
              <a:spLocks/>
            </p:cNvSpPr>
            <p:nvPr/>
          </p:nvSpPr>
          <p:spPr bwMode="auto">
            <a:xfrm>
              <a:off x="2369869" y="1795434"/>
              <a:ext cx="484322" cy="529166"/>
            </a:xfrm>
            <a:custGeom>
              <a:avLst/>
              <a:gdLst>
                <a:gd name="T0" fmla="*/ 8 w 324"/>
                <a:gd name="T1" fmla="*/ 126 h 354"/>
                <a:gd name="T2" fmla="*/ 34 w 324"/>
                <a:gd name="T3" fmla="*/ 134 h 354"/>
                <a:gd name="T4" fmla="*/ 62 w 324"/>
                <a:gd name="T5" fmla="*/ 134 h 354"/>
                <a:gd name="T6" fmla="*/ 88 w 324"/>
                <a:gd name="T7" fmla="*/ 126 h 354"/>
                <a:gd name="T8" fmla="*/ 116 w 324"/>
                <a:gd name="T9" fmla="*/ 134 h 354"/>
                <a:gd name="T10" fmla="*/ 142 w 324"/>
                <a:gd name="T11" fmla="*/ 126 h 354"/>
                <a:gd name="T12" fmla="*/ 160 w 324"/>
                <a:gd name="T13" fmla="*/ 110 h 354"/>
                <a:gd name="T14" fmla="*/ 176 w 324"/>
                <a:gd name="T15" fmla="*/ 74 h 354"/>
                <a:gd name="T16" fmla="*/ 184 w 324"/>
                <a:gd name="T17" fmla="*/ 42 h 354"/>
                <a:gd name="T18" fmla="*/ 210 w 324"/>
                <a:gd name="T19" fmla="*/ 24 h 354"/>
                <a:gd name="T20" fmla="*/ 220 w 324"/>
                <a:gd name="T21" fmla="*/ 0 h 354"/>
                <a:gd name="T22" fmla="*/ 244 w 324"/>
                <a:gd name="T23" fmla="*/ 24 h 354"/>
                <a:gd name="T24" fmla="*/ 256 w 324"/>
                <a:gd name="T25" fmla="*/ 58 h 354"/>
                <a:gd name="T26" fmla="*/ 256 w 324"/>
                <a:gd name="T27" fmla="*/ 92 h 354"/>
                <a:gd name="T28" fmla="*/ 270 w 324"/>
                <a:gd name="T29" fmla="*/ 126 h 354"/>
                <a:gd name="T30" fmla="*/ 290 w 324"/>
                <a:gd name="T31" fmla="*/ 160 h 354"/>
                <a:gd name="T32" fmla="*/ 316 w 324"/>
                <a:gd name="T33" fmla="*/ 170 h 354"/>
                <a:gd name="T34" fmla="*/ 316 w 324"/>
                <a:gd name="T35" fmla="*/ 206 h 354"/>
                <a:gd name="T36" fmla="*/ 304 w 324"/>
                <a:gd name="T37" fmla="*/ 230 h 354"/>
                <a:gd name="T38" fmla="*/ 276 w 324"/>
                <a:gd name="T39" fmla="*/ 254 h 354"/>
                <a:gd name="T40" fmla="*/ 250 w 324"/>
                <a:gd name="T41" fmla="*/ 282 h 354"/>
                <a:gd name="T42" fmla="*/ 228 w 324"/>
                <a:gd name="T43" fmla="*/ 308 h 354"/>
                <a:gd name="T44" fmla="*/ 216 w 324"/>
                <a:gd name="T45" fmla="*/ 334 h 354"/>
                <a:gd name="T46" fmla="*/ 188 w 324"/>
                <a:gd name="T47" fmla="*/ 354 h 354"/>
                <a:gd name="T48" fmla="*/ 160 w 324"/>
                <a:gd name="T49" fmla="*/ 334 h 354"/>
                <a:gd name="T50" fmla="*/ 148 w 324"/>
                <a:gd name="T51" fmla="*/ 298 h 354"/>
                <a:gd name="T52" fmla="*/ 120 w 324"/>
                <a:gd name="T53" fmla="*/ 274 h 354"/>
                <a:gd name="T54" fmla="*/ 120 w 324"/>
                <a:gd name="T55" fmla="*/ 238 h 354"/>
                <a:gd name="T56" fmla="*/ 94 w 324"/>
                <a:gd name="T57" fmla="*/ 214 h 354"/>
                <a:gd name="T58" fmla="*/ 76 w 324"/>
                <a:gd name="T59" fmla="*/ 196 h 354"/>
                <a:gd name="T60" fmla="*/ 54 w 324"/>
                <a:gd name="T61" fmla="*/ 176 h 354"/>
                <a:gd name="T62" fmla="*/ 28 w 324"/>
                <a:gd name="T63" fmla="*/ 160 h 354"/>
                <a:gd name="T64" fmla="*/ 14 w 324"/>
                <a:gd name="T65" fmla="*/ 144 h 354"/>
                <a:gd name="T66" fmla="*/ 0 w 324"/>
                <a:gd name="T67" fmla="*/ 12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4" h="354">
                  <a:moveTo>
                    <a:pt x="0" y="126"/>
                  </a:moveTo>
                  <a:lnTo>
                    <a:pt x="8" y="126"/>
                  </a:lnTo>
                  <a:lnTo>
                    <a:pt x="20" y="126"/>
                  </a:lnTo>
                  <a:lnTo>
                    <a:pt x="34" y="134"/>
                  </a:lnTo>
                  <a:lnTo>
                    <a:pt x="48" y="134"/>
                  </a:lnTo>
                  <a:lnTo>
                    <a:pt x="62" y="134"/>
                  </a:lnTo>
                  <a:lnTo>
                    <a:pt x="76" y="126"/>
                  </a:lnTo>
                  <a:lnTo>
                    <a:pt x="88" y="126"/>
                  </a:lnTo>
                  <a:lnTo>
                    <a:pt x="102" y="126"/>
                  </a:lnTo>
                  <a:lnTo>
                    <a:pt x="116" y="134"/>
                  </a:lnTo>
                  <a:lnTo>
                    <a:pt x="130" y="134"/>
                  </a:lnTo>
                  <a:lnTo>
                    <a:pt x="142" y="126"/>
                  </a:lnTo>
                  <a:lnTo>
                    <a:pt x="156" y="126"/>
                  </a:lnTo>
                  <a:lnTo>
                    <a:pt x="160" y="110"/>
                  </a:lnTo>
                  <a:lnTo>
                    <a:pt x="170" y="92"/>
                  </a:lnTo>
                  <a:lnTo>
                    <a:pt x="176" y="74"/>
                  </a:lnTo>
                  <a:lnTo>
                    <a:pt x="184" y="58"/>
                  </a:lnTo>
                  <a:lnTo>
                    <a:pt x="184" y="42"/>
                  </a:lnTo>
                  <a:lnTo>
                    <a:pt x="196" y="24"/>
                  </a:lnTo>
                  <a:lnTo>
                    <a:pt x="210" y="24"/>
                  </a:lnTo>
                  <a:lnTo>
                    <a:pt x="210" y="6"/>
                  </a:lnTo>
                  <a:lnTo>
                    <a:pt x="220" y="0"/>
                  </a:lnTo>
                  <a:lnTo>
                    <a:pt x="238" y="6"/>
                  </a:lnTo>
                  <a:lnTo>
                    <a:pt x="244" y="24"/>
                  </a:lnTo>
                  <a:lnTo>
                    <a:pt x="250" y="42"/>
                  </a:lnTo>
                  <a:lnTo>
                    <a:pt x="256" y="58"/>
                  </a:lnTo>
                  <a:lnTo>
                    <a:pt x="256" y="74"/>
                  </a:lnTo>
                  <a:lnTo>
                    <a:pt x="256" y="92"/>
                  </a:lnTo>
                  <a:lnTo>
                    <a:pt x="262" y="110"/>
                  </a:lnTo>
                  <a:lnTo>
                    <a:pt x="270" y="126"/>
                  </a:lnTo>
                  <a:lnTo>
                    <a:pt x="276" y="144"/>
                  </a:lnTo>
                  <a:lnTo>
                    <a:pt x="290" y="160"/>
                  </a:lnTo>
                  <a:lnTo>
                    <a:pt x="304" y="160"/>
                  </a:lnTo>
                  <a:lnTo>
                    <a:pt x="316" y="170"/>
                  </a:lnTo>
                  <a:lnTo>
                    <a:pt x="324" y="188"/>
                  </a:lnTo>
                  <a:lnTo>
                    <a:pt x="316" y="206"/>
                  </a:lnTo>
                  <a:lnTo>
                    <a:pt x="316" y="222"/>
                  </a:lnTo>
                  <a:lnTo>
                    <a:pt x="304" y="230"/>
                  </a:lnTo>
                  <a:lnTo>
                    <a:pt x="290" y="238"/>
                  </a:lnTo>
                  <a:lnTo>
                    <a:pt x="276" y="254"/>
                  </a:lnTo>
                  <a:lnTo>
                    <a:pt x="262" y="274"/>
                  </a:lnTo>
                  <a:lnTo>
                    <a:pt x="250" y="282"/>
                  </a:lnTo>
                  <a:lnTo>
                    <a:pt x="244" y="298"/>
                  </a:lnTo>
                  <a:lnTo>
                    <a:pt x="228" y="308"/>
                  </a:lnTo>
                  <a:lnTo>
                    <a:pt x="216" y="316"/>
                  </a:lnTo>
                  <a:lnTo>
                    <a:pt x="216" y="334"/>
                  </a:lnTo>
                  <a:lnTo>
                    <a:pt x="202" y="342"/>
                  </a:lnTo>
                  <a:lnTo>
                    <a:pt x="188" y="354"/>
                  </a:lnTo>
                  <a:lnTo>
                    <a:pt x="176" y="354"/>
                  </a:lnTo>
                  <a:lnTo>
                    <a:pt x="160" y="334"/>
                  </a:lnTo>
                  <a:lnTo>
                    <a:pt x="156" y="316"/>
                  </a:lnTo>
                  <a:lnTo>
                    <a:pt x="148" y="298"/>
                  </a:lnTo>
                  <a:lnTo>
                    <a:pt x="136" y="290"/>
                  </a:lnTo>
                  <a:lnTo>
                    <a:pt x="120" y="274"/>
                  </a:lnTo>
                  <a:lnTo>
                    <a:pt x="120" y="254"/>
                  </a:lnTo>
                  <a:lnTo>
                    <a:pt x="120" y="238"/>
                  </a:lnTo>
                  <a:lnTo>
                    <a:pt x="108" y="230"/>
                  </a:lnTo>
                  <a:lnTo>
                    <a:pt x="94" y="214"/>
                  </a:lnTo>
                  <a:lnTo>
                    <a:pt x="88" y="196"/>
                  </a:lnTo>
                  <a:lnTo>
                    <a:pt x="76" y="196"/>
                  </a:lnTo>
                  <a:lnTo>
                    <a:pt x="68" y="176"/>
                  </a:lnTo>
                  <a:lnTo>
                    <a:pt x="54" y="176"/>
                  </a:lnTo>
                  <a:lnTo>
                    <a:pt x="40" y="170"/>
                  </a:lnTo>
                  <a:lnTo>
                    <a:pt x="28" y="160"/>
                  </a:lnTo>
                  <a:lnTo>
                    <a:pt x="14" y="160"/>
                  </a:lnTo>
                  <a:lnTo>
                    <a:pt x="14" y="144"/>
                  </a:lnTo>
                  <a:lnTo>
                    <a:pt x="6" y="126"/>
                  </a:lnTo>
                  <a:lnTo>
                    <a:pt x="0" y="126"/>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5" name="Freeform 54">
              <a:extLst>
                <a:ext uri="{FF2B5EF4-FFF2-40B4-BE49-F238E27FC236}">
                  <a16:creationId xmlns:a16="http://schemas.microsoft.com/office/drawing/2014/main" id="{324E3426-C909-4C50-B6DE-F405213F2D17}"/>
                </a:ext>
              </a:extLst>
            </p:cNvPr>
            <p:cNvSpPr>
              <a:spLocks/>
            </p:cNvSpPr>
            <p:nvPr/>
          </p:nvSpPr>
          <p:spPr bwMode="auto">
            <a:xfrm>
              <a:off x="2994704" y="2342538"/>
              <a:ext cx="648752" cy="920809"/>
            </a:xfrm>
            <a:custGeom>
              <a:avLst/>
              <a:gdLst>
                <a:gd name="T0" fmla="*/ 150 w 434"/>
                <a:gd name="T1" fmla="*/ 28 h 616"/>
                <a:gd name="T2" fmla="*/ 142 w 434"/>
                <a:gd name="T3" fmla="*/ 72 h 616"/>
                <a:gd name="T4" fmla="*/ 122 w 434"/>
                <a:gd name="T5" fmla="*/ 96 h 616"/>
                <a:gd name="T6" fmla="*/ 116 w 434"/>
                <a:gd name="T7" fmla="*/ 132 h 616"/>
                <a:gd name="T8" fmla="*/ 104 w 434"/>
                <a:gd name="T9" fmla="*/ 166 h 616"/>
                <a:gd name="T10" fmla="*/ 76 w 434"/>
                <a:gd name="T11" fmla="*/ 192 h 616"/>
                <a:gd name="T12" fmla="*/ 62 w 434"/>
                <a:gd name="T13" fmla="*/ 226 h 616"/>
                <a:gd name="T14" fmla="*/ 34 w 434"/>
                <a:gd name="T15" fmla="*/ 234 h 616"/>
                <a:gd name="T16" fmla="*/ 6 w 434"/>
                <a:gd name="T17" fmla="*/ 252 h 616"/>
                <a:gd name="T18" fmla="*/ 6 w 434"/>
                <a:gd name="T19" fmla="*/ 262 h 616"/>
                <a:gd name="T20" fmla="*/ 28 w 434"/>
                <a:gd name="T21" fmla="*/ 262 h 616"/>
                <a:gd name="T22" fmla="*/ 48 w 434"/>
                <a:gd name="T23" fmla="*/ 278 h 616"/>
                <a:gd name="T24" fmla="*/ 68 w 434"/>
                <a:gd name="T25" fmla="*/ 304 h 616"/>
                <a:gd name="T26" fmla="*/ 68 w 434"/>
                <a:gd name="T27" fmla="*/ 340 h 616"/>
                <a:gd name="T28" fmla="*/ 62 w 434"/>
                <a:gd name="T29" fmla="*/ 372 h 616"/>
                <a:gd name="T30" fmla="*/ 48 w 434"/>
                <a:gd name="T31" fmla="*/ 408 h 616"/>
                <a:gd name="T32" fmla="*/ 76 w 434"/>
                <a:gd name="T33" fmla="*/ 426 h 616"/>
                <a:gd name="T34" fmla="*/ 96 w 434"/>
                <a:gd name="T35" fmla="*/ 450 h 616"/>
                <a:gd name="T36" fmla="*/ 122 w 434"/>
                <a:gd name="T37" fmla="*/ 450 h 616"/>
                <a:gd name="T38" fmla="*/ 116 w 434"/>
                <a:gd name="T39" fmla="*/ 486 h 616"/>
                <a:gd name="T40" fmla="*/ 104 w 434"/>
                <a:gd name="T41" fmla="*/ 510 h 616"/>
                <a:gd name="T42" fmla="*/ 104 w 434"/>
                <a:gd name="T43" fmla="*/ 546 h 616"/>
                <a:gd name="T44" fmla="*/ 122 w 434"/>
                <a:gd name="T45" fmla="*/ 572 h 616"/>
                <a:gd name="T46" fmla="*/ 136 w 434"/>
                <a:gd name="T47" fmla="*/ 600 h 616"/>
                <a:gd name="T48" fmla="*/ 156 w 434"/>
                <a:gd name="T49" fmla="*/ 616 h 616"/>
                <a:gd name="T50" fmla="*/ 176 w 434"/>
                <a:gd name="T51" fmla="*/ 580 h 616"/>
                <a:gd name="T52" fmla="*/ 170 w 434"/>
                <a:gd name="T53" fmla="*/ 546 h 616"/>
                <a:gd name="T54" fmla="*/ 176 w 434"/>
                <a:gd name="T55" fmla="*/ 510 h 616"/>
                <a:gd name="T56" fmla="*/ 190 w 434"/>
                <a:gd name="T57" fmla="*/ 478 h 616"/>
                <a:gd name="T58" fmla="*/ 202 w 434"/>
                <a:gd name="T59" fmla="*/ 434 h 616"/>
                <a:gd name="T60" fmla="*/ 232 w 434"/>
                <a:gd name="T61" fmla="*/ 426 h 616"/>
                <a:gd name="T62" fmla="*/ 258 w 434"/>
                <a:gd name="T63" fmla="*/ 416 h 616"/>
                <a:gd name="T64" fmla="*/ 284 w 434"/>
                <a:gd name="T65" fmla="*/ 390 h 616"/>
                <a:gd name="T66" fmla="*/ 312 w 434"/>
                <a:gd name="T67" fmla="*/ 382 h 616"/>
                <a:gd name="T68" fmla="*/ 346 w 434"/>
                <a:gd name="T69" fmla="*/ 382 h 616"/>
                <a:gd name="T70" fmla="*/ 374 w 434"/>
                <a:gd name="T71" fmla="*/ 372 h 616"/>
                <a:gd name="T72" fmla="*/ 364 w 434"/>
                <a:gd name="T73" fmla="*/ 340 h 616"/>
                <a:gd name="T74" fmla="*/ 358 w 434"/>
                <a:gd name="T75" fmla="*/ 312 h 616"/>
                <a:gd name="T76" fmla="*/ 374 w 434"/>
                <a:gd name="T77" fmla="*/ 278 h 616"/>
                <a:gd name="T78" fmla="*/ 374 w 434"/>
                <a:gd name="T79" fmla="*/ 244 h 616"/>
                <a:gd name="T80" fmla="*/ 358 w 434"/>
                <a:gd name="T81" fmla="*/ 220 h 616"/>
                <a:gd name="T82" fmla="*/ 380 w 434"/>
                <a:gd name="T83" fmla="*/ 184 h 616"/>
                <a:gd name="T84" fmla="*/ 406 w 434"/>
                <a:gd name="T85" fmla="*/ 158 h 616"/>
                <a:gd name="T86" fmla="*/ 434 w 434"/>
                <a:gd name="T87" fmla="*/ 148 h 616"/>
                <a:gd name="T88" fmla="*/ 434 w 434"/>
                <a:gd name="T89" fmla="*/ 124 h 616"/>
                <a:gd name="T90" fmla="*/ 412 w 434"/>
                <a:gd name="T91" fmla="*/ 124 h 616"/>
                <a:gd name="T92" fmla="*/ 388 w 434"/>
                <a:gd name="T93" fmla="*/ 106 h 616"/>
                <a:gd name="T94" fmla="*/ 358 w 434"/>
                <a:gd name="T95" fmla="*/ 96 h 616"/>
                <a:gd name="T96" fmla="*/ 330 w 434"/>
                <a:gd name="T97" fmla="*/ 96 h 616"/>
                <a:gd name="T98" fmla="*/ 306 w 434"/>
                <a:gd name="T99" fmla="*/ 96 h 616"/>
                <a:gd name="T100" fmla="*/ 278 w 434"/>
                <a:gd name="T101" fmla="*/ 114 h 616"/>
                <a:gd name="T102" fmla="*/ 252 w 434"/>
                <a:gd name="T103" fmla="*/ 114 h 616"/>
                <a:gd name="T104" fmla="*/ 252 w 434"/>
                <a:gd name="T105" fmla="*/ 80 h 616"/>
                <a:gd name="T106" fmla="*/ 252 w 434"/>
                <a:gd name="T107" fmla="*/ 46 h 616"/>
                <a:gd name="T108" fmla="*/ 224 w 434"/>
                <a:gd name="T109" fmla="*/ 28 h 616"/>
                <a:gd name="T110" fmla="*/ 196 w 434"/>
                <a:gd name="T111" fmla="*/ 28 h 616"/>
                <a:gd name="T112" fmla="*/ 170 w 434"/>
                <a:gd name="T113" fmla="*/ 2 h 616"/>
                <a:gd name="T114" fmla="*/ 156 w 434"/>
                <a:gd name="T115" fmla="*/ 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4" h="616">
                  <a:moveTo>
                    <a:pt x="156" y="0"/>
                  </a:moveTo>
                  <a:lnTo>
                    <a:pt x="150" y="28"/>
                  </a:lnTo>
                  <a:lnTo>
                    <a:pt x="150" y="54"/>
                  </a:lnTo>
                  <a:lnTo>
                    <a:pt x="142" y="72"/>
                  </a:lnTo>
                  <a:lnTo>
                    <a:pt x="136" y="88"/>
                  </a:lnTo>
                  <a:lnTo>
                    <a:pt x="122" y="96"/>
                  </a:lnTo>
                  <a:lnTo>
                    <a:pt x="116" y="114"/>
                  </a:lnTo>
                  <a:lnTo>
                    <a:pt x="116" y="132"/>
                  </a:lnTo>
                  <a:lnTo>
                    <a:pt x="110" y="148"/>
                  </a:lnTo>
                  <a:lnTo>
                    <a:pt x="104" y="166"/>
                  </a:lnTo>
                  <a:lnTo>
                    <a:pt x="90" y="184"/>
                  </a:lnTo>
                  <a:lnTo>
                    <a:pt x="76" y="192"/>
                  </a:lnTo>
                  <a:lnTo>
                    <a:pt x="68" y="208"/>
                  </a:lnTo>
                  <a:lnTo>
                    <a:pt x="62" y="226"/>
                  </a:lnTo>
                  <a:lnTo>
                    <a:pt x="48" y="226"/>
                  </a:lnTo>
                  <a:lnTo>
                    <a:pt x="34" y="234"/>
                  </a:lnTo>
                  <a:lnTo>
                    <a:pt x="22" y="234"/>
                  </a:lnTo>
                  <a:lnTo>
                    <a:pt x="6" y="252"/>
                  </a:lnTo>
                  <a:lnTo>
                    <a:pt x="0" y="262"/>
                  </a:lnTo>
                  <a:lnTo>
                    <a:pt x="6" y="262"/>
                  </a:lnTo>
                  <a:lnTo>
                    <a:pt x="14" y="262"/>
                  </a:lnTo>
                  <a:lnTo>
                    <a:pt x="28" y="262"/>
                  </a:lnTo>
                  <a:lnTo>
                    <a:pt x="34" y="278"/>
                  </a:lnTo>
                  <a:lnTo>
                    <a:pt x="48" y="278"/>
                  </a:lnTo>
                  <a:lnTo>
                    <a:pt x="62" y="286"/>
                  </a:lnTo>
                  <a:lnTo>
                    <a:pt x="68" y="304"/>
                  </a:lnTo>
                  <a:lnTo>
                    <a:pt x="68" y="322"/>
                  </a:lnTo>
                  <a:lnTo>
                    <a:pt x="68" y="340"/>
                  </a:lnTo>
                  <a:lnTo>
                    <a:pt x="68" y="356"/>
                  </a:lnTo>
                  <a:lnTo>
                    <a:pt x="62" y="372"/>
                  </a:lnTo>
                  <a:lnTo>
                    <a:pt x="54" y="390"/>
                  </a:lnTo>
                  <a:lnTo>
                    <a:pt x="48" y="408"/>
                  </a:lnTo>
                  <a:lnTo>
                    <a:pt x="62" y="416"/>
                  </a:lnTo>
                  <a:lnTo>
                    <a:pt x="76" y="426"/>
                  </a:lnTo>
                  <a:lnTo>
                    <a:pt x="82" y="442"/>
                  </a:lnTo>
                  <a:lnTo>
                    <a:pt x="96" y="450"/>
                  </a:lnTo>
                  <a:lnTo>
                    <a:pt x="110" y="450"/>
                  </a:lnTo>
                  <a:lnTo>
                    <a:pt x="122" y="450"/>
                  </a:lnTo>
                  <a:lnTo>
                    <a:pt x="128" y="468"/>
                  </a:lnTo>
                  <a:lnTo>
                    <a:pt x="116" y="486"/>
                  </a:lnTo>
                  <a:lnTo>
                    <a:pt x="104" y="494"/>
                  </a:lnTo>
                  <a:lnTo>
                    <a:pt x="104" y="510"/>
                  </a:lnTo>
                  <a:lnTo>
                    <a:pt x="96" y="530"/>
                  </a:lnTo>
                  <a:lnTo>
                    <a:pt x="104" y="546"/>
                  </a:lnTo>
                  <a:lnTo>
                    <a:pt x="116" y="554"/>
                  </a:lnTo>
                  <a:lnTo>
                    <a:pt x="122" y="572"/>
                  </a:lnTo>
                  <a:lnTo>
                    <a:pt x="122" y="590"/>
                  </a:lnTo>
                  <a:lnTo>
                    <a:pt x="136" y="600"/>
                  </a:lnTo>
                  <a:lnTo>
                    <a:pt x="142" y="616"/>
                  </a:lnTo>
                  <a:lnTo>
                    <a:pt x="156" y="616"/>
                  </a:lnTo>
                  <a:lnTo>
                    <a:pt x="170" y="600"/>
                  </a:lnTo>
                  <a:lnTo>
                    <a:pt x="176" y="580"/>
                  </a:lnTo>
                  <a:lnTo>
                    <a:pt x="170" y="564"/>
                  </a:lnTo>
                  <a:lnTo>
                    <a:pt x="170" y="546"/>
                  </a:lnTo>
                  <a:lnTo>
                    <a:pt x="162" y="530"/>
                  </a:lnTo>
                  <a:lnTo>
                    <a:pt x="176" y="510"/>
                  </a:lnTo>
                  <a:lnTo>
                    <a:pt x="184" y="494"/>
                  </a:lnTo>
                  <a:lnTo>
                    <a:pt x="190" y="478"/>
                  </a:lnTo>
                  <a:lnTo>
                    <a:pt x="190" y="450"/>
                  </a:lnTo>
                  <a:lnTo>
                    <a:pt x="202" y="434"/>
                  </a:lnTo>
                  <a:lnTo>
                    <a:pt x="218" y="426"/>
                  </a:lnTo>
                  <a:lnTo>
                    <a:pt x="232" y="426"/>
                  </a:lnTo>
                  <a:lnTo>
                    <a:pt x="244" y="416"/>
                  </a:lnTo>
                  <a:lnTo>
                    <a:pt x="258" y="416"/>
                  </a:lnTo>
                  <a:lnTo>
                    <a:pt x="270" y="400"/>
                  </a:lnTo>
                  <a:lnTo>
                    <a:pt x="284" y="390"/>
                  </a:lnTo>
                  <a:lnTo>
                    <a:pt x="298" y="382"/>
                  </a:lnTo>
                  <a:lnTo>
                    <a:pt x="312" y="382"/>
                  </a:lnTo>
                  <a:lnTo>
                    <a:pt x="330" y="390"/>
                  </a:lnTo>
                  <a:lnTo>
                    <a:pt x="346" y="382"/>
                  </a:lnTo>
                  <a:lnTo>
                    <a:pt x="358" y="382"/>
                  </a:lnTo>
                  <a:lnTo>
                    <a:pt x="374" y="372"/>
                  </a:lnTo>
                  <a:lnTo>
                    <a:pt x="374" y="356"/>
                  </a:lnTo>
                  <a:lnTo>
                    <a:pt x="364" y="340"/>
                  </a:lnTo>
                  <a:lnTo>
                    <a:pt x="352" y="330"/>
                  </a:lnTo>
                  <a:lnTo>
                    <a:pt x="358" y="312"/>
                  </a:lnTo>
                  <a:lnTo>
                    <a:pt x="374" y="296"/>
                  </a:lnTo>
                  <a:lnTo>
                    <a:pt x="374" y="278"/>
                  </a:lnTo>
                  <a:lnTo>
                    <a:pt x="374" y="262"/>
                  </a:lnTo>
                  <a:lnTo>
                    <a:pt x="374" y="244"/>
                  </a:lnTo>
                  <a:lnTo>
                    <a:pt x="374" y="226"/>
                  </a:lnTo>
                  <a:lnTo>
                    <a:pt x="358" y="220"/>
                  </a:lnTo>
                  <a:lnTo>
                    <a:pt x="374" y="202"/>
                  </a:lnTo>
                  <a:lnTo>
                    <a:pt x="380" y="184"/>
                  </a:lnTo>
                  <a:lnTo>
                    <a:pt x="392" y="166"/>
                  </a:lnTo>
                  <a:lnTo>
                    <a:pt x="406" y="158"/>
                  </a:lnTo>
                  <a:lnTo>
                    <a:pt x="418" y="158"/>
                  </a:lnTo>
                  <a:lnTo>
                    <a:pt x="434" y="148"/>
                  </a:lnTo>
                  <a:lnTo>
                    <a:pt x="434" y="132"/>
                  </a:lnTo>
                  <a:lnTo>
                    <a:pt x="434" y="124"/>
                  </a:lnTo>
                  <a:lnTo>
                    <a:pt x="426" y="124"/>
                  </a:lnTo>
                  <a:lnTo>
                    <a:pt x="412" y="124"/>
                  </a:lnTo>
                  <a:lnTo>
                    <a:pt x="400" y="114"/>
                  </a:lnTo>
                  <a:lnTo>
                    <a:pt x="388" y="106"/>
                  </a:lnTo>
                  <a:lnTo>
                    <a:pt x="374" y="106"/>
                  </a:lnTo>
                  <a:lnTo>
                    <a:pt x="358" y="96"/>
                  </a:lnTo>
                  <a:lnTo>
                    <a:pt x="346" y="96"/>
                  </a:lnTo>
                  <a:lnTo>
                    <a:pt x="330" y="96"/>
                  </a:lnTo>
                  <a:lnTo>
                    <a:pt x="318" y="96"/>
                  </a:lnTo>
                  <a:lnTo>
                    <a:pt x="306" y="96"/>
                  </a:lnTo>
                  <a:lnTo>
                    <a:pt x="292" y="114"/>
                  </a:lnTo>
                  <a:lnTo>
                    <a:pt x="278" y="114"/>
                  </a:lnTo>
                  <a:lnTo>
                    <a:pt x="264" y="124"/>
                  </a:lnTo>
                  <a:lnTo>
                    <a:pt x="252" y="114"/>
                  </a:lnTo>
                  <a:lnTo>
                    <a:pt x="252" y="96"/>
                  </a:lnTo>
                  <a:lnTo>
                    <a:pt x="252" y="80"/>
                  </a:lnTo>
                  <a:lnTo>
                    <a:pt x="258" y="62"/>
                  </a:lnTo>
                  <a:lnTo>
                    <a:pt x="252" y="46"/>
                  </a:lnTo>
                  <a:lnTo>
                    <a:pt x="238" y="36"/>
                  </a:lnTo>
                  <a:lnTo>
                    <a:pt x="224" y="28"/>
                  </a:lnTo>
                  <a:lnTo>
                    <a:pt x="210" y="28"/>
                  </a:lnTo>
                  <a:lnTo>
                    <a:pt x="196" y="28"/>
                  </a:lnTo>
                  <a:lnTo>
                    <a:pt x="184" y="8"/>
                  </a:lnTo>
                  <a:lnTo>
                    <a:pt x="170" y="2"/>
                  </a:lnTo>
                  <a:lnTo>
                    <a:pt x="154" y="0"/>
                  </a:lnTo>
                  <a:lnTo>
                    <a:pt x="156" y="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6" name="Freeform 56">
              <a:extLst>
                <a:ext uri="{FF2B5EF4-FFF2-40B4-BE49-F238E27FC236}">
                  <a16:creationId xmlns:a16="http://schemas.microsoft.com/office/drawing/2014/main" id="{D268C732-5B11-4566-B8C5-852A5ED19C51}"/>
                </a:ext>
              </a:extLst>
            </p:cNvPr>
            <p:cNvSpPr>
              <a:spLocks/>
            </p:cNvSpPr>
            <p:nvPr/>
          </p:nvSpPr>
          <p:spPr bwMode="auto">
            <a:xfrm>
              <a:off x="3236865" y="2527896"/>
              <a:ext cx="544115" cy="789265"/>
            </a:xfrm>
            <a:custGeom>
              <a:avLst/>
              <a:gdLst>
                <a:gd name="T0" fmla="*/ 324 w 364"/>
                <a:gd name="T1" fmla="*/ 372 h 528"/>
                <a:gd name="T2" fmla="*/ 350 w 364"/>
                <a:gd name="T3" fmla="*/ 356 h 528"/>
                <a:gd name="T4" fmla="*/ 350 w 364"/>
                <a:gd name="T5" fmla="*/ 320 h 528"/>
                <a:gd name="T6" fmla="*/ 364 w 364"/>
                <a:gd name="T7" fmla="*/ 302 h 528"/>
                <a:gd name="T8" fmla="*/ 356 w 364"/>
                <a:gd name="T9" fmla="*/ 268 h 528"/>
                <a:gd name="T10" fmla="*/ 342 w 364"/>
                <a:gd name="T11" fmla="*/ 242 h 528"/>
                <a:gd name="T12" fmla="*/ 328 w 364"/>
                <a:gd name="T13" fmla="*/ 208 h 528"/>
                <a:gd name="T14" fmla="*/ 328 w 364"/>
                <a:gd name="T15" fmla="*/ 172 h 528"/>
                <a:gd name="T16" fmla="*/ 338 w 364"/>
                <a:gd name="T17" fmla="*/ 138 h 528"/>
                <a:gd name="T18" fmla="*/ 324 w 364"/>
                <a:gd name="T19" fmla="*/ 104 h 528"/>
                <a:gd name="T20" fmla="*/ 324 w 364"/>
                <a:gd name="T21" fmla="*/ 70 h 528"/>
                <a:gd name="T22" fmla="*/ 316 w 364"/>
                <a:gd name="T23" fmla="*/ 34 h 528"/>
                <a:gd name="T24" fmla="*/ 326 w 364"/>
                <a:gd name="T25" fmla="*/ 6 h 528"/>
                <a:gd name="T26" fmla="*/ 316 w 364"/>
                <a:gd name="T27" fmla="*/ 8 h 528"/>
                <a:gd name="T28" fmla="*/ 288 w 364"/>
                <a:gd name="T29" fmla="*/ 0 h 528"/>
                <a:gd name="T30" fmla="*/ 278 w 364"/>
                <a:gd name="T31" fmla="*/ 8 h 528"/>
                <a:gd name="T32" fmla="*/ 260 w 364"/>
                <a:gd name="T33" fmla="*/ 34 h 528"/>
                <a:gd name="T34" fmla="*/ 236 w 364"/>
                <a:gd name="T35" fmla="*/ 42 h 528"/>
                <a:gd name="T36" fmla="*/ 216 w 364"/>
                <a:gd name="T37" fmla="*/ 78 h 528"/>
                <a:gd name="T38" fmla="*/ 216 w 364"/>
                <a:gd name="T39" fmla="*/ 104 h 528"/>
                <a:gd name="T40" fmla="*/ 216 w 364"/>
                <a:gd name="T41" fmla="*/ 138 h 528"/>
                <a:gd name="T42" fmla="*/ 216 w 364"/>
                <a:gd name="T43" fmla="*/ 172 h 528"/>
                <a:gd name="T44" fmla="*/ 194 w 364"/>
                <a:gd name="T45" fmla="*/ 208 h 528"/>
                <a:gd name="T46" fmla="*/ 216 w 364"/>
                <a:gd name="T47" fmla="*/ 234 h 528"/>
                <a:gd name="T48" fmla="*/ 202 w 364"/>
                <a:gd name="T49" fmla="*/ 260 h 528"/>
                <a:gd name="T50" fmla="*/ 174 w 364"/>
                <a:gd name="T51" fmla="*/ 268 h 528"/>
                <a:gd name="T52" fmla="*/ 142 w 364"/>
                <a:gd name="T53" fmla="*/ 260 h 528"/>
                <a:gd name="T54" fmla="*/ 114 w 364"/>
                <a:gd name="T55" fmla="*/ 278 h 528"/>
                <a:gd name="T56" fmla="*/ 88 w 364"/>
                <a:gd name="T57" fmla="*/ 294 h 528"/>
                <a:gd name="T58" fmla="*/ 60 w 364"/>
                <a:gd name="T59" fmla="*/ 302 h 528"/>
                <a:gd name="T60" fmla="*/ 34 w 364"/>
                <a:gd name="T61" fmla="*/ 328 h 528"/>
                <a:gd name="T62" fmla="*/ 26 w 364"/>
                <a:gd name="T63" fmla="*/ 372 h 528"/>
                <a:gd name="T64" fmla="*/ 6 w 364"/>
                <a:gd name="T65" fmla="*/ 406 h 528"/>
                <a:gd name="T66" fmla="*/ 12 w 364"/>
                <a:gd name="T67" fmla="*/ 440 h 528"/>
                <a:gd name="T68" fmla="*/ 12 w 364"/>
                <a:gd name="T69" fmla="*/ 478 h 528"/>
                <a:gd name="T70" fmla="*/ 6 w 364"/>
                <a:gd name="T71" fmla="*/ 494 h 528"/>
                <a:gd name="T72" fmla="*/ 34 w 364"/>
                <a:gd name="T73" fmla="*/ 512 h 528"/>
                <a:gd name="T74" fmla="*/ 60 w 364"/>
                <a:gd name="T75" fmla="*/ 528 h 528"/>
                <a:gd name="T76" fmla="*/ 88 w 364"/>
                <a:gd name="T77" fmla="*/ 520 h 528"/>
                <a:gd name="T78" fmla="*/ 114 w 364"/>
                <a:gd name="T79" fmla="*/ 502 h 528"/>
                <a:gd name="T80" fmla="*/ 142 w 364"/>
                <a:gd name="T81" fmla="*/ 486 h 528"/>
                <a:gd name="T82" fmla="*/ 136 w 364"/>
                <a:gd name="T83" fmla="*/ 450 h 528"/>
                <a:gd name="T84" fmla="*/ 154 w 364"/>
                <a:gd name="T85" fmla="*/ 432 h 528"/>
                <a:gd name="T86" fmla="*/ 182 w 364"/>
                <a:gd name="T87" fmla="*/ 432 h 528"/>
                <a:gd name="T88" fmla="*/ 208 w 364"/>
                <a:gd name="T89" fmla="*/ 440 h 528"/>
                <a:gd name="T90" fmla="*/ 236 w 364"/>
                <a:gd name="T91" fmla="*/ 432 h 528"/>
                <a:gd name="T92" fmla="*/ 268 w 364"/>
                <a:gd name="T93" fmla="*/ 416 h 528"/>
                <a:gd name="T94" fmla="*/ 292 w 364"/>
                <a:gd name="T95" fmla="*/ 400 h 528"/>
                <a:gd name="T96" fmla="*/ 304 w 364"/>
                <a:gd name="T97" fmla="*/ 39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528">
                  <a:moveTo>
                    <a:pt x="310" y="390"/>
                  </a:moveTo>
                  <a:lnTo>
                    <a:pt x="324" y="372"/>
                  </a:lnTo>
                  <a:lnTo>
                    <a:pt x="338" y="372"/>
                  </a:lnTo>
                  <a:lnTo>
                    <a:pt x="350" y="356"/>
                  </a:lnTo>
                  <a:lnTo>
                    <a:pt x="350" y="338"/>
                  </a:lnTo>
                  <a:lnTo>
                    <a:pt x="350" y="320"/>
                  </a:lnTo>
                  <a:lnTo>
                    <a:pt x="362" y="302"/>
                  </a:lnTo>
                  <a:lnTo>
                    <a:pt x="364" y="302"/>
                  </a:lnTo>
                  <a:lnTo>
                    <a:pt x="356" y="286"/>
                  </a:lnTo>
                  <a:lnTo>
                    <a:pt x="356" y="268"/>
                  </a:lnTo>
                  <a:lnTo>
                    <a:pt x="356" y="250"/>
                  </a:lnTo>
                  <a:lnTo>
                    <a:pt x="342" y="242"/>
                  </a:lnTo>
                  <a:lnTo>
                    <a:pt x="338" y="226"/>
                  </a:lnTo>
                  <a:lnTo>
                    <a:pt x="328" y="208"/>
                  </a:lnTo>
                  <a:lnTo>
                    <a:pt x="324" y="190"/>
                  </a:lnTo>
                  <a:lnTo>
                    <a:pt x="328" y="172"/>
                  </a:lnTo>
                  <a:lnTo>
                    <a:pt x="328" y="156"/>
                  </a:lnTo>
                  <a:lnTo>
                    <a:pt x="338" y="138"/>
                  </a:lnTo>
                  <a:lnTo>
                    <a:pt x="324" y="122"/>
                  </a:lnTo>
                  <a:lnTo>
                    <a:pt x="324" y="104"/>
                  </a:lnTo>
                  <a:lnTo>
                    <a:pt x="324" y="86"/>
                  </a:lnTo>
                  <a:lnTo>
                    <a:pt x="324" y="70"/>
                  </a:lnTo>
                  <a:lnTo>
                    <a:pt x="316" y="52"/>
                  </a:lnTo>
                  <a:lnTo>
                    <a:pt x="316" y="34"/>
                  </a:lnTo>
                  <a:lnTo>
                    <a:pt x="324" y="18"/>
                  </a:lnTo>
                  <a:lnTo>
                    <a:pt x="326" y="6"/>
                  </a:lnTo>
                  <a:lnTo>
                    <a:pt x="324" y="6"/>
                  </a:lnTo>
                  <a:lnTo>
                    <a:pt x="316" y="8"/>
                  </a:lnTo>
                  <a:lnTo>
                    <a:pt x="304" y="0"/>
                  </a:lnTo>
                  <a:lnTo>
                    <a:pt x="288" y="0"/>
                  </a:lnTo>
                  <a:lnTo>
                    <a:pt x="278" y="0"/>
                  </a:lnTo>
                  <a:lnTo>
                    <a:pt x="278" y="8"/>
                  </a:lnTo>
                  <a:lnTo>
                    <a:pt x="278" y="26"/>
                  </a:lnTo>
                  <a:lnTo>
                    <a:pt x="260" y="34"/>
                  </a:lnTo>
                  <a:lnTo>
                    <a:pt x="250" y="34"/>
                  </a:lnTo>
                  <a:lnTo>
                    <a:pt x="236" y="42"/>
                  </a:lnTo>
                  <a:lnTo>
                    <a:pt x="222" y="60"/>
                  </a:lnTo>
                  <a:lnTo>
                    <a:pt x="216" y="78"/>
                  </a:lnTo>
                  <a:lnTo>
                    <a:pt x="202" y="96"/>
                  </a:lnTo>
                  <a:lnTo>
                    <a:pt x="216" y="104"/>
                  </a:lnTo>
                  <a:lnTo>
                    <a:pt x="216" y="122"/>
                  </a:lnTo>
                  <a:lnTo>
                    <a:pt x="216" y="138"/>
                  </a:lnTo>
                  <a:lnTo>
                    <a:pt x="216" y="156"/>
                  </a:lnTo>
                  <a:lnTo>
                    <a:pt x="216" y="172"/>
                  </a:lnTo>
                  <a:lnTo>
                    <a:pt x="202" y="190"/>
                  </a:lnTo>
                  <a:lnTo>
                    <a:pt x="194" y="208"/>
                  </a:lnTo>
                  <a:lnTo>
                    <a:pt x="208" y="216"/>
                  </a:lnTo>
                  <a:lnTo>
                    <a:pt x="216" y="234"/>
                  </a:lnTo>
                  <a:lnTo>
                    <a:pt x="216" y="250"/>
                  </a:lnTo>
                  <a:lnTo>
                    <a:pt x="202" y="260"/>
                  </a:lnTo>
                  <a:lnTo>
                    <a:pt x="188" y="260"/>
                  </a:lnTo>
                  <a:lnTo>
                    <a:pt x="174" y="268"/>
                  </a:lnTo>
                  <a:lnTo>
                    <a:pt x="154" y="260"/>
                  </a:lnTo>
                  <a:lnTo>
                    <a:pt x="142" y="260"/>
                  </a:lnTo>
                  <a:lnTo>
                    <a:pt x="128" y="268"/>
                  </a:lnTo>
                  <a:lnTo>
                    <a:pt x="114" y="278"/>
                  </a:lnTo>
                  <a:lnTo>
                    <a:pt x="100" y="294"/>
                  </a:lnTo>
                  <a:lnTo>
                    <a:pt x="88" y="294"/>
                  </a:lnTo>
                  <a:lnTo>
                    <a:pt x="74" y="302"/>
                  </a:lnTo>
                  <a:lnTo>
                    <a:pt x="60" y="302"/>
                  </a:lnTo>
                  <a:lnTo>
                    <a:pt x="46" y="312"/>
                  </a:lnTo>
                  <a:lnTo>
                    <a:pt x="34" y="328"/>
                  </a:lnTo>
                  <a:lnTo>
                    <a:pt x="34" y="356"/>
                  </a:lnTo>
                  <a:lnTo>
                    <a:pt x="26" y="372"/>
                  </a:lnTo>
                  <a:lnTo>
                    <a:pt x="20" y="390"/>
                  </a:lnTo>
                  <a:lnTo>
                    <a:pt x="6" y="406"/>
                  </a:lnTo>
                  <a:lnTo>
                    <a:pt x="12" y="424"/>
                  </a:lnTo>
                  <a:lnTo>
                    <a:pt x="12" y="440"/>
                  </a:lnTo>
                  <a:lnTo>
                    <a:pt x="20" y="458"/>
                  </a:lnTo>
                  <a:lnTo>
                    <a:pt x="12" y="478"/>
                  </a:lnTo>
                  <a:lnTo>
                    <a:pt x="0" y="494"/>
                  </a:lnTo>
                  <a:lnTo>
                    <a:pt x="6" y="494"/>
                  </a:lnTo>
                  <a:lnTo>
                    <a:pt x="20" y="502"/>
                  </a:lnTo>
                  <a:lnTo>
                    <a:pt x="34" y="512"/>
                  </a:lnTo>
                  <a:lnTo>
                    <a:pt x="46" y="520"/>
                  </a:lnTo>
                  <a:lnTo>
                    <a:pt x="60" y="528"/>
                  </a:lnTo>
                  <a:lnTo>
                    <a:pt x="74" y="528"/>
                  </a:lnTo>
                  <a:lnTo>
                    <a:pt x="88" y="520"/>
                  </a:lnTo>
                  <a:lnTo>
                    <a:pt x="100" y="502"/>
                  </a:lnTo>
                  <a:lnTo>
                    <a:pt x="114" y="502"/>
                  </a:lnTo>
                  <a:lnTo>
                    <a:pt x="136" y="502"/>
                  </a:lnTo>
                  <a:lnTo>
                    <a:pt x="142" y="486"/>
                  </a:lnTo>
                  <a:lnTo>
                    <a:pt x="142" y="468"/>
                  </a:lnTo>
                  <a:lnTo>
                    <a:pt x="136" y="450"/>
                  </a:lnTo>
                  <a:lnTo>
                    <a:pt x="142" y="432"/>
                  </a:lnTo>
                  <a:lnTo>
                    <a:pt x="154" y="432"/>
                  </a:lnTo>
                  <a:lnTo>
                    <a:pt x="168" y="432"/>
                  </a:lnTo>
                  <a:lnTo>
                    <a:pt x="182" y="432"/>
                  </a:lnTo>
                  <a:lnTo>
                    <a:pt x="194" y="432"/>
                  </a:lnTo>
                  <a:lnTo>
                    <a:pt x="208" y="440"/>
                  </a:lnTo>
                  <a:lnTo>
                    <a:pt x="222" y="440"/>
                  </a:lnTo>
                  <a:lnTo>
                    <a:pt x="236" y="432"/>
                  </a:lnTo>
                  <a:lnTo>
                    <a:pt x="250" y="416"/>
                  </a:lnTo>
                  <a:lnTo>
                    <a:pt x="268" y="416"/>
                  </a:lnTo>
                  <a:lnTo>
                    <a:pt x="282" y="406"/>
                  </a:lnTo>
                  <a:lnTo>
                    <a:pt x="292" y="400"/>
                  </a:lnTo>
                  <a:lnTo>
                    <a:pt x="306" y="390"/>
                  </a:lnTo>
                  <a:lnTo>
                    <a:pt x="304" y="390"/>
                  </a:lnTo>
                  <a:lnTo>
                    <a:pt x="310" y="39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7" name="Freeform 58">
              <a:extLst>
                <a:ext uri="{FF2B5EF4-FFF2-40B4-BE49-F238E27FC236}">
                  <a16:creationId xmlns:a16="http://schemas.microsoft.com/office/drawing/2014/main" id="{4F61BE56-E13C-4472-8DB6-A338973B22F0}"/>
                </a:ext>
              </a:extLst>
            </p:cNvPr>
            <p:cNvSpPr>
              <a:spLocks/>
            </p:cNvSpPr>
            <p:nvPr/>
          </p:nvSpPr>
          <p:spPr bwMode="auto">
            <a:xfrm>
              <a:off x="3966337" y="2707274"/>
              <a:ext cx="343809" cy="233192"/>
            </a:xfrm>
            <a:custGeom>
              <a:avLst/>
              <a:gdLst>
                <a:gd name="T0" fmla="*/ 230 w 230"/>
                <a:gd name="T1" fmla="*/ 130 h 156"/>
                <a:gd name="T2" fmla="*/ 230 w 230"/>
                <a:gd name="T3" fmla="*/ 120 h 156"/>
                <a:gd name="T4" fmla="*/ 230 w 230"/>
                <a:gd name="T5" fmla="*/ 104 h 156"/>
                <a:gd name="T6" fmla="*/ 230 w 230"/>
                <a:gd name="T7" fmla="*/ 86 h 156"/>
                <a:gd name="T8" fmla="*/ 222 w 230"/>
                <a:gd name="T9" fmla="*/ 70 h 156"/>
                <a:gd name="T10" fmla="*/ 216 w 230"/>
                <a:gd name="T11" fmla="*/ 52 h 156"/>
                <a:gd name="T12" fmla="*/ 204 w 230"/>
                <a:gd name="T13" fmla="*/ 42 h 156"/>
                <a:gd name="T14" fmla="*/ 190 w 230"/>
                <a:gd name="T15" fmla="*/ 34 h 156"/>
                <a:gd name="T16" fmla="*/ 176 w 230"/>
                <a:gd name="T17" fmla="*/ 34 h 156"/>
                <a:gd name="T18" fmla="*/ 162 w 230"/>
                <a:gd name="T19" fmla="*/ 26 h 156"/>
                <a:gd name="T20" fmla="*/ 148 w 230"/>
                <a:gd name="T21" fmla="*/ 26 h 156"/>
                <a:gd name="T22" fmla="*/ 134 w 230"/>
                <a:gd name="T23" fmla="*/ 26 h 156"/>
                <a:gd name="T24" fmla="*/ 120 w 230"/>
                <a:gd name="T25" fmla="*/ 26 h 156"/>
                <a:gd name="T26" fmla="*/ 108 w 230"/>
                <a:gd name="T27" fmla="*/ 26 h 156"/>
                <a:gd name="T28" fmla="*/ 94 w 230"/>
                <a:gd name="T29" fmla="*/ 8 h 156"/>
                <a:gd name="T30" fmla="*/ 88 w 230"/>
                <a:gd name="T31" fmla="*/ 0 h 156"/>
                <a:gd name="T32" fmla="*/ 74 w 230"/>
                <a:gd name="T33" fmla="*/ 8 h 156"/>
                <a:gd name="T34" fmla="*/ 60 w 230"/>
                <a:gd name="T35" fmla="*/ 16 h 156"/>
                <a:gd name="T36" fmla="*/ 52 w 230"/>
                <a:gd name="T37" fmla="*/ 34 h 156"/>
                <a:gd name="T38" fmla="*/ 46 w 230"/>
                <a:gd name="T39" fmla="*/ 52 h 156"/>
                <a:gd name="T40" fmla="*/ 38 w 230"/>
                <a:gd name="T41" fmla="*/ 70 h 156"/>
                <a:gd name="T42" fmla="*/ 26 w 230"/>
                <a:gd name="T43" fmla="*/ 70 h 156"/>
                <a:gd name="T44" fmla="*/ 14 w 230"/>
                <a:gd name="T45" fmla="*/ 78 h 156"/>
                <a:gd name="T46" fmla="*/ 0 w 230"/>
                <a:gd name="T47" fmla="*/ 94 h 156"/>
                <a:gd name="T48" fmla="*/ 14 w 230"/>
                <a:gd name="T49" fmla="*/ 112 h 156"/>
                <a:gd name="T50" fmla="*/ 26 w 230"/>
                <a:gd name="T51" fmla="*/ 120 h 156"/>
                <a:gd name="T52" fmla="*/ 38 w 230"/>
                <a:gd name="T53" fmla="*/ 112 h 156"/>
                <a:gd name="T54" fmla="*/ 52 w 230"/>
                <a:gd name="T55" fmla="*/ 112 h 156"/>
                <a:gd name="T56" fmla="*/ 66 w 230"/>
                <a:gd name="T57" fmla="*/ 104 h 156"/>
                <a:gd name="T58" fmla="*/ 80 w 230"/>
                <a:gd name="T59" fmla="*/ 94 h 156"/>
                <a:gd name="T60" fmla="*/ 88 w 230"/>
                <a:gd name="T61" fmla="*/ 112 h 156"/>
                <a:gd name="T62" fmla="*/ 74 w 230"/>
                <a:gd name="T63" fmla="*/ 120 h 156"/>
                <a:gd name="T64" fmla="*/ 74 w 230"/>
                <a:gd name="T65" fmla="*/ 138 h 156"/>
                <a:gd name="T66" fmla="*/ 88 w 230"/>
                <a:gd name="T67" fmla="*/ 148 h 156"/>
                <a:gd name="T68" fmla="*/ 102 w 230"/>
                <a:gd name="T69" fmla="*/ 138 h 156"/>
                <a:gd name="T70" fmla="*/ 114 w 230"/>
                <a:gd name="T71" fmla="*/ 148 h 156"/>
                <a:gd name="T72" fmla="*/ 128 w 230"/>
                <a:gd name="T73" fmla="*/ 156 h 156"/>
                <a:gd name="T74" fmla="*/ 134 w 230"/>
                <a:gd name="T75" fmla="*/ 148 h 156"/>
                <a:gd name="T76" fmla="*/ 134 w 230"/>
                <a:gd name="T77" fmla="*/ 130 h 156"/>
                <a:gd name="T78" fmla="*/ 148 w 230"/>
                <a:gd name="T79" fmla="*/ 120 h 156"/>
                <a:gd name="T80" fmla="*/ 162 w 230"/>
                <a:gd name="T81" fmla="*/ 130 h 156"/>
                <a:gd name="T82" fmla="*/ 176 w 230"/>
                <a:gd name="T83" fmla="*/ 130 h 156"/>
                <a:gd name="T84" fmla="*/ 190 w 230"/>
                <a:gd name="T85" fmla="*/ 120 h 156"/>
                <a:gd name="T86" fmla="*/ 204 w 230"/>
                <a:gd name="T87" fmla="*/ 138 h 156"/>
                <a:gd name="T88" fmla="*/ 216 w 230"/>
                <a:gd name="T89" fmla="*/ 138 h 156"/>
                <a:gd name="T90" fmla="*/ 230 w 230"/>
                <a:gd name="T91" fmla="*/ 13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56">
                  <a:moveTo>
                    <a:pt x="230" y="130"/>
                  </a:moveTo>
                  <a:lnTo>
                    <a:pt x="230" y="120"/>
                  </a:lnTo>
                  <a:lnTo>
                    <a:pt x="230" y="104"/>
                  </a:lnTo>
                  <a:lnTo>
                    <a:pt x="230" y="86"/>
                  </a:lnTo>
                  <a:lnTo>
                    <a:pt x="222" y="70"/>
                  </a:lnTo>
                  <a:lnTo>
                    <a:pt x="216" y="52"/>
                  </a:lnTo>
                  <a:lnTo>
                    <a:pt x="204" y="42"/>
                  </a:lnTo>
                  <a:lnTo>
                    <a:pt x="190" y="34"/>
                  </a:lnTo>
                  <a:lnTo>
                    <a:pt x="176" y="34"/>
                  </a:lnTo>
                  <a:lnTo>
                    <a:pt x="162" y="26"/>
                  </a:lnTo>
                  <a:lnTo>
                    <a:pt x="148" y="26"/>
                  </a:lnTo>
                  <a:lnTo>
                    <a:pt x="134" y="26"/>
                  </a:lnTo>
                  <a:lnTo>
                    <a:pt x="120" y="26"/>
                  </a:lnTo>
                  <a:lnTo>
                    <a:pt x="108" y="26"/>
                  </a:lnTo>
                  <a:lnTo>
                    <a:pt x="94" y="8"/>
                  </a:lnTo>
                  <a:lnTo>
                    <a:pt x="88" y="0"/>
                  </a:lnTo>
                  <a:lnTo>
                    <a:pt x="74" y="8"/>
                  </a:lnTo>
                  <a:lnTo>
                    <a:pt x="60" y="16"/>
                  </a:lnTo>
                  <a:lnTo>
                    <a:pt x="52" y="34"/>
                  </a:lnTo>
                  <a:lnTo>
                    <a:pt x="46" y="52"/>
                  </a:lnTo>
                  <a:lnTo>
                    <a:pt x="38" y="70"/>
                  </a:lnTo>
                  <a:lnTo>
                    <a:pt x="26" y="70"/>
                  </a:lnTo>
                  <a:lnTo>
                    <a:pt x="14" y="78"/>
                  </a:lnTo>
                  <a:lnTo>
                    <a:pt x="0" y="94"/>
                  </a:lnTo>
                  <a:lnTo>
                    <a:pt x="14" y="112"/>
                  </a:lnTo>
                  <a:lnTo>
                    <a:pt x="26" y="120"/>
                  </a:lnTo>
                  <a:lnTo>
                    <a:pt x="38" y="112"/>
                  </a:lnTo>
                  <a:lnTo>
                    <a:pt x="52" y="112"/>
                  </a:lnTo>
                  <a:lnTo>
                    <a:pt x="66" y="104"/>
                  </a:lnTo>
                  <a:lnTo>
                    <a:pt x="80" y="94"/>
                  </a:lnTo>
                  <a:lnTo>
                    <a:pt x="88" y="112"/>
                  </a:lnTo>
                  <a:lnTo>
                    <a:pt x="74" y="120"/>
                  </a:lnTo>
                  <a:lnTo>
                    <a:pt x="74" y="138"/>
                  </a:lnTo>
                  <a:lnTo>
                    <a:pt x="88" y="148"/>
                  </a:lnTo>
                  <a:lnTo>
                    <a:pt x="102" y="138"/>
                  </a:lnTo>
                  <a:lnTo>
                    <a:pt x="114" y="148"/>
                  </a:lnTo>
                  <a:lnTo>
                    <a:pt x="128" y="156"/>
                  </a:lnTo>
                  <a:lnTo>
                    <a:pt x="134" y="148"/>
                  </a:lnTo>
                  <a:lnTo>
                    <a:pt x="134" y="130"/>
                  </a:lnTo>
                  <a:lnTo>
                    <a:pt x="148" y="120"/>
                  </a:lnTo>
                  <a:lnTo>
                    <a:pt x="162" y="130"/>
                  </a:lnTo>
                  <a:lnTo>
                    <a:pt x="176" y="130"/>
                  </a:lnTo>
                  <a:lnTo>
                    <a:pt x="190" y="120"/>
                  </a:lnTo>
                  <a:lnTo>
                    <a:pt x="204" y="138"/>
                  </a:lnTo>
                  <a:lnTo>
                    <a:pt x="216" y="138"/>
                  </a:lnTo>
                  <a:lnTo>
                    <a:pt x="230" y="130"/>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8" name="Freeform 60">
              <a:extLst>
                <a:ext uri="{FF2B5EF4-FFF2-40B4-BE49-F238E27FC236}">
                  <a16:creationId xmlns:a16="http://schemas.microsoft.com/office/drawing/2014/main" id="{D89C2552-D58B-466C-B283-6B0A73A4B2B9}"/>
                </a:ext>
              </a:extLst>
            </p:cNvPr>
            <p:cNvSpPr>
              <a:spLocks/>
            </p:cNvSpPr>
            <p:nvPr/>
          </p:nvSpPr>
          <p:spPr bwMode="auto">
            <a:xfrm>
              <a:off x="3712217" y="2512947"/>
              <a:ext cx="385664" cy="511228"/>
            </a:xfrm>
            <a:custGeom>
              <a:avLst/>
              <a:gdLst>
                <a:gd name="T0" fmla="*/ 170 w 258"/>
                <a:gd name="T1" fmla="*/ 224 h 342"/>
                <a:gd name="T2" fmla="*/ 196 w 258"/>
                <a:gd name="T3" fmla="*/ 198 h 342"/>
                <a:gd name="T4" fmla="*/ 216 w 258"/>
                <a:gd name="T5" fmla="*/ 182 h 342"/>
                <a:gd name="T6" fmla="*/ 230 w 258"/>
                <a:gd name="T7" fmla="*/ 146 h 342"/>
                <a:gd name="T8" fmla="*/ 258 w 258"/>
                <a:gd name="T9" fmla="*/ 130 h 342"/>
                <a:gd name="T10" fmla="*/ 236 w 258"/>
                <a:gd name="T11" fmla="*/ 122 h 342"/>
                <a:gd name="T12" fmla="*/ 210 w 258"/>
                <a:gd name="T13" fmla="*/ 104 h 342"/>
                <a:gd name="T14" fmla="*/ 190 w 258"/>
                <a:gd name="T15" fmla="*/ 80 h 342"/>
                <a:gd name="T16" fmla="*/ 162 w 258"/>
                <a:gd name="T17" fmla="*/ 50 h 342"/>
                <a:gd name="T18" fmla="*/ 130 w 258"/>
                <a:gd name="T19" fmla="*/ 26 h 342"/>
                <a:gd name="T20" fmla="*/ 94 w 258"/>
                <a:gd name="T21" fmla="*/ 8 h 342"/>
                <a:gd name="T22" fmla="*/ 68 w 258"/>
                <a:gd name="T23" fmla="*/ 0 h 342"/>
                <a:gd name="T24" fmla="*/ 42 w 258"/>
                <a:gd name="T25" fmla="*/ 8 h 342"/>
                <a:gd name="T26" fmla="*/ 14 w 258"/>
                <a:gd name="T27" fmla="*/ 8 h 342"/>
                <a:gd name="T28" fmla="*/ 10 w 258"/>
                <a:gd name="T29" fmla="*/ 6 h 342"/>
                <a:gd name="T30" fmla="*/ 0 w 258"/>
                <a:gd name="T31" fmla="*/ 34 h 342"/>
                <a:gd name="T32" fmla="*/ 6 w 258"/>
                <a:gd name="T33" fmla="*/ 70 h 342"/>
                <a:gd name="T34" fmla="*/ 6 w 258"/>
                <a:gd name="T35" fmla="*/ 104 h 342"/>
                <a:gd name="T36" fmla="*/ 22 w 258"/>
                <a:gd name="T37" fmla="*/ 140 h 342"/>
                <a:gd name="T38" fmla="*/ 14 w 258"/>
                <a:gd name="T39" fmla="*/ 174 h 342"/>
                <a:gd name="T40" fmla="*/ 14 w 258"/>
                <a:gd name="T41" fmla="*/ 208 h 342"/>
                <a:gd name="T42" fmla="*/ 28 w 258"/>
                <a:gd name="T43" fmla="*/ 242 h 342"/>
                <a:gd name="T44" fmla="*/ 42 w 258"/>
                <a:gd name="T45" fmla="*/ 268 h 342"/>
                <a:gd name="T46" fmla="*/ 48 w 258"/>
                <a:gd name="T47" fmla="*/ 304 h 342"/>
                <a:gd name="T48" fmla="*/ 46 w 258"/>
                <a:gd name="T49" fmla="*/ 300 h 342"/>
                <a:gd name="T50" fmla="*/ 68 w 258"/>
                <a:gd name="T51" fmla="*/ 312 h 342"/>
                <a:gd name="T52" fmla="*/ 94 w 258"/>
                <a:gd name="T53" fmla="*/ 304 h 342"/>
                <a:gd name="T54" fmla="*/ 122 w 258"/>
                <a:gd name="T55" fmla="*/ 328 h 342"/>
                <a:gd name="T56" fmla="*/ 142 w 258"/>
                <a:gd name="T57" fmla="*/ 336 h 342"/>
                <a:gd name="T58" fmla="*/ 168 w 258"/>
                <a:gd name="T59" fmla="*/ 316 h 342"/>
                <a:gd name="T60" fmla="*/ 170 w 258"/>
                <a:gd name="T61" fmla="*/ 286 h 342"/>
                <a:gd name="T62" fmla="*/ 176 w 258"/>
                <a:gd name="T63" fmla="*/ 250 h 342"/>
                <a:gd name="T64" fmla="*/ 184 w 258"/>
                <a:gd name="T65" fmla="*/ 2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8" h="342">
                  <a:moveTo>
                    <a:pt x="184" y="242"/>
                  </a:moveTo>
                  <a:lnTo>
                    <a:pt x="170" y="224"/>
                  </a:lnTo>
                  <a:lnTo>
                    <a:pt x="184" y="208"/>
                  </a:lnTo>
                  <a:lnTo>
                    <a:pt x="196" y="198"/>
                  </a:lnTo>
                  <a:lnTo>
                    <a:pt x="210" y="198"/>
                  </a:lnTo>
                  <a:lnTo>
                    <a:pt x="216" y="182"/>
                  </a:lnTo>
                  <a:lnTo>
                    <a:pt x="222" y="164"/>
                  </a:lnTo>
                  <a:lnTo>
                    <a:pt x="230" y="146"/>
                  </a:lnTo>
                  <a:lnTo>
                    <a:pt x="244" y="140"/>
                  </a:lnTo>
                  <a:lnTo>
                    <a:pt x="258" y="130"/>
                  </a:lnTo>
                  <a:lnTo>
                    <a:pt x="250" y="122"/>
                  </a:lnTo>
                  <a:lnTo>
                    <a:pt x="236" y="122"/>
                  </a:lnTo>
                  <a:lnTo>
                    <a:pt x="222" y="112"/>
                  </a:lnTo>
                  <a:lnTo>
                    <a:pt x="210" y="104"/>
                  </a:lnTo>
                  <a:lnTo>
                    <a:pt x="204" y="86"/>
                  </a:lnTo>
                  <a:lnTo>
                    <a:pt x="190" y="80"/>
                  </a:lnTo>
                  <a:lnTo>
                    <a:pt x="176" y="60"/>
                  </a:lnTo>
                  <a:lnTo>
                    <a:pt x="162" y="50"/>
                  </a:lnTo>
                  <a:lnTo>
                    <a:pt x="148" y="42"/>
                  </a:lnTo>
                  <a:lnTo>
                    <a:pt x="130" y="26"/>
                  </a:lnTo>
                  <a:lnTo>
                    <a:pt x="108" y="16"/>
                  </a:lnTo>
                  <a:lnTo>
                    <a:pt x="94" y="8"/>
                  </a:lnTo>
                  <a:lnTo>
                    <a:pt x="82" y="0"/>
                  </a:lnTo>
                  <a:lnTo>
                    <a:pt x="68" y="0"/>
                  </a:lnTo>
                  <a:lnTo>
                    <a:pt x="54" y="8"/>
                  </a:lnTo>
                  <a:lnTo>
                    <a:pt x="42" y="8"/>
                  </a:lnTo>
                  <a:lnTo>
                    <a:pt x="28" y="8"/>
                  </a:lnTo>
                  <a:lnTo>
                    <a:pt x="14" y="8"/>
                  </a:lnTo>
                  <a:lnTo>
                    <a:pt x="14" y="6"/>
                  </a:lnTo>
                  <a:lnTo>
                    <a:pt x="10" y="6"/>
                  </a:lnTo>
                  <a:lnTo>
                    <a:pt x="6" y="16"/>
                  </a:lnTo>
                  <a:lnTo>
                    <a:pt x="0" y="34"/>
                  </a:lnTo>
                  <a:lnTo>
                    <a:pt x="0" y="50"/>
                  </a:lnTo>
                  <a:lnTo>
                    <a:pt x="6" y="70"/>
                  </a:lnTo>
                  <a:lnTo>
                    <a:pt x="6" y="86"/>
                  </a:lnTo>
                  <a:lnTo>
                    <a:pt x="6" y="104"/>
                  </a:lnTo>
                  <a:lnTo>
                    <a:pt x="6" y="122"/>
                  </a:lnTo>
                  <a:lnTo>
                    <a:pt x="22" y="140"/>
                  </a:lnTo>
                  <a:lnTo>
                    <a:pt x="14" y="156"/>
                  </a:lnTo>
                  <a:lnTo>
                    <a:pt x="14" y="174"/>
                  </a:lnTo>
                  <a:lnTo>
                    <a:pt x="6" y="190"/>
                  </a:lnTo>
                  <a:lnTo>
                    <a:pt x="14" y="208"/>
                  </a:lnTo>
                  <a:lnTo>
                    <a:pt x="22" y="224"/>
                  </a:lnTo>
                  <a:lnTo>
                    <a:pt x="28" y="242"/>
                  </a:lnTo>
                  <a:lnTo>
                    <a:pt x="42" y="250"/>
                  </a:lnTo>
                  <a:lnTo>
                    <a:pt x="42" y="268"/>
                  </a:lnTo>
                  <a:lnTo>
                    <a:pt x="42" y="286"/>
                  </a:lnTo>
                  <a:lnTo>
                    <a:pt x="48" y="304"/>
                  </a:lnTo>
                  <a:lnTo>
                    <a:pt x="42" y="304"/>
                  </a:lnTo>
                  <a:lnTo>
                    <a:pt x="46" y="300"/>
                  </a:lnTo>
                  <a:lnTo>
                    <a:pt x="54" y="312"/>
                  </a:lnTo>
                  <a:lnTo>
                    <a:pt x="68" y="312"/>
                  </a:lnTo>
                  <a:lnTo>
                    <a:pt x="82" y="304"/>
                  </a:lnTo>
                  <a:lnTo>
                    <a:pt x="94" y="304"/>
                  </a:lnTo>
                  <a:lnTo>
                    <a:pt x="108" y="312"/>
                  </a:lnTo>
                  <a:lnTo>
                    <a:pt x="122" y="328"/>
                  </a:lnTo>
                  <a:lnTo>
                    <a:pt x="136" y="342"/>
                  </a:lnTo>
                  <a:lnTo>
                    <a:pt x="142" y="336"/>
                  </a:lnTo>
                  <a:lnTo>
                    <a:pt x="152" y="316"/>
                  </a:lnTo>
                  <a:lnTo>
                    <a:pt x="168" y="316"/>
                  </a:lnTo>
                  <a:lnTo>
                    <a:pt x="170" y="304"/>
                  </a:lnTo>
                  <a:lnTo>
                    <a:pt x="170" y="286"/>
                  </a:lnTo>
                  <a:lnTo>
                    <a:pt x="176" y="268"/>
                  </a:lnTo>
                  <a:lnTo>
                    <a:pt x="176" y="250"/>
                  </a:lnTo>
                  <a:lnTo>
                    <a:pt x="180" y="242"/>
                  </a:lnTo>
                  <a:lnTo>
                    <a:pt x="184" y="242"/>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9" name="Freeform 86">
              <a:extLst>
                <a:ext uri="{FF2B5EF4-FFF2-40B4-BE49-F238E27FC236}">
                  <a16:creationId xmlns:a16="http://schemas.microsoft.com/office/drawing/2014/main" id="{1A20C7B1-25B6-460D-8C79-9BDCFA0FC09E}"/>
                </a:ext>
              </a:extLst>
            </p:cNvPr>
            <p:cNvSpPr>
              <a:spLocks/>
            </p:cNvSpPr>
            <p:nvPr/>
          </p:nvSpPr>
          <p:spPr bwMode="auto">
            <a:xfrm>
              <a:off x="1948330" y="1956874"/>
              <a:ext cx="1288535" cy="1243690"/>
            </a:xfrm>
            <a:custGeom>
              <a:avLst/>
              <a:gdLst>
                <a:gd name="T0" fmla="*/ 546 w 862"/>
                <a:gd name="T1" fmla="*/ 174 h 832"/>
                <a:gd name="T2" fmla="*/ 592 w 862"/>
                <a:gd name="T3" fmla="*/ 182 h 832"/>
                <a:gd name="T4" fmla="*/ 648 w 862"/>
                <a:gd name="T5" fmla="*/ 192 h 832"/>
                <a:gd name="T6" fmla="*/ 700 w 862"/>
                <a:gd name="T7" fmla="*/ 192 h 832"/>
                <a:gd name="T8" fmla="*/ 680 w 862"/>
                <a:gd name="T9" fmla="*/ 260 h 832"/>
                <a:gd name="T10" fmla="*/ 712 w 862"/>
                <a:gd name="T11" fmla="*/ 252 h 832"/>
                <a:gd name="T12" fmla="*/ 768 w 862"/>
                <a:gd name="T13" fmla="*/ 216 h 832"/>
                <a:gd name="T14" fmla="*/ 822 w 862"/>
                <a:gd name="T15" fmla="*/ 244 h 832"/>
                <a:gd name="T16" fmla="*/ 862 w 862"/>
                <a:gd name="T17" fmla="*/ 250 h 832"/>
                <a:gd name="T18" fmla="*/ 850 w 862"/>
                <a:gd name="T19" fmla="*/ 322 h 832"/>
                <a:gd name="T20" fmla="*/ 822 w 862"/>
                <a:gd name="T21" fmla="*/ 382 h 832"/>
                <a:gd name="T22" fmla="*/ 782 w 862"/>
                <a:gd name="T23" fmla="*/ 442 h 832"/>
                <a:gd name="T24" fmla="*/ 740 w 862"/>
                <a:gd name="T25" fmla="*/ 484 h 832"/>
                <a:gd name="T26" fmla="*/ 688 w 862"/>
                <a:gd name="T27" fmla="*/ 512 h 832"/>
                <a:gd name="T28" fmla="*/ 726 w 862"/>
                <a:gd name="T29" fmla="*/ 546 h 832"/>
                <a:gd name="T30" fmla="*/ 694 w 862"/>
                <a:gd name="T31" fmla="*/ 606 h 832"/>
                <a:gd name="T32" fmla="*/ 648 w 862"/>
                <a:gd name="T33" fmla="*/ 640 h 832"/>
                <a:gd name="T34" fmla="*/ 648 w 862"/>
                <a:gd name="T35" fmla="*/ 710 h 832"/>
                <a:gd name="T36" fmla="*/ 612 w 862"/>
                <a:gd name="T37" fmla="*/ 772 h 832"/>
                <a:gd name="T38" fmla="*/ 574 w 862"/>
                <a:gd name="T39" fmla="*/ 822 h 832"/>
                <a:gd name="T40" fmla="*/ 492 w 862"/>
                <a:gd name="T41" fmla="*/ 832 h 832"/>
                <a:gd name="T42" fmla="*/ 404 w 862"/>
                <a:gd name="T43" fmla="*/ 822 h 832"/>
                <a:gd name="T44" fmla="*/ 330 w 862"/>
                <a:gd name="T45" fmla="*/ 822 h 832"/>
                <a:gd name="T46" fmla="*/ 242 w 862"/>
                <a:gd name="T47" fmla="*/ 822 h 832"/>
                <a:gd name="T48" fmla="*/ 174 w 862"/>
                <a:gd name="T49" fmla="*/ 822 h 832"/>
                <a:gd name="T50" fmla="*/ 136 w 862"/>
                <a:gd name="T51" fmla="*/ 780 h 832"/>
                <a:gd name="T52" fmla="*/ 100 w 862"/>
                <a:gd name="T53" fmla="*/ 728 h 832"/>
                <a:gd name="T54" fmla="*/ 80 w 862"/>
                <a:gd name="T55" fmla="*/ 676 h 832"/>
                <a:gd name="T56" fmla="*/ 60 w 862"/>
                <a:gd name="T57" fmla="*/ 616 h 832"/>
                <a:gd name="T58" fmla="*/ 94 w 862"/>
                <a:gd name="T59" fmla="*/ 520 h 832"/>
                <a:gd name="T60" fmla="*/ 140 w 862"/>
                <a:gd name="T61" fmla="*/ 424 h 832"/>
                <a:gd name="T62" fmla="*/ 180 w 862"/>
                <a:gd name="T63" fmla="*/ 322 h 832"/>
                <a:gd name="T64" fmla="*/ 126 w 862"/>
                <a:gd name="T65" fmla="*/ 304 h 832"/>
                <a:gd name="T66" fmla="*/ 88 w 862"/>
                <a:gd name="T67" fmla="*/ 278 h 832"/>
                <a:gd name="T68" fmla="*/ 38 w 862"/>
                <a:gd name="T69" fmla="*/ 244 h 832"/>
                <a:gd name="T70" fmla="*/ 6 w 862"/>
                <a:gd name="T71" fmla="*/ 174 h 832"/>
                <a:gd name="T72" fmla="*/ 8 w 862"/>
                <a:gd name="T73" fmla="*/ 130 h 832"/>
                <a:gd name="T74" fmla="*/ 8 w 862"/>
                <a:gd name="T75" fmla="*/ 94 h 832"/>
                <a:gd name="T76" fmla="*/ 60 w 862"/>
                <a:gd name="T77" fmla="*/ 70 h 832"/>
                <a:gd name="T78" fmla="*/ 114 w 862"/>
                <a:gd name="T79" fmla="*/ 42 h 832"/>
                <a:gd name="T80" fmla="*/ 170 w 862"/>
                <a:gd name="T81" fmla="*/ 50 h 832"/>
                <a:gd name="T82" fmla="*/ 202 w 862"/>
                <a:gd name="T83" fmla="*/ 28 h 832"/>
                <a:gd name="T84" fmla="*/ 242 w 862"/>
                <a:gd name="T85" fmla="*/ 10 h 832"/>
                <a:gd name="T86" fmla="*/ 278 w 862"/>
                <a:gd name="T87" fmla="*/ 16 h 832"/>
                <a:gd name="T88" fmla="*/ 324 w 862"/>
                <a:gd name="T89" fmla="*/ 62 h 832"/>
                <a:gd name="T90" fmla="*/ 370 w 862"/>
                <a:gd name="T91" fmla="*/ 88 h 832"/>
                <a:gd name="T92" fmla="*/ 404 w 862"/>
                <a:gd name="T93" fmla="*/ 148 h 832"/>
                <a:gd name="T94" fmla="*/ 436 w 862"/>
                <a:gd name="T95" fmla="*/ 210 h 832"/>
                <a:gd name="T96" fmla="*/ 484 w 862"/>
                <a:gd name="T97" fmla="*/ 234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2" h="832">
                  <a:moveTo>
                    <a:pt x="502" y="208"/>
                  </a:moveTo>
                  <a:lnTo>
                    <a:pt x="520" y="200"/>
                  </a:lnTo>
                  <a:lnTo>
                    <a:pt x="534" y="192"/>
                  </a:lnTo>
                  <a:lnTo>
                    <a:pt x="546" y="174"/>
                  </a:lnTo>
                  <a:lnTo>
                    <a:pt x="558" y="174"/>
                  </a:lnTo>
                  <a:lnTo>
                    <a:pt x="564" y="192"/>
                  </a:lnTo>
                  <a:lnTo>
                    <a:pt x="578" y="192"/>
                  </a:lnTo>
                  <a:lnTo>
                    <a:pt x="592" y="182"/>
                  </a:lnTo>
                  <a:lnTo>
                    <a:pt x="606" y="182"/>
                  </a:lnTo>
                  <a:lnTo>
                    <a:pt x="620" y="192"/>
                  </a:lnTo>
                  <a:lnTo>
                    <a:pt x="634" y="200"/>
                  </a:lnTo>
                  <a:lnTo>
                    <a:pt x="648" y="192"/>
                  </a:lnTo>
                  <a:lnTo>
                    <a:pt x="660" y="182"/>
                  </a:lnTo>
                  <a:lnTo>
                    <a:pt x="674" y="192"/>
                  </a:lnTo>
                  <a:lnTo>
                    <a:pt x="688" y="192"/>
                  </a:lnTo>
                  <a:lnTo>
                    <a:pt x="700" y="192"/>
                  </a:lnTo>
                  <a:lnTo>
                    <a:pt x="708" y="210"/>
                  </a:lnTo>
                  <a:lnTo>
                    <a:pt x="694" y="226"/>
                  </a:lnTo>
                  <a:lnTo>
                    <a:pt x="688" y="244"/>
                  </a:lnTo>
                  <a:lnTo>
                    <a:pt x="680" y="260"/>
                  </a:lnTo>
                  <a:lnTo>
                    <a:pt x="680" y="278"/>
                  </a:lnTo>
                  <a:lnTo>
                    <a:pt x="694" y="278"/>
                  </a:lnTo>
                  <a:lnTo>
                    <a:pt x="708" y="268"/>
                  </a:lnTo>
                  <a:lnTo>
                    <a:pt x="712" y="252"/>
                  </a:lnTo>
                  <a:lnTo>
                    <a:pt x="720" y="234"/>
                  </a:lnTo>
                  <a:lnTo>
                    <a:pt x="734" y="226"/>
                  </a:lnTo>
                  <a:lnTo>
                    <a:pt x="748" y="216"/>
                  </a:lnTo>
                  <a:lnTo>
                    <a:pt x="768" y="216"/>
                  </a:lnTo>
                  <a:lnTo>
                    <a:pt x="782" y="226"/>
                  </a:lnTo>
                  <a:lnTo>
                    <a:pt x="796" y="234"/>
                  </a:lnTo>
                  <a:lnTo>
                    <a:pt x="810" y="234"/>
                  </a:lnTo>
                  <a:lnTo>
                    <a:pt x="822" y="244"/>
                  </a:lnTo>
                  <a:lnTo>
                    <a:pt x="836" y="244"/>
                  </a:lnTo>
                  <a:lnTo>
                    <a:pt x="850" y="244"/>
                  </a:lnTo>
                  <a:lnTo>
                    <a:pt x="862" y="252"/>
                  </a:lnTo>
                  <a:lnTo>
                    <a:pt x="862" y="250"/>
                  </a:lnTo>
                  <a:lnTo>
                    <a:pt x="862" y="260"/>
                  </a:lnTo>
                  <a:lnTo>
                    <a:pt x="856" y="278"/>
                  </a:lnTo>
                  <a:lnTo>
                    <a:pt x="856" y="304"/>
                  </a:lnTo>
                  <a:lnTo>
                    <a:pt x="850" y="322"/>
                  </a:lnTo>
                  <a:lnTo>
                    <a:pt x="842" y="338"/>
                  </a:lnTo>
                  <a:lnTo>
                    <a:pt x="828" y="346"/>
                  </a:lnTo>
                  <a:lnTo>
                    <a:pt x="822" y="366"/>
                  </a:lnTo>
                  <a:lnTo>
                    <a:pt x="822" y="382"/>
                  </a:lnTo>
                  <a:lnTo>
                    <a:pt x="814" y="400"/>
                  </a:lnTo>
                  <a:lnTo>
                    <a:pt x="810" y="416"/>
                  </a:lnTo>
                  <a:lnTo>
                    <a:pt x="796" y="434"/>
                  </a:lnTo>
                  <a:lnTo>
                    <a:pt x="782" y="442"/>
                  </a:lnTo>
                  <a:lnTo>
                    <a:pt x="774" y="458"/>
                  </a:lnTo>
                  <a:lnTo>
                    <a:pt x="768" y="476"/>
                  </a:lnTo>
                  <a:lnTo>
                    <a:pt x="756" y="476"/>
                  </a:lnTo>
                  <a:lnTo>
                    <a:pt x="740" y="484"/>
                  </a:lnTo>
                  <a:lnTo>
                    <a:pt x="726" y="484"/>
                  </a:lnTo>
                  <a:lnTo>
                    <a:pt x="712" y="502"/>
                  </a:lnTo>
                  <a:lnTo>
                    <a:pt x="708" y="512"/>
                  </a:lnTo>
                  <a:lnTo>
                    <a:pt x="688" y="512"/>
                  </a:lnTo>
                  <a:lnTo>
                    <a:pt x="688" y="530"/>
                  </a:lnTo>
                  <a:lnTo>
                    <a:pt x="700" y="538"/>
                  </a:lnTo>
                  <a:lnTo>
                    <a:pt x="712" y="538"/>
                  </a:lnTo>
                  <a:lnTo>
                    <a:pt x="726" y="546"/>
                  </a:lnTo>
                  <a:lnTo>
                    <a:pt x="712" y="562"/>
                  </a:lnTo>
                  <a:lnTo>
                    <a:pt x="712" y="582"/>
                  </a:lnTo>
                  <a:lnTo>
                    <a:pt x="700" y="590"/>
                  </a:lnTo>
                  <a:lnTo>
                    <a:pt x="694" y="606"/>
                  </a:lnTo>
                  <a:lnTo>
                    <a:pt x="680" y="622"/>
                  </a:lnTo>
                  <a:lnTo>
                    <a:pt x="666" y="622"/>
                  </a:lnTo>
                  <a:lnTo>
                    <a:pt x="654" y="622"/>
                  </a:lnTo>
                  <a:lnTo>
                    <a:pt x="648" y="640"/>
                  </a:lnTo>
                  <a:lnTo>
                    <a:pt x="654" y="660"/>
                  </a:lnTo>
                  <a:lnTo>
                    <a:pt x="648" y="676"/>
                  </a:lnTo>
                  <a:lnTo>
                    <a:pt x="648" y="692"/>
                  </a:lnTo>
                  <a:lnTo>
                    <a:pt x="648" y="710"/>
                  </a:lnTo>
                  <a:lnTo>
                    <a:pt x="640" y="728"/>
                  </a:lnTo>
                  <a:lnTo>
                    <a:pt x="634" y="744"/>
                  </a:lnTo>
                  <a:lnTo>
                    <a:pt x="626" y="760"/>
                  </a:lnTo>
                  <a:lnTo>
                    <a:pt x="612" y="772"/>
                  </a:lnTo>
                  <a:lnTo>
                    <a:pt x="598" y="788"/>
                  </a:lnTo>
                  <a:lnTo>
                    <a:pt x="592" y="804"/>
                  </a:lnTo>
                  <a:lnTo>
                    <a:pt x="586" y="822"/>
                  </a:lnTo>
                  <a:lnTo>
                    <a:pt x="574" y="822"/>
                  </a:lnTo>
                  <a:lnTo>
                    <a:pt x="552" y="822"/>
                  </a:lnTo>
                  <a:lnTo>
                    <a:pt x="534" y="832"/>
                  </a:lnTo>
                  <a:lnTo>
                    <a:pt x="510" y="832"/>
                  </a:lnTo>
                  <a:lnTo>
                    <a:pt x="492" y="832"/>
                  </a:lnTo>
                  <a:lnTo>
                    <a:pt x="472" y="832"/>
                  </a:lnTo>
                  <a:lnTo>
                    <a:pt x="452" y="822"/>
                  </a:lnTo>
                  <a:lnTo>
                    <a:pt x="432" y="822"/>
                  </a:lnTo>
                  <a:lnTo>
                    <a:pt x="404" y="822"/>
                  </a:lnTo>
                  <a:lnTo>
                    <a:pt x="384" y="822"/>
                  </a:lnTo>
                  <a:lnTo>
                    <a:pt x="362" y="822"/>
                  </a:lnTo>
                  <a:lnTo>
                    <a:pt x="350" y="822"/>
                  </a:lnTo>
                  <a:lnTo>
                    <a:pt x="330" y="822"/>
                  </a:lnTo>
                  <a:lnTo>
                    <a:pt x="308" y="822"/>
                  </a:lnTo>
                  <a:lnTo>
                    <a:pt x="282" y="822"/>
                  </a:lnTo>
                  <a:lnTo>
                    <a:pt x="264" y="822"/>
                  </a:lnTo>
                  <a:lnTo>
                    <a:pt x="242" y="822"/>
                  </a:lnTo>
                  <a:lnTo>
                    <a:pt x="222" y="822"/>
                  </a:lnTo>
                  <a:lnTo>
                    <a:pt x="202" y="814"/>
                  </a:lnTo>
                  <a:lnTo>
                    <a:pt x="188" y="814"/>
                  </a:lnTo>
                  <a:lnTo>
                    <a:pt x="174" y="822"/>
                  </a:lnTo>
                  <a:lnTo>
                    <a:pt x="162" y="814"/>
                  </a:lnTo>
                  <a:lnTo>
                    <a:pt x="154" y="798"/>
                  </a:lnTo>
                  <a:lnTo>
                    <a:pt x="140" y="798"/>
                  </a:lnTo>
                  <a:lnTo>
                    <a:pt x="136" y="780"/>
                  </a:lnTo>
                  <a:lnTo>
                    <a:pt x="122" y="760"/>
                  </a:lnTo>
                  <a:lnTo>
                    <a:pt x="106" y="760"/>
                  </a:lnTo>
                  <a:lnTo>
                    <a:pt x="100" y="744"/>
                  </a:lnTo>
                  <a:lnTo>
                    <a:pt x="100" y="728"/>
                  </a:lnTo>
                  <a:lnTo>
                    <a:pt x="94" y="710"/>
                  </a:lnTo>
                  <a:lnTo>
                    <a:pt x="88" y="692"/>
                  </a:lnTo>
                  <a:lnTo>
                    <a:pt x="80" y="684"/>
                  </a:lnTo>
                  <a:lnTo>
                    <a:pt x="80" y="676"/>
                  </a:lnTo>
                  <a:lnTo>
                    <a:pt x="80" y="668"/>
                  </a:lnTo>
                  <a:lnTo>
                    <a:pt x="74" y="650"/>
                  </a:lnTo>
                  <a:lnTo>
                    <a:pt x="60" y="632"/>
                  </a:lnTo>
                  <a:lnTo>
                    <a:pt x="60" y="616"/>
                  </a:lnTo>
                  <a:lnTo>
                    <a:pt x="68" y="598"/>
                  </a:lnTo>
                  <a:lnTo>
                    <a:pt x="74" y="582"/>
                  </a:lnTo>
                  <a:lnTo>
                    <a:pt x="88" y="546"/>
                  </a:lnTo>
                  <a:lnTo>
                    <a:pt x="94" y="520"/>
                  </a:lnTo>
                  <a:lnTo>
                    <a:pt x="106" y="496"/>
                  </a:lnTo>
                  <a:lnTo>
                    <a:pt x="114" y="476"/>
                  </a:lnTo>
                  <a:lnTo>
                    <a:pt x="126" y="452"/>
                  </a:lnTo>
                  <a:lnTo>
                    <a:pt x="140" y="424"/>
                  </a:lnTo>
                  <a:lnTo>
                    <a:pt x="154" y="390"/>
                  </a:lnTo>
                  <a:lnTo>
                    <a:pt x="162" y="374"/>
                  </a:lnTo>
                  <a:lnTo>
                    <a:pt x="168" y="346"/>
                  </a:lnTo>
                  <a:lnTo>
                    <a:pt x="180" y="322"/>
                  </a:lnTo>
                  <a:lnTo>
                    <a:pt x="180" y="304"/>
                  </a:lnTo>
                  <a:lnTo>
                    <a:pt x="162" y="312"/>
                  </a:lnTo>
                  <a:lnTo>
                    <a:pt x="140" y="312"/>
                  </a:lnTo>
                  <a:lnTo>
                    <a:pt x="126" y="304"/>
                  </a:lnTo>
                  <a:lnTo>
                    <a:pt x="122" y="288"/>
                  </a:lnTo>
                  <a:lnTo>
                    <a:pt x="114" y="278"/>
                  </a:lnTo>
                  <a:lnTo>
                    <a:pt x="100" y="278"/>
                  </a:lnTo>
                  <a:lnTo>
                    <a:pt x="88" y="278"/>
                  </a:lnTo>
                  <a:lnTo>
                    <a:pt x="74" y="278"/>
                  </a:lnTo>
                  <a:lnTo>
                    <a:pt x="52" y="268"/>
                  </a:lnTo>
                  <a:lnTo>
                    <a:pt x="38" y="260"/>
                  </a:lnTo>
                  <a:lnTo>
                    <a:pt x="38" y="244"/>
                  </a:lnTo>
                  <a:lnTo>
                    <a:pt x="26" y="226"/>
                  </a:lnTo>
                  <a:lnTo>
                    <a:pt x="20" y="210"/>
                  </a:lnTo>
                  <a:lnTo>
                    <a:pt x="14" y="192"/>
                  </a:lnTo>
                  <a:lnTo>
                    <a:pt x="6" y="174"/>
                  </a:lnTo>
                  <a:lnTo>
                    <a:pt x="6" y="156"/>
                  </a:lnTo>
                  <a:lnTo>
                    <a:pt x="8" y="156"/>
                  </a:lnTo>
                  <a:lnTo>
                    <a:pt x="14" y="148"/>
                  </a:lnTo>
                  <a:lnTo>
                    <a:pt x="8" y="130"/>
                  </a:lnTo>
                  <a:lnTo>
                    <a:pt x="14" y="122"/>
                  </a:lnTo>
                  <a:lnTo>
                    <a:pt x="8" y="104"/>
                  </a:lnTo>
                  <a:lnTo>
                    <a:pt x="0" y="94"/>
                  </a:lnTo>
                  <a:lnTo>
                    <a:pt x="8" y="94"/>
                  </a:lnTo>
                  <a:lnTo>
                    <a:pt x="20" y="94"/>
                  </a:lnTo>
                  <a:lnTo>
                    <a:pt x="34" y="94"/>
                  </a:lnTo>
                  <a:lnTo>
                    <a:pt x="48" y="88"/>
                  </a:lnTo>
                  <a:lnTo>
                    <a:pt x="60" y="70"/>
                  </a:lnTo>
                  <a:lnTo>
                    <a:pt x="76" y="60"/>
                  </a:lnTo>
                  <a:lnTo>
                    <a:pt x="88" y="60"/>
                  </a:lnTo>
                  <a:lnTo>
                    <a:pt x="100" y="60"/>
                  </a:lnTo>
                  <a:lnTo>
                    <a:pt x="114" y="42"/>
                  </a:lnTo>
                  <a:lnTo>
                    <a:pt x="126" y="42"/>
                  </a:lnTo>
                  <a:lnTo>
                    <a:pt x="142" y="42"/>
                  </a:lnTo>
                  <a:lnTo>
                    <a:pt x="154" y="50"/>
                  </a:lnTo>
                  <a:lnTo>
                    <a:pt x="170" y="50"/>
                  </a:lnTo>
                  <a:lnTo>
                    <a:pt x="182" y="50"/>
                  </a:lnTo>
                  <a:lnTo>
                    <a:pt x="198" y="50"/>
                  </a:lnTo>
                  <a:lnTo>
                    <a:pt x="210" y="42"/>
                  </a:lnTo>
                  <a:lnTo>
                    <a:pt x="202" y="28"/>
                  </a:lnTo>
                  <a:lnTo>
                    <a:pt x="202" y="10"/>
                  </a:lnTo>
                  <a:lnTo>
                    <a:pt x="214" y="10"/>
                  </a:lnTo>
                  <a:lnTo>
                    <a:pt x="230" y="10"/>
                  </a:lnTo>
                  <a:lnTo>
                    <a:pt x="242" y="10"/>
                  </a:lnTo>
                  <a:lnTo>
                    <a:pt x="256" y="0"/>
                  </a:lnTo>
                  <a:lnTo>
                    <a:pt x="270" y="10"/>
                  </a:lnTo>
                  <a:lnTo>
                    <a:pt x="282" y="16"/>
                  </a:lnTo>
                  <a:lnTo>
                    <a:pt x="278" y="16"/>
                  </a:lnTo>
                  <a:lnTo>
                    <a:pt x="296" y="36"/>
                  </a:lnTo>
                  <a:lnTo>
                    <a:pt x="296" y="54"/>
                  </a:lnTo>
                  <a:lnTo>
                    <a:pt x="308" y="54"/>
                  </a:lnTo>
                  <a:lnTo>
                    <a:pt x="324" y="62"/>
                  </a:lnTo>
                  <a:lnTo>
                    <a:pt x="336" y="72"/>
                  </a:lnTo>
                  <a:lnTo>
                    <a:pt x="348" y="72"/>
                  </a:lnTo>
                  <a:lnTo>
                    <a:pt x="356" y="88"/>
                  </a:lnTo>
                  <a:lnTo>
                    <a:pt x="370" y="88"/>
                  </a:lnTo>
                  <a:lnTo>
                    <a:pt x="376" y="106"/>
                  </a:lnTo>
                  <a:lnTo>
                    <a:pt x="390" y="124"/>
                  </a:lnTo>
                  <a:lnTo>
                    <a:pt x="404" y="132"/>
                  </a:lnTo>
                  <a:lnTo>
                    <a:pt x="404" y="148"/>
                  </a:lnTo>
                  <a:lnTo>
                    <a:pt x="404" y="166"/>
                  </a:lnTo>
                  <a:lnTo>
                    <a:pt x="416" y="182"/>
                  </a:lnTo>
                  <a:lnTo>
                    <a:pt x="430" y="192"/>
                  </a:lnTo>
                  <a:lnTo>
                    <a:pt x="436" y="210"/>
                  </a:lnTo>
                  <a:lnTo>
                    <a:pt x="442" y="226"/>
                  </a:lnTo>
                  <a:lnTo>
                    <a:pt x="458" y="244"/>
                  </a:lnTo>
                  <a:lnTo>
                    <a:pt x="470" y="244"/>
                  </a:lnTo>
                  <a:lnTo>
                    <a:pt x="484" y="234"/>
                  </a:lnTo>
                  <a:lnTo>
                    <a:pt x="502" y="208"/>
                  </a:lnTo>
                  <a:close/>
                </a:path>
              </a:pathLst>
            </a:custGeom>
            <a:grpFill/>
            <a:ln w="63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90" name="Freeform 92">
              <a:extLst>
                <a:ext uri="{FF2B5EF4-FFF2-40B4-BE49-F238E27FC236}">
                  <a16:creationId xmlns:a16="http://schemas.microsoft.com/office/drawing/2014/main" id="{12D028EF-6AF7-459B-9452-1381AE6ECEDB}"/>
                </a:ext>
              </a:extLst>
            </p:cNvPr>
            <p:cNvSpPr>
              <a:spLocks/>
            </p:cNvSpPr>
            <p:nvPr/>
          </p:nvSpPr>
          <p:spPr bwMode="auto">
            <a:xfrm>
              <a:off x="2773470" y="2722222"/>
              <a:ext cx="460405" cy="846068"/>
            </a:xfrm>
            <a:custGeom>
              <a:avLst/>
              <a:gdLst>
                <a:gd name="T0" fmla="*/ 8 w 308"/>
                <a:gd name="T1" fmla="*/ 512 h 566"/>
                <a:gd name="T2" fmla="*/ 92 w 308"/>
                <a:gd name="T3" fmla="*/ 528 h 566"/>
                <a:gd name="T4" fmla="*/ 126 w 308"/>
                <a:gd name="T5" fmla="*/ 554 h 566"/>
                <a:gd name="T6" fmla="*/ 202 w 308"/>
                <a:gd name="T7" fmla="*/ 546 h 566"/>
                <a:gd name="T8" fmla="*/ 284 w 308"/>
                <a:gd name="T9" fmla="*/ 566 h 566"/>
                <a:gd name="T10" fmla="*/ 284 w 308"/>
                <a:gd name="T11" fmla="*/ 562 h 566"/>
                <a:gd name="T12" fmla="*/ 300 w 308"/>
                <a:gd name="T13" fmla="*/ 536 h 566"/>
                <a:gd name="T14" fmla="*/ 292 w 308"/>
                <a:gd name="T15" fmla="*/ 500 h 566"/>
                <a:gd name="T16" fmla="*/ 292 w 308"/>
                <a:gd name="T17" fmla="*/ 474 h 566"/>
                <a:gd name="T18" fmla="*/ 300 w 308"/>
                <a:gd name="T19" fmla="*/ 448 h 566"/>
                <a:gd name="T20" fmla="*/ 292 w 308"/>
                <a:gd name="T21" fmla="*/ 432 h 566"/>
                <a:gd name="T22" fmla="*/ 278 w 308"/>
                <a:gd name="T23" fmla="*/ 414 h 566"/>
                <a:gd name="T24" fmla="*/ 292 w 308"/>
                <a:gd name="T25" fmla="*/ 380 h 566"/>
                <a:gd name="T26" fmla="*/ 308 w 308"/>
                <a:gd name="T27" fmla="*/ 362 h 566"/>
                <a:gd name="T28" fmla="*/ 290 w 308"/>
                <a:gd name="T29" fmla="*/ 362 h 566"/>
                <a:gd name="T30" fmla="*/ 270 w 308"/>
                <a:gd name="T31" fmla="*/ 336 h 566"/>
                <a:gd name="T32" fmla="*/ 264 w 308"/>
                <a:gd name="T33" fmla="*/ 300 h 566"/>
                <a:gd name="T34" fmla="*/ 244 w 308"/>
                <a:gd name="T35" fmla="*/ 276 h 566"/>
                <a:gd name="T36" fmla="*/ 252 w 308"/>
                <a:gd name="T37" fmla="*/ 240 h 566"/>
                <a:gd name="T38" fmla="*/ 276 w 308"/>
                <a:gd name="T39" fmla="*/ 214 h 566"/>
                <a:gd name="T40" fmla="*/ 258 w 308"/>
                <a:gd name="T41" fmla="*/ 196 h 566"/>
                <a:gd name="T42" fmla="*/ 230 w 308"/>
                <a:gd name="T43" fmla="*/ 188 h 566"/>
                <a:gd name="T44" fmla="*/ 210 w 308"/>
                <a:gd name="T45" fmla="*/ 162 h 566"/>
                <a:gd name="T46" fmla="*/ 202 w 308"/>
                <a:gd name="T47" fmla="*/ 136 h 566"/>
                <a:gd name="T48" fmla="*/ 216 w 308"/>
                <a:gd name="T49" fmla="*/ 102 h 566"/>
                <a:gd name="T50" fmla="*/ 216 w 308"/>
                <a:gd name="T51" fmla="*/ 68 h 566"/>
                <a:gd name="T52" fmla="*/ 210 w 308"/>
                <a:gd name="T53" fmla="*/ 32 h 566"/>
                <a:gd name="T54" fmla="*/ 182 w 308"/>
                <a:gd name="T55" fmla="*/ 24 h 566"/>
                <a:gd name="T56" fmla="*/ 162 w 308"/>
                <a:gd name="T57" fmla="*/ 8 h 566"/>
                <a:gd name="T58" fmla="*/ 148 w 308"/>
                <a:gd name="T59" fmla="*/ 8 h 566"/>
                <a:gd name="T60" fmla="*/ 136 w 308"/>
                <a:gd name="T61" fmla="*/ 0 h 566"/>
                <a:gd name="T62" fmla="*/ 148 w 308"/>
                <a:gd name="T63" fmla="*/ 26 h 566"/>
                <a:gd name="T64" fmla="*/ 174 w 308"/>
                <a:gd name="T65" fmla="*/ 34 h 566"/>
                <a:gd name="T66" fmla="*/ 160 w 308"/>
                <a:gd name="T67" fmla="*/ 70 h 566"/>
                <a:gd name="T68" fmla="*/ 142 w 308"/>
                <a:gd name="T69" fmla="*/ 94 h 566"/>
                <a:gd name="T70" fmla="*/ 114 w 308"/>
                <a:gd name="T71" fmla="*/ 110 h 566"/>
                <a:gd name="T72" fmla="*/ 96 w 308"/>
                <a:gd name="T73" fmla="*/ 128 h 566"/>
                <a:gd name="T74" fmla="*/ 96 w 308"/>
                <a:gd name="T75" fmla="*/ 164 h 566"/>
                <a:gd name="T76" fmla="*/ 96 w 308"/>
                <a:gd name="T77" fmla="*/ 198 h 566"/>
                <a:gd name="T78" fmla="*/ 82 w 308"/>
                <a:gd name="T79" fmla="*/ 232 h 566"/>
                <a:gd name="T80" fmla="*/ 60 w 308"/>
                <a:gd name="T81" fmla="*/ 260 h 566"/>
                <a:gd name="T82" fmla="*/ 44 w 308"/>
                <a:gd name="T83" fmla="*/ 282 h 566"/>
                <a:gd name="T84" fmla="*/ 20 w 308"/>
                <a:gd name="T85" fmla="*/ 328 h 566"/>
                <a:gd name="T86" fmla="*/ 6 w 308"/>
                <a:gd name="T87" fmla="*/ 362 h 566"/>
                <a:gd name="T88" fmla="*/ 0 w 308"/>
                <a:gd name="T89" fmla="*/ 388 h 566"/>
                <a:gd name="T90" fmla="*/ 6 w 308"/>
                <a:gd name="T91" fmla="*/ 422 h 566"/>
                <a:gd name="T92" fmla="*/ 0 w 308"/>
                <a:gd name="T93" fmla="*/ 458 h 566"/>
                <a:gd name="T94" fmla="*/ 0 w 308"/>
                <a:gd name="T95" fmla="*/ 492 h 566"/>
                <a:gd name="T96" fmla="*/ 6 w 308"/>
                <a:gd name="T97" fmla="*/ 512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8" h="566">
                  <a:moveTo>
                    <a:pt x="6" y="512"/>
                  </a:moveTo>
                  <a:lnTo>
                    <a:pt x="8" y="512"/>
                  </a:lnTo>
                  <a:lnTo>
                    <a:pt x="44" y="512"/>
                  </a:lnTo>
                  <a:lnTo>
                    <a:pt x="92" y="528"/>
                  </a:lnTo>
                  <a:lnTo>
                    <a:pt x="122" y="500"/>
                  </a:lnTo>
                  <a:lnTo>
                    <a:pt x="126" y="554"/>
                  </a:lnTo>
                  <a:lnTo>
                    <a:pt x="158" y="528"/>
                  </a:lnTo>
                  <a:lnTo>
                    <a:pt x="202" y="546"/>
                  </a:lnTo>
                  <a:lnTo>
                    <a:pt x="244" y="542"/>
                  </a:lnTo>
                  <a:lnTo>
                    <a:pt x="284" y="566"/>
                  </a:lnTo>
                  <a:lnTo>
                    <a:pt x="284" y="566"/>
                  </a:lnTo>
                  <a:lnTo>
                    <a:pt x="284" y="562"/>
                  </a:lnTo>
                  <a:lnTo>
                    <a:pt x="300" y="552"/>
                  </a:lnTo>
                  <a:lnTo>
                    <a:pt x="300" y="536"/>
                  </a:lnTo>
                  <a:lnTo>
                    <a:pt x="300" y="518"/>
                  </a:lnTo>
                  <a:lnTo>
                    <a:pt x="292" y="500"/>
                  </a:lnTo>
                  <a:lnTo>
                    <a:pt x="278" y="492"/>
                  </a:lnTo>
                  <a:lnTo>
                    <a:pt x="292" y="474"/>
                  </a:lnTo>
                  <a:lnTo>
                    <a:pt x="284" y="458"/>
                  </a:lnTo>
                  <a:lnTo>
                    <a:pt x="300" y="448"/>
                  </a:lnTo>
                  <a:lnTo>
                    <a:pt x="306" y="432"/>
                  </a:lnTo>
                  <a:lnTo>
                    <a:pt x="292" y="432"/>
                  </a:lnTo>
                  <a:lnTo>
                    <a:pt x="278" y="432"/>
                  </a:lnTo>
                  <a:lnTo>
                    <a:pt x="278" y="414"/>
                  </a:lnTo>
                  <a:lnTo>
                    <a:pt x="284" y="396"/>
                  </a:lnTo>
                  <a:lnTo>
                    <a:pt x="292" y="380"/>
                  </a:lnTo>
                  <a:lnTo>
                    <a:pt x="306" y="370"/>
                  </a:lnTo>
                  <a:lnTo>
                    <a:pt x="308" y="362"/>
                  </a:lnTo>
                  <a:lnTo>
                    <a:pt x="304" y="362"/>
                  </a:lnTo>
                  <a:lnTo>
                    <a:pt x="290" y="362"/>
                  </a:lnTo>
                  <a:lnTo>
                    <a:pt x="284" y="346"/>
                  </a:lnTo>
                  <a:lnTo>
                    <a:pt x="270" y="336"/>
                  </a:lnTo>
                  <a:lnTo>
                    <a:pt x="270" y="318"/>
                  </a:lnTo>
                  <a:lnTo>
                    <a:pt x="264" y="300"/>
                  </a:lnTo>
                  <a:lnTo>
                    <a:pt x="252" y="292"/>
                  </a:lnTo>
                  <a:lnTo>
                    <a:pt x="244" y="276"/>
                  </a:lnTo>
                  <a:lnTo>
                    <a:pt x="252" y="256"/>
                  </a:lnTo>
                  <a:lnTo>
                    <a:pt x="252" y="240"/>
                  </a:lnTo>
                  <a:lnTo>
                    <a:pt x="264" y="232"/>
                  </a:lnTo>
                  <a:lnTo>
                    <a:pt x="276" y="214"/>
                  </a:lnTo>
                  <a:lnTo>
                    <a:pt x="270" y="196"/>
                  </a:lnTo>
                  <a:lnTo>
                    <a:pt x="258" y="196"/>
                  </a:lnTo>
                  <a:lnTo>
                    <a:pt x="244" y="196"/>
                  </a:lnTo>
                  <a:lnTo>
                    <a:pt x="230" y="188"/>
                  </a:lnTo>
                  <a:lnTo>
                    <a:pt x="224" y="172"/>
                  </a:lnTo>
                  <a:lnTo>
                    <a:pt x="210" y="162"/>
                  </a:lnTo>
                  <a:lnTo>
                    <a:pt x="196" y="154"/>
                  </a:lnTo>
                  <a:lnTo>
                    <a:pt x="202" y="136"/>
                  </a:lnTo>
                  <a:lnTo>
                    <a:pt x="210" y="118"/>
                  </a:lnTo>
                  <a:lnTo>
                    <a:pt x="216" y="102"/>
                  </a:lnTo>
                  <a:lnTo>
                    <a:pt x="216" y="86"/>
                  </a:lnTo>
                  <a:lnTo>
                    <a:pt x="216" y="68"/>
                  </a:lnTo>
                  <a:lnTo>
                    <a:pt x="216" y="50"/>
                  </a:lnTo>
                  <a:lnTo>
                    <a:pt x="210" y="32"/>
                  </a:lnTo>
                  <a:lnTo>
                    <a:pt x="196" y="24"/>
                  </a:lnTo>
                  <a:lnTo>
                    <a:pt x="182" y="24"/>
                  </a:lnTo>
                  <a:lnTo>
                    <a:pt x="176" y="8"/>
                  </a:lnTo>
                  <a:lnTo>
                    <a:pt x="162" y="8"/>
                  </a:lnTo>
                  <a:lnTo>
                    <a:pt x="154" y="8"/>
                  </a:lnTo>
                  <a:lnTo>
                    <a:pt x="148" y="8"/>
                  </a:lnTo>
                  <a:lnTo>
                    <a:pt x="154" y="0"/>
                  </a:lnTo>
                  <a:lnTo>
                    <a:pt x="136" y="0"/>
                  </a:lnTo>
                  <a:lnTo>
                    <a:pt x="136" y="18"/>
                  </a:lnTo>
                  <a:lnTo>
                    <a:pt x="148" y="26"/>
                  </a:lnTo>
                  <a:lnTo>
                    <a:pt x="160" y="26"/>
                  </a:lnTo>
                  <a:lnTo>
                    <a:pt x="174" y="34"/>
                  </a:lnTo>
                  <a:lnTo>
                    <a:pt x="160" y="50"/>
                  </a:lnTo>
                  <a:lnTo>
                    <a:pt x="160" y="70"/>
                  </a:lnTo>
                  <a:lnTo>
                    <a:pt x="148" y="78"/>
                  </a:lnTo>
                  <a:lnTo>
                    <a:pt x="142" y="94"/>
                  </a:lnTo>
                  <a:lnTo>
                    <a:pt x="128" y="110"/>
                  </a:lnTo>
                  <a:lnTo>
                    <a:pt x="114" y="110"/>
                  </a:lnTo>
                  <a:lnTo>
                    <a:pt x="102" y="110"/>
                  </a:lnTo>
                  <a:lnTo>
                    <a:pt x="96" y="128"/>
                  </a:lnTo>
                  <a:lnTo>
                    <a:pt x="102" y="148"/>
                  </a:lnTo>
                  <a:lnTo>
                    <a:pt x="96" y="164"/>
                  </a:lnTo>
                  <a:lnTo>
                    <a:pt x="96" y="180"/>
                  </a:lnTo>
                  <a:lnTo>
                    <a:pt x="96" y="198"/>
                  </a:lnTo>
                  <a:lnTo>
                    <a:pt x="88" y="216"/>
                  </a:lnTo>
                  <a:lnTo>
                    <a:pt x="82" y="232"/>
                  </a:lnTo>
                  <a:lnTo>
                    <a:pt x="74" y="248"/>
                  </a:lnTo>
                  <a:lnTo>
                    <a:pt x="60" y="260"/>
                  </a:lnTo>
                  <a:lnTo>
                    <a:pt x="46" y="276"/>
                  </a:lnTo>
                  <a:lnTo>
                    <a:pt x="44" y="282"/>
                  </a:lnTo>
                  <a:lnTo>
                    <a:pt x="36" y="310"/>
                  </a:lnTo>
                  <a:lnTo>
                    <a:pt x="20" y="328"/>
                  </a:lnTo>
                  <a:lnTo>
                    <a:pt x="14" y="344"/>
                  </a:lnTo>
                  <a:lnTo>
                    <a:pt x="6" y="362"/>
                  </a:lnTo>
                  <a:lnTo>
                    <a:pt x="0" y="370"/>
                  </a:lnTo>
                  <a:lnTo>
                    <a:pt x="0" y="388"/>
                  </a:lnTo>
                  <a:lnTo>
                    <a:pt x="0" y="406"/>
                  </a:lnTo>
                  <a:lnTo>
                    <a:pt x="6" y="422"/>
                  </a:lnTo>
                  <a:lnTo>
                    <a:pt x="0" y="442"/>
                  </a:lnTo>
                  <a:lnTo>
                    <a:pt x="0" y="458"/>
                  </a:lnTo>
                  <a:lnTo>
                    <a:pt x="0" y="474"/>
                  </a:lnTo>
                  <a:lnTo>
                    <a:pt x="0" y="492"/>
                  </a:lnTo>
                  <a:lnTo>
                    <a:pt x="6" y="510"/>
                  </a:lnTo>
                  <a:lnTo>
                    <a:pt x="6" y="512"/>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3" name="TextBox 2">
            <a:extLst>
              <a:ext uri="{FF2B5EF4-FFF2-40B4-BE49-F238E27FC236}">
                <a16:creationId xmlns:a16="http://schemas.microsoft.com/office/drawing/2014/main" id="{6C865986-019F-4346-A511-CCCD44BC21FC}"/>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sp>
        <p:nvSpPr>
          <p:cNvPr id="4" name="Rectangle 3">
            <a:hlinkClick r:id="rId3" action="ppaction://hlinksldjump"/>
            <a:extLst>
              <a:ext uri="{FF2B5EF4-FFF2-40B4-BE49-F238E27FC236}">
                <a16:creationId xmlns:a16="http://schemas.microsoft.com/office/drawing/2014/main" id="{CAB4DD49-460A-409B-8033-8258B8F32A2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94024671"/>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DB6F6AD-DAA5-4E46-85A7-527FAE28D951}"/>
              </a:ext>
            </a:extLst>
          </p:cNvPr>
          <p:cNvGrpSpPr>
            <a:grpSpLocks noChangeAspect="1"/>
          </p:cNvGrpSpPr>
          <p:nvPr/>
        </p:nvGrpSpPr>
        <p:grpSpPr bwMode="auto">
          <a:xfrm>
            <a:off x="4307310" y="0"/>
            <a:ext cx="7884690" cy="6569663"/>
            <a:chOff x="1922" y="-27"/>
            <a:chExt cx="5756" cy="4796"/>
          </a:xfrm>
          <a:solidFill>
            <a:srgbClr val="96968C">
              <a:lumMod val="40000"/>
              <a:lumOff val="60000"/>
            </a:srgbClr>
          </a:solidFill>
        </p:grpSpPr>
        <p:grpSp>
          <p:nvGrpSpPr>
            <p:cNvPr id="5" name="Group 205">
              <a:extLst>
                <a:ext uri="{FF2B5EF4-FFF2-40B4-BE49-F238E27FC236}">
                  <a16:creationId xmlns:a16="http://schemas.microsoft.com/office/drawing/2014/main" id="{398C75FF-E872-4733-8811-C96D598EA9D9}"/>
                </a:ext>
              </a:extLst>
            </p:cNvPr>
            <p:cNvGrpSpPr>
              <a:grpSpLocks/>
            </p:cNvGrpSpPr>
            <p:nvPr/>
          </p:nvGrpSpPr>
          <p:grpSpPr bwMode="auto">
            <a:xfrm>
              <a:off x="1922" y="-27"/>
              <a:ext cx="5730" cy="4415"/>
              <a:chOff x="1922" y="-27"/>
              <a:chExt cx="5730" cy="4415"/>
            </a:xfrm>
            <a:grpFill/>
          </p:grpSpPr>
          <p:sp>
            <p:nvSpPr>
              <p:cNvPr id="116" name="Freeform 5">
                <a:extLst>
                  <a:ext uri="{FF2B5EF4-FFF2-40B4-BE49-F238E27FC236}">
                    <a16:creationId xmlns:a16="http://schemas.microsoft.com/office/drawing/2014/main" id="{58AC238C-8479-400A-B10B-8CA7CE182238}"/>
                  </a:ext>
                </a:extLst>
              </p:cNvPr>
              <p:cNvSpPr>
                <a:spLocks noEditPoints="1"/>
              </p:cNvSpPr>
              <p:nvPr/>
            </p:nvSpPr>
            <p:spPr bwMode="auto">
              <a:xfrm>
                <a:off x="2382" y="1807"/>
                <a:ext cx="5" cy="17"/>
              </a:xfrm>
              <a:custGeom>
                <a:avLst/>
                <a:gdLst>
                  <a:gd name="T0" fmla="*/ 2 w 2"/>
                  <a:gd name="T1" fmla="*/ 6 h 7"/>
                  <a:gd name="T2" fmla="*/ 2 w 2"/>
                  <a:gd name="T3" fmla="*/ 7 h 7"/>
                  <a:gd name="T4" fmla="*/ 2 w 2"/>
                  <a:gd name="T5" fmla="*/ 6 h 7"/>
                  <a:gd name="T6" fmla="*/ 2 w 2"/>
                  <a:gd name="T7" fmla="*/ 0 h 7"/>
                  <a:gd name="T8" fmla="*/ 0 w 2"/>
                  <a:gd name="T9" fmla="*/ 4 h 7"/>
                  <a:gd name="T10" fmla="*/ 2 w 2"/>
                  <a:gd name="T11" fmla="*/ 6 h 7"/>
                  <a:gd name="T12" fmla="*/ 2 w 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6"/>
                    </a:moveTo>
                    <a:cubicBezTo>
                      <a:pt x="2" y="6"/>
                      <a:pt x="2" y="6"/>
                      <a:pt x="2" y="7"/>
                    </a:cubicBezTo>
                    <a:cubicBezTo>
                      <a:pt x="2" y="6"/>
                      <a:pt x="2" y="6"/>
                      <a:pt x="2" y="6"/>
                    </a:cubicBezTo>
                    <a:moveTo>
                      <a:pt x="2" y="0"/>
                    </a:moveTo>
                    <a:cubicBezTo>
                      <a:pt x="0" y="1"/>
                      <a:pt x="1" y="3"/>
                      <a:pt x="0" y="4"/>
                    </a:cubicBezTo>
                    <a:cubicBezTo>
                      <a:pt x="1" y="4"/>
                      <a:pt x="2"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7" name="Freeform 6">
                <a:extLst>
                  <a:ext uri="{FF2B5EF4-FFF2-40B4-BE49-F238E27FC236}">
                    <a16:creationId xmlns:a16="http://schemas.microsoft.com/office/drawing/2014/main" id="{E554C098-BCBA-43A5-B7D3-48F0933A5783}"/>
                  </a:ext>
                </a:extLst>
              </p:cNvPr>
              <p:cNvSpPr>
                <a:spLocks/>
              </p:cNvSpPr>
              <p:nvPr/>
            </p:nvSpPr>
            <p:spPr bwMode="auto">
              <a:xfrm>
                <a:off x="2385" y="1843"/>
                <a:ext cx="19" cy="14"/>
              </a:xfrm>
              <a:custGeom>
                <a:avLst/>
                <a:gdLst>
                  <a:gd name="T0" fmla="*/ 3 w 8"/>
                  <a:gd name="T1" fmla="*/ 0 h 6"/>
                  <a:gd name="T2" fmla="*/ 1 w 8"/>
                  <a:gd name="T3" fmla="*/ 1 h 6"/>
                  <a:gd name="T4" fmla="*/ 0 w 8"/>
                  <a:gd name="T5" fmla="*/ 5 h 6"/>
                  <a:gd name="T6" fmla="*/ 4 w 8"/>
                  <a:gd name="T7" fmla="*/ 6 h 6"/>
                  <a:gd name="T8" fmla="*/ 5 w 8"/>
                  <a:gd name="T9" fmla="*/ 1 h 6"/>
                  <a:gd name="T10" fmla="*/ 3 w 8"/>
                  <a:gd name="T11" fmla="*/ 0 h 6"/>
                </a:gdLst>
                <a:ahLst/>
                <a:cxnLst>
                  <a:cxn ang="0">
                    <a:pos x="T0" y="T1"/>
                  </a:cxn>
                  <a:cxn ang="0">
                    <a:pos x="T2" y="T3"/>
                  </a:cxn>
                  <a:cxn ang="0">
                    <a:pos x="T4" y="T5"/>
                  </a:cxn>
                  <a:cxn ang="0">
                    <a:pos x="T6" y="T7"/>
                  </a:cxn>
                  <a:cxn ang="0">
                    <a:pos x="T8" y="T9"/>
                  </a:cxn>
                  <a:cxn ang="0">
                    <a:pos x="T10" y="T11"/>
                  </a:cxn>
                </a:cxnLst>
                <a:rect l="0" t="0" r="r" b="b"/>
                <a:pathLst>
                  <a:path w="8" h="6">
                    <a:moveTo>
                      <a:pt x="3" y="0"/>
                    </a:moveTo>
                    <a:cubicBezTo>
                      <a:pt x="2" y="0"/>
                      <a:pt x="1" y="0"/>
                      <a:pt x="1" y="1"/>
                    </a:cubicBezTo>
                    <a:cubicBezTo>
                      <a:pt x="0" y="5"/>
                      <a:pt x="0" y="5"/>
                      <a:pt x="0" y="5"/>
                    </a:cubicBezTo>
                    <a:cubicBezTo>
                      <a:pt x="0" y="6"/>
                      <a:pt x="2" y="6"/>
                      <a:pt x="4" y="6"/>
                    </a:cubicBezTo>
                    <a:cubicBezTo>
                      <a:pt x="6" y="4"/>
                      <a:pt x="8" y="2"/>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8" name="Freeform 7">
                <a:extLst>
                  <a:ext uri="{FF2B5EF4-FFF2-40B4-BE49-F238E27FC236}">
                    <a16:creationId xmlns:a16="http://schemas.microsoft.com/office/drawing/2014/main" id="{51616FF7-313D-4960-8CB1-3D3931349EA3}"/>
                  </a:ext>
                </a:extLst>
              </p:cNvPr>
              <p:cNvSpPr>
                <a:spLocks/>
              </p:cNvSpPr>
              <p:nvPr/>
            </p:nvSpPr>
            <p:spPr bwMode="auto">
              <a:xfrm>
                <a:off x="1922" y="436"/>
                <a:ext cx="4" cy="10"/>
              </a:xfrm>
              <a:custGeom>
                <a:avLst/>
                <a:gdLst>
                  <a:gd name="T0" fmla="*/ 1 w 2"/>
                  <a:gd name="T1" fmla="*/ 0 h 4"/>
                  <a:gd name="T2" fmla="*/ 2 w 2"/>
                  <a:gd name="T3" fmla="*/ 4 h 4"/>
                  <a:gd name="T4" fmla="*/ 1 w 2"/>
                  <a:gd name="T5" fmla="*/ 0 h 4"/>
                </a:gdLst>
                <a:ahLst/>
                <a:cxnLst>
                  <a:cxn ang="0">
                    <a:pos x="T0" y="T1"/>
                  </a:cxn>
                  <a:cxn ang="0">
                    <a:pos x="T2" y="T3"/>
                  </a:cxn>
                  <a:cxn ang="0">
                    <a:pos x="T4" y="T5"/>
                  </a:cxn>
                </a:cxnLst>
                <a:rect l="0" t="0" r="r" b="b"/>
                <a:pathLst>
                  <a:path w="2" h="4">
                    <a:moveTo>
                      <a:pt x="1" y="0"/>
                    </a:moveTo>
                    <a:cubicBezTo>
                      <a:pt x="0" y="1"/>
                      <a:pt x="0" y="3"/>
                      <a:pt x="2" y="4"/>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9" name="Freeform 8">
                <a:extLst>
                  <a:ext uri="{FF2B5EF4-FFF2-40B4-BE49-F238E27FC236}">
                    <a16:creationId xmlns:a16="http://schemas.microsoft.com/office/drawing/2014/main" id="{0C0DCC68-3F3D-4CAE-AED3-C58CE5C6C274}"/>
                  </a:ext>
                </a:extLst>
              </p:cNvPr>
              <p:cNvSpPr>
                <a:spLocks/>
              </p:cNvSpPr>
              <p:nvPr/>
            </p:nvSpPr>
            <p:spPr bwMode="auto">
              <a:xfrm>
                <a:off x="2070" y="498"/>
                <a:ext cx="33" cy="11"/>
              </a:xfrm>
              <a:custGeom>
                <a:avLst/>
                <a:gdLst>
                  <a:gd name="T0" fmla="*/ 6 w 14"/>
                  <a:gd name="T1" fmla="*/ 0 h 5"/>
                  <a:gd name="T2" fmla="*/ 5 w 14"/>
                  <a:gd name="T3" fmla="*/ 4 h 5"/>
                  <a:gd name="T4" fmla="*/ 9 w 14"/>
                  <a:gd name="T5" fmla="*/ 5 h 5"/>
                  <a:gd name="T6" fmla="*/ 14 w 14"/>
                  <a:gd name="T7" fmla="*/ 4 h 5"/>
                  <a:gd name="T8" fmla="*/ 6 w 14"/>
                  <a:gd name="T9" fmla="*/ 0 h 5"/>
                </a:gdLst>
                <a:ahLst/>
                <a:cxnLst>
                  <a:cxn ang="0">
                    <a:pos x="T0" y="T1"/>
                  </a:cxn>
                  <a:cxn ang="0">
                    <a:pos x="T2" y="T3"/>
                  </a:cxn>
                  <a:cxn ang="0">
                    <a:pos x="T4" y="T5"/>
                  </a:cxn>
                  <a:cxn ang="0">
                    <a:pos x="T6" y="T7"/>
                  </a:cxn>
                  <a:cxn ang="0">
                    <a:pos x="T8" y="T9"/>
                  </a:cxn>
                </a:cxnLst>
                <a:rect l="0" t="0" r="r" b="b"/>
                <a:pathLst>
                  <a:path w="14" h="5">
                    <a:moveTo>
                      <a:pt x="6" y="0"/>
                    </a:moveTo>
                    <a:cubicBezTo>
                      <a:pt x="1" y="1"/>
                      <a:pt x="0" y="2"/>
                      <a:pt x="5" y="4"/>
                    </a:cubicBezTo>
                    <a:cubicBezTo>
                      <a:pt x="6" y="5"/>
                      <a:pt x="7" y="5"/>
                      <a:pt x="9" y="5"/>
                    </a:cubicBezTo>
                    <a:cubicBezTo>
                      <a:pt x="10" y="5"/>
                      <a:pt x="12" y="4"/>
                      <a:pt x="14" y="4"/>
                    </a:cubicBezTo>
                    <a:cubicBezTo>
                      <a:pt x="12" y="2"/>
                      <a:pt x="8"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0" name="Freeform 9">
                <a:extLst>
                  <a:ext uri="{FF2B5EF4-FFF2-40B4-BE49-F238E27FC236}">
                    <a16:creationId xmlns:a16="http://schemas.microsoft.com/office/drawing/2014/main" id="{324B2816-CEBB-4B7F-83EB-752ECC4C6205}"/>
                  </a:ext>
                </a:extLst>
              </p:cNvPr>
              <p:cNvSpPr>
                <a:spLocks/>
              </p:cNvSpPr>
              <p:nvPr/>
            </p:nvSpPr>
            <p:spPr bwMode="auto">
              <a:xfrm>
                <a:off x="2134" y="481"/>
                <a:ext cx="24" cy="12"/>
              </a:xfrm>
              <a:custGeom>
                <a:avLst/>
                <a:gdLst>
                  <a:gd name="T0" fmla="*/ 6 w 10"/>
                  <a:gd name="T1" fmla="*/ 0 h 5"/>
                  <a:gd name="T2" fmla="*/ 2 w 10"/>
                  <a:gd name="T3" fmla="*/ 2 h 5"/>
                  <a:gd name="T4" fmla="*/ 8 w 10"/>
                  <a:gd name="T5" fmla="*/ 5 h 5"/>
                  <a:gd name="T6" fmla="*/ 7 w 10"/>
                  <a:gd name="T7" fmla="*/ 1 h 5"/>
                  <a:gd name="T8" fmla="*/ 6 w 10"/>
                  <a:gd name="T9" fmla="*/ 0 h 5"/>
                </a:gdLst>
                <a:ahLst/>
                <a:cxnLst>
                  <a:cxn ang="0">
                    <a:pos x="T0" y="T1"/>
                  </a:cxn>
                  <a:cxn ang="0">
                    <a:pos x="T2" y="T3"/>
                  </a:cxn>
                  <a:cxn ang="0">
                    <a:pos x="T4" y="T5"/>
                  </a:cxn>
                  <a:cxn ang="0">
                    <a:pos x="T6" y="T7"/>
                  </a:cxn>
                  <a:cxn ang="0">
                    <a:pos x="T8" y="T9"/>
                  </a:cxn>
                </a:cxnLst>
                <a:rect l="0" t="0" r="r" b="b"/>
                <a:pathLst>
                  <a:path w="10" h="5">
                    <a:moveTo>
                      <a:pt x="6" y="0"/>
                    </a:moveTo>
                    <a:cubicBezTo>
                      <a:pt x="4" y="0"/>
                      <a:pt x="3" y="1"/>
                      <a:pt x="2" y="2"/>
                    </a:cubicBezTo>
                    <a:cubicBezTo>
                      <a:pt x="0" y="4"/>
                      <a:pt x="8" y="5"/>
                      <a:pt x="8" y="5"/>
                    </a:cubicBezTo>
                    <a:cubicBezTo>
                      <a:pt x="9" y="2"/>
                      <a:pt x="10" y="2"/>
                      <a:pt x="7"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1" name="Freeform 10">
                <a:extLst>
                  <a:ext uri="{FF2B5EF4-FFF2-40B4-BE49-F238E27FC236}">
                    <a16:creationId xmlns:a16="http://schemas.microsoft.com/office/drawing/2014/main" id="{5E15C56B-464D-491F-A65F-3441C6E4E577}"/>
                  </a:ext>
                </a:extLst>
              </p:cNvPr>
              <p:cNvSpPr>
                <a:spLocks/>
              </p:cNvSpPr>
              <p:nvPr/>
            </p:nvSpPr>
            <p:spPr bwMode="auto">
              <a:xfrm>
                <a:off x="2224" y="540"/>
                <a:ext cx="40" cy="12"/>
              </a:xfrm>
              <a:custGeom>
                <a:avLst/>
                <a:gdLst>
                  <a:gd name="T0" fmla="*/ 2 w 17"/>
                  <a:gd name="T1" fmla="*/ 0 h 5"/>
                  <a:gd name="T2" fmla="*/ 0 w 17"/>
                  <a:gd name="T3" fmla="*/ 2 h 5"/>
                  <a:gd name="T4" fmla="*/ 10 w 17"/>
                  <a:gd name="T5" fmla="*/ 5 h 5"/>
                  <a:gd name="T6" fmla="*/ 11 w 17"/>
                  <a:gd name="T7" fmla="*/ 5 h 5"/>
                  <a:gd name="T8" fmla="*/ 17 w 17"/>
                  <a:gd name="T9" fmla="*/ 2 h 5"/>
                  <a:gd name="T10" fmla="*/ 15 w 17"/>
                  <a:gd name="T11" fmla="*/ 1 h 5"/>
                  <a:gd name="T12" fmla="*/ 11 w 17"/>
                  <a:gd name="T13" fmla="*/ 1 h 5"/>
                  <a:gd name="T14" fmla="*/ 7 w 17"/>
                  <a:gd name="T15" fmla="*/ 2 h 5"/>
                  <a:gd name="T16" fmla="*/ 6 w 17"/>
                  <a:gd name="T17" fmla="*/ 2 h 5"/>
                  <a:gd name="T18" fmla="*/ 2 w 1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5">
                    <a:moveTo>
                      <a:pt x="2" y="0"/>
                    </a:moveTo>
                    <a:cubicBezTo>
                      <a:pt x="1" y="0"/>
                      <a:pt x="1" y="0"/>
                      <a:pt x="0" y="2"/>
                    </a:cubicBezTo>
                    <a:cubicBezTo>
                      <a:pt x="3" y="3"/>
                      <a:pt x="6" y="5"/>
                      <a:pt x="10" y="5"/>
                    </a:cubicBezTo>
                    <a:cubicBezTo>
                      <a:pt x="10" y="5"/>
                      <a:pt x="10" y="5"/>
                      <a:pt x="11" y="5"/>
                    </a:cubicBezTo>
                    <a:cubicBezTo>
                      <a:pt x="12" y="5"/>
                      <a:pt x="17" y="3"/>
                      <a:pt x="17" y="2"/>
                    </a:cubicBezTo>
                    <a:cubicBezTo>
                      <a:pt x="17" y="1"/>
                      <a:pt x="16" y="1"/>
                      <a:pt x="15" y="1"/>
                    </a:cubicBezTo>
                    <a:cubicBezTo>
                      <a:pt x="13" y="1"/>
                      <a:pt x="12" y="1"/>
                      <a:pt x="11" y="1"/>
                    </a:cubicBezTo>
                    <a:cubicBezTo>
                      <a:pt x="10" y="1"/>
                      <a:pt x="8" y="2"/>
                      <a:pt x="7" y="2"/>
                    </a:cubicBezTo>
                    <a:cubicBezTo>
                      <a:pt x="7" y="2"/>
                      <a:pt x="6" y="2"/>
                      <a:pt x="6" y="2"/>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2" name="Freeform 11">
                <a:extLst>
                  <a:ext uri="{FF2B5EF4-FFF2-40B4-BE49-F238E27FC236}">
                    <a16:creationId xmlns:a16="http://schemas.microsoft.com/office/drawing/2014/main" id="{39E020CB-1C1A-468E-9D4C-C540D41A7F1D}"/>
                  </a:ext>
                </a:extLst>
              </p:cNvPr>
              <p:cNvSpPr>
                <a:spLocks noEditPoints="1"/>
              </p:cNvSpPr>
              <p:nvPr/>
            </p:nvSpPr>
            <p:spPr bwMode="auto">
              <a:xfrm>
                <a:off x="2259" y="599"/>
                <a:ext cx="12" cy="3"/>
              </a:xfrm>
              <a:custGeom>
                <a:avLst/>
                <a:gdLst>
                  <a:gd name="T0" fmla="*/ 4 w 5"/>
                  <a:gd name="T1" fmla="*/ 1 h 1"/>
                  <a:gd name="T2" fmla="*/ 5 w 5"/>
                  <a:gd name="T3" fmla="*/ 1 h 1"/>
                  <a:gd name="T4" fmla="*/ 4 w 5"/>
                  <a:gd name="T5" fmla="*/ 1 h 1"/>
                  <a:gd name="T6" fmla="*/ 0 w 5"/>
                  <a:gd name="T7" fmla="*/ 0 h 1"/>
                  <a:gd name="T8" fmla="*/ 4 w 5"/>
                  <a:gd name="T9" fmla="*/ 1 h 1"/>
                  <a:gd name="T10" fmla="*/ 0 w 5"/>
                  <a:gd name="T11" fmla="*/ 0 h 1"/>
                </a:gdLst>
                <a:ahLst/>
                <a:cxnLst>
                  <a:cxn ang="0">
                    <a:pos x="T0" y="T1"/>
                  </a:cxn>
                  <a:cxn ang="0">
                    <a:pos x="T2" y="T3"/>
                  </a:cxn>
                  <a:cxn ang="0">
                    <a:pos x="T4" y="T5"/>
                  </a:cxn>
                  <a:cxn ang="0">
                    <a:pos x="T6" y="T7"/>
                  </a:cxn>
                  <a:cxn ang="0">
                    <a:pos x="T8" y="T9"/>
                  </a:cxn>
                  <a:cxn ang="0">
                    <a:pos x="T10" y="T11"/>
                  </a:cxn>
                </a:cxnLst>
                <a:rect l="0" t="0" r="r" b="b"/>
                <a:pathLst>
                  <a:path w="5" h="1">
                    <a:moveTo>
                      <a:pt x="4" y="1"/>
                    </a:moveTo>
                    <a:cubicBezTo>
                      <a:pt x="4" y="1"/>
                      <a:pt x="5" y="1"/>
                      <a:pt x="5" y="1"/>
                    </a:cubicBezTo>
                    <a:cubicBezTo>
                      <a:pt x="5" y="1"/>
                      <a:pt x="4" y="1"/>
                      <a:pt x="4" y="1"/>
                    </a:cubicBezTo>
                    <a:moveTo>
                      <a:pt x="0" y="0"/>
                    </a:moveTo>
                    <a:cubicBezTo>
                      <a:pt x="1" y="1"/>
                      <a:pt x="3" y="1"/>
                      <a:pt x="4" y="1"/>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3" name="Freeform 12">
                <a:extLst>
                  <a:ext uri="{FF2B5EF4-FFF2-40B4-BE49-F238E27FC236}">
                    <a16:creationId xmlns:a16="http://schemas.microsoft.com/office/drawing/2014/main" id="{755CAF3E-C8FA-4740-AE23-3FB11F70DA1B}"/>
                  </a:ext>
                </a:extLst>
              </p:cNvPr>
              <p:cNvSpPr>
                <a:spLocks/>
              </p:cNvSpPr>
              <p:nvPr/>
            </p:nvSpPr>
            <p:spPr bwMode="auto">
              <a:xfrm>
                <a:off x="2248" y="1788"/>
                <a:ext cx="30" cy="17"/>
              </a:xfrm>
              <a:custGeom>
                <a:avLst/>
                <a:gdLst>
                  <a:gd name="T0" fmla="*/ 8 w 13"/>
                  <a:gd name="T1" fmla="*/ 0 h 7"/>
                  <a:gd name="T2" fmla="*/ 5 w 13"/>
                  <a:gd name="T3" fmla="*/ 1 h 7"/>
                  <a:gd name="T4" fmla="*/ 3 w 13"/>
                  <a:gd name="T5" fmla="*/ 7 h 7"/>
                  <a:gd name="T6" fmla="*/ 8 w 13"/>
                  <a:gd name="T7" fmla="*/ 0 h 7"/>
                  <a:gd name="T8" fmla="*/ 8 w 13"/>
                  <a:gd name="T9" fmla="*/ 0 h 7"/>
                </a:gdLst>
                <a:ahLst/>
                <a:cxnLst>
                  <a:cxn ang="0">
                    <a:pos x="T0" y="T1"/>
                  </a:cxn>
                  <a:cxn ang="0">
                    <a:pos x="T2" y="T3"/>
                  </a:cxn>
                  <a:cxn ang="0">
                    <a:pos x="T4" y="T5"/>
                  </a:cxn>
                  <a:cxn ang="0">
                    <a:pos x="T6" y="T7"/>
                  </a:cxn>
                  <a:cxn ang="0">
                    <a:pos x="T8" y="T9"/>
                  </a:cxn>
                </a:cxnLst>
                <a:rect l="0" t="0" r="r" b="b"/>
                <a:pathLst>
                  <a:path w="13" h="7">
                    <a:moveTo>
                      <a:pt x="8" y="0"/>
                    </a:moveTo>
                    <a:cubicBezTo>
                      <a:pt x="7" y="0"/>
                      <a:pt x="6" y="1"/>
                      <a:pt x="5" y="1"/>
                    </a:cubicBezTo>
                    <a:cubicBezTo>
                      <a:pt x="0" y="3"/>
                      <a:pt x="3" y="3"/>
                      <a:pt x="3" y="7"/>
                    </a:cubicBezTo>
                    <a:cubicBezTo>
                      <a:pt x="5" y="6"/>
                      <a:pt x="13" y="1"/>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4" name="Freeform 13">
                <a:extLst>
                  <a:ext uri="{FF2B5EF4-FFF2-40B4-BE49-F238E27FC236}">
                    <a16:creationId xmlns:a16="http://schemas.microsoft.com/office/drawing/2014/main" id="{478EE8BE-B7C9-4DA3-B5BF-B46260B27A1D}"/>
                  </a:ext>
                </a:extLst>
              </p:cNvPr>
              <p:cNvSpPr>
                <a:spLocks/>
              </p:cNvSpPr>
              <p:nvPr/>
            </p:nvSpPr>
            <p:spPr bwMode="auto">
              <a:xfrm>
                <a:off x="2262" y="1805"/>
                <a:ext cx="14" cy="7"/>
              </a:xfrm>
              <a:custGeom>
                <a:avLst/>
                <a:gdLst>
                  <a:gd name="T0" fmla="*/ 6 w 6"/>
                  <a:gd name="T1" fmla="*/ 0 h 3"/>
                  <a:gd name="T2" fmla="*/ 4 w 6"/>
                  <a:gd name="T3" fmla="*/ 3 h 3"/>
                  <a:gd name="T4" fmla="*/ 6 w 6"/>
                  <a:gd name="T5" fmla="*/ 0 h 3"/>
                </a:gdLst>
                <a:ahLst/>
                <a:cxnLst>
                  <a:cxn ang="0">
                    <a:pos x="T0" y="T1"/>
                  </a:cxn>
                  <a:cxn ang="0">
                    <a:pos x="T2" y="T3"/>
                  </a:cxn>
                  <a:cxn ang="0">
                    <a:pos x="T4" y="T5"/>
                  </a:cxn>
                </a:cxnLst>
                <a:rect l="0" t="0" r="r" b="b"/>
                <a:pathLst>
                  <a:path w="6" h="3">
                    <a:moveTo>
                      <a:pt x="6" y="0"/>
                    </a:moveTo>
                    <a:cubicBezTo>
                      <a:pt x="3" y="0"/>
                      <a:pt x="0" y="2"/>
                      <a:pt x="4" y="3"/>
                    </a:cubicBezTo>
                    <a:cubicBezTo>
                      <a:pt x="5" y="2"/>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5" name="Freeform 14">
                <a:extLst>
                  <a:ext uri="{FF2B5EF4-FFF2-40B4-BE49-F238E27FC236}">
                    <a16:creationId xmlns:a16="http://schemas.microsoft.com/office/drawing/2014/main" id="{B08FA74E-E9C8-46D1-A422-41BB323D160D}"/>
                  </a:ext>
                </a:extLst>
              </p:cNvPr>
              <p:cNvSpPr>
                <a:spLocks/>
              </p:cNvSpPr>
              <p:nvPr/>
            </p:nvSpPr>
            <p:spPr bwMode="auto">
              <a:xfrm>
                <a:off x="2302" y="1819"/>
                <a:ext cx="24" cy="9"/>
              </a:xfrm>
              <a:custGeom>
                <a:avLst/>
                <a:gdLst>
                  <a:gd name="T0" fmla="*/ 2 w 10"/>
                  <a:gd name="T1" fmla="*/ 0 h 4"/>
                  <a:gd name="T2" fmla="*/ 3 w 10"/>
                  <a:gd name="T3" fmla="*/ 4 h 4"/>
                  <a:gd name="T4" fmla="*/ 10 w 10"/>
                  <a:gd name="T5" fmla="*/ 2 h 4"/>
                  <a:gd name="T6" fmla="*/ 5 w 10"/>
                  <a:gd name="T7" fmla="*/ 0 h 4"/>
                  <a:gd name="T8" fmla="*/ 2 w 10"/>
                  <a:gd name="T9" fmla="*/ 0 h 4"/>
                </a:gdLst>
                <a:ahLst/>
                <a:cxnLst>
                  <a:cxn ang="0">
                    <a:pos x="T0" y="T1"/>
                  </a:cxn>
                  <a:cxn ang="0">
                    <a:pos x="T2" y="T3"/>
                  </a:cxn>
                  <a:cxn ang="0">
                    <a:pos x="T4" y="T5"/>
                  </a:cxn>
                  <a:cxn ang="0">
                    <a:pos x="T6" y="T7"/>
                  </a:cxn>
                  <a:cxn ang="0">
                    <a:pos x="T8" y="T9"/>
                  </a:cxn>
                </a:cxnLst>
                <a:rect l="0" t="0" r="r" b="b"/>
                <a:pathLst>
                  <a:path w="10" h="4">
                    <a:moveTo>
                      <a:pt x="2" y="0"/>
                    </a:moveTo>
                    <a:cubicBezTo>
                      <a:pt x="0" y="0"/>
                      <a:pt x="2" y="1"/>
                      <a:pt x="3" y="4"/>
                    </a:cubicBezTo>
                    <a:cubicBezTo>
                      <a:pt x="5" y="3"/>
                      <a:pt x="8" y="3"/>
                      <a:pt x="10" y="2"/>
                    </a:cubicBezTo>
                    <a:cubicBezTo>
                      <a:pt x="9" y="1"/>
                      <a:pt x="7"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6" name="Freeform 15">
                <a:extLst>
                  <a:ext uri="{FF2B5EF4-FFF2-40B4-BE49-F238E27FC236}">
                    <a16:creationId xmlns:a16="http://schemas.microsoft.com/office/drawing/2014/main" id="{49C8766D-7882-4D50-BB05-9EFEF91FDD71}"/>
                  </a:ext>
                </a:extLst>
              </p:cNvPr>
              <p:cNvSpPr>
                <a:spLocks/>
              </p:cNvSpPr>
              <p:nvPr/>
            </p:nvSpPr>
            <p:spPr bwMode="auto">
              <a:xfrm>
                <a:off x="2366" y="1895"/>
                <a:ext cx="7" cy="11"/>
              </a:xfrm>
              <a:custGeom>
                <a:avLst/>
                <a:gdLst>
                  <a:gd name="T0" fmla="*/ 2 w 3"/>
                  <a:gd name="T1" fmla="*/ 0 h 5"/>
                  <a:gd name="T2" fmla="*/ 3 w 3"/>
                  <a:gd name="T3" fmla="*/ 5 h 5"/>
                  <a:gd name="T4" fmla="*/ 2 w 3"/>
                  <a:gd name="T5" fmla="*/ 0 h 5"/>
                </a:gdLst>
                <a:ahLst/>
                <a:cxnLst>
                  <a:cxn ang="0">
                    <a:pos x="T0" y="T1"/>
                  </a:cxn>
                  <a:cxn ang="0">
                    <a:pos x="T2" y="T3"/>
                  </a:cxn>
                  <a:cxn ang="0">
                    <a:pos x="T4" y="T5"/>
                  </a:cxn>
                </a:cxnLst>
                <a:rect l="0" t="0" r="r" b="b"/>
                <a:pathLst>
                  <a:path w="3" h="5">
                    <a:moveTo>
                      <a:pt x="2" y="0"/>
                    </a:moveTo>
                    <a:cubicBezTo>
                      <a:pt x="1" y="2"/>
                      <a:pt x="0" y="4"/>
                      <a:pt x="3" y="5"/>
                    </a:cubicBezTo>
                    <a:cubicBezTo>
                      <a:pt x="3"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7" name="Freeform 16">
                <a:extLst>
                  <a:ext uri="{FF2B5EF4-FFF2-40B4-BE49-F238E27FC236}">
                    <a16:creationId xmlns:a16="http://schemas.microsoft.com/office/drawing/2014/main" id="{9AD1EC8A-4495-4E1B-9391-408A977161CE}"/>
                  </a:ext>
                </a:extLst>
              </p:cNvPr>
              <p:cNvSpPr>
                <a:spLocks/>
              </p:cNvSpPr>
              <p:nvPr/>
            </p:nvSpPr>
            <p:spPr bwMode="auto">
              <a:xfrm>
                <a:off x="2337" y="1895"/>
                <a:ext cx="22" cy="23"/>
              </a:xfrm>
              <a:custGeom>
                <a:avLst/>
                <a:gdLst>
                  <a:gd name="T0" fmla="*/ 1 w 9"/>
                  <a:gd name="T1" fmla="*/ 0 h 10"/>
                  <a:gd name="T2" fmla="*/ 7 w 9"/>
                  <a:gd name="T3" fmla="*/ 10 h 10"/>
                  <a:gd name="T4" fmla="*/ 1 w 9"/>
                  <a:gd name="T5" fmla="*/ 0 h 10"/>
                </a:gdLst>
                <a:ahLst/>
                <a:cxnLst>
                  <a:cxn ang="0">
                    <a:pos x="T0" y="T1"/>
                  </a:cxn>
                  <a:cxn ang="0">
                    <a:pos x="T2" y="T3"/>
                  </a:cxn>
                  <a:cxn ang="0">
                    <a:pos x="T4" y="T5"/>
                  </a:cxn>
                </a:cxnLst>
                <a:rect l="0" t="0" r="r" b="b"/>
                <a:pathLst>
                  <a:path w="9" h="10">
                    <a:moveTo>
                      <a:pt x="1" y="0"/>
                    </a:moveTo>
                    <a:cubicBezTo>
                      <a:pt x="1" y="5"/>
                      <a:pt x="0" y="10"/>
                      <a:pt x="7" y="10"/>
                    </a:cubicBezTo>
                    <a:cubicBezTo>
                      <a:pt x="9" y="5"/>
                      <a:pt x="5"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8" name="Freeform 17">
                <a:extLst>
                  <a:ext uri="{FF2B5EF4-FFF2-40B4-BE49-F238E27FC236}">
                    <a16:creationId xmlns:a16="http://schemas.microsoft.com/office/drawing/2014/main" id="{07EA3042-F58D-4C1F-BB66-E320CC63144E}"/>
                  </a:ext>
                </a:extLst>
              </p:cNvPr>
              <p:cNvSpPr>
                <a:spLocks/>
              </p:cNvSpPr>
              <p:nvPr/>
            </p:nvSpPr>
            <p:spPr bwMode="auto">
              <a:xfrm>
                <a:off x="2295" y="1911"/>
                <a:ext cx="12" cy="12"/>
              </a:xfrm>
              <a:custGeom>
                <a:avLst/>
                <a:gdLst>
                  <a:gd name="T0" fmla="*/ 4 w 5"/>
                  <a:gd name="T1" fmla="*/ 0 h 5"/>
                  <a:gd name="T2" fmla="*/ 4 w 5"/>
                  <a:gd name="T3" fmla="*/ 5 h 5"/>
                  <a:gd name="T4" fmla="*/ 4 w 5"/>
                  <a:gd name="T5" fmla="*/ 0 h 5"/>
                </a:gdLst>
                <a:ahLst/>
                <a:cxnLst>
                  <a:cxn ang="0">
                    <a:pos x="T0" y="T1"/>
                  </a:cxn>
                  <a:cxn ang="0">
                    <a:pos x="T2" y="T3"/>
                  </a:cxn>
                  <a:cxn ang="0">
                    <a:pos x="T4" y="T5"/>
                  </a:cxn>
                </a:cxnLst>
                <a:rect l="0" t="0" r="r" b="b"/>
                <a:pathLst>
                  <a:path w="5" h="5">
                    <a:moveTo>
                      <a:pt x="4" y="0"/>
                    </a:moveTo>
                    <a:cubicBezTo>
                      <a:pt x="1" y="1"/>
                      <a:pt x="0" y="4"/>
                      <a:pt x="4" y="5"/>
                    </a:cubicBezTo>
                    <a:cubicBezTo>
                      <a:pt x="4"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9" name="Rectangle 18">
                <a:extLst>
                  <a:ext uri="{FF2B5EF4-FFF2-40B4-BE49-F238E27FC236}">
                    <a16:creationId xmlns:a16="http://schemas.microsoft.com/office/drawing/2014/main" id="{193E9087-6575-47E4-BC0B-6C1D9A5C0BE4}"/>
                  </a:ext>
                </a:extLst>
              </p:cNvPr>
              <p:cNvSpPr>
                <a:spLocks noChangeArrowheads="1"/>
              </p:cNvSpPr>
              <p:nvPr/>
            </p:nvSpPr>
            <p:spPr bwMode="auto">
              <a:xfrm>
                <a:off x="4684" y="23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0" name="Freeform 19">
                <a:extLst>
                  <a:ext uri="{FF2B5EF4-FFF2-40B4-BE49-F238E27FC236}">
                    <a16:creationId xmlns:a16="http://schemas.microsoft.com/office/drawing/2014/main" id="{C32D6A6E-0B24-4D2C-8806-CECA2667221F}"/>
                  </a:ext>
                </a:extLst>
              </p:cNvPr>
              <p:cNvSpPr>
                <a:spLocks/>
              </p:cNvSpPr>
              <p:nvPr/>
            </p:nvSpPr>
            <p:spPr bwMode="auto">
              <a:xfrm>
                <a:off x="4684" y="23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1" name="Freeform 20">
                <a:extLst>
                  <a:ext uri="{FF2B5EF4-FFF2-40B4-BE49-F238E27FC236}">
                    <a16:creationId xmlns:a16="http://schemas.microsoft.com/office/drawing/2014/main" id="{88210C5E-A109-43F8-BFE7-F9AEFB171C5B}"/>
                  </a:ext>
                </a:extLst>
              </p:cNvPr>
              <p:cNvSpPr>
                <a:spLocks/>
              </p:cNvSpPr>
              <p:nvPr/>
            </p:nvSpPr>
            <p:spPr bwMode="auto">
              <a:xfrm>
                <a:off x="4642" y="212"/>
                <a:ext cx="4" cy="2"/>
              </a:xfrm>
              <a:custGeom>
                <a:avLst/>
                <a:gdLst>
                  <a:gd name="T0" fmla="*/ 1 w 2"/>
                  <a:gd name="T1" fmla="*/ 0 h 1"/>
                  <a:gd name="T2" fmla="*/ 0 w 2"/>
                  <a:gd name="T3" fmla="*/ 0 h 1"/>
                  <a:gd name="T4" fmla="*/ 2 w 2"/>
                  <a:gd name="T5" fmla="*/ 1 h 1"/>
                  <a:gd name="T6" fmla="*/ 2 w 2"/>
                  <a:gd name="T7" fmla="*/ 1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0"/>
                      <a:pt x="0" y="0"/>
                      <a:pt x="0" y="0"/>
                    </a:cubicBezTo>
                    <a:cubicBezTo>
                      <a:pt x="1" y="1"/>
                      <a:pt x="1" y="1"/>
                      <a:pt x="2" y="1"/>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2" name="Freeform 21">
                <a:extLst>
                  <a:ext uri="{FF2B5EF4-FFF2-40B4-BE49-F238E27FC236}">
                    <a16:creationId xmlns:a16="http://schemas.microsoft.com/office/drawing/2014/main" id="{AF632AD9-F900-469C-BC9C-24A796922809}"/>
                  </a:ext>
                </a:extLst>
              </p:cNvPr>
              <p:cNvSpPr>
                <a:spLocks/>
              </p:cNvSpPr>
              <p:nvPr/>
            </p:nvSpPr>
            <p:spPr bwMode="auto">
              <a:xfrm>
                <a:off x="7638" y="2055"/>
                <a:ext cx="14" cy="15"/>
              </a:xfrm>
              <a:custGeom>
                <a:avLst/>
                <a:gdLst>
                  <a:gd name="T0" fmla="*/ 6 w 6"/>
                  <a:gd name="T1" fmla="*/ 0 h 6"/>
                  <a:gd name="T2" fmla="*/ 0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cubicBezTo>
                      <a:pt x="4" y="0"/>
                      <a:pt x="2" y="0"/>
                      <a:pt x="0" y="0"/>
                    </a:cubicBezTo>
                    <a:cubicBezTo>
                      <a:pt x="0" y="2"/>
                      <a:pt x="0" y="4"/>
                      <a:pt x="0" y="6"/>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3" name="Freeform 22">
                <a:extLst>
                  <a:ext uri="{FF2B5EF4-FFF2-40B4-BE49-F238E27FC236}">
                    <a16:creationId xmlns:a16="http://schemas.microsoft.com/office/drawing/2014/main" id="{E16CF329-59FA-497D-81F4-56B1060629B8}"/>
                  </a:ext>
                </a:extLst>
              </p:cNvPr>
              <p:cNvSpPr>
                <a:spLocks/>
              </p:cNvSpPr>
              <p:nvPr/>
            </p:nvSpPr>
            <p:spPr bwMode="auto">
              <a:xfrm>
                <a:off x="5414" y="-27"/>
                <a:ext cx="31" cy="14"/>
              </a:xfrm>
              <a:custGeom>
                <a:avLst/>
                <a:gdLst>
                  <a:gd name="T0" fmla="*/ 0 w 13"/>
                  <a:gd name="T1" fmla="*/ 0 h 6"/>
                  <a:gd name="T2" fmla="*/ 13 w 13"/>
                  <a:gd name="T3" fmla="*/ 6 h 6"/>
                  <a:gd name="T4" fmla="*/ 0 w 13"/>
                  <a:gd name="T5" fmla="*/ 0 h 6"/>
                </a:gdLst>
                <a:ahLst/>
                <a:cxnLst>
                  <a:cxn ang="0">
                    <a:pos x="T0" y="T1"/>
                  </a:cxn>
                  <a:cxn ang="0">
                    <a:pos x="T2" y="T3"/>
                  </a:cxn>
                  <a:cxn ang="0">
                    <a:pos x="T4" y="T5"/>
                  </a:cxn>
                </a:cxnLst>
                <a:rect l="0" t="0" r="r" b="b"/>
                <a:pathLst>
                  <a:path w="13" h="6">
                    <a:moveTo>
                      <a:pt x="0" y="0"/>
                    </a:moveTo>
                    <a:cubicBezTo>
                      <a:pt x="0" y="5"/>
                      <a:pt x="9" y="5"/>
                      <a:pt x="13" y="6"/>
                    </a:cubicBezTo>
                    <a:cubicBezTo>
                      <a:pt x="8" y="4"/>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4" name="Freeform 23">
                <a:extLst>
                  <a:ext uri="{FF2B5EF4-FFF2-40B4-BE49-F238E27FC236}">
                    <a16:creationId xmlns:a16="http://schemas.microsoft.com/office/drawing/2014/main" id="{4017AA0D-53B7-494C-B3E1-0DDB79B7736B}"/>
                  </a:ext>
                </a:extLst>
              </p:cNvPr>
              <p:cNvSpPr>
                <a:spLocks/>
              </p:cNvSpPr>
              <p:nvPr/>
            </p:nvSpPr>
            <p:spPr bwMode="auto">
              <a:xfrm>
                <a:off x="6610" y="465"/>
                <a:ext cx="5" cy="21"/>
              </a:xfrm>
              <a:custGeom>
                <a:avLst/>
                <a:gdLst>
                  <a:gd name="T0" fmla="*/ 1 w 2"/>
                  <a:gd name="T1" fmla="*/ 0 h 9"/>
                  <a:gd name="T2" fmla="*/ 2 w 2"/>
                  <a:gd name="T3" fmla="*/ 9 h 9"/>
                  <a:gd name="T4" fmla="*/ 1 w 2"/>
                  <a:gd name="T5" fmla="*/ 0 h 9"/>
                </a:gdLst>
                <a:ahLst/>
                <a:cxnLst>
                  <a:cxn ang="0">
                    <a:pos x="T0" y="T1"/>
                  </a:cxn>
                  <a:cxn ang="0">
                    <a:pos x="T2" y="T3"/>
                  </a:cxn>
                  <a:cxn ang="0">
                    <a:pos x="T4" y="T5"/>
                  </a:cxn>
                </a:cxnLst>
                <a:rect l="0" t="0" r="r" b="b"/>
                <a:pathLst>
                  <a:path w="2" h="9">
                    <a:moveTo>
                      <a:pt x="1" y="0"/>
                    </a:moveTo>
                    <a:cubicBezTo>
                      <a:pt x="0" y="1"/>
                      <a:pt x="1" y="7"/>
                      <a:pt x="2" y="9"/>
                    </a:cubicBezTo>
                    <a:cubicBezTo>
                      <a:pt x="1" y="6"/>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5" name="Freeform 24">
                <a:extLst>
                  <a:ext uri="{FF2B5EF4-FFF2-40B4-BE49-F238E27FC236}">
                    <a16:creationId xmlns:a16="http://schemas.microsoft.com/office/drawing/2014/main" id="{4B61C738-EEEE-4C37-90FF-9D4B64796BA3}"/>
                  </a:ext>
                </a:extLst>
              </p:cNvPr>
              <p:cNvSpPr>
                <a:spLocks/>
              </p:cNvSpPr>
              <p:nvPr/>
            </p:nvSpPr>
            <p:spPr bwMode="auto">
              <a:xfrm>
                <a:off x="5088" y="394"/>
                <a:ext cx="19" cy="2"/>
              </a:xfrm>
              <a:custGeom>
                <a:avLst/>
                <a:gdLst>
                  <a:gd name="T0" fmla="*/ 7 w 8"/>
                  <a:gd name="T1" fmla="*/ 0 h 1"/>
                  <a:gd name="T2" fmla="*/ 0 w 8"/>
                  <a:gd name="T3" fmla="*/ 1 h 1"/>
                  <a:gd name="T4" fmla="*/ 4 w 8"/>
                  <a:gd name="T5" fmla="*/ 1 h 1"/>
                  <a:gd name="T6" fmla="*/ 8 w 8"/>
                  <a:gd name="T7" fmla="*/ 0 h 1"/>
                  <a:gd name="T8" fmla="*/ 7 w 8"/>
                  <a:gd name="T9" fmla="*/ 0 h 1"/>
                </a:gdLst>
                <a:ahLst/>
                <a:cxnLst>
                  <a:cxn ang="0">
                    <a:pos x="T0" y="T1"/>
                  </a:cxn>
                  <a:cxn ang="0">
                    <a:pos x="T2" y="T3"/>
                  </a:cxn>
                  <a:cxn ang="0">
                    <a:pos x="T4" y="T5"/>
                  </a:cxn>
                  <a:cxn ang="0">
                    <a:pos x="T6" y="T7"/>
                  </a:cxn>
                  <a:cxn ang="0">
                    <a:pos x="T8" y="T9"/>
                  </a:cxn>
                </a:cxnLst>
                <a:rect l="0" t="0" r="r" b="b"/>
                <a:pathLst>
                  <a:path w="8" h="1">
                    <a:moveTo>
                      <a:pt x="7" y="0"/>
                    </a:moveTo>
                    <a:cubicBezTo>
                      <a:pt x="5" y="0"/>
                      <a:pt x="3" y="0"/>
                      <a:pt x="0" y="1"/>
                    </a:cubicBezTo>
                    <a:cubicBezTo>
                      <a:pt x="1" y="1"/>
                      <a:pt x="2" y="1"/>
                      <a:pt x="4" y="1"/>
                    </a:cubicBezTo>
                    <a:cubicBezTo>
                      <a:pt x="5" y="1"/>
                      <a:pt x="7" y="1"/>
                      <a:pt x="8"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6" name="Freeform 25">
                <a:extLst>
                  <a:ext uri="{FF2B5EF4-FFF2-40B4-BE49-F238E27FC236}">
                    <a16:creationId xmlns:a16="http://schemas.microsoft.com/office/drawing/2014/main" id="{A90124D1-C15C-4C72-804B-AA6ADFE9F071}"/>
                  </a:ext>
                </a:extLst>
              </p:cNvPr>
              <p:cNvSpPr>
                <a:spLocks/>
              </p:cNvSpPr>
              <p:nvPr/>
            </p:nvSpPr>
            <p:spPr bwMode="auto">
              <a:xfrm>
                <a:off x="4280" y="739"/>
                <a:ext cx="9" cy="7"/>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2" y="1"/>
                      <a:pt x="1" y="2"/>
                      <a:pt x="0" y="3"/>
                    </a:cubicBezTo>
                    <a:cubicBezTo>
                      <a:pt x="1"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7" name="Freeform 26">
                <a:extLst>
                  <a:ext uri="{FF2B5EF4-FFF2-40B4-BE49-F238E27FC236}">
                    <a16:creationId xmlns:a16="http://schemas.microsoft.com/office/drawing/2014/main" id="{8B787A60-3653-42E1-B03E-1D5A192602F4}"/>
                  </a:ext>
                </a:extLst>
              </p:cNvPr>
              <p:cNvSpPr>
                <a:spLocks/>
              </p:cNvSpPr>
              <p:nvPr/>
            </p:nvSpPr>
            <p:spPr bwMode="auto">
              <a:xfrm>
                <a:off x="3874" y="398"/>
                <a:ext cx="28" cy="19"/>
              </a:xfrm>
              <a:custGeom>
                <a:avLst/>
                <a:gdLst>
                  <a:gd name="T0" fmla="*/ 6 w 12"/>
                  <a:gd name="T1" fmla="*/ 0 h 8"/>
                  <a:gd name="T2" fmla="*/ 0 w 12"/>
                  <a:gd name="T3" fmla="*/ 1 h 8"/>
                  <a:gd name="T4" fmla="*/ 11 w 12"/>
                  <a:gd name="T5" fmla="*/ 8 h 8"/>
                  <a:gd name="T6" fmla="*/ 8 w 12"/>
                  <a:gd name="T7" fmla="*/ 0 h 8"/>
                  <a:gd name="T8" fmla="*/ 6 w 12"/>
                  <a:gd name="T9" fmla="*/ 0 h 8"/>
                </a:gdLst>
                <a:ahLst/>
                <a:cxnLst>
                  <a:cxn ang="0">
                    <a:pos x="T0" y="T1"/>
                  </a:cxn>
                  <a:cxn ang="0">
                    <a:pos x="T2" y="T3"/>
                  </a:cxn>
                  <a:cxn ang="0">
                    <a:pos x="T4" y="T5"/>
                  </a:cxn>
                  <a:cxn ang="0">
                    <a:pos x="T6" y="T7"/>
                  </a:cxn>
                  <a:cxn ang="0">
                    <a:pos x="T8" y="T9"/>
                  </a:cxn>
                </a:cxnLst>
                <a:rect l="0" t="0" r="r" b="b"/>
                <a:pathLst>
                  <a:path w="12" h="8">
                    <a:moveTo>
                      <a:pt x="6" y="0"/>
                    </a:moveTo>
                    <a:cubicBezTo>
                      <a:pt x="4" y="0"/>
                      <a:pt x="1" y="0"/>
                      <a:pt x="0" y="1"/>
                    </a:cubicBezTo>
                    <a:cubicBezTo>
                      <a:pt x="3" y="4"/>
                      <a:pt x="7" y="6"/>
                      <a:pt x="11" y="8"/>
                    </a:cubicBezTo>
                    <a:cubicBezTo>
                      <a:pt x="12" y="4"/>
                      <a:pt x="10" y="1"/>
                      <a:pt x="8" y="0"/>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8" name="Freeform 27">
                <a:extLst>
                  <a:ext uri="{FF2B5EF4-FFF2-40B4-BE49-F238E27FC236}">
                    <a16:creationId xmlns:a16="http://schemas.microsoft.com/office/drawing/2014/main" id="{6B3D1CC3-1BAC-4E07-BF1C-22376B82F0CE}"/>
                  </a:ext>
                </a:extLst>
              </p:cNvPr>
              <p:cNvSpPr>
                <a:spLocks/>
              </p:cNvSpPr>
              <p:nvPr/>
            </p:nvSpPr>
            <p:spPr bwMode="auto">
              <a:xfrm>
                <a:off x="3727" y="462"/>
                <a:ext cx="26" cy="17"/>
              </a:xfrm>
              <a:custGeom>
                <a:avLst/>
                <a:gdLst>
                  <a:gd name="T0" fmla="*/ 8 w 11"/>
                  <a:gd name="T1" fmla="*/ 0 h 7"/>
                  <a:gd name="T2" fmla="*/ 4 w 11"/>
                  <a:gd name="T3" fmla="*/ 1 h 7"/>
                  <a:gd name="T4" fmla="*/ 5 w 11"/>
                  <a:gd name="T5" fmla="*/ 7 h 7"/>
                  <a:gd name="T6" fmla="*/ 10 w 11"/>
                  <a:gd name="T7" fmla="*/ 1 h 7"/>
                  <a:gd name="T8" fmla="*/ 8 w 11"/>
                  <a:gd name="T9" fmla="*/ 0 h 7"/>
                </a:gdLst>
                <a:ahLst/>
                <a:cxnLst>
                  <a:cxn ang="0">
                    <a:pos x="T0" y="T1"/>
                  </a:cxn>
                  <a:cxn ang="0">
                    <a:pos x="T2" y="T3"/>
                  </a:cxn>
                  <a:cxn ang="0">
                    <a:pos x="T4" y="T5"/>
                  </a:cxn>
                  <a:cxn ang="0">
                    <a:pos x="T6" y="T7"/>
                  </a:cxn>
                  <a:cxn ang="0">
                    <a:pos x="T8" y="T9"/>
                  </a:cxn>
                </a:cxnLst>
                <a:rect l="0" t="0" r="r" b="b"/>
                <a:pathLst>
                  <a:path w="11" h="7">
                    <a:moveTo>
                      <a:pt x="8" y="0"/>
                    </a:moveTo>
                    <a:cubicBezTo>
                      <a:pt x="7" y="0"/>
                      <a:pt x="5" y="0"/>
                      <a:pt x="4" y="1"/>
                    </a:cubicBezTo>
                    <a:cubicBezTo>
                      <a:pt x="0" y="3"/>
                      <a:pt x="1" y="4"/>
                      <a:pt x="5" y="7"/>
                    </a:cubicBezTo>
                    <a:cubicBezTo>
                      <a:pt x="6" y="6"/>
                      <a:pt x="11" y="3"/>
                      <a:pt x="10"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9" name="Freeform 28">
                <a:extLst>
                  <a:ext uri="{FF2B5EF4-FFF2-40B4-BE49-F238E27FC236}">
                    <a16:creationId xmlns:a16="http://schemas.microsoft.com/office/drawing/2014/main" id="{E630DDE7-C92B-4F38-BA1A-984305F0D43F}"/>
                  </a:ext>
                </a:extLst>
              </p:cNvPr>
              <p:cNvSpPr>
                <a:spLocks/>
              </p:cNvSpPr>
              <p:nvPr/>
            </p:nvSpPr>
            <p:spPr bwMode="auto">
              <a:xfrm>
                <a:off x="3793" y="405"/>
                <a:ext cx="64" cy="45"/>
              </a:xfrm>
              <a:custGeom>
                <a:avLst/>
                <a:gdLst>
                  <a:gd name="T0" fmla="*/ 19 w 27"/>
                  <a:gd name="T1" fmla="*/ 0 h 19"/>
                  <a:gd name="T2" fmla="*/ 0 w 27"/>
                  <a:gd name="T3" fmla="*/ 10 h 19"/>
                  <a:gd name="T4" fmla="*/ 3 w 27"/>
                  <a:gd name="T5" fmla="*/ 12 h 19"/>
                  <a:gd name="T6" fmla="*/ 5 w 27"/>
                  <a:gd name="T7" fmla="*/ 12 h 19"/>
                  <a:gd name="T8" fmla="*/ 6 w 27"/>
                  <a:gd name="T9" fmla="*/ 12 h 19"/>
                  <a:gd name="T10" fmla="*/ 8 w 27"/>
                  <a:gd name="T11" fmla="*/ 13 h 19"/>
                  <a:gd name="T12" fmla="*/ 10 w 27"/>
                  <a:gd name="T13" fmla="*/ 17 h 19"/>
                  <a:gd name="T14" fmla="*/ 15 w 27"/>
                  <a:gd name="T15" fmla="*/ 19 h 19"/>
                  <a:gd name="T16" fmla="*/ 16 w 27"/>
                  <a:gd name="T17" fmla="*/ 19 h 19"/>
                  <a:gd name="T18" fmla="*/ 22 w 27"/>
                  <a:gd name="T19" fmla="*/ 15 h 19"/>
                  <a:gd name="T20" fmla="*/ 26 w 27"/>
                  <a:gd name="T21" fmla="*/ 7 h 19"/>
                  <a:gd name="T22" fmla="*/ 20 w 27"/>
                  <a:gd name="T23" fmla="*/ 2 h 19"/>
                  <a:gd name="T24" fmla="*/ 18 w 27"/>
                  <a:gd name="T25" fmla="*/ 3 h 19"/>
                  <a:gd name="T26" fmla="*/ 20 w 27"/>
                  <a:gd name="T27" fmla="*/ 0 h 19"/>
                  <a:gd name="T28" fmla="*/ 19 w 27"/>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9">
                    <a:moveTo>
                      <a:pt x="19" y="0"/>
                    </a:moveTo>
                    <a:cubicBezTo>
                      <a:pt x="12" y="0"/>
                      <a:pt x="5" y="7"/>
                      <a:pt x="0" y="10"/>
                    </a:cubicBezTo>
                    <a:cubicBezTo>
                      <a:pt x="1" y="11"/>
                      <a:pt x="2" y="12"/>
                      <a:pt x="3" y="12"/>
                    </a:cubicBezTo>
                    <a:cubicBezTo>
                      <a:pt x="4" y="12"/>
                      <a:pt x="4" y="12"/>
                      <a:pt x="5" y="12"/>
                    </a:cubicBezTo>
                    <a:cubicBezTo>
                      <a:pt x="5" y="12"/>
                      <a:pt x="6" y="12"/>
                      <a:pt x="6" y="12"/>
                    </a:cubicBezTo>
                    <a:cubicBezTo>
                      <a:pt x="7" y="12"/>
                      <a:pt x="7" y="12"/>
                      <a:pt x="8" y="13"/>
                    </a:cubicBezTo>
                    <a:cubicBezTo>
                      <a:pt x="8" y="14"/>
                      <a:pt x="9" y="16"/>
                      <a:pt x="10" y="17"/>
                    </a:cubicBezTo>
                    <a:cubicBezTo>
                      <a:pt x="11" y="17"/>
                      <a:pt x="14" y="19"/>
                      <a:pt x="15" y="19"/>
                    </a:cubicBezTo>
                    <a:cubicBezTo>
                      <a:pt x="15" y="19"/>
                      <a:pt x="16" y="19"/>
                      <a:pt x="16" y="19"/>
                    </a:cubicBezTo>
                    <a:cubicBezTo>
                      <a:pt x="18" y="19"/>
                      <a:pt x="19" y="17"/>
                      <a:pt x="22" y="15"/>
                    </a:cubicBezTo>
                    <a:cubicBezTo>
                      <a:pt x="22" y="13"/>
                      <a:pt x="27" y="9"/>
                      <a:pt x="26" y="7"/>
                    </a:cubicBezTo>
                    <a:cubicBezTo>
                      <a:pt x="25" y="4"/>
                      <a:pt x="14" y="8"/>
                      <a:pt x="20" y="2"/>
                    </a:cubicBezTo>
                    <a:cubicBezTo>
                      <a:pt x="19" y="3"/>
                      <a:pt x="18" y="3"/>
                      <a:pt x="18" y="3"/>
                    </a:cubicBezTo>
                    <a:cubicBezTo>
                      <a:pt x="17" y="3"/>
                      <a:pt x="18" y="1"/>
                      <a:pt x="20" y="0"/>
                    </a:cubicBezTo>
                    <a:cubicBezTo>
                      <a:pt x="20"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0" name="Freeform 29">
                <a:extLst>
                  <a:ext uri="{FF2B5EF4-FFF2-40B4-BE49-F238E27FC236}">
                    <a16:creationId xmlns:a16="http://schemas.microsoft.com/office/drawing/2014/main" id="{EDC62F14-80CD-4912-9B47-58EA3C98C0B3}"/>
                  </a:ext>
                </a:extLst>
              </p:cNvPr>
              <p:cNvSpPr>
                <a:spLocks/>
              </p:cNvSpPr>
              <p:nvPr/>
            </p:nvSpPr>
            <p:spPr bwMode="auto">
              <a:xfrm>
                <a:off x="6145" y="2263"/>
                <a:ext cx="28" cy="10"/>
              </a:xfrm>
              <a:custGeom>
                <a:avLst/>
                <a:gdLst>
                  <a:gd name="T0" fmla="*/ 0 w 12"/>
                  <a:gd name="T1" fmla="*/ 0 h 4"/>
                  <a:gd name="T2" fmla="*/ 12 w 12"/>
                  <a:gd name="T3" fmla="*/ 4 h 4"/>
                  <a:gd name="T4" fmla="*/ 0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4" y="1"/>
                      <a:pt x="8" y="3"/>
                      <a:pt x="12" y="4"/>
                    </a:cubicBezTo>
                    <a:cubicBezTo>
                      <a:pt x="8" y="3"/>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1" name="Freeform 30">
                <a:extLst>
                  <a:ext uri="{FF2B5EF4-FFF2-40B4-BE49-F238E27FC236}">
                    <a16:creationId xmlns:a16="http://schemas.microsoft.com/office/drawing/2014/main" id="{D58D39EF-CAEC-4F58-AFCC-DFDAC6381721}"/>
                  </a:ext>
                </a:extLst>
              </p:cNvPr>
              <p:cNvSpPr>
                <a:spLocks/>
              </p:cNvSpPr>
              <p:nvPr/>
            </p:nvSpPr>
            <p:spPr bwMode="auto">
              <a:xfrm>
                <a:off x="6742" y="3008"/>
                <a:ext cx="8" cy="12"/>
              </a:xfrm>
              <a:custGeom>
                <a:avLst/>
                <a:gdLst>
                  <a:gd name="T0" fmla="*/ 1 w 3"/>
                  <a:gd name="T1" fmla="*/ 0 h 5"/>
                  <a:gd name="T2" fmla="*/ 3 w 3"/>
                  <a:gd name="T3" fmla="*/ 5 h 5"/>
                  <a:gd name="T4" fmla="*/ 3 w 3"/>
                  <a:gd name="T5" fmla="*/ 5 h 5"/>
                  <a:gd name="T6" fmla="*/ 3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1"/>
                      <a:pt x="1" y="3"/>
                      <a:pt x="3" y="5"/>
                    </a:cubicBezTo>
                    <a:cubicBezTo>
                      <a:pt x="3" y="5"/>
                      <a:pt x="3" y="5"/>
                      <a:pt x="3" y="5"/>
                    </a:cubicBezTo>
                    <a:cubicBezTo>
                      <a:pt x="3" y="5"/>
                      <a:pt x="3" y="5"/>
                      <a:pt x="3" y="5"/>
                    </a:cubicBezTo>
                    <a:cubicBezTo>
                      <a:pt x="3" y="2"/>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2" name="Freeform 31">
                <a:extLst>
                  <a:ext uri="{FF2B5EF4-FFF2-40B4-BE49-F238E27FC236}">
                    <a16:creationId xmlns:a16="http://schemas.microsoft.com/office/drawing/2014/main" id="{10FBF45B-F7A9-4E56-B418-982ED0F2C88F}"/>
                  </a:ext>
                </a:extLst>
              </p:cNvPr>
              <p:cNvSpPr>
                <a:spLocks noEditPoints="1"/>
              </p:cNvSpPr>
              <p:nvPr/>
            </p:nvSpPr>
            <p:spPr bwMode="auto">
              <a:xfrm>
                <a:off x="5986" y="1800"/>
                <a:ext cx="10" cy="14"/>
              </a:xfrm>
              <a:custGeom>
                <a:avLst/>
                <a:gdLst>
                  <a:gd name="T0" fmla="*/ 2 w 4"/>
                  <a:gd name="T1" fmla="*/ 0 h 6"/>
                  <a:gd name="T2" fmla="*/ 1 w 4"/>
                  <a:gd name="T3" fmla="*/ 4 h 6"/>
                  <a:gd name="T4" fmla="*/ 4 w 4"/>
                  <a:gd name="T5" fmla="*/ 6 h 6"/>
                  <a:gd name="T6" fmla="*/ 2 w 4"/>
                  <a:gd name="T7" fmla="*/ 0 h 6"/>
                  <a:gd name="T8" fmla="*/ 1 w 4"/>
                  <a:gd name="T9" fmla="*/ 0 h 6"/>
                  <a:gd name="T10" fmla="*/ 2 w 4"/>
                  <a:gd name="T11" fmla="*/ 0 h 6"/>
                  <a:gd name="T12" fmla="*/ 1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2" y="2"/>
                      <a:pt x="0" y="2"/>
                      <a:pt x="1" y="4"/>
                    </a:cubicBezTo>
                    <a:cubicBezTo>
                      <a:pt x="2" y="5"/>
                      <a:pt x="3" y="5"/>
                      <a:pt x="4" y="6"/>
                    </a:cubicBezTo>
                    <a:cubicBezTo>
                      <a:pt x="3" y="4"/>
                      <a:pt x="2" y="2"/>
                      <a:pt x="2" y="0"/>
                    </a:cubicBezTo>
                    <a:moveTo>
                      <a:pt x="1" y="0"/>
                    </a:moveTo>
                    <a:cubicBezTo>
                      <a:pt x="1" y="0"/>
                      <a:pt x="2" y="0"/>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3" name="Freeform 32">
                <a:extLst>
                  <a:ext uri="{FF2B5EF4-FFF2-40B4-BE49-F238E27FC236}">
                    <a16:creationId xmlns:a16="http://schemas.microsoft.com/office/drawing/2014/main" id="{1D580266-C2D6-4FD6-80EA-7A2E51674BD6}"/>
                  </a:ext>
                </a:extLst>
              </p:cNvPr>
              <p:cNvSpPr>
                <a:spLocks/>
              </p:cNvSpPr>
              <p:nvPr/>
            </p:nvSpPr>
            <p:spPr bwMode="auto">
              <a:xfrm>
                <a:off x="5996" y="1812"/>
                <a:ext cx="9" cy="12"/>
              </a:xfrm>
              <a:custGeom>
                <a:avLst/>
                <a:gdLst>
                  <a:gd name="T0" fmla="*/ 2 w 4"/>
                  <a:gd name="T1" fmla="*/ 0 h 5"/>
                  <a:gd name="T2" fmla="*/ 0 w 4"/>
                  <a:gd name="T3" fmla="*/ 2 h 5"/>
                  <a:gd name="T4" fmla="*/ 4 w 4"/>
                  <a:gd name="T5" fmla="*/ 5 h 5"/>
                  <a:gd name="T6" fmla="*/ 2 w 4"/>
                  <a:gd name="T7" fmla="*/ 0 h 5"/>
                </a:gdLst>
                <a:ahLst/>
                <a:cxnLst>
                  <a:cxn ang="0">
                    <a:pos x="T0" y="T1"/>
                  </a:cxn>
                  <a:cxn ang="0">
                    <a:pos x="T2" y="T3"/>
                  </a:cxn>
                  <a:cxn ang="0">
                    <a:pos x="T4" y="T5"/>
                  </a:cxn>
                  <a:cxn ang="0">
                    <a:pos x="T6" y="T7"/>
                  </a:cxn>
                </a:cxnLst>
                <a:rect l="0" t="0" r="r" b="b"/>
                <a:pathLst>
                  <a:path w="4" h="5">
                    <a:moveTo>
                      <a:pt x="2" y="0"/>
                    </a:moveTo>
                    <a:cubicBezTo>
                      <a:pt x="1" y="0"/>
                      <a:pt x="1" y="0"/>
                      <a:pt x="0" y="2"/>
                    </a:cubicBezTo>
                    <a:cubicBezTo>
                      <a:pt x="1" y="3"/>
                      <a:pt x="3" y="4"/>
                      <a:pt x="4" y="5"/>
                    </a:cubicBezTo>
                    <a:cubicBezTo>
                      <a:pt x="4" y="3"/>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4" name="Freeform 33">
                <a:extLst>
                  <a:ext uri="{FF2B5EF4-FFF2-40B4-BE49-F238E27FC236}">
                    <a16:creationId xmlns:a16="http://schemas.microsoft.com/office/drawing/2014/main" id="{6268A8BD-065C-497E-95DC-4013B4DD8CF5}"/>
                  </a:ext>
                </a:extLst>
              </p:cNvPr>
              <p:cNvSpPr>
                <a:spLocks/>
              </p:cNvSpPr>
              <p:nvPr/>
            </p:nvSpPr>
            <p:spPr bwMode="auto">
              <a:xfrm>
                <a:off x="5984" y="1807"/>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0"/>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5" name="Freeform 34">
                <a:extLst>
                  <a:ext uri="{FF2B5EF4-FFF2-40B4-BE49-F238E27FC236}">
                    <a16:creationId xmlns:a16="http://schemas.microsoft.com/office/drawing/2014/main" id="{75848C5D-355B-49A7-ADC4-D27AF0AE9C01}"/>
                  </a:ext>
                </a:extLst>
              </p:cNvPr>
              <p:cNvSpPr>
                <a:spLocks/>
              </p:cNvSpPr>
              <p:nvPr/>
            </p:nvSpPr>
            <p:spPr bwMode="auto">
              <a:xfrm>
                <a:off x="5989" y="1812"/>
                <a:ext cx="7" cy="5"/>
              </a:xfrm>
              <a:custGeom>
                <a:avLst/>
                <a:gdLst>
                  <a:gd name="T0" fmla="*/ 0 w 3"/>
                  <a:gd name="T1" fmla="*/ 0 h 2"/>
                  <a:gd name="T2" fmla="*/ 3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1"/>
                      <a:pt x="1" y="2"/>
                      <a:pt x="3" y="2"/>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6" name="Freeform 35">
                <a:extLst>
                  <a:ext uri="{FF2B5EF4-FFF2-40B4-BE49-F238E27FC236}">
                    <a16:creationId xmlns:a16="http://schemas.microsoft.com/office/drawing/2014/main" id="{EA1D4AD8-4668-40DC-AD60-CAA57B3C9E6B}"/>
                  </a:ext>
                </a:extLst>
              </p:cNvPr>
              <p:cNvSpPr>
                <a:spLocks/>
              </p:cNvSpPr>
              <p:nvPr/>
            </p:nvSpPr>
            <p:spPr bwMode="auto">
              <a:xfrm>
                <a:off x="2751" y="845"/>
                <a:ext cx="5" cy="2"/>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7" name="Freeform 36">
                <a:extLst>
                  <a:ext uri="{FF2B5EF4-FFF2-40B4-BE49-F238E27FC236}">
                    <a16:creationId xmlns:a16="http://schemas.microsoft.com/office/drawing/2014/main" id="{9AC58057-725A-42AF-B3B5-54DA154605AC}"/>
                  </a:ext>
                </a:extLst>
              </p:cNvPr>
              <p:cNvSpPr>
                <a:spLocks/>
              </p:cNvSpPr>
              <p:nvPr/>
            </p:nvSpPr>
            <p:spPr bwMode="auto">
              <a:xfrm>
                <a:off x="6922" y="1587"/>
                <a:ext cx="17" cy="31"/>
              </a:xfrm>
              <a:custGeom>
                <a:avLst/>
                <a:gdLst>
                  <a:gd name="T0" fmla="*/ 7 w 7"/>
                  <a:gd name="T1" fmla="*/ 0 h 13"/>
                  <a:gd name="T2" fmla="*/ 0 w 7"/>
                  <a:gd name="T3" fmla="*/ 13 h 13"/>
                  <a:gd name="T4" fmla="*/ 7 w 7"/>
                  <a:gd name="T5" fmla="*/ 4 h 13"/>
                  <a:gd name="T6" fmla="*/ 7 w 7"/>
                  <a:gd name="T7" fmla="*/ 0 h 13"/>
                </a:gdLst>
                <a:ahLst/>
                <a:cxnLst>
                  <a:cxn ang="0">
                    <a:pos x="T0" y="T1"/>
                  </a:cxn>
                  <a:cxn ang="0">
                    <a:pos x="T2" y="T3"/>
                  </a:cxn>
                  <a:cxn ang="0">
                    <a:pos x="T4" y="T5"/>
                  </a:cxn>
                  <a:cxn ang="0">
                    <a:pos x="T6" y="T7"/>
                  </a:cxn>
                </a:cxnLst>
                <a:rect l="0" t="0" r="r" b="b"/>
                <a:pathLst>
                  <a:path w="7" h="13">
                    <a:moveTo>
                      <a:pt x="7" y="0"/>
                    </a:moveTo>
                    <a:cubicBezTo>
                      <a:pt x="4" y="4"/>
                      <a:pt x="2" y="8"/>
                      <a:pt x="0" y="13"/>
                    </a:cubicBezTo>
                    <a:cubicBezTo>
                      <a:pt x="3" y="10"/>
                      <a:pt x="4" y="6"/>
                      <a:pt x="7" y="4"/>
                    </a:cubicBezTo>
                    <a:cubicBezTo>
                      <a:pt x="7" y="3"/>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8" name="Freeform 37">
                <a:extLst>
                  <a:ext uri="{FF2B5EF4-FFF2-40B4-BE49-F238E27FC236}">
                    <a16:creationId xmlns:a16="http://schemas.microsoft.com/office/drawing/2014/main" id="{2291B330-3A3A-4F32-99E5-0AAEE55E6E7C}"/>
                  </a:ext>
                </a:extLst>
              </p:cNvPr>
              <p:cNvSpPr>
                <a:spLocks/>
              </p:cNvSpPr>
              <p:nvPr/>
            </p:nvSpPr>
            <p:spPr bwMode="auto">
              <a:xfrm>
                <a:off x="4460" y="663"/>
                <a:ext cx="9" cy="12"/>
              </a:xfrm>
              <a:custGeom>
                <a:avLst/>
                <a:gdLst>
                  <a:gd name="T0" fmla="*/ 0 w 4"/>
                  <a:gd name="T1" fmla="*/ 0 h 5"/>
                  <a:gd name="T2" fmla="*/ 0 w 4"/>
                  <a:gd name="T3" fmla="*/ 0 h 5"/>
                  <a:gd name="T4" fmla="*/ 4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0" y="0"/>
                      <a:pt x="0" y="0"/>
                      <a:pt x="0" y="0"/>
                    </a:cubicBezTo>
                    <a:cubicBezTo>
                      <a:pt x="1" y="2"/>
                      <a:pt x="2" y="3"/>
                      <a:pt x="4" y="5"/>
                    </a:cubicBezTo>
                    <a:cubicBezTo>
                      <a:pt x="3" y="0"/>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9" name="Freeform 38">
                <a:extLst>
                  <a:ext uri="{FF2B5EF4-FFF2-40B4-BE49-F238E27FC236}">
                    <a16:creationId xmlns:a16="http://schemas.microsoft.com/office/drawing/2014/main" id="{45DE6753-C81E-46A4-B95E-24F173DD83FD}"/>
                  </a:ext>
                </a:extLst>
              </p:cNvPr>
              <p:cNvSpPr>
                <a:spLocks/>
              </p:cNvSpPr>
              <p:nvPr/>
            </p:nvSpPr>
            <p:spPr bwMode="auto">
              <a:xfrm>
                <a:off x="7182" y="3861"/>
                <a:ext cx="10" cy="5"/>
              </a:xfrm>
              <a:custGeom>
                <a:avLst/>
                <a:gdLst>
                  <a:gd name="T0" fmla="*/ 4 w 4"/>
                  <a:gd name="T1" fmla="*/ 0 h 2"/>
                  <a:gd name="T2" fmla="*/ 0 w 4"/>
                  <a:gd name="T3" fmla="*/ 2 h 2"/>
                  <a:gd name="T4" fmla="*/ 1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3" y="1"/>
                      <a:pt x="1" y="1"/>
                      <a:pt x="0" y="2"/>
                    </a:cubicBezTo>
                    <a:cubicBezTo>
                      <a:pt x="1" y="2"/>
                      <a:pt x="1" y="2"/>
                      <a:pt x="1" y="2"/>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0" name="Freeform 39">
                <a:extLst>
                  <a:ext uri="{FF2B5EF4-FFF2-40B4-BE49-F238E27FC236}">
                    <a16:creationId xmlns:a16="http://schemas.microsoft.com/office/drawing/2014/main" id="{A7EB54D1-095D-404A-9AF5-AD73160AB097}"/>
                  </a:ext>
                </a:extLst>
              </p:cNvPr>
              <p:cNvSpPr>
                <a:spLocks/>
              </p:cNvSpPr>
              <p:nvPr/>
            </p:nvSpPr>
            <p:spPr bwMode="auto">
              <a:xfrm>
                <a:off x="4115" y="320"/>
                <a:ext cx="92" cy="159"/>
              </a:xfrm>
              <a:custGeom>
                <a:avLst/>
                <a:gdLst>
                  <a:gd name="T0" fmla="*/ 25 w 39"/>
                  <a:gd name="T1" fmla="*/ 0 h 67"/>
                  <a:gd name="T2" fmla="*/ 7 w 39"/>
                  <a:gd name="T3" fmla="*/ 12 h 67"/>
                  <a:gd name="T4" fmla="*/ 7 w 39"/>
                  <a:gd name="T5" fmla="*/ 12 h 67"/>
                  <a:gd name="T6" fmla="*/ 1 w 39"/>
                  <a:gd name="T7" fmla="*/ 9 h 67"/>
                  <a:gd name="T8" fmla="*/ 0 w 39"/>
                  <a:gd name="T9" fmla="*/ 13 h 67"/>
                  <a:gd name="T10" fmla="*/ 0 w 39"/>
                  <a:gd name="T11" fmla="*/ 16 h 67"/>
                  <a:gd name="T12" fmla="*/ 0 w 39"/>
                  <a:gd name="T13" fmla="*/ 19 h 67"/>
                  <a:gd name="T14" fmla="*/ 1 w 39"/>
                  <a:gd name="T15" fmla="*/ 19 h 67"/>
                  <a:gd name="T16" fmla="*/ 4 w 39"/>
                  <a:gd name="T17" fmla="*/ 19 h 67"/>
                  <a:gd name="T18" fmla="*/ 6 w 39"/>
                  <a:gd name="T19" fmla="*/ 24 h 67"/>
                  <a:gd name="T20" fmla="*/ 6 w 39"/>
                  <a:gd name="T21" fmla="*/ 33 h 67"/>
                  <a:gd name="T22" fmla="*/ 6 w 39"/>
                  <a:gd name="T23" fmla="*/ 35 h 67"/>
                  <a:gd name="T24" fmla="*/ 9 w 39"/>
                  <a:gd name="T25" fmla="*/ 44 h 67"/>
                  <a:gd name="T26" fmla="*/ 9 w 39"/>
                  <a:gd name="T27" fmla="*/ 43 h 67"/>
                  <a:gd name="T28" fmla="*/ 8 w 39"/>
                  <a:gd name="T29" fmla="*/ 45 h 67"/>
                  <a:gd name="T30" fmla="*/ 7 w 39"/>
                  <a:gd name="T31" fmla="*/ 48 h 67"/>
                  <a:gd name="T32" fmla="*/ 7 w 39"/>
                  <a:gd name="T33" fmla="*/ 48 h 67"/>
                  <a:gd name="T34" fmla="*/ 6 w 39"/>
                  <a:gd name="T35" fmla="*/ 49 h 67"/>
                  <a:gd name="T36" fmla="*/ 5 w 39"/>
                  <a:gd name="T37" fmla="*/ 60 h 67"/>
                  <a:gd name="T38" fmla="*/ 5 w 39"/>
                  <a:gd name="T39" fmla="*/ 61 h 67"/>
                  <a:gd name="T40" fmla="*/ 12 w 39"/>
                  <a:gd name="T41" fmla="*/ 66 h 67"/>
                  <a:gd name="T42" fmla="*/ 13 w 39"/>
                  <a:gd name="T43" fmla="*/ 67 h 67"/>
                  <a:gd name="T44" fmla="*/ 17 w 39"/>
                  <a:gd name="T45" fmla="*/ 66 h 67"/>
                  <a:gd name="T46" fmla="*/ 22 w 39"/>
                  <a:gd name="T47" fmla="*/ 57 h 67"/>
                  <a:gd name="T48" fmla="*/ 23 w 39"/>
                  <a:gd name="T49" fmla="*/ 58 h 67"/>
                  <a:gd name="T50" fmla="*/ 24 w 39"/>
                  <a:gd name="T51" fmla="*/ 58 h 67"/>
                  <a:gd name="T52" fmla="*/ 25 w 39"/>
                  <a:gd name="T53" fmla="*/ 57 h 67"/>
                  <a:gd name="T54" fmla="*/ 26 w 39"/>
                  <a:gd name="T55" fmla="*/ 57 h 67"/>
                  <a:gd name="T56" fmla="*/ 26 w 39"/>
                  <a:gd name="T57" fmla="*/ 57 h 67"/>
                  <a:gd name="T58" fmla="*/ 28 w 39"/>
                  <a:gd name="T59" fmla="*/ 58 h 67"/>
                  <a:gd name="T60" fmla="*/ 32 w 39"/>
                  <a:gd name="T61" fmla="*/ 60 h 67"/>
                  <a:gd name="T62" fmla="*/ 39 w 39"/>
                  <a:gd name="T63" fmla="*/ 23 h 67"/>
                  <a:gd name="T64" fmla="*/ 38 w 39"/>
                  <a:gd name="T65" fmla="*/ 18 h 67"/>
                  <a:gd name="T66" fmla="*/ 36 w 39"/>
                  <a:gd name="T67" fmla="*/ 11 h 67"/>
                  <a:gd name="T68" fmla="*/ 32 w 39"/>
                  <a:gd name="T69" fmla="*/ 9 h 67"/>
                  <a:gd name="T70" fmla="*/ 32 w 39"/>
                  <a:gd name="T71" fmla="*/ 3 h 67"/>
                  <a:gd name="T72" fmla="*/ 32 w 39"/>
                  <a:gd name="T73" fmla="*/ 3 h 67"/>
                  <a:gd name="T74" fmla="*/ 25 w 39"/>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67">
                    <a:moveTo>
                      <a:pt x="25" y="0"/>
                    </a:moveTo>
                    <a:cubicBezTo>
                      <a:pt x="20" y="4"/>
                      <a:pt x="14" y="12"/>
                      <a:pt x="7" y="12"/>
                    </a:cubicBezTo>
                    <a:cubicBezTo>
                      <a:pt x="7" y="12"/>
                      <a:pt x="7" y="12"/>
                      <a:pt x="7" y="12"/>
                    </a:cubicBezTo>
                    <a:cubicBezTo>
                      <a:pt x="3" y="12"/>
                      <a:pt x="3" y="11"/>
                      <a:pt x="1" y="9"/>
                    </a:cubicBezTo>
                    <a:cubicBezTo>
                      <a:pt x="2" y="11"/>
                      <a:pt x="1" y="11"/>
                      <a:pt x="0" y="13"/>
                    </a:cubicBezTo>
                    <a:cubicBezTo>
                      <a:pt x="0" y="15"/>
                      <a:pt x="1" y="15"/>
                      <a:pt x="0" y="16"/>
                    </a:cubicBezTo>
                    <a:cubicBezTo>
                      <a:pt x="0" y="16"/>
                      <a:pt x="0" y="18"/>
                      <a:pt x="0" y="19"/>
                    </a:cubicBezTo>
                    <a:cubicBezTo>
                      <a:pt x="0" y="19"/>
                      <a:pt x="1" y="19"/>
                      <a:pt x="1" y="19"/>
                    </a:cubicBezTo>
                    <a:cubicBezTo>
                      <a:pt x="2" y="19"/>
                      <a:pt x="3" y="19"/>
                      <a:pt x="4" y="19"/>
                    </a:cubicBezTo>
                    <a:cubicBezTo>
                      <a:pt x="4" y="20"/>
                      <a:pt x="6" y="24"/>
                      <a:pt x="6" y="24"/>
                    </a:cubicBezTo>
                    <a:cubicBezTo>
                      <a:pt x="8" y="28"/>
                      <a:pt x="7" y="29"/>
                      <a:pt x="6" y="33"/>
                    </a:cubicBezTo>
                    <a:cubicBezTo>
                      <a:pt x="6" y="34"/>
                      <a:pt x="6" y="34"/>
                      <a:pt x="6" y="35"/>
                    </a:cubicBezTo>
                    <a:cubicBezTo>
                      <a:pt x="6" y="38"/>
                      <a:pt x="8" y="41"/>
                      <a:pt x="9" y="44"/>
                    </a:cubicBezTo>
                    <a:cubicBezTo>
                      <a:pt x="9" y="43"/>
                      <a:pt x="9" y="43"/>
                      <a:pt x="9" y="43"/>
                    </a:cubicBezTo>
                    <a:cubicBezTo>
                      <a:pt x="9" y="43"/>
                      <a:pt x="8" y="44"/>
                      <a:pt x="8" y="45"/>
                    </a:cubicBezTo>
                    <a:cubicBezTo>
                      <a:pt x="7" y="46"/>
                      <a:pt x="7" y="48"/>
                      <a:pt x="7" y="48"/>
                    </a:cubicBezTo>
                    <a:cubicBezTo>
                      <a:pt x="7" y="48"/>
                      <a:pt x="7" y="48"/>
                      <a:pt x="7" y="48"/>
                    </a:cubicBezTo>
                    <a:cubicBezTo>
                      <a:pt x="7" y="48"/>
                      <a:pt x="6" y="49"/>
                      <a:pt x="6" y="49"/>
                    </a:cubicBezTo>
                    <a:cubicBezTo>
                      <a:pt x="5" y="53"/>
                      <a:pt x="5" y="56"/>
                      <a:pt x="5" y="60"/>
                    </a:cubicBezTo>
                    <a:cubicBezTo>
                      <a:pt x="5" y="60"/>
                      <a:pt x="5" y="60"/>
                      <a:pt x="5" y="61"/>
                    </a:cubicBezTo>
                    <a:cubicBezTo>
                      <a:pt x="9" y="61"/>
                      <a:pt x="9" y="63"/>
                      <a:pt x="12" y="66"/>
                    </a:cubicBezTo>
                    <a:cubicBezTo>
                      <a:pt x="12" y="66"/>
                      <a:pt x="12" y="67"/>
                      <a:pt x="13" y="67"/>
                    </a:cubicBezTo>
                    <a:cubicBezTo>
                      <a:pt x="15" y="67"/>
                      <a:pt x="17" y="66"/>
                      <a:pt x="17" y="66"/>
                    </a:cubicBezTo>
                    <a:cubicBezTo>
                      <a:pt x="20" y="64"/>
                      <a:pt x="20" y="59"/>
                      <a:pt x="22" y="57"/>
                    </a:cubicBezTo>
                    <a:cubicBezTo>
                      <a:pt x="22" y="57"/>
                      <a:pt x="23" y="58"/>
                      <a:pt x="23" y="58"/>
                    </a:cubicBezTo>
                    <a:cubicBezTo>
                      <a:pt x="23" y="58"/>
                      <a:pt x="23" y="58"/>
                      <a:pt x="24" y="58"/>
                    </a:cubicBezTo>
                    <a:cubicBezTo>
                      <a:pt x="24" y="58"/>
                      <a:pt x="24" y="57"/>
                      <a:pt x="25" y="57"/>
                    </a:cubicBezTo>
                    <a:cubicBezTo>
                      <a:pt x="25" y="57"/>
                      <a:pt x="26" y="57"/>
                      <a:pt x="26" y="57"/>
                    </a:cubicBezTo>
                    <a:cubicBezTo>
                      <a:pt x="26" y="57"/>
                      <a:pt x="26" y="57"/>
                      <a:pt x="26" y="57"/>
                    </a:cubicBezTo>
                    <a:cubicBezTo>
                      <a:pt x="27" y="57"/>
                      <a:pt x="28" y="58"/>
                      <a:pt x="28" y="58"/>
                    </a:cubicBezTo>
                    <a:cubicBezTo>
                      <a:pt x="29" y="58"/>
                      <a:pt x="32" y="59"/>
                      <a:pt x="32" y="60"/>
                    </a:cubicBezTo>
                    <a:cubicBezTo>
                      <a:pt x="36" y="48"/>
                      <a:pt x="36" y="35"/>
                      <a:pt x="39" y="23"/>
                    </a:cubicBezTo>
                    <a:cubicBezTo>
                      <a:pt x="39" y="21"/>
                      <a:pt x="39" y="21"/>
                      <a:pt x="38" y="18"/>
                    </a:cubicBezTo>
                    <a:cubicBezTo>
                      <a:pt x="38" y="16"/>
                      <a:pt x="37" y="13"/>
                      <a:pt x="36" y="11"/>
                    </a:cubicBezTo>
                    <a:cubicBezTo>
                      <a:pt x="35" y="11"/>
                      <a:pt x="32" y="11"/>
                      <a:pt x="32" y="9"/>
                    </a:cubicBezTo>
                    <a:cubicBezTo>
                      <a:pt x="31" y="8"/>
                      <a:pt x="33" y="5"/>
                      <a:pt x="32" y="3"/>
                    </a:cubicBezTo>
                    <a:cubicBezTo>
                      <a:pt x="32" y="3"/>
                      <a:pt x="32" y="3"/>
                      <a:pt x="32" y="3"/>
                    </a:cubicBezTo>
                    <a:cubicBezTo>
                      <a:pt x="30" y="3"/>
                      <a:pt x="27" y="1"/>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1" name="Freeform 40">
                <a:extLst>
                  <a:ext uri="{FF2B5EF4-FFF2-40B4-BE49-F238E27FC236}">
                    <a16:creationId xmlns:a16="http://schemas.microsoft.com/office/drawing/2014/main" id="{5B9178E7-E622-4D76-88B1-317C872DB74B}"/>
                  </a:ext>
                </a:extLst>
              </p:cNvPr>
              <p:cNvSpPr>
                <a:spLocks/>
              </p:cNvSpPr>
              <p:nvPr/>
            </p:nvSpPr>
            <p:spPr bwMode="auto">
              <a:xfrm>
                <a:off x="4325" y="609"/>
                <a:ext cx="5" cy="4"/>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2"/>
                      <a:pt x="2" y="2"/>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2" name="Freeform 41">
                <a:extLst>
                  <a:ext uri="{FF2B5EF4-FFF2-40B4-BE49-F238E27FC236}">
                    <a16:creationId xmlns:a16="http://schemas.microsoft.com/office/drawing/2014/main" id="{C22670A8-3DE5-44D0-A5AA-F52C608835EE}"/>
                  </a:ext>
                </a:extLst>
              </p:cNvPr>
              <p:cNvSpPr>
                <a:spLocks/>
              </p:cNvSpPr>
              <p:nvPr/>
            </p:nvSpPr>
            <p:spPr bwMode="auto">
              <a:xfrm>
                <a:off x="4223" y="214"/>
                <a:ext cx="19" cy="9"/>
              </a:xfrm>
              <a:custGeom>
                <a:avLst/>
                <a:gdLst>
                  <a:gd name="T0" fmla="*/ 7 w 8"/>
                  <a:gd name="T1" fmla="*/ 0 h 4"/>
                  <a:gd name="T2" fmla="*/ 4 w 8"/>
                  <a:gd name="T3" fmla="*/ 1 h 4"/>
                  <a:gd name="T4" fmla="*/ 2 w 8"/>
                  <a:gd name="T5" fmla="*/ 1 h 4"/>
                  <a:gd name="T6" fmla="*/ 0 w 8"/>
                  <a:gd name="T7" fmla="*/ 2 h 4"/>
                  <a:gd name="T8" fmla="*/ 7 w 8"/>
                  <a:gd name="T9" fmla="*/ 4 h 4"/>
                  <a:gd name="T10" fmla="*/ 7 w 8"/>
                  <a:gd name="T11" fmla="*/ 0 h 4"/>
                </a:gdLst>
                <a:ahLst/>
                <a:cxnLst>
                  <a:cxn ang="0">
                    <a:pos x="T0" y="T1"/>
                  </a:cxn>
                  <a:cxn ang="0">
                    <a:pos x="T2" y="T3"/>
                  </a:cxn>
                  <a:cxn ang="0">
                    <a:pos x="T4" y="T5"/>
                  </a:cxn>
                  <a:cxn ang="0">
                    <a:pos x="T6" y="T7"/>
                  </a:cxn>
                  <a:cxn ang="0">
                    <a:pos x="T8" y="T9"/>
                  </a:cxn>
                  <a:cxn ang="0">
                    <a:pos x="T10" y="T11"/>
                  </a:cxn>
                </a:cxnLst>
                <a:rect l="0" t="0" r="r" b="b"/>
                <a:pathLst>
                  <a:path w="8" h="4">
                    <a:moveTo>
                      <a:pt x="7" y="0"/>
                    </a:moveTo>
                    <a:cubicBezTo>
                      <a:pt x="6" y="0"/>
                      <a:pt x="5" y="1"/>
                      <a:pt x="4" y="1"/>
                    </a:cubicBezTo>
                    <a:cubicBezTo>
                      <a:pt x="2" y="1"/>
                      <a:pt x="2" y="1"/>
                      <a:pt x="2" y="1"/>
                    </a:cubicBezTo>
                    <a:cubicBezTo>
                      <a:pt x="1" y="1"/>
                      <a:pt x="1" y="1"/>
                      <a:pt x="0" y="2"/>
                    </a:cubicBezTo>
                    <a:cubicBezTo>
                      <a:pt x="2" y="3"/>
                      <a:pt x="5" y="3"/>
                      <a:pt x="7" y="4"/>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3" name="Freeform 42">
                <a:extLst>
                  <a:ext uri="{FF2B5EF4-FFF2-40B4-BE49-F238E27FC236}">
                    <a16:creationId xmlns:a16="http://schemas.microsoft.com/office/drawing/2014/main" id="{2507FAC1-EAE0-4F17-8E34-D9C642B12BD4}"/>
                  </a:ext>
                </a:extLst>
              </p:cNvPr>
              <p:cNvSpPr>
                <a:spLocks/>
              </p:cNvSpPr>
              <p:nvPr/>
            </p:nvSpPr>
            <p:spPr bwMode="auto">
              <a:xfrm>
                <a:off x="4351" y="517"/>
                <a:ext cx="182" cy="101"/>
              </a:xfrm>
              <a:custGeom>
                <a:avLst/>
                <a:gdLst>
                  <a:gd name="T0" fmla="*/ 77 w 77"/>
                  <a:gd name="T1" fmla="*/ 0 h 43"/>
                  <a:gd name="T2" fmla="*/ 58 w 77"/>
                  <a:gd name="T3" fmla="*/ 4 h 43"/>
                  <a:gd name="T4" fmla="*/ 43 w 77"/>
                  <a:gd name="T5" fmla="*/ 7 h 43"/>
                  <a:gd name="T6" fmla="*/ 42 w 77"/>
                  <a:gd name="T7" fmla="*/ 7 h 43"/>
                  <a:gd name="T8" fmla="*/ 24 w 77"/>
                  <a:gd name="T9" fmla="*/ 4 h 43"/>
                  <a:gd name="T10" fmla="*/ 22 w 77"/>
                  <a:gd name="T11" fmla="*/ 2 h 43"/>
                  <a:gd name="T12" fmla="*/ 21 w 77"/>
                  <a:gd name="T13" fmla="*/ 2 h 43"/>
                  <a:gd name="T14" fmla="*/ 17 w 77"/>
                  <a:gd name="T15" fmla="*/ 4 h 43"/>
                  <a:gd name="T16" fmla="*/ 12 w 77"/>
                  <a:gd name="T17" fmla="*/ 6 h 43"/>
                  <a:gd name="T18" fmla="*/ 11 w 77"/>
                  <a:gd name="T19" fmla="*/ 5 h 43"/>
                  <a:gd name="T20" fmla="*/ 9 w 77"/>
                  <a:gd name="T21" fmla="*/ 3 h 43"/>
                  <a:gd name="T22" fmla="*/ 8 w 77"/>
                  <a:gd name="T23" fmla="*/ 3 h 43"/>
                  <a:gd name="T24" fmla="*/ 6 w 77"/>
                  <a:gd name="T25" fmla="*/ 5 h 43"/>
                  <a:gd name="T26" fmla="*/ 1 w 77"/>
                  <a:gd name="T27" fmla="*/ 14 h 43"/>
                  <a:gd name="T28" fmla="*/ 6 w 77"/>
                  <a:gd name="T29" fmla="*/ 19 h 43"/>
                  <a:gd name="T30" fmla="*/ 8 w 77"/>
                  <a:gd name="T31" fmla="*/ 19 h 43"/>
                  <a:gd name="T32" fmla="*/ 11 w 77"/>
                  <a:gd name="T33" fmla="*/ 19 h 43"/>
                  <a:gd name="T34" fmla="*/ 11 w 77"/>
                  <a:gd name="T35" fmla="*/ 19 h 43"/>
                  <a:gd name="T36" fmla="*/ 18 w 77"/>
                  <a:gd name="T37" fmla="*/ 22 h 43"/>
                  <a:gd name="T38" fmla="*/ 39 w 77"/>
                  <a:gd name="T39" fmla="*/ 31 h 43"/>
                  <a:gd name="T40" fmla="*/ 47 w 77"/>
                  <a:gd name="T41" fmla="*/ 37 h 43"/>
                  <a:gd name="T42" fmla="*/ 49 w 77"/>
                  <a:gd name="T43" fmla="*/ 40 h 43"/>
                  <a:gd name="T44" fmla="*/ 64 w 77"/>
                  <a:gd name="T45" fmla="*/ 43 h 43"/>
                  <a:gd name="T46" fmla="*/ 69 w 77"/>
                  <a:gd name="T47" fmla="*/ 34 h 43"/>
                  <a:gd name="T48" fmla="*/ 69 w 77"/>
                  <a:gd name="T49" fmla="*/ 34 h 43"/>
                  <a:gd name="T50" fmla="*/ 64 w 77"/>
                  <a:gd name="T51" fmla="*/ 25 h 43"/>
                  <a:gd name="T52" fmla="*/ 66 w 77"/>
                  <a:gd name="T53" fmla="*/ 16 h 43"/>
                  <a:gd name="T54" fmla="*/ 77 w 77"/>
                  <a:gd name="T5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 h="43">
                    <a:moveTo>
                      <a:pt x="77" y="0"/>
                    </a:moveTo>
                    <a:cubicBezTo>
                      <a:pt x="70" y="1"/>
                      <a:pt x="64" y="2"/>
                      <a:pt x="58" y="4"/>
                    </a:cubicBezTo>
                    <a:cubicBezTo>
                      <a:pt x="54" y="4"/>
                      <a:pt x="48" y="7"/>
                      <a:pt x="43" y="7"/>
                    </a:cubicBezTo>
                    <a:cubicBezTo>
                      <a:pt x="43" y="7"/>
                      <a:pt x="42" y="7"/>
                      <a:pt x="42" y="7"/>
                    </a:cubicBezTo>
                    <a:cubicBezTo>
                      <a:pt x="36" y="6"/>
                      <a:pt x="30" y="5"/>
                      <a:pt x="24" y="4"/>
                    </a:cubicBezTo>
                    <a:cubicBezTo>
                      <a:pt x="23" y="3"/>
                      <a:pt x="23" y="2"/>
                      <a:pt x="22" y="2"/>
                    </a:cubicBezTo>
                    <a:cubicBezTo>
                      <a:pt x="22" y="2"/>
                      <a:pt x="22" y="2"/>
                      <a:pt x="21" y="2"/>
                    </a:cubicBezTo>
                    <a:cubicBezTo>
                      <a:pt x="20" y="2"/>
                      <a:pt x="19" y="3"/>
                      <a:pt x="17" y="4"/>
                    </a:cubicBezTo>
                    <a:cubicBezTo>
                      <a:pt x="16" y="5"/>
                      <a:pt x="14" y="6"/>
                      <a:pt x="12" y="6"/>
                    </a:cubicBezTo>
                    <a:cubicBezTo>
                      <a:pt x="12" y="6"/>
                      <a:pt x="11" y="5"/>
                      <a:pt x="11" y="5"/>
                    </a:cubicBezTo>
                    <a:cubicBezTo>
                      <a:pt x="9" y="5"/>
                      <a:pt x="10" y="4"/>
                      <a:pt x="9" y="3"/>
                    </a:cubicBezTo>
                    <a:cubicBezTo>
                      <a:pt x="8" y="3"/>
                      <a:pt x="8" y="3"/>
                      <a:pt x="8" y="3"/>
                    </a:cubicBezTo>
                    <a:cubicBezTo>
                      <a:pt x="7" y="3"/>
                      <a:pt x="7" y="3"/>
                      <a:pt x="6" y="5"/>
                    </a:cubicBezTo>
                    <a:cubicBezTo>
                      <a:pt x="5" y="6"/>
                      <a:pt x="0" y="12"/>
                      <a:pt x="1" y="14"/>
                    </a:cubicBezTo>
                    <a:cubicBezTo>
                      <a:pt x="2" y="15"/>
                      <a:pt x="4" y="18"/>
                      <a:pt x="6" y="19"/>
                    </a:cubicBezTo>
                    <a:cubicBezTo>
                      <a:pt x="6" y="19"/>
                      <a:pt x="7" y="19"/>
                      <a:pt x="8" y="19"/>
                    </a:cubicBezTo>
                    <a:cubicBezTo>
                      <a:pt x="9" y="19"/>
                      <a:pt x="10" y="19"/>
                      <a:pt x="11" y="19"/>
                    </a:cubicBezTo>
                    <a:cubicBezTo>
                      <a:pt x="11" y="19"/>
                      <a:pt x="11" y="19"/>
                      <a:pt x="11" y="19"/>
                    </a:cubicBezTo>
                    <a:cubicBezTo>
                      <a:pt x="13" y="19"/>
                      <a:pt x="16" y="21"/>
                      <a:pt x="18" y="22"/>
                    </a:cubicBezTo>
                    <a:cubicBezTo>
                      <a:pt x="25" y="25"/>
                      <a:pt x="32" y="28"/>
                      <a:pt x="39" y="31"/>
                    </a:cubicBezTo>
                    <a:cubicBezTo>
                      <a:pt x="42" y="33"/>
                      <a:pt x="45" y="34"/>
                      <a:pt x="47" y="37"/>
                    </a:cubicBezTo>
                    <a:cubicBezTo>
                      <a:pt x="48" y="38"/>
                      <a:pt x="48" y="39"/>
                      <a:pt x="49" y="40"/>
                    </a:cubicBezTo>
                    <a:cubicBezTo>
                      <a:pt x="52" y="42"/>
                      <a:pt x="60" y="42"/>
                      <a:pt x="64" y="43"/>
                    </a:cubicBezTo>
                    <a:cubicBezTo>
                      <a:pt x="65" y="41"/>
                      <a:pt x="66" y="34"/>
                      <a:pt x="69" y="34"/>
                    </a:cubicBezTo>
                    <a:cubicBezTo>
                      <a:pt x="69" y="34"/>
                      <a:pt x="69" y="34"/>
                      <a:pt x="69" y="34"/>
                    </a:cubicBezTo>
                    <a:cubicBezTo>
                      <a:pt x="68" y="31"/>
                      <a:pt x="66" y="28"/>
                      <a:pt x="64" y="25"/>
                    </a:cubicBezTo>
                    <a:cubicBezTo>
                      <a:pt x="63" y="23"/>
                      <a:pt x="65" y="18"/>
                      <a:pt x="66" y="16"/>
                    </a:cubicBezTo>
                    <a:cubicBezTo>
                      <a:pt x="68" y="10"/>
                      <a:pt x="73" y="5"/>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4" name="Freeform 43">
                <a:extLst>
                  <a:ext uri="{FF2B5EF4-FFF2-40B4-BE49-F238E27FC236}">
                    <a16:creationId xmlns:a16="http://schemas.microsoft.com/office/drawing/2014/main" id="{64546DD5-D986-4EE9-A6FF-213D4D79504E}"/>
                  </a:ext>
                </a:extLst>
              </p:cNvPr>
              <p:cNvSpPr>
                <a:spLocks/>
              </p:cNvSpPr>
              <p:nvPr/>
            </p:nvSpPr>
            <p:spPr bwMode="auto">
              <a:xfrm>
                <a:off x="4457" y="56"/>
                <a:ext cx="10" cy="40"/>
              </a:xfrm>
              <a:custGeom>
                <a:avLst/>
                <a:gdLst>
                  <a:gd name="T0" fmla="*/ 0 w 4"/>
                  <a:gd name="T1" fmla="*/ 0 h 17"/>
                  <a:gd name="T2" fmla="*/ 4 w 4"/>
                  <a:gd name="T3" fmla="*/ 17 h 17"/>
                  <a:gd name="T4" fmla="*/ 3 w 4"/>
                  <a:gd name="T5" fmla="*/ 10 h 17"/>
                  <a:gd name="T6" fmla="*/ 4 w 4"/>
                  <a:gd name="T7" fmla="*/ 6 h 17"/>
                  <a:gd name="T8" fmla="*/ 1 w 4"/>
                  <a:gd name="T9" fmla="*/ 4 h 17"/>
                  <a:gd name="T10" fmla="*/ 0 w 4"/>
                  <a:gd name="T11" fmla="*/ 0 h 17"/>
                </a:gdLst>
                <a:ahLst/>
                <a:cxnLst>
                  <a:cxn ang="0">
                    <a:pos x="T0" y="T1"/>
                  </a:cxn>
                  <a:cxn ang="0">
                    <a:pos x="T2" y="T3"/>
                  </a:cxn>
                  <a:cxn ang="0">
                    <a:pos x="T4" y="T5"/>
                  </a:cxn>
                  <a:cxn ang="0">
                    <a:pos x="T6" y="T7"/>
                  </a:cxn>
                  <a:cxn ang="0">
                    <a:pos x="T8" y="T9"/>
                  </a:cxn>
                  <a:cxn ang="0">
                    <a:pos x="T10" y="T11"/>
                  </a:cxn>
                </a:cxnLst>
                <a:rect l="0" t="0" r="r" b="b"/>
                <a:pathLst>
                  <a:path w="4" h="17">
                    <a:moveTo>
                      <a:pt x="0" y="0"/>
                    </a:moveTo>
                    <a:cubicBezTo>
                      <a:pt x="1" y="6"/>
                      <a:pt x="3" y="11"/>
                      <a:pt x="4" y="17"/>
                    </a:cubicBezTo>
                    <a:cubicBezTo>
                      <a:pt x="4" y="14"/>
                      <a:pt x="4" y="12"/>
                      <a:pt x="3" y="10"/>
                    </a:cubicBezTo>
                    <a:cubicBezTo>
                      <a:pt x="3" y="10"/>
                      <a:pt x="4" y="7"/>
                      <a:pt x="4" y="6"/>
                    </a:cubicBezTo>
                    <a:cubicBezTo>
                      <a:pt x="4" y="6"/>
                      <a:pt x="2" y="5"/>
                      <a:pt x="1"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5" name="Freeform 44">
                <a:extLst>
                  <a:ext uri="{FF2B5EF4-FFF2-40B4-BE49-F238E27FC236}">
                    <a16:creationId xmlns:a16="http://schemas.microsoft.com/office/drawing/2014/main" id="{96F2FF8D-2611-4BFB-8AC5-4B61757D7B58}"/>
                  </a:ext>
                </a:extLst>
              </p:cNvPr>
              <p:cNvSpPr>
                <a:spLocks/>
              </p:cNvSpPr>
              <p:nvPr/>
            </p:nvSpPr>
            <p:spPr bwMode="auto">
              <a:xfrm>
                <a:off x="4594" y="207"/>
                <a:ext cx="22" cy="5"/>
              </a:xfrm>
              <a:custGeom>
                <a:avLst/>
                <a:gdLst>
                  <a:gd name="T0" fmla="*/ 0 w 9"/>
                  <a:gd name="T1" fmla="*/ 0 h 2"/>
                  <a:gd name="T2" fmla="*/ 2 w 9"/>
                  <a:gd name="T3" fmla="*/ 2 h 2"/>
                  <a:gd name="T4" fmla="*/ 5 w 9"/>
                  <a:gd name="T5" fmla="*/ 1 h 2"/>
                  <a:gd name="T6" fmla="*/ 6 w 9"/>
                  <a:gd name="T7" fmla="*/ 1 h 2"/>
                  <a:gd name="T8" fmla="*/ 8 w 9"/>
                  <a:gd name="T9" fmla="*/ 1 h 2"/>
                  <a:gd name="T10" fmla="*/ 9 w 9"/>
                  <a:gd name="T11" fmla="*/ 1 h 2"/>
                  <a:gd name="T12" fmla="*/ 0 w 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0"/>
                    </a:moveTo>
                    <a:cubicBezTo>
                      <a:pt x="1" y="0"/>
                      <a:pt x="1" y="1"/>
                      <a:pt x="2" y="2"/>
                    </a:cubicBezTo>
                    <a:cubicBezTo>
                      <a:pt x="3" y="1"/>
                      <a:pt x="4" y="1"/>
                      <a:pt x="5" y="1"/>
                    </a:cubicBezTo>
                    <a:cubicBezTo>
                      <a:pt x="5" y="1"/>
                      <a:pt x="6" y="1"/>
                      <a:pt x="6" y="1"/>
                    </a:cubicBezTo>
                    <a:cubicBezTo>
                      <a:pt x="7" y="1"/>
                      <a:pt x="7" y="1"/>
                      <a:pt x="8" y="1"/>
                    </a:cubicBezTo>
                    <a:cubicBezTo>
                      <a:pt x="8" y="1"/>
                      <a:pt x="9" y="1"/>
                      <a:pt x="9" y="1"/>
                    </a:cubicBezTo>
                    <a:cubicBezTo>
                      <a:pt x="6"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6" name="Freeform 45">
                <a:extLst>
                  <a:ext uri="{FF2B5EF4-FFF2-40B4-BE49-F238E27FC236}">
                    <a16:creationId xmlns:a16="http://schemas.microsoft.com/office/drawing/2014/main" id="{82AF3F64-A99B-4631-90E8-A143B69D586B}"/>
                  </a:ext>
                </a:extLst>
              </p:cNvPr>
              <p:cNvSpPr>
                <a:spLocks/>
              </p:cNvSpPr>
              <p:nvPr/>
            </p:nvSpPr>
            <p:spPr bwMode="auto">
              <a:xfrm>
                <a:off x="4597" y="221"/>
                <a:ext cx="4" cy="2"/>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0"/>
                      <a:pt x="0" y="0"/>
                    </a:cubicBezTo>
                    <a:cubicBezTo>
                      <a:pt x="1" y="0"/>
                      <a:pt x="1" y="0"/>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7" name="Freeform 46">
                <a:extLst>
                  <a:ext uri="{FF2B5EF4-FFF2-40B4-BE49-F238E27FC236}">
                    <a16:creationId xmlns:a16="http://schemas.microsoft.com/office/drawing/2014/main" id="{89925F4B-60E8-4703-95D5-EA7BF616DFB1}"/>
                  </a:ext>
                </a:extLst>
              </p:cNvPr>
              <p:cNvSpPr>
                <a:spLocks/>
              </p:cNvSpPr>
              <p:nvPr/>
            </p:nvSpPr>
            <p:spPr bwMode="auto">
              <a:xfrm>
                <a:off x="4575" y="179"/>
                <a:ext cx="29" cy="7"/>
              </a:xfrm>
              <a:custGeom>
                <a:avLst/>
                <a:gdLst>
                  <a:gd name="T0" fmla="*/ 1 w 12"/>
                  <a:gd name="T1" fmla="*/ 0 h 3"/>
                  <a:gd name="T2" fmla="*/ 0 w 12"/>
                  <a:gd name="T3" fmla="*/ 0 h 3"/>
                  <a:gd name="T4" fmla="*/ 6 w 12"/>
                  <a:gd name="T5" fmla="*/ 3 h 3"/>
                  <a:gd name="T6" fmla="*/ 5 w 12"/>
                  <a:gd name="T7" fmla="*/ 0 h 3"/>
                  <a:gd name="T8" fmla="*/ 1 w 12"/>
                  <a:gd name="T9" fmla="*/ 0 h 3"/>
                </a:gdLst>
                <a:ahLst/>
                <a:cxnLst>
                  <a:cxn ang="0">
                    <a:pos x="T0" y="T1"/>
                  </a:cxn>
                  <a:cxn ang="0">
                    <a:pos x="T2" y="T3"/>
                  </a:cxn>
                  <a:cxn ang="0">
                    <a:pos x="T4" y="T5"/>
                  </a:cxn>
                  <a:cxn ang="0">
                    <a:pos x="T6" y="T7"/>
                  </a:cxn>
                  <a:cxn ang="0">
                    <a:pos x="T8" y="T9"/>
                  </a:cxn>
                </a:cxnLst>
                <a:rect l="0" t="0" r="r" b="b"/>
                <a:pathLst>
                  <a:path w="12" h="3">
                    <a:moveTo>
                      <a:pt x="1" y="0"/>
                    </a:moveTo>
                    <a:cubicBezTo>
                      <a:pt x="1" y="0"/>
                      <a:pt x="0" y="0"/>
                      <a:pt x="0" y="0"/>
                    </a:cubicBezTo>
                    <a:cubicBezTo>
                      <a:pt x="1" y="2"/>
                      <a:pt x="4" y="3"/>
                      <a:pt x="6" y="3"/>
                    </a:cubicBezTo>
                    <a:cubicBezTo>
                      <a:pt x="11" y="3"/>
                      <a:pt x="12" y="2"/>
                      <a:pt x="5" y="0"/>
                    </a:cubicBezTo>
                    <a:cubicBezTo>
                      <a:pt x="4"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8" name="Freeform 47">
                <a:extLst>
                  <a:ext uri="{FF2B5EF4-FFF2-40B4-BE49-F238E27FC236}">
                    <a16:creationId xmlns:a16="http://schemas.microsoft.com/office/drawing/2014/main" id="{BB4C0DAC-70A1-4638-A170-801AEB148602}"/>
                  </a:ext>
                </a:extLst>
              </p:cNvPr>
              <p:cNvSpPr>
                <a:spLocks/>
              </p:cNvSpPr>
              <p:nvPr/>
            </p:nvSpPr>
            <p:spPr bwMode="auto">
              <a:xfrm>
                <a:off x="4627" y="216"/>
                <a:ext cx="19" cy="7"/>
              </a:xfrm>
              <a:custGeom>
                <a:avLst/>
                <a:gdLst>
                  <a:gd name="T0" fmla="*/ 0 w 8"/>
                  <a:gd name="T1" fmla="*/ 0 h 3"/>
                  <a:gd name="T2" fmla="*/ 8 w 8"/>
                  <a:gd name="T3" fmla="*/ 3 h 3"/>
                  <a:gd name="T4" fmla="*/ 0 w 8"/>
                  <a:gd name="T5" fmla="*/ 0 h 3"/>
                </a:gdLst>
                <a:ahLst/>
                <a:cxnLst>
                  <a:cxn ang="0">
                    <a:pos x="T0" y="T1"/>
                  </a:cxn>
                  <a:cxn ang="0">
                    <a:pos x="T2" y="T3"/>
                  </a:cxn>
                  <a:cxn ang="0">
                    <a:pos x="T4" y="T5"/>
                  </a:cxn>
                </a:cxnLst>
                <a:rect l="0" t="0" r="r" b="b"/>
                <a:pathLst>
                  <a:path w="8" h="3">
                    <a:moveTo>
                      <a:pt x="0" y="0"/>
                    </a:moveTo>
                    <a:cubicBezTo>
                      <a:pt x="2" y="2"/>
                      <a:pt x="6" y="3"/>
                      <a:pt x="8" y="3"/>
                    </a:cubicBezTo>
                    <a:cubicBezTo>
                      <a:pt x="5" y="2"/>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9" name="Freeform 48">
                <a:extLst>
                  <a:ext uri="{FF2B5EF4-FFF2-40B4-BE49-F238E27FC236}">
                    <a16:creationId xmlns:a16="http://schemas.microsoft.com/office/drawing/2014/main" id="{66DFA83A-098E-4C49-B8C8-6D438F4EA359}"/>
                  </a:ext>
                </a:extLst>
              </p:cNvPr>
              <p:cNvSpPr>
                <a:spLocks/>
              </p:cNvSpPr>
              <p:nvPr/>
            </p:nvSpPr>
            <p:spPr bwMode="auto">
              <a:xfrm>
                <a:off x="4554" y="197"/>
                <a:ext cx="7" cy="5"/>
              </a:xfrm>
              <a:custGeom>
                <a:avLst/>
                <a:gdLst>
                  <a:gd name="T0" fmla="*/ 2 w 3"/>
                  <a:gd name="T1" fmla="*/ 0 h 2"/>
                  <a:gd name="T2" fmla="*/ 0 w 3"/>
                  <a:gd name="T3" fmla="*/ 1 h 2"/>
                  <a:gd name="T4" fmla="*/ 1 w 3"/>
                  <a:gd name="T5" fmla="*/ 2 h 2"/>
                  <a:gd name="T6" fmla="*/ 3 w 3"/>
                  <a:gd name="T7" fmla="*/ 0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1" y="0"/>
                      <a:pt x="1" y="1"/>
                      <a:pt x="0" y="1"/>
                    </a:cubicBezTo>
                    <a:cubicBezTo>
                      <a:pt x="0" y="2"/>
                      <a:pt x="0" y="2"/>
                      <a:pt x="1" y="2"/>
                    </a:cubicBezTo>
                    <a:cubicBezTo>
                      <a:pt x="1" y="2"/>
                      <a:pt x="2" y="2"/>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0" name="Freeform 49">
                <a:extLst>
                  <a:ext uri="{FF2B5EF4-FFF2-40B4-BE49-F238E27FC236}">
                    <a16:creationId xmlns:a16="http://schemas.microsoft.com/office/drawing/2014/main" id="{6E81D131-8DCD-4206-840E-3B9EBABF03E7}"/>
                  </a:ext>
                </a:extLst>
              </p:cNvPr>
              <p:cNvSpPr>
                <a:spLocks/>
              </p:cNvSpPr>
              <p:nvPr/>
            </p:nvSpPr>
            <p:spPr bwMode="auto">
              <a:xfrm>
                <a:off x="4500" y="138"/>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0" y="1"/>
                      <a:pt x="2" y="2"/>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1" name="Freeform 50">
                <a:extLst>
                  <a:ext uri="{FF2B5EF4-FFF2-40B4-BE49-F238E27FC236}">
                    <a16:creationId xmlns:a16="http://schemas.microsoft.com/office/drawing/2014/main" id="{5B70D9B9-5DCE-4C95-8134-7035ACA82564}"/>
                  </a:ext>
                </a:extLst>
              </p:cNvPr>
              <p:cNvSpPr>
                <a:spLocks/>
              </p:cNvSpPr>
              <p:nvPr/>
            </p:nvSpPr>
            <p:spPr bwMode="auto">
              <a:xfrm>
                <a:off x="4488" y="127"/>
                <a:ext cx="12" cy="11"/>
              </a:xfrm>
              <a:custGeom>
                <a:avLst/>
                <a:gdLst>
                  <a:gd name="T0" fmla="*/ 0 w 5"/>
                  <a:gd name="T1" fmla="*/ 0 h 5"/>
                  <a:gd name="T2" fmla="*/ 5 w 5"/>
                  <a:gd name="T3" fmla="*/ 5 h 5"/>
                  <a:gd name="T4" fmla="*/ 0 w 5"/>
                  <a:gd name="T5" fmla="*/ 0 h 5"/>
                </a:gdLst>
                <a:ahLst/>
                <a:cxnLst>
                  <a:cxn ang="0">
                    <a:pos x="T0" y="T1"/>
                  </a:cxn>
                  <a:cxn ang="0">
                    <a:pos x="T2" y="T3"/>
                  </a:cxn>
                  <a:cxn ang="0">
                    <a:pos x="T4" y="T5"/>
                  </a:cxn>
                </a:cxnLst>
                <a:rect l="0" t="0" r="r" b="b"/>
                <a:pathLst>
                  <a:path w="5" h="5">
                    <a:moveTo>
                      <a:pt x="0" y="0"/>
                    </a:moveTo>
                    <a:cubicBezTo>
                      <a:pt x="2" y="2"/>
                      <a:pt x="3" y="4"/>
                      <a:pt x="5" y="5"/>
                    </a:cubicBezTo>
                    <a:cubicBezTo>
                      <a:pt x="4"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2" name="Freeform 51">
                <a:extLst>
                  <a:ext uri="{FF2B5EF4-FFF2-40B4-BE49-F238E27FC236}">
                    <a16:creationId xmlns:a16="http://schemas.microsoft.com/office/drawing/2014/main" id="{990BC22C-CBBC-4EAD-B6CC-D3B39FCC05EA}"/>
                  </a:ext>
                </a:extLst>
              </p:cNvPr>
              <p:cNvSpPr>
                <a:spLocks/>
              </p:cNvSpPr>
              <p:nvPr/>
            </p:nvSpPr>
            <p:spPr bwMode="auto">
              <a:xfrm>
                <a:off x="4481" y="89"/>
                <a:ext cx="26" cy="28"/>
              </a:xfrm>
              <a:custGeom>
                <a:avLst/>
                <a:gdLst>
                  <a:gd name="T0" fmla="*/ 0 w 11"/>
                  <a:gd name="T1" fmla="*/ 0 h 12"/>
                  <a:gd name="T2" fmla="*/ 10 w 11"/>
                  <a:gd name="T3" fmla="*/ 12 h 12"/>
                  <a:gd name="T4" fmla="*/ 4 w 11"/>
                  <a:gd name="T5" fmla="*/ 5 h 12"/>
                  <a:gd name="T6" fmla="*/ 4 w 11"/>
                  <a:gd name="T7" fmla="*/ 3 h 12"/>
                  <a:gd name="T8" fmla="*/ 3 w 11"/>
                  <a:gd name="T9" fmla="*/ 3 h 12"/>
                  <a:gd name="T10" fmla="*/ 0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0" y="0"/>
                    </a:moveTo>
                    <a:cubicBezTo>
                      <a:pt x="3" y="4"/>
                      <a:pt x="7" y="8"/>
                      <a:pt x="10" y="12"/>
                    </a:cubicBezTo>
                    <a:cubicBezTo>
                      <a:pt x="11" y="6"/>
                      <a:pt x="7" y="8"/>
                      <a:pt x="4" y="5"/>
                    </a:cubicBezTo>
                    <a:cubicBezTo>
                      <a:pt x="4" y="4"/>
                      <a:pt x="5" y="4"/>
                      <a:pt x="4"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3" name="Freeform 52">
                <a:extLst>
                  <a:ext uri="{FF2B5EF4-FFF2-40B4-BE49-F238E27FC236}">
                    <a16:creationId xmlns:a16="http://schemas.microsoft.com/office/drawing/2014/main" id="{D9167776-5669-4FA3-A802-A19EA5069FB2}"/>
                  </a:ext>
                </a:extLst>
              </p:cNvPr>
              <p:cNvSpPr>
                <a:spLocks/>
              </p:cNvSpPr>
              <p:nvPr/>
            </p:nvSpPr>
            <p:spPr bwMode="auto">
              <a:xfrm>
                <a:off x="4464" y="53"/>
                <a:ext cx="17" cy="19"/>
              </a:xfrm>
              <a:custGeom>
                <a:avLst/>
                <a:gdLst>
                  <a:gd name="T0" fmla="*/ 3 w 7"/>
                  <a:gd name="T1" fmla="*/ 0 h 8"/>
                  <a:gd name="T2" fmla="*/ 0 w 7"/>
                  <a:gd name="T3" fmla="*/ 4 h 8"/>
                  <a:gd name="T4" fmla="*/ 7 w 7"/>
                  <a:gd name="T5" fmla="*/ 8 h 8"/>
                  <a:gd name="T6" fmla="*/ 4 w 7"/>
                  <a:gd name="T7" fmla="*/ 2 h 8"/>
                  <a:gd name="T8" fmla="*/ 4 w 7"/>
                  <a:gd name="T9" fmla="*/ 2 h 8"/>
                  <a:gd name="T10" fmla="*/ 3 w 7"/>
                  <a:gd name="T11" fmla="*/ 0 h 8"/>
                </a:gdLst>
                <a:ahLst/>
                <a:cxnLst>
                  <a:cxn ang="0">
                    <a:pos x="T0" y="T1"/>
                  </a:cxn>
                  <a:cxn ang="0">
                    <a:pos x="T2" y="T3"/>
                  </a:cxn>
                  <a:cxn ang="0">
                    <a:pos x="T4" y="T5"/>
                  </a:cxn>
                  <a:cxn ang="0">
                    <a:pos x="T6" y="T7"/>
                  </a:cxn>
                  <a:cxn ang="0">
                    <a:pos x="T8" y="T9"/>
                  </a:cxn>
                  <a:cxn ang="0">
                    <a:pos x="T10" y="T11"/>
                  </a:cxn>
                </a:cxnLst>
                <a:rect l="0" t="0" r="r" b="b"/>
                <a:pathLst>
                  <a:path w="7" h="8">
                    <a:moveTo>
                      <a:pt x="3" y="0"/>
                    </a:moveTo>
                    <a:cubicBezTo>
                      <a:pt x="2" y="2"/>
                      <a:pt x="1" y="3"/>
                      <a:pt x="0" y="4"/>
                    </a:cubicBezTo>
                    <a:cubicBezTo>
                      <a:pt x="2" y="5"/>
                      <a:pt x="5" y="7"/>
                      <a:pt x="7" y="8"/>
                    </a:cubicBezTo>
                    <a:cubicBezTo>
                      <a:pt x="7" y="6"/>
                      <a:pt x="6" y="2"/>
                      <a:pt x="4" y="2"/>
                    </a:cubicBezTo>
                    <a:cubicBezTo>
                      <a:pt x="4" y="2"/>
                      <a:pt x="4" y="2"/>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4" name="Freeform 53">
                <a:extLst>
                  <a:ext uri="{FF2B5EF4-FFF2-40B4-BE49-F238E27FC236}">
                    <a16:creationId xmlns:a16="http://schemas.microsoft.com/office/drawing/2014/main" id="{CA0C69C0-E59D-44E2-A4DB-41ECDBC8D532}"/>
                  </a:ext>
                </a:extLst>
              </p:cNvPr>
              <p:cNvSpPr>
                <a:spLocks/>
              </p:cNvSpPr>
              <p:nvPr/>
            </p:nvSpPr>
            <p:spPr bwMode="auto">
              <a:xfrm>
                <a:off x="4573" y="190"/>
                <a:ext cx="43" cy="7"/>
              </a:xfrm>
              <a:custGeom>
                <a:avLst/>
                <a:gdLst>
                  <a:gd name="T0" fmla="*/ 3 w 18"/>
                  <a:gd name="T1" fmla="*/ 0 h 3"/>
                  <a:gd name="T2" fmla="*/ 0 w 18"/>
                  <a:gd name="T3" fmla="*/ 0 h 3"/>
                  <a:gd name="T4" fmla="*/ 15 w 18"/>
                  <a:gd name="T5" fmla="*/ 3 h 3"/>
                  <a:gd name="T6" fmla="*/ 18 w 18"/>
                  <a:gd name="T7" fmla="*/ 2 h 3"/>
                  <a:gd name="T8" fmla="*/ 7 w 18"/>
                  <a:gd name="T9" fmla="*/ 0 h 3"/>
                  <a:gd name="T10" fmla="*/ 3 w 18"/>
                  <a:gd name="T11" fmla="*/ 0 h 3"/>
                </a:gdLst>
                <a:ahLst/>
                <a:cxnLst>
                  <a:cxn ang="0">
                    <a:pos x="T0" y="T1"/>
                  </a:cxn>
                  <a:cxn ang="0">
                    <a:pos x="T2" y="T3"/>
                  </a:cxn>
                  <a:cxn ang="0">
                    <a:pos x="T4" y="T5"/>
                  </a:cxn>
                  <a:cxn ang="0">
                    <a:pos x="T6" y="T7"/>
                  </a:cxn>
                  <a:cxn ang="0">
                    <a:pos x="T8" y="T9"/>
                  </a:cxn>
                  <a:cxn ang="0">
                    <a:pos x="T10" y="T11"/>
                  </a:cxn>
                </a:cxnLst>
                <a:rect l="0" t="0" r="r" b="b"/>
                <a:pathLst>
                  <a:path w="18" h="3">
                    <a:moveTo>
                      <a:pt x="3" y="0"/>
                    </a:moveTo>
                    <a:cubicBezTo>
                      <a:pt x="3" y="0"/>
                      <a:pt x="2" y="0"/>
                      <a:pt x="0" y="0"/>
                    </a:cubicBezTo>
                    <a:cubicBezTo>
                      <a:pt x="5" y="1"/>
                      <a:pt x="10" y="3"/>
                      <a:pt x="15" y="3"/>
                    </a:cubicBezTo>
                    <a:cubicBezTo>
                      <a:pt x="16" y="3"/>
                      <a:pt x="17" y="3"/>
                      <a:pt x="18" y="2"/>
                    </a:cubicBezTo>
                    <a:cubicBezTo>
                      <a:pt x="14" y="2"/>
                      <a:pt x="10" y="2"/>
                      <a:pt x="7"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 name="Freeform 54">
                <a:extLst>
                  <a:ext uri="{FF2B5EF4-FFF2-40B4-BE49-F238E27FC236}">
                    <a16:creationId xmlns:a16="http://schemas.microsoft.com/office/drawing/2014/main" id="{AA1D6B2C-66A7-4EB7-8954-2F39B3067003}"/>
                  </a:ext>
                </a:extLst>
              </p:cNvPr>
              <p:cNvSpPr>
                <a:spLocks/>
              </p:cNvSpPr>
              <p:nvPr/>
            </p:nvSpPr>
            <p:spPr bwMode="auto">
              <a:xfrm>
                <a:off x="5072" y="585"/>
                <a:ext cx="14" cy="19"/>
              </a:xfrm>
              <a:custGeom>
                <a:avLst/>
                <a:gdLst>
                  <a:gd name="T0" fmla="*/ 4 w 6"/>
                  <a:gd name="T1" fmla="*/ 0 h 8"/>
                  <a:gd name="T2" fmla="*/ 0 w 6"/>
                  <a:gd name="T3" fmla="*/ 3 h 8"/>
                  <a:gd name="T4" fmla="*/ 2 w 6"/>
                  <a:gd name="T5" fmla="*/ 8 h 8"/>
                  <a:gd name="T6" fmla="*/ 6 w 6"/>
                  <a:gd name="T7" fmla="*/ 2 h 8"/>
                  <a:gd name="T8" fmla="*/ 4 w 6"/>
                  <a:gd name="T9" fmla="*/ 0 h 8"/>
                </a:gdLst>
                <a:ahLst/>
                <a:cxnLst>
                  <a:cxn ang="0">
                    <a:pos x="T0" y="T1"/>
                  </a:cxn>
                  <a:cxn ang="0">
                    <a:pos x="T2" y="T3"/>
                  </a:cxn>
                  <a:cxn ang="0">
                    <a:pos x="T4" y="T5"/>
                  </a:cxn>
                  <a:cxn ang="0">
                    <a:pos x="T6" y="T7"/>
                  </a:cxn>
                  <a:cxn ang="0">
                    <a:pos x="T8" y="T9"/>
                  </a:cxn>
                </a:cxnLst>
                <a:rect l="0" t="0" r="r" b="b"/>
                <a:pathLst>
                  <a:path w="6" h="8">
                    <a:moveTo>
                      <a:pt x="4" y="0"/>
                    </a:moveTo>
                    <a:cubicBezTo>
                      <a:pt x="3" y="0"/>
                      <a:pt x="1" y="3"/>
                      <a:pt x="0" y="3"/>
                    </a:cubicBezTo>
                    <a:cubicBezTo>
                      <a:pt x="0" y="5"/>
                      <a:pt x="1" y="6"/>
                      <a:pt x="2" y="8"/>
                    </a:cubicBezTo>
                    <a:cubicBezTo>
                      <a:pt x="4" y="7"/>
                      <a:pt x="6" y="4"/>
                      <a:pt x="6"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 name="Freeform 55">
                <a:extLst>
                  <a:ext uri="{FF2B5EF4-FFF2-40B4-BE49-F238E27FC236}">
                    <a16:creationId xmlns:a16="http://schemas.microsoft.com/office/drawing/2014/main" id="{6B5E86EC-82DC-4B03-871E-FF2EF467FFB6}"/>
                  </a:ext>
                </a:extLst>
              </p:cNvPr>
              <p:cNvSpPr>
                <a:spLocks/>
              </p:cNvSpPr>
              <p:nvPr/>
            </p:nvSpPr>
            <p:spPr bwMode="auto">
              <a:xfrm>
                <a:off x="5067" y="611"/>
                <a:ext cx="5" cy="10"/>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1"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 name="Freeform 56">
                <a:extLst>
                  <a:ext uri="{FF2B5EF4-FFF2-40B4-BE49-F238E27FC236}">
                    <a16:creationId xmlns:a16="http://schemas.microsoft.com/office/drawing/2014/main" id="{172BCA67-C931-49B2-8488-6ED77430EE3E}"/>
                  </a:ext>
                </a:extLst>
              </p:cNvPr>
              <p:cNvSpPr>
                <a:spLocks/>
              </p:cNvSpPr>
              <p:nvPr/>
            </p:nvSpPr>
            <p:spPr bwMode="auto">
              <a:xfrm>
                <a:off x="4963" y="533"/>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 name="Freeform 57">
                <a:extLst>
                  <a:ext uri="{FF2B5EF4-FFF2-40B4-BE49-F238E27FC236}">
                    <a16:creationId xmlns:a16="http://schemas.microsoft.com/office/drawing/2014/main" id="{F8778B15-746C-4CF3-955E-75B800E28614}"/>
                  </a:ext>
                </a:extLst>
              </p:cNvPr>
              <p:cNvSpPr>
                <a:spLocks/>
              </p:cNvSpPr>
              <p:nvPr/>
            </p:nvSpPr>
            <p:spPr bwMode="auto">
              <a:xfrm>
                <a:off x="5053" y="401"/>
                <a:ext cx="23" cy="16"/>
              </a:xfrm>
              <a:custGeom>
                <a:avLst/>
                <a:gdLst>
                  <a:gd name="T0" fmla="*/ 10 w 10"/>
                  <a:gd name="T1" fmla="*/ 0 h 7"/>
                  <a:gd name="T2" fmla="*/ 6 w 10"/>
                  <a:gd name="T3" fmla="*/ 3 h 7"/>
                  <a:gd name="T4" fmla="*/ 6 w 10"/>
                  <a:gd name="T5" fmla="*/ 3 h 7"/>
                  <a:gd name="T6" fmla="*/ 6 w 10"/>
                  <a:gd name="T7" fmla="*/ 2 h 7"/>
                  <a:gd name="T8" fmla="*/ 4 w 10"/>
                  <a:gd name="T9" fmla="*/ 1 h 7"/>
                  <a:gd name="T10" fmla="*/ 3 w 10"/>
                  <a:gd name="T11" fmla="*/ 1 h 7"/>
                  <a:gd name="T12" fmla="*/ 2 w 10"/>
                  <a:gd name="T13" fmla="*/ 1 h 7"/>
                  <a:gd name="T14" fmla="*/ 1 w 10"/>
                  <a:gd name="T15" fmla="*/ 6 h 7"/>
                  <a:gd name="T16" fmla="*/ 5 w 10"/>
                  <a:gd name="T17" fmla="*/ 4 h 7"/>
                  <a:gd name="T18" fmla="*/ 8 w 10"/>
                  <a:gd name="T19" fmla="*/ 7 h 7"/>
                  <a:gd name="T20" fmla="*/ 10 w 10"/>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10" y="0"/>
                    </a:moveTo>
                    <a:cubicBezTo>
                      <a:pt x="9" y="1"/>
                      <a:pt x="7" y="3"/>
                      <a:pt x="6" y="3"/>
                    </a:cubicBezTo>
                    <a:cubicBezTo>
                      <a:pt x="6" y="3"/>
                      <a:pt x="6" y="3"/>
                      <a:pt x="6" y="3"/>
                    </a:cubicBezTo>
                    <a:cubicBezTo>
                      <a:pt x="6" y="3"/>
                      <a:pt x="6" y="2"/>
                      <a:pt x="6" y="2"/>
                    </a:cubicBezTo>
                    <a:cubicBezTo>
                      <a:pt x="5" y="2"/>
                      <a:pt x="4" y="1"/>
                      <a:pt x="4" y="1"/>
                    </a:cubicBezTo>
                    <a:cubicBezTo>
                      <a:pt x="4" y="1"/>
                      <a:pt x="3" y="1"/>
                      <a:pt x="3" y="1"/>
                    </a:cubicBezTo>
                    <a:cubicBezTo>
                      <a:pt x="3" y="1"/>
                      <a:pt x="2" y="1"/>
                      <a:pt x="2" y="1"/>
                    </a:cubicBezTo>
                    <a:cubicBezTo>
                      <a:pt x="0" y="2"/>
                      <a:pt x="1" y="3"/>
                      <a:pt x="1" y="6"/>
                    </a:cubicBezTo>
                    <a:cubicBezTo>
                      <a:pt x="3" y="5"/>
                      <a:pt x="4" y="4"/>
                      <a:pt x="5" y="4"/>
                    </a:cubicBezTo>
                    <a:cubicBezTo>
                      <a:pt x="6" y="4"/>
                      <a:pt x="6" y="5"/>
                      <a:pt x="8" y="7"/>
                    </a:cubicBezTo>
                    <a:cubicBezTo>
                      <a:pt x="7" y="3"/>
                      <a:pt x="10"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 name="Freeform 58">
                <a:extLst>
                  <a:ext uri="{FF2B5EF4-FFF2-40B4-BE49-F238E27FC236}">
                    <a16:creationId xmlns:a16="http://schemas.microsoft.com/office/drawing/2014/main" id="{E54B5757-2AB5-4604-8A57-EEC540F2BB96}"/>
                  </a:ext>
                </a:extLst>
              </p:cNvPr>
              <p:cNvSpPr>
                <a:spLocks/>
              </p:cNvSpPr>
              <p:nvPr/>
            </p:nvSpPr>
            <p:spPr bwMode="auto">
              <a:xfrm>
                <a:off x="5055" y="587"/>
                <a:ext cx="12" cy="12"/>
              </a:xfrm>
              <a:custGeom>
                <a:avLst/>
                <a:gdLst>
                  <a:gd name="T0" fmla="*/ 5 w 5"/>
                  <a:gd name="T1" fmla="*/ 0 h 5"/>
                  <a:gd name="T2" fmla="*/ 3 w 5"/>
                  <a:gd name="T3" fmla="*/ 5 h 5"/>
                  <a:gd name="T4" fmla="*/ 5 w 5"/>
                  <a:gd name="T5" fmla="*/ 0 h 5"/>
                </a:gdLst>
                <a:ahLst/>
                <a:cxnLst>
                  <a:cxn ang="0">
                    <a:pos x="T0" y="T1"/>
                  </a:cxn>
                  <a:cxn ang="0">
                    <a:pos x="T2" y="T3"/>
                  </a:cxn>
                  <a:cxn ang="0">
                    <a:pos x="T4" y="T5"/>
                  </a:cxn>
                </a:cxnLst>
                <a:rect l="0" t="0" r="r" b="b"/>
                <a:pathLst>
                  <a:path w="5" h="5">
                    <a:moveTo>
                      <a:pt x="5" y="0"/>
                    </a:moveTo>
                    <a:cubicBezTo>
                      <a:pt x="2" y="1"/>
                      <a:pt x="0" y="2"/>
                      <a:pt x="3" y="5"/>
                    </a:cubicBezTo>
                    <a:cubicBezTo>
                      <a:pt x="5" y="3"/>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 name="Freeform 59">
                <a:extLst>
                  <a:ext uri="{FF2B5EF4-FFF2-40B4-BE49-F238E27FC236}">
                    <a16:creationId xmlns:a16="http://schemas.microsoft.com/office/drawing/2014/main" id="{1D11FAC6-5A88-488C-898E-622D7EB12754}"/>
                  </a:ext>
                </a:extLst>
              </p:cNvPr>
              <p:cNvSpPr>
                <a:spLocks/>
              </p:cNvSpPr>
              <p:nvPr/>
            </p:nvSpPr>
            <p:spPr bwMode="auto">
              <a:xfrm>
                <a:off x="5072" y="632"/>
                <a:ext cx="7" cy="10"/>
              </a:xfrm>
              <a:custGeom>
                <a:avLst/>
                <a:gdLst>
                  <a:gd name="T0" fmla="*/ 0 w 3"/>
                  <a:gd name="T1" fmla="*/ 0 h 4"/>
                  <a:gd name="T2" fmla="*/ 2 w 3"/>
                  <a:gd name="T3" fmla="*/ 4 h 4"/>
                  <a:gd name="T4" fmla="*/ 0 w 3"/>
                  <a:gd name="T5" fmla="*/ 0 h 4"/>
                </a:gdLst>
                <a:ahLst/>
                <a:cxnLst>
                  <a:cxn ang="0">
                    <a:pos x="T0" y="T1"/>
                  </a:cxn>
                  <a:cxn ang="0">
                    <a:pos x="T2" y="T3"/>
                  </a:cxn>
                  <a:cxn ang="0">
                    <a:pos x="T4" y="T5"/>
                  </a:cxn>
                </a:cxnLst>
                <a:rect l="0" t="0" r="r" b="b"/>
                <a:pathLst>
                  <a:path w="3" h="4">
                    <a:moveTo>
                      <a:pt x="0" y="0"/>
                    </a:moveTo>
                    <a:cubicBezTo>
                      <a:pt x="1" y="1"/>
                      <a:pt x="1" y="2"/>
                      <a:pt x="2" y="4"/>
                    </a:cubicBezTo>
                    <a:cubicBezTo>
                      <a:pt x="3"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 name="Freeform 60">
                <a:extLst>
                  <a:ext uri="{FF2B5EF4-FFF2-40B4-BE49-F238E27FC236}">
                    <a16:creationId xmlns:a16="http://schemas.microsoft.com/office/drawing/2014/main" id="{7D5ACC06-34A4-4F90-8AB5-4F990AAC71A5}"/>
                  </a:ext>
                </a:extLst>
              </p:cNvPr>
              <p:cNvSpPr>
                <a:spLocks/>
              </p:cNvSpPr>
              <p:nvPr/>
            </p:nvSpPr>
            <p:spPr bwMode="auto">
              <a:xfrm>
                <a:off x="5107" y="554"/>
                <a:ext cx="19" cy="12"/>
              </a:xfrm>
              <a:custGeom>
                <a:avLst/>
                <a:gdLst>
                  <a:gd name="T0" fmla="*/ 8 w 8"/>
                  <a:gd name="T1" fmla="*/ 0 h 5"/>
                  <a:gd name="T2" fmla="*/ 0 w 8"/>
                  <a:gd name="T3" fmla="*/ 5 h 5"/>
                  <a:gd name="T4" fmla="*/ 8 w 8"/>
                  <a:gd name="T5" fmla="*/ 0 h 5"/>
                </a:gdLst>
                <a:ahLst/>
                <a:cxnLst>
                  <a:cxn ang="0">
                    <a:pos x="T0" y="T1"/>
                  </a:cxn>
                  <a:cxn ang="0">
                    <a:pos x="T2" y="T3"/>
                  </a:cxn>
                  <a:cxn ang="0">
                    <a:pos x="T4" y="T5"/>
                  </a:cxn>
                </a:cxnLst>
                <a:rect l="0" t="0" r="r" b="b"/>
                <a:pathLst>
                  <a:path w="8" h="5">
                    <a:moveTo>
                      <a:pt x="8" y="0"/>
                    </a:moveTo>
                    <a:cubicBezTo>
                      <a:pt x="5" y="1"/>
                      <a:pt x="3" y="3"/>
                      <a:pt x="0" y="5"/>
                    </a:cubicBezTo>
                    <a:cubicBezTo>
                      <a:pt x="3" y="4"/>
                      <a:pt x="7"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 name="Freeform 61">
                <a:extLst>
                  <a:ext uri="{FF2B5EF4-FFF2-40B4-BE49-F238E27FC236}">
                    <a16:creationId xmlns:a16="http://schemas.microsoft.com/office/drawing/2014/main" id="{79ACDCD4-A40A-4DA4-941D-65C451BFA2CF}"/>
                  </a:ext>
                </a:extLst>
              </p:cNvPr>
              <p:cNvSpPr>
                <a:spLocks/>
              </p:cNvSpPr>
              <p:nvPr/>
            </p:nvSpPr>
            <p:spPr bwMode="auto">
              <a:xfrm>
                <a:off x="5046" y="566"/>
                <a:ext cx="2" cy="10"/>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1" y="0"/>
                      <a:pt x="0" y="1"/>
                      <a:pt x="0" y="4"/>
                    </a:cubicBezTo>
                    <a:cubicBezTo>
                      <a:pt x="1" y="2"/>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 name="Freeform 62">
                <a:extLst>
                  <a:ext uri="{FF2B5EF4-FFF2-40B4-BE49-F238E27FC236}">
                    <a16:creationId xmlns:a16="http://schemas.microsoft.com/office/drawing/2014/main" id="{E1A2EEC9-945A-4931-8977-AF0344FC5997}"/>
                  </a:ext>
                </a:extLst>
              </p:cNvPr>
              <p:cNvSpPr>
                <a:spLocks/>
              </p:cNvSpPr>
              <p:nvPr/>
            </p:nvSpPr>
            <p:spPr bwMode="auto">
              <a:xfrm>
                <a:off x="4972" y="455"/>
                <a:ext cx="8" cy="10"/>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1"/>
                      <a:pt x="2" y="3"/>
                      <a:pt x="3"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 name="Freeform 63">
                <a:extLst>
                  <a:ext uri="{FF2B5EF4-FFF2-40B4-BE49-F238E27FC236}">
                    <a16:creationId xmlns:a16="http://schemas.microsoft.com/office/drawing/2014/main" id="{DB6343B1-1BF2-4FA0-B50F-4330BEE1D9EA}"/>
                  </a:ext>
                </a:extLst>
              </p:cNvPr>
              <p:cNvSpPr>
                <a:spLocks/>
              </p:cNvSpPr>
              <p:nvPr/>
            </p:nvSpPr>
            <p:spPr bwMode="auto">
              <a:xfrm>
                <a:off x="5100" y="443"/>
                <a:ext cx="43" cy="29"/>
              </a:xfrm>
              <a:custGeom>
                <a:avLst/>
                <a:gdLst>
                  <a:gd name="T0" fmla="*/ 10 w 18"/>
                  <a:gd name="T1" fmla="*/ 0 h 12"/>
                  <a:gd name="T2" fmla="*/ 4 w 18"/>
                  <a:gd name="T3" fmla="*/ 3 h 12"/>
                  <a:gd name="T4" fmla="*/ 2 w 18"/>
                  <a:gd name="T5" fmla="*/ 3 h 12"/>
                  <a:gd name="T6" fmla="*/ 2 w 18"/>
                  <a:gd name="T7" fmla="*/ 3 h 12"/>
                  <a:gd name="T8" fmla="*/ 2 w 18"/>
                  <a:gd name="T9" fmla="*/ 3 h 12"/>
                  <a:gd name="T10" fmla="*/ 0 w 18"/>
                  <a:gd name="T11" fmla="*/ 4 h 12"/>
                  <a:gd name="T12" fmla="*/ 7 w 18"/>
                  <a:gd name="T13" fmla="*/ 5 h 12"/>
                  <a:gd name="T14" fmla="*/ 9 w 18"/>
                  <a:gd name="T15" fmla="*/ 5 h 12"/>
                  <a:gd name="T16" fmla="*/ 5 w 18"/>
                  <a:gd name="T17" fmla="*/ 9 h 12"/>
                  <a:gd name="T18" fmla="*/ 13 w 18"/>
                  <a:gd name="T19" fmla="*/ 12 h 12"/>
                  <a:gd name="T20" fmla="*/ 14 w 18"/>
                  <a:gd name="T21" fmla="*/ 12 h 12"/>
                  <a:gd name="T22" fmla="*/ 14 w 18"/>
                  <a:gd name="T23" fmla="*/ 8 h 12"/>
                  <a:gd name="T24" fmla="*/ 14 w 18"/>
                  <a:gd name="T25" fmla="*/ 8 h 12"/>
                  <a:gd name="T26" fmla="*/ 16 w 18"/>
                  <a:gd name="T27" fmla="*/ 9 h 12"/>
                  <a:gd name="T28" fmla="*/ 17 w 18"/>
                  <a:gd name="T29" fmla="*/ 11 h 12"/>
                  <a:gd name="T30" fmla="*/ 18 w 18"/>
                  <a:gd name="T31" fmla="*/ 10 h 12"/>
                  <a:gd name="T32" fmla="*/ 13 w 18"/>
                  <a:gd name="T33" fmla="*/ 4 h 12"/>
                  <a:gd name="T34" fmla="*/ 11 w 18"/>
                  <a:gd name="T35" fmla="*/ 1 h 12"/>
                  <a:gd name="T36" fmla="*/ 10 w 18"/>
                  <a:gd name="T3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2">
                    <a:moveTo>
                      <a:pt x="10" y="0"/>
                    </a:moveTo>
                    <a:cubicBezTo>
                      <a:pt x="8" y="0"/>
                      <a:pt x="6" y="2"/>
                      <a:pt x="4" y="3"/>
                    </a:cubicBezTo>
                    <a:cubicBezTo>
                      <a:pt x="4" y="3"/>
                      <a:pt x="3" y="3"/>
                      <a:pt x="2" y="3"/>
                    </a:cubicBezTo>
                    <a:cubicBezTo>
                      <a:pt x="2" y="3"/>
                      <a:pt x="2" y="3"/>
                      <a:pt x="2" y="3"/>
                    </a:cubicBezTo>
                    <a:cubicBezTo>
                      <a:pt x="2" y="3"/>
                      <a:pt x="2" y="3"/>
                      <a:pt x="2" y="3"/>
                    </a:cubicBezTo>
                    <a:cubicBezTo>
                      <a:pt x="1" y="3"/>
                      <a:pt x="0" y="3"/>
                      <a:pt x="0" y="4"/>
                    </a:cubicBezTo>
                    <a:cubicBezTo>
                      <a:pt x="2" y="5"/>
                      <a:pt x="5" y="5"/>
                      <a:pt x="7" y="5"/>
                    </a:cubicBezTo>
                    <a:cubicBezTo>
                      <a:pt x="8" y="5"/>
                      <a:pt x="8" y="5"/>
                      <a:pt x="9" y="5"/>
                    </a:cubicBezTo>
                    <a:cubicBezTo>
                      <a:pt x="8" y="7"/>
                      <a:pt x="7" y="8"/>
                      <a:pt x="5" y="9"/>
                    </a:cubicBezTo>
                    <a:cubicBezTo>
                      <a:pt x="8" y="10"/>
                      <a:pt x="10" y="11"/>
                      <a:pt x="13" y="12"/>
                    </a:cubicBezTo>
                    <a:cubicBezTo>
                      <a:pt x="13" y="12"/>
                      <a:pt x="14" y="12"/>
                      <a:pt x="14" y="12"/>
                    </a:cubicBezTo>
                    <a:cubicBezTo>
                      <a:pt x="18" y="12"/>
                      <a:pt x="12" y="9"/>
                      <a:pt x="14" y="8"/>
                    </a:cubicBezTo>
                    <a:cubicBezTo>
                      <a:pt x="14" y="8"/>
                      <a:pt x="14" y="8"/>
                      <a:pt x="14" y="8"/>
                    </a:cubicBezTo>
                    <a:cubicBezTo>
                      <a:pt x="14" y="8"/>
                      <a:pt x="15" y="8"/>
                      <a:pt x="16" y="9"/>
                    </a:cubicBezTo>
                    <a:cubicBezTo>
                      <a:pt x="16" y="10"/>
                      <a:pt x="17" y="11"/>
                      <a:pt x="17" y="11"/>
                    </a:cubicBezTo>
                    <a:cubicBezTo>
                      <a:pt x="17" y="11"/>
                      <a:pt x="17" y="11"/>
                      <a:pt x="18" y="10"/>
                    </a:cubicBezTo>
                    <a:cubicBezTo>
                      <a:pt x="18" y="8"/>
                      <a:pt x="13" y="5"/>
                      <a:pt x="13" y="4"/>
                    </a:cubicBezTo>
                    <a:cubicBezTo>
                      <a:pt x="12" y="3"/>
                      <a:pt x="13" y="1"/>
                      <a:pt x="11"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 name="Freeform 64">
                <a:extLst>
                  <a:ext uri="{FF2B5EF4-FFF2-40B4-BE49-F238E27FC236}">
                    <a16:creationId xmlns:a16="http://schemas.microsoft.com/office/drawing/2014/main" id="{4BCE2A71-1BBB-4EF3-823E-6F4FCA6CD8D0}"/>
                  </a:ext>
                </a:extLst>
              </p:cNvPr>
              <p:cNvSpPr>
                <a:spLocks/>
              </p:cNvSpPr>
              <p:nvPr/>
            </p:nvSpPr>
            <p:spPr bwMode="auto">
              <a:xfrm>
                <a:off x="5076" y="372"/>
                <a:ext cx="15" cy="5"/>
              </a:xfrm>
              <a:custGeom>
                <a:avLst/>
                <a:gdLst>
                  <a:gd name="T0" fmla="*/ 0 w 6"/>
                  <a:gd name="T1" fmla="*/ 0 h 2"/>
                  <a:gd name="T2" fmla="*/ 4 w 6"/>
                  <a:gd name="T3" fmla="*/ 2 h 2"/>
                  <a:gd name="T4" fmla="*/ 6 w 6"/>
                  <a:gd name="T5" fmla="*/ 1 h 2"/>
                  <a:gd name="T6" fmla="*/ 0 w 6"/>
                  <a:gd name="T7" fmla="*/ 0 h 2"/>
                </a:gdLst>
                <a:ahLst/>
                <a:cxnLst>
                  <a:cxn ang="0">
                    <a:pos x="T0" y="T1"/>
                  </a:cxn>
                  <a:cxn ang="0">
                    <a:pos x="T2" y="T3"/>
                  </a:cxn>
                  <a:cxn ang="0">
                    <a:pos x="T4" y="T5"/>
                  </a:cxn>
                  <a:cxn ang="0">
                    <a:pos x="T6" y="T7"/>
                  </a:cxn>
                </a:cxnLst>
                <a:rect l="0" t="0" r="r" b="b"/>
                <a:pathLst>
                  <a:path w="6" h="2">
                    <a:moveTo>
                      <a:pt x="0" y="0"/>
                    </a:moveTo>
                    <a:cubicBezTo>
                      <a:pt x="2" y="1"/>
                      <a:pt x="3" y="2"/>
                      <a:pt x="4" y="2"/>
                    </a:cubicBezTo>
                    <a:cubicBezTo>
                      <a:pt x="4" y="2"/>
                      <a:pt x="5" y="2"/>
                      <a:pt x="6"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 name="Freeform 65">
                <a:extLst>
                  <a:ext uri="{FF2B5EF4-FFF2-40B4-BE49-F238E27FC236}">
                    <a16:creationId xmlns:a16="http://schemas.microsoft.com/office/drawing/2014/main" id="{9F3A35A6-15C3-469E-88C6-EEF3B8D70658}"/>
                  </a:ext>
                </a:extLst>
              </p:cNvPr>
              <p:cNvSpPr>
                <a:spLocks/>
              </p:cNvSpPr>
              <p:nvPr/>
            </p:nvSpPr>
            <p:spPr bwMode="auto">
              <a:xfrm>
                <a:off x="5032" y="595"/>
                <a:ext cx="4" cy="9"/>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1"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 name="Freeform 66">
                <a:extLst>
                  <a:ext uri="{FF2B5EF4-FFF2-40B4-BE49-F238E27FC236}">
                    <a16:creationId xmlns:a16="http://schemas.microsoft.com/office/drawing/2014/main" id="{DBF54797-6221-4463-91AF-FD483584F28C}"/>
                  </a:ext>
                </a:extLst>
              </p:cNvPr>
              <p:cNvSpPr>
                <a:spLocks noEditPoints="1"/>
              </p:cNvSpPr>
              <p:nvPr/>
            </p:nvSpPr>
            <p:spPr bwMode="auto">
              <a:xfrm>
                <a:off x="4970" y="682"/>
                <a:ext cx="156" cy="47"/>
              </a:xfrm>
              <a:custGeom>
                <a:avLst/>
                <a:gdLst>
                  <a:gd name="T0" fmla="*/ 66 w 66"/>
                  <a:gd name="T1" fmla="*/ 10 h 20"/>
                  <a:gd name="T2" fmla="*/ 65 w 66"/>
                  <a:gd name="T3" fmla="*/ 10 h 20"/>
                  <a:gd name="T4" fmla="*/ 66 w 66"/>
                  <a:gd name="T5" fmla="*/ 10 h 20"/>
                  <a:gd name="T6" fmla="*/ 5 w 66"/>
                  <a:gd name="T7" fmla="*/ 0 h 20"/>
                  <a:gd name="T8" fmla="*/ 0 w 66"/>
                  <a:gd name="T9" fmla="*/ 10 h 20"/>
                  <a:gd name="T10" fmla="*/ 21 w 66"/>
                  <a:gd name="T11" fmla="*/ 14 h 20"/>
                  <a:gd name="T12" fmla="*/ 28 w 66"/>
                  <a:gd name="T13" fmla="*/ 20 h 20"/>
                  <a:gd name="T14" fmla="*/ 49 w 66"/>
                  <a:gd name="T15" fmla="*/ 18 h 20"/>
                  <a:gd name="T16" fmla="*/ 63 w 66"/>
                  <a:gd name="T17" fmla="*/ 17 h 20"/>
                  <a:gd name="T18" fmla="*/ 65 w 66"/>
                  <a:gd name="T19" fmla="*/ 14 h 20"/>
                  <a:gd name="T20" fmla="*/ 65 w 66"/>
                  <a:gd name="T21" fmla="*/ 13 h 20"/>
                  <a:gd name="T22" fmla="*/ 64 w 66"/>
                  <a:gd name="T23" fmla="*/ 12 h 20"/>
                  <a:gd name="T24" fmla="*/ 65 w 66"/>
                  <a:gd name="T25" fmla="*/ 10 h 20"/>
                  <a:gd name="T26" fmla="*/ 57 w 66"/>
                  <a:gd name="T27" fmla="*/ 13 h 20"/>
                  <a:gd name="T28" fmla="*/ 54 w 66"/>
                  <a:gd name="T29" fmla="*/ 15 h 20"/>
                  <a:gd name="T30" fmla="*/ 53 w 66"/>
                  <a:gd name="T31" fmla="*/ 9 h 20"/>
                  <a:gd name="T32" fmla="*/ 52 w 66"/>
                  <a:gd name="T33" fmla="*/ 9 h 20"/>
                  <a:gd name="T34" fmla="*/ 50 w 66"/>
                  <a:gd name="T35" fmla="*/ 10 h 20"/>
                  <a:gd name="T36" fmla="*/ 47 w 66"/>
                  <a:gd name="T37" fmla="*/ 10 h 20"/>
                  <a:gd name="T38" fmla="*/ 46 w 66"/>
                  <a:gd name="T39" fmla="*/ 10 h 20"/>
                  <a:gd name="T40" fmla="*/ 34 w 66"/>
                  <a:gd name="T41" fmla="*/ 8 h 20"/>
                  <a:gd name="T42" fmla="*/ 33 w 66"/>
                  <a:gd name="T43" fmla="*/ 7 h 20"/>
                  <a:gd name="T44" fmla="*/ 28 w 66"/>
                  <a:gd name="T45" fmla="*/ 8 h 20"/>
                  <a:gd name="T46" fmla="*/ 22 w 66"/>
                  <a:gd name="T47" fmla="*/ 9 h 20"/>
                  <a:gd name="T48" fmla="*/ 18 w 66"/>
                  <a:gd name="T49" fmla="*/ 7 h 20"/>
                  <a:gd name="T50" fmla="*/ 14 w 66"/>
                  <a:gd name="T51" fmla="*/ 4 h 20"/>
                  <a:gd name="T52" fmla="*/ 15 w 66"/>
                  <a:gd name="T53" fmla="*/ 3 h 20"/>
                  <a:gd name="T54" fmla="*/ 13 w 66"/>
                  <a:gd name="T55" fmla="*/ 2 h 20"/>
                  <a:gd name="T56" fmla="*/ 7 w 66"/>
                  <a:gd name="T57" fmla="*/ 3 h 20"/>
                  <a:gd name="T58" fmla="*/ 7 w 66"/>
                  <a:gd name="T59" fmla="*/ 3 h 20"/>
                  <a:gd name="T60" fmla="*/ 5 w 66"/>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0">
                    <a:moveTo>
                      <a:pt x="66" y="10"/>
                    </a:moveTo>
                    <a:cubicBezTo>
                      <a:pt x="66" y="10"/>
                      <a:pt x="65" y="10"/>
                      <a:pt x="65" y="10"/>
                    </a:cubicBezTo>
                    <a:cubicBezTo>
                      <a:pt x="65" y="10"/>
                      <a:pt x="66" y="10"/>
                      <a:pt x="66" y="10"/>
                    </a:cubicBezTo>
                    <a:moveTo>
                      <a:pt x="5" y="0"/>
                    </a:moveTo>
                    <a:cubicBezTo>
                      <a:pt x="3" y="3"/>
                      <a:pt x="1" y="7"/>
                      <a:pt x="0" y="10"/>
                    </a:cubicBezTo>
                    <a:cubicBezTo>
                      <a:pt x="7" y="11"/>
                      <a:pt x="14" y="12"/>
                      <a:pt x="21" y="14"/>
                    </a:cubicBezTo>
                    <a:cubicBezTo>
                      <a:pt x="24" y="15"/>
                      <a:pt x="31" y="16"/>
                      <a:pt x="28" y="20"/>
                    </a:cubicBezTo>
                    <a:cubicBezTo>
                      <a:pt x="35" y="20"/>
                      <a:pt x="42" y="18"/>
                      <a:pt x="49" y="18"/>
                    </a:cubicBezTo>
                    <a:cubicBezTo>
                      <a:pt x="53" y="18"/>
                      <a:pt x="58" y="17"/>
                      <a:pt x="63" y="17"/>
                    </a:cubicBezTo>
                    <a:cubicBezTo>
                      <a:pt x="64" y="17"/>
                      <a:pt x="64" y="15"/>
                      <a:pt x="65" y="14"/>
                    </a:cubicBezTo>
                    <a:cubicBezTo>
                      <a:pt x="65" y="13"/>
                      <a:pt x="65" y="14"/>
                      <a:pt x="65" y="13"/>
                    </a:cubicBezTo>
                    <a:cubicBezTo>
                      <a:pt x="65" y="13"/>
                      <a:pt x="64" y="12"/>
                      <a:pt x="64" y="12"/>
                    </a:cubicBezTo>
                    <a:cubicBezTo>
                      <a:pt x="65" y="11"/>
                      <a:pt x="65" y="10"/>
                      <a:pt x="65" y="10"/>
                    </a:cubicBezTo>
                    <a:cubicBezTo>
                      <a:pt x="62" y="13"/>
                      <a:pt x="62" y="12"/>
                      <a:pt x="57" y="13"/>
                    </a:cubicBezTo>
                    <a:cubicBezTo>
                      <a:pt x="55" y="14"/>
                      <a:pt x="55" y="14"/>
                      <a:pt x="54" y="15"/>
                    </a:cubicBezTo>
                    <a:cubicBezTo>
                      <a:pt x="53" y="14"/>
                      <a:pt x="51" y="11"/>
                      <a:pt x="53" y="9"/>
                    </a:cubicBezTo>
                    <a:cubicBezTo>
                      <a:pt x="52" y="9"/>
                      <a:pt x="52" y="9"/>
                      <a:pt x="52" y="9"/>
                    </a:cubicBezTo>
                    <a:cubicBezTo>
                      <a:pt x="52" y="9"/>
                      <a:pt x="51" y="10"/>
                      <a:pt x="50" y="10"/>
                    </a:cubicBezTo>
                    <a:cubicBezTo>
                      <a:pt x="49" y="10"/>
                      <a:pt x="48" y="10"/>
                      <a:pt x="47" y="10"/>
                    </a:cubicBezTo>
                    <a:cubicBezTo>
                      <a:pt x="47" y="10"/>
                      <a:pt x="46" y="10"/>
                      <a:pt x="46" y="10"/>
                    </a:cubicBezTo>
                    <a:cubicBezTo>
                      <a:pt x="42" y="9"/>
                      <a:pt x="38" y="8"/>
                      <a:pt x="34" y="8"/>
                    </a:cubicBezTo>
                    <a:cubicBezTo>
                      <a:pt x="34" y="7"/>
                      <a:pt x="33" y="7"/>
                      <a:pt x="33" y="7"/>
                    </a:cubicBezTo>
                    <a:cubicBezTo>
                      <a:pt x="31" y="7"/>
                      <a:pt x="29" y="8"/>
                      <a:pt x="28" y="8"/>
                    </a:cubicBezTo>
                    <a:cubicBezTo>
                      <a:pt x="26" y="8"/>
                      <a:pt x="24" y="9"/>
                      <a:pt x="22" y="9"/>
                    </a:cubicBezTo>
                    <a:cubicBezTo>
                      <a:pt x="20" y="9"/>
                      <a:pt x="19" y="8"/>
                      <a:pt x="18" y="7"/>
                    </a:cubicBezTo>
                    <a:cubicBezTo>
                      <a:pt x="17" y="6"/>
                      <a:pt x="10" y="5"/>
                      <a:pt x="14" y="4"/>
                    </a:cubicBezTo>
                    <a:cubicBezTo>
                      <a:pt x="15" y="4"/>
                      <a:pt x="16" y="4"/>
                      <a:pt x="15" y="3"/>
                    </a:cubicBezTo>
                    <a:cubicBezTo>
                      <a:pt x="15" y="2"/>
                      <a:pt x="14" y="2"/>
                      <a:pt x="13" y="2"/>
                    </a:cubicBezTo>
                    <a:cubicBezTo>
                      <a:pt x="11" y="2"/>
                      <a:pt x="8" y="3"/>
                      <a:pt x="7" y="3"/>
                    </a:cubicBezTo>
                    <a:cubicBezTo>
                      <a:pt x="7" y="3"/>
                      <a:pt x="7" y="3"/>
                      <a:pt x="7" y="3"/>
                    </a:cubicBezTo>
                    <a:cubicBezTo>
                      <a:pt x="5" y="3"/>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 name="Freeform 67">
                <a:extLst>
                  <a:ext uri="{FF2B5EF4-FFF2-40B4-BE49-F238E27FC236}">
                    <a16:creationId xmlns:a16="http://schemas.microsoft.com/office/drawing/2014/main" id="{46021C10-5AE3-4ECA-B8B8-160BDDC5B52D}"/>
                  </a:ext>
                </a:extLst>
              </p:cNvPr>
              <p:cNvSpPr>
                <a:spLocks/>
              </p:cNvSpPr>
              <p:nvPr/>
            </p:nvSpPr>
            <p:spPr bwMode="auto">
              <a:xfrm>
                <a:off x="5202" y="635"/>
                <a:ext cx="30" cy="30"/>
              </a:xfrm>
              <a:custGeom>
                <a:avLst/>
                <a:gdLst>
                  <a:gd name="T0" fmla="*/ 11 w 13"/>
                  <a:gd name="T1" fmla="*/ 0 h 13"/>
                  <a:gd name="T2" fmla="*/ 6 w 13"/>
                  <a:gd name="T3" fmla="*/ 2 h 13"/>
                  <a:gd name="T4" fmla="*/ 1 w 13"/>
                  <a:gd name="T5" fmla="*/ 7 h 13"/>
                  <a:gd name="T6" fmla="*/ 1 w 13"/>
                  <a:gd name="T7" fmla="*/ 12 h 13"/>
                  <a:gd name="T8" fmla="*/ 1 w 13"/>
                  <a:gd name="T9" fmla="*/ 13 h 13"/>
                  <a:gd name="T10" fmla="*/ 1 w 13"/>
                  <a:gd name="T11" fmla="*/ 13 h 13"/>
                  <a:gd name="T12" fmla="*/ 5 w 13"/>
                  <a:gd name="T13" fmla="*/ 11 h 13"/>
                  <a:gd name="T14" fmla="*/ 8 w 13"/>
                  <a:gd name="T15" fmla="*/ 10 h 13"/>
                  <a:gd name="T16" fmla="*/ 9 w 13"/>
                  <a:gd name="T17" fmla="*/ 10 h 13"/>
                  <a:gd name="T18" fmla="*/ 11 w 13"/>
                  <a:gd name="T19" fmla="*/ 4 h 13"/>
                  <a:gd name="T20" fmla="*/ 12 w 13"/>
                  <a:gd name="T21" fmla="*/ 0 h 13"/>
                  <a:gd name="T22" fmla="*/ 11 w 13"/>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3">
                    <a:moveTo>
                      <a:pt x="11" y="0"/>
                    </a:moveTo>
                    <a:cubicBezTo>
                      <a:pt x="10" y="0"/>
                      <a:pt x="7" y="1"/>
                      <a:pt x="6" y="2"/>
                    </a:cubicBezTo>
                    <a:cubicBezTo>
                      <a:pt x="4" y="3"/>
                      <a:pt x="2" y="4"/>
                      <a:pt x="1" y="7"/>
                    </a:cubicBezTo>
                    <a:cubicBezTo>
                      <a:pt x="0" y="8"/>
                      <a:pt x="0" y="10"/>
                      <a:pt x="1" y="12"/>
                    </a:cubicBezTo>
                    <a:cubicBezTo>
                      <a:pt x="1" y="12"/>
                      <a:pt x="0" y="13"/>
                      <a:pt x="1" y="13"/>
                    </a:cubicBezTo>
                    <a:cubicBezTo>
                      <a:pt x="1" y="13"/>
                      <a:pt x="1" y="13"/>
                      <a:pt x="1" y="13"/>
                    </a:cubicBezTo>
                    <a:cubicBezTo>
                      <a:pt x="2" y="13"/>
                      <a:pt x="4" y="12"/>
                      <a:pt x="5" y="11"/>
                    </a:cubicBezTo>
                    <a:cubicBezTo>
                      <a:pt x="6" y="10"/>
                      <a:pt x="7" y="10"/>
                      <a:pt x="8" y="10"/>
                    </a:cubicBezTo>
                    <a:cubicBezTo>
                      <a:pt x="8" y="10"/>
                      <a:pt x="9" y="10"/>
                      <a:pt x="9" y="10"/>
                    </a:cubicBezTo>
                    <a:cubicBezTo>
                      <a:pt x="9" y="7"/>
                      <a:pt x="10" y="7"/>
                      <a:pt x="11" y="4"/>
                    </a:cubicBezTo>
                    <a:cubicBezTo>
                      <a:pt x="12" y="3"/>
                      <a:pt x="13" y="1"/>
                      <a:pt x="12" y="0"/>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 name="Freeform 68">
                <a:extLst>
                  <a:ext uri="{FF2B5EF4-FFF2-40B4-BE49-F238E27FC236}">
                    <a16:creationId xmlns:a16="http://schemas.microsoft.com/office/drawing/2014/main" id="{DD91EA9C-D039-4147-A774-A0963B8C3D4F}"/>
                  </a:ext>
                </a:extLst>
              </p:cNvPr>
              <p:cNvSpPr>
                <a:spLocks/>
              </p:cNvSpPr>
              <p:nvPr/>
            </p:nvSpPr>
            <p:spPr bwMode="auto">
              <a:xfrm>
                <a:off x="5034" y="533"/>
                <a:ext cx="16" cy="21"/>
              </a:xfrm>
              <a:custGeom>
                <a:avLst/>
                <a:gdLst>
                  <a:gd name="T0" fmla="*/ 2 w 7"/>
                  <a:gd name="T1" fmla="*/ 0 h 9"/>
                  <a:gd name="T2" fmla="*/ 0 w 7"/>
                  <a:gd name="T3" fmla="*/ 1 h 9"/>
                  <a:gd name="T4" fmla="*/ 7 w 7"/>
                  <a:gd name="T5" fmla="*/ 9 h 9"/>
                  <a:gd name="T6" fmla="*/ 6 w 7"/>
                  <a:gd name="T7" fmla="*/ 4 h 9"/>
                  <a:gd name="T8" fmla="*/ 4 w 7"/>
                  <a:gd name="T9" fmla="*/ 3 h 9"/>
                  <a:gd name="T10" fmla="*/ 2 w 7"/>
                  <a:gd name="T11" fmla="*/ 0 h 9"/>
                </a:gdLst>
                <a:ahLst/>
                <a:cxnLst>
                  <a:cxn ang="0">
                    <a:pos x="T0" y="T1"/>
                  </a:cxn>
                  <a:cxn ang="0">
                    <a:pos x="T2" y="T3"/>
                  </a:cxn>
                  <a:cxn ang="0">
                    <a:pos x="T4" y="T5"/>
                  </a:cxn>
                  <a:cxn ang="0">
                    <a:pos x="T6" y="T7"/>
                  </a:cxn>
                  <a:cxn ang="0">
                    <a:pos x="T8" y="T9"/>
                  </a:cxn>
                  <a:cxn ang="0">
                    <a:pos x="T10" y="T11"/>
                  </a:cxn>
                </a:cxnLst>
                <a:rect l="0" t="0" r="r" b="b"/>
                <a:pathLst>
                  <a:path w="7" h="9">
                    <a:moveTo>
                      <a:pt x="2" y="0"/>
                    </a:moveTo>
                    <a:cubicBezTo>
                      <a:pt x="2" y="0"/>
                      <a:pt x="1" y="1"/>
                      <a:pt x="0" y="1"/>
                    </a:cubicBezTo>
                    <a:cubicBezTo>
                      <a:pt x="2" y="4"/>
                      <a:pt x="4" y="6"/>
                      <a:pt x="7" y="9"/>
                    </a:cubicBezTo>
                    <a:cubicBezTo>
                      <a:pt x="7" y="7"/>
                      <a:pt x="7" y="5"/>
                      <a:pt x="6" y="4"/>
                    </a:cubicBezTo>
                    <a:cubicBezTo>
                      <a:pt x="6" y="3"/>
                      <a:pt x="6" y="4"/>
                      <a:pt x="4" y="3"/>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 name="Freeform 69">
                <a:extLst>
                  <a:ext uri="{FF2B5EF4-FFF2-40B4-BE49-F238E27FC236}">
                    <a16:creationId xmlns:a16="http://schemas.microsoft.com/office/drawing/2014/main" id="{B86A98C7-718E-4EF2-8343-D81165B2D480}"/>
                  </a:ext>
                </a:extLst>
              </p:cNvPr>
              <p:cNvSpPr>
                <a:spLocks/>
              </p:cNvSpPr>
              <p:nvPr/>
            </p:nvSpPr>
            <p:spPr bwMode="auto">
              <a:xfrm>
                <a:off x="4932" y="467"/>
                <a:ext cx="100" cy="71"/>
              </a:xfrm>
              <a:custGeom>
                <a:avLst/>
                <a:gdLst>
                  <a:gd name="T0" fmla="*/ 10 w 42"/>
                  <a:gd name="T1" fmla="*/ 0 h 30"/>
                  <a:gd name="T2" fmla="*/ 0 w 42"/>
                  <a:gd name="T3" fmla="*/ 5 h 30"/>
                  <a:gd name="T4" fmla="*/ 4 w 42"/>
                  <a:gd name="T5" fmla="*/ 4 h 30"/>
                  <a:gd name="T6" fmla="*/ 7 w 42"/>
                  <a:gd name="T7" fmla="*/ 5 h 30"/>
                  <a:gd name="T8" fmla="*/ 19 w 42"/>
                  <a:gd name="T9" fmla="*/ 16 h 30"/>
                  <a:gd name="T10" fmla="*/ 22 w 42"/>
                  <a:gd name="T11" fmla="*/ 17 h 30"/>
                  <a:gd name="T12" fmla="*/ 24 w 42"/>
                  <a:gd name="T13" fmla="*/ 17 h 30"/>
                  <a:gd name="T14" fmla="*/ 25 w 42"/>
                  <a:gd name="T15" fmla="*/ 17 h 30"/>
                  <a:gd name="T16" fmla="*/ 27 w 42"/>
                  <a:gd name="T17" fmla="*/ 17 h 30"/>
                  <a:gd name="T18" fmla="*/ 31 w 42"/>
                  <a:gd name="T19" fmla="*/ 23 h 30"/>
                  <a:gd name="T20" fmla="*/ 39 w 42"/>
                  <a:gd name="T21" fmla="*/ 30 h 30"/>
                  <a:gd name="T22" fmla="*/ 41 w 42"/>
                  <a:gd name="T23" fmla="*/ 24 h 30"/>
                  <a:gd name="T24" fmla="*/ 38 w 42"/>
                  <a:gd name="T25" fmla="*/ 24 h 30"/>
                  <a:gd name="T26" fmla="*/ 33 w 42"/>
                  <a:gd name="T27" fmla="*/ 20 h 30"/>
                  <a:gd name="T28" fmla="*/ 32 w 42"/>
                  <a:gd name="T29" fmla="*/ 17 h 30"/>
                  <a:gd name="T30" fmla="*/ 32 w 42"/>
                  <a:gd name="T31" fmla="*/ 13 h 30"/>
                  <a:gd name="T32" fmla="*/ 30 w 42"/>
                  <a:gd name="T33" fmla="*/ 12 h 30"/>
                  <a:gd name="T34" fmla="*/ 29 w 42"/>
                  <a:gd name="T35" fmla="*/ 10 h 30"/>
                  <a:gd name="T36" fmla="*/ 28 w 42"/>
                  <a:gd name="T37" fmla="*/ 10 h 30"/>
                  <a:gd name="T38" fmla="*/ 26 w 42"/>
                  <a:gd name="T39" fmla="*/ 10 h 30"/>
                  <a:gd name="T40" fmla="*/ 25 w 42"/>
                  <a:gd name="T41" fmla="*/ 10 h 30"/>
                  <a:gd name="T42" fmla="*/ 24 w 42"/>
                  <a:gd name="T43" fmla="*/ 10 h 30"/>
                  <a:gd name="T44" fmla="*/ 20 w 42"/>
                  <a:gd name="T45" fmla="*/ 7 h 30"/>
                  <a:gd name="T46" fmla="*/ 16 w 42"/>
                  <a:gd name="T47" fmla="*/ 6 h 30"/>
                  <a:gd name="T48" fmla="*/ 10 w 42"/>
                  <a:gd name="T49" fmla="*/ 0 h 30"/>
                  <a:gd name="T50" fmla="*/ 10 w 42"/>
                  <a:gd name="T5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30">
                    <a:moveTo>
                      <a:pt x="10" y="0"/>
                    </a:moveTo>
                    <a:cubicBezTo>
                      <a:pt x="6" y="0"/>
                      <a:pt x="3" y="3"/>
                      <a:pt x="0" y="5"/>
                    </a:cubicBezTo>
                    <a:cubicBezTo>
                      <a:pt x="1" y="5"/>
                      <a:pt x="3" y="4"/>
                      <a:pt x="4" y="4"/>
                    </a:cubicBezTo>
                    <a:cubicBezTo>
                      <a:pt x="5" y="4"/>
                      <a:pt x="6" y="5"/>
                      <a:pt x="7" y="5"/>
                    </a:cubicBezTo>
                    <a:cubicBezTo>
                      <a:pt x="12" y="7"/>
                      <a:pt x="14" y="14"/>
                      <a:pt x="19" y="16"/>
                    </a:cubicBezTo>
                    <a:cubicBezTo>
                      <a:pt x="20" y="17"/>
                      <a:pt x="21" y="17"/>
                      <a:pt x="22" y="17"/>
                    </a:cubicBezTo>
                    <a:cubicBezTo>
                      <a:pt x="23" y="17"/>
                      <a:pt x="23" y="17"/>
                      <a:pt x="24" y="17"/>
                    </a:cubicBezTo>
                    <a:cubicBezTo>
                      <a:pt x="24" y="17"/>
                      <a:pt x="25" y="17"/>
                      <a:pt x="25" y="17"/>
                    </a:cubicBezTo>
                    <a:cubicBezTo>
                      <a:pt x="26" y="17"/>
                      <a:pt x="26" y="17"/>
                      <a:pt x="27" y="17"/>
                    </a:cubicBezTo>
                    <a:cubicBezTo>
                      <a:pt x="29" y="18"/>
                      <a:pt x="30" y="21"/>
                      <a:pt x="31" y="23"/>
                    </a:cubicBezTo>
                    <a:cubicBezTo>
                      <a:pt x="33" y="27"/>
                      <a:pt x="35" y="28"/>
                      <a:pt x="39" y="30"/>
                    </a:cubicBezTo>
                    <a:cubicBezTo>
                      <a:pt x="42" y="27"/>
                      <a:pt x="40" y="27"/>
                      <a:pt x="41" y="24"/>
                    </a:cubicBezTo>
                    <a:cubicBezTo>
                      <a:pt x="40" y="24"/>
                      <a:pt x="39" y="24"/>
                      <a:pt x="38" y="24"/>
                    </a:cubicBezTo>
                    <a:cubicBezTo>
                      <a:pt x="35" y="24"/>
                      <a:pt x="34" y="23"/>
                      <a:pt x="33" y="20"/>
                    </a:cubicBezTo>
                    <a:cubicBezTo>
                      <a:pt x="32" y="19"/>
                      <a:pt x="32" y="18"/>
                      <a:pt x="32" y="17"/>
                    </a:cubicBezTo>
                    <a:cubicBezTo>
                      <a:pt x="32" y="15"/>
                      <a:pt x="32" y="14"/>
                      <a:pt x="32" y="13"/>
                    </a:cubicBezTo>
                    <a:cubicBezTo>
                      <a:pt x="31" y="13"/>
                      <a:pt x="30" y="12"/>
                      <a:pt x="30" y="12"/>
                    </a:cubicBezTo>
                    <a:cubicBezTo>
                      <a:pt x="29" y="11"/>
                      <a:pt x="31" y="11"/>
                      <a:pt x="29" y="10"/>
                    </a:cubicBezTo>
                    <a:cubicBezTo>
                      <a:pt x="29" y="10"/>
                      <a:pt x="28" y="10"/>
                      <a:pt x="28" y="10"/>
                    </a:cubicBezTo>
                    <a:cubicBezTo>
                      <a:pt x="27" y="10"/>
                      <a:pt x="27" y="10"/>
                      <a:pt x="26" y="10"/>
                    </a:cubicBezTo>
                    <a:cubicBezTo>
                      <a:pt x="26" y="10"/>
                      <a:pt x="25" y="10"/>
                      <a:pt x="25" y="10"/>
                    </a:cubicBezTo>
                    <a:cubicBezTo>
                      <a:pt x="24" y="10"/>
                      <a:pt x="24" y="10"/>
                      <a:pt x="24" y="10"/>
                    </a:cubicBezTo>
                    <a:cubicBezTo>
                      <a:pt x="22" y="9"/>
                      <a:pt x="21" y="8"/>
                      <a:pt x="20" y="7"/>
                    </a:cubicBezTo>
                    <a:cubicBezTo>
                      <a:pt x="18" y="7"/>
                      <a:pt x="17" y="7"/>
                      <a:pt x="16" y="6"/>
                    </a:cubicBezTo>
                    <a:cubicBezTo>
                      <a:pt x="13" y="4"/>
                      <a:pt x="13"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 name="Freeform 70">
                <a:extLst>
                  <a:ext uri="{FF2B5EF4-FFF2-40B4-BE49-F238E27FC236}">
                    <a16:creationId xmlns:a16="http://schemas.microsoft.com/office/drawing/2014/main" id="{11CAD415-DB10-4341-9508-822168306F77}"/>
                  </a:ext>
                </a:extLst>
              </p:cNvPr>
              <p:cNvSpPr>
                <a:spLocks/>
              </p:cNvSpPr>
              <p:nvPr/>
            </p:nvSpPr>
            <p:spPr bwMode="auto">
              <a:xfrm>
                <a:off x="5140" y="547"/>
                <a:ext cx="29" cy="10"/>
              </a:xfrm>
              <a:custGeom>
                <a:avLst/>
                <a:gdLst>
                  <a:gd name="T0" fmla="*/ 5 w 12"/>
                  <a:gd name="T1" fmla="*/ 0 h 4"/>
                  <a:gd name="T2" fmla="*/ 0 w 12"/>
                  <a:gd name="T3" fmla="*/ 1 h 4"/>
                  <a:gd name="T4" fmla="*/ 5 w 12"/>
                  <a:gd name="T5" fmla="*/ 4 h 4"/>
                  <a:gd name="T6" fmla="*/ 11 w 12"/>
                  <a:gd name="T7" fmla="*/ 0 h 4"/>
                  <a:gd name="T8" fmla="*/ 5 w 12"/>
                  <a:gd name="T9" fmla="*/ 0 h 4"/>
                </a:gdLst>
                <a:ahLst/>
                <a:cxnLst>
                  <a:cxn ang="0">
                    <a:pos x="T0" y="T1"/>
                  </a:cxn>
                  <a:cxn ang="0">
                    <a:pos x="T2" y="T3"/>
                  </a:cxn>
                  <a:cxn ang="0">
                    <a:pos x="T4" y="T5"/>
                  </a:cxn>
                  <a:cxn ang="0">
                    <a:pos x="T6" y="T7"/>
                  </a:cxn>
                  <a:cxn ang="0">
                    <a:pos x="T8" y="T9"/>
                  </a:cxn>
                </a:cxnLst>
                <a:rect l="0" t="0" r="r" b="b"/>
                <a:pathLst>
                  <a:path w="12" h="4">
                    <a:moveTo>
                      <a:pt x="5" y="0"/>
                    </a:moveTo>
                    <a:cubicBezTo>
                      <a:pt x="3" y="0"/>
                      <a:pt x="2" y="0"/>
                      <a:pt x="0" y="1"/>
                    </a:cubicBezTo>
                    <a:cubicBezTo>
                      <a:pt x="2" y="2"/>
                      <a:pt x="4" y="3"/>
                      <a:pt x="5" y="4"/>
                    </a:cubicBezTo>
                    <a:cubicBezTo>
                      <a:pt x="7" y="3"/>
                      <a:pt x="12" y="3"/>
                      <a:pt x="11"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 name="Freeform 71">
                <a:extLst>
                  <a:ext uri="{FF2B5EF4-FFF2-40B4-BE49-F238E27FC236}">
                    <a16:creationId xmlns:a16="http://schemas.microsoft.com/office/drawing/2014/main" id="{297FF4F9-A89A-4CD1-827E-E065BA844F88}"/>
                  </a:ext>
                </a:extLst>
              </p:cNvPr>
              <p:cNvSpPr>
                <a:spLocks/>
              </p:cNvSpPr>
              <p:nvPr/>
            </p:nvSpPr>
            <p:spPr bwMode="auto">
              <a:xfrm>
                <a:off x="4965" y="550"/>
                <a:ext cx="7" cy="4"/>
              </a:xfrm>
              <a:custGeom>
                <a:avLst/>
                <a:gdLst>
                  <a:gd name="T0" fmla="*/ 2 w 3"/>
                  <a:gd name="T1" fmla="*/ 0 h 2"/>
                  <a:gd name="T2" fmla="*/ 0 w 3"/>
                  <a:gd name="T3" fmla="*/ 0 h 2"/>
                  <a:gd name="T4" fmla="*/ 1 w 3"/>
                  <a:gd name="T5" fmla="*/ 2 h 2"/>
                  <a:gd name="T6" fmla="*/ 3 w 3"/>
                  <a:gd name="T7" fmla="*/ 0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1" y="0"/>
                      <a:pt x="1" y="0"/>
                      <a:pt x="0" y="0"/>
                    </a:cubicBezTo>
                    <a:cubicBezTo>
                      <a:pt x="0" y="1"/>
                      <a:pt x="0" y="2"/>
                      <a:pt x="1" y="2"/>
                    </a:cubicBezTo>
                    <a:cubicBezTo>
                      <a:pt x="2" y="1"/>
                      <a:pt x="2"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 name="Freeform 72">
                <a:extLst>
                  <a:ext uri="{FF2B5EF4-FFF2-40B4-BE49-F238E27FC236}">
                    <a16:creationId xmlns:a16="http://schemas.microsoft.com/office/drawing/2014/main" id="{F2CE7DC1-311D-4DB1-B7E4-0FEF58599BFB}"/>
                  </a:ext>
                </a:extLst>
              </p:cNvPr>
              <p:cNvSpPr>
                <a:spLocks/>
              </p:cNvSpPr>
              <p:nvPr/>
            </p:nvSpPr>
            <p:spPr bwMode="auto">
              <a:xfrm>
                <a:off x="5166" y="673"/>
                <a:ext cx="10" cy="26"/>
              </a:xfrm>
              <a:custGeom>
                <a:avLst/>
                <a:gdLst>
                  <a:gd name="T0" fmla="*/ 4 w 4"/>
                  <a:gd name="T1" fmla="*/ 0 h 11"/>
                  <a:gd name="T2" fmla="*/ 2 w 4"/>
                  <a:gd name="T3" fmla="*/ 11 h 11"/>
                  <a:gd name="T4" fmla="*/ 4 w 4"/>
                  <a:gd name="T5" fmla="*/ 7 h 11"/>
                  <a:gd name="T6" fmla="*/ 2 w 4"/>
                  <a:gd name="T7" fmla="*/ 5 h 11"/>
                  <a:gd name="T8" fmla="*/ 4 w 4"/>
                  <a:gd name="T9" fmla="*/ 0 h 11"/>
                </a:gdLst>
                <a:ahLst/>
                <a:cxnLst>
                  <a:cxn ang="0">
                    <a:pos x="T0" y="T1"/>
                  </a:cxn>
                  <a:cxn ang="0">
                    <a:pos x="T2" y="T3"/>
                  </a:cxn>
                  <a:cxn ang="0">
                    <a:pos x="T4" y="T5"/>
                  </a:cxn>
                  <a:cxn ang="0">
                    <a:pos x="T6" y="T7"/>
                  </a:cxn>
                  <a:cxn ang="0">
                    <a:pos x="T8" y="T9"/>
                  </a:cxn>
                </a:cxnLst>
                <a:rect l="0" t="0" r="r" b="b"/>
                <a:pathLst>
                  <a:path w="4" h="11">
                    <a:moveTo>
                      <a:pt x="4" y="0"/>
                    </a:moveTo>
                    <a:cubicBezTo>
                      <a:pt x="0" y="5"/>
                      <a:pt x="0" y="6"/>
                      <a:pt x="2" y="11"/>
                    </a:cubicBezTo>
                    <a:cubicBezTo>
                      <a:pt x="3" y="8"/>
                      <a:pt x="4" y="10"/>
                      <a:pt x="4" y="7"/>
                    </a:cubicBezTo>
                    <a:cubicBezTo>
                      <a:pt x="3" y="7"/>
                      <a:pt x="2" y="6"/>
                      <a:pt x="2" y="5"/>
                    </a:cubicBezTo>
                    <a:cubicBezTo>
                      <a:pt x="2" y="4"/>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 name="Freeform 73">
                <a:extLst>
                  <a:ext uri="{FF2B5EF4-FFF2-40B4-BE49-F238E27FC236}">
                    <a16:creationId xmlns:a16="http://schemas.microsoft.com/office/drawing/2014/main" id="{D7606FE7-CEE0-474E-8F9A-4CB4D18D4C24}"/>
                  </a:ext>
                </a:extLst>
              </p:cNvPr>
              <p:cNvSpPr>
                <a:spLocks/>
              </p:cNvSpPr>
              <p:nvPr/>
            </p:nvSpPr>
            <p:spPr bwMode="auto">
              <a:xfrm>
                <a:off x="5015" y="613"/>
                <a:ext cx="14" cy="8"/>
              </a:xfrm>
              <a:custGeom>
                <a:avLst/>
                <a:gdLst>
                  <a:gd name="T0" fmla="*/ 5 w 6"/>
                  <a:gd name="T1" fmla="*/ 0 h 3"/>
                  <a:gd name="T2" fmla="*/ 0 w 6"/>
                  <a:gd name="T3" fmla="*/ 3 h 3"/>
                  <a:gd name="T4" fmla="*/ 5 w 6"/>
                  <a:gd name="T5" fmla="*/ 0 h 3"/>
                </a:gdLst>
                <a:ahLst/>
                <a:cxnLst>
                  <a:cxn ang="0">
                    <a:pos x="T0" y="T1"/>
                  </a:cxn>
                  <a:cxn ang="0">
                    <a:pos x="T2" y="T3"/>
                  </a:cxn>
                  <a:cxn ang="0">
                    <a:pos x="T4" y="T5"/>
                  </a:cxn>
                </a:cxnLst>
                <a:rect l="0" t="0" r="r" b="b"/>
                <a:pathLst>
                  <a:path w="6" h="3">
                    <a:moveTo>
                      <a:pt x="5" y="0"/>
                    </a:moveTo>
                    <a:cubicBezTo>
                      <a:pt x="3" y="1"/>
                      <a:pt x="1" y="2"/>
                      <a:pt x="0" y="3"/>
                    </a:cubicBezTo>
                    <a:cubicBezTo>
                      <a:pt x="2" y="2"/>
                      <a:pt x="6"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 name="Freeform 74">
                <a:extLst>
                  <a:ext uri="{FF2B5EF4-FFF2-40B4-BE49-F238E27FC236}">
                    <a16:creationId xmlns:a16="http://schemas.microsoft.com/office/drawing/2014/main" id="{1BF70AAE-0925-4BBE-A0CA-DABEFD611D53}"/>
                  </a:ext>
                </a:extLst>
              </p:cNvPr>
              <p:cNvSpPr>
                <a:spLocks/>
              </p:cNvSpPr>
              <p:nvPr/>
            </p:nvSpPr>
            <p:spPr bwMode="auto">
              <a:xfrm>
                <a:off x="4932" y="637"/>
                <a:ext cx="10" cy="17"/>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1" y="3"/>
                      <a:pt x="0" y="6"/>
                      <a:pt x="4" y="7"/>
                    </a:cubicBezTo>
                    <a:cubicBezTo>
                      <a:pt x="4"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 name="Freeform 75">
                <a:extLst>
                  <a:ext uri="{FF2B5EF4-FFF2-40B4-BE49-F238E27FC236}">
                    <a16:creationId xmlns:a16="http://schemas.microsoft.com/office/drawing/2014/main" id="{9F668847-139D-418B-AC8A-11301C203915}"/>
                  </a:ext>
                </a:extLst>
              </p:cNvPr>
              <p:cNvSpPr>
                <a:spLocks/>
              </p:cNvSpPr>
              <p:nvPr/>
            </p:nvSpPr>
            <p:spPr bwMode="auto">
              <a:xfrm>
                <a:off x="4807" y="538"/>
                <a:ext cx="21" cy="19"/>
              </a:xfrm>
              <a:custGeom>
                <a:avLst/>
                <a:gdLst>
                  <a:gd name="T0" fmla="*/ 3 w 9"/>
                  <a:gd name="T1" fmla="*/ 0 h 8"/>
                  <a:gd name="T2" fmla="*/ 5 w 9"/>
                  <a:gd name="T3" fmla="*/ 8 h 8"/>
                  <a:gd name="T4" fmla="*/ 8 w 9"/>
                  <a:gd name="T5" fmla="*/ 6 h 8"/>
                  <a:gd name="T6" fmla="*/ 9 w 9"/>
                  <a:gd name="T7" fmla="*/ 6 h 8"/>
                  <a:gd name="T8" fmla="*/ 3 w 9"/>
                  <a:gd name="T9" fmla="*/ 2 h 8"/>
                  <a:gd name="T10" fmla="*/ 3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3" y="0"/>
                    </a:moveTo>
                    <a:cubicBezTo>
                      <a:pt x="0" y="0"/>
                      <a:pt x="5" y="7"/>
                      <a:pt x="5" y="8"/>
                    </a:cubicBezTo>
                    <a:cubicBezTo>
                      <a:pt x="6" y="6"/>
                      <a:pt x="7" y="6"/>
                      <a:pt x="8" y="6"/>
                    </a:cubicBezTo>
                    <a:cubicBezTo>
                      <a:pt x="8" y="6"/>
                      <a:pt x="9" y="6"/>
                      <a:pt x="9" y="6"/>
                    </a:cubicBezTo>
                    <a:cubicBezTo>
                      <a:pt x="7" y="4"/>
                      <a:pt x="6" y="4"/>
                      <a:pt x="3"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 name="Freeform 76">
                <a:extLst>
                  <a:ext uri="{FF2B5EF4-FFF2-40B4-BE49-F238E27FC236}">
                    <a16:creationId xmlns:a16="http://schemas.microsoft.com/office/drawing/2014/main" id="{5199DB90-FF2B-4B9B-B098-D4216278EC80}"/>
                  </a:ext>
                </a:extLst>
              </p:cNvPr>
              <p:cNvSpPr>
                <a:spLocks/>
              </p:cNvSpPr>
              <p:nvPr/>
            </p:nvSpPr>
            <p:spPr bwMode="auto">
              <a:xfrm>
                <a:off x="5022" y="351"/>
                <a:ext cx="21" cy="14"/>
              </a:xfrm>
              <a:custGeom>
                <a:avLst/>
                <a:gdLst>
                  <a:gd name="T0" fmla="*/ 5 w 9"/>
                  <a:gd name="T1" fmla="*/ 0 h 6"/>
                  <a:gd name="T2" fmla="*/ 3 w 9"/>
                  <a:gd name="T3" fmla="*/ 1 h 6"/>
                  <a:gd name="T4" fmla="*/ 4 w 9"/>
                  <a:gd name="T5" fmla="*/ 6 h 6"/>
                  <a:gd name="T6" fmla="*/ 7 w 9"/>
                  <a:gd name="T7" fmla="*/ 2 h 6"/>
                  <a:gd name="T8" fmla="*/ 5 w 9"/>
                  <a:gd name="T9" fmla="*/ 0 h 6"/>
                </a:gdLst>
                <a:ahLst/>
                <a:cxnLst>
                  <a:cxn ang="0">
                    <a:pos x="T0" y="T1"/>
                  </a:cxn>
                  <a:cxn ang="0">
                    <a:pos x="T2" y="T3"/>
                  </a:cxn>
                  <a:cxn ang="0">
                    <a:pos x="T4" y="T5"/>
                  </a:cxn>
                  <a:cxn ang="0">
                    <a:pos x="T6" y="T7"/>
                  </a:cxn>
                  <a:cxn ang="0">
                    <a:pos x="T8" y="T9"/>
                  </a:cxn>
                </a:cxnLst>
                <a:rect l="0" t="0" r="r" b="b"/>
                <a:pathLst>
                  <a:path w="9" h="6">
                    <a:moveTo>
                      <a:pt x="5" y="0"/>
                    </a:moveTo>
                    <a:cubicBezTo>
                      <a:pt x="4" y="0"/>
                      <a:pt x="3" y="1"/>
                      <a:pt x="3" y="1"/>
                    </a:cubicBezTo>
                    <a:cubicBezTo>
                      <a:pt x="0" y="3"/>
                      <a:pt x="2" y="4"/>
                      <a:pt x="4" y="6"/>
                    </a:cubicBezTo>
                    <a:cubicBezTo>
                      <a:pt x="6" y="5"/>
                      <a:pt x="9" y="4"/>
                      <a:pt x="7" y="2"/>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 name="Freeform 77">
                <a:extLst>
                  <a:ext uri="{FF2B5EF4-FFF2-40B4-BE49-F238E27FC236}">
                    <a16:creationId xmlns:a16="http://schemas.microsoft.com/office/drawing/2014/main" id="{B2DC70B5-8656-48E5-B330-611484DE024B}"/>
                  </a:ext>
                </a:extLst>
              </p:cNvPr>
              <p:cNvSpPr>
                <a:spLocks/>
              </p:cNvSpPr>
              <p:nvPr/>
            </p:nvSpPr>
            <p:spPr bwMode="auto">
              <a:xfrm>
                <a:off x="5017" y="569"/>
                <a:ext cx="3" cy="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 name="Freeform 78">
                <a:extLst>
                  <a:ext uri="{FF2B5EF4-FFF2-40B4-BE49-F238E27FC236}">
                    <a16:creationId xmlns:a16="http://schemas.microsoft.com/office/drawing/2014/main" id="{D7479D21-46E6-42F3-ABCF-E70114DB8C4F}"/>
                  </a:ext>
                </a:extLst>
              </p:cNvPr>
              <p:cNvSpPr>
                <a:spLocks/>
              </p:cNvSpPr>
              <p:nvPr/>
            </p:nvSpPr>
            <p:spPr bwMode="auto">
              <a:xfrm>
                <a:off x="5157" y="592"/>
                <a:ext cx="9" cy="10"/>
              </a:xfrm>
              <a:custGeom>
                <a:avLst/>
                <a:gdLst>
                  <a:gd name="T0" fmla="*/ 0 w 4"/>
                  <a:gd name="T1" fmla="*/ 0 h 4"/>
                  <a:gd name="T2" fmla="*/ 2 w 4"/>
                  <a:gd name="T3" fmla="*/ 4 h 4"/>
                  <a:gd name="T4" fmla="*/ 0 w 4"/>
                  <a:gd name="T5" fmla="*/ 0 h 4"/>
                </a:gdLst>
                <a:ahLst/>
                <a:cxnLst>
                  <a:cxn ang="0">
                    <a:pos x="T0" y="T1"/>
                  </a:cxn>
                  <a:cxn ang="0">
                    <a:pos x="T2" y="T3"/>
                  </a:cxn>
                  <a:cxn ang="0">
                    <a:pos x="T4" y="T5"/>
                  </a:cxn>
                </a:cxnLst>
                <a:rect l="0" t="0" r="r" b="b"/>
                <a:pathLst>
                  <a:path w="4" h="4">
                    <a:moveTo>
                      <a:pt x="0" y="0"/>
                    </a:moveTo>
                    <a:cubicBezTo>
                      <a:pt x="1" y="2"/>
                      <a:pt x="1" y="3"/>
                      <a:pt x="2" y="4"/>
                    </a:cubicBezTo>
                    <a:cubicBezTo>
                      <a:pt x="4"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 name="Freeform 79">
                <a:extLst>
                  <a:ext uri="{FF2B5EF4-FFF2-40B4-BE49-F238E27FC236}">
                    <a16:creationId xmlns:a16="http://schemas.microsoft.com/office/drawing/2014/main" id="{D0831B49-8252-4650-9987-2EFB7260B084}"/>
                  </a:ext>
                </a:extLst>
              </p:cNvPr>
              <p:cNvSpPr>
                <a:spLocks/>
              </p:cNvSpPr>
              <p:nvPr/>
            </p:nvSpPr>
            <p:spPr bwMode="auto">
              <a:xfrm>
                <a:off x="5013" y="554"/>
                <a:ext cx="7" cy="10"/>
              </a:xfrm>
              <a:custGeom>
                <a:avLst/>
                <a:gdLst>
                  <a:gd name="T0" fmla="*/ 2 w 3"/>
                  <a:gd name="T1" fmla="*/ 0 h 4"/>
                  <a:gd name="T2" fmla="*/ 0 w 3"/>
                  <a:gd name="T3" fmla="*/ 4 h 4"/>
                  <a:gd name="T4" fmla="*/ 2 w 3"/>
                  <a:gd name="T5" fmla="*/ 0 h 4"/>
                </a:gdLst>
                <a:ahLst/>
                <a:cxnLst>
                  <a:cxn ang="0">
                    <a:pos x="T0" y="T1"/>
                  </a:cxn>
                  <a:cxn ang="0">
                    <a:pos x="T2" y="T3"/>
                  </a:cxn>
                  <a:cxn ang="0">
                    <a:pos x="T4" y="T5"/>
                  </a:cxn>
                </a:cxnLst>
                <a:rect l="0" t="0" r="r" b="b"/>
                <a:pathLst>
                  <a:path w="3" h="4">
                    <a:moveTo>
                      <a:pt x="2" y="0"/>
                    </a:moveTo>
                    <a:cubicBezTo>
                      <a:pt x="1" y="1"/>
                      <a:pt x="1" y="3"/>
                      <a:pt x="0" y="4"/>
                    </a:cubicBezTo>
                    <a:cubicBezTo>
                      <a:pt x="1"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 name="Freeform 80">
                <a:extLst>
                  <a:ext uri="{FF2B5EF4-FFF2-40B4-BE49-F238E27FC236}">
                    <a16:creationId xmlns:a16="http://schemas.microsoft.com/office/drawing/2014/main" id="{EB03C3AD-2695-4203-AFF8-D8BBCA7A0CCD}"/>
                  </a:ext>
                </a:extLst>
              </p:cNvPr>
              <p:cNvSpPr>
                <a:spLocks/>
              </p:cNvSpPr>
              <p:nvPr/>
            </p:nvSpPr>
            <p:spPr bwMode="auto">
              <a:xfrm>
                <a:off x="4793" y="505"/>
                <a:ext cx="23" cy="26"/>
              </a:xfrm>
              <a:custGeom>
                <a:avLst/>
                <a:gdLst>
                  <a:gd name="T0" fmla="*/ 5 w 10"/>
                  <a:gd name="T1" fmla="*/ 0 h 11"/>
                  <a:gd name="T2" fmla="*/ 3 w 10"/>
                  <a:gd name="T3" fmla="*/ 4 h 11"/>
                  <a:gd name="T4" fmla="*/ 0 w 10"/>
                  <a:gd name="T5" fmla="*/ 7 h 11"/>
                  <a:gd name="T6" fmla="*/ 0 w 10"/>
                  <a:gd name="T7" fmla="*/ 7 h 11"/>
                  <a:gd name="T8" fmla="*/ 1 w 10"/>
                  <a:gd name="T9" fmla="*/ 7 h 11"/>
                  <a:gd name="T10" fmla="*/ 2 w 10"/>
                  <a:gd name="T11" fmla="*/ 7 h 11"/>
                  <a:gd name="T12" fmla="*/ 4 w 10"/>
                  <a:gd name="T13" fmla="*/ 7 h 11"/>
                  <a:gd name="T14" fmla="*/ 3 w 10"/>
                  <a:gd name="T15" fmla="*/ 9 h 11"/>
                  <a:gd name="T16" fmla="*/ 5 w 10"/>
                  <a:gd name="T17" fmla="*/ 9 h 11"/>
                  <a:gd name="T18" fmla="*/ 5 w 10"/>
                  <a:gd name="T19" fmla="*/ 9 h 11"/>
                  <a:gd name="T20" fmla="*/ 5 w 10"/>
                  <a:gd name="T21" fmla="*/ 9 h 11"/>
                  <a:gd name="T22" fmla="*/ 6 w 10"/>
                  <a:gd name="T23" fmla="*/ 9 h 11"/>
                  <a:gd name="T24" fmla="*/ 10 w 10"/>
                  <a:gd name="T25" fmla="*/ 11 h 11"/>
                  <a:gd name="T26" fmla="*/ 10 w 10"/>
                  <a:gd name="T27" fmla="*/ 11 h 11"/>
                  <a:gd name="T28" fmla="*/ 5 w 10"/>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1">
                    <a:moveTo>
                      <a:pt x="5" y="0"/>
                    </a:moveTo>
                    <a:cubicBezTo>
                      <a:pt x="4" y="1"/>
                      <a:pt x="4" y="2"/>
                      <a:pt x="3" y="4"/>
                    </a:cubicBezTo>
                    <a:cubicBezTo>
                      <a:pt x="1" y="5"/>
                      <a:pt x="0" y="5"/>
                      <a:pt x="0" y="7"/>
                    </a:cubicBezTo>
                    <a:cubicBezTo>
                      <a:pt x="0" y="7"/>
                      <a:pt x="0" y="7"/>
                      <a:pt x="0" y="7"/>
                    </a:cubicBezTo>
                    <a:cubicBezTo>
                      <a:pt x="0" y="7"/>
                      <a:pt x="1" y="7"/>
                      <a:pt x="1" y="7"/>
                    </a:cubicBezTo>
                    <a:cubicBezTo>
                      <a:pt x="2" y="7"/>
                      <a:pt x="2" y="7"/>
                      <a:pt x="2" y="7"/>
                    </a:cubicBezTo>
                    <a:cubicBezTo>
                      <a:pt x="3" y="7"/>
                      <a:pt x="3" y="7"/>
                      <a:pt x="4" y="7"/>
                    </a:cubicBezTo>
                    <a:cubicBezTo>
                      <a:pt x="3" y="9"/>
                      <a:pt x="3" y="9"/>
                      <a:pt x="3" y="9"/>
                    </a:cubicBezTo>
                    <a:cubicBezTo>
                      <a:pt x="4" y="9"/>
                      <a:pt x="4" y="9"/>
                      <a:pt x="5" y="9"/>
                    </a:cubicBezTo>
                    <a:cubicBezTo>
                      <a:pt x="5" y="9"/>
                      <a:pt x="5" y="9"/>
                      <a:pt x="5" y="9"/>
                    </a:cubicBezTo>
                    <a:cubicBezTo>
                      <a:pt x="5" y="9"/>
                      <a:pt x="5" y="9"/>
                      <a:pt x="5" y="9"/>
                    </a:cubicBezTo>
                    <a:cubicBezTo>
                      <a:pt x="6" y="9"/>
                      <a:pt x="6" y="9"/>
                      <a:pt x="6" y="9"/>
                    </a:cubicBezTo>
                    <a:cubicBezTo>
                      <a:pt x="7" y="10"/>
                      <a:pt x="9" y="11"/>
                      <a:pt x="10" y="11"/>
                    </a:cubicBezTo>
                    <a:cubicBezTo>
                      <a:pt x="10" y="11"/>
                      <a:pt x="10" y="11"/>
                      <a:pt x="10" y="11"/>
                    </a:cubicBezTo>
                    <a:cubicBezTo>
                      <a:pt x="9" y="7"/>
                      <a:pt x="7"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 name="Freeform 81">
                <a:extLst>
                  <a:ext uri="{FF2B5EF4-FFF2-40B4-BE49-F238E27FC236}">
                    <a16:creationId xmlns:a16="http://schemas.microsoft.com/office/drawing/2014/main" id="{E423E70F-FBDF-4B92-913B-D8E7E5187826}"/>
                  </a:ext>
                </a:extLst>
              </p:cNvPr>
              <p:cNvSpPr>
                <a:spLocks/>
              </p:cNvSpPr>
              <p:nvPr/>
            </p:nvSpPr>
            <p:spPr bwMode="auto">
              <a:xfrm>
                <a:off x="5072" y="569"/>
                <a:ext cx="4" cy="2"/>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1"/>
                      <a:pt x="0"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 name="Freeform 82">
                <a:extLst>
                  <a:ext uri="{FF2B5EF4-FFF2-40B4-BE49-F238E27FC236}">
                    <a16:creationId xmlns:a16="http://schemas.microsoft.com/office/drawing/2014/main" id="{22F5A44F-A2E9-4C08-BA56-EA93DB7DA836}"/>
                  </a:ext>
                </a:extLst>
              </p:cNvPr>
              <p:cNvSpPr>
                <a:spLocks/>
              </p:cNvSpPr>
              <p:nvPr/>
            </p:nvSpPr>
            <p:spPr bwMode="auto">
              <a:xfrm>
                <a:off x="5161" y="606"/>
                <a:ext cx="22" cy="10"/>
              </a:xfrm>
              <a:custGeom>
                <a:avLst/>
                <a:gdLst>
                  <a:gd name="T0" fmla="*/ 6 w 9"/>
                  <a:gd name="T1" fmla="*/ 0 h 4"/>
                  <a:gd name="T2" fmla="*/ 0 w 9"/>
                  <a:gd name="T3" fmla="*/ 4 h 4"/>
                  <a:gd name="T4" fmla="*/ 9 w 9"/>
                  <a:gd name="T5" fmla="*/ 0 h 4"/>
                  <a:gd name="T6" fmla="*/ 6 w 9"/>
                  <a:gd name="T7" fmla="*/ 0 h 4"/>
                </a:gdLst>
                <a:ahLst/>
                <a:cxnLst>
                  <a:cxn ang="0">
                    <a:pos x="T0" y="T1"/>
                  </a:cxn>
                  <a:cxn ang="0">
                    <a:pos x="T2" y="T3"/>
                  </a:cxn>
                  <a:cxn ang="0">
                    <a:pos x="T4" y="T5"/>
                  </a:cxn>
                  <a:cxn ang="0">
                    <a:pos x="T6" y="T7"/>
                  </a:cxn>
                </a:cxnLst>
                <a:rect l="0" t="0" r="r" b="b"/>
                <a:pathLst>
                  <a:path w="9" h="4">
                    <a:moveTo>
                      <a:pt x="6" y="0"/>
                    </a:moveTo>
                    <a:cubicBezTo>
                      <a:pt x="3" y="0"/>
                      <a:pt x="2" y="1"/>
                      <a:pt x="0" y="4"/>
                    </a:cubicBezTo>
                    <a:cubicBezTo>
                      <a:pt x="2" y="2"/>
                      <a:pt x="7" y="2"/>
                      <a:pt x="9" y="0"/>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 name="Freeform 83">
                <a:extLst>
                  <a:ext uri="{FF2B5EF4-FFF2-40B4-BE49-F238E27FC236}">
                    <a16:creationId xmlns:a16="http://schemas.microsoft.com/office/drawing/2014/main" id="{AAAF20E9-7CDC-4EB8-B64F-6223E61F4F45}"/>
                  </a:ext>
                </a:extLst>
              </p:cNvPr>
              <p:cNvSpPr>
                <a:spLocks/>
              </p:cNvSpPr>
              <p:nvPr/>
            </p:nvSpPr>
            <p:spPr bwMode="auto">
              <a:xfrm>
                <a:off x="5209" y="621"/>
                <a:ext cx="2" cy="7"/>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 name="Freeform 84">
                <a:extLst>
                  <a:ext uri="{FF2B5EF4-FFF2-40B4-BE49-F238E27FC236}">
                    <a16:creationId xmlns:a16="http://schemas.microsoft.com/office/drawing/2014/main" id="{76AFD1AD-BD18-4F22-A5B0-4D063AE09C01}"/>
                  </a:ext>
                </a:extLst>
              </p:cNvPr>
              <p:cNvSpPr>
                <a:spLocks/>
              </p:cNvSpPr>
              <p:nvPr/>
            </p:nvSpPr>
            <p:spPr bwMode="auto">
              <a:xfrm>
                <a:off x="4805" y="479"/>
                <a:ext cx="11" cy="19"/>
              </a:xfrm>
              <a:custGeom>
                <a:avLst/>
                <a:gdLst>
                  <a:gd name="T0" fmla="*/ 3 w 5"/>
                  <a:gd name="T1" fmla="*/ 0 h 8"/>
                  <a:gd name="T2" fmla="*/ 0 w 5"/>
                  <a:gd name="T3" fmla="*/ 8 h 8"/>
                  <a:gd name="T4" fmla="*/ 3 w 5"/>
                  <a:gd name="T5" fmla="*/ 0 h 8"/>
                </a:gdLst>
                <a:ahLst/>
                <a:cxnLst>
                  <a:cxn ang="0">
                    <a:pos x="T0" y="T1"/>
                  </a:cxn>
                  <a:cxn ang="0">
                    <a:pos x="T2" y="T3"/>
                  </a:cxn>
                  <a:cxn ang="0">
                    <a:pos x="T4" y="T5"/>
                  </a:cxn>
                </a:cxnLst>
                <a:rect l="0" t="0" r="r" b="b"/>
                <a:pathLst>
                  <a:path w="5" h="8">
                    <a:moveTo>
                      <a:pt x="3" y="0"/>
                    </a:moveTo>
                    <a:cubicBezTo>
                      <a:pt x="0" y="2"/>
                      <a:pt x="0" y="5"/>
                      <a:pt x="0" y="8"/>
                    </a:cubicBezTo>
                    <a:cubicBezTo>
                      <a:pt x="5" y="7"/>
                      <a:pt x="4" y="5"/>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 name="Freeform 85">
                <a:extLst>
                  <a:ext uri="{FF2B5EF4-FFF2-40B4-BE49-F238E27FC236}">
                    <a16:creationId xmlns:a16="http://schemas.microsoft.com/office/drawing/2014/main" id="{18671BBE-B294-4780-94B1-C5DA00D188CD}"/>
                  </a:ext>
                </a:extLst>
              </p:cNvPr>
              <p:cNvSpPr>
                <a:spLocks/>
              </p:cNvSpPr>
              <p:nvPr/>
            </p:nvSpPr>
            <p:spPr bwMode="auto">
              <a:xfrm>
                <a:off x="5022" y="469"/>
                <a:ext cx="14" cy="17"/>
              </a:xfrm>
              <a:custGeom>
                <a:avLst/>
                <a:gdLst>
                  <a:gd name="T0" fmla="*/ 0 w 6"/>
                  <a:gd name="T1" fmla="*/ 0 h 7"/>
                  <a:gd name="T2" fmla="*/ 2 w 6"/>
                  <a:gd name="T3" fmla="*/ 6 h 7"/>
                  <a:gd name="T4" fmla="*/ 4 w 6"/>
                  <a:gd name="T5" fmla="*/ 7 h 7"/>
                  <a:gd name="T6" fmla="*/ 3 w 6"/>
                  <a:gd name="T7" fmla="*/ 4 h 7"/>
                  <a:gd name="T8" fmla="*/ 2 w 6"/>
                  <a:gd name="T9" fmla="*/ 2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4"/>
                      <a:pt x="2" y="6"/>
                    </a:cubicBezTo>
                    <a:cubicBezTo>
                      <a:pt x="3" y="6"/>
                      <a:pt x="3" y="7"/>
                      <a:pt x="4" y="7"/>
                    </a:cubicBezTo>
                    <a:cubicBezTo>
                      <a:pt x="6" y="7"/>
                      <a:pt x="4" y="5"/>
                      <a:pt x="3" y="4"/>
                    </a:cubicBezTo>
                    <a:cubicBezTo>
                      <a:pt x="2" y="2"/>
                      <a:pt x="2" y="2"/>
                      <a:pt x="2"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 name="Freeform 86">
                <a:extLst>
                  <a:ext uri="{FF2B5EF4-FFF2-40B4-BE49-F238E27FC236}">
                    <a16:creationId xmlns:a16="http://schemas.microsoft.com/office/drawing/2014/main" id="{7EC1AD1A-5DBA-47BC-B883-ADC8D035C069}"/>
                  </a:ext>
                </a:extLst>
              </p:cNvPr>
              <p:cNvSpPr>
                <a:spLocks/>
              </p:cNvSpPr>
              <p:nvPr/>
            </p:nvSpPr>
            <p:spPr bwMode="auto">
              <a:xfrm>
                <a:off x="5098" y="495"/>
                <a:ext cx="21" cy="29"/>
              </a:xfrm>
              <a:custGeom>
                <a:avLst/>
                <a:gdLst>
                  <a:gd name="T0" fmla="*/ 3 w 9"/>
                  <a:gd name="T1" fmla="*/ 0 h 12"/>
                  <a:gd name="T2" fmla="*/ 1 w 9"/>
                  <a:gd name="T3" fmla="*/ 2 h 12"/>
                  <a:gd name="T4" fmla="*/ 4 w 9"/>
                  <a:gd name="T5" fmla="*/ 12 h 12"/>
                  <a:gd name="T6" fmla="*/ 7 w 9"/>
                  <a:gd name="T7" fmla="*/ 3 h 12"/>
                  <a:gd name="T8" fmla="*/ 5 w 9"/>
                  <a:gd name="T9" fmla="*/ 0 h 12"/>
                  <a:gd name="T10" fmla="*/ 3 w 9"/>
                  <a:gd name="T11" fmla="*/ 0 h 12"/>
                </a:gdLst>
                <a:ahLst/>
                <a:cxnLst>
                  <a:cxn ang="0">
                    <a:pos x="T0" y="T1"/>
                  </a:cxn>
                  <a:cxn ang="0">
                    <a:pos x="T2" y="T3"/>
                  </a:cxn>
                  <a:cxn ang="0">
                    <a:pos x="T4" y="T5"/>
                  </a:cxn>
                  <a:cxn ang="0">
                    <a:pos x="T6" y="T7"/>
                  </a:cxn>
                  <a:cxn ang="0">
                    <a:pos x="T8" y="T9"/>
                  </a:cxn>
                  <a:cxn ang="0">
                    <a:pos x="T10" y="T11"/>
                  </a:cxn>
                </a:cxnLst>
                <a:rect l="0" t="0" r="r" b="b"/>
                <a:pathLst>
                  <a:path w="9" h="12">
                    <a:moveTo>
                      <a:pt x="3" y="0"/>
                    </a:moveTo>
                    <a:cubicBezTo>
                      <a:pt x="2" y="0"/>
                      <a:pt x="1" y="0"/>
                      <a:pt x="1" y="2"/>
                    </a:cubicBezTo>
                    <a:cubicBezTo>
                      <a:pt x="1" y="7"/>
                      <a:pt x="0" y="9"/>
                      <a:pt x="4" y="12"/>
                    </a:cubicBezTo>
                    <a:cubicBezTo>
                      <a:pt x="7" y="10"/>
                      <a:pt x="9" y="6"/>
                      <a:pt x="7" y="3"/>
                    </a:cubicBezTo>
                    <a:cubicBezTo>
                      <a:pt x="9" y="1"/>
                      <a:pt x="7"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 name="Freeform 87">
                <a:extLst>
                  <a:ext uri="{FF2B5EF4-FFF2-40B4-BE49-F238E27FC236}">
                    <a16:creationId xmlns:a16="http://schemas.microsoft.com/office/drawing/2014/main" id="{09EC3E54-4B64-4DD7-8408-513DD2D2F5DB}"/>
                  </a:ext>
                </a:extLst>
              </p:cNvPr>
              <p:cNvSpPr>
                <a:spLocks/>
              </p:cNvSpPr>
              <p:nvPr/>
            </p:nvSpPr>
            <p:spPr bwMode="auto">
              <a:xfrm>
                <a:off x="4753" y="417"/>
                <a:ext cx="23" cy="19"/>
              </a:xfrm>
              <a:custGeom>
                <a:avLst/>
                <a:gdLst>
                  <a:gd name="T0" fmla="*/ 5 w 10"/>
                  <a:gd name="T1" fmla="*/ 0 h 8"/>
                  <a:gd name="T2" fmla="*/ 3 w 10"/>
                  <a:gd name="T3" fmla="*/ 0 h 8"/>
                  <a:gd name="T4" fmla="*/ 2 w 10"/>
                  <a:gd name="T5" fmla="*/ 0 h 8"/>
                  <a:gd name="T6" fmla="*/ 2 w 10"/>
                  <a:gd name="T7" fmla="*/ 0 h 8"/>
                  <a:gd name="T8" fmla="*/ 1 w 10"/>
                  <a:gd name="T9" fmla="*/ 0 h 8"/>
                  <a:gd name="T10" fmla="*/ 1 w 10"/>
                  <a:gd name="T11" fmla="*/ 0 h 8"/>
                  <a:gd name="T12" fmla="*/ 7 w 10"/>
                  <a:gd name="T13" fmla="*/ 8 h 8"/>
                  <a:gd name="T14" fmla="*/ 7 w 10"/>
                  <a:gd name="T15" fmla="*/ 5 h 8"/>
                  <a:gd name="T16" fmla="*/ 6 w 10"/>
                  <a:gd name="T17" fmla="*/ 0 h 8"/>
                  <a:gd name="T18" fmla="*/ 5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5" y="0"/>
                    </a:moveTo>
                    <a:cubicBezTo>
                      <a:pt x="4" y="0"/>
                      <a:pt x="3" y="0"/>
                      <a:pt x="3" y="0"/>
                    </a:cubicBezTo>
                    <a:cubicBezTo>
                      <a:pt x="3" y="0"/>
                      <a:pt x="2" y="0"/>
                      <a:pt x="2" y="0"/>
                    </a:cubicBezTo>
                    <a:cubicBezTo>
                      <a:pt x="2" y="0"/>
                      <a:pt x="2" y="0"/>
                      <a:pt x="2" y="0"/>
                    </a:cubicBezTo>
                    <a:cubicBezTo>
                      <a:pt x="2" y="0"/>
                      <a:pt x="2" y="0"/>
                      <a:pt x="1" y="0"/>
                    </a:cubicBezTo>
                    <a:cubicBezTo>
                      <a:pt x="1" y="0"/>
                      <a:pt x="1" y="0"/>
                      <a:pt x="1" y="0"/>
                    </a:cubicBezTo>
                    <a:cubicBezTo>
                      <a:pt x="0" y="2"/>
                      <a:pt x="6" y="7"/>
                      <a:pt x="7" y="8"/>
                    </a:cubicBezTo>
                    <a:cubicBezTo>
                      <a:pt x="7" y="7"/>
                      <a:pt x="7" y="6"/>
                      <a:pt x="7" y="5"/>
                    </a:cubicBezTo>
                    <a:cubicBezTo>
                      <a:pt x="2" y="4"/>
                      <a:pt x="10"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 name="Freeform 88">
                <a:extLst>
                  <a:ext uri="{FF2B5EF4-FFF2-40B4-BE49-F238E27FC236}">
                    <a16:creationId xmlns:a16="http://schemas.microsoft.com/office/drawing/2014/main" id="{FDC589BF-8D81-4D61-A1E6-DA1B44A92E91}"/>
                  </a:ext>
                </a:extLst>
              </p:cNvPr>
              <p:cNvSpPr>
                <a:spLocks/>
              </p:cNvSpPr>
              <p:nvPr/>
            </p:nvSpPr>
            <p:spPr bwMode="auto">
              <a:xfrm>
                <a:off x="5050" y="554"/>
                <a:ext cx="17" cy="10"/>
              </a:xfrm>
              <a:custGeom>
                <a:avLst/>
                <a:gdLst>
                  <a:gd name="T0" fmla="*/ 1 w 7"/>
                  <a:gd name="T1" fmla="*/ 0 h 4"/>
                  <a:gd name="T2" fmla="*/ 0 w 7"/>
                  <a:gd name="T3" fmla="*/ 0 h 4"/>
                  <a:gd name="T4" fmla="*/ 5 w 7"/>
                  <a:gd name="T5" fmla="*/ 4 h 4"/>
                  <a:gd name="T6" fmla="*/ 1 w 7"/>
                  <a:gd name="T7" fmla="*/ 0 h 4"/>
                </a:gdLst>
                <a:ahLst/>
                <a:cxnLst>
                  <a:cxn ang="0">
                    <a:pos x="T0" y="T1"/>
                  </a:cxn>
                  <a:cxn ang="0">
                    <a:pos x="T2" y="T3"/>
                  </a:cxn>
                  <a:cxn ang="0">
                    <a:pos x="T4" y="T5"/>
                  </a:cxn>
                  <a:cxn ang="0">
                    <a:pos x="T6" y="T7"/>
                  </a:cxn>
                </a:cxnLst>
                <a:rect l="0" t="0" r="r" b="b"/>
                <a:pathLst>
                  <a:path w="7" h="4">
                    <a:moveTo>
                      <a:pt x="1" y="0"/>
                    </a:moveTo>
                    <a:cubicBezTo>
                      <a:pt x="0" y="0"/>
                      <a:pt x="0" y="0"/>
                      <a:pt x="0" y="0"/>
                    </a:cubicBezTo>
                    <a:cubicBezTo>
                      <a:pt x="2" y="2"/>
                      <a:pt x="3" y="3"/>
                      <a:pt x="5" y="4"/>
                    </a:cubicBezTo>
                    <a:cubicBezTo>
                      <a:pt x="7"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 name="Freeform 89">
                <a:extLst>
                  <a:ext uri="{FF2B5EF4-FFF2-40B4-BE49-F238E27FC236}">
                    <a16:creationId xmlns:a16="http://schemas.microsoft.com/office/drawing/2014/main" id="{0F5BD0EA-ED0B-41F8-B34E-4C5BE4E909EB}"/>
                  </a:ext>
                </a:extLst>
              </p:cNvPr>
              <p:cNvSpPr>
                <a:spLocks/>
              </p:cNvSpPr>
              <p:nvPr/>
            </p:nvSpPr>
            <p:spPr bwMode="auto">
              <a:xfrm>
                <a:off x="3580" y="-18"/>
                <a:ext cx="10" cy="5"/>
              </a:xfrm>
              <a:custGeom>
                <a:avLst/>
                <a:gdLst>
                  <a:gd name="T0" fmla="*/ 0 w 4"/>
                  <a:gd name="T1" fmla="*/ 0 h 2"/>
                  <a:gd name="T2" fmla="*/ 0 w 4"/>
                  <a:gd name="T3" fmla="*/ 1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cubicBezTo>
                      <a:pt x="0" y="0"/>
                      <a:pt x="0" y="0"/>
                      <a:pt x="0" y="1"/>
                    </a:cubicBezTo>
                    <a:cubicBezTo>
                      <a:pt x="1" y="1"/>
                      <a:pt x="3" y="2"/>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 name="Freeform 90">
                <a:extLst>
                  <a:ext uri="{FF2B5EF4-FFF2-40B4-BE49-F238E27FC236}">
                    <a16:creationId xmlns:a16="http://schemas.microsoft.com/office/drawing/2014/main" id="{A5E9E5C4-03B8-4919-992C-5FC46FDACD90}"/>
                  </a:ext>
                </a:extLst>
              </p:cNvPr>
              <p:cNvSpPr>
                <a:spLocks/>
              </p:cNvSpPr>
              <p:nvPr/>
            </p:nvSpPr>
            <p:spPr bwMode="auto">
              <a:xfrm>
                <a:off x="3585" y="-3"/>
                <a:ext cx="12" cy="16"/>
              </a:xfrm>
              <a:custGeom>
                <a:avLst/>
                <a:gdLst>
                  <a:gd name="T0" fmla="*/ 0 w 5"/>
                  <a:gd name="T1" fmla="*/ 0 h 7"/>
                  <a:gd name="T2" fmla="*/ 4 w 5"/>
                  <a:gd name="T3" fmla="*/ 7 h 7"/>
                  <a:gd name="T4" fmla="*/ 0 w 5"/>
                  <a:gd name="T5" fmla="*/ 0 h 7"/>
                </a:gdLst>
                <a:ahLst/>
                <a:cxnLst>
                  <a:cxn ang="0">
                    <a:pos x="T0" y="T1"/>
                  </a:cxn>
                  <a:cxn ang="0">
                    <a:pos x="T2" y="T3"/>
                  </a:cxn>
                  <a:cxn ang="0">
                    <a:pos x="T4" y="T5"/>
                  </a:cxn>
                </a:cxnLst>
                <a:rect l="0" t="0" r="r" b="b"/>
                <a:pathLst>
                  <a:path w="5" h="7">
                    <a:moveTo>
                      <a:pt x="0" y="0"/>
                    </a:moveTo>
                    <a:cubicBezTo>
                      <a:pt x="1" y="2"/>
                      <a:pt x="2" y="4"/>
                      <a:pt x="4" y="7"/>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 name="Freeform 91">
                <a:extLst>
                  <a:ext uri="{FF2B5EF4-FFF2-40B4-BE49-F238E27FC236}">
                    <a16:creationId xmlns:a16="http://schemas.microsoft.com/office/drawing/2014/main" id="{426A21D3-AC94-4B1F-8F5E-465BFC656C8F}"/>
                  </a:ext>
                </a:extLst>
              </p:cNvPr>
              <p:cNvSpPr>
                <a:spLocks/>
              </p:cNvSpPr>
              <p:nvPr/>
            </p:nvSpPr>
            <p:spPr bwMode="auto">
              <a:xfrm>
                <a:off x="4133" y="205"/>
                <a:ext cx="62" cy="108"/>
              </a:xfrm>
              <a:custGeom>
                <a:avLst/>
                <a:gdLst>
                  <a:gd name="T0" fmla="*/ 21 w 26"/>
                  <a:gd name="T1" fmla="*/ 0 h 46"/>
                  <a:gd name="T2" fmla="*/ 20 w 26"/>
                  <a:gd name="T3" fmla="*/ 0 h 46"/>
                  <a:gd name="T4" fmla="*/ 17 w 26"/>
                  <a:gd name="T5" fmla="*/ 8 h 46"/>
                  <a:gd name="T6" fmla="*/ 2 w 26"/>
                  <a:gd name="T7" fmla="*/ 17 h 46"/>
                  <a:gd name="T8" fmla="*/ 2 w 26"/>
                  <a:gd name="T9" fmla="*/ 29 h 46"/>
                  <a:gd name="T10" fmla="*/ 6 w 26"/>
                  <a:gd name="T11" fmla="*/ 32 h 46"/>
                  <a:gd name="T12" fmla="*/ 4 w 26"/>
                  <a:gd name="T13" fmla="*/ 35 h 46"/>
                  <a:gd name="T14" fmla="*/ 8 w 26"/>
                  <a:gd name="T15" fmla="*/ 36 h 46"/>
                  <a:gd name="T16" fmla="*/ 17 w 26"/>
                  <a:gd name="T17" fmla="*/ 46 h 46"/>
                  <a:gd name="T18" fmla="*/ 25 w 26"/>
                  <a:gd name="T19" fmla="*/ 21 h 46"/>
                  <a:gd name="T20" fmla="*/ 24 w 26"/>
                  <a:gd name="T21" fmla="*/ 10 h 46"/>
                  <a:gd name="T22" fmla="*/ 21 w 26"/>
                  <a:gd name="T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6">
                    <a:moveTo>
                      <a:pt x="21" y="0"/>
                    </a:moveTo>
                    <a:cubicBezTo>
                      <a:pt x="20" y="0"/>
                      <a:pt x="20" y="0"/>
                      <a:pt x="20" y="0"/>
                    </a:cubicBezTo>
                    <a:cubicBezTo>
                      <a:pt x="20" y="3"/>
                      <a:pt x="21" y="8"/>
                      <a:pt x="17" y="8"/>
                    </a:cubicBezTo>
                    <a:cubicBezTo>
                      <a:pt x="11" y="8"/>
                      <a:pt x="7" y="14"/>
                      <a:pt x="2" y="17"/>
                    </a:cubicBezTo>
                    <a:cubicBezTo>
                      <a:pt x="0" y="19"/>
                      <a:pt x="5" y="27"/>
                      <a:pt x="2" y="29"/>
                    </a:cubicBezTo>
                    <a:cubicBezTo>
                      <a:pt x="5" y="30"/>
                      <a:pt x="7" y="29"/>
                      <a:pt x="6" y="32"/>
                    </a:cubicBezTo>
                    <a:cubicBezTo>
                      <a:pt x="6" y="33"/>
                      <a:pt x="6" y="35"/>
                      <a:pt x="4" y="35"/>
                    </a:cubicBezTo>
                    <a:cubicBezTo>
                      <a:pt x="5" y="36"/>
                      <a:pt x="7" y="36"/>
                      <a:pt x="8" y="36"/>
                    </a:cubicBezTo>
                    <a:cubicBezTo>
                      <a:pt x="5" y="43"/>
                      <a:pt x="12" y="43"/>
                      <a:pt x="17" y="46"/>
                    </a:cubicBezTo>
                    <a:cubicBezTo>
                      <a:pt x="20" y="38"/>
                      <a:pt x="22" y="30"/>
                      <a:pt x="25" y="21"/>
                    </a:cubicBezTo>
                    <a:cubicBezTo>
                      <a:pt x="26" y="19"/>
                      <a:pt x="25" y="13"/>
                      <a:pt x="24" y="10"/>
                    </a:cubicBezTo>
                    <a:cubicBezTo>
                      <a:pt x="24" y="7"/>
                      <a:pt x="25"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 name="Freeform 92">
                <a:extLst>
                  <a:ext uri="{FF2B5EF4-FFF2-40B4-BE49-F238E27FC236}">
                    <a16:creationId xmlns:a16="http://schemas.microsoft.com/office/drawing/2014/main" id="{BB83F43D-82D3-4558-A3DB-5821CA35F30E}"/>
                  </a:ext>
                </a:extLst>
              </p:cNvPr>
              <p:cNvSpPr>
                <a:spLocks/>
              </p:cNvSpPr>
              <p:nvPr/>
            </p:nvSpPr>
            <p:spPr bwMode="auto">
              <a:xfrm>
                <a:off x="6466" y="1261"/>
                <a:ext cx="12" cy="26"/>
              </a:xfrm>
              <a:custGeom>
                <a:avLst/>
                <a:gdLst>
                  <a:gd name="T0" fmla="*/ 2 w 5"/>
                  <a:gd name="T1" fmla="*/ 0 h 11"/>
                  <a:gd name="T2" fmla="*/ 1 w 5"/>
                  <a:gd name="T3" fmla="*/ 0 h 11"/>
                  <a:gd name="T4" fmla="*/ 3 w 5"/>
                  <a:gd name="T5" fmla="*/ 11 h 11"/>
                  <a:gd name="T6" fmla="*/ 4 w 5"/>
                  <a:gd name="T7" fmla="*/ 4 h 11"/>
                  <a:gd name="T8" fmla="*/ 4 w 5"/>
                  <a:gd name="T9" fmla="*/ 1 h 11"/>
                  <a:gd name="T10" fmla="*/ 2 w 5"/>
                  <a:gd name="T11" fmla="*/ 0 h 11"/>
                </a:gdLst>
                <a:ahLst/>
                <a:cxnLst>
                  <a:cxn ang="0">
                    <a:pos x="T0" y="T1"/>
                  </a:cxn>
                  <a:cxn ang="0">
                    <a:pos x="T2" y="T3"/>
                  </a:cxn>
                  <a:cxn ang="0">
                    <a:pos x="T4" y="T5"/>
                  </a:cxn>
                  <a:cxn ang="0">
                    <a:pos x="T6" y="T7"/>
                  </a:cxn>
                  <a:cxn ang="0">
                    <a:pos x="T8" y="T9"/>
                  </a:cxn>
                  <a:cxn ang="0">
                    <a:pos x="T10" y="T11"/>
                  </a:cxn>
                </a:cxnLst>
                <a:rect l="0" t="0" r="r" b="b"/>
                <a:pathLst>
                  <a:path w="5" h="11">
                    <a:moveTo>
                      <a:pt x="2" y="0"/>
                    </a:moveTo>
                    <a:cubicBezTo>
                      <a:pt x="2" y="0"/>
                      <a:pt x="2" y="0"/>
                      <a:pt x="1" y="0"/>
                    </a:cubicBezTo>
                    <a:cubicBezTo>
                      <a:pt x="0" y="1"/>
                      <a:pt x="3" y="10"/>
                      <a:pt x="3" y="11"/>
                    </a:cubicBezTo>
                    <a:cubicBezTo>
                      <a:pt x="4" y="9"/>
                      <a:pt x="5" y="6"/>
                      <a:pt x="4" y="4"/>
                    </a:cubicBezTo>
                    <a:cubicBezTo>
                      <a:pt x="4" y="3"/>
                      <a:pt x="2" y="1"/>
                      <a:pt x="4"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 name="Freeform 93">
                <a:extLst>
                  <a:ext uri="{FF2B5EF4-FFF2-40B4-BE49-F238E27FC236}">
                    <a16:creationId xmlns:a16="http://schemas.microsoft.com/office/drawing/2014/main" id="{6B0AB959-3430-42F5-901D-17A8B47E9712}"/>
                  </a:ext>
                </a:extLst>
              </p:cNvPr>
              <p:cNvSpPr>
                <a:spLocks/>
              </p:cNvSpPr>
              <p:nvPr/>
            </p:nvSpPr>
            <p:spPr bwMode="auto">
              <a:xfrm>
                <a:off x="6735" y="1216"/>
                <a:ext cx="57" cy="26"/>
              </a:xfrm>
              <a:custGeom>
                <a:avLst/>
                <a:gdLst>
                  <a:gd name="T0" fmla="*/ 20 w 24"/>
                  <a:gd name="T1" fmla="*/ 0 h 11"/>
                  <a:gd name="T2" fmla="*/ 17 w 24"/>
                  <a:gd name="T3" fmla="*/ 1 h 11"/>
                  <a:gd name="T4" fmla="*/ 12 w 24"/>
                  <a:gd name="T5" fmla="*/ 1 h 11"/>
                  <a:gd name="T6" fmla="*/ 12 w 24"/>
                  <a:gd name="T7" fmla="*/ 1 h 11"/>
                  <a:gd name="T8" fmla="*/ 9 w 24"/>
                  <a:gd name="T9" fmla="*/ 5 h 11"/>
                  <a:gd name="T10" fmla="*/ 6 w 24"/>
                  <a:gd name="T11" fmla="*/ 6 h 11"/>
                  <a:gd name="T12" fmla="*/ 0 w 24"/>
                  <a:gd name="T13" fmla="*/ 11 h 11"/>
                  <a:gd name="T14" fmla="*/ 2 w 24"/>
                  <a:gd name="T15" fmla="*/ 10 h 11"/>
                  <a:gd name="T16" fmla="*/ 14 w 24"/>
                  <a:gd name="T17" fmla="*/ 6 h 11"/>
                  <a:gd name="T18" fmla="*/ 14 w 24"/>
                  <a:gd name="T19" fmla="*/ 6 h 11"/>
                  <a:gd name="T20" fmla="*/ 15 w 24"/>
                  <a:gd name="T21" fmla="*/ 7 h 11"/>
                  <a:gd name="T22" fmla="*/ 16 w 24"/>
                  <a:gd name="T23" fmla="*/ 7 h 11"/>
                  <a:gd name="T24" fmla="*/ 17 w 24"/>
                  <a:gd name="T25" fmla="*/ 7 h 11"/>
                  <a:gd name="T26" fmla="*/ 19 w 24"/>
                  <a:gd name="T27" fmla="*/ 5 h 11"/>
                  <a:gd name="T28" fmla="*/ 24 w 24"/>
                  <a:gd name="T29" fmla="*/ 1 h 11"/>
                  <a:gd name="T30" fmla="*/ 21 w 24"/>
                  <a:gd name="T31" fmla="*/ 1 h 11"/>
                  <a:gd name="T32" fmla="*/ 20 w 24"/>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1">
                    <a:moveTo>
                      <a:pt x="20" y="0"/>
                    </a:moveTo>
                    <a:cubicBezTo>
                      <a:pt x="19" y="0"/>
                      <a:pt x="18" y="1"/>
                      <a:pt x="17" y="1"/>
                    </a:cubicBezTo>
                    <a:cubicBezTo>
                      <a:pt x="17" y="1"/>
                      <a:pt x="13" y="1"/>
                      <a:pt x="12" y="1"/>
                    </a:cubicBezTo>
                    <a:cubicBezTo>
                      <a:pt x="12" y="1"/>
                      <a:pt x="12" y="1"/>
                      <a:pt x="12" y="1"/>
                    </a:cubicBezTo>
                    <a:cubicBezTo>
                      <a:pt x="10" y="2"/>
                      <a:pt x="13" y="4"/>
                      <a:pt x="9" y="5"/>
                    </a:cubicBezTo>
                    <a:cubicBezTo>
                      <a:pt x="8" y="6"/>
                      <a:pt x="7" y="6"/>
                      <a:pt x="6" y="6"/>
                    </a:cubicBezTo>
                    <a:cubicBezTo>
                      <a:pt x="4" y="7"/>
                      <a:pt x="1" y="8"/>
                      <a:pt x="0" y="11"/>
                    </a:cubicBezTo>
                    <a:cubicBezTo>
                      <a:pt x="1" y="11"/>
                      <a:pt x="2" y="11"/>
                      <a:pt x="2" y="10"/>
                    </a:cubicBezTo>
                    <a:cubicBezTo>
                      <a:pt x="6" y="9"/>
                      <a:pt x="10" y="7"/>
                      <a:pt x="14" y="6"/>
                    </a:cubicBezTo>
                    <a:cubicBezTo>
                      <a:pt x="14" y="6"/>
                      <a:pt x="14" y="6"/>
                      <a:pt x="14" y="6"/>
                    </a:cubicBezTo>
                    <a:cubicBezTo>
                      <a:pt x="15" y="6"/>
                      <a:pt x="15" y="6"/>
                      <a:pt x="15" y="7"/>
                    </a:cubicBezTo>
                    <a:cubicBezTo>
                      <a:pt x="15" y="7"/>
                      <a:pt x="15" y="7"/>
                      <a:pt x="16" y="7"/>
                    </a:cubicBezTo>
                    <a:cubicBezTo>
                      <a:pt x="16" y="7"/>
                      <a:pt x="16" y="7"/>
                      <a:pt x="17" y="7"/>
                    </a:cubicBezTo>
                    <a:cubicBezTo>
                      <a:pt x="17" y="6"/>
                      <a:pt x="18" y="5"/>
                      <a:pt x="19" y="5"/>
                    </a:cubicBezTo>
                    <a:cubicBezTo>
                      <a:pt x="21" y="3"/>
                      <a:pt x="21" y="1"/>
                      <a:pt x="24" y="1"/>
                    </a:cubicBezTo>
                    <a:cubicBezTo>
                      <a:pt x="23" y="1"/>
                      <a:pt x="22" y="1"/>
                      <a:pt x="21" y="1"/>
                    </a:cubicBezTo>
                    <a:cubicBezTo>
                      <a:pt x="21" y="1"/>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 name="Freeform 94">
                <a:extLst>
                  <a:ext uri="{FF2B5EF4-FFF2-40B4-BE49-F238E27FC236}">
                    <a16:creationId xmlns:a16="http://schemas.microsoft.com/office/drawing/2014/main" id="{6379D958-E540-485F-8755-EE69092EA1F2}"/>
                  </a:ext>
                </a:extLst>
              </p:cNvPr>
              <p:cNvSpPr>
                <a:spLocks/>
              </p:cNvSpPr>
              <p:nvPr/>
            </p:nvSpPr>
            <p:spPr bwMode="auto">
              <a:xfrm>
                <a:off x="6643" y="1379"/>
                <a:ext cx="26" cy="7"/>
              </a:xfrm>
              <a:custGeom>
                <a:avLst/>
                <a:gdLst>
                  <a:gd name="T0" fmla="*/ 5 w 11"/>
                  <a:gd name="T1" fmla="*/ 0 h 3"/>
                  <a:gd name="T2" fmla="*/ 0 w 11"/>
                  <a:gd name="T3" fmla="*/ 2 h 3"/>
                  <a:gd name="T4" fmla="*/ 4 w 11"/>
                  <a:gd name="T5" fmla="*/ 3 h 3"/>
                  <a:gd name="T6" fmla="*/ 6 w 11"/>
                  <a:gd name="T7" fmla="*/ 0 h 3"/>
                  <a:gd name="T8" fmla="*/ 5 w 11"/>
                  <a:gd name="T9" fmla="*/ 0 h 3"/>
                </a:gdLst>
                <a:ahLst/>
                <a:cxnLst>
                  <a:cxn ang="0">
                    <a:pos x="T0" y="T1"/>
                  </a:cxn>
                  <a:cxn ang="0">
                    <a:pos x="T2" y="T3"/>
                  </a:cxn>
                  <a:cxn ang="0">
                    <a:pos x="T4" y="T5"/>
                  </a:cxn>
                  <a:cxn ang="0">
                    <a:pos x="T6" y="T7"/>
                  </a:cxn>
                  <a:cxn ang="0">
                    <a:pos x="T8" y="T9"/>
                  </a:cxn>
                </a:cxnLst>
                <a:rect l="0" t="0" r="r" b="b"/>
                <a:pathLst>
                  <a:path w="11" h="3">
                    <a:moveTo>
                      <a:pt x="5" y="0"/>
                    </a:moveTo>
                    <a:cubicBezTo>
                      <a:pt x="3" y="0"/>
                      <a:pt x="2" y="1"/>
                      <a:pt x="0" y="2"/>
                    </a:cubicBezTo>
                    <a:cubicBezTo>
                      <a:pt x="1" y="2"/>
                      <a:pt x="2" y="2"/>
                      <a:pt x="4" y="3"/>
                    </a:cubicBezTo>
                    <a:cubicBezTo>
                      <a:pt x="6" y="3"/>
                      <a:pt x="11" y="1"/>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 name="Freeform 95">
                <a:extLst>
                  <a:ext uri="{FF2B5EF4-FFF2-40B4-BE49-F238E27FC236}">
                    <a16:creationId xmlns:a16="http://schemas.microsoft.com/office/drawing/2014/main" id="{7B98B059-EC2F-45D3-BCB3-5756D5C8D4CF}"/>
                  </a:ext>
                </a:extLst>
              </p:cNvPr>
              <p:cNvSpPr>
                <a:spLocks/>
              </p:cNvSpPr>
              <p:nvPr/>
            </p:nvSpPr>
            <p:spPr bwMode="auto">
              <a:xfrm>
                <a:off x="7428" y="1391"/>
                <a:ext cx="9" cy="14"/>
              </a:xfrm>
              <a:custGeom>
                <a:avLst/>
                <a:gdLst>
                  <a:gd name="T0" fmla="*/ 0 w 4"/>
                  <a:gd name="T1" fmla="*/ 0 h 6"/>
                  <a:gd name="T2" fmla="*/ 1 w 4"/>
                  <a:gd name="T3" fmla="*/ 1 h 6"/>
                  <a:gd name="T4" fmla="*/ 0 w 4"/>
                  <a:gd name="T5" fmla="*/ 1 h 6"/>
                  <a:gd name="T6" fmla="*/ 0 w 4"/>
                  <a:gd name="T7" fmla="*/ 6 h 6"/>
                  <a:gd name="T8" fmla="*/ 4 w 4"/>
                  <a:gd name="T9" fmla="*/ 2 h 6"/>
                  <a:gd name="T10" fmla="*/ 2 w 4"/>
                  <a:gd name="T11" fmla="*/ 1 h 6"/>
                  <a:gd name="T12" fmla="*/ 4 w 4"/>
                  <a:gd name="T13" fmla="*/ 1 h 6"/>
                  <a:gd name="T14" fmla="*/ 4 w 4"/>
                  <a:gd name="T15" fmla="*/ 1 h 6"/>
                  <a:gd name="T16" fmla="*/ 0 w 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0" y="0"/>
                    </a:moveTo>
                    <a:cubicBezTo>
                      <a:pt x="1" y="0"/>
                      <a:pt x="1" y="1"/>
                      <a:pt x="1" y="1"/>
                    </a:cubicBezTo>
                    <a:cubicBezTo>
                      <a:pt x="1" y="1"/>
                      <a:pt x="1" y="1"/>
                      <a:pt x="0" y="1"/>
                    </a:cubicBezTo>
                    <a:cubicBezTo>
                      <a:pt x="0" y="2"/>
                      <a:pt x="0" y="4"/>
                      <a:pt x="0" y="6"/>
                    </a:cubicBezTo>
                    <a:cubicBezTo>
                      <a:pt x="4" y="6"/>
                      <a:pt x="1" y="4"/>
                      <a:pt x="4" y="2"/>
                    </a:cubicBezTo>
                    <a:cubicBezTo>
                      <a:pt x="3" y="2"/>
                      <a:pt x="2" y="1"/>
                      <a:pt x="2" y="1"/>
                    </a:cubicBezTo>
                    <a:cubicBezTo>
                      <a:pt x="2" y="1"/>
                      <a:pt x="3" y="1"/>
                      <a:pt x="4" y="1"/>
                    </a:cubicBezTo>
                    <a:cubicBezTo>
                      <a:pt x="4" y="1"/>
                      <a:pt x="4" y="1"/>
                      <a:pt x="4" y="1"/>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 name="Freeform 96">
                <a:extLst>
                  <a:ext uri="{FF2B5EF4-FFF2-40B4-BE49-F238E27FC236}">
                    <a16:creationId xmlns:a16="http://schemas.microsoft.com/office/drawing/2014/main" id="{5C525058-E477-4E5B-ABFD-DE34EDD54321}"/>
                  </a:ext>
                </a:extLst>
              </p:cNvPr>
              <p:cNvSpPr>
                <a:spLocks/>
              </p:cNvSpPr>
              <p:nvPr/>
            </p:nvSpPr>
            <p:spPr bwMode="auto">
              <a:xfrm>
                <a:off x="7414" y="1389"/>
                <a:ext cx="9" cy="12"/>
              </a:xfrm>
              <a:custGeom>
                <a:avLst/>
                <a:gdLst>
                  <a:gd name="T0" fmla="*/ 4 w 4"/>
                  <a:gd name="T1" fmla="*/ 0 h 5"/>
                  <a:gd name="T2" fmla="*/ 0 w 4"/>
                  <a:gd name="T3" fmla="*/ 3 h 5"/>
                  <a:gd name="T4" fmla="*/ 2 w 4"/>
                  <a:gd name="T5" fmla="*/ 5 h 5"/>
                  <a:gd name="T6" fmla="*/ 4 w 4"/>
                  <a:gd name="T7" fmla="*/ 4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2" y="1"/>
                      <a:pt x="0" y="1"/>
                      <a:pt x="0" y="3"/>
                    </a:cubicBezTo>
                    <a:cubicBezTo>
                      <a:pt x="0" y="4"/>
                      <a:pt x="1" y="5"/>
                      <a:pt x="2" y="5"/>
                    </a:cubicBezTo>
                    <a:cubicBezTo>
                      <a:pt x="2" y="5"/>
                      <a:pt x="3" y="5"/>
                      <a:pt x="4" y="4"/>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 name="Freeform 97">
                <a:extLst>
                  <a:ext uri="{FF2B5EF4-FFF2-40B4-BE49-F238E27FC236}">
                    <a16:creationId xmlns:a16="http://schemas.microsoft.com/office/drawing/2014/main" id="{B81BF2F4-3EEE-4918-8A10-EE61A53220F8}"/>
                  </a:ext>
                </a:extLst>
              </p:cNvPr>
              <p:cNvSpPr>
                <a:spLocks/>
              </p:cNvSpPr>
              <p:nvPr/>
            </p:nvSpPr>
            <p:spPr bwMode="auto">
              <a:xfrm>
                <a:off x="7433" y="1394"/>
                <a:ext cx="11" cy="14"/>
              </a:xfrm>
              <a:custGeom>
                <a:avLst/>
                <a:gdLst>
                  <a:gd name="T0" fmla="*/ 4 w 5"/>
                  <a:gd name="T1" fmla="*/ 0 h 6"/>
                  <a:gd name="T2" fmla="*/ 5 w 5"/>
                  <a:gd name="T3" fmla="*/ 6 h 6"/>
                  <a:gd name="T4" fmla="*/ 4 w 5"/>
                  <a:gd name="T5" fmla="*/ 0 h 6"/>
                </a:gdLst>
                <a:ahLst/>
                <a:cxnLst>
                  <a:cxn ang="0">
                    <a:pos x="T0" y="T1"/>
                  </a:cxn>
                  <a:cxn ang="0">
                    <a:pos x="T2" y="T3"/>
                  </a:cxn>
                  <a:cxn ang="0">
                    <a:pos x="T4" y="T5"/>
                  </a:cxn>
                </a:cxnLst>
                <a:rect l="0" t="0" r="r" b="b"/>
                <a:pathLst>
                  <a:path w="5" h="6">
                    <a:moveTo>
                      <a:pt x="4" y="0"/>
                    </a:moveTo>
                    <a:cubicBezTo>
                      <a:pt x="0" y="2"/>
                      <a:pt x="1" y="3"/>
                      <a:pt x="5" y="6"/>
                    </a:cubicBezTo>
                    <a:cubicBezTo>
                      <a:pt x="5"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 name="Freeform 98">
                <a:extLst>
                  <a:ext uri="{FF2B5EF4-FFF2-40B4-BE49-F238E27FC236}">
                    <a16:creationId xmlns:a16="http://schemas.microsoft.com/office/drawing/2014/main" id="{F711AA5C-251F-4FB4-8ACF-845278C2F92B}"/>
                  </a:ext>
                </a:extLst>
              </p:cNvPr>
              <p:cNvSpPr>
                <a:spLocks/>
              </p:cNvSpPr>
              <p:nvPr/>
            </p:nvSpPr>
            <p:spPr bwMode="auto">
              <a:xfrm>
                <a:off x="5455" y="682"/>
                <a:ext cx="130" cy="66"/>
              </a:xfrm>
              <a:custGeom>
                <a:avLst/>
                <a:gdLst>
                  <a:gd name="T0" fmla="*/ 55 w 55"/>
                  <a:gd name="T1" fmla="*/ 0 h 28"/>
                  <a:gd name="T2" fmla="*/ 33 w 55"/>
                  <a:gd name="T3" fmla="*/ 9 h 28"/>
                  <a:gd name="T4" fmla="*/ 32 w 55"/>
                  <a:gd name="T5" fmla="*/ 9 h 28"/>
                  <a:gd name="T6" fmla="*/ 28 w 55"/>
                  <a:gd name="T7" fmla="*/ 9 h 28"/>
                  <a:gd name="T8" fmla="*/ 24 w 55"/>
                  <a:gd name="T9" fmla="*/ 9 h 28"/>
                  <a:gd name="T10" fmla="*/ 16 w 55"/>
                  <a:gd name="T11" fmla="*/ 8 h 28"/>
                  <a:gd name="T12" fmla="*/ 14 w 55"/>
                  <a:gd name="T13" fmla="*/ 12 h 28"/>
                  <a:gd name="T14" fmla="*/ 6 w 55"/>
                  <a:gd name="T15" fmla="*/ 15 h 28"/>
                  <a:gd name="T16" fmla="*/ 4 w 55"/>
                  <a:gd name="T17" fmla="*/ 17 h 28"/>
                  <a:gd name="T18" fmla="*/ 4 w 55"/>
                  <a:gd name="T19" fmla="*/ 17 h 28"/>
                  <a:gd name="T20" fmla="*/ 2 w 55"/>
                  <a:gd name="T21" fmla="*/ 16 h 28"/>
                  <a:gd name="T22" fmla="*/ 1 w 55"/>
                  <a:gd name="T23" fmla="*/ 16 h 28"/>
                  <a:gd name="T24" fmla="*/ 1 w 55"/>
                  <a:gd name="T25" fmla="*/ 16 h 28"/>
                  <a:gd name="T26" fmla="*/ 4 w 55"/>
                  <a:gd name="T27" fmla="*/ 25 h 28"/>
                  <a:gd name="T28" fmla="*/ 16 w 55"/>
                  <a:gd name="T29" fmla="*/ 28 h 28"/>
                  <a:gd name="T30" fmla="*/ 17 w 55"/>
                  <a:gd name="T31" fmla="*/ 28 h 28"/>
                  <a:gd name="T32" fmla="*/ 31 w 55"/>
                  <a:gd name="T33" fmla="*/ 23 h 28"/>
                  <a:gd name="T34" fmla="*/ 34 w 55"/>
                  <a:gd name="T35" fmla="*/ 19 h 28"/>
                  <a:gd name="T36" fmla="*/ 39 w 55"/>
                  <a:gd name="T37" fmla="*/ 19 h 28"/>
                  <a:gd name="T38" fmla="*/ 39 w 55"/>
                  <a:gd name="T39" fmla="*/ 19 h 28"/>
                  <a:gd name="T40" fmla="*/ 38 w 55"/>
                  <a:gd name="T41" fmla="*/ 17 h 28"/>
                  <a:gd name="T42" fmla="*/ 41 w 55"/>
                  <a:gd name="T43" fmla="*/ 19 h 28"/>
                  <a:gd name="T44" fmla="*/ 42 w 55"/>
                  <a:gd name="T45" fmla="*/ 19 h 28"/>
                  <a:gd name="T46" fmla="*/ 43 w 55"/>
                  <a:gd name="T47" fmla="*/ 19 h 28"/>
                  <a:gd name="T48" fmla="*/ 40 w 55"/>
                  <a:gd name="T49" fmla="*/ 10 h 28"/>
                  <a:gd name="T50" fmla="*/ 43 w 55"/>
                  <a:gd name="T51" fmla="*/ 9 h 28"/>
                  <a:gd name="T52" fmla="*/ 44 w 55"/>
                  <a:gd name="T53" fmla="*/ 7 h 28"/>
                  <a:gd name="T54" fmla="*/ 48 w 55"/>
                  <a:gd name="T55" fmla="*/ 5 h 28"/>
                  <a:gd name="T56" fmla="*/ 55 w 55"/>
                  <a:gd name="T5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28">
                    <a:moveTo>
                      <a:pt x="55" y="0"/>
                    </a:moveTo>
                    <a:cubicBezTo>
                      <a:pt x="48" y="3"/>
                      <a:pt x="40" y="6"/>
                      <a:pt x="33" y="9"/>
                    </a:cubicBezTo>
                    <a:cubicBezTo>
                      <a:pt x="33" y="9"/>
                      <a:pt x="33" y="9"/>
                      <a:pt x="32" y="9"/>
                    </a:cubicBezTo>
                    <a:cubicBezTo>
                      <a:pt x="31" y="9"/>
                      <a:pt x="30" y="9"/>
                      <a:pt x="28" y="9"/>
                    </a:cubicBezTo>
                    <a:cubicBezTo>
                      <a:pt x="27" y="9"/>
                      <a:pt x="25" y="9"/>
                      <a:pt x="24" y="9"/>
                    </a:cubicBezTo>
                    <a:cubicBezTo>
                      <a:pt x="21" y="9"/>
                      <a:pt x="18" y="9"/>
                      <a:pt x="16" y="8"/>
                    </a:cubicBezTo>
                    <a:cubicBezTo>
                      <a:pt x="16" y="11"/>
                      <a:pt x="17" y="11"/>
                      <a:pt x="14" y="12"/>
                    </a:cubicBezTo>
                    <a:cubicBezTo>
                      <a:pt x="10" y="13"/>
                      <a:pt x="8" y="13"/>
                      <a:pt x="6" y="15"/>
                    </a:cubicBezTo>
                    <a:cubicBezTo>
                      <a:pt x="5" y="16"/>
                      <a:pt x="5" y="17"/>
                      <a:pt x="4" y="17"/>
                    </a:cubicBezTo>
                    <a:cubicBezTo>
                      <a:pt x="4" y="17"/>
                      <a:pt x="4" y="17"/>
                      <a:pt x="4" y="17"/>
                    </a:cubicBezTo>
                    <a:cubicBezTo>
                      <a:pt x="3" y="17"/>
                      <a:pt x="3" y="17"/>
                      <a:pt x="2" y="16"/>
                    </a:cubicBezTo>
                    <a:cubicBezTo>
                      <a:pt x="1" y="16"/>
                      <a:pt x="1" y="16"/>
                      <a:pt x="1" y="16"/>
                    </a:cubicBezTo>
                    <a:cubicBezTo>
                      <a:pt x="1" y="16"/>
                      <a:pt x="1" y="16"/>
                      <a:pt x="1" y="16"/>
                    </a:cubicBezTo>
                    <a:cubicBezTo>
                      <a:pt x="0" y="16"/>
                      <a:pt x="3" y="24"/>
                      <a:pt x="4" y="25"/>
                    </a:cubicBezTo>
                    <a:cubicBezTo>
                      <a:pt x="7" y="28"/>
                      <a:pt x="12" y="27"/>
                      <a:pt x="16" y="28"/>
                    </a:cubicBezTo>
                    <a:cubicBezTo>
                      <a:pt x="16" y="28"/>
                      <a:pt x="17" y="28"/>
                      <a:pt x="17" y="28"/>
                    </a:cubicBezTo>
                    <a:cubicBezTo>
                      <a:pt x="22" y="28"/>
                      <a:pt x="27" y="25"/>
                      <a:pt x="31" y="23"/>
                    </a:cubicBezTo>
                    <a:cubicBezTo>
                      <a:pt x="33" y="22"/>
                      <a:pt x="33" y="20"/>
                      <a:pt x="34" y="19"/>
                    </a:cubicBezTo>
                    <a:cubicBezTo>
                      <a:pt x="36" y="19"/>
                      <a:pt x="37" y="19"/>
                      <a:pt x="39" y="19"/>
                    </a:cubicBezTo>
                    <a:cubicBezTo>
                      <a:pt x="39" y="19"/>
                      <a:pt x="39" y="19"/>
                      <a:pt x="39" y="19"/>
                    </a:cubicBezTo>
                    <a:cubicBezTo>
                      <a:pt x="40" y="19"/>
                      <a:pt x="38" y="17"/>
                      <a:pt x="38" y="17"/>
                    </a:cubicBezTo>
                    <a:cubicBezTo>
                      <a:pt x="39" y="18"/>
                      <a:pt x="39" y="19"/>
                      <a:pt x="41" y="19"/>
                    </a:cubicBezTo>
                    <a:cubicBezTo>
                      <a:pt x="41" y="19"/>
                      <a:pt x="41" y="19"/>
                      <a:pt x="42" y="19"/>
                    </a:cubicBezTo>
                    <a:cubicBezTo>
                      <a:pt x="43" y="19"/>
                      <a:pt x="43" y="19"/>
                      <a:pt x="43" y="19"/>
                    </a:cubicBezTo>
                    <a:cubicBezTo>
                      <a:pt x="42" y="16"/>
                      <a:pt x="38" y="13"/>
                      <a:pt x="40" y="10"/>
                    </a:cubicBezTo>
                    <a:cubicBezTo>
                      <a:pt x="43" y="9"/>
                      <a:pt x="43" y="9"/>
                      <a:pt x="43" y="9"/>
                    </a:cubicBezTo>
                    <a:cubicBezTo>
                      <a:pt x="43" y="9"/>
                      <a:pt x="44" y="8"/>
                      <a:pt x="44" y="7"/>
                    </a:cubicBezTo>
                    <a:cubicBezTo>
                      <a:pt x="45" y="6"/>
                      <a:pt x="47" y="6"/>
                      <a:pt x="48" y="5"/>
                    </a:cubicBezTo>
                    <a:cubicBezTo>
                      <a:pt x="50" y="4"/>
                      <a:pt x="55" y="1"/>
                      <a:pt x="5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 name="Freeform 99">
                <a:extLst>
                  <a:ext uri="{FF2B5EF4-FFF2-40B4-BE49-F238E27FC236}">
                    <a16:creationId xmlns:a16="http://schemas.microsoft.com/office/drawing/2014/main" id="{45901523-3C9F-48BC-B4F2-AC553A7A650A}"/>
                  </a:ext>
                </a:extLst>
              </p:cNvPr>
              <p:cNvSpPr>
                <a:spLocks/>
              </p:cNvSpPr>
              <p:nvPr/>
            </p:nvSpPr>
            <p:spPr bwMode="auto">
              <a:xfrm>
                <a:off x="7000" y="-1"/>
                <a:ext cx="24" cy="9"/>
              </a:xfrm>
              <a:custGeom>
                <a:avLst/>
                <a:gdLst>
                  <a:gd name="T0" fmla="*/ 7 w 10"/>
                  <a:gd name="T1" fmla="*/ 0 h 4"/>
                  <a:gd name="T2" fmla="*/ 0 w 10"/>
                  <a:gd name="T3" fmla="*/ 2 h 4"/>
                  <a:gd name="T4" fmla="*/ 5 w 10"/>
                  <a:gd name="T5" fmla="*/ 4 h 4"/>
                  <a:gd name="T6" fmla="*/ 7 w 10"/>
                  <a:gd name="T7" fmla="*/ 4 h 4"/>
                  <a:gd name="T8" fmla="*/ 10 w 10"/>
                  <a:gd name="T9" fmla="*/ 1 h 4"/>
                  <a:gd name="T10" fmla="*/ 7 w 10"/>
                  <a:gd name="T11" fmla="*/ 0 h 4"/>
                </a:gdLst>
                <a:ahLst/>
                <a:cxnLst>
                  <a:cxn ang="0">
                    <a:pos x="T0" y="T1"/>
                  </a:cxn>
                  <a:cxn ang="0">
                    <a:pos x="T2" y="T3"/>
                  </a:cxn>
                  <a:cxn ang="0">
                    <a:pos x="T4" y="T5"/>
                  </a:cxn>
                  <a:cxn ang="0">
                    <a:pos x="T6" y="T7"/>
                  </a:cxn>
                  <a:cxn ang="0">
                    <a:pos x="T8" y="T9"/>
                  </a:cxn>
                  <a:cxn ang="0">
                    <a:pos x="T10" y="T11"/>
                  </a:cxn>
                </a:cxnLst>
                <a:rect l="0" t="0" r="r" b="b"/>
                <a:pathLst>
                  <a:path w="10" h="4">
                    <a:moveTo>
                      <a:pt x="7" y="0"/>
                    </a:moveTo>
                    <a:cubicBezTo>
                      <a:pt x="4" y="0"/>
                      <a:pt x="0" y="1"/>
                      <a:pt x="0" y="2"/>
                    </a:cubicBezTo>
                    <a:cubicBezTo>
                      <a:pt x="0" y="4"/>
                      <a:pt x="3" y="3"/>
                      <a:pt x="5" y="4"/>
                    </a:cubicBezTo>
                    <a:cubicBezTo>
                      <a:pt x="6" y="4"/>
                      <a:pt x="6" y="4"/>
                      <a:pt x="7" y="4"/>
                    </a:cubicBezTo>
                    <a:cubicBezTo>
                      <a:pt x="9" y="4"/>
                      <a:pt x="10" y="3"/>
                      <a:pt x="10" y="1"/>
                    </a:cubicBezTo>
                    <a:cubicBezTo>
                      <a:pt x="10" y="0"/>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 name="Rectangle 100">
                <a:extLst>
                  <a:ext uri="{FF2B5EF4-FFF2-40B4-BE49-F238E27FC236}">
                    <a16:creationId xmlns:a16="http://schemas.microsoft.com/office/drawing/2014/main" id="{D4693853-BB3A-4959-88DA-284031F533F7}"/>
                  </a:ext>
                </a:extLst>
              </p:cNvPr>
              <p:cNvSpPr>
                <a:spLocks noChangeArrowheads="1"/>
              </p:cNvSpPr>
              <p:nvPr/>
            </p:nvSpPr>
            <p:spPr bwMode="auto">
              <a:xfrm>
                <a:off x="5509" y="112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 name="Freeform 101">
                <a:extLst>
                  <a:ext uri="{FF2B5EF4-FFF2-40B4-BE49-F238E27FC236}">
                    <a16:creationId xmlns:a16="http://schemas.microsoft.com/office/drawing/2014/main" id="{4C811924-80F1-44D0-A413-E49739F58FB5}"/>
                  </a:ext>
                </a:extLst>
              </p:cNvPr>
              <p:cNvSpPr>
                <a:spLocks/>
              </p:cNvSpPr>
              <p:nvPr/>
            </p:nvSpPr>
            <p:spPr bwMode="auto">
              <a:xfrm>
                <a:off x="5509" y="112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 name="Freeform 102">
                <a:extLst>
                  <a:ext uri="{FF2B5EF4-FFF2-40B4-BE49-F238E27FC236}">
                    <a16:creationId xmlns:a16="http://schemas.microsoft.com/office/drawing/2014/main" id="{CA7151A3-B519-4F9F-8750-BEF0498037E6}"/>
                  </a:ext>
                </a:extLst>
              </p:cNvPr>
              <p:cNvSpPr>
                <a:spLocks/>
              </p:cNvSpPr>
              <p:nvPr/>
            </p:nvSpPr>
            <p:spPr bwMode="auto">
              <a:xfrm>
                <a:off x="6499" y="3294"/>
                <a:ext cx="10" cy="2"/>
              </a:xfrm>
              <a:custGeom>
                <a:avLst/>
                <a:gdLst>
                  <a:gd name="T0" fmla="*/ 3 w 4"/>
                  <a:gd name="T1" fmla="*/ 0 h 1"/>
                  <a:gd name="T2" fmla="*/ 0 w 4"/>
                  <a:gd name="T3" fmla="*/ 1 h 1"/>
                  <a:gd name="T4" fmla="*/ 0 w 4"/>
                  <a:gd name="T5" fmla="*/ 1 h 1"/>
                  <a:gd name="T6" fmla="*/ 4 w 4"/>
                  <a:gd name="T7" fmla="*/ 0 h 1"/>
                  <a:gd name="T8" fmla="*/ 3 w 4"/>
                  <a:gd name="T9" fmla="*/ 0 h 1"/>
                </a:gdLst>
                <a:ahLst/>
                <a:cxnLst>
                  <a:cxn ang="0">
                    <a:pos x="T0" y="T1"/>
                  </a:cxn>
                  <a:cxn ang="0">
                    <a:pos x="T2" y="T3"/>
                  </a:cxn>
                  <a:cxn ang="0">
                    <a:pos x="T4" y="T5"/>
                  </a:cxn>
                  <a:cxn ang="0">
                    <a:pos x="T6" y="T7"/>
                  </a:cxn>
                  <a:cxn ang="0">
                    <a:pos x="T8" y="T9"/>
                  </a:cxn>
                </a:cxnLst>
                <a:rect l="0" t="0" r="r" b="b"/>
                <a:pathLst>
                  <a:path w="4" h="1">
                    <a:moveTo>
                      <a:pt x="3" y="0"/>
                    </a:moveTo>
                    <a:cubicBezTo>
                      <a:pt x="2" y="0"/>
                      <a:pt x="1" y="0"/>
                      <a:pt x="0" y="1"/>
                    </a:cubicBezTo>
                    <a:cubicBezTo>
                      <a:pt x="0" y="1"/>
                      <a:pt x="0" y="1"/>
                      <a:pt x="0" y="1"/>
                    </a:cubicBezTo>
                    <a:cubicBezTo>
                      <a:pt x="1" y="1"/>
                      <a:pt x="2"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 name="Freeform 103">
                <a:extLst>
                  <a:ext uri="{FF2B5EF4-FFF2-40B4-BE49-F238E27FC236}">
                    <a16:creationId xmlns:a16="http://schemas.microsoft.com/office/drawing/2014/main" id="{544C61C4-C1F5-4BF7-8087-90CBAFEDC187}"/>
                  </a:ext>
                </a:extLst>
              </p:cNvPr>
              <p:cNvSpPr>
                <a:spLocks/>
              </p:cNvSpPr>
              <p:nvPr/>
            </p:nvSpPr>
            <p:spPr bwMode="auto">
              <a:xfrm>
                <a:off x="5866" y="3181"/>
                <a:ext cx="16" cy="18"/>
              </a:xfrm>
              <a:custGeom>
                <a:avLst/>
                <a:gdLst>
                  <a:gd name="T0" fmla="*/ 6 w 7"/>
                  <a:gd name="T1" fmla="*/ 0 h 8"/>
                  <a:gd name="T2" fmla="*/ 0 w 7"/>
                  <a:gd name="T3" fmla="*/ 8 h 8"/>
                  <a:gd name="T4" fmla="*/ 6 w 7"/>
                  <a:gd name="T5" fmla="*/ 0 h 8"/>
                </a:gdLst>
                <a:ahLst/>
                <a:cxnLst>
                  <a:cxn ang="0">
                    <a:pos x="T0" y="T1"/>
                  </a:cxn>
                  <a:cxn ang="0">
                    <a:pos x="T2" y="T3"/>
                  </a:cxn>
                  <a:cxn ang="0">
                    <a:pos x="T4" y="T5"/>
                  </a:cxn>
                </a:cxnLst>
                <a:rect l="0" t="0" r="r" b="b"/>
                <a:pathLst>
                  <a:path w="7" h="8">
                    <a:moveTo>
                      <a:pt x="6" y="0"/>
                    </a:moveTo>
                    <a:cubicBezTo>
                      <a:pt x="4" y="2"/>
                      <a:pt x="2" y="5"/>
                      <a:pt x="0" y="8"/>
                    </a:cubicBezTo>
                    <a:cubicBezTo>
                      <a:pt x="3" y="6"/>
                      <a:pt x="7"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 name="Freeform 104">
                <a:extLst>
                  <a:ext uri="{FF2B5EF4-FFF2-40B4-BE49-F238E27FC236}">
                    <a16:creationId xmlns:a16="http://schemas.microsoft.com/office/drawing/2014/main" id="{B4E19799-2B21-42FE-8EF1-0BBA669066F3}"/>
                  </a:ext>
                </a:extLst>
              </p:cNvPr>
              <p:cNvSpPr>
                <a:spLocks/>
              </p:cNvSpPr>
              <p:nvPr/>
            </p:nvSpPr>
            <p:spPr bwMode="auto">
              <a:xfrm>
                <a:off x="5840" y="3072"/>
                <a:ext cx="21" cy="40"/>
              </a:xfrm>
              <a:custGeom>
                <a:avLst/>
                <a:gdLst>
                  <a:gd name="T0" fmla="*/ 3 w 9"/>
                  <a:gd name="T1" fmla="*/ 0 h 17"/>
                  <a:gd name="T2" fmla="*/ 0 w 9"/>
                  <a:gd name="T3" fmla="*/ 7 h 17"/>
                  <a:gd name="T4" fmla="*/ 9 w 9"/>
                  <a:gd name="T5" fmla="*/ 17 h 17"/>
                  <a:gd name="T6" fmla="*/ 8 w 9"/>
                  <a:gd name="T7" fmla="*/ 11 h 17"/>
                  <a:gd name="T8" fmla="*/ 7 w 9"/>
                  <a:gd name="T9" fmla="*/ 12 h 17"/>
                  <a:gd name="T10" fmla="*/ 3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3" y="0"/>
                    </a:moveTo>
                    <a:cubicBezTo>
                      <a:pt x="3" y="3"/>
                      <a:pt x="0" y="5"/>
                      <a:pt x="0" y="7"/>
                    </a:cubicBezTo>
                    <a:cubicBezTo>
                      <a:pt x="2" y="12"/>
                      <a:pt x="4" y="15"/>
                      <a:pt x="9" y="17"/>
                    </a:cubicBezTo>
                    <a:cubicBezTo>
                      <a:pt x="9" y="15"/>
                      <a:pt x="9" y="12"/>
                      <a:pt x="8" y="11"/>
                    </a:cubicBezTo>
                    <a:cubicBezTo>
                      <a:pt x="8" y="11"/>
                      <a:pt x="7" y="12"/>
                      <a:pt x="7" y="12"/>
                    </a:cubicBezTo>
                    <a:cubicBezTo>
                      <a:pt x="5" y="1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 name="Freeform 105">
                <a:extLst>
                  <a:ext uri="{FF2B5EF4-FFF2-40B4-BE49-F238E27FC236}">
                    <a16:creationId xmlns:a16="http://schemas.microsoft.com/office/drawing/2014/main" id="{145A2CE7-FD8C-4F7E-8CF5-B97E04E35FDE}"/>
                  </a:ext>
                </a:extLst>
              </p:cNvPr>
              <p:cNvSpPr>
                <a:spLocks/>
              </p:cNvSpPr>
              <p:nvPr/>
            </p:nvSpPr>
            <p:spPr bwMode="auto">
              <a:xfrm>
                <a:off x="5861" y="3025"/>
                <a:ext cx="17" cy="33"/>
              </a:xfrm>
              <a:custGeom>
                <a:avLst/>
                <a:gdLst>
                  <a:gd name="T0" fmla="*/ 3 w 7"/>
                  <a:gd name="T1" fmla="*/ 0 h 14"/>
                  <a:gd name="T2" fmla="*/ 4 w 7"/>
                  <a:gd name="T3" fmla="*/ 8 h 14"/>
                  <a:gd name="T4" fmla="*/ 4 w 7"/>
                  <a:gd name="T5" fmla="*/ 14 h 14"/>
                  <a:gd name="T6" fmla="*/ 7 w 7"/>
                  <a:gd name="T7" fmla="*/ 8 h 14"/>
                  <a:gd name="T8" fmla="*/ 6 w 7"/>
                  <a:gd name="T9" fmla="*/ 5 h 14"/>
                  <a:gd name="T10" fmla="*/ 7 w 7"/>
                  <a:gd name="T11" fmla="*/ 3 h 14"/>
                  <a:gd name="T12" fmla="*/ 6 w 7"/>
                  <a:gd name="T13" fmla="*/ 1 h 14"/>
                  <a:gd name="T14" fmla="*/ 5 w 7"/>
                  <a:gd name="T15" fmla="*/ 1 h 14"/>
                  <a:gd name="T16" fmla="*/ 4 w 7"/>
                  <a:gd name="T17" fmla="*/ 1 h 14"/>
                  <a:gd name="T18" fmla="*/ 3 w 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3" y="0"/>
                    </a:moveTo>
                    <a:cubicBezTo>
                      <a:pt x="3" y="3"/>
                      <a:pt x="4" y="5"/>
                      <a:pt x="4" y="8"/>
                    </a:cubicBezTo>
                    <a:cubicBezTo>
                      <a:pt x="4" y="10"/>
                      <a:pt x="0" y="14"/>
                      <a:pt x="4" y="14"/>
                    </a:cubicBezTo>
                    <a:cubicBezTo>
                      <a:pt x="5" y="12"/>
                      <a:pt x="6" y="10"/>
                      <a:pt x="7" y="8"/>
                    </a:cubicBezTo>
                    <a:cubicBezTo>
                      <a:pt x="7" y="8"/>
                      <a:pt x="6" y="6"/>
                      <a:pt x="6" y="5"/>
                    </a:cubicBezTo>
                    <a:cubicBezTo>
                      <a:pt x="7" y="4"/>
                      <a:pt x="7" y="4"/>
                      <a:pt x="7" y="3"/>
                    </a:cubicBezTo>
                    <a:cubicBezTo>
                      <a:pt x="7" y="2"/>
                      <a:pt x="7" y="1"/>
                      <a:pt x="6" y="1"/>
                    </a:cubicBezTo>
                    <a:cubicBezTo>
                      <a:pt x="6" y="1"/>
                      <a:pt x="6" y="1"/>
                      <a:pt x="5" y="1"/>
                    </a:cubicBezTo>
                    <a:cubicBezTo>
                      <a:pt x="5" y="1"/>
                      <a:pt x="5" y="1"/>
                      <a:pt x="4" y="1"/>
                    </a:cubicBezTo>
                    <a:cubicBezTo>
                      <a:pt x="4"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 name="Freeform 106">
                <a:extLst>
                  <a:ext uri="{FF2B5EF4-FFF2-40B4-BE49-F238E27FC236}">
                    <a16:creationId xmlns:a16="http://schemas.microsoft.com/office/drawing/2014/main" id="{8B3550C2-8186-432F-AC55-C9AA9479364E}"/>
                  </a:ext>
                </a:extLst>
              </p:cNvPr>
              <p:cNvSpPr>
                <a:spLocks/>
              </p:cNvSpPr>
              <p:nvPr/>
            </p:nvSpPr>
            <p:spPr bwMode="auto">
              <a:xfrm>
                <a:off x="5878" y="1864"/>
                <a:ext cx="33" cy="16"/>
              </a:xfrm>
              <a:custGeom>
                <a:avLst/>
                <a:gdLst>
                  <a:gd name="T0" fmla="*/ 4 w 14"/>
                  <a:gd name="T1" fmla="*/ 0 h 7"/>
                  <a:gd name="T2" fmla="*/ 3 w 14"/>
                  <a:gd name="T3" fmla="*/ 0 h 7"/>
                  <a:gd name="T4" fmla="*/ 4 w 14"/>
                  <a:gd name="T5" fmla="*/ 5 h 7"/>
                  <a:gd name="T6" fmla="*/ 2 w 14"/>
                  <a:gd name="T7" fmla="*/ 5 h 7"/>
                  <a:gd name="T8" fmla="*/ 10 w 14"/>
                  <a:gd name="T9" fmla="*/ 7 h 7"/>
                  <a:gd name="T10" fmla="*/ 11 w 14"/>
                  <a:gd name="T11" fmla="*/ 7 h 7"/>
                  <a:gd name="T12" fmla="*/ 10 w 14"/>
                  <a:gd name="T13" fmla="*/ 4 h 7"/>
                  <a:gd name="T14" fmla="*/ 10 w 14"/>
                  <a:gd name="T15" fmla="*/ 4 h 7"/>
                  <a:gd name="T16" fmla="*/ 9 w 14"/>
                  <a:gd name="T17" fmla="*/ 5 h 7"/>
                  <a:gd name="T18" fmla="*/ 7 w 14"/>
                  <a:gd name="T19" fmla="*/ 5 h 7"/>
                  <a:gd name="T20" fmla="*/ 7 w 14"/>
                  <a:gd name="T21" fmla="*/ 5 h 7"/>
                  <a:gd name="T22" fmla="*/ 6 w 14"/>
                  <a:gd name="T23" fmla="*/ 2 h 7"/>
                  <a:gd name="T24" fmla="*/ 6 w 14"/>
                  <a:gd name="T25" fmla="*/ 2 h 7"/>
                  <a:gd name="T26" fmla="*/ 4 w 14"/>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7">
                    <a:moveTo>
                      <a:pt x="4" y="0"/>
                    </a:moveTo>
                    <a:cubicBezTo>
                      <a:pt x="4" y="0"/>
                      <a:pt x="4" y="0"/>
                      <a:pt x="3" y="0"/>
                    </a:cubicBezTo>
                    <a:cubicBezTo>
                      <a:pt x="0" y="0"/>
                      <a:pt x="3" y="4"/>
                      <a:pt x="4" y="5"/>
                    </a:cubicBezTo>
                    <a:cubicBezTo>
                      <a:pt x="3" y="5"/>
                      <a:pt x="3" y="5"/>
                      <a:pt x="2" y="5"/>
                    </a:cubicBezTo>
                    <a:cubicBezTo>
                      <a:pt x="2" y="7"/>
                      <a:pt x="9" y="7"/>
                      <a:pt x="10" y="7"/>
                    </a:cubicBezTo>
                    <a:cubicBezTo>
                      <a:pt x="11" y="7"/>
                      <a:pt x="11" y="7"/>
                      <a:pt x="11" y="7"/>
                    </a:cubicBezTo>
                    <a:cubicBezTo>
                      <a:pt x="14" y="7"/>
                      <a:pt x="13" y="4"/>
                      <a:pt x="10" y="4"/>
                    </a:cubicBezTo>
                    <a:cubicBezTo>
                      <a:pt x="10" y="4"/>
                      <a:pt x="10" y="4"/>
                      <a:pt x="10" y="4"/>
                    </a:cubicBezTo>
                    <a:cubicBezTo>
                      <a:pt x="10" y="4"/>
                      <a:pt x="9" y="4"/>
                      <a:pt x="9" y="5"/>
                    </a:cubicBezTo>
                    <a:cubicBezTo>
                      <a:pt x="8" y="5"/>
                      <a:pt x="8" y="5"/>
                      <a:pt x="7" y="5"/>
                    </a:cubicBezTo>
                    <a:cubicBezTo>
                      <a:pt x="7" y="5"/>
                      <a:pt x="7" y="5"/>
                      <a:pt x="7" y="5"/>
                    </a:cubicBezTo>
                    <a:cubicBezTo>
                      <a:pt x="6" y="5"/>
                      <a:pt x="7" y="2"/>
                      <a:pt x="6" y="2"/>
                    </a:cubicBezTo>
                    <a:cubicBezTo>
                      <a:pt x="6" y="2"/>
                      <a:pt x="6" y="2"/>
                      <a:pt x="6"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 name="Freeform 107">
                <a:extLst>
                  <a:ext uri="{FF2B5EF4-FFF2-40B4-BE49-F238E27FC236}">
                    <a16:creationId xmlns:a16="http://schemas.microsoft.com/office/drawing/2014/main" id="{5922CE7B-1D12-4912-BE84-3A42D173CF55}"/>
                  </a:ext>
                </a:extLst>
              </p:cNvPr>
              <p:cNvSpPr>
                <a:spLocks/>
              </p:cNvSpPr>
              <p:nvPr/>
            </p:nvSpPr>
            <p:spPr bwMode="auto">
              <a:xfrm>
                <a:off x="4072" y="2660"/>
                <a:ext cx="5" cy="8"/>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0" y="0"/>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 name="Freeform 108">
                <a:extLst>
                  <a:ext uri="{FF2B5EF4-FFF2-40B4-BE49-F238E27FC236}">
                    <a16:creationId xmlns:a16="http://schemas.microsoft.com/office/drawing/2014/main" id="{A64EC55B-5191-42E9-B7C0-F8387F4853F1}"/>
                  </a:ext>
                </a:extLst>
              </p:cNvPr>
              <p:cNvSpPr>
                <a:spLocks/>
              </p:cNvSpPr>
              <p:nvPr/>
            </p:nvSpPr>
            <p:spPr bwMode="auto">
              <a:xfrm>
                <a:off x="2926" y="22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 name="Freeform 109">
                <a:extLst>
                  <a:ext uri="{FF2B5EF4-FFF2-40B4-BE49-F238E27FC236}">
                    <a16:creationId xmlns:a16="http://schemas.microsoft.com/office/drawing/2014/main" id="{99842006-80FC-4E94-9E74-11D556324480}"/>
                  </a:ext>
                </a:extLst>
              </p:cNvPr>
              <p:cNvSpPr>
                <a:spLocks/>
              </p:cNvSpPr>
              <p:nvPr/>
            </p:nvSpPr>
            <p:spPr bwMode="auto">
              <a:xfrm>
                <a:off x="2928" y="2242"/>
                <a:ext cx="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 name="Rectangle 110">
                <a:extLst>
                  <a:ext uri="{FF2B5EF4-FFF2-40B4-BE49-F238E27FC236}">
                    <a16:creationId xmlns:a16="http://schemas.microsoft.com/office/drawing/2014/main" id="{CD0159FD-4ACA-4562-ADD7-8B68805E4D01}"/>
                  </a:ext>
                </a:extLst>
              </p:cNvPr>
              <p:cNvSpPr>
                <a:spLocks noChangeArrowheads="1"/>
              </p:cNvSpPr>
              <p:nvPr/>
            </p:nvSpPr>
            <p:spPr bwMode="auto">
              <a:xfrm>
                <a:off x="3817" y="162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 name="Freeform 111">
                <a:extLst>
                  <a:ext uri="{FF2B5EF4-FFF2-40B4-BE49-F238E27FC236}">
                    <a16:creationId xmlns:a16="http://schemas.microsoft.com/office/drawing/2014/main" id="{9E1C2DAF-DD93-4BA3-B9BB-39FDC1DD3D7D}"/>
                  </a:ext>
                </a:extLst>
              </p:cNvPr>
              <p:cNvSpPr>
                <a:spLocks/>
              </p:cNvSpPr>
              <p:nvPr/>
            </p:nvSpPr>
            <p:spPr bwMode="auto">
              <a:xfrm>
                <a:off x="3817" y="162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 name="Freeform 112">
                <a:extLst>
                  <a:ext uri="{FF2B5EF4-FFF2-40B4-BE49-F238E27FC236}">
                    <a16:creationId xmlns:a16="http://schemas.microsoft.com/office/drawing/2014/main" id="{FE83CFD1-3EBF-4B46-8928-C9B117A2265B}"/>
                  </a:ext>
                </a:extLst>
              </p:cNvPr>
              <p:cNvSpPr>
                <a:spLocks/>
              </p:cNvSpPr>
              <p:nvPr/>
            </p:nvSpPr>
            <p:spPr bwMode="auto">
              <a:xfrm>
                <a:off x="5984" y="2044"/>
                <a:ext cx="92" cy="101"/>
              </a:xfrm>
              <a:custGeom>
                <a:avLst/>
                <a:gdLst>
                  <a:gd name="T0" fmla="*/ 32 w 39"/>
                  <a:gd name="T1" fmla="*/ 0 h 43"/>
                  <a:gd name="T2" fmla="*/ 23 w 39"/>
                  <a:gd name="T3" fmla="*/ 7 h 43"/>
                  <a:gd name="T4" fmla="*/ 22 w 39"/>
                  <a:gd name="T5" fmla="*/ 7 h 43"/>
                  <a:gd name="T6" fmla="*/ 15 w 39"/>
                  <a:gd name="T7" fmla="*/ 6 h 43"/>
                  <a:gd name="T8" fmla="*/ 15 w 39"/>
                  <a:gd name="T9" fmla="*/ 6 h 43"/>
                  <a:gd name="T10" fmla="*/ 15 w 39"/>
                  <a:gd name="T11" fmla="*/ 6 h 43"/>
                  <a:gd name="T12" fmla="*/ 4 w 39"/>
                  <a:gd name="T13" fmla="*/ 21 h 43"/>
                  <a:gd name="T14" fmla="*/ 3 w 39"/>
                  <a:gd name="T15" fmla="*/ 22 h 43"/>
                  <a:gd name="T16" fmla="*/ 2 w 39"/>
                  <a:gd name="T17" fmla="*/ 23 h 43"/>
                  <a:gd name="T18" fmla="*/ 2 w 39"/>
                  <a:gd name="T19" fmla="*/ 23 h 43"/>
                  <a:gd name="T20" fmla="*/ 0 w 39"/>
                  <a:gd name="T21" fmla="*/ 28 h 43"/>
                  <a:gd name="T22" fmla="*/ 0 w 39"/>
                  <a:gd name="T23" fmla="*/ 29 h 43"/>
                  <a:gd name="T24" fmla="*/ 0 w 39"/>
                  <a:gd name="T25" fmla="*/ 31 h 43"/>
                  <a:gd name="T26" fmla="*/ 0 w 39"/>
                  <a:gd name="T27" fmla="*/ 31 h 43"/>
                  <a:gd name="T28" fmla="*/ 0 w 39"/>
                  <a:gd name="T29" fmla="*/ 35 h 43"/>
                  <a:gd name="T30" fmla="*/ 1 w 39"/>
                  <a:gd name="T31" fmla="*/ 41 h 43"/>
                  <a:gd name="T32" fmla="*/ 4 w 39"/>
                  <a:gd name="T33" fmla="*/ 43 h 43"/>
                  <a:gd name="T34" fmla="*/ 13 w 39"/>
                  <a:gd name="T35" fmla="*/ 41 h 43"/>
                  <a:gd name="T36" fmla="*/ 20 w 39"/>
                  <a:gd name="T37" fmla="*/ 39 h 43"/>
                  <a:gd name="T38" fmla="*/ 21 w 39"/>
                  <a:gd name="T39" fmla="*/ 39 h 43"/>
                  <a:gd name="T40" fmla="*/ 26 w 39"/>
                  <a:gd name="T41" fmla="*/ 40 h 43"/>
                  <a:gd name="T42" fmla="*/ 27 w 39"/>
                  <a:gd name="T43" fmla="*/ 40 h 43"/>
                  <a:gd name="T44" fmla="*/ 27 w 39"/>
                  <a:gd name="T45" fmla="*/ 40 h 43"/>
                  <a:gd name="T46" fmla="*/ 35 w 39"/>
                  <a:gd name="T47" fmla="*/ 29 h 43"/>
                  <a:gd name="T48" fmla="*/ 34 w 39"/>
                  <a:gd name="T49" fmla="*/ 28 h 43"/>
                  <a:gd name="T50" fmla="*/ 28 w 39"/>
                  <a:gd name="T51" fmla="*/ 27 h 43"/>
                  <a:gd name="T52" fmla="*/ 18 w 39"/>
                  <a:gd name="T53" fmla="*/ 28 h 43"/>
                  <a:gd name="T54" fmla="*/ 31 w 39"/>
                  <a:gd name="T55" fmla="*/ 20 h 43"/>
                  <a:gd name="T56" fmla="*/ 38 w 39"/>
                  <a:gd name="T57" fmla="*/ 17 h 43"/>
                  <a:gd name="T58" fmla="*/ 38 w 39"/>
                  <a:gd name="T59" fmla="*/ 13 h 43"/>
                  <a:gd name="T60" fmla="*/ 37 w 39"/>
                  <a:gd name="T61" fmla="*/ 5 h 43"/>
                  <a:gd name="T62" fmla="*/ 33 w 39"/>
                  <a:gd name="T63" fmla="*/ 1 h 43"/>
                  <a:gd name="T64" fmla="*/ 33 w 39"/>
                  <a:gd name="T65" fmla="*/ 1 h 43"/>
                  <a:gd name="T66" fmla="*/ 32 w 39"/>
                  <a:gd name="T6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43">
                    <a:moveTo>
                      <a:pt x="32" y="0"/>
                    </a:moveTo>
                    <a:cubicBezTo>
                      <a:pt x="32" y="0"/>
                      <a:pt x="25" y="6"/>
                      <a:pt x="23" y="7"/>
                    </a:cubicBezTo>
                    <a:cubicBezTo>
                      <a:pt x="23" y="7"/>
                      <a:pt x="22" y="7"/>
                      <a:pt x="22" y="7"/>
                    </a:cubicBezTo>
                    <a:cubicBezTo>
                      <a:pt x="20" y="7"/>
                      <a:pt x="18" y="7"/>
                      <a:pt x="15" y="6"/>
                    </a:cubicBezTo>
                    <a:cubicBezTo>
                      <a:pt x="15" y="6"/>
                      <a:pt x="15" y="6"/>
                      <a:pt x="15" y="6"/>
                    </a:cubicBezTo>
                    <a:cubicBezTo>
                      <a:pt x="15" y="6"/>
                      <a:pt x="15" y="6"/>
                      <a:pt x="15" y="6"/>
                    </a:cubicBezTo>
                    <a:cubicBezTo>
                      <a:pt x="13" y="8"/>
                      <a:pt x="6" y="19"/>
                      <a:pt x="4" y="21"/>
                    </a:cubicBezTo>
                    <a:cubicBezTo>
                      <a:pt x="4" y="21"/>
                      <a:pt x="3" y="21"/>
                      <a:pt x="3" y="22"/>
                    </a:cubicBezTo>
                    <a:cubicBezTo>
                      <a:pt x="3" y="22"/>
                      <a:pt x="2" y="23"/>
                      <a:pt x="2" y="23"/>
                    </a:cubicBezTo>
                    <a:cubicBezTo>
                      <a:pt x="2" y="23"/>
                      <a:pt x="2" y="23"/>
                      <a:pt x="2" y="23"/>
                    </a:cubicBezTo>
                    <a:cubicBezTo>
                      <a:pt x="1" y="24"/>
                      <a:pt x="0" y="26"/>
                      <a:pt x="0" y="28"/>
                    </a:cubicBezTo>
                    <a:cubicBezTo>
                      <a:pt x="0" y="28"/>
                      <a:pt x="0" y="29"/>
                      <a:pt x="0" y="29"/>
                    </a:cubicBezTo>
                    <a:cubicBezTo>
                      <a:pt x="0" y="30"/>
                      <a:pt x="0" y="30"/>
                      <a:pt x="0" y="31"/>
                    </a:cubicBezTo>
                    <a:cubicBezTo>
                      <a:pt x="0" y="31"/>
                      <a:pt x="0" y="31"/>
                      <a:pt x="0" y="31"/>
                    </a:cubicBezTo>
                    <a:cubicBezTo>
                      <a:pt x="0" y="32"/>
                      <a:pt x="0" y="34"/>
                      <a:pt x="0" y="35"/>
                    </a:cubicBezTo>
                    <a:cubicBezTo>
                      <a:pt x="0" y="37"/>
                      <a:pt x="0" y="40"/>
                      <a:pt x="1" y="41"/>
                    </a:cubicBezTo>
                    <a:cubicBezTo>
                      <a:pt x="2" y="42"/>
                      <a:pt x="3" y="43"/>
                      <a:pt x="4" y="43"/>
                    </a:cubicBezTo>
                    <a:cubicBezTo>
                      <a:pt x="7" y="43"/>
                      <a:pt x="10" y="42"/>
                      <a:pt x="13" y="41"/>
                    </a:cubicBezTo>
                    <a:cubicBezTo>
                      <a:pt x="16" y="40"/>
                      <a:pt x="18" y="39"/>
                      <a:pt x="20" y="39"/>
                    </a:cubicBezTo>
                    <a:cubicBezTo>
                      <a:pt x="21" y="39"/>
                      <a:pt x="21" y="39"/>
                      <a:pt x="21" y="39"/>
                    </a:cubicBezTo>
                    <a:cubicBezTo>
                      <a:pt x="24" y="40"/>
                      <a:pt x="25" y="40"/>
                      <a:pt x="26" y="40"/>
                    </a:cubicBezTo>
                    <a:cubicBezTo>
                      <a:pt x="26" y="40"/>
                      <a:pt x="27" y="40"/>
                      <a:pt x="27" y="40"/>
                    </a:cubicBezTo>
                    <a:cubicBezTo>
                      <a:pt x="27" y="40"/>
                      <a:pt x="27" y="40"/>
                      <a:pt x="27" y="40"/>
                    </a:cubicBezTo>
                    <a:cubicBezTo>
                      <a:pt x="31" y="37"/>
                      <a:pt x="34" y="31"/>
                      <a:pt x="35" y="29"/>
                    </a:cubicBezTo>
                    <a:cubicBezTo>
                      <a:pt x="34" y="28"/>
                      <a:pt x="34" y="28"/>
                      <a:pt x="34" y="28"/>
                    </a:cubicBezTo>
                    <a:cubicBezTo>
                      <a:pt x="33" y="27"/>
                      <a:pt x="30" y="27"/>
                      <a:pt x="28" y="27"/>
                    </a:cubicBezTo>
                    <a:cubicBezTo>
                      <a:pt x="24" y="27"/>
                      <a:pt x="19" y="27"/>
                      <a:pt x="18" y="28"/>
                    </a:cubicBezTo>
                    <a:cubicBezTo>
                      <a:pt x="22" y="25"/>
                      <a:pt x="27" y="23"/>
                      <a:pt x="31" y="20"/>
                    </a:cubicBezTo>
                    <a:cubicBezTo>
                      <a:pt x="33" y="19"/>
                      <a:pt x="36" y="18"/>
                      <a:pt x="38" y="17"/>
                    </a:cubicBezTo>
                    <a:cubicBezTo>
                      <a:pt x="39" y="16"/>
                      <a:pt x="38" y="15"/>
                      <a:pt x="38" y="13"/>
                    </a:cubicBezTo>
                    <a:cubicBezTo>
                      <a:pt x="38" y="11"/>
                      <a:pt x="38" y="7"/>
                      <a:pt x="37" y="5"/>
                    </a:cubicBezTo>
                    <a:cubicBezTo>
                      <a:pt x="36" y="4"/>
                      <a:pt x="34" y="2"/>
                      <a:pt x="33" y="1"/>
                    </a:cubicBezTo>
                    <a:cubicBezTo>
                      <a:pt x="33" y="1"/>
                      <a:pt x="33" y="1"/>
                      <a:pt x="33" y="1"/>
                    </a:cubicBez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 name="Rectangle 113">
                <a:extLst>
                  <a:ext uri="{FF2B5EF4-FFF2-40B4-BE49-F238E27FC236}">
                    <a16:creationId xmlns:a16="http://schemas.microsoft.com/office/drawing/2014/main" id="{57B2CF4F-16F5-43F3-ACB1-3CE36A663C12}"/>
                  </a:ext>
                </a:extLst>
              </p:cNvPr>
              <p:cNvSpPr>
                <a:spLocks noChangeArrowheads="1"/>
              </p:cNvSpPr>
              <p:nvPr/>
            </p:nvSpPr>
            <p:spPr bwMode="auto">
              <a:xfrm>
                <a:off x="5509" y="353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 name="Freeform 114">
                <a:extLst>
                  <a:ext uri="{FF2B5EF4-FFF2-40B4-BE49-F238E27FC236}">
                    <a16:creationId xmlns:a16="http://schemas.microsoft.com/office/drawing/2014/main" id="{07C1A704-15FF-410E-B91F-2206A31C1600}"/>
                  </a:ext>
                </a:extLst>
              </p:cNvPr>
              <p:cNvSpPr>
                <a:spLocks/>
              </p:cNvSpPr>
              <p:nvPr/>
            </p:nvSpPr>
            <p:spPr bwMode="auto">
              <a:xfrm>
                <a:off x="5509" y="353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 name="Freeform 115">
                <a:extLst>
                  <a:ext uri="{FF2B5EF4-FFF2-40B4-BE49-F238E27FC236}">
                    <a16:creationId xmlns:a16="http://schemas.microsoft.com/office/drawing/2014/main" id="{861D218C-72CC-418F-9D46-DE8BB7DFA82C}"/>
                  </a:ext>
                </a:extLst>
              </p:cNvPr>
              <p:cNvSpPr>
                <a:spLocks/>
              </p:cNvSpPr>
              <p:nvPr/>
            </p:nvSpPr>
            <p:spPr bwMode="auto">
              <a:xfrm>
                <a:off x="2945" y="2330"/>
                <a:ext cx="21" cy="11"/>
              </a:xfrm>
              <a:custGeom>
                <a:avLst/>
                <a:gdLst>
                  <a:gd name="T0" fmla="*/ 4 w 9"/>
                  <a:gd name="T1" fmla="*/ 0 h 5"/>
                  <a:gd name="T2" fmla="*/ 2 w 9"/>
                  <a:gd name="T3" fmla="*/ 0 h 5"/>
                  <a:gd name="T4" fmla="*/ 1 w 9"/>
                  <a:gd name="T5" fmla="*/ 0 h 5"/>
                  <a:gd name="T6" fmla="*/ 0 w 9"/>
                  <a:gd name="T7" fmla="*/ 0 h 5"/>
                  <a:gd name="T8" fmla="*/ 8 w 9"/>
                  <a:gd name="T9" fmla="*/ 4 h 5"/>
                  <a:gd name="T10" fmla="*/ 8 w 9"/>
                  <a:gd name="T11" fmla="*/ 5 h 5"/>
                  <a:gd name="T12" fmla="*/ 8 w 9"/>
                  <a:gd name="T13" fmla="*/ 5 h 5"/>
                  <a:gd name="T14" fmla="*/ 9 w 9"/>
                  <a:gd name="T15" fmla="*/ 2 h 5"/>
                  <a:gd name="T16" fmla="*/ 4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4" y="0"/>
                    </a:moveTo>
                    <a:cubicBezTo>
                      <a:pt x="4" y="0"/>
                      <a:pt x="3" y="0"/>
                      <a:pt x="2" y="0"/>
                    </a:cubicBezTo>
                    <a:cubicBezTo>
                      <a:pt x="2" y="0"/>
                      <a:pt x="1" y="0"/>
                      <a:pt x="1" y="0"/>
                    </a:cubicBezTo>
                    <a:cubicBezTo>
                      <a:pt x="0" y="0"/>
                      <a:pt x="0" y="0"/>
                      <a:pt x="0" y="0"/>
                    </a:cubicBezTo>
                    <a:cubicBezTo>
                      <a:pt x="1" y="2"/>
                      <a:pt x="5" y="3"/>
                      <a:pt x="8" y="4"/>
                    </a:cubicBezTo>
                    <a:cubicBezTo>
                      <a:pt x="8" y="4"/>
                      <a:pt x="7" y="5"/>
                      <a:pt x="8" y="5"/>
                    </a:cubicBezTo>
                    <a:cubicBezTo>
                      <a:pt x="8" y="5"/>
                      <a:pt x="8" y="5"/>
                      <a:pt x="8" y="5"/>
                    </a:cubicBezTo>
                    <a:cubicBezTo>
                      <a:pt x="9" y="5"/>
                      <a:pt x="9" y="3"/>
                      <a:pt x="9" y="2"/>
                    </a:cubicBezTo>
                    <a:cubicBezTo>
                      <a:pt x="9" y="0"/>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 name="Freeform 116">
                <a:extLst>
                  <a:ext uri="{FF2B5EF4-FFF2-40B4-BE49-F238E27FC236}">
                    <a16:creationId xmlns:a16="http://schemas.microsoft.com/office/drawing/2014/main" id="{8FD39D2F-28FA-45DE-9992-0D1B0D5D961F}"/>
                  </a:ext>
                </a:extLst>
              </p:cNvPr>
              <p:cNvSpPr>
                <a:spLocks/>
              </p:cNvSpPr>
              <p:nvPr/>
            </p:nvSpPr>
            <p:spPr bwMode="auto">
              <a:xfrm>
                <a:off x="6234" y="3277"/>
                <a:ext cx="15" cy="5"/>
              </a:xfrm>
              <a:custGeom>
                <a:avLst/>
                <a:gdLst>
                  <a:gd name="T0" fmla="*/ 6 w 6"/>
                  <a:gd name="T1" fmla="*/ 0 h 2"/>
                  <a:gd name="T2" fmla="*/ 0 w 6"/>
                  <a:gd name="T3" fmla="*/ 2 h 2"/>
                  <a:gd name="T4" fmla="*/ 6 w 6"/>
                  <a:gd name="T5" fmla="*/ 0 h 2"/>
                </a:gdLst>
                <a:ahLst/>
                <a:cxnLst>
                  <a:cxn ang="0">
                    <a:pos x="T0" y="T1"/>
                  </a:cxn>
                  <a:cxn ang="0">
                    <a:pos x="T2" y="T3"/>
                  </a:cxn>
                  <a:cxn ang="0">
                    <a:pos x="T4" y="T5"/>
                  </a:cxn>
                </a:cxnLst>
                <a:rect l="0" t="0" r="r" b="b"/>
                <a:pathLst>
                  <a:path w="6" h="2">
                    <a:moveTo>
                      <a:pt x="6" y="0"/>
                    </a:moveTo>
                    <a:cubicBezTo>
                      <a:pt x="4" y="0"/>
                      <a:pt x="2" y="1"/>
                      <a:pt x="0" y="2"/>
                    </a:cubicBezTo>
                    <a:cubicBezTo>
                      <a:pt x="1" y="1"/>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 name="Freeform 117">
                <a:extLst>
                  <a:ext uri="{FF2B5EF4-FFF2-40B4-BE49-F238E27FC236}">
                    <a16:creationId xmlns:a16="http://schemas.microsoft.com/office/drawing/2014/main" id="{35DAACE5-7C7B-4CC6-8D8F-F19890803A7A}"/>
                  </a:ext>
                </a:extLst>
              </p:cNvPr>
              <p:cNvSpPr>
                <a:spLocks/>
              </p:cNvSpPr>
              <p:nvPr/>
            </p:nvSpPr>
            <p:spPr bwMode="auto">
              <a:xfrm>
                <a:off x="2758" y="2124"/>
                <a:ext cx="5" cy="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1" y="1"/>
                      <a:pt x="0"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 name="Freeform 118">
                <a:extLst>
                  <a:ext uri="{FF2B5EF4-FFF2-40B4-BE49-F238E27FC236}">
                    <a16:creationId xmlns:a16="http://schemas.microsoft.com/office/drawing/2014/main" id="{BA29337B-A27A-4A2F-AEAC-2522E4D3FA0A}"/>
                  </a:ext>
                </a:extLst>
              </p:cNvPr>
              <p:cNvSpPr>
                <a:spLocks/>
              </p:cNvSpPr>
              <p:nvPr/>
            </p:nvSpPr>
            <p:spPr bwMode="auto">
              <a:xfrm>
                <a:off x="2791" y="2105"/>
                <a:ext cx="10" cy="5"/>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1"/>
                      <a:pt x="1" y="1"/>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 name="Freeform 119">
                <a:extLst>
                  <a:ext uri="{FF2B5EF4-FFF2-40B4-BE49-F238E27FC236}">
                    <a16:creationId xmlns:a16="http://schemas.microsoft.com/office/drawing/2014/main" id="{6C02E018-22A8-487B-B94B-34FAA9723CBF}"/>
                  </a:ext>
                </a:extLst>
              </p:cNvPr>
              <p:cNvSpPr>
                <a:spLocks/>
              </p:cNvSpPr>
              <p:nvPr/>
            </p:nvSpPr>
            <p:spPr bwMode="auto">
              <a:xfrm>
                <a:off x="2784" y="2124"/>
                <a:ext cx="7" cy="7"/>
              </a:xfrm>
              <a:custGeom>
                <a:avLst/>
                <a:gdLst>
                  <a:gd name="T0" fmla="*/ 3 w 3"/>
                  <a:gd name="T1" fmla="*/ 0 h 3"/>
                  <a:gd name="T2" fmla="*/ 0 w 3"/>
                  <a:gd name="T3" fmla="*/ 3 h 3"/>
                  <a:gd name="T4" fmla="*/ 3 w 3"/>
                  <a:gd name="T5" fmla="*/ 1 h 3"/>
                  <a:gd name="T6" fmla="*/ 3 w 3"/>
                  <a:gd name="T7" fmla="*/ 1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2" y="1"/>
                      <a:pt x="1" y="2"/>
                      <a:pt x="0" y="3"/>
                    </a:cubicBezTo>
                    <a:cubicBezTo>
                      <a:pt x="1" y="2"/>
                      <a:pt x="2" y="1"/>
                      <a:pt x="3" y="1"/>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 name="Freeform 120">
                <a:extLst>
                  <a:ext uri="{FF2B5EF4-FFF2-40B4-BE49-F238E27FC236}">
                    <a16:creationId xmlns:a16="http://schemas.microsoft.com/office/drawing/2014/main" id="{B442F823-8DC6-40D8-8B04-A19F61D6CA30}"/>
                  </a:ext>
                </a:extLst>
              </p:cNvPr>
              <p:cNvSpPr>
                <a:spLocks/>
              </p:cNvSpPr>
              <p:nvPr/>
            </p:nvSpPr>
            <p:spPr bwMode="auto">
              <a:xfrm>
                <a:off x="2749" y="2107"/>
                <a:ext cx="9" cy="5"/>
              </a:xfrm>
              <a:custGeom>
                <a:avLst/>
                <a:gdLst>
                  <a:gd name="T0" fmla="*/ 4 w 4"/>
                  <a:gd name="T1" fmla="*/ 0 h 2"/>
                  <a:gd name="T2" fmla="*/ 0 w 4"/>
                  <a:gd name="T3" fmla="*/ 1 h 2"/>
                  <a:gd name="T4" fmla="*/ 2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cubicBezTo>
                      <a:pt x="2" y="0"/>
                      <a:pt x="1" y="0"/>
                      <a:pt x="0" y="1"/>
                    </a:cubicBezTo>
                    <a:cubicBezTo>
                      <a:pt x="1" y="1"/>
                      <a:pt x="2" y="2"/>
                      <a:pt x="2" y="2"/>
                    </a:cubicBezTo>
                    <a:cubicBezTo>
                      <a:pt x="3" y="2"/>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 name="Freeform 121">
                <a:extLst>
                  <a:ext uri="{FF2B5EF4-FFF2-40B4-BE49-F238E27FC236}">
                    <a16:creationId xmlns:a16="http://schemas.microsoft.com/office/drawing/2014/main" id="{73841275-12E6-463D-AB07-9DC3F318EECD}"/>
                  </a:ext>
                </a:extLst>
              </p:cNvPr>
              <p:cNvSpPr>
                <a:spLocks/>
              </p:cNvSpPr>
              <p:nvPr/>
            </p:nvSpPr>
            <p:spPr bwMode="auto">
              <a:xfrm>
                <a:off x="2775" y="2129"/>
                <a:ext cx="2" cy="9"/>
              </a:xfrm>
              <a:custGeom>
                <a:avLst/>
                <a:gdLst>
                  <a:gd name="T0" fmla="*/ 0 w 1"/>
                  <a:gd name="T1" fmla="*/ 0 h 4"/>
                  <a:gd name="T2" fmla="*/ 1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2"/>
                      <a:pt x="1"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 name="Freeform 122">
                <a:extLst>
                  <a:ext uri="{FF2B5EF4-FFF2-40B4-BE49-F238E27FC236}">
                    <a16:creationId xmlns:a16="http://schemas.microsoft.com/office/drawing/2014/main" id="{320CE06E-31D7-47B3-B05E-1830851C5906}"/>
                  </a:ext>
                </a:extLst>
              </p:cNvPr>
              <p:cNvSpPr>
                <a:spLocks/>
              </p:cNvSpPr>
              <p:nvPr/>
            </p:nvSpPr>
            <p:spPr bwMode="auto">
              <a:xfrm>
                <a:off x="2756" y="2129"/>
                <a:ext cx="14" cy="9"/>
              </a:xfrm>
              <a:custGeom>
                <a:avLst/>
                <a:gdLst>
                  <a:gd name="T0" fmla="*/ 5 w 6"/>
                  <a:gd name="T1" fmla="*/ 0 h 4"/>
                  <a:gd name="T2" fmla="*/ 3 w 6"/>
                  <a:gd name="T3" fmla="*/ 4 h 4"/>
                  <a:gd name="T4" fmla="*/ 5 w 6"/>
                  <a:gd name="T5" fmla="*/ 1 h 4"/>
                  <a:gd name="T6" fmla="*/ 5 w 6"/>
                  <a:gd name="T7" fmla="*/ 0 h 4"/>
                </a:gdLst>
                <a:ahLst/>
                <a:cxnLst>
                  <a:cxn ang="0">
                    <a:pos x="T0" y="T1"/>
                  </a:cxn>
                  <a:cxn ang="0">
                    <a:pos x="T2" y="T3"/>
                  </a:cxn>
                  <a:cxn ang="0">
                    <a:pos x="T4" y="T5"/>
                  </a:cxn>
                  <a:cxn ang="0">
                    <a:pos x="T6" y="T7"/>
                  </a:cxn>
                </a:cxnLst>
                <a:rect l="0" t="0" r="r" b="b"/>
                <a:pathLst>
                  <a:path w="6" h="4">
                    <a:moveTo>
                      <a:pt x="5" y="0"/>
                    </a:moveTo>
                    <a:cubicBezTo>
                      <a:pt x="3" y="0"/>
                      <a:pt x="0" y="2"/>
                      <a:pt x="3" y="4"/>
                    </a:cubicBezTo>
                    <a:cubicBezTo>
                      <a:pt x="5" y="4"/>
                      <a:pt x="6" y="2"/>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 name="Freeform 123">
                <a:extLst>
                  <a:ext uri="{FF2B5EF4-FFF2-40B4-BE49-F238E27FC236}">
                    <a16:creationId xmlns:a16="http://schemas.microsoft.com/office/drawing/2014/main" id="{2F963CC0-F44D-4C60-95FF-3748FCF9846A}"/>
                  </a:ext>
                </a:extLst>
              </p:cNvPr>
              <p:cNvSpPr>
                <a:spLocks/>
              </p:cNvSpPr>
              <p:nvPr/>
            </p:nvSpPr>
            <p:spPr bwMode="auto">
              <a:xfrm>
                <a:off x="2763" y="2088"/>
                <a:ext cx="7" cy="8"/>
              </a:xfrm>
              <a:custGeom>
                <a:avLst/>
                <a:gdLst>
                  <a:gd name="T0" fmla="*/ 3 w 3"/>
                  <a:gd name="T1" fmla="*/ 1 h 3"/>
                  <a:gd name="T2" fmla="*/ 0 w 3"/>
                  <a:gd name="T3" fmla="*/ 1 h 3"/>
                  <a:gd name="T4" fmla="*/ 2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3" y="1"/>
                      <a:pt x="0" y="0"/>
                      <a:pt x="0" y="1"/>
                    </a:cubicBezTo>
                    <a:cubicBezTo>
                      <a:pt x="0" y="2"/>
                      <a:pt x="1" y="3"/>
                      <a:pt x="2" y="3"/>
                    </a:cubicBezTo>
                    <a:cubicBezTo>
                      <a:pt x="2" y="3"/>
                      <a:pt x="3" y="2"/>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 name="Freeform 124">
                <a:extLst>
                  <a:ext uri="{FF2B5EF4-FFF2-40B4-BE49-F238E27FC236}">
                    <a16:creationId xmlns:a16="http://schemas.microsoft.com/office/drawing/2014/main" id="{7C42499E-81B3-4D06-BA73-64084407A24E}"/>
                  </a:ext>
                </a:extLst>
              </p:cNvPr>
              <p:cNvSpPr>
                <a:spLocks/>
              </p:cNvSpPr>
              <p:nvPr/>
            </p:nvSpPr>
            <p:spPr bwMode="auto">
              <a:xfrm>
                <a:off x="2770" y="2110"/>
                <a:ext cx="7" cy="4"/>
              </a:xfrm>
              <a:custGeom>
                <a:avLst/>
                <a:gdLst>
                  <a:gd name="T0" fmla="*/ 2 w 3"/>
                  <a:gd name="T1" fmla="*/ 0 h 2"/>
                  <a:gd name="T2" fmla="*/ 0 w 3"/>
                  <a:gd name="T3" fmla="*/ 0 h 2"/>
                  <a:gd name="T4" fmla="*/ 3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1" y="0"/>
                      <a:pt x="1" y="0"/>
                      <a:pt x="0" y="0"/>
                    </a:cubicBezTo>
                    <a:cubicBezTo>
                      <a:pt x="1" y="1"/>
                      <a:pt x="2" y="1"/>
                      <a:pt x="3" y="2"/>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 name="Freeform 125">
                <a:extLst>
                  <a:ext uri="{FF2B5EF4-FFF2-40B4-BE49-F238E27FC236}">
                    <a16:creationId xmlns:a16="http://schemas.microsoft.com/office/drawing/2014/main" id="{77798EAB-5E08-44CA-BEFF-F1E70DE87190}"/>
                  </a:ext>
                </a:extLst>
              </p:cNvPr>
              <p:cNvSpPr>
                <a:spLocks/>
              </p:cNvSpPr>
              <p:nvPr/>
            </p:nvSpPr>
            <p:spPr bwMode="auto">
              <a:xfrm>
                <a:off x="6166" y="3462"/>
                <a:ext cx="14" cy="16"/>
              </a:xfrm>
              <a:custGeom>
                <a:avLst/>
                <a:gdLst>
                  <a:gd name="T0" fmla="*/ 1 w 6"/>
                  <a:gd name="T1" fmla="*/ 0 h 7"/>
                  <a:gd name="T2" fmla="*/ 1 w 6"/>
                  <a:gd name="T3" fmla="*/ 4 h 7"/>
                  <a:gd name="T4" fmla="*/ 3 w 6"/>
                  <a:gd name="T5" fmla="*/ 7 h 7"/>
                  <a:gd name="T6" fmla="*/ 2 w 6"/>
                  <a:gd name="T7" fmla="*/ 1 h 7"/>
                  <a:gd name="T8" fmla="*/ 1 w 6"/>
                  <a:gd name="T9" fmla="*/ 0 h 7"/>
                </a:gdLst>
                <a:ahLst/>
                <a:cxnLst>
                  <a:cxn ang="0">
                    <a:pos x="T0" y="T1"/>
                  </a:cxn>
                  <a:cxn ang="0">
                    <a:pos x="T2" y="T3"/>
                  </a:cxn>
                  <a:cxn ang="0">
                    <a:pos x="T4" y="T5"/>
                  </a:cxn>
                  <a:cxn ang="0">
                    <a:pos x="T6" y="T7"/>
                  </a:cxn>
                  <a:cxn ang="0">
                    <a:pos x="T8" y="T9"/>
                  </a:cxn>
                </a:cxnLst>
                <a:rect l="0" t="0" r="r" b="b"/>
                <a:pathLst>
                  <a:path w="6" h="7">
                    <a:moveTo>
                      <a:pt x="1" y="0"/>
                    </a:moveTo>
                    <a:cubicBezTo>
                      <a:pt x="0" y="0"/>
                      <a:pt x="0" y="3"/>
                      <a:pt x="1" y="4"/>
                    </a:cubicBezTo>
                    <a:cubicBezTo>
                      <a:pt x="2" y="5"/>
                      <a:pt x="3" y="6"/>
                      <a:pt x="3" y="7"/>
                    </a:cubicBezTo>
                    <a:cubicBezTo>
                      <a:pt x="3" y="5"/>
                      <a:pt x="6" y="3"/>
                      <a:pt x="2" y="1"/>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 name="Freeform 126">
                <a:extLst>
                  <a:ext uri="{FF2B5EF4-FFF2-40B4-BE49-F238E27FC236}">
                    <a16:creationId xmlns:a16="http://schemas.microsoft.com/office/drawing/2014/main" id="{0F6E91A6-A880-4377-BC47-0B21142924E4}"/>
                  </a:ext>
                </a:extLst>
              </p:cNvPr>
              <p:cNvSpPr>
                <a:spLocks/>
              </p:cNvSpPr>
              <p:nvPr/>
            </p:nvSpPr>
            <p:spPr bwMode="auto">
              <a:xfrm>
                <a:off x="6064" y="3422"/>
                <a:ext cx="407" cy="787"/>
              </a:xfrm>
              <a:custGeom>
                <a:avLst/>
                <a:gdLst>
                  <a:gd name="T0" fmla="*/ 131 w 172"/>
                  <a:gd name="T1" fmla="*/ 12 h 333"/>
                  <a:gd name="T2" fmla="*/ 130 w 172"/>
                  <a:gd name="T3" fmla="*/ 34 h 333"/>
                  <a:gd name="T4" fmla="*/ 124 w 172"/>
                  <a:gd name="T5" fmla="*/ 37 h 333"/>
                  <a:gd name="T6" fmla="*/ 117 w 172"/>
                  <a:gd name="T7" fmla="*/ 42 h 333"/>
                  <a:gd name="T8" fmla="*/ 112 w 172"/>
                  <a:gd name="T9" fmla="*/ 37 h 333"/>
                  <a:gd name="T10" fmla="*/ 111 w 172"/>
                  <a:gd name="T11" fmla="*/ 55 h 333"/>
                  <a:gd name="T12" fmla="*/ 108 w 172"/>
                  <a:gd name="T13" fmla="*/ 54 h 333"/>
                  <a:gd name="T14" fmla="*/ 107 w 172"/>
                  <a:gd name="T15" fmla="*/ 63 h 333"/>
                  <a:gd name="T16" fmla="*/ 111 w 172"/>
                  <a:gd name="T17" fmla="*/ 63 h 333"/>
                  <a:gd name="T18" fmla="*/ 112 w 172"/>
                  <a:gd name="T19" fmla="*/ 64 h 333"/>
                  <a:gd name="T20" fmla="*/ 111 w 172"/>
                  <a:gd name="T21" fmla="*/ 64 h 333"/>
                  <a:gd name="T22" fmla="*/ 99 w 172"/>
                  <a:gd name="T23" fmla="*/ 73 h 333"/>
                  <a:gd name="T24" fmla="*/ 98 w 172"/>
                  <a:gd name="T25" fmla="*/ 67 h 333"/>
                  <a:gd name="T26" fmla="*/ 95 w 172"/>
                  <a:gd name="T27" fmla="*/ 83 h 333"/>
                  <a:gd name="T28" fmla="*/ 88 w 172"/>
                  <a:gd name="T29" fmla="*/ 78 h 333"/>
                  <a:gd name="T30" fmla="*/ 74 w 172"/>
                  <a:gd name="T31" fmla="*/ 93 h 333"/>
                  <a:gd name="T32" fmla="*/ 74 w 172"/>
                  <a:gd name="T33" fmla="*/ 95 h 333"/>
                  <a:gd name="T34" fmla="*/ 71 w 172"/>
                  <a:gd name="T35" fmla="*/ 91 h 333"/>
                  <a:gd name="T36" fmla="*/ 64 w 172"/>
                  <a:gd name="T37" fmla="*/ 92 h 333"/>
                  <a:gd name="T38" fmla="*/ 60 w 172"/>
                  <a:gd name="T39" fmla="*/ 92 h 333"/>
                  <a:gd name="T40" fmla="*/ 53 w 172"/>
                  <a:gd name="T41" fmla="*/ 96 h 333"/>
                  <a:gd name="T42" fmla="*/ 45 w 172"/>
                  <a:gd name="T43" fmla="*/ 97 h 333"/>
                  <a:gd name="T44" fmla="*/ 35 w 172"/>
                  <a:gd name="T45" fmla="*/ 102 h 333"/>
                  <a:gd name="T46" fmla="*/ 25 w 172"/>
                  <a:gd name="T47" fmla="*/ 120 h 333"/>
                  <a:gd name="T48" fmla="*/ 22 w 172"/>
                  <a:gd name="T49" fmla="*/ 160 h 333"/>
                  <a:gd name="T50" fmla="*/ 26 w 172"/>
                  <a:gd name="T51" fmla="*/ 198 h 333"/>
                  <a:gd name="T52" fmla="*/ 18 w 172"/>
                  <a:gd name="T53" fmla="*/ 213 h 333"/>
                  <a:gd name="T54" fmla="*/ 6 w 172"/>
                  <a:gd name="T55" fmla="*/ 234 h 333"/>
                  <a:gd name="T56" fmla="*/ 2 w 172"/>
                  <a:gd name="T57" fmla="*/ 241 h 333"/>
                  <a:gd name="T58" fmla="*/ 12 w 172"/>
                  <a:gd name="T59" fmla="*/ 282 h 333"/>
                  <a:gd name="T60" fmla="*/ 12 w 172"/>
                  <a:gd name="T61" fmla="*/ 303 h 333"/>
                  <a:gd name="T62" fmla="*/ 50 w 172"/>
                  <a:gd name="T63" fmla="*/ 333 h 333"/>
                  <a:gd name="T64" fmla="*/ 85 w 172"/>
                  <a:gd name="T65" fmla="*/ 321 h 333"/>
                  <a:gd name="T66" fmla="*/ 100 w 172"/>
                  <a:gd name="T67" fmla="*/ 294 h 333"/>
                  <a:gd name="T68" fmla="*/ 146 w 172"/>
                  <a:gd name="T69" fmla="*/ 140 h 333"/>
                  <a:gd name="T70" fmla="*/ 152 w 172"/>
                  <a:gd name="T71" fmla="*/ 121 h 333"/>
                  <a:gd name="T72" fmla="*/ 155 w 172"/>
                  <a:gd name="T73" fmla="*/ 102 h 333"/>
                  <a:gd name="T74" fmla="*/ 153 w 172"/>
                  <a:gd name="T75" fmla="*/ 84 h 333"/>
                  <a:gd name="T76" fmla="*/ 165 w 172"/>
                  <a:gd name="T77" fmla="*/ 95 h 333"/>
                  <a:gd name="T78" fmla="*/ 167 w 172"/>
                  <a:gd name="T79" fmla="*/ 64 h 333"/>
                  <a:gd name="T80" fmla="*/ 153 w 172"/>
                  <a:gd name="T81" fmla="*/ 21 h 333"/>
                  <a:gd name="T82" fmla="*/ 141 w 172"/>
                  <a:gd name="T83" fmla="*/ 8 h 333"/>
                  <a:gd name="T84" fmla="*/ 142 w 172"/>
                  <a:gd name="T85"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 h="333">
                    <a:moveTo>
                      <a:pt x="142" y="0"/>
                    </a:moveTo>
                    <a:cubicBezTo>
                      <a:pt x="139" y="3"/>
                      <a:pt x="137" y="7"/>
                      <a:pt x="134" y="10"/>
                    </a:cubicBezTo>
                    <a:cubicBezTo>
                      <a:pt x="133" y="11"/>
                      <a:pt x="129" y="11"/>
                      <a:pt x="131" y="12"/>
                    </a:cubicBezTo>
                    <a:cubicBezTo>
                      <a:pt x="133" y="15"/>
                      <a:pt x="133" y="15"/>
                      <a:pt x="134" y="18"/>
                    </a:cubicBezTo>
                    <a:cubicBezTo>
                      <a:pt x="136" y="23"/>
                      <a:pt x="133" y="25"/>
                      <a:pt x="132" y="30"/>
                    </a:cubicBezTo>
                    <a:cubicBezTo>
                      <a:pt x="131" y="32"/>
                      <a:pt x="133" y="32"/>
                      <a:pt x="130" y="34"/>
                    </a:cubicBezTo>
                    <a:cubicBezTo>
                      <a:pt x="129" y="35"/>
                      <a:pt x="128" y="35"/>
                      <a:pt x="127" y="35"/>
                    </a:cubicBezTo>
                    <a:cubicBezTo>
                      <a:pt x="126" y="35"/>
                      <a:pt x="125" y="35"/>
                      <a:pt x="124" y="34"/>
                    </a:cubicBezTo>
                    <a:cubicBezTo>
                      <a:pt x="124" y="35"/>
                      <a:pt x="125" y="37"/>
                      <a:pt x="124" y="37"/>
                    </a:cubicBezTo>
                    <a:cubicBezTo>
                      <a:pt x="124" y="38"/>
                      <a:pt x="121" y="38"/>
                      <a:pt x="121" y="38"/>
                    </a:cubicBezTo>
                    <a:cubicBezTo>
                      <a:pt x="120" y="40"/>
                      <a:pt x="120" y="44"/>
                      <a:pt x="119" y="44"/>
                    </a:cubicBezTo>
                    <a:cubicBezTo>
                      <a:pt x="118" y="44"/>
                      <a:pt x="118" y="43"/>
                      <a:pt x="117" y="42"/>
                    </a:cubicBezTo>
                    <a:cubicBezTo>
                      <a:pt x="116" y="42"/>
                      <a:pt x="117" y="41"/>
                      <a:pt x="116" y="40"/>
                    </a:cubicBezTo>
                    <a:cubicBezTo>
                      <a:pt x="116" y="39"/>
                      <a:pt x="116" y="40"/>
                      <a:pt x="115" y="39"/>
                    </a:cubicBezTo>
                    <a:cubicBezTo>
                      <a:pt x="113" y="38"/>
                      <a:pt x="114" y="38"/>
                      <a:pt x="112" y="37"/>
                    </a:cubicBezTo>
                    <a:cubicBezTo>
                      <a:pt x="108" y="41"/>
                      <a:pt x="115" y="51"/>
                      <a:pt x="113" y="56"/>
                    </a:cubicBezTo>
                    <a:cubicBezTo>
                      <a:pt x="113" y="54"/>
                      <a:pt x="113" y="52"/>
                      <a:pt x="111" y="51"/>
                    </a:cubicBezTo>
                    <a:cubicBezTo>
                      <a:pt x="111" y="52"/>
                      <a:pt x="112" y="55"/>
                      <a:pt x="111" y="55"/>
                    </a:cubicBezTo>
                    <a:cubicBezTo>
                      <a:pt x="111" y="55"/>
                      <a:pt x="110" y="55"/>
                      <a:pt x="110" y="55"/>
                    </a:cubicBezTo>
                    <a:cubicBezTo>
                      <a:pt x="110" y="55"/>
                      <a:pt x="110" y="55"/>
                      <a:pt x="109" y="54"/>
                    </a:cubicBezTo>
                    <a:cubicBezTo>
                      <a:pt x="109" y="54"/>
                      <a:pt x="109" y="54"/>
                      <a:pt x="108" y="54"/>
                    </a:cubicBezTo>
                    <a:cubicBezTo>
                      <a:pt x="108" y="54"/>
                      <a:pt x="108" y="55"/>
                      <a:pt x="107" y="55"/>
                    </a:cubicBezTo>
                    <a:cubicBezTo>
                      <a:pt x="107" y="57"/>
                      <a:pt x="105" y="62"/>
                      <a:pt x="107" y="63"/>
                    </a:cubicBezTo>
                    <a:cubicBezTo>
                      <a:pt x="107" y="63"/>
                      <a:pt x="107" y="63"/>
                      <a:pt x="107" y="63"/>
                    </a:cubicBezTo>
                    <a:cubicBezTo>
                      <a:pt x="108" y="63"/>
                      <a:pt x="108" y="63"/>
                      <a:pt x="109" y="63"/>
                    </a:cubicBezTo>
                    <a:cubicBezTo>
                      <a:pt x="109" y="63"/>
                      <a:pt x="110" y="63"/>
                      <a:pt x="111" y="63"/>
                    </a:cubicBezTo>
                    <a:cubicBezTo>
                      <a:pt x="111" y="63"/>
                      <a:pt x="111" y="63"/>
                      <a:pt x="111" y="63"/>
                    </a:cubicBezTo>
                    <a:cubicBezTo>
                      <a:pt x="113" y="64"/>
                      <a:pt x="113" y="65"/>
                      <a:pt x="113" y="67"/>
                    </a:cubicBezTo>
                    <a:cubicBezTo>
                      <a:pt x="113" y="66"/>
                      <a:pt x="112" y="65"/>
                      <a:pt x="112" y="65"/>
                    </a:cubicBezTo>
                    <a:cubicBezTo>
                      <a:pt x="112" y="64"/>
                      <a:pt x="112" y="64"/>
                      <a:pt x="112" y="64"/>
                    </a:cubicBezTo>
                    <a:cubicBezTo>
                      <a:pt x="111" y="64"/>
                      <a:pt x="111" y="64"/>
                      <a:pt x="111" y="64"/>
                    </a:cubicBezTo>
                    <a:cubicBezTo>
                      <a:pt x="111" y="64"/>
                      <a:pt x="111" y="64"/>
                      <a:pt x="111" y="64"/>
                    </a:cubicBezTo>
                    <a:cubicBezTo>
                      <a:pt x="111" y="64"/>
                      <a:pt x="111" y="64"/>
                      <a:pt x="111" y="64"/>
                    </a:cubicBezTo>
                    <a:cubicBezTo>
                      <a:pt x="111" y="64"/>
                      <a:pt x="111" y="64"/>
                      <a:pt x="111" y="64"/>
                    </a:cubicBezTo>
                    <a:cubicBezTo>
                      <a:pt x="110" y="64"/>
                      <a:pt x="108" y="64"/>
                      <a:pt x="108" y="63"/>
                    </a:cubicBezTo>
                    <a:cubicBezTo>
                      <a:pt x="105" y="64"/>
                      <a:pt x="102" y="70"/>
                      <a:pt x="99" y="73"/>
                    </a:cubicBezTo>
                    <a:cubicBezTo>
                      <a:pt x="99" y="71"/>
                      <a:pt x="101" y="70"/>
                      <a:pt x="101" y="67"/>
                    </a:cubicBezTo>
                    <a:cubicBezTo>
                      <a:pt x="100" y="66"/>
                      <a:pt x="100" y="65"/>
                      <a:pt x="100" y="65"/>
                    </a:cubicBezTo>
                    <a:cubicBezTo>
                      <a:pt x="99" y="65"/>
                      <a:pt x="99" y="66"/>
                      <a:pt x="98" y="67"/>
                    </a:cubicBezTo>
                    <a:cubicBezTo>
                      <a:pt x="96" y="69"/>
                      <a:pt x="91" y="77"/>
                      <a:pt x="92" y="80"/>
                    </a:cubicBezTo>
                    <a:cubicBezTo>
                      <a:pt x="92" y="80"/>
                      <a:pt x="92" y="80"/>
                      <a:pt x="92" y="80"/>
                    </a:cubicBezTo>
                    <a:cubicBezTo>
                      <a:pt x="92" y="80"/>
                      <a:pt x="94" y="83"/>
                      <a:pt x="95" y="83"/>
                    </a:cubicBezTo>
                    <a:cubicBezTo>
                      <a:pt x="93" y="85"/>
                      <a:pt x="90" y="84"/>
                      <a:pt x="88" y="85"/>
                    </a:cubicBezTo>
                    <a:cubicBezTo>
                      <a:pt x="89" y="83"/>
                      <a:pt x="91" y="80"/>
                      <a:pt x="88" y="79"/>
                    </a:cubicBezTo>
                    <a:cubicBezTo>
                      <a:pt x="88" y="78"/>
                      <a:pt x="88" y="78"/>
                      <a:pt x="88" y="78"/>
                    </a:cubicBezTo>
                    <a:cubicBezTo>
                      <a:pt x="86" y="78"/>
                      <a:pt x="84" y="80"/>
                      <a:pt x="82" y="82"/>
                    </a:cubicBezTo>
                    <a:cubicBezTo>
                      <a:pt x="80" y="83"/>
                      <a:pt x="77" y="85"/>
                      <a:pt x="75" y="87"/>
                    </a:cubicBezTo>
                    <a:cubicBezTo>
                      <a:pt x="73" y="89"/>
                      <a:pt x="73" y="91"/>
                      <a:pt x="74" y="93"/>
                    </a:cubicBezTo>
                    <a:cubicBezTo>
                      <a:pt x="75" y="94"/>
                      <a:pt x="76" y="94"/>
                      <a:pt x="77" y="96"/>
                    </a:cubicBezTo>
                    <a:cubicBezTo>
                      <a:pt x="76" y="95"/>
                      <a:pt x="76" y="95"/>
                      <a:pt x="75" y="95"/>
                    </a:cubicBezTo>
                    <a:cubicBezTo>
                      <a:pt x="75" y="95"/>
                      <a:pt x="74" y="95"/>
                      <a:pt x="74" y="95"/>
                    </a:cubicBezTo>
                    <a:cubicBezTo>
                      <a:pt x="74" y="96"/>
                      <a:pt x="74" y="96"/>
                      <a:pt x="73" y="96"/>
                    </a:cubicBezTo>
                    <a:cubicBezTo>
                      <a:pt x="73" y="96"/>
                      <a:pt x="72" y="96"/>
                      <a:pt x="72" y="95"/>
                    </a:cubicBezTo>
                    <a:cubicBezTo>
                      <a:pt x="71" y="94"/>
                      <a:pt x="72" y="92"/>
                      <a:pt x="71" y="91"/>
                    </a:cubicBezTo>
                    <a:cubicBezTo>
                      <a:pt x="71" y="90"/>
                      <a:pt x="70" y="90"/>
                      <a:pt x="69" y="90"/>
                    </a:cubicBezTo>
                    <a:cubicBezTo>
                      <a:pt x="68" y="90"/>
                      <a:pt x="66" y="92"/>
                      <a:pt x="64" y="93"/>
                    </a:cubicBezTo>
                    <a:cubicBezTo>
                      <a:pt x="65" y="92"/>
                      <a:pt x="64" y="92"/>
                      <a:pt x="64" y="92"/>
                    </a:cubicBezTo>
                    <a:cubicBezTo>
                      <a:pt x="63" y="92"/>
                      <a:pt x="62" y="93"/>
                      <a:pt x="62" y="93"/>
                    </a:cubicBezTo>
                    <a:cubicBezTo>
                      <a:pt x="62" y="93"/>
                      <a:pt x="62" y="93"/>
                      <a:pt x="62" y="93"/>
                    </a:cubicBezTo>
                    <a:cubicBezTo>
                      <a:pt x="61" y="93"/>
                      <a:pt x="61" y="92"/>
                      <a:pt x="60" y="92"/>
                    </a:cubicBezTo>
                    <a:cubicBezTo>
                      <a:pt x="60" y="92"/>
                      <a:pt x="59" y="92"/>
                      <a:pt x="59" y="92"/>
                    </a:cubicBezTo>
                    <a:cubicBezTo>
                      <a:pt x="58" y="92"/>
                      <a:pt x="58" y="92"/>
                      <a:pt x="58" y="92"/>
                    </a:cubicBezTo>
                    <a:cubicBezTo>
                      <a:pt x="56" y="94"/>
                      <a:pt x="55" y="95"/>
                      <a:pt x="53" y="96"/>
                    </a:cubicBezTo>
                    <a:cubicBezTo>
                      <a:pt x="51" y="97"/>
                      <a:pt x="51" y="97"/>
                      <a:pt x="49" y="99"/>
                    </a:cubicBezTo>
                    <a:cubicBezTo>
                      <a:pt x="49" y="97"/>
                      <a:pt x="48" y="96"/>
                      <a:pt x="48" y="96"/>
                    </a:cubicBezTo>
                    <a:cubicBezTo>
                      <a:pt x="47" y="96"/>
                      <a:pt x="46" y="96"/>
                      <a:pt x="45" y="97"/>
                    </a:cubicBezTo>
                    <a:cubicBezTo>
                      <a:pt x="43" y="99"/>
                      <a:pt x="41" y="102"/>
                      <a:pt x="38" y="102"/>
                    </a:cubicBezTo>
                    <a:cubicBezTo>
                      <a:pt x="38" y="102"/>
                      <a:pt x="38" y="102"/>
                      <a:pt x="38" y="102"/>
                    </a:cubicBezTo>
                    <a:cubicBezTo>
                      <a:pt x="37" y="102"/>
                      <a:pt x="36" y="102"/>
                      <a:pt x="35" y="102"/>
                    </a:cubicBezTo>
                    <a:cubicBezTo>
                      <a:pt x="34" y="102"/>
                      <a:pt x="33" y="101"/>
                      <a:pt x="32" y="101"/>
                    </a:cubicBezTo>
                    <a:cubicBezTo>
                      <a:pt x="31" y="101"/>
                      <a:pt x="31" y="101"/>
                      <a:pt x="30" y="101"/>
                    </a:cubicBezTo>
                    <a:cubicBezTo>
                      <a:pt x="26" y="103"/>
                      <a:pt x="27" y="115"/>
                      <a:pt x="25" y="120"/>
                    </a:cubicBezTo>
                    <a:cubicBezTo>
                      <a:pt x="23" y="123"/>
                      <a:pt x="21" y="127"/>
                      <a:pt x="19" y="130"/>
                    </a:cubicBezTo>
                    <a:cubicBezTo>
                      <a:pt x="18" y="131"/>
                      <a:pt x="16" y="134"/>
                      <a:pt x="17" y="136"/>
                    </a:cubicBezTo>
                    <a:cubicBezTo>
                      <a:pt x="18" y="144"/>
                      <a:pt x="20" y="152"/>
                      <a:pt x="22" y="160"/>
                    </a:cubicBezTo>
                    <a:cubicBezTo>
                      <a:pt x="23" y="166"/>
                      <a:pt x="24" y="172"/>
                      <a:pt x="27" y="177"/>
                    </a:cubicBezTo>
                    <a:cubicBezTo>
                      <a:pt x="30" y="181"/>
                      <a:pt x="30" y="182"/>
                      <a:pt x="28" y="186"/>
                    </a:cubicBezTo>
                    <a:cubicBezTo>
                      <a:pt x="27" y="190"/>
                      <a:pt x="28" y="195"/>
                      <a:pt x="26" y="198"/>
                    </a:cubicBezTo>
                    <a:cubicBezTo>
                      <a:pt x="26" y="200"/>
                      <a:pt x="25" y="202"/>
                      <a:pt x="24" y="204"/>
                    </a:cubicBezTo>
                    <a:cubicBezTo>
                      <a:pt x="23" y="206"/>
                      <a:pt x="22" y="206"/>
                      <a:pt x="21" y="208"/>
                    </a:cubicBezTo>
                    <a:cubicBezTo>
                      <a:pt x="20" y="210"/>
                      <a:pt x="19" y="211"/>
                      <a:pt x="18" y="213"/>
                    </a:cubicBezTo>
                    <a:cubicBezTo>
                      <a:pt x="15" y="216"/>
                      <a:pt x="17" y="221"/>
                      <a:pt x="14" y="224"/>
                    </a:cubicBezTo>
                    <a:cubicBezTo>
                      <a:pt x="11" y="228"/>
                      <a:pt x="7" y="224"/>
                      <a:pt x="6" y="230"/>
                    </a:cubicBezTo>
                    <a:cubicBezTo>
                      <a:pt x="6" y="231"/>
                      <a:pt x="6" y="232"/>
                      <a:pt x="6" y="234"/>
                    </a:cubicBezTo>
                    <a:cubicBezTo>
                      <a:pt x="6" y="235"/>
                      <a:pt x="5" y="235"/>
                      <a:pt x="5" y="236"/>
                    </a:cubicBezTo>
                    <a:cubicBezTo>
                      <a:pt x="3" y="238"/>
                      <a:pt x="3" y="239"/>
                      <a:pt x="2" y="241"/>
                    </a:cubicBezTo>
                    <a:cubicBezTo>
                      <a:pt x="2" y="241"/>
                      <a:pt x="2" y="241"/>
                      <a:pt x="2" y="241"/>
                    </a:cubicBezTo>
                    <a:cubicBezTo>
                      <a:pt x="0" y="244"/>
                      <a:pt x="0" y="249"/>
                      <a:pt x="1" y="253"/>
                    </a:cubicBezTo>
                    <a:cubicBezTo>
                      <a:pt x="2" y="262"/>
                      <a:pt x="6" y="268"/>
                      <a:pt x="10" y="276"/>
                    </a:cubicBezTo>
                    <a:cubicBezTo>
                      <a:pt x="10" y="278"/>
                      <a:pt x="12" y="280"/>
                      <a:pt x="12" y="282"/>
                    </a:cubicBezTo>
                    <a:cubicBezTo>
                      <a:pt x="12" y="283"/>
                      <a:pt x="11" y="283"/>
                      <a:pt x="10" y="284"/>
                    </a:cubicBezTo>
                    <a:cubicBezTo>
                      <a:pt x="9" y="286"/>
                      <a:pt x="10" y="288"/>
                      <a:pt x="11" y="290"/>
                    </a:cubicBezTo>
                    <a:cubicBezTo>
                      <a:pt x="11" y="294"/>
                      <a:pt x="10" y="299"/>
                      <a:pt x="12" y="303"/>
                    </a:cubicBezTo>
                    <a:cubicBezTo>
                      <a:pt x="13" y="307"/>
                      <a:pt x="16" y="310"/>
                      <a:pt x="18" y="314"/>
                    </a:cubicBezTo>
                    <a:cubicBezTo>
                      <a:pt x="20" y="318"/>
                      <a:pt x="20" y="318"/>
                      <a:pt x="24" y="320"/>
                    </a:cubicBezTo>
                    <a:cubicBezTo>
                      <a:pt x="32" y="325"/>
                      <a:pt x="40" y="333"/>
                      <a:pt x="50" y="333"/>
                    </a:cubicBezTo>
                    <a:cubicBezTo>
                      <a:pt x="51" y="333"/>
                      <a:pt x="53" y="333"/>
                      <a:pt x="54" y="332"/>
                    </a:cubicBezTo>
                    <a:cubicBezTo>
                      <a:pt x="60" y="331"/>
                      <a:pt x="65" y="325"/>
                      <a:pt x="71" y="323"/>
                    </a:cubicBezTo>
                    <a:cubicBezTo>
                      <a:pt x="76" y="321"/>
                      <a:pt x="80" y="323"/>
                      <a:pt x="85" y="321"/>
                    </a:cubicBezTo>
                    <a:cubicBezTo>
                      <a:pt x="87" y="320"/>
                      <a:pt x="88" y="320"/>
                      <a:pt x="89" y="318"/>
                    </a:cubicBezTo>
                    <a:cubicBezTo>
                      <a:pt x="91" y="314"/>
                      <a:pt x="93" y="310"/>
                      <a:pt x="94" y="306"/>
                    </a:cubicBezTo>
                    <a:cubicBezTo>
                      <a:pt x="96" y="302"/>
                      <a:pt x="99" y="298"/>
                      <a:pt x="100" y="294"/>
                    </a:cubicBezTo>
                    <a:cubicBezTo>
                      <a:pt x="109" y="264"/>
                      <a:pt x="118" y="234"/>
                      <a:pt x="127" y="205"/>
                    </a:cubicBezTo>
                    <a:cubicBezTo>
                      <a:pt x="131" y="192"/>
                      <a:pt x="135" y="178"/>
                      <a:pt x="138" y="165"/>
                    </a:cubicBezTo>
                    <a:cubicBezTo>
                      <a:pt x="141" y="157"/>
                      <a:pt x="143" y="148"/>
                      <a:pt x="146" y="140"/>
                    </a:cubicBezTo>
                    <a:cubicBezTo>
                      <a:pt x="147" y="137"/>
                      <a:pt x="147" y="135"/>
                      <a:pt x="147" y="132"/>
                    </a:cubicBezTo>
                    <a:cubicBezTo>
                      <a:pt x="147" y="130"/>
                      <a:pt x="146" y="130"/>
                      <a:pt x="147" y="129"/>
                    </a:cubicBezTo>
                    <a:cubicBezTo>
                      <a:pt x="148" y="126"/>
                      <a:pt x="150" y="123"/>
                      <a:pt x="152" y="121"/>
                    </a:cubicBezTo>
                    <a:cubicBezTo>
                      <a:pt x="154" y="119"/>
                      <a:pt x="156" y="118"/>
                      <a:pt x="154" y="116"/>
                    </a:cubicBezTo>
                    <a:cubicBezTo>
                      <a:pt x="152" y="115"/>
                      <a:pt x="153" y="113"/>
                      <a:pt x="154" y="112"/>
                    </a:cubicBezTo>
                    <a:cubicBezTo>
                      <a:pt x="155" y="109"/>
                      <a:pt x="157" y="104"/>
                      <a:pt x="155" y="102"/>
                    </a:cubicBezTo>
                    <a:cubicBezTo>
                      <a:pt x="154" y="99"/>
                      <a:pt x="152" y="101"/>
                      <a:pt x="153" y="97"/>
                    </a:cubicBezTo>
                    <a:cubicBezTo>
                      <a:pt x="153" y="94"/>
                      <a:pt x="152" y="93"/>
                      <a:pt x="152" y="90"/>
                    </a:cubicBezTo>
                    <a:cubicBezTo>
                      <a:pt x="151" y="88"/>
                      <a:pt x="151" y="85"/>
                      <a:pt x="153" y="84"/>
                    </a:cubicBezTo>
                    <a:cubicBezTo>
                      <a:pt x="154" y="83"/>
                      <a:pt x="155" y="83"/>
                      <a:pt x="155" y="83"/>
                    </a:cubicBezTo>
                    <a:cubicBezTo>
                      <a:pt x="158" y="83"/>
                      <a:pt x="159" y="87"/>
                      <a:pt x="160" y="89"/>
                    </a:cubicBezTo>
                    <a:cubicBezTo>
                      <a:pt x="161" y="92"/>
                      <a:pt x="163" y="95"/>
                      <a:pt x="165" y="95"/>
                    </a:cubicBezTo>
                    <a:cubicBezTo>
                      <a:pt x="165" y="95"/>
                      <a:pt x="166" y="95"/>
                      <a:pt x="167" y="93"/>
                    </a:cubicBezTo>
                    <a:cubicBezTo>
                      <a:pt x="169" y="90"/>
                      <a:pt x="171" y="85"/>
                      <a:pt x="171" y="81"/>
                    </a:cubicBezTo>
                    <a:cubicBezTo>
                      <a:pt x="172" y="75"/>
                      <a:pt x="169" y="69"/>
                      <a:pt x="167" y="64"/>
                    </a:cubicBezTo>
                    <a:cubicBezTo>
                      <a:pt x="166" y="59"/>
                      <a:pt x="164" y="54"/>
                      <a:pt x="163" y="49"/>
                    </a:cubicBezTo>
                    <a:cubicBezTo>
                      <a:pt x="162" y="42"/>
                      <a:pt x="161" y="34"/>
                      <a:pt x="158" y="27"/>
                    </a:cubicBezTo>
                    <a:cubicBezTo>
                      <a:pt x="157" y="25"/>
                      <a:pt x="155" y="23"/>
                      <a:pt x="153" y="21"/>
                    </a:cubicBezTo>
                    <a:cubicBezTo>
                      <a:pt x="150" y="18"/>
                      <a:pt x="148" y="15"/>
                      <a:pt x="147" y="12"/>
                    </a:cubicBezTo>
                    <a:cubicBezTo>
                      <a:pt x="146" y="11"/>
                      <a:pt x="144" y="8"/>
                      <a:pt x="143" y="8"/>
                    </a:cubicBezTo>
                    <a:cubicBezTo>
                      <a:pt x="142" y="8"/>
                      <a:pt x="142" y="8"/>
                      <a:pt x="141" y="8"/>
                    </a:cubicBezTo>
                    <a:cubicBezTo>
                      <a:pt x="142" y="7"/>
                      <a:pt x="143" y="6"/>
                      <a:pt x="144" y="6"/>
                    </a:cubicBezTo>
                    <a:cubicBezTo>
                      <a:pt x="144" y="6"/>
                      <a:pt x="144" y="6"/>
                      <a:pt x="145" y="6"/>
                    </a:cubicBezTo>
                    <a:cubicBezTo>
                      <a:pt x="144" y="4"/>
                      <a:pt x="143" y="2"/>
                      <a:pt x="1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 name="Freeform 127">
                <a:extLst>
                  <a:ext uri="{FF2B5EF4-FFF2-40B4-BE49-F238E27FC236}">
                    <a16:creationId xmlns:a16="http://schemas.microsoft.com/office/drawing/2014/main" id="{857846ED-CF55-4D95-B746-6149FF779775}"/>
                  </a:ext>
                </a:extLst>
              </p:cNvPr>
              <p:cNvSpPr>
                <a:spLocks/>
              </p:cNvSpPr>
              <p:nvPr/>
            </p:nvSpPr>
            <p:spPr bwMode="auto">
              <a:xfrm>
                <a:off x="6433" y="3693"/>
                <a:ext cx="9" cy="22"/>
              </a:xfrm>
              <a:custGeom>
                <a:avLst/>
                <a:gdLst>
                  <a:gd name="T0" fmla="*/ 4 w 4"/>
                  <a:gd name="T1" fmla="*/ 0 h 9"/>
                  <a:gd name="T2" fmla="*/ 0 w 4"/>
                  <a:gd name="T3" fmla="*/ 9 h 9"/>
                  <a:gd name="T4" fmla="*/ 4 w 4"/>
                  <a:gd name="T5" fmla="*/ 0 h 9"/>
                </a:gdLst>
                <a:ahLst/>
                <a:cxnLst>
                  <a:cxn ang="0">
                    <a:pos x="T0" y="T1"/>
                  </a:cxn>
                  <a:cxn ang="0">
                    <a:pos x="T2" y="T3"/>
                  </a:cxn>
                  <a:cxn ang="0">
                    <a:pos x="T4" y="T5"/>
                  </a:cxn>
                </a:cxnLst>
                <a:rect l="0" t="0" r="r" b="b"/>
                <a:pathLst>
                  <a:path w="4" h="9">
                    <a:moveTo>
                      <a:pt x="4" y="0"/>
                    </a:moveTo>
                    <a:cubicBezTo>
                      <a:pt x="2" y="3"/>
                      <a:pt x="1" y="6"/>
                      <a:pt x="0" y="9"/>
                    </a:cubicBezTo>
                    <a:cubicBezTo>
                      <a:pt x="1" y="6"/>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 name="Freeform 128">
                <a:extLst>
                  <a:ext uri="{FF2B5EF4-FFF2-40B4-BE49-F238E27FC236}">
                    <a16:creationId xmlns:a16="http://schemas.microsoft.com/office/drawing/2014/main" id="{4E2C8CDF-3BE4-4D29-ADFE-242AB8D6685F}"/>
                  </a:ext>
                </a:extLst>
              </p:cNvPr>
              <p:cNvSpPr>
                <a:spLocks/>
              </p:cNvSpPr>
              <p:nvPr/>
            </p:nvSpPr>
            <p:spPr bwMode="auto">
              <a:xfrm>
                <a:off x="6341" y="3493"/>
                <a:ext cx="9" cy="11"/>
              </a:xfrm>
              <a:custGeom>
                <a:avLst/>
                <a:gdLst>
                  <a:gd name="T0" fmla="*/ 2 w 4"/>
                  <a:gd name="T1" fmla="*/ 0 h 5"/>
                  <a:gd name="T2" fmla="*/ 0 w 4"/>
                  <a:gd name="T3" fmla="*/ 2 h 5"/>
                  <a:gd name="T4" fmla="*/ 3 w 4"/>
                  <a:gd name="T5" fmla="*/ 5 h 5"/>
                  <a:gd name="T6" fmla="*/ 3 w 4"/>
                  <a:gd name="T7" fmla="*/ 0 h 5"/>
                  <a:gd name="T8" fmla="*/ 2 w 4"/>
                  <a:gd name="T9" fmla="*/ 0 h 5"/>
                </a:gdLst>
                <a:ahLst/>
                <a:cxnLst>
                  <a:cxn ang="0">
                    <a:pos x="T0" y="T1"/>
                  </a:cxn>
                  <a:cxn ang="0">
                    <a:pos x="T2" y="T3"/>
                  </a:cxn>
                  <a:cxn ang="0">
                    <a:pos x="T4" y="T5"/>
                  </a:cxn>
                  <a:cxn ang="0">
                    <a:pos x="T6" y="T7"/>
                  </a:cxn>
                  <a:cxn ang="0">
                    <a:pos x="T8" y="T9"/>
                  </a:cxn>
                </a:cxnLst>
                <a:rect l="0" t="0" r="r" b="b"/>
                <a:pathLst>
                  <a:path w="4" h="5">
                    <a:moveTo>
                      <a:pt x="2" y="0"/>
                    </a:moveTo>
                    <a:cubicBezTo>
                      <a:pt x="1" y="0"/>
                      <a:pt x="0" y="1"/>
                      <a:pt x="0" y="2"/>
                    </a:cubicBezTo>
                    <a:cubicBezTo>
                      <a:pt x="0" y="4"/>
                      <a:pt x="2" y="4"/>
                      <a:pt x="3" y="5"/>
                    </a:cubicBezTo>
                    <a:cubicBezTo>
                      <a:pt x="4" y="4"/>
                      <a:pt x="4" y="1"/>
                      <a:pt x="3"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 name="Freeform 129">
                <a:extLst>
                  <a:ext uri="{FF2B5EF4-FFF2-40B4-BE49-F238E27FC236}">
                    <a16:creationId xmlns:a16="http://schemas.microsoft.com/office/drawing/2014/main" id="{0CCF878A-32D3-4A90-B59C-7E4BB006D365}"/>
                  </a:ext>
                </a:extLst>
              </p:cNvPr>
              <p:cNvSpPr>
                <a:spLocks/>
              </p:cNvSpPr>
              <p:nvPr/>
            </p:nvSpPr>
            <p:spPr bwMode="auto">
              <a:xfrm>
                <a:off x="4129" y="2547"/>
                <a:ext cx="30" cy="28"/>
              </a:xfrm>
              <a:custGeom>
                <a:avLst/>
                <a:gdLst>
                  <a:gd name="T0" fmla="*/ 12 w 13"/>
                  <a:gd name="T1" fmla="*/ 0 h 12"/>
                  <a:gd name="T2" fmla="*/ 5 w 13"/>
                  <a:gd name="T3" fmla="*/ 2 h 12"/>
                  <a:gd name="T4" fmla="*/ 4 w 13"/>
                  <a:gd name="T5" fmla="*/ 6 h 12"/>
                  <a:gd name="T6" fmla="*/ 3 w 13"/>
                  <a:gd name="T7" fmla="*/ 6 h 12"/>
                  <a:gd name="T8" fmla="*/ 3 w 13"/>
                  <a:gd name="T9" fmla="*/ 6 h 12"/>
                  <a:gd name="T10" fmla="*/ 2 w 13"/>
                  <a:gd name="T11" fmla="*/ 6 h 12"/>
                  <a:gd name="T12" fmla="*/ 1 w 13"/>
                  <a:gd name="T13" fmla="*/ 6 h 12"/>
                  <a:gd name="T14" fmla="*/ 1 w 13"/>
                  <a:gd name="T15" fmla="*/ 11 h 12"/>
                  <a:gd name="T16" fmla="*/ 6 w 13"/>
                  <a:gd name="T17" fmla="*/ 12 h 12"/>
                  <a:gd name="T18" fmla="*/ 6 w 13"/>
                  <a:gd name="T19" fmla="*/ 12 h 12"/>
                  <a:gd name="T20" fmla="*/ 12 w 13"/>
                  <a:gd name="T21" fmla="*/ 3 h 12"/>
                  <a:gd name="T22" fmla="*/ 12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12" y="0"/>
                    </a:moveTo>
                    <a:cubicBezTo>
                      <a:pt x="10" y="0"/>
                      <a:pt x="7" y="1"/>
                      <a:pt x="5" y="2"/>
                    </a:cubicBezTo>
                    <a:cubicBezTo>
                      <a:pt x="5" y="2"/>
                      <a:pt x="4" y="6"/>
                      <a:pt x="4" y="6"/>
                    </a:cubicBezTo>
                    <a:cubicBezTo>
                      <a:pt x="4" y="6"/>
                      <a:pt x="4" y="6"/>
                      <a:pt x="3" y="6"/>
                    </a:cubicBezTo>
                    <a:cubicBezTo>
                      <a:pt x="3" y="6"/>
                      <a:pt x="3" y="6"/>
                      <a:pt x="3" y="6"/>
                    </a:cubicBezTo>
                    <a:cubicBezTo>
                      <a:pt x="2" y="6"/>
                      <a:pt x="2" y="6"/>
                      <a:pt x="2" y="6"/>
                    </a:cubicBezTo>
                    <a:cubicBezTo>
                      <a:pt x="2" y="6"/>
                      <a:pt x="2" y="6"/>
                      <a:pt x="1" y="6"/>
                    </a:cubicBezTo>
                    <a:cubicBezTo>
                      <a:pt x="0" y="7"/>
                      <a:pt x="0" y="10"/>
                      <a:pt x="1" y="11"/>
                    </a:cubicBezTo>
                    <a:cubicBezTo>
                      <a:pt x="2" y="11"/>
                      <a:pt x="5" y="12"/>
                      <a:pt x="6" y="12"/>
                    </a:cubicBezTo>
                    <a:cubicBezTo>
                      <a:pt x="6" y="12"/>
                      <a:pt x="6" y="12"/>
                      <a:pt x="6" y="12"/>
                    </a:cubicBezTo>
                    <a:cubicBezTo>
                      <a:pt x="8" y="12"/>
                      <a:pt x="12" y="5"/>
                      <a:pt x="12" y="3"/>
                    </a:cubicBezTo>
                    <a:cubicBezTo>
                      <a:pt x="13"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 name="Freeform 130">
                <a:extLst>
                  <a:ext uri="{FF2B5EF4-FFF2-40B4-BE49-F238E27FC236}">
                    <a16:creationId xmlns:a16="http://schemas.microsoft.com/office/drawing/2014/main" id="{4A379DC5-5225-4C25-AA31-96E9B4C2692B}"/>
                  </a:ext>
                </a:extLst>
              </p:cNvPr>
              <p:cNvSpPr>
                <a:spLocks/>
              </p:cNvSpPr>
              <p:nvPr/>
            </p:nvSpPr>
            <p:spPr bwMode="auto">
              <a:xfrm>
                <a:off x="6121" y="3429"/>
                <a:ext cx="17" cy="16"/>
              </a:xfrm>
              <a:custGeom>
                <a:avLst/>
                <a:gdLst>
                  <a:gd name="T0" fmla="*/ 6 w 7"/>
                  <a:gd name="T1" fmla="*/ 0 h 7"/>
                  <a:gd name="T2" fmla="*/ 4 w 7"/>
                  <a:gd name="T3" fmla="*/ 1 h 7"/>
                  <a:gd name="T4" fmla="*/ 1 w 7"/>
                  <a:gd name="T5" fmla="*/ 2 h 7"/>
                  <a:gd name="T6" fmla="*/ 0 w 7"/>
                  <a:gd name="T7" fmla="*/ 2 h 7"/>
                  <a:gd name="T8" fmla="*/ 7 w 7"/>
                  <a:gd name="T9" fmla="*/ 7 h 7"/>
                  <a:gd name="T10" fmla="*/ 6 w 7"/>
                  <a:gd name="T11" fmla="*/ 0 h 7"/>
                  <a:gd name="T12" fmla="*/ 6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0"/>
                    </a:moveTo>
                    <a:cubicBezTo>
                      <a:pt x="5" y="0"/>
                      <a:pt x="4" y="1"/>
                      <a:pt x="4" y="1"/>
                    </a:cubicBezTo>
                    <a:cubicBezTo>
                      <a:pt x="3" y="2"/>
                      <a:pt x="2" y="2"/>
                      <a:pt x="1" y="2"/>
                    </a:cubicBezTo>
                    <a:cubicBezTo>
                      <a:pt x="1" y="2"/>
                      <a:pt x="0" y="2"/>
                      <a:pt x="0" y="2"/>
                    </a:cubicBezTo>
                    <a:cubicBezTo>
                      <a:pt x="2" y="4"/>
                      <a:pt x="4" y="6"/>
                      <a:pt x="7" y="7"/>
                    </a:cubicBezTo>
                    <a:cubicBezTo>
                      <a:pt x="7" y="6"/>
                      <a:pt x="7"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 name="Freeform 131">
                <a:extLst>
                  <a:ext uri="{FF2B5EF4-FFF2-40B4-BE49-F238E27FC236}">
                    <a16:creationId xmlns:a16="http://schemas.microsoft.com/office/drawing/2014/main" id="{63462461-15EB-409C-9ED8-D2C8EE31B7A9}"/>
                  </a:ext>
                </a:extLst>
              </p:cNvPr>
              <p:cNvSpPr>
                <a:spLocks/>
              </p:cNvSpPr>
              <p:nvPr/>
            </p:nvSpPr>
            <p:spPr bwMode="auto">
              <a:xfrm>
                <a:off x="6088" y="3438"/>
                <a:ext cx="12" cy="7"/>
              </a:xfrm>
              <a:custGeom>
                <a:avLst/>
                <a:gdLst>
                  <a:gd name="T0" fmla="*/ 0 w 5"/>
                  <a:gd name="T1" fmla="*/ 0 h 3"/>
                  <a:gd name="T2" fmla="*/ 0 w 5"/>
                  <a:gd name="T3" fmla="*/ 0 h 3"/>
                  <a:gd name="T4" fmla="*/ 5 w 5"/>
                  <a:gd name="T5" fmla="*/ 3 h 3"/>
                  <a:gd name="T6" fmla="*/ 0 w 5"/>
                  <a:gd name="T7" fmla="*/ 0 h 3"/>
                </a:gdLst>
                <a:ahLst/>
                <a:cxnLst>
                  <a:cxn ang="0">
                    <a:pos x="T0" y="T1"/>
                  </a:cxn>
                  <a:cxn ang="0">
                    <a:pos x="T2" y="T3"/>
                  </a:cxn>
                  <a:cxn ang="0">
                    <a:pos x="T4" y="T5"/>
                  </a:cxn>
                  <a:cxn ang="0">
                    <a:pos x="T6" y="T7"/>
                  </a:cxn>
                </a:cxnLst>
                <a:rect l="0" t="0" r="r" b="b"/>
                <a:pathLst>
                  <a:path w="5" h="3">
                    <a:moveTo>
                      <a:pt x="0" y="0"/>
                    </a:moveTo>
                    <a:cubicBezTo>
                      <a:pt x="0" y="0"/>
                      <a:pt x="0" y="0"/>
                      <a:pt x="0" y="0"/>
                    </a:cubicBezTo>
                    <a:cubicBezTo>
                      <a:pt x="1" y="1"/>
                      <a:pt x="3" y="2"/>
                      <a:pt x="5"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 name="Freeform 132">
                <a:extLst>
                  <a:ext uri="{FF2B5EF4-FFF2-40B4-BE49-F238E27FC236}">
                    <a16:creationId xmlns:a16="http://schemas.microsoft.com/office/drawing/2014/main" id="{6CF31A91-A03C-4A0F-9E33-81AE64944E2E}"/>
                  </a:ext>
                </a:extLst>
              </p:cNvPr>
              <p:cNvSpPr>
                <a:spLocks/>
              </p:cNvSpPr>
              <p:nvPr/>
            </p:nvSpPr>
            <p:spPr bwMode="auto">
              <a:xfrm>
                <a:off x="6064" y="3389"/>
                <a:ext cx="17" cy="33"/>
              </a:xfrm>
              <a:custGeom>
                <a:avLst/>
                <a:gdLst>
                  <a:gd name="T0" fmla="*/ 3 w 7"/>
                  <a:gd name="T1" fmla="*/ 0 h 14"/>
                  <a:gd name="T2" fmla="*/ 1 w 7"/>
                  <a:gd name="T3" fmla="*/ 6 h 14"/>
                  <a:gd name="T4" fmla="*/ 6 w 7"/>
                  <a:gd name="T5" fmla="*/ 14 h 14"/>
                  <a:gd name="T6" fmla="*/ 4 w 7"/>
                  <a:gd name="T7" fmla="*/ 7 h 14"/>
                  <a:gd name="T8" fmla="*/ 4 w 7"/>
                  <a:gd name="T9" fmla="*/ 2 h 14"/>
                  <a:gd name="T10" fmla="*/ 3 w 7"/>
                  <a:gd name="T11" fmla="*/ 0 h 14"/>
                </a:gdLst>
                <a:ahLst/>
                <a:cxnLst>
                  <a:cxn ang="0">
                    <a:pos x="T0" y="T1"/>
                  </a:cxn>
                  <a:cxn ang="0">
                    <a:pos x="T2" y="T3"/>
                  </a:cxn>
                  <a:cxn ang="0">
                    <a:pos x="T4" y="T5"/>
                  </a:cxn>
                  <a:cxn ang="0">
                    <a:pos x="T6" y="T7"/>
                  </a:cxn>
                  <a:cxn ang="0">
                    <a:pos x="T8" y="T9"/>
                  </a:cxn>
                  <a:cxn ang="0">
                    <a:pos x="T10" y="T11"/>
                  </a:cxn>
                </a:cxnLst>
                <a:rect l="0" t="0" r="r" b="b"/>
                <a:pathLst>
                  <a:path w="7" h="14">
                    <a:moveTo>
                      <a:pt x="3" y="0"/>
                    </a:moveTo>
                    <a:cubicBezTo>
                      <a:pt x="2" y="0"/>
                      <a:pt x="1" y="4"/>
                      <a:pt x="1" y="6"/>
                    </a:cubicBezTo>
                    <a:cubicBezTo>
                      <a:pt x="0" y="10"/>
                      <a:pt x="2" y="11"/>
                      <a:pt x="6" y="14"/>
                    </a:cubicBezTo>
                    <a:cubicBezTo>
                      <a:pt x="7" y="11"/>
                      <a:pt x="5" y="10"/>
                      <a:pt x="4" y="7"/>
                    </a:cubicBezTo>
                    <a:cubicBezTo>
                      <a:pt x="4" y="6"/>
                      <a:pt x="4" y="4"/>
                      <a:pt x="4"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 name="Freeform 133">
                <a:extLst>
                  <a:ext uri="{FF2B5EF4-FFF2-40B4-BE49-F238E27FC236}">
                    <a16:creationId xmlns:a16="http://schemas.microsoft.com/office/drawing/2014/main" id="{EC110C5C-2F17-497F-99D2-823C1221406C}"/>
                  </a:ext>
                </a:extLst>
              </p:cNvPr>
              <p:cNvSpPr>
                <a:spLocks/>
              </p:cNvSpPr>
              <p:nvPr/>
            </p:nvSpPr>
            <p:spPr bwMode="auto">
              <a:xfrm>
                <a:off x="6627" y="2044"/>
                <a:ext cx="66" cy="21"/>
              </a:xfrm>
              <a:custGeom>
                <a:avLst/>
                <a:gdLst>
                  <a:gd name="T0" fmla="*/ 5 w 28"/>
                  <a:gd name="T1" fmla="*/ 0 h 9"/>
                  <a:gd name="T2" fmla="*/ 4 w 28"/>
                  <a:gd name="T3" fmla="*/ 0 h 9"/>
                  <a:gd name="T4" fmla="*/ 0 w 28"/>
                  <a:gd name="T5" fmla="*/ 4 h 9"/>
                  <a:gd name="T6" fmla="*/ 0 w 28"/>
                  <a:gd name="T7" fmla="*/ 4 h 9"/>
                  <a:gd name="T8" fmla="*/ 10 w 28"/>
                  <a:gd name="T9" fmla="*/ 9 h 9"/>
                  <a:gd name="T10" fmla="*/ 21 w 28"/>
                  <a:gd name="T11" fmla="*/ 7 h 9"/>
                  <a:gd name="T12" fmla="*/ 28 w 28"/>
                  <a:gd name="T13" fmla="*/ 4 h 9"/>
                  <a:gd name="T14" fmla="*/ 28 w 28"/>
                  <a:gd name="T15" fmla="*/ 4 h 9"/>
                  <a:gd name="T16" fmla="*/ 20 w 28"/>
                  <a:gd name="T17" fmla="*/ 1 h 9"/>
                  <a:gd name="T18" fmla="*/ 18 w 28"/>
                  <a:gd name="T19" fmla="*/ 0 h 9"/>
                  <a:gd name="T20" fmla="*/ 14 w 28"/>
                  <a:gd name="T21" fmla="*/ 1 h 9"/>
                  <a:gd name="T22" fmla="*/ 11 w 28"/>
                  <a:gd name="T23" fmla="*/ 1 h 9"/>
                  <a:gd name="T24" fmla="*/ 9 w 28"/>
                  <a:gd name="T25" fmla="*/ 1 h 9"/>
                  <a:gd name="T26" fmla="*/ 5 w 28"/>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9">
                    <a:moveTo>
                      <a:pt x="5" y="0"/>
                    </a:moveTo>
                    <a:cubicBezTo>
                      <a:pt x="4" y="0"/>
                      <a:pt x="4" y="0"/>
                      <a:pt x="4" y="0"/>
                    </a:cubicBezTo>
                    <a:cubicBezTo>
                      <a:pt x="2" y="1"/>
                      <a:pt x="2" y="4"/>
                      <a:pt x="0" y="4"/>
                    </a:cubicBezTo>
                    <a:cubicBezTo>
                      <a:pt x="0" y="4"/>
                      <a:pt x="0" y="4"/>
                      <a:pt x="0" y="4"/>
                    </a:cubicBezTo>
                    <a:cubicBezTo>
                      <a:pt x="3" y="6"/>
                      <a:pt x="6" y="8"/>
                      <a:pt x="10" y="9"/>
                    </a:cubicBezTo>
                    <a:cubicBezTo>
                      <a:pt x="14" y="9"/>
                      <a:pt x="17" y="9"/>
                      <a:pt x="21" y="7"/>
                    </a:cubicBezTo>
                    <a:cubicBezTo>
                      <a:pt x="23" y="7"/>
                      <a:pt x="26" y="4"/>
                      <a:pt x="28" y="4"/>
                    </a:cubicBezTo>
                    <a:cubicBezTo>
                      <a:pt x="28" y="4"/>
                      <a:pt x="28" y="4"/>
                      <a:pt x="28" y="4"/>
                    </a:cubicBezTo>
                    <a:cubicBezTo>
                      <a:pt x="26" y="3"/>
                      <a:pt x="23" y="1"/>
                      <a:pt x="20" y="1"/>
                    </a:cubicBezTo>
                    <a:cubicBezTo>
                      <a:pt x="19" y="0"/>
                      <a:pt x="19" y="0"/>
                      <a:pt x="18" y="0"/>
                    </a:cubicBezTo>
                    <a:cubicBezTo>
                      <a:pt x="17" y="0"/>
                      <a:pt x="16" y="1"/>
                      <a:pt x="14" y="1"/>
                    </a:cubicBezTo>
                    <a:cubicBezTo>
                      <a:pt x="13" y="1"/>
                      <a:pt x="12" y="1"/>
                      <a:pt x="11" y="1"/>
                    </a:cubicBezTo>
                    <a:cubicBezTo>
                      <a:pt x="10" y="1"/>
                      <a:pt x="10" y="1"/>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 name="Freeform 134">
                <a:extLst>
                  <a:ext uri="{FF2B5EF4-FFF2-40B4-BE49-F238E27FC236}">
                    <a16:creationId xmlns:a16="http://schemas.microsoft.com/office/drawing/2014/main" id="{96AA0B71-ADCE-4D48-B67D-DD972DE2E680}"/>
                  </a:ext>
                </a:extLst>
              </p:cNvPr>
              <p:cNvSpPr>
                <a:spLocks/>
              </p:cNvSpPr>
              <p:nvPr/>
            </p:nvSpPr>
            <p:spPr bwMode="auto">
              <a:xfrm>
                <a:off x="6558" y="2070"/>
                <a:ext cx="14" cy="4"/>
              </a:xfrm>
              <a:custGeom>
                <a:avLst/>
                <a:gdLst>
                  <a:gd name="T0" fmla="*/ 1 w 6"/>
                  <a:gd name="T1" fmla="*/ 0 h 2"/>
                  <a:gd name="T2" fmla="*/ 0 w 6"/>
                  <a:gd name="T3" fmla="*/ 0 h 2"/>
                  <a:gd name="T4" fmla="*/ 6 w 6"/>
                  <a:gd name="T5" fmla="*/ 2 h 2"/>
                  <a:gd name="T6" fmla="*/ 1 w 6"/>
                  <a:gd name="T7" fmla="*/ 0 h 2"/>
                </a:gdLst>
                <a:ahLst/>
                <a:cxnLst>
                  <a:cxn ang="0">
                    <a:pos x="T0" y="T1"/>
                  </a:cxn>
                  <a:cxn ang="0">
                    <a:pos x="T2" y="T3"/>
                  </a:cxn>
                  <a:cxn ang="0">
                    <a:pos x="T4" y="T5"/>
                  </a:cxn>
                  <a:cxn ang="0">
                    <a:pos x="T6" y="T7"/>
                  </a:cxn>
                </a:cxnLst>
                <a:rect l="0" t="0" r="r" b="b"/>
                <a:pathLst>
                  <a:path w="6" h="2">
                    <a:moveTo>
                      <a:pt x="1" y="0"/>
                    </a:moveTo>
                    <a:cubicBezTo>
                      <a:pt x="0" y="0"/>
                      <a:pt x="0" y="0"/>
                      <a:pt x="0" y="0"/>
                    </a:cubicBezTo>
                    <a:cubicBezTo>
                      <a:pt x="2" y="1"/>
                      <a:pt x="4" y="2"/>
                      <a:pt x="6" y="2"/>
                    </a:cubicBezTo>
                    <a:cubicBezTo>
                      <a:pt x="5"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 name="Freeform 135">
                <a:extLst>
                  <a:ext uri="{FF2B5EF4-FFF2-40B4-BE49-F238E27FC236}">
                    <a16:creationId xmlns:a16="http://schemas.microsoft.com/office/drawing/2014/main" id="{25477571-F47E-442C-A856-D3927644B7E7}"/>
                  </a:ext>
                </a:extLst>
              </p:cNvPr>
              <p:cNvSpPr>
                <a:spLocks/>
              </p:cNvSpPr>
              <p:nvPr/>
            </p:nvSpPr>
            <p:spPr bwMode="auto">
              <a:xfrm>
                <a:off x="5492" y="959"/>
                <a:ext cx="19" cy="4"/>
              </a:xfrm>
              <a:custGeom>
                <a:avLst/>
                <a:gdLst>
                  <a:gd name="T0" fmla="*/ 5 w 8"/>
                  <a:gd name="T1" fmla="*/ 0 h 2"/>
                  <a:gd name="T2" fmla="*/ 0 w 8"/>
                  <a:gd name="T3" fmla="*/ 2 h 2"/>
                  <a:gd name="T4" fmla="*/ 8 w 8"/>
                  <a:gd name="T5" fmla="*/ 1 h 2"/>
                  <a:gd name="T6" fmla="*/ 5 w 8"/>
                  <a:gd name="T7" fmla="*/ 0 h 2"/>
                </a:gdLst>
                <a:ahLst/>
                <a:cxnLst>
                  <a:cxn ang="0">
                    <a:pos x="T0" y="T1"/>
                  </a:cxn>
                  <a:cxn ang="0">
                    <a:pos x="T2" y="T3"/>
                  </a:cxn>
                  <a:cxn ang="0">
                    <a:pos x="T4" y="T5"/>
                  </a:cxn>
                  <a:cxn ang="0">
                    <a:pos x="T6" y="T7"/>
                  </a:cxn>
                </a:cxnLst>
                <a:rect l="0" t="0" r="r" b="b"/>
                <a:pathLst>
                  <a:path w="8" h="2">
                    <a:moveTo>
                      <a:pt x="5" y="0"/>
                    </a:moveTo>
                    <a:cubicBezTo>
                      <a:pt x="4" y="0"/>
                      <a:pt x="2" y="1"/>
                      <a:pt x="0" y="2"/>
                    </a:cubicBezTo>
                    <a:cubicBezTo>
                      <a:pt x="3" y="2"/>
                      <a:pt x="5"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 name="Freeform 136">
                <a:extLst>
                  <a:ext uri="{FF2B5EF4-FFF2-40B4-BE49-F238E27FC236}">
                    <a16:creationId xmlns:a16="http://schemas.microsoft.com/office/drawing/2014/main" id="{BD8C5A25-C183-4A56-B508-E6CE23014EA7}"/>
                  </a:ext>
                </a:extLst>
              </p:cNvPr>
              <p:cNvSpPr>
                <a:spLocks/>
              </p:cNvSpPr>
              <p:nvPr/>
            </p:nvSpPr>
            <p:spPr bwMode="auto">
              <a:xfrm>
                <a:off x="2701" y="859"/>
                <a:ext cx="33" cy="14"/>
              </a:xfrm>
              <a:custGeom>
                <a:avLst/>
                <a:gdLst>
                  <a:gd name="T0" fmla="*/ 7 w 14"/>
                  <a:gd name="T1" fmla="*/ 0 h 6"/>
                  <a:gd name="T2" fmla="*/ 0 w 14"/>
                  <a:gd name="T3" fmla="*/ 1 h 6"/>
                  <a:gd name="T4" fmla="*/ 8 w 14"/>
                  <a:gd name="T5" fmla="*/ 6 h 6"/>
                  <a:gd name="T6" fmla="*/ 14 w 14"/>
                  <a:gd name="T7" fmla="*/ 2 h 6"/>
                  <a:gd name="T8" fmla="*/ 13 w 14"/>
                  <a:gd name="T9" fmla="*/ 2 h 6"/>
                  <a:gd name="T10" fmla="*/ 8 w 14"/>
                  <a:gd name="T11" fmla="*/ 0 h 6"/>
                  <a:gd name="T12" fmla="*/ 7 w 1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7" y="0"/>
                    </a:moveTo>
                    <a:cubicBezTo>
                      <a:pt x="5" y="0"/>
                      <a:pt x="2" y="1"/>
                      <a:pt x="0" y="1"/>
                    </a:cubicBezTo>
                    <a:cubicBezTo>
                      <a:pt x="1" y="4"/>
                      <a:pt x="5" y="5"/>
                      <a:pt x="8" y="6"/>
                    </a:cubicBezTo>
                    <a:cubicBezTo>
                      <a:pt x="10" y="4"/>
                      <a:pt x="12" y="4"/>
                      <a:pt x="14" y="2"/>
                    </a:cubicBezTo>
                    <a:cubicBezTo>
                      <a:pt x="14" y="2"/>
                      <a:pt x="13" y="2"/>
                      <a:pt x="13" y="2"/>
                    </a:cubicBezTo>
                    <a:cubicBezTo>
                      <a:pt x="11" y="2"/>
                      <a:pt x="10" y="1"/>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 name="Freeform 137">
                <a:extLst>
                  <a:ext uri="{FF2B5EF4-FFF2-40B4-BE49-F238E27FC236}">
                    <a16:creationId xmlns:a16="http://schemas.microsoft.com/office/drawing/2014/main" id="{FE6D5024-9BD6-4C86-98EC-B53DE4F8051B}"/>
                  </a:ext>
                </a:extLst>
              </p:cNvPr>
              <p:cNvSpPr>
                <a:spLocks/>
              </p:cNvSpPr>
              <p:nvPr/>
            </p:nvSpPr>
            <p:spPr bwMode="auto">
              <a:xfrm>
                <a:off x="2659" y="1103"/>
                <a:ext cx="19" cy="21"/>
              </a:xfrm>
              <a:custGeom>
                <a:avLst/>
                <a:gdLst>
                  <a:gd name="T0" fmla="*/ 4 w 8"/>
                  <a:gd name="T1" fmla="*/ 0 h 9"/>
                  <a:gd name="T2" fmla="*/ 1 w 8"/>
                  <a:gd name="T3" fmla="*/ 3 h 9"/>
                  <a:gd name="T4" fmla="*/ 6 w 8"/>
                  <a:gd name="T5" fmla="*/ 9 h 9"/>
                  <a:gd name="T6" fmla="*/ 6 w 8"/>
                  <a:gd name="T7" fmla="*/ 1 h 9"/>
                  <a:gd name="T8" fmla="*/ 4 w 8"/>
                  <a:gd name="T9" fmla="*/ 0 h 9"/>
                </a:gdLst>
                <a:ahLst/>
                <a:cxnLst>
                  <a:cxn ang="0">
                    <a:pos x="T0" y="T1"/>
                  </a:cxn>
                  <a:cxn ang="0">
                    <a:pos x="T2" y="T3"/>
                  </a:cxn>
                  <a:cxn ang="0">
                    <a:pos x="T4" y="T5"/>
                  </a:cxn>
                  <a:cxn ang="0">
                    <a:pos x="T6" y="T7"/>
                  </a:cxn>
                  <a:cxn ang="0">
                    <a:pos x="T8" y="T9"/>
                  </a:cxn>
                </a:cxnLst>
                <a:rect l="0" t="0" r="r" b="b"/>
                <a:pathLst>
                  <a:path w="8" h="9">
                    <a:moveTo>
                      <a:pt x="4" y="0"/>
                    </a:moveTo>
                    <a:cubicBezTo>
                      <a:pt x="3" y="0"/>
                      <a:pt x="1" y="1"/>
                      <a:pt x="1" y="3"/>
                    </a:cubicBezTo>
                    <a:cubicBezTo>
                      <a:pt x="0" y="5"/>
                      <a:pt x="4" y="9"/>
                      <a:pt x="6" y="9"/>
                    </a:cubicBezTo>
                    <a:cubicBezTo>
                      <a:pt x="6" y="7"/>
                      <a:pt x="8" y="2"/>
                      <a:pt x="6" y="1"/>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 name="Freeform 138">
                <a:extLst>
                  <a:ext uri="{FF2B5EF4-FFF2-40B4-BE49-F238E27FC236}">
                    <a16:creationId xmlns:a16="http://schemas.microsoft.com/office/drawing/2014/main" id="{9BDACE00-F6DC-4BF3-BBF3-CC2A4AD6CB4E}"/>
                  </a:ext>
                </a:extLst>
              </p:cNvPr>
              <p:cNvSpPr>
                <a:spLocks/>
              </p:cNvSpPr>
              <p:nvPr/>
            </p:nvSpPr>
            <p:spPr bwMode="auto">
              <a:xfrm>
                <a:off x="2647" y="1164"/>
                <a:ext cx="19" cy="12"/>
              </a:xfrm>
              <a:custGeom>
                <a:avLst/>
                <a:gdLst>
                  <a:gd name="T0" fmla="*/ 8 w 8"/>
                  <a:gd name="T1" fmla="*/ 0 h 5"/>
                  <a:gd name="T2" fmla="*/ 4 w 8"/>
                  <a:gd name="T3" fmla="*/ 2 h 5"/>
                  <a:gd name="T4" fmla="*/ 6 w 8"/>
                  <a:gd name="T5" fmla="*/ 5 h 5"/>
                  <a:gd name="T6" fmla="*/ 8 w 8"/>
                  <a:gd name="T7" fmla="*/ 0 h 5"/>
                </a:gdLst>
                <a:ahLst/>
                <a:cxnLst>
                  <a:cxn ang="0">
                    <a:pos x="T0" y="T1"/>
                  </a:cxn>
                  <a:cxn ang="0">
                    <a:pos x="T2" y="T3"/>
                  </a:cxn>
                  <a:cxn ang="0">
                    <a:pos x="T4" y="T5"/>
                  </a:cxn>
                  <a:cxn ang="0">
                    <a:pos x="T6" y="T7"/>
                  </a:cxn>
                </a:cxnLst>
                <a:rect l="0" t="0" r="r" b="b"/>
                <a:pathLst>
                  <a:path w="8" h="5">
                    <a:moveTo>
                      <a:pt x="8" y="0"/>
                    </a:moveTo>
                    <a:cubicBezTo>
                      <a:pt x="6" y="1"/>
                      <a:pt x="6" y="1"/>
                      <a:pt x="4" y="2"/>
                    </a:cubicBezTo>
                    <a:cubicBezTo>
                      <a:pt x="0" y="4"/>
                      <a:pt x="3" y="3"/>
                      <a:pt x="6" y="5"/>
                    </a:cubicBezTo>
                    <a:cubicBezTo>
                      <a:pt x="7" y="4"/>
                      <a:pt x="8"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 name="Freeform 139">
                <a:extLst>
                  <a:ext uri="{FF2B5EF4-FFF2-40B4-BE49-F238E27FC236}">
                    <a16:creationId xmlns:a16="http://schemas.microsoft.com/office/drawing/2014/main" id="{C9955CDB-5BB8-499B-B392-C85FD91B2E9F}"/>
                  </a:ext>
                </a:extLst>
              </p:cNvPr>
              <p:cNvSpPr>
                <a:spLocks/>
              </p:cNvSpPr>
              <p:nvPr/>
            </p:nvSpPr>
            <p:spPr bwMode="auto">
              <a:xfrm>
                <a:off x="2694" y="1145"/>
                <a:ext cx="19" cy="10"/>
              </a:xfrm>
              <a:custGeom>
                <a:avLst/>
                <a:gdLst>
                  <a:gd name="T0" fmla="*/ 5 w 8"/>
                  <a:gd name="T1" fmla="*/ 0 h 4"/>
                  <a:gd name="T2" fmla="*/ 4 w 8"/>
                  <a:gd name="T3" fmla="*/ 4 h 4"/>
                  <a:gd name="T4" fmla="*/ 5 w 8"/>
                  <a:gd name="T5" fmla="*/ 0 h 4"/>
                </a:gdLst>
                <a:ahLst/>
                <a:cxnLst>
                  <a:cxn ang="0">
                    <a:pos x="T0" y="T1"/>
                  </a:cxn>
                  <a:cxn ang="0">
                    <a:pos x="T2" y="T3"/>
                  </a:cxn>
                  <a:cxn ang="0">
                    <a:pos x="T4" y="T5"/>
                  </a:cxn>
                </a:cxnLst>
                <a:rect l="0" t="0" r="r" b="b"/>
                <a:pathLst>
                  <a:path w="8" h="4">
                    <a:moveTo>
                      <a:pt x="5" y="0"/>
                    </a:moveTo>
                    <a:cubicBezTo>
                      <a:pt x="2" y="0"/>
                      <a:pt x="0" y="1"/>
                      <a:pt x="4" y="4"/>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 name="Freeform 140">
                <a:extLst>
                  <a:ext uri="{FF2B5EF4-FFF2-40B4-BE49-F238E27FC236}">
                    <a16:creationId xmlns:a16="http://schemas.microsoft.com/office/drawing/2014/main" id="{9C7AD126-2045-43FE-9A09-CA8613CCA457}"/>
                  </a:ext>
                </a:extLst>
              </p:cNvPr>
              <p:cNvSpPr>
                <a:spLocks/>
              </p:cNvSpPr>
              <p:nvPr/>
            </p:nvSpPr>
            <p:spPr bwMode="auto">
              <a:xfrm>
                <a:off x="2720" y="1119"/>
                <a:ext cx="45" cy="38"/>
              </a:xfrm>
              <a:custGeom>
                <a:avLst/>
                <a:gdLst>
                  <a:gd name="T0" fmla="*/ 19 w 19"/>
                  <a:gd name="T1" fmla="*/ 0 h 16"/>
                  <a:gd name="T2" fmla="*/ 14 w 19"/>
                  <a:gd name="T3" fmla="*/ 1 h 16"/>
                  <a:gd name="T4" fmla="*/ 11 w 19"/>
                  <a:gd name="T5" fmla="*/ 4 h 16"/>
                  <a:gd name="T6" fmla="*/ 1 w 19"/>
                  <a:gd name="T7" fmla="*/ 6 h 16"/>
                  <a:gd name="T8" fmla="*/ 0 w 19"/>
                  <a:gd name="T9" fmla="*/ 7 h 16"/>
                  <a:gd name="T10" fmla="*/ 1 w 19"/>
                  <a:gd name="T11" fmla="*/ 8 h 16"/>
                  <a:gd name="T12" fmla="*/ 6 w 19"/>
                  <a:gd name="T13" fmla="*/ 16 h 16"/>
                  <a:gd name="T14" fmla="*/ 19 w 19"/>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19" y="0"/>
                    </a:moveTo>
                    <a:cubicBezTo>
                      <a:pt x="17" y="1"/>
                      <a:pt x="15" y="1"/>
                      <a:pt x="14" y="1"/>
                    </a:cubicBezTo>
                    <a:cubicBezTo>
                      <a:pt x="13" y="2"/>
                      <a:pt x="12" y="3"/>
                      <a:pt x="11" y="4"/>
                    </a:cubicBezTo>
                    <a:cubicBezTo>
                      <a:pt x="8" y="6"/>
                      <a:pt x="5" y="5"/>
                      <a:pt x="1" y="6"/>
                    </a:cubicBezTo>
                    <a:cubicBezTo>
                      <a:pt x="0" y="7"/>
                      <a:pt x="0" y="7"/>
                      <a:pt x="0" y="7"/>
                    </a:cubicBezTo>
                    <a:cubicBezTo>
                      <a:pt x="1" y="7"/>
                      <a:pt x="1" y="7"/>
                      <a:pt x="1" y="8"/>
                    </a:cubicBezTo>
                    <a:cubicBezTo>
                      <a:pt x="3" y="10"/>
                      <a:pt x="5" y="13"/>
                      <a:pt x="6" y="16"/>
                    </a:cubicBezTo>
                    <a:cubicBezTo>
                      <a:pt x="10" y="11"/>
                      <a:pt x="15" y="6"/>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 name="Freeform 141">
                <a:extLst>
                  <a:ext uri="{FF2B5EF4-FFF2-40B4-BE49-F238E27FC236}">
                    <a16:creationId xmlns:a16="http://schemas.microsoft.com/office/drawing/2014/main" id="{53BB141A-73AB-41A3-BBA7-F5638CD97C82}"/>
                  </a:ext>
                </a:extLst>
              </p:cNvPr>
              <p:cNvSpPr>
                <a:spLocks/>
              </p:cNvSpPr>
              <p:nvPr/>
            </p:nvSpPr>
            <p:spPr bwMode="auto">
              <a:xfrm>
                <a:off x="2779" y="1145"/>
                <a:ext cx="31" cy="26"/>
              </a:xfrm>
              <a:custGeom>
                <a:avLst/>
                <a:gdLst>
                  <a:gd name="T0" fmla="*/ 10 w 13"/>
                  <a:gd name="T1" fmla="*/ 0 h 11"/>
                  <a:gd name="T2" fmla="*/ 8 w 13"/>
                  <a:gd name="T3" fmla="*/ 1 h 11"/>
                  <a:gd name="T4" fmla="*/ 4 w 13"/>
                  <a:gd name="T5" fmla="*/ 0 h 11"/>
                  <a:gd name="T6" fmla="*/ 1 w 13"/>
                  <a:gd name="T7" fmla="*/ 7 h 11"/>
                  <a:gd name="T8" fmla="*/ 7 w 13"/>
                  <a:gd name="T9" fmla="*/ 11 h 11"/>
                  <a:gd name="T10" fmla="*/ 10 w 13"/>
                  <a:gd name="T11" fmla="*/ 0 h 11"/>
                </a:gdLst>
                <a:ahLst/>
                <a:cxnLst>
                  <a:cxn ang="0">
                    <a:pos x="T0" y="T1"/>
                  </a:cxn>
                  <a:cxn ang="0">
                    <a:pos x="T2" y="T3"/>
                  </a:cxn>
                  <a:cxn ang="0">
                    <a:pos x="T4" y="T5"/>
                  </a:cxn>
                  <a:cxn ang="0">
                    <a:pos x="T6" y="T7"/>
                  </a:cxn>
                  <a:cxn ang="0">
                    <a:pos x="T8" y="T9"/>
                  </a:cxn>
                  <a:cxn ang="0">
                    <a:pos x="T10" y="T11"/>
                  </a:cxn>
                </a:cxnLst>
                <a:rect l="0" t="0" r="r" b="b"/>
                <a:pathLst>
                  <a:path w="13" h="11">
                    <a:moveTo>
                      <a:pt x="10" y="0"/>
                    </a:moveTo>
                    <a:cubicBezTo>
                      <a:pt x="10" y="1"/>
                      <a:pt x="9" y="1"/>
                      <a:pt x="8" y="1"/>
                    </a:cubicBezTo>
                    <a:cubicBezTo>
                      <a:pt x="7" y="1"/>
                      <a:pt x="5" y="0"/>
                      <a:pt x="4" y="0"/>
                    </a:cubicBezTo>
                    <a:cubicBezTo>
                      <a:pt x="4" y="3"/>
                      <a:pt x="0" y="3"/>
                      <a:pt x="1" y="7"/>
                    </a:cubicBezTo>
                    <a:cubicBezTo>
                      <a:pt x="2" y="9"/>
                      <a:pt x="5" y="11"/>
                      <a:pt x="7" y="11"/>
                    </a:cubicBezTo>
                    <a:cubicBezTo>
                      <a:pt x="12" y="8"/>
                      <a:pt x="13" y="6"/>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 name="Freeform 142">
                <a:extLst>
                  <a:ext uri="{FF2B5EF4-FFF2-40B4-BE49-F238E27FC236}">
                    <a16:creationId xmlns:a16="http://schemas.microsoft.com/office/drawing/2014/main" id="{9AAEF130-E523-415A-9BAD-EC3E1C49E52E}"/>
                  </a:ext>
                </a:extLst>
              </p:cNvPr>
              <p:cNvSpPr>
                <a:spLocks/>
              </p:cNvSpPr>
              <p:nvPr/>
            </p:nvSpPr>
            <p:spPr bwMode="auto">
              <a:xfrm>
                <a:off x="2855" y="1105"/>
                <a:ext cx="43" cy="47"/>
              </a:xfrm>
              <a:custGeom>
                <a:avLst/>
                <a:gdLst>
                  <a:gd name="T0" fmla="*/ 11 w 18"/>
                  <a:gd name="T1" fmla="*/ 0 h 20"/>
                  <a:gd name="T2" fmla="*/ 13 w 18"/>
                  <a:gd name="T3" fmla="*/ 2 h 20"/>
                  <a:gd name="T4" fmla="*/ 10 w 18"/>
                  <a:gd name="T5" fmla="*/ 8 h 20"/>
                  <a:gd name="T6" fmla="*/ 7 w 18"/>
                  <a:gd name="T7" fmla="*/ 13 h 20"/>
                  <a:gd name="T8" fmla="*/ 1 w 18"/>
                  <a:gd name="T9" fmla="*/ 19 h 20"/>
                  <a:gd name="T10" fmla="*/ 0 w 18"/>
                  <a:gd name="T11" fmla="*/ 20 h 20"/>
                  <a:gd name="T12" fmla="*/ 1 w 18"/>
                  <a:gd name="T13" fmla="*/ 20 h 20"/>
                  <a:gd name="T14" fmla="*/ 1 w 18"/>
                  <a:gd name="T15" fmla="*/ 20 h 20"/>
                  <a:gd name="T16" fmla="*/ 4 w 18"/>
                  <a:gd name="T17" fmla="*/ 20 h 20"/>
                  <a:gd name="T18" fmla="*/ 15 w 18"/>
                  <a:gd name="T19" fmla="*/ 10 h 20"/>
                  <a:gd name="T20" fmla="*/ 16 w 18"/>
                  <a:gd name="T21" fmla="*/ 4 h 20"/>
                  <a:gd name="T22" fmla="*/ 18 w 18"/>
                  <a:gd name="T23" fmla="*/ 5 h 20"/>
                  <a:gd name="T24" fmla="*/ 11 w 18"/>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0">
                    <a:moveTo>
                      <a:pt x="11" y="0"/>
                    </a:moveTo>
                    <a:cubicBezTo>
                      <a:pt x="12" y="1"/>
                      <a:pt x="12" y="2"/>
                      <a:pt x="13" y="2"/>
                    </a:cubicBezTo>
                    <a:cubicBezTo>
                      <a:pt x="11" y="3"/>
                      <a:pt x="11" y="6"/>
                      <a:pt x="10" y="8"/>
                    </a:cubicBezTo>
                    <a:cubicBezTo>
                      <a:pt x="9" y="9"/>
                      <a:pt x="8" y="11"/>
                      <a:pt x="7" y="13"/>
                    </a:cubicBezTo>
                    <a:cubicBezTo>
                      <a:pt x="6" y="17"/>
                      <a:pt x="5" y="17"/>
                      <a:pt x="1" y="19"/>
                    </a:cubicBezTo>
                    <a:cubicBezTo>
                      <a:pt x="0" y="20"/>
                      <a:pt x="0" y="20"/>
                      <a:pt x="0" y="20"/>
                    </a:cubicBezTo>
                    <a:cubicBezTo>
                      <a:pt x="1" y="20"/>
                      <a:pt x="1" y="20"/>
                      <a:pt x="1" y="20"/>
                    </a:cubicBezTo>
                    <a:cubicBezTo>
                      <a:pt x="1" y="20"/>
                      <a:pt x="1" y="20"/>
                      <a:pt x="1" y="20"/>
                    </a:cubicBezTo>
                    <a:cubicBezTo>
                      <a:pt x="2" y="20"/>
                      <a:pt x="3" y="20"/>
                      <a:pt x="4" y="20"/>
                    </a:cubicBezTo>
                    <a:cubicBezTo>
                      <a:pt x="9" y="17"/>
                      <a:pt x="14" y="16"/>
                      <a:pt x="15" y="10"/>
                    </a:cubicBezTo>
                    <a:cubicBezTo>
                      <a:pt x="16" y="9"/>
                      <a:pt x="16" y="6"/>
                      <a:pt x="16" y="4"/>
                    </a:cubicBezTo>
                    <a:cubicBezTo>
                      <a:pt x="16" y="4"/>
                      <a:pt x="17" y="5"/>
                      <a:pt x="18" y="5"/>
                    </a:cubicBezTo>
                    <a:cubicBezTo>
                      <a:pt x="16" y="2"/>
                      <a:pt x="14"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 name="Freeform 143">
                <a:extLst>
                  <a:ext uri="{FF2B5EF4-FFF2-40B4-BE49-F238E27FC236}">
                    <a16:creationId xmlns:a16="http://schemas.microsoft.com/office/drawing/2014/main" id="{1F16B416-24B4-4119-BE4E-88B40DFD4057}"/>
                  </a:ext>
                </a:extLst>
              </p:cNvPr>
              <p:cNvSpPr>
                <a:spLocks/>
              </p:cNvSpPr>
              <p:nvPr/>
            </p:nvSpPr>
            <p:spPr bwMode="auto">
              <a:xfrm>
                <a:off x="2895" y="1081"/>
                <a:ext cx="21" cy="24"/>
              </a:xfrm>
              <a:custGeom>
                <a:avLst/>
                <a:gdLst>
                  <a:gd name="T0" fmla="*/ 8 w 9"/>
                  <a:gd name="T1" fmla="*/ 0 h 10"/>
                  <a:gd name="T2" fmla="*/ 7 w 9"/>
                  <a:gd name="T3" fmla="*/ 1 h 10"/>
                  <a:gd name="T4" fmla="*/ 0 w 9"/>
                  <a:gd name="T5" fmla="*/ 10 h 10"/>
                  <a:gd name="T6" fmla="*/ 8 w 9"/>
                  <a:gd name="T7" fmla="*/ 4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cubicBezTo>
                      <a:pt x="8" y="0"/>
                      <a:pt x="7" y="0"/>
                      <a:pt x="7" y="1"/>
                    </a:cubicBezTo>
                    <a:cubicBezTo>
                      <a:pt x="1" y="4"/>
                      <a:pt x="0" y="3"/>
                      <a:pt x="0" y="10"/>
                    </a:cubicBezTo>
                    <a:cubicBezTo>
                      <a:pt x="2" y="6"/>
                      <a:pt x="6" y="8"/>
                      <a:pt x="8" y="4"/>
                    </a:cubicBezTo>
                    <a:cubicBezTo>
                      <a:pt x="8" y="3"/>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 name="Freeform 144">
                <a:extLst>
                  <a:ext uri="{FF2B5EF4-FFF2-40B4-BE49-F238E27FC236}">
                    <a16:creationId xmlns:a16="http://schemas.microsoft.com/office/drawing/2014/main" id="{46CB05D6-7DF1-4B58-BDD4-8DE5A701C757}"/>
                  </a:ext>
                </a:extLst>
              </p:cNvPr>
              <p:cNvSpPr>
                <a:spLocks/>
              </p:cNvSpPr>
              <p:nvPr/>
            </p:nvSpPr>
            <p:spPr bwMode="auto">
              <a:xfrm>
                <a:off x="4020" y="2731"/>
                <a:ext cx="17" cy="22"/>
              </a:xfrm>
              <a:custGeom>
                <a:avLst/>
                <a:gdLst>
                  <a:gd name="T0" fmla="*/ 5 w 7"/>
                  <a:gd name="T1" fmla="*/ 0 h 9"/>
                  <a:gd name="T2" fmla="*/ 2 w 7"/>
                  <a:gd name="T3" fmla="*/ 1 h 9"/>
                  <a:gd name="T4" fmla="*/ 2 w 7"/>
                  <a:gd name="T5" fmla="*/ 9 h 9"/>
                  <a:gd name="T6" fmla="*/ 7 w 7"/>
                  <a:gd name="T7" fmla="*/ 3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cubicBezTo>
                      <a:pt x="4" y="0"/>
                      <a:pt x="3" y="1"/>
                      <a:pt x="2" y="1"/>
                    </a:cubicBezTo>
                    <a:cubicBezTo>
                      <a:pt x="0" y="3"/>
                      <a:pt x="1" y="6"/>
                      <a:pt x="2" y="9"/>
                    </a:cubicBezTo>
                    <a:cubicBezTo>
                      <a:pt x="4" y="8"/>
                      <a:pt x="7" y="6"/>
                      <a:pt x="7" y="3"/>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 name="Freeform 145">
                <a:extLst>
                  <a:ext uri="{FF2B5EF4-FFF2-40B4-BE49-F238E27FC236}">
                    <a16:creationId xmlns:a16="http://schemas.microsoft.com/office/drawing/2014/main" id="{E7F49299-879F-4473-9A48-D63B753644D3}"/>
                  </a:ext>
                </a:extLst>
              </p:cNvPr>
              <p:cNvSpPr>
                <a:spLocks/>
              </p:cNvSpPr>
              <p:nvPr/>
            </p:nvSpPr>
            <p:spPr bwMode="auto">
              <a:xfrm>
                <a:off x="6851" y="3880"/>
                <a:ext cx="24" cy="29"/>
              </a:xfrm>
              <a:custGeom>
                <a:avLst/>
                <a:gdLst>
                  <a:gd name="T0" fmla="*/ 6 w 10"/>
                  <a:gd name="T1" fmla="*/ 0 h 12"/>
                  <a:gd name="T2" fmla="*/ 5 w 10"/>
                  <a:gd name="T3" fmla="*/ 0 h 12"/>
                  <a:gd name="T4" fmla="*/ 0 w 10"/>
                  <a:gd name="T5" fmla="*/ 12 h 12"/>
                  <a:gd name="T6" fmla="*/ 2 w 10"/>
                  <a:gd name="T7" fmla="*/ 12 h 12"/>
                  <a:gd name="T8" fmla="*/ 10 w 10"/>
                  <a:gd name="T9" fmla="*/ 8 h 12"/>
                  <a:gd name="T10" fmla="*/ 6 w 10"/>
                  <a:gd name="T11" fmla="*/ 0 h 12"/>
                </a:gdLst>
                <a:ahLst/>
                <a:cxnLst>
                  <a:cxn ang="0">
                    <a:pos x="T0" y="T1"/>
                  </a:cxn>
                  <a:cxn ang="0">
                    <a:pos x="T2" y="T3"/>
                  </a:cxn>
                  <a:cxn ang="0">
                    <a:pos x="T4" y="T5"/>
                  </a:cxn>
                  <a:cxn ang="0">
                    <a:pos x="T6" y="T7"/>
                  </a:cxn>
                  <a:cxn ang="0">
                    <a:pos x="T8" y="T9"/>
                  </a:cxn>
                  <a:cxn ang="0">
                    <a:pos x="T10" y="T11"/>
                  </a:cxn>
                </a:cxnLst>
                <a:rect l="0" t="0" r="r" b="b"/>
                <a:pathLst>
                  <a:path w="10" h="12">
                    <a:moveTo>
                      <a:pt x="6" y="0"/>
                    </a:moveTo>
                    <a:cubicBezTo>
                      <a:pt x="6" y="0"/>
                      <a:pt x="5" y="0"/>
                      <a:pt x="5" y="0"/>
                    </a:cubicBezTo>
                    <a:cubicBezTo>
                      <a:pt x="2" y="2"/>
                      <a:pt x="1" y="9"/>
                      <a:pt x="0" y="12"/>
                    </a:cubicBezTo>
                    <a:cubicBezTo>
                      <a:pt x="1" y="12"/>
                      <a:pt x="2" y="12"/>
                      <a:pt x="2" y="12"/>
                    </a:cubicBezTo>
                    <a:cubicBezTo>
                      <a:pt x="6" y="12"/>
                      <a:pt x="9" y="12"/>
                      <a:pt x="10" y="8"/>
                    </a:cubicBezTo>
                    <a:cubicBezTo>
                      <a:pt x="10" y="6"/>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 name="Freeform 146">
                <a:extLst>
                  <a:ext uri="{FF2B5EF4-FFF2-40B4-BE49-F238E27FC236}">
                    <a16:creationId xmlns:a16="http://schemas.microsoft.com/office/drawing/2014/main" id="{42403043-483D-4B86-A81C-1DF16A9BB625}"/>
                  </a:ext>
                </a:extLst>
              </p:cNvPr>
              <p:cNvSpPr>
                <a:spLocks/>
              </p:cNvSpPr>
              <p:nvPr/>
            </p:nvSpPr>
            <p:spPr bwMode="auto">
              <a:xfrm>
                <a:off x="6726" y="3932"/>
                <a:ext cx="40" cy="29"/>
              </a:xfrm>
              <a:custGeom>
                <a:avLst/>
                <a:gdLst>
                  <a:gd name="T0" fmla="*/ 10 w 17"/>
                  <a:gd name="T1" fmla="*/ 0 h 12"/>
                  <a:gd name="T2" fmla="*/ 10 w 17"/>
                  <a:gd name="T3" fmla="*/ 0 h 12"/>
                  <a:gd name="T4" fmla="*/ 11 w 17"/>
                  <a:gd name="T5" fmla="*/ 12 h 12"/>
                  <a:gd name="T6" fmla="*/ 12 w 17"/>
                  <a:gd name="T7" fmla="*/ 12 h 12"/>
                  <a:gd name="T8" fmla="*/ 16 w 17"/>
                  <a:gd name="T9" fmla="*/ 6 h 12"/>
                  <a:gd name="T10" fmla="*/ 10 w 17"/>
                  <a:gd name="T11" fmla="*/ 0 h 12"/>
                </a:gdLst>
                <a:ahLst/>
                <a:cxnLst>
                  <a:cxn ang="0">
                    <a:pos x="T0" y="T1"/>
                  </a:cxn>
                  <a:cxn ang="0">
                    <a:pos x="T2" y="T3"/>
                  </a:cxn>
                  <a:cxn ang="0">
                    <a:pos x="T4" y="T5"/>
                  </a:cxn>
                  <a:cxn ang="0">
                    <a:pos x="T6" y="T7"/>
                  </a:cxn>
                  <a:cxn ang="0">
                    <a:pos x="T8" y="T9"/>
                  </a:cxn>
                  <a:cxn ang="0">
                    <a:pos x="T10" y="T11"/>
                  </a:cxn>
                </a:cxnLst>
                <a:rect l="0" t="0" r="r" b="b"/>
                <a:pathLst>
                  <a:path w="17" h="12">
                    <a:moveTo>
                      <a:pt x="10" y="0"/>
                    </a:moveTo>
                    <a:cubicBezTo>
                      <a:pt x="10" y="0"/>
                      <a:pt x="10" y="0"/>
                      <a:pt x="10" y="0"/>
                    </a:cubicBezTo>
                    <a:cubicBezTo>
                      <a:pt x="0" y="0"/>
                      <a:pt x="3" y="11"/>
                      <a:pt x="11" y="12"/>
                    </a:cubicBezTo>
                    <a:cubicBezTo>
                      <a:pt x="12" y="12"/>
                      <a:pt x="12" y="12"/>
                      <a:pt x="12" y="12"/>
                    </a:cubicBezTo>
                    <a:cubicBezTo>
                      <a:pt x="16" y="12"/>
                      <a:pt x="17" y="9"/>
                      <a:pt x="16" y="6"/>
                    </a:cubicBezTo>
                    <a:cubicBezTo>
                      <a:pt x="15" y="3"/>
                      <a:pt x="13"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 name="Freeform 147">
                <a:extLst>
                  <a:ext uri="{FF2B5EF4-FFF2-40B4-BE49-F238E27FC236}">
                    <a16:creationId xmlns:a16="http://schemas.microsoft.com/office/drawing/2014/main" id="{DF697B92-7E2B-45B1-AF7E-C022713E6511}"/>
                  </a:ext>
                </a:extLst>
              </p:cNvPr>
              <p:cNvSpPr>
                <a:spLocks/>
              </p:cNvSpPr>
              <p:nvPr/>
            </p:nvSpPr>
            <p:spPr bwMode="auto">
              <a:xfrm>
                <a:off x="5067" y="3755"/>
                <a:ext cx="2" cy="2"/>
              </a:xfrm>
              <a:custGeom>
                <a:avLst/>
                <a:gdLst>
                  <a:gd name="T0" fmla="*/ 0 w 2"/>
                  <a:gd name="T1" fmla="*/ 0 h 2"/>
                  <a:gd name="T2" fmla="*/ 0 w 2"/>
                  <a:gd name="T3" fmla="*/ 0 h 2"/>
                  <a:gd name="T4" fmla="*/ 0 w 2"/>
                  <a:gd name="T5" fmla="*/ 0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 name="Freeform 148">
                <a:extLst>
                  <a:ext uri="{FF2B5EF4-FFF2-40B4-BE49-F238E27FC236}">
                    <a16:creationId xmlns:a16="http://schemas.microsoft.com/office/drawing/2014/main" id="{8A4226A5-5939-4A25-83D6-029045F66D25}"/>
                  </a:ext>
                </a:extLst>
              </p:cNvPr>
              <p:cNvSpPr>
                <a:spLocks/>
              </p:cNvSpPr>
              <p:nvPr/>
            </p:nvSpPr>
            <p:spPr bwMode="auto">
              <a:xfrm>
                <a:off x="5067" y="3755"/>
                <a:ext cx="2" cy="2"/>
              </a:xfrm>
              <a:custGeom>
                <a:avLst/>
                <a:gdLst>
                  <a:gd name="T0" fmla="*/ 0 w 2"/>
                  <a:gd name="T1" fmla="*/ 0 h 2"/>
                  <a:gd name="T2" fmla="*/ 0 w 2"/>
                  <a:gd name="T3" fmla="*/ 0 h 2"/>
                  <a:gd name="T4" fmla="*/ 0 w 2"/>
                  <a:gd name="T5" fmla="*/ 0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 name="Freeform 149">
                <a:extLst>
                  <a:ext uri="{FF2B5EF4-FFF2-40B4-BE49-F238E27FC236}">
                    <a16:creationId xmlns:a16="http://schemas.microsoft.com/office/drawing/2014/main" id="{45D20266-1AFF-417F-8828-6742F527EAB1}"/>
                  </a:ext>
                </a:extLst>
              </p:cNvPr>
              <p:cNvSpPr>
                <a:spLocks/>
              </p:cNvSpPr>
              <p:nvPr/>
            </p:nvSpPr>
            <p:spPr bwMode="auto">
              <a:xfrm>
                <a:off x="6483" y="1266"/>
                <a:ext cx="49" cy="92"/>
              </a:xfrm>
              <a:custGeom>
                <a:avLst/>
                <a:gdLst>
                  <a:gd name="T0" fmla="*/ 11 w 21"/>
                  <a:gd name="T1" fmla="*/ 0 h 39"/>
                  <a:gd name="T2" fmla="*/ 10 w 21"/>
                  <a:gd name="T3" fmla="*/ 1 h 39"/>
                  <a:gd name="T4" fmla="*/ 5 w 21"/>
                  <a:gd name="T5" fmla="*/ 8 h 39"/>
                  <a:gd name="T6" fmla="*/ 3 w 21"/>
                  <a:gd name="T7" fmla="*/ 16 h 39"/>
                  <a:gd name="T8" fmla="*/ 1 w 21"/>
                  <a:gd name="T9" fmla="*/ 26 h 39"/>
                  <a:gd name="T10" fmla="*/ 2 w 21"/>
                  <a:gd name="T11" fmla="*/ 33 h 39"/>
                  <a:gd name="T12" fmla="*/ 2 w 21"/>
                  <a:gd name="T13" fmla="*/ 33 h 39"/>
                  <a:gd name="T14" fmla="*/ 2 w 21"/>
                  <a:gd name="T15" fmla="*/ 35 h 39"/>
                  <a:gd name="T16" fmla="*/ 5 w 21"/>
                  <a:gd name="T17" fmla="*/ 39 h 39"/>
                  <a:gd name="T18" fmla="*/ 6 w 21"/>
                  <a:gd name="T19" fmla="*/ 39 h 39"/>
                  <a:gd name="T20" fmla="*/ 6 w 21"/>
                  <a:gd name="T21" fmla="*/ 39 h 39"/>
                  <a:gd name="T22" fmla="*/ 7 w 21"/>
                  <a:gd name="T23" fmla="*/ 39 h 39"/>
                  <a:gd name="T24" fmla="*/ 7 w 21"/>
                  <a:gd name="T25" fmla="*/ 39 h 39"/>
                  <a:gd name="T26" fmla="*/ 7 w 21"/>
                  <a:gd name="T27" fmla="*/ 39 h 39"/>
                  <a:gd name="T28" fmla="*/ 9 w 21"/>
                  <a:gd name="T29" fmla="*/ 39 h 39"/>
                  <a:gd name="T30" fmla="*/ 12 w 21"/>
                  <a:gd name="T31" fmla="*/ 38 h 39"/>
                  <a:gd name="T32" fmla="*/ 13 w 21"/>
                  <a:gd name="T33" fmla="*/ 38 h 39"/>
                  <a:gd name="T34" fmla="*/ 14 w 21"/>
                  <a:gd name="T35" fmla="*/ 39 h 39"/>
                  <a:gd name="T36" fmla="*/ 15 w 21"/>
                  <a:gd name="T37" fmla="*/ 39 h 39"/>
                  <a:gd name="T38" fmla="*/ 17 w 21"/>
                  <a:gd name="T39" fmla="*/ 38 h 39"/>
                  <a:gd name="T40" fmla="*/ 17 w 21"/>
                  <a:gd name="T41" fmla="*/ 36 h 39"/>
                  <a:gd name="T42" fmla="*/ 17 w 21"/>
                  <a:gd name="T43" fmla="*/ 36 h 39"/>
                  <a:gd name="T44" fmla="*/ 18 w 21"/>
                  <a:gd name="T45" fmla="*/ 33 h 39"/>
                  <a:gd name="T46" fmla="*/ 20 w 21"/>
                  <a:gd name="T47" fmla="*/ 22 h 39"/>
                  <a:gd name="T48" fmla="*/ 18 w 21"/>
                  <a:gd name="T49" fmla="*/ 15 h 39"/>
                  <a:gd name="T50" fmla="*/ 19 w 21"/>
                  <a:gd name="T51" fmla="*/ 5 h 39"/>
                  <a:gd name="T52" fmla="*/ 18 w 21"/>
                  <a:gd name="T53" fmla="*/ 5 h 39"/>
                  <a:gd name="T54" fmla="*/ 17 w 21"/>
                  <a:gd name="T55" fmla="*/ 5 h 39"/>
                  <a:gd name="T56" fmla="*/ 17 w 21"/>
                  <a:gd name="T57" fmla="*/ 5 h 39"/>
                  <a:gd name="T58" fmla="*/ 16 w 21"/>
                  <a:gd name="T59" fmla="*/ 5 h 39"/>
                  <a:gd name="T60" fmla="*/ 13 w 21"/>
                  <a:gd name="T61" fmla="*/ 1 h 39"/>
                  <a:gd name="T62" fmla="*/ 11 w 21"/>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 h="39">
                    <a:moveTo>
                      <a:pt x="11" y="0"/>
                    </a:moveTo>
                    <a:cubicBezTo>
                      <a:pt x="11" y="0"/>
                      <a:pt x="11" y="0"/>
                      <a:pt x="10" y="1"/>
                    </a:cubicBezTo>
                    <a:cubicBezTo>
                      <a:pt x="7" y="2"/>
                      <a:pt x="6" y="5"/>
                      <a:pt x="5" y="8"/>
                    </a:cubicBezTo>
                    <a:cubicBezTo>
                      <a:pt x="3" y="11"/>
                      <a:pt x="3" y="13"/>
                      <a:pt x="3" y="16"/>
                    </a:cubicBezTo>
                    <a:cubicBezTo>
                      <a:pt x="2" y="19"/>
                      <a:pt x="0" y="23"/>
                      <a:pt x="1" y="26"/>
                    </a:cubicBezTo>
                    <a:cubicBezTo>
                      <a:pt x="1" y="27"/>
                      <a:pt x="1" y="30"/>
                      <a:pt x="2" y="33"/>
                    </a:cubicBezTo>
                    <a:cubicBezTo>
                      <a:pt x="2" y="33"/>
                      <a:pt x="2" y="33"/>
                      <a:pt x="2" y="33"/>
                    </a:cubicBezTo>
                    <a:cubicBezTo>
                      <a:pt x="2" y="35"/>
                      <a:pt x="2" y="35"/>
                      <a:pt x="2" y="35"/>
                    </a:cubicBezTo>
                    <a:cubicBezTo>
                      <a:pt x="3" y="37"/>
                      <a:pt x="4" y="38"/>
                      <a:pt x="5" y="39"/>
                    </a:cubicBezTo>
                    <a:cubicBezTo>
                      <a:pt x="6" y="39"/>
                      <a:pt x="6" y="39"/>
                      <a:pt x="6" y="39"/>
                    </a:cubicBezTo>
                    <a:cubicBezTo>
                      <a:pt x="6" y="39"/>
                      <a:pt x="6" y="39"/>
                      <a:pt x="6" y="39"/>
                    </a:cubicBezTo>
                    <a:cubicBezTo>
                      <a:pt x="7" y="39"/>
                      <a:pt x="7" y="39"/>
                      <a:pt x="7" y="39"/>
                    </a:cubicBezTo>
                    <a:cubicBezTo>
                      <a:pt x="7" y="39"/>
                      <a:pt x="7" y="39"/>
                      <a:pt x="7" y="39"/>
                    </a:cubicBezTo>
                    <a:cubicBezTo>
                      <a:pt x="7" y="39"/>
                      <a:pt x="7" y="39"/>
                      <a:pt x="7" y="39"/>
                    </a:cubicBezTo>
                    <a:cubicBezTo>
                      <a:pt x="8" y="39"/>
                      <a:pt x="8" y="39"/>
                      <a:pt x="9" y="39"/>
                    </a:cubicBezTo>
                    <a:cubicBezTo>
                      <a:pt x="10" y="39"/>
                      <a:pt x="11" y="38"/>
                      <a:pt x="12" y="38"/>
                    </a:cubicBezTo>
                    <a:cubicBezTo>
                      <a:pt x="12" y="38"/>
                      <a:pt x="13" y="38"/>
                      <a:pt x="13" y="38"/>
                    </a:cubicBezTo>
                    <a:cubicBezTo>
                      <a:pt x="13" y="39"/>
                      <a:pt x="14" y="39"/>
                      <a:pt x="14" y="39"/>
                    </a:cubicBezTo>
                    <a:cubicBezTo>
                      <a:pt x="14" y="39"/>
                      <a:pt x="14" y="39"/>
                      <a:pt x="15" y="39"/>
                    </a:cubicBezTo>
                    <a:cubicBezTo>
                      <a:pt x="15" y="39"/>
                      <a:pt x="16" y="38"/>
                      <a:pt x="17" y="38"/>
                    </a:cubicBezTo>
                    <a:cubicBezTo>
                      <a:pt x="17" y="36"/>
                      <a:pt x="17" y="36"/>
                      <a:pt x="17" y="36"/>
                    </a:cubicBezTo>
                    <a:cubicBezTo>
                      <a:pt x="17" y="36"/>
                      <a:pt x="17" y="36"/>
                      <a:pt x="17" y="36"/>
                    </a:cubicBezTo>
                    <a:cubicBezTo>
                      <a:pt x="17" y="35"/>
                      <a:pt x="18" y="33"/>
                      <a:pt x="18" y="33"/>
                    </a:cubicBezTo>
                    <a:cubicBezTo>
                      <a:pt x="18" y="30"/>
                      <a:pt x="21" y="24"/>
                      <a:pt x="20" y="22"/>
                    </a:cubicBezTo>
                    <a:cubicBezTo>
                      <a:pt x="19" y="20"/>
                      <a:pt x="17" y="17"/>
                      <a:pt x="18" y="15"/>
                    </a:cubicBezTo>
                    <a:cubicBezTo>
                      <a:pt x="18" y="12"/>
                      <a:pt x="21" y="7"/>
                      <a:pt x="19" y="5"/>
                    </a:cubicBezTo>
                    <a:cubicBezTo>
                      <a:pt x="18" y="5"/>
                      <a:pt x="18" y="5"/>
                      <a:pt x="18" y="5"/>
                    </a:cubicBezTo>
                    <a:cubicBezTo>
                      <a:pt x="18" y="5"/>
                      <a:pt x="17" y="5"/>
                      <a:pt x="17" y="5"/>
                    </a:cubicBezTo>
                    <a:cubicBezTo>
                      <a:pt x="17" y="5"/>
                      <a:pt x="17" y="5"/>
                      <a:pt x="17" y="5"/>
                    </a:cubicBezTo>
                    <a:cubicBezTo>
                      <a:pt x="17" y="5"/>
                      <a:pt x="16" y="5"/>
                      <a:pt x="16" y="5"/>
                    </a:cubicBezTo>
                    <a:cubicBezTo>
                      <a:pt x="15" y="4"/>
                      <a:pt x="14"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 name="Rectangle 150">
                <a:extLst>
                  <a:ext uri="{FF2B5EF4-FFF2-40B4-BE49-F238E27FC236}">
                    <a16:creationId xmlns:a16="http://schemas.microsoft.com/office/drawing/2014/main" id="{B1135181-A7E0-42A7-AC04-C743AB87B1BF}"/>
                  </a:ext>
                </a:extLst>
              </p:cNvPr>
              <p:cNvSpPr>
                <a:spLocks noChangeArrowheads="1"/>
              </p:cNvSpPr>
              <p:nvPr/>
            </p:nvSpPr>
            <p:spPr bwMode="auto">
              <a:xfrm>
                <a:off x="5911" y="33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 name="Freeform 151">
                <a:extLst>
                  <a:ext uri="{FF2B5EF4-FFF2-40B4-BE49-F238E27FC236}">
                    <a16:creationId xmlns:a16="http://schemas.microsoft.com/office/drawing/2014/main" id="{889C2036-A478-4469-A17F-C8246819970F}"/>
                  </a:ext>
                </a:extLst>
              </p:cNvPr>
              <p:cNvSpPr>
                <a:spLocks/>
              </p:cNvSpPr>
              <p:nvPr/>
            </p:nvSpPr>
            <p:spPr bwMode="auto">
              <a:xfrm>
                <a:off x="5911" y="333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 name="Freeform 152">
                <a:extLst>
                  <a:ext uri="{FF2B5EF4-FFF2-40B4-BE49-F238E27FC236}">
                    <a16:creationId xmlns:a16="http://schemas.microsoft.com/office/drawing/2014/main" id="{829EC65A-0A3E-4EBF-A35E-54FF8E7F12A2}"/>
                  </a:ext>
                </a:extLst>
              </p:cNvPr>
              <p:cNvSpPr>
                <a:spLocks noEditPoints="1"/>
              </p:cNvSpPr>
              <p:nvPr/>
            </p:nvSpPr>
            <p:spPr bwMode="auto">
              <a:xfrm>
                <a:off x="5542" y="3294"/>
                <a:ext cx="5" cy="0"/>
              </a:xfrm>
              <a:custGeom>
                <a:avLst/>
                <a:gdLst>
                  <a:gd name="T0" fmla="*/ 1 w 2"/>
                  <a:gd name="T1" fmla="*/ 2 w 2"/>
                  <a:gd name="T2" fmla="*/ 1 w 2"/>
                  <a:gd name="T3" fmla="*/ 0 w 2"/>
                  <a:gd name="T4" fmla="*/ 1 w 2"/>
                  <a:gd name="T5" fmla="*/ 0 w 2"/>
                </a:gdLst>
                <a:ahLst/>
                <a:cxnLst>
                  <a:cxn ang="0">
                    <a:pos x="T0" y="0"/>
                  </a:cxn>
                  <a:cxn ang="0">
                    <a:pos x="T1" y="0"/>
                  </a:cxn>
                  <a:cxn ang="0">
                    <a:pos x="T2" y="0"/>
                  </a:cxn>
                  <a:cxn ang="0">
                    <a:pos x="T3" y="0"/>
                  </a:cxn>
                  <a:cxn ang="0">
                    <a:pos x="T4" y="0"/>
                  </a:cxn>
                  <a:cxn ang="0">
                    <a:pos x="T5" y="0"/>
                  </a:cxn>
                </a:cxnLst>
                <a:rect l="0" t="0" r="r" b="b"/>
                <a:pathLst>
                  <a:path w="2">
                    <a:moveTo>
                      <a:pt x="1" y="0"/>
                    </a:moveTo>
                    <a:cubicBezTo>
                      <a:pt x="1" y="0"/>
                      <a:pt x="2" y="0"/>
                      <a:pt x="2" y="0"/>
                    </a:cubicBezTo>
                    <a:cubicBezTo>
                      <a:pt x="2" y="0"/>
                      <a:pt x="1" y="0"/>
                      <a:pt x="1" y="0"/>
                    </a:cubicBezTo>
                    <a:moveTo>
                      <a:pt x="0" y="0"/>
                    </a:moveTo>
                    <a:cubicBezTo>
                      <a:pt x="0"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 name="Freeform 153">
                <a:extLst>
                  <a:ext uri="{FF2B5EF4-FFF2-40B4-BE49-F238E27FC236}">
                    <a16:creationId xmlns:a16="http://schemas.microsoft.com/office/drawing/2014/main" id="{9E512896-3DD7-41AB-A9A5-A44118A647DB}"/>
                  </a:ext>
                </a:extLst>
              </p:cNvPr>
              <p:cNvSpPr>
                <a:spLocks/>
              </p:cNvSpPr>
              <p:nvPr/>
            </p:nvSpPr>
            <p:spPr bwMode="auto">
              <a:xfrm>
                <a:off x="5284" y="2947"/>
                <a:ext cx="3" cy="2"/>
              </a:xfrm>
              <a:custGeom>
                <a:avLst/>
                <a:gdLst>
                  <a:gd name="T0" fmla="*/ 0 w 3"/>
                  <a:gd name="T1" fmla="*/ 0 h 2"/>
                  <a:gd name="T2" fmla="*/ 3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2"/>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 name="Freeform 154">
                <a:extLst>
                  <a:ext uri="{FF2B5EF4-FFF2-40B4-BE49-F238E27FC236}">
                    <a16:creationId xmlns:a16="http://schemas.microsoft.com/office/drawing/2014/main" id="{513E0441-5C51-44BA-8177-B6796454D17D}"/>
                  </a:ext>
                </a:extLst>
              </p:cNvPr>
              <p:cNvSpPr>
                <a:spLocks/>
              </p:cNvSpPr>
              <p:nvPr/>
            </p:nvSpPr>
            <p:spPr bwMode="auto">
              <a:xfrm>
                <a:off x="5284" y="2947"/>
                <a:ext cx="3" cy="2"/>
              </a:xfrm>
              <a:custGeom>
                <a:avLst/>
                <a:gdLst>
                  <a:gd name="T0" fmla="*/ 0 w 3"/>
                  <a:gd name="T1" fmla="*/ 0 h 2"/>
                  <a:gd name="T2" fmla="*/ 3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2"/>
                    </a:lnTo>
                    <a:lnTo>
                      <a:pt x="3"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 name="Rectangle 155">
                <a:extLst>
                  <a:ext uri="{FF2B5EF4-FFF2-40B4-BE49-F238E27FC236}">
                    <a16:creationId xmlns:a16="http://schemas.microsoft.com/office/drawing/2014/main" id="{6BFAB433-E1C5-4C0C-AE3E-034AD41BEDB4}"/>
                  </a:ext>
                </a:extLst>
              </p:cNvPr>
              <p:cNvSpPr>
                <a:spLocks noChangeArrowheads="1"/>
              </p:cNvSpPr>
              <p:nvPr/>
            </p:nvSpPr>
            <p:spPr bwMode="auto">
              <a:xfrm>
                <a:off x="5353" y="3627"/>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 name="Freeform 156">
                <a:extLst>
                  <a:ext uri="{FF2B5EF4-FFF2-40B4-BE49-F238E27FC236}">
                    <a16:creationId xmlns:a16="http://schemas.microsoft.com/office/drawing/2014/main" id="{DB669B6A-136D-4C62-8713-C9ABD44D5F34}"/>
                  </a:ext>
                </a:extLst>
              </p:cNvPr>
              <p:cNvSpPr>
                <a:spLocks/>
              </p:cNvSpPr>
              <p:nvPr/>
            </p:nvSpPr>
            <p:spPr bwMode="auto">
              <a:xfrm>
                <a:off x="5353" y="3627"/>
                <a:ext cx="0" cy="3"/>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 name="Freeform 157">
                <a:extLst>
                  <a:ext uri="{FF2B5EF4-FFF2-40B4-BE49-F238E27FC236}">
                    <a16:creationId xmlns:a16="http://schemas.microsoft.com/office/drawing/2014/main" id="{D57EDCED-63AB-4ED2-8AB5-9A27910D94BB}"/>
                  </a:ext>
                </a:extLst>
              </p:cNvPr>
              <p:cNvSpPr>
                <a:spLocks noEditPoints="1"/>
              </p:cNvSpPr>
              <p:nvPr/>
            </p:nvSpPr>
            <p:spPr bwMode="auto">
              <a:xfrm>
                <a:off x="5613" y="3400"/>
                <a:ext cx="28" cy="3"/>
              </a:xfrm>
              <a:custGeom>
                <a:avLst/>
                <a:gdLst>
                  <a:gd name="T0" fmla="*/ 12 w 12"/>
                  <a:gd name="T1" fmla="*/ 1 h 1"/>
                  <a:gd name="T2" fmla="*/ 12 w 12"/>
                  <a:gd name="T3" fmla="*/ 1 h 1"/>
                  <a:gd name="T4" fmla="*/ 12 w 12"/>
                  <a:gd name="T5" fmla="*/ 1 h 1"/>
                  <a:gd name="T6" fmla="*/ 12 w 12"/>
                  <a:gd name="T7" fmla="*/ 1 h 1"/>
                  <a:gd name="T8" fmla="*/ 12 w 12"/>
                  <a:gd name="T9" fmla="*/ 1 h 1"/>
                  <a:gd name="T10" fmla="*/ 12 w 12"/>
                  <a:gd name="T11" fmla="*/ 1 h 1"/>
                  <a:gd name="T12" fmla="*/ 12 w 12"/>
                  <a:gd name="T13" fmla="*/ 1 h 1"/>
                  <a:gd name="T14" fmla="*/ 12 w 12"/>
                  <a:gd name="T15" fmla="*/ 1 h 1"/>
                  <a:gd name="T16" fmla="*/ 12 w 12"/>
                  <a:gd name="T17" fmla="*/ 1 h 1"/>
                  <a:gd name="T18" fmla="*/ 0 w 12"/>
                  <a:gd name="T19" fmla="*/ 0 h 1"/>
                  <a:gd name="T20" fmla="*/ 9 w 12"/>
                  <a:gd name="T21" fmla="*/ 1 h 1"/>
                  <a:gd name="T22" fmla="*/ 12 w 12"/>
                  <a:gd name="T23" fmla="*/ 1 h 1"/>
                  <a:gd name="T24" fmla="*/ 9 w 12"/>
                  <a:gd name="T25" fmla="*/ 1 h 1"/>
                  <a:gd name="T26" fmla="*/ 0 w 12"/>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12" y="1"/>
                    </a:moveTo>
                    <a:cubicBezTo>
                      <a:pt x="12" y="1"/>
                      <a:pt x="12" y="1"/>
                      <a:pt x="12" y="1"/>
                    </a:cubicBezTo>
                    <a:cubicBezTo>
                      <a:pt x="12" y="1"/>
                      <a:pt x="12" y="1"/>
                      <a:pt x="12" y="1"/>
                    </a:cubicBezTo>
                    <a:moveTo>
                      <a:pt x="0" y="0"/>
                    </a:moveTo>
                    <a:cubicBezTo>
                      <a:pt x="3" y="0"/>
                      <a:pt x="7" y="1"/>
                      <a:pt x="9" y="1"/>
                    </a:cubicBezTo>
                    <a:cubicBezTo>
                      <a:pt x="10" y="1"/>
                      <a:pt x="11" y="1"/>
                      <a:pt x="12" y="1"/>
                    </a:cubicBezTo>
                    <a:cubicBezTo>
                      <a:pt x="11" y="1"/>
                      <a:pt x="10" y="1"/>
                      <a:pt x="9" y="1"/>
                    </a:cubicBezTo>
                    <a:cubicBezTo>
                      <a:pt x="7"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 name="Freeform 158">
                <a:extLst>
                  <a:ext uri="{FF2B5EF4-FFF2-40B4-BE49-F238E27FC236}">
                    <a16:creationId xmlns:a16="http://schemas.microsoft.com/office/drawing/2014/main" id="{0AF38187-B6A7-4083-A050-124FFA2C6E36}"/>
                  </a:ext>
                </a:extLst>
              </p:cNvPr>
              <p:cNvSpPr>
                <a:spLocks/>
              </p:cNvSpPr>
              <p:nvPr/>
            </p:nvSpPr>
            <p:spPr bwMode="auto">
              <a:xfrm>
                <a:off x="5603" y="3398"/>
                <a:ext cx="10" cy="2"/>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0"/>
                    </a:cubicBezTo>
                    <a:cubicBezTo>
                      <a:pt x="1" y="1"/>
                      <a:pt x="2" y="1"/>
                      <a:pt x="4"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 name="Freeform 159">
                <a:extLst>
                  <a:ext uri="{FF2B5EF4-FFF2-40B4-BE49-F238E27FC236}">
                    <a16:creationId xmlns:a16="http://schemas.microsoft.com/office/drawing/2014/main" id="{9369B58D-71E9-47CC-A027-DB8E27459301}"/>
                  </a:ext>
                </a:extLst>
              </p:cNvPr>
              <p:cNvSpPr>
                <a:spLocks noEditPoints="1"/>
              </p:cNvSpPr>
              <p:nvPr/>
            </p:nvSpPr>
            <p:spPr bwMode="auto">
              <a:xfrm>
                <a:off x="4772" y="4159"/>
                <a:ext cx="2" cy="26"/>
              </a:xfrm>
              <a:custGeom>
                <a:avLst/>
                <a:gdLst>
                  <a:gd name="T0" fmla="*/ 1 w 1"/>
                  <a:gd name="T1" fmla="*/ 7 h 11"/>
                  <a:gd name="T2" fmla="*/ 1 w 1"/>
                  <a:gd name="T3" fmla="*/ 11 h 11"/>
                  <a:gd name="T4" fmla="*/ 1 w 1"/>
                  <a:gd name="T5" fmla="*/ 7 h 11"/>
                  <a:gd name="T6" fmla="*/ 0 w 1"/>
                  <a:gd name="T7" fmla="*/ 0 h 11"/>
                  <a:gd name="T8" fmla="*/ 0 w 1"/>
                  <a:gd name="T9" fmla="*/ 0 h 11"/>
                  <a:gd name="T10" fmla="*/ 1 w 1"/>
                  <a:gd name="T11" fmla="*/ 7 h 11"/>
                  <a:gd name="T12" fmla="*/ 0 w 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 h="11">
                    <a:moveTo>
                      <a:pt x="1" y="7"/>
                    </a:moveTo>
                    <a:cubicBezTo>
                      <a:pt x="1" y="11"/>
                      <a:pt x="1" y="11"/>
                      <a:pt x="1" y="11"/>
                    </a:cubicBezTo>
                    <a:cubicBezTo>
                      <a:pt x="1" y="10"/>
                      <a:pt x="1" y="8"/>
                      <a:pt x="1" y="7"/>
                    </a:cubicBezTo>
                    <a:moveTo>
                      <a:pt x="0" y="0"/>
                    </a:moveTo>
                    <a:cubicBezTo>
                      <a:pt x="0" y="0"/>
                      <a:pt x="0" y="0"/>
                      <a:pt x="0" y="0"/>
                    </a:cubicBezTo>
                    <a:cubicBezTo>
                      <a:pt x="0" y="2"/>
                      <a:pt x="1" y="4"/>
                      <a:pt x="1"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 name="Freeform 160">
                <a:extLst>
                  <a:ext uri="{FF2B5EF4-FFF2-40B4-BE49-F238E27FC236}">
                    <a16:creationId xmlns:a16="http://schemas.microsoft.com/office/drawing/2014/main" id="{25A4B892-9CAF-4303-A70C-901E9F17DAA6}"/>
                  </a:ext>
                </a:extLst>
              </p:cNvPr>
              <p:cNvSpPr>
                <a:spLocks/>
              </p:cNvSpPr>
              <p:nvPr/>
            </p:nvSpPr>
            <p:spPr bwMode="auto">
              <a:xfrm>
                <a:off x="5485" y="4284"/>
                <a:ext cx="7"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 name="Rectangle 161">
                <a:extLst>
                  <a:ext uri="{FF2B5EF4-FFF2-40B4-BE49-F238E27FC236}">
                    <a16:creationId xmlns:a16="http://schemas.microsoft.com/office/drawing/2014/main" id="{7BEF8BE3-F1FA-448C-86B3-071C50A91708}"/>
                  </a:ext>
                </a:extLst>
              </p:cNvPr>
              <p:cNvSpPr>
                <a:spLocks noChangeArrowheads="1"/>
              </p:cNvSpPr>
              <p:nvPr/>
            </p:nvSpPr>
            <p:spPr bwMode="auto">
              <a:xfrm>
                <a:off x="4578" y="4386"/>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 name="Freeform 162">
                <a:extLst>
                  <a:ext uri="{FF2B5EF4-FFF2-40B4-BE49-F238E27FC236}">
                    <a16:creationId xmlns:a16="http://schemas.microsoft.com/office/drawing/2014/main" id="{8A531BE3-3710-4FBE-BCE4-136861EA23F3}"/>
                  </a:ext>
                </a:extLst>
              </p:cNvPr>
              <p:cNvSpPr>
                <a:spLocks/>
              </p:cNvSpPr>
              <p:nvPr/>
            </p:nvSpPr>
            <p:spPr bwMode="auto">
              <a:xfrm>
                <a:off x="4578" y="4386"/>
                <a:ext cx="0" cy="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 name="Freeform 163">
                <a:extLst>
                  <a:ext uri="{FF2B5EF4-FFF2-40B4-BE49-F238E27FC236}">
                    <a16:creationId xmlns:a16="http://schemas.microsoft.com/office/drawing/2014/main" id="{B6FAD114-2548-4FC3-93AC-E2CBD9430B05}"/>
                  </a:ext>
                </a:extLst>
              </p:cNvPr>
              <p:cNvSpPr>
                <a:spLocks/>
              </p:cNvSpPr>
              <p:nvPr/>
            </p:nvSpPr>
            <p:spPr bwMode="auto">
              <a:xfrm>
                <a:off x="4578" y="4386"/>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 name="Freeform 164">
                <a:extLst>
                  <a:ext uri="{FF2B5EF4-FFF2-40B4-BE49-F238E27FC236}">
                    <a16:creationId xmlns:a16="http://schemas.microsoft.com/office/drawing/2014/main" id="{43713C4D-0695-4C0F-9EC6-42B1D64E7B52}"/>
                  </a:ext>
                </a:extLst>
              </p:cNvPr>
              <p:cNvSpPr>
                <a:spLocks/>
              </p:cNvSpPr>
              <p:nvPr/>
            </p:nvSpPr>
            <p:spPr bwMode="auto">
              <a:xfrm>
                <a:off x="4578" y="4386"/>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 name="Freeform 165">
                <a:extLst>
                  <a:ext uri="{FF2B5EF4-FFF2-40B4-BE49-F238E27FC236}">
                    <a16:creationId xmlns:a16="http://schemas.microsoft.com/office/drawing/2014/main" id="{0B499364-E74F-4E3D-AF46-81F0ECB9CA4F}"/>
                  </a:ext>
                </a:extLst>
              </p:cNvPr>
              <p:cNvSpPr>
                <a:spLocks/>
              </p:cNvSpPr>
              <p:nvPr/>
            </p:nvSpPr>
            <p:spPr bwMode="auto">
              <a:xfrm>
                <a:off x="4772" y="4159"/>
                <a:ext cx="4" cy="2"/>
              </a:xfrm>
              <a:custGeom>
                <a:avLst/>
                <a:gdLst>
                  <a:gd name="T0" fmla="*/ 0 w 2"/>
                  <a:gd name="T1" fmla="*/ 0 h 1"/>
                  <a:gd name="T2" fmla="*/ 0 w 2"/>
                  <a:gd name="T3" fmla="*/ 0 h 1"/>
                  <a:gd name="T4" fmla="*/ 1 w 2"/>
                  <a:gd name="T5" fmla="*/ 0 h 1"/>
                  <a:gd name="T6" fmla="*/ 2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0"/>
                      <a:pt x="0" y="0"/>
                      <a:pt x="0" y="0"/>
                    </a:cubicBezTo>
                    <a:cubicBezTo>
                      <a:pt x="1" y="0"/>
                      <a:pt x="1" y="0"/>
                      <a:pt x="1" y="0"/>
                    </a:cubicBezTo>
                    <a:cubicBezTo>
                      <a:pt x="1" y="0"/>
                      <a:pt x="2" y="1"/>
                      <a:pt x="2"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 name="Rectangle 166">
                <a:extLst>
                  <a:ext uri="{FF2B5EF4-FFF2-40B4-BE49-F238E27FC236}">
                    <a16:creationId xmlns:a16="http://schemas.microsoft.com/office/drawing/2014/main" id="{6479C428-A673-4BCB-9AB1-AB54DFDCE46A}"/>
                  </a:ext>
                </a:extLst>
              </p:cNvPr>
              <p:cNvSpPr>
                <a:spLocks noChangeArrowheads="1"/>
              </p:cNvSpPr>
              <p:nvPr/>
            </p:nvSpPr>
            <p:spPr bwMode="auto">
              <a:xfrm>
                <a:off x="5358" y="281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 name="Freeform 167">
                <a:extLst>
                  <a:ext uri="{FF2B5EF4-FFF2-40B4-BE49-F238E27FC236}">
                    <a16:creationId xmlns:a16="http://schemas.microsoft.com/office/drawing/2014/main" id="{3E6793FD-03A9-4483-9283-C8BFF2A1BC33}"/>
                  </a:ext>
                </a:extLst>
              </p:cNvPr>
              <p:cNvSpPr>
                <a:spLocks/>
              </p:cNvSpPr>
              <p:nvPr/>
            </p:nvSpPr>
            <p:spPr bwMode="auto">
              <a:xfrm>
                <a:off x="5358" y="281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 name="Freeform 168">
                <a:extLst>
                  <a:ext uri="{FF2B5EF4-FFF2-40B4-BE49-F238E27FC236}">
                    <a16:creationId xmlns:a16="http://schemas.microsoft.com/office/drawing/2014/main" id="{1E1A48F1-B8FB-46A7-8598-73DB08287197}"/>
                  </a:ext>
                </a:extLst>
              </p:cNvPr>
              <p:cNvSpPr>
                <a:spLocks/>
              </p:cNvSpPr>
              <p:nvPr/>
            </p:nvSpPr>
            <p:spPr bwMode="auto">
              <a:xfrm>
                <a:off x="3131" y="271"/>
                <a:ext cx="175" cy="326"/>
              </a:xfrm>
              <a:custGeom>
                <a:avLst/>
                <a:gdLst>
                  <a:gd name="T0" fmla="*/ 29 w 74"/>
                  <a:gd name="T1" fmla="*/ 1 h 138"/>
                  <a:gd name="T2" fmla="*/ 17 w 74"/>
                  <a:gd name="T3" fmla="*/ 7 h 138"/>
                  <a:gd name="T4" fmla="*/ 17 w 74"/>
                  <a:gd name="T5" fmla="*/ 13 h 138"/>
                  <a:gd name="T6" fmla="*/ 21 w 74"/>
                  <a:gd name="T7" fmla="*/ 24 h 138"/>
                  <a:gd name="T8" fmla="*/ 21 w 74"/>
                  <a:gd name="T9" fmla="*/ 34 h 138"/>
                  <a:gd name="T10" fmla="*/ 16 w 74"/>
                  <a:gd name="T11" fmla="*/ 49 h 138"/>
                  <a:gd name="T12" fmla="*/ 8 w 74"/>
                  <a:gd name="T13" fmla="*/ 73 h 138"/>
                  <a:gd name="T14" fmla="*/ 3 w 74"/>
                  <a:gd name="T15" fmla="*/ 82 h 138"/>
                  <a:gd name="T16" fmla="*/ 2 w 74"/>
                  <a:gd name="T17" fmla="*/ 91 h 138"/>
                  <a:gd name="T18" fmla="*/ 7 w 74"/>
                  <a:gd name="T19" fmla="*/ 92 h 138"/>
                  <a:gd name="T20" fmla="*/ 13 w 74"/>
                  <a:gd name="T21" fmla="*/ 86 h 138"/>
                  <a:gd name="T22" fmla="*/ 13 w 74"/>
                  <a:gd name="T23" fmla="*/ 93 h 138"/>
                  <a:gd name="T24" fmla="*/ 8 w 74"/>
                  <a:gd name="T25" fmla="*/ 93 h 138"/>
                  <a:gd name="T26" fmla="*/ 8 w 74"/>
                  <a:gd name="T27" fmla="*/ 100 h 138"/>
                  <a:gd name="T28" fmla="*/ 18 w 74"/>
                  <a:gd name="T29" fmla="*/ 96 h 138"/>
                  <a:gd name="T30" fmla="*/ 19 w 74"/>
                  <a:gd name="T31" fmla="*/ 100 h 138"/>
                  <a:gd name="T32" fmla="*/ 17 w 74"/>
                  <a:gd name="T33" fmla="*/ 109 h 138"/>
                  <a:gd name="T34" fmla="*/ 13 w 74"/>
                  <a:gd name="T35" fmla="*/ 137 h 138"/>
                  <a:gd name="T36" fmla="*/ 23 w 74"/>
                  <a:gd name="T37" fmla="*/ 134 h 138"/>
                  <a:gd name="T38" fmla="*/ 34 w 74"/>
                  <a:gd name="T39" fmla="*/ 136 h 138"/>
                  <a:gd name="T40" fmla="*/ 37 w 74"/>
                  <a:gd name="T41" fmla="*/ 138 h 138"/>
                  <a:gd name="T42" fmla="*/ 48 w 74"/>
                  <a:gd name="T43" fmla="*/ 133 h 138"/>
                  <a:gd name="T44" fmla="*/ 47 w 74"/>
                  <a:gd name="T45" fmla="*/ 131 h 138"/>
                  <a:gd name="T46" fmla="*/ 46 w 74"/>
                  <a:gd name="T47" fmla="*/ 127 h 138"/>
                  <a:gd name="T48" fmla="*/ 47 w 74"/>
                  <a:gd name="T49" fmla="*/ 117 h 138"/>
                  <a:gd name="T50" fmla="*/ 55 w 74"/>
                  <a:gd name="T51" fmla="*/ 108 h 138"/>
                  <a:gd name="T52" fmla="*/ 55 w 74"/>
                  <a:gd name="T53" fmla="*/ 107 h 138"/>
                  <a:gd name="T54" fmla="*/ 53 w 74"/>
                  <a:gd name="T55" fmla="*/ 104 h 138"/>
                  <a:gd name="T56" fmla="*/ 50 w 74"/>
                  <a:gd name="T57" fmla="*/ 94 h 138"/>
                  <a:gd name="T58" fmla="*/ 49 w 74"/>
                  <a:gd name="T59" fmla="*/ 85 h 138"/>
                  <a:gd name="T60" fmla="*/ 54 w 74"/>
                  <a:gd name="T61" fmla="*/ 87 h 138"/>
                  <a:gd name="T62" fmla="*/ 55 w 74"/>
                  <a:gd name="T63" fmla="*/ 86 h 138"/>
                  <a:gd name="T64" fmla="*/ 57 w 74"/>
                  <a:gd name="T65" fmla="*/ 83 h 138"/>
                  <a:gd name="T66" fmla="*/ 52 w 74"/>
                  <a:gd name="T67" fmla="*/ 80 h 138"/>
                  <a:gd name="T68" fmla="*/ 51 w 74"/>
                  <a:gd name="T69" fmla="*/ 77 h 138"/>
                  <a:gd name="T70" fmla="*/ 49 w 74"/>
                  <a:gd name="T71" fmla="*/ 74 h 138"/>
                  <a:gd name="T72" fmla="*/ 49 w 74"/>
                  <a:gd name="T73" fmla="*/ 63 h 138"/>
                  <a:gd name="T74" fmla="*/ 57 w 74"/>
                  <a:gd name="T75" fmla="*/ 63 h 138"/>
                  <a:gd name="T76" fmla="*/ 59 w 74"/>
                  <a:gd name="T77" fmla="*/ 47 h 138"/>
                  <a:gd name="T78" fmla="*/ 61 w 74"/>
                  <a:gd name="T79" fmla="*/ 43 h 138"/>
                  <a:gd name="T80" fmla="*/ 61 w 74"/>
                  <a:gd name="T81" fmla="*/ 35 h 138"/>
                  <a:gd name="T82" fmla="*/ 62 w 74"/>
                  <a:gd name="T83" fmla="*/ 23 h 138"/>
                  <a:gd name="T84" fmla="*/ 67 w 74"/>
                  <a:gd name="T85" fmla="*/ 19 h 138"/>
                  <a:gd name="T86" fmla="*/ 71 w 74"/>
                  <a:gd name="T87" fmla="*/ 17 h 138"/>
                  <a:gd name="T88" fmla="*/ 73 w 74"/>
                  <a:gd name="T89" fmla="*/ 12 h 138"/>
                  <a:gd name="T90" fmla="*/ 67 w 74"/>
                  <a:gd name="T91" fmla="*/ 7 h 138"/>
                  <a:gd name="T92" fmla="*/ 68 w 74"/>
                  <a:gd name="T93" fmla="*/ 4 h 138"/>
                  <a:gd name="T94" fmla="*/ 68 w 74"/>
                  <a:gd name="T95" fmla="*/ 4 h 138"/>
                  <a:gd name="T96" fmla="*/ 66 w 74"/>
                  <a:gd name="T97" fmla="*/ 4 h 138"/>
                  <a:gd name="T98" fmla="*/ 61 w 74"/>
                  <a:gd name="T99" fmla="*/ 5 h 138"/>
                  <a:gd name="T100" fmla="*/ 59 w 74"/>
                  <a:gd name="T101" fmla="*/ 5 h 138"/>
                  <a:gd name="T102" fmla="*/ 54 w 74"/>
                  <a:gd name="T103" fmla="*/ 7 h 138"/>
                  <a:gd name="T104" fmla="*/ 51 w 74"/>
                  <a:gd name="T105" fmla="*/ 7 h 138"/>
                  <a:gd name="T106" fmla="*/ 45 w 74"/>
                  <a:gd name="T107" fmla="*/ 8 h 138"/>
                  <a:gd name="T108" fmla="*/ 41 w 74"/>
                  <a:gd name="T109" fmla="*/ 6 h 138"/>
                  <a:gd name="T110" fmla="*/ 39 w 74"/>
                  <a:gd name="T111" fmla="*/ 6 h 138"/>
                  <a:gd name="T112" fmla="*/ 34 w 74"/>
                  <a:gd name="T113" fmla="*/ 8 h 138"/>
                  <a:gd name="T114" fmla="*/ 33 w 74"/>
                  <a:gd name="T115" fmla="*/ 8 h 138"/>
                  <a:gd name="T116" fmla="*/ 33 w 74"/>
                  <a:gd name="T117" fmla="*/ 8 h 138"/>
                  <a:gd name="T118" fmla="*/ 28 w 74"/>
                  <a:gd name="T119"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38">
                    <a:moveTo>
                      <a:pt x="29" y="0"/>
                    </a:moveTo>
                    <a:cubicBezTo>
                      <a:pt x="29" y="1"/>
                      <a:pt x="29" y="1"/>
                      <a:pt x="29" y="1"/>
                    </a:cubicBezTo>
                    <a:cubicBezTo>
                      <a:pt x="28" y="1"/>
                      <a:pt x="27" y="1"/>
                      <a:pt x="26" y="1"/>
                    </a:cubicBezTo>
                    <a:cubicBezTo>
                      <a:pt x="25" y="2"/>
                      <a:pt x="19" y="5"/>
                      <a:pt x="17" y="7"/>
                    </a:cubicBezTo>
                    <a:cubicBezTo>
                      <a:pt x="16" y="7"/>
                      <a:pt x="16" y="7"/>
                      <a:pt x="16" y="7"/>
                    </a:cubicBezTo>
                    <a:cubicBezTo>
                      <a:pt x="16" y="9"/>
                      <a:pt x="17" y="11"/>
                      <a:pt x="17" y="13"/>
                    </a:cubicBezTo>
                    <a:cubicBezTo>
                      <a:pt x="18" y="15"/>
                      <a:pt x="18" y="17"/>
                      <a:pt x="18" y="19"/>
                    </a:cubicBezTo>
                    <a:cubicBezTo>
                      <a:pt x="19" y="21"/>
                      <a:pt x="20" y="23"/>
                      <a:pt x="21" y="24"/>
                    </a:cubicBezTo>
                    <a:cubicBezTo>
                      <a:pt x="22" y="28"/>
                      <a:pt x="18" y="34"/>
                      <a:pt x="19" y="37"/>
                    </a:cubicBezTo>
                    <a:cubicBezTo>
                      <a:pt x="20" y="36"/>
                      <a:pt x="20" y="35"/>
                      <a:pt x="21" y="34"/>
                    </a:cubicBezTo>
                    <a:cubicBezTo>
                      <a:pt x="23" y="36"/>
                      <a:pt x="19" y="38"/>
                      <a:pt x="18" y="40"/>
                    </a:cubicBezTo>
                    <a:cubicBezTo>
                      <a:pt x="17" y="42"/>
                      <a:pt x="16" y="46"/>
                      <a:pt x="16" y="49"/>
                    </a:cubicBezTo>
                    <a:cubicBezTo>
                      <a:pt x="15" y="56"/>
                      <a:pt x="12" y="62"/>
                      <a:pt x="10" y="69"/>
                    </a:cubicBezTo>
                    <a:cubicBezTo>
                      <a:pt x="10" y="70"/>
                      <a:pt x="8" y="73"/>
                      <a:pt x="8" y="73"/>
                    </a:cubicBezTo>
                    <a:cubicBezTo>
                      <a:pt x="6" y="73"/>
                      <a:pt x="5" y="74"/>
                      <a:pt x="4" y="76"/>
                    </a:cubicBezTo>
                    <a:cubicBezTo>
                      <a:pt x="4" y="78"/>
                      <a:pt x="4" y="80"/>
                      <a:pt x="3" y="82"/>
                    </a:cubicBezTo>
                    <a:cubicBezTo>
                      <a:pt x="2" y="83"/>
                      <a:pt x="3" y="85"/>
                      <a:pt x="3" y="86"/>
                    </a:cubicBezTo>
                    <a:cubicBezTo>
                      <a:pt x="2" y="88"/>
                      <a:pt x="0" y="90"/>
                      <a:pt x="2" y="91"/>
                    </a:cubicBezTo>
                    <a:cubicBezTo>
                      <a:pt x="3" y="92"/>
                      <a:pt x="4" y="93"/>
                      <a:pt x="5" y="93"/>
                    </a:cubicBezTo>
                    <a:cubicBezTo>
                      <a:pt x="6" y="93"/>
                      <a:pt x="7" y="92"/>
                      <a:pt x="7" y="92"/>
                    </a:cubicBezTo>
                    <a:cubicBezTo>
                      <a:pt x="10" y="90"/>
                      <a:pt x="9" y="90"/>
                      <a:pt x="11" y="88"/>
                    </a:cubicBezTo>
                    <a:cubicBezTo>
                      <a:pt x="12" y="87"/>
                      <a:pt x="12" y="86"/>
                      <a:pt x="13" y="86"/>
                    </a:cubicBezTo>
                    <a:cubicBezTo>
                      <a:pt x="14" y="88"/>
                      <a:pt x="15" y="91"/>
                      <a:pt x="12" y="91"/>
                    </a:cubicBezTo>
                    <a:cubicBezTo>
                      <a:pt x="12" y="92"/>
                      <a:pt x="13" y="92"/>
                      <a:pt x="13" y="93"/>
                    </a:cubicBezTo>
                    <a:cubicBezTo>
                      <a:pt x="12" y="93"/>
                      <a:pt x="11" y="93"/>
                      <a:pt x="11" y="95"/>
                    </a:cubicBezTo>
                    <a:cubicBezTo>
                      <a:pt x="10" y="93"/>
                      <a:pt x="9" y="93"/>
                      <a:pt x="8" y="93"/>
                    </a:cubicBezTo>
                    <a:cubicBezTo>
                      <a:pt x="7" y="93"/>
                      <a:pt x="7" y="93"/>
                      <a:pt x="6" y="93"/>
                    </a:cubicBezTo>
                    <a:cubicBezTo>
                      <a:pt x="8" y="96"/>
                      <a:pt x="7" y="97"/>
                      <a:pt x="8" y="100"/>
                    </a:cubicBezTo>
                    <a:cubicBezTo>
                      <a:pt x="9" y="99"/>
                      <a:pt x="12" y="99"/>
                      <a:pt x="14" y="98"/>
                    </a:cubicBezTo>
                    <a:cubicBezTo>
                      <a:pt x="16" y="97"/>
                      <a:pt x="17" y="96"/>
                      <a:pt x="18" y="96"/>
                    </a:cubicBezTo>
                    <a:cubicBezTo>
                      <a:pt x="19" y="96"/>
                      <a:pt x="20" y="97"/>
                      <a:pt x="21" y="100"/>
                    </a:cubicBezTo>
                    <a:cubicBezTo>
                      <a:pt x="20" y="100"/>
                      <a:pt x="19" y="100"/>
                      <a:pt x="19" y="100"/>
                    </a:cubicBezTo>
                    <a:cubicBezTo>
                      <a:pt x="17" y="100"/>
                      <a:pt x="17" y="100"/>
                      <a:pt x="15" y="98"/>
                    </a:cubicBezTo>
                    <a:cubicBezTo>
                      <a:pt x="15" y="101"/>
                      <a:pt x="18" y="106"/>
                      <a:pt x="17" y="109"/>
                    </a:cubicBezTo>
                    <a:cubicBezTo>
                      <a:pt x="16" y="112"/>
                      <a:pt x="17" y="117"/>
                      <a:pt x="17" y="121"/>
                    </a:cubicBezTo>
                    <a:cubicBezTo>
                      <a:pt x="17" y="127"/>
                      <a:pt x="15" y="132"/>
                      <a:pt x="13" y="137"/>
                    </a:cubicBezTo>
                    <a:cubicBezTo>
                      <a:pt x="16" y="137"/>
                      <a:pt x="18" y="136"/>
                      <a:pt x="21" y="135"/>
                    </a:cubicBezTo>
                    <a:cubicBezTo>
                      <a:pt x="22" y="135"/>
                      <a:pt x="22" y="134"/>
                      <a:pt x="23" y="134"/>
                    </a:cubicBezTo>
                    <a:cubicBezTo>
                      <a:pt x="25" y="134"/>
                      <a:pt x="27" y="136"/>
                      <a:pt x="29" y="136"/>
                    </a:cubicBezTo>
                    <a:cubicBezTo>
                      <a:pt x="30" y="136"/>
                      <a:pt x="32" y="136"/>
                      <a:pt x="34" y="136"/>
                    </a:cubicBezTo>
                    <a:cubicBezTo>
                      <a:pt x="35" y="137"/>
                      <a:pt x="36" y="138"/>
                      <a:pt x="37" y="138"/>
                    </a:cubicBezTo>
                    <a:cubicBezTo>
                      <a:pt x="37" y="138"/>
                      <a:pt x="37" y="138"/>
                      <a:pt x="37" y="138"/>
                    </a:cubicBezTo>
                    <a:cubicBezTo>
                      <a:pt x="41" y="138"/>
                      <a:pt x="43" y="137"/>
                      <a:pt x="46" y="135"/>
                    </a:cubicBezTo>
                    <a:cubicBezTo>
                      <a:pt x="47" y="134"/>
                      <a:pt x="48" y="134"/>
                      <a:pt x="48" y="133"/>
                    </a:cubicBezTo>
                    <a:cubicBezTo>
                      <a:pt x="46" y="133"/>
                      <a:pt x="46" y="133"/>
                      <a:pt x="46" y="133"/>
                    </a:cubicBezTo>
                    <a:cubicBezTo>
                      <a:pt x="47" y="131"/>
                      <a:pt x="47" y="131"/>
                      <a:pt x="47" y="131"/>
                    </a:cubicBezTo>
                    <a:cubicBezTo>
                      <a:pt x="46" y="130"/>
                      <a:pt x="46" y="130"/>
                      <a:pt x="46" y="130"/>
                    </a:cubicBezTo>
                    <a:cubicBezTo>
                      <a:pt x="46" y="129"/>
                      <a:pt x="46" y="127"/>
                      <a:pt x="46" y="127"/>
                    </a:cubicBezTo>
                    <a:cubicBezTo>
                      <a:pt x="44" y="123"/>
                      <a:pt x="46" y="119"/>
                      <a:pt x="47" y="117"/>
                    </a:cubicBezTo>
                    <a:cubicBezTo>
                      <a:pt x="47" y="117"/>
                      <a:pt x="47" y="117"/>
                      <a:pt x="47" y="117"/>
                    </a:cubicBezTo>
                    <a:cubicBezTo>
                      <a:pt x="48" y="115"/>
                      <a:pt x="50" y="110"/>
                      <a:pt x="53" y="109"/>
                    </a:cubicBezTo>
                    <a:cubicBezTo>
                      <a:pt x="53" y="108"/>
                      <a:pt x="54" y="108"/>
                      <a:pt x="55" y="108"/>
                    </a:cubicBezTo>
                    <a:cubicBezTo>
                      <a:pt x="55" y="108"/>
                      <a:pt x="55" y="108"/>
                      <a:pt x="55" y="108"/>
                    </a:cubicBezTo>
                    <a:cubicBezTo>
                      <a:pt x="55" y="107"/>
                      <a:pt x="55" y="107"/>
                      <a:pt x="55" y="107"/>
                    </a:cubicBezTo>
                    <a:cubicBezTo>
                      <a:pt x="54" y="107"/>
                      <a:pt x="54" y="106"/>
                      <a:pt x="53" y="106"/>
                    </a:cubicBezTo>
                    <a:cubicBezTo>
                      <a:pt x="53" y="105"/>
                      <a:pt x="53" y="105"/>
                      <a:pt x="53" y="104"/>
                    </a:cubicBezTo>
                    <a:cubicBezTo>
                      <a:pt x="51" y="102"/>
                      <a:pt x="49" y="99"/>
                      <a:pt x="50" y="96"/>
                    </a:cubicBezTo>
                    <a:cubicBezTo>
                      <a:pt x="50" y="94"/>
                      <a:pt x="50" y="94"/>
                      <a:pt x="50" y="94"/>
                    </a:cubicBezTo>
                    <a:cubicBezTo>
                      <a:pt x="51" y="92"/>
                      <a:pt x="52" y="90"/>
                      <a:pt x="53" y="88"/>
                    </a:cubicBezTo>
                    <a:cubicBezTo>
                      <a:pt x="49" y="85"/>
                      <a:pt x="49" y="85"/>
                      <a:pt x="49" y="85"/>
                    </a:cubicBezTo>
                    <a:cubicBezTo>
                      <a:pt x="54" y="87"/>
                      <a:pt x="54" y="87"/>
                      <a:pt x="54" y="87"/>
                    </a:cubicBezTo>
                    <a:cubicBezTo>
                      <a:pt x="54" y="87"/>
                      <a:pt x="54" y="87"/>
                      <a:pt x="54" y="87"/>
                    </a:cubicBezTo>
                    <a:cubicBezTo>
                      <a:pt x="55" y="86"/>
                      <a:pt x="55" y="86"/>
                      <a:pt x="55" y="86"/>
                    </a:cubicBezTo>
                    <a:cubicBezTo>
                      <a:pt x="55" y="86"/>
                      <a:pt x="55" y="86"/>
                      <a:pt x="55" y="86"/>
                    </a:cubicBezTo>
                    <a:cubicBezTo>
                      <a:pt x="56" y="85"/>
                      <a:pt x="57" y="84"/>
                      <a:pt x="57" y="83"/>
                    </a:cubicBezTo>
                    <a:cubicBezTo>
                      <a:pt x="57" y="83"/>
                      <a:pt x="57" y="83"/>
                      <a:pt x="57" y="83"/>
                    </a:cubicBezTo>
                    <a:cubicBezTo>
                      <a:pt x="56" y="83"/>
                      <a:pt x="56" y="83"/>
                      <a:pt x="56" y="83"/>
                    </a:cubicBezTo>
                    <a:cubicBezTo>
                      <a:pt x="55" y="82"/>
                      <a:pt x="53" y="82"/>
                      <a:pt x="52" y="80"/>
                    </a:cubicBezTo>
                    <a:cubicBezTo>
                      <a:pt x="52" y="80"/>
                      <a:pt x="52" y="80"/>
                      <a:pt x="52" y="80"/>
                    </a:cubicBezTo>
                    <a:cubicBezTo>
                      <a:pt x="51" y="79"/>
                      <a:pt x="51" y="78"/>
                      <a:pt x="51" y="77"/>
                    </a:cubicBezTo>
                    <a:cubicBezTo>
                      <a:pt x="51" y="77"/>
                      <a:pt x="51" y="77"/>
                      <a:pt x="51" y="77"/>
                    </a:cubicBezTo>
                    <a:cubicBezTo>
                      <a:pt x="50" y="76"/>
                      <a:pt x="49" y="75"/>
                      <a:pt x="49" y="74"/>
                    </a:cubicBezTo>
                    <a:cubicBezTo>
                      <a:pt x="42" y="62"/>
                      <a:pt x="42" y="62"/>
                      <a:pt x="42" y="62"/>
                    </a:cubicBezTo>
                    <a:cubicBezTo>
                      <a:pt x="49" y="63"/>
                      <a:pt x="49" y="63"/>
                      <a:pt x="49" y="63"/>
                    </a:cubicBezTo>
                    <a:cubicBezTo>
                      <a:pt x="52" y="63"/>
                      <a:pt x="54" y="63"/>
                      <a:pt x="56" y="63"/>
                    </a:cubicBezTo>
                    <a:cubicBezTo>
                      <a:pt x="56" y="63"/>
                      <a:pt x="57" y="63"/>
                      <a:pt x="57" y="63"/>
                    </a:cubicBezTo>
                    <a:cubicBezTo>
                      <a:pt x="58" y="62"/>
                      <a:pt x="59" y="56"/>
                      <a:pt x="58" y="51"/>
                    </a:cubicBezTo>
                    <a:cubicBezTo>
                      <a:pt x="58" y="50"/>
                      <a:pt x="58" y="48"/>
                      <a:pt x="59" y="47"/>
                    </a:cubicBezTo>
                    <a:cubicBezTo>
                      <a:pt x="60" y="46"/>
                      <a:pt x="60" y="46"/>
                      <a:pt x="60" y="46"/>
                    </a:cubicBezTo>
                    <a:cubicBezTo>
                      <a:pt x="60" y="45"/>
                      <a:pt x="61" y="44"/>
                      <a:pt x="61" y="43"/>
                    </a:cubicBezTo>
                    <a:cubicBezTo>
                      <a:pt x="61" y="41"/>
                      <a:pt x="61" y="41"/>
                      <a:pt x="61" y="41"/>
                    </a:cubicBezTo>
                    <a:cubicBezTo>
                      <a:pt x="61" y="39"/>
                      <a:pt x="61" y="36"/>
                      <a:pt x="61" y="35"/>
                    </a:cubicBezTo>
                    <a:cubicBezTo>
                      <a:pt x="61" y="34"/>
                      <a:pt x="60" y="34"/>
                      <a:pt x="60" y="33"/>
                    </a:cubicBezTo>
                    <a:cubicBezTo>
                      <a:pt x="59" y="30"/>
                      <a:pt x="58" y="27"/>
                      <a:pt x="62" y="23"/>
                    </a:cubicBezTo>
                    <a:cubicBezTo>
                      <a:pt x="63" y="22"/>
                      <a:pt x="63" y="22"/>
                      <a:pt x="63" y="22"/>
                    </a:cubicBezTo>
                    <a:cubicBezTo>
                      <a:pt x="64" y="21"/>
                      <a:pt x="66" y="20"/>
                      <a:pt x="67" y="19"/>
                    </a:cubicBezTo>
                    <a:cubicBezTo>
                      <a:pt x="68" y="19"/>
                      <a:pt x="69" y="18"/>
                      <a:pt x="70" y="18"/>
                    </a:cubicBezTo>
                    <a:cubicBezTo>
                      <a:pt x="71" y="17"/>
                      <a:pt x="71" y="17"/>
                      <a:pt x="71" y="17"/>
                    </a:cubicBezTo>
                    <a:cubicBezTo>
                      <a:pt x="73" y="15"/>
                      <a:pt x="74" y="15"/>
                      <a:pt x="74" y="13"/>
                    </a:cubicBezTo>
                    <a:cubicBezTo>
                      <a:pt x="74" y="13"/>
                      <a:pt x="73" y="13"/>
                      <a:pt x="73" y="12"/>
                    </a:cubicBezTo>
                    <a:cubicBezTo>
                      <a:pt x="72" y="12"/>
                      <a:pt x="72" y="12"/>
                      <a:pt x="72" y="12"/>
                    </a:cubicBezTo>
                    <a:cubicBezTo>
                      <a:pt x="70" y="11"/>
                      <a:pt x="67" y="10"/>
                      <a:pt x="67" y="7"/>
                    </a:cubicBezTo>
                    <a:cubicBezTo>
                      <a:pt x="68" y="6"/>
                      <a:pt x="68" y="6"/>
                      <a:pt x="68" y="6"/>
                    </a:cubicBezTo>
                    <a:cubicBezTo>
                      <a:pt x="68" y="6"/>
                      <a:pt x="68" y="5"/>
                      <a:pt x="68" y="4"/>
                    </a:cubicBezTo>
                    <a:cubicBezTo>
                      <a:pt x="68" y="4"/>
                      <a:pt x="68" y="4"/>
                      <a:pt x="68" y="4"/>
                    </a:cubicBezTo>
                    <a:cubicBezTo>
                      <a:pt x="68" y="4"/>
                      <a:pt x="68" y="4"/>
                      <a:pt x="68" y="4"/>
                    </a:cubicBezTo>
                    <a:cubicBezTo>
                      <a:pt x="67" y="4"/>
                      <a:pt x="67" y="4"/>
                      <a:pt x="66" y="4"/>
                    </a:cubicBezTo>
                    <a:cubicBezTo>
                      <a:pt x="66" y="4"/>
                      <a:pt x="66" y="4"/>
                      <a:pt x="66" y="4"/>
                    </a:cubicBezTo>
                    <a:cubicBezTo>
                      <a:pt x="65" y="4"/>
                      <a:pt x="64" y="5"/>
                      <a:pt x="63" y="5"/>
                    </a:cubicBezTo>
                    <a:cubicBezTo>
                      <a:pt x="62" y="5"/>
                      <a:pt x="62" y="5"/>
                      <a:pt x="61" y="5"/>
                    </a:cubicBezTo>
                    <a:cubicBezTo>
                      <a:pt x="61" y="5"/>
                      <a:pt x="60" y="5"/>
                      <a:pt x="59" y="4"/>
                    </a:cubicBezTo>
                    <a:cubicBezTo>
                      <a:pt x="59" y="5"/>
                      <a:pt x="59" y="5"/>
                      <a:pt x="59" y="5"/>
                    </a:cubicBezTo>
                    <a:cubicBezTo>
                      <a:pt x="58" y="5"/>
                      <a:pt x="56" y="6"/>
                      <a:pt x="55" y="6"/>
                    </a:cubicBezTo>
                    <a:cubicBezTo>
                      <a:pt x="55" y="6"/>
                      <a:pt x="54" y="7"/>
                      <a:pt x="54" y="7"/>
                    </a:cubicBezTo>
                    <a:cubicBezTo>
                      <a:pt x="53" y="7"/>
                      <a:pt x="52" y="7"/>
                      <a:pt x="52" y="7"/>
                    </a:cubicBezTo>
                    <a:cubicBezTo>
                      <a:pt x="51" y="7"/>
                      <a:pt x="51" y="7"/>
                      <a:pt x="51" y="7"/>
                    </a:cubicBezTo>
                    <a:cubicBezTo>
                      <a:pt x="49" y="7"/>
                      <a:pt x="48" y="8"/>
                      <a:pt x="46" y="8"/>
                    </a:cubicBezTo>
                    <a:cubicBezTo>
                      <a:pt x="46" y="8"/>
                      <a:pt x="45" y="8"/>
                      <a:pt x="45" y="8"/>
                    </a:cubicBezTo>
                    <a:cubicBezTo>
                      <a:pt x="44" y="8"/>
                      <a:pt x="42" y="7"/>
                      <a:pt x="41" y="7"/>
                    </a:cubicBezTo>
                    <a:cubicBezTo>
                      <a:pt x="41" y="6"/>
                      <a:pt x="41" y="6"/>
                      <a:pt x="41" y="6"/>
                    </a:cubicBezTo>
                    <a:cubicBezTo>
                      <a:pt x="40" y="6"/>
                      <a:pt x="40" y="6"/>
                      <a:pt x="40" y="6"/>
                    </a:cubicBezTo>
                    <a:cubicBezTo>
                      <a:pt x="39" y="6"/>
                      <a:pt x="39" y="6"/>
                      <a:pt x="39" y="6"/>
                    </a:cubicBezTo>
                    <a:cubicBezTo>
                      <a:pt x="38" y="7"/>
                      <a:pt x="36" y="8"/>
                      <a:pt x="34" y="8"/>
                    </a:cubicBezTo>
                    <a:cubicBezTo>
                      <a:pt x="34" y="8"/>
                      <a:pt x="34" y="8"/>
                      <a:pt x="34" y="8"/>
                    </a:cubicBezTo>
                    <a:cubicBezTo>
                      <a:pt x="34" y="8"/>
                      <a:pt x="34" y="8"/>
                      <a:pt x="34" y="8"/>
                    </a:cubicBezTo>
                    <a:cubicBezTo>
                      <a:pt x="34" y="8"/>
                      <a:pt x="34" y="8"/>
                      <a:pt x="33" y="8"/>
                    </a:cubicBezTo>
                    <a:cubicBezTo>
                      <a:pt x="33" y="8"/>
                      <a:pt x="33" y="8"/>
                      <a:pt x="33" y="8"/>
                    </a:cubicBezTo>
                    <a:cubicBezTo>
                      <a:pt x="33" y="8"/>
                      <a:pt x="33" y="8"/>
                      <a:pt x="33" y="8"/>
                    </a:cubicBezTo>
                    <a:cubicBezTo>
                      <a:pt x="31" y="8"/>
                      <a:pt x="30" y="7"/>
                      <a:pt x="29" y="7"/>
                    </a:cubicBezTo>
                    <a:cubicBezTo>
                      <a:pt x="29" y="6"/>
                      <a:pt x="28" y="5"/>
                      <a:pt x="28" y="3"/>
                    </a:cubicBezTo>
                    <a:cubicBezTo>
                      <a:pt x="28" y="2"/>
                      <a:pt x="29" y="1"/>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 name="Freeform 169">
                <a:extLst>
                  <a:ext uri="{FF2B5EF4-FFF2-40B4-BE49-F238E27FC236}">
                    <a16:creationId xmlns:a16="http://schemas.microsoft.com/office/drawing/2014/main" id="{F98B0682-2D9A-4A49-A5F6-2BAFE5604F4B}"/>
                  </a:ext>
                </a:extLst>
              </p:cNvPr>
              <p:cNvSpPr>
                <a:spLocks/>
              </p:cNvSpPr>
              <p:nvPr/>
            </p:nvSpPr>
            <p:spPr bwMode="auto">
              <a:xfrm>
                <a:off x="3186" y="595"/>
                <a:ext cx="1132" cy="1080"/>
              </a:xfrm>
              <a:custGeom>
                <a:avLst/>
                <a:gdLst>
                  <a:gd name="T0" fmla="*/ 321 w 479"/>
                  <a:gd name="T1" fmla="*/ 8 h 457"/>
                  <a:gd name="T2" fmla="*/ 276 w 479"/>
                  <a:gd name="T3" fmla="*/ 8 h 457"/>
                  <a:gd name="T4" fmla="*/ 226 w 479"/>
                  <a:gd name="T5" fmla="*/ 17 h 457"/>
                  <a:gd name="T6" fmla="*/ 192 w 479"/>
                  <a:gd name="T7" fmla="*/ 31 h 457"/>
                  <a:gd name="T8" fmla="*/ 159 w 479"/>
                  <a:gd name="T9" fmla="*/ 50 h 457"/>
                  <a:gd name="T10" fmla="*/ 157 w 479"/>
                  <a:gd name="T11" fmla="*/ 56 h 457"/>
                  <a:gd name="T12" fmla="*/ 163 w 479"/>
                  <a:gd name="T13" fmla="*/ 62 h 457"/>
                  <a:gd name="T14" fmla="*/ 165 w 479"/>
                  <a:gd name="T15" fmla="*/ 77 h 457"/>
                  <a:gd name="T16" fmla="*/ 173 w 479"/>
                  <a:gd name="T17" fmla="*/ 113 h 457"/>
                  <a:gd name="T18" fmla="*/ 175 w 479"/>
                  <a:gd name="T19" fmla="*/ 128 h 457"/>
                  <a:gd name="T20" fmla="*/ 168 w 479"/>
                  <a:gd name="T21" fmla="*/ 135 h 457"/>
                  <a:gd name="T22" fmla="*/ 159 w 479"/>
                  <a:gd name="T23" fmla="*/ 134 h 457"/>
                  <a:gd name="T24" fmla="*/ 140 w 479"/>
                  <a:gd name="T25" fmla="*/ 134 h 457"/>
                  <a:gd name="T26" fmla="*/ 128 w 479"/>
                  <a:gd name="T27" fmla="*/ 143 h 457"/>
                  <a:gd name="T28" fmla="*/ 115 w 479"/>
                  <a:gd name="T29" fmla="*/ 145 h 457"/>
                  <a:gd name="T30" fmla="*/ 114 w 479"/>
                  <a:gd name="T31" fmla="*/ 146 h 457"/>
                  <a:gd name="T32" fmla="*/ 117 w 479"/>
                  <a:gd name="T33" fmla="*/ 154 h 457"/>
                  <a:gd name="T34" fmla="*/ 84 w 479"/>
                  <a:gd name="T35" fmla="*/ 181 h 457"/>
                  <a:gd name="T36" fmla="*/ 55 w 479"/>
                  <a:gd name="T37" fmla="*/ 194 h 457"/>
                  <a:gd name="T38" fmla="*/ 42 w 479"/>
                  <a:gd name="T39" fmla="*/ 200 h 457"/>
                  <a:gd name="T40" fmla="*/ 29 w 479"/>
                  <a:gd name="T41" fmla="*/ 203 h 457"/>
                  <a:gd name="T42" fmla="*/ 7 w 479"/>
                  <a:gd name="T43" fmla="*/ 216 h 457"/>
                  <a:gd name="T44" fmla="*/ 0 w 479"/>
                  <a:gd name="T45" fmla="*/ 254 h 457"/>
                  <a:gd name="T46" fmla="*/ 107 w 479"/>
                  <a:gd name="T47" fmla="*/ 323 h 457"/>
                  <a:gd name="T48" fmla="*/ 228 w 479"/>
                  <a:gd name="T49" fmla="*/ 406 h 457"/>
                  <a:gd name="T50" fmla="*/ 235 w 479"/>
                  <a:gd name="T51" fmla="*/ 418 h 457"/>
                  <a:gd name="T52" fmla="*/ 251 w 479"/>
                  <a:gd name="T53" fmla="*/ 428 h 457"/>
                  <a:gd name="T54" fmla="*/ 256 w 479"/>
                  <a:gd name="T55" fmla="*/ 428 h 457"/>
                  <a:gd name="T56" fmla="*/ 273 w 479"/>
                  <a:gd name="T57" fmla="*/ 436 h 457"/>
                  <a:gd name="T58" fmla="*/ 280 w 479"/>
                  <a:gd name="T59" fmla="*/ 444 h 457"/>
                  <a:gd name="T60" fmla="*/ 280 w 479"/>
                  <a:gd name="T61" fmla="*/ 453 h 457"/>
                  <a:gd name="T62" fmla="*/ 284 w 479"/>
                  <a:gd name="T63" fmla="*/ 457 h 457"/>
                  <a:gd name="T64" fmla="*/ 286 w 479"/>
                  <a:gd name="T65" fmla="*/ 457 h 457"/>
                  <a:gd name="T66" fmla="*/ 298 w 479"/>
                  <a:gd name="T67" fmla="*/ 455 h 457"/>
                  <a:gd name="T68" fmla="*/ 326 w 479"/>
                  <a:gd name="T69" fmla="*/ 450 h 457"/>
                  <a:gd name="T70" fmla="*/ 346 w 479"/>
                  <a:gd name="T71" fmla="*/ 439 h 457"/>
                  <a:gd name="T72" fmla="*/ 478 w 479"/>
                  <a:gd name="T73" fmla="*/ 347 h 457"/>
                  <a:gd name="T74" fmla="*/ 468 w 479"/>
                  <a:gd name="T75" fmla="*/ 332 h 457"/>
                  <a:gd name="T76" fmla="*/ 453 w 479"/>
                  <a:gd name="T77" fmla="*/ 327 h 457"/>
                  <a:gd name="T78" fmla="*/ 448 w 479"/>
                  <a:gd name="T79" fmla="*/ 329 h 457"/>
                  <a:gd name="T80" fmla="*/ 442 w 479"/>
                  <a:gd name="T81" fmla="*/ 326 h 457"/>
                  <a:gd name="T82" fmla="*/ 435 w 479"/>
                  <a:gd name="T83" fmla="*/ 317 h 457"/>
                  <a:gd name="T84" fmla="*/ 429 w 479"/>
                  <a:gd name="T85" fmla="*/ 298 h 457"/>
                  <a:gd name="T86" fmla="*/ 423 w 479"/>
                  <a:gd name="T87" fmla="*/ 278 h 457"/>
                  <a:gd name="T88" fmla="*/ 430 w 479"/>
                  <a:gd name="T89" fmla="*/ 272 h 457"/>
                  <a:gd name="T90" fmla="*/ 428 w 479"/>
                  <a:gd name="T91" fmla="*/ 259 h 457"/>
                  <a:gd name="T92" fmla="*/ 432 w 479"/>
                  <a:gd name="T93" fmla="*/ 240 h 457"/>
                  <a:gd name="T94" fmla="*/ 430 w 479"/>
                  <a:gd name="T95" fmla="*/ 216 h 457"/>
                  <a:gd name="T96" fmla="*/ 419 w 479"/>
                  <a:gd name="T97" fmla="*/ 181 h 457"/>
                  <a:gd name="T98" fmla="*/ 422 w 479"/>
                  <a:gd name="T99" fmla="*/ 179 h 457"/>
                  <a:gd name="T100" fmla="*/ 408 w 479"/>
                  <a:gd name="T101" fmla="*/ 132 h 457"/>
                  <a:gd name="T102" fmla="*/ 394 w 479"/>
                  <a:gd name="T103" fmla="*/ 116 h 457"/>
                  <a:gd name="T104" fmla="*/ 392 w 479"/>
                  <a:gd name="T105" fmla="*/ 110 h 457"/>
                  <a:gd name="T106" fmla="*/ 379 w 479"/>
                  <a:gd name="T107" fmla="*/ 75 h 457"/>
                  <a:gd name="T108" fmla="*/ 396 w 479"/>
                  <a:gd name="T109" fmla="*/ 46 h 457"/>
                  <a:gd name="T110" fmla="*/ 394 w 479"/>
                  <a:gd name="T111" fmla="*/ 27 h 457"/>
                  <a:gd name="T112" fmla="*/ 389 w 479"/>
                  <a:gd name="T113" fmla="*/ 4 h 457"/>
                  <a:gd name="T114" fmla="*/ 370 w 479"/>
                  <a:gd name="T115" fmla="*/ 1 h 457"/>
                  <a:gd name="T116" fmla="*/ 351 w 479"/>
                  <a:gd name="T117"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457">
                    <a:moveTo>
                      <a:pt x="351" y="0"/>
                    </a:moveTo>
                    <a:cubicBezTo>
                      <a:pt x="350" y="0"/>
                      <a:pt x="349" y="1"/>
                      <a:pt x="348" y="3"/>
                    </a:cubicBezTo>
                    <a:cubicBezTo>
                      <a:pt x="342" y="6"/>
                      <a:pt x="336" y="8"/>
                      <a:pt x="329" y="11"/>
                    </a:cubicBezTo>
                    <a:cubicBezTo>
                      <a:pt x="329" y="11"/>
                      <a:pt x="329" y="11"/>
                      <a:pt x="329" y="11"/>
                    </a:cubicBezTo>
                    <a:cubicBezTo>
                      <a:pt x="327" y="11"/>
                      <a:pt x="322" y="9"/>
                      <a:pt x="321" y="8"/>
                    </a:cubicBezTo>
                    <a:cubicBezTo>
                      <a:pt x="317" y="7"/>
                      <a:pt x="313" y="6"/>
                      <a:pt x="310" y="5"/>
                    </a:cubicBezTo>
                    <a:cubicBezTo>
                      <a:pt x="308" y="4"/>
                      <a:pt x="306" y="4"/>
                      <a:pt x="304" y="4"/>
                    </a:cubicBezTo>
                    <a:cubicBezTo>
                      <a:pt x="300" y="4"/>
                      <a:pt x="296" y="4"/>
                      <a:pt x="293" y="5"/>
                    </a:cubicBezTo>
                    <a:cubicBezTo>
                      <a:pt x="289" y="6"/>
                      <a:pt x="284" y="8"/>
                      <a:pt x="279" y="8"/>
                    </a:cubicBezTo>
                    <a:cubicBezTo>
                      <a:pt x="276" y="8"/>
                      <a:pt x="276" y="8"/>
                      <a:pt x="276" y="8"/>
                    </a:cubicBezTo>
                    <a:cubicBezTo>
                      <a:pt x="271" y="7"/>
                      <a:pt x="271" y="7"/>
                      <a:pt x="271" y="7"/>
                    </a:cubicBezTo>
                    <a:cubicBezTo>
                      <a:pt x="267" y="9"/>
                      <a:pt x="267" y="9"/>
                      <a:pt x="267" y="9"/>
                    </a:cubicBezTo>
                    <a:cubicBezTo>
                      <a:pt x="265" y="11"/>
                      <a:pt x="262" y="12"/>
                      <a:pt x="260" y="13"/>
                    </a:cubicBezTo>
                    <a:cubicBezTo>
                      <a:pt x="256" y="13"/>
                      <a:pt x="252" y="13"/>
                      <a:pt x="248" y="13"/>
                    </a:cubicBezTo>
                    <a:cubicBezTo>
                      <a:pt x="240" y="14"/>
                      <a:pt x="234" y="16"/>
                      <a:pt x="226" y="17"/>
                    </a:cubicBezTo>
                    <a:cubicBezTo>
                      <a:pt x="220" y="19"/>
                      <a:pt x="214" y="21"/>
                      <a:pt x="208" y="25"/>
                    </a:cubicBezTo>
                    <a:cubicBezTo>
                      <a:pt x="205" y="27"/>
                      <a:pt x="203" y="30"/>
                      <a:pt x="200" y="33"/>
                    </a:cubicBezTo>
                    <a:cubicBezTo>
                      <a:pt x="199" y="33"/>
                      <a:pt x="199" y="34"/>
                      <a:pt x="198" y="34"/>
                    </a:cubicBezTo>
                    <a:cubicBezTo>
                      <a:pt x="197" y="34"/>
                      <a:pt x="195" y="32"/>
                      <a:pt x="193" y="31"/>
                    </a:cubicBezTo>
                    <a:cubicBezTo>
                      <a:pt x="193" y="31"/>
                      <a:pt x="192" y="31"/>
                      <a:pt x="192" y="31"/>
                    </a:cubicBezTo>
                    <a:cubicBezTo>
                      <a:pt x="191" y="31"/>
                      <a:pt x="191" y="32"/>
                      <a:pt x="190" y="32"/>
                    </a:cubicBezTo>
                    <a:cubicBezTo>
                      <a:pt x="188" y="33"/>
                      <a:pt x="186" y="34"/>
                      <a:pt x="184" y="34"/>
                    </a:cubicBezTo>
                    <a:cubicBezTo>
                      <a:pt x="181" y="35"/>
                      <a:pt x="177" y="37"/>
                      <a:pt x="175" y="38"/>
                    </a:cubicBezTo>
                    <a:cubicBezTo>
                      <a:pt x="173" y="41"/>
                      <a:pt x="172" y="45"/>
                      <a:pt x="169" y="47"/>
                    </a:cubicBezTo>
                    <a:cubicBezTo>
                      <a:pt x="167" y="48"/>
                      <a:pt x="162" y="49"/>
                      <a:pt x="159" y="50"/>
                    </a:cubicBezTo>
                    <a:cubicBezTo>
                      <a:pt x="157" y="51"/>
                      <a:pt x="155" y="51"/>
                      <a:pt x="153" y="52"/>
                    </a:cubicBezTo>
                    <a:cubicBezTo>
                      <a:pt x="153" y="52"/>
                      <a:pt x="153" y="52"/>
                      <a:pt x="153" y="52"/>
                    </a:cubicBezTo>
                    <a:cubicBezTo>
                      <a:pt x="154" y="53"/>
                      <a:pt x="154" y="53"/>
                      <a:pt x="154" y="53"/>
                    </a:cubicBezTo>
                    <a:cubicBezTo>
                      <a:pt x="154" y="53"/>
                      <a:pt x="155" y="54"/>
                      <a:pt x="156" y="55"/>
                    </a:cubicBezTo>
                    <a:cubicBezTo>
                      <a:pt x="157" y="56"/>
                      <a:pt x="157" y="56"/>
                      <a:pt x="157" y="56"/>
                    </a:cubicBezTo>
                    <a:cubicBezTo>
                      <a:pt x="157" y="56"/>
                      <a:pt x="158" y="57"/>
                      <a:pt x="158" y="57"/>
                    </a:cubicBezTo>
                    <a:cubicBezTo>
                      <a:pt x="159" y="58"/>
                      <a:pt x="159" y="58"/>
                      <a:pt x="159" y="58"/>
                    </a:cubicBezTo>
                    <a:cubicBezTo>
                      <a:pt x="161" y="59"/>
                      <a:pt x="162" y="59"/>
                      <a:pt x="163" y="61"/>
                    </a:cubicBezTo>
                    <a:cubicBezTo>
                      <a:pt x="163" y="61"/>
                      <a:pt x="163" y="61"/>
                      <a:pt x="163" y="61"/>
                    </a:cubicBezTo>
                    <a:cubicBezTo>
                      <a:pt x="163" y="62"/>
                      <a:pt x="163" y="62"/>
                      <a:pt x="163" y="62"/>
                    </a:cubicBezTo>
                    <a:cubicBezTo>
                      <a:pt x="163" y="63"/>
                      <a:pt x="162" y="64"/>
                      <a:pt x="162" y="65"/>
                    </a:cubicBezTo>
                    <a:cubicBezTo>
                      <a:pt x="162" y="65"/>
                      <a:pt x="163" y="66"/>
                      <a:pt x="163" y="66"/>
                    </a:cubicBezTo>
                    <a:cubicBezTo>
                      <a:pt x="165" y="68"/>
                      <a:pt x="164" y="71"/>
                      <a:pt x="163" y="72"/>
                    </a:cubicBezTo>
                    <a:cubicBezTo>
                      <a:pt x="163" y="72"/>
                      <a:pt x="163" y="72"/>
                      <a:pt x="163" y="72"/>
                    </a:cubicBezTo>
                    <a:cubicBezTo>
                      <a:pt x="165" y="77"/>
                      <a:pt x="165" y="77"/>
                      <a:pt x="165" y="77"/>
                    </a:cubicBezTo>
                    <a:cubicBezTo>
                      <a:pt x="166" y="80"/>
                      <a:pt x="165" y="84"/>
                      <a:pt x="164" y="87"/>
                    </a:cubicBezTo>
                    <a:cubicBezTo>
                      <a:pt x="164" y="87"/>
                      <a:pt x="164" y="87"/>
                      <a:pt x="164" y="87"/>
                    </a:cubicBezTo>
                    <a:cubicBezTo>
                      <a:pt x="164" y="88"/>
                      <a:pt x="164" y="88"/>
                      <a:pt x="164" y="89"/>
                    </a:cubicBezTo>
                    <a:cubicBezTo>
                      <a:pt x="164" y="90"/>
                      <a:pt x="164" y="90"/>
                      <a:pt x="164" y="90"/>
                    </a:cubicBezTo>
                    <a:cubicBezTo>
                      <a:pt x="173" y="113"/>
                      <a:pt x="173" y="113"/>
                      <a:pt x="173" y="113"/>
                    </a:cubicBezTo>
                    <a:cubicBezTo>
                      <a:pt x="173" y="114"/>
                      <a:pt x="174" y="115"/>
                      <a:pt x="175" y="115"/>
                    </a:cubicBezTo>
                    <a:cubicBezTo>
                      <a:pt x="176" y="117"/>
                      <a:pt x="176" y="117"/>
                      <a:pt x="176" y="117"/>
                    </a:cubicBezTo>
                    <a:cubicBezTo>
                      <a:pt x="178" y="117"/>
                      <a:pt x="179" y="118"/>
                      <a:pt x="179" y="121"/>
                    </a:cubicBezTo>
                    <a:cubicBezTo>
                      <a:pt x="179" y="124"/>
                      <a:pt x="177" y="126"/>
                      <a:pt x="177" y="126"/>
                    </a:cubicBezTo>
                    <a:cubicBezTo>
                      <a:pt x="175" y="128"/>
                      <a:pt x="175" y="128"/>
                      <a:pt x="175" y="128"/>
                    </a:cubicBezTo>
                    <a:cubicBezTo>
                      <a:pt x="176" y="129"/>
                      <a:pt x="177" y="130"/>
                      <a:pt x="176" y="131"/>
                    </a:cubicBezTo>
                    <a:cubicBezTo>
                      <a:pt x="176" y="132"/>
                      <a:pt x="176" y="133"/>
                      <a:pt x="175" y="134"/>
                    </a:cubicBezTo>
                    <a:cubicBezTo>
                      <a:pt x="174" y="135"/>
                      <a:pt x="173" y="135"/>
                      <a:pt x="171" y="135"/>
                    </a:cubicBezTo>
                    <a:cubicBezTo>
                      <a:pt x="171" y="135"/>
                      <a:pt x="171" y="135"/>
                      <a:pt x="170" y="135"/>
                    </a:cubicBezTo>
                    <a:cubicBezTo>
                      <a:pt x="170" y="135"/>
                      <a:pt x="169" y="135"/>
                      <a:pt x="168" y="135"/>
                    </a:cubicBezTo>
                    <a:cubicBezTo>
                      <a:pt x="167" y="135"/>
                      <a:pt x="165" y="135"/>
                      <a:pt x="163" y="134"/>
                    </a:cubicBezTo>
                    <a:cubicBezTo>
                      <a:pt x="163" y="133"/>
                      <a:pt x="163" y="133"/>
                      <a:pt x="163" y="133"/>
                    </a:cubicBezTo>
                    <a:cubicBezTo>
                      <a:pt x="163" y="133"/>
                      <a:pt x="163" y="133"/>
                      <a:pt x="163" y="133"/>
                    </a:cubicBezTo>
                    <a:cubicBezTo>
                      <a:pt x="163" y="134"/>
                      <a:pt x="163" y="134"/>
                      <a:pt x="163" y="134"/>
                    </a:cubicBezTo>
                    <a:cubicBezTo>
                      <a:pt x="161" y="134"/>
                      <a:pt x="160" y="134"/>
                      <a:pt x="159" y="134"/>
                    </a:cubicBezTo>
                    <a:cubicBezTo>
                      <a:pt x="156" y="134"/>
                      <a:pt x="154" y="134"/>
                      <a:pt x="152" y="133"/>
                    </a:cubicBezTo>
                    <a:cubicBezTo>
                      <a:pt x="150" y="133"/>
                      <a:pt x="150" y="133"/>
                      <a:pt x="150" y="133"/>
                    </a:cubicBezTo>
                    <a:cubicBezTo>
                      <a:pt x="149" y="133"/>
                      <a:pt x="148" y="133"/>
                      <a:pt x="147" y="133"/>
                    </a:cubicBezTo>
                    <a:cubicBezTo>
                      <a:pt x="145" y="133"/>
                      <a:pt x="144" y="133"/>
                      <a:pt x="142" y="134"/>
                    </a:cubicBezTo>
                    <a:cubicBezTo>
                      <a:pt x="142" y="134"/>
                      <a:pt x="141" y="134"/>
                      <a:pt x="140" y="134"/>
                    </a:cubicBezTo>
                    <a:cubicBezTo>
                      <a:pt x="140" y="134"/>
                      <a:pt x="140" y="134"/>
                      <a:pt x="140" y="134"/>
                    </a:cubicBezTo>
                    <a:cubicBezTo>
                      <a:pt x="139" y="134"/>
                      <a:pt x="138" y="134"/>
                      <a:pt x="137" y="135"/>
                    </a:cubicBezTo>
                    <a:cubicBezTo>
                      <a:pt x="136" y="135"/>
                      <a:pt x="135" y="136"/>
                      <a:pt x="134" y="137"/>
                    </a:cubicBezTo>
                    <a:cubicBezTo>
                      <a:pt x="133" y="139"/>
                      <a:pt x="132" y="141"/>
                      <a:pt x="129" y="142"/>
                    </a:cubicBezTo>
                    <a:cubicBezTo>
                      <a:pt x="129" y="142"/>
                      <a:pt x="128" y="143"/>
                      <a:pt x="128" y="143"/>
                    </a:cubicBezTo>
                    <a:cubicBezTo>
                      <a:pt x="126" y="143"/>
                      <a:pt x="126" y="143"/>
                      <a:pt x="126" y="143"/>
                    </a:cubicBezTo>
                    <a:cubicBezTo>
                      <a:pt x="124" y="144"/>
                      <a:pt x="122" y="145"/>
                      <a:pt x="119" y="146"/>
                    </a:cubicBezTo>
                    <a:cubicBezTo>
                      <a:pt x="119" y="146"/>
                      <a:pt x="119" y="146"/>
                      <a:pt x="119" y="146"/>
                    </a:cubicBezTo>
                    <a:cubicBezTo>
                      <a:pt x="118" y="146"/>
                      <a:pt x="118" y="146"/>
                      <a:pt x="118" y="145"/>
                    </a:cubicBezTo>
                    <a:cubicBezTo>
                      <a:pt x="117" y="145"/>
                      <a:pt x="116" y="145"/>
                      <a:pt x="115" y="145"/>
                    </a:cubicBezTo>
                    <a:cubicBezTo>
                      <a:pt x="114" y="145"/>
                      <a:pt x="114" y="145"/>
                      <a:pt x="114" y="145"/>
                    </a:cubicBezTo>
                    <a:cubicBezTo>
                      <a:pt x="114" y="145"/>
                      <a:pt x="114" y="145"/>
                      <a:pt x="114" y="145"/>
                    </a:cubicBezTo>
                    <a:cubicBezTo>
                      <a:pt x="114" y="145"/>
                      <a:pt x="114" y="145"/>
                      <a:pt x="114" y="145"/>
                    </a:cubicBezTo>
                    <a:cubicBezTo>
                      <a:pt x="114" y="146"/>
                      <a:pt x="114" y="146"/>
                      <a:pt x="114" y="146"/>
                    </a:cubicBezTo>
                    <a:cubicBezTo>
                      <a:pt x="114" y="146"/>
                      <a:pt x="114" y="146"/>
                      <a:pt x="114" y="146"/>
                    </a:cubicBezTo>
                    <a:cubicBezTo>
                      <a:pt x="114" y="147"/>
                      <a:pt x="114" y="147"/>
                      <a:pt x="114" y="147"/>
                    </a:cubicBezTo>
                    <a:cubicBezTo>
                      <a:pt x="115" y="147"/>
                      <a:pt x="116" y="148"/>
                      <a:pt x="116" y="148"/>
                    </a:cubicBezTo>
                    <a:cubicBezTo>
                      <a:pt x="116" y="149"/>
                      <a:pt x="117" y="150"/>
                      <a:pt x="116" y="152"/>
                    </a:cubicBezTo>
                    <a:cubicBezTo>
                      <a:pt x="115" y="152"/>
                      <a:pt x="115" y="153"/>
                      <a:pt x="115" y="153"/>
                    </a:cubicBezTo>
                    <a:cubicBezTo>
                      <a:pt x="116" y="153"/>
                      <a:pt x="116" y="154"/>
                      <a:pt x="117" y="154"/>
                    </a:cubicBezTo>
                    <a:cubicBezTo>
                      <a:pt x="117" y="155"/>
                      <a:pt x="119" y="156"/>
                      <a:pt x="119" y="158"/>
                    </a:cubicBezTo>
                    <a:cubicBezTo>
                      <a:pt x="121" y="163"/>
                      <a:pt x="116" y="165"/>
                      <a:pt x="114" y="165"/>
                    </a:cubicBezTo>
                    <a:cubicBezTo>
                      <a:pt x="113" y="166"/>
                      <a:pt x="113" y="166"/>
                      <a:pt x="112" y="166"/>
                    </a:cubicBezTo>
                    <a:cubicBezTo>
                      <a:pt x="88" y="177"/>
                      <a:pt x="88" y="177"/>
                      <a:pt x="88" y="177"/>
                    </a:cubicBezTo>
                    <a:cubicBezTo>
                      <a:pt x="86" y="178"/>
                      <a:pt x="85" y="179"/>
                      <a:pt x="84" y="181"/>
                    </a:cubicBezTo>
                    <a:cubicBezTo>
                      <a:pt x="83" y="182"/>
                      <a:pt x="83" y="183"/>
                      <a:pt x="82" y="184"/>
                    </a:cubicBezTo>
                    <a:cubicBezTo>
                      <a:pt x="80" y="185"/>
                      <a:pt x="80" y="185"/>
                      <a:pt x="80" y="185"/>
                    </a:cubicBezTo>
                    <a:cubicBezTo>
                      <a:pt x="79" y="186"/>
                      <a:pt x="78" y="187"/>
                      <a:pt x="77" y="188"/>
                    </a:cubicBezTo>
                    <a:cubicBezTo>
                      <a:pt x="76" y="189"/>
                      <a:pt x="74" y="190"/>
                      <a:pt x="73" y="191"/>
                    </a:cubicBezTo>
                    <a:cubicBezTo>
                      <a:pt x="69" y="192"/>
                      <a:pt x="61" y="194"/>
                      <a:pt x="55" y="194"/>
                    </a:cubicBezTo>
                    <a:cubicBezTo>
                      <a:pt x="53" y="194"/>
                      <a:pt x="52" y="194"/>
                      <a:pt x="51" y="194"/>
                    </a:cubicBezTo>
                    <a:cubicBezTo>
                      <a:pt x="50" y="196"/>
                      <a:pt x="49" y="199"/>
                      <a:pt x="46" y="200"/>
                    </a:cubicBezTo>
                    <a:cubicBezTo>
                      <a:pt x="45" y="200"/>
                      <a:pt x="45" y="200"/>
                      <a:pt x="45" y="200"/>
                    </a:cubicBezTo>
                    <a:cubicBezTo>
                      <a:pt x="44" y="200"/>
                      <a:pt x="44" y="200"/>
                      <a:pt x="44" y="200"/>
                    </a:cubicBezTo>
                    <a:cubicBezTo>
                      <a:pt x="43" y="200"/>
                      <a:pt x="42" y="200"/>
                      <a:pt x="42" y="200"/>
                    </a:cubicBezTo>
                    <a:cubicBezTo>
                      <a:pt x="42" y="200"/>
                      <a:pt x="41" y="199"/>
                      <a:pt x="41" y="199"/>
                    </a:cubicBezTo>
                    <a:cubicBezTo>
                      <a:pt x="41" y="199"/>
                      <a:pt x="41" y="199"/>
                      <a:pt x="41" y="199"/>
                    </a:cubicBezTo>
                    <a:cubicBezTo>
                      <a:pt x="39" y="200"/>
                      <a:pt x="38" y="200"/>
                      <a:pt x="36" y="201"/>
                    </a:cubicBezTo>
                    <a:cubicBezTo>
                      <a:pt x="33" y="201"/>
                      <a:pt x="33" y="201"/>
                      <a:pt x="33" y="201"/>
                    </a:cubicBezTo>
                    <a:cubicBezTo>
                      <a:pt x="32" y="202"/>
                      <a:pt x="30" y="202"/>
                      <a:pt x="29" y="203"/>
                    </a:cubicBezTo>
                    <a:cubicBezTo>
                      <a:pt x="27" y="203"/>
                      <a:pt x="25" y="204"/>
                      <a:pt x="23" y="205"/>
                    </a:cubicBezTo>
                    <a:cubicBezTo>
                      <a:pt x="22" y="205"/>
                      <a:pt x="21" y="206"/>
                      <a:pt x="21" y="206"/>
                    </a:cubicBezTo>
                    <a:cubicBezTo>
                      <a:pt x="18" y="209"/>
                      <a:pt x="15" y="211"/>
                      <a:pt x="12" y="212"/>
                    </a:cubicBezTo>
                    <a:cubicBezTo>
                      <a:pt x="9" y="215"/>
                      <a:pt x="9" y="215"/>
                      <a:pt x="9" y="215"/>
                    </a:cubicBezTo>
                    <a:cubicBezTo>
                      <a:pt x="8" y="215"/>
                      <a:pt x="8" y="215"/>
                      <a:pt x="7" y="216"/>
                    </a:cubicBezTo>
                    <a:cubicBezTo>
                      <a:pt x="5" y="218"/>
                      <a:pt x="5" y="218"/>
                      <a:pt x="5" y="218"/>
                    </a:cubicBezTo>
                    <a:cubicBezTo>
                      <a:pt x="3" y="218"/>
                      <a:pt x="2" y="219"/>
                      <a:pt x="1" y="220"/>
                    </a:cubicBezTo>
                    <a:cubicBezTo>
                      <a:pt x="1" y="220"/>
                      <a:pt x="0" y="221"/>
                      <a:pt x="0" y="221"/>
                    </a:cubicBezTo>
                    <a:cubicBezTo>
                      <a:pt x="0" y="242"/>
                      <a:pt x="0" y="242"/>
                      <a:pt x="0" y="242"/>
                    </a:cubicBezTo>
                    <a:cubicBezTo>
                      <a:pt x="0" y="254"/>
                      <a:pt x="0" y="254"/>
                      <a:pt x="0" y="254"/>
                    </a:cubicBezTo>
                    <a:cubicBezTo>
                      <a:pt x="33" y="274"/>
                      <a:pt x="61" y="293"/>
                      <a:pt x="88" y="310"/>
                    </a:cubicBezTo>
                    <a:cubicBezTo>
                      <a:pt x="88" y="310"/>
                      <a:pt x="88" y="310"/>
                      <a:pt x="88" y="310"/>
                    </a:cubicBezTo>
                    <a:cubicBezTo>
                      <a:pt x="104" y="316"/>
                      <a:pt x="104" y="316"/>
                      <a:pt x="104" y="316"/>
                    </a:cubicBezTo>
                    <a:cubicBezTo>
                      <a:pt x="96" y="316"/>
                      <a:pt x="96" y="316"/>
                      <a:pt x="96" y="316"/>
                    </a:cubicBezTo>
                    <a:cubicBezTo>
                      <a:pt x="107" y="323"/>
                      <a:pt x="107" y="323"/>
                      <a:pt x="107" y="323"/>
                    </a:cubicBezTo>
                    <a:cubicBezTo>
                      <a:pt x="106" y="323"/>
                      <a:pt x="106" y="323"/>
                      <a:pt x="106" y="323"/>
                    </a:cubicBezTo>
                    <a:cubicBezTo>
                      <a:pt x="113" y="327"/>
                      <a:pt x="120" y="332"/>
                      <a:pt x="127" y="336"/>
                    </a:cubicBezTo>
                    <a:cubicBezTo>
                      <a:pt x="138" y="344"/>
                      <a:pt x="149" y="352"/>
                      <a:pt x="160" y="359"/>
                    </a:cubicBezTo>
                    <a:cubicBezTo>
                      <a:pt x="174" y="370"/>
                      <a:pt x="190" y="381"/>
                      <a:pt x="206" y="391"/>
                    </a:cubicBezTo>
                    <a:cubicBezTo>
                      <a:pt x="228" y="406"/>
                      <a:pt x="228" y="406"/>
                      <a:pt x="228" y="406"/>
                    </a:cubicBezTo>
                    <a:cubicBezTo>
                      <a:pt x="230" y="407"/>
                      <a:pt x="231" y="409"/>
                      <a:pt x="232" y="411"/>
                    </a:cubicBezTo>
                    <a:cubicBezTo>
                      <a:pt x="232" y="413"/>
                      <a:pt x="232" y="414"/>
                      <a:pt x="232" y="415"/>
                    </a:cubicBezTo>
                    <a:cubicBezTo>
                      <a:pt x="232" y="416"/>
                      <a:pt x="232" y="416"/>
                      <a:pt x="232" y="417"/>
                    </a:cubicBezTo>
                    <a:cubicBezTo>
                      <a:pt x="232" y="417"/>
                      <a:pt x="233" y="417"/>
                      <a:pt x="234" y="417"/>
                    </a:cubicBezTo>
                    <a:cubicBezTo>
                      <a:pt x="235" y="418"/>
                      <a:pt x="235" y="418"/>
                      <a:pt x="235" y="418"/>
                    </a:cubicBezTo>
                    <a:cubicBezTo>
                      <a:pt x="236" y="418"/>
                      <a:pt x="236" y="418"/>
                      <a:pt x="237" y="418"/>
                    </a:cubicBezTo>
                    <a:cubicBezTo>
                      <a:pt x="240" y="420"/>
                      <a:pt x="241" y="421"/>
                      <a:pt x="242" y="423"/>
                    </a:cubicBezTo>
                    <a:cubicBezTo>
                      <a:pt x="243" y="425"/>
                      <a:pt x="243" y="425"/>
                      <a:pt x="243" y="425"/>
                    </a:cubicBezTo>
                    <a:cubicBezTo>
                      <a:pt x="243" y="426"/>
                      <a:pt x="246" y="427"/>
                      <a:pt x="250" y="428"/>
                    </a:cubicBezTo>
                    <a:cubicBezTo>
                      <a:pt x="251" y="428"/>
                      <a:pt x="251" y="428"/>
                      <a:pt x="251" y="428"/>
                    </a:cubicBezTo>
                    <a:cubicBezTo>
                      <a:pt x="252" y="428"/>
                      <a:pt x="252" y="428"/>
                      <a:pt x="253" y="428"/>
                    </a:cubicBezTo>
                    <a:cubicBezTo>
                      <a:pt x="253" y="428"/>
                      <a:pt x="253" y="428"/>
                      <a:pt x="253" y="428"/>
                    </a:cubicBezTo>
                    <a:cubicBezTo>
                      <a:pt x="254" y="428"/>
                      <a:pt x="254" y="428"/>
                      <a:pt x="254" y="428"/>
                    </a:cubicBezTo>
                    <a:cubicBezTo>
                      <a:pt x="254" y="428"/>
                      <a:pt x="255" y="428"/>
                      <a:pt x="256" y="428"/>
                    </a:cubicBezTo>
                    <a:cubicBezTo>
                      <a:pt x="256" y="428"/>
                      <a:pt x="256" y="428"/>
                      <a:pt x="256" y="428"/>
                    </a:cubicBezTo>
                    <a:cubicBezTo>
                      <a:pt x="258" y="430"/>
                      <a:pt x="258" y="430"/>
                      <a:pt x="258" y="430"/>
                    </a:cubicBezTo>
                    <a:cubicBezTo>
                      <a:pt x="261" y="431"/>
                      <a:pt x="264" y="433"/>
                      <a:pt x="267" y="434"/>
                    </a:cubicBezTo>
                    <a:cubicBezTo>
                      <a:pt x="268" y="434"/>
                      <a:pt x="268" y="434"/>
                      <a:pt x="268" y="434"/>
                    </a:cubicBezTo>
                    <a:cubicBezTo>
                      <a:pt x="269" y="435"/>
                      <a:pt x="269" y="435"/>
                      <a:pt x="269" y="435"/>
                    </a:cubicBezTo>
                    <a:cubicBezTo>
                      <a:pt x="271" y="435"/>
                      <a:pt x="272" y="435"/>
                      <a:pt x="273" y="436"/>
                    </a:cubicBezTo>
                    <a:cubicBezTo>
                      <a:pt x="274" y="436"/>
                      <a:pt x="274" y="436"/>
                      <a:pt x="274" y="436"/>
                    </a:cubicBezTo>
                    <a:cubicBezTo>
                      <a:pt x="275" y="437"/>
                      <a:pt x="276" y="437"/>
                      <a:pt x="276" y="437"/>
                    </a:cubicBezTo>
                    <a:cubicBezTo>
                      <a:pt x="278" y="438"/>
                      <a:pt x="278" y="438"/>
                      <a:pt x="278" y="438"/>
                    </a:cubicBezTo>
                    <a:cubicBezTo>
                      <a:pt x="279" y="440"/>
                      <a:pt x="280" y="441"/>
                      <a:pt x="280" y="443"/>
                    </a:cubicBezTo>
                    <a:cubicBezTo>
                      <a:pt x="280" y="443"/>
                      <a:pt x="280" y="444"/>
                      <a:pt x="280" y="444"/>
                    </a:cubicBezTo>
                    <a:cubicBezTo>
                      <a:pt x="280" y="445"/>
                      <a:pt x="280" y="445"/>
                      <a:pt x="280" y="446"/>
                    </a:cubicBezTo>
                    <a:cubicBezTo>
                      <a:pt x="280" y="447"/>
                      <a:pt x="280" y="447"/>
                      <a:pt x="280" y="447"/>
                    </a:cubicBezTo>
                    <a:cubicBezTo>
                      <a:pt x="280" y="448"/>
                      <a:pt x="280" y="448"/>
                      <a:pt x="280" y="448"/>
                    </a:cubicBezTo>
                    <a:cubicBezTo>
                      <a:pt x="280" y="449"/>
                      <a:pt x="280" y="449"/>
                      <a:pt x="280" y="449"/>
                    </a:cubicBezTo>
                    <a:cubicBezTo>
                      <a:pt x="281" y="451"/>
                      <a:pt x="281" y="452"/>
                      <a:pt x="280" y="453"/>
                    </a:cubicBezTo>
                    <a:cubicBezTo>
                      <a:pt x="280" y="454"/>
                      <a:pt x="280" y="454"/>
                      <a:pt x="280" y="454"/>
                    </a:cubicBezTo>
                    <a:cubicBezTo>
                      <a:pt x="279" y="455"/>
                      <a:pt x="279" y="455"/>
                      <a:pt x="279" y="455"/>
                    </a:cubicBezTo>
                    <a:cubicBezTo>
                      <a:pt x="279" y="456"/>
                      <a:pt x="278" y="456"/>
                      <a:pt x="278" y="457"/>
                    </a:cubicBezTo>
                    <a:cubicBezTo>
                      <a:pt x="279" y="457"/>
                      <a:pt x="280" y="457"/>
                      <a:pt x="281" y="457"/>
                    </a:cubicBezTo>
                    <a:cubicBezTo>
                      <a:pt x="282" y="457"/>
                      <a:pt x="283" y="457"/>
                      <a:pt x="284" y="457"/>
                    </a:cubicBezTo>
                    <a:cubicBezTo>
                      <a:pt x="284" y="457"/>
                      <a:pt x="284" y="457"/>
                      <a:pt x="284" y="457"/>
                    </a:cubicBezTo>
                    <a:cubicBezTo>
                      <a:pt x="284" y="457"/>
                      <a:pt x="284" y="457"/>
                      <a:pt x="285" y="457"/>
                    </a:cubicBezTo>
                    <a:cubicBezTo>
                      <a:pt x="285" y="457"/>
                      <a:pt x="285" y="457"/>
                      <a:pt x="285" y="457"/>
                    </a:cubicBezTo>
                    <a:cubicBezTo>
                      <a:pt x="285" y="457"/>
                      <a:pt x="285" y="457"/>
                      <a:pt x="285" y="457"/>
                    </a:cubicBezTo>
                    <a:cubicBezTo>
                      <a:pt x="286" y="457"/>
                      <a:pt x="286" y="457"/>
                      <a:pt x="286" y="457"/>
                    </a:cubicBezTo>
                    <a:cubicBezTo>
                      <a:pt x="287" y="457"/>
                      <a:pt x="287" y="457"/>
                      <a:pt x="287" y="457"/>
                    </a:cubicBezTo>
                    <a:cubicBezTo>
                      <a:pt x="288" y="457"/>
                      <a:pt x="289" y="457"/>
                      <a:pt x="290" y="457"/>
                    </a:cubicBezTo>
                    <a:cubicBezTo>
                      <a:pt x="290" y="457"/>
                      <a:pt x="290" y="457"/>
                      <a:pt x="291" y="457"/>
                    </a:cubicBezTo>
                    <a:cubicBezTo>
                      <a:pt x="297" y="455"/>
                      <a:pt x="297" y="455"/>
                      <a:pt x="297" y="455"/>
                    </a:cubicBezTo>
                    <a:cubicBezTo>
                      <a:pt x="298" y="455"/>
                      <a:pt x="298" y="455"/>
                      <a:pt x="298" y="455"/>
                    </a:cubicBezTo>
                    <a:cubicBezTo>
                      <a:pt x="298" y="455"/>
                      <a:pt x="298" y="455"/>
                      <a:pt x="298" y="455"/>
                    </a:cubicBezTo>
                    <a:cubicBezTo>
                      <a:pt x="299" y="455"/>
                      <a:pt x="299" y="455"/>
                      <a:pt x="299" y="455"/>
                    </a:cubicBezTo>
                    <a:cubicBezTo>
                      <a:pt x="301" y="455"/>
                      <a:pt x="301" y="455"/>
                      <a:pt x="301" y="455"/>
                    </a:cubicBezTo>
                    <a:cubicBezTo>
                      <a:pt x="322" y="450"/>
                      <a:pt x="322" y="450"/>
                      <a:pt x="322" y="450"/>
                    </a:cubicBezTo>
                    <a:cubicBezTo>
                      <a:pt x="323" y="450"/>
                      <a:pt x="324" y="450"/>
                      <a:pt x="326" y="450"/>
                    </a:cubicBezTo>
                    <a:cubicBezTo>
                      <a:pt x="327" y="450"/>
                      <a:pt x="327" y="450"/>
                      <a:pt x="327" y="450"/>
                    </a:cubicBezTo>
                    <a:cubicBezTo>
                      <a:pt x="330" y="449"/>
                      <a:pt x="335" y="449"/>
                      <a:pt x="337" y="447"/>
                    </a:cubicBezTo>
                    <a:cubicBezTo>
                      <a:pt x="338" y="447"/>
                      <a:pt x="338" y="446"/>
                      <a:pt x="339" y="446"/>
                    </a:cubicBezTo>
                    <a:cubicBezTo>
                      <a:pt x="340" y="445"/>
                      <a:pt x="340" y="445"/>
                      <a:pt x="340" y="445"/>
                    </a:cubicBezTo>
                    <a:cubicBezTo>
                      <a:pt x="342" y="443"/>
                      <a:pt x="344" y="441"/>
                      <a:pt x="346" y="439"/>
                    </a:cubicBezTo>
                    <a:cubicBezTo>
                      <a:pt x="359" y="428"/>
                      <a:pt x="359" y="428"/>
                      <a:pt x="359" y="428"/>
                    </a:cubicBezTo>
                    <a:cubicBezTo>
                      <a:pt x="362" y="425"/>
                      <a:pt x="365" y="422"/>
                      <a:pt x="368" y="420"/>
                    </a:cubicBezTo>
                    <a:cubicBezTo>
                      <a:pt x="374" y="415"/>
                      <a:pt x="379" y="411"/>
                      <a:pt x="384" y="408"/>
                    </a:cubicBezTo>
                    <a:cubicBezTo>
                      <a:pt x="479" y="349"/>
                      <a:pt x="479" y="349"/>
                      <a:pt x="479" y="349"/>
                    </a:cubicBezTo>
                    <a:cubicBezTo>
                      <a:pt x="479" y="348"/>
                      <a:pt x="478" y="348"/>
                      <a:pt x="478" y="347"/>
                    </a:cubicBezTo>
                    <a:cubicBezTo>
                      <a:pt x="477" y="346"/>
                      <a:pt x="477" y="346"/>
                      <a:pt x="477" y="346"/>
                    </a:cubicBezTo>
                    <a:cubicBezTo>
                      <a:pt x="477" y="345"/>
                      <a:pt x="476" y="344"/>
                      <a:pt x="476" y="343"/>
                    </a:cubicBezTo>
                    <a:cubicBezTo>
                      <a:pt x="475" y="341"/>
                      <a:pt x="474" y="339"/>
                      <a:pt x="473" y="338"/>
                    </a:cubicBezTo>
                    <a:cubicBezTo>
                      <a:pt x="473" y="337"/>
                      <a:pt x="473" y="336"/>
                      <a:pt x="472" y="336"/>
                    </a:cubicBezTo>
                    <a:cubicBezTo>
                      <a:pt x="471" y="334"/>
                      <a:pt x="470" y="332"/>
                      <a:pt x="468" y="332"/>
                    </a:cubicBezTo>
                    <a:cubicBezTo>
                      <a:pt x="463" y="330"/>
                      <a:pt x="463" y="330"/>
                      <a:pt x="463" y="330"/>
                    </a:cubicBezTo>
                    <a:cubicBezTo>
                      <a:pt x="461" y="330"/>
                      <a:pt x="459" y="329"/>
                      <a:pt x="456" y="328"/>
                    </a:cubicBezTo>
                    <a:cubicBezTo>
                      <a:pt x="455" y="328"/>
                      <a:pt x="454" y="327"/>
                      <a:pt x="454" y="327"/>
                    </a:cubicBezTo>
                    <a:cubicBezTo>
                      <a:pt x="453" y="327"/>
                      <a:pt x="453" y="327"/>
                      <a:pt x="453" y="327"/>
                    </a:cubicBezTo>
                    <a:cubicBezTo>
                      <a:pt x="453" y="327"/>
                      <a:pt x="453" y="327"/>
                      <a:pt x="453" y="327"/>
                    </a:cubicBezTo>
                    <a:cubicBezTo>
                      <a:pt x="453" y="327"/>
                      <a:pt x="452" y="328"/>
                      <a:pt x="450" y="328"/>
                    </a:cubicBezTo>
                    <a:cubicBezTo>
                      <a:pt x="450" y="328"/>
                      <a:pt x="450" y="328"/>
                      <a:pt x="450" y="328"/>
                    </a:cubicBezTo>
                    <a:cubicBezTo>
                      <a:pt x="449" y="328"/>
                      <a:pt x="449" y="328"/>
                      <a:pt x="449" y="328"/>
                    </a:cubicBezTo>
                    <a:cubicBezTo>
                      <a:pt x="449" y="334"/>
                      <a:pt x="449" y="334"/>
                      <a:pt x="449" y="334"/>
                    </a:cubicBezTo>
                    <a:cubicBezTo>
                      <a:pt x="448" y="329"/>
                      <a:pt x="448" y="329"/>
                      <a:pt x="448" y="329"/>
                    </a:cubicBezTo>
                    <a:cubicBezTo>
                      <a:pt x="447" y="329"/>
                      <a:pt x="447" y="329"/>
                      <a:pt x="447" y="329"/>
                    </a:cubicBezTo>
                    <a:cubicBezTo>
                      <a:pt x="446" y="329"/>
                      <a:pt x="446" y="328"/>
                      <a:pt x="445" y="328"/>
                    </a:cubicBezTo>
                    <a:cubicBezTo>
                      <a:pt x="445" y="328"/>
                      <a:pt x="445" y="328"/>
                      <a:pt x="445" y="328"/>
                    </a:cubicBezTo>
                    <a:cubicBezTo>
                      <a:pt x="444" y="328"/>
                      <a:pt x="443" y="327"/>
                      <a:pt x="442" y="326"/>
                    </a:cubicBezTo>
                    <a:cubicBezTo>
                      <a:pt x="442" y="326"/>
                      <a:pt x="442" y="326"/>
                      <a:pt x="442" y="326"/>
                    </a:cubicBezTo>
                    <a:cubicBezTo>
                      <a:pt x="441" y="325"/>
                      <a:pt x="441" y="325"/>
                      <a:pt x="441" y="325"/>
                    </a:cubicBezTo>
                    <a:cubicBezTo>
                      <a:pt x="439" y="323"/>
                      <a:pt x="438" y="322"/>
                      <a:pt x="437" y="320"/>
                    </a:cubicBezTo>
                    <a:cubicBezTo>
                      <a:pt x="436" y="319"/>
                      <a:pt x="436" y="319"/>
                      <a:pt x="436" y="318"/>
                    </a:cubicBezTo>
                    <a:cubicBezTo>
                      <a:pt x="436" y="318"/>
                      <a:pt x="435" y="317"/>
                      <a:pt x="435" y="317"/>
                    </a:cubicBezTo>
                    <a:cubicBezTo>
                      <a:pt x="435" y="317"/>
                      <a:pt x="435" y="317"/>
                      <a:pt x="435" y="317"/>
                    </a:cubicBezTo>
                    <a:cubicBezTo>
                      <a:pt x="435" y="316"/>
                      <a:pt x="435" y="316"/>
                      <a:pt x="435" y="316"/>
                    </a:cubicBezTo>
                    <a:cubicBezTo>
                      <a:pt x="434" y="314"/>
                      <a:pt x="434" y="312"/>
                      <a:pt x="434" y="310"/>
                    </a:cubicBezTo>
                    <a:cubicBezTo>
                      <a:pt x="433" y="307"/>
                      <a:pt x="433" y="304"/>
                      <a:pt x="431" y="301"/>
                    </a:cubicBezTo>
                    <a:cubicBezTo>
                      <a:pt x="431" y="301"/>
                      <a:pt x="430" y="300"/>
                      <a:pt x="430" y="299"/>
                    </a:cubicBezTo>
                    <a:cubicBezTo>
                      <a:pt x="429" y="298"/>
                      <a:pt x="429" y="298"/>
                      <a:pt x="429" y="298"/>
                    </a:cubicBezTo>
                    <a:cubicBezTo>
                      <a:pt x="429" y="298"/>
                      <a:pt x="428" y="297"/>
                      <a:pt x="428" y="297"/>
                    </a:cubicBezTo>
                    <a:cubicBezTo>
                      <a:pt x="428" y="296"/>
                      <a:pt x="428" y="296"/>
                      <a:pt x="428" y="296"/>
                    </a:cubicBezTo>
                    <a:cubicBezTo>
                      <a:pt x="427" y="296"/>
                      <a:pt x="427" y="295"/>
                      <a:pt x="426" y="294"/>
                    </a:cubicBezTo>
                    <a:cubicBezTo>
                      <a:pt x="423" y="291"/>
                      <a:pt x="420" y="287"/>
                      <a:pt x="420" y="285"/>
                    </a:cubicBezTo>
                    <a:cubicBezTo>
                      <a:pt x="419" y="283"/>
                      <a:pt x="421" y="280"/>
                      <a:pt x="423" y="278"/>
                    </a:cubicBezTo>
                    <a:cubicBezTo>
                      <a:pt x="424" y="277"/>
                      <a:pt x="425" y="276"/>
                      <a:pt x="426" y="275"/>
                    </a:cubicBezTo>
                    <a:cubicBezTo>
                      <a:pt x="427" y="274"/>
                      <a:pt x="428" y="274"/>
                      <a:pt x="429" y="274"/>
                    </a:cubicBezTo>
                    <a:cubicBezTo>
                      <a:pt x="429" y="274"/>
                      <a:pt x="429" y="274"/>
                      <a:pt x="429" y="274"/>
                    </a:cubicBezTo>
                    <a:cubicBezTo>
                      <a:pt x="430" y="273"/>
                      <a:pt x="430" y="273"/>
                      <a:pt x="430" y="273"/>
                    </a:cubicBezTo>
                    <a:cubicBezTo>
                      <a:pt x="430" y="273"/>
                      <a:pt x="430" y="272"/>
                      <a:pt x="430" y="272"/>
                    </a:cubicBezTo>
                    <a:cubicBezTo>
                      <a:pt x="430" y="271"/>
                      <a:pt x="430" y="271"/>
                      <a:pt x="430" y="271"/>
                    </a:cubicBezTo>
                    <a:cubicBezTo>
                      <a:pt x="430" y="269"/>
                      <a:pt x="430" y="266"/>
                      <a:pt x="429" y="264"/>
                    </a:cubicBezTo>
                    <a:cubicBezTo>
                      <a:pt x="429" y="262"/>
                      <a:pt x="429" y="262"/>
                      <a:pt x="429" y="262"/>
                    </a:cubicBezTo>
                    <a:cubicBezTo>
                      <a:pt x="429" y="261"/>
                      <a:pt x="429" y="261"/>
                      <a:pt x="429" y="260"/>
                    </a:cubicBezTo>
                    <a:cubicBezTo>
                      <a:pt x="428" y="259"/>
                      <a:pt x="428" y="259"/>
                      <a:pt x="428" y="259"/>
                    </a:cubicBezTo>
                    <a:cubicBezTo>
                      <a:pt x="428" y="258"/>
                      <a:pt x="428" y="257"/>
                      <a:pt x="428" y="256"/>
                    </a:cubicBezTo>
                    <a:cubicBezTo>
                      <a:pt x="427" y="253"/>
                      <a:pt x="428" y="251"/>
                      <a:pt x="429" y="249"/>
                    </a:cubicBezTo>
                    <a:cubicBezTo>
                      <a:pt x="430" y="248"/>
                      <a:pt x="430" y="248"/>
                      <a:pt x="430" y="247"/>
                    </a:cubicBezTo>
                    <a:cubicBezTo>
                      <a:pt x="430" y="247"/>
                      <a:pt x="431" y="246"/>
                      <a:pt x="431" y="245"/>
                    </a:cubicBezTo>
                    <a:cubicBezTo>
                      <a:pt x="432" y="243"/>
                      <a:pt x="432" y="242"/>
                      <a:pt x="432" y="240"/>
                    </a:cubicBezTo>
                    <a:cubicBezTo>
                      <a:pt x="431" y="237"/>
                      <a:pt x="431" y="237"/>
                      <a:pt x="431" y="237"/>
                    </a:cubicBezTo>
                    <a:cubicBezTo>
                      <a:pt x="430" y="235"/>
                      <a:pt x="430" y="233"/>
                      <a:pt x="430" y="232"/>
                    </a:cubicBezTo>
                    <a:cubicBezTo>
                      <a:pt x="429" y="228"/>
                      <a:pt x="429" y="224"/>
                      <a:pt x="430" y="220"/>
                    </a:cubicBezTo>
                    <a:cubicBezTo>
                      <a:pt x="430" y="220"/>
                      <a:pt x="430" y="220"/>
                      <a:pt x="430" y="220"/>
                    </a:cubicBezTo>
                    <a:cubicBezTo>
                      <a:pt x="430" y="218"/>
                      <a:pt x="430" y="217"/>
                      <a:pt x="430" y="216"/>
                    </a:cubicBezTo>
                    <a:cubicBezTo>
                      <a:pt x="430" y="209"/>
                      <a:pt x="429" y="204"/>
                      <a:pt x="427" y="199"/>
                    </a:cubicBezTo>
                    <a:cubicBezTo>
                      <a:pt x="426" y="198"/>
                      <a:pt x="426" y="197"/>
                      <a:pt x="425" y="196"/>
                    </a:cubicBezTo>
                    <a:cubicBezTo>
                      <a:pt x="422" y="191"/>
                      <a:pt x="419" y="187"/>
                      <a:pt x="418" y="184"/>
                    </a:cubicBezTo>
                    <a:cubicBezTo>
                      <a:pt x="418" y="184"/>
                      <a:pt x="418" y="183"/>
                      <a:pt x="418" y="183"/>
                    </a:cubicBezTo>
                    <a:cubicBezTo>
                      <a:pt x="418" y="182"/>
                      <a:pt x="418" y="182"/>
                      <a:pt x="419" y="181"/>
                    </a:cubicBezTo>
                    <a:cubicBezTo>
                      <a:pt x="419" y="180"/>
                      <a:pt x="419" y="180"/>
                      <a:pt x="419" y="180"/>
                    </a:cubicBezTo>
                    <a:cubicBezTo>
                      <a:pt x="421" y="179"/>
                      <a:pt x="421" y="179"/>
                      <a:pt x="421" y="179"/>
                    </a:cubicBezTo>
                    <a:cubicBezTo>
                      <a:pt x="422" y="180"/>
                      <a:pt x="422" y="180"/>
                      <a:pt x="422" y="180"/>
                    </a:cubicBezTo>
                    <a:cubicBezTo>
                      <a:pt x="421" y="179"/>
                      <a:pt x="421" y="179"/>
                      <a:pt x="421" y="179"/>
                    </a:cubicBezTo>
                    <a:cubicBezTo>
                      <a:pt x="422" y="179"/>
                      <a:pt x="422" y="179"/>
                      <a:pt x="422" y="179"/>
                    </a:cubicBezTo>
                    <a:cubicBezTo>
                      <a:pt x="422" y="179"/>
                      <a:pt x="422" y="179"/>
                      <a:pt x="422" y="179"/>
                    </a:cubicBezTo>
                    <a:cubicBezTo>
                      <a:pt x="422" y="179"/>
                      <a:pt x="422" y="179"/>
                      <a:pt x="422" y="179"/>
                    </a:cubicBezTo>
                    <a:cubicBezTo>
                      <a:pt x="412" y="136"/>
                      <a:pt x="412" y="136"/>
                      <a:pt x="412" y="136"/>
                    </a:cubicBezTo>
                    <a:cubicBezTo>
                      <a:pt x="412" y="136"/>
                      <a:pt x="412" y="135"/>
                      <a:pt x="411" y="134"/>
                    </a:cubicBezTo>
                    <a:cubicBezTo>
                      <a:pt x="411" y="134"/>
                      <a:pt x="409" y="133"/>
                      <a:pt x="408" y="132"/>
                    </a:cubicBezTo>
                    <a:cubicBezTo>
                      <a:pt x="407" y="132"/>
                      <a:pt x="407" y="131"/>
                      <a:pt x="406" y="131"/>
                    </a:cubicBezTo>
                    <a:cubicBezTo>
                      <a:pt x="399" y="125"/>
                      <a:pt x="399" y="125"/>
                      <a:pt x="399" y="125"/>
                    </a:cubicBezTo>
                    <a:cubicBezTo>
                      <a:pt x="398" y="125"/>
                      <a:pt x="398" y="124"/>
                      <a:pt x="398" y="124"/>
                    </a:cubicBezTo>
                    <a:cubicBezTo>
                      <a:pt x="396" y="123"/>
                      <a:pt x="396" y="123"/>
                      <a:pt x="396" y="123"/>
                    </a:cubicBezTo>
                    <a:cubicBezTo>
                      <a:pt x="394" y="121"/>
                      <a:pt x="394" y="118"/>
                      <a:pt x="394" y="116"/>
                    </a:cubicBezTo>
                    <a:cubicBezTo>
                      <a:pt x="394" y="115"/>
                      <a:pt x="394" y="115"/>
                      <a:pt x="394" y="115"/>
                    </a:cubicBezTo>
                    <a:cubicBezTo>
                      <a:pt x="394" y="114"/>
                      <a:pt x="394" y="114"/>
                      <a:pt x="393" y="113"/>
                    </a:cubicBezTo>
                    <a:cubicBezTo>
                      <a:pt x="393" y="112"/>
                      <a:pt x="393" y="112"/>
                      <a:pt x="393" y="112"/>
                    </a:cubicBezTo>
                    <a:cubicBezTo>
                      <a:pt x="393" y="112"/>
                      <a:pt x="393" y="112"/>
                      <a:pt x="393" y="112"/>
                    </a:cubicBezTo>
                    <a:cubicBezTo>
                      <a:pt x="392" y="110"/>
                      <a:pt x="392" y="110"/>
                      <a:pt x="392" y="110"/>
                    </a:cubicBezTo>
                    <a:cubicBezTo>
                      <a:pt x="391" y="109"/>
                      <a:pt x="389" y="107"/>
                      <a:pt x="387" y="106"/>
                    </a:cubicBezTo>
                    <a:cubicBezTo>
                      <a:pt x="385" y="103"/>
                      <a:pt x="382" y="101"/>
                      <a:pt x="380" y="97"/>
                    </a:cubicBezTo>
                    <a:cubicBezTo>
                      <a:pt x="378" y="95"/>
                      <a:pt x="376" y="90"/>
                      <a:pt x="375" y="85"/>
                    </a:cubicBezTo>
                    <a:cubicBezTo>
                      <a:pt x="374" y="80"/>
                      <a:pt x="376" y="77"/>
                      <a:pt x="378" y="76"/>
                    </a:cubicBezTo>
                    <a:cubicBezTo>
                      <a:pt x="379" y="75"/>
                      <a:pt x="379" y="75"/>
                      <a:pt x="379" y="75"/>
                    </a:cubicBezTo>
                    <a:cubicBezTo>
                      <a:pt x="380" y="73"/>
                      <a:pt x="382" y="72"/>
                      <a:pt x="385" y="70"/>
                    </a:cubicBezTo>
                    <a:cubicBezTo>
                      <a:pt x="388" y="67"/>
                      <a:pt x="391" y="64"/>
                      <a:pt x="393" y="61"/>
                    </a:cubicBezTo>
                    <a:cubicBezTo>
                      <a:pt x="395" y="58"/>
                      <a:pt x="396" y="54"/>
                      <a:pt x="397" y="49"/>
                    </a:cubicBezTo>
                    <a:cubicBezTo>
                      <a:pt x="397" y="49"/>
                      <a:pt x="397" y="48"/>
                      <a:pt x="396" y="46"/>
                    </a:cubicBezTo>
                    <a:cubicBezTo>
                      <a:pt x="396" y="46"/>
                      <a:pt x="396" y="46"/>
                      <a:pt x="396" y="46"/>
                    </a:cubicBezTo>
                    <a:cubicBezTo>
                      <a:pt x="396" y="45"/>
                      <a:pt x="396" y="45"/>
                      <a:pt x="396" y="44"/>
                    </a:cubicBezTo>
                    <a:cubicBezTo>
                      <a:pt x="395" y="41"/>
                      <a:pt x="395" y="41"/>
                      <a:pt x="395" y="41"/>
                    </a:cubicBezTo>
                    <a:cubicBezTo>
                      <a:pt x="395" y="40"/>
                      <a:pt x="395" y="39"/>
                      <a:pt x="395" y="39"/>
                    </a:cubicBezTo>
                    <a:cubicBezTo>
                      <a:pt x="395" y="38"/>
                      <a:pt x="395" y="38"/>
                      <a:pt x="395" y="38"/>
                    </a:cubicBezTo>
                    <a:cubicBezTo>
                      <a:pt x="394" y="35"/>
                      <a:pt x="393" y="31"/>
                      <a:pt x="394" y="27"/>
                    </a:cubicBezTo>
                    <a:cubicBezTo>
                      <a:pt x="395" y="22"/>
                      <a:pt x="395" y="22"/>
                      <a:pt x="395" y="22"/>
                    </a:cubicBezTo>
                    <a:cubicBezTo>
                      <a:pt x="395" y="20"/>
                      <a:pt x="395" y="20"/>
                      <a:pt x="393" y="18"/>
                    </a:cubicBezTo>
                    <a:cubicBezTo>
                      <a:pt x="390" y="15"/>
                      <a:pt x="390" y="15"/>
                      <a:pt x="390" y="15"/>
                    </a:cubicBezTo>
                    <a:cubicBezTo>
                      <a:pt x="400" y="3"/>
                      <a:pt x="400" y="3"/>
                      <a:pt x="400" y="3"/>
                    </a:cubicBezTo>
                    <a:cubicBezTo>
                      <a:pt x="396" y="4"/>
                      <a:pt x="393" y="4"/>
                      <a:pt x="389" y="4"/>
                    </a:cubicBezTo>
                    <a:cubicBezTo>
                      <a:pt x="388" y="4"/>
                      <a:pt x="386" y="5"/>
                      <a:pt x="385" y="5"/>
                    </a:cubicBezTo>
                    <a:cubicBezTo>
                      <a:pt x="385" y="5"/>
                      <a:pt x="384" y="5"/>
                      <a:pt x="384" y="4"/>
                    </a:cubicBezTo>
                    <a:cubicBezTo>
                      <a:pt x="383" y="4"/>
                      <a:pt x="384" y="2"/>
                      <a:pt x="382" y="2"/>
                    </a:cubicBezTo>
                    <a:cubicBezTo>
                      <a:pt x="379" y="1"/>
                      <a:pt x="377" y="0"/>
                      <a:pt x="374" y="0"/>
                    </a:cubicBezTo>
                    <a:cubicBezTo>
                      <a:pt x="373" y="0"/>
                      <a:pt x="371" y="0"/>
                      <a:pt x="370" y="1"/>
                    </a:cubicBezTo>
                    <a:cubicBezTo>
                      <a:pt x="368" y="2"/>
                      <a:pt x="366" y="4"/>
                      <a:pt x="364" y="4"/>
                    </a:cubicBezTo>
                    <a:cubicBezTo>
                      <a:pt x="364" y="4"/>
                      <a:pt x="364" y="4"/>
                      <a:pt x="364" y="4"/>
                    </a:cubicBezTo>
                    <a:cubicBezTo>
                      <a:pt x="363" y="4"/>
                      <a:pt x="363" y="3"/>
                      <a:pt x="361" y="3"/>
                    </a:cubicBezTo>
                    <a:cubicBezTo>
                      <a:pt x="360" y="3"/>
                      <a:pt x="359" y="3"/>
                      <a:pt x="357" y="2"/>
                    </a:cubicBezTo>
                    <a:cubicBezTo>
                      <a:pt x="354" y="1"/>
                      <a:pt x="353" y="0"/>
                      <a:pt x="3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 name="Freeform 170">
                <a:extLst>
                  <a:ext uri="{FF2B5EF4-FFF2-40B4-BE49-F238E27FC236}">
                    <a16:creationId xmlns:a16="http://schemas.microsoft.com/office/drawing/2014/main" id="{14902A0A-DD17-4BBE-A0AA-0B108A88EE08}"/>
                  </a:ext>
                </a:extLst>
              </p:cNvPr>
              <p:cNvSpPr>
                <a:spLocks/>
              </p:cNvSpPr>
              <p:nvPr/>
            </p:nvSpPr>
            <p:spPr bwMode="auto">
              <a:xfrm>
                <a:off x="5606" y="838"/>
                <a:ext cx="227" cy="239"/>
              </a:xfrm>
              <a:custGeom>
                <a:avLst/>
                <a:gdLst>
                  <a:gd name="T0" fmla="*/ 77 w 96"/>
                  <a:gd name="T1" fmla="*/ 6 h 101"/>
                  <a:gd name="T2" fmla="*/ 74 w 96"/>
                  <a:gd name="T3" fmla="*/ 8 h 101"/>
                  <a:gd name="T4" fmla="*/ 70 w 96"/>
                  <a:gd name="T5" fmla="*/ 10 h 101"/>
                  <a:gd name="T6" fmla="*/ 60 w 96"/>
                  <a:gd name="T7" fmla="*/ 16 h 101"/>
                  <a:gd name="T8" fmla="*/ 55 w 96"/>
                  <a:gd name="T9" fmla="*/ 19 h 101"/>
                  <a:gd name="T10" fmla="*/ 52 w 96"/>
                  <a:gd name="T11" fmla="*/ 21 h 101"/>
                  <a:gd name="T12" fmla="*/ 49 w 96"/>
                  <a:gd name="T13" fmla="*/ 23 h 101"/>
                  <a:gd name="T14" fmla="*/ 47 w 96"/>
                  <a:gd name="T15" fmla="*/ 24 h 101"/>
                  <a:gd name="T16" fmla="*/ 46 w 96"/>
                  <a:gd name="T17" fmla="*/ 25 h 101"/>
                  <a:gd name="T18" fmla="*/ 44 w 96"/>
                  <a:gd name="T19" fmla="*/ 26 h 101"/>
                  <a:gd name="T20" fmla="*/ 43 w 96"/>
                  <a:gd name="T21" fmla="*/ 26 h 101"/>
                  <a:gd name="T22" fmla="*/ 41 w 96"/>
                  <a:gd name="T23" fmla="*/ 26 h 101"/>
                  <a:gd name="T24" fmla="*/ 39 w 96"/>
                  <a:gd name="T25" fmla="*/ 25 h 101"/>
                  <a:gd name="T26" fmla="*/ 35 w 96"/>
                  <a:gd name="T27" fmla="*/ 24 h 101"/>
                  <a:gd name="T28" fmla="*/ 30 w 96"/>
                  <a:gd name="T29" fmla="*/ 22 h 101"/>
                  <a:gd name="T30" fmla="*/ 25 w 96"/>
                  <a:gd name="T31" fmla="*/ 20 h 101"/>
                  <a:gd name="T32" fmla="*/ 21 w 96"/>
                  <a:gd name="T33" fmla="*/ 17 h 101"/>
                  <a:gd name="T34" fmla="*/ 20 w 96"/>
                  <a:gd name="T35" fmla="*/ 16 h 101"/>
                  <a:gd name="T36" fmla="*/ 19 w 96"/>
                  <a:gd name="T37" fmla="*/ 16 h 101"/>
                  <a:gd name="T38" fmla="*/ 18 w 96"/>
                  <a:gd name="T39" fmla="*/ 16 h 101"/>
                  <a:gd name="T40" fmla="*/ 18 w 96"/>
                  <a:gd name="T41" fmla="*/ 17 h 101"/>
                  <a:gd name="T42" fmla="*/ 17 w 96"/>
                  <a:gd name="T43" fmla="*/ 23 h 101"/>
                  <a:gd name="T44" fmla="*/ 13 w 96"/>
                  <a:gd name="T45" fmla="*/ 35 h 101"/>
                  <a:gd name="T46" fmla="*/ 12 w 96"/>
                  <a:gd name="T47" fmla="*/ 42 h 101"/>
                  <a:gd name="T48" fmla="*/ 14 w 96"/>
                  <a:gd name="T49" fmla="*/ 47 h 101"/>
                  <a:gd name="T50" fmla="*/ 12 w 96"/>
                  <a:gd name="T51" fmla="*/ 60 h 101"/>
                  <a:gd name="T52" fmla="*/ 9 w 96"/>
                  <a:gd name="T53" fmla="*/ 68 h 101"/>
                  <a:gd name="T54" fmla="*/ 3 w 96"/>
                  <a:gd name="T55" fmla="*/ 95 h 101"/>
                  <a:gd name="T56" fmla="*/ 0 w 96"/>
                  <a:gd name="T57" fmla="*/ 95 h 101"/>
                  <a:gd name="T58" fmla="*/ 2 w 96"/>
                  <a:gd name="T59" fmla="*/ 97 h 101"/>
                  <a:gd name="T60" fmla="*/ 2 w 96"/>
                  <a:gd name="T61" fmla="*/ 97 h 101"/>
                  <a:gd name="T62" fmla="*/ 19 w 96"/>
                  <a:gd name="T63" fmla="*/ 100 h 101"/>
                  <a:gd name="T64" fmla="*/ 20 w 96"/>
                  <a:gd name="T65" fmla="*/ 100 h 101"/>
                  <a:gd name="T66" fmla="*/ 28 w 96"/>
                  <a:gd name="T67" fmla="*/ 97 h 101"/>
                  <a:gd name="T68" fmla="*/ 29 w 96"/>
                  <a:gd name="T69" fmla="*/ 96 h 101"/>
                  <a:gd name="T70" fmla="*/ 34 w 96"/>
                  <a:gd name="T71" fmla="*/ 91 h 101"/>
                  <a:gd name="T72" fmla="*/ 47 w 96"/>
                  <a:gd name="T73" fmla="*/ 83 h 101"/>
                  <a:gd name="T74" fmla="*/ 49 w 96"/>
                  <a:gd name="T75" fmla="*/ 82 h 101"/>
                  <a:gd name="T76" fmla="*/ 53 w 96"/>
                  <a:gd name="T77" fmla="*/ 82 h 101"/>
                  <a:gd name="T78" fmla="*/ 59 w 96"/>
                  <a:gd name="T79" fmla="*/ 79 h 101"/>
                  <a:gd name="T80" fmla="*/ 68 w 96"/>
                  <a:gd name="T81" fmla="*/ 70 h 101"/>
                  <a:gd name="T82" fmla="*/ 66 w 96"/>
                  <a:gd name="T83" fmla="*/ 68 h 101"/>
                  <a:gd name="T84" fmla="*/ 64 w 96"/>
                  <a:gd name="T85" fmla="*/ 66 h 101"/>
                  <a:gd name="T86" fmla="*/ 42 w 96"/>
                  <a:gd name="T87" fmla="*/ 43 h 101"/>
                  <a:gd name="T88" fmla="*/ 54 w 96"/>
                  <a:gd name="T89" fmla="*/ 39 h 101"/>
                  <a:gd name="T90" fmla="*/ 78 w 96"/>
                  <a:gd name="T91" fmla="*/ 32 h 101"/>
                  <a:gd name="T92" fmla="*/ 84 w 96"/>
                  <a:gd name="T93" fmla="*/ 30 h 101"/>
                  <a:gd name="T94" fmla="*/ 86 w 96"/>
                  <a:gd name="T95" fmla="*/ 29 h 101"/>
                  <a:gd name="T96" fmla="*/ 94 w 96"/>
                  <a:gd name="T97" fmla="*/ 25 h 101"/>
                  <a:gd name="T98" fmla="*/ 93 w 96"/>
                  <a:gd name="T99"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101">
                    <a:moveTo>
                      <a:pt x="88" y="0"/>
                    </a:moveTo>
                    <a:cubicBezTo>
                      <a:pt x="85" y="1"/>
                      <a:pt x="81" y="4"/>
                      <a:pt x="77" y="6"/>
                    </a:cubicBezTo>
                    <a:cubicBezTo>
                      <a:pt x="76" y="6"/>
                      <a:pt x="76" y="6"/>
                      <a:pt x="76" y="6"/>
                    </a:cubicBezTo>
                    <a:cubicBezTo>
                      <a:pt x="75" y="7"/>
                      <a:pt x="74" y="7"/>
                      <a:pt x="74" y="8"/>
                    </a:cubicBezTo>
                    <a:cubicBezTo>
                      <a:pt x="73" y="8"/>
                      <a:pt x="72" y="9"/>
                      <a:pt x="71" y="9"/>
                    </a:cubicBezTo>
                    <a:cubicBezTo>
                      <a:pt x="70" y="10"/>
                      <a:pt x="70" y="10"/>
                      <a:pt x="70" y="10"/>
                    </a:cubicBezTo>
                    <a:cubicBezTo>
                      <a:pt x="69" y="11"/>
                      <a:pt x="67" y="12"/>
                      <a:pt x="65" y="13"/>
                    </a:cubicBezTo>
                    <a:cubicBezTo>
                      <a:pt x="60" y="16"/>
                      <a:pt x="60" y="16"/>
                      <a:pt x="60" y="16"/>
                    </a:cubicBezTo>
                    <a:cubicBezTo>
                      <a:pt x="58" y="17"/>
                      <a:pt x="57" y="18"/>
                      <a:pt x="56" y="18"/>
                    </a:cubicBezTo>
                    <a:cubicBezTo>
                      <a:pt x="55" y="19"/>
                      <a:pt x="55" y="19"/>
                      <a:pt x="55" y="19"/>
                    </a:cubicBezTo>
                    <a:cubicBezTo>
                      <a:pt x="55" y="19"/>
                      <a:pt x="55" y="19"/>
                      <a:pt x="55" y="19"/>
                    </a:cubicBezTo>
                    <a:cubicBezTo>
                      <a:pt x="54" y="20"/>
                      <a:pt x="53" y="20"/>
                      <a:pt x="52" y="21"/>
                    </a:cubicBezTo>
                    <a:cubicBezTo>
                      <a:pt x="51" y="22"/>
                      <a:pt x="50" y="22"/>
                      <a:pt x="50" y="23"/>
                    </a:cubicBezTo>
                    <a:cubicBezTo>
                      <a:pt x="49" y="23"/>
                      <a:pt x="49" y="23"/>
                      <a:pt x="49" y="23"/>
                    </a:cubicBezTo>
                    <a:cubicBezTo>
                      <a:pt x="48" y="24"/>
                      <a:pt x="48" y="24"/>
                      <a:pt x="48" y="24"/>
                    </a:cubicBezTo>
                    <a:cubicBezTo>
                      <a:pt x="47" y="24"/>
                      <a:pt x="47" y="24"/>
                      <a:pt x="47" y="24"/>
                    </a:cubicBezTo>
                    <a:cubicBezTo>
                      <a:pt x="47" y="25"/>
                      <a:pt x="47" y="25"/>
                      <a:pt x="46" y="25"/>
                    </a:cubicBezTo>
                    <a:cubicBezTo>
                      <a:pt x="46" y="25"/>
                      <a:pt x="46" y="25"/>
                      <a:pt x="46" y="25"/>
                    </a:cubicBezTo>
                    <a:cubicBezTo>
                      <a:pt x="45" y="25"/>
                      <a:pt x="45" y="26"/>
                      <a:pt x="44" y="26"/>
                    </a:cubicBezTo>
                    <a:cubicBezTo>
                      <a:pt x="44" y="26"/>
                      <a:pt x="44" y="26"/>
                      <a:pt x="44" y="26"/>
                    </a:cubicBezTo>
                    <a:cubicBezTo>
                      <a:pt x="43" y="26"/>
                      <a:pt x="43" y="26"/>
                      <a:pt x="43" y="26"/>
                    </a:cubicBezTo>
                    <a:cubicBezTo>
                      <a:pt x="43" y="26"/>
                      <a:pt x="43" y="26"/>
                      <a:pt x="43" y="26"/>
                    </a:cubicBezTo>
                    <a:cubicBezTo>
                      <a:pt x="42" y="26"/>
                      <a:pt x="42" y="26"/>
                      <a:pt x="42" y="26"/>
                    </a:cubicBezTo>
                    <a:cubicBezTo>
                      <a:pt x="41" y="26"/>
                      <a:pt x="41" y="26"/>
                      <a:pt x="41" y="26"/>
                    </a:cubicBezTo>
                    <a:cubicBezTo>
                      <a:pt x="41" y="26"/>
                      <a:pt x="40" y="26"/>
                      <a:pt x="39" y="25"/>
                    </a:cubicBezTo>
                    <a:cubicBezTo>
                      <a:pt x="39" y="25"/>
                      <a:pt x="39" y="25"/>
                      <a:pt x="39" y="25"/>
                    </a:cubicBezTo>
                    <a:cubicBezTo>
                      <a:pt x="38" y="25"/>
                      <a:pt x="37" y="25"/>
                      <a:pt x="35" y="24"/>
                    </a:cubicBezTo>
                    <a:cubicBezTo>
                      <a:pt x="35" y="24"/>
                      <a:pt x="35" y="24"/>
                      <a:pt x="35" y="24"/>
                    </a:cubicBezTo>
                    <a:cubicBezTo>
                      <a:pt x="34" y="24"/>
                      <a:pt x="32" y="23"/>
                      <a:pt x="31" y="23"/>
                    </a:cubicBezTo>
                    <a:cubicBezTo>
                      <a:pt x="30" y="22"/>
                      <a:pt x="30" y="22"/>
                      <a:pt x="30" y="22"/>
                    </a:cubicBezTo>
                    <a:cubicBezTo>
                      <a:pt x="29" y="22"/>
                      <a:pt x="27" y="21"/>
                      <a:pt x="25" y="20"/>
                    </a:cubicBezTo>
                    <a:cubicBezTo>
                      <a:pt x="25" y="20"/>
                      <a:pt x="25" y="20"/>
                      <a:pt x="25" y="20"/>
                    </a:cubicBezTo>
                    <a:cubicBezTo>
                      <a:pt x="24" y="19"/>
                      <a:pt x="23" y="18"/>
                      <a:pt x="22" y="18"/>
                    </a:cubicBezTo>
                    <a:cubicBezTo>
                      <a:pt x="21" y="17"/>
                      <a:pt x="21" y="17"/>
                      <a:pt x="21" y="17"/>
                    </a:cubicBezTo>
                    <a:cubicBezTo>
                      <a:pt x="21" y="17"/>
                      <a:pt x="21" y="17"/>
                      <a:pt x="21" y="17"/>
                    </a:cubicBezTo>
                    <a:cubicBezTo>
                      <a:pt x="20" y="17"/>
                      <a:pt x="20" y="17"/>
                      <a:pt x="20" y="16"/>
                    </a:cubicBezTo>
                    <a:cubicBezTo>
                      <a:pt x="19" y="16"/>
                      <a:pt x="19" y="16"/>
                      <a:pt x="19" y="16"/>
                    </a:cubicBezTo>
                    <a:cubicBezTo>
                      <a:pt x="19" y="16"/>
                      <a:pt x="19" y="16"/>
                      <a:pt x="19" y="16"/>
                    </a:cubicBezTo>
                    <a:cubicBezTo>
                      <a:pt x="18" y="16"/>
                      <a:pt x="18" y="16"/>
                      <a:pt x="18" y="16"/>
                    </a:cubicBezTo>
                    <a:cubicBezTo>
                      <a:pt x="18" y="16"/>
                      <a:pt x="18" y="16"/>
                      <a:pt x="18" y="16"/>
                    </a:cubicBezTo>
                    <a:cubicBezTo>
                      <a:pt x="18" y="16"/>
                      <a:pt x="18" y="16"/>
                      <a:pt x="18" y="16"/>
                    </a:cubicBezTo>
                    <a:cubicBezTo>
                      <a:pt x="18" y="17"/>
                      <a:pt x="18" y="17"/>
                      <a:pt x="18" y="17"/>
                    </a:cubicBezTo>
                    <a:cubicBezTo>
                      <a:pt x="18" y="18"/>
                      <a:pt x="17" y="20"/>
                      <a:pt x="17" y="21"/>
                    </a:cubicBezTo>
                    <a:cubicBezTo>
                      <a:pt x="17" y="23"/>
                      <a:pt x="17" y="23"/>
                      <a:pt x="17" y="23"/>
                    </a:cubicBezTo>
                    <a:cubicBezTo>
                      <a:pt x="14" y="23"/>
                      <a:pt x="14" y="23"/>
                      <a:pt x="14" y="23"/>
                    </a:cubicBezTo>
                    <a:cubicBezTo>
                      <a:pt x="14" y="27"/>
                      <a:pt x="14" y="31"/>
                      <a:pt x="13" y="35"/>
                    </a:cubicBezTo>
                    <a:cubicBezTo>
                      <a:pt x="13" y="35"/>
                      <a:pt x="13" y="35"/>
                      <a:pt x="13" y="35"/>
                    </a:cubicBezTo>
                    <a:cubicBezTo>
                      <a:pt x="13" y="38"/>
                      <a:pt x="13" y="40"/>
                      <a:pt x="12" y="42"/>
                    </a:cubicBezTo>
                    <a:cubicBezTo>
                      <a:pt x="15" y="43"/>
                      <a:pt x="15" y="43"/>
                      <a:pt x="15" y="43"/>
                    </a:cubicBezTo>
                    <a:cubicBezTo>
                      <a:pt x="14" y="47"/>
                      <a:pt x="14" y="47"/>
                      <a:pt x="14" y="47"/>
                    </a:cubicBezTo>
                    <a:cubicBezTo>
                      <a:pt x="14" y="51"/>
                      <a:pt x="13" y="54"/>
                      <a:pt x="13" y="56"/>
                    </a:cubicBezTo>
                    <a:cubicBezTo>
                      <a:pt x="12" y="57"/>
                      <a:pt x="12" y="59"/>
                      <a:pt x="12" y="60"/>
                    </a:cubicBezTo>
                    <a:cubicBezTo>
                      <a:pt x="11" y="62"/>
                      <a:pt x="11" y="62"/>
                      <a:pt x="11" y="62"/>
                    </a:cubicBezTo>
                    <a:cubicBezTo>
                      <a:pt x="11" y="64"/>
                      <a:pt x="10" y="66"/>
                      <a:pt x="9" y="68"/>
                    </a:cubicBezTo>
                    <a:cubicBezTo>
                      <a:pt x="8" y="75"/>
                      <a:pt x="8" y="75"/>
                      <a:pt x="8" y="75"/>
                    </a:cubicBezTo>
                    <a:cubicBezTo>
                      <a:pt x="6" y="81"/>
                      <a:pt x="4" y="88"/>
                      <a:pt x="3" y="95"/>
                    </a:cubicBezTo>
                    <a:cubicBezTo>
                      <a:pt x="3" y="96"/>
                      <a:pt x="3" y="96"/>
                      <a:pt x="3" y="96"/>
                    </a:cubicBezTo>
                    <a:cubicBezTo>
                      <a:pt x="0" y="95"/>
                      <a:pt x="0" y="95"/>
                      <a:pt x="0" y="95"/>
                    </a:cubicBezTo>
                    <a:cubicBezTo>
                      <a:pt x="1" y="97"/>
                      <a:pt x="1" y="97"/>
                      <a:pt x="1" y="97"/>
                    </a:cubicBezTo>
                    <a:cubicBezTo>
                      <a:pt x="2" y="97"/>
                      <a:pt x="2" y="97"/>
                      <a:pt x="2" y="97"/>
                    </a:cubicBezTo>
                    <a:cubicBezTo>
                      <a:pt x="2" y="97"/>
                      <a:pt x="2" y="97"/>
                      <a:pt x="2" y="97"/>
                    </a:cubicBezTo>
                    <a:cubicBezTo>
                      <a:pt x="2" y="97"/>
                      <a:pt x="2" y="97"/>
                      <a:pt x="2" y="97"/>
                    </a:cubicBezTo>
                    <a:cubicBezTo>
                      <a:pt x="3" y="97"/>
                      <a:pt x="3" y="97"/>
                      <a:pt x="3" y="97"/>
                    </a:cubicBezTo>
                    <a:cubicBezTo>
                      <a:pt x="19" y="100"/>
                      <a:pt x="19" y="100"/>
                      <a:pt x="19" y="100"/>
                    </a:cubicBezTo>
                    <a:cubicBezTo>
                      <a:pt x="19" y="100"/>
                      <a:pt x="19" y="100"/>
                      <a:pt x="20" y="100"/>
                    </a:cubicBezTo>
                    <a:cubicBezTo>
                      <a:pt x="20" y="100"/>
                      <a:pt x="20" y="100"/>
                      <a:pt x="20" y="100"/>
                    </a:cubicBezTo>
                    <a:cubicBezTo>
                      <a:pt x="23" y="101"/>
                      <a:pt x="24" y="101"/>
                      <a:pt x="25" y="101"/>
                    </a:cubicBezTo>
                    <a:cubicBezTo>
                      <a:pt x="25" y="101"/>
                      <a:pt x="26" y="100"/>
                      <a:pt x="28" y="97"/>
                    </a:cubicBezTo>
                    <a:cubicBezTo>
                      <a:pt x="29" y="96"/>
                      <a:pt x="29" y="96"/>
                      <a:pt x="29" y="96"/>
                    </a:cubicBezTo>
                    <a:cubicBezTo>
                      <a:pt x="29" y="96"/>
                      <a:pt x="29" y="96"/>
                      <a:pt x="29" y="96"/>
                    </a:cubicBezTo>
                    <a:cubicBezTo>
                      <a:pt x="32" y="93"/>
                      <a:pt x="32" y="93"/>
                      <a:pt x="32" y="93"/>
                    </a:cubicBezTo>
                    <a:cubicBezTo>
                      <a:pt x="33" y="92"/>
                      <a:pt x="33" y="91"/>
                      <a:pt x="34" y="91"/>
                    </a:cubicBezTo>
                    <a:cubicBezTo>
                      <a:pt x="36" y="88"/>
                      <a:pt x="39" y="85"/>
                      <a:pt x="43" y="83"/>
                    </a:cubicBezTo>
                    <a:cubicBezTo>
                      <a:pt x="44" y="83"/>
                      <a:pt x="45" y="83"/>
                      <a:pt x="47" y="83"/>
                    </a:cubicBezTo>
                    <a:cubicBezTo>
                      <a:pt x="48" y="82"/>
                      <a:pt x="48" y="82"/>
                      <a:pt x="48" y="82"/>
                    </a:cubicBezTo>
                    <a:cubicBezTo>
                      <a:pt x="49" y="82"/>
                      <a:pt x="49" y="82"/>
                      <a:pt x="49" y="82"/>
                    </a:cubicBezTo>
                    <a:cubicBezTo>
                      <a:pt x="51" y="82"/>
                      <a:pt x="52" y="82"/>
                      <a:pt x="53" y="82"/>
                    </a:cubicBezTo>
                    <a:cubicBezTo>
                      <a:pt x="53" y="82"/>
                      <a:pt x="53" y="82"/>
                      <a:pt x="53" y="82"/>
                    </a:cubicBezTo>
                    <a:cubicBezTo>
                      <a:pt x="55" y="81"/>
                      <a:pt x="57" y="81"/>
                      <a:pt x="58" y="81"/>
                    </a:cubicBezTo>
                    <a:cubicBezTo>
                      <a:pt x="58" y="80"/>
                      <a:pt x="58" y="80"/>
                      <a:pt x="59" y="79"/>
                    </a:cubicBezTo>
                    <a:cubicBezTo>
                      <a:pt x="59" y="79"/>
                      <a:pt x="59" y="79"/>
                      <a:pt x="59" y="79"/>
                    </a:cubicBezTo>
                    <a:cubicBezTo>
                      <a:pt x="65" y="74"/>
                      <a:pt x="67" y="71"/>
                      <a:pt x="68" y="70"/>
                    </a:cubicBezTo>
                    <a:cubicBezTo>
                      <a:pt x="68" y="70"/>
                      <a:pt x="67" y="69"/>
                      <a:pt x="67" y="69"/>
                    </a:cubicBezTo>
                    <a:cubicBezTo>
                      <a:pt x="67" y="69"/>
                      <a:pt x="66" y="68"/>
                      <a:pt x="66" y="68"/>
                    </a:cubicBezTo>
                    <a:cubicBezTo>
                      <a:pt x="65" y="67"/>
                      <a:pt x="65" y="67"/>
                      <a:pt x="65" y="67"/>
                    </a:cubicBezTo>
                    <a:cubicBezTo>
                      <a:pt x="64" y="67"/>
                      <a:pt x="64" y="66"/>
                      <a:pt x="64" y="66"/>
                    </a:cubicBezTo>
                    <a:cubicBezTo>
                      <a:pt x="57" y="59"/>
                      <a:pt x="52" y="52"/>
                      <a:pt x="46" y="46"/>
                    </a:cubicBezTo>
                    <a:cubicBezTo>
                      <a:pt x="42" y="43"/>
                      <a:pt x="42" y="43"/>
                      <a:pt x="42" y="43"/>
                    </a:cubicBezTo>
                    <a:cubicBezTo>
                      <a:pt x="47" y="41"/>
                      <a:pt x="47" y="41"/>
                      <a:pt x="47" y="41"/>
                    </a:cubicBezTo>
                    <a:cubicBezTo>
                      <a:pt x="49" y="41"/>
                      <a:pt x="52" y="40"/>
                      <a:pt x="54" y="39"/>
                    </a:cubicBezTo>
                    <a:cubicBezTo>
                      <a:pt x="54" y="39"/>
                      <a:pt x="54" y="39"/>
                      <a:pt x="54" y="39"/>
                    </a:cubicBezTo>
                    <a:cubicBezTo>
                      <a:pt x="62" y="37"/>
                      <a:pt x="70" y="35"/>
                      <a:pt x="78" y="32"/>
                    </a:cubicBezTo>
                    <a:cubicBezTo>
                      <a:pt x="79" y="32"/>
                      <a:pt x="81" y="31"/>
                      <a:pt x="83" y="31"/>
                    </a:cubicBezTo>
                    <a:cubicBezTo>
                      <a:pt x="84" y="30"/>
                      <a:pt x="84" y="30"/>
                      <a:pt x="84" y="30"/>
                    </a:cubicBezTo>
                    <a:cubicBezTo>
                      <a:pt x="85" y="30"/>
                      <a:pt x="86" y="29"/>
                      <a:pt x="88" y="29"/>
                    </a:cubicBezTo>
                    <a:cubicBezTo>
                      <a:pt x="86" y="29"/>
                      <a:pt x="86" y="29"/>
                      <a:pt x="86" y="29"/>
                    </a:cubicBezTo>
                    <a:cubicBezTo>
                      <a:pt x="96" y="26"/>
                      <a:pt x="96" y="26"/>
                      <a:pt x="96" y="26"/>
                    </a:cubicBezTo>
                    <a:cubicBezTo>
                      <a:pt x="95" y="25"/>
                      <a:pt x="95" y="25"/>
                      <a:pt x="94" y="25"/>
                    </a:cubicBezTo>
                    <a:cubicBezTo>
                      <a:pt x="94" y="24"/>
                      <a:pt x="94" y="24"/>
                      <a:pt x="94" y="24"/>
                    </a:cubicBezTo>
                    <a:cubicBezTo>
                      <a:pt x="93" y="24"/>
                      <a:pt x="93" y="24"/>
                      <a:pt x="93" y="24"/>
                    </a:cubicBez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 name="Freeform 171">
                <a:extLst>
                  <a:ext uri="{FF2B5EF4-FFF2-40B4-BE49-F238E27FC236}">
                    <a16:creationId xmlns:a16="http://schemas.microsoft.com/office/drawing/2014/main" id="{EA4E3523-B2AD-4122-B507-7CF77466B809}"/>
                  </a:ext>
                </a:extLst>
              </p:cNvPr>
              <p:cNvSpPr>
                <a:spLocks/>
              </p:cNvSpPr>
              <p:nvPr/>
            </p:nvSpPr>
            <p:spPr bwMode="auto">
              <a:xfrm>
                <a:off x="5826" y="580"/>
                <a:ext cx="536" cy="504"/>
              </a:xfrm>
              <a:custGeom>
                <a:avLst/>
                <a:gdLst>
                  <a:gd name="T0" fmla="*/ 84 w 227"/>
                  <a:gd name="T1" fmla="*/ 7 h 213"/>
                  <a:gd name="T2" fmla="*/ 71 w 227"/>
                  <a:gd name="T3" fmla="*/ 19 h 213"/>
                  <a:gd name="T4" fmla="*/ 63 w 227"/>
                  <a:gd name="T5" fmla="*/ 22 h 213"/>
                  <a:gd name="T6" fmla="*/ 59 w 227"/>
                  <a:gd name="T7" fmla="*/ 39 h 213"/>
                  <a:gd name="T8" fmla="*/ 58 w 227"/>
                  <a:gd name="T9" fmla="*/ 52 h 213"/>
                  <a:gd name="T10" fmla="*/ 57 w 227"/>
                  <a:gd name="T11" fmla="*/ 64 h 213"/>
                  <a:gd name="T12" fmla="*/ 44 w 227"/>
                  <a:gd name="T13" fmla="*/ 82 h 213"/>
                  <a:gd name="T14" fmla="*/ 34 w 227"/>
                  <a:gd name="T15" fmla="*/ 87 h 213"/>
                  <a:gd name="T16" fmla="*/ 0 w 227"/>
                  <a:gd name="T17" fmla="*/ 106 h 213"/>
                  <a:gd name="T18" fmla="*/ 10 w 227"/>
                  <a:gd name="T19" fmla="*/ 131 h 213"/>
                  <a:gd name="T20" fmla="*/ 35 w 227"/>
                  <a:gd name="T21" fmla="*/ 139 h 213"/>
                  <a:gd name="T22" fmla="*/ 70 w 227"/>
                  <a:gd name="T23" fmla="*/ 158 h 213"/>
                  <a:gd name="T24" fmla="*/ 109 w 227"/>
                  <a:gd name="T25" fmla="*/ 187 h 213"/>
                  <a:gd name="T26" fmla="*/ 140 w 227"/>
                  <a:gd name="T27" fmla="*/ 210 h 213"/>
                  <a:gd name="T28" fmla="*/ 174 w 227"/>
                  <a:gd name="T29" fmla="*/ 213 h 213"/>
                  <a:gd name="T30" fmla="*/ 178 w 227"/>
                  <a:gd name="T31" fmla="*/ 212 h 213"/>
                  <a:gd name="T32" fmla="*/ 187 w 227"/>
                  <a:gd name="T33" fmla="*/ 197 h 213"/>
                  <a:gd name="T34" fmla="*/ 209 w 227"/>
                  <a:gd name="T35" fmla="*/ 188 h 213"/>
                  <a:gd name="T36" fmla="*/ 221 w 227"/>
                  <a:gd name="T37" fmla="*/ 191 h 213"/>
                  <a:gd name="T38" fmla="*/ 221 w 227"/>
                  <a:gd name="T39" fmla="*/ 192 h 213"/>
                  <a:gd name="T40" fmla="*/ 227 w 227"/>
                  <a:gd name="T41" fmla="*/ 195 h 213"/>
                  <a:gd name="T42" fmla="*/ 217 w 227"/>
                  <a:gd name="T43" fmla="*/ 185 h 213"/>
                  <a:gd name="T44" fmla="*/ 212 w 227"/>
                  <a:gd name="T45" fmla="*/ 175 h 213"/>
                  <a:gd name="T46" fmla="*/ 209 w 227"/>
                  <a:gd name="T47" fmla="*/ 169 h 213"/>
                  <a:gd name="T48" fmla="*/ 204 w 227"/>
                  <a:gd name="T49" fmla="*/ 166 h 213"/>
                  <a:gd name="T50" fmla="*/ 206 w 227"/>
                  <a:gd name="T51" fmla="*/ 150 h 213"/>
                  <a:gd name="T52" fmla="*/ 207 w 227"/>
                  <a:gd name="T53" fmla="*/ 147 h 213"/>
                  <a:gd name="T54" fmla="*/ 202 w 227"/>
                  <a:gd name="T55" fmla="*/ 138 h 213"/>
                  <a:gd name="T56" fmla="*/ 198 w 227"/>
                  <a:gd name="T57" fmla="*/ 131 h 213"/>
                  <a:gd name="T58" fmla="*/ 194 w 227"/>
                  <a:gd name="T59" fmla="*/ 130 h 213"/>
                  <a:gd name="T60" fmla="*/ 175 w 227"/>
                  <a:gd name="T61" fmla="*/ 119 h 213"/>
                  <a:gd name="T62" fmla="*/ 167 w 227"/>
                  <a:gd name="T63" fmla="*/ 116 h 213"/>
                  <a:gd name="T64" fmla="*/ 163 w 227"/>
                  <a:gd name="T65" fmla="*/ 105 h 213"/>
                  <a:gd name="T66" fmla="*/ 162 w 227"/>
                  <a:gd name="T67" fmla="*/ 101 h 213"/>
                  <a:gd name="T68" fmla="*/ 152 w 227"/>
                  <a:gd name="T69" fmla="*/ 93 h 213"/>
                  <a:gd name="T70" fmla="*/ 153 w 227"/>
                  <a:gd name="T71" fmla="*/ 81 h 213"/>
                  <a:gd name="T72" fmla="*/ 153 w 227"/>
                  <a:gd name="T73" fmla="*/ 78 h 213"/>
                  <a:gd name="T74" fmla="*/ 158 w 227"/>
                  <a:gd name="T75" fmla="*/ 69 h 213"/>
                  <a:gd name="T76" fmla="*/ 167 w 227"/>
                  <a:gd name="T77" fmla="*/ 56 h 213"/>
                  <a:gd name="T78" fmla="*/ 166 w 227"/>
                  <a:gd name="T79" fmla="*/ 53 h 213"/>
                  <a:gd name="T80" fmla="*/ 164 w 227"/>
                  <a:gd name="T81" fmla="*/ 46 h 213"/>
                  <a:gd name="T82" fmla="*/ 163 w 227"/>
                  <a:gd name="T83" fmla="*/ 42 h 213"/>
                  <a:gd name="T84" fmla="*/ 155 w 227"/>
                  <a:gd name="T85" fmla="*/ 37 h 213"/>
                  <a:gd name="T86" fmla="*/ 152 w 227"/>
                  <a:gd name="T87" fmla="*/ 37 h 213"/>
                  <a:gd name="T88" fmla="*/ 147 w 227"/>
                  <a:gd name="T89" fmla="*/ 26 h 213"/>
                  <a:gd name="T90" fmla="*/ 142 w 227"/>
                  <a:gd name="T91" fmla="*/ 22 h 213"/>
                  <a:gd name="T92" fmla="*/ 141 w 227"/>
                  <a:gd name="T93" fmla="*/ 16 h 213"/>
                  <a:gd name="T94" fmla="*/ 138 w 227"/>
                  <a:gd name="T95" fmla="*/ 9 h 213"/>
                  <a:gd name="T96" fmla="*/ 133 w 227"/>
                  <a:gd name="T97" fmla="*/ 8 h 213"/>
                  <a:gd name="T98" fmla="*/ 127 w 227"/>
                  <a:gd name="T99" fmla="*/ 10 h 213"/>
                  <a:gd name="T100" fmla="*/ 123 w 227"/>
                  <a:gd name="T101" fmla="*/ 4 h 213"/>
                  <a:gd name="T102" fmla="*/ 115 w 227"/>
                  <a:gd name="T103" fmla="*/ 3 h 213"/>
                  <a:gd name="T104" fmla="*/ 98 w 227"/>
                  <a:gd name="T105"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7" h="213">
                    <a:moveTo>
                      <a:pt x="96" y="0"/>
                    </a:moveTo>
                    <a:cubicBezTo>
                      <a:pt x="92" y="0"/>
                      <a:pt x="90" y="1"/>
                      <a:pt x="86" y="4"/>
                    </a:cubicBezTo>
                    <a:cubicBezTo>
                      <a:pt x="84" y="6"/>
                      <a:pt x="84" y="6"/>
                      <a:pt x="84" y="6"/>
                    </a:cubicBezTo>
                    <a:cubicBezTo>
                      <a:pt x="84" y="7"/>
                      <a:pt x="84" y="7"/>
                      <a:pt x="84" y="7"/>
                    </a:cubicBezTo>
                    <a:cubicBezTo>
                      <a:pt x="84" y="7"/>
                      <a:pt x="83" y="8"/>
                      <a:pt x="83" y="8"/>
                    </a:cubicBezTo>
                    <a:cubicBezTo>
                      <a:pt x="82" y="9"/>
                      <a:pt x="82" y="9"/>
                      <a:pt x="82" y="9"/>
                    </a:cubicBezTo>
                    <a:cubicBezTo>
                      <a:pt x="80" y="11"/>
                      <a:pt x="80" y="11"/>
                      <a:pt x="80" y="11"/>
                    </a:cubicBezTo>
                    <a:cubicBezTo>
                      <a:pt x="77" y="14"/>
                      <a:pt x="74" y="16"/>
                      <a:pt x="71" y="19"/>
                    </a:cubicBezTo>
                    <a:cubicBezTo>
                      <a:pt x="70" y="20"/>
                      <a:pt x="69" y="21"/>
                      <a:pt x="68" y="21"/>
                    </a:cubicBezTo>
                    <a:cubicBezTo>
                      <a:pt x="69" y="27"/>
                      <a:pt x="69" y="27"/>
                      <a:pt x="69" y="27"/>
                    </a:cubicBezTo>
                    <a:cubicBezTo>
                      <a:pt x="66" y="22"/>
                      <a:pt x="66" y="22"/>
                      <a:pt x="66" y="22"/>
                    </a:cubicBezTo>
                    <a:cubicBezTo>
                      <a:pt x="63" y="22"/>
                      <a:pt x="63" y="22"/>
                      <a:pt x="63" y="22"/>
                    </a:cubicBezTo>
                    <a:cubicBezTo>
                      <a:pt x="62" y="22"/>
                      <a:pt x="62" y="23"/>
                      <a:pt x="62" y="23"/>
                    </a:cubicBezTo>
                    <a:cubicBezTo>
                      <a:pt x="61" y="23"/>
                      <a:pt x="60" y="23"/>
                      <a:pt x="60" y="23"/>
                    </a:cubicBezTo>
                    <a:cubicBezTo>
                      <a:pt x="60" y="24"/>
                      <a:pt x="60" y="24"/>
                      <a:pt x="60" y="25"/>
                    </a:cubicBezTo>
                    <a:cubicBezTo>
                      <a:pt x="58" y="29"/>
                      <a:pt x="58" y="34"/>
                      <a:pt x="59" y="39"/>
                    </a:cubicBezTo>
                    <a:cubicBezTo>
                      <a:pt x="59" y="39"/>
                      <a:pt x="59" y="39"/>
                      <a:pt x="59" y="39"/>
                    </a:cubicBezTo>
                    <a:cubicBezTo>
                      <a:pt x="59" y="42"/>
                      <a:pt x="60" y="44"/>
                      <a:pt x="59" y="47"/>
                    </a:cubicBezTo>
                    <a:cubicBezTo>
                      <a:pt x="59" y="49"/>
                      <a:pt x="59" y="50"/>
                      <a:pt x="58" y="52"/>
                    </a:cubicBezTo>
                    <a:cubicBezTo>
                      <a:pt x="58" y="52"/>
                      <a:pt x="58" y="52"/>
                      <a:pt x="58" y="52"/>
                    </a:cubicBezTo>
                    <a:cubicBezTo>
                      <a:pt x="57" y="54"/>
                      <a:pt x="57" y="57"/>
                      <a:pt x="57" y="59"/>
                    </a:cubicBezTo>
                    <a:cubicBezTo>
                      <a:pt x="57" y="60"/>
                      <a:pt x="57" y="61"/>
                      <a:pt x="57" y="63"/>
                    </a:cubicBezTo>
                    <a:cubicBezTo>
                      <a:pt x="57" y="63"/>
                      <a:pt x="57" y="63"/>
                      <a:pt x="57" y="63"/>
                    </a:cubicBezTo>
                    <a:cubicBezTo>
                      <a:pt x="57" y="64"/>
                      <a:pt x="57" y="64"/>
                      <a:pt x="57" y="64"/>
                    </a:cubicBezTo>
                    <a:cubicBezTo>
                      <a:pt x="57" y="66"/>
                      <a:pt x="57" y="68"/>
                      <a:pt x="56" y="69"/>
                    </a:cubicBezTo>
                    <a:cubicBezTo>
                      <a:pt x="55" y="72"/>
                      <a:pt x="53" y="76"/>
                      <a:pt x="52" y="78"/>
                    </a:cubicBezTo>
                    <a:cubicBezTo>
                      <a:pt x="50" y="79"/>
                      <a:pt x="48" y="80"/>
                      <a:pt x="46" y="81"/>
                    </a:cubicBezTo>
                    <a:cubicBezTo>
                      <a:pt x="45" y="81"/>
                      <a:pt x="44" y="81"/>
                      <a:pt x="44" y="82"/>
                    </a:cubicBezTo>
                    <a:cubicBezTo>
                      <a:pt x="42" y="82"/>
                      <a:pt x="41" y="83"/>
                      <a:pt x="39" y="83"/>
                    </a:cubicBezTo>
                    <a:cubicBezTo>
                      <a:pt x="35" y="86"/>
                      <a:pt x="35" y="86"/>
                      <a:pt x="35" y="86"/>
                    </a:cubicBezTo>
                    <a:cubicBezTo>
                      <a:pt x="37" y="89"/>
                      <a:pt x="37" y="89"/>
                      <a:pt x="37" y="89"/>
                    </a:cubicBezTo>
                    <a:cubicBezTo>
                      <a:pt x="34" y="87"/>
                      <a:pt x="34" y="87"/>
                      <a:pt x="34" y="87"/>
                    </a:cubicBezTo>
                    <a:cubicBezTo>
                      <a:pt x="29" y="89"/>
                      <a:pt x="29" y="89"/>
                      <a:pt x="29" y="89"/>
                    </a:cubicBezTo>
                    <a:cubicBezTo>
                      <a:pt x="26" y="91"/>
                      <a:pt x="22" y="93"/>
                      <a:pt x="19" y="95"/>
                    </a:cubicBezTo>
                    <a:cubicBezTo>
                      <a:pt x="14" y="98"/>
                      <a:pt x="9" y="101"/>
                      <a:pt x="4" y="104"/>
                    </a:cubicBezTo>
                    <a:cubicBezTo>
                      <a:pt x="0" y="106"/>
                      <a:pt x="0" y="106"/>
                      <a:pt x="0" y="106"/>
                    </a:cubicBezTo>
                    <a:cubicBezTo>
                      <a:pt x="1" y="106"/>
                      <a:pt x="1" y="106"/>
                      <a:pt x="1" y="106"/>
                    </a:cubicBezTo>
                    <a:cubicBezTo>
                      <a:pt x="6" y="130"/>
                      <a:pt x="6" y="130"/>
                      <a:pt x="6" y="130"/>
                    </a:cubicBezTo>
                    <a:cubicBezTo>
                      <a:pt x="7" y="130"/>
                      <a:pt x="8" y="130"/>
                      <a:pt x="9" y="131"/>
                    </a:cubicBezTo>
                    <a:cubicBezTo>
                      <a:pt x="9" y="131"/>
                      <a:pt x="10" y="131"/>
                      <a:pt x="10" y="131"/>
                    </a:cubicBezTo>
                    <a:cubicBezTo>
                      <a:pt x="11" y="132"/>
                      <a:pt x="11" y="132"/>
                      <a:pt x="11" y="132"/>
                    </a:cubicBezTo>
                    <a:cubicBezTo>
                      <a:pt x="13" y="134"/>
                      <a:pt x="13" y="134"/>
                      <a:pt x="13" y="134"/>
                    </a:cubicBezTo>
                    <a:cubicBezTo>
                      <a:pt x="12" y="135"/>
                      <a:pt x="12" y="135"/>
                      <a:pt x="12" y="135"/>
                    </a:cubicBezTo>
                    <a:cubicBezTo>
                      <a:pt x="35" y="139"/>
                      <a:pt x="35" y="139"/>
                      <a:pt x="35" y="139"/>
                    </a:cubicBezTo>
                    <a:cubicBezTo>
                      <a:pt x="38" y="139"/>
                      <a:pt x="41" y="141"/>
                      <a:pt x="43" y="143"/>
                    </a:cubicBezTo>
                    <a:cubicBezTo>
                      <a:pt x="43" y="143"/>
                      <a:pt x="44" y="144"/>
                      <a:pt x="44" y="144"/>
                    </a:cubicBezTo>
                    <a:cubicBezTo>
                      <a:pt x="51" y="148"/>
                      <a:pt x="57" y="152"/>
                      <a:pt x="64" y="155"/>
                    </a:cubicBezTo>
                    <a:cubicBezTo>
                      <a:pt x="66" y="156"/>
                      <a:pt x="68" y="157"/>
                      <a:pt x="70" y="158"/>
                    </a:cubicBezTo>
                    <a:cubicBezTo>
                      <a:pt x="76" y="162"/>
                      <a:pt x="76" y="162"/>
                      <a:pt x="76" y="162"/>
                    </a:cubicBezTo>
                    <a:cubicBezTo>
                      <a:pt x="82" y="165"/>
                      <a:pt x="87" y="170"/>
                      <a:pt x="92" y="174"/>
                    </a:cubicBezTo>
                    <a:cubicBezTo>
                      <a:pt x="96" y="177"/>
                      <a:pt x="99" y="180"/>
                      <a:pt x="102" y="182"/>
                    </a:cubicBezTo>
                    <a:cubicBezTo>
                      <a:pt x="104" y="184"/>
                      <a:pt x="106" y="186"/>
                      <a:pt x="109" y="187"/>
                    </a:cubicBezTo>
                    <a:cubicBezTo>
                      <a:pt x="119" y="195"/>
                      <a:pt x="119" y="195"/>
                      <a:pt x="119" y="195"/>
                    </a:cubicBezTo>
                    <a:cubicBezTo>
                      <a:pt x="121" y="197"/>
                      <a:pt x="124" y="199"/>
                      <a:pt x="126" y="201"/>
                    </a:cubicBezTo>
                    <a:cubicBezTo>
                      <a:pt x="130" y="204"/>
                      <a:pt x="134" y="207"/>
                      <a:pt x="137" y="209"/>
                    </a:cubicBezTo>
                    <a:cubicBezTo>
                      <a:pt x="138" y="210"/>
                      <a:pt x="139" y="210"/>
                      <a:pt x="140" y="210"/>
                    </a:cubicBezTo>
                    <a:cubicBezTo>
                      <a:pt x="141" y="210"/>
                      <a:pt x="141" y="210"/>
                      <a:pt x="141" y="210"/>
                    </a:cubicBezTo>
                    <a:cubicBezTo>
                      <a:pt x="173" y="213"/>
                      <a:pt x="173" y="213"/>
                      <a:pt x="173" y="213"/>
                    </a:cubicBezTo>
                    <a:cubicBezTo>
                      <a:pt x="174" y="213"/>
                      <a:pt x="174" y="213"/>
                      <a:pt x="174" y="213"/>
                    </a:cubicBezTo>
                    <a:cubicBezTo>
                      <a:pt x="174" y="213"/>
                      <a:pt x="174" y="213"/>
                      <a:pt x="174" y="213"/>
                    </a:cubicBezTo>
                    <a:cubicBezTo>
                      <a:pt x="175" y="213"/>
                      <a:pt x="176" y="213"/>
                      <a:pt x="176" y="213"/>
                    </a:cubicBezTo>
                    <a:cubicBezTo>
                      <a:pt x="176" y="213"/>
                      <a:pt x="176" y="213"/>
                      <a:pt x="176" y="213"/>
                    </a:cubicBezTo>
                    <a:cubicBezTo>
                      <a:pt x="176" y="213"/>
                      <a:pt x="176" y="213"/>
                      <a:pt x="176" y="213"/>
                    </a:cubicBezTo>
                    <a:cubicBezTo>
                      <a:pt x="177" y="213"/>
                      <a:pt x="177" y="213"/>
                      <a:pt x="178" y="212"/>
                    </a:cubicBezTo>
                    <a:cubicBezTo>
                      <a:pt x="178" y="212"/>
                      <a:pt x="178" y="212"/>
                      <a:pt x="178" y="212"/>
                    </a:cubicBezTo>
                    <a:cubicBezTo>
                      <a:pt x="181" y="208"/>
                      <a:pt x="183" y="204"/>
                      <a:pt x="185" y="200"/>
                    </a:cubicBezTo>
                    <a:cubicBezTo>
                      <a:pt x="186" y="200"/>
                      <a:pt x="186" y="199"/>
                      <a:pt x="187" y="198"/>
                    </a:cubicBezTo>
                    <a:cubicBezTo>
                      <a:pt x="187" y="197"/>
                      <a:pt x="187" y="197"/>
                      <a:pt x="187" y="197"/>
                    </a:cubicBezTo>
                    <a:cubicBezTo>
                      <a:pt x="189" y="194"/>
                      <a:pt x="191" y="191"/>
                      <a:pt x="193" y="189"/>
                    </a:cubicBezTo>
                    <a:cubicBezTo>
                      <a:pt x="195" y="188"/>
                      <a:pt x="197" y="187"/>
                      <a:pt x="199" y="186"/>
                    </a:cubicBezTo>
                    <a:cubicBezTo>
                      <a:pt x="200" y="186"/>
                      <a:pt x="201" y="186"/>
                      <a:pt x="202" y="186"/>
                    </a:cubicBezTo>
                    <a:cubicBezTo>
                      <a:pt x="204" y="186"/>
                      <a:pt x="207" y="187"/>
                      <a:pt x="209" y="188"/>
                    </a:cubicBezTo>
                    <a:cubicBezTo>
                      <a:pt x="209" y="185"/>
                      <a:pt x="209" y="185"/>
                      <a:pt x="209" y="185"/>
                    </a:cubicBezTo>
                    <a:cubicBezTo>
                      <a:pt x="214" y="188"/>
                      <a:pt x="214" y="188"/>
                      <a:pt x="214" y="188"/>
                    </a:cubicBezTo>
                    <a:cubicBezTo>
                      <a:pt x="216" y="189"/>
                      <a:pt x="219" y="191"/>
                      <a:pt x="220" y="191"/>
                    </a:cubicBezTo>
                    <a:cubicBezTo>
                      <a:pt x="221" y="191"/>
                      <a:pt x="221" y="191"/>
                      <a:pt x="221" y="191"/>
                    </a:cubicBezTo>
                    <a:cubicBezTo>
                      <a:pt x="221" y="191"/>
                      <a:pt x="221" y="191"/>
                      <a:pt x="221" y="191"/>
                    </a:cubicBezTo>
                    <a:cubicBezTo>
                      <a:pt x="221" y="192"/>
                      <a:pt x="221" y="192"/>
                      <a:pt x="221" y="192"/>
                    </a:cubicBezTo>
                    <a:cubicBezTo>
                      <a:pt x="221" y="192"/>
                      <a:pt x="221" y="192"/>
                      <a:pt x="221" y="192"/>
                    </a:cubicBezTo>
                    <a:cubicBezTo>
                      <a:pt x="221" y="192"/>
                      <a:pt x="221" y="192"/>
                      <a:pt x="221" y="192"/>
                    </a:cubicBezTo>
                    <a:cubicBezTo>
                      <a:pt x="223" y="195"/>
                      <a:pt x="223" y="195"/>
                      <a:pt x="223" y="195"/>
                    </a:cubicBezTo>
                    <a:cubicBezTo>
                      <a:pt x="224" y="195"/>
                      <a:pt x="225" y="195"/>
                      <a:pt x="226" y="195"/>
                    </a:cubicBezTo>
                    <a:cubicBezTo>
                      <a:pt x="227" y="195"/>
                      <a:pt x="227" y="195"/>
                      <a:pt x="227" y="195"/>
                    </a:cubicBezTo>
                    <a:cubicBezTo>
                      <a:pt x="227" y="195"/>
                      <a:pt x="227" y="195"/>
                      <a:pt x="227" y="195"/>
                    </a:cubicBezTo>
                    <a:cubicBezTo>
                      <a:pt x="224" y="193"/>
                      <a:pt x="222" y="191"/>
                      <a:pt x="221" y="189"/>
                    </a:cubicBezTo>
                    <a:cubicBezTo>
                      <a:pt x="220" y="189"/>
                      <a:pt x="220" y="189"/>
                      <a:pt x="220" y="189"/>
                    </a:cubicBezTo>
                    <a:cubicBezTo>
                      <a:pt x="220" y="188"/>
                      <a:pt x="220" y="188"/>
                      <a:pt x="220" y="188"/>
                    </a:cubicBezTo>
                    <a:cubicBezTo>
                      <a:pt x="219" y="187"/>
                      <a:pt x="218" y="186"/>
                      <a:pt x="217" y="185"/>
                    </a:cubicBezTo>
                    <a:cubicBezTo>
                      <a:pt x="216" y="184"/>
                      <a:pt x="216" y="183"/>
                      <a:pt x="215" y="183"/>
                    </a:cubicBezTo>
                    <a:cubicBezTo>
                      <a:pt x="213" y="182"/>
                      <a:pt x="212" y="181"/>
                      <a:pt x="212" y="179"/>
                    </a:cubicBezTo>
                    <a:cubicBezTo>
                      <a:pt x="212" y="178"/>
                      <a:pt x="212" y="178"/>
                      <a:pt x="212" y="178"/>
                    </a:cubicBezTo>
                    <a:cubicBezTo>
                      <a:pt x="212" y="177"/>
                      <a:pt x="212" y="176"/>
                      <a:pt x="212" y="175"/>
                    </a:cubicBezTo>
                    <a:cubicBezTo>
                      <a:pt x="212" y="174"/>
                      <a:pt x="212" y="174"/>
                      <a:pt x="212" y="174"/>
                    </a:cubicBezTo>
                    <a:cubicBezTo>
                      <a:pt x="212" y="173"/>
                      <a:pt x="212" y="171"/>
                      <a:pt x="212" y="169"/>
                    </a:cubicBezTo>
                    <a:cubicBezTo>
                      <a:pt x="212" y="169"/>
                      <a:pt x="212" y="169"/>
                      <a:pt x="212" y="169"/>
                    </a:cubicBezTo>
                    <a:cubicBezTo>
                      <a:pt x="211" y="169"/>
                      <a:pt x="210" y="169"/>
                      <a:pt x="209" y="169"/>
                    </a:cubicBezTo>
                    <a:cubicBezTo>
                      <a:pt x="208" y="169"/>
                      <a:pt x="208" y="169"/>
                      <a:pt x="208" y="169"/>
                    </a:cubicBezTo>
                    <a:cubicBezTo>
                      <a:pt x="207" y="169"/>
                      <a:pt x="207" y="169"/>
                      <a:pt x="206" y="169"/>
                    </a:cubicBezTo>
                    <a:cubicBezTo>
                      <a:pt x="203" y="169"/>
                      <a:pt x="203" y="169"/>
                      <a:pt x="203" y="169"/>
                    </a:cubicBezTo>
                    <a:cubicBezTo>
                      <a:pt x="204" y="166"/>
                      <a:pt x="204" y="166"/>
                      <a:pt x="204" y="166"/>
                    </a:cubicBezTo>
                    <a:cubicBezTo>
                      <a:pt x="204" y="164"/>
                      <a:pt x="204" y="161"/>
                      <a:pt x="204" y="158"/>
                    </a:cubicBezTo>
                    <a:cubicBezTo>
                      <a:pt x="204" y="157"/>
                      <a:pt x="204" y="155"/>
                      <a:pt x="204" y="154"/>
                    </a:cubicBezTo>
                    <a:cubicBezTo>
                      <a:pt x="204" y="153"/>
                      <a:pt x="204" y="153"/>
                      <a:pt x="205" y="152"/>
                    </a:cubicBezTo>
                    <a:cubicBezTo>
                      <a:pt x="206" y="150"/>
                      <a:pt x="206" y="150"/>
                      <a:pt x="206" y="150"/>
                    </a:cubicBezTo>
                    <a:cubicBezTo>
                      <a:pt x="206" y="149"/>
                      <a:pt x="206" y="149"/>
                      <a:pt x="207" y="148"/>
                    </a:cubicBezTo>
                    <a:cubicBezTo>
                      <a:pt x="201" y="146"/>
                      <a:pt x="201" y="146"/>
                      <a:pt x="201" y="146"/>
                    </a:cubicBezTo>
                    <a:cubicBezTo>
                      <a:pt x="207" y="147"/>
                      <a:pt x="207" y="147"/>
                      <a:pt x="207" y="147"/>
                    </a:cubicBezTo>
                    <a:cubicBezTo>
                      <a:pt x="207" y="147"/>
                      <a:pt x="207" y="147"/>
                      <a:pt x="207" y="147"/>
                    </a:cubicBezTo>
                    <a:cubicBezTo>
                      <a:pt x="207" y="146"/>
                      <a:pt x="207" y="146"/>
                      <a:pt x="207" y="146"/>
                    </a:cubicBezTo>
                    <a:cubicBezTo>
                      <a:pt x="207" y="146"/>
                      <a:pt x="207" y="146"/>
                      <a:pt x="207" y="146"/>
                    </a:cubicBezTo>
                    <a:cubicBezTo>
                      <a:pt x="207" y="146"/>
                      <a:pt x="207" y="145"/>
                      <a:pt x="205" y="142"/>
                    </a:cubicBezTo>
                    <a:cubicBezTo>
                      <a:pt x="204" y="140"/>
                      <a:pt x="203" y="139"/>
                      <a:pt x="202" y="138"/>
                    </a:cubicBezTo>
                    <a:cubicBezTo>
                      <a:pt x="202" y="138"/>
                      <a:pt x="202" y="138"/>
                      <a:pt x="202" y="138"/>
                    </a:cubicBezTo>
                    <a:cubicBezTo>
                      <a:pt x="196" y="141"/>
                      <a:pt x="196" y="141"/>
                      <a:pt x="196" y="141"/>
                    </a:cubicBezTo>
                    <a:cubicBezTo>
                      <a:pt x="201" y="136"/>
                      <a:pt x="201" y="136"/>
                      <a:pt x="201" y="136"/>
                    </a:cubicBezTo>
                    <a:cubicBezTo>
                      <a:pt x="200" y="134"/>
                      <a:pt x="199" y="132"/>
                      <a:pt x="198" y="131"/>
                    </a:cubicBezTo>
                    <a:cubicBezTo>
                      <a:pt x="197" y="130"/>
                      <a:pt x="196" y="130"/>
                      <a:pt x="196" y="130"/>
                    </a:cubicBezTo>
                    <a:cubicBezTo>
                      <a:pt x="196" y="130"/>
                      <a:pt x="196" y="130"/>
                      <a:pt x="196" y="130"/>
                    </a:cubicBezTo>
                    <a:cubicBezTo>
                      <a:pt x="196" y="130"/>
                      <a:pt x="195" y="130"/>
                      <a:pt x="195" y="130"/>
                    </a:cubicBezTo>
                    <a:cubicBezTo>
                      <a:pt x="195" y="130"/>
                      <a:pt x="194" y="130"/>
                      <a:pt x="194" y="130"/>
                    </a:cubicBezTo>
                    <a:cubicBezTo>
                      <a:pt x="193" y="130"/>
                      <a:pt x="192" y="130"/>
                      <a:pt x="191" y="130"/>
                    </a:cubicBezTo>
                    <a:cubicBezTo>
                      <a:pt x="191" y="130"/>
                      <a:pt x="190" y="129"/>
                      <a:pt x="190" y="129"/>
                    </a:cubicBezTo>
                    <a:cubicBezTo>
                      <a:pt x="179" y="121"/>
                      <a:pt x="179" y="121"/>
                      <a:pt x="179" y="121"/>
                    </a:cubicBezTo>
                    <a:cubicBezTo>
                      <a:pt x="178" y="120"/>
                      <a:pt x="177" y="119"/>
                      <a:pt x="175" y="119"/>
                    </a:cubicBezTo>
                    <a:cubicBezTo>
                      <a:pt x="174" y="118"/>
                      <a:pt x="173" y="118"/>
                      <a:pt x="173" y="118"/>
                    </a:cubicBezTo>
                    <a:cubicBezTo>
                      <a:pt x="172" y="118"/>
                      <a:pt x="172" y="118"/>
                      <a:pt x="172" y="118"/>
                    </a:cubicBezTo>
                    <a:cubicBezTo>
                      <a:pt x="170" y="118"/>
                      <a:pt x="169" y="117"/>
                      <a:pt x="168" y="117"/>
                    </a:cubicBezTo>
                    <a:cubicBezTo>
                      <a:pt x="167" y="116"/>
                      <a:pt x="167" y="116"/>
                      <a:pt x="167" y="116"/>
                    </a:cubicBezTo>
                    <a:cubicBezTo>
                      <a:pt x="166" y="115"/>
                      <a:pt x="166" y="115"/>
                      <a:pt x="165" y="113"/>
                    </a:cubicBezTo>
                    <a:cubicBezTo>
                      <a:pt x="164" y="112"/>
                      <a:pt x="164" y="110"/>
                      <a:pt x="164" y="108"/>
                    </a:cubicBezTo>
                    <a:cubicBezTo>
                      <a:pt x="164" y="107"/>
                      <a:pt x="164" y="107"/>
                      <a:pt x="164" y="107"/>
                    </a:cubicBezTo>
                    <a:cubicBezTo>
                      <a:pt x="164" y="106"/>
                      <a:pt x="163" y="105"/>
                      <a:pt x="163" y="105"/>
                    </a:cubicBezTo>
                    <a:cubicBezTo>
                      <a:pt x="163" y="105"/>
                      <a:pt x="163" y="104"/>
                      <a:pt x="163" y="103"/>
                    </a:cubicBezTo>
                    <a:cubicBezTo>
                      <a:pt x="163" y="102"/>
                      <a:pt x="163" y="102"/>
                      <a:pt x="163" y="102"/>
                    </a:cubicBezTo>
                    <a:cubicBezTo>
                      <a:pt x="163" y="101"/>
                      <a:pt x="163" y="101"/>
                      <a:pt x="163" y="101"/>
                    </a:cubicBezTo>
                    <a:cubicBezTo>
                      <a:pt x="162" y="101"/>
                      <a:pt x="162" y="101"/>
                      <a:pt x="162" y="101"/>
                    </a:cubicBezTo>
                    <a:cubicBezTo>
                      <a:pt x="162" y="101"/>
                      <a:pt x="162" y="101"/>
                      <a:pt x="162" y="101"/>
                    </a:cubicBezTo>
                    <a:cubicBezTo>
                      <a:pt x="160" y="100"/>
                      <a:pt x="159" y="100"/>
                      <a:pt x="158" y="99"/>
                    </a:cubicBezTo>
                    <a:cubicBezTo>
                      <a:pt x="158" y="99"/>
                      <a:pt x="158" y="99"/>
                      <a:pt x="158" y="99"/>
                    </a:cubicBezTo>
                    <a:cubicBezTo>
                      <a:pt x="152" y="93"/>
                      <a:pt x="152" y="93"/>
                      <a:pt x="152" y="93"/>
                    </a:cubicBezTo>
                    <a:cubicBezTo>
                      <a:pt x="152" y="92"/>
                      <a:pt x="152" y="92"/>
                      <a:pt x="151" y="91"/>
                    </a:cubicBezTo>
                    <a:cubicBezTo>
                      <a:pt x="150" y="90"/>
                      <a:pt x="150" y="89"/>
                      <a:pt x="150" y="87"/>
                    </a:cubicBezTo>
                    <a:cubicBezTo>
                      <a:pt x="150" y="86"/>
                      <a:pt x="150" y="86"/>
                      <a:pt x="150" y="86"/>
                    </a:cubicBezTo>
                    <a:cubicBezTo>
                      <a:pt x="151" y="84"/>
                      <a:pt x="152" y="83"/>
                      <a:pt x="153" y="81"/>
                    </a:cubicBezTo>
                    <a:cubicBezTo>
                      <a:pt x="153" y="80"/>
                      <a:pt x="153" y="80"/>
                      <a:pt x="153" y="80"/>
                    </a:cubicBezTo>
                    <a:cubicBezTo>
                      <a:pt x="153" y="80"/>
                      <a:pt x="153" y="80"/>
                      <a:pt x="153" y="80"/>
                    </a:cubicBezTo>
                    <a:cubicBezTo>
                      <a:pt x="153" y="79"/>
                      <a:pt x="153" y="79"/>
                      <a:pt x="153" y="79"/>
                    </a:cubicBezTo>
                    <a:cubicBezTo>
                      <a:pt x="153" y="78"/>
                      <a:pt x="153" y="78"/>
                      <a:pt x="153" y="78"/>
                    </a:cubicBezTo>
                    <a:cubicBezTo>
                      <a:pt x="152" y="78"/>
                      <a:pt x="152" y="77"/>
                      <a:pt x="151" y="76"/>
                    </a:cubicBezTo>
                    <a:cubicBezTo>
                      <a:pt x="151" y="74"/>
                      <a:pt x="151" y="74"/>
                      <a:pt x="151" y="74"/>
                    </a:cubicBezTo>
                    <a:cubicBezTo>
                      <a:pt x="156" y="68"/>
                      <a:pt x="156" y="68"/>
                      <a:pt x="156" y="68"/>
                    </a:cubicBezTo>
                    <a:cubicBezTo>
                      <a:pt x="158" y="69"/>
                      <a:pt x="158" y="69"/>
                      <a:pt x="158" y="69"/>
                    </a:cubicBezTo>
                    <a:cubicBezTo>
                      <a:pt x="158" y="68"/>
                      <a:pt x="158" y="68"/>
                      <a:pt x="158" y="68"/>
                    </a:cubicBezTo>
                    <a:cubicBezTo>
                      <a:pt x="158" y="64"/>
                      <a:pt x="159" y="62"/>
                      <a:pt x="162" y="58"/>
                    </a:cubicBezTo>
                    <a:cubicBezTo>
                      <a:pt x="162" y="58"/>
                      <a:pt x="162" y="58"/>
                      <a:pt x="162" y="58"/>
                    </a:cubicBezTo>
                    <a:cubicBezTo>
                      <a:pt x="164" y="57"/>
                      <a:pt x="166" y="56"/>
                      <a:pt x="167" y="56"/>
                    </a:cubicBezTo>
                    <a:cubicBezTo>
                      <a:pt x="168" y="56"/>
                      <a:pt x="168" y="56"/>
                      <a:pt x="168" y="56"/>
                    </a:cubicBezTo>
                    <a:cubicBezTo>
                      <a:pt x="168" y="56"/>
                      <a:pt x="168" y="56"/>
                      <a:pt x="168" y="56"/>
                    </a:cubicBezTo>
                    <a:cubicBezTo>
                      <a:pt x="168" y="55"/>
                      <a:pt x="167" y="54"/>
                      <a:pt x="167" y="53"/>
                    </a:cubicBezTo>
                    <a:cubicBezTo>
                      <a:pt x="166" y="53"/>
                      <a:pt x="166" y="53"/>
                      <a:pt x="166" y="53"/>
                    </a:cubicBezTo>
                    <a:cubicBezTo>
                      <a:pt x="166" y="52"/>
                      <a:pt x="165" y="52"/>
                      <a:pt x="165" y="51"/>
                    </a:cubicBezTo>
                    <a:cubicBezTo>
                      <a:pt x="165" y="50"/>
                      <a:pt x="165" y="50"/>
                      <a:pt x="165" y="50"/>
                    </a:cubicBezTo>
                    <a:cubicBezTo>
                      <a:pt x="164" y="49"/>
                      <a:pt x="164" y="48"/>
                      <a:pt x="164" y="47"/>
                    </a:cubicBezTo>
                    <a:cubicBezTo>
                      <a:pt x="164" y="46"/>
                      <a:pt x="164" y="46"/>
                      <a:pt x="164" y="46"/>
                    </a:cubicBezTo>
                    <a:cubicBezTo>
                      <a:pt x="164" y="45"/>
                      <a:pt x="164" y="45"/>
                      <a:pt x="164" y="44"/>
                    </a:cubicBezTo>
                    <a:cubicBezTo>
                      <a:pt x="165" y="43"/>
                      <a:pt x="165" y="43"/>
                      <a:pt x="165" y="43"/>
                    </a:cubicBezTo>
                    <a:cubicBezTo>
                      <a:pt x="165" y="43"/>
                      <a:pt x="165" y="42"/>
                      <a:pt x="165" y="42"/>
                    </a:cubicBezTo>
                    <a:cubicBezTo>
                      <a:pt x="164" y="42"/>
                      <a:pt x="164" y="42"/>
                      <a:pt x="163" y="42"/>
                    </a:cubicBezTo>
                    <a:cubicBezTo>
                      <a:pt x="163" y="42"/>
                      <a:pt x="162" y="42"/>
                      <a:pt x="162" y="42"/>
                    </a:cubicBezTo>
                    <a:cubicBezTo>
                      <a:pt x="161" y="42"/>
                      <a:pt x="159" y="41"/>
                      <a:pt x="158" y="41"/>
                    </a:cubicBezTo>
                    <a:cubicBezTo>
                      <a:pt x="157" y="40"/>
                      <a:pt x="157" y="40"/>
                      <a:pt x="157" y="40"/>
                    </a:cubicBezTo>
                    <a:cubicBezTo>
                      <a:pt x="157" y="39"/>
                      <a:pt x="156" y="38"/>
                      <a:pt x="155" y="37"/>
                    </a:cubicBezTo>
                    <a:cubicBezTo>
                      <a:pt x="155" y="37"/>
                      <a:pt x="154" y="37"/>
                      <a:pt x="154" y="37"/>
                    </a:cubicBezTo>
                    <a:cubicBezTo>
                      <a:pt x="154" y="37"/>
                      <a:pt x="154" y="37"/>
                      <a:pt x="154" y="37"/>
                    </a:cubicBezTo>
                    <a:cubicBezTo>
                      <a:pt x="153" y="37"/>
                      <a:pt x="153" y="37"/>
                      <a:pt x="153" y="37"/>
                    </a:cubicBezTo>
                    <a:cubicBezTo>
                      <a:pt x="152" y="37"/>
                      <a:pt x="152" y="37"/>
                      <a:pt x="152" y="37"/>
                    </a:cubicBezTo>
                    <a:cubicBezTo>
                      <a:pt x="150" y="37"/>
                      <a:pt x="149" y="36"/>
                      <a:pt x="148" y="33"/>
                    </a:cubicBezTo>
                    <a:cubicBezTo>
                      <a:pt x="148" y="32"/>
                      <a:pt x="148" y="32"/>
                      <a:pt x="148" y="32"/>
                    </a:cubicBezTo>
                    <a:cubicBezTo>
                      <a:pt x="148" y="31"/>
                      <a:pt x="148" y="31"/>
                      <a:pt x="148" y="31"/>
                    </a:cubicBezTo>
                    <a:cubicBezTo>
                      <a:pt x="148" y="29"/>
                      <a:pt x="147" y="27"/>
                      <a:pt x="147" y="26"/>
                    </a:cubicBezTo>
                    <a:cubicBezTo>
                      <a:pt x="146" y="25"/>
                      <a:pt x="146" y="25"/>
                      <a:pt x="146" y="25"/>
                    </a:cubicBezTo>
                    <a:cubicBezTo>
                      <a:pt x="146" y="25"/>
                      <a:pt x="146" y="25"/>
                      <a:pt x="146" y="25"/>
                    </a:cubicBezTo>
                    <a:cubicBezTo>
                      <a:pt x="145" y="24"/>
                      <a:pt x="145" y="24"/>
                      <a:pt x="145" y="24"/>
                    </a:cubicBezTo>
                    <a:cubicBezTo>
                      <a:pt x="144" y="23"/>
                      <a:pt x="143" y="23"/>
                      <a:pt x="142" y="22"/>
                    </a:cubicBezTo>
                    <a:cubicBezTo>
                      <a:pt x="141" y="21"/>
                      <a:pt x="141" y="19"/>
                      <a:pt x="141" y="18"/>
                    </a:cubicBezTo>
                    <a:cubicBezTo>
                      <a:pt x="141" y="17"/>
                      <a:pt x="141" y="17"/>
                      <a:pt x="141" y="17"/>
                    </a:cubicBezTo>
                    <a:cubicBezTo>
                      <a:pt x="141" y="17"/>
                      <a:pt x="141" y="17"/>
                      <a:pt x="141" y="17"/>
                    </a:cubicBezTo>
                    <a:cubicBezTo>
                      <a:pt x="141" y="16"/>
                      <a:pt x="141" y="16"/>
                      <a:pt x="141" y="16"/>
                    </a:cubicBezTo>
                    <a:cubicBezTo>
                      <a:pt x="140" y="16"/>
                      <a:pt x="139" y="16"/>
                      <a:pt x="138" y="15"/>
                    </a:cubicBezTo>
                    <a:cubicBezTo>
                      <a:pt x="137" y="14"/>
                      <a:pt x="137" y="12"/>
                      <a:pt x="137" y="11"/>
                    </a:cubicBezTo>
                    <a:cubicBezTo>
                      <a:pt x="137" y="10"/>
                      <a:pt x="137" y="10"/>
                      <a:pt x="137" y="10"/>
                    </a:cubicBezTo>
                    <a:cubicBezTo>
                      <a:pt x="138" y="9"/>
                      <a:pt x="138" y="9"/>
                      <a:pt x="138" y="9"/>
                    </a:cubicBezTo>
                    <a:cubicBezTo>
                      <a:pt x="137" y="8"/>
                      <a:pt x="137" y="8"/>
                      <a:pt x="137" y="8"/>
                    </a:cubicBezTo>
                    <a:cubicBezTo>
                      <a:pt x="137" y="7"/>
                      <a:pt x="137" y="7"/>
                      <a:pt x="137" y="7"/>
                    </a:cubicBezTo>
                    <a:cubicBezTo>
                      <a:pt x="135" y="8"/>
                      <a:pt x="135" y="8"/>
                      <a:pt x="135" y="8"/>
                    </a:cubicBezTo>
                    <a:cubicBezTo>
                      <a:pt x="134" y="8"/>
                      <a:pt x="134" y="8"/>
                      <a:pt x="133" y="8"/>
                    </a:cubicBezTo>
                    <a:cubicBezTo>
                      <a:pt x="133" y="9"/>
                      <a:pt x="133" y="9"/>
                      <a:pt x="133" y="9"/>
                    </a:cubicBezTo>
                    <a:cubicBezTo>
                      <a:pt x="132" y="9"/>
                      <a:pt x="130" y="10"/>
                      <a:pt x="129" y="10"/>
                    </a:cubicBezTo>
                    <a:cubicBezTo>
                      <a:pt x="128" y="10"/>
                      <a:pt x="128" y="10"/>
                      <a:pt x="128" y="10"/>
                    </a:cubicBezTo>
                    <a:cubicBezTo>
                      <a:pt x="127" y="10"/>
                      <a:pt x="127" y="10"/>
                      <a:pt x="127" y="10"/>
                    </a:cubicBezTo>
                    <a:cubicBezTo>
                      <a:pt x="125" y="10"/>
                      <a:pt x="124" y="7"/>
                      <a:pt x="124" y="6"/>
                    </a:cubicBezTo>
                    <a:cubicBezTo>
                      <a:pt x="124" y="6"/>
                      <a:pt x="123" y="6"/>
                      <a:pt x="123" y="5"/>
                    </a:cubicBezTo>
                    <a:cubicBezTo>
                      <a:pt x="123" y="5"/>
                      <a:pt x="123" y="5"/>
                      <a:pt x="123" y="5"/>
                    </a:cubicBezTo>
                    <a:cubicBezTo>
                      <a:pt x="123" y="5"/>
                      <a:pt x="123" y="4"/>
                      <a:pt x="123" y="4"/>
                    </a:cubicBezTo>
                    <a:cubicBezTo>
                      <a:pt x="122" y="3"/>
                      <a:pt x="122" y="3"/>
                      <a:pt x="122" y="3"/>
                    </a:cubicBezTo>
                    <a:cubicBezTo>
                      <a:pt x="122" y="2"/>
                      <a:pt x="122" y="2"/>
                      <a:pt x="121" y="2"/>
                    </a:cubicBezTo>
                    <a:cubicBezTo>
                      <a:pt x="121" y="2"/>
                      <a:pt x="121" y="2"/>
                      <a:pt x="120" y="2"/>
                    </a:cubicBezTo>
                    <a:cubicBezTo>
                      <a:pt x="119" y="3"/>
                      <a:pt x="117" y="3"/>
                      <a:pt x="115" y="3"/>
                    </a:cubicBezTo>
                    <a:cubicBezTo>
                      <a:pt x="112" y="3"/>
                      <a:pt x="108" y="2"/>
                      <a:pt x="105" y="1"/>
                    </a:cubicBezTo>
                    <a:cubicBezTo>
                      <a:pt x="102" y="1"/>
                      <a:pt x="102" y="1"/>
                      <a:pt x="102" y="1"/>
                    </a:cubicBezTo>
                    <a:cubicBezTo>
                      <a:pt x="101" y="1"/>
                      <a:pt x="100" y="0"/>
                      <a:pt x="98" y="0"/>
                    </a:cubicBezTo>
                    <a:cubicBezTo>
                      <a:pt x="98" y="0"/>
                      <a:pt x="98" y="0"/>
                      <a:pt x="98" y="0"/>
                    </a:cubicBezTo>
                    <a:cubicBezTo>
                      <a:pt x="97" y="0"/>
                      <a:pt x="97" y="0"/>
                      <a:pt x="96" y="0"/>
                    </a:cubicBezTo>
                    <a:cubicBezTo>
                      <a:pt x="96" y="0"/>
                      <a:pt x="96" y="0"/>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 name="Freeform 172">
                <a:extLst>
                  <a:ext uri="{FF2B5EF4-FFF2-40B4-BE49-F238E27FC236}">
                    <a16:creationId xmlns:a16="http://schemas.microsoft.com/office/drawing/2014/main" id="{FE5ADCB4-E906-4D66-9A12-7D922C49E8B4}"/>
                  </a:ext>
                </a:extLst>
              </p:cNvPr>
              <p:cNvSpPr>
                <a:spLocks/>
              </p:cNvSpPr>
              <p:nvPr/>
            </p:nvSpPr>
            <p:spPr bwMode="auto">
              <a:xfrm>
                <a:off x="6260" y="1034"/>
                <a:ext cx="90" cy="83"/>
              </a:xfrm>
              <a:custGeom>
                <a:avLst/>
                <a:gdLst>
                  <a:gd name="T0" fmla="*/ 18 w 38"/>
                  <a:gd name="T1" fmla="*/ 0 h 35"/>
                  <a:gd name="T2" fmla="*/ 16 w 38"/>
                  <a:gd name="T3" fmla="*/ 0 h 35"/>
                  <a:gd name="T4" fmla="*/ 13 w 38"/>
                  <a:gd name="T5" fmla="*/ 1 h 35"/>
                  <a:gd name="T6" fmla="*/ 8 w 38"/>
                  <a:gd name="T7" fmla="*/ 8 h 35"/>
                  <a:gd name="T8" fmla="*/ 8 w 38"/>
                  <a:gd name="T9" fmla="*/ 9 h 35"/>
                  <a:gd name="T10" fmla="*/ 6 w 38"/>
                  <a:gd name="T11" fmla="*/ 11 h 35"/>
                  <a:gd name="T12" fmla="*/ 0 w 38"/>
                  <a:gd name="T13" fmla="*/ 21 h 35"/>
                  <a:gd name="T14" fmla="*/ 18 w 38"/>
                  <a:gd name="T15" fmla="*/ 26 h 35"/>
                  <a:gd name="T16" fmla="*/ 22 w 38"/>
                  <a:gd name="T17" fmla="*/ 31 h 35"/>
                  <a:gd name="T18" fmla="*/ 22 w 38"/>
                  <a:gd name="T19" fmla="*/ 32 h 35"/>
                  <a:gd name="T20" fmla="*/ 22 w 38"/>
                  <a:gd name="T21" fmla="*/ 32 h 35"/>
                  <a:gd name="T22" fmla="*/ 23 w 38"/>
                  <a:gd name="T23" fmla="*/ 33 h 35"/>
                  <a:gd name="T24" fmla="*/ 24 w 38"/>
                  <a:gd name="T25" fmla="*/ 34 h 35"/>
                  <a:gd name="T26" fmla="*/ 29 w 38"/>
                  <a:gd name="T27" fmla="*/ 35 h 35"/>
                  <a:gd name="T28" fmla="*/ 35 w 38"/>
                  <a:gd name="T29" fmla="*/ 35 h 35"/>
                  <a:gd name="T30" fmla="*/ 38 w 38"/>
                  <a:gd name="T31" fmla="*/ 35 h 35"/>
                  <a:gd name="T32" fmla="*/ 33 w 38"/>
                  <a:gd name="T33" fmla="*/ 22 h 35"/>
                  <a:gd name="T34" fmla="*/ 31 w 38"/>
                  <a:gd name="T35" fmla="*/ 18 h 35"/>
                  <a:gd name="T36" fmla="*/ 24 w 38"/>
                  <a:gd name="T37" fmla="*/ 16 h 35"/>
                  <a:gd name="T38" fmla="*/ 30 w 38"/>
                  <a:gd name="T39" fmla="*/ 9 h 35"/>
                  <a:gd name="T40" fmla="*/ 30 w 38"/>
                  <a:gd name="T41" fmla="*/ 9 h 35"/>
                  <a:gd name="T42" fmla="*/ 34 w 38"/>
                  <a:gd name="T43" fmla="*/ 11 h 35"/>
                  <a:gd name="T44" fmla="*/ 32 w 38"/>
                  <a:gd name="T45" fmla="*/ 7 h 35"/>
                  <a:gd name="T46" fmla="*/ 30 w 38"/>
                  <a:gd name="T47" fmla="*/ 3 h 35"/>
                  <a:gd name="T48" fmla="*/ 25 w 38"/>
                  <a:gd name="T49" fmla="*/ 1 h 35"/>
                  <a:gd name="T50" fmla="*/ 18 w 38"/>
                  <a:gd name="T5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5">
                    <a:moveTo>
                      <a:pt x="18" y="0"/>
                    </a:moveTo>
                    <a:cubicBezTo>
                      <a:pt x="18" y="0"/>
                      <a:pt x="17" y="0"/>
                      <a:pt x="16" y="0"/>
                    </a:cubicBezTo>
                    <a:cubicBezTo>
                      <a:pt x="15" y="0"/>
                      <a:pt x="14" y="1"/>
                      <a:pt x="13" y="1"/>
                    </a:cubicBezTo>
                    <a:cubicBezTo>
                      <a:pt x="11" y="3"/>
                      <a:pt x="9" y="6"/>
                      <a:pt x="8" y="8"/>
                    </a:cubicBezTo>
                    <a:cubicBezTo>
                      <a:pt x="8" y="9"/>
                      <a:pt x="8" y="9"/>
                      <a:pt x="8" y="9"/>
                    </a:cubicBezTo>
                    <a:cubicBezTo>
                      <a:pt x="7" y="10"/>
                      <a:pt x="7" y="10"/>
                      <a:pt x="6" y="11"/>
                    </a:cubicBezTo>
                    <a:cubicBezTo>
                      <a:pt x="4" y="14"/>
                      <a:pt x="2" y="18"/>
                      <a:pt x="0" y="21"/>
                    </a:cubicBezTo>
                    <a:cubicBezTo>
                      <a:pt x="18" y="26"/>
                      <a:pt x="18" y="26"/>
                      <a:pt x="18" y="26"/>
                    </a:cubicBezTo>
                    <a:cubicBezTo>
                      <a:pt x="21" y="26"/>
                      <a:pt x="22" y="30"/>
                      <a:pt x="22" y="31"/>
                    </a:cubicBezTo>
                    <a:cubicBezTo>
                      <a:pt x="22" y="31"/>
                      <a:pt x="22" y="32"/>
                      <a:pt x="22" y="32"/>
                    </a:cubicBezTo>
                    <a:cubicBezTo>
                      <a:pt x="22" y="32"/>
                      <a:pt x="22" y="32"/>
                      <a:pt x="22" y="32"/>
                    </a:cubicBezTo>
                    <a:cubicBezTo>
                      <a:pt x="23" y="33"/>
                      <a:pt x="23" y="33"/>
                      <a:pt x="23" y="33"/>
                    </a:cubicBezTo>
                    <a:cubicBezTo>
                      <a:pt x="23" y="33"/>
                      <a:pt x="23" y="34"/>
                      <a:pt x="24" y="34"/>
                    </a:cubicBezTo>
                    <a:cubicBezTo>
                      <a:pt x="25" y="35"/>
                      <a:pt x="27" y="35"/>
                      <a:pt x="29" y="35"/>
                    </a:cubicBezTo>
                    <a:cubicBezTo>
                      <a:pt x="31" y="35"/>
                      <a:pt x="33" y="35"/>
                      <a:pt x="35" y="35"/>
                    </a:cubicBezTo>
                    <a:cubicBezTo>
                      <a:pt x="36" y="35"/>
                      <a:pt x="37" y="35"/>
                      <a:pt x="38" y="35"/>
                    </a:cubicBezTo>
                    <a:cubicBezTo>
                      <a:pt x="36" y="30"/>
                      <a:pt x="35" y="26"/>
                      <a:pt x="33" y="22"/>
                    </a:cubicBezTo>
                    <a:cubicBezTo>
                      <a:pt x="32" y="21"/>
                      <a:pt x="32" y="19"/>
                      <a:pt x="31" y="18"/>
                    </a:cubicBezTo>
                    <a:cubicBezTo>
                      <a:pt x="29" y="16"/>
                      <a:pt x="26" y="16"/>
                      <a:pt x="24" y="16"/>
                    </a:cubicBezTo>
                    <a:cubicBezTo>
                      <a:pt x="25" y="14"/>
                      <a:pt x="27" y="10"/>
                      <a:pt x="30" y="9"/>
                    </a:cubicBezTo>
                    <a:cubicBezTo>
                      <a:pt x="30" y="9"/>
                      <a:pt x="30" y="9"/>
                      <a:pt x="30" y="9"/>
                    </a:cubicBezTo>
                    <a:cubicBezTo>
                      <a:pt x="30" y="9"/>
                      <a:pt x="32" y="11"/>
                      <a:pt x="34" y="11"/>
                    </a:cubicBezTo>
                    <a:cubicBezTo>
                      <a:pt x="33" y="10"/>
                      <a:pt x="32" y="8"/>
                      <a:pt x="32" y="7"/>
                    </a:cubicBezTo>
                    <a:cubicBezTo>
                      <a:pt x="31" y="7"/>
                      <a:pt x="30" y="5"/>
                      <a:pt x="30" y="3"/>
                    </a:cubicBezTo>
                    <a:cubicBezTo>
                      <a:pt x="25" y="1"/>
                      <a:pt x="25" y="1"/>
                      <a:pt x="25" y="1"/>
                    </a:cubicBezTo>
                    <a:cubicBezTo>
                      <a:pt x="22"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 name="Freeform 173">
                <a:extLst>
                  <a:ext uri="{FF2B5EF4-FFF2-40B4-BE49-F238E27FC236}">
                    <a16:creationId xmlns:a16="http://schemas.microsoft.com/office/drawing/2014/main" id="{937BA9E8-C7C8-4172-9D34-E3B05FE7640B}"/>
                  </a:ext>
                </a:extLst>
              </p:cNvPr>
              <p:cNvSpPr>
                <a:spLocks/>
              </p:cNvSpPr>
              <p:nvPr/>
            </p:nvSpPr>
            <p:spPr bwMode="auto">
              <a:xfrm>
                <a:off x="6334" y="1041"/>
                <a:ext cx="16" cy="17"/>
              </a:xfrm>
              <a:custGeom>
                <a:avLst/>
                <a:gdLst>
                  <a:gd name="T0" fmla="*/ 1 w 7"/>
                  <a:gd name="T1" fmla="*/ 0 h 7"/>
                  <a:gd name="T2" fmla="*/ 0 w 7"/>
                  <a:gd name="T3" fmla="*/ 2 h 7"/>
                  <a:gd name="T4" fmla="*/ 4 w 7"/>
                  <a:gd name="T5" fmla="*/ 7 h 7"/>
                  <a:gd name="T6" fmla="*/ 7 w 7"/>
                  <a:gd name="T7" fmla="*/ 3 h 7"/>
                  <a:gd name="T8" fmla="*/ 3 w 7"/>
                  <a:gd name="T9" fmla="*/ 2 h 7"/>
                  <a:gd name="T10" fmla="*/ 3 w 7"/>
                  <a:gd name="T11" fmla="*/ 1 h 7"/>
                  <a:gd name="T12" fmla="*/ 1 w 7"/>
                  <a:gd name="T13" fmla="*/ 2 h 7"/>
                  <a:gd name="T14" fmla="*/ 2 w 7"/>
                  <a:gd name="T15" fmla="*/ 1 h 7"/>
                  <a:gd name="T16" fmla="*/ 1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1" y="0"/>
                    </a:moveTo>
                    <a:cubicBezTo>
                      <a:pt x="0" y="1"/>
                      <a:pt x="0" y="2"/>
                      <a:pt x="0" y="2"/>
                    </a:cubicBezTo>
                    <a:cubicBezTo>
                      <a:pt x="0" y="4"/>
                      <a:pt x="2" y="6"/>
                      <a:pt x="4" y="7"/>
                    </a:cubicBezTo>
                    <a:cubicBezTo>
                      <a:pt x="6" y="6"/>
                      <a:pt x="7" y="5"/>
                      <a:pt x="7" y="3"/>
                    </a:cubicBezTo>
                    <a:cubicBezTo>
                      <a:pt x="3" y="2"/>
                      <a:pt x="3" y="2"/>
                      <a:pt x="3" y="2"/>
                    </a:cubicBezTo>
                    <a:cubicBezTo>
                      <a:pt x="3" y="1"/>
                      <a:pt x="3" y="1"/>
                      <a:pt x="3" y="1"/>
                    </a:cubicBezTo>
                    <a:cubicBezTo>
                      <a:pt x="1" y="2"/>
                      <a:pt x="1" y="2"/>
                      <a:pt x="1" y="2"/>
                    </a:cubicBezTo>
                    <a:cubicBezTo>
                      <a:pt x="2" y="1"/>
                      <a:pt x="2" y="1"/>
                      <a:pt x="2" y="1"/>
                    </a:cubicBezTo>
                    <a:cubicBezTo>
                      <a:pt x="2"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 name="Freeform 174">
                <a:extLst>
                  <a:ext uri="{FF2B5EF4-FFF2-40B4-BE49-F238E27FC236}">
                    <a16:creationId xmlns:a16="http://schemas.microsoft.com/office/drawing/2014/main" id="{C84B7C7C-9130-4A5E-BEEB-9F105B9B6E80}"/>
                  </a:ext>
                </a:extLst>
              </p:cNvPr>
              <p:cNvSpPr>
                <a:spLocks/>
              </p:cNvSpPr>
              <p:nvPr/>
            </p:nvSpPr>
            <p:spPr bwMode="auto">
              <a:xfrm>
                <a:off x="5648" y="590"/>
                <a:ext cx="362" cy="295"/>
              </a:xfrm>
              <a:custGeom>
                <a:avLst/>
                <a:gdLst>
                  <a:gd name="T0" fmla="*/ 147 w 153"/>
                  <a:gd name="T1" fmla="*/ 1 h 125"/>
                  <a:gd name="T2" fmla="*/ 121 w 153"/>
                  <a:gd name="T3" fmla="*/ 3 h 125"/>
                  <a:gd name="T4" fmla="*/ 112 w 153"/>
                  <a:gd name="T5" fmla="*/ 6 h 125"/>
                  <a:gd name="T6" fmla="*/ 107 w 153"/>
                  <a:gd name="T7" fmla="*/ 9 h 125"/>
                  <a:gd name="T8" fmla="*/ 88 w 153"/>
                  <a:gd name="T9" fmla="*/ 14 h 125"/>
                  <a:gd name="T10" fmla="*/ 87 w 153"/>
                  <a:gd name="T11" fmla="*/ 15 h 125"/>
                  <a:gd name="T12" fmla="*/ 70 w 153"/>
                  <a:gd name="T13" fmla="*/ 13 h 125"/>
                  <a:gd name="T14" fmla="*/ 67 w 153"/>
                  <a:gd name="T15" fmla="*/ 12 h 125"/>
                  <a:gd name="T16" fmla="*/ 65 w 153"/>
                  <a:gd name="T17" fmla="*/ 11 h 125"/>
                  <a:gd name="T18" fmla="*/ 59 w 153"/>
                  <a:gd name="T19" fmla="*/ 9 h 125"/>
                  <a:gd name="T20" fmla="*/ 55 w 153"/>
                  <a:gd name="T21" fmla="*/ 11 h 125"/>
                  <a:gd name="T22" fmla="*/ 37 w 153"/>
                  <a:gd name="T23" fmla="*/ 16 h 125"/>
                  <a:gd name="T24" fmla="*/ 28 w 153"/>
                  <a:gd name="T25" fmla="*/ 15 h 125"/>
                  <a:gd name="T26" fmla="*/ 22 w 153"/>
                  <a:gd name="T27" fmla="*/ 18 h 125"/>
                  <a:gd name="T28" fmla="*/ 30 w 153"/>
                  <a:gd name="T29" fmla="*/ 21 h 125"/>
                  <a:gd name="T30" fmla="*/ 22 w 153"/>
                  <a:gd name="T31" fmla="*/ 25 h 125"/>
                  <a:gd name="T32" fmla="*/ 19 w 153"/>
                  <a:gd name="T33" fmla="*/ 27 h 125"/>
                  <a:gd name="T34" fmla="*/ 18 w 153"/>
                  <a:gd name="T35" fmla="*/ 28 h 125"/>
                  <a:gd name="T36" fmla="*/ 15 w 153"/>
                  <a:gd name="T37" fmla="*/ 33 h 125"/>
                  <a:gd name="T38" fmla="*/ 13 w 153"/>
                  <a:gd name="T39" fmla="*/ 34 h 125"/>
                  <a:gd name="T40" fmla="*/ 13 w 153"/>
                  <a:gd name="T41" fmla="*/ 36 h 125"/>
                  <a:gd name="T42" fmla="*/ 9 w 153"/>
                  <a:gd name="T43" fmla="*/ 38 h 125"/>
                  <a:gd name="T44" fmla="*/ 1 w 153"/>
                  <a:gd name="T45" fmla="*/ 38 h 125"/>
                  <a:gd name="T46" fmla="*/ 4 w 153"/>
                  <a:gd name="T47" fmla="*/ 47 h 125"/>
                  <a:gd name="T48" fmla="*/ 5 w 153"/>
                  <a:gd name="T49" fmla="*/ 64 h 125"/>
                  <a:gd name="T50" fmla="*/ 9 w 153"/>
                  <a:gd name="T51" fmla="*/ 64 h 125"/>
                  <a:gd name="T52" fmla="*/ 13 w 153"/>
                  <a:gd name="T53" fmla="*/ 64 h 125"/>
                  <a:gd name="T54" fmla="*/ 17 w 153"/>
                  <a:gd name="T55" fmla="*/ 64 h 125"/>
                  <a:gd name="T56" fmla="*/ 19 w 153"/>
                  <a:gd name="T57" fmla="*/ 69 h 125"/>
                  <a:gd name="T58" fmla="*/ 22 w 153"/>
                  <a:gd name="T59" fmla="*/ 74 h 125"/>
                  <a:gd name="T60" fmla="*/ 21 w 153"/>
                  <a:gd name="T61" fmla="*/ 82 h 125"/>
                  <a:gd name="T62" fmla="*/ 36 w 153"/>
                  <a:gd name="T63" fmla="*/ 104 h 125"/>
                  <a:gd name="T64" fmla="*/ 12 w 153"/>
                  <a:gd name="T65" fmla="*/ 90 h 125"/>
                  <a:gd name="T66" fmla="*/ 9 w 153"/>
                  <a:gd name="T67" fmla="*/ 92 h 125"/>
                  <a:gd name="T68" fmla="*/ 10 w 153"/>
                  <a:gd name="T69" fmla="*/ 95 h 125"/>
                  <a:gd name="T70" fmla="*/ 9 w 153"/>
                  <a:gd name="T71" fmla="*/ 97 h 125"/>
                  <a:gd name="T72" fmla="*/ 4 w 153"/>
                  <a:gd name="T73" fmla="*/ 102 h 125"/>
                  <a:gd name="T74" fmla="*/ 2 w 153"/>
                  <a:gd name="T75" fmla="*/ 103 h 125"/>
                  <a:gd name="T76" fmla="*/ 1 w 153"/>
                  <a:gd name="T77" fmla="*/ 108 h 125"/>
                  <a:gd name="T78" fmla="*/ 1 w 153"/>
                  <a:gd name="T79" fmla="*/ 114 h 125"/>
                  <a:gd name="T80" fmla="*/ 3 w 153"/>
                  <a:gd name="T81" fmla="*/ 115 h 125"/>
                  <a:gd name="T82" fmla="*/ 6 w 153"/>
                  <a:gd name="T83" fmla="*/ 117 h 125"/>
                  <a:gd name="T84" fmla="*/ 10 w 153"/>
                  <a:gd name="T85" fmla="*/ 120 h 125"/>
                  <a:gd name="T86" fmla="*/ 28 w 153"/>
                  <a:gd name="T87" fmla="*/ 123 h 125"/>
                  <a:gd name="T88" fmla="*/ 71 w 153"/>
                  <a:gd name="T89" fmla="*/ 98 h 125"/>
                  <a:gd name="T90" fmla="*/ 73 w 153"/>
                  <a:gd name="T91" fmla="*/ 97 h 125"/>
                  <a:gd name="T92" fmla="*/ 91 w 153"/>
                  <a:gd name="T93" fmla="*/ 86 h 125"/>
                  <a:gd name="T94" fmla="*/ 105 w 153"/>
                  <a:gd name="T95" fmla="*/ 78 h 125"/>
                  <a:gd name="T96" fmla="*/ 116 w 153"/>
                  <a:gd name="T97" fmla="*/ 72 h 125"/>
                  <a:gd name="T98" fmla="*/ 119 w 153"/>
                  <a:gd name="T99" fmla="*/ 71 h 125"/>
                  <a:gd name="T100" fmla="*/ 126 w 153"/>
                  <a:gd name="T101" fmla="*/ 63 h 125"/>
                  <a:gd name="T102" fmla="*/ 126 w 153"/>
                  <a:gd name="T103" fmla="*/ 59 h 125"/>
                  <a:gd name="T104" fmla="*/ 127 w 153"/>
                  <a:gd name="T105" fmla="*/ 47 h 125"/>
                  <a:gd name="T106" fmla="*/ 129 w 153"/>
                  <a:gd name="T107" fmla="*/ 42 h 125"/>
                  <a:gd name="T108" fmla="*/ 128 w 153"/>
                  <a:gd name="T109" fmla="*/ 35 h 125"/>
                  <a:gd name="T110" fmla="*/ 130 w 153"/>
                  <a:gd name="T111" fmla="*/ 16 h 125"/>
                  <a:gd name="T112" fmla="*/ 138 w 153"/>
                  <a:gd name="T113" fmla="*/ 12 h 125"/>
                  <a:gd name="T114" fmla="*/ 140 w 153"/>
                  <a:gd name="T115" fmla="*/ 12 h 125"/>
                  <a:gd name="T116" fmla="*/ 142 w 153"/>
                  <a:gd name="T117" fmla="*/ 11 h 125"/>
                  <a:gd name="T118" fmla="*/ 153 w 153"/>
                  <a:gd name="T119" fmla="*/ 1 h 125"/>
                  <a:gd name="T120" fmla="*/ 153 w 153"/>
                  <a:gd name="T12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25">
                    <a:moveTo>
                      <a:pt x="153" y="0"/>
                    </a:moveTo>
                    <a:cubicBezTo>
                      <a:pt x="151" y="0"/>
                      <a:pt x="149" y="1"/>
                      <a:pt x="147" y="1"/>
                    </a:cubicBezTo>
                    <a:cubicBezTo>
                      <a:pt x="140" y="3"/>
                      <a:pt x="133" y="3"/>
                      <a:pt x="125" y="3"/>
                    </a:cubicBezTo>
                    <a:cubicBezTo>
                      <a:pt x="124" y="3"/>
                      <a:pt x="122" y="3"/>
                      <a:pt x="121" y="3"/>
                    </a:cubicBezTo>
                    <a:cubicBezTo>
                      <a:pt x="121" y="3"/>
                      <a:pt x="121" y="3"/>
                      <a:pt x="121" y="3"/>
                    </a:cubicBezTo>
                    <a:cubicBezTo>
                      <a:pt x="118" y="3"/>
                      <a:pt x="115" y="5"/>
                      <a:pt x="112" y="6"/>
                    </a:cubicBezTo>
                    <a:cubicBezTo>
                      <a:pt x="111" y="7"/>
                      <a:pt x="110" y="7"/>
                      <a:pt x="109" y="8"/>
                    </a:cubicBezTo>
                    <a:cubicBezTo>
                      <a:pt x="108" y="8"/>
                      <a:pt x="107" y="8"/>
                      <a:pt x="107" y="9"/>
                    </a:cubicBezTo>
                    <a:cubicBezTo>
                      <a:pt x="102" y="10"/>
                      <a:pt x="102" y="10"/>
                      <a:pt x="102" y="10"/>
                    </a:cubicBezTo>
                    <a:cubicBezTo>
                      <a:pt x="98" y="12"/>
                      <a:pt x="93" y="13"/>
                      <a:pt x="88" y="14"/>
                    </a:cubicBezTo>
                    <a:cubicBezTo>
                      <a:pt x="88" y="14"/>
                      <a:pt x="87" y="14"/>
                      <a:pt x="87" y="14"/>
                    </a:cubicBezTo>
                    <a:cubicBezTo>
                      <a:pt x="87" y="15"/>
                      <a:pt x="87" y="15"/>
                      <a:pt x="87" y="15"/>
                    </a:cubicBezTo>
                    <a:cubicBezTo>
                      <a:pt x="86" y="15"/>
                      <a:pt x="85" y="15"/>
                      <a:pt x="84" y="15"/>
                    </a:cubicBezTo>
                    <a:cubicBezTo>
                      <a:pt x="79" y="15"/>
                      <a:pt x="75" y="14"/>
                      <a:pt x="70" y="13"/>
                    </a:cubicBezTo>
                    <a:cubicBezTo>
                      <a:pt x="69" y="13"/>
                      <a:pt x="69" y="13"/>
                      <a:pt x="69" y="13"/>
                    </a:cubicBezTo>
                    <a:cubicBezTo>
                      <a:pt x="68" y="13"/>
                      <a:pt x="68" y="12"/>
                      <a:pt x="67" y="12"/>
                    </a:cubicBezTo>
                    <a:cubicBezTo>
                      <a:pt x="67" y="12"/>
                      <a:pt x="67" y="12"/>
                      <a:pt x="67" y="12"/>
                    </a:cubicBezTo>
                    <a:cubicBezTo>
                      <a:pt x="66" y="11"/>
                      <a:pt x="66" y="11"/>
                      <a:pt x="65" y="11"/>
                    </a:cubicBezTo>
                    <a:cubicBezTo>
                      <a:pt x="61" y="10"/>
                      <a:pt x="61" y="10"/>
                      <a:pt x="61" y="10"/>
                    </a:cubicBezTo>
                    <a:cubicBezTo>
                      <a:pt x="60" y="9"/>
                      <a:pt x="59" y="9"/>
                      <a:pt x="59" y="9"/>
                    </a:cubicBezTo>
                    <a:cubicBezTo>
                      <a:pt x="58" y="9"/>
                      <a:pt x="58" y="9"/>
                      <a:pt x="56" y="10"/>
                    </a:cubicBezTo>
                    <a:cubicBezTo>
                      <a:pt x="55" y="11"/>
                      <a:pt x="55" y="11"/>
                      <a:pt x="55" y="11"/>
                    </a:cubicBezTo>
                    <a:cubicBezTo>
                      <a:pt x="48" y="14"/>
                      <a:pt x="43" y="15"/>
                      <a:pt x="38" y="16"/>
                    </a:cubicBezTo>
                    <a:cubicBezTo>
                      <a:pt x="37" y="16"/>
                      <a:pt x="37" y="16"/>
                      <a:pt x="37" y="16"/>
                    </a:cubicBezTo>
                    <a:cubicBezTo>
                      <a:pt x="36" y="16"/>
                      <a:pt x="34" y="16"/>
                      <a:pt x="33" y="16"/>
                    </a:cubicBezTo>
                    <a:cubicBezTo>
                      <a:pt x="31" y="16"/>
                      <a:pt x="30" y="16"/>
                      <a:pt x="28" y="15"/>
                    </a:cubicBezTo>
                    <a:cubicBezTo>
                      <a:pt x="23" y="12"/>
                      <a:pt x="23" y="12"/>
                      <a:pt x="23" y="12"/>
                    </a:cubicBezTo>
                    <a:cubicBezTo>
                      <a:pt x="23" y="14"/>
                      <a:pt x="22" y="16"/>
                      <a:pt x="22" y="18"/>
                    </a:cubicBezTo>
                    <a:cubicBezTo>
                      <a:pt x="22" y="19"/>
                      <a:pt x="23" y="19"/>
                      <a:pt x="23" y="19"/>
                    </a:cubicBezTo>
                    <a:cubicBezTo>
                      <a:pt x="30" y="21"/>
                      <a:pt x="30" y="21"/>
                      <a:pt x="30" y="21"/>
                    </a:cubicBezTo>
                    <a:cubicBezTo>
                      <a:pt x="23" y="25"/>
                      <a:pt x="23" y="25"/>
                      <a:pt x="23" y="25"/>
                    </a:cubicBezTo>
                    <a:cubicBezTo>
                      <a:pt x="23" y="25"/>
                      <a:pt x="22" y="25"/>
                      <a:pt x="22" y="25"/>
                    </a:cubicBezTo>
                    <a:cubicBezTo>
                      <a:pt x="21" y="26"/>
                      <a:pt x="21" y="26"/>
                      <a:pt x="21" y="26"/>
                    </a:cubicBezTo>
                    <a:cubicBezTo>
                      <a:pt x="20" y="26"/>
                      <a:pt x="19" y="26"/>
                      <a:pt x="19" y="27"/>
                    </a:cubicBezTo>
                    <a:cubicBezTo>
                      <a:pt x="18" y="27"/>
                      <a:pt x="18" y="27"/>
                      <a:pt x="18" y="27"/>
                    </a:cubicBezTo>
                    <a:cubicBezTo>
                      <a:pt x="18" y="27"/>
                      <a:pt x="18" y="27"/>
                      <a:pt x="18" y="28"/>
                    </a:cubicBezTo>
                    <a:cubicBezTo>
                      <a:pt x="18" y="28"/>
                      <a:pt x="18" y="28"/>
                      <a:pt x="18" y="28"/>
                    </a:cubicBezTo>
                    <a:cubicBezTo>
                      <a:pt x="18" y="31"/>
                      <a:pt x="16" y="32"/>
                      <a:pt x="15" y="33"/>
                    </a:cubicBezTo>
                    <a:cubicBezTo>
                      <a:pt x="14" y="33"/>
                      <a:pt x="14" y="33"/>
                      <a:pt x="14" y="34"/>
                    </a:cubicBezTo>
                    <a:cubicBezTo>
                      <a:pt x="13" y="34"/>
                      <a:pt x="13" y="34"/>
                      <a:pt x="13" y="34"/>
                    </a:cubicBezTo>
                    <a:cubicBezTo>
                      <a:pt x="13" y="35"/>
                      <a:pt x="13" y="35"/>
                      <a:pt x="13" y="35"/>
                    </a:cubicBezTo>
                    <a:cubicBezTo>
                      <a:pt x="13" y="36"/>
                      <a:pt x="13" y="36"/>
                      <a:pt x="13" y="36"/>
                    </a:cubicBezTo>
                    <a:cubicBezTo>
                      <a:pt x="12" y="39"/>
                      <a:pt x="12" y="39"/>
                      <a:pt x="12" y="39"/>
                    </a:cubicBezTo>
                    <a:cubicBezTo>
                      <a:pt x="9" y="38"/>
                      <a:pt x="9" y="38"/>
                      <a:pt x="9" y="38"/>
                    </a:cubicBezTo>
                    <a:cubicBezTo>
                      <a:pt x="7" y="37"/>
                      <a:pt x="4" y="36"/>
                      <a:pt x="2" y="35"/>
                    </a:cubicBezTo>
                    <a:cubicBezTo>
                      <a:pt x="2" y="36"/>
                      <a:pt x="1" y="37"/>
                      <a:pt x="1" y="38"/>
                    </a:cubicBezTo>
                    <a:cubicBezTo>
                      <a:pt x="1" y="39"/>
                      <a:pt x="1" y="41"/>
                      <a:pt x="0" y="42"/>
                    </a:cubicBezTo>
                    <a:cubicBezTo>
                      <a:pt x="2" y="44"/>
                      <a:pt x="4" y="45"/>
                      <a:pt x="4" y="47"/>
                    </a:cubicBezTo>
                    <a:cubicBezTo>
                      <a:pt x="5" y="51"/>
                      <a:pt x="4" y="54"/>
                      <a:pt x="4" y="57"/>
                    </a:cubicBezTo>
                    <a:cubicBezTo>
                      <a:pt x="4" y="60"/>
                      <a:pt x="5" y="62"/>
                      <a:pt x="5" y="64"/>
                    </a:cubicBezTo>
                    <a:cubicBezTo>
                      <a:pt x="6" y="64"/>
                      <a:pt x="6" y="64"/>
                      <a:pt x="6" y="64"/>
                    </a:cubicBezTo>
                    <a:cubicBezTo>
                      <a:pt x="7" y="64"/>
                      <a:pt x="8" y="64"/>
                      <a:pt x="9" y="64"/>
                    </a:cubicBezTo>
                    <a:cubicBezTo>
                      <a:pt x="10" y="64"/>
                      <a:pt x="10" y="64"/>
                      <a:pt x="11" y="64"/>
                    </a:cubicBezTo>
                    <a:cubicBezTo>
                      <a:pt x="12" y="64"/>
                      <a:pt x="12" y="64"/>
                      <a:pt x="13" y="64"/>
                    </a:cubicBezTo>
                    <a:cubicBezTo>
                      <a:pt x="14" y="64"/>
                      <a:pt x="14" y="64"/>
                      <a:pt x="14" y="64"/>
                    </a:cubicBezTo>
                    <a:cubicBezTo>
                      <a:pt x="15" y="64"/>
                      <a:pt x="16" y="64"/>
                      <a:pt x="17" y="64"/>
                    </a:cubicBezTo>
                    <a:cubicBezTo>
                      <a:pt x="23" y="64"/>
                      <a:pt x="23" y="64"/>
                      <a:pt x="23" y="64"/>
                    </a:cubicBezTo>
                    <a:cubicBezTo>
                      <a:pt x="19" y="69"/>
                      <a:pt x="19" y="69"/>
                      <a:pt x="19" y="69"/>
                    </a:cubicBezTo>
                    <a:cubicBezTo>
                      <a:pt x="20" y="70"/>
                      <a:pt x="21" y="71"/>
                      <a:pt x="22" y="73"/>
                    </a:cubicBezTo>
                    <a:cubicBezTo>
                      <a:pt x="22" y="74"/>
                      <a:pt x="22" y="74"/>
                      <a:pt x="22" y="74"/>
                    </a:cubicBezTo>
                    <a:cubicBezTo>
                      <a:pt x="23" y="75"/>
                      <a:pt x="25" y="78"/>
                      <a:pt x="22" y="81"/>
                    </a:cubicBezTo>
                    <a:cubicBezTo>
                      <a:pt x="22" y="81"/>
                      <a:pt x="21" y="82"/>
                      <a:pt x="21" y="82"/>
                    </a:cubicBezTo>
                    <a:cubicBezTo>
                      <a:pt x="18" y="84"/>
                      <a:pt x="17" y="85"/>
                      <a:pt x="17" y="86"/>
                    </a:cubicBezTo>
                    <a:cubicBezTo>
                      <a:pt x="36" y="104"/>
                      <a:pt x="36" y="104"/>
                      <a:pt x="36" y="104"/>
                    </a:cubicBezTo>
                    <a:cubicBezTo>
                      <a:pt x="13" y="91"/>
                      <a:pt x="13" y="91"/>
                      <a:pt x="13" y="91"/>
                    </a:cubicBezTo>
                    <a:cubicBezTo>
                      <a:pt x="13" y="90"/>
                      <a:pt x="12" y="90"/>
                      <a:pt x="12" y="90"/>
                    </a:cubicBezTo>
                    <a:cubicBezTo>
                      <a:pt x="11" y="90"/>
                      <a:pt x="11" y="90"/>
                      <a:pt x="10" y="91"/>
                    </a:cubicBezTo>
                    <a:cubicBezTo>
                      <a:pt x="9" y="91"/>
                      <a:pt x="9" y="91"/>
                      <a:pt x="9" y="92"/>
                    </a:cubicBezTo>
                    <a:cubicBezTo>
                      <a:pt x="9" y="92"/>
                      <a:pt x="9" y="92"/>
                      <a:pt x="9" y="92"/>
                    </a:cubicBezTo>
                    <a:cubicBezTo>
                      <a:pt x="9" y="92"/>
                      <a:pt x="10" y="94"/>
                      <a:pt x="10" y="95"/>
                    </a:cubicBezTo>
                    <a:cubicBezTo>
                      <a:pt x="10" y="96"/>
                      <a:pt x="10" y="96"/>
                      <a:pt x="10" y="96"/>
                    </a:cubicBezTo>
                    <a:cubicBezTo>
                      <a:pt x="9" y="97"/>
                      <a:pt x="9" y="97"/>
                      <a:pt x="9" y="97"/>
                    </a:cubicBezTo>
                    <a:cubicBezTo>
                      <a:pt x="8" y="98"/>
                      <a:pt x="8" y="98"/>
                      <a:pt x="8" y="98"/>
                    </a:cubicBezTo>
                    <a:cubicBezTo>
                      <a:pt x="7" y="99"/>
                      <a:pt x="6" y="101"/>
                      <a:pt x="4" y="102"/>
                    </a:cubicBezTo>
                    <a:cubicBezTo>
                      <a:pt x="4" y="102"/>
                      <a:pt x="3" y="103"/>
                      <a:pt x="2" y="103"/>
                    </a:cubicBezTo>
                    <a:cubicBezTo>
                      <a:pt x="2" y="103"/>
                      <a:pt x="2" y="103"/>
                      <a:pt x="2" y="103"/>
                    </a:cubicBezTo>
                    <a:cubicBezTo>
                      <a:pt x="1" y="104"/>
                      <a:pt x="1" y="104"/>
                      <a:pt x="1" y="104"/>
                    </a:cubicBezTo>
                    <a:cubicBezTo>
                      <a:pt x="1" y="105"/>
                      <a:pt x="1" y="107"/>
                      <a:pt x="1" y="108"/>
                    </a:cubicBezTo>
                    <a:cubicBezTo>
                      <a:pt x="1" y="109"/>
                      <a:pt x="1" y="110"/>
                      <a:pt x="1" y="111"/>
                    </a:cubicBezTo>
                    <a:cubicBezTo>
                      <a:pt x="1" y="112"/>
                      <a:pt x="1" y="113"/>
                      <a:pt x="1" y="114"/>
                    </a:cubicBezTo>
                    <a:cubicBezTo>
                      <a:pt x="1" y="115"/>
                      <a:pt x="1" y="115"/>
                      <a:pt x="1" y="115"/>
                    </a:cubicBezTo>
                    <a:cubicBezTo>
                      <a:pt x="2" y="115"/>
                      <a:pt x="2" y="115"/>
                      <a:pt x="3" y="115"/>
                    </a:cubicBezTo>
                    <a:cubicBezTo>
                      <a:pt x="4" y="116"/>
                      <a:pt x="4" y="116"/>
                      <a:pt x="4" y="116"/>
                    </a:cubicBezTo>
                    <a:cubicBezTo>
                      <a:pt x="4" y="116"/>
                      <a:pt x="5" y="117"/>
                      <a:pt x="6" y="117"/>
                    </a:cubicBezTo>
                    <a:cubicBezTo>
                      <a:pt x="7" y="118"/>
                      <a:pt x="7" y="118"/>
                      <a:pt x="7" y="118"/>
                    </a:cubicBezTo>
                    <a:cubicBezTo>
                      <a:pt x="8" y="118"/>
                      <a:pt x="9" y="119"/>
                      <a:pt x="10" y="120"/>
                    </a:cubicBezTo>
                    <a:cubicBezTo>
                      <a:pt x="18" y="124"/>
                      <a:pt x="22" y="125"/>
                      <a:pt x="24" y="125"/>
                    </a:cubicBezTo>
                    <a:cubicBezTo>
                      <a:pt x="26" y="125"/>
                      <a:pt x="27" y="124"/>
                      <a:pt x="28" y="123"/>
                    </a:cubicBezTo>
                    <a:cubicBezTo>
                      <a:pt x="29" y="123"/>
                      <a:pt x="30" y="122"/>
                      <a:pt x="31" y="121"/>
                    </a:cubicBezTo>
                    <a:cubicBezTo>
                      <a:pt x="39" y="116"/>
                      <a:pt x="61" y="103"/>
                      <a:pt x="71" y="98"/>
                    </a:cubicBezTo>
                    <a:cubicBezTo>
                      <a:pt x="72" y="96"/>
                      <a:pt x="72" y="96"/>
                      <a:pt x="72" y="96"/>
                    </a:cubicBezTo>
                    <a:cubicBezTo>
                      <a:pt x="73" y="97"/>
                      <a:pt x="73" y="97"/>
                      <a:pt x="73" y="97"/>
                    </a:cubicBezTo>
                    <a:cubicBezTo>
                      <a:pt x="76" y="95"/>
                      <a:pt x="76" y="95"/>
                      <a:pt x="76" y="95"/>
                    </a:cubicBezTo>
                    <a:cubicBezTo>
                      <a:pt x="81" y="92"/>
                      <a:pt x="86" y="89"/>
                      <a:pt x="91" y="86"/>
                    </a:cubicBezTo>
                    <a:cubicBezTo>
                      <a:pt x="105" y="78"/>
                      <a:pt x="105" y="78"/>
                      <a:pt x="105" y="78"/>
                    </a:cubicBezTo>
                    <a:cubicBezTo>
                      <a:pt x="105" y="78"/>
                      <a:pt x="105" y="78"/>
                      <a:pt x="105" y="78"/>
                    </a:cubicBezTo>
                    <a:cubicBezTo>
                      <a:pt x="112" y="74"/>
                      <a:pt x="112" y="74"/>
                      <a:pt x="112" y="74"/>
                    </a:cubicBezTo>
                    <a:cubicBezTo>
                      <a:pt x="113" y="73"/>
                      <a:pt x="115" y="73"/>
                      <a:pt x="116" y="72"/>
                    </a:cubicBezTo>
                    <a:cubicBezTo>
                      <a:pt x="117" y="72"/>
                      <a:pt x="118" y="72"/>
                      <a:pt x="119" y="71"/>
                    </a:cubicBezTo>
                    <a:cubicBezTo>
                      <a:pt x="119" y="71"/>
                      <a:pt x="119" y="71"/>
                      <a:pt x="119" y="71"/>
                    </a:cubicBezTo>
                    <a:cubicBezTo>
                      <a:pt x="120" y="71"/>
                      <a:pt x="122" y="70"/>
                      <a:pt x="122" y="70"/>
                    </a:cubicBezTo>
                    <a:cubicBezTo>
                      <a:pt x="123" y="68"/>
                      <a:pt x="125" y="66"/>
                      <a:pt x="126" y="63"/>
                    </a:cubicBezTo>
                    <a:cubicBezTo>
                      <a:pt x="126" y="62"/>
                      <a:pt x="126" y="61"/>
                      <a:pt x="126" y="60"/>
                    </a:cubicBezTo>
                    <a:cubicBezTo>
                      <a:pt x="126" y="59"/>
                      <a:pt x="126" y="59"/>
                      <a:pt x="126" y="59"/>
                    </a:cubicBezTo>
                    <a:cubicBezTo>
                      <a:pt x="126" y="58"/>
                      <a:pt x="126" y="57"/>
                      <a:pt x="126" y="55"/>
                    </a:cubicBezTo>
                    <a:cubicBezTo>
                      <a:pt x="126" y="52"/>
                      <a:pt x="127" y="49"/>
                      <a:pt x="127" y="47"/>
                    </a:cubicBezTo>
                    <a:cubicBezTo>
                      <a:pt x="128" y="46"/>
                      <a:pt x="128" y="46"/>
                      <a:pt x="128" y="46"/>
                    </a:cubicBezTo>
                    <a:cubicBezTo>
                      <a:pt x="128" y="45"/>
                      <a:pt x="129" y="43"/>
                      <a:pt x="129" y="42"/>
                    </a:cubicBezTo>
                    <a:cubicBezTo>
                      <a:pt x="129" y="40"/>
                      <a:pt x="129" y="38"/>
                      <a:pt x="128" y="36"/>
                    </a:cubicBezTo>
                    <a:cubicBezTo>
                      <a:pt x="128" y="35"/>
                      <a:pt x="128" y="35"/>
                      <a:pt x="128" y="35"/>
                    </a:cubicBezTo>
                    <a:cubicBezTo>
                      <a:pt x="128" y="30"/>
                      <a:pt x="127" y="24"/>
                      <a:pt x="129" y="19"/>
                    </a:cubicBezTo>
                    <a:cubicBezTo>
                      <a:pt x="130" y="18"/>
                      <a:pt x="130" y="17"/>
                      <a:pt x="130" y="16"/>
                    </a:cubicBezTo>
                    <a:cubicBezTo>
                      <a:pt x="132" y="14"/>
                      <a:pt x="134" y="13"/>
                      <a:pt x="137" y="13"/>
                    </a:cubicBezTo>
                    <a:cubicBezTo>
                      <a:pt x="138" y="12"/>
                      <a:pt x="138" y="12"/>
                      <a:pt x="138" y="12"/>
                    </a:cubicBezTo>
                    <a:cubicBezTo>
                      <a:pt x="138" y="10"/>
                      <a:pt x="138" y="10"/>
                      <a:pt x="138" y="10"/>
                    </a:cubicBezTo>
                    <a:cubicBezTo>
                      <a:pt x="140" y="12"/>
                      <a:pt x="140" y="12"/>
                      <a:pt x="140" y="12"/>
                    </a:cubicBezTo>
                    <a:cubicBezTo>
                      <a:pt x="141" y="12"/>
                      <a:pt x="141" y="12"/>
                      <a:pt x="141" y="12"/>
                    </a:cubicBezTo>
                    <a:cubicBezTo>
                      <a:pt x="141" y="12"/>
                      <a:pt x="142" y="12"/>
                      <a:pt x="142" y="11"/>
                    </a:cubicBezTo>
                    <a:cubicBezTo>
                      <a:pt x="145" y="8"/>
                      <a:pt x="148" y="5"/>
                      <a:pt x="151" y="3"/>
                    </a:cubicBezTo>
                    <a:cubicBezTo>
                      <a:pt x="153" y="1"/>
                      <a:pt x="153" y="1"/>
                      <a:pt x="153" y="1"/>
                    </a:cubicBezTo>
                    <a:cubicBezTo>
                      <a:pt x="153" y="0"/>
                      <a:pt x="153" y="0"/>
                      <a:pt x="153" y="0"/>
                    </a:cubicBezTo>
                    <a:cubicBezTo>
                      <a:pt x="153" y="0"/>
                      <a:pt x="153" y="0"/>
                      <a:pt x="1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 name="Freeform 175">
                <a:extLst>
                  <a:ext uri="{FF2B5EF4-FFF2-40B4-BE49-F238E27FC236}">
                    <a16:creationId xmlns:a16="http://schemas.microsoft.com/office/drawing/2014/main" id="{58CEF637-3F3F-4F35-8236-93C5B909445D}"/>
                  </a:ext>
                </a:extLst>
              </p:cNvPr>
              <p:cNvSpPr>
                <a:spLocks/>
              </p:cNvSpPr>
              <p:nvPr/>
            </p:nvSpPr>
            <p:spPr bwMode="auto">
              <a:xfrm>
                <a:off x="5625" y="878"/>
                <a:ext cx="9" cy="5"/>
              </a:xfrm>
              <a:custGeom>
                <a:avLst/>
                <a:gdLst>
                  <a:gd name="T0" fmla="*/ 4 w 4"/>
                  <a:gd name="T1" fmla="*/ 0 h 2"/>
                  <a:gd name="T2" fmla="*/ 0 w 4"/>
                  <a:gd name="T3" fmla="*/ 1 h 2"/>
                  <a:gd name="T4" fmla="*/ 4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0" y="1"/>
                      <a:pt x="0" y="1"/>
                      <a:pt x="0" y="1"/>
                    </a:cubicBezTo>
                    <a:cubicBezTo>
                      <a:pt x="1" y="1"/>
                      <a:pt x="2" y="2"/>
                      <a:pt x="4" y="2"/>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 name="Freeform 176">
                <a:extLst>
                  <a:ext uri="{FF2B5EF4-FFF2-40B4-BE49-F238E27FC236}">
                    <a16:creationId xmlns:a16="http://schemas.microsoft.com/office/drawing/2014/main" id="{9676F789-C848-4EDF-BCD7-5F8A07093C5F}"/>
                  </a:ext>
                </a:extLst>
              </p:cNvPr>
              <p:cNvSpPr>
                <a:spLocks/>
              </p:cNvSpPr>
              <p:nvPr/>
            </p:nvSpPr>
            <p:spPr bwMode="auto">
              <a:xfrm>
                <a:off x="5568" y="850"/>
                <a:ext cx="68" cy="198"/>
              </a:xfrm>
              <a:custGeom>
                <a:avLst/>
                <a:gdLst>
                  <a:gd name="T0" fmla="*/ 29 w 29"/>
                  <a:gd name="T1" fmla="*/ 0 h 84"/>
                  <a:gd name="T2" fmla="*/ 26 w 29"/>
                  <a:gd name="T3" fmla="*/ 0 h 84"/>
                  <a:gd name="T4" fmla="*/ 25 w 29"/>
                  <a:gd name="T5" fmla="*/ 0 h 84"/>
                  <a:gd name="T6" fmla="*/ 19 w 29"/>
                  <a:gd name="T7" fmla="*/ 0 h 84"/>
                  <a:gd name="T8" fmla="*/ 19 w 29"/>
                  <a:gd name="T9" fmla="*/ 3 h 84"/>
                  <a:gd name="T10" fmla="*/ 16 w 29"/>
                  <a:gd name="T11" fmla="*/ 9 h 84"/>
                  <a:gd name="T12" fmla="*/ 5 w 29"/>
                  <a:gd name="T13" fmla="*/ 37 h 84"/>
                  <a:gd name="T14" fmla="*/ 5 w 29"/>
                  <a:gd name="T15" fmla="*/ 37 h 84"/>
                  <a:gd name="T16" fmla="*/ 0 w 29"/>
                  <a:gd name="T17" fmla="*/ 41 h 84"/>
                  <a:gd name="T18" fmla="*/ 1 w 29"/>
                  <a:gd name="T19" fmla="*/ 43 h 84"/>
                  <a:gd name="T20" fmla="*/ 0 w 29"/>
                  <a:gd name="T21" fmla="*/ 44 h 84"/>
                  <a:gd name="T22" fmla="*/ 1 w 29"/>
                  <a:gd name="T23" fmla="*/ 43 h 84"/>
                  <a:gd name="T24" fmla="*/ 2 w 29"/>
                  <a:gd name="T25" fmla="*/ 44 h 84"/>
                  <a:gd name="T26" fmla="*/ 2 w 29"/>
                  <a:gd name="T27" fmla="*/ 45 h 84"/>
                  <a:gd name="T28" fmla="*/ 2 w 29"/>
                  <a:gd name="T29" fmla="*/ 45 h 84"/>
                  <a:gd name="T30" fmla="*/ 14 w 29"/>
                  <a:gd name="T31" fmla="*/ 84 h 84"/>
                  <a:gd name="T32" fmla="*/ 18 w 29"/>
                  <a:gd name="T33" fmla="*/ 68 h 84"/>
                  <a:gd name="T34" fmla="*/ 20 w 29"/>
                  <a:gd name="T35" fmla="*/ 62 h 84"/>
                  <a:gd name="T36" fmla="*/ 22 w 29"/>
                  <a:gd name="T37" fmla="*/ 55 h 84"/>
                  <a:gd name="T38" fmla="*/ 22 w 29"/>
                  <a:gd name="T39" fmla="*/ 53 h 84"/>
                  <a:gd name="T40" fmla="*/ 23 w 29"/>
                  <a:gd name="T41" fmla="*/ 50 h 84"/>
                  <a:gd name="T42" fmla="*/ 24 w 29"/>
                  <a:gd name="T43" fmla="*/ 42 h 84"/>
                  <a:gd name="T44" fmla="*/ 25 w 29"/>
                  <a:gd name="T45" fmla="*/ 41 h 84"/>
                  <a:gd name="T46" fmla="*/ 21 w 29"/>
                  <a:gd name="T47" fmla="*/ 42 h 84"/>
                  <a:gd name="T48" fmla="*/ 21 w 29"/>
                  <a:gd name="T49" fmla="*/ 43 h 84"/>
                  <a:gd name="T50" fmla="*/ 21 w 29"/>
                  <a:gd name="T51" fmla="*/ 43 h 84"/>
                  <a:gd name="T52" fmla="*/ 20 w 29"/>
                  <a:gd name="T53" fmla="*/ 43 h 84"/>
                  <a:gd name="T54" fmla="*/ 18 w 29"/>
                  <a:gd name="T55" fmla="*/ 43 h 84"/>
                  <a:gd name="T56" fmla="*/ 18 w 29"/>
                  <a:gd name="T57" fmla="*/ 43 h 84"/>
                  <a:gd name="T58" fmla="*/ 17 w 29"/>
                  <a:gd name="T59" fmla="*/ 43 h 84"/>
                  <a:gd name="T60" fmla="*/ 15 w 29"/>
                  <a:gd name="T61" fmla="*/ 43 h 84"/>
                  <a:gd name="T62" fmla="*/ 21 w 29"/>
                  <a:gd name="T63" fmla="*/ 33 h 84"/>
                  <a:gd name="T64" fmla="*/ 22 w 29"/>
                  <a:gd name="T65" fmla="*/ 33 h 84"/>
                  <a:gd name="T66" fmla="*/ 16 w 29"/>
                  <a:gd name="T67" fmla="*/ 30 h 84"/>
                  <a:gd name="T68" fmla="*/ 18 w 29"/>
                  <a:gd name="T69" fmla="*/ 16 h 84"/>
                  <a:gd name="T70" fmla="*/ 21 w 29"/>
                  <a:gd name="T71" fmla="*/ 13 h 84"/>
                  <a:gd name="T72" fmla="*/ 22 w 29"/>
                  <a:gd name="T73" fmla="*/ 12 h 84"/>
                  <a:gd name="T74" fmla="*/ 22 w 29"/>
                  <a:gd name="T75" fmla="*/ 12 h 84"/>
                  <a:gd name="T76" fmla="*/ 29 w 29"/>
                  <a:gd name="T77" fmla="*/ 6 h 84"/>
                  <a:gd name="T78" fmla="*/ 29 w 29"/>
                  <a:gd name="T79" fmla="*/ 6 h 84"/>
                  <a:gd name="T80" fmla="*/ 29 w 29"/>
                  <a:gd name="T81" fmla="*/ 5 h 84"/>
                  <a:gd name="T82" fmla="*/ 29 w 29"/>
                  <a:gd name="T83" fmla="*/ 1 h 84"/>
                  <a:gd name="T84" fmla="*/ 29 w 29"/>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 h="84">
                    <a:moveTo>
                      <a:pt x="29" y="0"/>
                    </a:moveTo>
                    <a:cubicBezTo>
                      <a:pt x="28" y="0"/>
                      <a:pt x="27" y="0"/>
                      <a:pt x="26" y="0"/>
                    </a:cubicBezTo>
                    <a:cubicBezTo>
                      <a:pt x="25" y="0"/>
                      <a:pt x="25" y="0"/>
                      <a:pt x="25" y="0"/>
                    </a:cubicBezTo>
                    <a:cubicBezTo>
                      <a:pt x="19" y="0"/>
                      <a:pt x="19" y="0"/>
                      <a:pt x="19" y="0"/>
                    </a:cubicBezTo>
                    <a:cubicBezTo>
                      <a:pt x="19" y="1"/>
                      <a:pt x="19" y="2"/>
                      <a:pt x="19" y="3"/>
                    </a:cubicBezTo>
                    <a:cubicBezTo>
                      <a:pt x="18" y="5"/>
                      <a:pt x="17" y="7"/>
                      <a:pt x="16" y="9"/>
                    </a:cubicBezTo>
                    <a:cubicBezTo>
                      <a:pt x="13" y="18"/>
                      <a:pt x="10" y="28"/>
                      <a:pt x="5" y="37"/>
                    </a:cubicBezTo>
                    <a:cubicBezTo>
                      <a:pt x="5" y="37"/>
                      <a:pt x="5" y="37"/>
                      <a:pt x="5" y="37"/>
                    </a:cubicBezTo>
                    <a:cubicBezTo>
                      <a:pt x="3" y="38"/>
                      <a:pt x="1" y="40"/>
                      <a:pt x="0" y="41"/>
                    </a:cubicBezTo>
                    <a:cubicBezTo>
                      <a:pt x="1" y="43"/>
                      <a:pt x="1" y="43"/>
                      <a:pt x="1" y="43"/>
                    </a:cubicBezTo>
                    <a:cubicBezTo>
                      <a:pt x="0" y="44"/>
                      <a:pt x="0" y="44"/>
                      <a:pt x="0" y="44"/>
                    </a:cubicBezTo>
                    <a:cubicBezTo>
                      <a:pt x="1" y="43"/>
                      <a:pt x="1" y="43"/>
                      <a:pt x="1" y="43"/>
                    </a:cubicBezTo>
                    <a:cubicBezTo>
                      <a:pt x="2" y="44"/>
                      <a:pt x="2" y="44"/>
                      <a:pt x="2" y="44"/>
                    </a:cubicBezTo>
                    <a:cubicBezTo>
                      <a:pt x="2" y="45"/>
                      <a:pt x="2" y="45"/>
                      <a:pt x="2" y="45"/>
                    </a:cubicBezTo>
                    <a:cubicBezTo>
                      <a:pt x="2" y="45"/>
                      <a:pt x="2" y="45"/>
                      <a:pt x="2" y="45"/>
                    </a:cubicBezTo>
                    <a:cubicBezTo>
                      <a:pt x="14" y="84"/>
                      <a:pt x="14" y="84"/>
                      <a:pt x="14" y="84"/>
                    </a:cubicBezTo>
                    <a:cubicBezTo>
                      <a:pt x="16" y="78"/>
                      <a:pt x="17" y="73"/>
                      <a:pt x="18" y="68"/>
                    </a:cubicBezTo>
                    <a:cubicBezTo>
                      <a:pt x="20" y="62"/>
                      <a:pt x="20" y="62"/>
                      <a:pt x="20" y="62"/>
                    </a:cubicBezTo>
                    <a:cubicBezTo>
                      <a:pt x="20" y="60"/>
                      <a:pt x="21" y="57"/>
                      <a:pt x="22" y="55"/>
                    </a:cubicBezTo>
                    <a:cubicBezTo>
                      <a:pt x="22" y="53"/>
                      <a:pt x="22" y="53"/>
                      <a:pt x="22" y="53"/>
                    </a:cubicBezTo>
                    <a:cubicBezTo>
                      <a:pt x="23" y="52"/>
                      <a:pt x="23" y="51"/>
                      <a:pt x="23" y="50"/>
                    </a:cubicBezTo>
                    <a:cubicBezTo>
                      <a:pt x="24" y="48"/>
                      <a:pt x="24" y="45"/>
                      <a:pt x="24" y="42"/>
                    </a:cubicBezTo>
                    <a:cubicBezTo>
                      <a:pt x="25" y="41"/>
                      <a:pt x="25" y="41"/>
                      <a:pt x="25" y="41"/>
                    </a:cubicBezTo>
                    <a:cubicBezTo>
                      <a:pt x="24" y="41"/>
                      <a:pt x="23" y="42"/>
                      <a:pt x="21" y="42"/>
                    </a:cubicBezTo>
                    <a:cubicBezTo>
                      <a:pt x="21" y="43"/>
                      <a:pt x="21" y="43"/>
                      <a:pt x="21" y="43"/>
                    </a:cubicBezTo>
                    <a:cubicBezTo>
                      <a:pt x="21" y="43"/>
                      <a:pt x="21" y="43"/>
                      <a:pt x="21" y="43"/>
                    </a:cubicBezTo>
                    <a:cubicBezTo>
                      <a:pt x="20" y="43"/>
                      <a:pt x="20" y="43"/>
                      <a:pt x="20" y="43"/>
                    </a:cubicBezTo>
                    <a:cubicBezTo>
                      <a:pt x="19" y="43"/>
                      <a:pt x="19" y="43"/>
                      <a:pt x="18" y="43"/>
                    </a:cubicBezTo>
                    <a:cubicBezTo>
                      <a:pt x="18" y="43"/>
                      <a:pt x="18" y="43"/>
                      <a:pt x="18" y="43"/>
                    </a:cubicBezTo>
                    <a:cubicBezTo>
                      <a:pt x="18" y="43"/>
                      <a:pt x="18" y="43"/>
                      <a:pt x="17" y="43"/>
                    </a:cubicBezTo>
                    <a:cubicBezTo>
                      <a:pt x="17" y="43"/>
                      <a:pt x="16" y="43"/>
                      <a:pt x="15" y="43"/>
                    </a:cubicBezTo>
                    <a:cubicBezTo>
                      <a:pt x="15" y="40"/>
                      <a:pt x="17" y="33"/>
                      <a:pt x="21" y="33"/>
                    </a:cubicBezTo>
                    <a:cubicBezTo>
                      <a:pt x="21" y="33"/>
                      <a:pt x="22" y="33"/>
                      <a:pt x="22" y="33"/>
                    </a:cubicBezTo>
                    <a:cubicBezTo>
                      <a:pt x="20" y="31"/>
                      <a:pt x="19" y="30"/>
                      <a:pt x="16" y="30"/>
                    </a:cubicBezTo>
                    <a:cubicBezTo>
                      <a:pt x="17" y="26"/>
                      <a:pt x="16" y="20"/>
                      <a:pt x="18" y="16"/>
                    </a:cubicBezTo>
                    <a:cubicBezTo>
                      <a:pt x="19" y="14"/>
                      <a:pt x="20" y="13"/>
                      <a:pt x="21" y="13"/>
                    </a:cubicBezTo>
                    <a:cubicBezTo>
                      <a:pt x="22" y="12"/>
                      <a:pt x="22" y="12"/>
                      <a:pt x="22" y="12"/>
                    </a:cubicBezTo>
                    <a:cubicBezTo>
                      <a:pt x="22" y="12"/>
                      <a:pt x="22" y="12"/>
                      <a:pt x="22" y="12"/>
                    </a:cubicBezTo>
                    <a:cubicBezTo>
                      <a:pt x="29" y="6"/>
                      <a:pt x="29" y="6"/>
                      <a:pt x="29" y="6"/>
                    </a:cubicBezTo>
                    <a:cubicBezTo>
                      <a:pt x="29" y="6"/>
                      <a:pt x="29" y="6"/>
                      <a:pt x="29" y="6"/>
                    </a:cubicBezTo>
                    <a:cubicBezTo>
                      <a:pt x="29" y="5"/>
                      <a:pt x="29" y="5"/>
                      <a:pt x="29" y="5"/>
                    </a:cubicBezTo>
                    <a:cubicBezTo>
                      <a:pt x="29" y="4"/>
                      <a:pt x="29" y="3"/>
                      <a:pt x="29" y="1"/>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 name="Freeform 177">
                <a:extLst>
                  <a:ext uri="{FF2B5EF4-FFF2-40B4-BE49-F238E27FC236}">
                    <a16:creationId xmlns:a16="http://schemas.microsoft.com/office/drawing/2014/main" id="{C49BFFEF-CA37-4854-A6F2-E6005BB0D24C}"/>
                  </a:ext>
                </a:extLst>
              </p:cNvPr>
              <p:cNvSpPr>
                <a:spLocks/>
              </p:cNvSpPr>
              <p:nvPr/>
            </p:nvSpPr>
            <p:spPr bwMode="auto">
              <a:xfrm>
                <a:off x="6147" y="585"/>
                <a:ext cx="2"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 name="Freeform 178">
                <a:extLst>
                  <a:ext uri="{FF2B5EF4-FFF2-40B4-BE49-F238E27FC236}">
                    <a16:creationId xmlns:a16="http://schemas.microsoft.com/office/drawing/2014/main" id="{4F9825B0-58A8-47D3-9F6D-385C5F4628B7}"/>
                  </a:ext>
                </a:extLst>
              </p:cNvPr>
              <p:cNvSpPr>
                <a:spLocks/>
              </p:cNvSpPr>
              <p:nvPr/>
            </p:nvSpPr>
            <p:spPr bwMode="auto">
              <a:xfrm>
                <a:off x="6147" y="585"/>
                <a:ext cx="2"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 name="Freeform 179">
                <a:extLst>
                  <a:ext uri="{FF2B5EF4-FFF2-40B4-BE49-F238E27FC236}">
                    <a16:creationId xmlns:a16="http://schemas.microsoft.com/office/drawing/2014/main" id="{C0DC98EA-970D-4C07-96B9-186017047C59}"/>
                  </a:ext>
                </a:extLst>
              </p:cNvPr>
              <p:cNvSpPr>
                <a:spLocks/>
              </p:cNvSpPr>
              <p:nvPr/>
            </p:nvSpPr>
            <p:spPr bwMode="auto">
              <a:xfrm>
                <a:off x="5110" y="268"/>
                <a:ext cx="1037" cy="395"/>
              </a:xfrm>
              <a:custGeom>
                <a:avLst/>
                <a:gdLst>
                  <a:gd name="T0" fmla="*/ 194 w 439"/>
                  <a:gd name="T1" fmla="*/ 2 h 167"/>
                  <a:gd name="T2" fmla="*/ 156 w 439"/>
                  <a:gd name="T3" fmla="*/ 6 h 167"/>
                  <a:gd name="T4" fmla="*/ 102 w 439"/>
                  <a:gd name="T5" fmla="*/ 24 h 167"/>
                  <a:gd name="T6" fmla="*/ 75 w 439"/>
                  <a:gd name="T7" fmla="*/ 23 h 167"/>
                  <a:gd name="T8" fmla="*/ 82 w 439"/>
                  <a:gd name="T9" fmla="*/ 36 h 167"/>
                  <a:gd name="T10" fmla="*/ 66 w 439"/>
                  <a:gd name="T11" fmla="*/ 47 h 167"/>
                  <a:gd name="T12" fmla="*/ 43 w 439"/>
                  <a:gd name="T13" fmla="*/ 47 h 167"/>
                  <a:gd name="T14" fmla="*/ 28 w 439"/>
                  <a:gd name="T15" fmla="*/ 45 h 167"/>
                  <a:gd name="T16" fmla="*/ 1 w 439"/>
                  <a:gd name="T17" fmla="*/ 72 h 167"/>
                  <a:gd name="T18" fmla="*/ 17 w 439"/>
                  <a:gd name="T19" fmla="*/ 81 h 167"/>
                  <a:gd name="T20" fmla="*/ 17 w 439"/>
                  <a:gd name="T21" fmla="*/ 92 h 167"/>
                  <a:gd name="T22" fmla="*/ 13 w 439"/>
                  <a:gd name="T23" fmla="*/ 97 h 167"/>
                  <a:gd name="T24" fmla="*/ 8 w 439"/>
                  <a:gd name="T25" fmla="*/ 103 h 167"/>
                  <a:gd name="T26" fmla="*/ 5 w 439"/>
                  <a:gd name="T27" fmla="*/ 105 h 167"/>
                  <a:gd name="T28" fmla="*/ 28 w 439"/>
                  <a:gd name="T29" fmla="*/ 120 h 167"/>
                  <a:gd name="T30" fmla="*/ 34 w 439"/>
                  <a:gd name="T31" fmla="*/ 137 h 167"/>
                  <a:gd name="T32" fmla="*/ 30 w 439"/>
                  <a:gd name="T33" fmla="*/ 140 h 167"/>
                  <a:gd name="T34" fmla="*/ 31 w 439"/>
                  <a:gd name="T35" fmla="*/ 147 h 167"/>
                  <a:gd name="T36" fmla="*/ 47 w 439"/>
                  <a:gd name="T37" fmla="*/ 149 h 167"/>
                  <a:gd name="T38" fmla="*/ 56 w 439"/>
                  <a:gd name="T39" fmla="*/ 144 h 167"/>
                  <a:gd name="T40" fmla="*/ 77 w 439"/>
                  <a:gd name="T41" fmla="*/ 159 h 167"/>
                  <a:gd name="T42" fmla="*/ 102 w 439"/>
                  <a:gd name="T43" fmla="*/ 160 h 167"/>
                  <a:gd name="T44" fmla="*/ 112 w 439"/>
                  <a:gd name="T45" fmla="*/ 143 h 167"/>
                  <a:gd name="T46" fmla="*/ 175 w 439"/>
                  <a:gd name="T47" fmla="*/ 162 h 167"/>
                  <a:gd name="T48" fmla="*/ 214 w 439"/>
                  <a:gd name="T49" fmla="*/ 149 h 167"/>
                  <a:gd name="T50" fmla="*/ 233 w 439"/>
                  <a:gd name="T51" fmla="*/ 143 h 167"/>
                  <a:gd name="T52" fmla="*/ 236 w 439"/>
                  <a:gd name="T53" fmla="*/ 167 h 167"/>
                  <a:gd name="T54" fmla="*/ 241 w 439"/>
                  <a:gd name="T55" fmla="*/ 163 h 167"/>
                  <a:gd name="T56" fmla="*/ 244 w 439"/>
                  <a:gd name="T57" fmla="*/ 154 h 167"/>
                  <a:gd name="T58" fmla="*/ 264 w 439"/>
                  <a:gd name="T59" fmla="*/ 146 h 167"/>
                  <a:gd name="T60" fmla="*/ 290 w 439"/>
                  <a:gd name="T61" fmla="*/ 140 h 167"/>
                  <a:gd name="T62" fmla="*/ 299 w 439"/>
                  <a:gd name="T63" fmla="*/ 143 h 167"/>
                  <a:gd name="T64" fmla="*/ 315 w 439"/>
                  <a:gd name="T65" fmla="*/ 145 h 167"/>
                  <a:gd name="T66" fmla="*/ 338 w 439"/>
                  <a:gd name="T67" fmla="*/ 137 h 167"/>
                  <a:gd name="T68" fmla="*/ 382 w 439"/>
                  <a:gd name="T69" fmla="*/ 130 h 167"/>
                  <a:gd name="T70" fmla="*/ 401 w 439"/>
                  <a:gd name="T71" fmla="*/ 126 h 167"/>
                  <a:gd name="T72" fmla="*/ 405 w 439"/>
                  <a:gd name="T73" fmla="*/ 127 h 167"/>
                  <a:gd name="T74" fmla="*/ 431 w 439"/>
                  <a:gd name="T75" fmla="*/ 133 h 167"/>
                  <a:gd name="T76" fmla="*/ 436 w 439"/>
                  <a:gd name="T77" fmla="*/ 134 h 167"/>
                  <a:gd name="T78" fmla="*/ 438 w 439"/>
                  <a:gd name="T79" fmla="*/ 132 h 167"/>
                  <a:gd name="T80" fmla="*/ 434 w 439"/>
                  <a:gd name="T81" fmla="*/ 122 h 167"/>
                  <a:gd name="T82" fmla="*/ 432 w 439"/>
                  <a:gd name="T83" fmla="*/ 120 h 167"/>
                  <a:gd name="T84" fmla="*/ 427 w 439"/>
                  <a:gd name="T85" fmla="*/ 117 h 167"/>
                  <a:gd name="T86" fmla="*/ 427 w 439"/>
                  <a:gd name="T87" fmla="*/ 106 h 167"/>
                  <a:gd name="T88" fmla="*/ 423 w 439"/>
                  <a:gd name="T89" fmla="*/ 84 h 167"/>
                  <a:gd name="T90" fmla="*/ 430 w 439"/>
                  <a:gd name="T91" fmla="*/ 71 h 167"/>
                  <a:gd name="T92" fmla="*/ 422 w 439"/>
                  <a:gd name="T93" fmla="*/ 59 h 167"/>
                  <a:gd name="T94" fmla="*/ 412 w 439"/>
                  <a:gd name="T95" fmla="*/ 51 h 167"/>
                  <a:gd name="T96" fmla="*/ 412 w 439"/>
                  <a:gd name="T97" fmla="*/ 40 h 167"/>
                  <a:gd name="T98" fmla="*/ 412 w 439"/>
                  <a:gd name="T99" fmla="*/ 35 h 167"/>
                  <a:gd name="T100" fmla="*/ 410 w 439"/>
                  <a:gd name="T101" fmla="*/ 31 h 167"/>
                  <a:gd name="T102" fmla="*/ 399 w 439"/>
                  <a:gd name="T103" fmla="*/ 21 h 167"/>
                  <a:gd name="T104" fmla="*/ 392 w 439"/>
                  <a:gd name="T105" fmla="*/ 16 h 167"/>
                  <a:gd name="T106" fmla="*/ 378 w 439"/>
                  <a:gd name="T107" fmla="*/ 19 h 167"/>
                  <a:gd name="T108" fmla="*/ 369 w 439"/>
                  <a:gd name="T109" fmla="*/ 18 h 167"/>
                  <a:gd name="T110" fmla="*/ 351 w 439"/>
                  <a:gd name="T111" fmla="*/ 24 h 167"/>
                  <a:gd name="T112" fmla="*/ 329 w 439"/>
                  <a:gd name="T113" fmla="*/ 31 h 167"/>
                  <a:gd name="T114" fmla="*/ 315 w 439"/>
                  <a:gd name="T115" fmla="*/ 27 h 167"/>
                  <a:gd name="T116" fmla="*/ 307 w 439"/>
                  <a:gd name="T117" fmla="*/ 28 h 167"/>
                  <a:gd name="T118" fmla="*/ 253 w 439"/>
                  <a:gd name="T119" fmla="*/ 19 h 167"/>
                  <a:gd name="T120" fmla="*/ 232 w 439"/>
                  <a:gd name="T121" fmla="*/ 10 h 167"/>
                  <a:gd name="T122" fmla="*/ 216 w 439"/>
                  <a:gd name="T123" fmla="*/ 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9" h="167">
                    <a:moveTo>
                      <a:pt x="213" y="0"/>
                    </a:moveTo>
                    <a:cubicBezTo>
                      <a:pt x="212" y="0"/>
                      <a:pt x="210" y="1"/>
                      <a:pt x="208" y="1"/>
                    </a:cubicBezTo>
                    <a:cubicBezTo>
                      <a:pt x="206" y="2"/>
                      <a:pt x="203" y="3"/>
                      <a:pt x="201" y="3"/>
                    </a:cubicBezTo>
                    <a:cubicBezTo>
                      <a:pt x="200" y="3"/>
                      <a:pt x="198" y="3"/>
                      <a:pt x="197" y="3"/>
                    </a:cubicBezTo>
                    <a:cubicBezTo>
                      <a:pt x="196" y="2"/>
                      <a:pt x="195" y="2"/>
                      <a:pt x="194" y="2"/>
                    </a:cubicBezTo>
                    <a:cubicBezTo>
                      <a:pt x="194" y="2"/>
                      <a:pt x="194" y="2"/>
                      <a:pt x="194" y="2"/>
                    </a:cubicBezTo>
                    <a:cubicBezTo>
                      <a:pt x="194" y="2"/>
                      <a:pt x="193" y="2"/>
                      <a:pt x="193" y="2"/>
                    </a:cubicBezTo>
                    <a:cubicBezTo>
                      <a:pt x="187" y="2"/>
                      <a:pt x="181" y="2"/>
                      <a:pt x="175" y="1"/>
                    </a:cubicBezTo>
                    <a:cubicBezTo>
                      <a:pt x="175" y="1"/>
                      <a:pt x="174" y="1"/>
                      <a:pt x="173" y="1"/>
                    </a:cubicBezTo>
                    <a:cubicBezTo>
                      <a:pt x="167" y="1"/>
                      <a:pt x="162" y="5"/>
                      <a:pt x="156" y="6"/>
                    </a:cubicBezTo>
                    <a:cubicBezTo>
                      <a:pt x="149" y="7"/>
                      <a:pt x="145" y="11"/>
                      <a:pt x="139" y="14"/>
                    </a:cubicBezTo>
                    <a:cubicBezTo>
                      <a:pt x="136" y="16"/>
                      <a:pt x="133" y="18"/>
                      <a:pt x="130" y="20"/>
                    </a:cubicBezTo>
                    <a:cubicBezTo>
                      <a:pt x="128" y="22"/>
                      <a:pt x="125" y="26"/>
                      <a:pt x="123" y="26"/>
                    </a:cubicBezTo>
                    <a:cubicBezTo>
                      <a:pt x="120" y="27"/>
                      <a:pt x="118" y="27"/>
                      <a:pt x="115" y="27"/>
                    </a:cubicBezTo>
                    <a:cubicBezTo>
                      <a:pt x="111" y="27"/>
                      <a:pt x="107" y="26"/>
                      <a:pt x="102" y="24"/>
                    </a:cubicBezTo>
                    <a:cubicBezTo>
                      <a:pt x="101" y="24"/>
                      <a:pt x="100" y="24"/>
                      <a:pt x="99" y="24"/>
                    </a:cubicBezTo>
                    <a:cubicBezTo>
                      <a:pt x="96" y="24"/>
                      <a:pt x="93" y="25"/>
                      <a:pt x="91" y="25"/>
                    </a:cubicBezTo>
                    <a:cubicBezTo>
                      <a:pt x="90" y="25"/>
                      <a:pt x="90" y="25"/>
                      <a:pt x="90" y="25"/>
                    </a:cubicBezTo>
                    <a:cubicBezTo>
                      <a:pt x="87" y="25"/>
                      <a:pt x="84" y="24"/>
                      <a:pt x="81" y="24"/>
                    </a:cubicBezTo>
                    <a:cubicBezTo>
                      <a:pt x="80" y="24"/>
                      <a:pt x="77" y="23"/>
                      <a:pt x="75" y="23"/>
                    </a:cubicBezTo>
                    <a:cubicBezTo>
                      <a:pt x="74" y="23"/>
                      <a:pt x="73" y="23"/>
                      <a:pt x="73" y="24"/>
                    </a:cubicBezTo>
                    <a:cubicBezTo>
                      <a:pt x="73" y="24"/>
                      <a:pt x="73" y="24"/>
                      <a:pt x="73" y="24"/>
                    </a:cubicBezTo>
                    <a:cubicBezTo>
                      <a:pt x="74" y="25"/>
                      <a:pt x="75" y="27"/>
                      <a:pt x="75" y="29"/>
                    </a:cubicBezTo>
                    <a:cubicBezTo>
                      <a:pt x="75" y="30"/>
                      <a:pt x="75" y="31"/>
                      <a:pt x="74" y="32"/>
                    </a:cubicBezTo>
                    <a:cubicBezTo>
                      <a:pt x="77" y="34"/>
                      <a:pt x="78" y="35"/>
                      <a:pt x="82" y="36"/>
                    </a:cubicBezTo>
                    <a:cubicBezTo>
                      <a:pt x="84" y="36"/>
                      <a:pt x="87" y="36"/>
                      <a:pt x="90" y="37"/>
                    </a:cubicBezTo>
                    <a:cubicBezTo>
                      <a:pt x="85" y="38"/>
                      <a:pt x="79" y="38"/>
                      <a:pt x="74" y="39"/>
                    </a:cubicBezTo>
                    <a:cubicBezTo>
                      <a:pt x="71" y="40"/>
                      <a:pt x="66" y="40"/>
                      <a:pt x="64" y="42"/>
                    </a:cubicBezTo>
                    <a:cubicBezTo>
                      <a:pt x="67" y="43"/>
                      <a:pt x="71" y="43"/>
                      <a:pt x="73" y="45"/>
                    </a:cubicBezTo>
                    <a:cubicBezTo>
                      <a:pt x="71" y="47"/>
                      <a:pt x="69" y="47"/>
                      <a:pt x="66" y="47"/>
                    </a:cubicBezTo>
                    <a:cubicBezTo>
                      <a:pt x="64" y="47"/>
                      <a:pt x="62" y="47"/>
                      <a:pt x="60" y="47"/>
                    </a:cubicBezTo>
                    <a:cubicBezTo>
                      <a:pt x="56" y="47"/>
                      <a:pt x="53" y="46"/>
                      <a:pt x="50" y="46"/>
                    </a:cubicBezTo>
                    <a:cubicBezTo>
                      <a:pt x="48" y="46"/>
                      <a:pt x="46" y="46"/>
                      <a:pt x="44" y="47"/>
                    </a:cubicBezTo>
                    <a:cubicBezTo>
                      <a:pt x="45" y="42"/>
                      <a:pt x="43" y="43"/>
                      <a:pt x="40" y="43"/>
                    </a:cubicBezTo>
                    <a:cubicBezTo>
                      <a:pt x="41" y="44"/>
                      <a:pt x="42" y="45"/>
                      <a:pt x="43" y="47"/>
                    </a:cubicBezTo>
                    <a:cubicBezTo>
                      <a:pt x="41" y="47"/>
                      <a:pt x="39" y="48"/>
                      <a:pt x="37" y="48"/>
                    </a:cubicBezTo>
                    <a:cubicBezTo>
                      <a:pt x="36" y="48"/>
                      <a:pt x="36" y="48"/>
                      <a:pt x="35" y="48"/>
                    </a:cubicBezTo>
                    <a:cubicBezTo>
                      <a:pt x="34" y="48"/>
                      <a:pt x="33" y="47"/>
                      <a:pt x="31" y="46"/>
                    </a:cubicBezTo>
                    <a:cubicBezTo>
                      <a:pt x="30" y="45"/>
                      <a:pt x="30" y="44"/>
                      <a:pt x="29" y="44"/>
                    </a:cubicBezTo>
                    <a:cubicBezTo>
                      <a:pt x="28" y="44"/>
                      <a:pt x="28" y="44"/>
                      <a:pt x="28" y="45"/>
                    </a:cubicBezTo>
                    <a:cubicBezTo>
                      <a:pt x="23" y="46"/>
                      <a:pt x="18" y="48"/>
                      <a:pt x="13" y="50"/>
                    </a:cubicBezTo>
                    <a:cubicBezTo>
                      <a:pt x="9" y="52"/>
                      <a:pt x="4" y="56"/>
                      <a:pt x="3" y="59"/>
                    </a:cubicBezTo>
                    <a:cubicBezTo>
                      <a:pt x="2" y="62"/>
                      <a:pt x="3" y="65"/>
                      <a:pt x="3" y="67"/>
                    </a:cubicBezTo>
                    <a:cubicBezTo>
                      <a:pt x="3" y="68"/>
                      <a:pt x="1" y="69"/>
                      <a:pt x="1" y="70"/>
                    </a:cubicBezTo>
                    <a:cubicBezTo>
                      <a:pt x="1" y="71"/>
                      <a:pt x="0" y="71"/>
                      <a:pt x="1" y="72"/>
                    </a:cubicBezTo>
                    <a:cubicBezTo>
                      <a:pt x="1" y="72"/>
                      <a:pt x="1" y="72"/>
                      <a:pt x="2" y="72"/>
                    </a:cubicBezTo>
                    <a:cubicBezTo>
                      <a:pt x="4" y="72"/>
                      <a:pt x="7" y="71"/>
                      <a:pt x="8" y="71"/>
                    </a:cubicBezTo>
                    <a:cubicBezTo>
                      <a:pt x="12" y="70"/>
                      <a:pt x="16" y="70"/>
                      <a:pt x="21" y="70"/>
                    </a:cubicBezTo>
                    <a:cubicBezTo>
                      <a:pt x="19" y="72"/>
                      <a:pt x="17" y="75"/>
                      <a:pt x="14" y="77"/>
                    </a:cubicBezTo>
                    <a:cubicBezTo>
                      <a:pt x="15" y="78"/>
                      <a:pt x="17" y="79"/>
                      <a:pt x="17" y="81"/>
                    </a:cubicBezTo>
                    <a:cubicBezTo>
                      <a:pt x="17" y="82"/>
                      <a:pt x="17" y="84"/>
                      <a:pt x="18" y="85"/>
                    </a:cubicBezTo>
                    <a:cubicBezTo>
                      <a:pt x="19" y="87"/>
                      <a:pt x="22" y="86"/>
                      <a:pt x="24" y="87"/>
                    </a:cubicBezTo>
                    <a:cubicBezTo>
                      <a:pt x="22" y="90"/>
                      <a:pt x="21" y="92"/>
                      <a:pt x="18" y="92"/>
                    </a:cubicBezTo>
                    <a:cubicBezTo>
                      <a:pt x="18" y="92"/>
                      <a:pt x="18" y="92"/>
                      <a:pt x="18" y="92"/>
                    </a:cubicBezTo>
                    <a:cubicBezTo>
                      <a:pt x="18" y="92"/>
                      <a:pt x="18" y="92"/>
                      <a:pt x="17" y="92"/>
                    </a:cubicBezTo>
                    <a:cubicBezTo>
                      <a:pt x="17" y="92"/>
                      <a:pt x="16" y="92"/>
                      <a:pt x="16" y="93"/>
                    </a:cubicBezTo>
                    <a:cubicBezTo>
                      <a:pt x="17" y="97"/>
                      <a:pt x="21" y="100"/>
                      <a:pt x="25" y="101"/>
                    </a:cubicBezTo>
                    <a:cubicBezTo>
                      <a:pt x="23" y="102"/>
                      <a:pt x="21" y="102"/>
                      <a:pt x="19" y="102"/>
                    </a:cubicBezTo>
                    <a:cubicBezTo>
                      <a:pt x="18" y="102"/>
                      <a:pt x="16" y="102"/>
                      <a:pt x="14" y="101"/>
                    </a:cubicBezTo>
                    <a:cubicBezTo>
                      <a:pt x="13" y="100"/>
                      <a:pt x="13" y="98"/>
                      <a:pt x="13" y="97"/>
                    </a:cubicBezTo>
                    <a:cubicBezTo>
                      <a:pt x="12" y="96"/>
                      <a:pt x="12" y="95"/>
                      <a:pt x="11" y="95"/>
                    </a:cubicBezTo>
                    <a:cubicBezTo>
                      <a:pt x="11" y="94"/>
                      <a:pt x="10" y="94"/>
                      <a:pt x="10" y="94"/>
                    </a:cubicBezTo>
                    <a:cubicBezTo>
                      <a:pt x="9" y="94"/>
                      <a:pt x="9" y="96"/>
                      <a:pt x="10" y="98"/>
                    </a:cubicBezTo>
                    <a:cubicBezTo>
                      <a:pt x="10" y="99"/>
                      <a:pt x="11" y="102"/>
                      <a:pt x="9" y="103"/>
                    </a:cubicBezTo>
                    <a:cubicBezTo>
                      <a:pt x="9" y="103"/>
                      <a:pt x="9" y="103"/>
                      <a:pt x="8" y="103"/>
                    </a:cubicBezTo>
                    <a:cubicBezTo>
                      <a:pt x="8" y="103"/>
                      <a:pt x="8" y="103"/>
                      <a:pt x="8" y="103"/>
                    </a:cubicBezTo>
                    <a:cubicBezTo>
                      <a:pt x="8" y="103"/>
                      <a:pt x="8" y="103"/>
                      <a:pt x="8" y="103"/>
                    </a:cubicBezTo>
                    <a:cubicBezTo>
                      <a:pt x="7" y="103"/>
                      <a:pt x="7" y="103"/>
                      <a:pt x="7" y="103"/>
                    </a:cubicBezTo>
                    <a:cubicBezTo>
                      <a:pt x="6" y="102"/>
                      <a:pt x="6" y="102"/>
                      <a:pt x="6" y="102"/>
                    </a:cubicBezTo>
                    <a:cubicBezTo>
                      <a:pt x="6" y="103"/>
                      <a:pt x="5" y="105"/>
                      <a:pt x="5" y="105"/>
                    </a:cubicBezTo>
                    <a:cubicBezTo>
                      <a:pt x="7" y="106"/>
                      <a:pt x="10" y="107"/>
                      <a:pt x="13" y="107"/>
                    </a:cubicBezTo>
                    <a:cubicBezTo>
                      <a:pt x="13" y="107"/>
                      <a:pt x="13" y="107"/>
                      <a:pt x="14" y="107"/>
                    </a:cubicBezTo>
                    <a:cubicBezTo>
                      <a:pt x="14" y="107"/>
                      <a:pt x="14" y="107"/>
                      <a:pt x="14" y="107"/>
                    </a:cubicBezTo>
                    <a:cubicBezTo>
                      <a:pt x="18" y="107"/>
                      <a:pt x="21" y="110"/>
                      <a:pt x="24" y="112"/>
                    </a:cubicBezTo>
                    <a:cubicBezTo>
                      <a:pt x="27" y="113"/>
                      <a:pt x="31" y="116"/>
                      <a:pt x="28" y="120"/>
                    </a:cubicBezTo>
                    <a:cubicBezTo>
                      <a:pt x="27" y="121"/>
                      <a:pt x="24" y="121"/>
                      <a:pt x="23" y="122"/>
                    </a:cubicBezTo>
                    <a:cubicBezTo>
                      <a:pt x="26" y="124"/>
                      <a:pt x="29" y="125"/>
                      <a:pt x="27" y="130"/>
                    </a:cubicBezTo>
                    <a:cubicBezTo>
                      <a:pt x="29" y="130"/>
                      <a:pt x="35" y="129"/>
                      <a:pt x="37" y="132"/>
                    </a:cubicBezTo>
                    <a:cubicBezTo>
                      <a:pt x="38" y="133"/>
                      <a:pt x="36" y="137"/>
                      <a:pt x="34" y="137"/>
                    </a:cubicBezTo>
                    <a:cubicBezTo>
                      <a:pt x="34" y="137"/>
                      <a:pt x="34" y="137"/>
                      <a:pt x="34" y="137"/>
                    </a:cubicBezTo>
                    <a:cubicBezTo>
                      <a:pt x="33" y="137"/>
                      <a:pt x="32" y="137"/>
                      <a:pt x="32" y="137"/>
                    </a:cubicBezTo>
                    <a:cubicBezTo>
                      <a:pt x="31" y="136"/>
                      <a:pt x="31" y="136"/>
                      <a:pt x="30" y="136"/>
                    </a:cubicBezTo>
                    <a:cubicBezTo>
                      <a:pt x="30" y="136"/>
                      <a:pt x="30" y="136"/>
                      <a:pt x="30" y="136"/>
                    </a:cubicBezTo>
                    <a:cubicBezTo>
                      <a:pt x="28" y="137"/>
                      <a:pt x="27" y="138"/>
                      <a:pt x="28" y="140"/>
                    </a:cubicBezTo>
                    <a:cubicBezTo>
                      <a:pt x="29" y="140"/>
                      <a:pt x="29" y="140"/>
                      <a:pt x="30" y="140"/>
                    </a:cubicBezTo>
                    <a:cubicBezTo>
                      <a:pt x="38" y="140"/>
                      <a:pt x="45" y="139"/>
                      <a:pt x="53" y="138"/>
                    </a:cubicBezTo>
                    <a:cubicBezTo>
                      <a:pt x="50" y="141"/>
                      <a:pt x="49" y="144"/>
                      <a:pt x="44" y="145"/>
                    </a:cubicBezTo>
                    <a:cubicBezTo>
                      <a:pt x="43" y="145"/>
                      <a:pt x="41" y="145"/>
                      <a:pt x="40" y="145"/>
                    </a:cubicBezTo>
                    <a:cubicBezTo>
                      <a:pt x="38" y="145"/>
                      <a:pt x="38" y="146"/>
                      <a:pt x="36" y="146"/>
                    </a:cubicBezTo>
                    <a:cubicBezTo>
                      <a:pt x="34" y="146"/>
                      <a:pt x="33" y="147"/>
                      <a:pt x="31" y="147"/>
                    </a:cubicBezTo>
                    <a:cubicBezTo>
                      <a:pt x="31" y="148"/>
                      <a:pt x="32" y="148"/>
                      <a:pt x="33" y="148"/>
                    </a:cubicBezTo>
                    <a:cubicBezTo>
                      <a:pt x="37" y="148"/>
                      <a:pt x="47" y="145"/>
                      <a:pt x="48" y="145"/>
                    </a:cubicBezTo>
                    <a:cubicBezTo>
                      <a:pt x="47" y="146"/>
                      <a:pt x="46" y="147"/>
                      <a:pt x="45" y="148"/>
                    </a:cubicBezTo>
                    <a:cubicBezTo>
                      <a:pt x="46" y="148"/>
                      <a:pt x="46" y="148"/>
                      <a:pt x="46" y="148"/>
                    </a:cubicBezTo>
                    <a:cubicBezTo>
                      <a:pt x="47" y="148"/>
                      <a:pt x="47" y="148"/>
                      <a:pt x="47" y="149"/>
                    </a:cubicBezTo>
                    <a:cubicBezTo>
                      <a:pt x="48" y="149"/>
                      <a:pt x="48" y="149"/>
                      <a:pt x="48" y="149"/>
                    </a:cubicBezTo>
                    <a:cubicBezTo>
                      <a:pt x="47" y="150"/>
                      <a:pt x="45" y="151"/>
                      <a:pt x="45" y="151"/>
                    </a:cubicBezTo>
                    <a:cubicBezTo>
                      <a:pt x="45" y="151"/>
                      <a:pt x="45" y="151"/>
                      <a:pt x="45" y="151"/>
                    </a:cubicBezTo>
                    <a:cubicBezTo>
                      <a:pt x="46" y="151"/>
                      <a:pt x="52" y="146"/>
                      <a:pt x="52" y="146"/>
                    </a:cubicBezTo>
                    <a:cubicBezTo>
                      <a:pt x="54" y="144"/>
                      <a:pt x="55" y="144"/>
                      <a:pt x="56" y="144"/>
                    </a:cubicBezTo>
                    <a:cubicBezTo>
                      <a:pt x="57" y="144"/>
                      <a:pt x="58" y="144"/>
                      <a:pt x="59" y="144"/>
                    </a:cubicBezTo>
                    <a:cubicBezTo>
                      <a:pt x="62" y="145"/>
                      <a:pt x="59" y="147"/>
                      <a:pt x="63" y="148"/>
                    </a:cubicBezTo>
                    <a:cubicBezTo>
                      <a:pt x="65" y="148"/>
                      <a:pt x="66" y="150"/>
                      <a:pt x="66" y="150"/>
                    </a:cubicBezTo>
                    <a:cubicBezTo>
                      <a:pt x="67" y="150"/>
                      <a:pt x="67" y="149"/>
                      <a:pt x="68" y="146"/>
                    </a:cubicBezTo>
                    <a:cubicBezTo>
                      <a:pt x="70" y="149"/>
                      <a:pt x="73" y="158"/>
                      <a:pt x="77" y="159"/>
                    </a:cubicBezTo>
                    <a:cubicBezTo>
                      <a:pt x="80" y="160"/>
                      <a:pt x="84" y="161"/>
                      <a:pt x="87" y="162"/>
                    </a:cubicBezTo>
                    <a:cubicBezTo>
                      <a:pt x="88" y="162"/>
                      <a:pt x="88" y="162"/>
                      <a:pt x="88" y="162"/>
                    </a:cubicBezTo>
                    <a:cubicBezTo>
                      <a:pt x="90" y="162"/>
                      <a:pt x="94" y="160"/>
                      <a:pt x="95" y="160"/>
                    </a:cubicBezTo>
                    <a:cubicBezTo>
                      <a:pt x="96" y="160"/>
                      <a:pt x="97" y="158"/>
                      <a:pt x="98" y="158"/>
                    </a:cubicBezTo>
                    <a:cubicBezTo>
                      <a:pt x="100" y="158"/>
                      <a:pt x="101" y="160"/>
                      <a:pt x="102" y="160"/>
                    </a:cubicBezTo>
                    <a:cubicBezTo>
                      <a:pt x="102" y="160"/>
                      <a:pt x="102" y="160"/>
                      <a:pt x="102" y="160"/>
                    </a:cubicBezTo>
                    <a:cubicBezTo>
                      <a:pt x="103" y="160"/>
                      <a:pt x="104" y="160"/>
                      <a:pt x="105" y="158"/>
                    </a:cubicBezTo>
                    <a:cubicBezTo>
                      <a:pt x="105" y="155"/>
                      <a:pt x="105" y="146"/>
                      <a:pt x="107" y="144"/>
                    </a:cubicBezTo>
                    <a:cubicBezTo>
                      <a:pt x="108" y="143"/>
                      <a:pt x="109" y="143"/>
                      <a:pt x="110" y="143"/>
                    </a:cubicBezTo>
                    <a:cubicBezTo>
                      <a:pt x="110" y="143"/>
                      <a:pt x="111" y="143"/>
                      <a:pt x="112" y="143"/>
                    </a:cubicBezTo>
                    <a:cubicBezTo>
                      <a:pt x="118" y="144"/>
                      <a:pt x="123" y="145"/>
                      <a:pt x="129" y="147"/>
                    </a:cubicBezTo>
                    <a:cubicBezTo>
                      <a:pt x="134" y="150"/>
                      <a:pt x="139" y="153"/>
                      <a:pt x="144" y="157"/>
                    </a:cubicBezTo>
                    <a:cubicBezTo>
                      <a:pt x="148" y="159"/>
                      <a:pt x="151" y="164"/>
                      <a:pt x="156" y="164"/>
                    </a:cubicBezTo>
                    <a:cubicBezTo>
                      <a:pt x="156" y="164"/>
                      <a:pt x="156" y="164"/>
                      <a:pt x="156" y="164"/>
                    </a:cubicBezTo>
                    <a:cubicBezTo>
                      <a:pt x="162" y="164"/>
                      <a:pt x="169" y="162"/>
                      <a:pt x="175" y="162"/>
                    </a:cubicBezTo>
                    <a:cubicBezTo>
                      <a:pt x="175" y="162"/>
                      <a:pt x="175" y="162"/>
                      <a:pt x="175" y="162"/>
                    </a:cubicBezTo>
                    <a:cubicBezTo>
                      <a:pt x="175" y="162"/>
                      <a:pt x="176" y="162"/>
                      <a:pt x="176" y="162"/>
                    </a:cubicBezTo>
                    <a:cubicBezTo>
                      <a:pt x="182" y="162"/>
                      <a:pt x="186" y="162"/>
                      <a:pt x="189" y="157"/>
                    </a:cubicBezTo>
                    <a:cubicBezTo>
                      <a:pt x="194" y="151"/>
                      <a:pt x="199" y="148"/>
                      <a:pt x="206" y="145"/>
                    </a:cubicBezTo>
                    <a:cubicBezTo>
                      <a:pt x="206" y="145"/>
                      <a:pt x="214" y="149"/>
                      <a:pt x="214" y="149"/>
                    </a:cubicBezTo>
                    <a:cubicBezTo>
                      <a:pt x="215" y="150"/>
                      <a:pt x="216" y="150"/>
                      <a:pt x="216" y="150"/>
                    </a:cubicBezTo>
                    <a:cubicBezTo>
                      <a:pt x="217" y="151"/>
                      <a:pt x="218" y="152"/>
                      <a:pt x="219" y="152"/>
                    </a:cubicBezTo>
                    <a:cubicBezTo>
                      <a:pt x="219" y="152"/>
                      <a:pt x="219" y="152"/>
                      <a:pt x="219" y="152"/>
                    </a:cubicBezTo>
                    <a:cubicBezTo>
                      <a:pt x="221" y="152"/>
                      <a:pt x="224" y="149"/>
                      <a:pt x="226" y="147"/>
                    </a:cubicBezTo>
                    <a:cubicBezTo>
                      <a:pt x="229" y="145"/>
                      <a:pt x="231" y="143"/>
                      <a:pt x="233" y="143"/>
                    </a:cubicBezTo>
                    <a:cubicBezTo>
                      <a:pt x="233" y="143"/>
                      <a:pt x="233" y="143"/>
                      <a:pt x="233" y="143"/>
                    </a:cubicBezTo>
                    <a:cubicBezTo>
                      <a:pt x="245" y="143"/>
                      <a:pt x="234" y="154"/>
                      <a:pt x="231" y="158"/>
                    </a:cubicBezTo>
                    <a:cubicBezTo>
                      <a:pt x="229" y="161"/>
                      <a:pt x="233" y="163"/>
                      <a:pt x="234" y="166"/>
                    </a:cubicBezTo>
                    <a:cubicBezTo>
                      <a:pt x="234" y="166"/>
                      <a:pt x="234" y="166"/>
                      <a:pt x="234" y="166"/>
                    </a:cubicBezTo>
                    <a:cubicBezTo>
                      <a:pt x="234" y="167"/>
                      <a:pt x="235" y="167"/>
                      <a:pt x="236" y="167"/>
                    </a:cubicBezTo>
                    <a:cubicBezTo>
                      <a:pt x="237" y="167"/>
                      <a:pt x="237" y="166"/>
                      <a:pt x="238" y="165"/>
                    </a:cubicBezTo>
                    <a:cubicBezTo>
                      <a:pt x="238" y="165"/>
                      <a:pt x="238" y="165"/>
                      <a:pt x="238" y="165"/>
                    </a:cubicBezTo>
                    <a:cubicBezTo>
                      <a:pt x="239" y="165"/>
                      <a:pt x="239" y="164"/>
                      <a:pt x="240" y="164"/>
                    </a:cubicBezTo>
                    <a:cubicBezTo>
                      <a:pt x="240" y="164"/>
                      <a:pt x="240" y="164"/>
                      <a:pt x="240" y="164"/>
                    </a:cubicBezTo>
                    <a:cubicBezTo>
                      <a:pt x="241" y="163"/>
                      <a:pt x="241" y="163"/>
                      <a:pt x="241" y="163"/>
                    </a:cubicBezTo>
                    <a:cubicBezTo>
                      <a:pt x="241" y="162"/>
                      <a:pt x="241" y="161"/>
                      <a:pt x="241" y="161"/>
                    </a:cubicBezTo>
                    <a:cubicBezTo>
                      <a:pt x="241" y="160"/>
                      <a:pt x="242" y="160"/>
                      <a:pt x="242" y="159"/>
                    </a:cubicBezTo>
                    <a:cubicBezTo>
                      <a:pt x="242" y="159"/>
                      <a:pt x="243" y="158"/>
                      <a:pt x="243" y="158"/>
                    </a:cubicBezTo>
                    <a:cubicBezTo>
                      <a:pt x="244" y="158"/>
                      <a:pt x="244" y="157"/>
                      <a:pt x="245" y="157"/>
                    </a:cubicBezTo>
                    <a:cubicBezTo>
                      <a:pt x="245" y="156"/>
                      <a:pt x="244" y="155"/>
                      <a:pt x="244" y="154"/>
                    </a:cubicBezTo>
                    <a:cubicBezTo>
                      <a:pt x="244" y="150"/>
                      <a:pt x="246" y="147"/>
                      <a:pt x="247" y="144"/>
                    </a:cubicBezTo>
                    <a:cubicBezTo>
                      <a:pt x="248" y="140"/>
                      <a:pt x="248" y="140"/>
                      <a:pt x="248" y="140"/>
                    </a:cubicBezTo>
                    <a:cubicBezTo>
                      <a:pt x="259" y="146"/>
                      <a:pt x="259" y="146"/>
                      <a:pt x="259" y="146"/>
                    </a:cubicBezTo>
                    <a:cubicBezTo>
                      <a:pt x="260" y="146"/>
                      <a:pt x="260" y="146"/>
                      <a:pt x="261" y="146"/>
                    </a:cubicBezTo>
                    <a:cubicBezTo>
                      <a:pt x="262" y="146"/>
                      <a:pt x="263" y="146"/>
                      <a:pt x="264" y="146"/>
                    </a:cubicBezTo>
                    <a:cubicBezTo>
                      <a:pt x="266" y="146"/>
                      <a:pt x="266" y="146"/>
                      <a:pt x="266" y="146"/>
                    </a:cubicBezTo>
                    <a:cubicBezTo>
                      <a:pt x="270" y="145"/>
                      <a:pt x="275" y="144"/>
                      <a:pt x="281" y="141"/>
                    </a:cubicBezTo>
                    <a:cubicBezTo>
                      <a:pt x="282" y="141"/>
                      <a:pt x="282" y="141"/>
                      <a:pt x="282" y="141"/>
                    </a:cubicBezTo>
                    <a:cubicBezTo>
                      <a:pt x="284" y="140"/>
                      <a:pt x="285" y="139"/>
                      <a:pt x="287" y="139"/>
                    </a:cubicBezTo>
                    <a:cubicBezTo>
                      <a:pt x="287" y="139"/>
                      <a:pt x="289" y="140"/>
                      <a:pt x="290" y="140"/>
                    </a:cubicBezTo>
                    <a:cubicBezTo>
                      <a:pt x="295" y="141"/>
                      <a:pt x="295" y="141"/>
                      <a:pt x="295" y="141"/>
                    </a:cubicBezTo>
                    <a:cubicBezTo>
                      <a:pt x="296" y="141"/>
                      <a:pt x="297" y="142"/>
                      <a:pt x="298" y="143"/>
                    </a:cubicBezTo>
                    <a:cubicBezTo>
                      <a:pt x="298" y="143"/>
                      <a:pt x="298" y="143"/>
                      <a:pt x="298" y="143"/>
                    </a:cubicBezTo>
                    <a:cubicBezTo>
                      <a:pt x="298" y="143"/>
                      <a:pt x="298" y="143"/>
                      <a:pt x="298" y="143"/>
                    </a:cubicBezTo>
                    <a:cubicBezTo>
                      <a:pt x="299" y="143"/>
                      <a:pt x="299" y="143"/>
                      <a:pt x="299" y="143"/>
                    </a:cubicBezTo>
                    <a:cubicBezTo>
                      <a:pt x="303" y="144"/>
                      <a:pt x="307" y="145"/>
                      <a:pt x="312" y="145"/>
                    </a:cubicBezTo>
                    <a:cubicBezTo>
                      <a:pt x="312" y="145"/>
                      <a:pt x="313" y="145"/>
                      <a:pt x="314" y="145"/>
                    </a:cubicBezTo>
                    <a:cubicBezTo>
                      <a:pt x="315" y="145"/>
                      <a:pt x="315" y="145"/>
                      <a:pt x="315" y="145"/>
                    </a:cubicBezTo>
                    <a:cubicBezTo>
                      <a:pt x="315" y="146"/>
                      <a:pt x="315" y="146"/>
                      <a:pt x="315" y="146"/>
                    </a:cubicBezTo>
                    <a:cubicBezTo>
                      <a:pt x="315" y="145"/>
                      <a:pt x="315" y="145"/>
                      <a:pt x="315" y="145"/>
                    </a:cubicBezTo>
                    <a:cubicBezTo>
                      <a:pt x="320" y="144"/>
                      <a:pt x="324" y="142"/>
                      <a:pt x="328" y="141"/>
                    </a:cubicBezTo>
                    <a:cubicBezTo>
                      <a:pt x="333" y="139"/>
                      <a:pt x="333" y="139"/>
                      <a:pt x="333" y="139"/>
                    </a:cubicBezTo>
                    <a:cubicBezTo>
                      <a:pt x="333" y="139"/>
                      <a:pt x="334" y="139"/>
                      <a:pt x="334" y="138"/>
                    </a:cubicBezTo>
                    <a:cubicBezTo>
                      <a:pt x="336" y="138"/>
                      <a:pt x="337" y="138"/>
                      <a:pt x="338" y="137"/>
                    </a:cubicBezTo>
                    <a:cubicBezTo>
                      <a:pt x="338" y="137"/>
                      <a:pt x="338" y="137"/>
                      <a:pt x="338" y="137"/>
                    </a:cubicBezTo>
                    <a:cubicBezTo>
                      <a:pt x="341" y="135"/>
                      <a:pt x="345" y="134"/>
                      <a:pt x="348" y="134"/>
                    </a:cubicBezTo>
                    <a:cubicBezTo>
                      <a:pt x="349" y="134"/>
                      <a:pt x="349" y="134"/>
                      <a:pt x="349" y="134"/>
                    </a:cubicBezTo>
                    <a:cubicBezTo>
                      <a:pt x="350" y="134"/>
                      <a:pt x="352" y="134"/>
                      <a:pt x="353" y="134"/>
                    </a:cubicBezTo>
                    <a:cubicBezTo>
                      <a:pt x="361" y="134"/>
                      <a:pt x="367" y="133"/>
                      <a:pt x="374" y="132"/>
                    </a:cubicBezTo>
                    <a:cubicBezTo>
                      <a:pt x="377" y="131"/>
                      <a:pt x="379" y="130"/>
                      <a:pt x="382" y="130"/>
                    </a:cubicBezTo>
                    <a:cubicBezTo>
                      <a:pt x="385" y="129"/>
                      <a:pt x="385" y="129"/>
                      <a:pt x="385" y="129"/>
                    </a:cubicBezTo>
                    <a:cubicBezTo>
                      <a:pt x="386" y="131"/>
                      <a:pt x="386" y="131"/>
                      <a:pt x="386" y="131"/>
                    </a:cubicBezTo>
                    <a:cubicBezTo>
                      <a:pt x="389" y="129"/>
                      <a:pt x="393" y="126"/>
                      <a:pt x="399" y="126"/>
                    </a:cubicBezTo>
                    <a:cubicBezTo>
                      <a:pt x="400" y="126"/>
                      <a:pt x="400" y="126"/>
                      <a:pt x="400" y="126"/>
                    </a:cubicBezTo>
                    <a:cubicBezTo>
                      <a:pt x="401" y="126"/>
                      <a:pt x="401" y="126"/>
                      <a:pt x="401" y="126"/>
                    </a:cubicBezTo>
                    <a:cubicBezTo>
                      <a:pt x="401" y="126"/>
                      <a:pt x="402" y="126"/>
                      <a:pt x="402" y="126"/>
                    </a:cubicBezTo>
                    <a:cubicBezTo>
                      <a:pt x="402" y="126"/>
                      <a:pt x="402" y="126"/>
                      <a:pt x="402" y="126"/>
                    </a:cubicBezTo>
                    <a:cubicBezTo>
                      <a:pt x="402" y="128"/>
                      <a:pt x="402" y="128"/>
                      <a:pt x="402" y="128"/>
                    </a:cubicBezTo>
                    <a:cubicBezTo>
                      <a:pt x="403" y="126"/>
                      <a:pt x="403" y="126"/>
                      <a:pt x="403" y="126"/>
                    </a:cubicBezTo>
                    <a:cubicBezTo>
                      <a:pt x="404" y="127"/>
                      <a:pt x="404" y="127"/>
                      <a:pt x="405" y="127"/>
                    </a:cubicBezTo>
                    <a:cubicBezTo>
                      <a:pt x="409" y="128"/>
                      <a:pt x="409" y="128"/>
                      <a:pt x="409" y="128"/>
                    </a:cubicBezTo>
                    <a:cubicBezTo>
                      <a:pt x="412" y="128"/>
                      <a:pt x="415" y="129"/>
                      <a:pt x="418" y="129"/>
                    </a:cubicBezTo>
                    <a:cubicBezTo>
                      <a:pt x="419" y="129"/>
                      <a:pt x="421" y="129"/>
                      <a:pt x="422" y="129"/>
                    </a:cubicBezTo>
                    <a:cubicBezTo>
                      <a:pt x="423" y="128"/>
                      <a:pt x="424" y="128"/>
                      <a:pt x="424" y="128"/>
                    </a:cubicBezTo>
                    <a:cubicBezTo>
                      <a:pt x="429" y="128"/>
                      <a:pt x="430" y="132"/>
                      <a:pt x="431" y="133"/>
                    </a:cubicBezTo>
                    <a:cubicBezTo>
                      <a:pt x="431" y="134"/>
                      <a:pt x="431" y="134"/>
                      <a:pt x="431" y="134"/>
                    </a:cubicBezTo>
                    <a:cubicBezTo>
                      <a:pt x="431" y="134"/>
                      <a:pt x="431" y="135"/>
                      <a:pt x="431" y="135"/>
                    </a:cubicBezTo>
                    <a:cubicBezTo>
                      <a:pt x="432" y="135"/>
                      <a:pt x="432" y="136"/>
                      <a:pt x="432" y="136"/>
                    </a:cubicBezTo>
                    <a:cubicBezTo>
                      <a:pt x="433" y="136"/>
                      <a:pt x="433" y="136"/>
                      <a:pt x="433" y="136"/>
                    </a:cubicBezTo>
                    <a:cubicBezTo>
                      <a:pt x="434" y="135"/>
                      <a:pt x="435" y="135"/>
                      <a:pt x="436" y="134"/>
                    </a:cubicBezTo>
                    <a:cubicBezTo>
                      <a:pt x="439" y="133"/>
                      <a:pt x="439" y="133"/>
                      <a:pt x="439" y="133"/>
                    </a:cubicBezTo>
                    <a:cubicBezTo>
                      <a:pt x="439" y="133"/>
                      <a:pt x="439" y="133"/>
                      <a:pt x="439" y="133"/>
                    </a:cubicBezTo>
                    <a:cubicBezTo>
                      <a:pt x="439" y="132"/>
                      <a:pt x="439" y="132"/>
                      <a:pt x="439" y="132"/>
                    </a:cubicBezTo>
                    <a:cubicBezTo>
                      <a:pt x="438" y="132"/>
                      <a:pt x="438" y="132"/>
                      <a:pt x="438" y="132"/>
                    </a:cubicBezTo>
                    <a:cubicBezTo>
                      <a:pt x="438" y="132"/>
                      <a:pt x="438" y="132"/>
                      <a:pt x="438" y="132"/>
                    </a:cubicBezTo>
                    <a:cubicBezTo>
                      <a:pt x="438" y="131"/>
                      <a:pt x="438" y="131"/>
                      <a:pt x="438" y="131"/>
                    </a:cubicBezTo>
                    <a:cubicBezTo>
                      <a:pt x="436" y="130"/>
                      <a:pt x="436" y="130"/>
                      <a:pt x="436" y="130"/>
                    </a:cubicBezTo>
                    <a:cubicBezTo>
                      <a:pt x="436" y="130"/>
                      <a:pt x="435" y="129"/>
                      <a:pt x="435" y="129"/>
                    </a:cubicBezTo>
                    <a:cubicBezTo>
                      <a:pt x="434" y="128"/>
                      <a:pt x="434" y="128"/>
                      <a:pt x="434" y="128"/>
                    </a:cubicBezTo>
                    <a:cubicBezTo>
                      <a:pt x="433" y="126"/>
                      <a:pt x="434" y="124"/>
                      <a:pt x="434" y="122"/>
                    </a:cubicBezTo>
                    <a:cubicBezTo>
                      <a:pt x="434" y="122"/>
                      <a:pt x="434" y="122"/>
                      <a:pt x="434" y="122"/>
                    </a:cubicBezTo>
                    <a:cubicBezTo>
                      <a:pt x="434" y="121"/>
                      <a:pt x="434" y="121"/>
                      <a:pt x="434" y="121"/>
                    </a:cubicBezTo>
                    <a:cubicBezTo>
                      <a:pt x="434" y="121"/>
                      <a:pt x="434" y="121"/>
                      <a:pt x="434" y="121"/>
                    </a:cubicBezTo>
                    <a:cubicBezTo>
                      <a:pt x="434" y="121"/>
                      <a:pt x="434" y="121"/>
                      <a:pt x="434" y="121"/>
                    </a:cubicBezTo>
                    <a:cubicBezTo>
                      <a:pt x="433" y="120"/>
                      <a:pt x="432" y="120"/>
                      <a:pt x="432" y="120"/>
                    </a:cubicBezTo>
                    <a:cubicBezTo>
                      <a:pt x="431" y="119"/>
                      <a:pt x="431" y="119"/>
                      <a:pt x="431" y="119"/>
                    </a:cubicBezTo>
                    <a:cubicBezTo>
                      <a:pt x="431" y="119"/>
                      <a:pt x="430" y="119"/>
                      <a:pt x="430" y="118"/>
                    </a:cubicBezTo>
                    <a:cubicBezTo>
                      <a:pt x="430" y="118"/>
                      <a:pt x="430" y="118"/>
                      <a:pt x="429" y="118"/>
                    </a:cubicBezTo>
                    <a:cubicBezTo>
                      <a:pt x="429" y="118"/>
                      <a:pt x="428" y="118"/>
                      <a:pt x="427" y="117"/>
                    </a:cubicBezTo>
                    <a:cubicBezTo>
                      <a:pt x="427" y="117"/>
                      <a:pt x="427" y="117"/>
                      <a:pt x="427" y="117"/>
                    </a:cubicBezTo>
                    <a:cubicBezTo>
                      <a:pt x="426" y="116"/>
                      <a:pt x="425" y="115"/>
                      <a:pt x="425" y="114"/>
                    </a:cubicBezTo>
                    <a:cubicBezTo>
                      <a:pt x="425" y="113"/>
                      <a:pt x="426" y="112"/>
                      <a:pt x="426" y="111"/>
                    </a:cubicBezTo>
                    <a:cubicBezTo>
                      <a:pt x="426" y="111"/>
                      <a:pt x="426" y="110"/>
                      <a:pt x="427" y="109"/>
                    </a:cubicBezTo>
                    <a:cubicBezTo>
                      <a:pt x="427" y="108"/>
                      <a:pt x="429" y="106"/>
                      <a:pt x="430" y="105"/>
                    </a:cubicBezTo>
                    <a:cubicBezTo>
                      <a:pt x="427" y="106"/>
                      <a:pt x="427" y="106"/>
                      <a:pt x="427" y="106"/>
                    </a:cubicBezTo>
                    <a:cubicBezTo>
                      <a:pt x="428" y="101"/>
                      <a:pt x="428" y="101"/>
                      <a:pt x="428" y="101"/>
                    </a:cubicBezTo>
                    <a:cubicBezTo>
                      <a:pt x="428" y="97"/>
                      <a:pt x="428" y="92"/>
                      <a:pt x="427" y="91"/>
                    </a:cubicBezTo>
                    <a:cubicBezTo>
                      <a:pt x="426" y="91"/>
                      <a:pt x="426" y="91"/>
                      <a:pt x="426" y="91"/>
                    </a:cubicBezTo>
                    <a:cubicBezTo>
                      <a:pt x="426" y="90"/>
                      <a:pt x="426" y="90"/>
                      <a:pt x="426" y="90"/>
                    </a:cubicBezTo>
                    <a:cubicBezTo>
                      <a:pt x="425" y="88"/>
                      <a:pt x="424" y="86"/>
                      <a:pt x="423" y="84"/>
                    </a:cubicBezTo>
                    <a:cubicBezTo>
                      <a:pt x="423" y="82"/>
                      <a:pt x="422" y="81"/>
                      <a:pt x="422" y="80"/>
                    </a:cubicBezTo>
                    <a:cubicBezTo>
                      <a:pt x="420" y="75"/>
                      <a:pt x="420" y="75"/>
                      <a:pt x="420" y="75"/>
                    </a:cubicBezTo>
                    <a:cubicBezTo>
                      <a:pt x="424" y="72"/>
                      <a:pt x="424" y="72"/>
                      <a:pt x="424" y="72"/>
                    </a:cubicBezTo>
                    <a:cubicBezTo>
                      <a:pt x="425" y="71"/>
                      <a:pt x="425" y="71"/>
                      <a:pt x="425" y="71"/>
                    </a:cubicBezTo>
                    <a:cubicBezTo>
                      <a:pt x="427" y="71"/>
                      <a:pt x="430" y="71"/>
                      <a:pt x="430" y="71"/>
                    </a:cubicBezTo>
                    <a:cubicBezTo>
                      <a:pt x="430" y="71"/>
                      <a:pt x="431" y="70"/>
                      <a:pt x="431" y="68"/>
                    </a:cubicBezTo>
                    <a:cubicBezTo>
                      <a:pt x="431" y="66"/>
                      <a:pt x="430" y="63"/>
                      <a:pt x="433" y="62"/>
                    </a:cubicBezTo>
                    <a:cubicBezTo>
                      <a:pt x="430" y="60"/>
                      <a:pt x="430" y="60"/>
                      <a:pt x="426" y="59"/>
                    </a:cubicBezTo>
                    <a:cubicBezTo>
                      <a:pt x="425" y="59"/>
                      <a:pt x="423" y="59"/>
                      <a:pt x="422" y="59"/>
                    </a:cubicBezTo>
                    <a:cubicBezTo>
                      <a:pt x="422" y="59"/>
                      <a:pt x="422" y="59"/>
                      <a:pt x="422" y="59"/>
                    </a:cubicBezTo>
                    <a:cubicBezTo>
                      <a:pt x="422" y="59"/>
                      <a:pt x="421" y="59"/>
                      <a:pt x="421" y="59"/>
                    </a:cubicBezTo>
                    <a:cubicBezTo>
                      <a:pt x="418" y="59"/>
                      <a:pt x="417" y="58"/>
                      <a:pt x="415" y="57"/>
                    </a:cubicBezTo>
                    <a:cubicBezTo>
                      <a:pt x="414" y="57"/>
                      <a:pt x="414" y="57"/>
                      <a:pt x="414" y="57"/>
                    </a:cubicBezTo>
                    <a:cubicBezTo>
                      <a:pt x="413" y="56"/>
                      <a:pt x="412" y="55"/>
                      <a:pt x="412" y="54"/>
                    </a:cubicBezTo>
                    <a:cubicBezTo>
                      <a:pt x="411" y="53"/>
                      <a:pt x="412" y="52"/>
                      <a:pt x="412" y="51"/>
                    </a:cubicBezTo>
                    <a:cubicBezTo>
                      <a:pt x="412" y="51"/>
                      <a:pt x="412" y="51"/>
                      <a:pt x="412" y="51"/>
                    </a:cubicBezTo>
                    <a:cubicBezTo>
                      <a:pt x="412" y="50"/>
                      <a:pt x="412" y="50"/>
                      <a:pt x="411" y="49"/>
                    </a:cubicBezTo>
                    <a:cubicBezTo>
                      <a:pt x="410" y="46"/>
                      <a:pt x="409" y="45"/>
                      <a:pt x="409" y="44"/>
                    </a:cubicBezTo>
                    <a:cubicBezTo>
                      <a:pt x="409" y="42"/>
                      <a:pt x="411" y="41"/>
                      <a:pt x="411" y="40"/>
                    </a:cubicBezTo>
                    <a:cubicBezTo>
                      <a:pt x="412" y="40"/>
                      <a:pt x="412" y="40"/>
                      <a:pt x="412" y="40"/>
                    </a:cubicBezTo>
                    <a:cubicBezTo>
                      <a:pt x="412" y="40"/>
                      <a:pt x="412" y="40"/>
                      <a:pt x="412" y="40"/>
                    </a:cubicBezTo>
                    <a:cubicBezTo>
                      <a:pt x="412" y="40"/>
                      <a:pt x="412" y="40"/>
                      <a:pt x="412" y="40"/>
                    </a:cubicBezTo>
                    <a:cubicBezTo>
                      <a:pt x="412" y="38"/>
                      <a:pt x="412" y="38"/>
                      <a:pt x="412" y="38"/>
                    </a:cubicBezTo>
                    <a:cubicBezTo>
                      <a:pt x="412" y="37"/>
                      <a:pt x="412" y="36"/>
                      <a:pt x="412" y="36"/>
                    </a:cubicBezTo>
                    <a:cubicBezTo>
                      <a:pt x="412" y="35"/>
                      <a:pt x="412" y="35"/>
                      <a:pt x="412" y="35"/>
                    </a:cubicBezTo>
                    <a:cubicBezTo>
                      <a:pt x="412" y="35"/>
                      <a:pt x="412" y="34"/>
                      <a:pt x="412" y="34"/>
                    </a:cubicBezTo>
                    <a:cubicBezTo>
                      <a:pt x="412" y="33"/>
                      <a:pt x="412" y="33"/>
                      <a:pt x="412" y="33"/>
                    </a:cubicBezTo>
                    <a:cubicBezTo>
                      <a:pt x="412" y="33"/>
                      <a:pt x="412" y="33"/>
                      <a:pt x="412" y="33"/>
                    </a:cubicBezTo>
                    <a:cubicBezTo>
                      <a:pt x="411" y="33"/>
                      <a:pt x="411" y="33"/>
                      <a:pt x="411" y="33"/>
                    </a:cubicBezTo>
                    <a:cubicBezTo>
                      <a:pt x="411" y="32"/>
                      <a:pt x="411" y="31"/>
                      <a:pt x="410" y="31"/>
                    </a:cubicBezTo>
                    <a:cubicBezTo>
                      <a:pt x="404" y="24"/>
                      <a:pt x="404" y="24"/>
                      <a:pt x="404" y="24"/>
                    </a:cubicBezTo>
                    <a:cubicBezTo>
                      <a:pt x="403" y="24"/>
                      <a:pt x="403" y="24"/>
                      <a:pt x="403" y="24"/>
                    </a:cubicBezTo>
                    <a:cubicBezTo>
                      <a:pt x="402" y="23"/>
                      <a:pt x="401" y="23"/>
                      <a:pt x="400" y="22"/>
                    </a:cubicBezTo>
                    <a:cubicBezTo>
                      <a:pt x="399" y="21"/>
                      <a:pt x="399" y="21"/>
                      <a:pt x="399" y="21"/>
                    </a:cubicBezTo>
                    <a:cubicBezTo>
                      <a:pt x="399" y="21"/>
                      <a:pt x="399" y="21"/>
                      <a:pt x="399" y="21"/>
                    </a:cubicBezTo>
                    <a:cubicBezTo>
                      <a:pt x="398" y="21"/>
                      <a:pt x="398" y="20"/>
                      <a:pt x="397" y="20"/>
                    </a:cubicBezTo>
                    <a:cubicBezTo>
                      <a:pt x="397" y="20"/>
                      <a:pt x="397" y="19"/>
                      <a:pt x="396" y="19"/>
                    </a:cubicBezTo>
                    <a:cubicBezTo>
                      <a:pt x="396" y="18"/>
                      <a:pt x="396" y="18"/>
                      <a:pt x="396" y="18"/>
                    </a:cubicBezTo>
                    <a:cubicBezTo>
                      <a:pt x="395" y="18"/>
                      <a:pt x="395" y="18"/>
                      <a:pt x="395" y="18"/>
                    </a:cubicBezTo>
                    <a:cubicBezTo>
                      <a:pt x="394" y="16"/>
                      <a:pt x="393" y="16"/>
                      <a:pt x="392" y="16"/>
                    </a:cubicBezTo>
                    <a:cubicBezTo>
                      <a:pt x="391" y="16"/>
                      <a:pt x="391" y="16"/>
                      <a:pt x="391" y="16"/>
                    </a:cubicBezTo>
                    <a:cubicBezTo>
                      <a:pt x="391" y="16"/>
                      <a:pt x="391" y="16"/>
                      <a:pt x="390" y="17"/>
                    </a:cubicBezTo>
                    <a:cubicBezTo>
                      <a:pt x="390" y="20"/>
                      <a:pt x="390" y="20"/>
                      <a:pt x="390" y="20"/>
                    </a:cubicBezTo>
                    <a:cubicBezTo>
                      <a:pt x="387" y="20"/>
                      <a:pt x="387" y="20"/>
                      <a:pt x="387" y="20"/>
                    </a:cubicBezTo>
                    <a:cubicBezTo>
                      <a:pt x="384" y="19"/>
                      <a:pt x="381" y="19"/>
                      <a:pt x="378" y="19"/>
                    </a:cubicBezTo>
                    <a:cubicBezTo>
                      <a:pt x="376" y="18"/>
                      <a:pt x="376" y="18"/>
                      <a:pt x="376" y="18"/>
                    </a:cubicBezTo>
                    <a:cubicBezTo>
                      <a:pt x="376" y="18"/>
                      <a:pt x="375" y="18"/>
                      <a:pt x="375" y="18"/>
                    </a:cubicBezTo>
                    <a:cubicBezTo>
                      <a:pt x="374" y="18"/>
                      <a:pt x="373" y="18"/>
                      <a:pt x="373" y="18"/>
                    </a:cubicBezTo>
                    <a:cubicBezTo>
                      <a:pt x="372" y="18"/>
                      <a:pt x="372" y="18"/>
                      <a:pt x="372" y="18"/>
                    </a:cubicBezTo>
                    <a:cubicBezTo>
                      <a:pt x="371" y="18"/>
                      <a:pt x="370" y="18"/>
                      <a:pt x="369" y="18"/>
                    </a:cubicBezTo>
                    <a:cubicBezTo>
                      <a:pt x="368" y="18"/>
                      <a:pt x="367" y="18"/>
                      <a:pt x="366" y="18"/>
                    </a:cubicBezTo>
                    <a:cubicBezTo>
                      <a:pt x="367" y="22"/>
                      <a:pt x="367" y="22"/>
                      <a:pt x="367" y="22"/>
                    </a:cubicBezTo>
                    <a:cubicBezTo>
                      <a:pt x="364" y="18"/>
                      <a:pt x="364" y="18"/>
                      <a:pt x="364" y="18"/>
                    </a:cubicBezTo>
                    <a:cubicBezTo>
                      <a:pt x="355" y="22"/>
                      <a:pt x="355" y="22"/>
                      <a:pt x="355" y="22"/>
                    </a:cubicBezTo>
                    <a:cubicBezTo>
                      <a:pt x="353" y="22"/>
                      <a:pt x="352" y="23"/>
                      <a:pt x="351" y="24"/>
                    </a:cubicBezTo>
                    <a:cubicBezTo>
                      <a:pt x="349" y="24"/>
                      <a:pt x="347" y="24"/>
                      <a:pt x="346" y="25"/>
                    </a:cubicBezTo>
                    <a:cubicBezTo>
                      <a:pt x="343" y="28"/>
                      <a:pt x="339" y="29"/>
                      <a:pt x="336" y="30"/>
                    </a:cubicBezTo>
                    <a:cubicBezTo>
                      <a:pt x="334" y="31"/>
                      <a:pt x="333" y="31"/>
                      <a:pt x="331" y="31"/>
                    </a:cubicBezTo>
                    <a:cubicBezTo>
                      <a:pt x="331" y="31"/>
                      <a:pt x="331" y="31"/>
                      <a:pt x="331" y="31"/>
                    </a:cubicBezTo>
                    <a:cubicBezTo>
                      <a:pt x="330" y="31"/>
                      <a:pt x="330" y="31"/>
                      <a:pt x="329" y="31"/>
                    </a:cubicBezTo>
                    <a:cubicBezTo>
                      <a:pt x="329" y="30"/>
                      <a:pt x="328" y="30"/>
                      <a:pt x="328" y="30"/>
                    </a:cubicBezTo>
                    <a:cubicBezTo>
                      <a:pt x="327" y="30"/>
                      <a:pt x="327" y="30"/>
                      <a:pt x="327" y="30"/>
                    </a:cubicBezTo>
                    <a:cubicBezTo>
                      <a:pt x="327" y="30"/>
                      <a:pt x="326" y="30"/>
                      <a:pt x="326" y="30"/>
                    </a:cubicBezTo>
                    <a:cubicBezTo>
                      <a:pt x="323" y="30"/>
                      <a:pt x="319" y="29"/>
                      <a:pt x="317" y="27"/>
                    </a:cubicBezTo>
                    <a:cubicBezTo>
                      <a:pt x="316" y="27"/>
                      <a:pt x="315" y="27"/>
                      <a:pt x="315" y="27"/>
                    </a:cubicBezTo>
                    <a:cubicBezTo>
                      <a:pt x="314" y="27"/>
                      <a:pt x="314" y="27"/>
                      <a:pt x="312" y="28"/>
                    </a:cubicBezTo>
                    <a:cubicBezTo>
                      <a:pt x="312" y="28"/>
                      <a:pt x="311" y="28"/>
                      <a:pt x="311" y="28"/>
                    </a:cubicBezTo>
                    <a:cubicBezTo>
                      <a:pt x="310" y="28"/>
                      <a:pt x="310" y="28"/>
                      <a:pt x="310" y="28"/>
                    </a:cubicBezTo>
                    <a:cubicBezTo>
                      <a:pt x="309" y="28"/>
                      <a:pt x="309" y="28"/>
                      <a:pt x="309" y="28"/>
                    </a:cubicBezTo>
                    <a:cubicBezTo>
                      <a:pt x="308" y="28"/>
                      <a:pt x="308" y="28"/>
                      <a:pt x="307" y="28"/>
                    </a:cubicBezTo>
                    <a:cubicBezTo>
                      <a:pt x="302" y="29"/>
                      <a:pt x="296" y="32"/>
                      <a:pt x="291" y="32"/>
                    </a:cubicBezTo>
                    <a:cubicBezTo>
                      <a:pt x="290" y="32"/>
                      <a:pt x="290" y="32"/>
                      <a:pt x="290" y="32"/>
                    </a:cubicBezTo>
                    <a:cubicBezTo>
                      <a:pt x="284" y="32"/>
                      <a:pt x="278" y="29"/>
                      <a:pt x="272" y="28"/>
                    </a:cubicBezTo>
                    <a:cubicBezTo>
                      <a:pt x="264" y="27"/>
                      <a:pt x="260" y="24"/>
                      <a:pt x="254" y="20"/>
                    </a:cubicBezTo>
                    <a:cubicBezTo>
                      <a:pt x="254" y="19"/>
                      <a:pt x="253" y="19"/>
                      <a:pt x="253" y="19"/>
                    </a:cubicBezTo>
                    <a:cubicBezTo>
                      <a:pt x="251" y="19"/>
                      <a:pt x="246" y="22"/>
                      <a:pt x="244" y="22"/>
                    </a:cubicBezTo>
                    <a:cubicBezTo>
                      <a:pt x="244" y="22"/>
                      <a:pt x="244" y="22"/>
                      <a:pt x="244" y="22"/>
                    </a:cubicBezTo>
                    <a:cubicBezTo>
                      <a:pt x="242" y="22"/>
                      <a:pt x="239" y="18"/>
                      <a:pt x="238" y="16"/>
                    </a:cubicBezTo>
                    <a:cubicBezTo>
                      <a:pt x="236" y="13"/>
                      <a:pt x="237" y="9"/>
                      <a:pt x="233" y="9"/>
                    </a:cubicBezTo>
                    <a:cubicBezTo>
                      <a:pt x="233" y="9"/>
                      <a:pt x="232" y="9"/>
                      <a:pt x="232" y="10"/>
                    </a:cubicBezTo>
                    <a:cubicBezTo>
                      <a:pt x="229" y="10"/>
                      <a:pt x="227" y="11"/>
                      <a:pt x="224" y="11"/>
                    </a:cubicBezTo>
                    <a:cubicBezTo>
                      <a:pt x="223" y="11"/>
                      <a:pt x="223" y="11"/>
                      <a:pt x="222" y="11"/>
                    </a:cubicBezTo>
                    <a:cubicBezTo>
                      <a:pt x="219" y="11"/>
                      <a:pt x="217" y="8"/>
                      <a:pt x="214" y="5"/>
                    </a:cubicBezTo>
                    <a:cubicBezTo>
                      <a:pt x="213" y="4"/>
                      <a:pt x="213" y="1"/>
                      <a:pt x="215" y="1"/>
                    </a:cubicBezTo>
                    <a:cubicBezTo>
                      <a:pt x="215" y="1"/>
                      <a:pt x="215" y="1"/>
                      <a:pt x="216" y="1"/>
                    </a:cubicBezTo>
                    <a:cubicBezTo>
                      <a:pt x="215" y="0"/>
                      <a:pt x="214" y="0"/>
                      <a:pt x="2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 name="Freeform 180">
                <a:extLst>
                  <a:ext uri="{FF2B5EF4-FFF2-40B4-BE49-F238E27FC236}">
                    <a16:creationId xmlns:a16="http://schemas.microsoft.com/office/drawing/2014/main" id="{C4AAD72F-0EA9-407B-A77B-6168FDB15534}"/>
                  </a:ext>
                </a:extLst>
              </p:cNvPr>
              <p:cNvSpPr>
                <a:spLocks/>
              </p:cNvSpPr>
              <p:nvPr/>
            </p:nvSpPr>
            <p:spPr bwMode="auto">
              <a:xfrm>
                <a:off x="5618" y="753"/>
                <a:ext cx="73" cy="83"/>
              </a:xfrm>
              <a:custGeom>
                <a:avLst/>
                <a:gdLst>
                  <a:gd name="T0" fmla="*/ 18 w 31"/>
                  <a:gd name="T1" fmla="*/ 0 h 35"/>
                  <a:gd name="T2" fmla="*/ 17 w 31"/>
                  <a:gd name="T3" fmla="*/ 2 h 35"/>
                  <a:gd name="T4" fmla="*/ 13 w 31"/>
                  <a:gd name="T5" fmla="*/ 6 h 35"/>
                  <a:gd name="T6" fmla="*/ 9 w 31"/>
                  <a:gd name="T7" fmla="*/ 17 h 35"/>
                  <a:gd name="T8" fmla="*/ 6 w 31"/>
                  <a:gd name="T9" fmla="*/ 21 h 35"/>
                  <a:gd name="T10" fmla="*/ 4 w 31"/>
                  <a:gd name="T11" fmla="*/ 26 h 35"/>
                  <a:gd name="T12" fmla="*/ 0 w 31"/>
                  <a:gd name="T13" fmla="*/ 35 h 35"/>
                  <a:gd name="T14" fmla="*/ 2 w 31"/>
                  <a:gd name="T15" fmla="*/ 35 h 35"/>
                  <a:gd name="T16" fmla="*/ 4 w 31"/>
                  <a:gd name="T17" fmla="*/ 35 h 35"/>
                  <a:gd name="T18" fmla="*/ 7 w 31"/>
                  <a:gd name="T19" fmla="*/ 34 h 35"/>
                  <a:gd name="T20" fmla="*/ 9 w 31"/>
                  <a:gd name="T21" fmla="*/ 31 h 35"/>
                  <a:gd name="T22" fmla="*/ 10 w 31"/>
                  <a:gd name="T23" fmla="*/ 31 h 35"/>
                  <a:gd name="T24" fmla="*/ 12 w 31"/>
                  <a:gd name="T25" fmla="*/ 29 h 35"/>
                  <a:gd name="T26" fmla="*/ 13 w 31"/>
                  <a:gd name="T27" fmla="*/ 29 h 35"/>
                  <a:gd name="T28" fmla="*/ 14 w 31"/>
                  <a:gd name="T29" fmla="*/ 28 h 35"/>
                  <a:gd name="T30" fmla="*/ 17 w 31"/>
                  <a:gd name="T31" fmla="*/ 26 h 35"/>
                  <a:gd name="T32" fmla="*/ 17 w 31"/>
                  <a:gd name="T33" fmla="*/ 25 h 35"/>
                  <a:gd name="T34" fmla="*/ 16 w 31"/>
                  <a:gd name="T35" fmla="*/ 23 h 35"/>
                  <a:gd name="T36" fmla="*/ 21 w 31"/>
                  <a:gd name="T37" fmla="*/ 17 h 35"/>
                  <a:gd name="T38" fmla="*/ 24 w 31"/>
                  <a:gd name="T39" fmla="*/ 15 h 35"/>
                  <a:gd name="T40" fmla="*/ 30 w 31"/>
                  <a:gd name="T41" fmla="*/ 9 h 35"/>
                  <a:gd name="T42" fmla="*/ 31 w 31"/>
                  <a:gd name="T43" fmla="*/ 8 h 35"/>
                  <a:gd name="T44" fmla="*/ 30 w 31"/>
                  <a:gd name="T45" fmla="*/ 8 h 35"/>
                  <a:gd name="T46" fmla="*/ 29 w 31"/>
                  <a:gd name="T47" fmla="*/ 6 h 35"/>
                  <a:gd name="T48" fmla="*/ 27 w 31"/>
                  <a:gd name="T49" fmla="*/ 4 h 35"/>
                  <a:gd name="T50" fmla="*/ 23 w 31"/>
                  <a:gd name="T51" fmla="*/ 3 h 35"/>
                  <a:gd name="T52" fmla="*/ 25 w 31"/>
                  <a:gd name="T53" fmla="*/ 1 h 35"/>
                  <a:gd name="T54" fmla="*/ 22 w 31"/>
                  <a:gd name="T55" fmla="*/ 1 h 35"/>
                  <a:gd name="T56" fmla="*/ 18 w 31"/>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35">
                    <a:moveTo>
                      <a:pt x="18" y="0"/>
                    </a:moveTo>
                    <a:cubicBezTo>
                      <a:pt x="18" y="1"/>
                      <a:pt x="17" y="2"/>
                      <a:pt x="17" y="2"/>
                    </a:cubicBezTo>
                    <a:cubicBezTo>
                      <a:pt x="15" y="3"/>
                      <a:pt x="14" y="4"/>
                      <a:pt x="13" y="6"/>
                    </a:cubicBezTo>
                    <a:cubicBezTo>
                      <a:pt x="11" y="10"/>
                      <a:pt x="11" y="13"/>
                      <a:pt x="9" y="17"/>
                    </a:cubicBezTo>
                    <a:cubicBezTo>
                      <a:pt x="8" y="19"/>
                      <a:pt x="7" y="19"/>
                      <a:pt x="6" y="21"/>
                    </a:cubicBezTo>
                    <a:cubicBezTo>
                      <a:pt x="6" y="23"/>
                      <a:pt x="5" y="25"/>
                      <a:pt x="4" y="26"/>
                    </a:cubicBezTo>
                    <a:cubicBezTo>
                      <a:pt x="3" y="29"/>
                      <a:pt x="1" y="32"/>
                      <a:pt x="0" y="35"/>
                    </a:cubicBezTo>
                    <a:cubicBezTo>
                      <a:pt x="2" y="35"/>
                      <a:pt x="2" y="35"/>
                      <a:pt x="2" y="35"/>
                    </a:cubicBezTo>
                    <a:cubicBezTo>
                      <a:pt x="3" y="35"/>
                      <a:pt x="4" y="35"/>
                      <a:pt x="4" y="35"/>
                    </a:cubicBezTo>
                    <a:cubicBezTo>
                      <a:pt x="6" y="35"/>
                      <a:pt x="6" y="35"/>
                      <a:pt x="7" y="34"/>
                    </a:cubicBezTo>
                    <a:cubicBezTo>
                      <a:pt x="9" y="31"/>
                      <a:pt x="9" y="31"/>
                      <a:pt x="9" y="31"/>
                    </a:cubicBezTo>
                    <a:cubicBezTo>
                      <a:pt x="10" y="31"/>
                      <a:pt x="10" y="31"/>
                      <a:pt x="10" y="31"/>
                    </a:cubicBezTo>
                    <a:cubicBezTo>
                      <a:pt x="12" y="29"/>
                      <a:pt x="12" y="29"/>
                      <a:pt x="12" y="29"/>
                    </a:cubicBezTo>
                    <a:cubicBezTo>
                      <a:pt x="13" y="29"/>
                      <a:pt x="13" y="29"/>
                      <a:pt x="13" y="29"/>
                    </a:cubicBezTo>
                    <a:cubicBezTo>
                      <a:pt x="13" y="29"/>
                      <a:pt x="14" y="28"/>
                      <a:pt x="14" y="28"/>
                    </a:cubicBezTo>
                    <a:cubicBezTo>
                      <a:pt x="15" y="27"/>
                      <a:pt x="16" y="26"/>
                      <a:pt x="17" y="26"/>
                    </a:cubicBezTo>
                    <a:cubicBezTo>
                      <a:pt x="17" y="25"/>
                      <a:pt x="17" y="25"/>
                      <a:pt x="17" y="25"/>
                    </a:cubicBezTo>
                    <a:cubicBezTo>
                      <a:pt x="16" y="25"/>
                      <a:pt x="16" y="24"/>
                      <a:pt x="16" y="23"/>
                    </a:cubicBezTo>
                    <a:cubicBezTo>
                      <a:pt x="15" y="21"/>
                      <a:pt x="17" y="18"/>
                      <a:pt x="21" y="17"/>
                    </a:cubicBezTo>
                    <a:cubicBezTo>
                      <a:pt x="21" y="16"/>
                      <a:pt x="23" y="16"/>
                      <a:pt x="24" y="15"/>
                    </a:cubicBezTo>
                    <a:cubicBezTo>
                      <a:pt x="25" y="13"/>
                      <a:pt x="28" y="10"/>
                      <a:pt x="30" y="9"/>
                    </a:cubicBezTo>
                    <a:cubicBezTo>
                      <a:pt x="31" y="8"/>
                      <a:pt x="31" y="8"/>
                      <a:pt x="31" y="8"/>
                    </a:cubicBezTo>
                    <a:cubicBezTo>
                      <a:pt x="30" y="8"/>
                      <a:pt x="30" y="8"/>
                      <a:pt x="30" y="8"/>
                    </a:cubicBezTo>
                    <a:cubicBezTo>
                      <a:pt x="30" y="7"/>
                      <a:pt x="30" y="7"/>
                      <a:pt x="29" y="6"/>
                    </a:cubicBezTo>
                    <a:cubicBezTo>
                      <a:pt x="29" y="5"/>
                      <a:pt x="29" y="5"/>
                      <a:pt x="27" y="4"/>
                    </a:cubicBezTo>
                    <a:cubicBezTo>
                      <a:pt x="23" y="3"/>
                      <a:pt x="23" y="3"/>
                      <a:pt x="23" y="3"/>
                    </a:cubicBezTo>
                    <a:cubicBezTo>
                      <a:pt x="25" y="1"/>
                      <a:pt x="25" y="1"/>
                      <a:pt x="25" y="1"/>
                    </a:cubicBezTo>
                    <a:cubicBezTo>
                      <a:pt x="24" y="1"/>
                      <a:pt x="23" y="1"/>
                      <a:pt x="22" y="1"/>
                    </a:cubicBezTo>
                    <a:cubicBezTo>
                      <a:pt x="21" y="1"/>
                      <a:pt x="19" y="1"/>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 name="Freeform 181">
                <a:extLst>
                  <a:ext uri="{FF2B5EF4-FFF2-40B4-BE49-F238E27FC236}">
                    <a16:creationId xmlns:a16="http://schemas.microsoft.com/office/drawing/2014/main" id="{1A3BDBF6-2630-4EE4-8A80-AF4E0B2D7D69}"/>
                  </a:ext>
                </a:extLst>
              </p:cNvPr>
              <p:cNvSpPr>
                <a:spLocks/>
              </p:cNvSpPr>
              <p:nvPr/>
            </p:nvSpPr>
            <p:spPr bwMode="auto">
              <a:xfrm>
                <a:off x="6093" y="325"/>
                <a:ext cx="148" cy="147"/>
              </a:xfrm>
              <a:custGeom>
                <a:avLst/>
                <a:gdLst>
                  <a:gd name="T0" fmla="*/ 30 w 63"/>
                  <a:gd name="T1" fmla="*/ 1 h 62"/>
                  <a:gd name="T2" fmla="*/ 26 w 63"/>
                  <a:gd name="T3" fmla="*/ 2 h 62"/>
                  <a:gd name="T4" fmla="*/ 24 w 63"/>
                  <a:gd name="T5" fmla="*/ 2 h 62"/>
                  <a:gd name="T6" fmla="*/ 21 w 63"/>
                  <a:gd name="T7" fmla="*/ 2 h 62"/>
                  <a:gd name="T8" fmla="*/ 14 w 63"/>
                  <a:gd name="T9" fmla="*/ 3 h 62"/>
                  <a:gd name="T10" fmla="*/ 0 w 63"/>
                  <a:gd name="T11" fmla="*/ 6 h 62"/>
                  <a:gd name="T12" fmla="*/ 1 w 63"/>
                  <a:gd name="T13" fmla="*/ 7 h 62"/>
                  <a:gd name="T14" fmla="*/ 1 w 63"/>
                  <a:gd name="T15" fmla="*/ 8 h 62"/>
                  <a:gd name="T16" fmla="*/ 2 w 63"/>
                  <a:gd name="T17" fmla="*/ 10 h 62"/>
                  <a:gd name="T18" fmla="*/ 2 w 63"/>
                  <a:gd name="T19" fmla="*/ 13 h 62"/>
                  <a:gd name="T20" fmla="*/ 1 w 63"/>
                  <a:gd name="T21" fmla="*/ 19 h 62"/>
                  <a:gd name="T22" fmla="*/ 0 w 63"/>
                  <a:gd name="T23" fmla="*/ 21 h 62"/>
                  <a:gd name="T24" fmla="*/ 2 w 63"/>
                  <a:gd name="T25" fmla="*/ 25 h 62"/>
                  <a:gd name="T26" fmla="*/ 5 w 63"/>
                  <a:gd name="T27" fmla="*/ 29 h 62"/>
                  <a:gd name="T28" fmla="*/ 11 w 63"/>
                  <a:gd name="T29" fmla="*/ 30 h 62"/>
                  <a:gd name="T30" fmla="*/ 26 w 63"/>
                  <a:gd name="T31" fmla="*/ 38 h 62"/>
                  <a:gd name="T32" fmla="*/ 31 w 63"/>
                  <a:gd name="T33" fmla="*/ 37 h 62"/>
                  <a:gd name="T34" fmla="*/ 35 w 63"/>
                  <a:gd name="T35" fmla="*/ 38 h 62"/>
                  <a:gd name="T36" fmla="*/ 37 w 63"/>
                  <a:gd name="T37" fmla="*/ 41 h 62"/>
                  <a:gd name="T38" fmla="*/ 40 w 63"/>
                  <a:gd name="T39" fmla="*/ 43 h 62"/>
                  <a:gd name="T40" fmla="*/ 42 w 63"/>
                  <a:gd name="T41" fmla="*/ 44 h 62"/>
                  <a:gd name="T42" fmla="*/ 44 w 63"/>
                  <a:gd name="T43" fmla="*/ 43 h 62"/>
                  <a:gd name="T44" fmla="*/ 49 w 63"/>
                  <a:gd name="T45" fmla="*/ 44 h 62"/>
                  <a:gd name="T46" fmla="*/ 51 w 63"/>
                  <a:gd name="T47" fmla="*/ 48 h 62"/>
                  <a:gd name="T48" fmla="*/ 52 w 63"/>
                  <a:gd name="T49" fmla="*/ 50 h 62"/>
                  <a:gd name="T50" fmla="*/ 59 w 63"/>
                  <a:gd name="T51" fmla="*/ 61 h 62"/>
                  <a:gd name="T52" fmla="*/ 60 w 63"/>
                  <a:gd name="T53" fmla="*/ 62 h 62"/>
                  <a:gd name="T54" fmla="*/ 63 w 63"/>
                  <a:gd name="T55" fmla="*/ 61 h 62"/>
                  <a:gd name="T56" fmla="*/ 63 w 63"/>
                  <a:gd name="T57" fmla="*/ 59 h 62"/>
                  <a:gd name="T58" fmla="*/ 61 w 63"/>
                  <a:gd name="T59" fmla="*/ 58 h 62"/>
                  <a:gd name="T60" fmla="*/ 62 w 63"/>
                  <a:gd name="T61" fmla="*/ 53 h 62"/>
                  <a:gd name="T62" fmla="*/ 61 w 63"/>
                  <a:gd name="T63" fmla="*/ 48 h 62"/>
                  <a:gd name="T64" fmla="*/ 37 w 63"/>
                  <a:gd name="T65" fmla="*/ 32 h 62"/>
                  <a:gd name="T66" fmla="*/ 46 w 63"/>
                  <a:gd name="T67" fmla="*/ 31 h 62"/>
                  <a:gd name="T68" fmla="*/ 48 w 63"/>
                  <a:gd name="T69" fmla="*/ 30 h 62"/>
                  <a:gd name="T70" fmla="*/ 49 w 63"/>
                  <a:gd name="T71" fmla="*/ 27 h 62"/>
                  <a:gd name="T72" fmla="*/ 44 w 63"/>
                  <a:gd name="T73" fmla="*/ 24 h 62"/>
                  <a:gd name="T74" fmla="*/ 37 w 63"/>
                  <a:gd name="T75" fmla="*/ 13 h 62"/>
                  <a:gd name="T76" fmla="*/ 41 w 63"/>
                  <a:gd name="T77" fmla="*/ 10 h 62"/>
                  <a:gd name="T78" fmla="*/ 40 w 63"/>
                  <a:gd name="T79" fmla="*/ 9 h 62"/>
                  <a:gd name="T80" fmla="*/ 34 w 63"/>
                  <a:gd name="T81" fmla="*/ 6 h 62"/>
                  <a:gd name="T82" fmla="*/ 33 w 63"/>
                  <a:gd name="T83" fmla="*/ 7 h 62"/>
                  <a:gd name="T84" fmla="*/ 30 w 63"/>
                  <a:gd name="T85" fmla="*/ 2 h 62"/>
                  <a:gd name="T86" fmla="*/ 30 w 63"/>
                  <a:gd name="T8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 h="62">
                    <a:moveTo>
                      <a:pt x="30" y="0"/>
                    </a:moveTo>
                    <a:cubicBezTo>
                      <a:pt x="30" y="1"/>
                      <a:pt x="30" y="1"/>
                      <a:pt x="30" y="1"/>
                    </a:cubicBezTo>
                    <a:cubicBezTo>
                      <a:pt x="29" y="1"/>
                      <a:pt x="29" y="1"/>
                      <a:pt x="29" y="1"/>
                    </a:cubicBezTo>
                    <a:cubicBezTo>
                      <a:pt x="28" y="1"/>
                      <a:pt x="27" y="2"/>
                      <a:pt x="26" y="2"/>
                    </a:cubicBezTo>
                    <a:cubicBezTo>
                      <a:pt x="26" y="2"/>
                      <a:pt x="26" y="2"/>
                      <a:pt x="26" y="2"/>
                    </a:cubicBezTo>
                    <a:cubicBezTo>
                      <a:pt x="25" y="2"/>
                      <a:pt x="24" y="2"/>
                      <a:pt x="24" y="2"/>
                    </a:cubicBezTo>
                    <a:cubicBezTo>
                      <a:pt x="23" y="2"/>
                      <a:pt x="23" y="2"/>
                      <a:pt x="23" y="2"/>
                    </a:cubicBezTo>
                    <a:cubicBezTo>
                      <a:pt x="22" y="2"/>
                      <a:pt x="21" y="2"/>
                      <a:pt x="21" y="2"/>
                    </a:cubicBezTo>
                    <a:cubicBezTo>
                      <a:pt x="19" y="2"/>
                      <a:pt x="18" y="2"/>
                      <a:pt x="17" y="2"/>
                    </a:cubicBezTo>
                    <a:cubicBezTo>
                      <a:pt x="16" y="2"/>
                      <a:pt x="15" y="2"/>
                      <a:pt x="14" y="3"/>
                    </a:cubicBezTo>
                    <a:cubicBezTo>
                      <a:pt x="9" y="3"/>
                      <a:pt x="4" y="4"/>
                      <a:pt x="0" y="4"/>
                    </a:cubicBezTo>
                    <a:cubicBezTo>
                      <a:pt x="0" y="5"/>
                      <a:pt x="0" y="5"/>
                      <a:pt x="0" y="6"/>
                    </a:cubicBezTo>
                    <a:cubicBezTo>
                      <a:pt x="1" y="6"/>
                      <a:pt x="1" y="6"/>
                      <a:pt x="1" y="6"/>
                    </a:cubicBezTo>
                    <a:cubicBezTo>
                      <a:pt x="1" y="7"/>
                      <a:pt x="1" y="7"/>
                      <a:pt x="1" y="7"/>
                    </a:cubicBezTo>
                    <a:cubicBezTo>
                      <a:pt x="6" y="6"/>
                      <a:pt x="6" y="6"/>
                      <a:pt x="6" y="6"/>
                    </a:cubicBezTo>
                    <a:cubicBezTo>
                      <a:pt x="1" y="8"/>
                      <a:pt x="1" y="8"/>
                      <a:pt x="1" y="8"/>
                    </a:cubicBezTo>
                    <a:cubicBezTo>
                      <a:pt x="1" y="8"/>
                      <a:pt x="1" y="8"/>
                      <a:pt x="1" y="8"/>
                    </a:cubicBezTo>
                    <a:cubicBezTo>
                      <a:pt x="1" y="9"/>
                      <a:pt x="2" y="10"/>
                      <a:pt x="2" y="10"/>
                    </a:cubicBezTo>
                    <a:cubicBezTo>
                      <a:pt x="2" y="11"/>
                      <a:pt x="2" y="11"/>
                      <a:pt x="2" y="11"/>
                    </a:cubicBezTo>
                    <a:cubicBezTo>
                      <a:pt x="2" y="12"/>
                      <a:pt x="2" y="12"/>
                      <a:pt x="2" y="13"/>
                    </a:cubicBezTo>
                    <a:cubicBezTo>
                      <a:pt x="2" y="16"/>
                      <a:pt x="2" y="16"/>
                      <a:pt x="2" y="16"/>
                    </a:cubicBezTo>
                    <a:cubicBezTo>
                      <a:pt x="2" y="17"/>
                      <a:pt x="2" y="18"/>
                      <a:pt x="1" y="19"/>
                    </a:cubicBezTo>
                    <a:cubicBezTo>
                      <a:pt x="1" y="19"/>
                      <a:pt x="0" y="20"/>
                      <a:pt x="0" y="20"/>
                    </a:cubicBezTo>
                    <a:cubicBezTo>
                      <a:pt x="0" y="21"/>
                      <a:pt x="0" y="21"/>
                      <a:pt x="0" y="21"/>
                    </a:cubicBezTo>
                    <a:cubicBezTo>
                      <a:pt x="0" y="21"/>
                      <a:pt x="0" y="22"/>
                      <a:pt x="0" y="22"/>
                    </a:cubicBezTo>
                    <a:cubicBezTo>
                      <a:pt x="2" y="24"/>
                      <a:pt x="2" y="25"/>
                      <a:pt x="2" y="25"/>
                    </a:cubicBezTo>
                    <a:cubicBezTo>
                      <a:pt x="2" y="26"/>
                      <a:pt x="2" y="27"/>
                      <a:pt x="2" y="28"/>
                    </a:cubicBezTo>
                    <a:cubicBezTo>
                      <a:pt x="3" y="29"/>
                      <a:pt x="4" y="29"/>
                      <a:pt x="5" y="29"/>
                    </a:cubicBezTo>
                    <a:cubicBezTo>
                      <a:pt x="6" y="29"/>
                      <a:pt x="6" y="29"/>
                      <a:pt x="6" y="29"/>
                    </a:cubicBezTo>
                    <a:cubicBezTo>
                      <a:pt x="8" y="29"/>
                      <a:pt x="9" y="30"/>
                      <a:pt x="11" y="30"/>
                    </a:cubicBezTo>
                    <a:cubicBezTo>
                      <a:pt x="16" y="30"/>
                      <a:pt x="18" y="31"/>
                      <a:pt x="22" y="35"/>
                    </a:cubicBezTo>
                    <a:cubicBezTo>
                      <a:pt x="26" y="38"/>
                      <a:pt x="26" y="38"/>
                      <a:pt x="26" y="38"/>
                    </a:cubicBezTo>
                    <a:cubicBezTo>
                      <a:pt x="26" y="38"/>
                      <a:pt x="27" y="38"/>
                      <a:pt x="27" y="38"/>
                    </a:cubicBezTo>
                    <a:cubicBezTo>
                      <a:pt x="29" y="37"/>
                      <a:pt x="30" y="37"/>
                      <a:pt x="31" y="37"/>
                    </a:cubicBezTo>
                    <a:cubicBezTo>
                      <a:pt x="33" y="36"/>
                      <a:pt x="33" y="36"/>
                      <a:pt x="33" y="36"/>
                    </a:cubicBezTo>
                    <a:cubicBezTo>
                      <a:pt x="35" y="38"/>
                      <a:pt x="35" y="38"/>
                      <a:pt x="35" y="38"/>
                    </a:cubicBezTo>
                    <a:cubicBezTo>
                      <a:pt x="35" y="39"/>
                      <a:pt x="36" y="40"/>
                      <a:pt x="37" y="41"/>
                    </a:cubicBezTo>
                    <a:cubicBezTo>
                      <a:pt x="37" y="41"/>
                      <a:pt x="37" y="41"/>
                      <a:pt x="37" y="41"/>
                    </a:cubicBezTo>
                    <a:cubicBezTo>
                      <a:pt x="38" y="42"/>
                      <a:pt x="38" y="42"/>
                      <a:pt x="38" y="42"/>
                    </a:cubicBezTo>
                    <a:cubicBezTo>
                      <a:pt x="39" y="42"/>
                      <a:pt x="39" y="43"/>
                      <a:pt x="40" y="43"/>
                    </a:cubicBezTo>
                    <a:cubicBezTo>
                      <a:pt x="40" y="43"/>
                      <a:pt x="41" y="43"/>
                      <a:pt x="41" y="43"/>
                    </a:cubicBezTo>
                    <a:cubicBezTo>
                      <a:pt x="41" y="44"/>
                      <a:pt x="42" y="44"/>
                      <a:pt x="42" y="44"/>
                    </a:cubicBezTo>
                    <a:cubicBezTo>
                      <a:pt x="42" y="44"/>
                      <a:pt x="42" y="44"/>
                      <a:pt x="42" y="44"/>
                    </a:cubicBezTo>
                    <a:cubicBezTo>
                      <a:pt x="42" y="44"/>
                      <a:pt x="44" y="43"/>
                      <a:pt x="44" y="43"/>
                    </a:cubicBezTo>
                    <a:cubicBezTo>
                      <a:pt x="48" y="41"/>
                      <a:pt x="48" y="41"/>
                      <a:pt x="48" y="41"/>
                    </a:cubicBezTo>
                    <a:cubicBezTo>
                      <a:pt x="49" y="44"/>
                      <a:pt x="49" y="44"/>
                      <a:pt x="49" y="44"/>
                    </a:cubicBezTo>
                    <a:cubicBezTo>
                      <a:pt x="50" y="45"/>
                      <a:pt x="50" y="47"/>
                      <a:pt x="51" y="48"/>
                    </a:cubicBezTo>
                    <a:cubicBezTo>
                      <a:pt x="51" y="48"/>
                      <a:pt x="51" y="48"/>
                      <a:pt x="51" y="48"/>
                    </a:cubicBezTo>
                    <a:cubicBezTo>
                      <a:pt x="51" y="49"/>
                      <a:pt x="52" y="49"/>
                      <a:pt x="52" y="50"/>
                    </a:cubicBezTo>
                    <a:cubicBezTo>
                      <a:pt x="52" y="50"/>
                      <a:pt x="52" y="50"/>
                      <a:pt x="52" y="50"/>
                    </a:cubicBezTo>
                    <a:cubicBezTo>
                      <a:pt x="54" y="50"/>
                      <a:pt x="55" y="50"/>
                      <a:pt x="56" y="51"/>
                    </a:cubicBezTo>
                    <a:cubicBezTo>
                      <a:pt x="58" y="54"/>
                      <a:pt x="59" y="57"/>
                      <a:pt x="59" y="61"/>
                    </a:cubicBezTo>
                    <a:cubicBezTo>
                      <a:pt x="60" y="62"/>
                      <a:pt x="60" y="62"/>
                      <a:pt x="60" y="62"/>
                    </a:cubicBezTo>
                    <a:cubicBezTo>
                      <a:pt x="60" y="62"/>
                      <a:pt x="60" y="62"/>
                      <a:pt x="60" y="62"/>
                    </a:cubicBezTo>
                    <a:cubicBezTo>
                      <a:pt x="61" y="61"/>
                      <a:pt x="61" y="61"/>
                      <a:pt x="62" y="61"/>
                    </a:cubicBezTo>
                    <a:cubicBezTo>
                      <a:pt x="63" y="61"/>
                      <a:pt x="63" y="61"/>
                      <a:pt x="63" y="61"/>
                    </a:cubicBezTo>
                    <a:cubicBezTo>
                      <a:pt x="63" y="61"/>
                      <a:pt x="63" y="61"/>
                      <a:pt x="63" y="61"/>
                    </a:cubicBezTo>
                    <a:cubicBezTo>
                      <a:pt x="63" y="60"/>
                      <a:pt x="63" y="60"/>
                      <a:pt x="63" y="59"/>
                    </a:cubicBezTo>
                    <a:cubicBezTo>
                      <a:pt x="62" y="59"/>
                      <a:pt x="62" y="59"/>
                      <a:pt x="62" y="59"/>
                    </a:cubicBezTo>
                    <a:cubicBezTo>
                      <a:pt x="61" y="58"/>
                      <a:pt x="61" y="58"/>
                      <a:pt x="61" y="58"/>
                    </a:cubicBezTo>
                    <a:cubicBezTo>
                      <a:pt x="61" y="57"/>
                      <a:pt x="61" y="57"/>
                      <a:pt x="61" y="57"/>
                    </a:cubicBezTo>
                    <a:cubicBezTo>
                      <a:pt x="61" y="55"/>
                      <a:pt x="61" y="54"/>
                      <a:pt x="62" y="53"/>
                    </a:cubicBezTo>
                    <a:cubicBezTo>
                      <a:pt x="61" y="53"/>
                      <a:pt x="61" y="52"/>
                      <a:pt x="61" y="50"/>
                    </a:cubicBezTo>
                    <a:cubicBezTo>
                      <a:pt x="61" y="49"/>
                      <a:pt x="61" y="49"/>
                      <a:pt x="61" y="48"/>
                    </a:cubicBezTo>
                    <a:cubicBezTo>
                      <a:pt x="55" y="44"/>
                      <a:pt x="49" y="41"/>
                      <a:pt x="44" y="37"/>
                    </a:cubicBezTo>
                    <a:cubicBezTo>
                      <a:pt x="37" y="32"/>
                      <a:pt x="37" y="32"/>
                      <a:pt x="37" y="32"/>
                    </a:cubicBezTo>
                    <a:cubicBezTo>
                      <a:pt x="43" y="31"/>
                      <a:pt x="43" y="31"/>
                      <a:pt x="43" y="31"/>
                    </a:cubicBezTo>
                    <a:cubicBezTo>
                      <a:pt x="44" y="31"/>
                      <a:pt x="45" y="31"/>
                      <a:pt x="46" y="31"/>
                    </a:cubicBezTo>
                    <a:cubicBezTo>
                      <a:pt x="47" y="30"/>
                      <a:pt x="48" y="30"/>
                      <a:pt x="48" y="30"/>
                    </a:cubicBezTo>
                    <a:cubicBezTo>
                      <a:pt x="48" y="30"/>
                      <a:pt x="48" y="30"/>
                      <a:pt x="48" y="30"/>
                    </a:cubicBezTo>
                    <a:cubicBezTo>
                      <a:pt x="49" y="29"/>
                      <a:pt x="49" y="29"/>
                      <a:pt x="49" y="29"/>
                    </a:cubicBezTo>
                    <a:cubicBezTo>
                      <a:pt x="49" y="29"/>
                      <a:pt x="49" y="28"/>
                      <a:pt x="49" y="27"/>
                    </a:cubicBezTo>
                    <a:cubicBezTo>
                      <a:pt x="48" y="27"/>
                      <a:pt x="47" y="26"/>
                      <a:pt x="46" y="26"/>
                    </a:cubicBezTo>
                    <a:cubicBezTo>
                      <a:pt x="44" y="24"/>
                      <a:pt x="44" y="24"/>
                      <a:pt x="44" y="24"/>
                    </a:cubicBezTo>
                    <a:cubicBezTo>
                      <a:pt x="43" y="23"/>
                      <a:pt x="43" y="23"/>
                      <a:pt x="42" y="22"/>
                    </a:cubicBezTo>
                    <a:cubicBezTo>
                      <a:pt x="40" y="21"/>
                      <a:pt x="35" y="17"/>
                      <a:pt x="37" y="13"/>
                    </a:cubicBezTo>
                    <a:cubicBezTo>
                      <a:pt x="38" y="11"/>
                      <a:pt x="39" y="11"/>
                      <a:pt x="40" y="10"/>
                    </a:cubicBezTo>
                    <a:cubicBezTo>
                      <a:pt x="41" y="10"/>
                      <a:pt x="41" y="10"/>
                      <a:pt x="41" y="10"/>
                    </a:cubicBezTo>
                    <a:cubicBezTo>
                      <a:pt x="41" y="10"/>
                      <a:pt x="41" y="10"/>
                      <a:pt x="41" y="10"/>
                    </a:cubicBezTo>
                    <a:cubicBezTo>
                      <a:pt x="41" y="9"/>
                      <a:pt x="40" y="9"/>
                      <a:pt x="40" y="9"/>
                    </a:cubicBezTo>
                    <a:cubicBezTo>
                      <a:pt x="40" y="9"/>
                      <a:pt x="39" y="9"/>
                      <a:pt x="39" y="8"/>
                    </a:cubicBezTo>
                    <a:cubicBezTo>
                      <a:pt x="37" y="7"/>
                      <a:pt x="35" y="6"/>
                      <a:pt x="34" y="6"/>
                    </a:cubicBezTo>
                    <a:cubicBezTo>
                      <a:pt x="34" y="7"/>
                      <a:pt x="34" y="7"/>
                      <a:pt x="34" y="7"/>
                    </a:cubicBezTo>
                    <a:cubicBezTo>
                      <a:pt x="33" y="7"/>
                      <a:pt x="33" y="7"/>
                      <a:pt x="33" y="7"/>
                    </a:cubicBezTo>
                    <a:cubicBezTo>
                      <a:pt x="25" y="8"/>
                      <a:pt x="25" y="8"/>
                      <a:pt x="25" y="8"/>
                    </a:cubicBezTo>
                    <a:cubicBezTo>
                      <a:pt x="30" y="2"/>
                      <a:pt x="30" y="2"/>
                      <a:pt x="30" y="2"/>
                    </a:cubicBezTo>
                    <a:cubicBezTo>
                      <a:pt x="31" y="1"/>
                      <a:pt x="31" y="1"/>
                      <a:pt x="31" y="1"/>
                    </a:cubicBez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 name="Rectangle 182">
                <a:extLst>
                  <a:ext uri="{FF2B5EF4-FFF2-40B4-BE49-F238E27FC236}">
                    <a16:creationId xmlns:a16="http://schemas.microsoft.com/office/drawing/2014/main" id="{FFA236BA-CEA1-4297-97DF-2A8077A3786C}"/>
                  </a:ext>
                </a:extLst>
              </p:cNvPr>
              <p:cNvSpPr>
                <a:spLocks noChangeArrowheads="1"/>
              </p:cNvSpPr>
              <p:nvPr/>
            </p:nvSpPr>
            <p:spPr bwMode="auto">
              <a:xfrm>
                <a:off x="6241" y="462"/>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 name="Freeform 183">
                <a:extLst>
                  <a:ext uri="{FF2B5EF4-FFF2-40B4-BE49-F238E27FC236}">
                    <a16:creationId xmlns:a16="http://schemas.microsoft.com/office/drawing/2014/main" id="{59B4D600-1E40-48CE-96C4-99D83EFB407E}"/>
                  </a:ext>
                </a:extLst>
              </p:cNvPr>
              <p:cNvSpPr>
                <a:spLocks/>
              </p:cNvSpPr>
              <p:nvPr/>
            </p:nvSpPr>
            <p:spPr bwMode="auto">
              <a:xfrm>
                <a:off x="6241" y="462"/>
                <a:ext cx="0" cy="3"/>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 name="Freeform 184">
                <a:extLst>
                  <a:ext uri="{FF2B5EF4-FFF2-40B4-BE49-F238E27FC236}">
                    <a16:creationId xmlns:a16="http://schemas.microsoft.com/office/drawing/2014/main" id="{A38207BA-52AD-443B-82C4-C13E1DAFC191}"/>
                  </a:ext>
                </a:extLst>
              </p:cNvPr>
              <p:cNvSpPr>
                <a:spLocks/>
              </p:cNvSpPr>
              <p:nvPr/>
            </p:nvSpPr>
            <p:spPr bwMode="auto">
              <a:xfrm>
                <a:off x="6253" y="460"/>
                <a:ext cx="5" cy="2"/>
              </a:xfrm>
              <a:custGeom>
                <a:avLst/>
                <a:gdLst>
                  <a:gd name="T0" fmla="*/ 2 w 2"/>
                  <a:gd name="T1" fmla="*/ 0 h 1"/>
                  <a:gd name="T2" fmla="*/ 1 w 2"/>
                  <a:gd name="T3" fmla="*/ 0 h 1"/>
                  <a:gd name="T4" fmla="*/ 0 w 2"/>
                  <a:gd name="T5" fmla="*/ 0 h 1"/>
                  <a:gd name="T6" fmla="*/ 1 w 2"/>
                  <a:gd name="T7" fmla="*/ 1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1" y="0"/>
                      <a:pt x="1" y="0"/>
                      <a:pt x="1" y="0"/>
                    </a:cubicBezTo>
                    <a:cubicBezTo>
                      <a:pt x="0" y="0"/>
                      <a:pt x="0" y="0"/>
                      <a:pt x="0" y="0"/>
                    </a:cubicBezTo>
                    <a:cubicBezTo>
                      <a:pt x="1" y="1"/>
                      <a:pt x="1" y="1"/>
                      <a:pt x="1" y="1"/>
                    </a:cubicBezTo>
                    <a:cubicBezTo>
                      <a:pt x="1" y="1"/>
                      <a:pt x="1" y="1"/>
                      <a:pt x="1" y="1"/>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 name="Freeform 185">
                <a:extLst>
                  <a:ext uri="{FF2B5EF4-FFF2-40B4-BE49-F238E27FC236}">
                    <a16:creationId xmlns:a16="http://schemas.microsoft.com/office/drawing/2014/main" id="{0CDC49AA-4595-44C0-ADF2-880AFFDECD2C}"/>
                  </a:ext>
                </a:extLst>
              </p:cNvPr>
              <p:cNvSpPr>
                <a:spLocks/>
              </p:cNvSpPr>
              <p:nvPr/>
            </p:nvSpPr>
            <p:spPr bwMode="auto">
              <a:xfrm>
                <a:off x="6175" y="285"/>
                <a:ext cx="289" cy="215"/>
              </a:xfrm>
              <a:custGeom>
                <a:avLst/>
                <a:gdLst>
                  <a:gd name="T0" fmla="*/ 28 w 122"/>
                  <a:gd name="T1" fmla="*/ 4 h 91"/>
                  <a:gd name="T2" fmla="*/ 34 w 122"/>
                  <a:gd name="T3" fmla="*/ 9 h 91"/>
                  <a:gd name="T4" fmla="*/ 36 w 122"/>
                  <a:gd name="T5" fmla="*/ 18 h 91"/>
                  <a:gd name="T6" fmla="*/ 36 w 122"/>
                  <a:gd name="T7" fmla="*/ 23 h 91"/>
                  <a:gd name="T8" fmla="*/ 28 w 122"/>
                  <a:gd name="T9" fmla="*/ 22 h 91"/>
                  <a:gd name="T10" fmla="*/ 12 w 122"/>
                  <a:gd name="T11" fmla="*/ 18 h 91"/>
                  <a:gd name="T12" fmla="*/ 3 w 122"/>
                  <a:gd name="T13" fmla="*/ 13 h 91"/>
                  <a:gd name="T14" fmla="*/ 1 w 122"/>
                  <a:gd name="T15" fmla="*/ 14 h 91"/>
                  <a:gd name="T16" fmla="*/ 1 w 122"/>
                  <a:gd name="T17" fmla="*/ 15 h 91"/>
                  <a:gd name="T18" fmla="*/ 2 w 122"/>
                  <a:gd name="T19" fmla="*/ 16 h 91"/>
                  <a:gd name="T20" fmla="*/ 3 w 122"/>
                  <a:gd name="T21" fmla="*/ 17 h 91"/>
                  <a:gd name="T22" fmla="*/ 6 w 122"/>
                  <a:gd name="T23" fmla="*/ 20 h 91"/>
                  <a:gd name="T24" fmla="*/ 11 w 122"/>
                  <a:gd name="T25" fmla="*/ 30 h 91"/>
                  <a:gd name="T26" fmla="*/ 8 w 122"/>
                  <a:gd name="T27" fmla="*/ 32 h 91"/>
                  <a:gd name="T28" fmla="*/ 8 w 122"/>
                  <a:gd name="T29" fmla="*/ 32 h 91"/>
                  <a:gd name="T30" fmla="*/ 13 w 122"/>
                  <a:gd name="T31" fmla="*/ 36 h 91"/>
                  <a:gd name="T32" fmla="*/ 18 w 122"/>
                  <a:gd name="T33" fmla="*/ 40 h 91"/>
                  <a:gd name="T34" fmla="*/ 19 w 122"/>
                  <a:gd name="T35" fmla="*/ 47 h 91"/>
                  <a:gd name="T36" fmla="*/ 32 w 122"/>
                  <a:gd name="T37" fmla="*/ 62 h 91"/>
                  <a:gd name="T38" fmla="*/ 33 w 122"/>
                  <a:gd name="T39" fmla="*/ 67 h 91"/>
                  <a:gd name="T40" fmla="*/ 35 w 122"/>
                  <a:gd name="T41" fmla="*/ 69 h 91"/>
                  <a:gd name="T42" fmla="*/ 42 w 122"/>
                  <a:gd name="T43" fmla="*/ 68 h 91"/>
                  <a:gd name="T44" fmla="*/ 56 w 122"/>
                  <a:gd name="T45" fmla="*/ 59 h 91"/>
                  <a:gd name="T46" fmla="*/ 65 w 122"/>
                  <a:gd name="T47" fmla="*/ 55 h 91"/>
                  <a:gd name="T48" fmla="*/ 72 w 122"/>
                  <a:gd name="T49" fmla="*/ 61 h 91"/>
                  <a:gd name="T50" fmla="*/ 75 w 122"/>
                  <a:gd name="T51" fmla="*/ 67 h 91"/>
                  <a:gd name="T52" fmla="*/ 73 w 122"/>
                  <a:gd name="T53" fmla="*/ 72 h 91"/>
                  <a:gd name="T54" fmla="*/ 75 w 122"/>
                  <a:gd name="T55" fmla="*/ 74 h 91"/>
                  <a:gd name="T56" fmla="*/ 71 w 122"/>
                  <a:gd name="T57" fmla="*/ 81 h 91"/>
                  <a:gd name="T58" fmla="*/ 74 w 122"/>
                  <a:gd name="T59" fmla="*/ 84 h 91"/>
                  <a:gd name="T60" fmla="*/ 77 w 122"/>
                  <a:gd name="T61" fmla="*/ 86 h 91"/>
                  <a:gd name="T62" fmla="*/ 81 w 122"/>
                  <a:gd name="T63" fmla="*/ 91 h 91"/>
                  <a:gd name="T64" fmla="*/ 81 w 122"/>
                  <a:gd name="T65" fmla="*/ 91 h 91"/>
                  <a:gd name="T66" fmla="*/ 86 w 122"/>
                  <a:gd name="T67" fmla="*/ 90 h 91"/>
                  <a:gd name="T68" fmla="*/ 90 w 122"/>
                  <a:gd name="T69" fmla="*/ 73 h 91"/>
                  <a:gd name="T70" fmla="*/ 93 w 122"/>
                  <a:gd name="T71" fmla="*/ 78 h 91"/>
                  <a:gd name="T72" fmla="*/ 97 w 122"/>
                  <a:gd name="T73" fmla="*/ 68 h 91"/>
                  <a:gd name="T74" fmla="*/ 98 w 122"/>
                  <a:gd name="T75" fmla="*/ 69 h 91"/>
                  <a:gd name="T76" fmla="*/ 98 w 122"/>
                  <a:gd name="T77" fmla="*/ 67 h 91"/>
                  <a:gd name="T78" fmla="*/ 99 w 122"/>
                  <a:gd name="T79" fmla="*/ 54 h 91"/>
                  <a:gd name="T80" fmla="*/ 113 w 122"/>
                  <a:gd name="T81" fmla="*/ 41 h 91"/>
                  <a:gd name="T82" fmla="*/ 122 w 122"/>
                  <a:gd name="T83" fmla="*/ 44 h 91"/>
                  <a:gd name="T84" fmla="*/ 114 w 122"/>
                  <a:gd name="T85" fmla="*/ 35 h 91"/>
                  <a:gd name="T86" fmla="*/ 111 w 122"/>
                  <a:gd name="T87" fmla="*/ 34 h 91"/>
                  <a:gd name="T88" fmla="*/ 109 w 122"/>
                  <a:gd name="T89" fmla="*/ 34 h 91"/>
                  <a:gd name="T90" fmla="*/ 91 w 122"/>
                  <a:gd name="T91" fmla="*/ 14 h 91"/>
                  <a:gd name="T92" fmla="*/ 74 w 122"/>
                  <a:gd name="T93" fmla="*/ 8 h 91"/>
                  <a:gd name="T94" fmla="*/ 73 w 122"/>
                  <a:gd name="T95" fmla="*/ 9 h 91"/>
                  <a:gd name="T96" fmla="*/ 68 w 122"/>
                  <a:gd name="T97" fmla="*/ 14 h 91"/>
                  <a:gd name="T98" fmla="*/ 55 w 122"/>
                  <a:gd name="T99" fmla="*/ 19 h 91"/>
                  <a:gd name="T100" fmla="*/ 44 w 122"/>
                  <a:gd name="T101" fmla="*/ 10 h 91"/>
                  <a:gd name="T102" fmla="*/ 34 w 122"/>
                  <a:gd name="T103" fmla="*/ 0 h 91"/>
                  <a:gd name="T104" fmla="*/ 31 w 122"/>
                  <a:gd name="T10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91">
                    <a:moveTo>
                      <a:pt x="31" y="0"/>
                    </a:moveTo>
                    <a:cubicBezTo>
                      <a:pt x="28" y="4"/>
                      <a:pt x="28" y="4"/>
                      <a:pt x="28" y="4"/>
                    </a:cubicBezTo>
                    <a:cubicBezTo>
                      <a:pt x="29" y="5"/>
                      <a:pt x="29" y="5"/>
                      <a:pt x="30" y="6"/>
                    </a:cubicBezTo>
                    <a:cubicBezTo>
                      <a:pt x="31" y="7"/>
                      <a:pt x="32" y="8"/>
                      <a:pt x="34" y="9"/>
                    </a:cubicBezTo>
                    <a:cubicBezTo>
                      <a:pt x="38" y="11"/>
                      <a:pt x="37" y="15"/>
                      <a:pt x="36" y="18"/>
                    </a:cubicBezTo>
                    <a:cubicBezTo>
                      <a:pt x="36" y="18"/>
                      <a:pt x="36" y="18"/>
                      <a:pt x="36" y="18"/>
                    </a:cubicBezTo>
                    <a:cubicBezTo>
                      <a:pt x="36" y="19"/>
                      <a:pt x="36" y="19"/>
                      <a:pt x="36" y="20"/>
                    </a:cubicBezTo>
                    <a:cubicBezTo>
                      <a:pt x="36" y="23"/>
                      <a:pt x="36" y="23"/>
                      <a:pt x="36" y="23"/>
                    </a:cubicBezTo>
                    <a:cubicBezTo>
                      <a:pt x="33" y="22"/>
                      <a:pt x="33" y="22"/>
                      <a:pt x="33" y="22"/>
                    </a:cubicBezTo>
                    <a:cubicBezTo>
                      <a:pt x="31" y="22"/>
                      <a:pt x="29" y="22"/>
                      <a:pt x="28" y="22"/>
                    </a:cubicBezTo>
                    <a:cubicBezTo>
                      <a:pt x="23" y="21"/>
                      <a:pt x="18" y="20"/>
                      <a:pt x="14" y="19"/>
                    </a:cubicBezTo>
                    <a:cubicBezTo>
                      <a:pt x="13" y="19"/>
                      <a:pt x="12" y="18"/>
                      <a:pt x="12" y="18"/>
                    </a:cubicBezTo>
                    <a:cubicBezTo>
                      <a:pt x="10" y="17"/>
                      <a:pt x="9" y="16"/>
                      <a:pt x="8" y="15"/>
                    </a:cubicBezTo>
                    <a:cubicBezTo>
                      <a:pt x="6" y="14"/>
                      <a:pt x="5" y="13"/>
                      <a:pt x="3" y="13"/>
                    </a:cubicBezTo>
                    <a:cubicBezTo>
                      <a:pt x="2" y="13"/>
                      <a:pt x="2" y="13"/>
                      <a:pt x="2" y="13"/>
                    </a:cubicBezTo>
                    <a:cubicBezTo>
                      <a:pt x="1" y="14"/>
                      <a:pt x="1" y="14"/>
                      <a:pt x="1" y="14"/>
                    </a:cubicBezTo>
                    <a:cubicBezTo>
                      <a:pt x="0" y="14"/>
                      <a:pt x="0" y="14"/>
                      <a:pt x="0" y="14"/>
                    </a:cubicBezTo>
                    <a:cubicBezTo>
                      <a:pt x="1" y="15"/>
                      <a:pt x="1" y="15"/>
                      <a:pt x="1" y="15"/>
                    </a:cubicBezTo>
                    <a:cubicBezTo>
                      <a:pt x="1" y="15"/>
                      <a:pt x="1" y="15"/>
                      <a:pt x="1" y="15"/>
                    </a:cubicBezTo>
                    <a:cubicBezTo>
                      <a:pt x="2" y="16"/>
                      <a:pt x="2" y="16"/>
                      <a:pt x="2" y="16"/>
                    </a:cubicBezTo>
                    <a:cubicBezTo>
                      <a:pt x="3" y="17"/>
                      <a:pt x="3" y="17"/>
                      <a:pt x="3" y="17"/>
                    </a:cubicBezTo>
                    <a:cubicBezTo>
                      <a:pt x="3" y="17"/>
                      <a:pt x="3" y="17"/>
                      <a:pt x="3" y="17"/>
                    </a:cubicBezTo>
                    <a:cubicBezTo>
                      <a:pt x="3" y="18"/>
                      <a:pt x="3" y="18"/>
                      <a:pt x="3" y="19"/>
                    </a:cubicBezTo>
                    <a:cubicBezTo>
                      <a:pt x="4" y="19"/>
                      <a:pt x="5" y="19"/>
                      <a:pt x="6" y="20"/>
                    </a:cubicBezTo>
                    <a:cubicBezTo>
                      <a:pt x="9" y="21"/>
                      <a:pt x="11" y="23"/>
                      <a:pt x="12" y="25"/>
                    </a:cubicBezTo>
                    <a:cubicBezTo>
                      <a:pt x="13" y="27"/>
                      <a:pt x="12" y="29"/>
                      <a:pt x="11" y="30"/>
                    </a:cubicBezTo>
                    <a:cubicBezTo>
                      <a:pt x="11" y="31"/>
                      <a:pt x="10" y="31"/>
                      <a:pt x="9" y="31"/>
                    </a:cubicBezTo>
                    <a:cubicBezTo>
                      <a:pt x="9" y="32"/>
                      <a:pt x="8" y="32"/>
                      <a:pt x="8" y="32"/>
                    </a:cubicBezTo>
                    <a:cubicBezTo>
                      <a:pt x="8" y="32"/>
                      <a:pt x="8" y="32"/>
                      <a:pt x="8" y="32"/>
                    </a:cubicBezTo>
                    <a:cubicBezTo>
                      <a:pt x="8" y="32"/>
                      <a:pt x="8" y="32"/>
                      <a:pt x="8" y="32"/>
                    </a:cubicBezTo>
                    <a:cubicBezTo>
                      <a:pt x="8" y="33"/>
                      <a:pt x="9" y="34"/>
                      <a:pt x="11" y="35"/>
                    </a:cubicBezTo>
                    <a:cubicBezTo>
                      <a:pt x="11" y="35"/>
                      <a:pt x="12" y="36"/>
                      <a:pt x="13" y="36"/>
                    </a:cubicBezTo>
                    <a:cubicBezTo>
                      <a:pt x="15" y="38"/>
                      <a:pt x="15" y="38"/>
                      <a:pt x="15" y="38"/>
                    </a:cubicBezTo>
                    <a:cubicBezTo>
                      <a:pt x="16" y="39"/>
                      <a:pt x="17" y="40"/>
                      <a:pt x="18" y="40"/>
                    </a:cubicBezTo>
                    <a:cubicBezTo>
                      <a:pt x="20" y="42"/>
                      <a:pt x="20" y="45"/>
                      <a:pt x="19" y="47"/>
                    </a:cubicBezTo>
                    <a:cubicBezTo>
                      <a:pt x="19" y="47"/>
                      <a:pt x="19" y="47"/>
                      <a:pt x="19" y="47"/>
                    </a:cubicBezTo>
                    <a:cubicBezTo>
                      <a:pt x="19" y="49"/>
                      <a:pt x="19" y="51"/>
                      <a:pt x="17" y="52"/>
                    </a:cubicBezTo>
                    <a:cubicBezTo>
                      <a:pt x="21" y="55"/>
                      <a:pt x="27" y="59"/>
                      <a:pt x="32" y="62"/>
                    </a:cubicBezTo>
                    <a:cubicBezTo>
                      <a:pt x="36" y="64"/>
                      <a:pt x="36" y="64"/>
                      <a:pt x="36" y="64"/>
                    </a:cubicBezTo>
                    <a:cubicBezTo>
                      <a:pt x="33" y="67"/>
                      <a:pt x="33" y="67"/>
                      <a:pt x="33" y="67"/>
                    </a:cubicBezTo>
                    <a:cubicBezTo>
                      <a:pt x="32" y="67"/>
                      <a:pt x="32" y="67"/>
                      <a:pt x="32" y="67"/>
                    </a:cubicBezTo>
                    <a:cubicBezTo>
                      <a:pt x="33" y="68"/>
                      <a:pt x="34" y="68"/>
                      <a:pt x="35" y="69"/>
                    </a:cubicBezTo>
                    <a:cubicBezTo>
                      <a:pt x="38" y="72"/>
                      <a:pt x="38" y="72"/>
                      <a:pt x="38" y="72"/>
                    </a:cubicBezTo>
                    <a:cubicBezTo>
                      <a:pt x="39" y="70"/>
                      <a:pt x="40" y="69"/>
                      <a:pt x="42" y="68"/>
                    </a:cubicBezTo>
                    <a:cubicBezTo>
                      <a:pt x="44" y="67"/>
                      <a:pt x="45" y="66"/>
                      <a:pt x="47" y="65"/>
                    </a:cubicBezTo>
                    <a:cubicBezTo>
                      <a:pt x="50" y="63"/>
                      <a:pt x="53" y="61"/>
                      <a:pt x="56" y="59"/>
                    </a:cubicBezTo>
                    <a:cubicBezTo>
                      <a:pt x="57" y="59"/>
                      <a:pt x="57" y="59"/>
                      <a:pt x="57" y="59"/>
                    </a:cubicBezTo>
                    <a:cubicBezTo>
                      <a:pt x="60" y="56"/>
                      <a:pt x="63" y="55"/>
                      <a:pt x="65" y="55"/>
                    </a:cubicBezTo>
                    <a:cubicBezTo>
                      <a:pt x="65" y="55"/>
                      <a:pt x="66" y="55"/>
                      <a:pt x="66" y="55"/>
                    </a:cubicBezTo>
                    <a:cubicBezTo>
                      <a:pt x="68" y="56"/>
                      <a:pt x="70" y="58"/>
                      <a:pt x="72" y="61"/>
                    </a:cubicBezTo>
                    <a:cubicBezTo>
                      <a:pt x="73" y="63"/>
                      <a:pt x="73" y="63"/>
                      <a:pt x="73" y="63"/>
                    </a:cubicBezTo>
                    <a:cubicBezTo>
                      <a:pt x="74" y="64"/>
                      <a:pt x="75" y="66"/>
                      <a:pt x="75" y="67"/>
                    </a:cubicBezTo>
                    <a:cubicBezTo>
                      <a:pt x="76" y="69"/>
                      <a:pt x="74" y="71"/>
                      <a:pt x="74" y="72"/>
                    </a:cubicBezTo>
                    <a:cubicBezTo>
                      <a:pt x="73" y="72"/>
                      <a:pt x="73" y="72"/>
                      <a:pt x="73" y="72"/>
                    </a:cubicBezTo>
                    <a:cubicBezTo>
                      <a:pt x="74" y="73"/>
                      <a:pt x="74" y="73"/>
                      <a:pt x="74" y="73"/>
                    </a:cubicBezTo>
                    <a:cubicBezTo>
                      <a:pt x="74" y="73"/>
                      <a:pt x="75" y="74"/>
                      <a:pt x="75" y="74"/>
                    </a:cubicBezTo>
                    <a:cubicBezTo>
                      <a:pt x="78" y="77"/>
                      <a:pt x="78" y="77"/>
                      <a:pt x="78" y="77"/>
                    </a:cubicBezTo>
                    <a:cubicBezTo>
                      <a:pt x="71" y="81"/>
                      <a:pt x="71" y="81"/>
                      <a:pt x="71" y="81"/>
                    </a:cubicBezTo>
                    <a:cubicBezTo>
                      <a:pt x="73" y="83"/>
                      <a:pt x="73" y="83"/>
                      <a:pt x="73" y="83"/>
                    </a:cubicBezTo>
                    <a:cubicBezTo>
                      <a:pt x="73" y="83"/>
                      <a:pt x="74" y="84"/>
                      <a:pt x="74" y="84"/>
                    </a:cubicBezTo>
                    <a:cubicBezTo>
                      <a:pt x="74" y="85"/>
                      <a:pt x="74" y="85"/>
                      <a:pt x="74" y="85"/>
                    </a:cubicBezTo>
                    <a:cubicBezTo>
                      <a:pt x="75" y="85"/>
                      <a:pt x="76" y="86"/>
                      <a:pt x="77" y="86"/>
                    </a:cubicBezTo>
                    <a:cubicBezTo>
                      <a:pt x="77" y="87"/>
                      <a:pt x="78" y="87"/>
                      <a:pt x="79" y="88"/>
                    </a:cubicBezTo>
                    <a:cubicBezTo>
                      <a:pt x="80" y="89"/>
                      <a:pt x="80" y="90"/>
                      <a:pt x="81" y="91"/>
                    </a:cubicBezTo>
                    <a:cubicBezTo>
                      <a:pt x="81" y="91"/>
                      <a:pt x="81" y="91"/>
                      <a:pt x="81" y="91"/>
                    </a:cubicBezTo>
                    <a:cubicBezTo>
                      <a:pt x="81" y="91"/>
                      <a:pt x="81" y="91"/>
                      <a:pt x="81" y="91"/>
                    </a:cubicBezTo>
                    <a:cubicBezTo>
                      <a:pt x="82" y="91"/>
                      <a:pt x="84" y="91"/>
                      <a:pt x="85" y="90"/>
                    </a:cubicBezTo>
                    <a:cubicBezTo>
                      <a:pt x="86" y="90"/>
                      <a:pt x="86" y="90"/>
                      <a:pt x="86" y="90"/>
                    </a:cubicBezTo>
                    <a:cubicBezTo>
                      <a:pt x="86" y="87"/>
                      <a:pt x="87" y="84"/>
                      <a:pt x="87" y="81"/>
                    </a:cubicBezTo>
                    <a:cubicBezTo>
                      <a:pt x="88" y="79"/>
                      <a:pt x="87" y="73"/>
                      <a:pt x="90" y="73"/>
                    </a:cubicBezTo>
                    <a:cubicBezTo>
                      <a:pt x="90" y="73"/>
                      <a:pt x="90" y="73"/>
                      <a:pt x="90" y="73"/>
                    </a:cubicBezTo>
                    <a:cubicBezTo>
                      <a:pt x="91" y="73"/>
                      <a:pt x="93" y="78"/>
                      <a:pt x="93" y="78"/>
                    </a:cubicBezTo>
                    <a:cubicBezTo>
                      <a:pt x="93" y="76"/>
                      <a:pt x="94" y="70"/>
                      <a:pt x="96" y="68"/>
                    </a:cubicBezTo>
                    <a:cubicBezTo>
                      <a:pt x="96" y="68"/>
                      <a:pt x="97" y="68"/>
                      <a:pt x="97" y="68"/>
                    </a:cubicBezTo>
                    <a:cubicBezTo>
                      <a:pt x="97" y="68"/>
                      <a:pt x="97" y="69"/>
                      <a:pt x="98" y="69"/>
                    </a:cubicBezTo>
                    <a:cubicBezTo>
                      <a:pt x="98" y="69"/>
                      <a:pt x="98" y="69"/>
                      <a:pt x="98" y="69"/>
                    </a:cubicBezTo>
                    <a:cubicBezTo>
                      <a:pt x="98" y="69"/>
                      <a:pt x="99" y="69"/>
                      <a:pt x="99" y="69"/>
                    </a:cubicBezTo>
                    <a:cubicBezTo>
                      <a:pt x="99" y="67"/>
                      <a:pt x="98" y="67"/>
                      <a:pt x="98" y="67"/>
                    </a:cubicBezTo>
                    <a:cubicBezTo>
                      <a:pt x="98" y="65"/>
                      <a:pt x="96" y="64"/>
                      <a:pt x="97" y="61"/>
                    </a:cubicBezTo>
                    <a:cubicBezTo>
                      <a:pt x="97" y="59"/>
                      <a:pt x="98" y="57"/>
                      <a:pt x="99" y="54"/>
                    </a:cubicBezTo>
                    <a:cubicBezTo>
                      <a:pt x="100" y="51"/>
                      <a:pt x="101" y="46"/>
                      <a:pt x="104" y="44"/>
                    </a:cubicBezTo>
                    <a:cubicBezTo>
                      <a:pt x="107" y="41"/>
                      <a:pt x="110" y="41"/>
                      <a:pt x="113" y="41"/>
                    </a:cubicBezTo>
                    <a:cubicBezTo>
                      <a:pt x="113" y="41"/>
                      <a:pt x="114" y="41"/>
                      <a:pt x="114" y="41"/>
                    </a:cubicBezTo>
                    <a:cubicBezTo>
                      <a:pt x="118" y="41"/>
                      <a:pt x="119" y="41"/>
                      <a:pt x="122" y="44"/>
                    </a:cubicBezTo>
                    <a:cubicBezTo>
                      <a:pt x="121" y="41"/>
                      <a:pt x="121" y="40"/>
                      <a:pt x="119" y="38"/>
                    </a:cubicBezTo>
                    <a:cubicBezTo>
                      <a:pt x="118" y="37"/>
                      <a:pt x="116" y="35"/>
                      <a:pt x="114" y="35"/>
                    </a:cubicBezTo>
                    <a:cubicBezTo>
                      <a:pt x="113" y="34"/>
                      <a:pt x="113" y="34"/>
                      <a:pt x="111" y="34"/>
                    </a:cubicBezTo>
                    <a:cubicBezTo>
                      <a:pt x="111" y="34"/>
                      <a:pt x="111" y="34"/>
                      <a:pt x="111" y="34"/>
                    </a:cubicBezTo>
                    <a:cubicBezTo>
                      <a:pt x="110" y="34"/>
                      <a:pt x="110" y="34"/>
                      <a:pt x="109" y="34"/>
                    </a:cubicBezTo>
                    <a:cubicBezTo>
                      <a:pt x="109" y="34"/>
                      <a:pt x="109" y="34"/>
                      <a:pt x="109" y="34"/>
                    </a:cubicBezTo>
                    <a:cubicBezTo>
                      <a:pt x="106" y="34"/>
                      <a:pt x="104" y="32"/>
                      <a:pt x="102" y="30"/>
                    </a:cubicBezTo>
                    <a:cubicBezTo>
                      <a:pt x="97" y="25"/>
                      <a:pt x="94" y="20"/>
                      <a:pt x="91" y="14"/>
                    </a:cubicBezTo>
                    <a:cubicBezTo>
                      <a:pt x="90" y="9"/>
                      <a:pt x="85" y="5"/>
                      <a:pt x="81" y="0"/>
                    </a:cubicBezTo>
                    <a:cubicBezTo>
                      <a:pt x="80" y="4"/>
                      <a:pt x="77" y="6"/>
                      <a:pt x="74" y="8"/>
                    </a:cubicBezTo>
                    <a:cubicBezTo>
                      <a:pt x="74" y="8"/>
                      <a:pt x="74" y="8"/>
                      <a:pt x="74" y="8"/>
                    </a:cubicBezTo>
                    <a:cubicBezTo>
                      <a:pt x="73" y="9"/>
                      <a:pt x="73" y="9"/>
                      <a:pt x="73" y="9"/>
                    </a:cubicBezTo>
                    <a:cubicBezTo>
                      <a:pt x="72" y="10"/>
                      <a:pt x="71" y="11"/>
                      <a:pt x="70" y="11"/>
                    </a:cubicBezTo>
                    <a:cubicBezTo>
                      <a:pt x="69" y="11"/>
                      <a:pt x="69" y="12"/>
                      <a:pt x="68" y="14"/>
                    </a:cubicBezTo>
                    <a:cubicBezTo>
                      <a:pt x="66" y="18"/>
                      <a:pt x="64" y="19"/>
                      <a:pt x="60" y="19"/>
                    </a:cubicBezTo>
                    <a:cubicBezTo>
                      <a:pt x="59" y="19"/>
                      <a:pt x="57" y="19"/>
                      <a:pt x="55" y="19"/>
                    </a:cubicBezTo>
                    <a:cubicBezTo>
                      <a:pt x="48" y="17"/>
                      <a:pt x="46" y="14"/>
                      <a:pt x="45" y="12"/>
                    </a:cubicBezTo>
                    <a:cubicBezTo>
                      <a:pt x="45" y="11"/>
                      <a:pt x="44" y="10"/>
                      <a:pt x="44" y="10"/>
                    </a:cubicBezTo>
                    <a:cubicBezTo>
                      <a:pt x="42" y="10"/>
                      <a:pt x="39" y="7"/>
                      <a:pt x="38" y="4"/>
                    </a:cubicBezTo>
                    <a:cubicBezTo>
                      <a:pt x="37" y="2"/>
                      <a:pt x="35" y="0"/>
                      <a:pt x="34" y="0"/>
                    </a:cubicBezTo>
                    <a:cubicBezTo>
                      <a:pt x="32" y="0"/>
                      <a:pt x="31" y="0"/>
                      <a:pt x="31" y="0"/>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 name="Freeform 186">
                <a:extLst>
                  <a:ext uri="{FF2B5EF4-FFF2-40B4-BE49-F238E27FC236}">
                    <a16:creationId xmlns:a16="http://schemas.microsoft.com/office/drawing/2014/main" id="{6D04F975-1C65-4655-A5FF-4BACF6B49D3D}"/>
                  </a:ext>
                </a:extLst>
              </p:cNvPr>
              <p:cNvSpPr>
                <a:spLocks/>
              </p:cNvSpPr>
              <p:nvPr/>
            </p:nvSpPr>
            <p:spPr bwMode="auto">
              <a:xfrm>
                <a:off x="6161" y="427"/>
                <a:ext cx="59" cy="45"/>
              </a:xfrm>
              <a:custGeom>
                <a:avLst/>
                <a:gdLst>
                  <a:gd name="T0" fmla="*/ 2 w 25"/>
                  <a:gd name="T1" fmla="*/ 0 h 19"/>
                  <a:gd name="T2" fmla="*/ 0 w 25"/>
                  <a:gd name="T3" fmla="*/ 0 h 19"/>
                  <a:gd name="T4" fmla="*/ 0 w 25"/>
                  <a:gd name="T5" fmla="*/ 0 h 19"/>
                  <a:gd name="T6" fmla="*/ 1 w 25"/>
                  <a:gd name="T7" fmla="*/ 2 h 19"/>
                  <a:gd name="T8" fmla="*/ 7 w 25"/>
                  <a:gd name="T9" fmla="*/ 9 h 19"/>
                  <a:gd name="T10" fmla="*/ 8 w 25"/>
                  <a:gd name="T11" fmla="*/ 10 h 19"/>
                  <a:gd name="T12" fmla="*/ 9 w 25"/>
                  <a:gd name="T13" fmla="*/ 11 h 19"/>
                  <a:gd name="T14" fmla="*/ 13 w 25"/>
                  <a:gd name="T15" fmla="*/ 15 h 19"/>
                  <a:gd name="T16" fmla="*/ 21 w 25"/>
                  <a:gd name="T17" fmla="*/ 18 h 19"/>
                  <a:gd name="T18" fmla="*/ 23 w 25"/>
                  <a:gd name="T19" fmla="*/ 18 h 19"/>
                  <a:gd name="T20" fmla="*/ 25 w 25"/>
                  <a:gd name="T21" fmla="*/ 19 h 19"/>
                  <a:gd name="T22" fmla="*/ 25 w 25"/>
                  <a:gd name="T23" fmla="*/ 19 h 19"/>
                  <a:gd name="T24" fmla="*/ 22 w 25"/>
                  <a:gd name="T25" fmla="*/ 12 h 19"/>
                  <a:gd name="T26" fmla="*/ 21 w 25"/>
                  <a:gd name="T27" fmla="*/ 12 h 19"/>
                  <a:gd name="T28" fmla="*/ 21 w 25"/>
                  <a:gd name="T29" fmla="*/ 12 h 19"/>
                  <a:gd name="T30" fmla="*/ 17 w 25"/>
                  <a:gd name="T31" fmla="*/ 8 h 19"/>
                  <a:gd name="T32" fmla="*/ 16 w 25"/>
                  <a:gd name="T33" fmla="*/ 6 h 19"/>
                  <a:gd name="T34" fmla="*/ 13 w 25"/>
                  <a:gd name="T35" fmla="*/ 7 h 19"/>
                  <a:gd name="T36" fmla="*/ 13 w 25"/>
                  <a:gd name="T37" fmla="*/ 7 h 19"/>
                  <a:gd name="T38" fmla="*/ 10 w 25"/>
                  <a:gd name="T39" fmla="*/ 6 h 19"/>
                  <a:gd name="T40" fmla="*/ 10 w 25"/>
                  <a:gd name="T41" fmla="*/ 6 h 19"/>
                  <a:gd name="T42" fmla="*/ 8 w 25"/>
                  <a:gd name="T43" fmla="*/ 5 h 19"/>
                  <a:gd name="T44" fmla="*/ 5 w 25"/>
                  <a:gd name="T45" fmla="*/ 3 h 19"/>
                  <a:gd name="T46" fmla="*/ 4 w 25"/>
                  <a:gd name="T47" fmla="*/ 2 h 19"/>
                  <a:gd name="T48" fmla="*/ 2 w 25"/>
                  <a:gd name="T49" fmla="*/ 0 h 19"/>
                  <a:gd name="T50" fmla="*/ 2 w 25"/>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19">
                    <a:moveTo>
                      <a:pt x="2" y="0"/>
                    </a:moveTo>
                    <a:cubicBezTo>
                      <a:pt x="0" y="0"/>
                      <a:pt x="0" y="0"/>
                      <a:pt x="0" y="0"/>
                    </a:cubicBezTo>
                    <a:cubicBezTo>
                      <a:pt x="0" y="0"/>
                      <a:pt x="0" y="0"/>
                      <a:pt x="0" y="0"/>
                    </a:cubicBezTo>
                    <a:cubicBezTo>
                      <a:pt x="0" y="1"/>
                      <a:pt x="0" y="1"/>
                      <a:pt x="1" y="2"/>
                    </a:cubicBezTo>
                    <a:cubicBezTo>
                      <a:pt x="1" y="2"/>
                      <a:pt x="1" y="3"/>
                      <a:pt x="7" y="9"/>
                    </a:cubicBezTo>
                    <a:cubicBezTo>
                      <a:pt x="7" y="9"/>
                      <a:pt x="8" y="10"/>
                      <a:pt x="8" y="10"/>
                    </a:cubicBezTo>
                    <a:cubicBezTo>
                      <a:pt x="9" y="11"/>
                      <a:pt x="9" y="11"/>
                      <a:pt x="9" y="11"/>
                    </a:cubicBezTo>
                    <a:cubicBezTo>
                      <a:pt x="11" y="13"/>
                      <a:pt x="12" y="14"/>
                      <a:pt x="13" y="15"/>
                    </a:cubicBezTo>
                    <a:cubicBezTo>
                      <a:pt x="13" y="15"/>
                      <a:pt x="17" y="17"/>
                      <a:pt x="21" y="18"/>
                    </a:cubicBezTo>
                    <a:cubicBezTo>
                      <a:pt x="22" y="18"/>
                      <a:pt x="23" y="18"/>
                      <a:pt x="23" y="18"/>
                    </a:cubicBezTo>
                    <a:cubicBezTo>
                      <a:pt x="24" y="18"/>
                      <a:pt x="24" y="18"/>
                      <a:pt x="25" y="19"/>
                    </a:cubicBezTo>
                    <a:cubicBezTo>
                      <a:pt x="25" y="19"/>
                      <a:pt x="25" y="19"/>
                      <a:pt x="25" y="19"/>
                    </a:cubicBezTo>
                    <a:cubicBezTo>
                      <a:pt x="24" y="16"/>
                      <a:pt x="23" y="14"/>
                      <a:pt x="22" y="12"/>
                    </a:cubicBezTo>
                    <a:cubicBezTo>
                      <a:pt x="21" y="12"/>
                      <a:pt x="21" y="12"/>
                      <a:pt x="21" y="12"/>
                    </a:cubicBezTo>
                    <a:cubicBezTo>
                      <a:pt x="21" y="12"/>
                      <a:pt x="21" y="12"/>
                      <a:pt x="21" y="12"/>
                    </a:cubicBezTo>
                    <a:cubicBezTo>
                      <a:pt x="19" y="11"/>
                      <a:pt x="17" y="9"/>
                      <a:pt x="17" y="8"/>
                    </a:cubicBezTo>
                    <a:cubicBezTo>
                      <a:pt x="16" y="7"/>
                      <a:pt x="16" y="6"/>
                      <a:pt x="16" y="6"/>
                    </a:cubicBezTo>
                    <a:cubicBezTo>
                      <a:pt x="15" y="6"/>
                      <a:pt x="14" y="6"/>
                      <a:pt x="13" y="7"/>
                    </a:cubicBezTo>
                    <a:cubicBezTo>
                      <a:pt x="13" y="7"/>
                      <a:pt x="13" y="7"/>
                      <a:pt x="13" y="7"/>
                    </a:cubicBezTo>
                    <a:cubicBezTo>
                      <a:pt x="12" y="7"/>
                      <a:pt x="11" y="6"/>
                      <a:pt x="10" y="6"/>
                    </a:cubicBezTo>
                    <a:cubicBezTo>
                      <a:pt x="10" y="6"/>
                      <a:pt x="10" y="6"/>
                      <a:pt x="10" y="6"/>
                    </a:cubicBezTo>
                    <a:cubicBezTo>
                      <a:pt x="9" y="6"/>
                      <a:pt x="8" y="5"/>
                      <a:pt x="8" y="5"/>
                    </a:cubicBezTo>
                    <a:cubicBezTo>
                      <a:pt x="7" y="4"/>
                      <a:pt x="6" y="4"/>
                      <a:pt x="5" y="3"/>
                    </a:cubicBezTo>
                    <a:cubicBezTo>
                      <a:pt x="5" y="2"/>
                      <a:pt x="4" y="2"/>
                      <a:pt x="4" y="2"/>
                    </a:cubicBezTo>
                    <a:cubicBezTo>
                      <a:pt x="3" y="1"/>
                      <a:pt x="3"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 name="Freeform 187">
                <a:extLst>
                  <a:ext uri="{FF2B5EF4-FFF2-40B4-BE49-F238E27FC236}">
                    <a16:creationId xmlns:a16="http://schemas.microsoft.com/office/drawing/2014/main" id="{7FC471C7-24C3-41CE-80DD-A3D0ABC9A9E7}"/>
                  </a:ext>
                </a:extLst>
              </p:cNvPr>
              <p:cNvSpPr>
                <a:spLocks/>
              </p:cNvSpPr>
              <p:nvPr/>
            </p:nvSpPr>
            <p:spPr bwMode="auto">
              <a:xfrm>
                <a:off x="4188" y="843"/>
                <a:ext cx="870" cy="801"/>
              </a:xfrm>
              <a:custGeom>
                <a:avLst/>
                <a:gdLst>
                  <a:gd name="T0" fmla="*/ 47 w 368"/>
                  <a:gd name="T1" fmla="*/ 23 h 339"/>
                  <a:gd name="T2" fmla="*/ 36 w 368"/>
                  <a:gd name="T3" fmla="*/ 28 h 339"/>
                  <a:gd name="T4" fmla="*/ 29 w 368"/>
                  <a:gd name="T5" fmla="*/ 33 h 339"/>
                  <a:gd name="T6" fmla="*/ 23 w 368"/>
                  <a:gd name="T7" fmla="*/ 39 h 339"/>
                  <a:gd name="T8" fmla="*/ 21 w 368"/>
                  <a:gd name="T9" fmla="*/ 52 h 339"/>
                  <a:gd name="T10" fmla="*/ 23 w 368"/>
                  <a:gd name="T11" fmla="*/ 69 h 339"/>
                  <a:gd name="T12" fmla="*/ 15 w 368"/>
                  <a:gd name="T13" fmla="*/ 70 h 339"/>
                  <a:gd name="T14" fmla="*/ 3 w 368"/>
                  <a:gd name="T15" fmla="*/ 78 h 339"/>
                  <a:gd name="T16" fmla="*/ 0 w 368"/>
                  <a:gd name="T17" fmla="*/ 79 h 339"/>
                  <a:gd name="T18" fmla="*/ 12 w 368"/>
                  <a:gd name="T19" fmla="*/ 115 h 339"/>
                  <a:gd name="T20" fmla="*/ 13 w 368"/>
                  <a:gd name="T21" fmla="*/ 134 h 339"/>
                  <a:gd name="T22" fmla="*/ 11 w 368"/>
                  <a:gd name="T23" fmla="*/ 146 h 339"/>
                  <a:gd name="T24" fmla="*/ 11 w 368"/>
                  <a:gd name="T25" fmla="*/ 156 h 339"/>
                  <a:gd name="T26" fmla="*/ 9 w 368"/>
                  <a:gd name="T27" fmla="*/ 173 h 339"/>
                  <a:gd name="T28" fmla="*/ 5 w 368"/>
                  <a:gd name="T29" fmla="*/ 175 h 339"/>
                  <a:gd name="T30" fmla="*/ 2 w 368"/>
                  <a:gd name="T31" fmla="*/ 179 h 339"/>
                  <a:gd name="T32" fmla="*/ 9 w 368"/>
                  <a:gd name="T33" fmla="*/ 188 h 339"/>
                  <a:gd name="T34" fmla="*/ 16 w 368"/>
                  <a:gd name="T35" fmla="*/ 204 h 339"/>
                  <a:gd name="T36" fmla="*/ 18 w 368"/>
                  <a:gd name="T37" fmla="*/ 211 h 339"/>
                  <a:gd name="T38" fmla="*/ 23 w 368"/>
                  <a:gd name="T39" fmla="*/ 218 h 339"/>
                  <a:gd name="T40" fmla="*/ 29 w 368"/>
                  <a:gd name="T41" fmla="*/ 213 h 339"/>
                  <a:gd name="T42" fmla="*/ 41 w 368"/>
                  <a:gd name="T43" fmla="*/ 220 h 339"/>
                  <a:gd name="T44" fmla="*/ 54 w 368"/>
                  <a:gd name="T45" fmla="*/ 229 h 339"/>
                  <a:gd name="T46" fmla="*/ 61 w 368"/>
                  <a:gd name="T47" fmla="*/ 242 h 339"/>
                  <a:gd name="T48" fmla="*/ 103 w 368"/>
                  <a:gd name="T49" fmla="*/ 255 h 339"/>
                  <a:gd name="T50" fmla="*/ 112 w 368"/>
                  <a:gd name="T51" fmla="*/ 263 h 339"/>
                  <a:gd name="T52" fmla="*/ 116 w 368"/>
                  <a:gd name="T53" fmla="*/ 262 h 339"/>
                  <a:gd name="T54" fmla="*/ 155 w 368"/>
                  <a:gd name="T55" fmla="*/ 244 h 339"/>
                  <a:gd name="T56" fmla="*/ 200 w 368"/>
                  <a:gd name="T57" fmla="*/ 266 h 339"/>
                  <a:gd name="T58" fmla="*/ 339 w 368"/>
                  <a:gd name="T59" fmla="*/ 334 h 339"/>
                  <a:gd name="T60" fmla="*/ 340 w 368"/>
                  <a:gd name="T61" fmla="*/ 332 h 339"/>
                  <a:gd name="T62" fmla="*/ 342 w 368"/>
                  <a:gd name="T63" fmla="*/ 330 h 339"/>
                  <a:gd name="T64" fmla="*/ 356 w 368"/>
                  <a:gd name="T65" fmla="*/ 329 h 339"/>
                  <a:gd name="T66" fmla="*/ 363 w 368"/>
                  <a:gd name="T67" fmla="*/ 295 h 339"/>
                  <a:gd name="T68" fmla="*/ 363 w 368"/>
                  <a:gd name="T69" fmla="*/ 280 h 339"/>
                  <a:gd name="T70" fmla="*/ 359 w 368"/>
                  <a:gd name="T71" fmla="*/ 88 h 339"/>
                  <a:gd name="T72" fmla="*/ 356 w 368"/>
                  <a:gd name="T73" fmla="*/ 78 h 339"/>
                  <a:gd name="T74" fmla="*/ 362 w 368"/>
                  <a:gd name="T75" fmla="*/ 61 h 339"/>
                  <a:gd name="T76" fmla="*/ 361 w 368"/>
                  <a:gd name="T77" fmla="*/ 44 h 339"/>
                  <a:gd name="T78" fmla="*/ 368 w 368"/>
                  <a:gd name="T79" fmla="*/ 36 h 339"/>
                  <a:gd name="T80" fmla="*/ 356 w 368"/>
                  <a:gd name="T81" fmla="*/ 29 h 339"/>
                  <a:gd name="T82" fmla="*/ 320 w 368"/>
                  <a:gd name="T83" fmla="*/ 20 h 339"/>
                  <a:gd name="T84" fmla="*/ 295 w 368"/>
                  <a:gd name="T85" fmla="*/ 5 h 339"/>
                  <a:gd name="T86" fmla="*/ 256 w 368"/>
                  <a:gd name="T87" fmla="*/ 20 h 339"/>
                  <a:gd name="T88" fmla="*/ 248 w 368"/>
                  <a:gd name="T89" fmla="*/ 61 h 339"/>
                  <a:gd name="T90" fmla="*/ 219 w 368"/>
                  <a:gd name="T91" fmla="*/ 72 h 339"/>
                  <a:gd name="T92" fmla="*/ 141 w 368"/>
                  <a:gd name="T93" fmla="*/ 37 h 339"/>
                  <a:gd name="T94" fmla="*/ 108 w 368"/>
                  <a:gd name="T95" fmla="*/ 11 h 339"/>
                  <a:gd name="T96" fmla="*/ 75 w 368"/>
                  <a:gd name="T97" fmla="*/ 8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8" h="339">
                    <a:moveTo>
                      <a:pt x="51" y="0"/>
                    </a:moveTo>
                    <a:cubicBezTo>
                      <a:pt x="51" y="0"/>
                      <a:pt x="51" y="0"/>
                      <a:pt x="51" y="0"/>
                    </a:cubicBezTo>
                    <a:cubicBezTo>
                      <a:pt x="51" y="17"/>
                      <a:pt x="51" y="17"/>
                      <a:pt x="51" y="17"/>
                    </a:cubicBezTo>
                    <a:cubicBezTo>
                      <a:pt x="51" y="20"/>
                      <a:pt x="48" y="22"/>
                      <a:pt x="47" y="23"/>
                    </a:cubicBezTo>
                    <a:cubicBezTo>
                      <a:pt x="46" y="23"/>
                      <a:pt x="44" y="24"/>
                      <a:pt x="42" y="25"/>
                    </a:cubicBezTo>
                    <a:cubicBezTo>
                      <a:pt x="41" y="26"/>
                      <a:pt x="41" y="26"/>
                      <a:pt x="41" y="26"/>
                    </a:cubicBezTo>
                    <a:cubicBezTo>
                      <a:pt x="39" y="26"/>
                      <a:pt x="37" y="27"/>
                      <a:pt x="36" y="27"/>
                    </a:cubicBezTo>
                    <a:cubicBezTo>
                      <a:pt x="36" y="28"/>
                      <a:pt x="36" y="28"/>
                      <a:pt x="36" y="28"/>
                    </a:cubicBezTo>
                    <a:cubicBezTo>
                      <a:pt x="36" y="28"/>
                      <a:pt x="36" y="28"/>
                      <a:pt x="35" y="28"/>
                    </a:cubicBezTo>
                    <a:cubicBezTo>
                      <a:pt x="35" y="28"/>
                      <a:pt x="35" y="29"/>
                      <a:pt x="34" y="29"/>
                    </a:cubicBezTo>
                    <a:cubicBezTo>
                      <a:pt x="34" y="30"/>
                      <a:pt x="33" y="31"/>
                      <a:pt x="31" y="32"/>
                    </a:cubicBezTo>
                    <a:cubicBezTo>
                      <a:pt x="30" y="33"/>
                      <a:pt x="30" y="33"/>
                      <a:pt x="29" y="33"/>
                    </a:cubicBezTo>
                    <a:cubicBezTo>
                      <a:pt x="29" y="33"/>
                      <a:pt x="29" y="33"/>
                      <a:pt x="29" y="33"/>
                    </a:cubicBezTo>
                    <a:cubicBezTo>
                      <a:pt x="28" y="34"/>
                      <a:pt x="28" y="34"/>
                      <a:pt x="28" y="34"/>
                    </a:cubicBezTo>
                    <a:cubicBezTo>
                      <a:pt x="27" y="35"/>
                      <a:pt x="26" y="37"/>
                      <a:pt x="24" y="38"/>
                    </a:cubicBezTo>
                    <a:cubicBezTo>
                      <a:pt x="23" y="39"/>
                      <a:pt x="23" y="39"/>
                      <a:pt x="23" y="39"/>
                    </a:cubicBezTo>
                    <a:cubicBezTo>
                      <a:pt x="22" y="39"/>
                      <a:pt x="22" y="39"/>
                      <a:pt x="22" y="39"/>
                    </a:cubicBezTo>
                    <a:cubicBezTo>
                      <a:pt x="22" y="39"/>
                      <a:pt x="22" y="39"/>
                      <a:pt x="22" y="39"/>
                    </a:cubicBezTo>
                    <a:cubicBezTo>
                      <a:pt x="21" y="41"/>
                      <a:pt x="20" y="45"/>
                      <a:pt x="20" y="47"/>
                    </a:cubicBezTo>
                    <a:cubicBezTo>
                      <a:pt x="20" y="49"/>
                      <a:pt x="21" y="50"/>
                      <a:pt x="21" y="52"/>
                    </a:cubicBezTo>
                    <a:cubicBezTo>
                      <a:pt x="21" y="52"/>
                      <a:pt x="21" y="52"/>
                      <a:pt x="21" y="52"/>
                    </a:cubicBezTo>
                    <a:cubicBezTo>
                      <a:pt x="21" y="53"/>
                      <a:pt x="21" y="54"/>
                      <a:pt x="22" y="55"/>
                    </a:cubicBezTo>
                    <a:cubicBezTo>
                      <a:pt x="22" y="59"/>
                      <a:pt x="21" y="63"/>
                      <a:pt x="19" y="65"/>
                    </a:cubicBezTo>
                    <a:cubicBezTo>
                      <a:pt x="23" y="69"/>
                      <a:pt x="23" y="69"/>
                      <a:pt x="23" y="69"/>
                    </a:cubicBezTo>
                    <a:cubicBezTo>
                      <a:pt x="18" y="67"/>
                      <a:pt x="18" y="67"/>
                      <a:pt x="18" y="67"/>
                    </a:cubicBezTo>
                    <a:cubicBezTo>
                      <a:pt x="18" y="67"/>
                      <a:pt x="18" y="67"/>
                      <a:pt x="18" y="67"/>
                    </a:cubicBezTo>
                    <a:cubicBezTo>
                      <a:pt x="17" y="68"/>
                      <a:pt x="16" y="68"/>
                      <a:pt x="16" y="69"/>
                    </a:cubicBezTo>
                    <a:cubicBezTo>
                      <a:pt x="15" y="70"/>
                      <a:pt x="15" y="70"/>
                      <a:pt x="15" y="70"/>
                    </a:cubicBezTo>
                    <a:cubicBezTo>
                      <a:pt x="15" y="71"/>
                      <a:pt x="14" y="71"/>
                      <a:pt x="14" y="72"/>
                    </a:cubicBezTo>
                    <a:cubicBezTo>
                      <a:pt x="12" y="74"/>
                      <a:pt x="9" y="75"/>
                      <a:pt x="7" y="76"/>
                    </a:cubicBezTo>
                    <a:cubicBezTo>
                      <a:pt x="5" y="77"/>
                      <a:pt x="5" y="77"/>
                      <a:pt x="5" y="77"/>
                    </a:cubicBezTo>
                    <a:cubicBezTo>
                      <a:pt x="4" y="77"/>
                      <a:pt x="3" y="77"/>
                      <a:pt x="3" y="78"/>
                    </a:cubicBezTo>
                    <a:cubicBezTo>
                      <a:pt x="2" y="78"/>
                      <a:pt x="2" y="78"/>
                      <a:pt x="2" y="78"/>
                    </a:cubicBezTo>
                    <a:cubicBezTo>
                      <a:pt x="2" y="78"/>
                      <a:pt x="2" y="78"/>
                      <a:pt x="2" y="78"/>
                    </a:cubicBezTo>
                    <a:cubicBezTo>
                      <a:pt x="1" y="79"/>
                      <a:pt x="1" y="79"/>
                      <a:pt x="1" y="79"/>
                    </a:cubicBezTo>
                    <a:cubicBezTo>
                      <a:pt x="0" y="79"/>
                      <a:pt x="0" y="79"/>
                      <a:pt x="0" y="79"/>
                    </a:cubicBezTo>
                    <a:cubicBezTo>
                      <a:pt x="2" y="82"/>
                      <a:pt x="4" y="86"/>
                      <a:pt x="6" y="88"/>
                    </a:cubicBezTo>
                    <a:cubicBezTo>
                      <a:pt x="7" y="89"/>
                      <a:pt x="7" y="90"/>
                      <a:pt x="8" y="91"/>
                    </a:cubicBezTo>
                    <a:cubicBezTo>
                      <a:pt x="11" y="97"/>
                      <a:pt x="12" y="103"/>
                      <a:pt x="12" y="111"/>
                    </a:cubicBezTo>
                    <a:cubicBezTo>
                      <a:pt x="12" y="113"/>
                      <a:pt x="12" y="114"/>
                      <a:pt x="12" y="115"/>
                    </a:cubicBezTo>
                    <a:cubicBezTo>
                      <a:pt x="12" y="116"/>
                      <a:pt x="12" y="116"/>
                      <a:pt x="12" y="116"/>
                    </a:cubicBezTo>
                    <a:cubicBezTo>
                      <a:pt x="11" y="119"/>
                      <a:pt x="11" y="123"/>
                      <a:pt x="11" y="126"/>
                    </a:cubicBezTo>
                    <a:cubicBezTo>
                      <a:pt x="11" y="127"/>
                      <a:pt x="12" y="128"/>
                      <a:pt x="12" y="130"/>
                    </a:cubicBezTo>
                    <a:cubicBezTo>
                      <a:pt x="13" y="134"/>
                      <a:pt x="13" y="134"/>
                      <a:pt x="13" y="134"/>
                    </a:cubicBezTo>
                    <a:cubicBezTo>
                      <a:pt x="14" y="137"/>
                      <a:pt x="13" y="140"/>
                      <a:pt x="12" y="143"/>
                    </a:cubicBezTo>
                    <a:cubicBezTo>
                      <a:pt x="12" y="143"/>
                      <a:pt x="12" y="144"/>
                      <a:pt x="12" y="144"/>
                    </a:cubicBezTo>
                    <a:cubicBezTo>
                      <a:pt x="11" y="145"/>
                      <a:pt x="11" y="145"/>
                      <a:pt x="11" y="145"/>
                    </a:cubicBezTo>
                    <a:cubicBezTo>
                      <a:pt x="11" y="146"/>
                      <a:pt x="11" y="146"/>
                      <a:pt x="11" y="146"/>
                    </a:cubicBezTo>
                    <a:cubicBezTo>
                      <a:pt x="10" y="148"/>
                      <a:pt x="9" y="149"/>
                      <a:pt x="9" y="150"/>
                    </a:cubicBezTo>
                    <a:cubicBezTo>
                      <a:pt x="9" y="151"/>
                      <a:pt x="10" y="151"/>
                      <a:pt x="10" y="152"/>
                    </a:cubicBezTo>
                    <a:cubicBezTo>
                      <a:pt x="10" y="153"/>
                      <a:pt x="10" y="153"/>
                      <a:pt x="10" y="154"/>
                    </a:cubicBezTo>
                    <a:cubicBezTo>
                      <a:pt x="11" y="155"/>
                      <a:pt x="11" y="155"/>
                      <a:pt x="11" y="156"/>
                    </a:cubicBezTo>
                    <a:cubicBezTo>
                      <a:pt x="11" y="159"/>
                      <a:pt x="11" y="159"/>
                      <a:pt x="11" y="159"/>
                    </a:cubicBezTo>
                    <a:cubicBezTo>
                      <a:pt x="11" y="161"/>
                      <a:pt x="12" y="164"/>
                      <a:pt x="12" y="166"/>
                    </a:cubicBezTo>
                    <a:cubicBezTo>
                      <a:pt x="12" y="167"/>
                      <a:pt x="12" y="167"/>
                      <a:pt x="12" y="167"/>
                    </a:cubicBezTo>
                    <a:cubicBezTo>
                      <a:pt x="12" y="169"/>
                      <a:pt x="12" y="171"/>
                      <a:pt x="9" y="173"/>
                    </a:cubicBezTo>
                    <a:cubicBezTo>
                      <a:pt x="8" y="174"/>
                      <a:pt x="8" y="174"/>
                      <a:pt x="8" y="174"/>
                    </a:cubicBezTo>
                    <a:cubicBezTo>
                      <a:pt x="8" y="174"/>
                      <a:pt x="8" y="174"/>
                      <a:pt x="8" y="174"/>
                    </a:cubicBezTo>
                    <a:cubicBezTo>
                      <a:pt x="7" y="174"/>
                      <a:pt x="7" y="174"/>
                      <a:pt x="7" y="174"/>
                    </a:cubicBezTo>
                    <a:cubicBezTo>
                      <a:pt x="6" y="175"/>
                      <a:pt x="5" y="175"/>
                      <a:pt x="5" y="175"/>
                    </a:cubicBezTo>
                    <a:cubicBezTo>
                      <a:pt x="5" y="175"/>
                      <a:pt x="5" y="176"/>
                      <a:pt x="4" y="177"/>
                    </a:cubicBezTo>
                    <a:cubicBezTo>
                      <a:pt x="2" y="178"/>
                      <a:pt x="2" y="178"/>
                      <a:pt x="2" y="179"/>
                    </a:cubicBezTo>
                    <a:cubicBezTo>
                      <a:pt x="2" y="179"/>
                      <a:pt x="2" y="179"/>
                      <a:pt x="2" y="179"/>
                    </a:cubicBezTo>
                    <a:cubicBezTo>
                      <a:pt x="2" y="179"/>
                      <a:pt x="2" y="179"/>
                      <a:pt x="2" y="179"/>
                    </a:cubicBezTo>
                    <a:cubicBezTo>
                      <a:pt x="2" y="179"/>
                      <a:pt x="2" y="181"/>
                      <a:pt x="7" y="186"/>
                    </a:cubicBezTo>
                    <a:cubicBezTo>
                      <a:pt x="7" y="186"/>
                      <a:pt x="7" y="186"/>
                      <a:pt x="7" y="186"/>
                    </a:cubicBezTo>
                    <a:cubicBezTo>
                      <a:pt x="7" y="187"/>
                      <a:pt x="8" y="187"/>
                      <a:pt x="8" y="188"/>
                    </a:cubicBezTo>
                    <a:cubicBezTo>
                      <a:pt x="9" y="188"/>
                      <a:pt x="9" y="188"/>
                      <a:pt x="9" y="188"/>
                    </a:cubicBezTo>
                    <a:cubicBezTo>
                      <a:pt x="9" y="189"/>
                      <a:pt x="9" y="189"/>
                      <a:pt x="10" y="189"/>
                    </a:cubicBezTo>
                    <a:cubicBezTo>
                      <a:pt x="10" y="190"/>
                      <a:pt x="10" y="190"/>
                      <a:pt x="10" y="190"/>
                    </a:cubicBezTo>
                    <a:cubicBezTo>
                      <a:pt x="11" y="191"/>
                      <a:pt x="12" y="192"/>
                      <a:pt x="13" y="194"/>
                    </a:cubicBezTo>
                    <a:cubicBezTo>
                      <a:pt x="14" y="197"/>
                      <a:pt x="15" y="201"/>
                      <a:pt x="16" y="204"/>
                    </a:cubicBezTo>
                    <a:cubicBezTo>
                      <a:pt x="16" y="205"/>
                      <a:pt x="16" y="205"/>
                      <a:pt x="16" y="205"/>
                    </a:cubicBezTo>
                    <a:cubicBezTo>
                      <a:pt x="16" y="206"/>
                      <a:pt x="16" y="208"/>
                      <a:pt x="17" y="210"/>
                    </a:cubicBezTo>
                    <a:cubicBezTo>
                      <a:pt x="17" y="211"/>
                      <a:pt x="17" y="211"/>
                      <a:pt x="17" y="211"/>
                    </a:cubicBezTo>
                    <a:cubicBezTo>
                      <a:pt x="17" y="211"/>
                      <a:pt x="17" y="211"/>
                      <a:pt x="18" y="211"/>
                    </a:cubicBezTo>
                    <a:cubicBezTo>
                      <a:pt x="19" y="213"/>
                      <a:pt x="20" y="215"/>
                      <a:pt x="21" y="216"/>
                    </a:cubicBezTo>
                    <a:cubicBezTo>
                      <a:pt x="21" y="216"/>
                      <a:pt x="21" y="216"/>
                      <a:pt x="21" y="216"/>
                    </a:cubicBezTo>
                    <a:cubicBezTo>
                      <a:pt x="22" y="217"/>
                      <a:pt x="22" y="217"/>
                      <a:pt x="22" y="217"/>
                    </a:cubicBezTo>
                    <a:cubicBezTo>
                      <a:pt x="22" y="217"/>
                      <a:pt x="23" y="218"/>
                      <a:pt x="23" y="218"/>
                    </a:cubicBezTo>
                    <a:cubicBezTo>
                      <a:pt x="23" y="218"/>
                      <a:pt x="23" y="218"/>
                      <a:pt x="23" y="218"/>
                    </a:cubicBezTo>
                    <a:cubicBezTo>
                      <a:pt x="24" y="218"/>
                      <a:pt x="24" y="218"/>
                      <a:pt x="24" y="218"/>
                    </a:cubicBezTo>
                    <a:cubicBezTo>
                      <a:pt x="26" y="217"/>
                      <a:pt x="27" y="217"/>
                      <a:pt x="29" y="217"/>
                    </a:cubicBezTo>
                    <a:cubicBezTo>
                      <a:pt x="29" y="213"/>
                      <a:pt x="29" y="213"/>
                      <a:pt x="29" y="213"/>
                    </a:cubicBezTo>
                    <a:cubicBezTo>
                      <a:pt x="30" y="217"/>
                      <a:pt x="30" y="217"/>
                      <a:pt x="30" y="217"/>
                    </a:cubicBezTo>
                    <a:cubicBezTo>
                      <a:pt x="30" y="217"/>
                      <a:pt x="30" y="217"/>
                      <a:pt x="30" y="217"/>
                    </a:cubicBezTo>
                    <a:cubicBezTo>
                      <a:pt x="31" y="217"/>
                      <a:pt x="33" y="217"/>
                      <a:pt x="35" y="218"/>
                    </a:cubicBezTo>
                    <a:cubicBezTo>
                      <a:pt x="37" y="219"/>
                      <a:pt x="39" y="219"/>
                      <a:pt x="41" y="220"/>
                    </a:cubicBezTo>
                    <a:cubicBezTo>
                      <a:pt x="46" y="221"/>
                      <a:pt x="46" y="221"/>
                      <a:pt x="46" y="221"/>
                    </a:cubicBezTo>
                    <a:cubicBezTo>
                      <a:pt x="49" y="222"/>
                      <a:pt x="51" y="225"/>
                      <a:pt x="53" y="228"/>
                    </a:cubicBezTo>
                    <a:cubicBezTo>
                      <a:pt x="53" y="228"/>
                      <a:pt x="53" y="228"/>
                      <a:pt x="53" y="228"/>
                    </a:cubicBezTo>
                    <a:cubicBezTo>
                      <a:pt x="53" y="228"/>
                      <a:pt x="54" y="229"/>
                      <a:pt x="54" y="229"/>
                    </a:cubicBezTo>
                    <a:cubicBezTo>
                      <a:pt x="55" y="231"/>
                      <a:pt x="56" y="233"/>
                      <a:pt x="57" y="235"/>
                    </a:cubicBezTo>
                    <a:cubicBezTo>
                      <a:pt x="57" y="235"/>
                      <a:pt x="57" y="235"/>
                      <a:pt x="57" y="235"/>
                    </a:cubicBezTo>
                    <a:cubicBezTo>
                      <a:pt x="58" y="238"/>
                      <a:pt x="59" y="241"/>
                      <a:pt x="61" y="242"/>
                    </a:cubicBezTo>
                    <a:cubicBezTo>
                      <a:pt x="61" y="242"/>
                      <a:pt x="61" y="242"/>
                      <a:pt x="61" y="242"/>
                    </a:cubicBezTo>
                    <a:cubicBezTo>
                      <a:pt x="70" y="242"/>
                      <a:pt x="70" y="242"/>
                      <a:pt x="70" y="242"/>
                    </a:cubicBezTo>
                    <a:cubicBezTo>
                      <a:pt x="67" y="244"/>
                      <a:pt x="67" y="244"/>
                      <a:pt x="67" y="244"/>
                    </a:cubicBezTo>
                    <a:cubicBezTo>
                      <a:pt x="94" y="250"/>
                      <a:pt x="94" y="250"/>
                      <a:pt x="94" y="250"/>
                    </a:cubicBezTo>
                    <a:cubicBezTo>
                      <a:pt x="98" y="251"/>
                      <a:pt x="100" y="253"/>
                      <a:pt x="103" y="255"/>
                    </a:cubicBezTo>
                    <a:cubicBezTo>
                      <a:pt x="107" y="259"/>
                      <a:pt x="107" y="259"/>
                      <a:pt x="107" y="259"/>
                    </a:cubicBezTo>
                    <a:cubicBezTo>
                      <a:pt x="108" y="259"/>
                      <a:pt x="108" y="260"/>
                      <a:pt x="108" y="260"/>
                    </a:cubicBezTo>
                    <a:cubicBezTo>
                      <a:pt x="109" y="261"/>
                      <a:pt x="109" y="261"/>
                      <a:pt x="109" y="261"/>
                    </a:cubicBezTo>
                    <a:cubicBezTo>
                      <a:pt x="110" y="261"/>
                      <a:pt x="111" y="262"/>
                      <a:pt x="112" y="263"/>
                    </a:cubicBezTo>
                    <a:cubicBezTo>
                      <a:pt x="112" y="263"/>
                      <a:pt x="112" y="263"/>
                      <a:pt x="112" y="263"/>
                    </a:cubicBezTo>
                    <a:cubicBezTo>
                      <a:pt x="112" y="263"/>
                      <a:pt x="112" y="264"/>
                      <a:pt x="113" y="264"/>
                    </a:cubicBezTo>
                    <a:cubicBezTo>
                      <a:pt x="113" y="264"/>
                      <a:pt x="114" y="263"/>
                      <a:pt x="114" y="263"/>
                    </a:cubicBezTo>
                    <a:cubicBezTo>
                      <a:pt x="115" y="263"/>
                      <a:pt x="115" y="263"/>
                      <a:pt x="116" y="262"/>
                    </a:cubicBezTo>
                    <a:cubicBezTo>
                      <a:pt x="149" y="245"/>
                      <a:pt x="149" y="245"/>
                      <a:pt x="149" y="245"/>
                    </a:cubicBezTo>
                    <a:cubicBezTo>
                      <a:pt x="150" y="245"/>
                      <a:pt x="150" y="245"/>
                      <a:pt x="150" y="245"/>
                    </a:cubicBezTo>
                    <a:cubicBezTo>
                      <a:pt x="152" y="245"/>
                      <a:pt x="153" y="244"/>
                      <a:pt x="154" y="244"/>
                    </a:cubicBezTo>
                    <a:cubicBezTo>
                      <a:pt x="154" y="244"/>
                      <a:pt x="155" y="244"/>
                      <a:pt x="155" y="244"/>
                    </a:cubicBezTo>
                    <a:cubicBezTo>
                      <a:pt x="157" y="245"/>
                      <a:pt x="158" y="245"/>
                      <a:pt x="159" y="246"/>
                    </a:cubicBezTo>
                    <a:cubicBezTo>
                      <a:pt x="167" y="250"/>
                      <a:pt x="167" y="250"/>
                      <a:pt x="167" y="250"/>
                    </a:cubicBezTo>
                    <a:cubicBezTo>
                      <a:pt x="174" y="253"/>
                      <a:pt x="182" y="257"/>
                      <a:pt x="190" y="261"/>
                    </a:cubicBezTo>
                    <a:cubicBezTo>
                      <a:pt x="200" y="266"/>
                      <a:pt x="200" y="266"/>
                      <a:pt x="200" y="266"/>
                    </a:cubicBezTo>
                    <a:cubicBezTo>
                      <a:pt x="222" y="277"/>
                      <a:pt x="244" y="289"/>
                      <a:pt x="263" y="299"/>
                    </a:cubicBezTo>
                    <a:cubicBezTo>
                      <a:pt x="339" y="339"/>
                      <a:pt x="339" y="339"/>
                      <a:pt x="339" y="339"/>
                    </a:cubicBezTo>
                    <a:cubicBezTo>
                      <a:pt x="339" y="337"/>
                      <a:pt x="339" y="337"/>
                      <a:pt x="339" y="337"/>
                    </a:cubicBezTo>
                    <a:cubicBezTo>
                      <a:pt x="339" y="334"/>
                      <a:pt x="339" y="334"/>
                      <a:pt x="339" y="334"/>
                    </a:cubicBezTo>
                    <a:cubicBezTo>
                      <a:pt x="339" y="334"/>
                      <a:pt x="339" y="334"/>
                      <a:pt x="339" y="333"/>
                    </a:cubicBezTo>
                    <a:cubicBezTo>
                      <a:pt x="339" y="333"/>
                      <a:pt x="339" y="333"/>
                      <a:pt x="339" y="333"/>
                    </a:cubicBezTo>
                    <a:cubicBezTo>
                      <a:pt x="340" y="332"/>
                      <a:pt x="340" y="332"/>
                      <a:pt x="340" y="332"/>
                    </a:cubicBezTo>
                    <a:cubicBezTo>
                      <a:pt x="340" y="332"/>
                      <a:pt x="340" y="332"/>
                      <a:pt x="340" y="332"/>
                    </a:cubicBezTo>
                    <a:cubicBezTo>
                      <a:pt x="340" y="331"/>
                      <a:pt x="340" y="331"/>
                      <a:pt x="340" y="331"/>
                    </a:cubicBezTo>
                    <a:cubicBezTo>
                      <a:pt x="340" y="331"/>
                      <a:pt x="340" y="331"/>
                      <a:pt x="340" y="331"/>
                    </a:cubicBezTo>
                    <a:cubicBezTo>
                      <a:pt x="341" y="331"/>
                      <a:pt x="341" y="330"/>
                      <a:pt x="341" y="330"/>
                    </a:cubicBezTo>
                    <a:cubicBezTo>
                      <a:pt x="342" y="330"/>
                      <a:pt x="342" y="330"/>
                      <a:pt x="342" y="330"/>
                    </a:cubicBezTo>
                    <a:cubicBezTo>
                      <a:pt x="343" y="330"/>
                      <a:pt x="344" y="329"/>
                      <a:pt x="345" y="329"/>
                    </a:cubicBezTo>
                    <a:cubicBezTo>
                      <a:pt x="347" y="329"/>
                      <a:pt x="349" y="329"/>
                      <a:pt x="350" y="329"/>
                    </a:cubicBezTo>
                    <a:cubicBezTo>
                      <a:pt x="350" y="329"/>
                      <a:pt x="351" y="329"/>
                      <a:pt x="351" y="329"/>
                    </a:cubicBezTo>
                    <a:cubicBezTo>
                      <a:pt x="353" y="329"/>
                      <a:pt x="354" y="329"/>
                      <a:pt x="356" y="329"/>
                    </a:cubicBezTo>
                    <a:cubicBezTo>
                      <a:pt x="358" y="329"/>
                      <a:pt x="359" y="329"/>
                      <a:pt x="360" y="329"/>
                    </a:cubicBezTo>
                    <a:cubicBezTo>
                      <a:pt x="361" y="329"/>
                      <a:pt x="361" y="329"/>
                      <a:pt x="361" y="329"/>
                    </a:cubicBezTo>
                    <a:cubicBezTo>
                      <a:pt x="361" y="329"/>
                      <a:pt x="362" y="329"/>
                      <a:pt x="363" y="329"/>
                    </a:cubicBezTo>
                    <a:cubicBezTo>
                      <a:pt x="363" y="295"/>
                      <a:pt x="363" y="295"/>
                      <a:pt x="363" y="295"/>
                    </a:cubicBezTo>
                    <a:cubicBezTo>
                      <a:pt x="363" y="292"/>
                      <a:pt x="362" y="287"/>
                      <a:pt x="363" y="284"/>
                    </a:cubicBezTo>
                    <a:cubicBezTo>
                      <a:pt x="363" y="283"/>
                      <a:pt x="363" y="283"/>
                      <a:pt x="363" y="283"/>
                    </a:cubicBezTo>
                    <a:cubicBezTo>
                      <a:pt x="360" y="280"/>
                      <a:pt x="360" y="280"/>
                      <a:pt x="360" y="280"/>
                    </a:cubicBezTo>
                    <a:cubicBezTo>
                      <a:pt x="363" y="280"/>
                      <a:pt x="363" y="280"/>
                      <a:pt x="363" y="280"/>
                    </a:cubicBezTo>
                    <a:cubicBezTo>
                      <a:pt x="363" y="140"/>
                      <a:pt x="363" y="140"/>
                      <a:pt x="363" y="140"/>
                    </a:cubicBezTo>
                    <a:cubicBezTo>
                      <a:pt x="362" y="131"/>
                      <a:pt x="362" y="123"/>
                      <a:pt x="362" y="115"/>
                    </a:cubicBezTo>
                    <a:cubicBezTo>
                      <a:pt x="362" y="111"/>
                      <a:pt x="362" y="108"/>
                      <a:pt x="362" y="104"/>
                    </a:cubicBezTo>
                    <a:cubicBezTo>
                      <a:pt x="361" y="98"/>
                      <a:pt x="360" y="93"/>
                      <a:pt x="359" y="88"/>
                    </a:cubicBezTo>
                    <a:cubicBezTo>
                      <a:pt x="359" y="87"/>
                      <a:pt x="358" y="87"/>
                      <a:pt x="358" y="86"/>
                    </a:cubicBezTo>
                    <a:cubicBezTo>
                      <a:pt x="358" y="85"/>
                      <a:pt x="358" y="85"/>
                      <a:pt x="358" y="85"/>
                    </a:cubicBezTo>
                    <a:cubicBezTo>
                      <a:pt x="358" y="83"/>
                      <a:pt x="357" y="82"/>
                      <a:pt x="357" y="81"/>
                    </a:cubicBezTo>
                    <a:cubicBezTo>
                      <a:pt x="356" y="80"/>
                      <a:pt x="356" y="79"/>
                      <a:pt x="356" y="78"/>
                    </a:cubicBezTo>
                    <a:cubicBezTo>
                      <a:pt x="356" y="75"/>
                      <a:pt x="358" y="72"/>
                      <a:pt x="359" y="70"/>
                    </a:cubicBezTo>
                    <a:cubicBezTo>
                      <a:pt x="360" y="69"/>
                      <a:pt x="361" y="68"/>
                      <a:pt x="361" y="67"/>
                    </a:cubicBezTo>
                    <a:cubicBezTo>
                      <a:pt x="361" y="67"/>
                      <a:pt x="361" y="67"/>
                      <a:pt x="361" y="67"/>
                    </a:cubicBezTo>
                    <a:cubicBezTo>
                      <a:pt x="362" y="65"/>
                      <a:pt x="362" y="63"/>
                      <a:pt x="362" y="61"/>
                    </a:cubicBezTo>
                    <a:cubicBezTo>
                      <a:pt x="361" y="60"/>
                      <a:pt x="361" y="58"/>
                      <a:pt x="361" y="57"/>
                    </a:cubicBezTo>
                    <a:cubicBezTo>
                      <a:pt x="360" y="56"/>
                      <a:pt x="360" y="54"/>
                      <a:pt x="360" y="52"/>
                    </a:cubicBezTo>
                    <a:cubicBezTo>
                      <a:pt x="359" y="50"/>
                      <a:pt x="359" y="48"/>
                      <a:pt x="360" y="47"/>
                    </a:cubicBezTo>
                    <a:cubicBezTo>
                      <a:pt x="360" y="46"/>
                      <a:pt x="360" y="45"/>
                      <a:pt x="361" y="44"/>
                    </a:cubicBezTo>
                    <a:cubicBezTo>
                      <a:pt x="361" y="42"/>
                      <a:pt x="363" y="40"/>
                      <a:pt x="365" y="38"/>
                    </a:cubicBezTo>
                    <a:cubicBezTo>
                      <a:pt x="366" y="37"/>
                      <a:pt x="366" y="37"/>
                      <a:pt x="366" y="37"/>
                    </a:cubicBezTo>
                    <a:cubicBezTo>
                      <a:pt x="367" y="37"/>
                      <a:pt x="367" y="36"/>
                      <a:pt x="368" y="36"/>
                    </a:cubicBezTo>
                    <a:cubicBezTo>
                      <a:pt x="368" y="36"/>
                      <a:pt x="368" y="36"/>
                      <a:pt x="368" y="36"/>
                    </a:cubicBezTo>
                    <a:cubicBezTo>
                      <a:pt x="367" y="34"/>
                      <a:pt x="366" y="31"/>
                      <a:pt x="364" y="30"/>
                    </a:cubicBezTo>
                    <a:cubicBezTo>
                      <a:pt x="364" y="29"/>
                      <a:pt x="361" y="29"/>
                      <a:pt x="361" y="29"/>
                    </a:cubicBezTo>
                    <a:cubicBezTo>
                      <a:pt x="360" y="29"/>
                      <a:pt x="359" y="29"/>
                      <a:pt x="359" y="29"/>
                    </a:cubicBezTo>
                    <a:cubicBezTo>
                      <a:pt x="358" y="29"/>
                      <a:pt x="357" y="29"/>
                      <a:pt x="356" y="29"/>
                    </a:cubicBezTo>
                    <a:cubicBezTo>
                      <a:pt x="355" y="29"/>
                      <a:pt x="355" y="29"/>
                      <a:pt x="354" y="29"/>
                    </a:cubicBezTo>
                    <a:cubicBezTo>
                      <a:pt x="350" y="29"/>
                      <a:pt x="347" y="28"/>
                      <a:pt x="343" y="27"/>
                    </a:cubicBezTo>
                    <a:cubicBezTo>
                      <a:pt x="337" y="25"/>
                      <a:pt x="331" y="24"/>
                      <a:pt x="324" y="24"/>
                    </a:cubicBezTo>
                    <a:cubicBezTo>
                      <a:pt x="323" y="23"/>
                      <a:pt x="321" y="21"/>
                      <a:pt x="320" y="20"/>
                    </a:cubicBezTo>
                    <a:cubicBezTo>
                      <a:pt x="320" y="18"/>
                      <a:pt x="322" y="15"/>
                      <a:pt x="321" y="13"/>
                    </a:cubicBezTo>
                    <a:cubicBezTo>
                      <a:pt x="320" y="12"/>
                      <a:pt x="316" y="11"/>
                      <a:pt x="314" y="10"/>
                    </a:cubicBezTo>
                    <a:cubicBezTo>
                      <a:pt x="311" y="9"/>
                      <a:pt x="307" y="9"/>
                      <a:pt x="304" y="8"/>
                    </a:cubicBezTo>
                    <a:cubicBezTo>
                      <a:pt x="301" y="7"/>
                      <a:pt x="298" y="5"/>
                      <a:pt x="295" y="5"/>
                    </a:cubicBezTo>
                    <a:cubicBezTo>
                      <a:pt x="295" y="5"/>
                      <a:pt x="294" y="5"/>
                      <a:pt x="294" y="5"/>
                    </a:cubicBezTo>
                    <a:cubicBezTo>
                      <a:pt x="290" y="6"/>
                      <a:pt x="286" y="7"/>
                      <a:pt x="282" y="8"/>
                    </a:cubicBezTo>
                    <a:cubicBezTo>
                      <a:pt x="275" y="10"/>
                      <a:pt x="269" y="12"/>
                      <a:pt x="262" y="14"/>
                    </a:cubicBezTo>
                    <a:cubicBezTo>
                      <a:pt x="260" y="15"/>
                      <a:pt x="258" y="18"/>
                      <a:pt x="256" y="20"/>
                    </a:cubicBezTo>
                    <a:cubicBezTo>
                      <a:pt x="254" y="23"/>
                      <a:pt x="251" y="25"/>
                      <a:pt x="249" y="28"/>
                    </a:cubicBezTo>
                    <a:cubicBezTo>
                      <a:pt x="245" y="32"/>
                      <a:pt x="245" y="39"/>
                      <a:pt x="248" y="44"/>
                    </a:cubicBezTo>
                    <a:cubicBezTo>
                      <a:pt x="249" y="45"/>
                      <a:pt x="249" y="46"/>
                      <a:pt x="250" y="47"/>
                    </a:cubicBezTo>
                    <a:cubicBezTo>
                      <a:pt x="252" y="51"/>
                      <a:pt x="250" y="57"/>
                      <a:pt x="248" y="61"/>
                    </a:cubicBezTo>
                    <a:cubicBezTo>
                      <a:pt x="244" y="66"/>
                      <a:pt x="239" y="71"/>
                      <a:pt x="233" y="73"/>
                    </a:cubicBezTo>
                    <a:cubicBezTo>
                      <a:pt x="231" y="74"/>
                      <a:pt x="229" y="74"/>
                      <a:pt x="227" y="74"/>
                    </a:cubicBezTo>
                    <a:cubicBezTo>
                      <a:pt x="226" y="74"/>
                      <a:pt x="225" y="74"/>
                      <a:pt x="225" y="74"/>
                    </a:cubicBezTo>
                    <a:cubicBezTo>
                      <a:pt x="223" y="74"/>
                      <a:pt x="221" y="73"/>
                      <a:pt x="219" y="72"/>
                    </a:cubicBezTo>
                    <a:cubicBezTo>
                      <a:pt x="213" y="67"/>
                      <a:pt x="206" y="63"/>
                      <a:pt x="200" y="59"/>
                    </a:cubicBezTo>
                    <a:cubicBezTo>
                      <a:pt x="193" y="54"/>
                      <a:pt x="181" y="51"/>
                      <a:pt x="172" y="50"/>
                    </a:cubicBezTo>
                    <a:cubicBezTo>
                      <a:pt x="166" y="49"/>
                      <a:pt x="159" y="50"/>
                      <a:pt x="154" y="47"/>
                    </a:cubicBezTo>
                    <a:cubicBezTo>
                      <a:pt x="148" y="44"/>
                      <a:pt x="144" y="43"/>
                      <a:pt x="141" y="37"/>
                    </a:cubicBezTo>
                    <a:cubicBezTo>
                      <a:pt x="140" y="35"/>
                      <a:pt x="139" y="33"/>
                      <a:pt x="139" y="31"/>
                    </a:cubicBezTo>
                    <a:cubicBezTo>
                      <a:pt x="138" y="27"/>
                      <a:pt x="137" y="21"/>
                      <a:pt x="133" y="19"/>
                    </a:cubicBezTo>
                    <a:cubicBezTo>
                      <a:pt x="132" y="18"/>
                      <a:pt x="130" y="18"/>
                      <a:pt x="128" y="18"/>
                    </a:cubicBezTo>
                    <a:cubicBezTo>
                      <a:pt x="121" y="17"/>
                      <a:pt x="115" y="14"/>
                      <a:pt x="108" y="11"/>
                    </a:cubicBezTo>
                    <a:cubicBezTo>
                      <a:pt x="102" y="7"/>
                      <a:pt x="93" y="8"/>
                      <a:pt x="86" y="7"/>
                    </a:cubicBezTo>
                    <a:cubicBezTo>
                      <a:pt x="86" y="7"/>
                      <a:pt x="85" y="7"/>
                      <a:pt x="85" y="7"/>
                    </a:cubicBezTo>
                    <a:cubicBezTo>
                      <a:pt x="83" y="7"/>
                      <a:pt x="81" y="7"/>
                      <a:pt x="80" y="8"/>
                    </a:cubicBezTo>
                    <a:cubicBezTo>
                      <a:pt x="78" y="8"/>
                      <a:pt x="77" y="8"/>
                      <a:pt x="75" y="8"/>
                    </a:cubicBezTo>
                    <a:cubicBezTo>
                      <a:pt x="73" y="8"/>
                      <a:pt x="72" y="8"/>
                      <a:pt x="70" y="7"/>
                    </a:cubicBezTo>
                    <a:cubicBezTo>
                      <a:pt x="64" y="5"/>
                      <a:pt x="58" y="2"/>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 name="Freeform 188">
                <a:extLst>
                  <a:ext uri="{FF2B5EF4-FFF2-40B4-BE49-F238E27FC236}">
                    <a16:creationId xmlns:a16="http://schemas.microsoft.com/office/drawing/2014/main" id="{6B78BC4A-4342-4B40-95B1-561B4C1BA08A}"/>
                  </a:ext>
                </a:extLst>
              </p:cNvPr>
              <p:cNvSpPr>
                <a:spLocks/>
              </p:cNvSpPr>
              <p:nvPr/>
            </p:nvSpPr>
            <p:spPr bwMode="auto">
              <a:xfrm>
                <a:off x="4084" y="578"/>
                <a:ext cx="213" cy="433"/>
              </a:xfrm>
              <a:custGeom>
                <a:avLst/>
                <a:gdLst>
                  <a:gd name="T0" fmla="*/ 47 w 90"/>
                  <a:gd name="T1" fmla="*/ 0 h 183"/>
                  <a:gd name="T2" fmla="*/ 30 w 90"/>
                  <a:gd name="T3" fmla="*/ 8 h 183"/>
                  <a:gd name="T4" fmla="*/ 28 w 90"/>
                  <a:gd name="T5" fmla="*/ 9 h 183"/>
                  <a:gd name="T6" fmla="*/ 18 w 90"/>
                  <a:gd name="T7" fmla="*/ 22 h 183"/>
                  <a:gd name="T8" fmla="*/ 19 w 90"/>
                  <a:gd name="T9" fmla="*/ 35 h 183"/>
                  <a:gd name="T10" fmla="*/ 21 w 90"/>
                  <a:gd name="T11" fmla="*/ 47 h 183"/>
                  <a:gd name="T12" fmla="*/ 22 w 90"/>
                  <a:gd name="T13" fmla="*/ 51 h 183"/>
                  <a:gd name="T14" fmla="*/ 23 w 90"/>
                  <a:gd name="T15" fmla="*/ 57 h 183"/>
                  <a:gd name="T16" fmla="*/ 8 w 90"/>
                  <a:gd name="T17" fmla="*/ 81 h 183"/>
                  <a:gd name="T18" fmla="*/ 1 w 90"/>
                  <a:gd name="T19" fmla="*/ 87 h 183"/>
                  <a:gd name="T20" fmla="*/ 5 w 90"/>
                  <a:gd name="T21" fmla="*/ 102 h 183"/>
                  <a:gd name="T22" fmla="*/ 16 w 90"/>
                  <a:gd name="T23" fmla="*/ 114 h 183"/>
                  <a:gd name="T24" fmla="*/ 18 w 90"/>
                  <a:gd name="T25" fmla="*/ 117 h 183"/>
                  <a:gd name="T26" fmla="*/ 20 w 90"/>
                  <a:gd name="T27" fmla="*/ 122 h 183"/>
                  <a:gd name="T28" fmla="*/ 20 w 90"/>
                  <a:gd name="T29" fmla="*/ 125 h 183"/>
                  <a:gd name="T30" fmla="*/ 23 w 90"/>
                  <a:gd name="T31" fmla="*/ 127 h 183"/>
                  <a:gd name="T32" fmla="*/ 32 w 90"/>
                  <a:gd name="T33" fmla="*/ 135 h 183"/>
                  <a:gd name="T34" fmla="*/ 38 w 90"/>
                  <a:gd name="T35" fmla="*/ 142 h 183"/>
                  <a:gd name="T36" fmla="*/ 52 w 90"/>
                  <a:gd name="T37" fmla="*/ 174 h 183"/>
                  <a:gd name="T38" fmla="*/ 53 w 90"/>
                  <a:gd name="T39" fmla="*/ 180 h 183"/>
                  <a:gd name="T40" fmla="*/ 55 w 90"/>
                  <a:gd name="T41" fmla="*/ 178 h 183"/>
                  <a:gd name="T42" fmla="*/ 57 w 90"/>
                  <a:gd name="T43" fmla="*/ 175 h 183"/>
                  <a:gd name="T44" fmla="*/ 59 w 90"/>
                  <a:gd name="T45" fmla="*/ 166 h 183"/>
                  <a:gd name="T46" fmla="*/ 58 w 90"/>
                  <a:gd name="T47" fmla="*/ 159 h 183"/>
                  <a:gd name="T48" fmla="*/ 65 w 90"/>
                  <a:gd name="T49" fmla="*/ 145 h 183"/>
                  <a:gd name="T50" fmla="*/ 67 w 90"/>
                  <a:gd name="T51" fmla="*/ 143 h 183"/>
                  <a:gd name="T52" fmla="*/ 72 w 90"/>
                  <a:gd name="T53" fmla="*/ 139 h 183"/>
                  <a:gd name="T54" fmla="*/ 74 w 90"/>
                  <a:gd name="T55" fmla="*/ 137 h 183"/>
                  <a:gd name="T56" fmla="*/ 75 w 90"/>
                  <a:gd name="T57" fmla="*/ 136 h 183"/>
                  <a:gd name="T58" fmla="*/ 77 w 90"/>
                  <a:gd name="T59" fmla="*/ 134 h 183"/>
                  <a:gd name="T60" fmla="*/ 84 w 90"/>
                  <a:gd name="T61" fmla="*/ 132 h 183"/>
                  <a:gd name="T62" fmla="*/ 89 w 90"/>
                  <a:gd name="T63" fmla="*/ 129 h 183"/>
                  <a:gd name="T64" fmla="*/ 89 w 90"/>
                  <a:gd name="T65" fmla="*/ 112 h 183"/>
                  <a:gd name="T66" fmla="*/ 89 w 90"/>
                  <a:gd name="T67" fmla="*/ 110 h 183"/>
                  <a:gd name="T68" fmla="*/ 84 w 90"/>
                  <a:gd name="T69" fmla="*/ 107 h 183"/>
                  <a:gd name="T70" fmla="*/ 79 w 90"/>
                  <a:gd name="T71" fmla="*/ 98 h 183"/>
                  <a:gd name="T72" fmla="*/ 74 w 90"/>
                  <a:gd name="T73" fmla="*/ 102 h 183"/>
                  <a:gd name="T74" fmla="*/ 73 w 90"/>
                  <a:gd name="T75" fmla="*/ 96 h 183"/>
                  <a:gd name="T76" fmla="*/ 68 w 90"/>
                  <a:gd name="T77" fmla="*/ 97 h 183"/>
                  <a:gd name="T78" fmla="*/ 57 w 90"/>
                  <a:gd name="T79" fmla="*/ 84 h 183"/>
                  <a:gd name="T80" fmla="*/ 80 w 90"/>
                  <a:gd name="T81" fmla="*/ 60 h 183"/>
                  <a:gd name="T82" fmla="*/ 80 w 90"/>
                  <a:gd name="T83" fmla="*/ 47 h 183"/>
                  <a:gd name="T84" fmla="*/ 69 w 90"/>
                  <a:gd name="T85" fmla="*/ 26 h 183"/>
                  <a:gd name="T86" fmla="*/ 81 w 90"/>
                  <a:gd name="T87" fmla="*/ 14 h 183"/>
                  <a:gd name="T88" fmla="*/ 78 w 90"/>
                  <a:gd name="T89" fmla="*/ 7 h 183"/>
                  <a:gd name="T90" fmla="*/ 70 w 90"/>
                  <a:gd name="T91" fmla="*/ 13 h 183"/>
                  <a:gd name="T92" fmla="*/ 66 w 90"/>
                  <a:gd name="T93" fmla="*/ 16 h 183"/>
                  <a:gd name="T94" fmla="*/ 62 w 90"/>
                  <a:gd name="T95" fmla="*/ 7 h 183"/>
                  <a:gd name="T96" fmla="*/ 56 w 90"/>
                  <a:gd name="T97" fmla="*/ 1 h 183"/>
                  <a:gd name="T98" fmla="*/ 49 w 90"/>
                  <a:gd name="T99"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 h="183">
                    <a:moveTo>
                      <a:pt x="49" y="0"/>
                    </a:moveTo>
                    <a:cubicBezTo>
                      <a:pt x="48" y="0"/>
                      <a:pt x="48" y="0"/>
                      <a:pt x="47" y="0"/>
                    </a:cubicBezTo>
                    <a:cubicBezTo>
                      <a:pt x="43" y="1"/>
                      <a:pt x="39" y="3"/>
                      <a:pt x="35" y="4"/>
                    </a:cubicBezTo>
                    <a:cubicBezTo>
                      <a:pt x="33" y="5"/>
                      <a:pt x="32" y="7"/>
                      <a:pt x="30" y="8"/>
                    </a:cubicBezTo>
                    <a:cubicBezTo>
                      <a:pt x="29" y="8"/>
                      <a:pt x="28" y="9"/>
                      <a:pt x="27" y="9"/>
                    </a:cubicBezTo>
                    <a:cubicBezTo>
                      <a:pt x="28" y="9"/>
                      <a:pt x="28" y="9"/>
                      <a:pt x="28" y="9"/>
                    </a:cubicBezTo>
                    <a:cubicBezTo>
                      <a:pt x="26" y="12"/>
                      <a:pt x="26" y="12"/>
                      <a:pt x="26" y="12"/>
                    </a:cubicBezTo>
                    <a:cubicBezTo>
                      <a:pt x="18" y="22"/>
                      <a:pt x="18" y="22"/>
                      <a:pt x="18" y="22"/>
                    </a:cubicBezTo>
                    <a:cubicBezTo>
                      <a:pt x="20" y="23"/>
                      <a:pt x="21" y="25"/>
                      <a:pt x="20" y="30"/>
                    </a:cubicBezTo>
                    <a:cubicBezTo>
                      <a:pt x="19" y="35"/>
                      <a:pt x="19" y="35"/>
                      <a:pt x="19" y="35"/>
                    </a:cubicBezTo>
                    <a:cubicBezTo>
                      <a:pt x="19" y="38"/>
                      <a:pt x="19" y="41"/>
                      <a:pt x="20" y="44"/>
                    </a:cubicBezTo>
                    <a:cubicBezTo>
                      <a:pt x="20" y="45"/>
                      <a:pt x="21" y="46"/>
                      <a:pt x="21" y="47"/>
                    </a:cubicBezTo>
                    <a:cubicBezTo>
                      <a:pt x="21" y="50"/>
                      <a:pt x="21" y="50"/>
                      <a:pt x="21" y="50"/>
                    </a:cubicBezTo>
                    <a:cubicBezTo>
                      <a:pt x="22" y="50"/>
                      <a:pt x="22" y="51"/>
                      <a:pt x="22" y="51"/>
                    </a:cubicBezTo>
                    <a:cubicBezTo>
                      <a:pt x="22" y="52"/>
                      <a:pt x="22" y="52"/>
                      <a:pt x="22" y="52"/>
                    </a:cubicBezTo>
                    <a:cubicBezTo>
                      <a:pt x="22" y="54"/>
                      <a:pt x="23" y="55"/>
                      <a:pt x="23" y="57"/>
                    </a:cubicBezTo>
                    <a:cubicBezTo>
                      <a:pt x="21" y="62"/>
                      <a:pt x="20" y="67"/>
                      <a:pt x="18" y="71"/>
                    </a:cubicBezTo>
                    <a:cubicBezTo>
                      <a:pt x="15" y="75"/>
                      <a:pt x="12" y="78"/>
                      <a:pt x="8" y="81"/>
                    </a:cubicBezTo>
                    <a:cubicBezTo>
                      <a:pt x="6" y="83"/>
                      <a:pt x="4" y="84"/>
                      <a:pt x="3" y="86"/>
                    </a:cubicBezTo>
                    <a:cubicBezTo>
                      <a:pt x="1" y="87"/>
                      <a:pt x="1" y="87"/>
                      <a:pt x="1" y="87"/>
                    </a:cubicBezTo>
                    <a:cubicBezTo>
                      <a:pt x="0" y="88"/>
                      <a:pt x="0" y="89"/>
                      <a:pt x="1" y="91"/>
                    </a:cubicBezTo>
                    <a:cubicBezTo>
                      <a:pt x="1" y="94"/>
                      <a:pt x="3" y="98"/>
                      <a:pt x="5" y="102"/>
                    </a:cubicBezTo>
                    <a:cubicBezTo>
                      <a:pt x="6" y="104"/>
                      <a:pt x="9" y="106"/>
                      <a:pt x="11" y="108"/>
                    </a:cubicBezTo>
                    <a:cubicBezTo>
                      <a:pt x="13" y="110"/>
                      <a:pt x="15" y="112"/>
                      <a:pt x="16" y="114"/>
                    </a:cubicBezTo>
                    <a:cubicBezTo>
                      <a:pt x="17" y="114"/>
                      <a:pt x="17" y="115"/>
                      <a:pt x="18" y="115"/>
                    </a:cubicBezTo>
                    <a:cubicBezTo>
                      <a:pt x="18" y="116"/>
                      <a:pt x="18" y="116"/>
                      <a:pt x="18" y="117"/>
                    </a:cubicBezTo>
                    <a:cubicBezTo>
                      <a:pt x="18" y="117"/>
                      <a:pt x="18" y="117"/>
                      <a:pt x="18" y="117"/>
                    </a:cubicBezTo>
                    <a:cubicBezTo>
                      <a:pt x="19" y="119"/>
                      <a:pt x="20" y="120"/>
                      <a:pt x="20" y="122"/>
                    </a:cubicBezTo>
                    <a:cubicBezTo>
                      <a:pt x="20" y="123"/>
                      <a:pt x="20" y="123"/>
                      <a:pt x="20" y="123"/>
                    </a:cubicBezTo>
                    <a:cubicBezTo>
                      <a:pt x="20" y="124"/>
                      <a:pt x="20" y="125"/>
                      <a:pt x="20" y="125"/>
                    </a:cubicBezTo>
                    <a:cubicBezTo>
                      <a:pt x="21" y="126"/>
                      <a:pt x="21" y="126"/>
                      <a:pt x="21" y="126"/>
                    </a:cubicBezTo>
                    <a:cubicBezTo>
                      <a:pt x="22" y="127"/>
                      <a:pt x="22" y="127"/>
                      <a:pt x="23" y="127"/>
                    </a:cubicBezTo>
                    <a:cubicBezTo>
                      <a:pt x="30" y="133"/>
                      <a:pt x="30" y="133"/>
                      <a:pt x="30" y="133"/>
                    </a:cubicBezTo>
                    <a:cubicBezTo>
                      <a:pt x="30" y="134"/>
                      <a:pt x="31" y="134"/>
                      <a:pt x="32" y="135"/>
                    </a:cubicBezTo>
                    <a:cubicBezTo>
                      <a:pt x="33" y="135"/>
                      <a:pt x="34" y="136"/>
                      <a:pt x="35" y="137"/>
                    </a:cubicBezTo>
                    <a:cubicBezTo>
                      <a:pt x="37" y="139"/>
                      <a:pt x="38" y="141"/>
                      <a:pt x="38" y="142"/>
                    </a:cubicBezTo>
                    <a:cubicBezTo>
                      <a:pt x="47" y="180"/>
                      <a:pt x="47" y="180"/>
                      <a:pt x="47" y="180"/>
                    </a:cubicBezTo>
                    <a:cubicBezTo>
                      <a:pt x="52" y="174"/>
                      <a:pt x="52" y="174"/>
                      <a:pt x="52" y="174"/>
                    </a:cubicBezTo>
                    <a:cubicBezTo>
                      <a:pt x="49" y="183"/>
                      <a:pt x="49" y="183"/>
                      <a:pt x="49" y="183"/>
                    </a:cubicBezTo>
                    <a:cubicBezTo>
                      <a:pt x="51" y="182"/>
                      <a:pt x="52" y="181"/>
                      <a:pt x="53" y="180"/>
                    </a:cubicBezTo>
                    <a:cubicBezTo>
                      <a:pt x="54" y="179"/>
                      <a:pt x="54" y="179"/>
                      <a:pt x="55" y="178"/>
                    </a:cubicBezTo>
                    <a:cubicBezTo>
                      <a:pt x="55" y="178"/>
                      <a:pt x="55" y="178"/>
                      <a:pt x="55" y="178"/>
                    </a:cubicBezTo>
                    <a:cubicBezTo>
                      <a:pt x="56" y="177"/>
                      <a:pt x="56" y="176"/>
                      <a:pt x="57" y="175"/>
                    </a:cubicBezTo>
                    <a:cubicBezTo>
                      <a:pt x="57" y="175"/>
                      <a:pt x="57" y="175"/>
                      <a:pt x="57" y="175"/>
                    </a:cubicBezTo>
                    <a:cubicBezTo>
                      <a:pt x="59" y="172"/>
                      <a:pt x="60" y="170"/>
                      <a:pt x="60" y="168"/>
                    </a:cubicBezTo>
                    <a:cubicBezTo>
                      <a:pt x="60" y="167"/>
                      <a:pt x="60" y="166"/>
                      <a:pt x="59" y="166"/>
                    </a:cubicBezTo>
                    <a:cubicBezTo>
                      <a:pt x="59" y="165"/>
                      <a:pt x="59" y="165"/>
                      <a:pt x="59" y="165"/>
                    </a:cubicBezTo>
                    <a:cubicBezTo>
                      <a:pt x="59" y="163"/>
                      <a:pt x="58" y="161"/>
                      <a:pt x="58" y="159"/>
                    </a:cubicBezTo>
                    <a:cubicBezTo>
                      <a:pt x="58" y="159"/>
                      <a:pt x="59" y="150"/>
                      <a:pt x="62" y="146"/>
                    </a:cubicBezTo>
                    <a:cubicBezTo>
                      <a:pt x="63" y="146"/>
                      <a:pt x="63" y="145"/>
                      <a:pt x="65" y="145"/>
                    </a:cubicBezTo>
                    <a:cubicBezTo>
                      <a:pt x="65" y="145"/>
                      <a:pt x="65" y="145"/>
                      <a:pt x="65" y="145"/>
                    </a:cubicBezTo>
                    <a:cubicBezTo>
                      <a:pt x="66" y="145"/>
                      <a:pt x="67" y="144"/>
                      <a:pt x="67" y="143"/>
                    </a:cubicBezTo>
                    <a:cubicBezTo>
                      <a:pt x="68" y="141"/>
                      <a:pt x="69" y="140"/>
                      <a:pt x="70" y="139"/>
                    </a:cubicBezTo>
                    <a:cubicBezTo>
                      <a:pt x="71" y="139"/>
                      <a:pt x="71" y="139"/>
                      <a:pt x="72" y="139"/>
                    </a:cubicBezTo>
                    <a:cubicBezTo>
                      <a:pt x="72" y="139"/>
                      <a:pt x="72" y="139"/>
                      <a:pt x="73" y="139"/>
                    </a:cubicBezTo>
                    <a:cubicBezTo>
                      <a:pt x="73" y="138"/>
                      <a:pt x="73" y="138"/>
                      <a:pt x="74" y="137"/>
                    </a:cubicBezTo>
                    <a:cubicBezTo>
                      <a:pt x="74" y="137"/>
                      <a:pt x="74" y="137"/>
                      <a:pt x="74" y="137"/>
                    </a:cubicBezTo>
                    <a:cubicBezTo>
                      <a:pt x="75" y="137"/>
                      <a:pt x="75" y="136"/>
                      <a:pt x="75" y="136"/>
                    </a:cubicBezTo>
                    <a:cubicBezTo>
                      <a:pt x="76" y="135"/>
                      <a:pt x="76" y="135"/>
                      <a:pt x="76" y="135"/>
                    </a:cubicBezTo>
                    <a:cubicBezTo>
                      <a:pt x="77" y="134"/>
                      <a:pt x="77" y="134"/>
                      <a:pt x="77" y="134"/>
                    </a:cubicBezTo>
                    <a:cubicBezTo>
                      <a:pt x="79" y="134"/>
                      <a:pt x="81" y="133"/>
                      <a:pt x="83" y="132"/>
                    </a:cubicBezTo>
                    <a:cubicBezTo>
                      <a:pt x="84" y="132"/>
                      <a:pt x="84" y="132"/>
                      <a:pt x="84" y="132"/>
                    </a:cubicBezTo>
                    <a:cubicBezTo>
                      <a:pt x="86" y="131"/>
                      <a:pt x="87" y="130"/>
                      <a:pt x="88" y="130"/>
                    </a:cubicBezTo>
                    <a:cubicBezTo>
                      <a:pt x="89" y="129"/>
                      <a:pt x="89" y="129"/>
                      <a:pt x="89" y="129"/>
                    </a:cubicBezTo>
                    <a:cubicBezTo>
                      <a:pt x="90" y="113"/>
                      <a:pt x="90" y="113"/>
                      <a:pt x="90" y="113"/>
                    </a:cubicBezTo>
                    <a:cubicBezTo>
                      <a:pt x="89" y="112"/>
                      <a:pt x="89" y="112"/>
                      <a:pt x="89" y="112"/>
                    </a:cubicBezTo>
                    <a:cubicBezTo>
                      <a:pt x="88" y="111"/>
                      <a:pt x="88" y="111"/>
                      <a:pt x="88" y="111"/>
                    </a:cubicBezTo>
                    <a:cubicBezTo>
                      <a:pt x="89" y="110"/>
                      <a:pt x="89" y="110"/>
                      <a:pt x="89" y="110"/>
                    </a:cubicBezTo>
                    <a:cubicBezTo>
                      <a:pt x="88" y="110"/>
                      <a:pt x="88" y="110"/>
                      <a:pt x="88" y="110"/>
                    </a:cubicBezTo>
                    <a:cubicBezTo>
                      <a:pt x="88" y="110"/>
                      <a:pt x="80" y="108"/>
                      <a:pt x="84" y="107"/>
                    </a:cubicBezTo>
                    <a:cubicBezTo>
                      <a:pt x="82" y="105"/>
                      <a:pt x="83" y="99"/>
                      <a:pt x="80" y="98"/>
                    </a:cubicBezTo>
                    <a:cubicBezTo>
                      <a:pt x="80" y="98"/>
                      <a:pt x="79" y="98"/>
                      <a:pt x="79" y="98"/>
                    </a:cubicBezTo>
                    <a:cubicBezTo>
                      <a:pt x="78" y="98"/>
                      <a:pt x="79" y="100"/>
                      <a:pt x="78" y="100"/>
                    </a:cubicBezTo>
                    <a:cubicBezTo>
                      <a:pt x="78" y="101"/>
                      <a:pt x="76" y="102"/>
                      <a:pt x="74" y="102"/>
                    </a:cubicBezTo>
                    <a:cubicBezTo>
                      <a:pt x="74" y="102"/>
                      <a:pt x="73" y="102"/>
                      <a:pt x="73" y="101"/>
                    </a:cubicBezTo>
                    <a:cubicBezTo>
                      <a:pt x="72" y="100"/>
                      <a:pt x="75" y="98"/>
                      <a:pt x="73" y="96"/>
                    </a:cubicBezTo>
                    <a:cubicBezTo>
                      <a:pt x="70" y="97"/>
                      <a:pt x="70" y="97"/>
                      <a:pt x="70" y="97"/>
                    </a:cubicBezTo>
                    <a:cubicBezTo>
                      <a:pt x="70" y="97"/>
                      <a:pt x="69" y="97"/>
                      <a:pt x="68" y="97"/>
                    </a:cubicBezTo>
                    <a:cubicBezTo>
                      <a:pt x="66" y="97"/>
                      <a:pt x="65" y="96"/>
                      <a:pt x="62" y="94"/>
                    </a:cubicBezTo>
                    <a:cubicBezTo>
                      <a:pt x="58" y="92"/>
                      <a:pt x="58" y="88"/>
                      <a:pt x="57" y="84"/>
                    </a:cubicBezTo>
                    <a:cubicBezTo>
                      <a:pt x="56" y="83"/>
                      <a:pt x="70" y="74"/>
                      <a:pt x="72" y="72"/>
                    </a:cubicBezTo>
                    <a:cubicBezTo>
                      <a:pt x="76" y="69"/>
                      <a:pt x="78" y="64"/>
                      <a:pt x="80" y="60"/>
                    </a:cubicBezTo>
                    <a:cubicBezTo>
                      <a:pt x="82" y="57"/>
                      <a:pt x="84" y="57"/>
                      <a:pt x="83" y="54"/>
                    </a:cubicBezTo>
                    <a:cubicBezTo>
                      <a:pt x="82" y="52"/>
                      <a:pt x="82" y="48"/>
                      <a:pt x="80" y="47"/>
                    </a:cubicBezTo>
                    <a:cubicBezTo>
                      <a:pt x="75" y="43"/>
                      <a:pt x="69" y="39"/>
                      <a:pt x="67" y="33"/>
                    </a:cubicBezTo>
                    <a:cubicBezTo>
                      <a:pt x="67" y="31"/>
                      <a:pt x="68" y="27"/>
                      <a:pt x="69" y="26"/>
                    </a:cubicBezTo>
                    <a:cubicBezTo>
                      <a:pt x="71" y="24"/>
                      <a:pt x="74" y="24"/>
                      <a:pt x="76" y="22"/>
                    </a:cubicBezTo>
                    <a:cubicBezTo>
                      <a:pt x="78" y="19"/>
                      <a:pt x="80" y="16"/>
                      <a:pt x="81" y="14"/>
                    </a:cubicBezTo>
                    <a:cubicBezTo>
                      <a:pt x="83" y="12"/>
                      <a:pt x="83" y="6"/>
                      <a:pt x="80" y="6"/>
                    </a:cubicBezTo>
                    <a:cubicBezTo>
                      <a:pt x="79" y="6"/>
                      <a:pt x="79" y="7"/>
                      <a:pt x="78" y="7"/>
                    </a:cubicBezTo>
                    <a:cubicBezTo>
                      <a:pt x="76" y="8"/>
                      <a:pt x="75" y="11"/>
                      <a:pt x="73" y="11"/>
                    </a:cubicBezTo>
                    <a:cubicBezTo>
                      <a:pt x="72" y="12"/>
                      <a:pt x="71" y="12"/>
                      <a:pt x="70" y="13"/>
                    </a:cubicBezTo>
                    <a:cubicBezTo>
                      <a:pt x="69" y="13"/>
                      <a:pt x="69" y="14"/>
                      <a:pt x="69" y="14"/>
                    </a:cubicBezTo>
                    <a:cubicBezTo>
                      <a:pt x="68" y="15"/>
                      <a:pt x="67" y="16"/>
                      <a:pt x="66" y="16"/>
                    </a:cubicBezTo>
                    <a:cubicBezTo>
                      <a:pt x="65" y="16"/>
                      <a:pt x="64" y="15"/>
                      <a:pt x="63" y="14"/>
                    </a:cubicBezTo>
                    <a:cubicBezTo>
                      <a:pt x="65" y="11"/>
                      <a:pt x="64" y="10"/>
                      <a:pt x="62" y="7"/>
                    </a:cubicBezTo>
                    <a:cubicBezTo>
                      <a:pt x="61" y="5"/>
                      <a:pt x="60" y="3"/>
                      <a:pt x="58" y="2"/>
                    </a:cubicBezTo>
                    <a:cubicBezTo>
                      <a:pt x="57" y="1"/>
                      <a:pt x="56" y="1"/>
                      <a:pt x="56" y="1"/>
                    </a:cubicBezTo>
                    <a:cubicBezTo>
                      <a:pt x="54" y="1"/>
                      <a:pt x="53" y="3"/>
                      <a:pt x="52" y="4"/>
                    </a:cubicBezTo>
                    <a:cubicBezTo>
                      <a:pt x="50" y="2"/>
                      <a:pt x="51"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 name="Freeform 189">
                <a:extLst>
                  <a:ext uri="{FF2B5EF4-FFF2-40B4-BE49-F238E27FC236}">
                    <a16:creationId xmlns:a16="http://schemas.microsoft.com/office/drawing/2014/main" id="{0E094196-B5BC-4522-89B4-EC7B9CDF8400}"/>
                  </a:ext>
                </a:extLst>
              </p:cNvPr>
              <p:cNvSpPr>
                <a:spLocks/>
              </p:cNvSpPr>
              <p:nvPr/>
            </p:nvSpPr>
            <p:spPr bwMode="auto">
              <a:xfrm>
                <a:off x="4417" y="1434"/>
                <a:ext cx="572" cy="891"/>
              </a:xfrm>
              <a:custGeom>
                <a:avLst/>
                <a:gdLst>
                  <a:gd name="T0" fmla="*/ 37 w 242"/>
                  <a:gd name="T1" fmla="*/ 10 h 377"/>
                  <a:gd name="T2" fmla="*/ 40 w 242"/>
                  <a:gd name="T3" fmla="*/ 33 h 377"/>
                  <a:gd name="T4" fmla="*/ 44 w 242"/>
                  <a:gd name="T5" fmla="*/ 47 h 377"/>
                  <a:gd name="T6" fmla="*/ 48 w 242"/>
                  <a:gd name="T7" fmla="*/ 54 h 377"/>
                  <a:gd name="T8" fmla="*/ 50 w 242"/>
                  <a:gd name="T9" fmla="*/ 62 h 377"/>
                  <a:gd name="T10" fmla="*/ 54 w 242"/>
                  <a:gd name="T11" fmla="*/ 66 h 377"/>
                  <a:gd name="T12" fmla="*/ 57 w 242"/>
                  <a:gd name="T13" fmla="*/ 79 h 377"/>
                  <a:gd name="T14" fmla="*/ 52 w 242"/>
                  <a:gd name="T15" fmla="*/ 94 h 377"/>
                  <a:gd name="T16" fmla="*/ 48 w 242"/>
                  <a:gd name="T17" fmla="*/ 152 h 377"/>
                  <a:gd name="T18" fmla="*/ 44 w 242"/>
                  <a:gd name="T19" fmla="*/ 162 h 377"/>
                  <a:gd name="T20" fmla="*/ 15 w 242"/>
                  <a:gd name="T21" fmla="*/ 196 h 377"/>
                  <a:gd name="T22" fmla="*/ 4 w 242"/>
                  <a:gd name="T23" fmla="*/ 233 h 377"/>
                  <a:gd name="T24" fmla="*/ 13 w 242"/>
                  <a:gd name="T25" fmla="*/ 246 h 377"/>
                  <a:gd name="T26" fmla="*/ 26 w 242"/>
                  <a:gd name="T27" fmla="*/ 255 h 377"/>
                  <a:gd name="T28" fmla="*/ 36 w 242"/>
                  <a:gd name="T29" fmla="*/ 275 h 377"/>
                  <a:gd name="T30" fmla="*/ 39 w 242"/>
                  <a:gd name="T31" fmla="*/ 283 h 377"/>
                  <a:gd name="T32" fmla="*/ 39 w 242"/>
                  <a:gd name="T33" fmla="*/ 290 h 377"/>
                  <a:gd name="T34" fmla="*/ 37 w 242"/>
                  <a:gd name="T35" fmla="*/ 298 h 377"/>
                  <a:gd name="T36" fmla="*/ 49 w 242"/>
                  <a:gd name="T37" fmla="*/ 319 h 377"/>
                  <a:gd name="T38" fmla="*/ 44 w 242"/>
                  <a:gd name="T39" fmla="*/ 326 h 377"/>
                  <a:gd name="T40" fmla="*/ 28 w 242"/>
                  <a:gd name="T41" fmla="*/ 326 h 377"/>
                  <a:gd name="T42" fmla="*/ 24 w 242"/>
                  <a:gd name="T43" fmla="*/ 326 h 377"/>
                  <a:gd name="T44" fmla="*/ 16 w 242"/>
                  <a:gd name="T45" fmla="*/ 326 h 377"/>
                  <a:gd name="T46" fmla="*/ 13 w 242"/>
                  <a:gd name="T47" fmla="*/ 331 h 377"/>
                  <a:gd name="T48" fmla="*/ 18 w 242"/>
                  <a:gd name="T49" fmla="*/ 336 h 377"/>
                  <a:gd name="T50" fmla="*/ 43 w 242"/>
                  <a:gd name="T51" fmla="*/ 363 h 377"/>
                  <a:gd name="T52" fmla="*/ 48 w 242"/>
                  <a:gd name="T53" fmla="*/ 373 h 377"/>
                  <a:gd name="T54" fmla="*/ 53 w 242"/>
                  <a:gd name="T55" fmla="*/ 377 h 377"/>
                  <a:gd name="T56" fmla="*/ 64 w 242"/>
                  <a:gd name="T57" fmla="*/ 375 h 377"/>
                  <a:gd name="T58" fmla="*/ 69 w 242"/>
                  <a:gd name="T59" fmla="*/ 370 h 377"/>
                  <a:gd name="T60" fmla="*/ 77 w 242"/>
                  <a:gd name="T61" fmla="*/ 377 h 377"/>
                  <a:gd name="T62" fmla="*/ 79 w 242"/>
                  <a:gd name="T63" fmla="*/ 375 h 377"/>
                  <a:gd name="T64" fmla="*/ 88 w 242"/>
                  <a:gd name="T65" fmla="*/ 371 h 377"/>
                  <a:gd name="T66" fmla="*/ 102 w 242"/>
                  <a:gd name="T67" fmla="*/ 368 h 377"/>
                  <a:gd name="T68" fmla="*/ 110 w 242"/>
                  <a:gd name="T69" fmla="*/ 366 h 377"/>
                  <a:gd name="T70" fmla="*/ 116 w 242"/>
                  <a:gd name="T71" fmla="*/ 366 h 377"/>
                  <a:gd name="T72" fmla="*/ 123 w 242"/>
                  <a:gd name="T73" fmla="*/ 358 h 377"/>
                  <a:gd name="T74" fmla="*/ 126 w 242"/>
                  <a:gd name="T75" fmla="*/ 354 h 377"/>
                  <a:gd name="T76" fmla="*/ 130 w 242"/>
                  <a:gd name="T77" fmla="*/ 343 h 377"/>
                  <a:gd name="T78" fmla="*/ 157 w 242"/>
                  <a:gd name="T79" fmla="*/ 341 h 377"/>
                  <a:gd name="T80" fmla="*/ 188 w 242"/>
                  <a:gd name="T81" fmla="*/ 308 h 377"/>
                  <a:gd name="T82" fmla="*/ 206 w 242"/>
                  <a:gd name="T83" fmla="*/ 297 h 377"/>
                  <a:gd name="T84" fmla="*/ 217 w 242"/>
                  <a:gd name="T85" fmla="*/ 296 h 377"/>
                  <a:gd name="T86" fmla="*/ 214 w 242"/>
                  <a:gd name="T87" fmla="*/ 290 h 377"/>
                  <a:gd name="T88" fmla="*/ 207 w 242"/>
                  <a:gd name="T89" fmla="*/ 275 h 377"/>
                  <a:gd name="T90" fmla="*/ 200 w 242"/>
                  <a:gd name="T91" fmla="*/ 262 h 377"/>
                  <a:gd name="T92" fmla="*/ 197 w 242"/>
                  <a:gd name="T93" fmla="*/ 262 h 377"/>
                  <a:gd name="T94" fmla="*/ 198 w 242"/>
                  <a:gd name="T95" fmla="*/ 245 h 377"/>
                  <a:gd name="T96" fmla="*/ 200 w 242"/>
                  <a:gd name="T97" fmla="*/ 240 h 377"/>
                  <a:gd name="T98" fmla="*/ 206 w 242"/>
                  <a:gd name="T99" fmla="*/ 223 h 377"/>
                  <a:gd name="T100" fmla="*/ 206 w 242"/>
                  <a:gd name="T101" fmla="*/ 217 h 377"/>
                  <a:gd name="T102" fmla="*/ 210 w 242"/>
                  <a:gd name="T103" fmla="*/ 209 h 377"/>
                  <a:gd name="T104" fmla="*/ 213 w 242"/>
                  <a:gd name="T105" fmla="*/ 203 h 377"/>
                  <a:gd name="T106" fmla="*/ 232 w 242"/>
                  <a:gd name="T107" fmla="*/ 182 h 377"/>
                  <a:gd name="T108" fmla="*/ 163 w 242"/>
                  <a:gd name="T109" fmla="*/ 54 h 377"/>
                  <a:gd name="T110" fmla="*/ 59 w 242"/>
                  <a:gd name="T111" fmla="*/ 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2" h="377">
                    <a:moveTo>
                      <a:pt x="57" y="0"/>
                    </a:moveTo>
                    <a:cubicBezTo>
                      <a:pt x="57" y="0"/>
                      <a:pt x="56" y="0"/>
                      <a:pt x="56" y="0"/>
                    </a:cubicBezTo>
                    <a:cubicBezTo>
                      <a:pt x="55" y="1"/>
                      <a:pt x="55" y="1"/>
                      <a:pt x="55" y="1"/>
                    </a:cubicBezTo>
                    <a:cubicBezTo>
                      <a:pt x="37" y="10"/>
                      <a:pt x="37" y="10"/>
                      <a:pt x="37" y="10"/>
                    </a:cubicBezTo>
                    <a:cubicBezTo>
                      <a:pt x="37" y="14"/>
                      <a:pt x="37" y="14"/>
                      <a:pt x="37" y="14"/>
                    </a:cubicBezTo>
                    <a:cubicBezTo>
                      <a:pt x="38" y="18"/>
                      <a:pt x="39" y="23"/>
                      <a:pt x="40" y="27"/>
                    </a:cubicBezTo>
                    <a:cubicBezTo>
                      <a:pt x="40" y="29"/>
                      <a:pt x="40" y="31"/>
                      <a:pt x="40" y="33"/>
                    </a:cubicBezTo>
                    <a:cubicBezTo>
                      <a:pt x="40" y="33"/>
                      <a:pt x="40" y="33"/>
                      <a:pt x="40" y="33"/>
                    </a:cubicBezTo>
                    <a:cubicBezTo>
                      <a:pt x="40" y="34"/>
                      <a:pt x="40" y="34"/>
                      <a:pt x="40" y="35"/>
                    </a:cubicBezTo>
                    <a:cubicBezTo>
                      <a:pt x="40" y="36"/>
                      <a:pt x="40" y="36"/>
                      <a:pt x="40" y="36"/>
                    </a:cubicBezTo>
                    <a:cubicBezTo>
                      <a:pt x="41" y="40"/>
                      <a:pt x="41" y="42"/>
                      <a:pt x="42" y="45"/>
                    </a:cubicBezTo>
                    <a:cubicBezTo>
                      <a:pt x="43" y="45"/>
                      <a:pt x="43" y="46"/>
                      <a:pt x="44" y="47"/>
                    </a:cubicBezTo>
                    <a:cubicBezTo>
                      <a:pt x="44" y="47"/>
                      <a:pt x="44" y="47"/>
                      <a:pt x="44" y="47"/>
                    </a:cubicBezTo>
                    <a:cubicBezTo>
                      <a:pt x="44" y="48"/>
                      <a:pt x="45" y="48"/>
                      <a:pt x="45" y="49"/>
                    </a:cubicBezTo>
                    <a:cubicBezTo>
                      <a:pt x="45" y="49"/>
                      <a:pt x="46" y="50"/>
                      <a:pt x="46" y="50"/>
                    </a:cubicBezTo>
                    <a:cubicBezTo>
                      <a:pt x="47" y="52"/>
                      <a:pt x="48" y="53"/>
                      <a:pt x="48" y="54"/>
                    </a:cubicBezTo>
                    <a:cubicBezTo>
                      <a:pt x="49" y="55"/>
                      <a:pt x="49" y="55"/>
                      <a:pt x="49" y="55"/>
                    </a:cubicBezTo>
                    <a:cubicBezTo>
                      <a:pt x="50" y="56"/>
                      <a:pt x="50" y="58"/>
                      <a:pt x="50" y="59"/>
                    </a:cubicBezTo>
                    <a:cubicBezTo>
                      <a:pt x="50" y="59"/>
                      <a:pt x="50" y="60"/>
                      <a:pt x="50" y="60"/>
                    </a:cubicBezTo>
                    <a:cubicBezTo>
                      <a:pt x="50" y="61"/>
                      <a:pt x="50" y="62"/>
                      <a:pt x="50" y="62"/>
                    </a:cubicBezTo>
                    <a:cubicBezTo>
                      <a:pt x="51" y="63"/>
                      <a:pt x="51" y="63"/>
                      <a:pt x="51" y="63"/>
                    </a:cubicBezTo>
                    <a:cubicBezTo>
                      <a:pt x="51" y="63"/>
                      <a:pt x="52" y="64"/>
                      <a:pt x="53" y="64"/>
                    </a:cubicBezTo>
                    <a:cubicBezTo>
                      <a:pt x="53" y="65"/>
                      <a:pt x="53" y="65"/>
                      <a:pt x="54" y="65"/>
                    </a:cubicBezTo>
                    <a:cubicBezTo>
                      <a:pt x="54" y="66"/>
                      <a:pt x="54" y="66"/>
                      <a:pt x="54" y="66"/>
                    </a:cubicBezTo>
                    <a:cubicBezTo>
                      <a:pt x="56" y="68"/>
                      <a:pt x="58" y="70"/>
                      <a:pt x="59" y="72"/>
                    </a:cubicBezTo>
                    <a:cubicBezTo>
                      <a:pt x="59" y="73"/>
                      <a:pt x="59" y="74"/>
                      <a:pt x="59" y="75"/>
                    </a:cubicBezTo>
                    <a:cubicBezTo>
                      <a:pt x="59" y="75"/>
                      <a:pt x="59" y="75"/>
                      <a:pt x="59" y="75"/>
                    </a:cubicBezTo>
                    <a:cubicBezTo>
                      <a:pt x="58" y="77"/>
                      <a:pt x="57" y="78"/>
                      <a:pt x="57" y="79"/>
                    </a:cubicBezTo>
                    <a:cubicBezTo>
                      <a:pt x="56" y="80"/>
                      <a:pt x="56" y="80"/>
                      <a:pt x="56" y="80"/>
                    </a:cubicBezTo>
                    <a:cubicBezTo>
                      <a:pt x="56" y="80"/>
                      <a:pt x="56" y="80"/>
                      <a:pt x="56" y="80"/>
                    </a:cubicBezTo>
                    <a:cubicBezTo>
                      <a:pt x="54" y="84"/>
                      <a:pt x="53" y="88"/>
                      <a:pt x="53" y="93"/>
                    </a:cubicBezTo>
                    <a:cubicBezTo>
                      <a:pt x="52" y="94"/>
                      <a:pt x="52" y="94"/>
                      <a:pt x="52" y="94"/>
                    </a:cubicBezTo>
                    <a:cubicBezTo>
                      <a:pt x="51" y="108"/>
                      <a:pt x="50" y="122"/>
                      <a:pt x="49" y="135"/>
                    </a:cubicBezTo>
                    <a:cubicBezTo>
                      <a:pt x="49" y="136"/>
                      <a:pt x="49" y="136"/>
                      <a:pt x="49" y="136"/>
                    </a:cubicBezTo>
                    <a:cubicBezTo>
                      <a:pt x="49" y="136"/>
                      <a:pt x="49" y="136"/>
                      <a:pt x="49" y="136"/>
                    </a:cubicBezTo>
                    <a:cubicBezTo>
                      <a:pt x="48" y="152"/>
                      <a:pt x="48" y="152"/>
                      <a:pt x="48" y="152"/>
                    </a:cubicBezTo>
                    <a:cubicBezTo>
                      <a:pt x="48" y="153"/>
                      <a:pt x="48" y="153"/>
                      <a:pt x="48" y="153"/>
                    </a:cubicBezTo>
                    <a:cubicBezTo>
                      <a:pt x="48" y="155"/>
                      <a:pt x="48" y="157"/>
                      <a:pt x="47" y="159"/>
                    </a:cubicBezTo>
                    <a:cubicBezTo>
                      <a:pt x="46" y="160"/>
                      <a:pt x="46" y="160"/>
                      <a:pt x="46" y="160"/>
                    </a:cubicBezTo>
                    <a:cubicBezTo>
                      <a:pt x="46" y="160"/>
                      <a:pt x="45" y="161"/>
                      <a:pt x="44" y="162"/>
                    </a:cubicBezTo>
                    <a:cubicBezTo>
                      <a:pt x="44" y="162"/>
                      <a:pt x="44" y="162"/>
                      <a:pt x="44" y="162"/>
                    </a:cubicBezTo>
                    <a:cubicBezTo>
                      <a:pt x="43" y="163"/>
                      <a:pt x="43" y="163"/>
                      <a:pt x="43" y="163"/>
                    </a:cubicBezTo>
                    <a:cubicBezTo>
                      <a:pt x="26" y="181"/>
                      <a:pt x="26" y="181"/>
                      <a:pt x="26" y="181"/>
                    </a:cubicBezTo>
                    <a:cubicBezTo>
                      <a:pt x="22" y="185"/>
                      <a:pt x="19" y="190"/>
                      <a:pt x="15" y="196"/>
                    </a:cubicBezTo>
                    <a:cubicBezTo>
                      <a:pt x="3" y="216"/>
                      <a:pt x="3" y="216"/>
                      <a:pt x="3" y="216"/>
                    </a:cubicBezTo>
                    <a:cubicBezTo>
                      <a:pt x="2" y="217"/>
                      <a:pt x="1" y="218"/>
                      <a:pt x="0" y="218"/>
                    </a:cubicBezTo>
                    <a:cubicBezTo>
                      <a:pt x="1" y="221"/>
                      <a:pt x="1" y="223"/>
                      <a:pt x="2" y="226"/>
                    </a:cubicBezTo>
                    <a:cubicBezTo>
                      <a:pt x="3" y="228"/>
                      <a:pt x="3" y="230"/>
                      <a:pt x="4" y="233"/>
                    </a:cubicBezTo>
                    <a:cubicBezTo>
                      <a:pt x="5" y="235"/>
                      <a:pt x="5" y="235"/>
                      <a:pt x="5" y="235"/>
                    </a:cubicBezTo>
                    <a:cubicBezTo>
                      <a:pt x="6" y="235"/>
                      <a:pt x="6" y="236"/>
                      <a:pt x="7" y="237"/>
                    </a:cubicBezTo>
                    <a:cubicBezTo>
                      <a:pt x="7" y="238"/>
                      <a:pt x="8" y="238"/>
                      <a:pt x="8" y="239"/>
                    </a:cubicBezTo>
                    <a:cubicBezTo>
                      <a:pt x="13" y="246"/>
                      <a:pt x="13" y="246"/>
                      <a:pt x="13" y="246"/>
                    </a:cubicBezTo>
                    <a:cubicBezTo>
                      <a:pt x="22" y="248"/>
                      <a:pt x="22" y="248"/>
                      <a:pt x="22" y="248"/>
                    </a:cubicBezTo>
                    <a:cubicBezTo>
                      <a:pt x="24" y="249"/>
                      <a:pt x="25" y="251"/>
                      <a:pt x="25" y="254"/>
                    </a:cubicBezTo>
                    <a:cubicBezTo>
                      <a:pt x="25" y="254"/>
                      <a:pt x="25" y="254"/>
                      <a:pt x="25" y="254"/>
                    </a:cubicBezTo>
                    <a:cubicBezTo>
                      <a:pt x="26" y="255"/>
                      <a:pt x="26" y="255"/>
                      <a:pt x="26" y="255"/>
                    </a:cubicBezTo>
                    <a:cubicBezTo>
                      <a:pt x="29" y="257"/>
                      <a:pt x="31" y="259"/>
                      <a:pt x="32" y="260"/>
                    </a:cubicBezTo>
                    <a:cubicBezTo>
                      <a:pt x="32" y="262"/>
                      <a:pt x="33" y="264"/>
                      <a:pt x="33" y="266"/>
                    </a:cubicBezTo>
                    <a:cubicBezTo>
                      <a:pt x="34" y="268"/>
                      <a:pt x="35" y="271"/>
                      <a:pt x="36" y="273"/>
                    </a:cubicBezTo>
                    <a:cubicBezTo>
                      <a:pt x="36" y="275"/>
                      <a:pt x="36" y="275"/>
                      <a:pt x="36" y="275"/>
                    </a:cubicBezTo>
                    <a:cubicBezTo>
                      <a:pt x="37" y="276"/>
                      <a:pt x="38" y="277"/>
                      <a:pt x="38" y="279"/>
                    </a:cubicBezTo>
                    <a:cubicBezTo>
                      <a:pt x="38" y="279"/>
                      <a:pt x="38" y="279"/>
                      <a:pt x="38" y="279"/>
                    </a:cubicBezTo>
                    <a:cubicBezTo>
                      <a:pt x="38" y="280"/>
                      <a:pt x="38" y="281"/>
                      <a:pt x="39" y="282"/>
                    </a:cubicBezTo>
                    <a:cubicBezTo>
                      <a:pt x="39" y="283"/>
                      <a:pt x="39" y="283"/>
                      <a:pt x="39" y="283"/>
                    </a:cubicBezTo>
                    <a:cubicBezTo>
                      <a:pt x="39" y="283"/>
                      <a:pt x="39" y="284"/>
                      <a:pt x="39" y="284"/>
                    </a:cubicBezTo>
                    <a:cubicBezTo>
                      <a:pt x="39" y="284"/>
                      <a:pt x="39" y="284"/>
                      <a:pt x="39" y="284"/>
                    </a:cubicBezTo>
                    <a:cubicBezTo>
                      <a:pt x="39" y="284"/>
                      <a:pt x="39" y="284"/>
                      <a:pt x="39" y="284"/>
                    </a:cubicBezTo>
                    <a:cubicBezTo>
                      <a:pt x="39" y="286"/>
                      <a:pt x="39" y="288"/>
                      <a:pt x="39" y="290"/>
                    </a:cubicBezTo>
                    <a:cubicBezTo>
                      <a:pt x="38" y="291"/>
                      <a:pt x="38" y="292"/>
                      <a:pt x="38" y="293"/>
                    </a:cubicBezTo>
                    <a:cubicBezTo>
                      <a:pt x="38" y="293"/>
                      <a:pt x="38" y="293"/>
                      <a:pt x="38" y="293"/>
                    </a:cubicBezTo>
                    <a:cubicBezTo>
                      <a:pt x="38" y="294"/>
                      <a:pt x="37" y="294"/>
                      <a:pt x="37" y="295"/>
                    </a:cubicBezTo>
                    <a:cubicBezTo>
                      <a:pt x="37" y="296"/>
                      <a:pt x="37" y="297"/>
                      <a:pt x="37" y="298"/>
                    </a:cubicBezTo>
                    <a:cubicBezTo>
                      <a:pt x="38" y="303"/>
                      <a:pt x="40" y="308"/>
                      <a:pt x="43" y="313"/>
                    </a:cubicBezTo>
                    <a:cubicBezTo>
                      <a:pt x="44" y="314"/>
                      <a:pt x="45" y="316"/>
                      <a:pt x="46" y="317"/>
                    </a:cubicBezTo>
                    <a:cubicBezTo>
                      <a:pt x="47" y="318"/>
                      <a:pt x="48" y="318"/>
                      <a:pt x="49" y="319"/>
                    </a:cubicBezTo>
                    <a:cubicBezTo>
                      <a:pt x="49" y="319"/>
                      <a:pt x="49" y="319"/>
                      <a:pt x="49" y="319"/>
                    </a:cubicBezTo>
                    <a:cubicBezTo>
                      <a:pt x="50" y="319"/>
                      <a:pt x="50" y="320"/>
                      <a:pt x="51" y="320"/>
                    </a:cubicBezTo>
                    <a:cubicBezTo>
                      <a:pt x="56" y="324"/>
                      <a:pt x="56" y="324"/>
                      <a:pt x="56" y="324"/>
                    </a:cubicBezTo>
                    <a:cubicBezTo>
                      <a:pt x="49" y="325"/>
                      <a:pt x="49" y="325"/>
                      <a:pt x="49" y="325"/>
                    </a:cubicBezTo>
                    <a:cubicBezTo>
                      <a:pt x="48" y="326"/>
                      <a:pt x="46" y="326"/>
                      <a:pt x="44" y="326"/>
                    </a:cubicBezTo>
                    <a:cubicBezTo>
                      <a:pt x="43" y="326"/>
                      <a:pt x="41" y="326"/>
                      <a:pt x="40" y="326"/>
                    </a:cubicBezTo>
                    <a:cubicBezTo>
                      <a:pt x="39" y="326"/>
                      <a:pt x="38" y="326"/>
                      <a:pt x="37" y="326"/>
                    </a:cubicBezTo>
                    <a:cubicBezTo>
                      <a:pt x="37" y="326"/>
                      <a:pt x="37" y="326"/>
                      <a:pt x="37" y="326"/>
                    </a:cubicBezTo>
                    <a:cubicBezTo>
                      <a:pt x="34" y="326"/>
                      <a:pt x="31" y="326"/>
                      <a:pt x="28" y="326"/>
                    </a:cubicBezTo>
                    <a:cubicBezTo>
                      <a:pt x="28" y="326"/>
                      <a:pt x="28" y="326"/>
                      <a:pt x="27" y="326"/>
                    </a:cubicBezTo>
                    <a:cubicBezTo>
                      <a:pt x="27" y="326"/>
                      <a:pt x="27" y="326"/>
                      <a:pt x="27" y="326"/>
                    </a:cubicBezTo>
                    <a:cubicBezTo>
                      <a:pt x="26" y="326"/>
                      <a:pt x="26" y="326"/>
                      <a:pt x="25" y="326"/>
                    </a:cubicBezTo>
                    <a:cubicBezTo>
                      <a:pt x="24" y="326"/>
                      <a:pt x="24" y="326"/>
                      <a:pt x="24" y="326"/>
                    </a:cubicBezTo>
                    <a:cubicBezTo>
                      <a:pt x="24" y="326"/>
                      <a:pt x="23" y="326"/>
                      <a:pt x="23" y="326"/>
                    </a:cubicBezTo>
                    <a:cubicBezTo>
                      <a:pt x="22" y="326"/>
                      <a:pt x="21" y="326"/>
                      <a:pt x="19" y="326"/>
                    </a:cubicBezTo>
                    <a:cubicBezTo>
                      <a:pt x="19" y="326"/>
                      <a:pt x="18" y="326"/>
                      <a:pt x="17" y="326"/>
                    </a:cubicBezTo>
                    <a:cubicBezTo>
                      <a:pt x="16" y="326"/>
                      <a:pt x="16" y="326"/>
                      <a:pt x="16" y="326"/>
                    </a:cubicBezTo>
                    <a:cubicBezTo>
                      <a:pt x="16" y="326"/>
                      <a:pt x="15" y="326"/>
                      <a:pt x="14" y="327"/>
                    </a:cubicBezTo>
                    <a:cubicBezTo>
                      <a:pt x="14" y="328"/>
                      <a:pt x="14" y="329"/>
                      <a:pt x="13" y="329"/>
                    </a:cubicBezTo>
                    <a:cubicBezTo>
                      <a:pt x="13" y="330"/>
                      <a:pt x="13" y="330"/>
                      <a:pt x="13" y="330"/>
                    </a:cubicBezTo>
                    <a:cubicBezTo>
                      <a:pt x="13" y="331"/>
                      <a:pt x="13" y="331"/>
                      <a:pt x="13" y="331"/>
                    </a:cubicBezTo>
                    <a:cubicBezTo>
                      <a:pt x="14" y="331"/>
                      <a:pt x="14" y="331"/>
                      <a:pt x="14" y="331"/>
                    </a:cubicBezTo>
                    <a:cubicBezTo>
                      <a:pt x="14" y="332"/>
                      <a:pt x="15" y="332"/>
                      <a:pt x="15" y="333"/>
                    </a:cubicBezTo>
                    <a:cubicBezTo>
                      <a:pt x="16" y="334"/>
                      <a:pt x="16" y="334"/>
                      <a:pt x="17" y="335"/>
                    </a:cubicBezTo>
                    <a:cubicBezTo>
                      <a:pt x="18" y="336"/>
                      <a:pt x="18" y="336"/>
                      <a:pt x="18" y="336"/>
                    </a:cubicBezTo>
                    <a:cubicBezTo>
                      <a:pt x="21" y="339"/>
                      <a:pt x="24" y="342"/>
                      <a:pt x="27" y="344"/>
                    </a:cubicBezTo>
                    <a:cubicBezTo>
                      <a:pt x="28" y="345"/>
                      <a:pt x="28" y="345"/>
                      <a:pt x="28" y="345"/>
                    </a:cubicBezTo>
                    <a:cubicBezTo>
                      <a:pt x="31" y="348"/>
                      <a:pt x="35" y="351"/>
                      <a:pt x="38" y="354"/>
                    </a:cubicBezTo>
                    <a:cubicBezTo>
                      <a:pt x="41" y="357"/>
                      <a:pt x="42" y="360"/>
                      <a:pt x="43" y="363"/>
                    </a:cubicBezTo>
                    <a:cubicBezTo>
                      <a:pt x="44" y="364"/>
                      <a:pt x="44" y="364"/>
                      <a:pt x="44" y="364"/>
                    </a:cubicBezTo>
                    <a:cubicBezTo>
                      <a:pt x="44" y="365"/>
                      <a:pt x="45" y="366"/>
                      <a:pt x="45" y="367"/>
                    </a:cubicBezTo>
                    <a:cubicBezTo>
                      <a:pt x="45" y="367"/>
                      <a:pt x="46" y="368"/>
                      <a:pt x="46" y="369"/>
                    </a:cubicBezTo>
                    <a:cubicBezTo>
                      <a:pt x="46" y="370"/>
                      <a:pt x="47" y="372"/>
                      <a:pt x="48" y="373"/>
                    </a:cubicBezTo>
                    <a:cubicBezTo>
                      <a:pt x="50" y="373"/>
                      <a:pt x="50" y="373"/>
                      <a:pt x="50" y="373"/>
                    </a:cubicBezTo>
                    <a:cubicBezTo>
                      <a:pt x="49" y="376"/>
                      <a:pt x="49" y="376"/>
                      <a:pt x="49" y="376"/>
                    </a:cubicBezTo>
                    <a:cubicBezTo>
                      <a:pt x="49" y="377"/>
                      <a:pt x="49" y="377"/>
                      <a:pt x="49" y="377"/>
                    </a:cubicBezTo>
                    <a:cubicBezTo>
                      <a:pt x="50" y="377"/>
                      <a:pt x="52" y="377"/>
                      <a:pt x="53" y="377"/>
                    </a:cubicBezTo>
                    <a:cubicBezTo>
                      <a:pt x="54" y="377"/>
                      <a:pt x="55" y="377"/>
                      <a:pt x="56" y="376"/>
                    </a:cubicBezTo>
                    <a:cubicBezTo>
                      <a:pt x="57" y="376"/>
                      <a:pt x="57" y="376"/>
                      <a:pt x="57" y="376"/>
                    </a:cubicBezTo>
                    <a:cubicBezTo>
                      <a:pt x="59" y="376"/>
                      <a:pt x="60" y="376"/>
                      <a:pt x="61" y="376"/>
                    </a:cubicBezTo>
                    <a:cubicBezTo>
                      <a:pt x="62" y="376"/>
                      <a:pt x="63" y="375"/>
                      <a:pt x="64" y="375"/>
                    </a:cubicBezTo>
                    <a:cubicBezTo>
                      <a:pt x="64" y="375"/>
                      <a:pt x="64" y="375"/>
                      <a:pt x="64" y="375"/>
                    </a:cubicBezTo>
                    <a:cubicBezTo>
                      <a:pt x="64" y="374"/>
                      <a:pt x="65" y="373"/>
                      <a:pt x="66" y="372"/>
                    </a:cubicBezTo>
                    <a:cubicBezTo>
                      <a:pt x="66" y="371"/>
                      <a:pt x="67" y="371"/>
                      <a:pt x="67" y="370"/>
                    </a:cubicBezTo>
                    <a:cubicBezTo>
                      <a:pt x="68" y="370"/>
                      <a:pt x="68" y="370"/>
                      <a:pt x="69" y="370"/>
                    </a:cubicBezTo>
                    <a:cubicBezTo>
                      <a:pt x="69" y="370"/>
                      <a:pt x="69" y="370"/>
                      <a:pt x="69" y="370"/>
                    </a:cubicBezTo>
                    <a:cubicBezTo>
                      <a:pt x="69" y="370"/>
                      <a:pt x="69" y="370"/>
                      <a:pt x="69" y="370"/>
                    </a:cubicBezTo>
                    <a:cubicBezTo>
                      <a:pt x="72" y="370"/>
                      <a:pt x="73" y="372"/>
                      <a:pt x="74" y="373"/>
                    </a:cubicBezTo>
                    <a:cubicBezTo>
                      <a:pt x="77" y="377"/>
                      <a:pt x="77" y="377"/>
                      <a:pt x="77" y="377"/>
                    </a:cubicBezTo>
                    <a:cubicBezTo>
                      <a:pt x="77" y="376"/>
                      <a:pt x="77" y="376"/>
                      <a:pt x="77" y="376"/>
                    </a:cubicBezTo>
                    <a:cubicBezTo>
                      <a:pt x="78" y="376"/>
                      <a:pt x="78" y="376"/>
                      <a:pt x="78" y="376"/>
                    </a:cubicBezTo>
                    <a:cubicBezTo>
                      <a:pt x="79" y="376"/>
                      <a:pt x="79" y="376"/>
                      <a:pt x="79" y="376"/>
                    </a:cubicBezTo>
                    <a:cubicBezTo>
                      <a:pt x="79" y="376"/>
                      <a:pt x="79" y="375"/>
                      <a:pt x="79" y="375"/>
                    </a:cubicBezTo>
                    <a:cubicBezTo>
                      <a:pt x="80" y="375"/>
                      <a:pt x="80" y="375"/>
                      <a:pt x="80" y="375"/>
                    </a:cubicBezTo>
                    <a:cubicBezTo>
                      <a:pt x="81" y="374"/>
                      <a:pt x="82" y="374"/>
                      <a:pt x="83" y="373"/>
                    </a:cubicBezTo>
                    <a:cubicBezTo>
                      <a:pt x="84" y="373"/>
                      <a:pt x="84" y="373"/>
                      <a:pt x="84" y="373"/>
                    </a:cubicBezTo>
                    <a:cubicBezTo>
                      <a:pt x="85" y="372"/>
                      <a:pt x="87" y="372"/>
                      <a:pt x="88" y="371"/>
                    </a:cubicBezTo>
                    <a:cubicBezTo>
                      <a:pt x="90" y="371"/>
                      <a:pt x="90" y="371"/>
                      <a:pt x="90" y="371"/>
                    </a:cubicBezTo>
                    <a:cubicBezTo>
                      <a:pt x="90" y="371"/>
                      <a:pt x="91" y="370"/>
                      <a:pt x="91" y="370"/>
                    </a:cubicBezTo>
                    <a:cubicBezTo>
                      <a:pt x="94" y="369"/>
                      <a:pt x="94" y="369"/>
                      <a:pt x="94" y="369"/>
                    </a:cubicBezTo>
                    <a:cubicBezTo>
                      <a:pt x="97" y="369"/>
                      <a:pt x="99" y="368"/>
                      <a:pt x="102" y="368"/>
                    </a:cubicBezTo>
                    <a:cubicBezTo>
                      <a:pt x="103" y="367"/>
                      <a:pt x="105" y="367"/>
                      <a:pt x="107" y="366"/>
                    </a:cubicBezTo>
                    <a:cubicBezTo>
                      <a:pt x="107" y="366"/>
                      <a:pt x="108" y="366"/>
                      <a:pt x="109" y="366"/>
                    </a:cubicBezTo>
                    <a:cubicBezTo>
                      <a:pt x="109" y="366"/>
                      <a:pt x="109" y="366"/>
                      <a:pt x="109" y="366"/>
                    </a:cubicBezTo>
                    <a:cubicBezTo>
                      <a:pt x="110" y="366"/>
                      <a:pt x="110" y="366"/>
                      <a:pt x="110" y="366"/>
                    </a:cubicBezTo>
                    <a:cubicBezTo>
                      <a:pt x="112" y="366"/>
                      <a:pt x="112" y="366"/>
                      <a:pt x="112" y="366"/>
                    </a:cubicBezTo>
                    <a:cubicBezTo>
                      <a:pt x="112" y="366"/>
                      <a:pt x="113" y="366"/>
                      <a:pt x="114" y="366"/>
                    </a:cubicBezTo>
                    <a:cubicBezTo>
                      <a:pt x="115" y="366"/>
                      <a:pt x="115" y="366"/>
                      <a:pt x="115" y="366"/>
                    </a:cubicBezTo>
                    <a:cubicBezTo>
                      <a:pt x="116" y="366"/>
                      <a:pt x="116" y="366"/>
                      <a:pt x="116" y="366"/>
                    </a:cubicBezTo>
                    <a:cubicBezTo>
                      <a:pt x="116" y="366"/>
                      <a:pt x="116" y="366"/>
                      <a:pt x="116" y="366"/>
                    </a:cubicBezTo>
                    <a:cubicBezTo>
                      <a:pt x="117" y="365"/>
                      <a:pt x="117" y="365"/>
                      <a:pt x="117" y="365"/>
                    </a:cubicBezTo>
                    <a:cubicBezTo>
                      <a:pt x="119" y="363"/>
                      <a:pt x="119" y="363"/>
                      <a:pt x="119" y="363"/>
                    </a:cubicBezTo>
                    <a:cubicBezTo>
                      <a:pt x="120" y="362"/>
                      <a:pt x="122" y="360"/>
                      <a:pt x="123" y="358"/>
                    </a:cubicBezTo>
                    <a:cubicBezTo>
                      <a:pt x="124" y="357"/>
                      <a:pt x="125" y="356"/>
                      <a:pt x="126" y="355"/>
                    </a:cubicBezTo>
                    <a:cubicBezTo>
                      <a:pt x="126" y="355"/>
                      <a:pt x="126" y="355"/>
                      <a:pt x="126" y="355"/>
                    </a:cubicBezTo>
                    <a:cubicBezTo>
                      <a:pt x="126" y="355"/>
                      <a:pt x="126" y="355"/>
                      <a:pt x="126" y="355"/>
                    </a:cubicBezTo>
                    <a:cubicBezTo>
                      <a:pt x="126" y="354"/>
                      <a:pt x="126" y="354"/>
                      <a:pt x="126" y="354"/>
                    </a:cubicBezTo>
                    <a:cubicBezTo>
                      <a:pt x="125" y="354"/>
                      <a:pt x="125" y="354"/>
                      <a:pt x="125" y="354"/>
                    </a:cubicBezTo>
                    <a:cubicBezTo>
                      <a:pt x="124" y="353"/>
                      <a:pt x="122" y="352"/>
                      <a:pt x="121" y="350"/>
                    </a:cubicBezTo>
                    <a:cubicBezTo>
                      <a:pt x="121" y="347"/>
                      <a:pt x="123" y="345"/>
                      <a:pt x="127" y="344"/>
                    </a:cubicBezTo>
                    <a:cubicBezTo>
                      <a:pt x="130" y="343"/>
                      <a:pt x="130" y="343"/>
                      <a:pt x="130" y="343"/>
                    </a:cubicBezTo>
                    <a:cubicBezTo>
                      <a:pt x="130" y="343"/>
                      <a:pt x="130" y="343"/>
                      <a:pt x="130" y="343"/>
                    </a:cubicBezTo>
                    <a:cubicBezTo>
                      <a:pt x="135" y="342"/>
                      <a:pt x="142" y="342"/>
                      <a:pt x="146" y="342"/>
                    </a:cubicBezTo>
                    <a:cubicBezTo>
                      <a:pt x="147" y="342"/>
                      <a:pt x="147" y="342"/>
                      <a:pt x="147" y="342"/>
                    </a:cubicBezTo>
                    <a:cubicBezTo>
                      <a:pt x="150" y="342"/>
                      <a:pt x="154" y="341"/>
                      <a:pt x="157" y="341"/>
                    </a:cubicBezTo>
                    <a:cubicBezTo>
                      <a:pt x="157" y="341"/>
                      <a:pt x="159" y="340"/>
                      <a:pt x="160" y="340"/>
                    </a:cubicBezTo>
                    <a:cubicBezTo>
                      <a:pt x="166" y="336"/>
                      <a:pt x="170" y="332"/>
                      <a:pt x="174" y="327"/>
                    </a:cubicBezTo>
                    <a:cubicBezTo>
                      <a:pt x="188" y="311"/>
                      <a:pt x="188" y="311"/>
                      <a:pt x="188" y="311"/>
                    </a:cubicBezTo>
                    <a:cubicBezTo>
                      <a:pt x="188" y="310"/>
                      <a:pt x="188" y="309"/>
                      <a:pt x="188" y="308"/>
                    </a:cubicBezTo>
                    <a:cubicBezTo>
                      <a:pt x="189" y="307"/>
                      <a:pt x="189" y="306"/>
                      <a:pt x="190" y="305"/>
                    </a:cubicBezTo>
                    <a:cubicBezTo>
                      <a:pt x="192" y="302"/>
                      <a:pt x="197" y="300"/>
                      <a:pt x="202" y="299"/>
                    </a:cubicBezTo>
                    <a:cubicBezTo>
                      <a:pt x="203" y="298"/>
                      <a:pt x="204" y="298"/>
                      <a:pt x="205" y="297"/>
                    </a:cubicBezTo>
                    <a:cubicBezTo>
                      <a:pt x="206" y="297"/>
                      <a:pt x="206" y="297"/>
                      <a:pt x="206" y="297"/>
                    </a:cubicBezTo>
                    <a:cubicBezTo>
                      <a:pt x="208" y="297"/>
                      <a:pt x="208" y="297"/>
                      <a:pt x="208" y="297"/>
                    </a:cubicBezTo>
                    <a:cubicBezTo>
                      <a:pt x="210" y="297"/>
                      <a:pt x="213" y="297"/>
                      <a:pt x="217" y="297"/>
                    </a:cubicBezTo>
                    <a:cubicBezTo>
                      <a:pt x="217" y="297"/>
                      <a:pt x="217" y="297"/>
                      <a:pt x="217" y="297"/>
                    </a:cubicBezTo>
                    <a:cubicBezTo>
                      <a:pt x="217" y="296"/>
                      <a:pt x="217" y="296"/>
                      <a:pt x="217" y="296"/>
                    </a:cubicBezTo>
                    <a:cubicBezTo>
                      <a:pt x="217" y="295"/>
                      <a:pt x="217" y="295"/>
                      <a:pt x="217" y="295"/>
                    </a:cubicBezTo>
                    <a:cubicBezTo>
                      <a:pt x="218" y="294"/>
                      <a:pt x="218" y="294"/>
                      <a:pt x="218" y="294"/>
                    </a:cubicBezTo>
                    <a:cubicBezTo>
                      <a:pt x="217" y="293"/>
                      <a:pt x="217" y="293"/>
                      <a:pt x="217" y="293"/>
                    </a:cubicBezTo>
                    <a:cubicBezTo>
                      <a:pt x="217" y="292"/>
                      <a:pt x="215" y="291"/>
                      <a:pt x="214" y="290"/>
                    </a:cubicBezTo>
                    <a:cubicBezTo>
                      <a:pt x="212" y="289"/>
                      <a:pt x="212" y="289"/>
                      <a:pt x="212" y="289"/>
                    </a:cubicBezTo>
                    <a:cubicBezTo>
                      <a:pt x="208" y="285"/>
                      <a:pt x="208" y="283"/>
                      <a:pt x="209" y="278"/>
                    </a:cubicBezTo>
                    <a:cubicBezTo>
                      <a:pt x="208" y="279"/>
                      <a:pt x="208" y="279"/>
                      <a:pt x="208" y="279"/>
                    </a:cubicBezTo>
                    <a:cubicBezTo>
                      <a:pt x="207" y="275"/>
                      <a:pt x="207" y="275"/>
                      <a:pt x="207" y="275"/>
                    </a:cubicBezTo>
                    <a:cubicBezTo>
                      <a:pt x="206" y="274"/>
                      <a:pt x="206" y="273"/>
                      <a:pt x="206" y="271"/>
                    </a:cubicBezTo>
                    <a:cubicBezTo>
                      <a:pt x="205" y="269"/>
                      <a:pt x="204" y="263"/>
                      <a:pt x="203" y="261"/>
                    </a:cubicBezTo>
                    <a:cubicBezTo>
                      <a:pt x="202" y="261"/>
                      <a:pt x="202" y="261"/>
                      <a:pt x="202" y="261"/>
                    </a:cubicBezTo>
                    <a:cubicBezTo>
                      <a:pt x="202" y="262"/>
                      <a:pt x="201" y="262"/>
                      <a:pt x="200" y="262"/>
                    </a:cubicBezTo>
                    <a:cubicBezTo>
                      <a:pt x="200" y="262"/>
                      <a:pt x="199" y="262"/>
                      <a:pt x="199" y="262"/>
                    </a:cubicBezTo>
                    <a:cubicBezTo>
                      <a:pt x="198" y="269"/>
                      <a:pt x="198" y="269"/>
                      <a:pt x="198" y="269"/>
                    </a:cubicBezTo>
                    <a:cubicBezTo>
                      <a:pt x="197" y="262"/>
                      <a:pt x="197" y="262"/>
                      <a:pt x="197" y="262"/>
                    </a:cubicBezTo>
                    <a:cubicBezTo>
                      <a:pt x="197" y="262"/>
                      <a:pt x="197" y="262"/>
                      <a:pt x="197" y="262"/>
                    </a:cubicBezTo>
                    <a:cubicBezTo>
                      <a:pt x="196" y="262"/>
                      <a:pt x="195" y="262"/>
                      <a:pt x="195" y="261"/>
                    </a:cubicBezTo>
                    <a:cubicBezTo>
                      <a:pt x="194" y="261"/>
                      <a:pt x="194" y="261"/>
                      <a:pt x="194" y="261"/>
                    </a:cubicBezTo>
                    <a:cubicBezTo>
                      <a:pt x="191" y="259"/>
                      <a:pt x="191" y="255"/>
                      <a:pt x="193" y="252"/>
                    </a:cubicBezTo>
                    <a:cubicBezTo>
                      <a:pt x="194" y="249"/>
                      <a:pt x="196" y="247"/>
                      <a:pt x="198" y="245"/>
                    </a:cubicBezTo>
                    <a:cubicBezTo>
                      <a:pt x="199" y="245"/>
                      <a:pt x="199" y="244"/>
                      <a:pt x="200" y="244"/>
                    </a:cubicBezTo>
                    <a:cubicBezTo>
                      <a:pt x="201" y="243"/>
                      <a:pt x="201" y="243"/>
                      <a:pt x="201" y="242"/>
                    </a:cubicBezTo>
                    <a:cubicBezTo>
                      <a:pt x="201" y="242"/>
                      <a:pt x="201" y="242"/>
                      <a:pt x="201" y="242"/>
                    </a:cubicBezTo>
                    <a:cubicBezTo>
                      <a:pt x="201" y="241"/>
                      <a:pt x="201" y="241"/>
                      <a:pt x="200" y="240"/>
                    </a:cubicBezTo>
                    <a:cubicBezTo>
                      <a:pt x="198" y="237"/>
                      <a:pt x="196" y="233"/>
                      <a:pt x="199" y="228"/>
                    </a:cubicBezTo>
                    <a:cubicBezTo>
                      <a:pt x="200" y="228"/>
                      <a:pt x="200" y="227"/>
                      <a:pt x="201" y="226"/>
                    </a:cubicBezTo>
                    <a:cubicBezTo>
                      <a:pt x="202" y="226"/>
                      <a:pt x="203" y="225"/>
                      <a:pt x="204" y="224"/>
                    </a:cubicBezTo>
                    <a:cubicBezTo>
                      <a:pt x="206" y="223"/>
                      <a:pt x="206" y="223"/>
                      <a:pt x="206" y="223"/>
                    </a:cubicBezTo>
                    <a:cubicBezTo>
                      <a:pt x="206" y="223"/>
                      <a:pt x="206" y="223"/>
                      <a:pt x="206" y="223"/>
                    </a:cubicBezTo>
                    <a:cubicBezTo>
                      <a:pt x="206" y="222"/>
                      <a:pt x="206" y="222"/>
                      <a:pt x="205" y="221"/>
                    </a:cubicBezTo>
                    <a:cubicBezTo>
                      <a:pt x="205" y="220"/>
                      <a:pt x="205" y="219"/>
                      <a:pt x="205" y="218"/>
                    </a:cubicBezTo>
                    <a:cubicBezTo>
                      <a:pt x="206" y="217"/>
                      <a:pt x="206" y="217"/>
                      <a:pt x="206" y="217"/>
                    </a:cubicBezTo>
                    <a:cubicBezTo>
                      <a:pt x="206" y="217"/>
                      <a:pt x="206" y="217"/>
                      <a:pt x="206" y="217"/>
                    </a:cubicBezTo>
                    <a:cubicBezTo>
                      <a:pt x="205" y="216"/>
                      <a:pt x="205" y="216"/>
                      <a:pt x="205" y="216"/>
                    </a:cubicBezTo>
                    <a:cubicBezTo>
                      <a:pt x="203" y="212"/>
                      <a:pt x="206" y="211"/>
                      <a:pt x="210" y="209"/>
                    </a:cubicBezTo>
                    <a:cubicBezTo>
                      <a:pt x="210" y="209"/>
                      <a:pt x="210" y="209"/>
                      <a:pt x="210" y="209"/>
                    </a:cubicBezTo>
                    <a:cubicBezTo>
                      <a:pt x="211" y="208"/>
                      <a:pt x="211" y="208"/>
                      <a:pt x="211" y="208"/>
                    </a:cubicBezTo>
                    <a:cubicBezTo>
                      <a:pt x="212" y="207"/>
                      <a:pt x="212" y="207"/>
                      <a:pt x="212" y="207"/>
                    </a:cubicBezTo>
                    <a:cubicBezTo>
                      <a:pt x="212" y="207"/>
                      <a:pt x="212" y="206"/>
                      <a:pt x="212" y="206"/>
                    </a:cubicBezTo>
                    <a:cubicBezTo>
                      <a:pt x="213" y="203"/>
                      <a:pt x="213" y="203"/>
                      <a:pt x="213" y="203"/>
                    </a:cubicBezTo>
                    <a:cubicBezTo>
                      <a:pt x="214" y="202"/>
                      <a:pt x="214" y="200"/>
                      <a:pt x="214" y="199"/>
                    </a:cubicBezTo>
                    <a:cubicBezTo>
                      <a:pt x="215" y="197"/>
                      <a:pt x="215" y="197"/>
                      <a:pt x="215" y="197"/>
                    </a:cubicBezTo>
                    <a:cubicBezTo>
                      <a:pt x="215" y="195"/>
                      <a:pt x="216" y="192"/>
                      <a:pt x="217" y="190"/>
                    </a:cubicBezTo>
                    <a:cubicBezTo>
                      <a:pt x="220" y="184"/>
                      <a:pt x="226" y="182"/>
                      <a:pt x="232" y="182"/>
                    </a:cubicBezTo>
                    <a:cubicBezTo>
                      <a:pt x="235" y="182"/>
                      <a:pt x="237" y="183"/>
                      <a:pt x="240" y="183"/>
                    </a:cubicBezTo>
                    <a:cubicBezTo>
                      <a:pt x="240" y="183"/>
                      <a:pt x="241" y="183"/>
                      <a:pt x="242" y="183"/>
                    </a:cubicBezTo>
                    <a:cubicBezTo>
                      <a:pt x="242" y="96"/>
                      <a:pt x="242" y="96"/>
                      <a:pt x="242" y="96"/>
                    </a:cubicBezTo>
                    <a:cubicBezTo>
                      <a:pt x="163" y="54"/>
                      <a:pt x="163" y="54"/>
                      <a:pt x="163" y="54"/>
                    </a:cubicBezTo>
                    <a:cubicBezTo>
                      <a:pt x="146" y="45"/>
                      <a:pt x="123" y="33"/>
                      <a:pt x="101" y="21"/>
                    </a:cubicBezTo>
                    <a:cubicBezTo>
                      <a:pt x="90" y="16"/>
                      <a:pt x="90" y="16"/>
                      <a:pt x="90" y="16"/>
                    </a:cubicBezTo>
                    <a:cubicBezTo>
                      <a:pt x="82" y="12"/>
                      <a:pt x="75" y="9"/>
                      <a:pt x="67" y="5"/>
                    </a:cubicBezTo>
                    <a:cubicBezTo>
                      <a:pt x="59" y="1"/>
                      <a:pt x="59" y="1"/>
                      <a:pt x="59" y="1"/>
                    </a:cubicBezTo>
                    <a:cubicBezTo>
                      <a:pt x="58" y="1"/>
                      <a:pt x="58"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 name="Freeform 190">
                <a:extLst>
                  <a:ext uri="{FF2B5EF4-FFF2-40B4-BE49-F238E27FC236}">
                    <a16:creationId xmlns:a16="http://schemas.microsoft.com/office/drawing/2014/main" id="{F30EF87D-C736-4BF3-99BE-73FE1BB43D61}"/>
                  </a:ext>
                </a:extLst>
              </p:cNvPr>
              <p:cNvSpPr>
                <a:spLocks/>
              </p:cNvSpPr>
              <p:nvPr/>
            </p:nvSpPr>
            <p:spPr bwMode="auto">
              <a:xfrm>
                <a:off x="3682" y="1429"/>
                <a:ext cx="860" cy="659"/>
              </a:xfrm>
              <a:custGeom>
                <a:avLst/>
                <a:gdLst>
                  <a:gd name="T0" fmla="*/ 150 w 364"/>
                  <a:gd name="T1" fmla="*/ 81 h 279"/>
                  <a:gd name="T2" fmla="*/ 131 w 364"/>
                  <a:gd name="T3" fmla="*/ 99 h 279"/>
                  <a:gd name="T4" fmla="*/ 94 w 364"/>
                  <a:gd name="T5" fmla="*/ 120 h 279"/>
                  <a:gd name="T6" fmla="*/ 92 w 364"/>
                  <a:gd name="T7" fmla="*/ 172 h 279"/>
                  <a:gd name="T8" fmla="*/ 84 w 364"/>
                  <a:gd name="T9" fmla="*/ 191 h 279"/>
                  <a:gd name="T10" fmla="*/ 71 w 364"/>
                  <a:gd name="T11" fmla="*/ 199 h 279"/>
                  <a:gd name="T12" fmla="*/ 67 w 364"/>
                  <a:gd name="T13" fmla="*/ 199 h 279"/>
                  <a:gd name="T14" fmla="*/ 57 w 364"/>
                  <a:gd name="T15" fmla="*/ 200 h 279"/>
                  <a:gd name="T16" fmla="*/ 12 w 364"/>
                  <a:gd name="T17" fmla="*/ 205 h 279"/>
                  <a:gd name="T18" fmla="*/ 1 w 364"/>
                  <a:gd name="T19" fmla="*/ 209 h 279"/>
                  <a:gd name="T20" fmla="*/ 1 w 364"/>
                  <a:gd name="T21" fmla="*/ 220 h 279"/>
                  <a:gd name="T22" fmla="*/ 7 w 364"/>
                  <a:gd name="T23" fmla="*/ 233 h 279"/>
                  <a:gd name="T24" fmla="*/ 12 w 364"/>
                  <a:gd name="T25" fmla="*/ 235 h 279"/>
                  <a:gd name="T26" fmla="*/ 20 w 364"/>
                  <a:gd name="T27" fmla="*/ 247 h 279"/>
                  <a:gd name="T28" fmla="*/ 18 w 364"/>
                  <a:gd name="T29" fmla="*/ 248 h 279"/>
                  <a:gd name="T30" fmla="*/ 19 w 364"/>
                  <a:gd name="T31" fmla="*/ 252 h 279"/>
                  <a:gd name="T32" fmla="*/ 29 w 364"/>
                  <a:gd name="T33" fmla="*/ 257 h 279"/>
                  <a:gd name="T34" fmla="*/ 41 w 364"/>
                  <a:gd name="T35" fmla="*/ 258 h 279"/>
                  <a:gd name="T36" fmla="*/ 47 w 364"/>
                  <a:gd name="T37" fmla="*/ 267 h 279"/>
                  <a:gd name="T38" fmla="*/ 45 w 364"/>
                  <a:gd name="T39" fmla="*/ 271 h 279"/>
                  <a:gd name="T40" fmla="*/ 51 w 364"/>
                  <a:gd name="T41" fmla="*/ 267 h 279"/>
                  <a:gd name="T42" fmla="*/ 58 w 364"/>
                  <a:gd name="T43" fmla="*/ 265 h 279"/>
                  <a:gd name="T44" fmla="*/ 73 w 364"/>
                  <a:gd name="T45" fmla="*/ 279 h 279"/>
                  <a:gd name="T46" fmla="*/ 75 w 364"/>
                  <a:gd name="T47" fmla="*/ 266 h 279"/>
                  <a:gd name="T48" fmla="*/ 77 w 364"/>
                  <a:gd name="T49" fmla="*/ 261 h 279"/>
                  <a:gd name="T50" fmla="*/ 79 w 364"/>
                  <a:gd name="T51" fmla="*/ 258 h 279"/>
                  <a:gd name="T52" fmla="*/ 85 w 364"/>
                  <a:gd name="T53" fmla="*/ 245 h 279"/>
                  <a:gd name="T54" fmla="*/ 120 w 364"/>
                  <a:gd name="T55" fmla="*/ 229 h 279"/>
                  <a:gd name="T56" fmla="*/ 122 w 364"/>
                  <a:gd name="T57" fmla="*/ 229 h 279"/>
                  <a:gd name="T58" fmla="*/ 133 w 364"/>
                  <a:gd name="T59" fmla="*/ 232 h 279"/>
                  <a:gd name="T60" fmla="*/ 148 w 364"/>
                  <a:gd name="T61" fmla="*/ 240 h 279"/>
                  <a:gd name="T62" fmla="*/ 161 w 364"/>
                  <a:gd name="T63" fmla="*/ 248 h 279"/>
                  <a:gd name="T64" fmla="*/ 177 w 364"/>
                  <a:gd name="T65" fmla="*/ 242 h 279"/>
                  <a:gd name="T66" fmla="*/ 182 w 364"/>
                  <a:gd name="T67" fmla="*/ 243 h 279"/>
                  <a:gd name="T68" fmla="*/ 198 w 364"/>
                  <a:gd name="T69" fmla="*/ 251 h 279"/>
                  <a:gd name="T70" fmla="*/ 212 w 364"/>
                  <a:gd name="T71" fmla="*/ 254 h 279"/>
                  <a:gd name="T72" fmla="*/ 216 w 364"/>
                  <a:gd name="T73" fmla="*/ 255 h 279"/>
                  <a:gd name="T74" fmla="*/ 225 w 364"/>
                  <a:gd name="T75" fmla="*/ 246 h 279"/>
                  <a:gd name="T76" fmla="*/ 253 w 364"/>
                  <a:gd name="T77" fmla="*/ 241 h 279"/>
                  <a:gd name="T78" fmla="*/ 266 w 364"/>
                  <a:gd name="T79" fmla="*/ 242 h 279"/>
                  <a:gd name="T80" fmla="*/ 283 w 364"/>
                  <a:gd name="T81" fmla="*/ 248 h 279"/>
                  <a:gd name="T82" fmla="*/ 293 w 364"/>
                  <a:gd name="T83" fmla="*/ 238 h 279"/>
                  <a:gd name="T84" fmla="*/ 297 w 364"/>
                  <a:gd name="T85" fmla="*/ 236 h 279"/>
                  <a:gd name="T86" fmla="*/ 306 w 364"/>
                  <a:gd name="T87" fmla="*/ 233 h 279"/>
                  <a:gd name="T88" fmla="*/ 306 w 364"/>
                  <a:gd name="T89" fmla="*/ 217 h 279"/>
                  <a:gd name="T90" fmla="*/ 308 w 364"/>
                  <a:gd name="T91" fmla="*/ 215 h 279"/>
                  <a:gd name="T92" fmla="*/ 333 w 364"/>
                  <a:gd name="T93" fmla="*/ 179 h 279"/>
                  <a:gd name="T94" fmla="*/ 351 w 364"/>
                  <a:gd name="T95" fmla="*/ 160 h 279"/>
                  <a:gd name="T96" fmla="*/ 353 w 364"/>
                  <a:gd name="T97" fmla="*/ 155 h 279"/>
                  <a:gd name="T98" fmla="*/ 354 w 364"/>
                  <a:gd name="T99" fmla="*/ 138 h 279"/>
                  <a:gd name="T100" fmla="*/ 362 w 364"/>
                  <a:gd name="T101" fmla="*/ 79 h 279"/>
                  <a:gd name="T102" fmla="*/ 364 w 364"/>
                  <a:gd name="T103" fmla="*/ 75 h 279"/>
                  <a:gd name="T104" fmla="*/ 357 w 364"/>
                  <a:gd name="T105" fmla="*/ 68 h 279"/>
                  <a:gd name="T106" fmla="*/ 354 w 364"/>
                  <a:gd name="T107" fmla="*/ 59 h 279"/>
                  <a:gd name="T108" fmla="*/ 348 w 364"/>
                  <a:gd name="T109" fmla="*/ 50 h 279"/>
                  <a:gd name="T110" fmla="*/ 345 w 364"/>
                  <a:gd name="T111" fmla="*/ 35 h 279"/>
                  <a:gd name="T112" fmla="*/ 342 w 364"/>
                  <a:gd name="T113" fmla="*/ 15 h 279"/>
                  <a:gd name="T114" fmla="*/ 319 w 364"/>
                  <a:gd name="T115" fmla="*/ 17 h 279"/>
                  <a:gd name="T116" fmla="*/ 307 w 364"/>
                  <a:gd name="T117" fmla="*/ 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79">
                    <a:moveTo>
                      <a:pt x="274" y="0"/>
                    </a:moveTo>
                    <a:cubicBezTo>
                      <a:pt x="177" y="60"/>
                      <a:pt x="177" y="60"/>
                      <a:pt x="177" y="60"/>
                    </a:cubicBezTo>
                    <a:cubicBezTo>
                      <a:pt x="172" y="63"/>
                      <a:pt x="167" y="66"/>
                      <a:pt x="162" y="71"/>
                    </a:cubicBezTo>
                    <a:cubicBezTo>
                      <a:pt x="158" y="74"/>
                      <a:pt x="154" y="78"/>
                      <a:pt x="150" y="81"/>
                    </a:cubicBezTo>
                    <a:cubicBezTo>
                      <a:pt x="140" y="90"/>
                      <a:pt x="140" y="90"/>
                      <a:pt x="140" y="90"/>
                    </a:cubicBezTo>
                    <a:cubicBezTo>
                      <a:pt x="138" y="92"/>
                      <a:pt x="136" y="94"/>
                      <a:pt x="134" y="96"/>
                    </a:cubicBezTo>
                    <a:cubicBezTo>
                      <a:pt x="133" y="97"/>
                      <a:pt x="133" y="97"/>
                      <a:pt x="133" y="97"/>
                    </a:cubicBezTo>
                    <a:cubicBezTo>
                      <a:pt x="132" y="97"/>
                      <a:pt x="132" y="98"/>
                      <a:pt x="131" y="99"/>
                    </a:cubicBezTo>
                    <a:cubicBezTo>
                      <a:pt x="128" y="101"/>
                      <a:pt x="122" y="102"/>
                      <a:pt x="117" y="103"/>
                    </a:cubicBezTo>
                    <a:cubicBezTo>
                      <a:pt x="116" y="103"/>
                      <a:pt x="114" y="103"/>
                      <a:pt x="113" y="103"/>
                    </a:cubicBezTo>
                    <a:cubicBezTo>
                      <a:pt x="94" y="107"/>
                      <a:pt x="94" y="107"/>
                      <a:pt x="94" y="107"/>
                    </a:cubicBezTo>
                    <a:cubicBezTo>
                      <a:pt x="94" y="120"/>
                      <a:pt x="94" y="120"/>
                      <a:pt x="94" y="120"/>
                    </a:cubicBezTo>
                    <a:cubicBezTo>
                      <a:pt x="94" y="126"/>
                      <a:pt x="94" y="133"/>
                      <a:pt x="94" y="139"/>
                    </a:cubicBezTo>
                    <a:cubicBezTo>
                      <a:pt x="94" y="145"/>
                      <a:pt x="94" y="145"/>
                      <a:pt x="94" y="145"/>
                    </a:cubicBezTo>
                    <a:cubicBezTo>
                      <a:pt x="94" y="153"/>
                      <a:pt x="94" y="160"/>
                      <a:pt x="93" y="169"/>
                    </a:cubicBezTo>
                    <a:cubicBezTo>
                      <a:pt x="93" y="170"/>
                      <a:pt x="93" y="171"/>
                      <a:pt x="92" y="172"/>
                    </a:cubicBezTo>
                    <a:cubicBezTo>
                      <a:pt x="92" y="175"/>
                      <a:pt x="90" y="178"/>
                      <a:pt x="89" y="180"/>
                    </a:cubicBezTo>
                    <a:cubicBezTo>
                      <a:pt x="88" y="183"/>
                      <a:pt x="88" y="183"/>
                      <a:pt x="88" y="183"/>
                    </a:cubicBezTo>
                    <a:cubicBezTo>
                      <a:pt x="88" y="183"/>
                      <a:pt x="88" y="184"/>
                      <a:pt x="87" y="184"/>
                    </a:cubicBezTo>
                    <a:cubicBezTo>
                      <a:pt x="86" y="187"/>
                      <a:pt x="85" y="189"/>
                      <a:pt x="84" y="191"/>
                    </a:cubicBezTo>
                    <a:cubicBezTo>
                      <a:pt x="83" y="192"/>
                      <a:pt x="83" y="192"/>
                      <a:pt x="82" y="193"/>
                    </a:cubicBezTo>
                    <a:cubicBezTo>
                      <a:pt x="80" y="195"/>
                      <a:pt x="77" y="198"/>
                      <a:pt x="74" y="199"/>
                    </a:cubicBezTo>
                    <a:cubicBezTo>
                      <a:pt x="74" y="199"/>
                      <a:pt x="74" y="199"/>
                      <a:pt x="73" y="199"/>
                    </a:cubicBezTo>
                    <a:cubicBezTo>
                      <a:pt x="72" y="199"/>
                      <a:pt x="71" y="199"/>
                      <a:pt x="71" y="199"/>
                    </a:cubicBezTo>
                    <a:cubicBezTo>
                      <a:pt x="70" y="199"/>
                      <a:pt x="70" y="199"/>
                      <a:pt x="70" y="199"/>
                    </a:cubicBezTo>
                    <a:cubicBezTo>
                      <a:pt x="70" y="199"/>
                      <a:pt x="70" y="199"/>
                      <a:pt x="70" y="199"/>
                    </a:cubicBezTo>
                    <a:cubicBezTo>
                      <a:pt x="69" y="199"/>
                      <a:pt x="69" y="199"/>
                      <a:pt x="69" y="199"/>
                    </a:cubicBezTo>
                    <a:cubicBezTo>
                      <a:pt x="68" y="199"/>
                      <a:pt x="68" y="199"/>
                      <a:pt x="67" y="199"/>
                    </a:cubicBezTo>
                    <a:cubicBezTo>
                      <a:pt x="66" y="199"/>
                      <a:pt x="66" y="199"/>
                      <a:pt x="66" y="199"/>
                    </a:cubicBezTo>
                    <a:cubicBezTo>
                      <a:pt x="65" y="199"/>
                      <a:pt x="64" y="199"/>
                      <a:pt x="63" y="199"/>
                    </a:cubicBezTo>
                    <a:cubicBezTo>
                      <a:pt x="62" y="200"/>
                      <a:pt x="61" y="200"/>
                      <a:pt x="60" y="200"/>
                    </a:cubicBezTo>
                    <a:cubicBezTo>
                      <a:pt x="59" y="200"/>
                      <a:pt x="58" y="200"/>
                      <a:pt x="57" y="200"/>
                    </a:cubicBezTo>
                    <a:cubicBezTo>
                      <a:pt x="56" y="199"/>
                      <a:pt x="56" y="199"/>
                      <a:pt x="56" y="199"/>
                    </a:cubicBezTo>
                    <a:cubicBezTo>
                      <a:pt x="55" y="199"/>
                      <a:pt x="54" y="199"/>
                      <a:pt x="54" y="199"/>
                    </a:cubicBezTo>
                    <a:cubicBezTo>
                      <a:pt x="45" y="200"/>
                      <a:pt x="35" y="200"/>
                      <a:pt x="25" y="201"/>
                    </a:cubicBezTo>
                    <a:cubicBezTo>
                      <a:pt x="21" y="201"/>
                      <a:pt x="16" y="203"/>
                      <a:pt x="12" y="205"/>
                    </a:cubicBezTo>
                    <a:cubicBezTo>
                      <a:pt x="10" y="206"/>
                      <a:pt x="8" y="206"/>
                      <a:pt x="6" y="207"/>
                    </a:cubicBezTo>
                    <a:cubicBezTo>
                      <a:pt x="5" y="207"/>
                      <a:pt x="5" y="208"/>
                      <a:pt x="4" y="208"/>
                    </a:cubicBezTo>
                    <a:cubicBezTo>
                      <a:pt x="3" y="208"/>
                      <a:pt x="2" y="209"/>
                      <a:pt x="1" y="209"/>
                    </a:cubicBezTo>
                    <a:cubicBezTo>
                      <a:pt x="1" y="209"/>
                      <a:pt x="1" y="209"/>
                      <a:pt x="1" y="209"/>
                    </a:cubicBezTo>
                    <a:cubicBezTo>
                      <a:pt x="1" y="210"/>
                      <a:pt x="1" y="210"/>
                      <a:pt x="1" y="210"/>
                    </a:cubicBezTo>
                    <a:cubicBezTo>
                      <a:pt x="0" y="210"/>
                      <a:pt x="0" y="210"/>
                      <a:pt x="0" y="210"/>
                    </a:cubicBezTo>
                    <a:cubicBezTo>
                      <a:pt x="0" y="218"/>
                      <a:pt x="0" y="218"/>
                      <a:pt x="0" y="218"/>
                    </a:cubicBezTo>
                    <a:cubicBezTo>
                      <a:pt x="0" y="219"/>
                      <a:pt x="1" y="220"/>
                      <a:pt x="1" y="220"/>
                    </a:cubicBezTo>
                    <a:cubicBezTo>
                      <a:pt x="1" y="221"/>
                      <a:pt x="1" y="221"/>
                      <a:pt x="1" y="221"/>
                    </a:cubicBezTo>
                    <a:cubicBezTo>
                      <a:pt x="2" y="222"/>
                      <a:pt x="4" y="223"/>
                      <a:pt x="4" y="225"/>
                    </a:cubicBezTo>
                    <a:cubicBezTo>
                      <a:pt x="5" y="226"/>
                      <a:pt x="5" y="228"/>
                      <a:pt x="6" y="229"/>
                    </a:cubicBezTo>
                    <a:cubicBezTo>
                      <a:pt x="6" y="231"/>
                      <a:pt x="6" y="232"/>
                      <a:pt x="7" y="233"/>
                    </a:cubicBezTo>
                    <a:cubicBezTo>
                      <a:pt x="8" y="234"/>
                      <a:pt x="8" y="234"/>
                      <a:pt x="8" y="234"/>
                    </a:cubicBezTo>
                    <a:cubicBezTo>
                      <a:pt x="8" y="234"/>
                      <a:pt x="8" y="234"/>
                      <a:pt x="11" y="235"/>
                    </a:cubicBezTo>
                    <a:cubicBezTo>
                      <a:pt x="11" y="235"/>
                      <a:pt x="11" y="235"/>
                      <a:pt x="11" y="235"/>
                    </a:cubicBezTo>
                    <a:cubicBezTo>
                      <a:pt x="11" y="235"/>
                      <a:pt x="12" y="235"/>
                      <a:pt x="12" y="235"/>
                    </a:cubicBezTo>
                    <a:cubicBezTo>
                      <a:pt x="15" y="236"/>
                      <a:pt x="16" y="237"/>
                      <a:pt x="19" y="239"/>
                    </a:cubicBezTo>
                    <a:cubicBezTo>
                      <a:pt x="21" y="240"/>
                      <a:pt x="22" y="241"/>
                      <a:pt x="23" y="242"/>
                    </a:cubicBezTo>
                    <a:cubicBezTo>
                      <a:pt x="36" y="254"/>
                      <a:pt x="36" y="254"/>
                      <a:pt x="36" y="254"/>
                    </a:cubicBezTo>
                    <a:cubicBezTo>
                      <a:pt x="20" y="247"/>
                      <a:pt x="20" y="247"/>
                      <a:pt x="20" y="247"/>
                    </a:cubicBezTo>
                    <a:cubicBezTo>
                      <a:pt x="20" y="247"/>
                      <a:pt x="20" y="247"/>
                      <a:pt x="20" y="247"/>
                    </a:cubicBezTo>
                    <a:cubicBezTo>
                      <a:pt x="20" y="248"/>
                      <a:pt x="19" y="248"/>
                      <a:pt x="19" y="248"/>
                    </a:cubicBezTo>
                    <a:cubicBezTo>
                      <a:pt x="18" y="248"/>
                      <a:pt x="18" y="248"/>
                      <a:pt x="18" y="248"/>
                    </a:cubicBezTo>
                    <a:cubicBezTo>
                      <a:pt x="18" y="248"/>
                      <a:pt x="18" y="248"/>
                      <a:pt x="18" y="248"/>
                    </a:cubicBezTo>
                    <a:cubicBezTo>
                      <a:pt x="17" y="250"/>
                      <a:pt x="17" y="250"/>
                      <a:pt x="17" y="250"/>
                    </a:cubicBezTo>
                    <a:cubicBezTo>
                      <a:pt x="17" y="250"/>
                      <a:pt x="17" y="250"/>
                      <a:pt x="17" y="250"/>
                    </a:cubicBezTo>
                    <a:cubicBezTo>
                      <a:pt x="18" y="251"/>
                      <a:pt x="18" y="251"/>
                      <a:pt x="18" y="251"/>
                    </a:cubicBezTo>
                    <a:cubicBezTo>
                      <a:pt x="19" y="252"/>
                      <a:pt x="19" y="252"/>
                      <a:pt x="19" y="252"/>
                    </a:cubicBezTo>
                    <a:cubicBezTo>
                      <a:pt x="19" y="252"/>
                      <a:pt x="19" y="252"/>
                      <a:pt x="19" y="252"/>
                    </a:cubicBezTo>
                    <a:cubicBezTo>
                      <a:pt x="21" y="253"/>
                      <a:pt x="23" y="254"/>
                      <a:pt x="25" y="255"/>
                    </a:cubicBezTo>
                    <a:cubicBezTo>
                      <a:pt x="26" y="255"/>
                      <a:pt x="27" y="256"/>
                      <a:pt x="28" y="256"/>
                    </a:cubicBezTo>
                    <a:cubicBezTo>
                      <a:pt x="28" y="256"/>
                      <a:pt x="29" y="257"/>
                      <a:pt x="29" y="257"/>
                    </a:cubicBezTo>
                    <a:cubicBezTo>
                      <a:pt x="31" y="258"/>
                      <a:pt x="32" y="259"/>
                      <a:pt x="32" y="259"/>
                    </a:cubicBezTo>
                    <a:cubicBezTo>
                      <a:pt x="34" y="259"/>
                      <a:pt x="34" y="259"/>
                      <a:pt x="34" y="259"/>
                    </a:cubicBezTo>
                    <a:cubicBezTo>
                      <a:pt x="36" y="258"/>
                      <a:pt x="38" y="258"/>
                      <a:pt x="40" y="258"/>
                    </a:cubicBezTo>
                    <a:cubicBezTo>
                      <a:pt x="40" y="258"/>
                      <a:pt x="40" y="258"/>
                      <a:pt x="41" y="258"/>
                    </a:cubicBezTo>
                    <a:cubicBezTo>
                      <a:pt x="41" y="258"/>
                      <a:pt x="42" y="258"/>
                      <a:pt x="42" y="258"/>
                    </a:cubicBezTo>
                    <a:cubicBezTo>
                      <a:pt x="44" y="259"/>
                      <a:pt x="45" y="260"/>
                      <a:pt x="46" y="261"/>
                    </a:cubicBezTo>
                    <a:cubicBezTo>
                      <a:pt x="46" y="262"/>
                      <a:pt x="47" y="263"/>
                      <a:pt x="47" y="264"/>
                    </a:cubicBezTo>
                    <a:cubicBezTo>
                      <a:pt x="47" y="265"/>
                      <a:pt x="47" y="266"/>
                      <a:pt x="47" y="267"/>
                    </a:cubicBezTo>
                    <a:cubicBezTo>
                      <a:pt x="46" y="268"/>
                      <a:pt x="46" y="269"/>
                      <a:pt x="45" y="269"/>
                    </a:cubicBezTo>
                    <a:cubicBezTo>
                      <a:pt x="44" y="270"/>
                      <a:pt x="44" y="270"/>
                      <a:pt x="44" y="270"/>
                    </a:cubicBezTo>
                    <a:cubicBezTo>
                      <a:pt x="45" y="270"/>
                      <a:pt x="45" y="270"/>
                      <a:pt x="45" y="270"/>
                    </a:cubicBezTo>
                    <a:cubicBezTo>
                      <a:pt x="45" y="271"/>
                      <a:pt x="45" y="271"/>
                      <a:pt x="45" y="271"/>
                    </a:cubicBezTo>
                    <a:cubicBezTo>
                      <a:pt x="45" y="270"/>
                      <a:pt x="46" y="269"/>
                      <a:pt x="47" y="268"/>
                    </a:cubicBezTo>
                    <a:cubicBezTo>
                      <a:pt x="48" y="268"/>
                      <a:pt x="48" y="268"/>
                      <a:pt x="48" y="268"/>
                    </a:cubicBezTo>
                    <a:cubicBezTo>
                      <a:pt x="49" y="267"/>
                      <a:pt x="50" y="267"/>
                      <a:pt x="50" y="267"/>
                    </a:cubicBezTo>
                    <a:cubicBezTo>
                      <a:pt x="51" y="267"/>
                      <a:pt x="51" y="267"/>
                      <a:pt x="51" y="267"/>
                    </a:cubicBezTo>
                    <a:cubicBezTo>
                      <a:pt x="53" y="266"/>
                      <a:pt x="54" y="266"/>
                      <a:pt x="56" y="265"/>
                    </a:cubicBezTo>
                    <a:cubicBezTo>
                      <a:pt x="56" y="265"/>
                      <a:pt x="57" y="265"/>
                      <a:pt x="57" y="265"/>
                    </a:cubicBezTo>
                    <a:cubicBezTo>
                      <a:pt x="57" y="265"/>
                      <a:pt x="57" y="265"/>
                      <a:pt x="57" y="265"/>
                    </a:cubicBezTo>
                    <a:cubicBezTo>
                      <a:pt x="58" y="265"/>
                      <a:pt x="58" y="265"/>
                      <a:pt x="58" y="265"/>
                    </a:cubicBezTo>
                    <a:cubicBezTo>
                      <a:pt x="58" y="265"/>
                      <a:pt x="59" y="265"/>
                      <a:pt x="60" y="265"/>
                    </a:cubicBezTo>
                    <a:cubicBezTo>
                      <a:pt x="61" y="266"/>
                      <a:pt x="61" y="266"/>
                      <a:pt x="61" y="266"/>
                    </a:cubicBezTo>
                    <a:cubicBezTo>
                      <a:pt x="62" y="267"/>
                      <a:pt x="62" y="268"/>
                      <a:pt x="63" y="269"/>
                    </a:cubicBezTo>
                    <a:cubicBezTo>
                      <a:pt x="66" y="272"/>
                      <a:pt x="70" y="276"/>
                      <a:pt x="73" y="279"/>
                    </a:cubicBezTo>
                    <a:cubicBezTo>
                      <a:pt x="73" y="279"/>
                      <a:pt x="73" y="279"/>
                      <a:pt x="73" y="279"/>
                    </a:cubicBezTo>
                    <a:cubicBezTo>
                      <a:pt x="74" y="275"/>
                      <a:pt x="74" y="271"/>
                      <a:pt x="74" y="268"/>
                    </a:cubicBezTo>
                    <a:cubicBezTo>
                      <a:pt x="74" y="267"/>
                      <a:pt x="75" y="267"/>
                      <a:pt x="75" y="266"/>
                    </a:cubicBezTo>
                    <a:cubicBezTo>
                      <a:pt x="75" y="266"/>
                      <a:pt x="75" y="266"/>
                      <a:pt x="75" y="266"/>
                    </a:cubicBezTo>
                    <a:cubicBezTo>
                      <a:pt x="75" y="265"/>
                      <a:pt x="75" y="265"/>
                      <a:pt x="75" y="265"/>
                    </a:cubicBezTo>
                    <a:cubicBezTo>
                      <a:pt x="75" y="264"/>
                      <a:pt x="75" y="263"/>
                      <a:pt x="76" y="263"/>
                    </a:cubicBezTo>
                    <a:cubicBezTo>
                      <a:pt x="76" y="262"/>
                      <a:pt x="76" y="262"/>
                      <a:pt x="76" y="262"/>
                    </a:cubicBezTo>
                    <a:cubicBezTo>
                      <a:pt x="77" y="261"/>
                      <a:pt x="77" y="261"/>
                      <a:pt x="77" y="261"/>
                    </a:cubicBezTo>
                    <a:cubicBezTo>
                      <a:pt x="78" y="259"/>
                      <a:pt x="78" y="259"/>
                      <a:pt x="78" y="259"/>
                    </a:cubicBezTo>
                    <a:cubicBezTo>
                      <a:pt x="74" y="256"/>
                      <a:pt x="74" y="256"/>
                      <a:pt x="74" y="256"/>
                    </a:cubicBezTo>
                    <a:cubicBezTo>
                      <a:pt x="79" y="258"/>
                      <a:pt x="79" y="258"/>
                      <a:pt x="79" y="258"/>
                    </a:cubicBezTo>
                    <a:cubicBezTo>
                      <a:pt x="79" y="258"/>
                      <a:pt x="79" y="258"/>
                      <a:pt x="79" y="258"/>
                    </a:cubicBezTo>
                    <a:cubicBezTo>
                      <a:pt x="80" y="258"/>
                      <a:pt x="80" y="257"/>
                      <a:pt x="80" y="257"/>
                    </a:cubicBezTo>
                    <a:cubicBezTo>
                      <a:pt x="85" y="247"/>
                      <a:pt x="85" y="247"/>
                      <a:pt x="85" y="247"/>
                    </a:cubicBezTo>
                    <a:cubicBezTo>
                      <a:pt x="85" y="247"/>
                      <a:pt x="85" y="247"/>
                      <a:pt x="85" y="246"/>
                    </a:cubicBezTo>
                    <a:cubicBezTo>
                      <a:pt x="85" y="246"/>
                      <a:pt x="85" y="245"/>
                      <a:pt x="85" y="245"/>
                    </a:cubicBezTo>
                    <a:cubicBezTo>
                      <a:pt x="86" y="243"/>
                      <a:pt x="86" y="242"/>
                      <a:pt x="87" y="240"/>
                    </a:cubicBezTo>
                    <a:cubicBezTo>
                      <a:pt x="89" y="238"/>
                      <a:pt x="96" y="234"/>
                      <a:pt x="99" y="233"/>
                    </a:cubicBezTo>
                    <a:cubicBezTo>
                      <a:pt x="102" y="232"/>
                      <a:pt x="104" y="232"/>
                      <a:pt x="106" y="232"/>
                    </a:cubicBezTo>
                    <a:cubicBezTo>
                      <a:pt x="110" y="231"/>
                      <a:pt x="115" y="229"/>
                      <a:pt x="120" y="229"/>
                    </a:cubicBezTo>
                    <a:cubicBezTo>
                      <a:pt x="121" y="229"/>
                      <a:pt x="121" y="229"/>
                      <a:pt x="121" y="229"/>
                    </a:cubicBezTo>
                    <a:cubicBezTo>
                      <a:pt x="122" y="229"/>
                      <a:pt x="122" y="229"/>
                      <a:pt x="122" y="229"/>
                    </a:cubicBezTo>
                    <a:cubicBezTo>
                      <a:pt x="122" y="229"/>
                      <a:pt x="122" y="229"/>
                      <a:pt x="122" y="229"/>
                    </a:cubicBezTo>
                    <a:cubicBezTo>
                      <a:pt x="122" y="229"/>
                      <a:pt x="122" y="229"/>
                      <a:pt x="122" y="229"/>
                    </a:cubicBezTo>
                    <a:cubicBezTo>
                      <a:pt x="123" y="229"/>
                      <a:pt x="124" y="229"/>
                      <a:pt x="125" y="230"/>
                    </a:cubicBezTo>
                    <a:cubicBezTo>
                      <a:pt x="126" y="230"/>
                      <a:pt x="127" y="230"/>
                      <a:pt x="128" y="231"/>
                    </a:cubicBezTo>
                    <a:cubicBezTo>
                      <a:pt x="129" y="231"/>
                      <a:pt x="130" y="232"/>
                      <a:pt x="131" y="232"/>
                    </a:cubicBezTo>
                    <a:cubicBezTo>
                      <a:pt x="131" y="232"/>
                      <a:pt x="132" y="232"/>
                      <a:pt x="133" y="232"/>
                    </a:cubicBezTo>
                    <a:cubicBezTo>
                      <a:pt x="133" y="232"/>
                      <a:pt x="133" y="232"/>
                      <a:pt x="133" y="232"/>
                    </a:cubicBezTo>
                    <a:cubicBezTo>
                      <a:pt x="136" y="233"/>
                      <a:pt x="140" y="233"/>
                      <a:pt x="142" y="235"/>
                    </a:cubicBezTo>
                    <a:cubicBezTo>
                      <a:pt x="144" y="237"/>
                      <a:pt x="144" y="237"/>
                      <a:pt x="144" y="237"/>
                    </a:cubicBezTo>
                    <a:cubicBezTo>
                      <a:pt x="145" y="238"/>
                      <a:pt x="147" y="239"/>
                      <a:pt x="148" y="240"/>
                    </a:cubicBezTo>
                    <a:cubicBezTo>
                      <a:pt x="157" y="250"/>
                      <a:pt x="157" y="250"/>
                      <a:pt x="157" y="250"/>
                    </a:cubicBezTo>
                    <a:cubicBezTo>
                      <a:pt x="158" y="250"/>
                      <a:pt x="158" y="250"/>
                      <a:pt x="158" y="250"/>
                    </a:cubicBezTo>
                    <a:cubicBezTo>
                      <a:pt x="160" y="249"/>
                      <a:pt x="160" y="249"/>
                      <a:pt x="160" y="249"/>
                    </a:cubicBezTo>
                    <a:cubicBezTo>
                      <a:pt x="160" y="248"/>
                      <a:pt x="161" y="248"/>
                      <a:pt x="161" y="248"/>
                    </a:cubicBezTo>
                    <a:cubicBezTo>
                      <a:pt x="162" y="247"/>
                      <a:pt x="163" y="247"/>
                      <a:pt x="164" y="246"/>
                    </a:cubicBezTo>
                    <a:cubicBezTo>
                      <a:pt x="165" y="246"/>
                      <a:pt x="165" y="246"/>
                      <a:pt x="165" y="246"/>
                    </a:cubicBezTo>
                    <a:cubicBezTo>
                      <a:pt x="168" y="244"/>
                      <a:pt x="171" y="243"/>
                      <a:pt x="175" y="242"/>
                    </a:cubicBezTo>
                    <a:cubicBezTo>
                      <a:pt x="176" y="242"/>
                      <a:pt x="177" y="242"/>
                      <a:pt x="177" y="242"/>
                    </a:cubicBezTo>
                    <a:cubicBezTo>
                      <a:pt x="178" y="242"/>
                      <a:pt x="178" y="242"/>
                      <a:pt x="179" y="242"/>
                    </a:cubicBezTo>
                    <a:cubicBezTo>
                      <a:pt x="179" y="242"/>
                      <a:pt x="179" y="242"/>
                      <a:pt x="179" y="242"/>
                    </a:cubicBezTo>
                    <a:cubicBezTo>
                      <a:pt x="180" y="242"/>
                      <a:pt x="180" y="242"/>
                      <a:pt x="181" y="242"/>
                    </a:cubicBezTo>
                    <a:cubicBezTo>
                      <a:pt x="182" y="243"/>
                      <a:pt x="182" y="243"/>
                      <a:pt x="182" y="243"/>
                    </a:cubicBezTo>
                    <a:cubicBezTo>
                      <a:pt x="182" y="243"/>
                      <a:pt x="182" y="243"/>
                      <a:pt x="183" y="243"/>
                    </a:cubicBezTo>
                    <a:cubicBezTo>
                      <a:pt x="185" y="244"/>
                      <a:pt x="187" y="245"/>
                      <a:pt x="189" y="246"/>
                    </a:cubicBezTo>
                    <a:cubicBezTo>
                      <a:pt x="190" y="247"/>
                      <a:pt x="191" y="247"/>
                      <a:pt x="192" y="248"/>
                    </a:cubicBezTo>
                    <a:cubicBezTo>
                      <a:pt x="198" y="251"/>
                      <a:pt x="198" y="251"/>
                      <a:pt x="198" y="251"/>
                    </a:cubicBezTo>
                    <a:cubicBezTo>
                      <a:pt x="201" y="252"/>
                      <a:pt x="205" y="254"/>
                      <a:pt x="210" y="254"/>
                    </a:cubicBezTo>
                    <a:cubicBezTo>
                      <a:pt x="211" y="254"/>
                      <a:pt x="211" y="254"/>
                      <a:pt x="211" y="254"/>
                    </a:cubicBezTo>
                    <a:cubicBezTo>
                      <a:pt x="211" y="254"/>
                      <a:pt x="211" y="254"/>
                      <a:pt x="211" y="254"/>
                    </a:cubicBezTo>
                    <a:cubicBezTo>
                      <a:pt x="212" y="254"/>
                      <a:pt x="212" y="254"/>
                      <a:pt x="212" y="254"/>
                    </a:cubicBezTo>
                    <a:cubicBezTo>
                      <a:pt x="213" y="254"/>
                      <a:pt x="213" y="254"/>
                      <a:pt x="213" y="254"/>
                    </a:cubicBezTo>
                    <a:cubicBezTo>
                      <a:pt x="214" y="254"/>
                      <a:pt x="214" y="254"/>
                      <a:pt x="214" y="254"/>
                    </a:cubicBezTo>
                    <a:cubicBezTo>
                      <a:pt x="215" y="255"/>
                      <a:pt x="215" y="255"/>
                      <a:pt x="216" y="255"/>
                    </a:cubicBezTo>
                    <a:cubicBezTo>
                      <a:pt x="216" y="255"/>
                      <a:pt x="216" y="255"/>
                      <a:pt x="216" y="255"/>
                    </a:cubicBezTo>
                    <a:cubicBezTo>
                      <a:pt x="217" y="254"/>
                      <a:pt x="217" y="254"/>
                      <a:pt x="217" y="254"/>
                    </a:cubicBezTo>
                    <a:cubicBezTo>
                      <a:pt x="217" y="254"/>
                      <a:pt x="217" y="254"/>
                      <a:pt x="218" y="254"/>
                    </a:cubicBezTo>
                    <a:cubicBezTo>
                      <a:pt x="220" y="251"/>
                      <a:pt x="220" y="251"/>
                      <a:pt x="220" y="251"/>
                    </a:cubicBezTo>
                    <a:cubicBezTo>
                      <a:pt x="222" y="249"/>
                      <a:pt x="223" y="248"/>
                      <a:pt x="225" y="246"/>
                    </a:cubicBezTo>
                    <a:cubicBezTo>
                      <a:pt x="227" y="245"/>
                      <a:pt x="230" y="243"/>
                      <a:pt x="234" y="242"/>
                    </a:cubicBezTo>
                    <a:cubicBezTo>
                      <a:pt x="237" y="241"/>
                      <a:pt x="240" y="241"/>
                      <a:pt x="242" y="241"/>
                    </a:cubicBezTo>
                    <a:cubicBezTo>
                      <a:pt x="244" y="241"/>
                      <a:pt x="246" y="241"/>
                      <a:pt x="247" y="241"/>
                    </a:cubicBezTo>
                    <a:cubicBezTo>
                      <a:pt x="249" y="241"/>
                      <a:pt x="251" y="241"/>
                      <a:pt x="253" y="241"/>
                    </a:cubicBezTo>
                    <a:cubicBezTo>
                      <a:pt x="254" y="241"/>
                      <a:pt x="254" y="241"/>
                      <a:pt x="254" y="241"/>
                    </a:cubicBezTo>
                    <a:cubicBezTo>
                      <a:pt x="256" y="241"/>
                      <a:pt x="258" y="241"/>
                      <a:pt x="260" y="241"/>
                    </a:cubicBezTo>
                    <a:cubicBezTo>
                      <a:pt x="261" y="241"/>
                      <a:pt x="261" y="241"/>
                      <a:pt x="261" y="241"/>
                    </a:cubicBezTo>
                    <a:cubicBezTo>
                      <a:pt x="262" y="242"/>
                      <a:pt x="264" y="242"/>
                      <a:pt x="266" y="242"/>
                    </a:cubicBezTo>
                    <a:cubicBezTo>
                      <a:pt x="269" y="243"/>
                      <a:pt x="269" y="243"/>
                      <a:pt x="269" y="243"/>
                    </a:cubicBezTo>
                    <a:cubicBezTo>
                      <a:pt x="270" y="244"/>
                      <a:pt x="271" y="244"/>
                      <a:pt x="271" y="244"/>
                    </a:cubicBezTo>
                    <a:cubicBezTo>
                      <a:pt x="272" y="244"/>
                      <a:pt x="272" y="244"/>
                      <a:pt x="272" y="244"/>
                    </a:cubicBezTo>
                    <a:cubicBezTo>
                      <a:pt x="283" y="248"/>
                      <a:pt x="283" y="248"/>
                      <a:pt x="283" y="248"/>
                    </a:cubicBezTo>
                    <a:cubicBezTo>
                      <a:pt x="289" y="242"/>
                      <a:pt x="289" y="242"/>
                      <a:pt x="289" y="242"/>
                    </a:cubicBezTo>
                    <a:cubicBezTo>
                      <a:pt x="289" y="241"/>
                      <a:pt x="289" y="241"/>
                      <a:pt x="289" y="241"/>
                    </a:cubicBezTo>
                    <a:cubicBezTo>
                      <a:pt x="290" y="241"/>
                      <a:pt x="290" y="241"/>
                      <a:pt x="290" y="241"/>
                    </a:cubicBezTo>
                    <a:cubicBezTo>
                      <a:pt x="290" y="240"/>
                      <a:pt x="292" y="239"/>
                      <a:pt x="293" y="238"/>
                    </a:cubicBezTo>
                    <a:cubicBezTo>
                      <a:pt x="293" y="238"/>
                      <a:pt x="293" y="238"/>
                      <a:pt x="293" y="238"/>
                    </a:cubicBezTo>
                    <a:cubicBezTo>
                      <a:pt x="294" y="238"/>
                      <a:pt x="294" y="238"/>
                      <a:pt x="294" y="238"/>
                    </a:cubicBezTo>
                    <a:cubicBezTo>
                      <a:pt x="295" y="237"/>
                      <a:pt x="295" y="237"/>
                      <a:pt x="295" y="237"/>
                    </a:cubicBezTo>
                    <a:cubicBezTo>
                      <a:pt x="296" y="237"/>
                      <a:pt x="296" y="237"/>
                      <a:pt x="297" y="236"/>
                    </a:cubicBezTo>
                    <a:cubicBezTo>
                      <a:pt x="298" y="236"/>
                      <a:pt x="298" y="236"/>
                      <a:pt x="298" y="236"/>
                    </a:cubicBezTo>
                    <a:cubicBezTo>
                      <a:pt x="298" y="236"/>
                      <a:pt x="299" y="235"/>
                      <a:pt x="299" y="235"/>
                    </a:cubicBezTo>
                    <a:cubicBezTo>
                      <a:pt x="301" y="235"/>
                      <a:pt x="302" y="234"/>
                      <a:pt x="304" y="234"/>
                    </a:cubicBezTo>
                    <a:cubicBezTo>
                      <a:pt x="304" y="233"/>
                      <a:pt x="305" y="233"/>
                      <a:pt x="306" y="233"/>
                    </a:cubicBezTo>
                    <a:cubicBezTo>
                      <a:pt x="307" y="233"/>
                      <a:pt x="308" y="233"/>
                      <a:pt x="308" y="233"/>
                    </a:cubicBezTo>
                    <a:cubicBezTo>
                      <a:pt x="308" y="232"/>
                      <a:pt x="308" y="230"/>
                      <a:pt x="307" y="229"/>
                    </a:cubicBezTo>
                    <a:cubicBezTo>
                      <a:pt x="307" y="226"/>
                      <a:pt x="306" y="223"/>
                      <a:pt x="305" y="219"/>
                    </a:cubicBezTo>
                    <a:cubicBezTo>
                      <a:pt x="305" y="218"/>
                      <a:pt x="305" y="218"/>
                      <a:pt x="306" y="217"/>
                    </a:cubicBezTo>
                    <a:cubicBezTo>
                      <a:pt x="306" y="217"/>
                      <a:pt x="306" y="217"/>
                      <a:pt x="306" y="217"/>
                    </a:cubicBezTo>
                    <a:cubicBezTo>
                      <a:pt x="306" y="216"/>
                      <a:pt x="306" y="216"/>
                      <a:pt x="306" y="216"/>
                    </a:cubicBezTo>
                    <a:cubicBezTo>
                      <a:pt x="308" y="214"/>
                      <a:pt x="308" y="214"/>
                      <a:pt x="308" y="214"/>
                    </a:cubicBezTo>
                    <a:cubicBezTo>
                      <a:pt x="308" y="215"/>
                      <a:pt x="308" y="215"/>
                      <a:pt x="308" y="215"/>
                    </a:cubicBezTo>
                    <a:cubicBezTo>
                      <a:pt x="309" y="214"/>
                      <a:pt x="309" y="214"/>
                      <a:pt x="310" y="214"/>
                    </a:cubicBezTo>
                    <a:cubicBezTo>
                      <a:pt x="310" y="214"/>
                      <a:pt x="310" y="214"/>
                      <a:pt x="310" y="214"/>
                    </a:cubicBezTo>
                    <a:cubicBezTo>
                      <a:pt x="321" y="195"/>
                      <a:pt x="321" y="195"/>
                      <a:pt x="321" y="195"/>
                    </a:cubicBezTo>
                    <a:cubicBezTo>
                      <a:pt x="325" y="188"/>
                      <a:pt x="329" y="184"/>
                      <a:pt x="333" y="179"/>
                    </a:cubicBezTo>
                    <a:cubicBezTo>
                      <a:pt x="334" y="178"/>
                      <a:pt x="334" y="178"/>
                      <a:pt x="334" y="178"/>
                    </a:cubicBezTo>
                    <a:cubicBezTo>
                      <a:pt x="337" y="175"/>
                      <a:pt x="341" y="171"/>
                      <a:pt x="344" y="167"/>
                    </a:cubicBezTo>
                    <a:cubicBezTo>
                      <a:pt x="350" y="161"/>
                      <a:pt x="350" y="161"/>
                      <a:pt x="350" y="161"/>
                    </a:cubicBezTo>
                    <a:cubicBezTo>
                      <a:pt x="350" y="161"/>
                      <a:pt x="351" y="160"/>
                      <a:pt x="351" y="160"/>
                    </a:cubicBezTo>
                    <a:cubicBezTo>
                      <a:pt x="351" y="160"/>
                      <a:pt x="351" y="160"/>
                      <a:pt x="351" y="160"/>
                    </a:cubicBezTo>
                    <a:cubicBezTo>
                      <a:pt x="352" y="159"/>
                      <a:pt x="352" y="159"/>
                      <a:pt x="353" y="158"/>
                    </a:cubicBezTo>
                    <a:cubicBezTo>
                      <a:pt x="353" y="158"/>
                      <a:pt x="353" y="158"/>
                      <a:pt x="353" y="158"/>
                    </a:cubicBezTo>
                    <a:cubicBezTo>
                      <a:pt x="353" y="157"/>
                      <a:pt x="353" y="156"/>
                      <a:pt x="353" y="155"/>
                    </a:cubicBezTo>
                    <a:cubicBezTo>
                      <a:pt x="353" y="155"/>
                      <a:pt x="353" y="154"/>
                      <a:pt x="353" y="154"/>
                    </a:cubicBezTo>
                    <a:cubicBezTo>
                      <a:pt x="354" y="140"/>
                      <a:pt x="354" y="140"/>
                      <a:pt x="354" y="140"/>
                    </a:cubicBezTo>
                    <a:cubicBezTo>
                      <a:pt x="350" y="139"/>
                      <a:pt x="350" y="139"/>
                      <a:pt x="350" y="139"/>
                    </a:cubicBezTo>
                    <a:cubicBezTo>
                      <a:pt x="354" y="138"/>
                      <a:pt x="354" y="138"/>
                      <a:pt x="354" y="138"/>
                    </a:cubicBezTo>
                    <a:cubicBezTo>
                      <a:pt x="354" y="138"/>
                      <a:pt x="354" y="138"/>
                      <a:pt x="354" y="138"/>
                    </a:cubicBezTo>
                    <a:cubicBezTo>
                      <a:pt x="355" y="126"/>
                      <a:pt x="356" y="110"/>
                      <a:pt x="358" y="96"/>
                    </a:cubicBezTo>
                    <a:cubicBezTo>
                      <a:pt x="358" y="94"/>
                      <a:pt x="358" y="94"/>
                      <a:pt x="358" y="94"/>
                    </a:cubicBezTo>
                    <a:cubicBezTo>
                      <a:pt x="358" y="89"/>
                      <a:pt x="359" y="85"/>
                      <a:pt x="362" y="79"/>
                    </a:cubicBezTo>
                    <a:cubicBezTo>
                      <a:pt x="362" y="79"/>
                      <a:pt x="362" y="79"/>
                      <a:pt x="363" y="78"/>
                    </a:cubicBezTo>
                    <a:cubicBezTo>
                      <a:pt x="363" y="77"/>
                      <a:pt x="364" y="77"/>
                      <a:pt x="364" y="76"/>
                    </a:cubicBezTo>
                    <a:cubicBezTo>
                      <a:pt x="364" y="76"/>
                      <a:pt x="364" y="76"/>
                      <a:pt x="364" y="76"/>
                    </a:cubicBezTo>
                    <a:cubicBezTo>
                      <a:pt x="364" y="75"/>
                      <a:pt x="364" y="75"/>
                      <a:pt x="364" y="75"/>
                    </a:cubicBezTo>
                    <a:cubicBezTo>
                      <a:pt x="364" y="75"/>
                      <a:pt x="363" y="74"/>
                      <a:pt x="361" y="72"/>
                    </a:cubicBezTo>
                    <a:cubicBezTo>
                      <a:pt x="360" y="71"/>
                      <a:pt x="360" y="71"/>
                      <a:pt x="359" y="70"/>
                    </a:cubicBezTo>
                    <a:cubicBezTo>
                      <a:pt x="359" y="70"/>
                      <a:pt x="359" y="70"/>
                      <a:pt x="358" y="69"/>
                    </a:cubicBezTo>
                    <a:cubicBezTo>
                      <a:pt x="357" y="68"/>
                      <a:pt x="357" y="68"/>
                      <a:pt x="357" y="68"/>
                    </a:cubicBezTo>
                    <a:cubicBezTo>
                      <a:pt x="357" y="68"/>
                      <a:pt x="357" y="68"/>
                      <a:pt x="357" y="68"/>
                    </a:cubicBezTo>
                    <a:cubicBezTo>
                      <a:pt x="355" y="66"/>
                      <a:pt x="355" y="64"/>
                      <a:pt x="355" y="62"/>
                    </a:cubicBezTo>
                    <a:cubicBezTo>
                      <a:pt x="355" y="61"/>
                      <a:pt x="355" y="60"/>
                      <a:pt x="355" y="60"/>
                    </a:cubicBezTo>
                    <a:cubicBezTo>
                      <a:pt x="354" y="59"/>
                      <a:pt x="354" y="59"/>
                      <a:pt x="354" y="59"/>
                    </a:cubicBezTo>
                    <a:cubicBezTo>
                      <a:pt x="354" y="58"/>
                      <a:pt x="353" y="57"/>
                      <a:pt x="352" y="55"/>
                    </a:cubicBezTo>
                    <a:cubicBezTo>
                      <a:pt x="352" y="54"/>
                      <a:pt x="351" y="53"/>
                      <a:pt x="350" y="53"/>
                    </a:cubicBezTo>
                    <a:cubicBezTo>
                      <a:pt x="350" y="52"/>
                      <a:pt x="350" y="52"/>
                      <a:pt x="350" y="52"/>
                    </a:cubicBezTo>
                    <a:cubicBezTo>
                      <a:pt x="349" y="51"/>
                      <a:pt x="349" y="51"/>
                      <a:pt x="348" y="50"/>
                    </a:cubicBezTo>
                    <a:cubicBezTo>
                      <a:pt x="346" y="46"/>
                      <a:pt x="346" y="42"/>
                      <a:pt x="346" y="39"/>
                    </a:cubicBezTo>
                    <a:cubicBezTo>
                      <a:pt x="345" y="37"/>
                      <a:pt x="345" y="37"/>
                      <a:pt x="345" y="37"/>
                    </a:cubicBezTo>
                    <a:cubicBezTo>
                      <a:pt x="345" y="36"/>
                      <a:pt x="345" y="36"/>
                      <a:pt x="345" y="36"/>
                    </a:cubicBezTo>
                    <a:cubicBezTo>
                      <a:pt x="345" y="35"/>
                      <a:pt x="345" y="35"/>
                      <a:pt x="345" y="35"/>
                    </a:cubicBezTo>
                    <a:cubicBezTo>
                      <a:pt x="345" y="33"/>
                      <a:pt x="345" y="31"/>
                      <a:pt x="345" y="30"/>
                    </a:cubicBezTo>
                    <a:cubicBezTo>
                      <a:pt x="344" y="26"/>
                      <a:pt x="344" y="21"/>
                      <a:pt x="343" y="17"/>
                    </a:cubicBezTo>
                    <a:cubicBezTo>
                      <a:pt x="342" y="16"/>
                      <a:pt x="342" y="16"/>
                      <a:pt x="342" y="16"/>
                    </a:cubicBezTo>
                    <a:cubicBezTo>
                      <a:pt x="342" y="16"/>
                      <a:pt x="342" y="15"/>
                      <a:pt x="342" y="15"/>
                    </a:cubicBezTo>
                    <a:cubicBezTo>
                      <a:pt x="332" y="19"/>
                      <a:pt x="332" y="19"/>
                      <a:pt x="332" y="19"/>
                    </a:cubicBezTo>
                    <a:cubicBezTo>
                      <a:pt x="331" y="20"/>
                      <a:pt x="329" y="21"/>
                      <a:pt x="327" y="21"/>
                    </a:cubicBezTo>
                    <a:cubicBezTo>
                      <a:pt x="325" y="21"/>
                      <a:pt x="324" y="21"/>
                      <a:pt x="322" y="20"/>
                    </a:cubicBezTo>
                    <a:cubicBezTo>
                      <a:pt x="321" y="19"/>
                      <a:pt x="320" y="18"/>
                      <a:pt x="319" y="17"/>
                    </a:cubicBezTo>
                    <a:cubicBezTo>
                      <a:pt x="319" y="17"/>
                      <a:pt x="319" y="17"/>
                      <a:pt x="319" y="17"/>
                    </a:cubicBezTo>
                    <a:cubicBezTo>
                      <a:pt x="318" y="16"/>
                      <a:pt x="318" y="16"/>
                      <a:pt x="317" y="15"/>
                    </a:cubicBezTo>
                    <a:cubicBezTo>
                      <a:pt x="313" y="12"/>
                      <a:pt x="313" y="12"/>
                      <a:pt x="313" y="12"/>
                    </a:cubicBezTo>
                    <a:cubicBezTo>
                      <a:pt x="311" y="10"/>
                      <a:pt x="309" y="8"/>
                      <a:pt x="307" y="8"/>
                    </a:cubicBezTo>
                    <a:cubicBezTo>
                      <a:pt x="274" y="0"/>
                      <a:pt x="274" y="0"/>
                      <a:pt x="2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 name="Freeform 191">
                <a:extLst>
                  <a:ext uri="{FF2B5EF4-FFF2-40B4-BE49-F238E27FC236}">
                    <a16:creationId xmlns:a16="http://schemas.microsoft.com/office/drawing/2014/main" id="{E56CABCA-3E0E-4262-A8B0-1FD33946E518}"/>
                  </a:ext>
                </a:extLst>
              </p:cNvPr>
              <p:cNvSpPr>
                <a:spLocks/>
              </p:cNvSpPr>
              <p:nvPr/>
            </p:nvSpPr>
            <p:spPr bwMode="auto">
              <a:xfrm>
                <a:off x="5043" y="935"/>
                <a:ext cx="608" cy="570"/>
              </a:xfrm>
              <a:custGeom>
                <a:avLst/>
                <a:gdLst>
                  <a:gd name="T0" fmla="*/ 22 w 257"/>
                  <a:gd name="T1" fmla="*/ 1 h 241"/>
                  <a:gd name="T2" fmla="*/ 8 w 257"/>
                  <a:gd name="T3" fmla="*/ 2 h 241"/>
                  <a:gd name="T4" fmla="*/ 4 w 257"/>
                  <a:gd name="T5" fmla="*/ 8 h 241"/>
                  <a:gd name="T6" fmla="*/ 3 w 257"/>
                  <a:gd name="T7" fmla="*/ 12 h 241"/>
                  <a:gd name="T8" fmla="*/ 4 w 257"/>
                  <a:gd name="T9" fmla="*/ 17 h 241"/>
                  <a:gd name="T10" fmla="*/ 4 w 257"/>
                  <a:gd name="T11" fmla="*/ 30 h 241"/>
                  <a:gd name="T12" fmla="*/ 2 w 257"/>
                  <a:gd name="T13" fmla="*/ 34 h 241"/>
                  <a:gd name="T14" fmla="*/ 0 w 257"/>
                  <a:gd name="T15" fmla="*/ 40 h 241"/>
                  <a:gd name="T16" fmla="*/ 2 w 257"/>
                  <a:gd name="T17" fmla="*/ 46 h 241"/>
                  <a:gd name="T18" fmla="*/ 5 w 257"/>
                  <a:gd name="T19" fmla="*/ 65 h 241"/>
                  <a:gd name="T20" fmla="*/ 6 w 257"/>
                  <a:gd name="T21" fmla="*/ 97 h 241"/>
                  <a:gd name="T22" fmla="*/ 6 w 257"/>
                  <a:gd name="T23" fmla="*/ 241 h 241"/>
                  <a:gd name="T24" fmla="*/ 152 w 257"/>
                  <a:gd name="T25" fmla="*/ 238 h 241"/>
                  <a:gd name="T26" fmla="*/ 157 w 257"/>
                  <a:gd name="T27" fmla="*/ 236 h 241"/>
                  <a:gd name="T28" fmla="*/ 186 w 257"/>
                  <a:gd name="T29" fmla="*/ 241 h 241"/>
                  <a:gd name="T30" fmla="*/ 189 w 257"/>
                  <a:gd name="T31" fmla="*/ 240 h 241"/>
                  <a:gd name="T32" fmla="*/ 196 w 257"/>
                  <a:gd name="T33" fmla="*/ 241 h 241"/>
                  <a:gd name="T34" fmla="*/ 216 w 257"/>
                  <a:gd name="T35" fmla="*/ 239 h 241"/>
                  <a:gd name="T36" fmla="*/ 226 w 257"/>
                  <a:gd name="T37" fmla="*/ 234 h 241"/>
                  <a:gd name="T38" fmla="*/ 231 w 257"/>
                  <a:gd name="T39" fmla="*/ 231 h 241"/>
                  <a:gd name="T40" fmla="*/ 232 w 257"/>
                  <a:gd name="T41" fmla="*/ 229 h 241"/>
                  <a:gd name="T42" fmla="*/ 240 w 257"/>
                  <a:gd name="T43" fmla="*/ 219 h 241"/>
                  <a:gd name="T44" fmla="*/ 249 w 257"/>
                  <a:gd name="T45" fmla="*/ 215 h 241"/>
                  <a:gd name="T46" fmla="*/ 253 w 257"/>
                  <a:gd name="T47" fmla="*/ 213 h 241"/>
                  <a:gd name="T48" fmla="*/ 252 w 257"/>
                  <a:gd name="T49" fmla="*/ 210 h 241"/>
                  <a:gd name="T50" fmla="*/ 251 w 257"/>
                  <a:gd name="T51" fmla="*/ 195 h 241"/>
                  <a:gd name="T52" fmla="*/ 253 w 257"/>
                  <a:gd name="T53" fmla="*/ 195 h 241"/>
                  <a:gd name="T54" fmla="*/ 257 w 257"/>
                  <a:gd name="T55" fmla="*/ 195 h 241"/>
                  <a:gd name="T56" fmla="*/ 250 w 257"/>
                  <a:gd name="T57" fmla="*/ 191 h 241"/>
                  <a:gd name="T58" fmla="*/ 218 w 257"/>
                  <a:gd name="T59" fmla="*/ 134 h 241"/>
                  <a:gd name="T60" fmla="*/ 214 w 257"/>
                  <a:gd name="T61" fmla="*/ 127 h 241"/>
                  <a:gd name="T62" fmla="*/ 208 w 257"/>
                  <a:gd name="T63" fmla="*/ 105 h 241"/>
                  <a:gd name="T64" fmla="*/ 199 w 257"/>
                  <a:gd name="T65" fmla="*/ 91 h 241"/>
                  <a:gd name="T66" fmla="*/ 189 w 257"/>
                  <a:gd name="T67" fmla="*/ 79 h 241"/>
                  <a:gd name="T68" fmla="*/ 176 w 257"/>
                  <a:gd name="T69" fmla="*/ 52 h 241"/>
                  <a:gd name="T70" fmla="*/ 180 w 257"/>
                  <a:gd name="T71" fmla="*/ 43 h 241"/>
                  <a:gd name="T72" fmla="*/ 185 w 257"/>
                  <a:gd name="T73" fmla="*/ 56 h 241"/>
                  <a:gd name="T74" fmla="*/ 190 w 257"/>
                  <a:gd name="T75" fmla="*/ 62 h 241"/>
                  <a:gd name="T76" fmla="*/ 197 w 257"/>
                  <a:gd name="T77" fmla="*/ 79 h 241"/>
                  <a:gd name="T78" fmla="*/ 221 w 257"/>
                  <a:gd name="T79" fmla="*/ 100 h 241"/>
                  <a:gd name="T80" fmla="*/ 236 w 257"/>
                  <a:gd name="T81" fmla="*/ 56 h 241"/>
                  <a:gd name="T82" fmla="*/ 220 w 257"/>
                  <a:gd name="T83" fmla="*/ 8 h 241"/>
                  <a:gd name="T84" fmla="*/ 210 w 257"/>
                  <a:gd name="T85" fmla="*/ 12 h 241"/>
                  <a:gd name="T86" fmla="*/ 193 w 257"/>
                  <a:gd name="T87" fmla="*/ 15 h 241"/>
                  <a:gd name="T88" fmla="*/ 192 w 257"/>
                  <a:gd name="T89" fmla="*/ 15 h 241"/>
                  <a:gd name="T90" fmla="*/ 186 w 257"/>
                  <a:gd name="T91" fmla="*/ 15 h 241"/>
                  <a:gd name="T92" fmla="*/ 173 w 257"/>
                  <a:gd name="T93" fmla="*/ 9 h 241"/>
                  <a:gd name="T94" fmla="*/ 163 w 257"/>
                  <a:gd name="T95" fmla="*/ 9 h 241"/>
                  <a:gd name="T96" fmla="*/ 166 w 257"/>
                  <a:gd name="T97" fmla="*/ 2 h 241"/>
                  <a:gd name="T98" fmla="*/ 158 w 257"/>
                  <a:gd name="T99" fmla="*/ 4 h 241"/>
                  <a:gd name="T100" fmla="*/ 145 w 257"/>
                  <a:gd name="T101" fmla="*/ 1 h 241"/>
                  <a:gd name="T102" fmla="*/ 125 w 257"/>
                  <a:gd name="T103" fmla="*/ 9 h 241"/>
                  <a:gd name="T104" fmla="*/ 126 w 257"/>
                  <a:gd name="T105" fmla="*/ 10 h 241"/>
                  <a:gd name="T106" fmla="*/ 123 w 257"/>
                  <a:gd name="T107" fmla="*/ 9 h 241"/>
                  <a:gd name="T108" fmla="*/ 118 w 257"/>
                  <a:gd name="T109" fmla="*/ 12 h 241"/>
                  <a:gd name="T110" fmla="*/ 99 w 257"/>
                  <a:gd name="T111" fmla="*/ 20 h 241"/>
                  <a:gd name="T112" fmla="*/ 75 w 257"/>
                  <a:gd name="T113" fmla="*/ 14 h 241"/>
                  <a:gd name="T114" fmla="*/ 60 w 257"/>
                  <a:gd name="T115" fmla="*/ 9 h 241"/>
                  <a:gd name="T116" fmla="*/ 25 w 257"/>
                  <a:gd name="T1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241">
                    <a:moveTo>
                      <a:pt x="25" y="0"/>
                    </a:moveTo>
                    <a:cubicBezTo>
                      <a:pt x="24" y="0"/>
                      <a:pt x="23" y="1"/>
                      <a:pt x="22" y="1"/>
                    </a:cubicBezTo>
                    <a:cubicBezTo>
                      <a:pt x="19" y="1"/>
                      <a:pt x="15" y="3"/>
                      <a:pt x="11" y="3"/>
                    </a:cubicBezTo>
                    <a:cubicBezTo>
                      <a:pt x="10" y="3"/>
                      <a:pt x="9" y="3"/>
                      <a:pt x="8" y="2"/>
                    </a:cubicBezTo>
                    <a:cubicBezTo>
                      <a:pt x="7" y="3"/>
                      <a:pt x="7" y="3"/>
                      <a:pt x="7" y="3"/>
                    </a:cubicBezTo>
                    <a:cubicBezTo>
                      <a:pt x="6" y="5"/>
                      <a:pt x="4" y="6"/>
                      <a:pt x="4" y="8"/>
                    </a:cubicBezTo>
                    <a:cubicBezTo>
                      <a:pt x="3" y="9"/>
                      <a:pt x="3" y="9"/>
                      <a:pt x="3" y="9"/>
                    </a:cubicBezTo>
                    <a:cubicBezTo>
                      <a:pt x="3" y="9"/>
                      <a:pt x="3" y="11"/>
                      <a:pt x="3" y="12"/>
                    </a:cubicBezTo>
                    <a:cubicBezTo>
                      <a:pt x="4" y="13"/>
                      <a:pt x="4" y="15"/>
                      <a:pt x="4" y="16"/>
                    </a:cubicBezTo>
                    <a:cubicBezTo>
                      <a:pt x="4" y="17"/>
                      <a:pt x="4" y="17"/>
                      <a:pt x="4" y="17"/>
                    </a:cubicBezTo>
                    <a:cubicBezTo>
                      <a:pt x="5" y="18"/>
                      <a:pt x="5" y="19"/>
                      <a:pt x="5" y="21"/>
                    </a:cubicBezTo>
                    <a:cubicBezTo>
                      <a:pt x="6" y="23"/>
                      <a:pt x="6" y="26"/>
                      <a:pt x="4" y="30"/>
                    </a:cubicBezTo>
                    <a:cubicBezTo>
                      <a:pt x="4" y="31"/>
                      <a:pt x="4" y="31"/>
                      <a:pt x="4" y="31"/>
                    </a:cubicBezTo>
                    <a:cubicBezTo>
                      <a:pt x="4" y="32"/>
                      <a:pt x="3" y="33"/>
                      <a:pt x="2" y="34"/>
                    </a:cubicBezTo>
                    <a:cubicBezTo>
                      <a:pt x="1" y="35"/>
                      <a:pt x="0" y="37"/>
                      <a:pt x="0" y="38"/>
                    </a:cubicBezTo>
                    <a:cubicBezTo>
                      <a:pt x="0" y="40"/>
                      <a:pt x="0" y="40"/>
                      <a:pt x="0" y="40"/>
                    </a:cubicBezTo>
                    <a:cubicBezTo>
                      <a:pt x="1" y="42"/>
                      <a:pt x="1" y="43"/>
                      <a:pt x="2" y="45"/>
                    </a:cubicBezTo>
                    <a:cubicBezTo>
                      <a:pt x="2" y="45"/>
                      <a:pt x="2" y="46"/>
                      <a:pt x="2" y="46"/>
                    </a:cubicBezTo>
                    <a:cubicBezTo>
                      <a:pt x="2" y="47"/>
                      <a:pt x="2" y="47"/>
                      <a:pt x="2" y="48"/>
                    </a:cubicBezTo>
                    <a:cubicBezTo>
                      <a:pt x="4" y="53"/>
                      <a:pt x="5" y="58"/>
                      <a:pt x="5" y="65"/>
                    </a:cubicBezTo>
                    <a:cubicBezTo>
                      <a:pt x="6" y="68"/>
                      <a:pt x="6" y="72"/>
                      <a:pt x="6" y="75"/>
                    </a:cubicBezTo>
                    <a:cubicBezTo>
                      <a:pt x="6" y="82"/>
                      <a:pt x="6" y="90"/>
                      <a:pt x="6" y="97"/>
                    </a:cubicBezTo>
                    <a:cubicBezTo>
                      <a:pt x="6" y="106"/>
                      <a:pt x="6" y="106"/>
                      <a:pt x="6" y="106"/>
                    </a:cubicBezTo>
                    <a:cubicBezTo>
                      <a:pt x="6" y="241"/>
                      <a:pt x="6" y="241"/>
                      <a:pt x="6" y="241"/>
                    </a:cubicBezTo>
                    <a:cubicBezTo>
                      <a:pt x="151" y="239"/>
                      <a:pt x="151" y="239"/>
                      <a:pt x="151" y="239"/>
                    </a:cubicBezTo>
                    <a:cubicBezTo>
                      <a:pt x="152" y="238"/>
                      <a:pt x="152" y="238"/>
                      <a:pt x="152" y="238"/>
                    </a:cubicBezTo>
                    <a:cubicBezTo>
                      <a:pt x="153" y="237"/>
                      <a:pt x="154" y="235"/>
                      <a:pt x="156" y="235"/>
                    </a:cubicBezTo>
                    <a:cubicBezTo>
                      <a:pt x="156" y="235"/>
                      <a:pt x="157" y="235"/>
                      <a:pt x="157" y="236"/>
                    </a:cubicBezTo>
                    <a:cubicBezTo>
                      <a:pt x="159" y="237"/>
                      <a:pt x="160" y="239"/>
                      <a:pt x="160" y="241"/>
                    </a:cubicBezTo>
                    <a:cubicBezTo>
                      <a:pt x="186" y="241"/>
                      <a:pt x="186" y="241"/>
                      <a:pt x="186" y="241"/>
                    </a:cubicBezTo>
                    <a:cubicBezTo>
                      <a:pt x="187" y="241"/>
                      <a:pt x="188" y="241"/>
                      <a:pt x="188" y="241"/>
                    </a:cubicBezTo>
                    <a:cubicBezTo>
                      <a:pt x="189" y="240"/>
                      <a:pt x="189" y="240"/>
                      <a:pt x="189" y="240"/>
                    </a:cubicBezTo>
                    <a:cubicBezTo>
                      <a:pt x="190" y="240"/>
                      <a:pt x="191" y="240"/>
                      <a:pt x="192" y="240"/>
                    </a:cubicBezTo>
                    <a:cubicBezTo>
                      <a:pt x="194" y="240"/>
                      <a:pt x="195" y="240"/>
                      <a:pt x="196" y="241"/>
                    </a:cubicBezTo>
                    <a:cubicBezTo>
                      <a:pt x="216" y="241"/>
                      <a:pt x="216" y="241"/>
                      <a:pt x="216" y="241"/>
                    </a:cubicBezTo>
                    <a:cubicBezTo>
                      <a:pt x="216" y="240"/>
                      <a:pt x="216" y="240"/>
                      <a:pt x="216" y="239"/>
                    </a:cubicBezTo>
                    <a:cubicBezTo>
                      <a:pt x="216" y="239"/>
                      <a:pt x="217" y="238"/>
                      <a:pt x="218" y="237"/>
                    </a:cubicBezTo>
                    <a:cubicBezTo>
                      <a:pt x="220" y="235"/>
                      <a:pt x="223" y="234"/>
                      <a:pt x="226" y="234"/>
                    </a:cubicBezTo>
                    <a:cubicBezTo>
                      <a:pt x="227" y="234"/>
                      <a:pt x="227" y="234"/>
                      <a:pt x="227" y="234"/>
                    </a:cubicBezTo>
                    <a:cubicBezTo>
                      <a:pt x="229" y="234"/>
                      <a:pt x="230" y="234"/>
                      <a:pt x="231" y="231"/>
                    </a:cubicBezTo>
                    <a:cubicBezTo>
                      <a:pt x="231" y="230"/>
                      <a:pt x="232" y="230"/>
                      <a:pt x="232" y="229"/>
                    </a:cubicBezTo>
                    <a:cubicBezTo>
                      <a:pt x="232" y="229"/>
                      <a:pt x="232" y="229"/>
                      <a:pt x="232" y="229"/>
                    </a:cubicBezTo>
                    <a:cubicBezTo>
                      <a:pt x="233" y="226"/>
                      <a:pt x="234" y="222"/>
                      <a:pt x="237" y="220"/>
                    </a:cubicBezTo>
                    <a:cubicBezTo>
                      <a:pt x="238" y="220"/>
                      <a:pt x="239" y="219"/>
                      <a:pt x="240" y="219"/>
                    </a:cubicBezTo>
                    <a:cubicBezTo>
                      <a:pt x="242" y="218"/>
                      <a:pt x="243" y="217"/>
                      <a:pt x="245" y="217"/>
                    </a:cubicBezTo>
                    <a:cubicBezTo>
                      <a:pt x="246" y="216"/>
                      <a:pt x="247" y="216"/>
                      <a:pt x="249" y="215"/>
                    </a:cubicBezTo>
                    <a:cubicBezTo>
                      <a:pt x="249" y="214"/>
                      <a:pt x="250" y="214"/>
                      <a:pt x="251" y="214"/>
                    </a:cubicBezTo>
                    <a:cubicBezTo>
                      <a:pt x="251" y="213"/>
                      <a:pt x="252" y="213"/>
                      <a:pt x="253" y="213"/>
                    </a:cubicBezTo>
                    <a:cubicBezTo>
                      <a:pt x="253" y="212"/>
                      <a:pt x="253" y="212"/>
                      <a:pt x="253" y="212"/>
                    </a:cubicBezTo>
                    <a:cubicBezTo>
                      <a:pt x="253" y="212"/>
                      <a:pt x="253" y="211"/>
                      <a:pt x="252" y="210"/>
                    </a:cubicBezTo>
                    <a:cubicBezTo>
                      <a:pt x="252" y="207"/>
                      <a:pt x="251" y="204"/>
                      <a:pt x="251" y="201"/>
                    </a:cubicBezTo>
                    <a:cubicBezTo>
                      <a:pt x="251" y="200"/>
                      <a:pt x="249" y="196"/>
                      <a:pt x="251" y="195"/>
                    </a:cubicBezTo>
                    <a:cubicBezTo>
                      <a:pt x="251" y="195"/>
                      <a:pt x="251" y="195"/>
                      <a:pt x="251" y="195"/>
                    </a:cubicBezTo>
                    <a:cubicBezTo>
                      <a:pt x="252" y="195"/>
                      <a:pt x="252" y="195"/>
                      <a:pt x="253" y="195"/>
                    </a:cubicBezTo>
                    <a:cubicBezTo>
                      <a:pt x="254" y="195"/>
                      <a:pt x="255" y="196"/>
                      <a:pt x="256" y="196"/>
                    </a:cubicBezTo>
                    <a:cubicBezTo>
                      <a:pt x="256" y="196"/>
                      <a:pt x="256" y="196"/>
                      <a:pt x="257" y="195"/>
                    </a:cubicBezTo>
                    <a:cubicBezTo>
                      <a:pt x="255" y="195"/>
                      <a:pt x="252" y="191"/>
                      <a:pt x="251" y="191"/>
                    </a:cubicBezTo>
                    <a:cubicBezTo>
                      <a:pt x="251" y="191"/>
                      <a:pt x="251" y="191"/>
                      <a:pt x="250" y="191"/>
                    </a:cubicBezTo>
                    <a:cubicBezTo>
                      <a:pt x="247" y="186"/>
                      <a:pt x="243" y="182"/>
                      <a:pt x="240" y="177"/>
                    </a:cubicBezTo>
                    <a:cubicBezTo>
                      <a:pt x="233" y="163"/>
                      <a:pt x="226" y="148"/>
                      <a:pt x="218" y="134"/>
                    </a:cubicBezTo>
                    <a:cubicBezTo>
                      <a:pt x="217" y="132"/>
                      <a:pt x="216" y="130"/>
                      <a:pt x="215" y="128"/>
                    </a:cubicBezTo>
                    <a:cubicBezTo>
                      <a:pt x="215" y="127"/>
                      <a:pt x="214" y="128"/>
                      <a:pt x="214" y="127"/>
                    </a:cubicBezTo>
                    <a:cubicBezTo>
                      <a:pt x="214" y="126"/>
                      <a:pt x="215" y="125"/>
                      <a:pt x="215" y="124"/>
                    </a:cubicBezTo>
                    <a:cubicBezTo>
                      <a:pt x="215" y="118"/>
                      <a:pt x="210" y="110"/>
                      <a:pt x="208" y="105"/>
                    </a:cubicBezTo>
                    <a:cubicBezTo>
                      <a:pt x="208" y="103"/>
                      <a:pt x="207" y="98"/>
                      <a:pt x="205" y="97"/>
                    </a:cubicBezTo>
                    <a:cubicBezTo>
                      <a:pt x="203" y="95"/>
                      <a:pt x="201" y="93"/>
                      <a:pt x="199" y="91"/>
                    </a:cubicBezTo>
                    <a:cubicBezTo>
                      <a:pt x="198" y="90"/>
                      <a:pt x="196" y="88"/>
                      <a:pt x="195" y="87"/>
                    </a:cubicBezTo>
                    <a:cubicBezTo>
                      <a:pt x="193" y="84"/>
                      <a:pt x="191" y="81"/>
                      <a:pt x="189" y="79"/>
                    </a:cubicBezTo>
                    <a:cubicBezTo>
                      <a:pt x="186" y="75"/>
                      <a:pt x="185" y="69"/>
                      <a:pt x="184" y="65"/>
                    </a:cubicBezTo>
                    <a:cubicBezTo>
                      <a:pt x="182" y="61"/>
                      <a:pt x="177" y="57"/>
                      <a:pt x="176" y="52"/>
                    </a:cubicBezTo>
                    <a:cubicBezTo>
                      <a:pt x="176" y="50"/>
                      <a:pt x="178" y="49"/>
                      <a:pt x="178" y="47"/>
                    </a:cubicBezTo>
                    <a:cubicBezTo>
                      <a:pt x="179" y="46"/>
                      <a:pt x="179" y="44"/>
                      <a:pt x="180" y="43"/>
                    </a:cubicBezTo>
                    <a:cubicBezTo>
                      <a:pt x="180" y="43"/>
                      <a:pt x="180" y="43"/>
                      <a:pt x="181" y="43"/>
                    </a:cubicBezTo>
                    <a:cubicBezTo>
                      <a:pt x="183" y="43"/>
                      <a:pt x="185" y="54"/>
                      <a:pt x="185" y="56"/>
                    </a:cubicBezTo>
                    <a:cubicBezTo>
                      <a:pt x="185" y="56"/>
                      <a:pt x="185" y="56"/>
                      <a:pt x="185" y="56"/>
                    </a:cubicBezTo>
                    <a:cubicBezTo>
                      <a:pt x="187" y="58"/>
                      <a:pt x="188" y="60"/>
                      <a:pt x="190" y="62"/>
                    </a:cubicBezTo>
                    <a:cubicBezTo>
                      <a:pt x="192" y="64"/>
                      <a:pt x="195" y="66"/>
                      <a:pt x="196" y="68"/>
                    </a:cubicBezTo>
                    <a:cubicBezTo>
                      <a:pt x="197" y="71"/>
                      <a:pt x="196" y="76"/>
                      <a:pt x="197" y="79"/>
                    </a:cubicBezTo>
                    <a:cubicBezTo>
                      <a:pt x="199" y="81"/>
                      <a:pt x="201" y="83"/>
                      <a:pt x="202" y="84"/>
                    </a:cubicBezTo>
                    <a:cubicBezTo>
                      <a:pt x="209" y="91"/>
                      <a:pt x="213" y="96"/>
                      <a:pt x="221" y="100"/>
                    </a:cubicBezTo>
                    <a:cubicBezTo>
                      <a:pt x="221" y="100"/>
                      <a:pt x="222" y="99"/>
                      <a:pt x="222" y="99"/>
                    </a:cubicBezTo>
                    <a:cubicBezTo>
                      <a:pt x="226" y="85"/>
                      <a:pt x="231" y="71"/>
                      <a:pt x="236" y="56"/>
                    </a:cubicBezTo>
                    <a:cubicBezTo>
                      <a:pt x="221" y="9"/>
                      <a:pt x="221" y="9"/>
                      <a:pt x="221" y="9"/>
                    </a:cubicBezTo>
                    <a:cubicBezTo>
                      <a:pt x="220" y="8"/>
                      <a:pt x="220" y="8"/>
                      <a:pt x="220" y="8"/>
                    </a:cubicBezTo>
                    <a:cubicBezTo>
                      <a:pt x="220" y="8"/>
                      <a:pt x="220" y="8"/>
                      <a:pt x="220" y="8"/>
                    </a:cubicBezTo>
                    <a:cubicBezTo>
                      <a:pt x="216" y="9"/>
                      <a:pt x="213" y="11"/>
                      <a:pt x="210" y="12"/>
                    </a:cubicBezTo>
                    <a:cubicBezTo>
                      <a:pt x="208" y="13"/>
                      <a:pt x="207" y="13"/>
                      <a:pt x="206" y="13"/>
                    </a:cubicBezTo>
                    <a:cubicBezTo>
                      <a:pt x="201" y="14"/>
                      <a:pt x="197" y="15"/>
                      <a:pt x="193" y="15"/>
                    </a:cubicBezTo>
                    <a:cubicBezTo>
                      <a:pt x="193" y="15"/>
                      <a:pt x="192" y="15"/>
                      <a:pt x="192" y="15"/>
                    </a:cubicBezTo>
                    <a:cubicBezTo>
                      <a:pt x="192" y="15"/>
                      <a:pt x="192" y="15"/>
                      <a:pt x="192" y="15"/>
                    </a:cubicBezTo>
                    <a:cubicBezTo>
                      <a:pt x="191" y="15"/>
                      <a:pt x="190" y="15"/>
                      <a:pt x="189" y="15"/>
                    </a:cubicBezTo>
                    <a:cubicBezTo>
                      <a:pt x="188" y="15"/>
                      <a:pt x="187" y="15"/>
                      <a:pt x="186" y="15"/>
                    </a:cubicBezTo>
                    <a:cubicBezTo>
                      <a:pt x="184" y="15"/>
                      <a:pt x="183" y="15"/>
                      <a:pt x="182" y="14"/>
                    </a:cubicBezTo>
                    <a:cubicBezTo>
                      <a:pt x="179" y="12"/>
                      <a:pt x="176" y="9"/>
                      <a:pt x="173" y="9"/>
                    </a:cubicBezTo>
                    <a:cubicBezTo>
                      <a:pt x="178" y="10"/>
                      <a:pt x="173" y="14"/>
                      <a:pt x="172" y="14"/>
                    </a:cubicBezTo>
                    <a:cubicBezTo>
                      <a:pt x="170" y="13"/>
                      <a:pt x="164" y="10"/>
                      <a:pt x="163" y="9"/>
                    </a:cubicBezTo>
                    <a:cubicBezTo>
                      <a:pt x="163" y="8"/>
                      <a:pt x="166" y="3"/>
                      <a:pt x="166" y="2"/>
                    </a:cubicBezTo>
                    <a:cubicBezTo>
                      <a:pt x="166" y="2"/>
                      <a:pt x="166" y="2"/>
                      <a:pt x="166" y="2"/>
                    </a:cubicBezTo>
                    <a:cubicBezTo>
                      <a:pt x="164" y="2"/>
                      <a:pt x="161" y="4"/>
                      <a:pt x="159" y="4"/>
                    </a:cubicBezTo>
                    <a:cubicBezTo>
                      <a:pt x="159" y="4"/>
                      <a:pt x="159" y="4"/>
                      <a:pt x="158" y="4"/>
                    </a:cubicBezTo>
                    <a:cubicBezTo>
                      <a:pt x="156" y="4"/>
                      <a:pt x="152" y="2"/>
                      <a:pt x="150" y="2"/>
                    </a:cubicBezTo>
                    <a:cubicBezTo>
                      <a:pt x="148" y="1"/>
                      <a:pt x="147" y="1"/>
                      <a:pt x="145" y="1"/>
                    </a:cubicBezTo>
                    <a:cubicBezTo>
                      <a:pt x="144" y="1"/>
                      <a:pt x="144" y="1"/>
                      <a:pt x="142" y="1"/>
                    </a:cubicBezTo>
                    <a:cubicBezTo>
                      <a:pt x="135" y="3"/>
                      <a:pt x="131" y="4"/>
                      <a:pt x="125" y="9"/>
                    </a:cubicBezTo>
                    <a:cubicBezTo>
                      <a:pt x="126" y="9"/>
                      <a:pt x="127" y="10"/>
                      <a:pt x="128" y="10"/>
                    </a:cubicBezTo>
                    <a:cubicBezTo>
                      <a:pt x="127" y="10"/>
                      <a:pt x="127" y="10"/>
                      <a:pt x="126" y="10"/>
                    </a:cubicBezTo>
                    <a:cubicBezTo>
                      <a:pt x="126" y="10"/>
                      <a:pt x="126" y="10"/>
                      <a:pt x="126" y="10"/>
                    </a:cubicBezTo>
                    <a:cubicBezTo>
                      <a:pt x="125" y="10"/>
                      <a:pt x="124" y="9"/>
                      <a:pt x="123" y="9"/>
                    </a:cubicBezTo>
                    <a:cubicBezTo>
                      <a:pt x="123" y="9"/>
                      <a:pt x="123" y="9"/>
                      <a:pt x="123" y="9"/>
                    </a:cubicBezTo>
                    <a:cubicBezTo>
                      <a:pt x="121" y="10"/>
                      <a:pt x="120" y="11"/>
                      <a:pt x="118" y="12"/>
                    </a:cubicBezTo>
                    <a:cubicBezTo>
                      <a:pt x="113" y="15"/>
                      <a:pt x="106" y="19"/>
                      <a:pt x="100" y="20"/>
                    </a:cubicBezTo>
                    <a:cubicBezTo>
                      <a:pt x="99" y="20"/>
                      <a:pt x="99" y="20"/>
                      <a:pt x="99" y="20"/>
                    </a:cubicBezTo>
                    <a:cubicBezTo>
                      <a:pt x="96" y="20"/>
                      <a:pt x="95" y="18"/>
                      <a:pt x="92" y="17"/>
                    </a:cubicBezTo>
                    <a:cubicBezTo>
                      <a:pt x="88" y="15"/>
                      <a:pt x="80" y="15"/>
                      <a:pt x="75" y="14"/>
                    </a:cubicBezTo>
                    <a:cubicBezTo>
                      <a:pt x="72" y="14"/>
                      <a:pt x="68" y="12"/>
                      <a:pt x="64" y="11"/>
                    </a:cubicBezTo>
                    <a:cubicBezTo>
                      <a:pt x="62" y="11"/>
                      <a:pt x="61" y="10"/>
                      <a:pt x="60" y="9"/>
                    </a:cubicBezTo>
                    <a:cubicBezTo>
                      <a:pt x="54" y="7"/>
                      <a:pt x="47" y="6"/>
                      <a:pt x="41" y="4"/>
                    </a:cubicBezTo>
                    <a:cubicBezTo>
                      <a:pt x="36" y="3"/>
                      <a:pt x="31"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 name="Freeform 192">
                <a:extLst>
                  <a:ext uri="{FF2B5EF4-FFF2-40B4-BE49-F238E27FC236}">
                    <a16:creationId xmlns:a16="http://schemas.microsoft.com/office/drawing/2014/main" id="{957BE3BE-EFAA-4F53-9DD2-5063F8622F23}"/>
                  </a:ext>
                </a:extLst>
              </p:cNvPr>
              <p:cNvSpPr>
                <a:spLocks/>
              </p:cNvSpPr>
              <p:nvPr/>
            </p:nvSpPr>
            <p:spPr bwMode="auto">
              <a:xfrm>
                <a:off x="4939" y="2140"/>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 name="Freeform 193">
                <a:extLst>
                  <a:ext uri="{FF2B5EF4-FFF2-40B4-BE49-F238E27FC236}">
                    <a16:creationId xmlns:a16="http://schemas.microsoft.com/office/drawing/2014/main" id="{E6577163-FB37-4E54-95CB-A05096AEA97D}"/>
                  </a:ext>
                </a:extLst>
              </p:cNvPr>
              <p:cNvSpPr>
                <a:spLocks/>
              </p:cNvSpPr>
              <p:nvPr/>
            </p:nvSpPr>
            <p:spPr bwMode="auto">
              <a:xfrm>
                <a:off x="4939" y="2140"/>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 name="Freeform 194">
                <a:extLst>
                  <a:ext uri="{FF2B5EF4-FFF2-40B4-BE49-F238E27FC236}">
                    <a16:creationId xmlns:a16="http://schemas.microsoft.com/office/drawing/2014/main" id="{3F50EC49-C7EF-490A-987F-614039C0F524}"/>
                  </a:ext>
                </a:extLst>
              </p:cNvPr>
              <p:cNvSpPr>
                <a:spLocks noEditPoints="1"/>
              </p:cNvSpPr>
              <p:nvPr/>
            </p:nvSpPr>
            <p:spPr bwMode="auto">
              <a:xfrm>
                <a:off x="4883" y="1450"/>
                <a:ext cx="919" cy="1102"/>
              </a:xfrm>
              <a:custGeom>
                <a:avLst/>
                <a:gdLst>
                  <a:gd name="T0" fmla="*/ 319 w 389"/>
                  <a:gd name="T1" fmla="*/ 2 h 466"/>
                  <a:gd name="T2" fmla="*/ 305 w 389"/>
                  <a:gd name="T3" fmla="*/ 13 h 466"/>
                  <a:gd name="T4" fmla="*/ 288 w 389"/>
                  <a:gd name="T5" fmla="*/ 27 h 466"/>
                  <a:gd name="T6" fmla="*/ 221 w 389"/>
                  <a:gd name="T7" fmla="*/ 26 h 466"/>
                  <a:gd name="T8" fmla="*/ 74 w 389"/>
                  <a:gd name="T9" fmla="*/ 37 h 466"/>
                  <a:gd name="T10" fmla="*/ 56 w 389"/>
                  <a:gd name="T11" fmla="*/ 77 h 466"/>
                  <a:gd name="T12" fmla="*/ 51 w 389"/>
                  <a:gd name="T13" fmla="*/ 87 h 466"/>
                  <a:gd name="T14" fmla="*/ 35 w 389"/>
                  <a:gd name="T15" fmla="*/ 181 h 466"/>
                  <a:gd name="T16" fmla="*/ 21 w 389"/>
                  <a:gd name="T17" fmla="*/ 199 h 466"/>
                  <a:gd name="T18" fmla="*/ 14 w 389"/>
                  <a:gd name="T19" fmla="*/ 208 h 466"/>
                  <a:gd name="T20" fmla="*/ 14 w 389"/>
                  <a:gd name="T21" fmla="*/ 213 h 466"/>
                  <a:gd name="T22" fmla="*/ 8 w 389"/>
                  <a:gd name="T23" fmla="*/ 224 h 466"/>
                  <a:gd name="T24" fmla="*/ 5 w 389"/>
                  <a:gd name="T25" fmla="*/ 242 h 466"/>
                  <a:gd name="T26" fmla="*/ 2 w 389"/>
                  <a:gd name="T27" fmla="*/ 250 h 466"/>
                  <a:gd name="T28" fmla="*/ 14 w 389"/>
                  <a:gd name="T29" fmla="*/ 263 h 466"/>
                  <a:gd name="T30" fmla="*/ 18 w 389"/>
                  <a:gd name="T31" fmla="*/ 272 h 466"/>
                  <a:gd name="T32" fmla="*/ 25 w 389"/>
                  <a:gd name="T33" fmla="*/ 292 h 466"/>
                  <a:gd name="T34" fmla="*/ 39 w 389"/>
                  <a:gd name="T35" fmla="*/ 311 h 466"/>
                  <a:gd name="T36" fmla="*/ 40 w 389"/>
                  <a:gd name="T37" fmla="*/ 337 h 466"/>
                  <a:gd name="T38" fmla="*/ 44 w 389"/>
                  <a:gd name="T39" fmla="*/ 343 h 466"/>
                  <a:gd name="T40" fmla="*/ 59 w 389"/>
                  <a:gd name="T41" fmla="*/ 354 h 466"/>
                  <a:gd name="T42" fmla="*/ 79 w 389"/>
                  <a:gd name="T43" fmla="*/ 364 h 466"/>
                  <a:gd name="T44" fmla="*/ 83 w 389"/>
                  <a:gd name="T45" fmla="*/ 372 h 466"/>
                  <a:gd name="T46" fmla="*/ 106 w 389"/>
                  <a:gd name="T47" fmla="*/ 393 h 466"/>
                  <a:gd name="T48" fmla="*/ 106 w 389"/>
                  <a:gd name="T49" fmla="*/ 403 h 466"/>
                  <a:gd name="T50" fmla="*/ 127 w 389"/>
                  <a:gd name="T51" fmla="*/ 418 h 466"/>
                  <a:gd name="T52" fmla="*/ 132 w 389"/>
                  <a:gd name="T53" fmla="*/ 431 h 466"/>
                  <a:gd name="T54" fmla="*/ 158 w 389"/>
                  <a:gd name="T55" fmla="*/ 444 h 466"/>
                  <a:gd name="T56" fmla="*/ 182 w 389"/>
                  <a:gd name="T57" fmla="*/ 441 h 466"/>
                  <a:gd name="T58" fmla="*/ 197 w 389"/>
                  <a:gd name="T59" fmla="*/ 456 h 466"/>
                  <a:gd name="T60" fmla="*/ 209 w 389"/>
                  <a:gd name="T61" fmla="*/ 466 h 466"/>
                  <a:gd name="T62" fmla="*/ 221 w 389"/>
                  <a:gd name="T63" fmla="*/ 461 h 466"/>
                  <a:gd name="T64" fmla="*/ 237 w 389"/>
                  <a:gd name="T65" fmla="*/ 464 h 466"/>
                  <a:gd name="T66" fmla="*/ 261 w 389"/>
                  <a:gd name="T67" fmla="*/ 457 h 466"/>
                  <a:gd name="T68" fmla="*/ 281 w 389"/>
                  <a:gd name="T69" fmla="*/ 450 h 466"/>
                  <a:gd name="T70" fmla="*/ 321 w 389"/>
                  <a:gd name="T71" fmla="*/ 441 h 466"/>
                  <a:gd name="T72" fmla="*/ 322 w 389"/>
                  <a:gd name="T73" fmla="*/ 434 h 466"/>
                  <a:gd name="T74" fmla="*/ 321 w 389"/>
                  <a:gd name="T75" fmla="*/ 428 h 466"/>
                  <a:gd name="T76" fmla="*/ 306 w 389"/>
                  <a:gd name="T77" fmla="*/ 416 h 466"/>
                  <a:gd name="T78" fmla="*/ 283 w 389"/>
                  <a:gd name="T79" fmla="*/ 383 h 466"/>
                  <a:gd name="T80" fmla="*/ 271 w 389"/>
                  <a:gd name="T81" fmla="*/ 372 h 466"/>
                  <a:gd name="T82" fmla="*/ 259 w 389"/>
                  <a:gd name="T83" fmla="*/ 359 h 466"/>
                  <a:gd name="T84" fmla="*/ 275 w 389"/>
                  <a:gd name="T85" fmla="*/ 350 h 466"/>
                  <a:gd name="T86" fmla="*/ 285 w 389"/>
                  <a:gd name="T87" fmla="*/ 319 h 466"/>
                  <a:gd name="T88" fmla="*/ 289 w 389"/>
                  <a:gd name="T89" fmla="*/ 299 h 466"/>
                  <a:gd name="T90" fmla="*/ 297 w 389"/>
                  <a:gd name="T91" fmla="*/ 292 h 466"/>
                  <a:gd name="T92" fmla="*/ 302 w 389"/>
                  <a:gd name="T93" fmla="*/ 294 h 466"/>
                  <a:gd name="T94" fmla="*/ 304 w 389"/>
                  <a:gd name="T95" fmla="*/ 287 h 466"/>
                  <a:gd name="T96" fmla="*/ 314 w 389"/>
                  <a:gd name="T97" fmla="*/ 262 h 466"/>
                  <a:gd name="T98" fmla="*/ 329 w 389"/>
                  <a:gd name="T99" fmla="*/ 249 h 466"/>
                  <a:gd name="T100" fmla="*/ 338 w 389"/>
                  <a:gd name="T101" fmla="*/ 224 h 466"/>
                  <a:gd name="T102" fmla="*/ 344 w 389"/>
                  <a:gd name="T103" fmla="*/ 175 h 466"/>
                  <a:gd name="T104" fmla="*/ 361 w 389"/>
                  <a:gd name="T105" fmla="*/ 144 h 466"/>
                  <a:gd name="T106" fmla="*/ 374 w 389"/>
                  <a:gd name="T107" fmla="*/ 134 h 466"/>
                  <a:gd name="T108" fmla="*/ 383 w 389"/>
                  <a:gd name="T109" fmla="*/ 130 h 466"/>
                  <a:gd name="T110" fmla="*/ 359 w 389"/>
                  <a:gd name="T111" fmla="*/ 81 h 466"/>
                  <a:gd name="T112" fmla="*/ 351 w 389"/>
                  <a:gd name="T113" fmla="*/ 2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9" h="466">
                    <a:moveTo>
                      <a:pt x="319" y="438"/>
                    </a:moveTo>
                    <a:cubicBezTo>
                      <a:pt x="319" y="438"/>
                      <a:pt x="319" y="438"/>
                      <a:pt x="319" y="437"/>
                    </a:cubicBezTo>
                    <a:cubicBezTo>
                      <a:pt x="319" y="438"/>
                      <a:pt x="319" y="438"/>
                      <a:pt x="319" y="438"/>
                    </a:cubicBezTo>
                    <a:moveTo>
                      <a:pt x="323" y="0"/>
                    </a:moveTo>
                    <a:cubicBezTo>
                      <a:pt x="323" y="0"/>
                      <a:pt x="322" y="0"/>
                      <a:pt x="322" y="0"/>
                    </a:cubicBezTo>
                    <a:cubicBezTo>
                      <a:pt x="321" y="1"/>
                      <a:pt x="321" y="1"/>
                      <a:pt x="321" y="1"/>
                    </a:cubicBezTo>
                    <a:cubicBezTo>
                      <a:pt x="321" y="1"/>
                      <a:pt x="320" y="2"/>
                      <a:pt x="319" y="2"/>
                    </a:cubicBezTo>
                    <a:cubicBezTo>
                      <a:pt x="318" y="3"/>
                      <a:pt x="317" y="3"/>
                      <a:pt x="315" y="4"/>
                    </a:cubicBezTo>
                    <a:cubicBezTo>
                      <a:pt x="315" y="4"/>
                      <a:pt x="315" y="4"/>
                      <a:pt x="315" y="4"/>
                    </a:cubicBezTo>
                    <a:cubicBezTo>
                      <a:pt x="313" y="5"/>
                      <a:pt x="312" y="5"/>
                      <a:pt x="311" y="6"/>
                    </a:cubicBezTo>
                    <a:cubicBezTo>
                      <a:pt x="310" y="6"/>
                      <a:pt x="310" y="6"/>
                      <a:pt x="310" y="6"/>
                    </a:cubicBezTo>
                    <a:cubicBezTo>
                      <a:pt x="310" y="7"/>
                      <a:pt x="309" y="7"/>
                      <a:pt x="308" y="7"/>
                    </a:cubicBezTo>
                    <a:cubicBezTo>
                      <a:pt x="307" y="8"/>
                      <a:pt x="306" y="11"/>
                      <a:pt x="306" y="13"/>
                    </a:cubicBezTo>
                    <a:cubicBezTo>
                      <a:pt x="305" y="13"/>
                      <a:pt x="305" y="13"/>
                      <a:pt x="305" y="13"/>
                    </a:cubicBezTo>
                    <a:cubicBezTo>
                      <a:pt x="305" y="14"/>
                      <a:pt x="305" y="15"/>
                      <a:pt x="305" y="15"/>
                    </a:cubicBezTo>
                    <a:cubicBezTo>
                      <a:pt x="302" y="20"/>
                      <a:pt x="299" y="21"/>
                      <a:pt x="296" y="22"/>
                    </a:cubicBezTo>
                    <a:cubicBezTo>
                      <a:pt x="294" y="22"/>
                      <a:pt x="294" y="22"/>
                      <a:pt x="294" y="22"/>
                    </a:cubicBezTo>
                    <a:cubicBezTo>
                      <a:pt x="293" y="22"/>
                      <a:pt x="290" y="22"/>
                      <a:pt x="290" y="23"/>
                    </a:cubicBezTo>
                    <a:cubicBezTo>
                      <a:pt x="290" y="23"/>
                      <a:pt x="290" y="23"/>
                      <a:pt x="290" y="23"/>
                    </a:cubicBezTo>
                    <a:cubicBezTo>
                      <a:pt x="289" y="24"/>
                      <a:pt x="289" y="25"/>
                      <a:pt x="289" y="26"/>
                    </a:cubicBezTo>
                    <a:cubicBezTo>
                      <a:pt x="288" y="27"/>
                      <a:pt x="288" y="27"/>
                      <a:pt x="288" y="27"/>
                    </a:cubicBezTo>
                    <a:cubicBezTo>
                      <a:pt x="287" y="28"/>
                      <a:pt x="286" y="28"/>
                      <a:pt x="285" y="28"/>
                    </a:cubicBezTo>
                    <a:cubicBezTo>
                      <a:pt x="262" y="28"/>
                      <a:pt x="262" y="28"/>
                      <a:pt x="262" y="28"/>
                    </a:cubicBezTo>
                    <a:cubicBezTo>
                      <a:pt x="262" y="28"/>
                      <a:pt x="261" y="28"/>
                      <a:pt x="260" y="28"/>
                    </a:cubicBezTo>
                    <a:cubicBezTo>
                      <a:pt x="259" y="28"/>
                      <a:pt x="258" y="28"/>
                      <a:pt x="257" y="28"/>
                    </a:cubicBezTo>
                    <a:cubicBezTo>
                      <a:pt x="256" y="28"/>
                      <a:pt x="255" y="28"/>
                      <a:pt x="254" y="28"/>
                    </a:cubicBezTo>
                    <a:cubicBezTo>
                      <a:pt x="222" y="28"/>
                      <a:pt x="222" y="28"/>
                      <a:pt x="222" y="28"/>
                    </a:cubicBezTo>
                    <a:cubicBezTo>
                      <a:pt x="221" y="26"/>
                      <a:pt x="221" y="26"/>
                      <a:pt x="221" y="26"/>
                    </a:cubicBezTo>
                    <a:cubicBezTo>
                      <a:pt x="221" y="26"/>
                      <a:pt x="221" y="26"/>
                      <a:pt x="221" y="26"/>
                    </a:cubicBezTo>
                    <a:cubicBezTo>
                      <a:pt x="220" y="26"/>
                      <a:pt x="220" y="26"/>
                      <a:pt x="220" y="26"/>
                    </a:cubicBezTo>
                    <a:cubicBezTo>
                      <a:pt x="74" y="28"/>
                      <a:pt x="74" y="28"/>
                      <a:pt x="74" y="28"/>
                    </a:cubicBezTo>
                    <a:cubicBezTo>
                      <a:pt x="74" y="29"/>
                      <a:pt x="74" y="29"/>
                      <a:pt x="74" y="29"/>
                    </a:cubicBezTo>
                    <a:cubicBezTo>
                      <a:pt x="74" y="32"/>
                      <a:pt x="74" y="32"/>
                      <a:pt x="74" y="32"/>
                    </a:cubicBezTo>
                    <a:cubicBezTo>
                      <a:pt x="74" y="36"/>
                      <a:pt x="74" y="36"/>
                      <a:pt x="74" y="36"/>
                    </a:cubicBezTo>
                    <a:cubicBezTo>
                      <a:pt x="74" y="37"/>
                      <a:pt x="74" y="37"/>
                      <a:pt x="74" y="37"/>
                    </a:cubicBezTo>
                    <a:cubicBezTo>
                      <a:pt x="74" y="74"/>
                      <a:pt x="74" y="74"/>
                      <a:pt x="74" y="74"/>
                    </a:cubicBezTo>
                    <a:cubicBezTo>
                      <a:pt x="74" y="75"/>
                      <a:pt x="74" y="77"/>
                      <a:pt x="72" y="77"/>
                    </a:cubicBezTo>
                    <a:cubicBezTo>
                      <a:pt x="70" y="78"/>
                      <a:pt x="68" y="78"/>
                      <a:pt x="67" y="78"/>
                    </a:cubicBezTo>
                    <a:cubicBezTo>
                      <a:pt x="65" y="78"/>
                      <a:pt x="64" y="78"/>
                      <a:pt x="62" y="78"/>
                    </a:cubicBezTo>
                    <a:cubicBezTo>
                      <a:pt x="61" y="77"/>
                      <a:pt x="59" y="77"/>
                      <a:pt x="58" y="77"/>
                    </a:cubicBezTo>
                    <a:cubicBezTo>
                      <a:pt x="58" y="77"/>
                      <a:pt x="57" y="77"/>
                      <a:pt x="57" y="77"/>
                    </a:cubicBezTo>
                    <a:cubicBezTo>
                      <a:pt x="57" y="77"/>
                      <a:pt x="56" y="77"/>
                      <a:pt x="56" y="77"/>
                    </a:cubicBezTo>
                    <a:cubicBezTo>
                      <a:pt x="55" y="77"/>
                      <a:pt x="54" y="78"/>
                      <a:pt x="52" y="78"/>
                    </a:cubicBezTo>
                    <a:cubicBezTo>
                      <a:pt x="51" y="78"/>
                      <a:pt x="51" y="78"/>
                      <a:pt x="51" y="78"/>
                    </a:cubicBezTo>
                    <a:cubicBezTo>
                      <a:pt x="51" y="78"/>
                      <a:pt x="51" y="78"/>
                      <a:pt x="51" y="78"/>
                    </a:cubicBezTo>
                    <a:cubicBezTo>
                      <a:pt x="51" y="79"/>
                      <a:pt x="51" y="82"/>
                      <a:pt x="51" y="85"/>
                    </a:cubicBezTo>
                    <a:cubicBezTo>
                      <a:pt x="51" y="86"/>
                      <a:pt x="51" y="86"/>
                      <a:pt x="51" y="86"/>
                    </a:cubicBezTo>
                    <a:cubicBezTo>
                      <a:pt x="51" y="86"/>
                      <a:pt x="51" y="86"/>
                      <a:pt x="51" y="86"/>
                    </a:cubicBezTo>
                    <a:cubicBezTo>
                      <a:pt x="51" y="87"/>
                      <a:pt x="51" y="87"/>
                      <a:pt x="51" y="87"/>
                    </a:cubicBezTo>
                    <a:cubicBezTo>
                      <a:pt x="51" y="91"/>
                      <a:pt x="51" y="91"/>
                      <a:pt x="51" y="91"/>
                    </a:cubicBezTo>
                    <a:cubicBezTo>
                      <a:pt x="51" y="91"/>
                      <a:pt x="51" y="91"/>
                      <a:pt x="51" y="91"/>
                    </a:cubicBezTo>
                    <a:cubicBezTo>
                      <a:pt x="51" y="95"/>
                      <a:pt x="51" y="95"/>
                      <a:pt x="51" y="95"/>
                    </a:cubicBezTo>
                    <a:cubicBezTo>
                      <a:pt x="51" y="182"/>
                      <a:pt x="51" y="182"/>
                      <a:pt x="51" y="182"/>
                    </a:cubicBezTo>
                    <a:cubicBezTo>
                      <a:pt x="48" y="182"/>
                      <a:pt x="48" y="182"/>
                      <a:pt x="48" y="182"/>
                    </a:cubicBezTo>
                    <a:cubicBezTo>
                      <a:pt x="46" y="182"/>
                      <a:pt x="44" y="182"/>
                      <a:pt x="42" y="182"/>
                    </a:cubicBezTo>
                    <a:cubicBezTo>
                      <a:pt x="40" y="181"/>
                      <a:pt x="37" y="181"/>
                      <a:pt x="35" y="181"/>
                    </a:cubicBezTo>
                    <a:cubicBezTo>
                      <a:pt x="30" y="181"/>
                      <a:pt x="27" y="182"/>
                      <a:pt x="25" y="185"/>
                    </a:cubicBezTo>
                    <a:cubicBezTo>
                      <a:pt x="24" y="187"/>
                      <a:pt x="24" y="190"/>
                      <a:pt x="23" y="191"/>
                    </a:cubicBezTo>
                    <a:cubicBezTo>
                      <a:pt x="23" y="193"/>
                      <a:pt x="23" y="193"/>
                      <a:pt x="23" y="193"/>
                    </a:cubicBezTo>
                    <a:cubicBezTo>
                      <a:pt x="23" y="194"/>
                      <a:pt x="22" y="196"/>
                      <a:pt x="22" y="197"/>
                    </a:cubicBezTo>
                    <a:cubicBezTo>
                      <a:pt x="28" y="199"/>
                      <a:pt x="28" y="199"/>
                      <a:pt x="28" y="199"/>
                    </a:cubicBezTo>
                    <a:cubicBezTo>
                      <a:pt x="21" y="199"/>
                      <a:pt x="21" y="199"/>
                      <a:pt x="21" y="199"/>
                    </a:cubicBezTo>
                    <a:cubicBezTo>
                      <a:pt x="21" y="199"/>
                      <a:pt x="21" y="199"/>
                      <a:pt x="21" y="199"/>
                    </a:cubicBezTo>
                    <a:cubicBezTo>
                      <a:pt x="21" y="200"/>
                      <a:pt x="21" y="200"/>
                      <a:pt x="21" y="200"/>
                    </a:cubicBezTo>
                    <a:cubicBezTo>
                      <a:pt x="21" y="201"/>
                      <a:pt x="20" y="202"/>
                      <a:pt x="20" y="203"/>
                    </a:cubicBezTo>
                    <a:cubicBezTo>
                      <a:pt x="20" y="204"/>
                      <a:pt x="19" y="204"/>
                      <a:pt x="18" y="205"/>
                    </a:cubicBezTo>
                    <a:cubicBezTo>
                      <a:pt x="17" y="206"/>
                      <a:pt x="17" y="206"/>
                      <a:pt x="16" y="207"/>
                    </a:cubicBezTo>
                    <a:cubicBezTo>
                      <a:pt x="16" y="207"/>
                      <a:pt x="16" y="207"/>
                      <a:pt x="16" y="207"/>
                    </a:cubicBezTo>
                    <a:cubicBezTo>
                      <a:pt x="16" y="207"/>
                      <a:pt x="16" y="207"/>
                      <a:pt x="16" y="207"/>
                    </a:cubicBezTo>
                    <a:cubicBezTo>
                      <a:pt x="14" y="208"/>
                      <a:pt x="14" y="208"/>
                      <a:pt x="14" y="208"/>
                    </a:cubicBezTo>
                    <a:cubicBezTo>
                      <a:pt x="14" y="208"/>
                      <a:pt x="14" y="208"/>
                      <a:pt x="14" y="208"/>
                    </a:cubicBezTo>
                    <a:cubicBezTo>
                      <a:pt x="14" y="208"/>
                      <a:pt x="14" y="208"/>
                      <a:pt x="14" y="209"/>
                    </a:cubicBezTo>
                    <a:cubicBezTo>
                      <a:pt x="14" y="209"/>
                      <a:pt x="14" y="210"/>
                      <a:pt x="14" y="211"/>
                    </a:cubicBezTo>
                    <a:cubicBezTo>
                      <a:pt x="14" y="211"/>
                      <a:pt x="14" y="211"/>
                      <a:pt x="14" y="211"/>
                    </a:cubicBezTo>
                    <a:cubicBezTo>
                      <a:pt x="14" y="212"/>
                      <a:pt x="14" y="212"/>
                      <a:pt x="14" y="212"/>
                    </a:cubicBezTo>
                    <a:cubicBezTo>
                      <a:pt x="14" y="213"/>
                      <a:pt x="14" y="213"/>
                      <a:pt x="14" y="213"/>
                    </a:cubicBezTo>
                    <a:cubicBezTo>
                      <a:pt x="14" y="213"/>
                      <a:pt x="14" y="213"/>
                      <a:pt x="14" y="213"/>
                    </a:cubicBezTo>
                    <a:cubicBezTo>
                      <a:pt x="15" y="213"/>
                      <a:pt x="15" y="213"/>
                      <a:pt x="15" y="213"/>
                    </a:cubicBezTo>
                    <a:cubicBezTo>
                      <a:pt x="15" y="214"/>
                      <a:pt x="16" y="215"/>
                      <a:pt x="17" y="216"/>
                    </a:cubicBezTo>
                    <a:cubicBezTo>
                      <a:pt x="18" y="220"/>
                      <a:pt x="18" y="220"/>
                      <a:pt x="18" y="220"/>
                    </a:cubicBezTo>
                    <a:cubicBezTo>
                      <a:pt x="14" y="220"/>
                      <a:pt x="14" y="220"/>
                      <a:pt x="14" y="220"/>
                    </a:cubicBezTo>
                    <a:cubicBezTo>
                      <a:pt x="14" y="220"/>
                      <a:pt x="13" y="220"/>
                      <a:pt x="12" y="221"/>
                    </a:cubicBezTo>
                    <a:cubicBezTo>
                      <a:pt x="10" y="223"/>
                      <a:pt x="10" y="223"/>
                      <a:pt x="10" y="223"/>
                    </a:cubicBezTo>
                    <a:cubicBezTo>
                      <a:pt x="9" y="223"/>
                      <a:pt x="8" y="223"/>
                      <a:pt x="8" y="224"/>
                    </a:cubicBezTo>
                    <a:cubicBezTo>
                      <a:pt x="7" y="224"/>
                      <a:pt x="7" y="224"/>
                      <a:pt x="7" y="225"/>
                    </a:cubicBezTo>
                    <a:cubicBezTo>
                      <a:pt x="6" y="226"/>
                      <a:pt x="6" y="227"/>
                      <a:pt x="8" y="230"/>
                    </a:cubicBezTo>
                    <a:cubicBezTo>
                      <a:pt x="9" y="231"/>
                      <a:pt x="9" y="232"/>
                      <a:pt x="10" y="233"/>
                    </a:cubicBezTo>
                    <a:cubicBezTo>
                      <a:pt x="10" y="233"/>
                      <a:pt x="10" y="233"/>
                      <a:pt x="10" y="233"/>
                    </a:cubicBezTo>
                    <a:cubicBezTo>
                      <a:pt x="10" y="234"/>
                      <a:pt x="10" y="234"/>
                      <a:pt x="10" y="234"/>
                    </a:cubicBezTo>
                    <a:cubicBezTo>
                      <a:pt x="11" y="237"/>
                      <a:pt x="8" y="239"/>
                      <a:pt x="7" y="241"/>
                    </a:cubicBezTo>
                    <a:cubicBezTo>
                      <a:pt x="7" y="241"/>
                      <a:pt x="6" y="242"/>
                      <a:pt x="5" y="242"/>
                    </a:cubicBezTo>
                    <a:cubicBezTo>
                      <a:pt x="5" y="243"/>
                      <a:pt x="5" y="243"/>
                      <a:pt x="5" y="243"/>
                    </a:cubicBezTo>
                    <a:cubicBezTo>
                      <a:pt x="4" y="244"/>
                      <a:pt x="2" y="246"/>
                      <a:pt x="1" y="248"/>
                    </a:cubicBezTo>
                    <a:cubicBezTo>
                      <a:pt x="1" y="248"/>
                      <a:pt x="1" y="249"/>
                      <a:pt x="0" y="249"/>
                    </a:cubicBezTo>
                    <a:cubicBezTo>
                      <a:pt x="1" y="249"/>
                      <a:pt x="1" y="249"/>
                      <a:pt x="1" y="249"/>
                    </a:cubicBezTo>
                    <a:cubicBezTo>
                      <a:pt x="1" y="250"/>
                      <a:pt x="1" y="250"/>
                      <a:pt x="1" y="250"/>
                    </a:cubicBezTo>
                    <a:cubicBezTo>
                      <a:pt x="2" y="250"/>
                      <a:pt x="2" y="250"/>
                      <a:pt x="2" y="250"/>
                    </a:cubicBezTo>
                    <a:cubicBezTo>
                      <a:pt x="2" y="250"/>
                      <a:pt x="2" y="250"/>
                      <a:pt x="2" y="250"/>
                    </a:cubicBezTo>
                    <a:cubicBezTo>
                      <a:pt x="2" y="249"/>
                      <a:pt x="2" y="249"/>
                      <a:pt x="2" y="249"/>
                    </a:cubicBezTo>
                    <a:cubicBezTo>
                      <a:pt x="3" y="249"/>
                      <a:pt x="3" y="249"/>
                      <a:pt x="4" y="249"/>
                    </a:cubicBezTo>
                    <a:cubicBezTo>
                      <a:pt x="4" y="248"/>
                      <a:pt x="5" y="247"/>
                      <a:pt x="6" y="247"/>
                    </a:cubicBezTo>
                    <a:cubicBezTo>
                      <a:pt x="7" y="247"/>
                      <a:pt x="7" y="247"/>
                      <a:pt x="7" y="248"/>
                    </a:cubicBezTo>
                    <a:cubicBezTo>
                      <a:pt x="8" y="248"/>
                      <a:pt x="8" y="248"/>
                      <a:pt x="8" y="248"/>
                    </a:cubicBezTo>
                    <a:cubicBezTo>
                      <a:pt x="9" y="248"/>
                      <a:pt x="9" y="248"/>
                      <a:pt x="10" y="249"/>
                    </a:cubicBezTo>
                    <a:cubicBezTo>
                      <a:pt x="12" y="251"/>
                      <a:pt x="13" y="256"/>
                      <a:pt x="14" y="263"/>
                    </a:cubicBezTo>
                    <a:cubicBezTo>
                      <a:pt x="14" y="263"/>
                      <a:pt x="14" y="263"/>
                      <a:pt x="14" y="263"/>
                    </a:cubicBezTo>
                    <a:cubicBezTo>
                      <a:pt x="15" y="263"/>
                      <a:pt x="15" y="263"/>
                      <a:pt x="15" y="263"/>
                    </a:cubicBezTo>
                    <a:cubicBezTo>
                      <a:pt x="15" y="263"/>
                      <a:pt x="16" y="263"/>
                      <a:pt x="17" y="264"/>
                    </a:cubicBezTo>
                    <a:cubicBezTo>
                      <a:pt x="20" y="264"/>
                      <a:pt x="20" y="264"/>
                      <a:pt x="20" y="264"/>
                    </a:cubicBezTo>
                    <a:cubicBezTo>
                      <a:pt x="18" y="268"/>
                      <a:pt x="18" y="268"/>
                      <a:pt x="18" y="268"/>
                    </a:cubicBezTo>
                    <a:cubicBezTo>
                      <a:pt x="18" y="268"/>
                      <a:pt x="18" y="269"/>
                      <a:pt x="18" y="270"/>
                    </a:cubicBezTo>
                    <a:cubicBezTo>
                      <a:pt x="18" y="272"/>
                      <a:pt x="18" y="272"/>
                      <a:pt x="18" y="272"/>
                    </a:cubicBezTo>
                    <a:cubicBezTo>
                      <a:pt x="17" y="276"/>
                      <a:pt x="17" y="276"/>
                      <a:pt x="19" y="278"/>
                    </a:cubicBezTo>
                    <a:cubicBezTo>
                      <a:pt x="20" y="279"/>
                      <a:pt x="20" y="279"/>
                      <a:pt x="20" y="279"/>
                    </a:cubicBezTo>
                    <a:cubicBezTo>
                      <a:pt x="22" y="280"/>
                      <a:pt x="25" y="281"/>
                      <a:pt x="26" y="284"/>
                    </a:cubicBezTo>
                    <a:cubicBezTo>
                      <a:pt x="28" y="286"/>
                      <a:pt x="26" y="288"/>
                      <a:pt x="26" y="290"/>
                    </a:cubicBezTo>
                    <a:cubicBezTo>
                      <a:pt x="26" y="290"/>
                      <a:pt x="26" y="290"/>
                      <a:pt x="26" y="290"/>
                    </a:cubicBezTo>
                    <a:cubicBezTo>
                      <a:pt x="25" y="291"/>
                      <a:pt x="25" y="292"/>
                      <a:pt x="25" y="292"/>
                    </a:cubicBezTo>
                    <a:cubicBezTo>
                      <a:pt x="25" y="292"/>
                      <a:pt x="25" y="292"/>
                      <a:pt x="25" y="292"/>
                    </a:cubicBezTo>
                    <a:cubicBezTo>
                      <a:pt x="24" y="292"/>
                      <a:pt x="24" y="292"/>
                      <a:pt x="24" y="292"/>
                    </a:cubicBezTo>
                    <a:cubicBezTo>
                      <a:pt x="25" y="293"/>
                      <a:pt x="25" y="293"/>
                      <a:pt x="25" y="293"/>
                    </a:cubicBezTo>
                    <a:cubicBezTo>
                      <a:pt x="25" y="293"/>
                      <a:pt x="25" y="293"/>
                      <a:pt x="25" y="293"/>
                    </a:cubicBezTo>
                    <a:cubicBezTo>
                      <a:pt x="30" y="300"/>
                      <a:pt x="30" y="300"/>
                      <a:pt x="30" y="300"/>
                    </a:cubicBezTo>
                    <a:cubicBezTo>
                      <a:pt x="31" y="301"/>
                      <a:pt x="32" y="302"/>
                      <a:pt x="33" y="304"/>
                    </a:cubicBezTo>
                    <a:cubicBezTo>
                      <a:pt x="34" y="305"/>
                      <a:pt x="34" y="305"/>
                      <a:pt x="34" y="305"/>
                    </a:cubicBezTo>
                    <a:cubicBezTo>
                      <a:pt x="36" y="307"/>
                      <a:pt x="37" y="309"/>
                      <a:pt x="39" y="311"/>
                    </a:cubicBezTo>
                    <a:cubicBezTo>
                      <a:pt x="41" y="314"/>
                      <a:pt x="44" y="318"/>
                      <a:pt x="44" y="323"/>
                    </a:cubicBezTo>
                    <a:cubicBezTo>
                      <a:pt x="43" y="324"/>
                      <a:pt x="43" y="324"/>
                      <a:pt x="43" y="325"/>
                    </a:cubicBezTo>
                    <a:cubicBezTo>
                      <a:pt x="43" y="326"/>
                      <a:pt x="43" y="326"/>
                      <a:pt x="43" y="326"/>
                    </a:cubicBezTo>
                    <a:cubicBezTo>
                      <a:pt x="43" y="327"/>
                      <a:pt x="43" y="328"/>
                      <a:pt x="42" y="329"/>
                    </a:cubicBezTo>
                    <a:cubicBezTo>
                      <a:pt x="43" y="330"/>
                      <a:pt x="43" y="330"/>
                      <a:pt x="42" y="331"/>
                    </a:cubicBezTo>
                    <a:cubicBezTo>
                      <a:pt x="43" y="334"/>
                      <a:pt x="41" y="336"/>
                      <a:pt x="40" y="336"/>
                    </a:cubicBezTo>
                    <a:cubicBezTo>
                      <a:pt x="40" y="337"/>
                      <a:pt x="40" y="337"/>
                      <a:pt x="40" y="337"/>
                    </a:cubicBezTo>
                    <a:cubicBezTo>
                      <a:pt x="39" y="337"/>
                      <a:pt x="39" y="338"/>
                      <a:pt x="39" y="338"/>
                    </a:cubicBezTo>
                    <a:cubicBezTo>
                      <a:pt x="39" y="339"/>
                      <a:pt x="39" y="339"/>
                      <a:pt x="39" y="339"/>
                    </a:cubicBezTo>
                    <a:cubicBezTo>
                      <a:pt x="39" y="342"/>
                      <a:pt x="39" y="342"/>
                      <a:pt x="39" y="342"/>
                    </a:cubicBezTo>
                    <a:cubicBezTo>
                      <a:pt x="39" y="343"/>
                      <a:pt x="39" y="343"/>
                      <a:pt x="39" y="343"/>
                    </a:cubicBezTo>
                    <a:cubicBezTo>
                      <a:pt x="40" y="343"/>
                      <a:pt x="40" y="343"/>
                      <a:pt x="41" y="343"/>
                    </a:cubicBezTo>
                    <a:cubicBezTo>
                      <a:pt x="41" y="343"/>
                      <a:pt x="42" y="343"/>
                      <a:pt x="43" y="343"/>
                    </a:cubicBezTo>
                    <a:cubicBezTo>
                      <a:pt x="43" y="343"/>
                      <a:pt x="44" y="343"/>
                      <a:pt x="44" y="343"/>
                    </a:cubicBezTo>
                    <a:cubicBezTo>
                      <a:pt x="45" y="343"/>
                      <a:pt x="45" y="343"/>
                      <a:pt x="46" y="343"/>
                    </a:cubicBezTo>
                    <a:cubicBezTo>
                      <a:pt x="49" y="343"/>
                      <a:pt x="49" y="343"/>
                      <a:pt x="49" y="343"/>
                    </a:cubicBezTo>
                    <a:cubicBezTo>
                      <a:pt x="51" y="343"/>
                      <a:pt x="53" y="343"/>
                      <a:pt x="55" y="346"/>
                    </a:cubicBezTo>
                    <a:cubicBezTo>
                      <a:pt x="55" y="347"/>
                      <a:pt x="55" y="348"/>
                      <a:pt x="56" y="350"/>
                    </a:cubicBezTo>
                    <a:cubicBezTo>
                      <a:pt x="56" y="351"/>
                      <a:pt x="56" y="351"/>
                      <a:pt x="56" y="352"/>
                    </a:cubicBezTo>
                    <a:cubicBezTo>
                      <a:pt x="56" y="353"/>
                      <a:pt x="56" y="353"/>
                      <a:pt x="56" y="354"/>
                    </a:cubicBezTo>
                    <a:cubicBezTo>
                      <a:pt x="57" y="354"/>
                      <a:pt x="58" y="354"/>
                      <a:pt x="59" y="354"/>
                    </a:cubicBezTo>
                    <a:cubicBezTo>
                      <a:pt x="60" y="354"/>
                      <a:pt x="60" y="354"/>
                      <a:pt x="60" y="354"/>
                    </a:cubicBezTo>
                    <a:cubicBezTo>
                      <a:pt x="61" y="355"/>
                      <a:pt x="61" y="355"/>
                      <a:pt x="61" y="355"/>
                    </a:cubicBezTo>
                    <a:cubicBezTo>
                      <a:pt x="62" y="355"/>
                      <a:pt x="62" y="355"/>
                      <a:pt x="62" y="355"/>
                    </a:cubicBezTo>
                    <a:cubicBezTo>
                      <a:pt x="64" y="355"/>
                      <a:pt x="67" y="356"/>
                      <a:pt x="69" y="356"/>
                    </a:cubicBezTo>
                    <a:cubicBezTo>
                      <a:pt x="71" y="357"/>
                      <a:pt x="75" y="360"/>
                      <a:pt x="77" y="362"/>
                    </a:cubicBezTo>
                    <a:cubicBezTo>
                      <a:pt x="78" y="363"/>
                      <a:pt x="78" y="363"/>
                      <a:pt x="78" y="363"/>
                    </a:cubicBezTo>
                    <a:cubicBezTo>
                      <a:pt x="79" y="364"/>
                      <a:pt x="79" y="364"/>
                      <a:pt x="79" y="364"/>
                    </a:cubicBezTo>
                    <a:cubicBezTo>
                      <a:pt x="79" y="364"/>
                      <a:pt x="79" y="364"/>
                      <a:pt x="79" y="364"/>
                    </a:cubicBezTo>
                    <a:cubicBezTo>
                      <a:pt x="80" y="366"/>
                      <a:pt x="80" y="366"/>
                      <a:pt x="80" y="366"/>
                    </a:cubicBezTo>
                    <a:cubicBezTo>
                      <a:pt x="81" y="367"/>
                      <a:pt x="81" y="367"/>
                      <a:pt x="81" y="367"/>
                    </a:cubicBezTo>
                    <a:cubicBezTo>
                      <a:pt x="81" y="368"/>
                      <a:pt x="81" y="368"/>
                      <a:pt x="81" y="368"/>
                    </a:cubicBezTo>
                    <a:cubicBezTo>
                      <a:pt x="81" y="368"/>
                      <a:pt x="81" y="369"/>
                      <a:pt x="81" y="369"/>
                    </a:cubicBezTo>
                    <a:cubicBezTo>
                      <a:pt x="81" y="370"/>
                      <a:pt x="81" y="370"/>
                      <a:pt x="81" y="370"/>
                    </a:cubicBezTo>
                    <a:cubicBezTo>
                      <a:pt x="81" y="371"/>
                      <a:pt x="82" y="371"/>
                      <a:pt x="83" y="372"/>
                    </a:cubicBezTo>
                    <a:cubicBezTo>
                      <a:pt x="103" y="390"/>
                      <a:pt x="103" y="390"/>
                      <a:pt x="103" y="390"/>
                    </a:cubicBezTo>
                    <a:cubicBezTo>
                      <a:pt x="105" y="387"/>
                      <a:pt x="105" y="387"/>
                      <a:pt x="105" y="387"/>
                    </a:cubicBezTo>
                    <a:cubicBezTo>
                      <a:pt x="104" y="391"/>
                      <a:pt x="104" y="391"/>
                      <a:pt x="104" y="391"/>
                    </a:cubicBezTo>
                    <a:cubicBezTo>
                      <a:pt x="105" y="391"/>
                      <a:pt x="105" y="391"/>
                      <a:pt x="105" y="391"/>
                    </a:cubicBezTo>
                    <a:cubicBezTo>
                      <a:pt x="105" y="392"/>
                      <a:pt x="105" y="392"/>
                      <a:pt x="105" y="392"/>
                    </a:cubicBezTo>
                    <a:cubicBezTo>
                      <a:pt x="109" y="389"/>
                      <a:pt x="109" y="389"/>
                      <a:pt x="109" y="389"/>
                    </a:cubicBezTo>
                    <a:cubicBezTo>
                      <a:pt x="106" y="393"/>
                      <a:pt x="106" y="393"/>
                      <a:pt x="106" y="393"/>
                    </a:cubicBezTo>
                    <a:cubicBezTo>
                      <a:pt x="106" y="393"/>
                      <a:pt x="106" y="393"/>
                      <a:pt x="106" y="393"/>
                    </a:cubicBezTo>
                    <a:cubicBezTo>
                      <a:pt x="107" y="395"/>
                      <a:pt x="107" y="396"/>
                      <a:pt x="107" y="397"/>
                    </a:cubicBezTo>
                    <a:cubicBezTo>
                      <a:pt x="107" y="397"/>
                      <a:pt x="106" y="398"/>
                      <a:pt x="106" y="399"/>
                    </a:cubicBezTo>
                    <a:cubicBezTo>
                      <a:pt x="105" y="400"/>
                      <a:pt x="105" y="400"/>
                      <a:pt x="105" y="400"/>
                    </a:cubicBezTo>
                    <a:cubicBezTo>
                      <a:pt x="105" y="400"/>
                      <a:pt x="105" y="401"/>
                      <a:pt x="105" y="401"/>
                    </a:cubicBezTo>
                    <a:cubicBezTo>
                      <a:pt x="105" y="402"/>
                      <a:pt x="106" y="402"/>
                      <a:pt x="106" y="402"/>
                    </a:cubicBezTo>
                    <a:cubicBezTo>
                      <a:pt x="106" y="403"/>
                      <a:pt x="106" y="403"/>
                      <a:pt x="106" y="403"/>
                    </a:cubicBezTo>
                    <a:cubicBezTo>
                      <a:pt x="106" y="403"/>
                      <a:pt x="107" y="404"/>
                      <a:pt x="107" y="404"/>
                    </a:cubicBezTo>
                    <a:cubicBezTo>
                      <a:pt x="107" y="405"/>
                      <a:pt x="107" y="405"/>
                      <a:pt x="107" y="405"/>
                    </a:cubicBezTo>
                    <a:cubicBezTo>
                      <a:pt x="108" y="405"/>
                      <a:pt x="108" y="405"/>
                      <a:pt x="108" y="405"/>
                    </a:cubicBezTo>
                    <a:cubicBezTo>
                      <a:pt x="108" y="406"/>
                      <a:pt x="109" y="406"/>
                      <a:pt x="111" y="407"/>
                    </a:cubicBezTo>
                    <a:cubicBezTo>
                      <a:pt x="112" y="407"/>
                      <a:pt x="112" y="407"/>
                      <a:pt x="112" y="407"/>
                    </a:cubicBezTo>
                    <a:cubicBezTo>
                      <a:pt x="114" y="408"/>
                      <a:pt x="117" y="410"/>
                      <a:pt x="119" y="411"/>
                    </a:cubicBezTo>
                    <a:cubicBezTo>
                      <a:pt x="122" y="413"/>
                      <a:pt x="126" y="415"/>
                      <a:pt x="127" y="418"/>
                    </a:cubicBezTo>
                    <a:cubicBezTo>
                      <a:pt x="128" y="420"/>
                      <a:pt x="128" y="421"/>
                      <a:pt x="128" y="422"/>
                    </a:cubicBezTo>
                    <a:cubicBezTo>
                      <a:pt x="127" y="422"/>
                      <a:pt x="127" y="422"/>
                      <a:pt x="127" y="422"/>
                    </a:cubicBezTo>
                    <a:cubicBezTo>
                      <a:pt x="127" y="422"/>
                      <a:pt x="127" y="422"/>
                      <a:pt x="127" y="422"/>
                    </a:cubicBezTo>
                    <a:cubicBezTo>
                      <a:pt x="128" y="422"/>
                      <a:pt x="128" y="422"/>
                      <a:pt x="128" y="422"/>
                    </a:cubicBezTo>
                    <a:cubicBezTo>
                      <a:pt x="128" y="423"/>
                      <a:pt x="128" y="423"/>
                      <a:pt x="128" y="423"/>
                    </a:cubicBezTo>
                    <a:cubicBezTo>
                      <a:pt x="129" y="425"/>
                      <a:pt x="130" y="427"/>
                      <a:pt x="131" y="430"/>
                    </a:cubicBezTo>
                    <a:cubicBezTo>
                      <a:pt x="132" y="431"/>
                      <a:pt x="132" y="431"/>
                      <a:pt x="132" y="431"/>
                    </a:cubicBezTo>
                    <a:cubicBezTo>
                      <a:pt x="136" y="434"/>
                      <a:pt x="138" y="437"/>
                      <a:pt x="139" y="440"/>
                    </a:cubicBezTo>
                    <a:cubicBezTo>
                      <a:pt x="140" y="442"/>
                      <a:pt x="145" y="444"/>
                      <a:pt x="148" y="446"/>
                    </a:cubicBezTo>
                    <a:cubicBezTo>
                      <a:pt x="149" y="446"/>
                      <a:pt x="150" y="447"/>
                      <a:pt x="150" y="447"/>
                    </a:cubicBezTo>
                    <a:cubicBezTo>
                      <a:pt x="151" y="447"/>
                      <a:pt x="151" y="447"/>
                      <a:pt x="151" y="447"/>
                    </a:cubicBezTo>
                    <a:cubicBezTo>
                      <a:pt x="152" y="447"/>
                      <a:pt x="152" y="447"/>
                      <a:pt x="152" y="447"/>
                    </a:cubicBezTo>
                    <a:cubicBezTo>
                      <a:pt x="152" y="446"/>
                      <a:pt x="153" y="445"/>
                      <a:pt x="155" y="445"/>
                    </a:cubicBezTo>
                    <a:cubicBezTo>
                      <a:pt x="156" y="445"/>
                      <a:pt x="157" y="444"/>
                      <a:pt x="158" y="444"/>
                    </a:cubicBezTo>
                    <a:cubicBezTo>
                      <a:pt x="160" y="444"/>
                      <a:pt x="163" y="445"/>
                      <a:pt x="165" y="445"/>
                    </a:cubicBezTo>
                    <a:cubicBezTo>
                      <a:pt x="167" y="446"/>
                      <a:pt x="169" y="446"/>
                      <a:pt x="170" y="446"/>
                    </a:cubicBezTo>
                    <a:cubicBezTo>
                      <a:pt x="171" y="446"/>
                      <a:pt x="171" y="446"/>
                      <a:pt x="171" y="446"/>
                    </a:cubicBezTo>
                    <a:cubicBezTo>
                      <a:pt x="171" y="446"/>
                      <a:pt x="171" y="446"/>
                      <a:pt x="171" y="446"/>
                    </a:cubicBezTo>
                    <a:cubicBezTo>
                      <a:pt x="171" y="446"/>
                      <a:pt x="171" y="446"/>
                      <a:pt x="171" y="446"/>
                    </a:cubicBezTo>
                    <a:cubicBezTo>
                      <a:pt x="172" y="445"/>
                      <a:pt x="172" y="444"/>
                      <a:pt x="173" y="444"/>
                    </a:cubicBezTo>
                    <a:cubicBezTo>
                      <a:pt x="176" y="442"/>
                      <a:pt x="179" y="442"/>
                      <a:pt x="182" y="441"/>
                    </a:cubicBezTo>
                    <a:cubicBezTo>
                      <a:pt x="183" y="441"/>
                      <a:pt x="184" y="441"/>
                      <a:pt x="185" y="441"/>
                    </a:cubicBezTo>
                    <a:cubicBezTo>
                      <a:pt x="188" y="441"/>
                      <a:pt x="188" y="441"/>
                      <a:pt x="188" y="441"/>
                    </a:cubicBezTo>
                    <a:cubicBezTo>
                      <a:pt x="188" y="444"/>
                      <a:pt x="188" y="444"/>
                      <a:pt x="188" y="444"/>
                    </a:cubicBezTo>
                    <a:cubicBezTo>
                      <a:pt x="188" y="445"/>
                      <a:pt x="188" y="446"/>
                      <a:pt x="188" y="446"/>
                    </a:cubicBezTo>
                    <a:cubicBezTo>
                      <a:pt x="188" y="447"/>
                      <a:pt x="188" y="448"/>
                      <a:pt x="188" y="448"/>
                    </a:cubicBezTo>
                    <a:cubicBezTo>
                      <a:pt x="192" y="452"/>
                      <a:pt x="192" y="452"/>
                      <a:pt x="192" y="452"/>
                    </a:cubicBezTo>
                    <a:cubicBezTo>
                      <a:pt x="194" y="454"/>
                      <a:pt x="195" y="455"/>
                      <a:pt x="197" y="456"/>
                    </a:cubicBezTo>
                    <a:cubicBezTo>
                      <a:pt x="197" y="456"/>
                      <a:pt x="198" y="456"/>
                      <a:pt x="199" y="456"/>
                    </a:cubicBezTo>
                    <a:cubicBezTo>
                      <a:pt x="200" y="457"/>
                      <a:pt x="200" y="457"/>
                      <a:pt x="200" y="457"/>
                    </a:cubicBezTo>
                    <a:cubicBezTo>
                      <a:pt x="201" y="457"/>
                      <a:pt x="203" y="458"/>
                      <a:pt x="205" y="460"/>
                    </a:cubicBezTo>
                    <a:cubicBezTo>
                      <a:pt x="205" y="461"/>
                      <a:pt x="205" y="462"/>
                      <a:pt x="205" y="463"/>
                    </a:cubicBezTo>
                    <a:cubicBezTo>
                      <a:pt x="205" y="464"/>
                      <a:pt x="205" y="464"/>
                      <a:pt x="205" y="465"/>
                    </a:cubicBezTo>
                    <a:cubicBezTo>
                      <a:pt x="206" y="465"/>
                      <a:pt x="206" y="465"/>
                      <a:pt x="206" y="465"/>
                    </a:cubicBezTo>
                    <a:cubicBezTo>
                      <a:pt x="207" y="465"/>
                      <a:pt x="208" y="465"/>
                      <a:pt x="209" y="466"/>
                    </a:cubicBezTo>
                    <a:cubicBezTo>
                      <a:pt x="209" y="465"/>
                      <a:pt x="210" y="465"/>
                      <a:pt x="210" y="464"/>
                    </a:cubicBezTo>
                    <a:cubicBezTo>
                      <a:pt x="211" y="464"/>
                      <a:pt x="211" y="464"/>
                      <a:pt x="211" y="464"/>
                    </a:cubicBezTo>
                    <a:cubicBezTo>
                      <a:pt x="212" y="463"/>
                      <a:pt x="212" y="463"/>
                      <a:pt x="212" y="463"/>
                    </a:cubicBezTo>
                    <a:cubicBezTo>
                      <a:pt x="213" y="462"/>
                      <a:pt x="213" y="462"/>
                      <a:pt x="213" y="462"/>
                    </a:cubicBezTo>
                    <a:cubicBezTo>
                      <a:pt x="214" y="461"/>
                      <a:pt x="215" y="460"/>
                      <a:pt x="216" y="460"/>
                    </a:cubicBezTo>
                    <a:cubicBezTo>
                      <a:pt x="217" y="460"/>
                      <a:pt x="218" y="460"/>
                      <a:pt x="219" y="461"/>
                    </a:cubicBezTo>
                    <a:cubicBezTo>
                      <a:pt x="219" y="461"/>
                      <a:pt x="220" y="461"/>
                      <a:pt x="221" y="461"/>
                    </a:cubicBezTo>
                    <a:cubicBezTo>
                      <a:pt x="222" y="462"/>
                      <a:pt x="223" y="462"/>
                      <a:pt x="224" y="462"/>
                    </a:cubicBezTo>
                    <a:cubicBezTo>
                      <a:pt x="224" y="462"/>
                      <a:pt x="224" y="462"/>
                      <a:pt x="224" y="462"/>
                    </a:cubicBezTo>
                    <a:cubicBezTo>
                      <a:pt x="225" y="462"/>
                      <a:pt x="225" y="462"/>
                      <a:pt x="226" y="462"/>
                    </a:cubicBezTo>
                    <a:cubicBezTo>
                      <a:pt x="232" y="458"/>
                      <a:pt x="232" y="458"/>
                      <a:pt x="232" y="458"/>
                    </a:cubicBezTo>
                    <a:cubicBezTo>
                      <a:pt x="234" y="460"/>
                      <a:pt x="234" y="460"/>
                      <a:pt x="234" y="460"/>
                    </a:cubicBezTo>
                    <a:cubicBezTo>
                      <a:pt x="237" y="464"/>
                      <a:pt x="237" y="464"/>
                      <a:pt x="237" y="464"/>
                    </a:cubicBezTo>
                    <a:cubicBezTo>
                      <a:pt x="237" y="464"/>
                      <a:pt x="237" y="464"/>
                      <a:pt x="237" y="464"/>
                    </a:cubicBezTo>
                    <a:cubicBezTo>
                      <a:pt x="237" y="464"/>
                      <a:pt x="238" y="464"/>
                      <a:pt x="239" y="464"/>
                    </a:cubicBezTo>
                    <a:cubicBezTo>
                      <a:pt x="240" y="465"/>
                      <a:pt x="240" y="465"/>
                      <a:pt x="240" y="465"/>
                    </a:cubicBezTo>
                    <a:cubicBezTo>
                      <a:pt x="240" y="465"/>
                      <a:pt x="240" y="465"/>
                      <a:pt x="240" y="465"/>
                    </a:cubicBezTo>
                    <a:cubicBezTo>
                      <a:pt x="241" y="464"/>
                      <a:pt x="242" y="463"/>
                      <a:pt x="243" y="462"/>
                    </a:cubicBezTo>
                    <a:cubicBezTo>
                      <a:pt x="245" y="461"/>
                      <a:pt x="247" y="460"/>
                      <a:pt x="250" y="459"/>
                    </a:cubicBezTo>
                    <a:cubicBezTo>
                      <a:pt x="250" y="459"/>
                      <a:pt x="255" y="457"/>
                      <a:pt x="259" y="457"/>
                    </a:cubicBezTo>
                    <a:cubicBezTo>
                      <a:pt x="260" y="457"/>
                      <a:pt x="261" y="457"/>
                      <a:pt x="261" y="457"/>
                    </a:cubicBezTo>
                    <a:cubicBezTo>
                      <a:pt x="262" y="458"/>
                      <a:pt x="263" y="458"/>
                      <a:pt x="264" y="459"/>
                    </a:cubicBezTo>
                    <a:cubicBezTo>
                      <a:pt x="265" y="459"/>
                      <a:pt x="266" y="460"/>
                      <a:pt x="268" y="460"/>
                    </a:cubicBezTo>
                    <a:cubicBezTo>
                      <a:pt x="269" y="460"/>
                      <a:pt x="269" y="460"/>
                      <a:pt x="270" y="460"/>
                    </a:cubicBezTo>
                    <a:cubicBezTo>
                      <a:pt x="271" y="460"/>
                      <a:pt x="271" y="460"/>
                      <a:pt x="273" y="458"/>
                    </a:cubicBezTo>
                    <a:cubicBezTo>
                      <a:pt x="280" y="451"/>
                      <a:pt x="280" y="451"/>
                      <a:pt x="280" y="451"/>
                    </a:cubicBezTo>
                    <a:cubicBezTo>
                      <a:pt x="280" y="450"/>
                      <a:pt x="280" y="450"/>
                      <a:pt x="280" y="450"/>
                    </a:cubicBezTo>
                    <a:cubicBezTo>
                      <a:pt x="281" y="450"/>
                      <a:pt x="281" y="450"/>
                      <a:pt x="281" y="450"/>
                    </a:cubicBezTo>
                    <a:cubicBezTo>
                      <a:pt x="285" y="446"/>
                      <a:pt x="285" y="446"/>
                      <a:pt x="285" y="446"/>
                    </a:cubicBezTo>
                    <a:cubicBezTo>
                      <a:pt x="286" y="445"/>
                      <a:pt x="286" y="445"/>
                      <a:pt x="287" y="445"/>
                    </a:cubicBezTo>
                    <a:cubicBezTo>
                      <a:pt x="287" y="444"/>
                      <a:pt x="287" y="444"/>
                      <a:pt x="287" y="444"/>
                    </a:cubicBezTo>
                    <a:cubicBezTo>
                      <a:pt x="288" y="444"/>
                      <a:pt x="288" y="444"/>
                      <a:pt x="288" y="444"/>
                    </a:cubicBezTo>
                    <a:cubicBezTo>
                      <a:pt x="289" y="442"/>
                      <a:pt x="291" y="440"/>
                      <a:pt x="294" y="440"/>
                    </a:cubicBezTo>
                    <a:cubicBezTo>
                      <a:pt x="320" y="440"/>
                      <a:pt x="320" y="440"/>
                      <a:pt x="320" y="440"/>
                    </a:cubicBezTo>
                    <a:cubicBezTo>
                      <a:pt x="320" y="440"/>
                      <a:pt x="320" y="440"/>
                      <a:pt x="321" y="441"/>
                    </a:cubicBezTo>
                    <a:cubicBezTo>
                      <a:pt x="321" y="441"/>
                      <a:pt x="321" y="441"/>
                      <a:pt x="321" y="441"/>
                    </a:cubicBezTo>
                    <a:cubicBezTo>
                      <a:pt x="320" y="440"/>
                      <a:pt x="320" y="440"/>
                      <a:pt x="320" y="440"/>
                    </a:cubicBezTo>
                    <a:cubicBezTo>
                      <a:pt x="320" y="440"/>
                      <a:pt x="320" y="439"/>
                      <a:pt x="319" y="438"/>
                    </a:cubicBezTo>
                    <a:cubicBezTo>
                      <a:pt x="320" y="439"/>
                      <a:pt x="320" y="439"/>
                      <a:pt x="320" y="440"/>
                    </a:cubicBezTo>
                    <a:cubicBezTo>
                      <a:pt x="322" y="440"/>
                      <a:pt x="322" y="440"/>
                      <a:pt x="322" y="440"/>
                    </a:cubicBezTo>
                    <a:cubicBezTo>
                      <a:pt x="322" y="436"/>
                      <a:pt x="322" y="436"/>
                      <a:pt x="322" y="436"/>
                    </a:cubicBezTo>
                    <a:cubicBezTo>
                      <a:pt x="322" y="436"/>
                      <a:pt x="322" y="435"/>
                      <a:pt x="322" y="434"/>
                    </a:cubicBezTo>
                    <a:cubicBezTo>
                      <a:pt x="322" y="433"/>
                      <a:pt x="322" y="433"/>
                      <a:pt x="322" y="433"/>
                    </a:cubicBezTo>
                    <a:cubicBezTo>
                      <a:pt x="322" y="432"/>
                      <a:pt x="322" y="432"/>
                      <a:pt x="322" y="431"/>
                    </a:cubicBezTo>
                    <a:cubicBezTo>
                      <a:pt x="323" y="430"/>
                      <a:pt x="323" y="430"/>
                      <a:pt x="323" y="430"/>
                    </a:cubicBezTo>
                    <a:cubicBezTo>
                      <a:pt x="323" y="429"/>
                      <a:pt x="323" y="429"/>
                      <a:pt x="323" y="428"/>
                    </a:cubicBezTo>
                    <a:cubicBezTo>
                      <a:pt x="323" y="428"/>
                      <a:pt x="323" y="428"/>
                      <a:pt x="323" y="428"/>
                    </a:cubicBezTo>
                    <a:cubicBezTo>
                      <a:pt x="323" y="428"/>
                      <a:pt x="322" y="428"/>
                      <a:pt x="321" y="428"/>
                    </a:cubicBezTo>
                    <a:cubicBezTo>
                      <a:pt x="321" y="428"/>
                      <a:pt x="321" y="428"/>
                      <a:pt x="321" y="428"/>
                    </a:cubicBezTo>
                    <a:cubicBezTo>
                      <a:pt x="320" y="427"/>
                      <a:pt x="320" y="427"/>
                      <a:pt x="320" y="427"/>
                    </a:cubicBezTo>
                    <a:cubicBezTo>
                      <a:pt x="318" y="427"/>
                      <a:pt x="316" y="426"/>
                      <a:pt x="314" y="425"/>
                    </a:cubicBezTo>
                    <a:cubicBezTo>
                      <a:pt x="313" y="425"/>
                      <a:pt x="313" y="425"/>
                      <a:pt x="313" y="424"/>
                    </a:cubicBezTo>
                    <a:cubicBezTo>
                      <a:pt x="312" y="424"/>
                      <a:pt x="312" y="424"/>
                      <a:pt x="311" y="423"/>
                    </a:cubicBezTo>
                    <a:cubicBezTo>
                      <a:pt x="310" y="423"/>
                      <a:pt x="310" y="422"/>
                      <a:pt x="309" y="421"/>
                    </a:cubicBezTo>
                    <a:cubicBezTo>
                      <a:pt x="309" y="421"/>
                      <a:pt x="309" y="421"/>
                      <a:pt x="308" y="420"/>
                    </a:cubicBezTo>
                    <a:cubicBezTo>
                      <a:pt x="307" y="419"/>
                      <a:pt x="306" y="417"/>
                      <a:pt x="306" y="416"/>
                    </a:cubicBezTo>
                    <a:cubicBezTo>
                      <a:pt x="306" y="416"/>
                      <a:pt x="302" y="402"/>
                      <a:pt x="298" y="397"/>
                    </a:cubicBezTo>
                    <a:cubicBezTo>
                      <a:pt x="298" y="397"/>
                      <a:pt x="298" y="396"/>
                      <a:pt x="297" y="396"/>
                    </a:cubicBezTo>
                    <a:cubicBezTo>
                      <a:pt x="296" y="394"/>
                      <a:pt x="296" y="394"/>
                      <a:pt x="296" y="394"/>
                    </a:cubicBezTo>
                    <a:cubicBezTo>
                      <a:pt x="294" y="393"/>
                      <a:pt x="293" y="392"/>
                      <a:pt x="292" y="391"/>
                    </a:cubicBezTo>
                    <a:cubicBezTo>
                      <a:pt x="292" y="390"/>
                      <a:pt x="291" y="390"/>
                      <a:pt x="291" y="390"/>
                    </a:cubicBezTo>
                    <a:cubicBezTo>
                      <a:pt x="288" y="388"/>
                      <a:pt x="285" y="386"/>
                      <a:pt x="283" y="383"/>
                    </a:cubicBezTo>
                    <a:cubicBezTo>
                      <a:pt x="283" y="383"/>
                      <a:pt x="283" y="383"/>
                      <a:pt x="283" y="383"/>
                    </a:cubicBezTo>
                    <a:cubicBezTo>
                      <a:pt x="282" y="382"/>
                      <a:pt x="281" y="382"/>
                      <a:pt x="281" y="381"/>
                    </a:cubicBezTo>
                    <a:cubicBezTo>
                      <a:pt x="280" y="380"/>
                      <a:pt x="280" y="380"/>
                      <a:pt x="279" y="379"/>
                    </a:cubicBezTo>
                    <a:cubicBezTo>
                      <a:pt x="279" y="378"/>
                      <a:pt x="279" y="378"/>
                      <a:pt x="279" y="378"/>
                    </a:cubicBezTo>
                    <a:cubicBezTo>
                      <a:pt x="278" y="377"/>
                      <a:pt x="276" y="374"/>
                      <a:pt x="275" y="373"/>
                    </a:cubicBezTo>
                    <a:cubicBezTo>
                      <a:pt x="275" y="373"/>
                      <a:pt x="275" y="373"/>
                      <a:pt x="275" y="373"/>
                    </a:cubicBezTo>
                    <a:cubicBezTo>
                      <a:pt x="274" y="373"/>
                      <a:pt x="273" y="373"/>
                      <a:pt x="273" y="373"/>
                    </a:cubicBezTo>
                    <a:cubicBezTo>
                      <a:pt x="272" y="373"/>
                      <a:pt x="272" y="373"/>
                      <a:pt x="271" y="372"/>
                    </a:cubicBezTo>
                    <a:cubicBezTo>
                      <a:pt x="270" y="372"/>
                      <a:pt x="270" y="372"/>
                      <a:pt x="270" y="372"/>
                    </a:cubicBezTo>
                    <a:cubicBezTo>
                      <a:pt x="268" y="371"/>
                      <a:pt x="265" y="369"/>
                      <a:pt x="263" y="369"/>
                    </a:cubicBezTo>
                    <a:cubicBezTo>
                      <a:pt x="262" y="368"/>
                      <a:pt x="262" y="368"/>
                      <a:pt x="262" y="368"/>
                    </a:cubicBezTo>
                    <a:cubicBezTo>
                      <a:pt x="261" y="368"/>
                      <a:pt x="260" y="367"/>
                      <a:pt x="259" y="367"/>
                    </a:cubicBezTo>
                    <a:cubicBezTo>
                      <a:pt x="256" y="366"/>
                      <a:pt x="256" y="366"/>
                      <a:pt x="256" y="366"/>
                    </a:cubicBezTo>
                    <a:cubicBezTo>
                      <a:pt x="257" y="363"/>
                      <a:pt x="257" y="363"/>
                      <a:pt x="257" y="363"/>
                    </a:cubicBezTo>
                    <a:cubicBezTo>
                      <a:pt x="258" y="362"/>
                      <a:pt x="258" y="360"/>
                      <a:pt x="259" y="359"/>
                    </a:cubicBezTo>
                    <a:cubicBezTo>
                      <a:pt x="260" y="355"/>
                      <a:pt x="261" y="350"/>
                      <a:pt x="266" y="349"/>
                    </a:cubicBezTo>
                    <a:cubicBezTo>
                      <a:pt x="266" y="349"/>
                      <a:pt x="267" y="349"/>
                      <a:pt x="267" y="349"/>
                    </a:cubicBezTo>
                    <a:cubicBezTo>
                      <a:pt x="268" y="349"/>
                      <a:pt x="269" y="349"/>
                      <a:pt x="269" y="349"/>
                    </a:cubicBezTo>
                    <a:cubicBezTo>
                      <a:pt x="270" y="349"/>
                      <a:pt x="270" y="349"/>
                      <a:pt x="270" y="349"/>
                    </a:cubicBezTo>
                    <a:cubicBezTo>
                      <a:pt x="270" y="349"/>
                      <a:pt x="270" y="349"/>
                      <a:pt x="270" y="349"/>
                    </a:cubicBezTo>
                    <a:cubicBezTo>
                      <a:pt x="270" y="349"/>
                      <a:pt x="270" y="349"/>
                      <a:pt x="270" y="349"/>
                    </a:cubicBezTo>
                    <a:cubicBezTo>
                      <a:pt x="272" y="349"/>
                      <a:pt x="273" y="349"/>
                      <a:pt x="275" y="350"/>
                    </a:cubicBezTo>
                    <a:cubicBezTo>
                      <a:pt x="276" y="350"/>
                      <a:pt x="278" y="350"/>
                      <a:pt x="279" y="350"/>
                    </a:cubicBezTo>
                    <a:cubicBezTo>
                      <a:pt x="280" y="350"/>
                      <a:pt x="281" y="350"/>
                      <a:pt x="281" y="350"/>
                    </a:cubicBezTo>
                    <a:cubicBezTo>
                      <a:pt x="282" y="349"/>
                      <a:pt x="282" y="349"/>
                      <a:pt x="282" y="349"/>
                    </a:cubicBezTo>
                    <a:cubicBezTo>
                      <a:pt x="285" y="347"/>
                      <a:pt x="284" y="338"/>
                      <a:pt x="283" y="333"/>
                    </a:cubicBezTo>
                    <a:cubicBezTo>
                      <a:pt x="283" y="332"/>
                      <a:pt x="283" y="332"/>
                      <a:pt x="283" y="332"/>
                    </a:cubicBezTo>
                    <a:cubicBezTo>
                      <a:pt x="283" y="328"/>
                      <a:pt x="283" y="325"/>
                      <a:pt x="284" y="322"/>
                    </a:cubicBezTo>
                    <a:cubicBezTo>
                      <a:pt x="285" y="321"/>
                      <a:pt x="285" y="320"/>
                      <a:pt x="285" y="319"/>
                    </a:cubicBezTo>
                    <a:cubicBezTo>
                      <a:pt x="286" y="318"/>
                      <a:pt x="286" y="318"/>
                      <a:pt x="286" y="318"/>
                    </a:cubicBezTo>
                    <a:cubicBezTo>
                      <a:pt x="286" y="317"/>
                      <a:pt x="287" y="315"/>
                      <a:pt x="287" y="313"/>
                    </a:cubicBezTo>
                    <a:cubicBezTo>
                      <a:pt x="288" y="311"/>
                      <a:pt x="288" y="311"/>
                      <a:pt x="288" y="311"/>
                    </a:cubicBezTo>
                    <a:cubicBezTo>
                      <a:pt x="288" y="311"/>
                      <a:pt x="288" y="310"/>
                      <a:pt x="288" y="309"/>
                    </a:cubicBezTo>
                    <a:cubicBezTo>
                      <a:pt x="289" y="309"/>
                      <a:pt x="288" y="308"/>
                      <a:pt x="288" y="307"/>
                    </a:cubicBezTo>
                    <a:cubicBezTo>
                      <a:pt x="288" y="305"/>
                      <a:pt x="287" y="303"/>
                      <a:pt x="288" y="300"/>
                    </a:cubicBezTo>
                    <a:cubicBezTo>
                      <a:pt x="288" y="300"/>
                      <a:pt x="288" y="299"/>
                      <a:pt x="289" y="299"/>
                    </a:cubicBezTo>
                    <a:cubicBezTo>
                      <a:pt x="290" y="298"/>
                      <a:pt x="290" y="297"/>
                      <a:pt x="291" y="296"/>
                    </a:cubicBezTo>
                    <a:cubicBezTo>
                      <a:pt x="292" y="294"/>
                      <a:pt x="293" y="293"/>
                      <a:pt x="294" y="293"/>
                    </a:cubicBezTo>
                    <a:cubicBezTo>
                      <a:pt x="295" y="293"/>
                      <a:pt x="295" y="293"/>
                      <a:pt x="295" y="293"/>
                    </a:cubicBezTo>
                    <a:cubicBezTo>
                      <a:pt x="295" y="292"/>
                      <a:pt x="295" y="292"/>
                      <a:pt x="295" y="292"/>
                    </a:cubicBezTo>
                    <a:cubicBezTo>
                      <a:pt x="296" y="292"/>
                      <a:pt x="296" y="292"/>
                      <a:pt x="296" y="292"/>
                    </a:cubicBezTo>
                    <a:cubicBezTo>
                      <a:pt x="297" y="292"/>
                      <a:pt x="297" y="292"/>
                      <a:pt x="297" y="292"/>
                    </a:cubicBezTo>
                    <a:cubicBezTo>
                      <a:pt x="297" y="292"/>
                      <a:pt x="297" y="292"/>
                      <a:pt x="297" y="292"/>
                    </a:cubicBezTo>
                    <a:cubicBezTo>
                      <a:pt x="297" y="292"/>
                      <a:pt x="298" y="292"/>
                      <a:pt x="298" y="292"/>
                    </a:cubicBezTo>
                    <a:cubicBezTo>
                      <a:pt x="298" y="292"/>
                      <a:pt x="298" y="292"/>
                      <a:pt x="298" y="292"/>
                    </a:cubicBezTo>
                    <a:cubicBezTo>
                      <a:pt x="299" y="293"/>
                      <a:pt x="299" y="293"/>
                      <a:pt x="299" y="293"/>
                    </a:cubicBezTo>
                    <a:cubicBezTo>
                      <a:pt x="300" y="293"/>
                      <a:pt x="300" y="293"/>
                      <a:pt x="300" y="293"/>
                    </a:cubicBezTo>
                    <a:cubicBezTo>
                      <a:pt x="300" y="294"/>
                      <a:pt x="301" y="294"/>
                      <a:pt x="301" y="294"/>
                    </a:cubicBezTo>
                    <a:cubicBezTo>
                      <a:pt x="302" y="294"/>
                      <a:pt x="302" y="294"/>
                      <a:pt x="302" y="294"/>
                    </a:cubicBezTo>
                    <a:cubicBezTo>
                      <a:pt x="302" y="294"/>
                      <a:pt x="302" y="294"/>
                      <a:pt x="302" y="294"/>
                    </a:cubicBezTo>
                    <a:cubicBezTo>
                      <a:pt x="302" y="294"/>
                      <a:pt x="303" y="294"/>
                      <a:pt x="303" y="294"/>
                    </a:cubicBezTo>
                    <a:cubicBezTo>
                      <a:pt x="303" y="293"/>
                      <a:pt x="303" y="293"/>
                      <a:pt x="303" y="293"/>
                    </a:cubicBezTo>
                    <a:cubicBezTo>
                      <a:pt x="303" y="293"/>
                      <a:pt x="303" y="293"/>
                      <a:pt x="303" y="293"/>
                    </a:cubicBezTo>
                    <a:cubicBezTo>
                      <a:pt x="303" y="293"/>
                      <a:pt x="303" y="293"/>
                      <a:pt x="303" y="293"/>
                    </a:cubicBezTo>
                    <a:cubicBezTo>
                      <a:pt x="303" y="291"/>
                      <a:pt x="303" y="290"/>
                      <a:pt x="303" y="289"/>
                    </a:cubicBezTo>
                    <a:cubicBezTo>
                      <a:pt x="303" y="289"/>
                      <a:pt x="303" y="289"/>
                      <a:pt x="303" y="289"/>
                    </a:cubicBezTo>
                    <a:cubicBezTo>
                      <a:pt x="304" y="288"/>
                      <a:pt x="304" y="288"/>
                      <a:pt x="304" y="287"/>
                    </a:cubicBezTo>
                    <a:cubicBezTo>
                      <a:pt x="304" y="286"/>
                      <a:pt x="304" y="286"/>
                      <a:pt x="304" y="285"/>
                    </a:cubicBezTo>
                    <a:cubicBezTo>
                      <a:pt x="304" y="284"/>
                      <a:pt x="304" y="284"/>
                      <a:pt x="304" y="284"/>
                    </a:cubicBezTo>
                    <a:cubicBezTo>
                      <a:pt x="304" y="284"/>
                      <a:pt x="304" y="283"/>
                      <a:pt x="305" y="282"/>
                    </a:cubicBezTo>
                    <a:cubicBezTo>
                      <a:pt x="305" y="280"/>
                      <a:pt x="305" y="278"/>
                      <a:pt x="306" y="277"/>
                    </a:cubicBezTo>
                    <a:cubicBezTo>
                      <a:pt x="306" y="275"/>
                      <a:pt x="306" y="275"/>
                      <a:pt x="306" y="275"/>
                    </a:cubicBezTo>
                    <a:cubicBezTo>
                      <a:pt x="307" y="272"/>
                      <a:pt x="308" y="269"/>
                      <a:pt x="311" y="267"/>
                    </a:cubicBezTo>
                    <a:cubicBezTo>
                      <a:pt x="312" y="266"/>
                      <a:pt x="313" y="264"/>
                      <a:pt x="314" y="262"/>
                    </a:cubicBezTo>
                    <a:cubicBezTo>
                      <a:pt x="315" y="260"/>
                      <a:pt x="317" y="258"/>
                      <a:pt x="318" y="256"/>
                    </a:cubicBezTo>
                    <a:cubicBezTo>
                      <a:pt x="318" y="255"/>
                      <a:pt x="318" y="255"/>
                      <a:pt x="318" y="255"/>
                    </a:cubicBezTo>
                    <a:cubicBezTo>
                      <a:pt x="319" y="254"/>
                      <a:pt x="320" y="252"/>
                      <a:pt x="320" y="251"/>
                    </a:cubicBezTo>
                    <a:cubicBezTo>
                      <a:pt x="321" y="250"/>
                      <a:pt x="323" y="249"/>
                      <a:pt x="325" y="248"/>
                    </a:cubicBezTo>
                    <a:cubicBezTo>
                      <a:pt x="326" y="248"/>
                      <a:pt x="326" y="248"/>
                      <a:pt x="326" y="248"/>
                    </a:cubicBezTo>
                    <a:cubicBezTo>
                      <a:pt x="326" y="248"/>
                      <a:pt x="326" y="248"/>
                      <a:pt x="326" y="248"/>
                    </a:cubicBezTo>
                    <a:cubicBezTo>
                      <a:pt x="327" y="248"/>
                      <a:pt x="328" y="249"/>
                      <a:pt x="329" y="249"/>
                    </a:cubicBezTo>
                    <a:cubicBezTo>
                      <a:pt x="329" y="249"/>
                      <a:pt x="330" y="249"/>
                      <a:pt x="331" y="249"/>
                    </a:cubicBezTo>
                    <a:cubicBezTo>
                      <a:pt x="331" y="249"/>
                      <a:pt x="331" y="249"/>
                      <a:pt x="331" y="249"/>
                    </a:cubicBezTo>
                    <a:cubicBezTo>
                      <a:pt x="331" y="249"/>
                      <a:pt x="331" y="249"/>
                      <a:pt x="332" y="249"/>
                    </a:cubicBezTo>
                    <a:cubicBezTo>
                      <a:pt x="332" y="249"/>
                      <a:pt x="332" y="248"/>
                      <a:pt x="333" y="244"/>
                    </a:cubicBezTo>
                    <a:cubicBezTo>
                      <a:pt x="333" y="243"/>
                      <a:pt x="333" y="243"/>
                      <a:pt x="333" y="243"/>
                    </a:cubicBezTo>
                    <a:cubicBezTo>
                      <a:pt x="334" y="239"/>
                      <a:pt x="334" y="239"/>
                      <a:pt x="334" y="239"/>
                    </a:cubicBezTo>
                    <a:cubicBezTo>
                      <a:pt x="336" y="234"/>
                      <a:pt x="337" y="229"/>
                      <a:pt x="338" y="224"/>
                    </a:cubicBezTo>
                    <a:cubicBezTo>
                      <a:pt x="338" y="223"/>
                      <a:pt x="338" y="223"/>
                      <a:pt x="338" y="223"/>
                    </a:cubicBezTo>
                    <a:cubicBezTo>
                      <a:pt x="339" y="221"/>
                      <a:pt x="339" y="218"/>
                      <a:pt x="340" y="216"/>
                    </a:cubicBezTo>
                    <a:cubicBezTo>
                      <a:pt x="340" y="214"/>
                      <a:pt x="340" y="214"/>
                      <a:pt x="340" y="214"/>
                    </a:cubicBezTo>
                    <a:cubicBezTo>
                      <a:pt x="339" y="210"/>
                      <a:pt x="339" y="204"/>
                      <a:pt x="339" y="203"/>
                    </a:cubicBezTo>
                    <a:cubicBezTo>
                      <a:pt x="339" y="203"/>
                      <a:pt x="339" y="202"/>
                      <a:pt x="339" y="201"/>
                    </a:cubicBezTo>
                    <a:cubicBezTo>
                      <a:pt x="338" y="198"/>
                      <a:pt x="338" y="195"/>
                      <a:pt x="338" y="193"/>
                    </a:cubicBezTo>
                    <a:cubicBezTo>
                      <a:pt x="339" y="187"/>
                      <a:pt x="342" y="181"/>
                      <a:pt x="344" y="175"/>
                    </a:cubicBezTo>
                    <a:cubicBezTo>
                      <a:pt x="344" y="175"/>
                      <a:pt x="344" y="175"/>
                      <a:pt x="344" y="175"/>
                    </a:cubicBezTo>
                    <a:cubicBezTo>
                      <a:pt x="346" y="172"/>
                      <a:pt x="347" y="170"/>
                      <a:pt x="348" y="167"/>
                    </a:cubicBezTo>
                    <a:cubicBezTo>
                      <a:pt x="350" y="161"/>
                      <a:pt x="350" y="155"/>
                      <a:pt x="351" y="148"/>
                    </a:cubicBezTo>
                    <a:cubicBezTo>
                      <a:pt x="351" y="143"/>
                      <a:pt x="351" y="143"/>
                      <a:pt x="351" y="143"/>
                    </a:cubicBezTo>
                    <a:cubicBezTo>
                      <a:pt x="354" y="143"/>
                      <a:pt x="354" y="143"/>
                      <a:pt x="354" y="143"/>
                    </a:cubicBezTo>
                    <a:cubicBezTo>
                      <a:pt x="355" y="143"/>
                      <a:pt x="356" y="143"/>
                      <a:pt x="357" y="144"/>
                    </a:cubicBezTo>
                    <a:cubicBezTo>
                      <a:pt x="358" y="144"/>
                      <a:pt x="359" y="144"/>
                      <a:pt x="361" y="144"/>
                    </a:cubicBezTo>
                    <a:cubicBezTo>
                      <a:pt x="361" y="144"/>
                      <a:pt x="362" y="144"/>
                      <a:pt x="362" y="144"/>
                    </a:cubicBezTo>
                    <a:cubicBezTo>
                      <a:pt x="363" y="143"/>
                      <a:pt x="363" y="143"/>
                      <a:pt x="363" y="143"/>
                    </a:cubicBezTo>
                    <a:cubicBezTo>
                      <a:pt x="364" y="142"/>
                      <a:pt x="364" y="142"/>
                      <a:pt x="364" y="142"/>
                    </a:cubicBezTo>
                    <a:cubicBezTo>
                      <a:pt x="364" y="142"/>
                      <a:pt x="364" y="141"/>
                      <a:pt x="365" y="140"/>
                    </a:cubicBezTo>
                    <a:cubicBezTo>
                      <a:pt x="367" y="139"/>
                      <a:pt x="369" y="137"/>
                      <a:pt x="371" y="136"/>
                    </a:cubicBezTo>
                    <a:cubicBezTo>
                      <a:pt x="371" y="136"/>
                      <a:pt x="371" y="136"/>
                      <a:pt x="371" y="136"/>
                    </a:cubicBezTo>
                    <a:cubicBezTo>
                      <a:pt x="372" y="135"/>
                      <a:pt x="373" y="135"/>
                      <a:pt x="374" y="134"/>
                    </a:cubicBezTo>
                    <a:cubicBezTo>
                      <a:pt x="374" y="134"/>
                      <a:pt x="374" y="134"/>
                      <a:pt x="374" y="134"/>
                    </a:cubicBezTo>
                    <a:cubicBezTo>
                      <a:pt x="375" y="133"/>
                      <a:pt x="376" y="133"/>
                      <a:pt x="376" y="133"/>
                    </a:cubicBezTo>
                    <a:cubicBezTo>
                      <a:pt x="378" y="132"/>
                      <a:pt x="379" y="132"/>
                      <a:pt x="380" y="132"/>
                    </a:cubicBezTo>
                    <a:cubicBezTo>
                      <a:pt x="381" y="132"/>
                      <a:pt x="381" y="132"/>
                      <a:pt x="381" y="132"/>
                    </a:cubicBezTo>
                    <a:cubicBezTo>
                      <a:pt x="378" y="127"/>
                      <a:pt x="378" y="127"/>
                      <a:pt x="378" y="127"/>
                    </a:cubicBezTo>
                    <a:cubicBezTo>
                      <a:pt x="382" y="131"/>
                      <a:pt x="382" y="131"/>
                      <a:pt x="382" y="131"/>
                    </a:cubicBezTo>
                    <a:cubicBezTo>
                      <a:pt x="383" y="130"/>
                      <a:pt x="383" y="130"/>
                      <a:pt x="383" y="130"/>
                    </a:cubicBezTo>
                    <a:cubicBezTo>
                      <a:pt x="384" y="129"/>
                      <a:pt x="386" y="127"/>
                      <a:pt x="387" y="125"/>
                    </a:cubicBezTo>
                    <a:cubicBezTo>
                      <a:pt x="387" y="125"/>
                      <a:pt x="387" y="125"/>
                      <a:pt x="387" y="125"/>
                    </a:cubicBezTo>
                    <a:cubicBezTo>
                      <a:pt x="388" y="124"/>
                      <a:pt x="388" y="123"/>
                      <a:pt x="389" y="123"/>
                    </a:cubicBezTo>
                    <a:cubicBezTo>
                      <a:pt x="389" y="122"/>
                      <a:pt x="389" y="122"/>
                      <a:pt x="389" y="122"/>
                    </a:cubicBezTo>
                    <a:cubicBezTo>
                      <a:pt x="388" y="121"/>
                      <a:pt x="387" y="121"/>
                      <a:pt x="387" y="120"/>
                    </a:cubicBezTo>
                    <a:cubicBezTo>
                      <a:pt x="380" y="116"/>
                      <a:pt x="374" y="111"/>
                      <a:pt x="368" y="106"/>
                    </a:cubicBezTo>
                    <a:cubicBezTo>
                      <a:pt x="361" y="101"/>
                      <a:pt x="360" y="88"/>
                      <a:pt x="359" y="81"/>
                    </a:cubicBezTo>
                    <a:cubicBezTo>
                      <a:pt x="359" y="75"/>
                      <a:pt x="360" y="68"/>
                      <a:pt x="359" y="62"/>
                    </a:cubicBezTo>
                    <a:cubicBezTo>
                      <a:pt x="359" y="57"/>
                      <a:pt x="358" y="51"/>
                      <a:pt x="357" y="45"/>
                    </a:cubicBezTo>
                    <a:cubicBezTo>
                      <a:pt x="358" y="47"/>
                      <a:pt x="360" y="49"/>
                      <a:pt x="361" y="50"/>
                    </a:cubicBezTo>
                    <a:cubicBezTo>
                      <a:pt x="361" y="47"/>
                      <a:pt x="357" y="44"/>
                      <a:pt x="356" y="42"/>
                    </a:cubicBezTo>
                    <a:cubicBezTo>
                      <a:pt x="354" y="40"/>
                      <a:pt x="352" y="36"/>
                      <a:pt x="351" y="33"/>
                    </a:cubicBezTo>
                    <a:cubicBezTo>
                      <a:pt x="351" y="32"/>
                      <a:pt x="352" y="26"/>
                      <a:pt x="351" y="26"/>
                    </a:cubicBezTo>
                    <a:cubicBezTo>
                      <a:pt x="351" y="26"/>
                      <a:pt x="351" y="26"/>
                      <a:pt x="351" y="26"/>
                    </a:cubicBezTo>
                    <a:cubicBezTo>
                      <a:pt x="344" y="20"/>
                      <a:pt x="338" y="15"/>
                      <a:pt x="331" y="10"/>
                    </a:cubicBezTo>
                    <a:cubicBezTo>
                      <a:pt x="329" y="8"/>
                      <a:pt x="326" y="4"/>
                      <a:pt x="3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 name="Freeform 195">
                <a:extLst>
                  <a:ext uri="{FF2B5EF4-FFF2-40B4-BE49-F238E27FC236}">
                    <a16:creationId xmlns:a16="http://schemas.microsoft.com/office/drawing/2014/main" id="{C950F0EA-9CC2-48D3-87BA-E49CD28FE737}"/>
                  </a:ext>
                </a:extLst>
              </p:cNvPr>
              <p:cNvSpPr>
                <a:spLocks/>
              </p:cNvSpPr>
              <p:nvPr/>
            </p:nvSpPr>
            <p:spPr bwMode="auto">
              <a:xfrm>
                <a:off x="2990" y="1341"/>
                <a:ext cx="900" cy="837"/>
              </a:xfrm>
              <a:custGeom>
                <a:avLst/>
                <a:gdLst>
                  <a:gd name="T0" fmla="*/ 143 w 381"/>
                  <a:gd name="T1" fmla="*/ 86 h 354"/>
                  <a:gd name="T2" fmla="*/ 160 w 381"/>
                  <a:gd name="T3" fmla="*/ 219 h 354"/>
                  <a:gd name="T4" fmla="*/ 152 w 381"/>
                  <a:gd name="T5" fmla="*/ 233 h 354"/>
                  <a:gd name="T6" fmla="*/ 125 w 381"/>
                  <a:gd name="T7" fmla="*/ 233 h 354"/>
                  <a:gd name="T8" fmla="*/ 69 w 381"/>
                  <a:gd name="T9" fmla="*/ 233 h 354"/>
                  <a:gd name="T10" fmla="*/ 66 w 381"/>
                  <a:gd name="T11" fmla="*/ 234 h 354"/>
                  <a:gd name="T12" fmla="*/ 33 w 381"/>
                  <a:gd name="T13" fmla="*/ 235 h 354"/>
                  <a:gd name="T14" fmla="*/ 11 w 381"/>
                  <a:gd name="T15" fmla="*/ 231 h 354"/>
                  <a:gd name="T16" fmla="*/ 5 w 381"/>
                  <a:gd name="T17" fmla="*/ 249 h 354"/>
                  <a:gd name="T18" fmla="*/ 5 w 381"/>
                  <a:gd name="T19" fmla="*/ 270 h 354"/>
                  <a:gd name="T20" fmla="*/ 13 w 381"/>
                  <a:gd name="T21" fmla="*/ 279 h 354"/>
                  <a:gd name="T22" fmla="*/ 20 w 381"/>
                  <a:gd name="T23" fmla="*/ 300 h 354"/>
                  <a:gd name="T24" fmla="*/ 17 w 381"/>
                  <a:gd name="T25" fmla="*/ 308 h 354"/>
                  <a:gd name="T26" fmla="*/ 22 w 381"/>
                  <a:gd name="T27" fmla="*/ 309 h 354"/>
                  <a:gd name="T28" fmla="*/ 28 w 381"/>
                  <a:gd name="T29" fmla="*/ 306 h 354"/>
                  <a:gd name="T30" fmla="*/ 47 w 381"/>
                  <a:gd name="T31" fmla="*/ 307 h 354"/>
                  <a:gd name="T32" fmla="*/ 60 w 381"/>
                  <a:gd name="T33" fmla="*/ 307 h 354"/>
                  <a:gd name="T34" fmla="*/ 71 w 381"/>
                  <a:gd name="T35" fmla="*/ 301 h 354"/>
                  <a:gd name="T36" fmla="*/ 80 w 381"/>
                  <a:gd name="T37" fmla="*/ 317 h 354"/>
                  <a:gd name="T38" fmla="*/ 90 w 381"/>
                  <a:gd name="T39" fmla="*/ 329 h 354"/>
                  <a:gd name="T40" fmla="*/ 90 w 381"/>
                  <a:gd name="T41" fmla="*/ 330 h 354"/>
                  <a:gd name="T42" fmla="*/ 88 w 381"/>
                  <a:gd name="T43" fmla="*/ 334 h 354"/>
                  <a:gd name="T44" fmla="*/ 92 w 381"/>
                  <a:gd name="T45" fmla="*/ 337 h 354"/>
                  <a:gd name="T46" fmla="*/ 94 w 381"/>
                  <a:gd name="T47" fmla="*/ 350 h 354"/>
                  <a:gd name="T48" fmla="*/ 99 w 381"/>
                  <a:gd name="T49" fmla="*/ 352 h 354"/>
                  <a:gd name="T50" fmla="*/ 114 w 381"/>
                  <a:gd name="T51" fmla="*/ 353 h 354"/>
                  <a:gd name="T52" fmla="*/ 122 w 381"/>
                  <a:gd name="T53" fmla="*/ 350 h 354"/>
                  <a:gd name="T54" fmla="*/ 126 w 381"/>
                  <a:gd name="T55" fmla="*/ 344 h 354"/>
                  <a:gd name="T56" fmla="*/ 138 w 381"/>
                  <a:gd name="T57" fmla="*/ 339 h 354"/>
                  <a:gd name="T58" fmla="*/ 142 w 381"/>
                  <a:gd name="T59" fmla="*/ 354 h 354"/>
                  <a:gd name="T60" fmla="*/ 149 w 381"/>
                  <a:gd name="T61" fmla="*/ 349 h 354"/>
                  <a:gd name="T62" fmla="*/ 153 w 381"/>
                  <a:gd name="T63" fmla="*/ 344 h 354"/>
                  <a:gd name="T64" fmla="*/ 157 w 381"/>
                  <a:gd name="T65" fmla="*/ 322 h 354"/>
                  <a:gd name="T66" fmla="*/ 170 w 381"/>
                  <a:gd name="T67" fmla="*/ 311 h 354"/>
                  <a:gd name="T68" fmla="*/ 176 w 381"/>
                  <a:gd name="T69" fmla="*/ 297 h 354"/>
                  <a:gd name="T70" fmla="*/ 181 w 381"/>
                  <a:gd name="T71" fmla="*/ 291 h 354"/>
                  <a:gd name="T72" fmla="*/ 193 w 381"/>
                  <a:gd name="T73" fmla="*/ 276 h 354"/>
                  <a:gd name="T74" fmla="*/ 203 w 381"/>
                  <a:gd name="T75" fmla="*/ 282 h 354"/>
                  <a:gd name="T76" fmla="*/ 205 w 381"/>
                  <a:gd name="T77" fmla="*/ 267 h 354"/>
                  <a:gd name="T78" fmla="*/ 214 w 381"/>
                  <a:gd name="T79" fmla="*/ 269 h 354"/>
                  <a:gd name="T80" fmla="*/ 234 w 381"/>
                  <a:gd name="T81" fmla="*/ 259 h 354"/>
                  <a:gd name="T82" fmla="*/ 250 w 381"/>
                  <a:gd name="T83" fmla="*/ 248 h 354"/>
                  <a:gd name="T84" fmla="*/ 269 w 381"/>
                  <a:gd name="T85" fmla="*/ 237 h 354"/>
                  <a:gd name="T86" fmla="*/ 285 w 381"/>
                  <a:gd name="T87" fmla="*/ 239 h 354"/>
                  <a:gd name="T88" fmla="*/ 290 w 381"/>
                  <a:gd name="T89" fmla="*/ 240 h 354"/>
                  <a:gd name="T90" fmla="*/ 295 w 381"/>
                  <a:gd name="T91" fmla="*/ 239 h 354"/>
                  <a:gd name="T92" fmla="*/ 349 w 381"/>
                  <a:gd name="T93" fmla="*/ 231 h 354"/>
                  <a:gd name="T94" fmla="*/ 362 w 381"/>
                  <a:gd name="T95" fmla="*/ 230 h 354"/>
                  <a:gd name="T96" fmla="*/ 372 w 381"/>
                  <a:gd name="T97" fmla="*/ 224 h 354"/>
                  <a:gd name="T98" fmla="*/ 381 w 381"/>
                  <a:gd name="T99" fmla="*/ 176 h 354"/>
                  <a:gd name="T100" fmla="*/ 357 w 381"/>
                  <a:gd name="T101" fmla="*/ 145 h 354"/>
                  <a:gd name="T102" fmla="*/ 358 w 381"/>
                  <a:gd name="T103" fmla="*/ 135 h 354"/>
                  <a:gd name="T104" fmla="*/ 357 w 381"/>
                  <a:gd name="T105" fmla="*/ 128 h 354"/>
                  <a:gd name="T106" fmla="*/ 352 w 381"/>
                  <a:gd name="T107" fmla="*/ 125 h 354"/>
                  <a:gd name="T108" fmla="*/ 336 w 381"/>
                  <a:gd name="T109" fmla="*/ 117 h 354"/>
                  <a:gd name="T110" fmla="*/ 321 w 381"/>
                  <a:gd name="T111" fmla="*/ 112 h 354"/>
                  <a:gd name="T112" fmla="*/ 309 w 381"/>
                  <a:gd name="T113" fmla="*/ 104 h 354"/>
                  <a:gd name="T114" fmla="*/ 286 w 381"/>
                  <a:gd name="T115" fmla="*/ 80 h 354"/>
                  <a:gd name="T116" fmla="*/ 181 w 381"/>
                  <a:gd name="T117" fmla="*/ 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1" h="354">
                    <a:moveTo>
                      <a:pt x="169" y="0"/>
                    </a:moveTo>
                    <a:cubicBezTo>
                      <a:pt x="133" y="0"/>
                      <a:pt x="133" y="0"/>
                      <a:pt x="133" y="0"/>
                    </a:cubicBezTo>
                    <a:cubicBezTo>
                      <a:pt x="135" y="18"/>
                      <a:pt x="135" y="18"/>
                      <a:pt x="135" y="18"/>
                    </a:cubicBezTo>
                    <a:cubicBezTo>
                      <a:pt x="135" y="20"/>
                      <a:pt x="135" y="21"/>
                      <a:pt x="135" y="22"/>
                    </a:cubicBezTo>
                    <a:cubicBezTo>
                      <a:pt x="136" y="30"/>
                      <a:pt x="136" y="30"/>
                      <a:pt x="136" y="30"/>
                    </a:cubicBezTo>
                    <a:cubicBezTo>
                      <a:pt x="138" y="49"/>
                      <a:pt x="141" y="67"/>
                      <a:pt x="143" y="86"/>
                    </a:cubicBezTo>
                    <a:cubicBezTo>
                      <a:pt x="146" y="108"/>
                      <a:pt x="148" y="130"/>
                      <a:pt x="151" y="152"/>
                    </a:cubicBezTo>
                    <a:cubicBezTo>
                      <a:pt x="158" y="205"/>
                      <a:pt x="158" y="205"/>
                      <a:pt x="158" y="205"/>
                    </a:cubicBezTo>
                    <a:cubicBezTo>
                      <a:pt x="158" y="206"/>
                      <a:pt x="158" y="206"/>
                      <a:pt x="158" y="206"/>
                    </a:cubicBezTo>
                    <a:cubicBezTo>
                      <a:pt x="159" y="206"/>
                      <a:pt x="159" y="206"/>
                      <a:pt x="159" y="206"/>
                    </a:cubicBezTo>
                    <a:cubicBezTo>
                      <a:pt x="162" y="209"/>
                      <a:pt x="161" y="213"/>
                      <a:pt x="161" y="215"/>
                    </a:cubicBezTo>
                    <a:cubicBezTo>
                      <a:pt x="160" y="219"/>
                      <a:pt x="160" y="219"/>
                      <a:pt x="160" y="219"/>
                    </a:cubicBezTo>
                    <a:cubicBezTo>
                      <a:pt x="160" y="219"/>
                      <a:pt x="160" y="220"/>
                      <a:pt x="160" y="221"/>
                    </a:cubicBezTo>
                    <a:cubicBezTo>
                      <a:pt x="160" y="222"/>
                      <a:pt x="160" y="222"/>
                      <a:pt x="160" y="222"/>
                    </a:cubicBezTo>
                    <a:cubicBezTo>
                      <a:pt x="159" y="228"/>
                      <a:pt x="159" y="231"/>
                      <a:pt x="157" y="232"/>
                    </a:cubicBezTo>
                    <a:cubicBezTo>
                      <a:pt x="156" y="233"/>
                      <a:pt x="156" y="233"/>
                      <a:pt x="155" y="233"/>
                    </a:cubicBezTo>
                    <a:cubicBezTo>
                      <a:pt x="154" y="233"/>
                      <a:pt x="154" y="233"/>
                      <a:pt x="154" y="233"/>
                    </a:cubicBezTo>
                    <a:cubicBezTo>
                      <a:pt x="154" y="233"/>
                      <a:pt x="153" y="233"/>
                      <a:pt x="152" y="233"/>
                    </a:cubicBezTo>
                    <a:cubicBezTo>
                      <a:pt x="151" y="233"/>
                      <a:pt x="151" y="233"/>
                      <a:pt x="151" y="233"/>
                    </a:cubicBezTo>
                    <a:cubicBezTo>
                      <a:pt x="150" y="233"/>
                      <a:pt x="150" y="233"/>
                      <a:pt x="150" y="233"/>
                    </a:cubicBezTo>
                    <a:cubicBezTo>
                      <a:pt x="149" y="233"/>
                      <a:pt x="148" y="233"/>
                      <a:pt x="147" y="233"/>
                    </a:cubicBezTo>
                    <a:cubicBezTo>
                      <a:pt x="146" y="233"/>
                      <a:pt x="146" y="233"/>
                      <a:pt x="145" y="233"/>
                    </a:cubicBezTo>
                    <a:cubicBezTo>
                      <a:pt x="145" y="233"/>
                      <a:pt x="145" y="233"/>
                      <a:pt x="145" y="233"/>
                    </a:cubicBezTo>
                    <a:cubicBezTo>
                      <a:pt x="138" y="233"/>
                      <a:pt x="132" y="233"/>
                      <a:pt x="125" y="233"/>
                    </a:cubicBezTo>
                    <a:cubicBezTo>
                      <a:pt x="120" y="233"/>
                      <a:pt x="115" y="233"/>
                      <a:pt x="110" y="233"/>
                    </a:cubicBezTo>
                    <a:cubicBezTo>
                      <a:pt x="76" y="233"/>
                      <a:pt x="76" y="233"/>
                      <a:pt x="76" y="233"/>
                    </a:cubicBezTo>
                    <a:cubicBezTo>
                      <a:pt x="76" y="233"/>
                      <a:pt x="75" y="233"/>
                      <a:pt x="74" y="233"/>
                    </a:cubicBezTo>
                    <a:cubicBezTo>
                      <a:pt x="74" y="233"/>
                      <a:pt x="74" y="233"/>
                      <a:pt x="74" y="233"/>
                    </a:cubicBezTo>
                    <a:cubicBezTo>
                      <a:pt x="73" y="233"/>
                      <a:pt x="73" y="233"/>
                      <a:pt x="72" y="233"/>
                    </a:cubicBezTo>
                    <a:cubicBezTo>
                      <a:pt x="71" y="233"/>
                      <a:pt x="70" y="233"/>
                      <a:pt x="69" y="233"/>
                    </a:cubicBezTo>
                    <a:cubicBezTo>
                      <a:pt x="69" y="233"/>
                      <a:pt x="69" y="233"/>
                      <a:pt x="69" y="233"/>
                    </a:cubicBezTo>
                    <a:cubicBezTo>
                      <a:pt x="68" y="233"/>
                      <a:pt x="67" y="232"/>
                      <a:pt x="67" y="232"/>
                    </a:cubicBezTo>
                    <a:cubicBezTo>
                      <a:pt x="67" y="232"/>
                      <a:pt x="67" y="232"/>
                      <a:pt x="67" y="232"/>
                    </a:cubicBezTo>
                    <a:cubicBezTo>
                      <a:pt x="66" y="232"/>
                      <a:pt x="66" y="232"/>
                      <a:pt x="66" y="232"/>
                    </a:cubicBezTo>
                    <a:cubicBezTo>
                      <a:pt x="66" y="232"/>
                      <a:pt x="66" y="232"/>
                      <a:pt x="66" y="232"/>
                    </a:cubicBezTo>
                    <a:cubicBezTo>
                      <a:pt x="66" y="234"/>
                      <a:pt x="66" y="234"/>
                      <a:pt x="66" y="234"/>
                    </a:cubicBezTo>
                    <a:cubicBezTo>
                      <a:pt x="39" y="234"/>
                      <a:pt x="39" y="234"/>
                      <a:pt x="39" y="234"/>
                    </a:cubicBezTo>
                    <a:cubicBezTo>
                      <a:pt x="38" y="234"/>
                      <a:pt x="38" y="234"/>
                      <a:pt x="37" y="234"/>
                    </a:cubicBezTo>
                    <a:cubicBezTo>
                      <a:pt x="37" y="234"/>
                      <a:pt x="37" y="234"/>
                      <a:pt x="37" y="234"/>
                    </a:cubicBezTo>
                    <a:cubicBezTo>
                      <a:pt x="36" y="234"/>
                      <a:pt x="35" y="234"/>
                      <a:pt x="35" y="234"/>
                    </a:cubicBezTo>
                    <a:cubicBezTo>
                      <a:pt x="34" y="234"/>
                      <a:pt x="34" y="234"/>
                      <a:pt x="34" y="234"/>
                    </a:cubicBezTo>
                    <a:cubicBezTo>
                      <a:pt x="33" y="235"/>
                      <a:pt x="33" y="235"/>
                      <a:pt x="33" y="235"/>
                    </a:cubicBezTo>
                    <a:cubicBezTo>
                      <a:pt x="32" y="237"/>
                      <a:pt x="31" y="239"/>
                      <a:pt x="30" y="241"/>
                    </a:cubicBezTo>
                    <a:cubicBezTo>
                      <a:pt x="28" y="244"/>
                      <a:pt x="28" y="244"/>
                      <a:pt x="28" y="244"/>
                    </a:cubicBezTo>
                    <a:cubicBezTo>
                      <a:pt x="25" y="241"/>
                      <a:pt x="25" y="241"/>
                      <a:pt x="25" y="241"/>
                    </a:cubicBezTo>
                    <a:cubicBezTo>
                      <a:pt x="22" y="237"/>
                      <a:pt x="18" y="233"/>
                      <a:pt x="14" y="230"/>
                    </a:cubicBezTo>
                    <a:cubicBezTo>
                      <a:pt x="13" y="230"/>
                      <a:pt x="13" y="230"/>
                      <a:pt x="13" y="230"/>
                    </a:cubicBezTo>
                    <a:cubicBezTo>
                      <a:pt x="13" y="230"/>
                      <a:pt x="12" y="230"/>
                      <a:pt x="11" y="231"/>
                    </a:cubicBezTo>
                    <a:cubicBezTo>
                      <a:pt x="11" y="231"/>
                      <a:pt x="11" y="231"/>
                      <a:pt x="11" y="231"/>
                    </a:cubicBezTo>
                    <a:cubicBezTo>
                      <a:pt x="11" y="232"/>
                      <a:pt x="11" y="233"/>
                      <a:pt x="11" y="234"/>
                    </a:cubicBezTo>
                    <a:cubicBezTo>
                      <a:pt x="11" y="237"/>
                      <a:pt x="10" y="240"/>
                      <a:pt x="10" y="242"/>
                    </a:cubicBezTo>
                    <a:cubicBezTo>
                      <a:pt x="9" y="243"/>
                      <a:pt x="9" y="244"/>
                      <a:pt x="9" y="245"/>
                    </a:cubicBezTo>
                    <a:cubicBezTo>
                      <a:pt x="9" y="245"/>
                      <a:pt x="8" y="246"/>
                      <a:pt x="8" y="246"/>
                    </a:cubicBezTo>
                    <a:cubicBezTo>
                      <a:pt x="7" y="247"/>
                      <a:pt x="6" y="248"/>
                      <a:pt x="5" y="249"/>
                    </a:cubicBezTo>
                    <a:cubicBezTo>
                      <a:pt x="4" y="250"/>
                      <a:pt x="4" y="250"/>
                      <a:pt x="4" y="250"/>
                    </a:cubicBezTo>
                    <a:cubicBezTo>
                      <a:pt x="3" y="250"/>
                      <a:pt x="3" y="250"/>
                      <a:pt x="3" y="250"/>
                    </a:cubicBezTo>
                    <a:cubicBezTo>
                      <a:pt x="0" y="251"/>
                      <a:pt x="0" y="251"/>
                      <a:pt x="0" y="251"/>
                    </a:cubicBezTo>
                    <a:cubicBezTo>
                      <a:pt x="4" y="269"/>
                      <a:pt x="4" y="269"/>
                      <a:pt x="4" y="269"/>
                    </a:cubicBezTo>
                    <a:cubicBezTo>
                      <a:pt x="10" y="267"/>
                      <a:pt x="10" y="267"/>
                      <a:pt x="10" y="267"/>
                    </a:cubicBezTo>
                    <a:cubicBezTo>
                      <a:pt x="5" y="270"/>
                      <a:pt x="5" y="270"/>
                      <a:pt x="5" y="270"/>
                    </a:cubicBezTo>
                    <a:cubicBezTo>
                      <a:pt x="5" y="270"/>
                      <a:pt x="5" y="270"/>
                      <a:pt x="5" y="270"/>
                    </a:cubicBezTo>
                    <a:cubicBezTo>
                      <a:pt x="5" y="271"/>
                      <a:pt x="5" y="272"/>
                      <a:pt x="4" y="273"/>
                    </a:cubicBezTo>
                    <a:cubicBezTo>
                      <a:pt x="5" y="275"/>
                      <a:pt x="6" y="276"/>
                      <a:pt x="8" y="277"/>
                    </a:cubicBezTo>
                    <a:cubicBezTo>
                      <a:pt x="8" y="277"/>
                      <a:pt x="8" y="277"/>
                      <a:pt x="9" y="277"/>
                    </a:cubicBezTo>
                    <a:cubicBezTo>
                      <a:pt x="9" y="277"/>
                      <a:pt x="10" y="277"/>
                      <a:pt x="10" y="277"/>
                    </a:cubicBezTo>
                    <a:cubicBezTo>
                      <a:pt x="11" y="278"/>
                      <a:pt x="12" y="278"/>
                      <a:pt x="13" y="279"/>
                    </a:cubicBezTo>
                    <a:cubicBezTo>
                      <a:pt x="16" y="282"/>
                      <a:pt x="18" y="286"/>
                      <a:pt x="19" y="291"/>
                    </a:cubicBezTo>
                    <a:cubicBezTo>
                      <a:pt x="19" y="292"/>
                      <a:pt x="19" y="293"/>
                      <a:pt x="19" y="294"/>
                    </a:cubicBezTo>
                    <a:cubicBezTo>
                      <a:pt x="20" y="295"/>
                      <a:pt x="20" y="295"/>
                      <a:pt x="20" y="295"/>
                    </a:cubicBezTo>
                    <a:cubicBezTo>
                      <a:pt x="20" y="295"/>
                      <a:pt x="20" y="296"/>
                      <a:pt x="20" y="297"/>
                    </a:cubicBezTo>
                    <a:cubicBezTo>
                      <a:pt x="20" y="298"/>
                      <a:pt x="20" y="298"/>
                      <a:pt x="20" y="298"/>
                    </a:cubicBezTo>
                    <a:cubicBezTo>
                      <a:pt x="20" y="299"/>
                      <a:pt x="20" y="299"/>
                      <a:pt x="20" y="300"/>
                    </a:cubicBezTo>
                    <a:cubicBezTo>
                      <a:pt x="20" y="301"/>
                      <a:pt x="20" y="301"/>
                      <a:pt x="20" y="301"/>
                    </a:cubicBezTo>
                    <a:cubicBezTo>
                      <a:pt x="21" y="301"/>
                      <a:pt x="21" y="301"/>
                      <a:pt x="21" y="301"/>
                    </a:cubicBezTo>
                    <a:cubicBezTo>
                      <a:pt x="21" y="301"/>
                      <a:pt x="21" y="301"/>
                      <a:pt x="21" y="301"/>
                    </a:cubicBezTo>
                    <a:cubicBezTo>
                      <a:pt x="21" y="301"/>
                      <a:pt x="21" y="301"/>
                      <a:pt x="21" y="301"/>
                    </a:cubicBezTo>
                    <a:cubicBezTo>
                      <a:pt x="18" y="307"/>
                      <a:pt x="18" y="307"/>
                      <a:pt x="18" y="307"/>
                    </a:cubicBezTo>
                    <a:cubicBezTo>
                      <a:pt x="18" y="307"/>
                      <a:pt x="18" y="308"/>
                      <a:pt x="17" y="308"/>
                    </a:cubicBezTo>
                    <a:cubicBezTo>
                      <a:pt x="17" y="308"/>
                      <a:pt x="17" y="308"/>
                      <a:pt x="17" y="308"/>
                    </a:cubicBezTo>
                    <a:cubicBezTo>
                      <a:pt x="19" y="310"/>
                      <a:pt x="19" y="310"/>
                      <a:pt x="19" y="310"/>
                    </a:cubicBezTo>
                    <a:cubicBezTo>
                      <a:pt x="19" y="310"/>
                      <a:pt x="19" y="310"/>
                      <a:pt x="19" y="310"/>
                    </a:cubicBezTo>
                    <a:cubicBezTo>
                      <a:pt x="20" y="310"/>
                      <a:pt x="20" y="310"/>
                      <a:pt x="20" y="310"/>
                    </a:cubicBezTo>
                    <a:cubicBezTo>
                      <a:pt x="20" y="310"/>
                      <a:pt x="21" y="310"/>
                      <a:pt x="21" y="309"/>
                    </a:cubicBezTo>
                    <a:cubicBezTo>
                      <a:pt x="22" y="309"/>
                      <a:pt x="22" y="309"/>
                      <a:pt x="22" y="309"/>
                    </a:cubicBezTo>
                    <a:cubicBezTo>
                      <a:pt x="24" y="307"/>
                      <a:pt x="25" y="306"/>
                      <a:pt x="26" y="306"/>
                    </a:cubicBezTo>
                    <a:cubicBezTo>
                      <a:pt x="27" y="306"/>
                      <a:pt x="27" y="306"/>
                      <a:pt x="27" y="306"/>
                    </a:cubicBezTo>
                    <a:cubicBezTo>
                      <a:pt x="28" y="306"/>
                      <a:pt x="28" y="306"/>
                      <a:pt x="28" y="306"/>
                    </a:cubicBezTo>
                    <a:cubicBezTo>
                      <a:pt x="28" y="306"/>
                      <a:pt x="28" y="306"/>
                      <a:pt x="28" y="306"/>
                    </a:cubicBezTo>
                    <a:cubicBezTo>
                      <a:pt x="28" y="306"/>
                      <a:pt x="28" y="306"/>
                      <a:pt x="28" y="306"/>
                    </a:cubicBezTo>
                    <a:cubicBezTo>
                      <a:pt x="28" y="306"/>
                      <a:pt x="28" y="306"/>
                      <a:pt x="28" y="306"/>
                    </a:cubicBezTo>
                    <a:cubicBezTo>
                      <a:pt x="29" y="306"/>
                      <a:pt x="30" y="307"/>
                      <a:pt x="32" y="308"/>
                    </a:cubicBezTo>
                    <a:cubicBezTo>
                      <a:pt x="32" y="309"/>
                      <a:pt x="33" y="310"/>
                      <a:pt x="34" y="311"/>
                    </a:cubicBezTo>
                    <a:cubicBezTo>
                      <a:pt x="34" y="311"/>
                      <a:pt x="34" y="311"/>
                      <a:pt x="34" y="311"/>
                    </a:cubicBezTo>
                    <a:cubicBezTo>
                      <a:pt x="37" y="309"/>
                      <a:pt x="44" y="307"/>
                      <a:pt x="47" y="307"/>
                    </a:cubicBezTo>
                    <a:cubicBezTo>
                      <a:pt x="47" y="307"/>
                      <a:pt x="47" y="307"/>
                      <a:pt x="47" y="307"/>
                    </a:cubicBezTo>
                    <a:cubicBezTo>
                      <a:pt x="47" y="307"/>
                      <a:pt x="47" y="307"/>
                      <a:pt x="47" y="307"/>
                    </a:cubicBezTo>
                    <a:cubicBezTo>
                      <a:pt x="48" y="307"/>
                      <a:pt x="48" y="307"/>
                      <a:pt x="48" y="307"/>
                    </a:cubicBezTo>
                    <a:cubicBezTo>
                      <a:pt x="49" y="307"/>
                      <a:pt x="51" y="308"/>
                      <a:pt x="53" y="309"/>
                    </a:cubicBezTo>
                    <a:cubicBezTo>
                      <a:pt x="53" y="309"/>
                      <a:pt x="54" y="309"/>
                      <a:pt x="54" y="310"/>
                    </a:cubicBezTo>
                    <a:cubicBezTo>
                      <a:pt x="54" y="310"/>
                      <a:pt x="54" y="310"/>
                      <a:pt x="54" y="310"/>
                    </a:cubicBezTo>
                    <a:cubicBezTo>
                      <a:pt x="54" y="309"/>
                      <a:pt x="55" y="309"/>
                      <a:pt x="55" y="308"/>
                    </a:cubicBezTo>
                    <a:cubicBezTo>
                      <a:pt x="56" y="308"/>
                      <a:pt x="58" y="307"/>
                      <a:pt x="60" y="307"/>
                    </a:cubicBezTo>
                    <a:cubicBezTo>
                      <a:pt x="60" y="306"/>
                      <a:pt x="62" y="306"/>
                      <a:pt x="63" y="306"/>
                    </a:cubicBezTo>
                    <a:cubicBezTo>
                      <a:pt x="63" y="306"/>
                      <a:pt x="63" y="305"/>
                      <a:pt x="62" y="305"/>
                    </a:cubicBezTo>
                    <a:cubicBezTo>
                      <a:pt x="62" y="304"/>
                      <a:pt x="62" y="303"/>
                      <a:pt x="62" y="301"/>
                    </a:cubicBezTo>
                    <a:cubicBezTo>
                      <a:pt x="63" y="299"/>
                      <a:pt x="63" y="299"/>
                      <a:pt x="63" y="299"/>
                    </a:cubicBezTo>
                    <a:cubicBezTo>
                      <a:pt x="65" y="299"/>
                      <a:pt x="65" y="299"/>
                      <a:pt x="65" y="299"/>
                    </a:cubicBezTo>
                    <a:cubicBezTo>
                      <a:pt x="68" y="299"/>
                      <a:pt x="69" y="300"/>
                      <a:pt x="71" y="301"/>
                    </a:cubicBezTo>
                    <a:cubicBezTo>
                      <a:pt x="75" y="303"/>
                      <a:pt x="77" y="307"/>
                      <a:pt x="78" y="310"/>
                    </a:cubicBezTo>
                    <a:cubicBezTo>
                      <a:pt x="79" y="311"/>
                      <a:pt x="79" y="311"/>
                      <a:pt x="79" y="311"/>
                    </a:cubicBezTo>
                    <a:cubicBezTo>
                      <a:pt x="79" y="311"/>
                      <a:pt x="79" y="312"/>
                      <a:pt x="79" y="312"/>
                    </a:cubicBezTo>
                    <a:cubicBezTo>
                      <a:pt x="80" y="313"/>
                      <a:pt x="80" y="313"/>
                      <a:pt x="80" y="313"/>
                    </a:cubicBezTo>
                    <a:cubicBezTo>
                      <a:pt x="80" y="314"/>
                      <a:pt x="80" y="315"/>
                      <a:pt x="80" y="316"/>
                    </a:cubicBezTo>
                    <a:cubicBezTo>
                      <a:pt x="80" y="316"/>
                      <a:pt x="80" y="316"/>
                      <a:pt x="80" y="317"/>
                    </a:cubicBezTo>
                    <a:cubicBezTo>
                      <a:pt x="80" y="317"/>
                      <a:pt x="80" y="318"/>
                      <a:pt x="80" y="318"/>
                    </a:cubicBezTo>
                    <a:cubicBezTo>
                      <a:pt x="80" y="318"/>
                      <a:pt x="80" y="318"/>
                      <a:pt x="80" y="318"/>
                    </a:cubicBezTo>
                    <a:cubicBezTo>
                      <a:pt x="80" y="319"/>
                      <a:pt x="80" y="319"/>
                      <a:pt x="80" y="319"/>
                    </a:cubicBezTo>
                    <a:cubicBezTo>
                      <a:pt x="80" y="319"/>
                      <a:pt x="81" y="319"/>
                      <a:pt x="81" y="320"/>
                    </a:cubicBezTo>
                    <a:cubicBezTo>
                      <a:pt x="82" y="320"/>
                      <a:pt x="82" y="320"/>
                      <a:pt x="82" y="320"/>
                    </a:cubicBezTo>
                    <a:cubicBezTo>
                      <a:pt x="82" y="320"/>
                      <a:pt x="88" y="325"/>
                      <a:pt x="90" y="329"/>
                    </a:cubicBezTo>
                    <a:cubicBezTo>
                      <a:pt x="90" y="328"/>
                      <a:pt x="90" y="328"/>
                      <a:pt x="90" y="328"/>
                    </a:cubicBezTo>
                    <a:cubicBezTo>
                      <a:pt x="90" y="329"/>
                      <a:pt x="90" y="329"/>
                      <a:pt x="90" y="329"/>
                    </a:cubicBezTo>
                    <a:cubicBezTo>
                      <a:pt x="90" y="329"/>
                      <a:pt x="90" y="329"/>
                      <a:pt x="90" y="329"/>
                    </a:cubicBezTo>
                    <a:cubicBezTo>
                      <a:pt x="89" y="330"/>
                      <a:pt x="89" y="330"/>
                      <a:pt x="89" y="330"/>
                    </a:cubicBezTo>
                    <a:cubicBezTo>
                      <a:pt x="90" y="330"/>
                      <a:pt x="90" y="330"/>
                      <a:pt x="90" y="330"/>
                    </a:cubicBezTo>
                    <a:cubicBezTo>
                      <a:pt x="90" y="330"/>
                      <a:pt x="90" y="330"/>
                      <a:pt x="90" y="330"/>
                    </a:cubicBezTo>
                    <a:cubicBezTo>
                      <a:pt x="90" y="331"/>
                      <a:pt x="90" y="331"/>
                      <a:pt x="90" y="331"/>
                    </a:cubicBezTo>
                    <a:cubicBezTo>
                      <a:pt x="90" y="331"/>
                      <a:pt x="90" y="331"/>
                      <a:pt x="90" y="331"/>
                    </a:cubicBezTo>
                    <a:cubicBezTo>
                      <a:pt x="90" y="332"/>
                      <a:pt x="90" y="332"/>
                      <a:pt x="90" y="332"/>
                    </a:cubicBezTo>
                    <a:cubicBezTo>
                      <a:pt x="89" y="334"/>
                      <a:pt x="89" y="334"/>
                      <a:pt x="89" y="334"/>
                    </a:cubicBezTo>
                    <a:cubicBezTo>
                      <a:pt x="88" y="334"/>
                      <a:pt x="88" y="334"/>
                      <a:pt x="88" y="334"/>
                    </a:cubicBezTo>
                    <a:cubicBezTo>
                      <a:pt x="88" y="334"/>
                      <a:pt x="88" y="334"/>
                      <a:pt x="88" y="334"/>
                    </a:cubicBezTo>
                    <a:cubicBezTo>
                      <a:pt x="88" y="334"/>
                      <a:pt x="88" y="334"/>
                      <a:pt x="88" y="334"/>
                    </a:cubicBezTo>
                    <a:cubicBezTo>
                      <a:pt x="88" y="334"/>
                      <a:pt x="88" y="334"/>
                      <a:pt x="88" y="334"/>
                    </a:cubicBezTo>
                    <a:cubicBezTo>
                      <a:pt x="89" y="334"/>
                      <a:pt x="89" y="334"/>
                      <a:pt x="89" y="334"/>
                    </a:cubicBezTo>
                    <a:cubicBezTo>
                      <a:pt x="90" y="335"/>
                      <a:pt x="90" y="335"/>
                      <a:pt x="90" y="335"/>
                    </a:cubicBezTo>
                    <a:cubicBezTo>
                      <a:pt x="91" y="336"/>
                      <a:pt x="91" y="336"/>
                      <a:pt x="91" y="336"/>
                    </a:cubicBezTo>
                    <a:cubicBezTo>
                      <a:pt x="91" y="336"/>
                      <a:pt x="92" y="337"/>
                      <a:pt x="92" y="337"/>
                    </a:cubicBezTo>
                    <a:cubicBezTo>
                      <a:pt x="92" y="337"/>
                      <a:pt x="92" y="337"/>
                      <a:pt x="92" y="337"/>
                    </a:cubicBezTo>
                    <a:cubicBezTo>
                      <a:pt x="93" y="340"/>
                      <a:pt x="93" y="342"/>
                      <a:pt x="93" y="345"/>
                    </a:cubicBezTo>
                    <a:cubicBezTo>
                      <a:pt x="93" y="346"/>
                      <a:pt x="93" y="347"/>
                      <a:pt x="93" y="348"/>
                    </a:cubicBezTo>
                    <a:cubicBezTo>
                      <a:pt x="93" y="348"/>
                      <a:pt x="93" y="348"/>
                      <a:pt x="93" y="348"/>
                    </a:cubicBezTo>
                    <a:cubicBezTo>
                      <a:pt x="93" y="349"/>
                      <a:pt x="93" y="349"/>
                      <a:pt x="93" y="349"/>
                    </a:cubicBezTo>
                    <a:cubicBezTo>
                      <a:pt x="93" y="349"/>
                      <a:pt x="93" y="350"/>
                      <a:pt x="94" y="350"/>
                    </a:cubicBezTo>
                    <a:cubicBezTo>
                      <a:pt x="94" y="351"/>
                      <a:pt x="95" y="351"/>
                      <a:pt x="95" y="351"/>
                    </a:cubicBezTo>
                    <a:cubicBezTo>
                      <a:pt x="96" y="352"/>
                      <a:pt x="96" y="352"/>
                      <a:pt x="96" y="352"/>
                    </a:cubicBezTo>
                    <a:cubicBezTo>
                      <a:pt x="96" y="352"/>
                      <a:pt x="96" y="353"/>
                      <a:pt x="97" y="353"/>
                    </a:cubicBezTo>
                    <a:cubicBezTo>
                      <a:pt x="97" y="353"/>
                      <a:pt x="97" y="353"/>
                      <a:pt x="97" y="353"/>
                    </a:cubicBezTo>
                    <a:cubicBezTo>
                      <a:pt x="98" y="354"/>
                      <a:pt x="98" y="354"/>
                      <a:pt x="98" y="354"/>
                    </a:cubicBezTo>
                    <a:cubicBezTo>
                      <a:pt x="98" y="353"/>
                      <a:pt x="99" y="353"/>
                      <a:pt x="99" y="352"/>
                    </a:cubicBezTo>
                    <a:cubicBezTo>
                      <a:pt x="99" y="352"/>
                      <a:pt x="100" y="350"/>
                      <a:pt x="101" y="350"/>
                    </a:cubicBezTo>
                    <a:cubicBezTo>
                      <a:pt x="102" y="349"/>
                      <a:pt x="103" y="349"/>
                      <a:pt x="105" y="348"/>
                    </a:cubicBezTo>
                    <a:cubicBezTo>
                      <a:pt x="106" y="348"/>
                      <a:pt x="106" y="348"/>
                      <a:pt x="106" y="348"/>
                    </a:cubicBezTo>
                    <a:cubicBezTo>
                      <a:pt x="108" y="349"/>
                      <a:pt x="110" y="350"/>
                      <a:pt x="112" y="351"/>
                    </a:cubicBezTo>
                    <a:cubicBezTo>
                      <a:pt x="113" y="352"/>
                      <a:pt x="113" y="352"/>
                      <a:pt x="113" y="352"/>
                    </a:cubicBezTo>
                    <a:cubicBezTo>
                      <a:pt x="114" y="353"/>
                      <a:pt x="114" y="353"/>
                      <a:pt x="114" y="353"/>
                    </a:cubicBezTo>
                    <a:cubicBezTo>
                      <a:pt x="114" y="353"/>
                      <a:pt x="114" y="353"/>
                      <a:pt x="114" y="353"/>
                    </a:cubicBezTo>
                    <a:cubicBezTo>
                      <a:pt x="115" y="353"/>
                      <a:pt x="116" y="353"/>
                      <a:pt x="117" y="353"/>
                    </a:cubicBezTo>
                    <a:cubicBezTo>
                      <a:pt x="118" y="353"/>
                      <a:pt x="118" y="352"/>
                      <a:pt x="118" y="352"/>
                    </a:cubicBezTo>
                    <a:cubicBezTo>
                      <a:pt x="119" y="351"/>
                      <a:pt x="119" y="351"/>
                      <a:pt x="120" y="351"/>
                    </a:cubicBezTo>
                    <a:cubicBezTo>
                      <a:pt x="121" y="350"/>
                      <a:pt x="121" y="350"/>
                      <a:pt x="121" y="350"/>
                    </a:cubicBezTo>
                    <a:cubicBezTo>
                      <a:pt x="121" y="350"/>
                      <a:pt x="121" y="350"/>
                      <a:pt x="122" y="350"/>
                    </a:cubicBezTo>
                    <a:cubicBezTo>
                      <a:pt x="122" y="350"/>
                      <a:pt x="122" y="350"/>
                      <a:pt x="122" y="350"/>
                    </a:cubicBezTo>
                    <a:cubicBezTo>
                      <a:pt x="123" y="350"/>
                      <a:pt x="123" y="350"/>
                      <a:pt x="124" y="350"/>
                    </a:cubicBezTo>
                    <a:cubicBezTo>
                      <a:pt x="124" y="350"/>
                      <a:pt x="124" y="350"/>
                      <a:pt x="124" y="350"/>
                    </a:cubicBezTo>
                    <a:cubicBezTo>
                      <a:pt x="124" y="349"/>
                      <a:pt x="124" y="348"/>
                      <a:pt x="125" y="346"/>
                    </a:cubicBezTo>
                    <a:cubicBezTo>
                      <a:pt x="125" y="346"/>
                      <a:pt x="125" y="345"/>
                      <a:pt x="126" y="345"/>
                    </a:cubicBezTo>
                    <a:cubicBezTo>
                      <a:pt x="126" y="344"/>
                      <a:pt x="126" y="344"/>
                      <a:pt x="126" y="344"/>
                    </a:cubicBezTo>
                    <a:cubicBezTo>
                      <a:pt x="126" y="344"/>
                      <a:pt x="127" y="344"/>
                      <a:pt x="127" y="343"/>
                    </a:cubicBezTo>
                    <a:cubicBezTo>
                      <a:pt x="128" y="343"/>
                      <a:pt x="128" y="343"/>
                      <a:pt x="129" y="343"/>
                    </a:cubicBezTo>
                    <a:cubicBezTo>
                      <a:pt x="130" y="343"/>
                      <a:pt x="131" y="343"/>
                      <a:pt x="131" y="344"/>
                    </a:cubicBezTo>
                    <a:cubicBezTo>
                      <a:pt x="132" y="343"/>
                      <a:pt x="133" y="342"/>
                      <a:pt x="134" y="342"/>
                    </a:cubicBezTo>
                    <a:cubicBezTo>
                      <a:pt x="135" y="342"/>
                      <a:pt x="135" y="342"/>
                      <a:pt x="135" y="342"/>
                    </a:cubicBezTo>
                    <a:cubicBezTo>
                      <a:pt x="138" y="339"/>
                      <a:pt x="138" y="339"/>
                      <a:pt x="138" y="339"/>
                    </a:cubicBezTo>
                    <a:cubicBezTo>
                      <a:pt x="140" y="343"/>
                      <a:pt x="140" y="343"/>
                      <a:pt x="140" y="343"/>
                    </a:cubicBezTo>
                    <a:cubicBezTo>
                      <a:pt x="140" y="344"/>
                      <a:pt x="140" y="345"/>
                      <a:pt x="140" y="345"/>
                    </a:cubicBezTo>
                    <a:cubicBezTo>
                      <a:pt x="140" y="346"/>
                      <a:pt x="140" y="347"/>
                      <a:pt x="140" y="348"/>
                    </a:cubicBezTo>
                    <a:cubicBezTo>
                      <a:pt x="140" y="350"/>
                      <a:pt x="141" y="353"/>
                      <a:pt x="141" y="354"/>
                    </a:cubicBezTo>
                    <a:cubicBezTo>
                      <a:pt x="141" y="354"/>
                      <a:pt x="141" y="354"/>
                      <a:pt x="141" y="354"/>
                    </a:cubicBezTo>
                    <a:cubicBezTo>
                      <a:pt x="142" y="354"/>
                      <a:pt x="142" y="354"/>
                      <a:pt x="142" y="354"/>
                    </a:cubicBezTo>
                    <a:cubicBezTo>
                      <a:pt x="142" y="354"/>
                      <a:pt x="143" y="353"/>
                      <a:pt x="143" y="353"/>
                    </a:cubicBezTo>
                    <a:cubicBezTo>
                      <a:pt x="144" y="352"/>
                      <a:pt x="144" y="352"/>
                      <a:pt x="144" y="352"/>
                    </a:cubicBezTo>
                    <a:cubicBezTo>
                      <a:pt x="144" y="351"/>
                      <a:pt x="145" y="351"/>
                      <a:pt x="146" y="350"/>
                    </a:cubicBezTo>
                    <a:cubicBezTo>
                      <a:pt x="146" y="350"/>
                      <a:pt x="146" y="350"/>
                      <a:pt x="146" y="350"/>
                    </a:cubicBezTo>
                    <a:cubicBezTo>
                      <a:pt x="147" y="349"/>
                      <a:pt x="147" y="349"/>
                      <a:pt x="148" y="349"/>
                    </a:cubicBezTo>
                    <a:cubicBezTo>
                      <a:pt x="149" y="349"/>
                      <a:pt x="149" y="349"/>
                      <a:pt x="149" y="349"/>
                    </a:cubicBezTo>
                    <a:cubicBezTo>
                      <a:pt x="149" y="349"/>
                      <a:pt x="149" y="349"/>
                      <a:pt x="149" y="349"/>
                    </a:cubicBezTo>
                    <a:cubicBezTo>
                      <a:pt x="150" y="349"/>
                      <a:pt x="150" y="348"/>
                      <a:pt x="150" y="348"/>
                    </a:cubicBezTo>
                    <a:cubicBezTo>
                      <a:pt x="151" y="348"/>
                      <a:pt x="151" y="348"/>
                      <a:pt x="151" y="348"/>
                    </a:cubicBezTo>
                    <a:cubicBezTo>
                      <a:pt x="152" y="348"/>
                      <a:pt x="152" y="348"/>
                      <a:pt x="152" y="348"/>
                    </a:cubicBezTo>
                    <a:cubicBezTo>
                      <a:pt x="152" y="348"/>
                      <a:pt x="152" y="348"/>
                      <a:pt x="152" y="348"/>
                    </a:cubicBezTo>
                    <a:cubicBezTo>
                      <a:pt x="153" y="346"/>
                      <a:pt x="153" y="345"/>
                      <a:pt x="153" y="344"/>
                    </a:cubicBezTo>
                    <a:cubicBezTo>
                      <a:pt x="153" y="344"/>
                      <a:pt x="153" y="343"/>
                      <a:pt x="153" y="342"/>
                    </a:cubicBezTo>
                    <a:cubicBezTo>
                      <a:pt x="152" y="339"/>
                      <a:pt x="151" y="335"/>
                      <a:pt x="155" y="333"/>
                    </a:cubicBezTo>
                    <a:cubicBezTo>
                      <a:pt x="157" y="332"/>
                      <a:pt x="157" y="332"/>
                      <a:pt x="158" y="329"/>
                    </a:cubicBezTo>
                    <a:cubicBezTo>
                      <a:pt x="158" y="328"/>
                      <a:pt x="158" y="328"/>
                      <a:pt x="158" y="328"/>
                    </a:cubicBezTo>
                    <a:cubicBezTo>
                      <a:pt x="159" y="326"/>
                      <a:pt x="159" y="324"/>
                      <a:pt x="158" y="322"/>
                    </a:cubicBezTo>
                    <a:cubicBezTo>
                      <a:pt x="157" y="322"/>
                      <a:pt x="157" y="322"/>
                      <a:pt x="157" y="322"/>
                    </a:cubicBezTo>
                    <a:cubicBezTo>
                      <a:pt x="157" y="321"/>
                      <a:pt x="157" y="321"/>
                      <a:pt x="156" y="321"/>
                    </a:cubicBezTo>
                    <a:cubicBezTo>
                      <a:pt x="151" y="318"/>
                      <a:pt x="151" y="318"/>
                      <a:pt x="151" y="318"/>
                    </a:cubicBezTo>
                    <a:cubicBezTo>
                      <a:pt x="156" y="316"/>
                      <a:pt x="156" y="316"/>
                      <a:pt x="156" y="316"/>
                    </a:cubicBezTo>
                    <a:cubicBezTo>
                      <a:pt x="157" y="315"/>
                      <a:pt x="159" y="314"/>
                      <a:pt x="160" y="314"/>
                    </a:cubicBezTo>
                    <a:cubicBezTo>
                      <a:pt x="165" y="312"/>
                      <a:pt x="165" y="312"/>
                      <a:pt x="165" y="312"/>
                    </a:cubicBezTo>
                    <a:cubicBezTo>
                      <a:pt x="167" y="311"/>
                      <a:pt x="168" y="311"/>
                      <a:pt x="170" y="311"/>
                    </a:cubicBezTo>
                    <a:cubicBezTo>
                      <a:pt x="171" y="311"/>
                      <a:pt x="172" y="310"/>
                      <a:pt x="173" y="310"/>
                    </a:cubicBezTo>
                    <a:cubicBezTo>
                      <a:pt x="174" y="309"/>
                      <a:pt x="176" y="308"/>
                      <a:pt x="177" y="306"/>
                    </a:cubicBezTo>
                    <a:cubicBezTo>
                      <a:pt x="178" y="305"/>
                      <a:pt x="178" y="305"/>
                      <a:pt x="178" y="305"/>
                    </a:cubicBezTo>
                    <a:cubicBezTo>
                      <a:pt x="178" y="305"/>
                      <a:pt x="178" y="305"/>
                      <a:pt x="178" y="305"/>
                    </a:cubicBezTo>
                    <a:cubicBezTo>
                      <a:pt x="178" y="304"/>
                      <a:pt x="177" y="301"/>
                      <a:pt x="177" y="299"/>
                    </a:cubicBezTo>
                    <a:cubicBezTo>
                      <a:pt x="177" y="298"/>
                      <a:pt x="176" y="297"/>
                      <a:pt x="176" y="297"/>
                    </a:cubicBezTo>
                    <a:cubicBezTo>
                      <a:pt x="176" y="294"/>
                      <a:pt x="176" y="294"/>
                      <a:pt x="176" y="294"/>
                    </a:cubicBezTo>
                    <a:cubicBezTo>
                      <a:pt x="181" y="294"/>
                      <a:pt x="181" y="294"/>
                      <a:pt x="181" y="294"/>
                    </a:cubicBezTo>
                    <a:cubicBezTo>
                      <a:pt x="181" y="294"/>
                      <a:pt x="181" y="294"/>
                      <a:pt x="181" y="294"/>
                    </a:cubicBezTo>
                    <a:cubicBezTo>
                      <a:pt x="181" y="294"/>
                      <a:pt x="182" y="294"/>
                      <a:pt x="182" y="294"/>
                    </a:cubicBezTo>
                    <a:cubicBezTo>
                      <a:pt x="182" y="292"/>
                      <a:pt x="182" y="292"/>
                      <a:pt x="182" y="292"/>
                    </a:cubicBezTo>
                    <a:cubicBezTo>
                      <a:pt x="182" y="292"/>
                      <a:pt x="182" y="291"/>
                      <a:pt x="181" y="291"/>
                    </a:cubicBezTo>
                    <a:cubicBezTo>
                      <a:pt x="181" y="290"/>
                      <a:pt x="181" y="289"/>
                      <a:pt x="181" y="288"/>
                    </a:cubicBezTo>
                    <a:cubicBezTo>
                      <a:pt x="182" y="284"/>
                      <a:pt x="185" y="281"/>
                      <a:pt x="187" y="279"/>
                    </a:cubicBezTo>
                    <a:cubicBezTo>
                      <a:pt x="187" y="278"/>
                      <a:pt x="187" y="278"/>
                      <a:pt x="187" y="278"/>
                    </a:cubicBezTo>
                    <a:cubicBezTo>
                      <a:pt x="188" y="277"/>
                      <a:pt x="188" y="277"/>
                      <a:pt x="189" y="276"/>
                    </a:cubicBezTo>
                    <a:cubicBezTo>
                      <a:pt x="191" y="273"/>
                      <a:pt x="191" y="273"/>
                      <a:pt x="191" y="273"/>
                    </a:cubicBezTo>
                    <a:cubicBezTo>
                      <a:pt x="193" y="276"/>
                      <a:pt x="193" y="276"/>
                      <a:pt x="193" y="276"/>
                    </a:cubicBezTo>
                    <a:cubicBezTo>
                      <a:pt x="194" y="277"/>
                      <a:pt x="194" y="277"/>
                      <a:pt x="195" y="278"/>
                    </a:cubicBezTo>
                    <a:cubicBezTo>
                      <a:pt x="197" y="279"/>
                      <a:pt x="199" y="280"/>
                      <a:pt x="201" y="282"/>
                    </a:cubicBezTo>
                    <a:cubicBezTo>
                      <a:pt x="202" y="282"/>
                      <a:pt x="202" y="282"/>
                      <a:pt x="202" y="282"/>
                    </a:cubicBezTo>
                    <a:cubicBezTo>
                      <a:pt x="203" y="282"/>
                      <a:pt x="203" y="282"/>
                      <a:pt x="203" y="282"/>
                    </a:cubicBezTo>
                    <a:cubicBezTo>
                      <a:pt x="203" y="282"/>
                      <a:pt x="203" y="282"/>
                      <a:pt x="203" y="282"/>
                    </a:cubicBezTo>
                    <a:cubicBezTo>
                      <a:pt x="203" y="282"/>
                      <a:pt x="203" y="282"/>
                      <a:pt x="203" y="282"/>
                    </a:cubicBezTo>
                    <a:cubicBezTo>
                      <a:pt x="204" y="281"/>
                      <a:pt x="204" y="281"/>
                      <a:pt x="204" y="281"/>
                    </a:cubicBezTo>
                    <a:cubicBezTo>
                      <a:pt x="205" y="281"/>
                      <a:pt x="205" y="281"/>
                      <a:pt x="205" y="281"/>
                    </a:cubicBezTo>
                    <a:cubicBezTo>
                      <a:pt x="205" y="281"/>
                      <a:pt x="205" y="281"/>
                      <a:pt x="205" y="281"/>
                    </a:cubicBezTo>
                    <a:cubicBezTo>
                      <a:pt x="205" y="280"/>
                      <a:pt x="205" y="280"/>
                      <a:pt x="205" y="280"/>
                    </a:cubicBezTo>
                    <a:cubicBezTo>
                      <a:pt x="205" y="278"/>
                      <a:pt x="205" y="275"/>
                      <a:pt x="205" y="273"/>
                    </a:cubicBezTo>
                    <a:cubicBezTo>
                      <a:pt x="205" y="267"/>
                      <a:pt x="205" y="267"/>
                      <a:pt x="205" y="267"/>
                    </a:cubicBezTo>
                    <a:cubicBezTo>
                      <a:pt x="209" y="270"/>
                      <a:pt x="209" y="270"/>
                      <a:pt x="209" y="270"/>
                    </a:cubicBezTo>
                    <a:cubicBezTo>
                      <a:pt x="210" y="270"/>
                      <a:pt x="210" y="270"/>
                      <a:pt x="210" y="270"/>
                    </a:cubicBezTo>
                    <a:cubicBezTo>
                      <a:pt x="210" y="271"/>
                      <a:pt x="210" y="271"/>
                      <a:pt x="210" y="271"/>
                    </a:cubicBezTo>
                    <a:cubicBezTo>
                      <a:pt x="211" y="271"/>
                      <a:pt x="212" y="271"/>
                      <a:pt x="212" y="271"/>
                    </a:cubicBezTo>
                    <a:cubicBezTo>
                      <a:pt x="213" y="271"/>
                      <a:pt x="213" y="271"/>
                      <a:pt x="213" y="271"/>
                    </a:cubicBezTo>
                    <a:cubicBezTo>
                      <a:pt x="213" y="271"/>
                      <a:pt x="213" y="270"/>
                      <a:pt x="214" y="269"/>
                    </a:cubicBezTo>
                    <a:cubicBezTo>
                      <a:pt x="216" y="266"/>
                      <a:pt x="216" y="266"/>
                      <a:pt x="216" y="266"/>
                    </a:cubicBezTo>
                    <a:cubicBezTo>
                      <a:pt x="218" y="263"/>
                      <a:pt x="221" y="258"/>
                      <a:pt x="226" y="257"/>
                    </a:cubicBezTo>
                    <a:cubicBezTo>
                      <a:pt x="227" y="257"/>
                      <a:pt x="227" y="257"/>
                      <a:pt x="227" y="257"/>
                    </a:cubicBezTo>
                    <a:cubicBezTo>
                      <a:pt x="229" y="257"/>
                      <a:pt x="231" y="257"/>
                      <a:pt x="232" y="258"/>
                    </a:cubicBezTo>
                    <a:cubicBezTo>
                      <a:pt x="233" y="258"/>
                      <a:pt x="233" y="258"/>
                      <a:pt x="234" y="258"/>
                    </a:cubicBezTo>
                    <a:cubicBezTo>
                      <a:pt x="234" y="259"/>
                      <a:pt x="234" y="259"/>
                      <a:pt x="234" y="259"/>
                    </a:cubicBezTo>
                    <a:cubicBezTo>
                      <a:pt x="235" y="258"/>
                      <a:pt x="235" y="258"/>
                      <a:pt x="235" y="258"/>
                    </a:cubicBezTo>
                    <a:cubicBezTo>
                      <a:pt x="236" y="254"/>
                      <a:pt x="237" y="252"/>
                      <a:pt x="241" y="252"/>
                    </a:cubicBezTo>
                    <a:cubicBezTo>
                      <a:pt x="243" y="251"/>
                      <a:pt x="244" y="251"/>
                      <a:pt x="245" y="250"/>
                    </a:cubicBezTo>
                    <a:cubicBezTo>
                      <a:pt x="246" y="250"/>
                      <a:pt x="246" y="250"/>
                      <a:pt x="246" y="250"/>
                    </a:cubicBezTo>
                    <a:cubicBezTo>
                      <a:pt x="247" y="249"/>
                      <a:pt x="248" y="249"/>
                      <a:pt x="249" y="248"/>
                    </a:cubicBezTo>
                    <a:cubicBezTo>
                      <a:pt x="250" y="248"/>
                      <a:pt x="250" y="248"/>
                      <a:pt x="250" y="248"/>
                    </a:cubicBezTo>
                    <a:cubicBezTo>
                      <a:pt x="253" y="247"/>
                      <a:pt x="255" y="246"/>
                      <a:pt x="257" y="245"/>
                    </a:cubicBezTo>
                    <a:cubicBezTo>
                      <a:pt x="258" y="244"/>
                      <a:pt x="259" y="243"/>
                      <a:pt x="260" y="242"/>
                    </a:cubicBezTo>
                    <a:cubicBezTo>
                      <a:pt x="262" y="241"/>
                      <a:pt x="262" y="241"/>
                      <a:pt x="262" y="241"/>
                    </a:cubicBezTo>
                    <a:cubicBezTo>
                      <a:pt x="262" y="240"/>
                      <a:pt x="263" y="240"/>
                      <a:pt x="263" y="240"/>
                    </a:cubicBezTo>
                    <a:cubicBezTo>
                      <a:pt x="265" y="238"/>
                      <a:pt x="265" y="238"/>
                      <a:pt x="265" y="238"/>
                    </a:cubicBezTo>
                    <a:cubicBezTo>
                      <a:pt x="266" y="237"/>
                      <a:pt x="267" y="237"/>
                      <a:pt x="269" y="237"/>
                    </a:cubicBezTo>
                    <a:cubicBezTo>
                      <a:pt x="270" y="237"/>
                      <a:pt x="271" y="237"/>
                      <a:pt x="272" y="237"/>
                    </a:cubicBezTo>
                    <a:cubicBezTo>
                      <a:pt x="273" y="237"/>
                      <a:pt x="273" y="237"/>
                      <a:pt x="274" y="237"/>
                    </a:cubicBezTo>
                    <a:cubicBezTo>
                      <a:pt x="275" y="237"/>
                      <a:pt x="276" y="237"/>
                      <a:pt x="277" y="238"/>
                    </a:cubicBezTo>
                    <a:cubicBezTo>
                      <a:pt x="278" y="238"/>
                      <a:pt x="278" y="238"/>
                      <a:pt x="278" y="238"/>
                    </a:cubicBezTo>
                    <a:cubicBezTo>
                      <a:pt x="280" y="238"/>
                      <a:pt x="282" y="238"/>
                      <a:pt x="284" y="239"/>
                    </a:cubicBezTo>
                    <a:cubicBezTo>
                      <a:pt x="284" y="239"/>
                      <a:pt x="285" y="239"/>
                      <a:pt x="285" y="239"/>
                    </a:cubicBezTo>
                    <a:cubicBezTo>
                      <a:pt x="286" y="239"/>
                      <a:pt x="286" y="239"/>
                      <a:pt x="286" y="239"/>
                    </a:cubicBezTo>
                    <a:cubicBezTo>
                      <a:pt x="287" y="239"/>
                      <a:pt x="287" y="239"/>
                      <a:pt x="287" y="239"/>
                    </a:cubicBezTo>
                    <a:cubicBezTo>
                      <a:pt x="287" y="239"/>
                      <a:pt x="287" y="239"/>
                      <a:pt x="287" y="239"/>
                    </a:cubicBezTo>
                    <a:cubicBezTo>
                      <a:pt x="288" y="240"/>
                      <a:pt x="288" y="240"/>
                      <a:pt x="289" y="240"/>
                    </a:cubicBezTo>
                    <a:cubicBezTo>
                      <a:pt x="289" y="240"/>
                      <a:pt x="289" y="240"/>
                      <a:pt x="289" y="240"/>
                    </a:cubicBezTo>
                    <a:cubicBezTo>
                      <a:pt x="290" y="240"/>
                      <a:pt x="290" y="240"/>
                      <a:pt x="290" y="240"/>
                    </a:cubicBezTo>
                    <a:cubicBezTo>
                      <a:pt x="290" y="241"/>
                      <a:pt x="290" y="241"/>
                      <a:pt x="290" y="241"/>
                    </a:cubicBezTo>
                    <a:cubicBezTo>
                      <a:pt x="291" y="241"/>
                      <a:pt x="291" y="241"/>
                      <a:pt x="291" y="241"/>
                    </a:cubicBezTo>
                    <a:cubicBezTo>
                      <a:pt x="291" y="241"/>
                      <a:pt x="291" y="241"/>
                      <a:pt x="291" y="241"/>
                    </a:cubicBezTo>
                    <a:cubicBezTo>
                      <a:pt x="292" y="241"/>
                      <a:pt x="292" y="241"/>
                      <a:pt x="292" y="241"/>
                    </a:cubicBezTo>
                    <a:cubicBezTo>
                      <a:pt x="293" y="240"/>
                      <a:pt x="294" y="240"/>
                      <a:pt x="294" y="240"/>
                    </a:cubicBezTo>
                    <a:cubicBezTo>
                      <a:pt x="295" y="239"/>
                      <a:pt x="295" y="239"/>
                      <a:pt x="295" y="239"/>
                    </a:cubicBezTo>
                    <a:cubicBezTo>
                      <a:pt x="296" y="239"/>
                      <a:pt x="296" y="239"/>
                      <a:pt x="297" y="239"/>
                    </a:cubicBezTo>
                    <a:cubicBezTo>
                      <a:pt x="299" y="238"/>
                      <a:pt x="301" y="237"/>
                      <a:pt x="303" y="237"/>
                    </a:cubicBezTo>
                    <a:cubicBezTo>
                      <a:pt x="307" y="235"/>
                      <a:pt x="312" y="233"/>
                      <a:pt x="317" y="232"/>
                    </a:cubicBezTo>
                    <a:cubicBezTo>
                      <a:pt x="328" y="231"/>
                      <a:pt x="337" y="231"/>
                      <a:pt x="346" y="231"/>
                    </a:cubicBezTo>
                    <a:cubicBezTo>
                      <a:pt x="347" y="231"/>
                      <a:pt x="347" y="231"/>
                      <a:pt x="347" y="231"/>
                    </a:cubicBezTo>
                    <a:cubicBezTo>
                      <a:pt x="347" y="231"/>
                      <a:pt x="348" y="231"/>
                      <a:pt x="349" y="231"/>
                    </a:cubicBezTo>
                    <a:cubicBezTo>
                      <a:pt x="350" y="231"/>
                      <a:pt x="350" y="231"/>
                      <a:pt x="350" y="231"/>
                    </a:cubicBezTo>
                    <a:cubicBezTo>
                      <a:pt x="351" y="231"/>
                      <a:pt x="352" y="231"/>
                      <a:pt x="353" y="231"/>
                    </a:cubicBezTo>
                    <a:cubicBezTo>
                      <a:pt x="354" y="231"/>
                      <a:pt x="355" y="231"/>
                      <a:pt x="355" y="231"/>
                    </a:cubicBezTo>
                    <a:cubicBezTo>
                      <a:pt x="356" y="231"/>
                      <a:pt x="357" y="230"/>
                      <a:pt x="358" y="230"/>
                    </a:cubicBezTo>
                    <a:cubicBezTo>
                      <a:pt x="359" y="230"/>
                      <a:pt x="359" y="230"/>
                      <a:pt x="359" y="230"/>
                    </a:cubicBezTo>
                    <a:cubicBezTo>
                      <a:pt x="360" y="230"/>
                      <a:pt x="361" y="230"/>
                      <a:pt x="362" y="230"/>
                    </a:cubicBezTo>
                    <a:cubicBezTo>
                      <a:pt x="363" y="230"/>
                      <a:pt x="363" y="230"/>
                      <a:pt x="363" y="230"/>
                    </a:cubicBezTo>
                    <a:cubicBezTo>
                      <a:pt x="364" y="230"/>
                      <a:pt x="364" y="230"/>
                      <a:pt x="364" y="230"/>
                    </a:cubicBezTo>
                    <a:cubicBezTo>
                      <a:pt x="365" y="230"/>
                      <a:pt x="365" y="230"/>
                      <a:pt x="365" y="230"/>
                    </a:cubicBezTo>
                    <a:cubicBezTo>
                      <a:pt x="366" y="230"/>
                      <a:pt x="366" y="230"/>
                      <a:pt x="366" y="230"/>
                    </a:cubicBezTo>
                    <a:cubicBezTo>
                      <a:pt x="367" y="230"/>
                      <a:pt x="369" y="227"/>
                      <a:pt x="371" y="226"/>
                    </a:cubicBezTo>
                    <a:cubicBezTo>
                      <a:pt x="371" y="225"/>
                      <a:pt x="372" y="224"/>
                      <a:pt x="372" y="224"/>
                    </a:cubicBezTo>
                    <a:cubicBezTo>
                      <a:pt x="374" y="223"/>
                      <a:pt x="374" y="221"/>
                      <a:pt x="375" y="219"/>
                    </a:cubicBezTo>
                    <a:cubicBezTo>
                      <a:pt x="375" y="219"/>
                      <a:pt x="376" y="218"/>
                      <a:pt x="376" y="217"/>
                    </a:cubicBezTo>
                    <a:cubicBezTo>
                      <a:pt x="377" y="215"/>
                      <a:pt x="377" y="215"/>
                      <a:pt x="377" y="215"/>
                    </a:cubicBezTo>
                    <a:cubicBezTo>
                      <a:pt x="378" y="212"/>
                      <a:pt x="380" y="208"/>
                      <a:pt x="380" y="205"/>
                    </a:cubicBezTo>
                    <a:cubicBezTo>
                      <a:pt x="381" y="197"/>
                      <a:pt x="381" y="190"/>
                      <a:pt x="381" y="182"/>
                    </a:cubicBezTo>
                    <a:cubicBezTo>
                      <a:pt x="381" y="176"/>
                      <a:pt x="381" y="176"/>
                      <a:pt x="381" y="176"/>
                    </a:cubicBezTo>
                    <a:cubicBezTo>
                      <a:pt x="381" y="171"/>
                      <a:pt x="381" y="165"/>
                      <a:pt x="381" y="160"/>
                    </a:cubicBezTo>
                    <a:cubicBezTo>
                      <a:pt x="381" y="156"/>
                      <a:pt x="381" y="156"/>
                      <a:pt x="381" y="156"/>
                    </a:cubicBezTo>
                    <a:cubicBezTo>
                      <a:pt x="381" y="152"/>
                      <a:pt x="381" y="149"/>
                      <a:pt x="381" y="145"/>
                    </a:cubicBezTo>
                    <a:cubicBezTo>
                      <a:pt x="375" y="146"/>
                      <a:pt x="375" y="146"/>
                      <a:pt x="375" y="146"/>
                    </a:cubicBezTo>
                    <a:cubicBezTo>
                      <a:pt x="373" y="147"/>
                      <a:pt x="370" y="147"/>
                      <a:pt x="367" y="147"/>
                    </a:cubicBezTo>
                    <a:cubicBezTo>
                      <a:pt x="360" y="147"/>
                      <a:pt x="358" y="146"/>
                      <a:pt x="357" y="145"/>
                    </a:cubicBezTo>
                    <a:cubicBezTo>
                      <a:pt x="357" y="145"/>
                      <a:pt x="357" y="145"/>
                      <a:pt x="356" y="144"/>
                    </a:cubicBezTo>
                    <a:cubicBezTo>
                      <a:pt x="356" y="144"/>
                      <a:pt x="356" y="144"/>
                      <a:pt x="356" y="144"/>
                    </a:cubicBezTo>
                    <a:cubicBezTo>
                      <a:pt x="355" y="144"/>
                      <a:pt x="355" y="143"/>
                      <a:pt x="355" y="143"/>
                    </a:cubicBezTo>
                    <a:cubicBezTo>
                      <a:pt x="354" y="141"/>
                      <a:pt x="355" y="139"/>
                      <a:pt x="357" y="136"/>
                    </a:cubicBezTo>
                    <a:cubicBezTo>
                      <a:pt x="357" y="135"/>
                      <a:pt x="357" y="135"/>
                      <a:pt x="357" y="135"/>
                    </a:cubicBezTo>
                    <a:cubicBezTo>
                      <a:pt x="358" y="135"/>
                      <a:pt x="358" y="135"/>
                      <a:pt x="358" y="135"/>
                    </a:cubicBezTo>
                    <a:cubicBezTo>
                      <a:pt x="358" y="135"/>
                      <a:pt x="358" y="135"/>
                      <a:pt x="358" y="135"/>
                    </a:cubicBezTo>
                    <a:cubicBezTo>
                      <a:pt x="358" y="134"/>
                      <a:pt x="358" y="134"/>
                      <a:pt x="358" y="134"/>
                    </a:cubicBezTo>
                    <a:cubicBezTo>
                      <a:pt x="357" y="133"/>
                      <a:pt x="357" y="133"/>
                      <a:pt x="357" y="132"/>
                    </a:cubicBezTo>
                    <a:cubicBezTo>
                      <a:pt x="357" y="131"/>
                      <a:pt x="357" y="130"/>
                      <a:pt x="357" y="129"/>
                    </a:cubicBezTo>
                    <a:cubicBezTo>
                      <a:pt x="357" y="129"/>
                      <a:pt x="357" y="129"/>
                      <a:pt x="357" y="129"/>
                    </a:cubicBezTo>
                    <a:cubicBezTo>
                      <a:pt x="357" y="128"/>
                      <a:pt x="357" y="128"/>
                      <a:pt x="357" y="128"/>
                    </a:cubicBezTo>
                    <a:cubicBezTo>
                      <a:pt x="357" y="127"/>
                      <a:pt x="357" y="127"/>
                      <a:pt x="357" y="127"/>
                    </a:cubicBezTo>
                    <a:cubicBezTo>
                      <a:pt x="357" y="127"/>
                      <a:pt x="357" y="127"/>
                      <a:pt x="357" y="127"/>
                    </a:cubicBezTo>
                    <a:cubicBezTo>
                      <a:pt x="356" y="126"/>
                      <a:pt x="356" y="126"/>
                      <a:pt x="356" y="126"/>
                    </a:cubicBezTo>
                    <a:cubicBezTo>
                      <a:pt x="355" y="126"/>
                      <a:pt x="355" y="126"/>
                      <a:pt x="355" y="126"/>
                    </a:cubicBezTo>
                    <a:cubicBezTo>
                      <a:pt x="355" y="125"/>
                      <a:pt x="355" y="125"/>
                      <a:pt x="354" y="125"/>
                    </a:cubicBezTo>
                    <a:cubicBezTo>
                      <a:pt x="354" y="125"/>
                      <a:pt x="353" y="125"/>
                      <a:pt x="352" y="125"/>
                    </a:cubicBezTo>
                    <a:cubicBezTo>
                      <a:pt x="352" y="125"/>
                      <a:pt x="352" y="125"/>
                      <a:pt x="352" y="125"/>
                    </a:cubicBezTo>
                    <a:cubicBezTo>
                      <a:pt x="351" y="125"/>
                      <a:pt x="351" y="125"/>
                      <a:pt x="351" y="125"/>
                    </a:cubicBezTo>
                    <a:cubicBezTo>
                      <a:pt x="349" y="124"/>
                      <a:pt x="349" y="124"/>
                      <a:pt x="349" y="124"/>
                    </a:cubicBezTo>
                    <a:cubicBezTo>
                      <a:pt x="345" y="123"/>
                      <a:pt x="342" y="121"/>
                      <a:pt x="338" y="119"/>
                    </a:cubicBezTo>
                    <a:cubicBezTo>
                      <a:pt x="336" y="117"/>
                      <a:pt x="336" y="117"/>
                      <a:pt x="336" y="117"/>
                    </a:cubicBezTo>
                    <a:cubicBezTo>
                      <a:pt x="336" y="117"/>
                      <a:pt x="336" y="117"/>
                      <a:pt x="336" y="117"/>
                    </a:cubicBezTo>
                    <a:cubicBezTo>
                      <a:pt x="336" y="117"/>
                      <a:pt x="336" y="117"/>
                      <a:pt x="336" y="117"/>
                    </a:cubicBezTo>
                    <a:cubicBezTo>
                      <a:pt x="336" y="117"/>
                      <a:pt x="336" y="118"/>
                      <a:pt x="335" y="118"/>
                    </a:cubicBezTo>
                    <a:cubicBezTo>
                      <a:pt x="335" y="118"/>
                      <a:pt x="335" y="118"/>
                      <a:pt x="334" y="118"/>
                    </a:cubicBezTo>
                    <a:cubicBezTo>
                      <a:pt x="334" y="118"/>
                      <a:pt x="334" y="118"/>
                      <a:pt x="333" y="118"/>
                    </a:cubicBezTo>
                    <a:cubicBezTo>
                      <a:pt x="332" y="118"/>
                      <a:pt x="332" y="118"/>
                      <a:pt x="332" y="118"/>
                    </a:cubicBezTo>
                    <a:cubicBezTo>
                      <a:pt x="329" y="117"/>
                      <a:pt x="323" y="116"/>
                      <a:pt x="321" y="112"/>
                    </a:cubicBezTo>
                    <a:cubicBezTo>
                      <a:pt x="320" y="111"/>
                      <a:pt x="320" y="111"/>
                      <a:pt x="320" y="111"/>
                    </a:cubicBezTo>
                    <a:cubicBezTo>
                      <a:pt x="320" y="110"/>
                      <a:pt x="320" y="110"/>
                      <a:pt x="320" y="110"/>
                    </a:cubicBezTo>
                    <a:cubicBezTo>
                      <a:pt x="319" y="108"/>
                      <a:pt x="319" y="108"/>
                      <a:pt x="318" y="108"/>
                    </a:cubicBezTo>
                    <a:cubicBezTo>
                      <a:pt x="317" y="107"/>
                      <a:pt x="317" y="107"/>
                      <a:pt x="317" y="107"/>
                    </a:cubicBezTo>
                    <a:cubicBezTo>
                      <a:pt x="316" y="107"/>
                      <a:pt x="316" y="107"/>
                      <a:pt x="316" y="107"/>
                    </a:cubicBezTo>
                    <a:cubicBezTo>
                      <a:pt x="313" y="106"/>
                      <a:pt x="310" y="106"/>
                      <a:pt x="309" y="104"/>
                    </a:cubicBezTo>
                    <a:cubicBezTo>
                      <a:pt x="308" y="102"/>
                      <a:pt x="309" y="101"/>
                      <a:pt x="309" y="100"/>
                    </a:cubicBezTo>
                    <a:cubicBezTo>
                      <a:pt x="309" y="100"/>
                      <a:pt x="309" y="100"/>
                      <a:pt x="309" y="99"/>
                    </a:cubicBezTo>
                    <a:cubicBezTo>
                      <a:pt x="309" y="98"/>
                      <a:pt x="309" y="98"/>
                      <a:pt x="309" y="98"/>
                    </a:cubicBezTo>
                    <a:cubicBezTo>
                      <a:pt x="309" y="97"/>
                      <a:pt x="309" y="96"/>
                      <a:pt x="309" y="96"/>
                    </a:cubicBezTo>
                    <a:cubicBezTo>
                      <a:pt x="309" y="95"/>
                      <a:pt x="309" y="95"/>
                      <a:pt x="308" y="95"/>
                    </a:cubicBezTo>
                    <a:cubicBezTo>
                      <a:pt x="286" y="80"/>
                      <a:pt x="286" y="80"/>
                      <a:pt x="286" y="80"/>
                    </a:cubicBezTo>
                    <a:cubicBezTo>
                      <a:pt x="270" y="70"/>
                      <a:pt x="253" y="58"/>
                      <a:pt x="239" y="48"/>
                    </a:cubicBezTo>
                    <a:cubicBezTo>
                      <a:pt x="230" y="42"/>
                      <a:pt x="221" y="36"/>
                      <a:pt x="212" y="29"/>
                    </a:cubicBezTo>
                    <a:cubicBezTo>
                      <a:pt x="206" y="25"/>
                      <a:pt x="206" y="25"/>
                      <a:pt x="206" y="25"/>
                    </a:cubicBezTo>
                    <a:cubicBezTo>
                      <a:pt x="200" y="21"/>
                      <a:pt x="194" y="17"/>
                      <a:pt x="188" y="12"/>
                    </a:cubicBezTo>
                    <a:cubicBezTo>
                      <a:pt x="187" y="12"/>
                      <a:pt x="187" y="12"/>
                      <a:pt x="187" y="12"/>
                    </a:cubicBezTo>
                    <a:cubicBezTo>
                      <a:pt x="185" y="10"/>
                      <a:pt x="183" y="9"/>
                      <a:pt x="181" y="8"/>
                    </a:cubicBezTo>
                    <a:cubicBezTo>
                      <a:pt x="175" y="4"/>
                      <a:pt x="175" y="4"/>
                      <a:pt x="175" y="4"/>
                    </a:cubicBezTo>
                    <a:cubicBezTo>
                      <a:pt x="173" y="3"/>
                      <a:pt x="171" y="1"/>
                      <a:pt x="1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 name="Rectangle 196">
                <a:extLst>
                  <a:ext uri="{FF2B5EF4-FFF2-40B4-BE49-F238E27FC236}">
                    <a16:creationId xmlns:a16="http://schemas.microsoft.com/office/drawing/2014/main" id="{C83EAC0C-5709-4EB4-9EE1-F59EF7BC70B5}"/>
                  </a:ext>
                </a:extLst>
              </p:cNvPr>
              <p:cNvSpPr>
                <a:spLocks noChangeArrowheads="1"/>
              </p:cNvSpPr>
              <p:nvPr/>
            </p:nvSpPr>
            <p:spPr bwMode="auto">
              <a:xfrm>
                <a:off x="3453" y="9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 name="Rectangle 197">
                <a:extLst>
                  <a:ext uri="{FF2B5EF4-FFF2-40B4-BE49-F238E27FC236}">
                    <a16:creationId xmlns:a16="http://schemas.microsoft.com/office/drawing/2014/main" id="{D3D1DA79-D386-4D65-915F-A1DCBBE9570A}"/>
                  </a:ext>
                </a:extLst>
              </p:cNvPr>
              <p:cNvSpPr>
                <a:spLocks noChangeArrowheads="1"/>
              </p:cNvSpPr>
              <p:nvPr/>
            </p:nvSpPr>
            <p:spPr bwMode="auto">
              <a:xfrm>
                <a:off x="3453" y="97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 name="Freeform 198">
                <a:extLst>
                  <a:ext uri="{FF2B5EF4-FFF2-40B4-BE49-F238E27FC236}">
                    <a16:creationId xmlns:a16="http://schemas.microsoft.com/office/drawing/2014/main" id="{850ED500-433E-4ACC-8C3D-5A83B2B660AD}"/>
                  </a:ext>
                </a:extLst>
              </p:cNvPr>
              <p:cNvSpPr>
                <a:spLocks/>
              </p:cNvSpPr>
              <p:nvPr/>
            </p:nvSpPr>
            <p:spPr bwMode="auto">
              <a:xfrm>
                <a:off x="2935" y="668"/>
                <a:ext cx="660" cy="501"/>
              </a:xfrm>
              <a:custGeom>
                <a:avLst/>
                <a:gdLst>
                  <a:gd name="T0" fmla="*/ 167 w 279"/>
                  <a:gd name="T1" fmla="*/ 4 h 212"/>
                  <a:gd name="T2" fmla="*/ 135 w 279"/>
                  <a:gd name="T3" fmla="*/ 58 h 212"/>
                  <a:gd name="T4" fmla="*/ 119 w 279"/>
                  <a:gd name="T5" fmla="*/ 65 h 212"/>
                  <a:gd name="T6" fmla="*/ 89 w 279"/>
                  <a:gd name="T7" fmla="*/ 89 h 212"/>
                  <a:gd name="T8" fmla="*/ 77 w 279"/>
                  <a:gd name="T9" fmla="*/ 122 h 212"/>
                  <a:gd name="T10" fmla="*/ 76 w 279"/>
                  <a:gd name="T11" fmla="*/ 139 h 212"/>
                  <a:gd name="T12" fmla="*/ 80 w 279"/>
                  <a:gd name="T13" fmla="*/ 152 h 212"/>
                  <a:gd name="T14" fmla="*/ 31 w 279"/>
                  <a:gd name="T15" fmla="*/ 200 h 212"/>
                  <a:gd name="T16" fmla="*/ 2 w 279"/>
                  <a:gd name="T17" fmla="*/ 208 h 212"/>
                  <a:gd name="T18" fmla="*/ 100 w 279"/>
                  <a:gd name="T19" fmla="*/ 190 h 212"/>
                  <a:gd name="T20" fmla="*/ 108 w 279"/>
                  <a:gd name="T21" fmla="*/ 181 h 212"/>
                  <a:gd name="T22" fmla="*/ 115 w 279"/>
                  <a:gd name="T23" fmla="*/ 176 h 212"/>
                  <a:gd name="T24" fmla="*/ 133 w 279"/>
                  <a:gd name="T25" fmla="*/ 166 h 212"/>
                  <a:gd name="T26" fmla="*/ 146 w 279"/>
                  <a:gd name="T27" fmla="*/ 163 h 212"/>
                  <a:gd name="T28" fmla="*/ 150 w 279"/>
                  <a:gd name="T29" fmla="*/ 163 h 212"/>
                  <a:gd name="T30" fmla="*/ 152 w 279"/>
                  <a:gd name="T31" fmla="*/ 160 h 212"/>
                  <a:gd name="T32" fmla="*/ 156 w 279"/>
                  <a:gd name="T33" fmla="*/ 157 h 212"/>
                  <a:gd name="T34" fmla="*/ 177 w 279"/>
                  <a:gd name="T35" fmla="*/ 154 h 212"/>
                  <a:gd name="T36" fmla="*/ 184 w 279"/>
                  <a:gd name="T37" fmla="*/ 148 h 212"/>
                  <a:gd name="T38" fmla="*/ 191 w 279"/>
                  <a:gd name="T39" fmla="*/ 141 h 212"/>
                  <a:gd name="T40" fmla="*/ 219 w 279"/>
                  <a:gd name="T41" fmla="*/ 129 h 212"/>
                  <a:gd name="T42" fmla="*/ 216 w 279"/>
                  <a:gd name="T43" fmla="*/ 120 h 212"/>
                  <a:gd name="T44" fmla="*/ 214 w 279"/>
                  <a:gd name="T45" fmla="*/ 116 h 212"/>
                  <a:gd name="T46" fmla="*/ 219 w 279"/>
                  <a:gd name="T47" fmla="*/ 108 h 212"/>
                  <a:gd name="T48" fmla="*/ 224 w 279"/>
                  <a:gd name="T49" fmla="*/ 109 h 212"/>
                  <a:gd name="T50" fmla="*/ 233 w 279"/>
                  <a:gd name="T51" fmla="*/ 106 h 212"/>
                  <a:gd name="T52" fmla="*/ 245 w 279"/>
                  <a:gd name="T53" fmla="*/ 97 h 212"/>
                  <a:gd name="T54" fmla="*/ 257 w 279"/>
                  <a:gd name="T55" fmla="*/ 97 h 212"/>
                  <a:gd name="T56" fmla="*/ 269 w 279"/>
                  <a:gd name="T57" fmla="*/ 98 h 212"/>
                  <a:gd name="T58" fmla="*/ 278 w 279"/>
                  <a:gd name="T59" fmla="*/ 92 h 212"/>
                  <a:gd name="T60" fmla="*/ 273 w 279"/>
                  <a:gd name="T61" fmla="*/ 84 h 212"/>
                  <a:gd name="T62" fmla="*/ 264 w 279"/>
                  <a:gd name="T63" fmla="*/ 54 h 212"/>
                  <a:gd name="T64" fmla="*/ 264 w 279"/>
                  <a:gd name="T65" fmla="*/ 40 h 212"/>
                  <a:gd name="T66" fmla="*/ 261 w 279"/>
                  <a:gd name="T67" fmla="*/ 34 h 212"/>
                  <a:gd name="T68" fmla="*/ 261 w 279"/>
                  <a:gd name="T69" fmla="*/ 31 h 212"/>
                  <a:gd name="T70" fmla="*/ 258 w 279"/>
                  <a:gd name="T71" fmla="*/ 28 h 212"/>
                  <a:gd name="T72" fmla="*/ 254 w 279"/>
                  <a:gd name="T73" fmla="*/ 24 h 212"/>
                  <a:gd name="T74" fmla="*/ 252 w 279"/>
                  <a:gd name="T75" fmla="*/ 22 h 212"/>
                  <a:gd name="T76" fmla="*/ 239 w 279"/>
                  <a:gd name="T77" fmla="*/ 18 h 212"/>
                  <a:gd name="T78" fmla="*/ 236 w 279"/>
                  <a:gd name="T79" fmla="*/ 13 h 212"/>
                  <a:gd name="T80" fmla="*/ 202 w 279"/>
                  <a:gd name="T81" fmla="*/ 19 h 212"/>
                  <a:gd name="T82" fmla="*/ 186 w 279"/>
                  <a:gd name="T83" fmla="*/ 9 h 212"/>
                  <a:gd name="T84" fmla="*/ 183 w 279"/>
                  <a:gd name="T85"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9" h="212">
                    <a:moveTo>
                      <a:pt x="180" y="0"/>
                    </a:moveTo>
                    <a:cubicBezTo>
                      <a:pt x="180" y="0"/>
                      <a:pt x="180" y="0"/>
                      <a:pt x="180" y="0"/>
                    </a:cubicBezTo>
                    <a:cubicBezTo>
                      <a:pt x="177" y="1"/>
                      <a:pt x="169" y="1"/>
                      <a:pt x="167" y="4"/>
                    </a:cubicBezTo>
                    <a:cubicBezTo>
                      <a:pt x="166" y="9"/>
                      <a:pt x="164" y="14"/>
                      <a:pt x="162" y="19"/>
                    </a:cubicBezTo>
                    <a:cubicBezTo>
                      <a:pt x="159" y="28"/>
                      <a:pt x="154" y="37"/>
                      <a:pt x="149" y="46"/>
                    </a:cubicBezTo>
                    <a:cubicBezTo>
                      <a:pt x="146" y="51"/>
                      <a:pt x="140" y="55"/>
                      <a:pt x="135" y="58"/>
                    </a:cubicBezTo>
                    <a:cubicBezTo>
                      <a:pt x="134" y="58"/>
                      <a:pt x="134" y="58"/>
                      <a:pt x="134" y="58"/>
                    </a:cubicBezTo>
                    <a:cubicBezTo>
                      <a:pt x="122" y="63"/>
                      <a:pt x="122" y="63"/>
                      <a:pt x="122" y="63"/>
                    </a:cubicBezTo>
                    <a:cubicBezTo>
                      <a:pt x="121" y="64"/>
                      <a:pt x="120" y="64"/>
                      <a:pt x="119" y="65"/>
                    </a:cubicBezTo>
                    <a:cubicBezTo>
                      <a:pt x="114" y="67"/>
                      <a:pt x="109" y="68"/>
                      <a:pt x="105" y="71"/>
                    </a:cubicBezTo>
                    <a:cubicBezTo>
                      <a:pt x="101" y="75"/>
                      <a:pt x="98" y="80"/>
                      <a:pt x="94" y="84"/>
                    </a:cubicBezTo>
                    <a:cubicBezTo>
                      <a:pt x="93" y="86"/>
                      <a:pt x="90" y="87"/>
                      <a:pt x="89" y="89"/>
                    </a:cubicBezTo>
                    <a:cubicBezTo>
                      <a:pt x="88" y="91"/>
                      <a:pt x="88" y="94"/>
                      <a:pt x="87" y="96"/>
                    </a:cubicBezTo>
                    <a:cubicBezTo>
                      <a:pt x="85" y="104"/>
                      <a:pt x="82" y="109"/>
                      <a:pt x="78" y="115"/>
                    </a:cubicBezTo>
                    <a:cubicBezTo>
                      <a:pt x="76" y="119"/>
                      <a:pt x="77" y="119"/>
                      <a:pt x="77" y="122"/>
                    </a:cubicBezTo>
                    <a:cubicBezTo>
                      <a:pt x="76" y="125"/>
                      <a:pt x="76" y="129"/>
                      <a:pt x="76" y="132"/>
                    </a:cubicBezTo>
                    <a:cubicBezTo>
                      <a:pt x="76" y="134"/>
                      <a:pt x="75" y="136"/>
                      <a:pt x="75" y="139"/>
                    </a:cubicBezTo>
                    <a:cubicBezTo>
                      <a:pt x="75" y="139"/>
                      <a:pt x="75" y="139"/>
                      <a:pt x="76" y="139"/>
                    </a:cubicBezTo>
                    <a:cubicBezTo>
                      <a:pt x="76" y="139"/>
                      <a:pt x="76" y="139"/>
                      <a:pt x="76" y="139"/>
                    </a:cubicBezTo>
                    <a:cubicBezTo>
                      <a:pt x="79" y="142"/>
                      <a:pt x="81" y="144"/>
                      <a:pt x="81" y="147"/>
                    </a:cubicBezTo>
                    <a:cubicBezTo>
                      <a:pt x="81" y="149"/>
                      <a:pt x="80" y="151"/>
                      <a:pt x="80" y="152"/>
                    </a:cubicBezTo>
                    <a:cubicBezTo>
                      <a:pt x="77" y="161"/>
                      <a:pt x="69" y="169"/>
                      <a:pt x="63" y="176"/>
                    </a:cubicBezTo>
                    <a:cubicBezTo>
                      <a:pt x="59" y="181"/>
                      <a:pt x="52" y="184"/>
                      <a:pt x="47" y="188"/>
                    </a:cubicBezTo>
                    <a:cubicBezTo>
                      <a:pt x="41" y="192"/>
                      <a:pt x="36" y="196"/>
                      <a:pt x="31" y="200"/>
                    </a:cubicBezTo>
                    <a:cubicBezTo>
                      <a:pt x="29" y="202"/>
                      <a:pt x="26" y="202"/>
                      <a:pt x="24" y="202"/>
                    </a:cubicBezTo>
                    <a:cubicBezTo>
                      <a:pt x="20" y="204"/>
                      <a:pt x="15" y="205"/>
                      <a:pt x="10" y="206"/>
                    </a:cubicBezTo>
                    <a:cubicBezTo>
                      <a:pt x="9" y="206"/>
                      <a:pt x="3" y="207"/>
                      <a:pt x="2" y="208"/>
                    </a:cubicBezTo>
                    <a:cubicBezTo>
                      <a:pt x="2" y="210"/>
                      <a:pt x="1" y="211"/>
                      <a:pt x="0" y="212"/>
                    </a:cubicBezTo>
                    <a:cubicBezTo>
                      <a:pt x="101" y="212"/>
                      <a:pt x="101" y="212"/>
                      <a:pt x="101" y="212"/>
                    </a:cubicBezTo>
                    <a:cubicBezTo>
                      <a:pt x="100" y="190"/>
                      <a:pt x="100" y="190"/>
                      <a:pt x="100" y="190"/>
                    </a:cubicBezTo>
                    <a:cubicBezTo>
                      <a:pt x="100" y="189"/>
                      <a:pt x="101" y="189"/>
                      <a:pt x="101" y="189"/>
                    </a:cubicBezTo>
                    <a:cubicBezTo>
                      <a:pt x="101" y="187"/>
                      <a:pt x="102" y="185"/>
                      <a:pt x="104" y="184"/>
                    </a:cubicBezTo>
                    <a:cubicBezTo>
                      <a:pt x="105" y="183"/>
                      <a:pt x="107" y="182"/>
                      <a:pt x="108" y="181"/>
                    </a:cubicBezTo>
                    <a:cubicBezTo>
                      <a:pt x="111" y="179"/>
                      <a:pt x="111" y="179"/>
                      <a:pt x="111" y="179"/>
                    </a:cubicBezTo>
                    <a:cubicBezTo>
                      <a:pt x="111" y="179"/>
                      <a:pt x="111" y="179"/>
                      <a:pt x="112" y="179"/>
                    </a:cubicBezTo>
                    <a:cubicBezTo>
                      <a:pt x="115" y="176"/>
                      <a:pt x="115" y="176"/>
                      <a:pt x="115" y="176"/>
                    </a:cubicBezTo>
                    <a:cubicBezTo>
                      <a:pt x="118" y="174"/>
                      <a:pt x="121" y="173"/>
                      <a:pt x="123" y="171"/>
                    </a:cubicBezTo>
                    <a:cubicBezTo>
                      <a:pt x="124" y="170"/>
                      <a:pt x="125" y="169"/>
                      <a:pt x="127" y="169"/>
                    </a:cubicBezTo>
                    <a:cubicBezTo>
                      <a:pt x="129" y="167"/>
                      <a:pt x="131" y="167"/>
                      <a:pt x="133" y="166"/>
                    </a:cubicBezTo>
                    <a:cubicBezTo>
                      <a:pt x="135" y="166"/>
                      <a:pt x="136" y="165"/>
                      <a:pt x="137" y="165"/>
                    </a:cubicBezTo>
                    <a:cubicBezTo>
                      <a:pt x="141" y="164"/>
                      <a:pt x="141" y="164"/>
                      <a:pt x="141" y="164"/>
                    </a:cubicBezTo>
                    <a:cubicBezTo>
                      <a:pt x="142" y="164"/>
                      <a:pt x="144" y="163"/>
                      <a:pt x="146" y="163"/>
                    </a:cubicBezTo>
                    <a:cubicBezTo>
                      <a:pt x="146" y="163"/>
                      <a:pt x="147" y="163"/>
                      <a:pt x="147" y="163"/>
                    </a:cubicBezTo>
                    <a:cubicBezTo>
                      <a:pt x="148" y="163"/>
                      <a:pt x="149" y="163"/>
                      <a:pt x="149" y="163"/>
                    </a:cubicBezTo>
                    <a:cubicBezTo>
                      <a:pt x="150" y="163"/>
                      <a:pt x="150" y="163"/>
                      <a:pt x="150" y="163"/>
                    </a:cubicBezTo>
                    <a:cubicBezTo>
                      <a:pt x="151" y="163"/>
                      <a:pt x="151" y="163"/>
                      <a:pt x="151" y="163"/>
                    </a:cubicBezTo>
                    <a:cubicBezTo>
                      <a:pt x="151" y="163"/>
                      <a:pt x="151" y="161"/>
                      <a:pt x="152" y="160"/>
                    </a:cubicBezTo>
                    <a:cubicBezTo>
                      <a:pt x="152" y="160"/>
                      <a:pt x="152" y="160"/>
                      <a:pt x="152" y="160"/>
                    </a:cubicBezTo>
                    <a:cubicBezTo>
                      <a:pt x="152" y="159"/>
                      <a:pt x="152" y="159"/>
                      <a:pt x="152" y="158"/>
                    </a:cubicBezTo>
                    <a:cubicBezTo>
                      <a:pt x="153" y="155"/>
                      <a:pt x="153" y="155"/>
                      <a:pt x="153" y="155"/>
                    </a:cubicBezTo>
                    <a:cubicBezTo>
                      <a:pt x="156" y="157"/>
                      <a:pt x="156" y="157"/>
                      <a:pt x="156" y="157"/>
                    </a:cubicBezTo>
                    <a:cubicBezTo>
                      <a:pt x="156" y="157"/>
                      <a:pt x="157" y="157"/>
                      <a:pt x="157" y="157"/>
                    </a:cubicBezTo>
                    <a:cubicBezTo>
                      <a:pt x="158" y="157"/>
                      <a:pt x="159" y="157"/>
                      <a:pt x="160" y="157"/>
                    </a:cubicBezTo>
                    <a:cubicBezTo>
                      <a:pt x="166" y="157"/>
                      <a:pt x="173" y="156"/>
                      <a:pt x="177" y="154"/>
                    </a:cubicBezTo>
                    <a:cubicBezTo>
                      <a:pt x="178" y="154"/>
                      <a:pt x="179" y="153"/>
                      <a:pt x="180" y="153"/>
                    </a:cubicBezTo>
                    <a:cubicBezTo>
                      <a:pt x="180" y="152"/>
                      <a:pt x="181" y="151"/>
                      <a:pt x="182" y="150"/>
                    </a:cubicBezTo>
                    <a:cubicBezTo>
                      <a:pt x="184" y="148"/>
                      <a:pt x="184" y="148"/>
                      <a:pt x="184" y="148"/>
                    </a:cubicBezTo>
                    <a:cubicBezTo>
                      <a:pt x="184" y="148"/>
                      <a:pt x="184" y="147"/>
                      <a:pt x="185" y="147"/>
                    </a:cubicBezTo>
                    <a:cubicBezTo>
                      <a:pt x="185" y="146"/>
                      <a:pt x="185" y="146"/>
                      <a:pt x="185" y="146"/>
                    </a:cubicBezTo>
                    <a:cubicBezTo>
                      <a:pt x="187" y="144"/>
                      <a:pt x="189" y="142"/>
                      <a:pt x="191" y="141"/>
                    </a:cubicBezTo>
                    <a:cubicBezTo>
                      <a:pt x="216" y="130"/>
                      <a:pt x="216" y="130"/>
                      <a:pt x="216" y="130"/>
                    </a:cubicBezTo>
                    <a:cubicBezTo>
                      <a:pt x="216" y="129"/>
                      <a:pt x="217" y="129"/>
                      <a:pt x="217" y="129"/>
                    </a:cubicBezTo>
                    <a:cubicBezTo>
                      <a:pt x="218" y="129"/>
                      <a:pt x="218" y="129"/>
                      <a:pt x="219" y="129"/>
                    </a:cubicBezTo>
                    <a:cubicBezTo>
                      <a:pt x="217" y="127"/>
                      <a:pt x="217" y="127"/>
                      <a:pt x="217" y="127"/>
                    </a:cubicBezTo>
                    <a:cubicBezTo>
                      <a:pt x="214" y="126"/>
                      <a:pt x="215" y="124"/>
                      <a:pt x="215" y="122"/>
                    </a:cubicBezTo>
                    <a:cubicBezTo>
                      <a:pt x="215" y="121"/>
                      <a:pt x="216" y="120"/>
                      <a:pt x="216" y="120"/>
                    </a:cubicBezTo>
                    <a:cubicBezTo>
                      <a:pt x="215" y="119"/>
                      <a:pt x="215" y="119"/>
                      <a:pt x="215" y="119"/>
                    </a:cubicBezTo>
                    <a:cubicBezTo>
                      <a:pt x="215" y="119"/>
                      <a:pt x="215" y="119"/>
                      <a:pt x="215" y="119"/>
                    </a:cubicBezTo>
                    <a:cubicBezTo>
                      <a:pt x="215" y="118"/>
                      <a:pt x="214" y="117"/>
                      <a:pt x="214" y="116"/>
                    </a:cubicBezTo>
                    <a:cubicBezTo>
                      <a:pt x="214" y="115"/>
                      <a:pt x="214" y="114"/>
                      <a:pt x="214" y="113"/>
                    </a:cubicBezTo>
                    <a:cubicBezTo>
                      <a:pt x="214" y="111"/>
                      <a:pt x="216" y="109"/>
                      <a:pt x="218" y="108"/>
                    </a:cubicBezTo>
                    <a:cubicBezTo>
                      <a:pt x="219" y="108"/>
                      <a:pt x="219" y="108"/>
                      <a:pt x="219" y="108"/>
                    </a:cubicBezTo>
                    <a:cubicBezTo>
                      <a:pt x="220" y="108"/>
                      <a:pt x="221" y="108"/>
                      <a:pt x="222" y="108"/>
                    </a:cubicBezTo>
                    <a:cubicBezTo>
                      <a:pt x="223" y="109"/>
                      <a:pt x="223" y="109"/>
                      <a:pt x="224" y="109"/>
                    </a:cubicBezTo>
                    <a:cubicBezTo>
                      <a:pt x="224" y="109"/>
                      <a:pt x="224" y="109"/>
                      <a:pt x="224" y="109"/>
                    </a:cubicBezTo>
                    <a:cubicBezTo>
                      <a:pt x="225" y="109"/>
                      <a:pt x="225" y="109"/>
                      <a:pt x="225" y="109"/>
                    </a:cubicBezTo>
                    <a:cubicBezTo>
                      <a:pt x="226" y="109"/>
                      <a:pt x="229" y="108"/>
                      <a:pt x="231" y="107"/>
                    </a:cubicBezTo>
                    <a:cubicBezTo>
                      <a:pt x="232" y="106"/>
                      <a:pt x="232" y="106"/>
                      <a:pt x="233" y="106"/>
                    </a:cubicBezTo>
                    <a:cubicBezTo>
                      <a:pt x="234" y="105"/>
                      <a:pt x="235" y="104"/>
                      <a:pt x="235" y="103"/>
                    </a:cubicBezTo>
                    <a:cubicBezTo>
                      <a:pt x="237" y="101"/>
                      <a:pt x="238" y="99"/>
                      <a:pt x="241" y="98"/>
                    </a:cubicBezTo>
                    <a:cubicBezTo>
                      <a:pt x="242" y="98"/>
                      <a:pt x="244" y="97"/>
                      <a:pt x="245" y="97"/>
                    </a:cubicBezTo>
                    <a:cubicBezTo>
                      <a:pt x="246" y="97"/>
                      <a:pt x="247" y="97"/>
                      <a:pt x="247" y="97"/>
                    </a:cubicBezTo>
                    <a:cubicBezTo>
                      <a:pt x="249" y="96"/>
                      <a:pt x="251" y="96"/>
                      <a:pt x="253" y="96"/>
                    </a:cubicBezTo>
                    <a:cubicBezTo>
                      <a:pt x="254" y="96"/>
                      <a:pt x="256" y="96"/>
                      <a:pt x="257" y="97"/>
                    </a:cubicBezTo>
                    <a:cubicBezTo>
                      <a:pt x="258" y="97"/>
                      <a:pt x="258" y="97"/>
                      <a:pt x="258" y="97"/>
                    </a:cubicBezTo>
                    <a:cubicBezTo>
                      <a:pt x="260" y="97"/>
                      <a:pt x="263" y="97"/>
                      <a:pt x="265" y="97"/>
                    </a:cubicBezTo>
                    <a:cubicBezTo>
                      <a:pt x="266" y="97"/>
                      <a:pt x="268" y="97"/>
                      <a:pt x="269" y="98"/>
                    </a:cubicBezTo>
                    <a:cubicBezTo>
                      <a:pt x="271" y="98"/>
                      <a:pt x="273" y="98"/>
                      <a:pt x="275" y="98"/>
                    </a:cubicBezTo>
                    <a:cubicBezTo>
                      <a:pt x="275" y="97"/>
                      <a:pt x="275" y="96"/>
                      <a:pt x="275" y="95"/>
                    </a:cubicBezTo>
                    <a:cubicBezTo>
                      <a:pt x="278" y="92"/>
                      <a:pt x="278" y="92"/>
                      <a:pt x="278" y="92"/>
                    </a:cubicBezTo>
                    <a:cubicBezTo>
                      <a:pt x="279" y="91"/>
                      <a:pt x="279" y="91"/>
                      <a:pt x="279" y="91"/>
                    </a:cubicBezTo>
                    <a:cubicBezTo>
                      <a:pt x="277" y="89"/>
                      <a:pt x="277" y="89"/>
                      <a:pt x="277" y="89"/>
                    </a:cubicBezTo>
                    <a:cubicBezTo>
                      <a:pt x="275" y="88"/>
                      <a:pt x="274" y="86"/>
                      <a:pt x="273" y="84"/>
                    </a:cubicBezTo>
                    <a:cubicBezTo>
                      <a:pt x="264" y="61"/>
                      <a:pt x="264" y="61"/>
                      <a:pt x="264" y="61"/>
                    </a:cubicBezTo>
                    <a:cubicBezTo>
                      <a:pt x="264" y="60"/>
                      <a:pt x="264" y="58"/>
                      <a:pt x="264" y="57"/>
                    </a:cubicBezTo>
                    <a:cubicBezTo>
                      <a:pt x="264" y="56"/>
                      <a:pt x="264" y="55"/>
                      <a:pt x="264" y="54"/>
                    </a:cubicBezTo>
                    <a:cubicBezTo>
                      <a:pt x="265" y="52"/>
                      <a:pt x="266" y="49"/>
                      <a:pt x="265" y="48"/>
                    </a:cubicBezTo>
                    <a:cubicBezTo>
                      <a:pt x="264" y="42"/>
                      <a:pt x="264" y="42"/>
                      <a:pt x="264" y="42"/>
                    </a:cubicBezTo>
                    <a:cubicBezTo>
                      <a:pt x="263" y="41"/>
                      <a:pt x="263" y="41"/>
                      <a:pt x="264" y="40"/>
                    </a:cubicBezTo>
                    <a:cubicBezTo>
                      <a:pt x="264" y="40"/>
                      <a:pt x="264" y="39"/>
                      <a:pt x="264" y="39"/>
                    </a:cubicBezTo>
                    <a:cubicBezTo>
                      <a:pt x="263" y="38"/>
                      <a:pt x="263" y="38"/>
                      <a:pt x="262" y="37"/>
                    </a:cubicBezTo>
                    <a:cubicBezTo>
                      <a:pt x="261" y="36"/>
                      <a:pt x="261" y="35"/>
                      <a:pt x="261" y="34"/>
                    </a:cubicBezTo>
                    <a:cubicBezTo>
                      <a:pt x="261" y="33"/>
                      <a:pt x="261" y="33"/>
                      <a:pt x="262" y="32"/>
                    </a:cubicBezTo>
                    <a:cubicBezTo>
                      <a:pt x="260" y="34"/>
                      <a:pt x="260" y="34"/>
                      <a:pt x="260" y="34"/>
                    </a:cubicBezTo>
                    <a:cubicBezTo>
                      <a:pt x="261" y="31"/>
                      <a:pt x="261" y="31"/>
                      <a:pt x="261" y="31"/>
                    </a:cubicBezTo>
                    <a:cubicBezTo>
                      <a:pt x="260" y="31"/>
                      <a:pt x="260" y="31"/>
                      <a:pt x="260" y="31"/>
                    </a:cubicBezTo>
                    <a:cubicBezTo>
                      <a:pt x="260" y="30"/>
                      <a:pt x="259" y="29"/>
                      <a:pt x="258" y="28"/>
                    </a:cubicBezTo>
                    <a:cubicBezTo>
                      <a:pt x="258" y="28"/>
                      <a:pt x="258" y="28"/>
                      <a:pt x="258" y="28"/>
                    </a:cubicBezTo>
                    <a:cubicBezTo>
                      <a:pt x="257" y="27"/>
                      <a:pt x="257" y="27"/>
                      <a:pt x="256" y="26"/>
                    </a:cubicBezTo>
                    <a:cubicBezTo>
                      <a:pt x="255" y="26"/>
                      <a:pt x="255" y="26"/>
                      <a:pt x="255" y="26"/>
                    </a:cubicBezTo>
                    <a:cubicBezTo>
                      <a:pt x="255" y="25"/>
                      <a:pt x="254" y="25"/>
                      <a:pt x="254" y="24"/>
                    </a:cubicBezTo>
                    <a:cubicBezTo>
                      <a:pt x="253" y="24"/>
                      <a:pt x="253" y="24"/>
                      <a:pt x="253" y="24"/>
                    </a:cubicBezTo>
                    <a:cubicBezTo>
                      <a:pt x="253" y="23"/>
                      <a:pt x="253" y="23"/>
                      <a:pt x="253" y="23"/>
                    </a:cubicBezTo>
                    <a:cubicBezTo>
                      <a:pt x="252" y="22"/>
                      <a:pt x="252" y="22"/>
                      <a:pt x="252" y="22"/>
                    </a:cubicBezTo>
                    <a:cubicBezTo>
                      <a:pt x="253" y="21"/>
                      <a:pt x="253" y="21"/>
                      <a:pt x="253" y="21"/>
                    </a:cubicBezTo>
                    <a:cubicBezTo>
                      <a:pt x="249" y="19"/>
                      <a:pt x="245" y="18"/>
                      <a:pt x="240" y="18"/>
                    </a:cubicBezTo>
                    <a:cubicBezTo>
                      <a:pt x="240" y="18"/>
                      <a:pt x="240" y="18"/>
                      <a:pt x="239" y="18"/>
                    </a:cubicBezTo>
                    <a:cubicBezTo>
                      <a:pt x="240" y="19"/>
                      <a:pt x="240" y="20"/>
                      <a:pt x="240" y="21"/>
                    </a:cubicBezTo>
                    <a:cubicBezTo>
                      <a:pt x="239" y="20"/>
                      <a:pt x="239" y="19"/>
                      <a:pt x="239" y="17"/>
                    </a:cubicBezTo>
                    <a:cubicBezTo>
                      <a:pt x="238" y="14"/>
                      <a:pt x="238" y="13"/>
                      <a:pt x="236" y="13"/>
                    </a:cubicBezTo>
                    <a:cubicBezTo>
                      <a:pt x="235" y="13"/>
                      <a:pt x="235" y="13"/>
                      <a:pt x="234" y="14"/>
                    </a:cubicBezTo>
                    <a:cubicBezTo>
                      <a:pt x="227" y="16"/>
                      <a:pt x="221" y="19"/>
                      <a:pt x="215" y="19"/>
                    </a:cubicBezTo>
                    <a:cubicBezTo>
                      <a:pt x="210" y="19"/>
                      <a:pt x="206" y="19"/>
                      <a:pt x="202" y="19"/>
                    </a:cubicBezTo>
                    <a:cubicBezTo>
                      <a:pt x="202" y="19"/>
                      <a:pt x="202" y="19"/>
                      <a:pt x="201" y="19"/>
                    </a:cubicBezTo>
                    <a:cubicBezTo>
                      <a:pt x="199" y="19"/>
                      <a:pt x="195" y="16"/>
                      <a:pt x="193" y="15"/>
                    </a:cubicBezTo>
                    <a:cubicBezTo>
                      <a:pt x="190" y="13"/>
                      <a:pt x="188" y="13"/>
                      <a:pt x="186" y="9"/>
                    </a:cubicBezTo>
                    <a:cubicBezTo>
                      <a:pt x="184" y="7"/>
                      <a:pt x="183" y="4"/>
                      <a:pt x="181" y="1"/>
                    </a:cubicBezTo>
                    <a:cubicBezTo>
                      <a:pt x="181" y="2"/>
                      <a:pt x="181" y="2"/>
                      <a:pt x="181" y="2"/>
                    </a:cubicBezTo>
                    <a:cubicBezTo>
                      <a:pt x="182" y="1"/>
                      <a:pt x="183" y="1"/>
                      <a:pt x="183" y="0"/>
                    </a:cubicBezTo>
                    <a:cubicBezTo>
                      <a:pt x="182" y="0"/>
                      <a:pt x="181"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 name="Freeform 199">
                <a:extLst>
                  <a:ext uri="{FF2B5EF4-FFF2-40B4-BE49-F238E27FC236}">
                    <a16:creationId xmlns:a16="http://schemas.microsoft.com/office/drawing/2014/main" id="{60BCDB21-3B60-4FDE-A9BE-25984C6E0D9F}"/>
                  </a:ext>
                </a:extLst>
              </p:cNvPr>
              <p:cNvSpPr>
                <a:spLocks/>
              </p:cNvSpPr>
              <p:nvPr/>
            </p:nvSpPr>
            <p:spPr bwMode="auto">
              <a:xfrm>
                <a:off x="2716" y="1181"/>
                <a:ext cx="458" cy="366"/>
              </a:xfrm>
              <a:custGeom>
                <a:avLst/>
                <a:gdLst>
                  <a:gd name="T0" fmla="*/ 194 w 194"/>
                  <a:gd name="T1" fmla="*/ 0 h 155"/>
                  <a:gd name="T2" fmla="*/ 89 w 194"/>
                  <a:gd name="T3" fmla="*/ 0 h 155"/>
                  <a:gd name="T4" fmla="*/ 77 w 194"/>
                  <a:gd name="T5" fmla="*/ 24 h 155"/>
                  <a:gd name="T6" fmla="*/ 63 w 194"/>
                  <a:gd name="T7" fmla="*/ 32 h 155"/>
                  <a:gd name="T8" fmla="*/ 59 w 194"/>
                  <a:gd name="T9" fmla="*/ 36 h 155"/>
                  <a:gd name="T10" fmla="*/ 53 w 194"/>
                  <a:gd name="T11" fmla="*/ 52 h 155"/>
                  <a:gd name="T12" fmla="*/ 48 w 194"/>
                  <a:gd name="T13" fmla="*/ 74 h 155"/>
                  <a:gd name="T14" fmla="*/ 42 w 194"/>
                  <a:gd name="T15" fmla="*/ 79 h 155"/>
                  <a:gd name="T16" fmla="*/ 36 w 194"/>
                  <a:gd name="T17" fmla="*/ 86 h 155"/>
                  <a:gd name="T18" fmla="*/ 26 w 194"/>
                  <a:gd name="T19" fmla="*/ 98 h 155"/>
                  <a:gd name="T20" fmla="*/ 18 w 194"/>
                  <a:gd name="T21" fmla="*/ 114 h 155"/>
                  <a:gd name="T22" fmla="*/ 15 w 194"/>
                  <a:gd name="T23" fmla="*/ 125 h 155"/>
                  <a:gd name="T24" fmla="*/ 12 w 194"/>
                  <a:gd name="T25" fmla="*/ 132 h 155"/>
                  <a:gd name="T26" fmla="*/ 7 w 194"/>
                  <a:gd name="T27" fmla="*/ 136 h 155"/>
                  <a:gd name="T28" fmla="*/ 1 w 194"/>
                  <a:gd name="T29" fmla="*/ 144 h 155"/>
                  <a:gd name="T30" fmla="*/ 0 w 194"/>
                  <a:gd name="T31" fmla="*/ 152 h 155"/>
                  <a:gd name="T32" fmla="*/ 0 w 194"/>
                  <a:gd name="T33" fmla="*/ 155 h 155"/>
                  <a:gd name="T34" fmla="*/ 2 w 194"/>
                  <a:gd name="T35" fmla="*/ 153 h 155"/>
                  <a:gd name="T36" fmla="*/ 5 w 194"/>
                  <a:gd name="T37" fmla="*/ 153 h 155"/>
                  <a:gd name="T38" fmla="*/ 7 w 194"/>
                  <a:gd name="T39" fmla="*/ 153 h 155"/>
                  <a:gd name="T40" fmla="*/ 7 w 194"/>
                  <a:gd name="T41" fmla="*/ 153 h 155"/>
                  <a:gd name="T42" fmla="*/ 8 w 194"/>
                  <a:gd name="T43" fmla="*/ 153 h 155"/>
                  <a:gd name="T44" fmla="*/ 11 w 194"/>
                  <a:gd name="T45" fmla="*/ 153 h 155"/>
                  <a:gd name="T46" fmla="*/ 13 w 194"/>
                  <a:gd name="T47" fmla="*/ 153 h 155"/>
                  <a:gd name="T48" fmla="*/ 39 w 194"/>
                  <a:gd name="T49" fmla="*/ 153 h 155"/>
                  <a:gd name="T50" fmla="*/ 92 w 194"/>
                  <a:gd name="T51" fmla="*/ 153 h 155"/>
                  <a:gd name="T52" fmla="*/ 91 w 194"/>
                  <a:gd name="T53" fmla="*/ 149 h 155"/>
                  <a:gd name="T54" fmla="*/ 91 w 194"/>
                  <a:gd name="T55" fmla="*/ 149 h 155"/>
                  <a:gd name="T56" fmla="*/ 91 w 194"/>
                  <a:gd name="T57" fmla="*/ 147 h 155"/>
                  <a:gd name="T58" fmla="*/ 90 w 194"/>
                  <a:gd name="T59" fmla="*/ 132 h 155"/>
                  <a:gd name="T60" fmla="*/ 90 w 194"/>
                  <a:gd name="T61" fmla="*/ 127 h 155"/>
                  <a:gd name="T62" fmla="*/ 89 w 194"/>
                  <a:gd name="T63" fmla="*/ 126 h 155"/>
                  <a:gd name="T64" fmla="*/ 89 w 194"/>
                  <a:gd name="T65" fmla="*/ 125 h 155"/>
                  <a:gd name="T66" fmla="*/ 90 w 194"/>
                  <a:gd name="T67" fmla="*/ 117 h 155"/>
                  <a:gd name="T68" fmla="*/ 99 w 194"/>
                  <a:gd name="T69" fmla="*/ 108 h 155"/>
                  <a:gd name="T70" fmla="*/ 101 w 194"/>
                  <a:gd name="T71" fmla="*/ 106 h 155"/>
                  <a:gd name="T72" fmla="*/ 102 w 194"/>
                  <a:gd name="T73" fmla="*/ 106 h 155"/>
                  <a:gd name="T74" fmla="*/ 106 w 194"/>
                  <a:gd name="T75" fmla="*/ 104 h 155"/>
                  <a:gd name="T76" fmla="*/ 111 w 194"/>
                  <a:gd name="T77" fmla="*/ 103 h 155"/>
                  <a:gd name="T78" fmla="*/ 113 w 194"/>
                  <a:gd name="T79" fmla="*/ 102 h 155"/>
                  <a:gd name="T80" fmla="*/ 113 w 194"/>
                  <a:gd name="T81" fmla="*/ 102 h 155"/>
                  <a:gd name="T82" fmla="*/ 115 w 194"/>
                  <a:gd name="T83" fmla="*/ 102 h 155"/>
                  <a:gd name="T84" fmla="*/ 115 w 194"/>
                  <a:gd name="T85" fmla="*/ 93 h 155"/>
                  <a:gd name="T86" fmla="*/ 115 w 194"/>
                  <a:gd name="T87" fmla="*/ 92 h 155"/>
                  <a:gd name="T88" fmla="*/ 115 w 194"/>
                  <a:gd name="T89" fmla="*/ 90 h 155"/>
                  <a:gd name="T90" fmla="*/ 115 w 194"/>
                  <a:gd name="T91" fmla="*/ 43 h 155"/>
                  <a:gd name="T92" fmla="*/ 117 w 194"/>
                  <a:gd name="T93" fmla="*/ 37 h 155"/>
                  <a:gd name="T94" fmla="*/ 118 w 194"/>
                  <a:gd name="T95" fmla="*/ 37 h 155"/>
                  <a:gd name="T96" fmla="*/ 121 w 194"/>
                  <a:gd name="T97" fmla="*/ 37 h 155"/>
                  <a:gd name="T98" fmla="*/ 122 w 194"/>
                  <a:gd name="T99" fmla="*/ 37 h 155"/>
                  <a:gd name="T100" fmla="*/ 123 w 194"/>
                  <a:gd name="T101" fmla="*/ 37 h 155"/>
                  <a:gd name="T102" fmla="*/ 194 w 194"/>
                  <a:gd name="T103" fmla="*/ 37 h 155"/>
                  <a:gd name="T104" fmla="*/ 194 w 194"/>
                  <a:gd name="T105" fmla="*/ 32 h 155"/>
                  <a:gd name="T106" fmla="*/ 194 w 194"/>
                  <a:gd name="T107" fmla="*/ 31 h 155"/>
                  <a:gd name="T108" fmla="*/ 193 w 194"/>
                  <a:gd name="T109" fmla="*/ 28 h 155"/>
                  <a:gd name="T110" fmla="*/ 194 w 194"/>
                  <a:gd name="T111" fmla="*/ 2 h 155"/>
                  <a:gd name="T112" fmla="*/ 194 w 194"/>
                  <a:gd name="T113" fmla="*/ 2 h 155"/>
                  <a:gd name="T114" fmla="*/ 194 w 194"/>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55">
                    <a:moveTo>
                      <a:pt x="194" y="0"/>
                    </a:moveTo>
                    <a:cubicBezTo>
                      <a:pt x="89" y="0"/>
                      <a:pt x="89" y="0"/>
                      <a:pt x="89" y="0"/>
                    </a:cubicBezTo>
                    <a:cubicBezTo>
                      <a:pt x="87" y="8"/>
                      <a:pt x="84" y="20"/>
                      <a:pt x="77" y="24"/>
                    </a:cubicBezTo>
                    <a:cubicBezTo>
                      <a:pt x="73" y="27"/>
                      <a:pt x="68" y="30"/>
                      <a:pt x="63" y="32"/>
                    </a:cubicBezTo>
                    <a:cubicBezTo>
                      <a:pt x="62" y="33"/>
                      <a:pt x="60" y="34"/>
                      <a:pt x="59" y="36"/>
                    </a:cubicBezTo>
                    <a:cubicBezTo>
                      <a:pt x="59" y="42"/>
                      <a:pt x="56" y="47"/>
                      <a:pt x="53" y="52"/>
                    </a:cubicBezTo>
                    <a:cubicBezTo>
                      <a:pt x="50" y="59"/>
                      <a:pt x="52" y="68"/>
                      <a:pt x="48" y="74"/>
                    </a:cubicBezTo>
                    <a:cubicBezTo>
                      <a:pt x="47" y="77"/>
                      <a:pt x="44" y="76"/>
                      <a:pt x="42" y="79"/>
                    </a:cubicBezTo>
                    <a:cubicBezTo>
                      <a:pt x="40" y="81"/>
                      <a:pt x="38" y="83"/>
                      <a:pt x="36" y="86"/>
                    </a:cubicBezTo>
                    <a:cubicBezTo>
                      <a:pt x="32" y="90"/>
                      <a:pt x="29" y="93"/>
                      <a:pt x="26" y="98"/>
                    </a:cubicBezTo>
                    <a:cubicBezTo>
                      <a:pt x="24" y="103"/>
                      <a:pt x="20" y="109"/>
                      <a:pt x="18" y="114"/>
                    </a:cubicBezTo>
                    <a:cubicBezTo>
                      <a:pt x="17" y="118"/>
                      <a:pt x="16" y="121"/>
                      <a:pt x="15" y="125"/>
                    </a:cubicBezTo>
                    <a:cubicBezTo>
                      <a:pt x="14" y="127"/>
                      <a:pt x="13" y="130"/>
                      <a:pt x="12" y="132"/>
                    </a:cubicBezTo>
                    <a:cubicBezTo>
                      <a:pt x="11" y="133"/>
                      <a:pt x="8" y="134"/>
                      <a:pt x="7" y="136"/>
                    </a:cubicBezTo>
                    <a:cubicBezTo>
                      <a:pt x="5" y="138"/>
                      <a:pt x="2" y="141"/>
                      <a:pt x="1" y="144"/>
                    </a:cubicBezTo>
                    <a:cubicBezTo>
                      <a:pt x="1" y="146"/>
                      <a:pt x="1" y="149"/>
                      <a:pt x="0" y="152"/>
                    </a:cubicBezTo>
                    <a:cubicBezTo>
                      <a:pt x="0" y="153"/>
                      <a:pt x="0" y="154"/>
                      <a:pt x="0" y="155"/>
                    </a:cubicBezTo>
                    <a:cubicBezTo>
                      <a:pt x="0" y="154"/>
                      <a:pt x="1" y="154"/>
                      <a:pt x="2" y="153"/>
                    </a:cubicBezTo>
                    <a:cubicBezTo>
                      <a:pt x="3" y="153"/>
                      <a:pt x="4" y="153"/>
                      <a:pt x="5" y="153"/>
                    </a:cubicBezTo>
                    <a:cubicBezTo>
                      <a:pt x="5" y="153"/>
                      <a:pt x="6" y="153"/>
                      <a:pt x="7" y="153"/>
                    </a:cubicBezTo>
                    <a:cubicBezTo>
                      <a:pt x="7" y="153"/>
                      <a:pt x="7" y="153"/>
                      <a:pt x="7" y="153"/>
                    </a:cubicBezTo>
                    <a:cubicBezTo>
                      <a:pt x="8" y="153"/>
                      <a:pt x="8" y="153"/>
                      <a:pt x="8" y="153"/>
                    </a:cubicBezTo>
                    <a:cubicBezTo>
                      <a:pt x="9" y="153"/>
                      <a:pt x="10" y="153"/>
                      <a:pt x="11" y="153"/>
                    </a:cubicBezTo>
                    <a:cubicBezTo>
                      <a:pt x="12" y="153"/>
                      <a:pt x="12" y="153"/>
                      <a:pt x="13" y="153"/>
                    </a:cubicBezTo>
                    <a:cubicBezTo>
                      <a:pt x="39" y="153"/>
                      <a:pt x="39" y="153"/>
                      <a:pt x="39" y="153"/>
                    </a:cubicBezTo>
                    <a:cubicBezTo>
                      <a:pt x="57" y="153"/>
                      <a:pt x="74" y="153"/>
                      <a:pt x="92" y="153"/>
                    </a:cubicBezTo>
                    <a:cubicBezTo>
                      <a:pt x="92" y="152"/>
                      <a:pt x="92" y="151"/>
                      <a:pt x="91" y="149"/>
                    </a:cubicBezTo>
                    <a:cubicBezTo>
                      <a:pt x="91" y="149"/>
                      <a:pt x="91" y="149"/>
                      <a:pt x="91" y="149"/>
                    </a:cubicBezTo>
                    <a:cubicBezTo>
                      <a:pt x="91" y="148"/>
                      <a:pt x="91" y="148"/>
                      <a:pt x="91" y="147"/>
                    </a:cubicBezTo>
                    <a:cubicBezTo>
                      <a:pt x="90" y="132"/>
                      <a:pt x="90" y="132"/>
                      <a:pt x="90" y="132"/>
                    </a:cubicBezTo>
                    <a:cubicBezTo>
                      <a:pt x="90" y="130"/>
                      <a:pt x="90" y="129"/>
                      <a:pt x="90" y="127"/>
                    </a:cubicBezTo>
                    <a:cubicBezTo>
                      <a:pt x="89" y="126"/>
                      <a:pt x="89" y="126"/>
                      <a:pt x="89" y="126"/>
                    </a:cubicBezTo>
                    <a:cubicBezTo>
                      <a:pt x="89" y="125"/>
                      <a:pt x="89" y="125"/>
                      <a:pt x="89" y="125"/>
                    </a:cubicBezTo>
                    <a:cubicBezTo>
                      <a:pt x="88" y="121"/>
                      <a:pt x="89" y="119"/>
                      <a:pt x="90" y="117"/>
                    </a:cubicBezTo>
                    <a:cubicBezTo>
                      <a:pt x="93" y="113"/>
                      <a:pt x="96" y="110"/>
                      <a:pt x="99" y="108"/>
                    </a:cubicBezTo>
                    <a:cubicBezTo>
                      <a:pt x="99" y="107"/>
                      <a:pt x="100" y="107"/>
                      <a:pt x="101" y="106"/>
                    </a:cubicBezTo>
                    <a:cubicBezTo>
                      <a:pt x="101" y="106"/>
                      <a:pt x="102" y="106"/>
                      <a:pt x="102" y="106"/>
                    </a:cubicBezTo>
                    <a:cubicBezTo>
                      <a:pt x="104" y="105"/>
                      <a:pt x="105" y="105"/>
                      <a:pt x="106" y="104"/>
                    </a:cubicBezTo>
                    <a:cubicBezTo>
                      <a:pt x="108" y="104"/>
                      <a:pt x="109" y="104"/>
                      <a:pt x="111" y="103"/>
                    </a:cubicBezTo>
                    <a:cubicBezTo>
                      <a:pt x="112" y="103"/>
                      <a:pt x="112" y="103"/>
                      <a:pt x="113" y="102"/>
                    </a:cubicBezTo>
                    <a:cubicBezTo>
                      <a:pt x="113" y="102"/>
                      <a:pt x="113" y="102"/>
                      <a:pt x="113" y="102"/>
                    </a:cubicBezTo>
                    <a:cubicBezTo>
                      <a:pt x="114" y="102"/>
                      <a:pt x="115" y="102"/>
                      <a:pt x="115" y="102"/>
                    </a:cubicBezTo>
                    <a:cubicBezTo>
                      <a:pt x="116" y="100"/>
                      <a:pt x="115" y="95"/>
                      <a:pt x="115" y="93"/>
                    </a:cubicBezTo>
                    <a:cubicBezTo>
                      <a:pt x="115" y="92"/>
                      <a:pt x="115" y="92"/>
                      <a:pt x="115" y="92"/>
                    </a:cubicBezTo>
                    <a:cubicBezTo>
                      <a:pt x="115" y="91"/>
                      <a:pt x="115" y="90"/>
                      <a:pt x="115" y="90"/>
                    </a:cubicBezTo>
                    <a:cubicBezTo>
                      <a:pt x="115" y="43"/>
                      <a:pt x="115" y="43"/>
                      <a:pt x="115" y="43"/>
                    </a:cubicBezTo>
                    <a:cubicBezTo>
                      <a:pt x="115" y="41"/>
                      <a:pt x="115" y="39"/>
                      <a:pt x="117" y="37"/>
                    </a:cubicBezTo>
                    <a:cubicBezTo>
                      <a:pt x="118" y="37"/>
                      <a:pt x="118" y="37"/>
                      <a:pt x="118" y="37"/>
                    </a:cubicBezTo>
                    <a:cubicBezTo>
                      <a:pt x="119" y="37"/>
                      <a:pt x="120" y="37"/>
                      <a:pt x="121" y="37"/>
                    </a:cubicBezTo>
                    <a:cubicBezTo>
                      <a:pt x="122" y="37"/>
                      <a:pt x="122" y="37"/>
                      <a:pt x="122" y="37"/>
                    </a:cubicBezTo>
                    <a:cubicBezTo>
                      <a:pt x="122" y="37"/>
                      <a:pt x="123" y="37"/>
                      <a:pt x="123" y="37"/>
                    </a:cubicBezTo>
                    <a:cubicBezTo>
                      <a:pt x="194" y="37"/>
                      <a:pt x="194" y="37"/>
                      <a:pt x="194" y="37"/>
                    </a:cubicBezTo>
                    <a:cubicBezTo>
                      <a:pt x="194" y="35"/>
                      <a:pt x="194" y="33"/>
                      <a:pt x="194" y="32"/>
                    </a:cubicBezTo>
                    <a:cubicBezTo>
                      <a:pt x="194" y="31"/>
                      <a:pt x="194" y="31"/>
                      <a:pt x="194" y="31"/>
                    </a:cubicBezTo>
                    <a:cubicBezTo>
                      <a:pt x="194" y="30"/>
                      <a:pt x="193" y="29"/>
                      <a:pt x="193" y="28"/>
                    </a:cubicBezTo>
                    <a:cubicBezTo>
                      <a:pt x="194" y="2"/>
                      <a:pt x="194" y="2"/>
                      <a:pt x="194" y="2"/>
                    </a:cubicBezTo>
                    <a:cubicBezTo>
                      <a:pt x="194" y="2"/>
                      <a:pt x="194" y="2"/>
                      <a:pt x="194" y="2"/>
                    </a:cubicBezTo>
                    <a:cubicBezTo>
                      <a:pt x="194" y="0"/>
                      <a:pt x="194" y="0"/>
                      <a:pt x="1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 name="Freeform 200">
                <a:extLst>
                  <a:ext uri="{FF2B5EF4-FFF2-40B4-BE49-F238E27FC236}">
                    <a16:creationId xmlns:a16="http://schemas.microsoft.com/office/drawing/2014/main" id="{F09AE2CE-B39E-4F26-8A02-5ADD2C3CB3D8}"/>
                  </a:ext>
                </a:extLst>
              </p:cNvPr>
              <p:cNvSpPr>
                <a:spLocks/>
              </p:cNvSpPr>
              <p:nvPr/>
            </p:nvSpPr>
            <p:spPr bwMode="auto">
              <a:xfrm>
                <a:off x="2723" y="1211"/>
                <a:ext cx="645" cy="710"/>
              </a:xfrm>
              <a:custGeom>
                <a:avLst/>
                <a:gdLst>
                  <a:gd name="T0" fmla="*/ 196 w 273"/>
                  <a:gd name="T1" fmla="*/ 15 h 300"/>
                  <a:gd name="T2" fmla="*/ 196 w 273"/>
                  <a:gd name="T3" fmla="*/ 26 h 300"/>
                  <a:gd name="T4" fmla="*/ 118 w 273"/>
                  <a:gd name="T5" fmla="*/ 30 h 300"/>
                  <a:gd name="T6" fmla="*/ 118 w 273"/>
                  <a:gd name="T7" fmla="*/ 77 h 300"/>
                  <a:gd name="T8" fmla="*/ 118 w 273"/>
                  <a:gd name="T9" fmla="*/ 91 h 300"/>
                  <a:gd name="T10" fmla="*/ 110 w 273"/>
                  <a:gd name="T11" fmla="*/ 95 h 300"/>
                  <a:gd name="T12" fmla="*/ 101 w 273"/>
                  <a:gd name="T13" fmla="*/ 98 h 300"/>
                  <a:gd name="T14" fmla="*/ 92 w 273"/>
                  <a:gd name="T15" fmla="*/ 107 h 300"/>
                  <a:gd name="T16" fmla="*/ 93 w 273"/>
                  <a:gd name="T17" fmla="*/ 119 h 300"/>
                  <a:gd name="T18" fmla="*/ 94 w 273"/>
                  <a:gd name="T19" fmla="*/ 142 h 300"/>
                  <a:gd name="T20" fmla="*/ 59 w 273"/>
                  <a:gd name="T21" fmla="*/ 146 h 300"/>
                  <a:gd name="T22" fmla="*/ 10 w 273"/>
                  <a:gd name="T23" fmla="*/ 146 h 300"/>
                  <a:gd name="T24" fmla="*/ 2 w 273"/>
                  <a:gd name="T25" fmla="*/ 145 h 300"/>
                  <a:gd name="T26" fmla="*/ 8 w 273"/>
                  <a:gd name="T27" fmla="*/ 162 h 300"/>
                  <a:gd name="T28" fmla="*/ 10 w 273"/>
                  <a:gd name="T29" fmla="*/ 160 h 300"/>
                  <a:gd name="T30" fmla="*/ 16 w 273"/>
                  <a:gd name="T31" fmla="*/ 172 h 300"/>
                  <a:gd name="T32" fmla="*/ 15 w 273"/>
                  <a:gd name="T33" fmla="*/ 180 h 300"/>
                  <a:gd name="T34" fmla="*/ 14 w 273"/>
                  <a:gd name="T35" fmla="*/ 187 h 300"/>
                  <a:gd name="T36" fmla="*/ 19 w 273"/>
                  <a:gd name="T37" fmla="*/ 222 h 300"/>
                  <a:gd name="T38" fmla="*/ 10 w 273"/>
                  <a:gd name="T39" fmla="*/ 261 h 300"/>
                  <a:gd name="T40" fmla="*/ 21 w 273"/>
                  <a:gd name="T41" fmla="*/ 258 h 300"/>
                  <a:gd name="T42" fmla="*/ 26 w 273"/>
                  <a:gd name="T43" fmla="*/ 258 h 300"/>
                  <a:gd name="T44" fmla="*/ 38 w 273"/>
                  <a:gd name="T45" fmla="*/ 255 h 300"/>
                  <a:gd name="T46" fmla="*/ 46 w 273"/>
                  <a:gd name="T47" fmla="*/ 254 h 300"/>
                  <a:gd name="T48" fmla="*/ 56 w 273"/>
                  <a:gd name="T49" fmla="*/ 255 h 300"/>
                  <a:gd name="T50" fmla="*/ 69 w 273"/>
                  <a:gd name="T51" fmla="*/ 262 h 300"/>
                  <a:gd name="T52" fmla="*/ 73 w 273"/>
                  <a:gd name="T53" fmla="*/ 266 h 300"/>
                  <a:gd name="T54" fmla="*/ 76 w 273"/>
                  <a:gd name="T55" fmla="*/ 266 h 300"/>
                  <a:gd name="T56" fmla="*/ 78 w 273"/>
                  <a:gd name="T57" fmla="*/ 266 h 300"/>
                  <a:gd name="T58" fmla="*/ 80 w 273"/>
                  <a:gd name="T59" fmla="*/ 267 h 300"/>
                  <a:gd name="T60" fmla="*/ 87 w 273"/>
                  <a:gd name="T61" fmla="*/ 276 h 300"/>
                  <a:gd name="T62" fmla="*/ 91 w 273"/>
                  <a:gd name="T63" fmla="*/ 281 h 300"/>
                  <a:gd name="T64" fmla="*/ 101 w 273"/>
                  <a:gd name="T65" fmla="*/ 293 h 300"/>
                  <a:gd name="T66" fmla="*/ 105 w 273"/>
                  <a:gd name="T67" fmla="*/ 296 h 300"/>
                  <a:gd name="T68" fmla="*/ 109 w 273"/>
                  <a:gd name="T69" fmla="*/ 299 h 300"/>
                  <a:gd name="T70" fmla="*/ 111 w 273"/>
                  <a:gd name="T71" fmla="*/ 300 h 300"/>
                  <a:gd name="T72" fmla="*/ 116 w 273"/>
                  <a:gd name="T73" fmla="*/ 298 h 300"/>
                  <a:gd name="T74" fmla="*/ 118 w 273"/>
                  <a:gd name="T75" fmla="*/ 288 h 300"/>
                  <a:gd name="T76" fmla="*/ 124 w 273"/>
                  <a:gd name="T77" fmla="*/ 280 h 300"/>
                  <a:gd name="T78" fmla="*/ 140 w 273"/>
                  <a:gd name="T79" fmla="*/ 289 h 300"/>
                  <a:gd name="T80" fmla="*/ 144 w 273"/>
                  <a:gd name="T81" fmla="*/ 284 h 300"/>
                  <a:gd name="T82" fmla="*/ 150 w 273"/>
                  <a:gd name="T83" fmla="*/ 283 h 300"/>
                  <a:gd name="T84" fmla="*/ 173 w 273"/>
                  <a:gd name="T85" fmla="*/ 282 h 300"/>
                  <a:gd name="T86" fmla="*/ 175 w 273"/>
                  <a:gd name="T87" fmla="*/ 279 h 300"/>
                  <a:gd name="T88" fmla="*/ 176 w 273"/>
                  <a:gd name="T89" fmla="*/ 278 h 300"/>
                  <a:gd name="T90" fmla="*/ 178 w 273"/>
                  <a:gd name="T91" fmla="*/ 278 h 300"/>
                  <a:gd name="T92" fmla="*/ 180 w 273"/>
                  <a:gd name="T93" fmla="*/ 279 h 300"/>
                  <a:gd name="T94" fmla="*/ 182 w 273"/>
                  <a:gd name="T95" fmla="*/ 282 h 300"/>
                  <a:gd name="T96" fmla="*/ 185 w 273"/>
                  <a:gd name="T97" fmla="*/ 282 h 300"/>
                  <a:gd name="T98" fmla="*/ 189 w 273"/>
                  <a:gd name="T99" fmla="*/ 282 h 300"/>
                  <a:gd name="T100" fmla="*/ 260 w 273"/>
                  <a:gd name="T101" fmla="*/ 282 h 300"/>
                  <a:gd name="T102" fmla="*/ 263 w 273"/>
                  <a:gd name="T103" fmla="*/ 282 h 300"/>
                  <a:gd name="T104" fmla="*/ 266 w 273"/>
                  <a:gd name="T105" fmla="*/ 283 h 300"/>
                  <a:gd name="T106" fmla="*/ 267 w 273"/>
                  <a:gd name="T107" fmla="*/ 273 h 300"/>
                  <a:gd name="T108" fmla="*/ 268 w 273"/>
                  <a:gd name="T109" fmla="*/ 266 h 300"/>
                  <a:gd name="T110" fmla="*/ 266 w 273"/>
                  <a:gd name="T111" fmla="*/ 264 h 300"/>
                  <a:gd name="T112" fmla="*/ 250 w 273"/>
                  <a:gd name="T113" fmla="*/ 142 h 300"/>
                  <a:gd name="T114" fmla="*/ 240 w 273"/>
                  <a:gd name="T115" fmla="*/ 52 h 300"/>
                  <a:gd name="T116" fmla="*/ 259 w 273"/>
                  <a:gd name="T117" fmla="*/ 39 h 300"/>
                  <a:gd name="T118" fmla="*/ 236 w 273"/>
                  <a:gd name="T119" fmla="*/ 25 h 300"/>
                  <a:gd name="T120" fmla="*/ 196 w 273"/>
                  <a:gd name="T1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3" h="300">
                    <a:moveTo>
                      <a:pt x="196" y="0"/>
                    </a:moveTo>
                    <a:cubicBezTo>
                      <a:pt x="196" y="3"/>
                      <a:pt x="196" y="6"/>
                      <a:pt x="196" y="10"/>
                    </a:cubicBezTo>
                    <a:cubicBezTo>
                      <a:pt x="196" y="15"/>
                      <a:pt x="196" y="15"/>
                      <a:pt x="196" y="15"/>
                    </a:cubicBezTo>
                    <a:cubicBezTo>
                      <a:pt x="196" y="16"/>
                      <a:pt x="196" y="16"/>
                      <a:pt x="196" y="17"/>
                    </a:cubicBezTo>
                    <a:cubicBezTo>
                      <a:pt x="196" y="18"/>
                      <a:pt x="196" y="18"/>
                      <a:pt x="196" y="18"/>
                    </a:cubicBezTo>
                    <a:cubicBezTo>
                      <a:pt x="197" y="21"/>
                      <a:pt x="197" y="23"/>
                      <a:pt x="196" y="26"/>
                    </a:cubicBezTo>
                    <a:cubicBezTo>
                      <a:pt x="196" y="27"/>
                      <a:pt x="196" y="30"/>
                      <a:pt x="193" y="30"/>
                    </a:cubicBezTo>
                    <a:cubicBezTo>
                      <a:pt x="120" y="30"/>
                      <a:pt x="120" y="30"/>
                      <a:pt x="120" y="30"/>
                    </a:cubicBezTo>
                    <a:cubicBezTo>
                      <a:pt x="120" y="30"/>
                      <a:pt x="119" y="30"/>
                      <a:pt x="118" y="30"/>
                    </a:cubicBezTo>
                    <a:cubicBezTo>
                      <a:pt x="118" y="30"/>
                      <a:pt x="118" y="30"/>
                      <a:pt x="118" y="30"/>
                    </a:cubicBezTo>
                    <a:cubicBezTo>
                      <a:pt x="118" y="30"/>
                      <a:pt x="118" y="30"/>
                      <a:pt x="118" y="30"/>
                    </a:cubicBezTo>
                    <a:cubicBezTo>
                      <a:pt x="118" y="77"/>
                      <a:pt x="118" y="77"/>
                      <a:pt x="118" y="77"/>
                    </a:cubicBezTo>
                    <a:cubicBezTo>
                      <a:pt x="118" y="77"/>
                      <a:pt x="118" y="78"/>
                      <a:pt x="118" y="79"/>
                    </a:cubicBezTo>
                    <a:cubicBezTo>
                      <a:pt x="118" y="79"/>
                      <a:pt x="118" y="79"/>
                      <a:pt x="118" y="79"/>
                    </a:cubicBezTo>
                    <a:cubicBezTo>
                      <a:pt x="118" y="84"/>
                      <a:pt x="119" y="89"/>
                      <a:pt x="118" y="91"/>
                    </a:cubicBezTo>
                    <a:cubicBezTo>
                      <a:pt x="118" y="92"/>
                      <a:pt x="117" y="92"/>
                      <a:pt x="116" y="93"/>
                    </a:cubicBezTo>
                    <a:cubicBezTo>
                      <a:pt x="115" y="94"/>
                      <a:pt x="114" y="94"/>
                      <a:pt x="112" y="95"/>
                    </a:cubicBezTo>
                    <a:cubicBezTo>
                      <a:pt x="111" y="95"/>
                      <a:pt x="110" y="95"/>
                      <a:pt x="110" y="95"/>
                    </a:cubicBezTo>
                    <a:cubicBezTo>
                      <a:pt x="108" y="96"/>
                      <a:pt x="106" y="97"/>
                      <a:pt x="104" y="97"/>
                    </a:cubicBezTo>
                    <a:cubicBezTo>
                      <a:pt x="104" y="97"/>
                      <a:pt x="103" y="97"/>
                      <a:pt x="102" y="98"/>
                    </a:cubicBezTo>
                    <a:cubicBezTo>
                      <a:pt x="101" y="98"/>
                      <a:pt x="101" y="98"/>
                      <a:pt x="101" y="98"/>
                    </a:cubicBezTo>
                    <a:cubicBezTo>
                      <a:pt x="101" y="98"/>
                      <a:pt x="101" y="98"/>
                      <a:pt x="101" y="98"/>
                    </a:cubicBezTo>
                    <a:cubicBezTo>
                      <a:pt x="100" y="99"/>
                      <a:pt x="99" y="99"/>
                      <a:pt x="99" y="99"/>
                    </a:cubicBezTo>
                    <a:cubicBezTo>
                      <a:pt x="97" y="101"/>
                      <a:pt x="94" y="103"/>
                      <a:pt x="92" y="107"/>
                    </a:cubicBezTo>
                    <a:cubicBezTo>
                      <a:pt x="92" y="108"/>
                      <a:pt x="91" y="109"/>
                      <a:pt x="92" y="111"/>
                    </a:cubicBezTo>
                    <a:cubicBezTo>
                      <a:pt x="92" y="111"/>
                      <a:pt x="92" y="112"/>
                      <a:pt x="92" y="113"/>
                    </a:cubicBezTo>
                    <a:cubicBezTo>
                      <a:pt x="93" y="115"/>
                      <a:pt x="93" y="117"/>
                      <a:pt x="93" y="119"/>
                    </a:cubicBezTo>
                    <a:cubicBezTo>
                      <a:pt x="94" y="134"/>
                      <a:pt x="94" y="134"/>
                      <a:pt x="94" y="134"/>
                    </a:cubicBezTo>
                    <a:cubicBezTo>
                      <a:pt x="94" y="134"/>
                      <a:pt x="94" y="135"/>
                      <a:pt x="94" y="135"/>
                    </a:cubicBezTo>
                    <a:cubicBezTo>
                      <a:pt x="94" y="138"/>
                      <a:pt x="95" y="141"/>
                      <a:pt x="94" y="142"/>
                    </a:cubicBezTo>
                    <a:cubicBezTo>
                      <a:pt x="94" y="146"/>
                      <a:pt x="94" y="146"/>
                      <a:pt x="94" y="146"/>
                    </a:cubicBezTo>
                    <a:cubicBezTo>
                      <a:pt x="91" y="146"/>
                      <a:pt x="91" y="146"/>
                      <a:pt x="91" y="146"/>
                    </a:cubicBezTo>
                    <a:cubicBezTo>
                      <a:pt x="81" y="146"/>
                      <a:pt x="70" y="146"/>
                      <a:pt x="59" y="146"/>
                    </a:cubicBezTo>
                    <a:cubicBezTo>
                      <a:pt x="51" y="146"/>
                      <a:pt x="44" y="146"/>
                      <a:pt x="36" y="146"/>
                    </a:cubicBezTo>
                    <a:cubicBezTo>
                      <a:pt x="12" y="146"/>
                      <a:pt x="12" y="146"/>
                      <a:pt x="12" y="146"/>
                    </a:cubicBezTo>
                    <a:cubicBezTo>
                      <a:pt x="12" y="146"/>
                      <a:pt x="11" y="146"/>
                      <a:pt x="10" y="146"/>
                    </a:cubicBezTo>
                    <a:cubicBezTo>
                      <a:pt x="8" y="146"/>
                      <a:pt x="7" y="146"/>
                      <a:pt x="5" y="146"/>
                    </a:cubicBezTo>
                    <a:cubicBezTo>
                      <a:pt x="5" y="146"/>
                      <a:pt x="4" y="146"/>
                      <a:pt x="3" y="146"/>
                    </a:cubicBezTo>
                    <a:cubicBezTo>
                      <a:pt x="3" y="146"/>
                      <a:pt x="2" y="145"/>
                      <a:pt x="2" y="145"/>
                    </a:cubicBezTo>
                    <a:cubicBezTo>
                      <a:pt x="1" y="145"/>
                      <a:pt x="1" y="145"/>
                      <a:pt x="1" y="146"/>
                    </a:cubicBezTo>
                    <a:cubicBezTo>
                      <a:pt x="1" y="146"/>
                      <a:pt x="1" y="146"/>
                      <a:pt x="0" y="149"/>
                    </a:cubicBezTo>
                    <a:cubicBezTo>
                      <a:pt x="2" y="153"/>
                      <a:pt x="5" y="158"/>
                      <a:pt x="8" y="162"/>
                    </a:cubicBezTo>
                    <a:cubicBezTo>
                      <a:pt x="8" y="160"/>
                      <a:pt x="9" y="159"/>
                      <a:pt x="10" y="159"/>
                    </a:cubicBezTo>
                    <a:cubicBezTo>
                      <a:pt x="10" y="159"/>
                      <a:pt x="11" y="159"/>
                      <a:pt x="11" y="159"/>
                    </a:cubicBezTo>
                    <a:cubicBezTo>
                      <a:pt x="10" y="160"/>
                      <a:pt x="10" y="160"/>
                      <a:pt x="10" y="160"/>
                    </a:cubicBezTo>
                    <a:cubicBezTo>
                      <a:pt x="11" y="162"/>
                      <a:pt x="12" y="163"/>
                      <a:pt x="13" y="165"/>
                    </a:cubicBezTo>
                    <a:cubicBezTo>
                      <a:pt x="14" y="167"/>
                      <a:pt x="16" y="169"/>
                      <a:pt x="16" y="171"/>
                    </a:cubicBezTo>
                    <a:cubicBezTo>
                      <a:pt x="16" y="171"/>
                      <a:pt x="16" y="172"/>
                      <a:pt x="16" y="172"/>
                    </a:cubicBezTo>
                    <a:cubicBezTo>
                      <a:pt x="16" y="173"/>
                      <a:pt x="16" y="175"/>
                      <a:pt x="16" y="176"/>
                    </a:cubicBezTo>
                    <a:cubicBezTo>
                      <a:pt x="16" y="176"/>
                      <a:pt x="15" y="176"/>
                      <a:pt x="15" y="177"/>
                    </a:cubicBezTo>
                    <a:cubicBezTo>
                      <a:pt x="15" y="178"/>
                      <a:pt x="15" y="179"/>
                      <a:pt x="15" y="180"/>
                    </a:cubicBezTo>
                    <a:cubicBezTo>
                      <a:pt x="15" y="181"/>
                      <a:pt x="14" y="182"/>
                      <a:pt x="14" y="183"/>
                    </a:cubicBezTo>
                    <a:cubicBezTo>
                      <a:pt x="12" y="185"/>
                      <a:pt x="10" y="187"/>
                      <a:pt x="10" y="190"/>
                    </a:cubicBezTo>
                    <a:cubicBezTo>
                      <a:pt x="11" y="188"/>
                      <a:pt x="12" y="189"/>
                      <a:pt x="14" y="187"/>
                    </a:cubicBezTo>
                    <a:cubicBezTo>
                      <a:pt x="13" y="189"/>
                      <a:pt x="12" y="190"/>
                      <a:pt x="11" y="191"/>
                    </a:cubicBezTo>
                    <a:cubicBezTo>
                      <a:pt x="8" y="196"/>
                      <a:pt x="15" y="196"/>
                      <a:pt x="16" y="201"/>
                    </a:cubicBezTo>
                    <a:cubicBezTo>
                      <a:pt x="17" y="208"/>
                      <a:pt x="18" y="215"/>
                      <a:pt x="19" y="222"/>
                    </a:cubicBezTo>
                    <a:cubicBezTo>
                      <a:pt x="20" y="229"/>
                      <a:pt x="20" y="235"/>
                      <a:pt x="17" y="242"/>
                    </a:cubicBezTo>
                    <a:cubicBezTo>
                      <a:pt x="16" y="244"/>
                      <a:pt x="15" y="246"/>
                      <a:pt x="14" y="248"/>
                    </a:cubicBezTo>
                    <a:cubicBezTo>
                      <a:pt x="12" y="252"/>
                      <a:pt x="11" y="256"/>
                      <a:pt x="10" y="261"/>
                    </a:cubicBezTo>
                    <a:cubicBezTo>
                      <a:pt x="12" y="259"/>
                      <a:pt x="14" y="258"/>
                      <a:pt x="16" y="257"/>
                    </a:cubicBezTo>
                    <a:cubicBezTo>
                      <a:pt x="17" y="257"/>
                      <a:pt x="17" y="257"/>
                      <a:pt x="18" y="257"/>
                    </a:cubicBezTo>
                    <a:cubicBezTo>
                      <a:pt x="19" y="257"/>
                      <a:pt x="20" y="257"/>
                      <a:pt x="21" y="258"/>
                    </a:cubicBezTo>
                    <a:cubicBezTo>
                      <a:pt x="21" y="258"/>
                      <a:pt x="22" y="258"/>
                      <a:pt x="22" y="258"/>
                    </a:cubicBezTo>
                    <a:cubicBezTo>
                      <a:pt x="23" y="258"/>
                      <a:pt x="24" y="258"/>
                      <a:pt x="25" y="258"/>
                    </a:cubicBezTo>
                    <a:cubicBezTo>
                      <a:pt x="26" y="258"/>
                      <a:pt x="26" y="258"/>
                      <a:pt x="26" y="258"/>
                    </a:cubicBezTo>
                    <a:cubicBezTo>
                      <a:pt x="28" y="258"/>
                      <a:pt x="30" y="257"/>
                      <a:pt x="32" y="257"/>
                    </a:cubicBezTo>
                    <a:cubicBezTo>
                      <a:pt x="33" y="256"/>
                      <a:pt x="35" y="256"/>
                      <a:pt x="36" y="256"/>
                    </a:cubicBezTo>
                    <a:cubicBezTo>
                      <a:pt x="37" y="256"/>
                      <a:pt x="37" y="255"/>
                      <a:pt x="38" y="255"/>
                    </a:cubicBezTo>
                    <a:cubicBezTo>
                      <a:pt x="38" y="255"/>
                      <a:pt x="38" y="255"/>
                      <a:pt x="38" y="255"/>
                    </a:cubicBezTo>
                    <a:cubicBezTo>
                      <a:pt x="40" y="255"/>
                      <a:pt x="42" y="254"/>
                      <a:pt x="44" y="254"/>
                    </a:cubicBezTo>
                    <a:cubicBezTo>
                      <a:pt x="44" y="254"/>
                      <a:pt x="45" y="254"/>
                      <a:pt x="46" y="254"/>
                    </a:cubicBezTo>
                    <a:cubicBezTo>
                      <a:pt x="48" y="255"/>
                      <a:pt x="50" y="255"/>
                      <a:pt x="52" y="255"/>
                    </a:cubicBezTo>
                    <a:cubicBezTo>
                      <a:pt x="52" y="255"/>
                      <a:pt x="53" y="255"/>
                      <a:pt x="53" y="255"/>
                    </a:cubicBezTo>
                    <a:cubicBezTo>
                      <a:pt x="56" y="255"/>
                      <a:pt x="56" y="255"/>
                      <a:pt x="56" y="255"/>
                    </a:cubicBezTo>
                    <a:cubicBezTo>
                      <a:pt x="61" y="255"/>
                      <a:pt x="64" y="257"/>
                      <a:pt x="66" y="259"/>
                    </a:cubicBezTo>
                    <a:cubicBezTo>
                      <a:pt x="67" y="260"/>
                      <a:pt x="67" y="260"/>
                      <a:pt x="67" y="260"/>
                    </a:cubicBezTo>
                    <a:cubicBezTo>
                      <a:pt x="68" y="261"/>
                      <a:pt x="68" y="261"/>
                      <a:pt x="69" y="262"/>
                    </a:cubicBezTo>
                    <a:cubicBezTo>
                      <a:pt x="71" y="263"/>
                      <a:pt x="71" y="264"/>
                      <a:pt x="72" y="265"/>
                    </a:cubicBezTo>
                    <a:cubicBezTo>
                      <a:pt x="72" y="266"/>
                      <a:pt x="72" y="266"/>
                      <a:pt x="72" y="266"/>
                    </a:cubicBezTo>
                    <a:cubicBezTo>
                      <a:pt x="73" y="266"/>
                      <a:pt x="73" y="266"/>
                      <a:pt x="73" y="266"/>
                    </a:cubicBezTo>
                    <a:cubicBezTo>
                      <a:pt x="73" y="266"/>
                      <a:pt x="74" y="266"/>
                      <a:pt x="74" y="266"/>
                    </a:cubicBezTo>
                    <a:cubicBezTo>
                      <a:pt x="74" y="266"/>
                      <a:pt x="75" y="266"/>
                      <a:pt x="75" y="266"/>
                    </a:cubicBezTo>
                    <a:cubicBezTo>
                      <a:pt x="76" y="266"/>
                      <a:pt x="76" y="266"/>
                      <a:pt x="76" y="266"/>
                    </a:cubicBezTo>
                    <a:cubicBezTo>
                      <a:pt x="76" y="266"/>
                      <a:pt x="77" y="266"/>
                      <a:pt x="77" y="266"/>
                    </a:cubicBezTo>
                    <a:cubicBezTo>
                      <a:pt x="77" y="266"/>
                      <a:pt x="78" y="266"/>
                      <a:pt x="78" y="266"/>
                    </a:cubicBezTo>
                    <a:cubicBezTo>
                      <a:pt x="78" y="266"/>
                      <a:pt x="78" y="266"/>
                      <a:pt x="78" y="266"/>
                    </a:cubicBezTo>
                    <a:cubicBezTo>
                      <a:pt x="79" y="266"/>
                      <a:pt x="79" y="266"/>
                      <a:pt x="79" y="266"/>
                    </a:cubicBezTo>
                    <a:cubicBezTo>
                      <a:pt x="80" y="267"/>
                      <a:pt x="80" y="267"/>
                      <a:pt x="80" y="267"/>
                    </a:cubicBezTo>
                    <a:cubicBezTo>
                      <a:pt x="80" y="267"/>
                      <a:pt x="80" y="267"/>
                      <a:pt x="80" y="267"/>
                    </a:cubicBezTo>
                    <a:cubicBezTo>
                      <a:pt x="82" y="268"/>
                      <a:pt x="84" y="269"/>
                      <a:pt x="85" y="272"/>
                    </a:cubicBezTo>
                    <a:cubicBezTo>
                      <a:pt x="86" y="273"/>
                      <a:pt x="86" y="273"/>
                      <a:pt x="86" y="274"/>
                    </a:cubicBezTo>
                    <a:cubicBezTo>
                      <a:pt x="87" y="276"/>
                      <a:pt x="87" y="276"/>
                      <a:pt x="87" y="276"/>
                    </a:cubicBezTo>
                    <a:cubicBezTo>
                      <a:pt x="87" y="277"/>
                      <a:pt x="87" y="279"/>
                      <a:pt x="88" y="280"/>
                    </a:cubicBezTo>
                    <a:cubicBezTo>
                      <a:pt x="88" y="280"/>
                      <a:pt x="89" y="281"/>
                      <a:pt x="90" y="281"/>
                    </a:cubicBezTo>
                    <a:cubicBezTo>
                      <a:pt x="91" y="281"/>
                      <a:pt x="91" y="281"/>
                      <a:pt x="91" y="281"/>
                    </a:cubicBezTo>
                    <a:cubicBezTo>
                      <a:pt x="94" y="283"/>
                      <a:pt x="96" y="286"/>
                      <a:pt x="98" y="288"/>
                    </a:cubicBezTo>
                    <a:cubicBezTo>
                      <a:pt x="99" y="290"/>
                      <a:pt x="99" y="291"/>
                      <a:pt x="100" y="292"/>
                    </a:cubicBezTo>
                    <a:cubicBezTo>
                      <a:pt x="101" y="293"/>
                      <a:pt x="101" y="293"/>
                      <a:pt x="101" y="293"/>
                    </a:cubicBezTo>
                    <a:cubicBezTo>
                      <a:pt x="102" y="293"/>
                      <a:pt x="102" y="293"/>
                      <a:pt x="102" y="293"/>
                    </a:cubicBezTo>
                    <a:cubicBezTo>
                      <a:pt x="102" y="294"/>
                      <a:pt x="103" y="294"/>
                      <a:pt x="103" y="294"/>
                    </a:cubicBezTo>
                    <a:cubicBezTo>
                      <a:pt x="104" y="295"/>
                      <a:pt x="104" y="295"/>
                      <a:pt x="105" y="296"/>
                    </a:cubicBezTo>
                    <a:cubicBezTo>
                      <a:pt x="106" y="297"/>
                      <a:pt x="106" y="297"/>
                      <a:pt x="106" y="297"/>
                    </a:cubicBezTo>
                    <a:cubicBezTo>
                      <a:pt x="107" y="297"/>
                      <a:pt x="107" y="298"/>
                      <a:pt x="108" y="298"/>
                    </a:cubicBezTo>
                    <a:cubicBezTo>
                      <a:pt x="109" y="299"/>
                      <a:pt x="109" y="299"/>
                      <a:pt x="109" y="299"/>
                    </a:cubicBezTo>
                    <a:cubicBezTo>
                      <a:pt x="109" y="299"/>
                      <a:pt x="110" y="299"/>
                      <a:pt x="110" y="300"/>
                    </a:cubicBezTo>
                    <a:cubicBezTo>
                      <a:pt x="110" y="300"/>
                      <a:pt x="110" y="300"/>
                      <a:pt x="110" y="300"/>
                    </a:cubicBezTo>
                    <a:cubicBezTo>
                      <a:pt x="111" y="300"/>
                      <a:pt x="111" y="300"/>
                      <a:pt x="111" y="300"/>
                    </a:cubicBezTo>
                    <a:cubicBezTo>
                      <a:pt x="111" y="300"/>
                      <a:pt x="111" y="300"/>
                      <a:pt x="111" y="300"/>
                    </a:cubicBezTo>
                    <a:cubicBezTo>
                      <a:pt x="115" y="299"/>
                      <a:pt x="115" y="299"/>
                      <a:pt x="115" y="299"/>
                    </a:cubicBezTo>
                    <a:cubicBezTo>
                      <a:pt x="116" y="299"/>
                      <a:pt x="116" y="298"/>
                      <a:pt x="116" y="298"/>
                    </a:cubicBezTo>
                    <a:cubicBezTo>
                      <a:pt x="117" y="297"/>
                      <a:pt x="117" y="297"/>
                      <a:pt x="117" y="297"/>
                    </a:cubicBezTo>
                    <a:cubicBezTo>
                      <a:pt x="117" y="297"/>
                      <a:pt x="117" y="297"/>
                      <a:pt x="117" y="296"/>
                    </a:cubicBezTo>
                    <a:cubicBezTo>
                      <a:pt x="118" y="294"/>
                      <a:pt x="118" y="291"/>
                      <a:pt x="118" y="288"/>
                    </a:cubicBezTo>
                    <a:cubicBezTo>
                      <a:pt x="118" y="287"/>
                      <a:pt x="118" y="286"/>
                      <a:pt x="119" y="285"/>
                    </a:cubicBezTo>
                    <a:cubicBezTo>
                      <a:pt x="119" y="281"/>
                      <a:pt x="122" y="280"/>
                      <a:pt x="124" y="280"/>
                    </a:cubicBezTo>
                    <a:cubicBezTo>
                      <a:pt x="124" y="280"/>
                      <a:pt x="124" y="280"/>
                      <a:pt x="124" y="280"/>
                    </a:cubicBezTo>
                    <a:cubicBezTo>
                      <a:pt x="125" y="277"/>
                      <a:pt x="125" y="277"/>
                      <a:pt x="125" y="277"/>
                    </a:cubicBezTo>
                    <a:cubicBezTo>
                      <a:pt x="128" y="279"/>
                      <a:pt x="128" y="279"/>
                      <a:pt x="128" y="279"/>
                    </a:cubicBezTo>
                    <a:cubicBezTo>
                      <a:pt x="131" y="281"/>
                      <a:pt x="136" y="285"/>
                      <a:pt x="140" y="289"/>
                    </a:cubicBezTo>
                    <a:cubicBezTo>
                      <a:pt x="141" y="289"/>
                      <a:pt x="141" y="288"/>
                      <a:pt x="141" y="288"/>
                    </a:cubicBezTo>
                    <a:cubicBezTo>
                      <a:pt x="142" y="285"/>
                      <a:pt x="142" y="285"/>
                      <a:pt x="142" y="285"/>
                    </a:cubicBezTo>
                    <a:cubicBezTo>
                      <a:pt x="143" y="285"/>
                      <a:pt x="143" y="284"/>
                      <a:pt x="144" y="284"/>
                    </a:cubicBezTo>
                    <a:cubicBezTo>
                      <a:pt x="145" y="283"/>
                      <a:pt x="145" y="283"/>
                      <a:pt x="145" y="283"/>
                    </a:cubicBezTo>
                    <a:cubicBezTo>
                      <a:pt x="146" y="283"/>
                      <a:pt x="147" y="283"/>
                      <a:pt x="148" y="283"/>
                    </a:cubicBezTo>
                    <a:cubicBezTo>
                      <a:pt x="149" y="283"/>
                      <a:pt x="150" y="283"/>
                      <a:pt x="150" y="283"/>
                    </a:cubicBezTo>
                    <a:cubicBezTo>
                      <a:pt x="152" y="283"/>
                      <a:pt x="152" y="283"/>
                      <a:pt x="152" y="283"/>
                    </a:cubicBezTo>
                    <a:cubicBezTo>
                      <a:pt x="173" y="283"/>
                      <a:pt x="173" y="283"/>
                      <a:pt x="173" y="283"/>
                    </a:cubicBezTo>
                    <a:cubicBezTo>
                      <a:pt x="173" y="283"/>
                      <a:pt x="173" y="283"/>
                      <a:pt x="173" y="282"/>
                    </a:cubicBezTo>
                    <a:cubicBezTo>
                      <a:pt x="173" y="281"/>
                      <a:pt x="173" y="281"/>
                      <a:pt x="173" y="281"/>
                    </a:cubicBezTo>
                    <a:cubicBezTo>
                      <a:pt x="174" y="281"/>
                      <a:pt x="174" y="280"/>
                      <a:pt x="174" y="280"/>
                    </a:cubicBezTo>
                    <a:cubicBezTo>
                      <a:pt x="175" y="279"/>
                      <a:pt x="175" y="279"/>
                      <a:pt x="175" y="279"/>
                    </a:cubicBezTo>
                    <a:cubicBezTo>
                      <a:pt x="175" y="279"/>
                      <a:pt x="175" y="279"/>
                      <a:pt x="175" y="279"/>
                    </a:cubicBezTo>
                    <a:cubicBezTo>
                      <a:pt x="175" y="279"/>
                      <a:pt x="175" y="279"/>
                      <a:pt x="175" y="279"/>
                    </a:cubicBezTo>
                    <a:cubicBezTo>
                      <a:pt x="175" y="279"/>
                      <a:pt x="176" y="278"/>
                      <a:pt x="176" y="278"/>
                    </a:cubicBezTo>
                    <a:cubicBezTo>
                      <a:pt x="176" y="278"/>
                      <a:pt x="176" y="278"/>
                      <a:pt x="176" y="278"/>
                    </a:cubicBezTo>
                    <a:cubicBezTo>
                      <a:pt x="177" y="278"/>
                      <a:pt x="177" y="278"/>
                      <a:pt x="177" y="278"/>
                    </a:cubicBezTo>
                    <a:cubicBezTo>
                      <a:pt x="178" y="278"/>
                      <a:pt x="178" y="278"/>
                      <a:pt x="178" y="278"/>
                    </a:cubicBezTo>
                    <a:cubicBezTo>
                      <a:pt x="179" y="278"/>
                      <a:pt x="179" y="278"/>
                      <a:pt x="179" y="278"/>
                    </a:cubicBezTo>
                    <a:cubicBezTo>
                      <a:pt x="179" y="279"/>
                      <a:pt x="179" y="279"/>
                      <a:pt x="179" y="279"/>
                    </a:cubicBezTo>
                    <a:cubicBezTo>
                      <a:pt x="180" y="279"/>
                      <a:pt x="180" y="279"/>
                      <a:pt x="180" y="279"/>
                    </a:cubicBezTo>
                    <a:cubicBezTo>
                      <a:pt x="180" y="280"/>
                      <a:pt x="181" y="280"/>
                      <a:pt x="181" y="281"/>
                    </a:cubicBezTo>
                    <a:cubicBezTo>
                      <a:pt x="181" y="282"/>
                      <a:pt x="181" y="282"/>
                      <a:pt x="181" y="282"/>
                    </a:cubicBezTo>
                    <a:cubicBezTo>
                      <a:pt x="182" y="282"/>
                      <a:pt x="182" y="282"/>
                      <a:pt x="182" y="282"/>
                    </a:cubicBezTo>
                    <a:cubicBezTo>
                      <a:pt x="183" y="283"/>
                      <a:pt x="183" y="283"/>
                      <a:pt x="183" y="283"/>
                    </a:cubicBezTo>
                    <a:cubicBezTo>
                      <a:pt x="183" y="282"/>
                      <a:pt x="183" y="282"/>
                      <a:pt x="183" y="282"/>
                    </a:cubicBezTo>
                    <a:cubicBezTo>
                      <a:pt x="183" y="282"/>
                      <a:pt x="184" y="282"/>
                      <a:pt x="185" y="282"/>
                    </a:cubicBezTo>
                    <a:cubicBezTo>
                      <a:pt x="185" y="282"/>
                      <a:pt x="186" y="282"/>
                      <a:pt x="187" y="282"/>
                    </a:cubicBezTo>
                    <a:cubicBezTo>
                      <a:pt x="187" y="282"/>
                      <a:pt x="187" y="282"/>
                      <a:pt x="187" y="282"/>
                    </a:cubicBezTo>
                    <a:cubicBezTo>
                      <a:pt x="188" y="282"/>
                      <a:pt x="189" y="282"/>
                      <a:pt x="189" y="282"/>
                    </a:cubicBezTo>
                    <a:cubicBezTo>
                      <a:pt x="236" y="282"/>
                      <a:pt x="236" y="282"/>
                      <a:pt x="236" y="282"/>
                    </a:cubicBezTo>
                    <a:cubicBezTo>
                      <a:pt x="243" y="282"/>
                      <a:pt x="251" y="282"/>
                      <a:pt x="258" y="282"/>
                    </a:cubicBezTo>
                    <a:cubicBezTo>
                      <a:pt x="259" y="282"/>
                      <a:pt x="259" y="282"/>
                      <a:pt x="260" y="282"/>
                    </a:cubicBezTo>
                    <a:cubicBezTo>
                      <a:pt x="261" y="282"/>
                      <a:pt x="261" y="282"/>
                      <a:pt x="261" y="282"/>
                    </a:cubicBezTo>
                    <a:cubicBezTo>
                      <a:pt x="261" y="282"/>
                      <a:pt x="262" y="282"/>
                      <a:pt x="262" y="282"/>
                    </a:cubicBezTo>
                    <a:cubicBezTo>
                      <a:pt x="263" y="282"/>
                      <a:pt x="263" y="282"/>
                      <a:pt x="263" y="282"/>
                    </a:cubicBezTo>
                    <a:cubicBezTo>
                      <a:pt x="264" y="282"/>
                      <a:pt x="265" y="283"/>
                      <a:pt x="265" y="283"/>
                    </a:cubicBezTo>
                    <a:cubicBezTo>
                      <a:pt x="265" y="283"/>
                      <a:pt x="265" y="283"/>
                      <a:pt x="265" y="283"/>
                    </a:cubicBezTo>
                    <a:cubicBezTo>
                      <a:pt x="266" y="283"/>
                      <a:pt x="266" y="283"/>
                      <a:pt x="266" y="283"/>
                    </a:cubicBezTo>
                    <a:cubicBezTo>
                      <a:pt x="266" y="283"/>
                      <a:pt x="266" y="283"/>
                      <a:pt x="266" y="283"/>
                    </a:cubicBezTo>
                    <a:cubicBezTo>
                      <a:pt x="266" y="282"/>
                      <a:pt x="267" y="280"/>
                      <a:pt x="267" y="276"/>
                    </a:cubicBezTo>
                    <a:cubicBezTo>
                      <a:pt x="267" y="275"/>
                      <a:pt x="267" y="274"/>
                      <a:pt x="267" y="273"/>
                    </a:cubicBezTo>
                    <a:cubicBezTo>
                      <a:pt x="268" y="269"/>
                      <a:pt x="268" y="269"/>
                      <a:pt x="268" y="269"/>
                    </a:cubicBezTo>
                    <a:cubicBezTo>
                      <a:pt x="268" y="267"/>
                      <a:pt x="268" y="266"/>
                      <a:pt x="268" y="266"/>
                    </a:cubicBezTo>
                    <a:cubicBezTo>
                      <a:pt x="268" y="266"/>
                      <a:pt x="268" y="266"/>
                      <a:pt x="268" y="266"/>
                    </a:cubicBezTo>
                    <a:cubicBezTo>
                      <a:pt x="267" y="265"/>
                      <a:pt x="267" y="265"/>
                      <a:pt x="267" y="265"/>
                    </a:cubicBezTo>
                    <a:cubicBezTo>
                      <a:pt x="267" y="265"/>
                      <a:pt x="267" y="265"/>
                      <a:pt x="267" y="265"/>
                    </a:cubicBezTo>
                    <a:cubicBezTo>
                      <a:pt x="266" y="264"/>
                      <a:pt x="266" y="264"/>
                      <a:pt x="266" y="264"/>
                    </a:cubicBezTo>
                    <a:cubicBezTo>
                      <a:pt x="265" y="263"/>
                      <a:pt x="265" y="262"/>
                      <a:pt x="265" y="261"/>
                    </a:cubicBezTo>
                    <a:cubicBezTo>
                      <a:pt x="259" y="215"/>
                      <a:pt x="259" y="215"/>
                      <a:pt x="259" y="215"/>
                    </a:cubicBezTo>
                    <a:cubicBezTo>
                      <a:pt x="256" y="190"/>
                      <a:pt x="253" y="166"/>
                      <a:pt x="250" y="142"/>
                    </a:cubicBezTo>
                    <a:cubicBezTo>
                      <a:pt x="248" y="123"/>
                      <a:pt x="246" y="104"/>
                      <a:pt x="243" y="86"/>
                    </a:cubicBezTo>
                    <a:cubicBezTo>
                      <a:pt x="241" y="64"/>
                      <a:pt x="241" y="64"/>
                      <a:pt x="241" y="64"/>
                    </a:cubicBezTo>
                    <a:cubicBezTo>
                      <a:pt x="241" y="60"/>
                      <a:pt x="240" y="56"/>
                      <a:pt x="240" y="52"/>
                    </a:cubicBezTo>
                    <a:cubicBezTo>
                      <a:pt x="239" y="49"/>
                      <a:pt x="239" y="49"/>
                      <a:pt x="239" y="49"/>
                    </a:cubicBezTo>
                    <a:cubicBezTo>
                      <a:pt x="273" y="49"/>
                      <a:pt x="273" y="49"/>
                      <a:pt x="273" y="49"/>
                    </a:cubicBezTo>
                    <a:cubicBezTo>
                      <a:pt x="268" y="46"/>
                      <a:pt x="264" y="43"/>
                      <a:pt x="259" y="39"/>
                    </a:cubicBezTo>
                    <a:cubicBezTo>
                      <a:pt x="258" y="39"/>
                      <a:pt x="257" y="38"/>
                      <a:pt x="256" y="37"/>
                    </a:cubicBezTo>
                    <a:cubicBezTo>
                      <a:pt x="250" y="34"/>
                      <a:pt x="244" y="30"/>
                      <a:pt x="238" y="26"/>
                    </a:cubicBezTo>
                    <a:cubicBezTo>
                      <a:pt x="238" y="26"/>
                      <a:pt x="237" y="25"/>
                      <a:pt x="236" y="25"/>
                    </a:cubicBezTo>
                    <a:cubicBezTo>
                      <a:pt x="230" y="21"/>
                      <a:pt x="224" y="17"/>
                      <a:pt x="217" y="13"/>
                    </a:cubicBezTo>
                    <a:cubicBezTo>
                      <a:pt x="217" y="12"/>
                      <a:pt x="217" y="12"/>
                      <a:pt x="217" y="12"/>
                    </a:cubicBezTo>
                    <a:cubicBezTo>
                      <a:pt x="210" y="8"/>
                      <a:pt x="203" y="4"/>
                      <a:pt x="1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 name="Freeform 201">
                <a:extLst>
                  <a:ext uri="{FF2B5EF4-FFF2-40B4-BE49-F238E27FC236}">
                    <a16:creationId xmlns:a16="http://schemas.microsoft.com/office/drawing/2014/main" id="{6A4157E9-E872-4C7F-9D5B-0CB508EA92D8}"/>
                  </a:ext>
                </a:extLst>
              </p:cNvPr>
              <p:cNvSpPr>
                <a:spLocks/>
              </p:cNvSpPr>
              <p:nvPr/>
            </p:nvSpPr>
            <p:spPr bwMode="auto">
              <a:xfrm>
                <a:off x="2824" y="2145"/>
                <a:ext cx="7" cy="7"/>
              </a:xfrm>
              <a:custGeom>
                <a:avLst/>
                <a:gdLst>
                  <a:gd name="T0" fmla="*/ 1 w 3"/>
                  <a:gd name="T1" fmla="*/ 0 h 3"/>
                  <a:gd name="T2" fmla="*/ 2 w 3"/>
                  <a:gd name="T3" fmla="*/ 3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1"/>
                      <a:pt x="0" y="2"/>
                      <a:pt x="2" y="3"/>
                    </a:cubicBezTo>
                    <a:cubicBezTo>
                      <a:pt x="2" y="2"/>
                      <a:pt x="2" y="1"/>
                      <a:pt x="3"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 name="Rectangle 202">
                <a:extLst>
                  <a:ext uri="{FF2B5EF4-FFF2-40B4-BE49-F238E27FC236}">
                    <a16:creationId xmlns:a16="http://schemas.microsoft.com/office/drawing/2014/main" id="{14BC4A7F-B999-41B8-A4A6-EC048CD32090}"/>
                  </a:ext>
                </a:extLst>
              </p:cNvPr>
              <p:cNvSpPr>
                <a:spLocks noChangeArrowheads="1"/>
              </p:cNvSpPr>
              <p:nvPr/>
            </p:nvSpPr>
            <p:spPr bwMode="auto">
              <a:xfrm>
                <a:off x="3089" y="227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 name="Freeform 203">
                <a:extLst>
                  <a:ext uri="{FF2B5EF4-FFF2-40B4-BE49-F238E27FC236}">
                    <a16:creationId xmlns:a16="http://schemas.microsoft.com/office/drawing/2014/main" id="{2A9F77D7-4222-48C5-B660-1AC9C3AA6236}"/>
                  </a:ext>
                </a:extLst>
              </p:cNvPr>
              <p:cNvSpPr>
                <a:spLocks/>
              </p:cNvSpPr>
              <p:nvPr/>
            </p:nvSpPr>
            <p:spPr bwMode="auto">
              <a:xfrm>
                <a:off x="3089" y="227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 name="Freeform 204">
                <a:extLst>
                  <a:ext uri="{FF2B5EF4-FFF2-40B4-BE49-F238E27FC236}">
                    <a16:creationId xmlns:a16="http://schemas.microsoft.com/office/drawing/2014/main" id="{21A2FC37-5AA8-4260-AE8B-6539A3FAD27A}"/>
                  </a:ext>
                </a:extLst>
              </p:cNvPr>
              <p:cNvSpPr>
                <a:spLocks noEditPoints="1"/>
              </p:cNvSpPr>
              <p:nvPr/>
            </p:nvSpPr>
            <p:spPr bwMode="auto">
              <a:xfrm>
                <a:off x="2836" y="2051"/>
                <a:ext cx="388" cy="295"/>
              </a:xfrm>
              <a:custGeom>
                <a:avLst/>
                <a:gdLst>
                  <a:gd name="T0" fmla="*/ 3 w 164"/>
                  <a:gd name="T1" fmla="*/ 37 h 125"/>
                  <a:gd name="T2" fmla="*/ 29 w 164"/>
                  <a:gd name="T3" fmla="*/ 9 h 125"/>
                  <a:gd name="T4" fmla="*/ 29 w 164"/>
                  <a:gd name="T5" fmla="*/ 20 h 125"/>
                  <a:gd name="T6" fmla="*/ 25 w 164"/>
                  <a:gd name="T7" fmla="*/ 24 h 125"/>
                  <a:gd name="T8" fmla="*/ 10 w 164"/>
                  <a:gd name="T9" fmla="*/ 27 h 125"/>
                  <a:gd name="T10" fmla="*/ 3 w 164"/>
                  <a:gd name="T11" fmla="*/ 38 h 125"/>
                  <a:gd name="T12" fmla="*/ 8 w 164"/>
                  <a:gd name="T13" fmla="*/ 40 h 125"/>
                  <a:gd name="T14" fmla="*/ 13 w 164"/>
                  <a:gd name="T15" fmla="*/ 58 h 125"/>
                  <a:gd name="T16" fmla="*/ 27 w 164"/>
                  <a:gd name="T17" fmla="*/ 63 h 125"/>
                  <a:gd name="T18" fmla="*/ 35 w 164"/>
                  <a:gd name="T19" fmla="*/ 80 h 125"/>
                  <a:gd name="T20" fmla="*/ 39 w 164"/>
                  <a:gd name="T21" fmla="*/ 78 h 125"/>
                  <a:gd name="T22" fmla="*/ 45 w 164"/>
                  <a:gd name="T23" fmla="*/ 77 h 125"/>
                  <a:gd name="T24" fmla="*/ 49 w 164"/>
                  <a:gd name="T25" fmla="*/ 70 h 125"/>
                  <a:gd name="T26" fmla="*/ 60 w 164"/>
                  <a:gd name="T27" fmla="*/ 61 h 125"/>
                  <a:gd name="T28" fmla="*/ 72 w 164"/>
                  <a:gd name="T29" fmla="*/ 60 h 125"/>
                  <a:gd name="T30" fmla="*/ 89 w 164"/>
                  <a:gd name="T31" fmla="*/ 61 h 125"/>
                  <a:gd name="T32" fmla="*/ 99 w 164"/>
                  <a:gd name="T33" fmla="*/ 81 h 125"/>
                  <a:gd name="T34" fmla="*/ 104 w 164"/>
                  <a:gd name="T35" fmla="*/ 87 h 125"/>
                  <a:gd name="T36" fmla="*/ 107 w 164"/>
                  <a:gd name="T37" fmla="*/ 94 h 125"/>
                  <a:gd name="T38" fmla="*/ 109 w 164"/>
                  <a:gd name="T39" fmla="*/ 94 h 125"/>
                  <a:gd name="T40" fmla="*/ 114 w 164"/>
                  <a:gd name="T41" fmla="*/ 94 h 125"/>
                  <a:gd name="T42" fmla="*/ 122 w 164"/>
                  <a:gd name="T43" fmla="*/ 94 h 125"/>
                  <a:gd name="T44" fmla="*/ 127 w 164"/>
                  <a:gd name="T45" fmla="*/ 99 h 125"/>
                  <a:gd name="T46" fmla="*/ 131 w 164"/>
                  <a:gd name="T47" fmla="*/ 120 h 125"/>
                  <a:gd name="T48" fmla="*/ 139 w 164"/>
                  <a:gd name="T49" fmla="*/ 123 h 125"/>
                  <a:gd name="T50" fmla="*/ 150 w 164"/>
                  <a:gd name="T51" fmla="*/ 114 h 125"/>
                  <a:gd name="T52" fmla="*/ 157 w 164"/>
                  <a:gd name="T53" fmla="*/ 107 h 125"/>
                  <a:gd name="T54" fmla="*/ 154 w 164"/>
                  <a:gd name="T55" fmla="*/ 96 h 125"/>
                  <a:gd name="T56" fmla="*/ 157 w 164"/>
                  <a:gd name="T57" fmla="*/ 94 h 125"/>
                  <a:gd name="T58" fmla="*/ 162 w 164"/>
                  <a:gd name="T59" fmla="*/ 95 h 125"/>
                  <a:gd name="T60" fmla="*/ 164 w 164"/>
                  <a:gd name="T61" fmla="*/ 94 h 125"/>
                  <a:gd name="T62" fmla="*/ 164 w 164"/>
                  <a:gd name="T63" fmla="*/ 83 h 125"/>
                  <a:gd name="T64" fmla="*/ 159 w 164"/>
                  <a:gd name="T65" fmla="*/ 78 h 125"/>
                  <a:gd name="T66" fmla="*/ 155 w 164"/>
                  <a:gd name="T67" fmla="*/ 68 h 125"/>
                  <a:gd name="T68" fmla="*/ 157 w 164"/>
                  <a:gd name="T69" fmla="*/ 57 h 125"/>
                  <a:gd name="T70" fmla="*/ 153 w 164"/>
                  <a:gd name="T71" fmla="*/ 52 h 125"/>
                  <a:gd name="T72" fmla="*/ 152 w 164"/>
                  <a:gd name="T73" fmla="*/ 44 h 125"/>
                  <a:gd name="T74" fmla="*/ 140 w 164"/>
                  <a:gd name="T75" fmla="*/ 43 h 125"/>
                  <a:gd name="T76" fmla="*/ 143 w 164"/>
                  <a:gd name="T77" fmla="*/ 24 h 125"/>
                  <a:gd name="T78" fmla="*/ 140 w 164"/>
                  <a:gd name="T79" fmla="*/ 23 h 125"/>
                  <a:gd name="T80" fmla="*/ 139 w 164"/>
                  <a:gd name="T81" fmla="*/ 17 h 125"/>
                  <a:gd name="T82" fmla="*/ 135 w 164"/>
                  <a:gd name="T83" fmla="*/ 17 h 125"/>
                  <a:gd name="T84" fmla="*/ 126 w 164"/>
                  <a:gd name="T85" fmla="*/ 12 h 125"/>
                  <a:gd name="T86" fmla="*/ 114 w 164"/>
                  <a:gd name="T87" fmla="*/ 13 h 125"/>
                  <a:gd name="T88" fmla="*/ 102 w 164"/>
                  <a:gd name="T89" fmla="*/ 16 h 125"/>
                  <a:gd name="T90" fmla="*/ 92 w 164"/>
                  <a:gd name="T91" fmla="*/ 12 h 125"/>
                  <a:gd name="T92" fmla="*/ 88 w 164"/>
                  <a:gd name="T93" fmla="*/ 15 h 125"/>
                  <a:gd name="T94" fmla="*/ 82 w 164"/>
                  <a:gd name="T95" fmla="*/ 16 h 125"/>
                  <a:gd name="T96" fmla="*/ 76 w 164"/>
                  <a:gd name="T97" fmla="*/ 10 h 125"/>
                  <a:gd name="T98" fmla="*/ 69 w 164"/>
                  <a:gd name="T99" fmla="*/ 7 h 125"/>
                  <a:gd name="T100" fmla="*/ 41 w 164"/>
                  <a:gd name="T101" fmla="*/ 4 h 125"/>
                  <a:gd name="T102" fmla="*/ 32 w 164"/>
                  <a:gd name="T10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 h="125">
                    <a:moveTo>
                      <a:pt x="3" y="38"/>
                    </a:moveTo>
                    <a:cubicBezTo>
                      <a:pt x="3" y="37"/>
                      <a:pt x="3" y="37"/>
                      <a:pt x="3" y="37"/>
                    </a:cubicBezTo>
                    <a:cubicBezTo>
                      <a:pt x="3" y="38"/>
                      <a:pt x="3" y="38"/>
                      <a:pt x="3" y="38"/>
                    </a:cubicBezTo>
                    <a:moveTo>
                      <a:pt x="3" y="37"/>
                    </a:moveTo>
                    <a:cubicBezTo>
                      <a:pt x="3" y="37"/>
                      <a:pt x="3" y="37"/>
                      <a:pt x="3" y="37"/>
                    </a:cubicBezTo>
                    <a:cubicBezTo>
                      <a:pt x="3" y="37"/>
                      <a:pt x="3" y="37"/>
                      <a:pt x="3" y="37"/>
                    </a:cubicBezTo>
                    <a:moveTo>
                      <a:pt x="30" y="0"/>
                    </a:moveTo>
                    <a:cubicBezTo>
                      <a:pt x="30" y="1"/>
                      <a:pt x="30" y="1"/>
                      <a:pt x="30" y="1"/>
                    </a:cubicBezTo>
                    <a:cubicBezTo>
                      <a:pt x="30" y="3"/>
                      <a:pt x="30" y="5"/>
                      <a:pt x="30" y="6"/>
                    </a:cubicBezTo>
                    <a:cubicBezTo>
                      <a:pt x="30" y="7"/>
                      <a:pt x="29" y="8"/>
                      <a:pt x="29" y="9"/>
                    </a:cubicBezTo>
                    <a:cubicBezTo>
                      <a:pt x="28" y="10"/>
                      <a:pt x="28" y="10"/>
                      <a:pt x="28" y="10"/>
                    </a:cubicBezTo>
                    <a:cubicBezTo>
                      <a:pt x="26" y="10"/>
                      <a:pt x="26" y="10"/>
                      <a:pt x="26" y="10"/>
                    </a:cubicBezTo>
                    <a:cubicBezTo>
                      <a:pt x="27" y="11"/>
                      <a:pt x="27" y="11"/>
                      <a:pt x="27" y="12"/>
                    </a:cubicBezTo>
                    <a:cubicBezTo>
                      <a:pt x="28" y="13"/>
                      <a:pt x="29" y="17"/>
                      <a:pt x="29" y="20"/>
                    </a:cubicBezTo>
                    <a:cubicBezTo>
                      <a:pt x="29" y="20"/>
                      <a:pt x="29" y="20"/>
                      <a:pt x="29" y="20"/>
                    </a:cubicBezTo>
                    <a:cubicBezTo>
                      <a:pt x="29" y="21"/>
                      <a:pt x="29" y="21"/>
                      <a:pt x="29" y="21"/>
                    </a:cubicBezTo>
                    <a:cubicBezTo>
                      <a:pt x="29" y="21"/>
                      <a:pt x="28" y="22"/>
                      <a:pt x="27" y="23"/>
                    </a:cubicBezTo>
                    <a:cubicBezTo>
                      <a:pt x="27" y="24"/>
                      <a:pt x="27" y="24"/>
                      <a:pt x="27" y="24"/>
                    </a:cubicBezTo>
                    <a:cubicBezTo>
                      <a:pt x="26" y="24"/>
                      <a:pt x="26" y="24"/>
                      <a:pt x="25" y="24"/>
                    </a:cubicBezTo>
                    <a:cubicBezTo>
                      <a:pt x="25" y="24"/>
                      <a:pt x="25" y="24"/>
                      <a:pt x="25" y="24"/>
                    </a:cubicBezTo>
                    <a:cubicBezTo>
                      <a:pt x="24" y="24"/>
                      <a:pt x="24" y="24"/>
                      <a:pt x="24" y="24"/>
                    </a:cubicBezTo>
                    <a:cubicBezTo>
                      <a:pt x="23" y="24"/>
                      <a:pt x="23" y="24"/>
                      <a:pt x="23" y="24"/>
                    </a:cubicBezTo>
                    <a:cubicBezTo>
                      <a:pt x="20" y="25"/>
                      <a:pt x="17" y="26"/>
                      <a:pt x="14" y="26"/>
                    </a:cubicBezTo>
                    <a:cubicBezTo>
                      <a:pt x="13" y="27"/>
                      <a:pt x="13" y="27"/>
                      <a:pt x="13" y="27"/>
                    </a:cubicBezTo>
                    <a:cubicBezTo>
                      <a:pt x="12" y="27"/>
                      <a:pt x="11" y="27"/>
                      <a:pt x="10" y="27"/>
                    </a:cubicBezTo>
                    <a:cubicBezTo>
                      <a:pt x="10" y="27"/>
                      <a:pt x="9" y="27"/>
                      <a:pt x="8" y="28"/>
                    </a:cubicBezTo>
                    <a:cubicBezTo>
                      <a:pt x="6" y="28"/>
                      <a:pt x="5" y="28"/>
                      <a:pt x="5" y="28"/>
                    </a:cubicBezTo>
                    <a:cubicBezTo>
                      <a:pt x="4" y="29"/>
                      <a:pt x="2" y="33"/>
                      <a:pt x="0" y="36"/>
                    </a:cubicBezTo>
                    <a:cubicBezTo>
                      <a:pt x="0" y="37"/>
                      <a:pt x="0" y="37"/>
                      <a:pt x="0" y="37"/>
                    </a:cubicBezTo>
                    <a:cubicBezTo>
                      <a:pt x="1" y="37"/>
                      <a:pt x="2" y="38"/>
                      <a:pt x="3" y="38"/>
                    </a:cubicBezTo>
                    <a:cubicBezTo>
                      <a:pt x="1" y="39"/>
                      <a:pt x="1" y="39"/>
                      <a:pt x="1" y="41"/>
                    </a:cubicBezTo>
                    <a:cubicBezTo>
                      <a:pt x="1" y="42"/>
                      <a:pt x="1" y="43"/>
                      <a:pt x="2" y="43"/>
                    </a:cubicBezTo>
                    <a:cubicBezTo>
                      <a:pt x="3" y="43"/>
                      <a:pt x="3" y="43"/>
                      <a:pt x="4" y="42"/>
                    </a:cubicBezTo>
                    <a:cubicBezTo>
                      <a:pt x="4" y="43"/>
                      <a:pt x="4" y="45"/>
                      <a:pt x="4" y="46"/>
                    </a:cubicBezTo>
                    <a:cubicBezTo>
                      <a:pt x="5" y="44"/>
                      <a:pt x="7" y="42"/>
                      <a:pt x="8" y="40"/>
                    </a:cubicBezTo>
                    <a:cubicBezTo>
                      <a:pt x="7" y="42"/>
                      <a:pt x="4" y="46"/>
                      <a:pt x="5" y="48"/>
                    </a:cubicBezTo>
                    <a:cubicBezTo>
                      <a:pt x="5" y="49"/>
                      <a:pt x="7" y="49"/>
                      <a:pt x="7" y="50"/>
                    </a:cubicBezTo>
                    <a:cubicBezTo>
                      <a:pt x="8" y="52"/>
                      <a:pt x="8" y="54"/>
                      <a:pt x="9" y="56"/>
                    </a:cubicBezTo>
                    <a:cubicBezTo>
                      <a:pt x="9" y="56"/>
                      <a:pt x="10" y="56"/>
                      <a:pt x="10" y="56"/>
                    </a:cubicBezTo>
                    <a:cubicBezTo>
                      <a:pt x="11" y="56"/>
                      <a:pt x="12" y="57"/>
                      <a:pt x="13" y="58"/>
                    </a:cubicBezTo>
                    <a:cubicBezTo>
                      <a:pt x="14" y="59"/>
                      <a:pt x="16" y="60"/>
                      <a:pt x="17" y="60"/>
                    </a:cubicBezTo>
                    <a:cubicBezTo>
                      <a:pt x="17" y="60"/>
                      <a:pt x="17" y="60"/>
                      <a:pt x="17" y="60"/>
                    </a:cubicBezTo>
                    <a:cubicBezTo>
                      <a:pt x="18" y="60"/>
                      <a:pt x="18" y="58"/>
                      <a:pt x="20" y="57"/>
                    </a:cubicBezTo>
                    <a:cubicBezTo>
                      <a:pt x="19" y="59"/>
                      <a:pt x="22" y="65"/>
                      <a:pt x="25" y="65"/>
                    </a:cubicBezTo>
                    <a:cubicBezTo>
                      <a:pt x="26" y="65"/>
                      <a:pt x="27" y="64"/>
                      <a:pt x="27" y="63"/>
                    </a:cubicBezTo>
                    <a:cubicBezTo>
                      <a:pt x="26" y="66"/>
                      <a:pt x="26" y="67"/>
                      <a:pt x="27" y="67"/>
                    </a:cubicBezTo>
                    <a:cubicBezTo>
                      <a:pt x="28" y="67"/>
                      <a:pt x="29" y="67"/>
                      <a:pt x="30" y="67"/>
                    </a:cubicBezTo>
                    <a:cubicBezTo>
                      <a:pt x="29" y="69"/>
                      <a:pt x="27" y="71"/>
                      <a:pt x="27" y="73"/>
                    </a:cubicBezTo>
                    <a:cubicBezTo>
                      <a:pt x="29" y="72"/>
                      <a:pt x="30" y="73"/>
                      <a:pt x="32" y="72"/>
                    </a:cubicBezTo>
                    <a:cubicBezTo>
                      <a:pt x="32" y="73"/>
                      <a:pt x="33" y="78"/>
                      <a:pt x="35" y="80"/>
                    </a:cubicBezTo>
                    <a:cubicBezTo>
                      <a:pt x="36" y="80"/>
                      <a:pt x="36" y="80"/>
                      <a:pt x="36" y="80"/>
                    </a:cubicBezTo>
                    <a:cubicBezTo>
                      <a:pt x="36" y="79"/>
                      <a:pt x="36" y="79"/>
                      <a:pt x="37" y="79"/>
                    </a:cubicBezTo>
                    <a:cubicBezTo>
                      <a:pt x="37" y="78"/>
                      <a:pt x="38" y="78"/>
                      <a:pt x="38" y="78"/>
                    </a:cubicBezTo>
                    <a:cubicBezTo>
                      <a:pt x="38" y="78"/>
                      <a:pt x="38" y="78"/>
                      <a:pt x="38" y="78"/>
                    </a:cubicBezTo>
                    <a:cubicBezTo>
                      <a:pt x="39" y="78"/>
                      <a:pt x="39" y="78"/>
                      <a:pt x="39" y="78"/>
                    </a:cubicBezTo>
                    <a:cubicBezTo>
                      <a:pt x="39" y="78"/>
                      <a:pt x="39" y="78"/>
                      <a:pt x="39" y="78"/>
                    </a:cubicBezTo>
                    <a:cubicBezTo>
                      <a:pt x="40" y="78"/>
                      <a:pt x="40" y="78"/>
                      <a:pt x="40" y="78"/>
                    </a:cubicBezTo>
                    <a:cubicBezTo>
                      <a:pt x="43" y="78"/>
                      <a:pt x="43" y="78"/>
                      <a:pt x="43" y="78"/>
                    </a:cubicBezTo>
                    <a:cubicBezTo>
                      <a:pt x="43" y="78"/>
                      <a:pt x="44" y="78"/>
                      <a:pt x="44" y="77"/>
                    </a:cubicBezTo>
                    <a:cubicBezTo>
                      <a:pt x="45" y="77"/>
                      <a:pt x="45" y="77"/>
                      <a:pt x="45" y="77"/>
                    </a:cubicBezTo>
                    <a:cubicBezTo>
                      <a:pt x="45" y="76"/>
                      <a:pt x="45" y="76"/>
                      <a:pt x="45" y="76"/>
                    </a:cubicBezTo>
                    <a:cubicBezTo>
                      <a:pt x="46" y="75"/>
                      <a:pt x="46" y="75"/>
                      <a:pt x="47" y="74"/>
                    </a:cubicBezTo>
                    <a:cubicBezTo>
                      <a:pt x="47" y="73"/>
                      <a:pt x="47" y="73"/>
                      <a:pt x="47" y="73"/>
                    </a:cubicBezTo>
                    <a:cubicBezTo>
                      <a:pt x="48" y="72"/>
                      <a:pt x="48" y="72"/>
                      <a:pt x="48" y="72"/>
                    </a:cubicBezTo>
                    <a:cubicBezTo>
                      <a:pt x="49" y="72"/>
                      <a:pt x="49" y="71"/>
                      <a:pt x="49" y="70"/>
                    </a:cubicBezTo>
                    <a:cubicBezTo>
                      <a:pt x="50" y="70"/>
                      <a:pt x="50" y="70"/>
                      <a:pt x="50" y="70"/>
                    </a:cubicBezTo>
                    <a:cubicBezTo>
                      <a:pt x="50" y="69"/>
                      <a:pt x="50" y="69"/>
                      <a:pt x="50" y="69"/>
                    </a:cubicBezTo>
                    <a:cubicBezTo>
                      <a:pt x="50" y="69"/>
                      <a:pt x="50" y="69"/>
                      <a:pt x="50" y="69"/>
                    </a:cubicBezTo>
                    <a:cubicBezTo>
                      <a:pt x="51" y="68"/>
                      <a:pt x="52" y="67"/>
                      <a:pt x="52" y="66"/>
                    </a:cubicBezTo>
                    <a:cubicBezTo>
                      <a:pt x="54" y="62"/>
                      <a:pt x="55" y="61"/>
                      <a:pt x="60" y="61"/>
                    </a:cubicBezTo>
                    <a:cubicBezTo>
                      <a:pt x="61" y="61"/>
                      <a:pt x="61" y="61"/>
                      <a:pt x="61" y="61"/>
                    </a:cubicBezTo>
                    <a:cubicBezTo>
                      <a:pt x="62" y="61"/>
                      <a:pt x="62" y="61"/>
                      <a:pt x="62" y="61"/>
                    </a:cubicBezTo>
                    <a:cubicBezTo>
                      <a:pt x="63" y="61"/>
                      <a:pt x="63" y="61"/>
                      <a:pt x="63" y="61"/>
                    </a:cubicBezTo>
                    <a:cubicBezTo>
                      <a:pt x="63" y="61"/>
                      <a:pt x="64" y="61"/>
                      <a:pt x="64" y="61"/>
                    </a:cubicBezTo>
                    <a:cubicBezTo>
                      <a:pt x="67" y="61"/>
                      <a:pt x="70" y="61"/>
                      <a:pt x="72" y="60"/>
                    </a:cubicBezTo>
                    <a:cubicBezTo>
                      <a:pt x="75" y="59"/>
                      <a:pt x="79" y="59"/>
                      <a:pt x="82" y="59"/>
                    </a:cubicBezTo>
                    <a:cubicBezTo>
                      <a:pt x="83" y="59"/>
                      <a:pt x="83" y="59"/>
                      <a:pt x="83" y="59"/>
                    </a:cubicBezTo>
                    <a:cubicBezTo>
                      <a:pt x="83" y="59"/>
                      <a:pt x="83" y="59"/>
                      <a:pt x="84" y="59"/>
                    </a:cubicBezTo>
                    <a:cubicBezTo>
                      <a:pt x="84" y="59"/>
                      <a:pt x="85" y="59"/>
                      <a:pt x="86" y="59"/>
                    </a:cubicBezTo>
                    <a:cubicBezTo>
                      <a:pt x="87" y="59"/>
                      <a:pt x="88" y="60"/>
                      <a:pt x="89" y="61"/>
                    </a:cubicBezTo>
                    <a:cubicBezTo>
                      <a:pt x="90" y="64"/>
                      <a:pt x="92" y="67"/>
                      <a:pt x="93" y="69"/>
                    </a:cubicBezTo>
                    <a:cubicBezTo>
                      <a:pt x="93" y="70"/>
                      <a:pt x="94" y="71"/>
                      <a:pt x="94" y="72"/>
                    </a:cubicBezTo>
                    <a:cubicBezTo>
                      <a:pt x="95" y="72"/>
                      <a:pt x="95" y="72"/>
                      <a:pt x="95" y="72"/>
                    </a:cubicBezTo>
                    <a:cubicBezTo>
                      <a:pt x="96" y="75"/>
                      <a:pt x="97" y="78"/>
                      <a:pt x="98" y="80"/>
                    </a:cubicBezTo>
                    <a:cubicBezTo>
                      <a:pt x="99" y="81"/>
                      <a:pt x="99" y="81"/>
                      <a:pt x="99" y="81"/>
                    </a:cubicBezTo>
                    <a:cubicBezTo>
                      <a:pt x="100" y="81"/>
                      <a:pt x="102" y="82"/>
                      <a:pt x="103" y="83"/>
                    </a:cubicBezTo>
                    <a:cubicBezTo>
                      <a:pt x="103" y="84"/>
                      <a:pt x="103" y="84"/>
                      <a:pt x="103" y="84"/>
                    </a:cubicBezTo>
                    <a:cubicBezTo>
                      <a:pt x="103" y="84"/>
                      <a:pt x="103" y="84"/>
                      <a:pt x="103" y="84"/>
                    </a:cubicBezTo>
                    <a:cubicBezTo>
                      <a:pt x="103" y="85"/>
                      <a:pt x="103" y="85"/>
                      <a:pt x="104" y="86"/>
                    </a:cubicBezTo>
                    <a:cubicBezTo>
                      <a:pt x="104" y="87"/>
                      <a:pt x="104" y="87"/>
                      <a:pt x="104" y="87"/>
                    </a:cubicBezTo>
                    <a:cubicBezTo>
                      <a:pt x="104" y="87"/>
                      <a:pt x="104" y="87"/>
                      <a:pt x="104" y="87"/>
                    </a:cubicBezTo>
                    <a:cubicBezTo>
                      <a:pt x="105" y="89"/>
                      <a:pt x="105" y="89"/>
                      <a:pt x="105" y="89"/>
                    </a:cubicBezTo>
                    <a:cubicBezTo>
                      <a:pt x="105" y="91"/>
                      <a:pt x="106" y="93"/>
                      <a:pt x="105" y="95"/>
                    </a:cubicBezTo>
                    <a:cubicBezTo>
                      <a:pt x="105" y="95"/>
                      <a:pt x="105" y="95"/>
                      <a:pt x="105" y="95"/>
                    </a:cubicBezTo>
                    <a:cubicBezTo>
                      <a:pt x="106" y="95"/>
                      <a:pt x="106" y="94"/>
                      <a:pt x="107" y="94"/>
                    </a:cubicBezTo>
                    <a:cubicBezTo>
                      <a:pt x="108" y="94"/>
                      <a:pt x="108" y="94"/>
                      <a:pt x="108" y="94"/>
                    </a:cubicBezTo>
                    <a:cubicBezTo>
                      <a:pt x="108" y="94"/>
                      <a:pt x="108" y="94"/>
                      <a:pt x="108" y="94"/>
                    </a:cubicBezTo>
                    <a:cubicBezTo>
                      <a:pt x="108" y="94"/>
                      <a:pt x="108" y="94"/>
                      <a:pt x="108" y="94"/>
                    </a:cubicBezTo>
                    <a:cubicBezTo>
                      <a:pt x="108" y="94"/>
                      <a:pt x="108" y="94"/>
                      <a:pt x="108" y="94"/>
                    </a:cubicBezTo>
                    <a:cubicBezTo>
                      <a:pt x="109" y="94"/>
                      <a:pt x="109" y="94"/>
                      <a:pt x="109" y="94"/>
                    </a:cubicBezTo>
                    <a:cubicBezTo>
                      <a:pt x="110" y="94"/>
                      <a:pt x="110" y="94"/>
                      <a:pt x="110" y="94"/>
                    </a:cubicBezTo>
                    <a:cubicBezTo>
                      <a:pt x="110" y="94"/>
                      <a:pt x="110" y="94"/>
                      <a:pt x="110" y="94"/>
                    </a:cubicBezTo>
                    <a:cubicBezTo>
                      <a:pt x="111" y="94"/>
                      <a:pt x="111" y="94"/>
                      <a:pt x="111" y="94"/>
                    </a:cubicBezTo>
                    <a:cubicBezTo>
                      <a:pt x="112" y="94"/>
                      <a:pt x="113" y="94"/>
                      <a:pt x="113" y="94"/>
                    </a:cubicBezTo>
                    <a:cubicBezTo>
                      <a:pt x="114" y="94"/>
                      <a:pt x="114" y="94"/>
                      <a:pt x="114" y="94"/>
                    </a:cubicBezTo>
                    <a:cubicBezTo>
                      <a:pt x="114" y="94"/>
                      <a:pt x="114" y="94"/>
                      <a:pt x="114" y="94"/>
                    </a:cubicBezTo>
                    <a:cubicBezTo>
                      <a:pt x="117" y="94"/>
                      <a:pt x="117" y="94"/>
                      <a:pt x="117" y="94"/>
                    </a:cubicBezTo>
                    <a:cubicBezTo>
                      <a:pt x="118" y="94"/>
                      <a:pt x="118" y="94"/>
                      <a:pt x="118" y="94"/>
                    </a:cubicBezTo>
                    <a:cubicBezTo>
                      <a:pt x="118" y="93"/>
                      <a:pt x="119" y="93"/>
                      <a:pt x="120" y="93"/>
                    </a:cubicBezTo>
                    <a:cubicBezTo>
                      <a:pt x="121" y="93"/>
                      <a:pt x="122" y="94"/>
                      <a:pt x="122" y="94"/>
                    </a:cubicBezTo>
                    <a:cubicBezTo>
                      <a:pt x="123" y="95"/>
                      <a:pt x="123" y="95"/>
                      <a:pt x="123" y="95"/>
                    </a:cubicBezTo>
                    <a:cubicBezTo>
                      <a:pt x="123" y="95"/>
                      <a:pt x="123" y="95"/>
                      <a:pt x="123" y="95"/>
                    </a:cubicBezTo>
                    <a:cubicBezTo>
                      <a:pt x="124" y="96"/>
                      <a:pt x="124" y="96"/>
                      <a:pt x="124" y="96"/>
                    </a:cubicBezTo>
                    <a:cubicBezTo>
                      <a:pt x="125" y="96"/>
                      <a:pt x="126" y="97"/>
                      <a:pt x="126" y="98"/>
                    </a:cubicBezTo>
                    <a:cubicBezTo>
                      <a:pt x="127" y="98"/>
                      <a:pt x="127" y="98"/>
                      <a:pt x="127" y="99"/>
                    </a:cubicBezTo>
                    <a:cubicBezTo>
                      <a:pt x="129" y="101"/>
                      <a:pt x="130" y="103"/>
                      <a:pt x="130" y="106"/>
                    </a:cubicBezTo>
                    <a:cubicBezTo>
                      <a:pt x="130" y="106"/>
                      <a:pt x="130" y="107"/>
                      <a:pt x="131" y="107"/>
                    </a:cubicBezTo>
                    <a:cubicBezTo>
                      <a:pt x="131" y="108"/>
                      <a:pt x="131" y="108"/>
                      <a:pt x="131" y="108"/>
                    </a:cubicBezTo>
                    <a:cubicBezTo>
                      <a:pt x="132" y="111"/>
                      <a:pt x="133" y="114"/>
                      <a:pt x="132" y="116"/>
                    </a:cubicBezTo>
                    <a:cubicBezTo>
                      <a:pt x="131" y="120"/>
                      <a:pt x="131" y="120"/>
                      <a:pt x="131" y="120"/>
                    </a:cubicBezTo>
                    <a:cubicBezTo>
                      <a:pt x="131" y="120"/>
                      <a:pt x="132" y="120"/>
                      <a:pt x="133" y="120"/>
                    </a:cubicBezTo>
                    <a:cubicBezTo>
                      <a:pt x="134" y="121"/>
                      <a:pt x="135" y="123"/>
                      <a:pt x="136" y="124"/>
                    </a:cubicBezTo>
                    <a:cubicBezTo>
                      <a:pt x="136" y="125"/>
                      <a:pt x="136" y="125"/>
                      <a:pt x="136" y="125"/>
                    </a:cubicBezTo>
                    <a:cubicBezTo>
                      <a:pt x="137" y="124"/>
                      <a:pt x="139" y="124"/>
                      <a:pt x="139" y="124"/>
                    </a:cubicBezTo>
                    <a:cubicBezTo>
                      <a:pt x="139" y="123"/>
                      <a:pt x="139" y="123"/>
                      <a:pt x="139" y="123"/>
                    </a:cubicBezTo>
                    <a:cubicBezTo>
                      <a:pt x="139" y="123"/>
                      <a:pt x="140" y="123"/>
                      <a:pt x="140" y="122"/>
                    </a:cubicBezTo>
                    <a:cubicBezTo>
                      <a:pt x="141" y="121"/>
                      <a:pt x="141" y="121"/>
                      <a:pt x="141" y="121"/>
                    </a:cubicBezTo>
                    <a:cubicBezTo>
                      <a:pt x="142" y="118"/>
                      <a:pt x="143" y="116"/>
                      <a:pt x="145" y="114"/>
                    </a:cubicBezTo>
                    <a:cubicBezTo>
                      <a:pt x="148" y="112"/>
                      <a:pt x="148" y="112"/>
                      <a:pt x="148" y="112"/>
                    </a:cubicBezTo>
                    <a:cubicBezTo>
                      <a:pt x="150" y="114"/>
                      <a:pt x="150" y="114"/>
                      <a:pt x="150" y="114"/>
                    </a:cubicBezTo>
                    <a:cubicBezTo>
                      <a:pt x="150" y="115"/>
                      <a:pt x="151" y="116"/>
                      <a:pt x="151" y="116"/>
                    </a:cubicBezTo>
                    <a:cubicBezTo>
                      <a:pt x="151" y="116"/>
                      <a:pt x="151" y="116"/>
                      <a:pt x="151" y="116"/>
                    </a:cubicBezTo>
                    <a:cubicBezTo>
                      <a:pt x="152" y="117"/>
                      <a:pt x="154" y="117"/>
                      <a:pt x="155" y="117"/>
                    </a:cubicBezTo>
                    <a:cubicBezTo>
                      <a:pt x="155" y="116"/>
                      <a:pt x="156" y="114"/>
                      <a:pt x="157" y="109"/>
                    </a:cubicBezTo>
                    <a:cubicBezTo>
                      <a:pt x="157" y="107"/>
                      <a:pt x="157" y="107"/>
                      <a:pt x="157" y="107"/>
                    </a:cubicBezTo>
                    <a:cubicBezTo>
                      <a:pt x="157" y="107"/>
                      <a:pt x="156" y="107"/>
                      <a:pt x="156" y="107"/>
                    </a:cubicBezTo>
                    <a:cubicBezTo>
                      <a:pt x="156" y="107"/>
                      <a:pt x="156" y="107"/>
                      <a:pt x="156" y="107"/>
                    </a:cubicBezTo>
                    <a:cubicBezTo>
                      <a:pt x="155" y="106"/>
                      <a:pt x="155" y="106"/>
                      <a:pt x="155" y="106"/>
                    </a:cubicBezTo>
                    <a:cubicBezTo>
                      <a:pt x="153" y="104"/>
                      <a:pt x="152" y="101"/>
                      <a:pt x="153" y="99"/>
                    </a:cubicBezTo>
                    <a:cubicBezTo>
                      <a:pt x="153" y="98"/>
                      <a:pt x="153" y="97"/>
                      <a:pt x="154" y="96"/>
                    </a:cubicBezTo>
                    <a:cubicBezTo>
                      <a:pt x="154" y="96"/>
                      <a:pt x="154" y="96"/>
                      <a:pt x="154" y="96"/>
                    </a:cubicBezTo>
                    <a:cubicBezTo>
                      <a:pt x="155" y="96"/>
                      <a:pt x="155" y="95"/>
                      <a:pt x="155" y="95"/>
                    </a:cubicBezTo>
                    <a:cubicBezTo>
                      <a:pt x="156" y="95"/>
                      <a:pt x="156" y="95"/>
                      <a:pt x="156" y="95"/>
                    </a:cubicBezTo>
                    <a:cubicBezTo>
                      <a:pt x="156" y="95"/>
                      <a:pt x="156" y="95"/>
                      <a:pt x="157" y="94"/>
                    </a:cubicBezTo>
                    <a:cubicBezTo>
                      <a:pt x="157" y="94"/>
                      <a:pt x="157" y="94"/>
                      <a:pt x="157" y="94"/>
                    </a:cubicBezTo>
                    <a:cubicBezTo>
                      <a:pt x="158" y="94"/>
                      <a:pt x="158" y="94"/>
                      <a:pt x="159" y="94"/>
                    </a:cubicBezTo>
                    <a:cubicBezTo>
                      <a:pt x="159" y="94"/>
                      <a:pt x="159" y="94"/>
                      <a:pt x="159" y="94"/>
                    </a:cubicBezTo>
                    <a:cubicBezTo>
                      <a:pt x="160" y="94"/>
                      <a:pt x="160" y="94"/>
                      <a:pt x="161" y="94"/>
                    </a:cubicBezTo>
                    <a:cubicBezTo>
                      <a:pt x="161" y="94"/>
                      <a:pt x="161" y="94"/>
                      <a:pt x="161" y="94"/>
                    </a:cubicBezTo>
                    <a:cubicBezTo>
                      <a:pt x="162" y="95"/>
                      <a:pt x="162" y="95"/>
                      <a:pt x="162" y="95"/>
                    </a:cubicBezTo>
                    <a:cubicBezTo>
                      <a:pt x="162" y="95"/>
                      <a:pt x="162" y="95"/>
                      <a:pt x="162" y="95"/>
                    </a:cubicBezTo>
                    <a:cubicBezTo>
                      <a:pt x="163" y="95"/>
                      <a:pt x="163" y="95"/>
                      <a:pt x="163" y="95"/>
                    </a:cubicBezTo>
                    <a:cubicBezTo>
                      <a:pt x="163" y="95"/>
                      <a:pt x="163" y="95"/>
                      <a:pt x="163" y="95"/>
                    </a:cubicBezTo>
                    <a:cubicBezTo>
                      <a:pt x="164" y="95"/>
                      <a:pt x="164" y="95"/>
                      <a:pt x="164" y="95"/>
                    </a:cubicBezTo>
                    <a:cubicBezTo>
                      <a:pt x="164" y="94"/>
                      <a:pt x="164" y="94"/>
                      <a:pt x="164" y="94"/>
                    </a:cubicBezTo>
                    <a:cubicBezTo>
                      <a:pt x="163" y="94"/>
                      <a:pt x="163" y="94"/>
                      <a:pt x="163" y="94"/>
                    </a:cubicBezTo>
                    <a:cubicBezTo>
                      <a:pt x="162" y="93"/>
                      <a:pt x="162" y="93"/>
                      <a:pt x="162" y="93"/>
                    </a:cubicBezTo>
                    <a:cubicBezTo>
                      <a:pt x="161" y="92"/>
                      <a:pt x="161" y="92"/>
                      <a:pt x="161" y="92"/>
                    </a:cubicBezTo>
                    <a:cubicBezTo>
                      <a:pt x="158" y="89"/>
                      <a:pt x="161" y="86"/>
                      <a:pt x="163" y="84"/>
                    </a:cubicBezTo>
                    <a:cubicBezTo>
                      <a:pt x="163" y="84"/>
                      <a:pt x="163" y="84"/>
                      <a:pt x="164" y="83"/>
                    </a:cubicBezTo>
                    <a:cubicBezTo>
                      <a:pt x="164" y="83"/>
                      <a:pt x="164" y="83"/>
                      <a:pt x="163" y="80"/>
                    </a:cubicBezTo>
                    <a:cubicBezTo>
                      <a:pt x="163" y="80"/>
                      <a:pt x="163" y="80"/>
                      <a:pt x="163" y="80"/>
                    </a:cubicBezTo>
                    <a:cubicBezTo>
                      <a:pt x="163" y="80"/>
                      <a:pt x="163" y="79"/>
                      <a:pt x="162" y="78"/>
                    </a:cubicBezTo>
                    <a:cubicBezTo>
                      <a:pt x="162" y="78"/>
                      <a:pt x="162" y="78"/>
                      <a:pt x="162" y="78"/>
                    </a:cubicBezTo>
                    <a:cubicBezTo>
                      <a:pt x="161" y="78"/>
                      <a:pt x="160" y="78"/>
                      <a:pt x="159" y="78"/>
                    </a:cubicBezTo>
                    <a:cubicBezTo>
                      <a:pt x="159" y="78"/>
                      <a:pt x="159" y="78"/>
                      <a:pt x="159" y="78"/>
                    </a:cubicBezTo>
                    <a:cubicBezTo>
                      <a:pt x="158" y="77"/>
                      <a:pt x="158" y="77"/>
                      <a:pt x="158" y="77"/>
                    </a:cubicBezTo>
                    <a:cubicBezTo>
                      <a:pt x="157" y="77"/>
                      <a:pt x="157" y="76"/>
                      <a:pt x="156" y="75"/>
                    </a:cubicBezTo>
                    <a:cubicBezTo>
                      <a:pt x="156" y="74"/>
                      <a:pt x="155" y="72"/>
                      <a:pt x="155" y="70"/>
                    </a:cubicBezTo>
                    <a:cubicBezTo>
                      <a:pt x="155" y="68"/>
                      <a:pt x="155" y="68"/>
                      <a:pt x="155" y="68"/>
                    </a:cubicBezTo>
                    <a:cubicBezTo>
                      <a:pt x="155" y="66"/>
                      <a:pt x="154" y="63"/>
                      <a:pt x="155" y="61"/>
                    </a:cubicBezTo>
                    <a:cubicBezTo>
                      <a:pt x="156" y="60"/>
                      <a:pt x="156" y="59"/>
                      <a:pt x="157" y="58"/>
                    </a:cubicBezTo>
                    <a:cubicBezTo>
                      <a:pt x="158" y="57"/>
                      <a:pt x="158" y="57"/>
                      <a:pt x="158" y="57"/>
                    </a:cubicBezTo>
                    <a:cubicBezTo>
                      <a:pt x="158" y="57"/>
                      <a:pt x="158" y="57"/>
                      <a:pt x="158" y="57"/>
                    </a:cubicBezTo>
                    <a:cubicBezTo>
                      <a:pt x="157" y="57"/>
                      <a:pt x="157" y="57"/>
                      <a:pt x="157" y="57"/>
                    </a:cubicBezTo>
                    <a:cubicBezTo>
                      <a:pt x="156" y="56"/>
                      <a:pt x="156" y="56"/>
                      <a:pt x="156" y="56"/>
                    </a:cubicBezTo>
                    <a:cubicBezTo>
                      <a:pt x="156" y="55"/>
                      <a:pt x="156" y="55"/>
                      <a:pt x="156" y="55"/>
                    </a:cubicBezTo>
                    <a:cubicBezTo>
                      <a:pt x="155" y="54"/>
                      <a:pt x="155" y="54"/>
                      <a:pt x="155" y="54"/>
                    </a:cubicBezTo>
                    <a:cubicBezTo>
                      <a:pt x="155" y="54"/>
                      <a:pt x="155" y="54"/>
                      <a:pt x="155" y="54"/>
                    </a:cubicBezTo>
                    <a:cubicBezTo>
                      <a:pt x="154" y="53"/>
                      <a:pt x="153" y="53"/>
                      <a:pt x="153" y="52"/>
                    </a:cubicBezTo>
                    <a:cubicBezTo>
                      <a:pt x="153" y="51"/>
                      <a:pt x="152" y="51"/>
                      <a:pt x="152" y="50"/>
                    </a:cubicBezTo>
                    <a:cubicBezTo>
                      <a:pt x="152" y="50"/>
                      <a:pt x="152" y="50"/>
                      <a:pt x="152" y="50"/>
                    </a:cubicBezTo>
                    <a:cubicBezTo>
                      <a:pt x="152" y="50"/>
                      <a:pt x="152" y="49"/>
                      <a:pt x="152" y="49"/>
                    </a:cubicBezTo>
                    <a:cubicBezTo>
                      <a:pt x="152" y="47"/>
                      <a:pt x="152" y="46"/>
                      <a:pt x="152" y="45"/>
                    </a:cubicBezTo>
                    <a:cubicBezTo>
                      <a:pt x="152" y="44"/>
                      <a:pt x="152" y="44"/>
                      <a:pt x="152" y="44"/>
                    </a:cubicBezTo>
                    <a:cubicBezTo>
                      <a:pt x="152" y="43"/>
                      <a:pt x="152" y="41"/>
                      <a:pt x="151" y="40"/>
                    </a:cubicBezTo>
                    <a:cubicBezTo>
                      <a:pt x="151" y="39"/>
                      <a:pt x="151" y="39"/>
                      <a:pt x="151" y="39"/>
                    </a:cubicBezTo>
                    <a:cubicBezTo>
                      <a:pt x="151" y="40"/>
                      <a:pt x="151" y="40"/>
                      <a:pt x="150" y="40"/>
                    </a:cubicBezTo>
                    <a:cubicBezTo>
                      <a:pt x="149" y="41"/>
                      <a:pt x="147" y="41"/>
                      <a:pt x="146" y="41"/>
                    </a:cubicBezTo>
                    <a:cubicBezTo>
                      <a:pt x="140" y="43"/>
                      <a:pt x="140" y="43"/>
                      <a:pt x="140" y="43"/>
                    </a:cubicBezTo>
                    <a:cubicBezTo>
                      <a:pt x="143" y="36"/>
                      <a:pt x="143" y="36"/>
                      <a:pt x="143" y="36"/>
                    </a:cubicBezTo>
                    <a:cubicBezTo>
                      <a:pt x="145" y="33"/>
                      <a:pt x="146" y="31"/>
                      <a:pt x="148" y="30"/>
                    </a:cubicBezTo>
                    <a:cubicBezTo>
                      <a:pt x="148" y="29"/>
                      <a:pt x="148" y="29"/>
                      <a:pt x="148" y="29"/>
                    </a:cubicBezTo>
                    <a:cubicBezTo>
                      <a:pt x="147" y="28"/>
                      <a:pt x="144" y="25"/>
                      <a:pt x="143" y="25"/>
                    </a:cubicBezTo>
                    <a:cubicBezTo>
                      <a:pt x="143" y="24"/>
                      <a:pt x="143" y="24"/>
                      <a:pt x="143" y="24"/>
                    </a:cubicBezTo>
                    <a:cubicBezTo>
                      <a:pt x="142" y="25"/>
                      <a:pt x="142" y="25"/>
                      <a:pt x="142" y="25"/>
                    </a:cubicBezTo>
                    <a:cubicBezTo>
                      <a:pt x="142" y="24"/>
                      <a:pt x="142" y="24"/>
                      <a:pt x="142" y="24"/>
                    </a:cubicBezTo>
                    <a:cubicBezTo>
                      <a:pt x="141" y="24"/>
                      <a:pt x="141" y="24"/>
                      <a:pt x="141" y="24"/>
                    </a:cubicBezTo>
                    <a:cubicBezTo>
                      <a:pt x="141" y="24"/>
                      <a:pt x="141" y="24"/>
                      <a:pt x="141" y="24"/>
                    </a:cubicBezTo>
                    <a:cubicBezTo>
                      <a:pt x="140" y="23"/>
                      <a:pt x="140" y="23"/>
                      <a:pt x="140" y="23"/>
                    </a:cubicBezTo>
                    <a:cubicBezTo>
                      <a:pt x="140" y="23"/>
                      <a:pt x="140" y="23"/>
                      <a:pt x="140" y="23"/>
                    </a:cubicBezTo>
                    <a:cubicBezTo>
                      <a:pt x="139" y="22"/>
                      <a:pt x="139" y="22"/>
                      <a:pt x="139" y="22"/>
                    </a:cubicBezTo>
                    <a:cubicBezTo>
                      <a:pt x="139" y="21"/>
                      <a:pt x="139" y="21"/>
                      <a:pt x="139" y="21"/>
                    </a:cubicBezTo>
                    <a:cubicBezTo>
                      <a:pt x="139" y="20"/>
                      <a:pt x="139" y="18"/>
                      <a:pt x="139" y="17"/>
                    </a:cubicBezTo>
                    <a:cubicBezTo>
                      <a:pt x="139" y="17"/>
                      <a:pt x="139" y="17"/>
                      <a:pt x="139" y="17"/>
                    </a:cubicBezTo>
                    <a:cubicBezTo>
                      <a:pt x="140" y="16"/>
                      <a:pt x="140" y="16"/>
                      <a:pt x="140" y="16"/>
                    </a:cubicBezTo>
                    <a:cubicBezTo>
                      <a:pt x="140" y="16"/>
                      <a:pt x="140" y="16"/>
                      <a:pt x="140" y="16"/>
                    </a:cubicBezTo>
                    <a:cubicBezTo>
                      <a:pt x="139" y="15"/>
                      <a:pt x="139" y="15"/>
                      <a:pt x="139" y="15"/>
                    </a:cubicBezTo>
                    <a:cubicBezTo>
                      <a:pt x="139" y="15"/>
                      <a:pt x="139" y="15"/>
                      <a:pt x="139" y="15"/>
                    </a:cubicBezTo>
                    <a:cubicBezTo>
                      <a:pt x="135" y="17"/>
                      <a:pt x="135" y="17"/>
                      <a:pt x="135" y="17"/>
                    </a:cubicBezTo>
                    <a:cubicBezTo>
                      <a:pt x="139" y="13"/>
                      <a:pt x="139" y="13"/>
                      <a:pt x="139" y="13"/>
                    </a:cubicBezTo>
                    <a:cubicBezTo>
                      <a:pt x="138" y="13"/>
                      <a:pt x="138" y="13"/>
                      <a:pt x="138" y="13"/>
                    </a:cubicBezTo>
                    <a:cubicBezTo>
                      <a:pt x="137" y="10"/>
                      <a:pt x="135" y="7"/>
                      <a:pt x="133" y="6"/>
                    </a:cubicBezTo>
                    <a:cubicBezTo>
                      <a:pt x="133" y="7"/>
                      <a:pt x="133" y="8"/>
                      <a:pt x="132" y="9"/>
                    </a:cubicBezTo>
                    <a:cubicBezTo>
                      <a:pt x="131" y="11"/>
                      <a:pt x="128" y="12"/>
                      <a:pt x="126" y="12"/>
                    </a:cubicBezTo>
                    <a:cubicBezTo>
                      <a:pt x="126" y="12"/>
                      <a:pt x="125" y="13"/>
                      <a:pt x="124" y="13"/>
                    </a:cubicBezTo>
                    <a:cubicBezTo>
                      <a:pt x="124" y="14"/>
                      <a:pt x="123" y="15"/>
                      <a:pt x="122" y="15"/>
                    </a:cubicBezTo>
                    <a:cubicBezTo>
                      <a:pt x="122" y="16"/>
                      <a:pt x="121" y="16"/>
                      <a:pt x="120" y="16"/>
                    </a:cubicBezTo>
                    <a:cubicBezTo>
                      <a:pt x="118" y="16"/>
                      <a:pt x="117" y="15"/>
                      <a:pt x="115" y="14"/>
                    </a:cubicBezTo>
                    <a:cubicBezTo>
                      <a:pt x="115" y="14"/>
                      <a:pt x="114" y="14"/>
                      <a:pt x="114" y="13"/>
                    </a:cubicBezTo>
                    <a:cubicBezTo>
                      <a:pt x="113" y="13"/>
                      <a:pt x="113" y="13"/>
                      <a:pt x="113" y="13"/>
                    </a:cubicBezTo>
                    <a:cubicBezTo>
                      <a:pt x="113" y="13"/>
                      <a:pt x="113" y="13"/>
                      <a:pt x="113" y="13"/>
                    </a:cubicBezTo>
                    <a:cubicBezTo>
                      <a:pt x="112" y="13"/>
                      <a:pt x="112" y="13"/>
                      <a:pt x="112" y="13"/>
                    </a:cubicBezTo>
                    <a:cubicBezTo>
                      <a:pt x="112" y="13"/>
                      <a:pt x="112" y="13"/>
                      <a:pt x="112" y="13"/>
                    </a:cubicBezTo>
                    <a:cubicBezTo>
                      <a:pt x="110" y="13"/>
                      <a:pt x="104" y="15"/>
                      <a:pt x="102" y="16"/>
                    </a:cubicBezTo>
                    <a:cubicBezTo>
                      <a:pt x="102" y="16"/>
                      <a:pt x="101" y="17"/>
                      <a:pt x="101" y="17"/>
                    </a:cubicBezTo>
                    <a:cubicBezTo>
                      <a:pt x="100" y="22"/>
                      <a:pt x="100" y="22"/>
                      <a:pt x="100" y="22"/>
                    </a:cubicBezTo>
                    <a:cubicBezTo>
                      <a:pt x="96" y="18"/>
                      <a:pt x="96" y="18"/>
                      <a:pt x="96" y="18"/>
                    </a:cubicBezTo>
                    <a:cubicBezTo>
                      <a:pt x="96" y="18"/>
                      <a:pt x="95" y="17"/>
                      <a:pt x="95" y="16"/>
                    </a:cubicBezTo>
                    <a:cubicBezTo>
                      <a:pt x="94" y="15"/>
                      <a:pt x="93" y="13"/>
                      <a:pt x="92" y="12"/>
                    </a:cubicBezTo>
                    <a:cubicBezTo>
                      <a:pt x="92" y="12"/>
                      <a:pt x="92" y="12"/>
                      <a:pt x="92" y="12"/>
                    </a:cubicBezTo>
                    <a:cubicBezTo>
                      <a:pt x="92" y="12"/>
                      <a:pt x="92" y="12"/>
                      <a:pt x="91" y="13"/>
                    </a:cubicBezTo>
                    <a:cubicBezTo>
                      <a:pt x="90" y="14"/>
                      <a:pt x="90" y="14"/>
                      <a:pt x="90" y="14"/>
                    </a:cubicBezTo>
                    <a:cubicBezTo>
                      <a:pt x="89" y="14"/>
                      <a:pt x="89" y="15"/>
                      <a:pt x="88" y="15"/>
                    </a:cubicBezTo>
                    <a:cubicBezTo>
                      <a:pt x="88" y="15"/>
                      <a:pt x="88" y="15"/>
                      <a:pt x="88" y="15"/>
                    </a:cubicBezTo>
                    <a:cubicBezTo>
                      <a:pt x="87" y="16"/>
                      <a:pt x="87" y="16"/>
                      <a:pt x="86" y="16"/>
                    </a:cubicBezTo>
                    <a:cubicBezTo>
                      <a:pt x="86" y="16"/>
                      <a:pt x="86" y="16"/>
                      <a:pt x="86" y="16"/>
                    </a:cubicBezTo>
                    <a:cubicBezTo>
                      <a:pt x="85" y="17"/>
                      <a:pt x="85" y="17"/>
                      <a:pt x="85" y="17"/>
                    </a:cubicBezTo>
                    <a:cubicBezTo>
                      <a:pt x="84" y="17"/>
                      <a:pt x="84" y="17"/>
                      <a:pt x="84" y="17"/>
                    </a:cubicBezTo>
                    <a:cubicBezTo>
                      <a:pt x="82" y="16"/>
                      <a:pt x="82" y="16"/>
                      <a:pt x="82" y="16"/>
                    </a:cubicBezTo>
                    <a:cubicBezTo>
                      <a:pt x="82" y="16"/>
                      <a:pt x="82" y="15"/>
                      <a:pt x="81" y="15"/>
                    </a:cubicBezTo>
                    <a:cubicBezTo>
                      <a:pt x="80" y="14"/>
                      <a:pt x="80" y="14"/>
                      <a:pt x="80" y="14"/>
                    </a:cubicBezTo>
                    <a:cubicBezTo>
                      <a:pt x="78" y="12"/>
                      <a:pt x="78" y="12"/>
                      <a:pt x="78" y="12"/>
                    </a:cubicBezTo>
                    <a:cubicBezTo>
                      <a:pt x="77" y="11"/>
                      <a:pt x="77" y="11"/>
                      <a:pt x="77" y="11"/>
                    </a:cubicBezTo>
                    <a:cubicBezTo>
                      <a:pt x="77" y="11"/>
                      <a:pt x="76" y="10"/>
                      <a:pt x="76" y="10"/>
                    </a:cubicBezTo>
                    <a:cubicBezTo>
                      <a:pt x="76" y="9"/>
                      <a:pt x="76" y="9"/>
                      <a:pt x="76" y="9"/>
                    </a:cubicBezTo>
                    <a:cubicBezTo>
                      <a:pt x="76" y="9"/>
                      <a:pt x="76" y="8"/>
                      <a:pt x="76" y="8"/>
                    </a:cubicBezTo>
                    <a:cubicBezTo>
                      <a:pt x="76" y="7"/>
                      <a:pt x="76" y="7"/>
                      <a:pt x="76" y="7"/>
                    </a:cubicBezTo>
                    <a:cubicBezTo>
                      <a:pt x="76" y="7"/>
                      <a:pt x="76" y="7"/>
                      <a:pt x="76" y="7"/>
                    </a:cubicBezTo>
                    <a:cubicBezTo>
                      <a:pt x="74" y="7"/>
                      <a:pt x="72" y="7"/>
                      <a:pt x="69" y="7"/>
                    </a:cubicBezTo>
                    <a:cubicBezTo>
                      <a:pt x="64" y="8"/>
                      <a:pt x="60" y="8"/>
                      <a:pt x="55" y="8"/>
                    </a:cubicBezTo>
                    <a:cubicBezTo>
                      <a:pt x="55" y="8"/>
                      <a:pt x="55" y="8"/>
                      <a:pt x="55" y="8"/>
                    </a:cubicBezTo>
                    <a:cubicBezTo>
                      <a:pt x="54" y="8"/>
                      <a:pt x="53" y="8"/>
                      <a:pt x="52" y="8"/>
                    </a:cubicBezTo>
                    <a:cubicBezTo>
                      <a:pt x="48" y="7"/>
                      <a:pt x="45" y="6"/>
                      <a:pt x="42" y="4"/>
                    </a:cubicBezTo>
                    <a:cubicBezTo>
                      <a:pt x="41" y="4"/>
                      <a:pt x="41" y="4"/>
                      <a:pt x="41" y="4"/>
                    </a:cubicBezTo>
                    <a:cubicBezTo>
                      <a:pt x="40" y="3"/>
                      <a:pt x="39" y="3"/>
                      <a:pt x="38" y="2"/>
                    </a:cubicBezTo>
                    <a:cubicBezTo>
                      <a:pt x="37" y="2"/>
                      <a:pt x="37" y="2"/>
                      <a:pt x="37" y="2"/>
                    </a:cubicBezTo>
                    <a:cubicBezTo>
                      <a:pt x="36" y="1"/>
                      <a:pt x="36" y="1"/>
                      <a:pt x="35" y="1"/>
                    </a:cubicBezTo>
                    <a:cubicBezTo>
                      <a:pt x="35" y="1"/>
                      <a:pt x="34" y="1"/>
                      <a:pt x="32" y="0"/>
                    </a:cubicBezTo>
                    <a:cubicBezTo>
                      <a:pt x="32" y="0"/>
                      <a:pt x="32" y="0"/>
                      <a:pt x="32" y="0"/>
                    </a:cubicBezTo>
                    <a:cubicBezTo>
                      <a:pt x="31"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6" name="Freeform 206">
              <a:extLst>
                <a:ext uri="{FF2B5EF4-FFF2-40B4-BE49-F238E27FC236}">
                  <a16:creationId xmlns:a16="http://schemas.microsoft.com/office/drawing/2014/main" id="{A16E5F5F-0FAE-4A4D-B0AC-715A9833DED7}"/>
                </a:ext>
              </a:extLst>
            </p:cNvPr>
            <p:cNvSpPr>
              <a:spLocks/>
            </p:cNvSpPr>
            <p:nvPr/>
          </p:nvSpPr>
          <p:spPr bwMode="auto">
            <a:xfrm>
              <a:off x="3363" y="1916"/>
              <a:ext cx="425" cy="295"/>
            </a:xfrm>
            <a:custGeom>
              <a:avLst/>
              <a:gdLst>
                <a:gd name="T0" fmla="*/ 107 w 180"/>
                <a:gd name="T1" fmla="*/ 3 h 125"/>
                <a:gd name="T2" fmla="*/ 94 w 180"/>
                <a:gd name="T3" fmla="*/ 11 h 125"/>
                <a:gd name="T4" fmla="*/ 82 w 180"/>
                <a:gd name="T5" fmla="*/ 16 h 125"/>
                <a:gd name="T6" fmla="*/ 76 w 180"/>
                <a:gd name="T7" fmla="*/ 21 h 125"/>
                <a:gd name="T8" fmla="*/ 72 w 180"/>
                <a:gd name="T9" fmla="*/ 20 h 125"/>
                <a:gd name="T10" fmla="*/ 60 w 180"/>
                <a:gd name="T11" fmla="*/ 31 h 125"/>
                <a:gd name="T12" fmla="*/ 53 w 180"/>
                <a:gd name="T13" fmla="*/ 33 h 125"/>
                <a:gd name="T14" fmla="*/ 53 w 180"/>
                <a:gd name="T15" fmla="*/ 43 h 125"/>
                <a:gd name="T16" fmla="*/ 48 w 180"/>
                <a:gd name="T17" fmla="*/ 44 h 125"/>
                <a:gd name="T18" fmla="*/ 43 w 180"/>
                <a:gd name="T19" fmla="*/ 45 h 125"/>
                <a:gd name="T20" fmla="*/ 33 w 180"/>
                <a:gd name="T21" fmla="*/ 39 h 125"/>
                <a:gd name="T22" fmla="*/ 30 w 180"/>
                <a:gd name="T23" fmla="*/ 52 h 125"/>
                <a:gd name="T24" fmla="*/ 26 w 180"/>
                <a:gd name="T25" fmla="*/ 64 h 125"/>
                <a:gd name="T26" fmla="*/ 17 w 180"/>
                <a:gd name="T27" fmla="*/ 72 h 125"/>
                <a:gd name="T28" fmla="*/ 4 w 180"/>
                <a:gd name="T29" fmla="*/ 76 h 125"/>
                <a:gd name="T30" fmla="*/ 0 w 180"/>
                <a:gd name="T31" fmla="*/ 95 h 125"/>
                <a:gd name="T32" fmla="*/ 0 w 180"/>
                <a:gd name="T33" fmla="*/ 106 h 125"/>
                <a:gd name="T34" fmla="*/ 8 w 180"/>
                <a:gd name="T35" fmla="*/ 111 h 125"/>
                <a:gd name="T36" fmla="*/ 16 w 180"/>
                <a:gd name="T37" fmla="*/ 122 h 125"/>
                <a:gd name="T38" fmla="*/ 36 w 180"/>
                <a:gd name="T39" fmla="*/ 117 h 125"/>
                <a:gd name="T40" fmla="*/ 45 w 180"/>
                <a:gd name="T41" fmla="*/ 117 h 125"/>
                <a:gd name="T42" fmla="*/ 54 w 180"/>
                <a:gd name="T43" fmla="*/ 121 h 125"/>
                <a:gd name="T44" fmla="*/ 55 w 180"/>
                <a:gd name="T45" fmla="*/ 105 h 125"/>
                <a:gd name="T46" fmla="*/ 57 w 180"/>
                <a:gd name="T47" fmla="*/ 89 h 125"/>
                <a:gd name="T48" fmla="*/ 76 w 180"/>
                <a:gd name="T49" fmla="*/ 92 h 125"/>
                <a:gd name="T50" fmla="*/ 107 w 180"/>
                <a:gd name="T51" fmla="*/ 92 h 125"/>
                <a:gd name="T52" fmla="*/ 111 w 180"/>
                <a:gd name="T53" fmla="*/ 92 h 125"/>
                <a:gd name="T54" fmla="*/ 114 w 180"/>
                <a:gd name="T55" fmla="*/ 91 h 125"/>
                <a:gd name="T56" fmla="*/ 119 w 180"/>
                <a:gd name="T57" fmla="*/ 89 h 125"/>
                <a:gd name="T58" fmla="*/ 125 w 180"/>
                <a:gd name="T59" fmla="*/ 89 h 125"/>
                <a:gd name="T60" fmla="*/ 146 w 180"/>
                <a:gd name="T61" fmla="*/ 91 h 125"/>
                <a:gd name="T62" fmla="*/ 154 w 180"/>
                <a:gd name="T63" fmla="*/ 85 h 125"/>
                <a:gd name="T64" fmla="*/ 164 w 180"/>
                <a:gd name="T65" fmla="*/ 81 h 125"/>
                <a:gd name="T66" fmla="*/ 172 w 180"/>
                <a:gd name="T67" fmla="*/ 81 h 125"/>
                <a:gd name="T68" fmla="*/ 180 w 180"/>
                <a:gd name="T69" fmla="*/ 74 h 125"/>
                <a:gd name="T70" fmla="*/ 174 w 180"/>
                <a:gd name="T71" fmla="*/ 66 h 125"/>
                <a:gd name="T72" fmla="*/ 173 w 180"/>
                <a:gd name="T73" fmla="*/ 60 h 125"/>
                <a:gd name="T74" fmla="*/ 176 w 180"/>
                <a:gd name="T75" fmla="*/ 58 h 125"/>
                <a:gd name="T76" fmla="*/ 167 w 180"/>
                <a:gd name="T77" fmla="*/ 59 h 125"/>
                <a:gd name="T78" fmla="*/ 158 w 180"/>
                <a:gd name="T79" fmla="*/ 54 h 125"/>
                <a:gd name="T80" fmla="*/ 149 w 180"/>
                <a:gd name="T81" fmla="*/ 49 h 125"/>
                <a:gd name="T82" fmla="*/ 147 w 180"/>
                <a:gd name="T83" fmla="*/ 47 h 125"/>
                <a:gd name="T84" fmla="*/ 149 w 180"/>
                <a:gd name="T85" fmla="*/ 37 h 125"/>
                <a:gd name="T86" fmla="*/ 138 w 180"/>
                <a:gd name="T87" fmla="*/ 31 h 125"/>
                <a:gd name="T88" fmla="*/ 132 w 180"/>
                <a:gd name="T89" fmla="*/ 18 h 125"/>
                <a:gd name="T90" fmla="*/ 125 w 180"/>
                <a:gd name="T91" fmla="*/ 1 h 125"/>
                <a:gd name="T92" fmla="*/ 119 w 180"/>
                <a:gd name="T93" fmla="*/ 0 h 125"/>
                <a:gd name="T94" fmla="*/ 114 w 180"/>
                <a:gd name="T9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0" h="125">
                  <a:moveTo>
                    <a:pt x="111" y="0"/>
                  </a:moveTo>
                  <a:cubicBezTo>
                    <a:pt x="111" y="0"/>
                    <a:pt x="111" y="0"/>
                    <a:pt x="111" y="0"/>
                  </a:cubicBezTo>
                  <a:cubicBezTo>
                    <a:pt x="109" y="1"/>
                    <a:pt x="109" y="1"/>
                    <a:pt x="109" y="1"/>
                  </a:cubicBezTo>
                  <a:cubicBezTo>
                    <a:pt x="108" y="2"/>
                    <a:pt x="108" y="2"/>
                    <a:pt x="107" y="3"/>
                  </a:cubicBezTo>
                  <a:cubicBezTo>
                    <a:pt x="106" y="4"/>
                    <a:pt x="106" y="4"/>
                    <a:pt x="106" y="4"/>
                  </a:cubicBezTo>
                  <a:cubicBezTo>
                    <a:pt x="105" y="5"/>
                    <a:pt x="103" y="6"/>
                    <a:pt x="102" y="7"/>
                  </a:cubicBezTo>
                  <a:cubicBezTo>
                    <a:pt x="99" y="8"/>
                    <a:pt x="97" y="9"/>
                    <a:pt x="94" y="10"/>
                  </a:cubicBezTo>
                  <a:cubicBezTo>
                    <a:pt x="94" y="11"/>
                    <a:pt x="94" y="11"/>
                    <a:pt x="94" y="11"/>
                  </a:cubicBezTo>
                  <a:cubicBezTo>
                    <a:pt x="93" y="11"/>
                    <a:pt x="92" y="11"/>
                    <a:pt x="91" y="12"/>
                  </a:cubicBezTo>
                  <a:cubicBezTo>
                    <a:pt x="90" y="12"/>
                    <a:pt x="90" y="12"/>
                    <a:pt x="90" y="12"/>
                  </a:cubicBezTo>
                  <a:cubicBezTo>
                    <a:pt x="88" y="13"/>
                    <a:pt x="86" y="14"/>
                    <a:pt x="84" y="14"/>
                  </a:cubicBezTo>
                  <a:cubicBezTo>
                    <a:pt x="83" y="15"/>
                    <a:pt x="83" y="15"/>
                    <a:pt x="82" y="16"/>
                  </a:cubicBezTo>
                  <a:cubicBezTo>
                    <a:pt x="82" y="17"/>
                    <a:pt x="82" y="18"/>
                    <a:pt x="81" y="19"/>
                  </a:cubicBezTo>
                  <a:cubicBezTo>
                    <a:pt x="81" y="20"/>
                    <a:pt x="80" y="20"/>
                    <a:pt x="79" y="21"/>
                  </a:cubicBezTo>
                  <a:cubicBezTo>
                    <a:pt x="78" y="21"/>
                    <a:pt x="78" y="21"/>
                    <a:pt x="77" y="21"/>
                  </a:cubicBezTo>
                  <a:cubicBezTo>
                    <a:pt x="77" y="21"/>
                    <a:pt x="76" y="21"/>
                    <a:pt x="76" y="21"/>
                  </a:cubicBezTo>
                  <a:cubicBezTo>
                    <a:pt x="76" y="21"/>
                    <a:pt x="75" y="21"/>
                    <a:pt x="75" y="21"/>
                  </a:cubicBezTo>
                  <a:cubicBezTo>
                    <a:pt x="74" y="21"/>
                    <a:pt x="74" y="21"/>
                    <a:pt x="74" y="21"/>
                  </a:cubicBezTo>
                  <a:cubicBezTo>
                    <a:pt x="74" y="21"/>
                    <a:pt x="73" y="21"/>
                    <a:pt x="73" y="20"/>
                  </a:cubicBezTo>
                  <a:cubicBezTo>
                    <a:pt x="72" y="20"/>
                    <a:pt x="72" y="20"/>
                    <a:pt x="72" y="20"/>
                  </a:cubicBezTo>
                  <a:cubicBezTo>
                    <a:pt x="71" y="20"/>
                    <a:pt x="70" y="20"/>
                    <a:pt x="69" y="20"/>
                  </a:cubicBezTo>
                  <a:cubicBezTo>
                    <a:pt x="66" y="20"/>
                    <a:pt x="64" y="23"/>
                    <a:pt x="62" y="26"/>
                  </a:cubicBezTo>
                  <a:cubicBezTo>
                    <a:pt x="60" y="30"/>
                    <a:pt x="60" y="30"/>
                    <a:pt x="60" y="30"/>
                  </a:cubicBezTo>
                  <a:cubicBezTo>
                    <a:pt x="60" y="30"/>
                    <a:pt x="60" y="31"/>
                    <a:pt x="60" y="31"/>
                  </a:cubicBezTo>
                  <a:cubicBezTo>
                    <a:pt x="59" y="33"/>
                    <a:pt x="58" y="34"/>
                    <a:pt x="56" y="34"/>
                  </a:cubicBezTo>
                  <a:cubicBezTo>
                    <a:pt x="55" y="34"/>
                    <a:pt x="55" y="34"/>
                    <a:pt x="54" y="34"/>
                  </a:cubicBezTo>
                  <a:cubicBezTo>
                    <a:pt x="53" y="34"/>
                    <a:pt x="53" y="34"/>
                    <a:pt x="53" y="34"/>
                  </a:cubicBezTo>
                  <a:cubicBezTo>
                    <a:pt x="53" y="33"/>
                    <a:pt x="53" y="33"/>
                    <a:pt x="53" y="33"/>
                  </a:cubicBezTo>
                  <a:cubicBezTo>
                    <a:pt x="53" y="35"/>
                    <a:pt x="53" y="36"/>
                    <a:pt x="53" y="37"/>
                  </a:cubicBezTo>
                  <a:cubicBezTo>
                    <a:pt x="53" y="38"/>
                    <a:pt x="53" y="38"/>
                    <a:pt x="53" y="38"/>
                  </a:cubicBezTo>
                  <a:cubicBezTo>
                    <a:pt x="53" y="38"/>
                    <a:pt x="53" y="39"/>
                    <a:pt x="53" y="40"/>
                  </a:cubicBezTo>
                  <a:cubicBezTo>
                    <a:pt x="53" y="43"/>
                    <a:pt x="53" y="43"/>
                    <a:pt x="53" y="43"/>
                  </a:cubicBezTo>
                  <a:cubicBezTo>
                    <a:pt x="50" y="43"/>
                    <a:pt x="50" y="43"/>
                    <a:pt x="50" y="43"/>
                  </a:cubicBezTo>
                  <a:cubicBezTo>
                    <a:pt x="49" y="43"/>
                    <a:pt x="49" y="43"/>
                    <a:pt x="49" y="43"/>
                  </a:cubicBezTo>
                  <a:cubicBezTo>
                    <a:pt x="48" y="44"/>
                    <a:pt x="48" y="44"/>
                    <a:pt x="48" y="44"/>
                  </a:cubicBezTo>
                  <a:cubicBezTo>
                    <a:pt x="48" y="44"/>
                    <a:pt x="48" y="44"/>
                    <a:pt x="48" y="44"/>
                  </a:cubicBezTo>
                  <a:cubicBezTo>
                    <a:pt x="48" y="45"/>
                    <a:pt x="48" y="45"/>
                    <a:pt x="48" y="45"/>
                  </a:cubicBezTo>
                  <a:cubicBezTo>
                    <a:pt x="48" y="45"/>
                    <a:pt x="48" y="45"/>
                    <a:pt x="48" y="45"/>
                  </a:cubicBezTo>
                  <a:cubicBezTo>
                    <a:pt x="47" y="45"/>
                    <a:pt x="46" y="46"/>
                    <a:pt x="45" y="46"/>
                  </a:cubicBezTo>
                  <a:cubicBezTo>
                    <a:pt x="44" y="46"/>
                    <a:pt x="44" y="45"/>
                    <a:pt x="43" y="45"/>
                  </a:cubicBezTo>
                  <a:cubicBezTo>
                    <a:pt x="43" y="45"/>
                    <a:pt x="43" y="45"/>
                    <a:pt x="43" y="45"/>
                  </a:cubicBezTo>
                  <a:cubicBezTo>
                    <a:pt x="42" y="45"/>
                    <a:pt x="42" y="45"/>
                    <a:pt x="42" y="44"/>
                  </a:cubicBezTo>
                  <a:cubicBezTo>
                    <a:pt x="41" y="44"/>
                    <a:pt x="41" y="44"/>
                    <a:pt x="41" y="44"/>
                  </a:cubicBezTo>
                  <a:cubicBezTo>
                    <a:pt x="38" y="42"/>
                    <a:pt x="35" y="41"/>
                    <a:pt x="33" y="39"/>
                  </a:cubicBezTo>
                  <a:cubicBezTo>
                    <a:pt x="33" y="39"/>
                    <a:pt x="33" y="39"/>
                    <a:pt x="33" y="39"/>
                  </a:cubicBezTo>
                  <a:cubicBezTo>
                    <a:pt x="32" y="41"/>
                    <a:pt x="30" y="43"/>
                    <a:pt x="29" y="46"/>
                  </a:cubicBezTo>
                  <a:cubicBezTo>
                    <a:pt x="30" y="46"/>
                    <a:pt x="30" y="47"/>
                    <a:pt x="30" y="49"/>
                  </a:cubicBezTo>
                  <a:cubicBezTo>
                    <a:pt x="30" y="52"/>
                    <a:pt x="30" y="52"/>
                    <a:pt x="30" y="52"/>
                  </a:cubicBezTo>
                  <a:cubicBezTo>
                    <a:pt x="30" y="53"/>
                    <a:pt x="29" y="55"/>
                    <a:pt x="26" y="56"/>
                  </a:cubicBezTo>
                  <a:cubicBezTo>
                    <a:pt x="26" y="56"/>
                    <a:pt x="25" y="56"/>
                    <a:pt x="25" y="56"/>
                  </a:cubicBezTo>
                  <a:cubicBezTo>
                    <a:pt x="25" y="58"/>
                    <a:pt x="26" y="60"/>
                    <a:pt x="26" y="62"/>
                  </a:cubicBezTo>
                  <a:cubicBezTo>
                    <a:pt x="26" y="62"/>
                    <a:pt x="26" y="63"/>
                    <a:pt x="26" y="64"/>
                  </a:cubicBezTo>
                  <a:cubicBezTo>
                    <a:pt x="26" y="64"/>
                    <a:pt x="26" y="65"/>
                    <a:pt x="25" y="66"/>
                  </a:cubicBezTo>
                  <a:cubicBezTo>
                    <a:pt x="25" y="66"/>
                    <a:pt x="24" y="66"/>
                    <a:pt x="24" y="67"/>
                  </a:cubicBezTo>
                  <a:cubicBezTo>
                    <a:pt x="24" y="67"/>
                    <a:pt x="24" y="67"/>
                    <a:pt x="24" y="67"/>
                  </a:cubicBezTo>
                  <a:cubicBezTo>
                    <a:pt x="22" y="69"/>
                    <a:pt x="20" y="71"/>
                    <a:pt x="17" y="72"/>
                  </a:cubicBezTo>
                  <a:cubicBezTo>
                    <a:pt x="15" y="73"/>
                    <a:pt x="14" y="73"/>
                    <a:pt x="12" y="74"/>
                  </a:cubicBezTo>
                  <a:cubicBezTo>
                    <a:pt x="11" y="74"/>
                    <a:pt x="10" y="74"/>
                    <a:pt x="9" y="74"/>
                  </a:cubicBezTo>
                  <a:cubicBezTo>
                    <a:pt x="8" y="74"/>
                    <a:pt x="8" y="75"/>
                    <a:pt x="7" y="75"/>
                  </a:cubicBezTo>
                  <a:cubicBezTo>
                    <a:pt x="4" y="76"/>
                    <a:pt x="4" y="76"/>
                    <a:pt x="4" y="76"/>
                  </a:cubicBezTo>
                  <a:cubicBezTo>
                    <a:pt x="4" y="76"/>
                    <a:pt x="4" y="76"/>
                    <a:pt x="4" y="76"/>
                  </a:cubicBezTo>
                  <a:cubicBezTo>
                    <a:pt x="6" y="79"/>
                    <a:pt x="7" y="83"/>
                    <a:pt x="6" y="87"/>
                  </a:cubicBezTo>
                  <a:cubicBezTo>
                    <a:pt x="6" y="88"/>
                    <a:pt x="6" y="88"/>
                    <a:pt x="6" y="88"/>
                  </a:cubicBezTo>
                  <a:cubicBezTo>
                    <a:pt x="5" y="91"/>
                    <a:pt x="4" y="93"/>
                    <a:pt x="0" y="95"/>
                  </a:cubicBezTo>
                  <a:cubicBezTo>
                    <a:pt x="0" y="96"/>
                    <a:pt x="0" y="97"/>
                    <a:pt x="0" y="98"/>
                  </a:cubicBezTo>
                  <a:cubicBezTo>
                    <a:pt x="0" y="100"/>
                    <a:pt x="1" y="101"/>
                    <a:pt x="1" y="102"/>
                  </a:cubicBezTo>
                  <a:cubicBezTo>
                    <a:pt x="1" y="102"/>
                    <a:pt x="0" y="104"/>
                    <a:pt x="0" y="105"/>
                  </a:cubicBezTo>
                  <a:cubicBezTo>
                    <a:pt x="0" y="106"/>
                    <a:pt x="0" y="106"/>
                    <a:pt x="0" y="106"/>
                  </a:cubicBezTo>
                  <a:cubicBezTo>
                    <a:pt x="0" y="107"/>
                    <a:pt x="1" y="107"/>
                    <a:pt x="1" y="107"/>
                  </a:cubicBezTo>
                  <a:cubicBezTo>
                    <a:pt x="2" y="107"/>
                    <a:pt x="3" y="108"/>
                    <a:pt x="4" y="108"/>
                  </a:cubicBezTo>
                  <a:cubicBezTo>
                    <a:pt x="4" y="108"/>
                    <a:pt x="4" y="108"/>
                    <a:pt x="4" y="108"/>
                  </a:cubicBezTo>
                  <a:cubicBezTo>
                    <a:pt x="6" y="109"/>
                    <a:pt x="7" y="109"/>
                    <a:pt x="8" y="111"/>
                  </a:cubicBezTo>
                  <a:cubicBezTo>
                    <a:pt x="9" y="112"/>
                    <a:pt x="10" y="112"/>
                    <a:pt x="10" y="113"/>
                  </a:cubicBezTo>
                  <a:cubicBezTo>
                    <a:pt x="11" y="116"/>
                    <a:pt x="11" y="116"/>
                    <a:pt x="11" y="116"/>
                  </a:cubicBezTo>
                  <a:cubicBezTo>
                    <a:pt x="12" y="119"/>
                    <a:pt x="13" y="121"/>
                    <a:pt x="15" y="122"/>
                  </a:cubicBezTo>
                  <a:cubicBezTo>
                    <a:pt x="15" y="122"/>
                    <a:pt x="16" y="122"/>
                    <a:pt x="16" y="122"/>
                  </a:cubicBezTo>
                  <a:cubicBezTo>
                    <a:pt x="17" y="122"/>
                    <a:pt x="17" y="122"/>
                    <a:pt x="17" y="122"/>
                  </a:cubicBezTo>
                  <a:cubicBezTo>
                    <a:pt x="20" y="124"/>
                    <a:pt x="22" y="124"/>
                    <a:pt x="24" y="125"/>
                  </a:cubicBezTo>
                  <a:cubicBezTo>
                    <a:pt x="26" y="122"/>
                    <a:pt x="30" y="120"/>
                    <a:pt x="33" y="118"/>
                  </a:cubicBezTo>
                  <a:cubicBezTo>
                    <a:pt x="34" y="118"/>
                    <a:pt x="35" y="118"/>
                    <a:pt x="36" y="117"/>
                  </a:cubicBezTo>
                  <a:cubicBezTo>
                    <a:pt x="38" y="117"/>
                    <a:pt x="40" y="117"/>
                    <a:pt x="42" y="117"/>
                  </a:cubicBezTo>
                  <a:cubicBezTo>
                    <a:pt x="43" y="117"/>
                    <a:pt x="43" y="117"/>
                    <a:pt x="43" y="117"/>
                  </a:cubicBezTo>
                  <a:cubicBezTo>
                    <a:pt x="44" y="117"/>
                    <a:pt x="44" y="117"/>
                    <a:pt x="44" y="117"/>
                  </a:cubicBezTo>
                  <a:cubicBezTo>
                    <a:pt x="44" y="117"/>
                    <a:pt x="45" y="117"/>
                    <a:pt x="45" y="117"/>
                  </a:cubicBezTo>
                  <a:cubicBezTo>
                    <a:pt x="47" y="117"/>
                    <a:pt x="47" y="117"/>
                    <a:pt x="47" y="117"/>
                  </a:cubicBezTo>
                  <a:cubicBezTo>
                    <a:pt x="47" y="117"/>
                    <a:pt x="47" y="117"/>
                    <a:pt x="47" y="117"/>
                  </a:cubicBezTo>
                  <a:cubicBezTo>
                    <a:pt x="48" y="117"/>
                    <a:pt x="48" y="117"/>
                    <a:pt x="49" y="117"/>
                  </a:cubicBezTo>
                  <a:cubicBezTo>
                    <a:pt x="53" y="118"/>
                    <a:pt x="54" y="120"/>
                    <a:pt x="54" y="121"/>
                  </a:cubicBezTo>
                  <a:cubicBezTo>
                    <a:pt x="54" y="121"/>
                    <a:pt x="55" y="122"/>
                    <a:pt x="56" y="122"/>
                  </a:cubicBezTo>
                  <a:cubicBezTo>
                    <a:pt x="57" y="123"/>
                    <a:pt x="57" y="123"/>
                    <a:pt x="58" y="124"/>
                  </a:cubicBezTo>
                  <a:cubicBezTo>
                    <a:pt x="58" y="123"/>
                    <a:pt x="58" y="122"/>
                    <a:pt x="58" y="122"/>
                  </a:cubicBezTo>
                  <a:cubicBezTo>
                    <a:pt x="58" y="116"/>
                    <a:pt x="56" y="109"/>
                    <a:pt x="55" y="105"/>
                  </a:cubicBezTo>
                  <a:cubicBezTo>
                    <a:pt x="55" y="104"/>
                    <a:pt x="55" y="104"/>
                    <a:pt x="55" y="104"/>
                  </a:cubicBezTo>
                  <a:cubicBezTo>
                    <a:pt x="54" y="101"/>
                    <a:pt x="55" y="98"/>
                    <a:pt x="56" y="96"/>
                  </a:cubicBezTo>
                  <a:cubicBezTo>
                    <a:pt x="56" y="95"/>
                    <a:pt x="57" y="95"/>
                    <a:pt x="57" y="95"/>
                  </a:cubicBezTo>
                  <a:cubicBezTo>
                    <a:pt x="57" y="89"/>
                    <a:pt x="57" y="89"/>
                    <a:pt x="57" y="89"/>
                  </a:cubicBezTo>
                  <a:cubicBezTo>
                    <a:pt x="61" y="92"/>
                    <a:pt x="61" y="92"/>
                    <a:pt x="61" y="92"/>
                  </a:cubicBezTo>
                  <a:cubicBezTo>
                    <a:pt x="62" y="92"/>
                    <a:pt x="64" y="92"/>
                    <a:pt x="69" y="92"/>
                  </a:cubicBezTo>
                  <a:cubicBezTo>
                    <a:pt x="70" y="92"/>
                    <a:pt x="72" y="92"/>
                    <a:pt x="73" y="92"/>
                  </a:cubicBezTo>
                  <a:cubicBezTo>
                    <a:pt x="74" y="92"/>
                    <a:pt x="75" y="92"/>
                    <a:pt x="76" y="92"/>
                  </a:cubicBezTo>
                  <a:cubicBezTo>
                    <a:pt x="76" y="92"/>
                    <a:pt x="76" y="92"/>
                    <a:pt x="76" y="92"/>
                  </a:cubicBezTo>
                  <a:cubicBezTo>
                    <a:pt x="84" y="92"/>
                    <a:pt x="91" y="91"/>
                    <a:pt x="97" y="91"/>
                  </a:cubicBezTo>
                  <a:cubicBezTo>
                    <a:pt x="100" y="91"/>
                    <a:pt x="104" y="91"/>
                    <a:pt x="106" y="92"/>
                  </a:cubicBezTo>
                  <a:cubicBezTo>
                    <a:pt x="107" y="92"/>
                    <a:pt x="107" y="92"/>
                    <a:pt x="107" y="92"/>
                  </a:cubicBezTo>
                  <a:cubicBezTo>
                    <a:pt x="108" y="92"/>
                    <a:pt x="108" y="92"/>
                    <a:pt x="109" y="92"/>
                  </a:cubicBezTo>
                  <a:cubicBezTo>
                    <a:pt x="109" y="92"/>
                    <a:pt x="109" y="92"/>
                    <a:pt x="110" y="92"/>
                  </a:cubicBezTo>
                  <a:cubicBezTo>
                    <a:pt x="110" y="92"/>
                    <a:pt x="110" y="92"/>
                    <a:pt x="110" y="92"/>
                  </a:cubicBezTo>
                  <a:cubicBezTo>
                    <a:pt x="111" y="92"/>
                    <a:pt x="111" y="92"/>
                    <a:pt x="111" y="92"/>
                  </a:cubicBezTo>
                  <a:cubicBezTo>
                    <a:pt x="112" y="92"/>
                    <a:pt x="112" y="92"/>
                    <a:pt x="112" y="92"/>
                  </a:cubicBezTo>
                  <a:cubicBezTo>
                    <a:pt x="113" y="92"/>
                    <a:pt x="113" y="92"/>
                    <a:pt x="113" y="92"/>
                  </a:cubicBezTo>
                  <a:cubicBezTo>
                    <a:pt x="114" y="92"/>
                    <a:pt x="114" y="92"/>
                    <a:pt x="114" y="92"/>
                  </a:cubicBezTo>
                  <a:cubicBezTo>
                    <a:pt x="114" y="91"/>
                    <a:pt x="114" y="91"/>
                    <a:pt x="114" y="91"/>
                  </a:cubicBezTo>
                  <a:cubicBezTo>
                    <a:pt x="115" y="91"/>
                    <a:pt x="115" y="91"/>
                    <a:pt x="115" y="91"/>
                  </a:cubicBezTo>
                  <a:cubicBezTo>
                    <a:pt x="115" y="90"/>
                    <a:pt x="116" y="90"/>
                    <a:pt x="116" y="90"/>
                  </a:cubicBezTo>
                  <a:cubicBezTo>
                    <a:pt x="117" y="90"/>
                    <a:pt x="117" y="90"/>
                    <a:pt x="117" y="90"/>
                  </a:cubicBezTo>
                  <a:cubicBezTo>
                    <a:pt x="117" y="89"/>
                    <a:pt x="118" y="89"/>
                    <a:pt x="119" y="89"/>
                  </a:cubicBezTo>
                  <a:cubicBezTo>
                    <a:pt x="119" y="89"/>
                    <a:pt x="119" y="89"/>
                    <a:pt x="119" y="89"/>
                  </a:cubicBezTo>
                  <a:cubicBezTo>
                    <a:pt x="120" y="89"/>
                    <a:pt x="121" y="88"/>
                    <a:pt x="122" y="88"/>
                  </a:cubicBezTo>
                  <a:cubicBezTo>
                    <a:pt x="122" y="88"/>
                    <a:pt x="122" y="88"/>
                    <a:pt x="122" y="88"/>
                  </a:cubicBezTo>
                  <a:cubicBezTo>
                    <a:pt x="123" y="88"/>
                    <a:pt x="124" y="89"/>
                    <a:pt x="125" y="89"/>
                  </a:cubicBezTo>
                  <a:cubicBezTo>
                    <a:pt x="125" y="89"/>
                    <a:pt x="125" y="89"/>
                    <a:pt x="125" y="89"/>
                  </a:cubicBezTo>
                  <a:cubicBezTo>
                    <a:pt x="125" y="89"/>
                    <a:pt x="125" y="89"/>
                    <a:pt x="125" y="89"/>
                  </a:cubicBezTo>
                  <a:cubicBezTo>
                    <a:pt x="131" y="90"/>
                    <a:pt x="137" y="91"/>
                    <a:pt x="142" y="92"/>
                  </a:cubicBezTo>
                  <a:cubicBezTo>
                    <a:pt x="146" y="91"/>
                    <a:pt x="146" y="91"/>
                    <a:pt x="146" y="91"/>
                  </a:cubicBezTo>
                  <a:cubicBezTo>
                    <a:pt x="147" y="89"/>
                    <a:pt x="147" y="89"/>
                    <a:pt x="147" y="89"/>
                  </a:cubicBezTo>
                  <a:cubicBezTo>
                    <a:pt x="149" y="91"/>
                    <a:pt x="149" y="91"/>
                    <a:pt x="149" y="91"/>
                  </a:cubicBezTo>
                  <a:cubicBezTo>
                    <a:pt x="149" y="90"/>
                    <a:pt x="149" y="90"/>
                    <a:pt x="150" y="89"/>
                  </a:cubicBezTo>
                  <a:cubicBezTo>
                    <a:pt x="151" y="87"/>
                    <a:pt x="153" y="86"/>
                    <a:pt x="154" y="85"/>
                  </a:cubicBezTo>
                  <a:cubicBezTo>
                    <a:pt x="155" y="83"/>
                    <a:pt x="157" y="82"/>
                    <a:pt x="159" y="81"/>
                  </a:cubicBezTo>
                  <a:cubicBezTo>
                    <a:pt x="160" y="81"/>
                    <a:pt x="160" y="81"/>
                    <a:pt x="161" y="81"/>
                  </a:cubicBezTo>
                  <a:cubicBezTo>
                    <a:pt x="162" y="81"/>
                    <a:pt x="163" y="81"/>
                    <a:pt x="164" y="81"/>
                  </a:cubicBezTo>
                  <a:cubicBezTo>
                    <a:pt x="164" y="81"/>
                    <a:pt x="164" y="81"/>
                    <a:pt x="164" y="81"/>
                  </a:cubicBezTo>
                  <a:cubicBezTo>
                    <a:pt x="165" y="81"/>
                    <a:pt x="166" y="81"/>
                    <a:pt x="167" y="81"/>
                  </a:cubicBezTo>
                  <a:cubicBezTo>
                    <a:pt x="168" y="81"/>
                    <a:pt x="169" y="81"/>
                    <a:pt x="169" y="81"/>
                  </a:cubicBezTo>
                  <a:cubicBezTo>
                    <a:pt x="170" y="81"/>
                    <a:pt x="170" y="81"/>
                    <a:pt x="170" y="81"/>
                  </a:cubicBezTo>
                  <a:cubicBezTo>
                    <a:pt x="171" y="81"/>
                    <a:pt x="171" y="81"/>
                    <a:pt x="172" y="81"/>
                  </a:cubicBezTo>
                  <a:cubicBezTo>
                    <a:pt x="172" y="81"/>
                    <a:pt x="172" y="81"/>
                    <a:pt x="172" y="81"/>
                  </a:cubicBezTo>
                  <a:cubicBezTo>
                    <a:pt x="173" y="81"/>
                    <a:pt x="173" y="81"/>
                    <a:pt x="173" y="81"/>
                  </a:cubicBezTo>
                  <a:cubicBezTo>
                    <a:pt x="174" y="81"/>
                    <a:pt x="175" y="80"/>
                    <a:pt x="177" y="79"/>
                  </a:cubicBezTo>
                  <a:cubicBezTo>
                    <a:pt x="177" y="78"/>
                    <a:pt x="179" y="76"/>
                    <a:pt x="180" y="74"/>
                  </a:cubicBezTo>
                  <a:cubicBezTo>
                    <a:pt x="180" y="74"/>
                    <a:pt x="180" y="74"/>
                    <a:pt x="180" y="74"/>
                  </a:cubicBezTo>
                  <a:cubicBezTo>
                    <a:pt x="179" y="73"/>
                    <a:pt x="178" y="72"/>
                    <a:pt x="177" y="71"/>
                  </a:cubicBezTo>
                  <a:cubicBezTo>
                    <a:pt x="177" y="70"/>
                    <a:pt x="177" y="70"/>
                    <a:pt x="177" y="70"/>
                  </a:cubicBezTo>
                  <a:cubicBezTo>
                    <a:pt x="176" y="69"/>
                    <a:pt x="175" y="68"/>
                    <a:pt x="174" y="66"/>
                  </a:cubicBezTo>
                  <a:cubicBezTo>
                    <a:pt x="174" y="66"/>
                    <a:pt x="174" y="66"/>
                    <a:pt x="174" y="66"/>
                  </a:cubicBezTo>
                  <a:cubicBezTo>
                    <a:pt x="173" y="65"/>
                    <a:pt x="173" y="65"/>
                    <a:pt x="172" y="64"/>
                  </a:cubicBezTo>
                  <a:cubicBezTo>
                    <a:pt x="171" y="62"/>
                    <a:pt x="171" y="62"/>
                    <a:pt x="171" y="62"/>
                  </a:cubicBezTo>
                  <a:cubicBezTo>
                    <a:pt x="173" y="60"/>
                    <a:pt x="173" y="60"/>
                    <a:pt x="173" y="60"/>
                  </a:cubicBezTo>
                  <a:cubicBezTo>
                    <a:pt x="173" y="60"/>
                    <a:pt x="174" y="59"/>
                    <a:pt x="174" y="59"/>
                  </a:cubicBezTo>
                  <a:cubicBezTo>
                    <a:pt x="175" y="59"/>
                    <a:pt x="175" y="59"/>
                    <a:pt x="175" y="59"/>
                  </a:cubicBezTo>
                  <a:cubicBezTo>
                    <a:pt x="176" y="58"/>
                    <a:pt x="176" y="58"/>
                    <a:pt x="176" y="58"/>
                  </a:cubicBezTo>
                  <a:cubicBezTo>
                    <a:pt x="176" y="58"/>
                    <a:pt x="176" y="58"/>
                    <a:pt x="176" y="58"/>
                  </a:cubicBezTo>
                  <a:cubicBezTo>
                    <a:pt x="175" y="57"/>
                    <a:pt x="175" y="57"/>
                    <a:pt x="175" y="57"/>
                  </a:cubicBezTo>
                  <a:cubicBezTo>
                    <a:pt x="174" y="58"/>
                    <a:pt x="172" y="58"/>
                    <a:pt x="171" y="58"/>
                  </a:cubicBezTo>
                  <a:cubicBezTo>
                    <a:pt x="168" y="59"/>
                    <a:pt x="168" y="59"/>
                    <a:pt x="168" y="59"/>
                  </a:cubicBezTo>
                  <a:cubicBezTo>
                    <a:pt x="168" y="59"/>
                    <a:pt x="168" y="59"/>
                    <a:pt x="167" y="59"/>
                  </a:cubicBezTo>
                  <a:cubicBezTo>
                    <a:pt x="165" y="59"/>
                    <a:pt x="163" y="58"/>
                    <a:pt x="161" y="56"/>
                  </a:cubicBezTo>
                  <a:cubicBezTo>
                    <a:pt x="161" y="56"/>
                    <a:pt x="160" y="55"/>
                    <a:pt x="160" y="55"/>
                  </a:cubicBezTo>
                  <a:cubicBezTo>
                    <a:pt x="160" y="55"/>
                    <a:pt x="159" y="55"/>
                    <a:pt x="158" y="55"/>
                  </a:cubicBezTo>
                  <a:cubicBezTo>
                    <a:pt x="158" y="54"/>
                    <a:pt x="158" y="54"/>
                    <a:pt x="158" y="54"/>
                  </a:cubicBezTo>
                  <a:cubicBezTo>
                    <a:pt x="156" y="53"/>
                    <a:pt x="153" y="52"/>
                    <a:pt x="151" y="51"/>
                  </a:cubicBezTo>
                  <a:cubicBezTo>
                    <a:pt x="151" y="50"/>
                    <a:pt x="150" y="50"/>
                    <a:pt x="150" y="50"/>
                  </a:cubicBezTo>
                  <a:cubicBezTo>
                    <a:pt x="147" y="53"/>
                    <a:pt x="147" y="53"/>
                    <a:pt x="147" y="53"/>
                  </a:cubicBezTo>
                  <a:cubicBezTo>
                    <a:pt x="149" y="49"/>
                    <a:pt x="149" y="49"/>
                    <a:pt x="149" y="49"/>
                  </a:cubicBezTo>
                  <a:cubicBezTo>
                    <a:pt x="149" y="49"/>
                    <a:pt x="149" y="49"/>
                    <a:pt x="149" y="49"/>
                  </a:cubicBezTo>
                  <a:cubicBezTo>
                    <a:pt x="148" y="48"/>
                    <a:pt x="148" y="48"/>
                    <a:pt x="148" y="48"/>
                  </a:cubicBezTo>
                  <a:cubicBezTo>
                    <a:pt x="144" y="50"/>
                    <a:pt x="144" y="50"/>
                    <a:pt x="144" y="50"/>
                  </a:cubicBezTo>
                  <a:cubicBezTo>
                    <a:pt x="147" y="47"/>
                    <a:pt x="147" y="47"/>
                    <a:pt x="147" y="47"/>
                  </a:cubicBezTo>
                  <a:cubicBezTo>
                    <a:pt x="147" y="47"/>
                    <a:pt x="147" y="47"/>
                    <a:pt x="147" y="47"/>
                  </a:cubicBezTo>
                  <a:cubicBezTo>
                    <a:pt x="147" y="46"/>
                    <a:pt x="147" y="46"/>
                    <a:pt x="147" y="46"/>
                  </a:cubicBezTo>
                  <a:cubicBezTo>
                    <a:pt x="146" y="44"/>
                    <a:pt x="146" y="42"/>
                    <a:pt x="147" y="40"/>
                  </a:cubicBezTo>
                  <a:cubicBezTo>
                    <a:pt x="148" y="39"/>
                    <a:pt x="148" y="38"/>
                    <a:pt x="149" y="37"/>
                  </a:cubicBezTo>
                  <a:cubicBezTo>
                    <a:pt x="148" y="36"/>
                    <a:pt x="146" y="35"/>
                    <a:pt x="145" y="35"/>
                  </a:cubicBezTo>
                  <a:cubicBezTo>
                    <a:pt x="144" y="35"/>
                    <a:pt x="144" y="35"/>
                    <a:pt x="144" y="35"/>
                  </a:cubicBezTo>
                  <a:cubicBezTo>
                    <a:pt x="142" y="34"/>
                    <a:pt x="140" y="34"/>
                    <a:pt x="139" y="33"/>
                  </a:cubicBezTo>
                  <a:cubicBezTo>
                    <a:pt x="138" y="32"/>
                    <a:pt x="138" y="32"/>
                    <a:pt x="138" y="31"/>
                  </a:cubicBezTo>
                  <a:cubicBezTo>
                    <a:pt x="137" y="31"/>
                    <a:pt x="137" y="31"/>
                    <a:pt x="137" y="31"/>
                  </a:cubicBezTo>
                  <a:cubicBezTo>
                    <a:pt x="136" y="29"/>
                    <a:pt x="135" y="27"/>
                    <a:pt x="135" y="25"/>
                  </a:cubicBezTo>
                  <a:cubicBezTo>
                    <a:pt x="135" y="24"/>
                    <a:pt x="134" y="22"/>
                    <a:pt x="134" y="21"/>
                  </a:cubicBezTo>
                  <a:cubicBezTo>
                    <a:pt x="133" y="20"/>
                    <a:pt x="133" y="19"/>
                    <a:pt x="132" y="18"/>
                  </a:cubicBezTo>
                  <a:cubicBezTo>
                    <a:pt x="130" y="16"/>
                    <a:pt x="129" y="14"/>
                    <a:pt x="129" y="13"/>
                  </a:cubicBezTo>
                  <a:cubicBezTo>
                    <a:pt x="129" y="3"/>
                    <a:pt x="129" y="3"/>
                    <a:pt x="129" y="3"/>
                  </a:cubicBezTo>
                  <a:cubicBezTo>
                    <a:pt x="127" y="2"/>
                    <a:pt x="127" y="2"/>
                    <a:pt x="127" y="2"/>
                  </a:cubicBezTo>
                  <a:cubicBezTo>
                    <a:pt x="125" y="1"/>
                    <a:pt x="125" y="1"/>
                    <a:pt x="125" y="1"/>
                  </a:cubicBezTo>
                  <a:cubicBezTo>
                    <a:pt x="125" y="1"/>
                    <a:pt x="124" y="1"/>
                    <a:pt x="124" y="1"/>
                  </a:cubicBezTo>
                  <a:cubicBezTo>
                    <a:pt x="123" y="1"/>
                    <a:pt x="123" y="1"/>
                    <a:pt x="123" y="1"/>
                  </a:cubicBezTo>
                  <a:cubicBezTo>
                    <a:pt x="123" y="1"/>
                    <a:pt x="122" y="1"/>
                    <a:pt x="122" y="1"/>
                  </a:cubicBezTo>
                  <a:cubicBezTo>
                    <a:pt x="121" y="1"/>
                    <a:pt x="120" y="0"/>
                    <a:pt x="119" y="0"/>
                  </a:cubicBezTo>
                  <a:cubicBezTo>
                    <a:pt x="118" y="0"/>
                    <a:pt x="118" y="0"/>
                    <a:pt x="118" y="0"/>
                  </a:cubicBezTo>
                  <a:cubicBezTo>
                    <a:pt x="117" y="0"/>
                    <a:pt x="116" y="0"/>
                    <a:pt x="115" y="0"/>
                  </a:cubicBezTo>
                  <a:cubicBezTo>
                    <a:pt x="115" y="0"/>
                    <a:pt x="115" y="0"/>
                    <a:pt x="114" y="0"/>
                  </a:cubicBezTo>
                  <a:cubicBezTo>
                    <a:pt x="114" y="0"/>
                    <a:pt x="114" y="0"/>
                    <a:pt x="114" y="0"/>
                  </a:cubicBezTo>
                  <a:cubicBezTo>
                    <a:pt x="113" y="0"/>
                    <a:pt x="112" y="0"/>
                    <a:pt x="1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Rectangle 207">
              <a:extLst>
                <a:ext uri="{FF2B5EF4-FFF2-40B4-BE49-F238E27FC236}">
                  <a16:creationId xmlns:a16="http://schemas.microsoft.com/office/drawing/2014/main" id="{DEBB28BE-CA68-433E-B008-F6D41D80DE28}"/>
                </a:ext>
              </a:extLst>
            </p:cNvPr>
            <p:cNvSpPr>
              <a:spLocks noChangeArrowheads="1"/>
            </p:cNvSpPr>
            <p:nvPr/>
          </p:nvSpPr>
          <p:spPr bwMode="auto">
            <a:xfrm>
              <a:off x="3500" y="2209"/>
              <a:ext cx="3"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208">
              <a:extLst>
                <a:ext uri="{FF2B5EF4-FFF2-40B4-BE49-F238E27FC236}">
                  <a16:creationId xmlns:a16="http://schemas.microsoft.com/office/drawing/2014/main" id="{4A13028A-6772-4681-9DD1-E1593BCA1453}"/>
                </a:ext>
              </a:extLst>
            </p:cNvPr>
            <p:cNvSpPr>
              <a:spLocks/>
            </p:cNvSpPr>
            <p:nvPr/>
          </p:nvSpPr>
          <p:spPr bwMode="auto">
            <a:xfrm>
              <a:off x="3500" y="2209"/>
              <a:ext cx="3" cy="0"/>
            </a:xfrm>
            <a:custGeom>
              <a:avLst/>
              <a:gdLst>
                <a:gd name="T0" fmla="*/ 3 w 3"/>
                <a:gd name="T1" fmla="*/ 0 w 3"/>
                <a:gd name="T2" fmla="*/ 0 w 3"/>
                <a:gd name="T3" fmla="*/ 3 w 3"/>
              </a:gdLst>
              <a:ahLst/>
              <a:cxnLst>
                <a:cxn ang="0">
                  <a:pos x="T0" y="0"/>
                </a:cxn>
                <a:cxn ang="0">
                  <a:pos x="T1" y="0"/>
                </a:cxn>
                <a:cxn ang="0">
                  <a:pos x="T2" y="0"/>
                </a:cxn>
                <a:cxn ang="0">
                  <a:pos x="T3" y="0"/>
                </a:cxn>
              </a:cxnLst>
              <a:rect l="0" t="0" r="r" b="b"/>
              <a:pathLst>
                <a:path w="3">
                  <a:moveTo>
                    <a:pt x="3" y="0"/>
                  </a:moveTo>
                  <a:lnTo>
                    <a:pt x="0" y="0"/>
                  </a:lnTo>
                  <a:lnTo>
                    <a:pt x="0"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209">
              <a:extLst>
                <a:ext uri="{FF2B5EF4-FFF2-40B4-BE49-F238E27FC236}">
                  <a16:creationId xmlns:a16="http://schemas.microsoft.com/office/drawing/2014/main" id="{2B1CAAFA-5CEB-4B39-8773-2AEB66242672}"/>
                </a:ext>
              </a:extLst>
            </p:cNvPr>
            <p:cNvSpPr>
              <a:spLocks/>
            </p:cNvSpPr>
            <p:nvPr/>
          </p:nvSpPr>
          <p:spPr bwMode="auto">
            <a:xfrm>
              <a:off x="5507" y="1932"/>
              <a:ext cx="805" cy="624"/>
            </a:xfrm>
            <a:custGeom>
              <a:avLst/>
              <a:gdLst>
                <a:gd name="T0" fmla="*/ 109 w 341"/>
                <a:gd name="T1" fmla="*/ 6 h 264"/>
                <a:gd name="T2" fmla="*/ 106 w 341"/>
                <a:gd name="T3" fmla="*/ 10 h 264"/>
                <a:gd name="T4" fmla="*/ 102 w 341"/>
                <a:gd name="T5" fmla="*/ 12 h 264"/>
                <a:gd name="T6" fmla="*/ 100 w 341"/>
                <a:gd name="T7" fmla="*/ 12 h 264"/>
                <a:gd name="T8" fmla="*/ 97 w 341"/>
                <a:gd name="T9" fmla="*/ 10 h 264"/>
                <a:gd name="T10" fmla="*/ 90 w 341"/>
                <a:gd name="T11" fmla="*/ 13 h 264"/>
                <a:gd name="T12" fmla="*/ 80 w 341"/>
                <a:gd name="T13" fmla="*/ 20 h 264"/>
                <a:gd name="T14" fmla="*/ 69 w 341"/>
                <a:gd name="T15" fmla="*/ 50 h 264"/>
                <a:gd name="T16" fmla="*/ 64 w 341"/>
                <a:gd name="T17" fmla="*/ 50 h 264"/>
                <a:gd name="T18" fmla="*/ 60 w 341"/>
                <a:gd name="T19" fmla="*/ 53 h 264"/>
                <a:gd name="T20" fmla="*/ 47 w 341"/>
                <a:gd name="T21" fmla="*/ 74 h 264"/>
                <a:gd name="T22" fmla="*/ 45 w 341"/>
                <a:gd name="T23" fmla="*/ 88 h 264"/>
                <a:gd name="T24" fmla="*/ 40 w 341"/>
                <a:gd name="T25" fmla="*/ 96 h 264"/>
                <a:gd name="T26" fmla="*/ 33 w 341"/>
                <a:gd name="T27" fmla="*/ 94 h 264"/>
                <a:gd name="T28" fmla="*/ 30 w 341"/>
                <a:gd name="T29" fmla="*/ 101 h 264"/>
                <a:gd name="T30" fmla="*/ 26 w 341"/>
                <a:gd name="T31" fmla="*/ 120 h 264"/>
                <a:gd name="T32" fmla="*/ 20 w 341"/>
                <a:gd name="T33" fmla="*/ 151 h 264"/>
                <a:gd name="T34" fmla="*/ 4 w 341"/>
                <a:gd name="T35" fmla="*/ 151 h 264"/>
                <a:gd name="T36" fmla="*/ 1 w 341"/>
                <a:gd name="T37" fmla="*/ 159 h 264"/>
                <a:gd name="T38" fmla="*/ 20 w 341"/>
                <a:gd name="T39" fmla="*/ 171 h 264"/>
                <a:gd name="T40" fmla="*/ 32 w 341"/>
                <a:gd name="T41" fmla="*/ 182 h 264"/>
                <a:gd name="T42" fmla="*/ 49 w 341"/>
                <a:gd name="T43" fmla="*/ 213 h 264"/>
                <a:gd name="T44" fmla="*/ 57 w 341"/>
                <a:gd name="T45" fmla="*/ 218 h 264"/>
                <a:gd name="T46" fmla="*/ 64 w 341"/>
                <a:gd name="T47" fmla="*/ 227 h 264"/>
                <a:gd name="T48" fmla="*/ 66 w 341"/>
                <a:gd name="T49" fmla="*/ 236 h 264"/>
                <a:gd name="T50" fmla="*/ 88 w 341"/>
                <a:gd name="T51" fmla="*/ 242 h 264"/>
                <a:gd name="T52" fmla="*/ 92 w 341"/>
                <a:gd name="T53" fmla="*/ 244 h 264"/>
                <a:gd name="T54" fmla="*/ 113 w 341"/>
                <a:gd name="T55" fmla="*/ 256 h 264"/>
                <a:gd name="T56" fmla="*/ 147 w 341"/>
                <a:gd name="T57" fmla="*/ 263 h 264"/>
                <a:gd name="T58" fmla="*/ 178 w 341"/>
                <a:gd name="T59" fmla="*/ 244 h 264"/>
                <a:gd name="T60" fmla="*/ 184 w 341"/>
                <a:gd name="T61" fmla="*/ 247 h 264"/>
                <a:gd name="T62" fmla="*/ 192 w 341"/>
                <a:gd name="T63" fmla="*/ 252 h 264"/>
                <a:gd name="T64" fmla="*/ 204 w 341"/>
                <a:gd name="T65" fmla="*/ 251 h 264"/>
                <a:gd name="T66" fmla="*/ 221 w 341"/>
                <a:gd name="T67" fmla="*/ 245 h 264"/>
                <a:gd name="T68" fmla="*/ 258 w 341"/>
                <a:gd name="T69" fmla="*/ 228 h 264"/>
                <a:gd name="T70" fmla="*/ 269 w 341"/>
                <a:gd name="T71" fmla="*/ 229 h 264"/>
                <a:gd name="T72" fmla="*/ 276 w 341"/>
                <a:gd name="T73" fmla="*/ 228 h 264"/>
                <a:gd name="T74" fmla="*/ 286 w 341"/>
                <a:gd name="T75" fmla="*/ 217 h 264"/>
                <a:gd name="T76" fmla="*/ 333 w 341"/>
                <a:gd name="T77" fmla="*/ 162 h 264"/>
                <a:gd name="T78" fmla="*/ 269 w 341"/>
                <a:gd name="T79" fmla="*/ 143 h 264"/>
                <a:gd name="T80" fmla="*/ 248 w 341"/>
                <a:gd name="T81" fmla="*/ 133 h 264"/>
                <a:gd name="T82" fmla="*/ 231 w 341"/>
                <a:gd name="T83" fmla="*/ 115 h 264"/>
                <a:gd name="T84" fmla="*/ 224 w 341"/>
                <a:gd name="T85" fmla="*/ 91 h 264"/>
                <a:gd name="T86" fmla="*/ 206 w 341"/>
                <a:gd name="T87" fmla="*/ 92 h 264"/>
                <a:gd name="T88" fmla="*/ 200 w 341"/>
                <a:gd name="T89" fmla="*/ 83 h 264"/>
                <a:gd name="T90" fmla="*/ 199 w 341"/>
                <a:gd name="T91" fmla="*/ 78 h 264"/>
                <a:gd name="T92" fmla="*/ 204 w 341"/>
                <a:gd name="T93" fmla="*/ 65 h 264"/>
                <a:gd name="T94" fmla="*/ 195 w 341"/>
                <a:gd name="T95" fmla="*/ 32 h 264"/>
                <a:gd name="T96" fmla="*/ 171 w 341"/>
                <a:gd name="T97" fmla="*/ 11 h 264"/>
                <a:gd name="T98" fmla="*/ 165 w 341"/>
                <a:gd name="T99" fmla="*/ 8 h 264"/>
                <a:gd name="T100" fmla="*/ 162 w 341"/>
                <a:gd name="T101" fmla="*/ 6 h 264"/>
                <a:gd name="T102" fmla="*/ 150 w 341"/>
                <a:gd name="T103" fmla="*/ 7 h 264"/>
                <a:gd name="T104" fmla="*/ 145 w 341"/>
                <a:gd name="T105" fmla="*/ 8 h 264"/>
                <a:gd name="T106" fmla="*/ 140 w 341"/>
                <a:gd name="T107" fmla="*/ 4 h 264"/>
                <a:gd name="T108" fmla="*/ 131 w 341"/>
                <a:gd name="T109" fmla="*/ 8 h 264"/>
                <a:gd name="T110" fmla="*/ 119 w 341"/>
                <a:gd name="T111" fmla="*/ 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1" h="264">
                  <a:moveTo>
                    <a:pt x="112" y="0"/>
                  </a:moveTo>
                  <a:cubicBezTo>
                    <a:pt x="111" y="1"/>
                    <a:pt x="111" y="1"/>
                    <a:pt x="111" y="1"/>
                  </a:cubicBezTo>
                  <a:cubicBezTo>
                    <a:pt x="111" y="1"/>
                    <a:pt x="111" y="1"/>
                    <a:pt x="111" y="1"/>
                  </a:cubicBezTo>
                  <a:cubicBezTo>
                    <a:pt x="109" y="4"/>
                    <a:pt x="109" y="4"/>
                    <a:pt x="109" y="4"/>
                  </a:cubicBezTo>
                  <a:cubicBezTo>
                    <a:pt x="109" y="5"/>
                    <a:pt x="109" y="5"/>
                    <a:pt x="109" y="6"/>
                  </a:cubicBezTo>
                  <a:cubicBezTo>
                    <a:pt x="108" y="6"/>
                    <a:pt x="108" y="6"/>
                    <a:pt x="108" y="6"/>
                  </a:cubicBezTo>
                  <a:cubicBezTo>
                    <a:pt x="108" y="7"/>
                    <a:pt x="108" y="7"/>
                    <a:pt x="108" y="8"/>
                  </a:cubicBezTo>
                  <a:cubicBezTo>
                    <a:pt x="107" y="8"/>
                    <a:pt x="107" y="8"/>
                    <a:pt x="107" y="8"/>
                  </a:cubicBezTo>
                  <a:cubicBezTo>
                    <a:pt x="106" y="9"/>
                    <a:pt x="106" y="9"/>
                    <a:pt x="106" y="9"/>
                  </a:cubicBezTo>
                  <a:cubicBezTo>
                    <a:pt x="106" y="10"/>
                    <a:pt x="106" y="10"/>
                    <a:pt x="106" y="10"/>
                  </a:cubicBezTo>
                  <a:cubicBezTo>
                    <a:pt x="105" y="11"/>
                    <a:pt x="105" y="11"/>
                    <a:pt x="105" y="11"/>
                  </a:cubicBezTo>
                  <a:cubicBezTo>
                    <a:pt x="104" y="11"/>
                    <a:pt x="104" y="11"/>
                    <a:pt x="104" y="11"/>
                  </a:cubicBezTo>
                  <a:cubicBezTo>
                    <a:pt x="103" y="12"/>
                    <a:pt x="103" y="12"/>
                    <a:pt x="103" y="12"/>
                  </a:cubicBezTo>
                  <a:cubicBezTo>
                    <a:pt x="102" y="12"/>
                    <a:pt x="102" y="12"/>
                    <a:pt x="102" y="12"/>
                  </a:cubicBezTo>
                  <a:cubicBezTo>
                    <a:pt x="102" y="12"/>
                    <a:pt x="102" y="12"/>
                    <a:pt x="102" y="12"/>
                  </a:cubicBezTo>
                  <a:cubicBezTo>
                    <a:pt x="102" y="12"/>
                    <a:pt x="102" y="12"/>
                    <a:pt x="102" y="12"/>
                  </a:cubicBezTo>
                  <a:cubicBezTo>
                    <a:pt x="101" y="12"/>
                    <a:pt x="101" y="12"/>
                    <a:pt x="101" y="12"/>
                  </a:cubicBezTo>
                  <a:cubicBezTo>
                    <a:pt x="101" y="12"/>
                    <a:pt x="101" y="12"/>
                    <a:pt x="101" y="12"/>
                  </a:cubicBezTo>
                  <a:cubicBezTo>
                    <a:pt x="100" y="12"/>
                    <a:pt x="100" y="12"/>
                    <a:pt x="100" y="12"/>
                  </a:cubicBezTo>
                  <a:cubicBezTo>
                    <a:pt x="100" y="12"/>
                    <a:pt x="100" y="12"/>
                    <a:pt x="100" y="12"/>
                  </a:cubicBezTo>
                  <a:cubicBezTo>
                    <a:pt x="100" y="12"/>
                    <a:pt x="99" y="12"/>
                    <a:pt x="99" y="12"/>
                  </a:cubicBezTo>
                  <a:cubicBezTo>
                    <a:pt x="99" y="12"/>
                    <a:pt x="99" y="12"/>
                    <a:pt x="99" y="12"/>
                  </a:cubicBezTo>
                  <a:cubicBezTo>
                    <a:pt x="97" y="10"/>
                    <a:pt x="97" y="10"/>
                    <a:pt x="97" y="10"/>
                  </a:cubicBezTo>
                  <a:cubicBezTo>
                    <a:pt x="97" y="10"/>
                    <a:pt x="97" y="10"/>
                    <a:pt x="97" y="10"/>
                  </a:cubicBezTo>
                  <a:cubicBezTo>
                    <a:pt x="97" y="10"/>
                    <a:pt x="97" y="10"/>
                    <a:pt x="97" y="10"/>
                  </a:cubicBezTo>
                  <a:cubicBezTo>
                    <a:pt x="96" y="10"/>
                    <a:pt x="96" y="10"/>
                    <a:pt x="96" y="10"/>
                  </a:cubicBezTo>
                  <a:cubicBezTo>
                    <a:pt x="97" y="10"/>
                    <a:pt x="97" y="10"/>
                    <a:pt x="97" y="10"/>
                  </a:cubicBezTo>
                  <a:cubicBezTo>
                    <a:pt x="96" y="10"/>
                    <a:pt x="96" y="10"/>
                    <a:pt x="96" y="10"/>
                  </a:cubicBezTo>
                  <a:cubicBezTo>
                    <a:pt x="95" y="11"/>
                    <a:pt x="94" y="12"/>
                    <a:pt x="93" y="12"/>
                  </a:cubicBezTo>
                  <a:cubicBezTo>
                    <a:pt x="92" y="13"/>
                    <a:pt x="91" y="13"/>
                    <a:pt x="90" y="13"/>
                  </a:cubicBezTo>
                  <a:cubicBezTo>
                    <a:pt x="89" y="13"/>
                    <a:pt x="89" y="13"/>
                    <a:pt x="89" y="13"/>
                  </a:cubicBezTo>
                  <a:cubicBezTo>
                    <a:pt x="89" y="13"/>
                    <a:pt x="89" y="13"/>
                    <a:pt x="89" y="13"/>
                  </a:cubicBezTo>
                  <a:cubicBezTo>
                    <a:pt x="87" y="13"/>
                    <a:pt x="86" y="13"/>
                    <a:pt x="85" y="13"/>
                  </a:cubicBezTo>
                  <a:cubicBezTo>
                    <a:pt x="81" y="13"/>
                    <a:pt x="81" y="13"/>
                    <a:pt x="81" y="13"/>
                  </a:cubicBezTo>
                  <a:cubicBezTo>
                    <a:pt x="81" y="15"/>
                    <a:pt x="81" y="18"/>
                    <a:pt x="80" y="20"/>
                  </a:cubicBezTo>
                  <a:cubicBezTo>
                    <a:pt x="80" y="21"/>
                    <a:pt x="80" y="21"/>
                    <a:pt x="80" y="21"/>
                  </a:cubicBezTo>
                  <a:cubicBezTo>
                    <a:pt x="79" y="26"/>
                    <a:pt x="77" y="32"/>
                    <a:pt x="76" y="36"/>
                  </a:cubicBezTo>
                  <a:cubicBezTo>
                    <a:pt x="74" y="41"/>
                    <a:pt x="74" y="41"/>
                    <a:pt x="74" y="41"/>
                  </a:cubicBezTo>
                  <a:cubicBezTo>
                    <a:pt x="74" y="45"/>
                    <a:pt x="73" y="48"/>
                    <a:pt x="71" y="49"/>
                  </a:cubicBezTo>
                  <a:cubicBezTo>
                    <a:pt x="71" y="50"/>
                    <a:pt x="70" y="50"/>
                    <a:pt x="69" y="50"/>
                  </a:cubicBezTo>
                  <a:cubicBezTo>
                    <a:pt x="69" y="50"/>
                    <a:pt x="69" y="50"/>
                    <a:pt x="69" y="50"/>
                  </a:cubicBezTo>
                  <a:cubicBezTo>
                    <a:pt x="68" y="50"/>
                    <a:pt x="68" y="51"/>
                    <a:pt x="67" y="51"/>
                  </a:cubicBezTo>
                  <a:cubicBezTo>
                    <a:pt x="67" y="51"/>
                    <a:pt x="67" y="51"/>
                    <a:pt x="67" y="51"/>
                  </a:cubicBezTo>
                  <a:cubicBezTo>
                    <a:pt x="66" y="51"/>
                    <a:pt x="66" y="51"/>
                    <a:pt x="66" y="51"/>
                  </a:cubicBezTo>
                  <a:cubicBezTo>
                    <a:pt x="66" y="51"/>
                    <a:pt x="65" y="50"/>
                    <a:pt x="64" y="50"/>
                  </a:cubicBezTo>
                  <a:cubicBezTo>
                    <a:pt x="63" y="50"/>
                    <a:pt x="63" y="50"/>
                    <a:pt x="63" y="50"/>
                  </a:cubicBezTo>
                  <a:cubicBezTo>
                    <a:pt x="63" y="50"/>
                    <a:pt x="62" y="50"/>
                    <a:pt x="62" y="50"/>
                  </a:cubicBezTo>
                  <a:cubicBezTo>
                    <a:pt x="62" y="50"/>
                    <a:pt x="62" y="50"/>
                    <a:pt x="62" y="50"/>
                  </a:cubicBezTo>
                  <a:cubicBezTo>
                    <a:pt x="61" y="50"/>
                    <a:pt x="61" y="50"/>
                    <a:pt x="61" y="50"/>
                  </a:cubicBezTo>
                  <a:cubicBezTo>
                    <a:pt x="61" y="51"/>
                    <a:pt x="60" y="52"/>
                    <a:pt x="60" y="53"/>
                  </a:cubicBezTo>
                  <a:cubicBezTo>
                    <a:pt x="59" y="54"/>
                    <a:pt x="59" y="54"/>
                    <a:pt x="59" y="54"/>
                  </a:cubicBezTo>
                  <a:cubicBezTo>
                    <a:pt x="57" y="57"/>
                    <a:pt x="56" y="59"/>
                    <a:pt x="55" y="61"/>
                  </a:cubicBezTo>
                  <a:cubicBezTo>
                    <a:pt x="54" y="63"/>
                    <a:pt x="53" y="65"/>
                    <a:pt x="51" y="67"/>
                  </a:cubicBezTo>
                  <a:cubicBezTo>
                    <a:pt x="49" y="69"/>
                    <a:pt x="48" y="70"/>
                    <a:pt x="48" y="72"/>
                  </a:cubicBezTo>
                  <a:cubicBezTo>
                    <a:pt x="47" y="74"/>
                    <a:pt x="47" y="74"/>
                    <a:pt x="47" y="74"/>
                  </a:cubicBezTo>
                  <a:cubicBezTo>
                    <a:pt x="47" y="76"/>
                    <a:pt x="47" y="78"/>
                    <a:pt x="46" y="79"/>
                  </a:cubicBezTo>
                  <a:cubicBezTo>
                    <a:pt x="46" y="81"/>
                    <a:pt x="46" y="81"/>
                    <a:pt x="46" y="81"/>
                  </a:cubicBezTo>
                  <a:cubicBezTo>
                    <a:pt x="46" y="82"/>
                    <a:pt x="46" y="83"/>
                    <a:pt x="46" y="84"/>
                  </a:cubicBezTo>
                  <a:cubicBezTo>
                    <a:pt x="45" y="85"/>
                    <a:pt x="45" y="86"/>
                    <a:pt x="45" y="87"/>
                  </a:cubicBezTo>
                  <a:cubicBezTo>
                    <a:pt x="45" y="87"/>
                    <a:pt x="45" y="87"/>
                    <a:pt x="45" y="88"/>
                  </a:cubicBezTo>
                  <a:cubicBezTo>
                    <a:pt x="45" y="88"/>
                    <a:pt x="45" y="88"/>
                    <a:pt x="45" y="88"/>
                  </a:cubicBezTo>
                  <a:cubicBezTo>
                    <a:pt x="45" y="89"/>
                    <a:pt x="45" y="90"/>
                    <a:pt x="45" y="91"/>
                  </a:cubicBezTo>
                  <a:cubicBezTo>
                    <a:pt x="45" y="91"/>
                    <a:pt x="44" y="92"/>
                    <a:pt x="44" y="93"/>
                  </a:cubicBezTo>
                  <a:cubicBezTo>
                    <a:pt x="43" y="93"/>
                    <a:pt x="43" y="93"/>
                    <a:pt x="43" y="93"/>
                  </a:cubicBezTo>
                  <a:cubicBezTo>
                    <a:pt x="43" y="94"/>
                    <a:pt x="41" y="95"/>
                    <a:pt x="40" y="96"/>
                  </a:cubicBezTo>
                  <a:cubicBezTo>
                    <a:pt x="39" y="96"/>
                    <a:pt x="38" y="96"/>
                    <a:pt x="38" y="96"/>
                  </a:cubicBezTo>
                  <a:cubicBezTo>
                    <a:pt x="37" y="96"/>
                    <a:pt x="37" y="96"/>
                    <a:pt x="37" y="96"/>
                  </a:cubicBezTo>
                  <a:cubicBezTo>
                    <a:pt x="36" y="96"/>
                    <a:pt x="36" y="96"/>
                    <a:pt x="35" y="96"/>
                  </a:cubicBezTo>
                  <a:cubicBezTo>
                    <a:pt x="35" y="96"/>
                    <a:pt x="35" y="96"/>
                    <a:pt x="35" y="96"/>
                  </a:cubicBezTo>
                  <a:cubicBezTo>
                    <a:pt x="34" y="95"/>
                    <a:pt x="33" y="95"/>
                    <a:pt x="33" y="94"/>
                  </a:cubicBezTo>
                  <a:cubicBezTo>
                    <a:pt x="33" y="94"/>
                    <a:pt x="33" y="94"/>
                    <a:pt x="33" y="94"/>
                  </a:cubicBezTo>
                  <a:cubicBezTo>
                    <a:pt x="32" y="95"/>
                    <a:pt x="32" y="95"/>
                    <a:pt x="32" y="95"/>
                  </a:cubicBezTo>
                  <a:cubicBezTo>
                    <a:pt x="31" y="96"/>
                    <a:pt x="30" y="97"/>
                    <a:pt x="30" y="98"/>
                  </a:cubicBezTo>
                  <a:cubicBezTo>
                    <a:pt x="30" y="98"/>
                    <a:pt x="30" y="98"/>
                    <a:pt x="30" y="98"/>
                  </a:cubicBezTo>
                  <a:cubicBezTo>
                    <a:pt x="29" y="99"/>
                    <a:pt x="29" y="100"/>
                    <a:pt x="30" y="101"/>
                  </a:cubicBezTo>
                  <a:cubicBezTo>
                    <a:pt x="30" y="103"/>
                    <a:pt x="31" y="105"/>
                    <a:pt x="30" y="107"/>
                  </a:cubicBezTo>
                  <a:cubicBezTo>
                    <a:pt x="30" y="108"/>
                    <a:pt x="30" y="109"/>
                    <a:pt x="29" y="110"/>
                  </a:cubicBezTo>
                  <a:cubicBezTo>
                    <a:pt x="29" y="111"/>
                    <a:pt x="29" y="111"/>
                    <a:pt x="29" y="111"/>
                  </a:cubicBezTo>
                  <a:cubicBezTo>
                    <a:pt x="28" y="113"/>
                    <a:pt x="28" y="115"/>
                    <a:pt x="27" y="117"/>
                  </a:cubicBezTo>
                  <a:cubicBezTo>
                    <a:pt x="27" y="118"/>
                    <a:pt x="26" y="119"/>
                    <a:pt x="26" y="120"/>
                  </a:cubicBezTo>
                  <a:cubicBezTo>
                    <a:pt x="25" y="122"/>
                    <a:pt x="25" y="125"/>
                    <a:pt x="25" y="128"/>
                  </a:cubicBezTo>
                  <a:cubicBezTo>
                    <a:pt x="25" y="129"/>
                    <a:pt x="25" y="131"/>
                    <a:pt x="25" y="133"/>
                  </a:cubicBezTo>
                  <a:cubicBezTo>
                    <a:pt x="26" y="134"/>
                    <a:pt x="26" y="135"/>
                    <a:pt x="26" y="136"/>
                  </a:cubicBezTo>
                  <a:cubicBezTo>
                    <a:pt x="26" y="143"/>
                    <a:pt x="25" y="147"/>
                    <a:pt x="22" y="150"/>
                  </a:cubicBezTo>
                  <a:cubicBezTo>
                    <a:pt x="21" y="150"/>
                    <a:pt x="21" y="151"/>
                    <a:pt x="20" y="151"/>
                  </a:cubicBezTo>
                  <a:cubicBezTo>
                    <a:pt x="19" y="152"/>
                    <a:pt x="17" y="152"/>
                    <a:pt x="15" y="152"/>
                  </a:cubicBezTo>
                  <a:cubicBezTo>
                    <a:pt x="13" y="152"/>
                    <a:pt x="12" y="152"/>
                    <a:pt x="10" y="151"/>
                  </a:cubicBezTo>
                  <a:cubicBezTo>
                    <a:pt x="8" y="151"/>
                    <a:pt x="7" y="151"/>
                    <a:pt x="6" y="151"/>
                  </a:cubicBezTo>
                  <a:cubicBezTo>
                    <a:pt x="6" y="151"/>
                    <a:pt x="6" y="151"/>
                    <a:pt x="5" y="151"/>
                  </a:cubicBezTo>
                  <a:cubicBezTo>
                    <a:pt x="4" y="151"/>
                    <a:pt x="4" y="151"/>
                    <a:pt x="4" y="151"/>
                  </a:cubicBezTo>
                  <a:cubicBezTo>
                    <a:pt x="4" y="151"/>
                    <a:pt x="4" y="151"/>
                    <a:pt x="4" y="151"/>
                  </a:cubicBezTo>
                  <a:cubicBezTo>
                    <a:pt x="2" y="151"/>
                    <a:pt x="2" y="153"/>
                    <a:pt x="1" y="155"/>
                  </a:cubicBezTo>
                  <a:cubicBezTo>
                    <a:pt x="1" y="155"/>
                    <a:pt x="0" y="156"/>
                    <a:pt x="0" y="157"/>
                  </a:cubicBezTo>
                  <a:cubicBezTo>
                    <a:pt x="0" y="157"/>
                    <a:pt x="0" y="158"/>
                    <a:pt x="0" y="159"/>
                  </a:cubicBezTo>
                  <a:cubicBezTo>
                    <a:pt x="0" y="159"/>
                    <a:pt x="0" y="159"/>
                    <a:pt x="1" y="159"/>
                  </a:cubicBezTo>
                  <a:cubicBezTo>
                    <a:pt x="4" y="160"/>
                    <a:pt x="6" y="161"/>
                    <a:pt x="8" y="163"/>
                  </a:cubicBezTo>
                  <a:cubicBezTo>
                    <a:pt x="10" y="163"/>
                    <a:pt x="10" y="163"/>
                    <a:pt x="10" y="163"/>
                  </a:cubicBezTo>
                  <a:cubicBezTo>
                    <a:pt x="11" y="164"/>
                    <a:pt x="11" y="164"/>
                    <a:pt x="11" y="164"/>
                  </a:cubicBezTo>
                  <a:cubicBezTo>
                    <a:pt x="12" y="164"/>
                    <a:pt x="13" y="164"/>
                    <a:pt x="14" y="164"/>
                  </a:cubicBezTo>
                  <a:cubicBezTo>
                    <a:pt x="16" y="166"/>
                    <a:pt x="18" y="168"/>
                    <a:pt x="20" y="171"/>
                  </a:cubicBezTo>
                  <a:cubicBezTo>
                    <a:pt x="20" y="172"/>
                    <a:pt x="21" y="173"/>
                    <a:pt x="21" y="173"/>
                  </a:cubicBezTo>
                  <a:cubicBezTo>
                    <a:pt x="22" y="174"/>
                    <a:pt x="23" y="175"/>
                    <a:pt x="23" y="175"/>
                  </a:cubicBezTo>
                  <a:cubicBezTo>
                    <a:pt x="23" y="176"/>
                    <a:pt x="23" y="176"/>
                    <a:pt x="23" y="176"/>
                  </a:cubicBezTo>
                  <a:cubicBezTo>
                    <a:pt x="25" y="178"/>
                    <a:pt x="27" y="180"/>
                    <a:pt x="29" y="181"/>
                  </a:cubicBezTo>
                  <a:cubicBezTo>
                    <a:pt x="30" y="181"/>
                    <a:pt x="31" y="181"/>
                    <a:pt x="32" y="182"/>
                  </a:cubicBezTo>
                  <a:cubicBezTo>
                    <a:pt x="33" y="183"/>
                    <a:pt x="34" y="185"/>
                    <a:pt x="36" y="186"/>
                  </a:cubicBezTo>
                  <a:cubicBezTo>
                    <a:pt x="37" y="187"/>
                    <a:pt x="37" y="187"/>
                    <a:pt x="37" y="187"/>
                  </a:cubicBezTo>
                  <a:cubicBezTo>
                    <a:pt x="38" y="188"/>
                    <a:pt x="38" y="189"/>
                    <a:pt x="39" y="190"/>
                  </a:cubicBezTo>
                  <a:cubicBezTo>
                    <a:pt x="43" y="195"/>
                    <a:pt x="47" y="208"/>
                    <a:pt x="47" y="210"/>
                  </a:cubicBezTo>
                  <a:cubicBezTo>
                    <a:pt x="48" y="211"/>
                    <a:pt x="48" y="212"/>
                    <a:pt x="49" y="213"/>
                  </a:cubicBezTo>
                  <a:cubicBezTo>
                    <a:pt x="49" y="213"/>
                    <a:pt x="49" y="213"/>
                    <a:pt x="49" y="213"/>
                  </a:cubicBezTo>
                  <a:cubicBezTo>
                    <a:pt x="50" y="214"/>
                    <a:pt x="50" y="214"/>
                    <a:pt x="51" y="215"/>
                  </a:cubicBezTo>
                  <a:cubicBezTo>
                    <a:pt x="52" y="215"/>
                    <a:pt x="52" y="215"/>
                    <a:pt x="52" y="215"/>
                  </a:cubicBezTo>
                  <a:cubicBezTo>
                    <a:pt x="53" y="216"/>
                    <a:pt x="53" y="216"/>
                    <a:pt x="53" y="216"/>
                  </a:cubicBezTo>
                  <a:cubicBezTo>
                    <a:pt x="54" y="217"/>
                    <a:pt x="55" y="217"/>
                    <a:pt x="57" y="218"/>
                  </a:cubicBezTo>
                  <a:cubicBezTo>
                    <a:pt x="58" y="218"/>
                    <a:pt x="58" y="218"/>
                    <a:pt x="58" y="218"/>
                  </a:cubicBezTo>
                  <a:cubicBezTo>
                    <a:pt x="59" y="218"/>
                    <a:pt x="61" y="218"/>
                    <a:pt x="63" y="219"/>
                  </a:cubicBezTo>
                  <a:cubicBezTo>
                    <a:pt x="64" y="220"/>
                    <a:pt x="65" y="221"/>
                    <a:pt x="65" y="223"/>
                  </a:cubicBezTo>
                  <a:cubicBezTo>
                    <a:pt x="65" y="224"/>
                    <a:pt x="65" y="224"/>
                    <a:pt x="65" y="225"/>
                  </a:cubicBezTo>
                  <a:cubicBezTo>
                    <a:pt x="65" y="225"/>
                    <a:pt x="65" y="226"/>
                    <a:pt x="64" y="227"/>
                  </a:cubicBezTo>
                  <a:cubicBezTo>
                    <a:pt x="64" y="228"/>
                    <a:pt x="64" y="229"/>
                    <a:pt x="64" y="229"/>
                  </a:cubicBezTo>
                  <a:cubicBezTo>
                    <a:pt x="64" y="230"/>
                    <a:pt x="64" y="230"/>
                    <a:pt x="64" y="230"/>
                  </a:cubicBezTo>
                  <a:cubicBezTo>
                    <a:pt x="64" y="231"/>
                    <a:pt x="64" y="231"/>
                    <a:pt x="64" y="232"/>
                  </a:cubicBezTo>
                  <a:cubicBezTo>
                    <a:pt x="64" y="236"/>
                    <a:pt x="64" y="236"/>
                    <a:pt x="64" y="236"/>
                  </a:cubicBezTo>
                  <a:cubicBezTo>
                    <a:pt x="66" y="236"/>
                    <a:pt x="66" y="236"/>
                    <a:pt x="66" y="236"/>
                  </a:cubicBezTo>
                  <a:cubicBezTo>
                    <a:pt x="67" y="237"/>
                    <a:pt x="67" y="237"/>
                    <a:pt x="67" y="237"/>
                  </a:cubicBezTo>
                  <a:cubicBezTo>
                    <a:pt x="68" y="239"/>
                    <a:pt x="69" y="240"/>
                    <a:pt x="69" y="240"/>
                  </a:cubicBezTo>
                  <a:cubicBezTo>
                    <a:pt x="81" y="240"/>
                    <a:pt x="81" y="240"/>
                    <a:pt x="81" y="240"/>
                  </a:cubicBezTo>
                  <a:cubicBezTo>
                    <a:pt x="82" y="240"/>
                    <a:pt x="84" y="240"/>
                    <a:pt x="85" y="241"/>
                  </a:cubicBezTo>
                  <a:cubicBezTo>
                    <a:pt x="86" y="241"/>
                    <a:pt x="87" y="241"/>
                    <a:pt x="88" y="242"/>
                  </a:cubicBezTo>
                  <a:cubicBezTo>
                    <a:pt x="89" y="237"/>
                    <a:pt x="89" y="237"/>
                    <a:pt x="89" y="237"/>
                  </a:cubicBezTo>
                  <a:cubicBezTo>
                    <a:pt x="89" y="242"/>
                    <a:pt x="89" y="242"/>
                    <a:pt x="89" y="242"/>
                  </a:cubicBezTo>
                  <a:cubicBezTo>
                    <a:pt x="89" y="242"/>
                    <a:pt x="89" y="242"/>
                    <a:pt x="89" y="242"/>
                  </a:cubicBezTo>
                  <a:cubicBezTo>
                    <a:pt x="90" y="243"/>
                    <a:pt x="91" y="243"/>
                    <a:pt x="92" y="244"/>
                  </a:cubicBezTo>
                  <a:cubicBezTo>
                    <a:pt x="92" y="244"/>
                    <a:pt x="92" y="244"/>
                    <a:pt x="92" y="244"/>
                  </a:cubicBezTo>
                  <a:cubicBezTo>
                    <a:pt x="94" y="245"/>
                    <a:pt x="95" y="246"/>
                    <a:pt x="97" y="246"/>
                  </a:cubicBezTo>
                  <a:cubicBezTo>
                    <a:pt x="97" y="247"/>
                    <a:pt x="97" y="247"/>
                    <a:pt x="97" y="247"/>
                  </a:cubicBezTo>
                  <a:cubicBezTo>
                    <a:pt x="98" y="247"/>
                    <a:pt x="100" y="248"/>
                    <a:pt x="101" y="249"/>
                  </a:cubicBezTo>
                  <a:cubicBezTo>
                    <a:pt x="103" y="250"/>
                    <a:pt x="103" y="250"/>
                    <a:pt x="103" y="250"/>
                  </a:cubicBezTo>
                  <a:cubicBezTo>
                    <a:pt x="106" y="252"/>
                    <a:pt x="109" y="254"/>
                    <a:pt x="113" y="256"/>
                  </a:cubicBezTo>
                  <a:cubicBezTo>
                    <a:pt x="114" y="257"/>
                    <a:pt x="115" y="258"/>
                    <a:pt x="117" y="259"/>
                  </a:cubicBezTo>
                  <a:cubicBezTo>
                    <a:pt x="120" y="261"/>
                    <a:pt x="126" y="261"/>
                    <a:pt x="131" y="262"/>
                  </a:cubicBezTo>
                  <a:cubicBezTo>
                    <a:pt x="132" y="262"/>
                    <a:pt x="133" y="262"/>
                    <a:pt x="134" y="262"/>
                  </a:cubicBezTo>
                  <a:cubicBezTo>
                    <a:pt x="138" y="262"/>
                    <a:pt x="138" y="262"/>
                    <a:pt x="138" y="262"/>
                  </a:cubicBezTo>
                  <a:cubicBezTo>
                    <a:pt x="141" y="263"/>
                    <a:pt x="144" y="263"/>
                    <a:pt x="147" y="263"/>
                  </a:cubicBezTo>
                  <a:cubicBezTo>
                    <a:pt x="147" y="264"/>
                    <a:pt x="148" y="264"/>
                    <a:pt x="149" y="264"/>
                  </a:cubicBezTo>
                  <a:cubicBezTo>
                    <a:pt x="150" y="263"/>
                    <a:pt x="151" y="261"/>
                    <a:pt x="152" y="260"/>
                  </a:cubicBezTo>
                  <a:cubicBezTo>
                    <a:pt x="154" y="257"/>
                    <a:pt x="155" y="254"/>
                    <a:pt x="158" y="253"/>
                  </a:cubicBezTo>
                  <a:cubicBezTo>
                    <a:pt x="178" y="244"/>
                    <a:pt x="178" y="244"/>
                    <a:pt x="178" y="244"/>
                  </a:cubicBezTo>
                  <a:cubicBezTo>
                    <a:pt x="178" y="244"/>
                    <a:pt x="178" y="244"/>
                    <a:pt x="178" y="244"/>
                  </a:cubicBezTo>
                  <a:cubicBezTo>
                    <a:pt x="178" y="244"/>
                    <a:pt x="178" y="244"/>
                    <a:pt x="178" y="244"/>
                  </a:cubicBezTo>
                  <a:cubicBezTo>
                    <a:pt x="179" y="244"/>
                    <a:pt x="179" y="244"/>
                    <a:pt x="179" y="244"/>
                  </a:cubicBezTo>
                  <a:cubicBezTo>
                    <a:pt x="179" y="244"/>
                    <a:pt x="179" y="244"/>
                    <a:pt x="179" y="244"/>
                  </a:cubicBezTo>
                  <a:cubicBezTo>
                    <a:pt x="180" y="244"/>
                    <a:pt x="181" y="244"/>
                    <a:pt x="181" y="245"/>
                  </a:cubicBezTo>
                  <a:cubicBezTo>
                    <a:pt x="182" y="245"/>
                    <a:pt x="183" y="246"/>
                    <a:pt x="184" y="247"/>
                  </a:cubicBezTo>
                  <a:cubicBezTo>
                    <a:pt x="185" y="249"/>
                    <a:pt x="187" y="250"/>
                    <a:pt x="189" y="251"/>
                  </a:cubicBezTo>
                  <a:cubicBezTo>
                    <a:pt x="189" y="252"/>
                    <a:pt x="190" y="252"/>
                    <a:pt x="190" y="252"/>
                  </a:cubicBezTo>
                  <a:cubicBezTo>
                    <a:pt x="191" y="252"/>
                    <a:pt x="191" y="252"/>
                    <a:pt x="191" y="252"/>
                  </a:cubicBezTo>
                  <a:cubicBezTo>
                    <a:pt x="191" y="252"/>
                    <a:pt x="191" y="252"/>
                    <a:pt x="191" y="252"/>
                  </a:cubicBezTo>
                  <a:cubicBezTo>
                    <a:pt x="192" y="252"/>
                    <a:pt x="192" y="252"/>
                    <a:pt x="192" y="252"/>
                  </a:cubicBezTo>
                  <a:cubicBezTo>
                    <a:pt x="193" y="252"/>
                    <a:pt x="194" y="252"/>
                    <a:pt x="195" y="252"/>
                  </a:cubicBezTo>
                  <a:cubicBezTo>
                    <a:pt x="196" y="252"/>
                    <a:pt x="196" y="252"/>
                    <a:pt x="196" y="252"/>
                  </a:cubicBezTo>
                  <a:cubicBezTo>
                    <a:pt x="197" y="252"/>
                    <a:pt x="199" y="251"/>
                    <a:pt x="200" y="251"/>
                  </a:cubicBezTo>
                  <a:cubicBezTo>
                    <a:pt x="200" y="251"/>
                    <a:pt x="200" y="251"/>
                    <a:pt x="200" y="251"/>
                  </a:cubicBezTo>
                  <a:cubicBezTo>
                    <a:pt x="204" y="251"/>
                    <a:pt x="204" y="251"/>
                    <a:pt x="204" y="251"/>
                  </a:cubicBezTo>
                  <a:cubicBezTo>
                    <a:pt x="204" y="251"/>
                    <a:pt x="205" y="250"/>
                    <a:pt x="206" y="249"/>
                  </a:cubicBezTo>
                  <a:cubicBezTo>
                    <a:pt x="207" y="248"/>
                    <a:pt x="208" y="247"/>
                    <a:pt x="210" y="246"/>
                  </a:cubicBezTo>
                  <a:cubicBezTo>
                    <a:pt x="212" y="245"/>
                    <a:pt x="215" y="245"/>
                    <a:pt x="218" y="245"/>
                  </a:cubicBezTo>
                  <a:cubicBezTo>
                    <a:pt x="218" y="245"/>
                    <a:pt x="218" y="245"/>
                    <a:pt x="218" y="245"/>
                  </a:cubicBezTo>
                  <a:cubicBezTo>
                    <a:pt x="219" y="245"/>
                    <a:pt x="220" y="245"/>
                    <a:pt x="221" y="245"/>
                  </a:cubicBezTo>
                  <a:cubicBezTo>
                    <a:pt x="222" y="244"/>
                    <a:pt x="224" y="244"/>
                    <a:pt x="225" y="243"/>
                  </a:cubicBezTo>
                  <a:cubicBezTo>
                    <a:pt x="226" y="242"/>
                    <a:pt x="228" y="241"/>
                    <a:pt x="230" y="240"/>
                  </a:cubicBezTo>
                  <a:cubicBezTo>
                    <a:pt x="235" y="235"/>
                    <a:pt x="241" y="231"/>
                    <a:pt x="248" y="229"/>
                  </a:cubicBezTo>
                  <a:cubicBezTo>
                    <a:pt x="250" y="229"/>
                    <a:pt x="251" y="229"/>
                    <a:pt x="253" y="228"/>
                  </a:cubicBezTo>
                  <a:cubicBezTo>
                    <a:pt x="254" y="228"/>
                    <a:pt x="256" y="228"/>
                    <a:pt x="258" y="228"/>
                  </a:cubicBezTo>
                  <a:cubicBezTo>
                    <a:pt x="258" y="228"/>
                    <a:pt x="259" y="228"/>
                    <a:pt x="260" y="228"/>
                  </a:cubicBezTo>
                  <a:cubicBezTo>
                    <a:pt x="260" y="228"/>
                    <a:pt x="261" y="228"/>
                    <a:pt x="262" y="228"/>
                  </a:cubicBezTo>
                  <a:cubicBezTo>
                    <a:pt x="262" y="228"/>
                    <a:pt x="263" y="228"/>
                    <a:pt x="264" y="228"/>
                  </a:cubicBezTo>
                  <a:cubicBezTo>
                    <a:pt x="266" y="228"/>
                    <a:pt x="266" y="228"/>
                    <a:pt x="266" y="228"/>
                  </a:cubicBezTo>
                  <a:cubicBezTo>
                    <a:pt x="267" y="228"/>
                    <a:pt x="268" y="229"/>
                    <a:pt x="269" y="229"/>
                  </a:cubicBezTo>
                  <a:cubicBezTo>
                    <a:pt x="270" y="229"/>
                    <a:pt x="271" y="229"/>
                    <a:pt x="272" y="229"/>
                  </a:cubicBezTo>
                  <a:cubicBezTo>
                    <a:pt x="273" y="229"/>
                    <a:pt x="273" y="229"/>
                    <a:pt x="273" y="229"/>
                  </a:cubicBezTo>
                  <a:cubicBezTo>
                    <a:pt x="273" y="229"/>
                    <a:pt x="273" y="229"/>
                    <a:pt x="273" y="229"/>
                  </a:cubicBezTo>
                  <a:cubicBezTo>
                    <a:pt x="274" y="229"/>
                    <a:pt x="274" y="229"/>
                    <a:pt x="275" y="229"/>
                  </a:cubicBezTo>
                  <a:cubicBezTo>
                    <a:pt x="276" y="228"/>
                    <a:pt x="276" y="228"/>
                    <a:pt x="276" y="228"/>
                  </a:cubicBezTo>
                  <a:cubicBezTo>
                    <a:pt x="276" y="228"/>
                    <a:pt x="277" y="228"/>
                    <a:pt x="277" y="227"/>
                  </a:cubicBezTo>
                  <a:cubicBezTo>
                    <a:pt x="278" y="226"/>
                    <a:pt x="279" y="225"/>
                    <a:pt x="280" y="225"/>
                  </a:cubicBezTo>
                  <a:cubicBezTo>
                    <a:pt x="281" y="223"/>
                    <a:pt x="281" y="223"/>
                    <a:pt x="281" y="223"/>
                  </a:cubicBezTo>
                  <a:cubicBezTo>
                    <a:pt x="282" y="222"/>
                    <a:pt x="283" y="221"/>
                    <a:pt x="284" y="220"/>
                  </a:cubicBezTo>
                  <a:cubicBezTo>
                    <a:pt x="286" y="217"/>
                    <a:pt x="286" y="217"/>
                    <a:pt x="286" y="217"/>
                  </a:cubicBezTo>
                  <a:cubicBezTo>
                    <a:pt x="287" y="217"/>
                    <a:pt x="287" y="216"/>
                    <a:pt x="287" y="216"/>
                  </a:cubicBezTo>
                  <a:cubicBezTo>
                    <a:pt x="291" y="212"/>
                    <a:pt x="291" y="212"/>
                    <a:pt x="291" y="212"/>
                  </a:cubicBezTo>
                  <a:cubicBezTo>
                    <a:pt x="306" y="197"/>
                    <a:pt x="319" y="183"/>
                    <a:pt x="331" y="171"/>
                  </a:cubicBezTo>
                  <a:cubicBezTo>
                    <a:pt x="334" y="168"/>
                    <a:pt x="337" y="165"/>
                    <a:pt x="341" y="162"/>
                  </a:cubicBezTo>
                  <a:cubicBezTo>
                    <a:pt x="338" y="162"/>
                    <a:pt x="336" y="162"/>
                    <a:pt x="333" y="162"/>
                  </a:cubicBezTo>
                  <a:cubicBezTo>
                    <a:pt x="330" y="162"/>
                    <a:pt x="328" y="162"/>
                    <a:pt x="325" y="162"/>
                  </a:cubicBezTo>
                  <a:cubicBezTo>
                    <a:pt x="322" y="162"/>
                    <a:pt x="318" y="160"/>
                    <a:pt x="315" y="159"/>
                  </a:cubicBezTo>
                  <a:cubicBezTo>
                    <a:pt x="314" y="158"/>
                    <a:pt x="314" y="158"/>
                    <a:pt x="314" y="158"/>
                  </a:cubicBezTo>
                  <a:cubicBezTo>
                    <a:pt x="313" y="158"/>
                    <a:pt x="312" y="158"/>
                    <a:pt x="311" y="157"/>
                  </a:cubicBezTo>
                  <a:cubicBezTo>
                    <a:pt x="269" y="143"/>
                    <a:pt x="269" y="143"/>
                    <a:pt x="269" y="143"/>
                  </a:cubicBezTo>
                  <a:cubicBezTo>
                    <a:pt x="268" y="142"/>
                    <a:pt x="266" y="142"/>
                    <a:pt x="265" y="142"/>
                  </a:cubicBezTo>
                  <a:cubicBezTo>
                    <a:pt x="264" y="141"/>
                    <a:pt x="264" y="141"/>
                    <a:pt x="264" y="141"/>
                  </a:cubicBezTo>
                  <a:cubicBezTo>
                    <a:pt x="260" y="140"/>
                    <a:pt x="256" y="139"/>
                    <a:pt x="252" y="137"/>
                  </a:cubicBezTo>
                  <a:cubicBezTo>
                    <a:pt x="252" y="136"/>
                    <a:pt x="251" y="136"/>
                    <a:pt x="251" y="136"/>
                  </a:cubicBezTo>
                  <a:cubicBezTo>
                    <a:pt x="248" y="133"/>
                    <a:pt x="248" y="133"/>
                    <a:pt x="248" y="133"/>
                  </a:cubicBezTo>
                  <a:cubicBezTo>
                    <a:pt x="244" y="131"/>
                    <a:pt x="241" y="129"/>
                    <a:pt x="239" y="127"/>
                  </a:cubicBezTo>
                  <a:cubicBezTo>
                    <a:pt x="237" y="125"/>
                    <a:pt x="235" y="122"/>
                    <a:pt x="234" y="119"/>
                  </a:cubicBezTo>
                  <a:cubicBezTo>
                    <a:pt x="233" y="119"/>
                    <a:pt x="233" y="119"/>
                    <a:pt x="233" y="119"/>
                  </a:cubicBezTo>
                  <a:cubicBezTo>
                    <a:pt x="233" y="118"/>
                    <a:pt x="232" y="117"/>
                    <a:pt x="232" y="116"/>
                  </a:cubicBezTo>
                  <a:cubicBezTo>
                    <a:pt x="231" y="115"/>
                    <a:pt x="231" y="115"/>
                    <a:pt x="231" y="115"/>
                  </a:cubicBezTo>
                  <a:cubicBezTo>
                    <a:pt x="229" y="111"/>
                    <a:pt x="227" y="108"/>
                    <a:pt x="224" y="104"/>
                  </a:cubicBezTo>
                  <a:cubicBezTo>
                    <a:pt x="224" y="104"/>
                    <a:pt x="224" y="103"/>
                    <a:pt x="224" y="103"/>
                  </a:cubicBezTo>
                  <a:cubicBezTo>
                    <a:pt x="222" y="100"/>
                    <a:pt x="220" y="98"/>
                    <a:pt x="220" y="96"/>
                  </a:cubicBezTo>
                  <a:cubicBezTo>
                    <a:pt x="220" y="95"/>
                    <a:pt x="220" y="95"/>
                    <a:pt x="222" y="93"/>
                  </a:cubicBezTo>
                  <a:cubicBezTo>
                    <a:pt x="223" y="92"/>
                    <a:pt x="224" y="91"/>
                    <a:pt x="224" y="91"/>
                  </a:cubicBezTo>
                  <a:cubicBezTo>
                    <a:pt x="224" y="90"/>
                    <a:pt x="224" y="90"/>
                    <a:pt x="225" y="89"/>
                  </a:cubicBezTo>
                  <a:cubicBezTo>
                    <a:pt x="224" y="89"/>
                    <a:pt x="223" y="89"/>
                    <a:pt x="223" y="89"/>
                  </a:cubicBezTo>
                  <a:cubicBezTo>
                    <a:pt x="223" y="89"/>
                    <a:pt x="223" y="89"/>
                    <a:pt x="222" y="89"/>
                  </a:cubicBezTo>
                  <a:cubicBezTo>
                    <a:pt x="222" y="89"/>
                    <a:pt x="220" y="89"/>
                    <a:pt x="216" y="90"/>
                  </a:cubicBezTo>
                  <a:cubicBezTo>
                    <a:pt x="213" y="91"/>
                    <a:pt x="209" y="92"/>
                    <a:pt x="206" y="92"/>
                  </a:cubicBezTo>
                  <a:cubicBezTo>
                    <a:pt x="206" y="92"/>
                    <a:pt x="206" y="92"/>
                    <a:pt x="205" y="92"/>
                  </a:cubicBezTo>
                  <a:cubicBezTo>
                    <a:pt x="205" y="95"/>
                    <a:pt x="205" y="95"/>
                    <a:pt x="205" y="95"/>
                  </a:cubicBezTo>
                  <a:cubicBezTo>
                    <a:pt x="205" y="92"/>
                    <a:pt x="205" y="92"/>
                    <a:pt x="205" y="92"/>
                  </a:cubicBezTo>
                  <a:cubicBezTo>
                    <a:pt x="203" y="92"/>
                    <a:pt x="201" y="91"/>
                    <a:pt x="200" y="90"/>
                  </a:cubicBezTo>
                  <a:cubicBezTo>
                    <a:pt x="200" y="89"/>
                    <a:pt x="199" y="87"/>
                    <a:pt x="200" y="83"/>
                  </a:cubicBezTo>
                  <a:cubicBezTo>
                    <a:pt x="200" y="82"/>
                    <a:pt x="200" y="82"/>
                    <a:pt x="200" y="82"/>
                  </a:cubicBezTo>
                  <a:cubicBezTo>
                    <a:pt x="199" y="81"/>
                    <a:pt x="199" y="80"/>
                    <a:pt x="199" y="80"/>
                  </a:cubicBezTo>
                  <a:cubicBezTo>
                    <a:pt x="196" y="80"/>
                    <a:pt x="196" y="80"/>
                    <a:pt x="196" y="80"/>
                  </a:cubicBezTo>
                  <a:cubicBezTo>
                    <a:pt x="199" y="78"/>
                    <a:pt x="199" y="78"/>
                    <a:pt x="199" y="78"/>
                  </a:cubicBezTo>
                  <a:cubicBezTo>
                    <a:pt x="199" y="78"/>
                    <a:pt x="199" y="78"/>
                    <a:pt x="199" y="78"/>
                  </a:cubicBezTo>
                  <a:cubicBezTo>
                    <a:pt x="199" y="77"/>
                    <a:pt x="199" y="77"/>
                    <a:pt x="199" y="76"/>
                  </a:cubicBezTo>
                  <a:cubicBezTo>
                    <a:pt x="199" y="75"/>
                    <a:pt x="199" y="75"/>
                    <a:pt x="199" y="74"/>
                  </a:cubicBezTo>
                  <a:cubicBezTo>
                    <a:pt x="199" y="72"/>
                    <a:pt x="200" y="70"/>
                    <a:pt x="202" y="68"/>
                  </a:cubicBezTo>
                  <a:cubicBezTo>
                    <a:pt x="202" y="68"/>
                    <a:pt x="203" y="67"/>
                    <a:pt x="203" y="67"/>
                  </a:cubicBezTo>
                  <a:cubicBezTo>
                    <a:pt x="203" y="66"/>
                    <a:pt x="204" y="66"/>
                    <a:pt x="204" y="65"/>
                  </a:cubicBezTo>
                  <a:cubicBezTo>
                    <a:pt x="205" y="65"/>
                    <a:pt x="207" y="62"/>
                    <a:pt x="208" y="59"/>
                  </a:cubicBezTo>
                  <a:cubicBezTo>
                    <a:pt x="210" y="56"/>
                    <a:pt x="212" y="54"/>
                    <a:pt x="213" y="52"/>
                  </a:cubicBezTo>
                  <a:cubicBezTo>
                    <a:pt x="206" y="44"/>
                    <a:pt x="206" y="44"/>
                    <a:pt x="206" y="44"/>
                  </a:cubicBezTo>
                  <a:cubicBezTo>
                    <a:pt x="204" y="41"/>
                    <a:pt x="201" y="38"/>
                    <a:pt x="198" y="35"/>
                  </a:cubicBezTo>
                  <a:cubicBezTo>
                    <a:pt x="195" y="32"/>
                    <a:pt x="195" y="32"/>
                    <a:pt x="195" y="32"/>
                  </a:cubicBezTo>
                  <a:cubicBezTo>
                    <a:pt x="191" y="27"/>
                    <a:pt x="186" y="22"/>
                    <a:pt x="181" y="17"/>
                  </a:cubicBezTo>
                  <a:cubicBezTo>
                    <a:pt x="179" y="15"/>
                    <a:pt x="179" y="15"/>
                    <a:pt x="179" y="15"/>
                  </a:cubicBezTo>
                  <a:cubicBezTo>
                    <a:pt x="178" y="14"/>
                    <a:pt x="175" y="13"/>
                    <a:pt x="174" y="12"/>
                  </a:cubicBezTo>
                  <a:cubicBezTo>
                    <a:pt x="173" y="12"/>
                    <a:pt x="173" y="12"/>
                    <a:pt x="173" y="12"/>
                  </a:cubicBezTo>
                  <a:cubicBezTo>
                    <a:pt x="172" y="12"/>
                    <a:pt x="171" y="12"/>
                    <a:pt x="171" y="11"/>
                  </a:cubicBezTo>
                  <a:cubicBezTo>
                    <a:pt x="170" y="11"/>
                    <a:pt x="169" y="11"/>
                    <a:pt x="168" y="10"/>
                  </a:cubicBezTo>
                  <a:cubicBezTo>
                    <a:pt x="168" y="10"/>
                    <a:pt x="168" y="10"/>
                    <a:pt x="168" y="10"/>
                  </a:cubicBezTo>
                  <a:cubicBezTo>
                    <a:pt x="167" y="9"/>
                    <a:pt x="166" y="9"/>
                    <a:pt x="166" y="8"/>
                  </a:cubicBezTo>
                  <a:cubicBezTo>
                    <a:pt x="165" y="8"/>
                    <a:pt x="165" y="8"/>
                    <a:pt x="165" y="8"/>
                  </a:cubicBezTo>
                  <a:cubicBezTo>
                    <a:pt x="165" y="8"/>
                    <a:pt x="165" y="8"/>
                    <a:pt x="165" y="8"/>
                  </a:cubicBezTo>
                  <a:cubicBezTo>
                    <a:pt x="164" y="7"/>
                    <a:pt x="164" y="7"/>
                    <a:pt x="164" y="7"/>
                  </a:cubicBezTo>
                  <a:cubicBezTo>
                    <a:pt x="163" y="6"/>
                    <a:pt x="163" y="6"/>
                    <a:pt x="163" y="6"/>
                  </a:cubicBezTo>
                  <a:cubicBezTo>
                    <a:pt x="163" y="6"/>
                    <a:pt x="163" y="6"/>
                    <a:pt x="163" y="6"/>
                  </a:cubicBezTo>
                  <a:cubicBezTo>
                    <a:pt x="162" y="6"/>
                    <a:pt x="162" y="6"/>
                    <a:pt x="162" y="6"/>
                  </a:cubicBezTo>
                  <a:cubicBezTo>
                    <a:pt x="162" y="6"/>
                    <a:pt x="162" y="6"/>
                    <a:pt x="162" y="6"/>
                  </a:cubicBezTo>
                  <a:cubicBezTo>
                    <a:pt x="161" y="7"/>
                    <a:pt x="159" y="7"/>
                    <a:pt x="158" y="7"/>
                  </a:cubicBezTo>
                  <a:cubicBezTo>
                    <a:pt x="157" y="7"/>
                    <a:pt x="156" y="7"/>
                    <a:pt x="154" y="6"/>
                  </a:cubicBezTo>
                  <a:cubicBezTo>
                    <a:pt x="154" y="6"/>
                    <a:pt x="153" y="6"/>
                    <a:pt x="153" y="5"/>
                  </a:cubicBezTo>
                  <a:cubicBezTo>
                    <a:pt x="152" y="6"/>
                    <a:pt x="152" y="6"/>
                    <a:pt x="151" y="7"/>
                  </a:cubicBezTo>
                  <a:cubicBezTo>
                    <a:pt x="150" y="7"/>
                    <a:pt x="150" y="7"/>
                    <a:pt x="150" y="7"/>
                  </a:cubicBezTo>
                  <a:cubicBezTo>
                    <a:pt x="149" y="7"/>
                    <a:pt x="148" y="7"/>
                    <a:pt x="147" y="7"/>
                  </a:cubicBezTo>
                  <a:cubicBezTo>
                    <a:pt x="146" y="8"/>
                    <a:pt x="146" y="8"/>
                    <a:pt x="145" y="8"/>
                  </a:cubicBezTo>
                  <a:cubicBezTo>
                    <a:pt x="145" y="8"/>
                    <a:pt x="145" y="8"/>
                    <a:pt x="145" y="8"/>
                  </a:cubicBezTo>
                  <a:cubicBezTo>
                    <a:pt x="145" y="8"/>
                    <a:pt x="145" y="8"/>
                    <a:pt x="145" y="8"/>
                  </a:cubicBezTo>
                  <a:cubicBezTo>
                    <a:pt x="145" y="8"/>
                    <a:pt x="145" y="8"/>
                    <a:pt x="145" y="8"/>
                  </a:cubicBezTo>
                  <a:cubicBezTo>
                    <a:pt x="140" y="6"/>
                    <a:pt x="140" y="6"/>
                    <a:pt x="140" y="6"/>
                  </a:cubicBezTo>
                  <a:cubicBezTo>
                    <a:pt x="140" y="5"/>
                    <a:pt x="140" y="5"/>
                    <a:pt x="140" y="5"/>
                  </a:cubicBezTo>
                  <a:cubicBezTo>
                    <a:pt x="140" y="5"/>
                    <a:pt x="140" y="5"/>
                    <a:pt x="140" y="5"/>
                  </a:cubicBezTo>
                  <a:cubicBezTo>
                    <a:pt x="140" y="5"/>
                    <a:pt x="140" y="5"/>
                    <a:pt x="140" y="5"/>
                  </a:cubicBezTo>
                  <a:cubicBezTo>
                    <a:pt x="140" y="4"/>
                    <a:pt x="140" y="4"/>
                    <a:pt x="140" y="4"/>
                  </a:cubicBezTo>
                  <a:cubicBezTo>
                    <a:pt x="140" y="4"/>
                    <a:pt x="140" y="4"/>
                    <a:pt x="140" y="4"/>
                  </a:cubicBezTo>
                  <a:cubicBezTo>
                    <a:pt x="139" y="5"/>
                    <a:pt x="138" y="5"/>
                    <a:pt x="138" y="6"/>
                  </a:cubicBezTo>
                  <a:cubicBezTo>
                    <a:pt x="137" y="6"/>
                    <a:pt x="137" y="6"/>
                    <a:pt x="136" y="6"/>
                  </a:cubicBezTo>
                  <a:cubicBezTo>
                    <a:pt x="135" y="6"/>
                    <a:pt x="134" y="7"/>
                    <a:pt x="134" y="7"/>
                  </a:cubicBezTo>
                  <a:cubicBezTo>
                    <a:pt x="133" y="7"/>
                    <a:pt x="132" y="7"/>
                    <a:pt x="131" y="8"/>
                  </a:cubicBezTo>
                  <a:cubicBezTo>
                    <a:pt x="130" y="8"/>
                    <a:pt x="128" y="8"/>
                    <a:pt x="127" y="9"/>
                  </a:cubicBezTo>
                  <a:cubicBezTo>
                    <a:pt x="125" y="10"/>
                    <a:pt x="125" y="10"/>
                    <a:pt x="125" y="10"/>
                  </a:cubicBezTo>
                  <a:cubicBezTo>
                    <a:pt x="124" y="8"/>
                    <a:pt x="124" y="8"/>
                    <a:pt x="124" y="8"/>
                  </a:cubicBezTo>
                  <a:cubicBezTo>
                    <a:pt x="123" y="7"/>
                    <a:pt x="121" y="6"/>
                    <a:pt x="120" y="5"/>
                  </a:cubicBezTo>
                  <a:cubicBezTo>
                    <a:pt x="119" y="4"/>
                    <a:pt x="119" y="4"/>
                    <a:pt x="119" y="4"/>
                  </a:cubicBezTo>
                  <a:cubicBezTo>
                    <a:pt x="118" y="3"/>
                    <a:pt x="118" y="3"/>
                    <a:pt x="117" y="2"/>
                  </a:cubicBezTo>
                  <a:cubicBezTo>
                    <a:pt x="116" y="2"/>
                    <a:pt x="115" y="2"/>
                    <a:pt x="114" y="1"/>
                  </a:cubicBezTo>
                  <a:cubicBezTo>
                    <a:pt x="113" y="1"/>
                    <a:pt x="112" y="1"/>
                    <a:pt x="1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210">
              <a:extLst>
                <a:ext uri="{FF2B5EF4-FFF2-40B4-BE49-F238E27FC236}">
                  <a16:creationId xmlns:a16="http://schemas.microsoft.com/office/drawing/2014/main" id="{8A75A765-70A4-4FE1-B448-5C5F8D574EB8}"/>
                </a:ext>
              </a:extLst>
            </p:cNvPr>
            <p:cNvSpPr>
              <a:spLocks/>
            </p:cNvSpPr>
            <p:nvPr/>
          </p:nvSpPr>
          <p:spPr bwMode="auto">
            <a:xfrm>
              <a:off x="5748" y="1947"/>
              <a:ext cx="0" cy="2"/>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211">
              <a:extLst>
                <a:ext uri="{FF2B5EF4-FFF2-40B4-BE49-F238E27FC236}">
                  <a16:creationId xmlns:a16="http://schemas.microsoft.com/office/drawing/2014/main" id="{2573CEAE-9265-4D30-8FE1-12C541BC9C42}"/>
                </a:ext>
              </a:extLst>
            </p:cNvPr>
            <p:cNvSpPr>
              <a:spLocks/>
            </p:cNvSpPr>
            <p:nvPr/>
          </p:nvSpPr>
          <p:spPr bwMode="auto">
            <a:xfrm>
              <a:off x="5748" y="1947"/>
              <a:ext cx="0" cy="2"/>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212">
              <a:extLst>
                <a:ext uri="{FF2B5EF4-FFF2-40B4-BE49-F238E27FC236}">
                  <a16:creationId xmlns:a16="http://schemas.microsoft.com/office/drawing/2014/main" id="{379A1F05-F099-451A-8489-A320318CC394}"/>
                </a:ext>
              </a:extLst>
            </p:cNvPr>
            <p:cNvSpPr>
              <a:spLocks/>
            </p:cNvSpPr>
            <p:nvPr/>
          </p:nvSpPr>
          <p:spPr bwMode="auto">
            <a:xfrm>
              <a:off x="5696" y="1750"/>
              <a:ext cx="359" cy="305"/>
            </a:xfrm>
            <a:custGeom>
              <a:avLst/>
              <a:gdLst>
                <a:gd name="T0" fmla="*/ 43 w 152"/>
                <a:gd name="T1" fmla="*/ 8 h 129"/>
                <a:gd name="T2" fmla="*/ 42 w 152"/>
                <a:gd name="T3" fmla="*/ 9 h 129"/>
                <a:gd name="T4" fmla="*/ 41 w 152"/>
                <a:gd name="T5" fmla="*/ 10 h 129"/>
                <a:gd name="T6" fmla="*/ 38 w 152"/>
                <a:gd name="T7" fmla="*/ 11 h 129"/>
                <a:gd name="T8" fmla="*/ 33 w 152"/>
                <a:gd name="T9" fmla="*/ 12 h 129"/>
                <a:gd name="T10" fmla="*/ 30 w 152"/>
                <a:gd name="T11" fmla="*/ 14 h 129"/>
                <a:gd name="T12" fmla="*/ 24 w 152"/>
                <a:gd name="T13" fmla="*/ 19 h 129"/>
                <a:gd name="T14" fmla="*/ 22 w 152"/>
                <a:gd name="T15" fmla="*/ 21 h 129"/>
                <a:gd name="T16" fmla="*/ 9 w 152"/>
                <a:gd name="T17" fmla="*/ 42 h 129"/>
                <a:gd name="T18" fmla="*/ 0 w 152"/>
                <a:gd name="T19" fmla="*/ 73 h 129"/>
                <a:gd name="T20" fmla="*/ 1 w 152"/>
                <a:gd name="T21" fmla="*/ 76 h 129"/>
                <a:gd name="T22" fmla="*/ 1 w 152"/>
                <a:gd name="T23" fmla="*/ 81 h 129"/>
                <a:gd name="T24" fmla="*/ 1 w 152"/>
                <a:gd name="T25" fmla="*/ 84 h 129"/>
                <a:gd name="T26" fmla="*/ 2 w 152"/>
                <a:gd name="T27" fmla="*/ 84 h 129"/>
                <a:gd name="T28" fmla="*/ 8 w 152"/>
                <a:gd name="T29" fmla="*/ 84 h 129"/>
                <a:gd name="T30" fmla="*/ 13 w 152"/>
                <a:gd name="T31" fmla="*/ 82 h 129"/>
                <a:gd name="T32" fmla="*/ 19 w 152"/>
                <a:gd name="T33" fmla="*/ 80 h 129"/>
                <a:gd name="T34" fmla="*/ 22 w 152"/>
                <a:gd name="T35" fmla="*/ 83 h 129"/>
                <a:gd name="T36" fmla="*/ 27 w 152"/>
                <a:gd name="T37" fmla="*/ 74 h 129"/>
                <a:gd name="T38" fmla="*/ 31 w 152"/>
                <a:gd name="T39" fmla="*/ 66 h 129"/>
                <a:gd name="T40" fmla="*/ 35 w 152"/>
                <a:gd name="T41" fmla="*/ 72 h 129"/>
                <a:gd name="T42" fmla="*/ 36 w 152"/>
                <a:gd name="T43" fmla="*/ 73 h 129"/>
                <a:gd name="T44" fmla="*/ 45 w 152"/>
                <a:gd name="T45" fmla="*/ 78 h 129"/>
                <a:gd name="T46" fmla="*/ 50 w 152"/>
                <a:gd name="T47" fmla="*/ 79 h 129"/>
                <a:gd name="T48" fmla="*/ 54 w 152"/>
                <a:gd name="T49" fmla="*/ 78 h 129"/>
                <a:gd name="T50" fmla="*/ 58 w 152"/>
                <a:gd name="T51" fmla="*/ 76 h 129"/>
                <a:gd name="T52" fmla="*/ 60 w 152"/>
                <a:gd name="T53" fmla="*/ 75 h 129"/>
                <a:gd name="T54" fmla="*/ 63 w 152"/>
                <a:gd name="T55" fmla="*/ 75 h 129"/>
                <a:gd name="T56" fmla="*/ 69 w 152"/>
                <a:gd name="T57" fmla="*/ 74 h 129"/>
                <a:gd name="T58" fmla="*/ 65 w 152"/>
                <a:gd name="T59" fmla="*/ 79 h 129"/>
                <a:gd name="T60" fmla="*/ 68 w 152"/>
                <a:gd name="T61" fmla="*/ 79 h 129"/>
                <a:gd name="T62" fmla="*/ 70 w 152"/>
                <a:gd name="T63" fmla="*/ 77 h 129"/>
                <a:gd name="T64" fmla="*/ 78 w 152"/>
                <a:gd name="T65" fmla="*/ 78 h 129"/>
                <a:gd name="T66" fmla="*/ 83 w 152"/>
                <a:gd name="T67" fmla="*/ 77 h 129"/>
                <a:gd name="T68" fmla="*/ 91 w 152"/>
                <a:gd name="T69" fmla="*/ 76 h 129"/>
                <a:gd name="T70" fmla="*/ 91 w 152"/>
                <a:gd name="T71" fmla="*/ 82 h 129"/>
                <a:gd name="T72" fmla="*/ 95 w 152"/>
                <a:gd name="T73" fmla="*/ 84 h 129"/>
                <a:gd name="T74" fmla="*/ 123 w 152"/>
                <a:gd name="T75" fmla="*/ 108 h 129"/>
                <a:gd name="T76" fmla="*/ 144 w 152"/>
                <a:gd name="T77" fmla="*/ 129 h 129"/>
                <a:gd name="T78" fmla="*/ 151 w 152"/>
                <a:gd name="T79" fmla="*/ 119 h 129"/>
                <a:gd name="T80" fmla="*/ 136 w 152"/>
                <a:gd name="T81" fmla="*/ 109 h 129"/>
                <a:gd name="T82" fmla="*/ 107 w 152"/>
                <a:gd name="T83" fmla="*/ 78 h 129"/>
                <a:gd name="T84" fmla="*/ 77 w 152"/>
                <a:gd name="T85" fmla="*/ 57 h 129"/>
                <a:gd name="T86" fmla="*/ 75 w 152"/>
                <a:gd name="T87" fmla="*/ 66 h 129"/>
                <a:gd name="T88" fmla="*/ 68 w 152"/>
                <a:gd name="T89" fmla="*/ 54 h 129"/>
                <a:gd name="T90" fmla="*/ 49 w 152"/>
                <a:gd name="T9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2" h="129">
                  <a:moveTo>
                    <a:pt x="49" y="0"/>
                  </a:moveTo>
                  <a:cubicBezTo>
                    <a:pt x="49" y="0"/>
                    <a:pt x="48" y="1"/>
                    <a:pt x="48" y="1"/>
                  </a:cubicBezTo>
                  <a:cubicBezTo>
                    <a:pt x="47" y="3"/>
                    <a:pt x="45" y="6"/>
                    <a:pt x="43" y="8"/>
                  </a:cubicBezTo>
                  <a:cubicBezTo>
                    <a:pt x="43" y="8"/>
                    <a:pt x="43" y="8"/>
                    <a:pt x="43" y="8"/>
                  </a:cubicBezTo>
                  <a:cubicBezTo>
                    <a:pt x="42" y="8"/>
                    <a:pt x="42" y="8"/>
                    <a:pt x="42" y="8"/>
                  </a:cubicBezTo>
                  <a:cubicBezTo>
                    <a:pt x="42" y="9"/>
                    <a:pt x="42" y="9"/>
                    <a:pt x="42" y="9"/>
                  </a:cubicBezTo>
                  <a:cubicBezTo>
                    <a:pt x="42" y="9"/>
                    <a:pt x="42" y="9"/>
                    <a:pt x="42" y="9"/>
                  </a:cubicBezTo>
                  <a:cubicBezTo>
                    <a:pt x="41" y="10"/>
                    <a:pt x="41" y="10"/>
                    <a:pt x="41" y="10"/>
                  </a:cubicBezTo>
                  <a:cubicBezTo>
                    <a:pt x="41" y="10"/>
                    <a:pt x="41" y="10"/>
                    <a:pt x="41" y="10"/>
                  </a:cubicBezTo>
                  <a:cubicBezTo>
                    <a:pt x="41" y="10"/>
                    <a:pt x="41" y="10"/>
                    <a:pt x="41" y="10"/>
                  </a:cubicBezTo>
                  <a:cubicBezTo>
                    <a:pt x="40" y="10"/>
                    <a:pt x="40" y="10"/>
                    <a:pt x="39" y="11"/>
                  </a:cubicBezTo>
                  <a:cubicBezTo>
                    <a:pt x="39" y="11"/>
                    <a:pt x="38" y="11"/>
                    <a:pt x="38" y="11"/>
                  </a:cubicBezTo>
                  <a:cubicBezTo>
                    <a:pt x="37" y="11"/>
                    <a:pt x="37" y="11"/>
                    <a:pt x="37" y="11"/>
                  </a:cubicBezTo>
                  <a:cubicBezTo>
                    <a:pt x="36" y="11"/>
                    <a:pt x="35" y="11"/>
                    <a:pt x="34" y="11"/>
                  </a:cubicBezTo>
                  <a:cubicBezTo>
                    <a:pt x="34" y="12"/>
                    <a:pt x="34" y="12"/>
                    <a:pt x="33" y="12"/>
                  </a:cubicBezTo>
                  <a:cubicBezTo>
                    <a:pt x="33" y="12"/>
                    <a:pt x="33" y="12"/>
                    <a:pt x="33" y="12"/>
                  </a:cubicBezTo>
                  <a:cubicBezTo>
                    <a:pt x="32" y="13"/>
                    <a:pt x="31" y="13"/>
                    <a:pt x="31" y="14"/>
                  </a:cubicBezTo>
                  <a:cubicBezTo>
                    <a:pt x="30" y="14"/>
                    <a:pt x="30" y="14"/>
                    <a:pt x="30" y="14"/>
                  </a:cubicBezTo>
                  <a:cubicBezTo>
                    <a:pt x="28" y="15"/>
                    <a:pt x="26" y="16"/>
                    <a:pt x="25" y="17"/>
                  </a:cubicBezTo>
                  <a:cubicBezTo>
                    <a:pt x="25" y="18"/>
                    <a:pt x="25" y="18"/>
                    <a:pt x="25" y="18"/>
                  </a:cubicBezTo>
                  <a:cubicBezTo>
                    <a:pt x="24" y="19"/>
                    <a:pt x="24" y="19"/>
                    <a:pt x="24" y="19"/>
                  </a:cubicBezTo>
                  <a:cubicBezTo>
                    <a:pt x="23" y="19"/>
                    <a:pt x="23" y="19"/>
                    <a:pt x="23" y="19"/>
                  </a:cubicBezTo>
                  <a:cubicBezTo>
                    <a:pt x="23" y="20"/>
                    <a:pt x="23" y="20"/>
                    <a:pt x="23" y="20"/>
                  </a:cubicBezTo>
                  <a:cubicBezTo>
                    <a:pt x="22" y="21"/>
                    <a:pt x="22" y="21"/>
                    <a:pt x="22" y="21"/>
                  </a:cubicBezTo>
                  <a:cubicBezTo>
                    <a:pt x="21" y="22"/>
                    <a:pt x="19" y="23"/>
                    <a:pt x="16" y="23"/>
                  </a:cubicBezTo>
                  <a:cubicBezTo>
                    <a:pt x="15" y="23"/>
                    <a:pt x="14" y="23"/>
                    <a:pt x="12" y="22"/>
                  </a:cubicBezTo>
                  <a:cubicBezTo>
                    <a:pt x="12" y="29"/>
                    <a:pt x="12" y="35"/>
                    <a:pt x="9" y="42"/>
                  </a:cubicBezTo>
                  <a:cubicBezTo>
                    <a:pt x="8" y="45"/>
                    <a:pt x="7" y="48"/>
                    <a:pt x="6" y="50"/>
                  </a:cubicBezTo>
                  <a:cubicBezTo>
                    <a:pt x="3" y="56"/>
                    <a:pt x="1" y="61"/>
                    <a:pt x="0" y="66"/>
                  </a:cubicBezTo>
                  <a:cubicBezTo>
                    <a:pt x="0" y="68"/>
                    <a:pt x="0" y="71"/>
                    <a:pt x="0" y="73"/>
                  </a:cubicBezTo>
                  <a:cubicBezTo>
                    <a:pt x="0" y="73"/>
                    <a:pt x="0" y="73"/>
                    <a:pt x="0" y="73"/>
                  </a:cubicBezTo>
                  <a:cubicBezTo>
                    <a:pt x="0" y="74"/>
                    <a:pt x="1" y="75"/>
                    <a:pt x="1" y="76"/>
                  </a:cubicBezTo>
                  <a:cubicBezTo>
                    <a:pt x="1" y="76"/>
                    <a:pt x="1" y="76"/>
                    <a:pt x="1" y="76"/>
                  </a:cubicBezTo>
                  <a:cubicBezTo>
                    <a:pt x="1" y="77"/>
                    <a:pt x="1" y="78"/>
                    <a:pt x="1" y="80"/>
                  </a:cubicBezTo>
                  <a:cubicBezTo>
                    <a:pt x="1" y="80"/>
                    <a:pt x="1" y="80"/>
                    <a:pt x="1" y="80"/>
                  </a:cubicBezTo>
                  <a:cubicBezTo>
                    <a:pt x="1" y="81"/>
                    <a:pt x="1" y="81"/>
                    <a:pt x="1" y="81"/>
                  </a:cubicBezTo>
                  <a:cubicBezTo>
                    <a:pt x="1" y="82"/>
                    <a:pt x="1" y="82"/>
                    <a:pt x="1" y="82"/>
                  </a:cubicBezTo>
                  <a:cubicBezTo>
                    <a:pt x="1" y="83"/>
                    <a:pt x="1" y="83"/>
                    <a:pt x="1" y="83"/>
                  </a:cubicBezTo>
                  <a:cubicBezTo>
                    <a:pt x="1" y="84"/>
                    <a:pt x="1" y="84"/>
                    <a:pt x="1" y="84"/>
                  </a:cubicBezTo>
                  <a:cubicBezTo>
                    <a:pt x="1" y="84"/>
                    <a:pt x="1" y="84"/>
                    <a:pt x="1" y="84"/>
                  </a:cubicBezTo>
                  <a:cubicBezTo>
                    <a:pt x="1" y="84"/>
                    <a:pt x="1" y="84"/>
                    <a:pt x="1" y="84"/>
                  </a:cubicBezTo>
                  <a:cubicBezTo>
                    <a:pt x="1" y="84"/>
                    <a:pt x="1" y="84"/>
                    <a:pt x="2" y="84"/>
                  </a:cubicBezTo>
                  <a:cubicBezTo>
                    <a:pt x="2" y="84"/>
                    <a:pt x="2" y="84"/>
                    <a:pt x="3" y="84"/>
                  </a:cubicBezTo>
                  <a:cubicBezTo>
                    <a:pt x="5" y="84"/>
                    <a:pt x="5" y="84"/>
                    <a:pt x="5" y="84"/>
                  </a:cubicBezTo>
                  <a:cubicBezTo>
                    <a:pt x="6" y="84"/>
                    <a:pt x="7" y="84"/>
                    <a:pt x="8" y="84"/>
                  </a:cubicBezTo>
                  <a:cubicBezTo>
                    <a:pt x="8" y="84"/>
                    <a:pt x="8" y="84"/>
                    <a:pt x="8" y="84"/>
                  </a:cubicBezTo>
                  <a:cubicBezTo>
                    <a:pt x="9" y="84"/>
                    <a:pt x="10" y="84"/>
                    <a:pt x="11" y="84"/>
                  </a:cubicBezTo>
                  <a:cubicBezTo>
                    <a:pt x="11" y="84"/>
                    <a:pt x="12" y="83"/>
                    <a:pt x="13" y="82"/>
                  </a:cubicBezTo>
                  <a:cubicBezTo>
                    <a:pt x="14" y="81"/>
                    <a:pt x="15" y="80"/>
                    <a:pt x="16" y="80"/>
                  </a:cubicBezTo>
                  <a:cubicBezTo>
                    <a:pt x="18" y="78"/>
                    <a:pt x="18" y="78"/>
                    <a:pt x="18" y="78"/>
                  </a:cubicBezTo>
                  <a:cubicBezTo>
                    <a:pt x="19" y="80"/>
                    <a:pt x="19" y="80"/>
                    <a:pt x="19" y="80"/>
                  </a:cubicBezTo>
                  <a:cubicBezTo>
                    <a:pt x="20" y="81"/>
                    <a:pt x="20" y="82"/>
                    <a:pt x="21" y="82"/>
                  </a:cubicBezTo>
                  <a:cubicBezTo>
                    <a:pt x="21" y="83"/>
                    <a:pt x="21" y="83"/>
                    <a:pt x="21" y="83"/>
                  </a:cubicBezTo>
                  <a:cubicBezTo>
                    <a:pt x="22" y="83"/>
                    <a:pt x="22" y="83"/>
                    <a:pt x="22" y="83"/>
                  </a:cubicBezTo>
                  <a:cubicBezTo>
                    <a:pt x="22" y="83"/>
                    <a:pt x="22" y="83"/>
                    <a:pt x="22" y="83"/>
                  </a:cubicBezTo>
                  <a:cubicBezTo>
                    <a:pt x="22" y="82"/>
                    <a:pt x="22" y="82"/>
                    <a:pt x="22" y="82"/>
                  </a:cubicBezTo>
                  <a:cubicBezTo>
                    <a:pt x="24" y="80"/>
                    <a:pt x="26" y="76"/>
                    <a:pt x="27" y="74"/>
                  </a:cubicBezTo>
                  <a:cubicBezTo>
                    <a:pt x="27" y="74"/>
                    <a:pt x="27" y="74"/>
                    <a:pt x="27" y="74"/>
                  </a:cubicBezTo>
                  <a:cubicBezTo>
                    <a:pt x="28" y="73"/>
                    <a:pt x="28" y="73"/>
                    <a:pt x="28" y="73"/>
                  </a:cubicBezTo>
                  <a:cubicBezTo>
                    <a:pt x="31" y="66"/>
                    <a:pt x="31" y="66"/>
                    <a:pt x="31" y="66"/>
                  </a:cubicBezTo>
                  <a:cubicBezTo>
                    <a:pt x="34" y="70"/>
                    <a:pt x="34" y="70"/>
                    <a:pt x="34" y="70"/>
                  </a:cubicBezTo>
                  <a:cubicBezTo>
                    <a:pt x="34" y="71"/>
                    <a:pt x="34" y="71"/>
                    <a:pt x="34" y="71"/>
                  </a:cubicBezTo>
                  <a:cubicBezTo>
                    <a:pt x="35" y="72"/>
                    <a:pt x="35" y="72"/>
                    <a:pt x="35" y="72"/>
                  </a:cubicBezTo>
                  <a:cubicBezTo>
                    <a:pt x="35" y="72"/>
                    <a:pt x="35" y="72"/>
                    <a:pt x="35" y="72"/>
                  </a:cubicBezTo>
                  <a:cubicBezTo>
                    <a:pt x="36" y="73"/>
                    <a:pt x="36" y="73"/>
                    <a:pt x="36" y="73"/>
                  </a:cubicBezTo>
                  <a:cubicBezTo>
                    <a:pt x="36" y="73"/>
                    <a:pt x="36" y="73"/>
                    <a:pt x="36" y="73"/>
                  </a:cubicBezTo>
                  <a:cubicBezTo>
                    <a:pt x="37" y="73"/>
                    <a:pt x="38" y="74"/>
                    <a:pt x="38" y="74"/>
                  </a:cubicBezTo>
                  <a:cubicBezTo>
                    <a:pt x="40" y="74"/>
                    <a:pt x="42" y="75"/>
                    <a:pt x="44" y="77"/>
                  </a:cubicBezTo>
                  <a:cubicBezTo>
                    <a:pt x="45" y="78"/>
                    <a:pt x="45" y="78"/>
                    <a:pt x="45" y="78"/>
                  </a:cubicBezTo>
                  <a:cubicBezTo>
                    <a:pt x="45" y="78"/>
                    <a:pt x="46" y="79"/>
                    <a:pt x="46" y="79"/>
                  </a:cubicBezTo>
                  <a:cubicBezTo>
                    <a:pt x="46" y="80"/>
                    <a:pt x="46" y="80"/>
                    <a:pt x="46" y="80"/>
                  </a:cubicBezTo>
                  <a:cubicBezTo>
                    <a:pt x="47" y="79"/>
                    <a:pt x="49" y="79"/>
                    <a:pt x="50" y="79"/>
                  </a:cubicBezTo>
                  <a:cubicBezTo>
                    <a:pt x="51" y="79"/>
                    <a:pt x="51" y="79"/>
                    <a:pt x="52" y="78"/>
                  </a:cubicBezTo>
                  <a:cubicBezTo>
                    <a:pt x="52" y="78"/>
                    <a:pt x="53" y="78"/>
                    <a:pt x="53" y="78"/>
                  </a:cubicBezTo>
                  <a:cubicBezTo>
                    <a:pt x="54" y="78"/>
                    <a:pt x="54" y="78"/>
                    <a:pt x="54" y="78"/>
                  </a:cubicBezTo>
                  <a:cubicBezTo>
                    <a:pt x="55" y="77"/>
                    <a:pt x="55" y="77"/>
                    <a:pt x="55" y="77"/>
                  </a:cubicBezTo>
                  <a:cubicBezTo>
                    <a:pt x="56" y="77"/>
                    <a:pt x="56" y="77"/>
                    <a:pt x="57" y="76"/>
                  </a:cubicBezTo>
                  <a:cubicBezTo>
                    <a:pt x="57" y="76"/>
                    <a:pt x="58" y="76"/>
                    <a:pt x="58" y="76"/>
                  </a:cubicBezTo>
                  <a:cubicBezTo>
                    <a:pt x="59" y="75"/>
                    <a:pt x="59" y="75"/>
                    <a:pt x="59" y="75"/>
                  </a:cubicBezTo>
                  <a:cubicBezTo>
                    <a:pt x="59" y="75"/>
                    <a:pt x="60" y="75"/>
                    <a:pt x="60" y="75"/>
                  </a:cubicBezTo>
                  <a:cubicBezTo>
                    <a:pt x="60" y="75"/>
                    <a:pt x="60" y="75"/>
                    <a:pt x="60" y="75"/>
                  </a:cubicBezTo>
                  <a:cubicBezTo>
                    <a:pt x="61" y="75"/>
                    <a:pt x="61" y="75"/>
                    <a:pt x="61" y="75"/>
                  </a:cubicBezTo>
                  <a:cubicBezTo>
                    <a:pt x="61" y="75"/>
                    <a:pt x="61" y="75"/>
                    <a:pt x="61" y="75"/>
                  </a:cubicBezTo>
                  <a:cubicBezTo>
                    <a:pt x="62" y="75"/>
                    <a:pt x="62" y="75"/>
                    <a:pt x="63" y="75"/>
                  </a:cubicBezTo>
                  <a:cubicBezTo>
                    <a:pt x="63" y="76"/>
                    <a:pt x="63" y="76"/>
                    <a:pt x="63" y="76"/>
                  </a:cubicBezTo>
                  <a:cubicBezTo>
                    <a:pt x="64" y="76"/>
                    <a:pt x="64" y="76"/>
                    <a:pt x="64" y="77"/>
                  </a:cubicBezTo>
                  <a:cubicBezTo>
                    <a:pt x="69" y="74"/>
                    <a:pt x="69" y="74"/>
                    <a:pt x="69" y="74"/>
                  </a:cubicBezTo>
                  <a:cubicBezTo>
                    <a:pt x="65" y="78"/>
                    <a:pt x="65" y="78"/>
                    <a:pt x="65" y="78"/>
                  </a:cubicBezTo>
                  <a:cubicBezTo>
                    <a:pt x="65" y="78"/>
                    <a:pt x="65" y="78"/>
                    <a:pt x="65" y="78"/>
                  </a:cubicBezTo>
                  <a:cubicBezTo>
                    <a:pt x="65" y="79"/>
                    <a:pt x="65" y="79"/>
                    <a:pt x="65" y="79"/>
                  </a:cubicBezTo>
                  <a:cubicBezTo>
                    <a:pt x="66" y="79"/>
                    <a:pt x="66" y="79"/>
                    <a:pt x="66" y="79"/>
                  </a:cubicBezTo>
                  <a:cubicBezTo>
                    <a:pt x="67" y="79"/>
                    <a:pt x="67" y="79"/>
                    <a:pt x="67" y="79"/>
                  </a:cubicBezTo>
                  <a:cubicBezTo>
                    <a:pt x="67" y="79"/>
                    <a:pt x="68" y="79"/>
                    <a:pt x="68" y="79"/>
                  </a:cubicBezTo>
                  <a:cubicBezTo>
                    <a:pt x="69" y="78"/>
                    <a:pt x="69" y="78"/>
                    <a:pt x="69" y="78"/>
                  </a:cubicBezTo>
                  <a:cubicBezTo>
                    <a:pt x="69" y="78"/>
                    <a:pt x="69" y="78"/>
                    <a:pt x="69" y="78"/>
                  </a:cubicBezTo>
                  <a:cubicBezTo>
                    <a:pt x="70" y="78"/>
                    <a:pt x="70" y="78"/>
                    <a:pt x="70" y="77"/>
                  </a:cubicBezTo>
                  <a:cubicBezTo>
                    <a:pt x="71" y="77"/>
                    <a:pt x="72" y="76"/>
                    <a:pt x="73" y="76"/>
                  </a:cubicBezTo>
                  <a:cubicBezTo>
                    <a:pt x="73" y="76"/>
                    <a:pt x="74" y="77"/>
                    <a:pt x="75" y="77"/>
                  </a:cubicBezTo>
                  <a:cubicBezTo>
                    <a:pt x="75" y="77"/>
                    <a:pt x="76" y="78"/>
                    <a:pt x="78" y="78"/>
                  </a:cubicBezTo>
                  <a:cubicBezTo>
                    <a:pt x="78" y="78"/>
                    <a:pt x="78" y="78"/>
                    <a:pt x="78" y="78"/>
                  </a:cubicBezTo>
                  <a:cubicBezTo>
                    <a:pt x="78" y="78"/>
                    <a:pt x="79" y="78"/>
                    <a:pt x="80" y="78"/>
                  </a:cubicBezTo>
                  <a:cubicBezTo>
                    <a:pt x="80" y="78"/>
                    <a:pt x="82" y="77"/>
                    <a:pt x="83" y="77"/>
                  </a:cubicBezTo>
                  <a:cubicBezTo>
                    <a:pt x="84" y="77"/>
                    <a:pt x="85" y="77"/>
                    <a:pt x="86" y="78"/>
                  </a:cubicBezTo>
                  <a:cubicBezTo>
                    <a:pt x="88" y="80"/>
                    <a:pt x="88" y="80"/>
                    <a:pt x="88" y="80"/>
                  </a:cubicBezTo>
                  <a:cubicBezTo>
                    <a:pt x="91" y="76"/>
                    <a:pt x="91" y="76"/>
                    <a:pt x="91" y="76"/>
                  </a:cubicBezTo>
                  <a:cubicBezTo>
                    <a:pt x="89" y="80"/>
                    <a:pt x="89" y="80"/>
                    <a:pt x="89" y="80"/>
                  </a:cubicBezTo>
                  <a:cubicBezTo>
                    <a:pt x="90" y="81"/>
                    <a:pt x="90" y="81"/>
                    <a:pt x="90" y="81"/>
                  </a:cubicBezTo>
                  <a:cubicBezTo>
                    <a:pt x="90" y="81"/>
                    <a:pt x="90" y="82"/>
                    <a:pt x="91" y="82"/>
                  </a:cubicBezTo>
                  <a:cubicBezTo>
                    <a:pt x="92" y="82"/>
                    <a:pt x="92" y="83"/>
                    <a:pt x="93" y="83"/>
                  </a:cubicBezTo>
                  <a:cubicBezTo>
                    <a:pt x="93" y="83"/>
                    <a:pt x="94" y="83"/>
                    <a:pt x="95" y="84"/>
                  </a:cubicBezTo>
                  <a:cubicBezTo>
                    <a:pt x="95" y="84"/>
                    <a:pt x="95" y="84"/>
                    <a:pt x="95" y="84"/>
                  </a:cubicBezTo>
                  <a:cubicBezTo>
                    <a:pt x="98" y="85"/>
                    <a:pt x="101" y="86"/>
                    <a:pt x="103" y="88"/>
                  </a:cubicBezTo>
                  <a:cubicBezTo>
                    <a:pt x="109" y="93"/>
                    <a:pt x="114" y="99"/>
                    <a:pt x="119" y="105"/>
                  </a:cubicBezTo>
                  <a:cubicBezTo>
                    <a:pt x="123" y="108"/>
                    <a:pt x="123" y="108"/>
                    <a:pt x="123" y="108"/>
                  </a:cubicBezTo>
                  <a:cubicBezTo>
                    <a:pt x="126" y="111"/>
                    <a:pt x="128" y="114"/>
                    <a:pt x="131" y="117"/>
                  </a:cubicBezTo>
                  <a:cubicBezTo>
                    <a:pt x="139" y="128"/>
                    <a:pt x="139" y="128"/>
                    <a:pt x="139" y="128"/>
                  </a:cubicBezTo>
                  <a:cubicBezTo>
                    <a:pt x="141" y="129"/>
                    <a:pt x="143" y="129"/>
                    <a:pt x="144" y="129"/>
                  </a:cubicBezTo>
                  <a:cubicBezTo>
                    <a:pt x="146" y="127"/>
                    <a:pt x="150" y="123"/>
                    <a:pt x="152" y="122"/>
                  </a:cubicBezTo>
                  <a:cubicBezTo>
                    <a:pt x="152" y="122"/>
                    <a:pt x="152" y="121"/>
                    <a:pt x="152" y="121"/>
                  </a:cubicBezTo>
                  <a:cubicBezTo>
                    <a:pt x="152" y="121"/>
                    <a:pt x="151" y="120"/>
                    <a:pt x="151" y="119"/>
                  </a:cubicBezTo>
                  <a:cubicBezTo>
                    <a:pt x="150" y="120"/>
                    <a:pt x="149" y="121"/>
                    <a:pt x="148" y="121"/>
                  </a:cubicBezTo>
                  <a:cubicBezTo>
                    <a:pt x="144" y="121"/>
                    <a:pt x="141" y="112"/>
                    <a:pt x="136" y="112"/>
                  </a:cubicBezTo>
                  <a:cubicBezTo>
                    <a:pt x="136" y="111"/>
                    <a:pt x="136" y="110"/>
                    <a:pt x="136" y="109"/>
                  </a:cubicBezTo>
                  <a:cubicBezTo>
                    <a:pt x="134" y="104"/>
                    <a:pt x="131" y="100"/>
                    <a:pt x="127" y="97"/>
                  </a:cubicBezTo>
                  <a:cubicBezTo>
                    <a:pt x="125" y="95"/>
                    <a:pt x="121" y="95"/>
                    <a:pt x="120" y="94"/>
                  </a:cubicBezTo>
                  <a:cubicBezTo>
                    <a:pt x="115" y="89"/>
                    <a:pt x="112" y="81"/>
                    <a:pt x="107" y="78"/>
                  </a:cubicBezTo>
                  <a:cubicBezTo>
                    <a:pt x="103" y="75"/>
                    <a:pt x="99" y="73"/>
                    <a:pt x="95" y="71"/>
                  </a:cubicBezTo>
                  <a:cubicBezTo>
                    <a:pt x="92" y="69"/>
                    <a:pt x="86" y="71"/>
                    <a:pt x="84" y="69"/>
                  </a:cubicBezTo>
                  <a:cubicBezTo>
                    <a:pt x="81" y="66"/>
                    <a:pt x="80" y="60"/>
                    <a:pt x="77" y="57"/>
                  </a:cubicBezTo>
                  <a:cubicBezTo>
                    <a:pt x="76" y="58"/>
                    <a:pt x="75" y="59"/>
                    <a:pt x="75" y="60"/>
                  </a:cubicBezTo>
                  <a:cubicBezTo>
                    <a:pt x="75" y="62"/>
                    <a:pt x="77" y="63"/>
                    <a:pt x="77" y="64"/>
                  </a:cubicBezTo>
                  <a:cubicBezTo>
                    <a:pt x="77" y="65"/>
                    <a:pt x="76" y="66"/>
                    <a:pt x="75" y="66"/>
                  </a:cubicBezTo>
                  <a:cubicBezTo>
                    <a:pt x="74" y="66"/>
                    <a:pt x="74" y="66"/>
                    <a:pt x="73" y="65"/>
                  </a:cubicBezTo>
                  <a:cubicBezTo>
                    <a:pt x="73" y="65"/>
                    <a:pt x="74" y="64"/>
                    <a:pt x="74" y="63"/>
                  </a:cubicBezTo>
                  <a:cubicBezTo>
                    <a:pt x="73" y="61"/>
                    <a:pt x="66" y="56"/>
                    <a:pt x="68" y="54"/>
                  </a:cubicBezTo>
                  <a:cubicBezTo>
                    <a:pt x="67" y="50"/>
                    <a:pt x="63" y="46"/>
                    <a:pt x="62" y="42"/>
                  </a:cubicBezTo>
                  <a:cubicBezTo>
                    <a:pt x="61" y="37"/>
                    <a:pt x="61" y="31"/>
                    <a:pt x="60" y="27"/>
                  </a:cubicBezTo>
                  <a:cubicBezTo>
                    <a:pt x="58" y="17"/>
                    <a:pt x="53" y="9"/>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Freeform 213">
              <a:extLst>
                <a:ext uri="{FF2B5EF4-FFF2-40B4-BE49-F238E27FC236}">
                  <a16:creationId xmlns:a16="http://schemas.microsoft.com/office/drawing/2014/main" id="{2ED6FE04-541D-49B1-91E8-43E53B2010E8}"/>
                </a:ext>
              </a:extLst>
            </p:cNvPr>
            <p:cNvSpPr>
              <a:spLocks/>
            </p:cNvSpPr>
            <p:nvPr/>
          </p:nvSpPr>
          <p:spPr bwMode="auto">
            <a:xfrm>
              <a:off x="5946" y="2084"/>
              <a:ext cx="574" cy="756"/>
            </a:xfrm>
            <a:custGeom>
              <a:avLst/>
              <a:gdLst>
                <a:gd name="T0" fmla="*/ 224 w 243"/>
                <a:gd name="T1" fmla="*/ 2 h 320"/>
                <a:gd name="T2" fmla="*/ 206 w 243"/>
                <a:gd name="T3" fmla="*/ 11 h 320"/>
                <a:gd name="T4" fmla="*/ 151 w 243"/>
                <a:gd name="T5" fmla="*/ 19 h 320"/>
                <a:gd name="T6" fmla="*/ 138 w 243"/>
                <a:gd name="T7" fmla="*/ 26 h 320"/>
                <a:gd name="T8" fmla="*/ 124 w 243"/>
                <a:gd name="T9" fmla="*/ 31 h 320"/>
                <a:gd name="T10" fmla="*/ 114 w 243"/>
                <a:gd name="T11" fmla="*/ 28 h 320"/>
                <a:gd name="T12" fmla="*/ 92 w 243"/>
                <a:gd name="T13" fmla="*/ 37 h 320"/>
                <a:gd name="T14" fmla="*/ 81 w 243"/>
                <a:gd name="T15" fmla="*/ 38 h 320"/>
                <a:gd name="T16" fmla="*/ 60 w 243"/>
                <a:gd name="T17" fmla="*/ 24 h 320"/>
                <a:gd name="T18" fmla="*/ 53 w 243"/>
                <a:gd name="T19" fmla="*/ 14 h 320"/>
                <a:gd name="T20" fmla="*/ 49 w 243"/>
                <a:gd name="T21" fmla="*/ 22 h 320"/>
                <a:gd name="T22" fmla="*/ 43 w 243"/>
                <a:gd name="T23" fmla="*/ 30 h 320"/>
                <a:gd name="T24" fmla="*/ 40 w 243"/>
                <a:gd name="T25" fmla="*/ 33 h 320"/>
                <a:gd name="T26" fmla="*/ 42 w 243"/>
                <a:gd name="T27" fmla="*/ 35 h 320"/>
                <a:gd name="T28" fmla="*/ 50 w 243"/>
                <a:gd name="T29" fmla="*/ 48 h 320"/>
                <a:gd name="T30" fmla="*/ 53 w 243"/>
                <a:gd name="T31" fmla="*/ 52 h 320"/>
                <a:gd name="T32" fmla="*/ 65 w 243"/>
                <a:gd name="T33" fmla="*/ 64 h 320"/>
                <a:gd name="T34" fmla="*/ 70 w 243"/>
                <a:gd name="T35" fmla="*/ 68 h 320"/>
                <a:gd name="T36" fmla="*/ 84 w 243"/>
                <a:gd name="T37" fmla="*/ 73 h 320"/>
                <a:gd name="T38" fmla="*/ 127 w 243"/>
                <a:gd name="T39" fmla="*/ 88 h 320"/>
                <a:gd name="T40" fmla="*/ 140 w 243"/>
                <a:gd name="T41" fmla="*/ 92 h 320"/>
                <a:gd name="T42" fmla="*/ 146 w 243"/>
                <a:gd name="T43" fmla="*/ 93 h 320"/>
                <a:gd name="T44" fmla="*/ 148 w 243"/>
                <a:gd name="T45" fmla="*/ 93 h 320"/>
                <a:gd name="T46" fmla="*/ 155 w 243"/>
                <a:gd name="T47" fmla="*/ 92 h 320"/>
                <a:gd name="T48" fmla="*/ 170 w 243"/>
                <a:gd name="T49" fmla="*/ 92 h 320"/>
                <a:gd name="T50" fmla="*/ 149 w 243"/>
                <a:gd name="T51" fmla="*/ 112 h 320"/>
                <a:gd name="T52" fmla="*/ 106 w 243"/>
                <a:gd name="T53" fmla="*/ 156 h 320"/>
                <a:gd name="T54" fmla="*/ 103 w 243"/>
                <a:gd name="T55" fmla="*/ 160 h 320"/>
                <a:gd name="T56" fmla="*/ 99 w 243"/>
                <a:gd name="T57" fmla="*/ 164 h 320"/>
                <a:gd name="T58" fmla="*/ 93 w 243"/>
                <a:gd name="T59" fmla="*/ 169 h 320"/>
                <a:gd name="T60" fmla="*/ 89 w 243"/>
                <a:gd name="T61" fmla="*/ 170 h 320"/>
                <a:gd name="T62" fmla="*/ 87 w 243"/>
                <a:gd name="T63" fmla="*/ 171 h 320"/>
                <a:gd name="T64" fmla="*/ 82 w 243"/>
                <a:gd name="T65" fmla="*/ 170 h 320"/>
                <a:gd name="T66" fmla="*/ 80 w 243"/>
                <a:gd name="T67" fmla="*/ 170 h 320"/>
                <a:gd name="T68" fmla="*/ 75 w 243"/>
                <a:gd name="T69" fmla="*/ 170 h 320"/>
                <a:gd name="T70" fmla="*/ 72 w 243"/>
                <a:gd name="T71" fmla="*/ 170 h 320"/>
                <a:gd name="T72" fmla="*/ 70 w 243"/>
                <a:gd name="T73" fmla="*/ 170 h 320"/>
                <a:gd name="T74" fmla="*/ 63 w 243"/>
                <a:gd name="T75" fmla="*/ 171 h 320"/>
                <a:gd name="T76" fmla="*/ 42 w 243"/>
                <a:gd name="T77" fmla="*/ 184 h 320"/>
                <a:gd name="T78" fmla="*/ 32 w 243"/>
                <a:gd name="T79" fmla="*/ 187 h 320"/>
                <a:gd name="T80" fmla="*/ 26 w 243"/>
                <a:gd name="T81" fmla="*/ 187 h 320"/>
                <a:gd name="T82" fmla="*/ 22 w 243"/>
                <a:gd name="T83" fmla="*/ 191 h 320"/>
                <a:gd name="T84" fmla="*/ 8 w 243"/>
                <a:gd name="T85" fmla="*/ 209 h 320"/>
                <a:gd name="T86" fmla="*/ 6 w 243"/>
                <a:gd name="T87" fmla="*/ 211 h 320"/>
                <a:gd name="T88" fmla="*/ 1 w 243"/>
                <a:gd name="T89" fmla="*/ 217 h 320"/>
                <a:gd name="T90" fmla="*/ 0 w 243"/>
                <a:gd name="T91" fmla="*/ 222 h 320"/>
                <a:gd name="T92" fmla="*/ 1 w 243"/>
                <a:gd name="T93" fmla="*/ 225 h 320"/>
                <a:gd name="T94" fmla="*/ 1 w 243"/>
                <a:gd name="T95" fmla="*/ 259 h 320"/>
                <a:gd name="T96" fmla="*/ 1 w 243"/>
                <a:gd name="T97" fmla="*/ 288 h 320"/>
                <a:gd name="T98" fmla="*/ 1 w 243"/>
                <a:gd name="T99" fmla="*/ 303 h 320"/>
                <a:gd name="T100" fmla="*/ 7 w 243"/>
                <a:gd name="T101" fmla="*/ 312 h 320"/>
                <a:gd name="T102" fmla="*/ 13 w 243"/>
                <a:gd name="T103" fmla="*/ 320 h 320"/>
                <a:gd name="T104" fmla="*/ 20 w 243"/>
                <a:gd name="T105" fmla="*/ 306 h 320"/>
                <a:gd name="T106" fmla="*/ 84 w 243"/>
                <a:gd name="T107" fmla="*/ 247 h 320"/>
                <a:gd name="T108" fmla="*/ 127 w 243"/>
                <a:gd name="T109" fmla="*/ 213 h 320"/>
                <a:gd name="T110" fmla="*/ 182 w 243"/>
                <a:gd name="T111" fmla="*/ 147 h 320"/>
                <a:gd name="T112" fmla="*/ 204 w 243"/>
                <a:gd name="T113" fmla="*/ 101 h 320"/>
                <a:gd name="T114" fmla="*/ 223 w 243"/>
                <a:gd name="T115" fmla="*/ 71 h 320"/>
                <a:gd name="T116" fmla="*/ 230 w 243"/>
                <a:gd name="T117" fmla="*/ 49 h 320"/>
                <a:gd name="T118" fmla="*/ 243 w 243"/>
                <a:gd name="T119" fmla="*/ 37 h 320"/>
                <a:gd name="T120" fmla="*/ 235 w 243"/>
                <a:gd name="T121" fmla="*/ 36 h 320"/>
                <a:gd name="T122" fmla="*/ 236 w 243"/>
                <a:gd name="T123" fmla="*/ 31 h 320"/>
                <a:gd name="T124" fmla="*/ 240 w 243"/>
                <a:gd name="T125" fmla="*/ 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3" h="320">
                  <a:moveTo>
                    <a:pt x="228" y="0"/>
                  </a:moveTo>
                  <a:cubicBezTo>
                    <a:pt x="226" y="0"/>
                    <a:pt x="225" y="1"/>
                    <a:pt x="224" y="2"/>
                  </a:cubicBezTo>
                  <a:cubicBezTo>
                    <a:pt x="222" y="3"/>
                    <a:pt x="223" y="4"/>
                    <a:pt x="222" y="5"/>
                  </a:cubicBezTo>
                  <a:cubicBezTo>
                    <a:pt x="219" y="8"/>
                    <a:pt x="210" y="9"/>
                    <a:pt x="206" y="11"/>
                  </a:cubicBezTo>
                  <a:cubicBezTo>
                    <a:pt x="199" y="13"/>
                    <a:pt x="191" y="15"/>
                    <a:pt x="183" y="18"/>
                  </a:cubicBezTo>
                  <a:cubicBezTo>
                    <a:pt x="173" y="18"/>
                    <a:pt x="162" y="19"/>
                    <a:pt x="151" y="19"/>
                  </a:cubicBezTo>
                  <a:cubicBezTo>
                    <a:pt x="148" y="19"/>
                    <a:pt x="145" y="21"/>
                    <a:pt x="142" y="23"/>
                  </a:cubicBezTo>
                  <a:cubicBezTo>
                    <a:pt x="141" y="24"/>
                    <a:pt x="140" y="25"/>
                    <a:pt x="138" y="26"/>
                  </a:cubicBezTo>
                  <a:cubicBezTo>
                    <a:pt x="134" y="27"/>
                    <a:pt x="129" y="31"/>
                    <a:pt x="125" y="31"/>
                  </a:cubicBezTo>
                  <a:cubicBezTo>
                    <a:pt x="125" y="31"/>
                    <a:pt x="124" y="31"/>
                    <a:pt x="124" y="31"/>
                  </a:cubicBezTo>
                  <a:cubicBezTo>
                    <a:pt x="123" y="31"/>
                    <a:pt x="122" y="29"/>
                    <a:pt x="120" y="29"/>
                  </a:cubicBezTo>
                  <a:cubicBezTo>
                    <a:pt x="119" y="28"/>
                    <a:pt x="116" y="28"/>
                    <a:pt x="114" y="28"/>
                  </a:cubicBezTo>
                  <a:cubicBezTo>
                    <a:pt x="113" y="28"/>
                    <a:pt x="113" y="28"/>
                    <a:pt x="112" y="28"/>
                  </a:cubicBezTo>
                  <a:cubicBezTo>
                    <a:pt x="106" y="31"/>
                    <a:pt x="99" y="34"/>
                    <a:pt x="92" y="37"/>
                  </a:cubicBezTo>
                  <a:cubicBezTo>
                    <a:pt x="90" y="38"/>
                    <a:pt x="85" y="37"/>
                    <a:pt x="82" y="38"/>
                  </a:cubicBezTo>
                  <a:cubicBezTo>
                    <a:pt x="81" y="38"/>
                    <a:pt x="81" y="38"/>
                    <a:pt x="81" y="38"/>
                  </a:cubicBezTo>
                  <a:cubicBezTo>
                    <a:pt x="78" y="38"/>
                    <a:pt x="75" y="37"/>
                    <a:pt x="73" y="35"/>
                  </a:cubicBezTo>
                  <a:cubicBezTo>
                    <a:pt x="69" y="31"/>
                    <a:pt x="64" y="28"/>
                    <a:pt x="60" y="24"/>
                  </a:cubicBezTo>
                  <a:cubicBezTo>
                    <a:pt x="59" y="22"/>
                    <a:pt x="59" y="21"/>
                    <a:pt x="58" y="20"/>
                  </a:cubicBezTo>
                  <a:cubicBezTo>
                    <a:pt x="57" y="17"/>
                    <a:pt x="55" y="16"/>
                    <a:pt x="53" y="14"/>
                  </a:cubicBezTo>
                  <a:cubicBezTo>
                    <a:pt x="52" y="16"/>
                    <a:pt x="51" y="19"/>
                    <a:pt x="49" y="22"/>
                  </a:cubicBezTo>
                  <a:cubicBezTo>
                    <a:pt x="49" y="22"/>
                    <a:pt x="49" y="22"/>
                    <a:pt x="49" y="22"/>
                  </a:cubicBezTo>
                  <a:cubicBezTo>
                    <a:pt x="46" y="25"/>
                    <a:pt x="46" y="25"/>
                    <a:pt x="46" y="25"/>
                  </a:cubicBezTo>
                  <a:cubicBezTo>
                    <a:pt x="45" y="27"/>
                    <a:pt x="44" y="28"/>
                    <a:pt x="43" y="30"/>
                  </a:cubicBezTo>
                  <a:cubicBezTo>
                    <a:pt x="43" y="30"/>
                    <a:pt x="42" y="31"/>
                    <a:pt x="41" y="32"/>
                  </a:cubicBezTo>
                  <a:cubicBezTo>
                    <a:pt x="40" y="33"/>
                    <a:pt x="40" y="33"/>
                    <a:pt x="40" y="33"/>
                  </a:cubicBezTo>
                  <a:cubicBezTo>
                    <a:pt x="40" y="33"/>
                    <a:pt x="40" y="33"/>
                    <a:pt x="40" y="33"/>
                  </a:cubicBezTo>
                  <a:cubicBezTo>
                    <a:pt x="41" y="34"/>
                    <a:pt x="42" y="35"/>
                    <a:pt x="42" y="35"/>
                  </a:cubicBezTo>
                  <a:cubicBezTo>
                    <a:pt x="43" y="36"/>
                    <a:pt x="43" y="37"/>
                    <a:pt x="43" y="37"/>
                  </a:cubicBezTo>
                  <a:cubicBezTo>
                    <a:pt x="46" y="41"/>
                    <a:pt x="48" y="44"/>
                    <a:pt x="50" y="48"/>
                  </a:cubicBezTo>
                  <a:cubicBezTo>
                    <a:pt x="51" y="49"/>
                    <a:pt x="51" y="49"/>
                    <a:pt x="51" y="49"/>
                  </a:cubicBezTo>
                  <a:cubicBezTo>
                    <a:pt x="51" y="50"/>
                    <a:pt x="52" y="51"/>
                    <a:pt x="53" y="52"/>
                  </a:cubicBezTo>
                  <a:cubicBezTo>
                    <a:pt x="54" y="55"/>
                    <a:pt x="56" y="57"/>
                    <a:pt x="57" y="59"/>
                  </a:cubicBezTo>
                  <a:cubicBezTo>
                    <a:pt x="59" y="61"/>
                    <a:pt x="62" y="63"/>
                    <a:pt x="65" y="64"/>
                  </a:cubicBezTo>
                  <a:cubicBezTo>
                    <a:pt x="68" y="67"/>
                    <a:pt x="68" y="67"/>
                    <a:pt x="68" y="67"/>
                  </a:cubicBezTo>
                  <a:cubicBezTo>
                    <a:pt x="69" y="67"/>
                    <a:pt x="69" y="68"/>
                    <a:pt x="70" y="68"/>
                  </a:cubicBezTo>
                  <a:cubicBezTo>
                    <a:pt x="72" y="70"/>
                    <a:pt x="76" y="71"/>
                    <a:pt x="80" y="72"/>
                  </a:cubicBezTo>
                  <a:cubicBezTo>
                    <a:pt x="81" y="72"/>
                    <a:pt x="83" y="73"/>
                    <a:pt x="84" y="73"/>
                  </a:cubicBezTo>
                  <a:cubicBezTo>
                    <a:pt x="84" y="73"/>
                    <a:pt x="84" y="73"/>
                    <a:pt x="84" y="73"/>
                  </a:cubicBezTo>
                  <a:cubicBezTo>
                    <a:pt x="127" y="88"/>
                    <a:pt x="127" y="88"/>
                    <a:pt x="127" y="88"/>
                  </a:cubicBezTo>
                  <a:cubicBezTo>
                    <a:pt x="128" y="88"/>
                    <a:pt x="130" y="89"/>
                    <a:pt x="131" y="89"/>
                  </a:cubicBezTo>
                  <a:cubicBezTo>
                    <a:pt x="134" y="90"/>
                    <a:pt x="137" y="92"/>
                    <a:pt x="140" y="92"/>
                  </a:cubicBezTo>
                  <a:cubicBezTo>
                    <a:pt x="141" y="92"/>
                    <a:pt x="142" y="92"/>
                    <a:pt x="143" y="92"/>
                  </a:cubicBezTo>
                  <a:cubicBezTo>
                    <a:pt x="144" y="93"/>
                    <a:pt x="145" y="93"/>
                    <a:pt x="146" y="93"/>
                  </a:cubicBezTo>
                  <a:cubicBezTo>
                    <a:pt x="147" y="93"/>
                    <a:pt x="147" y="93"/>
                    <a:pt x="147" y="93"/>
                  </a:cubicBezTo>
                  <a:cubicBezTo>
                    <a:pt x="147" y="93"/>
                    <a:pt x="148" y="93"/>
                    <a:pt x="148" y="93"/>
                  </a:cubicBezTo>
                  <a:cubicBezTo>
                    <a:pt x="150" y="93"/>
                    <a:pt x="152" y="92"/>
                    <a:pt x="154" y="92"/>
                  </a:cubicBezTo>
                  <a:cubicBezTo>
                    <a:pt x="155" y="92"/>
                    <a:pt x="155" y="92"/>
                    <a:pt x="155" y="92"/>
                  </a:cubicBezTo>
                  <a:cubicBezTo>
                    <a:pt x="158" y="92"/>
                    <a:pt x="160" y="92"/>
                    <a:pt x="163" y="92"/>
                  </a:cubicBezTo>
                  <a:cubicBezTo>
                    <a:pt x="170" y="92"/>
                    <a:pt x="170" y="92"/>
                    <a:pt x="170" y="92"/>
                  </a:cubicBezTo>
                  <a:cubicBezTo>
                    <a:pt x="165" y="97"/>
                    <a:pt x="165" y="97"/>
                    <a:pt x="165" y="97"/>
                  </a:cubicBezTo>
                  <a:cubicBezTo>
                    <a:pt x="159" y="102"/>
                    <a:pt x="154" y="106"/>
                    <a:pt x="149" y="112"/>
                  </a:cubicBezTo>
                  <a:cubicBezTo>
                    <a:pt x="137" y="123"/>
                    <a:pt x="124" y="136"/>
                    <a:pt x="110" y="152"/>
                  </a:cubicBezTo>
                  <a:cubicBezTo>
                    <a:pt x="106" y="156"/>
                    <a:pt x="106" y="156"/>
                    <a:pt x="106" y="156"/>
                  </a:cubicBezTo>
                  <a:cubicBezTo>
                    <a:pt x="105" y="157"/>
                    <a:pt x="105" y="157"/>
                    <a:pt x="105" y="157"/>
                  </a:cubicBezTo>
                  <a:cubicBezTo>
                    <a:pt x="103" y="160"/>
                    <a:pt x="103" y="160"/>
                    <a:pt x="103" y="160"/>
                  </a:cubicBezTo>
                  <a:cubicBezTo>
                    <a:pt x="102" y="160"/>
                    <a:pt x="101" y="161"/>
                    <a:pt x="101" y="162"/>
                  </a:cubicBezTo>
                  <a:cubicBezTo>
                    <a:pt x="99" y="164"/>
                    <a:pt x="99" y="164"/>
                    <a:pt x="99" y="164"/>
                  </a:cubicBezTo>
                  <a:cubicBezTo>
                    <a:pt x="98" y="165"/>
                    <a:pt x="97" y="166"/>
                    <a:pt x="95" y="167"/>
                  </a:cubicBezTo>
                  <a:cubicBezTo>
                    <a:pt x="95" y="168"/>
                    <a:pt x="94" y="169"/>
                    <a:pt x="93" y="169"/>
                  </a:cubicBezTo>
                  <a:cubicBezTo>
                    <a:pt x="91" y="170"/>
                    <a:pt x="91" y="170"/>
                    <a:pt x="91" y="170"/>
                  </a:cubicBezTo>
                  <a:cubicBezTo>
                    <a:pt x="91" y="170"/>
                    <a:pt x="90" y="170"/>
                    <a:pt x="89" y="170"/>
                  </a:cubicBezTo>
                  <a:cubicBezTo>
                    <a:pt x="89" y="171"/>
                    <a:pt x="89" y="171"/>
                    <a:pt x="89" y="171"/>
                  </a:cubicBezTo>
                  <a:cubicBezTo>
                    <a:pt x="88" y="171"/>
                    <a:pt x="87" y="171"/>
                    <a:pt x="87" y="171"/>
                  </a:cubicBezTo>
                  <a:cubicBezTo>
                    <a:pt x="87" y="171"/>
                    <a:pt x="86" y="171"/>
                    <a:pt x="86" y="171"/>
                  </a:cubicBezTo>
                  <a:cubicBezTo>
                    <a:pt x="85" y="171"/>
                    <a:pt x="84" y="171"/>
                    <a:pt x="82" y="170"/>
                  </a:cubicBezTo>
                  <a:cubicBezTo>
                    <a:pt x="82" y="170"/>
                    <a:pt x="82" y="170"/>
                    <a:pt x="82" y="170"/>
                  </a:cubicBezTo>
                  <a:cubicBezTo>
                    <a:pt x="81" y="170"/>
                    <a:pt x="81" y="170"/>
                    <a:pt x="80" y="170"/>
                  </a:cubicBezTo>
                  <a:cubicBezTo>
                    <a:pt x="79" y="170"/>
                    <a:pt x="79" y="170"/>
                    <a:pt x="79" y="170"/>
                  </a:cubicBezTo>
                  <a:cubicBezTo>
                    <a:pt x="78" y="170"/>
                    <a:pt x="77" y="170"/>
                    <a:pt x="75" y="170"/>
                  </a:cubicBezTo>
                  <a:cubicBezTo>
                    <a:pt x="74" y="170"/>
                    <a:pt x="74" y="170"/>
                    <a:pt x="74" y="170"/>
                  </a:cubicBezTo>
                  <a:cubicBezTo>
                    <a:pt x="73" y="170"/>
                    <a:pt x="72" y="170"/>
                    <a:pt x="72" y="170"/>
                  </a:cubicBezTo>
                  <a:cubicBezTo>
                    <a:pt x="72" y="170"/>
                    <a:pt x="71" y="170"/>
                    <a:pt x="71" y="170"/>
                  </a:cubicBezTo>
                  <a:cubicBezTo>
                    <a:pt x="70" y="170"/>
                    <a:pt x="70" y="170"/>
                    <a:pt x="70" y="170"/>
                  </a:cubicBezTo>
                  <a:cubicBezTo>
                    <a:pt x="70" y="170"/>
                    <a:pt x="69" y="170"/>
                    <a:pt x="68" y="170"/>
                  </a:cubicBezTo>
                  <a:cubicBezTo>
                    <a:pt x="66" y="170"/>
                    <a:pt x="65" y="171"/>
                    <a:pt x="63" y="171"/>
                  </a:cubicBezTo>
                  <a:cubicBezTo>
                    <a:pt x="58" y="172"/>
                    <a:pt x="52" y="176"/>
                    <a:pt x="47" y="180"/>
                  </a:cubicBezTo>
                  <a:cubicBezTo>
                    <a:pt x="45" y="182"/>
                    <a:pt x="44" y="183"/>
                    <a:pt x="42" y="184"/>
                  </a:cubicBezTo>
                  <a:cubicBezTo>
                    <a:pt x="40" y="185"/>
                    <a:pt x="38" y="186"/>
                    <a:pt x="35" y="186"/>
                  </a:cubicBezTo>
                  <a:cubicBezTo>
                    <a:pt x="34" y="186"/>
                    <a:pt x="33" y="186"/>
                    <a:pt x="32" y="187"/>
                  </a:cubicBezTo>
                  <a:cubicBezTo>
                    <a:pt x="32" y="187"/>
                    <a:pt x="32" y="187"/>
                    <a:pt x="32" y="187"/>
                  </a:cubicBezTo>
                  <a:cubicBezTo>
                    <a:pt x="29" y="187"/>
                    <a:pt x="27" y="187"/>
                    <a:pt x="26" y="187"/>
                  </a:cubicBezTo>
                  <a:cubicBezTo>
                    <a:pt x="25" y="188"/>
                    <a:pt x="24" y="189"/>
                    <a:pt x="24" y="189"/>
                  </a:cubicBezTo>
                  <a:cubicBezTo>
                    <a:pt x="23" y="190"/>
                    <a:pt x="22" y="191"/>
                    <a:pt x="22" y="191"/>
                  </a:cubicBezTo>
                  <a:cubicBezTo>
                    <a:pt x="21" y="192"/>
                    <a:pt x="21" y="192"/>
                    <a:pt x="21" y="192"/>
                  </a:cubicBezTo>
                  <a:cubicBezTo>
                    <a:pt x="19" y="195"/>
                    <a:pt x="8" y="209"/>
                    <a:pt x="8" y="209"/>
                  </a:cubicBezTo>
                  <a:cubicBezTo>
                    <a:pt x="6" y="211"/>
                    <a:pt x="6" y="211"/>
                    <a:pt x="6" y="211"/>
                  </a:cubicBezTo>
                  <a:cubicBezTo>
                    <a:pt x="6" y="211"/>
                    <a:pt x="6" y="211"/>
                    <a:pt x="6" y="211"/>
                  </a:cubicBezTo>
                  <a:cubicBezTo>
                    <a:pt x="4" y="214"/>
                    <a:pt x="4" y="214"/>
                    <a:pt x="4" y="214"/>
                  </a:cubicBezTo>
                  <a:cubicBezTo>
                    <a:pt x="3" y="215"/>
                    <a:pt x="2" y="216"/>
                    <a:pt x="1" y="217"/>
                  </a:cubicBezTo>
                  <a:cubicBezTo>
                    <a:pt x="0" y="218"/>
                    <a:pt x="0" y="218"/>
                    <a:pt x="0" y="218"/>
                  </a:cubicBezTo>
                  <a:cubicBezTo>
                    <a:pt x="0" y="219"/>
                    <a:pt x="0" y="221"/>
                    <a:pt x="0" y="222"/>
                  </a:cubicBezTo>
                  <a:cubicBezTo>
                    <a:pt x="0" y="223"/>
                    <a:pt x="0" y="223"/>
                    <a:pt x="0" y="223"/>
                  </a:cubicBezTo>
                  <a:cubicBezTo>
                    <a:pt x="1" y="224"/>
                    <a:pt x="1" y="224"/>
                    <a:pt x="1" y="225"/>
                  </a:cubicBezTo>
                  <a:cubicBezTo>
                    <a:pt x="1" y="236"/>
                    <a:pt x="1" y="236"/>
                    <a:pt x="1" y="236"/>
                  </a:cubicBezTo>
                  <a:cubicBezTo>
                    <a:pt x="1" y="244"/>
                    <a:pt x="1" y="251"/>
                    <a:pt x="1" y="259"/>
                  </a:cubicBezTo>
                  <a:cubicBezTo>
                    <a:pt x="1" y="261"/>
                    <a:pt x="1" y="261"/>
                    <a:pt x="1" y="261"/>
                  </a:cubicBezTo>
                  <a:cubicBezTo>
                    <a:pt x="1" y="270"/>
                    <a:pt x="1" y="279"/>
                    <a:pt x="1" y="288"/>
                  </a:cubicBezTo>
                  <a:cubicBezTo>
                    <a:pt x="1" y="289"/>
                    <a:pt x="1" y="291"/>
                    <a:pt x="0" y="292"/>
                  </a:cubicBezTo>
                  <a:cubicBezTo>
                    <a:pt x="0" y="296"/>
                    <a:pt x="0" y="301"/>
                    <a:pt x="1" y="303"/>
                  </a:cubicBezTo>
                  <a:cubicBezTo>
                    <a:pt x="1" y="304"/>
                    <a:pt x="1" y="304"/>
                    <a:pt x="3" y="306"/>
                  </a:cubicBezTo>
                  <a:cubicBezTo>
                    <a:pt x="4" y="308"/>
                    <a:pt x="6" y="310"/>
                    <a:pt x="7" y="312"/>
                  </a:cubicBezTo>
                  <a:cubicBezTo>
                    <a:pt x="7" y="313"/>
                    <a:pt x="7" y="313"/>
                    <a:pt x="7" y="313"/>
                  </a:cubicBezTo>
                  <a:cubicBezTo>
                    <a:pt x="9" y="315"/>
                    <a:pt x="11" y="317"/>
                    <a:pt x="13" y="320"/>
                  </a:cubicBezTo>
                  <a:cubicBezTo>
                    <a:pt x="15" y="315"/>
                    <a:pt x="18" y="310"/>
                    <a:pt x="20" y="305"/>
                  </a:cubicBezTo>
                  <a:cubicBezTo>
                    <a:pt x="20" y="305"/>
                    <a:pt x="20" y="305"/>
                    <a:pt x="20" y="306"/>
                  </a:cubicBezTo>
                  <a:cubicBezTo>
                    <a:pt x="35" y="293"/>
                    <a:pt x="47" y="276"/>
                    <a:pt x="63" y="263"/>
                  </a:cubicBezTo>
                  <a:cubicBezTo>
                    <a:pt x="70" y="258"/>
                    <a:pt x="77" y="252"/>
                    <a:pt x="84" y="247"/>
                  </a:cubicBezTo>
                  <a:cubicBezTo>
                    <a:pt x="88" y="244"/>
                    <a:pt x="92" y="240"/>
                    <a:pt x="96" y="238"/>
                  </a:cubicBezTo>
                  <a:cubicBezTo>
                    <a:pt x="108" y="231"/>
                    <a:pt x="117" y="222"/>
                    <a:pt x="127" y="213"/>
                  </a:cubicBezTo>
                  <a:cubicBezTo>
                    <a:pt x="138" y="203"/>
                    <a:pt x="148" y="194"/>
                    <a:pt x="157" y="183"/>
                  </a:cubicBezTo>
                  <a:cubicBezTo>
                    <a:pt x="167" y="172"/>
                    <a:pt x="174" y="159"/>
                    <a:pt x="182" y="147"/>
                  </a:cubicBezTo>
                  <a:cubicBezTo>
                    <a:pt x="187" y="139"/>
                    <a:pt x="191" y="129"/>
                    <a:pt x="196" y="120"/>
                  </a:cubicBezTo>
                  <a:cubicBezTo>
                    <a:pt x="199" y="114"/>
                    <a:pt x="202" y="108"/>
                    <a:pt x="204" y="101"/>
                  </a:cubicBezTo>
                  <a:cubicBezTo>
                    <a:pt x="206" y="96"/>
                    <a:pt x="208" y="93"/>
                    <a:pt x="212" y="89"/>
                  </a:cubicBezTo>
                  <a:cubicBezTo>
                    <a:pt x="217" y="84"/>
                    <a:pt x="220" y="77"/>
                    <a:pt x="223" y="71"/>
                  </a:cubicBezTo>
                  <a:cubicBezTo>
                    <a:pt x="225" y="68"/>
                    <a:pt x="229" y="63"/>
                    <a:pt x="229" y="60"/>
                  </a:cubicBezTo>
                  <a:cubicBezTo>
                    <a:pt x="229" y="56"/>
                    <a:pt x="230" y="53"/>
                    <a:pt x="230" y="49"/>
                  </a:cubicBezTo>
                  <a:cubicBezTo>
                    <a:pt x="231" y="45"/>
                    <a:pt x="229" y="40"/>
                    <a:pt x="234" y="38"/>
                  </a:cubicBezTo>
                  <a:cubicBezTo>
                    <a:pt x="237" y="37"/>
                    <a:pt x="240" y="38"/>
                    <a:pt x="243" y="37"/>
                  </a:cubicBezTo>
                  <a:cubicBezTo>
                    <a:pt x="241" y="36"/>
                    <a:pt x="239" y="35"/>
                    <a:pt x="237" y="34"/>
                  </a:cubicBezTo>
                  <a:cubicBezTo>
                    <a:pt x="237" y="35"/>
                    <a:pt x="236" y="35"/>
                    <a:pt x="235" y="36"/>
                  </a:cubicBezTo>
                  <a:cubicBezTo>
                    <a:pt x="235" y="35"/>
                    <a:pt x="237" y="34"/>
                    <a:pt x="237" y="34"/>
                  </a:cubicBezTo>
                  <a:cubicBezTo>
                    <a:pt x="237" y="33"/>
                    <a:pt x="236" y="32"/>
                    <a:pt x="236" y="31"/>
                  </a:cubicBezTo>
                  <a:cubicBezTo>
                    <a:pt x="236" y="27"/>
                    <a:pt x="235" y="22"/>
                    <a:pt x="235" y="18"/>
                  </a:cubicBezTo>
                  <a:cubicBezTo>
                    <a:pt x="235" y="13"/>
                    <a:pt x="238" y="8"/>
                    <a:pt x="240" y="4"/>
                  </a:cubicBezTo>
                  <a:cubicBezTo>
                    <a:pt x="237" y="3"/>
                    <a:pt x="232" y="0"/>
                    <a:pt x="2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Freeform 214">
              <a:extLst>
                <a:ext uri="{FF2B5EF4-FFF2-40B4-BE49-F238E27FC236}">
                  <a16:creationId xmlns:a16="http://schemas.microsoft.com/office/drawing/2014/main" id="{6647A32E-F927-4DC0-AF6E-E86F00602A70}"/>
                </a:ext>
              </a:extLst>
            </p:cNvPr>
            <p:cNvSpPr>
              <a:spLocks/>
            </p:cNvSpPr>
            <p:nvPr/>
          </p:nvSpPr>
          <p:spPr bwMode="auto">
            <a:xfrm>
              <a:off x="5313" y="2530"/>
              <a:ext cx="288" cy="296"/>
            </a:xfrm>
            <a:custGeom>
              <a:avLst/>
              <a:gdLst>
                <a:gd name="T0" fmla="*/ 88 w 122"/>
                <a:gd name="T1" fmla="*/ 9 h 125"/>
                <a:gd name="T2" fmla="*/ 78 w 122"/>
                <a:gd name="T3" fmla="*/ 6 h 125"/>
                <a:gd name="T4" fmla="*/ 65 w 122"/>
                <a:gd name="T5" fmla="*/ 9 h 125"/>
                <a:gd name="T6" fmla="*/ 61 w 122"/>
                <a:gd name="T7" fmla="*/ 13 h 125"/>
                <a:gd name="T8" fmla="*/ 55 w 122"/>
                <a:gd name="T9" fmla="*/ 13 h 125"/>
                <a:gd name="T10" fmla="*/ 54 w 122"/>
                <a:gd name="T11" fmla="*/ 13 h 125"/>
                <a:gd name="T12" fmla="*/ 47 w 122"/>
                <a:gd name="T13" fmla="*/ 10 h 125"/>
                <a:gd name="T14" fmla="*/ 38 w 122"/>
                <a:gd name="T15" fmla="*/ 10 h 125"/>
                <a:gd name="T16" fmla="*/ 34 w 122"/>
                <a:gd name="T17" fmla="*/ 9 h 125"/>
                <a:gd name="T18" fmla="*/ 34 w 122"/>
                <a:gd name="T19" fmla="*/ 8 h 125"/>
                <a:gd name="T20" fmla="*/ 34 w 122"/>
                <a:gd name="T21" fmla="*/ 10 h 125"/>
                <a:gd name="T22" fmla="*/ 30 w 122"/>
                <a:gd name="T23" fmla="*/ 13 h 125"/>
                <a:gd name="T24" fmla="*/ 29 w 122"/>
                <a:gd name="T25" fmla="*/ 20 h 125"/>
                <a:gd name="T26" fmla="*/ 28 w 122"/>
                <a:gd name="T27" fmla="*/ 28 h 125"/>
                <a:gd name="T28" fmla="*/ 28 w 122"/>
                <a:gd name="T29" fmla="*/ 34 h 125"/>
                <a:gd name="T30" fmla="*/ 29 w 122"/>
                <a:gd name="T31" fmla="*/ 36 h 125"/>
                <a:gd name="T32" fmla="*/ 33 w 122"/>
                <a:gd name="T33" fmla="*/ 37 h 125"/>
                <a:gd name="T34" fmla="*/ 42 w 122"/>
                <a:gd name="T35" fmla="*/ 42 h 125"/>
                <a:gd name="T36" fmla="*/ 24 w 122"/>
                <a:gd name="T37" fmla="*/ 63 h 125"/>
                <a:gd name="T38" fmla="*/ 11 w 122"/>
                <a:gd name="T39" fmla="*/ 74 h 125"/>
                <a:gd name="T40" fmla="*/ 8 w 122"/>
                <a:gd name="T41" fmla="*/ 82 h 125"/>
                <a:gd name="T42" fmla="*/ 2 w 122"/>
                <a:gd name="T43" fmla="*/ 104 h 125"/>
                <a:gd name="T44" fmla="*/ 0 w 122"/>
                <a:gd name="T45" fmla="*/ 123 h 125"/>
                <a:gd name="T46" fmla="*/ 7 w 122"/>
                <a:gd name="T47" fmla="*/ 125 h 125"/>
                <a:gd name="T48" fmla="*/ 11 w 122"/>
                <a:gd name="T49" fmla="*/ 122 h 125"/>
                <a:gd name="T50" fmla="*/ 18 w 122"/>
                <a:gd name="T51" fmla="*/ 117 h 125"/>
                <a:gd name="T52" fmla="*/ 49 w 122"/>
                <a:gd name="T53" fmla="*/ 115 h 125"/>
                <a:gd name="T54" fmla="*/ 53 w 122"/>
                <a:gd name="T55" fmla="*/ 99 h 125"/>
                <a:gd name="T56" fmla="*/ 73 w 122"/>
                <a:gd name="T57" fmla="*/ 93 h 125"/>
                <a:gd name="T58" fmla="*/ 82 w 122"/>
                <a:gd name="T59" fmla="*/ 84 h 125"/>
                <a:gd name="T60" fmla="*/ 91 w 122"/>
                <a:gd name="T61" fmla="*/ 90 h 125"/>
                <a:gd name="T62" fmla="*/ 97 w 122"/>
                <a:gd name="T63" fmla="*/ 91 h 125"/>
                <a:gd name="T64" fmla="*/ 98 w 122"/>
                <a:gd name="T65" fmla="*/ 90 h 125"/>
                <a:gd name="T66" fmla="*/ 99 w 122"/>
                <a:gd name="T67" fmla="*/ 87 h 125"/>
                <a:gd name="T68" fmla="*/ 101 w 122"/>
                <a:gd name="T69" fmla="*/ 82 h 125"/>
                <a:gd name="T70" fmla="*/ 106 w 122"/>
                <a:gd name="T71" fmla="*/ 75 h 125"/>
                <a:gd name="T72" fmla="*/ 110 w 122"/>
                <a:gd name="T73" fmla="*/ 69 h 125"/>
                <a:gd name="T74" fmla="*/ 112 w 122"/>
                <a:gd name="T75" fmla="*/ 66 h 125"/>
                <a:gd name="T76" fmla="*/ 115 w 122"/>
                <a:gd name="T77" fmla="*/ 65 h 125"/>
                <a:gd name="T78" fmla="*/ 117 w 122"/>
                <a:gd name="T79" fmla="*/ 64 h 125"/>
                <a:gd name="T80" fmla="*/ 118 w 122"/>
                <a:gd name="T81" fmla="*/ 58 h 125"/>
                <a:gd name="T82" fmla="*/ 122 w 122"/>
                <a:gd name="T83" fmla="*/ 49 h 125"/>
                <a:gd name="T84" fmla="*/ 120 w 122"/>
                <a:gd name="T85" fmla="*/ 36 h 125"/>
                <a:gd name="T86" fmla="*/ 115 w 122"/>
                <a:gd name="T87" fmla="*/ 28 h 125"/>
                <a:gd name="T88" fmla="*/ 109 w 122"/>
                <a:gd name="T89" fmla="*/ 10 h 125"/>
                <a:gd name="T90" fmla="*/ 104 w 122"/>
                <a:gd name="T91" fmla="*/ 8 h 125"/>
                <a:gd name="T92" fmla="*/ 100 w 122"/>
                <a:gd name="T93"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 h="125">
                  <a:moveTo>
                    <a:pt x="100" y="0"/>
                  </a:moveTo>
                  <a:cubicBezTo>
                    <a:pt x="95" y="5"/>
                    <a:pt x="95" y="5"/>
                    <a:pt x="95" y="5"/>
                  </a:cubicBezTo>
                  <a:cubicBezTo>
                    <a:pt x="92" y="8"/>
                    <a:pt x="91" y="9"/>
                    <a:pt x="88" y="9"/>
                  </a:cubicBezTo>
                  <a:cubicBezTo>
                    <a:pt x="87" y="9"/>
                    <a:pt x="86" y="9"/>
                    <a:pt x="85" y="9"/>
                  </a:cubicBezTo>
                  <a:cubicBezTo>
                    <a:pt x="83" y="8"/>
                    <a:pt x="82" y="8"/>
                    <a:pt x="79" y="7"/>
                  </a:cubicBezTo>
                  <a:cubicBezTo>
                    <a:pt x="78" y="6"/>
                    <a:pt x="78" y="6"/>
                    <a:pt x="78" y="6"/>
                  </a:cubicBezTo>
                  <a:cubicBezTo>
                    <a:pt x="77" y="6"/>
                    <a:pt x="77" y="6"/>
                    <a:pt x="77" y="6"/>
                  </a:cubicBezTo>
                  <a:cubicBezTo>
                    <a:pt x="75" y="6"/>
                    <a:pt x="73" y="6"/>
                    <a:pt x="69" y="8"/>
                  </a:cubicBezTo>
                  <a:cubicBezTo>
                    <a:pt x="67" y="8"/>
                    <a:pt x="66" y="9"/>
                    <a:pt x="65" y="9"/>
                  </a:cubicBezTo>
                  <a:cubicBezTo>
                    <a:pt x="64" y="10"/>
                    <a:pt x="64" y="10"/>
                    <a:pt x="64" y="10"/>
                  </a:cubicBezTo>
                  <a:cubicBezTo>
                    <a:pt x="64" y="10"/>
                    <a:pt x="63" y="11"/>
                    <a:pt x="62" y="12"/>
                  </a:cubicBezTo>
                  <a:cubicBezTo>
                    <a:pt x="61" y="13"/>
                    <a:pt x="61" y="13"/>
                    <a:pt x="61" y="13"/>
                  </a:cubicBezTo>
                  <a:cubicBezTo>
                    <a:pt x="60" y="14"/>
                    <a:pt x="59" y="14"/>
                    <a:pt x="58" y="14"/>
                  </a:cubicBezTo>
                  <a:cubicBezTo>
                    <a:pt x="57" y="14"/>
                    <a:pt x="56" y="14"/>
                    <a:pt x="55" y="13"/>
                  </a:cubicBezTo>
                  <a:cubicBezTo>
                    <a:pt x="55" y="13"/>
                    <a:pt x="55" y="13"/>
                    <a:pt x="55" y="13"/>
                  </a:cubicBezTo>
                  <a:cubicBezTo>
                    <a:pt x="54" y="13"/>
                    <a:pt x="54" y="13"/>
                    <a:pt x="54" y="13"/>
                  </a:cubicBezTo>
                  <a:cubicBezTo>
                    <a:pt x="54" y="13"/>
                    <a:pt x="54" y="13"/>
                    <a:pt x="54" y="13"/>
                  </a:cubicBezTo>
                  <a:cubicBezTo>
                    <a:pt x="54" y="13"/>
                    <a:pt x="54" y="13"/>
                    <a:pt x="54" y="13"/>
                  </a:cubicBezTo>
                  <a:cubicBezTo>
                    <a:pt x="53" y="13"/>
                    <a:pt x="51" y="12"/>
                    <a:pt x="50" y="11"/>
                  </a:cubicBezTo>
                  <a:cubicBezTo>
                    <a:pt x="49" y="8"/>
                    <a:pt x="49" y="8"/>
                    <a:pt x="49" y="8"/>
                  </a:cubicBezTo>
                  <a:cubicBezTo>
                    <a:pt x="47" y="10"/>
                    <a:pt x="47" y="10"/>
                    <a:pt x="47" y="10"/>
                  </a:cubicBezTo>
                  <a:cubicBezTo>
                    <a:pt x="45" y="11"/>
                    <a:pt x="44" y="11"/>
                    <a:pt x="42" y="11"/>
                  </a:cubicBezTo>
                  <a:cubicBezTo>
                    <a:pt x="42" y="11"/>
                    <a:pt x="41" y="11"/>
                    <a:pt x="40" y="11"/>
                  </a:cubicBezTo>
                  <a:cubicBezTo>
                    <a:pt x="39" y="10"/>
                    <a:pt x="39" y="10"/>
                    <a:pt x="38" y="10"/>
                  </a:cubicBezTo>
                  <a:cubicBezTo>
                    <a:pt x="38" y="10"/>
                    <a:pt x="38" y="10"/>
                    <a:pt x="38" y="10"/>
                  </a:cubicBezTo>
                  <a:cubicBezTo>
                    <a:pt x="37" y="10"/>
                    <a:pt x="36" y="9"/>
                    <a:pt x="35" y="9"/>
                  </a:cubicBezTo>
                  <a:cubicBezTo>
                    <a:pt x="35" y="9"/>
                    <a:pt x="35" y="9"/>
                    <a:pt x="34" y="9"/>
                  </a:cubicBezTo>
                  <a:cubicBezTo>
                    <a:pt x="35" y="9"/>
                    <a:pt x="35" y="9"/>
                    <a:pt x="35" y="9"/>
                  </a:cubicBezTo>
                  <a:cubicBezTo>
                    <a:pt x="34" y="8"/>
                    <a:pt x="34" y="8"/>
                    <a:pt x="34" y="8"/>
                  </a:cubicBezTo>
                  <a:cubicBezTo>
                    <a:pt x="34" y="8"/>
                    <a:pt x="34" y="8"/>
                    <a:pt x="34" y="8"/>
                  </a:cubicBezTo>
                  <a:cubicBezTo>
                    <a:pt x="35" y="9"/>
                    <a:pt x="35" y="9"/>
                    <a:pt x="35" y="9"/>
                  </a:cubicBezTo>
                  <a:cubicBezTo>
                    <a:pt x="34" y="10"/>
                    <a:pt x="34" y="10"/>
                    <a:pt x="34" y="10"/>
                  </a:cubicBezTo>
                  <a:cubicBezTo>
                    <a:pt x="34" y="10"/>
                    <a:pt x="34" y="10"/>
                    <a:pt x="34" y="10"/>
                  </a:cubicBezTo>
                  <a:cubicBezTo>
                    <a:pt x="34" y="10"/>
                    <a:pt x="33" y="10"/>
                    <a:pt x="33" y="11"/>
                  </a:cubicBezTo>
                  <a:cubicBezTo>
                    <a:pt x="33" y="11"/>
                    <a:pt x="32" y="11"/>
                    <a:pt x="32" y="11"/>
                  </a:cubicBezTo>
                  <a:cubicBezTo>
                    <a:pt x="31" y="12"/>
                    <a:pt x="30" y="13"/>
                    <a:pt x="30" y="13"/>
                  </a:cubicBezTo>
                  <a:cubicBezTo>
                    <a:pt x="30" y="14"/>
                    <a:pt x="30" y="14"/>
                    <a:pt x="30" y="14"/>
                  </a:cubicBezTo>
                  <a:cubicBezTo>
                    <a:pt x="31" y="22"/>
                    <a:pt x="31" y="22"/>
                    <a:pt x="31" y="22"/>
                  </a:cubicBezTo>
                  <a:cubicBezTo>
                    <a:pt x="29" y="20"/>
                    <a:pt x="29" y="20"/>
                    <a:pt x="29" y="20"/>
                  </a:cubicBezTo>
                  <a:cubicBezTo>
                    <a:pt x="29" y="20"/>
                    <a:pt x="29" y="21"/>
                    <a:pt x="28" y="21"/>
                  </a:cubicBezTo>
                  <a:cubicBezTo>
                    <a:pt x="28" y="23"/>
                    <a:pt x="28" y="25"/>
                    <a:pt x="28" y="27"/>
                  </a:cubicBezTo>
                  <a:cubicBezTo>
                    <a:pt x="28" y="27"/>
                    <a:pt x="28" y="28"/>
                    <a:pt x="28" y="28"/>
                  </a:cubicBezTo>
                  <a:cubicBezTo>
                    <a:pt x="28" y="30"/>
                    <a:pt x="28" y="31"/>
                    <a:pt x="28" y="32"/>
                  </a:cubicBezTo>
                  <a:cubicBezTo>
                    <a:pt x="28" y="33"/>
                    <a:pt x="28" y="33"/>
                    <a:pt x="28" y="33"/>
                  </a:cubicBezTo>
                  <a:cubicBezTo>
                    <a:pt x="28" y="33"/>
                    <a:pt x="28" y="34"/>
                    <a:pt x="28" y="34"/>
                  </a:cubicBezTo>
                  <a:cubicBezTo>
                    <a:pt x="28" y="35"/>
                    <a:pt x="28" y="36"/>
                    <a:pt x="28" y="36"/>
                  </a:cubicBezTo>
                  <a:cubicBezTo>
                    <a:pt x="28" y="36"/>
                    <a:pt x="28" y="36"/>
                    <a:pt x="28" y="36"/>
                  </a:cubicBezTo>
                  <a:cubicBezTo>
                    <a:pt x="29" y="36"/>
                    <a:pt x="29" y="36"/>
                    <a:pt x="29" y="36"/>
                  </a:cubicBezTo>
                  <a:cubicBezTo>
                    <a:pt x="29" y="36"/>
                    <a:pt x="29" y="36"/>
                    <a:pt x="29" y="36"/>
                  </a:cubicBezTo>
                  <a:cubicBezTo>
                    <a:pt x="31" y="36"/>
                    <a:pt x="31" y="36"/>
                    <a:pt x="31" y="36"/>
                  </a:cubicBezTo>
                  <a:cubicBezTo>
                    <a:pt x="32" y="37"/>
                    <a:pt x="32" y="37"/>
                    <a:pt x="33" y="37"/>
                  </a:cubicBezTo>
                  <a:cubicBezTo>
                    <a:pt x="33" y="38"/>
                    <a:pt x="33" y="38"/>
                    <a:pt x="33" y="38"/>
                  </a:cubicBezTo>
                  <a:cubicBezTo>
                    <a:pt x="34" y="38"/>
                    <a:pt x="35" y="39"/>
                    <a:pt x="36" y="39"/>
                  </a:cubicBezTo>
                  <a:cubicBezTo>
                    <a:pt x="42" y="42"/>
                    <a:pt x="42" y="42"/>
                    <a:pt x="42" y="42"/>
                  </a:cubicBezTo>
                  <a:cubicBezTo>
                    <a:pt x="40" y="45"/>
                    <a:pt x="40" y="45"/>
                    <a:pt x="40" y="45"/>
                  </a:cubicBezTo>
                  <a:cubicBezTo>
                    <a:pt x="39" y="47"/>
                    <a:pt x="37" y="49"/>
                    <a:pt x="35" y="52"/>
                  </a:cubicBezTo>
                  <a:cubicBezTo>
                    <a:pt x="32" y="56"/>
                    <a:pt x="28" y="60"/>
                    <a:pt x="24" y="63"/>
                  </a:cubicBezTo>
                  <a:cubicBezTo>
                    <a:pt x="20" y="67"/>
                    <a:pt x="16" y="71"/>
                    <a:pt x="13" y="74"/>
                  </a:cubicBezTo>
                  <a:cubicBezTo>
                    <a:pt x="15" y="77"/>
                    <a:pt x="15" y="77"/>
                    <a:pt x="15" y="77"/>
                  </a:cubicBezTo>
                  <a:cubicBezTo>
                    <a:pt x="11" y="74"/>
                    <a:pt x="11" y="74"/>
                    <a:pt x="11" y="74"/>
                  </a:cubicBezTo>
                  <a:cubicBezTo>
                    <a:pt x="11" y="75"/>
                    <a:pt x="11" y="75"/>
                    <a:pt x="11" y="75"/>
                  </a:cubicBezTo>
                  <a:cubicBezTo>
                    <a:pt x="10" y="76"/>
                    <a:pt x="10" y="76"/>
                    <a:pt x="9" y="77"/>
                  </a:cubicBezTo>
                  <a:cubicBezTo>
                    <a:pt x="9" y="79"/>
                    <a:pt x="9" y="80"/>
                    <a:pt x="8" y="82"/>
                  </a:cubicBezTo>
                  <a:cubicBezTo>
                    <a:pt x="8" y="84"/>
                    <a:pt x="8" y="86"/>
                    <a:pt x="7" y="88"/>
                  </a:cubicBezTo>
                  <a:cubicBezTo>
                    <a:pt x="6" y="89"/>
                    <a:pt x="6" y="89"/>
                    <a:pt x="6" y="89"/>
                  </a:cubicBezTo>
                  <a:cubicBezTo>
                    <a:pt x="4" y="94"/>
                    <a:pt x="3" y="98"/>
                    <a:pt x="2" y="104"/>
                  </a:cubicBezTo>
                  <a:cubicBezTo>
                    <a:pt x="2" y="106"/>
                    <a:pt x="1" y="108"/>
                    <a:pt x="1" y="110"/>
                  </a:cubicBezTo>
                  <a:cubicBezTo>
                    <a:pt x="0" y="114"/>
                    <a:pt x="0" y="118"/>
                    <a:pt x="0" y="122"/>
                  </a:cubicBezTo>
                  <a:cubicBezTo>
                    <a:pt x="0" y="122"/>
                    <a:pt x="0" y="123"/>
                    <a:pt x="0" y="123"/>
                  </a:cubicBezTo>
                  <a:cubicBezTo>
                    <a:pt x="1" y="123"/>
                    <a:pt x="2" y="123"/>
                    <a:pt x="3" y="123"/>
                  </a:cubicBezTo>
                  <a:cubicBezTo>
                    <a:pt x="4" y="123"/>
                    <a:pt x="4" y="123"/>
                    <a:pt x="5" y="123"/>
                  </a:cubicBezTo>
                  <a:cubicBezTo>
                    <a:pt x="6" y="123"/>
                    <a:pt x="7" y="124"/>
                    <a:pt x="7" y="125"/>
                  </a:cubicBezTo>
                  <a:cubicBezTo>
                    <a:pt x="8" y="125"/>
                    <a:pt x="8" y="125"/>
                    <a:pt x="8" y="125"/>
                  </a:cubicBezTo>
                  <a:cubicBezTo>
                    <a:pt x="8" y="124"/>
                    <a:pt x="9" y="124"/>
                    <a:pt x="10" y="123"/>
                  </a:cubicBezTo>
                  <a:cubicBezTo>
                    <a:pt x="11" y="122"/>
                    <a:pt x="11" y="122"/>
                    <a:pt x="11" y="122"/>
                  </a:cubicBezTo>
                  <a:cubicBezTo>
                    <a:pt x="12" y="121"/>
                    <a:pt x="13" y="120"/>
                    <a:pt x="15" y="119"/>
                  </a:cubicBezTo>
                  <a:cubicBezTo>
                    <a:pt x="14" y="118"/>
                    <a:pt x="14" y="118"/>
                    <a:pt x="14" y="118"/>
                  </a:cubicBezTo>
                  <a:cubicBezTo>
                    <a:pt x="18" y="117"/>
                    <a:pt x="18" y="117"/>
                    <a:pt x="18" y="117"/>
                  </a:cubicBezTo>
                  <a:cubicBezTo>
                    <a:pt x="19" y="116"/>
                    <a:pt x="19" y="116"/>
                    <a:pt x="19" y="116"/>
                  </a:cubicBezTo>
                  <a:cubicBezTo>
                    <a:pt x="20" y="116"/>
                    <a:pt x="20" y="116"/>
                    <a:pt x="20" y="116"/>
                  </a:cubicBezTo>
                  <a:cubicBezTo>
                    <a:pt x="28" y="116"/>
                    <a:pt x="39" y="115"/>
                    <a:pt x="49" y="115"/>
                  </a:cubicBezTo>
                  <a:cubicBezTo>
                    <a:pt x="48" y="114"/>
                    <a:pt x="48" y="112"/>
                    <a:pt x="48" y="111"/>
                  </a:cubicBezTo>
                  <a:cubicBezTo>
                    <a:pt x="50" y="109"/>
                    <a:pt x="52" y="106"/>
                    <a:pt x="54" y="104"/>
                  </a:cubicBezTo>
                  <a:cubicBezTo>
                    <a:pt x="55" y="102"/>
                    <a:pt x="55" y="101"/>
                    <a:pt x="53" y="99"/>
                  </a:cubicBezTo>
                  <a:cubicBezTo>
                    <a:pt x="51" y="94"/>
                    <a:pt x="63" y="94"/>
                    <a:pt x="65" y="93"/>
                  </a:cubicBezTo>
                  <a:cubicBezTo>
                    <a:pt x="69" y="93"/>
                    <a:pt x="68" y="90"/>
                    <a:pt x="70" y="88"/>
                  </a:cubicBezTo>
                  <a:cubicBezTo>
                    <a:pt x="70" y="91"/>
                    <a:pt x="70" y="93"/>
                    <a:pt x="73" y="93"/>
                  </a:cubicBezTo>
                  <a:cubicBezTo>
                    <a:pt x="74" y="93"/>
                    <a:pt x="75" y="93"/>
                    <a:pt x="76" y="93"/>
                  </a:cubicBezTo>
                  <a:cubicBezTo>
                    <a:pt x="77" y="92"/>
                    <a:pt x="77" y="92"/>
                    <a:pt x="79" y="91"/>
                  </a:cubicBezTo>
                  <a:cubicBezTo>
                    <a:pt x="81" y="90"/>
                    <a:pt x="85" y="86"/>
                    <a:pt x="82" y="84"/>
                  </a:cubicBezTo>
                  <a:cubicBezTo>
                    <a:pt x="83" y="84"/>
                    <a:pt x="84" y="84"/>
                    <a:pt x="85" y="84"/>
                  </a:cubicBezTo>
                  <a:cubicBezTo>
                    <a:pt x="86" y="84"/>
                    <a:pt x="87" y="84"/>
                    <a:pt x="88" y="86"/>
                  </a:cubicBezTo>
                  <a:cubicBezTo>
                    <a:pt x="88" y="88"/>
                    <a:pt x="89" y="90"/>
                    <a:pt x="91" y="90"/>
                  </a:cubicBezTo>
                  <a:cubicBezTo>
                    <a:pt x="91" y="90"/>
                    <a:pt x="91" y="90"/>
                    <a:pt x="91" y="90"/>
                  </a:cubicBezTo>
                  <a:cubicBezTo>
                    <a:pt x="92" y="90"/>
                    <a:pt x="94" y="87"/>
                    <a:pt x="94" y="87"/>
                  </a:cubicBezTo>
                  <a:cubicBezTo>
                    <a:pt x="94" y="89"/>
                    <a:pt x="95" y="91"/>
                    <a:pt x="97" y="91"/>
                  </a:cubicBezTo>
                  <a:cubicBezTo>
                    <a:pt x="97" y="91"/>
                    <a:pt x="97" y="91"/>
                    <a:pt x="97" y="91"/>
                  </a:cubicBezTo>
                  <a:cubicBezTo>
                    <a:pt x="98" y="91"/>
                    <a:pt x="98" y="91"/>
                    <a:pt x="98" y="91"/>
                  </a:cubicBezTo>
                  <a:cubicBezTo>
                    <a:pt x="98" y="90"/>
                    <a:pt x="98" y="90"/>
                    <a:pt x="98" y="90"/>
                  </a:cubicBezTo>
                  <a:cubicBezTo>
                    <a:pt x="98" y="90"/>
                    <a:pt x="98" y="89"/>
                    <a:pt x="98" y="89"/>
                  </a:cubicBezTo>
                  <a:cubicBezTo>
                    <a:pt x="98" y="89"/>
                    <a:pt x="98" y="89"/>
                    <a:pt x="98" y="89"/>
                  </a:cubicBezTo>
                  <a:cubicBezTo>
                    <a:pt x="98" y="88"/>
                    <a:pt x="98" y="88"/>
                    <a:pt x="99" y="87"/>
                  </a:cubicBezTo>
                  <a:cubicBezTo>
                    <a:pt x="99" y="87"/>
                    <a:pt x="99" y="87"/>
                    <a:pt x="99" y="87"/>
                  </a:cubicBezTo>
                  <a:cubicBezTo>
                    <a:pt x="100" y="86"/>
                    <a:pt x="100" y="85"/>
                    <a:pt x="101" y="83"/>
                  </a:cubicBezTo>
                  <a:cubicBezTo>
                    <a:pt x="101" y="83"/>
                    <a:pt x="101" y="82"/>
                    <a:pt x="101" y="82"/>
                  </a:cubicBezTo>
                  <a:cubicBezTo>
                    <a:pt x="103" y="80"/>
                    <a:pt x="104" y="79"/>
                    <a:pt x="105" y="77"/>
                  </a:cubicBezTo>
                  <a:cubicBezTo>
                    <a:pt x="106" y="76"/>
                    <a:pt x="106" y="76"/>
                    <a:pt x="106" y="76"/>
                  </a:cubicBezTo>
                  <a:cubicBezTo>
                    <a:pt x="106" y="76"/>
                    <a:pt x="106" y="76"/>
                    <a:pt x="106" y="75"/>
                  </a:cubicBezTo>
                  <a:cubicBezTo>
                    <a:pt x="107" y="74"/>
                    <a:pt x="107" y="74"/>
                    <a:pt x="107" y="74"/>
                  </a:cubicBezTo>
                  <a:cubicBezTo>
                    <a:pt x="107" y="73"/>
                    <a:pt x="107" y="73"/>
                    <a:pt x="107" y="73"/>
                  </a:cubicBezTo>
                  <a:cubicBezTo>
                    <a:pt x="108" y="71"/>
                    <a:pt x="109" y="70"/>
                    <a:pt x="110" y="69"/>
                  </a:cubicBezTo>
                  <a:cubicBezTo>
                    <a:pt x="110" y="68"/>
                    <a:pt x="110" y="68"/>
                    <a:pt x="111" y="68"/>
                  </a:cubicBezTo>
                  <a:cubicBezTo>
                    <a:pt x="111" y="67"/>
                    <a:pt x="111" y="67"/>
                    <a:pt x="111" y="67"/>
                  </a:cubicBezTo>
                  <a:cubicBezTo>
                    <a:pt x="111" y="67"/>
                    <a:pt x="112" y="67"/>
                    <a:pt x="112" y="66"/>
                  </a:cubicBezTo>
                  <a:cubicBezTo>
                    <a:pt x="113" y="66"/>
                    <a:pt x="113" y="66"/>
                    <a:pt x="113" y="66"/>
                  </a:cubicBezTo>
                  <a:cubicBezTo>
                    <a:pt x="113" y="65"/>
                    <a:pt x="113" y="65"/>
                    <a:pt x="113" y="65"/>
                  </a:cubicBezTo>
                  <a:cubicBezTo>
                    <a:pt x="115" y="65"/>
                    <a:pt x="115" y="65"/>
                    <a:pt x="115" y="65"/>
                  </a:cubicBezTo>
                  <a:cubicBezTo>
                    <a:pt x="116" y="64"/>
                    <a:pt x="116" y="64"/>
                    <a:pt x="117" y="64"/>
                  </a:cubicBezTo>
                  <a:cubicBezTo>
                    <a:pt x="117" y="64"/>
                    <a:pt x="117" y="64"/>
                    <a:pt x="117" y="64"/>
                  </a:cubicBezTo>
                  <a:cubicBezTo>
                    <a:pt x="117" y="64"/>
                    <a:pt x="117" y="64"/>
                    <a:pt x="117" y="64"/>
                  </a:cubicBezTo>
                  <a:cubicBezTo>
                    <a:pt x="117" y="63"/>
                    <a:pt x="117" y="63"/>
                    <a:pt x="117" y="62"/>
                  </a:cubicBezTo>
                  <a:cubicBezTo>
                    <a:pt x="117" y="61"/>
                    <a:pt x="118" y="60"/>
                    <a:pt x="118" y="59"/>
                  </a:cubicBezTo>
                  <a:cubicBezTo>
                    <a:pt x="118" y="58"/>
                    <a:pt x="118" y="58"/>
                    <a:pt x="118" y="58"/>
                  </a:cubicBezTo>
                  <a:cubicBezTo>
                    <a:pt x="118" y="58"/>
                    <a:pt x="119" y="57"/>
                    <a:pt x="119" y="57"/>
                  </a:cubicBezTo>
                  <a:cubicBezTo>
                    <a:pt x="120" y="55"/>
                    <a:pt x="120" y="55"/>
                    <a:pt x="120" y="55"/>
                  </a:cubicBezTo>
                  <a:cubicBezTo>
                    <a:pt x="121" y="53"/>
                    <a:pt x="122" y="50"/>
                    <a:pt x="122" y="49"/>
                  </a:cubicBezTo>
                  <a:cubicBezTo>
                    <a:pt x="122" y="48"/>
                    <a:pt x="122" y="48"/>
                    <a:pt x="122" y="48"/>
                  </a:cubicBezTo>
                  <a:cubicBezTo>
                    <a:pt x="122" y="48"/>
                    <a:pt x="122" y="48"/>
                    <a:pt x="122" y="48"/>
                  </a:cubicBezTo>
                  <a:cubicBezTo>
                    <a:pt x="121" y="44"/>
                    <a:pt x="120" y="41"/>
                    <a:pt x="120" y="36"/>
                  </a:cubicBezTo>
                  <a:cubicBezTo>
                    <a:pt x="120" y="35"/>
                    <a:pt x="119" y="34"/>
                    <a:pt x="117" y="31"/>
                  </a:cubicBezTo>
                  <a:cubicBezTo>
                    <a:pt x="117" y="30"/>
                    <a:pt x="116" y="29"/>
                    <a:pt x="116" y="29"/>
                  </a:cubicBezTo>
                  <a:cubicBezTo>
                    <a:pt x="115" y="28"/>
                    <a:pt x="115" y="28"/>
                    <a:pt x="115" y="28"/>
                  </a:cubicBezTo>
                  <a:cubicBezTo>
                    <a:pt x="113" y="25"/>
                    <a:pt x="112" y="23"/>
                    <a:pt x="111" y="20"/>
                  </a:cubicBezTo>
                  <a:cubicBezTo>
                    <a:pt x="111" y="18"/>
                    <a:pt x="111" y="18"/>
                    <a:pt x="111" y="18"/>
                  </a:cubicBezTo>
                  <a:cubicBezTo>
                    <a:pt x="111" y="16"/>
                    <a:pt x="110" y="12"/>
                    <a:pt x="109" y="10"/>
                  </a:cubicBezTo>
                  <a:cubicBezTo>
                    <a:pt x="109" y="10"/>
                    <a:pt x="108" y="10"/>
                    <a:pt x="108" y="10"/>
                  </a:cubicBezTo>
                  <a:cubicBezTo>
                    <a:pt x="107" y="9"/>
                    <a:pt x="107" y="9"/>
                    <a:pt x="107" y="9"/>
                  </a:cubicBezTo>
                  <a:cubicBezTo>
                    <a:pt x="105" y="9"/>
                    <a:pt x="104" y="8"/>
                    <a:pt x="104" y="8"/>
                  </a:cubicBezTo>
                  <a:cubicBezTo>
                    <a:pt x="103" y="7"/>
                    <a:pt x="102" y="6"/>
                    <a:pt x="102" y="5"/>
                  </a:cubicBezTo>
                  <a:cubicBezTo>
                    <a:pt x="101" y="4"/>
                    <a:pt x="101" y="2"/>
                    <a:pt x="100" y="1"/>
                  </a:cubicBezTo>
                  <a:cubicBezTo>
                    <a:pt x="100" y="1"/>
                    <a:pt x="100" y="1"/>
                    <a:pt x="100" y="1"/>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Freeform 215">
              <a:extLst>
                <a:ext uri="{FF2B5EF4-FFF2-40B4-BE49-F238E27FC236}">
                  <a16:creationId xmlns:a16="http://schemas.microsoft.com/office/drawing/2014/main" id="{7057DAFA-4FE9-437A-A3C3-C3B76E42D710}"/>
                </a:ext>
              </a:extLst>
            </p:cNvPr>
            <p:cNvSpPr>
              <a:spLocks/>
            </p:cNvSpPr>
            <p:nvPr/>
          </p:nvSpPr>
          <p:spPr bwMode="auto">
            <a:xfrm>
              <a:off x="4346" y="2462"/>
              <a:ext cx="1045" cy="1035"/>
            </a:xfrm>
            <a:custGeom>
              <a:avLst/>
              <a:gdLst>
                <a:gd name="T0" fmla="*/ 309 w 442"/>
                <a:gd name="T1" fmla="*/ 5 h 438"/>
                <a:gd name="T2" fmla="*/ 286 w 442"/>
                <a:gd name="T3" fmla="*/ 10 h 438"/>
                <a:gd name="T4" fmla="*/ 258 w 442"/>
                <a:gd name="T5" fmla="*/ 18 h 438"/>
                <a:gd name="T6" fmla="*/ 245 w 442"/>
                <a:gd name="T7" fmla="*/ 20 h 438"/>
                <a:gd name="T8" fmla="*/ 231 w 442"/>
                <a:gd name="T9" fmla="*/ 27 h 438"/>
                <a:gd name="T10" fmla="*/ 211 w 442"/>
                <a:gd name="T11" fmla="*/ 25 h 438"/>
                <a:gd name="T12" fmla="*/ 196 w 442"/>
                <a:gd name="T13" fmla="*/ 21 h 438"/>
                <a:gd name="T14" fmla="*/ 174 w 442"/>
                <a:gd name="T15" fmla="*/ 6 h 438"/>
                <a:gd name="T16" fmla="*/ 162 w 442"/>
                <a:gd name="T17" fmla="*/ 10 h 438"/>
                <a:gd name="T18" fmla="*/ 151 w 442"/>
                <a:gd name="T19" fmla="*/ 26 h 438"/>
                <a:gd name="T20" fmla="*/ 152 w 442"/>
                <a:gd name="T21" fmla="*/ 49 h 438"/>
                <a:gd name="T22" fmla="*/ 147 w 442"/>
                <a:gd name="T23" fmla="*/ 58 h 438"/>
                <a:gd name="T24" fmla="*/ 139 w 442"/>
                <a:gd name="T25" fmla="*/ 76 h 438"/>
                <a:gd name="T26" fmla="*/ 134 w 442"/>
                <a:gd name="T27" fmla="*/ 105 h 438"/>
                <a:gd name="T28" fmla="*/ 116 w 442"/>
                <a:gd name="T29" fmla="*/ 150 h 438"/>
                <a:gd name="T30" fmla="*/ 94 w 442"/>
                <a:gd name="T31" fmla="*/ 177 h 438"/>
                <a:gd name="T32" fmla="*/ 98 w 442"/>
                <a:gd name="T33" fmla="*/ 196 h 438"/>
                <a:gd name="T34" fmla="*/ 87 w 442"/>
                <a:gd name="T35" fmla="*/ 216 h 438"/>
                <a:gd name="T36" fmla="*/ 52 w 442"/>
                <a:gd name="T37" fmla="*/ 242 h 438"/>
                <a:gd name="T38" fmla="*/ 41 w 442"/>
                <a:gd name="T39" fmla="*/ 231 h 438"/>
                <a:gd name="T40" fmla="*/ 18 w 442"/>
                <a:gd name="T41" fmla="*/ 236 h 438"/>
                <a:gd name="T42" fmla="*/ 0 w 442"/>
                <a:gd name="T43" fmla="*/ 262 h 438"/>
                <a:gd name="T44" fmla="*/ 30 w 442"/>
                <a:gd name="T45" fmla="*/ 258 h 438"/>
                <a:gd name="T46" fmla="*/ 91 w 442"/>
                <a:gd name="T47" fmla="*/ 259 h 438"/>
                <a:gd name="T48" fmla="*/ 117 w 442"/>
                <a:gd name="T49" fmla="*/ 299 h 438"/>
                <a:gd name="T50" fmla="*/ 139 w 442"/>
                <a:gd name="T51" fmla="*/ 309 h 438"/>
                <a:gd name="T52" fmla="*/ 170 w 442"/>
                <a:gd name="T53" fmla="*/ 287 h 438"/>
                <a:gd name="T54" fmla="*/ 183 w 442"/>
                <a:gd name="T55" fmla="*/ 285 h 438"/>
                <a:gd name="T56" fmla="*/ 194 w 442"/>
                <a:gd name="T57" fmla="*/ 283 h 438"/>
                <a:gd name="T58" fmla="*/ 205 w 442"/>
                <a:gd name="T59" fmla="*/ 292 h 438"/>
                <a:gd name="T60" fmla="*/ 228 w 442"/>
                <a:gd name="T61" fmla="*/ 318 h 438"/>
                <a:gd name="T62" fmla="*/ 227 w 442"/>
                <a:gd name="T63" fmla="*/ 348 h 438"/>
                <a:gd name="T64" fmla="*/ 236 w 442"/>
                <a:gd name="T65" fmla="*/ 385 h 438"/>
                <a:gd name="T66" fmla="*/ 277 w 442"/>
                <a:gd name="T67" fmla="*/ 372 h 438"/>
                <a:gd name="T68" fmla="*/ 295 w 442"/>
                <a:gd name="T69" fmla="*/ 387 h 438"/>
                <a:gd name="T70" fmla="*/ 312 w 442"/>
                <a:gd name="T71" fmla="*/ 398 h 438"/>
                <a:gd name="T72" fmla="*/ 343 w 442"/>
                <a:gd name="T73" fmla="*/ 401 h 438"/>
                <a:gd name="T74" fmla="*/ 359 w 442"/>
                <a:gd name="T75" fmla="*/ 406 h 438"/>
                <a:gd name="T76" fmla="*/ 395 w 442"/>
                <a:gd name="T77" fmla="*/ 437 h 438"/>
                <a:gd name="T78" fmla="*/ 409 w 442"/>
                <a:gd name="T79" fmla="*/ 434 h 438"/>
                <a:gd name="T80" fmla="*/ 400 w 442"/>
                <a:gd name="T81" fmla="*/ 420 h 438"/>
                <a:gd name="T82" fmla="*/ 391 w 442"/>
                <a:gd name="T83" fmla="*/ 417 h 438"/>
                <a:gd name="T84" fmla="*/ 381 w 442"/>
                <a:gd name="T85" fmla="*/ 367 h 438"/>
                <a:gd name="T86" fmla="*/ 380 w 442"/>
                <a:gd name="T87" fmla="*/ 351 h 438"/>
                <a:gd name="T88" fmla="*/ 386 w 442"/>
                <a:gd name="T89" fmla="*/ 330 h 438"/>
                <a:gd name="T90" fmla="*/ 419 w 442"/>
                <a:gd name="T91" fmla="*/ 316 h 438"/>
                <a:gd name="T92" fmla="*/ 397 w 442"/>
                <a:gd name="T93" fmla="*/ 247 h 438"/>
                <a:gd name="T94" fmla="*/ 396 w 442"/>
                <a:gd name="T95" fmla="*/ 209 h 438"/>
                <a:gd name="T96" fmla="*/ 389 w 442"/>
                <a:gd name="T97" fmla="*/ 187 h 438"/>
                <a:gd name="T98" fmla="*/ 397 w 442"/>
                <a:gd name="T99" fmla="*/ 161 h 438"/>
                <a:gd name="T100" fmla="*/ 405 w 442"/>
                <a:gd name="T101" fmla="*/ 132 h 438"/>
                <a:gd name="T102" fmla="*/ 429 w 442"/>
                <a:gd name="T103" fmla="*/ 88 h 438"/>
                <a:gd name="T104" fmla="*/ 432 w 442"/>
                <a:gd name="T105" fmla="*/ 67 h 438"/>
                <a:gd name="T106" fmla="*/ 433 w 442"/>
                <a:gd name="T107" fmla="*/ 43 h 438"/>
                <a:gd name="T108" fmla="*/ 424 w 442"/>
                <a:gd name="T109" fmla="*/ 34 h 438"/>
                <a:gd name="T110" fmla="*/ 402 w 442"/>
                <a:gd name="T111" fmla="*/ 22 h 438"/>
                <a:gd name="T112" fmla="*/ 373 w 442"/>
                <a:gd name="T113" fmla="*/ 23 h 438"/>
                <a:gd name="T114" fmla="*/ 351 w 442"/>
                <a:gd name="T115" fmla="*/ 6 h 438"/>
                <a:gd name="T116" fmla="*/ 332 w 442"/>
                <a:gd name="T117" fmla="*/ 6 h 438"/>
                <a:gd name="T118" fmla="*/ 314 w 442"/>
                <a:gd name="T119" fmla="*/ 2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2" h="438">
                  <a:moveTo>
                    <a:pt x="311" y="0"/>
                  </a:moveTo>
                  <a:cubicBezTo>
                    <a:pt x="310" y="0"/>
                    <a:pt x="310" y="0"/>
                    <a:pt x="310" y="0"/>
                  </a:cubicBezTo>
                  <a:cubicBezTo>
                    <a:pt x="310" y="0"/>
                    <a:pt x="309" y="0"/>
                    <a:pt x="309" y="0"/>
                  </a:cubicBezTo>
                  <a:cubicBezTo>
                    <a:pt x="309" y="1"/>
                    <a:pt x="309" y="1"/>
                    <a:pt x="309" y="1"/>
                  </a:cubicBezTo>
                  <a:cubicBezTo>
                    <a:pt x="309" y="1"/>
                    <a:pt x="309" y="1"/>
                    <a:pt x="309" y="1"/>
                  </a:cubicBezTo>
                  <a:cubicBezTo>
                    <a:pt x="309" y="2"/>
                    <a:pt x="309" y="2"/>
                    <a:pt x="309" y="3"/>
                  </a:cubicBezTo>
                  <a:cubicBezTo>
                    <a:pt x="310" y="4"/>
                    <a:pt x="310" y="4"/>
                    <a:pt x="310" y="4"/>
                  </a:cubicBezTo>
                  <a:cubicBezTo>
                    <a:pt x="309" y="5"/>
                    <a:pt x="309" y="5"/>
                    <a:pt x="309" y="5"/>
                  </a:cubicBezTo>
                  <a:cubicBezTo>
                    <a:pt x="307" y="8"/>
                    <a:pt x="303" y="9"/>
                    <a:pt x="300" y="9"/>
                  </a:cubicBezTo>
                  <a:cubicBezTo>
                    <a:pt x="300" y="9"/>
                    <a:pt x="300" y="9"/>
                    <a:pt x="300" y="9"/>
                  </a:cubicBezTo>
                  <a:cubicBezTo>
                    <a:pt x="300" y="9"/>
                    <a:pt x="299" y="9"/>
                    <a:pt x="298" y="9"/>
                  </a:cubicBezTo>
                  <a:cubicBezTo>
                    <a:pt x="297" y="10"/>
                    <a:pt x="297" y="10"/>
                    <a:pt x="297" y="10"/>
                  </a:cubicBezTo>
                  <a:cubicBezTo>
                    <a:pt x="296" y="10"/>
                    <a:pt x="294" y="10"/>
                    <a:pt x="292" y="11"/>
                  </a:cubicBezTo>
                  <a:cubicBezTo>
                    <a:pt x="292" y="11"/>
                    <a:pt x="292" y="11"/>
                    <a:pt x="292" y="11"/>
                  </a:cubicBezTo>
                  <a:cubicBezTo>
                    <a:pt x="291" y="11"/>
                    <a:pt x="290" y="11"/>
                    <a:pt x="290" y="10"/>
                  </a:cubicBezTo>
                  <a:cubicBezTo>
                    <a:pt x="286" y="10"/>
                    <a:pt x="286" y="10"/>
                    <a:pt x="286" y="10"/>
                  </a:cubicBezTo>
                  <a:cubicBezTo>
                    <a:pt x="287" y="8"/>
                    <a:pt x="287" y="8"/>
                    <a:pt x="287" y="8"/>
                  </a:cubicBezTo>
                  <a:cubicBezTo>
                    <a:pt x="287" y="7"/>
                    <a:pt x="286" y="7"/>
                    <a:pt x="286" y="7"/>
                  </a:cubicBezTo>
                  <a:cubicBezTo>
                    <a:pt x="286" y="7"/>
                    <a:pt x="285" y="7"/>
                    <a:pt x="285" y="8"/>
                  </a:cubicBezTo>
                  <a:cubicBezTo>
                    <a:pt x="282" y="9"/>
                    <a:pt x="282" y="9"/>
                    <a:pt x="282" y="9"/>
                  </a:cubicBezTo>
                  <a:cubicBezTo>
                    <a:pt x="270" y="15"/>
                    <a:pt x="270" y="15"/>
                    <a:pt x="270" y="15"/>
                  </a:cubicBezTo>
                  <a:cubicBezTo>
                    <a:pt x="269" y="15"/>
                    <a:pt x="269" y="15"/>
                    <a:pt x="268" y="16"/>
                  </a:cubicBezTo>
                  <a:cubicBezTo>
                    <a:pt x="266" y="17"/>
                    <a:pt x="263" y="18"/>
                    <a:pt x="260" y="18"/>
                  </a:cubicBezTo>
                  <a:cubicBezTo>
                    <a:pt x="260" y="18"/>
                    <a:pt x="259" y="18"/>
                    <a:pt x="258" y="18"/>
                  </a:cubicBezTo>
                  <a:cubicBezTo>
                    <a:pt x="256" y="17"/>
                    <a:pt x="255" y="16"/>
                    <a:pt x="253" y="15"/>
                  </a:cubicBezTo>
                  <a:cubicBezTo>
                    <a:pt x="252" y="15"/>
                    <a:pt x="252" y="14"/>
                    <a:pt x="251" y="14"/>
                  </a:cubicBezTo>
                  <a:cubicBezTo>
                    <a:pt x="253" y="18"/>
                    <a:pt x="253" y="18"/>
                    <a:pt x="253" y="18"/>
                  </a:cubicBezTo>
                  <a:cubicBezTo>
                    <a:pt x="249" y="14"/>
                    <a:pt x="249" y="14"/>
                    <a:pt x="249" y="14"/>
                  </a:cubicBezTo>
                  <a:cubicBezTo>
                    <a:pt x="249" y="14"/>
                    <a:pt x="249" y="14"/>
                    <a:pt x="249" y="14"/>
                  </a:cubicBezTo>
                  <a:cubicBezTo>
                    <a:pt x="248" y="16"/>
                    <a:pt x="247" y="17"/>
                    <a:pt x="247" y="18"/>
                  </a:cubicBezTo>
                  <a:cubicBezTo>
                    <a:pt x="246" y="18"/>
                    <a:pt x="246" y="18"/>
                    <a:pt x="246" y="18"/>
                  </a:cubicBezTo>
                  <a:cubicBezTo>
                    <a:pt x="246" y="19"/>
                    <a:pt x="246" y="19"/>
                    <a:pt x="245" y="20"/>
                  </a:cubicBezTo>
                  <a:cubicBezTo>
                    <a:pt x="243" y="23"/>
                    <a:pt x="242" y="25"/>
                    <a:pt x="242" y="25"/>
                  </a:cubicBezTo>
                  <a:cubicBezTo>
                    <a:pt x="242" y="27"/>
                    <a:pt x="242" y="27"/>
                    <a:pt x="242" y="27"/>
                  </a:cubicBezTo>
                  <a:cubicBezTo>
                    <a:pt x="238" y="30"/>
                    <a:pt x="238" y="30"/>
                    <a:pt x="238" y="30"/>
                  </a:cubicBezTo>
                  <a:cubicBezTo>
                    <a:pt x="238" y="29"/>
                    <a:pt x="238" y="29"/>
                    <a:pt x="238" y="29"/>
                  </a:cubicBezTo>
                  <a:cubicBezTo>
                    <a:pt x="238" y="29"/>
                    <a:pt x="237" y="29"/>
                    <a:pt x="237" y="29"/>
                  </a:cubicBezTo>
                  <a:cubicBezTo>
                    <a:pt x="237" y="29"/>
                    <a:pt x="236" y="29"/>
                    <a:pt x="235" y="29"/>
                  </a:cubicBezTo>
                  <a:cubicBezTo>
                    <a:pt x="235" y="28"/>
                    <a:pt x="235" y="28"/>
                    <a:pt x="234" y="28"/>
                  </a:cubicBezTo>
                  <a:cubicBezTo>
                    <a:pt x="233" y="28"/>
                    <a:pt x="232" y="28"/>
                    <a:pt x="231" y="27"/>
                  </a:cubicBezTo>
                  <a:cubicBezTo>
                    <a:pt x="230" y="27"/>
                    <a:pt x="230" y="27"/>
                    <a:pt x="230" y="27"/>
                  </a:cubicBezTo>
                  <a:cubicBezTo>
                    <a:pt x="230" y="27"/>
                    <a:pt x="229" y="27"/>
                    <a:pt x="229" y="27"/>
                  </a:cubicBezTo>
                  <a:cubicBezTo>
                    <a:pt x="228" y="27"/>
                    <a:pt x="228" y="27"/>
                    <a:pt x="228" y="27"/>
                  </a:cubicBezTo>
                  <a:cubicBezTo>
                    <a:pt x="227" y="27"/>
                    <a:pt x="227" y="27"/>
                    <a:pt x="227" y="27"/>
                  </a:cubicBezTo>
                  <a:cubicBezTo>
                    <a:pt x="225" y="27"/>
                    <a:pt x="223" y="27"/>
                    <a:pt x="222" y="26"/>
                  </a:cubicBezTo>
                  <a:cubicBezTo>
                    <a:pt x="219" y="26"/>
                    <a:pt x="219" y="26"/>
                    <a:pt x="219" y="26"/>
                  </a:cubicBezTo>
                  <a:cubicBezTo>
                    <a:pt x="217" y="26"/>
                    <a:pt x="215" y="26"/>
                    <a:pt x="213" y="26"/>
                  </a:cubicBezTo>
                  <a:cubicBezTo>
                    <a:pt x="211" y="25"/>
                    <a:pt x="211" y="25"/>
                    <a:pt x="211" y="25"/>
                  </a:cubicBezTo>
                  <a:cubicBezTo>
                    <a:pt x="210" y="25"/>
                    <a:pt x="210" y="25"/>
                    <a:pt x="209" y="25"/>
                  </a:cubicBezTo>
                  <a:cubicBezTo>
                    <a:pt x="208" y="29"/>
                    <a:pt x="208" y="29"/>
                    <a:pt x="208" y="29"/>
                  </a:cubicBezTo>
                  <a:cubicBezTo>
                    <a:pt x="208" y="24"/>
                    <a:pt x="208" y="24"/>
                    <a:pt x="208" y="24"/>
                  </a:cubicBezTo>
                  <a:cubicBezTo>
                    <a:pt x="207" y="24"/>
                    <a:pt x="207" y="24"/>
                    <a:pt x="207" y="24"/>
                  </a:cubicBezTo>
                  <a:cubicBezTo>
                    <a:pt x="206" y="24"/>
                    <a:pt x="204" y="24"/>
                    <a:pt x="202" y="23"/>
                  </a:cubicBezTo>
                  <a:cubicBezTo>
                    <a:pt x="201" y="23"/>
                    <a:pt x="201" y="23"/>
                    <a:pt x="201" y="23"/>
                  </a:cubicBezTo>
                  <a:cubicBezTo>
                    <a:pt x="200" y="22"/>
                    <a:pt x="199" y="22"/>
                    <a:pt x="197" y="22"/>
                  </a:cubicBezTo>
                  <a:cubicBezTo>
                    <a:pt x="197" y="21"/>
                    <a:pt x="196" y="21"/>
                    <a:pt x="196" y="21"/>
                  </a:cubicBezTo>
                  <a:cubicBezTo>
                    <a:pt x="195" y="21"/>
                    <a:pt x="194" y="21"/>
                    <a:pt x="193" y="21"/>
                  </a:cubicBezTo>
                  <a:cubicBezTo>
                    <a:pt x="191" y="20"/>
                    <a:pt x="189" y="18"/>
                    <a:pt x="187" y="17"/>
                  </a:cubicBezTo>
                  <a:cubicBezTo>
                    <a:pt x="180" y="9"/>
                    <a:pt x="180" y="9"/>
                    <a:pt x="180" y="9"/>
                  </a:cubicBezTo>
                  <a:cubicBezTo>
                    <a:pt x="179" y="9"/>
                    <a:pt x="179" y="9"/>
                    <a:pt x="179" y="9"/>
                  </a:cubicBezTo>
                  <a:cubicBezTo>
                    <a:pt x="178" y="8"/>
                    <a:pt x="178" y="8"/>
                    <a:pt x="178" y="8"/>
                  </a:cubicBezTo>
                  <a:cubicBezTo>
                    <a:pt x="177" y="8"/>
                    <a:pt x="176" y="7"/>
                    <a:pt x="175" y="7"/>
                  </a:cubicBezTo>
                  <a:cubicBezTo>
                    <a:pt x="175" y="6"/>
                    <a:pt x="175" y="6"/>
                    <a:pt x="175" y="6"/>
                  </a:cubicBezTo>
                  <a:cubicBezTo>
                    <a:pt x="174" y="6"/>
                    <a:pt x="174" y="6"/>
                    <a:pt x="174" y="6"/>
                  </a:cubicBezTo>
                  <a:cubicBezTo>
                    <a:pt x="173" y="6"/>
                    <a:pt x="173" y="6"/>
                    <a:pt x="173" y="6"/>
                  </a:cubicBezTo>
                  <a:cubicBezTo>
                    <a:pt x="173" y="6"/>
                    <a:pt x="173" y="6"/>
                    <a:pt x="173" y="6"/>
                  </a:cubicBezTo>
                  <a:cubicBezTo>
                    <a:pt x="172" y="6"/>
                    <a:pt x="172" y="6"/>
                    <a:pt x="172" y="6"/>
                  </a:cubicBezTo>
                  <a:cubicBezTo>
                    <a:pt x="171" y="5"/>
                    <a:pt x="171" y="5"/>
                    <a:pt x="171" y="5"/>
                  </a:cubicBezTo>
                  <a:cubicBezTo>
                    <a:pt x="171" y="5"/>
                    <a:pt x="171" y="5"/>
                    <a:pt x="171" y="5"/>
                  </a:cubicBezTo>
                  <a:cubicBezTo>
                    <a:pt x="171" y="5"/>
                    <a:pt x="171" y="5"/>
                    <a:pt x="170" y="5"/>
                  </a:cubicBezTo>
                  <a:cubicBezTo>
                    <a:pt x="170" y="6"/>
                    <a:pt x="170" y="6"/>
                    <a:pt x="170" y="6"/>
                  </a:cubicBezTo>
                  <a:cubicBezTo>
                    <a:pt x="167" y="6"/>
                    <a:pt x="164" y="8"/>
                    <a:pt x="162" y="10"/>
                  </a:cubicBezTo>
                  <a:cubicBezTo>
                    <a:pt x="161" y="11"/>
                    <a:pt x="160" y="12"/>
                    <a:pt x="160" y="13"/>
                  </a:cubicBezTo>
                  <a:cubicBezTo>
                    <a:pt x="159" y="13"/>
                    <a:pt x="159" y="13"/>
                    <a:pt x="159" y="13"/>
                  </a:cubicBezTo>
                  <a:cubicBezTo>
                    <a:pt x="158" y="15"/>
                    <a:pt x="158" y="16"/>
                    <a:pt x="157" y="17"/>
                  </a:cubicBezTo>
                  <a:cubicBezTo>
                    <a:pt x="156" y="18"/>
                    <a:pt x="156" y="18"/>
                    <a:pt x="156" y="18"/>
                  </a:cubicBezTo>
                  <a:cubicBezTo>
                    <a:pt x="156" y="19"/>
                    <a:pt x="156" y="19"/>
                    <a:pt x="156" y="19"/>
                  </a:cubicBezTo>
                  <a:cubicBezTo>
                    <a:pt x="155" y="20"/>
                    <a:pt x="154" y="22"/>
                    <a:pt x="152" y="23"/>
                  </a:cubicBezTo>
                  <a:cubicBezTo>
                    <a:pt x="152" y="23"/>
                    <a:pt x="151" y="23"/>
                    <a:pt x="151" y="24"/>
                  </a:cubicBezTo>
                  <a:cubicBezTo>
                    <a:pt x="151" y="25"/>
                    <a:pt x="151" y="26"/>
                    <a:pt x="151" y="26"/>
                  </a:cubicBezTo>
                  <a:cubicBezTo>
                    <a:pt x="151" y="28"/>
                    <a:pt x="151" y="29"/>
                    <a:pt x="151" y="30"/>
                  </a:cubicBezTo>
                  <a:cubicBezTo>
                    <a:pt x="151" y="31"/>
                    <a:pt x="151" y="31"/>
                    <a:pt x="151" y="31"/>
                  </a:cubicBezTo>
                  <a:cubicBezTo>
                    <a:pt x="151" y="31"/>
                    <a:pt x="151" y="32"/>
                    <a:pt x="151" y="33"/>
                  </a:cubicBezTo>
                  <a:cubicBezTo>
                    <a:pt x="151" y="34"/>
                    <a:pt x="151" y="36"/>
                    <a:pt x="151" y="38"/>
                  </a:cubicBezTo>
                  <a:cubicBezTo>
                    <a:pt x="151" y="39"/>
                    <a:pt x="151" y="40"/>
                    <a:pt x="151" y="41"/>
                  </a:cubicBezTo>
                  <a:cubicBezTo>
                    <a:pt x="151" y="44"/>
                    <a:pt x="151" y="44"/>
                    <a:pt x="151" y="44"/>
                  </a:cubicBezTo>
                  <a:cubicBezTo>
                    <a:pt x="151" y="44"/>
                    <a:pt x="152" y="45"/>
                    <a:pt x="151" y="46"/>
                  </a:cubicBezTo>
                  <a:cubicBezTo>
                    <a:pt x="152" y="49"/>
                    <a:pt x="152" y="49"/>
                    <a:pt x="152" y="49"/>
                  </a:cubicBezTo>
                  <a:cubicBezTo>
                    <a:pt x="151" y="48"/>
                    <a:pt x="151" y="48"/>
                    <a:pt x="151" y="48"/>
                  </a:cubicBezTo>
                  <a:cubicBezTo>
                    <a:pt x="151" y="49"/>
                    <a:pt x="151" y="50"/>
                    <a:pt x="151" y="50"/>
                  </a:cubicBezTo>
                  <a:cubicBezTo>
                    <a:pt x="151" y="50"/>
                    <a:pt x="150" y="51"/>
                    <a:pt x="150" y="51"/>
                  </a:cubicBezTo>
                  <a:cubicBezTo>
                    <a:pt x="150" y="52"/>
                    <a:pt x="150" y="53"/>
                    <a:pt x="149" y="54"/>
                  </a:cubicBezTo>
                  <a:cubicBezTo>
                    <a:pt x="149" y="54"/>
                    <a:pt x="149" y="55"/>
                    <a:pt x="149" y="55"/>
                  </a:cubicBezTo>
                  <a:cubicBezTo>
                    <a:pt x="148" y="56"/>
                    <a:pt x="148" y="57"/>
                    <a:pt x="147" y="57"/>
                  </a:cubicBezTo>
                  <a:cubicBezTo>
                    <a:pt x="147" y="58"/>
                    <a:pt x="147" y="58"/>
                    <a:pt x="147" y="58"/>
                  </a:cubicBezTo>
                  <a:cubicBezTo>
                    <a:pt x="147" y="58"/>
                    <a:pt x="147" y="58"/>
                    <a:pt x="147" y="58"/>
                  </a:cubicBezTo>
                  <a:cubicBezTo>
                    <a:pt x="146" y="59"/>
                    <a:pt x="146" y="60"/>
                    <a:pt x="145" y="61"/>
                  </a:cubicBezTo>
                  <a:cubicBezTo>
                    <a:pt x="144" y="63"/>
                    <a:pt x="144" y="63"/>
                    <a:pt x="144" y="63"/>
                  </a:cubicBezTo>
                  <a:cubicBezTo>
                    <a:pt x="144" y="63"/>
                    <a:pt x="143" y="64"/>
                    <a:pt x="143" y="65"/>
                  </a:cubicBezTo>
                  <a:cubicBezTo>
                    <a:pt x="147" y="67"/>
                    <a:pt x="147" y="67"/>
                    <a:pt x="147" y="67"/>
                  </a:cubicBezTo>
                  <a:cubicBezTo>
                    <a:pt x="142" y="66"/>
                    <a:pt x="142" y="66"/>
                    <a:pt x="142" y="66"/>
                  </a:cubicBezTo>
                  <a:cubicBezTo>
                    <a:pt x="141" y="67"/>
                    <a:pt x="141" y="67"/>
                    <a:pt x="141" y="67"/>
                  </a:cubicBezTo>
                  <a:cubicBezTo>
                    <a:pt x="140" y="70"/>
                    <a:pt x="139" y="72"/>
                    <a:pt x="139" y="75"/>
                  </a:cubicBezTo>
                  <a:cubicBezTo>
                    <a:pt x="139" y="75"/>
                    <a:pt x="139" y="75"/>
                    <a:pt x="139" y="76"/>
                  </a:cubicBezTo>
                  <a:cubicBezTo>
                    <a:pt x="138" y="76"/>
                    <a:pt x="138" y="76"/>
                    <a:pt x="138" y="76"/>
                  </a:cubicBezTo>
                  <a:cubicBezTo>
                    <a:pt x="138" y="77"/>
                    <a:pt x="138" y="78"/>
                    <a:pt x="138" y="80"/>
                  </a:cubicBezTo>
                  <a:cubicBezTo>
                    <a:pt x="138" y="82"/>
                    <a:pt x="137" y="84"/>
                    <a:pt x="137" y="86"/>
                  </a:cubicBezTo>
                  <a:cubicBezTo>
                    <a:pt x="136" y="89"/>
                    <a:pt x="136" y="89"/>
                    <a:pt x="136" y="89"/>
                  </a:cubicBezTo>
                  <a:cubicBezTo>
                    <a:pt x="135" y="92"/>
                    <a:pt x="135" y="94"/>
                    <a:pt x="134" y="97"/>
                  </a:cubicBezTo>
                  <a:cubicBezTo>
                    <a:pt x="134" y="99"/>
                    <a:pt x="134" y="100"/>
                    <a:pt x="134" y="101"/>
                  </a:cubicBezTo>
                  <a:cubicBezTo>
                    <a:pt x="134" y="102"/>
                    <a:pt x="134" y="103"/>
                    <a:pt x="134" y="105"/>
                  </a:cubicBezTo>
                  <a:cubicBezTo>
                    <a:pt x="134" y="105"/>
                    <a:pt x="134" y="105"/>
                    <a:pt x="134" y="105"/>
                  </a:cubicBezTo>
                  <a:cubicBezTo>
                    <a:pt x="134" y="106"/>
                    <a:pt x="134" y="108"/>
                    <a:pt x="134" y="109"/>
                  </a:cubicBezTo>
                  <a:cubicBezTo>
                    <a:pt x="134" y="110"/>
                    <a:pt x="134" y="111"/>
                    <a:pt x="135" y="111"/>
                  </a:cubicBezTo>
                  <a:cubicBezTo>
                    <a:pt x="135" y="113"/>
                    <a:pt x="135" y="115"/>
                    <a:pt x="134" y="118"/>
                  </a:cubicBezTo>
                  <a:cubicBezTo>
                    <a:pt x="126" y="141"/>
                    <a:pt x="126" y="141"/>
                    <a:pt x="126" y="141"/>
                  </a:cubicBezTo>
                  <a:cubicBezTo>
                    <a:pt x="126" y="144"/>
                    <a:pt x="123" y="145"/>
                    <a:pt x="122" y="146"/>
                  </a:cubicBezTo>
                  <a:cubicBezTo>
                    <a:pt x="121" y="147"/>
                    <a:pt x="121" y="147"/>
                    <a:pt x="120" y="147"/>
                  </a:cubicBezTo>
                  <a:cubicBezTo>
                    <a:pt x="119" y="148"/>
                    <a:pt x="119" y="148"/>
                    <a:pt x="119" y="148"/>
                  </a:cubicBezTo>
                  <a:cubicBezTo>
                    <a:pt x="118" y="148"/>
                    <a:pt x="117" y="149"/>
                    <a:pt x="116" y="150"/>
                  </a:cubicBezTo>
                  <a:cubicBezTo>
                    <a:pt x="115" y="151"/>
                    <a:pt x="113" y="152"/>
                    <a:pt x="111" y="154"/>
                  </a:cubicBezTo>
                  <a:cubicBezTo>
                    <a:pt x="110" y="154"/>
                    <a:pt x="109" y="155"/>
                    <a:pt x="109" y="155"/>
                  </a:cubicBezTo>
                  <a:cubicBezTo>
                    <a:pt x="109" y="156"/>
                    <a:pt x="109" y="156"/>
                    <a:pt x="109" y="156"/>
                  </a:cubicBezTo>
                  <a:cubicBezTo>
                    <a:pt x="108" y="156"/>
                    <a:pt x="108" y="157"/>
                    <a:pt x="107" y="157"/>
                  </a:cubicBezTo>
                  <a:cubicBezTo>
                    <a:pt x="107" y="159"/>
                    <a:pt x="106" y="160"/>
                    <a:pt x="105" y="162"/>
                  </a:cubicBezTo>
                  <a:cubicBezTo>
                    <a:pt x="102" y="167"/>
                    <a:pt x="99" y="171"/>
                    <a:pt x="95" y="176"/>
                  </a:cubicBezTo>
                  <a:cubicBezTo>
                    <a:pt x="95" y="176"/>
                    <a:pt x="95" y="176"/>
                    <a:pt x="95" y="176"/>
                  </a:cubicBezTo>
                  <a:cubicBezTo>
                    <a:pt x="94" y="176"/>
                    <a:pt x="94" y="176"/>
                    <a:pt x="94" y="177"/>
                  </a:cubicBezTo>
                  <a:cubicBezTo>
                    <a:pt x="94" y="178"/>
                    <a:pt x="94" y="178"/>
                    <a:pt x="94" y="178"/>
                  </a:cubicBezTo>
                  <a:cubicBezTo>
                    <a:pt x="94" y="182"/>
                    <a:pt x="94" y="182"/>
                    <a:pt x="94" y="182"/>
                  </a:cubicBezTo>
                  <a:cubicBezTo>
                    <a:pt x="94" y="185"/>
                    <a:pt x="94" y="188"/>
                    <a:pt x="94" y="190"/>
                  </a:cubicBezTo>
                  <a:cubicBezTo>
                    <a:pt x="94" y="191"/>
                    <a:pt x="94" y="192"/>
                    <a:pt x="94" y="193"/>
                  </a:cubicBezTo>
                  <a:cubicBezTo>
                    <a:pt x="94" y="194"/>
                    <a:pt x="94" y="194"/>
                    <a:pt x="94" y="194"/>
                  </a:cubicBezTo>
                  <a:cubicBezTo>
                    <a:pt x="94" y="194"/>
                    <a:pt x="94" y="194"/>
                    <a:pt x="94" y="194"/>
                  </a:cubicBezTo>
                  <a:cubicBezTo>
                    <a:pt x="94" y="196"/>
                    <a:pt x="94" y="196"/>
                    <a:pt x="94" y="196"/>
                  </a:cubicBezTo>
                  <a:cubicBezTo>
                    <a:pt x="98" y="196"/>
                    <a:pt x="98" y="196"/>
                    <a:pt x="98" y="196"/>
                  </a:cubicBezTo>
                  <a:cubicBezTo>
                    <a:pt x="94" y="197"/>
                    <a:pt x="94" y="197"/>
                    <a:pt x="94" y="197"/>
                  </a:cubicBezTo>
                  <a:cubicBezTo>
                    <a:pt x="94" y="198"/>
                    <a:pt x="94" y="198"/>
                    <a:pt x="94" y="198"/>
                  </a:cubicBezTo>
                  <a:cubicBezTo>
                    <a:pt x="95" y="199"/>
                    <a:pt x="95" y="200"/>
                    <a:pt x="95" y="200"/>
                  </a:cubicBezTo>
                  <a:cubicBezTo>
                    <a:pt x="94" y="201"/>
                    <a:pt x="94" y="202"/>
                    <a:pt x="94" y="203"/>
                  </a:cubicBezTo>
                  <a:cubicBezTo>
                    <a:pt x="94" y="203"/>
                    <a:pt x="94" y="203"/>
                    <a:pt x="94" y="204"/>
                  </a:cubicBezTo>
                  <a:cubicBezTo>
                    <a:pt x="94" y="205"/>
                    <a:pt x="93" y="206"/>
                    <a:pt x="93" y="207"/>
                  </a:cubicBezTo>
                  <a:cubicBezTo>
                    <a:pt x="91" y="209"/>
                    <a:pt x="91" y="209"/>
                    <a:pt x="91" y="209"/>
                  </a:cubicBezTo>
                  <a:cubicBezTo>
                    <a:pt x="90" y="211"/>
                    <a:pt x="89" y="214"/>
                    <a:pt x="87" y="216"/>
                  </a:cubicBezTo>
                  <a:cubicBezTo>
                    <a:pt x="85" y="220"/>
                    <a:pt x="80" y="223"/>
                    <a:pt x="76" y="225"/>
                  </a:cubicBezTo>
                  <a:cubicBezTo>
                    <a:pt x="75" y="226"/>
                    <a:pt x="74" y="227"/>
                    <a:pt x="72" y="227"/>
                  </a:cubicBezTo>
                  <a:cubicBezTo>
                    <a:pt x="69" y="230"/>
                    <a:pt x="66" y="233"/>
                    <a:pt x="63" y="236"/>
                  </a:cubicBezTo>
                  <a:cubicBezTo>
                    <a:pt x="63" y="237"/>
                    <a:pt x="63" y="237"/>
                    <a:pt x="63" y="237"/>
                  </a:cubicBezTo>
                  <a:cubicBezTo>
                    <a:pt x="61" y="239"/>
                    <a:pt x="59" y="241"/>
                    <a:pt x="56" y="242"/>
                  </a:cubicBezTo>
                  <a:cubicBezTo>
                    <a:pt x="56" y="242"/>
                    <a:pt x="55" y="242"/>
                    <a:pt x="55" y="242"/>
                  </a:cubicBezTo>
                  <a:cubicBezTo>
                    <a:pt x="54" y="242"/>
                    <a:pt x="54" y="242"/>
                    <a:pt x="54" y="242"/>
                  </a:cubicBezTo>
                  <a:cubicBezTo>
                    <a:pt x="53" y="242"/>
                    <a:pt x="53" y="242"/>
                    <a:pt x="52" y="242"/>
                  </a:cubicBezTo>
                  <a:cubicBezTo>
                    <a:pt x="52" y="242"/>
                    <a:pt x="52" y="242"/>
                    <a:pt x="52" y="242"/>
                  </a:cubicBezTo>
                  <a:cubicBezTo>
                    <a:pt x="51" y="242"/>
                    <a:pt x="50" y="241"/>
                    <a:pt x="50" y="241"/>
                  </a:cubicBezTo>
                  <a:cubicBezTo>
                    <a:pt x="46" y="241"/>
                    <a:pt x="46" y="239"/>
                    <a:pt x="46" y="229"/>
                  </a:cubicBezTo>
                  <a:cubicBezTo>
                    <a:pt x="46" y="229"/>
                    <a:pt x="46" y="229"/>
                    <a:pt x="46" y="229"/>
                  </a:cubicBezTo>
                  <a:cubicBezTo>
                    <a:pt x="46" y="229"/>
                    <a:pt x="46" y="229"/>
                    <a:pt x="45" y="229"/>
                  </a:cubicBezTo>
                  <a:cubicBezTo>
                    <a:pt x="44" y="230"/>
                    <a:pt x="43" y="230"/>
                    <a:pt x="43" y="230"/>
                  </a:cubicBezTo>
                  <a:cubicBezTo>
                    <a:pt x="43" y="230"/>
                    <a:pt x="42" y="230"/>
                    <a:pt x="42" y="230"/>
                  </a:cubicBezTo>
                  <a:cubicBezTo>
                    <a:pt x="42" y="230"/>
                    <a:pt x="42" y="230"/>
                    <a:pt x="41" y="231"/>
                  </a:cubicBezTo>
                  <a:cubicBezTo>
                    <a:pt x="39" y="231"/>
                    <a:pt x="38" y="231"/>
                    <a:pt x="37" y="231"/>
                  </a:cubicBezTo>
                  <a:cubicBezTo>
                    <a:pt x="36" y="231"/>
                    <a:pt x="36" y="231"/>
                    <a:pt x="36" y="231"/>
                  </a:cubicBezTo>
                  <a:cubicBezTo>
                    <a:pt x="36" y="232"/>
                    <a:pt x="36" y="232"/>
                    <a:pt x="36" y="232"/>
                  </a:cubicBezTo>
                  <a:cubicBezTo>
                    <a:pt x="35" y="235"/>
                    <a:pt x="32" y="238"/>
                    <a:pt x="30" y="239"/>
                  </a:cubicBezTo>
                  <a:cubicBezTo>
                    <a:pt x="28" y="240"/>
                    <a:pt x="27" y="241"/>
                    <a:pt x="26" y="241"/>
                  </a:cubicBezTo>
                  <a:cubicBezTo>
                    <a:pt x="24" y="241"/>
                    <a:pt x="22" y="239"/>
                    <a:pt x="21" y="238"/>
                  </a:cubicBezTo>
                  <a:cubicBezTo>
                    <a:pt x="20" y="238"/>
                    <a:pt x="20" y="237"/>
                    <a:pt x="19" y="237"/>
                  </a:cubicBezTo>
                  <a:cubicBezTo>
                    <a:pt x="18" y="236"/>
                    <a:pt x="18" y="236"/>
                    <a:pt x="18" y="236"/>
                  </a:cubicBezTo>
                  <a:cubicBezTo>
                    <a:pt x="18" y="236"/>
                    <a:pt x="18" y="236"/>
                    <a:pt x="18" y="236"/>
                  </a:cubicBezTo>
                  <a:cubicBezTo>
                    <a:pt x="14" y="238"/>
                    <a:pt x="11" y="240"/>
                    <a:pt x="7" y="243"/>
                  </a:cubicBezTo>
                  <a:cubicBezTo>
                    <a:pt x="7" y="243"/>
                    <a:pt x="7" y="243"/>
                    <a:pt x="7" y="243"/>
                  </a:cubicBezTo>
                  <a:cubicBezTo>
                    <a:pt x="9" y="244"/>
                    <a:pt x="9" y="244"/>
                    <a:pt x="9" y="244"/>
                  </a:cubicBezTo>
                  <a:cubicBezTo>
                    <a:pt x="6" y="244"/>
                    <a:pt x="6" y="244"/>
                    <a:pt x="6" y="244"/>
                  </a:cubicBezTo>
                  <a:cubicBezTo>
                    <a:pt x="7" y="245"/>
                    <a:pt x="7" y="246"/>
                    <a:pt x="7" y="247"/>
                  </a:cubicBezTo>
                  <a:cubicBezTo>
                    <a:pt x="8" y="254"/>
                    <a:pt x="9" y="258"/>
                    <a:pt x="7" y="260"/>
                  </a:cubicBezTo>
                  <a:cubicBezTo>
                    <a:pt x="6" y="261"/>
                    <a:pt x="5" y="261"/>
                    <a:pt x="0" y="262"/>
                  </a:cubicBezTo>
                  <a:cubicBezTo>
                    <a:pt x="2" y="262"/>
                    <a:pt x="2" y="262"/>
                    <a:pt x="2" y="262"/>
                  </a:cubicBezTo>
                  <a:cubicBezTo>
                    <a:pt x="4" y="262"/>
                    <a:pt x="5" y="261"/>
                    <a:pt x="7" y="261"/>
                  </a:cubicBezTo>
                  <a:cubicBezTo>
                    <a:pt x="9" y="259"/>
                    <a:pt x="11" y="258"/>
                    <a:pt x="15" y="258"/>
                  </a:cubicBezTo>
                  <a:cubicBezTo>
                    <a:pt x="15" y="258"/>
                    <a:pt x="16" y="258"/>
                    <a:pt x="16" y="258"/>
                  </a:cubicBezTo>
                  <a:cubicBezTo>
                    <a:pt x="19" y="258"/>
                    <a:pt x="23" y="258"/>
                    <a:pt x="26" y="258"/>
                  </a:cubicBezTo>
                  <a:cubicBezTo>
                    <a:pt x="27" y="258"/>
                    <a:pt x="27" y="258"/>
                    <a:pt x="27" y="258"/>
                  </a:cubicBezTo>
                  <a:cubicBezTo>
                    <a:pt x="28" y="258"/>
                    <a:pt x="28" y="258"/>
                    <a:pt x="28" y="258"/>
                  </a:cubicBezTo>
                  <a:cubicBezTo>
                    <a:pt x="28" y="258"/>
                    <a:pt x="29" y="258"/>
                    <a:pt x="30" y="258"/>
                  </a:cubicBezTo>
                  <a:cubicBezTo>
                    <a:pt x="32" y="258"/>
                    <a:pt x="34" y="258"/>
                    <a:pt x="36" y="259"/>
                  </a:cubicBezTo>
                  <a:cubicBezTo>
                    <a:pt x="38" y="259"/>
                    <a:pt x="40" y="259"/>
                    <a:pt x="42" y="259"/>
                  </a:cubicBezTo>
                  <a:cubicBezTo>
                    <a:pt x="46" y="259"/>
                    <a:pt x="46" y="259"/>
                    <a:pt x="46" y="259"/>
                  </a:cubicBezTo>
                  <a:cubicBezTo>
                    <a:pt x="49" y="259"/>
                    <a:pt x="52" y="259"/>
                    <a:pt x="55" y="259"/>
                  </a:cubicBezTo>
                  <a:cubicBezTo>
                    <a:pt x="56" y="259"/>
                    <a:pt x="57" y="259"/>
                    <a:pt x="58" y="259"/>
                  </a:cubicBezTo>
                  <a:cubicBezTo>
                    <a:pt x="85" y="259"/>
                    <a:pt x="85" y="259"/>
                    <a:pt x="85" y="259"/>
                  </a:cubicBezTo>
                  <a:cubicBezTo>
                    <a:pt x="86" y="259"/>
                    <a:pt x="87" y="259"/>
                    <a:pt x="87" y="259"/>
                  </a:cubicBezTo>
                  <a:cubicBezTo>
                    <a:pt x="89" y="259"/>
                    <a:pt x="90" y="259"/>
                    <a:pt x="91" y="259"/>
                  </a:cubicBezTo>
                  <a:cubicBezTo>
                    <a:pt x="92" y="259"/>
                    <a:pt x="92" y="259"/>
                    <a:pt x="93" y="259"/>
                  </a:cubicBezTo>
                  <a:cubicBezTo>
                    <a:pt x="94" y="259"/>
                    <a:pt x="94" y="259"/>
                    <a:pt x="94" y="259"/>
                  </a:cubicBezTo>
                  <a:cubicBezTo>
                    <a:pt x="94" y="259"/>
                    <a:pt x="95" y="259"/>
                    <a:pt x="95" y="259"/>
                  </a:cubicBezTo>
                  <a:cubicBezTo>
                    <a:pt x="98" y="259"/>
                    <a:pt x="100" y="259"/>
                    <a:pt x="101" y="260"/>
                  </a:cubicBezTo>
                  <a:cubicBezTo>
                    <a:pt x="105" y="261"/>
                    <a:pt x="106" y="266"/>
                    <a:pt x="106" y="269"/>
                  </a:cubicBezTo>
                  <a:cubicBezTo>
                    <a:pt x="107" y="270"/>
                    <a:pt x="107" y="272"/>
                    <a:pt x="107" y="273"/>
                  </a:cubicBezTo>
                  <a:cubicBezTo>
                    <a:pt x="108" y="280"/>
                    <a:pt x="110" y="286"/>
                    <a:pt x="113" y="292"/>
                  </a:cubicBezTo>
                  <a:cubicBezTo>
                    <a:pt x="114" y="294"/>
                    <a:pt x="116" y="297"/>
                    <a:pt x="117" y="299"/>
                  </a:cubicBezTo>
                  <a:cubicBezTo>
                    <a:pt x="118" y="299"/>
                    <a:pt x="118" y="300"/>
                    <a:pt x="119" y="302"/>
                  </a:cubicBezTo>
                  <a:cubicBezTo>
                    <a:pt x="123" y="309"/>
                    <a:pt x="123" y="309"/>
                    <a:pt x="123" y="309"/>
                  </a:cubicBezTo>
                  <a:cubicBezTo>
                    <a:pt x="125" y="311"/>
                    <a:pt x="125" y="311"/>
                    <a:pt x="128" y="311"/>
                  </a:cubicBezTo>
                  <a:cubicBezTo>
                    <a:pt x="135" y="312"/>
                    <a:pt x="135" y="312"/>
                    <a:pt x="135" y="312"/>
                  </a:cubicBezTo>
                  <a:cubicBezTo>
                    <a:pt x="135" y="311"/>
                    <a:pt x="136" y="310"/>
                    <a:pt x="137" y="310"/>
                  </a:cubicBezTo>
                  <a:cubicBezTo>
                    <a:pt x="137" y="310"/>
                    <a:pt x="137" y="310"/>
                    <a:pt x="137" y="310"/>
                  </a:cubicBezTo>
                  <a:cubicBezTo>
                    <a:pt x="138" y="309"/>
                    <a:pt x="138" y="309"/>
                    <a:pt x="138" y="309"/>
                  </a:cubicBezTo>
                  <a:cubicBezTo>
                    <a:pt x="139" y="309"/>
                    <a:pt x="139" y="309"/>
                    <a:pt x="139" y="309"/>
                  </a:cubicBezTo>
                  <a:cubicBezTo>
                    <a:pt x="141" y="308"/>
                    <a:pt x="144" y="308"/>
                    <a:pt x="147" y="308"/>
                  </a:cubicBezTo>
                  <a:cubicBezTo>
                    <a:pt x="148" y="308"/>
                    <a:pt x="149" y="308"/>
                    <a:pt x="149" y="308"/>
                  </a:cubicBezTo>
                  <a:cubicBezTo>
                    <a:pt x="164" y="309"/>
                    <a:pt x="164" y="309"/>
                    <a:pt x="164" y="309"/>
                  </a:cubicBezTo>
                  <a:cubicBezTo>
                    <a:pt x="164" y="309"/>
                    <a:pt x="164" y="309"/>
                    <a:pt x="164" y="308"/>
                  </a:cubicBezTo>
                  <a:cubicBezTo>
                    <a:pt x="164" y="307"/>
                    <a:pt x="164" y="307"/>
                    <a:pt x="164" y="307"/>
                  </a:cubicBezTo>
                  <a:cubicBezTo>
                    <a:pt x="164" y="307"/>
                    <a:pt x="164" y="306"/>
                    <a:pt x="164" y="306"/>
                  </a:cubicBezTo>
                  <a:cubicBezTo>
                    <a:pt x="166" y="298"/>
                    <a:pt x="166" y="298"/>
                    <a:pt x="166" y="298"/>
                  </a:cubicBezTo>
                  <a:cubicBezTo>
                    <a:pt x="167" y="290"/>
                    <a:pt x="168" y="287"/>
                    <a:pt x="170" y="287"/>
                  </a:cubicBezTo>
                  <a:cubicBezTo>
                    <a:pt x="171" y="287"/>
                    <a:pt x="171" y="287"/>
                    <a:pt x="171" y="287"/>
                  </a:cubicBezTo>
                  <a:cubicBezTo>
                    <a:pt x="172" y="286"/>
                    <a:pt x="173" y="286"/>
                    <a:pt x="174" y="286"/>
                  </a:cubicBezTo>
                  <a:cubicBezTo>
                    <a:pt x="174" y="286"/>
                    <a:pt x="174" y="286"/>
                    <a:pt x="174" y="286"/>
                  </a:cubicBezTo>
                  <a:cubicBezTo>
                    <a:pt x="175" y="286"/>
                    <a:pt x="175" y="286"/>
                    <a:pt x="176" y="286"/>
                  </a:cubicBezTo>
                  <a:cubicBezTo>
                    <a:pt x="177" y="286"/>
                    <a:pt x="177" y="286"/>
                    <a:pt x="177" y="286"/>
                  </a:cubicBezTo>
                  <a:cubicBezTo>
                    <a:pt x="174" y="270"/>
                    <a:pt x="174" y="270"/>
                    <a:pt x="174" y="270"/>
                  </a:cubicBezTo>
                  <a:cubicBezTo>
                    <a:pt x="182" y="285"/>
                    <a:pt x="182" y="285"/>
                    <a:pt x="182" y="285"/>
                  </a:cubicBezTo>
                  <a:cubicBezTo>
                    <a:pt x="183" y="285"/>
                    <a:pt x="183" y="285"/>
                    <a:pt x="183" y="285"/>
                  </a:cubicBezTo>
                  <a:cubicBezTo>
                    <a:pt x="184" y="285"/>
                    <a:pt x="185" y="285"/>
                    <a:pt x="186" y="285"/>
                  </a:cubicBezTo>
                  <a:cubicBezTo>
                    <a:pt x="186" y="285"/>
                    <a:pt x="186" y="285"/>
                    <a:pt x="186" y="285"/>
                  </a:cubicBezTo>
                  <a:cubicBezTo>
                    <a:pt x="186" y="285"/>
                    <a:pt x="187" y="284"/>
                    <a:pt x="187" y="284"/>
                  </a:cubicBezTo>
                  <a:cubicBezTo>
                    <a:pt x="188" y="284"/>
                    <a:pt x="188" y="284"/>
                    <a:pt x="188" y="284"/>
                  </a:cubicBezTo>
                  <a:cubicBezTo>
                    <a:pt x="189" y="283"/>
                    <a:pt x="189" y="283"/>
                    <a:pt x="190" y="283"/>
                  </a:cubicBezTo>
                  <a:cubicBezTo>
                    <a:pt x="190" y="283"/>
                    <a:pt x="190" y="283"/>
                    <a:pt x="190" y="283"/>
                  </a:cubicBezTo>
                  <a:cubicBezTo>
                    <a:pt x="191" y="284"/>
                    <a:pt x="191" y="284"/>
                    <a:pt x="191" y="284"/>
                  </a:cubicBezTo>
                  <a:cubicBezTo>
                    <a:pt x="192" y="283"/>
                    <a:pt x="193" y="283"/>
                    <a:pt x="194" y="283"/>
                  </a:cubicBezTo>
                  <a:cubicBezTo>
                    <a:pt x="196" y="283"/>
                    <a:pt x="196" y="284"/>
                    <a:pt x="197" y="284"/>
                  </a:cubicBezTo>
                  <a:cubicBezTo>
                    <a:pt x="199" y="287"/>
                    <a:pt x="198" y="290"/>
                    <a:pt x="197" y="291"/>
                  </a:cubicBezTo>
                  <a:cubicBezTo>
                    <a:pt x="197" y="292"/>
                    <a:pt x="197" y="292"/>
                    <a:pt x="197" y="292"/>
                  </a:cubicBezTo>
                  <a:cubicBezTo>
                    <a:pt x="196" y="292"/>
                    <a:pt x="196" y="292"/>
                    <a:pt x="196" y="292"/>
                  </a:cubicBezTo>
                  <a:cubicBezTo>
                    <a:pt x="197" y="293"/>
                    <a:pt x="198" y="293"/>
                    <a:pt x="198" y="293"/>
                  </a:cubicBezTo>
                  <a:cubicBezTo>
                    <a:pt x="199" y="293"/>
                    <a:pt x="201" y="293"/>
                    <a:pt x="201" y="292"/>
                  </a:cubicBezTo>
                  <a:cubicBezTo>
                    <a:pt x="202" y="292"/>
                    <a:pt x="202" y="292"/>
                    <a:pt x="202" y="292"/>
                  </a:cubicBezTo>
                  <a:cubicBezTo>
                    <a:pt x="203" y="292"/>
                    <a:pt x="204" y="292"/>
                    <a:pt x="205" y="292"/>
                  </a:cubicBezTo>
                  <a:cubicBezTo>
                    <a:pt x="217" y="292"/>
                    <a:pt x="217" y="292"/>
                    <a:pt x="217" y="292"/>
                  </a:cubicBezTo>
                  <a:cubicBezTo>
                    <a:pt x="217" y="292"/>
                    <a:pt x="217" y="292"/>
                    <a:pt x="218" y="292"/>
                  </a:cubicBezTo>
                  <a:cubicBezTo>
                    <a:pt x="219" y="292"/>
                    <a:pt x="219" y="292"/>
                    <a:pt x="219" y="292"/>
                  </a:cubicBezTo>
                  <a:cubicBezTo>
                    <a:pt x="220" y="292"/>
                    <a:pt x="220" y="292"/>
                    <a:pt x="221" y="292"/>
                  </a:cubicBezTo>
                  <a:cubicBezTo>
                    <a:pt x="222" y="292"/>
                    <a:pt x="223" y="292"/>
                    <a:pt x="223" y="293"/>
                  </a:cubicBezTo>
                  <a:cubicBezTo>
                    <a:pt x="227" y="295"/>
                    <a:pt x="227" y="299"/>
                    <a:pt x="227" y="301"/>
                  </a:cubicBezTo>
                  <a:cubicBezTo>
                    <a:pt x="227" y="303"/>
                    <a:pt x="227" y="304"/>
                    <a:pt x="226" y="306"/>
                  </a:cubicBezTo>
                  <a:cubicBezTo>
                    <a:pt x="225" y="311"/>
                    <a:pt x="225" y="312"/>
                    <a:pt x="228" y="318"/>
                  </a:cubicBezTo>
                  <a:cubicBezTo>
                    <a:pt x="229" y="321"/>
                    <a:pt x="229" y="324"/>
                    <a:pt x="228" y="327"/>
                  </a:cubicBezTo>
                  <a:cubicBezTo>
                    <a:pt x="228" y="328"/>
                    <a:pt x="228" y="328"/>
                    <a:pt x="228" y="329"/>
                  </a:cubicBezTo>
                  <a:cubicBezTo>
                    <a:pt x="228" y="330"/>
                    <a:pt x="228" y="331"/>
                    <a:pt x="228" y="331"/>
                  </a:cubicBezTo>
                  <a:cubicBezTo>
                    <a:pt x="228" y="332"/>
                    <a:pt x="228" y="332"/>
                    <a:pt x="228" y="332"/>
                  </a:cubicBezTo>
                  <a:cubicBezTo>
                    <a:pt x="227" y="335"/>
                    <a:pt x="227" y="337"/>
                    <a:pt x="227" y="339"/>
                  </a:cubicBezTo>
                  <a:cubicBezTo>
                    <a:pt x="226" y="344"/>
                    <a:pt x="226" y="344"/>
                    <a:pt x="226" y="344"/>
                  </a:cubicBezTo>
                  <a:cubicBezTo>
                    <a:pt x="226" y="345"/>
                    <a:pt x="226" y="346"/>
                    <a:pt x="226" y="347"/>
                  </a:cubicBezTo>
                  <a:cubicBezTo>
                    <a:pt x="227" y="347"/>
                    <a:pt x="227" y="348"/>
                    <a:pt x="227" y="348"/>
                  </a:cubicBezTo>
                  <a:cubicBezTo>
                    <a:pt x="227" y="350"/>
                    <a:pt x="229" y="351"/>
                    <a:pt x="230" y="352"/>
                  </a:cubicBezTo>
                  <a:cubicBezTo>
                    <a:pt x="232" y="353"/>
                    <a:pt x="233" y="355"/>
                    <a:pt x="234" y="356"/>
                  </a:cubicBezTo>
                  <a:cubicBezTo>
                    <a:pt x="234" y="357"/>
                    <a:pt x="235" y="358"/>
                    <a:pt x="235" y="359"/>
                  </a:cubicBezTo>
                  <a:cubicBezTo>
                    <a:pt x="236" y="361"/>
                    <a:pt x="237" y="364"/>
                    <a:pt x="237" y="368"/>
                  </a:cubicBezTo>
                  <a:cubicBezTo>
                    <a:pt x="238" y="371"/>
                    <a:pt x="238" y="373"/>
                    <a:pt x="238" y="374"/>
                  </a:cubicBezTo>
                  <a:cubicBezTo>
                    <a:pt x="238" y="376"/>
                    <a:pt x="237" y="378"/>
                    <a:pt x="236" y="379"/>
                  </a:cubicBezTo>
                  <a:cubicBezTo>
                    <a:pt x="235" y="380"/>
                    <a:pt x="235" y="380"/>
                    <a:pt x="235" y="380"/>
                  </a:cubicBezTo>
                  <a:cubicBezTo>
                    <a:pt x="235" y="381"/>
                    <a:pt x="235" y="383"/>
                    <a:pt x="236" y="385"/>
                  </a:cubicBezTo>
                  <a:cubicBezTo>
                    <a:pt x="242" y="383"/>
                    <a:pt x="249" y="382"/>
                    <a:pt x="255" y="382"/>
                  </a:cubicBezTo>
                  <a:cubicBezTo>
                    <a:pt x="257" y="382"/>
                    <a:pt x="259" y="382"/>
                    <a:pt x="261" y="381"/>
                  </a:cubicBezTo>
                  <a:cubicBezTo>
                    <a:pt x="262" y="381"/>
                    <a:pt x="263" y="381"/>
                    <a:pt x="265" y="381"/>
                  </a:cubicBezTo>
                  <a:cubicBezTo>
                    <a:pt x="266" y="381"/>
                    <a:pt x="268" y="381"/>
                    <a:pt x="270" y="381"/>
                  </a:cubicBezTo>
                  <a:cubicBezTo>
                    <a:pt x="271" y="381"/>
                    <a:pt x="271" y="381"/>
                    <a:pt x="272" y="379"/>
                  </a:cubicBezTo>
                  <a:cubicBezTo>
                    <a:pt x="271" y="374"/>
                    <a:pt x="271" y="374"/>
                    <a:pt x="271" y="374"/>
                  </a:cubicBezTo>
                  <a:cubicBezTo>
                    <a:pt x="274" y="376"/>
                    <a:pt x="274" y="376"/>
                    <a:pt x="274" y="376"/>
                  </a:cubicBezTo>
                  <a:cubicBezTo>
                    <a:pt x="277" y="372"/>
                    <a:pt x="277" y="372"/>
                    <a:pt x="277" y="372"/>
                  </a:cubicBezTo>
                  <a:cubicBezTo>
                    <a:pt x="277" y="379"/>
                    <a:pt x="277" y="379"/>
                    <a:pt x="277" y="379"/>
                  </a:cubicBezTo>
                  <a:cubicBezTo>
                    <a:pt x="278" y="379"/>
                    <a:pt x="279" y="380"/>
                    <a:pt x="280" y="380"/>
                  </a:cubicBezTo>
                  <a:cubicBezTo>
                    <a:pt x="283" y="382"/>
                    <a:pt x="286" y="384"/>
                    <a:pt x="287" y="387"/>
                  </a:cubicBezTo>
                  <a:cubicBezTo>
                    <a:pt x="287" y="388"/>
                    <a:pt x="288" y="389"/>
                    <a:pt x="287" y="391"/>
                  </a:cubicBezTo>
                  <a:cubicBezTo>
                    <a:pt x="288" y="390"/>
                    <a:pt x="288" y="390"/>
                    <a:pt x="289" y="390"/>
                  </a:cubicBezTo>
                  <a:cubicBezTo>
                    <a:pt x="290" y="390"/>
                    <a:pt x="290" y="390"/>
                    <a:pt x="290" y="390"/>
                  </a:cubicBezTo>
                  <a:cubicBezTo>
                    <a:pt x="291" y="389"/>
                    <a:pt x="292" y="388"/>
                    <a:pt x="293" y="388"/>
                  </a:cubicBezTo>
                  <a:cubicBezTo>
                    <a:pt x="294" y="388"/>
                    <a:pt x="295" y="387"/>
                    <a:pt x="295" y="387"/>
                  </a:cubicBezTo>
                  <a:cubicBezTo>
                    <a:pt x="297" y="387"/>
                    <a:pt x="298" y="387"/>
                    <a:pt x="299" y="387"/>
                  </a:cubicBezTo>
                  <a:cubicBezTo>
                    <a:pt x="299" y="387"/>
                    <a:pt x="299" y="387"/>
                    <a:pt x="299" y="387"/>
                  </a:cubicBezTo>
                  <a:cubicBezTo>
                    <a:pt x="301" y="387"/>
                    <a:pt x="302" y="387"/>
                    <a:pt x="303" y="386"/>
                  </a:cubicBezTo>
                  <a:cubicBezTo>
                    <a:pt x="303" y="386"/>
                    <a:pt x="304" y="386"/>
                    <a:pt x="304" y="386"/>
                  </a:cubicBezTo>
                  <a:cubicBezTo>
                    <a:pt x="309" y="383"/>
                    <a:pt x="309" y="383"/>
                    <a:pt x="309" y="383"/>
                  </a:cubicBezTo>
                  <a:cubicBezTo>
                    <a:pt x="309" y="392"/>
                    <a:pt x="309" y="392"/>
                    <a:pt x="309" y="392"/>
                  </a:cubicBezTo>
                  <a:cubicBezTo>
                    <a:pt x="309" y="394"/>
                    <a:pt x="309" y="395"/>
                    <a:pt x="310" y="396"/>
                  </a:cubicBezTo>
                  <a:cubicBezTo>
                    <a:pt x="310" y="397"/>
                    <a:pt x="311" y="398"/>
                    <a:pt x="312" y="398"/>
                  </a:cubicBezTo>
                  <a:cubicBezTo>
                    <a:pt x="314" y="400"/>
                    <a:pt x="314" y="400"/>
                    <a:pt x="314" y="400"/>
                  </a:cubicBezTo>
                  <a:cubicBezTo>
                    <a:pt x="314" y="400"/>
                    <a:pt x="314" y="400"/>
                    <a:pt x="314" y="400"/>
                  </a:cubicBezTo>
                  <a:cubicBezTo>
                    <a:pt x="314" y="400"/>
                    <a:pt x="315" y="400"/>
                    <a:pt x="316" y="400"/>
                  </a:cubicBezTo>
                  <a:cubicBezTo>
                    <a:pt x="316" y="400"/>
                    <a:pt x="316" y="400"/>
                    <a:pt x="316" y="400"/>
                  </a:cubicBezTo>
                  <a:cubicBezTo>
                    <a:pt x="317" y="400"/>
                    <a:pt x="318" y="400"/>
                    <a:pt x="319" y="400"/>
                  </a:cubicBezTo>
                  <a:cubicBezTo>
                    <a:pt x="342" y="403"/>
                    <a:pt x="342" y="403"/>
                    <a:pt x="342" y="403"/>
                  </a:cubicBezTo>
                  <a:cubicBezTo>
                    <a:pt x="342" y="403"/>
                    <a:pt x="342" y="403"/>
                    <a:pt x="342" y="402"/>
                  </a:cubicBezTo>
                  <a:cubicBezTo>
                    <a:pt x="343" y="401"/>
                    <a:pt x="343" y="401"/>
                    <a:pt x="343" y="401"/>
                  </a:cubicBezTo>
                  <a:cubicBezTo>
                    <a:pt x="343" y="400"/>
                    <a:pt x="343" y="400"/>
                    <a:pt x="343" y="400"/>
                  </a:cubicBezTo>
                  <a:cubicBezTo>
                    <a:pt x="342" y="400"/>
                    <a:pt x="342" y="400"/>
                    <a:pt x="342" y="400"/>
                  </a:cubicBezTo>
                  <a:cubicBezTo>
                    <a:pt x="344" y="397"/>
                    <a:pt x="344" y="397"/>
                    <a:pt x="344" y="397"/>
                  </a:cubicBezTo>
                  <a:cubicBezTo>
                    <a:pt x="345" y="395"/>
                    <a:pt x="347" y="394"/>
                    <a:pt x="348" y="394"/>
                  </a:cubicBezTo>
                  <a:cubicBezTo>
                    <a:pt x="349" y="394"/>
                    <a:pt x="349" y="394"/>
                    <a:pt x="349" y="394"/>
                  </a:cubicBezTo>
                  <a:cubicBezTo>
                    <a:pt x="353" y="394"/>
                    <a:pt x="355" y="399"/>
                    <a:pt x="357" y="402"/>
                  </a:cubicBezTo>
                  <a:cubicBezTo>
                    <a:pt x="357" y="403"/>
                    <a:pt x="358" y="404"/>
                    <a:pt x="358" y="404"/>
                  </a:cubicBezTo>
                  <a:cubicBezTo>
                    <a:pt x="358" y="405"/>
                    <a:pt x="359" y="405"/>
                    <a:pt x="359" y="406"/>
                  </a:cubicBezTo>
                  <a:cubicBezTo>
                    <a:pt x="360" y="409"/>
                    <a:pt x="361" y="410"/>
                    <a:pt x="361" y="410"/>
                  </a:cubicBezTo>
                  <a:cubicBezTo>
                    <a:pt x="362" y="410"/>
                    <a:pt x="363" y="410"/>
                    <a:pt x="363" y="410"/>
                  </a:cubicBezTo>
                  <a:cubicBezTo>
                    <a:pt x="364" y="410"/>
                    <a:pt x="365" y="410"/>
                    <a:pt x="366" y="410"/>
                  </a:cubicBezTo>
                  <a:cubicBezTo>
                    <a:pt x="368" y="411"/>
                    <a:pt x="370" y="412"/>
                    <a:pt x="371" y="412"/>
                  </a:cubicBezTo>
                  <a:cubicBezTo>
                    <a:pt x="373" y="413"/>
                    <a:pt x="374" y="414"/>
                    <a:pt x="375" y="414"/>
                  </a:cubicBezTo>
                  <a:cubicBezTo>
                    <a:pt x="375" y="414"/>
                    <a:pt x="375" y="414"/>
                    <a:pt x="375" y="414"/>
                  </a:cubicBezTo>
                  <a:cubicBezTo>
                    <a:pt x="377" y="415"/>
                    <a:pt x="379" y="415"/>
                    <a:pt x="380" y="417"/>
                  </a:cubicBezTo>
                  <a:cubicBezTo>
                    <a:pt x="395" y="437"/>
                    <a:pt x="395" y="437"/>
                    <a:pt x="395" y="437"/>
                  </a:cubicBezTo>
                  <a:cubicBezTo>
                    <a:pt x="396" y="438"/>
                    <a:pt x="396" y="438"/>
                    <a:pt x="397" y="438"/>
                  </a:cubicBezTo>
                  <a:cubicBezTo>
                    <a:pt x="397" y="438"/>
                    <a:pt x="397" y="438"/>
                    <a:pt x="399" y="437"/>
                  </a:cubicBezTo>
                  <a:cubicBezTo>
                    <a:pt x="399" y="437"/>
                    <a:pt x="399" y="437"/>
                    <a:pt x="399" y="437"/>
                  </a:cubicBezTo>
                  <a:cubicBezTo>
                    <a:pt x="400" y="437"/>
                    <a:pt x="400" y="437"/>
                    <a:pt x="400" y="437"/>
                  </a:cubicBezTo>
                  <a:cubicBezTo>
                    <a:pt x="400" y="437"/>
                    <a:pt x="401" y="436"/>
                    <a:pt x="401" y="436"/>
                  </a:cubicBezTo>
                  <a:cubicBezTo>
                    <a:pt x="403" y="434"/>
                    <a:pt x="404" y="434"/>
                    <a:pt x="406" y="434"/>
                  </a:cubicBezTo>
                  <a:cubicBezTo>
                    <a:pt x="406" y="434"/>
                    <a:pt x="406" y="434"/>
                    <a:pt x="406" y="434"/>
                  </a:cubicBezTo>
                  <a:cubicBezTo>
                    <a:pt x="406" y="434"/>
                    <a:pt x="408" y="434"/>
                    <a:pt x="409" y="434"/>
                  </a:cubicBezTo>
                  <a:cubicBezTo>
                    <a:pt x="409" y="414"/>
                    <a:pt x="409" y="414"/>
                    <a:pt x="409" y="414"/>
                  </a:cubicBezTo>
                  <a:cubicBezTo>
                    <a:pt x="408" y="414"/>
                    <a:pt x="408" y="414"/>
                    <a:pt x="408" y="414"/>
                  </a:cubicBezTo>
                  <a:cubicBezTo>
                    <a:pt x="408" y="414"/>
                    <a:pt x="407" y="415"/>
                    <a:pt x="406" y="415"/>
                  </a:cubicBezTo>
                  <a:cubicBezTo>
                    <a:pt x="406" y="415"/>
                    <a:pt x="406" y="415"/>
                    <a:pt x="406" y="415"/>
                  </a:cubicBezTo>
                  <a:cubicBezTo>
                    <a:pt x="406" y="416"/>
                    <a:pt x="406" y="418"/>
                    <a:pt x="405" y="419"/>
                  </a:cubicBezTo>
                  <a:cubicBezTo>
                    <a:pt x="405" y="420"/>
                    <a:pt x="404" y="420"/>
                    <a:pt x="403" y="420"/>
                  </a:cubicBezTo>
                  <a:cubicBezTo>
                    <a:pt x="403" y="420"/>
                    <a:pt x="403" y="420"/>
                    <a:pt x="402" y="420"/>
                  </a:cubicBezTo>
                  <a:cubicBezTo>
                    <a:pt x="401" y="420"/>
                    <a:pt x="401" y="420"/>
                    <a:pt x="400" y="420"/>
                  </a:cubicBezTo>
                  <a:cubicBezTo>
                    <a:pt x="400" y="420"/>
                    <a:pt x="400" y="420"/>
                    <a:pt x="400" y="420"/>
                  </a:cubicBezTo>
                  <a:cubicBezTo>
                    <a:pt x="399" y="420"/>
                    <a:pt x="398" y="419"/>
                    <a:pt x="398" y="419"/>
                  </a:cubicBezTo>
                  <a:cubicBezTo>
                    <a:pt x="397" y="419"/>
                    <a:pt x="397" y="419"/>
                    <a:pt x="397" y="419"/>
                  </a:cubicBezTo>
                  <a:cubicBezTo>
                    <a:pt x="396" y="419"/>
                    <a:pt x="396" y="419"/>
                    <a:pt x="396" y="419"/>
                  </a:cubicBezTo>
                  <a:cubicBezTo>
                    <a:pt x="396" y="419"/>
                    <a:pt x="396" y="419"/>
                    <a:pt x="395" y="419"/>
                  </a:cubicBezTo>
                  <a:cubicBezTo>
                    <a:pt x="395" y="419"/>
                    <a:pt x="395" y="419"/>
                    <a:pt x="394" y="419"/>
                  </a:cubicBezTo>
                  <a:cubicBezTo>
                    <a:pt x="394" y="419"/>
                    <a:pt x="394" y="419"/>
                    <a:pt x="394" y="419"/>
                  </a:cubicBezTo>
                  <a:cubicBezTo>
                    <a:pt x="392" y="419"/>
                    <a:pt x="392" y="418"/>
                    <a:pt x="391" y="417"/>
                  </a:cubicBezTo>
                  <a:cubicBezTo>
                    <a:pt x="391" y="417"/>
                    <a:pt x="391" y="417"/>
                    <a:pt x="390" y="416"/>
                  </a:cubicBezTo>
                  <a:cubicBezTo>
                    <a:pt x="390" y="416"/>
                    <a:pt x="390" y="415"/>
                    <a:pt x="389" y="415"/>
                  </a:cubicBezTo>
                  <a:cubicBezTo>
                    <a:pt x="389" y="414"/>
                    <a:pt x="389" y="414"/>
                    <a:pt x="389" y="414"/>
                  </a:cubicBezTo>
                  <a:cubicBezTo>
                    <a:pt x="387" y="411"/>
                    <a:pt x="384" y="409"/>
                    <a:pt x="381" y="407"/>
                  </a:cubicBezTo>
                  <a:cubicBezTo>
                    <a:pt x="378" y="405"/>
                    <a:pt x="378" y="404"/>
                    <a:pt x="376" y="401"/>
                  </a:cubicBezTo>
                  <a:cubicBezTo>
                    <a:pt x="374" y="395"/>
                    <a:pt x="376" y="388"/>
                    <a:pt x="378" y="382"/>
                  </a:cubicBezTo>
                  <a:cubicBezTo>
                    <a:pt x="379" y="380"/>
                    <a:pt x="379" y="379"/>
                    <a:pt x="379" y="377"/>
                  </a:cubicBezTo>
                  <a:cubicBezTo>
                    <a:pt x="381" y="373"/>
                    <a:pt x="381" y="370"/>
                    <a:pt x="381" y="367"/>
                  </a:cubicBezTo>
                  <a:cubicBezTo>
                    <a:pt x="381" y="366"/>
                    <a:pt x="381" y="366"/>
                    <a:pt x="381" y="366"/>
                  </a:cubicBezTo>
                  <a:cubicBezTo>
                    <a:pt x="380" y="366"/>
                    <a:pt x="380" y="366"/>
                    <a:pt x="380" y="366"/>
                  </a:cubicBezTo>
                  <a:cubicBezTo>
                    <a:pt x="380" y="364"/>
                    <a:pt x="380" y="363"/>
                    <a:pt x="381" y="361"/>
                  </a:cubicBezTo>
                  <a:cubicBezTo>
                    <a:pt x="381" y="360"/>
                    <a:pt x="381" y="360"/>
                    <a:pt x="381" y="360"/>
                  </a:cubicBezTo>
                  <a:cubicBezTo>
                    <a:pt x="381" y="359"/>
                    <a:pt x="381" y="358"/>
                    <a:pt x="381" y="357"/>
                  </a:cubicBezTo>
                  <a:cubicBezTo>
                    <a:pt x="381" y="356"/>
                    <a:pt x="382" y="356"/>
                    <a:pt x="382" y="355"/>
                  </a:cubicBezTo>
                  <a:cubicBezTo>
                    <a:pt x="382" y="354"/>
                    <a:pt x="381" y="354"/>
                    <a:pt x="381" y="352"/>
                  </a:cubicBezTo>
                  <a:cubicBezTo>
                    <a:pt x="380" y="351"/>
                    <a:pt x="380" y="351"/>
                    <a:pt x="380" y="351"/>
                  </a:cubicBezTo>
                  <a:cubicBezTo>
                    <a:pt x="380" y="350"/>
                    <a:pt x="380" y="350"/>
                    <a:pt x="380" y="350"/>
                  </a:cubicBezTo>
                  <a:cubicBezTo>
                    <a:pt x="380" y="350"/>
                    <a:pt x="380" y="350"/>
                    <a:pt x="380" y="350"/>
                  </a:cubicBezTo>
                  <a:cubicBezTo>
                    <a:pt x="380" y="349"/>
                    <a:pt x="379" y="348"/>
                    <a:pt x="379" y="348"/>
                  </a:cubicBezTo>
                  <a:cubicBezTo>
                    <a:pt x="379" y="347"/>
                    <a:pt x="379" y="347"/>
                    <a:pt x="379" y="346"/>
                  </a:cubicBezTo>
                  <a:cubicBezTo>
                    <a:pt x="378" y="346"/>
                    <a:pt x="377" y="346"/>
                    <a:pt x="376" y="345"/>
                  </a:cubicBezTo>
                  <a:cubicBezTo>
                    <a:pt x="375" y="343"/>
                    <a:pt x="375" y="341"/>
                    <a:pt x="377" y="339"/>
                  </a:cubicBezTo>
                  <a:cubicBezTo>
                    <a:pt x="378" y="337"/>
                    <a:pt x="382" y="334"/>
                    <a:pt x="384" y="332"/>
                  </a:cubicBezTo>
                  <a:cubicBezTo>
                    <a:pt x="385" y="331"/>
                    <a:pt x="385" y="331"/>
                    <a:pt x="386" y="330"/>
                  </a:cubicBezTo>
                  <a:cubicBezTo>
                    <a:pt x="386" y="330"/>
                    <a:pt x="386" y="330"/>
                    <a:pt x="386" y="330"/>
                  </a:cubicBezTo>
                  <a:cubicBezTo>
                    <a:pt x="387" y="329"/>
                    <a:pt x="388" y="328"/>
                    <a:pt x="389" y="327"/>
                  </a:cubicBezTo>
                  <a:cubicBezTo>
                    <a:pt x="389" y="327"/>
                    <a:pt x="389" y="327"/>
                    <a:pt x="389" y="327"/>
                  </a:cubicBezTo>
                  <a:cubicBezTo>
                    <a:pt x="388" y="326"/>
                    <a:pt x="388" y="326"/>
                    <a:pt x="388" y="326"/>
                  </a:cubicBezTo>
                  <a:cubicBezTo>
                    <a:pt x="388" y="325"/>
                    <a:pt x="388" y="325"/>
                    <a:pt x="388" y="325"/>
                  </a:cubicBezTo>
                  <a:cubicBezTo>
                    <a:pt x="385" y="322"/>
                    <a:pt x="385" y="322"/>
                    <a:pt x="385" y="322"/>
                  </a:cubicBezTo>
                  <a:cubicBezTo>
                    <a:pt x="390" y="321"/>
                    <a:pt x="390" y="321"/>
                    <a:pt x="390" y="321"/>
                  </a:cubicBezTo>
                  <a:cubicBezTo>
                    <a:pt x="399" y="319"/>
                    <a:pt x="410" y="317"/>
                    <a:pt x="419" y="316"/>
                  </a:cubicBezTo>
                  <a:cubicBezTo>
                    <a:pt x="427" y="315"/>
                    <a:pt x="427" y="315"/>
                    <a:pt x="427" y="315"/>
                  </a:cubicBezTo>
                  <a:cubicBezTo>
                    <a:pt x="425" y="311"/>
                    <a:pt x="423" y="308"/>
                    <a:pt x="421" y="303"/>
                  </a:cubicBezTo>
                  <a:cubicBezTo>
                    <a:pt x="420" y="299"/>
                    <a:pt x="420" y="296"/>
                    <a:pt x="417" y="293"/>
                  </a:cubicBezTo>
                  <a:cubicBezTo>
                    <a:pt x="411" y="285"/>
                    <a:pt x="405" y="277"/>
                    <a:pt x="399" y="270"/>
                  </a:cubicBezTo>
                  <a:cubicBezTo>
                    <a:pt x="398" y="268"/>
                    <a:pt x="397" y="267"/>
                    <a:pt x="397" y="265"/>
                  </a:cubicBezTo>
                  <a:cubicBezTo>
                    <a:pt x="397" y="263"/>
                    <a:pt x="397" y="264"/>
                    <a:pt x="398" y="262"/>
                  </a:cubicBezTo>
                  <a:cubicBezTo>
                    <a:pt x="399" y="262"/>
                    <a:pt x="400" y="261"/>
                    <a:pt x="400" y="260"/>
                  </a:cubicBezTo>
                  <a:cubicBezTo>
                    <a:pt x="402" y="257"/>
                    <a:pt x="398" y="250"/>
                    <a:pt x="397" y="247"/>
                  </a:cubicBezTo>
                  <a:cubicBezTo>
                    <a:pt x="395" y="240"/>
                    <a:pt x="396" y="236"/>
                    <a:pt x="397" y="229"/>
                  </a:cubicBezTo>
                  <a:cubicBezTo>
                    <a:pt x="398" y="227"/>
                    <a:pt x="399" y="222"/>
                    <a:pt x="398" y="219"/>
                  </a:cubicBezTo>
                  <a:cubicBezTo>
                    <a:pt x="397" y="220"/>
                    <a:pt x="397" y="224"/>
                    <a:pt x="396" y="225"/>
                  </a:cubicBezTo>
                  <a:cubicBezTo>
                    <a:pt x="396" y="225"/>
                    <a:pt x="395" y="225"/>
                    <a:pt x="395" y="225"/>
                  </a:cubicBezTo>
                  <a:cubicBezTo>
                    <a:pt x="394" y="225"/>
                    <a:pt x="394" y="223"/>
                    <a:pt x="394" y="222"/>
                  </a:cubicBezTo>
                  <a:cubicBezTo>
                    <a:pt x="395" y="218"/>
                    <a:pt x="395" y="215"/>
                    <a:pt x="396" y="212"/>
                  </a:cubicBezTo>
                  <a:cubicBezTo>
                    <a:pt x="396" y="211"/>
                    <a:pt x="396" y="210"/>
                    <a:pt x="397" y="209"/>
                  </a:cubicBezTo>
                  <a:cubicBezTo>
                    <a:pt x="396" y="209"/>
                    <a:pt x="396" y="209"/>
                    <a:pt x="396" y="209"/>
                  </a:cubicBezTo>
                  <a:cubicBezTo>
                    <a:pt x="395" y="207"/>
                    <a:pt x="395" y="207"/>
                    <a:pt x="395" y="207"/>
                  </a:cubicBezTo>
                  <a:cubicBezTo>
                    <a:pt x="395" y="207"/>
                    <a:pt x="395" y="207"/>
                    <a:pt x="395" y="207"/>
                  </a:cubicBezTo>
                  <a:cubicBezTo>
                    <a:pt x="395" y="205"/>
                    <a:pt x="395" y="205"/>
                    <a:pt x="395" y="205"/>
                  </a:cubicBezTo>
                  <a:cubicBezTo>
                    <a:pt x="393" y="206"/>
                    <a:pt x="393" y="206"/>
                    <a:pt x="393" y="206"/>
                  </a:cubicBezTo>
                  <a:cubicBezTo>
                    <a:pt x="395" y="201"/>
                    <a:pt x="395" y="201"/>
                    <a:pt x="395" y="201"/>
                  </a:cubicBezTo>
                  <a:cubicBezTo>
                    <a:pt x="395" y="198"/>
                    <a:pt x="395" y="197"/>
                    <a:pt x="394" y="195"/>
                  </a:cubicBezTo>
                  <a:cubicBezTo>
                    <a:pt x="394" y="196"/>
                    <a:pt x="394" y="196"/>
                    <a:pt x="394" y="196"/>
                  </a:cubicBezTo>
                  <a:cubicBezTo>
                    <a:pt x="389" y="187"/>
                    <a:pt x="389" y="187"/>
                    <a:pt x="389" y="187"/>
                  </a:cubicBezTo>
                  <a:cubicBezTo>
                    <a:pt x="388" y="185"/>
                    <a:pt x="387" y="183"/>
                    <a:pt x="388" y="181"/>
                  </a:cubicBezTo>
                  <a:cubicBezTo>
                    <a:pt x="388" y="179"/>
                    <a:pt x="389" y="178"/>
                    <a:pt x="390" y="177"/>
                  </a:cubicBezTo>
                  <a:cubicBezTo>
                    <a:pt x="391" y="177"/>
                    <a:pt x="391" y="177"/>
                    <a:pt x="391" y="177"/>
                  </a:cubicBezTo>
                  <a:cubicBezTo>
                    <a:pt x="391" y="177"/>
                    <a:pt x="392" y="176"/>
                    <a:pt x="392" y="176"/>
                  </a:cubicBezTo>
                  <a:cubicBezTo>
                    <a:pt x="393" y="175"/>
                    <a:pt x="393" y="174"/>
                    <a:pt x="393" y="173"/>
                  </a:cubicBezTo>
                  <a:cubicBezTo>
                    <a:pt x="393" y="173"/>
                    <a:pt x="394" y="171"/>
                    <a:pt x="394" y="170"/>
                  </a:cubicBezTo>
                  <a:cubicBezTo>
                    <a:pt x="394" y="166"/>
                    <a:pt x="394" y="163"/>
                    <a:pt x="396" y="161"/>
                  </a:cubicBezTo>
                  <a:cubicBezTo>
                    <a:pt x="397" y="161"/>
                    <a:pt x="397" y="161"/>
                    <a:pt x="397" y="161"/>
                  </a:cubicBezTo>
                  <a:cubicBezTo>
                    <a:pt x="395" y="159"/>
                    <a:pt x="395" y="159"/>
                    <a:pt x="395" y="159"/>
                  </a:cubicBezTo>
                  <a:cubicBezTo>
                    <a:pt x="398" y="160"/>
                    <a:pt x="398" y="160"/>
                    <a:pt x="398" y="160"/>
                  </a:cubicBezTo>
                  <a:cubicBezTo>
                    <a:pt x="398" y="159"/>
                    <a:pt x="398" y="159"/>
                    <a:pt x="398" y="159"/>
                  </a:cubicBezTo>
                  <a:cubicBezTo>
                    <a:pt x="399" y="158"/>
                    <a:pt x="400" y="157"/>
                    <a:pt x="402" y="156"/>
                  </a:cubicBezTo>
                  <a:cubicBezTo>
                    <a:pt x="402" y="156"/>
                    <a:pt x="403" y="155"/>
                    <a:pt x="403" y="155"/>
                  </a:cubicBezTo>
                  <a:cubicBezTo>
                    <a:pt x="404" y="154"/>
                    <a:pt x="403" y="153"/>
                    <a:pt x="403" y="151"/>
                  </a:cubicBezTo>
                  <a:cubicBezTo>
                    <a:pt x="403" y="147"/>
                    <a:pt x="404" y="142"/>
                    <a:pt x="404" y="138"/>
                  </a:cubicBezTo>
                  <a:cubicBezTo>
                    <a:pt x="405" y="136"/>
                    <a:pt x="405" y="134"/>
                    <a:pt x="405" y="132"/>
                  </a:cubicBezTo>
                  <a:cubicBezTo>
                    <a:pt x="406" y="126"/>
                    <a:pt x="408" y="121"/>
                    <a:pt x="410" y="116"/>
                  </a:cubicBezTo>
                  <a:cubicBezTo>
                    <a:pt x="410" y="115"/>
                    <a:pt x="410" y="115"/>
                    <a:pt x="410" y="115"/>
                  </a:cubicBezTo>
                  <a:cubicBezTo>
                    <a:pt x="411" y="113"/>
                    <a:pt x="411" y="112"/>
                    <a:pt x="412" y="110"/>
                  </a:cubicBezTo>
                  <a:cubicBezTo>
                    <a:pt x="412" y="108"/>
                    <a:pt x="412" y="106"/>
                    <a:pt x="413" y="105"/>
                  </a:cubicBezTo>
                  <a:cubicBezTo>
                    <a:pt x="413" y="102"/>
                    <a:pt x="414" y="101"/>
                    <a:pt x="416" y="100"/>
                  </a:cubicBezTo>
                  <a:cubicBezTo>
                    <a:pt x="416" y="100"/>
                    <a:pt x="416" y="100"/>
                    <a:pt x="416" y="100"/>
                  </a:cubicBezTo>
                  <a:cubicBezTo>
                    <a:pt x="417" y="98"/>
                    <a:pt x="417" y="98"/>
                    <a:pt x="417" y="98"/>
                  </a:cubicBezTo>
                  <a:cubicBezTo>
                    <a:pt x="421" y="95"/>
                    <a:pt x="425" y="92"/>
                    <a:pt x="429" y="88"/>
                  </a:cubicBezTo>
                  <a:cubicBezTo>
                    <a:pt x="430" y="88"/>
                    <a:pt x="430" y="88"/>
                    <a:pt x="430" y="88"/>
                  </a:cubicBezTo>
                  <a:cubicBezTo>
                    <a:pt x="433" y="84"/>
                    <a:pt x="437" y="81"/>
                    <a:pt x="440" y="77"/>
                  </a:cubicBezTo>
                  <a:cubicBezTo>
                    <a:pt x="441" y="76"/>
                    <a:pt x="442" y="75"/>
                    <a:pt x="442" y="73"/>
                  </a:cubicBezTo>
                  <a:cubicBezTo>
                    <a:pt x="442" y="73"/>
                    <a:pt x="441" y="72"/>
                    <a:pt x="440" y="72"/>
                  </a:cubicBezTo>
                  <a:cubicBezTo>
                    <a:pt x="439" y="72"/>
                    <a:pt x="439" y="71"/>
                    <a:pt x="438" y="71"/>
                  </a:cubicBezTo>
                  <a:cubicBezTo>
                    <a:pt x="438" y="71"/>
                    <a:pt x="438" y="71"/>
                    <a:pt x="437" y="71"/>
                  </a:cubicBezTo>
                  <a:cubicBezTo>
                    <a:pt x="437" y="71"/>
                    <a:pt x="436" y="71"/>
                    <a:pt x="436" y="71"/>
                  </a:cubicBezTo>
                  <a:cubicBezTo>
                    <a:pt x="434" y="70"/>
                    <a:pt x="432" y="69"/>
                    <a:pt x="432" y="67"/>
                  </a:cubicBezTo>
                  <a:cubicBezTo>
                    <a:pt x="431" y="66"/>
                    <a:pt x="431" y="64"/>
                    <a:pt x="431" y="63"/>
                  </a:cubicBezTo>
                  <a:cubicBezTo>
                    <a:pt x="431" y="62"/>
                    <a:pt x="431" y="61"/>
                    <a:pt x="431" y="61"/>
                  </a:cubicBezTo>
                  <a:cubicBezTo>
                    <a:pt x="431" y="60"/>
                    <a:pt x="431" y="60"/>
                    <a:pt x="431" y="60"/>
                  </a:cubicBezTo>
                  <a:cubicBezTo>
                    <a:pt x="431" y="59"/>
                    <a:pt x="432" y="58"/>
                    <a:pt x="432" y="58"/>
                  </a:cubicBezTo>
                  <a:cubicBezTo>
                    <a:pt x="432" y="57"/>
                    <a:pt x="432" y="57"/>
                    <a:pt x="431" y="56"/>
                  </a:cubicBezTo>
                  <a:cubicBezTo>
                    <a:pt x="431" y="54"/>
                    <a:pt x="431" y="51"/>
                    <a:pt x="432" y="48"/>
                  </a:cubicBezTo>
                  <a:cubicBezTo>
                    <a:pt x="432" y="48"/>
                    <a:pt x="432" y="48"/>
                    <a:pt x="432" y="48"/>
                  </a:cubicBezTo>
                  <a:cubicBezTo>
                    <a:pt x="433" y="46"/>
                    <a:pt x="433" y="45"/>
                    <a:pt x="433" y="43"/>
                  </a:cubicBezTo>
                  <a:cubicBezTo>
                    <a:pt x="433" y="43"/>
                    <a:pt x="433" y="43"/>
                    <a:pt x="433" y="43"/>
                  </a:cubicBezTo>
                  <a:cubicBezTo>
                    <a:pt x="433" y="43"/>
                    <a:pt x="433" y="43"/>
                    <a:pt x="433" y="43"/>
                  </a:cubicBezTo>
                  <a:cubicBezTo>
                    <a:pt x="432" y="43"/>
                    <a:pt x="432" y="43"/>
                    <a:pt x="432" y="43"/>
                  </a:cubicBezTo>
                  <a:cubicBezTo>
                    <a:pt x="430" y="42"/>
                    <a:pt x="426" y="41"/>
                    <a:pt x="427" y="37"/>
                  </a:cubicBezTo>
                  <a:cubicBezTo>
                    <a:pt x="427" y="36"/>
                    <a:pt x="427" y="36"/>
                    <a:pt x="426" y="36"/>
                  </a:cubicBezTo>
                  <a:cubicBezTo>
                    <a:pt x="426" y="35"/>
                    <a:pt x="426" y="35"/>
                    <a:pt x="426" y="35"/>
                  </a:cubicBezTo>
                  <a:cubicBezTo>
                    <a:pt x="426" y="35"/>
                    <a:pt x="426" y="34"/>
                    <a:pt x="425" y="34"/>
                  </a:cubicBezTo>
                  <a:cubicBezTo>
                    <a:pt x="424" y="34"/>
                    <a:pt x="424" y="34"/>
                    <a:pt x="424" y="34"/>
                  </a:cubicBezTo>
                  <a:cubicBezTo>
                    <a:pt x="423" y="34"/>
                    <a:pt x="422" y="33"/>
                    <a:pt x="422" y="33"/>
                  </a:cubicBezTo>
                  <a:cubicBezTo>
                    <a:pt x="419" y="32"/>
                    <a:pt x="417" y="30"/>
                    <a:pt x="414" y="28"/>
                  </a:cubicBezTo>
                  <a:cubicBezTo>
                    <a:pt x="412" y="25"/>
                    <a:pt x="412" y="25"/>
                    <a:pt x="412" y="25"/>
                  </a:cubicBezTo>
                  <a:cubicBezTo>
                    <a:pt x="412" y="25"/>
                    <a:pt x="411" y="24"/>
                    <a:pt x="411" y="24"/>
                  </a:cubicBezTo>
                  <a:cubicBezTo>
                    <a:pt x="410" y="23"/>
                    <a:pt x="409" y="21"/>
                    <a:pt x="409" y="19"/>
                  </a:cubicBezTo>
                  <a:cubicBezTo>
                    <a:pt x="407" y="19"/>
                    <a:pt x="405" y="19"/>
                    <a:pt x="404" y="20"/>
                  </a:cubicBezTo>
                  <a:cubicBezTo>
                    <a:pt x="403" y="20"/>
                    <a:pt x="403" y="20"/>
                    <a:pt x="403" y="20"/>
                  </a:cubicBezTo>
                  <a:cubicBezTo>
                    <a:pt x="403" y="21"/>
                    <a:pt x="403" y="22"/>
                    <a:pt x="402" y="22"/>
                  </a:cubicBezTo>
                  <a:cubicBezTo>
                    <a:pt x="401" y="24"/>
                    <a:pt x="399" y="24"/>
                    <a:pt x="397" y="24"/>
                  </a:cubicBezTo>
                  <a:cubicBezTo>
                    <a:pt x="395" y="24"/>
                    <a:pt x="393" y="24"/>
                    <a:pt x="391" y="23"/>
                  </a:cubicBezTo>
                  <a:cubicBezTo>
                    <a:pt x="389" y="23"/>
                    <a:pt x="387" y="22"/>
                    <a:pt x="385" y="22"/>
                  </a:cubicBezTo>
                  <a:cubicBezTo>
                    <a:pt x="385" y="22"/>
                    <a:pt x="384" y="22"/>
                    <a:pt x="384" y="22"/>
                  </a:cubicBezTo>
                  <a:cubicBezTo>
                    <a:pt x="383" y="23"/>
                    <a:pt x="383" y="23"/>
                    <a:pt x="383" y="23"/>
                  </a:cubicBezTo>
                  <a:cubicBezTo>
                    <a:pt x="382" y="24"/>
                    <a:pt x="380" y="25"/>
                    <a:pt x="378" y="25"/>
                  </a:cubicBezTo>
                  <a:cubicBezTo>
                    <a:pt x="377" y="25"/>
                    <a:pt x="376" y="25"/>
                    <a:pt x="375" y="24"/>
                  </a:cubicBezTo>
                  <a:cubicBezTo>
                    <a:pt x="374" y="24"/>
                    <a:pt x="373" y="24"/>
                    <a:pt x="373" y="23"/>
                  </a:cubicBezTo>
                  <a:cubicBezTo>
                    <a:pt x="368" y="21"/>
                    <a:pt x="363" y="19"/>
                    <a:pt x="361" y="14"/>
                  </a:cubicBezTo>
                  <a:cubicBezTo>
                    <a:pt x="360" y="12"/>
                    <a:pt x="358" y="10"/>
                    <a:pt x="355" y="8"/>
                  </a:cubicBezTo>
                  <a:cubicBezTo>
                    <a:pt x="355" y="8"/>
                    <a:pt x="355" y="8"/>
                    <a:pt x="355" y="8"/>
                  </a:cubicBezTo>
                  <a:cubicBezTo>
                    <a:pt x="354" y="8"/>
                    <a:pt x="354" y="8"/>
                    <a:pt x="354" y="8"/>
                  </a:cubicBezTo>
                  <a:cubicBezTo>
                    <a:pt x="354" y="7"/>
                    <a:pt x="354" y="7"/>
                    <a:pt x="354" y="7"/>
                  </a:cubicBezTo>
                  <a:cubicBezTo>
                    <a:pt x="353" y="7"/>
                    <a:pt x="353" y="7"/>
                    <a:pt x="353" y="7"/>
                  </a:cubicBezTo>
                  <a:cubicBezTo>
                    <a:pt x="353" y="7"/>
                    <a:pt x="352" y="7"/>
                    <a:pt x="352" y="6"/>
                  </a:cubicBezTo>
                  <a:cubicBezTo>
                    <a:pt x="351" y="6"/>
                    <a:pt x="351" y="6"/>
                    <a:pt x="351" y="6"/>
                  </a:cubicBezTo>
                  <a:cubicBezTo>
                    <a:pt x="350" y="5"/>
                    <a:pt x="349" y="5"/>
                    <a:pt x="349" y="5"/>
                  </a:cubicBezTo>
                  <a:cubicBezTo>
                    <a:pt x="347" y="4"/>
                    <a:pt x="347" y="4"/>
                    <a:pt x="347" y="4"/>
                  </a:cubicBezTo>
                  <a:cubicBezTo>
                    <a:pt x="347" y="4"/>
                    <a:pt x="347" y="4"/>
                    <a:pt x="347" y="4"/>
                  </a:cubicBezTo>
                  <a:cubicBezTo>
                    <a:pt x="346" y="4"/>
                    <a:pt x="344" y="5"/>
                    <a:pt x="342" y="5"/>
                  </a:cubicBezTo>
                  <a:cubicBezTo>
                    <a:pt x="340" y="6"/>
                    <a:pt x="340" y="6"/>
                    <a:pt x="340" y="6"/>
                  </a:cubicBezTo>
                  <a:cubicBezTo>
                    <a:pt x="338" y="7"/>
                    <a:pt x="336" y="7"/>
                    <a:pt x="335" y="7"/>
                  </a:cubicBezTo>
                  <a:cubicBezTo>
                    <a:pt x="335" y="7"/>
                    <a:pt x="335" y="7"/>
                    <a:pt x="335" y="7"/>
                  </a:cubicBezTo>
                  <a:cubicBezTo>
                    <a:pt x="334" y="7"/>
                    <a:pt x="333" y="7"/>
                    <a:pt x="332" y="6"/>
                  </a:cubicBezTo>
                  <a:cubicBezTo>
                    <a:pt x="332" y="6"/>
                    <a:pt x="332" y="6"/>
                    <a:pt x="332" y="6"/>
                  </a:cubicBezTo>
                  <a:cubicBezTo>
                    <a:pt x="331" y="6"/>
                    <a:pt x="330" y="6"/>
                    <a:pt x="329" y="5"/>
                  </a:cubicBezTo>
                  <a:cubicBezTo>
                    <a:pt x="327" y="4"/>
                    <a:pt x="326" y="4"/>
                    <a:pt x="325" y="3"/>
                  </a:cubicBezTo>
                  <a:cubicBezTo>
                    <a:pt x="325" y="3"/>
                    <a:pt x="325" y="3"/>
                    <a:pt x="324" y="3"/>
                  </a:cubicBezTo>
                  <a:cubicBezTo>
                    <a:pt x="324" y="3"/>
                    <a:pt x="324" y="3"/>
                    <a:pt x="323" y="4"/>
                  </a:cubicBezTo>
                  <a:cubicBezTo>
                    <a:pt x="322" y="4"/>
                    <a:pt x="321" y="4"/>
                    <a:pt x="321" y="4"/>
                  </a:cubicBezTo>
                  <a:cubicBezTo>
                    <a:pt x="320" y="4"/>
                    <a:pt x="320" y="4"/>
                    <a:pt x="320" y="4"/>
                  </a:cubicBezTo>
                  <a:cubicBezTo>
                    <a:pt x="317" y="4"/>
                    <a:pt x="315" y="3"/>
                    <a:pt x="314" y="2"/>
                  </a:cubicBezTo>
                  <a:cubicBezTo>
                    <a:pt x="313" y="1"/>
                    <a:pt x="312" y="1"/>
                    <a:pt x="312" y="0"/>
                  </a:cubicBezTo>
                  <a:cubicBezTo>
                    <a:pt x="311" y="0"/>
                    <a:pt x="311" y="0"/>
                    <a:pt x="3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Freeform 216">
              <a:extLst>
                <a:ext uri="{FF2B5EF4-FFF2-40B4-BE49-F238E27FC236}">
                  <a16:creationId xmlns:a16="http://schemas.microsoft.com/office/drawing/2014/main" id="{A7BBB3C8-C818-4212-B3EA-1DF46D6F8116}"/>
                </a:ext>
              </a:extLst>
            </p:cNvPr>
            <p:cNvSpPr>
              <a:spLocks/>
            </p:cNvSpPr>
            <p:nvPr/>
          </p:nvSpPr>
          <p:spPr bwMode="auto">
            <a:xfrm>
              <a:off x="4344" y="3081"/>
              <a:ext cx="0" cy="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cubicBezTo>
                    <a:pt x="0" y="0"/>
                    <a:pt x="0" y="0"/>
                    <a:pt x="0" y="0"/>
                  </a:cubicBezTo>
                  <a:cubicBezTo>
                    <a:pt x="0" y="1"/>
                    <a:pt x="0" y="1"/>
                    <a:pt x="0"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Freeform 217">
              <a:extLst>
                <a:ext uri="{FF2B5EF4-FFF2-40B4-BE49-F238E27FC236}">
                  <a16:creationId xmlns:a16="http://schemas.microsoft.com/office/drawing/2014/main" id="{65C07A4E-EF08-41CD-B7D5-E3FB642CBFEA}"/>
                </a:ext>
              </a:extLst>
            </p:cNvPr>
            <p:cNvSpPr>
              <a:spLocks/>
            </p:cNvSpPr>
            <p:nvPr/>
          </p:nvSpPr>
          <p:spPr bwMode="auto">
            <a:xfrm>
              <a:off x="4474" y="2150"/>
              <a:ext cx="702" cy="461"/>
            </a:xfrm>
            <a:custGeom>
              <a:avLst/>
              <a:gdLst>
                <a:gd name="T0" fmla="*/ 170 w 297"/>
                <a:gd name="T1" fmla="*/ 6 h 195"/>
                <a:gd name="T2" fmla="*/ 139 w 297"/>
                <a:gd name="T3" fmla="*/ 41 h 195"/>
                <a:gd name="T4" fmla="*/ 109 w 297"/>
                <a:gd name="T5" fmla="*/ 51 h 195"/>
                <a:gd name="T6" fmla="*/ 108 w 297"/>
                <a:gd name="T7" fmla="*/ 53 h 195"/>
                <a:gd name="T8" fmla="*/ 99 w 297"/>
                <a:gd name="T9" fmla="*/ 65 h 195"/>
                <a:gd name="T10" fmla="*/ 93 w 297"/>
                <a:gd name="T11" fmla="*/ 69 h 195"/>
                <a:gd name="T12" fmla="*/ 84 w 297"/>
                <a:gd name="T13" fmla="*/ 69 h 195"/>
                <a:gd name="T14" fmla="*/ 68 w 297"/>
                <a:gd name="T15" fmla="*/ 73 h 195"/>
                <a:gd name="T16" fmla="*/ 58 w 297"/>
                <a:gd name="T17" fmla="*/ 77 h 195"/>
                <a:gd name="T18" fmla="*/ 52 w 297"/>
                <a:gd name="T19" fmla="*/ 80 h 195"/>
                <a:gd name="T20" fmla="*/ 45 w 297"/>
                <a:gd name="T21" fmla="*/ 74 h 195"/>
                <a:gd name="T22" fmla="*/ 34 w 297"/>
                <a:gd name="T23" fmla="*/ 79 h 195"/>
                <a:gd name="T24" fmla="*/ 21 w 297"/>
                <a:gd name="T25" fmla="*/ 82 h 195"/>
                <a:gd name="T26" fmla="*/ 11 w 297"/>
                <a:gd name="T27" fmla="*/ 98 h 195"/>
                <a:gd name="T28" fmla="*/ 1 w 297"/>
                <a:gd name="T29" fmla="*/ 114 h 195"/>
                <a:gd name="T30" fmla="*/ 3 w 297"/>
                <a:gd name="T31" fmla="*/ 126 h 195"/>
                <a:gd name="T32" fmla="*/ 3 w 297"/>
                <a:gd name="T33" fmla="*/ 134 h 195"/>
                <a:gd name="T34" fmla="*/ 14 w 297"/>
                <a:gd name="T35" fmla="*/ 155 h 195"/>
                <a:gd name="T36" fmla="*/ 24 w 297"/>
                <a:gd name="T37" fmla="*/ 173 h 195"/>
                <a:gd name="T38" fmla="*/ 37 w 297"/>
                <a:gd name="T39" fmla="*/ 186 h 195"/>
                <a:gd name="T40" fmla="*/ 40 w 297"/>
                <a:gd name="T41" fmla="*/ 193 h 195"/>
                <a:gd name="T42" fmla="*/ 43 w 297"/>
                <a:gd name="T43" fmla="*/ 177 h 195"/>
                <a:gd name="T44" fmla="*/ 48 w 297"/>
                <a:gd name="T45" fmla="*/ 170 h 195"/>
                <a:gd name="T46" fmla="*/ 60 w 297"/>
                <a:gd name="T47" fmla="*/ 167 h 195"/>
                <a:gd name="T48" fmla="*/ 81 w 297"/>
                <a:gd name="T49" fmla="*/ 167 h 195"/>
                <a:gd name="T50" fmla="*/ 89 w 297"/>
                <a:gd name="T51" fmla="*/ 168 h 195"/>
                <a:gd name="T52" fmla="*/ 91 w 297"/>
                <a:gd name="T53" fmla="*/ 162 h 195"/>
                <a:gd name="T54" fmla="*/ 90 w 297"/>
                <a:gd name="T55" fmla="*/ 153 h 195"/>
                <a:gd name="T56" fmla="*/ 97 w 297"/>
                <a:gd name="T57" fmla="*/ 148 h 195"/>
                <a:gd name="T58" fmla="*/ 115 w 297"/>
                <a:gd name="T59" fmla="*/ 132 h 195"/>
                <a:gd name="T60" fmla="*/ 120 w 297"/>
                <a:gd name="T61" fmla="*/ 132 h 195"/>
                <a:gd name="T62" fmla="*/ 126 w 297"/>
                <a:gd name="T63" fmla="*/ 135 h 195"/>
                <a:gd name="T64" fmla="*/ 143 w 297"/>
                <a:gd name="T65" fmla="*/ 148 h 195"/>
                <a:gd name="T66" fmla="*/ 154 w 297"/>
                <a:gd name="T67" fmla="*/ 151 h 195"/>
                <a:gd name="T68" fmla="*/ 160 w 297"/>
                <a:gd name="T69" fmla="*/ 152 h 195"/>
                <a:gd name="T70" fmla="*/ 177 w 297"/>
                <a:gd name="T71" fmla="*/ 153 h 195"/>
                <a:gd name="T72" fmla="*/ 187 w 297"/>
                <a:gd name="T73" fmla="*/ 148 h 195"/>
                <a:gd name="T74" fmla="*/ 191 w 297"/>
                <a:gd name="T75" fmla="*/ 142 h 195"/>
                <a:gd name="T76" fmla="*/ 195 w 297"/>
                <a:gd name="T77" fmla="*/ 140 h 195"/>
                <a:gd name="T78" fmla="*/ 206 w 297"/>
                <a:gd name="T79" fmla="*/ 144 h 195"/>
                <a:gd name="T80" fmla="*/ 227 w 297"/>
                <a:gd name="T81" fmla="*/ 135 h 195"/>
                <a:gd name="T82" fmla="*/ 232 w 297"/>
                <a:gd name="T83" fmla="*/ 133 h 195"/>
                <a:gd name="T84" fmla="*/ 241 w 297"/>
                <a:gd name="T85" fmla="*/ 136 h 195"/>
                <a:gd name="T86" fmla="*/ 250 w 297"/>
                <a:gd name="T87" fmla="*/ 130 h 195"/>
                <a:gd name="T88" fmla="*/ 257 w 297"/>
                <a:gd name="T89" fmla="*/ 126 h 195"/>
                <a:gd name="T90" fmla="*/ 264 w 297"/>
                <a:gd name="T91" fmla="*/ 130 h 195"/>
                <a:gd name="T92" fmla="*/ 270 w 297"/>
                <a:gd name="T93" fmla="*/ 130 h 195"/>
                <a:gd name="T94" fmla="*/ 280 w 297"/>
                <a:gd name="T95" fmla="*/ 133 h 195"/>
                <a:gd name="T96" fmla="*/ 284 w 297"/>
                <a:gd name="T97" fmla="*/ 133 h 195"/>
                <a:gd name="T98" fmla="*/ 297 w 297"/>
                <a:gd name="T99" fmla="*/ 131 h 195"/>
                <a:gd name="T100" fmla="*/ 283 w 297"/>
                <a:gd name="T101" fmla="*/ 117 h 195"/>
                <a:gd name="T102" fmla="*/ 276 w 297"/>
                <a:gd name="T103" fmla="*/ 113 h 195"/>
                <a:gd name="T104" fmla="*/ 273 w 297"/>
                <a:gd name="T105" fmla="*/ 101 h 195"/>
                <a:gd name="T106" fmla="*/ 248 w 297"/>
                <a:gd name="T107" fmla="*/ 73 h 195"/>
                <a:gd name="T108" fmla="*/ 247 w 297"/>
                <a:gd name="T109" fmla="*/ 71 h 195"/>
                <a:gd name="T110" fmla="*/ 225 w 297"/>
                <a:gd name="T111" fmla="*/ 61 h 195"/>
                <a:gd name="T112" fmla="*/ 219 w 297"/>
                <a:gd name="T113" fmla="*/ 53 h 195"/>
                <a:gd name="T114" fmla="*/ 212 w 297"/>
                <a:gd name="T115" fmla="*/ 53 h 195"/>
                <a:gd name="T116" fmla="*/ 206 w 297"/>
                <a:gd name="T117" fmla="*/ 46 h 195"/>
                <a:gd name="T118" fmla="*/ 210 w 297"/>
                <a:gd name="T119" fmla="*/ 36 h 195"/>
                <a:gd name="T120" fmla="*/ 207 w 297"/>
                <a:gd name="T121" fmla="*/ 18 h 195"/>
                <a:gd name="T122" fmla="*/ 190 w 297"/>
                <a:gd name="T12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7" h="195">
                  <a:moveTo>
                    <a:pt x="183" y="0"/>
                  </a:moveTo>
                  <a:cubicBezTo>
                    <a:pt x="183" y="0"/>
                    <a:pt x="183" y="0"/>
                    <a:pt x="183" y="0"/>
                  </a:cubicBezTo>
                  <a:cubicBezTo>
                    <a:pt x="182" y="0"/>
                    <a:pt x="181" y="0"/>
                    <a:pt x="180" y="1"/>
                  </a:cubicBezTo>
                  <a:cubicBezTo>
                    <a:pt x="177" y="2"/>
                    <a:pt x="172" y="4"/>
                    <a:pt x="170" y="6"/>
                  </a:cubicBezTo>
                  <a:cubicBezTo>
                    <a:pt x="170" y="6"/>
                    <a:pt x="170" y="6"/>
                    <a:pt x="170" y="6"/>
                  </a:cubicBezTo>
                  <a:cubicBezTo>
                    <a:pt x="170" y="7"/>
                    <a:pt x="170" y="7"/>
                    <a:pt x="170" y="7"/>
                  </a:cubicBezTo>
                  <a:cubicBezTo>
                    <a:pt x="170" y="7"/>
                    <a:pt x="170" y="7"/>
                    <a:pt x="170" y="7"/>
                  </a:cubicBezTo>
                  <a:cubicBezTo>
                    <a:pt x="170" y="8"/>
                    <a:pt x="170" y="9"/>
                    <a:pt x="169" y="11"/>
                  </a:cubicBezTo>
                  <a:cubicBezTo>
                    <a:pt x="155" y="28"/>
                    <a:pt x="155" y="28"/>
                    <a:pt x="155" y="28"/>
                  </a:cubicBezTo>
                  <a:cubicBezTo>
                    <a:pt x="150" y="33"/>
                    <a:pt x="146" y="37"/>
                    <a:pt x="139" y="41"/>
                  </a:cubicBezTo>
                  <a:cubicBezTo>
                    <a:pt x="138" y="43"/>
                    <a:pt x="136" y="43"/>
                    <a:pt x="134" y="44"/>
                  </a:cubicBezTo>
                  <a:cubicBezTo>
                    <a:pt x="131" y="44"/>
                    <a:pt x="128" y="44"/>
                    <a:pt x="124" y="45"/>
                  </a:cubicBezTo>
                  <a:cubicBezTo>
                    <a:pt x="122" y="45"/>
                    <a:pt x="122" y="45"/>
                    <a:pt x="122" y="45"/>
                  </a:cubicBezTo>
                  <a:cubicBezTo>
                    <a:pt x="119" y="45"/>
                    <a:pt x="113" y="45"/>
                    <a:pt x="108" y="46"/>
                  </a:cubicBezTo>
                  <a:cubicBezTo>
                    <a:pt x="109" y="51"/>
                    <a:pt x="109" y="51"/>
                    <a:pt x="109" y="51"/>
                  </a:cubicBezTo>
                  <a:cubicBezTo>
                    <a:pt x="107" y="46"/>
                    <a:pt x="107" y="46"/>
                    <a:pt x="107" y="46"/>
                  </a:cubicBezTo>
                  <a:cubicBezTo>
                    <a:pt x="105" y="46"/>
                    <a:pt x="105" y="46"/>
                    <a:pt x="105" y="46"/>
                  </a:cubicBezTo>
                  <a:cubicBezTo>
                    <a:pt x="105" y="46"/>
                    <a:pt x="105" y="46"/>
                    <a:pt x="105" y="46"/>
                  </a:cubicBezTo>
                  <a:cubicBezTo>
                    <a:pt x="105" y="47"/>
                    <a:pt x="105" y="47"/>
                    <a:pt x="105" y="47"/>
                  </a:cubicBezTo>
                  <a:cubicBezTo>
                    <a:pt x="107" y="48"/>
                    <a:pt x="108" y="50"/>
                    <a:pt x="108" y="53"/>
                  </a:cubicBezTo>
                  <a:cubicBezTo>
                    <a:pt x="108" y="53"/>
                    <a:pt x="108" y="53"/>
                    <a:pt x="108" y="53"/>
                  </a:cubicBezTo>
                  <a:cubicBezTo>
                    <a:pt x="107" y="54"/>
                    <a:pt x="107" y="55"/>
                    <a:pt x="106" y="56"/>
                  </a:cubicBezTo>
                  <a:cubicBezTo>
                    <a:pt x="105" y="57"/>
                    <a:pt x="105" y="58"/>
                    <a:pt x="104" y="59"/>
                  </a:cubicBezTo>
                  <a:cubicBezTo>
                    <a:pt x="104" y="59"/>
                    <a:pt x="104" y="59"/>
                    <a:pt x="104" y="59"/>
                  </a:cubicBezTo>
                  <a:cubicBezTo>
                    <a:pt x="102" y="61"/>
                    <a:pt x="101" y="63"/>
                    <a:pt x="99" y="65"/>
                  </a:cubicBezTo>
                  <a:cubicBezTo>
                    <a:pt x="97" y="66"/>
                    <a:pt x="97" y="66"/>
                    <a:pt x="97" y="66"/>
                  </a:cubicBezTo>
                  <a:cubicBezTo>
                    <a:pt x="96" y="67"/>
                    <a:pt x="96" y="67"/>
                    <a:pt x="95" y="67"/>
                  </a:cubicBezTo>
                  <a:cubicBezTo>
                    <a:pt x="95" y="68"/>
                    <a:pt x="95" y="68"/>
                    <a:pt x="95" y="68"/>
                  </a:cubicBezTo>
                  <a:cubicBezTo>
                    <a:pt x="95" y="68"/>
                    <a:pt x="94" y="68"/>
                    <a:pt x="94" y="68"/>
                  </a:cubicBezTo>
                  <a:cubicBezTo>
                    <a:pt x="93" y="69"/>
                    <a:pt x="93" y="69"/>
                    <a:pt x="93" y="69"/>
                  </a:cubicBezTo>
                  <a:cubicBezTo>
                    <a:pt x="92" y="69"/>
                    <a:pt x="92" y="69"/>
                    <a:pt x="91" y="69"/>
                  </a:cubicBezTo>
                  <a:cubicBezTo>
                    <a:pt x="90" y="69"/>
                    <a:pt x="90" y="69"/>
                    <a:pt x="90" y="69"/>
                  </a:cubicBezTo>
                  <a:cubicBezTo>
                    <a:pt x="90" y="69"/>
                    <a:pt x="89" y="69"/>
                    <a:pt x="88" y="69"/>
                  </a:cubicBezTo>
                  <a:cubicBezTo>
                    <a:pt x="85" y="69"/>
                    <a:pt x="85" y="69"/>
                    <a:pt x="85" y="69"/>
                  </a:cubicBezTo>
                  <a:cubicBezTo>
                    <a:pt x="84" y="69"/>
                    <a:pt x="84" y="69"/>
                    <a:pt x="84" y="69"/>
                  </a:cubicBezTo>
                  <a:cubicBezTo>
                    <a:pt x="83" y="69"/>
                    <a:pt x="83" y="69"/>
                    <a:pt x="83" y="69"/>
                  </a:cubicBezTo>
                  <a:cubicBezTo>
                    <a:pt x="82" y="69"/>
                    <a:pt x="81" y="70"/>
                    <a:pt x="79" y="70"/>
                  </a:cubicBezTo>
                  <a:cubicBezTo>
                    <a:pt x="76" y="71"/>
                    <a:pt x="74" y="71"/>
                    <a:pt x="71" y="72"/>
                  </a:cubicBezTo>
                  <a:cubicBezTo>
                    <a:pt x="69" y="73"/>
                    <a:pt x="69" y="73"/>
                    <a:pt x="69" y="73"/>
                  </a:cubicBezTo>
                  <a:cubicBezTo>
                    <a:pt x="68" y="73"/>
                    <a:pt x="68" y="73"/>
                    <a:pt x="68" y="73"/>
                  </a:cubicBezTo>
                  <a:cubicBezTo>
                    <a:pt x="66" y="74"/>
                    <a:pt x="66" y="74"/>
                    <a:pt x="66" y="74"/>
                  </a:cubicBezTo>
                  <a:cubicBezTo>
                    <a:pt x="65" y="74"/>
                    <a:pt x="64" y="74"/>
                    <a:pt x="62" y="75"/>
                  </a:cubicBezTo>
                  <a:cubicBezTo>
                    <a:pt x="61" y="76"/>
                    <a:pt x="61" y="76"/>
                    <a:pt x="61" y="76"/>
                  </a:cubicBezTo>
                  <a:cubicBezTo>
                    <a:pt x="61" y="76"/>
                    <a:pt x="60" y="76"/>
                    <a:pt x="59" y="77"/>
                  </a:cubicBezTo>
                  <a:cubicBezTo>
                    <a:pt x="58" y="77"/>
                    <a:pt x="58" y="77"/>
                    <a:pt x="58" y="77"/>
                  </a:cubicBezTo>
                  <a:cubicBezTo>
                    <a:pt x="57" y="78"/>
                    <a:pt x="57" y="78"/>
                    <a:pt x="57" y="78"/>
                  </a:cubicBezTo>
                  <a:cubicBezTo>
                    <a:pt x="56" y="78"/>
                    <a:pt x="56" y="78"/>
                    <a:pt x="56" y="78"/>
                  </a:cubicBezTo>
                  <a:cubicBezTo>
                    <a:pt x="55" y="79"/>
                    <a:pt x="55" y="79"/>
                    <a:pt x="54" y="80"/>
                  </a:cubicBezTo>
                  <a:cubicBezTo>
                    <a:pt x="53" y="80"/>
                    <a:pt x="53" y="80"/>
                    <a:pt x="53" y="80"/>
                  </a:cubicBezTo>
                  <a:cubicBezTo>
                    <a:pt x="52" y="80"/>
                    <a:pt x="52" y="80"/>
                    <a:pt x="52" y="80"/>
                  </a:cubicBezTo>
                  <a:cubicBezTo>
                    <a:pt x="52" y="80"/>
                    <a:pt x="52" y="80"/>
                    <a:pt x="52" y="80"/>
                  </a:cubicBezTo>
                  <a:cubicBezTo>
                    <a:pt x="52" y="80"/>
                    <a:pt x="51" y="80"/>
                    <a:pt x="51" y="80"/>
                  </a:cubicBezTo>
                  <a:cubicBezTo>
                    <a:pt x="51" y="80"/>
                    <a:pt x="51" y="80"/>
                    <a:pt x="51" y="80"/>
                  </a:cubicBezTo>
                  <a:cubicBezTo>
                    <a:pt x="50" y="79"/>
                    <a:pt x="50" y="79"/>
                    <a:pt x="50" y="79"/>
                  </a:cubicBezTo>
                  <a:cubicBezTo>
                    <a:pt x="45" y="74"/>
                    <a:pt x="45" y="74"/>
                    <a:pt x="45" y="74"/>
                  </a:cubicBezTo>
                  <a:cubicBezTo>
                    <a:pt x="45" y="74"/>
                    <a:pt x="45" y="74"/>
                    <a:pt x="45" y="74"/>
                  </a:cubicBezTo>
                  <a:cubicBezTo>
                    <a:pt x="45" y="75"/>
                    <a:pt x="44" y="76"/>
                    <a:pt x="44" y="76"/>
                  </a:cubicBezTo>
                  <a:cubicBezTo>
                    <a:pt x="43" y="77"/>
                    <a:pt x="43" y="77"/>
                    <a:pt x="43" y="77"/>
                  </a:cubicBezTo>
                  <a:cubicBezTo>
                    <a:pt x="42" y="78"/>
                    <a:pt x="39" y="78"/>
                    <a:pt x="38" y="78"/>
                  </a:cubicBezTo>
                  <a:cubicBezTo>
                    <a:pt x="37" y="79"/>
                    <a:pt x="36" y="79"/>
                    <a:pt x="34" y="79"/>
                  </a:cubicBezTo>
                  <a:cubicBezTo>
                    <a:pt x="30" y="80"/>
                    <a:pt x="30" y="80"/>
                    <a:pt x="30" y="80"/>
                  </a:cubicBezTo>
                  <a:cubicBezTo>
                    <a:pt x="28" y="80"/>
                    <a:pt x="27" y="80"/>
                    <a:pt x="25" y="80"/>
                  </a:cubicBezTo>
                  <a:cubicBezTo>
                    <a:pt x="22" y="81"/>
                    <a:pt x="22" y="81"/>
                    <a:pt x="22" y="81"/>
                  </a:cubicBezTo>
                  <a:cubicBezTo>
                    <a:pt x="22" y="81"/>
                    <a:pt x="22" y="81"/>
                    <a:pt x="22" y="81"/>
                  </a:cubicBezTo>
                  <a:cubicBezTo>
                    <a:pt x="21" y="82"/>
                    <a:pt x="21" y="82"/>
                    <a:pt x="21" y="82"/>
                  </a:cubicBezTo>
                  <a:cubicBezTo>
                    <a:pt x="20" y="83"/>
                    <a:pt x="19" y="84"/>
                    <a:pt x="18" y="86"/>
                  </a:cubicBezTo>
                  <a:cubicBezTo>
                    <a:pt x="17" y="87"/>
                    <a:pt x="17" y="87"/>
                    <a:pt x="17" y="87"/>
                  </a:cubicBezTo>
                  <a:cubicBezTo>
                    <a:pt x="16" y="89"/>
                    <a:pt x="14" y="92"/>
                    <a:pt x="13" y="94"/>
                  </a:cubicBezTo>
                  <a:cubicBezTo>
                    <a:pt x="13" y="95"/>
                    <a:pt x="13" y="95"/>
                    <a:pt x="13" y="95"/>
                  </a:cubicBezTo>
                  <a:cubicBezTo>
                    <a:pt x="12" y="96"/>
                    <a:pt x="12" y="97"/>
                    <a:pt x="11" y="98"/>
                  </a:cubicBezTo>
                  <a:cubicBezTo>
                    <a:pt x="11" y="99"/>
                    <a:pt x="10" y="100"/>
                    <a:pt x="10" y="101"/>
                  </a:cubicBezTo>
                  <a:cubicBezTo>
                    <a:pt x="9" y="102"/>
                    <a:pt x="9" y="102"/>
                    <a:pt x="9" y="102"/>
                  </a:cubicBezTo>
                  <a:cubicBezTo>
                    <a:pt x="9" y="103"/>
                    <a:pt x="8" y="103"/>
                    <a:pt x="8" y="104"/>
                  </a:cubicBezTo>
                  <a:cubicBezTo>
                    <a:pt x="6" y="109"/>
                    <a:pt x="4" y="111"/>
                    <a:pt x="0" y="113"/>
                  </a:cubicBezTo>
                  <a:cubicBezTo>
                    <a:pt x="1" y="113"/>
                    <a:pt x="1" y="114"/>
                    <a:pt x="1" y="114"/>
                  </a:cubicBezTo>
                  <a:cubicBezTo>
                    <a:pt x="2" y="115"/>
                    <a:pt x="2" y="115"/>
                    <a:pt x="2" y="115"/>
                  </a:cubicBezTo>
                  <a:cubicBezTo>
                    <a:pt x="2" y="115"/>
                    <a:pt x="2" y="116"/>
                    <a:pt x="3" y="117"/>
                  </a:cubicBezTo>
                  <a:cubicBezTo>
                    <a:pt x="3" y="117"/>
                    <a:pt x="3" y="118"/>
                    <a:pt x="3" y="120"/>
                  </a:cubicBezTo>
                  <a:cubicBezTo>
                    <a:pt x="3" y="121"/>
                    <a:pt x="3" y="123"/>
                    <a:pt x="3" y="124"/>
                  </a:cubicBezTo>
                  <a:cubicBezTo>
                    <a:pt x="3" y="126"/>
                    <a:pt x="3" y="126"/>
                    <a:pt x="3" y="126"/>
                  </a:cubicBezTo>
                  <a:cubicBezTo>
                    <a:pt x="3" y="127"/>
                    <a:pt x="2" y="128"/>
                    <a:pt x="2" y="129"/>
                  </a:cubicBezTo>
                  <a:cubicBezTo>
                    <a:pt x="2" y="130"/>
                    <a:pt x="2" y="130"/>
                    <a:pt x="2" y="130"/>
                  </a:cubicBezTo>
                  <a:cubicBezTo>
                    <a:pt x="2" y="130"/>
                    <a:pt x="2" y="130"/>
                    <a:pt x="2" y="132"/>
                  </a:cubicBezTo>
                  <a:cubicBezTo>
                    <a:pt x="3" y="133"/>
                    <a:pt x="3" y="133"/>
                    <a:pt x="3" y="133"/>
                  </a:cubicBezTo>
                  <a:cubicBezTo>
                    <a:pt x="3" y="133"/>
                    <a:pt x="3" y="133"/>
                    <a:pt x="3" y="134"/>
                  </a:cubicBezTo>
                  <a:cubicBezTo>
                    <a:pt x="4" y="137"/>
                    <a:pt x="5" y="140"/>
                    <a:pt x="6" y="143"/>
                  </a:cubicBezTo>
                  <a:cubicBezTo>
                    <a:pt x="6" y="146"/>
                    <a:pt x="6" y="146"/>
                    <a:pt x="6" y="146"/>
                  </a:cubicBezTo>
                  <a:cubicBezTo>
                    <a:pt x="6" y="146"/>
                    <a:pt x="7" y="147"/>
                    <a:pt x="9" y="149"/>
                  </a:cubicBezTo>
                  <a:cubicBezTo>
                    <a:pt x="10" y="150"/>
                    <a:pt x="11" y="151"/>
                    <a:pt x="11" y="152"/>
                  </a:cubicBezTo>
                  <a:cubicBezTo>
                    <a:pt x="14" y="155"/>
                    <a:pt x="14" y="155"/>
                    <a:pt x="14" y="155"/>
                  </a:cubicBezTo>
                  <a:cubicBezTo>
                    <a:pt x="14" y="156"/>
                    <a:pt x="15" y="157"/>
                    <a:pt x="16" y="159"/>
                  </a:cubicBezTo>
                  <a:cubicBezTo>
                    <a:pt x="18" y="162"/>
                    <a:pt x="18" y="162"/>
                    <a:pt x="18" y="162"/>
                  </a:cubicBezTo>
                  <a:cubicBezTo>
                    <a:pt x="15" y="163"/>
                    <a:pt x="15" y="163"/>
                    <a:pt x="15" y="163"/>
                  </a:cubicBezTo>
                  <a:cubicBezTo>
                    <a:pt x="17" y="166"/>
                    <a:pt x="19" y="169"/>
                    <a:pt x="22" y="171"/>
                  </a:cubicBezTo>
                  <a:cubicBezTo>
                    <a:pt x="24" y="173"/>
                    <a:pt x="24" y="173"/>
                    <a:pt x="24" y="173"/>
                  </a:cubicBezTo>
                  <a:cubicBezTo>
                    <a:pt x="25" y="174"/>
                    <a:pt x="25" y="174"/>
                    <a:pt x="25" y="174"/>
                  </a:cubicBezTo>
                  <a:cubicBezTo>
                    <a:pt x="26" y="175"/>
                    <a:pt x="26" y="175"/>
                    <a:pt x="26" y="175"/>
                  </a:cubicBezTo>
                  <a:cubicBezTo>
                    <a:pt x="29" y="177"/>
                    <a:pt x="32" y="180"/>
                    <a:pt x="35" y="182"/>
                  </a:cubicBezTo>
                  <a:cubicBezTo>
                    <a:pt x="36" y="183"/>
                    <a:pt x="36" y="184"/>
                    <a:pt x="37" y="185"/>
                  </a:cubicBezTo>
                  <a:cubicBezTo>
                    <a:pt x="37" y="186"/>
                    <a:pt x="37" y="186"/>
                    <a:pt x="37" y="186"/>
                  </a:cubicBezTo>
                  <a:cubicBezTo>
                    <a:pt x="38" y="186"/>
                    <a:pt x="38" y="186"/>
                    <a:pt x="38" y="186"/>
                  </a:cubicBezTo>
                  <a:cubicBezTo>
                    <a:pt x="38" y="188"/>
                    <a:pt x="38" y="189"/>
                    <a:pt x="38" y="190"/>
                  </a:cubicBezTo>
                  <a:cubicBezTo>
                    <a:pt x="38" y="192"/>
                    <a:pt x="38" y="193"/>
                    <a:pt x="39" y="195"/>
                  </a:cubicBezTo>
                  <a:cubicBezTo>
                    <a:pt x="39" y="195"/>
                    <a:pt x="39" y="194"/>
                    <a:pt x="39" y="194"/>
                  </a:cubicBezTo>
                  <a:cubicBezTo>
                    <a:pt x="40" y="193"/>
                    <a:pt x="40" y="193"/>
                    <a:pt x="40" y="193"/>
                  </a:cubicBezTo>
                  <a:cubicBezTo>
                    <a:pt x="40" y="191"/>
                    <a:pt x="40" y="190"/>
                    <a:pt x="41" y="189"/>
                  </a:cubicBezTo>
                  <a:cubicBezTo>
                    <a:pt x="41" y="187"/>
                    <a:pt x="42" y="185"/>
                    <a:pt x="42" y="184"/>
                  </a:cubicBezTo>
                  <a:cubicBezTo>
                    <a:pt x="42" y="183"/>
                    <a:pt x="42" y="183"/>
                    <a:pt x="42" y="182"/>
                  </a:cubicBezTo>
                  <a:cubicBezTo>
                    <a:pt x="42" y="181"/>
                    <a:pt x="42" y="180"/>
                    <a:pt x="42" y="178"/>
                  </a:cubicBezTo>
                  <a:cubicBezTo>
                    <a:pt x="43" y="177"/>
                    <a:pt x="43" y="177"/>
                    <a:pt x="43" y="177"/>
                  </a:cubicBezTo>
                  <a:cubicBezTo>
                    <a:pt x="43" y="177"/>
                    <a:pt x="43" y="176"/>
                    <a:pt x="43" y="176"/>
                  </a:cubicBezTo>
                  <a:cubicBezTo>
                    <a:pt x="43" y="175"/>
                    <a:pt x="43" y="175"/>
                    <a:pt x="43" y="175"/>
                  </a:cubicBezTo>
                  <a:cubicBezTo>
                    <a:pt x="43" y="174"/>
                    <a:pt x="43" y="174"/>
                    <a:pt x="43" y="174"/>
                  </a:cubicBezTo>
                  <a:cubicBezTo>
                    <a:pt x="44" y="174"/>
                    <a:pt x="44" y="174"/>
                    <a:pt x="44" y="174"/>
                  </a:cubicBezTo>
                  <a:cubicBezTo>
                    <a:pt x="45" y="172"/>
                    <a:pt x="47" y="171"/>
                    <a:pt x="48" y="170"/>
                  </a:cubicBezTo>
                  <a:cubicBezTo>
                    <a:pt x="50" y="170"/>
                    <a:pt x="51" y="169"/>
                    <a:pt x="53" y="169"/>
                  </a:cubicBezTo>
                  <a:cubicBezTo>
                    <a:pt x="52" y="164"/>
                    <a:pt x="52" y="164"/>
                    <a:pt x="52" y="164"/>
                  </a:cubicBezTo>
                  <a:cubicBezTo>
                    <a:pt x="55" y="169"/>
                    <a:pt x="55" y="169"/>
                    <a:pt x="55" y="169"/>
                  </a:cubicBezTo>
                  <a:cubicBezTo>
                    <a:pt x="55" y="169"/>
                    <a:pt x="55" y="169"/>
                    <a:pt x="55" y="169"/>
                  </a:cubicBezTo>
                  <a:cubicBezTo>
                    <a:pt x="57" y="168"/>
                    <a:pt x="58" y="168"/>
                    <a:pt x="60" y="167"/>
                  </a:cubicBezTo>
                  <a:cubicBezTo>
                    <a:pt x="64" y="167"/>
                    <a:pt x="67" y="166"/>
                    <a:pt x="71" y="166"/>
                  </a:cubicBezTo>
                  <a:cubicBezTo>
                    <a:pt x="72" y="166"/>
                    <a:pt x="74" y="166"/>
                    <a:pt x="75" y="167"/>
                  </a:cubicBezTo>
                  <a:cubicBezTo>
                    <a:pt x="76" y="167"/>
                    <a:pt x="77" y="167"/>
                    <a:pt x="78" y="167"/>
                  </a:cubicBezTo>
                  <a:cubicBezTo>
                    <a:pt x="79" y="167"/>
                    <a:pt x="79" y="167"/>
                    <a:pt x="79" y="167"/>
                  </a:cubicBezTo>
                  <a:cubicBezTo>
                    <a:pt x="80" y="167"/>
                    <a:pt x="80" y="167"/>
                    <a:pt x="81" y="167"/>
                  </a:cubicBezTo>
                  <a:cubicBezTo>
                    <a:pt x="82" y="167"/>
                    <a:pt x="82" y="167"/>
                    <a:pt x="82" y="167"/>
                  </a:cubicBezTo>
                  <a:cubicBezTo>
                    <a:pt x="83" y="168"/>
                    <a:pt x="83" y="168"/>
                    <a:pt x="83" y="168"/>
                  </a:cubicBezTo>
                  <a:cubicBezTo>
                    <a:pt x="85" y="168"/>
                    <a:pt x="86" y="168"/>
                    <a:pt x="87" y="168"/>
                  </a:cubicBezTo>
                  <a:cubicBezTo>
                    <a:pt x="88" y="168"/>
                    <a:pt x="89" y="168"/>
                    <a:pt x="89" y="168"/>
                  </a:cubicBezTo>
                  <a:cubicBezTo>
                    <a:pt x="89" y="168"/>
                    <a:pt x="89" y="168"/>
                    <a:pt x="89" y="168"/>
                  </a:cubicBezTo>
                  <a:cubicBezTo>
                    <a:pt x="91" y="166"/>
                    <a:pt x="91" y="166"/>
                    <a:pt x="91" y="166"/>
                  </a:cubicBezTo>
                  <a:cubicBezTo>
                    <a:pt x="91" y="167"/>
                    <a:pt x="91" y="167"/>
                    <a:pt x="91" y="167"/>
                  </a:cubicBezTo>
                  <a:cubicBezTo>
                    <a:pt x="91" y="166"/>
                    <a:pt x="91" y="166"/>
                    <a:pt x="91" y="165"/>
                  </a:cubicBezTo>
                  <a:cubicBezTo>
                    <a:pt x="91" y="164"/>
                    <a:pt x="91" y="163"/>
                    <a:pt x="91" y="162"/>
                  </a:cubicBezTo>
                  <a:cubicBezTo>
                    <a:pt x="91" y="162"/>
                    <a:pt x="91" y="162"/>
                    <a:pt x="91" y="162"/>
                  </a:cubicBezTo>
                  <a:cubicBezTo>
                    <a:pt x="91" y="161"/>
                    <a:pt x="91" y="160"/>
                    <a:pt x="91" y="159"/>
                  </a:cubicBezTo>
                  <a:cubicBezTo>
                    <a:pt x="91" y="159"/>
                    <a:pt x="91" y="159"/>
                    <a:pt x="91" y="159"/>
                  </a:cubicBezTo>
                  <a:cubicBezTo>
                    <a:pt x="91" y="158"/>
                    <a:pt x="91" y="158"/>
                    <a:pt x="91" y="157"/>
                  </a:cubicBezTo>
                  <a:cubicBezTo>
                    <a:pt x="91" y="157"/>
                    <a:pt x="91" y="157"/>
                    <a:pt x="91" y="157"/>
                  </a:cubicBezTo>
                  <a:cubicBezTo>
                    <a:pt x="90" y="157"/>
                    <a:pt x="89" y="155"/>
                    <a:pt x="90" y="153"/>
                  </a:cubicBezTo>
                  <a:cubicBezTo>
                    <a:pt x="90" y="152"/>
                    <a:pt x="90" y="152"/>
                    <a:pt x="91" y="151"/>
                  </a:cubicBezTo>
                  <a:cubicBezTo>
                    <a:pt x="92" y="150"/>
                    <a:pt x="93" y="150"/>
                    <a:pt x="95" y="150"/>
                  </a:cubicBezTo>
                  <a:cubicBezTo>
                    <a:pt x="95" y="150"/>
                    <a:pt x="95" y="150"/>
                    <a:pt x="95" y="150"/>
                  </a:cubicBezTo>
                  <a:cubicBezTo>
                    <a:pt x="96" y="150"/>
                    <a:pt x="96" y="150"/>
                    <a:pt x="96" y="150"/>
                  </a:cubicBezTo>
                  <a:cubicBezTo>
                    <a:pt x="96" y="150"/>
                    <a:pt x="96" y="149"/>
                    <a:pt x="97" y="148"/>
                  </a:cubicBezTo>
                  <a:cubicBezTo>
                    <a:pt x="98" y="146"/>
                    <a:pt x="98" y="146"/>
                    <a:pt x="98" y="146"/>
                  </a:cubicBezTo>
                  <a:cubicBezTo>
                    <a:pt x="99" y="145"/>
                    <a:pt x="100" y="143"/>
                    <a:pt x="101" y="142"/>
                  </a:cubicBezTo>
                  <a:cubicBezTo>
                    <a:pt x="101" y="141"/>
                    <a:pt x="101" y="141"/>
                    <a:pt x="101" y="141"/>
                  </a:cubicBezTo>
                  <a:cubicBezTo>
                    <a:pt x="102" y="140"/>
                    <a:pt x="103" y="139"/>
                    <a:pt x="104" y="138"/>
                  </a:cubicBezTo>
                  <a:cubicBezTo>
                    <a:pt x="107" y="135"/>
                    <a:pt x="111" y="133"/>
                    <a:pt x="115" y="132"/>
                  </a:cubicBezTo>
                  <a:cubicBezTo>
                    <a:pt x="115" y="132"/>
                    <a:pt x="116" y="132"/>
                    <a:pt x="117" y="132"/>
                  </a:cubicBezTo>
                  <a:cubicBezTo>
                    <a:pt x="117" y="132"/>
                    <a:pt x="117" y="132"/>
                    <a:pt x="117" y="132"/>
                  </a:cubicBezTo>
                  <a:cubicBezTo>
                    <a:pt x="118" y="132"/>
                    <a:pt x="118" y="132"/>
                    <a:pt x="118" y="132"/>
                  </a:cubicBezTo>
                  <a:cubicBezTo>
                    <a:pt x="118" y="132"/>
                    <a:pt x="118" y="132"/>
                    <a:pt x="119" y="132"/>
                  </a:cubicBezTo>
                  <a:cubicBezTo>
                    <a:pt x="119" y="132"/>
                    <a:pt x="120" y="132"/>
                    <a:pt x="120" y="132"/>
                  </a:cubicBezTo>
                  <a:cubicBezTo>
                    <a:pt x="122" y="132"/>
                    <a:pt x="122" y="132"/>
                    <a:pt x="122" y="132"/>
                  </a:cubicBezTo>
                  <a:cubicBezTo>
                    <a:pt x="122" y="133"/>
                    <a:pt x="122" y="133"/>
                    <a:pt x="122" y="133"/>
                  </a:cubicBezTo>
                  <a:cubicBezTo>
                    <a:pt x="123" y="133"/>
                    <a:pt x="124" y="133"/>
                    <a:pt x="124" y="134"/>
                  </a:cubicBezTo>
                  <a:cubicBezTo>
                    <a:pt x="125" y="134"/>
                    <a:pt x="125" y="134"/>
                    <a:pt x="125" y="134"/>
                  </a:cubicBezTo>
                  <a:cubicBezTo>
                    <a:pt x="125" y="134"/>
                    <a:pt x="126" y="135"/>
                    <a:pt x="126" y="135"/>
                  </a:cubicBezTo>
                  <a:cubicBezTo>
                    <a:pt x="127" y="135"/>
                    <a:pt x="128" y="136"/>
                    <a:pt x="130" y="137"/>
                  </a:cubicBezTo>
                  <a:cubicBezTo>
                    <a:pt x="138" y="145"/>
                    <a:pt x="138" y="145"/>
                    <a:pt x="138" y="145"/>
                  </a:cubicBezTo>
                  <a:cubicBezTo>
                    <a:pt x="138" y="146"/>
                    <a:pt x="140" y="147"/>
                    <a:pt x="141" y="147"/>
                  </a:cubicBezTo>
                  <a:cubicBezTo>
                    <a:pt x="141" y="147"/>
                    <a:pt x="141" y="147"/>
                    <a:pt x="141" y="147"/>
                  </a:cubicBezTo>
                  <a:cubicBezTo>
                    <a:pt x="142" y="147"/>
                    <a:pt x="142" y="147"/>
                    <a:pt x="143" y="148"/>
                  </a:cubicBezTo>
                  <a:cubicBezTo>
                    <a:pt x="143" y="148"/>
                    <a:pt x="144" y="148"/>
                    <a:pt x="145" y="148"/>
                  </a:cubicBezTo>
                  <a:cubicBezTo>
                    <a:pt x="146" y="148"/>
                    <a:pt x="147" y="149"/>
                    <a:pt x="149" y="149"/>
                  </a:cubicBezTo>
                  <a:cubicBezTo>
                    <a:pt x="149" y="149"/>
                    <a:pt x="149" y="149"/>
                    <a:pt x="149" y="149"/>
                  </a:cubicBezTo>
                  <a:cubicBezTo>
                    <a:pt x="151" y="150"/>
                    <a:pt x="153" y="150"/>
                    <a:pt x="154" y="151"/>
                  </a:cubicBezTo>
                  <a:cubicBezTo>
                    <a:pt x="154" y="151"/>
                    <a:pt x="154" y="151"/>
                    <a:pt x="154" y="151"/>
                  </a:cubicBezTo>
                  <a:cubicBezTo>
                    <a:pt x="155" y="151"/>
                    <a:pt x="155" y="151"/>
                    <a:pt x="155" y="151"/>
                  </a:cubicBezTo>
                  <a:cubicBezTo>
                    <a:pt x="156" y="151"/>
                    <a:pt x="156" y="151"/>
                    <a:pt x="156" y="151"/>
                  </a:cubicBezTo>
                  <a:cubicBezTo>
                    <a:pt x="156" y="151"/>
                    <a:pt x="156" y="151"/>
                    <a:pt x="156" y="151"/>
                  </a:cubicBezTo>
                  <a:cubicBezTo>
                    <a:pt x="157" y="151"/>
                    <a:pt x="158" y="151"/>
                    <a:pt x="159" y="152"/>
                  </a:cubicBezTo>
                  <a:cubicBezTo>
                    <a:pt x="160" y="152"/>
                    <a:pt x="160" y="152"/>
                    <a:pt x="160" y="152"/>
                  </a:cubicBezTo>
                  <a:cubicBezTo>
                    <a:pt x="162" y="152"/>
                    <a:pt x="164" y="152"/>
                    <a:pt x="165" y="153"/>
                  </a:cubicBezTo>
                  <a:cubicBezTo>
                    <a:pt x="166" y="153"/>
                    <a:pt x="167" y="153"/>
                    <a:pt x="168" y="153"/>
                  </a:cubicBezTo>
                  <a:cubicBezTo>
                    <a:pt x="170" y="153"/>
                    <a:pt x="172" y="153"/>
                    <a:pt x="174" y="153"/>
                  </a:cubicBezTo>
                  <a:cubicBezTo>
                    <a:pt x="176" y="153"/>
                    <a:pt x="176" y="153"/>
                    <a:pt x="176" y="153"/>
                  </a:cubicBezTo>
                  <a:cubicBezTo>
                    <a:pt x="177" y="153"/>
                    <a:pt x="177" y="153"/>
                    <a:pt x="177" y="153"/>
                  </a:cubicBezTo>
                  <a:cubicBezTo>
                    <a:pt x="178" y="154"/>
                    <a:pt x="178" y="154"/>
                    <a:pt x="178" y="154"/>
                  </a:cubicBezTo>
                  <a:cubicBezTo>
                    <a:pt x="180" y="154"/>
                    <a:pt x="182" y="155"/>
                    <a:pt x="183" y="155"/>
                  </a:cubicBezTo>
                  <a:cubicBezTo>
                    <a:pt x="183" y="154"/>
                    <a:pt x="183" y="153"/>
                    <a:pt x="184" y="153"/>
                  </a:cubicBezTo>
                  <a:cubicBezTo>
                    <a:pt x="184" y="151"/>
                    <a:pt x="185" y="150"/>
                    <a:pt x="186" y="149"/>
                  </a:cubicBezTo>
                  <a:cubicBezTo>
                    <a:pt x="187" y="148"/>
                    <a:pt x="187" y="148"/>
                    <a:pt x="187" y="148"/>
                  </a:cubicBezTo>
                  <a:cubicBezTo>
                    <a:pt x="187" y="148"/>
                    <a:pt x="187" y="147"/>
                    <a:pt x="187" y="147"/>
                  </a:cubicBezTo>
                  <a:cubicBezTo>
                    <a:pt x="188" y="147"/>
                    <a:pt x="188" y="147"/>
                    <a:pt x="188" y="147"/>
                  </a:cubicBezTo>
                  <a:cubicBezTo>
                    <a:pt x="188" y="146"/>
                    <a:pt x="189" y="144"/>
                    <a:pt x="190" y="143"/>
                  </a:cubicBezTo>
                  <a:cubicBezTo>
                    <a:pt x="191" y="142"/>
                    <a:pt x="191" y="142"/>
                    <a:pt x="191" y="142"/>
                  </a:cubicBezTo>
                  <a:cubicBezTo>
                    <a:pt x="191" y="142"/>
                    <a:pt x="191" y="142"/>
                    <a:pt x="191" y="142"/>
                  </a:cubicBezTo>
                  <a:cubicBezTo>
                    <a:pt x="192" y="141"/>
                    <a:pt x="192" y="141"/>
                    <a:pt x="192" y="141"/>
                  </a:cubicBezTo>
                  <a:cubicBezTo>
                    <a:pt x="193" y="141"/>
                    <a:pt x="193" y="141"/>
                    <a:pt x="193" y="141"/>
                  </a:cubicBezTo>
                  <a:cubicBezTo>
                    <a:pt x="193" y="140"/>
                    <a:pt x="193" y="140"/>
                    <a:pt x="193" y="140"/>
                  </a:cubicBezTo>
                  <a:cubicBezTo>
                    <a:pt x="194" y="140"/>
                    <a:pt x="194" y="140"/>
                    <a:pt x="194" y="140"/>
                  </a:cubicBezTo>
                  <a:cubicBezTo>
                    <a:pt x="194" y="140"/>
                    <a:pt x="194" y="140"/>
                    <a:pt x="195" y="140"/>
                  </a:cubicBezTo>
                  <a:cubicBezTo>
                    <a:pt x="196" y="139"/>
                    <a:pt x="196" y="139"/>
                    <a:pt x="196" y="139"/>
                  </a:cubicBezTo>
                  <a:cubicBezTo>
                    <a:pt x="196" y="139"/>
                    <a:pt x="196" y="139"/>
                    <a:pt x="196" y="139"/>
                  </a:cubicBezTo>
                  <a:cubicBezTo>
                    <a:pt x="196" y="139"/>
                    <a:pt x="197" y="140"/>
                    <a:pt x="197" y="140"/>
                  </a:cubicBezTo>
                  <a:cubicBezTo>
                    <a:pt x="199" y="140"/>
                    <a:pt x="201" y="141"/>
                    <a:pt x="202" y="142"/>
                  </a:cubicBezTo>
                  <a:cubicBezTo>
                    <a:pt x="203" y="143"/>
                    <a:pt x="205" y="144"/>
                    <a:pt x="206" y="144"/>
                  </a:cubicBezTo>
                  <a:cubicBezTo>
                    <a:pt x="206" y="144"/>
                    <a:pt x="206" y="144"/>
                    <a:pt x="206" y="144"/>
                  </a:cubicBezTo>
                  <a:cubicBezTo>
                    <a:pt x="208" y="144"/>
                    <a:pt x="210" y="143"/>
                    <a:pt x="211" y="142"/>
                  </a:cubicBezTo>
                  <a:cubicBezTo>
                    <a:pt x="212" y="142"/>
                    <a:pt x="213" y="142"/>
                    <a:pt x="213" y="141"/>
                  </a:cubicBezTo>
                  <a:cubicBezTo>
                    <a:pt x="226" y="135"/>
                    <a:pt x="226" y="135"/>
                    <a:pt x="226" y="135"/>
                  </a:cubicBezTo>
                  <a:cubicBezTo>
                    <a:pt x="226" y="135"/>
                    <a:pt x="226" y="135"/>
                    <a:pt x="227" y="135"/>
                  </a:cubicBezTo>
                  <a:cubicBezTo>
                    <a:pt x="227" y="135"/>
                    <a:pt x="227" y="135"/>
                    <a:pt x="227" y="135"/>
                  </a:cubicBezTo>
                  <a:cubicBezTo>
                    <a:pt x="228" y="134"/>
                    <a:pt x="229" y="134"/>
                    <a:pt x="230" y="133"/>
                  </a:cubicBezTo>
                  <a:cubicBezTo>
                    <a:pt x="230" y="133"/>
                    <a:pt x="231" y="133"/>
                    <a:pt x="231" y="133"/>
                  </a:cubicBezTo>
                  <a:cubicBezTo>
                    <a:pt x="231" y="133"/>
                    <a:pt x="231" y="133"/>
                    <a:pt x="231" y="133"/>
                  </a:cubicBezTo>
                  <a:cubicBezTo>
                    <a:pt x="232" y="133"/>
                    <a:pt x="232" y="133"/>
                    <a:pt x="232" y="133"/>
                  </a:cubicBezTo>
                  <a:cubicBezTo>
                    <a:pt x="233" y="133"/>
                    <a:pt x="233" y="133"/>
                    <a:pt x="233" y="133"/>
                  </a:cubicBezTo>
                  <a:cubicBezTo>
                    <a:pt x="234" y="133"/>
                    <a:pt x="234" y="133"/>
                    <a:pt x="234" y="133"/>
                  </a:cubicBezTo>
                  <a:cubicBezTo>
                    <a:pt x="234" y="134"/>
                    <a:pt x="235" y="134"/>
                    <a:pt x="235" y="134"/>
                  </a:cubicBezTo>
                  <a:cubicBezTo>
                    <a:pt x="236" y="135"/>
                    <a:pt x="238" y="136"/>
                    <a:pt x="238" y="137"/>
                  </a:cubicBezTo>
                  <a:cubicBezTo>
                    <a:pt x="239" y="137"/>
                    <a:pt x="240" y="136"/>
                    <a:pt x="241" y="136"/>
                  </a:cubicBezTo>
                  <a:cubicBezTo>
                    <a:pt x="242" y="136"/>
                    <a:pt x="242" y="136"/>
                    <a:pt x="242" y="136"/>
                  </a:cubicBezTo>
                  <a:cubicBezTo>
                    <a:pt x="242" y="136"/>
                    <a:pt x="243" y="136"/>
                    <a:pt x="243" y="136"/>
                  </a:cubicBezTo>
                  <a:cubicBezTo>
                    <a:pt x="244" y="136"/>
                    <a:pt x="245" y="136"/>
                    <a:pt x="246" y="135"/>
                  </a:cubicBezTo>
                  <a:cubicBezTo>
                    <a:pt x="247" y="135"/>
                    <a:pt x="249" y="135"/>
                    <a:pt x="249" y="134"/>
                  </a:cubicBezTo>
                  <a:cubicBezTo>
                    <a:pt x="249" y="133"/>
                    <a:pt x="249" y="132"/>
                    <a:pt x="250" y="130"/>
                  </a:cubicBezTo>
                  <a:cubicBezTo>
                    <a:pt x="251" y="129"/>
                    <a:pt x="251" y="128"/>
                    <a:pt x="252" y="128"/>
                  </a:cubicBezTo>
                  <a:cubicBezTo>
                    <a:pt x="253" y="127"/>
                    <a:pt x="253" y="127"/>
                    <a:pt x="253" y="127"/>
                  </a:cubicBezTo>
                  <a:cubicBezTo>
                    <a:pt x="253" y="127"/>
                    <a:pt x="254" y="127"/>
                    <a:pt x="255" y="127"/>
                  </a:cubicBezTo>
                  <a:cubicBezTo>
                    <a:pt x="256" y="127"/>
                    <a:pt x="256" y="127"/>
                    <a:pt x="256" y="127"/>
                  </a:cubicBezTo>
                  <a:cubicBezTo>
                    <a:pt x="256" y="127"/>
                    <a:pt x="256" y="126"/>
                    <a:pt x="257" y="126"/>
                  </a:cubicBezTo>
                  <a:cubicBezTo>
                    <a:pt x="257" y="126"/>
                    <a:pt x="257" y="126"/>
                    <a:pt x="258" y="127"/>
                  </a:cubicBezTo>
                  <a:cubicBezTo>
                    <a:pt x="258" y="127"/>
                    <a:pt x="258" y="127"/>
                    <a:pt x="259" y="127"/>
                  </a:cubicBezTo>
                  <a:cubicBezTo>
                    <a:pt x="259" y="127"/>
                    <a:pt x="260" y="127"/>
                    <a:pt x="261" y="127"/>
                  </a:cubicBezTo>
                  <a:cubicBezTo>
                    <a:pt x="262" y="128"/>
                    <a:pt x="262" y="128"/>
                    <a:pt x="263" y="129"/>
                  </a:cubicBezTo>
                  <a:cubicBezTo>
                    <a:pt x="264" y="129"/>
                    <a:pt x="264" y="130"/>
                    <a:pt x="264" y="130"/>
                  </a:cubicBezTo>
                  <a:cubicBezTo>
                    <a:pt x="265" y="130"/>
                    <a:pt x="265" y="130"/>
                    <a:pt x="265" y="130"/>
                  </a:cubicBezTo>
                  <a:cubicBezTo>
                    <a:pt x="266" y="130"/>
                    <a:pt x="266" y="130"/>
                    <a:pt x="266" y="130"/>
                  </a:cubicBezTo>
                  <a:cubicBezTo>
                    <a:pt x="266" y="130"/>
                    <a:pt x="266" y="130"/>
                    <a:pt x="266" y="130"/>
                  </a:cubicBezTo>
                  <a:cubicBezTo>
                    <a:pt x="267" y="130"/>
                    <a:pt x="267" y="130"/>
                    <a:pt x="267" y="130"/>
                  </a:cubicBezTo>
                  <a:cubicBezTo>
                    <a:pt x="268" y="130"/>
                    <a:pt x="269" y="130"/>
                    <a:pt x="270" y="130"/>
                  </a:cubicBezTo>
                  <a:cubicBezTo>
                    <a:pt x="271" y="130"/>
                    <a:pt x="272" y="130"/>
                    <a:pt x="273" y="130"/>
                  </a:cubicBezTo>
                  <a:cubicBezTo>
                    <a:pt x="274" y="130"/>
                    <a:pt x="276" y="131"/>
                    <a:pt x="277" y="132"/>
                  </a:cubicBezTo>
                  <a:cubicBezTo>
                    <a:pt x="278" y="132"/>
                    <a:pt x="279" y="133"/>
                    <a:pt x="280" y="133"/>
                  </a:cubicBezTo>
                  <a:cubicBezTo>
                    <a:pt x="280" y="133"/>
                    <a:pt x="280" y="133"/>
                    <a:pt x="280" y="133"/>
                  </a:cubicBezTo>
                  <a:cubicBezTo>
                    <a:pt x="280" y="133"/>
                    <a:pt x="280" y="133"/>
                    <a:pt x="280" y="133"/>
                  </a:cubicBezTo>
                  <a:cubicBezTo>
                    <a:pt x="280" y="134"/>
                    <a:pt x="280" y="134"/>
                    <a:pt x="280" y="134"/>
                  </a:cubicBezTo>
                  <a:cubicBezTo>
                    <a:pt x="281" y="133"/>
                    <a:pt x="281" y="133"/>
                    <a:pt x="281" y="133"/>
                  </a:cubicBezTo>
                  <a:cubicBezTo>
                    <a:pt x="281" y="133"/>
                    <a:pt x="281" y="133"/>
                    <a:pt x="281" y="133"/>
                  </a:cubicBezTo>
                  <a:cubicBezTo>
                    <a:pt x="282" y="133"/>
                    <a:pt x="282" y="133"/>
                    <a:pt x="282" y="133"/>
                  </a:cubicBezTo>
                  <a:cubicBezTo>
                    <a:pt x="283" y="133"/>
                    <a:pt x="284" y="133"/>
                    <a:pt x="284" y="133"/>
                  </a:cubicBezTo>
                  <a:cubicBezTo>
                    <a:pt x="285" y="133"/>
                    <a:pt x="285" y="133"/>
                    <a:pt x="285" y="133"/>
                  </a:cubicBezTo>
                  <a:cubicBezTo>
                    <a:pt x="286" y="132"/>
                    <a:pt x="286" y="132"/>
                    <a:pt x="286" y="132"/>
                  </a:cubicBezTo>
                  <a:cubicBezTo>
                    <a:pt x="288" y="131"/>
                    <a:pt x="291" y="130"/>
                    <a:pt x="293" y="130"/>
                  </a:cubicBezTo>
                  <a:cubicBezTo>
                    <a:pt x="294" y="130"/>
                    <a:pt x="295" y="130"/>
                    <a:pt x="296" y="131"/>
                  </a:cubicBezTo>
                  <a:cubicBezTo>
                    <a:pt x="297" y="131"/>
                    <a:pt x="297" y="131"/>
                    <a:pt x="297" y="131"/>
                  </a:cubicBezTo>
                  <a:cubicBezTo>
                    <a:pt x="296" y="130"/>
                    <a:pt x="296" y="129"/>
                    <a:pt x="296" y="128"/>
                  </a:cubicBezTo>
                  <a:cubicBezTo>
                    <a:pt x="296" y="127"/>
                    <a:pt x="295" y="127"/>
                    <a:pt x="295" y="126"/>
                  </a:cubicBezTo>
                  <a:cubicBezTo>
                    <a:pt x="295" y="125"/>
                    <a:pt x="295" y="125"/>
                    <a:pt x="295" y="125"/>
                  </a:cubicBezTo>
                  <a:cubicBezTo>
                    <a:pt x="294" y="123"/>
                    <a:pt x="291" y="121"/>
                    <a:pt x="289" y="120"/>
                  </a:cubicBezTo>
                  <a:cubicBezTo>
                    <a:pt x="287" y="119"/>
                    <a:pt x="285" y="117"/>
                    <a:pt x="283" y="117"/>
                  </a:cubicBezTo>
                  <a:cubicBezTo>
                    <a:pt x="281" y="116"/>
                    <a:pt x="281" y="116"/>
                    <a:pt x="281" y="116"/>
                  </a:cubicBezTo>
                  <a:cubicBezTo>
                    <a:pt x="280" y="116"/>
                    <a:pt x="279" y="115"/>
                    <a:pt x="277" y="114"/>
                  </a:cubicBezTo>
                  <a:cubicBezTo>
                    <a:pt x="277" y="113"/>
                    <a:pt x="277" y="113"/>
                    <a:pt x="277" y="113"/>
                  </a:cubicBezTo>
                  <a:cubicBezTo>
                    <a:pt x="276" y="113"/>
                    <a:pt x="276" y="113"/>
                    <a:pt x="276" y="113"/>
                  </a:cubicBezTo>
                  <a:cubicBezTo>
                    <a:pt x="276" y="113"/>
                    <a:pt x="276" y="113"/>
                    <a:pt x="276" y="113"/>
                  </a:cubicBezTo>
                  <a:cubicBezTo>
                    <a:pt x="275" y="112"/>
                    <a:pt x="275" y="111"/>
                    <a:pt x="274" y="110"/>
                  </a:cubicBezTo>
                  <a:cubicBezTo>
                    <a:pt x="274" y="110"/>
                    <a:pt x="274" y="110"/>
                    <a:pt x="274" y="109"/>
                  </a:cubicBezTo>
                  <a:cubicBezTo>
                    <a:pt x="274" y="109"/>
                    <a:pt x="273" y="108"/>
                    <a:pt x="273" y="107"/>
                  </a:cubicBezTo>
                  <a:cubicBezTo>
                    <a:pt x="272" y="106"/>
                    <a:pt x="272" y="104"/>
                    <a:pt x="272" y="103"/>
                  </a:cubicBezTo>
                  <a:cubicBezTo>
                    <a:pt x="273" y="102"/>
                    <a:pt x="273" y="102"/>
                    <a:pt x="273" y="101"/>
                  </a:cubicBezTo>
                  <a:cubicBezTo>
                    <a:pt x="274" y="100"/>
                    <a:pt x="274" y="100"/>
                    <a:pt x="274" y="100"/>
                  </a:cubicBezTo>
                  <a:cubicBezTo>
                    <a:pt x="274" y="100"/>
                    <a:pt x="274" y="100"/>
                    <a:pt x="274" y="100"/>
                  </a:cubicBezTo>
                  <a:cubicBezTo>
                    <a:pt x="252" y="81"/>
                    <a:pt x="252" y="81"/>
                    <a:pt x="252" y="81"/>
                  </a:cubicBezTo>
                  <a:cubicBezTo>
                    <a:pt x="251" y="79"/>
                    <a:pt x="249" y="78"/>
                    <a:pt x="249" y="76"/>
                  </a:cubicBezTo>
                  <a:cubicBezTo>
                    <a:pt x="248" y="75"/>
                    <a:pt x="248" y="74"/>
                    <a:pt x="248" y="73"/>
                  </a:cubicBezTo>
                  <a:cubicBezTo>
                    <a:pt x="248" y="73"/>
                    <a:pt x="248" y="73"/>
                    <a:pt x="248" y="73"/>
                  </a:cubicBezTo>
                  <a:cubicBezTo>
                    <a:pt x="248" y="73"/>
                    <a:pt x="248" y="73"/>
                    <a:pt x="248" y="73"/>
                  </a:cubicBezTo>
                  <a:cubicBezTo>
                    <a:pt x="248" y="72"/>
                    <a:pt x="248" y="72"/>
                    <a:pt x="248" y="72"/>
                  </a:cubicBezTo>
                  <a:cubicBezTo>
                    <a:pt x="247" y="71"/>
                    <a:pt x="247" y="71"/>
                    <a:pt x="247" y="71"/>
                  </a:cubicBezTo>
                  <a:cubicBezTo>
                    <a:pt x="247" y="71"/>
                    <a:pt x="247" y="71"/>
                    <a:pt x="247" y="71"/>
                  </a:cubicBezTo>
                  <a:cubicBezTo>
                    <a:pt x="246" y="70"/>
                    <a:pt x="246" y="70"/>
                    <a:pt x="246" y="70"/>
                  </a:cubicBezTo>
                  <a:cubicBezTo>
                    <a:pt x="244" y="68"/>
                    <a:pt x="241" y="66"/>
                    <a:pt x="240" y="66"/>
                  </a:cubicBezTo>
                  <a:cubicBezTo>
                    <a:pt x="238" y="65"/>
                    <a:pt x="236" y="65"/>
                    <a:pt x="234" y="65"/>
                  </a:cubicBezTo>
                  <a:cubicBezTo>
                    <a:pt x="231" y="64"/>
                    <a:pt x="231" y="64"/>
                    <a:pt x="231" y="64"/>
                  </a:cubicBezTo>
                  <a:cubicBezTo>
                    <a:pt x="228" y="63"/>
                    <a:pt x="226" y="63"/>
                    <a:pt x="225" y="61"/>
                  </a:cubicBezTo>
                  <a:cubicBezTo>
                    <a:pt x="224" y="60"/>
                    <a:pt x="224" y="59"/>
                    <a:pt x="223" y="57"/>
                  </a:cubicBezTo>
                  <a:cubicBezTo>
                    <a:pt x="223" y="56"/>
                    <a:pt x="223" y="56"/>
                    <a:pt x="223" y="55"/>
                  </a:cubicBezTo>
                  <a:cubicBezTo>
                    <a:pt x="223" y="54"/>
                    <a:pt x="223" y="53"/>
                    <a:pt x="223" y="53"/>
                  </a:cubicBezTo>
                  <a:cubicBezTo>
                    <a:pt x="222" y="53"/>
                    <a:pt x="222" y="53"/>
                    <a:pt x="222" y="53"/>
                  </a:cubicBezTo>
                  <a:cubicBezTo>
                    <a:pt x="219" y="53"/>
                    <a:pt x="219" y="53"/>
                    <a:pt x="219" y="53"/>
                  </a:cubicBezTo>
                  <a:cubicBezTo>
                    <a:pt x="218" y="53"/>
                    <a:pt x="218" y="53"/>
                    <a:pt x="217" y="53"/>
                  </a:cubicBezTo>
                  <a:cubicBezTo>
                    <a:pt x="217" y="53"/>
                    <a:pt x="216" y="53"/>
                    <a:pt x="215" y="53"/>
                  </a:cubicBezTo>
                  <a:cubicBezTo>
                    <a:pt x="215" y="53"/>
                    <a:pt x="215" y="53"/>
                    <a:pt x="215" y="53"/>
                  </a:cubicBezTo>
                  <a:cubicBezTo>
                    <a:pt x="214" y="52"/>
                    <a:pt x="214" y="52"/>
                    <a:pt x="213" y="52"/>
                  </a:cubicBezTo>
                  <a:cubicBezTo>
                    <a:pt x="213" y="52"/>
                    <a:pt x="213" y="52"/>
                    <a:pt x="212" y="53"/>
                  </a:cubicBezTo>
                  <a:cubicBezTo>
                    <a:pt x="212" y="53"/>
                    <a:pt x="212" y="53"/>
                    <a:pt x="212" y="53"/>
                  </a:cubicBezTo>
                  <a:cubicBezTo>
                    <a:pt x="212" y="53"/>
                    <a:pt x="212" y="53"/>
                    <a:pt x="212" y="53"/>
                  </a:cubicBezTo>
                  <a:cubicBezTo>
                    <a:pt x="209" y="54"/>
                    <a:pt x="209" y="54"/>
                    <a:pt x="209" y="54"/>
                  </a:cubicBezTo>
                  <a:cubicBezTo>
                    <a:pt x="208" y="51"/>
                    <a:pt x="208" y="51"/>
                    <a:pt x="208" y="51"/>
                  </a:cubicBezTo>
                  <a:cubicBezTo>
                    <a:pt x="207" y="49"/>
                    <a:pt x="207" y="48"/>
                    <a:pt x="206" y="46"/>
                  </a:cubicBezTo>
                  <a:cubicBezTo>
                    <a:pt x="206" y="43"/>
                    <a:pt x="206" y="43"/>
                    <a:pt x="206" y="43"/>
                  </a:cubicBezTo>
                  <a:cubicBezTo>
                    <a:pt x="206" y="40"/>
                    <a:pt x="206" y="40"/>
                    <a:pt x="208" y="37"/>
                  </a:cubicBezTo>
                  <a:cubicBezTo>
                    <a:pt x="208" y="37"/>
                    <a:pt x="209" y="37"/>
                    <a:pt x="209" y="36"/>
                  </a:cubicBezTo>
                  <a:cubicBezTo>
                    <a:pt x="209" y="36"/>
                    <a:pt x="209" y="36"/>
                    <a:pt x="209" y="36"/>
                  </a:cubicBezTo>
                  <a:cubicBezTo>
                    <a:pt x="210" y="36"/>
                    <a:pt x="210" y="36"/>
                    <a:pt x="210" y="36"/>
                  </a:cubicBezTo>
                  <a:cubicBezTo>
                    <a:pt x="210" y="35"/>
                    <a:pt x="210" y="34"/>
                    <a:pt x="210" y="33"/>
                  </a:cubicBezTo>
                  <a:cubicBezTo>
                    <a:pt x="210" y="32"/>
                    <a:pt x="210" y="30"/>
                    <a:pt x="210" y="29"/>
                  </a:cubicBezTo>
                  <a:cubicBezTo>
                    <a:pt x="210" y="29"/>
                    <a:pt x="210" y="29"/>
                    <a:pt x="210" y="29"/>
                  </a:cubicBezTo>
                  <a:cubicBezTo>
                    <a:pt x="211" y="28"/>
                    <a:pt x="211" y="27"/>
                    <a:pt x="211" y="26"/>
                  </a:cubicBezTo>
                  <a:cubicBezTo>
                    <a:pt x="211" y="23"/>
                    <a:pt x="208" y="19"/>
                    <a:pt x="207" y="18"/>
                  </a:cubicBezTo>
                  <a:cubicBezTo>
                    <a:pt x="206" y="16"/>
                    <a:pt x="204" y="15"/>
                    <a:pt x="203" y="13"/>
                  </a:cubicBezTo>
                  <a:cubicBezTo>
                    <a:pt x="202" y="12"/>
                    <a:pt x="202" y="12"/>
                    <a:pt x="202" y="12"/>
                  </a:cubicBezTo>
                  <a:cubicBezTo>
                    <a:pt x="201" y="11"/>
                    <a:pt x="199" y="9"/>
                    <a:pt x="198" y="7"/>
                  </a:cubicBezTo>
                  <a:cubicBezTo>
                    <a:pt x="193" y="0"/>
                    <a:pt x="193" y="0"/>
                    <a:pt x="193" y="0"/>
                  </a:cubicBezTo>
                  <a:cubicBezTo>
                    <a:pt x="190" y="0"/>
                    <a:pt x="190" y="0"/>
                    <a:pt x="190" y="0"/>
                  </a:cubicBezTo>
                  <a:cubicBezTo>
                    <a:pt x="189" y="0"/>
                    <a:pt x="189" y="0"/>
                    <a:pt x="188" y="0"/>
                  </a:cubicBezTo>
                  <a:cubicBezTo>
                    <a:pt x="186" y="0"/>
                    <a:pt x="184" y="0"/>
                    <a:pt x="1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218">
              <a:extLst>
                <a:ext uri="{FF2B5EF4-FFF2-40B4-BE49-F238E27FC236}">
                  <a16:creationId xmlns:a16="http://schemas.microsoft.com/office/drawing/2014/main" id="{5D92B099-0652-4573-824F-C2D57861A3E5}"/>
                </a:ext>
              </a:extLst>
            </p:cNvPr>
            <p:cNvSpPr>
              <a:spLocks/>
            </p:cNvSpPr>
            <p:nvPr/>
          </p:nvSpPr>
          <p:spPr bwMode="auto">
            <a:xfrm>
              <a:off x="4287" y="2556"/>
              <a:ext cx="409" cy="471"/>
            </a:xfrm>
            <a:custGeom>
              <a:avLst/>
              <a:gdLst>
                <a:gd name="T0" fmla="*/ 134 w 173"/>
                <a:gd name="T1" fmla="*/ 2 h 199"/>
                <a:gd name="T2" fmla="*/ 128 w 173"/>
                <a:gd name="T3" fmla="*/ 5 h 199"/>
                <a:gd name="T4" fmla="*/ 125 w 173"/>
                <a:gd name="T5" fmla="*/ 18 h 199"/>
                <a:gd name="T6" fmla="*/ 116 w 173"/>
                <a:gd name="T7" fmla="*/ 38 h 199"/>
                <a:gd name="T8" fmla="*/ 110 w 173"/>
                <a:gd name="T9" fmla="*/ 46 h 199"/>
                <a:gd name="T10" fmla="*/ 103 w 173"/>
                <a:gd name="T11" fmla="*/ 41 h 199"/>
                <a:gd name="T12" fmla="*/ 94 w 173"/>
                <a:gd name="T13" fmla="*/ 40 h 199"/>
                <a:gd name="T14" fmla="*/ 84 w 173"/>
                <a:gd name="T15" fmla="*/ 38 h 199"/>
                <a:gd name="T16" fmla="*/ 72 w 173"/>
                <a:gd name="T17" fmla="*/ 35 h 199"/>
                <a:gd name="T18" fmla="*/ 51 w 173"/>
                <a:gd name="T19" fmla="*/ 36 h 199"/>
                <a:gd name="T20" fmla="*/ 48 w 173"/>
                <a:gd name="T21" fmla="*/ 40 h 199"/>
                <a:gd name="T22" fmla="*/ 57 w 173"/>
                <a:gd name="T23" fmla="*/ 48 h 199"/>
                <a:gd name="T24" fmla="*/ 62 w 173"/>
                <a:gd name="T25" fmla="*/ 47 h 199"/>
                <a:gd name="T26" fmla="*/ 68 w 173"/>
                <a:gd name="T27" fmla="*/ 48 h 199"/>
                <a:gd name="T28" fmla="*/ 77 w 173"/>
                <a:gd name="T29" fmla="*/ 66 h 199"/>
                <a:gd name="T30" fmla="*/ 68 w 173"/>
                <a:gd name="T31" fmla="*/ 79 h 199"/>
                <a:gd name="T32" fmla="*/ 65 w 173"/>
                <a:gd name="T33" fmla="*/ 88 h 199"/>
                <a:gd name="T34" fmla="*/ 79 w 173"/>
                <a:gd name="T35" fmla="*/ 104 h 199"/>
                <a:gd name="T36" fmla="*/ 78 w 173"/>
                <a:gd name="T37" fmla="*/ 109 h 199"/>
                <a:gd name="T38" fmla="*/ 79 w 173"/>
                <a:gd name="T39" fmla="*/ 117 h 199"/>
                <a:gd name="T40" fmla="*/ 74 w 173"/>
                <a:gd name="T41" fmla="*/ 134 h 199"/>
                <a:gd name="T42" fmla="*/ 63 w 173"/>
                <a:gd name="T43" fmla="*/ 145 h 199"/>
                <a:gd name="T44" fmla="*/ 59 w 173"/>
                <a:gd name="T45" fmla="*/ 139 h 199"/>
                <a:gd name="T46" fmla="*/ 45 w 173"/>
                <a:gd name="T47" fmla="*/ 142 h 199"/>
                <a:gd name="T48" fmla="*/ 35 w 173"/>
                <a:gd name="T49" fmla="*/ 134 h 199"/>
                <a:gd name="T50" fmla="*/ 33 w 173"/>
                <a:gd name="T51" fmla="*/ 131 h 199"/>
                <a:gd name="T52" fmla="*/ 27 w 173"/>
                <a:gd name="T53" fmla="*/ 140 h 199"/>
                <a:gd name="T54" fmla="*/ 17 w 173"/>
                <a:gd name="T55" fmla="*/ 142 h 199"/>
                <a:gd name="T56" fmla="*/ 15 w 173"/>
                <a:gd name="T57" fmla="*/ 142 h 199"/>
                <a:gd name="T58" fmla="*/ 11 w 173"/>
                <a:gd name="T59" fmla="*/ 146 h 199"/>
                <a:gd name="T60" fmla="*/ 15 w 173"/>
                <a:gd name="T61" fmla="*/ 153 h 199"/>
                <a:gd name="T62" fmla="*/ 15 w 173"/>
                <a:gd name="T63" fmla="*/ 157 h 199"/>
                <a:gd name="T64" fmla="*/ 20 w 173"/>
                <a:gd name="T65" fmla="*/ 162 h 199"/>
                <a:gd name="T66" fmla="*/ 18 w 173"/>
                <a:gd name="T67" fmla="*/ 165 h 199"/>
                <a:gd name="T68" fmla="*/ 18 w 173"/>
                <a:gd name="T69" fmla="*/ 170 h 199"/>
                <a:gd name="T70" fmla="*/ 9 w 173"/>
                <a:gd name="T71" fmla="*/ 172 h 199"/>
                <a:gd name="T72" fmla="*/ 6 w 173"/>
                <a:gd name="T73" fmla="*/ 170 h 199"/>
                <a:gd name="T74" fmla="*/ 0 w 173"/>
                <a:gd name="T75" fmla="*/ 177 h 199"/>
                <a:gd name="T76" fmla="*/ 17 w 173"/>
                <a:gd name="T77" fmla="*/ 199 h 199"/>
                <a:gd name="T78" fmla="*/ 27 w 173"/>
                <a:gd name="T79" fmla="*/ 191 h 199"/>
                <a:gd name="T80" fmla="*/ 34 w 173"/>
                <a:gd name="T81" fmla="*/ 185 h 199"/>
                <a:gd name="T82" fmla="*/ 48 w 173"/>
                <a:gd name="T83" fmla="*/ 192 h 199"/>
                <a:gd name="T84" fmla="*/ 50 w 173"/>
                <a:gd name="T85" fmla="*/ 194 h 199"/>
                <a:gd name="T86" fmla="*/ 55 w 173"/>
                <a:gd name="T87" fmla="*/ 190 h 199"/>
                <a:gd name="T88" fmla="*/ 60 w 173"/>
                <a:gd name="T89" fmla="*/ 186 h 199"/>
                <a:gd name="T90" fmla="*/ 68 w 173"/>
                <a:gd name="T91" fmla="*/ 184 h 199"/>
                <a:gd name="T92" fmla="*/ 77 w 173"/>
                <a:gd name="T93" fmla="*/ 184 h 199"/>
                <a:gd name="T94" fmla="*/ 77 w 173"/>
                <a:gd name="T95" fmla="*/ 196 h 199"/>
                <a:gd name="T96" fmla="*/ 83 w 173"/>
                <a:gd name="T97" fmla="*/ 193 h 199"/>
                <a:gd name="T98" fmla="*/ 107 w 173"/>
                <a:gd name="T99" fmla="*/ 173 h 199"/>
                <a:gd name="T100" fmla="*/ 114 w 173"/>
                <a:gd name="T101" fmla="*/ 161 h 199"/>
                <a:gd name="T102" fmla="*/ 114 w 173"/>
                <a:gd name="T103" fmla="*/ 158 h 199"/>
                <a:gd name="T104" fmla="*/ 113 w 173"/>
                <a:gd name="T105" fmla="*/ 154 h 199"/>
                <a:gd name="T106" fmla="*/ 113 w 173"/>
                <a:gd name="T107" fmla="*/ 135 h 199"/>
                <a:gd name="T108" fmla="*/ 127 w 173"/>
                <a:gd name="T109" fmla="*/ 115 h 199"/>
                <a:gd name="T110" fmla="*/ 137 w 173"/>
                <a:gd name="T111" fmla="*/ 106 h 199"/>
                <a:gd name="T112" fmla="*/ 144 w 173"/>
                <a:gd name="T113" fmla="*/ 101 h 199"/>
                <a:gd name="T114" fmla="*/ 153 w 173"/>
                <a:gd name="T115" fmla="*/ 69 h 199"/>
                <a:gd name="T116" fmla="*/ 153 w 173"/>
                <a:gd name="T117" fmla="*/ 56 h 199"/>
                <a:gd name="T118" fmla="*/ 158 w 173"/>
                <a:gd name="T119" fmla="*/ 36 h 199"/>
                <a:gd name="T120" fmla="*/ 156 w 173"/>
                <a:gd name="T121" fmla="*/ 21 h 199"/>
                <a:gd name="T122" fmla="*/ 169 w 173"/>
                <a:gd name="T123" fmla="*/ 1 h 199"/>
                <a:gd name="T124" fmla="*/ 154 w 173"/>
                <a:gd name="T125"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99">
                  <a:moveTo>
                    <a:pt x="150" y="0"/>
                  </a:moveTo>
                  <a:cubicBezTo>
                    <a:pt x="146" y="0"/>
                    <a:pt x="143" y="0"/>
                    <a:pt x="140" y="1"/>
                  </a:cubicBezTo>
                  <a:cubicBezTo>
                    <a:pt x="139" y="1"/>
                    <a:pt x="137" y="2"/>
                    <a:pt x="135" y="2"/>
                  </a:cubicBezTo>
                  <a:cubicBezTo>
                    <a:pt x="134" y="2"/>
                    <a:pt x="134" y="2"/>
                    <a:pt x="134" y="2"/>
                  </a:cubicBezTo>
                  <a:cubicBezTo>
                    <a:pt x="134" y="2"/>
                    <a:pt x="134" y="2"/>
                    <a:pt x="134" y="2"/>
                  </a:cubicBezTo>
                  <a:cubicBezTo>
                    <a:pt x="132" y="3"/>
                    <a:pt x="131" y="3"/>
                    <a:pt x="129" y="4"/>
                  </a:cubicBezTo>
                  <a:cubicBezTo>
                    <a:pt x="128" y="4"/>
                    <a:pt x="128" y="4"/>
                    <a:pt x="128" y="4"/>
                  </a:cubicBezTo>
                  <a:cubicBezTo>
                    <a:pt x="128" y="5"/>
                    <a:pt x="128" y="5"/>
                    <a:pt x="128" y="5"/>
                  </a:cubicBezTo>
                  <a:cubicBezTo>
                    <a:pt x="127" y="6"/>
                    <a:pt x="127" y="7"/>
                    <a:pt x="127" y="8"/>
                  </a:cubicBezTo>
                  <a:cubicBezTo>
                    <a:pt x="127" y="8"/>
                    <a:pt x="127" y="9"/>
                    <a:pt x="127" y="10"/>
                  </a:cubicBezTo>
                  <a:cubicBezTo>
                    <a:pt x="127" y="11"/>
                    <a:pt x="127" y="11"/>
                    <a:pt x="126" y="12"/>
                  </a:cubicBezTo>
                  <a:cubicBezTo>
                    <a:pt x="126" y="14"/>
                    <a:pt x="126" y="16"/>
                    <a:pt x="125" y="18"/>
                  </a:cubicBezTo>
                  <a:cubicBezTo>
                    <a:pt x="125" y="22"/>
                    <a:pt x="122" y="28"/>
                    <a:pt x="120" y="32"/>
                  </a:cubicBezTo>
                  <a:cubicBezTo>
                    <a:pt x="120" y="32"/>
                    <a:pt x="120" y="32"/>
                    <a:pt x="120" y="32"/>
                  </a:cubicBezTo>
                  <a:cubicBezTo>
                    <a:pt x="119" y="33"/>
                    <a:pt x="119" y="33"/>
                    <a:pt x="119" y="33"/>
                  </a:cubicBezTo>
                  <a:cubicBezTo>
                    <a:pt x="116" y="38"/>
                    <a:pt x="116" y="38"/>
                    <a:pt x="116" y="38"/>
                  </a:cubicBezTo>
                  <a:cubicBezTo>
                    <a:pt x="116" y="40"/>
                    <a:pt x="116" y="40"/>
                    <a:pt x="116" y="40"/>
                  </a:cubicBezTo>
                  <a:cubicBezTo>
                    <a:pt x="116" y="42"/>
                    <a:pt x="116" y="43"/>
                    <a:pt x="116" y="45"/>
                  </a:cubicBezTo>
                  <a:cubicBezTo>
                    <a:pt x="116" y="51"/>
                    <a:pt x="116" y="51"/>
                    <a:pt x="116" y="51"/>
                  </a:cubicBezTo>
                  <a:cubicBezTo>
                    <a:pt x="110" y="46"/>
                    <a:pt x="110" y="46"/>
                    <a:pt x="110" y="46"/>
                  </a:cubicBezTo>
                  <a:cubicBezTo>
                    <a:pt x="110" y="45"/>
                    <a:pt x="110" y="45"/>
                    <a:pt x="108" y="44"/>
                  </a:cubicBezTo>
                  <a:cubicBezTo>
                    <a:pt x="108" y="44"/>
                    <a:pt x="107" y="43"/>
                    <a:pt x="106" y="42"/>
                  </a:cubicBezTo>
                  <a:cubicBezTo>
                    <a:pt x="106" y="42"/>
                    <a:pt x="105" y="41"/>
                    <a:pt x="105" y="41"/>
                  </a:cubicBezTo>
                  <a:cubicBezTo>
                    <a:pt x="104" y="41"/>
                    <a:pt x="104" y="41"/>
                    <a:pt x="103" y="41"/>
                  </a:cubicBezTo>
                  <a:cubicBezTo>
                    <a:pt x="102" y="41"/>
                    <a:pt x="102" y="41"/>
                    <a:pt x="101" y="41"/>
                  </a:cubicBezTo>
                  <a:cubicBezTo>
                    <a:pt x="100" y="41"/>
                    <a:pt x="100" y="41"/>
                    <a:pt x="99" y="41"/>
                  </a:cubicBezTo>
                  <a:cubicBezTo>
                    <a:pt x="99" y="41"/>
                    <a:pt x="99" y="41"/>
                    <a:pt x="98" y="41"/>
                  </a:cubicBezTo>
                  <a:cubicBezTo>
                    <a:pt x="96" y="41"/>
                    <a:pt x="95" y="40"/>
                    <a:pt x="94" y="40"/>
                  </a:cubicBezTo>
                  <a:cubicBezTo>
                    <a:pt x="93" y="40"/>
                    <a:pt x="93" y="40"/>
                    <a:pt x="93" y="40"/>
                  </a:cubicBezTo>
                  <a:cubicBezTo>
                    <a:pt x="92" y="40"/>
                    <a:pt x="92" y="40"/>
                    <a:pt x="92" y="40"/>
                  </a:cubicBezTo>
                  <a:cubicBezTo>
                    <a:pt x="92" y="40"/>
                    <a:pt x="91" y="40"/>
                    <a:pt x="90" y="40"/>
                  </a:cubicBezTo>
                  <a:cubicBezTo>
                    <a:pt x="87" y="40"/>
                    <a:pt x="85" y="40"/>
                    <a:pt x="84" y="38"/>
                  </a:cubicBezTo>
                  <a:cubicBezTo>
                    <a:pt x="83" y="38"/>
                    <a:pt x="82" y="38"/>
                    <a:pt x="82" y="37"/>
                  </a:cubicBezTo>
                  <a:cubicBezTo>
                    <a:pt x="81" y="37"/>
                    <a:pt x="80" y="37"/>
                    <a:pt x="79" y="36"/>
                  </a:cubicBezTo>
                  <a:cubicBezTo>
                    <a:pt x="79" y="36"/>
                    <a:pt x="78" y="35"/>
                    <a:pt x="78" y="35"/>
                  </a:cubicBezTo>
                  <a:cubicBezTo>
                    <a:pt x="72" y="35"/>
                    <a:pt x="72" y="35"/>
                    <a:pt x="72" y="35"/>
                  </a:cubicBezTo>
                  <a:cubicBezTo>
                    <a:pt x="67" y="35"/>
                    <a:pt x="62" y="35"/>
                    <a:pt x="57" y="36"/>
                  </a:cubicBezTo>
                  <a:cubicBezTo>
                    <a:pt x="56" y="36"/>
                    <a:pt x="56" y="36"/>
                    <a:pt x="55" y="36"/>
                  </a:cubicBezTo>
                  <a:cubicBezTo>
                    <a:pt x="54" y="36"/>
                    <a:pt x="53" y="36"/>
                    <a:pt x="52" y="36"/>
                  </a:cubicBezTo>
                  <a:cubicBezTo>
                    <a:pt x="52" y="36"/>
                    <a:pt x="52" y="36"/>
                    <a:pt x="51" y="36"/>
                  </a:cubicBezTo>
                  <a:cubicBezTo>
                    <a:pt x="51" y="36"/>
                    <a:pt x="50" y="36"/>
                    <a:pt x="50" y="36"/>
                  </a:cubicBezTo>
                  <a:cubicBezTo>
                    <a:pt x="49" y="37"/>
                    <a:pt x="49" y="37"/>
                    <a:pt x="49" y="37"/>
                  </a:cubicBezTo>
                  <a:cubicBezTo>
                    <a:pt x="49" y="38"/>
                    <a:pt x="49" y="38"/>
                    <a:pt x="49" y="39"/>
                  </a:cubicBezTo>
                  <a:cubicBezTo>
                    <a:pt x="48" y="40"/>
                    <a:pt x="48" y="40"/>
                    <a:pt x="48" y="40"/>
                  </a:cubicBezTo>
                  <a:cubicBezTo>
                    <a:pt x="47" y="43"/>
                    <a:pt x="48" y="46"/>
                    <a:pt x="48" y="50"/>
                  </a:cubicBezTo>
                  <a:cubicBezTo>
                    <a:pt x="48" y="51"/>
                    <a:pt x="48" y="51"/>
                    <a:pt x="48" y="51"/>
                  </a:cubicBezTo>
                  <a:cubicBezTo>
                    <a:pt x="49" y="51"/>
                    <a:pt x="49" y="51"/>
                    <a:pt x="49" y="51"/>
                  </a:cubicBezTo>
                  <a:cubicBezTo>
                    <a:pt x="51" y="50"/>
                    <a:pt x="54" y="49"/>
                    <a:pt x="57" y="48"/>
                  </a:cubicBezTo>
                  <a:cubicBezTo>
                    <a:pt x="58" y="48"/>
                    <a:pt x="60" y="47"/>
                    <a:pt x="61" y="47"/>
                  </a:cubicBezTo>
                  <a:cubicBezTo>
                    <a:pt x="62" y="47"/>
                    <a:pt x="62" y="47"/>
                    <a:pt x="62" y="47"/>
                  </a:cubicBezTo>
                  <a:cubicBezTo>
                    <a:pt x="62" y="48"/>
                    <a:pt x="62" y="48"/>
                    <a:pt x="62" y="48"/>
                  </a:cubicBezTo>
                  <a:cubicBezTo>
                    <a:pt x="62" y="47"/>
                    <a:pt x="62" y="47"/>
                    <a:pt x="62" y="47"/>
                  </a:cubicBezTo>
                  <a:cubicBezTo>
                    <a:pt x="63" y="47"/>
                    <a:pt x="65" y="48"/>
                    <a:pt x="66" y="48"/>
                  </a:cubicBezTo>
                  <a:cubicBezTo>
                    <a:pt x="67" y="48"/>
                    <a:pt x="67" y="48"/>
                    <a:pt x="67" y="48"/>
                  </a:cubicBezTo>
                  <a:cubicBezTo>
                    <a:pt x="68" y="48"/>
                    <a:pt x="68" y="48"/>
                    <a:pt x="68" y="48"/>
                  </a:cubicBezTo>
                  <a:cubicBezTo>
                    <a:pt x="68" y="48"/>
                    <a:pt x="68" y="48"/>
                    <a:pt x="68" y="48"/>
                  </a:cubicBezTo>
                  <a:cubicBezTo>
                    <a:pt x="70" y="48"/>
                    <a:pt x="72" y="48"/>
                    <a:pt x="73" y="51"/>
                  </a:cubicBezTo>
                  <a:cubicBezTo>
                    <a:pt x="77" y="59"/>
                    <a:pt x="77" y="59"/>
                    <a:pt x="77" y="59"/>
                  </a:cubicBezTo>
                  <a:cubicBezTo>
                    <a:pt x="77" y="60"/>
                    <a:pt x="77" y="61"/>
                    <a:pt x="78" y="61"/>
                  </a:cubicBezTo>
                  <a:cubicBezTo>
                    <a:pt x="78" y="64"/>
                    <a:pt x="78" y="65"/>
                    <a:pt x="77" y="66"/>
                  </a:cubicBezTo>
                  <a:cubicBezTo>
                    <a:pt x="76" y="70"/>
                    <a:pt x="74" y="71"/>
                    <a:pt x="72" y="72"/>
                  </a:cubicBezTo>
                  <a:cubicBezTo>
                    <a:pt x="70" y="74"/>
                    <a:pt x="70" y="74"/>
                    <a:pt x="70" y="74"/>
                  </a:cubicBezTo>
                  <a:cubicBezTo>
                    <a:pt x="69" y="75"/>
                    <a:pt x="69" y="77"/>
                    <a:pt x="68" y="79"/>
                  </a:cubicBezTo>
                  <a:cubicBezTo>
                    <a:pt x="68" y="79"/>
                    <a:pt x="68" y="79"/>
                    <a:pt x="68" y="79"/>
                  </a:cubicBezTo>
                  <a:cubicBezTo>
                    <a:pt x="68" y="80"/>
                    <a:pt x="68" y="80"/>
                    <a:pt x="67" y="80"/>
                  </a:cubicBezTo>
                  <a:cubicBezTo>
                    <a:pt x="67" y="82"/>
                    <a:pt x="67" y="82"/>
                    <a:pt x="67" y="82"/>
                  </a:cubicBezTo>
                  <a:cubicBezTo>
                    <a:pt x="66" y="83"/>
                    <a:pt x="65" y="86"/>
                    <a:pt x="65" y="88"/>
                  </a:cubicBezTo>
                  <a:cubicBezTo>
                    <a:pt x="65" y="88"/>
                    <a:pt x="65" y="88"/>
                    <a:pt x="65" y="88"/>
                  </a:cubicBezTo>
                  <a:cubicBezTo>
                    <a:pt x="65" y="89"/>
                    <a:pt x="68" y="90"/>
                    <a:pt x="70" y="90"/>
                  </a:cubicBezTo>
                  <a:cubicBezTo>
                    <a:pt x="74" y="92"/>
                    <a:pt x="79" y="94"/>
                    <a:pt x="80" y="98"/>
                  </a:cubicBezTo>
                  <a:cubicBezTo>
                    <a:pt x="80" y="99"/>
                    <a:pt x="79" y="101"/>
                    <a:pt x="79" y="103"/>
                  </a:cubicBezTo>
                  <a:cubicBezTo>
                    <a:pt x="79" y="104"/>
                    <a:pt x="79" y="104"/>
                    <a:pt x="79" y="104"/>
                  </a:cubicBezTo>
                  <a:cubicBezTo>
                    <a:pt x="78" y="105"/>
                    <a:pt x="78" y="106"/>
                    <a:pt x="78" y="106"/>
                  </a:cubicBezTo>
                  <a:cubicBezTo>
                    <a:pt x="78" y="107"/>
                    <a:pt x="78" y="107"/>
                    <a:pt x="78" y="107"/>
                  </a:cubicBezTo>
                  <a:cubicBezTo>
                    <a:pt x="78" y="107"/>
                    <a:pt x="78" y="108"/>
                    <a:pt x="78" y="109"/>
                  </a:cubicBezTo>
                  <a:cubicBezTo>
                    <a:pt x="78" y="109"/>
                    <a:pt x="78" y="109"/>
                    <a:pt x="78" y="109"/>
                  </a:cubicBezTo>
                  <a:cubicBezTo>
                    <a:pt x="79" y="110"/>
                    <a:pt x="79" y="111"/>
                    <a:pt x="79" y="112"/>
                  </a:cubicBezTo>
                  <a:cubicBezTo>
                    <a:pt x="79" y="112"/>
                    <a:pt x="79" y="113"/>
                    <a:pt x="79" y="113"/>
                  </a:cubicBezTo>
                  <a:cubicBezTo>
                    <a:pt x="79" y="114"/>
                    <a:pt x="79" y="114"/>
                    <a:pt x="79" y="114"/>
                  </a:cubicBezTo>
                  <a:cubicBezTo>
                    <a:pt x="79" y="115"/>
                    <a:pt x="79" y="116"/>
                    <a:pt x="79" y="117"/>
                  </a:cubicBezTo>
                  <a:cubicBezTo>
                    <a:pt x="79" y="119"/>
                    <a:pt x="79" y="120"/>
                    <a:pt x="78" y="121"/>
                  </a:cubicBezTo>
                  <a:cubicBezTo>
                    <a:pt x="78" y="122"/>
                    <a:pt x="78" y="122"/>
                    <a:pt x="78" y="122"/>
                  </a:cubicBezTo>
                  <a:cubicBezTo>
                    <a:pt x="78" y="123"/>
                    <a:pt x="78" y="124"/>
                    <a:pt x="78" y="125"/>
                  </a:cubicBezTo>
                  <a:cubicBezTo>
                    <a:pt x="77" y="128"/>
                    <a:pt x="76" y="131"/>
                    <a:pt x="74" y="134"/>
                  </a:cubicBezTo>
                  <a:cubicBezTo>
                    <a:pt x="71" y="142"/>
                    <a:pt x="71" y="142"/>
                    <a:pt x="71" y="142"/>
                  </a:cubicBezTo>
                  <a:cubicBezTo>
                    <a:pt x="69" y="144"/>
                    <a:pt x="68" y="145"/>
                    <a:pt x="66" y="145"/>
                  </a:cubicBezTo>
                  <a:cubicBezTo>
                    <a:pt x="66" y="145"/>
                    <a:pt x="65" y="145"/>
                    <a:pt x="65" y="145"/>
                  </a:cubicBezTo>
                  <a:cubicBezTo>
                    <a:pt x="64" y="145"/>
                    <a:pt x="64" y="145"/>
                    <a:pt x="63" y="145"/>
                  </a:cubicBezTo>
                  <a:cubicBezTo>
                    <a:pt x="62" y="144"/>
                    <a:pt x="59" y="144"/>
                    <a:pt x="59" y="142"/>
                  </a:cubicBezTo>
                  <a:cubicBezTo>
                    <a:pt x="58" y="140"/>
                    <a:pt x="58" y="140"/>
                    <a:pt x="58" y="140"/>
                  </a:cubicBezTo>
                  <a:cubicBezTo>
                    <a:pt x="59" y="139"/>
                    <a:pt x="59" y="139"/>
                    <a:pt x="59" y="139"/>
                  </a:cubicBezTo>
                  <a:cubicBezTo>
                    <a:pt x="59" y="139"/>
                    <a:pt x="59" y="139"/>
                    <a:pt x="59" y="139"/>
                  </a:cubicBezTo>
                  <a:cubicBezTo>
                    <a:pt x="58" y="140"/>
                    <a:pt x="58" y="140"/>
                    <a:pt x="57" y="140"/>
                  </a:cubicBezTo>
                  <a:cubicBezTo>
                    <a:pt x="55" y="142"/>
                    <a:pt x="52" y="142"/>
                    <a:pt x="49" y="142"/>
                  </a:cubicBezTo>
                  <a:cubicBezTo>
                    <a:pt x="48" y="142"/>
                    <a:pt x="47" y="142"/>
                    <a:pt x="46" y="142"/>
                  </a:cubicBezTo>
                  <a:cubicBezTo>
                    <a:pt x="45" y="142"/>
                    <a:pt x="45" y="142"/>
                    <a:pt x="45" y="142"/>
                  </a:cubicBezTo>
                  <a:cubicBezTo>
                    <a:pt x="45" y="142"/>
                    <a:pt x="44" y="142"/>
                    <a:pt x="44" y="142"/>
                  </a:cubicBezTo>
                  <a:cubicBezTo>
                    <a:pt x="43" y="142"/>
                    <a:pt x="43" y="142"/>
                    <a:pt x="43" y="142"/>
                  </a:cubicBezTo>
                  <a:cubicBezTo>
                    <a:pt x="42" y="142"/>
                    <a:pt x="42" y="142"/>
                    <a:pt x="42" y="142"/>
                  </a:cubicBezTo>
                  <a:cubicBezTo>
                    <a:pt x="38" y="142"/>
                    <a:pt x="37" y="137"/>
                    <a:pt x="35" y="134"/>
                  </a:cubicBezTo>
                  <a:cubicBezTo>
                    <a:pt x="36" y="133"/>
                    <a:pt x="36" y="133"/>
                    <a:pt x="36" y="133"/>
                  </a:cubicBezTo>
                  <a:cubicBezTo>
                    <a:pt x="35" y="134"/>
                    <a:pt x="35" y="134"/>
                    <a:pt x="35" y="134"/>
                  </a:cubicBezTo>
                  <a:cubicBezTo>
                    <a:pt x="35" y="133"/>
                    <a:pt x="34" y="131"/>
                    <a:pt x="34" y="131"/>
                  </a:cubicBezTo>
                  <a:cubicBezTo>
                    <a:pt x="33" y="131"/>
                    <a:pt x="33" y="131"/>
                    <a:pt x="33" y="131"/>
                  </a:cubicBezTo>
                  <a:cubicBezTo>
                    <a:pt x="33" y="131"/>
                    <a:pt x="32" y="130"/>
                    <a:pt x="31" y="130"/>
                  </a:cubicBezTo>
                  <a:cubicBezTo>
                    <a:pt x="31" y="130"/>
                    <a:pt x="31" y="130"/>
                    <a:pt x="31" y="130"/>
                  </a:cubicBezTo>
                  <a:cubicBezTo>
                    <a:pt x="30" y="131"/>
                    <a:pt x="30" y="131"/>
                    <a:pt x="30" y="131"/>
                  </a:cubicBezTo>
                  <a:cubicBezTo>
                    <a:pt x="30" y="136"/>
                    <a:pt x="29" y="139"/>
                    <a:pt x="27" y="140"/>
                  </a:cubicBezTo>
                  <a:cubicBezTo>
                    <a:pt x="26" y="140"/>
                    <a:pt x="25" y="140"/>
                    <a:pt x="25" y="141"/>
                  </a:cubicBezTo>
                  <a:cubicBezTo>
                    <a:pt x="24" y="141"/>
                    <a:pt x="24" y="141"/>
                    <a:pt x="24" y="141"/>
                  </a:cubicBezTo>
                  <a:cubicBezTo>
                    <a:pt x="21" y="142"/>
                    <a:pt x="19" y="142"/>
                    <a:pt x="18" y="142"/>
                  </a:cubicBezTo>
                  <a:cubicBezTo>
                    <a:pt x="17" y="142"/>
                    <a:pt x="17" y="142"/>
                    <a:pt x="17" y="142"/>
                  </a:cubicBezTo>
                  <a:cubicBezTo>
                    <a:pt x="16" y="142"/>
                    <a:pt x="16" y="142"/>
                    <a:pt x="16" y="142"/>
                  </a:cubicBezTo>
                  <a:cubicBezTo>
                    <a:pt x="16" y="142"/>
                    <a:pt x="16" y="142"/>
                    <a:pt x="16" y="142"/>
                  </a:cubicBezTo>
                  <a:cubicBezTo>
                    <a:pt x="16" y="142"/>
                    <a:pt x="16" y="142"/>
                    <a:pt x="16" y="142"/>
                  </a:cubicBezTo>
                  <a:cubicBezTo>
                    <a:pt x="15" y="142"/>
                    <a:pt x="15" y="142"/>
                    <a:pt x="15" y="142"/>
                  </a:cubicBezTo>
                  <a:cubicBezTo>
                    <a:pt x="14" y="142"/>
                    <a:pt x="13" y="143"/>
                    <a:pt x="12" y="143"/>
                  </a:cubicBezTo>
                  <a:cubicBezTo>
                    <a:pt x="12" y="143"/>
                    <a:pt x="11" y="143"/>
                    <a:pt x="11" y="143"/>
                  </a:cubicBezTo>
                  <a:cubicBezTo>
                    <a:pt x="11" y="143"/>
                    <a:pt x="12" y="144"/>
                    <a:pt x="12" y="145"/>
                  </a:cubicBezTo>
                  <a:cubicBezTo>
                    <a:pt x="12" y="145"/>
                    <a:pt x="11" y="146"/>
                    <a:pt x="11" y="146"/>
                  </a:cubicBezTo>
                  <a:cubicBezTo>
                    <a:pt x="11" y="147"/>
                    <a:pt x="11" y="147"/>
                    <a:pt x="11" y="148"/>
                  </a:cubicBezTo>
                  <a:cubicBezTo>
                    <a:pt x="10" y="149"/>
                    <a:pt x="10" y="149"/>
                    <a:pt x="10" y="149"/>
                  </a:cubicBezTo>
                  <a:cubicBezTo>
                    <a:pt x="12" y="150"/>
                    <a:pt x="12" y="150"/>
                    <a:pt x="12" y="150"/>
                  </a:cubicBezTo>
                  <a:cubicBezTo>
                    <a:pt x="13" y="151"/>
                    <a:pt x="14" y="151"/>
                    <a:pt x="15" y="153"/>
                  </a:cubicBezTo>
                  <a:cubicBezTo>
                    <a:pt x="17" y="155"/>
                    <a:pt x="17" y="155"/>
                    <a:pt x="17" y="155"/>
                  </a:cubicBezTo>
                  <a:cubicBezTo>
                    <a:pt x="15" y="157"/>
                    <a:pt x="15" y="157"/>
                    <a:pt x="15" y="157"/>
                  </a:cubicBezTo>
                  <a:cubicBezTo>
                    <a:pt x="14" y="157"/>
                    <a:pt x="14" y="157"/>
                    <a:pt x="14" y="157"/>
                  </a:cubicBezTo>
                  <a:cubicBezTo>
                    <a:pt x="15" y="157"/>
                    <a:pt x="15" y="157"/>
                    <a:pt x="15" y="157"/>
                  </a:cubicBezTo>
                  <a:cubicBezTo>
                    <a:pt x="15" y="157"/>
                    <a:pt x="15" y="157"/>
                    <a:pt x="15" y="157"/>
                  </a:cubicBezTo>
                  <a:cubicBezTo>
                    <a:pt x="17" y="158"/>
                    <a:pt x="17" y="159"/>
                    <a:pt x="18" y="159"/>
                  </a:cubicBezTo>
                  <a:cubicBezTo>
                    <a:pt x="19" y="160"/>
                    <a:pt x="19" y="160"/>
                    <a:pt x="19" y="160"/>
                  </a:cubicBezTo>
                  <a:cubicBezTo>
                    <a:pt x="19" y="161"/>
                    <a:pt x="20" y="161"/>
                    <a:pt x="20" y="162"/>
                  </a:cubicBezTo>
                  <a:cubicBezTo>
                    <a:pt x="20" y="164"/>
                    <a:pt x="20" y="164"/>
                    <a:pt x="20" y="164"/>
                  </a:cubicBezTo>
                  <a:cubicBezTo>
                    <a:pt x="18" y="165"/>
                    <a:pt x="18" y="165"/>
                    <a:pt x="18" y="165"/>
                  </a:cubicBezTo>
                  <a:cubicBezTo>
                    <a:pt x="18" y="165"/>
                    <a:pt x="18" y="165"/>
                    <a:pt x="18" y="165"/>
                  </a:cubicBezTo>
                  <a:cubicBezTo>
                    <a:pt x="18" y="165"/>
                    <a:pt x="18" y="165"/>
                    <a:pt x="18" y="165"/>
                  </a:cubicBezTo>
                  <a:cubicBezTo>
                    <a:pt x="18" y="166"/>
                    <a:pt x="18" y="166"/>
                    <a:pt x="18" y="166"/>
                  </a:cubicBezTo>
                  <a:cubicBezTo>
                    <a:pt x="18" y="166"/>
                    <a:pt x="18" y="166"/>
                    <a:pt x="18" y="166"/>
                  </a:cubicBezTo>
                  <a:cubicBezTo>
                    <a:pt x="18" y="167"/>
                    <a:pt x="18" y="168"/>
                    <a:pt x="18" y="169"/>
                  </a:cubicBezTo>
                  <a:cubicBezTo>
                    <a:pt x="18" y="170"/>
                    <a:pt x="18" y="170"/>
                    <a:pt x="18" y="170"/>
                  </a:cubicBezTo>
                  <a:cubicBezTo>
                    <a:pt x="18" y="171"/>
                    <a:pt x="18" y="171"/>
                    <a:pt x="18" y="171"/>
                  </a:cubicBezTo>
                  <a:cubicBezTo>
                    <a:pt x="17" y="172"/>
                    <a:pt x="16" y="173"/>
                    <a:pt x="15" y="173"/>
                  </a:cubicBezTo>
                  <a:cubicBezTo>
                    <a:pt x="15" y="173"/>
                    <a:pt x="15" y="173"/>
                    <a:pt x="14" y="173"/>
                  </a:cubicBezTo>
                  <a:cubicBezTo>
                    <a:pt x="12" y="173"/>
                    <a:pt x="11" y="172"/>
                    <a:pt x="9" y="172"/>
                  </a:cubicBezTo>
                  <a:cubicBezTo>
                    <a:pt x="9" y="171"/>
                    <a:pt x="9" y="171"/>
                    <a:pt x="9" y="171"/>
                  </a:cubicBezTo>
                  <a:cubicBezTo>
                    <a:pt x="9" y="171"/>
                    <a:pt x="8" y="171"/>
                    <a:pt x="8" y="171"/>
                  </a:cubicBezTo>
                  <a:cubicBezTo>
                    <a:pt x="7" y="170"/>
                    <a:pt x="7" y="170"/>
                    <a:pt x="6" y="169"/>
                  </a:cubicBezTo>
                  <a:cubicBezTo>
                    <a:pt x="6" y="170"/>
                    <a:pt x="6" y="170"/>
                    <a:pt x="6" y="170"/>
                  </a:cubicBezTo>
                  <a:cubicBezTo>
                    <a:pt x="5" y="170"/>
                    <a:pt x="5" y="170"/>
                    <a:pt x="5" y="170"/>
                  </a:cubicBezTo>
                  <a:cubicBezTo>
                    <a:pt x="4" y="171"/>
                    <a:pt x="4" y="171"/>
                    <a:pt x="4" y="171"/>
                  </a:cubicBezTo>
                  <a:cubicBezTo>
                    <a:pt x="3" y="171"/>
                    <a:pt x="2" y="172"/>
                    <a:pt x="2" y="172"/>
                  </a:cubicBezTo>
                  <a:cubicBezTo>
                    <a:pt x="1" y="173"/>
                    <a:pt x="1" y="175"/>
                    <a:pt x="0" y="177"/>
                  </a:cubicBezTo>
                  <a:cubicBezTo>
                    <a:pt x="0" y="178"/>
                    <a:pt x="0" y="178"/>
                    <a:pt x="0" y="178"/>
                  </a:cubicBezTo>
                  <a:cubicBezTo>
                    <a:pt x="1" y="179"/>
                    <a:pt x="1" y="179"/>
                    <a:pt x="1" y="179"/>
                  </a:cubicBezTo>
                  <a:cubicBezTo>
                    <a:pt x="4" y="181"/>
                    <a:pt x="6" y="185"/>
                    <a:pt x="9" y="187"/>
                  </a:cubicBezTo>
                  <a:cubicBezTo>
                    <a:pt x="13" y="191"/>
                    <a:pt x="15" y="195"/>
                    <a:pt x="17" y="199"/>
                  </a:cubicBezTo>
                  <a:cubicBezTo>
                    <a:pt x="18" y="198"/>
                    <a:pt x="18" y="198"/>
                    <a:pt x="18" y="198"/>
                  </a:cubicBezTo>
                  <a:cubicBezTo>
                    <a:pt x="19" y="197"/>
                    <a:pt x="20" y="196"/>
                    <a:pt x="21" y="195"/>
                  </a:cubicBezTo>
                  <a:cubicBezTo>
                    <a:pt x="22" y="194"/>
                    <a:pt x="22" y="194"/>
                    <a:pt x="22" y="194"/>
                  </a:cubicBezTo>
                  <a:cubicBezTo>
                    <a:pt x="24" y="193"/>
                    <a:pt x="25" y="192"/>
                    <a:pt x="27" y="191"/>
                  </a:cubicBezTo>
                  <a:cubicBezTo>
                    <a:pt x="28" y="191"/>
                    <a:pt x="28" y="191"/>
                    <a:pt x="28" y="191"/>
                  </a:cubicBezTo>
                  <a:cubicBezTo>
                    <a:pt x="29" y="190"/>
                    <a:pt x="31" y="188"/>
                    <a:pt x="33" y="186"/>
                  </a:cubicBezTo>
                  <a:cubicBezTo>
                    <a:pt x="30" y="183"/>
                    <a:pt x="30" y="183"/>
                    <a:pt x="30" y="183"/>
                  </a:cubicBezTo>
                  <a:cubicBezTo>
                    <a:pt x="34" y="185"/>
                    <a:pt x="34" y="185"/>
                    <a:pt x="34" y="185"/>
                  </a:cubicBezTo>
                  <a:cubicBezTo>
                    <a:pt x="35" y="183"/>
                    <a:pt x="35" y="183"/>
                    <a:pt x="35" y="183"/>
                  </a:cubicBezTo>
                  <a:cubicBezTo>
                    <a:pt x="40" y="187"/>
                    <a:pt x="40" y="187"/>
                    <a:pt x="40" y="187"/>
                  </a:cubicBezTo>
                  <a:cubicBezTo>
                    <a:pt x="42" y="188"/>
                    <a:pt x="43" y="188"/>
                    <a:pt x="44" y="189"/>
                  </a:cubicBezTo>
                  <a:cubicBezTo>
                    <a:pt x="48" y="192"/>
                    <a:pt x="48" y="192"/>
                    <a:pt x="48" y="192"/>
                  </a:cubicBezTo>
                  <a:cubicBezTo>
                    <a:pt x="48" y="192"/>
                    <a:pt x="48" y="192"/>
                    <a:pt x="49" y="193"/>
                  </a:cubicBezTo>
                  <a:cubicBezTo>
                    <a:pt x="49" y="193"/>
                    <a:pt x="49" y="193"/>
                    <a:pt x="49" y="193"/>
                  </a:cubicBezTo>
                  <a:cubicBezTo>
                    <a:pt x="49" y="193"/>
                    <a:pt x="49" y="193"/>
                    <a:pt x="49" y="193"/>
                  </a:cubicBezTo>
                  <a:cubicBezTo>
                    <a:pt x="50" y="194"/>
                    <a:pt x="50" y="194"/>
                    <a:pt x="50" y="194"/>
                  </a:cubicBezTo>
                  <a:cubicBezTo>
                    <a:pt x="50" y="194"/>
                    <a:pt x="51" y="195"/>
                    <a:pt x="51" y="195"/>
                  </a:cubicBezTo>
                  <a:cubicBezTo>
                    <a:pt x="52" y="194"/>
                    <a:pt x="52" y="194"/>
                    <a:pt x="52" y="194"/>
                  </a:cubicBezTo>
                  <a:cubicBezTo>
                    <a:pt x="53" y="194"/>
                    <a:pt x="54" y="192"/>
                    <a:pt x="55" y="190"/>
                  </a:cubicBezTo>
                  <a:cubicBezTo>
                    <a:pt x="55" y="190"/>
                    <a:pt x="55" y="190"/>
                    <a:pt x="55" y="190"/>
                  </a:cubicBezTo>
                  <a:cubicBezTo>
                    <a:pt x="55" y="189"/>
                    <a:pt x="55" y="189"/>
                    <a:pt x="55" y="189"/>
                  </a:cubicBezTo>
                  <a:cubicBezTo>
                    <a:pt x="55" y="186"/>
                    <a:pt x="55" y="186"/>
                    <a:pt x="55" y="186"/>
                  </a:cubicBezTo>
                  <a:cubicBezTo>
                    <a:pt x="58" y="185"/>
                    <a:pt x="58" y="185"/>
                    <a:pt x="58" y="185"/>
                  </a:cubicBezTo>
                  <a:cubicBezTo>
                    <a:pt x="59" y="185"/>
                    <a:pt x="60" y="186"/>
                    <a:pt x="60" y="186"/>
                  </a:cubicBezTo>
                  <a:cubicBezTo>
                    <a:pt x="61" y="186"/>
                    <a:pt x="61" y="186"/>
                    <a:pt x="62" y="186"/>
                  </a:cubicBezTo>
                  <a:cubicBezTo>
                    <a:pt x="62" y="186"/>
                    <a:pt x="63" y="186"/>
                    <a:pt x="64" y="185"/>
                  </a:cubicBezTo>
                  <a:cubicBezTo>
                    <a:pt x="64" y="185"/>
                    <a:pt x="65" y="184"/>
                    <a:pt x="65" y="184"/>
                  </a:cubicBezTo>
                  <a:cubicBezTo>
                    <a:pt x="66" y="184"/>
                    <a:pt x="68" y="184"/>
                    <a:pt x="68" y="184"/>
                  </a:cubicBezTo>
                  <a:cubicBezTo>
                    <a:pt x="69" y="184"/>
                    <a:pt x="69" y="183"/>
                    <a:pt x="70" y="183"/>
                  </a:cubicBezTo>
                  <a:cubicBezTo>
                    <a:pt x="71" y="182"/>
                    <a:pt x="72" y="182"/>
                    <a:pt x="73" y="181"/>
                  </a:cubicBezTo>
                  <a:cubicBezTo>
                    <a:pt x="77" y="180"/>
                    <a:pt x="77" y="180"/>
                    <a:pt x="77" y="180"/>
                  </a:cubicBezTo>
                  <a:cubicBezTo>
                    <a:pt x="77" y="184"/>
                    <a:pt x="77" y="184"/>
                    <a:pt x="77" y="184"/>
                  </a:cubicBezTo>
                  <a:cubicBezTo>
                    <a:pt x="77" y="185"/>
                    <a:pt x="77" y="186"/>
                    <a:pt x="77" y="189"/>
                  </a:cubicBezTo>
                  <a:cubicBezTo>
                    <a:pt x="77" y="190"/>
                    <a:pt x="77" y="190"/>
                    <a:pt x="77" y="190"/>
                  </a:cubicBezTo>
                  <a:cubicBezTo>
                    <a:pt x="77" y="192"/>
                    <a:pt x="77" y="194"/>
                    <a:pt x="77" y="196"/>
                  </a:cubicBezTo>
                  <a:cubicBezTo>
                    <a:pt x="77" y="196"/>
                    <a:pt x="77" y="196"/>
                    <a:pt x="77" y="196"/>
                  </a:cubicBezTo>
                  <a:cubicBezTo>
                    <a:pt x="78" y="196"/>
                    <a:pt x="78" y="196"/>
                    <a:pt x="78" y="196"/>
                  </a:cubicBezTo>
                  <a:cubicBezTo>
                    <a:pt x="78" y="196"/>
                    <a:pt x="79" y="196"/>
                    <a:pt x="80" y="196"/>
                  </a:cubicBezTo>
                  <a:cubicBezTo>
                    <a:pt x="80" y="196"/>
                    <a:pt x="80" y="196"/>
                    <a:pt x="80" y="196"/>
                  </a:cubicBezTo>
                  <a:cubicBezTo>
                    <a:pt x="81" y="196"/>
                    <a:pt x="83" y="194"/>
                    <a:pt x="83" y="193"/>
                  </a:cubicBezTo>
                  <a:cubicBezTo>
                    <a:pt x="84" y="193"/>
                    <a:pt x="84" y="193"/>
                    <a:pt x="84" y="193"/>
                  </a:cubicBezTo>
                  <a:cubicBezTo>
                    <a:pt x="87" y="189"/>
                    <a:pt x="90" y="185"/>
                    <a:pt x="94" y="182"/>
                  </a:cubicBezTo>
                  <a:cubicBezTo>
                    <a:pt x="95" y="182"/>
                    <a:pt x="97" y="181"/>
                    <a:pt x="98" y="180"/>
                  </a:cubicBezTo>
                  <a:cubicBezTo>
                    <a:pt x="102" y="178"/>
                    <a:pt x="106" y="176"/>
                    <a:pt x="107" y="173"/>
                  </a:cubicBezTo>
                  <a:cubicBezTo>
                    <a:pt x="109" y="171"/>
                    <a:pt x="110" y="169"/>
                    <a:pt x="111" y="166"/>
                  </a:cubicBezTo>
                  <a:cubicBezTo>
                    <a:pt x="113" y="164"/>
                    <a:pt x="113" y="164"/>
                    <a:pt x="113" y="164"/>
                  </a:cubicBezTo>
                  <a:cubicBezTo>
                    <a:pt x="113" y="163"/>
                    <a:pt x="113" y="163"/>
                    <a:pt x="113" y="162"/>
                  </a:cubicBezTo>
                  <a:cubicBezTo>
                    <a:pt x="114" y="161"/>
                    <a:pt x="114" y="161"/>
                    <a:pt x="114" y="161"/>
                  </a:cubicBezTo>
                  <a:cubicBezTo>
                    <a:pt x="114" y="161"/>
                    <a:pt x="114" y="161"/>
                    <a:pt x="114" y="160"/>
                  </a:cubicBezTo>
                  <a:cubicBezTo>
                    <a:pt x="114" y="160"/>
                    <a:pt x="114" y="159"/>
                    <a:pt x="114" y="158"/>
                  </a:cubicBezTo>
                  <a:cubicBezTo>
                    <a:pt x="114" y="158"/>
                    <a:pt x="114" y="158"/>
                    <a:pt x="114" y="158"/>
                  </a:cubicBezTo>
                  <a:cubicBezTo>
                    <a:pt x="114" y="158"/>
                    <a:pt x="114" y="158"/>
                    <a:pt x="114" y="158"/>
                  </a:cubicBezTo>
                  <a:cubicBezTo>
                    <a:pt x="114" y="156"/>
                    <a:pt x="114" y="156"/>
                    <a:pt x="114" y="156"/>
                  </a:cubicBezTo>
                  <a:cubicBezTo>
                    <a:pt x="110" y="156"/>
                    <a:pt x="110" y="156"/>
                    <a:pt x="110" y="156"/>
                  </a:cubicBezTo>
                  <a:cubicBezTo>
                    <a:pt x="113" y="155"/>
                    <a:pt x="113" y="155"/>
                    <a:pt x="113" y="155"/>
                  </a:cubicBezTo>
                  <a:cubicBezTo>
                    <a:pt x="113" y="154"/>
                    <a:pt x="113" y="154"/>
                    <a:pt x="113" y="154"/>
                  </a:cubicBezTo>
                  <a:cubicBezTo>
                    <a:pt x="113" y="153"/>
                    <a:pt x="113" y="152"/>
                    <a:pt x="113" y="150"/>
                  </a:cubicBezTo>
                  <a:cubicBezTo>
                    <a:pt x="113" y="148"/>
                    <a:pt x="113" y="145"/>
                    <a:pt x="113" y="142"/>
                  </a:cubicBezTo>
                  <a:cubicBezTo>
                    <a:pt x="113" y="138"/>
                    <a:pt x="113" y="138"/>
                    <a:pt x="113" y="138"/>
                  </a:cubicBezTo>
                  <a:cubicBezTo>
                    <a:pt x="113" y="137"/>
                    <a:pt x="113" y="136"/>
                    <a:pt x="113" y="135"/>
                  </a:cubicBezTo>
                  <a:cubicBezTo>
                    <a:pt x="114" y="134"/>
                    <a:pt x="114" y="133"/>
                    <a:pt x="115" y="133"/>
                  </a:cubicBezTo>
                  <a:cubicBezTo>
                    <a:pt x="115" y="132"/>
                    <a:pt x="115" y="132"/>
                    <a:pt x="116" y="131"/>
                  </a:cubicBezTo>
                  <a:cubicBezTo>
                    <a:pt x="120" y="128"/>
                    <a:pt x="122" y="124"/>
                    <a:pt x="125" y="120"/>
                  </a:cubicBezTo>
                  <a:cubicBezTo>
                    <a:pt x="126" y="118"/>
                    <a:pt x="126" y="116"/>
                    <a:pt x="127" y="115"/>
                  </a:cubicBezTo>
                  <a:cubicBezTo>
                    <a:pt x="128" y="114"/>
                    <a:pt x="128" y="113"/>
                    <a:pt x="129" y="112"/>
                  </a:cubicBezTo>
                  <a:cubicBezTo>
                    <a:pt x="129" y="112"/>
                    <a:pt x="129" y="112"/>
                    <a:pt x="130" y="111"/>
                  </a:cubicBezTo>
                  <a:cubicBezTo>
                    <a:pt x="130" y="111"/>
                    <a:pt x="131" y="110"/>
                    <a:pt x="132" y="109"/>
                  </a:cubicBezTo>
                  <a:cubicBezTo>
                    <a:pt x="134" y="108"/>
                    <a:pt x="135" y="107"/>
                    <a:pt x="137" y="106"/>
                  </a:cubicBezTo>
                  <a:cubicBezTo>
                    <a:pt x="138" y="105"/>
                    <a:pt x="138" y="105"/>
                    <a:pt x="138" y="105"/>
                  </a:cubicBezTo>
                  <a:cubicBezTo>
                    <a:pt x="139" y="104"/>
                    <a:pt x="140" y="104"/>
                    <a:pt x="141" y="103"/>
                  </a:cubicBezTo>
                  <a:cubicBezTo>
                    <a:pt x="142" y="102"/>
                    <a:pt x="142" y="102"/>
                    <a:pt x="142" y="102"/>
                  </a:cubicBezTo>
                  <a:cubicBezTo>
                    <a:pt x="143" y="102"/>
                    <a:pt x="143" y="102"/>
                    <a:pt x="144" y="101"/>
                  </a:cubicBezTo>
                  <a:cubicBezTo>
                    <a:pt x="145" y="101"/>
                    <a:pt x="146" y="100"/>
                    <a:pt x="146" y="99"/>
                  </a:cubicBezTo>
                  <a:cubicBezTo>
                    <a:pt x="154" y="76"/>
                    <a:pt x="154" y="76"/>
                    <a:pt x="154" y="76"/>
                  </a:cubicBezTo>
                  <a:cubicBezTo>
                    <a:pt x="154" y="75"/>
                    <a:pt x="154" y="74"/>
                    <a:pt x="154" y="73"/>
                  </a:cubicBezTo>
                  <a:cubicBezTo>
                    <a:pt x="154" y="72"/>
                    <a:pt x="154" y="71"/>
                    <a:pt x="153" y="69"/>
                  </a:cubicBezTo>
                  <a:cubicBezTo>
                    <a:pt x="153" y="68"/>
                    <a:pt x="153" y="67"/>
                    <a:pt x="153" y="65"/>
                  </a:cubicBezTo>
                  <a:cubicBezTo>
                    <a:pt x="153" y="64"/>
                    <a:pt x="153" y="64"/>
                    <a:pt x="153" y="64"/>
                  </a:cubicBezTo>
                  <a:cubicBezTo>
                    <a:pt x="153" y="63"/>
                    <a:pt x="153" y="62"/>
                    <a:pt x="153" y="61"/>
                  </a:cubicBezTo>
                  <a:cubicBezTo>
                    <a:pt x="153" y="60"/>
                    <a:pt x="153" y="58"/>
                    <a:pt x="153" y="56"/>
                  </a:cubicBezTo>
                  <a:cubicBezTo>
                    <a:pt x="154" y="53"/>
                    <a:pt x="155" y="50"/>
                    <a:pt x="156" y="47"/>
                  </a:cubicBezTo>
                  <a:cubicBezTo>
                    <a:pt x="156" y="45"/>
                    <a:pt x="156" y="45"/>
                    <a:pt x="156" y="45"/>
                  </a:cubicBezTo>
                  <a:cubicBezTo>
                    <a:pt x="157" y="43"/>
                    <a:pt x="157" y="41"/>
                    <a:pt x="158" y="39"/>
                  </a:cubicBezTo>
                  <a:cubicBezTo>
                    <a:pt x="158" y="38"/>
                    <a:pt x="158" y="37"/>
                    <a:pt x="158" y="36"/>
                  </a:cubicBezTo>
                  <a:cubicBezTo>
                    <a:pt x="158" y="35"/>
                    <a:pt x="158" y="35"/>
                    <a:pt x="158" y="34"/>
                  </a:cubicBezTo>
                  <a:cubicBezTo>
                    <a:pt x="158" y="30"/>
                    <a:pt x="160" y="27"/>
                    <a:pt x="161" y="24"/>
                  </a:cubicBezTo>
                  <a:cubicBezTo>
                    <a:pt x="161" y="24"/>
                    <a:pt x="161" y="24"/>
                    <a:pt x="161" y="24"/>
                  </a:cubicBezTo>
                  <a:cubicBezTo>
                    <a:pt x="156" y="21"/>
                    <a:pt x="156" y="21"/>
                    <a:pt x="156" y="21"/>
                  </a:cubicBezTo>
                  <a:cubicBezTo>
                    <a:pt x="162" y="23"/>
                    <a:pt x="162" y="23"/>
                    <a:pt x="162" y="23"/>
                  </a:cubicBezTo>
                  <a:cubicBezTo>
                    <a:pt x="162" y="23"/>
                    <a:pt x="162" y="23"/>
                    <a:pt x="162" y="23"/>
                  </a:cubicBezTo>
                  <a:cubicBezTo>
                    <a:pt x="163" y="21"/>
                    <a:pt x="164" y="20"/>
                    <a:pt x="165" y="18"/>
                  </a:cubicBezTo>
                  <a:cubicBezTo>
                    <a:pt x="169" y="12"/>
                    <a:pt x="173" y="6"/>
                    <a:pt x="169" y="1"/>
                  </a:cubicBezTo>
                  <a:cubicBezTo>
                    <a:pt x="168" y="2"/>
                    <a:pt x="167" y="2"/>
                    <a:pt x="166" y="2"/>
                  </a:cubicBezTo>
                  <a:cubicBezTo>
                    <a:pt x="163" y="2"/>
                    <a:pt x="160" y="1"/>
                    <a:pt x="157" y="1"/>
                  </a:cubicBezTo>
                  <a:cubicBezTo>
                    <a:pt x="156" y="1"/>
                    <a:pt x="156" y="1"/>
                    <a:pt x="156" y="1"/>
                  </a:cubicBezTo>
                  <a:cubicBezTo>
                    <a:pt x="155" y="0"/>
                    <a:pt x="154" y="0"/>
                    <a:pt x="154" y="0"/>
                  </a:cubicBezTo>
                  <a:cubicBezTo>
                    <a:pt x="152" y="0"/>
                    <a:pt x="151" y="0"/>
                    <a:pt x="15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Freeform 219">
              <a:extLst>
                <a:ext uri="{FF2B5EF4-FFF2-40B4-BE49-F238E27FC236}">
                  <a16:creationId xmlns:a16="http://schemas.microsoft.com/office/drawing/2014/main" id="{C586EE0F-B194-4803-8752-2175D266F9B0}"/>
                </a:ext>
              </a:extLst>
            </p:cNvPr>
            <p:cNvSpPr>
              <a:spLocks/>
            </p:cNvSpPr>
            <p:nvPr/>
          </p:nvSpPr>
          <p:spPr bwMode="auto">
            <a:xfrm>
              <a:off x="4313" y="3086"/>
              <a:ext cx="681" cy="671"/>
            </a:xfrm>
            <a:custGeom>
              <a:avLst/>
              <a:gdLst>
                <a:gd name="T0" fmla="*/ 16 w 288"/>
                <a:gd name="T1" fmla="*/ 4 h 284"/>
                <a:gd name="T2" fmla="*/ 32 w 288"/>
                <a:gd name="T3" fmla="*/ 41 h 284"/>
                <a:gd name="T4" fmla="*/ 34 w 288"/>
                <a:gd name="T5" fmla="*/ 80 h 284"/>
                <a:gd name="T6" fmla="*/ 42 w 288"/>
                <a:gd name="T7" fmla="*/ 152 h 284"/>
                <a:gd name="T8" fmla="*/ 11 w 288"/>
                <a:gd name="T9" fmla="*/ 213 h 284"/>
                <a:gd name="T10" fmla="*/ 1 w 288"/>
                <a:gd name="T11" fmla="*/ 267 h 284"/>
                <a:gd name="T12" fmla="*/ 18 w 288"/>
                <a:gd name="T13" fmla="*/ 266 h 284"/>
                <a:gd name="T14" fmla="*/ 30 w 288"/>
                <a:gd name="T15" fmla="*/ 261 h 284"/>
                <a:gd name="T16" fmla="*/ 36 w 288"/>
                <a:gd name="T17" fmla="*/ 260 h 284"/>
                <a:gd name="T18" fmla="*/ 46 w 288"/>
                <a:gd name="T19" fmla="*/ 265 h 284"/>
                <a:gd name="T20" fmla="*/ 50 w 288"/>
                <a:gd name="T21" fmla="*/ 268 h 284"/>
                <a:gd name="T22" fmla="*/ 59 w 288"/>
                <a:gd name="T23" fmla="*/ 270 h 284"/>
                <a:gd name="T24" fmla="*/ 88 w 288"/>
                <a:gd name="T25" fmla="*/ 270 h 284"/>
                <a:gd name="T26" fmla="*/ 147 w 288"/>
                <a:gd name="T27" fmla="*/ 270 h 284"/>
                <a:gd name="T28" fmla="*/ 162 w 288"/>
                <a:gd name="T29" fmla="*/ 272 h 284"/>
                <a:gd name="T30" fmla="*/ 174 w 288"/>
                <a:gd name="T31" fmla="*/ 280 h 284"/>
                <a:gd name="T32" fmla="*/ 185 w 288"/>
                <a:gd name="T33" fmla="*/ 281 h 284"/>
                <a:gd name="T34" fmla="*/ 201 w 288"/>
                <a:gd name="T35" fmla="*/ 282 h 284"/>
                <a:gd name="T36" fmla="*/ 270 w 288"/>
                <a:gd name="T37" fmla="*/ 277 h 284"/>
                <a:gd name="T38" fmla="*/ 239 w 288"/>
                <a:gd name="T39" fmla="*/ 243 h 284"/>
                <a:gd name="T40" fmla="*/ 239 w 288"/>
                <a:gd name="T41" fmla="*/ 171 h 284"/>
                <a:gd name="T42" fmla="*/ 250 w 288"/>
                <a:gd name="T43" fmla="*/ 163 h 284"/>
                <a:gd name="T44" fmla="*/ 284 w 288"/>
                <a:gd name="T45" fmla="*/ 164 h 284"/>
                <a:gd name="T46" fmla="*/ 287 w 288"/>
                <a:gd name="T47" fmla="*/ 153 h 284"/>
                <a:gd name="T48" fmla="*/ 286 w 288"/>
                <a:gd name="T49" fmla="*/ 122 h 284"/>
                <a:gd name="T50" fmla="*/ 276 w 288"/>
                <a:gd name="T51" fmla="*/ 123 h 284"/>
                <a:gd name="T52" fmla="*/ 245 w 288"/>
                <a:gd name="T53" fmla="*/ 125 h 284"/>
                <a:gd name="T54" fmla="*/ 245 w 288"/>
                <a:gd name="T55" fmla="*/ 112 h 284"/>
                <a:gd name="T56" fmla="*/ 246 w 288"/>
                <a:gd name="T57" fmla="*/ 110 h 284"/>
                <a:gd name="T58" fmla="*/ 243 w 288"/>
                <a:gd name="T59" fmla="*/ 96 h 284"/>
                <a:gd name="T60" fmla="*/ 235 w 288"/>
                <a:gd name="T61" fmla="*/ 84 h 284"/>
                <a:gd name="T62" fmla="*/ 235 w 288"/>
                <a:gd name="T63" fmla="*/ 75 h 284"/>
                <a:gd name="T64" fmla="*/ 237 w 288"/>
                <a:gd name="T65" fmla="*/ 61 h 284"/>
                <a:gd name="T66" fmla="*/ 235 w 288"/>
                <a:gd name="T67" fmla="*/ 34 h 284"/>
                <a:gd name="T68" fmla="*/ 219 w 288"/>
                <a:gd name="T69" fmla="*/ 34 h 284"/>
                <a:gd name="T70" fmla="*/ 205 w 288"/>
                <a:gd name="T71" fmla="*/ 31 h 284"/>
                <a:gd name="T72" fmla="*/ 205 w 288"/>
                <a:gd name="T73" fmla="*/ 25 h 284"/>
                <a:gd name="T74" fmla="*/ 197 w 288"/>
                <a:gd name="T75" fmla="*/ 27 h 284"/>
                <a:gd name="T76" fmla="*/ 192 w 288"/>
                <a:gd name="T77" fmla="*/ 28 h 284"/>
                <a:gd name="T78" fmla="*/ 187 w 288"/>
                <a:gd name="T79" fmla="*/ 28 h 284"/>
                <a:gd name="T80" fmla="*/ 184 w 288"/>
                <a:gd name="T81" fmla="*/ 44 h 284"/>
                <a:gd name="T82" fmla="*/ 163 w 288"/>
                <a:gd name="T83" fmla="*/ 50 h 284"/>
                <a:gd name="T84" fmla="*/ 154 w 288"/>
                <a:gd name="T85" fmla="*/ 51 h 284"/>
                <a:gd name="T86" fmla="*/ 142 w 288"/>
                <a:gd name="T87" fmla="*/ 53 h 284"/>
                <a:gd name="T88" fmla="*/ 126 w 288"/>
                <a:gd name="T89" fmla="*/ 38 h 284"/>
                <a:gd name="T90" fmla="*/ 109 w 288"/>
                <a:gd name="T91" fmla="*/ 1 h 284"/>
                <a:gd name="T92" fmla="*/ 99 w 288"/>
                <a:gd name="T93" fmla="*/ 0 h 284"/>
                <a:gd name="T94" fmla="*/ 56 w 288"/>
                <a:gd name="T95" fmla="*/ 1 h 284"/>
                <a:gd name="T96" fmla="*/ 41 w 288"/>
                <a:gd name="T9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84">
                  <a:moveTo>
                    <a:pt x="29" y="0"/>
                  </a:moveTo>
                  <a:cubicBezTo>
                    <a:pt x="27" y="0"/>
                    <a:pt x="26" y="0"/>
                    <a:pt x="24" y="1"/>
                  </a:cubicBezTo>
                  <a:cubicBezTo>
                    <a:pt x="22" y="3"/>
                    <a:pt x="19" y="4"/>
                    <a:pt x="17" y="4"/>
                  </a:cubicBezTo>
                  <a:cubicBezTo>
                    <a:pt x="16" y="4"/>
                    <a:pt x="16" y="4"/>
                    <a:pt x="16" y="4"/>
                  </a:cubicBezTo>
                  <a:cubicBezTo>
                    <a:pt x="13" y="4"/>
                    <a:pt x="13" y="4"/>
                    <a:pt x="13" y="4"/>
                  </a:cubicBezTo>
                  <a:cubicBezTo>
                    <a:pt x="15" y="7"/>
                    <a:pt x="16" y="10"/>
                    <a:pt x="18" y="13"/>
                  </a:cubicBezTo>
                  <a:cubicBezTo>
                    <a:pt x="19" y="15"/>
                    <a:pt x="21" y="17"/>
                    <a:pt x="23" y="20"/>
                  </a:cubicBezTo>
                  <a:cubicBezTo>
                    <a:pt x="27" y="27"/>
                    <a:pt x="29" y="34"/>
                    <a:pt x="32" y="41"/>
                  </a:cubicBezTo>
                  <a:cubicBezTo>
                    <a:pt x="34" y="46"/>
                    <a:pt x="39" y="52"/>
                    <a:pt x="39" y="58"/>
                  </a:cubicBezTo>
                  <a:cubicBezTo>
                    <a:pt x="39" y="61"/>
                    <a:pt x="39" y="65"/>
                    <a:pt x="37" y="67"/>
                  </a:cubicBezTo>
                  <a:cubicBezTo>
                    <a:pt x="35" y="69"/>
                    <a:pt x="32" y="71"/>
                    <a:pt x="30" y="73"/>
                  </a:cubicBezTo>
                  <a:cubicBezTo>
                    <a:pt x="29" y="75"/>
                    <a:pt x="33" y="79"/>
                    <a:pt x="34" y="80"/>
                  </a:cubicBezTo>
                  <a:cubicBezTo>
                    <a:pt x="36" y="87"/>
                    <a:pt x="39" y="95"/>
                    <a:pt x="42" y="101"/>
                  </a:cubicBezTo>
                  <a:cubicBezTo>
                    <a:pt x="44" y="107"/>
                    <a:pt x="49" y="112"/>
                    <a:pt x="49" y="118"/>
                  </a:cubicBezTo>
                  <a:cubicBezTo>
                    <a:pt x="49" y="125"/>
                    <a:pt x="50" y="133"/>
                    <a:pt x="48" y="139"/>
                  </a:cubicBezTo>
                  <a:cubicBezTo>
                    <a:pt x="46" y="144"/>
                    <a:pt x="44" y="148"/>
                    <a:pt x="42" y="152"/>
                  </a:cubicBezTo>
                  <a:cubicBezTo>
                    <a:pt x="41" y="156"/>
                    <a:pt x="40" y="156"/>
                    <a:pt x="37" y="157"/>
                  </a:cubicBezTo>
                  <a:cubicBezTo>
                    <a:pt x="31" y="159"/>
                    <a:pt x="26" y="166"/>
                    <a:pt x="23" y="171"/>
                  </a:cubicBezTo>
                  <a:cubicBezTo>
                    <a:pt x="20" y="176"/>
                    <a:pt x="19" y="180"/>
                    <a:pt x="18" y="185"/>
                  </a:cubicBezTo>
                  <a:cubicBezTo>
                    <a:pt x="16" y="194"/>
                    <a:pt x="13" y="203"/>
                    <a:pt x="11" y="213"/>
                  </a:cubicBezTo>
                  <a:cubicBezTo>
                    <a:pt x="10" y="217"/>
                    <a:pt x="9" y="225"/>
                    <a:pt x="6" y="229"/>
                  </a:cubicBezTo>
                  <a:cubicBezTo>
                    <a:pt x="5" y="231"/>
                    <a:pt x="1" y="234"/>
                    <a:pt x="0" y="236"/>
                  </a:cubicBezTo>
                  <a:cubicBezTo>
                    <a:pt x="0" y="237"/>
                    <a:pt x="2" y="238"/>
                    <a:pt x="2" y="239"/>
                  </a:cubicBezTo>
                  <a:cubicBezTo>
                    <a:pt x="2" y="248"/>
                    <a:pt x="1" y="257"/>
                    <a:pt x="1" y="267"/>
                  </a:cubicBezTo>
                  <a:cubicBezTo>
                    <a:pt x="2" y="267"/>
                    <a:pt x="2" y="267"/>
                    <a:pt x="3" y="267"/>
                  </a:cubicBezTo>
                  <a:cubicBezTo>
                    <a:pt x="5" y="267"/>
                    <a:pt x="6" y="267"/>
                    <a:pt x="7" y="267"/>
                  </a:cubicBezTo>
                  <a:cubicBezTo>
                    <a:pt x="9" y="267"/>
                    <a:pt x="11" y="267"/>
                    <a:pt x="12" y="267"/>
                  </a:cubicBezTo>
                  <a:cubicBezTo>
                    <a:pt x="14" y="267"/>
                    <a:pt x="16" y="267"/>
                    <a:pt x="18" y="266"/>
                  </a:cubicBezTo>
                  <a:cubicBezTo>
                    <a:pt x="20" y="266"/>
                    <a:pt x="22" y="265"/>
                    <a:pt x="24" y="264"/>
                  </a:cubicBezTo>
                  <a:cubicBezTo>
                    <a:pt x="25" y="263"/>
                    <a:pt x="26" y="262"/>
                    <a:pt x="27" y="262"/>
                  </a:cubicBezTo>
                  <a:cubicBezTo>
                    <a:pt x="28" y="261"/>
                    <a:pt x="29" y="261"/>
                    <a:pt x="30" y="261"/>
                  </a:cubicBezTo>
                  <a:cubicBezTo>
                    <a:pt x="30" y="261"/>
                    <a:pt x="30" y="261"/>
                    <a:pt x="30" y="261"/>
                  </a:cubicBezTo>
                  <a:cubicBezTo>
                    <a:pt x="30" y="256"/>
                    <a:pt x="30" y="256"/>
                    <a:pt x="30" y="256"/>
                  </a:cubicBezTo>
                  <a:cubicBezTo>
                    <a:pt x="32" y="260"/>
                    <a:pt x="32" y="260"/>
                    <a:pt x="32" y="260"/>
                  </a:cubicBezTo>
                  <a:cubicBezTo>
                    <a:pt x="32" y="260"/>
                    <a:pt x="32" y="260"/>
                    <a:pt x="32" y="260"/>
                  </a:cubicBezTo>
                  <a:cubicBezTo>
                    <a:pt x="33" y="260"/>
                    <a:pt x="35" y="260"/>
                    <a:pt x="36" y="260"/>
                  </a:cubicBezTo>
                  <a:cubicBezTo>
                    <a:pt x="39" y="260"/>
                    <a:pt x="39" y="260"/>
                    <a:pt x="39" y="260"/>
                  </a:cubicBezTo>
                  <a:cubicBezTo>
                    <a:pt x="40" y="260"/>
                    <a:pt x="40" y="260"/>
                    <a:pt x="40" y="260"/>
                  </a:cubicBezTo>
                  <a:cubicBezTo>
                    <a:pt x="42" y="261"/>
                    <a:pt x="44" y="263"/>
                    <a:pt x="46" y="265"/>
                  </a:cubicBezTo>
                  <a:cubicBezTo>
                    <a:pt x="46" y="265"/>
                    <a:pt x="46" y="265"/>
                    <a:pt x="46" y="265"/>
                  </a:cubicBezTo>
                  <a:cubicBezTo>
                    <a:pt x="47" y="265"/>
                    <a:pt x="47" y="266"/>
                    <a:pt x="48" y="266"/>
                  </a:cubicBezTo>
                  <a:cubicBezTo>
                    <a:pt x="49" y="267"/>
                    <a:pt x="49" y="267"/>
                    <a:pt x="49" y="267"/>
                  </a:cubicBezTo>
                  <a:cubicBezTo>
                    <a:pt x="49" y="267"/>
                    <a:pt x="49" y="267"/>
                    <a:pt x="50" y="268"/>
                  </a:cubicBezTo>
                  <a:cubicBezTo>
                    <a:pt x="50" y="268"/>
                    <a:pt x="50" y="268"/>
                    <a:pt x="50" y="268"/>
                  </a:cubicBezTo>
                  <a:cubicBezTo>
                    <a:pt x="51" y="269"/>
                    <a:pt x="53" y="270"/>
                    <a:pt x="54" y="271"/>
                  </a:cubicBezTo>
                  <a:cubicBezTo>
                    <a:pt x="54" y="271"/>
                    <a:pt x="54" y="271"/>
                    <a:pt x="54" y="271"/>
                  </a:cubicBezTo>
                  <a:cubicBezTo>
                    <a:pt x="54" y="271"/>
                    <a:pt x="55" y="270"/>
                    <a:pt x="55" y="270"/>
                  </a:cubicBezTo>
                  <a:cubicBezTo>
                    <a:pt x="57" y="270"/>
                    <a:pt x="58" y="270"/>
                    <a:pt x="59" y="270"/>
                  </a:cubicBezTo>
                  <a:cubicBezTo>
                    <a:pt x="59" y="270"/>
                    <a:pt x="59" y="270"/>
                    <a:pt x="59" y="270"/>
                  </a:cubicBezTo>
                  <a:cubicBezTo>
                    <a:pt x="60" y="270"/>
                    <a:pt x="62" y="270"/>
                    <a:pt x="63" y="270"/>
                  </a:cubicBezTo>
                  <a:cubicBezTo>
                    <a:pt x="70" y="270"/>
                    <a:pt x="70" y="270"/>
                    <a:pt x="70" y="270"/>
                  </a:cubicBezTo>
                  <a:cubicBezTo>
                    <a:pt x="76" y="270"/>
                    <a:pt x="82" y="270"/>
                    <a:pt x="88" y="270"/>
                  </a:cubicBezTo>
                  <a:cubicBezTo>
                    <a:pt x="99" y="270"/>
                    <a:pt x="99" y="270"/>
                    <a:pt x="99" y="270"/>
                  </a:cubicBezTo>
                  <a:cubicBezTo>
                    <a:pt x="103" y="270"/>
                    <a:pt x="108" y="270"/>
                    <a:pt x="113" y="270"/>
                  </a:cubicBezTo>
                  <a:cubicBezTo>
                    <a:pt x="123" y="270"/>
                    <a:pt x="133" y="270"/>
                    <a:pt x="144" y="270"/>
                  </a:cubicBezTo>
                  <a:cubicBezTo>
                    <a:pt x="145" y="270"/>
                    <a:pt x="146" y="270"/>
                    <a:pt x="147" y="270"/>
                  </a:cubicBezTo>
                  <a:cubicBezTo>
                    <a:pt x="147" y="270"/>
                    <a:pt x="147" y="270"/>
                    <a:pt x="147" y="270"/>
                  </a:cubicBezTo>
                  <a:cubicBezTo>
                    <a:pt x="149" y="269"/>
                    <a:pt x="151" y="269"/>
                    <a:pt x="153" y="269"/>
                  </a:cubicBezTo>
                  <a:cubicBezTo>
                    <a:pt x="156" y="269"/>
                    <a:pt x="158" y="270"/>
                    <a:pt x="160" y="271"/>
                  </a:cubicBezTo>
                  <a:cubicBezTo>
                    <a:pt x="161" y="271"/>
                    <a:pt x="161" y="272"/>
                    <a:pt x="162" y="272"/>
                  </a:cubicBezTo>
                  <a:cubicBezTo>
                    <a:pt x="162" y="272"/>
                    <a:pt x="163" y="273"/>
                    <a:pt x="163" y="274"/>
                  </a:cubicBezTo>
                  <a:cubicBezTo>
                    <a:pt x="163" y="274"/>
                    <a:pt x="164" y="275"/>
                    <a:pt x="164" y="275"/>
                  </a:cubicBezTo>
                  <a:cubicBezTo>
                    <a:pt x="166" y="277"/>
                    <a:pt x="167" y="278"/>
                    <a:pt x="169" y="279"/>
                  </a:cubicBezTo>
                  <a:cubicBezTo>
                    <a:pt x="171" y="280"/>
                    <a:pt x="172" y="280"/>
                    <a:pt x="174" y="280"/>
                  </a:cubicBezTo>
                  <a:cubicBezTo>
                    <a:pt x="176" y="280"/>
                    <a:pt x="176" y="280"/>
                    <a:pt x="176" y="280"/>
                  </a:cubicBezTo>
                  <a:cubicBezTo>
                    <a:pt x="177" y="280"/>
                    <a:pt x="177" y="280"/>
                    <a:pt x="177" y="280"/>
                  </a:cubicBezTo>
                  <a:cubicBezTo>
                    <a:pt x="181" y="281"/>
                    <a:pt x="181" y="281"/>
                    <a:pt x="181" y="281"/>
                  </a:cubicBezTo>
                  <a:cubicBezTo>
                    <a:pt x="182" y="281"/>
                    <a:pt x="183" y="281"/>
                    <a:pt x="185" y="281"/>
                  </a:cubicBezTo>
                  <a:cubicBezTo>
                    <a:pt x="186" y="281"/>
                    <a:pt x="187" y="281"/>
                    <a:pt x="188" y="281"/>
                  </a:cubicBezTo>
                  <a:cubicBezTo>
                    <a:pt x="191" y="281"/>
                    <a:pt x="191" y="281"/>
                    <a:pt x="191" y="281"/>
                  </a:cubicBezTo>
                  <a:cubicBezTo>
                    <a:pt x="192" y="281"/>
                    <a:pt x="193" y="281"/>
                    <a:pt x="194" y="281"/>
                  </a:cubicBezTo>
                  <a:cubicBezTo>
                    <a:pt x="201" y="282"/>
                    <a:pt x="201" y="282"/>
                    <a:pt x="201" y="282"/>
                  </a:cubicBezTo>
                  <a:cubicBezTo>
                    <a:pt x="209" y="283"/>
                    <a:pt x="217" y="284"/>
                    <a:pt x="226" y="284"/>
                  </a:cubicBezTo>
                  <a:cubicBezTo>
                    <a:pt x="229" y="284"/>
                    <a:pt x="232" y="284"/>
                    <a:pt x="236" y="283"/>
                  </a:cubicBezTo>
                  <a:cubicBezTo>
                    <a:pt x="270" y="277"/>
                    <a:pt x="270" y="277"/>
                    <a:pt x="270" y="277"/>
                  </a:cubicBezTo>
                  <a:cubicBezTo>
                    <a:pt x="270" y="277"/>
                    <a:pt x="270" y="277"/>
                    <a:pt x="270" y="277"/>
                  </a:cubicBezTo>
                  <a:cubicBezTo>
                    <a:pt x="245" y="255"/>
                    <a:pt x="245" y="255"/>
                    <a:pt x="245" y="255"/>
                  </a:cubicBezTo>
                  <a:cubicBezTo>
                    <a:pt x="242" y="252"/>
                    <a:pt x="241" y="249"/>
                    <a:pt x="240" y="245"/>
                  </a:cubicBezTo>
                  <a:cubicBezTo>
                    <a:pt x="236" y="245"/>
                    <a:pt x="236" y="245"/>
                    <a:pt x="236" y="245"/>
                  </a:cubicBezTo>
                  <a:cubicBezTo>
                    <a:pt x="239" y="243"/>
                    <a:pt x="239" y="243"/>
                    <a:pt x="239" y="243"/>
                  </a:cubicBezTo>
                  <a:cubicBezTo>
                    <a:pt x="239" y="242"/>
                    <a:pt x="239" y="242"/>
                    <a:pt x="239" y="242"/>
                  </a:cubicBezTo>
                  <a:cubicBezTo>
                    <a:pt x="239" y="239"/>
                    <a:pt x="239" y="237"/>
                    <a:pt x="239" y="234"/>
                  </a:cubicBezTo>
                  <a:cubicBezTo>
                    <a:pt x="239" y="232"/>
                    <a:pt x="239" y="232"/>
                    <a:pt x="239" y="232"/>
                  </a:cubicBezTo>
                  <a:cubicBezTo>
                    <a:pt x="239" y="171"/>
                    <a:pt x="239" y="171"/>
                    <a:pt x="239" y="171"/>
                  </a:cubicBezTo>
                  <a:cubicBezTo>
                    <a:pt x="239" y="170"/>
                    <a:pt x="239" y="169"/>
                    <a:pt x="239" y="169"/>
                  </a:cubicBezTo>
                  <a:cubicBezTo>
                    <a:pt x="239" y="168"/>
                    <a:pt x="239" y="167"/>
                    <a:pt x="240" y="166"/>
                  </a:cubicBezTo>
                  <a:cubicBezTo>
                    <a:pt x="241" y="164"/>
                    <a:pt x="243" y="164"/>
                    <a:pt x="246" y="164"/>
                  </a:cubicBezTo>
                  <a:cubicBezTo>
                    <a:pt x="247" y="164"/>
                    <a:pt x="249" y="163"/>
                    <a:pt x="250" y="163"/>
                  </a:cubicBezTo>
                  <a:cubicBezTo>
                    <a:pt x="254" y="163"/>
                    <a:pt x="258" y="164"/>
                    <a:pt x="261" y="164"/>
                  </a:cubicBezTo>
                  <a:cubicBezTo>
                    <a:pt x="262" y="164"/>
                    <a:pt x="262" y="164"/>
                    <a:pt x="262" y="164"/>
                  </a:cubicBezTo>
                  <a:cubicBezTo>
                    <a:pt x="263" y="164"/>
                    <a:pt x="264" y="164"/>
                    <a:pt x="265" y="164"/>
                  </a:cubicBezTo>
                  <a:cubicBezTo>
                    <a:pt x="284" y="164"/>
                    <a:pt x="284" y="164"/>
                    <a:pt x="284" y="164"/>
                  </a:cubicBezTo>
                  <a:cubicBezTo>
                    <a:pt x="284" y="163"/>
                    <a:pt x="283" y="162"/>
                    <a:pt x="284" y="160"/>
                  </a:cubicBezTo>
                  <a:cubicBezTo>
                    <a:pt x="284" y="159"/>
                    <a:pt x="284" y="159"/>
                    <a:pt x="284" y="159"/>
                  </a:cubicBezTo>
                  <a:cubicBezTo>
                    <a:pt x="285" y="158"/>
                    <a:pt x="285" y="156"/>
                    <a:pt x="286" y="155"/>
                  </a:cubicBezTo>
                  <a:cubicBezTo>
                    <a:pt x="286" y="154"/>
                    <a:pt x="287" y="154"/>
                    <a:pt x="287" y="153"/>
                  </a:cubicBezTo>
                  <a:cubicBezTo>
                    <a:pt x="287" y="153"/>
                    <a:pt x="287" y="152"/>
                    <a:pt x="287" y="152"/>
                  </a:cubicBezTo>
                  <a:cubicBezTo>
                    <a:pt x="288" y="149"/>
                    <a:pt x="287" y="145"/>
                    <a:pt x="287" y="141"/>
                  </a:cubicBezTo>
                  <a:cubicBezTo>
                    <a:pt x="287" y="140"/>
                    <a:pt x="287" y="138"/>
                    <a:pt x="287" y="136"/>
                  </a:cubicBezTo>
                  <a:cubicBezTo>
                    <a:pt x="286" y="122"/>
                    <a:pt x="286" y="122"/>
                    <a:pt x="286" y="122"/>
                  </a:cubicBezTo>
                  <a:cubicBezTo>
                    <a:pt x="285" y="122"/>
                    <a:pt x="285" y="122"/>
                    <a:pt x="285" y="122"/>
                  </a:cubicBezTo>
                  <a:cubicBezTo>
                    <a:pt x="283" y="123"/>
                    <a:pt x="281" y="123"/>
                    <a:pt x="279" y="123"/>
                  </a:cubicBezTo>
                  <a:cubicBezTo>
                    <a:pt x="278" y="123"/>
                    <a:pt x="278" y="123"/>
                    <a:pt x="278" y="123"/>
                  </a:cubicBezTo>
                  <a:cubicBezTo>
                    <a:pt x="277" y="123"/>
                    <a:pt x="276" y="123"/>
                    <a:pt x="276" y="123"/>
                  </a:cubicBezTo>
                  <a:cubicBezTo>
                    <a:pt x="274" y="123"/>
                    <a:pt x="272" y="124"/>
                    <a:pt x="270" y="124"/>
                  </a:cubicBezTo>
                  <a:cubicBezTo>
                    <a:pt x="262" y="124"/>
                    <a:pt x="255" y="125"/>
                    <a:pt x="249" y="128"/>
                  </a:cubicBezTo>
                  <a:cubicBezTo>
                    <a:pt x="246" y="129"/>
                    <a:pt x="246" y="129"/>
                    <a:pt x="246" y="129"/>
                  </a:cubicBezTo>
                  <a:cubicBezTo>
                    <a:pt x="245" y="125"/>
                    <a:pt x="245" y="125"/>
                    <a:pt x="245" y="125"/>
                  </a:cubicBezTo>
                  <a:cubicBezTo>
                    <a:pt x="245" y="125"/>
                    <a:pt x="244" y="124"/>
                    <a:pt x="244" y="123"/>
                  </a:cubicBezTo>
                  <a:cubicBezTo>
                    <a:pt x="244" y="123"/>
                    <a:pt x="244" y="123"/>
                    <a:pt x="244" y="123"/>
                  </a:cubicBezTo>
                  <a:cubicBezTo>
                    <a:pt x="243" y="121"/>
                    <a:pt x="243" y="118"/>
                    <a:pt x="243" y="115"/>
                  </a:cubicBezTo>
                  <a:cubicBezTo>
                    <a:pt x="243" y="114"/>
                    <a:pt x="244" y="113"/>
                    <a:pt x="245" y="112"/>
                  </a:cubicBezTo>
                  <a:cubicBezTo>
                    <a:pt x="245" y="111"/>
                    <a:pt x="245" y="111"/>
                    <a:pt x="245" y="111"/>
                  </a:cubicBezTo>
                  <a:cubicBezTo>
                    <a:pt x="246" y="111"/>
                    <a:pt x="246" y="110"/>
                    <a:pt x="246" y="110"/>
                  </a:cubicBezTo>
                  <a:cubicBezTo>
                    <a:pt x="246" y="110"/>
                    <a:pt x="246" y="110"/>
                    <a:pt x="246" y="110"/>
                  </a:cubicBezTo>
                  <a:cubicBezTo>
                    <a:pt x="246" y="110"/>
                    <a:pt x="246" y="110"/>
                    <a:pt x="246" y="110"/>
                  </a:cubicBezTo>
                  <a:cubicBezTo>
                    <a:pt x="246" y="109"/>
                    <a:pt x="246" y="109"/>
                    <a:pt x="246" y="109"/>
                  </a:cubicBezTo>
                  <a:cubicBezTo>
                    <a:pt x="246" y="109"/>
                    <a:pt x="246" y="108"/>
                    <a:pt x="245" y="105"/>
                  </a:cubicBezTo>
                  <a:cubicBezTo>
                    <a:pt x="245" y="102"/>
                    <a:pt x="245" y="99"/>
                    <a:pt x="244" y="97"/>
                  </a:cubicBezTo>
                  <a:cubicBezTo>
                    <a:pt x="243" y="96"/>
                    <a:pt x="243" y="96"/>
                    <a:pt x="243" y="96"/>
                  </a:cubicBezTo>
                  <a:cubicBezTo>
                    <a:pt x="243" y="95"/>
                    <a:pt x="243" y="95"/>
                    <a:pt x="243" y="95"/>
                  </a:cubicBezTo>
                  <a:cubicBezTo>
                    <a:pt x="243" y="94"/>
                    <a:pt x="242" y="93"/>
                    <a:pt x="241" y="93"/>
                  </a:cubicBezTo>
                  <a:cubicBezTo>
                    <a:pt x="239" y="91"/>
                    <a:pt x="237" y="89"/>
                    <a:pt x="236" y="87"/>
                  </a:cubicBezTo>
                  <a:cubicBezTo>
                    <a:pt x="235" y="86"/>
                    <a:pt x="235" y="85"/>
                    <a:pt x="235" y="84"/>
                  </a:cubicBezTo>
                  <a:cubicBezTo>
                    <a:pt x="234" y="83"/>
                    <a:pt x="234" y="81"/>
                    <a:pt x="234" y="80"/>
                  </a:cubicBezTo>
                  <a:cubicBezTo>
                    <a:pt x="235" y="79"/>
                    <a:pt x="235" y="79"/>
                    <a:pt x="235" y="79"/>
                  </a:cubicBezTo>
                  <a:cubicBezTo>
                    <a:pt x="235" y="79"/>
                    <a:pt x="235" y="79"/>
                    <a:pt x="235" y="79"/>
                  </a:cubicBezTo>
                  <a:cubicBezTo>
                    <a:pt x="235" y="75"/>
                    <a:pt x="235" y="75"/>
                    <a:pt x="235" y="75"/>
                  </a:cubicBezTo>
                  <a:cubicBezTo>
                    <a:pt x="236" y="72"/>
                    <a:pt x="236" y="70"/>
                    <a:pt x="236" y="68"/>
                  </a:cubicBezTo>
                  <a:cubicBezTo>
                    <a:pt x="236" y="64"/>
                    <a:pt x="236" y="64"/>
                    <a:pt x="236" y="64"/>
                  </a:cubicBezTo>
                  <a:cubicBezTo>
                    <a:pt x="236" y="64"/>
                    <a:pt x="236" y="63"/>
                    <a:pt x="237" y="62"/>
                  </a:cubicBezTo>
                  <a:cubicBezTo>
                    <a:pt x="237" y="61"/>
                    <a:pt x="237" y="61"/>
                    <a:pt x="237" y="61"/>
                  </a:cubicBezTo>
                  <a:cubicBezTo>
                    <a:pt x="237" y="61"/>
                    <a:pt x="237" y="58"/>
                    <a:pt x="237" y="57"/>
                  </a:cubicBezTo>
                  <a:cubicBezTo>
                    <a:pt x="234" y="50"/>
                    <a:pt x="233" y="48"/>
                    <a:pt x="235" y="40"/>
                  </a:cubicBezTo>
                  <a:cubicBezTo>
                    <a:pt x="235" y="40"/>
                    <a:pt x="235" y="38"/>
                    <a:pt x="235" y="37"/>
                  </a:cubicBezTo>
                  <a:cubicBezTo>
                    <a:pt x="235" y="35"/>
                    <a:pt x="235" y="34"/>
                    <a:pt x="235" y="34"/>
                  </a:cubicBezTo>
                  <a:cubicBezTo>
                    <a:pt x="234" y="34"/>
                    <a:pt x="234" y="34"/>
                    <a:pt x="234" y="34"/>
                  </a:cubicBezTo>
                  <a:cubicBezTo>
                    <a:pt x="232" y="34"/>
                    <a:pt x="232" y="34"/>
                    <a:pt x="232" y="34"/>
                  </a:cubicBezTo>
                  <a:cubicBezTo>
                    <a:pt x="232" y="34"/>
                    <a:pt x="231" y="34"/>
                    <a:pt x="231" y="34"/>
                  </a:cubicBezTo>
                  <a:cubicBezTo>
                    <a:pt x="219" y="34"/>
                    <a:pt x="219" y="34"/>
                    <a:pt x="219" y="34"/>
                  </a:cubicBezTo>
                  <a:cubicBezTo>
                    <a:pt x="218" y="34"/>
                    <a:pt x="217" y="34"/>
                    <a:pt x="216" y="34"/>
                  </a:cubicBezTo>
                  <a:cubicBezTo>
                    <a:pt x="215" y="34"/>
                    <a:pt x="214" y="34"/>
                    <a:pt x="212" y="34"/>
                  </a:cubicBezTo>
                  <a:cubicBezTo>
                    <a:pt x="211" y="34"/>
                    <a:pt x="209" y="34"/>
                    <a:pt x="208" y="34"/>
                  </a:cubicBezTo>
                  <a:cubicBezTo>
                    <a:pt x="206" y="33"/>
                    <a:pt x="205" y="32"/>
                    <a:pt x="205" y="31"/>
                  </a:cubicBezTo>
                  <a:cubicBezTo>
                    <a:pt x="204" y="29"/>
                    <a:pt x="205" y="27"/>
                    <a:pt x="205" y="26"/>
                  </a:cubicBezTo>
                  <a:cubicBezTo>
                    <a:pt x="205" y="25"/>
                    <a:pt x="205" y="25"/>
                    <a:pt x="205" y="25"/>
                  </a:cubicBezTo>
                  <a:cubicBezTo>
                    <a:pt x="205" y="25"/>
                    <a:pt x="205" y="25"/>
                    <a:pt x="205" y="25"/>
                  </a:cubicBezTo>
                  <a:cubicBezTo>
                    <a:pt x="205" y="25"/>
                    <a:pt x="205" y="25"/>
                    <a:pt x="205" y="25"/>
                  </a:cubicBezTo>
                  <a:cubicBezTo>
                    <a:pt x="205" y="25"/>
                    <a:pt x="204" y="25"/>
                    <a:pt x="204" y="25"/>
                  </a:cubicBezTo>
                  <a:cubicBezTo>
                    <a:pt x="204" y="25"/>
                    <a:pt x="204" y="25"/>
                    <a:pt x="204" y="25"/>
                  </a:cubicBezTo>
                  <a:cubicBezTo>
                    <a:pt x="203" y="26"/>
                    <a:pt x="202" y="27"/>
                    <a:pt x="200" y="27"/>
                  </a:cubicBezTo>
                  <a:cubicBezTo>
                    <a:pt x="199" y="27"/>
                    <a:pt x="198" y="27"/>
                    <a:pt x="197" y="27"/>
                  </a:cubicBezTo>
                  <a:cubicBezTo>
                    <a:pt x="194" y="27"/>
                    <a:pt x="194" y="27"/>
                    <a:pt x="194" y="27"/>
                  </a:cubicBezTo>
                  <a:cubicBezTo>
                    <a:pt x="194" y="27"/>
                    <a:pt x="194" y="27"/>
                    <a:pt x="194" y="27"/>
                  </a:cubicBezTo>
                  <a:cubicBezTo>
                    <a:pt x="194" y="28"/>
                    <a:pt x="193" y="28"/>
                    <a:pt x="193" y="28"/>
                  </a:cubicBezTo>
                  <a:cubicBezTo>
                    <a:pt x="193" y="28"/>
                    <a:pt x="192" y="28"/>
                    <a:pt x="192" y="28"/>
                  </a:cubicBezTo>
                  <a:cubicBezTo>
                    <a:pt x="191" y="28"/>
                    <a:pt x="191" y="28"/>
                    <a:pt x="191" y="28"/>
                  </a:cubicBezTo>
                  <a:cubicBezTo>
                    <a:pt x="190" y="28"/>
                    <a:pt x="189" y="28"/>
                    <a:pt x="188" y="28"/>
                  </a:cubicBezTo>
                  <a:cubicBezTo>
                    <a:pt x="188" y="28"/>
                    <a:pt x="187" y="28"/>
                    <a:pt x="187" y="28"/>
                  </a:cubicBezTo>
                  <a:cubicBezTo>
                    <a:pt x="187" y="28"/>
                    <a:pt x="187" y="28"/>
                    <a:pt x="187" y="28"/>
                  </a:cubicBezTo>
                  <a:cubicBezTo>
                    <a:pt x="187" y="29"/>
                    <a:pt x="186" y="31"/>
                    <a:pt x="186" y="35"/>
                  </a:cubicBezTo>
                  <a:cubicBezTo>
                    <a:pt x="185" y="37"/>
                    <a:pt x="185" y="37"/>
                    <a:pt x="185" y="37"/>
                  </a:cubicBezTo>
                  <a:cubicBezTo>
                    <a:pt x="184" y="43"/>
                    <a:pt x="184" y="43"/>
                    <a:pt x="184" y="43"/>
                  </a:cubicBezTo>
                  <a:cubicBezTo>
                    <a:pt x="184" y="43"/>
                    <a:pt x="184" y="44"/>
                    <a:pt x="184" y="44"/>
                  </a:cubicBezTo>
                  <a:cubicBezTo>
                    <a:pt x="184" y="45"/>
                    <a:pt x="184" y="45"/>
                    <a:pt x="184" y="45"/>
                  </a:cubicBezTo>
                  <a:cubicBezTo>
                    <a:pt x="184" y="46"/>
                    <a:pt x="183" y="51"/>
                    <a:pt x="179" y="51"/>
                  </a:cubicBezTo>
                  <a:cubicBezTo>
                    <a:pt x="178" y="51"/>
                    <a:pt x="178" y="51"/>
                    <a:pt x="178" y="51"/>
                  </a:cubicBezTo>
                  <a:cubicBezTo>
                    <a:pt x="163" y="50"/>
                    <a:pt x="163" y="50"/>
                    <a:pt x="163" y="50"/>
                  </a:cubicBezTo>
                  <a:cubicBezTo>
                    <a:pt x="162" y="50"/>
                    <a:pt x="162" y="50"/>
                    <a:pt x="161" y="50"/>
                  </a:cubicBezTo>
                  <a:cubicBezTo>
                    <a:pt x="161" y="50"/>
                    <a:pt x="161" y="50"/>
                    <a:pt x="160" y="50"/>
                  </a:cubicBezTo>
                  <a:cubicBezTo>
                    <a:pt x="158" y="50"/>
                    <a:pt x="157" y="50"/>
                    <a:pt x="155" y="50"/>
                  </a:cubicBezTo>
                  <a:cubicBezTo>
                    <a:pt x="154" y="51"/>
                    <a:pt x="154" y="51"/>
                    <a:pt x="154" y="51"/>
                  </a:cubicBezTo>
                  <a:cubicBezTo>
                    <a:pt x="154" y="51"/>
                    <a:pt x="154" y="51"/>
                    <a:pt x="154" y="51"/>
                  </a:cubicBezTo>
                  <a:cubicBezTo>
                    <a:pt x="153" y="53"/>
                    <a:pt x="151" y="54"/>
                    <a:pt x="150" y="54"/>
                  </a:cubicBezTo>
                  <a:cubicBezTo>
                    <a:pt x="149" y="54"/>
                    <a:pt x="149" y="54"/>
                    <a:pt x="149" y="53"/>
                  </a:cubicBezTo>
                  <a:cubicBezTo>
                    <a:pt x="142" y="53"/>
                    <a:pt x="142" y="53"/>
                    <a:pt x="142" y="53"/>
                  </a:cubicBezTo>
                  <a:cubicBezTo>
                    <a:pt x="136" y="53"/>
                    <a:pt x="135" y="52"/>
                    <a:pt x="132" y="47"/>
                  </a:cubicBezTo>
                  <a:cubicBezTo>
                    <a:pt x="128" y="40"/>
                    <a:pt x="128" y="40"/>
                    <a:pt x="128" y="40"/>
                  </a:cubicBezTo>
                  <a:cubicBezTo>
                    <a:pt x="128" y="40"/>
                    <a:pt x="127" y="39"/>
                    <a:pt x="127" y="38"/>
                  </a:cubicBezTo>
                  <a:cubicBezTo>
                    <a:pt x="126" y="38"/>
                    <a:pt x="126" y="38"/>
                    <a:pt x="126" y="38"/>
                  </a:cubicBezTo>
                  <a:cubicBezTo>
                    <a:pt x="125" y="36"/>
                    <a:pt x="123" y="33"/>
                    <a:pt x="122" y="30"/>
                  </a:cubicBezTo>
                  <a:cubicBezTo>
                    <a:pt x="119" y="23"/>
                    <a:pt x="117" y="18"/>
                    <a:pt x="115" y="10"/>
                  </a:cubicBezTo>
                  <a:cubicBezTo>
                    <a:pt x="114" y="2"/>
                    <a:pt x="113" y="1"/>
                    <a:pt x="113" y="1"/>
                  </a:cubicBezTo>
                  <a:cubicBezTo>
                    <a:pt x="113" y="1"/>
                    <a:pt x="112" y="1"/>
                    <a:pt x="109" y="1"/>
                  </a:cubicBezTo>
                  <a:cubicBezTo>
                    <a:pt x="107" y="1"/>
                    <a:pt x="107" y="1"/>
                    <a:pt x="107" y="1"/>
                  </a:cubicBezTo>
                  <a:cubicBezTo>
                    <a:pt x="106" y="1"/>
                    <a:pt x="105" y="1"/>
                    <a:pt x="104" y="1"/>
                  </a:cubicBezTo>
                  <a:cubicBezTo>
                    <a:pt x="103" y="0"/>
                    <a:pt x="103" y="0"/>
                    <a:pt x="101" y="0"/>
                  </a:cubicBezTo>
                  <a:cubicBezTo>
                    <a:pt x="101" y="0"/>
                    <a:pt x="100" y="0"/>
                    <a:pt x="99" y="0"/>
                  </a:cubicBezTo>
                  <a:cubicBezTo>
                    <a:pt x="73" y="1"/>
                    <a:pt x="73" y="1"/>
                    <a:pt x="73" y="1"/>
                  </a:cubicBezTo>
                  <a:cubicBezTo>
                    <a:pt x="72" y="1"/>
                    <a:pt x="71" y="1"/>
                    <a:pt x="69" y="1"/>
                  </a:cubicBezTo>
                  <a:cubicBezTo>
                    <a:pt x="65" y="1"/>
                    <a:pt x="61" y="1"/>
                    <a:pt x="58" y="1"/>
                  </a:cubicBezTo>
                  <a:cubicBezTo>
                    <a:pt x="56" y="1"/>
                    <a:pt x="56" y="1"/>
                    <a:pt x="56" y="1"/>
                  </a:cubicBezTo>
                  <a:cubicBezTo>
                    <a:pt x="54" y="1"/>
                    <a:pt x="52" y="0"/>
                    <a:pt x="49" y="0"/>
                  </a:cubicBezTo>
                  <a:cubicBezTo>
                    <a:pt x="47" y="0"/>
                    <a:pt x="45" y="0"/>
                    <a:pt x="43" y="0"/>
                  </a:cubicBezTo>
                  <a:cubicBezTo>
                    <a:pt x="41" y="0"/>
                    <a:pt x="41" y="0"/>
                    <a:pt x="41" y="0"/>
                  </a:cubicBezTo>
                  <a:cubicBezTo>
                    <a:pt x="41" y="0"/>
                    <a:pt x="41" y="0"/>
                    <a:pt x="41" y="0"/>
                  </a:cubicBezTo>
                  <a:cubicBezTo>
                    <a:pt x="37" y="0"/>
                    <a:pt x="33" y="0"/>
                    <a:pt x="29" y="0"/>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Freeform 220">
              <a:extLst>
                <a:ext uri="{FF2B5EF4-FFF2-40B4-BE49-F238E27FC236}">
                  <a16:creationId xmlns:a16="http://schemas.microsoft.com/office/drawing/2014/main" id="{CFBF2E7E-78F8-4EE1-9B99-977C14759314}"/>
                </a:ext>
              </a:extLst>
            </p:cNvPr>
            <p:cNvSpPr>
              <a:spLocks/>
            </p:cNvSpPr>
            <p:nvPr/>
          </p:nvSpPr>
          <p:spPr bwMode="auto">
            <a:xfrm>
              <a:off x="4892" y="3218"/>
              <a:ext cx="633" cy="544"/>
            </a:xfrm>
            <a:custGeom>
              <a:avLst/>
              <a:gdLst>
                <a:gd name="T0" fmla="*/ 163 w 268"/>
                <a:gd name="T1" fmla="*/ 6 h 230"/>
                <a:gd name="T2" fmla="*/ 157 w 268"/>
                <a:gd name="T3" fmla="*/ 16 h 230"/>
                <a:gd name="T4" fmla="*/ 154 w 268"/>
                <a:gd name="T5" fmla="*/ 26 h 230"/>
                <a:gd name="T6" fmla="*/ 155 w 268"/>
                <a:gd name="T7" fmla="*/ 29 h 230"/>
                <a:gd name="T8" fmla="*/ 156 w 268"/>
                <a:gd name="T9" fmla="*/ 39 h 230"/>
                <a:gd name="T10" fmla="*/ 155 w 268"/>
                <a:gd name="T11" fmla="*/ 46 h 230"/>
                <a:gd name="T12" fmla="*/ 154 w 268"/>
                <a:gd name="T13" fmla="*/ 83 h 230"/>
                <a:gd name="T14" fmla="*/ 164 w 268"/>
                <a:gd name="T15" fmla="*/ 93 h 230"/>
                <a:gd name="T16" fmla="*/ 167 w 268"/>
                <a:gd name="T17" fmla="*/ 93 h 230"/>
                <a:gd name="T18" fmla="*/ 177 w 268"/>
                <a:gd name="T19" fmla="*/ 89 h 230"/>
                <a:gd name="T20" fmla="*/ 182 w 268"/>
                <a:gd name="T21" fmla="*/ 124 h 230"/>
                <a:gd name="T22" fmla="*/ 178 w 268"/>
                <a:gd name="T23" fmla="*/ 125 h 230"/>
                <a:gd name="T24" fmla="*/ 173 w 268"/>
                <a:gd name="T25" fmla="*/ 121 h 230"/>
                <a:gd name="T26" fmla="*/ 160 w 268"/>
                <a:gd name="T27" fmla="*/ 121 h 230"/>
                <a:gd name="T28" fmla="*/ 138 w 268"/>
                <a:gd name="T29" fmla="*/ 98 h 230"/>
                <a:gd name="T30" fmla="*/ 123 w 268"/>
                <a:gd name="T31" fmla="*/ 89 h 230"/>
                <a:gd name="T32" fmla="*/ 118 w 268"/>
                <a:gd name="T33" fmla="*/ 80 h 230"/>
                <a:gd name="T34" fmla="*/ 112 w 268"/>
                <a:gd name="T35" fmla="*/ 89 h 230"/>
                <a:gd name="T36" fmla="*/ 85 w 268"/>
                <a:gd name="T37" fmla="*/ 86 h 230"/>
                <a:gd name="T38" fmla="*/ 72 w 268"/>
                <a:gd name="T39" fmla="*/ 72 h 230"/>
                <a:gd name="T40" fmla="*/ 64 w 268"/>
                <a:gd name="T41" fmla="*/ 73 h 230"/>
                <a:gd name="T42" fmla="*/ 52 w 268"/>
                <a:gd name="T43" fmla="*/ 77 h 230"/>
                <a:gd name="T44" fmla="*/ 51 w 268"/>
                <a:gd name="T45" fmla="*/ 69 h 230"/>
                <a:gd name="T46" fmla="*/ 48 w 268"/>
                <a:gd name="T47" fmla="*/ 85 h 230"/>
                <a:gd name="T48" fmla="*/ 45 w 268"/>
                <a:gd name="T49" fmla="*/ 105 h 230"/>
                <a:gd name="T50" fmla="*/ 48 w 268"/>
                <a:gd name="T51" fmla="*/ 114 h 230"/>
                <a:gd name="T52" fmla="*/ 1 w 268"/>
                <a:gd name="T53" fmla="*/ 113 h 230"/>
                <a:gd name="T54" fmla="*/ 0 w 268"/>
                <a:gd name="T55" fmla="*/ 116 h 230"/>
                <a:gd name="T56" fmla="*/ 0 w 268"/>
                <a:gd name="T57" fmla="*/ 185 h 230"/>
                <a:gd name="T58" fmla="*/ 29 w 268"/>
                <a:gd name="T59" fmla="*/ 217 h 230"/>
                <a:gd name="T60" fmla="*/ 32 w 268"/>
                <a:gd name="T61" fmla="*/ 219 h 230"/>
                <a:gd name="T62" fmla="*/ 49 w 268"/>
                <a:gd name="T63" fmla="*/ 216 h 230"/>
                <a:gd name="T64" fmla="*/ 70 w 268"/>
                <a:gd name="T65" fmla="*/ 220 h 230"/>
                <a:gd name="T66" fmla="*/ 75 w 268"/>
                <a:gd name="T67" fmla="*/ 223 h 230"/>
                <a:gd name="T68" fmla="*/ 103 w 268"/>
                <a:gd name="T69" fmla="*/ 230 h 230"/>
                <a:gd name="T70" fmla="*/ 108 w 268"/>
                <a:gd name="T71" fmla="*/ 230 h 230"/>
                <a:gd name="T72" fmla="*/ 115 w 268"/>
                <a:gd name="T73" fmla="*/ 226 h 230"/>
                <a:gd name="T74" fmla="*/ 123 w 268"/>
                <a:gd name="T75" fmla="*/ 217 h 230"/>
                <a:gd name="T76" fmla="*/ 126 w 268"/>
                <a:gd name="T77" fmla="*/ 214 h 230"/>
                <a:gd name="T78" fmla="*/ 133 w 268"/>
                <a:gd name="T79" fmla="*/ 205 h 230"/>
                <a:gd name="T80" fmla="*/ 145 w 268"/>
                <a:gd name="T81" fmla="*/ 199 h 230"/>
                <a:gd name="T82" fmla="*/ 155 w 268"/>
                <a:gd name="T83" fmla="*/ 189 h 230"/>
                <a:gd name="T84" fmla="*/ 158 w 268"/>
                <a:gd name="T85" fmla="*/ 181 h 230"/>
                <a:gd name="T86" fmla="*/ 180 w 268"/>
                <a:gd name="T87" fmla="*/ 171 h 230"/>
                <a:gd name="T88" fmla="*/ 191 w 268"/>
                <a:gd name="T89" fmla="*/ 172 h 230"/>
                <a:gd name="T90" fmla="*/ 188 w 268"/>
                <a:gd name="T91" fmla="*/ 158 h 230"/>
                <a:gd name="T92" fmla="*/ 251 w 268"/>
                <a:gd name="T93" fmla="*/ 134 h 230"/>
                <a:gd name="T94" fmla="*/ 246 w 268"/>
                <a:gd name="T95" fmla="*/ 126 h 230"/>
                <a:gd name="T96" fmla="*/ 250 w 268"/>
                <a:gd name="T97" fmla="*/ 120 h 230"/>
                <a:gd name="T98" fmla="*/ 254 w 268"/>
                <a:gd name="T99" fmla="*/ 103 h 230"/>
                <a:gd name="T100" fmla="*/ 257 w 268"/>
                <a:gd name="T101" fmla="*/ 98 h 230"/>
                <a:gd name="T102" fmla="*/ 260 w 268"/>
                <a:gd name="T103" fmla="*/ 98 h 230"/>
                <a:gd name="T104" fmla="*/ 259 w 268"/>
                <a:gd name="T105" fmla="*/ 84 h 230"/>
                <a:gd name="T106" fmla="*/ 259 w 268"/>
                <a:gd name="T107" fmla="*/ 71 h 230"/>
                <a:gd name="T108" fmla="*/ 260 w 268"/>
                <a:gd name="T109" fmla="*/ 63 h 230"/>
                <a:gd name="T110" fmla="*/ 261 w 268"/>
                <a:gd name="T111" fmla="*/ 57 h 230"/>
                <a:gd name="T112" fmla="*/ 268 w 268"/>
                <a:gd name="T113" fmla="*/ 52 h 230"/>
                <a:gd name="T114" fmla="*/ 252 w 268"/>
                <a:gd name="T115" fmla="*/ 27 h 230"/>
                <a:gd name="T116" fmla="*/ 229 w 268"/>
                <a:gd name="T117" fmla="*/ 19 h 230"/>
                <a:gd name="T118" fmla="*/ 223 w 268"/>
                <a:gd name="T119" fmla="*/ 15 h 230"/>
                <a:gd name="T120" fmla="*/ 211 w 268"/>
                <a:gd name="T121" fmla="*/ 11 h 230"/>
                <a:gd name="T122" fmla="*/ 200 w 268"/>
                <a:gd name="T123" fmla="*/ 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8" h="230">
                  <a:moveTo>
                    <a:pt x="197" y="0"/>
                  </a:moveTo>
                  <a:cubicBezTo>
                    <a:pt x="189" y="2"/>
                    <a:pt x="189" y="2"/>
                    <a:pt x="189" y="2"/>
                  </a:cubicBezTo>
                  <a:cubicBezTo>
                    <a:pt x="181" y="3"/>
                    <a:pt x="172" y="4"/>
                    <a:pt x="163" y="6"/>
                  </a:cubicBezTo>
                  <a:cubicBezTo>
                    <a:pt x="163" y="6"/>
                    <a:pt x="163" y="6"/>
                    <a:pt x="163" y="6"/>
                  </a:cubicBezTo>
                  <a:cubicBezTo>
                    <a:pt x="163" y="6"/>
                    <a:pt x="163" y="7"/>
                    <a:pt x="163" y="8"/>
                  </a:cubicBezTo>
                  <a:cubicBezTo>
                    <a:pt x="163" y="10"/>
                    <a:pt x="161" y="12"/>
                    <a:pt x="159" y="14"/>
                  </a:cubicBezTo>
                  <a:cubicBezTo>
                    <a:pt x="159" y="15"/>
                    <a:pt x="159" y="15"/>
                    <a:pt x="159" y="15"/>
                  </a:cubicBezTo>
                  <a:cubicBezTo>
                    <a:pt x="158" y="15"/>
                    <a:pt x="158" y="15"/>
                    <a:pt x="157" y="16"/>
                  </a:cubicBezTo>
                  <a:cubicBezTo>
                    <a:pt x="155" y="18"/>
                    <a:pt x="153" y="20"/>
                    <a:pt x="151" y="21"/>
                  </a:cubicBezTo>
                  <a:cubicBezTo>
                    <a:pt x="152" y="22"/>
                    <a:pt x="152" y="22"/>
                    <a:pt x="152" y="22"/>
                  </a:cubicBezTo>
                  <a:cubicBezTo>
                    <a:pt x="155" y="25"/>
                    <a:pt x="155" y="25"/>
                    <a:pt x="155" y="25"/>
                  </a:cubicBezTo>
                  <a:cubicBezTo>
                    <a:pt x="154" y="26"/>
                    <a:pt x="154" y="26"/>
                    <a:pt x="154" y="26"/>
                  </a:cubicBezTo>
                  <a:cubicBezTo>
                    <a:pt x="154" y="26"/>
                    <a:pt x="154" y="26"/>
                    <a:pt x="154" y="26"/>
                  </a:cubicBezTo>
                  <a:cubicBezTo>
                    <a:pt x="154" y="27"/>
                    <a:pt x="154" y="27"/>
                    <a:pt x="154" y="27"/>
                  </a:cubicBezTo>
                  <a:cubicBezTo>
                    <a:pt x="154" y="27"/>
                    <a:pt x="154" y="27"/>
                    <a:pt x="154" y="27"/>
                  </a:cubicBezTo>
                  <a:cubicBezTo>
                    <a:pt x="154" y="28"/>
                    <a:pt x="155" y="28"/>
                    <a:pt x="155" y="29"/>
                  </a:cubicBezTo>
                  <a:cubicBezTo>
                    <a:pt x="155" y="30"/>
                    <a:pt x="155" y="30"/>
                    <a:pt x="155" y="30"/>
                  </a:cubicBezTo>
                  <a:cubicBezTo>
                    <a:pt x="156" y="32"/>
                    <a:pt x="157" y="33"/>
                    <a:pt x="156" y="36"/>
                  </a:cubicBezTo>
                  <a:cubicBezTo>
                    <a:pt x="156" y="36"/>
                    <a:pt x="156" y="37"/>
                    <a:pt x="156" y="38"/>
                  </a:cubicBezTo>
                  <a:cubicBezTo>
                    <a:pt x="156" y="39"/>
                    <a:pt x="156" y="39"/>
                    <a:pt x="156" y="39"/>
                  </a:cubicBezTo>
                  <a:cubicBezTo>
                    <a:pt x="156" y="40"/>
                    <a:pt x="156" y="41"/>
                    <a:pt x="155" y="42"/>
                  </a:cubicBezTo>
                  <a:cubicBezTo>
                    <a:pt x="155" y="44"/>
                    <a:pt x="155" y="44"/>
                    <a:pt x="155" y="44"/>
                  </a:cubicBezTo>
                  <a:cubicBezTo>
                    <a:pt x="155" y="45"/>
                    <a:pt x="155" y="45"/>
                    <a:pt x="155" y="45"/>
                  </a:cubicBezTo>
                  <a:cubicBezTo>
                    <a:pt x="155" y="46"/>
                    <a:pt x="155" y="46"/>
                    <a:pt x="155" y="46"/>
                  </a:cubicBezTo>
                  <a:cubicBezTo>
                    <a:pt x="156" y="50"/>
                    <a:pt x="155" y="54"/>
                    <a:pt x="154" y="59"/>
                  </a:cubicBezTo>
                  <a:cubicBezTo>
                    <a:pt x="154" y="61"/>
                    <a:pt x="153" y="62"/>
                    <a:pt x="152" y="64"/>
                  </a:cubicBezTo>
                  <a:cubicBezTo>
                    <a:pt x="151" y="69"/>
                    <a:pt x="149" y="74"/>
                    <a:pt x="151" y="79"/>
                  </a:cubicBezTo>
                  <a:cubicBezTo>
                    <a:pt x="152" y="81"/>
                    <a:pt x="152" y="81"/>
                    <a:pt x="154" y="83"/>
                  </a:cubicBezTo>
                  <a:cubicBezTo>
                    <a:pt x="157" y="85"/>
                    <a:pt x="160" y="87"/>
                    <a:pt x="162" y="90"/>
                  </a:cubicBezTo>
                  <a:cubicBezTo>
                    <a:pt x="163" y="91"/>
                    <a:pt x="163" y="91"/>
                    <a:pt x="163" y="92"/>
                  </a:cubicBezTo>
                  <a:cubicBezTo>
                    <a:pt x="164" y="93"/>
                    <a:pt x="164" y="93"/>
                    <a:pt x="164" y="93"/>
                  </a:cubicBezTo>
                  <a:cubicBezTo>
                    <a:pt x="164" y="93"/>
                    <a:pt x="164" y="93"/>
                    <a:pt x="164" y="93"/>
                  </a:cubicBezTo>
                  <a:cubicBezTo>
                    <a:pt x="165" y="93"/>
                    <a:pt x="165" y="93"/>
                    <a:pt x="165" y="93"/>
                  </a:cubicBezTo>
                  <a:cubicBezTo>
                    <a:pt x="165" y="93"/>
                    <a:pt x="165" y="93"/>
                    <a:pt x="165" y="93"/>
                  </a:cubicBezTo>
                  <a:cubicBezTo>
                    <a:pt x="165" y="93"/>
                    <a:pt x="166" y="93"/>
                    <a:pt x="166" y="93"/>
                  </a:cubicBezTo>
                  <a:cubicBezTo>
                    <a:pt x="167" y="93"/>
                    <a:pt x="167" y="93"/>
                    <a:pt x="167" y="93"/>
                  </a:cubicBezTo>
                  <a:cubicBezTo>
                    <a:pt x="168" y="93"/>
                    <a:pt x="169" y="94"/>
                    <a:pt x="169" y="94"/>
                  </a:cubicBezTo>
                  <a:cubicBezTo>
                    <a:pt x="170" y="94"/>
                    <a:pt x="170" y="94"/>
                    <a:pt x="170" y="94"/>
                  </a:cubicBezTo>
                  <a:cubicBezTo>
                    <a:pt x="170" y="93"/>
                    <a:pt x="170" y="92"/>
                    <a:pt x="171" y="91"/>
                  </a:cubicBezTo>
                  <a:cubicBezTo>
                    <a:pt x="173" y="89"/>
                    <a:pt x="175" y="89"/>
                    <a:pt x="177" y="89"/>
                  </a:cubicBezTo>
                  <a:cubicBezTo>
                    <a:pt x="178" y="89"/>
                    <a:pt x="179" y="89"/>
                    <a:pt x="179" y="88"/>
                  </a:cubicBezTo>
                  <a:cubicBezTo>
                    <a:pt x="183" y="86"/>
                    <a:pt x="183" y="86"/>
                    <a:pt x="183" y="86"/>
                  </a:cubicBezTo>
                  <a:cubicBezTo>
                    <a:pt x="184" y="123"/>
                    <a:pt x="184" y="123"/>
                    <a:pt x="184" y="123"/>
                  </a:cubicBezTo>
                  <a:cubicBezTo>
                    <a:pt x="182" y="124"/>
                    <a:pt x="182" y="124"/>
                    <a:pt x="182" y="124"/>
                  </a:cubicBezTo>
                  <a:cubicBezTo>
                    <a:pt x="181" y="125"/>
                    <a:pt x="181" y="125"/>
                    <a:pt x="180" y="125"/>
                  </a:cubicBezTo>
                  <a:cubicBezTo>
                    <a:pt x="179" y="125"/>
                    <a:pt x="179" y="125"/>
                    <a:pt x="179" y="125"/>
                  </a:cubicBezTo>
                  <a:cubicBezTo>
                    <a:pt x="179" y="125"/>
                    <a:pt x="178" y="125"/>
                    <a:pt x="178" y="125"/>
                  </a:cubicBezTo>
                  <a:cubicBezTo>
                    <a:pt x="178" y="125"/>
                    <a:pt x="178" y="125"/>
                    <a:pt x="178" y="125"/>
                  </a:cubicBezTo>
                  <a:cubicBezTo>
                    <a:pt x="177" y="124"/>
                    <a:pt x="177" y="124"/>
                    <a:pt x="176" y="124"/>
                  </a:cubicBezTo>
                  <a:cubicBezTo>
                    <a:pt x="175" y="124"/>
                    <a:pt x="174" y="123"/>
                    <a:pt x="174" y="121"/>
                  </a:cubicBezTo>
                  <a:cubicBezTo>
                    <a:pt x="174" y="120"/>
                    <a:pt x="174" y="120"/>
                    <a:pt x="174" y="120"/>
                  </a:cubicBezTo>
                  <a:cubicBezTo>
                    <a:pt x="173" y="121"/>
                    <a:pt x="173" y="121"/>
                    <a:pt x="173" y="121"/>
                  </a:cubicBezTo>
                  <a:cubicBezTo>
                    <a:pt x="172" y="121"/>
                    <a:pt x="172" y="122"/>
                    <a:pt x="171" y="122"/>
                  </a:cubicBezTo>
                  <a:cubicBezTo>
                    <a:pt x="171" y="122"/>
                    <a:pt x="171" y="122"/>
                    <a:pt x="170" y="122"/>
                  </a:cubicBezTo>
                  <a:cubicBezTo>
                    <a:pt x="169" y="123"/>
                    <a:pt x="167" y="124"/>
                    <a:pt x="165" y="124"/>
                  </a:cubicBezTo>
                  <a:cubicBezTo>
                    <a:pt x="164" y="124"/>
                    <a:pt x="162" y="123"/>
                    <a:pt x="160" y="121"/>
                  </a:cubicBezTo>
                  <a:cubicBezTo>
                    <a:pt x="145" y="100"/>
                    <a:pt x="145" y="100"/>
                    <a:pt x="145" y="100"/>
                  </a:cubicBezTo>
                  <a:cubicBezTo>
                    <a:pt x="145" y="100"/>
                    <a:pt x="144" y="100"/>
                    <a:pt x="143" y="100"/>
                  </a:cubicBezTo>
                  <a:cubicBezTo>
                    <a:pt x="142" y="100"/>
                    <a:pt x="142" y="100"/>
                    <a:pt x="142" y="100"/>
                  </a:cubicBezTo>
                  <a:cubicBezTo>
                    <a:pt x="141" y="99"/>
                    <a:pt x="139" y="98"/>
                    <a:pt x="138" y="98"/>
                  </a:cubicBezTo>
                  <a:cubicBezTo>
                    <a:pt x="137" y="97"/>
                    <a:pt x="135" y="96"/>
                    <a:pt x="134" y="96"/>
                  </a:cubicBezTo>
                  <a:cubicBezTo>
                    <a:pt x="134" y="96"/>
                    <a:pt x="133" y="96"/>
                    <a:pt x="132" y="96"/>
                  </a:cubicBezTo>
                  <a:cubicBezTo>
                    <a:pt x="131" y="96"/>
                    <a:pt x="130" y="96"/>
                    <a:pt x="129" y="96"/>
                  </a:cubicBezTo>
                  <a:cubicBezTo>
                    <a:pt x="126" y="95"/>
                    <a:pt x="124" y="92"/>
                    <a:pt x="123" y="89"/>
                  </a:cubicBezTo>
                  <a:cubicBezTo>
                    <a:pt x="123" y="88"/>
                    <a:pt x="123" y="88"/>
                    <a:pt x="123" y="88"/>
                  </a:cubicBezTo>
                  <a:cubicBezTo>
                    <a:pt x="122" y="88"/>
                    <a:pt x="122" y="87"/>
                    <a:pt x="122" y="87"/>
                  </a:cubicBezTo>
                  <a:cubicBezTo>
                    <a:pt x="122" y="86"/>
                    <a:pt x="121" y="86"/>
                    <a:pt x="121" y="85"/>
                  </a:cubicBezTo>
                  <a:cubicBezTo>
                    <a:pt x="119" y="82"/>
                    <a:pt x="118" y="81"/>
                    <a:pt x="118" y="80"/>
                  </a:cubicBezTo>
                  <a:cubicBezTo>
                    <a:pt x="118" y="81"/>
                    <a:pt x="118" y="81"/>
                    <a:pt x="118" y="81"/>
                  </a:cubicBezTo>
                  <a:cubicBezTo>
                    <a:pt x="117" y="83"/>
                    <a:pt x="117" y="83"/>
                    <a:pt x="117" y="83"/>
                  </a:cubicBezTo>
                  <a:cubicBezTo>
                    <a:pt x="117" y="84"/>
                    <a:pt x="117" y="87"/>
                    <a:pt x="115" y="88"/>
                  </a:cubicBezTo>
                  <a:cubicBezTo>
                    <a:pt x="114" y="89"/>
                    <a:pt x="113" y="89"/>
                    <a:pt x="112" y="89"/>
                  </a:cubicBezTo>
                  <a:cubicBezTo>
                    <a:pt x="112" y="89"/>
                    <a:pt x="111" y="89"/>
                    <a:pt x="111" y="89"/>
                  </a:cubicBezTo>
                  <a:cubicBezTo>
                    <a:pt x="87" y="86"/>
                    <a:pt x="87" y="86"/>
                    <a:pt x="87" y="86"/>
                  </a:cubicBezTo>
                  <a:cubicBezTo>
                    <a:pt x="87" y="86"/>
                    <a:pt x="86" y="86"/>
                    <a:pt x="86" y="86"/>
                  </a:cubicBezTo>
                  <a:cubicBezTo>
                    <a:pt x="85" y="86"/>
                    <a:pt x="85" y="86"/>
                    <a:pt x="85" y="86"/>
                  </a:cubicBezTo>
                  <a:cubicBezTo>
                    <a:pt x="83" y="86"/>
                    <a:pt x="80" y="85"/>
                    <a:pt x="78" y="84"/>
                  </a:cubicBezTo>
                  <a:cubicBezTo>
                    <a:pt x="77" y="84"/>
                    <a:pt x="77" y="83"/>
                    <a:pt x="76" y="82"/>
                  </a:cubicBezTo>
                  <a:cubicBezTo>
                    <a:pt x="75" y="81"/>
                    <a:pt x="75" y="81"/>
                    <a:pt x="74" y="80"/>
                  </a:cubicBezTo>
                  <a:cubicBezTo>
                    <a:pt x="72" y="77"/>
                    <a:pt x="72" y="75"/>
                    <a:pt x="72" y="72"/>
                  </a:cubicBezTo>
                  <a:cubicBezTo>
                    <a:pt x="71" y="72"/>
                    <a:pt x="70" y="72"/>
                    <a:pt x="69" y="73"/>
                  </a:cubicBezTo>
                  <a:cubicBezTo>
                    <a:pt x="68" y="73"/>
                    <a:pt x="68" y="73"/>
                    <a:pt x="68" y="73"/>
                  </a:cubicBezTo>
                  <a:cubicBezTo>
                    <a:pt x="67" y="73"/>
                    <a:pt x="66" y="73"/>
                    <a:pt x="65" y="73"/>
                  </a:cubicBezTo>
                  <a:cubicBezTo>
                    <a:pt x="65" y="73"/>
                    <a:pt x="65" y="73"/>
                    <a:pt x="64" y="73"/>
                  </a:cubicBezTo>
                  <a:cubicBezTo>
                    <a:pt x="63" y="74"/>
                    <a:pt x="63" y="74"/>
                    <a:pt x="62" y="75"/>
                  </a:cubicBezTo>
                  <a:cubicBezTo>
                    <a:pt x="60" y="75"/>
                    <a:pt x="60" y="75"/>
                    <a:pt x="60" y="75"/>
                  </a:cubicBezTo>
                  <a:cubicBezTo>
                    <a:pt x="60" y="76"/>
                    <a:pt x="56" y="77"/>
                    <a:pt x="54" y="77"/>
                  </a:cubicBezTo>
                  <a:cubicBezTo>
                    <a:pt x="53" y="77"/>
                    <a:pt x="52" y="77"/>
                    <a:pt x="52" y="77"/>
                  </a:cubicBezTo>
                  <a:cubicBezTo>
                    <a:pt x="50" y="76"/>
                    <a:pt x="49" y="75"/>
                    <a:pt x="48" y="73"/>
                  </a:cubicBezTo>
                  <a:cubicBezTo>
                    <a:pt x="48" y="71"/>
                    <a:pt x="48" y="71"/>
                    <a:pt x="48" y="71"/>
                  </a:cubicBezTo>
                  <a:cubicBezTo>
                    <a:pt x="50" y="70"/>
                    <a:pt x="50" y="70"/>
                    <a:pt x="50" y="70"/>
                  </a:cubicBezTo>
                  <a:cubicBezTo>
                    <a:pt x="50" y="70"/>
                    <a:pt x="50" y="69"/>
                    <a:pt x="51" y="69"/>
                  </a:cubicBezTo>
                  <a:cubicBezTo>
                    <a:pt x="51" y="69"/>
                    <a:pt x="51" y="69"/>
                    <a:pt x="51" y="69"/>
                  </a:cubicBezTo>
                  <a:cubicBezTo>
                    <a:pt x="50" y="68"/>
                    <a:pt x="48" y="67"/>
                    <a:pt x="47" y="66"/>
                  </a:cubicBezTo>
                  <a:cubicBezTo>
                    <a:pt x="47" y="80"/>
                    <a:pt x="47" y="80"/>
                    <a:pt x="47" y="80"/>
                  </a:cubicBezTo>
                  <a:cubicBezTo>
                    <a:pt x="47" y="81"/>
                    <a:pt x="48" y="83"/>
                    <a:pt x="48" y="85"/>
                  </a:cubicBezTo>
                  <a:cubicBezTo>
                    <a:pt x="48" y="89"/>
                    <a:pt x="49" y="94"/>
                    <a:pt x="48" y="97"/>
                  </a:cubicBezTo>
                  <a:cubicBezTo>
                    <a:pt x="48" y="98"/>
                    <a:pt x="47" y="99"/>
                    <a:pt x="47" y="100"/>
                  </a:cubicBezTo>
                  <a:cubicBezTo>
                    <a:pt x="47" y="100"/>
                    <a:pt x="46" y="101"/>
                    <a:pt x="46" y="102"/>
                  </a:cubicBezTo>
                  <a:cubicBezTo>
                    <a:pt x="46" y="103"/>
                    <a:pt x="45" y="104"/>
                    <a:pt x="45" y="105"/>
                  </a:cubicBezTo>
                  <a:cubicBezTo>
                    <a:pt x="45" y="105"/>
                    <a:pt x="45" y="105"/>
                    <a:pt x="45" y="105"/>
                  </a:cubicBezTo>
                  <a:cubicBezTo>
                    <a:pt x="44" y="106"/>
                    <a:pt x="44" y="106"/>
                    <a:pt x="45" y="107"/>
                  </a:cubicBezTo>
                  <a:cubicBezTo>
                    <a:pt x="46" y="108"/>
                    <a:pt x="46" y="109"/>
                    <a:pt x="47" y="110"/>
                  </a:cubicBezTo>
                  <a:cubicBezTo>
                    <a:pt x="48" y="114"/>
                    <a:pt x="48" y="114"/>
                    <a:pt x="48" y="114"/>
                  </a:cubicBezTo>
                  <a:cubicBezTo>
                    <a:pt x="20" y="114"/>
                    <a:pt x="20" y="114"/>
                    <a:pt x="20" y="114"/>
                  </a:cubicBezTo>
                  <a:cubicBezTo>
                    <a:pt x="19" y="114"/>
                    <a:pt x="17" y="114"/>
                    <a:pt x="15" y="114"/>
                  </a:cubicBezTo>
                  <a:cubicBezTo>
                    <a:pt x="12" y="113"/>
                    <a:pt x="8" y="113"/>
                    <a:pt x="5" y="113"/>
                  </a:cubicBezTo>
                  <a:cubicBezTo>
                    <a:pt x="4" y="113"/>
                    <a:pt x="2" y="113"/>
                    <a:pt x="1" y="113"/>
                  </a:cubicBezTo>
                  <a:cubicBezTo>
                    <a:pt x="0" y="113"/>
                    <a:pt x="0" y="114"/>
                    <a:pt x="0" y="114"/>
                  </a:cubicBezTo>
                  <a:cubicBezTo>
                    <a:pt x="0" y="114"/>
                    <a:pt x="0" y="114"/>
                    <a:pt x="0" y="115"/>
                  </a:cubicBezTo>
                  <a:cubicBezTo>
                    <a:pt x="0" y="115"/>
                    <a:pt x="0" y="115"/>
                    <a:pt x="0" y="115"/>
                  </a:cubicBezTo>
                  <a:cubicBezTo>
                    <a:pt x="0" y="115"/>
                    <a:pt x="0" y="116"/>
                    <a:pt x="0" y="116"/>
                  </a:cubicBezTo>
                  <a:cubicBezTo>
                    <a:pt x="0" y="124"/>
                    <a:pt x="0" y="124"/>
                    <a:pt x="0" y="124"/>
                  </a:cubicBezTo>
                  <a:cubicBezTo>
                    <a:pt x="0" y="176"/>
                    <a:pt x="0" y="176"/>
                    <a:pt x="0" y="176"/>
                  </a:cubicBezTo>
                  <a:cubicBezTo>
                    <a:pt x="0" y="178"/>
                    <a:pt x="0" y="178"/>
                    <a:pt x="0" y="178"/>
                  </a:cubicBezTo>
                  <a:cubicBezTo>
                    <a:pt x="0" y="181"/>
                    <a:pt x="0" y="183"/>
                    <a:pt x="0" y="185"/>
                  </a:cubicBezTo>
                  <a:cubicBezTo>
                    <a:pt x="0" y="187"/>
                    <a:pt x="0" y="187"/>
                    <a:pt x="0" y="187"/>
                  </a:cubicBezTo>
                  <a:cubicBezTo>
                    <a:pt x="1" y="190"/>
                    <a:pt x="2" y="193"/>
                    <a:pt x="4" y="195"/>
                  </a:cubicBezTo>
                  <a:cubicBezTo>
                    <a:pt x="29" y="216"/>
                    <a:pt x="29" y="216"/>
                    <a:pt x="29" y="216"/>
                  </a:cubicBezTo>
                  <a:cubicBezTo>
                    <a:pt x="29" y="217"/>
                    <a:pt x="29" y="217"/>
                    <a:pt x="29" y="217"/>
                  </a:cubicBezTo>
                  <a:cubicBezTo>
                    <a:pt x="30" y="217"/>
                    <a:pt x="30" y="217"/>
                    <a:pt x="30" y="217"/>
                  </a:cubicBezTo>
                  <a:cubicBezTo>
                    <a:pt x="30" y="218"/>
                    <a:pt x="30" y="218"/>
                    <a:pt x="30" y="218"/>
                  </a:cubicBezTo>
                  <a:cubicBezTo>
                    <a:pt x="32" y="219"/>
                    <a:pt x="32" y="219"/>
                    <a:pt x="32" y="219"/>
                  </a:cubicBezTo>
                  <a:cubicBezTo>
                    <a:pt x="32" y="219"/>
                    <a:pt x="32" y="219"/>
                    <a:pt x="32" y="219"/>
                  </a:cubicBezTo>
                  <a:cubicBezTo>
                    <a:pt x="32" y="219"/>
                    <a:pt x="32" y="219"/>
                    <a:pt x="32" y="219"/>
                  </a:cubicBezTo>
                  <a:cubicBezTo>
                    <a:pt x="33" y="219"/>
                    <a:pt x="35" y="219"/>
                    <a:pt x="36" y="218"/>
                  </a:cubicBezTo>
                  <a:cubicBezTo>
                    <a:pt x="37" y="218"/>
                    <a:pt x="37" y="218"/>
                    <a:pt x="37" y="218"/>
                  </a:cubicBezTo>
                  <a:cubicBezTo>
                    <a:pt x="40" y="217"/>
                    <a:pt x="45" y="216"/>
                    <a:pt x="49" y="216"/>
                  </a:cubicBezTo>
                  <a:cubicBezTo>
                    <a:pt x="50" y="216"/>
                    <a:pt x="50" y="216"/>
                    <a:pt x="51" y="216"/>
                  </a:cubicBezTo>
                  <a:cubicBezTo>
                    <a:pt x="52" y="216"/>
                    <a:pt x="53" y="216"/>
                    <a:pt x="54" y="216"/>
                  </a:cubicBezTo>
                  <a:cubicBezTo>
                    <a:pt x="58" y="216"/>
                    <a:pt x="62" y="217"/>
                    <a:pt x="66" y="218"/>
                  </a:cubicBezTo>
                  <a:cubicBezTo>
                    <a:pt x="68" y="218"/>
                    <a:pt x="69" y="219"/>
                    <a:pt x="70" y="220"/>
                  </a:cubicBezTo>
                  <a:cubicBezTo>
                    <a:pt x="71" y="220"/>
                    <a:pt x="71" y="220"/>
                    <a:pt x="71" y="220"/>
                  </a:cubicBezTo>
                  <a:cubicBezTo>
                    <a:pt x="71" y="221"/>
                    <a:pt x="72" y="221"/>
                    <a:pt x="72" y="221"/>
                  </a:cubicBezTo>
                  <a:cubicBezTo>
                    <a:pt x="72" y="221"/>
                    <a:pt x="72" y="221"/>
                    <a:pt x="72" y="221"/>
                  </a:cubicBezTo>
                  <a:cubicBezTo>
                    <a:pt x="75" y="223"/>
                    <a:pt x="75" y="223"/>
                    <a:pt x="75" y="223"/>
                  </a:cubicBezTo>
                  <a:cubicBezTo>
                    <a:pt x="75" y="224"/>
                    <a:pt x="75" y="224"/>
                    <a:pt x="75" y="224"/>
                  </a:cubicBezTo>
                  <a:cubicBezTo>
                    <a:pt x="75" y="224"/>
                    <a:pt x="75" y="224"/>
                    <a:pt x="75" y="224"/>
                  </a:cubicBezTo>
                  <a:cubicBezTo>
                    <a:pt x="101" y="229"/>
                    <a:pt x="101" y="229"/>
                    <a:pt x="101" y="229"/>
                  </a:cubicBezTo>
                  <a:cubicBezTo>
                    <a:pt x="102" y="229"/>
                    <a:pt x="102" y="229"/>
                    <a:pt x="103" y="230"/>
                  </a:cubicBezTo>
                  <a:cubicBezTo>
                    <a:pt x="104" y="230"/>
                    <a:pt x="105" y="230"/>
                    <a:pt x="105" y="230"/>
                  </a:cubicBezTo>
                  <a:cubicBezTo>
                    <a:pt x="106" y="230"/>
                    <a:pt x="106" y="230"/>
                    <a:pt x="106" y="230"/>
                  </a:cubicBezTo>
                  <a:cubicBezTo>
                    <a:pt x="105" y="225"/>
                    <a:pt x="105" y="225"/>
                    <a:pt x="105" y="225"/>
                  </a:cubicBezTo>
                  <a:cubicBezTo>
                    <a:pt x="108" y="230"/>
                    <a:pt x="108" y="230"/>
                    <a:pt x="108" y="230"/>
                  </a:cubicBezTo>
                  <a:cubicBezTo>
                    <a:pt x="108" y="230"/>
                    <a:pt x="108" y="230"/>
                    <a:pt x="108" y="230"/>
                  </a:cubicBezTo>
                  <a:cubicBezTo>
                    <a:pt x="109" y="229"/>
                    <a:pt x="109" y="229"/>
                    <a:pt x="110" y="229"/>
                  </a:cubicBezTo>
                  <a:cubicBezTo>
                    <a:pt x="111" y="229"/>
                    <a:pt x="111" y="229"/>
                    <a:pt x="112" y="229"/>
                  </a:cubicBezTo>
                  <a:cubicBezTo>
                    <a:pt x="113" y="228"/>
                    <a:pt x="114" y="227"/>
                    <a:pt x="115" y="226"/>
                  </a:cubicBezTo>
                  <a:cubicBezTo>
                    <a:pt x="115" y="226"/>
                    <a:pt x="115" y="225"/>
                    <a:pt x="116" y="225"/>
                  </a:cubicBezTo>
                  <a:cubicBezTo>
                    <a:pt x="116" y="224"/>
                    <a:pt x="117" y="223"/>
                    <a:pt x="118" y="222"/>
                  </a:cubicBezTo>
                  <a:cubicBezTo>
                    <a:pt x="118" y="222"/>
                    <a:pt x="118" y="222"/>
                    <a:pt x="118" y="222"/>
                  </a:cubicBezTo>
                  <a:cubicBezTo>
                    <a:pt x="120" y="220"/>
                    <a:pt x="121" y="219"/>
                    <a:pt x="123" y="217"/>
                  </a:cubicBezTo>
                  <a:cubicBezTo>
                    <a:pt x="123" y="217"/>
                    <a:pt x="123" y="217"/>
                    <a:pt x="123" y="217"/>
                  </a:cubicBezTo>
                  <a:cubicBezTo>
                    <a:pt x="124" y="216"/>
                    <a:pt x="124" y="216"/>
                    <a:pt x="124" y="216"/>
                  </a:cubicBezTo>
                  <a:cubicBezTo>
                    <a:pt x="124" y="216"/>
                    <a:pt x="125" y="215"/>
                    <a:pt x="125" y="215"/>
                  </a:cubicBezTo>
                  <a:cubicBezTo>
                    <a:pt x="126" y="214"/>
                    <a:pt x="126" y="214"/>
                    <a:pt x="126" y="214"/>
                  </a:cubicBezTo>
                  <a:cubicBezTo>
                    <a:pt x="126" y="214"/>
                    <a:pt x="126" y="213"/>
                    <a:pt x="127" y="212"/>
                  </a:cubicBezTo>
                  <a:cubicBezTo>
                    <a:pt x="127" y="212"/>
                    <a:pt x="127" y="212"/>
                    <a:pt x="127" y="212"/>
                  </a:cubicBezTo>
                  <a:cubicBezTo>
                    <a:pt x="127" y="211"/>
                    <a:pt x="128" y="211"/>
                    <a:pt x="128" y="210"/>
                  </a:cubicBezTo>
                  <a:cubicBezTo>
                    <a:pt x="129" y="208"/>
                    <a:pt x="131" y="206"/>
                    <a:pt x="133" y="205"/>
                  </a:cubicBezTo>
                  <a:cubicBezTo>
                    <a:pt x="134" y="204"/>
                    <a:pt x="136" y="202"/>
                    <a:pt x="138" y="201"/>
                  </a:cubicBezTo>
                  <a:cubicBezTo>
                    <a:pt x="140" y="200"/>
                    <a:pt x="140" y="200"/>
                    <a:pt x="140" y="200"/>
                  </a:cubicBezTo>
                  <a:cubicBezTo>
                    <a:pt x="141" y="200"/>
                    <a:pt x="141" y="200"/>
                    <a:pt x="141" y="200"/>
                  </a:cubicBezTo>
                  <a:cubicBezTo>
                    <a:pt x="142" y="200"/>
                    <a:pt x="143" y="199"/>
                    <a:pt x="145" y="199"/>
                  </a:cubicBezTo>
                  <a:cubicBezTo>
                    <a:pt x="145" y="198"/>
                    <a:pt x="145" y="198"/>
                    <a:pt x="145" y="198"/>
                  </a:cubicBezTo>
                  <a:cubicBezTo>
                    <a:pt x="150" y="197"/>
                    <a:pt x="155" y="195"/>
                    <a:pt x="155" y="191"/>
                  </a:cubicBezTo>
                  <a:cubicBezTo>
                    <a:pt x="155" y="190"/>
                    <a:pt x="155" y="190"/>
                    <a:pt x="155" y="190"/>
                  </a:cubicBezTo>
                  <a:cubicBezTo>
                    <a:pt x="155" y="189"/>
                    <a:pt x="155" y="189"/>
                    <a:pt x="155" y="189"/>
                  </a:cubicBezTo>
                  <a:cubicBezTo>
                    <a:pt x="155" y="188"/>
                    <a:pt x="155" y="188"/>
                    <a:pt x="155" y="187"/>
                  </a:cubicBezTo>
                  <a:cubicBezTo>
                    <a:pt x="156" y="186"/>
                    <a:pt x="156" y="186"/>
                    <a:pt x="156" y="186"/>
                  </a:cubicBezTo>
                  <a:cubicBezTo>
                    <a:pt x="156" y="185"/>
                    <a:pt x="157" y="183"/>
                    <a:pt x="158" y="181"/>
                  </a:cubicBezTo>
                  <a:cubicBezTo>
                    <a:pt x="158" y="181"/>
                    <a:pt x="158" y="181"/>
                    <a:pt x="158" y="181"/>
                  </a:cubicBezTo>
                  <a:cubicBezTo>
                    <a:pt x="159" y="180"/>
                    <a:pt x="159" y="180"/>
                    <a:pt x="159" y="180"/>
                  </a:cubicBezTo>
                  <a:cubicBezTo>
                    <a:pt x="160" y="179"/>
                    <a:pt x="161" y="179"/>
                    <a:pt x="162" y="178"/>
                  </a:cubicBezTo>
                  <a:cubicBezTo>
                    <a:pt x="163" y="177"/>
                    <a:pt x="163" y="177"/>
                    <a:pt x="163" y="177"/>
                  </a:cubicBezTo>
                  <a:cubicBezTo>
                    <a:pt x="168" y="175"/>
                    <a:pt x="174" y="172"/>
                    <a:pt x="180" y="171"/>
                  </a:cubicBezTo>
                  <a:cubicBezTo>
                    <a:pt x="181" y="171"/>
                    <a:pt x="182" y="171"/>
                    <a:pt x="182" y="171"/>
                  </a:cubicBezTo>
                  <a:cubicBezTo>
                    <a:pt x="183" y="171"/>
                    <a:pt x="183" y="171"/>
                    <a:pt x="184" y="171"/>
                  </a:cubicBezTo>
                  <a:cubicBezTo>
                    <a:pt x="185" y="171"/>
                    <a:pt x="186" y="171"/>
                    <a:pt x="187" y="171"/>
                  </a:cubicBezTo>
                  <a:cubicBezTo>
                    <a:pt x="189" y="171"/>
                    <a:pt x="190" y="172"/>
                    <a:pt x="191" y="172"/>
                  </a:cubicBezTo>
                  <a:cubicBezTo>
                    <a:pt x="191" y="171"/>
                    <a:pt x="191" y="171"/>
                    <a:pt x="191" y="171"/>
                  </a:cubicBezTo>
                  <a:cubicBezTo>
                    <a:pt x="190" y="168"/>
                    <a:pt x="188" y="164"/>
                    <a:pt x="188" y="161"/>
                  </a:cubicBezTo>
                  <a:cubicBezTo>
                    <a:pt x="187" y="160"/>
                    <a:pt x="187" y="160"/>
                    <a:pt x="187" y="159"/>
                  </a:cubicBezTo>
                  <a:cubicBezTo>
                    <a:pt x="187" y="159"/>
                    <a:pt x="187" y="158"/>
                    <a:pt x="188" y="158"/>
                  </a:cubicBezTo>
                  <a:cubicBezTo>
                    <a:pt x="188" y="156"/>
                    <a:pt x="190" y="156"/>
                    <a:pt x="191" y="155"/>
                  </a:cubicBezTo>
                  <a:cubicBezTo>
                    <a:pt x="252" y="135"/>
                    <a:pt x="252" y="135"/>
                    <a:pt x="252" y="135"/>
                  </a:cubicBezTo>
                  <a:cubicBezTo>
                    <a:pt x="252" y="135"/>
                    <a:pt x="252" y="135"/>
                    <a:pt x="252" y="135"/>
                  </a:cubicBezTo>
                  <a:cubicBezTo>
                    <a:pt x="251" y="134"/>
                    <a:pt x="251" y="134"/>
                    <a:pt x="251" y="134"/>
                  </a:cubicBezTo>
                  <a:cubicBezTo>
                    <a:pt x="251" y="133"/>
                    <a:pt x="250" y="133"/>
                    <a:pt x="250" y="132"/>
                  </a:cubicBezTo>
                  <a:cubicBezTo>
                    <a:pt x="248" y="130"/>
                    <a:pt x="248" y="130"/>
                    <a:pt x="248" y="130"/>
                  </a:cubicBezTo>
                  <a:cubicBezTo>
                    <a:pt x="248" y="129"/>
                    <a:pt x="247" y="129"/>
                    <a:pt x="247" y="128"/>
                  </a:cubicBezTo>
                  <a:cubicBezTo>
                    <a:pt x="246" y="127"/>
                    <a:pt x="246" y="126"/>
                    <a:pt x="246" y="126"/>
                  </a:cubicBezTo>
                  <a:cubicBezTo>
                    <a:pt x="246" y="125"/>
                    <a:pt x="246" y="124"/>
                    <a:pt x="247" y="123"/>
                  </a:cubicBezTo>
                  <a:cubicBezTo>
                    <a:pt x="248" y="122"/>
                    <a:pt x="249" y="122"/>
                    <a:pt x="250" y="121"/>
                  </a:cubicBezTo>
                  <a:cubicBezTo>
                    <a:pt x="250" y="121"/>
                    <a:pt x="250" y="121"/>
                    <a:pt x="250" y="121"/>
                  </a:cubicBezTo>
                  <a:cubicBezTo>
                    <a:pt x="250" y="120"/>
                    <a:pt x="250" y="120"/>
                    <a:pt x="250" y="120"/>
                  </a:cubicBezTo>
                  <a:cubicBezTo>
                    <a:pt x="251" y="120"/>
                    <a:pt x="251" y="119"/>
                    <a:pt x="251" y="119"/>
                  </a:cubicBezTo>
                  <a:cubicBezTo>
                    <a:pt x="251" y="118"/>
                    <a:pt x="251" y="118"/>
                    <a:pt x="251" y="118"/>
                  </a:cubicBezTo>
                  <a:cubicBezTo>
                    <a:pt x="252" y="115"/>
                    <a:pt x="253" y="111"/>
                    <a:pt x="253" y="108"/>
                  </a:cubicBezTo>
                  <a:cubicBezTo>
                    <a:pt x="254" y="106"/>
                    <a:pt x="254" y="105"/>
                    <a:pt x="254" y="103"/>
                  </a:cubicBezTo>
                  <a:cubicBezTo>
                    <a:pt x="254" y="102"/>
                    <a:pt x="254" y="102"/>
                    <a:pt x="254" y="102"/>
                  </a:cubicBezTo>
                  <a:cubicBezTo>
                    <a:pt x="254" y="101"/>
                    <a:pt x="254" y="101"/>
                    <a:pt x="255" y="100"/>
                  </a:cubicBezTo>
                  <a:cubicBezTo>
                    <a:pt x="255" y="98"/>
                    <a:pt x="255" y="98"/>
                    <a:pt x="255" y="98"/>
                  </a:cubicBezTo>
                  <a:cubicBezTo>
                    <a:pt x="257" y="98"/>
                    <a:pt x="257" y="98"/>
                    <a:pt x="257" y="98"/>
                  </a:cubicBezTo>
                  <a:cubicBezTo>
                    <a:pt x="257" y="98"/>
                    <a:pt x="258" y="98"/>
                    <a:pt x="258" y="98"/>
                  </a:cubicBezTo>
                  <a:cubicBezTo>
                    <a:pt x="258" y="98"/>
                    <a:pt x="258" y="98"/>
                    <a:pt x="259" y="98"/>
                  </a:cubicBezTo>
                  <a:cubicBezTo>
                    <a:pt x="259" y="98"/>
                    <a:pt x="259" y="98"/>
                    <a:pt x="260" y="98"/>
                  </a:cubicBezTo>
                  <a:cubicBezTo>
                    <a:pt x="260" y="98"/>
                    <a:pt x="260" y="98"/>
                    <a:pt x="260" y="98"/>
                  </a:cubicBezTo>
                  <a:cubicBezTo>
                    <a:pt x="261" y="98"/>
                    <a:pt x="262" y="97"/>
                    <a:pt x="264" y="96"/>
                  </a:cubicBezTo>
                  <a:cubicBezTo>
                    <a:pt x="261" y="94"/>
                    <a:pt x="260" y="92"/>
                    <a:pt x="259" y="88"/>
                  </a:cubicBezTo>
                  <a:cubicBezTo>
                    <a:pt x="259" y="86"/>
                    <a:pt x="259" y="86"/>
                    <a:pt x="259" y="86"/>
                  </a:cubicBezTo>
                  <a:cubicBezTo>
                    <a:pt x="259" y="85"/>
                    <a:pt x="259" y="85"/>
                    <a:pt x="259" y="84"/>
                  </a:cubicBezTo>
                  <a:cubicBezTo>
                    <a:pt x="259" y="83"/>
                    <a:pt x="259" y="83"/>
                    <a:pt x="259" y="83"/>
                  </a:cubicBezTo>
                  <a:cubicBezTo>
                    <a:pt x="259" y="81"/>
                    <a:pt x="259" y="79"/>
                    <a:pt x="259" y="77"/>
                  </a:cubicBezTo>
                  <a:cubicBezTo>
                    <a:pt x="259" y="76"/>
                    <a:pt x="259" y="76"/>
                    <a:pt x="259" y="75"/>
                  </a:cubicBezTo>
                  <a:cubicBezTo>
                    <a:pt x="259" y="74"/>
                    <a:pt x="259" y="72"/>
                    <a:pt x="259" y="71"/>
                  </a:cubicBezTo>
                  <a:cubicBezTo>
                    <a:pt x="260" y="69"/>
                    <a:pt x="260" y="67"/>
                    <a:pt x="260" y="65"/>
                  </a:cubicBezTo>
                  <a:cubicBezTo>
                    <a:pt x="260" y="65"/>
                    <a:pt x="260" y="64"/>
                    <a:pt x="260" y="64"/>
                  </a:cubicBezTo>
                  <a:cubicBezTo>
                    <a:pt x="260" y="63"/>
                    <a:pt x="260" y="63"/>
                    <a:pt x="260" y="63"/>
                  </a:cubicBezTo>
                  <a:cubicBezTo>
                    <a:pt x="260" y="63"/>
                    <a:pt x="260" y="63"/>
                    <a:pt x="260" y="63"/>
                  </a:cubicBezTo>
                  <a:cubicBezTo>
                    <a:pt x="260" y="63"/>
                    <a:pt x="260" y="62"/>
                    <a:pt x="260" y="62"/>
                  </a:cubicBezTo>
                  <a:cubicBezTo>
                    <a:pt x="260" y="61"/>
                    <a:pt x="260" y="61"/>
                    <a:pt x="260" y="61"/>
                  </a:cubicBezTo>
                  <a:cubicBezTo>
                    <a:pt x="260" y="60"/>
                    <a:pt x="260" y="60"/>
                    <a:pt x="260" y="60"/>
                  </a:cubicBezTo>
                  <a:cubicBezTo>
                    <a:pt x="260" y="59"/>
                    <a:pt x="261" y="58"/>
                    <a:pt x="261" y="57"/>
                  </a:cubicBezTo>
                  <a:cubicBezTo>
                    <a:pt x="262" y="57"/>
                    <a:pt x="262" y="57"/>
                    <a:pt x="262" y="57"/>
                  </a:cubicBezTo>
                  <a:cubicBezTo>
                    <a:pt x="263" y="56"/>
                    <a:pt x="263" y="56"/>
                    <a:pt x="263" y="56"/>
                  </a:cubicBezTo>
                  <a:cubicBezTo>
                    <a:pt x="268" y="52"/>
                    <a:pt x="268" y="52"/>
                    <a:pt x="268" y="52"/>
                  </a:cubicBezTo>
                  <a:cubicBezTo>
                    <a:pt x="268" y="52"/>
                    <a:pt x="268" y="52"/>
                    <a:pt x="268" y="52"/>
                  </a:cubicBezTo>
                  <a:cubicBezTo>
                    <a:pt x="264" y="48"/>
                    <a:pt x="261" y="44"/>
                    <a:pt x="261" y="38"/>
                  </a:cubicBezTo>
                  <a:cubicBezTo>
                    <a:pt x="261" y="36"/>
                    <a:pt x="260" y="35"/>
                    <a:pt x="260" y="34"/>
                  </a:cubicBezTo>
                  <a:cubicBezTo>
                    <a:pt x="259" y="32"/>
                    <a:pt x="256" y="30"/>
                    <a:pt x="253" y="27"/>
                  </a:cubicBezTo>
                  <a:cubicBezTo>
                    <a:pt x="252" y="27"/>
                    <a:pt x="252" y="27"/>
                    <a:pt x="252" y="27"/>
                  </a:cubicBezTo>
                  <a:cubicBezTo>
                    <a:pt x="250" y="26"/>
                    <a:pt x="247" y="25"/>
                    <a:pt x="244" y="24"/>
                  </a:cubicBezTo>
                  <a:cubicBezTo>
                    <a:pt x="244" y="24"/>
                    <a:pt x="244" y="24"/>
                    <a:pt x="244" y="24"/>
                  </a:cubicBezTo>
                  <a:cubicBezTo>
                    <a:pt x="239" y="23"/>
                    <a:pt x="234" y="21"/>
                    <a:pt x="230" y="19"/>
                  </a:cubicBezTo>
                  <a:cubicBezTo>
                    <a:pt x="229" y="19"/>
                    <a:pt x="229" y="19"/>
                    <a:pt x="229" y="19"/>
                  </a:cubicBezTo>
                  <a:cubicBezTo>
                    <a:pt x="228" y="18"/>
                    <a:pt x="228" y="18"/>
                    <a:pt x="228" y="18"/>
                  </a:cubicBezTo>
                  <a:cubicBezTo>
                    <a:pt x="227" y="17"/>
                    <a:pt x="227" y="17"/>
                    <a:pt x="227" y="17"/>
                  </a:cubicBezTo>
                  <a:cubicBezTo>
                    <a:pt x="227" y="17"/>
                    <a:pt x="227" y="17"/>
                    <a:pt x="227" y="17"/>
                  </a:cubicBezTo>
                  <a:cubicBezTo>
                    <a:pt x="226" y="17"/>
                    <a:pt x="224" y="16"/>
                    <a:pt x="223" y="15"/>
                  </a:cubicBezTo>
                  <a:cubicBezTo>
                    <a:pt x="221" y="14"/>
                    <a:pt x="219" y="13"/>
                    <a:pt x="217" y="12"/>
                  </a:cubicBezTo>
                  <a:cubicBezTo>
                    <a:pt x="217" y="12"/>
                    <a:pt x="217" y="12"/>
                    <a:pt x="217" y="12"/>
                  </a:cubicBezTo>
                  <a:cubicBezTo>
                    <a:pt x="216" y="11"/>
                    <a:pt x="214" y="11"/>
                    <a:pt x="212" y="11"/>
                  </a:cubicBezTo>
                  <a:cubicBezTo>
                    <a:pt x="211" y="11"/>
                    <a:pt x="211" y="11"/>
                    <a:pt x="211" y="11"/>
                  </a:cubicBezTo>
                  <a:cubicBezTo>
                    <a:pt x="211" y="10"/>
                    <a:pt x="211" y="10"/>
                    <a:pt x="211" y="10"/>
                  </a:cubicBezTo>
                  <a:cubicBezTo>
                    <a:pt x="211" y="11"/>
                    <a:pt x="211" y="11"/>
                    <a:pt x="211" y="11"/>
                  </a:cubicBezTo>
                  <a:cubicBezTo>
                    <a:pt x="211" y="11"/>
                    <a:pt x="210" y="11"/>
                    <a:pt x="210" y="11"/>
                  </a:cubicBezTo>
                  <a:cubicBezTo>
                    <a:pt x="207" y="11"/>
                    <a:pt x="204" y="6"/>
                    <a:pt x="200" y="4"/>
                  </a:cubicBezTo>
                  <a:cubicBezTo>
                    <a:pt x="200" y="4"/>
                    <a:pt x="200" y="6"/>
                    <a:pt x="199" y="6"/>
                  </a:cubicBezTo>
                  <a:cubicBezTo>
                    <a:pt x="199" y="6"/>
                    <a:pt x="199" y="6"/>
                    <a:pt x="198" y="6"/>
                  </a:cubicBezTo>
                  <a:cubicBezTo>
                    <a:pt x="195" y="5"/>
                    <a:pt x="196" y="3"/>
                    <a:pt x="1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 name="Freeform 221">
              <a:extLst>
                <a:ext uri="{FF2B5EF4-FFF2-40B4-BE49-F238E27FC236}">
                  <a16:creationId xmlns:a16="http://schemas.microsoft.com/office/drawing/2014/main" id="{9EC149CE-F213-4085-A434-CADF5402FBB0}"/>
                </a:ext>
              </a:extLst>
            </p:cNvPr>
            <p:cNvSpPr>
              <a:spLocks/>
            </p:cNvSpPr>
            <p:nvPr/>
          </p:nvSpPr>
          <p:spPr bwMode="auto">
            <a:xfrm>
              <a:off x="5081" y="3637"/>
              <a:ext cx="411" cy="376"/>
            </a:xfrm>
            <a:custGeom>
              <a:avLst/>
              <a:gdLst>
                <a:gd name="T0" fmla="*/ 86 w 174"/>
                <a:gd name="T1" fmla="*/ 6 h 159"/>
                <a:gd name="T2" fmla="*/ 81 w 174"/>
                <a:gd name="T3" fmla="*/ 12 h 159"/>
                <a:gd name="T4" fmla="*/ 81 w 174"/>
                <a:gd name="T5" fmla="*/ 15 h 159"/>
                <a:gd name="T6" fmla="*/ 63 w 174"/>
                <a:gd name="T7" fmla="*/ 29 h 159"/>
                <a:gd name="T8" fmla="*/ 56 w 174"/>
                <a:gd name="T9" fmla="*/ 32 h 159"/>
                <a:gd name="T10" fmla="*/ 52 w 174"/>
                <a:gd name="T11" fmla="*/ 38 h 159"/>
                <a:gd name="T12" fmla="*/ 48 w 174"/>
                <a:gd name="T13" fmla="*/ 43 h 159"/>
                <a:gd name="T14" fmla="*/ 40 w 174"/>
                <a:gd name="T15" fmla="*/ 52 h 159"/>
                <a:gd name="T16" fmla="*/ 31 w 174"/>
                <a:gd name="T17" fmla="*/ 58 h 159"/>
                <a:gd name="T18" fmla="*/ 30 w 174"/>
                <a:gd name="T19" fmla="*/ 58 h 159"/>
                <a:gd name="T20" fmla="*/ 28 w 174"/>
                <a:gd name="T21" fmla="*/ 59 h 159"/>
                <a:gd name="T22" fmla="*/ 22 w 174"/>
                <a:gd name="T23" fmla="*/ 58 h 159"/>
                <a:gd name="T24" fmla="*/ 4 w 174"/>
                <a:gd name="T25" fmla="*/ 55 h 159"/>
                <a:gd name="T26" fmla="*/ 7 w 174"/>
                <a:gd name="T27" fmla="*/ 67 h 159"/>
                <a:gd name="T28" fmla="*/ 16 w 174"/>
                <a:gd name="T29" fmla="*/ 87 h 159"/>
                <a:gd name="T30" fmla="*/ 32 w 174"/>
                <a:gd name="T31" fmla="*/ 99 h 159"/>
                <a:gd name="T32" fmla="*/ 44 w 174"/>
                <a:gd name="T33" fmla="*/ 107 h 159"/>
                <a:gd name="T34" fmla="*/ 44 w 174"/>
                <a:gd name="T35" fmla="*/ 112 h 159"/>
                <a:gd name="T36" fmla="*/ 47 w 174"/>
                <a:gd name="T37" fmla="*/ 113 h 159"/>
                <a:gd name="T38" fmla="*/ 54 w 174"/>
                <a:gd name="T39" fmla="*/ 119 h 159"/>
                <a:gd name="T40" fmla="*/ 54 w 174"/>
                <a:gd name="T41" fmla="*/ 124 h 159"/>
                <a:gd name="T42" fmla="*/ 58 w 174"/>
                <a:gd name="T43" fmla="*/ 134 h 159"/>
                <a:gd name="T44" fmla="*/ 69 w 174"/>
                <a:gd name="T45" fmla="*/ 141 h 159"/>
                <a:gd name="T46" fmla="*/ 86 w 174"/>
                <a:gd name="T47" fmla="*/ 147 h 159"/>
                <a:gd name="T48" fmla="*/ 87 w 174"/>
                <a:gd name="T49" fmla="*/ 150 h 159"/>
                <a:gd name="T50" fmla="*/ 99 w 174"/>
                <a:gd name="T51" fmla="*/ 155 h 159"/>
                <a:gd name="T52" fmla="*/ 127 w 174"/>
                <a:gd name="T53" fmla="*/ 157 h 159"/>
                <a:gd name="T54" fmla="*/ 135 w 174"/>
                <a:gd name="T55" fmla="*/ 159 h 159"/>
                <a:gd name="T56" fmla="*/ 137 w 174"/>
                <a:gd name="T57" fmla="*/ 157 h 159"/>
                <a:gd name="T58" fmla="*/ 148 w 174"/>
                <a:gd name="T59" fmla="*/ 145 h 159"/>
                <a:gd name="T60" fmla="*/ 159 w 174"/>
                <a:gd name="T61" fmla="*/ 134 h 159"/>
                <a:gd name="T62" fmla="*/ 160 w 174"/>
                <a:gd name="T63" fmla="*/ 122 h 159"/>
                <a:gd name="T64" fmla="*/ 167 w 174"/>
                <a:gd name="T65" fmla="*/ 113 h 159"/>
                <a:gd name="T66" fmla="*/ 174 w 174"/>
                <a:gd name="T67" fmla="*/ 99 h 159"/>
                <a:gd name="T68" fmla="*/ 171 w 174"/>
                <a:gd name="T69" fmla="*/ 98 h 159"/>
                <a:gd name="T70" fmla="*/ 170 w 174"/>
                <a:gd name="T71" fmla="*/ 82 h 159"/>
                <a:gd name="T72" fmla="*/ 169 w 174"/>
                <a:gd name="T73" fmla="*/ 80 h 159"/>
                <a:gd name="T74" fmla="*/ 168 w 174"/>
                <a:gd name="T75" fmla="*/ 72 h 159"/>
                <a:gd name="T76" fmla="*/ 172 w 174"/>
                <a:gd name="T77" fmla="*/ 64 h 159"/>
                <a:gd name="T78" fmla="*/ 173 w 174"/>
                <a:gd name="T79" fmla="*/ 62 h 159"/>
                <a:gd name="T80" fmla="*/ 174 w 174"/>
                <a:gd name="T81" fmla="*/ 45 h 159"/>
                <a:gd name="T82" fmla="*/ 172 w 174"/>
                <a:gd name="T83" fmla="*/ 29 h 159"/>
                <a:gd name="T84" fmla="*/ 171 w 174"/>
                <a:gd name="T85" fmla="*/ 26 h 159"/>
                <a:gd name="T86" fmla="*/ 131 w 174"/>
                <a:gd name="T87" fmla="*/ 11 h 159"/>
                <a:gd name="T88" fmla="*/ 124 w 174"/>
                <a:gd name="T89" fmla="*/ 10 h 159"/>
                <a:gd name="T90" fmla="*/ 112 w 174"/>
                <a:gd name="T91" fmla="*/ 0 h 159"/>
                <a:gd name="T92" fmla="*/ 107 w 174"/>
                <a:gd name="T9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4" h="159">
                  <a:moveTo>
                    <a:pt x="102" y="0"/>
                  </a:moveTo>
                  <a:cubicBezTo>
                    <a:pt x="102" y="0"/>
                    <a:pt x="101" y="0"/>
                    <a:pt x="101" y="0"/>
                  </a:cubicBezTo>
                  <a:cubicBezTo>
                    <a:pt x="96" y="0"/>
                    <a:pt x="91" y="3"/>
                    <a:pt x="86" y="6"/>
                  </a:cubicBezTo>
                  <a:cubicBezTo>
                    <a:pt x="85" y="6"/>
                    <a:pt x="84" y="7"/>
                    <a:pt x="82" y="7"/>
                  </a:cubicBezTo>
                  <a:cubicBezTo>
                    <a:pt x="82" y="8"/>
                    <a:pt x="82" y="10"/>
                    <a:pt x="81" y="11"/>
                  </a:cubicBezTo>
                  <a:cubicBezTo>
                    <a:pt x="81" y="12"/>
                    <a:pt x="81" y="12"/>
                    <a:pt x="81" y="12"/>
                  </a:cubicBezTo>
                  <a:cubicBezTo>
                    <a:pt x="81" y="13"/>
                    <a:pt x="81" y="13"/>
                    <a:pt x="81" y="13"/>
                  </a:cubicBezTo>
                  <a:cubicBezTo>
                    <a:pt x="81" y="13"/>
                    <a:pt x="81" y="13"/>
                    <a:pt x="81" y="13"/>
                  </a:cubicBezTo>
                  <a:cubicBezTo>
                    <a:pt x="81" y="14"/>
                    <a:pt x="81" y="14"/>
                    <a:pt x="81" y="15"/>
                  </a:cubicBezTo>
                  <a:cubicBezTo>
                    <a:pt x="80" y="22"/>
                    <a:pt x="72" y="25"/>
                    <a:pt x="67" y="27"/>
                  </a:cubicBezTo>
                  <a:cubicBezTo>
                    <a:pt x="66" y="27"/>
                    <a:pt x="64" y="28"/>
                    <a:pt x="63" y="28"/>
                  </a:cubicBezTo>
                  <a:cubicBezTo>
                    <a:pt x="63" y="29"/>
                    <a:pt x="63" y="29"/>
                    <a:pt x="63" y="29"/>
                  </a:cubicBezTo>
                  <a:cubicBezTo>
                    <a:pt x="62" y="29"/>
                    <a:pt x="62" y="29"/>
                    <a:pt x="62" y="29"/>
                  </a:cubicBezTo>
                  <a:cubicBezTo>
                    <a:pt x="61" y="29"/>
                    <a:pt x="61" y="30"/>
                    <a:pt x="60" y="30"/>
                  </a:cubicBezTo>
                  <a:cubicBezTo>
                    <a:pt x="59" y="30"/>
                    <a:pt x="58" y="31"/>
                    <a:pt x="56" y="32"/>
                  </a:cubicBezTo>
                  <a:cubicBezTo>
                    <a:pt x="55" y="34"/>
                    <a:pt x="54" y="35"/>
                    <a:pt x="53" y="36"/>
                  </a:cubicBezTo>
                  <a:cubicBezTo>
                    <a:pt x="53" y="36"/>
                    <a:pt x="52" y="37"/>
                    <a:pt x="52" y="38"/>
                  </a:cubicBezTo>
                  <a:cubicBezTo>
                    <a:pt x="52" y="38"/>
                    <a:pt x="52" y="38"/>
                    <a:pt x="52" y="38"/>
                  </a:cubicBezTo>
                  <a:cubicBezTo>
                    <a:pt x="52" y="39"/>
                    <a:pt x="51" y="40"/>
                    <a:pt x="51" y="40"/>
                  </a:cubicBezTo>
                  <a:cubicBezTo>
                    <a:pt x="50" y="41"/>
                    <a:pt x="50" y="41"/>
                    <a:pt x="50" y="41"/>
                  </a:cubicBezTo>
                  <a:cubicBezTo>
                    <a:pt x="49" y="42"/>
                    <a:pt x="49" y="43"/>
                    <a:pt x="48" y="43"/>
                  </a:cubicBezTo>
                  <a:cubicBezTo>
                    <a:pt x="47" y="45"/>
                    <a:pt x="47" y="45"/>
                    <a:pt x="47" y="45"/>
                  </a:cubicBezTo>
                  <a:cubicBezTo>
                    <a:pt x="44" y="47"/>
                    <a:pt x="42" y="49"/>
                    <a:pt x="40" y="51"/>
                  </a:cubicBezTo>
                  <a:cubicBezTo>
                    <a:pt x="40" y="52"/>
                    <a:pt x="40" y="52"/>
                    <a:pt x="40" y="52"/>
                  </a:cubicBezTo>
                  <a:cubicBezTo>
                    <a:pt x="38" y="54"/>
                    <a:pt x="36" y="56"/>
                    <a:pt x="34" y="57"/>
                  </a:cubicBezTo>
                  <a:cubicBezTo>
                    <a:pt x="33" y="57"/>
                    <a:pt x="32" y="57"/>
                    <a:pt x="32" y="58"/>
                  </a:cubicBezTo>
                  <a:cubicBezTo>
                    <a:pt x="31" y="58"/>
                    <a:pt x="31" y="58"/>
                    <a:pt x="31" y="58"/>
                  </a:cubicBezTo>
                  <a:cubicBezTo>
                    <a:pt x="30" y="58"/>
                    <a:pt x="30" y="58"/>
                    <a:pt x="30" y="58"/>
                  </a:cubicBezTo>
                  <a:cubicBezTo>
                    <a:pt x="30" y="58"/>
                    <a:pt x="30" y="58"/>
                    <a:pt x="30" y="58"/>
                  </a:cubicBezTo>
                  <a:cubicBezTo>
                    <a:pt x="30" y="58"/>
                    <a:pt x="30" y="58"/>
                    <a:pt x="30" y="58"/>
                  </a:cubicBezTo>
                  <a:cubicBezTo>
                    <a:pt x="29" y="58"/>
                    <a:pt x="29" y="58"/>
                    <a:pt x="29" y="58"/>
                  </a:cubicBezTo>
                  <a:cubicBezTo>
                    <a:pt x="28" y="59"/>
                    <a:pt x="28" y="59"/>
                    <a:pt x="28" y="59"/>
                  </a:cubicBezTo>
                  <a:cubicBezTo>
                    <a:pt x="28" y="59"/>
                    <a:pt x="28" y="59"/>
                    <a:pt x="28" y="59"/>
                  </a:cubicBezTo>
                  <a:cubicBezTo>
                    <a:pt x="28" y="59"/>
                    <a:pt x="27" y="59"/>
                    <a:pt x="26" y="59"/>
                  </a:cubicBezTo>
                  <a:cubicBezTo>
                    <a:pt x="26" y="59"/>
                    <a:pt x="26" y="59"/>
                    <a:pt x="26" y="59"/>
                  </a:cubicBezTo>
                  <a:cubicBezTo>
                    <a:pt x="25" y="59"/>
                    <a:pt x="23" y="59"/>
                    <a:pt x="22" y="58"/>
                  </a:cubicBezTo>
                  <a:cubicBezTo>
                    <a:pt x="20" y="58"/>
                    <a:pt x="20" y="58"/>
                    <a:pt x="20" y="58"/>
                  </a:cubicBezTo>
                  <a:cubicBezTo>
                    <a:pt x="3" y="55"/>
                    <a:pt x="3" y="55"/>
                    <a:pt x="3" y="55"/>
                  </a:cubicBezTo>
                  <a:cubicBezTo>
                    <a:pt x="4" y="55"/>
                    <a:pt x="4" y="55"/>
                    <a:pt x="4" y="55"/>
                  </a:cubicBezTo>
                  <a:cubicBezTo>
                    <a:pt x="0" y="54"/>
                    <a:pt x="0" y="54"/>
                    <a:pt x="0" y="54"/>
                  </a:cubicBezTo>
                  <a:cubicBezTo>
                    <a:pt x="5" y="63"/>
                    <a:pt x="5" y="63"/>
                    <a:pt x="5" y="63"/>
                  </a:cubicBezTo>
                  <a:cubicBezTo>
                    <a:pt x="6" y="64"/>
                    <a:pt x="6" y="66"/>
                    <a:pt x="7" y="67"/>
                  </a:cubicBezTo>
                  <a:cubicBezTo>
                    <a:pt x="10" y="71"/>
                    <a:pt x="13" y="76"/>
                    <a:pt x="14" y="81"/>
                  </a:cubicBezTo>
                  <a:cubicBezTo>
                    <a:pt x="15" y="82"/>
                    <a:pt x="15" y="82"/>
                    <a:pt x="15" y="83"/>
                  </a:cubicBezTo>
                  <a:cubicBezTo>
                    <a:pt x="16" y="87"/>
                    <a:pt x="16" y="87"/>
                    <a:pt x="16" y="87"/>
                  </a:cubicBezTo>
                  <a:cubicBezTo>
                    <a:pt x="17" y="89"/>
                    <a:pt x="18" y="90"/>
                    <a:pt x="19" y="91"/>
                  </a:cubicBezTo>
                  <a:cubicBezTo>
                    <a:pt x="20" y="92"/>
                    <a:pt x="22" y="93"/>
                    <a:pt x="23" y="94"/>
                  </a:cubicBezTo>
                  <a:cubicBezTo>
                    <a:pt x="26" y="96"/>
                    <a:pt x="29" y="98"/>
                    <a:pt x="32" y="99"/>
                  </a:cubicBezTo>
                  <a:cubicBezTo>
                    <a:pt x="33" y="99"/>
                    <a:pt x="33" y="99"/>
                    <a:pt x="33" y="99"/>
                  </a:cubicBezTo>
                  <a:cubicBezTo>
                    <a:pt x="35" y="100"/>
                    <a:pt x="38" y="101"/>
                    <a:pt x="40" y="103"/>
                  </a:cubicBezTo>
                  <a:cubicBezTo>
                    <a:pt x="42" y="104"/>
                    <a:pt x="43" y="105"/>
                    <a:pt x="44" y="107"/>
                  </a:cubicBezTo>
                  <a:cubicBezTo>
                    <a:pt x="44" y="108"/>
                    <a:pt x="44" y="108"/>
                    <a:pt x="44" y="109"/>
                  </a:cubicBezTo>
                  <a:cubicBezTo>
                    <a:pt x="44" y="109"/>
                    <a:pt x="44" y="109"/>
                    <a:pt x="44" y="109"/>
                  </a:cubicBezTo>
                  <a:cubicBezTo>
                    <a:pt x="44" y="110"/>
                    <a:pt x="44" y="111"/>
                    <a:pt x="44" y="112"/>
                  </a:cubicBezTo>
                  <a:cubicBezTo>
                    <a:pt x="44" y="113"/>
                    <a:pt x="44" y="113"/>
                    <a:pt x="44" y="113"/>
                  </a:cubicBezTo>
                  <a:cubicBezTo>
                    <a:pt x="44" y="113"/>
                    <a:pt x="44" y="113"/>
                    <a:pt x="44" y="113"/>
                  </a:cubicBezTo>
                  <a:cubicBezTo>
                    <a:pt x="47" y="113"/>
                    <a:pt x="47" y="113"/>
                    <a:pt x="47" y="113"/>
                  </a:cubicBezTo>
                  <a:cubicBezTo>
                    <a:pt x="50" y="113"/>
                    <a:pt x="53" y="113"/>
                    <a:pt x="54" y="115"/>
                  </a:cubicBezTo>
                  <a:cubicBezTo>
                    <a:pt x="54" y="116"/>
                    <a:pt x="55" y="117"/>
                    <a:pt x="54" y="118"/>
                  </a:cubicBezTo>
                  <a:cubicBezTo>
                    <a:pt x="54" y="119"/>
                    <a:pt x="54" y="119"/>
                    <a:pt x="54" y="119"/>
                  </a:cubicBezTo>
                  <a:cubicBezTo>
                    <a:pt x="54" y="120"/>
                    <a:pt x="54" y="120"/>
                    <a:pt x="54" y="120"/>
                  </a:cubicBezTo>
                  <a:cubicBezTo>
                    <a:pt x="54" y="121"/>
                    <a:pt x="54" y="122"/>
                    <a:pt x="54" y="123"/>
                  </a:cubicBezTo>
                  <a:cubicBezTo>
                    <a:pt x="54" y="124"/>
                    <a:pt x="54" y="124"/>
                    <a:pt x="54" y="124"/>
                  </a:cubicBezTo>
                  <a:cubicBezTo>
                    <a:pt x="54" y="126"/>
                    <a:pt x="55" y="128"/>
                    <a:pt x="56" y="130"/>
                  </a:cubicBezTo>
                  <a:cubicBezTo>
                    <a:pt x="56" y="131"/>
                    <a:pt x="56" y="131"/>
                    <a:pt x="56" y="131"/>
                  </a:cubicBezTo>
                  <a:cubicBezTo>
                    <a:pt x="57" y="131"/>
                    <a:pt x="57" y="132"/>
                    <a:pt x="58" y="134"/>
                  </a:cubicBezTo>
                  <a:cubicBezTo>
                    <a:pt x="58" y="135"/>
                    <a:pt x="59" y="139"/>
                    <a:pt x="60" y="139"/>
                  </a:cubicBezTo>
                  <a:cubicBezTo>
                    <a:pt x="61" y="140"/>
                    <a:pt x="64" y="140"/>
                    <a:pt x="66" y="141"/>
                  </a:cubicBezTo>
                  <a:cubicBezTo>
                    <a:pt x="67" y="141"/>
                    <a:pt x="68" y="141"/>
                    <a:pt x="69" y="141"/>
                  </a:cubicBezTo>
                  <a:cubicBezTo>
                    <a:pt x="70" y="141"/>
                    <a:pt x="71" y="141"/>
                    <a:pt x="72" y="142"/>
                  </a:cubicBezTo>
                  <a:cubicBezTo>
                    <a:pt x="76" y="142"/>
                    <a:pt x="81" y="143"/>
                    <a:pt x="84" y="145"/>
                  </a:cubicBezTo>
                  <a:cubicBezTo>
                    <a:pt x="85" y="145"/>
                    <a:pt x="86" y="146"/>
                    <a:pt x="86" y="147"/>
                  </a:cubicBezTo>
                  <a:cubicBezTo>
                    <a:pt x="86" y="147"/>
                    <a:pt x="87" y="148"/>
                    <a:pt x="86" y="150"/>
                  </a:cubicBezTo>
                  <a:cubicBezTo>
                    <a:pt x="86" y="150"/>
                    <a:pt x="86" y="150"/>
                    <a:pt x="86" y="150"/>
                  </a:cubicBezTo>
                  <a:cubicBezTo>
                    <a:pt x="87" y="150"/>
                    <a:pt x="87" y="150"/>
                    <a:pt x="87" y="150"/>
                  </a:cubicBezTo>
                  <a:cubicBezTo>
                    <a:pt x="91" y="154"/>
                    <a:pt x="91" y="154"/>
                    <a:pt x="91" y="154"/>
                  </a:cubicBezTo>
                  <a:cubicBezTo>
                    <a:pt x="92" y="154"/>
                    <a:pt x="92" y="154"/>
                    <a:pt x="92" y="154"/>
                  </a:cubicBezTo>
                  <a:cubicBezTo>
                    <a:pt x="94" y="154"/>
                    <a:pt x="97" y="155"/>
                    <a:pt x="99" y="155"/>
                  </a:cubicBezTo>
                  <a:cubicBezTo>
                    <a:pt x="102" y="155"/>
                    <a:pt x="102" y="155"/>
                    <a:pt x="102" y="155"/>
                  </a:cubicBezTo>
                  <a:cubicBezTo>
                    <a:pt x="110" y="155"/>
                    <a:pt x="118" y="155"/>
                    <a:pt x="126" y="157"/>
                  </a:cubicBezTo>
                  <a:cubicBezTo>
                    <a:pt x="127" y="157"/>
                    <a:pt x="127" y="157"/>
                    <a:pt x="127" y="157"/>
                  </a:cubicBezTo>
                  <a:cubicBezTo>
                    <a:pt x="129" y="157"/>
                    <a:pt x="132" y="157"/>
                    <a:pt x="135" y="159"/>
                  </a:cubicBezTo>
                  <a:cubicBezTo>
                    <a:pt x="135" y="159"/>
                    <a:pt x="135" y="159"/>
                    <a:pt x="135" y="159"/>
                  </a:cubicBezTo>
                  <a:cubicBezTo>
                    <a:pt x="135" y="159"/>
                    <a:pt x="135" y="159"/>
                    <a:pt x="135" y="159"/>
                  </a:cubicBezTo>
                  <a:cubicBezTo>
                    <a:pt x="136" y="158"/>
                    <a:pt x="136" y="158"/>
                    <a:pt x="136" y="158"/>
                  </a:cubicBezTo>
                  <a:cubicBezTo>
                    <a:pt x="136" y="158"/>
                    <a:pt x="137" y="157"/>
                    <a:pt x="137" y="157"/>
                  </a:cubicBezTo>
                  <a:cubicBezTo>
                    <a:pt x="137" y="157"/>
                    <a:pt x="137" y="157"/>
                    <a:pt x="137" y="157"/>
                  </a:cubicBezTo>
                  <a:cubicBezTo>
                    <a:pt x="137" y="157"/>
                    <a:pt x="137" y="157"/>
                    <a:pt x="137" y="157"/>
                  </a:cubicBezTo>
                  <a:cubicBezTo>
                    <a:pt x="147" y="147"/>
                    <a:pt x="147" y="147"/>
                    <a:pt x="147" y="147"/>
                  </a:cubicBezTo>
                  <a:cubicBezTo>
                    <a:pt x="147" y="146"/>
                    <a:pt x="148" y="146"/>
                    <a:pt x="148" y="145"/>
                  </a:cubicBezTo>
                  <a:cubicBezTo>
                    <a:pt x="149" y="145"/>
                    <a:pt x="149" y="145"/>
                    <a:pt x="149" y="145"/>
                  </a:cubicBezTo>
                  <a:cubicBezTo>
                    <a:pt x="151" y="142"/>
                    <a:pt x="154" y="139"/>
                    <a:pt x="156" y="136"/>
                  </a:cubicBezTo>
                  <a:cubicBezTo>
                    <a:pt x="157" y="136"/>
                    <a:pt x="158" y="135"/>
                    <a:pt x="159" y="134"/>
                  </a:cubicBezTo>
                  <a:cubicBezTo>
                    <a:pt x="158" y="133"/>
                    <a:pt x="158" y="132"/>
                    <a:pt x="158" y="131"/>
                  </a:cubicBezTo>
                  <a:cubicBezTo>
                    <a:pt x="158" y="129"/>
                    <a:pt x="159" y="126"/>
                    <a:pt x="160" y="124"/>
                  </a:cubicBezTo>
                  <a:cubicBezTo>
                    <a:pt x="160" y="122"/>
                    <a:pt x="160" y="122"/>
                    <a:pt x="160" y="122"/>
                  </a:cubicBezTo>
                  <a:cubicBezTo>
                    <a:pt x="161" y="119"/>
                    <a:pt x="161" y="116"/>
                    <a:pt x="164" y="115"/>
                  </a:cubicBezTo>
                  <a:cubicBezTo>
                    <a:pt x="165" y="114"/>
                    <a:pt x="166" y="114"/>
                    <a:pt x="166" y="114"/>
                  </a:cubicBezTo>
                  <a:cubicBezTo>
                    <a:pt x="166" y="113"/>
                    <a:pt x="167" y="113"/>
                    <a:pt x="167" y="113"/>
                  </a:cubicBezTo>
                  <a:cubicBezTo>
                    <a:pt x="167" y="112"/>
                    <a:pt x="169" y="110"/>
                    <a:pt x="171" y="107"/>
                  </a:cubicBezTo>
                  <a:cubicBezTo>
                    <a:pt x="172" y="105"/>
                    <a:pt x="173" y="103"/>
                    <a:pt x="173" y="101"/>
                  </a:cubicBezTo>
                  <a:cubicBezTo>
                    <a:pt x="174" y="100"/>
                    <a:pt x="174" y="99"/>
                    <a:pt x="174" y="99"/>
                  </a:cubicBezTo>
                  <a:cubicBezTo>
                    <a:pt x="173" y="99"/>
                    <a:pt x="173" y="99"/>
                    <a:pt x="173" y="99"/>
                  </a:cubicBezTo>
                  <a:cubicBezTo>
                    <a:pt x="173" y="99"/>
                    <a:pt x="173" y="99"/>
                    <a:pt x="173" y="99"/>
                  </a:cubicBezTo>
                  <a:cubicBezTo>
                    <a:pt x="172" y="99"/>
                    <a:pt x="171" y="98"/>
                    <a:pt x="171" y="98"/>
                  </a:cubicBezTo>
                  <a:cubicBezTo>
                    <a:pt x="169" y="97"/>
                    <a:pt x="169" y="95"/>
                    <a:pt x="169" y="93"/>
                  </a:cubicBezTo>
                  <a:cubicBezTo>
                    <a:pt x="169" y="92"/>
                    <a:pt x="169" y="90"/>
                    <a:pt x="169" y="87"/>
                  </a:cubicBezTo>
                  <a:cubicBezTo>
                    <a:pt x="170" y="85"/>
                    <a:pt x="170" y="83"/>
                    <a:pt x="170" y="82"/>
                  </a:cubicBezTo>
                  <a:cubicBezTo>
                    <a:pt x="169" y="81"/>
                    <a:pt x="169" y="81"/>
                    <a:pt x="169" y="81"/>
                  </a:cubicBezTo>
                  <a:cubicBezTo>
                    <a:pt x="169" y="81"/>
                    <a:pt x="169" y="81"/>
                    <a:pt x="169" y="81"/>
                  </a:cubicBezTo>
                  <a:cubicBezTo>
                    <a:pt x="169" y="80"/>
                    <a:pt x="169" y="80"/>
                    <a:pt x="169" y="80"/>
                  </a:cubicBezTo>
                  <a:cubicBezTo>
                    <a:pt x="168" y="80"/>
                    <a:pt x="167" y="79"/>
                    <a:pt x="167" y="78"/>
                  </a:cubicBezTo>
                  <a:cubicBezTo>
                    <a:pt x="166" y="77"/>
                    <a:pt x="165" y="75"/>
                    <a:pt x="167" y="73"/>
                  </a:cubicBezTo>
                  <a:cubicBezTo>
                    <a:pt x="168" y="72"/>
                    <a:pt x="168" y="72"/>
                    <a:pt x="168" y="72"/>
                  </a:cubicBezTo>
                  <a:cubicBezTo>
                    <a:pt x="169" y="72"/>
                    <a:pt x="169" y="71"/>
                    <a:pt x="170" y="70"/>
                  </a:cubicBezTo>
                  <a:cubicBezTo>
                    <a:pt x="170" y="69"/>
                    <a:pt x="170" y="67"/>
                    <a:pt x="171" y="66"/>
                  </a:cubicBezTo>
                  <a:cubicBezTo>
                    <a:pt x="171" y="65"/>
                    <a:pt x="172" y="65"/>
                    <a:pt x="172" y="64"/>
                  </a:cubicBezTo>
                  <a:cubicBezTo>
                    <a:pt x="173" y="63"/>
                    <a:pt x="173" y="63"/>
                    <a:pt x="173" y="63"/>
                  </a:cubicBezTo>
                  <a:cubicBezTo>
                    <a:pt x="173" y="63"/>
                    <a:pt x="173" y="63"/>
                    <a:pt x="173" y="62"/>
                  </a:cubicBezTo>
                  <a:cubicBezTo>
                    <a:pt x="173" y="62"/>
                    <a:pt x="173" y="62"/>
                    <a:pt x="173" y="62"/>
                  </a:cubicBezTo>
                  <a:cubicBezTo>
                    <a:pt x="174" y="60"/>
                    <a:pt x="174" y="58"/>
                    <a:pt x="174" y="56"/>
                  </a:cubicBezTo>
                  <a:cubicBezTo>
                    <a:pt x="174" y="54"/>
                    <a:pt x="174" y="52"/>
                    <a:pt x="174" y="50"/>
                  </a:cubicBezTo>
                  <a:cubicBezTo>
                    <a:pt x="174" y="48"/>
                    <a:pt x="174" y="47"/>
                    <a:pt x="174" y="45"/>
                  </a:cubicBezTo>
                  <a:cubicBezTo>
                    <a:pt x="174" y="42"/>
                    <a:pt x="173" y="39"/>
                    <a:pt x="173" y="35"/>
                  </a:cubicBezTo>
                  <a:cubicBezTo>
                    <a:pt x="172" y="34"/>
                    <a:pt x="172" y="33"/>
                    <a:pt x="172" y="32"/>
                  </a:cubicBezTo>
                  <a:cubicBezTo>
                    <a:pt x="172" y="31"/>
                    <a:pt x="172" y="30"/>
                    <a:pt x="172" y="29"/>
                  </a:cubicBezTo>
                  <a:cubicBezTo>
                    <a:pt x="172" y="28"/>
                    <a:pt x="172" y="28"/>
                    <a:pt x="172" y="28"/>
                  </a:cubicBezTo>
                  <a:cubicBezTo>
                    <a:pt x="171" y="28"/>
                    <a:pt x="171" y="28"/>
                    <a:pt x="171" y="27"/>
                  </a:cubicBezTo>
                  <a:cubicBezTo>
                    <a:pt x="171" y="26"/>
                    <a:pt x="171" y="26"/>
                    <a:pt x="171" y="26"/>
                  </a:cubicBezTo>
                  <a:cubicBezTo>
                    <a:pt x="167" y="26"/>
                    <a:pt x="162" y="24"/>
                    <a:pt x="158" y="22"/>
                  </a:cubicBezTo>
                  <a:cubicBezTo>
                    <a:pt x="156" y="21"/>
                    <a:pt x="155" y="20"/>
                    <a:pt x="154" y="20"/>
                  </a:cubicBezTo>
                  <a:cubicBezTo>
                    <a:pt x="131" y="11"/>
                    <a:pt x="131" y="11"/>
                    <a:pt x="131" y="11"/>
                  </a:cubicBezTo>
                  <a:cubicBezTo>
                    <a:pt x="130" y="10"/>
                    <a:pt x="129" y="10"/>
                    <a:pt x="128" y="10"/>
                  </a:cubicBezTo>
                  <a:cubicBezTo>
                    <a:pt x="128" y="10"/>
                    <a:pt x="126" y="10"/>
                    <a:pt x="125" y="10"/>
                  </a:cubicBezTo>
                  <a:cubicBezTo>
                    <a:pt x="125" y="10"/>
                    <a:pt x="125" y="10"/>
                    <a:pt x="124" y="10"/>
                  </a:cubicBezTo>
                  <a:cubicBezTo>
                    <a:pt x="124" y="10"/>
                    <a:pt x="124" y="10"/>
                    <a:pt x="124" y="10"/>
                  </a:cubicBezTo>
                  <a:cubicBezTo>
                    <a:pt x="118" y="10"/>
                    <a:pt x="115" y="9"/>
                    <a:pt x="114" y="7"/>
                  </a:cubicBezTo>
                  <a:cubicBezTo>
                    <a:pt x="112" y="5"/>
                    <a:pt x="112" y="3"/>
                    <a:pt x="112" y="0"/>
                  </a:cubicBezTo>
                  <a:cubicBezTo>
                    <a:pt x="111" y="0"/>
                    <a:pt x="111" y="0"/>
                    <a:pt x="110" y="0"/>
                  </a:cubicBezTo>
                  <a:cubicBezTo>
                    <a:pt x="109" y="0"/>
                    <a:pt x="108" y="0"/>
                    <a:pt x="107" y="0"/>
                  </a:cubicBezTo>
                  <a:cubicBezTo>
                    <a:pt x="107" y="0"/>
                    <a:pt x="107" y="0"/>
                    <a:pt x="107" y="0"/>
                  </a:cubicBezTo>
                  <a:cubicBezTo>
                    <a:pt x="105" y="0"/>
                    <a:pt x="104"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Freeform 222">
              <a:extLst>
                <a:ext uri="{FF2B5EF4-FFF2-40B4-BE49-F238E27FC236}">
                  <a16:creationId xmlns:a16="http://schemas.microsoft.com/office/drawing/2014/main" id="{9C1C894A-AAD1-476A-80FE-A850BA5D9F4C}"/>
                </a:ext>
              </a:extLst>
            </p:cNvPr>
            <p:cNvSpPr>
              <a:spLocks/>
            </p:cNvSpPr>
            <p:nvPr/>
          </p:nvSpPr>
          <p:spPr bwMode="auto">
            <a:xfrm>
              <a:off x="4781" y="3762"/>
              <a:ext cx="496" cy="515"/>
            </a:xfrm>
            <a:custGeom>
              <a:avLst/>
              <a:gdLst>
                <a:gd name="T0" fmla="*/ 92 w 210"/>
                <a:gd name="T1" fmla="*/ 9 h 218"/>
                <a:gd name="T2" fmla="*/ 82 w 210"/>
                <a:gd name="T3" fmla="*/ 16 h 218"/>
                <a:gd name="T4" fmla="*/ 75 w 210"/>
                <a:gd name="T5" fmla="*/ 8 h 218"/>
                <a:gd name="T6" fmla="*/ 73 w 210"/>
                <a:gd name="T7" fmla="*/ 5 h 218"/>
                <a:gd name="T8" fmla="*/ 23 w 210"/>
                <a:gd name="T9" fmla="*/ 12 h 218"/>
                <a:gd name="T10" fmla="*/ 23 w 210"/>
                <a:gd name="T11" fmla="*/ 48 h 218"/>
                <a:gd name="T12" fmla="*/ 23 w 210"/>
                <a:gd name="T13" fmla="*/ 93 h 218"/>
                <a:gd name="T14" fmla="*/ 18 w 210"/>
                <a:gd name="T15" fmla="*/ 102 h 218"/>
                <a:gd name="T16" fmla="*/ 0 w 210"/>
                <a:gd name="T17" fmla="*/ 102 h 218"/>
                <a:gd name="T18" fmla="*/ 2 w 210"/>
                <a:gd name="T19" fmla="*/ 169 h 218"/>
                <a:gd name="T20" fmla="*/ 15 w 210"/>
                <a:gd name="T21" fmla="*/ 185 h 218"/>
                <a:gd name="T22" fmla="*/ 20 w 210"/>
                <a:gd name="T23" fmla="*/ 201 h 218"/>
                <a:gd name="T24" fmla="*/ 17 w 210"/>
                <a:gd name="T25" fmla="*/ 208 h 218"/>
                <a:gd name="T26" fmla="*/ 15 w 210"/>
                <a:gd name="T27" fmla="*/ 215 h 218"/>
                <a:gd name="T28" fmla="*/ 15 w 210"/>
                <a:gd name="T29" fmla="*/ 217 h 218"/>
                <a:gd name="T30" fmla="*/ 20 w 210"/>
                <a:gd name="T31" fmla="*/ 217 h 218"/>
                <a:gd name="T32" fmla="*/ 24 w 210"/>
                <a:gd name="T33" fmla="*/ 218 h 218"/>
                <a:gd name="T34" fmla="*/ 29 w 210"/>
                <a:gd name="T35" fmla="*/ 217 h 218"/>
                <a:gd name="T36" fmla="*/ 34 w 210"/>
                <a:gd name="T37" fmla="*/ 218 h 218"/>
                <a:gd name="T38" fmla="*/ 39 w 210"/>
                <a:gd name="T39" fmla="*/ 215 h 218"/>
                <a:gd name="T40" fmla="*/ 41 w 210"/>
                <a:gd name="T41" fmla="*/ 213 h 218"/>
                <a:gd name="T42" fmla="*/ 56 w 210"/>
                <a:gd name="T43" fmla="*/ 200 h 218"/>
                <a:gd name="T44" fmla="*/ 58 w 210"/>
                <a:gd name="T45" fmla="*/ 197 h 218"/>
                <a:gd name="T46" fmla="*/ 58 w 210"/>
                <a:gd name="T47" fmla="*/ 194 h 218"/>
                <a:gd name="T48" fmla="*/ 60 w 210"/>
                <a:gd name="T49" fmla="*/ 190 h 218"/>
                <a:gd name="T50" fmla="*/ 60 w 210"/>
                <a:gd name="T51" fmla="*/ 188 h 218"/>
                <a:gd name="T52" fmla="*/ 67 w 210"/>
                <a:gd name="T53" fmla="*/ 179 h 218"/>
                <a:gd name="T54" fmla="*/ 87 w 210"/>
                <a:gd name="T55" fmla="*/ 184 h 218"/>
                <a:gd name="T56" fmla="*/ 93 w 210"/>
                <a:gd name="T57" fmla="*/ 186 h 218"/>
                <a:gd name="T58" fmla="*/ 113 w 210"/>
                <a:gd name="T59" fmla="*/ 191 h 218"/>
                <a:gd name="T60" fmla="*/ 122 w 210"/>
                <a:gd name="T61" fmla="*/ 190 h 218"/>
                <a:gd name="T62" fmla="*/ 127 w 210"/>
                <a:gd name="T63" fmla="*/ 185 h 218"/>
                <a:gd name="T64" fmla="*/ 132 w 210"/>
                <a:gd name="T65" fmla="*/ 170 h 218"/>
                <a:gd name="T66" fmla="*/ 135 w 210"/>
                <a:gd name="T67" fmla="*/ 164 h 218"/>
                <a:gd name="T68" fmla="*/ 150 w 210"/>
                <a:gd name="T69" fmla="*/ 159 h 218"/>
                <a:gd name="T70" fmla="*/ 153 w 210"/>
                <a:gd name="T71" fmla="*/ 156 h 218"/>
                <a:gd name="T72" fmla="*/ 156 w 210"/>
                <a:gd name="T73" fmla="*/ 150 h 218"/>
                <a:gd name="T74" fmla="*/ 157 w 210"/>
                <a:gd name="T75" fmla="*/ 146 h 218"/>
                <a:gd name="T76" fmla="*/ 174 w 210"/>
                <a:gd name="T77" fmla="*/ 129 h 218"/>
                <a:gd name="T78" fmla="*/ 193 w 210"/>
                <a:gd name="T79" fmla="*/ 111 h 218"/>
                <a:gd name="T80" fmla="*/ 196 w 210"/>
                <a:gd name="T81" fmla="*/ 111 h 218"/>
                <a:gd name="T82" fmla="*/ 205 w 210"/>
                <a:gd name="T83" fmla="*/ 107 h 218"/>
                <a:gd name="T84" fmla="*/ 208 w 210"/>
                <a:gd name="T85" fmla="*/ 100 h 218"/>
                <a:gd name="T86" fmla="*/ 207 w 210"/>
                <a:gd name="T87" fmla="*/ 98 h 218"/>
                <a:gd name="T88" fmla="*/ 197 w 210"/>
                <a:gd name="T89" fmla="*/ 94 h 218"/>
                <a:gd name="T90" fmla="*/ 192 w 210"/>
                <a:gd name="T91" fmla="*/ 93 h 218"/>
                <a:gd name="T92" fmla="*/ 178 w 210"/>
                <a:gd name="T93" fmla="*/ 80 h 218"/>
                <a:gd name="T94" fmla="*/ 176 w 210"/>
                <a:gd name="T95" fmla="*/ 67 h 218"/>
                <a:gd name="T96" fmla="*/ 173 w 210"/>
                <a:gd name="T97" fmla="*/ 66 h 218"/>
                <a:gd name="T98" fmla="*/ 166 w 210"/>
                <a:gd name="T99" fmla="*/ 59 h 218"/>
                <a:gd name="T100" fmla="*/ 165 w 210"/>
                <a:gd name="T101" fmla="*/ 56 h 218"/>
                <a:gd name="T102" fmla="*/ 157 w 210"/>
                <a:gd name="T103" fmla="*/ 51 h 218"/>
                <a:gd name="T104" fmla="*/ 138 w 210"/>
                <a:gd name="T105" fmla="*/ 36 h 218"/>
                <a:gd name="T106" fmla="*/ 127 w 210"/>
                <a:gd name="T107" fmla="*/ 1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0" h="218">
                  <a:moveTo>
                    <a:pt x="119" y="0"/>
                  </a:moveTo>
                  <a:cubicBezTo>
                    <a:pt x="109" y="0"/>
                    <a:pt x="101" y="3"/>
                    <a:pt x="93" y="8"/>
                  </a:cubicBezTo>
                  <a:cubicBezTo>
                    <a:pt x="92" y="9"/>
                    <a:pt x="92" y="9"/>
                    <a:pt x="92" y="9"/>
                  </a:cubicBezTo>
                  <a:cubicBezTo>
                    <a:pt x="92" y="9"/>
                    <a:pt x="91" y="10"/>
                    <a:pt x="91" y="10"/>
                  </a:cubicBezTo>
                  <a:cubicBezTo>
                    <a:pt x="87" y="14"/>
                    <a:pt x="85" y="16"/>
                    <a:pt x="83" y="16"/>
                  </a:cubicBezTo>
                  <a:cubicBezTo>
                    <a:pt x="82" y="16"/>
                    <a:pt x="82" y="16"/>
                    <a:pt x="82" y="16"/>
                  </a:cubicBezTo>
                  <a:cubicBezTo>
                    <a:pt x="81" y="16"/>
                    <a:pt x="80" y="15"/>
                    <a:pt x="79" y="15"/>
                  </a:cubicBezTo>
                  <a:cubicBezTo>
                    <a:pt x="78" y="14"/>
                    <a:pt x="78" y="14"/>
                    <a:pt x="78" y="13"/>
                  </a:cubicBezTo>
                  <a:cubicBezTo>
                    <a:pt x="77" y="12"/>
                    <a:pt x="76" y="10"/>
                    <a:pt x="75" y="8"/>
                  </a:cubicBezTo>
                  <a:cubicBezTo>
                    <a:pt x="75" y="8"/>
                    <a:pt x="74" y="7"/>
                    <a:pt x="74" y="7"/>
                  </a:cubicBezTo>
                  <a:cubicBezTo>
                    <a:pt x="74" y="6"/>
                    <a:pt x="74" y="6"/>
                    <a:pt x="73" y="5"/>
                  </a:cubicBezTo>
                  <a:cubicBezTo>
                    <a:pt x="73" y="5"/>
                    <a:pt x="73" y="5"/>
                    <a:pt x="73" y="5"/>
                  </a:cubicBezTo>
                  <a:cubicBezTo>
                    <a:pt x="73" y="5"/>
                    <a:pt x="73" y="5"/>
                    <a:pt x="73" y="5"/>
                  </a:cubicBezTo>
                  <a:cubicBezTo>
                    <a:pt x="73" y="5"/>
                    <a:pt x="72" y="5"/>
                    <a:pt x="72" y="5"/>
                  </a:cubicBezTo>
                  <a:cubicBezTo>
                    <a:pt x="23" y="12"/>
                    <a:pt x="23" y="12"/>
                    <a:pt x="23" y="12"/>
                  </a:cubicBezTo>
                  <a:cubicBezTo>
                    <a:pt x="23" y="13"/>
                    <a:pt x="23" y="13"/>
                    <a:pt x="23" y="13"/>
                  </a:cubicBezTo>
                  <a:cubicBezTo>
                    <a:pt x="23" y="46"/>
                    <a:pt x="23" y="46"/>
                    <a:pt x="23" y="46"/>
                  </a:cubicBezTo>
                  <a:cubicBezTo>
                    <a:pt x="23" y="47"/>
                    <a:pt x="23" y="47"/>
                    <a:pt x="23" y="48"/>
                  </a:cubicBezTo>
                  <a:cubicBezTo>
                    <a:pt x="23" y="59"/>
                    <a:pt x="23" y="70"/>
                    <a:pt x="23" y="81"/>
                  </a:cubicBezTo>
                  <a:cubicBezTo>
                    <a:pt x="23" y="92"/>
                    <a:pt x="23" y="92"/>
                    <a:pt x="23" y="92"/>
                  </a:cubicBezTo>
                  <a:cubicBezTo>
                    <a:pt x="23" y="93"/>
                    <a:pt x="23" y="93"/>
                    <a:pt x="23" y="93"/>
                  </a:cubicBezTo>
                  <a:cubicBezTo>
                    <a:pt x="23" y="95"/>
                    <a:pt x="23" y="96"/>
                    <a:pt x="23" y="97"/>
                  </a:cubicBezTo>
                  <a:cubicBezTo>
                    <a:pt x="23" y="97"/>
                    <a:pt x="23" y="97"/>
                    <a:pt x="23" y="97"/>
                  </a:cubicBezTo>
                  <a:cubicBezTo>
                    <a:pt x="23" y="99"/>
                    <a:pt x="23" y="101"/>
                    <a:pt x="18" y="102"/>
                  </a:cubicBezTo>
                  <a:cubicBezTo>
                    <a:pt x="15" y="103"/>
                    <a:pt x="13" y="103"/>
                    <a:pt x="10" y="103"/>
                  </a:cubicBezTo>
                  <a:cubicBezTo>
                    <a:pt x="8" y="103"/>
                    <a:pt x="5" y="103"/>
                    <a:pt x="3" y="103"/>
                  </a:cubicBezTo>
                  <a:cubicBezTo>
                    <a:pt x="2" y="103"/>
                    <a:pt x="1" y="102"/>
                    <a:pt x="0" y="102"/>
                  </a:cubicBezTo>
                  <a:cubicBezTo>
                    <a:pt x="0" y="103"/>
                    <a:pt x="0" y="103"/>
                    <a:pt x="0" y="104"/>
                  </a:cubicBezTo>
                  <a:cubicBezTo>
                    <a:pt x="0" y="167"/>
                    <a:pt x="0" y="167"/>
                    <a:pt x="0" y="167"/>
                  </a:cubicBezTo>
                  <a:cubicBezTo>
                    <a:pt x="2" y="169"/>
                    <a:pt x="2" y="169"/>
                    <a:pt x="2" y="169"/>
                  </a:cubicBezTo>
                  <a:cubicBezTo>
                    <a:pt x="4" y="170"/>
                    <a:pt x="6" y="171"/>
                    <a:pt x="8" y="173"/>
                  </a:cubicBezTo>
                  <a:cubicBezTo>
                    <a:pt x="10" y="175"/>
                    <a:pt x="13" y="179"/>
                    <a:pt x="14" y="182"/>
                  </a:cubicBezTo>
                  <a:cubicBezTo>
                    <a:pt x="15" y="185"/>
                    <a:pt x="15" y="185"/>
                    <a:pt x="15" y="185"/>
                  </a:cubicBezTo>
                  <a:cubicBezTo>
                    <a:pt x="16" y="186"/>
                    <a:pt x="16" y="186"/>
                    <a:pt x="16" y="187"/>
                  </a:cubicBezTo>
                  <a:cubicBezTo>
                    <a:pt x="16" y="188"/>
                    <a:pt x="16" y="188"/>
                    <a:pt x="16" y="188"/>
                  </a:cubicBezTo>
                  <a:cubicBezTo>
                    <a:pt x="18" y="193"/>
                    <a:pt x="20" y="198"/>
                    <a:pt x="20" y="201"/>
                  </a:cubicBezTo>
                  <a:cubicBezTo>
                    <a:pt x="20" y="202"/>
                    <a:pt x="20" y="203"/>
                    <a:pt x="20" y="204"/>
                  </a:cubicBezTo>
                  <a:cubicBezTo>
                    <a:pt x="19" y="205"/>
                    <a:pt x="18" y="206"/>
                    <a:pt x="17" y="208"/>
                  </a:cubicBezTo>
                  <a:cubicBezTo>
                    <a:pt x="17" y="208"/>
                    <a:pt x="17" y="208"/>
                    <a:pt x="17" y="208"/>
                  </a:cubicBezTo>
                  <a:cubicBezTo>
                    <a:pt x="17" y="209"/>
                    <a:pt x="16" y="209"/>
                    <a:pt x="16" y="210"/>
                  </a:cubicBezTo>
                  <a:cubicBezTo>
                    <a:pt x="15" y="211"/>
                    <a:pt x="15" y="212"/>
                    <a:pt x="15" y="214"/>
                  </a:cubicBezTo>
                  <a:cubicBezTo>
                    <a:pt x="15" y="214"/>
                    <a:pt x="15" y="214"/>
                    <a:pt x="15" y="215"/>
                  </a:cubicBezTo>
                  <a:cubicBezTo>
                    <a:pt x="15" y="215"/>
                    <a:pt x="15" y="215"/>
                    <a:pt x="15" y="216"/>
                  </a:cubicBezTo>
                  <a:cubicBezTo>
                    <a:pt x="15" y="217"/>
                    <a:pt x="15" y="217"/>
                    <a:pt x="15" y="217"/>
                  </a:cubicBezTo>
                  <a:cubicBezTo>
                    <a:pt x="15" y="217"/>
                    <a:pt x="15" y="217"/>
                    <a:pt x="15" y="217"/>
                  </a:cubicBezTo>
                  <a:cubicBezTo>
                    <a:pt x="15" y="217"/>
                    <a:pt x="15" y="217"/>
                    <a:pt x="15" y="217"/>
                  </a:cubicBezTo>
                  <a:cubicBezTo>
                    <a:pt x="16" y="217"/>
                    <a:pt x="17" y="217"/>
                    <a:pt x="18" y="217"/>
                  </a:cubicBezTo>
                  <a:cubicBezTo>
                    <a:pt x="19" y="217"/>
                    <a:pt x="19" y="217"/>
                    <a:pt x="20" y="217"/>
                  </a:cubicBezTo>
                  <a:cubicBezTo>
                    <a:pt x="20" y="217"/>
                    <a:pt x="21" y="217"/>
                    <a:pt x="21" y="217"/>
                  </a:cubicBezTo>
                  <a:cubicBezTo>
                    <a:pt x="22" y="217"/>
                    <a:pt x="22" y="217"/>
                    <a:pt x="22" y="217"/>
                  </a:cubicBezTo>
                  <a:cubicBezTo>
                    <a:pt x="23" y="217"/>
                    <a:pt x="24" y="218"/>
                    <a:pt x="24" y="218"/>
                  </a:cubicBezTo>
                  <a:cubicBezTo>
                    <a:pt x="25" y="218"/>
                    <a:pt x="25" y="217"/>
                    <a:pt x="26" y="217"/>
                  </a:cubicBezTo>
                  <a:cubicBezTo>
                    <a:pt x="26" y="217"/>
                    <a:pt x="27" y="217"/>
                    <a:pt x="27" y="217"/>
                  </a:cubicBezTo>
                  <a:cubicBezTo>
                    <a:pt x="28" y="217"/>
                    <a:pt x="28" y="217"/>
                    <a:pt x="29" y="217"/>
                  </a:cubicBezTo>
                  <a:cubicBezTo>
                    <a:pt x="29" y="217"/>
                    <a:pt x="29" y="217"/>
                    <a:pt x="29" y="217"/>
                  </a:cubicBezTo>
                  <a:cubicBezTo>
                    <a:pt x="30" y="217"/>
                    <a:pt x="31" y="218"/>
                    <a:pt x="32" y="218"/>
                  </a:cubicBezTo>
                  <a:cubicBezTo>
                    <a:pt x="33" y="218"/>
                    <a:pt x="33" y="218"/>
                    <a:pt x="34" y="218"/>
                  </a:cubicBezTo>
                  <a:cubicBezTo>
                    <a:pt x="34" y="218"/>
                    <a:pt x="34" y="218"/>
                    <a:pt x="35" y="218"/>
                  </a:cubicBezTo>
                  <a:cubicBezTo>
                    <a:pt x="35" y="218"/>
                    <a:pt x="35" y="218"/>
                    <a:pt x="35" y="218"/>
                  </a:cubicBezTo>
                  <a:cubicBezTo>
                    <a:pt x="36" y="218"/>
                    <a:pt x="37" y="217"/>
                    <a:pt x="39" y="215"/>
                  </a:cubicBezTo>
                  <a:cubicBezTo>
                    <a:pt x="39" y="215"/>
                    <a:pt x="40" y="214"/>
                    <a:pt x="40" y="214"/>
                  </a:cubicBezTo>
                  <a:cubicBezTo>
                    <a:pt x="41" y="214"/>
                    <a:pt x="41" y="214"/>
                    <a:pt x="41" y="214"/>
                  </a:cubicBezTo>
                  <a:cubicBezTo>
                    <a:pt x="41" y="213"/>
                    <a:pt x="41" y="213"/>
                    <a:pt x="41" y="213"/>
                  </a:cubicBezTo>
                  <a:cubicBezTo>
                    <a:pt x="42" y="213"/>
                    <a:pt x="42" y="213"/>
                    <a:pt x="42" y="213"/>
                  </a:cubicBezTo>
                  <a:cubicBezTo>
                    <a:pt x="42" y="212"/>
                    <a:pt x="43" y="212"/>
                    <a:pt x="43" y="211"/>
                  </a:cubicBezTo>
                  <a:cubicBezTo>
                    <a:pt x="56" y="200"/>
                    <a:pt x="56" y="200"/>
                    <a:pt x="56" y="200"/>
                  </a:cubicBezTo>
                  <a:cubicBezTo>
                    <a:pt x="57" y="200"/>
                    <a:pt x="57" y="199"/>
                    <a:pt x="57" y="199"/>
                  </a:cubicBezTo>
                  <a:cubicBezTo>
                    <a:pt x="58" y="198"/>
                    <a:pt x="58" y="198"/>
                    <a:pt x="58" y="198"/>
                  </a:cubicBezTo>
                  <a:cubicBezTo>
                    <a:pt x="58" y="198"/>
                    <a:pt x="58" y="197"/>
                    <a:pt x="58" y="197"/>
                  </a:cubicBezTo>
                  <a:cubicBezTo>
                    <a:pt x="58" y="197"/>
                    <a:pt x="58" y="196"/>
                    <a:pt x="58" y="196"/>
                  </a:cubicBezTo>
                  <a:cubicBezTo>
                    <a:pt x="58" y="195"/>
                    <a:pt x="58" y="195"/>
                    <a:pt x="58" y="194"/>
                  </a:cubicBezTo>
                  <a:cubicBezTo>
                    <a:pt x="58" y="194"/>
                    <a:pt x="58" y="194"/>
                    <a:pt x="58" y="194"/>
                  </a:cubicBezTo>
                  <a:cubicBezTo>
                    <a:pt x="58" y="193"/>
                    <a:pt x="58" y="193"/>
                    <a:pt x="59" y="192"/>
                  </a:cubicBezTo>
                  <a:cubicBezTo>
                    <a:pt x="59" y="192"/>
                    <a:pt x="60" y="191"/>
                    <a:pt x="60" y="190"/>
                  </a:cubicBezTo>
                  <a:cubicBezTo>
                    <a:pt x="60" y="190"/>
                    <a:pt x="60" y="190"/>
                    <a:pt x="60" y="190"/>
                  </a:cubicBezTo>
                  <a:cubicBezTo>
                    <a:pt x="60" y="190"/>
                    <a:pt x="60" y="190"/>
                    <a:pt x="60" y="190"/>
                  </a:cubicBezTo>
                  <a:cubicBezTo>
                    <a:pt x="60" y="189"/>
                    <a:pt x="60" y="189"/>
                    <a:pt x="60" y="189"/>
                  </a:cubicBezTo>
                  <a:cubicBezTo>
                    <a:pt x="60" y="188"/>
                    <a:pt x="60" y="188"/>
                    <a:pt x="60" y="188"/>
                  </a:cubicBezTo>
                  <a:cubicBezTo>
                    <a:pt x="60" y="187"/>
                    <a:pt x="60" y="187"/>
                    <a:pt x="61" y="186"/>
                  </a:cubicBezTo>
                  <a:cubicBezTo>
                    <a:pt x="61" y="186"/>
                    <a:pt x="61" y="186"/>
                    <a:pt x="61" y="185"/>
                  </a:cubicBezTo>
                  <a:cubicBezTo>
                    <a:pt x="62" y="183"/>
                    <a:pt x="65" y="180"/>
                    <a:pt x="67" y="179"/>
                  </a:cubicBezTo>
                  <a:cubicBezTo>
                    <a:pt x="68" y="178"/>
                    <a:pt x="70" y="178"/>
                    <a:pt x="71" y="178"/>
                  </a:cubicBezTo>
                  <a:cubicBezTo>
                    <a:pt x="74" y="178"/>
                    <a:pt x="77" y="179"/>
                    <a:pt x="79" y="180"/>
                  </a:cubicBezTo>
                  <a:cubicBezTo>
                    <a:pt x="82" y="181"/>
                    <a:pt x="84" y="182"/>
                    <a:pt x="87" y="184"/>
                  </a:cubicBezTo>
                  <a:cubicBezTo>
                    <a:pt x="88" y="184"/>
                    <a:pt x="88" y="184"/>
                    <a:pt x="88" y="184"/>
                  </a:cubicBezTo>
                  <a:cubicBezTo>
                    <a:pt x="90" y="185"/>
                    <a:pt x="91" y="185"/>
                    <a:pt x="92" y="186"/>
                  </a:cubicBezTo>
                  <a:cubicBezTo>
                    <a:pt x="93" y="186"/>
                    <a:pt x="93" y="186"/>
                    <a:pt x="93" y="186"/>
                  </a:cubicBezTo>
                  <a:cubicBezTo>
                    <a:pt x="97" y="188"/>
                    <a:pt x="101" y="189"/>
                    <a:pt x="105" y="191"/>
                  </a:cubicBezTo>
                  <a:cubicBezTo>
                    <a:pt x="106" y="191"/>
                    <a:pt x="108" y="192"/>
                    <a:pt x="110" y="192"/>
                  </a:cubicBezTo>
                  <a:cubicBezTo>
                    <a:pt x="111" y="192"/>
                    <a:pt x="112" y="191"/>
                    <a:pt x="113" y="191"/>
                  </a:cubicBezTo>
                  <a:cubicBezTo>
                    <a:pt x="115" y="191"/>
                    <a:pt x="116" y="191"/>
                    <a:pt x="118" y="190"/>
                  </a:cubicBezTo>
                  <a:cubicBezTo>
                    <a:pt x="120" y="190"/>
                    <a:pt x="120" y="190"/>
                    <a:pt x="120" y="190"/>
                  </a:cubicBezTo>
                  <a:cubicBezTo>
                    <a:pt x="121" y="190"/>
                    <a:pt x="121" y="190"/>
                    <a:pt x="122" y="190"/>
                  </a:cubicBezTo>
                  <a:cubicBezTo>
                    <a:pt x="123" y="189"/>
                    <a:pt x="124" y="188"/>
                    <a:pt x="125" y="187"/>
                  </a:cubicBezTo>
                  <a:cubicBezTo>
                    <a:pt x="126" y="186"/>
                    <a:pt x="126" y="186"/>
                    <a:pt x="126" y="186"/>
                  </a:cubicBezTo>
                  <a:cubicBezTo>
                    <a:pt x="126" y="185"/>
                    <a:pt x="127" y="185"/>
                    <a:pt x="127" y="185"/>
                  </a:cubicBezTo>
                  <a:cubicBezTo>
                    <a:pt x="129" y="182"/>
                    <a:pt x="130" y="177"/>
                    <a:pt x="132" y="172"/>
                  </a:cubicBezTo>
                  <a:cubicBezTo>
                    <a:pt x="132" y="171"/>
                    <a:pt x="132" y="171"/>
                    <a:pt x="132" y="170"/>
                  </a:cubicBezTo>
                  <a:cubicBezTo>
                    <a:pt x="132" y="170"/>
                    <a:pt x="132" y="170"/>
                    <a:pt x="132" y="170"/>
                  </a:cubicBezTo>
                  <a:cubicBezTo>
                    <a:pt x="132" y="170"/>
                    <a:pt x="132" y="169"/>
                    <a:pt x="132" y="169"/>
                  </a:cubicBezTo>
                  <a:cubicBezTo>
                    <a:pt x="132" y="167"/>
                    <a:pt x="133" y="166"/>
                    <a:pt x="134" y="165"/>
                  </a:cubicBezTo>
                  <a:cubicBezTo>
                    <a:pt x="135" y="164"/>
                    <a:pt x="135" y="164"/>
                    <a:pt x="135" y="164"/>
                  </a:cubicBezTo>
                  <a:cubicBezTo>
                    <a:pt x="135" y="164"/>
                    <a:pt x="135" y="164"/>
                    <a:pt x="135" y="164"/>
                  </a:cubicBezTo>
                  <a:cubicBezTo>
                    <a:pt x="137" y="164"/>
                    <a:pt x="139" y="163"/>
                    <a:pt x="142" y="163"/>
                  </a:cubicBezTo>
                  <a:cubicBezTo>
                    <a:pt x="146" y="162"/>
                    <a:pt x="147" y="162"/>
                    <a:pt x="150" y="159"/>
                  </a:cubicBezTo>
                  <a:cubicBezTo>
                    <a:pt x="150" y="158"/>
                    <a:pt x="151" y="158"/>
                    <a:pt x="151" y="158"/>
                  </a:cubicBezTo>
                  <a:cubicBezTo>
                    <a:pt x="152" y="157"/>
                    <a:pt x="152" y="157"/>
                    <a:pt x="152" y="157"/>
                  </a:cubicBezTo>
                  <a:cubicBezTo>
                    <a:pt x="153" y="156"/>
                    <a:pt x="153" y="156"/>
                    <a:pt x="153" y="156"/>
                  </a:cubicBezTo>
                  <a:cubicBezTo>
                    <a:pt x="153" y="156"/>
                    <a:pt x="154" y="155"/>
                    <a:pt x="154" y="155"/>
                  </a:cubicBezTo>
                  <a:cubicBezTo>
                    <a:pt x="155" y="154"/>
                    <a:pt x="155" y="153"/>
                    <a:pt x="156" y="152"/>
                  </a:cubicBezTo>
                  <a:cubicBezTo>
                    <a:pt x="156" y="152"/>
                    <a:pt x="156" y="151"/>
                    <a:pt x="156" y="150"/>
                  </a:cubicBezTo>
                  <a:cubicBezTo>
                    <a:pt x="156" y="149"/>
                    <a:pt x="156" y="149"/>
                    <a:pt x="156" y="149"/>
                  </a:cubicBezTo>
                  <a:cubicBezTo>
                    <a:pt x="156" y="149"/>
                    <a:pt x="156" y="148"/>
                    <a:pt x="157" y="147"/>
                  </a:cubicBezTo>
                  <a:cubicBezTo>
                    <a:pt x="157" y="147"/>
                    <a:pt x="157" y="147"/>
                    <a:pt x="157" y="146"/>
                  </a:cubicBezTo>
                  <a:cubicBezTo>
                    <a:pt x="157" y="144"/>
                    <a:pt x="157" y="144"/>
                    <a:pt x="157" y="144"/>
                  </a:cubicBezTo>
                  <a:cubicBezTo>
                    <a:pt x="159" y="139"/>
                    <a:pt x="165" y="135"/>
                    <a:pt x="170" y="131"/>
                  </a:cubicBezTo>
                  <a:cubicBezTo>
                    <a:pt x="172" y="130"/>
                    <a:pt x="173" y="130"/>
                    <a:pt x="174" y="129"/>
                  </a:cubicBezTo>
                  <a:cubicBezTo>
                    <a:pt x="179" y="125"/>
                    <a:pt x="182" y="122"/>
                    <a:pt x="185" y="119"/>
                  </a:cubicBezTo>
                  <a:cubicBezTo>
                    <a:pt x="185" y="118"/>
                    <a:pt x="185" y="118"/>
                    <a:pt x="185" y="118"/>
                  </a:cubicBezTo>
                  <a:cubicBezTo>
                    <a:pt x="187" y="115"/>
                    <a:pt x="190" y="112"/>
                    <a:pt x="193" y="111"/>
                  </a:cubicBezTo>
                  <a:cubicBezTo>
                    <a:pt x="193" y="111"/>
                    <a:pt x="194" y="111"/>
                    <a:pt x="194" y="111"/>
                  </a:cubicBezTo>
                  <a:cubicBezTo>
                    <a:pt x="195" y="111"/>
                    <a:pt x="195" y="111"/>
                    <a:pt x="195" y="111"/>
                  </a:cubicBezTo>
                  <a:cubicBezTo>
                    <a:pt x="196" y="111"/>
                    <a:pt x="196" y="111"/>
                    <a:pt x="196" y="111"/>
                  </a:cubicBezTo>
                  <a:cubicBezTo>
                    <a:pt x="198" y="110"/>
                    <a:pt x="200" y="110"/>
                    <a:pt x="202" y="109"/>
                  </a:cubicBezTo>
                  <a:cubicBezTo>
                    <a:pt x="203" y="109"/>
                    <a:pt x="203" y="109"/>
                    <a:pt x="203" y="109"/>
                  </a:cubicBezTo>
                  <a:cubicBezTo>
                    <a:pt x="204" y="108"/>
                    <a:pt x="205" y="108"/>
                    <a:pt x="205" y="107"/>
                  </a:cubicBezTo>
                  <a:cubicBezTo>
                    <a:pt x="205" y="106"/>
                    <a:pt x="206" y="104"/>
                    <a:pt x="208" y="103"/>
                  </a:cubicBezTo>
                  <a:cubicBezTo>
                    <a:pt x="208" y="102"/>
                    <a:pt x="209" y="102"/>
                    <a:pt x="210" y="102"/>
                  </a:cubicBezTo>
                  <a:cubicBezTo>
                    <a:pt x="209" y="101"/>
                    <a:pt x="209" y="101"/>
                    <a:pt x="208" y="100"/>
                  </a:cubicBezTo>
                  <a:cubicBezTo>
                    <a:pt x="208" y="100"/>
                    <a:pt x="208" y="100"/>
                    <a:pt x="208" y="100"/>
                  </a:cubicBezTo>
                  <a:cubicBezTo>
                    <a:pt x="208" y="99"/>
                    <a:pt x="208" y="99"/>
                    <a:pt x="208" y="99"/>
                  </a:cubicBezTo>
                  <a:cubicBezTo>
                    <a:pt x="207" y="98"/>
                    <a:pt x="207" y="98"/>
                    <a:pt x="207" y="98"/>
                  </a:cubicBezTo>
                  <a:cubicBezTo>
                    <a:pt x="207" y="97"/>
                    <a:pt x="207" y="97"/>
                    <a:pt x="207" y="96"/>
                  </a:cubicBezTo>
                  <a:cubicBezTo>
                    <a:pt x="205" y="95"/>
                    <a:pt x="201" y="95"/>
                    <a:pt x="198" y="94"/>
                  </a:cubicBezTo>
                  <a:cubicBezTo>
                    <a:pt x="197" y="94"/>
                    <a:pt x="197" y="94"/>
                    <a:pt x="197" y="94"/>
                  </a:cubicBezTo>
                  <a:cubicBezTo>
                    <a:pt x="196" y="94"/>
                    <a:pt x="195" y="94"/>
                    <a:pt x="195" y="94"/>
                  </a:cubicBezTo>
                  <a:cubicBezTo>
                    <a:pt x="194" y="94"/>
                    <a:pt x="193" y="94"/>
                    <a:pt x="193" y="93"/>
                  </a:cubicBezTo>
                  <a:cubicBezTo>
                    <a:pt x="192" y="93"/>
                    <a:pt x="192" y="93"/>
                    <a:pt x="192" y="93"/>
                  </a:cubicBezTo>
                  <a:cubicBezTo>
                    <a:pt x="189" y="93"/>
                    <a:pt x="186" y="93"/>
                    <a:pt x="184" y="91"/>
                  </a:cubicBezTo>
                  <a:cubicBezTo>
                    <a:pt x="181" y="89"/>
                    <a:pt x="180" y="86"/>
                    <a:pt x="179" y="83"/>
                  </a:cubicBezTo>
                  <a:cubicBezTo>
                    <a:pt x="179" y="82"/>
                    <a:pt x="178" y="81"/>
                    <a:pt x="178" y="80"/>
                  </a:cubicBezTo>
                  <a:cubicBezTo>
                    <a:pt x="178" y="79"/>
                    <a:pt x="178" y="79"/>
                    <a:pt x="178" y="79"/>
                  </a:cubicBezTo>
                  <a:cubicBezTo>
                    <a:pt x="177" y="77"/>
                    <a:pt x="175" y="74"/>
                    <a:pt x="175" y="71"/>
                  </a:cubicBezTo>
                  <a:cubicBezTo>
                    <a:pt x="176" y="67"/>
                    <a:pt x="176" y="67"/>
                    <a:pt x="176" y="67"/>
                  </a:cubicBezTo>
                  <a:cubicBezTo>
                    <a:pt x="176" y="67"/>
                    <a:pt x="176" y="66"/>
                    <a:pt x="176" y="66"/>
                  </a:cubicBezTo>
                  <a:cubicBezTo>
                    <a:pt x="175" y="66"/>
                    <a:pt x="175" y="66"/>
                    <a:pt x="174" y="66"/>
                  </a:cubicBezTo>
                  <a:cubicBezTo>
                    <a:pt x="174" y="66"/>
                    <a:pt x="173" y="66"/>
                    <a:pt x="173" y="66"/>
                  </a:cubicBezTo>
                  <a:cubicBezTo>
                    <a:pt x="172" y="66"/>
                    <a:pt x="172" y="66"/>
                    <a:pt x="171" y="66"/>
                  </a:cubicBezTo>
                  <a:cubicBezTo>
                    <a:pt x="169" y="65"/>
                    <a:pt x="168" y="65"/>
                    <a:pt x="167" y="64"/>
                  </a:cubicBezTo>
                  <a:cubicBezTo>
                    <a:pt x="165" y="63"/>
                    <a:pt x="165" y="61"/>
                    <a:pt x="166" y="59"/>
                  </a:cubicBezTo>
                  <a:cubicBezTo>
                    <a:pt x="166" y="58"/>
                    <a:pt x="166" y="58"/>
                    <a:pt x="166" y="57"/>
                  </a:cubicBezTo>
                  <a:cubicBezTo>
                    <a:pt x="165" y="57"/>
                    <a:pt x="165" y="57"/>
                    <a:pt x="165" y="57"/>
                  </a:cubicBezTo>
                  <a:cubicBezTo>
                    <a:pt x="165" y="57"/>
                    <a:pt x="165" y="56"/>
                    <a:pt x="165" y="56"/>
                  </a:cubicBezTo>
                  <a:cubicBezTo>
                    <a:pt x="165" y="55"/>
                    <a:pt x="165" y="55"/>
                    <a:pt x="164" y="55"/>
                  </a:cubicBezTo>
                  <a:cubicBezTo>
                    <a:pt x="162" y="53"/>
                    <a:pt x="160" y="53"/>
                    <a:pt x="158" y="52"/>
                  </a:cubicBezTo>
                  <a:cubicBezTo>
                    <a:pt x="157" y="51"/>
                    <a:pt x="157" y="51"/>
                    <a:pt x="157" y="51"/>
                  </a:cubicBezTo>
                  <a:cubicBezTo>
                    <a:pt x="154" y="50"/>
                    <a:pt x="150" y="48"/>
                    <a:pt x="147" y="46"/>
                  </a:cubicBezTo>
                  <a:cubicBezTo>
                    <a:pt x="145" y="45"/>
                    <a:pt x="143" y="43"/>
                    <a:pt x="141" y="42"/>
                  </a:cubicBezTo>
                  <a:cubicBezTo>
                    <a:pt x="140" y="40"/>
                    <a:pt x="139" y="39"/>
                    <a:pt x="138" y="36"/>
                  </a:cubicBezTo>
                  <a:cubicBezTo>
                    <a:pt x="136" y="30"/>
                    <a:pt x="136" y="30"/>
                    <a:pt x="136" y="30"/>
                  </a:cubicBezTo>
                  <a:cubicBezTo>
                    <a:pt x="135" y="25"/>
                    <a:pt x="132" y="21"/>
                    <a:pt x="129" y="17"/>
                  </a:cubicBezTo>
                  <a:cubicBezTo>
                    <a:pt x="128" y="16"/>
                    <a:pt x="128" y="14"/>
                    <a:pt x="127" y="13"/>
                  </a:cubicBezTo>
                  <a:cubicBezTo>
                    <a:pt x="119" y="0"/>
                    <a:pt x="119"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 name="Rectangle 223">
              <a:extLst>
                <a:ext uri="{FF2B5EF4-FFF2-40B4-BE49-F238E27FC236}">
                  <a16:creationId xmlns:a16="http://schemas.microsoft.com/office/drawing/2014/main" id="{03E22882-B4FA-4E87-9E5A-993712978A41}"/>
                </a:ext>
              </a:extLst>
            </p:cNvPr>
            <p:cNvSpPr>
              <a:spLocks noChangeArrowheads="1"/>
            </p:cNvSpPr>
            <p:nvPr/>
          </p:nvSpPr>
          <p:spPr bwMode="auto">
            <a:xfrm>
              <a:off x="4963" y="376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 name="Freeform 224">
              <a:extLst>
                <a:ext uri="{FF2B5EF4-FFF2-40B4-BE49-F238E27FC236}">
                  <a16:creationId xmlns:a16="http://schemas.microsoft.com/office/drawing/2014/main" id="{9F14B500-E0F7-4581-A8BD-74643E94D52D}"/>
                </a:ext>
              </a:extLst>
            </p:cNvPr>
            <p:cNvSpPr>
              <a:spLocks/>
            </p:cNvSpPr>
            <p:nvPr/>
          </p:nvSpPr>
          <p:spPr bwMode="auto">
            <a:xfrm>
              <a:off x="4963" y="376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Freeform 225">
              <a:extLst>
                <a:ext uri="{FF2B5EF4-FFF2-40B4-BE49-F238E27FC236}">
                  <a16:creationId xmlns:a16="http://schemas.microsoft.com/office/drawing/2014/main" id="{AC4E0AF8-FC41-42CD-8CDD-A2EA951B6017}"/>
                </a:ext>
              </a:extLst>
            </p:cNvPr>
            <p:cNvSpPr>
              <a:spLocks/>
            </p:cNvSpPr>
            <p:nvPr/>
          </p:nvSpPr>
          <p:spPr bwMode="auto">
            <a:xfrm>
              <a:off x="4315" y="3715"/>
              <a:ext cx="735" cy="688"/>
            </a:xfrm>
            <a:custGeom>
              <a:avLst/>
              <a:gdLst>
                <a:gd name="T0" fmla="*/ 33 w 311"/>
                <a:gd name="T1" fmla="*/ 0 h 291"/>
                <a:gd name="T2" fmla="*/ 28 w 311"/>
                <a:gd name="T3" fmla="*/ 1 h 291"/>
                <a:gd name="T4" fmla="*/ 11 w 311"/>
                <a:gd name="T5" fmla="*/ 7 h 291"/>
                <a:gd name="T6" fmla="*/ 0 w 311"/>
                <a:gd name="T7" fmla="*/ 6 h 291"/>
                <a:gd name="T8" fmla="*/ 34 w 311"/>
                <a:gd name="T9" fmla="*/ 79 h 291"/>
                <a:gd name="T10" fmla="*/ 65 w 311"/>
                <a:gd name="T11" fmla="*/ 143 h 291"/>
                <a:gd name="T12" fmla="*/ 66 w 311"/>
                <a:gd name="T13" fmla="*/ 179 h 291"/>
                <a:gd name="T14" fmla="*/ 79 w 311"/>
                <a:gd name="T15" fmla="*/ 239 h 291"/>
                <a:gd name="T16" fmla="*/ 107 w 311"/>
                <a:gd name="T17" fmla="*/ 283 h 291"/>
                <a:gd name="T18" fmla="*/ 113 w 311"/>
                <a:gd name="T19" fmla="*/ 278 h 291"/>
                <a:gd name="T20" fmla="*/ 116 w 311"/>
                <a:gd name="T21" fmla="*/ 274 h 291"/>
                <a:gd name="T22" fmla="*/ 119 w 311"/>
                <a:gd name="T23" fmla="*/ 270 h 291"/>
                <a:gd name="T24" fmla="*/ 126 w 311"/>
                <a:gd name="T25" fmla="*/ 269 h 291"/>
                <a:gd name="T26" fmla="*/ 131 w 311"/>
                <a:gd name="T27" fmla="*/ 274 h 291"/>
                <a:gd name="T28" fmla="*/ 134 w 311"/>
                <a:gd name="T29" fmla="*/ 276 h 291"/>
                <a:gd name="T30" fmla="*/ 134 w 311"/>
                <a:gd name="T31" fmla="*/ 282 h 291"/>
                <a:gd name="T32" fmla="*/ 136 w 311"/>
                <a:gd name="T33" fmla="*/ 286 h 291"/>
                <a:gd name="T34" fmla="*/ 141 w 311"/>
                <a:gd name="T35" fmla="*/ 287 h 291"/>
                <a:gd name="T36" fmla="*/ 157 w 311"/>
                <a:gd name="T37" fmla="*/ 290 h 291"/>
                <a:gd name="T38" fmla="*/ 173 w 311"/>
                <a:gd name="T39" fmla="*/ 290 h 291"/>
                <a:gd name="T40" fmla="*/ 183 w 311"/>
                <a:gd name="T41" fmla="*/ 280 h 291"/>
                <a:gd name="T42" fmla="*/ 191 w 311"/>
                <a:gd name="T43" fmla="*/ 274 h 291"/>
                <a:gd name="T44" fmla="*/ 191 w 311"/>
                <a:gd name="T45" fmla="*/ 194 h 291"/>
                <a:gd name="T46" fmla="*/ 190 w 311"/>
                <a:gd name="T47" fmla="*/ 189 h 291"/>
                <a:gd name="T48" fmla="*/ 191 w 311"/>
                <a:gd name="T49" fmla="*/ 119 h 291"/>
                <a:gd name="T50" fmla="*/ 199 w 311"/>
                <a:gd name="T51" fmla="*/ 117 h 291"/>
                <a:gd name="T52" fmla="*/ 213 w 311"/>
                <a:gd name="T53" fmla="*/ 116 h 291"/>
                <a:gd name="T54" fmla="*/ 214 w 311"/>
                <a:gd name="T55" fmla="*/ 112 h 291"/>
                <a:gd name="T56" fmla="*/ 214 w 311"/>
                <a:gd name="T57" fmla="*/ 66 h 291"/>
                <a:gd name="T58" fmla="*/ 216 w 311"/>
                <a:gd name="T59" fmla="*/ 28 h 291"/>
                <a:gd name="T60" fmla="*/ 268 w 311"/>
                <a:gd name="T61" fmla="*/ 19 h 291"/>
                <a:gd name="T62" fmla="*/ 275 w 311"/>
                <a:gd name="T63" fmla="*/ 23 h 291"/>
                <a:gd name="T64" fmla="*/ 277 w 311"/>
                <a:gd name="T65" fmla="*/ 26 h 291"/>
                <a:gd name="T66" fmla="*/ 284 w 311"/>
                <a:gd name="T67" fmla="*/ 26 h 291"/>
                <a:gd name="T68" fmla="*/ 286 w 311"/>
                <a:gd name="T69" fmla="*/ 24 h 291"/>
                <a:gd name="T70" fmla="*/ 310 w 311"/>
                <a:gd name="T71" fmla="*/ 14 h 291"/>
                <a:gd name="T72" fmla="*/ 298 w 311"/>
                <a:gd name="T73" fmla="*/ 12 h 291"/>
                <a:gd name="T74" fmla="*/ 282 w 311"/>
                <a:gd name="T75" fmla="*/ 14 h 291"/>
                <a:gd name="T76" fmla="*/ 235 w 311"/>
                <a:gd name="T77" fmla="*/ 23 h 291"/>
                <a:gd name="T78" fmla="*/ 192 w 311"/>
                <a:gd name="T79" fmla="*/ 21 h 291"/>
                <a:gd name="T80" fmla="*/ 184 w 311"/>
                <a:gd name="T81" fmla="*/ 20 h 291"/>
                <a:gd name="T82" fmla="*/ 176 w 311"/>
                <a:gd name="T83" fmla="*/ 20 h 291"/>
                <a:gd name="T84" fmla="*/ 165 w 311"/>
                <a:gd name="T85" fmla="*/ 18 h 291"/>
                <a:gd name="T86" fmla="*/ 157 w 311"/>
                <a:gd name="T87" fmla="*/ 11 h 291"/>
                <a:gd name="T88" fmla="*/ 156 w 311"/>
                <a:gd name="T89" fmla="*/ 10 h 291"/>
                <a:gd name="T90" fmla="*/ 143 w 311"/>
                <a:gd name="T91" fmla="*/ 10 h 291"/>
                <a:gd name="T92" fmla="*/ 102 w 311"/>
                <a:gd name="T93" fmla="*/ 10 h 291"/>
                <a:gd name="T94" fmla="*/ 64 w 311"/>
                <a:gd name="T95" fmla="*/ 10 h 291"/>
                <a:gd name="T96" fmla="*/ 56 w 311"/>
                <a:gd name="T97" fmla="*/ 10 h 291"/>
                <a:gd name="T98" fmla="*/ 45 w 311"/>
                <a:gd name="T99" fmla="*/ 7 h 291"/>
                <a:gd name="T100" fmla="*/ 42 w 311"/>
                <a:gd name="T101" fmla="*/ 3 h 291"/>
                <a:gd name="T102" fmla="*/ 37 w 311"/>
                <a:gd name="T103"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1" h="291">
                  <a:moveTo>
                    <a:pt x="37" y="0"/>
                  </a:moveTo>
                  <a:cubicBezTo>
                    <a:pt x="35" y="0"/>
                    <a:pt x="35" y="0"/>
                    <a:pt x="35" y="0"/>
                  </a:cubicBezTo>
                  <a:cubicBezTo>
                    <a:pt x="34" y="0"/>
                    <a:pt x="34" y="0"/>
                    <a:pt x="33" y="0"/>
                  </a:cubicBezTo>
                  <a:cubicBezTo>
                    <a:pt x="32" y="0"/>
                    <a:pt x="32" y="0"/>
                    <a:pt x="32" y="0"/>
                  </a:cubicBezTo>
                  <a:cubicBezTo>
                    <a:pt x="31" y="0"/>
                    <a:pt x="31" y="0"/>
                    <a:pt x="30" y="0"/>
                  </a:cubicBezTo>
                  <a:cubicBezTo>
                    <a:pt x="30" y="1"/>
                    <a:pt x="29" y="1"/>
                    <a:pt x="28" y="1"/>
                  </a:cubicBezTo>
                  <a:cubicBezTo>
                    <a:pt x="28" y="2"/>
                    <a:pt x="27" y="2"/>
                    <a:pt x="26" y="3"/>
                  </a:cubicBezTo>
                  <a:cubicBezTo>
                    <a:pt x="24" y="4"/>
                    <a:pt x="21" y="6"/>
                    <a:pt x="18" y="6"/>
                  </a:cubicBezTo>
                  <a:cubicBezTo>
                    <a:pt x="16" y="6"/>
                    <a:pt x="13" y="7"/>
                    <a:pt x="11" y="7"/>
                  </a:cubicBezTo>
                  <a:cubicBezTo>
                    <a:pt x="9" y="7"/>
                    <a:pt x="8" y="6"/>
                    <a:pt x="6" y="6"/>
                  </a:cubicBezTo>
                  <a:cubicBezTo>
                    <a:pt x="4" y="6"/>
                    <a:pt x="3" y="6"/>
                    <a:pt x="2" y="6"/>
                  </a:cubicBezTo>
                  <a:cubicBezTo>
                    <a:pt x="1" y="6"/>
                    <a:pt x="1" y="6"/>
                    <a:pt x="0" y="6"/>
                  </a:cubicBezTo>
                  <a:cubicBezTo>
                    <a:pt x="0" y="6"/>
                    <a:pt x="0" y="6"/>
                    <a:pt x="0" y="6"/>
                  </a:cubicBezTo>
                  <a:cubicBezTo>
                    <a:pt x="0" y="16"/>
                    <a:pt x="0" y="28"/>
                    <a:pt x="8" y="35"/>
                  </a:cubicBezTo>
                  <a:cubicBezTo>
                    <a:pt x="20" y="46"/>
                    <a:pt x="27" y="65"/>
                    <a:pt x="34" y="79"/>
                  </a:cubicBezTo>
                  <a:cubicBezTo>
                    <a:pt x="40" y="91"/>
                    <a:pt x="46" y="103"/>
                    <a:pt x="53" y="115"/>
                  </a:cubicBezTo>
                  <a:cubicBezTo>
                    <a:pt x="57" y="122"/>
                    <a:pt x="61" y="129"/>
                    <a:pt x="65" y="136"/>
                  </a:cubicBezTo>
                  <a:cubicBezTo>
                    <a:pt x="66" y="138"/>
                    <a:pt x="65" y="142"/>
                    <a:pt x="65" y="143"/>
                  </a:cubicBezTo>
                  <a:cubicBezTo>
                    <a:pt x="64" y="148"/>
                    <a:pt x="64" y="152"/>
                    <a:pt x="64" y="156"/>
                  </a:cubicBezTo>
                  <a:cubicBezTo>
                    <a:pt x="64" y="162"/>
                    <a:pt x="63" y="168"/>
                    <a:pt x="64" y="173"/>
                  </a:cubicBezTo>
                  <a:cubicBezTo>
                    <a:pt x="64" y="175"/>
                    <a:pt x="65" y="177"/>
                    <a:pt x="66" y="179"/>
                  </a:cubicBezTo>
                  <a:cubicBezTo>
                    <a:pt x="67" y="184"/>
                    <a:pt x="69" y="188"/>
                    <a:pt x="72" y="193"/>
                  </a:cubicBezTo>
                  <a:cubicBezTo>
                    <a:pt x="74" y="198"/>
                    <a:pt x="72" y="206"/>
                    <a:pt x="72" y="212"/>
                  </a:cubicBezTo>
                  <a:cubicBezTo>
                    <a:pt x="73" y="221"/>
                    <a:pt x="77" y="230"/>
                    <a:pt x="79" y="239"/>
                  </a:cubicBezTo>
                  <a:cubicBezTo>
                    <a:pt x="82" y="247"/>
                    <a:pt x="84" y="256"/>
                    <a:pt x="89" y="263"/>
                  </a:cubicBezTo>
                  <a:cubicBezTo>
                    <a:pt x="92" y="267"/>
                    <a:pt x="94" y="271"/>
                    <a:pt x="98" y="275"/>
                  </a:cubicBezTo>
                  <a:cubicBezTo>
                    <a:pt x="102" y="277"/>
                    <a:pt x="104" y="281"/>
                    <a:pt x="107" y="283"/>
                  </a:cubicBezTo>
                  <a:cubicBezTo>
                    <a:pt x="108" y="284"/>
                    <a:pt x="108" y="284"/>
                    <a:pt x="108" y="284"/>
                  </a:cubicBezTo>
                  <a:cubicBezTo>
                    <a:pt x="110" y="281"/>
                    <a:pt x="110" y="281"/>
                    <a:pt x="110" y="281"/>
                  </a:cubicBezTo>
                  <a:cubicBezTo>
                    <a:pt x="111" y="281"/>
                    <a:pt x="112" y="280"/>
                    <a:pt x="113" y="278"/>
                  </a:cubicBezTo>
                  <a:cubicBezTo>
                    <a:pt x="113" y="278"/>
                    <a:pt x="114" y="277"/>
                    <a:pt x="114" y="276"/>
                  </a:cubicBezTo>
                  <a:cubicBezTo>
                    <a:pt x="115" y="276"/>
                    <a:pt x="115" y="275"/>
                    <a:pt x="115" y="275"/>
                  </a:cubicBezTo>
                  <a:cubicBezTo>
                    <a:pt x="116" y="274"/>
                    <a:pt x="116" y="274"/>
                    <a:pt x="116" y="274"/>
                  </a:cubicBezTo>
                  <a:cubicBezTo>
                    <a:pt x="116" y="273"/>
                    <a:pt x="117" y="272"/>
                    <a:pt x="117" y="272"/>
                  </a:cubicBezTo>
                  <a:cubicBezTo>
                    <a:pt x="118" y="271"/>
                    <a:pt x="118" y="270"/>
                    <a:pt x="119" y="270"/>
                  </a:cubicBezTo>
                  <a:cubicBezTo>
                    <a:pt x="119" y="270"/>
                    <a:pt x="119" y="270"/>
                    <a:pt x="119" y="270"/>
                  </a:cubicBezTo>
                  <a:cubicBezTo>
                    <a:pt x="120" y="269"/>
                    <a:pt x="121" y="269"/>
                    <a:pt x="122" y="269"/>
                  </a:cubicBezTo>
                  <a:cubicBezTo>
                    <a:pt x="123" y="269"/>
                    <a:pt x="123" y="269"/>
                    <a:pt x="123" y="269"/>
                  </a:cubicBezTo>
                  <a:cubicBezTo>
                    <a:pt x="126" y="269"/>
                    <a:pt x="126" y="269"/>
                    <a:pt x="126" y="269"/>
                  </a:cubicBezTo>
                  <a:cubicBezTo>
                    <a:pt x="129" y="270"/>
                    <a:pt x="130" y="272"/>
                    <a:pt x="130" y="273"/>
                  </a:cubicBezTo>
                  <a:cubicBezTo>
                    <a:pt x="130" y="274"/>
                    <a:pt x="130" y="274"/>
                    <a:pt x="130" y="274"/>
                  </a:cubicBezTo>
                  <a:cubicBezTo>
                    <a:pt x="131" y="274"/>
                    <a:pt x="131" y="274"/>
                    <a:pt x="131" y="274"/>
                  </a:cubicBezTo>
                  <a:cubicBezTo>
                    <a:pt x="131" y="274"/>
                    <a:pt x="131" y="274"/>
                    <a:pt x="131" y="274"/>
                  </a:cubicBezTo>
                  <a:cubicBezTo>
                    <a:pt x="131" y="274"/>
                    <a:pt x="131" y="274"/>
                    <a:pt x="131" y="274"/>
                  </a:cubicBezTo>
                  <a:cubicBezTo>
                    <a:pt x="132" y="275"/>
                    <a:pt x="133" y="275"/>
                    <a:pt x="134" y="276"/>
                  </a:cubicBezTo>
                  <a:cubicBezTo>
                    <a:pt x="135" y="277"/>
                    <a:pt x="135" y="277"/>
                    <a:pt x="135" y="277"/>
                  </a:cubicBezTo>
                  <a:cubicBezTo>
                    <a:pt x="135" y="278"/>
                    <a:pt x="135" y="278"/>
                    <a:pt x="135" y="279"/>
                  </a:cubicBezTo>
                  <a:cubicBezTo>
                    <a:pt x="135" y="281"/>
                    <a:pt x="135" y="282"/>
                    <a:pt x="134" y="282"/>
                  </a:cubicBezTo>
                  <a:cubicBezTo>
                    <a:pt x="134" y="282"/>
                    <a:pt x="134" y="282"/>
                    <a:pt x="134" y="282"/>
                  </a:cubicBezTo>
                  <a:cubicBezTo>
                    <a:pt x="135" y="283"/>
                    <a:pt x="136" y="284"/>
                    <a:pt x="136" y="284"/>
                  </a:cubicBezTo>
                  <a:cubicBezTo>
                    <a:pt x="136" y="285"/>
                    <a:pt x="136" y="285"/>
                    <a:pt x="136" y="286"/>
                  </a:cubicBezTo>
                  <a:cubicBezTo>
                    <a:pt x="136" y="286"/>
                    <a:pt x="137" y="286"/>
                    <a:pt x="137" y="286"/>
                  </a:cubicBezTo>
                  <a:cubicBezTo>
                    <a:pt x="138" y="286"/>
                    <a:pt x="138" y="286"/>
                    <a:pt x="138" y="286"/>
                  </a:cubicBezTo>
                  <a:cubicBezTo>
                    <a:pt x="139" y="287"/>
                    <a:pt x="140" y="287"/>
                    <a:pt x="141" y="287"/>
                  </a:cubicBezTo>
                  <a:cubicBezTo>
                    <a:pt x="142" y="287"/>
                    <a:pt x="142" y="287"/>
                    <a:pt x="142" y="287"/>
                  </a:cubicBezTo>
                  <a:cubicBezTo>
                    <a:pt x="146" y="289"/>
                    <a:pt x="150" y="290"/>
                    <a:pt x="154" y="290"/>
                  </a:cubicBezTo>
                  <a:cubicBezTo>
                    <a:pt x="154" y="290"/>
                    <a:pt x="156" y="290"/>
                    <a:pt x="157" y="290"/>
                  </a:cubicBezTo>
                  <a:cubicBezTo>
                    <a:pt x="158" y="290"/>
                    <a:pt x="158" y="290"/>
                    <a:pt x="158" y="290"/>
                  </a:cubicBezTo>
                  <a:cubicBezTo>
                    <a:pt x="160" y="291"/>
                    <a:pt x="164" y="291"/>
                    <a:pt x="168" y="291"/>
                  </a:cubicBezTo>
                  <a:cubicBezTo>
                    <a:pt x="170" y="291"/>
                    <a:pt x="171" y="291"/>
                    <a:pt x="173" y="290"/>
                  </a:cubicBezTo>
                  <a:cubicBezTo>
                    <a:pt x="173" y="290"/>
                    <a:pt x="173" y="290"/>
                    <a:pt x="173" y="290"/>
                  </a:cubicBezTo>
                  <a:cubicBezTo>
                    <a:pt x="174" y="289"/>
                    <a:pt x="175" y="287"/>
                    <a:pt x="176" y="285"/>
                  </a:cubicBezTo>
                  <a:cubicBezTo>
                    <a:pt x="178" y="283"/>
                    <a:pt x="181" y="282"/>
                    <a:pt x="183" y="280"/>
                  </a:cubicBezTo>
                  <a:cubicBezTo>
                    <a:pt x="185" y="280"/>
                    <a:pt x="186" y="280"/>
                    <a:pt x="188" y="279"/>
                  </a:cubicBezTo>
                  <a:cubicBezTo>
                    <a:pt x="190" y="279"/>
                    <a:pt x="191" y="279"/>
                    <a:pt x="191" y="279"/>
                  </a:cubicBezTo>
                  <a:cubicBezTo>
                    <a:pt x="191" y="278"/>
                    <a:pt x="191" y="277"/>
                    <a:pt x="191" y="274"/>
                  </a:cubicBezTo>
                  <a:cubicBezTo>
                    <a:pt x="191" y="273"/>
                    <a:pt x="191" y="273"/>
                    <a:pt x="191" y="272"/>
                  </a:cubicBezTo>
                  <a:cubicBezTo>
                    <a:pt x="191" y="199"/>
                    <a:pt x="191" y="199"/>
                    <a:pt x="191" y="199"/>
                  </a:cubicBezTo>
                  <a:cubicBezTo>
                    <a:pt x="191" y="197"/>
                    <a:pt x="191" y="196"/>
                    <a:pt x="191" y="194"/>
                  </a:cubicBezTo>
                  <a:cubicBezTo>
                    <a:pt x="191" y="193"/>
                    <a:pt x="191" y="193"/>
                    <a:pt x="191" y="193"/>
                  </a:cubicBezTo>
                  <a:cubicBezTo>
                    <a:pt x="191" y="192"/>
                    <a:pt x="191" y="191"/>
                    <a:pt x="190" y="189"/>
                  </a:cubicBezTo>
                  <a:cubicBezTo>
                    <a:pt x="190" y="189"/>
                    <a:pt x="190" y="189"/>
                    <a:pt x="190" y="189"/>
                  </a:cubicBezTo>
                  <a:cubicBezTo>
                    <a:pt x="191" y="186"/>
                    <a:pt x="191" y="186"/>
                    <a:pt x="191" y="186"/>
                  </a:cubicBezTo>
                  <a:cubicBezTo>
                    <a:pt x="191" y="124"/>
                    <a:pt x="191" y="124"/>
                    <a:pt x="191" y="124"/>
                  </a:cubicBezTo>
                  <a:cubicBezTo>
                    <a:pt x="191" y="121"/>
                    <a:pt x="191" y="120"/>
                    <a:pt x="191" y="119"/>
                  </a:cubicBezTo>
                  <a:cubicBezTo>
                    <a:pt x="192" y="118"/>
                    <a:pt x="192" y="118"/>
                    <a:pt x="192" y="118"/>
                  </a:cubicBezTo>
                  <a:cubicBezTo>
                    <a:pt x="192" y="117"/>
                    <a:pt x="193" y="117"/>
                    <a:pt x="195" y="117"/>
                  </a:cubicBezTo>
                  <a:cubicBezTo>
                    <a:pt x="196" y="117"/>
                    <a:pt x="198" y="117"/>
                    <a:pt x="199" y="117"/>
                  </a:cubicBezTo>
                  <a:cubicBezTo>
                    <a:pt x="200" y="117"/>
                    <a:pt x="200" y="117"/>
                    <a:pt x="200" y="117"/>
                  </a:cubicBezTo>
                  <a:cubicBezTo>
                    <a:pt x="202" y="117"/>
                    <a:pt x="205" y="117"/>
                    <a:pt x="207" y="117"/>
                  </a:cubicBezTo>
                  <a:cubicBezTo>
                    <a:pt x="209" y="117"/>
                    <a:pt x="211" y="117"/>
                    <a:pt x="213" y="116"/>
                  </a:cubicBezTo>
                  <a:cubicBezTo>
                    <a:pt x="214" y="116"/>
                    <a:pt x="214" y="116"/>
                    <a:pt x="214" y="116"/>
                  </a:cubicBezTo>
                  <a:cubicBezTo>
                    <a:pt x="215" y="115"/>
                    <a:pt x="215" y="115"/>
                    <a:pt x="215" y="114"/>
                  </a:cubicBezTo>
                  <a:cubicBezTo>
                    <a:pt x="214" y="113"/>
                    <a:pt x="214" y="113"/>
                    <a:pt x="214" y="112"/>
                  </a:cubicBezTo>
                  <a:cubicBezTo>
                    <a:pt x="214" y="101"/>
                    <a:pt x="214" y="101"/>
                    <a:pt x="214" y="101"/>
                  </a:cubicBezTo>
                  <a:cubicBezTo>
                    <a:pt x="214" y="90"/>
                    <a:pt x="214" y="79"/>
                    <a:pt x="214" y="68"/>
                  </a:cubicBezTo>
                  <a:cubicBezTo>
                    <a:pt x="214" y="66"/>
                    <a:pt x="214" y="66"/>
                    <a:pt x="214" y="66"/>
                  </a:cubicBezTo>
                  <a:cubicBezTo>
                    <a:pt x="214" y="55"/>
                    <a:pt x="214" y="44"/>
                    <a:pt x="214" y="32"/>
                  </a:cubicBezTo>
                  <a:cubicBezTo>
                    <a:pt x="214" y="30"/>
                    <a:pt x="215" y="29"/>
                    <a:pt x="215" y="29"/>
                  </a:cubicBezTo>
                  <a:cubicBezTo>
                    <a:pt x="216" y="28"/>
                    <a:pt x="216" y="28"/>
                    <a:pt x="216" y="28"/>
                  </a:cubicBezTo>
                  <a:cubicBezTo>
                    <a:pt x="216" y="27"/>
                    <a:pt x="217" y="27"/>
                    <a:pt x="217" y="26"/>
                  </a:cubicBezTo>
                  <a:cubicBezTo>
                    <a:pt x="218" y="26"/>
                    <a:pt x="218" y="26"/>
                    <a:pt x="218" y="26"/>
                  </a:cubicBezTo>
                  <a:cubicBezTo>
                    <a:pt x="268" y="19"/>
                    <a:pt x="268" y="19"/>
                    <a:pt x="268" y="19"/>
                  </a:cubicBezTo>
                  <a:cubicBezTo>
                    <a:pt x="268" y="19"/>
                    <a:pt x="269" y="19"/>
                    <a:pt x="270" y="19"/>
                  </a:cubicBezTo>
                  <a:cubicBezTo>
                    <a:pt x="271" y="19"/>
                    <a:pt x="273" y="19"/>
                    <a:pt x="275" y="21"/>
                  </a:cubicBezTo>
                  <a:cubicBezTo>
                    <a:pt x="275" y="22"/>
                    <a:pt x="275" y="22"/>
                    <a:pt x="275" y="23"/>
                  </a:cubicBezTo>
                  <a:cubicBezTo>
                    <a:pt x="276" y="23"/>
                    <a:pt x="276" y="23"/>
                    <a:pt x="276" y="23"/>
                  </a:cubicBezTo>
                  <a:cubicBezTo>
                    <a:pt x="276" y="24"/>
                    <a:pt x="276" y="24"/>
                    <a:pt x="276" y="24"/>
                  </a:cubicBezTo>
                  <a:cubicBezTo>
                    <a:pt x="276" y="24"/>
                    <a:pt x="277" y="25"/>
                    <a:pt x="277" y="26"/>
                  </a:cubicBezTo>
                  <a:cubicBezTo>
                    <a:pt x="278" y="27"/>
                    <a:pt x="278" y="29"/>
                    <a:pt x="279" y="30"/>
                  </a:cubicBezTo>
                  <a:cubicBezTo>
                    <a:pt x="279" y="30"/>
                    <a:pt x="279" y="30"/>
                    <a:pt x="279" y="30"/>
                  </a:cubicBezTo>
                  <a:cubicBezTo>
                    <a:pt x="280" y="30"/>
                    <a:pt x="281" y="28"/>
                    <a:pt x="284" y="26"/>
                  </a:cubicBezTo>
                  <a:cubicBezTo>
                    <a:pt x="284" y="26"/>
                    <a:pt x="285" y="25"/>
                    <a:pt x="285" y="25"/>
                  </a:cubicBezTo>
                  <a:cubicBezTo>
                    <a:pt x="282" y="21"/>
                    <a:pt x="282" y="21"/>
                    <a:pt x="282" y="21"/>
                  </a:cubicBezTo>
                  <a:cubicBezTo>
                    <a:pt x="286" y="24"/>
                    <a:pt x="286" y="24"/>
                    <a:pt x="286" y="24"/>
                  </a:cubicBezTo>
                  <a:cubicBezTo>
                    <a:pt x="286" y="24"/>
                    <a:pt x="286" y="24"/>
                    <a:pt x="286" y="24"/>
                  </a:cubicBezTo>
                  <a:cubicBezTo>
                    <a:pt x="294" y="18"/>
                    <a:pt x="302" y="15"/>
                    <a:pt x="311" y="15"/>
                  </a:cubicBezTo>
                  <a:cubicBezTo>
                    <a:pt x="310" y="14"/>
                    <a:pt x="310" y="14"/>
                    <a:pt x="310" y="14"/>
                  </a:cubicBezTo>
                  <a:cubicBezTo>
                    <a:pt x="310" y="14"/>
                    <a:pt x="309" y="14"/>
                    <a:pt x="308" y="13"/>
                  </a:cubicBezTo>
                  <a:cubicBezTo>
                    <a:pt x="305" y="12"/>
                    <a:pt x="302" y="12"/>
                    <a:pt x="298" y="12"/>
                  </a:cubicBezTo>
                  <a:cubicBezTo>
                    <a:pt x="298" y="12"/>
                    <a:pt x="298" y="12"/>
                    <a:pt x="298" y="12"/>
                  </a:cubicBezTo>
                  <a:cubicBezTo>
                    <a:pt x="297" y="12"/>
                    <a:pt x="295" y="12"/>
                    <a:pt x="294" y="12"/>
                  </a:cubicBezTo>
                  <a:cubicBezTo>
                    <a:pt x="294" y="12"/>
                    <a:pt x="294" y="12"/>
                    <a:pt x="293" y="12"/>
                  </a:cubicBezTo>
                  <a:cubicBezTo>
                    <a:pt x="290" y="12"/>
                    <a:pt x="286" y="13"/>
                    <a:pt x="282" y="14"/>
                  </a:cubicBezTo>
                  <a:cubicBezTo>
                    <a:pt x="280" y="14"/>
                    <a:pt x="279" y="15"/>
                    <a:pt x="277" y="15"/>
                  </a:cubicBezTo>
                  <a:cubicBezTo>
                    <a:pt x="275" y="15"/>
                    <a:pt x="275" y="15"/>
                    <a:pt x="275" y="15"/>
                  </a:cubicBezTo>
                  <a:cubicBezTo>
                    <a:pt x="235" y="23"/>
                    <a:pt x="235" y="23"/>
                    <a:pt x="235" y="23"/>
                  </a:cubicBezTo>
                  <a:cubicBezTo>
                    <a:pt x="232" y="23"/>
                    <a:pt x="229" y="24"/>
                    <a:pt x="225" y="24"/>
                  </a:cubicBezTo>
                  <a:cubicBezTo>
                    <a:pt x="216" y="24"/>
                    <a:pt x="208" y="23"/>
                    <a:pt x="199" y="22"/>
                  </a:cubicBezTo>
                  <a:cubicBezTo>
                    <a:pt x="192" y="21"/>
                    <a:pt x="192" y="21"/>
                    <a:pt x="192" y="21"/>
                  </a:cubicBezTo>
                  <a:cubicBezTo>
                    <a:pt x="191" y="21"/>
                    <a:pt x="191" y="21"/>
                    <a:pt x="190" y="21"/>
                  </a:cubicBezTo>
                  <a:cubicBezTo>
                    <a:pt x="188" y="21"/>
                    <a:pt x="188" y="21"/>
                    <a:pt x="188" y="21"/>
                  </a:cubicBezTo>
                  <a:cubicBezTo>
                    <a:pt x="186" y="21"/>
                    <a:pt x="185" y="21"/>
                    <a:pt x="184" y="20"/>
                  </a:cubicBezTo>
                  <a:cubicBezTo>
                    <a:pt x="182" y="20"/>
                    <a:pt x="181" y="20"/>
                    <a:pt x="180" y="20"/>
                  </a:cubicBezTo>
                  <a:cubicBezTo>
                    <a:pt x="177" y="20"/>
                    <a:pt x="177" y="20"/>
                    <a:pt x="177" y="20"/>
                  </a:cubicBezTo>
                  <a:cubicBezTo>
                    <a:pt x="177" y="20"/>
                    <a:pt x="176" y="20"/>
                    <a:pt x="176" y="20"/>
                  </a:cubicBezTo>
                  <a:cubicBezTo>
                    <a:pt x="175" y="20"/>
                    <a:pt x="175" y="20"/>
                    <a:pt x="175" y="20"/>
                  </a:cubicBezTo>
                  <a:cubicBezTo>
                    <a:pt x="173" y="20"/>
                    <a:pt x="173" y="20"/>
                    <a:pt x="173" y="20"/>
                  </a:cubicBezTo>
                  <a:cubicBezTo>
                    <a:pt x="170" y="20"/>
                    <a:pt x="168" y="19"/>
                    <a:pt x="165" y="18"/>
                  </a:cubicBezTo>
                  <a:cubicBezTo>
                    <a:pt x="163" y="17"/>
                    <a:pt x="161" y="15"/>
                    <a:pt x="160" y="14"/>
                  </a:cubicBezTo>
                  <a:cubicBezTo>
                    <a:pt x="159" y="13"/>
                    <a:pt x="158" y="12"/>
                    <a:pt x="158" y="12"/>
                  </a:cubicBezTo>
                  <a:cubicBezTo>
                    <a:pt x="157" y="11"/>
                    <a:pt x="157" y="11"/>
                    <a:pt x="157" y="11"/>
                  </a:cubicBezTo>
                  <a:cubicBezTo>
                    <a:pt x="157" y="11"/>
                    <a:pt x="157" y="10"/>
                    <a:pt x="156" y="10"/>
                  </a:cubicBezTo>
                  <a:cubicBezTo>
                    <a:pt x="156" y="10"/>
                    <a:pt x="156" y="10"/>
                    <a:pt x="156" y="10"/>
                  </a:cubicBezTo>
                  <a:cubicBezTo>
                    <a:pt x="156" y="10"/>
                    <a:pt x="156" y="10"/>
                    <a:pt x="156" y="10"/>
                  </a:cubicBezTo>
                  <a:cubicBezTo>
                    <a:pt x="155" y="9"/>
                    <a:pt x="154" y="9"/>
                    <a:pt x="152" y="9"/>
                  </a:cubicBezTo>
                  <a:cubicBezTo>
                    <a:pt x="150" y="9"/>
                    <a:pt x="148" y="9"/>
                    <a:pt x="147" y="9"/>
                  </a:cubicBezTo>
                  <a:cubicBezTo>
                    <a:pt x="145" y="9"/>
                    <a:pt x="144" y="10"/>
                    <a:pt x="143" y="10"/>
                  </a:cubicBezTo>
                  <a:cubicBezTo>
                    <a:pt x="135" y="10"/>
                    <a:pt x="127" y="10"/>
                    <a:pt x="118" y="10"/>
                  </a:cubicBezTo>
                  <a:cubicBezTo>
                    <a:pt x="116" y="10"/>
                    <a:pt x="114" y="10"/>
                    <a:pt x="112" y="10"/>
                  </a:cubicBezTo>
                  <a:cubicBezTo>
                    <a:pt x="109" y="10"/>
                    <a:pt x="105" y="10"/>
                    <a:pt x="102" y="10"/>
                  </a:cubicBezTo>
                  <a:cubicBezTo>
                    <a:pt x="81" y="10"/>
                    <a:pt x="81" y="10"/>
                    <a:pt x="81" y="10"/>
                  </a:cubicBezTo>
                  <a:cubicBezTo>
                    <a:pt x="77" y="10"/>
                    <a:pt x="73" y="10"/>
                    <a:pt x="69" y="10"/>
                  </a:cubicBezTo>
                  <a:cubicBezTo>
                    <a:pt x="64" y="10"/>
                    <a:pt x="64" y="10"/>
                    <a:pt x="64" y="10"/>
                  </a:cubicBezTo>
                  <a:cubicBezTo>
                    <a:pt x="62" y="10"/>
                    <a:pt x="60" y="9"/>
                    <a:pt x="58" y="9"/>
                  </a:cubicBezTo>
                  <a:cubicBezTo>
                    <a:pt x="58" y="9"/>
                    <a:pt x="58" y="9"/>
                    <a:pt x="58" y="9"/>
                  </a:cubicBezTo>
                  <a:cubicBezTo>
                    <a:pt x="57" y="9"/>
                    <a:pt x="57" y="10"/>
                    <a:pt x="56" y="10"/>
                  </a:cubicBezTo>
                  <a:cubicBezTo>
                    <a:pt x="55" y="10"/>
                    <a:pt x="54" y="10"/>
                    <a:pt x="53" y="10"/>
                  </a:cubicBezTo>
                  <a:cubicBezTo>
                    <a:pt x="52" y="10"/>
                    <a:pt x="52" y="10"/>
                    <a:pt x="51" y="10"/>
                  </a:cubicBezTo>
                  <a:cubicBezTo>
                    <a:pt x="49" y="10"/>
                    <a:pt x="47" y="8"/>
                    <a:pt x="45" y="7"/>
                  </a:cubicBezTo>
                  <a:cubicBezTo>
                    <a:pt x="45" y="6"/>
                    <a:pt x="45" y="6"/>
                    <a:pt x="44" y="6"/>
                  </a:cubicBezTo>
                  <a:cubicBezTo>
                    <a:pt x="43" y="5"/>
                    <a:pt x="43" y="5"/>
                    <a:pt x="43" y="5"/>
                  </a:cubicBezTo>
                  <a:cubicBezTo>
                    <a:pt x="43" y="4"/>
                    <a:pt x="42" y="4"/>
                    <a:pt x="42" y="3"/>
                  </a:cubicBezTo>
                  <a:cubicBezTo>
                    <a:pt x="41" y="3"/>
                    <a:pt x="41" y="3"/>
                    <a:pt x="41" y="3"/>
                  </a:cubicBezTo>
                  <a:cubicBezTo>
                    <a:pt x="40" y="2"/>
                    <a:pt x="38" y="0"/>
                    <a:pt x="37" y="0"/>
                  </a:cubicBezTo>
                  <a:cubicBezTo>
                    <a:pt x="37"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 name="Freeform 226">
              <a:extLst>
                <a:ext uri="{FF2B5EF4-FFF2-40B4-BE49-F238E27FC236}">
                  <a16:creationId xmlns:a16="http://schemas.microsoft.com/office/drawing/2014/main" id="{D4EB72B7-8EB4-44AF-829F-C84017618755}"/>
                </a:ext>
              </a:extLst>
            </p:cNvPr>
            <p:cNvSpPr>
              <a:spLocks/>
            </p:cNvSpPr>
            <p:nvPr/>
          </p:nvSpPr>
          <p:spPr bwMode="auto">
            <a:xfrm>
              <a:off x="5490" y="3292"/>
              <a:ext cx="158" cy="397"/>
            </a:xfrm>
            <a:custGeom>
              <a:avLst/>
              <a:gdLst>
                <a:gd name="T0" fmla="*/ 14 w 67"/>
                <a:gd name="T1" fmla="*/ 6 h 168"/>
                <a:gd name="T2" fmla="*/ 22 w 67"/>
                <a:gd name="T3" fmla="*/ 20 h 168"/>
                <a:gd name="T4" fmla="*/ 13 w 67"/>
                <a:gd name="T5" fmla="*/ 30 h 168"/>
                <a:gd name="T6" fmla="*/ 13 w 67"/>
                <a:gd name="T7" fmla="*/ 32 h 168"/>
                <a:gd name="T8" fmla="*/ 12 w 67"/>
                <a:gd name="T9" fmla="*/ 41 h 168"/>
                <a:gd name="T10" fmla="*/ 11 w 67"/>
                <a:gd name="T11" fmla="*/ 46 h 168"/>
                <a:gd name="T12" fmla="*/ 12 w 67"/>
                <a:gd name="T13" fmla="*/ 52 h 168"/>
                <a:gd name="T14" fmla="*/ 12 w 67"/>
                <a:gd name="T15" fmla="*/ 55 h 168"/>
                <a:gd name="T16" fmla="*/ 12 w 67"/>
                <a:gd name="T17" fmla="*/ 56 h 168"/>
                <a:gd name="T18" fmla="*/ 15 w 67"/>
                <a:gd name="T19" fmla="*/ 61 h 168"/>
                <a:gd name="T20" fmla="*/ 17 w 67"/>
                <a:gd name="T21" fmla="*/ 68 h 168"/>
                <a:gd name="T22" fmla="*/ 15 w 67"/>
                <a:gd name="T23" fmla="*/ 69 h 168"/>
                <a:gd name="T24" fmla="*/ 7 w 67"/>
                <a:gd name="T25" fmla="*/ 73 h 168"/>
                <a:gd name="T26" fmla="*/ 6 w 67"/>
                <a:gd name="T27" fmla="*/ 77 h 168"/>
                <a:gd name="T28" fmla="*/ 4 w 67"/>
                <a:gd name="T29" fmla="*/ 89 h 168"/>
                <a:gd name="T30" fmla="*/ 1 w 67"/>
                <a:gd name="T31" fmla="*/ 94 h 168"/>
                <a:gd name="T32" fmla="*/ 0 w 67"/>
                <a:gd name="T33" fmla="*/ 96 h 168"/>
                <a:gd name="T34" fmla="*/ 3 w 67"/>
                <a:gd name="T35" fmla="*/ 99 h 168"/>
                <a:gd name="T36" fmla="*/ 4 w 67"/>
                <a:gd name="T37" fmla="*/ 101 h 168"/>
                <a:gd name="T38" fmla="*/ 6 w 67"/>
                <a:gd name="T39" fmla="*/ 100 h 168"/>
                <a:gd name="T40" fmla="*/ 8 w 67"/>
                <a:gd name="T41" fmla="*/ 101 h 168"/>
                <a:gd name="T42" fmla="*/ 17 w 67"/>
                <a:gd name="T43" fmla="*/ 107 h 168"/>
                <a:gd name="T44" fmla="*/ 18 w 67"/>
                <a:gd name="T45" fmla="*/ 113 h 168"/>
                <a:gd name="T46" fmla="*/ 26 w 67"/>
                <a:gd name="T47" fmla="*/ 113 h 168"/>
                <a:gd name="T48" fmla="*/ 38 w 67"/>
                <a:gd name="T49" fmla="*/ 113 h 168"/>
                <a:gd name="T50" fmla="*/ 43 w 67"/>
                <a:gd name="T51" fmla="*/ 126 h 168"/>
                <a:gd name="T52" fmla="*/ 43 w 67"/>
                <a:gd name="T53" fmla="*/ 129 h 168"/>
                <a:gd name="T54" fmla="*/ 41 w 67"/>
                <a:gd name="T55" fmla="*/ 138 h 168"/>
                <a:gd name="T56" fmla="*/ 36 w 67"/>
                <a:gd name="T57" fmla="*/ 148 h 168"/>
                <a:gd name="T58" fmla="*/ 38 w 67"/>
                <a:gd name="T59" fmla="*/ 155 h 168"/>
                <a:gd name="T60" fmla="*/ 39 w 67"/>
                <a:gd name="T61" fmla="*/ 156 h 168"/>
                <a:gd name="T62" fmla="*/ 40 w 67"/>
                <a:gd name="T63" fmla="*/ 158 h 168"/>
                <a:gd name="T64" fmla="*/ 47 w 67"/>
                <a:gd name="T65" fmla="*/ 164 h 168"/>
                <a:gd name="T66" fmla="*/ 48 w 67"/>
                <a:gd name="T67" fmla="*/ 165 h 168"/>
                <a:gd name="T68" fmla="*/ 50 w 67"/>
                <a:gd name="T69" fmla="*/ 166 h 168"/>
                <a:gd name="T70" fmla="*/ 51 w 67"/>
                <a:gd name="T71" fmla="*/ 164 h 168"/>
                <a:gd name="T72" fmla="*/ 56 w 67"/>
                <a:gd name="T73" fmla="*/ 155 h 168"/>
                <a:gd name="T74" fmla="*/ 58 w 67"/>
                <a:gd name="T75" fmla="*/ 154 h 168"/>
                <a:gd name="T76" fmla="*/ 61 w 67"/>
                <a:gd name="T77" fmla="*/ 153 h 168"/>
                <a:gd name="T78" fmla="*/ 64 w 67"/>
                <a:gd name="T79" fmla="*/ 152 h 168"/>
                <a:gd name="T80" fmla="*/ 66 w 67"/>
                <a:gd name="T81" fmla="*/ 150 h 168"/>
                <a:gd name="T82" fmla="*/ 67 w 67"/>
                <a:gd name="T83" fmla="*/ 140 h 168"/>
                <a:gd name="T84" fmla="*/ 67 w 67"/>
                <a:gd name="T85" fmla="*/ 134 h 168"/>
                <a:gd name="T86" fmla="*/ 67 w 67"/>
                <a:gd name="T87" fmla="*/ 133 h 168"/>
                <a:gd name="T88" fmla="*/ 67 w 67"/>
                <a:gd name="T89" fmla="*/ 130 h 168"/>
                <a:gd name="T90" fmla="*/ 67 w 67"/>
                <a:gd name="T91" fmla="*/ 124 h 168"/>
                <a:gd name="T92" fmla="*/ 63 w 67"/>
                <a:gd name="T93" fmla="*/ 116 h 168"/>
                <a:gd name="T94" fmla="*/ 53 w 67"/>
                <a:gd name="T95" fmla="*/ 103 h 168"/>
                <a:gd name="T96" fmla="*/ 56 w 67"/>
                <a:gd name="T97" fmla="*/ 112 h 168"/>
                <a:gd name="T98" fmla="*/ 47 w 67"/>
                <a:gd name="T99" fmla="*/ 104 h 168"/>
                <a:gd name="T100" fmla="*/ 39 w 67"/>
                <a:gd name="T101" fmla="*/ 105 h 168"/>
                <a:gd name="T102" fmla="*/ 33 w 67"/>
                <a:gd name="T103" fmla="*/ 102 h 168"/>
                <a:gd name="T104" fmla="*/ 39 w 67"/>
                <a:gd name="T105" fmla="*/ 95 h 168"/>
                <a:gd name="T106" fmla="*/ 34 w 67"/>
                <a:gd name="T107" fmla="*/ 79 h 168"/>
                <a:gd name="T108" fmla="*/ 33 w 67"/>
                <a:gd name="T109" fmla="*/ 50 h 168"/>
                <a:gd name="T110" fmla="*/ 31 w 67"/>
                <a:gd name="T111" fmla="*/ 22 h 168"/>
                <a:gd name="T112" fmla="*/ 26 w 67"/>
                <a:gd name="T113" fmla="*/ 5 h 168"/>
                <a:gd name="T114" fmla="*/ 25 w 67"/>
                <a:gd name="T115" fmla="*/ 5 h 168"/>
                <a:gd name="T116" fmla="*/ 23 w 67"/>
                <a:gd name="T117" fmla="*/ 4 h 168"/>
                <a:gd name="T118" fmla="*/ 21 w 67"/>
                <a:gd name="T119" fmla="*/ 4 h 168"/>
                <a:gd name="T120" fmla="*/ 19 w 67"/>
                <a:gd name="T121" fmla="*/ 3 h 168"/>
                <a:gd name="T122" fmla="*/ 14 w 67"/>
                <a:gd name="T123" fmla="*/ 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 h="168">
                  <a:moveTo>
                    <a:pt x="11" y="0"/>
                  </a:moveTo>
                  <a:cubicBezTo>
                    <a:pt x="13" y="2"/>
                    <a:pt x="13" y="4"/>
                    <a:pt x="14" y="6"/>
                  </a:cubicBezTo>
                  <a:cubicBezTo>
                    <a:pt x="14" y="10"/>
                    <a:pt x="16" y="13"/>
                    <a:pt x="19" y="17"/>
                  </a:cubicBezTo>
                  <a:cubicBezTo>
                    <a:pt x="20" y="18"/>
                    <a:pt x="21" y="19"/>
                    <a:pt x="22" y="20"/>
                  </a:cubicBezTo>
                  <a:cubicBezTo>
                    <a:pt x="23" y="23"/>
                    <a:pt x="23" y="23"/>
                    <a:pt x="23" y="23"/>
                  </a:cubicBezTo>
                  <a:cubicBezTo>
                    <a:pt x="13" y="30"/>
                    <a:pt x="13" y="30"/>
                    <a:pt x="13" y="30"/>
                  </a:cubicBezTo>
                  <a:cubicBezTo>
                    <a:pt x="13" y="30"/>
                    <a:pt x="13" y="30"/>
                    <a:pt x="13" y="30"/>
                  </a:cubicBezTo>
                  <a:cubicBezTo>
                    <a:pt x="13" y="31"/>
                    <a:pt x="13" y="31"/>
                    <a:pt x="13" y="32"/>
                  </a:cubicBezTo>
                  <a:cubicBezTo>
                    <a:pt x="13" y="32"/>
                    <a:pt x="13" y="33"/>
                    <a:pt x="13" y="34"/>
                  </a:cubicBezTo>
                  <a:cubicBezTo>
                    <a:pt x="13" y="36"/>
                    <a:pt x="13" y="39"/>
                    <a:pt x="12" y="41"/>
                  </a:cubicBezTo>
                  <a:cubicBezTo>
                    <a:pt x="12" y="42"/>
                    <a:pt x="12" y="43"/>
                    <a:pt x="11" y="44"/>
                  </a:cubicBezTo>
                  <a:cubicBezTo>
                    <a:pt x="11" y="45"/>
                    <a:pt x="11" y="45"/>
                    <a:pt x="11" y="46"/>
                  </a:cubicBezTo>
                  <a:cubicBezTo>
                    <a:pt x="11" y="48"/>
                    <a:pt x="12" y="49"/>
                    <a:pt x="12" y="51"/>
                  </a:cubicBezTo>
                  <a:cubicBezTo>
                    <a:pt x="12" y="52"/>
                    <a:pt x="12" y="52"/>
                    <a:pt x="12" y="52"/>
                  </a:cubicBezTo>
                  <a:cubicBezTo>
                    <a:pt x="12" y="53"/>
                    <a:pt x="12" y="54"/>
                    <a:pt x="12" y="55"/>
                  </a:cubicBezTo>
                  <a:cubicBezTo>
                    <a:pt x="12" y="55"/>
                    <a:pt x="12" y="55"/>
                    <a:pt x="12" y="55"/>
                  </a:cubicBezTo>
                  <a:cubicBezTo>
                    <a:pt x="17" y="54"/>
                    <a:pt x="17" y="54"/>
                    <a:pt x="17" y="54"/>
                  </a:cubicBezTo>
                  <a:cubicBezTo>
                    <a:pt x="12" y="56"/>
                    <a:pt x="12" y="56"/>
                    <a:pt x="12" y="56"/>
                  </a:cubicBezTo>
                  <a:cubicBezTo>
                    <a:pt x="12" y="56"/>
                    <a:pt x="12" y="56"/>
                    <a:pt x="12" y="56"/>
                  </a:cubicBezTo>
                  <a:cubicBezTo>
                    <a:pt x="12" y="58"/>
                    <a:pt x="13" y="59"/>
                    <a:pt x="15" y="61"/>
                  </a:cubicBezTo>
                  <a:cubicBezTo>
                    <a:pt x="20" y="66"/>
                    <a:pt x="20" y="66"/>
                    <a:pt x="20" y="66"/>
                  </a:cubicBezTo>
                  <a:cubicBezTo>
                    <a:pt x="17" y="68"/>
                    <a:pt x="17" y="68"/>
                    <a:pt x="17" y="68"/>
                  </a:cubicBezTo>
                  <a:cubicBezTo>
                    <a:pt x="16" y="68"/>
                    <a:pt x="16" y="68"/>
                    <a:pt x="15" y="69"/>
                  </a:cubicBezTo>
                  <a:cubicBezTo>
                    <a:pt x="15" y="69"/>
                    <a:pt x="15" y="69"/>
                    <a:pt x="15" y="69"/>
                  </a:cubicBezTo>
                  <a:cubicBezTo>
                    <a:pt x="13" y="70"/>
                    <a:pt x="11" y="72"/>
                    <a:pt x="9" y="73"/>
                  </a:cubicBezTo>
                  <a:cubicBezTo>
                    <a:pt x="8" y="73"/>
                    <a:pt x="7" y="73"/>
                    <a:pt x="7" y="73"/>
                  </a:cubicBezTo>
                  <a:cubicBezTo>
                    <a:pt x="7" y="73"/>
                    <a:pt x="7" y="73"/>
                    <a:pt x="7" y="73"/>
                  </a:cubicBezTo>
                  <a:cubicBezTo>
                    <a:pt x="6" y="74"/>
                    <a:pt x="6" y="76"/>
                    <a:pt x="6" y="77"/>
                  </a:cubicBezTo>
                  <a:cubicBezTo>
                    <a:pt x="6" y="78"/>
                    <a:pt x="6" y="78"/>
                    <a:pt x="6" y="78"/>
                  </a:cubicBezTo>
                  <a:cubicBezTo>
                    <a:pt x="6" y="82"/>
                    <a:pt x="5" y="86"/>
                    <a:pt x="4" y="89"/>
                  </a:cubicBezTo>
                  <a:cubicBezTo>
                    <a:pt x="3" y="90"/>
                    <a:pt x="3" y="91"/>
                    <a:pt x="2" y="92"/>
                  </a:cubicBezTo>
                  <a:cubicBezTo>
                    <a:pt x="2" y="93"/>
                    <a:pt x="1" y="94"/>
                    <a:pt x="1" y="94"/>
                  </a:cubicBezTo>
                  <a:cubicBezTo>
                    <a:pt x="0" y="95"/>
                    <a:pt x="0" y="95"/>
                    <a:pt x="0" y="95"/>
                  </a:cubicBezTo>
                  <a:cubicBezTo>
                    <a:pt x="0" y="96"/>
                    <a:pt x="0" y="96"/>
                    <a:pt x="0" y="96"/>
                  </a:cubicBezTo>
                  <a:cubicBezTo>
                    <a:pt x="1" y="97"/>
                    <a:pt x="1" y="97"/>
                    <a:pt x="1" y="97"/>
                  </a:cubicBezTo>
                  <a:cubicBezTo>
                    <a:pt x="2" y="98"/>
                    <a:pt x="2" y="99"/>
                    <a:pt x="3" y="99"/>
                  </a:cubicBezTo>
                  <a:cubicBezTo>
                    <a:pt x="3" y="100"/>
                    <a:pt x="3" y="100"/>
                    <a:pt x="4" y="101"/>
                  </a:cubicBezTo>
                  <a:cubicBezTo>
                    <a:pt x="4" y="101"/>
                    <a:pt x="4" y="101"/>
                    <a:pt x="4" y="101"/>
                  </a:cubicBezTo>
                  <a:cubicBezTo>
                    <a:pt x="4" y="101"/>
                    <a:pt x="5" y="100"/>
                    <a:pt x="6" y="100"/>
                  </a:cubicBezTo>
                  <a:cubicBezTo>
                    <a:pt x="6" y="100"/>
                    <a:pt x="6" y="100"/>
                    <a:pt x="6" y="100"/>
                  </a:cubicBezTo>
                  <a:cubicBezTo>
                    <a:pt x="7" y="100"/>
                    <a:pt x="8" y="101"/>
                    <a:pt x="8" y="101"/>
                  </a:cubicBezTo>
                  <a:cubicBezTo>
                    <a:pt x="8" y="101"/>
                    <a:pt x="8" y="101"/>
                    <a:pt x="8" y="101"/>
                  </a:cubicBezTo>
                  <a:cubicBezTo>
                    <a:pt x="10" y="102"/>
                    <a:pt x="10" y="102"/>
                    <a:pt x="10" y="102"/>
                  </a:cubicBezTo>
                  <a:cubicBezTo>
                    <a:pt x="17" y="107"/>
                    <a:pt x="17" y="107"/>
                    <a:pt x="17" y="107"/>
                  </a:cubicBezTo>
                  <a:cubicBezTo>
                    <a:pt x="14" y="107"/>
                    <a:pt x="14" y="107"/>
                    <a:pt x="14" y="107"/>
                  </a:cubicBezTo>
                  <a:cubicBezTo>
                    <a:pt x="15" y="109"/>
                    <a:pt x="17" y="112"/>
                    <a:pt x="18" y="113"/>
                  </a:cubicBezTo>
                  <a:cubicBezTo>
                    <a:pt x="19" y="114"/>
                    <a:pt x="19" y="114"/>
                    <a:pt x="19" y="114"/>
                  </a:cubicBezTo>
                  <a:cubicBezTo>
                    <a:pt x="26" y="113"/>
                    <a:pt x="26" y="113"/>
                    <a:pt x="26" y="113"/>
                  </a:cubicBezTo>
                  <a:cubicBezTo>
                    <a:pt x="29" y="112"/>
                    <a:pt x="32" y="111"/>
                    <a:pt x="34" y="111"/>
                  </a:cubicBezTo>
                  <a:cubicBezTo>
                    <a:pt x="36" y="111"/>
                    <a:pt x="38" y="111"/>
                    <a:pt x="38" y="113"/>
                  </a:cubicBezTo>
                  <a:cubicBezTo>
                    <a:pt x="39" y="114"/>
                    <a:pt x="39" y="116"/>
                    <a:pt x="40" y="117"/>
                  </a:cubicBezTo>
                  <a:cubicBezTo>
                    <a:pt x="41" y="120"/>
                    <a:pt x="42" y="123"/>
                    <a:pt x="43" y="126"/>
                  </a:cubicBezTo>
                  <a:cubicBezTo>
                    <a:pt x="43" y="127"/>
                    <a:pt x="43" y="127"/>
                    <a:pt x="43" y="127"/>
                  </a:cubicBezTo>
                  <a:cubicBezTo>
                    <a:pt x="43" y="127"/>
                    <a:pt x="43" y="128"/>
                    <a:pt x="43" y="129"/>
                  </a:cubicBezTo>
                  <a:cubicBezTo>
                    <a:pt x="43" y="132"/>
                    <a:pt x="42" y="134"/>
                    <a:pt x="41" y="137"/>
                  </a:cubicBezTo>
                  <a:cubicBezTo>
                    <a:pt x="41" y="138"/>
                    <a:pt x="41" y="138"/>
                    <a:pt x="41" y="138"/>
                  </a:cubicBezTo>
                  <a:cubicBezTo>
                    <a:pt x="41" y="138"/>
                    <a:pt x="40" y="139"/>
                    <a:pt x="40" y="140"/>
                  </a:cubicBezTo>
                  <a:cubicBezTo>
                    <a:pt x="39" y="143"/>
                    <a:pt x="38" y="147"/>
                    <a:pt x="36" y="148"/>
                  </a:cubicBezTo>
                  <a:cubicBezTo>
                    <a:pt x="35" y="149"/>
                    <a:pt x="35" y="149"/>
                    <a:pt x="35" y="149"/>
                  </a:cubicBezTo>
                  <a:cubicBezTo>
                    <a:pt x="35" y="151"/>
                    <a:pt x="37" y="153"/>
                    <a:pt x="38" y="155"/>
                  </a:cubicBezTo>
                  <a:cubicBezTo>
                    <a:pt x="38" y="156"/>
                    <a:pt x="38" y="156"/>
                    <a:pt x="38" y="156"/>
                  </a:cubicBezTo>
                  <a:cubicBezTo>
                    <a:pt x="39" y="156"/>
                    <a:pt x="39" y="156"/>
                    <a:pt x="39" y="156"/>
                  </a:cubicBezTo>
                  <a:cubicBezTo>
                    <a:pt x="40" y="157"/>
                    <a:pt x="40" y="157"/>
                    <a:pt x="40" y="157"/>
                  </a:cubicBezTo>
                  <a:cubicBezTo>
                    <a:pt x="40" y="158"/>
                    <a:pt x="40" y="158"/>
                    <a:pt x="40" y="158"/>
                  </a:cubicBezTo>
                  <a:cubicBezTo>
                    <a:pt x="41" y="159"/>
                    <a:pt x="43" y="161"/>
                    <a:pt x="45" y="162"/>
                  </a:cubicBezTo>
                  <a:cubicBezTo>
                    <a:pt x="47" y="164"/>
                    <a:pt x="47" y="164"/>
                    <a:pt x="47" y="164"/>
                  </a:cubicBezTo>
                  <a:cubicBezTo>
                    <a:pt x="48" y="165"/>
                    <a:pt x="48" y="165"/>
                    <a:pt x="48" y="165"/>
                  </a:cubicBezTo>
                  <a:cubicBezTo>
                    <a:pt x="48" y="165"/>
                    <a:pt x="48" y="165"/>
                    <a:pt x="48" y="165"/>
                  </a:cubicBezTo>
                  <a:cubicBezTo>
                    <a:pt x="49" y="166"/>
                    <a:pt x="50" y="167"/>
                    <a:pt x="50" y="168"/>
                  </a:cubicBezTo>
                  <a:cubicBezTo>
                    <a:pt x="50" y="167"/>
                    <a:pt x="50" y="166"/>
                    <a:pt x="50" y="166"/>
                  </a:cubicBezTo>
                  <a:cubicBezTo>
                    <a:pt x="50" y="165"/>
                    <a:pt x="50" y="165"/>
                    <a:pt x="50" y="165"/>
                  </a:cubicBezTo>
                  <a:cubicBezTo>
                    <a:pt x="51" y="164"/>
                    <a:pt x="51" y="164"/>
                    <a:pt x="51" y="164"/>
                  </a:cubicBezTo>
                  <a:cubicBezTo>
                    <a:pt x="51" y="163"/>
                    <a:pt x="53" y="160"/>
                    <a:pt x="54" y="158"/>
                  </a:cubicBezTo>
                  <a:cubicBezTo>
                    <a:pt x="54" y="157"/>
                    <a:pt x="55" y="156"/>
                    <a:pt x="56" y="155"/>
                  </a:cubicBezTo>
                  <a:cubicBezTo>
                    <a:pt x="56" y="155"/>
                    <a:pt x="56" y="154"/>
                    <a:pt x="57" y="154"/>
                  </a:cubicBezTo>
                  <a:cubicBezTo>
                    <a:pt x="58" y="154"/>
                    <a:pt x="58" y="154"/>
                    <a:pt x="58" y="154"/>
                  </a:cubicBezTo>
                  <a:cubicBezTo>
                    <a:pt x="58" y="154"/>
                    <a:pt x="59" y="154"/>
                    <a:pt x="60" y="153"/>
                  </a:cubicBezTo>
                  <a:cubicBezTo>
                    <a:pt x="61" y="153"/>
                    <a:pt x="61" y="153"/>
                    <a:pt x="61" y="153"/>
                  </a:cubicBezTo>
                  <a:cubicBezTo>
                    <a:pt x="62" y="153"/>
                    <a:pt x="62" y="153"/>
                    <a:pt x="63" y="152"/>
                  </a:cubicBezTo>
                  <a:cubicBezTo>
                    <a:pt x="64" y="152"/>
                    <a:pt x="64" y="152"/>
                    <a:pt x="64" y="152"/>
                  </a:cubicBezTo>
                  <a:cubicBezTo>
                    <a:pt x="64" y="152"/>
                    <a:pt x="65" y="152"/>
                    <a:pt x="65" y="152"/>
                  </a:cubicBezTo>
                  <a:cubicBezTo>
                    <a:pt x="66" y="151"/>
                    <a:pt x="66" y="151"/>
                    <a:pt x="66" y="150"/>
                  </a:cubicBezTo>
                  <a:cubicBezTo>
                    <a:pt x="67" y="141"/>
                    <a:pt x="67" y="141"/>
                    <a:pt x="67" y="141"/>
                  </a:cubicBezTo>
                  <a:cubicBezTo>
                    <a:pt x="67" y="141"/>
                    <a:pt x="67" y="140"/>
                    <a:pt x="67" y="140"/>
                  </a:cubicBezTo>
                  <a:cubicBezTo>
                    <a:pt x="67" y="139"/>
                    <a:pt x="67" y="138"/>
                    <a:pt x="67" y="137"/>
                  </a:cubicBezTo>
                  <a:cubicBezTo>
                    <a:pt x="67" y="136"/>
                    <a:pt x="67" y="135"/>
                    <a:pt x="67" y="134"/>
                  </a:cubicBezTo>
                  <a:cubicBezTo>
                    <a:pt x="67" y="133"/>
                    <a:pt x="67" y="133"/>
                    <a:pt x="67" y="133"/>
                  </a:cubicBezTo>
                  <a:cubicBezTo>
                    <a:pt x="67" y="133"/>
                    <a:pt x="67" y="133"/>
                    <a:pt x="67" y="133"/>
                  </a:cubicBezTo>
                  <a:cubicBezTo>
                    <a:pt x="67" y="132"/>
                    <a:pt x="67" y="132"/>
                    <a:pt x="67" y="132"/>
                  </a:cubicBezTo>
                  <a:cubicBezTo>
                    <a:pt x="67" y="132"/>
                    <a:pt x="67" y="131"/>
                    <a:pt x="67" y="130"/>
                  </a:cubicBezTo>
                  <a:cubicBezTo>
                    <a:pt x="67" y="129"/>
                    <a:pt x="67" y="129"/>
                    <a:pt x="67" y="129"/>
                  </a:cubicBezTo>
                  <a:cubicBezTo>
                    <a:pt x="67" y="127"/>
                    <a:pt x="67" y="126"/>
                    <a:pt x="67" y="124"/>
                  </a:cubicBezTo>
                  <a:cubicBezTo>
                    <a:pt x="67" y="121"/>
                    <a:pt x="67" y="120"/>
                    <a:pt x="65" y="118"/>
                  </a:cubicBezTo>
                  <a:cubicBezTo>
                    <a:pt x="63" y="116"/>
                    <a:pt x="63" y="116"/>
                    <a:pt x="63" y="116"/>
                  </a:cubicBezTo>
                  <a:cubicBezTo>
                    <a:pt x="63" y="116"/>
                    <a:pt x="63" y="116"/>
                    <a:pt x="63" y="116"/>
                  </a:cubicBezTo>
                  <a:cubicBezTo>
                    <a:pt x="53" y="103"/>
                    <a:pt x="53" y="103"/>
                    <a:pt x="53" y="103"/>
                  </a:cubicBezTo>
                  <a:cubicBezTo>
                    <a:pt x="53" y="103"/>
                    <a:pt x="53" y="103"/>
                    <a:pt x="53" y="103"/>
                  </a:cubicBezTo>
                  <a:cubicBezTo>
                    <a:pt x="54" y="106"/>
                    <a:pt x="55" y="109"/>
                    <a:pt x="56" y="112"/>
                  </a:cubicBezTo>
                  <a:cubicBezTo>
                    <a:pt x="54" y="111"/>
                    <a:pt x="51" y="109"/>
                    <a:pt x="49" y="108"/>
                  </a:cubicBezTo>
                  <a:cubicBezTo>
                    <a:pt x="48" y="107"/>
                    <a:pt x="48" y="105"/>
                    <a:pt x="47" y="104"/>
                  </a:cubicBezTo>
                  <a:cubicBezTo>
                    <a:pt x="46" y="106"/>
                    <a:pt x="45" y="108"/>
                    <a:pt x="44" y="110"/>
                  </a:cubicBezTo>
                  <a:cubicBezTo>
                    <a:pt x="43" y="109"/>
                    <a:pt x="39" y="107"/>
                    <a:pt x="39" y="105"/>
                  </a:cubicBezTo>
                  <a:cubicBezTo>
                    <a:pt x="40" y="103"/>
                    <a:pt x="41" y="101"/>
                    <a:pt x="40" y="98"/>
                  </a:cubicBezTo>
                  <a:cubicBezTo>
                    <a:pt x="33" y="102"/>
                    <a:pt x="33" y="102"/>
                    <a:pt x="33" y="102"/>
                  </a:cubicBezTo>
                  <a:cubicBezTo>
                    <a:pt x="39" y="95"/>
                    <a:pt x="39" y="95"/>
                    <a:pt x="39" y="95"/>
                  </a:cubicBezTo>
                  <a:cubicBezTo>
                    <a:pt x="39" y="95"/>
                    <a:pt x="39" y="95"/>
                    <a:pt x="39" y="95"/>
                  </a:cubicBezTo>
                  <a:cubicBezTo>
                    <a:pt x="36" y="92"/>
                    <a:pt x="34" y="91"/>
                    <a:pt x="34" y="87"/>
                  </a:cubicBezTo>
                  <a:cubicBezTo>
                    <a:pt x="34" y="84"/>
                    <a:pt x="34" y="82"/>
                    <a:pt x="34" y="79"/>
                  </a:cubicBezTo>
                  <a:cubicBezTo>
                    <a:pt x="33" y="73"/>
                    <a:pt x="28" y="68"/>
                    <a:pt x="27" y="62"/>
                  </a:cubicBezTo>
                  <a:cubicBezTo>
                    <a:pt x="26" y="58"/>
                    <a:pt x="32" y="53"/>
                    <a:pt x="33" y="50"/>
                  </a:cubicBezTo>
                  <a:cubicBezTo>
                    <a:pt x="35" y="45"/>
                    <a:pt x="32" y="37"/>
                    <a:pt x="32" y="32"/>
                  </a:cubicBezTo>
                  <a:cubicBezTo>
                    <a:pt x="31" y="29"/>
                    <a:pt x="30" y="25"/>
                    <a:pt x="31" y="22"/>
                  </a:cubicBezTo>
                  <a:cubicBezTo>
                    <a:pt x="31" y="19"/>
                    <a:pt x="33" y="20"/>
                    <a:pt x="31" y="16"/>
                  </a:cubicBezTo>
                  <a:cubicBezTo>
                    <a:pt x="30" y="12"/>
                    <a:pt x="28" y="9"/>
                    <a:pt x="26" y="5"/>
                  </a:cubicBezTo>
                  <a:cubicBezTo>
                    <a:pt x="26" y="4"/>
                    <a:pt x="25" y="4"/>
                    <a:pt x="25" y="3"/>
                  </a:cubicBezTo>
                  <a:cubicBezTo>
                    <a:pt x="25" y="5"/>
                    <a:pt x="25" y="5"/>
                    <a:pt x="25" y="5"/>
                  </a:cubicBezTo>
                  <a:cubicBezTo>
                    <a:pt x="24" y="4"/>
                    <a:pt x="24" y="4"/>
                    <a:pt x="24" y="4"/>
                  </a:cubicBezTo>
                  <a:cubicBezTo>
                    <a:pt x="23" y="4"/>
                    <a:pt x="23" y="4"/>
                    <a:pt x="23" y="4"/>
                  </a:cubicBezTo>
                  <a:cubicBezTo>
                    <a:pt x="23" y="4"/>
                    <a:pt x="23" y="4"/>
                    <a:pt x="23" y="4"/>
                  </a:cubicBezTo>
                  <a:cubicBezTo>
                    <a:pt x="22" y="4"/>
                    <a:pt x="22" y="4"/>
                    <a:pt x="21" y="4"/>
                  </a:cubicBezTo>
                  <a:cubicBezTo>
                    <a:pt x="21" y="3"/>
                    <a:pt x="20" y="3"/>
                    <a:pt x="19" y="3"/>
                  </a:cubicBezTo>
                  <a:cubicBezTo>
                    <a:pt x="19" y="3"/>
                    <a:pt x="19" y="3"/>
                    <a:pt x="19" y="3"/>
                  </a:cubicBezTo>
                  <a:cubicBezTo>
                    <a:pt x="18" y="2"/>
                    <a:pt x="17" y="2"/>
                    <a:pt x="16" y="1"/>
                  </a:cubicBezTo>
                  <a:cubicBezTo>
                    <a:pt x="14" y="1"/>
                    <a:pt x="14" y="1"/>
                    <a:pt x="14" y="1"/>
                  </a:cubicBezTo>
                  <a:cubicBezTo>
                    <a:pt x="13"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 name="Rectangle 227">
              <a:extLst>
                <a:ext uri="{FF2B5EF4-FFF2-40B4-BE49-F238E27FC236}">
                  <a16:creationId xmlns:a16="http://schemas.microsoft.com/office/drawing/2014/main" id="{F3EB8277-78A2-4DEA-9DCB-A53A9293643E}"/>
                </a:ext>
              </a:extLst>
            </p:cNvPr>
            <p:cNvSpPr>
              <a:spLocks noChangeArrowheads="1"/>
            </p:cNvSpPr>
            <p:nvPr/>
          </p:nvSpPr>
          <p:spPr bwMode="auto">
            <a:xfrm>
              <a:off x="4497" y="210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Freeform 228">
              <a:extLst>
                <a:ext uri="{FF2B5EF4-FFF2-40B4-BE49-F238E27FC236}">
                  <a16:creationId xmlns:a16="http://schemas.microsoft.com/office/drawing/2014/main" id="{E942D0E0-008D-4D8D-BDF4-3B30707FC750}"/>
                </a:ext>
              </a:extLst>
            </p:cNvPr>
            <p:cNvSpPr>
              <a:spLocks/>
            </p:cNvSpPr>
            <p:nvPr/>
          </p:nvSpPr>
          <p:spPr bwMode="auto">
            <a:xfrm>
              <a:off x="4497" y="210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229">
              <a:extLst>
                <a:ext uri="{FF2B5EF4-FFF2-40B4-BE49-F238E27FC236}">
                  <a16:creationId xmlns:a16="http://schemas.microsoft.com/office/drawing/2014/main" id="{EE22FFD5-5497-4605-B7F4-D91CCC97B1B0}"/>
                </a:ext>
              </a:extLst>
            </p:cNvPr>
            <p:cNvSpPr>
              <a:spLocks/>
            </p:cNvSpPr>
            <p:nvPr/>
          </p:nvSpPr>
          <p:spPr bwMode="auto">
            <a:xfrm>
              <a:off x="4136" y="2495"/>
              <a:ext cx="7" cy="9"/>
            </a:xfrm>
            <a:custGeom>
              <a:avLst/>
              <a:gdLst>
                <a:gd name="T0" fmla="*/ 3 w 3"/>
                <a:gd name="T1" fmla="*/ 0 h 4"/>
                <a:gd name="T2" fmla="*/ 3 w 3"/>
                <a:gd name="T3" fmla="*/ 0 h 4"/>
                <a:gd name="T4" fmla="*/ 1 w 3"/>
                <a:gd name="T5" fmla="*/ 2 h 4"/>
                <a:gd name="T6" fmla="*/ 0 w 3"/>
                <a:gd name="T7" fmla="*/ 2 h 4"/>
                <a:gd name="T8" fmla="*/ 1 w 3"/>
                <a:gd name="T9" fmla="*/ 3 h 4"/>
                <a:gd name="T10" fmla="*/ 2 w 3"/>
                <a:gd name="T11" fmla="*/ 4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3" y="0"/>
                    <a:pt x="3" y="0"/>
                    <a:pt x="3" y="0"/>
                  </a:cubicBezTo>
                  <a:cubicBezTo>
                    <a:pt x="3" y="0"/>
                    <a:pt x="2" y="1"/>
                    <a:pt x="1" y="2"/>
                  </a:cubicBezTo>
                  <a:cubicBezTo>
                    <a:pt x="0" y="2"/>
                    <a:pt x="0" y="2"/>
                    <a:pt x="0" y="2"/>
                  </a:cubicBezTo>
                  <a:cubicBezTo>
                    <a:pt x="0" y="3"/>
                    <a:pt x="1" y="3"/>
                    <a:pt x="1" y="3"/>
                  </a:cubicBezTo>
                  <a:cubicBezTo>
                    <a:pt x="1" y="3"/>
                    <a:pt x="1" y="4"/>
                    <a:pt x="2" y="4"/>
                  </a:cubicBezTo>
                  <a:cubicBezTo>
                    <a:pt x="3" y="4"/>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 name="Freeform 230">
              <a:extLst>
                <a:ext uri="{FF2B5EF4-FFF2-40B4-BE49-F238E27FC236}">
                  <a16:creationId xmlns:a16="http://schemas.microsoft.com/office/drawing/2014/main" id="{2CA7811C-AF0F-435E-8977-A644FC6D42BE}"/>
                </a:ext>
              </a:extLst>
            </p:cNvPr>
            <p:cNvSpPr>
              <a:spLocks/>
            </p:cNvSpPr>
            <p:nvPr/>
          </p:nvSpPr>
          <p:spPr bwMode="auto">
            <a:xfrm>
              <a:off x="4145" y="2032"/>
              <a:ext cx="409" cy="614"/>
            </a:xfrm>
            <a:custGeom>
              <a:avLst/>
              <a:gdLst>
                <a:gd name="T0" fmla="*/ 134 w 173"/>
                <a:gd name="T1" fmla="*/ 11 h 260"/>
                <a:gd name="T2" fmla="*/ 141 w 173"/>
                <a:gd name="T3" fmla="*/ 16 h 260"/>
                <a:gd name="T4" fmla="*/ 142 w 173"/>
                <a:gd name="T5" fmla="*/ 25 h 260"/>
                <a:gd name="T6" fmla="*/ 133 w 173"/>
                <a:gd name="T7" fmla="*/ 41 h 260"/>
                <a:gd name="T8" fmla="*/ 126 w 173"/>
                <a:gd name="T9" fmla="*/ 42 h 260"/>
                <a:gd name="T10" fmla="*/ 122 w 173"/>
                <a:gd name="T11" fmla="*/ 48 h 260"/>
                <a:gd name="T12" fmla="*/ 117 w 173"/>
                <a:gd name="T13" fmla="*/ 55 h 260"/>
                <a:gd name="T14" fmla="*/ 112 w 173"/>
                <a:gd name="T15" fmla="*/ 69 h 260"/>
                <a:gd name="T16" fmla="*/ 110 w 173"/>
                <a:gd name="T17" fmla="*/ 75 h 260"/>
                <a:gd name="T18" fmla="*/ 104 w 173"/>
                <a:gd name="T19" fmla="*/ 84 h 260"/>
                <a:gd name="T20" fmla="*/ 97 w 173"/>
                <a:gd name="T21" fmla="*/ 101 h 260"/>
                <a:gd name="T22" fmla="*/ 85 w 173"/>
                <a:gd name="T23" fmla="*/ 116 h 260"/>
                <a:gd name="T24" fmla="*/ 76 w 173"/>
                <a:gd name="T25" fmla="*/ 136 h 260"/>
                <a:gd name="T26" fmla="*/ 71 w 173"/>
                <a:gd name="T27" fmla="*/ 147 h 260"/>
                <a:gd name="T28" fmla="*/ 61 w 173"/>
                <a:gd name="T29" fmla="*/ 156 h 260"/>
                <a:gd name="T30" fmla="*/ 45 w 173"/>
                <a:gd name="T31" fmla="*/ 144 h 260"/>
                <a:gd name="T32" fmla="*/ 37 w 173"/>
                <a:gd name="T33" fmla="*/ 144 h 260"/>
                <a:gd name="T34" fmla="*/ 27 w 173"/>
                <a:gd name="T35" fmla="*/ 150 h 260"/>
                <a:gd name="T36" fmla="*/ 19 w 173"/>
                <a:gd name="T37" fmla="*/ 158 h 260"/>
                <a:gd name="T38" fmla="*/ 6 w 173"/>
                <a:gd name="T39" fmla="*/ 174 h 260"/>
                <a:gd name="T40" fmla="*/ 2 w 173"/>
                <a:gd name="T41" fmla="*/ 189 h 260"/>
                <a:gd name="T42" fmla="*/ 3 w 173"/>
                <a:gd name="T43" fmla="*/ 196 h 260"/>
                <a:gd name="T44" fmla="*/ 18 w 173"/>
                <a:gd name="T45" fmla="*/ 210 h 260"/>
                <a:gd name="T46" fmla="*/ 23 w 173"/>
                <a:gd name="T47" fmla="*/ 213 h 260"/>
                <a:gd name="T48" fmla="*/ 28 w 173"/>
                <a:gd name="T49" fmla="*/ 238 h 260"/>
                <a:gd name="T50" fmla="*/ 29 w 173"/>
                <a:gd name="T51" fmla="*/ 249 h 260"/>
                <a:gd name="T52" fmla="*/ 59 w 173"/>
                <a:gd name="T53" fmla="*/ 252 h 260"/>
                <a:gd name="T54" fmla="*/ 68 w 173"/>
                <a:gd name="T55" fmla="*/ 248 h 260"/>
                <a:gd name="T56" fmla="*/ 79 w 173"/>
                <a:gd name="T57" fmla="*/ 249 h 260"/>
                <a:gd name="T58" fmla="*/ 104 w 173"/>
                <a:gd name="T59" fmla="*/ 249 h 260"/>
                <a:gd name="T60" fmla="*/ 108 w 173"/>
                <a:gd name="T61" fmla="*/ 251 h 260"/>
                <a:gd name="T62" fmla="*/ 117 w 173"/>
                <a:gd name="T63" fmla="*/ 252 h 260"/>
                <a:gd name="T64" fmla="*/ 143 w 173"/>
                <a:gd name="T65" fmla="*/ 253 h 260"/>
                <a:gd name="T66" fmla="*/ 145 w 173"/>
                <a:gd name="T67" fmla="*/ 254 h 260"/>
                <a:gd name="T68" fmla="*/ 152 w 173"/>
                <a:gd name="T69" fmla="*/ 256 h 260"/>
                <a:gd name="T70" fmla="*/ 159 w 173"/>
                <a:gd name="T71" fmla="*/ 257 h 260"/>
                <a:gd name="T72" fmla="*/ 170 w 173"/>
                <a:gd name="T73" fmla="*/ 260 h 260"/>
                <a:gd name="T74" fmla="*/ 173 w 173"/>
                <a:gd name="T75" fmla="*/ 251 h 260"/>
                <a:gd name="T76" fmla="*/ 170 w 173"/>
                <a:gd name="T77" fmla="*/ 237 h 260"/>
                <a:gd name="T78" fmla="*/ 145 w 173"/>
                <a:gd name="T79" fmla="*/ 209 h 260"/>
                <a:gd name="T80" fmla="*/ 139 w 173"/>
                <a:gd name="T81" fmla="*/ 194 h 260"/>
                <a:gd name="T82" fmla="*/ 136 w 173"/>
                <a:gd name="T83" fmla="*/ 176 h 260"/>
                <a:gd name="T84" fmla="*/ 136 w 173"/>
                <a:gd name="T85" fmla="*/ 168 h 260"/>
                <a:gd name="T86" fmla="*/ 135 w 173"/>
                <a:gd name="T87" fmla="*/ 159 h 260"/>
                <a:gd name="T88" fmla="*/ 147 w 173"/>
                <a:gd name="T89" fmla="*/ 141 h 260"/>
                <a:gd name="T90" fmla="*/ 156 w 173"/>
                <a:gd name="T91" fmla="*/ 127 h 260"/>
                <a:gd name="T92" fmla="*/ 158 w 173"/>
                <a:gd name="T93" fmla="*/ 124 h 260"/>
                <a:gd name="T94" fmla="*/ 153 w 173"/>
                <a:gd name="T95" fmla="*/ 113 h 260"/>
                <a:gd name="T96" fmla="*/ 126 w 173"/>
                <a:gd name="T97" fmla="*/ 84 h 260"/>
                <a:gd name="T98" fmla="*/ 131 w 173"/>
                <a:gd name="T99" fmla="*/ 67 h 260"/>
                <a:gd name="T100" fmla="*/ 140 w 173"/>
                <a:gd name="T101" fmla="*/ 67 h 260"/>
                <a:gd name="T102" fmla="*/ 149 w 173"/>
                <a:gd name="T103" fmla="*/ 61 h 260"/>
                <a:gd name="T104" fmla="*/ 153 w 173"/>
                <a:gd name="T105" fmla="*/ 63 h 260"/>
                <a:gd name="T106" fmla="*/ 148 w 173"/>
                <a:gd name="T107" fmla="*/ 32 h 260"/>
                <a:gd name="T108" fmla="*/ 147 w 173"/>
                <a:gd name="T109" fmla="*/ 27 h 260"/>
                <a:gd name="T110" fmla="*/ 141 w 173"/>
                <a:gd name="T111" fmla="*/ 9 h 260"/>
                <a:gd name="T112" fmla="*/ 135 w 173"/>
                <a:gd name="T113" fmla="*/ 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 h="260">
                  <a:moveTo>
                    <a:pt x="130" y="0"/>
                  </a:moveTo>
                  <a:cubicBezTo>
                    <a:pt x="131" y="8"/>
                    <a:pt x="131" y="8"/>
                    <a:pt x="131" y="8"/>
                  </a:cubicBezTo>
                  <a:cubicBezTo>
                    <a:pt x="131" y="9"/>
                    <a:pt x="132" y="9"/>
                    <a:pt x="132" y="9"/>
                  </a:cubicBezTo>
                  <a:cubicBezTo>
                    <a:pt x="132" y="10"/>
                    <a:pt x="132" y="10"/>
                    <a:pt x="132" y="10"/>
                  </a:cubicBezTo>
                  <a:cubicBezTo>
                    <a:pt x="132" y="10"/>
                    <a:pt x="133" y="10"/>
                    <a:pt x="134" y="11"/>
                  </a:cubicBezTo>
                  <a:cubicBezTo>
                    <a:pt x="135" y="11"/>
                    <a:pt x="135" y="11"/>
                    <a:pt x="135" y="11"/>
                  </a:cubicBezTo>
                  <a:cubicBezTo>
                    <a:pt x="136" y="11"/>
                    <a:pt x="137" y="12"/>
                    <a:pt x="137" y="12"/>
                  </a:cubicBezTo>
                  <a:cubicBezTo>
                    <a:pt x="137" y="12"/>
                    <a:pt x="137" y="12"/>
                    <a:pt x="137" y="12"/>
                  </a:cubicBezTo>
                  <a:cubicBezTo>
                    <a:pt x="139" y="13"/>
                    <a:pt x="140" y="15"/>
                    <a:pt x="141" y="16"/>
                  </a:cubicBezTo>
                  <a:cubicBezTo>
                    <a:pt x="141" y="16"/>
                    <a:pt x="141" y="16"/>
                    <a:pt x="141" y="16"/>
                  </a:cubicBezTo>
                  <a:cubicBezTo>
                    <a:pt x="142" y="17"/>
                    <a:pt x="142" y="17"/>
                    <a:pt x="142" y="17"/>
                  </a:cubicBezTo>
                  <a:cubicBezTo>
                    <a:pt x="142" y="17"/>
                    <a:pt x="142" y="17"/>
                    <a:pt x="142" y="17"/>
                  </a:cubicBezTo>
                  <a:cubicBezTo>
                    <a:pt x="142" y="19"/>
                    <a:pt x="142" y="21"/>
                    <a:pt x="142" y="22"/>
                  </a:cubicBezTo>
                  <a:cubicBezTo>
                    <a:pt x="142" y="23"/>
                    <a:pt x="142" y="23"/>
                    <a:pt x="142" y="23"/>
                  </a:cubicBezTo>
                  <a:cubicBezTo>
                    <a:pt x="142" y="25"/>
                    <a:pt x="142" y="25"/>
                    <a:pt x="142" y="25"/>
                  </a:cubicBezTo>
                  <a:cubicBezTo>
                    <a:pt x="142" y="27"/>
                    <a:pt x="142" y="28"/>
                    <a:pt x="142" y="30"/>
                  </a:cubicBezTo>
                  <a:cubicBezTo>
                    <a:pt x="143" y="32"/>
                    <a:pt x="142" y="34"/>
                    <a:pt x="140" y="36"/>
                  </a:cubicBezTo>
                  <a:cubicBezTo>
                    <a:pt x="139" y="37"/>
                    <a:pt x="138" y="37"/>
                    <a:pt x="137" y="38"/>
                  </a:cubicBezTo>
                  <a:cubicBezTo>
                    <a:pt x="137" y="38"/>
                    <a:pt x="137" y="38"/>
                    <a:pt x="137" y="38"/>
                  </a:cubicBezTo>
                  <a:cubicBezTo>
                    <a:pt x="135" y="39"/>
                    <a:pt x="134" y="40"/>
                    <a:pt x="133" y="41"/>
                  </a:cubicBezTo>
                  <a:cubicBezTo>
                    <a:pt x="132" y="41"/>
                    <a:pt x="132" y="41"/>
                    <a:pt x="132" y="41"/>
                  </a:cubicBezTo>
                  <a:cubicBezTo>
                    <a:pt x="131" y="42"/>
                    <a:pt x="129" y="42"/>
                    <a:pt x="128" y="42"/>
                  </a:cubicBezTo>
                  <a:cubicBezTo>
                    <a:pt x="128" y="42"/>
                    <a:pt x="127" y="42"/>
                    <a:pt x="127" y="42"/>
                  </a:cubicBezTo>
                  <a:cubicBezTo>
                    <a:pt x="126" y="42"/>
                    <a:pt x="126" y="42"/>
                    <a:pt x="126" y="42"/>
                  </a:cubicBezTo>
                  <a:cubicBezTo>
                    <a:pt x="126" y="42"/>
                    <a:pt x="126" y="42"/>
                    <a:pt x="126" y="42"/>
                  </a:cubicBezTo>
                  <a:cubicBezTo>
                    <a:pt x="126" y="42"/>
                    <a:pt x="126" y="42"/>
                    <a:pt x="126" y="42"/>
                  </a:cubicBezTo>
                  <a:cubicBezTo>
                    <a:pt x="125" y="43"/>
                    <a:pt x="125" y="43"/>
                    <a:pt x="125" y="43"/>
                  </a:cubicBezTo>
                  <a:cubicBezTo>
                    <a:pt x="125" y="43"/>
                    <a:pt x="124" y="44"/>
                    <a:pt x="124" y="44"/>
                  </a:cubicBezTo>
                  <a:cubicBezTo>
                    <a:pt x="123" y="45"/>
                    <a:pt x="123" y="46"/>
                    <a:pt x="123" y="47"/>
                  </a:cubicBezTo>
                  <a:cubicBezTo>
                    <a:pt x="122" y="48"/>
                    <a:pt x="122" y="48"/>
                    <a:pt x="122" y="48"/>
                  </a:cubicBezTo>
                  <a:cubicBezTo>
                    <a:pt x="122" y="48"/>
                    <a:pt x="122" y="48"/>
                    <a:pt x="122" y="48"/>
                  </a:cubicBezTo>
                  <a:cubicBezTo>
                    <a:pt x="122" y="48"/>
                    <a:pt x="122" y="48"/>
                    <a:pt x="122" y="48"/>
                  </a:cubicBezTo>
                  <a:cubicBezTo>
                    <a:pt x="121" y="50"/>
                    <a:pt x="121" y="50"/>
                    <a:pt x="121" y="50"/>
                  </a:cubicBezTo>
                  <a:cubicBezTo>
                    <a:pt x="120" y="51"/>
                    <a:pt x="120" y="51"/>
                    <a:pt x="119" y="52"/>
                  </a:cubicBezTo>
                  <a:cubicBezTo>
                    <a:pt x="118" y="53"/>
                    <a:pt x="117" y="54"/>
                    <a:pt x="117" y="55"/>
                  </a:cubicBezTo>
                  <a:cubicBezTo>
                    <a:pt x="117" y="57"/>
                    <a:pt x="117" y="57"/>
                    <a:pt x="117" y="57"/>
                  </a:cubicBezTo>
                  <a:cubicBezTo>
                    <a:pt x="116" y="58"/>
                    <a:pt x="116" y="59"/>
                    <a:pt x="116" y="60"/>
                  </a:cubicBezTo>
                  <a:cubicBezTo>
                    <a:pt x="115" y="61"/>
                    <a:pt x="115" y="61"/>
                    <a:pt x="115" y="61"/>
                  </a:cubicBezTo>
                  <a:cubicBezTo>
                    <a:pt x="115" y="63"/>
                    <a:pt x="114" y="64"/>
                    <a:pt x="114" y="66"/>
                  </a:cubicBezTo>
                  <a:cubicBezTo>
                    <a:pt x="113" y="68"/>
                    <a:pt x="112" y="69"/>
                    <a:pt x="112" y="69"/>
                  </a:cubicBezTo>
                  <a:cubicBezTo>
                    <a:pt x="111" y="70"/>
                    <a:pt x="111" y="70"/>
                    <a:pt x="111" y="70"/>
                  </a:cubicBezTo>
                  <a:cubicBezTo>
                    <a:pt x="110" y="71"/>
                    <a:pt x="110" y="71"/>
                    <a:pt x="110" y="72"/>
                  </a:cubicBezTo>
                  <a:cubicBezTo>
                    <a:pt x="110" y="73"/>
                    <a:pt x="110" y="73"/>
                    <a:pt x="110" y="73"/>
                  </a:cubicBezTo>
                  <a:cubicBezTo>
                    <a:pt x="110" y="73"/>
                    <a:pt x="110" y="74"/>
                    <a:pt x="110" y="74"/>
                  </a:cubicBezTo>
                  <a:cubicBezTo>
                    <a:pt x="110" y="75"/>
                    <a:pt x="110" y="75"/>
                    <a:pt x="110" y="75"/>
                  </a:cubicBezTo>
                  <a:cubicBezTo>
                    <a:pt x="110" y="78"/>
                    <a:pt x="110" y="81"/>
                    <a:pt x="107" y="83"/>
                  </a:cubicBezTo>
                  <a:cubicBezTo>
                    <a:pt x="106" y="83"/>
                    <a:pt x="106" y="83"/>
                    <a:pt x="106" y="83"/>
                  </a:cubicBezTo>
                  <a:cubicBezTo>
                    <a:pt x="105" y="84"/>
                    <a:pt x="105" y="84"/>
                    <a:pt x="105" y="84"/>
                  </a:cubicBezTo>
                  <a:cubicBezTo>
                    <a:pt x="105" y="84"/>
                    <a:pt x="105" y="84"/>
                    <a:pt x="105" y="84"/>
                  </a:cubicBezTo>
                  <a:cubicBezTo>
                    <a:pt x="104" y="84"/>
                    <a:pt x="104" y="84"/>
                    <a:pt x="104" y="84"/>
                  </a:cubicBezTo>
                  <a:cubicBezTo>
                    <a:pt x="104" y="84"/>
                    <a:pt x="103" y="84"/>
                    <a:pt x="103" y="85"/>
                  </a:cubicBezTo>
                  <a:cubicBezTo>
                    <a:pt x="102" y="85"/>
                    <a:pt x="102" y="86"/>
                    <a:pt x="102" y="87"/>
                  </a:cubicBezTo>
                  <a:cubicBezTo>
                    <a:pt x="101" y="89"/>
                    <a:pt x="101" y="90"/>
                    <a:pt x="101" y="92"/>
                  </a:cubicBezTo>
                  <a:cubicBezTo>
                    <a:pt x="100" y="94"/>
                    <a:pt x="100" y="96"/>
                    <a:pt x="99" y="99"/>
                  </a:cubicBezTo>
                  <a:cubicBezTo>
                    <a:pt x="98" y="100"/>
                    <a:pt x="98" y="100"/>
                    <a:pt x="97" y="101"/>
                  </a:cubicBezTo>
                  <a:cubicBezTo>
                    <a:pt x="96" y="103"/>
                    <a:pt x="93" y="104"/>
                    <a:pt x="91" y="106"/>
                  </a:cubicBezTo>
                  <a:cubicBezTo>
                    <a:pt x="89" y="107"/>
                    <a:pt x="87" y="108"/>
                    <a:pt x="86" y="109"/>
                  </a:cubicBezTo>
                  <a:cubicBezTo>
                    <a:pt x="86" y="109"/>
                    <a:pt x="86" y="109"/>
                    <a:pt x="86" y="109"/>
                  </a:cubicBezTo>
                  <a:cubicBezTo>
                    <a:pt x="86" y="109"/>
                    <a:pt x="86" y="110"/>
                    <a:pt x="86" y="111"/>
                  </a:cubicBezTo>
                  <a:cubicBezTo>
                    <a:pt x="86" y="112"/>
                    <a:pt x="86" y="114"/>
                    <a:pt x="85" y="116"/>
                  </a:cubicBezTo>
                  <a:cubicBezTo>
                    <a:pt x="79" y="128"/>
                    <a:pt x="79" y="128"/>
                    <a:pt x="79" y="128"/>
                  </a:cubicBezTo>
                  <a:cubicBezTo>
                    <a:pt x="78" y="130"/>
                    <a:pt x="78" y="131"/>
                    <a:pt x="77" y="133"/>
                  </a:cubicBezTo>
                  <a:cubicBezTo>
                    <a:pt x="76" y="135"/>
                    <a:pt x="76" y="135"/>
                    <a:pt x="76" y="135"/>
                  </a:cubicBezTo>
                  <a:cubicBezTo>
                    <a:pt x="76" y="135"/>
                    <a:pt x="76" y="135"/>
                    <a:pt x="76" y="135"/>
                  </a:cubicBezTo>
                  <a:cubicBezTo>
                    <a:pt x="76" y="136"/>
                    <a:pt x="76" y="136"/>
                    <a:pt x="76" y="136"/>
                  </a:cubicBezTo>
                  <a:cubicBezTo>
                    <a:pt x="77" y="136"/>
                    <a:pt x="77" y="137"/>
                    <a:pt x="78" y="138"/>
                  </a:cubicBezTo>
                  <a:cubicBezTo>
                    <a:pt x="79" y="143"/>
                    <a:pt x="79" y="143"/>
                    <a:pt x="79" y="143"/>
                  </a:cubicBezTo>
                  <a:cubicBezTo>
                    <a:pt x="74" y="142"/>
                    <a:pt x="74" y="142"/>
                    <a:pt x="74" y="142"/>
                  </a:cubicBezTo>
                  <a:cubicBezTo>
                    <a:pt x="73" y="142"/>
                    <a:pt x="72" y="146"/>
                    <a:pt x="71" y="147"/>
                  </a:cubicBezTo>
                  <a:cubicBezTo>
                    <a:pt x="71" y="147"/>
                    <a:pt x="71" y="147"/>
                    <a:pt x="71" y="147"/>
                  </a:cubicBezTo>
                  <a:cubicBezTo>
                    <a:pt x="69" y="151"/>
                    <a:pt x="67" y="154"/>
                    <a:pt x="64" y="155"/>
                  </a:cubicBezTo>
                  <a:cubicBezTo>
                    <a:pt x="63" y="156"/>
                    <a:pt x="63" y="156"/>
                    <a:pt x="63" y="156"/>
                  </a:cubicBezTo>
                  <a:cubicBezTo>
                    <a:pt x="63" y="156"/>
                    <a:pt x="63" y="156"/>
                    <a:pt x="63" y="156"/>
                  </a:cubicBezTo>
                  <a:cubicBezTo>
                    <a:pt x="62" y="156"/>
                    <a:pt x="62" y="156"/>
                    <a:pt x="62" y="156"/>
                  </a:cubicBezTo>
                  <a:cubicBezTo>
                    <a:pt x="61" y="156"/>
                    <a:pt x="61" y="156"/>
                    <a:pt x="61" y="156"/>
                  </a:cubicBezTo>
                  <a:cubicBezTo>
                    <a:pt x="61" y="156"/>
                    <a:pt x="60" y="156"/>
                    <a:pt x="60" y="156"/>
                  </a:cubicBezTo>
                  <a:cubicBezTo>
                    <a:pt x="58" y="156"/>
                    <a:pt x="56" y="155"/>
                    <a:pt x="56" y="155"/>
                  </a:cubicBezTo>
                  <a:cubicBezTo>
                    <a:pt x="50" y="146"/>
                    <a:pt x="50" y="146"/>
                    <a:pt x="50" y="146"/>
                  </a:cubicBezTo>
                  <a:cubicBezTo>
                    <a:pt x="49" y="145"/>
                    <a:pt x="48" y="143"/>
                    <a:pt x="46" y="142"/>
                  </a:cubicBezTo>
                  <a:cubicBezTo>
                    <a:pt x="46" y="143"/>
                    <a:pt x="45" y="143"/>
                    <a:pt x="45" y="144"/>
                  </a:cubicBezTo>
                  <a:cubicBezTo>
                    <a:pt x="44" y="144"/>
                    <a:pt x="44" y="144"/>
                    <a:pt x="44" y="145"/>
                  </a:cubicBezTo>
                  <a:cubicBezTo>
                    <a:pt x="43" y="146"/>
                    <a:pt x="42" y="146"/>
                    <a:pt x="42" y="146"/>
                  </a:cubicBezTo>
                  <a:cubicBezTo>
                    <a:pt x="41" y="146"/>
                    <a:pt x="41" y="146"/>
                    <a:pt x="41" y="146"/>
                  </a:cubicBezTo>
                  <a:cubicBezTo>
                    <a:pt x="40" y="146"/>
                    <a:pt x="40" y="146"/>
                    <a:pt x="40" y="146"/>
                  </a:cubicBezTo>
                  <a:cubicBezTo>
                    <a:pt x="39" y="145"/>
                    <a:pt x="38" y="145"/>
                    <a:pt x="37" y="144"/>
                  </a:cubicBezTo>
                  <a:cubicBezTo>
                    <a:pt x="36" y="144"/>
                    <a:pt x="35" y="143"/>
                    <a:pt x="35" y="143"/>
                  </a:cubicBezTo>
                  <a:cubicBezTo>
                    <a:pt x="35" y="143"/>
                    <a:pt x="34" y="143"/>
                    <a:pt x="34" y="143"/>
                  </a:cubicBezTo>
                  <a:cubicBezTo>
                    <a:pt x="34" y="143"/>
                    <a:pt x="33" y="144"/>
                    <a:pt x="29" y="148"/>
                  </a:cubicBezTo>
                  <a:cubicBezTo>
                    <a:pt x="29" y="149"/>
                    <a:pt x="28" y="150"/>
                    <a:pt x="28" y="150"/>
                  </a:cubicBezTo>
                  <a:cubicBezTo>
                    <a:pt x="27" y="150"/>
                    <a:pt x="27" y="150"/>
                    <a:pt x="27" y="150"/>
                  </a:cubicBezTo>
                  <a:cubicBezTo>
                    <a:pt x="27" y="151"/>
                    <a:pt x="27" y="151"/>
                    <a:pt x="27" y="151"/>
                  </a:cubicBezTo>
                  <a:cubicBezTo>
                    <a:pt x="27" y="151"/>
                    <a:pt x="27" y="151"/>
                    <a:pt x="27" y="151"/>
                  </a:cubicBezTo>
                  <a:cubicBezTo>
                    <a:pt x="26" y="153"/>
                    <a:pt x="25" y="155"/>
                    <a:pt x="23" y="155"/>
                  </a:cubicBezTo>
                  <a:cubicBezTo>
                    <a:pt x="23" y="155"/>
                    <a:pt x="23" y="155"/>
                    <a:pt x="23" y="155"/>
                  </a:cubicBezTo>
                  <a:cubicBezTo>
                    <a:pt x="21" y="156"/>
                    <a:pt x="20" y="157"/>
                    <a:pt x="19" y="158"/>
                  </a:cubicBezTo>
                  <a:cubicBezTo>
                    <a:pt x="12" y="166"/>
                    <a:pt x="12" y="166"/>
                    <a:pt x="12" y="166"/>
                  </a:cubicBezTo>
                  <a:cubicBezTo>
                    <a:pt x="10" y="167"/>
                    <a:pt x="9" y="168"/>
                    <a:pt x="8" y="169"/>
                  </a:cubicBezTo>
                  <a:cubicBezTo>
                    <a:pt x="7" y="169"/>
                    <a:pt x="7" y="169"/>
                    <a:pt x="7" y="169"/>
                  </a:cubicBezTo>
                  <a:cubicBezTo>
                    <a:pt x="7" y="170"/>
                    <a:pt x="6" y="170"/>
                    <a:pt x="6" y="170"/>
                  </a:cubicBezTo>
                  <a:cubicBezTo>
                    <a:pt x="6" y="171"/>
                    <a:pt x="6" y="173"/>
                    <a:pt x="6" y="174"/>
                  </a:cubicBezTo>
                  <a:cubicBezTo>
                    <a:pt x="6" y="177"/>
                    <a:pt x="6" y="179"/>
                    <a:pt x="5" y="181"/>
                  </a:cubicBezTo>
                  <a:cubicBezTo>
                    <a:pt x="5" y="181"/>
                    <a:pt x="5" y="182"/>
                    <a:pt x="5" y="183"/>
                  </a:cubicBezTo>
                  <a:cubicBezTo>
                    <a:pt x="4" y="185"/>
                    <a:pt x="4" y="185"/>
                    <a:pt x="4" y="185"/>
                  </a:cubicBezTo>
                  <a:cubicBezTo>
                    <a:pt x="4" y="186"/>
                    <a:pt x="3" y="187"/>
                    <a:pt x="2" y="188"/>
                  </a:cubicBezTo>
                  <a:cubicBezTo>
                    <a:pt x="2" y="189"/>
                    <a:pt x="2" y="189"/>
                    <a:pt x="2" y="189"/>
                  </a:cubicBezTo>
                  <a:cubicBezTo>
                    <a:pt x="1" y="190"/>
                    <a:pt x="1" y="192"/>
                    <a:pt x="0" y="193"/>
                  </a:cubicBezTo>
                  <a:cubicBezTo>
                    <a:pt x="0" y="194"/>
                    <a:pt x="0" y="194"/>
                    <a:pt x="0" y="195"/>
                  </a:cubicBezTo>
                  <a:cubicBezTo>
                    <a:pt x="0" y="195"/>
                    <a:pt x="0" y="195"/>
                    <a:pt x="0" y="195"/>
                  </a:cubicBezTo>
                  <a:cubicBezTo>
                    <a:pt x="1" y="196"/>
                    <a:pt x="2" y="197"/>
                    <a:pt x="3" y="198"/>
                  </a:cubicBezTo>
                  <a:cubicBezTo>
                    <a:pt x="3" y="197"/>
                    <a:pt x="3" y="197"/>
                    <a:pt x="3" y="196"/>
                  </a:cubicBezTo>
                  <a:cubicBezTo>
                    <a:pt x="4" y="199"/>
                    <a:pt x="4" y="202"/>
                    <a:pt x="5" y="205"/>
                  </a:cubicBezTo>
                  <a:cubicBezTo>
                    <a:pt x="7" y="209"/>
                    <a:pt x="7" y="210"/>
                    <a:pt x="12" y="211"/>
                  </a:cubicBezTo>
                  <a:cubicBezTo>
                    <a:pt x="14" y="212"/>
                    <a:pt x="15" y="213"/>
                    <a:pt x="16" y="213"/>
                  </a:cubicBezTo>
                  <a:cubicBezTo>
                    <a:pt x="17" y="213"/>
                    <a:pt x="18" y="212"/>
                    <a:pt x="19" y="212"/>
                  </a:cubicBezTo>
                  <a:cubicBezTo>
                    <a:pt x="20" y="211"/>
                    <a:pt x="18" y="210"/>
                    <a:pt x="18" y="210"/>
                  </a:cubicBezTo>
                  <a:cubicBezTo>
                    <a:pt x="18" y="209"/>
                    <a:pt x="18" y="209"/>
                    <a:pt x="19" y="209"/>
                  </a:cubicBezTo>
                  <a:cubicBezTo>
                    <a:pt x="19" y="209"/>
                    <a:pt x="19" y="210"/>
                    <a:pt x="19" y="210"/>
                  </a:cubicBezTo>
                  <a:cubicBezTo>
                    <a:pt x="21" y="209"/>
                    <a:pt x="23" y="209"/>
                    <a:pt x="25" y="208"/>
                  </a:cubicBezTo>
                  <a:cubicBezTo>
                    <a:pt x="24" y="209"/>
                    <a:pt x="23" y="211"/>
                    <a:pt x="22" y="212"/>
                  </a:cubicBezTo>
                  <a:cubicBezTo>
                    <a:pt x="22" y="212"/>
                    <a:pt x="23" y="213"/>
                    <a:pt x="23" y="213"/>
                  </a:cubicBezTo>
                  <a:cubicBezTo>
                    <a:pt x="24" y="213"/>
                    <a:pt x="24" y="212"/>
                    <a:pt x="25" y="212"/>
                  </a:cubicBezTo>
                  <a:cubicBezTo>
                    <a:pt x="23" y="215"/>
                    <a:pt x="23" y="215"/>
                    <a:pt x="20" y="216"/>
                  </a:cubicBezTo>
                  <a:cubicBezTo>
                    <a:pt x="20" y="217"/>
                    <a:pt x="21" y="217"/>
                    <a:pt x="21" y="218"/>
                  </a:cubicBezTo>
                  <a:cubicBezTo>
                    <a:pt x="22" y="222"/>
                    <a:pt x="25" y="225"/>
                    <a:pt x="28" y="228"/>
                  </a:cubicBezTo>
                  <a:cubicBezTo>
                    <a:pt x="30" y="230"/>
                    <a:pt x="28" y="236"/>
                    <a:pt x="28" y="238"/>
                  </a:cubicBezTo>
                  <a:cubicBezTo>
                    <a:pt x="27" y="241"/>
                    <a:pt x="27" y="244"/>
                    <a:pt x="26" y="247"/>
                  </a:cubicBezTo>
                  <a:cubicBezTo>
                    <a:pt x="26" y="248"/>
                    <a:pt x="26" y="248"/>
                    <a:pt x="26" y="248"/>
                  </a:cubicBezTo>
                  <a:cubicBezTo>
                    <a:pt x="27" y="248"/>
                    <a:pt x="27" y="248"/>
                    <a:pt x="27" y="248"/>
                  </a:cubicBezTo>
                  <a:cubicBezTo>
                    <a:pt x="28" y="248"/>
                    <a:pt x="28" y="248"/>
                    <a:pt x="29" y="248"/>
                  </a:cubicBezTo>
                  <a:cubicBezTo>
                    <a:pt x="29" y="249"/>
                    <a:pt x="29" y="249"/>
                    <a:pt x="29" y="249"/>
                  </a:cubicBezTo>
                  <a:cubicBezTo>
                    <a:pt x="30" y="250"/>
                    <a:pt x="32" y="252"/>
                    <a:pt x="40" y="252"/>
                  </a:cubicBezTo>
                  <a:cubicBezTo>
                    <a:pt x="52" y="252"/>
                    <a:pt x="52" y="252"/>
                    <a:pt x="52" y="252"/>
                  </a:cubicBezTo>
                  <a:cubicBezTo>
                    <a:pt x="53" y="252"/>
                    <a:pt x="54" y="252"/>
                    <a:pt x="55" y="252"/>
                  </a:cubicBezTo>
                  <a:cubicBezTo>
                    <a:pt x="55" y="252"/>
                    <a:pt x="55" y="252"/>
                    <a:pt x="55" y="252"/>
                  </a:cubicBezTo>
                  <a:cubicBezTo>
                    <a:pt x="56" y="252"/>
                    <a:pt x="58" y="252"/>
                    <a:pt x="59" y="252"/>
                  </a:cubicBezTo>
                  <a:cubicBezTo>
                    <a:pt x="59" y="252"/>
                    <a:pt x="60" y="252"/>
                    <a:pt x="60" y="252"/>
                  </a:cubicBezTo>
                  <a:cubicBezTo>
                    <a:pt x="60" y="251"/>
                    <a:pt x="61" y="250"/>
                    <a:pt x="62" y="249"/>
                  </a:cubicBezTo>
                  <a:cubicBezTo>
                    <a:pt x="63" y="248"/>
                    <a:pt x="64" y="248"/>
                    <a:pt x="66" y="248"/>
                  </a:cubicBezTo>
                  <a:cubicBezTo>
                    <a:pt x="66" y="248"/>
                    <a:pt x="66" y="248"/>
                    <a:pt x="67" y="248"/>
                  </a:cubicBezTo>
                  <a:cubicBezTo>
                    <a:pt x="67" y="248"/>
                    <a:pt x="68" y="248"/>
                    <a:pt x="68" y="248"/>
                  </a:cubicBezTo>
                  <a:cubicBezTo>
                    <a:pt x="68" y="248"/>
                    <a:pt x="68" y="248"/>
                    <a:pt x="69" y="248"/>
                  </a:cubicBezTo>
                  <a:cubicBezTo>
                    <a:pt x="70" y="248"/>
                    <a:pt x="71" y="248"/>
                    <a:pt x="72" y="248"/>
                  </a:cubicBezTo>
                  <a:cubicBezTo>
                    <a:pt x="74" y="249"/>
                    <a:pt x="75" y="249"/>
                    <a:pt x="76" y="249"/>
                  </a:cubicBezTo>
                  <a:cubicBezTo>
                    <a:pt x="77" y="249"/>
                    <a:pt x="77" y="249"/>
                    <a:pt x="77" y="249"/>
                  </a:cubicBezTo>
                  <a:cubicBezTo>
                    <a:pt x="79" y="249"/>
                    <a:pt x="79" y="249"/>
                    <a:pt x="79" y="249"/>
                  </a:cubicBezTo>
                  <a:cubicBezTo>
                    <a:pt x="82" y="249"/>
                    <a:pt x="86" y="249"/>
                    <a:pt x="90" y="249"/>
                  </a:cubicBezTo>
                  <a:cubicBezTo>
                    <a:pt x="92" y="249"/>
                    <a:pt x="92" y="249"/>
                    <a:pt x="92" y="249"/>
                  </a:cubicBezTo>
                  <a:cubicBezTo>
                    <a:pt x="96" y="249"/>
                    <a:pt x="99" y="249"/>
                    <a:pt x="103" y="249"/>
                  </a:cubicBezTo>
                  <a:cubicBezTo>
                    <a:pt x="103" y="249"/>
                    <a:pt x="103" y="249"/>
                    <a:pt x="103" y="249"/>
                  </a:cubicBezTo>
                  <a:cubicBezTo>
                    <a:pt x="103" y="249"/>
                    <a:pt x="103" y="249"/>
                    <a:pt x="104" y="249"/>
                  </a:cubicBezTo>
                  <a:cubicBezTo>
                    <a:pt x="104" y="249"/>
                    <a:pt x="104" y="249"/>
                    <a:pt x="104" y="249"/>
                  </a:cubicBezTo>
                  <a:cubicBezTo>
                    <a:pt x="105" y="249"/>
                    <a:pt x="105" y="249"/>
                    <a:pt x="106" y="250"/>
                  </a:cubicBezTo>
                  <a:cubicBezTo>
                    <a:pt x="106" y="250"/>
                    <a:pt x="106" y="250"/>
                    <a:pt x="106" y="250"/>
                  </a:cubicBezTo>
                  <a:cubicBezTo>
                    <a:pt x="107" y="250"/>
                    <a:pt x="107" y="250"/>
                    <a:pt x="108" y="250"/>
                  </a:cubicBezTo>
                  <a:cubicBezTo>
                    <a:pt x="108" y="251"/>
                    <a:pt x="108" y="251"/>
                    <a:pt x="108" y="251"/>
                  </a:cubicBezTo>
                  <a:cubicBezTo>
                    <a:pt x="108" y="251"/>
                    <a:pt x="109" y="251"/>
                    <a:pt x="109" y="251"/>
                  </a:cubicBezTo>
                  <a:cubicBezTo>
                    <a:pt x="115" y="249"/>
                    <a:pt x="115" y="249"/>
                    <a:pt x="115" y="249"/>
                  </a:cubicBezTo>
                  <a:cubicBezTo>
                    <a:pt x="113" y="252"/>
                    <a:pt x="113" y="252"/>
                    <a:pt x="113" y="252"/>
                  </a:cubicBezTo>
                  <a:cubicBezTo>
                    <a:pt x="114" y="252"/>
                    <a:pt x="114" y="252"/>
                    <a:pt x="115" y="252"/>
                  </a:cubicBezTo>
                  <a:cubicBezTo>
                    <a:pt x="116" y="252"/>
                    <a:pt x="116" y="252"/>
                    <a:pt x="117" y="252"/>
                  </a:cubicBezTo>
                  <a:cubicBezTo>
                    <a:pt x="122" y="252"/>
                    <a:pt x="127" y="252"/>
                    <a:pt x="132" y="251"/>
                  </a:cubicBezTo>
                  <a:cubicBezTo>
                    <a:pt x="138" y="251"/>
                    <a:pt x="138" y="251"/>
                    <a:pt x="138" y="251"/>
                  </a:cubicBezTo>
                  <a:cubicBezTo>
                    <a:pt x="139" y="251"/>
                    <a:pt x="139" y="251"/>
                    <a:pt x="139" y="251"/>
                  </a:cubicBezTo>
                  <a:cubicBezTo>
                    <a:pt x="139" y="251"/>
                    <a:pt x="140" y="251"/>
                    <a:pt x="141" y="252"/>
                  </a:cubicBezTo>
                  <a:cubicBezTo>
                    <a:pt x="141" y="252"/>
                    <a:pt x="142" y="253"/>
                    <a:pt x="143" y="253"/>
                  </a:cubicBezTo>
                  <a:cubicBezTo>
                    <a:pt x="143" y="254"/>
                    <a:pt x="143" y="254"/>
                    <a:pt x="143" y="254"/>
                  </a:cubicBezTo>
                  <a:cubicBezTo>
                    <a:pt x="144" y="254"/>
                    <a:pt x="144" y="254"/>
                    <a:pt x="144" y="254"/>
                  </a:cubicBezTo>
                  <a:cubicBezTo>
                    <a:pt x="144" y="254"/>
                    <a:pt x="144" y="254"/>
                    <a:pt x="144" y="254"/>
                  </a:cubicBezTo>
                  <a:cubicBezTo>
                    <a:pt x="144" y="254"/>
                    <a:pt x="144" y="254"/>
                    <a:pt x="145" y="254"/>
                  </a:cubicBezTo>
                  <a:cubicBezTo>
                    <a:pt x="145" y="254"/>
                    <a:pt x="145" y="254"/>
                    <a:pt x="145" y="254"/>
                  </a:cubicBezTo>
                  <a:cubicBezTo>
                    <a:pt x="146" y="254"/>
                    <a:pt x="146" y="254"/>
                    <a:pt x="147" y="254"/>
                  </a:cubicBezTo>
                  <a:cubicBezTo>
                    <a:pt x="151" y="255"/>
                    <a:pt x="151" y="255"/>
                    <a:pt x="151" y="255"/>
                  </a:cubicBezTo>
                  <a:cubicBezTo>
                    <a:pt x="150" y="256"/>
                    <a:pt x="150" y="256"/>
                    <a:pt x="150" y="256"/>
                  </a:cubicBezTo>
                  <a:cubicBezTo>
                    <a:pt x="150" y="256"/>
                    <a:pt x="150" y="256"/>
                    <a:pt x="150" y="256"/>
                  </a:cubicBezTo>
                  <a:cubicBezTo>
                    <a:pt x="151" y="256"/>
                    <a:pt x="151" y="256"/>
                    <a:pt x="152" y="256"/>
                  </a:cubicBezTo>
                  <a:cubicBezTo>
                    <a:pt x="152" y="256"/>
                    <a:pt x="152" y="256"/>
                    <a:pt x="152" y="256"/>
                  </a:cubicBezTo>
                  <a:cubicBezTo>
                    <a:pt x="153" y="256"/>
                    <a:pt x="153" y="256"/>
                    <a:pt x="153" y="256"/>
                  </a:cubicBezTo>
                  <a:cubicBezTo>
                    <a:pt x="154" y="256"/>
                    <a:pt x="155" y="256"/>
                    <a:pt x="155" y="256"/>
                  </a:cubicBezTo>
                  <a:cubicBezTo>
                    <a:pt x="156" y="256"/>
                    <a:pt x="157" y="257"/>
                    <a:pt x="157" y="257"/>
                  </a:cubicBezTo>
                  <a:cubicBezTo>
                    <a:pt x="158" y="257"/>
                    <a:pt x="158" y="257"/>
                    <a:pt x="159" y="257"/>
                  </a:cubicBezTo>
                  <a:cubicBezTo>
                    <a:pt x="159" y="257"/>
                    <a:pt x="159" y="257"/>
                    <a:pt x="159" y="257"/>
                  </a:cubicBezTo>
                  <a:cubicBezTo>
                    <a:pt x="159" y="257"/>
                    <a:pt x="160" y="257"/>
                    <a:pt x="160" y="257"/>
                  </a:cubicBezTo>
                  <a:cubicBezTo>
                    <a:pt x="161" y="257"/>
                    <a:pt x="162" y="257"/>
                    <a:pt x="163" y="257"/>
                  </a:cubicBezTo>
                  <a:cubicBezTo>
                    <a:pt x="164" y="257"/>
                    <a:pt x="166" y="257"/>
                    <a:pt x="167" y="258"/>
                  </a:cubicBezTo>
                  <a:cubicBezTo>
                    <a:pt x="168" y="259"/>
                    <a:pt x="169" y="259"/>
                    <a:pt x="170" y="260"/>
                  </a:cubicBezTo>
                  <a:cubicBezTo>
                    <a:pt x="171" y="260"/>
                    <a:pt x="171" y="260"/>
                    <a:pt x="171" y="260"/>
                  </a:cubicBezTo>
                  <a:cubicBezTo>
                    <a:pt x="171" y="260"/>
                    <a:pt x="171" y="259"/>
                    <a:pt x="171" y="259"/>
                  </a:cubicBezTo>
                  <a:cubicBezTo>
                    <a:pt x="171" y="255"/>
                    <a:pt x="171" y="254"/>
                    <a:pt x="173" y="252"/>
                  </a:cubicBezTo>
                  <a:cubicBezTo>
                    <a:pt x="173" y="252"/>
                    <a:pt x="173" y="252"/>
                    <a:pt x="173" y="252"/>
                  </a:cubicBezTo>
                  <a:cubicBezTo>
                    <a:pt x="173" y="252"/>
                    <a:pt x="173" y="251"/>
                    <a:pt x="173" y="251"/>
                  </a:cubicBezTo>
                  <a:cubicBezTo>
                    <a:pt x="173" y="249"/>
                    <a:pt x="173" y="249"/>
                    <a:pt x="173" y="249"/>
                  </a:cubicBezTo>
                  <a:cubicBezTo>
                    <a:pt x="172" y="246"/>
                    <a:pt x="171" y="243"/>
                    <a:pt x="171" y="240"/>
                  </a:cubicBezTo>
                  <a:cubicBezTo>
                    <a:pt x="171" y="239"/>
                    <a:pt x="171" y="239"/>
                    <a:pt x="171" y="239"/>
                  </a:cubicBezTo>
                  <a:cubicBezTo>
                    <a:pt x="171" y="238"/>
                    <a:pt x="171" y="238"/>
                    <a:pt x="171" y="238"/>
                  </a:cubicBezTo>
                  <a:cubicBezTo>
                    <a:pt x="171" y="238"/>
                    <a:pt x="170" y="237"/>
                    <a:pt x="170" y="237"/>
                  </a:cubicBezTo>
                  <a:cubicBezTo>
                    <a:pt x="167" y="234"/>
                    <a:pt x="164" y="231"/>
                    <a:pt x="161" y="229"/>
                  </a:cubicBezTo>
                  <a:cubicBezTo>
                    <a:pt x="161" y="229"/>
                    <a:pt x="160" y="228"/>
                    <a:pt x="160" y="228"/>
                  </a:cubicBezTo>
                  <a:cubicBezTo>
                    <a:pt x="157" y="226"/>
                    <a:pt x="157" y="226"/>
                    <a:pt x="157" y="226"/>
                  </a:cubicBezTo>
                  <a:cubicBezTo>
                    <a:pt x="153" y="222"/>
                    <a:pt x="150" y="218"/>
                    <a:pt x="148" y="214"/>
                  </a:cubicBezTo>
                  <a:cubicBezTo>
                    <a:pt x="145" y="209"/>
                    <a:pt x="145" y="209"/>
                    <a:pt x="145" y="209"/>
                  </a:cubicBezTo>
                  <a:cubicBezTo>
                    <a:pt x="148" y="208"/>
                    <a:pt x="148" y="208"/>
                    <a:pt x="148" y="208"/>
                  </a:cubicBezTo>
                  <a:cubicBezTo>
                    <a:pt x="145" y="205"/>
                    <a:pt x="145" y="205"/>
                    <a:pt x="145" y="205"/>
                  </a:cubicBezTo>
                  <a:cubicBezTo>
                    <a:pt x="145" y="204"/>
                    <a:pt x="144" y="204"/>
                    <a:pt x="144" y="203"/>
                  </a:cubicBezTo>
                  <a:cubicBezTo>
                    <a:pt x="141" y="200"/>
                    <a:pt x="140" y="199"/>
                    <a:pt x="139" y="197"/>
                  </a:cubicBezTo>
                  <a:cubicBezTo>
                    <a:pt x="139" y="194"/>
                    <a:pt x="139" y="194"/>
                    <a:pt x="139" y="194"/>
                  </a:cubicBezTo>
                  <a:cubicBezTo>
                    <a:pt x="138" y="191"/>
                    <a:pt x="138" y="189"/>
                    <a:pt x="137" y="186"/>
                  </a:cubicBezTo>
                  <a:cubicBezTo>
                    <a:pt x="137" y="185"/>
                    <a:pt x="137" y="185"/>
                    <a:pt x="136" y="185"/>
                  </a:cubicBezTo>
                  <a:cubicBezTo>
                    <a:pt x="136" y="183"/>
                    <a:pt x="135" y="181"/>
                    <a:pt x="135" y="180"/>
                  </a:cubicBezTo>
                  <a:cubicBezTo>
                    <a:pt x="135" y="178"/>
                    <a:pt x="135" y="177"/>
                    <a:pt x="136" y="176"/>
                  </a:cubicBezTo>
                  <a:cubicBezTo>
                    <a:pt x="136" y="176"/>
                    <a:pt x="136" y="176"/>
                    <a:pt x="136" y="176"/>
                  </a:cubicBezTo>
                  <a:cubicBezTo>
                    <a:pt x="136" y="175"/>
                    <a:pt x="136" y="175"/>
                    <a:pt x="136" y="175"/>
                  </a:cubicBezTo>
                  <a:cubicBezTo>
                    <a:pt x="136" y="173"/>
                    <a:pt x="136" y="173"/>
                    <a:pt x="136" y="173"/>
                  </a:cubicBezTo>
                  <a:cubicBezTo>
                    <a:pt x="136" y="172"/>
                    <a:pt x="136" y="171"/>
                    <a:pt x="136" y="170"/>
                  </a:cubicBezTo>
                  <a:cubicBezTo>
                    <a:pt x="136" y="169"/>
                    <a:pt x="136" y="169"/>
                    <a:pt x="136" y="169"/>
                  </a:cubicBezTo>
                  <a:cubicBezTo>
                    <a:pt x="136" y="168"/>
                    <a:pt x="136" y="168"/>
                    <a:pt x="136" y="168"/>
                  </a:cubicBezTo>
                  <a:cubicBezTo>
                    <a:pt x="136" y="167"/>
                    <a:pt x="136" y="167"/>
                    <a:pt x="136" y="167"/>
                  </a:cubicBezTo>
                  <a:cubicBezTo>
                    <a:pt x="135" y="167"/>
                    <a:pt x="135" y="167"/>
                    <a:pt x="134" y="166"/>
                  </a:cubicBezTo>
                  <a:cubicBezTo>
                    <a:pt x="134" y="165"/>
                    <a:pt x="133" y="165"/>
                    <a:pt x="132" y="164"/>
                  </a:cubicBezTo>
                  <a:cubicBezTo>
                    <a:pt x="130" y="161"/>
                    <a:pt x="130" y="161"/>
                    <a:pt x="130" y="161"/>
                  </a:cubicBezTo>
                  <a:cubicBezTo>
                    <a:pt x="135" y="159"/>
                    <a:pt x="135" y="159"/>
                    <a:pt x="135" y="159"/>
                  </a:cubicBezTo>
                  <a:cubicBezTo>
                    <a:pt x="139" y="156"/>
                    <a:pt x="140" y="156"/>
                    <a:pt x="142" y="152"/>
                  </a:cubicBezTo>
                  <a:cubicBezTo>
                    <a:pt x="142" y="151"/>
                    <a:pt x="143" y="150"/>
                    <a:pt x="143" y="149"/>
                  </a:cubicBezTo>
                  <a:cubicBezTo>
                    <a:pt x="144" y="148"/>
                    <a:pt x="144" y="148"/>
                    <a:pt x="144" y="148"/>
                  </a:cubicBezTo>
                  <a:cubicBezTo>
                    <a:pt x="144" y="147"/>
                    <a:pt x="144" y="146"/>
                    <a:pt x="145" y="145"/>
                  </a:cubicBezTo>
                  <a:cubicBezTo>
                    <a:pt x="146" y="144"/>
                    <a:pt x="146" y="143"/>
                    <a:pt x="147" y="141"/>
                  </a:cubicBezTo>
                  <a:cubicBezTo>
                    <a:pt x="147" y="141"/>
                    <a:pt x="147" y="141"/>
                    <a:pt x="147" y="141"/>
                  </a:cubicBezTo>
                  <a:cubicBezTo>
                    <a:pt x="148" y="139"/>
                    <a:pt x="150" y="136"/>
                    <a:pt x="151" y="134"/>
                  </a:cubicBezTo>
                  <a:cubicBezTo>
                    <a:pt x="152" y="133"/>
                    <a:pt x="152" y="133"/>
                    <a:pt x="152" y="133"/>
                  </a:cubicBezTo>
                  <a:cubicBezTo>
                    <a:pt x="153" y="131"/>
                    <a:pt x="154" y="129"/>
                    <a:pt x="156" y="128"/>
                  </a:cubicBezTo>
                  <a:cubicBezTo>
                    <a:pt x="156" y="127"/>
                    <a:pt x="156" y="127"/>
                    <a:pt x="156" y="127"/>
                  </a:cubicBezTo>
                  <a:cubicBezTo>
                    <a:pt x="157" y="127"/>
                    <a:pt x="157" y="127"/>
                    <a:pt x="157" y="127"/>
                  </a:cubicBezTo>
                  <a:cubicBezTo>
                    <a:pt x="157" y="127"/>
                    <a:pt x="157" y="127"/>
                    <a:pt x="157" y="127"/>
                  </a:cubicBezTo>
                  <a:cubicBezTo>
                    <a:pt x="157" y="126"/>
                    <a:pt x="157" y="126"/>
                    <a:pt x="157" y="126"/>
                  </a:cubicBezTo>
                  <a:cubicBezTo>
                    <a:pt x="158" y="125"/>
                    <a:pt x="158" y="125"/>
                    <a:pt x="158" y="125"/>
                  </a:cubicBezTo>
                  <a:cubicBezTo>
                    <a:pt x="158" y="125"/>
                    <a:pt x="158" y="124"/>
                    <a:pt x="158" y="124"/>
                  </a:cubicBezTo>
                  <a:cubicBezTo>
                    <a:pt x="158" y="123"/>
                    <a:pt x="158" y="123"/>
                    <a:pt x="158" y="123"/>
                  </a:cubicBezTo>
                  <a:cubicBezTo>
                    <a:pt x="157" y="122"/>
                    <a:pt x="156" y="120"/>
                    <a:pt x="155" y="118"/>
                  </a:cubicBezTo>
                  <a:cubicBezTo>
                    <a:pt x="155" y="117"/>
                    <a:pt x="155" y="117"/>
                    <a:pt x="155" y="117"/>
                  </a:cubicBezTo>
                  <a:cubicBezTo>
                    <a:pt x="154" y="116"/>
                    <a:pt x="154" y="115"/>
                    <a:pt x="154" y="114"/>
                  </a:cubicBezTo>
                  <a:cubicBezTo>
                    <a:pt x="153" y="113"/>
                    <a:pt x="153" y="113"/>
                    <a:pt x="153" y="113"/>
                  </a:cubicBezTo>
                  <a:cubicBezTo>
                    <a:pt x="152" y="110"/>
                    <a:pt x="151" y="107"/>
                    <a:pt x="149" y="106"/>
                  </a:cubicBezTo>
                  <a:cubicBezTo>
                    <a:pt x="146" y="102"/>
                    <a:pt x="142" y="99"/>
                    <a:pt x="139" y="96"/>
                  </a:cubicBezTo>
                  <a:cubicBezTo>
                    <a:pt x="136" y="93"/>
                    <a:pt x="132" y="90"/>
                    <a:pt x="129" y="87"/>
                  </a:cubicBezTo>
                  <a:cubicBezTo>
                    <a:pt x="127" y="85"/>
                    <a:pt x="127" y="85"/>
                    <a:pt x="127" y="85"/>
                  </a:cubicBezTo>
                  <a:cubicBezTo>
                    <a:pt x="127" y="85"/>
                    <a:pt x="126" y="84"/>
                    <a:pt x="126" y="84"/>
                  </a:cubicBezTo>
                  <a:cubicBezTo>
                    <a:pt x="125" y="83"/>
                    <a:pt x="125" y="83"/>
                    <a:pt x="124" y="82"/>
                  </a:cubicBezTo>
                  <a:cubicBezTo>
                    <a:pt x="124" y="82"/>
                    <a:pt x="124" y="82"/>
                    <a:pt x="124" y="82"/>
                  </a:cubicBezTo>
                  <a:cubicBezTo>
                    <a:pt x="121" y="79"/>
                    <a:pt x="121" y="77"/>
                    <a:pt x="124" y="73"/>
                  </a:cubicBezTo>
                  <a:cubicBezTo>
                    <a:pt x="124" y="72"/>
                    <a:pt x="124" y="72"/>
                    <a:pt x="124" y="72"/>
                  </a:cubicBezTo>
                  <a:cubicBezTo>
                    <a:pt x="126" y="70"/>
                    <a:pt x="127" y="67"/>
                    <a:pt x="131" y="67"/>
                  </a:cubicBezTo>
                  <a:cubicBezTo>
                    <a:pt x="132" y="67"/>
                    <a:pt x="132" y="67"/>
                    <a:pt x="132" y="67"/>
                  </a:cubicBezTo>
                  <a:cubicBezTo>
                    <a:pt x="133" y="67"/>
                    <a:pt x="133" y="67"/>
                    <a:pt x="134" y="67"/>
                  </a:cubicBezTo>
                  <a:cubicBezTo>
                    <a:pt x="136" y="67"/>
                    <a:pt x="137" y="67"/>
                    <a:pt x="139" y="67"/>
                  </a:cubicBezTo>
                  <a:cubicBezTo>
                    <a:pt x="140" y="67"/>
                    <a:pt x="140" y="67"/>
                    <a:pt x="140" y="67"/>
                  </a:cubicBezTo>
                  <a:cubicBezTo>
                    <a:pt x="140" y="67"/>
                    <a:pt x="140" y="67"/>
                    <a:pt x="140" y="67"/>
                  </a:cubicBezTo>
                  <a:cubicBezTo>
                    <a:pt x="141" y="67"/>
                    <a:pt x="142" y="68"/>
                    <a:pt x="142" y="68"/>
                  </a:cubicBezTo>
                  <a:cubicBezTo>
                    <a:pt x="142" y="68"/>
                    <a:pt x="142" y="68"/>
                    <a:pt x="142" y="68"/>
                  </a:cubicBezTo>
                  <a:cubicBezTo>
                    <a:pt x="143" y="68"/>
                    <a:pt x="143" y="68"/>
                    <a:pt x="144" y="68"/>
                  </a:cubicBezTo>
                  <a:cubicBezTo>
                    <a:pt x="146" y="68"/>
                    <a:pt x="148" y="67"/>
                    <a:pt x="150" y="67"/>
                  </a:cubicBezTo>
                  <a:cubicBezTo>
                    <a:pt x="149" y="61"/>
                    <a:pt x="149" y="61"/>
                    <a:pt x="149" y="61"/>
                  </a:cubicBezTo>
                  <a:cubicBezTo>
                    <a:pt x="152" y="67"/>
                    <a:pt x="152" y="67"/>
                    <a:pt x="152" y="67"/>
                  </a:cubicBezTo>
                  <a:cubicBezTo>
                    <a:pt x="152" y="67"/>
                    <a:pt x="152" y="67"/>
                    <a:pt x="152" y="67"/>
                  </a:cubicBezTo>
                  <a:cubicBezTo>
                    <a:pt x="153" y="67"/>
                    <a:pt x="154" y="67"/>
                    <a:pt x="155" y="67"/>
                  </a:cubicBezTo>
                  <a:cubicBezTo>
                    <a:pt x="156" y="67"/>
                    <a:pt x="156" y="67"/>
                    <a:pt x="156" y="67"/>
                  </a:cubicBezTo>
                  <a:cubicBezTo>
                    <a:pt x="155" y="66"/>
                    <a:pt x="154" y="64"/>
                    <a:pt x="153" y="63"/>
                  </a:cubicBezTo>
                  <a:cubicBezTo>
                    <a:pt x="150" y="58"/>
                    <a:pt x="148" y="52"/>
                    <a:pt x="146" y="46"/>
                  </a:cubicBezTo>
                  <a:cubicBezTo>
                    <a:pt x="146" y="45"/>
                    <a:pt x="146" y="43"/>
                    <a:pt x="147" y="40"/>
                  </a:cubicBezTo>
                  <a:cubicBezTo>
                    <a:pt x="147" y="40"/>
                    <a:pt x="147" y="39"/>
                    <a:pt x="147" y="38"/>
                  </a:cubicBezTo>
                  <a:cubicBezTo>
                    <a:pt x="147" y="37"/>
                    <a:pt x="148" y="37"/>
                    <a:pt x="148" y="36"/>
                  </a:cubicBezTo>
                  <a:cubicBezTo>
                    <a:pt x="148" y="34"/>
                    <a:pt x="148" y="33"/>
                    <a:pt x="148" y="32"/>
                  </a:cubicBezTo>
                  <a:cubicBezTo>
                    <a:pt x="148" y="32"/>
                    <a:pt x="148" y="32"/>
                    <a:pt x="148" y="32"/>
                  </a:cubicBezTo>
                  <a:cubicBezTo>
                    <a:pt x="148" y="31"/>
                    <a:pt x="148" y="31"/>
                    <a:pt x="148" y="31"/>
                  </a:cubicBezTo>
                  <a:cubicBezTo>
                    <a:pt x="148" y="31"/>
                    <a:pt x="148" y="31"/>
                    <a:pt x="148" y="31"/>
                  </a:cubicBezTo>
                  <a:cubicBezTo>
                    <a:pt x="148" y="30"/>
                    <a:pt x="148" y="30"/>
                    <a:pt x="148" y="30"/>
                  </a:cubicBezTo>
                  <a:cubicBezTo>
                    <a:pt x="148" y="29"/>
                    <a:pt x="147" y="28"/>
                    <a:pt x="147" y="27"/>
                  </a:cubicBezTo>
                  <a:cubicBezTo>
                    <a:pt x="147" y="26"/>
                    <a:pt x="147" y="25"/>
                    <a:pt x="146" y="25"/>
                  </a:cubicBezTo>
                  <a:cubicBezTo>
                    <a:pt x="145" y="22"/>
                    <a:pt x="145" y="22"/>
                    <a:pt x="145" y="22"/>
                  </a:cubicBezTo>
                  <a:cubicBezTo>
                    <a:pt x="144" y="20"/>
                    <a:pt x="143" y="17"/>
                    <a:pt x="142" y="14"/>
                  </a:cubicBezTo>
                  <a:cubicBezTo>
                    <a:pt x="142" y="12"/>
                    <a:pt x="142" y="11"/>
                    <a:pt x="141" y="9"/>
                  </a:cubicBezTo>
                  <a:cubicBezTo>
                    <a:pt x="141" y="9"/>
                    <a:pt x="141" y="9"/>
                    <a:pt x="141" y="9"/>
                  </a:cubicBezTo>
                  <a:cubicBezTo>
                    <a:pt x="141" y="9"/>
                    <a:pt x="141" y="9"/>
                    <a:pt x="138" y="7"/>
                  </a:cubicBezTo>
                  <a:cubicBezTo>
                    <a:pt x="138" y="7"/>
                    <a:pt x="138" y="7"/>
                    <a:pt x="138" y="7"/>
                  </a:cubicBezTo>
                  <a:cubicBezTo>
                    <a:pt x="137" y="6"/>
                    <a:pt x="136" y="6"/>
                    <a:pt x="136" y="5"/>
                  </a:cubicBezTo>
                  <a:cubicBezTo>
                    <a:pt x="135" y="5"/>
                    <a:pt x="135" y="4"/>
                    <a:pt x="135" y="3"/>
                  </a:cubicBezTo>
                  <a:cubicBezTo>
                    <a:pt x="135" y="2"/>
                    <a:pt x="135" y="2"/>
                    <a:pt x="135" y="2"/>
                  </a:cubicBezTo>
                  <a:cubicBezTo>
                    <a:pt x="134" y="2"/>
                    <a:pt x="134" y="1"/>
                    <a:pt x="134" y="0"/>
                  </a:cubicBezTo>
                  <a:cubicBezTo>
                    <a:pt x="130" y="0"/>
                    <a:pt x="130" y="0"/>
                    <a:pt x="1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 name="Freeform 231">
              <a:extLst>
                <a:ext uri="{FF2B5EF4-FFF2-40B4-BE49-F238E27FC236}">
                  <a16:creationId xmlns:a16="http://schemas.microsoft.com/office/drawing/2014/main" id="{ACCD8B81-E16E-4F1D-AFD0-EC708BC75CFD}"/>
                </a:ext>
              </a:extLst>
            </p:cNvPr>
            <p:cNvSpPr>
              <a:spLocks noEditPoints="1"/>
            </p:cNvSpPr>
            <p:nvPr/>
          </p:nvSpPr>
          <p:spPr bwMode="auto">
            <a:xfrm>
              <a:off x="3817" y="1984"/>
              <a:ext cx="652" cy="532"/>
            </a:xfrm>
            <a:custGeom>
              <a:avLst/>
              <a:gdLst>
                <a:gd name="T0" fmla="*/ 64 w 276"/>
                <a:gd name="T1" fmla="*/ 0 h 225"/>
                <a:gd name="T2" fmla="*/ 34 w 276"/>
                <a:gd name="T3" fmla="*/ 10 h 225"/>
                <a:gd name="T4" fmla="*/ 33 w 276"/>
                <a:gd name="T5" fmla="*/ 15 h 225"/>
                <a:gd name="T6" fmla="*/ 25 w 276"/>
                <a:gd name="T7" fmla="*/ 29 h 225"/>
                <a:gd name="T8" fmla="*/ 22 w 276"/>
                <a:gd name="T9" fmla="*/ 44 h 225"/>
                <a:gd name="T10" fmla="*/ 21 w 276"/>
                <a:gd name="T11" fmla="*/ 53 h 225"/>
                <a:gd name="T12" fmla="*/ 23 w 276"/>
                <a:gd name="T13" fmla="*/ 59 h 225"/>
                <a:gd name="T14" fmla="*/ 27 w 276"/>
                <a:gd name="T15" fmla="*/ 73 h 225"/>
                <a:gd name="T16" fmla="*/ 22 w 276"/>
                <a:gd name="T17" fmla="*/ 83 h 225"/>
                <a:gd name="T18" fmla="*/ 11 w 276"/>
                <a:gd name="T19" fmla="*/ 109 h 225"/>
                <a:gd name="T20" fmla="*/ 2 w 276"/>
                <a:gd name="T21" fmla="*/ 114 h 225"/>
                <a:gd name="T22" fmla="*/ 1 w 276"/>
                <a:gd name="T23" fmla="*/ 139 h 225"/>
                <a:gd name="T24" fmla="*/ 2 w 276"/>
                <a:gd name="T25" fmla="*/ 163 h 225"/>
                <a:gd name="T26" fmla="*/ 6 w 276"/>
                <a:gd name="T27" fmla="*/ 174 h 225"/>
                <a:gd name="T28" fmla="*/ 25 w 276"/>
                <a:gd name="T29" fmla="*/ 170 h 225"/>
                <a:gd name="T30" fmla="*/ 37 w 276"/>
                <a:gd name="T31" fmla="*/ 176 h 225"/>
                <a:gd name="T32" fmla="*/ 59 w 276"/>
                <a:gd name="T33" fmla="*/ 186 h 225"/>
                <a:gd name="T34" fmla="*/ 60 w 276"/>
                <a:gd name="T35" fmla="*/ 191 h 225"/>
                <a:gd name="T36" fmla="*/ 65 w 276"/>
                <a:gd name="T37" fmla="*/ 196 h 225"/>
                <a:gd name="T38" fmla="*/ 79 w 276"/>
                <a:gd name="T39" fmla="*/ 225 h 225"/>
                <a:gd name="T40" fmla="*/ 84 w 276"/>
                <a:gd name="T41" fmla="*/ 224 h 225"/>
                <a:gd name="T42" fmla="*/ 96 w 276"/>
                <a:gd name="T43" fmla="*/ 223 h 225"/>
                <a:gd name="T44" fmla="*/ 100 w 276"/>
                <a:gd name="T45" fmla="*/ 222 h 225"/>
                <a:gd name="T46" fmla="*/ 99 w 276"/>
                <a:gd name="T47" fmla="*/ 218 h 225"/>
                <a:gd name="T48" fmla="*/ 101 w 276"/>
                <a:gd name="T49" fmla="*/ 215 h 225"/>
                <a:gd name="T50" fmla="*/ 112 w 276"/>
                <a:gd name="T51" fmla="*/ 215 h 225"/>
                <a:gd name="T52" fmla="*/ 130 w 276"/>
                <a:gd name="T53" fmla="*/ 217 h 225"/>
                <a:gd name="T54" fmla="*/ 133 w 276"/>
                <a:gd name="T55" fmla="*/ 212 h 225"/>
                <a:gd name="T56" fmla="*/ 139 w 276"/>
                <a:gd name="T57" fmla="*/ 199 h 225"/>
                <a:gd name="T58" fmla="*/ 146 w 276"/>
                <a:gd name="T59" fmla="*/ 182 h 225"/>
                <a:gd name="T60" fmla="*/ 161 w 276"/>
                <a:gd name="T61" fmla="*/ 169 h 225"/>
                <a:gd name="T62" fmla="*/ 174 w 276"/>
                <a:gd name="T63" fmla="*/ 157 h 225"/>
                <a:gd name="T64" fmla="*/ 182 w 276"/>
                <a:gd name="T65" fmla="*/ 153 h 225"/>
                <a:gd name="T66" fmla="*/ 200 w 276"/>
                <a:gd name="T67" fmla="*/ 170 h 225"/>
                <a:gd name="T68" fmla="*/ 210 w 276"/>
                <a:gd name="T69" fmla="*/ 151 h 225"/>
                <a:gd name="T70" fmla="*/ 220 w 276"/>
                <a:gd name="T71" fmla="*/ 126 h 225"/>
                <a:gd name="T72" fmla="*/ 234 w 276"/>
                <a:gd name="T73" fmla="*/ 111 h 225"/>
                <a:gd name="T74" fmla="*/ 243 w 276"/>
                <a:gd name="T75" fmla="*/ 98 h 225"/>
                <a:gd name="T76" fmla="*/ 243 w 276"/>
                <a:gd name="T77" fmla="*/ 91 h 225"/>
                <a:gd name="T78" fmla="*/ 250 w 276"/>
                <a:gd name="T79" fmla="*/ 75 h 225"/>
                <a:gd name="T80" fmla="*/ 256 w 276"/>
                <a:gd name="T81" fmla="*/ 66 h 225"/>
                <a:gd name="T82" fmla="*/ 260 w 276"/>
                <a:gd name="T83" fmla="*/ 58 h 225"/>
                <a:gd name="T84" fmla="*/ 267 w 276"/>
                <a:gd name="T85" fmla="*/ 57 h 225"/>
                <a:gd name="T86" fmla="*/ 275 w 276"/>
                <a:gd name="T87" fmla="*/ 52 h 225"/>
                <a:gd name="T88" fmla="*/ 275 w 276"/>
                <a:gd name="T89" fmla="*/ 39 h 225"/>
                <a:gd name="T90" fmla="*/ 265 w 276"/>
                <a:gd name="T91" fmla="*/ 31 h 225"/>
                <a:gd name="T92" fmla="*/ 254 w 276"/>
                <a:gd name="T93" fmla="*/ 5 h 225"/>
                <a:gd name="T94" fmla="*/ 250 w 276"/>
                <a:gd name="T95" fmla="*/ 4 h 225"/>
                <a:gd name="T96" fmla="*/ 243 w 276"/>
                <a:gd name="T97" fmla="*/ 6 h 225"/>
                <a:gd name="T98" fmla="*/ 228 w 276"/>
                <a:gd name="T99" fmla="*/ 18 h 225"/>
                <a:gd name="T100" fmla="*/ 203 w 276"/>
                <a:gd name="T101" fmla="*/ 12 h 225"/>
                <a:gd name="T102" fmla="*/ 189 w 276"/>
                <a:gd name="T103" fmla="*/ 12 h 225"/>
                <a:gd name="T104" fmla="*/ 165 w 276"/>
                <a:gd name="T105" fmla="*/ 23 h 225"/>
                <a:gd name="T106" fmla="*/ 159 w 276"/>
                <a:gd name="T107" fmla="*/ 25 h 225"/>
                <a:gd name="T108" fmla="*/ 152 w 276"/>
                <a:gd name="T109" fmla="*/ 25 h 225"/>
                <a:gd name="T110" fmla="*/ 124 w 276"/>
                <a:gd name="T111" fmla="*/ 13 h 225"/>
                <a:gd name="T112" fmla="*/ 120 w 276"/>
                <a:gd name="T113" fmla="*/ 13 h 225"/>
                <a:gd name="T114" fmla="*/ 105 w 276"/>
                <a:gd name="T115" fmla="*/ 19 h 225"/>
                <a:gd name="T116" fmla="*/ 83 w 276"/>
                <a:gd name="T117" fmla="*/ 6 h 225"/>
                <a:gd name="T118" fmla="*/ 69 w 276"/>
                <a:gd name="T119"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6" h="225">
                  <a:moveTo>
                    <a:pt x="65" y="196"/>
                  </a:moveTo>
                  <a:cubicBezTo>
                    <a:pt x="66" y="196"/>
                    <a:pt x="66" y="196"/>
                    <a:pt x="67" y="195"/>
                  </a:cubicBezTo>
                  <a:cubicBezTo>
                    <a:pt x="66" y="196"/>
                    <a:pt x="66" y="196"/>
                    <a:pt x="65" y="196"/>
                  </a:cubicBezTo>
                  <a:moveTo>
                    <a:pt x="65" y="0"/>
                  </a:moveTo>
                  <a:cubicBezTo>
                    <a:pt x="64" y="0"/>
                    <a:pt x="64" y="0"/>
                    <a:pt x="64" y="0"/>
                  </a:cubicBezTo>
                  <a:cubicBezTo>
                    <a:pt x="63" y="0"/>
                    <a:pt x="63" y="0"/>
                    <a:pt x="63" y="0"/>
                  </a:cubicBezTo>
                  <a:cubicBezTo>
                    <a:pt x="59" y="0"/>
                    <a:pt x="54" y="1"/>
                    <a:pt x="50" y="2"/>
                  </a:cubicBezTo>
                  <a:cubicBezTo>
                    <a:pt x="48" y="3"/>
                    <a:pt x="46" y="3"/>
                    <a:pt x="44" y="3"/>
                  </a:cubicBezTo>
                  <a:cubicBezTo>
                    <a:pt x="41" y="4"/>
                    <a:pt x="35" y="8"/>
                    <a:pt x="34" y="9"/>
                  </a:cubicBezTo>
                  <a:cubicBezTo>
                    <a:pt x="34" y="10"/>
                    <a:pt x="34" y="10"/>
                    <a:pt x="34" y="10"/>
                  </a:cubicBezTo>
                  <a:cubicBezTo>
                    <a:pt x="34" y="11"/>
                    <a:pt x="34" y="11"/>
                    <a:pt x="34" y="11"/>
                  </a:cubicBezTo>
                  <a:cubicBezTo>
                    <a:pt x="34" y="11"/>
                    <a:pt x="34" y="12"/>
                    <a:pt x="34" y="12"/>
                  </a:cubicBezTo>
                  <a:cubicBezTo>
                    <a:pt x="34" y="13"/>
                    <a:pt x="34" y="13"/>
                    <a:pt x="34" y="13"/>
                  </a:cubicBezTo>
                  <a:cubicBezTo>
                    <a:pt x="34" y="13"/>
                    <a:pt x="34" y="14"/>
                    <a:pt x="34" y="14"/>
                  </a:cubicBezTo>
                  <a:cubicBezTo>
                    <a:pt x="33" y="15"/>
                    <a:pt x="33" y="15"/>
                    <a:pt x="33" y="15"/>
                  </a:cubicBezTo>
                  <a:cubicBezTo>
                    <a:pt x="28" y="25"/>
                    <a:pt x="28" y="25"/>
                    <a:pt x="28" y="25"/>
                  </a:cubicBezTo>
                  <a:cubicBezTo>
                    <a:pt x="28" y="25"/>
                    <a:pt x="27" y="26"/>
                    <a:pt x="27" y="26"/>
                  </a:cubicBezTo>
                  <a:cubicBezTo>
                    <a:pt x="27" y="27"/>
                    <a:pt x="27" y="27"/>
                    <a:pt x="27" y="27"/>
                  </a:cubicBezTo>
                  <a:cubicBezTo>
                    <a:pt x="26" y="27"/>
                    <a:pt x="26" y="27"/>
                    <a:pt x="26" y="28"/>
                  </a:cubicBezTo>
                  <a:cubicBezTo>
                    <a:pt x="25" y="29"/>
                    <a:pt x="25" y="29"/>
                    <a:pt x="25" y="29"/>
                  </a:cubicBezTo>
                  <a:cubicBezTo>
                    <a:pt x="24" y="30"/>
                    <a:pt x="24" y="30"/>
                    <a:pt x="24" y="30"/>
                  </a:cubicBezTo>
                  <a:cubicBezTo>
                    <a:pt x="24" y="30"/>
                    <a:pt x="24" y="30"/>
                    <a:pt x="24" y="31"/>
                  </a:cubicBezTo>
                  <a:cubicBezTo>
                    <a:pt x="24" y="31"/>
                    <a:pt x="24" y="31"/>
                    <a:pt x="23" y="32"/>
                  </a:cubicBezTo>
                  <a:cubicBezTo>
                    <a:pt x="23" y="33"/>
                    <a:pt x="23" y="33"/>
                    <a:pt x="23" y="33"/>
                  </a:cubicBezTo>
                  <a:cubicBezTo>
                    <a:pt x="23" y="37"/>
                    <a:pt x="22" y="41"/>
                    <a:pt x="22" y="44"/>
                  </a:cubicBezTo>
                  <a:cubicBezTo>
                    <a:pt x="22" y="46"/>
                    <a:pt x="22" y="47"/>
                    <a:pt x="22" y="49"/>
                  </a:cubicBezTo>
                  <a:cubicBezTo>
                    <a:pt x="22" y="49"/>
                    <a:pt x="22" y="50"/>
                    <a:pt x="22" y="50"/>
                  </a:cubicBezTo>
                  <a:cubicBezTo>
                    <a:pt x="21" y="50"/>
                    <a:pt x="21" y="50"/>
                    <a:pt x="21" y="50"/>
                  </a:cubicBezTo>
                  <a:cubicBezTo>
                    <a:pt x="21" y="51"/>
                    <a:pt x="21" y="51"/>
                    <a:pt x="21" y="52"/>
                  </a:cubicBezTo>
                  <a:cubicBezTo>
                    <a:pt x="21" y="52"/>
                    <a:pt x="21" y="53"/>
                    <a:pt x="21" y="53"/>
                  </a:cubicBezTo>
                  <a:cubicBezTo>
                    <a:pt x="24" y="54"/>
                    <a:pt x="24" y="54"/>
                    <a:pt x="24" y="54"/>
                  </a:cubicBezTo>
                  <a:cubicBezTo>
                    <a:pt x="20" y="55"/>
                    <a:pt x="20" y="55"/>
                    <a:pt x="20" y="55"/>
                  </a:cubicBezTo>
                  <a:cubicBezTo>
                    <a:pt x="20" y="55"/>
                    <a:pt x="20" y="55"/>
                    <a:pt x="20" y="55"/>
                  </a:cubicBezTo>
                  <a:cubicBezTo>
                    <a:pt x="20" y="56"/>
                    <a:pt x="20" y="57"/>
                    <a:pt x="22" y="59"/>
                  </a:cubicBezTo>
                  <a:cubicBezTo>
                    <a:pt x="23" y="59"/>
                    <a:pt x="23" y="59"/>
                    <a:pt x="23" y="59"/>
                  </a:cubicBezTo>
                  <a:cubicBezTo>
                    <a:pt x="24" y="61"/>
                    <a:pt x="25" y="63"/>
                    <a:pt x="26" y="65"/>
                  </a:cubicBezTo>
                  <a:cubicBezTo>
                    <a:pt x="26" y="65"/>
                    <a:pt x="26" y="66"/>
                    <a:pt x="26" y="67"/>
                  </a:cubicBezTo>
                  <a:cubicBezTo>
                    <a:pt x="27" y="69"/>
                    <a:pt x="27" y="69"/>
                    <a:pt x="27" y="69"/>
                  </a:cubicBezTo>
                  <a:cubicBezTo>
                    <a:pt x="27" y="70"/>
                    <a:pt x="27" y="71"/>
                    <a:pt x="27" y="72"/>
                  </a:cubicBezTo>
                  <a:cubicBezTo>
                    <a:pt x="27" y="73"/>
                    <a:pt x="27" y="73"/>
                    <a:pt x="27" y="73"/>
                  </a:cubicBezTo>
                  <a:cubicBezTo>
                    <a:pt x="27" y="76"/>
                    <a:pt x="26" y="77"/>
                    <a:pt x="25" y="79"/>
                  </a:cubicBezTo>
                  <a:cubicBezTo>
                    <a:pt x="23" y="80"/>
                    <a:pt x="23" y="80"/>
                    <a:pt x="23" y="80"/>
                  </a:cubicBezTo>
                  <a:cubicBezTo>
                    <a:pt x="23" y="81"/>
                    <a:pt x="23" y="81"/>
                    <a:pt x="22" y="81"/>
                  </a:cubicBezTo>
                  <a:cubicBezTo>
                    <a:pt x="22" y="82"/>
                    <a:pt x="22" y="82"/>
                    <a:pt x="22" y="82"/>
                  </a:cubicBezTo>
                  <a:cubicBezTo>
                    <a:pt x="22" y="82"/>
                    <a:pt x="22" y="82"/>
                    <a:pt x="22" y="83"/>
                  </a:cubicBezTo>
                  <a:cubicBezTo>
                    <a:pt x="22" y="84"/>
                    <a:pt x="22" y="84"/>
                    <a:pt x="22" y="85"/>
                  </a:cubicBezTo>
                  <a:cubicBezTo>
                    <a:pt x="23" y="87"/>
                    <a:pt x="22" y="89"/>
                    <a:pt x="20" y="92"/>
                  </a:cubicBezTo>
                  <a:cubicBezTo>
                    <a:pt x="15" y="99"/>
                    <a:pt x="15" y="99"/>
                    <a:pt x="15" y="99"/>
                  </a:cubicBezTo>
                  <a:cubicBezTo>
                    <a:pt x="14" y="100"/>
                    <a:pt x="13" y="102"/>
                    <a:pt x="13" y="102"/>
                  </a:cubicBezTo>
                  <a:cubicBezTo>
                    <a:pt x="12" y="105"/>
                    <a:pt x="11" y="107"/>
                    <a:pt x="11" y="109"/>
                  </a:cubicBezTo>
                  <a:cubicBezTo>
                    <a:pt x="10" y="111"/>
                    <a:pt x="9" y="113"/>
                    <a:pt x="6" y="114"/>
                  </a:cubicBezTo>
                  <a:cubicBezTo>
                    <a:pt x="5" y="114"/>
                    <a:pt x="5" y="114"/>
                    <a:pt x="4" y="114"/>
                  </a:cubicBezTo>
                  <a:cubicBezTo>
                    <a:pt x="4" y="114"/>
                    <a:pt x="3" y="114"/>
                    <a:pt x="2" y="114"/>
                  </a:cubicBezTo>
                  <a:cubicBezTo>
                    <a:pt x="2" y="114"/>
                    <a:pt x="2" y="114"/>
                    <a:pt x="2" y="114"/>
                  </a:cubicBezTo>
                  <a:cubicBezTo>
                    <a:pt x="2" y="114"/>
                    <a:pt x="2" y="114"/>
                    <a:pt x="2" y="114"/>
                  </a:cubicBezTo>
                  <a:cubicBezTo>
                    <a:pt x="2" y="115"/>
                    <a:pt x="2" y="117"/>
                    <a:pt x="2" y="119"/>
                  </a:cubicBezTo>
                  <a:cubicBezTo>
                    <a:pt x="1" y="123"/>
                    <a:pt x="1" y="126"/>
                    <a:pt x="1" y="130"/>
                  </a:cubicBezTo>
                  <a:cubicBezTo>
                    <a:pt x="1" y="131"/>
                    <a:pt x="1" y="132"/>
                    <a:pt x="1" y="133"/>
                  </a:cubicBezTo>
                  <a:cubicBezTo>
                    <a:pt x="0" y="137"/>
                    <a:pt x="0" y="138"/>
                    <a:pt x="0" y="138"/>
                  </a:cubicBezTo>
                  <a:cubicBezTo>
                    <a:pt x="1" y="139"/>
                    <a:pt x="1" y="139"/>
                    <a:pt x="1" y="139"/>
                  </a:cubicBezTo>
                  <a:cubicBezTo>
                    <a:pt x="1" y="140"/>
                    <a:pt x="1" y="140"/>
                    <a:pt x="1" y="140"/>
                  </a:cubicBezTo>
                  <a:cubicBezTo>
                    <a:pt x="1" y="143"/>
                    <a:pt x="1" y="145"/>
                    <a:pt x="2" y="148"/>
                  </a:cubicBezTo>
                  <a:cubicBezTo>
                    <a:pt x="2" y="149"/>
                    <a:pt x="2" y="150"/>
                    <a:pt x="2" y="152"/>
                  </a:cubicBezTo>
                  <a:cubicBezTo>
                    <a:pt x="2" y="155"/>
                    <a:pt x="2" y="157"/>
                    <a:pt x="2" y="160"/>
                  </a:cubicBezTo>
                  <a:cubicBezTo>
                    <a:pt x="1" y="161"/>
                    <a:pt x="2" y="162"/>
                    <a:pt x="2" y="163"/>
                  </a:cubicBezTo>
                  <a:cubicBezTo>
                    <a:pt x="2" y="165"/>
                    <a:pt x="3" y="167"/>
                    <a:pt x="2" y="169"/>
                  </a:cubicBezTo>
                  <a:cubicBezTo>
                    <a:pt x="2" y="171"/>
                    <a:pt x="1" y="174"/>
                    <a:pt x="1" y="176"/>
                  </a:cubicBezTo>
                  <a:cubicBezTo>
                    <a:pt x="3" y="176"/>
                    <a:pt x="4" y="176"/>
                    <a:pt x="5" y="176"/>
                  </a:cubicBezTo>
                  <a:cubicBezTo>
                    <a:pt x="6" y="176"/>
                    <a:pt x="6" y="176"/>
                    <a:pt x="7" y="176"/>
                  </a:cubicBezTo>
                  <a:cubicBezTo>
                    <a:pt x="6" y="175"/>
                    <a:pt x="6" y="174"/>
                    <a:pt x="6" y="174"/>
                  </a:cubicBezTo>
                  <a:cubicBezTo>
                    <a:pt x="6" y="170"/>
                    <a:pt x="9" y="167"/>
                    <a:pt x="13" y="167"/>
                  </a:cubicBezTo>
                  <a:cubicBezTo>
                    <a:pt x="16" y="167"/>
                    <a:pt x="18" y="169"/>
                    <a:pt x="19" y="172"/>
                  </a:cubicBezTo>
                  <a:cubicBezTo>
                    <a:pt x="20" y="171"/>
                    <a:pt x="22" y="170"/>
                    <a:pt x="24" y="170"/>
                  </a:cubicBezTo>
                  <a:cubicBezTo>
                    <a:pt x="24" y="170"/>
                    <a:pt x="25" y="170"/>
                    <a:pt x="25" y="170"/>
                  </a:cubicBezTo>
                  <a:cubicBezTo>
                    <a:pt x="25" y="170"/>
                    <a:pt x="25" y="170"/>
                    <a:pt x="25" y="170"/>
                  </a:cubicBezTo>
                  <a:cubicBezTo>
                    <a:pt x="23" y="170"/>
                    <a:pt x="22" y="171"/>
                    <a:pt x="21" y="172"/>
                  </a:cubicBezTo>
                  <a:cubicBezTo>
                    <a:pt x="20" y="172"/>
                    <a:pt x="19" y="172"/>
                    <a:pt x="19" y="172"/>
                  </a:cubicBezTo>
                  <a:cubicBezTo>
                    <a:pt x="19" y="173"/>
                    <a:pt x="19" y="173"/>
                    <a:pt x="19" y="173"/>
                  </a:cubicBezTo>
                  <a:cubicBezTo>
                    <a:pt x="21" y="174"/>
                    <a:pt x="26" y="174"/>
                    <a:pt x="26" y="174"/>
                  </a:cubicBezTo>
                  <a:cubicBezTo>
                    <a:pt x="30" y="175"/>
                    <a:pt x="34" y="175"/>
                    <a:pt x="37" y="176"/>
                  </a:cubicBezTo>
                  <a:cubicBezTo>
                    <a:pt x="41" y="177"/>
                    <a:pt x="43" y="180"/>
                    <a:pt x="46" y="182"/>
                  </a:cubicBezTo>
                  <a:cubicBezTo>
                    <a:pt x="47" y="184"/>
                    <a:pt x="49" y="185"/>
                    <a:pt x="51" y="187"/>
                  </a:cubicBezTo>
                  <a:cubicBezTo>
                    <a:pt x="52" y="187"/>
                    <a:pt x="53" y="189"/>
                    <a:pt x="53" y="189"/>
                  </a:cubicBezTo>
                  <a:cubicBezTo>
                    <a:pt x="53" y="189"/>
                    <a:pt x="53" y="189"/>
                    <a:pt x="53" y="189"/>
                  </a:cubicBezTo>
                  <a:cubicBezTo>
                    <a:pt x="55" y="189"/>
                    <a:pt x="57" y="187"/>
                    <a:pt x="59" y="186"/>
                  </a:cubicBezTo>
                  <a:cubicBezTo>
                    <a:pt x="57" y="187"/>
                    <a:pt x="56" y="188"/>
                    <a:pt x="55" y="189"/>
                  </a:cubicBezTo>
                  <a:cubicBezTo>
                    <a:pt x="55" y="189"/>
                    <a:pt x="55" y="189"/>
                    <a:pt x="55" y="189"/>
                  </a:cubicBezTo>
                  <a:cubicBezTo>
                    <a:pt x="54" y="189"/>
                    <a:pt x="54" y="190"/>
                    <a:pt x="54" y="191"/>
                  </a:cubicBezTo>
                  <a:cubicBezTo>
                    <a:pt x="55" y="192"/>
                    <a:pt x="56" y="193"/>
                    <a:pt x="57" y="193"/>
                  </a:cubicBezTo>
                  <a:cubicBezTo>
                    <a:pt x="59" y="193"/>
                    <a:pt x="60" y="192"/>
                    <a:pt x="60" y="191"/>
                  </a:cubicBezTo>
                  <a:cubicBezTo>
                    <a:pt x="61" y="192"/>
                    <a:pt x="62" y="193"/>
                    <a:pt x="63" y="193"/>
                  </a:cubicBezTo>
                  <a:cubicBezTo>
                    <a:pt x="61" y="194"/>
                    <a:pt x="59" y="193"/>
                    <a:pt x="58" y="194"/>
                  </a:cubicBezTo>
                  <a:cubicBezTo>
                    <a:pt x="57" y="194"/>
                    <a:pt x="56" y="194"/>
                    <a:pt x="57" y="195"/>
                  </a:cubicBezTo>
                  <a:cubicBezTo>
                    <a:pt x="59" y="197"/>
                    <a:pt x="60" y="198"/>
                    <a:pt x="61" y="198"/>
                  </a:cubicBezTo>
                  <a:cubicBezTo>
                    <a:pt x="62" y="198"/>
                    <a:pt x="63" y="197"/>
                    <a:pt x="65" y="196"/>
                  </a:cubicBezTo>
                  <a:cubicBezTo>
                    <a:pt x="65" y="197"/>
                    <a:pt x="65" y="198"/>
                    <a:pt x="65" y="199"/>
                  </a:cubicBezTo>
                  <a:cubicBezTo>
                    <a:pt x="65" y="199"/>
                    <a:pt x="65" y="199"/>
                    <a:pt x="65" y="199"/>
                  </a:cubicBezTo>
                  <a:cubicBezTo>
                    <a:pt x="61" y="199"/>
                    <a:pt x="63" y="208"/>
                    <a:pt x="64" y="210"/>
                  </a:cubicBezTo>
                  <a:cubicBezTo>
                    <a:pt x="65" y="214"/>
                    <a:pt x="65" y="216"/>
                    <a:pt x="68" y="218"/>
                  </a:cubicBezTo>
                  <a:cubicBezTo>
                    <a:pt x="71" y="221"/>
                    <a:pt x="75" y="225"/>
                    <a:pt x="79" y="225"/>
                  </a:cubicBezTo>
                  <a:cubicBezTo>
                    <a:pt x="79" y="225"/>
                    <a:pt x="80" y="225"/>
                    <a:pt x="80" y="225"/>
                  </a:cubicBezTo>
                  <a:cubicBezTo>
                    <a:pt x="80" y="223"/>
                    <a:pt x="81" y="222"/>
                    <a:pt x="83" y="221"/>
                  </a:cubicBezTo>
                  <a:cubicBezTo>
                    <a:pt x="82" y="222"/>
                    <a:pt x="82" y="223"/>
                    <a:pt x="82" y="224"/>
                  </a:cubicBezTo>
                  <a:cubicBezTo>
                    <a:pt x="82" y="224"/>
                    <a:pt x="83" y="224"/>
                    <a:pt x="83" y="224"/>
                  </a:cubicBezTo>
                  <a:cubicBezTo>
                    <a:pt x="83" y="224"/>
                    <a:pt x="84" y="224"/>
                    <a:pt x="84" y="224"/>
                  </a:cubicBezTo>
                  <a:cubicBezTo>
                    <a:pt x="84" y="224"/>
                    <a:pt x="84" y="224"/>
                    <a:pt x="85" y="224"/>
                  </a:cubicBezTo>
                  <a:cubicBezTo>
                    <a:pt x="88" y="224"/>
                    <a:pt x="87" y="222"/>
                    <a:pt x="89" y="219"/>
                  </a:cubicBezTo>
                  <a:cubicBezTo>
                    <a:pt x="90" y="221"/>
                    <a:pt x="90" y="222"/>
                    <a:pt x="92" y="223"/>
                  </a:cubicBezTo>
                  <a:cubicBezTo>
                    <a:pt x="91" y="221"/>
                    <a:pt x="92" y="219"/>
                    <a:pt x="93" y="217"/>
                  </a:cubicBezTo>
                  <a:cubicBezTo>
                    <a:pt x="93" y="220"/>
                    <a:pt x="91" y="221"/>
                    <a:pt x="96" y="223"/>
                  </a:cubicBezTo>
                  <a:cubicBezTo>
                    <a:pt x="95" y="222"/>
                    <a:pt x="94" y="220"/>
                    <a:pt x="94" y="219"/>
                  </a:cubicBezTo>
                  <a:cubicBezTo>
                    <a:pt x="94" y="218"/>
                    <a:pt x="94" y="217"/>
                    <a:pt x="94" y="216"/>
                  </a:cubicBezTo>
                  <a:cubicBezTo>
                    <a:pt x="94" y="215"/>
                    <a:pt x="93" y="213"/>
                    <a:pt x="93" y="212"/>
                  </a:cubicBezTo>
                  <a:cubicBezTo>
                    <a:pt x="93" y="212"/>
                    <a:pt x="95" y="215"/>
                    <a:pt x="95" y="216"/>
                  </a:cubicBezTo>
                  <a:cubicBezTo>
                    <a:pt x="96" y="219"/>
                    <a:pt x="94" y="221"/>
                    <a:pt x="100" y="222"/>
                  </a:cubicBezTo>
                  <a:cubicBezTo>
                    <a:pt x="98" y="220"/>
                    <a:pt x="99" y="218"/>
                    <a:pt x="97" y="216"/>
                  </a:cubicBezTo>
                  <a:cubicBezTo>
                    <a:pt x="97" y="216"/>
                    <a:pt x="98" y="216"/>
                    <a:pt x="98" y="217"/>
                  </a:cubicBezTo>
                  <a:cubicBezTo>
                    <a:pt x="98" y="216"/>
                    <a:pt x="98" y="215"/>
                    <a:pt x="98" y="214"/>
                  </a:cubicBezTo>
                  <a:cubicBezTo>
                    <a:pt x="100" y="215"/>
                    <a:pt x="99" y="216"/>
                    <a:pt x="100" y="217"/>
                  </a:cubicBezTo>
                  <a:cubicBezTo>
                    <a:pt x="100" y="217"/>
                    <a:pt x="99" y="218"/>
                    <a:pt x="99" y="218"/>
                  </a:cubicBezTo>
                  <a:cubicBezTo>
                    <a:pt x="99" y="219"/>
                    <a:pt x="102" y="220"/>
                    <a:pt x="103" y="220"/>
                  </a:cubicBezTo>
                  <a:cubicBezTo>
                    <a:pt x="103" y="220"/>
                    <a:pt x="103" y="220"/>
                    <a:pt x="103" y="220"/>
                  </a:cubicBezTo>
                  <a:cubicBezTo>
                    <a:pt x="104" y="219"/>
                    <a:pt x="102" y="217"/>
                    <a:pt x="101" y="215"/>
                  </a:cubicBezTo>
                  <a:cubicBezTo>
                    <a:pt x="101" y="215"/>
                    <a:pt x="101" y="215"/>
                    <a:pt x="101" y="215"/>
                  </a:cubicBezTo>
                  <a:cubicBezTo>
                    <a:pt x="101" y="215"/>
                    <a:pt x="101" y="215"/>
                    <a:pt x="101" y="215"/>
                  </a:cubicBezTo>
                  <a:cubicBezTo>
                    <a:pt x="101" y="215"/>
                    <a:pt x="101" y="215"/>
                    <a:pt x="101" y="215"/>
                  </a:cubicBezTo>
                  <a:cubicBezTo>
                    <a:pt x="102" y="215"/>
                    <a:pt x="102" y="215"/>
                    <a:pt x="103" y="216"/>
                  </a:cubicBezTo>
                  <a:cubicBezTo>
                    <a:pt x="104" y="216"/>
                    <a:pt x="105" y="217"/>
                    <a:pt x="107" y="218"/>
                  </a:cubicBezTo>
                  <a:cubicBezTo>
                    <a:pt x="108" y="218"/>
                    <a:pt x="109" y="218"/>
                    <a:pt x="109" y="218"/>
                  </a:cubicBezTo>
                  <a:cubicBezTo>
                    <a:pt x="111" y="218"/>
                    <a:pt x="111" y="217"/>
                    <a:pt x="112" y="215"/>
                  </a:cubicBezTo>
                  <a:cubicBezTo>
                    <a:pt x="113" y="216"/>
                    <a:pt x="114" y="220"/>
                    <a:pt x="116" y="220"/>
                  </a:cubicBezTo>
                  <a:cubicBezTo>
                    <a:pt x="116" y="220"/>
                    <a:pt x="116" y="220"/>
                    <a:pt x="117" y="219"/>
                  </a:cubicBezTo>
                  <a:cubicBezTo>
                    <a:pt x="116" y="219"/>
                    <a:pt x="116" y="219"/>
                    <a:pt x="116" y="219"/>
                  </a:cubicBezTo>
                  <a:cubicBezTo>
                    <a:pt x="117" y="219"/>
                    <a:pt x="119" y="219"/>
                    <a:pt x="121" y="219"/>
                  </a:cubicBezTo>
                  <a:cubicBezTo>
                    <a:pt x="125" y="219"/>
                    <a:pt x="129" y="219"/>
                    <a:pt x="130" y="217"/>
                  </a:cubicBezTo>
                  <a:cubicBezTo>
                    <a:pt x="132" y="215"/>
                    <a:pt x="128" y="211"/>
                    <a:pt x="127" y="208"/>
                  </a:cubicBezTo>
                  <a:cubicBezTo>
                    <a:pt x="128" y="209"/>
                    <a:pt x="130" y="212"/>
                    <a:pt x="132" y="213"/>
                  </a:cubicBezTo>
                  <a:cubicBezTo>
                    <a:pt x="132" y="213"/>
                    <a:pt x="132" y="213"/>
                    <a:pt x="132" y="213"/>
                  </a:cubicBezTo>
                  <a:cubicBezTo>
                    <a:pt x="133" y="212"/>
                    <a:pt x="133" y="212"/>
                    <a:pt x="133" y="212"/>
                  </a:cubicBezTo>
                  <a:cubicBezTo>
                    <a:pt x="133" y="212"/>
                    <a:pt x="133" y="212"/>
                    <a:pt x="133" y="212"/>
                  </a:cubicBezTo>
                  <a:cubicBezTo>
                    <a:pt x="133" y="212"/>
                    <a:pt x="134" y="211"/>
                    <a:pt x="134" y="211"/>
                  </a:cubicBezTo>
                  <a:cubicBezTo>
                    <a:pt x="134" y="209"/>
                    <a:pt x="135" y="208"/>
                    <a:pt x="136" y="206"/>
                  </a:cubicBezTo>
                  <a:cubicBezTo>
                    <a:pt x="137" y="205"/>
                    <a:pt x="137" y="204"/>
                    <a:pt x="138" y="203"/>
                  </a:cubicBezTo>
                  <a:cubicBezTo>
                    <a:pt x="138" y="201"/>
                    <a:pt x="138" y="201"/>
                    <a:pt x="138" y="201"/>
                  </a:cubicBezTo>
                  <a:cubicBezTo>
                    <a:pt x="139" y="200"/>
                    <a:pt x="139" y="199"/>
                    <a:pt x="139" y="199"/>
                  </a:cubicBezTo>
                  <a:cubicBezTo>
                    <a:pt x="139" y="198"/>
                    <a:pt x="139" y="196"/>
                    <a:pt x="139" y="195"/>
                  </a:cubicBezTo>
                  <a:cubicBezTo>
                    <a:pt x="139" y="192"/>
                    <a:pt x="139" y="189"/>
                    <a:pt x="140" y="186"/>
                  </a:cubicBezTo>
                  <a:cubicBezTo>
                    <a:pt x="141" y="185"/>
                    <a:pt x="142" y="185"/>
                    <a:pt x="143" y="184"/>
                  </a:cubicBezTo>
                  <a:cubicBezTo>
                    <a:pt x="143" y="184"/>
                    <a:pt x="144" y="184"/>
                    <a:pt x="144" y="184"/>
                  </a:cubicBezTo>
                  <a:cubicBezTo>
                    <a:pt x="145" y="183"/>
                    <a:pt x="146" y="183"/>
                    <a:pt x="146" y="182"/>
                  </a:cubicBezTo>
                  <a:cubicBezTo>
                    <a:pt x="154" y="174"/>
                    <a:pt x="154" y="174"/>
                    <a:pt x="154" y="174"/>
                  </a:cubicBezTo>
                  <a:cubicBezTo>
                    <a:pt x="155" y="172"/>
                    <a:pt x="157" y="171"/>
                    <a:pt x="158" y="170"/>
                  </a:cubicBezTo>
                  <a:cubicBezTo>
                    <a:pt x="159" y="170"/>
                    <a:pt x="159" y="170"/>
                    <a:pt x="159" y="170"/>
                  </a:cubicBezTo>
                  <a:cubicBezTo>
                    <a:pt x="160" y="169"/>
                    <a:pt x="160" y="169"/>
                    <a:pt x="161" y="169"/>
                  </a:cubicBezTo>
                  <a:cubicBezTo>
                    <a:pt x="161" y="169"/>
                    <a:pt x="161" y="169"/>
                    <a:pt x="161" y="169"/>
                  </a:cubicBezTo>
                  <a:cubicBezTo>
                    <a:pt x="161" y="168"/>
                    <a:pt x="161" y="167"/>
                    <a:pt x="162" y="167"/>
                  </a:cubicBezTo>
                  <a:cubicBezTo>
                    <a:pt x="162" y="166"/>
                    <a:pt x="162" y="166"/>
                    <a:pt x="162" y="166"/>
                  </a:cubicBezTo>
                  <a:cubicBezTo>
                    <a:pt x="163" y="166"/>
                    <a:pt x="163" y="165"/>
                    <a:pt x="164" y="164"/>
                  </a:cubicBezTo>
                  <a:cubicBezTo>
                    <a:pt x="167" y="161"/>
                    <a:pt x="170" y="158"/>
                    <a:pt x="173" y="158"/>
                  </a:cubicBezTo>
                  <a:cubicBezTo>
                    <a:pt x="173" y="158"/>
                    <a:pt x="173" y="157"/>
                    <a:pt x="174" y="157"/>
                  </a:cubicBezTo>
                  <a:cubicBezTo>
                    <a:pt x="176" y="157"/>
                    <a:pt x="178" y="159"/>
                    <a:pt x="179" y="160"/>
                  </a:cubicBezTo>
                  <a:cubicBezTo>
                    <a:pt x="180" y="160"/>
                    <a:pt x="180" y="160"/>
                    <a:pt x="180" y="160"/>
                  </a:cubicBezTo>
                  <a:cubicBezTo>
                    <a:pt x="180" y="159"/>
                    <a:pt x="180" y="159"/>
                    <a:pt x="180" y="159"/>
                  </a:cubicBezTo>
                  <a:cubicBezTo>
                    <a:pt x="180" y="159"/>
                    <a:pt x="180" y="158"/>
                    <a:pt x="180" y="158"/>
                  </a:cubicBezTo>
                  <a:cubicBezTo>
                    <a:pt x="182" y="153"/>
                    <a:pt x="182" y="153"/>
                    <a:pt x="182" y="153"/>
                  </a:cubicBezTo>
                  <a:cubicBezTo>
                    <a:pt x="185" y="155"/>
                    <a:pt x="185" y="155"/>
                    <a:pt x="185" y="155"/>
                  </a:cubicBezTo>
                  <a:cubicBezTo>
                    <a:pt x="189" y="157"/>
                    <a:pt x="192" y="160"/>
                    <a:pt x="194" y="163"/>
                  </a:cubicBezTo>
                  <a:cubicBezTo>
                    <a:pt x="199" y="171"/>
                    <a:pt x="199" y="171"/>
                    <a:pt x="199" y="171"/>
                  </a:cubicBezTo>
                  <a:cubicBezTo>
                    <a:pt x="199" y="170"/>
                    <a:pt x="200" y="170"/>
                    <a:pt x="200" y="170"/>
                  </a:cubicBezTo>
                  <a:cubicBezTo>
                    <a:pt x="200" y="170"/>
                    <a:pt x="200" y="170"/>
                    <a:pt x="200" y="170"/>
                  </a:cubicBezTo>
                  <a:cubicBezTo>
                    <a:pt x="201" y="170"/>
                    <a:pt x="201" y="170"/>
                    <a:pt x="202" y="170"/>
                  </a:cubicBezTo>
                  <a:cubicBezTo>
                    <a:pt x="202" y="169"/>
                    <a:pt x="204" y="166"/>
                    <a:pt x="205" y="165"/>
                  </a:cubicBezTo>
                  <a:cubicBezTo>
                    <a:pt x="206" y="162"/>
                    <a:pt x="208" y="159"/>
                    <a:pt x="210" y="157"/>
                  </a:cubicBezTo>
                  <a:cubicBezTo>
                    <a:pt x="209" y="156"/>
                    <a:pt x="209" y="155"/>
                    <a:pt x="209" y="153"/>
                  </a:cubicBezTo>
                  <a:cubicBezTo>
                    <a:pt x="210" y="151"/>
                    <a:pt x="210" y="151"/>
                    <a:pt x="210" y="151"/>
                  </a:cubicBezTo>
                  <a:cubicBezTo>
                    <a:pt x="211" y="148"/>
                    <a:pt x="212" y="147"/>
                    <a:pt x="213" y="145"/>
                  </a:cubicBezTo>
                  <a:cubicBezTo>
                    <a:pt x="219" y="133"/>
                    <a:pt x="219" y="133"/>
                    <a:pt x="219" y="133"/>
                  </a:cubicBezTo>
                  <a:cubicBezTo>
                    <a:pt x="219" y="133"/>
                    <a:pt x="219" y="132"/>
                    <a:pt x="219" y="131"/>
                  </a:cubicBezTo>
                  <a:cubicBezTo>
                    <a:pt x="219" y="130"/>
                    <a:pt x="219" y="129"/>
                    <a:pt x="220" y="127"/>
                  </a:cubicBezTo>
                  <a:cubicBezTo>
                    <a:pt x="220" y="126"/>
                    <a:pt x="220" y="126"/>
                    <a:pt x="220" y="126"/>
                  </a:cubicBezTo>
                  <a:cubicBezTo>
                    <a:pt x="220" y="126"/>
                    <a:pt x="220" y="126"/>
                    <a:pt x="220" y="126"/>
                  </a:cubicBezTo>
                  <a:cubicBezTo>
                    <a:pt x="222" y="123"/>
                    <a:pt x="225" y="122"/>
                    <a:pt x="227" y="120"/>
                  </a:cubicBezTo>
                  <a:cubicBezTo>
                    <a:pt x="229" y="119"/>
                    <a:pt x="231" y="119"/>
                    <a:pt x="232" y="118"/>
                  </a:cubicBezTo>
                  <a:cubicBezTo>
                    <a:pt x="232" y="117"/>
                    <a:pt x="232" y="117"/>
                    <a:pt x="233" y="116"/>
                  </a:cubicBezTo>
                  <a:cubicBezTo>
                    <a:pt x="233" y="115"/>
                    <a:pt x="234" y="113"/>
                    <a:pt x="234" y="111"/>
                  </a:cubicBezTo>
                  <a:cubicBezTo>
                    <a:pt x="234" y="109"/>
                    <a:pt x="235" y="107"/>
                    <a:pt x="235" y="105"/>
                  </a:cubicBezTo>
                  <a:cubicBezTo>
                    <a:pt x="235" y="104"/>
                    <a:pt x="237" y="102"/>
                    <a:pt x="238" y="100"/>
                  </a:cubicBezTo>
                  <a:cubicBezTo>
                    <a:pt x="239" y="100"/>
                    <a:pt x="239" y="100"/>
                    <a:pt x="240" y="99"/>
                  </a:cubicBezTo>
                  <a:cubicBezTo>
                    <a:pt x="240" y="99"/>
                    <a:pt x="240" y="99"/>
                    <a:pt x="241" y="98"/>
                  </a:cubicBezTo>
                  <a:cubicBezTo>
                    <a:pt x="242" y="98"/>
                    <a:pt x="242" y="98"/>
                    <a:pt x="243" y="98"/>
                  </a:cubicBezTo>
                  <a:cubicBezTo>
                    <a:pt x="243" y="97"/>
                    <a:pt x="243" y="96"/>
                    <a:pt x="243" y="95"/>
                  </a:cubicBezTo>
                  <a:cubicBezTo>
                    <a:pt x="243" y="94"/>
                    <a:pt x="243" y="94"/>
                    <a:pt x="243" y="94"/>
                  </a:cubicBezTo>
                  <a:cubicBezTo>
                    <a:pt x="243" y="94"/>
                    <a:pt x="243" y="93"/>
                    <a:pt x="243" y="92"/>
                  </a:cubicBezTo>
                  <a:cubicBezTo>
                    <a:pt x="243" y="92"/>
                    <a:pt x="243" y="92"/>
                    <a:pt x="243" y="92"/>
                  </a:cubicBezTo>
                  <a:cubicBezTo>
                    <a:pt x="243" y="91"/>
                    <a:pt x="243" y="91"/>
                    <a:pt x="243" y="91"/>
                  </a:cubicBezTo>
                  <a:cubicBezTo>
                    <a:pt x="244" y="89"/>
                    <a:pt x="245" y="87"/>
                    <a:pt x="246" y="86"/>
                  </a:cubicBezTo>
                  <a:cubicBezTo>
                    <a:pt x="247" y="85"/>
                    <a:pt x="247" y="85"/>
                    <a:pt x="247" y="84"/>
                  </a:cubicBezTo>
                  <a:cubicBezTo>
                    <a:pt x="248" y="83"/>
                    <a:pt x="248" y="82"/>
                    <a:pt x="249" y="80"/>
                  </a:cubicBezTo>
                  <a:cubicBezTo>
                    <a:pt x="249" y="79"/>
                    <a:pt x="249" y="79"/>
                    <a:pt x="249" y="79"/>
                  </a:cubicBezTo>
                  <a:cubicBezTo>
                    <a:pt x="249" y="78"/>
                    <a:pt x="250" y="76"/>
                    <a:pt x="250" y="75"/>
                  </a:cubicBezTo>
                  <a:cubicBezTo>
                    <a:pt x="251" y="73"/>
                    <a:pt x="251" y="73"/>
                    <a:pt x="251" y="73"/>
                  </a:cubicBezTo>
                  <a:cubicBezTo>
                    <a:pt x="251" y="71"/>
                    <a:pt x="252" y="70"/>
                    <a:pt x="253" y="68"/>
                  </a:cubicBezTo>
                  <a:cubicBezTo>
                    <a:pt x="254" y="68"/>
                    <a:pt x="254" y="67"/>
                    <a:pt x="255" y="67"/>
                  </a:cubicBezTo>
                  <a:cubicBezTo>
                    <a:pt x="250" y="64"/>
                    <a:pt x="250" y="64"/>
                    <a:pt x="250" y="64"/>
                  </a:cubicBezTo>
                  <a:cubicBezTo>
                    <a:pt x="256" y="66"/>
                    <a:pt x="256" y="66"/>
                    <a:pt x="256" y="66"/>
                  </a:cubicBezTo>
                  <a:cubicBezTo>
                    <a:pt x="256" y="66"/>
                    <a:pt x="256" y="66"/>
                    <a:pt x="256" y="66"/>
                  </a:cubicBezTo>
                  <a:cubicBezTo>
                    <a:pt x="256" y="65"/>
                    <a:pt x="256" y="65"/>
                    <a:pt x="256" y="65"/>
                  </a:cubicBezTo>
                  <a:cubicBezTo>
                    <a:pt x="257" y="64"/>
                    <a:pt x="257" y="64"/>
                    <a:pt x="257" y="64"/>
                  </a:cubicBezTo>
                  <a:cubicBezTo>
                    <a:pt x="257" y="63"/>
                    <a:pt x="257" y="62"/>
                    <a:pt x="258" y="61"/>
                  </a:cubicBezTo>
                  <a:cubicBezTo>
                    <a:pt x="259" y="60"/>
                    <a:pt x="259" y="59"/>
                    <a:pt x="260" y="58"/>
                  </a:cubicBezTo>
                  <a:cubicBezTo>
                    <a:pt x="261" y="58"/>
                    <a:pt x="261" y="58"/>
                    <a:pt x="261" y="58"/>
                  </a:cubicBezTo>
                  <a:cubicBezTo>
                    <a:pt x="262" y="57"/>
                    <a:pt x="262" y="57"/>
                    <a:pt x="262" y="57"/>
                  </a:cubicBezTo>
                  <a:cubicBezTo>
                    <a:pt x="263" y="57"/>
                    <a:pt x="263" y="56"/>
                    <a:pt x="264" y="56"/>
                  </a:cubicBezTo>
                  <a:cubicBezTo>
                    <a:pt x="264" y="56"/>
                    <a:pt x="265" y="56"/>
                    <a:pt x="265" y="56"/>
                  </a:cubicBezTo>
                  <a:cubicBezTo>
                    <a:pt x="266" y="56"/>
                    <a:pt x="267" y="56"/>
                    <a:pt x="267" y="57"/>
                  </a:cubicBezTo>
                  <a:cubicBezTo>
                    <a:pt x="268" y="56"/>
                    <a:pt x="268" y="56"/>
                    <a:pt x="268" y="56"/>
                  </a:cubicBezTo>
                  <a:cubicBezTo>
                    <a:pt x="270" y="55"/>
                    <a:pt x="270" y="55"/>
                    <a:pt x="270" y="55"/>
                  </a:cubicBezTo>
                  <a:cubicBezTo>
                    <a:pt x="271" y="55"/>
                    <a:pt x="272" y="54"/>
                    <a:pt x="273" y="54"/>
                  </a:cubicBezTo>
                  <a:cubicBezTo>
                    <a:pt x="273" y="53"/>
                    <a:pt x="273" y="53"/>
                    <a:pt x="273" y="53"/>
                  </a:cubicBezTo>
                  <a:cubicBezTo>
                    <a:pt x="274" y="53"/>
                    <a:pt x="275" y="52"/>
                    <a:pt x="275" y="52"/>
                  </a:cubicBezTo>
                  <a:cubicBezTo>
                    <a:pt x="276" y="51"/>
                    <a:pt x="276" y="51"/>
                    <a:pt x="276" y="50"/>
                  </a:cubicBezTo>
                  <a:cubicBezTo>
                    <a:pt x="275" y="48"/>
                    <a:pt x="276" y="47"/>
                    <a:pt x="276" y="45"/>
                  </a:cubicBezTo>
                  <a:cubicBezTo>
                    <a:pt x="276" y="43"/>
                    <a:pt x="276" y="43"/>
                    <a:pt x="276" y="43"/>
                  </a:cubicBezTo>
                  <a:cubicBezTo>
                    <a:pt x="276" y="43"/>
                    <a:pt x="276" y="43"/>
                    <a:pt x="276" y="42"/>
                  </a:cubicBezTo>
                  <a:cubicBezTo>
                    <a:pt x="276" y="41"/>
                    <a:pt x="276" y="40"/>
                    <a:pt x="275" y="39"/>
                  </a:cubicBezTo>
                  <a:cubicBezTo>
                    <a:pt x="275" y="39"/>
                    <a:pt x="275" y="39"/>
                    <a:pt x="275" y="39"/>
                  </a:cubicBezTo>
                  <a:cubicBezTo>
                    <a:pt x="275" y="38"/>
                    <a:pt x="274" y="37"/>
                    <a:pt x="273" y="37"/>
                  </a:cubicBezTo>
                  <a:cubicBezTo>
                    <a:pt x="273" y="37"/>
                    <a:pt x="273" y="37"/>
                    <a:pt x="272" y="36"/>
                  </a:cubicBezTo>
                  <a:cubicBezTo>
                    <a:pt x="271" y="36"/>
                    <a:pt x="271" y="36"/>
                    <a:pt x="271" y="36"/>
                  </a:cubicBezTo>
                  <a:cubicBezTo>
                    <a:pt x="268" y="35"/>
                    <a:pt x="266" y="34"/>
                    <a:pt x="265" y="31"/>
                  </a:cubicBezTo>
                  <a:cubicBezTo>
                    <a:pt x="265" y="30"/>
                    <a:pt x="265" y="30"/>
                    <a:pt x="265" y="29"/>
                  </a:cubicBezTo>
                  <a:cubicBezTo>
                    <a:pt x="263" y="17"/>
                    <a:pt x="263" y="17"/>
                    <a:pt x="263" y="17"/>
                  </a:cubicBezTo>
                  <a:cubicBezTo>
                    <a:pt x="257" y="9"/>
                    <a:pt x="257" y="9"/>
                    <a:pt x="257" y="9"/>
                  </a:cubicBezTo>
                  <a:cubicBezTo>
                    <a:pt x="257" y="9"/>
                    <a:pt x="256" y="8"/>
                    <a:pt x="256" y="7"/>
                  </a:cubicBezTo>
                  <a:cubicBezTo>
                    <a:pt x="255" y="6"/>
                    <a:pt x="255" y="6"/>
                    <a:pt x="254" y="5"/>
                  </a:cubicBezTo>
                  <a:cubicBezTo>
                    <a:pt x="254" y="4"/>
                    <a:pt x="254" y="4"/>
                    <a:pt x="254" y="4"/>
                  </a:cubicBezTo>
                  <a:cubicBezTo>
                    <a:pt x="253" y="4"/>
                    <a:pt x="253" y="4"/>
                    <a:pt x="253" y="4"/>
                  </a:cubicBezTo>
                  <a:cubicBezTo>
                    <a:pt x="253" y="4"/>
                    <a:pt x="253" y="4"/>
                    <a:pt x="253" y="4"/>
                  </a:cubicBezTo>
                  <a:cubicBezTo>
                    <a:pt x="252" y="4"/>
                    <a:pt x="252" y="4"/>
                    <a:pt x="252" y="4"/>
                  </a:cubicBezTo>
                  <a:cubicBezTo>
                    <a:pt x="252" y="4"/>
                    <a:pt x="251" y="4"/>
                    <a:pt x="250" y="4"/>
                  </a:cubicBezTo>
                  <a:cubicBezTo>
                    <a:pt x="250" y="4"/>
                    <a:pt x="250" y="4"/>
                    <a:pt x="250" y="4"/>
                  </a:cubicBezTo>
                  <a:cubicBezTo>
                    <a:pt x="249" y="4"/>
                    <a:pt x="249" y="4"/>
                    <a:pt x="248" y="4"/>
                  </a:cubicBezTo>
                  <a:cubicBezTo>
                    <a:pt x="247" y="4"/>
                    <a:pt x="246" y="5"/>
                    <a:pt x="245" y="6"/>
                  </a:cubicBezTo>
                  <a:cubicBezTo>
                    <a:pt x="244" y="6"/>
                    <a:pt x="244" y="6"/>
                    <a:pt x="244" y="6"/>
                  </a:cubicBezTo>
                  <a:cubicBezTo>
                    <a:pt x="243" y="6"/>
                    <a:pt x="243" y="6"/>
                    <a:pt x="243" y="6"/>
                  </a:cubicBezTo>
                  <a:cubicBezTo>
                    <a:pt x="242" y="7"/>
                    <a:pt x="241" y="7"/>
                    <a:pt x="241" y="8"/>
                  </a:cubicBezTo>
                  <a:cubicBezTo>
                    <a:pt x="240" y="8"/>
                    <a:pt x="240" y="8"/>
                    <a:pt x="240" y="8"/>
                  </a:cubicBezTo>
                  <a:cubicBezTo>
                    <a:pt x="239" y="8"/>
                    <a:pt x="239" y="8"/>
                    <a:pt x="239" y="8"/>
                  </a:cubicBezTo>
                  <a:cubicBezTo>
                    <a:pt x="238" y="9"/>
                    <a:pt x="237" y="10"/>
                    <a:pt x="237" y="10"/>
                  </a:cubicBezTo>
                  <a:cubicBezTo>
                    <a:pt x="228" y="18"/>
                    <a:pt x="228" y="18"/>
                    <a:pt x="228" y="18"/>
                  </a:cubicBezTo>
                  <a:cubicBezTo>
                    <a:pt x="227" y="19"/>
                    <a:pt x="227" y="19"/>
                    <a:pt x="226" y="19"/>
                  </a:cubicBezTo>
                  <a:cubicBezTo>
                    <a:pt x="226" y="19"/>
                    <a:pt x="226" y="19"/>
                    <a:pt x="226" y="19"/>
                  </a:cubicBezTo>
                  <a:cubicBezTo>
                    <a:pt x="225" y="19"/>
                    <a:pt x="225" y="19"/>
                    <a:pt x="225" y="19"/>
                  </a:cubicBezTo>
                  <a:cubicBezTo>
                    <a:pt x="207" y="13"/>
                    <a:pt x="207" y="13"/>
                    <a:pt x="207" y="13"/>
                  </a:cubicBezTo>
                  <a:cubicBezTo>
                    <a:pt x="206" y="13"/>
                    <a:pt x="204" y="12"/>
                    <a:pt x="203" y="12"/>
                  </a:cubicBezTo>
                  <a:cubicBezTo>
                    <a:pt x="202" y="12"/>
                    <a:pt x="202" y="12"/>
                    <a:pt x="202" y="12"/>
                  </a:cubicBezTo>
                  <a:cubicBezTo>
                    <a:pt x="201" y="12"/>
                    <a:pt x="199" y="12"/>
                    <a:pt x="197" y="12"/>
                  </a:cubicBezTo>
                  <a:cubicBezTo>
                    <a:pt x="195" y="12"/>
                    <a:pt x="195" y="12"/>
                    <a:pt x="195" y="12"/>
                  </a:cubicBezTo>
                  <a:cubicBezTo>
                    <a:pt x="194" y="12"/>
                    <a:pt x="192" y="12"/>
                    <a:pt x="191" y="12"/>
                  </a:cubicBezTo>
                  <a:cubicBezTo>
                    <a:pt x="189" y="12"/>
                    <a:pt x="189" y="12"/>
                    <a:pt x="189" y="12"/>
                  </a:cubicBezTo>
                  <a:cubicBezTo>
                    <a:pt x="188" y="12"/>
                    <a:pt x="186" y="12"/>
                    <a:pt x="185" y="12"/>
                  </a:cubicBezTo>
                  <a:cubicBezTo>
                    <a:pt x="183" y="12"/>
                    <a:pt x="181" y="12"/>
                    <a:pt x="179" y="13"/>
                  </a:cubicBezTo>
                  <a:cubicBezTo>
                    <a:pt x="175" y="14"/>
                    <a:pt x="173" y="15"/>
                    <a:pt x="171" y="16"/>
                  </a:cubicBezTo>
                  <a:cubicBezTo>
                    <a:pt x="170" y="17"/>
                    <a:pt x="169" y="18"/>
                    <a:pt x="168" y="20"/>
                  </a:cubicBezTo>
                  <a:cubicBezTo>
                    <a:pt x="165" y="23"/>
                    <a:pt x="165" y="23"/>
                    <a:pt x="165" y="23"/>
                  </a:cubicBezTo>
                  <a:cubicBezTo>
                    <a:pt x="164" y="24"/>
                    <a:pt x="163" y="24"/>
                    <a:pt x="163" y="24"/>
                  </a:cubicBezTo>
                  <a:cubicBezTo>
                    <a:pt x="162" y="25"/>
                    <a:pt x="162" y="25"/>
                    <a:pt x="162" y="25"/>
                  </a:cubicBezTo>
                  <a:cubicBezTo>
                    <a:pt x="162" y="25"/>
                    <a:pt x="161" y="25"/>
                    <a:pt x="161" y="25"/>
                  </a:cubicBezTo>
                  <a:cubicBezTo>
                    <a:pt x="160" y="25"/>
                    <a:pt x="159" y="25"/>
                    <a:pt x="159" y="25"/>
                  </a:cubicBezTo>
                  <a:cubicBezTo>
                    <a:pt x="159" y="25"/>
                    <a:pt x="159" y="25"/>
                    <a:pt x="159" y="25"/>
                  </a:cubicBezTo>
                  <a:cubicBezTo>
                    <a:pt x="158" y="25"/>
                    <a:pt x="157" y="25"/>
                    <a:pt x="156" y="25"/>
                  </a:cubicBezTo>
                  <a:cubicBezTo>
                    <a:pt x="156" y="25"/>
                    <a:pt x="155" y="25"/>
                    <a:pt x="155" y="25"/>
                  </a:cubicBezTo>
                  <a:cubicBezTo>
                    <a:pt x="154" y="25"/>
                    <a:pt x="154" y="25"/>
                    <a:pt x="154" y="25"/>
                  </a:cubicBezTo>
                  <a:cubicBezTo>
                    <a:pt x="153" y="25"/>
                    <a:pt x="153" y="25"/>
                    <a:pt x="153" y="25"/>
                  </a:cubicBezTo>
                  <a:cubicBezTo>
                    <a:pt x="152" y="25"/>
                    <a:pt x="152" y="25"/>
                    <a:pt x="152" y="25"/>
                  </a:cubicBezTo>
                  <a:cubicBezTo>
                    <a:pt x="147" y="25"/>
                    <a:pt x="142" y="23"/>
                    <a:pt x="138" y="21"/>
                  </a:cubicBezTo>
                  <a:cubicBezTo>
                    <a:pt x="133" y="18"/>
                    <a:pt x="133" y="18"/>
                    <a:pt x="133" y="18"/>
                  </a:cubicBezTo>
                  <a:cubicBezTo>
                    <a:pt x="132" y="18"/>
                    <a:pt x="131" y="17"/>
                    <a:pt x="130" y="17"/>
                  </a:cubicBezTo>
                  <a:cubicBezTo>
                    <a:pt x="129" y="16"/>
                    <a:pt x="129" y="16"/>
                    <a:pt x="129" y="16"/>
                  </a:cubicBezTo>
                  <a:cubicBezTo>
                    <a:pt x="127" y="15"/>
                    <a:pt x="126" y="14"/>
                    <a:pt x="124" y="13"/>
                  </a:cubicBezTo>
                  <a:cubicBezTo>
                    <a:pt x="123" y="13"/>
                    <a:pt x="123" y="13"/>
                    <a:pt x="123" y="13"/>
                  </a:cubicBezTo>
                  <a:cubicBezTo>
                    <a:pt x="122" y="16"/>
                    <a:pt x="122" y="16"/>
                    <a:pt x="122" y="16"/>
                  </a:cubicBezTo>
                  <a:cubicBezTo>
                    <a:pt x="122" y="13"/>
                    <a:pt x="122" y="13"/>
                    <a:pt x="122" y="13"/>
                  </a:cubicBezTo>
                  <a:cubicBezTo>
                    <a:pt x="121" y="13"/>
                    <a:pt x="121" y="13"/>
                    <a:pt x="121" y="13"/>
                  </a:cubicBezTo>
                  <a:cubicBezTo>
                    <a:pt x="121" y="13"/>
                    <a:pt x="121" y="13"/>
                    <a:pt x="120" y="13"/>
                  </a:cubicBezTo>
                  <a:cubicBezTo>
                    <a:pt x="120" y="13"/>
                    <a:pt x="119" y="13"/>
                    <a:pt x="119" y="13"/>
                  </a:cubicBezTo>
                  <a:cubicBezTo>
                    <a:pt x="116" y="13"/>
                    <a:pt x="113" y="15"/>
                    <a:pt x="110" y="16"/>
                  </a:cubicBezTo>
                  <a:cubicBezTo>
                    <a:pt x="109" y="17"/>
                    <a:pt x="108" y="17"/>
                    <a:pt x="107" y="18"/>
                  </a:cubicBezTo>
                  <a:cubicBezTo>
                    <a:pt x="107" y="18"/>
                    <a:pt x="106" y="18"/>
                    <a:pt x="106" y="19"/>
                  </a:cubicBezTo>
                  <a:cubicBezTo>
                    <a:pt x="105" y="19"/>
                    <a:pt x="105" y="19"/>
                    <a:pt x="105" y="19"/>
                  </a:cubicBezTo>
                  <a:cubicBezTo>
                    <a:pt x="104" y="20"/>
                    <a:pt x="103" y="20"/>
                    <a:pt x="103" y="20"/>
                  </a:cubicBezTo>
                  <a:cubicBezTo>
                    <a:pt x="102" y="20"/>
                    <a:pt x="101" y="21"/>
                    <a:pt x="100" y="21"/>
                  </a:cubicBezTo>
                  <a:cubicBezTo>
                    <a:pt x="99" y="21"/>
                    <a:pt x="97" y="20"/>
                    <a:pt x="96" y="19"/>
                  </a:cubicBezTo>
                  <a:cubicBezTo>
                    <a:pt x="87" y="9"/>
                    <a:pt x="87" y="9"/>
                    <a:pt x="87" y="9"/>
                  </a:cubicBezTo>
                  <a:cubicBezTo>
                    <a:pt x="86" y="8"/>
                    <a:pt x="85" y="7"/>
                    <a:pt x="83" y="6"/>
                  </a:cubicBezTo>
                  <a:cubicBezTo>
                    <a:pt x="82" y="5"/>
                    <a:pt x="82" y="5"/>
                    <a:pt x="82" y="5"/>
                  </a:cubicBezTo>
                  <a:cubicBezTo>
                    <a:pt x="80" y="4"/>
                    <a:pt x="78" y="3"/>
                    <a:pt x="75" y="3"/>
                  </a:cubicBezTo>
                  <a:cubicBezTo>
                    <a:pt x="74" y="3"/>
                    <a:pt x="73" y="3"/>
                    <a:pt x="72" y="2"/>
                  </a:cubicBezTo>
                  <a:cubicBezTo>
                    <a:pt x="71" y="2"/>
                    <a:pt x="70" y="2"/>
                    <a:pt x="69" y="1"/>
                  </a:cubicBezTo>
                  <a:cubicBezTo>
                    <a:pt x="69" y="1"/>
                    <a:pt x="69" y="1"/>
                    <a:pt x="69" y="1"/>
                  </a:cubicBezTo>
                  <a:cubicBezTo>
                    <a:pt x="68" y="1"/>
                    <a:pt x="66" y="0"/>
                    <a:pt x="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Freeform 232">
              <a:extLst>
                <a:ext uri="{FF2B5EF4-FFF2-40B4-BE49-F238E27FC236}">
                  <a16:creationId xmlns:a16="http://schemas.microsoft.com/office/drawing/2014/main" id="{7E953B23-4473-4C1D-A6AD-DEE6B59AF352}"/>
                </a:ext>
              </a:extLst>
            </p:cNvPr>
            <p:cNvSpPr>
              <a:spLocks noEditPoints="1"/>
            </p:cNvSpPr>
            <p:nvPr/>
          </p:nvSpPr>
          <p:spPr bwMode="auto">
            <a:xfrm>
              <a:off x="4145" y="2632"/>
              <a:ext cx="317" cy="336"/>
            </a:xfrm>
            <a:custGeom>
              <a:avLst/>
              <a:gdLst>
                <a:gd name="T0" fmla="*/ 31 w 134"/>
                <a:gd name="T1" fmla="*/ 113 h 142"/>
                <a:gd name="T2" fmla="*/ 34 w 134"/>
                <a:gd name="T3" fmla="*/ 112 h 142"/>
                <a:gd name="T4" fmla="*/ 25 w 134"/>
                <a:gd name="T5" fmla="*/ 110 h 142"/>
                <a:gd name="T6" fmla="*/ 67 w 134"/>
                <a:gd name="T7" fmla="*/ 0 h 142"/>
                <a:gd name="T8" fmla="*/ 65 w 134"/>
                <a:gd name="T9" fmla="*/ 1 h 142"/>
                <a:gd name="T10" fmla="*/ 65 w 134"/>
                <a:gd name="T11" fmla="*/ 14 h 142"/>
                <a:gd name="T12" fmla="*/ 53 w 134"/>
                <a:gd name="T13" fmla="*/ 31 h 142"/>
                <a:gd name="T14" fmla="*/ 26 w 134"/>
                <a:gd name="T15" fmla="*/ 30 h 142"/>
                <a:gd name="T16" fmla="*/ 22 w 134"/>
                <a:gd name="T17" fmla="*/ 29 h 142"/>
                <a:gd name="T18" fmla="*/ 21 w 134"/>
                <a:gd name="T19" fmla="*/ 40 h 142"/>
                <a:gd name="T20" fmla="*/ 20 w 134"/>
                <a:gd name="T21" fmla="*/ 38 h 142"/>
                <a:gd name="T22" fmla="*/ 18 w 134"/>
                <a:gd name="T23" fmla="*/ 43 h 142"/>
                <a:gd name="T24" fmla="*/ 28 w 134"/>
                <a:gd name="T25" fmla="*/ 47 h 142"/>
                <a:gd name="T26" fmla="*/ 22 w 134"/>
                <a:gd name="T27" fmla="*/ 48 h 142"/>
                <a:gd name="T28" fmla="*/ 18 w 134"/>
                <a:gd name="T29" fmla="*/ 48 h 142"/>
                <a:gd name="T30" fmla="*/ 15 w 134"/>
                <a:gd name="T31" fmla="*/ 49 h 142"/>
                <a:gd name="T32" fmla="*/ 4 w 134"/>
                <a:gd name="T33" fmla="*/ 70 h 142"/>
                <a:gd name="T34" fmla="*/ 12 w 134"/>
                <a:gd name="T35" fmla="*/ 84 h 142"/>
                <a:gd name="T36" fmla="*/ 18 w 134"/>
                <a:gd name="T37" fmla="*/ 89 h 142"/>
                <a:gd name="T38" fmla="*/ 13 w 134"/>
                <a:gd name="T39" fmla="*/ 88 h 142"/>
                <a:gd name="T40" fmla="*/ 16 w 134"/>
                <a:gd name="T41" fmla="*/ 96 h 142"/>
                <a:gd name="T42" fmla="*/ 55 w 134"/>
                <a:gd name="T43" fmla="*/ 142 h 142"/>
                <a:gd name="T44" fmla="*/ 63 w 134"/>
                <a:gd name="T45" fmla="*/ 133 h 142"/>
                <a:gd name="T46" fmla="*/ 72 w 134"/>
                <a:gd name="T47" fmla="*/ 134 h 142"/>
                <a:gd name="T48" fmla="*/ 73 w 134"/>
                <a:gd name="T49" fmla="*/ 131 h 142"/>
                <a:gd name="T50" fmla="*/ 69 w 134"/>
                <a:gd name="T51" fmla="*/ 123 h 142"/>
                <a:gd name="T52" fmla="*/ 64 w 134"/>
                <a:gd name="T53" fmla="*/ 117 h 142"/>
                <a:gd name="T54" fmla="*/ 65 w 134"/>
                <a:gd name="T55" fmla="*/ 111 h 142"/>
                <a:gd name="T56" fmla="*/ 68 w 134"/>
                <a:gd name="T57" fmla="*/ 104 h 142"/>
                <a:gd name="T58" fmla="*/ 77 w 134"/>
                <a:gd name="T59" fmla="*/ 104 h 142"/>
                <a:gd name="T60" fmla="*/ 81 w 134"/>
                <a:gd name="T61" fmla="*/ 104 h 142"/>
                <a:gd name="T62" fmla="*/ 85 w 134"/>
                <a:gd name="T63" fmla="*/ 98 h 142"/>
                <a:gd name="T64" fmla="*/ 90 w 134"/>
                <a:gd name="T65" fmla="*/ 93 h 142"/>
                <a:gd name="T66" fmla="*/ 101 w 134"/>
                <a:gd name="T67" fmla="*/ 100 h 142"/>
                <a:gd name="T68" fmla="*/ 108 w 134"/>
                <a:gd name="T69" fmla="*/ 104 h 142"/>
                <a:gd name="T70" fmla="*/ 121 w 134"/>
                <a:gd name="T71" fmla="*/ 99 h 142"/>
                <a:gd name="T72" fmla="*/ 129 w 134"/>
                <a:gd name="T73" fmla="*/ 99 h 142"/>
                <a:gd name="T74" fmla="*/ 133 w 134"/>
                <a:gd name="T75" fmla="*/ 85 h 142"/>
                <a:gd name="T76" fmla="*/ 133 w 134"/>
                <a:gd name="T77" fmla="*/ 81 h 142"/>
                <a:gd name="T78" fmla="*/ 132 w 134"/>
                <a:gd name="T79" fmla="*/ 73 h 142"/>
                <a:gd name="T80" fmla="*/ 134 w 134"/>
                <a:gd name="T81" fmla="*/ 67 h 142"/>
                <a:gd name="T82" fmla="*/ 119 w 134"/>
                <a:gd name="T83" fmla="*/ 56 h 142"/>
                <a:gd name="T84" fmla="*/ 126 w 134"/>
                <a:gd name="T85" fmla="*/ 38 h 142"/>
                <a:gd name="T86" fmla="*/ 132 w 134"/>
                <a:gd name="T87" fmla="*/ 31 h 142"/>
                <a:gd name="T88" fmla="*/ 126 w 134"/>
                <a:gd name="T89" fmla="*/ 22 h 142"/>
                <a:gd name="T90" fmla="*/ 111 w 134"/>
                <a:gd name="T91" fmla="*/ 24 h 142"/>
                <a:gd name="T92" fmla="*/ 103 w 134"/>
                <a:gd name="T93" fmla="*/ 6 h 142"/>
                <a:gd name="T94" fmla="*/ 104 w 134"/>
                <a:gd name="T95" fmla="*/ 1 h 142"/>
                <a:gd name="T96" fmla="*/ 79 w 134"/>
                <a:gd name="T97" fmla="*/ 0 h 142"/>
                <a:gd name="T98" fmla="*/ 73 w 134"/>
                <a:gd name="T99" fmla="*/ 0 h 142"/>
                <a:gd name="T100" fmla="*/ 68 w 134"/>
                <a:gd name="T10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142">
                  <a:moveTo>
                    <a:pt x="31" y="113"/>
                  </a:moveTo>
                  <a:cubicBezTo>
                    <a:pt x="31" y="113"/>
                    <a:pt x="30" y="113"/>
                    <a:pt x="30" y="113"/>
                  </a:cubicBezTo>
                  <a:cubicBezTo>
                    <a:pt x="30" y="113"/>
                    <a:pt x="31" y="113"/>
                    <a:pt x="31" y="113"/>
                  </a:cubicBezTo>
                  <a:moveTo>
                    <a:pt x="31" y="113"/>
                  </a:moveTo>
                  <a:cubicBezTo>
                    <a:pt x="32" y="113"/>
                    <a:pt x="33" y="113"/>
                    <a:pt x="33" y="112"/>
                  </a:cubicBezTo>
                  <a:cubicBezTo>
                    <a:pt x="34" y="112"/>
                    <a:pt x="34" y="112"/>
                    <a:pt x="34" y="112"/>
                  </a:cubicBezTo>
                  <a:cubicBezTo>
                    <a:pt x="34" y="112"/>
                    <a:pt x="34" y="112"/>
                    <a:pt x="34" y="112"/>
                  </a:cubicBezTo>
                  <a:cubicBezTo>
                    <a:pt x="34" y="112"/>
                    <a:pt x="34" y="112"/>
                    <a:pt x="34" y="112"/>
                  </a:cubicBezTo>
                  <a:cubicBezTo>
                    <a:pt x="33" y="112"/>
                    <a:pt x="33" y="112"/>
                    <a:pt x="33" y="112"/>
                  </a:cubicBezTo>
                  <a:cubicBezTo>
                    <a:pt x="33" y="113"/>
                    <a:pt x="32" y="113"/>
                    <a:pt x="31" y="113"/>
                  </a:cubicBezTo>
                  <a:cubicBezTo>
                    <a:pt x="31" y="113"/>
                    <a:pt x="31" y="113"/>
                    <a:pt x="31" y="113"/>
                  </a:cubicBezTo>
                  <a:moveTo>
                    <a:pt x="25" y="110"/>
                  </a:moveTo>
                  <a:cubicBezTo>
                    <a:pt x="26" y="109"/>
                    <a:pt x="26" y="109"/>
                    <a:pt x="26" y="109"/>
                  </a:cubicBezTo>
                  <a:cubicBezTo>
                    <a:pt x="26" y="109"/>
                    <a:pt x="26" y="109"/>
                    <a:pt x="26" y="109"/>
                  </a:cubicBezTo>
                  <a:cubicBezTo>
                    <a:pt x="25" y="110"/>
                    <a:pt x="25" y="110"/>
                    <a:pt x="25" y="110"/>
                  </a:cubicBezTo>
                  <a:moveTo>
                    <a:pt x="67" y="0"/>
                  </a:moveTo>
                  <a:cubicBezTo>
                    <a:pt x="67" y="0"/>
                    <a:pt x="67" y="0"/>
                    <a:pt x="67" y="0"/>
                  </a:cubicBezTo>
                  <a:cubicBezTo>
                    <a:pt x="65" y="0"/>
                    <a:pt x="65" y="0"/>
                    <a:pt x="65" y="0"/>
                  </a:cubicBezTo>
                  <a:cubicBezTo>
                    <a:pt x="65" y="1"/>
                    <a:pt x="65" y="1"/>
                    <a:pt x="65" y="1"/>
                  </a:cubicBezTo>
                  <a:cubicBezTo>
                    <a:pt x="65" y="1"/>
                    <a:pt x="65" y="1"/>
                    <a:pt x="65" y="1"/>
                  </a:cubicBezTo>
                  <a:cubicBezTo>
                    <a:pt x="65" y="2"/>
                    <a:pt x="65" y="2"/>
                    <a:pt x="65" y="3"/>
                  </a:cubicBezTo>
                  <a:cubicBezTo>
                    <a:pt x="65" y="7"/>
                    <a:pt x="65" y="7"/>
                    <a:pt x="65" y="7"/>
                  </a:cubicBezTo>
                  <a:cubicBezTo>
                    <a:pt x="65" y="8"/>
                    <a:pt x="65" y="10"/>
                    <a:pt x="65" y="11"/>
                  </a:cubicBezTo>
                  <a:cubicBezTo>
                    <a:pt x="65" y="14"/>
                    <a:pt x="65" y="14"/>
                    <a:pt x="65" y="14"/>
                  </a:cubicBezTo>
                  <a:cubicBezTo>
                    <a:pt x="66" y="24"/>
                    <a:pt x="66" y="28"/>
                    <a:pt x="64" y="30"/>
                  </a:cubicBezTo>
                  <a:cubicBezTo>
                    <a:pt x="63" y="31"/>
                    <a:pt x="62" y="31"/>
                    <a:pt x="60" y="31"/>
                  </a:cubicBezTo>
                  <a:cubicBezTo>
                    <a:pt x="58" y="31"/>
                    <a:pt x="57" y="31"/>
                    <a:pt x="55" y="31"/>
                  </a:cubicBezTo>
                  <a:cubicBezTo>
                    <a:pt x="54" y="31"/>
                    <a:pt x="53" y="31"/>
                    <a:pt x="53" y="31"/>
                  </a:cubicBezTo>
                  <a:cubicBezTo>
                    <a:pt x="38" y="31"/>
                    <a:pt x="38" y="31"/>
                    <a:pt x="38" y="31"/>
                  </a:cubicBezTo>
                  <a:cubicBezTo>
                    <a:pt x="37" y="31"/>
                    <a:pt x="36" y="31"/>
                    <a:pt x="35" y="31"/>
                  </a:cubicBezTo>
                  <a:cubicBezTo>
                    <a:pt x="34" y="31"/>
                    <a:pt x="33" y="31"/>
                    <a:pt x="31" y="31"/>
                  </a:cubicBezTo>
                  <a:cubicBezTo>
                    <a:pt x="30" y="31"/>
                    <a:pt x="28" y="31"/>
                    <a:pt x="26" y="30"/>
                  </a:cubicBezTo>
                  <a:cubicBezTo>
                    <a:pt x="26" y="30"/>
                    <a:pt x="26" y="30"/>
                    <a:pt x="26" y="30"/>
                  </a:cubicBezTo>
                  <a:cubicBezTo>
                    <a:pt x="23" y="30"/>
                    <a:pt x="23" y="30"/>
                    <a:pt x="23" y="30"/>
                  </a:cubicBezTo>
                  <a:cubicBezTo>
                    <a:pt x="23" y="29"/>
                    <a:pt x="23" y="29"/>
                    <a:pt x="23" y="29"/>
                  </a:cubicBezTo>
                  <a:cubicBezTo>
                    <a:pt x="22" y="29"/>
                    <a:pt x="22" y="29"/>
                    <a:pt x="22" y="29"/>
                  </a:cubicBezTo>
                  <a:cubicBezTo>
                    <a:pt x="22" y="28"/>
                    <a:pt x="22" y="28"/>
                    <a:pt x="22" y="28"/>
                  </a:cubicBezTo>
                  <a:cubicBezTo>
                    <a:pt x="21" y="28"/>
                    <a:pt x="20" y="29"/>
                    <a:pt x="20" y="29"/>
                  </a:cubicBezTo>
                  <a:cubicBezTo>
                    <a:pt x="20" y="29"/>
                    <a:pt x="21" y="31"/>
                    <a:pt x="21" y="32"/>
                  </a:cubicBezTo>
                  <a:cubicBezTo>
                    <a:pt x="22" y="34"/>
                    <a:pt x="22" y="37"/>
                    <a:pt x="21" y="40"/>
                  </a:cubicBezTo>
                  <a:cubicBezTo>
                    <a:pt x="21" y="40"/>
                    <a:pt x="21" y="39"/>
                    <a:pt x="21" y="38"/>
                  </a:cubicBezTo>
                  <a:cubicBezTo>
                    <a:pt x="21" y="38"/>
                    <a:pt x="21" y="38"/>
                    <a:pt x="21" y="38"/>
                  </a:cubicBezTo>
                  <a:cubicBezTo>
                    <a:pt x="20" y="38"/>
                    <a:pt x="20" y="38"/>
                    <a:pt x="20" y="38"/>
                  </a:cubicBezTo>
                  <a:cubicBezTo>
                    <a:pt x="20" y="38"/>
                    <a:pt x="20" y="38"/>
                    <a:pt x="20" y="38"/>
                  </a:cubicBezTo>
                  <a:cubicBezTo>
                    <a:pt x="20" y="38"/>
                    <a:pt x="20" y="38"/>
                    <a:pt x="20" y="37"/>
                  </a:cubicBezTo>
                  <a:cubicBezTo>
                    <a:pt x="18" y="37"/>
                    <a:pt x="16" y="38"/>
                    <a:pt x="14" y="39"/>
                  </a:cubicBezTo>
                  <a:cubicBezTo>
                    <a:pt x="15" y="39"/>
                    <a:pt x="15" y="39"/>
                    <a:pt x="15" y="39"/>
                  </a:cubicBezTo>
                  <a:cubicBezTo>
                    <a:pt x="17" y="39"/>
                    <a:pt x="17" y="41"/>
                    <a:pt x="18" y="43"/>
                  </a:cubicBezTo>
                  <a:cubicBezTo>
                    <a:pt x="19" y="45"/>
                    <a:pt x="19" y="44"/>
                    <a:pt x="21" y="45"/>
                  </a:cubicBezTo>
                  <a:cubicBezTo>
                    <a:pt x="22" y="45"/>
                    <a:pt x="23" y="46"/>
                    <a:pt x="24" y="47"/>
                  </a:cubicBezTo>
                  <a:cubicBezTo>
                    <a:pt x="25" y="47"/>
                    <a:pt x="26" y="47"/>
                    <a:pt x="26" y="47"/>
                  </a:cubicBezTo>
                  <a:cubicBezTo>
                    <a:pt x="27" y="47"/>
                    <a:pt x="27" y="47"/>
                    <a:pt x="28" y="47"/>
                  </a:cubicBezTo>
                  <a:cubicBezTo>
                    <a:pt x="28" y="47"/>
                    <a:pt x="29" y="47"/>
                    <a:pt x="29" y="47"/>
                  </a:cubicBezTo>
                  <a:cubicBezTo>
                    <a:pt x="30" y="47"/>
                    <a:pt x="30" y="47"/>
                    <a:pt x="31" y="47"/>
                  </a:cubicBezTo>
                  <a:cubicBezTo>
                    <a:pt x="27" y="48"/>
                    <a:pt x="28" y="48"/>
                    <a:pt x="26" y="51"/>
                  </a:cubicBezTo>
                  <a:cubicBezTo>
                    <a:pt x="24" y="49"/>
                    <a:pt x="23" y="48"/>
                    <a:pt x="22" y="48"/>
                  </a:cubicBezTo>
                  <a:cubicBezTo>
                    <a:pt x="21" y="48"/>
                    <a:pt x="21" y="48"/>
                    <a:pt x="21" y="48"/>
                  </a:cubicBezTo>
                  <a:cubicBezTo>
                    <a:pt x="20" y="48"/>
                    <a:pt x="20" y="48"/>
                    <a:pt x="20" y="48"/>
                  </a:cubicBezTo>
                  <a:cubicBezTo>
                    <a:pt x="19" y="49"/>
                    <a:pt x="19" y="49"/>
                    <a:pt x="19" y="49"/>
                  </a:cubicBezTo>
                  <a:cubicBezTo>
                    <a:pt x="18" y="48"/>
                    <a:pt x="18" y="48"/>
                    <a:pt x="18" y="48"/>
                  </a:cubicBezTo>
                  <a:cubicBezTo>
                    <a:pt x="17" y="48"/>
                    <a:pt x="17" y="47"/>
                    <a:pt x="17" y="47"/>
                  </a:cubicBezTo>
                  <a:cubicBezTo>
                    <a:pt x="16" y="47"/>
                    <a:pt x="16" y="47"/>
                    <a:pt x="16" y="47"/>
                  </a:cubicBezTo>
                  <a:cubicBezTo>
                    <a:pt x="16" y="46"/>
                    <a:pt x="15" y="45"/>
                    <a:pt x="14" y="44"/>
                  </a:cubicBezTo>
                  <a:cubicBezTo>
                    <a:pt x="14" y="46"/>
                    <a:pt x="15" y="48"/>
                    <a:pt x="15" y="49"/>
                  </a:cubicBezTo>
                  <a:cubicBezTo>
                    <a:pt x="15" y="58"/>
                    <a:pt x="11" y="65"/>
                    <a:pt x="7" y="72"/>
                  </a:cubicBezTo>
                  <a:cubicBezTo>
                    <a:pt x="7" y="70"/>
                    <a:pt x="7" y="70"/>
                    <a:pt x="6" y="70"/>
                  </a:cubicBezTo>
                  <a:cubicBezTo>
                    <a:pt x="6" y="70"/>
                    <a:pt x="6" y="70"/>
                    <a:pt x="5" y="70"/>
                  </a:cubicBezTo>
                  <a:cubicBezTo>
                    <a:pt x="5" y="70"/>
                    <a:pt x="4" y="70"/>
                    <a:pt x="4" y="70"/>
                  </a:cubicBezTo>
                  <a:cubicBezTo>
                    <a:pt x="4" y="70"/>
                    <a:pt x="3" y="70"/>
                    <a:pt x="3" y="70"/>
                  </a:cubicBezTo>
                  <a:cubicBezTo>
                    <a:pt x="2" y="70"/>
                    <a:pt x="1" y="66"/>
                    <a:pt x="0" y="65"/>
                  </a:cubicBezTo>
                  <a:cubicBezTo>
                    <a:pt x="3" y="71"/>
                    <a:pt x="5" y="79"/>
                    <a:pt x="9" y="83"/>
                  </a:cubicBezTo>
                  <a:cubicBezTo>
                    <a:pt x="11" y="84"/>
                    <a:pt x="11" y="84"/>
                    <a:pt x="12" y="84"/>
                  </a:cubicBezTo>
                  <a:cubicBezTo>
                    <a:pt x="13" y="84"/>
                    <a:pt x="13" y="83"/>
                    <a:pt x="15" y="82"/>
                  </a:cubicBezTo>
                  <a:cubicBezTo>
                    <a:pt x="16" y="84"/>
                    <a:pt x="13" y="87"/>
                    <a:pt x="14" y="89"/>
                  </a:cubicBezTo>
                  <a:cubicBezTo>
                    <a:pt x="14" y="89"/>
                    <a:pt x="19" y="89"/>
                    <a:pt x="20" y="89"/>
                  </a:cubicBezTo>
                  <a:cubicBezTo>
                    <a:pt x="19" y="89"/>
                    <a:pt x="19" y="89"/>
                    <a:pt x="18" y="89"/>
                  </a:cubicBezTo>
                  <a:cubicBezTo>
                    <a:pt x="18" y="89"/>
                    <a:pt x="17" y="89"/>
                    <a:pt x="17" y="90"/>
                  </a:cubicBezTo>
                  <a:cubicBezTo>
                    <a:pt x="16" y="90"/>
                    <a:pt x="16" y="90"/>
                    <a:pt x="16" y="90"/>
                  </a:cubicBezTo>
                  <a:cubicBezTo>
                    <a:pt x="15" y="90"/>
                    <a:pt x="15" y="90"/>
                    <a:pt x="14" y="90"/>
                  </a:cubicBezTo>
                  <a:cubicBezTo>
                    <a:pt x="14" y="89"/>
                    <a:pt x="13" y="88"/>
                    <a:pt x="13" y="88"/>
                  </a:cubicBezTo>
                  <a:cubicBezTo>
                    <a:pt x="12" y="90"/>
                    <a:pt x="13" y="94"/>
                    <a:pt x="14" y="95"/>
                  </a:cubicBezTo>
                  <a:cubicBezTo>
                    <a:pt x="14" y="96"/>
                    <a:pt x="14" y="96"/>
                    <a:pt x="15" y="96"/>
                  </a:cubicBezTo>
                  <a:cubicBezTo>
                    <a:pt x="15" y="96"/>
                    <a:pt x="15" y="96"/>
                    <a:pt x="15" y="96"/>
                  </a:cubicBezTo>
                  <a:cubicBezTo>
                    <a:pt x="15" y="96"/>
                    <a:pt x="16" y="96"/>
                    <a:pt x="16" y="96"/>
                  </a:cubicBezTo>
                  <a:cubicBezTo>
                    <a:pt x="16" y="96"/>
                    <a:pt x="16" y="96"/>
                    <a:pt x="16" y="96"/>
                  </a:cubicBezTo>
                  <a:cubicBezTo>
                    <a:pt x="23" y="98"/>
                    <a:pt x="18" y="105"/>
                    <a:pt x="22" y="108"/>
                  </a:cubicBezTo>
                  <a:cubicBezTo>
                    <a:pt x="22" y="107"/>
                    <a:pt x="22" y="107"/>
                    <a:pt x="22" y="107"/>
                  </a:cubicBezTo>
                  <a:cubicBezTo>
                    <a:pt x="32" y="119"/>
                    <a:pt x="44" y="130"/>
                    <a:pt x="55" y="142"/>
                  </a:cubicBezTo>
                  <a:cubicBezTo>
                    <a:pt x="56" y="140"/>
                    <a:pt x="57" y="138"/>
                    <a:pt x="57" y="137"/>
                  </a:cubicBezTo>
                  <a:cubicBezTo>
                    <a:pt x="58" y="136"/>
                    <a:pt x="59" y="135"/>
                    <a:pt x="61" y="134"/>
                  </a:cubicBezTo>
                  <a:cubicBezTo>
                    <a:pt x="62" y="133"/>
                    <a:pt x="62" y="133"/>
                    <a:pt x="62" y="133"/>
                  </a:cubicBezTo>
                  <a:cubicBezTo>
                    <a:pt x="62" y="133"/>
                    <a:pt x="63" y="133"/>
                    <a:pt x="63" y="133"/>
                  </a:cubicBezTo>
                  <a:cubicBezTo>
                    <a:pt x="64" y="132"/>
                    <a:pt x="64" y="131"/>
                    <a:pt x="65" y="131"/>
                  </a:cubicBezTo>
                  <a:cubicBezTo>
                    <a:pt x="65" y="131"/>
                    <a:pt x="66" y="131"/>
                    <a:pt x="66" y="131"/>
                  </a:cubicBezTo>
                  <a:cubicBezTo>
                    <a:pt x="67" y="131"/>
                    <a:pt x="69" y="132"/>
                    <a:pt x="71" y="134"/>
                  </a:cubicBezTo>
                  <a:cubicBezTo>
                    <a:pt x="72" y="134"/>
                    <a:pt x="72" y="134"/>
                    <a:pt x="72" y="134"/>
                  </a:cubicBezTo>
                  <a:cubicBezTo>
                    <a:pt x="72" y="134"/>
                    <a:pt x="72" y="134"/>
                    <a:pt x="72" y="134"/>
                  </a:cubicBezTo>
                  <a:cubicBezTo>
                    <a:pt x="72" y="134"/>
                    <a:pt x="72" y="134"/>
                    <a:pt x="72" y="134"/>
                  </a:cubicBezTo>
                  <a:cubicBezTo>
                    <a:pt x="72" y="134"/>
                    <a:pt x="72" y="133"/>
                    <a:pt x="72" y="132"/>
                  </a:cubicBezTo>
                  <a:cubicBezTo>
                    <a:pt x="72" y="132"/>
                    <a:pt x="73" y="131"/>
                    <a:pt x="73" y="131"/>
                  </a:cubicBezTo>
                  <a:cubicBezTo>
                    <a:pt x="73" y="131"/>
                    <a:pt x="73" y="131"/>
                    <a:pt x="73" y="131"/>
                  </a:cubicBezTo>
                  <a:cubicBezTo>
                    <a:pt x="72" y="130"/>
                    <a:pt x="70" y="130"/>
                    <a:pt x="69" y="129"/>
                  </a:cubicBezTo>
                  <a:cubicBezTo>
                    <a:pt x="69" y="128"/>
                    <a:pt x="68" y="127"/>
                    <a:pt x="68" y="126"/>
                  </a:cubicBezTo>
                  <a:cubicBezTo>
                    <a:pt x="68" y="125"/>
                    <a:pt x="68" y="124"/>
                    <a:pt x="69" y="123"/>
                  </a:cubicBezTo>
                  <a:cubicBezTo>
                    <a:pt x="66" y="121"/>
                    <a:pt x="66" y="121"/>
                    <a:pt x="66" y="121"/>
                  </a:cubicBezTo>
                  <a:cubicBezTo>
                    <a:pt x="65" y="120"/>
                    <a:pt x="65" y="120"/>
                    <a:pt x="65" y="120"/>
                  </a:cubicBezTo>
                  <a:cubicBezTo>
                    <a:pt x="65" y="119"/>
                    <a:pt x="65" y="118"/>
                    <a:pt x="64" y="118"/>
                  </a:cubicBezTo>
                  <a:cubicBezTo>
                    <a:pt x="64" y="117"/>
                    <a:pt x="64" y="117"/>
                    <a:pt x="64" y="117"/>
                  </a:cubicBezTo>
                  <a:cubicBezTo>
                    <a:pt x="64" y="116"/>
                    <a:pt x="65" y="115"/>
                    <a:pt x="65" y="114"/>
                  </a:cubicBezTo>
                  <a:cubicBezTo>
                    <a:pt x="66" y="113"/>
                    <a:pt x="66" y="113"/>
                    <a:pt x="66" y="113"/>
                  </a:cubicBezTo>
                  <a:cubicBezTo>
                    <a:pt x="66" y="112"/>
                    <a:pt x="66" y="112"/>
                    <a:pt x="66" y="112"/>
                  </a:cubicBezTo>
                  <a:cubicBezTo>
                    <a:pt x="65" y="112"/>
                    <a:pt x="65" y="111"/>
                    <a:pt x="65" y="111"/>
                  </a:cubicBezTo>
                  <a:cubicBezTo>
                    <a:pt x="65" y="110"/>
                    <a:pt x="65" y="110"/>
                    <a:pt x="65" y="110"/>
                  </a:cubicBezTo>
                  <a:cubicBezTo>
                    <a:pt x="65" y="109"/>
                    <a:pt x="65" y="108"/>
                    <a:pt x="65" y="108"/>
                  </a:cubicBezTo>
                  <a:cubicBezTo>
                    <a:pt x="62" y="103"/>
                    <a:pt x="62" y="103"/>
                    <a:pt x="62" y="103"/>
                  </a:cubicBezTo>
                  <a:cubicBezTo>
                    <a:pt x="68" y="104"/>
                    <a:pt x="68" y="104"/>
                    <a:pt x="68" y="104"/>
                  </a:cubicBezTo>
                  <a:cubicBezTo>
                    <a:pt x="69" y="104"/>
                    <a:pt x="70" y="104"/>
                    <a:pt x="71" y="105"/>
                  </a:cubicBezTo>
                  <a:cubicBezTo>
                    <a:pt x="72" y="105"/>
                    <a:pt x="72" y="105"/>
                    <a:pt x="72" y="105"/>
                  </a:cubicBezTo>
                  <a:cubicBezTo>
                    <a:pt x="72" y="105"/>
                    <a:pt x="73" y="105"/>
                    <a:pt x="74" y="104"/>
                  </a:cubicBezTo>
                  <a:cubicBezTo>
                    <a:pt x="74" y="104"/>
                    <a:pt x="76" y="104"/>
                    <a:pt x="77" y="104"/>
                  </a:cubicBezTo>
                  <a:cubicBezTo>
                    <a:pt x="77" y="104"/>
                    <a:pt x="77" y="104"/>
                    <a:pt x="77" y="104"/>
                  </a:cubicBezTo>
                  <a:cubicBezTo>
                    <a:pt x="79" y="104"/>
                    <a:pt x="79" y="104"/>
                    <a:pt x="79" y="104"/>
                  </a:cubicBezTo>
                  <a:cubicBezTo>
                    <a:pt x="79" y="105"/>
                    <a:pt x="79" y="105"/>
                    <a:pt x="79" y="105"/>
                  </a:cubicBezTo>
                  <a:cubicBezTo>
                    <a:pt x="80" y="104"/>
                    <a:pt x="81" y="104"/>
                    <a:pt x="81" y="104"/>
                  </a:cubicBezTo>
                  <a:cubicBezTo>
                    <a:pt x="82" y="104"/>
                    <a:pt x="82" y="104"/>
                    <a:pt x="82" y="104"/>
                  </a:cubicBezTo>
                  <a:cubicBezTo>
                    <a:pt x="83" y="103"/>
                    <a:pt x="83" y="103"/>
                    <a:pt x="84" y="103"/>
                  </a:cubicBezTo>
                  <a:cubicBezTo>
                    <a:pt x="84" y="102"/>
                    <a:pt x="84" y="101"/>
                    <a:pt x="85" y="98"/>
                  </a:cubicBezTo>
                  <a:cubicBezTo>
                    <a:pt x="85" y="98"/>
                    <a:pt x="85" y="98"/>
                    <a:pt x="85" y="98"/>
                  </a:cubicBezTo>
                  <a:cubicBezTo>
                    <a:pt x="85" y="97"/>
                    <a:pt x="85" y="97"/>
                    <a:pt x="85" y="96"/>
                  </a:cubicBezTo>
                  <a:cubicBezTo>
                    <a:pt x="85" y="96"/>
                    <a:pt x="85" y="96"/>
                    <a:pt x="85" y="96"/>
                  </a:cubicBezTo>
                  <a:cubicBezTo>
                    <a:pt x="86" y="95"/>
                    <a:pt x="86" y="93"/>
                    <a:pt x="89" y="93"/>
                  </a:cubicBezTo>
                  <a:cubicBezTo>
                    <a:pt x="90" y="93"/>
                    <a:pt x="90" y="93"/>
                    <a:pt x="90" y="93"/>
                  </a:cubicBezTo>
                  <a:cubicBezTo>
                    <a:pt x="91" y="93"/>
                    <a:pt x="91" y="93"/>
                    <a:pt x="92" y="93"/>
                  </a:cubicBezTo>
                  <a:cubicBezTo>
                    <a:pt x="92" y="93"/>
                    <a:pt x="93" y="93"/>
                    <a:pt x="94" y="93"/>
                  </a:cubicBezTo>
                  <a:cubicBezTo>
                    <a:pt x="94" y="93"/>
                    <a:pt x="95" y="93"/>
                    <a:pt x="95" y="93"/>
                  </a:cubicBezTo>
                  <a:cubicBezTo>
                    <a:pt x="98" y="93"/>
                    <a:pt x="100" y="97"/>
                    <a:pt x="101" y="100"/>
                  </a:cubicBezTo>
                  <a:cubicBezTo>
                    <a:pt x="102" y="103"/>
                    <a:pt x="102" y="104"/>
                    <a:pt x="103" y="104"/>
                  </a:cubicBezTo>
                  <a:cubicBezTo>
                    <a:pt x="103" y="104"/>
                    <a:pt x="103" y="104"/>
                    <a:pt x="104" y="104"/>
                  </a:cubicBezTo>
                  <a:cubicBezTo>
                    <a:pt x="105" y="104"/>
                    <a:pt x="105" y="104"/>
                    <a:pt x="106" y="104"/>
                  </a:cubicBezTo>
                  <a:cubicBezTo>
                    <a:pt x="107" y="104"/>
                    <a:pt x="108" y="104"/>
                    <a:pt x="108" y="104"/>
                  </a:cubicBezTo>
                  <a:cubicBezTo>
                    <a:pt x="111" y="104"/>
                    <a:pt x="113" y="104"/>
                    <a:pt x="114" y="104"/>
                  </a:cubicBezTo>
                  <a:cubicBezTo>
                    <a:pt x="114" y="103"/>
                    <a:pt x="116" y="102"/>
                    <a:pt x="116" y="100"/>
                  </a:cubicBezTo>
                  <a:cubicBezTo>
                    <a:pt x="118" y="95"/>
                    <a:pt x="118" y="95"/>
                    <a:pt x="118" y="95"/>
                  </a:cubicBezTo>
                  <a:cubicBezTo>
                    <a:pt x="121" y="99"/>
                    <a:pt x="121" y="99"/>
                    <a:pt x="121" y="99"/>
                  </a:cubicBezTo>
                  <a:cubicBezTo>
                    <a:pt x="123" y="102"/>
                    <a:pt x="124" y="104"/>
                    <a:pt x="125" y="107"/>
                  </a:cubicBezTo>
                  <a:cubicBezTo>
                    <a:pt x="125" y="107"/>
                    <a:pt x="125" y="107"/>
                    <a:pt x="125" y="107"/>
                  </a:cubicBezTo>
                  <a:cubicBezTo>
                    <a:pt x="125" y="107"/>
                    <a:pt x="125" y="107"/>
                    <a:pt x="125" y="107"/>
                  </a:cubicBezTo>
                  <a:cubicBezTo>
                    <a:pt x="129" y="99"/>
                    <a:pt x="129" y="99"/>
                    <a:pt x="129" y="99"/>
                  </a:cubicBezTo>
                  <a:cubicBezTo>
                    <a:pt x="130" y="97"/>
                    <a:pt x="131" y="94"/>
                    <a:pt x="132" y="91"/>
                  </a:cubicBezTo>
                  <a:cubicBezTo>
                    <a:pt x="132" y="91"/>
                    <a:pt x="132" y="90"/>
                    <a:pt x="132" y="89"/>
                  </a:cubicBezTo>
                  <a:cubicBezTo>
                    <a:pt x="133" y="88"/>
                    <a:pt x="133" y="88"/>
                    <a:pt x="133" y="88"/>
                  </a:cubicBezTo>
                  <a:cubicBezTo>
                    <a:pt x="133" y="87"/>
                    <a:pt x="133" y="86"/>
                    <a:pt x="133" y="85"/>
                  </a:cubicBezTo>
                  <a:cubicBezTo>
                    <a:pt x="133" y="84"/>
                    <a:pt x="133" y="84"/>
                    <a:pt x="133" y="84"/>
                  </a:cubicBezTo>
                  <a:cubicBezTo>
                    <a:pt x="133" y="84"/>
                    <a:pt x="133" y="83"/>
                    <a:pt x="133" y="82"/>
                  </a:cubicBezTo>
                  <a:cubicBezTo>
                    <a:pt x="133" y="81"/>
                    <a:pt x="133" y="81"/>
                    <a:pt x="133" y="81"/>
                  </a:cubicBezTo>
                  <a:cubicBezTo>
                    <a:pt x="133" y="81"/>
                    <a:pt x="133" y="81"/>
                    <a:pt x="133" y="81"/>
                  </a:cubicBezTo>
                  <a:cubicBezTo>
                    <a:pt x="133" y="80"/>
                    <a:pt x="133" y="80"/>
                    <a:pt x="133" y="79"/>
                  </a:cubicBezTo>
                  <a:cubicBezTo>
                    <a:pt x="133" y="79"/>
                    <a:pt x="133" y="79"/>
                    <a:pt x="133" y="79"/>
                  </a:cubicBezTo>
                  <a:cubicBezTo>
                    <a:pt x="132" y="77"/>
                    <a:pt x="132" y="76"/>
                    <a:pt x="132" y="74"/>
                  </a:cubicBezTo>
                  <a:cubicBezTo>
                    <a:pt x="132" y="73"/>
                    <a:pt x="132" y="73"/>
                    <a:pt x="132" y="73"/>
                  </a:cubicBezTo>
                  <a:cubicBezTo>
                    <a:pt x="132" y="72"/>
                    <a:pt x="133" y="71"/>
                    <a:pt x="133" y="71"/>
                  </a:cubicBezTo>
                  <a:cubicBezTo>
                    <a:pt x="133" y="71"/>
                    <a:pt x="133" y="71"/>
                    <a:pt x="133" y="70"/>
                  </a:cubicBezTo>
                  <a:cubicBezTo>
                    <a:pt x="133" y="70"/>
                    <a:pt x="133" y="70"/>
                    <a:pt x="133" y="70"/>
                  </a:cubicBezTo>
                  <a:cubicBezTo>
                    <a:pt x="134" y="68"/>
                    <a:pt x="134" y="67"/>
                    <a:pt x="134" y="67"/>
                  </a:cubicBezTo>
                  <a:cubicBezTo>
                    <a:pt x="134" y="66"/>
                    <a:pt x="129" y="64"/>
                    <a:pt x="128" y="64"/>
                  </a:cubicBezTo>
                  <a:cubicBezTo>
                    <a:pt x="125" y="63"/>
                    <a:pt x="122" y="61"/>
                    <a:pt x="120" y="59"/>
                  </a:cubicBezTo>
                  <a:cubicBezTo>
                    <a:pt x="120" y="59"/>
                    <a:pt x="119" y="58"/>
                    <a:pt x="119" y="57"/>
                  </a:cubicBezTo>
                  <a:cubicBezTo>
                    <a:pt x="119" y="57"/>
                    <a:pt x="119" y="57"/>
                    <a:pt x="119" y="56"/>
                  </a:cubicBezTo>
                  <a:cubicBezTo>
                    <a:pt x="119" y="56"/>
                    <a:pt x="119" y="56"/>
                    <a:pt x="119" y="56"/>
                  </a:cubicBezTo>
                  <a:cubicBezTo>
                    <a:pt x="119" y="53"/>
                    <a:pt x="121" y="50"/>
                    <a:pt x="122" y="47"/>
                  </a:cubicBezTo>
                  <a:cubicBezTo>
                    <a:pt x="122" y="45"/>
                    <a:pt x="122" y="45"/>
                    <a:pt x="122" y="45"/>
                  </a:cubicBezTo>
                  <a:cubicBezTo>
                    <a:pt x="123" y="43"/>
                    <a:pt x="124" y="40"/>
                    <a:pt x="126" y="38"/>
                  </a:cubicBezTo>
                  <a:cubicBezTo>
                    <a:pt x="126" y="38"/>
                    <a:pt x="127" y="37"/>
                    <a:pt x="127" y="37"/>
                  </a:cubicBezTo>
                  <a:cubicBezTo>
                    <a:pt x="129" y="36"/>
                    <a:pt x="129" y="36"/>
                    <a:pt x="129" y="36"/>
                  </a:cubicBezTo>
                  <a:cubicBezTo>
                    <a:pt x="130" y="35"/>
                    <a:pt x="131" y="34"/>
                    <a:pt x="132" y="32"/>
                  </a:cubicBezTo>
                  <a:cubicBezTo>
                    <a:pt x="132" y="31"/>
                    <a:pt x="132" y="31"/>
                    <a:pt x="132" y="31"/>
                  </a:cubicBezTo>
                  <a:cubicBezTo>
                    <a:pt x="132" y="31"/>
                    <a:pt x="132" y="30"/>
                    <a:pt x="132" y="30"/>
                  </a:cubicBezTo>
                  <a:cubicBezTo>
                    <a:pt x="128" y="22"/>
                    <a:pt x="128" y="22"/>
                    <a:pt x="128" y="22"/>
                  </a:cubicBezTo>
                  <a:cubicBezTo>
                    <a:pt x="128" y="22"/>
                    <a:pt x="128" y="22"/>
                    <a:pt x="128" y="22"/>
                  </a:cubicBezTo>
                  <a:cubicBezTo>
                    <a:pt x="127" y="22"/>
                    <a:pt x="127" y="22"/>
                    <a:pt x="126" y="22"/>
                  </a:cubicBezTo>
                  <a:cubicBezTo>
                    <a:pt x="125" y="22"/>
                    <a:pt x="125" y="22"/>
                    <a:pt x="125" y="22"/>
                  </a:cubicBezTo>
                  <a:cubicBezTo>
                    <a:pt x="124" y="21"/>
                    <a:pt x="123" y="21"/>
                    <a:pt x="122" y="21"/>
                  </a:cubicBezTo>
                  <a:cubicBezTo>
                    <a:pt x="121" y="21"/>
                    <a:pt x="120" y="21"/>
                    <a:pt x="119" y="22"/>
                  </a:cubicBezTo>
                  <a:cubicBezTo>
                    <a:pt x="116" y="22"/>
                    <a:pt x="114" y="23"/>
                    <a:pt x="111" y="24"/>
                  </a:cubicBezTo>
                  <a:cubicBezTo>
                    <a:pt x="103" y="27"/>
                    <a:pt x="103" y="27"/>
                    <a:pt x="103" y="27"/>
                  </a:cubicBezTo>
                  <a:cubicBezTo>
                    <a:pt x="103" y="23"/>
                    <a:pt x="103" y="23"/>
                    <a:pt x="103" y="23"/>
                  </a:cubicBezTo>
                  <a:cubicBezTo>
                    <a:pt x="103" y="21"/>
                    <a:pt x="102" y="20"/>
                    <a:pt x="102" y="18"/>
                  </a:cubicBezTo>
                  <a:cubicBezTo>
                    <a:pt x="102" y="14"/>
                    <a:pt x="102" y="10"/>
                    <a:pt x="103" y="6"/>
                  </a:cubicBezTo>
                  <a:cubicBezTo>
                    <a:pt x="103" y="5"/>
                    <a:pt x="103" y="5"/>
                    <a:pt x="103" y="5"/>
                  </a:cubicBezTo>
                  <a:cubicBezTo>
                    <a:pt x="104" y="4"/>
                    <a:pt x="104" y="3"/>
                    <a:pt x="104" y="3"/>
                  </a:cubicBezTo>
                  <a:cubicBezTo>
                    <a:pt x="104" y="3"/>
                    <a:pt x="104" y="3"/>
                    <a:pt x="104" y="3"/>
                  </a:cubicBezTo>
                  <a:cubicBezTo>
                    <a:pt x="104" y="1"/>
                    <a:pt x="104" y="1"/>
                    <a:pt x="104" y="1"/>
                  </a:cubicBezTo>
                  <a:cubicBezTo>
                    <a:pt x="104" y="1"/>
                    <a:pt x="104" y="1"/>
                    <a:pt x="104" y="1"/>
                  </a:cubicBezTo>
                  <a:cubicBezTo>
                    <a:pt x="104" y="1"/>
                    <a:pt x="103" y="1"/>
                    <a:pt x="103" y="1"/>
                  </a:cubicBezTo>
                  <a:cubicBezTo>
                    <a:pt x="98" y="1"/>
                    <a:pt x="94" y="1"/>
                    <a:pt x="89" y="1"/>
                  </a:cubicBezTo>
                  <a:cubicBezTo>
                    <a:pt x="86" y="1"/>
                    <a:pt x="82" y="1"/>
                    <a:pt x="79" y="0"/>
                  </a:cubicBezTo>
                  <a:cubicBezTo>
                    <a:pt x="77" y="0"/>
                    <a:pt x="77" y="0"/>
                    <a:pt x="77" y="0"/>
                  </a:cubicBezTo>
                  <a:cubicBezTo>
                    <a:pt x="76" y="0"/>
                    <a:pt x="76" y="0"/>
                    <a:pt x="76" y="0"/>
                  </a:cubicBezTo>
                  <a:cubicBezTo>
                    <a:pt x="76" y="0"/>
                    <a:pt x="76" y="0"/>
                    <a:pt x="76" y="0"/>
                  </a:cubicBezTo>
                  <a:cubicBezTo>
                    <a:pt x="75" y="0"/>
                    <a:pt x="74" y="0"/>
                    <a:pt x="73" y="0"/>
                  </a:cubicBezTo>
                  <a:cubicBezTo>
                    <a:pt x="72" y="0"/>
                    <a:pt x="72" y="0"/>
                    <a:pt x="72" y="0"/>
                  </a:cubicBezTo>
                  <a:cubicBezTo>
                    <a:pt x="71" y="0"/>
                    <a:pt x="69" y="0"/>
                    <a:pt x="68" y="0"/>
                  </a:cubicBezTo>
                  <a:cubicBezTo>
                    <a:pt x="68" y="0"/>
                    <a:pt x="68" y="0"/>
                    <a:pt x="68" y="0"/>
                  </a:cubicBezTo>
                  <a:cubicBezTo>
                    <a:pt x="68" y="0"/>
                    <a:pt x="68" y="0"/>
                    <a:pt x="68"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 name="Freeform 233">
              <a:extLst>
                <a:ext uri="{FF2B5EF4-FFF2-40B4-BE49-F238E27FC236}">
                  <a16:creationId xmlns:a16="http://schemas.microsoft.com/office/drawing/2014/main" id="{F0FA5A1F-C9C0-4EA2-9D8E-D7CF942428F9}"/>
                </a:ext>
              </a:extLst>
            </p:cNvPr>
            <p:cNvSpPr>
              <a:spLocks/>
            </p:cNvSpPr>
            <p:nvPr/>
          </p:nvSpPr>
          <p:spPr bwMode="auto">
            <a:xfrm>
              <a:off x="4181" y="2632"/>
              <a:ext cx="106" cy="64"/>
            </a:xfrm>
            <a:custGeom>
              <a:avLst/>
              <a:gdLst>
                <a:gd name="T0" fmla="*/ 11 w 45"/>
                <a:gd name="T1" fmla="*/ 0 h 27"/>
                <a:gd name="T2" fmla="*/ 8 w 45"/>
                <a:gd name="T3" fmla="*/ 10 h 27"/>
                <a:gd name="T4" fmla="*/ 8 w 45"/>
                <a:gd name="T5" fmla="*/ 10 h 27"/>
                <a:gd name="T6" fmla="*/ 18 w 45"/>
                <a:gd name="T7" fmla="*/ 14 h 27"/>
                <a:gd name="T8" fmla="*/ 17 w 45"/>
                <a:gd name="T9" fmla="*/ 16 h 27"/>
                <a:gd name="T10" fmla="*/ 7 w 45"/>
                <a:gd name="T11" fmla="*/ 12 h 27"/>
                <a:gd name="T12" fmla="*/ 8 w 45"/>
                <a:gd name="T13" fmla="*/ 14 h 27"/>
                <a:gd name="T14" fmla="*/ 9 w 45"/>
                <a:gd name="T15" fmla="*/ 14 h 27"/>
                <a:gd name="T16" fmla="*/ 7 w 45"/>
                <a:gd name="T17" fmla="*/ 15 h 27"/>
                <a:gd name="T18" fmla="*/ 3 w 45"/>
                <a:gd name="T19" fmla="*/ 20 h 27"/>
                <a:gd name="T20" fmla="*/ 2 w 45"/>
                <a:gd name="T21" fmla="*/ 25 h 27"/>
                <a:gd name="T22" fmla="*/ 3 w 45"/>
                <a:gd name="T23" fmla="*/ 25 h 27"/>
                <a:gd name="T24" fmla="*/ 3 w 45"/>
                <a:gd name="T25" fmla="*/ 25 h 27"/>
                <a:gd name="T26" fmla="*/ 4 w 45"/>
                <a:gd name="T27" fmla="*/ 25 h 27"/>
                <a:gd name="T28" fmla="*/ 4 w 45"/>
                <a:gd name="T29" fmla="*/ 25 h 27"/>
                <a:gd name="T30" fmla="*/ 5 w 45"/>
                <a:gd name="T31" fmla="*/ 27 h 27"/>
                <a:gd name="T32" fmla="*/ 6 w 45"/>
                <a:gd name="T33" fmla="*/ 27 h 27"/>
                <a:gd name="T34" fmla="*/ 7 w 45"/>
                <a:gd name="T35" fmla="*/ 26 h 27"/>
                <a:gd name="T36" fmla="*/ 7 w 45"/>
                <a:gd name="T37" fmla="*/ 25 h 27"/>
                <a:gd name="T38" fmla="*/ 10 w 45"/>
                <a:gd name="T39" fmla="*/ 25 h 27"/>
                <a:gd name="T40" fmla="*/ 11 w 45"/>
                <a:gd name="T41" fmla="*/ 25 h 27"/>
                <a:gd name="T42" fmla="*/ 12 w 45"/>
                <a:gd name="T43" fmla="*/ 25 h 27"/>
                <a:gd name="T44" fmla="*/ 13 w 45"/>
                <a:gd name="T45" fmla="*/ 25 h 27"/>
                <a:gd name="T46" fmla="*/ 16 w 45"/>
                <a:gd name="T47" fmla="*/ 25 h 27"/>
                <a:gd name="T48" fmla="*/ 19 w 45"/>
                <a:gd name="T49" fmla="*/ 25 h 27"/>
                <a:gd name="T50" fmla="*/ 20 w 45"/>
                <a:gd name="T51" fmla="*/ 25 h 27"/>
                <a:gd name="T52" fmla="*/ 23 w 45"/>
                <a:gd name="T53" fmla="*/ 25 h 27"/>
                <a:gd name="T54" fmla="*/ 38 w 45"/>
                <a:gd name="T55" fmla="*/ 25 h 27"/>
                <a:gd name="T56" fmla="*/ 39 w 45"/>
                <a:gd name="T57" fmla="*/ 25 h 27"/>
                <a:gd name="T58" fmla="*/ 40 w 45"/>
                <a:gd name="T59" fmla="*/ 25 h 27"/>
                <a:gd name="T60" fmla="*/ 45 w 45"/>
                <a:gd name="T61" fmla="*/ 25 h 27"/>
                <a:gd name="T62" fmla="*/ 45 w 45"/>
                <a:gd name="T63" fmla="*/ 25 h 27"/>
                <a:gd name="T64" fmla="*/ 45 w 45"/>
                <a:gd name="T65" fmla="*/ 15 h 27"/>
                <a:gd name="T66" fmla="*/ 45 w 45"/>
                <a:gd name="T67" fmla="*/ 15 h 27"/>
                <a:gd name="T68" fmla="*/ 44 w 45"/>
                <a:gd name="T69" fmla="*/ 11 h 27"/>
                <a:gd name="T70" fmla="*/ 44 w 45"/>
                <a:gd name="T71" fmla="*/ 7 h 27"/>
                <a:gd name="T72" fmla="*/ 44 w 45"/>
                <a:gd name="T73" fmla="*/ 4 h 27"/>
                <a:gd name="T74" fmla="*/ 39 w 45"/>
                <a:gd name="T75" fmla="*/ 4 h 27"/>
                <a:gd name="T76" fmla="*/ 37 w 45"/>
                <a:gd name="T77" fmla="*/ 3 h 27"/>
                <a:gd name="T78" fmla="*/ 25 w 45"/>
                <a:gd name="T79" fmla="*/ 3 h 27"/>
                <a:gd name="T80" fmla="*/ 11 w 45"/>
                <a:gd name="T8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 h="27">
                  <a:moveTo>
                    <a:pt x="11" y="0"/>
                  </a:moveTo>
                  <a:cubicBezTo>
                    <a:pt x="11" y="4"/>
                    <a:pt x="11" y="6"/>
                    <a:pt x="8" y="10"/>
                  </a:cubicBezTo>
                  <a:cubicBezTo>
                    <a:pt x="8" y="10"/>
                    <a:pt x="8" y="10"/>
                    <a:pt x="8" y="10"/>
                  </a:cubicBezTo>
                  <a:cubicBezTo>
                    <a:pt x="18" y="14"/>
                    <a:pt x="18" y="14"/>
                    <a:pt x="18" y="14"/>
                  </a:cubicBezTo>
                  <a:cubicBezTo>
                    <a:pt x="17" y="16"/>
                    <a:pt x="17" y="16"/>
                    <a:pt x="17" y="16"/>
                  </a:cubicBezTo>
                  <a:cubicBezTo>
                    <a:pt x="7" y="12"/>
                    <a:pt x="7" y="12"/>
                    <a:pt x="7" y="12"/>
                  </a:cubicBezTo>
                  <a:cubicBezTo>
                    <a:pt x="7" y="13"/>
                    <a:pt x="7" y="14"/>
                    <a:pt x="8" y="14"/>
                  </a:cubicBezTo>
                  <a:cubicBezTo>
                    <a:pt x="8" y="14"/>
                    <a:pt x="9" y="14"/>
                    <a:pt x="9" y="14"/>
                  </a:cubicBezTo>
                  <a:cubicBezTo>
                    <a:pt x="9" y="14"/>
                    <a:pt x="7" y="14"/>
                    <a:pt x="7" y="15"/>
                  </a:cubicBezTo>
                  <a:cubicBezTo>
                    <a:pt x="6" y="16"/>
                    <a:pt x="4" y="18"/>
                    <a:pt x="3" y="20"/>
                  </a:cubicBezTo>
                  <a:cubicBezTo>
                    <a:pt x="0" y="24"/>
                    <a:pt x="0" y="24"/>
                    <a:pt x="2" y="25"/>
                  </a:cubicBezTo>
                  <a:cubicBezTo>
                    <a:pt x="3" y="25"/>
                    <a:pt x="3" y="25"/>
                    <a:pt x="3" y="25"/>
                  </a:cubicBezTo>
                  <a:cubicBezTo>
                    <a:pt x="3" y="25"/>
                    <a:pt x="3" y="25"/>
                    <a:pt x="3" y="25"/>
                  </a:cubicBezTo>
                  <a:cubicBezTo>
                    <a:pt x="4" y="25"/>
                    <a:pt x="4" y="25"/>
                    <a:pt x="4" y="25"/>
                  </a:cubicBezTo>
                  <a:cubicBezTo>
                    <a:pt x="4" y="25"/>
                    <a:pt x="4" y="25"/>
                    <a:pt x="4" y="25"/>
                  </a:cubicBezTo>
                  <a:cubicBezTo>
                    <a:pt x="5" y="25"/>
                    <a:pt x="5" y="27"/>
                    <a:pt x="5" y="27"/>
                  </a:cubicBezTo>
                  <a:cubicBezTo>
                    <a:pt x="6" y="27"/>
                    <a:pt x="6" y="27"/>
                    <a:pt x="6" y="27"/>
                  </a:cubicBezTo>
                  <a:cubicBezTo>
                    <a:pt x="6" y="27"/>
                    <a:pt x="6" y="27"/>
                    <a:pt x="7" y="26"/>
                  </a:cubicBezTo>
                  <a:cubicBezTo>
                    <a:pt x="7" y="25"/>
                    <a:pt x="7" y="25"/>
                    <a:pt x="7" y="25"/>
                  </a:cubicBezTo>
                  <a:cubicBezTo>
                    <a:pt x="10" y="25"/>
                    <a:pt x="10" y="25"/>
                    <a:pt x="10" y="25"/>
                  </a:cubicBezTo>
                  <a:cubicBezTo>
                    <a:pt x="11" y="25"/>
                    <a:pt x="11" y="25"/>
                    <a:pt x="11" y="25"/>
                  </a:cubicBezTo>
                  <a:cubicBezTo>
                    <a:pt x="11" y="25"/>
                    <a:pt x="12" y="25"/>
                    <a:pt x="12" y="25"/>
                  </a:cubicBezTo>
                  <a:cubicBezTo>
                    <a:pt x="13" y="25"/>
                    <a:pt x="13" y="25"/>
                    <a:pt x="13" y="25"/>
                  </a:cubicBezTo>
                  <a:cubicBezTo>
                    <a:pt x="14" y="25"/>
                    <a:pt x="15" y="25"/>
                    <a:pt x="16" y="25"/>
                  </a:cubicBezTo>
                  <a:cubicBezTo>
                    <a:pt x="17" y="25"/>
                    <a:pt x="18" y="25"/>
                    <a:pt x="19" y="25"/>
                  </a:cubicBezTo>
                  <a:cubicBezTo>
                    <a:pt x="20" y="25"/>
                    <a:pt x="20" y="25"/>
                    <a:pt x="20" y="25"/>
                  </a:cubicBezTo>
                  <a:cubicBezTo>
                    <a:pt x="21" y="25"/>
                    <a:pt x="22" y="25"/>
                    <a:pt x="23" y="25"/>
                  </a:cubicBezTo>
                  <a:cubicBezTo>
                    <a:pt x="38" y="25"/>
                    <a:pt x="38" y="25"/>
                    <a:pt x="38" y="25"/>
                  </a:cubicBezTo>
                  <a:cubicBezTo>
                    <a:pt x="38" y="25"/>
                    <a:pt x="39" y="25"/>
                    <a:pt x="39" y="25"/>
                  </a:cubicBezTo>
                  <a:cubicBezTo>
                    <a:pt x="40" y="25"/>
                    <a:pt x="40" y="25"/>
                    <a:pt x="40" y="25"/>
                  </a:cubicBezTo>
                  <a:cubicBezTo>
                    <a:pt x="42" y="25"/>
                    <a:pt x="44" y="25"/>
                    <a:pt x="45" y="25"/>
                  </a:cubicBezTo>
                  <a:cubicBezTo>
                    <a:pt x="45" y="25"/>
                    <a:pt x="45" y="25"/>
                    <a:pt x="45" y="25"/>
                  </a:cubicBezTo>
                  <a:cubicBezTo>
                    <a:pt x="45" y="24"/>
                    <a:pt x="45" y="22"/>
                    <a:pt x="45" y="15"/>
                  </a:cubicBezTo>
                  <a:cubicBezTo>
                    <a:pt x="45" y="15"/>
                    <a:pt x="45" y="15"/>
                    <a:pt x="45" y="15"/>
                  </a:cubicBezTo>
                  <a:cubicBezTo>
                    <a:pt x="44" y="11"/>
                    <a:pt x="44" y="11"/>
                    <a:pt x="44" y="11"/>
                  </a:cubicBezTo>
                  <a:cubicBezTo>
                    <a:pt x="44" y="10"/>
                    <a:pt x="44" y="8"/>
                    <a:pt x="44" y="7"/>
                  </a:cubicBezTo>
                  <a:cubicBezTo>
                    <a:pt x="44" y="4"/>
                    <a:pt x="44" y="4"/>
                    <a:pt x="44" y="4"/>
                  </a:cubicBezTo>
                  <a:cubicBezTo>
                    <a:pt x="43" y="4"/>
                    <a:pt x="41" y="4"/>
                    <a:pt x="39" y="4"/>
                  </a:cubicBezTo>
                  <a:cubicBezTo>
                    <a:pt x="39" y="3"/>
                    <a:pt x="38" y="3"/>
                    <a:pt x="37" y="3"/>
                  </a:cubicBezTo>
                  <a:cubicBezTo>
                    <a:pt x="25" y="3"/>
                    <a:pt x="25" y="3"/>
                    <a:pt x="25" y="3"/>
                  </a:cubicBezTo>
                  <a:cubicBezTo>
                    <a:pt x="18" y="3"/>
                    <a:pt x="14"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 name="Freeform 234">
              <a:extLst>
                <a:ext uri="{FF2B5EF4-FFF2-40B4-BE49-F238E27FC236}">
                  <a16:creationId xmlns:a16="http://schemas.microsoft.com/office/drawing/2014/main" id="{C135953B-C33C-489A-AE74-2D9AD401E7E1}"/>
                </a:ext>
              </a:extLst>
            </p:cNvPr>
            <p:cNvSpPr>
              <a:spLocks/>
            </p:cNvSpPr>
            <p:nvPr/>
          </p:nvSpPr>
          <p:spPr bwMode="auto">
            <a:xfrm>
              <a:off x="4332" y="3008"/>
              <a:ext cx="45" cy="61"/>
            </a:xfrm>
            <a:custGeom>
              <a:avLst/>
              <a:gdLst>
                <a:gd name="T0" fmla="*/ 17 w 19"/>
                <a:gd name="T1" fmla="*/ 0 h 26"/>
                <a:gd name="T2" fmla="*/ 12 w 19"/>
                <a:gd name="T3" fmla="*/ 4 h 26"/>
                <a:gd name="T4" fmla="*/ 11 w 19"/>
                <a:gd name="T5" fmla="*/ 5 h 26"/>
                <a:gd name="T6" fmla="*/ 7 w 19"/>
                <a:gd name="T7" fmla="*/ 8 h 26"/>
                <a:gd name="T8" fmla="*/ 6 w 19"/>
                <a:gd name="T9" fmla="*/ 9 h 26"/>
                <a:gd name="T10" fmla="*/ 3 w 19"/>
                <a:gd name="T11" fmla="*/ 11 h 26"/>
                <a:gd name="T12" fmla="*/ 1 w 19"/>
                <a:gd name="T13" fmla="*/ 13 h 26"/>
                <a:gd name="T14" fmla="*/ 0 w 19"/>
                <a:gd name="T15" fmla="*/ 13 h 26"/>
                <a:gd name="T16" fmla="*/ 2 w 19"/>
                <a:gd name="T17" fmla="*/ 17 h 26"/>
                <a:gd name="T18" fmla="*/ 3 w 19"/>
                <a:gd name="T19" fmla="*/ 17 h 26"/>
                <a:gd name="T20" fmla="*/ 3 w 19"/>
                <a:gd name="T21" fmla="*/ 26 h 26"/>
                <a:gd name="T22" fmla="*/ 4 w 19"/>
                <a:gd name="T23" fmla="*/ 26 h 26"/>
                <a:gd name="T24" fmla="*/ 8 w 19"/>
                <a:gd name="T25" fmla="*/ 25 h 26"/>
                <a:gd name="T26" fmla="*/ 7 w 19"/>
                <a:gd name="T27" fmla="*/ 17 h 26"/>
                <a:gd name="T28" fmla="*/ 7 w 19"/>
                <a:gd name="T29" fmla="*/ 14 h 26"/>
                <a:gd name="T30" fmla="*/ 7 w 19"/>
                <a:gd name="T31" fmla="*/ 13 h 26"/>
                <a:gd name="T32" fmla="*/ 7 w 19"/>
                <a:gd name="T33" fmla="*/ 13 h 26"/>
                <a:gd name="T34" fmla="*/ 7 w 19"/>
                <a:gd name="T35" fmla="*/ 12 h 26"/>
                <a:gd name="T36" fmla="*/ 8 w 19"/>
                <a:gd name="T37" fmla="*/ 10 h 26"/>
                <a:gd name="T38" fmla="*/ 10 w 19"/>
                <a:gd name="T39" fmla="*/ 8 h 26"/>
                <a:gd name="T40" fmla="*/ 15 w 19"/>
                <a:gd name="T41" fmla="*/ 4 h 26"/>
                <a:gd name="T42" fmla="*/ 15 w 19"/>
                <a:gd name="T43" fmla="*/ 4 h 26"/>
                <a:gd name="T44" fmla="*/ 19 w 19"/>
                <a:gd name="T45" fmla="*/ 1 h 26"/>
                <a:gd name="T46" fmla="*/ 18 w 19"/>
                <a:gd name="T47" fmla="*/ 0 h 26"/>
                <a:gd name="T48" fmla="*/ 17 w 19"/>
                <a:gd name="T4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7" y="0"/>
                  </a:moveTo>
                  <a:cubicBezTo>
                    <a:pt x="15" y="2"/>
                    <a:pt x="13" y="3"/>
                    <a:pt x="12" y="4"/>
                  </a:cubicBezTo>
                  <a:cubicBezTo>
                    <a:pt x="11" y="5"/>
                    <a:pt x="11" y="5"/>
                    <a:pt x="11" y="5"/>
                  </a:cubicBezTo>
                  <a:cubicBezTo>
                    <a:pt x="10" y="6"/>
                    <a:pt x="8" y="7"/>
                    <a:pt x="7" y="8"/>
                  </a:cubicBezTo>
                  <a:cubicBezTo>
                    <a:pt x="6" y="9"/>
                    <a:pt x="6" y="9"/>
                    <a:pt x="6" y="9"/>
                  </a:cubicBezTo>
                  <a:cubicBezTo>
                    <a:pt x="5" y="9"/>
                    <a:pt x="4" y="10"/>
                    <a:pt x="3" y="11"/>
                  </a:cubicBezTo>
                  <a:cubicBezTo>
                    <a:pt x="1" y="13"/>
                    <a:pt x="1" y="13"/>
                    <a:pt x="1" y="13"/>
                  </a:cubicBezTo>
                  <a:cubicBezTo>
                    <a:pt x="0" y="13"/>
                    <a:pt x="0" y="13"/>
                    <a:pt x="0" y="13"/>
                  </a:cubicBezTo>
                  <a:cubicBezTo>
                    <a:pt x="1" y="15"/>
                    <a:pt x="2" y="16"/>
                    <a:pt x="2" y="17"/>
                  </a:cubicBezTo>
                  <a:cubicBezTo>
                    <a:pt x="3" y="17"/>
                    <a:pt x="3" y="17"/>
                    <a:pt x="3" y="17"/>
                  </a:cubicBezTo>
                  <a:cubicBezTo>
                    <a:pt x="3" y="20"/>
                    <a:pt x="3" y="23"/>
                    <a:pt x="3" y="26"/>
                  </a:cubicBezTo>
                  <a:cubicBezTo>
                    <a:pt x="4" y="26"/>
                    <a:pt x="4" y="26"/>
                    <a:pt x="4" y="26"/>
                  </a:cubicBezTo>
                  <a:cubicBezTo>
                    <a:pt x="6" y="25"/>
                    <a:pt x="7" y="25"/>
                    <a:pt x="8" y="25"/>
                  </a:cubicBezTo>
                  <a:cubicBezTo>
                    <a:pt x="8" y="24"/>
                    <a:pt x="8" y="21"/>
                    <a:pt x="7" y="17"/>
                  </a:cubicBezTo>
                  <a:cubicBezTo>
                    <a:pt x="7" y="15"/>
                    <a:pt x="7" y="14"/>
                    <a:pt x="7" y="14"/>
                  </a:cubicBezTo>
                  <a:cubicBezTo>
                    <a:pt x="7" y="13"/>
                    <a:pt x="7" y="13"/>
                    <a:pt x="7" y="13"/>
                  </a:cubicBezTo>
                  <a:cubicBezTo>
                    <a:pt x="7" y="13"/>
                    <a:pt x="7" y="13"/>
                    <a:pt x="7" y="13"/>
                  </a:cubicBezTo>
                  <a:cubicBezTo>
                    <a:pt x="7" y="12"/>
                    <a:pt x="7" y="12"/>
                    <a:pt x="7" y="12"/>
                  </a:cubicBezTo>
                  <a:cubicBezTo>
                    <a:pt x="7" y="11"/>
                    <a:pt x="7" y="11"/>
                    <a:pt x="8" y="10"/>
                  </a:cubicBezTo>
                  <a:cubicBezTo>
                    <a:pt x="8" y="9"/>
                    <a:pt x="9" y="8"/>
                    <a:pt x="10" y="8"/>
                  </a:cubicBezTo>
                  <a:cubicBezTo>
                    <a:pt x="11" y="6"/>
                    <a:pt x="13" y="5"/>
                    <a:pt x="15" y="4"/>
                  </a:cubicBezTo>
                  <a:cubicBezTo>
                    <a:pt x="15" y="4"/>
                    <a:pt x="15" y="4"/>
                    <a:pt x="15" y="4"/>
                  </a:cubicBezTo>
                  <a:cubicBezTo>
                    <a:pt x="16" y="3"/>
                    <a:pt x="18" y="2"/>
                    <a:pt x="19" y="1"/>
                  </a:cubicBezTo>
                  <a:cubicBezTo>
                    <a:pt x="18" y="0"/>
                    <a:pt x="18" y="0"/>
                    <a:pt x="18" y="0"/>
                  </a:cubicBezTo>
                  <a:cubicBezTo>
                    <a:pt x="17"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 name="Freeform 235">
              <a:extLst>
                <a:ext uri="{FF2B5EF4-FFF2-40B4-BE49-F238E27FC236}">
                  <a16:creationId xmlns:a16="http://schemas.microsoft.com/office/drawing/2014/main" id="{39D267CB-F77F-499F-ADCF-E36B4855EC44}"/>
                </a:ext>
              </a:extLst>
            </p:cNvPr>
            <p:cNvSpPr>
              <a:spLocks/>
            </p:cNvSpPr>
            <p:nvPr/>
          </p:nvSpPr>
          <p:spPr bwMode="auto">
            <a:xfrm>
              <a:off x="3713" y="2070"/>
              <a:ext cx="156" cy="335"/>
            </a:xfrm>
            <a:custGeom>
              <a:avLst/>
              <a:gdLst>
                <a:gd name="T0" fmla="*/ 44 w 66"/>
                <a:gd name="T1" fmla="*/ 0 h 142"/>
                <a:gd name="T2" fmla="*/ 39 w 66"/>
                <a:gd name="T3" fmla="*/ 2 h 142"/>
                <a:gd name="T4" fmla="*/ 37 w 66"/>
                <a:gd name="T5" fmla="*/ 2 h 142"/>
                <a:gd name="T6" fmla="*/ 38 w 66"/>
                <a:gd name="T7" fmla="*/ 7 h 142"/>
                <a:gd name="T8" fmla="*/ 38 w 66"/>
                <a:gd name="T9" fmla="*/ 10 h 142"/>
                <a:gd name="T10" fmla="*/ 38 w 66"/>
                <a:gd name="T11" fmla="*/ 13 h 142"/>
                <a:gd name="T12" fmla="*/ 32 w 66"/>
                <a:gd name="T13" fmla="*/ 18 h 142"/>
                <a:gd name="T14" fmla="*/ 29 w 66"/>
                <a:gd name="T15" fmla="*/ 20 h 142"/>
                <a:gd name="T16" fmla="*/ 28 w 66"/>
                <a:gd name="T17" fmla="*/ 21 h 142"/>
                <a:gd name="T18" fmla="*/ 25 w 66"/>
                <a:gd name="T19" fmla="*/ 22 h 142"/>
                <a:gd name="T20" fmla="*/ 23 w 66"/>
                <a:gd name="T21" fmla="*/ 22 h 142"/>
                <a:gd name="T22" fmla="*/ 21 w 66"/>
                <a:gd name="T23" fmla="*/ 22 h 142"/>
                <a:gd name="T24" fmla="*/ 18 w 66"/>
                <a:gd name="T25" fmla="*/ 22 h 142"/>
                <a:gd name="T26" fmla="*/ 14 w 66"/>
                <a:gd name="T27" fmla="*/ 22 h 142"/>
                <a:gd name="T28" fmla="*/ 10 w 66"/>
                <a:gd name="T29" fmla="*/ 24 h 142"/>
                <a:gd name="T30" fmla="*/ 7 w 66"/>
                <a:gd name="T31" fmla="*/ 27 h 142"/>
                <a:gd name="T32" fmla="*/ 5 w 66"/>
                <a:gd name="T33" fmla="*/ 31 h 142"/>
                <a:gd name="T34" fmla="*/ 1 w 66"/>
                <a:gd name="T35" fmla="*/ 34 h 142"/>
                <a:gd name="T36" fmla="*/ 0 w 66"/>
                <a:gd name="T37" fmla="*/ 39 h 142"/>
                <a:gd name="T38" fmla="*/ 2 w 66"/>
                <a:gd name="T39" fmla="*/ 45 h 142"/>
                <a:gd name="T40" fmla="*/ 8 w 66"/>
                <a:gd name="T41" fmla="*/ 49 h 142"/>
                <a:gd name="T42" fmla="*/ 11 w 66"/>
                <a:gd name="T43" fmla="*/ 51 h 142"/>
                <a:gd name="T44" fmla="*/ 14 w 66"/>
                <a:gd name="T45" fmla="*/ 62 h 142"/>
                <a:gd name="T46" fmla="*/ 14 w 66"/>
                <a:gd name="T47" fmla="*/ 66 h 142"/>
                <a:gd name="T48" fmla="*/ 14 w 66"/>
                <a:gd name="T49" fmla="*/ 68 h 142"/>
                <a:gd name="T50" fmla="*/ 16 w 66"/>
                <a:gd name="T51" fmla="*/ 70 h 142"/>
                <a:gd name="T52" fmla="*/ 18 w 66"/>
                <a:gd name="T53" fmla="*/ 73 h 142"/>
                <a:gd name="T54" fmla="*/ 19 w 66"/>
                <a:gd name="T55" fmla="*/ 88 h 142"/>
                <a:gd name="T56" fmla="*/ 20 w 66"/>
                <a:gd name="T57" fmla="*/ 97 h 142"/>
                <a:gd name="T58" fmla="*/ 19 w 66"/>
                <a:gd name="T59" fmla="*/ 120 h 142"/>
                <a:gd name="T60" fmla="*/ 19 w 66"/>
                <a:gd name="T61" fmla="*/ 126 h 142"/>
                <a:gd name="T62" fmla="*/ 19 w 66"/>
                <a:gd name="T63" fmla="*/ 130 h 142"/>
                <a:gd name="T64" fmla="*/ 19 w 66"/>
                <a:gd name="T65" fmla="*/ 131 h 142"/>
                <a:gd name="T66" fmla="*/ 19 w 66"/>
                <a:gd name="T67" fmla="*/ 132 h 142"/>
                <a:gd name="T68" fmla="*/ 27 w 66"/>
                <a:gd name="T69" fmla="*/ 134 h 142"/>
                <a:gd name="T70" fmla="*/ 23 w 66"/>
                <a:gd name="T71" fmla="*/ 138 h 142"/>
                <a:gd name="T72" fmla="*/ 31 w 66"/>
                <a:gd name="T73" fmla="*/ 141 h 142"/>
                <a:gd name="T74" fmla="*/ 40 w 66"/>
                <a:gd name="T75" fmla="*/ 140 h 142"/>
                <a:gd name="T76" fmla="*/ 40 w 66"/>
                <a:gd name="T77" fmla="*/ 128 h 142"/>
                <a:gd name="T78" fmla="*/ 40 w 66"/>
                <a:gd name="T79" fmla="*/ 116 h 142"/>
                <a:gd name="T80" fmla="*/ 39 w 66"/>
                <a:gd name="T81" fmla="*/ 105 h 142"/>
                <a:gd name="T82" fmla="*/ 39 w 66"/>
                <a:gd name="T83" fmla="*/ 95 h 142"/>
                <a:gd name="T84" fmla="*/ 40 w 66"/>
                <a:gd name="T85" fmla="*/ 83 h 142"/>
                <a:gd name="T86" fmla="*/ 39 w 66"/>
                <a:gd name="T87" fmla="*/ 78 h 142"/>
                <a:gd name="T88" fmla="*/ 42 w 66"/>
                <a:gd name="T89" fmla="*/ 73 h 142"/>
                <a:gd name="T90" fmla="*/ 47 w 66"/>
                <a:gd name="T91" fmla="*/ 73 h 142"/>
                <a:gd name="T92" fmla="*/ 49 w 66"/>
                <a:gd name="T93" fmla="*/ 73 h 142"/>
                <a:gd name="T94" fmla="*/ 49 w 66"/>
                <a:gd name="T95" fmla="*/ 71 h 142"/>
                <a:gd name="T96" fmla="*/ 54 w 66"/>
                <a:gd name="T97" fmla="*/ 59 h 142"/>
                <a:gd name="T98" fmla="*/ 60 w 66"/>
                <a:gd name="T99" fmla="*/ 51 h 142"/>
                <a:gd name="T100" fmla="*/ 60 w 66"/>
                <a:gd name="T101" fmla="*/ 46 h 142"/>
                <a:gd name="T102" fmla="*/ 61 w 66"/>
                <a:gd name="T103" fmla="*/ 43 h 142"/>
                <a:gd name="T104" fmla="*/ 64 w 66"/>
                <a:gd name="T105" fmla="*/ 40 h 142"/>
                <a:gd name="T106" fmla="*/ 66 w 66"/>
                <a:gd name="T107" fmla="*/ 37 h 142"/>
                <a:gd name="T108" fmla="*/ 65 w 66"/>
                <a:gd name="T109" fmla="*/ 35 h 142"/>
                <a:gd name="T110" fmla="*/ 64 w 66"/>
                <a:gd name="T111" fmla="*/ 30 h 142"/>
                <a:gd name="T112" fmla="*/ 62 w 66"/>
                <a:gd name="T113" fmla="*/ 27 h 142"/>
                <a:gd name="T114" fmla="*/ 59 w 66"/>
                <a:gd name="T115" fmla="*/ 16 h 142"/>
                <a:gd name="T116" fmla="*/ 57 w 66"/>
                <a:gd name="T117" fmla="*/ 13 h 142"/>
                <a:gd name="T118" fmla="*/ 45 w 66"/>
                <a:gd name="T1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142">
                  <a:moveTo>
                    <a:pt x="44" y="0"/>
                  </a:moveTo>
                  <a:cubicBezTo>
                    <a:pt x="44" y="0"/>
                    <a:pt x="44" y="0"/>
                    <a:pt x="44" y="0"/>
                  </a:cubicBezTo>
                  <a:cubicBezTo>
                    <a:pt x="43" y="1"/>
                    <a:pt x="41" y="1"/>
                    <a:pt x="40" y="1"/>
                  </a:cubicBezTo>
                  <a:cubicBezTo>
                    <a:pt x="39" y="2"/>
                    <a:pt x="39" y="2"/>
                    <a:pt x="39" y="2"/>
                  </a:cubicBezTo>
                  <a:cubicBezTo>
                    <a:pt x="38" y="2"/>
                    <a:pt x="38" y="2"/>
                    <a:pt x="37" y="2"/>
                  </a:cubicBezTo>
                  <a:cubicBezTo>
                    <a:pt x="37" y="2"/>
                    <a:pt x="37" y="2"/>
                    <a:pt x="37" y="2"/>
                  </a:cubicBezTo>
                  <a:cubicBezTo>
                    <a:pt x="37" y="3"/>
                    <a:pt x="37" y="5"/>
                    <a:pt x="37" y="6"/>
                  </a:cubicBezTo>
                  <a:cubicBezTo>
                    <a:pt x="38" y="7"/>
                    <a:pt x="38" y="7"/>
                    <a:pt x="38" y="7"/>
                  </a:cubicBezTo>
                  <a:cubicBezTo>
                    <a:pt x="38" y="8"/>
                    <a:pt x="38" y="8"/>
                    <a:pt x="38" y="8"/>
                  </a:cubicBezTo>
                  <a:cubicBezTo>
                    <a:pt x="38" y="9"/>
                    <a:pt x="38" y="9"/>
                    <a:pt x="38" y="10"/>
                  </a:cubicBezTo>
                  <a:cubicBezTo>
                    <a:pt x="38" y="10"/>
                    <a:pt x="38" y="10"/>
                    <a:pt x="38" y="10"/>
                  </a:cubicBezTo>
                  <a:cubicBezTo>
                    <a:pt x="38" y="13"/>
                    <a:pt x="38" y="13"/>
                    <a:pt x="38" y="13"/>
                  </a:cubicBezTo>
                  <a:cubicBezTo>
                    <a:pt x="37" y="12"/>
                    <a:pt x="37" y="12"/>
                    <a:pt x="37" y="12"/>
                  </a:cubicBezTo>
                  <a:cubicBezTo>
                    <a:pt x="36" y="15"/>
                    <a:pt x="33" y="18"/>
                    <a:pt x="32" y="18"/>
                  </a:cubicBezTo>
                  <a:cubicBezTo>
                    <a:pt x="31" y="19"/>
                    <a:pt x="31" y="19"/>
                    <a:pt x="30" y="20"/>
                  </a:cubicBezTo>
                  <a:cubicBezTo>
                    <a:pt x="29" y="20"/>
                    <a:pt x="29" y="20"/>
                    <a:pt x="29" y="20"/>
                  </a:cubicBezTo>
                  <a:cubicBezTo>
                    <a:pt x="29" y="21"/>
                    <a:pt x="29" y="21"/>
                    <a:pt x="29" y="21"/>
                  </a:cubicBezTo>
                  <a:cubicBezTo>
                    <a:pt x="29" y="21"/>
                    <a:pt x="28" y="21"/>
                    <a:pt x="28" y="21"/>
                  </a:cubicBezTo>
                  <a:cubicBezTo>
                    <a:pt x="27" y="22"/>
                    <a:pt x="27" y="22"/>
                    <a:pt x="26" y="22"/>
                  </a:cubicBezTo>
                  <a:cubicBezTo>
                    <a:pt x="26" y="22"/>
                    <a:pt x="25" y="22"/>
                    <a:pt x="25" y="22"/>
                  </a:cubicBezTo>
                  <a:cubicBezTo>
                    <a:pt x="25" y="22"/>
                    <a:pt x="24" y="22"/>
                    <a:pt x="24" y="22"/>
                  </a:cubicBezTo>
                  <a:cubicBezTo>
                    <a:pt x="23" y="22"/>
                    <a:pt x="23" y="22"/>
                    <a:pt x="23" y="22"/>
                  </a:cubicBezTo>
                  <a:cubicBezTo>
                    <a:pt x="23" y="22"/>
                    <a:pt x="22" y="22"/>
                    <a:pt x="22" y="22"/>
                  </a:cubicBezTo>
                  <a:cubicBezTo>
                    <a:pt x="22" y="22"/>
                    <a:pt x="22" y="22"/>
                    <a:pt x="21" y="22"/>
                  </a:cubicBezTo>
                  <a:cubicBezTo>
                    <a:pt x="20" y="22"/>
                    <a:pt x="19" y="22"/>
                    <a:pt x="18" y="22"/>
                  </a:cubicBezTo>
                  <a:cubicBezTo>
                    <a:pt x="18" y="22"/>
                    <a:pt x="18" y="22"/>
                    <a:pt x="18" y="22"/>
                  </a:cubicBezTo>
                  <a:cubicBezTo>
                    <a:pt x="17" y="22"/>
                    <a:pt x="16" y="22"/>
                    <a:pt x="15" y="22"/>
                  </a:cubicBezTo>
                  <a:cubicBezTo>
                    <a:pt x="14" y="22"/>
                    <a:pt x="14" y="22"/>
                    <a:pt x="14" y="22"/>
                  </a:cubicBezTo>
                  <a:cubicBezTo>
                    <a:pt x="13" y="22"/>
                    <a:pt x="13" y="22"/>
                    <a:pt x="13" y="22"/>
                  </a:cubicBezTo>
                  <a:cubicBezTo>
                    <a:pt x="12" y="22"/>
                    <a:pt x="11" y="23"/>
                    <a:pt x="10" y="24"/>
                  </a:cubicBezTo>
                  <a:cubicBezTo>
                    <a:pt x="10" y="24"/>
                    <a:pt x="10" y="24"/>
                    <a:pt x="10" y="24"/>
                  </a:cubicBezTo>
                  <a:cubicBezTo>
                    <a:pt x="9" y="25"/>
                    <a:pt x="7" y="26"/>
                    <a:pt x="7" y="27"/>
                  </a:cubicBezTo>
                  <a:cubicBezTo>
                    <a:pt x="10" y="30"/>
                    <a:pt x="10" y="30"/>
                    <a:pt x="10" y="30"/>
                  </a:cubicBezTo>
                  <a:cubicBezTo>
                    <a:pt x="5" y="31"/>
                    <a:pt x="5" y="31"/>
                    <a:pt x="5" y="31"/>
                  </a:cubicBezTo>
                  <a:cubicBezTo>
                    <a:pt x="4" y="32"/>
                    <a:pt x="3" y="32"/>
                    <a:pt x="2" y="32"/>
                  </a:cubicBezTo>
                  <a:cubicBezTo>
                    <a:pt x="1" y="34"/>
                    <a:pt x="1" y="34"/>
                    <a:pt x="1" y="34"/>
                  </a:cubicBezTo>
                  <a:cubicBezTo>
                    <a:pt x="1" y="34"/>
                    <a:pt x="1" y="34"/>
                    <a:pt x="1" y="34"/>
                  </a:cubicBezTo>
                  <a:cubicBezTo>
                    <a:pt x="1" y="36"/>
                    <a:pt x="0" y="37"/>
                    <a:pt x="0" y="39"/>
                  </a:cubicBezTo>
                  <a:cubicBezTo>
                    <a:pt x="0" y="39"/>
                    <a:pt x="0" y="40"/>
                    <a:pt x="0" y="41"/>
                  </a:cubicBezTo>
                  <a:cubicBezTo>
                    <a:pt x="0" y="42"/>
                    <a:pt x="1" y="44"/>
                    <a:pt x="2" y="45"/>
                  </a:cubicBezTo>
                  <a:cubicBezTo>
                    <a:pt x="3" y="46"/>
                    <a:pt x="5" y="47"/>
                    <a:pt x="7" y="48"/>
                  </a:cubicBezTo>
                  <a:cubicBezTo>
                    <a:pt x="8" y="49"/>
                    <a:pt x="8" y="49"/>
                    <a:pt x="8" y="49"/>
                  </a:cubicBezTo>
                  <a:cubicBezTo>
                    <a:pt x="9" y="49"/>
                    <a:pt x="10" y="50"/>
                    <a:pt x="10" y="50"/>
                  </a:cubicBezTo>
                  <a:cubicBezTo>
                    <a:pt x="11" y="51"/>
                    <a:pt x="11" y="51"/>
                    <a:pt x="11" y="51"/>
                  </a:cubicBezTo>
                  <a:cubicBezTo>
                    <a:pt x="11" y="51"/>
                    <a:pt x="11" y="51"/>
                    <a:pt x="11" y="51"/>
                  </a:cubicBezTo>
                  <a:cubicBezTo>
                    <a:pt x="14" y="52"/>
                    <a:pt x="14" y="56"/>
                    <a:pt x="14" y="62"/>
                  </a:cubicBezTo>
                  <a:cubicBezTo>
                    <a:pt x="14" y="63"/>
                    <a:pt x="14" y="64"/>
                    <a:pt x="14" y="65"/>
                  </a:cubicBezTo>
                  <a:cubicBezTo>
                    <a:pt x="14" y="66"/>
                    <a:pt x="14" y="66"/>
                    <a:pt x="14" y="66"/>
                  </a:cubicBezTo>
                  <a:cubicBezTo>
                    <a:pt x="14" y="66"/>
                    <a:pt x="14" y="67"/>
                    <a:pt x="14" y="67"/>
                  </a:cubicBezTo>
                  <a:cubicBezTo>
                    <a:pt x="14" y="68"/>
                    <a:pt x="14" y="68"/>
                    <a:pt x="14" y="68"/>
                  </a:cubicBezTo>
                  <a:cubicBezTo>
                    <a:pt x="15" y="69"/>
                    <a:pt x="15" y="69"/>
                    <a:pt x="15" y="69"/>
                  </a:cubicBezTo>
                  <a:cubicBezTo>
                    <a:pt x="15" y="69"/>
                    <a:pt x="15" y="70"/>
                    <a:pt x="16" y="70"/>
                  </a:cubicBezTo>
                  <a:cubicBezTo>
                    <a:pt x="16" y="70"/>
                    <a:pt x="16" y="70"/>
                    <a:pt x="16" y="70"/>
                  </a:cubicBezTo>
                  <a:cubicBezTo>
                    <a:pt x="17" y="71"/>
                    <a:pt x="17" y="72"/>
                    <a:pt x="18" y="73"/>
                  </a:cubicBezTo>
                  <a:cubicBezTo>
                    <a:pt x="20" y="76"/>
                    <a:pt x="20" y="81"/>
                    <a:pt x="20" y="86"/>
                  </a:cubicBezTo>
                  <a:cubicBezTo>
                    <a:pt x="19" y="88"/>
                    <a:pt x="19" y="88"/>
                    <a:pt x="19" y="88"/>
                  </a:cubicBezTo>
                  <a:cubicBezTo>
                    <a:pt x="19" y="90"/>
                    <a:pt x="19" y="93"/>
                    <a:pt x="20" y="95"/>
                  </a:cubicBezTo>
                  <a:cubicBezTo>
                    <a:pt x="20" y="97"/>
                    <a:pt x="20" y="97"/>
                    <a:pt x="20" y="97"/>
                  </a:cubicBezTo>
                  <a:cubicBezTo>
                    <a:pt x="20" y="102"/>
                    <a:pt x="21" y="108"/>
                    <a:pt x="20" y="113"/>
                  </a:cubicBezTo>
                  <a:cubicBezTo>
                    <a:pt x="20" y="115"/>
                    <a:pt x="20" y="117"/>
                    <a:pt x="19" y="120"/>
                  </a:cubicBezTo>
                  <a:cubicBezTo>
                    <a:pt x="19" y="123"/>
                    <a:pt x="19" y="123"/>
                    <a:pt x="19" y="123"/>
                  </a:cubicBezTo>
                  <a:cubicBezTo>
                    <a:pt x="19" y="124"/>
                    <a:pt x="19" y="125"/>
                    <a:pt x="19" y="126"/>
                  </a:cubicBezTo>
                  <a:cubicBezTo>
                    <a:pt x="19" y="127"/>
                    <a:pt x="19" y="128"/>
                    <a:pt x="19" y="129"/>
                  </a:cubicBezTo>
                  <a:cubicBezTo>
                    <a:pt x="19" y="129"/>
                    <a:pt x="19" y="130"/>
                    <a:pt x="19" y="130"/>
                  </a:cubicBezTo>
                  <a:cubicBezTo>
                    <a:pt x="19" y="131"/>
                    <a:pt x="19" y="131"/>
                    <a:pt x="19" y="131"/>
                  </a:cubicBezTo>
                  <a:cubicBezTo>
                    <a:pt x="19" y="131"/>
                    <a:pt x="19" y="131"/>
                    <a:pt x="19" y="131"/>
                  </a:cubicBezTo>
                  <a:cubicBezTo>
                    <a:pt x="19" y="132"/>
                    <a:pt x="19" y="132"/>
                    <a:pt x="19" y="132"/>
                  </a:cubicBezTo>
                  <a:cubicBezTo>
                    <a:pt x="19" y="132"/>
                    <a:pt x="19" y="132"/>
                    <a:pt x="19" y="132"/>
                  </a:cubicBezTo>
                  <a:cubicBezTo>
                    <a:pt x="20" y="133"/>
                    <a:pt x="21" y="135"/>
                    <a:pt x="22" y="136"/>
                  </a:cubicBezTo>
                  <a:cubicBezTo>
                    <a:pt x="27" y="134"/>
                    <a:pt x="27" y="134"/>
                    <a:pt x="27" y="134"/>
                  </a:cubicBezTo>
                  <a:cubicBezTo>
                    <a:pt x="23" y="138"/>
                    <a:pt x="23" y="138"/>
                    <a:pt x="23" y="138"/>
                  </a:cubicBezTo>
                  <a:cubicBezTo>
                    <a:pt x="23" y="138"/>
                    <a:pt x="23" y="138"/>
                    <a:pt x="23" y="138"/>
                  </a:cubicBezTo>
                  <a:cubicBezTo>
                    <a:pt x="23" y="140"/>
                    <a:pt x="23" y="141"/>
                    <a:pt x="23" y="142"/>
                  </a:cubicBezTo>
                  <a:cubicBezTo>
                    <a:pt x="26" y="142"/>
                    <a:pt x="28" y="141"/>
                    <a:pt x="31" y="141"/>
                  </a:cubicBezTo>
                  <a:cubicBezTo>
                    <a:pt x="32" y="140"/>
                    <a:pt x="37" y="141"/>
                    <a:pt x="40" y="140"/>
                  </a:cubicBezTo>
                  <a:cubicBezTo>
                    <a:pt x="40" y="140"/>
                    <a:pt x="40" y="140"/>
                    <a:pt x="40" y="140"/>
                  </a:cubicBezTo>
                  <a:cubicBezTo>
                    <a:pt x="39" y="138"/>
                    <a:pt x="40" y="134"/>
                    <a:pt x="40" y="132"/>
                  </a:cubicBezTo>
                  <a:cubicBezTo>
                    <a:pt x="41" y="131"/>
                    <a:pt x="40" y="130"/>
                    <a:pt x="40" y="128"/>
                  </a:cubicBezTo>
                  <a:cubicBezTo>
                    <a:pt x="40" y="127"/>
                    <a:pt x="40" y="125"/>
                    <a:pt x="40" y="123"/>
                  </a:cubicBezTo>
                  <a:cubicBezTo>
                    <a:pt x="40" y="121"/>
                    <a:pt x="40" y="119"/>
                    <a:pt x="40" y="116"/>
                  </a:cubicBezTo>
                  <a:cubicBezTo>
                    <a:pt x="40" y="111"/>
                    <a:pt x="40" y="111"/>
                    <a:pt x="40" y="111"/>
                  </a:cubicBezTo>
                  <a:cubicBezTo>
                    <a:pt x="39" y="109"/>
                    <a:pt x="39" y="107"/>
                    <a:pt x="39" y="105"/>
                  </a:cubicBezTo>
                  <a:cubicBezTo>
                    <a:pt x="38" y="103"/>
                    <a:pt x="38" y="100"/>
                    <a:pt x="39" y="96"/>
                  </a:cubicBezTo>
                  <a:cubicBezTo>
                    <a:pt x="39" y="95"/>
                    <a:pt x="39" y="95"/>
                    <a:pt x="39" y="95"/>
                  </a:cubicBezTo>
                  <a:cubicBezTo>
                    <a:pt x="39" y="95"/>
                    <a:pt x="39" y="94"/>
                    <a:pt x="39" y="94"/>
                  </a:cubicBezTo>
                  <a:cubicBezTo>
                    <a:pt x="39" y="90"/>
                    <a:pt x="40" y="86"/>
                    <a:pt x="40" y="83"/>
                  </a:cubicBezTo>
                  <a:cubicBezTo>
                    <a:pt x="40" y="81"/>
                    <a:pt x="40" y="79"/>
                    <a:pt x="40" y="78"/>
                  </a:cubicBezTo>
                  <a:cubicBezTo>
                    <a:pt x="39" y="78"/>
                    <a:pt x="39" y="78"/>
                    <a:pt x="39" y="78"/>
                  </a:cubicBezTo>
                  <a:cubicBezTo>
                    <a:pt x="40" y="78"/>
                    <a:pt x="40" y="78"/>
                    <a:pt x="40" y="78"/>
                  </a:cubicBezTo>
                  <a:cubicBezTo>
                    <a:pt x="40" y="76"/>
                    <a:pt x="41" y="74"/>
                    <a:pt x="42" y="73"/>
                  </a:cubicBezTo>
                  <a:cubicBezTo>
                    <a:pt x="43" y="73"/>
                    <a:pt x="44" y="72"/>
                    <a:pt x="45" y="72"/>
                  </a:cubicBezTo>
                  <a:cubicBezTo>
                    <a:pt x="46" y="72"/>
                    <a:pt x="46" y="72"/>
                    <a:pt x="47" y="73"/>
                  </a:cubicBezTo>
                  <a:cubicBezTo>
                    <a:pt x="47" y="73"/>
                    <a:pt x="48" y="73"/>
                    <a:pt x="48" y="73"/>
                  </a:cubicBezTo>
                  <a:cubicBezTo>
                    <a:pt x="48" y="73"/>
                    <a:pt x="49" y="73"/>
                    <a:pt x="49" y="73"/>
                  </a:cubicBezTo>
                  <a:cubicBezTo>
                    <a:pt x="49" y="73"/>
                    <a:pt x="49" y="73"/>
                    <a:pt x="49" y="73"/>
                  </a:cubicBezTo>
                  <a:cubicBezTo>
                    <a:pt x="49" y="73"/>
                    <a:pt x="49" y="72"/>
                    <a:pt x="49" y="71"/>
                  </a:cubicBezTo>
                  <a:cubicBezTo>
                    <a:pt x="50" y="69"/>
                    <a:pt x="51" y="67"/>
                    <a:pt x="52" y="64"/>
                  </a:cubicBezTo>
                  <a:cubicBezTo>
                    <a:pt x="52" y="63"/>
                    <a:pt x="53" y="61"/>
                    <a:pt x="54" y="59"/>
                  </a:cubicBezTo>
                  <a:cubicBezTo>
                    <a:pt x="60" y="52"/>
                    <a:pt x="60" y="52"/>
                    <a:pt x="60" y="52"/>
                  </a:cubicBezTo>
                  <a:cubicBezTo>
                    <a:pt x="60" y="51"/>
                    <a:pt x="60" y="51"/>
                    <a:pt x="60" y="51"/>
                  </a:cubicBezTo>
                  <a:cubicBezTo>
                    <a:pt x="60" y="50"/>
                    <a:pt x="60" y="50"/>
                    <a:pt x="60" y="50"/>
                  </a:cubicBezTo>
                  <a:cubicBezTo>
                    <a:pt x="60" y="50"/>
                    <a:pt x="60" y="48"/>
                    <a:pt x="60" y="46"/>
                  </a:cubicBezTo>
                  <a:cubicBezTo>
                    <a:pt x="60" y="45"/>
                    <a:pt x="60" y="44"/>
                    <a:pt x="61" y="44"/>
                  </a:cubicBezTo>
                  <a:cubicBezTo>
                    <a:pt x="61" y="43"/>
                    <a:pt x="61" y="43"/>
                    <a:pt x="61" y="43"/>
                  </a:cubicBezTo>
                  <a:cubicBezTo>
                    <a:pt x="62" y="42"/>
                    <a:pt x="62" y="41"/>
                    <a:pt x="63" y="40"/>
                  </a:cubicBezTo>
                  <a:cubicBezTo>
                    <a:pt x="64" y="40"/>
                    <a:pt x="64" y="40"/>
                    <a:pt x="64" y="40"/>
                  </a:cubicBezTo>
                  <a:cubicBezTo>
                    <a:pt x="64" y="39"/>
                    <a:pt x="64" y="39"/>
                    <a:pt x="64" y="39"/>
                  </a:cubicBezTo>
                  <a:cubicBezTo>
                    <a:pt x="65" y="38"/>
                    <a:pt x="65" y="37"/>
                    <a:pt x="66" y="37"/>
                  </a:cubicBezTo>
                  <a:cubicBezTo>
                    <a:pt x="66" y="37"/>
                    <a:pt x="66" y="37"/>
                    <a:pt x="66" y="37"/>
                  </a:cubicBezTo>
                  <a:cubicBezTo>
                    <a:pt x="65" y="36"/>
                    <a:pt x="65" y="36"/>
                    <a:pt x="65" y="35"/>
                  </a:cubicBezTo>
                  <a:cubicBezTo>
                    <a:pt x="65" y="33"/>
                    <a:pt x="65" y="33"/>
                    <a:pt x="65" y="33"/>
                  </a:cubicBezTo>
                  <a:cubicBezTo>
                    <a:pt x="64" y="32"/>
                    <a:pt x="64" y="31"/>
                    <a:pt x="64" y="30"/>
                  </a:cubicBezTo>
                  <a:cubicBezTo>
                    <a:pt x="64" y="29"/>
                    <a:pt x="63" y="28"/>
                    <a:pt x="62" y="27"/>
                  </a:cubicBezTo>
                  <a:cubicBezTo>
                    <a:pt x="62" y="27"/>
                    <a:pt x="62" y="27"/>
                    <a:pt x="62" y="27"/>
                  </a:cubicBezTo>
                  <a:cubicBezTo>
                    <a:pt x="60" y="25"/>
                    <a:pt x="57" y="21"/>
                    <a:pt x="58" y="17"/>
                  </a:cubicBezTo>
                  <a:cubicBezTo>
                    <a:pt x="59" y="16"/>
                    <a:pt x="59" y="16"/>
                    <a:pt x="59" y="16"/>
                  </a:cubicBezTo>
                  <a:cubicBezTo>
                    <a:pt x="59" y="16"/>
                    <a:pt x="59" y="15"/>
                    <a:pt x="59" y="14"/>
                  </a:cubicBezTo>
                  <a:cubicBezTo>
                    <a:pt x="59" y="14"/>
                    <a:pt x="59" y="14"/>
                    <a:pt x="57" y="13"/>
                  </a:cubicBezTo>
                  <a:cubicBezTo>
                    <a:pt x="53" y="10"/>
                    <a:pt x="49" y="5"/>
                    <a:pt x="46" y="2"/>
                  </a:cubicBezTo>
                  <a:cubicBezTo>
                    <a:pt x="46" y="1"/>
                    <a:pt x="45" y="1"/>
                    <a:pt x="45" y="0"/>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 name="Freeform 236">
              <a:extLst>
                <a:ext uri="{FF2B5EF4-FFF2-40B4-BE49-F238E27FC236}">
                  <a16:creationId xmlns:a16="http://schemas.microsoft.com/office/drawing/2014/main" id="{CCC81C18-B842-4795-BBC7-174C76C29134}"/>
                </a:ext>
              </a:extLst>
            </p:cNvPr>
            <p:cNvSpPr>
              <a:spLocks/>
            </p:cNvSpPr>
            <p:nvPr/>
          </p:nvSpPr>
          <p:spPr bwMode="auto">
            <a:xfrm>
              <a:off x="3663" y="2143"/>
              <a:ext cx="90" cy="269"/>
            </a:xfrm>
            <a:custGeom>
              <a:avLst/>
              <a:gdLst>
                <a:gd name="T0" fmla="*/ 2 w 38"/>
                <a:gd name="T1" fmla="*/ 0 h 114"/>
                <a:gd name="T2" fmla="*/ 2 w 38"/>
                <a:gd name="T3" fmla="*/ 6 h 114"/>
                <a:gd name="T4" fmla="*/ 10 w 38"/>
                <a:gd name="T5" fmla="*/ 26 h 114"/>
                <a:gd name="T6" fmla="*/ 9 w 38"/>
                <a:gd name="T7" fmla="*/ 29 h 114"/>
                <a:gd name="T8" fmla="*/ 16 w 38"/>
                <a:gd name="T9" fmla="*/ 30 h 114"/>
                <a:gd name="T10" fmla="*/ 12 w 38"/>
                <a:gd name="T11" fmla="*/ 40 h 114"/>
                <a:gd name="T12" fmla="*/ 13 w 38"/>
                <a:gd name="T13" fmla="*/ 44 h 114"/>
                <a:gd name="T14" fmla="*/ 14 w 38"/>
                <a:gd name="T15" fmla="*/ 48 h 114"/>
                <a:gd name="T16" fmla="*/ 12 w 38"/>
                <a:gd name="T17" fmla="*/ 52 h 114"/>
                <a:gd name="T18" fmla="*/ 17 w 38"/>
                <a:gd name="T19" fmla="*/ 57 h 114"/>
                <a:gd name="T20" fmla="*/ 16 w 38"/>
                <a:gd name="T21" fmla="*/ 67 h 114"/>
                <a:gd name="T22" fmla="*/ 15 w 38"/>
                <a:gd name="T23" fmla="*/ 80 h 114"/>
                <a:gd name="T24" fmla="*/ 14 w 38"/>
                <a:gd name="T25" fmla="*/ 81 h 114"/>
                <a:gd name="T26" fmla="*/ 17 w 38"/>
                <a:gd name="T27" fmla="*/ 91 h 114"/>
                <a:gd name="T28" fmla="*/ 16 w 38"/>
                <a:gd name="T29" fmla="*/ 93 h 114"/>
                <a:gd name="T30" fmla="*/ 15 w 38"/>
                <a:gd name="T31" fmla="*/ 95 h 114"/>
                <a:gd name="T32" fmla="*/ 29 w 38"/>
                <a:gd name="T33" fmla="*/ 112 h 114"/>
                <a:gd name="T34" fmla="*/ 29 w 38"/>
                <a:gd name="T35" fmla="*/ 114 h 114"/>
                <a:gd name="T36" fmla="*/ 36 w 38"/>
                <a:gd name="T37" fmla="*/ 112 h 114"/>
                <a:gd name="T38" fmla="*/ 38 w 38"/>
                <a:gd name="T39" fmla="*/ 109 h 114"/>
                <a:gd name="T40" fmla="*/ 38 w 38"/>
                <a:gd name="T41" fmla="*/ 109 h 114"/>
                <a:gd name="T42" fmla="*/ 35 w 38"/>
                <a:gd name="T43" fmla="*/ 104 h 114"/>
                <a:gd name="T44" fmla="*/ 34 w 38"/>
                <a:gd name="T45" fmla="*/ 103 h 114"/>
                <a:gd name="T46" fmla="*/ 34 w 38"/>
                <a:gd name="T47" fmla="*/ 99 h 114"/>
                <a:gd name="T48" fmla="*/ 34 w 38"/>
                <a:gd name="T49" fmla="*/ 96 h 114"/>
                <a:gd name="T50" fmla="*/ 34 w 38"/>
                <a:gd name="T51" fmla="*/ 89 h 114"/>
                <a:gd name="T52" fmla="*/ 35 w 38"/>
                <a:gd name="T53" fmla="*/ 67 h 114"/>
                <a:gd name="T54" fmla="*/ 35 w 38"/>
                <a:gd name="T55" fmla="*/ 56 h 114"/>
                <a:gd name="T56" fmla="*/ 34 w 38"/>
                <a:gd name="T57" fmla="*/ 45 h 114"/>
                <a:gd name="T58" fmla="*/ 32 w 38"/>
                <a:gd name="T59" fmla="*/ 43 h 114"/>
                <a:gd name="T60" fmla="*/ 30 w 38"/>
                <a:gd name="T61" fmla="*/ 39 h 114"/>
                <a:gd name="T62" fmla="*/ 29 w 38"/>
                <a:gd name="T63" fmla="*/ 36 h 114"/>
                <a:gd name="T64" fmla="*/ 29 w 38"/>
                <a:gd name="T65" fmla="*/ 31 h 114"/>
                <a:gd name="T66" fmla="*/ 29 w 38"/>
                <a:gd name="T67" fmla="*/ 25 h 114"/>
                <a:gd name="T68" fmla="*/ 28 w 38"/>
                <a:gd name="T69" fmla="*/ 24 h 114"/>
                <a:gd name="T70" fmla="*/ 25 w 38"/>
                <a:gd name="T71" fmla="*/ 22 h 114"/>
                <a:gd name="T72" fmla="*/ 15 w 38"/>
                <a:gd name="T73" fmla="*/ 11 h 114"/>
                <a:gd name="T74" fmla="*/ 17 w 38"/>
                <a:gd name="T75" fmla="*/ 1 h 114"/>
                <a:gd name="T76" fmla="*/ 2 w 38"/>
                <a:gd name="T7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 h="114">
                  <a:moveTo>
                    <a:pt x="2" y="0"/>
                  </a:moveTo>
                  <a:cubicBezTo>
                    <a:pt x="2" y="0"/>
                    <a:pt x="2" y="0"/>
                    <a:pt x="2" y="0"/>
                  </a:cubicBezTo>
                  <a:cubicBezTo>
                    <a:pt x="2" y="1"/>
                    <a:pt x="2" y="1"/>
                    <a:pt x="1" y="2"/>
                  </a:cubicBezTo>
                  <a:cubicBezTo>
                    <a:pt x="0" y="5"/>
                    <a:pt x="0" y="5"/>
                    <a:pt x="2" y="6"/>
                  </a:cubicBezTo>
                  <a:cubicBezTo>
                    <a:pt x="9" y="12"/>
                    <a:pt x="9" y="12"/>
                    <a:pt x="9" y="12"/>
                  </a:cubicBezTo>
                  <a:cubicBezTo>
                    <a:pt x="14" y="17"/>
                    <a:pt x="11" y="24"/>
                    <a:pt x="10" y="26"/>
                  </a:cubicBezTo>
                  <a:cubicBezTo>
                    <a:pt x="10" y="27"/>
                    <a:pt x="10" y="27"/>
                    <a:pt x="9" y="28"/>
                  </a:cubicBezTo>
                  <a:cubicBezTo>
                    <a:pt x="9" y="29"/>
                    <a:pt x="9" y="29"/>
                    <a:pt x="9" y="29"/>
                  </a:cubicBezTo>
                  <a:cubicBezTo>
                    <a:pt x="9" y="30"/>
                    <a:pt x="9" y="30"/>
                    <a:pt x="9" y="30"/>
                  </a:cubicBezTo>
                  <a:cubicBezTo>
                    <a:pt x="16" y="30"/>
                    <a:pt x="16" y="30"/>
                    <a:pt x="16" y="30"/>
                  </a:cubicBezTo>
                  <a:cubicBezTo>
                    <a:pt x="10" y="34"/>
                    <a:pt x="10" y="34"/>
                    <a:pt x="10" y="34"/>
                  </a:cubicBezTo>
                  <a:cubicBezTo>
                    <a:pt x="11" y="36"/>
                    <a:pt x="11" y="38"/>
                    <a:pt x="12" y="40"/>
                  </a:cubicBezTo>
                  <a:cubicBezTo>
                    <a:pt x="12" y="43"/>
                    <a:pt x="12" y="43"/>
                    <a:pt x="12" y="43"/>
                  </a:cubicBezTo>
                  <a:cubicBezTo>
                    <a:pt x="13" y="43"/>
                    <a:pt x="13" y="44"/>
                    <a:pt x="13" y="44"/>
                  </a:cubicBezTo>
                  <a:cubicBezTo>
                    <a:pt x="13" y="45"/>
                    <a:pt x="13" y="45"/>
                    <a:pt x="13" y="45"/>
                  </a:cubicBezTo>
                  <a:cubicBezTo>
                    <a:pt x="13" y="46"/>
                    <a:pt x="14" y="47"/>
                    <a:pt x="14" y="48"/>
                  </a:cubicBezTo>
                  <a:cubicBezTo>
                    <a:pt x="14" y="49"/>
                    <a:pt x="14" y="49"/>
                    <a:pt x="14" y="49"/>
                  </a:cubicBezTo>
                  <a:cubicBezTo>
                    <a:pt x="14" y="50"/>
                    <a:pt x="13" y="51"/>
                    <a:pt x="12" y="52"/>
                  </a:cubicBezTo>
                  <a:cubicBezTo>
                    <a:pt x="13" y="53"/>
                    <a:pt x="14" y="53"/>
                    <a:pt x="14" y="54"/>
                  </a:cubicBezTo>
                  <a:cubicBezTo>
                    <a:pt x="15" y="55"/>
                    <a:pt x="16" y="56"/>
                    <a:pt x="17" y="57"/>
                  </a:cubicBezTo>
                  <a:cubicBezTo>
                    <a:pt x="20" y="60"/>
                    <a:pt x="18" y="63"/>
                    <a:pt x="17" y="65"/>
                  </a:cubicBezTo>
                  <a:cubicBezTo>
                    <a:pt x="17" y="66"/>
                    <a:pt x="16" y="67"/>
                    <a:pt x="16" y="67"/>
                  </a:cubicBezTo>
                  <a:cubicBezTo>
                    <a:pt x="16" y="68"/>
                    <a:pt x="16" y="68"/>
                    <a:pt x="16" y="68"/>
                  </a:cubicBezTo>
                  <a:cubicBezTo>
                    <a:pt x="17" y="72"/>
                    <a:pt x="16" y="75"/>
                    <a:pt x="15" y="80"/>
                  </a:cubicBezTo>
                  <a:cubicBezTo>
                    <a:pt x="15" y="80"/>
                    <a:pt x="14" y="80"/>
                    <a:pt x="14" y="81"/>
                  </a:cubicBezTo>
                  <a:cubicBezTo>
                    <a:pt x="14" y="81"/>
                    <a:pt x="14" y="81"/>
                    <a:pt x="14" y="81"/>
                  </a:cubicBezTo>
                  <a:cubicBezTo>
                    <a:pt x="15" y="81"/>
                    <a:pt x="17" y="82"/>
                    <a:pt x="17" y="84"/>
                  </a:cubicBezTo>
                  <a:cubicBezTo>
                    <a:pt x="18" y="85"/>
                    <a:pt x="17" y="88"/>
                    <a:pt x="17" y="91"/>
                  </a:cubicBezTo>
                  <a:cubicBezTo>
                    <a:pt x="16" y="92"/>
                    <a:pt x="16" y="92"/>
                    <a:pt x="16" y="92"/>
                  </a:cubicBezTo>
                  <a:cubicBezTo>
                    <a:pt x="16" y="93"/>
                    <a:pt x="16" y="93"/>
                    <a:pt x="16" y="93"/>
                  </a:cubicBezTo>
                  <a:cubicBezTo>
                    <a:pt x="16" y="94"/>
                    <a:pt x="16" y="94"/>
                    <a:pt x="15" y="95"/>
                  </a:cubicBezTo>
                  <a:cubicBezTo>
                    <a:pt x="15" y="95"/>
                    <a:pt x="15" y="95"/>
                    <a:pt x="15" y="95"/>
                  </a:cubicBezTo>
                  <a:cubicBezTo>
                    <a:pt x="17" y="101"/>
                    <a:pt x="20" y="105"/>
                    <a:pt x="26" y="110"/>
                  </a:cubicBezTo>
                  <a:cubicBezTo>
                    <a:pt x="26" y="110"/>
                    <a:pt x="27" y="111"/>
                    <a:pt x="29" y="112"/>
                  </a:cubicBezTo>
                  <a:cubicBezTo>
                    <a:pt x="30" y="112"/>
                    <a:pt x="30" y="112"/>
                    <a:pt x="30" y="112"/>
                  </a:cubicBezTo>
                  <a:cubicBezTo>
                    <a:pt x="29" y="114"/>
                    <a:pt x="29" y="114"/>
                    <a:pt x="29" y="114"/>
                  </a:cubicBezTo>
                  <a:cubicBezTo>
                    <a:pt x="30" y="114"/>
                    <a:pt x="31" y="114"/>
                    <a:pt x="32" y="113"/>
                  </a:cubicBezTo>
                  <a:cubicBezTo>
                    <a:pt x="33" y="113"/>
                    <a:pt x="35" y="113"/>
                    <a:pt x="36" y="112"/>
                  </a:cubicBezTo>
                  <a:cubicBezTo>
                    <a:pt x="35" y="111"/>
                    <a:pt x="35" y="111"/>
                    <a:pt x="35" y="111"/>
                  </a:cubicBezTo>
                  <a:cubicBezTo>
                    <a:pt x="38" y="109"/>
                    <a:pt x="38" y="109"/>
                    <a:pt x="38" y="109"/>
                  </a:cubicBezTo>
                  <a:cubicBezTo>
                    <a:pt x="38" y="109"/>
                    <a:pt x="38" y="109"/>
                    <a:pt x="38" y="109"/>
                  </a:cubicBezTo>
                  <a:cubicBezTo>
                    <a:pt x="38" y="109"/>
                    <a:pt x="38" y="109"/>
                    <a:pt x="38" y="109"/>
                  </a:cubicBezTo>
                  <a:cubicBezTo>
                    <a:pt x="37" y="107"/>
                    <a:pt x="36" y="106"/>
                    <a:pt x="36" y="105"/>
                  </a:cubicBezTo>
                  <a:cubicBezTo>
                    <a:pt x="35" y="104"/>
                    <a:pt x="35" y="104"/>
                    <a:pt x="35" y="104"/>
                  </a:cubicBezTo>
                  <a:cubicBezTo>
                    <a:pt x="35" y="104"/>
                    <a:pt x="35" y="103"/>
                    <a:pt x="35" y="103"/>
                  </a:cubicBezTo>
                  <a:cubicBezTo>
                    <a:pt x="34" y="103"/>
                    <a:pt x="34" y="103"/>
                    <a:pt x="34" y="103"/>
                  </a:cubicBezTo>
                  <a:cubicBezTo>
                    <a:pt x="34" y="102"/>
                    <a:pt x="34" y="102"/>
                    <a:pt x="34" y="100"/>
                  </a:cubicBezTo>
                  <a:cubicBezTo>
                    <a:pt x="34" y="100"/>
                    <a:pt x="34" y="99"/>
                    <a:pt x="34" y="99"/>
                  </a:cubicBezTo>
                  <a:cubicBezTo>
                    <a:pt x="34" y="98"/>
                    <a:pt x="34" y="98"/>
                    <a:pt x="34" y="98"/>
                  </a:cubicBezTo>
                  <a:cubicBezTo>
                    <a:pt x="34" y="97"/>
                    <a:pt x="34" y="97"/>
                    <a:pt x="34" y="96"/>
                  </a:cubicBezTo>
                  <a:cubicBezTo>
                    <a:pt x="34" y="95"/>
                    <a:pt x="34" y="93"/>
                    <a:pt x="34" y="91"/>
                  </a:cubicBezTo>
                  <a:cubicBezTo>
                    <a:pt x="34" y="89"/>
                    <a:pt x="34" y="89"/>
                    <a:pt x="34" y="89"/>
                  </a:cubicBezTo>
                  <a:cubicBezTo>
                    <a:pt x="35" y="86"/>
                    <a:pt x="35" y="84"/>
                    <a:pt x="35" y="81"/>
                  </a:cubicBezTo>
                  <a:cubicBezTo>
                    <a:pt x="36" y="77"/>
                    <a:pt x="35" y="71"/>
                    <a:pt x="35" y="67"/>
                  </a:cubicBezTo>
                  <a:cubicBezTo>
                    <a:pt x="35" y="65"/>
                    <a:pt x="35" y="65"/>
                    <a:pt x="35" y="65"/>
                  </a:cubicBezTo>
                  <a:cubicBezTo>
                    <a:pt x="35" y="62"/>
                    <a:pt x="35" y="59"/>
                    <a:pt x="35" y="56"/>
                  </a:cubicBezTo>
                  <a:cubicBezTo>
                    <a:pt x="35" y="54"/>
                    <a:pt x="35" y="54"/>
                    <a:pt x="35" y="54"/>
                  </a:cubicBezTo>
                  <a:cubicBezTo>
                    <a:pt x="35" y="51"/>
                    <a:pt x="35" y="47"/>
                    <a:pt x="34" y="45"/>
                  </a:cubicBezTo>
                  <a:cubicBezTo>
                    <a:pt x="34" y="44"/>
                    <a:pt x="33" y="44"/>
                    <a:pt x="33" y="43"/>
                  </a:cubicBezTo>
                  <a:cubicBezTo>
                    <a:pt x="32" y="43"/>
                    <a:pt x="32" y="43"/>
                    <a:pt x="32" y="43"/>
                  </a:cubicBezTo>
                  <a:cubicBezTo>
                    <a:pt x="32" y="42"/>
                    <a:pt x="31" y="42"/>
                    <a:pt x="31" y="41"/>
                  </a:cubicBezTo>
                  <a:cubicBezTo>
                    <a:pt x="31" y="40"/>
                    <a:pt x="30" y="40"/>
                    <a:pt x="30" y="39"/>
                  </a:cubicBezTo>
                  <a:cubicBezTo>
                    <a:pt x="30" y="39"/>
                    <a:pt x="29" y="38"/>
                    <a:pt x="29" y="37"/>
                  </a:cubicBezTo>
                  <a:cubicBezTo>
                    <a:pt x="29" y="36"/>
                    <a:pt x="29" y="36"/>
                    <a:pt x="29" y="36"/>
                  </a:cubicBezTo>
                  <a:cubicBezTo>
                    <a:pt x="29" y="35"/>
                    <a:pt x="29" y="35"/>
                    <a:pt x="29" y="35"/>
                  </a:cubicBezTo>
                  <a:cubicBezTo>
                    <a:pt x="29" y="33"/>
                    <a:pt x="29" y="32"/>
                    <a:pt x="29" y="31"/>
                  </a:cubicBezTo>
                  <a:cubicBezTo>
                    <a:pt x="29" y="30"/>
                    <a:pt x="29" y="30"/>
                    <a:pt x="29" y="30"/>
                  </a:cubicBezTo>
                  <a:cubicBezTo>
                    <a:pt x="29" y="29"/>
                    <a:pt x="29" y="26"/>
                    <a:pt x="29" y="25"/>
                  </a:cubicBezTo>
                  <a:cubicBezTo>
                    <a:pt x="28" y="24"/>
                    <a:pt x="28" y="24"/>
                    <a:pt x="28" y="24"/>
                  </a:cubicBezTo>
                  <a:cubicBezTo>
                    <a:pt x="28" y="24"/>
                    <a:pt x="28" y="24"/>
                    <a:pt x="28" y="24"/>
                  </a:cubicBezTo>
                  <a:cubicBezTo>
                    <a:pt x="27" y="24"/>
                    <a:pt x="27" y="23"/>
                    <a:pt x="26" y="23"/>
                  </a:cubicBezTo>
                  <a:cubicBezTo>
                    <a:pt x="25" y="22"/>
                    <a:pt x="25" y="22"/>
                    <a:pt x="25" y="22"/>
                  </a:cubicBezTo>
                  <a:cubicBezTo>
                    <a:pt x="23" y="21"/>
                    <a:pt x="21" y="19"/>
                    <a:pt x="19" y="18"/>
                  </a:cubicBezTo>
                  <a:cubicBezTo>
                    <a:pt x="17" y="16"/>
                    <a:pt x="16" y="13"/>
                    <a:pt x="15" y="11"/>
                  </a:cubicBezTo>
                  <a:cubicBezTo>
                    <a:pt x="15" y="9"/>
                    <a:pt x="15" y="8"/>
                    <a:pt x="15" y="7"/>
                  </a:cubicBezTo>
                  <a:cubicBezTo>
                    <a:pt x="16" y="5"/>
                    <a:pt x="16" y="3"/>
                    <a:pt x="17" y="1"/>
                  </a:cubicBezTo>
                  <a:cubicBezTo>
                    <a:pt x="15" y="1"/>
                    <a:pt x="15" y="1"/>
                    <a:pt x="15" y="1"/>
                  </a:cubicBezTo>
                  <a:cubicBezTo>
                    <a:pt x="11" y="1"/>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Freeform 237">
              <a:extLst>
                <a:ext uri="{FF2B5EF4-FFF2-40B4-BE49-F238E27FC236}">
                  <a16:creationId xmlns:a16="http://schemas.microsoft.com/office/drawing/2014/main" id="{4ECE28C9-E1C6-4BEC-8DE2-8D57D49BB52E}"/>
                </a:ext>
              </a:extLst>
            </p:cNvPr>
            <p:cNvSpPr>
              <a:spLocks/>
            </p:cNvSpPr>
            <p:nvPr/>
          </p:nvSpPr>
          <p:spPr bwMode="auto">
            <a:xfrm>
              <a:off x="3488" y="2138"/>
              <a:ext cx="237" cy="352"/>
            </a:xfrm>
            <a:custGeom>
              <a:avLst/>
              <a:gdLst>
                <a:gd name="T0" fmla="*/ 64 w 100"/>
                <a:gd name="T1" fmla="*/ 2 h 149"/>
                <a:gd name="T2" fmla="*/ 63 w 100"/>
                <a:gd name="T3" fmla="*/ 3 h 149"/>
                <a:gd name="T4" fmla="*/ 62 w 100"/>
                <a:gd name="T5" fmla="*/ 2 h 149"/>
                <a:gd name="T6" fmla="*/ 61 w 100"/>
                <a:gd name="T7" fmla="*/ 4 h 149"/>
                <a:gd name="T8" fmla="*/ 60 w 100"/>
                <a:gd name="T9" fmla="*/ 4 h 149"/>
                <a:gd name="T10" fmla="*/ 56 w 100"/>
                <a:gd name="T11" fmla="*/ 4 h 149"/>
                <a:gd name="T12" fmla="*/ 44 w 100"/>
                <a:gd name="T13" fmla="*/ 3 h 149"/>
                <a:gd name="T14" fmla="*/ 22 w 100"/>
                <a:gd name="T15" fmla="*/ 4 h 149"/>
                <a:gd name="T16" fmla="*/ 9 w 100"/>
                <a:gd name="T17" fmla="*/ 4 h 149"/>
                <a:gd name="T18" fmla="*/ 7 w 100"/>
                <a:gd name="T19" fmla="*/ 8 h 149"/>
                <a:gd name="T20" fmla="*/ 11 w 100"/>
                <a:gd name="T21" fmla="*/ 25 h 149"/>
                <a:gd name="T22" fmla="*/ 13 w 100"/>
                <a:gd name="T23" fmla="*/ 29 h 149"/>
                <a:gd name="T24" fmla="*/ 13 w 100"/>
                <a:gd name="T25" fmla="*/ 36 h 149"/>
                <a:gd name="T26" fmla="*/ 13 w 100"/>
                <a:gd name="T27" fmla="*/ 36 h 149"/>
                <a:gd name="T28" fmla="*/ 13 w 100"/>
                <a:gd name="T29" fmla="*/ 38 h 149"/>
                <a:gd name="T30" fmla="*/ 13 w 100"/>
                <a:gd name="T31" fmla="*/ 38 h 149"/>
                <a:gd name="T32" fmla="*/ 11 w 100"/>
                <a:gd name="T33" fmla="*/ 44 h 149"/>
                <a:gd name="T34" fmla="*/ 11 w 100"/>
                <a:gd name="T35" fmla="*/ 46 h 149"/>
                <a:gd name="T36" fmla="*/ 12 w 100"/>
                <a:gd name="T37" fmla="*/ 48 h 149"/>
                <a:gd name="T38" fmla="*/ 17 w 100"/>
                <a:gd name="T39" fmla="*/ 61 h 149"/>
                <a:gd name="T40" fmla="*/ 12 w 100"/>
                <a:gd name="T41" fmla="*/ 75 h 149"/>
                <a:gd name="T42" fmla="*/ 9 w 100"/>
                <a:gd name="T43" fmla="*/ 79 h 149"/>
                <a:gd name="T44" fmla="*/ 7 w 100"/>
                <a:gd name="T45" fmla="*/ 85 h 149"/>
                <a:gd name="T46" fmla="*/ 4 w 100"/>
                <a:gd name="T47" fmla="*/ 92 h 149"/>
                <a:gd name="T48" fmla="*/ 1 w 100"/>
                <a:gd name="T49" fmla="*/ 106 h 149"/>
                <a:gd name="T50" fmla="*/ 5 w 100"/>
                <a:gd name="T51" fmla="*/ 123 h 149"/>
                <a:gd name="T52" fmla="*/ 6 w 100"/>
                <a:gd name="T53" fmla="*/ 126 h 149"/>
                <a:gd name="T54" fmla="*/ 11 w 100"/>
                <a:gd name="T55" fmla="*/ 132 h 149"/>
                <a:gd name="T56" fmla="*/ 11 w 100"/>
                <a:gd name="T57" fmla="*/ 135 h 149"/>
                <a:gd name="T58" fmla="*/ 11 w 100"/>
                <a:gd name="T59" fmla="*/ 137 h 149"/>
                <a:gd name="T60" fmla="*/ 12 w 100"/>
                <a:gd name="T61" fmla="*/ 140 h 149"/>
                <a:gd name="T62" fmla="*/ 10 w 100"/>
                <a:gd name="T63" fmla="*/ 143 h 149"/>
                <a:gd name="T64" fmla="*/ 7 w 100"/>
                <a:gd name="T65" fmla="*/ 143 h 149"/>
                <a:gd name="T66" fmla="*/ 25 w 100"/>
                <a:gd name="T67" fmla="*/ 149 h 149"/>
                <a:gd name="T68" fmla="*/ 31 w 100"/>
                <a:gd name="T69" fmla="*/ 146 h 149"/>
                <a:gd name="T70" fmla="*/ 54 w 100"/>
                <a:gd name="T71" fmla="*/ 138 h 149"/>
                <a:gd name="T72" fmla="*/ 88 w 100"/>
                <a:gd name="T73" fmla="*/ 123 h 149"/>
                <a:gd name="T74" fmla="*/ 88 w 100"/>
                <a:gd name="T75" fmla="*/ 123 h 149"/>
                <a:gd name="T76" fmla="*/ 96 w 100"/>
                <a:gd name="T77" fmla="*/ 124 h 149"/>
                <a:gd name="T78" fmla="*/ 100 w 100"/>
                <a:gd name="T79" fmla="*/ 119 h 149"/>
                <a:gd name="T80" fmla="*/ 83 w 100"/>
                <a:gd name="T81" fmla="*/ 97 h 149"/>
                <a:gd name="T82" fmla="*/ 84 w 100"/>
                <a:gd name="T83" fmla="*/ 93 h 149"/>
                <a:gd name="T84" fmla="*/ 85 w 100"/>
                <a:gd name="T85" fmla="*/ 91 h 149"/>
                <a:gd name="T86" fmla="*/ 83 w 100"/>
                <a:gd name="T87" fmla="*/ 85 h 149"/>
                <a:gd name="T88" fmla="*/ 83 w 100"/>
                <a:gd name="T89" fmla="*/ 80 h 149"/>
                <a:gd name="T90" fmla="*/ 85 w 100"/>
                <a:gd name="T91" fmla="*/ 70 h 149"/>
                <a:gd name="T92" fmla="*/ 86 w 100"/>
                <a:gd name="T93" fmla="*/ 64 h 149"/>
                <a:gd name="T94" fmla="*/ 85 w 100"/>
                <a:gd name="T95" fmla="*/ 61 h 149"/>
                <a:gd name="T96" fmla="*/ 80 w 100"/>
                <a:gd name="T97" fmla="*/ 56 h 149"/>
                <a:gd name="T98" fmla="*/ 81 w 100"/>
                <a:gd name="T99" fmla="*/ 51 h 149"/>
                <a:gd name="T100" fmla="*/ 82 w 100"/>
                <a:gd name="T101" fmla="*/ 49 h 149"/>
                <a:gd name="T102" fmla="*/ 80 w 100"/>
                <a:gd name="T103" fmla="*/ 41 h 149"/>
                <a:gd name="T104" fmla="*/ 76 w 100"/>
                <a:gd name="T105" fmla="*/ 37 h 149"/>
                <a:gd name="T106" fmla="*/ 78 w 100"/>
                <a:gd name="T107" fmla="*/ 28 h 149"/>
                <a:gd name="T108" fmla="*/ 79 w 100"/>
                <a:gd name="T109" fmla="*/ 18 h 149"/>
                <a:gd name="T110" fmla="*/ 70 w 100"/>
                <a:gd name="T111" fmla="*/ 2 h 149"/>
                <a:gd name="T112" fmla="*/ 70 w 100"/>
                <a:gd name="T113"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49">
                  <a:moveTo>
                    <a:pt x="69" y="0"/>
                  </a:moveTo>
                  <a:cubicBezTo>
                    <a:pt x="67" y="0"/>
                    <a:pt x="65" y="2"/>
                    <a:pt x="64" y="2"/>
                  </a:cubicBezTo>
                  <a:cubicBezTo>
                    <a:pt x="63" y="3"/>
                    <a:pt x="63" y="3"/>
                    <a:pt x="63" y="3"/>
                  </a:cubicBezTo>
                  <a:cubicBezTo>
                    <a:pt x="63" y="3"/>
                    <a:pt x="63" y="3"/>
                    <a:pt x="63" y="3"/>
                  </a:cubicBezTo>
                  <a:cubicBezTo>
                    <a:pt x="62" y="3"/>
                    <a:pt x="62" y="3"/>
                    <a:pt x="62" y="3"/>
                  </a:cubicBezTo>
                  <a:cubicBezTo>
                    <a:pt x="62" y="2"/>
                    <a:pt x="62" y="2"/>
                    <a:pt x="62" y="2"/>
                  </a:cubicBezTo>
                  <a:cubicBezTo>
                    <a:pt x="62" y="3"/>
                    <a:pt x="62" y="3"/>
                    <a:pt x="62" y="3"/>
                  </a:cubicBezTo>
                  <a:cubicBezTo>
                    <a:pt x="61" y="3"/>
                    <a:pt x="61" y="3"/>
                    <a:pt x="61" y="4"/>
                  </a:cubicBezTo>
                  <a:cubicBezTo>
                    <a:pt x="60" y="2"/>
                    <a:pt x="60" y="2"/>
                    <a:pt x="60" y="2"/>
                  </a:cubicBezTo>
                  <a:cubicBezTo>
                    <a:pt x="60" y="4"/>
                    <a:pt x="60" y="4"/>
                    <a:pt x="60" y="4"/>
                  </a:cubicBezTo>
                  <a:cubicBezTo>
                    <a:pt x="60" y="4"/>
                    <a:pt x="59" y="4"/>
                    <a:pt x="59" y="4"/>
                  </a:cubicBezTo>
                  <a:cubicBezTo>
                    <a:pt x="58" y="4"/>
                    <a:pt x="57" y="4"/>
                    <a:pt x="56" y="4"/>
                  </a:cubicBezTo>
                  <a:cubicBezTo>
                    <a:pt x="51" y="3"/>
                    <a:pt x="51" y="3"/>
                    <a:pt x="51" y="3"/>
                  </a:cubicBezTo>
                  <a:cubicBezTo>
                    <a:pt x="49" y="3"/>
                    <a:pt x="47" y="3"/>
                    <a:pt x="44" y="3"/>
                  </a:cubicBezTo>
                  <a:cubicBezTo>
                    <a:pt x="39" y="3"/>
                    <a:pt x="32" y="3"/>
                    <a:pt x="24" y="4"/>
                  </a:cubicBezTo>
                  <a:cubicBezTo>
                    <a:pt x="23" y="4"/>
                    <a:pt x="23" y="4"/>
                    <a:pt x="22" y="4"/>
                  </a:cubicBezTo>
                  <a:cubicBezTo>
                    <a:pt x="20" y="4"/>
                    <a:pt x="18" y="4"/>
                    <a:pt x="16" y="4"/>
                  </a:cubicBezTo>
                  <a:cubicBezTo>
                    <a:pt x="13" y="4"/>
                    <a:pt x="10" y="4"/>
                    <a:pt x="9" y="4"/>
                  </a:cubicBezTo>
                  <a:cubicBezTo>
                    <a:pt x="8" y="5"/>
                    <a:pt x="8" y="5"/>
                    <a:pt x="8" y="5"/>
                  </a:cubicBezTo>
                  <a:cubicBezTo>
                    <a:pt x="8" y="6"/>
                    <a:pt x="7" y="7"/>
                    <a:pt x="7" y="8"/>
                  </a:cubicBezTo>
                  <a:cubicBezTo>
                    <a:pt x="8" y="10"/>
                    <a:pt x="8" y="10"/>
                    <a:pt x="8" y="10"/>
                  </a:cubicBezTo>
                  <a:cubicBezTo>
                    <a:pt x="9" y="13"/>
                    <a:pt x="10" y="19"/>
                    <a:pt x="11" y="25"/>
                  </a:cubicBezTo>
                  <a:cubicBezTo>
                    <a:pt x="13" y="16"/>
                    <a:pt x="13" y="16"/>
                    <a:pt x="13" y="16"/>
                  </a:cubicBezTo>
                  <a:cubicBezTo>
                    <a:pt x="13" y="29"/>
                    <a:pt x="13" y="29"/>
                    <a:pt x="13" y="29"/>
                  </a:cubicBezTo>
                  <a:cubicBezTo>
                    <a:pt x="14" y="27"/>
                    <a:pt x="14" y="27"/>
                    <a:pt x="14" y="27"/>
                  </a:cubicBezTo>
                  <a:cubicBezTo>
                    <a:pt x="13" y="36"/>
                    <a:pt x="13" y="36"/>
                    <a:pt x="13" y="36"/>
                  </a:cubicBezTo>
                  <a:cubicBezTo>
                    <a:pt x="13" y="36"/>
                    <a:pt x="13" y="36"/>
                    <a:pt x="13" y="36"/>
                  </a:cubicBezTo>
                  <a:cubicBezTo>
                    <a:pt x="13" y="36"/>
                    <a:pt x="13" y="36"/>
                    <a:pt x="13" y="36"/>
                  </a:cubicBezTo>
                  <a:cubicBezTo>
                    <a:pt x="13" y="37"/>
                    <a:pt x="13" y="37"/>
                    <a:pt x="13" y="37"/>
                  </a:cubicBezTo>
                  <a:cubicBezTo>
                    <a:pt x="13" y="38"/>
                    <a:pt x="13" y="38"/>
                    <a:pt x="13" y="38"/>
                  </a:cubicBezTo>
                  <a:cubicBezTo>
                    <a:pt x="13" y="38"/>
                    <a:pt x="13" y="38"/>
                    <a:pt x="13" y="38"/>
                  </a:cubicBezTo>
                  <a:cubicBezTo>
                    <a:pt x="13" y="38"/>
                    <a:pt x="13" y="38"/>
                    <a:pt x="13" y="38"/>
                  </a:cubicBezTo>
                  <a:cubicBezTo>
                    <a:pt x="12" y="40"/>
                    <a:pt x="12" y="40"/>
                    <a:pt x="12" y="40"/>
                  </a:cubicBezTo>
                  <a:cubicBezTo>
                    <a:pt x="12" y="41"/>
                    <a:pt x="11" y="43"/>
                    <a:pt x="11" y="44"/>
                  </a:cubicBezTo>
                  <a:cubicBezTo>
                    <a:pt x="11" y="45"/>
                    <a:pt x="11" y="45"/>
                    <a:pt x="11" y="46"/>
                  </a:cubicBezTo>
                  <a:cubicBezTo>
                    <a:pt x="11" y="46"/>
                    <a:pt x="11" y="46"/>
                    <a:pt x="11" y="46"/>
                  </a:cubicBezTo>
                  <a:cubicBezTo>
                    <a:pt x="11" y="47"/>
                    <a:pt x="11" y="47"/>
                    <a:pt x="11" y="47"/>
                  </a:cubicBezTo>
                  <a:cubicBezTo>
                    <a:pt x="12" y="47"/>
                    <a:pt x="12" y="48"/>
                    <a:pt x="12" y="48"/>
                  </a:cubicBezTo>
                  <a:cubicBezTo>
                    <a:pt x="14" y="51"/>
                    <a:pt x="14" y="51"/>
                    <a:pt x="14" y="51"/>
                  </a:cubicBezTo>
                  <a:cubicBezTo>
                    <a:pt x="15" y="54"/>
                    <a:pt x="16" y="57"/>
                    <a:pt x="17" y="61"/>
                  </a:cubicBezTo>
                  <a:cubicBezTo>
                    <a:pt x="17" y="65"/>
                    <a:pt x="18" y="68"/>
                    <a:pt x="14" y="72"/>
                  </a:cubicBezTo>
                  <a:cubicBezTo>
                    <a:pt x="13" y="73"/>
                    <a:pt x="13" y="74"/>
                    <a:pt x="12" y="75"/>
                  </a:cubicBezTo>
                  <a:cubicBezTo>
                    <a:pt x="11" y="77"/>
                    <a:pt x="11" y="77"/>
                    <a:pt x="11" y="77"/>
                  </a:cubicBezTo>
                  <a:cubicBezTo>
                    <a:pt x="10" y="77"/>
                    <a:pt x="9" y="78"/>
                    <a:pt x="9" y="79"/>
                  </a:cubicBezTo>
                  <a:cubicBezTo>
                    <a:pt x="8" y="80"/>
                    <a:pt x="7" y="83"/>
                    <a:pt x="7" y="84"/>
                  </a:cubicBezTo>
                  <a:cubicBezTo>
                    <a:pt x="7" y="85"/>
                    <a:pt x="7" y="85"/>
                    <a:pt x="7" y="85"/>
                  </a:cubicBezTo>
                  <a:cubicBezTo>
                    <a:pt x="7" y="85"/>
                    <a:pt x="6" y="86"/>
                    <a:pt x="6" y="87"/>
                  </a:cubicBezTo>
                  <a:cubicBezTo>
                    <a:pt x="6" y="88"/>
                    <a:pt x="5" y="90"/>
                    <a:pt x="4" y="92"/>
                  </a:cubicBezTo>
                  <a:cubicBezTo>
                    <a:pt x="2" y="96"/>
                    <a:pt x="0" y="100"/>
                    <a:pt x="1" y="104"/>
                  </a:cubicBezTo>
                  <a:cubicBezTo>
                    <a:pt x="1" y="106"/>
                    <a:pt x="1" y="106"/>
                    <a:pt x="1" y="106"/>
                  </a:cubicBezTo>
                  <a:cubicBezTo>
                    <a:pt x="1" y="112"/>
                    <a:pt x="2" y="118"/>
                    <a:pt x="5" y="122"/>
                  </a:cubicBezTo>
                  <a:cubicBezTo>
                    <a:pt x="5" y="123"/>
                    <a:pt x="5" y="123"/>
                    <a:pt x="5" y="123"/>
                  </a:cubicBezTo>
                  <a:cubicBezTo>
                    <a:pt x="5" y="124"/>
                    <a:pt x="5" y="124"/>
                    <a:pt x="5" y="124"/>
                  </a:cubicBezTo>
                  <a:cubicBezTo>
                    <a:pt x="6" y="125"/>
                    <a:pt x="6" y="125"/>
                    <a:pt x="6" y="126"/>
                  </a:cubicBezTo>
                  <a:cubicBezTo>
                    <a:pt x="8" y="127"/>
                    <a:pt x="8" y="127"/>
                    <a:pt x="8" y="127"/>
                  </a:cubicBezTo>
                  <a:cubicBezTo>
                    <a:pt x="9" y="129"/>
                    <a:pt x="11" y="130"/>
                    <a:pt x="11" y="132"/>
                  </a:cubicBezTo>
                  <a:cubicBezTo>
                    <a:pt x="11" y="133"/>
                    <a:pt x="11" y="133"/>
                    <a:pt x="11" y="133"/>
                  </a:cubicBezTo>
                  <a:cubicBezTo>
                    <a:pt x="12" y="134"/>
                    <a:pt x="11" y="135"/>
                    <a:pt x="11" y="135"/>
                  </a:cubicBezTo>
                  <a:cubicBezTo>
                    <a:pt x="11" y="136"/>
                    <a:pt x="11" y="136"/>
                    <a:pt x="11" y="136"/>
                  </a:cubicBezTo>
                  <a:cubicBezTo>
                    <a:pt x="11" y="136"/>
                    <a:pt x="11" y="137"/>
                    <a:pt x="11" y="137"/>
                  </a:cubicBezTo>
                  <a:cubicBezTo>
                    <a:pt x="11" y="138"/>
                    <a:pt x="12" y="138"/>
                    <a:pt x="12" y="139"/>
                  </a:cubicBezTo>
                  <a:cubicBezTo>
                    <a:pt x="12" y="140"/>
                    <a:pt x="12" y="140"/>
                    <a:pt x="12" y="140"/>
                  </a:cubicBezTo>
                  <a:cubicBezTo>
                    <a:pt x="11" y="142"/>
                    <a:pt x="11" y="142"/>
                    <a:pt x="11" y="142"/>
                  </a:cubicBezTo>
                  <a:cubicBezTo>
                    <a:pt x="11" y="142"/>
                    <a:pt x="10" y="142"/>
                    <a:pt x="10" y="143"/>
                  </a:cubicBezTo>
                  <a:cubicBezTo>
                    <a:pt x="9" y="143"/>
                    <a:pt x="9" y="143"/>
                    <a:pt x="9" y="143"/>
                  </a:cubicBezTo>
                  <a:cubicBezTo>
                    <a:pt x="8" y="143"/>
                    <a:pt x="8" y="143"/>
                    <a:pt x="7" y="143"/>
                  </a:cubicBezTo>
                  <a:cubicBezTo>
                    <a:pt x="11" y="145"/>
                    <a:pt x="15" y="146"/>
                    <a:pt x="19" y="147"/>
                  </a:cubicBezTo>
                  <a:cubicBezTo>
                    <a:pt x="21" y="148"/>
                    <a:pt x="23" y="149"/>
                    <a:pt x="25" y="149"/>
                  </a:cubicBezTo>
                  <a:cubicBezTo>
                    <a:pt x="26" y="149"/>
                    <a:pt x="26" y="149"/>
                    <a:pt x="27" y="149"/>
                  </a:cubicBezTo>
                  <a:cubicBezTo>
                    <a:pt x="28" y="148"/>
                    <a:pt x="30" y="147"/>
                    <a:pt x="31" y="146"/>
                  </a:cubicBezTo>
                  <a:cubicBezTo>
                    <a:pt x="33" y="145"/>
                    <a:pt x="34" y="143"/>
                    <a:pt x="36" y="142"/>
                  </a:cubicBezTo>
                  <a:cubicBezTo>
                    <a:pt x="42" y="140"/>
                    <a:pt x="49" y="140"/>
                    <a:pt x="54" y="138"/>
                  </a:cubicBezTo>
                  <a:cubicBezTo>
                    <a:pt x="59" y="136"/>
                    <a:pt x="63" y="132"/>
                    <a:pt x="68" y="130"/>
                  </a:cubicBezTo>
                  <a:cubicBezTo>
                    <a:pt x="75" y="128"/>
                    <a:pt x="82" y="125"/>
                    <a:pt x="88" y="123"/>
                  </a:cubicBezTo>
                  <a:cubicBezTo>
                    <a:pt x="85" y="121"/>
                    <a:pt x="82" y="119"/>
                    <a:pt x="78" y="117"/>
                  </a:cubicBezTo>
                  <a:cubicBezTo>
                    <a:pt x="84" y="118"/>
                    <a:pt x="87" y="117"/>
                    <a:pt x="88" y="123"/>
                  </a:cubicBezTo>
                  <a:cubicBezTo>
                    <a:pt x="89" y="124"/>
                    <a:pt x="91" y="125"/>
                    <a:pt x="92" y="125"/>
                  </a:cubicBezTo>
                  <a:cubicBezTo>
                    <a:pt x="94" y="125"/>
                    <a:pt x="95" y="124"/>
                    <a:pt x="96" y="124"/>
                  </a:cubicBezTo>
                  <a:cubicBezTo>
                    <a:pt x="98" y="123"/>
                    <a:pt x="99" y="121"/>
                    <a:pt x="100" y="119"/>
                  </a:cubicBezTo>
                  <a:cubicBezTo>
                    <a:pt x="100" y="119"/>
                    <a:pt x="100" y="119"/>
                    <a:pt x="100" y="119"/>
                  </a:cubicBezTo>
                  <a:cubicBezTo>
                    <a:pt x="98" y="118"/>
                    <a:pt x="96" y="117"/>
                    <a:pt x="96" y="116"/>
                  </a:cubicBezTo>
                  <a:cubicBezTo>
                    <a:pt x="89" y="110"/>
                    <a:pt x="86" y="105"/>
                    <a:pt x="83" y="97"/>
                  </a:cubicBezTo>
                  <a:cubicBezTo>
                    <a:pt x="82" y="94"/>
                    <a:pt x="82" y="94"/>
                    <a:pt x="82" y="94"/>
                  </a:cubicBezTo>
                  <a:cubicBezTo>
                    <a:pt x="84" y="93"/>
                    <a:pt x="84" y="93"/>
                    <a:pt x="84" y="93"/>
                  </a:cubicBezTo>
                  <a:cubicBezTo>
                    <a:pt x="85" y="93"/>
                    <a:pt x="85" y="92"/>
                    <a:pt x="85" y="92"/>
                  </a:cubicBezTo>
                  <a:cubicBezTo>
                    <a:pt x="85" y="91"/>
                    <a:pt x="85" y="91"/>
                    <a:pt x="85" y="91"/>
                  </a:cubicBezTo>
                  <a:cubicBezTo>
                    <a:pt x="85" y="90"/>
                    <a:pt x="86" y="89"/>
                    <a:pt x="86" y="88"/>
                  </a:cubicBezTo>
                  <a:cubicBezTo>
                    <a:pt x="85" y="88"/>
                    <a:pt x="83" y="87"/>
                    <a:pt x="83" y="85"/>
                  </a:cubicBezTo>
                  <a:cubicBezTo>
                    <a:pt x="82" y="84"/>
                    <a:pt x="82" y="83"/>
                    <a:pt x="82" y="82"/>
                  </a:cubicBezTo>
                  <a:cubicBezTo>
                    <a:pt x="83" y="80"/>
                    <a:pt x="83" y="80"/>
                    <a:pt x="83" y="80"/>
                  </a:cubicBezTo>
                  <a:cubicBezTo>
                    <a:pt x="83" y="80"/>
                    <a:pt x="83" y="80"/>
                    <a:pt x="83" y="80"/>
                  </a:cubicBezTo>
                  <a:cubicBezTo>
                    <a:pt x="85" y="76"/>
                    <a:pt x="85" y="74"/>
                    <a:pt x="85" y="70"/>
                  </a:cubicBezTo>
                  <a:cubicBezTo>
                    <a:pt x="85" y="70"/>
                    <a:pt x="85" y="69"/>
                    <a:pt x="85" y="68"/>
                  </a:cubicBezTo>
                  <a:cubicBezTo>
                    <a:pt x="85" y="67"/>
                    <a:pt x="86" y="65"/>
                    <a:pt x="86" y="64"/>
                  </a:cubicBezTo>
                  <a:cubicBezTo>
                    <a:pt x="87" y="63"/>
                    <a:pt x="87" y="63"/>
                    <a:pt x="86" y="62"/>
                  </a:cubicBezTo>
                  <a:cubicBezTo>
                    <a:pt x="86" y="62"/>
                    <a:pt x="85" y="61"/>
                    <a:pt x="85" y="61"/>
                  </a:cubicBezTo>
                  <a:cubicBezTo>
                    <a:pt x="84" y="60"/>
                    <a:pt x="84" y="60"/>
                    <a:pt x="84" y="60"/>
                  </a:cubicBezTo>
                  <a:cubicBezTo>
                    <a:pt x="83" y="59"/>
                    <a:pt x="81" y="57"/>
                    <a:pt x="80" y="56"/>
                  </a:cubicBezTo>
                  <a:cubicBezTo>
                    <a:pt x="78" y="53"/>
                    <a:pt x="78" y="53"/>
                    <a:pt x="78" y="53"/>
                  </a:cubicBezTo>
                  <a:cubicBezTo>
                    <a:pt x="81" y="51"/>
                    <a:pt x="81" y="51"/>
                    <a:pt x="81" y="51"/>
                  </a:cubicBezTo>
                  <a:cubicBezTo>
                    <a:pt x="81" y="51"/>
                    <a:pt x="82" y="51"/>
                    <a:pt x="82" y="50"/>
                  </a:cubicBezTo>
                  <a:cubicBezTo>
                    <a:pt x="82" y="50"/>
                    <a:pt x="82" y="49"/>
                    <a:pt x="82" y="49"/>
                  </a:cubicBezTo>
                  <a:cubicBezTo>
                    <a:pt x="81" y="48"/>
                    <a:pt x="81" y="47"/>
                    <a:pt x="81" y="46"/>
                  </a:cubicBezTo>
                  <a:cubicBezTo>
                    <a:pt x="80" y="41"/>
                    <a:pt x="80" y="41"/>
                    <a:pt x="80" y="41"/>
                  </a:cubicBezTo>
                  <a:cubicBezTo>
                    <a:pt x="79" y="41"/>
                    <a:pt x="78" y="41"/>
                    <a:pt x="78" y="41"/>
                  </a:cubicBezTo>
                  <a:cubicBezTo>
                    <a:pt x="77" y="40"/>
                    <a:pt x="76" y="39"/>
                    <a:pt x="76" y="37"/>
                  </a:cubicBezTo>
                  <a:cubicBezTo>
                    <a:pt x="76" y="36"/>
                    <a:pt x="76" y="35"/>
                    <a:pt x="77" y="35"/>
                  </a:cubicBezTo>
                  <a:cubicBezTo>
                    <a:pt x="76" y="32"/>
                    <a:pt x="77" y="30"/>
                    <a:pt x="78" y="28"/>
                  </a:cubicBezTo>
                  <a:cubicBezTo>
                    <a:pt x="78" y="27"/>
                    <a:pt x="78" y="27"/>
                    <a:pt x="79" y="26"/>
                  </a:cubicBezTo>
                  <a:cubicBezTo>
                    <a:pt x="80" y="22"/>
                    <a:pt x="80" y="20"/>
                    <a:pt x="79" y="18"/>
                  </a:cubicBezTo>
                  <a:cubicBezTo>
                    <a:pt x="72" y="12"/>
                    <a:pt x="72" y="12"/>
                    <a:pt x="72" y="12"/>
                  </a:cubicBezTo>
                  <a:cubicBezTo>
                    <a:pt x="67" y="8"/>
                    <a:pt x="69" y="5"/>
                    <a:pt x="70" y="2"/>
                  </a:cubicBezTo>
                  <a:cubicBezTo>
                    <a:pt x="70" y="1"/>
                    <a:pt x="70" y="1"/>
                    <a:pt x="70" y="1"/>
                  </a:cubicBezTo>
                  <a:cubicBezTo>
                    <a:pt x="70" y="1"/>
                    <a:pt x="70" y="1"/>
                    <a:pt x="70" y="1"/>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Freeform 238">
              <a:extLst>
                <a:ext uri="{FF2B5EF4-FFF2-40B4-BE49-F238E27FC236}">
                  <a16:creationId xmlns:a16="http://schemas.microsoft.com/office/drawing/2014/main" id="{3CC78139-829F-4F1E-ACAA-A3522905E893}"/>
                </a:ext>
              </a:extLst>
            </p:cNvPr>
            <p:cNvSpPr>
              <a:spLocks/>
            </p:cNvSpPr>
            <p:nvPr/>
          </p:nvSpPr>
          <p:spPr bwMode="auto">
            <a:xfrm>
              <a:off x="3209" y="2287"/>
              <a:ext cx="5" cy="5"/>
            </a:xfrm>
            <a:custGeom>
              <a:avLst/>
              <a:gdLst>
                <a:gd name="T0" fmla="*/ 1 w 2"/>
                <a:gd name="T1" fmla="*/ 0 h 2"/>
                <a:gd name="T2" fmla="*/ 0 w 2"/>
                <a:gd name="T3" fmla="*/ 0 h 2"/>
                <a:gd name="T4" fmla="*/ 0 w 2"/>
                <a:gd name="T5" fmla="*/ 0 h 2"/>
                <a:gd name="T6" fmla="*/ 1 w 2"/>
                <a:gd name="T7" fmla="*/ 2 h 2"/>
                <a:gd name="T8" fmla="*/ 1 w 2"/>
                <a:gd name="T9" fmla="*/ 2 h 2"/>
                <a:gd name="T10" fmla="*/ 2 w 2"/>
                <a:gd name="T11" fmla="*/ 2 h 2"/>
                <a:gd name="T12" fmla="*/ 2 w 2"/>
                <a:gd name="T13" fmla="*/ 0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0" y="0"/>
                  </a:cubicBezTo>
                  <a:cubicBezTo>
                    <a:pt x="0" y="0"/>
                    <a:pt x="0" y="0"/>
                    <a:pt x="0" y="0"/>
                  </a:cubicBezTo>
                  <a:cubicBezTo>
                    <a:pt x="0" y="1"/>
                    <a:pt x="0" y="1"/>
                    <a:pt x="1" y="2"/>
                  </a:cubicBezTo>
                  <a:cubicBezTo>
                    <a:pt x="1" y="2"/>
                    <a:pt x="1" y="2"/>
                    <a:pt x="1" y="2"/>
                  </a:cubicBezTo>
                  <a:cubicBezTo>
                    <a:pt x="2" y="2"/>
                    <a:pt x="2" y="2"/>
                    <a:pt x="2" y="2"/>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Freeform 239">
              <a:extLst>
                <a:ext uri="{FF2B5EF4-FFF2-40B4-BE49-F238E27FC236}">
                  <a16:creationId xmlns:a16="http://schemas.microsoft.com/office/drawing/2014/main" id="{C673F89B-6F6E-4CA7-9BF7-8DC646AFAF2E}"/>
                </a:ext>
              </a:extLst>
            </p:cNvPr>
            <p:cNvSpPr>
              <a:spLocks noEditPoints="1"/>
            </p:cNvSpPr>
            <p:nvPr/>
          </p:nvSpPr>
          <p:spPr bwMode="auto">
            <a:xfrm>
              <a:off x="3193" y="2166"/>
              <a:ext cx="324" cy="343"/>
            </a:xfrm>
            <a:custGeom>
              <a:avLst/>
              <a:gdLst>
                <a:gd name="T0" fmla="*/ 77 w 137"/>
                <a:gd name="T1" fmla="*/ 127 h 145"/>
                <a:gd name="T2" fmla="*/ 79 w 137"/>
                <a:gd name="T3" fmla="*/ 126 h 145"/>
                <a:gd name="T4" fmla="*/ 110 w 137"/>
                <a:gd name="T5" fmla="*/ 124 h 145"/>
                <a:gd name="T6" fmla="*/ 110 w 137"/>
                <a:gd name="T7" fmla="*/ 124 h 145"/>
                <a:gd name="T8" fmla="*/ 42 w 137"/>
                <a:gd name="T9" fmla="*/ 7 h 145"/>
                <a:gd name="T10" fmla="*/ 37 w 137"/>
                <a:gd name="T11" fmla="*/ 7 h 145"/>
                <a:gd name="T12" fmla="*/ 35 w 137"/>
                <a:gd name="T13" fmla="*/ 10 h 145"/>
                <a:gd name="T14" fmla="*/ 28 w 137"/>
                <a:gd name="T15" fmla="*/ 10 h 145"/>
                <a:gd name="T16" fmla="*/ 19 w 137"/>
                <a:gd name="T17" fmla="*/ 5 h 145"/>
                <a:gd name="T18" fmla="*/ 18 w 137"/>
                <a:gd name="T19" fmla="*/ 7 h 145"/>
                <a:gd name="T20" fmla="*/ 10 w 137"/>
                <a:gd name="T21" fmla="*/ 13 h 145"/>
                <a:gd name="T22" fmla="*/ 11 w 137"/>
                <a:gd name="T23" fmla="*/ 24 h 145"/>
                <a:gd name="T24" fmla="*/ 14 w 137"/>
                <a:gd name="T25" fmla="*/ 23 h 145"/>
                <a:gd name="T26" fmla="*/ 17 w 137"/>
                <a:gd name="T27" fmla="*/ 38 h 145"/>
                <a:gd name="T28" fmla="*/ 21 w 137"/>
                <a:gd name="T29" fmla="*/ 50 h 145"/>
                <a:gd name="T30" fmla="*/ 16 w 137"/>
                <a:gd name="T31" fmla="*/ 54 h 145"/>
                <a:gd name="T32" fmla="*/ 12 w 137"/>
                <a:gd name="T33" fmla="*/ 52 h 145"/>
                <a:gd name="T34" fmla="*/ 10 w 137"/>
                <a:gd name="T35" fmla="*/ 52 h 145"/>
                <a:gd name="T36" fmla="*/ 17 w 137"/>
                <a:gd name="T37" fmla="*/ 65 h 145"/>
                <a:gd name="T38" fmla="*/ 5 w 137"/>
                <a:gd name="T39" fmla="*/ 73 h 145"/>
                <a:gd name="T40" fmla="*/ 4 w 137"/>
                <a:gd name="T41" fmla="*/ 75 h 145"/>
                <a:gd name="T42" fmla="*/ 6 w 137"/>
                <a:gd name="T43" fmla="*/ 81 h 145"/>
                <a:gd name="T44" fmla="*/ 6 w 137"/>
                <a:gd name="T45" fmla="*/ 85 h 145"/>
                <a:gd name="T46" fmla="*/ 5 w 137"/>
                <a:gd name="T47" fmla="*/ 88 h 145"/>
                <a:gd name="T48" fmla="*/ 3 w 137"/>
                <a:gd name="T49" fmla="*/ 92 h 145"/>
                <a:gd name="T50" fmla="*/ 5 w 137"/>
                <a:gd name="T51" fmla="*/ 97 h 145"/>
                <a:gd name="T52" fmla="*/ 10 w 137"/>
                <a:gd name="T53" fmla="*/ 97 h 145"/>
                <a:gd name="T54" fmla="*/ 27 w 137"/>
                <a:gd name="T55" fmla="*/ 116 h 145"/>
                <a:gd name="T56" fmla="*/ 24 w 137"/>
                <a:gd name="T57" fmla="*/ 144 h 145"/>
                <a:gd name="T58" fmla="*/ 63 w 137"/>
                <a:gd name="T59" fmla="*/ 130 h 145"/>
                <a:gd name="T60" fmla="*/ 104 w 137"/>
                <a:gd name="T61" fmla="*/ 125 h 145"/>
                <a:gd name="T62" fmla="*/ 85 w 137"/>
                <a:gd name="T63" fmla="*/ 126 h 145"/>
                <a:gd name="T64" fmla="*/ 101 w 137"/>
                <a:gd name="T65" fmla="*/ 124 h 145"/>
                <a:gd name="T66" fmla="*/ 104 w 137"/>
                <a:gd name="T67" fmla="*/ 125 h 145"/>
                <a:gd name="T68" fmla="*/ 121 w 137"/>
                <a:gd name="T69" fmla="*/ 128 h 145"/>
                <a:gd name="T70" fmla="*/ 124 w 137"/>
                <a:gd name="T71" fmla="*/ 127 h 145"/>
                <a:gd name="T72" fmla="*/ 131 w 137"/>
                <a:gd name="T73" fmla="*/ 125 h 145"/>
                <a:gd name="T74" fmla="*/ 127 w 137"/>
                <a:gd name="T75" fmla="*/ 117 h 145"/>
                <a:gd name="T76" fmla="*/ 120 w 137"/>
                <a:gd name="T77" fmla="*/ 95 h 145"/>
                <a:gd name="T78" fmla="*/ 126 w 137"/>
                <a:gd name="T79" fmla="*/ 73 h 145"/>
                <a:gd name="T80" fmla="*/ 131 w 137"/>
                <a:gd name="T81" fmla="*/ 61 h 145"/>
                <a:gd name="T82" fmla="*/ 134 w 137"/>
                <a:gd name="T83" fmla="*/ 42 h 145"/>
                <a:gd name="T84" fmla="*/ 131 w 137"/>
                <a:gd name="T85" fmla="*/ 37 h 145"/>
                <a:gd name="T86" fmla="*/ 131 w 137"/>
                <a:gd name="T87" fmla="*/ 31 h 145"/>
                <a:gd name="T88" fmla="*/ 128 w 137"/>
                <a:gd name="T89" fmla="*/ 25 h 145"/>
                <a:gd name="T90" fmla="*/ 121 w 137"/>
                <a:gd name="T91" fmla="*/ 17 h 145"/>
                <a:gd name="T92" fmla="*/ 116 w 137"/>
                <a:gd name="T93" fmla="*/ 17 h 145"/>
                <a:gd name="T94" fmla="*/ 99 w 137"/>
                <a:gd name="T95" fmla="*/ 23 h 145"/>
                <a:gd name="T96" fmla="*/ 95 w 137"/>
                <a:gd name="T97" fmla="*/ 25 h 145"/>
                <a:gd name="T98" fmla="*/ 77 w 137"/>
                <a:gd name="T99" fmla="*/ 12 h 145"/>
                <a:gd name="T100" fmla="*/ 74 w 137"/>
                <a:gd name="T101" fmla="*/ 8 h 145"/>
                <a:gd name="T102" fmla="*/ 63 w 137"/>
                <a:gd name="T103" fmla="*/ 6 h 145"/>
                <a:gd name="T104" fmla="*/ 51 w 137"/>
                <a:gd name="T105" fmla="*/ 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45">
                  <a:moveTo>
                    <a:pt x="77" y="127"/>
                  </a:moveTo>
                  <a:cubicBezTo>
                    <a:pt x="77" y="127"/>
                    <a:pt x="76" y="127"/>
                    <a:pt x="76" y="127"/>
                  </a:cubicBezTo>
                  <a:cubicBezTo>
                    <a:pt x="76" y="127"/>
                    <a:pt x="77" y="127"/>
                    <a:pt x="77" y="127"/>
                  </a:cubicBezTo>
                  <a:moveTo>
                    <a:pt x="77" y="127"/>
                  </a:moveTo>
                  <a:cubicBezTo>
                    <a:pt x="77" y="127"/>
                    <a:pt x="77" y="127"/>
                    <a:pt x="78" y="127"/>
                  </a:cubicBezTo>
                  <a:cubicBezTo>
                    <a:pt x="77" y="127"/>
                    <a:pt x="77" y="127"/>
                    <a:pt x="77" y="127"/>
                  </a:cubicBezTo>
                  <a:cubicBezTo>
                    <a:pt x="77" y="127"/>
                    <a:pt x="77" y="127"/>
                    <a:pt x="77" y="127"/>
                  </a:cubicBezTo>
                  <a:moveTo>
                    <a:pt x="79" y="126"/>
                  </a:moveTo>
                  <a:cubicBezTo>
                    <a:pt x="79" y="126"/>
                    <a:pt x="79" y="126"/>
                    <a:pt x="79" y="126"/>
                  </a:cubicBezTo>
                  <a:moveTo>
                    <a:pt x="109" y="124"/>
                  </a:moveTo>
                  <a:cubicBezTo>
                    <a:pt x="110" y="124"/>
                    <a:pt x="110" y="124"/>
                    <a:pt x="110" y="124"/>
                  </a:cubicBezTo>
                  <a:cubicBezTo>
                    <a:pt x="110" y="124"/>
                    <a:pt x="110" y="124"/>
                    <a:pt x="110" y="124"/>
                  </a:cubicBezTo>
                  <a:cubicBezTo>
                    <a:pt x="109" y="124"/>
                    <a:pt x="109" y="124"/>
                    <a:pt x="109" y="124"/>
                  </a:cubicBezTo>
                  <a:moveTo>
                    <a:pt x="110" y="124"/>
                  </a:moveTo>
                  <a:cubicBezTo>
                    <a:pt x="110" y="123"/>
                    <a:pt x="109" y="122"/>
                    <a:pt x="109" y="122"/>
                  </a:cubicBezTo>
                  <a:cubicBezTo>
                    <a:pt x="109" y="122"/>
                    <a:pt x="110" y="123"/>
                    <a:pt x="110" y="124"/>
                  </a:cubicBezTo>
                  <a:moveTo>
                    <a:pt x="44" y="0"/>
                  </a:moveTo>
                  <a:cubicBezTo>
                    <a:pt x="44" y="1"/>
                    <a:pt x="44" y="2"/>
                    <a:pt x="44" y="2"/>
                  </a:cubicBezTo>
                  <a:cubicBezTo>
                    <a:pt x="45" y="7"/>
                    <a:pt x="45" y="7"/>
                    <a:pt x="45" y="7"/>
                  </a:cubicBezTo>
                  <a:cubicBezTo>
                    <a:pt x="42" y="7"/>
                    <a:pt x="42" y="7"/>
                    <a:pt x="42" y="7"/>
                  </a:cubicBezTo>
                  <a:cubicBezTo>
                    <a:pt x="41" y="7"/>
                    <a:pt x="40" y="7"/>
                    <a:pt x="40" y="7"/>
                  </a:cubicBezTo>
                  <a:cubicBezTo>
                    <a:pt x="39" y="7"/>
                    <a:pt x="39" y="7"/>
                    <a:pt x="39" y="7"/>
                  </a:cubicBezTo>
                  <a:cubicBezTo>
                    <a:pt x="39" y="7"/>
                    <a:pt x="38" y="7"/>
                    <a:pt x="38" y="7"/>
                  </a:cubicBezTo>
                  <a:cubicBezTo>
                    <a:pt x="37" y="7"/>
                    <a:pt x="37" y="7"/>
                    <a:pt x="37" y="7"/>
                  </a:cubicBezTo>
                  <a:cubicBezTo>
                    <a:pt x="37" y="7"/>
                    <a:pt x="37" y="7"/>
                    <a:pt x="37" y="7"/>
                  </a:cubicBezTo>
                  <a:cubicBezTo>
                    <a:pt x="36" y="7"/>
                    <a:pt x="36" y="7"/>
                    <a:pt x="36" y="7"/>
                  </a:cubicBezTo>
                  <a:cubicBezTo>
                    <a:pt x="36" y="8"/>
                    <a:pt x="36" y="8"/>
                    <a:pt x="36" y="8"/>
                  </a:cubicBezTo>
                  <a:cubicBezTo>
                    <a:pt x="36" y="9"/>
                    <a:pt x="36" y="10"/>
                    <a:pt x="35" y="10"/>
                  </a:cubicBezTo>
                  <a:cubicBezTo>
                    <a:pt x="33" y="15"/>
                    <a:pt x="33" y="15"/>
                    <a:pt x="33" y="15"/>
                  </a:cubicBezTo>
                  <a:cubicBezTo>
                    <a:pt x="30" y="10"/>
                    <a:pt x="30" y="10"/>
                    <a:pt x="30" y="10"/>
                  </a:cubicBezTo>
                  <a:cubicBezTo>
                    <a:pt x="29" y="10"/>
                    <a:pt x="29" y="10"/>
                    <a:pt x="29" y="10"/>
                  </a:cubicBezTo>
                  <a:cubicBezTo>
                    <a:pt x="29" y="10"/>
                    <a:pt x="29" y="10"/>
                    <a:pt x="28" y="10"/>
                  </a:cubicBezTo>
                  <a:cubicBezTo>
                    <a:pt x="27" y="10"/>
                    <a:pt x="26" y="10"/>
                    <a:pt x="24" y="9"/>
                  </a:cubicBezTo>
                  <a:cubicBezTo>
                    <a:pt x="24" y="9"/>
                    <a:pt x="23" y="8"/>
                    <a:pt x="23" y="7"/>
                  </a:cubicBezTo>
                  <a:cubicBezTo>
                    <a:pt x="22" y="7"/>
                    <a:pt x="22" y="7"/>
                    <a:pt x="22" y="7"/>
                  </a:cubicBezTo>
                  <a:cubicBezTo>
                    <a:pt x="21" y="6"/>
                    <a:pt x="20" y="5"/>
                    <a:pt x="19" y="5"/>
                  </a:cubicBezTo>
                  <a:cubicBezTo>
                    <a:pt x="19" y="5"/>
                    <a:pt x="19" y="5"/>
                    <a:pt x="19" y="5"/>
                  </a:cubicBezTo>
                  <a:cubicBezTo>
                    <a:pt x="19" y="5"/>
                    <a:pt x="19" y="5"/>
                    <a:pt x="19" y="5"/>
                  </a:cubicBezTo>
                  <a:cubicBezTo>
                    <a:pt x="19" y="7"/>
                    <a:pt x="19" y="7"/>
                    <a:pt x="19" y="7"/>
                  </a:cubicBezTo>
                  <a:cubicBezTo>
                    <a:pt x="18" y="7"/>
                    <a:pt x="18" y="7"/>
                    <a:pt x="18" y="7"/>
                  </a:cubicBezTo>
                  <a:cubicBezTo>
                    <a:pt x="18" y="7"/>
                    <a:pt x="18" y="7"/>
                    <a:pt x="18" y="7"/>
                  </a:cubicBezTo>
                  <a:cubicBezTo>
                    <a:pt x="17" y="8"/>
                    <a:pt x="17" y="8"/>
                    <a:pt x="17" y="8"/>
                  </a:cubicBezTo>
                  <a:cubicBezTo>
                    <a:pt x="14" y="10"/>
                    <a:pt x="14" y="10"/>
                    <a:pt x="14" y="10"/>
                  </a:cubicBezTo>
                  <a:cubicBezTo>
                    <a:pt x="12" y="11"/>
                    <a:pt x="11" y="12"/>
                    <a:pt x="10" y="13"/>
                  </a:cubicBezTo>
                  <a:cubicBezTo>
                    <a:pt x="10" y="13"/>
                    <a:pt x="10" y="13"/>
                    <a:pt x="10" y="14"/>
                  </a:cubicBezTo>
                  <a:cubicBezTo>
                    <a:pt x="9" y="15"/>
                    <a:pt x="9" y="17"/>
                    <a:pt x="9" y="19"/>
                  </a:cubicBezTo>
                  <a:cubicBezTo>
                    <a:pt x="9" y="20"/>
                    <a:pt x="9" y="20"/>
                    <a:pt x="9" y="20"/>
                  </a:cubicBezTo>
                  <a:cubicBezTo>
                    <a:pt x="10" y="21"/>
                    <a:pt x="10" y="23"/>
                    <a:pt x="11" y="24"/>
                  </a:cubicBezTo>
                  <a:cubicBezTo>
                    <a:pt x="11" y="24"/>
                    <a:pt x="11" y="24"/>
                    <a:pt x="11" y="24"/>
                  </a:cubicBezTo>
                  <a:cubicBezTo>
                    <a:pt x="11" y="24"/>
                    <a:pt x="12" y="24"/>
                    <a:pt x="12" y="24"/>
                  </a:cubicBezTo>
                  <a:cubicBezTo>
                    <a:pt x="12" y="24"/>
                    <a:pt x="13" y="23"/>
                    <a:pt x="13" y="23"/>
                  </a:cubicBezTo>
                  <a:cubicBezTo>
                    <a:pt x="13" y="23"/>
                    <a:pt x="14" y="23"/>
                    <a:pt x="14" y="23"/>
                  </a:cubicBezTo>
                  <a:cubicBezTo>
                    <a:pt x="17" y="24"/>
                    <a:pt x="17" y="24"/>
                    <a:pt x="17" y="24"/>
                  </a:cubicBezTo>
                  <a:cubicBezTo>
                    <a:pt x="17" y="26"/>
                    <a:pt x="17" y="26"/>
                    <a:pt x="17" y="26"/>
                  </a:cubicBezTo>
                  <a:cubicBezTo>
                    <a:pt x="17" y="27"/>
                    <a:pt x="17" y="28"/>
                    <a:pt x="17" y="29"/>
                  </a:cubicBezTo>
                  <a:cubicBezTo>
                    <a:pt x="18" y="31"/>
                    <a:pt x="20" y="35"/>
                    <a:pt x="17" y="38"/>
                  </a:cubicBezTo>
                  <a:cubicBezTo>
                    <a:pt x="17" y="38"/>
                    <a:pt x="16" y="39"/>
                    <a:pt x="16" y="39"/>
                  </a:cubicBezTo>
                  <a:cubicBezTo>
                    <a:pt x="16" y="40"/>
                    <a:pt x="16" y="40"/>
                    <a:pt x="16" y="40"/>
                  </a:cubicBezTo>
                  <a:cubicBezTo>
                    <a:pt x="16" y="40"/>
                    <a:pt x="16" y="40"/>
                    <a:pt x="16" y="40"/>
                  </a:cubicBezTo>
                  <a:cubicBezTo>
                    <a:pt x="18" y="42"/>
                    <a:pt x="20" y="45"/>
                    <a:pt x="21" y="50"/>
                  </a:cubicBezTo>
                  <a:cubicBezTo>
                    <a:pt x="22" y="52"/>
                    <a:pt x="22" y="52"/>
                    <a:pt x="22" y="52"/>
                  </a:cubicBezTo>
                  <a:cubicBezTo>
                    <a:pt x="19" y="54"/>
                    <a:pt x="19" y="54"/>
                    <a:pt x="19" y="54"/>
                  </a:cubicBezTo>
                  <a:cubicBezTo>
                    <a:pt x="19" y="54"/>
                    <a:pt x="18" y="54"/>
                    <a:pt x="17" y="54"/>
                  </a:cubicBezTo>
                  <a:cubicBezTo>
                    <a:pt x="17" y="54"/>
                    <a:pt x="16" y="54"/>
                    <a:pt x="16" y="54"/>
                  </a:cubicBezTo>
                  <a:cubicBezTo>
                    <a:pt x="15" y="54"/>
                    <a:pt x="15" y="54"/>
                    <a:pt x="15" y="54"/>
                  </a:cubicBezTo>
                  <a:cubicBezTo>
                    <a:pt x="14" y="53"/>
                    <a:pt x="14" y="53"/>
                    <a:pt x="14" y="53"/>
                  </a:cubicBezTo>
                  <a:cubicBezTo>
                    <a:pt x="13" y="52"/>
                    <a:pt x="13" y="52"/>
                    <a:pt x="13" y="52"/>
                  </a:cubicBezTo>
                  <a:cubicBezTo>
                    <a:pt x="12" y="52"/>
                    <a:pt x="12" y="52"/>
                    <a:pt x="12" y="52"/>
                  </a:cubicBezTo>
                  <a:cubicBezTo>
                    <a:pt x="11" y="52"/>
                    <a:pt x="11" y="52"/>
                    <a:pt x="11" y="52"/>
                  </a:cubicBezTo>
                  <a:cubicBezTo>
                    <a:pt x="11" y="52"/>
                    <a:pt x="11" y="51"/>
                    <a:pt x="10" y="51"/>
                  </a:cubicBezTo>
                  <a:cubicBezTo>
                    <a:pt x="10" y="51"/>
                    <a:pt x="10" y="51"/>
                    <a:pt x="10" y="51"/>
                  </a:cubicBezTo>
                  <a:cubicBezTo>
                    <a:pt x="10" y="52"/>
                    <a:pt x="10" y="52"/>
                    <a:pt x="10" y="52"/>
                  </a:cubicBezTo>
                  <a:cubicBezTo>
                    <a:pt x="10" y="52"/>
                    <a:pt x="10" y="52"/>
                    <a:pt x="10" y="52"/>
                  </a:cubicBezTo>
                  <a:cubicBezTo>
                    <a:pt x="12" y="54"/>
                    <a:pt x="12" y="54"/>
                    <a:pt x="12" y="54"/>
                  </a:cubicBezTo>
                  <a:cubicBezTo>
                    <a:pt x="12" y="55"/>
                    <a:pt x="13" y="56"/>
                    <a:pt x="13" y="57"/>
                  </a:cubicBezTo>
                  <a:cubicBezTo>
                    <a:pt x="17" y="65"/>
                    <a:pt x="17" y="65"/>
                    <a:pt x="17" y="65"/>
                  </a:cubicBezTo>
                  <a:cubicBezTo>
                    <a:pt x="11" y="63"/>
                    <a:pt x="11" y="63"/>
                    <a:pt x="11" y="63"/>
                  </a:cubicBezTo>
                  <a:cubicBezTo>
                    <a:pt x="11" y="67"/>
                    <a:pt x="9" y="72"/>
                    <a:pt x="6" y="73"/>
                  </a:cubicBezTo>
                  <a:cubicBezTo>
                    <a:pt x="5" y="73"/>
                    <a:pt x="5" y="73"/>
                    <a:pt x="5" y="73"/>
                  </a:cubicBezTo>
                  <a:cubicBezTo>
                    <a:pt x="5" y="73"/>
                    <a:pt x="5" y="73"/>
                    <a:pt x="5" y="73"/>
                  </a:cubicBezTo>
                  <a:cubicBezTo>
                    <a:pt x="5" y="74"/>
                    <a:pt x="5" y="74"/>
                    <a:pt x="4" y="74"/>
                  </a:cubicBezTo>
                  <a:cubicBezTo>
                    <a:pt x="3" y="74"/>
                    <a:pt x="3" y="74"/>
                    <a:pt x="3" y="74"/>
                  </a:cubicBezTo>
                  <a:cubicBezTo>
                    <a:pt x="4" y="74"/>
                    <a:pt x="4" y="75"/>
                    <a:pt x="4" y="75"/>
                  </a:cubicBezTo>
                  <a:cubicBezTo>
                    <a:pt x="4" y="75"/>
                    <a:pt x="4" y="75"/>
                    <a:pt x="4" y="75"/>
                  </a:cubicBezTo>
                  <a:cubicBezTo>
                    <a:pt x="4" y="76"/>
                    <a:pt x="5" y="77"/>
                    <a:pt x="5" y="78"/>
                  </a:cubicBezTo>
                  <a:cubicBezTo>
                    <a:pt x="5" y="79"/>
                    <a:pt x="5" y="79"/>
                    <a:pt x="5" y="79"/>
                  </a:cubicBezTo>
                  <a:cubicBezTo>
                    <a:pt x="5" y="80"/>
                    <a:pt x="5" y="80"/>
                    <a:pt x="5" y="80"/>
                  </a:cubicBezTo>
                  <a:cubicBezTo>
                    <a:pt x="6" y="81"/>
                    <a:pt x="6" y="81"/>
                    <a:pt x="6" y="81"/>
                  </a:cubicBezTo>
                  <a:cubicBezTo>
                    <a:pt x="6" y="82"/>
                    <a:pt x="6" y="82"/>
                    <a:pt x="6" y="82"/>
                  </a:cubicBezTo>
                  <a:cubicBezTo>
                    <a:pt x="6" y="83"/>
                    <a:pt x="6" y="83"/>
                    <a:pt x="6" y="83"/>
                  </a:cubicBezTo>
                  <a:cubicBezTo>
                    <a:pt x="6" y="84"/>
                    <a:pt x="6" y="84"/>
                    <a:pt x="6" y="84"/>
                  </a:cubicBezTo>
                  <a:cubicBezTo>
                    <a:pt x="6" y="85"/>
                    <a:pt x="6" y="85"/>
                    <a:pt x="6" y="85"/>
                  </a:cubicBezTo>
                  <a:cubicBezTo>
                    <a:pt x="5" y="86"/>
                    <a:pt x="5" y="86"/>
                    <a:pt x="5" y="86"/>
                  </a:cubicBezTo>
                  <a:cubicBezTo>
                    <a:pt x="5" y="86"/>
                    <a:pt x="5" y="86"/>
                    <a:pt x="5" y="86"/>
                  </a:cubicBezTo>
                  <a:cubicBezTo>
                    <a:pt x="5" y="87"/>
                    <a:pt x="5" y="87"/>
                    <a:pt x="5" y="87"/>
                  </a:cubicBezTo>
                  <a:cubicBezTo>
                    <a:pt x="5" y="87"/>
                    <a:pt x="5" y="88"/>
                    <a:pt x="5" y="88"/>
                  </a:cubicBezTo>
                  <a:cubicBezTo>
                    <a:pt x="4" y="89"/>
                    <a:pt x="4" y="89"/>
                    <a:pt x="4" y="89"/>
                  </a:cubicBezTo>
                  <a:cubicBezTo>
                    <a:pt x="4" y="90"/>
                    <a:pt x="4" y="90"/>
                    <a:pt x="4" y="90"/>
                  </a:cubicBezTo>
                  <a:cubicBezTo>
                    <a:pt x="4" y="91"/>
                    <a:pt x="3" y="91"/>
                    <a:pt x="3" y="92"/>
                  </a:cubicBezTo>
                  <a:cubicBezTo>
                    <a:pt x="3" y="92"/>
                    <a:pt x="3" y="92"/>
                    <a:pt x="3" y="92"/>
                  </a:cubicBezTo>
                  <a:cubicBezTo>
                    <a:pt x="2" y="93"/>
                    <a:pt x="2" y="93"/>
                    <a:pt x="2" y="93"/>
                  </a:cubicBezTo>
                  <a:cubicBezTo>
                    <a:pt x="2" y="93"/>
                    <a:pt x="1" y="94"/>
                    <a:pt x="0" y="95"/>
                  </a:cubicBezTo>
                  <a:cubicBezTo>
                    <a:pt x="2" y="96"/>
                    <a:pt x="3" y="96"/>
                    <a:pt x="4" y="97"/>
                  </a:cubicBezTo>
                  <a:cubicBezTo>
                    <a:pt x="5" y="97"/>
                    <a:pt x="5" y="97"/>
                    <a:pt x="5" y="97"/>
                  </a:cubicBezTo>
                  <a:cubicBezTo>
                    <a:pt x="5" y="97"/>
                    <a:pt x="6" y="97"/>
                    <a:pt x="6" y="97"/>
                  </a:cubicBezTo>
                  <a:cubicBezTo>
                    <a:pt x="6" y="97"/>
                    <a:pt x="7" y="97"/>
                    <a:pt x="7" y="97"/>
                  </a:cubicBezTo>
                  <a:cubicBezTo>
                    <a:pt x="7" y="97"/>
                    <a:pt x="8" y="97"/>
                    <a:pt x="8" y="97"/>
                  </a:cubicBezTo>
                  <a:cubicBezTo>
                    <a:pt x="8" y="97"/>
                    <a:pt x="9" y="97"/>
                    <a:pt x="10" y="97"/>
                  </a:cubicBezTo>
                  <a:cubicBezTo>
                    <a:pt x="13" y="98"/>
                    <a:pt x="15" y="99"/>
                    <a:pt x="17" y="101"/>
                  </a:cubicBezTo>
                  <a:cubicBezTo>
                    <a:pt x="20" y="103"/>
                    <a:pt x="20" y="103"/>
                    <a:pt x="20" y="103"/>
                  </a:cubicBezTo>
                  <a:cubicBezTo>
                    <a:pt x="20" y="104"/>
                    <a:pt x="21" y="105"/>
                    <a:pt x="22" y="105"/>
                  </a:cubicBezTo>
                  <a:cubicBezTo>
                    <a:pt x="25" y="108"/>
                    <a:pt x="27" y="112"/>
                    <a:pt x="27" y="116"/>
                  </a:cubicBezTo>
                  <a:cubicBezTo>
                    <a:pt x="28" y="123"/>
                    <a:pt x="25" y="129"/>
                    <a:pt x="23" y="135"/>
                  </a:cubicBezTo>
                  <a:cubicBezTo>
                    <a:pt x="22" y="136"/>
                    <a:pt x="22" y="136"/>
                    <a:pt x="22" y="136"/>
                  </a:cubicBezTo>
                  <a:cubicBezTo>
                    <a:pt x="22" y="136"/>
                    <a:pt x="22" y="138"/>
                    <a:pt x="24" y="143"/>
                  </a:cubicBezTo>
                  <a:cubicBezTo>
                    <a:pt x="24" y="144"/>
                    <a:pt x="24" y="144"/>
                    <a:pt x="24" y="144"/>
                  </a:cubicBezTo>
                  <a:cubicBezTo>
                    <a:pt x="24" y="144"/>
                    <a:pt x="24" y="145"/>
                    <a:pt x="24" y="145"/>
                  </a:cubicBezTo>
                  <a:cubicBezTo>
                    <a:pt x="25" y="144"/>
                    <a:pt x="27" y="144"/>
                    <a:pt x="27" y="143"/>
                  </a:cubicBezTo>
                  <a:cubicBezTo>
                    <a:pt x="33" y="140"/>
                    <a:pt x="41" y="138"/>
                    <a:pt x="47" y="135"/>
                  </a:cubicBezTo>
                  <a:cubicBezTo>
                    <a:pt x="52" y="133"/>
                    <a:pt x="57" y="131"/>
                    <a:pt x="63" y="130"/>
                  </a:cubicBezTo>
                  <a:cubicBezTo>
                    <a:pt x="68" y="129"/>
                    <a:pt x="74" y="129"/>
                    <a:pt x="80" y="128"/>
                  </a:cubicBezTo>
                  <a:cubicBezTo>
                    <a:pt x="80" y="127"/>
                    <a:pt x="80" y="127"/>
                    <a:pt x="80" y="127"/>
                  </a:cubicBezTo>
                  <a:cubicBezTo>
                    <a:pt x="83" y="127"/>
                    <a:pt x="85" y="127"/>
                    <a:pt x="88" y="127"/>
                  </a:cubicBezTo>
                  <a:cubicBezTo>
                    <a:pt x="94" y="127"/>
                    <a:pt x="99" y="126"/>
                    <a:pt x="104" y="125"/>
                  </a:cubicBezTo>
                  <a:cubicBezTo>
                    <a:pt x="103" y="124"/>
                    <a:pt x="102" y="124"/>
                    <a:pt x="101" y="124"/>
                  </a:cubicBezTo>
                  <a:cubicBezTo>
                    <a:pt x="99" y="124"/>
                    <a:pt x="96" y="125"/>
                    <a:pt x="94" y="125"/>
                  </a:cubicBezTo>
                  <a:cubicBezTo>
                    <a:pt x="91" y="126"/>
                    <a:pt x="89" y="127"/>
                    <a:pt x="87" y="127"/>
                  </a:cubicBezTo>
                  <a:cubicBezTo>
                    <a:pt x="86" y="127"/>
                    <a:pt x="86" y="127"/>
                    <a:pt x="85" y="126"/>
                  </a:cubicBezTo>
                  <a:cubicBezTo>
                    <a:pt x="89" y="125"/>
                    <a:pt x="93" y="124"/>
                    <a:pt x="97" y="124"/>
                  </a:cubicBezTo>
                  <a:cubicBezTo>
                    <a:pt x="97" y="124"/>
                    <a:pt x="97" y="124"/>
                    <a:pt x="98" y="124"/>
                  </a:cubicBezTo>
                  <a:cubicBezTo>
                    <a:pt x="98" y="124"/>
                    <a:pt x="98" y="124"/>
                    <a:pt x="98" y="124"/>
                  </a:cubicBezTo>
                  <a:cubicBezTo>
                    <a:pt x="99" y="124"/>
                    <a:pt x="100" y="124"/>
                    <a:pt x="101" y="124"/>
                  </a:cubicBezTo>
                  <a:cubicBezTo>
                    <a:pt x="102" y="124"/>
                    <a:pt x="103" y="124"/>
                    <a:pt x="104" y="124"/>
                  </a:cubicBezTo>
                  <a:cubicBezTo>
                    <a:pt x="106" y="124"/>
                    <a:pt x="109" y="124"/>
                    <a:pt x="109" y="125"/>
                  </a:cubicBezTo>
                  <a:cubicBezTo>
                    <a:pt x="108" y="125"/>
                    <a:pt x="106" y="125"/>
                    <a:pt x="105" y="125"/>
                  </a:cubicBezTo>
                  <a:cubicBezTo>
                    <a:pt x="104" y="125"/>
                    <a:pt x="104" y="125"/>
                    <a:pt x="104" y="125"/>
                  </a:cubicBezTo>
                  <a:cubicBezTo>
                    <a:pt x="106" y="126"/>
                    <a:pt x="107" y="126"/>
                    <a:pt x="109" y="126"/>
                  </a:cubicBezTo>
                  <a:cubicBezTo>
                    <a:pt x="111" y="126"/>
                    <a:pt x="116" y="128"/>
                    <a:pt x="119" y="128"/>
                  </a:cubicBezTo>
                  <a:cubicBezTo>
                    <a:pt x="120" y="128"/>
                    <a:pt x="121" y="128"/>
                    <a:pt x="121" y="127"/>
                  </a:cubicBezTo>
                  <a:cubicBezTo>
                    <a:pt x="121" y="128"/>
                    <a:pt x="121" y="128"/>
                    <a:pt x="121" y="128"/>
                  </a:cubicBezTo>
                  <a:cubicBezTo>
                    <a:pt x="121" y="128"/>
                    <a:pt x="121" y="126"/>
                    <a:pt x="121" y="126"/>
                  </a:cubicBezTo>
                  <a:cubicBezTo>
                    <a:pt x="121" y="125"/>
                    <a:pt x="122" y="123"/>
                    <a:pt x="123" y="123"/>
                  </a:cubicBezTo>
                  <a:cubicBezTo>
                    <a:pt x="123" y="123"/>
                    <a:pt x="124" y="123"/>
                    <a:pt x="124" y="124"/>
                  </a:cubicBezTo>
                  <a:cubicBezTo>
                    <a:pt x="125" y="124"/>
                    <a:pt x="124" y="126"/>
                    <a:pt x="124" y="127"/>
                  </a:cubicBezTo>
                  <a:cubicBezTo>
                    <a:pt x="125" y="125"/>
                    <a:pt x="125" y="125"/>
                    <a:pt x="125" y="125"/>
                  </a:cubicBezTo>
                  <a:cubicBezTo>
                    <a:pt x="126" y="125"/>
                    <a:pt x="126" y="125"/>
                    <a:pt x="126" y="125"/>
                  </a:cubicBezTo>
                  <a:cubicBezTo>
                    <a:pt x="127" y="125"/>
                    <a:pt x="128" y="125"/>
                    <a:pt x="129" y="125"/>
                  </a:cubicBezTo>
                  <a:cubicBezTo>
                    <a:pt x="130" y="125"/>
                    <a:pt x="130" y="125"/>
                    <a:pt x="131" y="125"/>
                  </a:cubicBezTo>
                  <a:cubicBezTo>
                    <a:pt x="131" y="125"/>
                    <a:pt x="131" y="124"/>
                    <a:pt x="131" y="123"/>
                  </a:cubicBezTo>
                  <a:cubicBezTo>
                    <a:pt x="131" y="123"/>
                    <a:pt x="131" y="122"/>
                    <a:pt x="131" y="122"/>
                  </a:cubicBezTo>
                  <a:cubicBezTo>
                    <a:pt x="130" y="121"/>
                    <a:pt x="129" y="120"/>
                    <a:pt x="128" y="119"/>
                  </a:cubicBezTo>
                  <a:cubicBezTo>
                    <a:pt x="128" y="118"/>
                    <a:pt x="127" y="118"/>
                    <a:pt x="127" y="117"/>
                  </a:cubicBezTo>
                  <a:cubicBezTo>
                    <a:pt x="127" y="117"/>
                    <a:pt x="126" y="116"/>
                    <a:pt x="126" y="115"/>
                  </a:cubicBezTo>
                  <a:cubicBezTo>
                    <a:pt x="125" y="115"/>
                    <a:pt x="125" y="114"/>
                    <a:pt x="125" y="114"/>
                  </a:cubicBezTo>
                  <a:cubicBezTo>
                    <a:pt x="124" y="113"/>
                    <a:pt x="124" y="113"/>
                    <a:pt x="124" y="113"/>
                  </a:cubicBezTo>
                  <a:cubicBezTo>
                    <a:pt x="122" y="107"/>
                    <a:pt x="121" y="101"/>
                    <a:pt x="120" y="95"/>
                  </a:cubicBezTo>
                  <a:cubicBezTo>
                    <a:pt x="120" y="92"/>
                    <a:pt x="120" y="92"/>
                    <a:pt x="120" y="92"/>
                  </a:cubicBezTo>
                  <a:cubicBezTo>
                    <a:pt x="119" y="87"/>
                    <a:pt x="122" y="82"/>
                    <a:pt x="124" y="78"/>
                  </a:cubicBezTo>
                  <a:cubicBezTo>
                    <a:pt x="124" y="77"/>
                    <a:pt x="124" y="77"/>
                    <a:pt x="124" y="77"/>
                  </a:cubicBezTo>
                  <a:cubicBezTo>
                    <a:pt x="125" y="75"/>
                    <a:pt x="125" y="74"/>
                    <a:pt x="126" y="73"/>
                  </a:cubicBezTo>
                  <a:cubicBezTo>
                    <a:pt x="126" y="72"/>
                    <a:pt x="126" y="71"/>
                    <a:pt x="126" y="71"/>
                  </a:cubicBezTo>
                  <a:cubicBezTo>
                    <a:pt x="126" y="70"/>
                    <a:pt x="126" y="70"/>
                    <a:pt x="126" y="70"/>
                  </a:cubicBezTo>
                  <a:cubicBezTo>
                    <a:pt x="127" y="68"/>
                    <a:pt x="128" y="66"/>
                    <a:pt x="129" y="64"/>
                  </a:cubicBezTo>
                  <a:cubicBezTo>
                    <a:pt x="130" y="63"/>
                    <a:pt x="131" y="62"/>
                    <a:pt x="131" y="61"/>
                  </a:cubicBezTo>
                  <a:cubicBezTo>
                    <a:pt x="133" y="59"/>
                    <a:pt x="133" y="59"/>
                    <a:pt x="133" y="59"/>
                  </a:cubicBezTo>
                  <a:cubicBezTo>
                    <a:pt x="134" y="58"/>
                    <a:pt x="134" y="58"/>
                    <a:pt x="135" y="57"/>
                  </a:cubicBezTo>
                  <a:cubicBezTo>
                    <a:pt x="137" y="54"/>
                    <a:pt x="137" y="53"/>
                    <a:pt x="136" y="50"/>
                  </a:cubicBezTo>
                  <a:cubicBezTo>
                    <a:pt x="135" y="46"/>
                    <a:pt x="135" y="44"/>
                    <a:pt x="134" y="42"/>
                  </a:cubicBezTo>
                  <a:cubicBezTo>
                    <a:pt x="134" y="42"/>
                    <a:pt x="134" y="42"/>
                    <a:pt x="134" y="42"/>
                  </a:cubicBezTo>
                  <a:cubicBezTo>
                    <a:pt x="133" y="41"/>
                    <a:pt x="133" y="40"/>
                    <a:pt x="133" y="40"/>
                  </a:cubicBezTo>
                  <a:cubicBezTo>
                    <a:pt x="132" y="39"/>
                    <a:pt x="132" y="39"/>
                    <a:pt x="132" y="39"/>
                  </a:cubicBezTo>
                  <a:cubicBezTo>
                    <a:pt x="132" y="38"/>
                    <a:pt x="131" y="38"/>
                    <a:pt x="131" y="37"/>
                  </a:cubicBezTo>
                  <a:cubicBezTo>
                    <a:pt x="131" y="36"/>
                    <a:pt x="131" y="36"/>
                    <a:pt x="131" y="35"/>
                  </a:cubicBezTo>
                  <a:cubicBezTo>
                    <a:pt x="130" y="34"/>
                    <a:pt x="130" y="34"/>
                    <a:pt x="130" y="34"/>
                  </a:cubicBezTo>
                  <a:cubicBezTo>
                    <a:pt x="130" y="33"/>
                    <a:pt x="130" y="32"/>
                    <a:pt x="130" y="32"/>
                  </a:cubicBezTo>
                  <a:cubicBezTo>
                    <a:pt x="131" y="31"/>
                    <a:pt x="131" y="31"/>
                    <a:pt x="131" y="31"/>
                  </a:cubicBezTo>
                  <a:cubicBezTo>
                    <a:pt x="131" y="30"/>
                    <a:pt x="131" y="29"/>
                    <a:pt x="131" y="29"/>
                  </a:cubicBezTo>
                  <a:cubicBezTo>
                    <a:pt x="131" y="28"/>
                    <a:pt x="131" y="28"/>
                    <a:pt x="131" y="28"/>
                  </a:cubicBezTo>
                  <a:cubicBezTo>
                    <a:pt x="131" y="28"/>
                    <a:pt x="131" y="28"/>
                    <a:pt x="131" y="28"/>
                  </a:cubicBezTo>
                  <a:cubicBezTo>
                    <a:pt x="129" y="28"/>
                    <a:pt x="129" y="26"/>
                    <a:pt x="128" y="25"/>
                  </a:cubicBezTo>
                  <a:cubicBezTo>
                    <a:pt x="128" y="25"/>
                    <a:pt x="127" y="24"/>
                    <a:pt x="127" y="23"/>
                  </a:cubicBezTo>
                  <a:cubicBezTo>
                    <a:pt x="127" y="23"/>
                    <a:pt x="127" y="23"/>
                    <a:pt x="127" y="23"/>
                  </a:cubicBezTo>
                  <a:cubicBezTo>
                    <a:pt x="127" y="22"/>
                    <a:pt x="126" y="22"/>
                    <a:pt x="125" y="21"/>
                  </a:cubicBezTo>
                  <a:cubicBezTo>
                    <a:pt x="123" y="20"/>
                    <a:pt x="121" y="19"/>
                    <a:pt x="121" y="17"/>
                  </a:cubicBezTo>
                  <a:cubicBezTo>
                    <a:pt x="120" y="17"/>
                    <a:pt x="120" y="17"/>
                    <a:pt x="120" y="17"/>
                  </a:cubicBezTo>
                  <a:cubicBezTo>
                    <a:pt x="120" y="17"/>
                    <a:pt x="119" y="17"/>
                    <a:pt x="118" y="17"/>
                  </a:cubicBezTo>
                  <a:cubicBezTo>
                    <a:pt x="118" y="17"/>
                    <a:pt x="118" y="17"/>
                    <a:pt x="118" y="17"/>
                  </a:cubicBezTo>
                  <a:cubicBezTo>
                    <a:pt x="116" y="17"/>
                    <a:pt x="116" y="17"/>
                    <a:pt x="116" y="17"/>
                  </a:cubicBezTo>
                  <a:cubicBezTo>
                    <a:pt x="116" y="17"/>
                    <a:pt x="115" y="17"/>
                    <a:pt x="115" y="17"/>
                  </a:cubicBezTo>
                  <a:cubicBezTo>
                    <a:pt x="115" y="17"/>
                    <a:pt x="114" y="17"/>
                    <a:pt x="114" y="17"/>
                  </a:cubicBezTo>
                  <a:cubicBezTo>
                    <a:pt x="112" y="17"/>
                    <a:pt x="109" y="17"/>
                    <a:pt x="107" y="18"/>
                  </a:cubicBezTo>
                  <a:cubicBezTo>
                    <a:pt x="104" y="19"/>
                    <a:pt x="101" y="21"/>
                    <a:pt x="99" y="23"/>
                  </a:cubicBezTo>
                  <a:cubicBezTo>
                    <a:pt x="98" y="25"/>
                    <a:pt x="98" y="25"/>
                    <a:pt x="98" y="25"/>
                  </a:cubicBezTo>
                  <a:cubicBezTo>
                    <a:pt x="97" y="25"/>
                    <a:pt x="97" y="25"/>
                    <a:pt x="97" y="25"/>
                  </a:cubicBezTo>
                  <a:cubicBezTo>
                    <a:pt x="96" y="25"/>
                    <a:pt x="96" y="25"/>
                    <a:pt x="96" y="25"/>
                  </a:cubicBezTo>
                  <a:cubicBezTo>
                    <a:pt x="95" y="25"/>
                    <a:pt x="95" y="25"/>
                    <a:pt x="95" y="25"/>
                  </a:cubicBezTo>
                  <a:cubicBezTo>
                    <a:pt x="94" y="24"/>
                    <a:pt x="92" y="24"/>
                    <a:pt x="89" y="23"/>
                  </a:cubicBezTo>
                  <a:cubicBezTo>
                    <a:pt x="89" y="22"/>
                    <a:pt x="88" y="22"/>
                    <a:pt x="88" y="22"/>
                  </a:cubicBezTo>
                  <a:cubicBezTo>
                    <a:pt x="87" y="22"/>
                    <a:pt x="86" y="22"/>
                    <a:pt x="85" y="21"/>
                  </a:cubicBezTo>
                  <a:cubicBezTo>
                    <a:pt x="81" y="19"/>
                    <a:pt x="79" y="16"/>
                    <a:pt x="77" y="12"/>
                  </a:cubicBezTo>
                  <a:cubicBezTo>
                    <a:pt x="77" y="10"/>
                    <a:pt x="77" y="10"/>
                    <a:pt x="77" y="10"/>
                  </a:cubicBezTo>
                  <a:cubicBezTo>
                    <a:pt x="76" y="9"/>
                    <a:pt x="76" y="9"/>
                    <a:pt x="76" y="8"/>
                  </a:cubicBezTo>
                  <a:cubicBezTo>
                    <a:pt x="76" y="8"/>
                    <a:pt x="76" y="8"/>
                    <a:pt x="76" y="8"/>
                  </a:cubicBezTo>
                  <a:cubicBezTo>
                    <a:pt x="75" y="8"/>
                    <a:pt x="75" y="8"/>
                    <a:pt x="74" y="8"/>
                  </a:cubicBezTo>
                  <a:cubicBezTo>
                    <a:pt x="73" y="7"/>
                    <a:pt x="72" y="7"/>
                    <a:pt x="71" y="6"/>
                  </a:cubicBezTo>
                  <a:cubicBezTo>
                    <a:pt x="70" y="6"/>
                    <a:pt x="70" y="6"/>
                    <a:pt x="69" y="6"/>
                  </a:cubicBezTo>
                  <a:cubicBezTo>
                    <a:pt x="67" y="5"/>
                    <a:pt x="67" y="5"/>
                    <a:pt x="67" y="5"/>
                  </a:cubicBezTo>
                  <a:cubicBezTo>
                    <a:pt x="64" y="5"/>
                    <a:pt x="64" y="5"/>
                    <a:pt x="63" y="6"/>
                  </a:cubicBezTo>
                  <a:cubicBezTo>
                    <a:pt x="63" y="6"/>
                    <a:pt x="62" y="6"/>
                    <a:pt x="62" y="7"/>
                  </a:cubicBezTo>
                  <a:cubicBezTo>
                    <a:pt x="61" y="8"/>
                    <a:pt x="60" y="10"/>
                    <a:pt x="58" y="11"/>
                  </a:cubicBezTo>
                  <a:cubicBezTo>
                    <a:pt x="57" y="11"/>
                    <a:pt x="56" y="11"/>
                    <a:pt x="55" y="11"/>
                  </a:cubicBezTo>
                  <a:cubicBezTo>
                    <a:pt x="54" y="11"/>
                    <a:pt x="52" y="10"/>
                    <a:pt x="51" y="9"/>
                  </a:cubicBezTo>
                  <a:cubicBezTo>
                    <a:pt x="49" y="7"/>
                    <a:pt x="49" y="4"/>
                    <a:pt x="49" y="2"/>
                  </a:cubicBezTo>
                  <a:cubicBezTo>
                    <a:pt x="47" y="1"/>
                    <a:pt x="47" y="1"/>
                    <a:pt x="47" y="1"/>
                  </a:cubicBezTo>
                  <a:cubicBezTo>
                    <a:pt x="46" y="1"/>
                    <a:pt x="45" y="1"/>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Freeform 240">
              <a:extLst>
                <a:ext uri="{FF2B5EF4-FFF2-40B4-BE49-F238E27FC236}">
                  <a16:creationId xmlns:a16="http://schemas.microsoft.com/office/drawing/2014/main" id="{96E97F66-B3FF-40BF-83FA-72B1A8925052}"/>
                </a:ext>
              </a:extLst>
            </p:cNvPr>
            <p:cNvSpPr>
              <a:spLocks/>
            </p:cNvSpPr>
            <p:nvPr/>
          </p:nvSpPr>
          <p:spPr bwMode="auto">
            <a:xfrm>
              <a:off x="3028" y="2285"/>
              <a:ext cx="217" cy="224"/>
            </a:xfrm>
            <a:custGeom>
              <a:avLst/>
              <a:gdLst>
                <a:gd name="T0" fmla="*/ 36 w 92"/>
                <a:gd name="T1" fmla="*/ 1 h 95"/>
                <a:gd name="T2" fmla="*/ 34 w 92"/>
                <a:gd name="T3" fmla="*/ 1 h 95"/>
                <a:gd name="T4" fmla="*/ 32 w 92"/>
                <a:gd name="T5" fmla="*/ 1 h 95"/>
                <a:gd name="T6" fmla="*/ 29 w 92"/>
                <a:gd name="T7" fmla="*/ 1 h 95"/>
                <a:gd name="T8" fmla="*/ 28 w 92"/>
                <a:gd name="T9" fmla="*/ 7 h 95"/>
                <a:gd name="T10" fmla="*/ 22 w 92"/>
                <a:gd name="T11" fmla="*/ 10 h 95"/>
                <a:gd name="T12" fmla="*/ 20 w 92"/>
                <a:gd name="T13" fmla="*/ 18 h 95"/>
                <a:gd name="T14" fmla="*/ 11 w 92"/>
                <a:gd name="T15" fmla="*/ 26 h 95"/>
                <a:gd name="T16" fmla="*/ 5 w 92"/>
                <a:gd name="T17" fmla="*/ 32 h 95"/>
                <a:gd name="T18" fmla="*/ 0 w 92"/>
                <a:gd name="T19" fmla="*/ 37 h 95"/>
                <a:gd name="T20" fmla="*/ 20 w 92"/>
                <a:gd name="T21" fmla="*/ 52 h 95"/>
                <a:gd name="T22" fmla="*/ 64 w 92"/>
                <a:gd name="T23" fmla="*/ 85 h 95"/>
                <a:gd name="T24" fmla="*/ 88 w 92"/>
                <a:gd name="T25" fmla="*/ 95 h 95"/>
                <a:gd name="T26" fmla="*/ 88 w 92"/>
                <a:gd name="T27" fmla="*/ 95 h 95"/>
                <a:gd name="T28" fmla="*/ 88 w 92"/>
                <a:gd name="T29" fmla="*/ 82 h 95"/>
                <a:gd name="T30" fmla="*/ 91 w 92"/>
                <a:gd name="T31" fmla="*/ 67 h 95"/>
                <a:gd name="T32" fmla="*/ 86 w 92"/>
                <a:gd name="T33" fmla="*/ 57 h 95"/>
                <a:gd name="T34" fmla="*/ 79 w 92"/>
                <a:gd name="T35" fmla="*/ 53 h 95"/>
                <a:gd name="T36" fmla="*/ 78 w 92"/>
                <a:gd name="T37" fmla="*/ 53 h 95"/>
                <a:gd name="T38" fmla="*/ 76 w 92"/>
                <a:gd name="T39" fmla="*/ 53 h 95"/>
                <a:gd name="T40" fmla="*/ 72 w 92"/>
                <a:gd name="T41" fmla="*/ 52 h 95"/>
                <a:gd name="T42" fmla="*/ 67 w 92"/>
                <a:gd name="T43" fmla="*/ 49 h 95"/>
                <a:gd name="T44" fmla="*/ 61 w 92"/>
                <a:gd name="T45" fmla="*/ 46 h 95"/>
                <a:gd name="T46" fmla="*/ 67 w 92"/>
                <a:gd name="T47" fmla="*/ 24 h 95"/>
                <a:gd name="T48" fmla="*/ 65 w 92"/>
                <a:gd name="T49" fmla="*/ 24 h 95"/>
                <a:gd name="T50" fmla="*/ 63 w 92"/>
                <a:gd name="T51" fmla="*/ 28 h 95"/>
                <a:gd name="T52" fmla="*/ 55 w 92"/>
                <a:gd name="T53" fmla="*/ 32 h 95"/>
                <a:gd name="T54" fmla="*/ 53 w 92"/>
                <a:gd name="T55" fmla="*/ 32 h 95"/>
                <a:gd name="T56" fmla="*/ 52 w 92"/>
                <a:gd name="T57" fmla="*/ 30 h 95"/>
                <a:gd name="T58" fmla="*/ 49 w 92"/>
                <a:gd name="T59" fmla="*/ 27 h 95"/>
                <a:gd name="T60" fmla="*/ 46 w 92"/>
                <a:gd name="T61" fmla="*/ 27 h 95"/>
                <a:gd name="T62" fmla="*/ 45 w 92"/>
                <a:gd name="T63" fmla="*/ 15 h 95"/>
                <a:gd name="T64" fmla="*/ 43 w 92"/>
                <a:gd name="T65" fmla="*/ 8 h 95"/>
                <a:gd name="T66" fmla="*/ 41 w 92"/>
                <a:gd name="T67" fmla="*/ 3 h 95"/>
                <a:gd name="T68" fmla="*/ 39 w 92"/>
                <a:gd name="T69"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 h="95">
                  <a:moveTo>
                    <a:pt x="38" y="0"/>
                  </a:moveTo>
                  <a:cubicBezTo>
                    <a:pt x="38" y="1"/>
                    <a:pt x="37" y="1"/>
                    <a:pt x="36" y="1"/>
                  </a:cubicBezTo>
                  <a:cubicBezTo>
                    <a:pt x="36" y="1"/>
                    <a:pt x="35" y="1"/>
                    <a:pt x="35" y="1"/>
                  </a:cubicBezTo>
                  <a:cubicBezTo>
                    <a:pt x="34" y="1"/>
                    <a:pt x="34" y="1"/>
                    <a:pt x="34" y="1"/>
                  </a:cubicBezTo>
                  <a:cubicBezTo>
                    <a:pt x="33" y="1"/>
                    <a:pt x="33" y="1"/>
                    <a:pt x="33" y="1"/>
                  </a:cubicBezTo>
                  <a:cubicBezTo>
                    <a:pt x="33" y="1"/>
                    <a:pt x="32" y="1"/>
                    <a:pt x="32" y="1"/>
                  </a:cubicBezTo>
                  <a:cubicBezTo>
                    <a:pt x="31" y="1"/>
                    <a:pt x="31" y="1"/>
                    <a:pt x="30" y="1"/>
                  </a:cubicBezTo>
                  <a:cubicBezTo>
                    <a:pt x="29" y="1"/>
                    <a:pt x="29" y="1"/>
                    <a:pt x="29" y="1"/>
                  </a:cubicBezTo>
                  <a:cubicBezTo>
                    <a:pt x="29" y="2"/>
                    <a:pt x="29" y="3"/>
                    <a:pt x="29" y="3"/>
                  </a:cubicBezTo>
                  <a:cubicBezTo>
                    <a:pt x="29" y="5"/>
                    <a:pt x="29" y="6"/>
                    <a:pt x="28" y="7"/>
                  </a:cubicBezTo>
                  <a:cubicBezTo>
                    <a:pt x="27" y="8"/>
                    <a:pt x="25" y="9"/>
                    <a:pt x="24" y="9"/>
                  </a:cubicBezTo>
                  <a:cubicBezTo>
                    <a:pt x="23" y="9"/>
                    <a:pt x="23" y="9"/>
                    <a:pt x="22" y="10"/>
                  </a:cubicBezTo>
                  <a:cubicBezTo>
                    <a:pt x="22" y="10"/>
                    <a:pt x="22" y="11"/>
                    <a:pt x="22" y="12"/>
                  </a:cubicBezTo>
                  <a:cubicBezTo>
                    <a:pt x="22" y="14"/>
                    <a:pt x="21" y="16"/>
                    <a:pt x="20" y="18"/>
                  </a:cubicBezTo>
                  <a:cubicBezTo>
                    <a:pt x="18" y="21"/>
                    <a:pt x="15" y="23"/>
                    <a:pt x="12" y="26"/>
                  </a:cubicBezTo>
                  <a:cubicBezTo>
                    <a:pt x="11" y="26"/>
                    <a:pt x="11" y="26"/>
                    <a:pt x="11" y="26"/>
                  </a:cubicBezTo>
                  <a:cubicBezTo>
                    <a:pt x="10" y="26"/>
                    <a:pt x="10" y="27"/>
                    <a:pt x="9" y="27"/>
                  </a:cubicBezTo>
                  <a:cubicBezTo>
                    <a:pt x="8" y="29"/>
                    <a:pt x="6" y="30"/>
                    <a:pt x="5" y="32"/>
                  </a:cubicBezTo>
                  <a:cubicBezTo>
                    <a:pt x="3" y="34"/>
                    <a:pt x="2" y="36"/>
                    <a:pt x="0" y="37"/>
                  </a:cubicBezTo>
                  <a:cubicBezTo>
                    <a:pt x="0" y="37"/>
                    <a:pt x="0" y="37"/>
                    <a:pt x="0" y="37"/>
                  </a:cubicBezTo>
                  <a:cubicBezTo>
                    <a:pt x="3" y="40"/>
                    <a:pt x="6" y="42"/>
                    <a:pt x="9" y="44"/>
                  </a:cubicBezTo>
                  <a:cubicBezTo>
                    <a:pt x="12" y="47"/>
                    <a:pt x="16" y="52"/>
                    <a:pt x="20" y="52"/>
                  </a:cubicBezTo>
                  <a:cubicBezTo>
                    <a:pt x="29" y="55"/>
                    <a:pt x="36" y="64"/>
                    <a:pt x="42" y="70"/>
                  </a:cubicBezTo>
                  <a:cubicBezTo>
                    <a:pt x="48" y="76"/>
                    <a:pt x="56" y="82"/>
                    <a:pt x="64" y="85"/>
                  </a:cubicBezTo>
                  <a:cubicBezTo>
                    <a:pt x="69" y="88"/>
                    <a:pt x="75" y="90"/>
                    <a:pt x="80" y="92"/>
                  </a:cubicBezTo>
                  <a:cubicBezTo>
                    <a:pt x="83" y="93"/>
                    <a:pt x="85" y="95"/>
                    <a:pt x="88" y="95"/>
                  </a:cubicBezTo>
                  <a:cubicBezTo>
                    <a:pt x="88" y="95"/>
                    <a:pt x="88" y="95"/>
                    <a:pt x="88" y="95"/>
                  </a:cubicBezTo>
                  <a:cubicBezTo>
                    <a:pt x="88" y="95"/>
                    <a:pt x="88" y="95"/>
                    <a:pt x="88" y="95"/>
                  </a:cubicBezTo>
                  <a:cubicBezTo>
                    <a:pt x="87" y="90"/>
                    <a:pt x="86" y="86"/>
                    <a:pt x="87" y="84"/>
                  </a:cubicBezTo>
                  <a:cubicBezTo>
                    <a:pt x="88" y="82"/>
                    <a:pt x="88" y="82"/>
                    <a:pt x="88" y="82"/>
                  </a:cubicBezTo>
                  <a:cubicBezTo>
                    <a:pt x="88" y="82"/>
                    <a:pt x="88" y="82"/>
                    <a:pt x="88" y="82"/>
                  </a:cubicBezTo>
                  <a:cubicBezTo>
                    <a:pt x="90" y="76"/>
                    <a:pt x="92" y="72"/>
                    <a:pt x="91" y="67"/>
                  </a:cubicBezTo>
                  <a:cubicBezTo>
                    <a:pt x="91" y="64"/>
                    <a:pt x="90" y="61"/>
                    <a:pt x="88" y="59"/>
                  </a:cubicBezTo>
                  <a:cubicBezTo>
                    <a:pt x="87" y="59"/>
                    <a:pt x="86" y="58"/>
                    <a:pt x="86" y="57"/>
                  </a:cubicBezTo>
                  <a:cubicBezTo>
                    <a:pt x="83" y="55"/>
                    <a:pt x="83" y="55"/>
                    <a:pt x="83" y="55"/>
                  </a:cubicBezTo>
                  <a:cubicBezTo>
                    <a:pt x="81" y="54"/>
                    <a:pt x="80" y="53"/>
                    <a:pt x="79" y="53"/>
                  </a:cubicBezTo>
                  <a:cubicBezTo>
                    <a:pt x="79" y="53"/>
                    <a:pt x="78" y="53"/>
                    <a:pt x="78" y="53"/>
                  </a:cubicBezTo>
                  <a:cubicBezTo>
                    <a:pt x="78" y="53"/>
                    <a:pt x="78" y="53"/>
                    <a:pt x="78" y="53"/>
                  </a:cubicBezTo>
                  <a:cubicBezTo>
                    <a:pt x="77" y="53"/>
                    <a:pt x="77" y="53"/>
                    <a:pt x="77" y="53"/>
                  </a:cubicBezTo>
                  <a:cubicBezTo>
                    <a:pt x="77" y="53"/>
                    <a:pt x="76" y="53"/>
                    <a:pt x="76" y="53"/>
                  </a:cubicBezTo>
                  <a:cubicBezTo>
                    <a:pt x="75" y="53"/>
                    <a:pt x="74" y="53"/>
                    <a:pt x="73" y="52"/>
                  </a:cubicBezTo>
                  <a:cubicBezTo>
                    <a:pt x="72" y="52"/>
                    <a:pt x="72" y="52"/>
                    <a:pt x="72" y="52"/>
                  </a:cubicBezTo>
                  <a:cubicBezTo>
                    <a:pt x="71" y="52"/>
                    <a:pt x="69" y="50"/>
                    <a:pt x="67" y="49"/>
                  </a:cubicBezTo>
                  <a:cubicBezTo>
                    <a:pt x="67" y="49"/>
                    <a:pt x="67" y="49"/>
                    <a:pt x="67" y="49"/>
                  </a:cubicBezTo>
                  <a:cubicBezTo>
                    <a:pt x="66" y="49"/>
                    <a:pt x="65" y="48"/>
                    <a:pt x="64" y="48"/>
                  </a:cubicBezTo>
                  <a:cubicBezTo>
                    <a:pt x="61" y="46"/>
                    <a:pt x="61" y="46"/>
                    <a:pt x="61" y="46"/>
                  </a:cubicBezTo>
                  <a:cubicBezTo>
                    <a:pt x="64" y="43"/>
                    <a:pt x="64" y="43"/>
                    <a:pt x="64" y="43"/>
                  </a:cubicBezTo>
                  <a:cubicBezTo>
                    <a:pt x="72" y="36"/>
                    <a:pt x="71" y="33"/>
                    <a:pt x="67" y="24"/>
                  </a:cubicBezTo>
                  <a:cubicBezTo>
                    <a:pt x="67" y="23"/>
                    <a:pt x="67" y="23"/>
                    <a:pt x="66" y="22"/>
                  </a:cubicBezTo>
                  <a:cubicBezTo>
                    <a:pt x="66" y="23"/>
                    <a:pt x="65" y="23"/>
                    <a:pt x="65" y="24"/>
                  </a:cubicBezTo>
                  <a:cubicBezTo>
                    <a:pt x="64" y="26"/>
                    <a:pt x="64" y="26"/>
                    <a:pt x="64" y="26"/>
                  </a:cubicBezTo>
                  <a:cubicBezTo>
                    <a:pt x="64" y="26"/>
                    <a:pt x="64" y="27"/>
                    <a:pt x="63" y="28"/>
                  </a:cubicBezTo>
                  <a:cubicBezTo>
                    <a:pt x="61" y="30"/>
                    <a:pt x="59" y="31"/>
                    <a:pt x="57" y="31"/>
                  </a:cubicBezTo>
                  <a:cubicBezTo>
                    <a:pt x="56" y="31"/>
                    <a:pt x="55" y="32"/>
                    <a:pt x="55" y="32"/>
                  </a:cubicBezTo>
                  <a:cubicBezTo>
                    <a:pt x="55" y="32"/>
                    <a:pt x="55" y="32"/>
                    <a:pt x="54" y="32"/>
                  </a:cubicBezTo>
                  <a:cubicBezTo>
                    <a:pt x="54" y="32"/>
                    <a:pt x="54" y="32"/>
                    <a:pt x="53" y="32"/>
                  </a:cubicBezTo>
                  <a:cubicBezTo>
                    <a:pt x="53" y="31"/>
                    <a:pt x="53" y="31"/>
                    <a:pt x="53" y="31"/>
                  </a:cubicBezTo>
                  <a:cubicBezTo>
                    <a:pt x="53" y="31"/>
                    <a:pt x="52" y="31"/>
                    <a:pt x="52" y="30"/>
                  </a:cubicBezTo>
                  <a:cubicBezTo>
                    <a:pt x="51" y="30"/>
                    <a:pt x="50" y="29"/>
                    <a:pt x="50" y="28"/>
                  </a:cubicBezTo>
                  <a:cubicBezTo>
                    <a:pt x="49" y="27"/>
                    <a:pt x="49" y="27"/>
                    <a:pt x="49" y="27"/>
                  </a:cubicBezTo>
                  <a:cubicBezTo>
                    <a:pt x="49" y="27"/>
                    <a:pt x="49" y="27"/>
                    <a:pt x="49" y="27"/>
                  </a:cubicBezTo>
                  <a:cubicBezTo>
                    <a:pt x="48" y="27"/>
                    <a:pt x="48" y="27"/>
                    <a:pt x="46" y="27"/>
                  </a:cubicBezTo>
                  <a:cubicBezTo>
                    <a:pt x="40" y="31"/>
                    <a:pt x="40" y="31"/>
                    <a:pt x="40" y="31"/>
                  </a:cubicBezTo>
                  <a:cubicBezTo>
                    <a:pt x="45" y="15"/>
                    <a:pt x="45" y="15"/>
                    <a:pt x="45" y="15"/>
                  </a:cubicBezTo>
                  <a:cubicBezTo>
                    <a:pt x="45" y="15"/>
                    <a:pt x="45" y="14"/>
                    <a:pt x="44" y="10"/>
                  </a:cubicBezTo>
                  <a:cubicBezTo>
                    <a:pt x="44" y="9"/>
                    <a:pt x="44" y="8"/>
                    <a:pt x="43" y="8"/>
                  </a:cubicBezTo>
                  <a:cubicBezTo>
                    <a:pt x="43" y="5"/>
                    <a:pt x="43" y="4"/>
                    <a:pt x="42" y="3"/>
                  </a:cubicBezTo>
                  <a:cubicBezTo>
                    <a:pt x="41" y="3"/>
                    <a:pt x="41" y="3"/>
                    <a:pt x="41" y="3"/>
                  </a:cubicBezTo>
                  <a:cubicBezTo>
                    <a:pt x="41" y="2"/>
                    <a:pt x="40" y="2"/>
                    <a:pt x="39" y="1"/>
                  </a:cubicBezTo>
                  <a:cubicBezTo>
                    <a:pt x="39" y="1"/>
                    <a:pt x="39" y="1"/>
                    <a:pt x="39" y="1"/>
                  </a:cubicBezTo>
                  <a:cubicBezTo>
                    <a:pt x="38" y="0"/>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 name="Freeform 241">
              <a:extLst>
                <a:ext uri="{FF2B5EF4-FFF2-40B4-BE49-F238E27FC236}">
                  <a16:creationId xmlns:a16="http://schemas.microsoft.com/office/drawing/2014/main" id="{BF3A89C7-FE15-4265-9304-75A509D5FD0B}"/>
                </a:ext>
              </a:extLst>
            </p:cNvPr>
            <p:cNvSpPr>
              <a:spLocks/>
            </p:cNvSpPr>
            <p:nvPr/>
          </p:nvSpPr>
          <p:spPr bwMode="auto">
            <a:xfrm>
              <a:off x="2924" y="2202"/>
              <a:ext cx="148" cy="163"/>
            </a:xfrm>
            <a:custGeom>
              <a:avLst/>
              <a:gdLst>
                <a:gd name="T0" fmla="*/ 46 w 63"/>
                <a:gd name="T1" fmla="*/ 0 h 69"/>
                <a:gd name="T2" fmla="*/ 45 w 63"/>
                <a:gd name="T3" fmla="*/ 0 h 69"/>
                <a:gd name="T4" fmla="*/ 27 w 63"/>
                <a:gd name="T5" fmla="*/ 3 h 69"/>
                <a:gd name="T6" fmla="*/ 25 w 63"/>
                <a:gd name="T7" fmla="*/ 3 h 69"/>
                <a:gd name="T8" fmla="*/ 22 w 63"/>
                <a:gd name="T9" fmla="*/ 3 h 69"/>
                <a:gd name="T10" fmla="*/ 9 w 63"/>
                <a:gd name="T11" fmla="*/ 20 h 69"/>
                <a:gd name="T12" fmla="*/ 8 w 63"/>
                <a:gd name="T13" fmla="*/ 21 h 69"/>
                <a:gd name="T14" fmla="*/ 5 w 63"/>
                <a:gd name="T15" fmla="*/ 22 h 69"/>
                <a:gd name="T16" fmla="*/ 6 w 63"/>
                <a:gd name="T17" fmla="*/ 25 h 69"/>
                <a:gd name="T18" fmla="*/ 5 w 63"/>
                <a:gd name="T19" fmla="*/ 31 h 69"/>
                <a:gd name="T20" fmla="*/ 9 w 63"/>
                <a:gd name="T21" fmla="*/ 29 h 69"/>
                <a:gd name="T22" fmla="*/ 7 w 63"/>
                <a:gd name="T23" fmla="*/ 32 h 69"/>
                <a:gd name="T24" fmla="*/ 0 w 63"/>
                <a:gd name="T25" fmla="*/ 33 h 69"/>
                <a:gd name="T26" fmla="*/ 3 w 63"/>
                <a:gd name="T27" fmla="*/ 41 h 69"/>
                <a:gd name="T28" fmla="*/ 14 w 63"/>
                <a:gd name="T29" fmla="*/ 52 h 69"/>
                <a:gd name="T30" fmla="*/ 19 w 63"/>
                <a:gd name="T31" fmla="*/ 51 h 69"/>
                <a:gd name="T32" fmla="*/ 23 w 63"/>
                <a:gd name="T33" fmla="*/ 55 h 69"/>
                <a:gd name="T34" fmla="*/ 26 w 63"/>
                <a:gd name="T35" fmla="*/ 55 h 69"/>
                <a:gd name="T36" fmla="*/ 21 w 63"/>
                <a:gd name="T37" fmla="*/ 59 h 69"/>
                <a:gd name="T38" fmla="*/ 18 w 63"/>
                <a:gd name="T39" fmla="*/ 59 h 69"/>
                <a:gd name="T40" fmla="*/ 32 w 63"/>
                <a:gd name="T41" fmla="*/ 65 h 69"/>
                <a:gd name="T42" fmla="*/ 41 w 63"/>
                <a:gd name="T43" fmla="*/ 67 h 69"/>
                <a:gd name="T44" fmla="*/ 50 w 63"/>
                <a:gd name="T45" fmla="*/ 58 h 69"/>
                <a:gd name="T46" fmla="*/ 52 w 63"/>
                <a:gd name="T47" fmla="*/ 56 h 69"/>
                <a:gd name="T48" fmla="*/ 60 w 63"/>
                <a:gd name="T49" fmla="*/ 47 h 69"/>
                <a:gd name="T50" fmla="*/ 63 w 63"/>
                <a:gd name="T51" fmla="*/ 40 h 69"/>
                <a:gd name="T52" fmla="*/ 63 w 63"/>
                <a:gd name="T53" fmla="*/ 40 h 69"/>
                <a:gd name="T54" fmla="*/ 62 w 63"/>
                <a:gd name="T55" fmla="*/ 28 h 69"/>
                <a:gd name="T56" fmla="*/ 62 w 63"/>
                <a:gd name="T57" fmla="*/ 27 h 69"/>
                <a:gd name="T58" fmla="*/ 62 w 63"/>
                <a:gd name="T59" fmla="*/ 25 h 69"/>
                <a:gd name="T60" fmla="*/ 61 w 63"/>
                <a:gd name="T61" fmla="*/ 24 h 69"/>
                <a:gd name="T62" fmla="*/ 60 w 63"/>
                <a:gd name="T63" fmla="*/ 22 h 69"/>
                <a:gd name="T64" fmla="*/ 56 w 63"/>
                <a:gd name="T65" fmla="*/ 19 h 69"/>
                <a:gd name="T66" fmla="*/ 52 w 63"/>
                <a:gd name="T67" fmla="*/ 10 h 69"/>
                <a:gd name="T68" fmla="*/ 51 w 63"/>
                <a:gd name="T69"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69">
                  <a:moveTo>
                    <a:pt x="47" y="0"/>
                  </a:moveTo>
                  <a:cubicBezTo>
                    <a:pt x="47" y="0"/>
                    <a:pt x="46" y="0"/>
                    <a:pt x="46" y="0"/>
                  </a:cubicBezTo>
                  <a:cubicBezTo>
                    <a:pt x="45" y="0"/>
                    <a:pt x="45" y="0"/>
                    <a:pt x="45" y="0"/>
                  </a:cubicBezTo>
                  <a:cubicBezTo>
                    <a:pt x="45" y="0"/>
                    <a:pt x="45" y="0"/>
                    <a:pt x="45" y="0"/>
                  </a:cubicBezTo>
                  <a:cubicBezTo>
                    <a:pt x="42" y="0"/>
                    <a:pt x="40" y="1"/>
                    <a:pt x="37" y="2"/>
                  </a:cubicBezTo>
                  <a:cubicBezTo>
                    <a:pt x="34" y="2"/>
                    <a:pt x="31" y="3"/>
                    <a:pt x="27" y="3"/>
                  </a:cubicBezTo>
                  <a:cubicBezTo>
                    <a:pt x="27" y="3"/>
                    <a:pt x="26" y="3"/>
                    <a:pt x="25" y="3"/>
                  </a:cubicBezTo>
                  <a:cubicBezTo>
                    <a:pt x="25" y="3"/>
                    <a:pt x="25" y="3"/>
                    <a:pt x="25" y="3"/>
                  </a:cubicBezTo>
                  <a:cubicBezTo>
                    <a:pt x="24" y="3"/>
                    <a:pt x="24" y="3"/>
                    <a:pt x="23" y="3"/>
                  </a:cubicBezTo>
                  <a:cubicBezTo>
                    <a:pt x="23" y="3"/>
                    <a:pt x="23" y="3"/>
                    <a:pt x="22" y="3"/>
                  </a:cubicBezTo>
                  <a:cubicBezTo>
                    <a:pt x="21" y="3"/>
                    <a:pt x="21" y="3"/>
                    <a:pt x="20" y="4"/>
                  </a:cubicBezTo>
                  <a:cubicBezTo>
                    <a:pt x="18" y="9"/>
                    <a:pt x="14" y="14"/>
                    <a:pt x="9" y="20"/>
                  </a:cubicBezTo>
                  <a:cubicBezTo>
                    <a:pt x="8" y="20"/>
                    <a:pt x="8" y="20"/>
                    <a:pt x="8" y="20"/>
                  </a:cubicBezTo>
                  <a:cubicBezTo>
                    <a:pt x="8" y="21"/>
                    <a:pt x="8" y="21"/>
                    <a:pt x="8" y="21"/>
                  </a:cubicBezTo>
                  <a:cubicBezTo>
                    <a:pt x="7" y="21"/>
                    <a:pt x="6" y="22"/>
                    <a:pt x="6" y="22"/>
                  </a:cubicBezTo>
                  <a:cubicBezTo>
                    <a:pt x="5" y="22"/>
                    <a:pt x="5" y="22"/>
                    <a:pt x="5" y="22"/>
                  </a:cubicBezTo>
                  <a:cubicBezTo>
                    <a:pt x="5" y="23"/>
                    <a:pt x="4" y="23"/>
                    <a:pt x="3" y="23"/>
                  </a:cubicBezTo>
                  <a:cubicBezTo>
                    <a:pt x="4" y="23"/>
                    <a:pt x="5" y="24"/>
                    <a:pt x="6" y="25"/>
                  </a:cubicBezTo>
                  <a:cubicBezTo>
                    <a:pt x="6" y="25"/>
                    <a:pt x="6" y="25"/>
                    <a:pt x="6" y="25"/>
                  </a:cubicBezTo>
                  <a:cubicBezTo>
                    <a:pt x="3" y="25"/>
                    <a:pt x="1" y="29"/>
                    <a:pt x="5" y="31"/>
                  </a:cubicBezTo>
                  <a:cubicBezTo>
                    <a:pt x="5" y="31"/>
                    <a:pt x="5" y="31"/>
                    <a:pt x="5" y="31"/>
                  </a:cubicBezTo>
                  <a:cubicBezTo>
                    <a:pt x="7" y="31"/>
                    <a:pt x="9" y="30"/>
                    <a:pt x="9" y="29"/>
                  </a:cubicBezTo>
                  <a:cubicBezTo>
                    <a:pt x="9" y="31"/>
                    <a:pt x="9" y="31"/>
                    <a:pt x="8" y="32"/>
                  </a:cubicBezTo>
                  <a:cubicBezTo>
                    <a:pt x="7" y="32"/>
                    <a:pt x="7" y="32"/>
                    <a:pt x="7" y="32"/>
                  </a:cubicBezTo>
                  <a:cubicBezTo>
                    <a:pt x="6" y="33"/>
                    <a:pt x="6" y="34"/>
                    <a:pt x="5" y="36"/>
                  </a:cubicBezTo>
                  <a:cubicBezTo>
                    <a:pt x="4" y="35"/>
                    <a:pt x="2" y="34"/>
                    <a:pt x="0" y="33"/>
                  </a:cubicBezTo>
                  <a:cubicBezTo>
                    <a:pt x="0" y="35"/>
                    <a:pt x="0" y="35"/>
                    <a:pt x="1" y="36"/>
                  </a:cubicBezTo>
                  <a:cubicBezTo>
                    <a:pt x="1" y="38"/>
                    <a:pt x="2" y="39"/>
                    <a:pt x="3" y="41"/>
                  </a:cubicBezTo>
                  <a:cubicBezTo>
                    <a:pt x="4" y="40"/>
                    <a:pt x="5" y="39"/>
                    <a:pt x="7" y="39"/>
                  </a:cubicBezTo>
                  <a:cubicBezTo>
                    <a:pt x="8" y="44"/>
                    <a:pt x="8" y="50"/>
                    <a:pt x="14" y="52"/>
                  </a:cubicBezTo>
                  <a:cubicBezTo>
                    <a:pt x="14" y="52"/>
                    <a:pt x="15" y="52"/>
                    <a:pt x="16" y="52"/>
                  </a:cubicBezTo>
                  <a:cubicBezTo>
                    <a:pt x="17" y="52"/>
                    <a:pt x="17" y="52"/>
                    <a:pt x="19" y="51"/>
                  </a:cubicBezTo>
                  <a:cubicBezTo>
                    <a:pt x="19" y="54"/>
                    <a:pt x="19" y="55"/>
                    <a:pt x="21" y="55"/>
                  </a:cubicBezTo>
                  <a:cubicBezTo>
                    <a:pt x="21" y="55"/>
                    <a:pt x="22" y="55"/>
                    <a:pt x="23" y="55"/>
                  </a:cubicBezTo>
                  <a:cubicBezTo>
                    <a:pt x="23" y="55"/>
                    <a:pt x="24" y="55"/>
                    <a:pt x="25" y="55"/>
                  </a:cubicBezTo>
                  <a:cubicBezTo>
                    <a:pt x="25" y="55"/>
                    <a:pt x="26" y="55"/>
                    <a:pt x="26" y="55"/>
                  </a:cubicBezTo>
                  <a:cubicBezTo>
                    <a:pt x="24" y="56"/>
                    <a:pt x="22" y="56"/>
                    <a:pt x="20" y="56"/>
                  </a:cubicBezTo>
                  <a:cubicBezTo>
                    <a:pt x="20" y="57"/>
                    <a:pt x="21" y="58"/>
                    <a:pt x="21" y="59"/>
                  </a:cubicBezTo>
                  <a:cubicBezTo>
                    <a:pt x="21" y="59"/>
                    <a:pt x="21" y="59"/>
                    <a:pt x="20" y="59"/>
                  </a:cubicBezTo>
                  <a:cubicBezTo>
                    <a:pt x="20" y="59"/>
                    <a:pt x="19" y="59"/>
                    <a:pt x="18" y="59"/>
                  </a:cubicBezTo>
                  <a:cubicBezTo>
                    <a:pt x="19" y="60"/>
                    <a:pt x="19" y="60"/>
                    <a:pt x="20" y="60"/>
                  </a:cubicBezTo>
                  <a:cubicBezTo>
                    <a:pt x="24" y="62"/>
                    <a:pt x="28" y="62"/>
                    <a:pt x="32" y="65"/>
                  </a:cubicBezTo>
                  <a:cubicBezTo>
                    <a:pt x="34" y="66"/>
                    <a:pt x="37" y="67"/>
                    <a:pt x="39" y="69"/>
                  </a:cubicBezTo>
                  <a:cubicBezTo>
                    <a:pt x="41" y="67"/>
                    <a:pt x="41" y="67"/>
                    <a:pt x="41" y="67"/>
                  </a:cubicBezTo>
                  <a:cubicBezTo>
                    <a:pt x="41" y="67"/>
                    <a:pt x="42" y="66"/>
                    <a:pt x="44" y="63"/>
                  </a:cubicBezTo>
                  <a:cubicBezTo>
                    <a:pt x="46" y="61"/>
                    <a:pt x="48" y="59"/>
                    <a:pt x="50" y="58"/>
                  </a:cubicBezTo>
                  <a:cubicBezTo>
                    <a:pt x="50" y="57"/>
                    <a:pt x="51" y="57"/>
                    <a:pt x="52" y="56"/>
                  </a:cubicBezTo>
                  <a:cubicBezTo>
                    <a:pt x="52" y="56"/>
                    <a:pt x="52" y="56"/>
                    <a:pt x="52" y="56"/>
                  </a:cubicBezTo>
                  <a:cubicBezTo>
                    <a:pt x="55" y="54"/>
                    <a:pt x="58" y="52"/>
                    <a:pt x="59" y="50"/>
                  </a:cubicBezTo>
                  <a:cubicBezTo>
                    <a:pt x="60" y="49"/>
                    <a:pt x="60" y="48"/>
                    <a:pt x="60" y="47"/>
                  </a:cubicBezTo>
                  <a:cubicBezTo>
                    <a:pt x="60" y="45"/>
                    <a:pt x="61" y="42"/>
                    <a:pt x="62" y="40"/>
                  </a:cubicBezTo>
                  <a:cubicBezTo>
                    <a:pt x="63" y="40"/>
                    <a:pt x="63" y="40"/>
                    <a:pt x="63" y="40"/>
                  </a:cubicBezTo>
                  <a:cubicBezTo>
                    <a:pt x="63" y="40"/>
                    <a:pt x="63" y="40"/>
                    <a:pt x="63" y="40"/>
                  </a:cubicBezTo>
                  <a:cubicBezTo>
                    <a:pt x="63" y="40"/>
                    <a:pt x="63" y="40"/>
                    <a:pt x="63" y="40"/>
                  </a:cubicBezTo>
                  <a:cubicBezTo>
                    <a:pt x="54" y="45"/>
                    <a:pt x="54" y="45"/>
                    <a:pt x="54" y="45"/>
                  </a:cubicBezTo>
                  <a:cubicBezTo>
                    <a:pt x="62" y="28"/>
                    <a:pt x="62" y="28"/>
                    <a:pt x="62" y="28"/>
                  </a:cubicBezTo>
                  <a:cubicBezTo>
                    <a:pt x="62" y="28"/>
                    <a:pt x="62" y="28"/>
                    <a:pt x="62" y="28"/>
                  </a:cubicBezTo>
                  <a:cubicBezTo>
                    <a:pt x="62" y="27"/>
                    <a:pt x="62" y="27"/>
                    <a:pt x="62" y="27"/>
                  </a:cubicBezTo>
                  <a:cubicBezTo>
                    <a:pt x="62" y="27"/>
                    <a:pt x="62" y="26"/>
                    <a:pt x="62" y="26"/>
                  </a:cubicBezTo>
                  <a:cubicBezTo>
                    <a:pt x="62" y="25"/>
                    <a:pt x="62" y="25"/>
                    <a:pt x="62" y="25"/>
                  </a:cubicBezTo>
                  <a:cubicBezTo>
                    <a:pt x="61" y="24"/>
                    <a:pt x="61" y="24"/>
                    <a:pt x="61" y="24"/>
                  </a:cubicBezTo>
                  <a:cubicBezTo>
                    <a:pt x="61" y="24"/>
                    <a:pt x="61" y="24"/>
                    <a:pt x="61" y="24"/>
                  </a:cubicBezTo>
                  <a:cubicBezTo>
                    <a:pt x="61" y="23"/>
                    <a:pt x="61" y="23"/>
                    <a:pt x="61" y="22"/>
                  </a:cubicBezTo>
                  <a:cubicBezTo>
                    <a:pt x="60" y="22"/>
                    <a:pt x="60" y="22"/>
                    <a:pt x="60" y="22"/>
                  </a:cubicBezTo>
                  <a:cubicBezTo>
                    <a:pt x="60" y="22"/>
                    <a:pt x="59" y="22"/>
                    <a:pt x="58" y="21"/>
                  </a:cubicBezTo>
                  <a:cubicBezTo>
                    <a:pt x="58" y="21"/>
                    <a:pt x="57" y="20"/>
                    <a:pt x="56" y="19"/>
                  </a:cubicBezTo>
                  <a:cubicBezTo>
                    <a:pt x="55" y="17"/>
                    <a:pt x="53" y="13"/>
                    <a:pt x="52" y="10"/>
                  </a:cubicBezTo>
                  <a:cubicBezTo>
                    <a:pt x="52" y="10"/>
                    <a:pt x="52" y="10"/>
                    <a:pt x="52" y="10"/>
                  </a:cubicBezTo>
                  <a:cubicBezTo>
                    <a:pt x="51" y="9"/>
                    <a:pt x="51" y="8"/>
                    <a:pt x="51" y="8"/>
                  </a:cubicBezTo>
                  <a:cubicBezTo>
                    <a:pt x="51" y="7"/>
                    <a:pt x="51" y="7"/>
                    <a:pt x="51" y="7"/>
                  </a:cubicBezTo>
                  <a:cubicBezTo>
                    <a:pt x="50" y="5"/>
                    <a:pt x="48" y="3"/>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 name="Freeform 242">
              <a:extLst>
                <a:ext uri="{FF2B5EF4-FFF2-40B4-BE49-F238E27FC236}">
                  <a16:creationId xmlns:a16="http://schemas.microsoft.com/office/drawing/2014/main" id="{B929076F-2613-4AB5-A449-2CCB6C120CB7}"/>
                </a:ext>
              </a:extLst>
            </p:cNvPr>
            <p:cNvSpPr>
              <a:spLocks/>
            </p:cNvSpPr>
            <p:nvPr/>
          </p:nvSpPr>
          <p:spPr bwMode="auto">
            <a:xfrm>
              <a:off x="2753" y="2051"/>
              <a:ext cx="140" cy="82"/>
            </a:xfrm>
            <a:custGeom>
              <a:avLst/>
              <a:gdLst>
                <a:gd name="T0" fmla="*/ 40 w 59"/>
                <a:gd name="T1" fmla="*/ 0 h 35"/>
                <a:gd name="T2" fmla="*/ 36 w 59"/>
                <a:gd name="T3" fmla="*/ 0 h 35"/>
                <a:gd name="T4" fmla="*/ 34 w 59"/>
                <a:gd name="T5" fmla="*/ 0 h 35"/>
                <a:gd name="T6" fmla="*/ 4 w 59"/>
                <a:gd name="T7" fmla="*/ 7 h 35"/>
                <a:gd name="T8" fmla="*/ 1 w 59"/>
                <a:gd name="T9" fmla="*/ 10 h 35"/>
                <a:gd name="T10" fmla="*/ 3 w 59"/>
                <a:gd name="T11" fmla="*/ 15 h 35"/>
                <a:gd name="T12" fmla="*/ 5 w 59"/>
                <a:gd name="T13" fmla="*/ 16 h 35"/>
                <a:gd name="T14" fmla="*/ 6 w 59"/>
                <a:gd name="T15" fmla="*/ 16 h 35"/>
                <a:gd name="T16" fmla="*/ 15 w 59"/>
                <a:gd name="T17" fmla="*/ 14 h 35"/>
                <a:gd name="T18" fmla="*/ 8 w 59"/>
                <a:gd name="T19" fmla="*/ 19 h 35"/>
                <a:gd name="T20" fmla="*/ 10 w 59"/>
                <a:gd name="T21" fmla="*/ 20 h 35"/>
                <a:gd name="T22" fmla="*/ 14 w 59"/>
                <a:gd name="T23" fmla="*/ 19 h 35"/>
                <a:gd name="T24" fmla="*/ 20 w 59"/>
                <a:gd name="T25" fmla="*/ 16 h 35"/>
                <a:gd name="T26" fmla="*/ 30 w 59"/>
                <a:gd name="T27" fmla="*/ 15 h 35"/>
                <a:gd name="T28" fmla="*/ 31 w 59"/>
                <a:gd name="T29" fmla="*/ 15 h 35"/>
                <a:gd name="T30" fmla="*/ 33 w 59"/>
                <a:gd name="T31" fmla="*/ 19 h 35"/>
                <a:gd name="T32" fmla="*/ 27 w 59"/>
                <a:gd name="T33" fmla="*/ 16 h 35"/>
                <a:gd name="T34" fmla="*/ 22 w 59"/>
                <a:gd name="T35" fmla="*/ 18 h 35"/>
                <a:gd name="T36" fmla="*/ 21 w 59"/>
                <a:gd name="T37" fmla="*/ 24 h 35"/>
                <a:gd name="T38" fmla="*/ 25 w 59"/>
                <a:gd name="T39" fmla="*/ 22 h 35"/>
                <a:gd name="T40" fmla="*/ 31 w 59"/>
                <a:gd name="T41" fmla="*/ 24 h 35"/>
                <a:gd name="T42" fmla="*/ 29 w 59"/>
                <a:gd name="T43" fmla="*/ 25 h 35"/>
                <a:gd name="T44" fmla="*/ 29 w 59"/>
                <a:gd name="T45" fmla="*/ 23 h 35"/>
                <a:gd name="T46" fmla="*/ 28 w 59"/>
                <a:gd name="T47" fmla="*/ 23 h 35"/>
                <a:gd name="T48" fmla="*/ 26 w 59"/>
                <a:gd name="T49" fmla="*/ 24 h 35"/>
                <a:gd name="T50" fmla="*/ 26 w 59"/>
                <a:gd name="T51" fmla="*/ 23 h 35"/>
                <a:gd name="T52" fmla="*/ 20 w 59"/>
                <a:gd name="T53" fmla="*/ 30 h 35"/>
                <a:gd name="T54" fmla="*/ 22 w 59"/>
                <a:gd name="T55" fmla="*/ 28 h 35"/>
                <a:gd name="T56" fmla="*/ 23 w 59"/>
                <a:gd name="T57" fmla="*/ 28 h 35"/>
                <a:gd name="T58" fmla="*/ 24 w 59"/>
                <a:gd name="T59" fmla="*/ 28 h 35"/>
                <a:gd name="T60" fmla="*/ 22 w 59"/>
                <a:gd name="T61" fmla="*/ 31 h 35"/>
                <a:gd name="T62" fmla="*/ 26 w 59"/>
                <a:gd name="T63" fmla="*/ 35 h 35"/>
                <a:gd name="T64" fmla="*/ 30 w 59"/>
                <a:gd name="T65" fmla="*/ 34 h 35"/>
                <a:gd name="T66" fmla="*/ 30 w 59"/>
                <a:gd name="T67" fmla="*/ 34 h 35"/>
                <a:gd name="T68" fmla="*/ 37 w 59"/>
                <a:gd name="T69" fmla="*/ 23 h 35"/>
                <a:gd name="T70" fmla="*/ 42 w 59"/>
                <a:gd name="T71" fmla="*/ 22 h 35"/>
                <a:gd name="T72" fmla="*/ 44 w 59"/>
                <a:gd name="T73" fmla="*/ 22 h 35"/>
                <a:gd name="T74" fmla="*/ 46 w 59"/>
                <a:gd name="T75" fmla="*/ 21 h 35"/>
                <a:gd name="T76" fmla="*/ 48 w 59"/>
                <a:gd name="T77" fmla="*/ 21 h 35"/>
                <a:gd name="T78" fmla="*/ 56 w 59"/>
                <a:gd name="T79" fmla="*/ 19 h 35"/>
                <a:gd name="T80" fmla="*/ 57 w 59"/>
                <a:gd name="T81" fmla="*/ 18 h 35"/>
                <a:gd name="T82" fmla="*/ 58 w 59"/>
                <a:gd name="T83" fmla="*/ 18 h 35"/>
                <a:gd name="T84" fmla="*/ 57 w 59"/>
                <a:gd name="T85" fmla="*/ 15 h 35"/>
                <a:gd name="T86" fmla="*/ 56 w 59"/>
                <a:gd name="T87" fmla="*/ 13 h 35"/>
                <a:gd name="T88" fmla="*/ 47 w 59"/>
                <a:gd name="T89" fmla="*/ 13 h 35"/>
                <a:gd name="T90" fmla="*/ 54 w 59"/>
                <a:gd name="T91" fmla="*/ 8 h 35"/>
                <a:gd name="T92" fmla="*/ 59 w 59"/>
                <a:gd name="T93" fmla="*/ 5 h 35"/>
                <a:gd name="T94" fmla="*/ 59 w 59"/>
                <a:gd name="T95" fmla="*/ 5 h 35"/>
                <a:gd name="T96" fmla="*/ 59 w 59"/>
                <a:gd name="T97" fmla="*/ 3 h 35"/>
                <a:gd name="T98" fmla="*/ 59 w 59"/>
                <a:gd name="T99" fmla="*/ 0 h 35"/>
                <a:gd name="T100" fmla="*/ 57 w 59"/>
                <a:gd name="T101" fmla="*/ 0 h 35"/>
                <a:gd name="T102" fmla="*/ 52 w 59"/>
                <a:gd name="T103" fmla="*/ 1 h 35"/>
                <a:gd name="T104" fmla="*/ 51 w 59"/>
                <a:gd name="T105" fmla="*/ 1 h 35"/>
                <a:gd name="T106" fmla="*/ 46 w 59"/>
                <a:gd name="T107" fmla="*/ 0 h 35"/>
                <a:gd name="T108" fmla="*/ 40 w 59"/>
                <a:gd name="T10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35">
                  <a:moveTo>
                    <a:pt x="40" y="0"/>
                  </a:moveTo>
                  <a:cubicBezTo>
                    <a:pt x="39" y="0"/>
                    <a:pt x="37" y="0"/>
                    <a:pt x="36" y="0"/>
                  </a:cubicBezTo>
                  <a:cubicBezTo>
                    <a:pt x="34" y="0"/>
                    <a:pt x="34" y="0"/>
                    <a:pt x="34" y="0"/>
                  </a:cubicBezTo>
                  <a:cubicBezTo>
                    <a:pt x="26" y="2"/>
                    <a:pt x="16" y="5"/>
                    <a:pt x="4" y="7"/>
                  </a:cubicBezTo>
                  <a:cubicBezTo>
                    <a:pt x="3" y="8"/>
                    <a:pt x="1" y="9"/>
                    <a:pt x="1" y="10"/>
                  </a:cubicBezTo>
                  <a:cubicBezTo>
                    <a:pt x="0" y="11"/>
                    <a:pt x="2" y="13"/>
                    <a:pt x="3" y="15"/>
                  </a:cubicBezTo>
                  <a:cubicBezTo>
                    <a:pt x="4" y="16"/>
                    <a:pt x="4" y="16"/>
                    <a:pt x="5" y="16"/>
                  </a:cubicBezTo>
                  <a:cubicBezTo>
                    <a:pt x="5" y="16"/>
                    <a:pt x="6" y="16"/>
                    <a:pt x="6" y="16"/>
                  </a:cubicBezTo>
                  <a:cubicBezTo>
                    <a:pt x="9" y="16"/>
                    <a:pt x="12" y="14"/>
                    <a:pt x="15" y="14"/>
                  </a:cubicBezTo>
                  <a:cubicBezTo>
                    <a:pt x="11" y="15"/>
                    <a:pt x="10" y="16"/>
                    <a:pt x="8" y="19"/>
                  </a:cubicBezTo>
                  <a:cubicBezTo>
                    <a:pt x="9" y="19"/>
                    <a:pt x="10" y="20"/>
                    <a:pt x="10" y="20"/>
                  </a:cubicBezTo>
                  <a:cubicBezTo>
                    <a:pt x="12" y="20"/>
                    <a:pt x="13" y="19"/>
                    <a:pt x="14" y="19"/>
                  </a:cubicBezTo>
                  <a:cubicBezTo>
                    <a:pt x="17" y="19"/>
                    <a:pt x="18" y="17"/>
                    <a:pt x="20" y="16"/>
                  </a:cubicBezTo>
                  <a:cubicBezTo>
                    <a:pt x="23" y="16"/>
                    <a:pt x="27" y="15"/>
                    <a:pt x="30" y="15"/>
                  </a:cubicBezTo>
                  <a:cubicBezTo>
                    <a:pt x="30" y="15"/>
                    <a:pt x="31" y="15"/>
                    <a:pt x="31" y="15"/>
                  </a:cubicBezTo>
                  <a:cubicBezTo>
                    <a:pt x="33" y="15"/>
                    <a:pt x="33" y="18"/>
                    <a:pt x="33" y="19"/>
                  </a:cubicBezTo>
                  <a:cubicBezTo>
                    <a:pt x="31" y="17"/>
                    <a:pt x="29" y="16"/>
                    <a:pt x="27" y="16"/>
                  </a:cubicBezTo>
                  <a:cubicBezTo>
                    <a:pt x="25" y="16"/>
                    <a:pt x="24" y="16"/>
                    <a:pt x="22" y="18"/>
                  </a:cubicBezTo>
                  <a:cubicBezTo>
                    <a:pt x="19" y="20"/>
                    <a:pt x="21" y="21"/>
                    <a:pt x="21" y="24"/>
                  </a:cubicBezTo>
                  <a:cubicBezTo>
                    <a:pt x="22" y="22"/>
                    <a:pt x="24" y="22"/>
                    <a:pt x="25" y="22"/>
                  </a:cubicBezTo>
                  <a:cubicBezTo>
                    <a:pt x="27" y="22"/>
                    <a:pt x="29" y="23"/>
                    <a:pt x="31" y="24"/>
                  </a:cubicBezTo>
                  <a:cubicBezTo>
                    <a:pt x="30" y="24"/>
                    <a:pt x="29" y="24"/>
                    <a:pt x="29" y="25"/>
                  </a:cubicBezTo>
                  <a:cubicBezTo>
                    <a:pt x="29" y="24"/>
                    <a:pt x="29" y="23"/>
                    <a:pt x="29" y="23"/>
                  </a:cubicBezTo>
                  <a:cubicBezTo>
                    <a:pt x="29" y="23"/>
                    <a:pt x="28" y="23"/>
                    <a:pt x="28" y="23"/>
                  </a:cubicBezTo>
                  <a:cubicBezTo>
                    <a:pt x="27" y="23"/>
                    <a:pt x="27" y="23"/>
                    <a:pt x="26" y="24"/>
                  </a:cubicBezTo>
                  <a:cubicBezTo>
                    <a:pt x="26" y="24"/>
                    <a:pt x="26" y="24"/>
                    <a:pt x="26" y="23"/>
                  </a:cubicBezTo>
                  <a:cubicBezTo>
                    <a:pt x="24" y="25"/>
                    <a:pt x="21" y="27"/>
                    <a:pt x="20" y="30"/>
                  </a:cubicBezTo>
                  <a:cubicBezTo>
                    <a:pt x="21" y="29"/>
                    <a:pt x="22" y="29"/>
                    <a:pt x="22" y="28"/>
                  </a:cubicBezTo>
                  <a:cubicBezTo>
                    <a:pt x="23" y="28"/>
                    <a:pt x="23" y="28"/>
                    <a:pt x="23" y="28"/>
                  </a:cubicBezTo>
                  <a:cubicBezTo>
                    <a:pt x="24" y="28"/>
                    <a:pt x="24" y="28"/>
                    <a:pt x="24" y="28"/>
                  </a:cubicBezTo>
                  <a:cubicBezTo>
                    <a:pt x="22" y="29"/>
                    <a:pt x="21" y="30"/>
                    <a:pt x="22" y="31"/>
                  </a:cubicBezTo>
                  <a:cubicBezTo>
                    <a:pt x="25" y="32"/>
                    <a:pt x="28" y="31"/>
                    <a:pt x="26" y="35"/>
                  </a:cubicBezTo>
                  <a:cubicBezTo>
                    <a:pt x="28" y="35"/>
                    <a:pt x="29" y="35"/>
                    <a:pt x="30" y="34"/>
                  </a:cubicBezTo>
                  <a:cubicBezTo>
                    <a:pt x="30" y="34"/>
                    <a:pt x="30" y="34"/>
                    <a:pt x="30" y="34"/>
                  </a:cubicBezTo>
                  <a:cubicBezTo>
                    <a:pt x="32" y="30"/>
                    <a:pt x="34" y="25"/>
                    <a:pt x="37" y="23"/>
                  </a:cubicBezTo>
                  <a:cubicBezTo>
                    <a:pt x="38" y="22"/>
                    <a:pt x="40" y="22"/>
                    <a:pt x="42" y="22"/>
                  </a:cubicBezTo>
                  <a:cubicBezTo>
                    <a:pt x="43" y="22"/>
                    <a:pt x="43" y="22"/>
                    <a:pt x="44" y="22"/>
                  </a:cubicBezTo>
                  <a:cubicBezTo>
                    <a:pt x="45" y="21"/>
                    <a:pt x="45" y="21"/>
                    <a:pt x="46" y="21"/>
                  </a:cubicBezTo>
                  <a:cubicBezTo>
                    <a:pt x="48" y="21"/>
                    <a:pt x="48" y="21"/>
                    <a:pt x="48" y="21"/>
                  </a:cubicBezTo>
                  <a:cubicBezTo>
                    <a:pt x="50" y="20"/>
                    <a:pt x="53" y="20"/>
                    <a:pt x="56" y="19"/>
                  </a:cubicBezTo>
                  <a:cubicBezTo>
                    <a:pt x="56" y="19"/>
                    <a:pt x="56" y="18"/>
                    <a:pt x="57" y="18"/>
                  </a:cubicBezTo>
                  <a:cubicBezTo>
                    <a:pt x="58" y="18"/>
                    <a:pt x="58" y="18"/>
                    <a:pt x="58" y="18"/>
                  </a:cubicBezTo>
                  <a:cubicBezTo>
                    <a:pt x="58" y="16"/>
                    <a:pt x="57" y="15"/>
                    <a:pt x="57" y="15"/>
                  </a:cubicBezTo>
                  <a:cubicBezTo>
                    <a:pt x="56" y="13"/>
                    <a:pt x="56" y="13"/>
                    <a:pt x="56" y="13"/>
                  </a:cubicBezTo>
                  <a:cubicBezTo>
                    <a:pt x="47" y="13"/>
                    <a:pt x="47" y="13"/>
                    <a:pt x="47" y="13"/>
                  </a:cubicBezTo>
                  <a:cubicBezTo>
                    <a:pt x="54" y="8"/>
                    <a:pt x="54" y="8"/>
                    <a:pt x="54" y="8"/>
                  </a:cubicBezTo>
                  <a:cubicBezTo>
                    <a:pt x="56" y="7"/>
                    <a:pt x="57" y="6"/>
                    <a:pt x="59" y="5"/>
                  </a:cubicBezTo>
                  <a:cubicBezTo>
                    <a:pt x="59" y="5"/>
                    <a:pt x="59" y="5"/>
                    <a:pt x="59" y="5"/>
                  </a:cubicBezTo>
                  <a:cubicBezTo>
                    <a:pt x="59" y="4"/>
                    <a:pt x="59" y="4"/>
                    <a:pt x="59" y="3"/>
                  </a:cubicBezTo>
                  <a:cubicBezTo>
                    <a:pt x="59" y="0"/>
                    <a:pt x="59" y="0"/>
                    <a:pt x="59" y="0"/>
                  </a:cubicBezTo>
                  <a:cubicBezTo>
                    <a:pt x="58" y="0"/>
                    <a:pt x="58" y="0"/>
                    <a:pt x="57" y="0"/>
                  </a:cubicBezTo>
                  <a:cubicBezTo>
                    <a:pt x="55" y="0"/>
                    <a:pt x="54" y="0"/>
                    <a:pt x="52" y="1"/>
                  </a:cubicBezTo>
                  <a:cubicBezTo>
                    <a:pt x="51" y="1"/>
                    <a:pt x="51" y="1"/>
                    <a:pt x="51" y="1"/>
                  </a:cubicBezTo>
                  <a:cubicBezTo>
                    <a:pt x="50" y="0"/>
                    <a:pt x="48" y="0"/>
                    <a:pt x="46" y="0"/>
                  </a:cubicBezTo>
                  <a:cubicBezTo>
                    <a:pt x="44" y="0"/>
                    <a:pt x="42"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 name="Freeform 243">
              <a:extLst>
                <a:ext uri="{FF2B5EF4-FFF2-40B4-BE49-F238E27FC236}">
                  <a16:creationId xmlns:a16="http://schemas.microsoft.com/office/drawing/2014/main" id="{1B51F545-D404-468B-A06F-650ACE109C04}"/>
                </a:ext>
              </a:extLst>
            </p:cNvPr>
            <p:cNvSpPr>
              <a:spLocks/>
            </p:cNvSpPr>
            <p:nvPr/>
          </p:nvSpPr>
          <p:spPr bwMode="auto">
            <a:xfrm>
              <a:off x="2742" y="2067"/>
              <a:ext cx="21" cy="5"/>
            </a:xfrm>
            <a:custGeom>
              <a:avLst/>
              <a:gdLst>
                <a:gd name="T0" fmla="*/ 9 w 9"/>
                <a:gd name="T1" fmla="*/ 0 h 2"/>
                <a:gd name="T2" fmla="*/ 0 w 9"/>
                <a:gd name="T3" fmla="*/ 1 h 2"/>
                <a:gd name="T4" fmla="*/ 3 w 9"/>
                <a:gd name="T5" fmla="*/ 2 h 2"/>
                <a:gd name="T6" fmla="*/ 9 w 9"/>
                <a:gd name="T7" fmla="*/ 0 h 2"/>
              </a:gdLst>
              <a:ahLst/>
              <a:cxnLst>
                <a:cxn ang="0">
                  <a:pos x="T0" y="T1"/>
                </a:cxn>
                <a:cxn ang="0">
                  <a:pos x="T2" y="T3"/>
                </a:cxn>
                <a:cxn ang="0">
                  <a:pos x="T4" y="T5"/>
                </a:cxn>
                <a:cxn ang="0">
                  <a:pos x="T6" y="T7"/>
                </a:cxn>
              </a:cxnLst>
              <a:rect l="0" t="0" r="r" b="b"/>
              <a:pathLst>
                <a:path w="9" h="2">
                  <a:moveTo>
                    <a:pt x="9" y="0"/>
                  </a:moveTo>
                  <a:cubicBezTo>
                    <a:pt x="6" y="0"/>
                    <a:pt x="3" y="1"/>
                    <a:pt x="0" y="1"/>
                  </a:cubicBezTo>
                  <a:cubicBezTo>
                    <a:pt x="1" y="2"/>
                    <a:pt x="2" y="2"/>
                    <a:pt x="3" y="2"/>
                  </a:cubicBezTo>
                  <a:cubicBezTo>
                    <a:pt x="5" y="2"/>
                    <a:pt x="6"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 name="Freeform 244">
              <a:extLst>
                <a:ext uri="{FF2B5EF4-FFF2-40B4-BE49-F238E27FC236}">
                  <a16:creationId xmlns:a16="http://schemas.microsoft.com/office/drawing/2014/main" id="{5846362F-D79B-4B37-8C23-34901BFFE520}"/>
                </a:ext>
              </a:extLst>
            </p:cNvPr>
            <p:cNvSpPr>
              <a:spLocks/>
            </p:cNvSpPr>
            <p:nvPr/>
          </p:nvSpPr>
          <p:spPr bwMode="auto">
            <a:xfrm>
              <a:off x="5282" y="2890"/>
              <a:ext cx="97" cy="106"/>
            </a:xfrm>
            <a:custGeom>
              <a:avLst/>
              <a:gdLst>
                <a:gd name="T0" fmla="*/ 29 w 41"/>
                <a:gd name="T1" fmla="*/ 0 h 45"/>
                <a:gd name="T2" fmla="*/ 24 w 41"/>
                <a:gd name="T3" fmla="*/ 2 h 45"/>
                <a:gd name="T4" fmla="*/ 22 w 41"/>
                <a:gd name="T5" fmla="*/ 1 h 45"/>
                <a:gd name="T6" fmla="*/ 18 w 41"/>
                <a:gd name="T7" fmla="*/ 8 h 45"/>
                <a:gd name="T8" fmla="*/ 17 w 41"/>
                <a:gd name="T9" fmla="*/ 9 h 45"/>
                <a:gd name="T10" fmla="*/ 14 w 41"/>
                <a:gd name="T11" fmla="*/ 10 h 45"/>
                <a:gd name="T12" fmla="*/ 14 w 41"/>
                <a:gd name="T13" fmla="*/ 10 h 45"/>
                <a:gd name="T14" fmla="*/ 13 w 41"/>
                <a:gd name="T15" fmla="*/ 10 h 45"/>
                <a:gd name="T16" fmla="*/ 13 w 41"/>
                <a:gd name="T17" fmla="*/ 11 h 45"/>
                <a:gd name="T18" fmla="*/ 12 w 41"/>
                <a:gd name="T19" fmla="*/ 11 h 45"/>
                <a:gd name="T20" fmla="*/ 12 w 41"/>
                <a:gd name="T21" fmla="*/ 11 h 45"/>
                <a:gd name="T22" fmla="*/ 12 w 41"/>
                <a:gd name="T23" fmla="*/ 11 h 45"/>
                <a:gd name="T24" fmla="*/ 10 w 41"/>
                <a:gd name="T25" fmla="*/ 11 h 45"/>
                <a:gd name="T26" fmla="*/ 9 w 41"/>
                <a:gd name="T27" fmla="*/ 11 h 45"/>
                <a:gd name="T28" fmla="*/ 3 w 41"/>
                <a:gd name="T29" fmla="*/ 9 h 45"/>
                <a:gd name="T30" fmla="*/ 1 w 41"/>
                <a:gd name="T31" fmla="*/ 7 h 45"/>
                <a:gd name="T32" fmla="*/ 1 w 41"/>
                <a:gd name="T33" fmla="*/ 7 h 45"/>
                <a:gd name="T34" fmla="*/ 0 w 41"/>
                <a:gd name="T35" fmla="*/ 7 h 45"/>
                <a:gd name="T36" fmla="*/ 0 w 41"/>
                <a:gd name="T37" fmla="*/ 7 h 45"/>
                <a:gd name="T38" fmla="*/ 1 w 41"/>
                <a:gd name="T39" fmla="*/ 7 h 45"/>
                <a:gd name="T40" fmla="*/ 1 w 41"/>
                <a:gd name="T41" fmla="*/ 8 h 45"/>
                <a:gd name="T42" fmla="*/ 2 w 41"/>
                <a:gd name="T43" fmla="*/ 9 h 45"/>
                <a:gd name="T44" fmla="*/ 2 w 41"/>
                <a:gd name="T45" fmla="*/ 9 h 45"/>
                <a:gd name="T46" fmla="*/ 3 w 41"/>
                <a:gd name="T47" fmla="*/ 10 h 45"/>
                <a:gd name="T48" fmla="*/ 5 w 41"/>
                <a:gd name="T49" fmla="*/ 18 h 45"/>
                <a:gd name="T50" fmla="*/ 5 w 41"/>
                <a:gd name="T51" fmla="*/ 18 h 45"/>
                <a:gd name="T52" fmla="*/ 5 w 41"/>
                <a:gd name="T53" fmla="*/ 19 h 45"/>
                <a:gd name="T54" fmla="*/ 5 w 41"/>
                <a:gd name="T55" fmla="*/ 21 h 45"/>
                <a:gd name="T56" fmla="*/ 4 w 41"/>
                <a:gd name="T57" fmla="*/ 23 h 45"/>
                <a:gd name="T58" fmla="*/ 4 w 41"/>
                <a:gd name="T59" fmla="*/ 24 h 45"/>
                <a:gd name="T60" fmla="*/ 5 w 41"/>
                <a:gd name="T61" fmla="*/ 25 h 45"/>
                <a:gd name="T62" fmla="*/ 3 w 41"/>
                <a:gd name="T63" fmla="*/ 25 h 45"/>
                <a:gd name="T64" fmla="*/ 3 w 41"/>
                <a:gd name="T65" fmla="*/ 25 h 45"/>
                <a:gd name="T66" fmla="*/ 4 w 41"/>
                <a:gd name="T67" fmla="*/ 27 h 45"/>
                <a:gd name="T68" fmla="*/ 3 w 41"/>
                <a:gd name="T69" fmla="*/ 27 h 45"/>
                <a:gd name="T70" fmla="*/ 5 w 41"/>
                <a:gd name="T71" fmla="*/ 32 h 45"/>
                <a:gd name="T72" fmla="*/ 11 w 41"/>
                <a:gd name="T73" fmla="*/ 45 h 45"/>
                <a:gd name="T74" fmla="*/ 11 w 41"/>
                <a:gd name="T75" fmla="*/ 45 h 45"/>
                <a:gd name="T76" fmla="*/ 14 w 41"/>
                <a:gd name="T77" fmla="*/ 45 h 45"/>
                <a:gd name="T78" fmla="*/ 15 w 41"/>
                <a:gd name="T79" fmla="*/ 45 h 45"/>
                <a:gd name="T80" fmla="*/ 22 w 41"/>
                <a:gd name="T81" fmla="*/ 44 h 45"/>
                <a:gd name="T82" fmla="*/ 26 w 41"/>
                <a:gd name="T83" fmla="*/ 44 h 45"/>
                <a:gd name="T84" fmla="*/ 31 w 41"/>
                <a:gd name="T85" fmla="*/ 38 h 45"/>
                <a:gd name="T86" fmla="*/ 32 w 41"/>
                <a:gd name="T87" fmla="*/ 36 h 45"/>
                <a:gd name="T88" fmla="*/ 33 w 41"/>
                <a:gd name="T89" fmla="*/ 32 h 45"/>
                <a:gd name="T90" fmla="*/ 36 w 41"/>
                <a:gd name="T91" fmla="*/ 24 h 45"/>
                <a:gd name="T92" fmla="*/ 37 w 41"/>
                <a:gd name="T93" fmla="*/ 23 h 45"/>
                <a:gd name="T94" fmla="*/ 37 w 41"/>
                <a:gd name="T95" fmla="*/ 23 h 45"/>
                <a:gd name="T96" fmla="*/ 37 w 41"/>
                <a:gd name="T97" fmla="*/ 21 h 45"/>
                <a:gd name="T98" fmla="*/ 39 w 41"/>
                <a:gd name="T99" fmla="*/ 20 h 45"/>
                <a:gd name="T100" fmla="*/ 41 w 41"/>
                <a:gd name="T101" fmla="*/ 18 h 45"/>
                <a:gd name="T102" fmla="*/ 39 w 41"/>
                <a:gd name="T103" fmla="*/ 12 h 45"/>
                <a:gd name="T104" fmla="*/ 38 w 41"/>
                <a:gd name="T105" fmla="*/ 10 h 45"/>
                <a:gd name="T106" fmla="*/ 35 w 41"/>
                <a:gd name="T107" fmla="*/ 10 h 45"/>
                <a:gd name="T108" fmla="*/ 35 w 41"/>
                <a:gd name="T109" fmla="*/ 7 h 45"/>
                <a:gd name="T110" fmla="*/ 35 w 41"/>
                <a:gd name="T111" fmla="*/ 6 h 45"/>
                <a:gd name="T112" fmla="*/ 34 w 41"/>
                <a:gd name="T113" fmla="*/ 2 h 45"/>
                <a:gd name="T114" fmla="*/ 34 w 41"/>
                <a:gd name="T115" fmla="*/ 2 h 45"/>
                <a:gd name="T116" fmla="*/ 34 w 41"/>
                <a:gd name="T117" fmla="*/ 2 h 45"/>
                <a:gd name="T118" fmla="*/ 33 w 41"/>
                <a:gd name="T119" fmla="*/ 2 h 45"/>
                <a:gd name="T120" fmla="*/ 32 w 41"/>
                <a:gd name="T121" fmla="*/ 2 h 45"/>
                <a:gd name="T122" fmla="*/ 31 w 41"/>
                <a:gd name="T123" fmla="*/ 1 h 45"/>
                <a:gd name="T124" fmla="*/ 29 w 41"/>
                <a:gd name="T12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45">
                  <a:moveTo>
                    <a:pt x="29" y="0"/>
                  </a:moveTo>
                  <a:cubicBezTo>
                    <a:pt x="27" y="1"/>
                    <a:pt x="25" y="2"/>
                    <a:pt x="24" y="2"/>
                  </a:cubicBezTo>
                  <a:cubicBezTo>
                    <a:pt x="23" y="2"/>
                    <a:pt x="23" y="2"/>
                    <a:pt x="22" y="1"/>
                  </a:cubicBezTo>
                  <a:cubicBezTo>
                    <a:pt x="22" y="4"/>
                    <a:pt x="21" y="7"/>
                    <a:pt x="18" y="8"/>
                  </a:cubicBezTo>
                  <a:cubicBezTo>
                    <a:pt x="17" y="9"/>
                    <a:pt x="17" y="9"/>
                    <a:pt x="17" y="9"/>
                  </a:cubicBezTo>
                  <a:cubicBezTo>
                    <a:pt x="17" y="9"/>
                    <a:pt x="15" y="10"/>
                    <a:pt x="14" y="10"/>
                  </a:cubicBezTo>
                  <a:cubicBezTo>
                    <a:pt x="14" y="10"/>
                    <a:pt x="14" y="10"/>
                    <a:pt x="14" y="10"/>
                  </a:cubicBezTo>
                  <a:cubicBezTo>
                    <a:pt x="13" y="10"/>
                    <a:pt x="13" y="10"/>
                    <a:pt x="13" y="10"/>
                  </a:cubicBezTo>
                  <a:cubicBezTo>
                    <a:pt x="13" y="11"/>
                    <a:pt x="13" y="11"/>
                    <a:pt x="13" y="11"/>
                  </a:cubicBezTo>
                  <a:cubicBezTo>
                    <a:pt x="12" y="11"/>
                    <a:pt x="12" y="11"/>
                    <a:pt x="12" y="11"/>
                  </a:cubicBezTo>
                  <a:cubicBezTo>
                    <a:pt x="12" y="11"/>
                    <a:pt x="12" y="11"/>
                    <a:pt x="12" y="11"/>
                  </a:cubicBezTo>
                  <a:cubicBezTo>
                    <a:pt x="12" y="11"/>
                    <a:pt x="12" y="11"/>
                    <a:pt x="12" y="11"/>
                  </a:cubicBezTo>
                  <a:cubicBezTo>
                    <a:pt x="11" y="11"/>
                    <a:pt x="11" y="11"/>
                    <a:pt x="10" y="11"/>
                  </a:cubicBezTo>
                  <a:cubicBezTo>
                    <a:pt x="10" y="11"/>
                    <a:pt x="10" y="11"/>
                    <a:pt x="9" y="11"/>
                  </a:cubicBezTo>
                  <a:cubicBezTo>
                    <a:pt x="6" y="11"/>
                    <a:pt x="4" y="10"/>
                    <a:pt x="3" y="9"/>
                  </a:cubicBezTo>
                  <a:cubicBezTo>
                    <a:pt x="2" y="8"/>
                    <a:pt x="2" y="7"/>
                    <a:pt x="1" y="7"/>
                  </a:cubicBezTo>
                  <a:cubicBezTo>
                    <a:pt x="1" y="7"/>
                    <a:pt x="1" y="7"/>
                    <a:pt x="1" y="7"/>
                  </a:cubicBezTo>
                  <a:cubicBezTo>
                    <a:pt x="1" y="7"/>
                    <a:pt x="1" y="7"/>
                    <a:pt x="0" y="7"/>
                  </a:cubicBezTo>
                  <a:cubicBezTo>
                    <a:pt x="0" y="7"/>
                    <a:pt x="0" y="7"/>
                    <a:pt x="0" y="7"/>
                  </a:cubicBezTo>
                  <a:cubicBezTo>
                    <a:pt x="1" y="7"/>
                    <a:pt x="1" y="7"/>
                    <a:pt x="1" y="7"/>
                  </a:cubicBezTo>
                  <a:cubicBezTo>
                    <a:pt x="1" y="7"/>
                    <a:pt x="1" y="8"/>
                    <a:pt x="1" y="8"/>
                  </a:cubicBezTo>
                  <a:cubicBezTo>
                    <a:pt x="2" y="9"/>
                    <a:pt x="2" y="9"/>
                    <a:pt x="2" y="9"/>
                  </a:cubicBezTo>
                  <a:cubicBezTo>
                    <a:pt x="2" y="9"/>
                    <a:pt x="2" y="9"/>
                    <a:pt x="2" y="9"/>
                  </a:cubicBezTo>
                  <a:cubicBezTo>
                    <a:pt x="3" y="10"/>
                    <a:pt x="3" y="10"/>
                    <a:pt x="3" y="10"/>
                  </a:cubicBezTo>
                  <a:cubicBezTo>
                    <a:pt x="4" y="13"/>
                    <a:pt x="5" y="15"/>
                    <a:pt x="5" y="18"/>
                  </a:cubicBezTo>
                  <a:cubicBezTo>
                    <a:pt x="5" y="18"/>
                    <a:pt x="5" y="18"/>
                    <a:pt x="5" y="18"/>
                  </a:cubicBezTo>
                  <a:cubicBezTo>
                    <a:pt x="5" y="19"/>
                    <a:pt x="5" y="19"/>
                    <a:pt x="5" y="19"/>
                  </a:cubicBezTo>
                  <a:cubicBezTo>
                    <a:pt x="5" y="21"/>
                    <a:pt x="5" y="21"/>
                    <a:pt x="5" y="21"/>
                  </a:cubicBezTo>
                  <a:cubicBezTo>
                    <a:pt x="5" y="22"/>
                    <a:pt x="5" y="23"/>
                    <a:pt x="4" y="23"/>
                  </a:cubicBezTo>
                  <a:cubicBezTo>
                    <a:pt x="4" y="24"/>
                    <a:pt x="4" y="24"/>
                    <a:pt x="4" y="24"/>
                  </a:cubicBezTo>
                  <a:cubicBezTo>
                    <a:pt x="5" y="25"/>
                    <a:pt x="5" y="25"/>
                    <a:pt x="5" y="25"/>
                  </a:cubicBezTo>
                  <a:cubicBezTo>
                    <a:pt x="3" y="25"/>
                    <a:pt x="3" y="25"/>
                    <a:pt x="3" y="25"/>
                  </a:cubicBezTo>
                  <a:cubicBezTo>
                    <a:pt x="3" y="25"/>
                    <a:pt x="3" y="25"/>
                    <a:pt x="3" y="25"/>
                  </a:cubicBezTo>
                  <a:cubicBezTo>
                    <a:pt x="4" y="27"/>
                    <a:pt x="4" y="27"/>
                    <a:pt x="4" y="27"/>
                  </a:cubicBezTo>
                  <a:cubicBezTo>
                    <a:pt x="3" y="27"/>
                    <a:pt x="3" y="27"/>
                    <a:pt x="3" y="27"/>
                  </a:cubicBezTo>
                  <a:cubicBezTo>
                    <a:pt x="4" y="29"/>
                    <a:pt x="5" y="31"/>
                    <a:pt x="5" y="32"/>
                  </a:cubicBezTo>
                  <a:cubicBezTo>
                    <a:pt x="7" y="36"/>
                    <a:pt x="9" y="41"/>
                    <a:pt x="11" y="45"/>
                  </a:cubicBezTo>
                  <a:cubicBezTo>
                    <a:pt x="11" y="45"/>
                    <a:pt x="11" y="45"/>
                    <a:pt x="11" y="45"/>
                  </a:cubicBezTo>
                  <a:cubicBezTo>
                    <a:pt x="14" y="45"/>
                    <a:pt x="14" y="45"/>
                    <a:pt x="14" y="45"/>
                  </a:cubicBezTo>
                  <a:cubicBezTo>
                    <a:pt x="15" y="45"/>
                    <a:pt x="15" y="45"/>
                    <a:pt x="15" y="45"/>
                  </a:cubicBezTo>
                  <a:cubicBezTo>
                    <a:pt x="15" y="45"/>
                    <a:pt x="16" y="45"/>
                    <a:pt x="22" y="44"/>
                  </a:cubicBezTo>
                  <a:cubicBezTo>
                    <a:pt x="24" y="44"/>
                    <a:pt x="25" y="44"/>
                    <a:pt x="26" y="44"/>
                  </a:cubicBezTo>
                  <a:cubicBezTo>
                    <a:pt x="29" y="42"/>
                    <a:pt x="29" y="41"/>
                    <a:pt x="31" y="38"/>
                  </a:cubicBezTo>
                  <a:cubicBezTo>
                    <a:pt x="32" y="36"/>
                    <a:pt x="32" y="36"/>
                    <a:pt x="32" y="36"/>
                  </a:cubicBezTo>
                  <a:cubicBezTo>
                    <a:pt x="33" y="35"/>
                    <a:pt x="33" y="33"/>
                    <a:pt x="33" y="32"/>
                  </a:cubicBezTo>
                  <a:cubicBezTo>
                    <a:pt x="33" y="29"/>
                    <a:pt x="33" y="26"/>
                    <a:pt x="36" y="24"/>
                  </a:cubicBezTo>
                  <a:cubicBezTo>
                    <a:pt x="37" y="23"/>
                    <a:pt x="37" y="23"/>
                    <a:pt x="37" y="23"/>
                  </a:cubicBezTo>
                  <a:cubicBezTo>
                    <a:pt x="37" y="23"/>
                    <a:pt x="37" y="23"/>
                    <a:pt x="37" y="23"/>
                  </a:cubicBezTo>
                  <a:cubicBezTo>
                    <a:pt x="37" y="21"/>
                    <a:pt x="37" y="21"/>
                    <a:pt x="37" y="21"/>
                  </a:cubicBezTo>
                  <a:cubicBezTo>
                    <a:pt x="39" y="20"/>
                    <a:pt x="39" y="20"/>
                    <a:pt x="39" y="20"/>
                  </a:cubicBezTo>
                  <a:cubicBezTo>
                    <a:pt x="39" y="20"/>
                    <a:pt x="40" y="18"/>
                    <a:pt x="41" y="18"/>
                  </a:cubicBezTo>
                  <a:cubicBezTo>
                    <a:pt x="40" y="17"/>
                    <a:pt x="40" y="14"/>
                    <a:pt x="39" y="12"/>
                  </a:cubicBezTo>
                  <a:cubicBezTo>
                    <a:pt x="38" y="11"/>
                    <a:pt x="38" y="11"/>
                    <a:pt x="38" y="10"/>
                  </a:cubicBezTo>
                  <a:cubicBezTo>
                    <a:pt x="35" y="10"/>
                    <a:pt x="35" y="10"/>
                    <a:pt x="35" y="10"/>
                  </a:cubicBezTo>
                  <a:cubicBezTo>
                    <a:pt x="35" y="7"/>
                    <a:pt x="35" y="7"/>
                    <a:pt x="35" y="7"/>
                  </a:cubicBezTo>
                  <a:cubicBezTo>
                    <a:pt x="35" y="6"/>
                    <a:pt x="35" y="6"/>
                    <a:pt x="35" y="6"/>
                  </a:cubicBezTo>
                  <a:cubicBezTo>
                    <a:pt x="35" y="5"/>
                    <a:pt x="34" y="4"/>
                    <a:pt x="34" y="2"/>
                  </a:cubicBezTo>
                  <a:cubicBezTo>
                    <a:pt x="34" y="2"/>
                    <a:pt x="34" y="2"/>
                    <a:pt x="34" y="2"/>
                  </a:cubicBezTo>
                  <a:cubicBezTo>
                    <a:pt x="34" y="2"/>
                    <a:pt x="34" y="2"/>
                    <a:pt x="34" y="2"/>
                  </a:cubicBezTo>
                  <a:cubicBezTo>
                    <a:pt x="33" y="2"/>
                    <a:pt x="33" y="2"/>
                    <a:pt x="33" y="2"/>
                  </a:cubicBezTo>
                  <a:cubicBezTo>
                    <a:pt x="32" y="2"/>
                    <a:pt x="32" y="2"/>
                    <a:pt x="32" y="2"/>
                  </a:cubicBezTo>
                  <a:cubicBezTo>
                    <a:pt x="32" y="1"/>
                    <a:pt x="32" y="1"/>
                    <a:pt x="31" y="1"/>
                  </a:cubicBezTo>
                  <a:cubicBezTo>
                    <a:pt x="31" y="1"/>
                    <a:pt x="30" y="1"/>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 name="Freeform 245">
              <a:extLst>
                <a:ext uri="{FF2B5EF4-FFF2-40B4-BE49-F238E27FC236}">
                  <a16:creationId xmlns:a16="http://schemas.microsoft.com/office/drawing/2014/main" id="{07A960C8-55FE-43C1-8CA1-90DA16E6AE03}"/>
                </a:ext>
              </a:extLst>
            </p:cNvPr>
            <p:cNvSpPr>
              <a:spLocks/>
            </p:cNvSpPr>
            <p:nvPr/>
          </p:nvSpPr>
          <p:spPr bwMode="auto">
            <a:xfrm>
              <a:off x="5277" y="2824"/>
              <a:ext cx="95" cy="80"/>
            </a:xfrm>
            <a:custGeom>
              <a:avLst/>
              <a:gdLst>
                <a:gd name="T0" fmla="*/ 33 w 40"/>
                <a:gd name="T1" fmla="*/ 0 h 34"/>
                <a:gd name="T2" fmla="*/ 29 w 40"/>
                <a:gd name="T3" fmla="*/ 2 h 34"/>
                <a:gd name="T4" fmla="*/ 29 w 40"/>
                <a:gd name="T5" fmla="*/ 3 h 34"/>
                <a:gd name="T6" fmla="*/ 26 w 40"/>
                <a:gd name="T7" fmla="*/ 5 h 34"/>
                <a:gd name="T8" fmla="*/ 23 w 40"/>
                <a:gd name="T9" fmla="*/ 7 h 34"/>
                <a:gd name="T10" fmla="*/ 22 w 40"/>
                <a:gd name="T11" fmla="*/ 7 h 34"/>
                <a:gd name="T12" fmla="*/ 18 w 40"/>
                <a:gd name="T13" fmla="*/ 5 h 34"/>
                <a:gd name="T14" fmla="*/ 17 w 40"/>
                <a:gd name="T15" fmla="*/ 4 h 34"/>
                <a:gd name="T16" fmla="*/ 16 w 40"/>
                <a:gd name="T17" fmla="*/ 5 h 34"/>
                <a:gd name="T18" fmla="*/ 15 w 40"/>
                <a:gd name="T19" fmla="*/ 5 h 34"/>
                <a:gd name="T20" fmla="*/ 12 w 40"/>
                <a:gd name="T21" fmla="*/ 7 h 34"/>
                <a:gd name="T22" fmla="*/ 11 w 40"/>
                <a:gd name="T23" fmla="*/ 8 h 34"/>
                <a:gd name="T24" fmla="*/ 10 w 40"/>
                <a:gd name="T25" fmla="*/ 9 h 34"/>
                <a:gd name="T26" fmla="*/ 8 w 40"/>
                <a:gd name="T27" fmla="*/ 11 h 34"/>
                <a:gd name="T28" fmla="*/ 8 w 40"/>
                <a:gd name="T29" fmla="*/ 11 h 34"/>
                <a:gd name="T30" fmla="*/ 8 w 40"/>
                <a:gd name="T31" fmla="*/ 11 h 34"/>
                <a:gd name="T32" fmla="*/ 6 w 40"/>
                <a:gd name="T33" fmla="*/ 12 h 34"/>
                <a:gd name="T34" fmla="*/ 5 w 40"/>
                <a:gd name="T35" fmla="*/ 17 h 34"/>
                <a:gd name="T36" fmla="*/ 5 w 40"/>
                <a:gd name="T37" fmla="*/ 22 h 34"/>
                <a:gd name="T38" fmla="*/ 3 w 40"/>
                <a:gd name="T39" fmla="*/ 26 h 34"/>
                <a:gd name="T40" fmla="*/ 0 w 40"/>
                <a:gd name="T41" fmla="*/ 29 h 34"/>
                <a:gd name="T42" fmla="*/ 0 w 40"/>
                <a:gd name="T43" fmla="*/ 29 h 34"/>
                <a:gd name="T44" fmla="*/ 0 w 40"/>
                <a:gd name="T45" fmla="*/ 29 h 34"/>
                <a:gd name="T46" fmla="*/ 2 w 40"/>
                <a:gd name="T47" fmla="*/ 29 h 34"/>
                <a:gd name="T48" fmla="*/ 3 w 40"/>
                <a:gd name="T49" fmla="*/ 29 h 34"/>
                <a:gd name="T50" fmla="*/ 5 w 40"/>
                <a:gd name="T51" fmla="*/ 29 h 34"/>
                <a:gd name="T52" fmla="*/ 7 w 40"/>
                <a:gd name="T53" fmla="*/ 25 h 34"/>
                <a:gd name="T54" fmla="*/ 6 w 40"/>
                <a:gd name="T55" fmla="*/ 30 h 34"/>
                <a:gd name="T56" fmla="*/ 6 w 40"/>
                <a:gd name="T57" fmla="*/ 30 h 34"/>
                <a:gd name="T58" fmla="*/ 9 w 40"/>
                <a:gd name="T59" fmla="*/ 32 h 34"/>
                <a:gd name="T60" fmla="*/ 11 w 40"/>
                <a:gd name="T61" fmla="*/ 34 h 34"/>
                <a:gd name="T62" fmla="*/ 10 w 40"/>
                <a:gd name="T63" fmla="*/ 31 h 34"/>
                <a:gd name="T64" fmla="*/ 12 w 40"/>
                <a:gd name="T65" fmla="*/ 33 h 34"/>
                <a:gd name="T66" fmla="*/ 13 w 40"/>
                <a:gd name="T67" fmla="*/ 33 h 34"/>
                <a:gd name="T68" fmla="*/ 13 w 40"/>
                <a:gd name="T69" fmla="*/ 34 h 34"/>
                <a:gd name="T70" fmla="*/ 13 w 40"/>
                <a:gd name="T71" fmla="*/ 34 h 34"/>
                <a:gd name="T72" fmla="*/ 13 w 40"/>
                <a:gd name="T73" fmla="*/ 33 h 34"/>
                <a:gd name="T74" fmla="*/ 16 w 40"/>
                <a:gd name="T75" fmla="*/ 31 h 34"/>
                <a:gd name="T76" fmla="*/ 17 w 40"/>
                <a:gd name="T77" fmla="*/ 31 h 34"/>
                <a:gd name="T78" fmla="*/ 18 w 40"/>
                <a:gd name="T79" fmla="*/ 27 h 34"/>
                <a:gd name="T80" fmla="*/ 18 w 40"/>
                <a:gd name="T81" fmla="*/ 25 h 34"/>
                <a:gd name="T82" fmla="*/ 19 w 40"/>
                <a:gd name="T83" fmla="*/ 20 h 34"/>
                <a:gd name="T84" fmla="*/ 22 w 40"/>
                <a:gd name="T85" fmla="*/ 22 h 34"/>
                <a:gd name="T86" fmla="*/ 26 w 40"/>
                <a:gd name="T87" fmla="*/ 24 h 34"/>
                <a:gd name="T88" fmla="*/ 29 w 40"/>
                <a:gd name="T89" fmla="*/ 23 h 34"/>
                <a:gd name="T90" fmla="*/ 31 w 40"/>
                <a:gd name="T91" fmla="*/ 23 h 34"/>
                <a:gd name="T92" fmla="*/ 31 w 40"/>
                <a:gd name="T93" fmla="*/ 23 h 34"/>
                <a:gd name="T94" fmla="*/ 35 w 40"/>
                <a:gd name="T95" fmla="*/ 24 h 34"/>
                <a:gd name="T96" fmla="*/ 35 w 40"/>
                <a:gd name="T97" fmla="*/ 24 h 34"/>
                <a:gd name="T98" fmla="*/ 36 w 40"/>
                <a:gd name="T99" fmla="*/ 24 h 34"/>
                <a:gd name="T100" fmla="*/ 38 w 40"/>
                <a:gd name="T101" fmla="*/ 24 h 34"/>
                <a:gd name="T102" fmla="*/ 39 w 40"/>
                <a:gd name="T103" fmla="*/ 23 h 34"/>
                <a:gd name="T104" fmla="*/ 39 w 40"/>
                <a:gd name="T105" fmla="*/ 23 h 34"/>
                <a:gd name="T106" fmla="*/ 39 w 40"/>
                <a:gd name="T107" fmla="*/ 23 h 34"/>
                <a:gd name="T108" fmla="*/ 40 w 40"/>
                <a:gd name="T109" fmla="*/ 23 h 34"/>
                <a:gd name="T110" fmla="*/ 40 w 40"/>
                <a:gd name="T111" fmla="*/ 20 h 34"/>
                <a:gd name="T112" fmla="*/ 40 w 40"/>
                <a:gd name="T113" fmla="*/ 19 h 34"/>
                <a:gd name="T114" fmla="*/ 39 w 40"/>
                <a:gd name="T115" fmla="*/ 15 h 34"/>
                <a:gd name="T116" fmla="*/ 38 w 40"/>
                <a:gd name="T117" fmla="*/ 11 h 34"/>
                <a:gd name="T118" fmla="*/ 37 w 40"/>
                <a:gd name="T119" fmla="*/ 7 h 34"/>
                <a:gd name="T120" fmla="*/ 33 w 40"/>
                <a:gd name="T1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 h="34">
                  <a:moveTo>
                    <a:pt x="33" y="0"/>
                  </a:moveTo>
                  <a:cubicBezTo>
                    <a:pt x="32" y="0"/>
                    <a:pt x="31" y="1"/>
                    <a:pt x="29" y="2"/>
                  </a:cubicBezTo>
                  <a:cubicBezTo>
                    <a:pt x="29" y="3"/>
                    <a:pt x="29" y="3"/>
                    <a:pt x="29" y="3"/>
                  </a:cubicBezTo>
                  <a:cubicBezTo>
                    <a:pt x="28" y="4"/>
                    <a:pt x="27" y="5"/>
                    <a:pt x="26" y="5"/>
                  </a:cubicBezTo>
                  <a:cubicBezTo>
                    <a:pt x="25" y="6"/>
                    <a:pt x="24" y="7"/>
                    <a:pt x="23" y="7"/>
                  </a:cubicBezTo>
                  <a:cubicBezTo>
                    <a:pt x="22" y="7"/>
                    <a:pt x="22" y="7"/>
                    <a:pt x="22" y="7"/>
                  </a:cubicBezTo>
                  <a:cubicBezTo>
                    <a:pt x="21" y="7"/>
                    <a:pt x="19" y="7"/>
                    <a:pt x="18" y="5"/>
                  </a:cubicBezTo>
                  <a:cubicBezTo>
                    <a:pt x="18" y="5"/>
                    <a:pt x="18" y="5"/>
                    <a:pt x="17" y="4"/>
                  </a:cubicBezTo>
                  <a:cubicBezTo>
                    <a:pt x="16" y="5"/>
                    <a:pt x="16" y="5"/>
                    <a:pt x="16" y="5"/>
                  </a:cubicBezTo>
                  <a:cubicBezTo>
                    <a:pt x="15" y="5"/>
                    <a:pt x="15" y="5"/>
                    <a:pt x="15" y="5"/>
                  </a:cubicBezTo>
                  <a:cubicBezTo>
                    <a:pt x="15" y="6"/>
                    <a:pt x="13" y="7"/>
                    <a:pt x="12" y="7"/>
                  </a:cubicBezTo>
                  <a:cubicBezTo>
                    <a:pt x="11" y="8"/>
                    <a:pt x="11" y="8"/>
                    <a:pt x="11" y="8"/>
                  </a:cubicBezTo>
                  <a:cubicBezTo>
                    <a:pt x="10" y="9"/>
                    <a:pt x="10" y="9"/>
                    <a:pt x="10" y="9"/>
                  </a:cubicBezTo>
                  <a:cubicBezTo>
                    <a:pt x="10" y="9"/>
                    <a:pt x="9" y="10"/>
                    <a:pt x="8" y="11"/>
                  </a:cubicBezTo>
                  <a:cubicBezTo>
                    <a:pt x="8" y="11"/>
                    <a:pt x="8" y="11"/>
                    <a:pt x="8" y="11"/>
                  </a:cubicBezTo>
                  <a:cubicBezTo>
                    <a:pt x="8" y="11"/>
                    <a:pt x="8" y="11"/>
                    <a:pt x="8" y="11"/>
                  </a:cubicBezTo>
                  <a:cubicBezTo>
                    <a:pt x="6" y="12"/>
                    <a:pt x="6" y="12"/>
                    <a:pt x="6" y="12"/>
                  </a:cubicBezTo>
                  <a:cubicBezTo>
                    <a:pt x="6" y="13"/>
                    <a:pt x="5" y="16"/>
                    <a:pt x="5" y="17"/>
                  </a:cubicBezTo>
                  <a:cubicBezTo>
                    <a:pt x="5" y="19"/>
                    <a:pt x="5" y="20"/>
                    <a:pt x="5" y="22"/>
                  </a:cubicBezTo>
                  <a:cubicBezTo>
                    <a:pt x="4" y="24"/>
                    <a:pt x="3" y="25"/>
                    <a:pt x="3" y="26"/>
                  </a:cubicBezTo>
                  <a:cubicBezTo>
                    <a:pt x="2" y="27"/>
                    <a:pt x="1" y="28"/>
                    <a:pt x="0" y="29"/>
                  </a:cubicBezTo>
                  <a:cubicBezTo>
                    <a:pt x="0" y="29"/>
                    <a:pt x="0" y="29"/>
                    <a:pt x="0" y="29"/>
                  </a:cubicBezTo>
                  <a:cubicBezTo>
                    <a:pt x="0" y="29"/>
                    <a:pt x="0" y="29"/>
                    <a:pt x="0" y="29"/>
                  </a:cubicBezTo>
                  <a:cubicBezTo>
                    <a:pt x="1" y="29"/>
                    <a:pt x="1" y="29"/>
                    <a:pt x="2" y="29"/>
                  </a:cubicBezTo>
                  <a:cubicBezTo>
                    <a:pt x="2" y="29"/>
                    <a:pt x="2" y="29"/>
                    <a:pt x="3" y="29"/>
                  </a:cubicBezTo>
                  <a:cubicBezTo>
                    <a:pt x="3" y="29"/>
                    <a:pt x="4" y="29"/>
                    <a:pt x="5" y="29"/>
                  </a:cubicBezTo>
                  <a:cubicBezTo>
                    <a:pt x="7" y="25"/>
                    <a:pt x="7" y="25"/>
                    <a:pt x="7" y="25"/>
                  </a:cubicBezTo>
                  <a:cubicBezTo>
                    <a:pt x="6" y="30"/>
                    <a:pt x="6" y="30"/>
                    <a:pt x="6" y="30"/>
                  </a:cubicBezTo>
                  <a:cubicBezTo>
                    <a:pt x="6" y="30"/>
                    <a:pt x="6" y="30"/>
                    <a:pt x="6" y="30"/>
                  </a:cubicBezTo>
                  <a:cubicBezTo>
                    <a:pt x="7" y="31"/>
                    <a:pt x="8" y="32"/>
                    <a:pt x="9" y="32"/>
                  </a:cubicBezTo>
                  <a:cubicBezTo>
                    <a:pt x="10" y="33"/>
                    <a:pt x="11" y="34"/>
                    <a:pt x="11" y="34"/>
                  </a:cubicBezTo>
                  <a:cubicBezTo>
                    <a:pt x="10" y="31"/>
                    <a:pt x="10" y="31"/>
                    <a:pt x="10" y="31"/>
                  </a:cubicBezTo>
                  <a:cubicBezTo>
                    <a:pt x="12" y="33"/>
                    <a:pt x="12" y="33"/>
                    <a:pt x="12" y="33"/>
                  </a:cubicBezTo>
                  <a:cubicBezTo>
                    <a:pt x="13" y="33"/>
                    <a:pt x="13" y="33"/>
                    <a:pt x="13" y="33"/>
                  </a:cubicBezTo>
                  <a:cubicBezTo>
                    <a:pt x="13" y="34"/>
                    <a:pt x="13" y="34"/>
                    <a:pt x="13" y="34"/>
                  </a:cubicBezTo>
                  <a:cubicBezTo>
                    <a:pt x="13" y="34"/>
                    <a:pt x="13" y="34"/>
                    <a:pt x="13" y="34"/>
                  </a:cubicBezTo>
                  <a:cubicBezTo>
                    <a:pt x="13" y="33"/>
                    <a:pt x="13" y="33"/>
                    <a:pt x="13" y="33"/>
                  </a:cubicBezTo>
                  <a:cubicBezTo>
                    <a:pt x="14" y="33"/>
                    <a:pt x="16" y="32"/>
                    <a:pt x="16" y="31"/>
                  </a:cubicBezTo>
                  <a:cubicBezTo>
                    <a:pt x="17" y="31"/>
                    <a:pt x="17" y="31"/>
                    <a:pt x="17" y="31"/>
                  </a:cubicBezTo>
                  <a:cubicBezTo>
                    <a:pt x="18" y="31"/>
                    <a:pt x="18" y="28"/>
                    <a:pt x="18" y="27"/>
                  </a:cubicBezTo>
                  <a:cubicBezTo>
                    <a:pt x="18" y="26"/>
                    <a:pt x="18" y="25"/>
                    <a:pt x="18" y="25"/>
                  </a:cubicBezTo>
                  <a:cubicBezTo>
                    <a:pt x="19" y="20"/>
                    <a:pt x="19" y="20"/>
                    <a:pt x="19" y="20"/>
                  </a:cubicBezTo>
                  <a:cubicBezTo>
                    <a:pt x="22" y="22"/>
                    <a:pt x="22" y="22"/>
                    <a:pt x="22" y="22"/>
                  </a:cubicBezTo>
                  <a:cubicBezTo>
                    <a:pt x="24" y="23"/>
                    <a:pt x="25" y="24"/>
                    <a:pt x="26" y="24"/>
                  </a:cubicBezTo>
                  <a:cubicBezTo>
                    <a:pt x="27" y="24"/>
                    <a:pt x="28" y="24"/>
                    <a:pt x="29" y="23"/>
                  </a:cubicBezTo>
                  <a:cubicBezTo>
                    <a:pt x="29" y="23"/>
                    <a:pt x="30" y="23"/>
                    <a:pt x="31" y="23"/>
                  </a:cubicBezTo>
                  <a:cubicBezTo>
                    <a:pt x="31" y="23"/>
                    <a:pt x="31" y="23"/>
                    <a:pt x="31" y="23"/>
                  </a:cubicBezTo>
                  <a:cubicBezTo>
                    <a:pt x="33" y="23"/>
                    <a:pt x="34" y="23"/>
                    <a:pt x="35" y="24"/>
                  </a:cubicBezTo>
                  <a:cubicBezTo>
                    <a:pt x="35" y="24"/>
                    <a:pt x="35" y="24"/>
                    <a:pt x="35" y="24"/>
                  </a:cubicBezTo>
                  <a:cubicBezTo>
                    <a:pt x="36" y="24"/>
                    <a:pt x="36" y="24"/>
                    <a:pt x="36" y="24"/>
                  </a:cubicBezTo>
                  <a:cubicBezTo>
                    <a:pt x="38" y="24"/>
                    <a:pt x="38" y="24"/>
                    <a:pt x="38" y="24"/>
                  </a:cubicBezTo>
                  <a:cubicBezTo>
                    <a:pt x="38" y="24"/>
                    <a:pt x="38" y="23"/>
                    <a:pt x="39" y="23"/>
                  </a:cubicBezTo>
                  <a:cubicBezTo>
                    <a:pt x="39" y="23"/>
                    <a:pt x="39" y="23"/>
                    <a:pt x="39" y="23"/>
                  </a:cubicBezTo>
                  <a:cubicBezTo>
                    <a:pt x="39" y="23"/>
                    <a:pt x="39" y="23"/>
                    <a:pt x="39" y="23"/>
                  </a:cubicBezTo>
                  <a:cubicBezTo>
                    <a:pt x="40" y="23"/>
                    <a:pt x="40" y="23"/>
                    <a:pt x="40" y="23"/>
                  </a:cubicBezTo>
                  <a:cubicBezTo>
                    <a:pt x="40" y="21"/>
                    <a:pt x="40" y="21"/>
                    <a:pt x="40" y="20"/>
                  </a:cubicBezTo>
                  <a:cubicBezTo>
                    <a:pt x="40" y="19"/>
                    <a:pt x="40" y="19"/>
                    <a:pt x="40" y="19"/>
                  </a:cubicBezTo>
                  <a:cubicBezTo>
                    <a:pt x="39" y="18"/>
                    <a:pt x="39" y="17"/>
                    <a:pt x="39" y="15"/>
                  </a:cubicBezTo>
                  <a:cubicBezTo>
                    <a:pt x="39" y="14"/>
                    <a:pt x="39" y="12"/>
                    <a:pt x="38" y="11"/>
                  </a:cubicBezTo>
                  <a:cubicBezTo>
                    <a:pt x="38" y="10"/>
                    <a:pt x="38" y="9"/>
                    <a:pt x="37" y="7"/>
                  </a:cubicBez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Freeform 246">
              <a:extLst>
                <a:ext uri="{FF2B5EF4-FFF2-40B4-BE49-F238E27FC236}">
                  <a16:creationId xmlns:a16="http://schemas.microsoft.com/office/drawing/2014/main" id="{B281BF89-419E-4AA0-B995-0AA43E2B30A1}"/>
                </a:ext>
              </a:extLst>
            </p:cNvPr>
            <p:cNvSpPr>
              <a:spLocks noEditPoints="1"/>
            </p:cNvSpPr>
            <p:nvPr/>
          </p:nvSpPr>
          <p:spPr bwMode="auto">
            <a:xfrm>
              <a:off x="2687" y="1826"/>
              <a:ext cx="336" cy="232"/>
            </a:xfrm>
            <a:custGeom>
              <a:avLst/>
              <a:gdLst>
                <a:gd name="T0" fmla="*/ 30 w 142"/>
                <a:gd name="T1" fmla="*/ 94 h 98"/>
                <a:gd name="T2" fmla="*/ 30 w 142"/>
                <a:gd name="T3" fmla="*/ 94 h 98"/>
                <a:gd name="T4" fmla="*/ 30 w 142"/>
                <a:gd name="T5" fmla="*/ 94 h 98"/>
                <a:gd name="T6" fmla="*/ 23 w 142"/>
                <a:gd name="T7" fmla="*/ 94 h 98"/>
                <a:gd name="T8" fmla="*/ 26 w 142"/>
                <a:gd name="T9" fmla="*/ 95 h 98"/>
                <a:gd name="T10" fmla="*/ 52 w 142"/>
                <a:gd name="T11" fmla="*/ 1 h 98"/>
                <a:gd name="T12" fmla="*/ 41 w 142"/>
                <a:gd name="T13" fmla="*/ 4 h 98"/>
                <a:gd name="T14" fmla="*/ 34 w 142"/>
                <a:gd name="T15" fmla="*/ 4 h 98"/>
                <a:gd name="T16" fmla="*/ 25 w 142"/>
                <a:gd name="T17" fmla="*/ 14 h 98"/>
                <a:gd name="T18" fmla="*/ 15 w 142"/>
                <a:gd name="T19" fmla="*/ 30 h 98"/>
                <a:gd name="T20" fmla="*/ 2 w 142"/>
                <a:gd name="T21" fmla="*/ 45 h 98"/>
                <a:gd name="T22" fmla="*/ 14 w 142"/>
                <a:gd name="T23" fmla="*/ 54 h 98"/>
                <a:gd name="T24" fmla="*/ 20 w 142"/>
                <a:gd name="T25" fmla="*/ 61 h 98"/>
                <a:gd name="T26" fmla="*/ 21 w 142"/>
                <a:gd name="T27" fmla="*/ 65 h 98"/>
                <a:gd name="T28" fmla="*/ 47 w 142"/>
                <a:gd name="T29" fmla="*/ 67 h 98"/>
                <a:gd name="T30" fmla="*/ 55 w 142"/>
                <a:gd name="T31" fmla="*/ 63 h 98"/>
                <a:gd name="T32" fmla="*/ 62 w 142"/>
                <a:gd name="T33" fmla="*/ 63 h 98"/>
                <a:gd name="T34" fmla="*/ 72 w 142"/>
                <a:gd name="T35" fmla="*/ 69 h 98"/>
                <a:gd name="T36" fmla="*/ 76 w 142"/>
                <a:gd name="T37" fmla="*/ 70 h 98"/>
                <a:gd name="T38" fmla="*/ 80 w 142"/>
                <a:gd name="T39" fmla="*/ 70 h 98"/>
                <a:gd name="T40" fmla="*/ 85 w 142"/>
                <a:gd name="T41" fmla="*/ 65 h 98"/>
                <a:gd name="T42" fmla="*/ 88 w 142"/>
                <a:gd name="T43" fmla="*/ 64 h 98"/>
                <a:gd name="T44" fmla="*/ 90 w 142"/>
                <a:gd name="T45" fmla="*/ 74 h 98"/>
                <a:gd name="T46" fmla="*/ 88 w 142"/>
                <a:gd name="T47" fmla="*/ 79 h 98"/>
                <a:gd name="T48" fmla="*/ 86 w 142"/>
                <a:gd name="T49" fmla="*/ 80 h 98"/>
                <a:gd name="T50" fmla="*/ 76 w 142"/>
                <a:gd name="T51" fmla="*/ 82 h 98"/>
                <a:gd name="T52" fmla="*/ 58 w 142"/>
                <a:gd name="T53" fmla="*/ 75 h 98"/>
                <a:gd name="T54" fmla="*/ 46 w 142"/>
                <a:gd name="T55" fmla="*/ 81 h 98"/>
                <a:gd name="T56" fmla="*/ 43 w 142"/>
                <a:gd name="T57" fmla="*/ 81 h 98"/>
                <a:gd name="T58" fmla="*/ 38 w 142"/>
                <a:gd name="T59" fmla="*/ 84 h 98"/>
                <a:gd name="T60" fmla="*/ 18 w 142"/>
                <a:gd name="T61" fmla="*/ 86 h 98"/>
                <a:gd name="T62" fmla="*/ 23 w 142"/>
                <a:gd name="T63" fmla="*/ 94 h 98"/>
                <a:gd name="T64" fmla="*/ 17 w 142"/>
                <a:gd name="T65" fmla="*/ 98 h 98"/>
                <a:gd name="T66" fmla="*/ 63 w 142"/>
                <a:gd name="T67" fmla="*/ 90 h 98"/>
                <a:gd name="T68" fmla="*/ 79 w 142"/>
                <a:gd name="T69" fmla="*/ 90 h 98"/>
                <a:gd name="T70" fmla="*/ 86 w 142"/>
                <a:gd name="T71" fmla="*/ 89 h 98"/>
                <a:gd name="T72" fmla="*/ 100 w 142"/>
                <a:gd name="T73" fmla="*/ 91 h 98"/>
                <a:gd name="T74" fmla="*/ 103 w 142"/>
                <a:gd name="T75" fmla="*/ 92 h 98"/>
                <a:gd name="T76" fmla="*/ 118 w 142"/>
                <a:gd name="T77" fmla="*/ 97 h 98"/>
                <a:gd name="T78" fmla="*/ 139 w 142"/>
                <a:gd name="T79" fmla="*/ 96 h 98"/>
                <a:gd name="T80" fmla="*/ 138 w 142"/>
                <a:gd name="T81" fmla="*/ 79 h 98"/>
                <a:gd name="T82" fmla="*/ 126 w 142"/>
                <a:gd name="T83" fmla="*/ 70 h 98"/>
                <a:gd name="T84" fmla="*/ 121 w 142"/>
                <a:gd name="T85" fmla="*/ 44 h 98"/>
                <a:gd name="T86" fmla="*/ 116 w 142"/>
                <a:gd name="T87" fmla="*/ 40 h 98"/>
                <a:gd name="T88" fmla="*/ 113 w 142"/>
                <a:gd name="T89" fmla="*/ 37 h 98"/>
                <a:gd name="T90" fmla="*/ 108 w 142"/>
                <a:gd name="T91" fmla="*/ 32 h 98"/>
                <a:gd name="T92" fmla="*/ 98 w 142"/>
                <a:gd name="T93" fmla="*/ 23 h 98"/>
                <a:gd name="T94" fmla="*/ 95 w 142"/>
                <a:gd name="T95" fmla="*/ 15 h 98"/>
                <a:gd name="T96" fmla="*/ 92 w 142"/>
                <a:gd name="T97" fmla="*/ 12 h 98"/>
                <a:gd name="T98" fmla="*/ 87 w 142"/>
                <a:gd name="T99" fmla="*/ 12 h 98"/>
                <a:gd name="T100" fmla="*/ 85 w 142"/>
                <a:gd name="T101" fmla="*/ 11 h 98"/>
                <a:gd name="T102" fmla="*/ 78 w 142"/>
                <a:gd name="T103" fmla="*/ 4 h 98"/>
                <a:gd name="T104" fmla="*/ 69 w 142"/>
                <a:gd name="T105" fmla="*/ 0 h 98"/>
                <a:gd name="T106" fmla="*/ 59 w 142"/>
                <a:gd name="T10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98">
                  <a:moveTo>
                    <a:pt x="30" y="94"/>
                  </a:moveTo>
                  <a:cubicBezTo>
                    <a:pt x="30" y="94"/>
                    <a:pt x="30" y="94"/>
                    <a:pt x="30" y="94"/>
                  </a:cubicBezTo>
                  <a:cubicBezTo>
                    <a:pt x="30" y="94"/>
                    <a:pt x="30" y="94"/>
                    <a:pt x="30" y="94"/>
                  </a:cubicBezTo>
                  <a:moveTo>
                    <a:pt x="30" y="94"/>
                  </a:moveTo>
                  <a:cubicBezTo>
                    <a:pt x="30" y="94"/>
                    <a:pt x="30" y="94"/>
                    <a:pt x="30" y="94"/>
                  </a:cubicBezTo>
                  <a:cubicBezTo>
                    <a:pt x="30" y="94"/>
                    <a:pt x="30" y="94"/>
                    <a:pt x="30" y="94"/>
                  </a:cubicBezTo>
                  <a:moveTo>
                    <a:pt x="29" y="94"/>
                  </a:moveTo>
                  <a:cubicBezTo>
                    <a:pt x="30" y="94"/>
                    <a:pt x="30" y="94"/>
                    <a:pt x="30" y="94"/>
                  </a:cubicBezTo>
                  <a:cubicBezTo>
                    <a:pt x="30" y="94"/>
                    <a:pt x="30" y="94"/>
                    <a:pt x="30" y="94"/>
                  </a:cubicBezTo>
                  <a:cubicBezTo>
                    <a:pt x="30" y="94"/>
                    <a:pt x="30" y="94"/>
                    <a:pt x="29" y="94"/>
                  </a:cubicBezTo>
                  <a:moveTo>
                    <a:pt x="26" y="95"/>
                  </a:moveTo>
                  <a:cubicBezTo>
                    <a:pt x="26" y="95"/>
                    <a:pt x="25" y="95"/>
                    <a:pt x="23" y="94"/>
                  </a:cubicBezTo>
                  <a:cubicBezTo>
                    <a:pt x="25" y="95"/>
                    <a:pt x="26" y="95"/>
                    <a:pt x="26" y="95"/>
                  </a:cubicBezTo>
                  <a:cubicBezTo>
                    <a:pt x="27" y="95"/>
                    <a:pt x="27" y="95"/>
                    <a:pt x="28" y="94"/>
                  </a:cubicBezTo>
                  <a:cubicBezTo>
                    <a:pt x="27" y="95"/>
                    <a:pt x="27" y="95"/>
                    <a:pt x="26" y="95"/>
                  </a:cubicBezTo>
                  <a:moveTo>
                    <a:pt x="59" y="0"/>
                  </a:moveTo>
                  <a:cubicBezTo>
                    <a:pt x="57" y="0"/>
                    <a:pt x="56" y="0"/>
                    <a:pt x="55" y="1"/>
                  </a:cubicBezTo>
                  <a:cubicBezTo>
                    <a:pt x="54" y="1"/>
                    <a:pt x="53" y="1"/>
                    <a:pt x="52" y="1"/>
                  </a:cubicBezTo>
                  <a:cubicBezTo>
                    <a:pt x="51" y="2"/>
                    <a:pt x="50" y="2"/>
                    <a:pt x="49" y="2"/>
                  </a:cubicBezTo>
                  <a:cubicBezTo>
                    <a:pt x="48" y="2"/>
                    <a:pt x="48" y="2"/>
                    <a:pt x="48" y="2"/>
                  </a:cubicBezTo>
                  <a:cubicBezTo>
                    <a:pt x="46" y="3"/>
                    <a:pt x="44" y="4"/>
                    <a:pt x="41" y="4"/>
                  </a:cubicBezTo>
                  <a:cubicBezTo>
                    <a:pt x="40" y="4"/>
                    <a:pt x="40" y="4"/>
                    <a:pt x="40" y="4"/>
                  </a:cubicBezTo>
                  <a:cubicBezTo>
                    <a:pt x="39" y="4"/>
                    <a:pt x="38" y="4"/>
                    <a:pt x="37" y="4"/>
                  </a:cubicBezTo>
                  <a:cubicBezTo>
                    <a:pt x="36" y="4"/>
                    <a:pt x="35" y="4"/>
                    <a:pt x="34" y="4"/>
                  </a:cubicBezTo>
                  <a:cubicBezTo>
                    <a:pt x="33" y="4"/>
                    <a:pt x="32" y="3"/>
                    <a:pt x="32" y="3"/>
                  </a:cubicBezTo>
                  <a:cubicBezTo>
                    <a:pt x="29" y="4"/>
                    <a:pt x="28" y="8"/>
                    <a:pt x="26" y="11"/>
                  </a:cubicBezTo>
                  <a:cubicBezTo>
                    <a:pt x="25" y="14"/>
                    <a:pt x="25" y="14"/>
                    <a:pt x="25" y="14"/>
                  </a:cubicBezTo>
                  <a:cubicBezTo>
                    <a:pt x="23" y="13"/>
                    <a:pt x="23" y="13"/>
                    <a:pt x="23" y="13"/>
                  </a:cubicBezTo>
                  <a:cubicBezTo>
                    <a:pt x="23" y="17"/>
                    <a:pt x="23" y="19"/>
                    <a:pt x="21" y="22"/>
                  </a:cubicBezTo>
                  <a:cubicBezTo>
                    <a:pt x="19" y="25"/>
                    <a:pt x="17" y="27"/>
                    <a:pt x="15" y="30"/>
                  </a:cubicBezTo>
                  <a:cubicBezTo>
                    <a:pt x="13" y="33"/>
                    <a:pt x="11" y="37"/>
                    <a:pt x="8" y="39"/>
                  </a:cubicBezTo>
                  <a:cubicBezTo>
                    <a:pt x="6" y="41"/>
                    <a:pt x="2" y="42"/>
                    <a:pt x="0" y="43"/>
                  </a:cubicBezTo>
                  <a:cubicBezTo>
                    <a:pt x="0" y="44"/>
                    <a:pt x="1" y="44"/>
                    <a:pt x="2" y="45"/>
                  </a:cubicBezTo>
                  <a:cubicBezTo>
                    <a:pt x="2" y="44"/>
                    <a:pt x="2" y="43"/>
                    <a:pt x="3" y="43"/>
                  </a:cubicBezTo>
                  <a:cubicBezTo>
                    <a:pt x="4" y="43"/>
                    <a:pt x="5" y="44"/>
                    <a:pt x="6" y="44"/>
                  </a:cubicBezTo>
                  <a:cubicBezTo>
                    <a:pt x="10" y="46"/>
                    <a:pt x="12" y="50"/>
                    <a:pt x="14" y="54"/>
                  </a:cubicBezTo>
                  <a:cubicBezTo>
                    <a:pt x="16" y="58"/>
                    <a:pt x="17" y="60"/>
                    <a:pt x="18" y="65"/>
                  </a:cubicBezTo>
                  <a:cubicBezTo>
                    <a:pt x="18" y="63"/>
                    <a:pt x="17" y="61"/>
                    <a:pt x="20" y="61"/>
                  </a:cubicBezTo>
                  <a:cubicBezTo>
                    <a:pt x="20" y="61"/>
                    <a:pt x="20" y="61"/>
                    <a:pt x="20" y="61"/>
                  </a:cubicBezTo>
                  <a:cubicBezTo>
                    <a:pt x="19" y="62"/>
                    <a:pt x="17" y="64"/>
                    <a:pt x="19" y="65"/>
                  </a:cubicBezTo>
                  <a:cubicBezTo>
                    <a:pt x="19" y="66"/>
                    <a:pt x="19" y="66"/>
                    <a:pt x="20" y="66"/>
                  </a:cubicBezTo>
                  <a:cubicBezTo>
                    <a:pt x="20" y="66"/>
                    <a:pt x="20" y="65"/>
                    <a:pt x="21" y="65"/>
                  </a:cubicBezTo>
                  <a:cubicBezTo>
                    <a:pt x="21" y="66"/>
                    <a:pt x="21" y="67"/>
                    <a:pt x="21" y="68"/>
                  </a:cubicBezTo>
                  <a:cubicBezTo>
                    <a:pt x="22" y="68"/>
                    <a:pt x="22" y="68"/>
                    <a:pt x="22" y="68"/>
                  </a:cubicBezTo>
                  <a:cubicBezTo>
                    <a:pt x="23" y="68"/>
                    <a:pt x="33" y="68"/>
                    <a:pt x="47" y="67"/>
                  </a:cubicBezTo>
                  <a:cubicBezTo>
                    <a:pt x="47" y="67"/>
                    <a:pt x="47" y="67"/>
                    <a:pt x="47" y="67"/>
                  </a:cubicBezTo>
                  <a:cubicBezTo>
                    <a:pt x="48" y="65"/>
                    <a:pt x="49" y="64"/>
                    <a:pt x="51" y="63"/>
                  </a:cubicBezTo>
                  <a:cubicBezTo>
                    <a:pt x="52" y="63"/>
                    <a:pt x="54" y="63"/>
                    <a:pt x="55" y="63"/>
                  </a:cubicBezTo>
                  <a:cubicBezTo>
                    <a:pt x="56" y="63"/>
                    <a:pt x="58" y="63"/>
                    <a:pt x="59" y="63"/>
                  </a:cubicBezTo>
                  <a:cubicBezTo>
                    <a:pt x="60" y="63"/>
                    <a:pt x="60" y="63"/>
                    <a:pt x="60" y="63"/>
                  </a:cubicBezTo>
                  <a:cubicBezTo>
                    <a:pt x="61" y="63"/>
                    <a:pt x="61" y="63"/>
                    <a:pt x="62" y="63"/>
                  </a:cubicBezTo>
                  <a:cubicBezTo>
                    <a:pt x="65" y="63"/>
                    <a:pt x="68" y="65"/>
                    <a:pt x="70" y="67"/>
                  </a:cubicBezTo>
                  <a:cubicBezTo>
                    <a:pt x="70" y="67"/>
                    <a:pt x="70" y="67"/>
                    <a:pt x="70" y="67"/>
                  </a:cubicBezTo>
                  <a:cubicBezTo>
                    <a:pt x="71" y="68"/>
                    <a:pt x="71" y="68"/>
                    <a:pt x="72" y="69"/>
                  </a:cubicBezTo>
                  <a:cubicBezTo>
                    <a:pt x="72" y="69"/>
                    <a:pt x="73" y="69"/>
                    <a:pt x="73" y="69"/>
                  </a:cubicBezTo>
                  <a:cubicBezTo>
                    <a:pt x="75" y="70"/>
                    <a:pt x="75" y="70"/>
                    <a:pt x="75" y="70"/>
                  </a:cubicBezTo>
                  <a:cubicBezTo>
                    <a:pt x="75" y="70"/>
                    <a:pt x="76" y="70"/>
                    <a:pt x="76" y="70"/>
                  </a:cubicBezTo>
                  <a:cubicBezTo>
                    <a:pt x="77" y="70"/>
                    <a:pt x="77" y="70"/>
                    <a:pt x="77" y="70"/>
                  </a:cubicBezTo>
                  <a:cubicBezTo>
                    <a:pt x="79" y="70"/>
                    <a:pt x="79" y="70"/>
                    <a:pt x="79" y="70"/>
                  </a:cubicBezTo>
                  <a:cubicBezTo>
                    <a:pt x="79" y="70"/>
                    <a:pt x="79" y="70"/>
                    <a:pt x="80" y="70"/>
                  </a:cubicBezTo>
                  <a:cubicBezTo>
                    <a:pt x="80" y="70"/>
                    <a:pt x="81" y="70"/>
                    <a:pt x="82" y="70"/>
                  </a:cubicBezTo>
                  <a:cubicBezTo>
                    <a:pt x="83" y="70"/>
                    <a:pt x="83" y="70"/>
                    <a:pt x="84" y="70"/>
                  </a:cubicBezTo>
                  <a:cubicBezTo>
                    <a:pt x="85" y="65"/>
                    <a:pt x="85" y="65"/>
                    <a:pt x="85" y="65"/>
                  </a:cubicBezTo>
                  <a:cubicBezTo>
                    <a:pt x="85" y="70"/>
                    <a:pt x="85" y="70"/>
                    <a:pt x="85" y="70"/>
                  </a:cubicBezTo>
                  <a:cubicBezTo>
                    <a:pt x="85" y="70"/>
                    <a:pt x="85" y="70"/>
                    <a:pt x="85" y="70"/>
                  </a:cubicBezTo>
                  <a:cubicBezTo>
                    <a:pt x="88" y="64"/>
                    <a:pt x="88" y="64"/>
                    <a:pt x="88" y="64"/>
                  </a:cubicBezTo>
                  <a:cubicBezTo>
                    <a:pt x="87" y="70"/>
                    <a:pt x="87" y="70"/>
                    <a:pt x="87" y="70"/>
                  </a:cubicBezTo>
                  <a:cubicBezTo>
                    <a:pt x="88" y="71"/>
                    <a:pt x="88" y="71"/>
                    <a:pt x="88" y="71"/>
                  </a:cubicBezTo>
                  <a:cubicBezTo>
                    <a:pt x="89" y="72"/>
                    <a:pt x="89" y="73"/>
                    <a:pt x="90" y="74"/>
                  </a:cubicBezTo>
                  <a:cubicBezTo>
                    <a:pt x="90" y="74"/>
                    <a:pt x="90" y="74"/>
                    <a:pt x="90" y="74"/>
                  </a:cubicBezTo>
                  <a:cubicBezTo>
                    <a:pt x="90" y="75"/>
                    <a:pt x="90" y="76"/>
                    <a:pt x="89" y="77"/>
                  </a:cubicBezTo>
                  <a:cubicBezTo>
                    <a:pt x="89" y="78"/>
                    <a:pt x="89" y="78"/>
                    <a:pt x="88" y="79"/>
                  </a:cubicBezTo>
                  <a:cubicBezTo>
                    <a:pt x="88" y="79"/>
                    <a:pt x="88" y="79"/>
                    <a:pt x="88" y="79"/>
                  </a:cubicBezTo>
                  <a:cubicBezTo>
                    <a:pt x="88" y="79"/>
                    <a:pt x="88" y="79"/>
                    <a:pt x="88" y="79"/>
                  </a:cubicBezTo>
                  <a:cubicBezTo>
                    <a:pt x="87" y="80"/>
                    <a:pt x="87" y="80"/>
                    <a:pt x="86" y="80"/>
                  </a:cubicBezTo>
                  <a:cubicBezTo>
                    <a:pt x="86" y="80"/>
                    <a:pt x="85" y="80"/>
                    <a:pt x="85" y="80"/>
                  </a:cubicBezTo>
                  <a:cubicBezTo>
                    <a:pt x="83" y="81"/>
                    <a:pt x="83" y="81"/>
                    <a:pt x="83" y="81"/>
                  </a:cubicBezTo>
                  <a:cubicBezTo>
                    <a:pt x="81" y="82"/>
                    <a:pt x="79" y="82"/>
                    <a:pt x="76" y="82"/>
                  </a:cubicBezTo>
                  <a:cubicBezTo>
                    <a:pt x="75" y="82"/>
                    <a:pt x="74" y="82"/>
                    <a:pt x="73" y="82"/>
                  </a:cubicBezTo>
                  <a:cubicBezTo>
                    <a:pt x="70" y="81"/>
                    <a:pt x="67" y="80"/>
                    <a:pt x="65" y="78"/>
                  </a:cubicBezTo>
                  <a:cubicBezTo>
                    <a:pt x="62" y="77"/>
                    <a:pt x="60" y="76"/>
                    <a:pt x="58" y="75"/>
                  </a:cubicBezTo>
                  <a:cubicBezTo>
                    <a:pt x="57" y="75"/>
                    <a:pt x="57" y="75"/>
                    <a:pt x="57" y="75"/>
                  </a:cubicBezTo>
                  <a:cubicBezTo>
                    <a:pt x="56" y="76"/>
                    <a:pt x="56" y="77"/>
                    <a:pt x="55" y="77"/>
                  </a:cubicBezTo>
                  <a:cubicBezTo>
                    <a:pt x="53" y="79"/>
                    <a:pt x="50" y="80"/>
                    <a:pt x="46" y="81"/>
                  </a:cubicBezTo>
                  <a:cubicBezTo>
                    <a:pt x="46" y="81"/>
                    <a:pt x="45" y="81"/>
                    <a:pt x="45" y="81"/>
                  </a:cubicBezTo>
                  <a:cubicBezTo>
                    <a:pt x="44" y="81"/>
                    <a:pt x="44" y="81"/>
                    <a:pt x="44" y="81"/>
                  </a:cubicBezTo>
                  <a:cubicBezTo>
                    <a:pt x="43" y="81"/>
                    <a:pt x="43" y="81"/>
                    <a:pt x="43" y="81"/>
                  </a:cubicBezTo>
                  <a:cubicBezTo>
                    <a:pt x="43" y="81"/>
                    <a:pt x="42" y="81"/>
                    <a:pt x="42" y="82"/>
                  </a:cubicBezTo>
                  <a:cubicBezTo>
                    <a:pt x="42" y="82"/>
                    <a:pt x="42" y="82"/>
                    <a:pt x="42" y="82"/>
                  </a:cubicBezTo>
                  <a:cubicBezTo>
                    <a:pt x="41" y="83"/>
                    <a:pt x="40" y="84"/>
                    <a:pt x="38" y="84"/>
                  </a:cubicBezTo>
                  <a:cubicBezTo>
                    <a:pt x="22" y="86"/>
                    <a:pt x="22" y="86"/>
                    <a:pt x="22" y="86"/>
                  </a:cubicBezTo>
                  <a:cubicBezTo>
                    <a:pt x="21" y="86"/>
                    <a:pt x="19" y="86"/>
                    <a:pt x="18" y="86"/>
                  </a:cubicBezTo>
                  <a:cubicBezTo>
                    <a:pt x="18" y="86"/>
                    <a:pt x="18" y="86"/>
                    <a:pt x="18" y="86"/>
                  </a:cubicBezTo>
                  <a:cubicBezTo>
                    <a:pt x="18" y="89"/>
                    <a:pt x="18" y="92"/>
                    <a:pt x="18" y="95"/>
                  </a:cubicBezTo>
                  <a:cubicBezTo>
                    <a:pt x="20" y="95"/>
                    <a:pt x="20" y="93"/>
                    <a:pt x="22" y="93"/>
                  </a:cubicBezTo>
                  <a:cubicBezTo>
                    <a:pt x="22" y="93"/>
                    <a:pt x="23" y="93"/>
                    <a:pt x="23" y="94"/>
                  </a:cubicBezTo>
                  <a:cubicBezTo>
                    <a:pt x="23" y="94"/>
                    <a:pt x="23" y="94"/>
                    <a:pt x="23" y="94"/>
                  </a:cubicBezTo>
                  <a:cubicBezTo>
                    <a:pt x="21" y="94"/>
                    <a:pt x="17" y="96"/>
                    <a:pt x="17" y="98"/>
                  </a:cubicBezTo>
                  <a:cubicBezTo>
                    <a:pt x="17" y="98"/>
                    <a:pt x="17" y="98"/>
                    <a:pt x="17" y="98"/>
                  </a:cubicBezTo>
                  <a:cubicBezTo>
                    <a:pt x="18" y="98"/>
                    <a:pt x="18" y="98"/>
                    <a:pt x="18" y="98"/>
                  </a:cubicBezTo>
                  <a:cubicBezTo>
                    <a:pt x="34" y="96"/>
                    <a:pt x="49" y="93"/>
                    <a:pt x="62" y="90"/>
                  </a:cubicBezTo>
                  <a:cubicBezTo>
                    <a:pt x="63" y="90"/>
                    <a:pt x="63" y="90"/>
                    <a:pt x="63" y="90"/>
                  </a:cubicBezTo>
                  <a:cubicBezTo>
                    <a:pt x="65" y="89"/>
                    <a:pt x="66" y="89"/>
                    <a:pt x="68" y="89"/>
                  </a:cubicBezTo>
                  <a:cubicBezTo>
                    <a:pt x="70" y="89"/>
                    <a:pt x="72" y="89"/>
                    <a:pt x="74" y="89"/>
                  </a:cubicBezTo>
                  <a:cubicBezTo>
                    <a:pt x="76" y="90"/>
                    <a:pt x="78" y="90"/>
                    <a:pt x="79" y="90"/>
                  </a:cubicBezTo>
                  <a:cubicBezTo>
                    <a:pt x="80" y="90"/>
                    <a:pt x="80" y="90"/>
                    <a:pt x="80" y="90"/>
                  </a:cubicBezTo>
                  <a:cubicBezTo>
                    <a:pt x="81" y="90"/>
                    <a:pt x="83" y="90"/>
                    <a:pt x="85" y="90"/>
                  </a:cubicBezTo>
                  <a:cubicBezTo>
                    <a:pt x="86" y="89"/>
                    <a:pt x="86" y="89"/>
                    <a:pt x="86" y="89"/>
                  </a:cubicBezTo>
                  <a:cubicBezTo>
                    <a:pt x="86" y="89"/>
                    <a:pt x="86" y="89"/>
                    <a:pt x="86" y="89"/>
                  </a:cubicBezTo>
                  <a:cubicBezTo>
                    <a:pt x="90" y="89"/>
                    <a:pt x="90" y="89"/>
                    <a:pt x="90" y="89"/>
                  </a:cubicBezTo>
                  <a:cubicBezTo>
                    <a:pt x="95" y="89"/>
                    <a:pt x="98" y="90"/>
                    <a:pt x="100" y="91"/>
                  </a:cubicBezTo>
                  <a:cubicBezTo>
                    <a:pt x="101" y="91"/>
                    <a:pt x="101" y="91"/>
                    <a:pt x="102" y="91"/>
                  </a:cubicBezTo>
                  <a:cubicBezTo>
                    <a:pt x="102" y="92"/>
                    <a:pt x="102" y="92"/>
                    <a:pt x="102" y="92"/>
                  </a:cubicBezTo>
                  <a:cubicBezTo>
                    <a:pt x="103" y="92"/>
                    <a:pt x="103" y="92"/>
                    <a:pt x="103" y="92"/>
                  </a:cubicBezTo>
                  <a:cubicBezTo>
                    <a:pt x="104" y="92"/>
                    <a:pt x="106" y="93"/>
                    <a:pt x="107" y="94"/>
                  </a:cubicBezTo>
                  <a:cubicBezTo>
                    <a:pt x="110" y="95"/>
                    <a:pt x="113" y="96"/>
                    <a:pt x="116" y="97"/>
                  </a:cubicBezTo>
                  <a:cubicBezTo>
                    <a:pt x="117" y="97"/>
                    <a:pt x="117" y="97"/>
                    <a:pt x="118" y="97"/>
                  </a:cubicBezTo>
                  <a:cubicBezTo>
                    <a:pt x="121" y="97"/>
                    <a:pt x="124" y="97"/>
                    <a:pt x="127" y="97"/>
                  </a:cubicBezTo>
                  <a:cubicBezTo>
                    <a:pt x="132" y="97"/>
                    <a:pt x="132" y="97"/>
                    <a:pt x="132" y="97"/>
                  </a:cubicBezTo>
                  <a:cubicBezTo>
                    <a:pt x="134" y="96"/>
                    <a:pt x="137" y="96"/>
                    <a:pt x="139" y="96"/>
                  </a:cubicBezTo>
                  <a:cubicBezTo>
                    <a:pt x="142" y="96"/>
                    <a:pt x="142" y="96"/>
                    <a:pt x="142" y="96"/>
                  </a:cubicBezTo>
                  <a:cubicBezTo>
                    <a:pt x="142" y="94"/>
                    <a:pt x="142" y="91"/>
                    <a:pt x="141" y="87"/>
                  </a:cubicBezTo>
                  <a:cubicBezTo>
                    <a:pt x="141" y="84"/>
                    <a:pt x="140" y="81"/>
                    <a:pt x="138" y="79"/>
                  </a:cubicBezTo>
                  <a:cubicBezTo>
                    <a:pt x="138" y="82"/>
                    <a:pt x="138" y="82"/>
                    <a:pt x="138" y="82"/>
                  </a:cubicBezTo>
                  <a:cubicBezTo>
                    <a:pt x="134" y="79"/>
                    <a:pt x="134" y="79"/>
                    <a:pt x="134" y="79"/>
                  </a:cubicBezTo>
                  <a:cubicBezTo>
                    <a:pt x="131" y="76"/>
                    <a:pt x="128" y="73"/>
                    <a:pt x="126" y="70"/>
                  </a:cubicBezTo>
                  <a:cubicBezTo>
                    <a:pt x="123" y="66"/>
                    <a:pt x="123" y="66"/>
                    <a:pt x="123" y="66"/>
                  </a:cubicBezTo>
                  <a:cubicBezTo>
                    <a:pt x="127" y="65"/>
                    <a:pt x="127" y="65"/>
                    <a:pt x="127" y="65"/>
                  </a:cubicBezTo>
                  <a:cubicBezTo>
                    <a:pt x="121" y="44"/>
                    <a:pt x="121" y="44"/>
                    <a:pt x="121" y="44"/>
                  </a:cubicBezTo>
                  <a:cubicBezTo>
                    <a:pt x="121" y="44"/>
                    <a:pt x="121" y="44"/>
                    <a:pt x="121" y="44"/>
                  </a:cubicBezTo>
                  <a:cubicBezTo>
                    <a:pt x="115" y="40"/>
                    <a:pt x="115" y="40"/>
                    <a:pt x="115" y="40"/>
                  </a:cubicBezTo>
                  <a:cubicBezTo>
                    <a:pt x="116" y="40"/>
                    <a:pt x="116" y="40"/>
                    <a:pt x="116" y="40"/>
                  </a:cubicBezTo>
                  <a:cubicBezTo>
                    <a:pt x="116" y="40"/>
                    <a:pt x="116" y="40"/>
                    <a:pt x="116" y="40"/>
                  </a:cubicBezTo>
                  <a:cubicBezTo>
                    <a:pt x="115" y="40"/>
                    <a:pt x="115" y="39"/>
                    <a:pt x="114" y="39"/>
                  </a:cubicBezTo>
                  <a:cubicBezTo>
                    <a:pt x="114" y="38"/>
                    <a:pt x="113" y="38"/>
                    <a:pt x="113" y="37"/>
                  </a:cubicBezTo>
                  <a:cubicBezTo>
                    <a:pt x="112" y="37"/>
                    <a:pt x="112" y="37"/>
                    <a:pt x="112" y="37"/>
                  </a:cubicBezTo>
                  <a:cubicBezTo>
                    <a:pt x="112" y="37"/>
                    <a:pt x="112" y="36"/>
                    <a:pt x="111" y="36"/>
                  </a:cubicBezTo>
                  <a:cubicBezTo>
                    <a:pt x="110" y="35"/>
                    <a:pt x="109" y="34"/>
                    <a:pt x="108" y="32"/>
                  </a:cubicBezTo>
                  <a:cubicBezTo>
                    <a:pt x="108" y="32"/>
                    <a:pt x="108" y="32"/>
                    <a:pt x="108" y="32"/>
                  </a:cubicBezTo>
                  <a:cubicBezTo>
                    <a:pt x="106" y="30"/>
                    <a:pt x="105" y="28"/>
                    <a:pt x="102" y="26"/>
                  </a:cubicBezTo>
                  <a:cubicBezTo>
                    <a:pt x="101" y="25"/>
                    <a:pt x="99" y="25"/>
                    <a:pt x="98" y="23"/>
                  </a:cubicBezTo>
                  <a:cubicBezTo>
                    <a:pt x="97" y="22"/>
                    <a:pt x="96" y="19"/>
                    <a:pt x="96" y="17"/>
                  </a:cubicBezTo>
                  <a:cubicBezTo>
                    <a:pt x="96" y="16"/>
                    <a:pt x="96" y="16"/>
                    <a:pt x="96" y="16"/>
                  </a:cubicBezTo>
                  <a:cubicBezTo>
                    <a:pt x="96" y="16"/>
                    <a:pt x="95" y="15"/>
                    <a:pt x="95" y="15"/>
                  </a:cubicBezTo>
                  <a:cubicBezTo>
                    <a:pt x="95" y="14"/>
                    <a:pt x="94" y="13"/>
                    <a:pt x="93" y="12"/>
                  </a:cubicBezTo>
                  <a:cubicBezTo>
                    <a:pt x="92" y="18"/>
                    <a:pt x="92" y="18"/>
                    <a:pt x="92" y="18"/>
                  </a:cubicBezTo>
                  <a:cubicBezTo>
                    <a:pt x="92" y="12"/>
                    <a:pt x="92" y="12"/>
                    <a:pt x="92" y="12"/>
                  </a:cubicBezTo>
                  <a:cubicBezTo>
                    <a:pt x="90" y="12"/>
                    <a:pt x="90" y="12"/>
                    <a:pt x="90" y="12"/>
                  </a:cubicBezTo>
                  <a:cubicBezTo>
                    <a:pt x="90" y="12"/>
                    <a:pt x="90" y="12"/>
                    <a:pt x="90" y="12"/>
                  </a:cubicBezTo>
                  <a:cubicBezTo>
                    <a:pt x="89" y="12"/>
                    <a:pt x="88" y="12"/>
                    <a:pt x="87" y="12"/>
                  </a:cubicBezTo>
                  <a:cubicBezTo>
                    <a:pt x="87" y="12"/>
                    <a:pt x="87" y="12"/>
                    <a:pt x="87" y="12"/>
                  </a:cubicBezTo>
                  <a:cubicBezTo>
                    <a:pt x="86" y="12"/>
                    <a:pt x="86" y="12"/>
                    <a:pt x="85" y="12"/>
                  </a:cubicBezTo>
                  <a:cubicBezTo>
                    <a:pt x="85" y="11"/>
                    <a:pt x="85" y="11"/>
                    <a:pt x="85" y="11"/>
                  </a:cubicBezTo>
                  <a:cubicBezTo>
                    <a:pt x="82" y="10"/>
                    <a:pt x="82" y="8"/>
                    <a:pt x="81" y="7"/>
                  </a:cubicBezTo>
                  <a:cubicBezTo>
                    <a:pt x="81" y="6"/>
                    <a:pt x="81" y="6"/>
                    <a:pt x="81" y="6"/>
                  </a:cubicBezTo>
                  <a:cubicBezTo>
                    <a:pt x="80" y="6"/>
                    <a:pt x="79" y="5"/>
                    <a:pt x="78" y="4"/>
                  </a:cubicBezTo>
                  <a:cubicBezTo>
                    <a:pt x="77" y="4"/>
                    <a:pt x="77" y="4"/>
                    <a:pt x="77" y="4"/>
                  </a:cubicBezTo>
                  <a:cubicBezTo>
                    <a:pt x="75" y="1"/>
                    <a:pt x="74" y="0"/>
                    <a:pt x="71" y="0"/>
                  </a:cubicBezTo>
                  <a:cubicBezTo>
                    <a:pt x="69" y="0"/>
                    <a:pt x="69" y="0"/>
                    <a:pt x="69" y="0"/>
                  </a:cubicBezTo>
                  <a:cubicBezTo>
                    <a:pt x="68" y="0"/>
                    <a:pt x="67" y="0"/>
                    <a:pt x="66" y="0"/>
                  </a:cubicBezTo>
                  <a:cubicBezTo>
                    <a:pt x="64" y="0"/>
                    <a:pt x="62" y="0"/>
                    <a:pt x="60" y="0"/>
                  </a:cubicBezTo>
                  <a:cubicBezTo>
                    <a:pt x="60"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 name="Freeform 247">
              <a:extLst>
                <a:ext uri="{FF2B5EF4-FFF2-40B4-BE49-F238E27FC236}">
                  <a16:creationId xmlns:a16="http://schemas.microsoft.com/office/drawing/2014/main" id="{436FE62A-0DF1-4B65-92F6-4BACD69D368D}"/>
                </a:ext>
              </a:extLst>
            </p:cNvPr>
            <p:cNvSpPr>
              <a:spLocks/>
            </p:cNvSpPr>
            <p:nvPr/>
          </p:nvSpPr>
          <p:spPr bwMode="auto">
            <a:xfrm>
              <a:off x="2744" y="1989"/>
              <a:ext cx="135" cy="19"/>
            </a:xfrm>
            <a:custGeom>
              <a:avLst/>
              <a:gdLst>
                <a:gd name="T0" fmla="*/ 31 w 57"/>
                <a:gd name="T1" fmla="*/ 0 h 8"/>
                <a:gd name="T2" fmla="*/ 29 w 57"/>
                <a:gd name="T3" fmla="*/ 0 h 8"/>
                <a:gd name="T4" fmla="*/ 27 w 57"/>
                <a:gd name="T5" fmla="*/ 1 h 8"/>
                <a:gd name="T6" fmla="*/ 27 w 57"/>
                <a:gd name="T7" fmla="*/ 2 h 8"/>
                <a:gd name="T8" fmla="*/ 26 w 57"/>
                <a:gd name="T9" fmla="*/ 3 h 8"/>
                <a:gd name="T10" fmla="*/ 24 w 57"/>
                <a:gd name="T11" fmla="*/ 4 h 8"/>
                <a:gd name="T12" fmla="*/ 24 w 57"/>
                <a:gd name="T13" fmla="*/ 3 h 8"/>
                <a:gd name="T14" fmla="*/ 0 w 57"/>
                <a:gd name="T15" fmla="*/ 5 h 8"/>
                <a:gd name="T16" fmla="*/ 4 w 57"/>
                <a:gd name="T17" fmla="*/ 8 h 8"/>
                <a:gd name="T18" fmla="*/ 5 w 57"/>
                <a:gd name="T19" fmla="*/ 8 h 8"/>
                <a:gd name="T20" fmla="*/ 7 w 57"/>
                <a:gd name="T21" fmla="*/ 6 h 8"/>
                <a:gd name="T22" fmla="*/ 27 w 57"/>
                <a:gd name="T23" fmla="*/ 4 h 8"/>
                <a:gd name="T24" fmla="*/ 28 w 57"/>
                <a:gd name="T25" fmla="*/ 3 h 8"/>
                <a:gd name="T26" fmla="*/ 32 w 57"/>
                <a:gd name="T27" fmla="*/ 0 h 8"/>
                <a:gd name="T28" fmla="*/ 35 w 57"/>
                <a:gd name="T29" fmla="*/ 1 h 8"/>
                <a:gd name="T30" fmla="*/ 43 w 57"/>
                <a:gd name="T31" fmla="*/ 4 h 8"/>
                <a:gd name="T32" fmla="*/ 43 w 57"/>
                <a:gd name="T33" fmla="*/ 4 h 8"/>
                <a:gd name="T34" fmla="*/ 51 w 57"/>
                <a:gd name="T35" fmla="*/ 7 h 8"/>
                <a:gd name="T36" fmla="*/ 52 w 57"/>
                <a:gd name="T37" fmla="*/ 7 h 8"/>
                <a:gd name="T38" fmla="*/ 57 w 57"/>
                <a:gd name="T39" fmla="*/ 6 h 8"/>
                <a:gd name="T40" fmla="*/ 57 w 57"/>
                <a:gd name="T41" fmla="*/ 6 h 8"/>
                <a:gd name="T42" fmla="*/ 56 w 57"/>
                <a:gd name="T43" fmla="*/ 6 h 8"/>
                <a:gd name="T44" fmla="*/ 55 w 57"/>
                <a:gd name="T45" fmla="*/ 6 h 8"/>
                <a:gd name="T46" fmla="*/ 54 w 57"/>
                <a:gd name="T47" fmla="*/ 6 h 8"/>
                <a:gd name="T48" fmla="*/ 53 w 57"/>
                <a:gd name="T49" fmla="*/ 6 h 8"/>
                <a:gd name="T50" fmla="*/ 53 w 57"/>
                <a:gd name="T51" fmla="*/ 6 h 8"/>
                <a:gd name="T52" fmla="*/ 50 w 57"/>
                <a:gd name="T53" fmla="*/ 6 h 8"/>
                <a:gd name="T54" fmla="*/ 49 w 57"/>
                <a:gd name="T55" fmla="*/ 6 h 8"/>
                <a:gd name="T56" fmla="*/ 49 w 57"/>
                <a:gd name="T57" fmla="*/ 6 h 8"/>
                <a:gd name="T58" fmla="*/ 48 w 57"/>
                <a:gd name="T59" fmla="*/ 6 h 8"/>
                <a:gd name="T60" fmla="*/ 45 w 57"/>
                <a:gd name="T61" fmla="*/ 5 h 8"/>
                <a:gd name="T62" fmla="*/ 43 w 57"/>
                <a:gd name="T63" fmla="*/ 3 h 8"/>
                <a:gd name="T64" fmla="*/ 38 w 57"/>
                <a:gd name="T65" fmla="*/ 0 h 8"/>
                <a:gd name="T66" fmla="*/ 35 w 57"/>
                <a:gd name="T67" fmla="*/ 0 h 8"/>
                <a:gd name="T68" fmla="*/ 31 w 57"/>
                <a:gd name="T6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 h="8">
                  <a:moveTo>
                    <a:pt x="31" y="0"/>
                  </a:moveTo>
                  <a:cubicBezTo>
                    <a:pt x="30" y="0"/>
                    <a:pt x="29" y="0"/>
                    <a:pt x="29" y="0"/>
                  </a:cubicBezTo>
                  <a:cubicBezTo>
                    <a:pt x="29" y="0"/>
                    <a:pt x="28" y="1"/>
                    <a:pt x="27" y="1"/>
                  </a:cubicBezTo>
                  <a:cubicBezTo>
                    <a:pt x="27" y="2"/>
                    <a:pt x="27" y="2"/>
                    <a:pt x="27" y="2"/>
                  </a:cubicBezTo>
                  <a:cubicBezTo>
                    <a:pt x="26" y="3"/>
                    <a:pt x="26" y="3"/>
                    <a:pt x="26" y="3"/>
                  </a:cubicBezTo>
                  <a:cubicBezTo>
                    <a:pt x="24" y="4"/>
                    <a:pt x="24" y="4"/>
                    <a:pt x="24" y="4"/>
                  </a:cubicBezTo>
                  <a:cubicBezTo>
                    <a:pt x="24" y="3"/>
                    <a:pt x="24" y="3"/>
                    <a:pt x="24" y="3"/>
                  </a:cubicBezTo>
                  <a:cubicBezTo>
                    <a:pt x="13" y="4"/>
                    <a:pt x="4" y="5"/>
                    <a:pt x="0" y="5"/>
                  </a:cubicBezTo>
                  <a:cubicBezTo>
                    <a:pt x="1" y="6"/>
                    <a:pt x="2" y="8"/>
                    <a:pt x="4" y="8"/>
                  </a:cubicBezTo>
                  <a:cubicBezTo>
                    <a:pt x="4" y="8"/>
                    <a:pt x="4" y="8"/>
                    <a:pt x="5" y="8"/>
                  </a:cubicBezTo>
                  <a:cubicBezTo>
                    <a:pt x="6" y="7"/>
                    <a:pt x="6" y="6"/>
                    <a:pt x="7" y="6"/>
                  </a:cubicBezTo>
                  <a:cubicBezTo>
                    <a:pt x="13" y="4"/>
                    <a:pt x="21" y="4"/>
                    <a:pt x="27" y="4"/>
                  </a:cubicBezTo>
                  <a:cubicBezTo>
                    <a:pt x="27" y="4"/>
                    <a:pt x="28" y="3"/>
                    <a:pt x="28" y="3"/>
                  </a:cubicBezTo>
                  <a:cubicBezTo>
                    <a:pt x="29" y="1"/>
                    <a:pt x="31" y="0"/>
                    <a:pt x="32" y="0"/>
                  </a:cubicBezTo>
                  <a:cubicBezTo>
                    <a:pt x="33" y="0"/>
                    <a:pt x="34" y="1"/>
                    <a:pt x="35" y="1"/>
                  </a:cubicBezTo>
                  <a:cubicBezTo>
                    <a:pt x="38" y="2"/>
                    <a:pt x="40" y="3"/>
                    <a:pt x="43" y="4"/>
                  </a:cubicBezTo>
                  <a:cubicBezTo>
                    <a:pt x="43" y="4"/>
                    <a:pt x="43" y="4"/>
                    <a:pt x="43" y="4"/>
                  </a:cubicBezTo>
                  <a:cubicBezTo>
                    <a:pt x="46" y="5"/>
                    <a:pt x="48" y="7"/>
                    <a:pt x="51" y="7"/>
                  </a:cubicBezTo>
                  <a:cubicBezTo>
                    <a:pt x="51" y="7"/>
                    <a:pt x="52" y="7"/>
                    <a:pt x="52" y="7"/>
                  </a:cubicBezTo>
                  <a:cubicBezTo>
                    <a:pt x="54" y="7"/>
                    <a:pt x="55" y="7"/>
                    <a:pt x="57" y="6"/>
                  </a:cubicBezTo>
                  <a:cubicBezTo>
                    <a:pt x="57" y="6"/>
                    <a:pt x="57" y="6"/>
                    <a:pt x="57" y="6"/>
                  </a:cubicBezTo>
                  <a:cubicBezTo>
                    <a:pt x="57" y="6"/>
                    <a:pt x="56" y="6"/>
                    <a:pt x="56" y="6"/>
                  </a:cubicBezTo>
                  <a:cubicBezTo>
                    <a:pt x="56" y="6"/>
                    <a:pt x="55" y="6"/>
                    <a:pt x="55" y="6"/>
                  </a:cubicBezTo>
                  <a:cubicBezTo>
                    <a:pt x="55" y="6"/>
                    <a:pt x="55" y="6"/>
                    <a:pt x="54" y="6"/>
                  </a:cubicBezTo>
                  <a:cubicBezTo>
                    <a:pt x="53" y="6"/>
                    <a:pt x="53" y="6"/>
                    <a:pt x="53" y="6"/>
                  </a:cubicBezTo>
                  <a:cubicBezTo>
                    <a:pt x="53" y="6"/>
                    <a:pt x="53" y="6"/>
                    <a:pt x="53" y="6"/>
                  </a:cubicBezTo>
                  <a:cubicBezTo>
                    <a:pt x="52" y="6"/>
                    <a:pt x="51" y="6"/>
                    <a:pt x="50" y="6"/>
                  </a:cubicBezTo>
                  <a:cubicBezTo>
                    <a:pt x="49" y="6"/>
                    <a:pt x="49" y="6"/>
                    <a:pt x="49" y="6"/>
                  </a:cubicBezTo>
                  <a:cubicBezTo>
                    <a:pt x="49" y="6"/>
                    <a:pt x="49" y="6"/>
                    <a:pt x="49" y="6"/>
                  </a:cubicBezTo>
                  <a:cubicBezTo>
                    <a:pt x="48" y="6"/>
                    <a:pt x="48" y="6"/>
                    <a:pt x="48" y="6"/>
                  </a:cubicBezTo>
                  <a:cubicBezTo>
                    <a:pt x="47" y="6"/>
                    <a:pt x="46" y="5"/>
                    <a:pt x="45" y="5"/>
                  </a:cubicBezTo>
                  <a:cubicBezTo>
                    <a:pt x="44" y="4"/>
                    <a:pt x="43" y="4"/>
                    <a:pt x="43" y="3"/>
                  </a:cubicBezTo>
                  <a:cubicBezTo>
                    <a:pt x="41" y="2"/>
                    <a:pt x="39" y="0"/>
                    <a:pt x="38" y="0"/>
                  </a:cubicBezTo>
                  <a:cubicBezTo>
                    <a:pt x="37" y="0"/>
                    <a:pt x="36" y="0"/>
                    <a:pt x="35" y="0"/>
                  </a:cubicBezTo>
                  <a:cubicBezTo>
                    <a:pt x="34" y="0"/>
                    <a:pt x="32"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 name="Freeform 248">
              <a:extLst>
                <a:ext uri="{FF2B5EF4-FFF2-40B4-BE49-F238E27FC236}">
                  <a16:creationId xmlns:a16="http://schemas.microsoft.com/office/drawing/2014/main" id="{E777FD54-7E4A-49D6-BA1A-879EC28A53A4}"/>
                </a:ext>
              </a:extLst>
            </p:cNvPr>
            <p:cNvSpPr>
              <a:spLocks/>
            </p:cNvSpPr>
            <p:nvPr/>
          </p:nvSpPr>
          <p:spPr bwMode="auto">
            <a:xfrm>
              <a:off x="2725" y="1999"/>
              <a:ext cx="83" cy="16"/>
            </a:xfrm>
            <a:custGeom>
              <a:avLst/>
              <a:gdLst>
                <a:gd name="T0" fmla="*/ 35 w 35"/>
                <a:gd name="T1" fmla="*/ 0 h 7"/>
                <a:gd name="T2" fmla="*/ 19 w 35"/>
                <a:gd name="T3" fmla="*/ 2 h 7"/>
                <a:gd name="T4" fmla="*/ 16 w 35"/>
                <a:gd name="T5" fmla="*/ 5 h 7"/>
                <a:gd name="T6" fmla="*/ 11 w 35"/>
                <a:gd name="T7" fmla="*/ 6 h 7"/>
                <a:gd name="T8" fmla="*/ 6 w 35"/>
                <a:gd name="T9" fmla="*/ 4 h 7"/>
                <a:gd name="T10" fmla="*/ 4 w 35"/>
                <a:gd name="T11" fmla="*/ 1 h 7"/>
                <a:gd name="T12" fmla="*/ 2 w 35"/>
                <a:gd name="T13" fmla="*/ 1 h 7"/>
                <a:gd name="T14" fmla="*/ 1 w 35"/>
                <a:gd name="T15" fmla="*/ 7 h 7"/>
                <a:gd name="T16" fmla="*/ 1 w 35"/>
                <a:gd name="T17" fmla="*/ 7 h 7"/>
                <a:gd name="T18" fmla="*/ 2 w 35"/>
                <a:gd name="T19" fmla="*/ 7 h 7"/>
                <a:gd name="T20" fmla="*/ 6 w 35"/>
                <a:gd name="T21" fmla="*/ 7 h 7"/>
                <a:gd name="T22" fmla="*/ 21 w 35"/>
                <a:gd name="T23" fmla="*/ 5 h 7"/>
                <a:gd name="T24" fmla="*/ 21 w 35"/>
                <a:gd name="T25" fmla="*/ 5 h 7"/>
                <a:gd name="T26" fmla="*/ 22 w 35"/>
                <a:gd name="T27" fmla="*/ 4 h 7"/>
                <a:gd name="T28" fmla="*/ 24 w 35"/>
                <a:gd name="T29" fmla="*/ 3 h 7"/>
                <a:gd name="T30" fmla="*/ 26 w 35"/>
                <a:gd name="T31" fmla="*/ 2 h 7"/>
                <a:gd name="T32" fmla="*/ 27 w 35"/>
                <a:gd name="T33" fmla="*/ 2 h 7"/>
                <a:gd name="T34" fmla="*/ 27 w 35"/>
                <a:gd name="T35" fmla="*/ 2 h 7"/>
                <a:gd name="T36" fmla="*/ 30 w 35"/>
                <a:gd name="T37" fmla="*/ 2 h 7"/>
                <a:gd name="T38" fmla="*/ 35 w 35"/>
                <a:gd name="T39" fmla="*/ 1 h 7"/>
                <a:gd name="T40" fmla="*/ 35 w 35"/>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7">
                  <a:moveTo>
                    <a:pt x="35" y="0"/>
                  </a:moveTo>
                  <a:cubicBezTo>
                    <a:pt x="30" y="1"/>
                    <a:pt x="25" y="1"/>
                    <a:pt x="19" y="2"/>
                  </a:cubicBezTo>
                  <a:cubicBezTo>
                    <a:pt x="17" y="2"/>
                    <a:pt x="13" y="2"/>
                    <a:pt x="16" y="5"/>
                  </a:cubicBezTo>
                  <a:cubicBezTo>
                    <a:pt x="14" y="6"/>
                    <a:pt x="12" y="6"/>
                    <a:pt x="11" y="6"/>
                  </a:cubicBezTo>
                  <a:cubicBezTo>
                    <a:pt x="9" y="6"/>
                    <a:pt x="8" y="6"/>
                    <a:pt x="6" y="4"/>
                  </a:cubicBezTo>
                  <a:cubicBezTo>
                    <a:pt x="5" y="3"/>
                    <a:pt x="5" y="1"/>
                    <a:pt x="4" y="1"/>
                  </a:cubicBezTo>
                  <a:cubicBezTo>
                    <a:pt x="3" y="1"/>
                    <a:pt x="3" y="1"/>
                    <a:pt x="2" y="1"/>
                  </a:cubicBezTo>
                  <a:cubicBezTo>
                    <a:pt x="0" y="3"/>
                    <a:pt x="1" y="4"/>
                    <a:pt x="1" y="7"/>
                  </a:cubicBezTo>
                  <a:cubicBezTo>
                    <a:pt x="1" y="7"/>
                    <a:pt x="1" y="7"/>
                    <a:pt x="1" y="7"/>
                  </a:cubicBezTo>
                  <a:cubicBezTo>
                    <a:pt x="2" y="7"/>
                    <a:pt x="2" y="7"/>
                    <a:pt x="2" y="7"/>
                  </a:cubicBezTo>
                  <a:cubicBezTo>
                    <a:pt x="3" y="7"/>
                    <a:pt x="5" y="7"/>
                    <a:pt x="6" y="7"/>
                  </a:cubicBezTo>
                  <a:cubicBezTo>
                    <a:pt x="21" y="5"/>
                    <a:pt x="21" y="5"/>
                    <a:pt x="21" y="5"/>
                  </a:cubicBezTo>
                  <a:cubicBezTo>
                    <a:pt x="21" y="5"/>
                    <a:pt x="21" y="5"/>
                    <a:pt x="21" y="5"/>
                  </a:cubicBezTo>
                  <a:cubicBezTo>
                    <a:pt x="22" y="4"/>
                    <a:pt x="22" y="4"/>
                    <a:pt x="22" y="4"/>
                  </a:cubicBezTo>
                  <a:cubicBezTo>
                    <a:pt x="22" y="4"/>
                    <a:pt x="23" y="3"/>
                    <a:pt x="24" y="3"/>
                  </a:cubicBezTo>
                  <a:cubicBezTo>
                    <a:pt x="25" y="3"/>
                    <a:pt x="26" y="3"/>
                    <a:pt x="26" y="2"/>
                  </a:cubicBezTo>
                  <a:cubicBezTo>
                    <a:pt x="27" y="2"/>
                    <a:pt x="27" y="2"/>
                    <a:pt x="27" y="2"/>
                  </a:cubicBezTo>
                  <a:cubicBezTo>
                    <a:pt x="27" y="2"/>
                    <a:pt x="27" y="2"/>
                    <a:pt x="27" y="2"/>
                  </a:cubicBezTo>
                  <a:cubicBezTo>
                    <a:pt x="28" y="2"/>
                    <a:pt x="29" y="2"/>
                    <a:pt x="30" y="2"/>
                  </a:cubicBezTo>
                  <a:cubicBezTo>
                    <a:pt x="34" y="1"/>
                    <a:pt x="35" y="1"/>
                    <a:pt x="35" y="1"/>
                  </a:cubicBez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Freeform 249">
              <a:extLst>
                <a:ext uri="{FF2B5EF4-FFF2-40B4-BE49-F238E27FC236}">
                  <a16:creationId xmlns:a16="http://schemas.microsoft.com/office/drawing/2014/main" id="{A00BF197-CC58-4C1F-9BAD-C7CB5E8D4152}"/>
                </a:ext>
              </a:extLst>
            </p:cNvPr>
            <p:cNvSpPr>
              <a:spLocks/>
            </p:cNvSpPr>
            <p:nvPr/>
          </p:nvSpPr>
          <p:spPr bwMode="auto">
            <a:xfrm>
              <a:off x="3146" y="153"/>
              <a:ext cx="699" cy="508"/>
            </a:xfrm>
            <a:custGeom>
              <a:avLst/>
              <a:gdLst>
                <a:gd name="T0" fmla="*/ 25 w 296"/>
                <a:gd name="T1" fmla="*/ 8 h 215"/>
                <a:gd name="T2" fmla="*/ 15 w 296"/>
                <a:gd name="T3" fmla="*/ 13 h 215"/>
                <a:gd name="T4" fmla="*/ 4 w 296"/>
                <a:gd name="T5" fmla="*/ 17 h 215"/>
                <a:gd name="T6" fmla="*/ 0 w 296"/>
                <a:gd name="T7" fmla="*/ 23 h 215"/>
                <a:gd name="T8" fmla="*/ 10 w 296"/>
                <a:gd name="T9" fmla="*/ 37 h 215"/>
                <a:gd name="T10" fmla="*/ 14 w 296"/>
                <a:gd name="T11" fmla="*/ 38 h 215"/>
                <a:gd name="T12" fmla="*/ 10 w 296"/>
                <a:gd name="T13" fmla="*/ 47 h 215"/>
                <a:gd name="T14" fmla="*/ 25 w 296"/>
                <a:gd name="T15" fmla="*/ 43 h 215"/>
                <a:gd name="T16" fmla="*/ 33 w 296"/>
                <a:gd name="T17" fmla="*/ 50 h 215"/>
                <a:gd name="T18" fmla="*/ 44 w 296"/>
                <a:gd name="T19" fmla="*/ 51 h 215"/>
                <a:gd name="T20" fmla="*/ 55 w 296"/>
                <a:gd name="T21" fmla="*/ 49 h 215"/>
                <a:gd name="T22" fmla="*/ 59 w 296"/>
                <a:gd name="T23" fmla="*/ 49 h 215"/>
                <a:gd name="T24" fmla="*/ 68 w 296"/>
                <a:gd name="T25" fmla="*/ 54 h 215"/>
                <a:gd name="T26" fmla="*/ 71 w 296"/>
                <a:gd name="T27" fmla="*/ 58 h 215"/>
                <a:gd name="T28" fmla="*/ 64 w 296"/>
                <a:gd name="T29" fmla="*/ 75 h 215"/>
                <a:gd name="T30" fmla="*/ 59 w 296"/>
                <a:gd name="T31" fmla="*/ 81 h 215"/>
                <a:gd name="T32" fmla="*/ 60 w 296"/>
                <a:gd name="T33" fmla="*/ 99 h 215"/>
                <a:gd name="T34" fmla="*/ 48 w 296"/>
                <a:gd name="T35" fmla="*/ 121 h 215"/>
                <a:gd name="T36" fmla="*/ 52 w 296"/>
                <a:gd name="T37" fmla="*/ 127 h 215"/>
                <a:gd name="T38" fmla="*/ 53 w 296"/>
                <a:gd name="T39" fmla="*/ 140 h 215"/>
                <a:gd name="T40" fmla="*/ 49 w 296"/>
                <a:gd name="T41" fmla="*/ 148 h 215"/>
                <a:gd name="T42" fmla="*/ 58 w 296"/>
                <a:gd name="T43" fmla="*/ 152 h 215"/>
                <a:gd name="T44" fmla="*/ 50 w 296"/>
                <a:gd name="T45" fmla="*/ 164 h 215"/>
                <a:gd name="T46" fmla="*/ 52 w 296"/>
                <a:gd name="T47" fmla="*/ 182 h 215"/>
                <a:gd name="T48" fmla="*/ 62 w 296"/>
                <a:gd name="T49" fmla="*/ 189 h 215"/>
                <a:gd name="T50" fmla="*/ 71 w 296"/>
                <a:gd name="T51" fmla="*/ 191 h 215"/>
                <a:gd name="T52" fmla="*/ 86 w 296"/>
                <a:gd name="T53" fmla="*/ 215 h 215"/>
                <a:gd name="T54" fmla="*/ 97 w 296"/>
                <a:gd name="T55" fmla="*/ 206 h 215"/>
                <a:gd name="T56" fmla="*/ 127 w 296"/>
                <a:gd name="T57" fmla="*/ 196 h 215"/>
                <a:gd name="T58" fmla="*/ 154 w 296"/>
                <a:gd name="T59" fmla="*/ 197 h 215"/>
                <a:gd name="T60" fmla="*/ 173 w 296"/>
                <a:gd name="T61" fmla="*/ 189 h 215"/>
                <a:gd name="T62" fmla="*/ 196 w 296"/>
                <a:gd name="T63" fmla="*/ 173 h 215"/>
                <a:gd name="T64" fmla="*/ 202 w 296"/>
                <a:gd name="T65" fmla="*/ 162 h 215"/>
                <a:gd name="T66" fmla="*/ 236 w 296"/>
                <a:gd name="T67" fmla="*/ 84 h 215"/>
                <a:gd name="T68" fmla="*/ 263 w 296"/>
                <a:gd name="T69" fmla="*/ 68 h 215"/>
                <a:gd name="T70" fmla="*/ 292 w 296"/>
                <a:gd name="T71" fmla="*/ 46 h 215"/>
                <a:gd name="T72" fmla="*/ 292 w 296"/>
                <a:gd name="T73" fmla="*/ 41 h 215"/>
                <a:gd name="T74" fmla="*/ 275 w 296"/>
                <a:gd name="T75" fmla="*/ 43 h 215"/>
                <a:gd name="T76" fmla="*/ 257 w 296"/>
                <a:gd name="T77" fmla="*/ 36 h 215"/>
                <a:gd name="T78" fmla="*/ 237 w 296"/>
                <a:gd name="T79" fmla="*/ 30 h 215"/>
                <a:gd name="T80" fmla="*/ 223 w 296"/>
                <a:gd name="T81" fmla="*/ 34 h 215"/>
                <a:gd name="T82" fmla="*/ 212 w 296"/>
                <a:gd name="T83" fmla="*/ 31 h 215"/>
                <a:gd name="T84" fmla="*/ 202 w 296"/>
                <a:gd name="T85" fmla="*/ 28 h 215"/>
                <a:gd name="T86" fmla="*/ 190 w 296"/>
                <a:gd name="T87" fmla="*/ 24 h 215"/>
                <a:gd name="T88" fmla="*/ 183 w 296"/>
                <a:gd name="T89" fmla="*/ 16 h 215"/>
                <a:gd name="T90" fmla="*/ 174 w 296"/>
                <a:gd name="T91" fmla="*/ 13 h 215"/>
                <a:gd name="T92" fmla="*/ 161 w 296"/>
                <a:gd name="T93" fmla="*/ 13 h 215"/>
                <a:gd name="T94" fmla="*/ 136 w 296"/>
                <a:gd name="T95" fmla="*/ 8 h 215"/>
                <a:gd name="T96" fmla="*/ 100 w 296"/>
                <a:gd name="T97" fmla="*/ 8 h 215"/>
                <a:gd name="T98" fmla="*/ 62 w 296"/>
                <a:gd name="T99" fmla="*/ 6 h 215"/>
                <a:gd name="T100" fmla="*/ 34 w 296"/>
                <a:gd name="T101" fmla="*/ 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6" h="215">
                  <a:moveTo>
                    <a:pt x="33" y="0"/>
                  </a:moveTo>
                  <a:cubicBezTo>
                    <a:pt x="30" y="1"/>
                    <a:pt x="28" y="2"/>
                    <a:pt x="26" y="4"/>
                  </a:cubicBezTo>
                  <a:cubicBezTo>
                    <a:pt x="25" y="5"/>
                    <a:pt x="24" y="6"/>
                    <a:pt x="23" y="6"/>
                  </a:cubicBezTo>
                  <a:cubicBezTo>
                    <a:pt x="23" y="6"/>
                    <a:pt x="23" y="6"/>
                    <a:pt x="23" y="6"/>
                  </a:cubicBezTo>
                  <a:cubicBezTo>
                    <a:pt x="23" y="7"/>
                    <a:pt x="24" y="8"/>
                    <a:pt x="25" y="8"/>
                  </a:cubicBezTo>
                  <a:cubicBezTo>
                    <a:pt x="25" y="8"/>
                    <a:pt x="26" y="8"/>
                    <a:pt x="26" y="7"/>
                  </a:cubicBezTo>
                  <a:cubicBezTo>
                    <a:pt x="26" y="8"/>
                    <a:pt x="26" y="9"/>
                    <a:pt x="26" y="10"/>
                  </a:cubicBezTo>
                  <a:cubicBezTo>
                    <a:pt x="24" y="11"/>
                    <a:pt x="22" y="10"/>
                    <a:pt x="21" y="12"/>
                  </a:cubicBezTo>
                  <a:cubicBezTo>
                    <a:pt x="21" y="11"/>
                    <a:pt x="21" y="11"/>
                    <a:pt x="21" y="11"/>
                  </a:cubicBezTo>
                  <a:cubicBezTo>
                    <a:pt x="19" y="11"/>
                    <a:pt x="17" y="13"/>
                    <a:pt x="15" y="13"/>
                  </a:cubicBezTo>
                  <a:cubicBezTo>
                    <a:pt x="15" y="13"/>
                    <a:pt x="15" y="13"/>
                    <a:pt x="14" y="13"/>
                  </a:cubicBezTo>
                  <a:cubicBezTo>
                    <a:pt x="13" y="13"/>
                    <a:pt x="12" y="13"/>
                    <a:pt x="11" y="12"/>
                  </a:cubicBezTo>
                  <a:cubicBezTo>
                    <a:pt x="11" y="12"/>
                    <a:pt x="11" y="12"/>
                    <a:pt x="10" y="12"/>
                  </a:cubicBezTo>
                  <a:cubicBezTo>
                    <a:pt x="8" y="12"/>
                    <a:pt x="7" y="15"/>
                    <a:pt x="5" y="17"/>
                  </a:cubicBezTo>
                  <a:cubicBezTo>
                    <a:pt x="5" y="17"/>
                    <a:pt x="4" y="17"/>
                    <a:pt x="4" y="17"/>
                  </a:cubicBezTo>
                  <a:cubicBezTo>
                    <a:pt x="4" y="17"/>
                    <a:pt x="4" y="17"/>
                    <a:pt x="4" y="17"/>
                  </a:cubicBezTo>
                  <a:cubicBezTo>
                    <a:pt x="4" y="17"/>
                    <a:pt x="3" y="16"/>
                    <a:pt x="3" y="16"/>
                  </a:cubicBezTo>
                  <a:cubicBezTo>
                    <a:pt x="3" y="16"/>
                    <a:pt x="3" y="17"/>
                    <a:pt x="2" y="17"/>
                  </a:cubicBezTo>
                  <a:cubicBezTo>
                    <a:pt x="1" y="18"/>
                    <a:pt x="1" y="20"/>
                    <a:pt x="0" y="20"/>
                  </a:cubicBezTo>
                  <a:cubicBezTo>
                    <a:pt x="0" y="22"/>
                    <a:pt x="0" y="23"/>
                    <a:pt x="0" y="23"/>
                  </a:cubicBezTo>
                  <a:cubicBezTo>
                    <a:pt x="0" y="25"/>
                    <a:pt x="2" y="26"/>
                    <a:pt x="3" y="28"/>
                  </a:cubicBezTo>
                  <a:cubicBezTo>
                    <a:pt x="6" y="31"/>
                    <a:pt x="6" y="31"/>
                    <a:pt x="5" y="34"/>
                  </a:cubicBezTo>
                  <a:cubicBezTo>
                    <a:pt x="5" y="34"/>
                    <a:pt x="5" y="34"/>
                    <a:pt x="5" y="34"/>
                  </a:cubicBezTo>
                  <a:cubicBezTo>
                    <a:pt x="8" y="34"/>
                    <a:pt x="11" y="32"/>
                    <a:pt x="13" y="30"/>
                  </a:cubicBezTo>
                  <a:cubicBezTo>
                    <a:pt x="12" y="32"/>
                    <a:pt x="11" y="36"/>
                    <a:pt x="10" y="37"/>
                  </a:cubicBezTo>
                  <a:cubicBezTo>
                    <a:pt x="10" y="37"/>
                    <a:pt x="9" y="36"/>
                    <a:pt x="9" y="36"/>
                  </a:cubicBezTo>
                  <a:cubicBezTo>
                    <a:pt x="9" y="36"/>
                    <a:pt x="9" y="36"/>
                    <a:pt x="8" y="37"/>
                  </a:cubicBezTo>
                  <a:cubicBezTo>
                    <a:pt x="9" y="38"/>
                    <a:pt x="10" y="39"/>
                    <a:pt x="11" y="39"/>
                  </a:cubicBezTo>
                  <a:cubicBezTo>
                    <a:pt x="11" y="39"/>
                    <a:pt x="12" y="38"/>
                    <a:pt x="12" y="38"/>
                  </a:cubicBezTo>
                  <a:cubicBezTo>
                    <a:pt x="13" y="38"/>
                    <a:pt x="13" y="38"/>
                    <a:pt x="14" y="38"/>
                  </a:cubicBezTo>
                  <a:cubicBezTo>
                    <a:pt x="14" y="38"/>
                    <a:pt x="14" y="38"/>
                    <a:pt x="14" y="38"/>
                  </a:cubicBezTo>
                  <a:cubicBezTo>
                    <a:pt x="13" y="40"/>
                    <a:pt x="11" y="41"/>
                    <a:pt x="10" y="42"/>
                  </a:cubicBezTo>
                  <a:cubicBezTo>
                    <a:pt x="10" y="43"/>
                    <a:pt x="10" y="43"/>
                    <a:pt x="11" y="43"/>
                  </a:cubicBezTo>
                  <a:cubicBezTo>
                    <a:pt x="12" y="43"/>
                    <a:pt x="14" y="42"/>
                    <a:pt x="14" y="42"/>
                  </a:cubicBezTo>
                  <a:cubicBezTo>
                    <a:pt x="13" y="44"/>
                    <a:pt x="11" y="45"/>
                    <a:pt x="10" y="47"/>
                  </a:cubicBezTo>
                  <a:cubicBezTo>
                    <a:pt x="9" y="48"/>
                    <a:pt x="9" y="49"/>
                    <a:pt x="9" y="51"/>
                  </a:cubicBezTo>
                  <a:cubicBezTo>
                    <a:pt x="12" y="49"/>
                    <a:pt x="16" y="46"/>
                    <a:pt x="18" y="46"/>
                  </a:cubicBezTo>
                  <a:cubicBezTo>
                    <a:pt x="20" y="45"/>
                    <a:pt x="21" y="45"/>
                    <a:pt x="22" y="45"/>
                  </a:cubicBezTo>
                  <a:cubicBezTo>
                    <a:pt x="22" y="45"/>
                    <a:pt x="22" y="45"/>
                    <a:pt x="22" y="45"/>
                  </a:cubicBezTo>
                  <a:cubicBezTo>
                    <a:pt x="23" y="44"/>
                    <a:pt x="24" y="44"/>
                    <a:pt x="25" y="43"/>
                  </a:cubicBezTo>
                  <a:cubicBezTo>
                    <a:pt x="27" y="43"/>
                    <a:pt x="27" y="43"/>
                    <a:pt x="27" y="43"/>
                  </a:cubicBezTo>
                  <a:cubicBezTo>
                    <a:pt x="28" y="45"/>
                    <a:pt x="28" y="45"/>
                    <a:pt x="28" y="45"/>
                  </a:cubicBezTo>
                  <a:cubicBezTo>
                    <a:pt x="29" y="46"/>
                    <a:pt x="31" y="47"/>
                    <a:pt x="30" y="50"/>
                  </a:cubicBezTo>
                  <a:cubicBezTo>
                    <a:pt x="30" y="50"/>
                    <a:pt x="30" y="50"/>
                    <a:pt x="30" y="50"/>
                  </a:cubicBezTo>
                  <a:cubicBezTo>
                    <a:pt x="31" y="50"/>
                    <a:pt x="32" y="50"/>
                    <a:pt x="33" y="50"/>
                  </a:cubicBezTo>
                  <a:cubicBezTo>
                    <a:pt x="34" y="50"/>
                    <a:pt x="36" y="50"/>
                    <a:pt x="37" y="51"/>
                  </a:cubicBezTo>
                  <a:cubicBezTo>
                    <a:pt x="38" y="51"/>
                    <a:pt x="38" y="51"/>
                    <a:pt x="38" y="51"/>
                  </a:cubicBezTo>
                  <a:cubicBezTo>
                    <a:pt x="39" y="52"/>
                    <a:pt x="39" y="52"/>
                    <a:pt x="40" y="52"/>
                  </a:cubicBezTo>
                  <a:cubicBezTo>
                    <a:pt x="40" y="52"/>
                    <a:pt x="40" y="52"/>
                    <a:pt x="40" y="52"/>
                  </a:cubicBezTo>
                  <a:cubicBezTo>
                    <a:pt x="41" y="52"/>
                    <a:pt x="42" y="52"/>
                    <a:pt x="44" y="51"/>
                  </a:cubicBezTo>
                  <a:cubicBezTo>
                    <a:pt x="45" y="51"/>
                    <a:pt x="46" y="51"/>
                    <a:pt x="47" y="51"/>
                  </a:cubicBezTo>
                  <a:cubicBezTo>
                    <a:pt x="47" y="51"/>
                    <a:pt x="47" y="51"/>
                    <a:pt x="47" y="51"/>
                  </a:cubicBezTo>
                  <a:cubicBezTo>
                    <a:pt x="49" y="50"/>
                    <a:pt x="49" y="50"/>
                    <a:pt x="51" y="49"/>
                  </a:cubicBezTo>
                  <a:cubicBezTo>
                    <a:pt x="52" y="49"/>
                    <a:pt x="53" y="49"/>
                    <a:pt x="53" y="49"/>
                  </a:cubicBezTo>
                  <a:cubicBezTo>
                    <a:pt x="54" y="49"/>
                    <a:pt x="55" y="49"/>
                    <a:pt x="55" y="49"/>
                  </a:cubicBezTo>
                  <a:cubicBezTo>
                    <a:pt x="55" y="49"/>
                    <a:pt x="55" y="49"/>
                    <a:pt x="55" y="49"/>
                  </a:cubicBezTo>
                  <a:cubicBezTo>
                    <a:pt x="56" y="49"/>
                    <a:pt x="56" y="49"/>
                    <a:pt x="56" y="49"/>
                  </a:cubicBezTo>
                  <a:cubicBezTo>
                    <a:pt x="56" y="49"/>
                    <a:pt x="56" y="49"/>
                    <a:pt x="57" y="49"/>
                  </a:cubicBezTo>
                  <a:cubicBezTo>
                    <a:pt x="57" y="49"/>
                    <a:pt x="58" y="49"/>
                    <a:pt x="59" y="49"/>
                  </a:cubicBezTo>
                  <a:cubicBezTo>
                    <a:pt x="59" y="49"/>
                    <a:pt x="59" y="49"/>
                    <a:pt x="59" y="49"/>
                  </a:cubicBezTo>
                  <a:cubicBezTo>
                    <a:pt x="60" y="48"/>
                    <a:pt x="61" y="48"/>
                    <a:pt x="61" y="48"/>
                  </a:cubicBezTo>
                  <a:cubicBezTo>
                    <a:pt x="62" y="48"/>
                    <a:pt x="62" y="48"/>
                    <a:pt x="62" y="48"/>
                  </a:cubicBezTo>
                  <a:cubicBezTo>
                    <a:pt x="62" y="48"/>
                    <a:pt x="62" y="48"/>
                    <a:pt x="62" y="48"/>
                  </a:cubicBezTo>
                  <a:cubicBezTo>
                    <a:pt x="64" y="48"/>
                    <a:pt x="65" y="49"/>
                    <a:pt x="66" y="49"/>
                  </a:cubicBezTo>
                  <a:cubicBezTo>
                    <a:pt x="67" y="50"/>
                    <a:pt x="67" y="52"/>
                    <a:pt x="68" y="54"/>
                  </a:cubicBezTo>
                  <a:cubicBezTo>
                    <a:pt x="68" y="55"/>
                    <a:pt x="68" y="55"/>
                    <a:pt x="68" y="55"/>
                  </a:cubicBezTo>
                  <a:cubicBezTo>
                    <a:pt x="67" y="56"/>
                    <a:pt x="67" y="56"/>
                    <a:pt x="67" y="56"/>
                  </a:cubicBezTo>
                  <a:cubicBezTo>
                    <a:pt x="68" y="57"/>
                    <a:pt x="68" y="57"/>
                    <a:pt x="68" y="57"/>
                  </a:cubicBezTo>
                  <a:cubicBezTo>
                    <a:pt x="69" y="57"/>
                    <a:pt x="69" y="57"/>
                    <a:pt x="69" y="57"/>
                  </a:cubicBezTo>
                  <a:cubicBezTo>
                    <a:pt x="71" y="58"/>
                    <a:pt x="71" y="58"/>
                    <a:pt x="71" y="58"/>
                  </a:cubicBezTo>
                  <a:cubicBezTo>
                    <a:pt x="73" y="59"/>
                    <a:pt x="74" y="59"/>
                    <a:pt x="75" y="61"/>
                  </a:cubicBezTo>
                  <a:cubicBezTo>
                    <a:pt x="75" y="63"/>
                    <a:pt x="74" y="64"/>
                    <a:pt x="74" y="66"/>
                  </a:cubicBezTo>
                  <a:cubicBezTo>
                    <a:pt x="72" y="68"/>
                    <a:pt x="71" y="70"/>
                    <a:pt x="69" y="71"/>
                  </a:cubicBezTo>
                  <a:cubicBezTo>
                    <a:pt x="68" y="72"/>
                    <a:pt x="68" y="72"/>
                    <a:pt x="68" y="72"/>
                  </a:cubicBezTo>
                  <a:cubicBezTo>
                    <a:pt x="67" y="73"/>
                    <a:pt x="65" y="74"/>
                    <a:pt x="64" y="75"/>
                  </a:cubicBezTo>
                  <a:cubicBezTo>
                    <a:pt x="63" y="75"/>
                    <a:pt x="61" y="76"/>
                    <a:pt x="60" y="77"/>
                  </a:cubicBezTo>
                  <a:cubicBezTo>
                    <a:pt x="60" y="77"/>
                    <a:pt x="60" y="77"/>
                    <a:pt x="60" y="77"/>
                  </a:cubicBezTo>
                  <a:cubicBezTo>
                    <a:pt x="63" y="82"/>
                    <a:pt x="63" y="82"/>
                    <a:pt x="63" y="82"/>
                  </a:cubicBezTo>
                  <a:cubicBezTo>
                    <a:pt x="59" y="78"/>
                    <a:pt x="59" y="78"/>
                    <a:pt x="59" y="78"/>
                  </a:cubicBezTo>
                  <a:cubicBezTo>
                    <a:pt x="59" y="79"/>
                    <a:pt x="59" y="79"/>
                    <a:pt x="59" y="81"/>
                  </a:cubicBezTo>
                  <a:cubicBezTo>
                    <a:pt x="60" y="81"/>
                    <a:pt x="60" y="82"/>
                    <a:pt x="60" y="83"/>
                  </a:cubicBezTo>
                  <a:cubicBezTo>
                    <a:pt x="61" y="86"/>
                    <a:pt x="61" y="89"/>
                    <a:pt x="61" y="92"/>
                  </a:cubicBezTo>
                  <a:cubicBezTo>
                    <a:pt x="60" y="94"/>
                    <a:pt x="60" y="94"/>
                    <a:pt x="60" y="94"/>
                  </a:cubicBezTo>
                  <a:cubicBezTo>
                    <a:pt x="60" y="95"/>
                    <a:pt x="60" y="96"/>
                    <a:pt x="60" y="97"/>
                  </a:cubicBezTo>
                  <a:cubicBezTo>
                    <a:pt x="60" y="99"/>
                    <a:pt x="60" y="99"/>
                    <a:pt x="60" y="99"/>
                  </a:cubicBezTo>
                  <a:cubicBezTo>
                    <a:pt x="60" y="100"/>
                    <a:pt x="59" y="101"/>
                    <a:pt x="58" y="101"/>
                  </a:cubicBezTo>
                  <a:cubicBezTo>
                    <a:pt x="58" y="104"/>
                    <a:pt x="58" y="115"/>
                    <a:pt x="54" y="118"/>
                  </a:cubicBezTo>
                  <a:cubicBezTo>
                    <a:pt x="53" y="119"/>
                    <a:pt x="51" y="119"/>
                    <a:pt x="49" y="119"/>
                  </a:cubicBezTo>
                  <a:cubicBezTo>
                    <a:pt x="48" y="119"/>
                    <a:pt x="47" y="119"/>
                    <a:pt x="46" y="119"/>
                  </a:cubicBezTo>
                  <a:cubicBezTo>
                    <a:pt x="48" y="121"/>
                    <a:pt x="48" y="121"/>
                    <a:pt x="48" y="121"/>
                  </a:cubicBezTo>
                  <a:cubicBezTo>
                    <a:pt x="48" y="122"/>
                    <a:pt x="48" y="123"/>
                    <a:pt x="49" y="123"/>
                  </a:cubicBezTo>
                  <a:cubicBezTo>
                    <a:pt x="50" y="124"/>
                    <a:pt x="50" y="125"/>
                    <a:pt x="50" y="126"/>
                  </a:cubicBezTo>
                  <a:cubicBezTo>
                    <a:pt x="51" y="127"/>
                    <a:pt x="51" y="127"/>
                    <a:pt x="51" y="127"/>
                  </a:cubicBezTo>
                  <a:cubicBezTo>
                    <a:pt x="51" y="127"/>
                    <a:pt x="51" y="127"/>
                    <a:pt x="51" y="127"/>
                  </a:cubicBezTo>
                  <a:cubicBezTo>
                    <a:pt x="51" y="127"/>
                    <a:pt x="51" y="127"/>
                    <a:pt x="52" y="127"/>
                  </a:cubicBezTo>
                  <a:cubicBezTo>
                    <a:pt x="54" y="128"/>
                    <a:pt x="56" y="129"/>
                    <a:pt x="57" y="132"/>
                  </a:cubicBezTo>
                  <a:cubicBezTo>
                    <a:pt x="57" y="133"/>
                    <a:pt x="57" y="133"/>
                    <a:pt x="57" y="134"/>
                  </a:cubicBezTo>
                  <a:cubicBezTo>
                    <a:pt x="57" y="135"/>
                    <a:pt x="56" y="136"/>
                    <a:pt x="56" y="137"/>
                  </a:cubicBezTo>
                  <a:cubicBezTo>
                    <a:pt x="55" y="138"/>
                    <a:pt x="54" y="139"/>
                    <a:pt x="54" y="140"/>
                  </a:cubicBezTo>
                  <a:cubicBezTo>
                    <a:pt x="53" y="140"/>
                    <a:pt x="53" y="140"/>
                    <a:pt x="53" y="140"/>
                  </a:cubicBezTo>
                  <a:cubicBezTo>
                    <a:pt x="53" y="140"/>
                    <a:pt x="53" y="140"/>
                    <a:pt x="53" y="140"/>
                  </a:cubicBezTo>
                  <a:cubicBezTo>
                    <a:pt x="52" y="141"/>
                    <a:pt x="52" y="141"/>
                    <a:pt x="52" y="141"/>
                  </a:cubicBezTo>
                  <a:cubicBezTo>
                    <a:pt x="52" y="141"/>
                    <a:pt x="52" y="141"/>
                    <a:pt x="52" y="141"/>
                  </a:cubicBezTo>
                  <a:cubicBezTo>
                    <a:pt x="51" y="143"/>
                    <a:pt x="50" y="144"/>
                    <a:pt x="50" y="146"/>
                  </a:cubicBezTo>
                  <a:cubicBezTo>
                    <a:pt x="50" y="147"/>
                    <a:pt x="49" y="147"/>
                    <a:pt x="49" y="148"/>
                  </a:cubicBezTo>
                  <a:cubicBezTo>
                    <a:pt x="49" y="148"/>
                    <a:pt x="50" y="149"/>
                    <a:pt x="51" y="151"/>
                  </a:cubicBezTo>
                  <a:cubicBezTo>
                    <a:pt x="52" y="151"/>
                    <a:pt x="52" y="152"/>
                    <a:pt x="52" y="152"/>
                  </a:cubicBezTo>
                  <a:cubicBezTo>
                    <a:pt x="53" y="153"/>
                    <a:pt x="53" y="153"/>
                    <a:pt x="53" y="153"/>
                  </a:cubicBezTo>
                  <a:cubicBezTo>
                    <a:pt x="54" y="153"/>
                    <a:pt x="54" y="153"/>
                    <a:pt x="54" y="153"/>
                  </a:cubicBezTo>
                  <a:cubicBezTo>
                    <a:pt x="58" y="152"/>
                    <a:pt x="58" y="152"/>
                    <a:pt x="58" y="152"/>
                  </a:cubicBezTo>
                  <a:cubicBezTo>
                    <a:pt x="58" y="156"/>
                    <a:pt x="58" y="156"/>
                    <a:pt x="58" y="156"/>
                  </a:cubicBezTo>
                  <a:cubicBezTo>
                    <a:pt x="58" y="157"/>
                    <a:pt x="57" y="158"/>
                    <a:pt x="57" y="159"/>
                  </a:cubicBezTo>
                  <a:cubicBezTo>
                    <a:pt x="56" y="160"/>
                    <a:pt x="56" y="160"/>
                    <a:pt x="56" y="160"/>
                  </a:cubicBezTo>
                  <a:cubicBezTo>
                    <a:pt x="55" y="161"/>
                    <a:pt x="53" y="162"/>
                    <a:pt x="51" y="163"/>
                  </a:cubicBezTo>
                  <a:cubicBezTo>
                    <a:pt x="51" y="163"/>
                    <a:pt x="50" y="164"/>
                    <a:pt x="50" y="164"/>
                  </a:cubicBezTo>
                  <a:cubicBezTo>
                    <a:pt x="49" y="164"/>
                    <a:pt x="47" y="167"/>
                    <a:pt x="46" y="169"/>
                  </a:cubicBezTo>
                  <a:cubicBezTo>
                    <a:pt x="45" y="172"/>
                    <a:pt x="44" y="174"/>
                    <a:pt x="45" y="175"/>
                  </a:cubicBezTo>
                  <a:cubicBezTo>
                    <a:pt x="45" y="176"/>
                    <a:pt x="46" y="180"/>
                    <a:pt x="46" y="180"/>
                  </a:cubicBezTo>
                  <a:cubicBezTo>
                    <a:pt x="46" y="182"/>
                    <a:pt x="46" y="182"/>
                    <a:pt x="46" y="182"/>
                  </a:cubicBezTo>
                  <a:cubicBezTo>
                    <a:pt x="48" y="182"/>
                    <a:pt x="50" y="182"/>
                    <a:pt x="52" y="182"/>
                  </a:cubicBezTo>
                  <a:cubicBezTo>
                    <a:pt x="52" y="182"/>
                    <a:pt x="53" y="182"/>
                    <a:pt x="53" y="182"/>
                  </a:cubicBezTo>
                  <a:cubicBezTo>
                    <a:pt x="54" y="182"/>
                    <a:pt x="55" y="182"/>
                    <a:pt x="54" y="181"/>
                  </a:cubicBezTo>
                  <a:cubicBezTo>
                    <a:pt x="54" y="181"/>
                    <a:pt x="54" y="181"/>
                    <a:pt x="54" y="181"/>
                  </a:cubicBezTo>
                  <a:cubicBezTo>
                    <a:pt x="55" y="181"/>
                    <a:pt x="56" y="181"/>
                    <a:pt x="56" y="181"/>
                  </a:cubicBezTo>
                  <a:cubicBezTo>
                    <a:pt x="54" y="184"/>
                    <a:pt x="60" y="187"/>
                    <a:pt x="62" y="189"/>
                  </a:cubicBezTo>
                  <a:cubicBezTo>
                    <a:pt x="64" y="190"/>
                    <a:pt x="65" y="192"/>
                    <a:pt x="67" y="193"/>
                  </a:cubicBezTo>
                  <a:cubicBezTo>
                    <a:pt x="67" y="193"/>
                    <a:pt x="67" y="193"/>
                    <a:pt x="68" y="193"/>
                  </a:cubicBezTo>
                  <a:cubicBezTo>
                    <a:pt x="68" y="193"/>
                    <a:pt x="68" y="192"/>
                    <a:pt x="69" y="192"/>
                  </a:cubicBezTo>
                  <a:cubicBezTo>
                    <a:pt x="69" y="192"/>
                    <a:pt x="70" y="191"/>
                    <a:pt x="70" y="191"/>
                  </a:cubicBezTo>
                  <a:cubicBezTo>
                    <a:pt x="71" y="191"/>
                    <a:pt x="71" y="191"/>
                    <a:pt x="71" y="191"/>
                  </a:cubicBezTo>
                  <a:cubicBezTo>
                    <a:pt x="70" y="191"/>
                    <a:pt x="68" y="194"/>
                    <a:pt x="68" y="195"/>
                  </a:cubicBezTo>
                  <a:cubicBezTo>
                    <a:pt x="68" y="195"/>
                    <a:pt x="67" y="195"/>
                    <a:pt x="67" y="196"/>
                  </a:cubicBezTo>
                  <a:cubicBezTo>
                    <a:pt x="67" y="197"/>
                    <a:pt x="69" y="200"/>
                    <a:pt x="70" y="201"/>
                  </a:cubicBezTo>
                  <a:cubicBezTo>
                    <a:pt x="74" y="207"/>
                    <a:pt x="78" y="214"/>
                    <a:pt x="86" y="215"/>
                  </a:cubicBezTo>
                  <a:cubicBezTo>
                    <a:pt x="86" y="215"/>
                    <a:pt x="86" y="215"/>
                    <a:pt x="86" y="215"/>
                  </a:cubicBezTo>
                  <a:cubicBezTo>
                    <a:pt x="88" y="215"/>
                    <a:pt x="91" y="213"/>
                    <a:pt x="93" y="211"/>
                  </a:cubicBezTo>
                  <a:cubicBezTo>
                    <a:pt x="93" y="212"/>
                    <a:pt x="93" y="212"/>
                    <a:pt x="93" y="212"/>
                  </a:cubicBezTo>
                  <a:cubicBezTo>
                    <a:pt x="93" y="211"/>
                    <a:pt x="93" y="211"/>
                    <a:pt x="93" y="211"/>
                  </a:cubicBezTo>
                  <a:cubicBezTo>
                    <a:pt x="93" y="211"/>
                    <a:pt x="93" y="211"/>
                    <a:pt x="93" y="211"/>
                  </a:cubicBezTo>
                  <a:cubicBezTo>
                    <a:pt x="95" y="209"/>
                    <a:pt x="94" y="207"/>
                    <a:pt x="97" y="206"/>
                  </a:cubicBezTo>
                  <a:cubicBezTo>
                    <a:pt x="101" y="204"/>
                    <a:pt x="104" y="202"/>
                    <a:pt x="108" y="201"/>
                  </a:cubicBezTo>
                  <a:cubicBezTo>
                    <a:pt x="110" y="200"/>
                    <a:pt x="112" y="197"/>
                    <a:pt x="114" y="196"/>
                  </a:cubicBezTo>
                  <a:cubicBezTo>
                    <a:pt x="116" y="196"/>
                    <a:pt x="118" y="195"/>
                    <a:pt x="121" y="195"/>
                  </a:cubicBezTo>
                  <a:cubicBezTo>
                    <a:pt x="122" y="195"/>
                    <a:pt x="123" y="195"/>
                    <a:pt x="124" y="195"/>
                  </a:cubicBezTo>
                  <a:cubicBezTo>
                    <a:pt x="125" y="195"/>
                    <a:pt x="126" y="196"/>
                    <a:pt x="127" y="196"/>
                  </a:cubicBezTo>
                  <a:cubicBezTo>
                    <a:pt x="128" y="196"/>
                    <a:pt x="128" y="196"/>
                    <a:pt x="128" y="196"/>
                  </a:cubicBezTo>
                  <a:cubicBezTo>
                    <a:pt x="132" y="195"/>
                    <a:pt x="136" y="195"/>
                    <a:pt x="140" y="195"/>
                  </a:cubicBezTo>
                  <a:cubicBezTo>
                    <a:pt x="142" y="195"/>
                    <a:pt x="145" y="195"/>
                    <a:pt x="147" y="195"/>
                  </a:cubicBezTo>
                  <a:cubicBezTo>
                    <a:pt x="149" y="196"/>
                    <a:pt x="151" y="197"/>
                    <a:pt x="153" y="197"/>
                  </a:cubicBezTo>
                  <a:cubicBezTo>
                    <a:pt x="153" y="197"/>
                    <a:pt x="153" y="197"/>
                    <a:pt x="154" y="197"/>
                  </a:cubicBezTo>
                  <a:cubicBezTo>
                    <a:pt x="156" y="197"/>
                    <a:pt x="159" y="195"/>
                    <a:pt x="162" y="194"/>
                  </a:cubicBezTo>
                  <a:cubicBezTo>
                    <a:pt x="163" y="194"/>
                    <a:pt x="163" y="193"/>
                    <a:pt x="164" y="193"/>
                  </a:cubicBezTo>
                  <a:cubicBezTo>
                    <a:pt x="165" y="193"/>
                    <a:pt x="164" y="194"/>
                    <a:pt x="166" y="195"/>
                  </a:cubicBezTo>
                  <a:cubicBezTo>
                    <a:pt x="166" y="195"/>
                    <a:pt x="167" y="195"/>
                    <a:pt x="167" y="195"/>
                  </a:cubicBezTo>
                  <a:cubicBezTo>
                    <a:pt x="170" y="195"/>
                    <a:pt x="171" y="191"/>
                    <a:pt x="173" y="189"/>
                  </a:cubicBezTo>
                  <a:cubicBezTo>
                    <a:pt x="175" y="185"/>
                    <a:pt x="177" y="182"/>
                    <a:pt x="180" y="178"/>
                  </a:cubicBezTo>
                  <a:cubicBezTo>
                    <a:pt x="181" y="177"/>
                    <a:pt x="187" y="176"/>
                    <a:pt x="189" y="175"/>
                  </a:cubicBezTo>
                  <a:cubicBezTo>
                    <a:pt x="191" y="174"/>
                    <a:pt x="193" y="173"/>
                    <a:pt x="195" y="173"/>
                  </a:cubicBezTo>
                  <a:cubicBezTo>
                    <a:pt x="195" y="173"/>
                    <a:pt x="195" y="173"/>
                    <a:pt x="195" y="173"/>
                  </a:cubicBezTo>
                  <a:cubicBezTo>
                    <a:pt x="195" y="173"/>
                    <a:pt x="195" y="173"/>
                    <a:pt x="196" y="173"/>
                  </a:cubicBezTo>
                  <a:cubicBezTo>
                    <a:pt x="196" y="173"/>
                    <a:pt x="196" y="173"/>
                    <a:pt x="196" y="173"/>
                  </a:cubicBezTo>
                  <a:cubicBezTo>
                    <a:pt x="196" y="173"/>
                    <a:pt x="196" y="173"/>
                    <a:pt x="196" y="173"/>
                  </a:cubicBezTo>
                  <a:cubicBezTo>
                    <a:pt x="198" y="173"/>
                    <a:pt x="199" y="173"/>
                    <a:pt x="201" y="172"/>
                  </a:cubicBezTo>
                  <a:cubicBezTo>
                    <a:pt x="200" y="172"/>
                    <a:pt x="198" y="170"/>
                    <a:pt x="198" y="169"/>
                  </a:cubicBezTo>
                  <a:cubicBezTo>
                    <a:pt x="199" y="167"/>
                    <a:pt x="201" y="164"/>
                    <a:pt x="202" y="162"/>
                  </a:cubicBezTo>
                  <a:cubicBezTo>
                    <a:pt x="202" y="160"/>
                    <a:pt x="203" y="158"/>
                    <a:pt x="204" y="157"/>
                  </a:cubicBezTo>
                  <a:cubicBezTo>
                    <a:pt x="208" y="149"/>
                    <a:pt x="217" y="145"/>
                    <a:pt x="224" y="141"/>
                  </a:cubicBezTo>
                  <a:cubicBezTo>
                    <a:pt x="217" y="137"/>
                    <a:pt x="212" y="132"/>
                    <a:pt x="211" y="124"/>
                  </a:cubicBezTo>
                  <a:cubicBezTo>
                    <a:pt x="210" y="118"/>
                    <a:pt x="216" y="110"/>
                    <a:pt x="220" y="106"/>
                  </a:cubicBezTo>
                  <a:cubicBezTo>
                    <a:pt x="225" y="99"/>
                    <a:pt x="232" y="92"/>
                    <a:pt x="236" y="84"/>
                  </a:cubicBezTo>
                  <a:cubicBezTo>
                    <a:pt x="235" y="84"/>
                    <a:pt x="235" y="84"/>
                    <a:pt x="235" y="84"/>
                  </a:cubicBezTo>
                  <a:cubicBezTo>
                    <a:pt x="236" y="83"/>
                    <a:pt x="238" y="79"/>
                    <a:pt x="240" y="78"/>
                  </a:cubicBezTo>
                  <a:cubicBezTo>
                    <a:pt x="245" y="75"/>
                    <a:pt x="252" y="74"/>
                    <a:pt x="257" y="73"/>
                  </a:cubicBezTo>
                  <a:cubicBezTo>
                    <a:pt x="259" y="72"/>
                    <a:pt x="261" y="71"/>
                    <a:pt x="264" y="70"/>
                  </a:cubicBezTo>
                  <a:cubicBezTo>
                    <a:pt x="263" y="69"/>
                    <a:pt x="263" y="68"/>
                    <a:pt x="263" y="68"/>
                  </a:cubicBezTo>
                  <a:cubicBezTo>
                    <a:pt x="263" y="64"/>
                    <a:pt x="266" y="61"/>
                    <a:pt x="270" y="61"/>
                  </a:cubicBezTo>
                  <a:cubicBezTo>
                    <a:pt x="272" y="61"/>
                    <a:pt x="274" y="62"/>
                    <a:pt x="275" y="64"/>
                  </a:cubicBezTo>
                  <a:cubicBezTo>
                    <a:pt x="276" y="64"/>
                    <a:pt x="276" y="64"/>
                    <a:pt x="277" y="63"/>
                  </a:cubicBezTo>
                  <a:cubicBezTo>
                    <a:pt x="281" y="61"/>
                    <a:pt x="290" y="58"/>
                    <a:pt x="293" y="54"/>
                  </a:cubicBezTo>
                  <a:cubicBezTo>
                    <a:pt x="294" y="51"/>
                    <a:pt x="292" y="49"/>
                    <a:pt x="292" y="46"/>
                  </a:cubicBezTo>
                  <a:cubicBezTo>
                    <a:pt x="292" y="43"/>
                    <a:pt x="294" y="43"/>
                    <a:pt x="296" y="41"/>
                  </a:cubicBezTo>
                  <a:cubicBezTo>
                    <a:pt x="296" y="41"/>
                    <a:pt x="295" y="40"/>
                    <a:pt x="295" y="40"/>
                  </a:cubicBezTo>
                  <a:cubicBezTo>
                    <a:pt x="295" y="40"/>
                    <a:pt x="295" y="40"/>
                    <a:pt x="295" y="40"/>
                  </a:cubicBezTo>
                  <a:cubicBezTo>
                    <a:pt x="292" y="41"/>
                    <a:pt x="292" y="41"/>
                    <a:pt x="292" y="41"/>
                  </a:cubicBezTo>
                  <a:cubicBezTo>
                    <a:pt x="292" y="41"/>
                    <a:pt x="292" y="41"/>
                    <a:pt x="292" y="41"/>
                  </a:cubicBezTo>
                  <a:cubicBezTo>
                    <a:pt x="283" y="43"/>
                    <a:pt x="283" y="43"/>
                    <a:pt x="283" y="43"/>
                  </a:cubicBezTo>
                  <a:cubicBezTo>
                    <a:pt x="282" y="43"/>
                    <a:pt x="282" y="43"/>
                    <a:pt x="281" y="43"/>
                  </a:cubicBezTo>
                  <a:cubicBezTo>
                    <a:pt x="280" y="43"/>
                    <a:pt x="280" y="43"/>
                    <a:pt x="280" y="43"/>
                  </a:cubicBezTo>
                  <a:cubicBezTo>
                    <a:pt x="280" y="43"/>
                    <a:pt x="279" y="44"/>
                    <a:pt x="278" y="44"/>
                  </a:cubicBezTo>
                  <a:cubicBezTo>
                    <a:pt x="277" y="44"/>
                    <a:pt x="276" y="43"/>
                    <a:pt x="275" y="43"/>
                  </a:cubicBezTo>
                  <a:cubicBezTo>
                    <a:pt x="271" y="43"/>
                    <a:pt x="267" y="42"/>
                    <a:pt x="264" y="41"/>
                  </a:cubicBezTo>
                  <a:cubicBezTo>
                    <a:pt x="263" y="41"/>
                    <a:pt x="263" y="41"/>
                    <a:pt x="263" y="41"/>
                  </a:cubicBezTo>
                  <a:cubicBezTo>
                    <a:pt x="262" y="41"/>
                    <a:pt x="262" y="41"/>
                    <a:pt x="262" y="41"/>
                  </a:cubicBezTo>
                  <a:cubicBezTo>
                    <a:pt x="259" y="40"/>
                    <a:pt x="258" y="39"/>
                    <a:pt x="257" y="37"/>
                  </a:cubicBezTo>
                  <a:cubicBezTo>
                    <a:pt x="257" y="36"/>
                    <a:pt x="257" y="36"/>
                    <a:pt x="257" y="36"/>
                  </a:cubicBezTo>
                  <a:cubicBezTo>
                    <a:pt x="252" y="36"/>
                    <a:pt x="248" y="34"/>
                    <a:pt x="243" y="32"/>
                  </a:cubicBezTo>
                  <a:cubicBezTo>
                    <a:pt x="243" y="32"/>
                    <a:pt x="242" y="32"/>
                    <a:pt x="241" y="31"/>
                  </a:cubicBezTo>
                  <a:cubicBezTo>
                    <a:pt x="239" y="30"/>
                    <a:pt x="239" y="30"/>
                    <a:pt x="239" y="30"/>
                  </a:cubicBezTo>
                  <a:cubicBezTo>
                    <a:pt x="238" y="30"/>
                    <a:pt x="238" y="30"/>
                    <a:pt x="237" y="29"/>
                  </a:cubicBezTo>
                  <a:cubicBezTo>
                    <a:pt x="237" y="30"/>
                    <a:pt x="237" y="30"/>
                    <a:pt x="237" y="30"/>
                  </a:cubicBezTo>
                  <a:cubicBezTo>
                    <a:pt x="237" y="31"/>
                    <a:pt x="237" y="31"/>
                    <a:pt x="237" y="31"/>
                  </a:cubicBezTo>
                  <a:cubicBezTo>
                    <a:pt x="237" y="34"/>
                    <a:pt x="237" y="34"/>
                    <a:pt x="237" y="34"/>
                  </a:cubicBezTo>
                  <a:cubicBezTo>
                    <a:pt x="234" y="34"/>
                    <a:pt x="234" y="34"/>
                    <a:pt x="234" y="34"/>
                  </a:cubicBezTo>
                  <a:cubicBezTo>
                    <a:pt x="232" y="34"/>
                    <a:pt x="231" y="34"/>
                    <a:pt x="229" y="34"/>
                  </a:cubicBezTo>
                  <a:cubicBezTo>
                    <a:pt x="227" y="34"/>
                    <a:pt x="225" y="34"/>
                    <a:pt x="223" y="34"/>
                  </a:cubicBezTo>
                  <a:cubicBezTo>
                    <a:pt x="219" y="34"/>
                    <a:pt x="219" y="34"/>
                    <a:pt x="219" y="34"/>
                  </a:cubicBezTo>
                  <a:cubicBezTo>
                    <a:pt x="219" y="34"/>
                    <a:pt x="219" y="34"/>
                    <a:pt x="218" y="34"/>
                  </a:cubicBezTo>
                  <a:cubicBezTo>
                    <a:pt x="218" y="34"/>
                    <a:pt x="218" y="34"/>
                    <a:pt x="218" y="34"/>
                  </a:cubicBezTo>
                  <a:cubicBezTo>
                    <a:pt x="216" y="33"/>
                    <a:pt x="216" y="33"/>
                    <a:pt x="215" y="33"/>
                  </a:cubicBezTo>
                  <a:cubicBezTo>
                    <a:pt x="214" y="32"/>
                    <a:pt x="213" y="31"/>
                    <a:pt x="212" y="31"/>
                  </a:cubicBezTo>
                  <a:cubicBezTo>
                    <a:pt x="212" y="30"/>
                    <a:pt x="211" y="30"/>
                    <a:pt x="211" y="30"/>
                  </a:cubicBezTo>
                  <a:cubicBezTo>
                    <a:pt x="210" y="30"/>
                    <a:pt x="210" y="30"/>
                    <a:pt x="210" y="30"/>
                  </a:cubicBezTo>
                  <a:cubicBezTo>
                    <a:pt x="210" y="30"/>
                    <a:pt x="210" y="30"/>
                    <a:pt x="209" y="30"/>
                  </a:cubicBezTo>
                  <a:cubicBezTo>
                    <a:pt x="208" y="30"/>
                    <a:pt x="207" y="30"/>
                    <a:pt x="206" y="30"/>
                  </a:cubicBezTo>
                  <a:cubicBezTo>
                    <a:pt x="204" y="30"/>
                    <a:pt x="203" y="29"/>
                    <a:pt x="202" y="28"/>
                  </a:cubicBezTo>
                  <a:cubicBezTo>
                    <a:pt x="201" y="28"/>
                    <a:pt x="201" y="27"/>
                    <a:pt x="200" y="27"/>
                  </a:cubicBezTo>
                  <a:cubicBezTo>
                    <a:pt x="199" y="26"/>
                    <a:pt x="199" y="26"/>
                    <a:pt x="199" y="26"/>
                  </a:cubicBezTo>
                  <a:cubicBezTo>
                    <a:pt x="199" y="26"/>
                    <a:pt x="199" y="26"/>
                    <a:pt x="198" y="26"/>
                  </a:cubicBezTo>
                  <a:cubicBezTo>
                    <a:pt x="197" y="26"/>
                    <a:pt x="195" y="25"/>
                    <a:pt x="193" y="25"/>
                  </a:cubicBezTo>
                  <a:cubicBezTo>
                    <a:pt x="192" y="25"/>
                    <a:pt x="191" y="25"/>
                    <a:pt x="190" y="24"/>
                  </a:cubicBezTo>
                  <a:cubicBezTo>
                    <a:pt x="190" y="24"/>
                    <a:pt x="189" y="24"/>
                    <a:pt x="189" y="24"/>
                  </a:cubicBezTo>
                  <a:cubicBezTo>
                    <a:pt x="188" y="24"/>
                    <a:pt x="188" y="24"/>
                    <a:pt x="188" y="24"/>
                  </a:cubicBezTo>
                  <a:cubicBezTo>
                    <a:pt x="187" y="24"/>
                    <a:pt x="185" y="24"/>
                    <a:pt x="184" y="23"/>
                  </a:cubicBezTo>
                  <a:cubicBezTo>
                    <a:pt x="181" y="21"/>
                    <a:pt x="182" y="18"/>
                    <a:pt x="183" y="16"/>
                  </a:cubicBezTo>
                  <a:cubicBezTo>
                    <a:pt x="183" y="16"/>
                    <a:pt x="183" y="16"/>
                    <a:pt x="183" y="16"/>
                  </a:cubicBezTo>
                  <a:cubicBezTo>
                    <a:pt x="182" y="17"/>
                    <a:pt x="182" y="17"/>
                    <a:pt x="182" y="17"/>
                  </a:cubicBezTo>
                  <a:cubicBezTo>
                    <a:pt x="181" y="17"/>
                    <a:pt x="181" y="17"/>
                    <a:pt x="181" y="17"/>
                  </a:cubicBezTo>
                  <a:cubicBezTo>
                    <a:pt x="180" y="17"/>
                    <a:pt x="180" y="17"/>
                    <a:pt x="180" y="17"/>
                  </a:cubicBezTo>
                  <a:cubicBezTo>
                    <a:pt x="177" y="16"/>
                    <a:pt x="176" y="15"/>
                    <a:pt x="174" y="14"/>
                  </a:cubicBezTo>
                  <a:cubicBezTo>
                    <a:pt x="174" y="13"/>
                    <a:pt x="174" y="13"/>
                    <a:pt x="174" y="13"/>
                  </a:cubicBezTo>
                  <a:cubicBezTo>
                    <a:pt x="175" y="12"/>
                    <a:pt x="175" y="12"/>
                    <a:pt x="175" y="12"/>
                  </a:cubicBezTo>
                  <a:cubicBezTo>
                    <a:pt x="174" y="12"/>
                    <a:pt x="174" y="11"/>
                    <a:pt x="173" y="11"/>
                  </a:cubicBezTo>
                  <a:cubicBezTo>
                    <a:pt x="171" y="11"/>
                    <a:pt x="169" y="12"/>
                    <a:pt x="168" y="12"/>
                  </a:cubicBezTo>
                  <a:cubicBezTo>
                    <a:pt x="166" y="12"/>
                    <a:pt x="164" y="13"/>
                    <a:pt x="163" y="13"/>
                  </a:cubicBezTo>
                  <a:cubicBezTo>
                    <a:pt x="162" y="13"/>
                    <a:pt x="162" y="13"/>
                    <a:pt x="161" y="13"/>
                  </a:cubicBezTo>
                  <a:cubicBezTo>
                    <a:pt x="157" y="12"/>
                    <a:pt x="155" y="10"/>
                    <a:pt x="152" y="10"/>
                  </a:cubicBezTo>
                  <a:cubicBezTo>
                    <a:pt x="151" y="10"/>
                    <a:pt x="150" y="10"/>
                    <a:pt x="149" y="10"/>
                  </a:cubicBezTo>
                  <a:cubicBezTo>
                    <a:pt x="147" y="11"/>
                    <a:pt x="146" y="11"/>
                    <a:pt x="145" y="11"/>
                  </a:cubicBezTo>
                  <a:cubicBezTo>
                    <a:pt x="143" y="11"/>
                    <a:pt x="142" y="11"/>
                    <a:pt x="139" y="9"/>
                  </a:cubicBezTo>
                  <a:cubicBezTo>
                    <a:pt x="138" y="9"/>
                    <a:pt x="137" y="8"/>
                    <a:pt x="136" y="8"/>
                  </a:cubicBezTo>
                  <a:cubicBezTo>
                    <a:pt x="135" y="8"/>
                    <a:pt x="134" y="8"/>
                    <a:pt x="133" y="8"/>
                  </a:cubicBezTo>
                  <a:cubicBezTo>
                    <a:pt x="129" y="8"/>
                    <a:pt x="126" y="9"/>
                    <a:pt x="122" y="9"/>
                  </a:cubicBezTo>
                  <a:cubicBezTo>
                    <a:pt x="120" y="9"/>
                    <a:pt x="116" y="11"/>
                    <a:pt x="113" y="11"/>
                  </a:cubicBezTo>
                  <a:cubicBezTo>
                    <a:pt x="113" y="11"/>
                    <a:pt x="112" y="11"/>
                    <a:pt x="112" y="10"/>
                  </a:cubicBezTo>
                  <a:cubicBezTo>
                    <a:pt x="108" y="10"/>
                    <a:pt x="104" y="9"/>
                    <a:pt x="100" y="8"/>
                  </a:cubicBezTo>
                  <a:cubicBezTo>
                    <a:pt x="96" y="7"/>
                    <a:pt x="91" y="6"/>
                    <a:pt x="87" y="6"/>
                  </a:cubicBezTo>
                  <a:cubicBezTo>
                    <a:pt x="83" y="5"/>
                    <a:pt x="83" y="4"/>
                    <a:pt x="81" y="3"/>
                  </a:cubicBezTo>
                  <a:cubicBezTo>
                    <a:pt x="81" y="3"/>
                    <a:pt x="80" y="3"/>
                    <a:pt x="80" y="3"/>
                  </a:cubicBezTo>
                  <a:cubicBezTo>
                    <a:pt x="79" y="3"/>
                    <a:pt x="77" y="4"/>
                    <a:pt x="76" y="4"/>
                  </a:cubicBezTo>
                  <a:cubicBezTo>
                    <a:pt x="71" y="5"/>
                    <a:pt x="66" y="6"/>
                    <a:pt x="62" y="6"/>
                  </a:cubicBezTo>
                  <a:cubicBezTo>
                    <a:pt x="60" y="7"/>
                    <a:pt x="56" y="8"/>
                    <a:pt x="54" y="8"/>
                  </a:cubicBezTo>
                  <a:cubicBezTo>
                    <a:pt x="53" y="8"/>
                    <a:pt x="53" y="8"/>
                    <a:pt x="53" y="8"/>
                  </a:cubicBezTo>
                  <a:cubicBezTo>
                    <a:pt x="49" y="7"/>
                    <a:pt x="46" y="4"/>
                    <a:pt x="43" y="2"/>
                  </a:cubicBezTo>
                  <a:cubicBezTo>
                    <a:pt x="42" y="1"/>
                    <a:pt x="41" y="1"/>
                    <a:pt x="39" y="1"/>
                  </a:cubicBezTo>
                  <a:cubicBezTo>
                    <a:pt x="38" y="1"/>
                    <a:pt x="36" y="2"/>
                    <a:pt x="34" y="2"/>
                  </a:cubicBezTo>
                  <a:cubicBezTo>
                    <a:pt x="34" y="3"/>
                    <a:pt x="34" y="3"/>
                    <a:pt x="33" y="3"/>
                  </a:cubicBezTo>
                  <a:cubicBezTo>
                    <a:pt x="32" y="3"/>
                    <a:pt x="33"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Freeform 250">
              <a:extLst>
                <a:ext uri="{FF2B5EF4-FFF2-40B4-BE49-F238E27FC236}">
                  <a16:creationId xmlns:a16="http://schemas.microsoft.com/office/drawing/2014/main" id="{9BD6B1FE-5208-4909-BF52-97367F5D0DE0}"/>
                </a:ext>
              </a:extLst>
            </p:cNvPr>
            <p:cNvSpPr>
              <a:spLocks/>
            </p:cNvSpPr>
            <p:nvPr/>
          </p:nvSpPr>
          <p:spPr bwMode="auto">
            <a:xfrm>
              <a:off x="3569" y="-27"/>
              <a:ext cx="512" cy="269"/>
            </a:xfrm>
            <a:custGeom>
              <a:avLst/>
              <a:gdLst>
                <a:gd name="T0" fmla="*/ 13 w 217"/>
                <a:gd name="T1" fmla="*/ 2 h 114"/>
                <a:gd name="T2" fmla="*/ 12 w 217"/>
                <a:gd name="T3" fmla="*/ 17 h 114"/>
                <a:gd name="T4" fmla="*/ 13 w 217"/>
                <a:gd name="T5" fmla="*/ 25 h 114"/>
                <a:gd name="T6" fmla="*/ 15 w 217"/>
                <a:gd name="T7" fmla="*/ 49 h 114"/>
                <a:gd name="T8" fmla="*/ 1 w 217"/>
                <a:gd name="T9" fmla="*/ 84 h 114"/>
                <a:gd name="T10" fmla="*/ 4 w 217"/>
                <a:gd name="T11" fmla="*/ 87 h 114"/>
                <a:gd name="T12" fmla="*/ 10 w 217"/>
                <a:gd name="T13" fmla="*/ 94 h 114"/>
                <a:gd name="T14" fmla="*/ 15 w 217"/>
                <a:gd name="T15" fmla="*/ 95 h 114"/>
                <a:gd name="T16" fmla="*/ 24 w 217"/>
                <a:gd name="T17" fmla="*/ 98 h 114"/>
                <a:gd name="T18" fmla="*/ 28 w 217"/>
                <a:gd name="T19" fmla="*/ 101 h 114"/>
                <a:gd name="T20" fmla="*/ 32 w 217"/>
                <a:gd name="T21" fmla="*/ 100 h 114"/>
                <a:gd name="T22" fmla="*/ 37 w 217"/>
                <a:gd name="T23" fmla="*/ 102 h 114"/>
                <a:gd name="T24" fmla="*/ 44 w 217"/>
                <a:gd name="T25" fmla="*/ 104 h 114"/>
                <a:gd name="T26" fmla="*/ 54 w 217"/>
                <a:gd name="T27" fmla="*/ 100 h 114"/>
                <a:gd name="T28" fmla="*/ 63 w 217"/>
                <a:gd name="T29" fmla="*/ 101 h 114"/>
                <a:gd name="T30" fmla="*/ 82 w 217"/>
                <a:gd name="T31" fmla="*/ 107 h 114"/>
                <a:gd name="T32" fmla="*/ 85 w 217"/>
                <a:gd name="T33" fmla="*/ 111 h 114"/>
                <a:gd name="T34" fmla="*/ 97 w 217"/>
                <a:gd name="T35" fmla="*/ 114 h 114"/>
                <a:gd name="T36" fmla="*/ 101 w 217"/>
                <a:gd name="T37" fmla="*/ 114 h 114"/>
                <a:gd name="T38" fmla="*/ 111 w 217"/>
                <a:gd name="T39" fmla="*/ 103 h 114"/>
                <a:gd name="T40" fmla="*/ 130 w 217"/>
                <a:gd name="T41" fmla="*/ 84 h 114"/>
                <a:gd name="T42" fmla="*/ 143 w 217"/>
                <a:gd name="T43" fmla="*/ 84 h 114"/>
                <a:gd name="T44" fmla="*/ 147 w 217"/>
                <a:gd name="T45" fmla="*/ 84 h 114"/>
                <a:gd name="T46" fmla="*/ 150 w 217"/>
                <a:gd name="T47" fmla="*/ 84 h 114"/>
                <a:gd name="T48" fmla="*/ 158 w 217"/>
                <a:gd name="T49" fmla="*/ 85 h 114"/>
                <a:gd name="T50" fmla="*/ 163 w 217"/>
                <a:gd name="T51" fmla="*/ 87 h 114"/>
                <a:gd name="T52" fmla="*/ 171 w 217"/>
                <a:gd name="T53" fmla="*/ 92 h 114"/>
                <a:gd name="T54" fmla="*/ 175 w 217"/>
                <a:gd name="T55" fmla="*/ 95 h 114"/>
                <a:gd name="T56" fmla="*/ 182 w 217"/>
                <a:gd name="T57" fmla="*/ 95 h 114"/>
                <a:gd name="T58" fmla="*/ 201 w 217"/>
                <a:gd name="T59" fmla="*/ 85 h 114"/>
                <a:gd name="T60" fmla="*/ 215 w 217"/>
                <a:gd name="T61" fmla="*/ 76 h 114"/>
                <a:gd name="T62" fmla="*/ 216 w 217"/>
                <a:gd name="T63" fmla="*/ 71 h 114"/>
                <a:gd name="T64" fmla="*/ 202 w 217"/>
                <a:gd name="T65" fmla="*/ 62 h 114"/>
                <a:gd name="T66" fmla="*/ 190 w 217"/>
                <a:gd name="T67" fmla="*/ 35 h 114"/>
                <a:gd name="T68" fmla="*/ 204 w 217"/>
                <a:gd name="T69" fmla="*/ 31 h 114"/>
                <a:gd name="T70" fmla="*/ 203 w 217"/>
                <a:gd name="T71" fmla="*/ 28 h 114"/>
                <a:gd name="T72" fmla="*/ 201 w 217"/>
                <a:gd name="T73" fmla="*/ 13 h 114"/>
                <a:gd name="T74" fmla="*/ 200 w 217"/>
                <a:gd name="T75" fmla="*/ 11 h 114"/>
                <a:gd name="T76" fmla="*/ 197 w 217"/>
                <a:gd name="T77" fmla="*/ 1 h 114"/>
                <a:gd name="T78" fmla="*/ 195 w 217"/>
                <a:gd name="T79" fmla="*/ 0 h 114"/>
                <a:gd name="T80" fmla="*/ 190 w 217"/>
                <a:gd name="T81" fmla="*/ 2 h 114"/>
                <a:gd name="T82" fmla="*/ 185 w 217"/>
                <a:gd name="T83" fmla="*/ 6 h 114"/>
                <a:gd name="T84" fmla="*/ 181 w 217"/>
                <a:gd name="T85" fmla="*/ 10 h 114"/>
                <a:gd name="T86" fmla="*/ 178 w 217"/>
                <a:gd name="T87" fmla="*/ 4 h 114"/>
                <a:gd name="T88" fmla="*/ 180 w 217"/>
                <a:gd name="T89" fmla="*/ 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7" h="114">
                  <a:moveTo>
                    <a:pt x="180" y="0"/>
                  </a:moveTo>
                  <a:cubicBezTo>
                    <a:pt x="4" y="0"/>
                    <a:pt x="4" y="0"/>
                    <a:pt x="4" y="0"/>
                  </a:cubicBezTo>
                  <a:cubicBezTo>
                    <a:pt x="7" y="0"/>
                    <a:pt x="11" y="1"/>
                    <a:pt x="13" y="2"/>
                  </a:cubicBezTo>
                  <a:cubicBezTo>
                    <a:pt x="10" y="6"/>
                    <a:pt x="11" y="7"/>
                    <a:pt x="13" y="13"/>
                  </a:cubicBezTo>
                  <a:cubicBezTo>
                    <a:pt x="13" y="15"/>
                    <a:pt x="12" y="15"/>
                    <a:pt x="13" y="18"/>
                  </a:cubicBezTo>
                  <a:cubicBezTo>
                    <a:pt x="13" y="17"/>
                    <a:pt x="12" y="17"/>
                    <a:pt x="12" y="17"/>
                  </a:cubicBezTo>
                  <a:cubicBezTo>
                    <a:pt x="11" y="17"/>
                    <a:pt x="11" y="17"/>
                    <a:pt x="10" y="18"/>
                  </a:cubicBezTo>
                  <a:cubicBezTo>
                    <a:pt x="10" y="19"/>
                    <a:pt x="11" y="22"/>
                    <a:pt x="14" y="24"/>
                  </a:cubicBezTo>
                  <a:cubicBezTo>
                    <a:pt x="14" y="24"/>
                    <a:pt x="13" y="24"/>
                    <a:pt x="13" y="25"/>
                  </a:cubicBezTo>
                  <a:cubicBezTo>
                    <a:pt x="11" y="28"/>
                    <a:pt x="13" y="34"/>
                    <a:pt x="13" y="37"/>
                  </a:cubicBezTo>
                  <a:cubicBezTo>
                    <a:pt x="13" y="40"/>
                    <a:pt x="13" y="44"/>
                    <a:pt x="13" y="47"/>
                  </a:cubicBezTo>
                  <a:cubicBezTo>
                    <a:pt x="13" y="48"/>
                    <a:pt x="15" y="49"/>
                    <a:pt x="15" y="49"/>
                  </a:cubicBezTo>
                  <a:cubicBezTo>
                    <a:pt x="14" y="52"/>
                    <a:pt x="11" y="53"/>
                    <a:pt x="10" y="55"/>
                  </a:cubicBezTo>
                  <a:cubicBezTo>
                    <a:pt x="9" y="58"/>
                    <a:pt x="8" y="61"/>
                    <a:pt x="8" y="64"/>
                  </a:cubicBezTo>
                  <a:cubicBezTo>
                    <a:pt x="7" y="70"/>
                    <a:pt x="6" y="80"/>
                    <a:pt x="1" y="84"/>
                  </a:cubicBezTo>
                  <a:cubicBezTo>
                    <a:pt x="1" y="85"/>
                    <a:pt x="0" y="85"/>
                    <a:pt x="0" y="86"/>
                  </a:cubicBezTo>
                  <a:cubicBezTo>
                    <a:pt x="0" y="86"/>
                    <a:pt x="1" y="87"/>
                    <a:pt x="1" y="87"/>
                  </a:cubicBezTo>
                  <a:cubicBezTo>
                    <a:pt x="2" y="87"/>
                    <a:pt x="3" y="87"/>
                    <a:pt x="4" y="87"/>
                  </a:cubicBezTo>
                  <a:cubicBezTo>
                    <a:pt x="6" y="87"/>
                    <a:pt x="8" y="88"/>
                    <a:pt x="9" y="90"/>
                  </a:cubicBezTo>
                  <a:cubicBezTo>
                    <a:pt x="10" y="92"/>
                    <a:pt x="10" y="93"/>
                    <a:pt x="9" y="94"/>
                  </a:cubicBezTo>
                  <a:cubicBezTo>
                    <a:pt x="10" y="94"/>
                    <a:pt x="10" y="94"/>
                    <a:pt x="10" y="94"/>
                  </a:cubicBezTo>
                  <a:cubicBezTo>
                    <a:pt x="11" y="95"/>
                    <a:pt x="11" y="95"/>
                    <a:pt x="12" y="95"/>
                  </a:cubicBezTo>
                  <a:cubicBezTo>
                    <a:pt x="13" y="95"/>
                    <a:pt x="14" y="95"/>
                    <a:pt x="15" y="95"/>
                  </a:cubicBezTo>
                  <a:cubicBezTo>
                    <a:pt x="15" y="95"/>
                    <a:pt x="15" y="95"/>
                    <a:pt x="15" y="95"/>
                  </a:cubicBezTo>
                  <a:cubicBezTo>
                    <a:pt x="17" y="96"/>
                    <a:pt x="19" y="96"/>
                    <a:pt x="21" y="97"/>
                  </a:cubicBezTo>
                  <a:cubicBezTo>
                    <a:pt x="22" y="97"/>
                    <a:pt x="22" y="97"/>
                    <a:pt x="23" y="97"/>
                  </a:cubicBezTo>
                  <a:cubicBezTo>
                    <a:pt x="24" y="98"/>
                    <a:pt x="24" y="98"/>
                    <a:pt x="24" y="98"/>
                  </a:cubicBezTo>
                  <a:cubicBezTo>
                    <a:pt x="25" y="98"/>
                    <a:pt x="26" y="99"/>
                    <a:pt x="27" y="100"/>
                  </a:cubicBezTo>
                  <a:cubicBezTo>
                    <a:pt x="27" y="101"/>
                    <a:pt x="27" y="101"/>
                    <a:pt x="27" y="101"/>
                  </a:cubicBezTo>
                  <a:cubicBezTo>
                    <a:pt x="27" y="101"/>
                    <a:pt x="28" y="101"/>
                    <a:pt x="28" y="101"/>
                  </a:cubicBezTo>
                  <a:cubicBezTo>
                    <a:pt x="28" y="101"/>
                    <a:pt x="28" y="100"/>
                    <a:pt x="29" y="100"/>
                  </a:cubicBezTo>
                  <a:cubicBezTo>
                    <a:pt x="30" y="100"/>
                    <a:pt x="30" y="100"/>
                    <a:pt x="31" y="100"/>
                  </a:cubicBezTo>
                  <a:cubicBezTo>
                    <a:pt x="32" y="100"/>
                    <a:pt x="32" y="100"/>
                    <a:pt x="32" y="100"/>
                  </a:cubicBezTo>
                  <a:cubicBezTo>
                    <a:pt x="33" y="100"/>
                    <a:pt x="33" y="100"/>
                    <a:pt x="33" y="100"/>
                  </a:cubicBezTo>
                  <a:cubicBezTo>
                    <a:pt x="33" y="100"/>
                    <a:pt x="34" y="100"/>
                    <a:pt x="35" y="101"/>
                  </a:cubicBezTo>
                  <a:cubicBezTo>
                    <a:pt x="35" y="101"/>
                    <a:pt x="36" y="102"/>
                    <a:pt x="37" y="102"/>
                  </a:cubicBezTo>
                  <a:cubicBezTo>
                    <a:pt x="37" y="103"/>
                    <a:pt x="38" y="103"/>
                    <a:pt x="39" y="104"/>
                  </a:cubicBezTo>
                  <a:cubicBezTo>
                    <a:pt x="40" y="104"/>
                    <a:pt x="40" y="104"/>
                    <a:pt x="40" y="104"/>
                  </a:cubicBezTo>
                  <a:cubicBezTo>
                    <a:pt x="44" y="104"/>
                    <a:pt x="44" y="104"/>
                    <a:pt x="44" y="104"/>
                  </a:cubicBezTo>
                  <a:cubicBezTo>
                    <a:pt x="46" y="104"/>
                    <a:pt x="48" y="104"/>
                    <a:pt x="50" y="104"/>
                  </a:cubicBezTo>
                  <a:cubicBezTo>
                    <a:pt x="51" y="104"/>
                    <a:pt x="51" y="104"/>
                    <a:pt x="52" y="104"/>
                  </a:cubicBezTo>
                  <a:cubicBezTo>
                    <a:pt x="52" y="102"/>
                    <a:pt x="52" y="101"/>
                    <a:pt x="54" y="100"/>
                  </a:cubicBezTo>
                  <a:cubicBezTo>
                    <a:pt x="54" y="100"/>
                    <a:pt x="55" y="99"/>
                    <a:pt x="56" y="99"/>
                  </a:cubicBezTo>
                  <a:cubicBezTo>
                    <a:pt x="57" y="99"/>
                    <a:pt x="57" y="99"/>
                    <a:pt x="58" y="99"/>
                  </a:cubicBezTo>
                  <a:cubicBezTo>
                    <a:pt x="59" y="99"/>
                    <a:pt x="61" y="100"/>
                    <a:pt x="63" y="101"/>
                  </a:cubicBezTo>
                  <a:cubicBezTo>
                    <a:pt x="65" y="102"/>
                    <a:pt x="65" y="102"/>
                    <a:pt x="65" y="102"/>
                  </a:cubicBezTo>
                  <a:cubicBezTo>
                    <a:pt x="65" y="102"/>
                    <a:pt x="66" y="103"/>
                    <a:pt x="67" y="103"/>
                  </a:cubicBezTo>
                  <a:cubicBezTo>
                    <a:pt x="72" y="105"/>
                    <a:pt x="76" y="107"/>
                    <a:pt x="82" y="107"/>
                  </a:cubicBezTo>
                  <a:cubicBezTo>
                    <a:pt x="86" y="108"/>
                    <a:pt x="86" y="108"/>
                    <a:pt x="86" y="108"/>
                  </a:cubicBezTo>
                  <a:cubicBezTo>
                    <a:pt x="84" y="111"/>
                    <a:pt x="84" y="111"/>
                    <a:pt x="84" y="111"/>
                  </a:cubicBezTo>
                  <a:cubicBezTo>
                    <a:pt x="85" y="111"/>
                    <a:pt x="85" y="111"/>
                    <a:pt x="85" y="111"/>
                  </a:cubicBezTo>
                  <a:cubicBezTo>
                    <a:pt x="85" y="111"/>
                    <a:pt x="85" y="111"/>
                    <a:pt x="85" y="111"/>
                  </a:cubicBezTo>
                  <a:cubicBezTo>
                    <a:pt x="86" y="111"/>
                    <a:pt x="86" y="112"/>
                    <a:pt x="87" y="112"/>
                  </a:cubicBezTo>
                  <a:cubicBezTo>
                    <a:pt x="88" y="112"/>
                    <a:pt x="91" y="113"/>
                    <a:pt x="97" y="114"/>
                  </a:cubicBezTo>
                  <a:cubicBezTo>
                    <a:pt x="98" y="114"/>
                    <a:pt x="98" y="114"/>
                    <a:pt x="99" y="114"/>
                  </a:cubicBezTo>
                  <a:cubicBezTo>
                    <a:pt x="100" y="114"/>
                    <a:pt x="100" y="114"/>
                    <a:pt x="101" y="114"/>
                  </a:cubicBezTo>
                  <a:cubicBezTo>
                    <a:pt x="101" y="114"/>
                    <a:pt x="101" y="114"/>
                    <a:pt x="101" y="114"/>
                  </a:cubicBezTo>
                  <a:cubicBezTo>
                    <a:pt x="102" y="114"/>
                    <a:pt x="102" y="113"/>
                    <a:pt x="103" y="113"/>
                  </a:cubicBezTo>
                  <a:cubicBezTo>
                    <a:pt x="113" y="111"/>
                    <a:pt x="113" y="111"/>
                    <a:pt x="113" y="111"/>
                  </a:cubicBezTo>
                  <a:cubicBezTo>
                    <a:pt x="112" y="108"/>
                    <a:pt x="112" y="106"/>
                    <a:pt x="111" y="103"/>
                  </a:cubicBezTo>
                  <a:cubicBezTo>
                    <a:pt x="111" y="102"/>
                    <a:pt x="109" y="102"/>
                    <a:pt x="110" y="101"/>
                  </a:cubicBezTo>
                  <a:cubicBezTo>
                    <a:pt x="111" y="99"/>
                    <a:pt x="112" y="98"/>
                    <a:pt x="113" y="96"/>
                  </a:cubicBezTo>
                  <a:cubicBezTo>
                    <a:pt x="117" y="89"/>
                    <a:pt x="124" y="88"/>
                    <a:pt x="130" y="84"/>
                  </a:cubicBezTo>
                  <a:cubicBezTo>
                    <a:pt x="132" y="83"/>
                    <a:pt x="133" y="82"/>
                    <a:pt x="135" y="82"/>
                  </a:cubicBezTo>
                  <a:cubicBezTo>
                    <a:pt x="136" y="82"/>
                    <a:pt x="136" y="82"/>
                    <a:pt x="137" y="83"/>
                  </a:cubicBezTo>
                  <a:cubicBezTo>
                    <a:pt x="139" y="84"/>
                    <a:pt x="141" y="84"/>
                    <a:pt x="143" y="84"/>
                  </a:cubicBezTo>
                  <a:cubicBezTo>
                    <a:pt x="144" y="84"/>
                    <a:pt x="144" y="84"/>
                    <a:pt x="145" y="84"/>
                  </a:cubicBezTo>
                  <a:cubicBezTo>
                    <a:pt x="145" y="84"/>
                    <a:pt x="146" y="84"/>
                    <a:pt x="147" y="84"/>
                  </a:cubicBezTo>
                  <a:cubicBezTo>
                    <a:pt x="147" y="84"/>
                    <a:pt x="147" y="84"/>
                    <a:pt x="147" y="84"/>
                  </a:cubicBezTo>
                  <a:cubicBezTo>
                    <a:pt x="147" y="84"/>
                    <a:pt x="148" y="84"/>
                    <a:pt x="148" y="84"/>
                  </a:cubicBezTo>
                  <a:cubicBezTo>
                    <a:pt x="149" y="84"/>
                    <a:pt x="149" y="84"/>
                    <a:pt x="150" y="84"/>
                  </a:cubicBezTo>
                  <a:cubicBezTo>
                    <a:pt x="150" y="84"/>
                    <a:pt x="150" y="84"/>
                    <a:pt x="150" y="84"/>
                  </a:cubicBezTo>
                  <a:cubicBezTo>
                    <a:pt x="151" y="84"/>
                    <a:pt x="150" y="85"/>
                    <a:pt x="151" y="86"/>
                  </a:cubicBezTo>
                  <a:cubicBezTo>
                    <a:pt x="152" y="86"/>
                    <a:pt x="153" y="86"/>
                    <a:pt x="153" y="86"/>
                  </a:cubicBezTo>
                  <a:cubicBezTo>
                    <a:pt x="155" y="86"/>
                    <a:pt x="156" y="86"/>
                    <a:pt x="158" y="85"/>
                  </a:cubicBezTo>
                  <a:cubicBezTo>
                    <a:pt x="157" y="87"/>
                    <a:pt x="158" y="88"/>
                    <a:pt x="159" y="88"/>
                  </a:cubicBezTo>
                  <a:cubicBezTo>
                    <a:pt x="160" y="88"/>
                    <a:pt x="160" y="88"/>
                    <a:pt x="161" y="88"/>
                  </a:cubicBezTo>
                  <a:cubicBezTo>
                    <a:pt x="162" y="87"/>
                    <a:pt x="162" y="87"/>
                    <a:pt x="163" y="87"/>
                  </a:cubicBezTo>
                  <a:cubicBezTo>
                    <a:pt x="164" y="87"/>
                    <a:pt x="164" y="87"/>
                    <a:pt x="164" y="88"/>
                  </a:cubicBezTo>
                  <a:cubicBezTo>
                    <a:pt x="165" y="88"/>
                    <a:pt x="164" y="91"/>
                    <a:pt x="165" y="91"/>
                  </a:cubicBezTo>
                  <a:cubicBezTo>
                    <a:pt x="167" y="92"/>
                    <a:pt x="169" y="92"/>
                    <a:pt x="171" y="92"/>
                  </a:cubicBezTo>
                  <a:cubicBezTo>
                    <a:pt x="173" y="92"/>
                    <a:pt x="174" y="93"/>
                    <a:pt x="175" y="94"/>
                  </a:cubicBezTo>
                  <a:cubicBezTo>
                    <a:pt x="176" y="94"/>
                    <a:pt x="176" y="95"/>
                    <a:pt x="175" y="95"/>
                  </a:cubicBezTo>
                  <a:cubicBezTo>
                    <a:pt x="175" y="95"/>
                    <a:pt x="175" y="95"/>
                    <a:pt x="175" y="95"/>
                  </a:cubicBezTo>
                  <a:cubicBezTo>
                    <a:pt x="176" y="96"/>
                    <a:pt x="177" y="96"/>
                    <a:pt x="177" y="96"/>
                  </a:cubicBezTo>
                  <a:cubicBezTo>
                    <a:pt x="178" y="96"/>
                    <a:pt x="179" y="96"/>
                    <a:pt x="180" y="95"/>
                  </a:cubicBezTo>
                  <a:cubicBezTo>
                    <a:pt x="181" y="95"/>
                    <a:pt x="182" y="95"/>
                    <a:pt x="182" y="95"/>
                  </a:cubicBezTo>
                  <a:cubicBezTo>
                    <a:pt x="183" y="95"/>
                    <a:pt x="184" y="95"/>
                    <a:pt x="183" y="96"/>
                  </a:cubicBezTo>
                  <a:cubicBezTo>
                    <a:pt x="183" y="96"/>
                    <a:pt x="183" y="96"/>
                    <a:pt x="183" y="96"/>
                  </a:cubicBezTo>
                  <a:cubicBezTo>
                    <a:pt x="190" y="96"/>
                    <a:pt x="196" y="89"/>
                    <a:pt x="201" y="85"/>
                  </a:cubicBezTo>
                  <a:cubicBezTo>
                    <a:pt x="203" y="83"/>
                    <a:pt x="203" y="82"/>
                    <a:pt x="207" y="82"/>
                  </a:cubicBezTo>
                  <a:cubicBezTo>
                    <a:pt x="209" y="82"/>
                    <a:pt x="211" y="79"/>
                    <a:pt x="213" y="78"/>
                  </a:cubicBezTo>
                  <a:cubicBezTo>
                    <a:pt x="213" y="77"/>
                    <a:pt x="214" y="76"/>
                    <a:pt x="215" y="76"/>
                  </a:cubicBezTo>
                  <a:cubicBezTo>
                    <a:pt x="214" y="75"/>
                    <a:pt x="214" y="75"/>
                    <a:pt x="214" y="75"/>
                  </a:cubicBezTo>
                  <a:cubicBezTo>
                    <a:pt x="214" y="74"/>
                    <a:pt x="214" y="74"/>
                    <a:pt x="214" y="74"/>
                  </a:cubicBezTo>
                  <a:cubicBezTo>
                    <a:pt x="215" y="73"/>
                    <a:pt x="215" y="72"/>
                    <a:pt x="216" y="71"/>
                  </a:cubicBezTo>
                  <a:cubicBezTo>
                    <a:pt x="216" y="70"/>
                    <a:pt x="216" y="70"/>
                    <a:pt x="216" y="70"/>
                  </a:cubicBezTo>
                  <a:cubicBezTo>
                    <a:pt x="216" y="69"/>
                    <a:pt x="217" y="69"/>
                    <a:pt x="217" y="68"/>
                  </a:cubicBezTo>
                  <a:cubicBezTo>
                    <a:pt x="202" y="62"/>
                    <a:pt x="202" y="62"/>
                    <a:pt x="202" y="62"/>
                  </a:cubicBezTo>
                  <a:cubicBezTo>
                    <a:pt x="200" y="61"/>
                    <a:pt x="199" y="59"/>
                    <a:pt x="199" y="57"/>
                  </a:cubicBezTo>
                  <a:cubicBezTo>
                    <a:pt x="198" y="54"/>
                    <a:pt x="200" y="50"/>
                    <a:pt x="201" y="48"/>
                  </a:cubicBezTo>
                  <a:cubicBezTo>
                    <a:pt x="190" y="35"/>
                    <a:pt x="190" y="35"/>
                    <a:pt x="190" y="35"/>
                  </a:cubicBezTo>
                  <a:cubicBezTo>
                    <a:pt x="194" y="34"/>
                    <a:pt x="194" y="34"/>
                    <a:pt x="194" y="34"/>
                  </a:cubicBezTo>
                  <a:cubicBezTo>
                    <a:pt x="195" y="34"/>
                    <a:pt x="196" y="33"/>
                    <a:pt x="198" y="33"/>
                  </a:cubicBezTo>
                  <a:cubicBezTo>
                    <a:pt x="200" y="33"/>
                    <a:pt x="202" y="32"/>
                    <a:pt x="204" y="31"/>
                  </a:cubicBezTo>
                  <a:cubicBezTo>
                    <a:pt x="204" y="31"/>
                    <a:pt x="204" y="30"/>
                    <a:pt x="204" y="30"/>
                  </a:cubicBezTo>
                  <a:cubicBezTo>
                    <a:pt x="205" y="29"/>
                    <a:pt x="205" y="29"/>
                    <a:pt x="205" y="29"/>
                  </a:cubicBezTo>
                  <a:cubicBezTo>
                    <a:pt x="204" y="28"/>
                    <a:pt x="204" y="28"/>
                    <a:pt x="203" y="28"/>
                  </a:cubicBezTo>
                  <a:cubicBezTo>
                    <a:pt x="198" y="21"/>
                    <a:pt x="198" y="21"/>
                    <a:pt x="198" y="21"/>
                  </a:cubicBezTo>
                  <a:cubicBezTo>
                    <a:pt x="197" y="20"/>
                    <a:pt x="197" y="18"/>
                    <a:pt x="197" y="17"/>
                  </a:cubicBezTo>
                  <a:cubicBezTo>
                    <a:pt x="197" y="15"/>
                    <a:pt x="199" y="13"/>
                    <a:pt x="201" y="13"/>
                  </a:cubicBezTo>
                  <a:cubicBezTo>
                    <a:pt x="201" y="12"/>
                    <a:pt x="201" y="12"/>
                    <a:pt x="201" y="12"/>
                  </a:cubicBezTo>
                  <a:cubicBezTo>
                    <a:pt x="200" y="11"/>
                    <a:pt x="200" y="11"/>
                    <a:pt x="200" y="11"/>
                  </a:cubicBezTo>
                  <a:cubicBezTo>
                    <a:pt x="200" y="11"/>
                    <a:pt x="200" y="11"/>
                    <a:pt x="200" y="11"/>
                  </a:cubicBezTo>
                  <a:cubicBezTo>
                    <a:pt x="198" y="8"/>
                    <a:pt x="197" y="7"/>
                    <a:pt x="197" y="7"/>
                  </a:cubicBezTo>
                  <a:cubicBezTo>
                    <a:pt x="197" y="6"/>
                    <a:pt x="197" y="5"/>
                    <a:pt x="197" y="4"/>
                  </a:cubicBezTo>
                  <a:cubicBezTo>
                    <a:pt x="197" y="2"/>
                    <a:pt x="197" y="1"/>
                    <a:pt x="197" y="1"/>
                  </a:cubicBezTo>
                  <a:cubicBezTo>
                    <a:pt x="197" y="1"/>
                    <a:pt x="197" y="0"/>
                    <a:pt x="195" y="0"/>
                  </a:cubicBezTo>
                  <a:cubicBezTo>
                    <a:pt x="195" y="0"/>
                    <a:pt x="195" y="0"/>
                    <a:pt x="195" y="0"/>
                  </a:cubicBezTo>
                  <a:cubicBezTo>
                    <a:pt x="195" y="0"/>
                    <a:pt x="195" y="0"/>
                    <a:pt x="195" y="0"/>
                  </a:cubicBezTo>
                  <a:cubicBezTo>
                    <a:pt x="194" y="0"/>
                    <a:pt x="193" y="1"/>
                    <a:pt x="192" y="1"/>
                  </a:cubicBezTo>
                  <a:cubicBezTo>
                    <a:pt x="192" y="1"/>
                    <a:pt x="192" y="1"/>
                    <a:pt x="192" y="1"/>
                  </a:cubicBezTo>
                  <a:cubicBezTo>
                    <a:pt x="191" y="1"/>
                    <a:pt x="190" y="2"/>
                    <a:pt x="190" y="2"/>
                  </a:cubicBezTo>
                  <a:cubicBezTo>
                    <a:pt x="189" y="1"/>
                    <a:pt x="189" y="1"/>
                    <a:pt x="189" y="1"/>
                  </a:cubicBezTo>
                  <a:cubicBezTo>
                    <a:pt x="189" y="2"/>
                    <a:pt x="189" y="2"/>
                    <a:pt x="189" y="2"/>
                  </a:cubicBezTo>
                  <a:cubicBezTo>
                    <a:pt x="188" y="4"/>
                    <a:pt x="186" y="5"/>
                    <a:pt x="185" y="6"/>
                  </a:cubicBezTo>
                  <a:cubicBezTo>
                    <a:pt x="183" y="7"/>
                    <a:pt x="183" y="7"/>
                    <a:pt x="183" y="7"/>
                  </a:cubicBezTo>
                  <a:cubicBezTo>
                    <a:pt x="183" y="8"/>
                    <a:pt x="182" y="9"/>
                    <a:pt x="181" y="9"/>
                  </a:cubicBezTo>
                  <a:cubicBezTo>
                    <a:pt x="181" y="10"/>
                    <a:pt x="181" y="10"/>
                    <a:pt x="181" y="10"/>
                  </a:cubicBezTo>
                  <a:cubicBezTo>
                    <a:pt x="177" y="6"/>
                    <a:pt x="177" y="6"/>
                    <a:pt x="177" y="6"/>
                  </a:cubicBezTo>
                  <a:cubicBezTo>
                    <a:pt x="177" y="5"/>
                    <a:pt x="177" y="5"/>
                    <a:pt x="177" y="5"/>
                  </a:cubicBezTo>
                  <a:cubicBezTo>
                    <a:pt x="178" y="5"/>
                    <a:pt x="178" y="4"/>
                    <a:pt x="178" y="4"/>
                  </a:cubicBezTo>
                  <a:cubicBezTo>
                    <a:pt x="179" y="4"/>
                    <a:pt x="179" y="4"/>
                    <a:pt x="179" y="4"/>
                  </a:cubicBezTo>
                  <a:cubicBezTo>
                    <a:pt x="180" y="2"/>
                    <a:pt x="181" y="1"/>
                    <a:pt x="181" y="1"/>
                  </a:cubicBezTo>
                  <a:cubicBezTo>
                    <a:pt x="180" y="1"/>
                    <a:pt x="180" y="1"/>
                    <a:pt x="180" y="1"/>
                  </a:cubicBezTo>
                  <a:cubicBezTo>
                    <a:pt x="180" y="0"/>
                    <a:pt x="180"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 name="Freeform 251">
              <a:extLst>
                <a:ext uri="{FF2B5EF4-FFF2-40B4-BE49-F238E27FC236}">
                  <a16:creationId xmlns:a16="http://schemas.microsoft.com/office/drawing/2014/main" id="{782E7CE8-5B7A-4C58-BDFF-80231623EACD}"/>
                </a:ext>
              </a:extLst>
            </p:cNvPr>
            <p:cNvSpPr>
              <a:spLocks noEditPoints="1"/>
            </p:cNvSpPr>
            <p:nvPr/>
          </p:nvSpPr>
          <p:spPr bwMode="auto">
            <a:xfrm>
              <a:off x="4048" y="-27"/>
              <a:ext cx="168" cy="24"/>
            </a:xfrm>
            <a:custGeom>
              <a:avLst/>
              <a:gdLst>
                <a:gd name="T0" fmla="*/ 27 w 71"/>
                <a:gd name="T1" fmla="*/ 0 h 10"/>
                <a:gd name="T2" fmla="*/ 0 w 71"/>
                <a:gd name="T3" fmla="*/ 0 h 10"/>
                <a:gd name="T4" fmla="*/ 0 w 71"/>
                <a:gd name="T5" fmla="*/ 4 h 10"/>
                <a:gd name="T6" fmla="*/ 0 w 71"/>
                <a:gd name="T7" fmla="*/ 5 h 10"/>
                <a:gd name="T8" fmla="*/ 0 w 71"/>
                <a:gd name="T9" fmla="*/ 6 h 10"/>
                <a:gd name="T10" fmla="*/ 0 w 71"/>
                <a:gd name="T11" fmla="*/ 6 h 10"/>
                <a:gd name="T12" fmla="*/ 1 w 71"/>
                <a:gd name="T13" fmla="*/ 7 h 10"/>
                <a:gd name="T14" fmla="*/ 3 w 71"/>
                <a:gd name="T15" fmla="*/ 9 h 10"/>
                <a:gd name="T16" fmla="*/ 3 w 71"/>
                <a:gd name="T17" fmla="*/ 10 h 10"/>
                <a:gd name="T18" fmla="*/ 5 w 71"/>
                <a:gd name="T19" fmla="*/ 10 h 10"/>
                <a:gd name="T20" fmla="*/ 12 w 71"/>
                <a:gd name="T21" fmla="*/ 9 h 10"/>
                <a:gd name="T22" fmla="*/ 14 w 71"/>
                <a:gd name="T23" fmla="*/ 9 h 10"/>
                <a:gd name="T24" fmla="*/ 19 w 71"/>
                <a:gd name="T25" fmla="*/ 10 h 10"/>
                <a:gd name="T26" fmla="*/ 20 w 71"/>
                <a:gd name="T27" fmla="*/ 10 h 10"/>
                <a:gd name="T28" fmla="*/ 20 w 71"/>
                <a:gd name="T29" fmla="*/ 10 h 10"/>
                <a:gd name="T30" fmla="*/ 21 w 71"/>
                <a:gd name="T31" fmla="*/ 9 h 10"/>
                <a:gd name="T32" fmla="*/ 24 w 71"/>
                <a:gd name="T33" fmla="*/ 5 h 10"/>
                <a:gd name="T34" fmla="*/ 27 w 71"/>
                <a:gd name="T35" fmla="*/ 0 h 10"/>
                <a:gd name="T36" fmla="*/ 51 w 71"/>
                <a:gd name="T37" fmla="*/ 0 h 10"/>
                <a:gd name="T38" fmla="*/ 38 w 71"/>
                <a:gd name="T39" fmla="*/ 0 h 10"/>
                <a:gd name="T40" fmla="*/ 38 w 71"/>
                <a:gd name="T41" fmla="*/ 0 h 10"/>
                <a:gd name="T42" fmla="*/ 38 w 71"/>
                <a:gd name="T43" fmla="*/ 2 h 10"/>
                <a:gd name="T44" fmla="*/ 41 w 71"/>
                <a:gd name="T45" fmla="*/ 4 h 10"/>
                <a:gd name="T46" fmla="*/ 42 w 71"/>
                <a:gd name="T47" fmla="*/ 5 h 10"/>
                <a:gd name="T48" fmla="*/ 43 w 71"/>
                <a:gd name="T49" fmla="*/ 5 h 10"/>
                <a:gd name="T50" fmla="*/ 47 w 71"/>
                <a:gd name="T51" fmla="*/ 8 h 10"/>
                <a:gd name="T52" fmla="*/ 49 w 71"/>
                <a:gd name="T53" fmla="*/ 5 h 10"/>
                <a:gd name="T54" fmla="*/ 50 w 71"/>
                <a:gd name="T55" fmla="*/ 4 h 10"/>
                <a:gd name="T56" fmla="*/ 51 w 71"/>
                <a:gd name="T57" fmla="*/ 0 h 10"/>
                <a:gd name="T58" fmla="*/ 71 w 71"/>
                <a:gd name="T59" fmla="*/ 0 h 10"/>
                <a:gd name="T60" fmla="*/ 68 w 71"/>
                <a:gd name="T61" fmla="*/ 0 h 10"/>
                <a:gd name="T62" fmla="*/ 71 w 71"/>
                <a:gd name="T63" fmla="*/ 1 h 10"/>
                <a:gd name="T64" fmla="*/ 71 w 71"/>
                <a:gd name="T65" fmla="*/ 0 h 10"/>
                <a:gd name="T66" fmla="*/ 71 w 71"/>
                <a:gd name="T67" fmla="*/ 0 h 10"/>
                <a:gd name="T68" fmla="*/ 71 w 71"/>
                <a:gd name="T6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10">
                  <a:moveTo>
                    <a:pt x="27" y="0"/>
                  </a:moveTo>
                  <a:cubicBezTo>
                    <a:pt x="0" y="0"/>
                    <a:pt x="0" y="0"/>
                    <a:pt x="0" y="0"/>
                  </a:cubicBezTo>
                  <a:cubicBezTo>
                    <a:pt x="0" y="1"/>
                    <a:pt x="0" y="2"/>
                    <a:pt x="0" y="4"/>
                  </a:cubicBezTo>
                  <a:cubicBezTo>
                    <a:pt x="0" y="5"/>
                    <a:pt x="0" y="5"/>
                    <a:pt x="0" y="5"/>
                  </a:cubicBezTo>
                  <a:cubicBezTo>
                    <a:pt x="0" y="5"/>
                    <a:pt x="0" y="5"/>
                    <a:pt x="0" y="6"/>
                  </a:cubicBezTo>
                  <a:cubicBezTo>
                    <a:pt x="0" y="6"/>
                    <a:pt x="0" y="6"/>
                    <a:pt x="0" y="6"/>
                  </a:cubicBezTo>
                  <a:cubicBezTo>
                    <a:pt x="1" y="6"/>
                    <a:pt x="1" y="7"/>
                    <a:pt x="1" y="7"/>
                  </a:cubicBezTo>
                  <a:cubicBezTo>
                    <a:pt x="2" y="8"/>
                    <a:pt x="2" y="8"/>
                    <a:pt x="3" y="9"/>
                  </a:cubicBezTo>
                  <a:cubicBezTo>
                    <a:pt x="3" y="9"/>
                    <a:pt x="3" y="9"/>
                    <a:pt x="3" y="10"/>
                  </a:cubicBezTo>
                  <a:cubicBezTo>
                    <a:pt x="4" y="10"/>
                    <a:pt x="4" y="10"/>
                    <a:pt x="5" y="10"/>
                  </a:cubicBezTo>
                  <a:cubicBezTo>
                    <a:pt x="7" y="10"/>
                    <a:pt x="10" y="10"/>
                    <a:pt x="12" y="9"/>
                  </a:cubicBezTo>
                  <a:cubicBezTo>
                    <a:pt x="13" y="9"/>
                    <a:pt x="13" y="9"/>
                    <a:pt x="14" y="9"/>
                  </a:cubicBezTo>
                  <a:cubicBezTo>
                    <a:pt x="16" y="9"/>
                    <a:pt x="18" y="9"/>
                    <a:pt x="19" y="10"/>
                  </a:cubicBezTo>
                  <a:cubicBezTo>
                    <a:pt x="20" y="10"/>
                    <a:pt x="20" y="10"/>
                    <a:pt x="20" y="10"/>
                  </a:cubicBezTo>
                  <a:cubicBezTo>
                    <a:pt x="20" y="10"/>
                    <a:pt x="20" y="10"/>
                    <a:pt x="20" y="10"/>
                  </a:cubicBezTo>
                  <a:cubicBezTo>
                    <a:pt x="21" y="9"/>
                    <a:pt x="21" y="9"/>
                    <a:pt x="21" y="9"/>
                  </a:cubicBezTo>
                  <a:cubicBezTo>
                    <a:pt x="22" y="7"/>
                    <a:pt x="23" y="6"/>
                    <a:pt x="24" y="5"/>
                  </a:cubicBezTo>
                  <a:cubicBezTo>
                    <a:pt x="24" y="4"/>
                    <a:pt x="25" y="2"/>
                    <a:pt x="27" y="0"/>
                  </a:cubicBezTo>
                  <a:moveTo>
                    <a:pt x="51" y="0"/>
                  </a:moveTo>
                  <a:cubicBezTo>
                    <a:pt x="38" y="0"/>
                    <a:pt x="38" y="0"/>
                    <a:pt x="38" y="0"/>
                  </a:cubicBezTo>
                  <a:cubicBezTo>
                    <a:pt x="38" y="0"/>
                    <a:pt x="38" y="0"/>
                    <a:pt x="38" y="0"/>
                  </a:cubicBezTo>
                  <a:cubicBezTo>
                    <a:pt x="38" y="1"/>
                    <a:pt x="38" y="2"/>
                    <a:pt x="38" y="2"/>
                  </a:cubicBezTo>
                  <a:cubicBezTo>
                    <a:pt x="38" y="3"/>
                    <a:pt x="39" y="3"/>
                    <a:pt x="41" y="4"/>
                  </a:cubicBezTo>
                  <a:cubicBezTo>
                    <a:pt x="41" y="4"/>
                    <a:pt x="42" y="5"/>
                    <a:pt x="42" y="5"/>
                  </a:cubicBezTo>
                  <a:cubicBezTo>
                    <a:pt x="43" y="5"/>
                    <a:pt x="43" y="5"/>
                    <a:pt x="43" y="5"/>
                  </a:cubicBezTo>
                  <a:cubicBezTo>
                    <a:pt x="44" y="5"/>
                    <a:pt x="46" y="6"/>
                    <a:pt x="47" y="8"/>
                  </a:cubicBezTo>
                  <a:cubicBezTo>
                    <a:pt x="48" y="7"/>
                    <a:pt x="48" y="6"/>
                    <a:pt x="49" y="5"/>
                  </a:cubicBezTo>
                  <a:cubicBezTo>
                    <a:pt x="50" y="4"/>
                    <a:pt x="50" y="4"/>
                    <a:pt x="50" y="4"/>
                  </a:cubicBezTo>
                  <a:cubicBezTo>
                    <a:pt x="51" y="2"/>
                    <a:pt x="51" y="1"/>
                    <a:pt x="51" y="0"/>
                  </a:cubicBezTo>
                  <a:moveTo>
                    <a:pt x="71" y="0"/>
                  </a:moveTo>
                  <a:cubicBezTo>
                    <a:pt x="68" y="0"/>
                    <a:pt x="68" y="0"/>
                    <a:pt x="68" y="0"/>
                  </a:cubicBezTo>
                  <a:cubicBezTo>
                    <a:pt x="69" y="0"/>
                    <a:pt x="70" y="0"/>
                    <a:pt x="71" y="1"/>
                  </a:cubicBezTo>
                  <a:cubicBezTo>
                    <a:pt x="71" y="0"/>
                    <a:pt x="71" y="0"/>
                    <a:pt x="71" y="0"/>
                  </a:cubicBezTo>
                  <a:cubicBezTo>
                    <a:pt x="71" y="0"/>
                    <a:pt x="71" y="0"/>
                    <a:pt x="71"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Freeform 252">
              <a:extLst>
                <a:ext uri="{FF2B5EF4-FFF2-40B4-BE49-F238E27FC236}">
                  <a16:creationId xmlns:a16="http://schemas.microsoft.com/office/drawing/2014/main" id="{18D85EBA-56DC-4BB2-961A-8DF5F9821C87}"/>
                </a:ext>
              </a:extLst>
            </p:cNvPr>
            <p:cNvSpPr>
              <a:spLocks/>
            </p:cNvSpPr>
            <p:nvPr/>
          </p:nvSpPr>
          <p:spPr bwMode="auto">
            <a:xfrm>
              <a:off x="4044" y="-27"/>
              <a:ext cx="650" cy="567"/>
            </a:xfrm>
            <a:custGeom>
              <a:avLst/>
              <a:gdLst>
                <a:gd name="T0" fmla="*/ 80 w 275"/>
                <a:gd name="T1" fmla="*/ 1 h 240"/>
                <a:gd name="T2" fmla="*/ 78 w 275"/>
                <a:gd name="T3" fmla="*/ 6 h 240"/>
                <a:gd name="T4" fmla="*/ 76 w 275"/>
                <a:gd name="T5" fmla="*/ 7 h 240"/>
                <a:gd name="T6" fmla="*/ 57 w 275"/>
                <a:gd name="T7" fmla="*/ 7 h 240"/>
                <a:gd name="T8" fmla="*/ 54 w 275"/>
                <a:gd name="T9" fmla="*/ 11 h 240"/>
                <a:gd name="T10" fmla="*/ 43 w 275"/>
                <a:gd name="T11" fmla="*/ 26 h 240"/>
                <a:gd name="T12" fmla="*/ 44 w 275"/>
                <a:gd name="T13" fmla="*/ 12 h 240"/>
                <a:gd name="T14" fmla="*/ 41 w 275"/>
                <a:gd name="T15" fmla="*/ 10 h 240"/>
                <a:gd name="T16" fmla="*/ 34 w 275"/>
                <a:gd name="T17" fmla="*/ 3 h 240"/>
                <a:gd name="T18" fmla="*/ 26 w 275"/>
                <a:gd name="T19" fmla="*/ 14 h 240"/>
                <a:gd name="T20" fmla="*/ 20 w 275"/>
                <a:gd name="T21" fmla="*/ 15 h 240"/>
                <a:gd name="T22" fmla="*/ 7 w 275"/>
                <a:gd name="T23" fmla="*/ 16 h 240"/>
                <a:gd name="T24" fmla="*/ 3 w 275"/>
                <a:gd name="T25" fmla="*/ 17 h 240"/>
                <a:gd name="T26" fmla="*/ 7 w 275"/>
                <a:gd name="T27" fmla="*/ 24 h 240"/>
                <a:gd name="T28" fmla="*/ 9 w 275"/>
                <a:gd name="T29" fmla="*/ 32 h 240"/>
                <a:gd name="T30" fmla="*/ 9 w 275"/>
                <a:gd name="T31" fmla="*/ 49 h 240"/>
                <a:gd name="T32" fmla="*/ 4 w 275"/>
                <a:gd name="T33" fmla="*/ 57 h 240"/>
                <a:gd name="T34" fmla="*/ 20 w 275"/>
                <a:gd name="T35" fmla="*/ 72 h 240"/>
                <a:gd name="T36" fmla="*/ 41 w 275"/>
                <a:gd name="T37" fmla="*/ 59 h 240"/>
                <a:gd name="T38" fmla="*/ 70 w 275"/>
                <a:gd name="T39" fmla="*/ 66 h 240"/>
                <a:gd name="T40" fmla="*/ 86 w 275"/>
                <a:gd name="T41" fmla="*/ 98 h 240"/>
                <a:gd name="T42" fmla="*/ 89 w 275"/>
                <a:gd name="T43" fmla="*/ 100 h 240"/>
                <a:gd name="T44" fmla="*/ 97 w 275"/>
                <a:gd name="T45" fmla="*/ 108 h 240"/>
                <a:gd name="T46" fmla="*/ 99 w 275"/>
                <a:gd name="T47" fmla="*/ 115 h 240"/>
                <a:gd name="T48" fmla="*/ 104 w 275"/>
                <a:gd name="T49" fmla="*/ 115 h 240"/>
                <a:gd name="T50" fmla="*/ 126 w 275"/>
                <a:gd name="T51" fmla="*/ 132 h 240"/>
                <a:gd name="T52" fmla="*/ 144 w 275"/>
                <a:gd name="T53" fmla="*/ 146 h 240"/>
                <a:gd name="T54" fmla="*/ 153 w 275"/>
                <a:gd name="T55" fmla="*/ 148 h 240"/>
                <a:gd name="T56" fmla="*/ 170 w 275"/>
                <a:gd name="T57" fmla="*/ 157 h 240"/>
                <a:gd name="T58" fmla="*/ 184 w 275"/>
                <a:gd name="T59" fmla="*/ 164 h 240"/>
                <a:gd name="T60" fmla="*/ 191 w 275"/>
                <a:gd name="T61" fmla="*/ 172 h 240"/>
                <a:gd name="T62" fmla="*/ 200 w 275"/>
                <a:gd name="T63" fmla="*/ 182 h 240"/>
                <a:gd name="T64" fmla="*/ 209 w 275"/>
                <a:gd name="T65" fmla="*/ 184 h 240"/>
                <a:gd name="T66" fmla="*/ 220 w 275"/>
                <a:gd name="T67" fmla="*/ 213 h 240"/>
                <a:gd name="T68" fmla="*/ 211 w 275"/>
                <a:gd name="T69" fmla="*/ 220 h 240"/>
                <a:gd name="T70" fmla="*/ 210 w 275"/>
                <a:gd name="T71" fmla="*/ 239 h 240"/>
                <a:gd name="T72" fmla="*/ 221 w 275"/>
                <a:gd name="T73" fmla="*/ 233 h 240"/>
                <a:gd name="T74" fmla="*/ 236 w 275"/>
                <a:gd name="T75" fmla="*/ 212 h 240"/>
                <a:gd name="T76" fmla="*/ 241 w 275"/>
                <a:gd name="T77" fmla="*/ 212 h 240"/>
                <a:gd name="T78" fmla="*/ 232 w 275"/>
                <a:gd name="T79" fmla="*/ 193 h 240"/>
                <a:gd name="T80" fmla="*/ 230 w 275"/>
                <a:gd name="T81" fmla="*/ 193 h 240"/>
                <a:gd name="T82" fmla="*/ 238 w 275"/>
                <a:gd name="T83" fmla="*/ 169 h 240"/>
                <a:gd name="T84" fmla="*/ 253 w 275"/>
                <a:gd name="T85" fmla="*/ 173 h 240"/>
                <a:gd name="T86" fmla="*/ 273 w 275"/>
                <a:gd name="T87" fmla="*/ 181 h 240"/>
                <a:gd name="T88" fmla="*/ 239 w 275"/>
                <a:gd name="T89" fmla="*/ 154 h 240"/>
                <a:gd name="T90" fmla="*/ 218 w 275"/>
                <a:gd name="T91" fmla="*/ 129 h 240"/>
                <a:gd name="T92" fmla="*/ 177 w 275"/>
                <a:gd name="T93" fmla="*/ 117 h 240"/>
                <a:gd name="T94" fmla="*/ 141 w 275"/>
                <a:gd name="T95" fmla="*/ 72 h 240"/>
                <a:gd name="T96" fmla="*/ 129 w 275"/>
                <a:gd name="T97" fmla="*/ 46 h 240"/>
                <a:gd name="T98" fmla="*/ 124 w 275"/>
                <a:gd name="T99" fmla="*/ 31 h 240"/>
                <a:gd name="T100" fmla="*/ 130 w 275"/>
                <a:gd name="T101" fmla="*/ 28 h 240"/>
                <a:gd name="T102" fmla="*/ 148 w 275"/>
                <a:gd name="T103" fmla="*/ 18 h 240"/>
                <a:gd name="T104" fmla="*/ 154 w 275"/>
                <a:gd name="T105" fmla="*/ 19 h 240"/>
                <a:gd name="T106" fmla="*/ 156 w 275"/>
                <a:gd name="T107" fmla="*/ 18 h 240"/>
                <a:gd name="T108" fmla="*/ 156 w 275"/>
                <a:gd name="T109" fmla="*/ 13 h 240"/>
                <a:gd name="T110" fmla="*/ 155 w 275"/>
                <a:gd name="T111" fmla="*/ 7 h 240"/>
                <a:gd name="T112" fmla="*/ 148 w 275"/>
                <a:gd name="T113" fmla="*/ 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5" h="240">
                  <a:moveTo>
                    <a:pt x="152" y="0"/>
                  </a:moveTo>
                  <a:cubicBezTo>
                    <a:pt x="80" y="0"/>
                    <a:pt x="80" y="0"/>
                    <a:pt x="80" y="0"/>
                  </a:cubicBezTo>
                  <a:cubicBezTo>
                    <a:pt x="80" y="0"/>
                    <a:pt x="80" y="0"/>
                    <a:pt x="80" y="1"/>
                  </a:cubicBezTo>
                  <a:cubicBezTo>
                    <a:pt x="80" y="2"/>
                    <a:pt x="81" y="3"/>
                    <a:pt x="80" y="5"/>
                  </a:cubicBezTo>
                  <a:cubicBezTo>
                    <a:pt x="79" y="6"/>
                    <a:pt x="79" y="6"/>
                    <a:pt x="79" y="6"/>
                  </a:cubicBezTo>
                  <a:cubicBezTo>
                    <a:pt x="78" y="6"/>
                    <a:pt x="78" y="6"/>
                    <a:pt x="78" y="6"/>
                  </a:cubicBezTo>
                  <a:cubicBezTo>
                    <a:pt x="77" y="7"/>
                    <a:pt x="77" y="7"/>
                    <a:pt x="77" y="7"/>
                  </a:cubicBezTo>
                  <a:cubicBezTo>
                    <a:pt x="77" y="7"/>
                    <a:pt x="77" y="7"/>
                    <a:pt x="77" y="7"/>
                  </a:cubicBezTo>
                  <a:cubicBezTo>
                    <a:pt x="76" y="7"/>
                    <a:pt x="76" y="7"/>
                    <a:pt x="76" y="7"/>
                  </a:cubicBezTo>
                  <a:cubicBezTo>
                    <a:pt x="76" y="7"/>
                    <a:pt x="76" y="7"/>
                    <a:pt x="76" y="7"/>
                  </a:cubicBezTo>
                  <a:cubicBezTo>
                    <a:pt x="72" y="7"/>
                    <a:pt x="65" y="4"/>
                    <a:pt x="59" y="1"/>
                  </a:cubicBezTo>
                  <a:cubicBezTo>
                    <a:pt x="59" y="3"/>
                    <a:pt x="58" y="5"/>
                    <a:pt x="57" y="7"/>
                  </a:cubicBezTo>
                  <a:cubicBezTo>
                    <a:pt x="56" y="8"/>
                    <a:pt x="56" y="8"/>
                    <a:pt x="56" y="8"/>
                  </a:cubicBezTo>
                  <a:cubicBezTo>
                    <a:pt x="56" y="8"/>
                    <a:pt x="55" y="9"/>
                    <a:pt x="55" y="9"/>
                  </a:cubicBezTo>
                  <a:cubicBezTo>
                    <a:pt x="54" y="10"/>
                    <a:pt x="54" y="10"/>
                    <a:pt x="54" y="11"/>
                  </a:cubicBezTo>
                  <a:cubicBezTo>
                    <a:pt x="54" y="13"/>
                    <a:pt x="54" y="13"/>
                    <a:pt x="54" y="13"/>
                  </a:cubicBezTo>
                  <a:cubicBezTo>
                    <a:pt x="53" y="15"/>
                    <a:pt x="52" y="16"/>
                    <a:pt x="51" y="17"/>
                  </a:cubicBezTo>
                  <a:cubicBezTo>
                    <a:pt x="43" y="26"/>
                    <a:pt x="43" y="26"/>
                    <a:pt x="43" y="26"/>
                  </a:cubicBezTo>
                  <a:cubicBezTo>
                    <a:pt x="45" y="15"/>
                    <a:pt x="45" y="15"/>
                    <a:pt x="45" y="15"/>
                  </a:cubicBezTo>
                  <a:cubicBezTo>
                    <a:pt x="45" y="15"/>
                    <a:pt x="45" y="15"/>
                    <a:pt x="45" y="15"/>
                  </a:cubicBezTo>
                  <a:cubicBezTo>
                    <a:pt x="45" y="14"/>
                    <a:pt x="45" y="13"/>
                    <a:pt x="44" y="12"/>
                  </a:cubicBezTo>
                  <a:cubicBezTo>
                    <a:pt x="44" y="11"/>
                    <a:pt x="44" y="11"/>
                    <a:pt x="44" y="11"/>
                  </a:cubicBezTo>
                  <a:cubicBezTo>
                    <a:pt x="44" y="11"/>
                    <a:pt x="44" y="11"/>
                    <a:pt x="44" y="11"/>
                  </a:cubicBezTo>
                  <a:cubicBezTo>
                    <a:pt x="43" y="11"/>
                    <a:pt x="42" y="10"/>
                    <a:pt x="41" y="10"/>
                  </a:cubicBezTo>
                  <a:cubicBezTo>
                    <a:pt x="41" y="10"/>
                    <a:pt x="41" y="9"/>
                    <a:pt x="40" y="9"/>
                  </a:cubicBezTo>
                  <a:cubicBezTo>
                    <a:pt x="37" y="8"/>
                    <a:pt x="35" y="7"/>
                    <a:pt x="34" y="5"/>
                  </a:cubicBezTo>
                  <a:cubicBezTo>
                    <a:pt x="34" y="4"/>
                    <a:pt x="34" y="4"/>
                    <a:pt x="34" y="3"/>
                  </a:cubicBezTo>
                  <a:cubicBezTo>
                    <a:pt x="33" y="4"/>
                    <a:pt x="32" y="6"/>
                    <a:pt x="31" y="7"/>
                  </a:cubicBezTo>
                  <a:cubicBezTo>
                    <a:pt x="30" y="10"/>
                    <a:pt x="29" y="11"/>
                    <a:pt x="28" y="13"/>
                  </a:cubicBezTo>
                  <a:cubicBezTo>
                    <a:pt x="26" y="14"/>
                    <a:pt x="26" y="14"/>
                    <a:pt x="26" y="14"/>
                  </a:cubicBezTo>
                  <a:cubicBezTo>
                    <a:pt x="26" y="15"/>
                    <a:pt x="25" y="16"/>
                    <a:pt x="23" y="16"/>
                  </a:cubicBezTo>
                  <a:cubicBezTo>
                    <a:pt x="21" y="16"/>
                    <a:pt x="21" y="16"/>
                    <a:pt x="21" y="16"/>
                  </a:cubicBezTo>
                  <a:cubicBezTo>
                    <a:pt x="21" y="16"/>
                    <a:pt x="20" y="16"/>
                    <a:pt x="20" y="15"/>
                  </a:cubicBezTo>
                  <a:cubicBezTo>
                    <a:pt x="18" y="15"/>
                    <a:pt x="17" y="15"/>
                    <a:pt x="16" y="15"/>
                  </a:cubicBezTo>
                  <a:cubicBezTo>
                    <a:pt x="15" y="15"/>
                    <a:pt x="15" y="15"/>
                    <a:pt x="15" y="15"/>
                  </a:cubicBezTo>
                  <a:cubicBezTo>
                    <a:pt x="13" y="16"/>
                    <a:pt x="10" y="16"/>
                    <a:pt x="7" y="16"/>
                  </a:cubicBezTo>
                  <a:cubicBezTo>
                    <a:pt x="6" y="16"/>
                    <a:pt x="6" y="16"/>
                    <a:pt x="6" y="16"/>
                  </a:cubicBezTo>
                  <a:cubicBezTo>
                    <a:pt x="6" y="16"/>
                    <a:pt x="5" y="16"/>
                    <a:pt x="4" y="16"/>
                  </a:cubicBezTo>
                  <a:cubicBezTo>
                    <a:pt x="4" y="17"/>
                    <a:pt x="3" y="17"/>
                    <a:pt x="3" y="17"/>
                  </a:cubicBezTo>
                  <a:cubicBezTo>
                    <a:pt x="2" y="18"/>
                    <a:pt x="2" y="18"/>
                    <a:pt x="2" y="18"/>
                  </a:cubicBezTo>
                  <a:cubicBezTo>
                    <a:pt x="7" y="24"/>
                    <a:pt x="7" y="24"/>
                    <a:pt x="7" y="24"/>
                  </a:cubicBezTo>
                  <a:cubicBezTo>
                    <a:pt x="7" y="24"/>
                    <a:pt x="7" y="24"/>
                    <a:pt x="7" y="24"/>
                  </a:cubicBezTo>
                  <a:cubicBezTo>
                    <a:pt x="8" y="25"/>
                    <a:pt x="10" y="26"/>
                    <a:pt x="10" y="28"/>
                  </a:cubicBezTo>
                  <a:cubicBezTo>
                    <a:pt x="10" y="29"/>
                    <a:pt x="10" y="30"/>
                    <a:pt x="9" y="31"/>
                  </a:cubicBezTo>
                  <a:cubicBezTo>
                    <a:pt x="9" y="32"/>
                    <a:pt x="9" y="32"/>
                    <a:pt x="9" y="32"/>
                  </a:cubicBezTo>
                  <a:cubicBezTo>
                    <a:pt x="9" y="33"/>
                    <a:pt x="9" y="34"/>
                    <a:pt x="8" y="34"/>
                  </a:cubicBezTo>
                  <a:cubicBezTo>
                    <a:pt x="7" y="36"/>
                    <a:pt x="4" y="37"/>
                    <a:pt x="0" y="38"/>
                  </a:cubicBezTo>
                  <a:cubicBezTo>
                    <a:pt x="9" y="49"/>
                    <a:pt x="9" y="49"/>
                    <a:pt x="9" y="49"/>
                  </a:cubicBezTo>
                  <a:cubicBezTo>
                    <a:pt x="6" y="51"/>
                    <a:pt x="6" y="51"/>
                    <a:pt x="6" y="51"/>
                  </a:cubicBezTo>
                  <a:cubicBezTo>
                    <a:pt x="5" y="52"/>
                    <a:pt x="3" y="55"/>
                    <a:pt x="3" y="56"/>
                  </a:cubicBezTo>
                  <a:cubicBezTo>
                    <a:pt x="3" y="57"/>
                    <a:pt x="4" y="57"/>
                    <a:pt x="4" y="57"/>
                  </a:cubicBezTo>
                  <a:cubicBezTo>
                    <a:pt x="24" y="65"/>
                    <a:pt x="24" y="65"/>
                    <a:pt x="24" y="65"/>
                  </a:cubicBezTo>
                  <a:cubicBezTo>
                    <a:pt x="22" y="68"/>
                    <a:pt x="22" y="68"/>
                    <a:pt x="22" y="68"/>
                  </a:cubicBezTo>
                  <a:cubicBezTo>
                    <a:pt x="22" y="69"/>
                    <a:pt x="21" y="71"/>
                    <a:pt x="20" y="72"/>
                  </a:cubicBezTo>
                  <a:cubicBezTo>
                    <a:pt x="20" y="73"/>
                    <a:pt x="20" y="74"/>
                    <a:pt x="19" y="75"/>
                  </a:cubicBezTo>
                  <a:cubicBezTo>
                    <a:pt x="23" y="74"/>
                    <a:pt x="28" y="73"/>
                    <a:pt x="30" y="71"/>
                  </a:cubicBezTo>
                  <a:cubicBezTo>
                    <a:pt x="33" y="67"/>
                    <a:pt x="37" y="63"/>
                    <a:pt x="41" y="59"/>
                  </a:cubicBezTo>
                  <a:cubicBezTo>
                    <a:pt x="41" y="58"/>
                    <a:pt x="42" y="58"/>
                    <a:pt x="42" y="58"/>
                  </a:cubicBezTo>
                  <a:cubicBezTo>
                    <a:pt x="46" y="58"/>
                    <a:pt x="54" y="60"/>
                    <a:pt x="55" y="61"/>
                  </a:cubicBezTo>
                  <a:cubicBezTo>
                    <a:pt x="60" y="62"/>
                    <a:pt x="65" y="64"/>
                    <a:pt x="70" y="66"/>
                  </a:cubicBezTo>
                  <a:cubicBezTo>
                    <a:pt x="74" y="68"/>
                    <a:pt x="79" y="70"/>
                    <a:pt x="80" y="75"/>
                  </a:cubicBezTo>
                  <a:cubicBezTo>
                    <a:pt x="80" y="81"/>
                    <a:pt x="82" y="86"/>
                    <a:pt x="84" y="92"/>
                  </a:cubicBezTo>
                  <a:cubicBezTo>
                    <a:pt x="85" y="94"/>
                    <a:pt x="85" y="96"/>
                    <a:pt x="86" y="98"/>
                  </a:cubicBezTo>
                  <a:cubicBezTo>
                    <a:pt x="86" y="98"/>
                    <a:pt x="84" y="98"/>
                    <a:pt x="85" y="99"/>
                  </a:cubicBezTo>
                  <a:cubicBezTo>
                    <a:pt x="85" y="100"/>
                    <a:pt x="87" y="100"/>
                    <a:pt x="88" y="100"/>
                  </a:cubicBezTo>
                  <a:cubicBezTo>
                    <a:pt x="88" y="100"/>
                    <a:pt x="89" y="100"/>
                    <a:pt x="89" y="100"/>
                  </a:cubicBezTo>
                  <a:cubicBezTo>
                    <a:pt x="89" y="100"/>
                    <a:pt x="90" y="100"/>
                    <a:pt x="90" y="100"/>
                  </a:cubicBezTo>
                  <a:cubicBezTo>
                    <a:pt x="90" y="100"/>
                    <a:pt x="90" y="100"/>
                    <a:pt x="90" y="100"/>
                  </a:cubicBezTo>
                  <a:cubicBezTo>
                    <a:pt x="92" y="100"/>
                    <a:pt x="96" y="106"/>
                    <a:pt x="97" y="108"/>
                  </a:cubicBezTo>
                  <a:cubicBezTo>
                    <a:pt x="98" y="109"/>
                    <a:pt x="101" y="112"/>
                    <a:pt x="101" y="114"/>
                  </a:cubicBezTo>
                  <a:cubicBezTo>
                    <a:pt x="100" y="114"/>
                    <a:pt x="100" y="114"/>
                    <a:pt x="100" y="114"/>
                  </a:cubicBezTo>
                  <a:cubicBezTo>
                    <a:pt x="100" y="114"/>
                    <a:pt x="99" y="114"/>
                    <a:pt x="99" y="115"/>
                  </a:cubicBezTo>
                  <a:cubicBezTo>
                    <a:pt x="100" y="115"/>
                    <a:pt x="102" y="115"/>
                    <a:pt x="103" y="115"/>
                  </a:cubicBezTo>
                  <a:cubicBezTo>
                    <a:pt x="103" y="115"/>
                    <a:pt x="103" y="115"/>
                    <a:pt x="104" y="115"/>
                  </a:cubicBezTo>
                  <a:cubicBezTo>
                    <a:pt x="104" y="115"/>
                    <a:pt x="104" y="115"/>
                    <a:pt x="104" y="115"/>
                  </a:cubicBezTo>
                  <a:cubicBezTo>
                    <a:pt x="104" y="115"/>
                    <a:pt x="105" y="115"/>
                    <a:pt x="105" y="115"/>
                  </a:cubicBezTo>
                  <a:cubicBezTo>
                    <a:pt x="110" y="116"/>
                    <a:pt x="114" y="122"/>
                    <a:pt x="118" y="125"/>
                  </a:cubicBezTo>
                  <a:cubicBezTo>
                    <a:pt x="121" y="128"/>
                    <a:pt x="124" y="130"/>
                    <a:pt x="126" y="132"/>
                  </a:cubicBezTo>
                  <a:cubicBezTo>
                    <a:pt x="130" y="135"/>
                    <a:pt x="130" y="135"/>
                    <a:pt x="130" y="135"/>
                  </a:cubicBezTo>
                  <a:cubicBezTo>
                    <a:pt x="133" y="137"/>
                    <a:pt x="135" y="140"/>
                    <a:pt x="138" y="142"/>
                  </a:cubicBezTo>
                  <a:cubicBezTo>
                    <a:pt x="140" y="144"/>
                    <a:pt x="142" y="145"/>
                    <a:pt x="144" y="146"/>
                  </a:cubicBezTo>
                  <a:cubicBezTo>
                    <a:pt x="145" y="148"/>
                    <a:pt x="145" y="148"/>
                    <a:pt x="145" y="148"/>
                  </a:cubicBezTo>
                  <a:cubicBezTo>
                    <a:pt x="146" y="148"/>
                    <a:pt x="147" y="149"/>
                    <a:pt x="148" y="149"/>
                  </a:cubicBezTo>
                  <a:cubicBezTo>
                    <a:pt x="150" y="149"/>
                    <a:pt x="151" y="148"/>
                    <a:pt x="153" y="148"/>
                  </a:cubicBezTo>
                  <a:cubicBezTo>
                    <a:pt x="155" y="148"/>
                    <a:pt x="156" y="147"/>
                    <a:pt x="158" y="147"/>
                  </a:cubicBezTo>
                  <a:cubicBezTo>
                    <a:pt x="160" y="147"/>
                    <a:pt x="162" y="148"/>
                    <a:pt x="163" y="150"/>
                  </a:cubicBezTo>
                  <a:cubicBezTo>
                    <a:pt x="165" y="153"/>
                    <a:pt x="167" y="156"/>
                    <a:pt x="170" y="157"/>
                  </a:cubicBezTo>
                  <a:cubicBezTo>
                    <a:pt x="173" y="159"/>
                    <a:pt x="175" y="160"/>
                    <a:pt x="178" y="161"/>
                  </a:cubicBezTo>
                  <a:cubicBezTo>
                    <a:pt x="177" y="163"/>
                    <a:pt x="176" y="164"/>
                    <a:pt x="175" y="166"/>
                  </a:cubicBezTo>
                  <a:cubicBezTo>
                    <a:pt x="178" y="165"/>
                    <a:pt x="181" y="165"/>
                    <a:pt x="184" y="164"/>
                  </a:cubicBezTo>
                  <a:cubicBezTo>
                    <a:pt x="184" y="164"/>
                    <a:pt x="185" y="163"/>
                    <a:pt x="185" y="163"/>
                  </a:cubicBezTo>
                  <a:cubicBezTo>
                    <a:pt x="185" y="163"/>
                    <a:pt x="186" y="163"/>
                    <a:pt x="186" y="163"/>
                  </a:cubicBezTo>
                  <a:cubicBezTo>
                    <a:pt x="188" y="164"/>
                    <a:pt x="191" y="171"/>
                    <a:pt x="191" y="172"/>
                  </a:cubicBezTo>
                  <a:cubicBezTo>
                    <a:pt x="191" y="173"/>
                    <a:pt x="190" y="174"/>
                    <a:pt x="190" y="174"/>
                  </a:cubicBezTo>
                  <a:cubicBezTo>
                    <a:pt x="189" y="176"/>
                    <a:pt x="189" y="175"/>
                    <a:pt x="192" y="177"/>
                  </a:cubicBezTo>
                  <a:cubicBezTo>
                    <a:pt x="194" y="179"/>
                    <a:pt x="197" y="182"/>
                    <a:pt x="200" y="182"/>
                  </a:cubicBezTo>
                  <a:cubicBezTo>
                    <a:pt x="200" y="182"/>
                    <a:pt x="201" y="182"/>
                    <a:pt x="201" y="182"/>
                  </a:cubicBezTo>
                  <a:cubicBezTo>
                    <a:pt x="203" y="182"/>
                    <a:pt x="204" y="181"/>
                    <a:pt x="205" y="181"/>
                  </a:cubicBezTo>
                  <a:cubicBezTo>
                    <a:pt x="207" y="181"/>
                    <a:pt x="208" y="182"/>
                    <a:pt x="209" y="184"/>
                  </a:cubicBezTo>
                  <a:cubicBezTo>
                    <a:pt x="210" y="187"/>
                    <a:pt x="211" y="190"/>
                    <a:pt x="211" y="192"/>
                  </a:cubicBezTo>
                  <a:cubicBezTo>
                    <a:pt x="214" y="198"/>
                    <a:pt x="215" y="205"/>
                    <a:pt x="218" y="211"/>
                  </a:cubicBezTo>
                  <a:cubicBezTo>
                    <a:pt x="219" y="212"/>
                    <a:pt x="220" y="211"/>
                    <a:pt x="220" y="213"/>
                  </a:cubicBezTo>
                  <a:cubicBezTo>
                    <a:pt x="220" y="216"/>
                    <a:pt x="217" y="216"/>
                    <a:pt x="215" y="217"/>
                  </a:cubicBezTo>
                  <a:cubicBezTo>
                    <a:pt x="214" y="218"/>
                    <a:pt x="212" y="218"/>
                    <a:pt x="212" y="219"/>
                  </a:cubicBezTo>
                  <a:cubicBezTo>
                    <a:pt x="212" y="219"/>
                    <a:pt x="211" y="219"/>
                    <a:pt x="211" y="220"/>
                  </a:cubicBezTo>
                  <a:cubicBezTo>
                    <a:pt x="211" y="221"/>
                    <a:pt x="213" y="222"/>
                    <a:pt x="213" y="223"/>
                  </a:cubicBezTo>
                  <a:cubicBezTo>
                    <a:pt x="213" y="224"/>
                    <a:pt x="211" y="226"/>
                    <a:pt x="210" y="227"/>
                  </a:cubicBezTo>
                  <a:cubicBezTo>
                    <a:pt x="208" y="230"/>
                    <a:pt x="203" y="238"/>
                    <a:pt x="210" y="239"/>
                  </a:cubicBezTo>
                  <a:cubicBezTo>
                    <a:pt x="210" y="240"/>
                    <a:pt x="211" y="240"/>
                    <a:pt x="213" y="240"/>
                  </a:cubicBezTo>
                  <a:cubicBezTo>
                    <a:pt x="214" y="240"/>
                    <a:pt x="215" y="240"/>
                    <a:pt x="216" y="239"/>
                  </a:cubicBezTo>
                  <a:cubicBezTo>
                    <a:pt x="218" y="239"/>
                    <a:pt x="220" y="235"/>
                    <a:pt x="221" y="233"/>
                  </a:cubicBezTo>
                  <a:cubicBezTo>
                    <a:pt x="223" y="231"/>
                    <a:pt x="228" y="227"/>
                    <a:pt x="228" y="225"/>
                  </a:cubicBezTo>
                  <a:cubicBezTo>
                    <a:pt x="229" y="223"/>
                    <a:pt x="227" y="219"/>
                    <a:pt x="227" y="218"/>
                  </a:cubicBezTo>
                  <a:cubicBezTo>
                    <a:pt x="228" y="215"/>
                    <a:pt x="233" y="212"/>
                    <a:pt x="236" y="212"/>
                  </a:cubicBezTo>
                  <a:cubicBezTo>
                    <a:pt x="237" y="212"/>
                    <a:pt x="237" y="212"/>
                    <a:pt x="237" y="212"/>
                  </a:cubicBezTo>
                  <a:cubicBezTo>
                    <a:pt x="238" y="212"/>
                    <a:pt x="240" y="212"/>
                    <a:pt x="241" y="213"/>
                  </a:cubicBezTo>
                  <a:cubicBezTo>
                    <a:pt x="241" y="212"/>
                    <a:pt x="241" y="212"/>
                    <a:pt x="241" y="212"/>
                  </a:cubicBezTo>
                  <a:cubicBezTo>
                    <a:pt x="244" y="210"/>
                    <a:pt x="242" y="205"/>
                    <a:pt x="242" y="202"/>
                  </a:cubicBezTo>
                  <a:cubicBezTo>
                    <a:pt x="241" y="198"/>
                    <a:pt x="238" y="196"/>
                    <a:pt x="234" y="194"/>
                  </a:cubicBezTo>
                  <a:cubicBezTo>
                    <a:pt x="233" y="194"/>
                    <a:pt x="233" y="193"/>
                    <a:pt x="232" y="193"/>
                  </a:cubicBezTo>
                  <a:cubicBezTo>
                    <a:pt x="232" y="193"/>
                    <a:pt x="231" y="193"/>
                    <a:pt x="231" y="193"/>
                  </a:cubicBezTo>
                  <a:cubicBezTo>
                    <a:pt x="231" y="193"/>
                    <a:pt x="231" y="193"/>
                    <a:pt x="230" y="193"/>
                  </a:cubicBezTo>
                  <a:cubicBezTo>
                    <a:pt x="230" y="193"/>
                    <a:pt x="230" y="193"/>
                    <a:pt x="230" y="193"/>
                  </a:cubicBezTo>
                  <a:cubicBezTo>
                    <a:pt x="229" y="193"/>
                    <a:pt x="229" y="193"/>
                    <a:pt x="229" y="192"/>
                  </a:cubicBezTo>
                  <a:cubicBezTo>
                    <a:pt x="226" y="191"/>
                    <a:pt x="228" y="189"/>
                    <a:pt x="228" y="186"/>
                  </a:cubicBezTo>
                  <a:cubicBezTo>
                    <a:pt x="230" y="179"/>
                    <a:pt x="232" y="174"/>
                    <a:pt x="238" y="169"/>
                  </a:cubicBezTo>
                  <a:cubicBezTo>
                    <a:pt x="238" y="168"/>
                    <a:pt x="240" y="168"/>
                    <a:pt x="241" y="168"/>
                  </a:cubicBezTo>
                  <a:cubicBezTo>
                    <a:pt x="244" y="168"/>
                    <a:pt x="246" y="169"/>
                    <a:pt x="243" y="171"/>
                  </a:cubicBezTo>
                  <a:cubicBezTo>
                    <a:pt x="246" y="172"/>
                    <a:pt x="250" y="172"/>
                    <a:pt x="253" y="173"/>
                  </a:cubicBezTo>
                  <a:cubicBezTo>
                    <a:pt x="257" y="174"/>
                    <a:pt x="257" y="176"/>
                    <a:pt x="260" y="179"/>
                  </a:cubicBezTo>
                  <a:cubicBezTo>
                    <a:pt x="263" y="184"/>
                    <a:pt x="265" y="185"/>
                    <a:pt x="271" y="188"/>
                  </a:cubicBezTo>
                  <a:cubicBezTo>
                    <a:pt x="271" y="184"/>
                    <a:pt x="272" y="183"/>
                    <a:pt x="273" y="181"/>
                  </a:cubicBezTo>
                  <a:cubicBezTo>
                    <a:pt x="275" y="176"/>
                    <a:pt x="267" y="171"/>
                    <a:pt x="264" y="168"/>
                  </a:cubicBezTo>
                  <a:cubicBezTo>
                    <a:pt x="260" y="164"/>
                    <a:pt x="254" y="162"/>
                    <a:pt x="250" y="159"/>
                  </a:cubicBezTo>
                  <a:cubicBezTo>
                    <a:pt x="247" y="157"/>
                    <a:pt x="243" y="155"/>
                    <a:pt x="239" y="154"/>
                  </a:cubicBezTo>
                  <a:cubicBezTo>
                    <a:pt x="229" y="149"/>
                    <a:pt x="219" y="146"/>
                    <a:pt x="213" y="137"/>
                  </a:cubicBezTo>
                  <a:cubicBezTo>
                    <a:pt x="215" y="136"/>
                    <a:pt x="219" y="133"/>
                    <a:pt x="219" y="131"/>
                  </a:cubicBezTo>
                  <a:cubicBezTo>
                    <a:pt x="219" y="130"/>
                    <a:pt x="219" y="129"/>
                    <a:pt x="218" y="129"/>
                  </a:cubicBezTo>
                  <a:cubicBezTo>
                    <a:pt x="210" y="129"/>
                    <a:pt x="202" y="128"/>
                    <a:pt x="195" y="128"/>
                  </a:cubicBezTo>
                  <a:cubicBezTo>
                    <a:pt x="192" y="128"/>
                    <a:pt x="188" y="125"/>
                    <a:pt x="186" y="124"/>
                  </a:cubicBezTo>
                  <a:cubicBezTo>
                    <a:pt x="183" y="122"/>
                    <a:pt x="180" y="119"/>
                    <a:pt x="177" y="117"/>
                  </a:cubicBezTo>
                  <a:cubicBezTo>
                    <a:pt x="172" y="112"/>
                    <a:pt x="169" y="108"/>
                    <a:pt x="166" y="101"/>
                  </a:cubicBezTo>
                  <a:cubicBezTo>
                    <a:pt x="163" y="97"/>
                    <a:pt x="163" y="88"/>
                    <a:pt x="159" y="85"/>
                  </a:cubicBezTo>
                  <a:cubicBezTo>
                    <a:pt x="153" y="80"/>
                    <a:pt x="148" y="76"/>
                    <a:pt x="141" y="72"/>
                  </a:cubicBezTo>
                  <a:cubicBezTo>
                    <a:pt x="136" y="68"/>
                    <a:pt x="130" y="65"/>
                    <a:pt x="129" y="58"/>
                  </a:cubicBezTo>
                  <a:cubicBezTo>
                    <a:pt x="128" y="54"/>
                    <a:pt x="127" y="49"/>
                    <a:pt x="127" y="46"/>
                  </a:cubicBezTo>
                  <a:cubicBezTo>
                    <a:pt x="128" y="46"/>
                    <a:pt x="128" y="46"/>
                    <a:pt x="129" y="46"/>
                  </a:cubicBezTo>
                  <a:cubicBezTo>
                    <a:pt x="131" y="46"/>
                    <a:pt x="132" y="45"/>
                    <a:pt x="132" y="43"/>
                  </a:cubicBezTo>
                  <a:cubicBezTo>
                    <a:pt x="133" y="41"/>
                    <a:pt x="132" y="40"/>
                    <a:pt x="130" y="38"/>
                  </a:cubicBezTo>
                  <a:cubicBezTo>
                    <a:pt x="129" y="37"/>
                    <a:pt x="124" y="33"/>
                    <a:pt x="124" y="31"/>
                  </a:cubicBezTo>
                  <a:cubicBezTo>
                    <a:pt x="124" y="30"/>
                    <a:pt x="126" y="27"/>
                    <a:pt x="127" y="27"/>
                  </a:cubicBezTo>
                  <a:cubicBezTo>
                    <a:pt x="128" y="26"/>
                    <a:pt x="130" y="25"/>
                    <a:pt x="131" y="24"/>
                  </a:cubicBezTo>
                  <a:cubicBezTo>
                    <a:pt x="131" y="25"/>
                    <a:pt x="131" y="27"/>
                    <a:pt x="130" y="28"/>
                  </a:cubicBezTo>
                  <a:cubicBezTo>
                    <a:pt x="133" y="27"/>
                    <a:pt x="135" y="26"/>
                    <a:pt x="138" y="25"/>
                  </a:cubicBezTo>
                  <a:cubicBezTo>
                    <a:pt x="140" y="24"/>
                    <a:pt x="145" y="23"/>
                    <a:pt x="146" y="21"/>
                  </a:cubicBezTo>
                  <a:cubicBezTo>
                    <a:pt x="148" y="19"/>
                    <a:pt x="146" y="19"/>
                    <a:pt x="148" y="18"/>
                  </a:cubicBezTo>
                  <a:cubicBezTo>
                    <a:pt x="149" y="18"/>
                    <a:pt x="149" y="18"/>
                    <a:pt x="149" y="18"/>
                  </a:cubicBezTo>
                  <a:cubicBezTo>
                    <a:pt x="150" y="18"/>
                    <a:pt x="151" y="18"/>
                    <a:pt x="152" y="18"/>
                  </a:cubicBezTo>
                  <a:cubicBezTo>
                    <a:pt x="152" y="18"/>
                    <a:pt x="153" y="19"/>
                    <a:pt x="154" y="19"/>
                  </a:cubicBezTo>
                  <a:cubicBezTo>
                    <a:pt x="154" y="19"/>
                    <a:pt x="155" y="19"/>
                    <a:pt x="156" y="18"/>
                  </a:cubicBezTo>
                  <a:cubicBezTo>
                    <a:pt x="156" y="18"/>
                    <a:pt x="156" y="18"/>
                    <a:pt x="156" y="18"/>
                  </a:cubicBezTo>
                  <a:cubicBezTo>
                    <a:pt x="156" y="18"/>
                    <a:pt x="156" y="18"/>
                    <a:pt x="156" y="18"/>
                  </a:cubicBezTo>
                  <a:cubicBezTo>
                    <a:pt x="156" y="17"/>
                    <a:pt x="156" y="17"/>
                    <a:pt x="156" y="17"/>
                  </a:cubicBezTo>
                  <a:cubicBezTo>
                    <a:pt x="155" y="16"/>
                    <a:pt x="155" y="15"/>
                    <a:pt x="156" y="14"/>
                  </a:cubicBezTo>
                  <a:cubicBezTo>
                    <a:pt x="156" y="13"/>
                    <a:pt x="156" y="13"/>
                    <a:pt x="156" y="13"/>
                  </a:cubicBezTo>
                  <a:cubicBezTo>
                    <a:pt x="156" y="13"/>
                    <a:pt x="155" y="12"/>
                    <a:pt x="154" y="12"/>
                  </a:cubicBezTo>
                  <a:cubicBezTo>
                    <a:pt x="150" y="9"/>
                    <a:pt x="150" y="9"/>
                    <a:pt x="150" y="9"/>
                  </a:cubicBezTo>
                  <a:cubicBezTo>
                    <a:pt x="155" y="7"/>
                    <a:pt x="155" y="7"/>
                    <a:pt x="155" y="7"/>
                  </a:cubicBezTo>
                  <a:cubicBezTo>
                    <a:pt x="155" y="6"/>
                    <a:pt x="155" y="6"/>
                    <a:pt x="155" y="6"/>
                  </a:cubicBezTo>
                  <a:cubicBezTo>
                    <a:pt x="155" y="6"/>
                    <a:pt x="155" y="6"/>
                    <a:pt x="155" y="6"/>
                  </a:cubicBezTo>
                  <a:cubicBezTo>
                    <a:pt x="148" y="2"/>
                    <a:pt x="148" y="2"/>
                    <a:pt x="148" y="2"/>
                  </a:cubicBezTo>
                  <a:cubicBezTo>
                    <a:pt x="152" y="0"/>
                    <a:pt x="152" y="0"/>
                    <a:pt x="152" y="0"/>
                  </a:cubicBezTo>
                  <a:cubicBezTo>
                    <a:pt x="152" y="0"/>
                    <a:pt x="152" y="0"/>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 name="Freeform 253">
              <a:extLst>
                <a:ext uri="{FF2B5EF4-FFF2-40B4-BE49-F238E27FC236}">
                  <a16:creationId xmlns:a16="http://schemas.microsoft.com/office/drawing/2014/main" id="{08CFEDC1-5B06-42E8-B03E-9FA987A273AE}"/>
                </a:ext>
              </a:extLst>
            </p:cNvPr>
            <p:cNvSpPr>
              <a:spLocks/>
            </p:cNvSpPr>
            <p:nvPr/>
          </p:nvSpPr>
          <p:spPr bwMode="auto">
            <a:xfrm>
              <a:off x="4419" y="-27"/>
              <a:ext cx="128" cy="57"/>
            </a:xfrm>
            <a:custGeom>
              <a:avLst/>
              <a:gdLst>
                <a:gd name="T0" fmla="*/ 28 w 54"/>
                <a:gd name="T1" fmla="*/ 0 h 24"/>
                <a:gd name="T2" fmla="*/ 22 w 54"/>
                <a:gd name="T3" fmla="*/ 3 h 24"/>
                <a:gd name="T4" fmla="*/ 18 w 54"/>
                <a:gd name="T5" fmla="*/ 1 h 24"/>
                <a:gd name="T6" fmla="*/ 17 w 54"/>
                <a:gd name="T7" fmla="*/ 1 h 24"/>
                <a:gd name="T8" fmla="*/ 15 w 54"/>
                <a:gd name="T9" fmla="*/ 1 h 24"/>
                <a:gd name="T10" fmla="*/ 12 w 54"/>
                <a:gd name="T11" fmla="*/ 1 h 24"/>
                <a:gd name="T12" fmla="*/ 9 w 54"/>
                <a:gd name="T13" fmla="*/ 0 h 24"/>
                <a:gd name="T14" fmla="*/ 3 w 54"/>
                <a:gd name="T15" fmla="*/ 0 h 24"/>
                <a:gd name="T16" fmla="*/ 2 w 54"/>
                <a:gd name="T17" fmla="*/ 3 h 24"/>
                <a:gd name="T18" fmla="*/ 3 w 54"/>
                <a:gd name="T19" fmla="*/ 8 h 24"/>
                <a:gd name="T20" fmla="*/ 2 w 54"/>
                <a:gd name="T21" fmla="*/ 9 h 24"/>
                <a:gd name="T22" fmla="*/ 2 w 54"/>
                <a:gd name="T23" fmla="*/ 11 h 24"/>
                <a:gd name="T24" fmla="*/ 2 w 54"/>
                <a:gd name="T25" fmla="*/ 15 h 24"/>
                <a:gd name="T26" fmla="*/ 4 w 54"/>
                <a:gd name="T27" fmla="*/ 16 h 24"/>
                <a:gd name="T28" fmla="*/ 8 w 54"/>
                <a:gd name="T29" fmla="*/ 19 h 24"/>
                <a:gd name="T30" fmla="*/ 9 w 54"/>
                <a:gd name="T31" fmla="*/ 23 h 24"/>
                <a:gd name="T32" fmla="*/ 11 w 54"/>
                <a:gd name="T33" fmla="*/ 23 h 24"/>
                <a:gd name="T34" fmla="*/ 19 w 54"/>
                <a:gd name="T35" fmla="*/ 19 h 24"/>
                <a:gd name="T36" fmla="*/ 24 w 54"/>
                <a:gd name="T37" fmla="*/ 19 h 24"/>
                <a:gd name="T38" fmla="*/ 26 w 54"/>
                <a:gd name="T39" fmla="*/ 20 h 24"/>
                <a:gd name="T40" fmla="*/ 30 w 54"/>
                <a:gd name="T41" fmla="*/ 23 h 24"/>
                <a:gd name="T42" fmla="*/ 31 w 54"/>
                <a:gd name="T43" fmla="*/ 23 h 24"/>
                <a:gd name="T44" fmla="*/ 33 w 54"/>
                <a:gd name="T45" fmla="*/ 23 h 24"/>
                <a:gd name="T46" fmla="*/ 36 w 54"/>
                <a:gd name="T47" fmla="*/ 24 h 24"/>
                <a:gd name="T48" fmla="*/ 37 w 54"/>
                <a:gd name="T49" fmla="*/ 22 h 24"/>
                <a:gd name="T50" fmla="*/ 37 w 54"/>
                <a:gd name="T51" fmla="*/ 17 h 24"/>
                <a:gd name="T52" fmla="*/ 45 w 54"/>
                <a:gd name="T53" fmla="*/ 12 h 24"/>
                <a:gd name="T54" fmla="*/ 44 w 54"/>
                <a:gd name="T55" fmla="*/ 8 h 24"/>
                <a:gd name="T56" fmla="*/ 45 w 54"/>
                <a:gd name="T57" fmla="*/ 3 h 24"/>
                <a:gd name="T58" fmla="*/ 48 w 54"/>
                <a:gd name="T59" fmla="*/ 2 h 24"/>
                <a:gd name="T60" fmla="*/ 51 w 54"/>
                <a:gd name="T61" fmla="*/ 1 h 24"/>
                <a:gd name="T62" fmla="*/ 53 w 54"/>
                <a:gd name="T63" fmla="*/ 0 h 24"/>
                <a:gd name="T64" fmla="*/ 54 w 54"/>
                <a:gd name="T6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24">
                  <a:moveTo>
                    <a:pt x="54" y="0"/>
                  </a:moveTo>
                  <a:cubicBezTo>
                    <a:pt x="28" y="0"/>
                    <a:pt x="28" y="0"/>
                    <a:pt x="28" y="0"/>
                  </a:cubicBezTo>
                  <a:cubicBezTo>
                    <a:pt x="25" y="1"/>
                    <a:pt x="23" y="2"/>
                    <a:pt x="22" y="3"/>
                  </a:cubicBezTo>
                  <a:cubicBezTo>
                    <a:pt x="22" y="3"/>
                    <a:pt x="22" y="3"/>
                    <a:pt x="22" y="3"/>
                  </a:cubicBezTo>
                  <a:cubicBezTo>
                    <a:pt x="21" y="2"/>
                    <a:pt x="21" y="2"/>
                    <a:pt x="21" y="2"/>
                  </a:cubicBezTo>
                  <a:cubicBezTo>
                    <a:pt x="20" y="2"/>
                    <a:pt x="19" y="2"/>
                    <a:pt x="18" y="1"/>
                  </a:cubicBezTo>
                  <a:cubicBezTo>
                    <a:pt x="17" y="1"/>
                    <a:pt x="17" y="1"/>
                    <a:pt x="17" y="1"/>
                  </a:cubicBezTo>
                  <a:cubicBezTo>
                    <a:pt x="17" y="1"/>
                    <a:pt x="17" y="1"/>
                    <a:pt x="17" y="1"/>
                  </a:cubicBezTo>
                  <a:cubicBezTo>
                    <a:pt x="17" y="1"/>
                    <a:pt x="16" y="1"/>
                    <a:pt x="16" y="1"/>
                  </a:cubicBezTo>
                  <a:cubicBezTo>
                    <a:pt x="16" y="1"/>
                    <a:pt x="15" y="1"/>
                    <a:pt x="15" y="1"/>
                  </a:cubicBezTo>
                  <a:cubicBezTo>
                    <a:pt x="15" y="1"/>
                    <a:pt x="15" y="1"/>
                    <a:pt x="15" y="1"/>
                  </a:cubicBezTo>
                  <a:cubicBezTo>
                    <a:pt x="14" y="1"/>
                    <a:pt x="13" y="1"/>
                    <a:pt x="12" y="1"/>
                  </a:cubicBezTo>
                  <a:cubicBezTo>
                    <a:pt x="12" y="1"/>
                    <a:pt x="11" y="0"/>
                    <a:pt x="10" y="0"/>
                  </a:cubicBezTo>
                  <a:cubicBezTo>
                    <a:pt x="9" y="0"/>
                    <a:pt x="9" y="0"/>
                    <a:pt x="9" y="0"/>
                  </a:cubicBezTo>
                  <a:cubicBezTo>
                    <a:pt x="8" y="0"/>
                    <a:pt x="8" y="0"/>
                    <a:pt x="8" y="0"/>
                  </a:cubicBezTo>
                  <a:cubicBezTo>
                    <a:pt x="3" y="0"/>
                    <a:pt x="3" y="0"/>
                    <a:pt x="3" y="0"/>
                  </a:cubicBezTo>
                  <a:cubicBezTo>
                    <a:pt x="3" y="1"/>
                    <a:pt x="2" y="1"/>
                    <a:pt x="0" y="2"/>
                  </a:cubicBezTo>
                  <a:cubicBezTo>
                    <a:pt x="1" y="3"/>
                    <a:pt x="2" y="3"/>
                    <a:pt x="2" y="3"/>
                  </a:cubicBezTo>
                  <a:cubicBezTo>
                    <a:pt x="6" y="5"/>
                    <a:pt x="6" y="5"/>
                    <a:pt x="6" y="5"/>
                  </a:cubicBezTo>
                  <a:cubicBezTo>
                    <a:pt x="3" y="8"/>
                    <a:pt x="3" y="8"/>
                    <a:pt x="3" y="8"/>
                  </a:cubicBezTo>
                  <a:cubicBezTo>
                    <a:pt x="2" y="8"/>
                    <a:pt x="2" y="8"/>
                    <a:pt x="2" y="8"/>
                  </a:cubicBezTo>
                  <a:cubicBezTo>
                    <a:pt x="2" y="9"/>
                    <a:pt x="2" y="9"/>
                    <a:pt x="2" y="9"/>
                  </a:cubicBezTo>
                  <a:cubicBezTo>
                    <a:pt x="1" y="9"/>
                    <a:pt x="1" y="9"/>
                    <a:pt x="1" y="9"/>
                  </a:cubicBezTo>
                  <a:cubicBezTo>
                    <a:pt x="2" y="10"/>
                    <a:pt x="2" y="10"/>
                    <a:pt x="2" y="11"/>
                  </a:cubicBezTo>
                  <a:cubicBezTo>
                    <a:pt x="2" y="12"/>
                    <a:pt x="3" y="13"/>
                    <a:pt x="2" y="14"/>
                  </a:cubicBezTo>
                  <a:cubicBezTo>
                    <a:pt x="2" y="15"/>
                    <a:pt x="2" y="15"/>
                    <a:pt x="2" y="15"/>
                  </a:cubicBezTo>
                  <a:cubicBezTo>
                    <a:pt x="2" y="15"/>
                    <a:pt x="2" y="15"/>
                    <a:pt x="2" y="15"/>
                  </a:cubicBezTo>
                  <a:cubicBezTo>
                    <a:pt x="3" y="15"/>
                    <a:pt x="4" y="15"/>
                    <a:pt x="4" y="16"/>
                  </a:cubicBezTo>
                  <a:cubicBezTo>
                    <a:pt x="5" y="16"/>
                    <a:pt x="6" y="17"/>
                    <a:pt x="7" y="18"/>
                  </a:cubicBezTo>
                  <a:cubicBezTo>
                    <a:pt x="8" y="19"/>
                    <a:pt x="8" y="19"/>
                    <a:pt x="8" y="19"/>
                  </a:cubicBezTo>
                  <a:cubicBezTo>
                    <a:pt x="8" y="19"/>
                    <a:pt x="8" y="19"/>
                    <a:pt x="8" y="20"/>
                  </a:cubicBezTo>
                  <a:cubicBezTo>
                    <a:pt x="9" y="20"/>
                    <a:pt x="9" y="22"/>
                    <a:pt x="9" y="23"/>
                  </a:cubicBezTo>
                  <a:cubicBezTo>
                    <a:pt x="9" y="23"/>
                    <a:pt x="9" y="23"/>
                    <a:pt x="9" y="23"/>
                  </a:cubicBezTo>
                  <a:cubicBezTo>
                    <a:pt x="10" y="23"/>
                    <a:pt x="10" y="23"/>
                    <a:pt x="11" y="23"/>
                  </a:cubicBezTo>
                  <a:cubicBezTo>
                    <a:pt x="11" y="23"/>
                    <a:pt x="12" y="23"/>
                    <a:pt x="12" y="23"/>
                  </a:cubicBezTo>
                  <a:cubicBezTo>
                    <a:pt x="15" y="23"/>
                    <a:pt x="18" y="21"/>
                    <a:pt x="19" y="19"/>
                  </a:cubicBezTo>
                  <a:cubicBezTo>
                    <a:pt x="21" y="16"/>
                    <a:pt x="21" y="16"/>
                    <a:pt x="21" y="16"/>
                  </a:cubicBezTo>
                  <a:cubicBezTo>
                    <a:pt x="24" y="19"/>
                    <a:pt x="24" y="19"/>
                    <a:pt x="24" y="19"/>
                  </a:cubicBezTo>
                  <a:cubicBezTo>
                    <a:pt x="25" y="19"/>
                    <a:pt x="25" y="20"/>
                    <a:pt x="25" y="20"/>
                  </a:cubicBezTo>
                  <a:cubicBezTo>
                    <a:pt x="26" y="20"/>
                    <a:pt x="26" y="20"/>
                    <a:pt x="26" y="20"/>
                  </a:cubicBezTo>
                  <a:cubicBezTo>
                    <a:pt x="26" y="21"/>
                    <a:pt x="27" y="22"/>
                    <a:pt x="28" y="23"/>
                  </a:cubicBezTo>
                  <a:cubicBezTo>
                    <a:pt x="29" y="23"/>
                    <a:pt x="29" y="23"/>
                    <a:pt x="30" y="23"/>
                  </a:cubicBezTo>
                  <a:cubicBezTo>
                    <a:pt x="30" y="23"/>
                    <a:pt x="30" y="23"/>
                    <a:pt x="30" y="23"/>
                  </a:cubicBezTo>
                  <a:cubicBezTo>
                    <a:pt x="31" y="23"/>
                    <a:pt x="31" y="23"/>
                    <a:pt x="31" y="23"/>
                  </a:cubicBezTo>
                  <a:cubicBezTo>
                    <a:pt x="31" y="23"/>
                    <a:pt x="32" y="23"/>
                    <a:pt x="32" y="23"/>
                  </a:cubicBezTo>
                  <a:cubicBezTo>
                    <a:pt x="33" y="23"/>
                    <a:pt x="33" y="23"/>
                    <a:pt x="33" y="23"/>
                  </a:cubicBezTo>
                  <a:cubicBezTo>
                    <a:pt x="34" y="23"/>
                    <a:pt x="35" y="23"/>
                    <a:pt x="36" y="24"/>
                  </a:cubicBezTo>
                  <a:cubicBezTo>
                    <a:pt x="36" y="24"/>
                    <a:pt x="36" y="24"/>
                    <a:pt x="36" y="24"/>
                  </a:cubicBezTo>
                  <a:cubicBezTo>
                    <a:pt x="36" y="23"/>
                    <a:pt x="36" y="23"/>
                    <a:pt x="36" y="23"/>
                  </a:cubicBezTo>
                  <a:cubicBezTo>
                    <a:pt x="37" y="22"/>
                    <a:pt x="37" y="22"/>
                    <a:pt x="37" y="22"/>
                  </a:cubicBezTo>
                  <a:cubicBezTo>
                    <a:pt x="33" y="20"/>
                    <a:pt x="33" y="20"/>
                    <a:pt x="33" y="20"/>
                  </a:cubicBezTo>
                  <a:cubicBezTo>
                    <a:pt x="37" y="17"/>
                    <a:pt x="37" y="17"/>
                    <a:pt x="37" y="17"/>
                  </a:cubicBezTo>
                  <a:cubicBezTo>
                    <a:pt x="38" y="16"/>
                    <a:pt x="39" y="15"/>
                    <a:pt x="41" y="14"/>
                  </a:cubicBezTo>
                  <a:cubicBezTo>
                    <a:pt x="42" y="14"/>
                    <a:pt x="44" y="13"/>
                    <a:pt x="45" y="12"/>
                  </a:cubicBezTo>
                  <a:cubicBezTo>
                    <a:pt x="45" y="11"/>
                    <a:pt x="45" y="11"/>
                    <a:pt x="45" y="11"/>
                  </a:cubicBezTo>
                  <a:cubicBezTo>
                    <a:pt x="45" y="10"/>
                    <a:pt x="44" y="9"/>
                    <a:pt x="44" y="8"/>
                  </a:cubicBezTo>
                  <a:cubicBezTo>
                    <a:pt x="44" y="7"/>
                    <a:pt x="44" y="5"/>
                    <a:pt x="45" y="4"/>
                  </a:cubicBezTo>
                  <a:cubicBezTo>
                    <a:pt x="45" y="3"/>
                    <a:pt x="45" y="3"/>
                    <a:pt x="45" y="3"/>
                  </a:cubicBezTo>
                  <a:cubicBezTo>
                    <a:pt x="46" y="3"/>
                    <a:pt x="46" y="2"/>
                    <a:pt x="47" y="2"/>
                  </a:cubicBezTo>
                  <a:cubicBezTo>
                    <a:pt x="48" y="2"/>
                    <a:pt x="48" y="2"/>
                    <a:pt x="48" y="2"/>
                  </a:cubicBezTo>
                  <a:cubicBezTo>
                    <a:pt x="48" y="1"/>
                    <a:pt x="49" y="1"/>
                    <a:pt x="49" y="1"/>
                  </a:cubicBezTo>
                  <a:cubicBezTo>
                    <a:pt x="50" y="1"/>
                    <a:pt x="50" y="1"/>
                    <a:pt x="51" y="1"/>
                  </a:cubicBezTo>
                  <a:cubicBezTo>
                    <a:pt x="51" y="1"/>
                    <a:pt x="51" y="1"/>
                    <a:pt x="51" y="1"/>
                  </a:cubicBezTo>
                  <a:cubicBezTo>
                    <a:pt x="52" y="0"/>
                    <a:pt x="53" y="0"/>
                    <a:pt x="53" y="0"/>
                  </a:cubicBezTo>
                  <a:cubicBezTo>
                    <a:pt x="54" y="0"/>
                    <a:pt x="54" y="0"/>
                    <a:pt x="54" y="0"/>
                  </a:cubicBezTo>
                  <a:cubicBezTo>
                    <a:pt x="54" y="0"/>
                    <a:pt x="54" y="0"/>
                    <a:pt x="54" y="0"/>
                  </a:cubicBez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 name="Freeform 254">
              <a:extLst>
                <a:ext uri="{FF2B5EF4-FFF2-40B4-BE49-F238E27FC236}">
                  <a16:creationId xmlns:a16="http://schemas.microsoft.com/office/drawing/2014/main" id="{1813FBA8-00F9-43C3-8AD2-4B68B71E9D18}"/>
                </a:ext>
              </a:extLst>
            </p:cNvPr>
            <p:cNvSpPr>
              <a:spLocks/>
            </p:cNvSpPr>
            <p:nvPr/>
          </p:nvSpPr>
          <p:spPr bwMode="auto">
            <a:xfrm>
              <a:off x="4712" y="63"/>
              <a:ext cx="5" cy="7"/>
            </a:xfrm>
            <a:custGeom>
              <a:avLst/>
              <a:gdLst>
                <a:gd name="T0" fmla="*/ 1 w 2"/>
                <a:gd name="T1" fmla="*/ 0 h 3"/>
                <a:gd name="T2" fmla="*/ 0 w 2"/>
                <a:gd name="T3" fmla="*/ 2 h 3"/>
                <a:gd name="T4" fmla="*/ 1 w 2"/>
                <a:gd name="T5" fmla="*/ 3 h 3"/>
                <a:gd name="T6" fmla="*/ 2 w 2"/>
                <a:gd name="T7" fmla="*/ 3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2"/>
                    <a:pt x="0" y="2"/>
                    <a:pt x="0" y="2"/>
                  </a:cubicBezTo>
                  <a:cubicBezTo>
                    <a:pt x="1" y="3"/>
                    <a:pt x="1" y="3"/>
                    <a:pt x="1" y="3"/>
                  </a:cubicBezTo>
                  <a:cubicBezTo>
                    <a:pt x="2" y="3"/>
                    <a:pt x="2" y="3"/>
                    <a:pt x="2" y="3"/>
                  </a:cubicBezTo>
                  <a:cubicBezTo>
                    <a:pt x="2"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Rectangle 255">
              <a:extLst>
                <a:ext uri="{FF2B5EF4-FFF2-40B4-BE49-F238E27FC236}">
                  <a16:creationId xmlns:a16="http://schemas.microsoft.com/office/drawing/2014/main" id="{9C36B0EE-DA78-4C63-A286-BBB4A26E61DC}"/>
                </a:ext>
              </a:extLst>
            </p:cNvPr>
            <p:cNvSpPr>
              <a:spLocks noChangeArrowheads="1"/>
            </p:cNvSpPr>
            <p:nvPr/>
          </p:nvSpPr>
          <p:spPr bwMode="auto">
            <a:xfrm>
              <a:off x="4722" y="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Rectangle 256">
              <a:extLst>
                <a:ext uri="{FF2B5EF4-FFF2-40B4-BE49-F238E27FC236}">
                  <a16:creationId xmlns:a16="http://schemas.microsoft.com/office/drawing/2014/main" id="{F7FA7B06-FBDB-4F08-9459-76164AC7E666}"/>
                </a:ext>
              </a:extLst>
            </p:cNvPr>
            <p:cNvSpPr>
              <a:spLocks noChangeArrowheads="1"/>
            </p:cNvSpPr>
            <p:nvPr/>
          </p:nvSpPr>
          <p:spPr bwMode="auto">
            <a:xfrm>
              <a:off x="4722" y="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 name="Freeform 257">
              <a:extLst>
                <a:ext uri="{FF2B5EF4-FFF2-40B4-BE49-F238E27FC236}">
                  <a16:creationId xmlns:a16="http://schemas.microsoft.com/office/drawing/2014/main" id="{2F430E33-7422-4CAD-893F-C42E13DF5AF4}"/>
                </a:ext>
              </a:extLst>
            </p:cNvPr>
            <p:cNvSpPr>
              <a:spLocks/>
            </p:cNvSpPr>
            <p:nvPr/>
          </p:nvSpPr>
          <p:spPr bwMode="auto">
            <a:xfrm>
              <a:off x="4412" y="-27"/>
              <a:ext cx="310" cy="232"/>
            </a:xfrm>
            <a:custGeom>
              <a:avLst/>
              <a:gdLst>
                <a:gd name="T0" fmla="*/ 69 w 131"/>
                <a:gd name="T1" fmla="*/ 3 h 98"/>
                <a:gd name="T2" fmla="*/ 64 w 131"/>
                <a:gd name="T3" fmla="*/ 3 h 98"/>
                <a:gd name="T4" fmla="*/ 59 w 131"/>
                <a:gd name="T5" fmla="*/ 5 h 98"/>
                <a:gd name="T6" fmla="*/ 54 w 131"/>
                <a:gd name="T7" fmla="*/ 7 h 98"/>
                <a:gd name="T8" fmla="*/ 53 w 131"/>
                <a:gd name="T9" fmla="*/ 7 h 98"/>
                <a:gd name="T10" fmla="*/ 55 w 131"/>
                <a:gd name="T11" fmla="*/ 11 h 98"/>
                <a:gd name="T12" fmla="*/ 46 w 131"/>
                <a:gd name="T13" fmla="*/ 20 h 98"/>
                <a:gd name="T14" fmla="*/ 46 w 131"/>
                <a:gd name="T15" fmla="*/ 25 h 98"/>
                <a:gd name="T16" fmla="*/ 42 w 131"/>
                <a:gd name="T17" fmla="*/ 30 h 98"/>
                <a:gd name="T18" fmla="*/ 39 w 131"/>
                <a:gd name="T19" fmla="*/ 30 h 98"/>
                <a:gd name="T20" fmla="*/ 33 w 131"/>
                <a:gd name="T21" fmla="*/ 28 h 98"/>
                <a:gd name="T22" fmla="*/ 29 w 131"/>
                <a:gd name="T23" fmla="*/ 28 h 98"/>
                <a:gd name="T24" fmla="*/ 12 w 131"/>
                <a:gd name="T25" fmla="*/ 28 h 98"/>
                <a:gd name="T26" fmla="*/ 2 w 131"/>
                <a:gd name="T27" fmla="*/ 30 h 98"/>
                <a:gd name="T28" fmla="*/ 2 w 131"/>
                <a:gd name="T29" fmla="*/ 33 h 98"/>
                <a:gd name="T30" fmla="*/ 7 w 131"/>
                <a:gd name="T31" fmla="*/ 44 h 98"/>
                <a:gd name="T32" fmla="*/ 16 w 131"/>
                <a:gd name="T33" fmla="*/ 40 h 98"/>
                <a:gd name="T34" fmla="*/ 25 w 131"/>
                <a:gd name="T35" fmla="*/ 34 h 98"/>
                <a:gd name="T36" fmla="*/ 38 w 131"/>
                <a:gd name="T37" fmla="*/ 55 h 98"/>
                <a:gd name="T38" fmla="*/ 40 w 131"/>
                <a:gd name="T39" fmla="*/ 62 h 98"/>
                <a:gd name="T40" fmla="*/ 50 w 131"/>
                <a:gd name="T41" fmla="*/ 74 h 98"/>
                <a:gd name="T42" fmla="*/ 62 w 131"/>
                <a:gd name="T43" fmla="*/ 83 h 98"/>
                <a:gd name="T44" fmla="*/ 67 w 131"/>
                <a:gd name="T45" fmla="*/ 82 h 98"/>
                <a:gd name="T46" fmla="*/ 94 w 131"/>
                <a:gd name="T47" fmla="*/ 98 h 98"/>
                <a:gd name="T48" fmla="*/ 87 w 131"/>
                <a:gd name="T49" fmla="*/ 87 h 98"/>
                <a:gd name="T50" fmla="*/ 73 w 131"/>
                <a:gd name="T51" fmla="*/ 75 h 98"/>
                <a:gd name="T52" fmla="*/ 65 w 131"/>
                <a:gd name="T53" fmla="*/ 68 h 98"/>
                <a:gd name="T54" fmla="*/ 60 w 131"/>
                <a:gd name="T55" fmla="*/ 60 h 98"/>
                <a:gd name="T56" fmla="*/ 57 w 131"/>
                <a:gd name="T57" fmla="*/ 52 h 98"/>
                <a:gd name="T58" fmla="*/ 51 w 131"/>
                <a:gd name="T59" fmla="*/ 49 h 98"/>
                <a:gd name="T60" fmla="*/ 51 w 131"/>
                <a:gd name="T61" fmla="*/ 40 h 98"/>
                <a:gd name="T62" fmla="*/ 56 w 131"/>
                <a:gd name="T63" fmla="*/ 31 h 98"/>
                <a:gd name="T64" fmla="*/ 60 w 131"/>
                <a:gd name="T65" fmla="*/ 32 h 98"/>
                <a:gd name="T66" fmla="*/ 71 w 131"/>
                <a:gd name="T67" fmla="*/ 31 h 98"/>
                <a:gd name="T68" fmla="*/ 76 w 131"/>
                <a:gd name="T69" fmla="*/ 31 h 98"/>
                <a:gd name="T70" fmla="*/ 78 w 131"/>
                <a:gd name="T71" fmla="*/ 31 h 98"/>
                <a:gd name="T72" fmla="*/ 82 w 131"/>
                <a:gd name="T73" fmla="*/ 30 h 98"/>
                <a:gd name="T74" fmla="*/ 83 w 131"/>
                <a:gd name="T75" fmla="*/ 31 h 98"/>
                <a:gd name="T76" fmla="*/ 116 w 131"/>
                <a:gd name="T77" fmla="*/ 35 h 98"/>
                <a:gd name="T78" fmla="*/ 124 w 131"/>
                <a:gd name="T79" fmla="*/ 37 h 98"/>
                <a:gd name="T80" fmla="*/ 130 w 131"/>
                <a:gd name="T81" fmla="*/ 32 h 98"/>
                <a:gd name="T82" fmla="*/ 125 w 131"/>
                <a:gd name="T83" fmla="*/ 26 h 98"/>
                <a:gd name="T84" fmla="*/ 116 w 131"/>
                <a:gd name="T85" fmla="*/ 26 h 98"/>
                <a:gd name="T86" fmla="*/ 110 w 131"/>
                <a:gd name="T87" fmla="*/ 21 h 98"/>
                <a:gd name="T88" fmla="*/ 104 w 131"/>
                <a:gd name="T89" fmla="*/ 20 h 98"/>
                <a:gd name="T90" fmla="*/ 93 w 131"/>
                <a:gd name="T91" fmla="*/ 16 h 98"/>
                <a:gd name="T92" fmla="*/ 90 w 131"/>
                <a:gd name="T93" fmla="*/ 1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1" h="98">
                  <a:moveTo>
                    <a:pt x="71" y="0"/>
                  </a:moveTo>
                  <a:cubicBezTo>
                    <a:pt x="68" y="0"/>
                    <a:pt x="68" y="0"/>
                    <a:pt x="68" y="0"/>
                  </a:cubicBezTo>
                  <a:cubicBezTo>
                    <a:pt x="69" y="3"/>
                    <a:pt x="69" y="3"/>
                    <a:pt x="69" y="3"/>
                  </a:cubicBezTo>
                  <a:cubicBezTo>
                    <a:pt x="65" y="3"/>
                    <a:pt x="65" y="3"/>
                    <a:pt x="65" y="3"/>
                  </a:cubicBezTo>
                  <a:cubicBezTo>
                    <a:pt x="65" y="3"/>
                    <a:pt x="65" y="3"/>
                    <a:pt x="65" y="3"/>
                  </a:cubicBezTo>
                  <a:cubicBezTo>
                    <a:pt x="65" y="3"/>
                    <a:pt x="65" y="3"/>
                    <a:pt x="64" y="3"/>
                  </a:cubicBezTo>
                  <a:cubicBezTo>
                    <a:pt x="63" y="3"/>
                    <a:pt x="63" y="3"/>
                    <a:pt x="63" y="3"/>
                  </a:cubicBezTo>
                  <a:cubicBezTo>
                    <a:pt x="63" y="2"/>
                    <a:pt x="63" y="2"/>
                    <a:pt x="63" y="2"/>
                  </a:cubicBezTo>
                  <a:cubicBezTo>
                    <a:pt x="62" y="4"/>
                    <a:pt x="60" y="5"/>
                    <a:pt x="59" y="5"/>
                  </a:cubicBezTo>
                  <a:cubicBezTo>
                    <a:pt x="59" y="5"/>
                    <a:pt x="58" y="5"/>
                    <a:pt x="58" y="5"/>
                  </a:cubicBezTo>
                  <a:cubicBezTo>
                    <a:pt x="57" y="6"/>
                    <a:pt x="57" y="6"/>
                    <a:pt x="56" y="6"/>
                  </a:cubicBezTo>
                  <a:cubicBezTo>
                    <a:pt x="54" y="7"/>
                    <a:pt x="54" y="7"/>
                    <a:pt x="54" y="7"/>
                  </a:cubicBezTo>
                  <a:cubicBezTo>
                    <a:pt x="53" y="7"/>
                    <a:pt x="53" y="7"/>
                    <a:pt x="53" y="7"/>
                  </a:cubicBezTo>
                  <a:cubicBezTo>
                    <a:pt x="53" y="7"/>
                    <a:pt x="53" y="7"/>
                    <a:pt x="53" y="7"/>
                  </a:cubicBezTo>
                  <a:cubicBezTo>
                    <a:pt x="53" y="7"/>
                    <a:pt x="53" y="7"/>
                    <a:pt x="53" y="7"/>
                  </a:cubicBezTo>
                  <a:cubicBezTo>
                    <a:pt x="54" y="7"/>
                    <a:pt x="55" y="8"/>
                    <a:pt x="55" y="9"/>
                  </a:cubicBezTo>
                  <a:cubicBezTo>
                    <a:pt x="55" y="11"/>
                    <a:pt x="55" y="11"/>
                    <a:pt x="55" y="11"/>
                  </a:cubicBezTo>
                  <a:cubicBezTo>
                    <a:pt x="55" y="11"/>
                    <a:pt x="55" y="11"/>
                    <a:pt x="55" y="11"/>
                  </a:cubicBezTo>
                  <a:cubicBezTo>
                    <a:pt x="54" y="13"/>
                    <a:pt x="53" y="14"/>
                    <a:pt x="52" y="15"/>
                  </a:cubicBezTo>
                  <a:cubicBezTo>
                    <a:pt x="50" y="17"/>
                    <a:pt x="48" y="19"/>
                    <a:pt x="47" y="19"/>
                  </a:cubicBezTo>
                  <a:cubicBezTo>
                    <a:pt x="46" y="20"/>
                    <a:pt x="46" y="20"/>
                    <a:pt x="46" y="20"/>
                  </a:cubicBezTo>
                  <a:cubicBezTo>
                    <a:pt x="47" y="20"/>
                    <a:pt x="47" y="20"/>
                    <a:pt x="47" y="20"/>
                  </a:cubicBezTo>
                  <a:cubicBezTo>
                    <a:pt x="47" y="22"/>
                    <a:pt x="46" y="24"/>
                    <a:pt x="45" y="24"/>
                  </a:cubicBezTo>
                  <a:cubicBezTo>
                    <a:pt x="45" y="24"/>
                    <a:pt x="46" y="25"/>
                    <a:pt x="46" y="25"/>
                  </a:cubicBezTo>
                  <a:cubicBezTo>
                    <a:pt x="46" y="27"/>
                    <a:pt x="44" y="28"/>
                    <a:pt x="44" y="29"/>
                  </a:cubicBezTo>
                  <a:cubicBezTo>
                    <a:pt x="43" y="29"/>
                    <a:pt x="43" y="29"/>
                    <a:pt x="43" y="29"/>
                  </a:cubicBezTo>
                  <a:cubicBezTo>
                    <a:pt x="42" y="30"/>
                    <a:pt x="42" y="30"/>
                    <a:pt x="42" y="30"/>
                  </a:cubicBezTo>
                  <a:cubicBezTo>
                    <a:pt x="41" y="30"/>
                    <a:pt x="41" y="30"/>
                    <a:pt x="41" y="30"/>
                  </a:cubicBezTo>
                  <a:cubicBezTo>
                    <a:pt x="40" y="30"/>
                    <a:pt x="40" y="30"/>
                    <a:pt x="39" y="30"/>
                  </a:cubicBezTo>
                  <a:cubicBezTo>
                    <a:pt x="39" y="30"/>
                    <a:pt x="39" y="30"/>
                    <a:pt x="39" y="30"/>
                  </a:cubicBezTo>
                  <a:cubicBezTo>
                    <a:pt x="38" y="30"/>
                    <a:pt x="38" y="30"/>
                    <a:pt x="38" y="30"/>
                  </a:cubicBezTo>
                  <a:cubicBezTo>
                    <a:pt x="38" y="29"/>
                    <a:pt x="37" y="29"/>
                    <a:pt x="36" y="29"/>
                  </a:cubicBezTo>
                  <a:cubicBezTo>
                    <a:pt x="35" y="28"/>
                    <a:pt x="34" y="28"/>
                    <a:pt x="33" y="28"/>
                  </a:cubicBezTo>
                  <a:cubicBezTo>
                    <a:pt x="33" y="28"/>
                    <a:pt x="32" y="28"/>
                    <a:pt x="31" y="28"/>
                  </a:cubicBezTo>
                  <a:cubicBezTo>
                    <a:pt x="31" y="28"/>
                    <a:pt x="31" y="28"/>
                    <a:pt x="31" y="28"/>
                  </a:cubicBezTo>
                  <a:cubicBezTo>
                    <a:pt x="30" y="28"/>
                    <a:pt x="29" y="28"/>
                    <a:pt x="29" y="28"/>
                  </a:cubicBezTo>
                  <a:cubicBezTo>
                    <a:pt x="27" y="27"/>
                    <a:pt x="26" y="26"/>
                    <a:pt x="25" y="25"/>
                  </a:cubicBezTo>
                  <a:cubicBezTo>
                    <a:pt x="23" y="27"/>
                    <a:pt x="19" y="29"/>
                    <a:pt x="15" y="29"/>
                  </a:cubicBezTo>
                  <a:cubicBezTo>
                    <a:pt x="14" y="29"/>
                    <a:pt x="13" y="29"/>
                    <a:pt x="12" y="28"/>
                  </a:cubicBezTo>
                  <a:cubicBezTo>
                    <a:pt x="12" y="28"/>
                    <a:pt x="11" y="28"/>
                    <a:pt x="11" y="28"/>
                  </a:cubicBezTo>
                  <a:cubicBezTo>
                    <a:pt x="9" y="28"/>
                    <a:pt x="5" y="29"/>
                    <a:pt x="3" y="29"/>
                  </a:cubicBezTo>
                  <a:cubicBezTo>
                    <a:pt x="2" y="30"/>
                    <a:pt x="2" y="30"/>
                    <a:pt x="2" y="30"/>
                  </a:cubicBezTo>
                  <a:cubicBezTo>
                    <a:pt x="1" y="28"/>
                    <a:pt x="1" y="28"/>
                    <a:pt x="1" y="28"/>
                  </a:cubicBezTo>
                  <a:cubicBezTo>
                    <a:pt x="1" y="28"/>
                    <a:pt x="1" y="28"/>
                    <a:pt x="1" y="28"/>
                  </a:cubicBezTo>
                  <a:cubicBezTo>
                    <a:pt x="0" y="30"/>
                    <a:pt x="2" y="32"/>
                    <a:pt x="2" y="33"/>
                  </a:cubicBezTo>
                  <a:cubicBezTo>
                    <a:pt x="2" y="35"/>
                    <a:pt x="2" y="36"/>
                    <a:pt x="3" y="38"/>
                  </a:cubicBezTo>
                  <a:cubicBezTo>
                    <a:pt x="4" y="40"/>
                    <a:pt x="7" y="41"/>
                    <a:pt x="7" y="44"/>
                  </a:cubicBezTo>
                  <a:cubicBezTo>
                    <a:pt x="7" y="44"/>
                    <a:pt x="7" y="44"/>
                    <a:pt x="7" y="44"/>
                  </a:cubicBezTo>
                  <a:cubicBezTo>
                    <a:pt x="8" y="45"/>
                    <a:pt x="9" y="46"/>
                    <a:pt x="9" y="47"/>
                  </a:cubicBezTo>
                  <a:cubicBezTo>
                    <a:pt x="10" y="44"/>
                    <a:pt x="11" y="40"/>
                    <a:pt x="14" y="40"/>
                  </a:cubicBezTo>
                  <a:cubicBezTo>
                    <a:pt x="14" y="40"/>
                    <a:pt x="15" y="40"/>
                    <a:pt x="16" y="40"/>
                  </a:cubicBezTo>
                  <a:cubicBezTo>
                    <a:pt x="16" y="38"/>
                    <a:pt x="17" y="33"/>
                    <a:pt x="18" y="31"/>
                  </a:cubicBezTo>
                  <a:cubicBezTo>
                    <a:pt x="19" y="31"/>
                    <a:pt x="19" y="31"/>
                    <a:pt x="20" y="31"/>
                  </a:cubicBezTo>
                  <a:cubicBezTo>
                    <a:pt x="21" y="31"/>
                    <a:pt x="23" y="32"/>
                    <a:pt x="25" y="34"/>
                  </a:cubicBezTo>
                  <a:cubicBezTo>
                    <a:pt x="25" y="34"/>
                    <a:pt x="25" y="34"/>
                    <a:pt x="25" y="34"/>
                  </a:cubicBezTo>
                  <a:cubicBezTo>
                    <a:pt x="26" y="34"/>
                    <a:pt x="33" y="39"/>
                    <a:pt x="33" y="40"/>
                  </a:cubicBezTo>
                  <a:cubicBezTo>
                    <a:pt x="34" y="46"/>
                    <a:pt x="34" y="51"/>
                    <a:pt x="38" y="55"/>
                  </a:cubicBezTo>
                  <a:cubicBezTo>
                    <a:pt x="42" y="59"/>
                    <a:pt x="47" y="60"/>
                    <a:pt x="49" y="65"/>
                  </a:cubicBezTo>
                  <a:cubicBezTo>
                    <a:pt x="49" y="65"/>
                    <a:pt x="43" y="60"/>
                    <a:pt x="41" y="60"/>
                  </a:cubicBezTo>
                  <a:cubicBezTo>
                    <a:pt x="40" y="60"/>
                    <a:pt x="40" y="61"/>
                    <a:pt x="40" y="62"/>
                  </a:cubicBezTo>
                  <a:cubicBezTo>
                    <a:pt x="39" y="61"/>
                    <a:pt x="39" y="61"/>
                    <a:pt x="39" y="61"/>
                  </a:cubicBezTo>
                  <a:cubicBezTo>
                    <a:pt x="38" y="61"/>
                    <a:pt x="39" y="64"/>
                    <a:pt x="40" y="65"/>
                  </a:cubicBezTo>
                  <a:cubicBezTo>
                    <a:pt x="43" y="68"/>
                    <a:pt x="47" y="72"/>
                    <a:pt x="50" y="74"/>
                  </a:cubicBezTo>
                  <a:cubicBezTo>
                    <a:pt x="52" y="75"/>
                    <a:pt x="57" y="77"/>
                    <a:pt x="58" y="79"/>
                  </a:cubicBezTo>
                  <a:cubicBezTo>
                    <a:pt x="59" y="82"/>
                    <a:pt x="58" y="83"/>
                    <a:pt x="60" y="83"/>
                  </a:cubicBezTo>
                  <a:cubicBezTo>
                    <a:pt x="61" y="83"/>
                    <a:pt x="61" y="83"/>
                    <a:pt x="62" y="83"/>
                  </a:cubicBezTo>
                  <a:cubicBezTo>
                    <a:pt x="63" y="83"/>
                    <a:pt x="64" y="83"/>
                    <a:pt x="65" y="83"/>
                  </a:cubicBezTo>
                  <a:cubicBezTo>
                    <a:pt x="66" y="83"/>
                    <a:pt x="66" y="82"/>
                    <a:pt x="67" y="82"/>
                  </a:cubicBezTo>
                  <a:cubicBezTo>
                    <a:pt x="67" y="82"/>
                    <a:pt x="67" y="82"/>
                    <a:pt x="67" y="82"/>
                  </a:cubicBezTo>
                  <a:cubicBezTo>
                    <a:pt x="72" y="82"/>
                    <a:pt x="76" y="86"/>
                    <a:pt x="79" y="88"/>
                  </a:cubicBezTo>
                  <a:cubicBezTo>
                    <a:pt x="83" y="91"/>
                    <a:pt x="87" y="93"/>
                    <a:pt x="90" y="95"/>
                  </a:cubicBezTo>
                  <a:cubicBezTo>
                    <a:pt x="91" y="96"/>
                    <a:pt x="92" y="97"/>
                    <a:pt x="94" y="98"/>
                  </a:cubicBezTo>
                  <a:cubicBezTo>
                    <a:pt x="93" y="97"/>
                    <a:pt x="93" y="97"/>
                    <a:pt x="93" y="97"/>
                  </a:cubicBezTo>
                  <a:cubicBezTo>
                    <a:pt x="92" y="97"/>
                    <a:pt x="91" y="96"/>
                    <a:pt x="90" y="94"/>
                  </a:cubicBezTo>
                  <a:cubicBezTo>
                    <a:pt x="87" y="87"/>
                    <a:pt x="87" y="87"/>
                    <a:pt x="87" y="87"/>
                  </a:cubicBezTo>
                  <a:cubicBezTo>
                    <a:pt x="86" y="86"/>
                    <a:pt x="84" y="84"/>
                    <a:pt x="82" y="83"/>
                  </a:cubicBezTo>
                  <a:cubicBezTo>
                    <a:pt x="82" y="82"/>
                    <a:pt x="81" y="82"/>
                    <a:pt x="80" y="81"/>
                  </a:cubicBezTo>
                  <a:cubicBezTo>
                    <a:pt x="78" y="79"/>
                    <a:pt x="75" y="77"/>
                    <a:pt x="73" y="75"/>
                  </a:cubicBezTo>
                  <a:cubicBezTo>
                    <a:pt x="72" y="74"/>
                    <a:pt x="72" y="74"/>
                    <a:pt x="72" y="74"/>
                  </a:cubicBezTo>
                  <a:cubicBezTo>
                    <a:pt x="69" y="72"/>
                    <a:pt x="68" y="71"/>
                    <a:pt x="66" y="69"/>
                  </a:cubicBezTo>
                  <a:cubicBezTo>
                    <a:pt x="65" y="68"/>
                    <a:pt x="65" y="68"/>
                    <a:pt x="65" y="68"/>
                  </a:cubicBezTo>
                  <a:cubicBezTo>
                    <a:pt x="63" y="66"/>
                    <a:pt x="62" y="63"/>
                    <a:pt x="61" y="61"/>
                  </a:cubicBezTo>
                  <a:cubicBezTo>
                    <a:pt x="61" y="61"/>
                    <a:pt x="61" y="61"/>
                    <a:pt x="61" y="61"/>
                  </a:cubicBezTo>
                  <a:cubicBezTo>
                    <a:pt x="60" y="61"/>
                    <a:pt x="60" y="60"/>
                    <a:pt x="60" y="60"/>
                  </a:cubicBezTo>
                  <a:cubicBezTo>
                    <a:pt x="59" y="57"/>
                    <a:pt x="59" y="57"/>
                    <a:pt x="59" y="57"/>
                  </a:cubicBezTo>
                  <a:cubicBezTo>
                    <a:pt x="59" y="56"/>
                    <a:pt x="58" y="54"/>
                    <a:pt x="57" y="53"/>
                  </a:cubicBezTo>
                  <a:cubicBezTo>
                    <a:pt x="57" y="52"/>
                    <a:pt x="57" y="52"/>
                    <a:pt x="57" y="52"/>
                  </a:cubicBezTo>
                  <a:cubicBezTo>
                    <a:pt x="56" y="52"/>
                    <a:pt x="56" y="52"/>
                    <a:pt x="56" y="52"/>
                  </a:cubicBezTo>
                  <a:cubicBezTo>
                    <a:pt x="55" y="51"/>
                    <a:pt x="54" y="51"/>
                    <a:pt x="54" y="50"/>
                  </a:cubicBezTo>
                  <a:cubicBezTo>
                    <a:pt x="53" y="50"/>
                    <a:pt x="52" y="50"/>
                    <a:pt x="51" y="49"/>
                  </a:cubicBezTo>
                  <a:cubicBezTo>
                    <a:pt x="49" y="46"/>
                    <a:pt x="50" y="43"/>
                    <a:pt x="50" y="42"/>
                  </a:cubicBezTo>
                  <a:cubicBezTo>
                    <a:pt x="50" y="42"/>
                    <a:pt x="50" y="41"/>
                    <a:pt x="51" y="40"/>
                  </a:cubicBezTo>
                  <a:cubicBezTo>
                    <a:pt x="51" y="40"/>
                    <a:pt x="51" y="40"/>
                    <a:pt x="51" y="40"/>
                  </a:cubicBezTo>
                  <a:cubicBezTo>
                    <a:pt x="51" y="39"/>
                    <a:pt x="51" y="38"/>
                    <a:pt x="51" y="37"/>
                  </a:cubicBezTo>
                  <a:cubicBezTo>
                    <a:pt x="51" y="34"/>
                    <a:pt x="53" y="32"/>
                    <a:pt x="54" y="32"/>
                  </a:cubicBezTo>
                  <a:cubicBezTo>
                    <a:pt x="55" y="31"/>
                    <a:pt x="55" y="31"/>
                    <a:pt x="56" y="31"/>
                  </a:cubicBezTo>
                  <a:cubicBezTo>
                    <a:pt x="56" y="31"/>
                    <a:pt x="56" y="31"/>
                    <a:pt x="56" y="31"/>
                  </a:cubicBezTo>
                  <a:cubicBezTo>
                    <a:pt x="57" y="31"/>
                    <a:pt x="58" y="31"/>
                    <a:pt x="59" y="31"/>
                  </a:cubicBezTo>
                  <a:cubicBezTo>
                    <a:pt x="59" y="31"/>
                    <a:pt x="60" y="31"/>
                    <a:pt x="60" y="32"/>
                  </a:cubicBezTo>
                  <a:cubicBezTo>
                    <a:pt x="63" y="32"/>
                    <a:pt x="65" y="34"/>
                    <a:pt x="66" y="36"/>
                  </a:cubicBezTo>
                  <a:cubicBezTo>
                    <a:pt x="67" y="35"/>
                    <a:pt x="67" y="35"/>
                    <a:pt x="67" y="35"/>
                  </a:cubicBezTo>
                  <a:cubicBezTo>
                    <a:pt x="68" y="33"/>
                    <a:pt x="69" y="32"/>
                    <a:pt x="71" y="31"/>
                  </a:cubicBezTo>
                  <a:cubicBezTo>
                    <a:pt x="72" y="31"/>
                    <a:pt x="72" y="31"/>
                    <a:pt x="72" y="31"/>
                  </a:cubicBezTo>
                  <a:cubicBezTo>
                    <a:pt x="73" y="31"/>
                    <a:pt x="73" y="31"/>
                    <a:pt x="74" y="31"/>
                  </a:cubicBezTo>
                  <a:cubicBezTo>
                    <a:pt x="74" y="31"/>
                    <a:pt x="75" y="31"/>
                    <a:pt x="76" y="31"/>
                  </a:cubicBezTo>
                  <a:cubicBezTo>
                    <a:pt x="76" y="31"/>
                    <a:pt x="76" y="31"/>
                    <a:pt x="76" y="31"/>
                  </a:cubicBezTo>
                  <a:cubicBezTo>
                    <a:pt x="77" y="31"/>
                    <a:pt x="77" y="31"/>
                    <a:pt x="77" y="31"/>
                  </a:cubicBezTo>
                  <a:cubicBezTo>
                    <a:pt x="77" y="31"/>
                    <a:pt x="78" y="31"/>
                    <a:pt x="78" y="31"/>
                  </a:cubicBezTo>
                  <a:cubicBezTo>
                    <a:pt x="78" y="31"/>
                    <a:pt x="78" y="31"/>
                    <a:pt x="78" y="31"/>
                  </a:cubicBezTo>
                  <a:cubicBezTo>
                    <a:pt x="79" y="28"/>
                    <a:pt x="79" y="28"/>
                    <a:pt x="79" y="28"/>
                  </a:cubicBezTo>
                  <a:cubicBezTo>
                    <a:pt x="82" y="30"/>
                    <a:pt x="82" y="30"/>
                    <a:pt x="82" y="30"/>
                  </a:cubicBezTo>
                  <a:cubicBezTo>
                    <a:pt x="82" y="30"/>
                    <a:pt x="82" y="30"/>
                    <a:pt x="82" y="30"/>
                  </a:cubicBezTo>
                  <a:cubicBezTo>
                    <a:pt x="83" y="30"/>
                    <a:pt x="83" y="30"/>
                    <a:pt x="83" y="30"/>
                  </a:cubicBezTo>
                  <a:cubicBezTo>
                    <a:pt x="83" y="31"/>
                    <a:pt x="83" y="31"/>
                    <a:pt x="83" y="31"/>
                  </a:cubicBezTo>
                  <a:cubicBezTo>
                    <a:pt x="85" y="32"/>
                    <a:pt x="88" y="32"/>
                    <a:pt x="90" y="33"/>
                  </a:cubicBezTo>
                  <a:cubicBezTo>
                    <a:pt x="106" y="35"/>
                    <a:pt x="106" y="35"/>
                    <a:pt x="106" y="35"/>
                  </a:cubicBezTo>
                  <a:cubicBezTo>
                    <a:pt x="110" y="35"/>
                    <a:pt x="113" y="35"/>
                    <a:pt x="116" y="35"/>
                  </a:cubicBezTo>
                  <a:cubicBezTo>
                    <a:pt x="117" y="35"/>
                    <a:pt x="118" y="35"/>
                    <a:pt x="118" y="35"/>
                  </a:cubicBezTo>
                  <a:cubicBezTo>
                    <a:pt x="120" y="35"/>
                    <a:pt x="122" y="36"/>
                    <a:pt x="123" y="37"/>
                  </a:cubicBezTo>
                  <a:cubicBezTo>
                    <a:pt x="123" y="37"/>
                    <a:pt x="124" y="37"/>
                    <a:pt x="124" y="37"/>
                  </a:cubicBezTo>
                  <a:cubicBezTo>
                    <a:pt x="128" y="37"/>
                    <a:pt x="128" y="37"/>
                    <a:pt x="128" y="37"/>
                  </a:cubicBezTo>
                  <a:cubicBezTo>
                    <a:pt x="128" y="35"/>
                    <a:pt x="129" y="34"/>
                    <a:pt x="130" y="33"/>
                  </a:cubicBezTo>
                  <a:cubicBezTo>
                    <a:pt x="130" y="32"/>
                    <a:pt x="130" y="32"/>
                    <a:pt x="130" y="32"/>
                  </a:cubicBezTo>
                  <a:cubicBezTo>
                    <a:pt x="131" y="32"/>
                    <a:pt x="131" y="32"/>
                    <a:pt x="131" y="32"/>
                  </a:cubicBezTo>
                  <a:cubicBezTo>
                    <a:pt x="123" y="27"/>
                    <a:pt x="123" y="27"/>
                    <a:pt x="123" y="27"/>
                  </a:cubicBezTo>
                  <a:cubicBezTo>
                    <a:pt x="125" y="26"/>
                    <a:pt x="125" y="26"/>
                    <a:pt x="125" y="26"/>
                  </a:cubicBezTo>
                  <a:cubicBezTo>
                    <a:pt x="124" y="24"/>
                    <a:pt x="124" y="23"/>
                    <a:pt x="124" y="22"/>
                  </a:cubicBezTo>
                  <a:cubicBezTo>
                    <a:pt x="125" y="19"/>
                    <a:pt x="125" y="19"/>
                    <a:pt x="125" y="19"/>
                  </a:cubicBezTo>
                  <a:cubicBezTo>
                    <a:pt x="116" y="26"/>
                    <a:pt x="116" y="26"/>
                    <a:pt x="116" y="26"/>
                  </a:cubicBezTo>
                  <a:cubicBezTo>
                    <a:pt x="120" y="19"/>
                    <a:pt x="120" y="19"/>
                    <a:pt x="120" y="19"/>
                  </a:cubicBezTo>
                  <a:cubicBezTo>
                    <a:pt x="118" y="20"/>
                    <a:pt x="115" y="21"/>
                    <a:pt x="112" y="21"/>
                  </a:cubicBezTo>
                  <a:cubicBezTo>
                    <a:pt x="111" y="21"/>
                    <a:pt x="111" y="21"/>
                    <a:pt x="110" y="21"/>
                  </a:cubicBezTo>
                  <a:cubicBezTo>
                    <a:pt x="109" y="21"/>
                    <a:pt x="108" y="21"/>
                    <a:pt x="107" y="20"/>
                  </a:cubicBezTo>
                  <a:cubicBezTo>
                    <a:pt x="106" y="20"/>
                    <a:pt x="106" y="20"/>
                    <a:pt x="106" y="20"/>
                  </a:cubicBezTo>
                  <a:cubicBezTo>
                    <a:pt x="105" y="20"/>
                    <a:pt x="105" y="20"/>
                    <a:pt x="104" y="20"/>
                  </a:cubicBezTo>
                  <a:cubicBezTo>
                    <a:pt x="100" y="20"/>
                    <a:pt x="96" y="18"/>
                    <a:pt x="93" y="16"/>
                  </a:cubicBezTo>
                  <a:cubicBezTo>
                    <a:pt x="94" y="15"/>
                    <a:pt x="94" y="15"/>
                    <a:pt x="94" y="15"/>
                  </a:cubicBezTo>
                  <a:cubicBezTo>
                    <a:pt x="93" y="16"/>
                    <a:pt x="93" y="16"/>
                    <a:pt x="93" y="16"/>
                  </a:cubicBezTo>
                  <a:cubicBezTo>
                    <a:pt x="92" y="16"/>
                    <a:pt x="92" y="16"/>
                    <a:pt x="92" y="16"/>
                  </a:cubicBezTo>
                  <a:cubicBezTo>
                    <a:pt x="91" y="15"/>
                    <a:pt x="91" y="15"/>
                    <a:pt x="91" y="15"/>
                  </a:cubicBezTo>
                  <a:cubicBezTo>
                    <a:pt x="91" y="15"/>
                    <a:pt x="90" y="15"/>
                    <a:pt x="90" y="14"/>
                  </a:cubicBezTo>
                  <a:cubicBezTo>
                    <a:pt x="86" y="13"/>
                    <a:pt x="80" y="9"/>
                    <a:pt x="77" y="4"/>
                  </a:cubicBezTo>
                  <a:cubicBezTo>
                    <a:pt x="75" y="2"/>
                    <a:pt x="75" y="1"/>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Freeform 258">
              <a:extLst>
                <a:ext uri="{FF2B5EF4-FFF2-40B4-BE49-F238E27FC236}">
                  <a16:creationId xmlns:a16="http://schemas.microsoft.com/office/drawing/2014/main" id="{B582248F-07CB-430D-A559-AFC0510DF8B1}"/>
                </a:ext>
              </a:extLst>
            </p:cNvPr>
            <p:cNvSpPr>
              <a:spLocks/>
            </p:cNvSpPr>
            <p:nvPr/>
          </p:nvSpPr>
          <p:spPr bwMode="auto">
            <a:xfrm>
              <a:off x="4696" y="7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 name="Freeform 259">
              <a:extLst>
                <a:ext uri="{FF2B5EF4-FFF2-40B4-BE49-F238E27FC236}">
                  <a16:creationId xmlns:a16="http://schemas.microsoft.com/office/drawing/2014/main" id="{73966521-FE05-4872-B0E0-89AE92D137C1}"/>
                </a:ext>
              </a:extLst>
            </p:cNvPr>
            <p:cNvSpPr>
              <a:spLocks/>
            </p:cNvSpPr>
            <p:nvPr/>
          </p:nvSpPr>
          <p:spPr bwMode="auto">
            <a:xfrm>
              <a:off x="4696" y="70"/>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 name="Freeform 260">
              <a:extLst>
                <a:ext uri="{FF2B5EF4-FFF2-40B4-BE49-F238E27FC236}">
                  <a16:creationId xmlns:a16="http://schemas.microsoft.com/office/drawing/2014/main" id="{F03E9F9E-FE41-49AD-8405-CFC718C147A3}"/>
                </a:ext>
              </a:extLst>
            </p:cNvPr>
            <p:cNvSpPr>
              <a:spLocks/>
            </p:cNvSpPr>
            <p:nvPr/>
          </p:nvSpPr>
          <p:spPr bwMode="auto">
            <a:xfrm>
              <a:off x="4542" y="58"/>
              <a:ext cx="196" cy="180"/>
            </a:xfrm>
            <a:custGeom>
              <a:avLst/>
              <a:gdLst>
                <a:gd name="T0" fmla="*/ 24 w 83"/>
                <a:gd name="T1" fmla="*/ 0 h 76"/>
                <a:gd name="T2" fmla="*/ 20 w 83"/>
                <a:gd name="T3" fmla="*/ 0 h 76"/>
                <a:gd name="T4" fmla="*/ 18 w 83"/>
                <a:gd name="T5" fmla="*/ 0 h 76"/>
                <a:gd name="T6" fmla="*/ 15 w 83"/>
                <a:gd name="T7" fmla="*/ 4 h 76"/>
                <a:gd name="T8" fmla="*/ 13 w 83"/>
                <a:gd name="T9" fmla="*/ 9 h 76"/>
                <a:gd name="T10" fmla="*/ 8 w 83"/>
                <a:gd name="T11" fmla="*/ 5 h 76"/>
                <a:gd name="T12" fmla="*/ 4 w 83"/>
                <a:gd name="T13" fmla="*/ 1 h 76"/>
                <a:gd name="T14" fmla="*/ 2 w 83"/>
                <a:gd name="T15" fmla="*/ 1 h 76"/>
                <a:gd name="T16" fmla="*/ 1 w 83"/>
                <a:gd name="T17" fmla="*/ 5 h 76"/>
                <a:gd name="T18" fmla="*/ 1 w 83"/>
                <a:gd name="T19" fmla="*/ 9 h 76"/>
                <a:gd name="T20" fmla="*/ 3 w 83"/>
                <a:gd name="T21" fmla="*/ 10 h 76"/>
                <a:gd name="T22" fmla="*/ 7 w 83"/>
                <a:gd name="T23" fmla="*/ 13 h 76"/>
                <a:gd name="T24" fmla="*/ 10 w 83"/>
                <a:gd name="T25" fmla="*/ 20 h 76"/>
                <a:gd name="T26" fmla="*/ 11 w 83"/>
                <a:gd name="T27" fmla="*/ 22 h 76"/>
                <a:gd name="T28" fmla="*/ 14 w 83"/>
                <a:gd name="T29" fmla="*/ 28 h 76"/>
                <a:gd name="T30" fmla="*/ 20 w 83"/>
                <a:gd name="T31" fmla="*/ 33 h 76"/>
                <a:gd name="T32" fmla="*/ 29 w 83"/>
                <a:gd name="T33" fmla="*/ 41 h 76"/>
                <a:gd name="T34" fmla="*/ 31 w 83"/>
                <a:gd name="T35" fmla="*/ 42 h 76"/>
                <a:gd name="T36" fmla="*/ 41 w 83"/>
                <a:gd name="T37" fmla="*/ 56 h 76"/>
                <a:gd name="T38" fmla="*/ 44 w 83"/>
                <a:gd name="T39" fmla="*/ 58 h 76"/>
                <a:gd name="T40" fmla="*/ 46 w 83"/>
                <a:gd name="T41" fmla="*/ 62 h 76"/>
                <a:gd name="T42" fmla="*/ 44 w 83"/>
                <a:gd name="T43" fmla="*/ 66 h 76"/>
                <a:gd name="T44" fmla="*/ 44 w 83"/>
                <a:gd name="T45" fmla="*/ 66 h 76"/>
                <a:gd name="T46" fmla="*/ 41 w 83"/>
                <a:gd name="T47" fmla="*/ 66 h 76"/>
                <a:gd name="T48" fmla="*/ 59 w 83"/>
                <a:gd name="T49" fmla="*/ 76 h 76"/>
                <a:gd name="T50" fmla="*/ 61 w 83"/>
                <a:gd name="T51" fmla="*/ 71 h 76"/>
                <a:gd name="T52" fmla="*/ 61 w 83"/>
                <a:gd name="T53" fmla="*/ 70 h 76"/>
                <a:gd name="T54" fmla="*/ 60 w 83"/>
                <a:gd name="T55" fmla="*/ 64 h 76"/>
                <a:gd name="T56" fmla="*/ 67 w 83"/>
                <a:gd name="T57" fmla="*/ 51 h 76"/>
                <a:gd name="T58" fmla="*/ 71 w 83"/>
                <a:gd name="T59" fmla="*/ 49 h 76"/>
                <a:gd name="T60" fmla="*/ 71 w 83"/>
                <a:gd name="T61" fmla="*/ 45 h 76"/>
                <a:gd name="T62" fmla="*/ 75 w 83"/>
                <a:gd name="T63" fmla="*/ 43 h 76"/>
                <a:gd name="T64" fmla="*/ 77 w 83"/>
                <a:gd name="T65" fmla="*/ 44 h 76"/>
                <a:gd name="T66" fmla="*/ 78 w 83"/>
                <a:gd name="T67" fmla="*/ 44 h 76"/>
                <a:gd name="T68" fmla="*/ 79 w 83"/>
                <a:gd name="T69" fmla="*/ 44 h 76"/>
                <a:gd name="T70" fmla="*/ 83 w 83"/>
                <a:gd name="T71" fmla="*/ 41 h 76"/>
                <a:gd name="T72" fmla="*/ 81 w 83"/>
                <a:gd name="T73" fmla="*/ 39 h 76"/>
                <a:gd name="T74" fmla="*/ 74 w 83"/>
                <a:gd name="T75" fmla="*/ 28 h 76"/>
                <a:gd name="T76" fmla="*/ 82 w 83"/>
                <a:gd name="T77" fmla="*/ 31 h 76"/>
                <a:gd name="T78" fmla="*/ 81 w 83"/>
                <a:gd name="T79" fmla="*/ 28 h 76"/>
                <a:gd name="T80" fmla="*/ 79 w 83"/>
                <a:gd name="T81" fmla="*/ 28 h 76"/>
                <a:gd name="T82" fmla="*/ 76 w 83"/>
                <a:gd name="T83" fmla="*/ 26 h 76"/>
                <a:gd name="T84" fmla="*/ 76 w 83"/>
                <a:gd name="T85" fmla="*/ 15 h 76"/>
                <a:gd name="T86" fmla="*/ 78 w 83"/>
                <a:gd name="T87" fmla="*/ 11 h 76"/>
                <a:gd name="T88" fmla="*/ 77 w 83"/>
                <a:gd name="T89" fmla="*/ 11 h 76"/>
                <a:gd name="T90" fmla="*/ 77 w 83"/>
                <a:gd name="T91" fmla="*/ 11 h 76"/>
                <a:gd name="T92" fmla="*/ 76 w 83"/>
                <a:gd name="T93" fmla="*/ 11 h 76"/>
                <a:gd name="T94" fmla="*/ 66 w 83"/>
                <a:gd name="T95" fmla="*/ 7 h 76"/>
                <a:gd name="T96" fmla="*/ 65 w 83"/>
                <a:gd name="T97" fmla="*/ 5 h 76"/>
                <a:gd name="T98" fmla="*/ 63 w 83"/>
                <a:gd name="T99" fmla="*/ 5 h 76"/>
                <a:gd name="T100" fmla="*/ 62 w 83"/>
                <a:gd name="T101" fmla="*/ 5 h 76"/>
                <a:gd name="T102" fmla="*/ 34 w 83"/>
                <a:gd name="T103" fmla="*/ 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76">
                  <a:moveTo>
                    <a:pt x="26" y="0"/>
                  </a:moveTo>
                  <a:cubicBezTo>
                    <a:pt x="25" y="0"/>
                    <a:pt x="25" y="0"/>
                    <a:pt x="24" y="0"/>
                  </a:cubicBezTo>
                  <a:cubicBezTo>
                    <a:pt x="23" y="1"/>
                    <a:pt x="23" y="1"/>
                    <a:pt x="22" y="1"/>
                  </a:cubicBezTo>
                  <a:cubicBezTo>
                    <a:pt x="21" y="1"/>
                    <a:pt x="21" y="1"/>
                    <a:pt x="20" y="0"/>
                  </a:cubicBezTo>
                  <a:cubicBezTo>
                    <a:pt x="20" y="0"/>
                    <a:pt x="19" y="0"/>
                    <a:pt x="19" y="0"/>
                  </a:cubicBezTo>
                  <a:cubicBezTo>
                    <a:pt x="19" y="0"/>
                    <a:pt x="18" y="0"/>
                    <a:pt x="18" y="0"/>
                  </a:cubicBezTo>
                  <a:cubicBezTo>
                    <a:pt x="18" y="1"/>
                    <a:pt x="17" y="1"/>
                    <a:pt x="17" y="2"/>
                  </a:cubicBezTo>
                  <a:cubicBezTo>
                    <a:pt x="16" y="2"/>
                    <a:pt x="16" y="3"/>
                    <a:pt x="15" y="4"/>
                  </a:cubicBezTo>
                  <a:cubicBezTo>
                    <a:pt x="15" y="5"/>
                    <a:pt x="15" y="5"/>
                    <a:pt x="14" y="6"/>
                  </a:cubicBezTo>
                  <a:cubicBezTo>
                    <a:pt x="13" y="9"/>
                    <a:pt x="13" y="9"/>
                    <a:pt x="13" y="9"/>
                  </a:cubicBezTo>
                  <a:cubicBezTo>
                    <a:pt x="10" y="6"/>
                    <a:pt x="10" y="6"/>
                    <a:pt x="10" y="6"/>
                  </a:cubicBezTo>
                  <a:cubicBezTo>
                    <a:pt x="10" y="6"/>
                    <a:pt x="9" y="5"/>
                    <a:pt x="8" y="5"/>
                  </a:cubicBezTo>
                  <a:cubicBezTo>
                    <a:pt x="8" y="5"/>
                    <a:pt x="8" y="5"/>
                    <a:pt x="8" y="5"/>
                  </a:cubicBezTo>
                  <a:cubicBezTo>
                    <a:pt x="7" y="3"/>
                    <a:pt x="5" y="2"/>
                    <a:pt x="4" y="1"/>
                  </a:cubicBezTo>
                  <a:cubicBezTo>
                    <a:pt x="3" y="1"/>
                    <a:pt x="3" y="1"/>
                    <a:pt x="3" y="1"/>
                  </a:cubicBezTo>
                  <a:cubicBezTo>
                    <a:pt x="2" y="1"/>
                    <a:pt x="2" y="1"/>
                    <a:pt x="2" y="1"/>
                  </a:cubicBezTo>
                  <a:cubicBezTo>
                    <a:pt x="2" y="1"/>
                    <a:pt x="2" y="1"/>
                    <a:pt x="2" y="1"/>
                  </a:cubicBezTo>
                  <a:cubicBezTo>
                    <a:pt x="2" y="2"/>
                    <a:pt x="1" y="4"/>
                    <a:pt x="1" y="5"/>
                  </a:cubicBezTo>
                  <a:cubicBezTo>
                    <a:pt x="1" y="6"/>
                    <a:pt x="1" y="6"/>
                    <a:pt x="1" y="7"/>
                  </a:cubicBezTo>
                  <a:cubicBezTo>
                    <a:pt x="0" y="9"/>
                    <a:pt x="1" y="9"/>
                    <a:pt x="1" y="9"/>
                  </a:cubicBezTo>
                  <a:cubicBezTo>
                    <a:pt x="1" y="9"/>
                    <a:pt x="1" y="9"/>
                    <a:pt x="1" y="9"/>
                  </a:cubicBezTo>
                  <a:cubicBezTo>
                    <a:pt x="2" y="10"/>
                    <a:pt x="3" y="10"/>
                    <a:pt x="3" y="10"/>
                  </a:cubicBezTo>
                  <a:cubicBezTo>
                    <a:pt x="4" y="11"/>
                    <a:pt x="5" y="11"/>
                    <a:pt x="6" y="12"/>
                  </a:cubicBezTo>
                  <a:cubicBezTo>
                    <a:pt x="6" y="12"/>
                    <a:pt x="6" y="13"/>
                    <a:pt x="7" y="13"/>
                  </a:cubicBezTo>
                  <a:cubicBezTo>
                    <a:pt x="7" y="13"/>
                    <a:pt x="7" y="14"/>
                    <a:pt x="8" y="14"/>
                  </a:cubicBezTo>
                  <a:cubicBezTo>
                    <a:pt x="8" y="16"/>
                    <a:pt x="9" y="18"/>
                    <a:pt x="10" y="20"/>
                  </a:cubicBezTo>
                  <a:cubicBezTo>
                    <a:pt x="10" y="20"/>
                    <a:pt x="10" y="21"/>
                    <a:pt x="10" y="21"/>
                  </a:cubicBezTo>
                  <a:cubicBezTo>
                    <a:pt x="10" y="22"/>
                    <a:pt x="11" y="22"/>
                    <a:pt x="11" y="22"/>
                  </a:cubicBezTo>
                  <a:cubicBezTo>
                    <a:pt x="11" y="23"/>
                    <a:pt x="11" y="23"/>
                    <a:pt x="11" y="23"/>
                  </a:cubicBezTo>
                  <a:cubicBezTo>
                    <a:pt x="12" y="25"/>
                    <a:pt x="13" y="27"/>
                    <a:pt x="14" y="28"/>
                  </a:cubicBezTo>
                  <a:cubicBezTo>
                    <a:pt x="15" y="29"/>
                    <a:pt x="15" y="29"/>
                    <a:pt x="15" y="29"/>
                  </a:cubicBezTo>
                  <a:cubicBezTo>
                    <a:pt x="17" y="30"/>
                    <a:pt x="18" y="32"/>
                    <a:pt x="20" y="33"/>
                  </a:cubicBezTo>
                  <a:cubicBezTo>
                    <a:pt x="21" y="34"/>
                    <a:pt x="21" y="34"/>
                    <a:pt x="21" y="34"/>
                  </a:cubicBezTo>
                  <a:cubicBezTo>
                    <a:pt x="24" y="36"/>
                    <a:pt x="26" y="38"/>
                    <a:pt x="29" y="41"/>
                  </a:cubicBezTo>
                  <a:cubicBezTo>
                    <a:pt x="30" y="41"/>
                    <a:pt x="30" y="41"/>
                    <a:pt x="31" y="42"/>
                  </a:cubicBezTo>
                  <a:cubicBezTo>
                    <a:pt x="31" y="42"/>
                    <a:pt x="31" y="42"/>
                    <a:pt x="31" y="42"/>
                  </a:cubicBezTo>
                  <a:cubicBezTo>
                    <a:pt x="33" y="44"/>
                    <a:pt x="36" y="46"/>
                    <a:pt x="37" y="49"/>
                  </a:cubicBezTo>
                  <a:cubicBezTo>
                    <a:pt x="41" y="56"/>
                    <a:pt x="41" y="56"/>
                    <a:pt x="41" y="56"/>
                  </a:cubicBezTo>
                  <a:cubicBezTo>
                    <a:pt x="42" y="56"/>
                    <a:pt x="42" y="56"/>
                    <a:pt x="42" y="56"/>
                  </a:cubicBezTo>
                  <a:cubicBezTo>
                    <a:pt x="42" y="57"/>
                    <a:pt x="44" y="57"/>
                    <a:pt x="44" y="58"/>
                  </a:cubicBezTo>
                  <a:cubicBezTo>
                    <a:pt x="45" y="59"/>
                    <a:pt x="45" y="60"/>
                    <a:pt x="46" y="61"/>
                  </a:cubicBezTo>
                  <a:cubicBezTo>
                    <a:pt x="46" y="62"/>
                    <a:pt x="46" y="62"/>
                    <a:pt x="46" y="62"/>
                  </a:cubicBezTo>
                  <a:cubicBezTo>
                    <a:pt x="46" y="64"/>
                    <a:pt x="45" y="65"/>
                    <a:pt x="43" y="66"/>
                  </a:cubicBezTo>
                  <a:cubicBezTo>
                    <a:pt x="44" y="66"/>
                    <a:pt x="44" y="66"/>
                    <a:pt x="44" y="66"/>
                  </a:cubicBezTo>
                  <a:cubicBezTo>
                    <a:pt x="44" y="66"/>
                    <a:pt x="44" y="66"/>
                    <a:pt x="44" y="66"/>
                  </a:cubicBezTo>
                  <a:cubicBezTo>
                    <a:pt x="44" y="66"/>
                    <a:pt x="44" y="66"/>
                    <a:pt x="44" y="66"/>
                  </a:cubicBezTo>
                  <a:cubicBezTo>
                    <a:pt x="44" y="66"/>
                    <a:pt x="43" y="66"/>
                    <a:pt x="43" y="66"/>
                  </a:cubicBezTo>
                  <a:cubicBezTo>
                    <a:pt x="43" y="66"/>
                    <a:pt x="42" y="66"/>
                    <a:pt x="41" y="66"/>
                  </a:cubicBezTo>
                  <a:cubicBezTo>
                    <a:pt x="40" y="67"/>
                    <a:pt x="40" y="67"/>
                    <a:pt x="40" y="67"/>
                  </a:cubicBezTo>
                  <a:cubicBezTo>
                    <a:pt x="47" y="70"/>
                    <a:pt x="53" y="73"/>
                    <a:pt x="59" y="76"/>
                  </a:cubicBezTo>
                  <a:cubicBezTo>
                    <a:pt x="58" y="73"/>
                    <a:pt x="58" y="73"/>
                    <a:pt x="58" y="73"/>
                  </a:cubicBezTo>
                  <a:cubicBezTo>
                    <a:pt x="61" y="71"/>
                    <a:pt x="61" y="71"/>
                    <a:pt x="61" y="71"/>
                  </a:cubicBezTo>
                  <a:cubicBezTo>
                    <a:pt x="61" y="71"/>
                    <a:pt x="61" y="71"/>
                    <a:pt x="61" y="71"/>
                  </a:cubicBezTo>
                  <a:cubicBezTo>
                    <a:pt x="61" y="71"/>
                    <a:pt x="61" y="70"/>
                    <a:pt x="61" y="70"/>
                  </a:cubicBezTo>
                  <a:cubicBezTo>
                    <a:pt x="61" y="69"/>
                    <a:pt x="61" y="68"/>
                    <a:pt x="60" y="67"/>
                  </a:cubicBezTo>
                  <a:cubicBezTo>
                    <a:pt x="60" y="66"/>
                    <a:pt x="60" y="65"/>
                    <a:pt x="60" y="64"/>
                  </a:cubicBezTo>
                  <a:cubicBezTo>
                    <a:pt x="60" y="61"/>
                    <a:pt x="61" y="57"/>
                    <a:pt x="64" y="54"/>
                  </a:cubicBezTo>
                  <a:cubicBezTo>
                    <a:pt x="65" y="53"/>
                    <a:pt x="66" y="52"/>
                    <a:pt x="67" y="51"/>
                  </a:cubicBezTo>
                  <a:cubicBezTo>
                    <a:pt x="68" y="51"/>
                    <a:pt x="68" y="51"/>
                    <a:pt x="68" y="51"/>
                  </a:cubicBezTo>
                  <a:cubicBezTo>
                    <a:pt x="68" y="50"/>
                    <a:pt x="69" y="49"/>
                    <a:pt x="71" y="49"/>
                  </a:cubicBezTo>
                  <a:cubicBezTo>
                    <a:pt x="69" y="47"/>
                    <a:pt x="69" y="47"/>
                    <a:pt x="69" y="47"/>
                  </a:cubicBezTo>
                  <a:cubicBezTo>
                    <a:pt x="71" y="45"/>
                    <a:pt x="71" y="45"/>
                    <a:pt x="71" y="45"/>
                  </a:cubicBezTo>
                  <a:cubicBezTo>
                    <a:pt x="71" y="44"/>
                    <a:pt x="73" y="44"/>
                    <a:pt x="73" y="44"/>
                  </a:cubicBezTo>
                  <a:cubicBezTo>
                    <a:pt x="74" y="43"/>
                    <a:pt x="74" y="43"/>
                    <a:pt x="75" y="43"/>
                  </a:cubicBezTo>
                  <a:cubicBezTo>
                    <a:pt x="75" y="43"/>
                    <a:pt x="76" y="44"/>
                    <a:pt x="76" y="44"/>
                  </a:cubicBezTo>
                  <a:cubicBezTo>
                    <a:pt x="77" y="44"/>
                    <a:pt x="77" y="44"/>
                    <a:pt x="77" y="44"/>
                  </a:cubicBezTo>
                  <a:cubicBezTo>
                    <a:pt x="77" y="44"/>
                    <a:pt x="77" y="44"/>
                    <a:pt x="77" y="44"/>
                  </a:cubicBezTo>
                  <a:cubicBezTo>
                    <a:pt x="78" y="44"/>
                    <a:pt x="78" y="44"/>
                    <a:pt x="78" y="44"/>
                  </a:cubicBezTo>
                  <a:cubicBezTo>
                    <a:pt x="78" y="44"/>
                    <a:pt x="78" y="44"/>
                    <a:pt x="78" y="44"/>
                  </a:cubicBezTo>
                  <a:cubicBezTo>
                    <a:pt x="79" y="44"/>
                    <a:pt x="79" y="44"/>
                    <a:pt x="79" y="44"/>
                  </a:cubicBezTo>
                  <a:cubicBezTo>
                    <a:pt x="81" y="43"/>
                    <a:pt x="83" y="42"/>
                    <a:pt x="83" y="41"/>
                  </a:cubicBezTo>
                  <a:cubicBezTo>
                    <a:pt x="83" y="41"/>
                    <a:pt x="83" y="41"/>
                    <a:pt x="83" y="41"/>
                  </a:cubicBezTo>
                  <a:cubicBezTo>
                    <a:pt x="83" y="41"/>
                    <a:pt x="83" y="41"/>
                    <a:pt x="83" y="41"/>
                  </a:cubicBezTo>
                  <a:cubicBezTo>
                    <a:pt x="83" y="41"/>
                    <a:pt x="82" y="39"/>
                    <a:pt x="81" y="39"/>
                  </a:cubicBezTo>
                  <a:cubicBezTo>
                    <a:pt x="80" y="37"/>
                    <a:pt x="78" y="36"/>
                    <a:pt x="78" y="34"/>
                  </a:cubicBezTo>
                  <a:cubicBezTo>
                    <a:pt x="74" y="28"/>
                    <a:pt x="74" y="28"/>
                    <a:pt x="74" y="28"/>
                  </a:cubicBezTo>
                  <a:cubicBezTo>
                    <a:pt x="81" y="30"/>
                    <a:pt x="81" y="30"/>
                    <a:pt x="81" y="30"/>
                  </a:cubicBezTo>
                  <a:cubicBezTo>
                    <a:pt x="81" y="30"/>
                    <a:pt x="82" y="31"/>
                    <a:pt x="82" y="31"/>
                  </a:cubicBezTo>
                  <a:cubicBezTo>
                    <a:pt x="82" y="30"/>
                    <a:pt x="82" y="30"/>
                    <a:pt x="82" y="30"/>
                  </a:cubicBezTo>
                  <a:cubicBezTo>
                    <a:pt x="81" y="29"/>
                    <a:pt x="81" y="29"/>
                    <a:pt x="81" y="28"/>
                  </a:cubicBezTo>
                  <a:cubicBezTo>
                    <a:pt x="80" y="28"/>
                    <a:pt x="80" y="28"/>
                    <a:pt x="80" y="28"/>
                  </a:cubicBezTo>
                  <a:cubicBezTo>
                    <a:pt x="79" y="28"/>
                    <a:pt x="79" y="28"/>
                    <a:pt x="79" y="28"/>
                  </a:cubicBezTo>
                  <a:cubicBezTo>
                    <a:pt x="79" y="28"/>
                    <a:pt x="79" y="28"/>
                    <a:pt x="79" y="28"/>
                  </a:cubicBezTo>
                  <a:cubicBezTo>
                    <a:pt x="77" y="27"/>
                    <a:pt x="77" y="27"/>
                    <a:pt x="76" y="26"/>
                  </a:cubicBezTo>
                  <a:cubicBezTo>
                    <a:pt x="74" y="24"/>
                    <a:pt x="74" y="21"/>
                    <a:pt x="74" y="19"/>
                  </a:cubicBezTo>
                  <a:cubicBezTo>
                    <a:pt x="74" y="18"/>
                    <a:pt x="75" y="17"/>
                    <a:pt x="76" y="15"/>
                  </a:cubicBezTo>
                  <a:cubicBezTo>
                    <a:pt x="76" y="15"/>
                    <a:pt x="76" y="15"/>
                    <a:pt x="76" y="15"/>
                  </a:cubicBezTo>
                  <a:cubicBezTo>
                    <a:pt x="77" y="14"/>
                    <a:pt x="78" y="13"/>
                    <a:pt x="78" y="11"/>
                  </a:cubicBezTo>
                  <a:cubicBezTo>
                    <a:pt x="78" y="11"/>
                    <a:pt x="78" y="11"/>
                    <a:pt x="78" y="11"/>
                  </a:cubicBezTo>
                  <a:cubicBezTo>
                    <a:pt x="77" y="11"/>
                    <a:pt x="77" y="11"/>
                    <a:pt x="77" y="11"/>
                  </a:cubicBezTo>
                  <a:cubicBezTo>
                    <a:pt x="77" y="11"/>
                    <a:pt x="77" y="11"/>
                    <a:pt x="77" y="11"/>
                  </a:cubicBezTo>
                  <a:cubicBezTo>
                    <a:pt x="77" y="11"/>
                    <a:pt x="77" y="11"/>
                    <a:pt x="77" y="11"/>
                  </a:cubicBezTo>
                  <a:cubicBezTo>
                    <a:pt x="76" y="11"/>
                    <a:pt x="76" y="11"/>
                    <a:pt x="76" y="11"/>
                  </a:cubicBezTo>
                  <a:cubicBezTo>
                    <a:pt x="76" y="11"/>
                    <a:pt x="76" y="11"/>
                    <a:pt x="76" y="11"/>
                  </a:cubicBezTo>
                  <a:cubicBezTo>
                    <a:pt x="74" y="11"/>
                    <a:pt x="73" y="11"/>
                    <a:pt x="73" y="11"/>
                  </a:cubicBezTo>
                  <a:cubicBezTo>
                    <a:pt x="70" y="10"/>
                    <a:pt x="67" y="9"/>
                    <a:pt x="66" y="7"/>
                  </a:cubicBezTo>
                  <a:cubicBezTo>
                    <a:pt x="66" y="6"/>
                    <a:pt x="66" y="6"/>
                    <a:pt x="66" y="6"/>
                  </a:cubicBezTo>
                  <a:cubicBezTo>
                    <a:pt x="66" y="6"/>
                    <a:pt x="65" y="6"/>
                    <a:pt x="65" y="5"/>
                  </a:cubicBezTo>
                  <a:cubicBezTo>
                    <a:pt x="64" y="5"/>
                    <a:pt x="64" y="5"/>
                    <a:pt x="64" y="5"/>
                  </a:cubicBezTo>
                  <a:cubicBezTo>
                    <a:pt x="63" y="5"/>
                    <a:pt x="63" y="5"/>
                    <a:pt x="63" y="5"/>
                  </a:cubicBezTo>
                  <a:cubicBezTo>
                    <a:pt x="63" y="5"/>
                    <a:pt x="63" y="5"/>
                    <a:pt x="63" y="5"/>
                  </a:cubicBezTo>
                  <a:cubicBezTo>
                    <a:pt x="62" y="5"/>
                    <a:pt x="62" y="5"/>
                    <a:pt x="62" y="5"/>
                  </a:cubicBezTo>
                  <a:cubicBezTo>
                    <a:pt x="58" y="5"/>
                    <a:pt x="54" y="5"/>
                    <a:pt x="51" y="4"/>
                  </a:cubicBezTo>
                  <a:cubicBezTo>
                    <a:pt x="34" y="3"/>
                    <a:pt x="34" y="3"/>
                    <a:pt x="34" y="3"/>
                  </a:cubicBezTo>
                  <a:cubicBezTo>
                    <a:pt x="31" y="2"/>
                    <a:pt x="28" y="1"/>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 name="Freeform 261">
              <a:extLst>
                <a:ext uri="{FF2B5EF4-FFF2-40B4-BE49-F238E27FC236}">
                  <a16:creationId xmlns:a16="http://schemas.microsoft.com/office/drawing/2014/main" id="{42828435-84B8-4DAF-A071-B37D0BBD1193}"/>
                </a:ext>
              </a:extLst>
            </p:cNvPr>
            <p:cNvSpPr>
              <a:spLocks/>
            </p:cNvSpPr>
            <p:nvPr/>
          </p:nvSpPr>
          <p:spPr bwMode="auto">
            <a:xfrm>
              <a:off x="4620" y="207"/>
              <a:ext cx="17" cy="7"/>
            </a:xfrm>
            <a:custGeom>
              <a:avLst/>
              <a:gdLst>
                <a:gd name="T0" fmla="*/ 0 w 7"/>
                <a:gd name="T1" fmla="*/ 0 h 3"/>
                <a:gd name="T2" fmla="*/ 7 w 7"/>
                <a:gd name="T3" fmla="*/ 3 h 3"/>
                <a:gd name="T4" fmla="*/ 7 w 7"/>
                <a:gd name="T5" fmla="*/ 2 h 3"/>
                <a:gd name="T6" fmla="*/ 0 w 7"/>
                <a:gd name="T7" fmla="*/ 0 h 3"/>
              </a:gdLst>
              <a:ahLst/>
              <a:cxnLst>
                <a:cxn ang="0">
                  <a:pos x="T0" y="T1"/>
                </a:cxn>
                <a:cxn ang="0">
                  <a:pos x="T2" y="T3"/>
                </a:cxn>
                <a:cxn ang="0">
                  <a:pos x="T4" y="T5"/>
                </a:cxn>
                <a:cxn ang="0">
                  <a:pos x="T6" y="T7"/>
                </a:cxn>
              </a:cxnLst>
              <a:rect l="0" t="0" r="r" b="b"/>
              <a:pathLst>
                <a:path w="7" h="3">
                  <a:moveTo>
                    <a:pt x="0" y="0"/>
                  </a:moveTo>
                  <a:cubicBezTo>
                    <a:pt x="3" y="1"/>
                    <a:pt x="5" y="2"/>
                    <a:pt x="7" y="3"/>
                  </a:cubicBezTo>
                  <a:cubicBezTo>
                    <a:pt x="7" y="2"/>
                    <a:pt x="7" y="2"/>
                    <a:pt x="7" y="2"/>
                  </a:cubicBezTo>
                  <a:cubicBezTo>
                    <a:pt x="5"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Freeform 262">
              <a:extLst>
                <a:ext uri="{FF2B5EF4-FFF2-40B4-BE49-F238E27FC236}">
                  <a16:creationId xmlns:a16="http://schemas.microsoft.com/office/drawing/2014/main" id="{EE5A79BC-3A23-4978-9EE7-02EF1DEAE255}"/>
                </a:ext>
              </a:extLst>
            </p:cNvPr>
            <p:cNvSpPr>
              <a:spLocks/>
            </p:cNvSpPr>
            <p:nvPr/>
          </p:nvSpPr>
          <p:spPr bwMode="auto">
            <a:xfrm>
              <a:off x="4689" y="240"/>
              <a:ext cx="2" cy="2"/>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Freeform 263">
              <a:extLst>
                <a:ext uri="{FF2B5EF4-FFF2-40B4-BE49-F238E27FC236}">
                  <a16:creationId xmlns:a16="http://schemas.microsoft.com/office/drawing/2014/main" id="{921B9C56-59F8-46DC-876A-45BF45A265BD}"/>
                </a:ext>
              </a:extLst>
            </p:cNvPr>
            <p:cNvSpPr>
              <a:spLocks/>
            </p:cNvSpPr>
            <p:nvPr/>
          </p:nvSpPr>
          <p:spPr bwMode="auto">
            <a:xfrm>
              <a:off x="4689" y="240"/>
              <a:ext cx="2" cy="2"/>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Rectangle 264">
              <a:extLst>
                <a:ext uri="{FF2B5EF4-FFF2-40B4-BE49-F238E27FC236}">
                  <a16:creationId xmlns:a16="http://schemas.microsoft.com/office/drawing/2014/main" id="{9721C8E5-8D1E-4E3E-B9BD-30EDBF84B6BC}"/>
                </a:ext>
              </a:extLst>
            </p:cNvPr>
            <p:cNvSpPr>
              <a:spLocks noChangeArrowheads="1"/>
            </p:cNvSpPr>
            <p:nvPr/>
          </p:nvSpPr>
          <p:spPr bwMode="auto">
            <a:xfrm>
              <a:off x="4776" y="21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 name="Freeform 265">
              <a:extLst>
                <a:ext uri="{FF2B5EF4-FFF2-40B4-BE49-F238E27FC236}">
                  <a16:creationId xmlns:a16="http://schemas.microsoft.com/office/drawing/2014/main" id="{846AA614-0B09-412D-B3F5-EEE2C35668D6}"/>
                </a:ext>
              </a:extLst>
            </p:cNvPr>
            <p:cNvSpPr>
              <a:spLocks/>
            </p:cNvSpPr>
            <p:nvPr/>
          </p:nvSpPr>
          <p:spPr bwMode="auto">
            <a:xfrm>
              <a:off x="4776" y="21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 name="Freeform 266">
              <a:extLst>
                <a:ext uri="{FF2B5EF4-FFF2-40B4-BE49-F238E27FC236}">
                  <a16:creationId xmlns:a16="http://schemas.microsoft.com/office/drawing/2014/main" id="{4B900E87-3603-4CFE-93C0-02FDB6C1A685}"/>
                </a:ext>
              </a:extLst>
            </p:cNvPr>
            <p:cNvSpPr>
              <a:spLocks/>
            </p:cNvSpPr>
            <p:nvPr/>
          </p:nvSpPr>
          <p:spPr bwMode="auto">
            <a:xfrm>
              <a:off x="4691" y="176"/>
              <a:ext cx="88" cy="99"/>
            </a:xfrm>
            <a:custGeom>
              <a:avLst/>
              <a:gdLst>
                <a:gd name="T0" fmla="*/ 15 w 37"/>
                <a:gd name="T1" fmla="*/ 0 h 42"/>
                <a:gd name="T2" fmla="*/ 15 w 37"/>
                <a:gd name="T3" fmla="*/ 0 h 42"/>
                <a:gd name="T4" fmla="*/ 15 w 37"/>
                <a:gd name="T5" fmla="*/ 1 h 42"/>
                <a:gd name="T6" fmla="*/ 18 w 37"/>
                <a:gd name="T7" fmla="*/ 3 h 42"/>
                <a:gd name="T8" fmla="*/ 14 w 37"/>
                <a:gd name="T9" fmla="*/ 5 h 42"/>
                <a:gd name="T10" fmla="*/ 12 w 37"/>
                <a:gd name="T11" fmla="*/ 6 h 42"/>
                <a:gd name="T12" fmla="*/ 11 w 37"/>
                <a:gd name="T13" fmla="*/ 6 h 42"/>
                <a:gd name="T14" fmla="*/ 9 w 37"/>
                <a:gd name="T15" fmla="*/ 5 h 42"/>
                <a:gd name="T16" fmla="*/ 9 w 37"/>
                <a:gd name="T17" fmla="*/ 5 h 42"/>
                <a:gd name="T18" fmla="*/ 8 w 37"/>
                <a:gd name="T19" fmla="*/ 5 h 42"/>
                <a:gd name="T20" fmla="*/ 8 w 37"/>
                <a:gd name="T21" fmla="*/ 6 h 42"/>
                <a:gd name="T22" fmla="*/ 5 w 37"/>
                <a:gd name="T23" fmla="*/ 8 h 42"/>
                <a:gd name="T24" fmla="*/ 2 w 37"/>
                <a:gd name="T25" fmla="*/ 13 h 42"/>
                <a:gd name="T26" fmla="*/ 3 w 37"/>
                <a:gd name="T27" fmla="*/ 15 h 42"/>
                <a:gd name="T28" fmla="*/ 4 w 37"/>
                <a:gd name="T29" fmla="*/ 18 h 42"/>
                <a:gd name="T30" fmla="*/ 4 w 37"/>
                <a:gd name="T31" fmla="*/ 23 h 42"/>
                <a:gd name="T32" fmla="*/ 1 w 37"/>
                <a:gd name="T33" fmla="*/ 26 h 42"/>
                <a:gd name="T34" fmla="*/ 0 w 37"/>
                <a:gd name="T35" fmla="*/ 27 h 42"/>
                <a:gd name="T36" fmla="*/ 1 w 37"/>
                <a:gd name="T37" fmla="*/ 27 h 42"/>
                <a:gd name="T38" fmla="*/ 4 w 37"/>
                <a:gd name="T39" fmla="*/ 27 h 42"/>
                <a:gd name="T40" fmla="*/ 4 w 37"/>
                <a:gd name="T41" fmla="*/ 27 h 42"/>
                <a:gd name="T42" fmla="*/ 4 w 37"/>
                <a:gd name="T43" fmla="*/ 26 h 42"/>
                <a:gd name="T44" fmla="*/ 5 w 37"/>
                <a:gd name="T45" fmla="*/ 26 h 42"/>
                <a:gd name="T46" fmla="*/ 6 w 37"/>
                <a:gd name="T47" fmla="*/ 26 h 42"/>
                <a:gd name="T48" fmla="*/ 4 w 37"/>
                <a:gd name="T49" fmla="*/ 29 h 42"/>
                <a:gd name="T50" fmla="*/ 3 w 37"/>
                <a:gd name="T51" fmla="*/ 28 h 42"/>
                <a:gd name="T52" fmla="*/ 2 w 37"/>
                <a:gd name="T53" fmla="*/ 28 h 42"/>
                <a:gd name="T54" fmla="*/ 1 w 37"/>
                <a:gd name="T55" fmla="*/ 28 h 42"/>
                <a:gd name="T56" fmla="*/ 17 w 37"/>
                <a:gd name="T57" fmla="*/ 42 h 42"/>
                <a:gd name="T58" fmla="*/ 17 w 37"/>
                <a:gd name="T59" fmla="*/ 41 h 42"/>
                <a:gd name="T60" fmla="*/ 17 w 37"/>
                <a:gd name="T61" fmla="*/ 38 h 42"/>
                <a:gd name="T62" fmla="*/ 16 w 37"/>
                <a:gd name="T63" fmla="*/ 34 h 42"/>
                <a:gd name="T64" fmla="*/ 18 w 37"/>
                <a:gd name="T65" fmla="*/ 30 h 42"/>
                <a:gd name="T66" fmla="*/ 19 w 37"/>
                <a:gd name="T67" fmla="*/ 29 h 42"/>
                <a:gd name="T68" fmla="*/ 20 w 37"/>
                <a:gd name="T69" fmla="*/ 27 h 42"/>
                <a:gd name="T70" fmla="*/ 20 w 37"/>
                <a:gd name="T71" fmla="*/ 27 h 42"/>
                <a:gd name="T72" fmla="*/ 24 w 37"/>
                <a:gd name="T73" fmla="*/ 21 h 42"/>
                <a:gd name="T74" fmla="*/ 26 w 37"/>
                <a:gd name="T75" fmla="*/ 19 h 42"/>
                <a:gd name="T76" fmla="*/ 29 w 37"/>
                <a:gd name="T77" fmla="*/ 18 h 42"/>
                <a:gd name="T78" fmla="*/ 30 w 37"/>
                <a:gd name="T79" fmla="*/ 20 h 42"/>
                <a:gd name="T80" fmla="*/ 31 w 37"/>
                <a:gd name="T81" fmla="*/ 22 h 42"/>
                <a:gd name="T82" fmla="*/ 32 w 37"/>
                <a:gd name="T83" fmla="*/ 23 h 42"/>
                <a:gd name="T84" fmla="*/ 32 w 37"/>
                <a:gd name="T85" fmla="*/ 23 h 42"/>
                <a:gd name="T86" fmla="*/ 33 w 37"/>
                <a:gd name="T87" fmla="*/ 23 h 42"/>
                <a:gd name="T88" fmla="*/ 33 w 37"/>
                <a:gd name="T89" fmla="*/ 23 h 42"/>
                <a:gd name="T90" fmla="*/ 33 w 37"/>
                <a:gd name="T91" fmla="*/ 20 h 42"/>
                <a:gd name="T92" fmla="*/ 35 w 37"/>
                <a:gd name="T93" fmla="*/ 16 h 42"/>
                <a:gd name="T94" fmla="*/ 35 w 37"/>
                <a:gd name="T95" fmla="*/ 16 h 42"/>
                <a:gd name="T96" fmla="*/ 36 w 37"/>
                <a:gd name="T97" fmla="*/ 16 h 42"/>
                <a:gd name="T98" fmla="*/ 37 w 37"/>
                <a:gd name="T99" fmla="*/ 15 h 42"/>
                <a:gd name="T100" fmla="*/ 37 w 37"/>
                <a:gd name="T101" fmla="*/ 15 h 42"/>
                <a:gd name="T102" fmla="*/ 16 w 37"/>
                <a:gd name="T103" fmla="*/ 0 h 42"/>
                <a:gd name="T104" fmla="*/ 15 w 37"/>
                <a:gd name="T10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 h="42">
                  <a:moveTo>
                    <a:pt x="15" y="0"/>
                  </a:moveTo>
                  <a:cubicBezTo>
                    <a:pt x="15" y="0"/>
                    <a:pt x="15" y="0"/>
                    <a:pt x="15" y="0"/>
                  </a:cubicBezTo>
                  <a:cubicBezTo>
                    <a:pt x="15" y="0"/>
                    <a:pt x="15" y="0"/>
                    <a:pt x="15" y="1"/>
                  </a:cubicBezTo>
                  <a:cubicBezTo>
                    <a:pt x="18" y="3"/>
                    <a:pt x="18" y="3"/>
                    <a:pt x="18" y="3"/>
                  </a:cubicBezTo>
                  <a:cubicBezTo>
                    <a:pt x="14" y="5"/>
                    <a:pt x="14" y="5"/>
                    <a:pt x="14" y="5"/>
                  </a:cubicBezTo>
                  <a:cubicBezTo>
                    <a:pt x="14" y="6"/>
                    <a:pt x="13" y="6"/>
                    <a:pt x="12" y="6"/>
                  </a:cubicBezTo>
                  <a:cubicBezTo>
                    <a:pt x="11" y="6"/>
                    <a:pt x="11" y="6"/>
                    <a:pt x="11" y="6"/>
                  </a:cubicBezTo>
                  <a:cubicBezTo>
                    <a:pt x="10" y="5"/>
                    <a:pt x="9" y="5"/>
                    <a:pt x="9" y="5"/>
                  </a:cubicBezTo>
                  <a:cubicBezTo>
                    <a:pt x="9" y="5"/>
                    <a:pt x="9" y="5"/>
                    <a:pt x="9" y="5"/>
                  </a:cubicBezTo>
                  <a:cubicBezTo>
                    <a:pt x="8" y="5"/>
                    <a:pt x="8" y="5"/>
                    <a:pt x="8" y="5"/>
                  </a:cubicBezTo>
                  <a:cubicBezTo>
                    <a:pt x="8" y="6"/>
                    <a:pt x="8" y="6"/>
                    <a:pt x="8" y="6"/>
                  </a:cubicBezTo>
                  <a:cubicBezTo>
                    <a:pt x="7" y="6"/>
                    <a:pt x="6" y="7"/>
                    <a:pt x="5" y="8"/>
                  </a:cubicBezTo>
                  <a:cubicBezTo>
                    <a:pt x="3" y="10"/>
                    <a:pt x="2" y="12"/>
                    <a:pt x="2" y="13"/>
                  </a:cubicBezTo>
                  <a:cubicBezTo>
                    <a:pt x="2" y="14"/>
                    <a:pt x="3" y="15"/>
                    <a:pt x="3" y="15"/>
                  </a:cubicBezTo>
                  <a:cubicBezTo>
                    <a:pt x="3" y="16"/>
                    <a:pt x="3" y="17"/>
                    <a:pt x="4" y="18"/>
                  </a:cubicBezTo>
                  <a:cubicBezTo>
                    <a:pt x="4" y="20"/>
                    <a:pt x="4" y="21"/>
                    <a:pt x="4" y="23"/>
                  </a:cubicBezTo>
                  <a:cubicBezTo>
                    <a:pt x="3" y="25"/>
                    <a:pt x="2" y="26"/>
                    <a:pt x="1" y="26"/>
                  </a:cubicBezTo>
                  <a:cubicBezTo>
                    <a:pt x="0" y="27"/>
                    <a:pt x="0" y="27"/>
                    <a:pt x="0" y="27"/>
                  </a:cubicBezTo>
                  <a:cubicBezTo>
                    <a:pt x="0" y="27"/>
                    <a:pt x="1" y="27"/>
                    <a:pt x="1" y="27"/>
                  </a:cubicBezTo>
                  <a:cubicBezTo>
                    <a:pt x="2" y="27"/>
                    <a:pt x="3" y="27"/>
                    <a:pt x="4" y="27"/>
                  </a:cubicBezTo>
                  <a:cubicBezTo>
                    <a:pt x="4" y="27"/>
                    <a:pt x="4" y="27"/>
                    <a:pt x="4" y="27"/>
                  </a:cubicBezTo>
                  <a:cubicBezTo>
                    <a:pt x="4" y="27"/>
                    <a:pt x="4" y="26"/>
                    <a:pt x="4" y="26"/>
                  </a:cubicBezTo>
                  <a:cubicBezTo>
                    <a:pt x="4" y="26"/>
                    <a:pt x="4" y="26"/>
                    <a:pt x="5" y="26"/>
                  </a:cubicBezTo>
                  <a:cubicBezTo>
                    <a:pt x="5" y="26"/>
                    <a:pt x="5" y="26"/>
                    <a:pt x="6" y="26"/>
                  </a:cubicBezTo>
                  <a:cubicBezTo>
                    <a:pt x="5" y="28"/>
                    <a:pt x="4" y="29"/>
                    <a:pt x="4" y="29"/>
                  </a:cubicBezTo>
                  <a:cubicBezTo>
                    <a:pt x="4" y="29"/>
                    <a:pt x="3" y="29"/>
                    <a:pt x="3" y="28"/>
                  </a:cubicBezTo>
                  <a:cubicBezTo>
                    <a:pt x="3" y="28"/>
                    <a:pt x="2" y="28"/>
                    <a:pt x="2" y="28"/>
                  </a:cubicBezTo>
                  <a:cubicBezTo>
                    <a:pt x="1" y="28"/>
                    <a:pt x="1" y="28"/>
                    <a:pt x="1" y="28"/>
                  </a:cubicBezTo>
                  <a:cubicBezTo>
                    <a:pt x="6" y="33"/>
                    <a:pt x="12" y="38"/>
                    <a:pt x="17" y="42"/>
                  </a:cubicBezTo>
                  <a:cubicBezTo>
                    <a:pt x="17" y="42"/>
                    <a:pt x="17" y="41"/>
                    <a:pt x="17" y="41"/>
                  </a:cubicBezTo>
                  <a:cubicBezTo>
                    <a:pt x="17" y="40"/>
                    <a:pt x="17" y="38"/>
                    <a:pt x="17" y="38"/>
                  </a:cubicBezTo>
                  <a:cubicBezTo>
                    <a:pt x="16" y="37"/>
                    <a:pt x="15" y="35"/>
                    <a:pt x="16" y="34"/>
                  </a:cubicBezTo>
                  <a:cubicBezTo>
                    <a:pt x="16" y="32"/>
                    <a:pt x="17" y="31"/>
                    <a:pt x="18" y="30"/>
                  </a:cubicBezTo>
                  <a:cubicBezTo>
                    <a:pt x="19" y="29"/>
                    <a:pt x="19" y="29"/>
                    <a:pt x="19" y="29"/>
                  </a:cubicBezTo>
                  <a:cubicBezTo>
                    <a:pt x="19" y="29"/>
                    <a:pt x="20" y="28"/>
                    <a:pt x="20" y="27"/>
                  </a:cubicBezTo>
                  <a:cubicBezTo>
                    <a:pt x="20" y="27"/>
                    <a:pt x="20" y="27"/>
                    <a:pt x="20" y="27"/>
                  </a:cubicBezTo>
                  <a:cubicBezTo>
                    <a:pt x="21" y="25"/>
                    <a:pt x="23" y="23"/>
                    <a:pt x="24" y="21"/>
                  </a:cubicBezTo>
                  <a:cubicBezTo>
                    <a:pt x="25" y="20"/>
                    <a:pt x="25" y="20"/>
                    <a:pt x="26" y="19"/>
                  </a:cubicBezTo>
                  <a:cubicBezTo>
                    <a:pt x="29" y="18"/>
                    <a:pt x="29" y="18"/>
                    <a:pt x="29" y="18"/>
                  </a:cubicBezTo>
                  <a:cubicBezTo>
                    <a:pt x="30" y="20"/>
                    <a:pt x="30" y="20"/>
                    <a:pt x="30" y="20"/>
                  </a:cubicBezTo>
                  <a:cubicBezTo>
                    <a:pt x="31" y="21"/>
                    <a:pt x="31" y="22"/>
                    <a:pt x="31" y="22"/>
                  </a:cubicBezTo>
                  <a:cubicBezTo>
                    <a:pt x="32" y="23"/>
                    <a:pt x="32" y="23"/>
                    <a:pt x="32" y="23"/>
                  </a:cubicBezTo>
                  <a:cubicBezTo>
                    <a:pt x="32" y="23"/>
                    <a:pt x="32" y="23"/>
                    <a:pt x="32" y="23"/>
                  </a:cubicBezTo>
                  <a:cubicBezTo>
                    <a:pt x="32" y="23"/>
                    <a:pt x="33" y="23"/>
                    <a:pt x="33" y="23"/>
                  </a:cubicBezTo>
                  <a:cubicBezTo>
                    <a:pt x="33" y="23"/>
                    <a:pt x="33" y="23"/>
                    <a:pt x="33" y="23"/>
                  </a:cubicBezTo>
                  <a:cubicBezTo>
                    <a:pt x="33" y="22"/>
                    <a:pt x="33" y="21"/>
                    <a:pt x="33" y="20"/>
                  </a:cubicBezTo>
                  <a:cubicBezTo>
                    <a:pt x="33" y="18"/>
                    <a:pt x="34" y="17"/>
                    <a:pt x="35" y="16"/>
                  </a:cubicBezTo>
                  <a:cubicBezTo>
                    <a:pt x="35" y="16"/>
                    <a:pt x="35" y="16"/>
                    <a:pt x="35" y="16"/>
                  </a:cubicBezTo>
                  <a:cubicBezTo>
                    <a:pt x="36" y="16"/>
                    <a:pt x="36" y="16"/>
                    <a:pt x="36" y="16"/>
                  </a:cubicBezTo>
                  <a:cubicBezTo>
                    <a:pt x="37" y="15"/>
                    <a:pt x="37" y="15"/>
                    <a:pt x="37" y="15"/>
                  </a:cubicBezTo>
                  <a:cubicBezTo>
                    <a:pt x="37" y="15"/>
                    <a:pt x="37" y="15"/>
                    <a:pt x="37" y="15"/>
                  </a:cubicBezTo>
                  <a:cubicBezTo>
                    <a:pt x="16" y="0"/>
                    <a:pt x="16" y="0"/>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 name="Freeform 267">
              <a:extLst>
                <a:ext uri="{FF2B5EF4-FFF2-40B4-BE49-F238E27FC236}">
                  <a16:creationId xmlns:a16="http://schemas.microsoft.com/office/drawing/2014/main" id="{DCCC4423-6119-4C6E-8543-292D2628FB0C}"/>
                </a:ext>
              </a:extLst>
            </p:cNvPr>
            <p:cNvSpPr>
              <a:spLocks noEditPoints="1"/>
            </p:cNvSpPr>
            <p:nvPr/>
          </p:nvSpPr>
          <p:spPr bwMode="auto">
            <a:xfrm>
              <a:off x="4734" y="240"/>
              <a:ext cx="90" cy="180"/>
            </a:xfrm>
            <a:custGeom>
              <a:avLst/>
              <a:gdLst>
                <a:gd name="T0" fmla="*/ 38 w 38"/>
                <a:gd name="T1" fmla="*/ 51 h 76"/>
                <a:gd name="T2" fmla="*/ 9 w 38"/>
                <a:gd name="T3" fmla="*/ 0 h 76"/>
                <a:gd name="T4" fmla="*/ 7 w 38"/>
                <a:gd name="T5" fmla="*/ 4 h 76"/>
                <a:gd name="T6" fmla="*/ 4 w 38"/>
                <a:gd name="T7" fmla="*/ 7 h 76"/>
                <a:gd name="T8" fmla="*/ 5 w 38"/>
                <a:gd name="T9" fmla="*/ 14 h 76"/>
                <a:gd name="T10" fmla="*/ 5 w 38"/>
                <a:gd name="T11" fmla="*/ 16 h 76"/>
                <a:gd name="T12" fmla="*/ 5 w 38"/>
                <a:gd name="T13" fmla="*/ 18 h 76"/>
                <a:gd name="T14" fmla="*/ 6 w 38"/>
                <a:gd name="T15" fmla="*/ 25 h 76"/>
                <a:gd name="T16" fmla="*/ 6 w 38"/>
                <a:gd name="T17" fmla="*/ 25 h 76"/>
                <a:gd name="T18" fmla="*/ 3 w 38"/>
                <a:gd name="T19" fmla="*/ 30 h 76"/>
                <a:gd name="T20" fmla="*/ 4 w 38"/>
                <a:gd name="T21" fmla="*/ 45 h 76"/>
                <a:gd name="T22" fmla="*/ 4 w 38"/>
                <a:gd name="T23" fmla="*/ 60 h 76"/>
                <a:gd name="T24" fmla="*/ 0 w 38"/>
                <a:gd name="T25" fmla="*/ 58 h 76"/>
                <a:gd name="T26" fmla="*/ 15 w 38"/>
                <a:gd name="T27" fmla="*/ 72 h 76"/>
                <a:gd name="T28" fmla="*/ 18 w 38"/>
                <a:gd name="T29" fmla="*/ 75 h 76"/>
                <a:gd name="T30" fmla="*/ 21 w 38"/>
                <a:gd name="T31" fmla="*/ 76 h 76"/>
                <a:gd name="T32" fmla="*/ 22 w 38"/>
                <a:gd name="T33" fmla="*/ 72 h 76"/>
                <a:gd name="T34" fmla="*/ 22 w 38"/>
                <a:gd name="T35" fmla="*/ 70 h 76"/>
                <a:gd name="T36" fmla="*/ 24 w 38"/>
                <a:gd name="T37" fmla="*/ 66 h 76"/>
                <a:gd name="T38" fmla="*/ 29 w 38"/>
                <a:gd name="T39" fmla="*/ 64 h 76"/>
                <a:gd name="T40" fmla="*/ 29 w 38"/>
                <a:gd name="T41" fmla="*/ 64 h 76"/>
                <a:gd name="T42" fmla="*/ 31 w 38"/>
                <a:gd name="T43" fmla="*/ 61 h 76"/>
                <a:gd name="T44" fmla="*/ 37 w 38"/>
                <a:gd name="T45" fmla="*/ 52 h 76"/>
                <a:gd name="T46" fmla="*/ 38 w 38"/>
                <a:gd name="T47" fmla="*/ 51 h 76"/>
                <a:gd name="T48" fmla="*/ 37 w 38"/>
                <a:gd name="T49" fmla="*/ 47 h 76"/>
                <a:gd name="T50" fmla="*/ 37 w 38"/>
                <a:gd name="T51" fmla="*/ 47 h 76"/>
                <a:gd name="T52" fmla="*/ 33 w 38"/>
                <a:gd name="T53" fmla="*/ 44 h 76"/>
                <a:gd name="T54" fmla="*/ 30 w 38"/>
                <a:gd name="T55" fmla="*/ 41 h 76"/>
                <a:gd name="T56" fmla="*/ 27 w 38"/>
                <a:gd name="T57" fmla="*/ 36 h 76"/>
                <a:gd name="T58" fmla="*/ 27 w 38"/>
                <a:gd name="T59" fmla="*/ 31 h 76"/>
                <a:gd name="T60" fmla="*/ 26 w 38"/>
                <a:gd name="T61" fmla="*/ 29 h 76"/>
                <a:gd name="T62" fmla="*/ 24 w 38"/>
                <a:gd name="T63" fmla="*/ 23 h 76"/>
                <a:gd name="T64" fmla="*/ 27 w 38"/>
                <a:gd name="T65" fmla="*/ 22 h 76"/>
                <a:gd name="T66" fmla="*/ 27 w 38"/>
                <a:gd name="T67" fmla="*/ 20 h 76"/>
                <a:gd name="T68" fmla="*/ 27 w 38"/>
                <a:gd name="T69" fmla="*/ 20 h 76"/>
                <a:gd name="T70" fmla="*/ 28 w 38"/>
                <a:gd name="T71" fmla="*/ 17 h 76"/>
                <a:gd name="T72" fmla="*/ 27 w 38"/>
                <a:gd name="T73" fmla="*/ 13 h 76"/>
                <a:gd name="T74" fmla="*/ 26 w 38"/>
                <a:gd name="T75" fmla="*/ 9 h 76"/>
                <a:gd name="T76" fmla="*/ 24 w 38"/>
                <a:gd name="T77" fmla="*/ 7 h 76"/>
                <a:gd name="T78" fmla="*/ 22 w 38"/>
                <a:gd name="T79" fmla="*/ 6 h 76"/>
                <a:gd name="T80" fmla="*/ 21 w 38"/>
                <a:gd name="T81" fmla="*/ 4 h 76"/>
                <a:gd name="T82" fmla="*/ 19 w 38"/>
                <a:gd name="T83" fmla="*/ 2 h 76"/>
                <a:gd name="T84" fmla="*/ 18 w 38"/>
                <a:gd name="T85" fmla="*/ 1 h 76"/>
                <a:gd name="T86" fmla="*/ 9 w 38"/>
                <a:gd name="T8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76">
                  <a:moveTo>
                    <a:pt x="38" y="51"/>
                  </a:moveTo>
                  <a:cubicBezTo>
                    <a:pt x="38" y="51"/>
                    <a:pt x="38" y="51"/>
                    <a:pt x="38" y="51"/>
                  </a:cubicBezTo>
                  <a:cubicBezTo>
                    <a:pt x="38" y="51"/>
                    <a:pt x="38" y="51"/>
                    <a:pt x="38" y="51"/>
                  </a:cubicBezTo>
                  <a:moveTo>
                    <a:pt x="9" y="0"/>
                  </a:moveTo>
                  <a:cubicBezTo>
                    <a:pt x="8" y="1"/>
                    <a:pt x="8" y="2"/>
                    <a:pt x="7" y="3"/>
                  </a:cubicBezTo>
                  <a:cubicBezTo>
                    <a:pt x="7" y="4"/>
                    <a:pt x="7" y="4"/>
                    <a:pt x="7" y="4"/>
                  </a:cubicBezTo>
                  <a:cubicBezTo>
                    <a:pt x="6" y="4"/>
                    <a:pt x="6" y="5"/>
                    <a:pt x="6" y="5"/>
                  </a:cubicBezTo>
                  <a:cubicBezTo>
                    <a:pt x="5" y="6"/>
                    <a:pt x="5" y="6"/>
                    <a:pt x="4" y="7"/>
                  </a:cubicBezTo>
                  <a:cubicBezTo>
                    <a:pt x="4" y="8"/>
                    <a:pt x="4" y="8"/>
                    <a:pt x="4" y="8"/>
                  </a:cubicBezTo>
                  <a:cubicBezTo>
                    <a:pt x="5" y="10"/>
                    <a:pt x="5" y="12"/>
                    <a:pt x="5" y="14"/>
                  </a:cubicBezTo>
                  <a:cubicBezTo>
                    <a:pt x="5" y="15"/>
                    <a:pt x="5" y="16"/>
                    <a:pt x="5" y="16"/>
                  </a:cubicBezTo>
                  <a:cubicBezTo>
                    <a:pt x="5" y="16"/>
                    <a:pt x="5" y="16"/>
                    <a:pt x="5" y="16"/>
                  </a:cubicBezTo>
                  <a:cubicBezTo>
                    <a:pt x="5" y="17"/>
                    <a:pt x="5" y="17"/>
                    <a:pt x="5" y="17"/>
                  </a:cubicBezTo>
                  <a:cubicBezTo>
                    <a:pt x="5" y="17"/>
                    <a:pt x="5" y="18"/>
                    <a:pt x="5" y="18"/>
                  </a:cubicBezTo>
                  <a:cubicBezTo>
                    <a:pt x="6" y="18"/>
                    <a:pt x="6" y="19"/>
                    <a:pt x="6" y="21"/>
                  </a:cubicBezTo>
                  <a:cubicBezTo>
                    <a:pt x="7" y="22"/>
                    <a:pt x="7" y="25"/>
                    <a:pt x="6" y="25"/>
                  </a:cubicBezTo>
                  <a:cubicBezTo>
                    <a:pt x="6" y="25"/>
                    <a:pt x="6" y="25"/>
                    <a:pt x="6" y="25"/>
                  </a:cubicBezTo>
                  <a:cubicBezTo>
                    <a:pt x="6" y="25"/>
                    <a:pt x="6" y="25"/>
                    <a:pt x="6" y="25"/>
                  </a:cubicBezTo>
                  <a:cubicBezTo>
                    <a:pt x="3" y="25"/>
                    <a:pt x="4" y="28"/>
                    <a:pt x="3" y="30"/>
                  </a:cubicBezTo>
                  <a:cubicBezTo>
                    <a:pt x="3" y="30"/>
                    <a:pt x="3" y="30"/>
                    <a:pt x="3" y="30"/>
                  </a:cubicBezTo>
                  <a:cubicBezTo>
                    <a:pt x="5" y="34"/>
                    <a:pt x="5" y="34"/>
                    <a:pt x="4" y="38"/>
                  </a:cubicBezTo>
                  <a:cubicBezTo>
                    <a:pt x="4" y="40"/>
                    <a:pt x="4" y="42"/>
                    <a:pt x="4" y="45"/>
                  </a:cubicBezTo>
                  <a:cubicBezTo>
                    <a:pt x="2" y="45"/>
                    <a:pt x="0" y="50"/>
                    <a:pt x="1" y="52"/>
                  </a:cubicBezTo>
                  <a:cubicBezTo>
                    <a:pt x="2" y="55"/>
                    <a:pt x="3" y="57"/>
                    <a:pt x="4" y="60"/>
                  </a:cubicBezTo>
                  <a:cubicBezTo>
                    <a:pt x="3" y="60"/>
                    <a:pt x="1" y="58"/>
                    <a:pt x="0" y="58"/>
                  </a:cubicBezTo>
                  <a:cubicBezTo>
                    <a:pt x="0" y="58"/>
                    <a:pt x="0" y="58"/>
                    <a:pt x="0" y="58"/>
                  </a:cubicBezTo>
                  <a:cubicBezTo>
                    <a:pt x="3" y="62"/>
                    <a:pt x="5" y="63"/>
                    <a:pt x="9" y="65"/>
                  </a:cubicBezTo>
                  <a:cubicBezTo>
                    <a:pt x="13" y="67"/>
                    <a:pt x="13" y="68"/>
                    <a:pt x="15" y="72"/>
                  </a:cubicBezTo>
                  <a:cubicBezTo>
                    <a:pt x="15" y="73"/>
                    <a:pt x="15" y="74"/>
                    <a:pt x="16" y="75"/>
                  </a:cubicBezTo>
                  <a:cubicBezTo>
                    <a:pt x="18" y="75"/>
                    <a:pt x="18" y="75"/>
                    <a:pt x="18" y="75"/>
                  </a:cubicBezTo>
                  <a:cubicBezTo>
                    <a:pt x="19" y="75"/>
                    <a:pt x="19" y="75"/>
                    <a:pt x="19" y="75"/>
                  </a:cubicBezTo>
                  <a:cubicBezTo>
                    <a:pt x="20" y="75"/>
                    <a:pt x="20" y="76"/>
                    <a:pt x="21" y="76"/>
                  </a:cubicBezTo>
                  <a:cubicBezTo>
                    <a:pt x="21" y="75"/>
                    <a:pt x="21" y="74"/>
                    <a:pt x="21" y="73"/>
                  </a:cubicBezTo>
                  <a:cubicBezTo>
                    <a:pt x="22" y="72"/>
                    <a:pt x="22" y="72"/>
                    <a:pt x="22" y="72"/>
                  </a:cubicBezTo>
                  <a:cubicBezTo>
                    <a:pt x="22" y="72"/>
                    <a:pt x="22" y="72"/>
                    <a:pt x="22" y="71"/>
                  </a:cubicBezTo>
                  <a:cubicBezTo>
                    <a:pt x="22" y="71"/>
                    <a:pt x="22" y="70"/>
                    <a:pt x="22" y="70"/>
                  </a:cubicBezTo>
                  <a:cubicBezTo>
                    <a:pt x="22" y="68"/>
                    <a:pt x="23" y="67"/>
                    <a:pt x="23" y="67"/>
                  </a:cubicBezTo>
                  <a:cubicBezTo>
                    <a:pt x="23" y="67"/>
                    <a:pt x="24" y="67"/>
                    <a:pt x="24" y="66"/>
                  </a:cubicBezTo>
                  <a:cubicBezTo>
                    <a:pt x="25" y="66"/>
                    <a:pt x="25" y="65"/>
                    <a:pt x="27" y="64"/>
                  </a:cubicBezTo>
                  <a:cubicBezTo>
                    <a:pt x="27" y="64"/>
                    <a:pt x="28" y="64"/>
                    <a:pt x="29" y="64"/>
                  </a:cubicBezTo>
                  <a:cubicBezTo>
                    <a:pt x="29" y="64"/>
                    <a:pt x="29" y="64"/>
                    <a:pt x="29" y="64"/>
                  </a:cubicBezTo>
                  <a:cubicBezTo>
                    <a:pt x="29" y="64"/>
                    <a:pt x="29" y="64"/>
                    <a:pt x="29" y="64"/>
                  </a:cubicBezTo>
                  <a:cubicBezTo>
                    <a:pt x="30" y="63"/>
                    <a:pt x="30" y="62"/>
                    <a:pt x="30" y="61"/>
                  </a:cubicBezTo>
                  <a:cubicBezTo>
                    <a:pt x="31" y="61"/>
                    <a:pt x="31" y="61"/>
                    <a:pt x="31" y="61"/>
                  </a:cubicBezTo>
                  <a:cubicBezTo>
                    <a:pt x="31" y="59"/>
                    <a:pt x="32" y="57"/>
                    <a:pt x="33" y="55"/>
                  </a:cubicBezTo>
                  <a:cubicBezTo>
                    <a:pt x="35" y="53"/>
                    <a:pt x="36" y="53"/>
                    <a:pt x="37" y="52"/>
                  </a:cubicBezTo>
                  <a:cubicBezTo>
                    <a:pt x="38" y="51"/>
                    <a:pt x="38" y="51"/>
                    <a:pt x="38" y="51"/>
                  </a:cubicBezTo>
                  <a:cubicBezTo>
                    <a:pt x="38" y="51"/>
                    <a:pt x="38" y="51"/>
                    <a:pt x="38" y="51"/>
                  </a:cubicBezTo>
                  <a:cubicBezTo>
                    <a:pt x="38" y="51"/>
                    <a:pt x="38" y="51"/>
                    <a:pt x="38" y="51"/>
                  </a:cubicBezTo>
                  <a:cubicBezTo>
                    <a:pt x="37" y="49"/>
                    <a:pt x="37" y="48"/>
                    <a:pt x="37" y="47"/>
                  </a:cubicBezTo>
                  <a:cubicBezTo>
                    <a:pt x="37" y="47"/>
                    <a:pt x="37" y="47"/>
                    <a:pt x="37" y="47"/>
                  </a:cubicBezTo>
                  <a:cubicBezTo>
                    <a:pt x="37" y="47"/>
                    <a:pt x="37" y="47"/>
                    <a:pt x="37" y="47"/>
                  </a:cubicBezTo>
                  <a:cubicBezTo>
                    <a:pt x="35" y="48"/>
                    <a:pt x="35" y="48"/>
                    <a:pt x="35" y="48"/>
                  </a:cubicBezTo>
                  <a:cubicBezTo>
                    <a:pt x="33" y="44"/>
                    <a:pt x="33" y="44"/>
                    <a:pt x="33" y="44"/>
                  </a:cubicBezTo>
                  <a:cubicBezTo>
                    <a:pt x="32" y="43"/>
                    <a:pt x="31" y="42"/>
                    <a:pt x="31" y="41"/>
                  </a:cubicBezTo>
                  <a:cubicBezTo>
                    <a:pt x="30" y="41"/>
                    <a:pt x="30" y="41"/>
                    <a:pt x="30" y="41"/>
                  </a:cubicBezTo>
                  <a:cubicBezTo>
                    <a:pt x="29" y="40"/>
                    <a:pt x="29" y="40"/>
                    <a:pt x="29" y="40"/>
                  </a:cubicBezTo>
                  <a:cubicBezTo>
                    <a:pt x="28" y="39"/>
                    <a:pt x="27" y="38"/>
                    <a:pt x="27" y="36"/>
                  </a:cubicBezTo>
                  <a:cubicBezTo>
                    <a:pt x="26" y="36"/>
                    <a:pt x="26" y="36"/>
                    <a:pt x="26" y="36"/>
                  </a:cubicBezTo>
                  <a:cubicBezTo>
                    <a:pt x="26" y="33"/>
                    <a:pt x="26" y="32"/>
                    <a:pt x="27" y="31"/>
                  </a:cubicBezTo>
                  <a:cubicBezTo>
                    <a:pt x="27" y="30"/>
                    <a:pt x="27" y="30"/>
                    <a:pt x="27" y="30"/>
                  </a:cubicBezTo>
                  <a:cubicBezTo>
                    <a:pt x="27" y="30"/>
                    <a:pt x="27" y="30"/>
                    <a:pt x="26" y="29"/>
                  </a:cubicBezTo>
                  <a:cubicBezTo>
                    <a:pt x="26" y="28"/>
                    <a:pt x="25" y="27"/>
                    <a:pt x="25" y="27"/>
                  </a:cubicBezTo>
                  <a:cubicBezTo>
                    <a:pt x="24" y="23"/>
                    <a:pt x="24" y="23"/>
                    <a:pt x="24" y="23"/>
                  </a:cubicBezTo>
                  <a:cubicBezTo>
                    <a:pt x="27" y="23"/>
                    <a:pt x="27" y="23"/>
                    <a:pt x="27" y="23"/>
                  </a:cubicBezTo>
                  <a:cubicBezTo>
                    <a:pt x="27" y="22"/>
                    <a:pt x="27" y="22"/>
                    <a:pt x="27" y="22"/>
                  </a:cubicBezTo>
                  <a:cubicBezTo>
                    <a:pt x="27" y="22"/>
                    <a:pt x="27" y="21"/>
                    <a:pt x="27" y="21"/>
                  </a:cubicBezTo>
                  <a:cubicBezTo>
                    <a:pt x="27" y="20"/>
                    <a:pt x="27" y="20"/>
                    <a:pt x="27" y="20"/>
                  </a:cubicBezTo>
                  <a:cubicBezTo>
                    <a:pt x="27" y="20"/>
                    <a:pt x="27" y="20"/>
                    <a:pt x="27" y="20"/>
                  </a:cubicBezTo>
                  <a:cubicBezTo>
                    <a:pt x="27" y="20"/>
                    <a:pt x="27" y="20"/>
                    <a:pt x="27" y="20"/>
                  </a:cubicBezTo>
                  <a:cubicBezTo>
                    <a:pt x="27" y="17"/>
                    <a:pt x="27" y="17"/>
                    <a:pt x="27" y="17"/>
                  </a:cubicBezTo>
                  <a:cubicBezTo>
                    <a:pt x="28" y="17"/>
                    <a:pt x="28" y="17"/>
                    <a:pt x="28" y="17"/>
                  </a:cubicBezTo>
                  <a:cubicBezTo>
                    <a:pt x="27" y="14"/>
                    <a:pt x="27" y="14"/>
                    <a:pt x="27" y="14"/>
                  </a:cubicBezTo>
                  <a:cubicBezTo>
                    <a:pt x="27" y="14"/>
                    <a:pt x="27" y="13"/>
                    <a:pt x="27" y="13"/>
                  </a:cubicBezTo>
                  <a:cubicBezTo>
                    <a:pt x="27" y="11"/>
                    <a:pt x="27" y="10"/>
                    <a:pt x="27" y="9"/>
                  </a:cubicBezTo>
                  <a:cubicBezTo>
                    <a:pt x="26" y="9"/>
                    <a:pt x="26" y="9"/>
                    <a:pt x="26" y="9"/>
                  </a:cubicBezTo>
                  <a:cubicBezTo>
                    <a:pt x="26" y="8"/>
                    <a:pt x="26" y="8"/>
                    <a:pt x="26" y="8"/>
                  </a:cubicBezTo>
                  <a:cubicBezTo>
                    <a:pt x="25" y="8"/>
                    <a:pt x="25" y="8"/>
                    <a:pt x="24" y="7"/>
                  </a:cubicBezTo>
                  <a:cubicBezTo>
                    <a:pt x="24" y="7"/>
                    <a:pt x="23" y="7"/>
                    <a:pt x="23" y="6"/>
                  </a:cubicBezTo>
                  <a:cubicBezTo>
                    <a:pt x="22" y="6"/>
                    <a:pt x="22" y="6"/>
                    <a:pt x="22" y="6"/>
                  </a:cubicBezTo>
                  <a:cubicBezTo>
                    <a:pt x="22" y="5"/>
                    <a:pt x="22" y="5"/>
                    <a:pt x="22" y="5"/>
                  </a:cubicBezTo>
                  <a:cubicBezTo>
                    <a:pt x="21" y="5"/>
                    <a:pt x="21" y="5"/>
                    <a:pt x="21" y="4"/>
                  </a:cubicBezTo>
                  <a:cubicBezTo>
                    <a:pt x="20" y="4"/>
                    <a:pt x="20" y="4"/>
                    <a:pt x="20" y="4"/>
                  </a:cubicBezTo>
                  <a:cubicBezTo>
                    <a:pt x="20" y="3"/>
                    <a:pt x="19" y="3"/>
                    <a:pt x="19" y="2"/>
                  </a:cubicBezTo>
                  <a:cubicBezTo>
                    <a:pt x="18" y="2"/>
                    <a:pt x="18" y="2"/>
                    <a:pt x="18" y="2"/>
                  </a:cubicBezTo>
                  <a:cubicBezTo>
                    <a:pt x="18" y="1"/>
                    <a:pt x="18" y="1"/>
                    <a:pt x="18" y="1"/>
                  </a:cubicBezTo>
                  <a:cubicBezTo>
                    <a:pt x="16" y="2"/>
                    <a:pt x="14" y="2"/>
                    <a:pt x="13" y="2"/>
                  </a:cubicBezTo>
                  <a:cubicBezTo>
                    <a:pt x="12" y="2"/>
                    <a:pt x="10"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 name="Freeform 268">
              <a:extLst>
                <a:ext uri="{FF2B5EF4-FFF2-40B4-BE49-F238E27FC236}">
                  <a16:creationId xmlns:a16="http://schemas.microsoft.com/office/drawing/2014/main" id="{3F866245-342B-4592-96B9-BB25C717F922}"/>
                </a:ext>
              </a:extLst>
            </p:cNvPr>
            <p:cNvSpPr>
              <a:spLocks/>
            </p:cNvSpPr>
            <p:nvPr/>
          </p:nvSpPr>
          <p:spPr bwMode="auto">
            <a:xfrm>
              <a:off x="4783" y="193"/>
              <a:ext cx="81" cy="78"/>
            </a:xfrm>
            <a:custGeom>
              <a:avLst/>
              <a:gdLst>
                <a:gd name="T0" fmla="*/ 14 w 34"/>
                <a:gd name="T1" fmla="*/ 0 h 33"/>
                <a:gd name="T2" fmla="*/ 15 w 34"/>
                <a:gd name="T3" fmla="*/ 4 h 33"/>
                <a:gd name="T4" fmla="*/ 12 w 34"/>
                <a:gd name="T5" fmla="*/ 7 h 33"/>
                <a:gd name="T6" fmla="*/ 9 w 34"/>
                <a:gd name="T7" fmla="*/ 8 h 33"/>
                <a:gd name="T8" fmla="*/ 9 w 34"/>
                <a:gd name="T9" fmla="*/ 8 h 33"/>
                <a:gd name="T10" fmla="*/ 9 w 34"/>
                <a:gd name="T11" fmla="*/ 8 h 33"/>
                <a:gd name="T12" fmla="*/ 9 w 34"/>
                <a:gd name="T13" fmla="*/ 9 h 33"/>
                <a:gd name="T14" fmla="*/ 11 w 34"/>
                <a:gd name="T15" fmla="*/ 11 h 33"/>
                <a:gd name="T16" fmla="*/ 5 w 34"/>
                <a:gd name="T17" fmla="*/ 12 h 33"/>
                <a:gd name="T18" fmla="*/ 2 w 34"/>
                <a:gd name="T19" fmla="*/ 13 h 33"/>
                <a:gd name="T20" fmla="*/ 0 w 34"/>
                <a:gd name="T21" fmla="*/ 14 h 33"/>
                <a:gd name="T22" fmla="*/ 0 w 34"/>
                <a:gd name="T23" fmla="*/ 16 h 33"/>
                <a:gd name="T24" fmla="*/ 1 w 34"/>
                <a:gd name="T25" fmla="*/ 17 h 33"/>
                <a:gd name="T26" fmla="*/ 6 w 34"/>
                <a:gd name="T27" fmla="*/ 22 h 33"/>
                <a:gd name="T28" fmla="*/ 9 w 34"/>
                <a:gd name="T29" fmla="*/ 24 h 33"/>
                <a:gd name="T30" fmla="*/ 10 w 34"/>
                <a:gd name="T31" fmla="*/ 25 h 33"/>
                <a:gd name="T32" fmla="*/ 10 w 34"/>
                <a:gd name="T33" fmla="*/ 25 h 33"/>
                <a:gd name="T34" fmla="*/ 10 w 34"/>
                <a:gd name="T35" fmla="*/ 26 h 33"/>
                <a:gd name="T36" fmla="*/ 11 w 34"/>
                <a:gd name="T37" fmla="*/ 27 h 33"/>
                <a:gd name="T38" fmla="*/ 12 w 34"/>
                <a:gd name="T39" fmla="*/ 32 h 33"/>
                <a:gd name="T40" fmla="*/ 12 w 34"/>
                <a:gd name="T41" fmla="*/ 33 h 33"/>
                <a:gd name="T42" fmla="*/ 13 w 34"/>
                <a:gd name="T43" fmla="*/ 32 h 33"/>
                <a:gd name="T44" fmla="*/ 15 w 34"/>
                <a:gd name="T45" fmla="*/ 29 h 33"/>
                <a:gd name="T46" fmla="*/ 16 w 34"/>
                <a:gd name="T47" fmla="*/ 28 h 33"/>
                <a:gd name="T48" fmla="*/ 18 w 34"/>
                <a:gd name="T49" fmla="*/ 27 h 33"/>
                <a:gd name="T50" fmla="*/ 18 w 34"/>
                <a:gd name="T51" fmla="*/ 27 h 33"/>
                <a:gd name="T52" fmla="*/ 17 w 34"/>
                <a:gd name="T53" fmla="*/ 20 h 33"/>
                <a:gd name="T54" fmla="*/ 20 w 34"/>
                <a:gd name="T55" fmla="*/ 26 h 33"/>
                <a:gd name="T56" fmla="*/ 20 w 34"/>
                <a:gd name="T57" fmla="*/ 26 h 33"/>
                <a:gd name="T58" fmla="*/ 20 w 34"/>
                <a:gd name="T59" fmla="*/ 26 h 33"/>
                <a:gd name="T60" fmla="*/ 21 w 34"/>
                <a:gd name="T61" fmla="*/ 26 h 33"/>
                <a:gd name="T62" fmla="*/ 24 w 34"/>
                <a:gd name="T63" fmla="*/ 27 h 33"/>
                <a:gd name="T64" fmla="*/ 25 w 34"/>
                <a:gd name="T65" fmla="*/ 27 h 33"/>
                <a:gd name="T66" fmla="*/ 28 w 34"/>
                <a:gd name="T67" fmla="*/ 24 h 33"/>
                <a:gd name="T68" fmla="*/ 30 w 34"/>
                <a:gd name="T69" fmla="*/ 24 h 33"/>
                <a:gd name="T70" fmla="*/ 31 w 34"/>
                <a:gd name="T71" fmla="*/ 24 h 33"/>
                <a:gd name="T72" fmla="*/ 31 w 34"/>
                <a:gd name="T73" fmla="*/ 23 h 33"/>
                <a:gd name="T74" fmla="*/ 32 w 34"/>
                <a:gd name="T75" fmla="*/ 20 h 33"/>
                <a:gd name="T76" fmla="*/ 34 w 34"/>
                <a:gd name="T77" fmla="*/ 17 h 33"/>
                <a:gd name="T78" fmla="*/ 34 w 34"/>
                <a:gd name="T79" fmla="*/ 17 h 33"/>
                <a:gd name="T80" fmla="*/ 28 w 34"/>
                <a:gd name="T81" fmla="*/ 13 h 33"/>
                <a:gd name="T82" fmla="*/ 27 w 34"/>
                <a:gd name="T83" fmla="*/ 10 h 33"/>
                <a:gd name="T84" fmla="*/ 27 w 34"/>
                <a:gd name="T85" fmla="*/ 10 h 33"/>
                <a:gd name="T86" fmla="*/ 27 w 34"/>
                <a:gd name="T87" fmla="*/ 8 h 33"/>
                <a:gd name="T88" fmla="*/ 26 w 34"/>
                <a:gd name="T89" fmla="*/ 8 h 33"/>
                <a:gd name="T90" fmla="*/ 20 w 34"/>
                <a:gd name="T91" fmla="*/ 1 h 33"/>
                <a:gd name="T92" fmla="*/ 18 w 34"/>
                <a:gd name="T93" fmla="*/ 0 h 33"/>
                <a:gd name="T94" fmla="*/ 16 w 34"/>
                <a:gd name="T95" fmla="*/ 0 h 33"/>
                <a:gd name="T96" fmla="*/ 15 w 34"/>
                <a:gd name="T97" fmla="*/ 0 h 33"/>
                <a:gd name="T98" fmla="*/ 14 w 34"/>
                <a:gd name="T9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3">
                  <a:moveTo>
                    <a:pt x="14" y="0"/>
                  </a:moveTo>
                  <a:cubicBezTo>
                    <a:pt x="15" y="1"/>
                    <a:pt x="16" y="2"/>
                    <a:pt x="15" y="4"/>
                  </a:cubicBezTo>
                  <a:cubicBezTo>
                    <a:pt x="15" y="6"/>
                    <a:pt x="13" y="7"/>
                    <a:pt x="12" y="7"/>
                  </a:cubicBezTo>
                  <a:cubicBezTo>
                    <a:pt x="11" y="8"/>
                    <a:pt x="10" y="8"/>
                    <a:pt x="9" y="8"/>
                  </a:cubicBezTo>
                  <a:cubicBezTo>
                    <a:pt x="9" y="8"/>
                    <a:pt x="9" y="8"/>
                    <a:pt x="9" y="8"/>
                  </a:cubicBezTo>
                  <a:cubicBezTo>
                    <a:pt x="9" y="8"/>
                    <a:pt x="9" y="8"/>
                    <a:pt x="9" y="8"/>
                  </a:cubicBezTo>
                  <a:cubicBezTo>
                    <a:pt x="9" y="9"/>
                    <a:pt x="9" y="9"/>
                    <a:pt x="9" y="9"/>
                  </a:cubicBezTo>
                  <a:cubicBezTo>
                    <a:pt x="11" y="11"/>
                    <a:pt x="11" y="11"/>
                    <a:pt x="11" y="11"/>
                  </a:cubicBezTo>
                  <a:cubicBezTo>
                    <a:pt x="5" y="12"/>
                    <a:pt x="5" y="12"/>
                    <a:pt x="5" y="12"/>
                  </a:cubicBezTo>
                  <a:cubicBezTo>
                    <a:pt x="4" y="13"/>
                    <a:pt x="3" y="13"/>
                    <a:pt x="2" y="13"/>
                  </a:cubicBezTo>
                  <a:cubicBezTo>
                    <a:pt x="1" y="13"/>
                    <a:pt x="0" y="14"/>
                    <a:pt x="0" y="14"/>
                  </a:cubicBezTo>
                  <a:cubicBezTo>
                    <a:pt x="0" y="15"/>
                    <a:pt x="0" y="15"/>
                    <a:pt x="0" y="16"/>
                  </a:cubicBezTo>
                  <a:cubicBezTo>
                    <a:pt x="1" y="17"/>
                    <a:pt x="1" y="17"/>
                    <a:pt x="1" y="17"/>
                  </a:cubicBezTo>
                  <a:cubicBezTo>
                    <a:pt x="2" y="19"/>
                    <a:pt x="5" y="21"/>
                    <a:pt x="6" y="22"/>
                  </a:cubicBezTo>
                  <a:cubicBezTo>
                    <a:pt x="7" y="23"/>
                    <a:pt x="8" y="23"/>
                    <a:pt x="9" y="24"/>
                  </a:cubicBezTo>
                  <a:cubicBezTo>
                    <a:pt x="9" y="24"/>
                    <a:pt x="9" y="25"/>
                    <a:pt x="10" y="25"/>
                  </a:cubicBezTo>
                  <a:cubicBezTo>
                    <a:pt x="10" y="25"/>
                    <a:pt x="10" y="25"/>
                    <a:pt x="10" y="25"/>
                  </a:cubicBezTo>
                  <a:cubicBezTo>
                    <a:pt x="10" y="26"/>
                    <a:pt x="10" y="26"/>
                    <a:pt x="10" y="26"/>
                  </a:cubicBezTo>
                  <a:cubicBezTo>
                    <a:pt x="10" y="26"/>
                    <a:pt x="11" y="27"/>
                    <a:pt x="11" y="27"/>
                  </a:cubicBezTo>
                  <a:cubicBezTo>
                    <a:pt x="12" y="29"/>
                    <a:pt x="12" y="30"/>
                    <a:pt x="12" y="32"/>
                  </a:cubicBezTo>
                  <a:cubicBezTo>
                    <a:pt x="12" y="32"/>
                    <a:pt x="12" y="33"/>
                    <a:pt x="12" y="33"/>
                  </a:cubicBezTo>
                  <a:cubicBezTo>
                    <a:pt x="12" y="33"/>
                    <a:pt x="13" y="32"/>
                    <a:pt x="13" y="32"/>
                  </a:cubicBezTo>
                  <a:cubicBezTo>
                    <a:pt x="13" y="31"/>
                    <a:pt x="14" y="30"/>
                    <a:pt x="15" y="29"/>
                  </a:cubicBezTo>
                  <a:cubicBezTo>
                    <a:pt x="16" y="28"/>
                    <a:pt x="16" y="28"/>
                    <a:pt x="16" y="28"/>
                  </a:cubicBezTo>
                  <a:cubicBezTo>
                    <a:pt x="16" y="27"/>
                    <a:pt x="17" y="27"/>
                    <a:pt x="18" y="27"/>
                  </a:cubicBezTo>
                  <a:cubicBezTo>
                    <a:pt x="18" y="27"/>
                    <a:pt x="18" y="27"/>
                    <a:pt x="18" y="27"/>
                  </a:cubicBezTo>
                  <a:cubicBezTo>
                    <a:pt x="17" y="20"/>
                    <a:pt x="17" y="20"/>
                    <a:pt x="17" y="20"/>
                  </a:cubicBezTo>
                  <a:cubicBezTo>
                    <a:pt x="20" y="26"/>
                    <a:pt x="20" y="26"/>
                    <a:pt x="20" y="26"/>
                  </a:cubicBezTo>
                  <a:cubicBezTo>
                    <a:pt x="20" y="26"/>
                    <a:pt x="20" y="26"/>
                    <a:pt x="20" y="26"/>
                  </a:cubicBezTo>
                  <a:cubicBezTo>
                    <a:pt x="20" y="26"/>
                    <a:pt x="20" y="26"/>
                    <a:pt x="20" y="26"/>
                  </a:cubicBezTo>
                  <a:cubicBezTo>
                    <a:pt x="20" y="26"/>
                    <a:pt x="21" y="26"/>
                    <a:pt x="21" y="26"/>
                  </a:cubicBezTo>
                  <a:cubicBezTo>
                    <a:pt x="22" y="26"/>
                    <a:pt x="24" y="27"/>
                    <a:pt x="24" y="27"/>
                  </a:cubicBezTo>
                  <a:cubicBezTo>
                    <a:pt x="25" y="27"/>
                    <a:pt x="25" y="27"/>
                    <a:pt x="25" y="27"/>
                  </a:cubicBezTo>
                  <a:cubicBezTo>
                    <a:pt x="25" y="26"/>
                    <a:pt x="26" y="25"/>
                    <a:pt x="28" y="24"/>
                  </a:cubicBezTo>
                  <a:cubicBezTo>
                    <a:pt x="29" y="24"/>
                    <a:pt x="30" y="24"/>
                    <a:pt x="30" y="24"/>
                  </a:cubicBezTo>
                  <a:cubicBezTo>
                    <a:pt x="31" y="24"/>
                    <a:pt x="31" y="24"/>
                    <a:pt x="31" y="24"/>
                  </a:cubicBezTo>
                  <a:cubicBezTo>
                    <a:pt x="31" y="23"/>
                    <a:pt x="31" y="23"/>
                    <a:pt x="31" y="23"/>
                  </a:cubicBezTo>
                  <a:cubicBezTo>
                    <a:pt x="31" y="22"/>
                    <a:pt x="32" y="21"/>
                    <a:pt x="32" y="20"/>
                  </a:cubicBezTo>
                  <a:cubicBezTo>
                    <a:pt x="33" y="19"/>
                    <a:pt x="34" y="18"/>
                    <a:pt x="34" y="17"/>
                  </a:cubicBezTo>
                  <a:cubicBezTo>
                    <a:pt x="34" y="17"/>
                    <a:pt x="34" y="17"/>
                    <a:pt x="34" y="17"/>
                  </a:cubicBezTo>
                  <a:cubicBezTo>
                    <a:pt x="33" y="17"/>
                    <a:pt x="30" y="16"/>
                    <a:pt x="28" y="13"/>
                  </a:cubicBezTo>
                  <a:cubicBezTo>
                    <a:pt x="28" y="12"/>
                    <a:pt x="27" y="11"/>
                    <a:pt x="27" y="10"/>
                  </a:cubicBezTo>
                  <a:cubicBezTo>
                    <a:pt x="27" y="10"/>
                    <a:pt x="27" y="10"/>
                    <a:pt x="27" y="10"/>
                  </a:cubicBezTo>
                  <a:cubicBezTo>
                    <a:pt x="27" y="10"/>
                    <a:pt x="27" y="9"/>
                    <a:pt x="27" y="8"/>
                  </a:cubicBezTo>
                  <a:cubicBezTo>
                    <a:pt x="26" y="8"/>
                    <a:pt x="26" y="8"/>
                    <a:pt x="26" y="8"/>
                  </a:cubicBezTo>
                  <a:cubicBezTo>
                    <a:pt x="22" y="8"/>
                    <a:pt x="20" y="5"/>
                    <a:pt x="20" y="1"/>
                  </a:cubicBezTo>
                  <a:cubicBezTo>
                    <a:pt x="20" y="1"/>
                    <a:pt x="19" y="1"/>
                    <a:pt x="18" y="0"/>
                  </a:cubicBezTo>
                  <a:cubicBezTo>
                    <a:pt x="17" y="0"/>
                    <a:pt x="17" y="0"/>
                    <a:pt x="16" y="0"/>
                  </a:cubicBezTo>
                  <a:cubicBezTo>
                    <a:pt x="15" y="0"/>
                    <a:pt x="15" y="0"/>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 name="Freeform 269">
              <a:extLst>
                <a:ext uri="{FF2B5EF4-FFF2-40B4-BE49-F238E27FC236}">
                  <a16:creationId xmlns:a16="http://schemas.microsoft.com/office/drawing/2014/main" id="{373DF97A-4162-4CED-A56D-F554F5813CAB}"/>
                </a:ext>
              </a:extLst>
            </p:cNvPr>
            <p:cNvSpPr>
              <a:spLocks/>
            </p:cNvSpPr>
            <p:nvPr/>
          </p:nvSpPr>
          <p:spPr bwMode="auto">
            <a:xfrm>
              <a:off x="4809" y="257"/>
              <a:ext cx="126" cy="85"/>
            </a:xfrm>
            <a:custGeom>
              <a:avLst/>
              <a:gdLst>
                <a:gd name="T0" fmla="*/ 34 w 53"/>
                <a:gd name="T1" fmla="*/ 1 h 36"/>
                <a:gd name="T2" fmla="*/ 27 w 53"/>
                <a:gd name="T3" fmla="*/ 2 h 36"/>
                <a:gd name="T4" fmla="*/ 24 w 53"/>
                <a:gd name="T5" fmla="*/ 2 h 36"/>
                <a:gd name="T6" fmla="*/ 21 w 53"/>
                <a:gd name="T7" fmla="*/ 2 h 36"/>
                <a:gd name="T8" fmla="*/ 20 w 53"/>
                <a:gd name="T9" fmla="*/ 3 h 36"/>
                <a:gd name="T10" fmla="*/ 15 w 53"/>
                <a:gd name="T11" fmla="*/ 7 h 36"/>
                <a:gd name="T12" fmla="*/ 9 w 53"/>
                <a:gd name="T13" fmla="*/ 5 h 36"/>
                <a:gd name="T14" fmla="*/ 9 w 53"/>
                <a:gd name="T15" fmla="*/ 5 h 36"/>
                <a:gd name="T16" fmla="*/ 7 w 53"/>
                <a:gd name="T17" fmla="*/ 8 h 36"/>
                <a:gd name="T18" fmla="*/ 3 w 53"/>
                <a:gd name="T19" fmla="*/ 13 h 36"/>
                <a:gd name="T20" fmla="*/ 1 w 53"/>
                <a:gd name="T21" fmla="*/ 14 h 36"/>
                <a:gd name="T22" fmla="*/ 1 w 53"/>
                <a:gd name="T23" fmla="*/ 18 h 36"/>
                <a:gd name="T24" fmla="*/ 1 w 53"/>
                <a:gd name="T25" fmla="*/ 23 h 36"/>
                <a:gd name="T26" fmla="*/ 0 w 53"/>
                <a:gd name="T27" fmla="*/ 27 h 36"/>
                <a:gd name="T28" fmla="*/ 2 w 53"/>
                <a:gd name="T29" fmla="*/ 30 h 36"/>
                <a:gd name="T30" fmla="*/ 6 w 53"/>
                <a:gd name="T31" fmla="*/ 34 h 36"/>
                <a:gd name="T32" fmla="*/ 8 w 53"/>
                <a:gd name="T33" fmla="*/ 35 h 36"/>
                <a:gd name="T34" fmla="*/ 9 w 53"/>
                <a:gd name="T35" fmla="*/ 36 h 36"/>
                <a:gd name="T36" fmla="*/ 10 w 53"/>
                <a:gd name="T37" fmla="*/ 35 h 36"/>
                <a:gd name="T38" fmla="*/ 14 w 53"/>
                <a:gd name="T39" fmla="*/ 35 h 36"/>
                <a:gd name="T40" fmla="*/ 18 w 53"/>
                <a:gd name="T41" fmla="*/ 34 h 36"/>
                <a:gd name="T42" fmla="*/ 23 w 53"/>
                <a:gd name="T43" fmla="*/ 34 h 36"/>
                <a:gd name="T44" fmla="*/ 26 w 53"/>
                <a:gd name="T45" fmla="*/ 33 h 36"/>
                <a:gd name="T46" fmla="*/ 28 w 53"/>
                <a:gd name="T47" fmla="*/ 30 h 36"/>
                <a:gd name="T48" fmla="*/ 36 w 53"/>
                <a:gd name="T49" fmla="*/ 27 h 36"/>
                <a:gd name="T50" fmla="*/ 41 w 53"/>
                <a:gd name="T51" fmla="*/ 28 h 36"/>
                <a:gd name="T52" fmla="*/ 43 w 53"/>
                <a:gd name="T53" fmla="*/ 28 h 36"/>
                <a:gd name="T54" fmla="*/ 46 w 53"/>
                <a:gd name="T55" fmla="*/ 27 h 36"/>
                <a:gd name="T56" fmla="*/ 47 w 53"/>
                <a:gd name="T57" fmla="*/ 24 h 36"/>
                <a:gd name="T58" fmla="*/ 50 w 53"/>
                <a:gd name="T59" fmla="*/ 22 h 36"/>
                <a:gd name="T60" fmla="*/ 52 w 53"/>
                <a:gd name="T61" fmla="*/ 21 h 36"/>
                <a:gd name="T62" fmla="*/ 53 w 53"/>
                <a:gd name="T63" fmla="*/ 15 h 36"/>
                <a:gd name="T64" fmla="*/ 53 w 53"/>
                <a:gd name="T65" fmla="*/ 14 h 36"/>
                <a:gd name="T66" fmla="*/ 47 w 53"/>
                <a:gd name="T67" fmla="*/ 7 h 36"/>
                <a:gd name="T68" fmla="*/ 46 w 53"/>
                <a:gd name="T69" fmla="*/ 7 h 36"/>
                <a:gd name="T70" fmla="*/ 45 w 53"/>
                <a:gd name="T71" fmla="*/ 6 h 36"/>
                <a:gd name="T72" fmla="*/ 39 w 53"/>
                <a:gd name="T7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6">
                  <a:moveTo>
                    <a:pt x="39" y="0"/>
                  </a:moveTo>
                  <a:cubicBezTo>
                    <a:pt x="34" y="1"/>
                    <a:pt x="34" y="1"/>
                    <a:pt x="34" y="1"/>
                  </a:cubicBezTo>
                  <a:cubicBezTo>
                    <a:pt x="35" y="1"/>
                    <a:pt x="35" y="1"/>
                    <a:pt x="35" y="1"/>
                  </a:cubicBezTo>
                  <a:cubicBezTo>
                    <a:pt x="32" y="1"/>
                    <a:pt x="30" y="1"/>
                    <a:pt x="27" y="2"/>
                  </a:cubicBezTo>
                  <a:cubicBezTo>
                    <a:pt x="25" y="2"/>
                    <a:pt x="25" y="2"/>
                    <a:pt x="25" y="2"/>
                  </a:cubicBezTo>
                  <a:cubicBezTo>
                    <a:pt x="24" y="2"/>
                    <a:pt x="24" y="2"/>
                    <a:pt x="24" y="2"/>
                  </a:cubicBezTo>
                  <a:cubicBezTo>
                    <a:pt x="24" y="2"/>
                    <a:pt x="24" y="2"/>
                    <a:pt x="24" y="2"/>
                  </a:cubicBezTo>
                  <a:cubicBezTo>
                    <a:pt x="21" y="2"/>
                    <a:pt x="21" y="2"/>
                    <a:pt x="21" y="2"/>
                  </a:cubicBezTo>
                  <a:cubicBezTo>
                    <a:pt x="20" y="2"/>
                    <a:pt x="20" y="2"/>
                    <a:pt x="20" y="2"/>
                  </a:cubicBezTo>
                  <a:cubicBezTo>
                    <a:pt x="20" y="2"/>
                    <a:pt x="20" y="2"/>
                    <a:pt x="20" y="3"/>
                  </a:cubicBezTo>
                  <a:cubicBezTo>
                    <a:pt x="19" y="3"/>
                    <a:pt x="19" y="5"/>
                    <a:pt x="17" y="6"/>
                  </a:cubicBezTo>
                  <a:cubicBezTo>
                    <a:pt x="17" y="6"/>
                    <a:pt x="16" y="7"/>
                    <a:pt x="15" y="7"/>
                  </a:cubicBezTo>
                  <a:cubicBezTo>
                    <a:pt x="14" y="7"/>
                    <a:pt x="12" y="6"/>
                    <a:pt x="11" y="6"/>
                  </a:cubicBezTo>
                  <a:cubicBezTo>
                    <a:pt x="11" y="5"/>
                    <a:pt x="10" y="5"/>
                    <a:pt x="9" y="5"/>
                  </a:cubicBezTo>
                  <a:cubicBezTo>
                    <a:pt x="9" y="5"/>
                    <a:pt x="9" y="5"/>
                    <a:pt x="9" y="5"/>
                  </a:cubicBezTo>
                  <a:cubicBezTo>
                    <a:pt x="9" y="5"/>
                    <a:pt x="9" y="5"/>
                    <a:pt x="9" y="5"/>
                  </a:cubicBezTo>
                  <a:cubicBezTo>
                    <a:pt x="8" y="6"/>
                    <a:pt x="8" y="6"/>
                    <a:pt x="8" y="6"/>
                  </a:cubicBezTo>
                  <a:cubicBezTo>
                    <a:pt x="8" y="6"/>
                    <a:pt x="7" y="7"/>
                    <a:pt x="7" y="8"/>
                  </a:cubicBezTo>
                  <a:cubicBezTo>
                    <a:pt x="6" y="9"/>
                    <a:pt x="6" y="9"/>
                    <a:pt x="5" y="10"/>
                  </a:cubicBezTo>
                  <a:cubicBezTo>
                    <a:pt x="5" y="11"/>
                    <a:pt x="4" y="12"/>
                    <a:pt x="3" y="13"/>
                  </a:cubicBezTo>
                  <a:cubicBezTo>
                    <a:pt x="3" y="13"/>
                    <a:pt x="2" y="13"/>
                    <a:pt x="1" y="13"/>
                  </a:cubicBezTo>
                  <a:cubicBezTo>
                    <a:pt x="1" y="14"/>
                    <a:pt x="1" y="14"/>
                    <a:pt x="1" y="14"/>
                  </a:cubicBezTo>
                  <a:cubicBezTo>
                    <a:pt x="1" y="15"/>
                    <a:pt x="1" y="15"/>
                    <a:pt x="1" y="15"/>
                  </a:cubicBezTo>
                  <a:cubicBezTo>
                    <a:pt x="1" y="16"/>
                    <a:pt x="1" y="17"/>
                    <a:pt x="1" y="18"/>
                  </a:cubicBezTo>
                  <a:cubicBezTo>
                    <a:pt x="0" y="20"/>
                    <a:pt x="0" y="20"/>
                    <a:pt x="0" y="20"/>
                  </a:cubicBezTo>
                  <a:cubicBezTo>
                    <a:pt x="0" y="21"/>
                    <a:pt x="1" y="22"/>
                    <a:pt x="1" y="23"/>
                  </a:cubicBezTo>
                  <a:cubicBezTo>
                    <a:pt x="1" y="24"/>
                    <a:pt x="0" y="25"/>
                    <a:pt x="0" y="26"/>
                  </a:cubicBezTo>
                  <a:cubicBezTo>
                    <a:pt x="0" y="27"/>
                    <a:pt x="0" y="27"/>
                    <a:pt x="0" y="27"/>
                  </a:cubicBezTo>
                  <a:cubicBezTo>
                    <a:pt x="0" y="28"/>
                    <a:pt x="1" y="28"/>
                    <a:pt x="1" y="29"/>
                  </a:cubicBezTo>
                  <a:cubicBezTo>
                    <a:pt x="2" y="29"/>
                    <a:pt x="2" y="29"/>
                    <a:pt x="2" y="30"/>
                  </a:cubicBezTo>
                  <a:cubicBezTo>
                    <a:pt x="4" y="31"/>
                    <a:pt x="4" y="32"/>
                    <a:pt x="5" y="34"/>
                  </a:cubicBezTo>
                  <a:cubicBezTo>
                    <a:pt x="6" y="34"/>
                    <a:pt x="6" y="34"/>
                    <a:pt x="6" y="34"/>
                  </a:cubicBezTo>
                  <a:cubicBezTo>
                    <a:pt x="7" y="34"/>
                    <a:pt x="7" y="34"/>
                    <a:pt x="8" y="35"/>
                  </a:cubicBezTo>
                  <a:cubicBezTo>
                    <a:pt x="8" y="35"/>
                    <a:pt x="8" y="35"/>
                    <a:pt x="8" y="35"/>
                  </a:cubicBezTo>
                  <a:cubicBezTo>
                    <a:pt x="9" y="35"/>
                    <a:pt x="9" y="35"/>
                    <a:pt x="9" y="35"/>
                  </a:cubicBezTo>
                  <a:cubicBezTo>
                    <a:pt x="9" y="36"/>
                    <a:pt x="9" y="36"/>
                    <a:pt x="9" y="36"/>
                  </a:cubicBezTo>
                  <a:cubicBezTo>
                    <a:pt x="9" y="36"/>
                    <a:pt x="9" y="36"/>
                    <a:pt x="9" y="36"/>
                  </a:cubicBezTo>
                  <a:cubicBezTo>
                    <a:pt x="10" y="36"/>
                    <a:pt x="10" y="36"/>
                    <a:pt x="10" y="35"/>
                  </a:cubicBezTo>
                  <a:cubicBezTo>
                    <a:pt x="11" y="35"/>
                    <a:pt x="11" y="35"/>
                    <a:pt x="12" y="35"/>
                  </a:cubicBezTo>
                  <a:cubicBezTo>
                    <a:pt x="14" y="35"/>
                    <a:pt x="14" y="35"/>
                    <a:pt x="14" y="35"/>
                  </a:cubicBezTo>
                  <a:cubicBezTo>
                    <a:pt x="15" y="35"/>
                    <a:pt x="15" y="35"/>
                    <a:pt x="15" y="35"/>
                  </a:cubicBezTo>
                  <a:cubicBezTo>
                    <a:pt x="18" y="34"/>
                    <a:pt x="18" y="34"/>
                    <a:pt x="18" y="34"/>
                  </a:cubicBezTo>
                  <a:cubicBezTo>
                    <a:pt x="19" y="34"/>
                    <a:pt x="20" y="34"/>
                    <a:pt x="22" y="34"/>
                  </a:cubicBezTo>
                  <a:cubicBezTo>
                    <a:pt x="22" y="34"/>
                    <a:pt x="23" y="34"/>
                    <a:pt x="23" y="34"/>
                  </a:cubicBezTo>
                  <a:cubicBezTo>
                    <a:pt x="26" y="33"/>
                    <a:pt x="26" y="33"/>
                    <a:pt x="26" y="33"/>
                  </a:cubicBezTo>
                  <a:cubicBezTo>
                    <a:pt x="26" y="33"/>
                    <a:pt x="26" y="33"/>
                    <a:pt x="26" y="33"/>
                  </a:cubicBezTo>
                  <a:cubicBezTo>
                    <a:pt x="26" y="33"/>
                    <a:pt x="26" y="33"/>
                    <a:pt x="26" y="33"/>
                  </a:cubicBezTo>
                  <a:cubicBezTo>
                    <a:pt x="26" y="32"/>
                    <a:pt x="27" y="31"/>
                    <a:pt x="28" y="30"/>
                  </a:cubicBezTo>
                  <a:cubicBezTo>
                    <a:pt x="29" y="29"/>
                    <a:pt x="31" y="28"/>
                    <a:pt x="32" y="28"/>
                  </a:cubicBezTo>
                  <a:cubicBezTo>
                    <a:pt x="33" y="27"/>
                    <a:pt x="34" y="27"/>
                    <a:pt x="36" y="27"/>
                  </a:cubicBezTo>
                  <a:cubicBezTo>
                    <a:pt x="36" y="27"/>
                    <a:pt x="37" y="27"/>
                    <a:pt x="37" y="27"/>
                  </a:cubicBezTo>
                  <a:cubicBezTo>
                    <a:pt x="38" y="27"/>
                    <a:pt x="40" y="27"/>
                    <a:pt x="41" y="28"/>
                  </a:cubicBezTo>
                  <a:cubicBezTo>
                    <a:pt x="42" y="28"/>
                    <a:pt x="42" y="28"/>
                    <a:pt x="42" y="28"/>
                  </a:cubicBezTo>
                  <a:cubicBezTo>
                    <a:pt x="43" y="28"/>
                    <a:pt x="43" y="28"/>
                    <a:pt x="43" y="28"/>
                  </a:cubicBezTo>
                  <a:cubicBezTo>
                    <a:pt x="44" y="28"/>
                    <a:pt x="45" y="28"/>
                    <a:pt x="45" y="28"/>
                  </a:cubicBezTo>
                  <a:cubicBezTo>
                    <a:pt x="45" y="27"/>
                    <a:pt x="46" y="27"/>
                    <a:pt x="46" y="27"/>
                  </a:cubicBezTo>
                  <a:cubicBezTo>
                    <a:pt x="46" y="26"/>
                    <a:pt x="46" y="26"/>
                    <a:pt x="46" y="26"/>
                  </a:cubicBezTo>
                  <a:cubicBezTo>
                    <a:pt x="46" y="26"/>
                    <a:pt x="47" y="25"/>
                    <a:pt x="47" y="24"/>
                  </a:cubicBezTo>
                  <a:cubicBezTo>
                    <a:pt x="48" y="23"/>
                    <a:pt x="49" y="22"/>
                    <a:pt x="50" y="22"/>
                  </a:cubicBezTo>
                  <a:cubicBezTo>
                    <a:pt x="50" y="22"/>
                    <a:pt x="50" y="22"/>
                    <a:pt x="50" y="22"/>
                  </a:cubicBezTo>
                  <a:cubicBezTo>
                    <a:pt x="52" y="22"/>
                    <a:pt x="52" y="22"/>
                    <a:pt x="52" y="22"/>
                  </a:cubicBezTo>
                  <a:cubicBezTo>
                    <a:pt x="52" y="21"/>
                    <a:pt x="52" y="21"/>
                    <a:pt x="52" y="21"/>
                  </a:cubicBezTo>
                  <a:cubicBezTo>
                    <a:pt x="52" y="20"/>
                    <a:pt x="53" y="16"/>
                    <a:pt x="53" y="15"/>
                  </a:cubicBezTo>
                  <a:cubicBezTo>
                    <a:pt x="53" y="15"/>
                    <a:pt x="53" y="15"/>
                    <a:pt x="53" y="15"/>
                  </a:cubicBezTo>
                  <a:cubicBezTo>
                    <a:pt x="53" y="14"/>
                    <a:pt x="53" y="14"/>
                    <a:pt x="53" y="14"/>
                  </a:cubicBezTo>
                  <a:cubicBezTo>
                    <a:pt x="53" y="14"/>
                    <a:pt x="53" y="14"/>
                    <a:pt x="53" y="14"/>
                  </a:cubicBezTo>
                  <a:cubicBezTo>
                    <a:pt x="53" y="14"/>
                    <a:pt x="53" y="13"/>
                    <a:pt x="47" y="8"/>
                  </a:cubicBezTo>
                  <a:cubicBezTo>
                    <a:pt x="47" y="7"/>
                    <a:pt x="47" y="7"/>
                    <a:pt x="47" y="7"/>
                  </a:cubicBezTo>
                  <a:cubicBezTo>
                    <a:pt x="43" y="11"/>
                    <a:pt x="43" y="11"/>
                    <a:pt x="43" y="11"/>
                  </a:cubicBezTo>
                  <a:cubicBezTo>
                    <a:pt x="46" y="7"/>
                    <a:pt x="46" y="7"/>
                    <a:pt x="46" y="7"/>
                  </a:cubicBezTo>
                  <a:cubicBezTo>
                    <a:pt x="45" y="6"/>
                    <a:pt x="45" y="6"/>
                    <a:pt x="45" y="6"/>
                  </a:cubicBezTo>
                  <a:cubicBezTo>
                    <a:pt x="45" y="6"/>
                    <a:pt x="45" y="6"/>
                    <a:pt x="45" y="6"/>
                  </a:cubicBezTo>
                  <a:cubicBezTo>
                    <a:pt x="44" y="5"/>
                    <a:pt x="44" y="5"/>
                    <a:pt x="44" y="5"/>
                  </a:cubicBezTo>
                  <a:cubicBezTo>
                    <a:pt x="43" y="4"/>
                    <a:pt x="41" y="2"/>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 name="Freeform 270">
              <a:extLst>
                <a:ext uri="{FF2B5EF4-FFF2-40B4-BE49-F238E27FC236}">
                  <a16:creationId xmlns:a16="http://schemas.microsoft.com/office/drawing/2014/main" id="{5260D658-3552-482C-96AF-8C6F56D9A645}"/>
                </a:ext>
              </a:extLst>
            </p:cNvPr>
            <p:cNvSpPr>
              <a:spLocks/>
            </p:cNvSpPr>
            <p:nvPr/>
          </p:nvSpPr>
          <p:spPr bwMode="auto">
            <a:xfrm>
              <a:off x="4779" y="297"/>
              <a:ext cx="356" cy="340"/>
            </a:xfrm>
            <a:custGeom>
              <a:avLst/>
              <a:gdLst>
                <a:gd name="T0" fmla="*/ 145 w 151"/>
                <a:gd name="T1" fmla="*/ 8 h 144"/>
                <a:gd name="T2" fmla="*/ 129 w 151"/>
                <a:gd name="T3" fmla="*/ 12 h 144"/>
                <a:gd name="T4" fmla="*/ 120 w 151"/>
                <a:gd name="T5" fmla="*/ 13 h 144"/>
                <a:gd name="T6" fmla="*/ 116 w 151"/>
                <a:gd name="T7" fmla="*/ 11 h 144"/>
                <a:gd name="T8" fmla="*/ 104 w 151"/>
                <a:gd name="T9" fmla="*/ 4 h 144"/>
                <a:gd name="T10" fmla="*/ 98 w 151"/>
                <a:gd name="T11" fmla="*/ 5 h 144"/>
                <a:gd name="T12" fmla="*/ 84 w 151"/>
                <a:gd name="T13" fmla="*/ 10 h 144"/>
                <a:gd name="T14" fmla="*/ 65 w 151"/>
                <a:gd name="T15" fmla="*/ 11 h 144"/>
                <a:gd name="T16" fmla="*/ 54 w 151"/>
                <a:gd name="T17" fmla="*/ 17 h 144"/>
                <a:gd name="T18" fmla="*/ 49 w 151"/>
                <a:gd name="T19" fmla="*/ 16 h 144"/>
                <a:gd name="T20" fmla="*/ 44 w 151"/>
                <a:gd name="T21" fmla="*/ 18 h 144"/>
                <a:gd name="T22" fmla="*/ 38 w 151"/>
                <a:gd name="T23" fmla="*/ 22 h 144"/>
                <a:gd name="T24" fmla="*/ 29 w 151"/>
                <a:gd name="T25" fmla="*/ 23 h 144"/>
                <a:gd name="T26" fmla="*/ 24 w 151"/>
                <a:gd name="T27" fmla="*/ 24 h 144"/>
                <a:gd name="T28" fmla="*/ 17 w 151"/>
                <a:gd name="T29" fmla="*/ 39 h 144"/>
                <a:gd name="T30" fmla="*/ 11 w 151"/>
                <a:gd name="T31" fmla="*/ 46 h 144"/>
                <a:gd name="T32" fmla="*/ 9 w 151"/>
                <a:gd name="T33" fmla="*/ 46 h 144"/>
                <a:gd name="T34" fmla="*/ 12 w 151"/>
                <a:gd name="T35" fmla="*/ 55 h 144"/>
                <a:gd name="T36" fmla="*/ 3 w 151"/>
                <a:gd name="T37" fmla="*/ 58 h 144"/>
                <a:gd name="T38" fmla="*/ 14 w 151"/>
                <a:gd name="T39" fmla="*/ 72 h 144"/>
                <a:gd name="T40" fmla="*/ 24 w 151"/>
                <a:gd name="T41" fmla="*/ 73 h 144"/>
                <a:gd name="T42" fmla="*/ 19 w 151"/>
                <a:gd name="T43" fmla="*/ 75 h 144"/>
                <a:gd name="T44" fmla="*/ 16 w 151"/>
                <a:gd name="T45" fmla="*/ 77 h 144"/>
                <a:gd name="T46" fmla="*/ 23 w 151"/>
                <a:gd name="T47" fmla="*/ 89 h 144"/>
                <a:gd name="T48" fmla="*/ 33 w 151"/>
                <a:gd name="T49" fmla="*/ 92 h 144"/>
                <a:gd name="T50" fmla="*/ 54 w 151"/>
                <a:gd name="T51" fmla="*/ 90 h 144"/>
                <a:gd name="T52" fmla="*/ 73 w 151"/>
                <a:gd name="T53" fmla="*/ 96 h 144"/>
                <a:gd name="T54" fmla="*/ 50 w 151"/>
                <a:gd name="T55" fmla="*/ 94 h 144"/>
                <a:gd name="T56" fmla="*/ 24 w 151"/>
                <a:gd name="T57" fmla="*/ 103 h 144"/>
                <a:gd name="T58" fmla="*/ 37 w 151"/>
                <a:gd name="T59" fmla="*/ 129 h 144"/>
                <a:gd name="T60" fmla="*/ 44 w 151"/>
                <a:gd name="T61" fmla="*/ 127 h 144"/>
                <a:gd name="T62" fmla="*/ 58 w 151"/>
                <a:gd name="T63" fmla="*/ 136 h 144"/>
                <a:gd name="T64" fmla="*/ 62 w 151"/>
                <a:gd name="T65" fmla="*/ 113 h 144"/>
                <a:gd name="T66" fmla="*/ 78 w 151"/>
                <a:gd name="T67" fmla="*/ 112 h 144"/>
                <a:gd name="T68" fmla="*/ 74 w 151"/>
                <a:gd name="T69" fmla="*/ 111 h 144"/>
                <a:gd name="T70" fmla="*/ 82 w 151"/>
                <a:gd name="T71" fmla="*/ 99 h 144"/>
                <a:gd name="T72" fmla="*/ 84 w 151"/>
                <a:gd name="T73" fmla="*/ 102 h 144"/>
                <a:gd name="T74" fmla="*/ 89 w 151"/>
                <a:gd name="T75" fmla="*/ 106 h 144"/>
                <a:gd name="T76" fmla="*/ 94 w 151"/>
                <a:gd name="T77" fmla="*/ 105 h 144"/>
                <a:gd name="T78" fmla="*/ 66 w 151"/>
                <a:gd name="T79" fmla="*/ 79 h 144"/>
                <a:gd name="T80" fmla="*/ 65 w 151"/>
                <a:gd name="T81" fmla="*/ 68 h 144"/>
                <a:gd name="T82" fmla="*/ 73 w 151"/>
                <a:gd name="T83" fmla="*/ 67 h 144"/>
                <a:gd name="T84" fmla="*/ 70 w 151"/>
                <a:gd name="T85" fmla="*/ 70 h 144"/>
                <a:gd name="T86" fmla="*/ 60 w 151"/>
                <a:gd name="T87" fmla="*/ 45 h 144"/>
                <a:gd name="T88" fmla="*/ 65 w 151"/>
                <a:gd name="T89" fmla="*/ 28 h 144"/>
                <a:gd name="T90" fmla="*/ 65 w 151"/>
                <a:gd name="T91" fmla="*/ 31 h 144"/>
                <a:gd name="T92" fmla="*/ 75 w 151"/>
                <a:gd name="T93" fmla="*/ 38 h 144"/>
                <a:gd name="T94" fmla="*/ 81 w 151"/>
                <a:gd name="T95" fmla="*/ 47 h 144"/>
                <a:gd name="T96" fmla="*/ 81 w 151"/>
                <a:gd name="T97" fmla="*/ 39 h 144"/>
                <a:gd name="T98" fmla="*/ 91 w 151"/>
                <a:gd name="T99" fmla="*/ 47 h 144"/>
                <a:gd name="T100" fmla="*/ 95 w 151"/>
                <a:gd name="T101" fmla="*/ 37 h 144"/>
                <a:gd name="T102" fmla="*/ 106 w 151"/>
                <a:gd name="T103" fmla="*/ 19 h 144"/>
                <a:gd name="T104" fmla="*/ 119 w 151"/>
                <a:gd name="T105" fmla="*/ 17 h 144"/>
                <a:gd name="T106" fmla="*/ 142 w 151"/>
                <a:gd name="T107" fmla="*/ 19 h 144"/>
                <a:gd name="T108" fmla="*/ 144 w 151"/>
                <a:gd name="T109" fmla="*/ 15 h 144"/>
                <a:gd name="T110" fmla="*/ 144 w 151"/>
                <a:gd name="T111" fmla="*/ 10 h 144"/>
                <a:gd name="T112" fmla="*/ 151 w 151"/>
                <a:gd name="T113" fmla="*/ 3 h 144"/>
                <a:gd name="T114" fmla="*/ 149 w 151"/>
                <a:gd name="T115" fmla="*/ 1 h 144"/>
                <a:gd name="T116" fmla="*/ 147 w 151"/>
                <a:gd name="T1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144">
                  <a:moveTo>
                    <a:pt x="145" y="0"/>
                  </a:moveTo>
                  <a:cubicBezTo>
                    <a:pt x="146" y="2"/>
                    <a:pt x="145" y="4"/>
                    <a:pt x="145" y="6"/>
                  </a:cubicBezTo>
                  <a:cubicBezTo>
                    <a:pt x="145" y="7"/>
                    <a:pt x="145" y="7"/>
                    <a:pt x="145" y="7"/>
                  </a:cubicBezTo>
                  <a:cubicBezTo>
                    <a:pt x="145" y="8"/>
                    <a:pt x="145" y="8"/>
                    <a:pt x="145" y="8"/>
                  </a:cubicBezTo>
                  <a:cubicBezTo>
                    <a:pt x="143" y="10"/>
                    <a:pt x="140" y="11"/>
                    <a:pt x="137" y="11"/>
                  </a:cubicBezTo>
                  <a:cubicBezTo>
                    <a:pt x="135" y="12"/>
                    <a:pt x="134" y="12"/>
                    <a:pt x="132" y="12"/>
                  </a:cubicBezTo>
                  <a:cubicBezTo>
                    <a:pt x="129" y="12"/>
                    <a:pt x="129" y="12"/>
                    <a:pt x="129" y="12"/>
                  </a:cubicBezTo>
                  <a:cubicBezTo>
                    <a:pt x="129" y="12"/>
                    <a:pt x="129" y="12"/>
                    <a:pt x="129" y="12"/>
                  </a:cubicBezTo>
                  <a:cubicBezTo>
                    <a:pt x="124" y="13"/>
                    <a:pt x="124" y="13"/>
                    <a:pt x="124" y="13"/>
                  </a:cubicBezTo>
                  <a:cubicBezTo>
                    <a:pt x="123" y="13"/>
                    <a:pt x="123" y="13"/>
                    <a:pt x="123" y="13"/>
                  </a:cubicBezTo>
                  <a:cubicBezTo>
                    <a:pt x="123" y="13"/>
                    <a:pt x="123" y="13"/>
                    <a:pt x="123" y="13"/>
                  </a:cubicBezTo>
                  <a:cubicBezTo>
                    <a:pt x="122" y="13"/>
                    <a:pt x="121" y="13"/>
                    <a:pt x="120" y="13"/>
                  </a:cubicBezTo>
                  <a:cubicBezTo>
                    <a:pt x="119" y="12"/>
                    <a:pt x="119" y="12"/>
                    <a:pt x="119" y="12"/>
                  </a:cubicBezTo>
                  <a:cubicBezTo>
                    <a:pt x="119" y="12"/>
                    <a:pt x="119" y="12"/>
                    <a:pt x="119" y="12"/>
                  </a:cubicBezTo>
                  <a:cubicBezTo>
                    <a:pt x="118" y="11"/>
                    <a:pt x="117" y="11"/>
                    <a:pt x="116" y="11"/>
                  </a:cubicBezTo>
                  <a:cubicBezTo>
                    <a:pt x="116" y="11"/>
                    <a:pt x="116" y="11"/>
                    <a:pt x="116" y="11"/>
                  </a:cubicBezTo>
                  <a:cubicBezTo>
                    <a:pt x="115" y="11"/>
                    <a:pt x="115" y="11"/>
                    <a:pt x="114" y="11"/>
                  </a:cubicBezTo>
                  <a:cubicBezTo>
                    <a:pt x="112" y="10"/>
                    <a:pt x="110" y="10"/>
                    <a:pt x="108" y="8"/>
                  </a:cubicBezTo>
                  <a:cubicBezTo>
                    <a:pt x="106" y="7"/>
                    <a:pt x="106" y="7"/>
                    <a:pt x="106" y="7"/>
                  </a:cubicBezTo>
                  <a:cubicBezTo>
                    <a:pt x="105" y="6"/>
                    <a:pt x="104" y="5"/>
                    <a:pt x="104" y="4"/>
                  </a:cubicBezTo>
                  <a:cubicBezTo>
                    <a:pt x="103" y="4"/>
                    <a:pt x="103" y="4"/>
                    <a:pt x="103" y="4"/>
                  </a:cubicBezTo>
                  <a:cubicBezTo>
                    <a:pt x="103" y="4"/>
                    <a:pt x="103" y="4"/>
                    <a:pt x="103" y="4"/>
                  </a:cubicBezTo>
                  <a:cubicBezTo>
                    <a:pt x="102" y="4"/>
                    <a:pt x="101" y="4"/>
                    <a:pt x="100" y="5"/>
                  </a:cubicBezTo>
                  <a:cubicBezTo>
                    <a:pt x="98" y="5"/>
                    <a:pt x="98" y="5"/>
                    <a:pt x="98" y="5"/>
                  </a:cubicBezTo>
                  <a:cubicBezTo>
                    <a:pt x="96" y="5"/>
                    <a:pt x="94" y="6"/>
                    <a:pt x="92" y="7"/>
                  </a:cubicBezTo>
                  <a:cubicBezTo>
                    <a:pt x="88" y="8"/>
                    <a:pt x="88" y="8"/>
                    <a:pt x="88" y="8"/>
                  </a:cubicBezTo>
                  <a:cubicBezTo>
                    <a:pt x="87" y="9"/>
                    <a:pt x="86" y="9"/>
                    <a:pt x="84" y="9"/>
                  </a:cubicBezTo>
                  <a:cubicBezTo>
                    <a:pt x="84" y="10"/>
                    <a:pt x="84" y="10"/>
                    <a:pt x="84" y="10"/>
                  </a:cubicBezTo>
                  <a:cubicBezTo>
                    <a:pt x="80" y="10"/>
                    <a:pt x="76" y="10"/>
                    <a:pt x="72" y="10"/>
                  </a:cubicBezTo>
                  <a:cubicBezTo>
                    <a:pt x="71" y="10"/>
                    <a:pt x="71" y="10"/>
                    <a:pt x="71" y="10"/>
                  </a:cubicBezTo>
                  <a:cubicBezTo>
                    <a:pt x="70" y="11"/>
                    <a:pt x="68" y="11"/>
                    <a:pt x="67" y="11"/>
                  </a:cubicBezTo>
                  <a:cubicBezTo>
                    <a:pt x="65" y="11"/>
                    <a:pt x="65" y="11"/>
                    <a:pt x="65" y="11"/>
                  </a:cubicBezTo>
                  <a:cubicBezTo>
                    <a:pt x="65" y="11"/>
                    <a:pt x="64" y="12"/>
                    <a:pt x="64" y="12"/>
                  </a:cubicBezTo>
                  <a:cubicBezTo>
                    <a:pt x="64" y="13"/>
                    <a:pt x="63" y="14"/>
                    <a:pt x="62" y="14"/>
                  </a:cubicBezTo>
                  <a:cubicBezTo>
                    <a:pt x="61" y="16"/>
                    <a:pt x="59" y="17"/>
                    <a:pt x="56" y="17"/>
                  </a:cubicBezTo>
                  <a:cubicBezTo>
                    <a:pt x="56" y="17"/>
                    <a:pt x="55" y="17"/>
                    <a:pt x="54" y="17"/>
                  </a:cubicBezTo>
                  <a:cubicBezTo>
                    <a:pt x="52" y="16"/>
                    <a:pt x="52" y="16"/>
                    <a:pt x="52" y="16"/>
                  </a:cubicBezTo>
                  <a:cubicBezTo>
                    <a:pt x="52" y="16"/>
                    <a:pt x="50" y="16"/>
                    <a:pt x="50" y="16"/>
                  </a:cubicBezTo>
                  <a:cubicBezTo>
                    <a:pt x="50" y="16"/>
                    <a:pt x="50" y="16"/>
                    <a:pt x="50" y="16"/>
                  </a:cubicBezTo>
                  <a:cubicBezTo>
                    <a:pt x="49" y="16"/>
                    <a:pt x="49" y="16"/>
                    <a:pt x="49" y="16"/>
                  </a:cubicBezTo>
                  <a:cubicBezTo>
                    <a:pt x="48" y="16"/>
                    <a:pt x="48" y="16"/>
                    <a:pt x="47" y="16"/>
                  </a:cubicBezTo>
                  <a:cubicBezTo>
                    <a:pt x="45" y="17"/>
                    <a:pt x="45" y="17"/>
                    <a:pt x="45" y="17"/>
                  </a:cubicBezTo>
                  <a:cubicBezTo>
                    <a:pt x="45" y="17"/>
                    <a:pt x="45" y="17"/>
                    <a:pt x="45" y="17"/>
                  </a:cubicBezTo>
                  <a:cubicBezTo>
                    <a:pt x="44" y="18"/>
                    <a:pt x="44" y="18"/>
                    <a:pt x="44" y="18"/>
                  </a:cubicBezTo>
                  <a:cubicBezTo>
                    <a:pt x="44" y="19"/>
                    <a:pt x="44" y="19"/>
                    <a:pt x="43" y="20"/>
                  </a:cubicBezTo>
                  <a:cubicBezTo>
                    <a:pt x="43" y="20"/>
                    <a:pt x="43" y="21"/>
                    <a:pt x="43" y="21"/>
                  </a:cubicBezTo>
                  <a:cubicBezTo>
                    <a:pt x="42" y="21"/>
                    <a:pt x="41" y="22"/>
                    <a:pt x="40" y="22"/>
                  </a:cubicBezTo>
                  <a:cubicBezTo>
                    <a:pt x="39" y="22"/>
                    <a:pt x="39" y="22"/>
                    <a:pt x="38" y="22"/>
                  </a:cubicBezTo>
                  <a:cubicBezTo>
                    <a:pt x="36" y="23"/>
                    <a:pt x="36" y="23"/>
                    <a:pt x="36" y="23"/>
                  </a:cubicBezTo>
                  <a:cubicBezTo>
                    <a:pt x="35" y="23"/>
                    <a:pt x="35" y="23"/>
                    <a:pt x="35" y="23"/>
                  </a:cubicBezTo>
                  <a:cubicBezTo>
                    <a:pt x="34" y="23"/>
                    <a:pt x="33" y="23"/>
                    <a:pt x="32" y="23"/>
                  </a:cubicBezTo>
                  <a:cubicBezTo>
                    <a:pt x="29" y="23"/>
                    <a:pt x="29" y="23"/>
                    <a:pt x="29" y="23"/>
                  </a:cubicBezTo>
                  <a:cubicBezTo>
                    <a:pt x="28" y="24"/>
                    <a:pt x="28" y="24"/>
                    <a:pt x="27" y="24"/>
                  </a:cubicBezTo>
                  <a:cubicBezTo>
                    <a:pt x="27" y="24"/>
                    <a:pt x="27" y="24"/>
                    <a:pt x="26" y="24"/>
                  </a:cubicBezTo>
                  <a:cubicBezTo>
                    <a:pt x="25" y="24"/>
                    <a:pt x="25" y="24"/>
                    <a:pt x="24" y="24"/>
                  </a:cubicBezTo>
                  <a:cubicBezTo>
                    <a:pt x="24" y="24"/>
                    <a:pt x="24" y="24"/>
                    <a:pt x="24" y="24"/>
                  </a:cubicBezTo>
                  <a:cubicBezTo>
                    <a:pt x="24" y="24"/>
                    <a:pt x="24" y="24"/>
                    <a:pt x="24" y="24"/>
                  </a:cubicBezTo>
                  <a:cubicBezTo>
                    <a:pt x="26" y="29"/>
                    <a:pt x="24" y="31"/>
                    <a:pt x="21" y="33"/>
                  </a:cubicBezTo>
                  <a:cubicBezTo>
                    <a:pt x="20" y="33"/>
                    <a:pt x="20" y="34"/>
                    <a:pt x="19" y="35"/>
                  </a:cubicBezTo>
                  <a:cubicBezTo>
                    <a:pt x="18" y="36"/>
                    <a:pt x="18" y="38"/>
                    <a:pt x="17" y="39"/>
                  </a:cubicBezTo>
                  <a:cubicBezTo>
                    <a:pt x="17" y="40"/>
                    <a:pt x="17" y="40"/>
                    <a:pt x="17" y="40"/>
                  </a:cubicBezTo>
                  <a:cubicBezTo>
                    <a:pt x="16" y="41"/>
                    <a:pt x="16" y="42"/>
                    <a:pt x="15" y="43"/>
                  </a:cubicBezTo>
                  <a:cubicBezTo>
                    <a:pt x="15" y="44"/>
                    <a:pt x="15" y="44"/>
                    <a:pt x="15" y="44"/>
                  </a:cubicBezTo>
                  <a:cubicBezTo>
                    <a:pt x="14" y="46"/>
                    <a:pt x="12" y="46"/>
                    <a:pt x="11" y="46"/>
                  </a:cubicBezTo>
                  <a:cubicBezTo>
                    <a:pt x="11" y="46"/>
                    <a:pt x="10" y="46"/>
                    <a:pt x="10" y="46"/>
                  </a:cubicBezTo>
                  <a:cubicBezTo>
                    <a:pt x="10" y="46"/>
                    <a:pt x="10" y="46"/>
                    <a:pt x="10" y="46"/>
                  </a:cubicBezTo>
                  <a:cubicBezTo>
                    <a:pt x="10" y="46"/>
                    <a:pt x="10" y="46"/>
                    <a:pt x="10" y="46"/>
                  </a:cubicBezTo>
                  <a:cubicBezTo>
                    <a:pt x="10" y="46"/>
                    <a:pt x="9" y="46"/>
                    <a:pt x="9" y="46"/>
                  </a:cubicBezTo>
                  <a:cubicBezTo>
                    <a:pt x="9" y="47"/>
                    <a:pt x="9" y="47"/>
                    <a:pt x="9" y="47"/>
                  </a:cubicBezTo>
                  <a:cubicBezTo>
                    <a:pt x="9" y="47"/>
                    <a:pt x="9" y="48"/>
                    <a:pt x="10" y="48"/>
                  </a:cubicBezTo>
                  <a:cubicBezTo>
                    <a:pt x="10" y="49"/>
                    <a:pt x="10" y="49"/>
                    <a:pt x="10" y="49"/>
                  </a:cubicBezTo>
                  <a:cubicBezTo>
                    <a:pt x="12" y="55"/>
                    <a:pt x="12" y="55"/>
                    <a:pt x="12" y="55"/>
                  </a:cubicBezTo>
                  <a:cubicBezTo>
                    <a:pt x="7" y="54"/>
                    <a:pt x="7" y="54"/>
                    <a:pt x="7" y="54"/>
                  </a:cubicBezTo>
                  <a:cubicBezTo>
                    <a:pt x="7" y="54"/>
                    <a:pt x="7" y="54"/>
                    <a:pt x="7" y="54"/>
                  </a:cubicBezTo>
                  <a:cubicBezTo>
                    <a:pt x="7" y="55"/>
                    <a:pt x="6" y="56"/>
                    <a:pt x="5" y="57"/>
                  </a:cubicBezTo>
                  <a:cubicBezTo>
                    <a:pt x="4" y="57"/>
                    <a:pt x="4" y="57"/>
                    <a:pt x="3" y="58"/>
                  </a:cubicBezTo>
                  <a:cubicBezTo>
                    <a:pt x="3" y="58"/>
                    <a:pt x="3" y="58"/>
                    <a:pt x="3" y="58"/>
                  </a:cubicBezTo>
                  <a:cubicBezTo>
                    <a:pt x="2" y="58"/>
                    <a:pt x="1" y="57"/>
                    <a:pt x="0" y="57"/>
                  </a:cubicBezTo>
                  <a:cubicBezTo>
                    <a:pt x="2" y="60"/>
                    <a:pt x="3" y="62"/>
                    <a:pt x="5" y="64"/>
                  </a:cubicBezTo>
                  <a:cubicBezTo>
                    <a:pt x="8" y="67"/>
                    <a:pt x="12" y="69"/>
                    <a:pt x="14" y="72"/>
                  </a:cubicBezTo>
                  <a:cubicBezTo>
                    <a:pt x="15" y="72"/>
                    <a:pt x="15" y="73"/>
                    <a:pt x="15" y="74"/>
                  </a:cubicBezTo>
                  <a:cubicBezTo>
                    <a:pt x="16" y="73"/>
                    <a:pt x="16" y="70"/>
                    <a:pt x="18" y="70"/>
                  </a:cubicBezTo>
                  <a:cubicBezTo>
                    <a:pt x="18" y="70"/>
                    <a:pt x="18" y="70"/>
                    <a:pt x="18" y="70"/>
                  </a:cubicBezTo>
                  <a:cubicBezTo>
                    <a:pt x="20" y="71"/>
                    <a:pt x="24" y="71"/>
                    <a:pt x="24" y="73"/>
                  </a:cubicBezTo>
                  <a:cubicBezTo>
                    <a:pt x="24" y="74"/>
                    <a:pt x="24" y="76"/>
                    <a:pt x="23" y="77"/>
                  </a:cubicBezTo>
                  <a:cubicBezTo>
                    <a:pt x="22" y="76"/>
                    <a:pt x="21" y="75"/>
                    <a:pt x="20" y="75"/>
                  </a:cubicBezTo>
                  <a:cubicBezTo>
                    <a:pt x="20" y="75"/>
                    <a:pt x="20" y="74"/>
                    <a:pt x="20" y="74"/>
                  </a:cubicBezTo>
                  <a:cubicBezTo>
                    <a:pt x="20" y="74"/>
                    <a:pt x="19" y="75"/>
                    <a:pt x="19" y="75"/>
                  </a:cubicBezTo>
                  <a:cubicBezTo>
                    <a:pt x="19" y="75"/>
                    <a:pt x="19" y="75"/>
                    <a:pt x="19" y="75"/>
                  </a:cubicBezTo>
                  <a:cubicBezTo>
                    <a:pt x="19" y="75"/>
                    <a:pt x="19" y="75"/>
                    <a:pt x="19" y="75"/>
                  </a:cubicBezTo>
                  <a:cubicBezTo>
                    <a:pt x="18" y="75"/>
                    <a:pt x="17" y="75"/>
                    <a:pt x="16" y="75"/>
                  </a:cubicBezTo>
                  <a:cubicBezTo>
                    <a:pt x="16" y="75"/>
                    <a:pt x="15" y="75"/>
                    <a:pt x="16" y="77"/>
                  </a:cubicBezTo>
                  <a:cubicBezTo>
                    <a:pt x="14" y="77"/>
                    <a:pt x="16" y="79"/>
                    <a:pt x="16" y="80"/>
                  </a:cubicBezTo>
                  <a:cubicBezTo>
                    <a:pt x="18" y="82"/>
                    <a:pt x="20" y="84"/>
                    <a:pt x="22" y="86"/>
                  </a:cubicBezTo>
                  <a:cubicBezTo>
                    <a:pt x="22" y="87"/>
                    <a:pt x="23" y="88"/>
                    <a:pt x="24" y="89"/>
                  </a:cubicBezTo>
                  <a:cubicBezTo>
                    <a:pt x="23" y="89"/>
                    <a:pt x="23" y="89"/>
                    <a:pt x="23" y="89"/>
                  </a:cubicBezTo>
                  <a:cubicBezTo>
                    <a:pt x="24" y="90"/>
                    <a:pt x="24" y="90"/>
                    <a:pt x="24" y="91"/>
                  </a:cubicBezTo>
                  <a:cubicBezTo>
                    <a:pt x="26" y="90"/>
                    <a:pt x="28" y="89"/>
                    <a:pt x="29" y="88"/>
                  </a:cubicBezTo>
                  <a:cubicBezTo>
                    <a:pt x="29" y="87"/>
                    <a:pt x="29" y="87"/>
                    <a:pt x="29" y="87"/>
                  </a:cubicBezTo>
                  <a:cubicBezTo>
                    <a:pt x="30" y="88"/>
                    <a:pt x="33" y="91"/>
                    <a:pt x="33" y="92"/>
                  </a:cubicBezTo>
                  <a:cubicBezTo>
                    <a:pt x="35" y="92"/>
                    <a:pt x="38" y="91"/>
                    <a:pt x="41" y="90"/>
                  </a:cubicBezTo>
                  <a:cubicBezTo>
                    <a:pt x="42" y="90"/>
                    <a:pt x="44" y="90"/>
                    <a:pt x="45" y="90"/>
                  </a:cubicBezTo>
                  <a:cubicBezTo>
                    <a:pt x="47" y="90"/>
                    <a:pt x="50" y="90"/>
                    <a:pt x="52" y="90"/>
                  </a:cubicBezTo>
                  <a:cubicBezTo>
                    <a:pt x="53" y="90"/>
                    <a:pt x="53" y="90"/>
                    <a:pt x="54" y="90"/>
                  </a:cubicBezTo>
                  <a:cubicBezTo>
                    <a:pt x="54" y="90"/>
                    <a:pt x="54" y="90"/>
                    <a:pt x="54" y="90"/>
                  </a:cubicBezTo>
                  <a:cubicBezTo>
                    <a:pt x="55" y="90"/>
                    <a:pt x="55" y="90"/>
                    <a:pt x="55" y="90"/>
                  </a:cubicBezTo>
                  <a:cubicBezTo>
                    <a:pt x="57" y="90"/>
                    <a:pt x="60" y="90"/>
                    <a:pt x="62" y="91"/>
                  </a:cubicBezTo>
                  <a:cubicBezTo>
                    <a:pt x="66" y="93"/>
                    <a:pt x="70" y="94"/>
                    <a:pt x="73" y="96"/>
                  </a:cubicBezTo>
                  <a:cubicBezTo>
                    <a:pt x="73" y="98"/>
                    <a:pt x="69" y="101"/>
                    <a:pt x="67" y="102"/>
                  </a:cubicBezTo>
                  <a:cubicBezTo>
                    <a:pt x="66" y="102"/>
                    <a:pt x="66" y="102"/>
                    <a:pt x="66" y="102"/>
                  </a:cubicBezTo>
                  <a:cubicBezTo>
                    <a:pt x="65" y="102"/>
                    <a:pt x="63" y="101"/>
                    <a:pt x="62" y="100"/>
                  </a:cubicBezTo>
                  <a:cubicBezTo>
                    <a:pt x="58" y="98"/>
                    <a:pt x="54" y="96"/>
                    <a:pt x="50" y="94"/>
                  </a:cubicBezTo>
                  <a:cubicBezTo>
                    <a:pt x="47" y="93"/>
                    <a:pt x="45" y="91"/>
                    <a:pt x="43" y="91"/>
                  </a:cubicBezTo>
                  <a:cubicBezTo>
                    <a:pt x="38" y="91"/>
                    <a:pt x="32" y="95"/>
                    <a:pt x="29" y="99"/>
                  </a:cubicBezTo>
                  <a:cubicBezTo>
                    <a:pt x="28" y="100"/>
                    <a:pt x="28" y="100"/>
                    <a:pt x="28" y="101"/>
                  </a:cubicBezTo>
                  <a:cubicBezTo>
                    <a:pt x="26" y="102"/>
                    <a:pt x="24" y="102"/>
                    <a:pt x="24" y="103"/>
                  </a:cubicBezTo>
                  <a:cubicBezTo>
                    <a:pt x="23" y="105"/>
                    <a:pt x="28" y="108"/>
                    <a:pt x="29" y="109"/>
                  </a:cubicBezTo>
                  <a:cubicBezTo>
                    <a:pt x="33" y="113"/>
                    <a:pt x="39" y="115"/>
                    <a:pt x="36" y="121"/>
                  </a:cubicBezTo>
                  <a:cubicBezTo>
                    <a:pt x="36" y="123"/>
                    <a:pt x="34" y="122"/>
                    <a:pt x="35" y="125"/>
                  </a:cubicBezTo>
                  <a:cubicBezTo>
                    <a:pt x="35" y="126"/>
                    <a:pt x="36" y="128"/>
                    <a:pt x="37" y="129"/>
                  </a:cubicBezTo>
                  <a:cubicBezTo>
                    <a:pt x="38" y="130"/>
                    <a:pt x="37" y="132"/>
                    <a:pt x="38" y="132"/>
                  </a:cubicBezTo>
                  <a:cubicBezTo>
                    <a:pt x="38" y="132"/>
                    <a:pt x="38" y="132"/>
                    <a:pt x="39" y="132"/>
                  </a:cubicBezTo>
                  <a:cubicBezTo>
                    <a:pt x="41" y="132"/>
                    <a:pt x="43" y="129"/>
                    <a:pt x="43" y="129"/>
                  </a:cubicBezTo>
                  <a:cubicBezTo>
                    <a:pt x="44" y="128"/>
                    <a:pt x="44" y="128"/>
                    <a:pt x="44" y="127"/>
                  </a:cubicBezTo>
                  <a:cubicBezTo>
                    <a:pt x="45" y="127"/>
                    <a:pt x="46" y="127"/>
                    <a:pt x="46" y="127"/>
                  </a:cubicBezTo>
                  <a:cubicBezTo>
                    <a:pt x="51" y="127"/>
                    <a:pt x="55" y="141"/>
                    <a:pt x="56" y="144"/>
                  </a:cubicBezTo>
                  <a:cubicBezTo>
                    <a:pt x="57" y="142"/>
                    <a:pt x="56" y="140"/>
                    <a:pt x="56" y="139"/>
                  </a:cubicBezTo>
                  <a:cubicBezTo>
                    <a:pt x="56" y="138"/>
                    <a:pt x="57" y="137"/>
                    <a:pt x="58" y="136"/>
                  </a:cubicBezTo>
                  <a:cubicBezTo>
                    <a:pt x="58" y="136"/>
                    <a:pt x="58" y="134"/>
                    <a:pt x="58" y="133"/>
                  </a:cubicBezTo>
                  <a:cubicBezTo>
                    <a:pt x="59" y="133"/>
                    <a:pt x="59" y="133"/>
                    <a:pt x="60" y="133"/>
                  </a:cubicBezTo>
                  <a:cubicBezTo>
                    <a:pt x="63" y="133"/>
                    <a:pt x="71" y="141"/>
                    <a:pt x="73" y="143"/>
                  </a:cubicBezTo>
                  <a:cubicBezTo>
                    <a:pt x="70" y="132"/>
                    <a:pt x="67" y="123"/>
                    <a:pt x="62" y="113"/>
                  </a:cubicBezTo>
                  <a:cubicBezTo>
                    <a:pt x="65" y="115"/>
                    <a:pt x="70" y="117"/>
                    <a:pt x="71" y="119"/>
                  </a:cubicBezTo>
                  <a:cubicBezTo>
                    <a:pt x="72" y="119"/>
                    <a:pt x="72" y="119"/>
                    <a:pt x="72" y="119"/>
                  </a:cubicBezTo>
                  <a:cubicBezTo>
                    <a:pt x="73" y="119"/>
                    <a:pt x="74" y="119"/>
                    <a:pt x="76" y="118"/>
                  </a:cubicBezTo>
                  <a:cubicBezTo>
                    <a:pt x="79" y="116"/>
                    <a:pt x="80" y="116"/>
                    <a:pt x="78" y="112"/>
                  </a:cubicBezTo>
                  <a:cubicBezTo>
                    <a:pt x="78" y="111"/>
                    <a:pt x="78" y="111"/>
                    <a:pt x="78" y="111"/>
                  </a:cubicBezTo>
                  <a:cubicBezTo>
                    <a:pt x="78" y="110"/>
                    <a:pt x="78" y="110"/>
                    <a:pt x="77" y="110"/>
                  </a:cubicBezTo>
                  <a:cubicBezTo>
                    <a:pt x="76" y="110"/>
                    <a:pt x="75" y="111"/>
                    <a:pt x="74" y="111"/>
                  </a:cubicBezTo>
                  <a:cubicBezTo>
                    <a:pt x="74" y="111"/>
                    <a:pt x="74" y="111"/>
                    <a:pt x="74" y="111"/>
                  </a:cubicBezTo>
                  <a:cubicBezTo>
                    <a:pt x="73" y="111"/>
                    <a:pt x="71" y="106"/>
                    <a:pt x="70" y="105"/>
                  </a:cubicBezTo>
                  <a:cubicBezTo>
                    <a:pt x="70" y="105"/>
                    <a:pt x="68" y="105"/>
                    <a:pt x="68" y="104"/>
                  </a:cubicBezTo>
                  <a:cubicBezTo>
                    <a:pt x="69" y="101"/>
                    <a:pt x="76" y="102"/>
                    <a:pt x="78" y="101"/>
                  </a:cubicBezTo>
                  <a:cubicBezTo>
                    <a:pt x="79" y="101"/>
                    <a:pt x="80" y="99"/>
                    <a:pt x="82" y="99"/>
                  </a:cubicBezTo>
                  <a:cubicBezTo>
                    <a:pt x="82" y="99"/>
                    <a:pt x="82" y="99"/>
                    <a:pt x="82" y="99"/>
                  </a:cubicBezTo>
                  <a:cubicBezTo>
                    <a:pt x="83" y="100"/>
                    <a:pt x="81" y="101"/>
                    <a:pt x="84" y="102"/>
                  </a:cubicBezTo>
                  <a:cubicBezTo>
                    <a:pt x="83" y="102"/>
                    <a:pt x="83" y="102"/>
                    <a:pt x="83" y="102"/>
                  </a:cubicBezTo>
                  <a:cubicBezTo>
                    <a:pt x="84" y="102"/>
                    <a:pt x="84" y="102"/>
                    <a:pt x="84" y="102"/>
                  </a:cubicBezTo>
                  <a:cubicBezTo>
                    <a:pt x="84" y="102"/>
                    <a:pt x="85" y="102"/>
                    <a:pt x="85" y="102"/>
                  </a:cubicBezTo>
                  <a:cubicBezTo>
                    <a:pt x="86" y="103"/>
                    <a:pt x="86" y="105"/>
                    <a:pt x="87" y="106"/>
                  </a:cubicBezTo>
                  <a:cubicBezTo>
                    <a:pt x="87" y="106"/>
                    <a:pt x="87" y="106"/>
                    <a:pt x="88" y="106"/>
                  </a:cubicBezTo>
                  <a:cubicBezTo>
                    <a:pt x="88" y="106"/>
                    <a:pt x="89" y="106"/>
                    <a:pt x="89" y="106"/>
                  </a:cubicBezTo>
                  <a:cubicBezTo>
                    <a:pt x="90" y="106"/>
                    <a:pt x="90" y="107"/>
                    <a:pt x="90" y="108"/>
                  </a:cubicBezTo>
                  <a:cubicBezTo>
                    <a:pt x="91" y="108"/>
                    <a:pt x="90" y="109"/>
                    <a:pt x="91" y="109"/>
                  </a:cubicBezTo>
                  <a:cubicBezTo>
                    <a:pt x="92" y="109"/>
                    <a:pt x="92" y="109"/>
                    <a:pt x="92" y="109"/>
                  </a:cubicBezTo>
                  <a:cubicBezTo>
                    <a:pt x="94" y="109"/>
                    <a:pt x="94" y="107"/>
                    <a:pt x="94" y="105"/>
                  </a:cubicBezTo>
                  <a:cubicBezTo>
                    <a:pt x="93" y="103"/>
                    <a:pt x="91" y="97"/>
                    <a:pt x="93" y="97"/>
                  </a:cubicBezTo>
                  <a:cubicBezTo>
                    <a:pt x="93" y="97"/>
                    <a:pt x="93" y="97"/>
                    <a:pt x="93" y="97"/>
                  </a:cubicBezTo>
                  <a:cubicBezTo>
                    <a:pt x="95" y="94"/>
                    <a:pt x="76" y="87"/>
                    <a:pt x="74" y="85"/>
                  </a:cubicBezTo>
                  <a:cubicBezTo>
                    <a:pt x="71" y="83"/>
                    <a:pt x="69" y="80"/>
                    <a:pt x="66" y="79"/>
                  </a:cubicBezTo>
                  <a:cubicBezTo>
                    <a:pt x="65" y="79"/>
                    <a:pt x="63" y="78"/>
                    <a:pt x="62" y="78"/>
                  </a:cubicBezTo>
                  <a:cubicBezTo>
                    <a:pt x="61" y="78"/>
                    <a:pt x="59" y="78"/>
                    <a:pt x="57" y="77"/>
                  </a:cubicBezTo>
                  <a:cubicBezTo>
                    <a:pt x="61" y="75"/>
                    <a:pt x="65" y="74"/>
                    <a:pt x="69" y="73"/>
                  </a:cubicBezTo>
                  <a:cubicBezTo>
                    <a:pt x="68" y="71"/>
                    <a:pt x="67" y="69"/>
                    <a:pt x="65" y="68"/>
                  </a:cubicBezTo>
                  <a:cubicBezTo>
                    <a:pt x="65" y="69"/>
                    <a:pt x="65" y="69"/>
                    <a:pt x="65" y="69"/>
                  </a:cubicBezTo>
                  <a:cubicBezTo>
                    <a:pt x="63" y="66"/>
                    <a:pt x="66" y="64"/>
                    <a:pt x="69" y="64"/>
                  </a:cubicBezTo>
                  <a:cubicBezTo>
                    <a:pt x="69" y="64"/>
                    <a:pt x="70" y="64"/>
                    <a:pt x="71" y="64"/>
                  </a:cubicBezTo>
                  <a:cubicBezTo>
                    <a:pt x="72" y="65"/>
                    <a:pt x="72" y="65"/>
                    <a:pt x="73" y="67"/>
                  </a:cubicBezTo>
                  <a:cubicBezTo>
                    <a:pt x="73" y="68"/>
                    <a:pt x="74" y="68"/>
                    <a:pt x="72" y="69"/>
                  </a:cubicBezTo>
                  <a:cubicBezTo>
                    <a:pt x="72" y="70"/>
                    <a:pt x="71" y="70"/>
                    <a:pt x="71" y="70"/>
                  </a:cubicBezTo>
                  <a:cubicBezTo>
                    <a:pt x="71" y="70"/>
                    <a:pt x="70" y="70"/>
                    <a:pt x="70" y="69"/>
                  </a:cubicBezTo>
                  <a:cubicBezTo>
                    <a:pt x="70" y="70"/>
                    <a:pt x="70" y="70"/>
                    <a:pt x="70" y="70"/>
                  </a:cubicBezTo>
                  <a:cubicBezTo>
                    <a:pt x="70" y="70"/>
                    <a:pt x="71" y="70"/>
                    <a:pt x="71" y="70"/>
                  </a:cubicBezTo>
                  <a:cubicBezTo>
                    <a:pt x="72" y="70"/>
                    <a:pt x="73" y="70"/>
                    <a:pt x="74" y="69"/>
                  </a:cubicBezTo>
                  <a:cubicBezTo>
                    <a:pt x="76" y="68"/>
                    <a:pt x="77" y="69"/>
                    <a:pt x="75" y="66"/>
                  </a:cubicBezTo>
                  <a:cubicBezTo>
                    <a:pt x="69" y="59"/>
                    <a:pt x="65" y="52"/>
                    <a:pt x="60" y="45"/>
                  </a:cubicBezTo>
                  <a:cubicBezTo>
                    <a:pt x="58" y="43"/>
                    <a:pt x="58" y="42"/>
                    <a:pt x="58" y="40"/>
                  </a:cubicBezTo>
                  <a:cubicBezTo>
                    <a:pt x="58" y="38"/>
                    <a:pt x="60" y="31"/>
                    <a:pt x="62" y="30"/>
                  </a:cubicBezTo>
                  <a:cubicBezTo>
                    <a:pt x="63" y="30"/>
                    <a:pt x="64" y="29"/>
                    <a:pt x="65" y="29"/>
                  </a:cubicBezTo>
                  <a:cubicBezTo>
                    <a:pt x="65" y="28"/>
                    <a:pt x="65" y="28"/>
                    <a:pt x="65" y="28"/>
                  </a:cubicBezTo>
                  <a:cubicBezTo>
                    <a:pt x="65" y="28"/>
                    <a:pt x="66" y="28"/>
                    <a:pt x="66" y="28"/>
                  </a:cubicBezTo>
                  <a:cubicBezTo>
                    <a:pt x="67" y="28"/>
                    <a:pt x="65" y="30"/>
                    <a:pt x="65" y="31"/>
                  </a:cubicBezTo>
                  <a:cubicBezTo>
                    <a:pt x="65" y="31"/>
                    <a:pt x="65" y="31"/>
                    <a:pt x="65" y="31"/>
                  </a:cubicBezTo>
                  <a:cubicBezTo>
                    <a:pt x="65" y="31"/>
                    <a:pt x="65" y="31"/>
                    <a:pt x="65" y="31"/>
                  </a:cubicBezTo>
                  <a:cubicBezTo>
                    <a:pt x="65" y="31"/>
                    <a:pt x="65" y="31"/>
                    <a:pt x="64" y="31"/>
                  </a:cubicBezTo>
                  <a:cubicBezTo>
                    <a:pt x="64" y="31"/>
                    <a:pt x="64" y="31"/>
                    <a:pt x="64" y="31"/>
                  </a:cubicBezTo>
                  <a:cubicBezTo>
                    <a:pt x="64" y="33"/>
                    <a:pt x="68" y="35"/>
                    <a:pt x="69" y="36"/>
                  </a:cubicBezTo>
                  <a:cubicBezTo>
                    <a:pt x="70" y="37"/>
                    <a:pt x="73" y="37"/>
                    <a:pt x="75" y="38"/>
                  </a:cubicBezTo>
                  <a:cubicBezTo>
                    <a:pt x="77" y="40"/>
                    <a:pt x="75" y="41"/>
                    <a:pt x="76" y="43"/>
                  </a:cubicBezTo>
                  <a:cubicBezTo>
                    <a:pt x="76" y="44"/>
                    <a:pt x="78" y="45"/>
                    <a:pt x="77" y="46"/>
                  </a:cubicBezTo>
                  <a:cubicBezTo>
                    <a:pt x="77" y="46"/>
                    <a:pt x="78" y="46"/>
                    <a:pt x="78" y="46"/>
                  </a:cubicBezTo>
                  <a:cubicBezTo>
                    <a:pt x="79" y="46"/>
                    <a:pt x="80" y="47"/>
                    <a:pt x="81" y="47"/>
                  </a:cubicBezTo>
                  <a:cubicBezTo>
                    <a:pt x="83" y="47"/>
                    <a:pt x="84" y="48"/>
                    <a:pt x="85" y="48"/>
                  </a:cubicBezTo>
                  <a:cubicBezTo>
                    <a:pt x="85" y="48"/>
                    <a:pt x="85" y="48"/>
                    <a:pt x="86" y="47"/>
                  </a:cubicBezTo>
                  <a:cubicBezTo>
                    <a:pt x="83" y="44"/>
                    <a:pt x="78" y="44"/>
                    <a:pt x="76" y="40"/>
                  </a:cubicBezTo>
                  <a:cubicBezTo>
                    <a:pt x="78" y="39"/>
                    <a:pt x="79" y="39"/>
                    <a:pt x="81" y="39"/>
                  </a:cubicBezTo>
                  <a:cubicBezTo>
                    <a:pt x="83" y="39"/>
                    <a:pt x="85" y="39"/>
                    <a:pt x="86" y="42"/>
                  </a:cubicBezTo>
                  <a:cubicBezTo>
                    <a:pt x="87" y="43"/>
                    <a:pt x="87" y="44"/>
                    <a:pt x="88" y="45"/>
                  </a:cubicBezTo>
                  <a:cubicBezTo>
                    <a:pt x="90" y="46"/>
                    <a:pt x="90" y="46"/>
                    <a:pt x="90" y="46"/>
                  </a:cubicBezTo>
                  <a:cubicBezTo>
                    <a:pt x="90" y="46"/>
                    <a:pt x="90" y="47"/>
                    <a:pt x="91" y="47"/>
                  </a:cubicBezTo>
                  <a:cubicBezTo>
                    <a:pt x="91" y="47"/>
                    <a:pt x="91" y="47"/>
                    <a:pt x="91" y="47"/>
                  </a:cubicBezTo>
                  <a:cubicBezTo>
                    <a:pt x="91" y="45"/>
                    <a:pt x="80" y="35"/>
                    <a:pt x="89" y="35"/>
                  </a:cubicBezTo>
                  <a:cubicBezTo>
                    <a:pt x="89" y="35"/>
                    <a:pt x="89" y="35"/>
                    <a:pt x="89" y="35"/>
                  </a:cubicBezTo>
                  <a:cubicBezTo>
                    <a:pt x="91" y="35"/>
                    <a:pt x="92" y="37"/>
                    <a:pt x="95" y="37"/>
                  </a:cubicBezTo>
                  <a:cubicBezTo>
                    <a:pt x="95" y="37"/>
                    <a:pt x="95" y="37"/>
                    <a:pt x="95" y="37"/>
                  </a:cubicBezTo>
                  <a:cubicBezTo>
                    <a:pt x="89" y="34"/>
                    <a:pt x="88" y="31"/>
                    <a:pt x="86" y="24"/>
                  </a:cubicBezTo>
                  <a:cubicBezTo>
                    <a:pt x="91" y="23"/>
                    <a:pt x="98" y="19"/>
                    <a:pt x="103" y="19"/>
                  </a:cubicBezTo>
                  <a:cubicBezTo>
                    <a:pt x="104" y="19"/>
                    <a:pt x="105" y="19"/>
                    <a:pt x="106" y="19"/>
                  </a:cubicBezTo>
                  <a:cubicBezTo>
                    <a:pt x="108" y="20"/>
                    <a:pt x="109" y="21"/>
                    <a:pt x="111" y="21"/>
                  </a:cubicBezTo>
                  <a:cubicBezTo>
                    <a:pt x="112" y="21"/>
                    <a:pt x="112" y="21"/>
                    <a:pt x="113" y="20"/>
                  </a:cubicBezTo>
                  <a:cubicBezTo>
                    <a:pt x="114" y="20"/>
                    <a:pt x="118" y="17"/>
                    <a:pt x="119" y="17"/>
                  </a:cubicBezTo>
                  <a:cubicBezTo>
                    <a:pt x="119" y="17"/>
                    <a:pt x="119" y="17"/>
                    <a:pt x="119" y="17"/>
                  </a:cubicBezTo>
                  <a:cubicBezTo>
                    <a:pt x="123" y="19"/>
                    <a:pt x="128" y="20"/>
                    <a:pt x="132" y="22"/>
                  </a:cubicBezTo>
                  <a:cubicBezTo>
                    <a:pt x="134" y="22"/>
                    <a:pt x="135" y="23"/>
                    <a:pt x="137" y="24"/>
                  </a:cubicBezTo>
                  <a:cubicBezTo>
                    <a:pt x="138" y="23"/>
                    <a:pt x="138" y="23"/>
                    <a:pt x="138" y="23"/>
                  </a:cubicBezTo>
                  <a:cubicBezTo>
                    <a:pt x="139" y="22"/>
                    <a:pt x="141" y="19"/>
                    <a:pt x="142" y="19"/>
                  </a:cubicBezTo>
                  <a:cubicBezTo>
                    <a:pt x="143" y="18"/>
                    <a:pt x="143" y="18"/>
                    <a:pt x="143" y="18"/>
                  </a:cubicBezTo>
                  <a:cubicBezTo>
                    <a:pt x="143" y="17"/>
                    <a:pt x="144" y="17"/>
                    <a:pt x="144" y="16"/>
                  </a:cubicBezTo>
                  <a:cubicBezTo>
                    <a:pt x="144" y="15"/>
                    <a:pt x="144" y="15"/>
                    <a:pt x="144" y="15"/>
                  </a:cubicBezTo>
                  <a:cubicBezTo>
                    <a:pt x="144" y="15"/>
                    <a:pt x="144" y="15"/>
                    <a:pt x="144" y="15"/>
                  </a:cubicBezTo>
                  <a:cubicBezTo>
                    <a:pt x="144" y="14"/>
                    <a:pt x="144" y="14"/>
                    <a:pt x="144" y="14"/>
                  </a:cubicBezTo>
                  <a:cubicBezTo>
                    <a:pt x="144" y="14"/>
                    <a:pt x="144" y="14"/>
                    <a:pt x="144" y="14"/>
                  </a:cubicBezTo>
                  <a:cubicBezTo>
                    <a:pt x="144" y="14"/>
                    <a:pt x="144" y="14"/>
                    <a:pt x="144" y="14"/>
                  </a:cubicBezTo>
                  <a:cubicBezTo>
                    <a:pt x="144" y="13"/>
                    <a:pt x="144" y="11"/>
                    <a:pt x="144" y="10"/>
                  </a:cubicBezTo>
                  <a:cubicBezTo>
                    <a:pt x="145" y="9"/>
                    <a:pt x="146" y="8"/>
                    <a:pt x="147" y="7"/>
                  </a:cubicBezTo>
                  <a:cubicBezTo>
                    <a:pt x="148" y="6"/>
                    <a:pt x="148" y="6"/>
                    <a:pt x="148" y="6"/>
                  </a:cubicBezTo>
                  <a:cubicBezTo>
                    <a:pt x="150" y="5"/>
                    <a:pt x="151" y="5"/>
                    <a:pt x="151" y="4"/>
                  </a:cubicBezTo>
                  <a:cubicBezTo>
                    <a:pt x="151" y="3"/>
                    <a:pt x="151" y="3"/>
                    <a:pt x="151" y="3"/>
                  </a:cubicBezTo>
                  <a:cubicBezTo>
                    <a:pt x="151" y="3"/>
                    <a:pt x="151" y="3"/>
                    <a:pt x="151" y="3"/>
                  </a:cubicBezTo>
                  <a:cubicBezTo>
                    <a:pt x="150" y="2"/>
                    <a:pt x="150" y="2"/>
                    <a:pt x="150" y="2"/>
                  </a:cubicBezTo>
                  <a:cubicBezTo>
                    <a:pt x="150" y="2"/>
                    <a:pt x="150" y="2"/>
                    <a:pt x="150" y="2"/>
                  </a:cubicBezTo>
                  <a:cubicBezTo>
                    <a:pt x="149" y="1"/>
                    <a:pt x="149" y="1"/>
                    <a:pt x="149" y="1"/>
                  </a:cubicBezTo>
                  <a:cubicBezTo>
                    <a:pt x="148" y="1"/>
                    <a:pt x="148" y="1"/>
                    <a:pt x="148" y="1"/>
                  </a:cubicBezTo>
                  <a:cubicBezTo>
                    <a:pt x="148" y="1"/>
                    <a:pt x="148" y="1"/>
                    <a:pt x="148" y="1"/>
                  </a:cubicBezTo>
                  <a:cubicBezTo>
                    <a:pt x="147" y="0"/>
                    <a:pt x="147" y="0"/>
                    <a:pt x="147" y="0"/>
                  </a:cubicBezTo>
                  <a:cubicBezTo>
                    <a:pt x="147" y="0"/>
                    <a:pt x="147" y="0"/>
                    <a:pt x="147" y="0"/>
                  </a:cubicBezTo>
                  <a:cubicBezTo>
                    <a:pt x="145" y="0"/>
                    <a:pt x="145" y="0"/>
                    <a:pt x="1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 name="Freeform 271">
              <a:extLst>
                <a:ext uri="{FF2B5EF4-FFF2-40B4-BE49-F238E27FC236}">
                  <a16:creationId xmlns:a16="http://schemas.microsoft.com/office/drawing/2014/main" id="{43E4F462-5E64-48D7-9168-31426D8467CD}"/>
                </a:ext>
              </a:extLst>
            </p:cNvPr>
            <p:cNvSpPr>
              <a:spLocks/>
            </p:cNvSpPr>
            <p:nvPr/>
          </p:nvSpPr>
          <p:spPr bwMode="auto">
            <a:xfrm>
              <a:off x="4913" y="129"/>
              <a:ext cx="338" cy="184"/>
            </a:xfrm>
            <a:custGeom>
              <a:avLst/>
              <a:gdLst>
                <a:gd name="T0" fmla="*/ 3 w 143"/>
                <a:gd name="T1" fmla="*/ 4 h 78"/>
                <a:gd name="T2" fmla="*/ 0 w 143"/>
                <a:gd name="T3" fmla="*/ 9 h 78"/>
                <a:gd name="T4" fmla="*/ 4 w 143"/>
                <a:gd name="T5" fmla="*/ 18 h 78"/>
                <a:gd name="T6" fmla="*/ 10 w 143"/>
                <a:gd name="T7" fmla="*/ 22 h 78"/>
                <a:gd name="T8" fmla="*/ 13 w 143"/>
                <a:gd name="T9" fmla="*/ 29 h 78"/>
                <a:gd name="T10" fmla="*/ 4 w 143"/>
                <a:gd name="T11" fmla="*/ 37 h 78"/>
                <a:gd name="T12" fmla="*/ 1 w 143"/>
                <a:gd name="T13" fmla="*/ 38 h 78"/>
                <a:gd name="T14" fmla="*/ 2 w 143"/>
                <a:gd name="T15" fmla="*/ 42 h 78"/>
                <a:gd name="T16" fmla="*/ 1 w 143"/>
                <a:gd name="T17" fmla="*/ 51 h 78"/>
                <a:gd name="T18" fmla="*/ 4 w 143"/>
                <a:gd name="T19" fmla="*/ 55 h 78"/>
                <a:gd name="T20" fmla="*/ 6 w 143"/>
                <a:gd name="T21" fmla="*/ 56 h 78"/>
                <a:gd name="T22" fmla="*/ 7 w 143"/>
                <a:gd name="T23" fmla="*/ 58 h 78"/>
                <a:gd name="T24" fmla="*/ 15 w 143"/>
                <a:gd name="T25" fmla="*/ 76 h 78"/>
                <a:gd name="T26" fmla="*/ 29 w 143"/>
                <a:gd name="T27" fmla="*/ 74 h 78"/>
                <a:gd name="T28" fmla="*/ 40 w 143"/>
                <a:gd name="T29" fmla="*/ 70 h 78"/>
                <a:gd name="T30" fmla="*/ 47 w 143"/>
                <a:gd name="T31" fmla="*/ 70 h 78"/>
                <a:gd name="T32" fmla="*/ 54 w 143"/>
                <a:gd name="T33" fmla="*/ 74 h 78"/>
                <a:gd name="T34" fmla="*/ 60 w 143"/>
                <a:gd name="T35" fmla="*/ 77 h 78"/>
                <a:gd name="T36" fmla="*/ 66 w 143"/>
                <a:gd name="T37" fmla="*/ 78 h 78"/>
                <a:gd name="T38" fmla="*/ 75 w 143"/>
                <a:gd name="T39" fmla="*/ 77 h 78"/>
                <a:gd name="T40" fmla="*/ 83 w 143"/>
                <a:gd name="T41" fmla="*/ 73 h 78"/>
                <a:gd name="T42" fmla="*/ 83 w 143"/>
                <a:gd name="T43" fmla="*/ 66 h 78"/>
                <a:gd name="T44" fmla="*/ 89 w 143"/>
                <a:gd name="T45" fmla="*/ 65 h 78"/>
                <a:gd name="T46" fmla="*/ 92 w 143"/>
                <a:gd name="T47" fmla="*/ 63 h 78"/>
                <a:gd name="T48" fmla="*/ 101 w 143"/>
                <a:gd name="T49" fmla="*/ 58 h 78"/>
                <a:gd name="T50" fmla="*/ 115 w 143"/>
                <a:gd name="T51" fmla="*/ 56 h 78"/>
                <a:gd name="T52" fmla="*/ 118 w 143"/>
                <a:gd name="T53" fmla="*/ 58 h 78"/>
                <a:gd name="T54" fmla="*/ 122 w 143"/>
                <a:gd name="T55" fmla="*/ 48 h 78"/>
                <a:gd name="T56" fmla="*/ 120 w 143"/>
                <a:gd name="T57" fmla="*/ 47 h 78"/>
                <a:gd name="T58" fmla="*/ 117 w 143"/>
                <a:gd name="T59" fmla="*/ 47 h 78"/>
                <a:gd name="T60" fmla="*/ 126 w 143"/>
                <a:gd name="T61" fmla="*/ 37 h 78"/>
                <a:gd name="T62" fmla="*/ 137 w 143"/>
                <a:gd name="T63" fmla="*/ 20 h 78"/>
                <a:gd name="T64" fmla="*/ 121 w 143"/>
                <a:gd name="T65" fmla="*/ 6 h 78"/>
                <a:gd name="T66" fmla="*/ 112 w 143"/>
                <a:gd name="T67" fmla="*/ 3 h 78"/>
                <a:gd name="T68" fmla="*/ 109 w 143"/>
                <a:gd name="T69" fmla="*/ 3 h 78"/>
                <a:gd name="T70" fmla="*/ 88 w 143"/>
                <a:gd name="T71" fmla="*/ 8 h 78"/>
                <a:gd name="T72" fmla="*/ 68 w 143"/>
                <a:gd name="T73" fmla="*/ 17 h 78"/>
                <a:gd name="T74" fmla="*/ 53 w 143"/>
                <a:gd name="T75" fmla="*/ 14 h 78"/>
                <a:gd name="T76" fmla="*/ 38 w 143"/>
                <a:gd name="T77" fmla="*/ 15 h 78"/>
                <a:gd name="T78" fmla="*/ 19 w 143"/>
                <a:gd name="T79" fmla="*/ 11 h 78"/>
                <a:gd name="T80" fmla="*/ 13 w 143"/>
                <a:gd name="T81" fmla="*/ 12 h 78"/>
                <a:gd name="T82" fmla="*/ 6 w 143"/>
                <a:gd name="T83" fmla="*/ 5 h 78"/>
                <a:gd name="T84" fmla="*/ 8 w 143"/>
                <a:gd name="T85" fmla="*/ 2 h 78"/>
                <a:gd name="T86" fmla="*/ 5 w 143"/>
                <a:gd name="T87"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78">
                  <a:moveTo>
                    <a:pt x="5" y="0"/>
                  </a:moveTo>
                  <a:cubicBezTo>
                    <a:pt x="5" y="1"/>
                    <a:pt x="5" y="1"/>
                    <a:pt x="4" y="2"/>
                  </a:cubicBezTo>
                  <a:cubicBezTo>
                    <a:pt x="3" y="4"/>
                    <a:pt x="3" y="4"/>
                    <a:pt x="3" y="4"/>
                  </a:cubicBezTo>
                  <a:cubicBezTo>
                    <a:pt x="1" y="8"/>
                    <a:pt x="1" y="8"/>
                    <a:pt x="1" y="8"/>
                  </a:cubicBezTo>
                  <a:cubicBezTo>
                    <a:pt x="1" y="8"/>
                    <a:pt x="1" y="8"/>
                    <a:pt x="1" y="8"/>
                  </a:cubicBezTo>
                  <a:cubicBezTo>
                    <a:pt x="0" y="9"/>
                    <a:pt x="0" y="9"/>
                    <a:pt x="0" y="9"/>
                  </a:cubicBezTo>
                  <a:cubicBezTo>
                    <a:pt x="0" y="10"/>
                    <a:pt x="1" y="11"/>
                    <a:pt x="1" y="11"/>
                  </a:cubicBezTo>
                  <a:cubicBezTo>
                    <a:pt x="1" y="13"/>
                    <a:pt x="2" y="15"/>
                    <a:pt x="3" y="16"/>
                  </a:cubicBezTo>
                  <a:cubicBezTo>
                    <a:pt x="3" y="16"/>
                    <a:pt x="4" y="17"/>
                    <a:pt x="4" y="18"/>
                  </a:cubicBezTo>
                  <a:cubicBezTo>
                    <a:pt x="5" y="18"/>
                    <a:pt x="6" y="19"/>
                    <a:pt x="7" y="20"/>
                  </a:cubicBezTo>
                  <a:cubicBezTo>
                    <a:pt x="8" y="20"/>
                    <a:pt x="8" y="21"/>
                    <a:pt x="9" y="21"/>
                  </a:cubicBezTo>
                  <a:cubicBezTo>
                    <a:pt x="10" y="22"/>
                    <a:pt x="10" y="22"/>
                    <a:pt x="10" y="22"/>
                  </a:cubicBezTo>
                  <a:cubicBezTo>
                    <a:pt x="11" y="23"/>
                    <a:pt x="12" y="23"/>
                    <a:pt x="13" y="24"/>
                  </a:cubicBezTo>
                  <a:cubicBezTo>
                    <a:pt x="16" y="26"/>
                    <a:pt x="16" y="26"/>
                    <a:pt x="16" y="26"/>
                  </a:cubicBezTo>
                  <a:cubicBezTo>
                    <a:pt x="13" y="29"/>
                    <a:pt x="13" y="29"/>
                    <a:pt x="13" y="29"/>
                  </a:cubicBezTo>
                  <a:cubicBezTo>
                    <a:pt x="12" y="29"/>
                    <a:pt x="12" y="30"/>
                    <a:pt x="11" y="31"/>
                  </a:cubicBezTo>
                  <a:cubicBezTo>
                    <a:pt x="10" y="32"/>
                    <a:pt x="10" y="32"/>
                    <a:pt x="10" y="32"/>
                  </a:cubicBezTo>
                  <a:cubicBezTo>
                    <a:pt x="8" y="33"/>
                    <a:pt x="6" y="35"/>
                    <a:pt x="4" y="37"/>
                  </a:cubicBezTo>
                  <a:cubicBezTo>
                    <a:pt x="3" y="37"/>
                    <a:pt x="3" y="38"/>
                    <a:pt x="2" y="38"/>
                  </a:cubicBezTo>
                  <a:cubicBezTo>
                    <a:pt x="2" y="38"/>
                    <a:pt x="1" y="38"/>
                    <a:pt x="1" y="38"/>
                  </a:cubicBezTo>
                  <a:cubicBezTo>
                    <a:pt x="1" y="38"/>
                    <a:pt x="1" y="38"/>
                    <a:pt x="1" y="38"/>
                  </a:cubicBezTo>
                  <a:cubicBezTo>
                    <a:pt x="1" y="39"/>
                    <a:pt x="1" y="39"/>
                    <a:pt x="1" y="40"/>
                  </a:cubicBezTo>
                  <a:cubicBezTo>
                    <a:pt x="1" y="40"/>
                    <a:pt x="1" y="41"/>
                    <a:pt x="2" y="42"/>
                  </a:cubicBezTo>
                  <a:cubicBezTo>
                    <a:pt x="2" y="42"/>
                    <a:pt x="2" y="42"/>
                    <a:pt x="2" y="42"/>
                  </a:cubicBezTo>
                  <a:cubicBezTo>
                    <a:pt x="2" y="43"/>
                    <a:pt x="2" y="43"/>
                    <a:pt x="2" y="43"/>
                  </a:cubicBezTo>
                  <a:cubicBezTo>
                    <a:pt x="3" y="44"/>
                    <a:pt x="4" y="45"/>
                    <a:pt x="4" y="46"/>
                  </a:cubicBezTo>
                  <a:cubicBezTo>
                    <a:pt x="4" y="48"/>
                    <a:pt x="2" y="50"/>
                    <a:pt x="1" y="51"/>
                  </a:cubicBezTo>
                  <a:cubicBezTo>
                    <a:pt x="1" y="52"/>
                    <a:pt x="1" y="52"/>
                    <a:pt x="1" y="52"/>
                  </a:cubicBezTo>
                  <a:cubicBezTo>
                    <a:pt x="2" y="53"/>
                    <a:pt x="2" y="53"/>
                    <a:pt x="2" y="53"/>
                  </a:cubicBezTo>
                  <a:cubicBezTo>
                    <a:pt x="3" y="54"/>
                    <a:pt x="3" y="54"/>
                    <a:pt x="4" y="55"/>
                  </a:cubicBezTo>
                  <a:cubicBezTo>
                    <a:pt x="5" y="55"/>
                    <a:pt x="5" y="55"/>
                    <a:pt x="5" y="55"/>
                  </a:cubicBezTo>
                  <a:cubicBezTo>
                    <a:pt x="9" y="50"/>
                    <a:pt x="9" y="50"/>
                    <a:pt x="9" y="50"/>
                  </a:cubicBezTo>
                  <a:cubicBezTo>
                    <a:pt x="6" y="56"/>
                    <a:pt x="6" y="56"/>
                    <a:pt x="6" y="56"/>
                  </a:cubicBezTo>
                  <a:cubicBezTo>
                    <a:pt x="6" y="57"/>
                    <a:pt x="6" y="57"/>
                    <a:pt x="6" y="57"/>
                  </a:cubicBezTo>
                  <a:cubicBezTo>
                    <a:pt x="6" y="57"/>
                    <a:pt x="6" y="57"/>
                    <a:pt x="6" y="57"/>
                  </a:cubicBezTo>
                  <a:cubicBezTo>
                    <a:pt x="7" y="58"/>
                    <a:pt x="7" y="58"/>
                    <a:pt x="7" y="58"/>
                  </a:cubicBezTo>
                  <a:cubicBezTo>
                    <a:pt x="11" y="61"/>
                    <a:pt x="15" y="65"/>
                    <a:pt x="15" y="69"/>
                  </a:cubicBezTo>
                  <a:cubicBezTo>
                    <a:pt x="15" y="70"/>
                    <a:pt x="14" y="72"/>
                    <a:pt x="13" y="76"/>
                  </a:cubicBezTo>
                  <a:cubicBezTo>
                    <a:pt x="14" y="76"/>
                    <a:pt x="15" y="76"/>
                    <a:pt x="15" y="76"/>
                  </a:cubicBezTo>
                  <a:cubicBezTo>
                    <a:pt x="16" y="76"/>
                    <a:pt x="16" y="76"/>
                    <a:pt x="16" y="76"/>
                  </a:cubicBezTo>
                  <a:cubicBezTo>
                    <a:pt x="19" y="76"/>
                    <a:pt x="22" y="75"/>
                    <a:pt x="25" y="75"/>
                  </a:cubicBezTo>
                  <a:cubicBezTo>
                    <a:pt x="26" y="75"/>
                    <a:pt x="27" y="74"/>
                    <a:pt x="29" y="74"/>
                  </a:cubicBezTo>
                  <a:cubicBezTo>
                    <a:pt x="29" y="74"/>
                    <a:pt x="29" y="74"/>
                    <a:pt x="29" y="74"/>
                  </a:cubicBezTo>
                  <a:cubicBezTo>
                    <a:pt x="30" y="73"/>
                    <a:pt x="32" y="73"/>
                    <a:pt x="33" y="72"/>
                  </a:cubicBezTo>
                  <a:cubicBezTo>
                    <a:pt x="35" y="71"/>
                    <a:pt x="38" y="70"/>
                    <a:pt x="40" y="70"/>
                  </a:cubicBezTo>
                  <a:cubicBezTo>
                    <a:pt x="41" y="70"/>
                    <a:pt x="41" y="70"/>
                    <a:pt x="42" y="70"/>
                  </a:cubicBezTo>
                  <a:cubicBezTo>
                    <a:pt x="43" y="70"/>
                    <a:pt x="44" y="70"/>
                    <a:pt x="46" y="70"/>
                  </a:cubicBezTo>
                  <a:cubicBezTo>
                    <a:pt x="46" y="70"/>
                    <a:pt x="47" y="70"/>
                    <a:pt x="47" y="70"/>
                  </a:cubicBezTo>
                  <a:cubicBezTo>
                    <a:pt x="48" y="70"/>
                    <a:pt x="48" y="70"/>
                    <a:pt x="49" y="70"/>
                  </a:cubicBezTo>
                  <a:cubicBezTo>
                    <a:pt x="49" y="70"/>
                    <a:pt x="49" y="70"/>
                    <a:pt x="49" y="70"/>
                  </a:cubicBezTo>
                  <a:cubicBezTo>
                    <a:pt x="51" y="71"/>
                    <a:pt x="52" y="73"/>
                    <a:pt x="54" y="74"/>
                  </a:cubicBezTo>
                  <a:cubicBezTo>
                    <a:pt x="54" y="75"/>
                    <a:pt x="54" y="75"/>
                    <a:pt x="54" y="75"/>
                  </a:cubicBezTo>
                  <a:cubicBezTo>
                    <a:pt x="55" y="75"/>
                    <a:pt x="56" y="76"/>
                    <a:pt x="58" y="76"/>
                  </a:cubicBezTo>
                  <a:cubicBezTo>
                    <a:pt x="59" y="76"/>
                    <a:pt x="60" y="76"/>
                    <a:pt x="60" y="77"/>
                  </a:cubicBezTo>
                  <a:cubicBezTo>
                    <a:pt x="61" y="77"/>
                    <a:pt x="63" y="77"/>
                    <a:pt x="64" y="77"/>
                  </a:cubicBezTo>
                  <a:cubicBezTo>
                    <a:pt x="65" y="77"/>
                    <a:pt x="65" y="78"/>
                    <a:pt x="65" y="78"/>
                  </a:cubicBezTo>
                  <a:cubicBezTo>
                    <a:pt x="66" y="78"/>
                    <a:pt x="66" y="78"/>
                    <a:pt x="66" y="78"/>
                  </a:cubicBezTo>
                  <a:cubicBezTo>
                    <a:pt x="71" y="78"/>
                    <a:pt x="71" y="78"/>
                    <a:pt x="71" y="78"/>
                  </a:cubicBezTo>
                  <a:cubicBezTo>
                    <a:pt x="71" y="78"/>
                    <a:pt x="72" y="78"/>
                    <a:pt x="72" y="78"/>
                  </a:cubicBezTo>
                  <a:cubicBezTo>
                    <a:pt x="75" y="77"/>
                    <a:pt x="75" y="77"/>
                    <a:pt x="75" y="77"/>
                  </a:cubicBezTo>
                  <a:cubicBezTo>
                    <a:pt x="76" y="77"/>
                    <a:pt x="78" y="77"/>
                    <a:pt x="79" y="77"/>
                  </a:cubicBezTo>
                  <a:cubicBezTo>
                    <a:pt x="80" y="77"/>
                    <a:pt x="82" y="76"/>
                    <a:pt x="83" y="76"/>
                  </a:cubicBezTo>
                  <a:cubicBezTo>
                    <a:pt x="83" y="75"/>
                    <a:pt x="83" y="74"/>
                    <a:pt x="83" y="73"/>
                  </a:cubicBezTo>
                  <a:cubicBezTo>
                    <a:pt x="82" y="73"/>
                    <a:pt x="82" y="72"/>
                    <a:pt x="82" y="72"/>
                  </a:cubicBezTo>
                  <a:cubicBezTo>
                    <a:pt x="81" y="72"/>
                    <a:pt x="81" y="70"/>
                    <a:pt x="81" y="69"/>
                  </a:cubicBezTo>
                  <a:cubicBezTo>
                    <a:pt x="81" y="68"/>
                    <a:pt x="81" y="66"/>
                    <a:pt x="83" y="66"/>
                  </a:cubicBezTo>
                  <a:cubicBezTo>
                    <a:pt x="84" y="65"/>
                    <a:pt x="85" y="65"/>
                    <a:pt x="86" y="65"/>
                  </a:cubicBezTo>
                  <a:cubicBezTo>
                    <a:pt x="87" y="65"/>
                    <a:pt x="87" y="65"/>
                    <a:pt x="88" y="65"/>
                  </a:cubicBezTo>
                  <a:cubicBezTo>
                    <a:pt x="89" y="65"/>
                    <a:pt x="89" y="65"/>
                    <a:pt x="89" y="65"/>
                  </a:cubicBezTo>
                  <a:cubicBezTo>
                    <a:pt x="90" y="65"/>
                    <a:pt x="90" y="65"/>
                    <a:pt x="91" y="64"/>
                  </a:cubicBezTo>
                  <a:cubicBezTo>
                    <a:pt x="91" y="64"/>
                    <a:pt x="91" y="64"/>
                    <a:pt x="91" y="64"/>
                  </a:cubicBezTo>
                  <a:cubicBezTo>
                    <a:pt x="92" y="63"/>
                    <a:pt x="92" y="63"/>
                    <a:pt x="92" y="63"/>
                  </a:cubicBezTo>
                  <a:cubicBezTo>
                    <a:pt x="92" y="63"/>
                    <a:pt x="92" y="63"/>
                    <a:pt x="92" y="63"/>
                  </a:cubicBezTo>
                  <a:cubicBezTo>
                    <a:pt x="93" y="62"/>
                    <a:pt x="94" y="61"/>
                    <a:pt x="95" y="60"/>
                  </a:cubicBezTo>
                  <a:cubicBezTo>
                    <a:pt x="101" y="58"/>
                    <a:pt x="101" y="58"/>
                    <a:pt x="101" y="58"/>
                  </a:cubicBezTo>
                  <a:cubicBezTo>
                    <a:pt x="104" y="57"/>
                    <a:pt x="106" y="57"/>
                    <a:pt x="109" y="56"/>
                  </a:cubicBezTo>
                  <a:cubicBezTo>
                    <a:pt x="114" y="55"/>
                    <a:pt x="114" y="55"/>
                    <a:pt x="114" y="55"/>
                  </a:cubicBezTo>
                  <a:cubicBezTo>
                    <a:pt x="115" y="56"/>
                    <a:pt x="115" y="56"/>
                    <a:pt x="115" y="56"/>
                  </a:cubicBezTo>
                  <a:cubicBezTo>
                    <a:pt x="116" y="57"/>
                    <a:pt x="116" y="57"/>
                    <a:pt x="116" y="57"/>
                  </a:cubicBezTo>
                  <a:cubicBezTo>
                    <a:pt x="116" y="57"/>
                    <a:pt x="116" y="57"/>
                    <a:pt x="116" y="57"/>
                  </a:cubicBezTo>
                  <a:cubicBezTo>
                    <a:pt x="116" y="57"/>
                    <a:pt x="117" y="58"/>
                    <a:pt x="118" y="58"/>
                  </a:cubicBezTo>
                  <a:cubicBezTo>
                    <a:pt x="119" y="59"/>
                    <a:pt x="119" y="59"/>
                    <a:pt x="119" y="59"/>
                  </a:cubicBezTo>
                  <a:cubicBezTo>
                    <a:pt x="127" y="58"/>
                    <a:pt x="127" y="58"/>
                    <a:pt x="127" y="58"/>
                  </a:cubicBezTo>
                  <a:cubicBezTo>
                    <a:pt x="125" y="55"/>
                    <a:pt x="123" y="52"/>
                    <a:pt x="122" y="48"/>
                  </a:cubicBezTo>
                  <a:cubicBezTo>
                    <a:pt x="121" y="48"/>
                    <a:pt x="121" y="48"/>
                    <a:pt x="121" y="48"/>
                  </a:cubicBezTo>
                  <a:cubicBezTo>
                    <a:pt x="121" y="48"/>
                    <a:pt x="121" y="48"/>
                    <a:pt x="120" y="47"/>
                  </a:cubicBezTo>
                  <a:cubicBezTo>
                    <a:pt x="120" y="47"/>
                    <a:pt x="120" y="47"/>
                    <a:pt x="120" y="47"/>
                  </a:cubicBezTo>
                  <a:cubicBezTo>
                    <a:pt x="120" y="47"/>
                    <a:pt x="119" y="47"/>
                    <a:pt x="119" y="47"/>
                  </a:cubicBezTo>
                  <a:cubicBezTo>
                    <a:pt x="119" y="48"/>
                    <a:pt x="118" y="48"/>
                    <a:pt x="118" y="48"/>
                  </a:cubicBezTo>
                  <a:cubicBezTo>
                    <a:pt x="117" y="48"/>
                    <a:pt x="117" y="48"/>
                    <a:pt x="117" y="47"/>
                  </a:cubicBezTo>
                  <a:cubicBezTo>
                    <a:pt x="116" y="48"/>
                    <a:pt x="116" y="48"/>
                    <a:pt x="116" y="48"/>
                  </a:cubicBezTo>
                  <a:cubicBezTo>
                    <a:pt x="116" y="46"/>
                    <a:pt x="122" y="43"/>
                    <a:pt x="124" y="42"/>
                  </a:cubicBezTo>
                  <a:cubicBezTo>
                    <a:pt x="126" y="40"/>
                    <a:pt x="127" y="40"/>
                    <a:pt x="126" y="37"/>
                  </a:cubicBezTo>
                  <a:cubicBezTo>
                    <a:pt x="126" y="35"/>
                    <a:pt x="126" y="33"/>
                    <a:pt x="126" y="32"/>
                  </a:cubicBezTo>
                  <a:cubicBezTo>
                    <a:pt x="126" y="30"/>
                    <a:pt x="129" y="28"/>
                    <a:pt x="127" y="26"/>
                  </a:cubicBezTo>
                  <a:cubicBezTo>
                    <a:pt x="130" y="24"/>
                    <a:pt x="134" y="20"/>
                    <a:pt x="137" y="20"/>
                  </a:cubicBezTo>
                  <a:cubicBezTo>
                    <a:pt x="138" y="20"/>
                    <a:pt x="139" y="21"/>
                    <a:pt x="140" y="21"/>
                  </a:cubicBezTo>
                  <a:cubicBezTo>
                    <a:pt x="141" y="20"/>
                    <a:pt x="142" y="16"/>
                    <a:pt x="143" y="13"/>
                  </a:cubicBezTo>
                  <a:cubicBezTo>
                    <a:pt x="121" y="6"/>
                    <a:pt x="121" y="6"/>
                    <a:pt x="121" y="6"/>
                  </a:cubicBezTo>
                  <a:cubicBezTo>
                    <a:pt x="119" y="6"/>
                    <a:pt x="117" y="5"/>
                    <a:pt x="115" y="4"/>
                  </a:cubicBezTo>
                  <a:cubicBezTo>
                    <a:pt x="113" y="3"/>
                    <a:pt x="113" y="3"/>
                    <a:pt x="113" y="3"/>
                  </a:cubicBezTo>
                  <a:cubicBezTo>
                    <a:pt x="112" y="3"/>
                    <a:pt x="112" y="3"/>
                    <a:pt x="112" y="3"/>
                  </a:cubicBezTo>
                  <a:cubicBezTo>
                    <a:pt x="111" y="3"/>
                    <a:pt x="111" y="3"/>
                    <a:pt x="111" y="3"/>
                  </a:cubicBezTo>
                  <a:cubicBezTo>
                    <a:pt x="111" y="3"/>
                    <a:pt x="111" y="3"/>
                    <a:pt x="110" y="3"/>
                  </a:cubicBezTo>
                  <a:cubicBezTo>
                    <a:pt x="110" y="3"/>
                    <a:pt x="110" y="3"/>
                    <a:pt x="109" y="3"/>
                  </a:cubicBezTo>
                  <a:cubicBezTo>
                    <a:pt x="94" y="5"/>
                    <a:pt x="94" y="5"/>
                    <a:pt x="94" y="5"/>
                  </a:cubicBezTo>
                  <a:cubicBezTo>
                    <a:pt x="92" y="5"/>
                    <a:pt x="91" y="6"/>
                    <a:pt x="90" y="7"/>
                  </a:cubicBezTo>
                  <a:cubicBezTo>
                    <a:pt x="89" y="7"/>
                    <a:pt x="88" y="7"/>
                    <a:pt x="88" y="8"/>
                  </a:cubicBezTo>
                  <a:cubicBezTo>
                    <a:pt x="87" y="8"/>
                    <a:pt x="86" y="9"/>
                    <a:pt x="85" y="10"/>
                  </a:cubicBezTo>
                  <a:cubicBezTo>
                    <a:pt x="81" y="13"/>
                    <a:pt x="75" y="16"/>
                    <a:pt x="70" y="16"/>
                  </a:cubicBezTo>
                  <a:cubicBezTo>
                    <a:pt x="69" y="16"/>
                    <a:pt x="69" y="17"/>
                    <a:pt x="68" y="17"/>
                  </a:cubicBezTo>
                  <a:cubicBezTo>
                    <a:pt x="65" y="17"/>
                    <a:pt x="62" y="16"/>
                    <a:pt x="59" y="15"/>
                  </a:cubicBezTo>
                  <a:cubicBezTo>
                    <a:pt x="58" y="15"/>
                    <a:pt x="57" y="15"/>
                    <a:pt x="56" y="15"/>
                  </a:cubicBezTo>
                  <a:cubicBezTo>
                    <a:pt x="55" y="14"/>
                    <a:pt x="54" y="14"/>
                    <a:pt x="53" y="14"/>
                  </a:cubicBezTo>
                  <a:cubicBezTo>
                    <a:pt x="52" y="14"/>
                    <a:pt x="49" y="13"/>
                    <a:pt x="49" y="13"/>
                  </a:cubicBezTo>
                  <a:cubicBezTo>
                    <a:pt x="45" y="14"/>
                    <a:pt x="43" y="15"/>
                    <a:pt x="39" y="15"/>
                  </a:cubicBezTo>
                  <a:cubicBezTo>
                    <a:pt x="38" y="15"/>
                    <a:pt x="38" y="15"/>
                    <a:pt x="38" y="15"/>
                  </a:cubicBezTo>
                  <a:cubicBezTo>
                    <a:pt x="34" y="15"/>
                    <a:pt x="31" y="13"/>
                    <a:pt x="28" y="12"/>
                  </a:cubicBezTo>
                  <a:cubicBezTo>
                    <a:pt x="26" y="12"/>
                    <a:pt x="26" y="12"/>
                    <a:pt x="26" y="12"/>
                  </a:cubicBezTo>
                  <a:cubicBezTo>
                    <a:pt x="23" y="11"/>
                    <a:pt x="21" y="11"/>
                    <a:pt x="19" y="11"/>
                  </a:cubicBezTo>
                  <a:cubicBezTo>
                    <a:pt x="19" y="11"/>
                    <a:pt x="18" y="11"/>
                    <a:pt x="18" y="11"/>
                  </a:cubicBezTo>
                  <a:cubicBezTo>
                    <a:pt x="16" y="11"/>
                    <a:pt x="16" y="11"/>
                    <a:pt x="16" y="11"/>
                  </a:cubicBezTo>
                  <a:cubicBezTo>
                    <a:pt x="15" y="11"/>
                    <a:pt x="14" y="12"/>
                    <a:pt x="13" y="12"/>
                  </a:cubicBezTo>
                  <a:cubicBezTo>
                    <a:pt x="12" y="12"/>
                    <a:pt x="11" y="12"/>
                    <a:pt x="10" y="11"/>
                  </a:cubicBezTo>
                  <a:cubicBezTo>
                    <a:pt x="9" y="11"/>
                    <a:pt x="7" y="11"/>
                    <a:pt x="7" y="10"/>
                  </a:cubicBezTo>
                  <a:cubicBezTo>
                    <a:pt x="5" y="8"/>
                    <a:pt x="6" y="6"/>
                    <a:pt x="6" y="5"/>
                  </a:cubicBezTo>
                  <a:cubicBezTo>
                    <a:pt x="6" y="4"/>
                    <a:pt x="7" y="3"/>
                    <a:pt x="8" y="2"/>
                  </a:cubicBezTo>
                  <a:cubicBezTo>
                    <a:pt x="8" y="2"/>
                    <a:pt x="8" y="2"/>
                    <a:pt x="8" y="2"/>
                  </a:cubicBezTo>
                  <a:cubicBezTo>
                    <a:pt x="8" y="2"/>
                    <a:pt x="8" y="2"/>
                    <a:pt x="8" y="2"/>
                  </a:cubicBezTo>
                  <a:cubicBezTo>
                    <a:pt x="7" y="1"/>
                    <a:pt x="7" y="1"/>
                    <a:pt x="7" y="1"/>
                  </a:cubicBezTo>
                  <a:cubicBezTo>
                    <a:pt x="6" y="1"/>
                    <a:pt x="6" y="1"/>
                    <a:pt x="6" y="1"/>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3" name="Freeform 272">
              <a:extLst>
                <a:ext uri="{FF2B5EF4-FFF2-40B4-BE49-F238E27FC236}">
                  <a16:creationId xmlns:a16="http://schemas.microsoft.com/office/drawing/2014/main" id="{0AFAF55F-2D08-4865-B8FF-50607FB17268}"/>
                </a:ext>
              </a:extLst>
            </p:cNvPr>
            <p:cNvSpPr>
              <a:spLocks/>
            </p:cNvSpPr>
            <p:nvPr/>
          </p:nvSpPr>
          <p:spPr bwMode="auto">
            <a:xfrm>
              <a:off x="5112" y="273"/>
              <a:ext cx="168" cy="128"/>
            </a:xfrm>
            <a:custGeom>
              <a:avLst/>
              <a:gdLst>
                <a:gd name="T0" fmla="*/ 28 w 71"/>
                <a:gd name="T1" fmla="*/ 0 h 54"/>
                <a:gd name="T2" fmla="*/ 27 w 71"/>
                <a:gd name="T3" fmla="*/ 1 h 54"/>
                <a:gd name="T4" fmla="*/ 19 w 71"/>
                <a:gd name="T5" fmla="*/ 3 h 54"/>
                <a:gd name="T6" fmla="*/ 14 w 71"/>
                <a:gd name="T7" fmla="*/ 4 h 54"/>
                <a:gd name="T8" fmla="*/ 13 w 71"/>
                <a:gd name="T9" fmla="*/ 5 h 54"/>
                <a:gd name="T10" fmla="*/ 12 w 71"/>
                <a:gd name="T11" fmla="*/ 6 h 54"/>
                <a:gd name="T12" fmla="*/ 12 w 71"/>
                <a:gd name="T13" fmla="*/ 7 h 54"/>
                <a:gd name="T14" fmla="*/ 13 w 71"/>
                <a:gd name="T15" fmla="*/ 7 h 54"/>
                <a:gd name="T16" fmla="*/ 13 w 71"/>
                <a:gd name="T17" fmla="*/ 8 h 54"/>
                <a:gd name="T18" fmla="*/ 14 w 71"/>
                <a:gd name="T19" fmla="*/ 10 h 54"/>
                <a:gd name="T20" fmla="*/ 15 w 71"/>
                <a:gd name="T21" fmla="*/ 16 h 54"/>
                <a:gd name="T22" fmla="*/ 10 w 71"/>
                <a:gd name="T23" fmla="*/ 21 h 54"/>
                <a:gd name="T24" fmla="*/ 9 w 71"/>
                <a:gd name="T25" fmla="*/ 22 h 54"/>
                <a:gd name="T26" fmla="*/ 9 w 71"/>
                <a:gd name="T27" fmla="*/ 22 h 54"/>
                <a:gd name="T28" fmla="*/ 9 w 71"/>
                <a:gd name="T29" fmla="*/ 23 h 54"/>
                <a:gd name="T30" fmla="*/ 9 w 71"/>
                <a:gd name="T31" fmla="*/ 24 h 54"/>
                <a:gd name="T32" fmla="*/ 8 w 71"/>
                <a:gd name="T33" fmla="*/ 29 h 54"/>
                <a:gd name="T34" fmla="*/ 8 w 71"/>
                <a:gd name="T35" fmla="*/ 29 h 54"/>
                <a:gd name="T36" fmla="*/ 6 w 71"/>
                <a:gd name="T37" fmla="*/ 31 h 54"/>
                <a:gd name="T38" fmla="*/ 6 w 71"/>
                <a:gd name="T39" fmla="*/ 32 h 54"/>
                <a:gd name="T40" fmla="*/ 1 w 71"/>
                <a:gd name="T41" fmla="*/ 38 h 54"/>
                <a:gd name="T42" fmla="*/ 0 w 71"/>
                <a:gd name="T43" fmla="*/ 38 h 54"/>
                <a:gd name="T44" fmla="*/ 4 w 71"/>
                <a:gd name="T45" fmla="*/ 39 h 54"/>
                <a:gd name="T46" fmla="*/ 11 w 71"/>
                <a:gd name="T47" fmla="*/ 38 h 54"/>
                <a:gd name="T48" fmla="*/ 14 w 71"/>
                <a:gd name="T49" fmla="*/ 37 h 54"/>
                <a:gd name="T50" fmla="*/ 16 w 71"/>
                <a:gd name="T51" fmla="*/ 39 h 54"/>
                <a:gd name="T52" fmla="*/ 12 w 71"/>
                <a:gd name="T53" fmla="*/ 41 h 54"/>
                <a:gd name="T54" fmla="*/ 3 w 71"/>
                <a:gd name="T55" fmla="*/ 46 h 54"/>
                <a:gd name="T56" fmla="*/ 2 w 71"/>
                <a:gd name="T57" fmla="*/ 54 h 54"/>
                <a:gd name="T58" fmla="*/ 27 w 71"/>
                <a:gd name="T59" fmla="*/ 35 h 54"/>
                <a:gd name="T60" fmla="*/ 39 w 71"/>
                <a:gd name="T61" fmla="*/ 27 h 54"/>
                <a:gd name="T62" fmla="*/ 51 w 71"/>
                <a:gd name="T63" fmla="*/ 26 h 54"/>
                <a:gd name="T64" fmla="*/ 55 w 71"/>
                <a:gd name="T65" fmla="*/ 26 h 54"/>
                <a:gd name="T66" fmla="*/ 62 w 71"/>
                <a:gd name="T67" fmla="*/ 28 h 54"/>
                <a:gd name="T68" fmla="*/ 61 w 71"/>
                <a:gd name="T69" fmla="*/ 27 h 54"/>
                <a:gd name="T70" fmla="*/ 68 w 71"/>
                <a:gd name="T71" fmla="*/ 20 h 54"/>
                <a:gd name="T72" fmla="*/ 71 w 71"/>
                <a:gd name="T73" fmla="*/ 21 h 54"/>
                <a:gd name="T74" fmla="*/ 71 w 71"/>
                <a:gd name="T75" fmla="*/ 21 h 54"/>
                <a:gd name="T76" fmla="*/ 65 w 71"/>
                <a:gd name="T77" fmla="*/ 19 h 54"/>
                <a:gd name="T78" fmla="*/ 50 w 71"/>
                <a:gd name="T79" fmla="*/ 12 h 54"/>
                <a:gd name="T80" fmla="*/ 46 w 71"/>
                <a:gd name="T81" fmla="*/ 2 h 54"/>
                <a:gd name="T82" fmla="*/ 36 w 71"/>
                <a:gd name="T83" fmla="*/ 4 h 54"/>
                <a:gd name="T84" fmla="*/ 35 w 71"/>
                <a:gd name="T85" fmla="*/ 4 h 54"/>
                <a:gd name="T86" fmla="*/ 29 w 71"/>
                <a:gd name="T87" fmla="*/ 1 h 54"/>
                <a:gd name="T88" fmla="*/ 28 w 71"/>
                <a:gd name="T89" fmla="*/ 0 h 54"/>
                <a:gd name="T90" fmla="*/ 28 w 71"/>
                <a:gd name="T9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54">
                  <a:moveTo>
                    <a:pt x="28" y="0"/>
                  </a:moveTo>
                  <a:cubicBezTo>
                    <a:pt x="27" y="1"/>
                    <a:pt x="27" y="1"/>
                    <a:pt x="27" y="1"/>
                  </a:cubicBezTo>
                  <a:cubicBezTo>
                    <a:pt x="24" y="1"/>
                    <a:pt x="22" y="2"/>
                    <a:pt x="19" y="3"/>
                  </a:cubicBezTo>
                  <a:cubicBezTo>
                    <a:pt x="14" y="4"/>
                    <a:pt x="14" y="4"/>
                    <a:pt x="14" y="4"/>
                  </a:cubicBezTo>
                  <a:cubicBezTo>
                    <a:pt x="13" y="5"/>
                    <a:pt x="13" y="5"/>
                    <a:pt x="13" y="5"/>
                  </a:cubicBezTo>
                  <a:cubicBezTo>
                    <a:pt x="12" y="6"/>
                    <a:pt x="12" y="6"/>
                    <a:pt x="12" y="6"/>
                  </a:cubicBezTo>
                  <a:cubicBezTo>
                    <a:pt x="12" y="7"/>
                    <a:pt x="12" y="7"/>
                    <a:pt x="12" y="7"/>
                  </a:cubicBezTo>
                  <a:cubicBezTo>
                    <a:pt x="13" y="7"/>
                    <a:pt x="13" y="7"/>
                    <a:pt x="13" y="7"/>
                  </a:cubicBezTo>
                  <a:cubicBezTo>
                    <a:pt x="13" y="8"/>
                    <a:pt x="13" y="8"/>
                    <a:pt x="13" y="8"/>
                  </a:cubicBezTo>
                  <a:cubicBezTo>
                    <a:pt x="13" y="8"/>
                    <a:pt x="14" y="9"/>
                    <a:pt x="14" y="10"/>
                  </a:cubicBezTo>
                  <a:cubicBezTo>
                    <a:pt x="16" y="11"/>
                    <a:pt x="16" y="14"/>
                    <a:pt x="15" y="16"/>
                  </a:cubicBezTo>
                  <a:cubicBezTo>
                    <a:pt x="14" y="19"/>
                    <a:pt x="12" y="20"/>
                    <a:pt x="10" y="21"/>
                  </a:cubicBezTo>
                  <a:cubicBezTo>
                    <a:pt x="9" y="22"/>
                    <a:pt x="9" y="22"/>
                    <a:pt x="9" y="22"/>
                  </a:cubicBezTo>
                  <a:cubicBezTo>
                    <a:pt x="9" y="22"/>
                    <a:pt x="9" y="22"/>
                    <a:pt x="9" y="22"/>
                  </a:cubicBezTo>
                  <a:cubicBezTo>
                    <a:pt x="9" y="23"/>
                    <a:pt x="9" y="23"/>
                    <a:pt x="9" y="23"/>
                  </a:cubicBezTo>
                  <a:cubicBezTo>
                    <a:pt x="9" y="24"/>
                    <a:pt x="9" y="24"/>
                    <a:pt x="9" y="24"/>
                  </a:cubicBezTo>
                  <a:cubicBezTo>
                    <a:pt x="9" y="25"/>
                    <a:pt x="9" y="27"/>
                    <a:pt x="8" y="29"/>
                  </a:cubicBezTo>
                  <a:cubicBezTo>
                    <a:pt x="8" y="29"/>
                    <a:pt x="8" y="29"/>
                    <a:pt x="8" y="29"/>
                  </a:cubicBezTo>
                  <a:cubicBezTo>
                    <a:pt x="8" y="29"/>
                    <a:pt x="7" y="30"/>
                    <a:pt x="6" y="31"/>
                  </a:cubicBezTo>
                  <a:cubicBezTo>
                    <a:pt x="6" y="32"/>
                    <a:pt x="6" y="32"/>
                    <a:pt x="6" y="32"/>
                  </a:cubicBezTo>
                  <a:cubicBezTo>
                    <a:pt x="5" y="33"/>
                    <a:pt x="2" y="36"/>
                    <a:pt x="1" y="38"/>
                  </a:cubicBezTo>
                  <a:cubicBezTo>
                    <a:pt x="0" y="38"/>
                    <a:pt x="0" y="38"/>
                    <a:pt x="0" y="38"/>
                  </a:cubicBezTo>
                  <a:cubicBezTo>
                    <a:pt x="1" y="38"/>
                    <a:pt x="2" y="39"/>
                    <a:pt x="4" y="39"/>
                  </a:cubicBezTo>
                  <a:cubicBezTo>
                    <a:pt x="6" y="39"/>
                    <a:pt x="9" y="38"/>
                    <a:pt x="11" y="38"/>
                  </a:cubicBezTo>
                  <a:cubicBezTo>
                    <a:pt x="12" y="38"/>
                    <a:pt x="13" y="37"/>
                    <a:pt x="14" y="37"/>
                  </a:cubicBezTo>
                  <a:cubicBezTo>
                    <a:pt x="15" y="37"/>
                    <a:pt x="16" y="37"/>
                    <a:pt x="16" y="39"/>
                  </a:cubicBezTo>
                  <a:cubicBezTo>
                    <a:pt x="16" y="40"/>
                    <a:pt x="13" y="41"/>
                    <a:pt x="12" y="41"/>
                  </a:cubicBezTo>
                  <a:cubicBezTo>
                    <a:pt x="10" y="42"/>
                    <a:pt x="5" y="44"/>
                    <a:pt x="3" y="46"/>
                  </a:cubicBezTo>
                  <a:cubicBezTo>
                    <a:pt x="2" y="48"/>
                    <a:pt x="2" y="52"/>
                    <a:pt x="2" y="54"/>
                  </a:cubicBezTo>
                  <a:cubicBezTo>
                    <a:pt x="10" y="47"/>
                    <a:pt x="19" y="41"/>
                    <a:pt x="27" y="35"/>
                  </a:cubicBezTo>
                  <a:cubicBezTo>
                    <a:pt x="30" y="33"/>
                    <a:pt x="35" y="27"/>
                    <a:pt x="39" y="27"/>
                  </a:cubicBezTo>
                  <a:cubicBezTo>
                    <a:pt x="43" y="27"/>
                    <a:pt x="47" y="26"/>
                    <a:pt x="51" y="26"/>
                  </a:cubicBezTo>
                  <a:cubicBezTo>
                    <a:pt x="53" y="26"/>
                    <a:pt x="54" y="26"/>
                    <a:pt x="55" y="26"/>
                  </a:cubicBezTo>
                  <a:cubicBezTo>
                    <a:pt x="57" y="26"/>
                    <a:pt x="59" y="27"/>
                    <a:pt x="62" y="28"/>
                  </a:cubicBezTo>
                  <a:cubicBezTo>
                    <a:pt x="61" y="27"/>
                    <a:pt x="61" y="27"/>
                    <a:pt x="61" y="27"/>
                  </a:cubicBezTo>
                  <a:cubicBezTo>
                    <a:pt x="61" y="23"/>
                    <a:pt x="64" y="20"/>
                    <a:pt x="68" y="20"/>
                  </a:cubicBezTo>
                  <a:cubicBezTo>
                    <a:pt x="69" y="20"/>
                    <a:pt x="70" y="21"/>
                    <a:pt x="71" y="21"/>
                  </a:cubicBezTo>
                  <a:cubicBezTo>
                    <a:pt x="71" y="21"/>
                    <a:pt x="71" y="21"/>
                    <a:pt x="71" y="21"/>
                  </a:cubicBezTo>
                  <a:cubicBezTo>
                    <a:pt x="71" y="20"/>
                    <a:pt x="66" y="20"/>
                    <a:pt x="65" y="19"/>
                  </a:cubicBezTo>
                  <a:cubicBezTo>
                    <a:pt x="60" y="18"/>
                    <a:pt x="55" y="15"/>
                    <a:pt x="50" y="12"/>
                  </a:cubicBezTo>
                  <a:cubicBezTo>
                    <a:pt x="46" y="10"/>
                    <a:pt x="46" y="6"/>
                    <a:pt x="46" y="2"/>
                  </a:cubicBezTo>
                  <a:cubicBezTo>
                    <a:pt x="36" y="4"/>
                    <a:pt x="36" y="4"/>
                    <a:pt x="36" y="4"/>
                  </a:cubicBezTo>
                  <a:cubicBezTo>
                    <a:pt x="36" y="4"/>
                    <a:pt x="35" y="4"/>
                    <a:pt x="35" y="4"/>
                  </a:cubicBezTo>
                  <a:cubicBezTo>
                    <a:pt x="33" y="4"/>
                    <a:pt x="31" y="3"/>
                    <a:pt x="29" y="1"/>
                  </a:cubicBezTo>
                  <a:cubicBezTo>
                    <a:pt x="29" y="1"/>
                    <a:pt x="29" y="0"/>
                    <a:pt x="28" y="0"/>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4" name="Freeform 273">
              <a:extLst>
                <a:ext uri="{FF2B5EF4-FFF2-40B4-BE49-F238E27FC236}">
                  <a16:creationId xmlns:a16="http://schemas.microsoft.com/office/drawing/2014/main" id="{047DB8D9-6ED5-4694-8523-C22AE0195A17}"/>
                </a:ext>
              </a:extLst>
            </p:cNvPr>
            <p:cNvSpPr>
              <a:spLocks/>
            </p:cNvSpPr>
            <p:nvPr/>
          </p:nvSpPr>
          <p:spPr bwMode="auto">
            <a:xfrm>
              <a:off x="4717" y="-6"/>
              <a:ext cx="213" cy="253"/>
            </a:xfrm>
            <a:custGeom>
              <a:avLst/>
              <a:gdLst>
                <a:gd name="T0" fmla="*/ 17 w 90"/>
                <a:gd name="T1" fmla="*/ 0 h 107"/>
                <a:gd name="T2" fmla="*/ 2 w 90"/>
                <a:gd name="T3" fmla="*/ 8 h 107"/>
                <a:gd name="T4" fmla="*/ 1 w 90"/>
                <a:gd name="T5" fmla="*/ 13 h 107"/>
                <a:gd name="T6" fmla="*/ 5 w 90"/>
                <a:gd name="T7" fmla="*/ 18 h 107"/>
                <a:gd name="T8" fmla="*/ 8 w 90"/>
                <a:gd name="T9" fmla="*/ 27 h 107"/>
                <a:gd name="T10" fmla="*/ 5 w 90"/>
                <a:gd name="T11" fmla="*/ 32 h 107"/>
                <a:gd name="T12" fmla="*/ 11 w 90"/>
                <a:gd name="T13" fmla="*/ 37 h 107"/>
                <a:gd name="T14" fmla="*/ 9 w 90"/>
                <a:gd name="T15" fmla="*/ 41 h 107"/>
                <a:gd name="T16" fmla="*/ 6 w 90"/>
                <a:gd name="T17" fmla="*/ 47 h 107"/>
                <a:gd name="T18" fmla="*/ 7 w 90"/>
                <a:gd name="T19" fmla="*/ 49 h 107"/>
                <a:gd name="T20" fmla="*/ 12 w 90"/>
                <a:gd name="T21" fmla="*/ 53 h 107"/>
                <a:gd name="T22" fmla="*/ 14 w 90"/>
                <a:gd name="T23" fmla="*/ 54 h 107"/>
                <a:gd name="T24" fmla="*/ 17 w 90"/>
                <a:gd name="T25" fmla="*/ 61 h 107"/>
                <a:gd name="T26" fmla="*/ 14 w 90"/>
                <a:gd name="T27" fmla="*/ 63 h 107"/>
                <a:gd name="T28" fmla="*/ 13 w 90"/>
                <a:gd name="T29" fmla="*/ 64 h 107"/>
                <a:gd name="T30" fmla="*/ 15 w 90"/>
                <a:gd name="T31" fmla="*/ 68 h 107"/>
                <a:gd name="T32" fmla="*/ 14 w 90"/>
                <a:gd name="T33" fmla="*/ 72 h 107"/>
                <a:gd name="T34" fmla="*/ 11 w 90"/>
                <a:gd name="T35" fmla="*/ 74 h 107"/>
                <a:gd name="T36" fmla="*/ 37 w 90"/>
                <a:gd name="T37" fmla="*/ 86 h 107"/>
                <a:gd name="T38" fmla="*/ 38 w 90"/>
                <a:gd name="T39" fmla="*/ 79 h 107"/>
                <a:gd name="T40" fmla="*/ 41 w 90"/>
                <a:gd name="T41" fmla="*/ 78 h 107"/>
                <a:gd name="T42" fmla="*/ 45 w 90"/>
                <a:gd name="T43" fmla="*/ 78 h 107"/>
                <a:gd name="T44" fmla="*/ 55 w 90"/>
                <a:gd name="T45" fmla="*/ 87 h 107"/>
                <a:gd name="T46" fmla="*/ 63 w 90"/>
                <a:gd name="T47" fmla="*/ 95 h 107"/>
                <a:gd name="T48" fmla="*/ 66 w 90"/>
                <a:gd name="T49" fmla="*/ 107 h 107"/>
                <a:gd name="T50" fmla="*/ 78 w 90"/>
                <a:gd name="T51" fmla="*/ 105 h 107"/>
                <a:gd name="T52" fmla="*/ 79 w 90"/>
                <a:gd name="T53" fmla="*/ 105 h 107"/>
                <a:gd name="T54" fmla="*/ 78 w 90"/>
                <a:gd name="T55" fmla="*/ 98 h 107"/>
                <a:gd name="T56" fmla="*/ 82 w 90"/>
                <a:gd name="T57" fmla="*/ 90 h 107"/>
                <a:gd name="T58" fmla="*/ 90 w 90"/>
                <a:gd name="T59" fmla="*/ 84 h 107"/>
                <a:gd name="T60" fmla="*/ 86 w 90"/>
                <a:gd name="T61" fmla="*/ 81 h 107"/>
                <a:gd name="T62" fmla="*/ 78 w 90"/>
                <a:gd name="T63" fmla="*/ 70 h 107"/>
                <a:gd name="T64" fmla="*/ 77 w 90"/>
                <a:gd name="T65" fmla="*/ 65 h 107"/>
                <a:gd name="T66" fmla="*/ 83 w 90"/>
                <a:gd name="T67" fmla="*/ 54 h 107"/>
                <a:gd name="T68" fmla="*/ 81 w 90"/>
                <a:gd name="T69" fmla="*/ 45 h 107"/>
                <a:gd name="T70" fmla="*/ 78 w 90"/>
                <a:gd name="T71" fmla="*/ 47 h 107"/>
                <a:gd name="T72" fmla="*/ 77 w 90"/>
                <a:gd name="T73" fmla="*/ 48 h 107"/>
                <a:gd name="T74" fmla="*/ 75 w 90"/>
                <a:gd name="T75" fmla="*/ 49 h 107"/>
                <a:gd name="T76" fmla="*/ 73 w 90"/>
                <a:gd name="T77" fmla="*/ 48 h 107"/>
                <a:gd name="T78" fmla="*/ 49 w 90"/>
                <a:gd name="T79" fmla="*/ 37 h 107"/>
                <a:gd name="T80" fmla="*/ 57 w 90"/>
                <a:gd name="T81" fmla="*/ 32 h 107"/>
                <a:gd name="T82" fmla="*/ 49 w 90"/>
                <a:gd name="T83" fmla="*/ 24 h 107"/>
                <a:gd name="T84" fmla="*/ 44 w 90"/>
                <a:gd name="T85" fmla="*/ 22 h 107"/>
                <a:gd name="T86" fmla="*/ 42 w 90"/>
                <a:gd name="T87" fmla="*/ 21 h 107"/>
                <a:gd name="T88" fmla="*/ 41 w 90"/>
                <a:gd name="T89" fmla="*/ 20 h 107"/>
                <a:gd name="T90" fmla="*/ 39 w 90"/>
                <a:gd name="T91" fmla="*/ 17 h 107"/>
                <a:gd name="T92" fmla="*/ 38 w 90"/>
                <a:gd name="T93" fmla="*/ 13 h 107"/>
                <a:gd name="T94" fmla="*/ 25 w 90"/>
                <a:gd name="T9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107">
                  <a:moveTo>
                    <a:pt x="22" y="0"/>
                  </a:moveTo>
                  <a:cubicBezTo>
                    <a:pt x="18" y="0"/>
                    <a:pt x="18" y="0"/>
                    <a:pt x="18" y="0"/>
                  </a:cubicBezTo>
                  <a:cubicBezTo>
                    <a:pt x="17" y="0"/>
                    <a:pt x="17" y="0"/>
                    <a:pt x="17" y="0"/>
                  </a:cubicBezTo>
                  <a:cubicBezTo>
                    <a:pt x="16" y="0"/>
                    <a:pt x="16" y="0"/>
                    <a:pt x="16" y="0"/>
                  </a:cubicBezTo>
                  <a:cubicBezTo>
                    <a:pt x="0" y="6"/>
                    <a:pt x="0" y="6"/>
                    <a:pt x="0" y="6"/>
                  </a:cubicBezTo>
                  <a:cubicBezTo>
                    <a:pt x="1" y="7"/>
                    <a:pt x="1" y="7"/>
                    <a:pt x="2" y="8"/>
                  </a:cubicBezTo>
                  <a:cubicBezTo>
                    <a:pt x="2" y="9"/>
                    <a:pt x="2" y="9"/>
                    <a:pt x="2" y="9"/>
                  </a:cubicBezTo>
                  <a:cubicBezTo>
                    <a:pt x="1" y="13"/>
                    <a:pt x="1" y="13"/>
                    <a:pt x="1" y="13"/>
                  </a:cubicBezTo>
                  <a:cubicBezTo>
                    <a:pt x="1" y="13"/>
                    <a:pt x="1" y="13"/>
                    <a:pt x="1" y="13"/>
                  </a:cubicBezTo>
                  <a:cubicBezTo>
                    <a:pt x="3" y="14"/>
                    <a:pt x="3" y="14"/>
                    <a:pt x="3" y="14"/>
                  </a:cubicBezTo>
                  <a:cubicBezTo>
                    <a:pt x="3" y="14"/>
                    <a:pt x="5" y="15"/>
                    <a:pt x="5" y="17"/>
                  </a:cubicBezTo>
                  <a:cubicBezTo>
                    <a:pt x="5" y="18"/>
                    <a:pt x="5" y="18"/>
                    <a:pt x="5" y="18"/>
                  </a:cubicBezTo>
                  <a:cubicBezTo>
                    <a:pt x="17" y="26"/>
                    <a:pt x="17" y="26"/>
                    <a:pt x="17" y="26"/>
                  </a:cubicBezTo>
                  <a:cubicBezTo>
                    <a:pt x="10" y="27"/>
                    <a:pt x="10" y="27"/>
                    <a:pt x="10" y="27"/>
                  </a:cubicBezTo>
                  <a:cubicBezTo>
                    <a:pt x="10" y="27"/>
                    <a:pt x="9" y="27"/>
                    <a:pt x="8" y="27"/>
                  </a:cubicBezTo>
                  <a:cubicBezTo>
                    <a:pt x="6" y="28"/>
                    <a:pt x="6" y="28"/>
                    <a:pt x="5" y="28"/>
                  </a:cubicBezTo>
                  <a:cubicBezTo>
                    <a:pt x="5" y="28"/>
                    <a:pt x="5" y="28"/>
                    <a:pt x="5" y="29"/>
                  </a:cubicBezTo>
                  <a:cubicBezTo>
                    <a:pt x="5" y="30"/>
                    <a:pt x="5" y="31"/>
                    <a:pt x="5" y="32"/>
                  </a:cubicBezTo>
                  <a:cubicBezTo>
                    <a:pt x="6" y="32"/>
                    <a:pt x="7" y="32"/>
                    <a:pt x="8" y="32"/>
                  </a:cubicBezTo>
                  <a:cubicBezTo>
                    <a:pt x="13" y="31"/>
                    <a:pt x="13" y="31"/>
                    <a:pt x="13" y="31"/>
                  </a:cubicBezTo>
                  <a:cubicBezTo>
                    <a:pt x="11" y="37"/>
                    <a:pt x="11" y="37"/>
                    <a:pt x="11" y="37"/>
                  </a:cubicBezTo>
                  <a:cubicBezTo>
                    <a:pt x="10" y="38"/>
                    <a:pt x="10" y="39"/>
                    <a:pt x="10" y="40"/>
                  </a:cubicBezTo>
                  <a:cubicBezTo>
                    <a:pt x="10" y="41"/>
                    <a:pt x="10" y="41"/>
                    <a:pt x="10" y="41"/>
                  </a:cubicBezTo>
                  <a:cubicBezTo>
                    <a:pt x="9" y="41"/>
                    <a:pt x="9" y="41"/>
                    <a:pt x="9" y="41"/>
                  </a:cubicBezTo>
                  <a:cubicBezTo>
                    <a:pt x="8" y="43"/>
                    <a:pt x="8" y="44"/>
                    <a:pt x="7" y="45"/>
                  </a:cubicBezTo>
                  <a:cubicBezTo>
                    <a:pt x="7" y="46"/>
                    <a:pt x="7" y="46"/>
                    <a:pt x="7" y="46"/>
                  </a:cubicBezTo>
                  <a:cubicBezTo>
                    <a:pt x="6" y="47"/>
                    <a:pt x="6" y="47"/>
                    <a:pt x="6" y="47"/>
                  </a:cubicBezTo>
                  <a:cubicBezTo>
                    <a:pt x="6" y="48"/>
                    <a:pt x="6" y="49"/>
                    <a:pt x="6" y="49"/>
                  </a:cubicBezTo>
                  <a:cubicBezTo>
                    <a:pt x="7" y="50"/>
                    <a:pt x="7" y="50"/>
                    <a:pt x="7" y="50"/>
                  </a:cubicBezTo>
                  <a:cubicBezTo>
                    <a:pt x="7" y="49"/>
                    <a:pt x="7" y="49"/>
                    <a:pt x="7" y="49"/>
                  </a:cubicBezTo>
                  <a:cubicBezTo>
                    <a:pt x="7" y="49"/>
                    <a:pt x="8" y="49"/>
                    <a:pt x="8" y="50"/>
                  </a:cubicBezTo>
                  <a:cubicBezTo>
                    <a:pt x="9" y="50"/>
                    <a:pt x="9" y="50"/>
                    <a:pt x="10" y="50"/>
                  </a:cubicBezTo>
                  <a:cubicBezTo>
                    <a:pt x="11" y="51"/>
                    <a:pt x="11" y="52"/>
                    <a:pt x="12" y="53"/>
                  </a:cubicBezTo>
                  <a:cubicBezTo>
                    <a:pt x="13" y="54"/>
                    <a:pt x="13" y="54"/>
                    <a:pt x="13" y="54"/>
                  </a:cubicBezTo>
                  <a:cubicBezTo>
                    <a:pt x="14" y="55"/>
                    <a:pt x="14" y="55"/>
                    <a:pt x="14" y="55"/>
                  </a:cubicBezTo>
                  <a:cubicBezTo>
                    <a:pt x="14" y="54"/>
                    <a:pt x="14" y="54"/>
                    <a:pt x="14" y="54"/>
                  </a:cubicBezTo>
                  <a:cubicBezTo>
                    <a:pt x="16" y="56"/>
                    <a:pt x="16" y="56"/>
                    <a:pt x="16" y="56"/>
                  </a:cubicBezTo>
                  <a:cubicBezTo>
                    <a:pt x="17" y="57"/>
                    <a:pt x="18" y="58"/>
                    <a:pt x="17" y="60"/>
                  </a:cubicBezTo>
                  <a:cubicBezTo>
                    <a:pt x="17" y="61"/>
                    <a:pt x="17" y="61"/>
                    <a:pt x="17" y="61"/>
                  </a:cubicBezTo>
                  <a:cubicBezTo>
                    <a:pt x="16" y="62"/>
                    <a:pt x="16" y="62"/>
                    <a:pt x="16" y="62"/>
                  </a:cubicBezTo>
                  <a:cubicBezTo>
                    <a:pt x="16" y="62"/>
                    <a:pt x="16" y="62"/>
                    <a:pt x="15" y="62"/>
                  </a:cubicBezTo>
                  <a:cubicBezTo>
                    <a:pt x="15" y="63"/>
                    <a:pt x="15" y="63"/>
                    <a:pt x="14" y="63"/>
                  </a:cubicBezTo>
                  <a:cubicBezTo>
                    <a:pt x="14" y="63"/>
                    <a:pt x="14" y="63"/>
                    <a:pt x="14" y="63"/>
                  </a:cubicBezTo>
                  <a:cubicBezTo>
                    <a:pt x="13" y="63"/>
                    <a:pt x="13" y="63"/>
                    <a:pt x="13" y="63"/>
                  </a:cubicBezTo>
                  <a:cubicBezTo>
                    <a:pt x="13" y="64"/>
                    <a:pt x="13" y="64"/>
                    <a:pt x="13" y="64"/>
                  </a:cubicBezTo>
                  <a:cubicBezTo>
                    <a:pt x="14" y="65"/>
                    <a:pt x="14" y="65"/>
                    <a:pt x="15" y="66"/>
                  </a:cubicBezTo>
                  <a:cubicBezTo>
                    <a:pt x="15" y="67"/>
                    <a:pt x="15" y="67"/>
                    <a:pt x="15" y="67"/>
                  </a:cubicBezTo>
                  <a:cubicBezTo>
                    <a:pt x="15" y="68"/>
                    <a:pt x="15" y="68"/>
                    <a:pt x="15" y="68"/>
                  </a:cubicBezTo>
                  <a:cubicBezTo>
                    <a:pt x="15" y="69"/>
                    <a:pt x="15" y="69"/>
                    <a:pt x="15" y="69"/>
                  </a:cubicBezTo>
                  <a:cubicBezTo>
                    <a:pt x="15" y="70"/>
                    <a:pt x="15" y="71"/>
                    <a:pt x="14" y="71"/>
                  </a:cubicBezTo>
                  <a:cubicBezTo>
                    <a:pt x="14" y="72"/>
                    <a:pt x="14" y="72"/>
                    <a:pt x="14" y="72"/>
                  </a:cubicBezTo>
                  <a:cubicBezTo>
                    <a:pt x="13" y="72"/>
                    <a:pt x="13" y="73"/>
                    <a:pt x="12" y="74"/>
                  </a:cubicBezTo>
                  <a:cubicBezTo>
                    <a:pt x="11" y="74"/>
                    <a:pt x="11" y="74"/>
                    <a:pt x="11" y="74"/>
                  </a:cubicBezTo>
                  <a:cubicBezTo>
                    <a:pt x="11" y="74"/>
                    <a:pt x="11" y="74"/>
                    <a:pt x="11" y="74"/>
                  </a:cubicBezTo>
                  <a:cubicBezTo>
                    <a:pt x="32" y="89"/>
                    <a:pt x="32" y="89"/>
                    <a:pt x="32" y="89"/>
                  </a:cubicBezTo>
                  <a:cubicBezTo>
                    <a:pt x="32" y="88"/>
                    <a:pt x="33" y="86"/>
                    <a:pt x="37" y="86"/>
                  </a:cubicBezTo>
                  <a:cubicBezTo>
                    <a:pt x="37" y="86"/>
                    <a:pt x="37" y="86"/>
                    <a:pt x="37" y="86"/>
                  </a:cubicBezTo>
                  <a:cubicBezTo>
                    <a:pt x="37" y="86"/>
                    <a:pt x="37" y="86"/>
                    <a:pt x="37" y="86"/>
                  </a:cubicBezTo>
                  <a:cubicBezTo>
                    <a:pt x="36" y="84"/>
                    <a:pt x="35" y="83"/>
                    <a:pt x="36" y="82"/>
                  </a:cubicBezTo>
                  <a:cubicBezTo>
                    <a:pt x="36" y="80"/>
                    <a:pt x="37" y="80"/>
                    <a:pt x="38" y="79"/>
                  </a:cubicBezTo>
                  <a:cubicBezTo>
                    <a:pt x="38" y="79"/>
                    <a:pt x="38" y="79"/>
                    <a:pt x="38" y="79"/>
                  </a:cubicBezTo>
                  <a:cubicBezTo>
                    <a:pt x="39" y="79"/>
                    <a:pt x="39" y="78"/>
                    <a:pt x="40" y="78"/>
                  </a:cubicBezTo>
                  <a:cubicBezTo>
                    <a:pt x="40" y="78"/>
                    <a:pt x="40" y="78"/>
                    <a:pt x="41" y="78"/>
                  </a:cubicBezTo>
                  <a:cubicBezTo>
                    <a:pt x="42" y="78"/>
                    <a:pt x="42" y="78"/>
                    <a:pt x="42" y="78"/>
                  </a:cubicBezTo>
                  <a:cubicBezTo>
                    <a:pt x="42" y="78"/>
                    <a:pt x="42" y="78"/>
                    <a:pt x="42" y="78"/>
                  </a:cubicBezTo>
                  <a:cubicBezTo>
                    <a:pt x="43" y="78"/>
                    <a:pt x="44" y="78"/>
                    <a:pt x="45" y="78"/>
                  </a:cubicBezTo>
                  <a:cubicBezTo>
                    <a:pt x="45" y="79"/>
                    <a:pt x="46" y="79"/>
                    <a:pt x="47" y="79"/>
                  </a:cubicBezTo>
                  <a:cubicBezTo>
                    <a:pt x="53" y="80"/>
                    <a:pt x="54" y="83"/>
                    <a:pt x="54" y="84"/>
                  </a:cubicBezTo>
                  <a:cubicBezTo>
                    <a:pt x="54" y="86"/>
                    <a:pt x="54" y="87"/>
                    <a:pt x="55" y="87"/>
                  </a:cubicBezTo>
                  <a:cubicBezTo>
                    <a:pt x="59" y="87"/>
                    <a:pt x="60" y="90"/>
                    <a:pt x="61" y="92"/>
                  </a:cubicBezTo>
                  <a:cubicBezTo>
                    <a:pt x="61" y="93"/>
                    <a:pt x="61" y="94"/>
                    <a:pt x="61" y="94"/>
                  </a:cubicBezTo>
                  <a:cubicBezTo>
                    <a:pt x="62" y="95"/>
                    <a:pt x="62" y="95"/>
                    <a:pt x="63" y="95"/>
                  </a:cubicBezTo>
                  <a:cubicBezTo>
                    <a:pt x="64" y="96"/>
                    <a:pt x="65" y="96"/>
                    <a:pt x="66" y="96"/>
                  </a:cubicBezTo>
                  <a:cubicBezTo>
                    <a:pt x="67" y="97"/>
                    <a:pt x="68" y="98"/>
                    <a:pt x="68" y="99"/>
                  </a:cubicBezTo>
                  <a:cubicBezTo>
                    <a:pt x="69" y="102"/>
                    <a:pt x="67" y="105"/>
                    <a:pt x="66" y="107"/>
                  </a:cubicBezTo>
                  <a:cubicBezTo>
                    <a:pt x="66" y="107"/>
                    <a:pt x="66" y="107"/>
                    <a:pt x="66" y="107"/>
                  </a:cubicBezTo>
                  <a:cubicBezTo>
                    <a:pt x="69" y="106"/>
                    <a:pt x="73" y="106"/>
                    <a:pt x="77" y="106"/>
                  </a:cubicBezTo>
                  <a:cubicBezTo>
                    <a:pt x="78" y="105"/>
                    <a:pt x="78" y="105"/>
                    <a:pt x="78" y="105"/>
                  </a:cubicBezTo>
                  <a:cubicBezTo>
                    <a:pt x="78" y="105"/>
                    <a:pt x="78" y="105"/>
                    <a:pt x="78" y="105"/>
                  </a:cubicBezTo>
                  <a:cubicBezTo>
                    <a:pt x="78" y="105"/>
                    <a:pt x="78" y="105"/>
                    <a:pt x="78" y="105"/>
                  </a:cubicBezTo>
                  <a:cubicBezTo>
                    <a:pt x="79" y="105"/>
                    <a:pt x="79" y="105"/>
                    <a:pt x="79" y="105"/>
                  </a:cubicBezTo>
                  <a:cubicBezTo>
                    <a:pt x="80" y="104"/>
                    <a:pt x="80" y="103"/>
                    <a:pt x="81" y="103"/>
                  </a:cubicBezTo>
                  <a:cubicBezTo>
                    <a:pt x="80" y="101"/>
                    <a:pt x="80" y="101"/>
                    <a:pt x="80" y="101"/>
                  </a:cubicBezTo>
                  <a:cubicBezTo>
                    <a:pt x="79" y="100"/>
                    <a:pt x="79" y="99"/>
                    <a:pt x="78" y="98"/>
                  </a:cubicBezTo>
                  <a:cubicBezTo>
                    <a:pt x="78" y="96"/>
                    <a:pt x="78" y="94"/>
                    <a:pt x="79" y="93"/>
                  </a:cubicBezTo>
                  <a:cubicBezTo>
                    <a:pt x="80" y="92"/>
                    <a:pt x="80" y="92"/>
                    <a:pt x="80" y="91"/>
                  </a:cubicBezTo>
                  <a:cubicBezTo>
                    <a:pt x="81" y="90"/>
                    <a:pt x="82" y="90"/>
                    <a:pt x="82" y="90"/>
                  </a:cubicBezTo>
                  <a:cubicBezTo>
                    <a:pt x="83" y="89"/>
                    <a:pt x="83" y="89"/>
                    <a:pt x="83" y="89"/>
                  </a:cubicBezTo>
                  <a:cubicBezTo>
                    <a:pt x="85" y="88"/>
                    <a:pt x="87" y="86"/>
                    <a:pt x="89" y="84"/>
                  </a:cubicBezTo>
                  <a:cubicBezTo>
                    <a:pt x="90" y="84"/>
                    <a:pt x="90" y="84"/>
                    <a:pt x="90" y="84"/>
                  </a:cubicBezTo>
                  <a:cubicBezTo>
                    <a:pt x="89" y="83"/>
                    <a:pt x="89" y="83"/>
                    <a:pt x="89" y="83"/>
                  </a:cubicBezTo>
                  <a:cubicBezTo>
                    <a:pt x="88" y="82"/>
                    <a:pt x="87" y="82"/>
                    <a:pt x="87" y="82"/>
                  </a:cubicBezTo>
                  <a:cubicBezTo>
                    <a:pt x="86" y="81"/>
                    <a:pt x="86" y="81"/>
                    <a:pt x="86" y="81"/>
                  </a:cubicBezTo>
                  <a:cubicBezTo>
                    <a:pt x="85" y="80"/>
                    <a:pt x="84" y="80"/>
                    <a:pt x="84" y="79"/>
                  </a:cubicBezTo>
                  <a:cubicBezTo>
                    <a:pt x="82" y="78"/>
                    <a:pt x="82" y="77"/>
                    <a:pt x="81" y="76"/>
                  </a:cubicBezTo>
                  <a:cubicBezTo>
                    <a:pt x="80" y="74"/>
                    <a:pt x="79" y="73"/>
                    <a:pt x="78" y="70"/>
                  </a:cubicBezTo>
                  <a:cubicBezTo>
                    <a:pt x="78" y="70"/>
                    <a:pt x="78" y="70"/>
                    <a:pt x="78" y="70"/>
                  </a:cubicBezTo>
                  <a:cubicBezTo>
                    <a:pt x="78" y="70"/>
                    <a:pt x="78" y="69"/>
                    <a:pt x="78" y="68"/>
                  </a:cubicBezTo>
                  <a:cubicBezTo>
                    <a:pt x="77" y="67"/>
                    <a:pt x="77" y="66"/>
                    <a:pt x="77" y="65"/>
                  </a:cubicBezTo>
                  <a:cubicBezTo>
                    <a:pt x="78" y="65"/>
                    <a:pt x="78" y="65"/>
                    <a:pt x="78" y="65"/>
                  </a:cubicBezTo>
                  <a:cubicBezTo>
                    <a:pt x="83" y="55"/>
                    <a:pt x="83" y="55"/>
                    <a:pt x="83" y="55"/>
                  </a:cubicBezTo>
                  <a:cubicBezTo>
                    <a:pt x="83" y="55"/>
                    <a:pt x="83" y="55"/>
                    <a:pt x="83" y="54"/>
                  </a:cubicBezTo>
                  <a:cubicBezTo>
                    <a:pt x="81" y="53"/>
                    <a:pt x="80" y="51"/>
                    <a:pt x="80" y="48"/>
                  </a:cubicBezTo>
                  <a:cubicBezTo>
                    <a:pt x="80" y="47"/>
                    <a:pt x="80" y="46"/>
                    <a:pt x="81" y="45"/>
                  </a:cubicBezTo>
                  <a:cubicBezTo>
                    <a:pt x="81" y="45"/>
                    <a:pt x="81" y="45"/>
                    <a:pt x="81" y="45"/>
                  </a:cubicBezTo>
                  <a:cubicBezTo>
                    <a:pt x="81" y="45"/>
                    <a:pt x="81" y="45"/>
                    <a:pt x="81" y="45"/>
                  </a:cubicBezTo>
                  <a:cubicBezTo>
                    <a:pt x="80" y="46"/>
                    <a:pt x="80" y="46"/>
                    <a:pt x="79" y="47"/>
                  </a:cubicBezTo>
                  <a:cubicBezTo>
                    <a:pt x="78" y="47"/>
                    <a:pt x="78" y="47"/>
                    <a:pt x="78" y="47"/>
                  </a:cubicBezTo>
                  <a:cubicBezTo>
                    <a:pt x="77" y="47"/>
                    <a:pt x="77" y="47"/>
                    <a:pt x="77" y="47"/>
                  </a:cubicBezTo>
                  <a:cubicBezTo>
                    <a:pt x="78" y="48"/>
                    <a:pt x="78" y="48"/>
                    <a:pt x="78" y="48"/>
                  </a:cubicBezTo>
                  <a:cubicBezTo>
                    <a:pt x="77" y="48"/>
                    <a:pt x="77" y="48"/>
                    <a:pt x="77" y="48"/>
                  </a:cubicBezTo>
                  <a:cubicBezTo>
                    <a:pt x="77" y="48"/>
                    <a:pt x="77" y="49"/>
                    <a:pt x="76" y="49"/>
                  </a:cubicBezTo>
                  <a:cubicBezTo>
                    <a:pt x="76" y="49"/>
                    <a:pt x="76" y="49"/>
                    <a:pt x="76" y="49"/>
                  </a:cubicBezTo>
                  <a:cubicBezTo>
                    <a:pt x="75" y="49"/>
                    <a:pt x="75" y="49"/>
                    <a:pt x="75" y="49"/>
                  </a:cubicBezTo>
                  <a:cubicBezTo>
                    <a:pt x="74" y="49"/>
                    <a:pt x="74" y="49"/>
                    <a:pt x="74" y="49"/>
                  </a:cubicBezTo>
                  <a:cubicBezTo>
                    <a:pt x="74" y="49"/>
                    <a:pt x="74" y="49"/>
                    <a:pt x="73" y="49"/>
                  </a:cubicBezTo>
                  <a:cubicBezTo>
                    <a:pt x="73" y="48"/>
                    <a:pt x="73" y="48"/>
                    <a:pt x="73" y="48"/>
                  </a:cubicBezTo>
                  <a:cubicBezTo>
                    <a:pt x="72" y="48"/>
                    <a:pt x="72" y="48"/>
                    <a:pt x="72" y="48"/>
                  </a:cubicBezTo>
                  <a:cubicBezTo>
                    <a:pt x="71" y="47"/>
                    <a:pt x="70" y="46"/>
                    <a:pt x="68" y="45"/>
                  </a:cubicBezTo>
                  <a:cubicBezTo>
                    <a:pt x="49" y="37"/>
                    <a:pt x="49" y="37"/>
                    <a:pt x="49" y="37"/>
                  </a:cubicBezTo>
                  <a:cubicBezTo>
                    <a:pt x="55" y="34"/>
                    <a:pt x="55" y="34"/>
                    <a:pt x="55" y="34"/>
                  </a:cubicBezTo>
                  <a:cubicBezTo>
                    <a:pt x="55" y="33"/>
                    <a:pt x="56" y="33"/>
                    <a:pt x="57" y="33"/>
                  </a:cubicBezTo>
                  <a:cubicBezTo>
                    <a:pt x="57" y="32"/>
                    <a:pt x="57" y="32"/>
                    <a:pt x="57" y="32"/>
                  </a:cubicBezTo>
                  <a:cubicBezTo>
                    <a:pt x="57" y="31"/>
                    <a:pt x="57" y="30"/>
                    <a:pt x="57" y="29"/>
                  </a:cubicBezTo>
                  <a:cubicBezTo>
                    <a:pt x="56" y="28"/>
                    <a:pt x="56" y="28"/>
                    <a:pt x="56" y="28"/>
                  </a:cubicBezTo>
                  <a:cubicBezTo>
                    <a:pt x="49" y="24"/>
                    <a:pt x="49" y="24"/>
                    <a:pt x="49" y="24"/>
                  </a:cubicBezTo>
                  <a:cubicBezTo>
                    <a:pt x="49" y="24"/>
                    <a:pt x="48" y="24"/>
                    <a:pt x="47" y="23"/>
                  </a:cubicBezTo>
                  <a:cubicBezTo>
                    <a:pt x="46" y="23"/>
                    <a:pt x="46" y="23"/>
                    <a:pt x="46" y="23"/>
                  </a:cubicBezTo>
                  <a:cubicBezTo>
                    <a:pt x="46" y="23"/>
                    <a:pt x="45" y="23"/>
                    <a:pt x="44" y="22"/>
                  </a:cubicBezTo>
                  <a:cubicBezTo>
                    <a:pt x="44" y="22"/>
                    <a:pt x="44" y="22"/>
                    <a:pt x="44" y="22"/>
                  </a:cubicBezTo>
                  <a:cubicBezTo>
                    <a:pt x="43" y="22"/>
                    <a:pt x="43" y="22"/>
                    <a:pt x="43" y="22"/>
                  </a:cubicBezTo>
                  <a:cubicBezTo>
                    <a:pt x="43" y="21"/>
                    <a:pt x="43" y="21"/>
                    <a:pt x="42" y="21"/>
                  </a:cubicBezTo>
                  <a:cubicBezTo>
                    <a:pt x="42" y="20"/>
                    <a:pt x="42" y="20"/>
                    <a:pt x="42" y="20"/>
                  </a:cubicBezTo>
                  <a:cubicBezTo>
                    <a:pt x="41" y="20"/>
                    <a:pt x="41" y="20"/>
                    <a:pt x="41" y="20"/>
                  </a:cubicBezTo>
                  <a:cubicBezTo>
                    <a:pt x="41" y="20"/>
                    <a:pt x="41" y="20"/>
                    <a:pt x="41" y="20"/>
                  </a:cubicBezTo>
                  <a:cubicBezTo>
                    <a:pt x="41" y="20"/>
                    <a:pt x="41" y="20"/>
                    <a:pt x="41" y="20"/>
                  </a:cubicBezTo>
                  <a:cubicBezTo>
                    <a:pt x="40" y="18"/>
                    <a:pt x="40" y="18"/>
                    <a:pt x="40" y="18"/>
                  </a:cubicBezTo>
                  <a:cubicBezTo>
                    <a:pt x="39" y="17"/>
                    <a:pt x="39" y="17"/>
                    <a:pt x="39" y="17"/>
                  </a:cubicBezTo>
                  <a:cubicBezTo>
                    <a:pt x="39" y="17"/>
                    <a:pt x="39" y="17"/>
                    <a:pt x="39" y="17"/>
                  </a:cubicBezTo>
                  <a:cubicBezTo>
                    <a:pt x="40" y="15"/>
                    <a:pt x="40" y="15"/>
                    <a:pt x="40" y="15"/>
                  </a:cubicBezTo>
                  <a:cubicBezTo>
                    <a:pt x="39" y="15"/>
                    <a:pt x="39" y="14"/>
                    <a:pt x="38" y="13"/>
                  </a:cubicBezTo>
                  <a:cubicBezTo>
                    <a:pt x="38" y="13"/>
                    <a:pt x="37" y="12"/>
                    <a:pt x="37" y="12"/>
                  </a:cubicBezTo>
                  <a:cubicBezTo>
                    <a:pt x="28" y="1"/>
                    <a:pt x="28" y="1"/>
                    <a:pt x="28" y="1"/>
                  </a:cubicBezTo>
                  <a:cubicBezTo>
                    <a:pt x="27" y="1"/>
                    <a:pt x="26" y="0"/>
                    <a:pt x="25" y="0"/>
                  </a:cubicBezTo>
                  <a:cubicBezTo>
                    <a:pt x="24"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5" name="Rectangle 274">
              <a:extLst>
                <a:ext uri="{FF2B5EF4-FFF2-40B4-BE49-F238E27FC236}">
                  <a16:creationId xmlns:a16="http://schemas.microsoft.com/office/drawing/2014/main" id="{554C876D-772E-450B-82CE-57B22BFC8385}"/>
                </a:ext>
              </a:extLst>
            </p:cNvPr>
            <p:cNvSpPr>
              <a:spLocks noChangeArrowheads="1"/>
            </p:cNvSpPr>
            <p:nvPr/>
          </p:nvSpPr>
          <p:spPr bwMode="auto">
            <a:xfrm>
              <a:off x="4715" y="6"/>
              <a:ext cx="2"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6" name="Freeform 275">
              <a:extLst>
                <a:ext uri="{FF2B5EF4-FFF2-40B4-BE49-F238E27FC236}">
                  <a16:creationId xmlns:a16="http://schemas.microsoft.com/office/drawing/2014/main" id="{BCE73904-3CE5-4554-B437-FAB1DB21B546}"/>
                </a:ext>
              </a:extLst>
            </p:cNvPr>
            <p:cNvSpPr>
              <a:spLocks/>
            </p:cNvSpPr>
            <p:nvPr/>
          </p:nvSpPr>
          <p:spPr bwMode="auto">
            <a:xfrm>
              <a:off x="4715" y="6"/>
              <a:ext cx="2" cy="0"/>
            </a:xfrm>
            <a:custGeom>
              <a:avLst/>
              <a:gdLst>
                <a:gd name="T0" fmla="*/ 0 w 2"/>
                <a:gd name="T1" fmla="*/ 2 w 2"/>
                <a:gd name="T2" fmla="*/ 2 w 2"/>
                <a:gd name="T3" fmla="*/ 0 w 2"/>
              </a:gdLst>
              <a:ahLst/>
              <a:cxnLst>
                <a:cxn ang="0">
                  <a:pos x="T0" y="0"/>
                </a:cxn>
                <a:cxn ang="0">
                  <a:pos x="T1" y="0"/>
                </a:cxn>
                <a:cxn ang="0">
                  <a:pos x="T2" y="0"/>
                </a:cxn>
                <a:cxn ang="0">
                  <a:pos x="T3" y="0"/>
                </a:cxn>
              </a:cxnLst>
              <a:rect l="0" t="0" r="r" b="b"/>
              <a:pathLst>
                <a:path w="2">
                  <a:moveTo>
                    <a:pt x="0" y="0"/>
                  </a:moveTo>
                  <a:lnTo>
                    <a:pt x="2"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7" name="Freeform 276">
              <a:extLst>
                <a:ext uri="{FF2B5EF4-FFF2-40B4-BE49-F238E27FC236}">
                  <a16:creationId xmlns:a16="http://schemas.microsoft.com/office/drawing/2014/main" id="{223CA545-2271-4996-8920-C4755261A51A}"/>
                </a:ext>
              </a:extLst>
            </p:cNvPr>
            <p:cNvSpPr>
              <a:spLocks/>
            </p:cNvSpPr>
            <p:nvPr/>
          </p:nvSpPr>
          <p:spPr bwMode="auto">
            <a:xfrm>
              <a:off x="4800" y="-27"/>
              <a:ext cx="510" cy="182"/>
            </a:xfrm>
            <a:custGeom>
              <a:avLst/>
              <a:gdLst>
                <a:gd name="T0" fmla="*/ 22 w 216"/>
                <a:gd name="T1" fmla="*/ 0 h 77"/>
                <a:gd name="T2" fmla="*/ 14 w 216"/>
                <a:gd name="T3" fmla="*/ 5 h 77"/>
                <a:gd name="T4" fmla="*/ 9 w 216"/>
                <a:gd name="T5" fmla="*/ 6 h 77"/>
                <a:gd name="T6" fmla="*/ 5 w 216"/>
                <a:gd name="T7" fmla="*/ 9 h 77"/>
                <a:gd name="T8" fmla="*/ 6 w 216"/>
                <a:gd name="T9" fmla="*/ 17 h 77"/>
                <a:gd name="T10" fmla="*/ 10 w 216"/>
                <a:gd name="T11" fmla="*/ 22 h 77"/>
                <a:gd name="T12" fmla="*/ 10 w 216"/>
                <a:gd name="T13" fmla="*/ 25 h 77"/>
                <a:gd name="T14" fmla="*/ 17 w 216"/>
                <a:gd name="T15" fmla="*/ 28 h 77"/>
                <a:gd name="T16" fmla="*/ 27 w 216"/>
                <a:gd name="T17" fmla="*/ 37 h 77"/>
                <a:gd name="T18" fmla="*/ 28 w 216"/>
                <a:gd name="T19" fmla="*/ 40 h 77"/>
                <a:gd name="T20" fmla="*/ 35 w 216"/>
                <a:gd name="T21" fmla="*/ 48 h 77"/>
                <a:gd name="T22" fmla="*/ 42 w 216"/>
                <a:gd name="T23" fmla="*/ 50 h 77"/>
                <a:gd name="T24" fmla="*/ 48 w 216"/>
                <a:gd name="T25" fmla="*/ 46 h 77"/>
                <a:gd name="T26" fmla="*/ 54 w 216"/>
                <a:gd name="T27" fmla="*/ 49 h 77"/>
                <a:gd name="T28" fmla="*/ 56 w 216"/>
                <a:gd name="T29" fmla="*/ 51 h 77"/>
                <a:gd name="T30" fmla="*/ 56 w 216"/>
                <a:gd name="T31" fmla="*/ 53 h 77"/>
                <a:gd name="T32" fmla="*/ 56 w 216"/>
                <a:gd name="T33" fmla="*/ 55 h 77"/>
                <a:gd name="T34" fmla="*/ 55 w 216"/>
                <a:gd name="T35" fmla="*/ 57 h 77"/>
                <a:gd name="T36" fmla="*/ 53 w 216"/>
                <a:gd name="T37" fmla="*/ 57 h 77"/>
                <a:gd name="T38" fmla="*/ 51 w 216"/>
                <a:gd name="T39" fmla="*/ 56 h 77"/>
                <a:gd name="T40" fmla="*/ 51 w 216"/>
                <a:gd name="T41" fmla="*/ 57 h 77"/>
                <a:gd name="T42" fmla="*/ 53 w 216"/>
                <a:gd name="T43" fmla="*/ 60 h 77"/>
                <a:gd name="T44" fmla="*/ 54 w 216"/>
                <a:gd name="T45" fmla="*/ 61 h 77"/>
                <a:gd name="T46" fmla="*/ 61 w 216"/>
                <a:gd name="T47" fmla="*/ 69 h 77"/>
                <a:gd name="T48" fmla="*/ 60 w 216"/>
                <a:gd name="T49" fmla="*/ 72 h 77"/>
                <a:gd name="T50" fmla="*/ 62 w 216"/>
                <a:gd name="T51" fmla="*/ 72 h 77"/>
                <a:gd name="T52" fmla="*/ 67 w 216"/>
                <a:gd name="T53" fmla="*/ 71 h 77"/>
                <a:gd name="T54" fmla="*/ 78 w 216"/>
                <a:gd name="T55" fmla="*/ 73 h 77"/>
                <a:gd name="T56" fmla="*/ 95 w 216"/>
                <a:gd name="T57" fmla="*/ 73 h 77"/>
                <a:gd name="T58" fmla="*/ 103 w 216"/>
                <a:gd name="T59" fmla="*/ 74 h 77"/>
                <a:gd name="T60" fmla="*/ 109 w 216"/>
                <a:gd name="T61" fmla="*/ 76 h 77"/>
                <a:gd name="T62" fmla="*/ 109 w 216"/>
                <a:gd name="T63" fmla="*/ 76 h 77"/>
                <a:gd name="T64" fmla="*/ 117 w 216"/>
                <a:gd name="T65" fmla="*/ 77 h 77"/>
                <a:gd name="T66" fmla="*/ 130 w 216"/>
                <a:gd name="T67" fmla="*/ 71 h 77"/>
                <a:gd name="T68" fmla="*/ 133 w 216"/>
                <a:gd name="T69" fmla="*/ 69 h 77"/>
                <a:gd name="T70" fmla="*/ 141 w 216"/>
                <a:gd name="T71" fmla="*/ 65 h 77"/>
                <a:gd name="T72" fmla="*/ 158 w 216"/>
                <a:gd name="T73" fmla="*/ 63 h 77"/>
                <a:gd name="T74" fmla="*/ 160 w 216"/>
                <a:gd name="T75" fmla="*/ 63 h 77"/>
                <a:gd name="T76" fmla="*/ 165 w 216"/>
                <a:gd name="T77" fmla="*/ 65 h 77"/>
                <a:gd name="T78" fmla="*/ 191 w 216"/>
                <a:gd name="T79" fmla="*/ 73 h 77"/>
                <a:gd name="T80" fmla="*/ 198 w 216"/>
                <a:gd name="T81" fmla="*/ 53 h 77"/>
                <a:gd name="T82" fmla="*/ 195 w 216"/>
                <a:gd name="T83" fmla="*/ 51 h 77"/>
                <a:gd name="T84" fmla="*/ 200 w 216"/>
                <a:gd name="T85" fmla="*/ 49 h 77"/>
                <a:gd name="T86" fmla="*/ 198 w 216"/>
                <a:gd name="T87" fmla="*/ 49 h 77"/>
                <a:gd name="T88" fmla="*/ 196 w 216"/>
                <a:gd name="T89" fmla="*/ 49 h 77"/>
                <a:gd name="T90" fmla="*/ 203 w 216"/>
                <a:gd name="T91" fmla="*/ 41 h 77"/>
                <a:gd name="T92" fmla="*/ 210 w 216"/>
                <a:gd name="T93" fmla="*/ 45 h 77"/>
                <a:gd name="T94" fmla="*/ 216 w 216"/>
                <a:gd name="T95" fmla="*/ 41 h 77"/>
                <a:gd name="T96" fmla="*/ 215 w 216"/>
                <a:gd name="T97" fmla="*/ 36 h 77"/>
                <a:gd name="T98" fmla="*/ 213 w 216"/>
                <a:gd name="T99" fmla="*/ 32 h 77"/>
                <a:gd name="T100" fmla="*/ 203 w 216"/>
                <a:gd name="T101" fmla="*/ 33 h 77"/>
                <a:gd name="T102" fmla="*/ 199 w 216"/>
                <a:gd name="T103" fmla="*/ 34 h 77"/>
                <a:gd name="T104" fmla="*/ 195 w 216"/>
                <a:gd name="T105" fmla="*/ 37 h 77"/>
                <a:gd name="T106" fmla="*/ 192 w 216"/>
                <a:gd name="T107" fmla="*/ 36 h 77"/>
                <a:gd name="T108" fmla="*/ 183 w 216"/>
                <a:gd name="T109" fmla="*/ 32 h 77"/>
                <a:gd name="T110" fmla="*/ 181 w 216"/>
                <a:gd name="T111" fmla="*/ 30 h 77"/>
                <a:gd name="T112" fmla="*/ 178 w 216"/>
                <a:gd name="T113" fmla="*/ 27 h 77"/>
                <a:gd name="T114" fmla="*/ 177 w 216"/>
                <a:gd name="T115" fmla="*/ 27 h 77"/>
                <a:gd name="T116" fmla="*/ 176 w 216"/>
                <a:gd name="T117" fmla="*/ 22 h 77"/>
                <a:gd name="T118" fmla="*/ 176 w 216"/>
                <a:gd name="T119" fmla="*/ 1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77">
                  <a:moveTo>
                    <a:pt x="179" y="0"/>
                  </a:moveTo>
                  <a:cubicBezTo>
                    <a:pt x="22" y="0"/>
                    <a:pt x="22" y="0"/>
                    <a:pt x="22" y="0"/>
                  </a:cubicBezTo>
                  <a:cubicBezTo>
                    <a:pt x="22" y="0"/>
                    <a:pt x="22" y="0"/>
                    <a:pt x="22" y="0"/>
                  </a:cubicBezTo>
                  <a:cubicBezTo>
                    <a:pt x="20" y="2"/>
                    <a:pt x="18" y="5"/>
                    <a:pt x="14" y="5"/>
                  </a:cubicBezTo>
                  <a:cubicBezTo>
                    <a:pt x="13" y="5"/>
                    <a:pt x="12" y="5"/>
                    <a:pt x="11" y="6"/>
                  </a:cubicBezTo>
                  <a:cubicBezTo>
                    <a:pt x="10" y="6"/>
                    <a:pt x="10" y="6"/>
                    <a:pt x="9" y="6"/>
                  </a:cubicBezTo>
                  <a:cubicBezTo>
                    <a:pt x="9" y="6"/>
                    <a:pt x="9" y="6"/>
                    <a:pt x="9" y="6"/>
                  </a:cubicBezTo>
                  <a:cubicBezTo>
                    <a:pt x="8" y="7"/>
                    <a:pt x="7" y="9"/>
                    <a:pt x="5" y="9"/>
                  </a:cubicBezTo>
                  <a:cubicBezTo>
                    <a:pt x="3" y="9"/>
                    <a:pt x="2" y="10"/>
                    <a:pt x="0" y="10"/>
                  </a:cubicBezTo>
                  <a:cubicBezTo>
                    <a:pt x="6" y="17"/>
                    <a:pt x="6" y="17"/>
                    <a:pt x="6" y="17"/>
                  </a:cubicBezTo>
                  <a:cubicBezTo>
                    <a:pt x="7" y="18"/>
                    <a:pt x="7" y="18"/>
                    <a:pt x="7" y="18"/>
                  </a:cubicBezTo>
                  <a:cubicBezTo>
                    <a:pt x="8" y="19"/>
                    <a:pt x="9" y="21"/>
                    <a:pt x="10" y="22"/>
                  </a:cubicBezTo>
                  <a:cubicBezTo>
                    <a:pt x="10" y="22"/>
                    <a:pt x="10" y="22"/>
                    <a:pt x="10" y="23"/>
                  </a:cubicBezTo>
                  <a:cubicBezTo>
                    <a:pt x="11" y="24"/>
                    <a:pt x="10" y="25"/>
                    <a:pt x="10" y="25"/>
                  </a:cubicBezTo>
                  <a:cubicBezTo>
                    <a:pt x="12" y="26"/>
                    <a:pt x="14" y="27"/>
                    <a:pt x="16" y="28"/>
                  </a:cubicBezTo>
                  <a:cubicBezTo>
                    <a:pt x="17" y="28"/>
                    <a:pt x="17" y="28"/>
                    <a:pt x="17" y="28"/>
                  </a:cubicBezTo>
                  <a:cubicBezTo>
                    <a:pt x="26" y="33"/>
                    <a:pt x="26" y="33"/>
                    <a:pt x="26" y="33"/>
                  </a:cubicBezTo>
                  <a:cubicBezTo>
                    <a:pt x="27" y="35"/>
                    <a:pt x="27" y="36"/>
                    <a:pt x="27" y="37"/>
                  </a:cubicBezTo>
                  <a:cubicBezTo>
                    <a:pt x="27" y="38"/>
                    <a:pt x="28" y="39"/>
                    <a:pt x="28" y="40"/>
                  </a:cubicBezTo>
                  <a:cubicBezTo>
                    <a:pt x="28" y="40"/>
                    <a:pt x="28" y="40"/>
                    <a:pt x="28" y="40"/>
                  </a:cubicBezTo>
                  <a:cubicBezTo>
                    <a:pt x="28" y="42"/>
                    <a:pt x="28" y="44"/>
                    <a:pt x="27" y="45"/>
                  </a:cubicBezTo>
                  <a:cubicBezTo>
                    <a:pt x="35" y="48"/>
                    <a:pt x="35" y="48"/>
                    <a:pt x="35" y="48"/>
                  </a:cubicBezTo>
                  <a:cubicBezTo>
                    <a:pt x="37" y="49"/>
                    <a:pt x="39" y="50"/>
                    <a:pt x="40" y="51"/>
                  </a:cubicBezTo>
                  <a:cubicBezTo>
                    <a:pt x="41" y="51"/>
                    <a:pt x="41" y="50"/>
                    <a:pt x="42" y="50"/>
                  </a:cubicBezTo>
                  <a:cubicBezTo>
                    <a:pt x="44" y="48"/>
                    <a:pt x="46" y="47"/>
                    <a:pt x="48" y="47"/>
                  </a:cubicBezTo>
                  <a:cubicBezTo>
                    <a:pt x="48" y="46"/>
                    <a:pt x="48" y="46"/>
                    <a:pt x="48" y="46"/>
                  </a:cubicBezTo>
                  <a:cubicBezTo>
                    <a:pt x="49" y="47"/>
                    <a:pt x="49" y="47"/>
                    <a:pt x="49" y="47"/>
                  </a:cubicBezTo>
                  <a:cubicBezTo>
                    <a:pt x="51" y="47"/>
                    <a:pt x="53" y="48"/>
                    <a:pt x="54" y="49"/>
                  </a:cubicBezTo>
                  <a:cubicBezTo>
                    <a:pt x="55" y="50"/>
                    <a:pt x="55" y="50"/>
                    <a:pt x="55" y="50"/>
                  </a:cubicBezTo>
                  <a:cubicBezTo>
                    <a:pt x="55" y="51"/>
                    <a:pt x="56" y="51"/>
                    <a:pt x="56" y="51"/>
                  </a:cubicBezTo>
                  <a:cubicBezTo>
                    <a:pt x="56" y="52"/>
                    <a:pt x="56" y="52"/>
                    <a:pt x="56" y="52"/>
                  </a:cubicBezTo>
                  <a:cubicBezTo>
                    <a:pt x="56" y="52"/>
                    <a:pt x="56" y="53"/>
                    <a:pt x="56" y="53"/>
                  </a:cubicBezTo>
                  <a:cubicBezTo>
                    <a:pt x="56" y="53"/>
                    <a:pt x="56" y="54"/>
                    <a:pt x="56" y="54"/>
                  </a:cubicBezTo>
                  <a:cubicBezTo>
                    <a:pt x="56" y="55"/>
                    <a:pt x="56" y="55"/>
                    <a:pt x="56" y="55"/>
                  </a:cubicBezTo>
                  <a:cubicBezTo>
                    <a:pt x="56" y="55"/>
                    <a:pt x="56" y="55"/>
                    <a:pt x="56" y="55"/>
                  </a:cubicBezTo>
                  <a:cubicBezTo>
                    <a:pt x="55" y="57"/>
                    <a:pt x="55" y="57"/>
                    <a:pt x="55" y="57"/>
                  </a:cubicBezTo>
                  <a:cubicBezTo>
                    <a:pt x="53" y="57"/>
                    <a:pt x="53" y="57"/>
                    <a:pt x="53" y="57"/>
                  </a:cubicBezTo>
                  <a:cubicBezTo>
                    <a:pt x="53" y="57"/>
                    <a:pt x="53" y="57"/>
                    <a:pt x="53" y="57"/>
                  </a:cubicBezTo>
                  <a:cubicBezTo>
                    <a:pt x="52" y="57"/>
                    <a:pt x="52" y="56"/>
                    <a:pt x="51" y="56"/>
                  </a:cubicBezTo>
                  <a:cubicBezTo>
                    <a:pt x="51" y="56"/>
                    <a:pt x="51" y="56"/>
                    <a:pt x="51" y="56"/>
                  </a:cubicBezTo>
                  <a:cubicBezTo>
                    <a:pt x="51" y="57"/>
                    <a:pt x="51" y="57"/>
                    <a:pt x="51" y="57"/>
                  </a:cubicBezTo>
                  <a:cubicBezTo>
                    <a:pt x="51" y="57"/>
                    <a:pt x="51" y="57"/>
                    <a:pt x="51" y="57"/>
                  </a:cubicBezTo>
                  <a:cubicBezTo>
                    <a:pt x="51" y="58"/>
                    <a:pt x="51" y="58"/>
                    <a:pt x="52" y="59"/>
                  </a:cubicBezTo>
                  <a:cubicBezTo>
                    <a:pt x="53" y="60"/>
                    <a:pt x="53" y="60"/>
                    <a:pt x="53" y="60"/>
                  </a:cubicBezTo>
                  <a:cubicBezTo>
                    <a:pt x="53" y="60"/>
                    <a:pt x="53" y="60"/>
                    <a:pt x="53" y="60"/>
                  </a:cubicBezTo>
                  <a:cubicBezTo>
                    <a:pt x="54" y="61"/>
                    <a:pt x="54" y="61"/>
                    <a:pt x="54" y="61"/>
                  </a:cubicBezTo>
                  <a:cubicBezTo>
                    <a:pt x="61" y="63"/>
                    <a:pt x="63" y="65"/>
                    <a:pt x="62" y="68"/>
                  </a:cubicBezTo>
                  <a:cubicBezTo>
                    <a:pt x="62" y="68"/>
                    <a:pt x="62" y="69"/>
                    <a:pt x="61" y="69"/>
                  </a:cubicBezTo>
                  <a:cubicBezTo>
                    <a:pt x="61" y="70"/>
                    <a:pt x="61" y="70"/>
                    <a:pt x="61" y="70"/>
                  </a:cubicBezTo>
                  <a:cubicBezTo>
                    <a:pt x="61" y="70"/>
                    <a:pt x="60" y="71"/>
                    <a:pt x="60" y="72"/>
                  </a:cubicBezTo>
                  <a:cubicBezTo>
                    <a:pt x="61" y="72"/>
                    <a:pt x="61" y="72"/>
                    <a:pt x="61" y="72"/>
                  </a:cubicBezTo>
                  <a:cubicBezTo>
                    <a:pt x="61" y="72"/>
                    <a:pt x="62" y="72"/>
                    <a:pt x="62" y="72"/>
                  </a:cubicBezTo>
                  <a:cubicBezTo>
                    <a:pt x="65" y="71"/>
                    <a:pt x="65" y="71"/>
                    <a:pt x="65" y="71"/>
                  </a:cubicBezTo>
                  <a:cubicBezTo>
                    <a:pt x="66" y="71"/>
                    <a:pt x="66" y="71"/>
                    <a:pt x="67" y="71"/>
                  </a:cubicBezTo>
                  <a:cubicBezTo>
                    <a:pt x="70" y="71"/>
                    <a:pt x="72" y="71"/>
                    <a:pt x="75" y="72"/>
                  </a:cubicBezTo>
                  <a:cubicBezTo>
                    <a:pt x="78" y="73"/>
                    <a:pt x="78" y="73"/>
                    <a:pt x="78" y="73"/>
                  </a:cubicBezTo>
                  <a:cubicBezTo>
                    <a:pt x="81" y="74"/>
                    <a:pt x="83" y="75"/>
                    <a:pt x="86" y="75"/>
                  </a:cubicBezTo>
                  <a:cubicBezTo>
                    <a:pt x="90" y="75"/>
                    <a:pt x="92" y="75"/>
                    <a:pt x="95" y="73"/>
                  </a:cubicBezTo>
                  <a:cubicBezTo>
                    <a:pt x="96" y="73"/>
                    <a:pt x="96" y="73"/>
                    <a:pt x="97" y="73"/>
                  </a:cubicBezTo>
                  <a:cubicBezTo>
                    <a:pt x="98" y="73"/>
                    <a:pt x="100" y="74"/>
                    <a:pt x="103" y="74"/>
                  </a:cubicBezTo>
                  <a:cubicBezTo>
                    <a:pt x="103" y="75"/>
                    <a:pt x="104" y="75"/>
                    <a:pt x="105" y="75"/>
                  </a:cubicBezTo>
                  <a:cubicBezTo>
                    <a:pt x="106" y="75"/>
                    <a:pt x="107" y="75"/>
                    <a:pt x="109" y="76"/>
                  </a:cubicBezTo>
                  <a:cubicBezTo>
                    <a:pt x="109" y="77"/>
                    <a:pt x="109" y="77"/>
                    <a:pt x="109" y="77"/>
                  </a:cubicBezTo>
                  <a:cubicBezTo>
                    <a:pt x="109" y="76"/>
                    <a:pt x="109" y="76"/>
                    <a:pt x="109" y="76"/>
                  </a:cubicBezTo>
                  <a:cubicBezTo>
                    <a:pt x="111" y="76"/>
                    <a:pt x="114" y="77"/>
                    <a:pt x="116" y="77"/>
                  </a:cubicBezTo>
                  <a:cubicBezTo>
                    <a:pt x="116" y="77"/>
                    <a:pt x="117" y="77"/>
                    <a:pt x="117" y="77"/>
                  </a:cubicBezTo>
                  <a:cubicBezTo>
                    <a:pt x="118" y="77"/>
                    <a:pt x="118" y="77"/>
                    <a:pt x="118" y="77"/>
                  </a:cubicBezTo>
                  <a:cubicBezTo>
                    <a:pt x="122" y="77"/>
                    <a:pt x="126" y="73"/>
                    <a:pt x="130" y="71"/>
                  </a:cubicBezTo>
                  <a:cubicBezTo>
                    <a:pt x="131" y="70"/>
                    <a:pt x="131" y="70"/>
                    <a:pt x="131" y="70"/>
                  </a:cubicBezTo>
                  <a:cubicBezTo>
                    <a:pt x="131" y="70"/>
                    <a:pt x="132" y="69"/>
                    <a:pt x="133" y="69"/>
                  </a:cubicBezTo>
                  <a:cubicBezTo>
                    <a:pt x="133" y="69"/>
                    <a:pt x="134" y="68"/>
                    <a:pt x="134" y="68"/>
                  </a:cubicBezTo>
                  <a:cubicBezTo>
                    <a:pt x="136" y="67"/>
                    <a:pt x="138" y="65"/>
                    <a:pt x="141" y="65"/>
                  </a:cubicBezTo>
                  <a:cubicBezTo>
                    <a:pt x="156" y="63"/>
                    <a:pt x="156" y="63"/>
                    <a:pt x="156" y="63"/>
                  </a:cubicBezTo>
                  <a:cubicBezTo>
                    <a:pt x="157" y="63"/>
                    <a:pt x="158" y="63"/>
                    <a:pt x="158" y="63"/>
                  </a:cubicBezTo>
                  <a:cubicBezTo>
                    <a:pt x="159" y="63"/>
                    <a:pt x="159" y="63"/>
                    <a:pt x="159" y="63"/>
                  </a:cubicBezTo>
                  <a:cubicBezTo>
                    <a:pt x="160" y="63"/>
                    <a:pt x="160" y="63"/>
                    <a:pt x="160" y="63"/>
                  </a:cubicBezTo>
                  <a:cubicBezTo>
                    <a:pt x="161" y="63"/>
                    <a:pt x="162" y="63"/>
                    <a:pt x="163" y="64"/>
                  </a:cubicBezTo>
                  <a:cubicBezTo>
                    <a:pt x="165" y="65"/>
                    <a:pt x="165" y="65"/>
                    <a:pt x="165" y="65"/>
                  </a:cubicBezTo>
                  <a:cubicBezTo>
                    <a:pt x="167" y="65"/>
                    <a:pt x="169" y="66"/>
                    <a:pt x="171" y="67"/>
                  </a:cubicBezTo>
                  <a:cubicBezTo>
                    <a:pt x="191" y="73"/>
                    <a:pt x="191" y="73"/>
                    <a:pt x="191" y="73"/>
                  </a:cubicBezTo>
                  <a:cubicBezTo>
                    <a:pt x="191" y="69"/>
                    <a:pt x="191" y="63"/>
                    <a:pt x="193" y="59"/>
                  </a:cubicBezTo>
                  <a:cubicBezTo>
                    <a:pt x="194" y="57"/>
                    <a:pt x="197" y="55"/>
                    <a:pt x="198" y="53"/>
                  </a:cubicBezTo>
                  <a:cubicBezTo>
                    <a:pt x="197" y="53"/>
                    <a:pt x="197" y="53"/>
                    <a:pt x="196" y="53"/>
                  </a:cubicBezTo>
                  <a:cubicBezTo>
                    <a:pt x="195" y="53"/>
                    <a:pt x="194" y="52"/>
                    <a:pt x="195" y="51"/>
                  </a:cubicBezTo>
                  <a:cubicBezTo>
                    <a:pt x="195" y="52"/>
                    <a:pt x="195" y="52"/>
                    <a:pt x="195" y="52"/>
                  </a:cubicBezTo>
                  <a:cubicBezTo>
                    <a:pt x="197" y="51"/>
                    <a:pt x="199" y="50"/>
                    <a:pt x="200" y="49"/>
                  </a:cubicBezTo>
                  <a:cubicBezTo>
                    <a:pt x="200" y="49"/>
                    <a:pt x="200" y="49"/>
                    <a:pt x="199" y="49"/>
                  </a:cubicBezTo>
                  <a:cubicBezTo>
                    <a:pt x="199" y="49"/>
                    <a:pt x="199" y="49"/>
                    <a:pt x="198" y="49"/>
                  </a:cubicBezTo>
                  <a:cubicBezTo>
                    <a:pt x="198" y="49"/>
                    <a:pt x="198" y="49"/>
                    <a:pt x="197" y="49"/>
                  </a:cubicBezTo>
                  <a:cubicBezTo>
                    <a:pt x="197" y="49"/>
                    <a:pt x="196" y="49"/>
                    <a:pt x="196" y="49"/>
                  </a:cubicBezTo>
                  <a:cubicBezTo>
                    <a:pt x="196" y="49"/>
                    <a:pt x="200" y="40"/>
                    <a:pt x="202" y="40"/>
                  </a:cubicBezTo>
                  <a:cubicBezTo>
                    <a:pt x="202" y="40"/>
                    <a:pt x="203" y="40"/>
                    <a:pt x="203" y="41"/>
                  </a:cubicBezTo>
                  <a:cubicBezTo>
                    <a:pt x="204" y="43"/>
                    <a:pt x="199" y="43"/>
                    <a:pt x="204" y="44"/>
                  </a:cubicBezTo>
                  <a:cubicBezTo>
                    <a:pt x="206" y="45"/>
                    <a:pt x="208" y="45"/>
                    <a:pt x="210" y="45"/>
                  </a:cubicBezTo>
                  <a:cubicBezTo>
                    <a:pt x="212" y="45"/>
                    <a:pt x="214" y="45"/>
                    <a:pt x="215" y="43"/>
                  </a:cubicBezTo>
                  <a:cubicBezTo>
                    <a:pt x="216" y="43"/>
                    <a:pt x="216" y="41"/>
                    <a:pt x="216" y="41"/>
                  </a:cubicBezTo>
                  <a:cubicBezTo>
                    <a:pt x="216" y="39"/>
                    <a:pt x="216" y="37"/>
                    <a:pt x="216" y="35"/>
                  </a:cubicBezTo>
                  <a:cubicBezTo>
                    <a:pt x="215" y="36"/>
                    <a:pt x="215" y="36"/>
                    <a:pt x="215" y="36"/>
                  </a:cubicBezTo>
                  <a:cubicBezTo>
                    <a:pt x="215" y="34"/>
                    <a:pt x="215" y="34"/>
                    <a:pt x="215" y="34"/>
                  </a:cubicBezTo>
                  <a:cubicBezTo>
                    <a:pt x="214" y="33"/>
                    <a:pt x="214" y="32"/>
                    <a:pt x="213" y="32"/>
                  </a:cubicBezTo>
                  <a:cubicBezTo>
                    <a:pt x="213" y="31"/>
                    <a:pt x="211" y="31"/>
                    <a:pt x="211" y="31"/>
                  </a:cubicBezTo>
                  <a:cubicBezTo>
                    <a:pt x="208" y="31"/>
                    <a:pt x="204" y="32"/>
                    <a:pt x="203" y="33"/>
                  </a:cubicBezTo>
                  <a:cubicBezTo>
                    <a:pt x="202" y="34"/>
                    <a:pt x="202" y="34"/>
                    <a:pt x="202" y="34"/>
                  </a:cubicBezTo>
                  <a:cubicBezTo>
                    <a:pt x="201" y="34"/>
                    <a:pt x="200" y="34"/>
                    <a:pt x="199" y="34"/>
                  </a:cubicBezTo>
                  <a:cubicBezTo>
                    <a:pt x="197" y="36"/>
                    <a:pt x="197" y="36"/>
                    <a:pt x="197" y="36"/>
                  </a:cubicBezTo>
                  <a:cubicBezTo>
                    <a:pt x="196" y="36"/>
                    <a:pt x="196" y="36"/>
                    <a:pt x="195" y="37"/>
                  </a:cubicBezTo>
                  <a:cubicBezTo>
                    <a:pt x="195" y="37"/>
                    <a:pt x="195" y="37"/>
                    <a:pt x="195" y="37"/>
                  </a:cubicBezTo>
                  <a:cubicBezTo>
                    <a:pt x="193" y="37"/>
                    <a:pt x="193" y="36"/>
                    <a:pt x="192" y="36"/>
                  </a:cubicBezTo>
                  <a:cubicBezTo>
                    <a:pt x="190" y="36"/>
                    <a:pt x="189" y="35"/>
                    <a:pt x="187" y="34"/>
                  </a:cubicBezTo>
                  <a:cubicBezTo>
                    <a:pt x="186" y="33"/>
                    <a:pt x="184" y="32"/>
                    <a:pt x="183" y="32"/>
                  </a:cubicBezTo>
                  <a:cubicBezTo>
                    <a:pt x="183" y="31"/>
                    <a:pt x="183" y="31"/>
                    <a:pt x="183" y="31"/>
                  </a:cubicBezTo>
                  <a:cubicBezTo>
                    <a:pt x="182" y="30"/>
                    <a:pt x="181" y="30"/>
                    <a:pt x="181" y="30"/>
                  </a:cubicBezTo>
                  <a:cubicBezTo>
                    <a:pt x="177" y="28"/>
                    <a:pt x="177" y="28"/>
                    <a:pt x="177" y="28"/>
                  </a:cubicBezTo>
                  <a:cubicBezTo>
                    <a:pt x="178" y="27"/>
                    <a:pt x="178" y="27"/>
                    <a:pt x="178" y="27"/>
                  </a:cubicBezTo>
                  <a:cubicBezTo>
                    <a:pt x="178" y="27"/>
                    <a:pt x="178" y="27"/>
                    <a:pt x="178" y="27"/>
                  </a:cubicBezTo>
                  <a:cubicBezTo>
                    <a:pt x="177" y="27"/>
                    <a:pt x="177" y="27"/>
                    <a:pt x="177" y="27"/>
                  </a:cubicBezTo>
                  <a:cubicBezTo>
                    <a:pt x="177" y="26"/>
                    <a:pt x="177" y="25"/>
                    <a:pt x="176" y="25"/>
                  </a:cubicBezTo>
                  <a:cubicBezTo>
                    <a:pt x="176" y="24"/>
                    <a:pt x="176" y="23"/>
                    <a:pt x="176" y="22"/>
                  </a:cubicBezTo>
                  <a:cubicBezTo>
                    <a:pt x="176" y="20"/>
                    <a:pt x="176" y="18"/>
                    <a:pt x="176" y="16"/>
                  </a:cubicBezTo>
                  <a:cubicBezTo>
                    <a:pt x="176" y="15"/>
                    <a:pt x="176" y="14"/>
                    <a:pt x="176" y="14"/>
                  </a:cubicBezTo>
                  <a:cubicBezTo>
                    <a:pt x="177" y="8"/>
                    <a:pt x="178" y="5"/>
                    <a:pt x="1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8" name="Freeform 277">
              <a:extLst>
                <a:ext uri="{FF2B5EF4-FFF2-40B4-BE49-F238E27FC236}">
                  <a16:creationId xmlns:a16="http://schemas.microsoft.com/office/drawing/2014/main" id="{DF26F091-D461-43EB-930D-302CFCDAEDFB}"/>
                </a:ext>
              </a:extLst>
            </p:cNvPr>
            <p:cNvSpPr>
              <a:spLocks noEditPoints="1"/>
            </p:cNvSpPr>
            <p:nvPr/>
          </p:nvSpPr>
          <p:spPr bwMode="auto">
            <a:xfrm>
              <a:off x="4604" y="-27"/>
              <a:ext cx="229" cy="35"/>
            </a:xfrm>
            <a:custGeom>
              <a:avLst/>
              <a:gdLst>
                <a:gd name="T0" fmla="*/ 58 w 97"/>
                <a:gd name="T1" fmla="*/ 0 h 15"/>
                <a:gd name="T2" fmla="*/ 0 w 97"/>
                <a:gd name="T3" fmla="*/ 0 h 15"/>
                <a:gd name="T4" fmla="*/ 1 w 97"/>
                <a:gd name="T5" fmla="*/ 1 h 15"/>
                <a:gd name="T6" fmla="*/ 11 w 97"/>
                <a:gd name="T7" fmla="*/ 9 h 15"/>
                <a:gd name="T8" fmla="*/ 14 w 97"/>
                <a:gd name="T9" fmla="*/ 10 h 15"/>
                <a:gd name="T10" fmla="*/ 15 w 97"/>
                <a:gd name="T11" fmla="*/ 11 h 15"/>
                <a:gd name="T12" fmla="*/ 24 w 97"/>
                <a:gd name="T13" fmla="*/ 14 h 15"/>
                <a:gd name="T14" fmla="*/ 24 w 97"/>
                <a:gd name="T15" fmla="*/ 14 h 15"/>
                <a:gd name="T16" fmla="*/ 26 w 97"/>
                <a:gd name="T17" fmla="*/ 15 h 15"/>
                <a:gd name="T18" fmla="*/ 26 w 97"/>
                <a:gd name="T19" fmla="*/ 15 h 15"/>
                <a:gd name="T20" fmla="*/ 30 w 97"/>
                <a:gd name="T21" fmla="*/ 15 h 15"/>
                <a:gd name="T22" fmla="*/ 30 w 97"/>
                <a:gd name="T23" fmla="*/ 15 h 15"/>
                <a:gd name="T24" fmla="*/ 32 w 97"/>
                <a:gd name="T25" fmla="*/ 15 h 15"/>
                <a:gd name="T26" fmla="*/ 34 w 97"/>
                <a:gd name="T27" fmla="*/ 14 h 15"/>
                <a:gd name="T28" fmla="*/ 35 w 97"/>
                <a:gd name="T29" fmla="*/ 14 h 15"/>
                <a:gd name="T30" fmla="*/ 35 w 97"/>
                <a:gd name="T31" fmla="*/ 14 h 15"/>
                <a:gd name="T32" fmla="*/ 37 w 97"/>
                <a:gd name="T33" fmla="*/ 13 h 15"/>
                <a:gd name="T34" fmla="*/ 40 w 97"/>
                <a:gd name="T35" fmla="*/ 12 h 15"/>
                <a:gd name="T36" fmla="*/ 41 w 97"/>
                <a:gd name="T37" fmla="*/ 12 h 15"/>
                <a:gd name="T38" fmla="*/ 45 w 97"/>
                <a:gd name="T39" fmla="*/ 10 h 15"/>
                <a:gd name="T40" fmla="*/ 58 w 97"/>
                <a:gd name="T41" fmla="*/ 0 h 15"/>
                <a:gd name="T42" fmla="*/ 97 w 97"/>
                <a:gd name="T43" fmla="*/ 0 h 15"/>
                <a:gd name="T44" fmla="*/ 58 w 97"/>
                <a:gd name="T45" fmla="*/ 0 h 15"/>
                <a:gd name="T46" fmla="*/ 53 w 97"/>
                <a:gd name="T47" fmla="*/ 7 h 15"/>
                <a:gd name="T48" fmla="*/ 65 w 97"/>
                <a:gd name="T49" fmla="*/ 3 h 15"/>
                <a:gd name="T50" fmla="*/ 66 w 97"/>
                <a:gd name="T51" fmla="*/ 3 h 15"/>
                <a:gd name="T52" fmla="*/ 70 w 97"/>
                <a:gd name="T53" fmla="*/ 3 h 15"/>
                <a:gd name="T54" fmla="*/ 71 w 97"/>
                <a:gd name="T55" fmla="*/ 3 h 15"/>
                <a:gd name="T56" fmla="*/ 74 w 97"/>
                <a:gd name="T57" fmla="*/ 3 h 15"/>
                <a:gd name="T58" fmla="*/ 74 w 97"/>
                <a:gd name="T59" fmla="*/ 4 h 15"/>
                <a:gd name="T60" fmla="*/ 78 w 97"/>
                <a:gd name="T61" fmla="*/ 4 h 15"/>
                <a:gd name="T62" fmla="*/ 78 w 97"/>
                <a:gd name="T63" fmla="*/ 5 h 15"/>
                <a:gd name="T64" fmla="*/ 83 w 97"/>
                <a:gd name="T65" fmla="*/ 4 h 15"/>
                <a:gd name="T66" fmla="*/ 86 w 97"/>
                <a:gd name="T67" fmla="*/ 4 h 15"/>
                <a:gd name="T68" fmla="*/ 88 w 97"/>
                <a:gd name="T69" fmla="*/ 3 h 15"/>
                <a:gd name="T70" fmla="*/ 89 w 97"/>
                <a:gd name="T71" fmla="*/ 1 h 15"/>
                <a:gd name="T72" fmla="*/ 90 w 97"/>
                <a:gd name="T73" fmla="*/ 0 h 15"/>
                <a:gd name="T74" fmla="*/ 93 w 97"/>
                <a:gd name="T75" fmla="*/ 0 h 15"/>
                <a:gd name="T76" fmla="*/ 97 w 97"/>
                <a:gd name="T77" fmla="*/ 0 h 15"/>
                <a:gd name="T78" fmla="*/ 97 w 97"/>
                <a:gd name="T7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 h="15">
                  <a:moveTo>
                    <a:pt x="58" y="0"/>
                  </a:moveTo>
                  <a:cubicBezTo>
                    <a:pt x="0" y="0"/>
                    <a:pt x="0" y="0"/>
                    <a:pt x="0" y="0"/>
                  </a:cubicBezTo>
                  <a:cubicBezTo>
                    <a:pt x="0" y="0"/>
                    <a:pt x="1" y="0"/>
                    <a:pt x="1" y="1"/>
                  </a:cubicBezTo>
                  <a:cubicBezTo>
                    <a:pt x="3" y="4"/>
                    <a:pt x="8" y="8"/>
                    <a:pt x="11" y="9"/>
                  </a:cubicBezTo>
                  <a:cubicBezTo>
                    <a:pt x="12" y="10"/>
                    <a:pt x="13" y="10"/>
                    <a:pt x="14" y="10"/>
                  </a:cubicBezTo>
                  <a:cubicBezTo>
                    <a:pt x="15" y="11"/>
                    <a:pt x="15" y="11"/>
                    <a:pt x="15" y="11"/>
                  </a:cubicBezTo>
                  <a:cubicBezTo>
                    <a:pt x="18" y="13"/>
                    <a:pt x="21" y="14"/>
                    <a:pt x="24" y="14"/>
                  </a:cubicBezTo>
                  <a:cubicBezTo>
                    <a:pt x="24" y="14"/>
                    <a:pt x="24" y="14"/>
                    <a:pt x="24" y="14"/>
                  </a:cubicBezTo>
                  <a:cubicBezTo>
                    <a:pt x="25" y="14"/>
                    <a:pt x="25" y="15"/>
                    <a:pt x="26" y="15"/>
                  </a:cubicBezTo>
                  <a:cubicBezTo>
                    <a:pt x="26" y="15"/>
                    <a:pt x="26" y="15"/>
                    <a:pt x="26" y="15"/>
                  </a:cubicBezTo>
                  <a:cubicBezTo>
                    <a:pt x="27" y="15"/>
                    <a:pt x="28" y="15"/>
                    <a:pt x="30" y="15"/>
                  </a:cubicBezTo>
                  <a:cubicBezTo>
                    <a:pt x="30" y="15"/>
                    <a:pt x="30" y="15"/>
                    <a:pt x="30" y="15"/>
                  </a:cubicBezTo>
                  <a:cubicBezTo>
                    <a:pt x="31" y="15"/>
                    <a:pt x="31" y="15"/>
                    <a:pt x="32" y="15"/>
                  </a:cubicBezTo>
                  <a:cubicBezTo>
                    <a:pt x="33" y="15"/>
                    <a:pt x="34" y="15"/>
                    <a:pt x="34" y="14"/>
                  </a:cubicBezTo>
                  <a:cubicBezTo>
                    <a:pt x="35" y="14"/>
                    <a:pt x="35" y="14"/>
                    <a:pt x="35" y="14"/>
                  </a:cubicBezTo>
                  <a:cubicBezTo>
                    <a:pt x="35" y="14"/>
                    <a:pt x="35" y="14"/>
                    <a:pt x="35" y="14"/>
                  </a:cubicBezTo>
                  <a:cubicBezTo>
                    <a:pt x="36" y="14"/>
                    <a:pt x="36" y="14"/>
                    <a:pt x="37" y="13"/>
                  </a:cubicBezTo>
                  <a:cubicBezTo>
                    <a:pt x="38" y="13"/>
                    <a:pt x="39" y="13"/>
                    <a:pt x="40" y="12"/>
                  </a:cubicBezTo>
                  <a:cubicBezTo>
                    <a:pt x="41" y="12"/>
                    <a:pt x="41" y="12"/>
                    <a:pt x="41" y="12"/>
                  </a:cubicBezTo>
                  <a:cubicBezTo>
                    <a:pt x="42" y="11"/>
                    <a:pt x="44" y="11"/>
                    <a:pt x="45" y="10"/>
                  </a:cubicBezTo>
                  <a:cubicBezTo>
                    <a:pt x="58" y="0"/>
                    <a:pt x="58" y="0"/>
                    <a:pt x="58" y="0"/>
                  </a:cubicBezTo>
                  <a:moveTo>
                    <a:pt x="97" y="0"/>
                  </a:moveTo>
                  <a:cubicBezTo>
                    <a:pt x="58" y="0"/>
                    <a:pt x="58" y="0"/>
                    <a:pt x="58" y="0"/>
                  </a:cubicBezTo>
                  <a:cubicBezTo>
                    <a:pt x="53" y="7"/>
                    <a:pt x="53" y="7"/>
                    <a:pt x="53" y="7"/>
                  </a:cubicBezTo>
                  <a:cubicBezTo>
                    <a:pt x="65" y="3"/>
                    <a:pt x="65" y="3"/>
                    <a:pt x="65" y="3"/>
                  </a:cubicBezTo>
                  <a:cubicBezTo>
                    <a:pt x="66" y="3"/>
                    <a:pt x="66" y="3"/>
                    <a:pt x="66" y="3"/>
                  </a:cubicBezTo>
                  <a:cubicBezTo>
                    <a:pt x="70" y="3"/>
                    <a:pt x="70" y="3"/>
                    <a:pt x="70" y="3"/>
                  </a:cubicBezTo>
                  <a:cubicBezTo>
                    <a:pt x="71" y="3"/>
                    <a:pt x="71" y="3"/>
                    <a:pt x="71" y="3"/>
                  </a:cubicBezTo>
                  <a:cubicBezTo>
                    <a:pt x="72" y="3"/>
                    <a:pt x="73" y="3"/>
                    <a:pt x="74" y="3"/>
                  </a:cubicBezTo>
                  <a:cubicBezTo>
                    <a:pt x="74" y="4"/>
                    <a:pt x="74" y="4"/>
                    <a:pt x="74" y="4"/>
                  </a:cubicBezTo>
                  <a:cubicBezTo>
                    <a:pt x="75" y="4"/>
                    <a:pt x="77" y="4"/>
                    <a:pt x="78" y="4"/>
                  </a:cubicBezTo>
                  <a:cubicBezTo>
                    <a:pt x="78" y="5"/>
                    <a:pt x="78" y="5"/>
                    <a:pt x="78" y="5"/>
                  </a:cubicBezTo>
                  <a:cubicBezTo>
                    <a:pt x="83" y="4"/>
                    <a:pt x="83" y="4"/>
                    <a:pt x="83" y="4"/>
                  </a:cubicBezTo>
                  <a:cubicBezTo>
                    <a:pt x="85" y="4"/>
                    <a:pt x="86" y="4"/>
                    <a:pt x="86" y="4"/>
                  </a:cubicBezTo>
                  <a:cubicBezTo>
                    <a:pt x="86" y="4"/>
                    <a:pt x="87" y="3"/>
                    <a:pt x="88" y="3"/>
                  </a:cubicBezTo>
                  <a:cubicBezTo>
                    <a:pt x="88" y="2"/>
                    <a:pt x="88" y="1"/>
                    <a:pt x="89" y="1"/>
                  </a:cubicBezTo>
                  <a:cubicBezTo>
                    <a:pt x="90" y="0"/>
                    <a:pt x="90" y="0"/>
                    <a:pt x="90" y="0"/>
                  </a:cubicBezTo>
                  <a:cubicBezTo>
                    <a:pt x="91" y="0"/>
                    <a:pt x="92" y="0"/>
                    <a:pt x="93" y="0"/>
                  </a:cubicBezTo>
                  <a:cubicBezTo>
                    <a:pt x="94" y="0"/>
                    <a:pt x="96" y="0"/>
                    <a:pt x="97" y="0"/>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9" name="Freeform 278">
              <a:extLst>
                <a:ext uri="{FF2B5EF4-FFF2-40B4-BE49-F238E27FC236}">
                  <a16:creationId xmlns:a16="http://schemas.microsoft.com/office/drawing/2014/main" id="{711AC03D-BBEC-4173-B874-1D54DFD4BCE2}"/>
                </a:ext>
              </a:extLst>
            </p:cNvPr>
            <p:cNvSpPr>
              <a:spLocks/>
            </p:cNvSpPr>
            <p:nvPr/>
          </p:nvSpPr>
          <p:spPr bwMode="auto">
            <a:xfrm>
              <a:off x="5230" y="-27"/>
              <a:ext cx="35" cy="54"/>
            </a:xfrm>
            <a:custGeom>
              <a:avLst/>
              <a:gdLst>
                <a:gd name="T0" fmla="*/ 15 w 15"/>
                <a:gd name="T1" fmla="*/ 0 h 23"/>
                <a:gd name="T2" fmla="*/ 3 w 15"/>
                <a:gd name="T3" fmla="*/ 0 h 23"/>
                <a:gd name="T4" fmla="*/ 3 w 15"/>
                <a:gd name="T5" fmla="*/ 1 h 23"/>
                <a:gd name="T6" fmla="*/ 0 w 15"/>
                <a:gd name="T7" fmla="*/ 14 h 23"/>
                <a:gd name="T8" fmla="*/ 0 w 15"/>
                <a:gd name="T9" fmla="*/ 16 h 23"/>
                <a:gd name="T10" fmla="*/ 0 w 15"/>
                <a:gd name="T11" fmla="*/ 17 h 23"/>
                <a:gd name="T12" fmla="*/ 0 w 15"/>
                <a:gd name="T13" fmla="*/ 21 h 23"/>
                <a:gd name="T14" fmla="*/ 0 w 15"/>
                <a:gd name="T15" fmla="*/ 23 h 23"/>
                <a:gd name="T16" fmla="*/ 0 w 15"/>
                <a:gd name="T17" fmla="*/ 23 h 23"/>
                <a:gd name="T18" fmla="*/ 2 w 15"/>
                <a:gd name="T19" fmla="*/ 22 h 23"/>
                <a:gd name="T20" fmla="*/ 2 w 15"/>
                <a:gd name="T21" fmla="*/ 22 h 23"/>
                <a:gd name="T22" fmla="*/ 4 w 15"/>
                <a:gd name="T23" fmla="*/ 21 h 23"/>
                <a:gd name="T24" fmla="*/ 5 w 15"/>
                <a:gd name="T25" fmla="*/ 18 h 23"/>
                <a:gd name="T26" fmla="*/ 8 w 15"/>
                <a:gd name="T27" fmla="*/ 15 h 23"/>
                <a:gd name="T28" fmla="*/ 8 w 15"/>
                <a:gd name="T29" fmla="*/ 15 h 23"/>
                <a:gd name="T30" fmla="*/ 9 w 15"/>
                <a:gd name="T31" fmla="*/ 14 h 23"/>
                <a:gd name="T32" fmla="*/ 10 w 15"/>
                <a:gd name="T33" fmla="*/ 14 h 23"/>
                <a:gd name="T34" fmla="*/ 10 w 15"/>
                <a:gd name="T35" fmla="*/ 13 h 23"/>
                <a:gd name="T36" fmla="*/ 11 w 15"/>
                <a:gd name="T37" fmla="*/ 11 h 23"/>
                <a:gd name="T38" fmla="*/ 14 w 15"/>
                <a:gd name="T39" fmla="*/ 9 h 23"/>
                <a:gd name="T40" fmla="*/ 14 w 15"/>
                <a:gd name="T41" fmla="*/ 9 h 23"/>
                <a:gd name="T42" fmla="*/ 14 w 15"/>
                <a:gd name="T43" fmla="*/ 8 h 23"/>
                <a:gd name="T44" fmla="*/ 15 w 15"/>
                <a:gd name="T45" fmla="*/ 8 h 23"/>
                <a:gd name="T46" fmla="*/ 15 w 15"/>
                <a:gd name="T47" fmla="*/ 6 h 23"/>
                <a:gd name="T48" fmla="*/ 15 w 15"/>
                <a:gd name="T49" fmla="*/ 5 h 23"/>
                <a:gd name="T50" fmla="*/ 15 w 15"/>
                <a:gd name="T51" fmla="*/ 5 h 23"/>
                <a:gd name="T52" fmla="*/ 15 w 15"/>
                <a:gd name="T53" fmla="*/ 4 h 23"/>
                <a:gd name="T54" fmla="*/ 15 w 15"/>
                <a:gd name="T55" fmla="*/ 0 h 23"/>
                <a:gd name="T56" fmla="*/ 15 w 15"/>
                <a:gd name="T5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23">
                  <a:moveTo>
                    <a:pt x="15" y="0"/>
                  </a:moveTo>
                  <a:cubicBezTo>
                    <a:pt x="3" y="0"/>
                    <a:pt x="3" y="0"/>
                    <a:pt x="3" y="0"/>
                  </a:cubicBezTo>
                  <a:cubicBezTo>
                    <a:pt x="3" y="0"/>
                    <a:pt x="3" y="1"/>
                    <a:pt x="3" y="1"/>
                  </a:cubicBezTo>
                  <a:cubicBezTo>
                    <a:pt x="1" y="6"/>
                    <a:pt x="0" y="9"/>
                    <a:pt x="0" y="14"/>
                  </a:cubicBezTo>
                  <a:cubicBezTo>
                    <a:pt x="0" y="14"/>
                    <a:pt x="0" y="15"/>
                    <a:pt x="0" y="16"/>
                  </a:cubicBezTo>
                  <a:cubicBezTo>
                    <a:pt x="0" y="17"/>
                    <a:pt x="0" y="17"/>
                    <a:pt x="0" y="17"/>
                  </a:cubicBezTo>
                  <a:cubicBezTo>
                    <a:pt x="0" y="18"/>
                    <a:pt x="0" y="20"/>
                    <a:pt x="0" y="21"/>
                  </a:cubicBezTo>
                  <a:cubicBezTo>
                    <a:pt x="0" y="22"/>
                    <a:pt x="0" y="23"/>
                    <a:pt x="0" y="23"/>
                  </a:cubicBezTo>
                  <a:cubicBezTo>
                    <a:pt x="0" y="23"/>
                    <a:pt x="0" y="23"/>
                    <a:pt x="0" y="23"/>
                  </a:cubicBezTo>
                  <a:cubicBezTo>
                    <a:pt x="1" y="23"/>
                    <a:pt x="1" y="23"/>
                    <a:pt x="2" y="22"/>
                  </a:cubicBezTo>
                  <a:cubicBezTo>
                    <a:pt x="2" y="22"/>
                    <a:pt x="2" y="22"/>
                    <a:pt x="2" y="22"/>
                  </a:cubicBezTo>
                  <a:cubicBezTo>
                    <a:pt x="3" y="22"/>
                    <a:pt x="3" y="21"/>
                    <a:pt x="4" y="21"/>
                  </a:cubicBezTo>
                  <a:cubicBezTo>
                    <a:pt x="4" y="20"/>
                    <a:pt x="4" y="19"/>
                    <a:pt x="5" y="18"/>
                  </a:cubicBezTo>
                  <a:cubicBezTo>
                    <a:pt x="6" y="17"/>
                    <a:pt x="7" y="16"/>
                    <a:pt x="8" y="15"/>
                  </a:cubicBezTo>
                  <a:cubicBezTo>
                    <a:pt x="8" y="15"/>
                    <a:pt x="8" y="15"/>
                    <a:pt x="8" y="15"/>
                  </a:cubicBezTo>
                  <a:cubicBezTo>
                    <a:pt x="9" y="14"/>
                    <a:pt x="9" y="14"/>
                    <a:pt x="9" y="14"/>
                  </a:cubicBezTo>
                  <a:cubicBezTo>
                    <a:pt x="10" y="14"/>
                    <a:pt x="10" y="14"/>
                    <a:pt x="10" y="14"/>
                  </a:cubicBezTo>
                  <a:cubicBezTo>
                    <a:pt x="10" y="13"/>
                    <a:pt x="10" y="13"/>
                    <a:pt x="10" y="13"/>
                  </a:cubicBezTo>
                  <a:cubicBezTo>
                    <a:pt x="10" y="13"/>
                    <a:pt x="11" y="12"/>
                    <a:pt x="11" y="11"/>
                  </a:cubicBezTo>
                  <a:cubicBezTo>
                    <a:pt x="12" y="10"/>
                    <a:pt x="12" y="9"/>
                    <a:pt x="14" y="9"/>
                  </a:cubicBezTo>
                  <a:cubicBezTo>
                    <a:pt x="14" y="9"/>
                    <a:pt x="14" y="9"/>
                    <a:pt x="14" y="9"/>
                  </a:cubicBezTo>
                  <a:cubicBezTo>
                    <a:pt x="14" y="8"/>
                    <a:pt x="14" y="8"/>
                    <a:pt x="14" y="8"/>
                  </a:cubicBezTo>
                  <a:cubicBezTo>
                    <a:pt x="14" y="8"/>
                    <a:pt x="14" y="8"/>
                    <a:pt x="15" y="8"/>
                  </a:cubicBezTo>
                  <a:cubicBezTo>
                    <a:pt x="15" y="6"/>
                    <a:pt x="15" y="6"/>
                    <a:pt x="15" y="6"/>
                  </a:cubicBezTo>
                  <a:cubicBezTo>
                    <a:pt x="15" y="6"/>
                    <a:pt x="15" y="6"/>
                    <a:pt x="15" y="5"/>
                  </a:cubicBezTo>
                  <a:cubicBezTo>
                    <a:pt x="15" y="5"/>
                    <a:pt x="15" y="5"/>
                    <a:pt x="15" y="5"/>
                  </a:cubicBezTo>
                  <a:cubicBezTo>
                    <a:pt x="15" y="4"/>
                    <a:pt x="15" y="4"/>
                    <a:pt x="15" y="4"/>
                  </a:cubicBezTo>
                  <a:cubicBezTo>
                    <a:pt x="15" y="2"/>
                    <a:pt x="15" y="1"/>
                    <a:pt x="15" y="0"/>
                  </a:cubicBezTo>
                  <a:cubicBezTo>
                    <a:pt x="15"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0" name="Freeform 279">
              <a:extLst>
                <a:ext uri="{FF2B5EF4-FFF2-40B4-BE49-F238E27FC236}">
                  <a16:creationId xmlns:a16="http://schemas.microsoft.com/office/drawing/2014/main" id="{B2FBA299-D113-46F5-A481-5AE66EFA5641}"/>
                </a:ext>
              </a:extLst>
            </p:cNvPr>
            <p:cNvSpPr>
              <a:spLocks/>
            </p:cNvSpPr>
            <p:nvPr/>
          </p:nvSpPr>
          <p:spPr bwMode="auto">
            <a:xfrm>
              <a:off x="6452" y="-27"/>
              <a:ext cx="1226" cy="383"/>
            </a:xfrm>
            <a:custGeom>
              <a:avLst/>
              <a:gdLst>
                <a:gd name="T0" fmla="*/ 68 w 519"/>
                <a:gd name="T1" fmla="*/ 26 h 162"/>
                <a:gd name="T2" fmla="*/ 90 w 519"/>
                <a:gd name="T3" fmla="*/ 25 h 162"/>
                <a:gd name="T4" fmla="*/ 93 w 519"/>
                <a:gd name="T5" fmla="*/ 40 h 162"/>
                <a:gd name="T6" fmla="*/ 85 w 519"/>
                <a:gd name="T7" fmla="*/ 42 h 162"/>
                <a:gd name="T8" fmla="*/ 79 w 519"/>
                <a:gd name="T9" fmla="*/ 42 h 162"/>
                <a:gd name="T10" fmla="*/ 78 w 519"/>
                <a:gd name="T11" fmla="*/ 34 h 162"/>
                <a:gd name="T12" fmla="*/ 36 w 519"/>
                <a:gd name="T13" fmla="*/ 28 h 162"/>
                <a:gd name="T14" fmla="*/ 24 w 519"/>
                <a:gd name="T15" fmla="*/ 39 h 162"/>
                <a:gd name="T16" fmla="*/ 27 w 519"/>
                <a:gd name="T17" fmla="*/ 52 h 162"/>
                <a:gd name="T18" fmla="*/ 32 w 519"/>
                <a:gd name="T19" fmla="*/ 54 h 162"/>
                <a:gd name="T20" fmla="*/ 27 w 519"/>
                <a:gd name="T21" fmla="*/ 53 h 162"/>
                <a:gd name="T22" fmla="*/ 11 w 519"/>
                <a:gd name="T23" fmla="*/ 51 h 162"/>
                <a:gd name="T24" fmla="*/ 6 w 519"/>
                <a:gd name="T25" fmla="*/ 61 h 162"/>
                <a:gd name="T26" fmla="*/ 25 w 519"/>
                <a:gd name="T27" fmla="*/ 93 h 162"/>
                <a:gd name="T28" fmla="*/ 41 w 519"/>
                <a:gd name="T29" fmla="*/ 102 h 162"/>
                <a:gd name="T30" fmla="*/ 48 w 519"/>
                <a:gd name="T31" fmla="*/ 102 h 162"/>
                <a:gd name="T32" fmla="*/ 50 w 519"/>
                <a:gd name="T33" fmla="*/ 103 h 162"/>
                <a:gd name="T34" fmla="*/ 60 w 519"/>
                <a:gd name="T35" fmla="*/ 106 h 162"/>
                <a:gd name="T36" fmla="*/ 53 w 519"/>
                <a:gd name="T37" fmla="*/ 130 h 162"/>
                <a:gd name="T38" fmla="*/ 86 w 519"/>
                <a:gd name="T39" fmla="*/ 114 h 162"/>
                <a:gd name="T40" fmla="*/ 107 w 519"/>
                <a:gd name="T41" fmla="*/ 123 h 162"/>
                <a:gd name="T42" fmla="*/ 120 w 519"/>
                <a:gd name="T43" fmla="*/ 137 h 162"/>
                <a:gd name="T44" fmla="*/ 134 w 519"/>
                <a:gd name="T45" fmla="*/ 142 h 162"/>
                <a:gd name="T46" fmla="*/ 144 w 519"/>
                <a:gd name="T47" fmla="*/ 35 h 162"/>
                <a:gd name="T48" fmla="*/ 195 w 519"/>
                <a:gd name="T49" fmla="*/ 21 h 162"/>
                <a:gd name="T50" fmla="*/ 205 w 519"/>
                <a:gd name="T51" fmla="*/ 14 h 162"/>
                <a:gd name="T52" fmla="*/ 207 w 519"/>
                <a:gd name="T53" fmla="*/ 14 h 162"/>
                <a:gd name="T54" fmla="*/ 210 w 519"/>
                <a:gd name="T55" fmla="*/ 14 h 162"/>
                <a:gd name="T56" fmla="*/ 213 w 519"/>
                <a:gd name="T57" fmla="*/ 16 h 162"/>
                <a:gd name="T58" fmla="*/ 217 w 519"/>
                <a:gd name="T59" fmla="*/ 22 h 162"/>
                <a:gd name="T60" fmla="*/ 224 w 519"/>
                <a:gd name="T61" fmla="*/ 14 h 162"/>
                <a:gd name="T62" fmla="*/ 221 w 519"/>
                <a:gd name="T63" fmla="*/ 3 h 162"/>
                <a:gd name="T64" fmla="*/ 225 w 519"/>
                <a:gd name="T65" fmla="*/ 11 h 162"/>
                <a:gd name="T66" fmla="*/ 233 w 519"/>
                <a:gd name="T67" fmla="*/ 10 h 162"/>
                <a:gd name="T68" fmla="*/ 243 w 519"/>
                <a:gd name="T69" fmla="*/ 14 h 162"/>
                <a:gd name="T70" fmla="*/ 228 w 519"/>
                <a:gd name="T71" fmla="*/ 15 h 162"/>
                <a:gd name="T72" fmla="*/ 228 w 519"/>
                <a:gd name="T73" fmla="*/ 17 h 162"/>
                <a:gd name="T74" fmla="*/ 229 w 519"/>
                <a:gd name="T75" fmla="*/ 25 h 162"/>
                <a:gd name="T76" fmla="*/ 239 w 519"/>
                <a:gd name="T77" fmla="*/ 44 h 162"/>
                <a:gd name="T78" fmla="*/ 277 w 519"/>
                <a:gd name="T79" fmla="*/ 78 h 162"/>
                <a:gd name="T80" fmla="*/ 292 w 519"/>
                <a:gd name="T81" fmla="*/ 79 h 162"/>
                <a:gd name="T82" fmla="*/ 328 w 519"/>
                <a:gd name="T83" fmla="*/ 78 h 162"/>
                <a:gd name="T84" fmla="*/ 347 w 519"/>
                <a:gd name="T85" fmla="*/ 74 h 162"/>
                <a:gd name="T86" fmla="*/ 358 w 519"/>
                <a:gd name="T87" fmla="*/ 83 h 162"/>
                <a:gd name="T88" fmla="*/ 371 w 519"/>
                <a:gd name="T89" fmla="*/ 97 h 162"/>
                <a:gd name="T90" fmla="*/ 378 w 519"/>
                <a:gd name="T91" fmla="*/ 106 h 162"/>
                <a:gd name="T92" fmla="*/ 376 w 519"/>
                <a:gd name="T93" fmla="*/ 121 h 162"/>
                <a:gd name="T94" fmla="*/ 379 w 519"/>
                <a:gd name="T95" fmla="*/ 123 h 162"/>
                <a:gd name="T96" fmla="*/ 388 w 519"/>
                <a:gd name="T97" fmla="*/ 130 h 162"/>
                <a:gd name="T98" fmla="*/ 392 w 519"/>
                <a:gd name="T99" fmla="*/ 147 h 162"/>
                <a:gd name="T100" fmla="*/ 417 w 519"/>
                <a:gd name="T101" fmla="*/ 146 h 162"/>
                <a:gd name="T102" fmla="*/ 421 w 519"/>
                <a:gd name="T103" fmla="*/ 148 h 162"/>
                <a:gd name="T104" fmla="*/ 424 w 519"/>
                <a:gd name="T105" fmla="*/ 159 h 162"/>
                <a:gd name="T106" fmla="*/ 438 w 519"/>
                <a:gd name="T107" fmla="*/ 148 h 162"/>
                <a:gd name="T108" fmla="*/ 446 w 519"/>
                <a:gd name="T109" fmla="*/ 142 h 162"/>
                <a:gd name="T110" fmla="*/ 485 w 519"/>
                <a:gd name="T111" fmla="*/ 118 h 162"/>
                <a:gd name="T112" fmla="*/ 492 w 519"/>
                <a:gd name="T113" fmla="*/ 107 h 162"/>
                <a:gd name="T114" fmla="*/ 503 w 519"/>
                <a:gd name="T115" fmla="*/ 102 h 162"/>
                <a:gd name="T116" fmla="*/ 519 w 519"/>
                <a:gd name="T11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9" h="162">
                  <a:moveTo>
                    <a:pt x="519" y="0"/>
                  </a:moveTo>
                  <a:cubicBezTo>
                    <a:pt x="72" y="0"/>
                    <a:pt x="72" y="0"/>
                    <a:pt x="72" y="0"/>
                  </a:cubicBezTo>
                  <a:cubicBezTo>
                    <a:pt x="73" y="2"/>
                    <a:pt x="73" y="4"/>
                    <a:pt x="72" y="7"/>
                  </a:cubicBezTo>
                  <a:cubicBezTo>
                    <a:pt x="72" y="12"/>
                    <a:pt x="68" y="16"/>
                    <a:pt x="67" y="21"/>
                  </a:cubicBezTo>
                  <a:cubicBezTo>
                    <a:pt x="67" y="23"/>
                    <a:pt x="67" y="24"/>
                    <a:pt x="68" y="26"/>
                  </a:cubicBezTo>
                  <a:cubicBezTo>
                    <a:pt x="70" y="29"/>
                    <a:pt x="70" y="28"/>
                    <a:pt x="73" y="29"/>
                  </a:cubicBezTo>
                  <a:cubicBezTo>
                    <a:pt x="75" y="30"/>
                    <a:pt x="77" y="31"/>
                    <a:pt x="80" y="31"/>
                  </a:cubicBezTo>
                  <a:cubicBezTo>
                    <a:pt x="80" y="31"/>
                    <a:pt x="81" y="31"/>
                    <a:pt x="82" y="31"/>
                  </a:cubicBezTo>
                  <a:cubicBezTo>
                    <a:pt x="84" y="30"/>
                    <a:pt x="87" y="30"/>
                    <a:pt x="88" y="28"/>
                  </a:cubicBezTo>
                  <a:cubicBezTo>
                    <a:pt x="89" y="27"/>
                    <a:pt x="89" y="25"/>
                    <a:pt x="90" y="25"/>
                  </a:cubicBezTo>
                  <a:cubicBezTo>
                    <a:pt x="91" y="25"/>
                    <a:pt x="91" y="25"/>
                    <a:pt x="91" y="25"/>
                  </a:cubicBezTo>
                  <a:cubicBezTo>
                    <a:pt x="97" y="25"/>
                    <a:pt x="94" y="32"/>
                    <a:pt x="96" y="35"/>
                  </a:cubicBezTo>
                  <a:cubicBezTo>
                    <a:pt x="96" y="36"/>
                    <a:pt x="98" y="37"/>
                    <a:pt x="98" y="38"/>
                  </a:cubicBezTo>
                  <a:cubicBezTo>
                    <a:pt x="98" y="40"/>
                    <a:pt x="95" y="40"/>
                    <a:pt x="93" y="40"/>
                  </a:cubicBezTo>
                  <a:cubicBezTo>
                    <a:pt x="93" y="40"/>
                    <a:pt x="93" y="40"/>
                    <a:pt x="93" y="40"/>
                  </a:cubicBezTo>
                  <a:cubicBezTo>
                    <a:pt x="92" y="40"/>
                    <a:pt x="92" y="40"/>
                    <a:pt x="92" y="40"/>
                  </a:cubicBezTo>
                  <a:cubicBezTo>
                    <a:pt x="91" y="40"/>
                    <a:pt x="90" y="41"/>
                    <a:pt x="89" y="41"/>
                  </a:cubicBezTo>
                  <a:cubicBezTo>
                    <a:pt x="88" y="42"/>
                    <a:pt x="88" y="42"/>
                    <a:pt x="87" y="42"/>
                  </a:cubicBezTo>
                  <a:cubicBezTo>
                    <a:pt x="87" y="42"/>
                    <a:pt x="86" y="42"/>
                    <a:pt x="86" y="42"/>
                  </a:cubicBezTo>
                  <a:cubicBezTo>
                    <a:pt x="86" y="42"/>
                    <a:pt x="86" y="42"/>
                    <a:pt x="85" y="42"/>
                  </a:cubicBezTo>
                  <a:cubicBezTo>
                    <a:pt x="85" y="42"/>
                    <a:pt x="84" y="42"/>
                    <a:pt x="84" y="42"/>
                  </a:cubicBezTo>
                  <a:cubicBezTo>
                    <a:pt x="80" y="42"/>
                    <a:pt x="78" y="46"/>
                    <a:pt x="77" y="49"/>
                  </a:cubicBezTo>
                  <a:cubicBezTo>
                    <a:pt x="76" y="50"/>
                    <a:pt x="73" y="57"/>
                    <a:pt x="72" y="57"/>
                  </a:cubicBezTo>
                  <a:cubicBezTo>
                    <a:pt x="70" y="57"/>
                    <a:pt x="71" y="54"/>
                    <a:pt x="71" y="53"/>
                  </a:cubicBezTo>
                  <a:cubicBezTo>
                    <a:pt x="74" y="49"/>
                    <a:pt x="76" y="45"/>
                    <a:pt x="79" y="42"/>
                  </a:cubicBezTo>
                  <a:cubicBezTo>
                    <a:pt x="82" y="39"/>
                    <a:pt x="84" y="40"/>
                    <a:pt x="87" y="39"/>
                  </a:cubicBezTo>
                  <a:cubicBezTo>
                    <a:pt x="91" y="38"/>
                    <a:pt x="91" y="33"/>
                    <a:pt x="88" y="33"/>
                  </a:cubicBezTo>
                  <a:cubicBezTo>
                    <a:pt x="87" y="33"/>
                    <a:pt x="87" y="33"/>
                    <a:pt x="86" y="33"/>
                  </a:cubicBezTo>
                  <a:cubicBezTo>
                    <a:pt x="84" y="34"/>
                    <a:pt x="83" y="34"/>
                    <a:pt x="82" y="34"/>
                  </a:cubicBezTo>
                  <a:cubicBezTo>
                    <a:pt x="81" y="34"/>
                    <a:pt x="80" y="34"/>
                    <a:pt x="78" y="34"/>
                  </a:cubicBezTo>
                  <a:cubicBezTo>
                    <a:pt x="75" y="33"/>
                    <a:pt x="71" y="33"/>
                    <a:pt x="68" y="33"/>
                  </a:cubicBezTo>
                  <a:cubicBezTo>
                    <a:pt x="64" y="33"/>
                    <a:pt x="60" y="32"/>
                    <a:pt x="55" y="31"/>
                  </a:cubicBezTo>
                  <a:cubicBezTo>
                    <a:pt x="50" y="30"/>
                    <a:pt x="44" y="31"/>
                    <a:pt x="39" y="29"/>
                  </a:cubicBezTo>
                  <a:cubicBezTo>
                    <a:pt x="38" y="28"/>
                    <a:pt x="38" y="27"/>
                    <a:pt x="37" y="27"/>
                  </a:cubicBezTo>
                  <a:cubicBezTo>
                    <a:pt x="37" y="27"/>
                    <a:pt x="36" y="28"/>
                    <a:pt x="36" y="28"/>
                  </a:cubicBezTo>
                  <a:cubicBezTo>
                    <a:pt x="36" y="29"/>
                    <a:pt x="34" y="30"/>
                    <a:pt x="33" y="31"/>
                  </a:cubicBezTo>
                  <a:cubicBezTo>
                    <a:pt x="33" y="31"/>
                    <a:pt x="33" y="31"/>
                    <a:pt x="33" y="31"/>
                  </a:cubicBezTo>
                  <a:cubicBezTo>
                    <a:pt x="31" y="31"/>
                    <a:pt x="29" y="29"/>
                    <a:pt x="29" y="29"/>
                  </a:cubicBezTo>
                  <a:cubicBezTo>
                    <a:pt x="29" y="29"/>
                    <a:pt x="27" y="32"/>
                    <a:pt x="27" y="33"/>
                  </a:cubicBezTo>
                  <a:cubicBezTo>
                    <a:pt x="25" y="34"/>
                    <a:pt x="25" y="38"/>
                    <a:pt x="24" y="39"/>
                  </a:cubicBezTo>
                  <a:cubicBezTo>
                    <a:pt x="21" y="40"/>
                    <a:pt x="21" y="40"/>
                    <a:pt x="21" y="40"/>
                  </a:cubicBezTo>
                  <a:cubicBezTo>
                    <a:pt x="20" y="41"/>
                    <a:pt x="17" y="40"/>
                    <a:pt x="19" y="42"/>
                  </a:cubicBezTo>
                  <a:cubicBezTo>
                    <a:pt x="21" y="45"/>
                    <a:pt x="23" y="46"/>
                    <a:pt x="25" y="49"/>
                  </a:cubicBezTo>
                  <a:cubicBezTo>
                    <a:pt x="25" y="49"/>
                    <a:pt x="26" y="51"/>
                    <a:pt x="26" y="52"/>
                  </a:cubicBezTo>
                  <a:cubicBezTo>
                    <a:pt x="27" y="52"/>
                    <a:pt x="27" y="52"/>
                    <a:pt x="27" y="52"/>
                  </a:cubicBezTo>
                  <a:cubicBezTo>
                    <a:pt x="27" y="52"/>
                    <a:pt x="27" y="52"/>
                    <a:pt x="28" y="52"/>
                  </a:cubicBezTo>
                  <a:cubicBezTo>
                    <a:pt x="28" y="52"/>
                    <a:pt x="28" y="52"/>
                    <a:pt x="28" y="52"/>
                  </a:cubicBezTo>
                  <a:cubicBezTo>
                    <a:pt x="28" y="52"/>
                    <a:pt x="29" y="52"/>
                    <a:pt x="29" y="52"/>
                  </a:cubicBezTo>
                  <a:cubicBezTo>
                    <a:pt x="29" y="52"/>
                    <a:pt x="32" y="52"/>
                    <a:pt x="32" y="53"/>
                  </a:cubicBezTo>
                  <a:cubicBezTo>
                    <a:pt x="32" y="54"/>
                    <a:pt x="32" y="54"/>
                    <a:pt x="32" y="54"/>
                  </a:cubicBezTo>
                  <a:cubicBezTo>
                    <a:pt x="32" y="54"/>
                    <a:pt x="32" y="54"/>
                    <a:pt x="32" y="54"/>
                  </a:cubicBezTo>
                  <a:cubicBezTo>
                    <a:pt x="32" y="54"/>
                    <a:pt x="31" y="54"/>
                    <a:pt x="31" y="54"/>
                  </a:cubicBezTo>
                  <a:cubicBezTo>
                    <a:pt x="30" y="54"/>
                    <a:pt x="30" y="54"/>
                    <a:pt x="29" y="54"/>
                  </a:cubicBezTo>
                  <a:cubicBezTo>
                    <a:pt x="28" y="54"/>
                    <a:pt x="28" y="54"/>
                    <a:pt x="28" y="54"/>
                  </a:cubicBezTo>
                  <a:cubicBezTo>
                    <a:pt x="27" y="53"/>
                    <a:pt x="27" y="53"/>
                    <a:pt x="27" y="53"/>
                  </a:cubicBezTo>
                  <a:cubicBezTo>
                    <a:pt x="26" y="53"/>
                    <a:pt x="25" y="55"/>
                    <a:pt x="25" y="55"/>
                  </a:cubicBezTo>
                  <a:cubicBezTo>
                    <a:pt x="24" y="55"/>
                    <a:pt x="23" y="55"/>
                    <a:pt x="23" y="55"/>
                  </a:cubicBezTo>
                  <a:cubicBezTo>
                    <a:pt x="21" y="55"/>
                    <a:pt x="20" y="54"/>
                    <a:pt x="18" y="53"/>
                  </a:cubicBezTo>
                  <a:cubicBezTo>
                    <a:pt x="16" y="52"/>
                    <a:pt x="15" y="51"/>
                    <a:pt x="14" y="51"/>
                  </a:cubicBezTo>
                  <a:cubicBezTo>
                    <a:pt x="14" y="51"/>
                    <a:pt x="13" y="51"/>
                    <a:pt x="11" y="51"/>
                  </a:cubicBezTo>
                  <a:cubicBezTo>
                    <a:pt x="10" y="51"/>
                    <a:pt x="7" y="50"/>
                    <a:pt x="5" y="50"/>
                  </a:cubicBezTo>
                  <a:cubicBezTo>
                    <a:pt x="4" y="50"/>
                    <a:pt x="4" y="50"/>
                    <a:pt x="4" y="50"/>
                  </a:cubicBezTo>
                  <a:cubicBezTo>
                    <a:pt x="2" y="51"/>
                    <a:pt x="2" y="52"/>
                    <a:pt x="2" y="53"/>
                  </a:cubicBezTo>
                  <a:cubicBezTo>
                    <a:pt x="1" y="53"/>
                    <a:pt x="1" y="53"/>
                    <a:pt x="1" y="53"/>
                  </a:cubicBezTo>
                  <a:cubicBezTo>
                    <a:pt x="0" y="57"/>
                    <a:pt x="1" y="60"/>
                    <a:pt x="6" y="61"/>
                  </a:cubicBezTo>
                  <a:cubicBezTo>
                    <a:pt x="8" y="61"/>
                    <a:pt x="9" y="61"/>
                    <a:pt x="11" y="61"/>
                  </a:cubicBezTo>
                  <a:cubicBezTo>
                    <a:pt x="18" y="63"/>
                    <a:pt x="19" y="72"/>
                    <a:pt x="22" y="79"/>
                  </a:cubicBezTo>
                  <a:cubicBezTo>
                    <a:pt x="23" y="82"/>
                    <a:pt x="25" y="86"/>
                    <a:pt x="26" y="89"/>
                  </a:cubicBezTo>
                  <a:cubicBezTo>
                    <a:pt x="27" y="90"/>
                    <a:pt x="26" y="90"/>
                    <a:pt x="26" y="91"/>
                  </a:cubicBezTo>
                  <a:cubicBezTo>
                    <a:pt x="26" y="92"/>
                    <a:pt x="25" y="93"/>
                    <a:pt x="25" y="93"/>
                  </a:cubicBezTo>
                  <a:cubicBezTo>
                    <a:pt x="26" y="93"/>
                    <a:pt x="26" y="93"/>
                    <a:pt x="27" y="93"/>
                  </a:cubicBezTo>
                  <a:cubicBezTo>
                    <a:pt x="28" y="93"/>
                    <a:pt x="29" y="93"/>
                    <a:pt x="30" y="93"/>
                  </a:cubicBezTo>
                  <a:cubicBezTo>
                    <a:pt x="31" y="93"/>
                    <a:pt x="32" y="93"/>
                    <a:pt x="33" y="93"/>
                  </a:cubicBezTo>
                  <a:cubicBezTo>
                    <a:pt x="33" y="93"/>
                    <a:pt x="33" y="93"/>
                    <a:pt x="33" y="93"/>
                  </a:cubicBezTo>
                  <a:cubicBezTo>
                    <a:pt x="37" y="94"/>
                    <a:pt x="37" y="99"/>
                    <a:pt x="41" y="102"/>
                  </a:cubicBezTo>
                  <a:cubicBezTo>
                    <a:pt x="41" y="102"/>
                    <a:pt x="42" y="102"/>
                    <a:pt x="42" y="102"/>
                  </a:cubicBezTo>
                  <a:cubicBezTo>
                    <a:pt x="42" y="102"/>
                    <a:pt x="43" y="102"/>
                    <a:pt x="43" y="102"/>
                  </a:cubicBezTo>
                  <a:cubicBezTo>
                    <a:pt x="44" y="101"/>
                    <a:pt x="45" y="101"/>
                    <a:pt x="45" y="101"/>
                  </a:cubicBezTo>
                  <a:cubicBezTo>
                    <a:pt x="45" y="101"/>
                    <a:pt x="46" y="101"/>
                    <a:pt x="46" y="101"/>
                  </a:cubicBezTo>
                  <a:cubicBezTo>
                    <a:pt x="47" y="101"/>
                    <a:pt x="47" y="101"/>
                    <a:pt x="48" y="102"/>
                  </a:cubicBezTo>
                  <a:cubicBezTo>
                    <a:pt x="48" y="102"/>
                    <a:pt x="49" y="103"/>
                    <a:pt x="49" y="103"/>
                  </a:cubicBezTo>
                  <a:cubicBezTo>
                    <a:pt x="49" y="104"/>
                    <a:pt x="50" y="104"/>
                    <a:pt x="50" y="104"/>
                  </a:cubicBezTo>
                  <a:cubicBezTo>
                    <a:pt x="50" y="104"/>
                    <a:pt x="50" y="104"/>
                    <a:pt x="50" y="103"/>
                  </a:cubicBezTo>
                  <a:cubicBezTo>
                    <a:pt x="50" y="103"/>
                    <a:pt x="50" y="103"/>
                    <a:pt x="50" y="103"/>
                  </a:cubicBezTo>
                  <a:cubicBezTo>
                    <a:pt x="50" y="103"/>
                    <a:pt x="50" y="103"/>
                    <a:pt x="50" y="103"/>
                  </a:cubicBezTo>
                  <a:cubicBezTo>
                    <a:pt x="50" y="103"/>
                    <a:pt x="51" y="103"/>
                    <a:pt x="51" y="103"/>
                  </a:cubicBezTo>
                  <a:cubicBezTo>
                    <a:pt x="51" y="103"/>
                    <a:pt x="52" y="103"/>
                    <a:pt x="52" y="103"/>
                  </a:cubicBezTo>
                  <a:cubicBezTo>
                    <a:pt x="53" y="103"/>
                    <a:pt x="53" y="103"/>
                    <a:pt x="53" y="103"/>
                  </a:cubicBezTo>
                  <a:cubicBezTo>
                    <a:pt x="54" y="103"/>
                    <a:pt x="55" y="103"/>
                    <a:pt x="55" y="103"/>
                  </a:cubicBezTo>
                  <a:cubicBezTo>
                    <a:pt x="57" y="104"/>
                    <a:pt x="58" y="105"/>
                    <a:pt x="60" y="106"/>
                  </a:cubicBezTo>
                  <a:cubicBezTo>
                    <a:pt x="59" y="106"/>
                    <a:pt x="58" y="107"/>
                    <a:pt x="58" y="107"/>
                  </a:cubicBezTo>
                  <a:cubicBezTo>
                    <a:pt x="57" y="107"/>
                    <a:pt x="57" y="107"/>
                    <a:pt x="57" y="107"/>
                  </a:cubicBezTo>
                  <a:cubicBezTo>
                    <a:pt x="60" y="110"/>
                    <a:pt x="58" y="112"/>
                    <a:pt x="56" y="117"/>
                  </a:cubicBezTo>
                  <a:cubicBezTo>
                    <a:pt x="55" y="118"/>
                    <a:pt x="53" y="121"/>
                    <a:pt x="53" y="122"/>
                  </a:cubicBezTo>
                  <a:cubicBezTo>
                    <a:pt x="52" y="125"/>
                    <a:pt x="53" y="127"/>
                    <a:pt x="53" y="130"/>
                  </a:cubicBezTo>
                  <a:cubicBezTo>
                    <a:pt x="53" y="129"/>
                    <a:pt x="54" y="129"/>
                    <a:pt x="55" y="128"/>
                  </a:cubicBezTo>
                  <a:cubicBezTo>
                    <a:pt x="56" y="127"/>
                    <a:pt x="57" y="126"/>
                    <a:pt x="59" y="124"/>
                  </a:cubicBezTo>
                  <a:cubicBezTo>
                    <a:pt x="60" y="123"/>
                    <a:pt x="62" y="122"/>
                    <a:pt x="64" y="121"/>
                  </a:cubicBezTo>
                  <a:cubicBezTo>
                    <a:pt x="68" y="118"/>
                    <a:pt x="74" y="116"/>
                    <a:pt x="79" y="115"/>
                  </a:cubicBezTo>
                  <a:cubicBezTo>
                    <a:pt x="82" y="115"/>
                    <a:pt x="84" y="115"/>
                    <a:pt x="86" y="114"/>
                  </a:cubicBezTo>
                  <a:cubicBezTo>
                    <a:pt x="88" y="114"/>
                    <a:pt x="88" y="114"/>
                    <a:pt x="88" y="114"/>
                  </a:cubicBezTo>
                  <a:cubicBezTo>
                    <a:pt x="89" y="114"/>
                    <a:pt x="90" y="114"/>
                    <a:pt x="91" y="114"/>
                  </a:cubicBezTo>
                  <a:cubicBezTo>
                    <a:pt x="92" y="114"/>
                    <a:pt x="93" y="114"/>
                    <a:pt x="93" y="114"/>
                  </a:cubicBezTo>
                  <a:cubicBezTo>
                    <a:pt x="95" y="114"/>
                    <a:pt x="97" y="115"/>
                    <a:pt x="98" y="116"/>
                  </a:cubicBezTo>
                  <a:cubicBezTo>
                    <a:pt x="101" y="118"/>
                    <a:pt x="104" y="120"/>
                    <a:pt x="107" y="123"/>
                  </a:cubicBezTo>
                  <a:cubicBezTo>
                    <a:pt x="107" y="124"/>
                    <a:pt x="107" y="124"/>
                    <a:pt x="107" y="124"/>
                  </a:cubicBezTo>
                  <a:cubicBezTo>
                    <a:pt x="108" y="125"/>
                    <a:pt x="110" y="126"/>
                    <a:pt x="111" y="127"/>
                  </a:cubicBezTo>
                  <a:cubicBezTo>
                    <a:pt x="112" y="128"/>
                    <a:pt x="112" y="128"/>
                    <a:pt x="112" y="128"/>
                  </a:cubicBezTo>
                  <a:cubicBezTo>
                    <a:pt x="114" y="130"/>
                    <a:pt x="116" y="131"/>
                    <a:pt x="118" y="133"/>
                  </a:cubicBezTo>
                  <a:cubicBezTo>
                    <a:pt x="119" y="134"/>
                    <a:pt x="119" y="135"/>
                    <a:pt x="120" y="137"/>
                  </a:cubicBezTo>
                  <a:cubicBezTo>
                    <a:pt x="120" y="137"/>
                    <a:pt x="120" y="137"/>
                    <a:pt x="120" y="137"/>
                  </a:cubicBezTo>
                  <a:cubicBezTo>
                    <a:pt x="122" y="139"/>
                    <a:pt x="123" y="141"/>
                    <a:pt x="125" y="142"/>
                  </a:cubicBezTo>
                  <a:cubicBezTo>
                    <a:pt x="125" y="142"/>
                    <a:pt x="126" y="143"/>
                    <a:pt x="126" y="143"/>
                  </a:cubicBezTo>
                  <a:cubicBezTo>
                    <a:pt x="127" y="143"/>
                    <a:pt x="128" y="143"/>
                    <a:pt x="129" y="143"/>
                  </a:cubicBezTo>
                  <a:cubicBezTo>
                    <a:pt x="131" y="143"/>
                    <a:pt x="132" y="142"/>
                    <a:pt x="134" y="142"/>
                  </a:cubicBezTo>
                  <a:cubicBezTo>
                    <a:pt x="134" y="90"/>
                    <a:pt x="134" y="90"/>
                    <a:pt x="134" y="90"/>
                  </a:cubicBezTo>
                  <a:cubicBezTo>
                    <a:pt x="134" y="74"/>
                    <a:pt x="134" y="58"/>
                    <a:pt x="134" y="42"/>
                  </a:cubicBezTo>
                  <a:cubicBezTo>
                    <a:pt x="134" y="41"/>
                    <a:pt x="134" y="41"/>
                    <a:pt x="134" y="41"/>
                  </a:cubicBezTo>
                  <a:cubicBezTo>
                    <a:pt x="134" y="39"/>
                    <a:pt x="135" y="37"/>
                    <a:pt x="138" y="37"/>
                  </a:cubicBezTo>
                  <a:cubicBezTo>
                    <a:pt x="140" y="36"/>
                    <a:pt x="142" y="35"/>
                    <a:pt x="144" y="35"/>
                  </a:cubicBezTo>
                  <a:cubicBezTo>
                    <a:pt x="145" y="35"/>
                    <a:pt x="146" y="35"/>
                    <a:pt x="146" y="34"/>
                  </a:cubicBezTo>
                  <a:cubicBezTo>
                    <a:pt x="156" y="32"/>
                    <a:pt x="167" y="29"/>
                    <a:pt x="177" y="26"/>
                  </a:cubicBezTo>
                  <a:cubicBezTo>
                    <a:pt x="187" y="23"/>
                    <a:pt x="187" y="23"/>
                    <a:pt x="187" y="23"/>
                  </a:cubicBezTo>
                  <a:cubicBezTo>
                    <a:pt x="189" y="23"/>
                    <a:pt x="191" y="22"/>
                    <a:pt x="193" y="22"/>
                  </a:cubicBezTo>
                  <a:cubicBezTo>
                    <a:pt x="195" y="21"/>
                    <a:pt x="195" y="21"/>
                    <a:pt x="195" y="21"/>
                  </a:cubicBezTo>
                  <a:cubicBezTo>
                    <a:pt x="196" y="21"/>
                    <a:pt x="196" y="21"/>
                    <a:pt x="196" y="21"/>
                  </a:cubicBezTo>
                  <a:cubicBezTo>
                    <a:pt x="197" y="21"/>
                    <a:pt x="198" y="21"/>
                    <a:pt x="199" y="22"/>
                  </a:cubicBezTo>
                  <a:cubicBezTo>
                    <a:pt x="199" y="20"/>
                    <a:pt x="199" y="19"/>
                    <a:pt x="200" y="17"/>
                  </a:cubicBezTo>
                  <a:cubicBezTo>
                    <a:pt x="201" y="16"/>
                    <a:pt x="203" y="15"/>
                    <a:pt x="204" y="14"/>
                  </a:cubicBezTo>
                  <a:cubicBezTo>
                    <a:pt x="204" y="14"/>
                    <a:pt x="204" y="14"/>
                    <a:pt x="205" y="14"/>
                  </a:cubicBezTo>
                  <a:cubicBezTo>
                    <a:pt x="205" y="14"/>
                    <a:pt x="206" y="14"/>
                    <a:pt x="206" y="14"/>
                  </a:cubicBezTo>
                  <a:cubicBezTo>
                    <a:pt x="206" y="14"/>
                    <a:pt x="206" y="14"/>
                    <a:pt x="206" y="14"/>
                  </a:cubicBezTo>
                  <a:cubicBezTo>
                    <a:pt x="207" y="14"/>
                    <a:pt x="207" y="14"/>
                    <a:pt x="207" y="14"/>
                  </a:cubicBezTo>
                  <a:cubicBezTo>
                    <a:pt x="207" y="14"/>
                    <a:pt x="207" y="14"/>
                    <a:pt x="207" y="14"/>
                  </a:cubicBezTo>
                  <a:cubicBezTo>
                    <a:pt x="207" y="14"/>
                    <a:pt x="207" y="14"/>
                    <a:pt x="207" y="14"/>
                  </a:cubicBezTo>
                  <a:cubicBezTo>
                    <a:pt x="207" y="13"/>
                    <a:pt x="207" y="13"/>
                    <a:pt x="207" y="13"/>
                  </a:cubicBezTo>
                  <a:cubicBezTo>
                    <a:pt x="208" y="14"/>
                    <a:pt x="208" y="14"/>
                    <a:pt x="209" y="14"/>
                  </a:cubicBezTo>
                  <a:cubicBezTo>
                    <a:pt x="209" y="14"/>
                    <a:pt x="209" y="14"/>
                    <a:pt x="209" y="14"/>
                  </a:cubicBezTo>
                  <a:cubicBezTo>
                    <a:pt x="209" y="14"/>
                    <a:pt x="209" y="14"/>
                    <a:pt x="209" y="14"/>
                  </a:cubicBezTo>
                  <a:cubicBezTo>
                    <a:pt x="210" y="14"/>
                    <a:pt x="210" y="14"/>
                    <a:pt x="210" y="14"/>
                  </a:cubicBezTo>
                  <a:cubicBezTo>
                    <a:pt x="211" y="14"/>
                    <a:pt x="211" y="14"/>
                    <a:pt x="211" y="14"/>
                  </a:cubicBezTo>
                  <a:cubicBezTo>
                    <a:pt x="211" y="14"/>
                    <a:pt x="211" y="14"/>
                    <a:pt x="212" y="14"/>
                  </a:cubicBezTo>
                  <a:cubicBezTo>
                    <a:pt x="212" y="14"/>
                    <a:pt x="213" y="12"/>
                    <a:pt x="214" y="12"/>
                  </a:cubicBezTo>
                  <a:cubicBezTo>
                    <a:pt x="214" y="12"/>
                    <a:pt x="214" y="12"/>
                    <a:pt x="214" y="12"/>
                  </a:cubicBezTo>
                  <a:cubicBezTo>
                    <a:pt x="217" y="12"/>
                    <a:pt x="214" y="15"/>
                    <a:pt x="213" y="16"/>
                  </a:cubicBezTo>
                  <a:cubicBezTo>
                    <a:pt x="213" y="18"/>
                    <a:pt x="212" y="20"/>
                    <a:pt x="214" y="21"/>
                  </a:cubicBezTo>
                  <a:cubicBezTo>
                    <a:pt x="214" y="21"/>
                    <a:pt x="214" y="21"/>
                    <a:pt x="214" y="21"/>
                  </a:cubicBezTo>
                  <a:cubicBezTo>
                    <a:pt x="214" y="21"/>
                    <a:pt x="215" y="21"/>
                    <a:pt x="215" y="20"/>
                  </a:cubicBezTo>
                  <a:cubicBezTo>
                    <a:pt x="216" y="20"/>
                    <a:pt x="216" y="20"/>
                    <a:pt x="217" y="20"/>
                  </a:cubicBezTo>
                  <a:cubicBezTo>
                    <a:pt x="217" y="20"/>
                    <a:pt x="218" y="20"/>
                    <a:pt x="217" y="22"/>
                  </a:cubicBezTo>
                  <a:cubicBezTo>
                    <a:pt x="218" y="21"/>
                    <a:pt x="219" y="20"/>
                    <a:pt x="220" y="19"/>
                  </a:cubicBezTo>
                  <a:cubicBezTo>
                    <a:pt x="220" y="19"/>
                    <a:pt x="220" y="19"/>
                    <a:pt x="220" y="19"/>
                  </a:cubicBezTo>
                  <a:cubicBezTo>
                    <a:pt x="221" y="19"/>
                    <a:pt x="222" y="20"/>
                    <a:pt x="222" y="20"/>
                  </a:cubicBezTo>
                  <a:cubicBezTo>
                    <a:pt x="223" y="19"/>
                    <a:pt x="222" y="18"/>
                    <a:pt x="222" y="17"/>
                  </a:cubicBezTo>
                  <a:cubicBezTo>
                    <a:pt x="222" y="16"/>
                    <a:pt x="223" y="15"/>
                    <a:pt x="224" y="14"/>
                  </a:cubicBezTo>
                  <a:cubicBezTo>
                    <a:pt x="225" y="11"/>
                    <a:pt x="224" y="10"/>
                    <a:pt x="223" y="7"/>
                  </a:cubicBezTo>
                  <a:cubicBezTo>
                    <a:pt x="222" y="6"/>
                    <a:pt x="221" y="5"/>
                    <a:pt x="220" y="4"/>
                  </a:cubicBezTo>
                  <a:cubicBezTo>
                    <a:pt x="220" y="3"/>
                    <a:pt x="220" y="3"/>
                    <a:pt x="220" y="3"/>
                  </a:cubicBezTo>
                  <a:cubicBezTo>
                    <a:pt x="220" y="3"/>
                    <a:pt x="220" y="3"/>
                    <a:pt x="220" y="3"/>
                  </a:cubicBezTo>
                  <a:cubicBezTo>
                    <a:pt x="220" y="3"/>
                    <a:pt x="221" y="3"/>
                    <a:pt x="221" y="3"/>
                  </a:cubicBezTo>
                  <a:cubicBezTo>
                    <a:pt x="221" y="3"/>
                    <a:pt x="221" y="3"/>
                    <a:pt x="221" y="3"/>
                  </a:cubicBezTo>
                  <a:cubicBezTo>
                    <a:pt x="222" y="3"/>
                    <a:pt x="223" y="3"/>
                    <a:pt x="223" y="3"/>
                  </a:cubicBezTo>
                  <a:cubicBezTo>
                    <a:pt x="225" y="3"/>
                    <a:pt x="226" y="4"/>
                    <a:pt x="226" y="6"/>
                  </a:cubicBezTo>
                  <a:cubicBezTo>
                    <a:pt x="227" y="6"/>
                    <a:pt x="227" y="8"/>
                    <a:pt x="226" y="9"/>
                  </a:cubicBezTo>
                  <a:cubicBezTo>
                    <a:pt x="226" y="10"/>
                    <a:pt x="223" y="10"/>
                    <a:pt x="225" y="11"/>
                  </a:cubicBezTo>
                  <a:cubicBezTo>
                    <a:pt x="226" y="12"/>
                    <a:pt x="226" y="12"/>
                    <a:pt x="226" y="12"/>
                  </a:cubicBezTo>
                  <a:cubicBezTo>
                    <a:pt x="227" y="12"/>
                    <a:pt x="229" y="10"/>
                    <a:pt x="229" y="10"/>
                  </a:cubicBezTo>
                  <a:cubicBezTo>
                    <a:pt x="230" y="10"/>
                    <a:pt x="230" y="10"/>
                    <a:pt x="231" y="10"/>
                  </a:cubicBezTo>
                  <a:cubicBezTo>
                    <a:pt x="231" y="10"/>
                    <a:pt x="231" y="10"/>
                    <a:pt x="232" y="10"/>
                  </a:cubicBezTo>
                  <a:cubicBezTo>
                    <a:pt x="232" y="10"/>
                    <a:pt x="232" y="10"/>
                    <a:pt x="233" y="10"/>
                  </a:cubicBezTo>
                  <a:cubicBezTo>
                    <a:pt x="233" y="10"/>
                    <a:pt x="233" y="10"/>
                    <a:pt x="233" y="10"/>
                  </a:cubicBezTo>
                  <a:cubicBezTo>
                    <a:pt x="235" y="10"/>
                    <a:pt x="236" y="9"/>
                    <a:pt x="238" y="9"/>
                  </a:cubicBezTo>
                  <a:cubicBezTo>
                    <a:pt x="238" y="9"/>
                    <a:pt x="239" y="9"/>
                    <a:pt x="239" y="10"/>
                  </a:cubicBezTo>
                  <a:cubicBezTo>
                    <a:pt x="242" y="10"/>
                    <a:pt x="246" y="10"/>
                    <a:pt x="248" y="11"/>
                  </a:cubicBezTo>
                  <a:cubicBezTo>
                    <a:pt x="247" y="13"/>
                    <a:pt x="245" y="12"/>
                    <a:pt x="243" y="14"/>
                  </a:cubicBezTo>
                  <a:cubicBezTo>
                    <a:pt x="242" y="16"/>
                    <a:pt x="242" y="16"/>
                    <a:pt x="241" y="16"/>
                  </a:cubicBezTo>
                  <a:cubicBezTo>
                    <a:pt x="240" y="16"/>
                    <a:pt x="240" y="16"/>
                    <a:pt x="239" y="16"/>
                  </a:cubicBezTo>
                  <a:cubicBezTo>
                    <a:pt x="237" y="16"/>
                    <a:pt x="235" y="15"/>
                    <a:pt x="233" y="15"/>
                  </a:cubicBezTo>
                  <a:cubicBezTo>
                    <a:pt x="232" y="15"/>
                    <a:pt x="231" y="15"/>
                    <a:pt x="229" y="15"/>
                  </a:cubicBezTo>
                  <a:cubicBezTo>
                    <a:pt x="229" y="15"/>
                    <a:pt x="228" y="15"/>
                    <a:pt x="228" y="15"/>
                  </a:cubicBezTo>
                  <a:cubicBezTo>
                    <a:pt x="229" y="14"/>
                    <a:pt x="229" y="14"/>
                    <a:pt x="229" y="14"/>
                  </a:cubicBezTo>
                  <a:cubicBezTo>
                    <a:pt x="228" y="14"/>
                    <a:pt x="227" y="14"/>
                    <a:pt x="226" y="14"/>
                  </a:cubicBezTo>
                  <a:cubicBezTo>
                    <a:pt x="226" y="14"/>
                    <a:pt x="226" y="14"/>
                    <a:pt x="226" y="14"/>
                  </a:cubicBezTo>
                  <a:cubicBezTo>
                    <a:pt x="227" y="14"/>
                    <a:pt x="227" y="15"/>
                    <a:pt x="226" y="16"/>
                  </a:cubicBezTo>
                  <a:cubicBezTo>
                    <a:pt x="227" y="16"/>
                    <a:pt x="227" y="16"/>
                    <a:pt x="228" y="17"/>
                  </a:cubicBezTo>
                  <a:cubicBezTo>
                    <a:pt x="227" y="17"/>
                    <a:pt x="225" y="17"/>
                    <a:pt x="225" y="17"/>
                  </a:cubicBezTo>
                  <a:cubicBezTo>
                    <a:pt x="225" y="17"/>
                    <a:pt x="228" y="18"/>
                    <a:pt x="225" y="19"/>
                  </a:cubicBezTo>
                  <a:cubicBezTo>
                    <a:pt x="227" y="20"/>
                    <a:pt x="222" y="23"/>
                    <a:pt x="225" y="25"/>
                  </a:cubicBezTo>
                  <a:cubicBezTo>
                    <a:pt x="226" y="25"/>
                    <a:pt x="226" y="25"/>
                    <a:pt x="227" y="25"/>
                  </a:cubicBezTo>
                  <a:cubicBezTo>
                    <a:pt x="227" y="25"/>
                    <a:pt x="228" y="25"/>
                    <a:pt x="229" y="25"/>
                  </a:cubicBezTo>
                  <a:cubicBezTo>
                    <a:pt x="229" y="25"/>
                    <a:pt x="230" y="24"/>
                    <a:pt x="231" y="24"/>
                  </a:cubicBezTo>
                  <a:cubicBezTo>
                    <a:pt x="232" y="24"/>
                    <a:pt x="233" y="25"/>
                    <a:pt x="233" y="26"/>
                  </a:cubicBezTo>
                  <a:cubicBezTo>
                    <a:pt x="235" y="30"/>
                    <a:pt x="234" y="37"/>
                    <a:pt x="234" y="41"/>
                  </a:cubicBezTo>
                  <a:cubicBezTo>
                    <a:pt x="236" y="42"/>
                    <a:pt x="236" y="42"/>
                    <a:pt x="236" y="42"/>
                  </a:cubicBezTo>
                  <a:cubicBezTo>
                    <a:pt x="236" y="43"/>
                    <a:pt x="238" y="43"/>
                    <a:pt x="239" y="44"/>
                  </a:cubicBezTo>
                  <a:cubicBezTo>
                    <a:pt x="249" y="50"/>
                    <a:pt x="257" y="55"/>
                    <a:pt x="260" y="59"/>
                  </a:cubicBezTo>
                  <a:cubicBezTo>
                    <a:pt x="262" y="62"/>
                    <a:pt x="266" y="67"/>
                    <a:pt x="266" y="67"/>
                  </a:cubicBezTo>
                  <a:cubicBezTo>
                    <a:pt x="269" y="70"/>
                    <a:pt x="272" y="73"/>
                    <a:pt x="274" y="76"/>
                  </a:cubicBezTo>
                  <a:cubicBezTo>
                    <a:pt x="275" y="76"/>
                    <a:pt x="275" y="77"/>
                    <a:pt x="276" y="77"/>
                  </a:cubicBezTo>
                  <a:cubicBezTo>
                    <a:pt x="277" y="78"/>
                    <a:pt x="277" y="78"/>
                    <a:pt x="277" y="78"/>
                  </a:cubicBezTo>
                  <a:cubicBezTo>
                    <a:pt x="277" y="78"/>
                    <a:pt x="278" y="79"/>
                    <a:pt x="278" y="80"/>
                  </a:cubicBezTo>
                  <a:cubicBezTo>
                    <a:pt x="279" y="80"/>
                    <a:pt x="279" y="80"/>
                    <a:pt x="280" y="80"/>
                  </a:cubicBezTo>
                  <a:cubicBezTo>
                    <a:pt x="280" y="81"/>
                    <a:pt x="281" y="81"/>
                    <a:pt x="281" y="81"/>
                  </a:cubicBezTo>
                  <a:cubicBezTo>
                    <a:pt x="281" y="81"/>
                    <a:pt x="281" y="81"/>
                    <a:pt x="281" y="81"/>
                  </a:cubicBezTo>
                  <a:cubicBezTo>
                    <a:pt x="285" y="80"/>
                    <a:pt x="288" y="80"/>
                    <a:pt x="292" y="79"/>
                  </a:cubicBezTo>
                  <a:cubicBezTo>
                    <a:pt x="296" y="78"/>
                    <a:pt x="301" y="77"/>
                    <a:pt x="306" y="77"/>
                  </a:cubicBezTo>
                  <a:cubicBezTo>
                    <a:pt x="307" y="77"/>
                    <a:pt x="308" y="77"/>
                    <a:pt x="310" y="77"/>
                  </a:cubicBezTo>
                  <a:cubicBezTo>
                    <a:pt x="313" y="77"/>
                    <a:pt x="317" y="77"/>
                    <a:pt x="320" y="77"/>
                  </a:cubicBezTo>
                  <a:cubicBezTo>
                    <a:pt x="321" y="77"/>
                    <a:pt x="321" y="77"/>
                    <a:pt x="321" y="77"/>
                  </a:cubicBezTo>
                  <a:cubicBezTo>
                    <a:pt x="324" y="78"/>
                    <a:pt x="326" y="78"/>
                    <a:pt x="328" y="78"/>
                  </a:cubicBezTo>
                  <a:cubicBezTo>
                    <a:pt x="335" y="78"/>
                    <a:pt x="335" y="78"/>
                    <a:pt x="335" y="78"/>
                  </a:cubicBezTo>
                  <a:cubicBezTo>
                    <a:pt x="337" y="78"/>
                    <a:pt x="338" y="78"/>
                    <a:pt x="339" y="77"/>
                  </a:cubicBezTo>
                  <a:cubicBezTo>
                    <a:pt x="340" y="77"/>
                    <a:pt x="340" y="77"/>
                    <a:pt x="340" y="77"/>
                  </a:cubicBezTo>
                  <a:cubicBezTo>
                    <a:pt x="341" y="76"/>
                    <a:pt x="341" y="76"/>
                    <a:pt x="341" y="76"/>
                  </a:cubicBezTo>
                  <a:cubicBezTo>
                    <a:pt x="343" y="75"/>
                    <a:pt x="345" y="74"/>
                    <a:pt x="347" y="74"/>
                  </a:cubicBezTo>
                  <a:cubicBezTo>
                    <a:pt x="347" y="74"/>
                    <a:pt x="347" y="74"/>
                    <a:pt x="347" y="74"/>
                  </a:cubicBezTo>
                  <a:cubicBezTo>
                    <a:pt x="349" y="74"/>
                    <a:pt x="350" y="75"/>
                    <a:pt x="351" y="77"/>
                  </a:cubicBezTo>
                  <a:cubicBezTo>
                    <a:pt x="352" y="78"/>
                    <a:pt x="354" y="79"/>
                    <a:pt x="355" y="81"/>
                  </a:cubicBezTo>
                  <a:cubicBezTo>
                    <a:pt x="358" y="83"/>
                    <a:pt x="358" y="83"/>
                    <a:pt x="358" y="83"/>
                  </a:cubicBezTo>
                  <a:cubicBezTo>
                    <a:pt x="358" y="83"/>
                    <a:pt x="358" y="83"/>
                    <a:pt x="358" y="83"/>
                  </a:cubicBezTo>
                  <a:cubicBezTo>
                    <a:pt x="360" y="85"/>
                    <a:pt x="360" y="85"/>
                    <a:pt x="360" y="85"/>
                  </a:cubicBezTo>
                  <a:cubicBezTo>
                    <a:pt x="362" y="87"/>
                    <a:pt x="365" y="89"/>
                    <a:pt x="367" y="92"/>
                  </a:cubicBezTo>
                  <a:cubicBezTo>
                    <a:pt x="369" y="94"/>
                    <a:pt x="369" y="94"/>
                    <a:pt x="369" y="94"/>
                  </a:cubicBezTo>
                  <a:cubicBezTo>
                    <a:pt x="369" y="95"/>
                    <a:pt x="370" y="95"/>
                    <a:pt x="370" y="95"/>
                  </a:cubicBezTo>
                  <a:cubicBezTo>
                    <a:pt x="370" y="96"/>
                    <a:pt x="371" y="96"/>
                    <a:pt x="371" y="97"/>
                  </a:cubicBezTo>
                  <a:cubicBezTo>
                    <a:pt x="373" y="96"/>
                    <a:pt x="373" y="96"/>
                    <a:pt x="373" y="96"/>
                  </a:cubicBezTo>
                  <a:cubicBezTo>
                    <a:pt x="374" y="96"/>
                    <a:pt x="374" y="96"/>
                    <a:pt x="375" y="96"/>
                  </a:cubicBezTo>
                  <a:cubicBezTo>
                    <a:pt x="376" y="96"/>
                    <a:pt x="377" y="96"/>
                    <a:pt x="377" y="97"/>
                  </a:cubicBezTo>
                  <a:cubicBezTo>
                    <a:pt x="379" y="98"/>
                    <a:pt x="379" y="101"/>
                    <a:pt x="378" y="106"/>
                  </a:cubicBezTo>
                  <a:cubicBezTo>
                    <a:pt x="378" y="106"/>
                    <a:pt x="378" y="106"/>
                    <a:pt x="378" y="106"/>
                  </a:cubicBezTo>
                  <a:cubicBezTo>
                    <a:pt x="378" y="108"/>
                    <a:pt x="377" y="110"/>
                    <a:pt x="377" y="111"/>
                  </a:cubicBezTo>
                  <a:cubicBezTo>
                    <a:pt x="377" y="113"/>
                    <a:pt x="377" y="115"/>
                    <a:pt x="377" y="117"/>
                  </a:cubicBezTo>
                  <a:cubicBezTo>
                    <a:pt x="377" y="117"/>
                    <a:pt x="376" y="118"/>
                    <a:pt x="376" y="119"/>
                  </a:cubicBezTo>
                  <a:cubicBezTo>
                    <a:pt x="376" y="119"/>
                    <a:pt x="376" y="119"/>
                    <a:pt x="376" y="119"/>
                  </a:cubicBezTo>
                  <a:cubicBezTo>
                    <a:pt x="376" y="120"/>
                    <a:pt x="376" y="121"/>
                    <a:pt x="376" y="121"/>
                  </a:cubicBezTo>
                  <a:cubicBezTo>
                    <a:pt x="376" y="122"/>
                    <a:pt x="376" y="123"/>
                    <a:pt x="376" y="123"/>
                  </a:cubicBezTo>
                  <a:cubicBezTo>
                    <a:pt x="377" y="123"/>
                    <a:pt x="377" y="123"/>
                    <a:pt x="377" y="123"/>
                  </a:cubicBezTo>
                  <a:cubicBezTo>
                    <a:pt x="377" y="123"/>
                    <a:pt x="377" y="123"/>
                    <a:pt x="377" y="123"/>
                  </a:cubicBezTo>
                  <a:cubicBezTo>
                    <a:pt x="377" y="123"/>
                    <a:pt x="378" y="123"/>
                    <a:pt x="378" y="123"/>
                  </a:cubicBezTo>
                  <a:cubicBezTo>
                    <a:pt x="379" y="123"/>
                    <a:pt x="379" y="123"/>
                    <a:pt x="379" y="123"/>
                  </a:cubicBezTo>
                  <a:cubicBezTo>
                    <a:pt x="380" y="123"/>
                    <a:pt x="381" y="123"/>
                    <a:pt x="382" y="123"/>
                  </a:cubicBezTo>
                  <a:cubicBezTo>
                    <a:pt x="384" y="123"/>
                    <a:pt x="385" y="123"/>
                    <a:pt x="386" y="124"/>
                  </a:cubicBezTo>
                  <a:cubicBezTo>
                    <a:pt x="387" y="125"/>
                    <a:pt x="388" y="126"/>
                    <a:pt x="388" y="127"/>
                  </a:cubicBezTo>
                  <a:cubicBezTo>
                    <a:pt x="388" y="128"/>
                    <a:pt x="388" y="129"/>
                    <a:pt x="388" y="130"/>
                  </a:cubicBezTo>
                  <a:cubicBezTo>
                    <a:pt x="388" y="130"/>
                    <a:pt x="388" y="130"/>
                    <a:pt x="388" y="130"/>
                  </a:cubicBezTo>
                  <a:cubicBezTo>
                    <a:pt x="388" y="131"/>
                    <a:pt x="388" y="131"/>
                    <a:pt x="388" y="131"/>
                  </a:cubicBezTo>
                  <a:cubicBezTo>
                    <a:pt x="388" y="134"/>
                    <a:pt x="389" y="137"/>
                    <a:pt x="390" y="140"/>
                  </a:cubicBezTo>
                  <a:cubicBezTo>
                    <a:pt x="391" y="143"/>
                    <a:pt x="391" y="143"/>
                    <a:pt x="391" y="143"/>
                  </a:cubicBezTo>
                  <a:cubicBezTo>
                    <a:pt x="391" y="144"/>
                    <a:pt x="391" y="144"/>
                    <a:pt x="391" y="144"/>
                  </a:cubicBezTo>
                  <a:cubicBezTo>
                    <a:pt x="392" y="147"/>
                    <a:pt x="392" y="147"/>
                    <a:pt x="392" y="147"/>
                  </a:cubicBezTo>
                  <a:cubicBezTo>
                    <a:pt x="410" y="146"/>
                    <a:pt x="410" y="146"/>
                    <a:pt x="410" y="146"/>
                  </a:cubicBezTo>
                  <a:cubicBezTo>
                    <a:pt x="411" y="146"/>
                    <a:pt x="411" y="146"/>
                    <a:pt x="412" y="146"/>
                  </a:cubicBezTo>
                  <a:cubicBezTo>
                    <a:pt x="413" y="146"/>
                    <a:pt x="414" y="146"/>
                    <a:pt x="415" y="146"/>
                  </a:cubicBezTo>
                  <a:cubicBezTo>
                    <a:pt x="416" y="146"/>
                    <a:pt x="417" y="146"/>
                    <a:pt x="417" y="146"/>
                  </a:cubicBezTo>
                  <a:cubicBezTo>
                    <a:pt x="417" y="146"/>
                    <a:pt x="417" y="146"/>
                    <a:pt x="417" y="146"/>
                  </a:cubicBezTo>
                  <a:cubicBezTo>
                    <a:pt x="418" y="146"/>
                    <a:pt x="419" y="146"/>
                    <a:pt x="419" y="146"/>
                  </a:cubicBezTo>
                  <a:cubicBezTo>
                    <a:pt x="420" y="147"/>
                    <a:pt x="420" y="147"/>
                    <a:pt x="420" y="147"/>
                  </a:cubicBezTo>
                  <a:cubicBezTo>
                    <a:pt x="420" y="148"/>
                    <a:pt x="420" y="148"/>
                    <a:pt x="420" y="148"/>
                  </a:cubicBezTo>
                  <a:cubicBezTo>
                    <a:pt x="420" y="148"/>
                    <a:pt x="420" y="148"/>
                    <a:pt x="420" y="148"/>
                  </a:cubicBezTo>
                  <a:cubicBezTo>
                    <a:pt x="421" y="148"/>
                    <a:pt x="421" y="148"/>
                    <a:pt x="421" y="148"/>
                  </a:cubicBezTo>
                  <a:cubicBezTo>
                    <a:pt x="421" y="149"/>
                    <a:pt x="421" y="149"/>
                    <a:pt x="421" y="149"/>
                  </a:cubicBezTo>
                  <a:cubicBezTo>
                    <a:pt x="422" y="149"/>
                    <a:pt x="423" y="150"/>
                    <a:pt x="424" y="150"/>
                  </a:cubicBezTo>
                  <a:cubicBezTo>
                    <a:pt x="424" y="151"/>
                    <a:pt x="425" y="151"/>
                    <a:pt x="425" y="153"/>
                  </a:cubicBezTo>
                  <a:cubicBezTo>
                    <a:pt x="425" y="154"/>
                    <a:pt x="425" y="154"/>
                    <a:pt x="425" y="154"/>
                  </a:cubicBezTo>
                  <a:cubicBezTo>
                    <a:pt x="426" y="155"/>
                    <a:pt x="425" y="157"/>
                    <a:pt x="424" y="159"/>
                  </a:cubicBezTo>
                  <a:cubicBezTo>
                    <a:pt x="426" y="160"/>
                    <a:pt x="428" y="161"/>
                    <a:pt x="431" y="162"/>
                  </a:cubicBezTo>
                  <a:cubicBezTo>
                    <a:pt x="432" y="162"/>
                    <a:pt x="432" y="162"/>
                    <a:pt x="432" y="162"/>
                  </a:cubicBezTo>
                  <a:cubicBezTo>
                    <a:pt x="432" y="162"/>
                    <a:pt x="432" y="161"/>
                    <a:pt x="432" y="160"/>
                  </a:cubicBezTo>
                  <a:cubicBezTo>
                    <a:pt x="432" y="158"/>
                    <a:pt x="432" y="158"/>
                    <a:pt x="432" y="158"/>
                  </a:cubicBezTo>
                  <a:cubicBezTo>
                    <a:pt x="432" y="153"/>
                    <a:pt x="435" y="150"/>
                    <a:pt x="438" y="148"/>
                  </a:cubicBezTo>
                  <a:cubicBezTo>
                    <a:pt x="439" y="148"/>
                    <a:pt x="440" y="148"/>
                    <a:pt x="440" y="147"/>
                  </a:cubicBezTo>
                  <a:cubicBezTo>
                    <a:pt x="441" y="147"/>
                    <a:pt x="441" y="147"/>
                    <a:pt x="441" y="147"/>
                  </a:cubicBezTo>
                  <a:cubicBezTo>
                    <a:pt x="442" y="146"/>
                    <a:pt x="442" y="146"/>
                    <a:pt x="442" y="146"/>
                  </a:cubicBezTo>
                  <a:cubicBezTo>
                    <a:pt x="442" y="145"/>
                    <a:pt x="442" y="145"/>
                    <a:pt x="442" y="145"/>
                  </a:cubicBezTo>
                  <a:cubicBezTo>
                    <a:pt x="443" y="144"/>
                    <a:pt x="445" y="143"/>
                    <a:pt x="446" y="142"/>
                  </a:cubicBezTo>
                  <a:cubicBezTo>
                    <a:pt x="446" y="142"/>
                    <a:pt x="446" y="142"/>
                    <a:pt x="446" y="142"/>
                  </a:cubicBezTo>
                  <a:cubicBezTo>
                    <a:pt x="447" y="141"/>
                    <a:pt x="447" y="141"/>
                    <a:pt x="447" y="141"/>
                  </a:cubicBezTo>
                  <a:cubicBezTo>
                    <a:pt x="450" y="139"/>
                    <a:pt x="452" y="138"/>
                    <a:pt x="454" y="136"/>
                  </a:cubicBezTo>
                  <a:cubicBezTo>
                    <a:pt x="457" y="134"/>
                    <a:pt x="460" y="132"/>
                    <a:pt x="464" y="130"/>
                  </a:cubicBezTo>
                  <a:cubicBezTo>
                    <a:pt x="485" y="118"/>
                    <a:pt x="485" y="118"/>
                    <a:pt x="485" y="118"/>
                  </a:cubicBezTo>
                  <a:cubicBezTo>
                    <a:pt x="484" y="117"/>
                    <a:pt x="485" y="117"/>
                    <a:pt x="485" y="116"/>
                  </a:cubicBezTo>
                  <a:cubicBezTo>
                    <a:pt x="485" y="115"/>
                    <a:pt x="486" y="114"/>
                    <a:pt x="487" y="113"/>
                  </a:cubicBezTo>
                  <a:cubicBezTo>
                    <a:pt x="487" y="112"/>
                    <a:pt x="489" y="111"/>
                    <a:pt x="490" y="110"/>
                  </a:cubicBezTo>
                  <a:cubicBezTo>
                    <a:pt x="491" y="108"/>
                    <a:pt x="491" y="108"/>
                    <a:pt x="491" y="108"/>
                  </a:cubicBezTo>
                  <a:cubicBezTo>
                    <a:pt x="492" y="108"/>
                    <a:pt x="492" y="108"/>
                    <a:pt x="492" y="107"/>
                  </a:cubicBezTo>
                  <a:cubicBezTo>
                    <a:pt x="493" y="106"/>
                    <a:pt x="494" y="104"/>
                    <a:pt x="496" y="103"/>
                  </a:cubicBezTo>
                  <a:cubicBezTo>
                    <a:pt x="496" y="103"/>
                    <a:pt x="497" y="103"/>
                    <a:pt x="497" y="102"/>
                  </a:cubicBezTo>
                  <a:cubicBezTo>
                    <a:pt x="498" y="102"/>
                    <a:pt x="499" y="102"/>
                    <a:pt x="500" y="102"/>
                  </a:cubicBezTo>
                  <a:cubicBezTo>
                    <a:pt x="501" y="102"/>
                    <a:pt x="502" y="102"/>
                    <a:pt x="502" y="102"/>
                  </a:cubicBezTo>
                  <a:cubicBezTo>
                    <a:pt x="503" y="102"/>
                    <a:pt x="503" y="102"/>
                    <a:pt x="503" y="102"/>
                  </a:cubicBezTo>
                  <a:cubicBezTo>
                    <a:pt x="504" y="102"/>
                    <a:pt x="504" y="102"/>
                    <a:pt x="504" y="102"/>
                  </a:cubicBezTo>
                  <a:cubicBezTo>
                    <a:pt x="516" y="102"/>
                    <a:pt x="516" y="102"/>
                    <a:pt x="516" y="102"/>
                  </a:cubicBezTo>
                  <a:cubicBezTo>
                    <a:pt x="516" y="102"/>
                    <a:pt x="516" y="102"/>
                    <a:pt x="516" y="102"/>
                  </a:cubicBezTo>
                  <a:cubicBezTo>
                    <a:pt x="517" y="102"/>
                    <a:pt x="518" y="102"/>
                    <a:pt x="519" y="102"/>
                  </a:cubicBezTo>
                  <a:cubicBezTo>
                    <a:pt x="519" y="0"/>
                    <a:pt x="519" y="0"/>
                    <a:pt x="5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1" name="Freeform 280">
              <a:extLst>
                <a:ext uri="{FF2B5EF4-FFF2-40B4-BE49-F238E27FC236}">
                  <a16:creationId xmlns:a16="http://schemas.microsoft.com/office/drawing/2014/main" id="{018CF5A4-D174-40B8-A3FE-C348F3489562}"/>
                </a:ext>
              </a:extLst>
            </p:cNvPr>
            <p:cNvSpPr>
              <a:spLocks/>
            </p:cNvSpPr>
            <p:nvPr/>
          </p:nvSpPr>
          <p:spPr bwMode="auto">
            <a:xfrm>
              <a:off x="7454" y="1136"/>
              <a:ext cx="224" cy="449"/>
            </a:xfrm>
            <a:custGeom>
              <a:avLst/>
              <a:gdLst>
                <a:gd name="T0" fmla="*/ 82 w 95"/>
                <a:gd name="T1" fmla="*/ 14 h 190"/>
                <a:gd name="T2" fmla="*/ 74 w 95"/>
                <a:gd name="T3" fmla="*/ 15 h 190"/>
                <a:gd name="T4" fmla="*/ 72 w 95"/>
                <a:gd name="T5" fmla="*/ 15 h 190"/>
                <a:gd name="T6" fmla="*/ 63 w 95"/>
                <a:gd name="T7" fmla="*/ 18 h 190"/>
                <a:gd name="T8" fmla="*/ 58 w 95"/>
                <a:gd name="T9" fmla="*/ 16 h 190"/>
                <a:gd name="T10" fmla="*/ 55 w 95"/>
                <a:gd name="T11" fmla="*/ 11 h 190"/>
                <a:gd name="T12" fmla="*/ 53 w 95"/>
                <a:gd name="T13" fmla="*/ 10 h 190"/>
                <a:gd name="T14" fmla="*/ 51 w 95"/>
                <a:gd name="T15" fmla="*/ 12 h 190"/>
                <a:gd name="T16" fmla="*/ 48 w 95"/>
                <a:gd name="T17" fmla="*/ 15 h 190"/>
                <a:gd name="T18" fmla="*/ 46 w 95"/>
                <a:gd name="T19" fmla="*/ 18 h 190"/>
                <a:gd name="T20" fmla="*/ 33 w 95"/>
                <a:gd name="T21" fmla="*/ 38 h 190"/>
                <a:gd name="T22" fmla="*/ 38 w 95"/>
                <a:gd name="T23" fmla="*/ 41 h 190"/>
                <a:gd name="T24" fmla="*/ 47 w 95"/>
                <a:gd name="T25" fmla="*/ 42 h 190"/>
                <a:gd name="T26" fmla="*/ 49 w 95"/>
                <a:gd name="T27" fmla="*/ 57 h 190"/>
                <a:gd name="T28" fmla="*/ 51 w 95"/>
                <a:gd name="T29" fmla="*/ 63 h 190"/>
                <a:gd name="T30" fmla="*/ 53 w 95"/>
                <a:gd name="T31" fmla="*/ 64 h 190"/>
                <a:gd name="T32" fmla="*/ 54 w 95"/>
                <a:gd name="T33" fmla="*/ 64 h 190"/>
                <a:gd name="T34" fmla="*/ 57 w 95"/>
                <a:gd name="T35" fmla="*/ 63 h 190"/>
                <a:gd name="T36" fmla="*/ 63 w 95"/>
                <a:gd name="T37" fmla="*/ 74 h 190"/>
                <a:gd name="T38" fmla="*/ 64 w 95"/>
                <a:gd name="T39" fmla="*/ 77 h 190"/>
                <a:gd name="T40" fmla="*/ 69 w 95"/>
                <a:gd name="T41" fmla="*/ 94 h 190"/>
                <a:gd name="T42" fmla="*/ 70 w 95"/>
                <a:gd name="T43" fmla="*/ 96 h 190"/>
                <a:gd name="T44" fmla="*/ 69 w 95"/>
                <a:gd name="T45" fmla="*/ 101 h 190"/>
                <a:gd name="T46" fmla="*/ 65 w 95"/>
                <a:gd name="T47" fmla="*/ 103 h 190"/>
                <a:gd name="T48" fmla="*/ 64 w 95"/>
                <a:gd name="T49" fmla="*/ 105 h 190"/>
                <a:gd name="T50" fmla="*/ 55 w 95"/>
                <a:gd name="T51" fmla="*/ 103 h 190"/>
                <a:gd name="T52" fmla="*/ 54 w 95"/>
                <a:gd name="T53" fmla="*/ 102 h 190"/>
                <a:gd name="T54" fmla="*/ 47 w 95"/>
                <a:gd name="T55" fmla="*/ 104 h 190"/>
                <a:gd name="T56" fmla="*/ 41 w 95"/>
                <a:gd name="T57" fmla="*/ 107 h 190"/>
                <a:gd name="T58" fmla="*/ 34 w 95"/>
                <a:gd name="T59" fmla="*/ 106 h 190"/>
                <a:gd name="T60" fmla="*/ 16 w 95"/>
                <a:gd name="T61" fmla="*/ 108 h 190"/>
                <a:gd name="T62" fmla="*/ 15 w 95"/>
                <a:gd name="T63" fmla="*/ 111 h 190"/>
                <a:gd name="T64" fmla="*/ 10 w 95"/>
                <a:gd name="T65" fmla="*/ 113 h 190"/>
                <a:gd name="T66" fmla="*/ 0 w 95"/>
                <a:gd name="T67" fmla="*/ 119 h 190"/>
                <a:gd name="T68" fmla="*/ 14 w 95"/>
                <a:gd name="T69" fmla="*/ 113 h 190"/>
                <a:gd name="T70" fmla="*/ 9 w 95"/>
                <a:gd name="T71" fmla="*/ 115 h 190"/>
                <a:gd name="T72" fmla="*/ 6 w 95"/>
                <a:gd name="T73" fmla="*/ 119 h 190"/>
                <a:gd name="T74" fmla="*/ 13 w 95"/>
                <a:gd name="T75" fmla="*/ 131 h 190"/>
                <a:gd name="T76" fmla="*/ 25 w 95"/>
                <a:gd name="T77" fmla="*/ 138 h 190"/>
                <a:gd name="T78" fmla="*/ 34 w 95"/>
                <a:gd name="T79" fmla="*/ 140 h 190"/>
                <a:gd name="T80" fmla="*/ 45 w 95"/>
                <a:gd name="T81" fmla="*/ 135 h 190"/>
                <a:gd name="T82" fmla="*/ 51 w 95"/>
                <a:gd name="T83" fmla="*/ 135 h 190"/>
                <a:gd name="T84" fmla="*/ 46 w 95"/>
                <a:gd name="T85" fmla="*/ 145 h 190"/>
                <a:gd name="T86" fmla="*/ 31 w 95"/>
                <a:gd name="T87" fmla="*/ 150 h 190"/>
                <a:gd name="T88" fmla="*/ 23 w 95"/>
                <a:gd name="T89" fmla="*/ 149 h 190"/>
                <a:gd name="T90" fmla="*/ 20 w 95"/>
                <a:gd name="T91" fmla="*/ 155 h 190"/>
                <a:gd name="T92" fmla="*/ 27 w 95"/>
                <a:gd name="T93" fmla="*/ 162 h 190"/>
                <a:gd name="T94" fmla="*/ 41 w 95"/>
                <a:gd name="T95" fmla="*/ 175 h 190"/>
                <a:gd name="T96" fmla="*/ 50 w 95"/>
                <a:gd name="T97" fmla="*/ 185 h 190"/>
                <a:gd name="T98" fmla="*/ 64 w 95"/>
                <a:gd name="T99" fmla="*/ 190 h 190"/>
                <a:gd name="T100" fmla="*/ 76 w 95"/>
                <a:gd name="T101" fmla="*/ 185 h 190"/>
                <a:gd name="T102" fmla="*/ 95 w 95"/>
                <a:gd name="T103" fmla="*/ 172 h 190"/>
                <a:gd name="T104" fmla="*/ 89 w 95"/>
                <a:gd name="T105" fmla="*/ 162 h 190"/>
                <a:gd name="T106" fmla="*/ 93 w 95"/>
                <a:gd name="T107" fmla="*/ 162 h 190"/>
                <a:gd name="T108" fmla="*/ 95 w 95"/>
                <a:gd name="T109" fmla="*/ 157 h 190"/>
                <a:gd name="T110" fmla="*/ 93 w 95"/>
                <a:gd name="T111" fmla="*/ 152 h 190"/>
                <a:gd name="T112" fmla="*/ 95 w 95"/>
                <a:gd name="T113"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190">
                  <a:moveTo>
                    <a:pt x="95" y="0"/>
                  </a:moveTo>
                  <a:cubicBezTo>
                    <a:pt x="85" y="13"/>
                    <a:pt x="85" y="13"/>
                    <a:pt x="85" y="13"/>
                  </a:cubicBezTo>
                  <a:cubicBezTo>
                    <a:pt x="84" y="13"/>
                    <a:pt x="83" y="14"/>
                    <a:pt x="82" y="14"/>
                  </a:cubicBezTo>
                  <a:cubicBezTo>
                    <a:pt x="81" y="14"/>
                    <a:pt x="79" y="15"/>
                    <a:pt x="76" y="15"/>
                  </a:cubicBezTo>
                  <a:cubicBezTo>
                    <a:pt x="76" y="15"/>
                    <a:pt x="76" y="15"/>
                    <a:pt x="76" y="15"/>
                  </a:cubicBezTo>
                  <a:cubicBezTo>
                    <a:pt x="75" y="15"/>
                    <a:pt x="75" y="15"/>
                    <a:pt x="74" y="15"/>
                  </a:cubicBezTo>
                  <a:cubicBezTo>
                    <a:pt x="74" y="15"/>
                    <a:pt x="73" y="15"/>
                    <a:pt x="73" y="15"/>
                  </a:cubicBezTo>
                  <a:cubicBezTo>
                    <a:pt x="72" y="16"/>
                    <a:pt x="72" y="16"/>
                    <a:pt x="72" y="16"/>
                  </a:cubicBezTo>
                  <a:cubicBezTo>
                    <a:pt x="72" y="15"/>
                    <a:pt x="72" y="15"/>
                    <a:pt x="72" y="15"/>
                  </a:cubicBezTo>
                  <a:cubicBezTo>
                    <a:pt x="70" y="16"/>
                    <a:pt x="68" y="16"/>
                    <a:pt x="67" y="17"/>
                  </a:cubicBezTo>
                  <a:cubicBezTo>
                    <a:pt x="66" y="18"/>
                    <a:pt x="66" y="18"/>
                    <a:pt x="66" y="18"/>
                  </a:cubicBezTo>
                  <a:cubicBezTo>
                    <a:pt x="65" y="18"/>
                    <a:pt x="64" y="18"/>
                    <a:pt x="63" y="18"/>
                  </a:cubicBezTo>
                  <a:cubicBezTo>
                    <a:pt x="61" y="18"/>
                    <a:pt x="60" y="18"/>
                    <a:pt x="59" y="17"/>
                  </a:cubicBezTo>
                  <a:cubicBezTo>
                    <a:pt x="59" y="17"/>
                    <a:pt x="59" y="17"/>
                    <a:pt x="59" y="17"/>
                  </a:cubicBezTo>
                  <a:cubicBezTo>
                    <a:pt x="58" y="16"/>
                    <a:pt x="58" y="16"/>
                    <a:pt x="58" y="16"/>
                  </a:cubicBezTo>
                  <a:cubicBezTo>
                    <a:pt x="57" y="15"/>
                    <a:pt x="56" y="14"/>
                    <a:pt x="56" y="13"/>
                  </a:cubicBezTo>
                  <a:cubicBezTo>
                    <a:pt x="56" y="12"/>
                    <a:pt x="55" y="12"/>
                    <a:pt x="55" y="11"/>
                  </a:cubicBezTo>
                  <a:cubicBezTo>
                    <a:pt x="55" y="11"/>
                    <a:pt x="55" y="11"/>
                    <a:pt x="55" y="11"/>
                  </a:cubicBezTo>
                  <a:cubicBezTo>
                    <a:pt x="54" y="11"/>
                    <a:pt x="54" y="11"/>
                    <a:pt x="54" y="11"/>
                  </a:cubicBezTo>
                  <a:cubicBezTo>
                    <a:pt x="54" y="10"/>
                    <a:pt x="54" y="10"/>
                    <a:pt x="54" y="10"/>
                  </a:cubicBezTo>
                  <a:cubicBezTo>
                    <a:pt x="53" y="10"/>
                    <a:pt x="53" y="10"/>
                    <a:pt x="53" y="10"/>
                  </a:cubicBezTo>
                  <a:cubicBezTo>
                    <a:pt x="53" y="11"/>
                    <a:pt x="53" y="11"/>
                    <a:pt x="53" y="11"/>
                  </a:cubicBezTo>
                  <a:cubicBezTo>
                    <a:pt x="52" y="11"/>
                    <a:pt x="52" y="11"/>
                    <a:pt x="52" y="11"/>
                  </a:cubicBezTo>
                  <a:cubicBezTo>
                    <a:pt x="51" y="12"/>
                    <a:pt x="51" y="12"/>
                    <a:pt x="51" y="12"/>
                  </a:cubicBezTo>
                  <a:cubicBezTo>
                    <a:pt x="51" y="12"/>
                    <a:pt x="51" y="12"/>
                    <a:pt x="51" y="12"/>
                  </a:cubicBezTo>
                  <a:cubicBezTo>
                    <a:pt x="50" y="13"/>
                    <a:pt x="50" y="13"/>
                    <a:pt x="50" y="13"/>
                  </a:cubicBezTo>
                  <a:cubicBezTo>
                    <a:pt x="48" y="15"/>
                    <a:pt x="48" y="15"/>
                    <a:pt x="48" y="15"/>
                  </a:cubicBezTo>
                  <a:cubicBezTo>
                    <a:pt x="48" y="15"/>
                    <a:pt x="48" y="15"/>
                    <a:pt x="48" y="15"/>
                  </a:cubicBezTo>
                  <a:cubicBezTo>
                    <a:pt x="47" y="16"/>
                    <a:pt x="47" y="16"/>
                    <a:pt x="47" y="16"/>
                  </a:cubicBezTo>
                  <a:cubicBezTo>
                    <a:pt x="47" y="17"/>
                    <a:pt x="46" y="17"/>
                    <a:pt x="46" y="18"/>
                  </a:cubicBezTo>
                  <a:cubicBezTo>
                    <a:pt x="45" y="19"/>
                    <a:pt x="43" y="21"/>
                    <a:pt x="42" y="22"/>
                  </a:cubicBezTo>
                  <a:cubicBezTo>
                    <a:pt x="40" y="25"/>
                    <a:pt x="37" y="28"/>
                    <a:pt x="35" y="31"/>
                  </a:cubicBezTo>
                  <a:cubicBezTo>
                    <a:pt x="33" y="34"/>
                    <a:pt x="33" y="36"/>
                    <a:pt x="33" y="38"/>
                  </a:cubicBezTo>
                  <a:cubicBezTo>
                    <a:pt x="33" y="38"/>
                    <a:pt x="33" y="38"/>
                    <a:pt x="33" y="38"/>
                  </a:cubicBezTo>
                  <a:cubicBezTo>
                    <a:pt x="34" y="39"/>
                    <a:pt x="35" y="40"/>
                    <a:pt x="37" y="40"/>
                  </a:cubicBezTo>
                  <a:cubicBezTo>
                    <a:pt x="38" y="41"/>
                    <a:pt x="38" y="41"/>
                    <a:pt x="38" y="41"/>
                  </a:cubicBezTo>
                  <a:cubicBezTo>
                    <a:pt x="39" y="41"/>
                    <a:pt x="41" y="41"/>
                    <a:pt x="42" y="41"/>
                  </a:cubicBezTo>
                  <a:cubicBezTo>
                    <a:pt x="43" y="41"/>
                    <a:pt x="43" y="41"/>
                    <a:pt x="44" y="41"/>
                  </a:cubicBezTo>
                  <a:cubicBezTo>
                    <a:pt x="45" y="41"/>
                    <a:pt x="46" y="42"/>
                    <a:pt x="47" y="42"/>
                  </a:cubicBezTo>
                  <a:cubicBezTo>
                    <a:pt x="48" y="43"/>
                    <a:pt x="49" y="45"/>
                    <a:pt x="49" y="46"/>
                  </a:cubicBezTo>
                  <a:cubicBezTo>
                    <a:pt x="49" y="48"/>
                    <a:pt x="49" y="50"/>
                    <a:pt x="49" y="52"/>
                  </a:cubicBezTo>
                  <a:cubicBezTo>
                    <a:pt x="49" y="54"/>
                    <a:pt x="48" y="55"/>
                    <a:pt x="49" y="57"/>
                  </a:cubicBezTo>
                  <a:cubicBezTo>
                    <a:pt x="49" y="57"/>
                    <a:pt x="49" y="58"/>
                    <a:pt x="49" y="58"/>
                  </a:cubicBezTo>
                  <a:cubicBezTo>
                    <a:pt x="49" y="59"/>
                    <a:pt x="49" y="59"/>
                    <a:pt x="49" y="59"/>
                  </a:cubicBezTo>
                  <a:cubicBezTo>
                    <a:pt x="50" y="61"/>
                    <a:pt x="50" y="63"/>
                    <a:pt x="51" y="63"/>
                  </a:cubicBezTo>
                  <a:cubicBezTo>
                    <a:pt x="52" y="64"/>
                    <a:pt x="52" y="64"/>
                    <a:pt x="52" y="64"/>
                  </a:cubicBezTo>
                  <a:cubicBezTo>
                    <a:pt x="52" y="64"/>
                    <a:pt x="52" y="64"/>
                    <a:pt x="53" y="64"/>
                  </a:cubicBezTo>
                  <a:cubicBezTo>
                    <a:pt x="53" y="64"/>
                    <a:pt x="53" y="64"/>
                    <a:pt x="53" y="64"/>
                  </a:cubicBezTo>
                  <a:cubicBezTo>
                    <a:pt x="54" y="64"/>
                    <a:pt x="54" y="64"/>
                    <a:pt x="54" y="64"/>
                  </a:cubicBezTo>
                  <a:cubicBezTo>
                    <a:pt x="54" y="64"/>
                    <a:pt x="54" y="64"/>
                    <a:pt x="54" y="64"/>
                  </a:cubicBezTo>
                  <a:cubicBezTo>
                    <a:pt x="54" y="64"/>
                    <a:pt x="54" y="64"/>
                    <a:pt x="54" y="64"/>
                  </a:cubicBezTo>
                  <a:cubicBezTo>
                    <a:pt x="55" y="63"/>
                    <a:pt x="55" y="63"/>
                    <a:pt x="55" y="63"/>
                  </a:cubicBezTo>
                  <a:cubicBezTo>
                    <a:pt x="56" y="63"/>
                    <a:pt x="56" y="63"/>
                    <a:pt x="57" y="63"/>
                  </a:cubicBezTo>
                  <a:cubicBezTo>
                    <a:pt x="57" y="63"/>
                    <a:pt x="57" y="63"/>
                    <a:pt x="57" y="63"/>
                  </a:cubicBezTo>
                  <a:cubicBezTo>
                    <a:pt x="59" y="64"/>
                    <a:pt x="60" y="65"/>
                    <a:pt x="61" y="67"/>
                  </a:cubicBezTo>
                  <a:cubicBezTo>
                    <a:pt x="61" y="68"/>
                    <a:pt x="62" y="69"/>
                    <a:pt x="62" y="70"/>
                  </a:cubicBezTo>
                  <a:cubicBezTo>
                    <a:pt x="62" y="71"/>
                    <a:pt x="62" y="73"/>
                    <a:pt x="63" y="74"/>
                  </a:cubicBezTo>
                  <a:cubicBezTo>
                    <a:pt x="63" y="75"/>
                    <a:pt x="63" y="75"/>
                    <a:pt x="64" y="76"/>
                  </a:cubicBezTo>
                  <a:cubicBezTo>
                    <a:pt x="64" y="77"/>
                    <a:pt x="64" y="77"/>
                    <a:pt x="64" y="77"/>
                  </a:cubicBezTo>
                  <a:cubicBezTo>
                    <a:pt x="64" y="77"/>
                    <a:pt x="64" y="77"/>
                    <a:pt x="64" y="77"/>
                  </a:cubicBezTo>
                  <a:cubicBezTo>
                    <a:pt x="69" y="88"/>
                    <a:pt x="69" y="88"/>
                    <a:pt x="69" y="88"/>
                  </a:cubicBezTo>
                  <a:cubicBezTo>
                    <a:pt x="70" y="89"/>
                    <a:pt x="70" y="90"/>
                    <a:pt x="70" y="92"/>
                  </a:cubicBezTo>
                  <a:cubicBezTo>
                    <a:pt x="70" y="93"/>
                    <a:pt x="69" y="94"/>
                    <a:pt x="69" y="94"/>
                  </a:cubicBezTo>
                  <a:cubicBezTo>
                    <a:pt x="69" y="95"/>
                    <a:pt x="69" y="95"/>
                    <a:pt x="69" y="95"/>
                  </a:cubicBezTo>
                  <a:cubicBezTo>
                    <a:pt x="69" y="96"/>
                    <a:pt x="69" y="96"/>
                    <a:pt x="69" y="96"/>
                  </a:cubicBezTo>
                  <a:cubicBezTo>
                    <a:pt x="70" y="96"/>
                    <a:pt x="70" y="96"/>
                    <a:pt x="70" y="96"/>
                  </a:cubicBezTo>
                  <a:cubicBezTo>
                    <a:pt x="71" y="97"/>
                    <a:pt x="71" y="97"/>
                    <a:pt x="71" y="97"/>
                  </a:cubicBezTo>
                  <a:cubicBezTo>
                    <a:pt x="71" y="98"/>
                    <a:pt x="71" y="98"/>
                    <a:pt x="71" y="98"/>
                  </a:cubicBezTo>
                  <a:cubicBezTo>
                    <a:pt x="71" y="100"/>
                    <a:pt x="69" y="101"/>
                    <a:pt x="69" y="101"/>
                  </a:cubicBezTo>
                  <a:cubicBezTo>
                    <a:pt x="68" y="102"/>
                    <a:pt x="67" y="102"/>
                    <a:pt x="67" y="103"/>
                  </a:cubicBezTo>
                  <a:cubicBezTo>
                    <a:pt x="66" y="103"/>
                    <a:pt x="66" y="103"/>
                    <a:pt x="65" y="103"/>
                  </a:cubicBezTo>
                  <a:cubicBezTo>
                    <a:pt x="65" y="103"/>
                    <a:pt x="65" y="103"/>
                    <a:pt x="65" y="103"/>
                  </a:cubicBezTo>
                  <a:cubicBezTo>
                    <a:pt x="65" y="103"/>
                    <a:pt x="65" y="103"/>
                    <a:pt x="65" y="103"/>
                  </a:cubicBezTo>
                  <a:cubicBezTo>
                    <a:pt x="65" y="104"/>
                    <a:pt x="65" y="104"/>
                    <a:pt x="65" y="104"/>
                  </a:cubicBezTo>
                  <a:cubicBezTo>
                    <a:pt x="64" y="105"/>
                    <a:pt x="64" y="105"/>
                    <a:pt x="64" y="105"/>
                  </a:cubicBezTo>
                  <a:cubicBezTo>
                    <a:pt x="63" y="105"/>
                    <a:pt x="62" y="105"/>
                    <a:pt x="61" y="105"/>
                  </a:cubicBezTo>
                  <a:cubicBezTo>
                    <a:pt x="60" y="105"/>
                    <a:pt x="60" y="105"/>
                    <a:pt x="60" y="105"/>
                  </a:cubicBezTo>
                  <a:cubicBezTo>
                    <a:pt x="58" y="105"/>
                    <a:pt x="57" y="104"/>
                    <a:pt x="55" y="103"/>
                  </a:cubicBezTo>
                  <a:cubicBezTo>
                    <a:pt x="55" y="103"/>
                    <a:pt x="55" y="103"/>
                    <a:pt x="54" y="102"/>
                  </a:cubicBezTo>
                  <a:cubicBezTo>
                    <a:pt x="54" y="102"/>
                    <a:pt x="54" y="102"/>
                    <a:pt x="54" y="102"/>
                  </a:cubicBezTo>
                  <a:cubicBezTo>
                    <a:pt x="54" y="102"/>
                    <a:pt x="54" y="102"/>
                    <a:pt x="54" y="102"/>
                  </a:cubicBezTo>
                  <a:cubicBezTo>
                    <a:pt x="52" y="102"/>
                    <a:pt x="52" y="102"/>
                    <a:pt x="52" y="102"/>
                  </a:cubicBezTo>
                  <a:cubicBezTo>
                    <a:pt x="50" y="103"/>
                    <a:pt x="48" y="103"/>
                    <a:pt x="47" y="104"/>
                  </a:cubicBezTo>
                  <a:cubicBezTo>
                    <a:pt x="47" y="104"/>
                    <a:pt x="47" y="104"/>
                    <a:pt x="47" y="104"/>
                  </a:cubicBezTo>
                  <a:cubicBezTo>
                    <a:pt x="46" y="106"/>
                    <a:pt x="46" y="106"/>
                    <a:pt x="46" y="106"/>
                  </a:cubicBezTo>
                  <a:cubicBezTo>
                    <a:pt x="45" y="107"/>
                    <a:pt x="45" y="107"/>
                    <a:pt x="45" y="107"/>
                  </a:cubicBezTo>
                  <a:cubicBezTo>
                    <a:pt x="44" y="107"/>
                    <a:pt x="42" y="107"/>
                    <a:pt x="41" y="107"/>
                  </a:cubicBezTo>
                  <a:cubicBezTo>
                    <a:pt x="41" y="107"/>
                    <a:pt x="40" y="107"/>
                    <a:pt x="40" y="107"/>
                  </a:cubicBezTo>
                  <a:cubicBezTo>
                    <a:pt x="38" y="107"/>
                    <a:pt x="37" y="107"/>
                    <a:pt x="36" y="107"/>
                  </a:cubicBezTo>
                  <a:cubicBezTo>
                    <a:pt x="36" y="107"/>
                    <a:pt x="35" y="107"/>
                    <a:pt x="34" y="106"/>
                  </a:cubicBezTo>
                  <a:cubicBezTo>
                    <a:pt x="27" y="106"/>
                    <a:pt x="27" y="106"/>
                    <a:pt x="27" y="106"/>
                  </a:cubicBezTo>
                  <a:cubicBezTo>
                    <a:pt x="23" y="105"/>
                    <a:pt x="20" y="105"/>
                    <a:pt x="16" y="104"/>
                  </a:cubicBezTo>
                  <a:cubicBezTo>
                    <a:pt x="16" y="106"/>
                    <a:pt x="16" y="107"/>
                    <a:pt x="16" y="108"/>
                  </a:cubicBezTo>
                  <a:cubicBezTo>
                    <a:pt x="16" y="109"/>
                    <a:pt x="16" y="109"/>
                    <a:pt x="16" y="109"/>
                  </a:cubicBezTo>
                  <a:cubicBezTo>
                    <a:pt x="16" y="109"/>
                    <a:pt x="15" y="110"/>
                    <a:pt x="15" y="110"/>
                  </a:cubicBezTo>
                  <a:cubicBezTo>
                    <a:pt x="15" y="111"/>
                    <a:pt x="15" y="111"/>
                    <a:pt x="15" y="111"/>
                  </a:cubicBezTo>
                  <a:cubicBezTo>
                    <a:pt x="14" y="112"/>
                    <a:pt x="13" y="112"/>
                    <a:pt x="13" y="112"/>
                  </a:cubicBezTo>
                  <a:cubicBezTo>
                    <a:pt x="12" y="113"/>
                    <a:pt x="11" y="113"/>
                    <a:pt x="10" y="113"/>
                  </a:cubicBezTo>
                  <a:cubicBezTo>
                    <a:pt x="10" y="113"/>
                    <a:pt x="10" y="113"/>
                    <a:pt x="10" y="113"/>
                  </a:cubicBezTo>
                  <a:cubicBezTo>
                    <a:pt x="10" y="113"/>
                    <a:pt x="9" y="113"/>
                    <a:pt x="9" y="112"/>
                  </a:cubicBezTo>
                  <a:cubicBezTo>
                    <a:pt x="8" y="112"/>
                    <a:pt x="8" y="112"/>
                    <a:pt x="8" y="112"/>
                  </a:cubicBezTo>
                  <a:cubicBezTo>
                    <a:pt x="0" y="119"/>
                    <a:pt x="0" y="119"/>
                    <a:pt x="0" y="119"/>
                  </a:cubicBezTo>
                  <a:cubicBezTo>
                    <a:pt x="0" y="119"/>
                    <a:pt x="0" y="119"/>
                    <a:pt x="1" y="119"/>
                  </a:cubicBezTo>
                  <a:cubicBezTo>
                    <a:pt x="2" y="119"/>
                    <a:pt x="3" y="119"/>
                    <a:pt x="4" y="118"/>
                  </a:cubicBezTo>
                  <a:cubicBezTo>
                    <a:pt x="7" y="116"/>
                    <a:pt x="10" y="114"/>
                    <a:pt x="14" y="113"/>
                  </a:cubicBezTo>
                  <a:cubicBezTo>
                    <a:pt x="14" y="112"/>
                    <a:pt x="14" y="112"/>
                    <a:pt x="14" y="112"/>
                  </a:cubicBezTo>
                  <a:cubicBezTo>
                    <a:pt x="13" y="113"/>
                    <a:pt x="13" y="113"/>
                    <a:pt x="13" y="113"/>
                  </a:cubicBezTo>
                  <a:cubicBezTo>
                    <a:pt x="12" y="114"/>
                    <a:pt x="11" y="114"/>
                    <a:pt x="9" y="115"/>
                  </a:cubicBezTo>
                  <a:cubicBezTo>
                    <a:pt x="8" y="116"/>
                    <a:pt x="7" y="118"/>
                    <a:pt x="6" y="118"/>
                  </a:cubicBezTo>
                  <a:cubicBezTo>
                    <a:pt x="6" y="118"/>
                    <a:pt x="6" y="118"/>
                    <a:pt x="6" y="118"/>
                  </a:cubicBezTo>
                  <a:cubicBezTo>
                    <a:pt x="6" y="119"/>
                    <a:pt x="6" y="119"/>
                    <a:pt x="6" y="119"/>
                  </a:cubicBezTo>
                  <a:cubicBezTo>
                    <a:pt x="6" y="119"/>
                    <a:pt x="6" y="119"/>
                    <a:pt x="6" y="120"/>
                  </a:cubicBezTo>
                  <a:cubicBezTo>
                    <a:pt x="7" y="122"/>
                    <a:pt x="8" y="124"/>
                    <a:pt x="9" y="126"/>
                  </a:cubicBezTo>
                  <a:cubicBezTo>
                    <a:pt x="10" y="128"/>
                    <a:pt x="11" y="130"/>
                    <a:pt x="13" y="131"/>
                  </a:cubicBezTo>
                  <a:cubicBezTo>
                    <a:pt x="14" y="132"/>
                    <a:pt x="14" y="132"/>
                    <a:pt x="15" y="133"/>
                  </a:cubicBezTo>
                  <a:cubicBezTo>
                    <a:pt x="16" y="134"/>
                    <a:pt x="17" y="134"/>
                    <a:pt x="19" y="135"/>
                  </a:cubicBezTo>
                  <a:cubicBezTo>
                    <a:pt x="21" y="136"/>
                    <a:pt x="23" y="137"/>
                    <a:pt x="25" y="138"/>
                  </a:cubicBezTo>
                  <a:cubicBezTo>
                    <a:pt x="26" y="138"/>
                    <a:pt x="26" y="138"/>
                    <a:pt x="27" y="138"/>
                  </a:cubicBezTo>
                  <a:cubicBezTo>
                    <a:pt x="28" y="139"/>
                    <a:pt x="30" y="139"/>
                    <a:pt x="32" y="140"/>
                  </a:cubicBezTo>
                  <a:cubicBezTo>
                    <a:pt x="33" y="140"/>
                    <a:pt x="34" y="140"/>
                    <a:pt x="34" y="140"/>
                  </a:cubicBezTo>
                  <a:cubicBezTo>
                    <a:pt x="35" y="140"/>
                    <a:pt x="35" y="140"/>
                    <a:pt x="35" y="140"/>
                  </a:cubicBezTo>
                  <a:cubicBezTo>
                    <a:pt x="37" y="140"/>
                    <a:pt x="38" y="138"/>
                    <a:pt x="40" y="137"/>
                  </a:cubicBezTo>
                  <a:cubicBezTo>
                    <a:pt x="42" y="137"/>
                    <a:pt x="46" y="136"/>
                    <a:pt x="45" y="135"/>
                  </a:cubicBezTo>
                  <a:cubicBezTo>
                    <a:pt x="46" y="135"/>
                    <a:pt x="46" y="135"/>
                    <a:pt x="46" y="135"/>
                  </a:cubicBezTo>
                  <a:cubicBezTo>
                    <a:pt x="47" y="135"/>
                    <a:pt x="49" y="136"/>
                    <a:pt x="50" y="136"/>
                  </a:cubicBezTo>
                  <a:cubicBezTo>
                    <a:pt x="50" y="136"/>
                    <a:pt x="51" y="136"/>
                    <a:pt x="51" y="135"/>
                  </a:cubicBezTo>
                  <a:cubicBezTo>
                    <a:pt x="52" y="135"/>
                    <a:pt x="52" y="132"/>
                    <a:pt x="54" y="131"/>
                  </a:cubicBezTo>
                  <a:cubicBezTo>
                    <a:pt x="52" y="133"/>
                    <a:pt x="51" y="137"/>
                    <a:pt x="49" y="141"/>
                  </a:cubicBezTo>
                  <a:cubicBezTo>
                    <a:pt x="48" y="143"/>
                    <a:pt x="47" y="144"/>
                    <a:pt x="46" y="145"/>
                  </a:cubicBezTo>
                  <a:cubicBezTo>
                    <a:pt x="45" y="145"/>
                    <a:pt x="44" y="146"/>
                    <a:pt x="44" y="146"/>
                  </a:cubicBezTo>
                  <a:cubicBezTo>
                    <a:pt x="40" y="148"/>
                    <a:pt x="35" y="149"/>
                    <a:pt x="32" y="150"/>
                  </a:cubicBezTo>
                  <a:cubicBezTo>
                    <a:pt x="32" y="150"/>
                    <a:pt x="31" y="150"/>
                    <a:pt x="31" y="150"/>
                  </a:cubicBezTo>
                  <a:cubicBezTo>
                    <a:pt x="29" y="150"/>
                    <a:pt x="26" y="151"/>
                    <a:pt x="24" y="151"/>
                  </a:cubicBezTo>
                  <a:cubicBezTo>
                    <a:pt x="22" y="151"/>
                    <a:pt x="22" y="151"/>
                    <a:pt x="23" y="149"/>
                  </a:cubicBezTo>
                  <a:cubicBezTo>
                    <a:pt x="23" y="149"/>
                    <a:pt x="23" y="149"/>
                    <a:pt x="23" y="149"/>
                  </a:cubicBezTo>
                  <a:cubicBezTo>
                    <a:pt x="22" y="148"/>
                    <a:pt x="21" y="148"/>
                    <a:pt x="20" y="148"/>
                  </a:cubicBezTo>
                  <a:cubicBezTo>
                    <a:pt x="18" y="148"/>
                    <a:pt x="17" y="150"/>
                    <a:pt x="19" y="153"/>
                  </a:cubicBezTo>
                  <a:cubicBezTo>
                    <a:pt x="19" y="154"/>
                    <a:pt x="19" y="154"/>
                    <a:pt x="20" y="155"/>
                  </a:cubicBezTo>
                  <a:cubicBezTo>
                    <a:pt x="21" y="156"/>
                    <a:pt x="22" y="157"/>
                    <a:pt x="23" y="158"/>
                  </a:cubicBezTo>
                  <a:cubicBezTo>
                    <a:pt x="24" y="159"/>
                    <a:pt x="25" y="160"/>
                    <a:pt x="26" y="161"/>
                  </a:cubicBezTo>
                  <a:cubicBezTo>
                    <a:pt x="26" y="162"/>
                    <a:pt x="27" y="162"/>
                    <a:pt x="27" y="162"/>
                  </a:cubicBezTo>
                  <a:cubicBezTo>
                    <a:pt x="29" y="164"/>
                    <a:pt x="31" y="165"/>
                    <a:pt x="32" y="167"/>
                  </a:cubicBezTo>
                  <a:cubicBezTo>
                    <a:pt x="34" y="168"/>
                    <a:pt x="35" y="170"/>
                    <a:pt x="37" y="171"/>
                  </a:cubicBezTo>
                  <a:cubicBezTo>
                    <a:pt x="38" y="173"/>
                    <a:pt x="39" y="174"/>
                    <a:pt x="41" y="175"/>
                  </a:cubicBezTo>
                  <a:cubicBezTo>
                    <a:pt x="41" y="176"/>
                    <a:pt x="41" y="176"/>
                    <a:pt x="41" y="176"/>
                  </a:cubicBezTo>
                  <a:cubicBezTo>
                    <a:pt x="43" y="177"/>
                    <a:pt x="44" y="179"/>
                    <a:pt x="46" y="181"/>
                  </a:cubicBezTo>
                  <a:cubicBezTo>
                    <a:pt x="47" y="182"/>
                    <a:pt x="49" y="184"/>
                    <a:pt x="50" y="185"/>
                  </a:cubicBezTo>
                  <a:cubicBezTo>
                    <a:pt x="52" y="187"/>
                    <a:pt x="54" y="188"/>
                    <a:pt x="55" y="188"/>
                  </a:cubicBezTo>
                  <a:cubicBezTo>
                    <a:pt x="55" y="188"/>
                    <a:pt x="56" y="188"/>
                    <a:pt x="56" y="188"/>
                  </a:cubicBezTo>
                  <a:cubicBezTo>
                    <a:pt x="58" y="189"/>
                    <a:pt x="62" y="190"/>
                    <a:pt x="64" y="190"/>
                  </a:cubicBezTo>
                  <a:cubicBezTo>
                    <a:pt x="64" y="190"/>
                    <a:pt x="64" y="190"/>
                    <a:pt x="65" y="190"/>
                  </a:cubicBezTo>
                  <a:cubicBezTo>
                    <a:pt x="65" y="190"/>
                    <a:pt x="65" y="190"/>
                    <a:pt x="65" y="190"/>
                  </a:cubicBezTo>
                  <a:cubicBezTo>
                    <a:pt x="69" y="188"/>
                    <a:pt x="73" y="187"/>
                    <a:pt x="76" y="185"/>
                  </a:cubicBezTo>
                  <a:cubicBezTo>
                    <a:pt x="77" y="185"/>
                    <a:pt x="77" y="185"/>
                    <a:pt x="78" y="185"/>
                  </a:cubicBezTo>
                  <a:cubicBezTo>
                    <a:pt x="83" y="183"/>
                    <a:pt x="89" y="181"/>
                    <a:pt x="92" y="178"/>
                  </a:cubicBezTo>
                  <a:cubicBezTo>
                    <a:pt x="93" y="176"/>
                    <a:pt x="94" y="174"/>
                    <a:pt x="95" y="172"/>
                  </a:cubicBezTo>
                  <a:cubicBezTo>
                    <a:pt x="95" y="165"/>
                    <a:pt x="95" y="165"/>
                    <a:pt x="95" y="165"/>
                  </a:cubicBezTo>
                  <a:cubicBezTo>
                    <a:pt x="93" y="164"/>
                    <a:pt x="92" y="164"/>
                    <a:pt x="91" y="163"/>
                  </a:cubicBezTo>
                  <a:cubicBezTo>
                    <a:pt x="90" y="163"/>
                    <a:pt x="90" y="163"/>
                    <a:pt x="89" y="162"/>
                  </a:cubicBezTo>
                  <a:cubicBezTo>
                    <a:pt x="90" y="161"/>
                    <a:pt x="91" y="161"/>
                    <a:pt x="91" y="161"/>
                  </a:cubicBezTo>
                  <a:cubicBezTo>
                    <a:pt x="92" y="161"/>
                    <a:pt x="92" y="161"/>
                    <a:pt x="92" y="161"/>
                  </a:cubicBezTo>
                  <a:cubicBezTo>
                    <a:pt x="93" y="162"/>
                    <a:pt x="93" y="162"/>
                    <a:pt x="93" y="162"/>
                  </a:cubicBezTo>
                  <a:cubicBezTo>
                    <a:pt x="93" y="162"/>
                    <a:pt x="93" y="161"/>
                    <a:pt x="93" y="161"/>
                  </a:cubicBezTo>
                  <a:cubicBezTo>
                    <a:pt x="92" y="161"/>
                    <a:pt x="92" y="160"/>
                    <a:pt x="91" y="159"/>
                  </a:cubicBezTo>
                  <a:cubicBezTo>
                    <a:pt x="92" y="159"/>
                    <a:pt x="93" y="158"/>
                    <a:pt x="95" y="157"/>
                  </a:cubicBezTo>
                  <a:cubicBezTo>
                    <a:pt x="95" y="152"/>
                    <a:pt x="95" y="152"/>
                    <a:pt x="95" y="152"/>
                  </a:cubicBezTo>
                  <a:cubicBezTo>
                    <a:pt x="94" y="152"/>
                    <a:pt x="94" y="152"/>
                    <a:pt x="93" y="152"/>
                  </a:cubicBezTo>
                  <a:cubicBezTo>
                    <a:pt x="93" y="152"/>
                    <a:pt x="93" y="152"/>
                    <a:pt x="93" y="152"/>
                  </a:cubicBezTo>
                  <a:cubicBezTo>
                    <a:pt x="93" y="152"/>
                    <a:pt x="93" y="152"/>
                    <a:pt x="93" y="152"/>
                  </a:cubicBezTo>
                  <a:cubicBezTo>
                    <a:pt x="94" y="152"/>
                    <a:pt x="94" y="152"/>
                    <a:pt x="95" y="152"/>
                  </a:cubicBezTo>
                  <a:cubicBezTo>
                    <a:pt x="95" y="0"/>
                    <a:pt x="95" y="0"/>
                    <a:pt x="9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2" name="Rectangle 281">
              <a:extLst>
                <a:ext uri="{FF2B5EF4-FFF2-40B4-BE49-F238E27FC236}">
                  <a16:creationId xmlns:a16="http://schemas.microsoft.com/office/drawing/2014/main" id="{147EB560-7622-4886-BF0F-22DDB84B553A}"/>
                </a:ext>
              </a:extLst>
            </p:cNvPr>
            <p:cNvSpPr>
              <a:spLocks noChangeArrowheads="1"/>
            </p:cNvSpPr>
            <p:nvPr/>
          </p:nvSpPr>
          <p:spPr bwMode="auto">
            <a:xfrm>
              <a:off x="7451" y="141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3" name="Freeform 282">
              <a:extLst>
                <a:ext uri="{FF2B5EF4-FFF2-40B4-BE49-F238E27FC236}">
                  <a16:creationId xmlns:a16="http://schemas.microsoft.com/office/drawing/2014/main" id="{8BEA524C-D284-428C-8BDB-66F0211A1450}"/>
                </a:ext>
              </a:extLst>
            </p:cNvPr>
            <p:cNvSpPr>
              <a:spLocks/>
            </p:cNvSpPr>
            <p:nvPr/>
          </p:nvSpPr>
          <p:spPr bwMode="auto">
            <a:xfrm>
              <a:off x="7451" y="141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4" name="Rectangle 283">
              <a:extLst>
                <a:ext uri="{FF2B5EF4-FFF2-40B4-BE49-F238E27FC236}">
                  <a16:creationId xmlns:a16="http://schemas.microsoft.com/office/drawing/2014/main" id="{8C1E82E1-06A0-488E-B169-6C8E3015DAB4}"/>
                </a:ext>
              </a:extLst>
            </p:cNvPr>
            <p:cNvSpPr>
              <a:spLocks noChangeArrowheads="1"/>
            </p:cNvSpPr>
            <p:nvPr/>
          </p:nvSpPr>
          <p:spPr bwMode="auto">
            <a:xfrm>
              <a:off x="7489" y="93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5" name="Freeform 284">
              <a:extLst>
                <a:ext uri="{FF2B5EF4-FFF2-40B4-BE49-F238E27FC236}">
                  <a16:creationId xmlns:a16="http://schemas.microsoft.com/office/drawing/2014/main" id="{34BECD01-9231-4C6E-8B1F-9E1645441DD3}"/>
                </a:ext>
              </a:extLst>
            </p:cNvPr>
            <p:cNvSpPr>
              <a:spLocks/>
            </p:cNvSpPr>
            <p:nvPr/>
          </p:nvSpPr>
          <p:spPr bwMode="auto">
            <a:xfrm>
              <a:off x="7489" y="93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6" name="Freeform 285">
              <a:extLst>
                <a:ext uri="{FF2B5EF4-FFF2-40B4-BE49-F238E27FC236}">
                  <a16:creationId xmlns:a16="http://schemas.microsoft.com/office/drawing/2014/main" id="{8137FF34-74D8-497B-800C-CA69C6EC1406}"/>
                </a:ext>
              </a:extLst>
            </p:cNvPr>
            <p:cNvSpPr>
              <a:spLocks noEditPoints="1"/>
            </p:cNvSpPr>
            <p:nvPr/>
          </p:nvSpPr>
          <p:spPr bwMode="auto">
            <a:xfrm>
              <a:off x="7062" y="630"/>
              <a:ext cx="616" cy="780"/>
            </a:xfrm>
            <a:custGeom>
              <a:avLst/>
              <a:gdLst>
                <a:gd name="T0" fmla="*/ 254 w 261"/>
                <a:gd name="T1" fmla="*/ 4 h 330"/>
                <a:gd name="T2" fmla="*/ 244 w 261"/>
                <a:gd name="T3" fmla="*/ 17 h 330"/>
                <a:gd name="T4" fmla="*/ 247 w 261"/>
                <a:gd name="T5" fmla="*/ 23 h 330"/>
                <a:gd name="T6" fmla="*/ 250 w 261"/>
                <a:gd name="T7" fmla="*/ 35 h 330"/>
                <a:gd name="T8" fmla="*/ 241 w 261"/>
                <a:gd name="T9" fmla="*/ 45 h 330"/>
                <a:gd name="T10" fmla="*/ 236 w 261"/>
                <a:gd name="T11" fmla="*/ 55 h 330"/>
                <a:gd name="T12" fmla="*/ 236 w 261"/>
                <a:gd name="T13" fmla="*/ 64 h 330"/>
                <a:gd name="T14" fmla="*/ 209 w 261"/>
                <a:gd name="T15" fmla="*/ 69 h 330"/>
                <a:gd name="T16" fmla="*/ 216 w 261"/>
                <a:gd name="T17" fmla="*/ 88 h 330"/>
                <a:gd name="T18" fmla="*/ 204 w 261"/>
                <a:gd name="T19" fmla="*/ 94 h 330"/>
                <a:gd name="T20" fmla="*/ 200 w 261"/>
                <a:gd name="T21" fmla="*/ 93 h 330"/>
                <a:gd name="T22" fmla="*/ 198 w 261"/>
                <a:gd name="T23" fmla="*/ 103 h 330"/>
                <a:gd name="T24" fmla="*/ 193 w 261"/>
                <a:gd name="T25" fmla="*/ 124 h 330"/>
                <a:gd name="T26" fmla="*/ 181 w 261"/>
                <a:gd name="T27" fmla="*/ 131 h 330"/>
                <a:gd name="T28" fmla="*/ 174 w 261"/>
                <a:gd name="T29" fmla="*/ 127 h 330"/>
                <a:gd name="T30" fmla="*/ 167 w 261"/>
                <a:gd name="T31" fmla="*/ 128 h 330"/>
                <a:gd name="T32" fmla="*/ 158 w 261"/>
                <a:gd name="T33" fmla="*/ 138 h 330"/>
                <a:gd name="T34" fmla="*/ 138 w 261"/>
                <a:gd name="T35" fmla="*/ 140 h 330"/>
                <a:gd name="T36" fmla="*/ 131 w 261"/>
                <a:gd name="T37" fmla="*/ 145 h 330"/>
                <a:gd name="T38" fmla="*/ 124 w 261"/>
                <a:gd name="T39" fmla="*/ 160 h 330"/>
                <a:gd name="T40" fmla="*/ 123 w 261"/>
                <a:gd name="T41" fmla="*/ 176 h 330"/>
                <a:gd name="T42" fmla="*/ 88 w 261"/>
                <a:gd name="T43" fmla="*/ 183 h 330"/>
                <a:gd name="T44" fmla="*/ 72 w 261"/>
                <a:gd name="T45" fmla="*/ 188 h 330"/>
                <a:gd name="T46" fmla="*/ 65 w 261"/>
                <a:gd name="T47" fmla="*/ 189 h 330"/>
                <a:gd name="T48" fmla="*/ 47 w 261"/>
                <a:gd name="T49" fmla="*/ 188 h 330"/>
                <a:gd name="T50" fmla="*/ 37 w 261"/>
                <a:gd name="T51" fmla="*/ 189 h 330"/>
                <a:gd name="T52" fmla="*/ 5 w 261"/>
                <a:gd name="T53" fmla="*/ 186 h 330"/>
                <a:gd name="T54" fmla="*/ 29 w 261"/>
                <a:gd name="T55" fmla="*/ 210 h 330"/>
                <a:gd name="T56" fmla="*/ 41 w 261"/>
                <a:gd name="T57" fmla="*/ 224 h 330"/>
                <a:gd name="T58" fmla="*/ 41 w 261"/>
                <a:gd name="T59" fmla="*/ 239 h 330"/>
                <a:gd name="T60" fmla="*/ 51 w 261"/>
                <a:gd name="T61" fmla="*/ 254 h 330"/>
                <a:gd name="T62" fmla="*/ 30 w 261"/>
                <a:gd name="T63" fmla="*/ 262 h 330"/>
                <a:gd name="T64" fmla="*/ 19 w 261"/>
                <a:gd name="T65" fmla="*/ 272 h 330"/>
                <a:gd name="T66" fmla="*/ 15 w 261"/>
                <a:gd name="T67" fmla="*/ 297 h 330"/>
                <a:gd name="T68" fmla="*/ 39 w 261"/>
                <a:gd name="T69" fmla="*/ 292 h 330"/>
                <a:gd name="T70" fmla="*/ 70 w 261"/>
                <a:gd name="T71" fmla="*/ 287 h 330"/>
                <a:gd name="T72" fmla="*/ 84 w 261"/>
                <a:gd name="T73" fmla="*/ 293 h 330"/>
                <a:gd name="T74" fmla="*/ 126 w 261"/>
                <a:gd name="T75" fmla="*/ 287 h 330"/>
                <a:gd name="T76" fmla="*/ 125 w 261"/>
                <a:gd name="T77" fmla="*/ 283 h 330"/>
                <a:gd name="T78" fmla="*/ 138 w 261"/>
                <a:gd name="T79" fmla="*/ 300 h 330"/>
                <a:gd name="T80" fmla="*/ 155 w 261"/>
                <a:gd name="T81" fmla="*/ 321 h 330"/>
                <a:gd name="T82" fmla="*/ 165 w 261"/>
                <a:gd name="T83" fmla="*/ 326 h 330"/>
                <a:gd name="T84" fmla="*/ 176 w 261"/>
                <a:gd name="T85" fmla="*/ 314 h 330"/>
                <a:gd name="T86" fmla="*/ 201 w 261"/>
                <a:gd name="T87" fmla="*/ 315 h 330"/>
                <a:gd name="T88" fmla="*/ 209 w 261"/>
                <a:gd name="T89" fmla="*/ 314 h 330"/>
                <a:gd name="T90" fmla="*/ 225 w 261"/>
                <a:gd name="T91" fmla="*/ 311 h 330"/>
                <a:gd name="T92" fmla="*/ 229 w 261"/>
                <a:gd name="T93" fmla="*/ 309 h 330"/>
                <a:gd name="T94" fmla="*/ 221 w 261"/>
                <a:gd name="T95" fmla="*/ 296 h 330"/>
                <a:gd name="T96" fmla="*/ 220 w 261"/>
                <a:gd name="T97" fmla="*/ 284 h 330"/>
                <a:gd name="T98" fmla="*/ 214 w 261"/>
                <a:gd name="T99" fmla="*/ 282 h 330"/>
                <a:gd name="T100" fmla="*/ 209 w 261"/>
                <a:gd name="T101" fmla="*/ 264 h 330"/>
                <a:gd name="T102" fmla="*/ 203 w 261"/>
                <a:gd name="T103" fmla="*/ 265 h 330"/>
                <a:gd name="T104" fmla="*/ 204 w 261"/>
                <a:gd name="T105" fmla="*/ 232 h 330"/>
                <a:gd name="T106" fmla="*/ 212 w 261"/>
                <a:gd name="T107" fmla="*/ 223 h 330"/>
                <a:gd name="T108" fmla="*/ 216 w 261"/>
                <a:gd name="T109" fmla="*/ 219 h 330"/>
                <a:gd name="T110" fmla="*/ 222 w 261"/>
                <a:gd name="T111" fmla="*/ 219 h 330"/>
                <a:gd name="T112" fmla="*/ 229 w 261"/>
                <a:gd name="T113" fmla="*/ 226 h 330"/>
                <a:gd name="T114" fmla="*/ 238 w 261"/>
                <a:gd name="T115" fmla="*/ 223 h 330"/>
                <a:gd name="T116" fmla="*/ 261 w 261"/>
                <a:gd name="T117" fmla="*/ 20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1" h="330">
                  <a:moveTo>
                    <a:pt x="126" y="287"/>
                  </a:moveTo>
                  <a:cubicBezTo>
                    <a:pt x="126" y="287"/>
                    <a:pt x="126" y="287"/>
                    <a:pt x="126" y="287"/>
                  </a:cubicBezTo>
                  <a:cubicBezTo>
                    <a:pt x="126" y="287"/>
                    <a:pt x="126" y="287"/>
                    <a:pt x="126" y="287"/>
                  </a:cubicBezTo>
                  <a:moveTo>
                    <a:pt x="261" y="0"/>
                  </a:moveTo>
                  <a:cubicBezTo>
                    <a:pt x="259" y="0"/>
                    <a:pt x="259" y="0"/>
                    <a:pt x="259" y="0"/>
                  </a:cubicBezTo>
                  <a:cubicBezTo>
                    <a:pt x="257" y="2"/>
                    <a:pt x="256" y="3"/>
                    <a:pt x="254" y="4"/>
                  </a:cubicBezTo>
                  <a:cubicBezTo>
                    <a:pt x="253" y="4"/>
                    <a:pt x="252" y="5"/>
                    <a:pt x="252" y="5"/>
                  </a:cubicBezTo>
                  <a:cubicBezTo>
                    <a:pt x="251" y="5"/>
                    <a:pt x="251" y="5"/>
                    <a:pt x="251" y="5"/>
                  </a:cubicBezTo>
                  <a:cubicBezTo>
                    <a:pt x="250" y="5"/>
                    <a:pt x="249" y="4"/>
                    <a:pt x="248" y="4"/>
                  </a:cubicBezTo>
                  <a:cubicBezTo>
                    <a:pt x="248" y="4"/>
                    <a:pt x="248" y="4"/>
                    <a:pt x="248" y="4"/>
                  </a:cubicBezTo>
                  <a:cubicBezTo>
                    <a:pt x="245" y="7"/>
                    <a:pt x="243" y="9"/>
                    <a:pt x="240" y="12"/>
                  </a:cubicBezTo>
                  <a:cubicBezTo>
                    <a:pt x="242" y="14"/>
                    <a:pt x="243" y="15"/>
                    <a:pt x="244" y="17"/>
                  </a:cubicBezTo>
                  <a:cubicBezTo>
                    <a:pt x="244" y="17"/>
                    <a:pt x="244" y="18"/>
                    <a:pt x="244" y="18"/>
                  </a:cubicBezTo>
                  <a:cubicBezTo>
                    <a:pt x="244" y="18"/>
                    <a:pt x="245" y="19"/>
                    <a:pt x="245" y="19"/>
                  </a:cubicBezTo>
                  <a:cubicBezTo>
                    <a:pt x="246" y="20"/>
                    <a:pt x="246" y="21"/>
                    <a:pt x="247" y="21"/>
                  </a:cubicBezTo>
                  <a:cubicBezTo>
                    <a:pt x="247" y="22"/>
                    <a:pt x="247" y="22"/>
                    <a:pt x="247" y="22"/>
                  </a:cubicBezTo>
                  <a:cubicBezTo>
                    <a:pt x="250" y="20"/>
                    <a:pt x="250" y="20"/>
                    <a:pt x="250" y="20"/>
                  </a:cubicBezTo>
                  <a:cubicBezTo>
                    <a:pt x="247" y="23"/>
                    <a:pt x="247" y="23"/>
                    <a:pt x="247" y="23"/>
                  </a:cubicBezTo>
                  <a:cubicBezTo>
                    <a:pt x="248" y="24"/>
                    <a:pt x="248" y="24"/>
                    <a:pt x="248" y="24"/>
                  </a:cubicBezTo>
                  <a:cubicBezTo>
                    <a:pt x="249" y="26"/>
                    <a:pt x="249" y="28"/>
                    <a:pt x="249" y="30"/>
                  </a:cubicBezTo>
                  <a:cubicBezTo>
                    <a:pt x="248" y="31"/>
                    <a:pt x="248" y="31"/>
                    <a:pt x="248" y="31"/>
                  </a:cubicBezTo>
                  <a:cubicBezTo>
                    <a:pt x="249" y="32"/>
                    <a:pt x="249" y="32"/>
                    <a:pt x="249" y="32"/>
                  </a:cubicBezTo>
                  <a:cubicBezTo>
                    <a:pt x="249" y="33"/>
                    <a:pt x="249" y="33"/>
                    <a:pt x="249" y="33"/>
                  </a:cubicBezTo>
                  <a:cubicBezTo>
                    <a:pt x="250" y="33"/>
                    <a:pt x="250" y="34"/>
                    <a:pt x="250" y="35"/>
                  </a:cubicBezTo>
                  <a:cubicBezTo>
                    <a:pt x="250" y="36"/>
                    <a:pt x="250" y="36"/>
                    <a:pt x="250" y="36"/>
                  </a:cubicBezTo>
                  <a:cubicBezTo>
                    <a:pt x="249" y="36"/>
                    <a:pt x="249" y="37"/>
                    <a:pt x="249" y="37"/>
                  </a:cubicBezTo>
                  <a:cubicBezTo>
                    <a:pt x="248" y="38"/>
                    <a:pt x="248" y="38"/>
                    <a:pt x="248" y="38"/>
                  </a:cubicBezTo>
                  <a:cubicBezTo>
                    <a:pt x="247" y="39"/>
                    <a:pt x="247" y="39"/>
                    <a:pt x="247" y="39"/>
                  </a:cubicBezTo>
                  <a:cubicBezTo>
                    <a:pt x="246" y="43"/>
                    <a:pt x="244" y="44"/>
                    <a:pt x="243" y="44"/>
                  </a:cubicBezTo>
                  <a:cubicBezTo>
                    <a:pt x="242" y="45"/>
                    <a:pt x="241" y="45"/>
                    <a:pt x="241" y="45"/>
                  </a:cubicBezTo>
                  <a:cubicBezTo>
                    <a:pt x="240" y="46"/>
                    <a:pt x="240" y="46"/>
                    <a:pt x="240" y="47"/>
                  </a:cubicBezTo>
                  <a:cubicBezTo>
                    <a:pt x="239" y="48"/>
                    <a:pt x="238" y="49"/>
                    <a:pt x="237" y="51"/>
                  </a:cubicBezTo>
                  <a:cubicBezTo>
                    <a:pt x="236" y="51"/>
                    <a:pt x="235" y="52"/>
                    <a:pt x="235" y="52"/>
                  </a:cubicBezTo>
                  <a:cubicBezTo>
                    <a:pt x="234" y="53"/>
                    <a:pt x="235" y="53"/>
                    <a:pt x="235" y="53"/>
                  </a:cubicBezTo>
                  <a:cubicBezTo>
                    <a:pt x="235" y="54"/>
                    <a:pt x="236" y="55"/>
                    <a:pt x="236" y="55"/>
                  </a:cubicBezTo>
                  <a:cubicBezTo>
                    <a:pt x="236" y="55"/>
                    <a:pt x="236" y="55"/>
                    <a:pt x="236" y="55"/>
                  </a:cubicBezTo>
                  <a:cubicBezTo>
                    <a:pt x="237" y="56"/>
                    <a:pt x="237" y="56"/>
                    <a:pt x="237" y="57"/>
                  </a:cubicBezTo>
                  <a:cubicBezTo>
                    <a:pt x="238" y="58"/>
                    <a:pt x="238" y="59"/>
                    <a:pt x="238" y="60"/>
                  </a:cubicBezTo>
                  <a:cubicBezTo>
                    <a:pt x="238" y="60"/>
                    <a:pt x="238" y="61"/>
                    <a:pt x="237" y="62"/>
                  </a:cubicBezTo>
                  <a:cubicBezTo>
                    <a:pt x="237" y="63"/>
                    <a:pt x="237" y="63"/>
                    <a:pt x="237" y="63"/>
                  </a:cubicBezTo>
                  <a:cubicBezTo>
                    <a:pt x="237" y="63"/>
                    <a:pt x="237" y="63"/>
                    <a:pt x="237" y="63"/>
                  </a:cubicBezTo>
                  <a:cubicBezTo>
                    <a:pt x="237" y="64"/>
                    <a:pt x="236" y="64"/>
                    <a:pt x="236" y="64"/>
                  </a:cubicBezTo>
                  <a:cubicBezTo>
                    <a:pt x="235" y="66"/>
                    <a:pt x="234" y="67"/>
                    <a:pt x="233" y="68"/>
                  </a:cubicBezTo>
                  <a:cubicBezTo>
                    <a:pt x="230" y="70"/>
                    <a:pt x="226" y="71"/>
                    <a:pt x="222" y="71"/>
                  </a:cubicBezTo>
                  <a:cubicBezTo>
                    <a:pt x="221" y="71"/>
                    <a:pt x="220" y="71"/>
                    <a:pt x="219" y="71"/>
                  </a:cubicBezTo>
                  <a:cubicBezTo>
                    <a:pt x="218" y="71"/>
                    <a:pt x="218" y="71"/>
                    <a:pt x="218" y="71"/>
                  </a:cubicBezTo>
                  <a:cubicBezTo>
                    <a:pt x="217" y="71"/>
                    <a:pt x="216" y="70"/>
                    <a:pt x="215" y="70"/>
                  </a:cubicBezTo>
                  <a:cubicBezTo>
                    <a:pt x="212" y="69"/>
                    <a:pt x="210" y="69"/>
                    <a:pt x="209" y="69"/>
                  </a:cubicBezTo>
                  <a:cubicBezTo>
                    <a:pt x="210" y="71"/>
                    <a:pt x="210" y="71"/>
                    <a:pt x="210" y="71"/>
                  </a:cubicBezTo>
                  <a:cubicBezTo>
                    <a:pt x="211" y="71"/>
                    <a:pt x="212" y="72"/>
                    <a:pt x="212" y="72"/>
                  </a:cubicBezTo>
                  <a:cubicBezTo>
                    <a:pt x="214" y="76"/>
                    <a:pt x="214" y="76"/>
                    <a:pt x="214" y="76"/>
                  </a:cubicBezTo>
                  <a:cubicBezTo>
                    <a:pt x="218" y="82"/>
                    <a:pt x="220" y="85"/>
                    <a:pt x="218" y="87"/>
                  </a:cubicBezTo>
                  <a:cubicBezTo>
                    <a:pt x="217" y="87"/>
                    <a:pt x="217" y="87"/>
                    <a:pt x="217" y="87"/>
                  </a:cubicBezTo>
                  <a:cubicBezTo>
                    <a:pt x="216" y="88"/>
                    <a:pt x="216" y="88"/>
                    <a:pt x="216" y="88"/>
                  </a:cubicBezTo>
                  <a:cubicBezTo>
                    <a:pt x="216" y="88"/>
                    <a:pt x="216" y="88"/>
                    <a:pt x="216" y="88"/>
                  </a:cubicBezTo>
                  <a:cubicBezTo>
                    <a:pt x="214" y="89"/>
                    <a:pt x="211" y="92"/>
                    <a:pt x="208" y="93"/>
                  </a:cubicBezTo>
                  <a:cubicBezTo>
                    <a:pt x="209" y="98"/>
                    <a:pt x="209" y="98"/>
                    <a:pt x="209" y="98"/>
                  </a:cubicBezTo>
                  <a:cubicBezTo>
                    <a:pt x="207" y="93"/>
                    <a:pt x="207" y="93"/>
                    <a:pt x="207" y="93"/>
                  </a:cubicBezTo>
                  <a:cubicBezTo>
                    <a:pt x="206" y="93"/>
                    <a:pt x="206" y="93"/>
                    <a:pt x="206" y="93"/>
                  </a:cubicBezTo>
                  <a:cubicBezTo>
                    <a:pt x="205" y="94"/>
                    <a:pt x="205" y="94"/>
                    <a:pt x="204" y="94"/>
                  </a:cubicBezTo>
                  <a:cubicBezTo>
                    <a:pt x="203" y="94"/>
                    <a:pt x="203" y="94"/>
                    <a:pt x="203" y="94"/>
                  </a:cubicBezTo>
                  <a:cubicBezTo>
                    <a:pt x="203" y="94"/>
                    <a:pt x="203" y="94"/>
                    <a:pt x="203" y="94"/>
                  </a:cubicBezTo>
                  <a:cubicBezTo>
                    <a:pt x="202" y="94"/>
                    <a:pt x="202" y="94"/>
                    <a:pt x="202" y="94"/>
                  </a:cubicBezTo>
                  <a:cubicBezTo>
                    <a:pt x="202" y="94"/>
                    <a:pt x="202" y="94"/>
                    <a:pt x="202" y="94"/>
                  </a:cubicBezTo>
                  <a:cubicBezTo>
                    <a:pt x="202" y="94"/>
                    <a:pt x="201" y="94"/>
                    <a:pt x="201" y="94"/>
                  </a:cubicBezTo>
                  <a:cubicBezTo>
                    <a:pt x="200" y="93"/>
                    <a:pt x="200" y="93"/>
                    <a:pt x="200" y="93"/>
                  </a:cubicBezTo>
                  <a:cubicBezTo>
                    <a:pt x="200" y="94"/>
                    <a:pt x="200" y="94"/>
                    <a:pt x="200" y="94"/>
                  </a:cubicBezTo>
                  <a:cubicBezTo>
                    <a:pt x="200" y="94"/>
                    <a:pt x="200" y="94"/>
                    <a:pt x="200" y="94"/>
                  </a:cubicBezTo>
                  <a:cubicBezTo>
                    <a:pt x="199" y="95"/>
                    <a:pt x="199" y="97"/>
                    <a:pt x="199" y="98"/>
                  </a:cubicBezTo>
                  <a:cubicBezTo>
                    <a:pt x="198" y="99"/>
                    <a:pt x="198" y="100"/>
                    <a:pt x="198" y="101"/>
                  </a:cubicBezTo>
                  <a:cubicBezTo>
                    <a:pt x="198" y="102"/>
                    <a:pt x="198" y="102"/>
                    <a:pt x="198" y="102"/>
                  </a:cubicBezTo>
                  <a:cubicBezTo>
                    <a:pt x="198" y="102"/>
                    <a:pt x="198" y="103"/>
                    <a:pt x="198" y="103"/>
                  </a:cubicBezTo>
                  <a:cubicBezTo>
                    <a:pt x="197" y="105"/>
                    <a:pt x="196" y="106"/>
                    <a:pt x="194" y="107"/>
                  </a:cubicBezTo>
                  <a:cubicBezTo>
                    <a:pt x="194" y="108"/>
                    <a:pt x="194" y="108"/>
                    <a:pt x="194" y="108"/>
                  </a:cubicBezTo>
                  <a:cubicBezTo>
                    <a:pt x="195" y="115"/>
                    <a:pt x="195" y="115"/>
                    <a:pt x="195" y="115"/>
                  </a:cubicBezTo>
                  <a:cubicBezTo>
                    <a:pt x="195" y="115"/>
                    <a:pt x="195" y="115"/>
                    <a:pt x="195" y="115"/>
                  </a:cubicBezTo>
                  <a:cubicBezTo>
                    <a:pt x="195" y="119"/>
                    <a:pt x="195" y="119"/>
                    <a:pt x="195" y="119"/>
                  </a:cubicBezTo>
                  <a:cubicBezTo>
                    <a:pt x="195" y="122"/>
                    <a:pt x="194" y="123"/>
                    <a:pt x="193" y="124"/>
                  </a:cubicBezTo>
                  <a:cubicBezTo>
                    <a:pt x="190" y="126"/>
                    <a:pt x="188" y="128"/>
                    <a:pt x="186" y="130"/>
                  </a:cubicBezTo>
                  <a:cubicBezTo>
                    <a:pt x="185" y="131"/>
                    <a:pt x="185" y="131"/>
                    <a:pt x="185" y="131"/>
                  </a:cubicBezTo>
                  <a:cubicBezTo>
                    <a:pt x="184" y="131"/>
                    <a:pt x="183" y="131"/>
                    <a:pt x="183" y="131"/>
                  </a:cubicBezTo>
                  <a:cubicBezTo>
                    <a:pt x="182" y="131"/>
                    <a:pt x="182" y="131"/>
                    <a:pt x="182" y="131"/>
                  </a:cubicBezTo>
                  <a:cubicBezTo>
                    <a:pt x="182" y="131"/>
                    <a:pt x="182" y="131"/>
                    <a:pt x="182" y="131"/>
                  </a:cubicBezTo>
                  <a:cubicBezTo>
                    <a:pt x="182" y="131"/>
                    <a:pt x="181" y="131"/>
                    <a:pt x="181" y="131"/>
                  </a:cubicBezTo>
                  <a:cubicBezTo>
                    <a:pt x="180" y="131"/>
                    <a:pt x="180" y="131"/>
                    <a:pt x="180" y="131"/>
                  </a:cubicBezTo>
                  <a:cubicBezTo>
                    <a:pt x="179" y="131"/>
                    <a:pt x="179" y="131"/>
                    <a:pt x="179" y="131"/>
                  </a:cubicBezTo>
                  <a:cubicBezTo>
                    <a:pt x="179" y="130"/>
                    <a:pt x="178" y="130"/>
                    <a:pt x="177" y="130"/>
                  </a:cubicBezTo>
                  <a:cubicBezTo>
                    <a:pt x="177" y="129"/>
                    <a:pt x="177" y="129"/>
                    <a:pt x="177" y="129"/>
                  </a:cubicBezTo>
                  <a:cubicBezTo>
                    <a:pt x="176" y="128"/>
                    <a:pt x="175" y="128"/>
                    <a:pt x="174" y="127"/>
                  </a:cubicBezTo>
                  <a:cubicBezTo>
                    <a:pt x="174" y="127"/>
                    <a:pt x="174" y="127"/>
                    <a:pt x="174" y="127"/>
                  </a:cubicBezTo>
                  <a:cubicBezTo>
                    <a:pt x="174" y="127"/>
                    <a:pt x="173" y="127"/>
                    <a:pt x="173" y="127"/>
                  </a:cubicBezTo>
                  <a:cubicBezTo>
                    <a:pt x="173" y="127"/>
                    <a:pt x="173" y="127"/>
                    <a:pt x="172" y="127"/>
                  </a:cubicBezTo>
                  <a:cubicBezTo>
                    <a:pt x="172" y="127"/>
                    <a:pt x="171" y="127"/>
                    <a:pt x="170" y="127"/>
                  </a:cubicBezTo>
                  <a:cubicBezTo>
                    <a:pt x="169" y="127"/>
                    <a:pt x="169" y="127"/>
                    <a:pt x="169" y="127"/>
                  </a:cubicBezTo>
                  <a:cubicBezTo>
                    <a:pt x="169" y="128"/>
                    <a:pt x="168" y="128"/>
                    <a:pt x="168" y="128"/>
                  </a:cubicBezTo>
                  <a:cubicBezTo>
                    <a:pt x="167" y="128"/>
                    <a:pt x="167" y="128"/>
                    <a:pt x="167" y="128"/>
                  </a:cubicBezTo>
                  <a:cubicBezTo>
                    <a:pt x="166" y="128"/>
                    <a:pt x="166" y="128"/>
                    <a:pt x="165" y="129"/>
                  </a:cubicBezTo>
                  <a:cubicBezTo>
                    <a:pt x="164" y="129"/>
                    <a:pt x="164" y="129"/>
                    <a:pt x="163" y="130"/>
                  </a:cubicBezTo>
                  <a:cubicBezTo>
                    <a:pt x="162" y="130"/>
                    <a:pt x="162" y="130"/>
                    <a:pt x="162" y="130"/>
                  </a:cubicBezTo>
                  <a:cubicBezTo>
                    <a:pt x="160" y="131"/>
                    <a:pt x="159" y="132"/>
                    <a:pt x="158" y="133"/>
                  </a:cubicBezTo>
                  <a:cubicBezTo>
                    <a:pt x="162" y="136"/>
                    <a:pt x="162" y="136"/>
                    <a:pt x="162" y="136"/>
                  </a:cubicBezTo>
                  <a:cubicBezTo>
                    <a:pt x="158" y="138"/>
                    <a:pt x="158" y="138"/>
                    <a:pt x="158" y="138"/>
                  </a:cubicBezTo>
                  <a:cubicBezTo>
                    <a:pt x="157" y="139"/>
                    <a:pt x="156" y="139"/>
                    <a:pt x="155" y="139"/>
                  </a:cubicBezTo>
                  <a:cubicBezTo>
                    <a:pt x="153" y="140"/>
                    <a:pt x="151" y="141"/>
                    <a:pt x="149" y="142"/>
                  </a:cubicBezTo>
                  <a:cubicBezTo>
                    <a:pt x="148" y="142"/>
                    <a:pt x="148" y="142"/>
                    <a:pt x="148" y="142"/>
                  </a:cubicBezTo>
                  <a:cubicBezTo>
                    <a:pt x="148" y="142"/>
                    <a:pt x="147" y="142"/>
                    <a:pt x="146" y="142"/>
                  </a:cubicBezTo>
                  <a:cubicBezTo>
                    <a:pt x="144" y="142"/>
                    <a:pt x="142" y="142"/>
                    <a:pt x="139" y="141"/>
                  </a:cubicBezTo>
                  <a:cubicBezTo>
                    <a:pt x="138" y="140"/>
                    <a:pt x="138" y="140"/>
                    <a:pt x="138" y="140"/>
                  </a:cubicBezTo>
                  <a:cubicBezTo>
                    <a:pt x="138" y="140"/>
                    <a:pt x="138" y="140"/>
                    <a:pt x="138" y="140"/>
                  </a:cubicBezTo>
                  <a:cubicBezTo>
                    <a:pt x="137" y="140"/>
                    <a:pt x="137" y="140"/>
                    <a:pt x="136" y="141"/>
                  </a:cubicBezTo>
                  <a:cubicBezTo>
                    <a:pt x="136" y="141"/>
                    <a:pt x="136" y="141"/>
                    <a:pt x="135" y="141"/>
                  </a:cubicBezTo>
                  <a:cubicBezTo>
                    <a:pt x="135" y="141"/>
                    <a:pt x="134" y="142"/>
                    <a:pt x="134" y="142"/>
                  </a:cubicBezTo>
                  <a:cubicBezTo>
                    <a:pt x="133" y="142"/>
                    <a:pt x="133" y="142"/>
                    <a:pt x="133" y="142"/>
                  </a:cubicBezTo>
                  <a:cubicBezTo>
                    <a:pt x="132" y="143"/>
                    <a:pt x="131" y="144"/>
                    <a:pt x="131" y="145"/>
                  </a:cubicBezTo>
                  <a:cubicBezTo>
                    <a:pt x="129" y="146"/>
                    <a:pt x="128" y="147"/>
                    <a:pt x="127" y="148"/>
                  </a:cubicBezTo>
                  <a:cubicBezTo>
                    <a:pt x="127" y="148"/>
                    <a:pt x="127" y="148"/>
                    <a:pt x="127" y="148"/>
                  </a:cubicBezTo>
                  <a:cubicBezTo>
                    <a:pt x="127" y="148"/>
                    <a:pt x="126" y="149"/>
                    <a:pt x="126" y="150"/>
                  </a:cubicBezTo>
                  <a:cubicBezTo>
                    <a:pt x="126" y="150"/>
                    <a:pt x="126" y="150"/>
                    <a:pt x="126" y="151"/>
                  </a:cubicBezTo>
                  <a:cubicBezTo>
                    <a:pt x="125" y="152"/>
                    <a:pt x="125" y="152"/>
                    <a:pt x="125" y="152"/>
                  </a:cubicBezTo>
                  <a:cubicBezTo>
                    <a:pt x="125" y="155"/>
                    <a:pt x="124" y="157"/>
                    <a:pt x="124" y="160"/>
                  </a:cubicBezTo>
                  <a:cubicBezTo>
                    <a:pt x="125" y="161"/>
                    <a:pt x="124" y="162"/>
                    <a:pt x="124" y="163"/>
                  </a:cubicBezTo>
                  <a:cubicBezTo>
                    <a:pt x="124" y="164"/>
                    <a:pt x="124" y="166"/>
                    <a:pt x="123" y="167"/>
                  </a:cubicBezTo>
                  <a:cubicBezTo>
                    <a:pt x="123" y="168"/>
                    <a:pt x="123" y="168"/>
                    <a:pt x="123" y="168"/>
                  </a:cubicBezTo>
                  <a:cubicBezTo>
                    <a:pt x="123" y="168"/>
                    <a:pt x="123" y="168"/>
                    <a:pt x="123" y="168"/>
                  </a:cubicBezTo>
                  <a:cubicBezTo>
                    <a:pt x="124" y="169"/>
                    <a:pt x="124" y="170"/>
                    <a:pt x="124" y="171"/>
                  </a:cubicBezTo>
                  <a:cubicBezTo>
                    <a:pt x="124" y="172"/>
                    <a:pt x="124" y="174"/>
                    <a:pt x="123" y="176"/>
                  </a:cubicBezTo>
                  <a:cubicBezTo>
                    <a:pt x="122" y="178"/>
                    <a:pt x="120" y="178"/>
                    <a:pt x="118" y="178"/>
                  </a:cubicBezTo>
                  <a:cubicBezTo>
                    <a:pt x="116" y="179"/>
                    <a:pt x="116" y="179"/>
                    <a:pt x="116" y="179"/>
                  </a:cubicBezTo>
                  <a:cubicBezTo>
                    <a:pt x="114" y="180"/>
                    <a:pt x="112" y="180"/>
                    <a:pt x="110" y="181"/>
                  </a:cubicBezTo>
                  <a:cubicBezTo>
                    <a:pt x="107" y="182"/>
                    <a:pt x="105" y="182"/>
                    <a:pt x="102" y="183"/>
                  </a:cubicBezTo>
                  <a:cubicBezTo>
                    <a:pt x="95" y="183"/>
                    <a:pt x="95" y="183"/>
                    <a:pt x="95" y="183"/>
                  </a:cubicBezTo>
                  <a:cubicBezTo>
                    <a:pt x="93" y="183"/>
                    <a:pt x="91" y="183"/>
                    <a:pt x="88" y="183"/>
                  </a:cubicBezTo>
                  <a:cubicBezTo>
                    <a:pt x="86" y="184"/>
                    <a:pt x="83" y="184"/>
                    <a:pt x="80" y="185"/>
                  </a:cubicBezTo>
                  <a:cubicBezTo>
                    <a:pt x="79" y="185"/>
                    <a:pt x="79" y="185"/>
                    <a:pt x="78" y="185"/>
                  </a:cubicBezTo>
                  <a:cubicBezTo>
                    <a:pt x="77" y="186"/>
                    <a:pt x="76" y="186"/>
                    <a:pt x="76" y="187"/>
                  </a:cubicBezTo>
                  <a:cubicBezTo>
                    <a:pt x="74" y="188"/>
                    <a:pt x="74" y="188"/>
                    <a:pt x="74" y="188"/>
                  </a:cubicBezTo>
                  <a:cubicBezTo>
                    <a:pt x="74" y="188"/>
                    <a:pt x="74" y="188"/>
                    <a:pt x="73" y="188"/>
                  </a:cubicBezTo>
                  <a:cubicBezTo>
                    <a:pt x="73" y="188"/>
                    <a:pt x="73" y="188"/>
                    <a:pt x="72" y="188"/>
                  </a:cubicBezTo>
                  <a:cubicBezTo>
                    <a:pt x="71" y="189"/>
                    <a:pt x="71" y="189"/>
                    <a:pt x="71" y="189"/>
                  </a:cubicBezTo>
                  <a:cubicBezTo>
                    <a:pt x="71" y="189"/>
                    <a:pt x="70" y="189"/>
                    <a:pt x="70" y="189"/>
                  </a:cubicBezTo>
                  <a:cubicBezTo>
                    <a:pt x="69" y="189"/>
                    <a:pt x="69" y="189"/>
                    <a:pt x="69" y="189"/>
                  </a:cubicBezTo>
                  <a:cubicBezTo>
                    <a:pt x="69" y="189"/>
                    <a:pt x="69" y="189"/>
                    <a:pt x="69" y="189"/>
                  </a:cubicBezTo>
                  <a:cubicBezTo>
                    <a:pt x="68" y="189"/>
                    <a:pt x="67" y="189"/>
                    <a:pt x="67" y="189"/>
                  </a:cubicBezTo>
                  <a:cubicBezTo>
                    <a:pt x="66" y="189"/>
                    <a:pt x="66" y="189"/>
                    <a:pt x="65" y="189"/>
                  </a:cubicBezTo>
                  <a:cubicBezTo>
                    <a:pt x="63" y="188"/>
                    <a:pt x="63" y="188"/>
                    <a:pt x="63" y="188"/>
                  </a:cubicBezTo>
                  <a:cubicBezTo>
                    <a:pt x="62" y="188"/>
                    <a:pt x="61" y="188"/>
                    <a:pt x="60" y="188"/>
                  </a:cubicBezTo>
                  <a:cubicBezTo>
                    <a:pt x="59" y="187"/>
                    <a:pt x="59" y="187"/>
                    <a:pt x="59" y="187"/>
                  </a:cubicBezTo>
                  <a:cubicBezTo>
                    <a:pt x="59" y="187"/>
                    <a:pt x="58" y="187"/>
                    <a:pt x="57" y="187"/>
                  </a:cubicBezTo>
                  <a:cubicBezTo>
                    <a:pt x="57" y="187"/>
                    <a:pt x="57" y="187"/>
                    <a:pt x="57" y="187"/>
                  </a:cubicBezTo>
                  <a:cubicBezTo>
                    <a:pt x="47" y="188"/>
                    <a:pt x="47" y="188"/>
                    <a:pt x="47" y="188"/>
                  </a:cubicBezTo>
                  <a:cubicBezTo>
                    <a:pt x="48" y="193"/>
                    <a:pt x="48" y="193"/>
                    <a:pt x="48" y="193"/>
                  </a:cubicBezTo>
                  <a:cubicBezTo>
                    <a:pt x="46" y="188"/>
                    <a:pt x="46" y="188"/>
                    <a:pt x="46" y="188"/>
                  </a:cubicBezTo>
                  <a:cubicBezTo>
                    <a:pt x="42" y="188"/>
                    <a:pt x="42" y="188"/>
                    <a:pt x="42" y="188"/>
                  </a:cubicBezTo>
                  <a:cubicBezTo>
                    <a:pt x="41" y="188"/>
                    <a:pt x="41" y="188"/>
                    <a:pt x="40" y="189"/>
                  </a:cubicBezTo>
                  <a:cubicBezTo>
                    <a:pt x="40" y="189"/>
                    <a:pt x="40" y="189"/>
                    <a:pt x="40" y="189"/>
                  </a:cubicBezTo>
                  <a:cubicBezTo>
                    <a:pt x="39" y="189"/>
                    <a:pt x="38" y="189"/>
                    <a:pt x="37" y="189"/>
                  </a:cubicBezTo>
                  <a:cubicBezTo>
                    <a:pt x="37" y="189"/>
                    <a:pt x="36" y="189"/>
                    <a:pt x="36" y="189"/>
                  </a:cubicBezTo>
                  <a:cubicBezTo>
                    <a:pt x="35" y="189"/>
                    <a:pt x="34" y="189"/>
                    <a:pt x="33" y="189"/>
                  </a:cubicBezTo>
                  <a:cubicBezTo>
                    <a:pt x="0" y="180"/>
                    <a:pt x="0" y="180"/>
                    <a:pt x="0" y="180"/>
                  </a:cubicBezTo>
                  <a:cubicBezTo>
                    <a:pt x="1" y="181"/>
                    <a:pt x="2" y="182"/>
                    <a:pt x="3" y="183"/>
                  </a:cubicBezTo>
                  <a:cubicBezTo>
                    <a:pt x="3" y="183"/>
                    <a:pt x="3" y="183"/>
                    <a:pt x="4" y="184"/>
                  </a:cubicBezTo>
                  <a:cubicBezTo>
                    <a:pt x="4" y="185"/>
                    <a:pt x="4" y="185"/>
                    <a:pt x="5" y="186"/>
                  </a:cubicBezTo>
                  <a:cubicBezTo>
                    <a:pt x="7" y="189"/>
                    <a:pt x="9" y="192"/>
                    <a:pt x="12" y="195"/>
                  </a:cubicBezTo>
                  <a:cubicBezTo>
                    <a:pt x="14" y="198"/>
                    <a:pt x="17" y="202"/>
                    <a:pt x="19" y="205"/>
                  </a:cubicBezTo>
                  <a:cubicBezTo>
                    <a:pt x="20" y="207"/>
                    <a:pt x="22" y="208"/>
                    <a:pt x="24" y="208"/>
                  </a:cubicBezTo>
                  <a:cubicBezTo>
                    <a:pt x="25" y="209"/>
                    <a:pt x="26" y="209"/>
                    <a:pt x="27" y="209"/>
                  </a:cubicBezTo>
                  <a:cubicBezTo>
                    <a:pt x="28" y="210"/>
                    <a:pt x="28" y="210"/>
                    <a:pt x="28" y="210"/>
                  </a:cubicBezTo>
                  <a:cubicBezTo>
                    <a:pt x="28" y="210"/>
                    <a:pt x="29" y="210"/>
                    <a:pt x="29" y="210"/>
                  </a:cubicBezTo>
                  <a:cubicBezTo>
                    <a:pt x="30" y="210"/>
                    <a:pt x="30" y="210"/>
                    <a:pt x="30" y="210"/>
                  </a:cubicBezTo>
                  <a:cubicBezTo>
                    <a:pt x="31" y="211"/>
                    <a:pt x="31" y="211"/>
                    <a:pt x="32" y="211"/>
                  </a:cubicBezTo>
                  <a:cubicBezTo>
                    <a:pt x="34" y="212"/>
                    <a:pt x="35" y="212"/>
                    <a:pt x="36" y="213"/>
                  </a:cubicBezTo>
                  <a:cubicBezTo>
                    <a:pt x="39" y="214"/>
                    <a:pt x="40" y="215"/>
                    <a:pt x="41" y="216"/>
                  </a:cubicBezTo>
                  <a:cubicBezTo>
                    <a:pt x="42" y="218"/>
                    <a:pt x="42" y="220"/>
                    <a:pt x="41" y="223"/>
                  </a:cubicBezTo>
                  <a:cubicBezTo>
                    <a:pt x="41" y="224"/>
                    <a:pt x="41" y="224"/>
                    <a:pt x="41" y="224"/>
                  </a:cubicBezTo>
                  <a:cubicBezTo>
                    <a:pt x="46" y="224"/>
                    <a:pt x="46" y="224"/>
                    <a:pt x="46" y="224"/>
                  </a:cubicBezTo>
                  <a:cubicBezTo>
                    <a:pt x="41" y="225"/>
                    <a:pt x="41" y="225"/>
                    <a:pt x="41" y="225"/>
                  </a:cubicBezTo>
                  <a:cubicBezTo>
                    <a:pt x="41" y="234"/>
                    <a:pt x="41" y="234"/>
                    <a:pt x="41" y="234"/>
                  </a:cubicBezTo>
                  <a:cubicBezTo>
                    <a:pt x="41" y="234"/>
                    <a:pt x="41" y="235"/>
                    <a:pt x="41" y="235"/>
                  </a:cubicBezTo>
                  <a:cubicBezTo>
                    <a:pt x="41" y="236"/>
                    <a:pt x="41" y="238"/>
                    <a:pt x="41" y="239"/>
                  </a:cubicBezTo>
                  <a:cubicBezTo>
                    <a:pt x="41" y="239"/>
                    <a:pt x="41" y="239"/>
                    <a:pt x="41" y="239"/>
                  </a:cubicBezTo>
                  <a:cubicBezTo>
                    <a:pt x="42" y="239"/>
                    <a:pt x="42" y="239"/>
                    <a:pt x="42" y="239"/>
                  </a:cubicBezTo>
                  <a:cubicBezTo>
                    <a:pt x="45" y="239"/>
                    <a:pt x="45" y="239"/>
                    <a:pt x="45" y="239"/>
                  </a:cubicBezTo>
                  <a:cubicBezTo>
                    <a:pt x="47" y="239"/>
                    <a:pt x="48" y="239"/>
                    <a:pt x="51" y="239"/>
                  </a:cubicBezTo>
                  <a:cubicBezTo>
                    <a:pt x="54" y="240"/>
                    <a:pt x="54" y="240"/>
                    <a:pt x="54" y="240"/>
                  </a:cubicBezTo>
                  <a:cubicBezTo>
                    <a:pt x="53" y="243"/>
                    <a:pt x="53" y="243"/>
                    <a:pt x="53" y="243"/>
                  </a:cubicBezTo>
                  <a:cubicBezTo>
                    <a:pt x="52" y="247"/>
                    <a:pt x="51" y="250"/>
                    <a:pt x="51" y="254"/>
                  </a:cubicBezTo>
                  <a:cubicBezTo>
                    <a:pt x="50" y="256"/>
                    <a:pt x="50" y="256"/>
                    <a:pt x="50" y="256"/>
                  </a:cubicBezTo>
                  <a:cubicBezTo>
                    <a:pt x="50" y="257"/>
                    <a:pt x="49" y="258"/>
                    <a:pt x="48" y="259"/>
                  </a:cubicBezTo>
                  <a:cubicBezTo>
                    <a:pt x="46" y="260"/>
                    <a:pt x="44" y="261"/>
                    <a:pt x="42" y="261"/>
                  </a:cubicBezTo>
                  <a:cubicBezTo>
                    <a:pt x="41" y="261"/>
                    <a:pt x="41" y="261"/>
                    <a:pt x="41" y="261"/>
                  </a:cubicBezTo>
                  <a:cubicBezTo>
                    <a:pt x="41" y="261"/>
                    <a:pt x="40" y="261"/>
                    <a:pt x="40" y="261"/>
                  </a:cubicBezTo>
                  <a:cubicBezTo>
                    <a:pt x="30" y="262"/>
                    <a:pt x="30" y="262"/>
                    <a:pt x="30" y="262"/>
                  </a:cubicBezTo>
                  <a:cubicBezTo>
                    <a:pt x="29" y="263"/>
                    <a:pt x="28" y="263"/>
                    <a:pt x="28" y="263"/>
                  </a:cubicBezTo>
                  <a:cubicBezTo>
                    <a:pt x="27" y="264"/>
                    <a:pt x="26" y="265"/>
                    <a:pt x="25" y="265"/>
                  </a:cubicBezTo>
                  <a:cubicBezTo>
                    <a:pt x="24" y="266"/>
                    <a:pt x="24" y="266"/>
                    <a:pt x="24" y="266"/>
                  </a:cubicBezTo>
                  <a:cubicBezTo>
                    <a:pt x="23" y="267"/>
                    <a:pt x="22" y="268"/>
                    <a:pt x="22" y="268"/>
                  </a:cubicBezTo>
                  <a:cubicBezTo>
                    <a:pt x="21" y="269"/>
                    <a:pt x="21" y="269"/>
                    <a:pt x="21" y="269"/>
                  </a:cubicBezTo>
                  <a:cubicBezTo>
                    <a:pt x="19" y="269"/>
                    <a:pt x="19" y="269"/>
                    <a:pt x="19" y="272"/>
                  </a:cubicBezTo>
                  <a:cubicBezTo>
                    <a:pt x="18" y="277"/>
                    <a:pt x="17" y="281"/>
                    <a:pt x="16" y="285"/>
                  </a:cubicBezTo>
                  <a:cubicBezTo>
                    <a:pt x="15" y="287"/>
                    <a:pt x="15" y="287"/>
                    <a:pt x="15" y="287"/>
                  </a:cubicBezTo>
                  <a:cubicBezTo>
                    <a:pt x="15" y="287"/>
                    <a:pt x="15" y="288"/>
                    <a:pt x="15" y="288"/>
                  </a:cubicBezTo>
                  <a:cubicBezTo>
                    <a:pt x="15" y="290"/>
                    <a:pt x="15" y="291"/>
                    <a:pt x="14" y="293"/>
                  </a:cubicBezTo>
                  <a:cubicBezTo>
                    <a:pt x="14" y="293"/>
                    <a:pt x="14" y="293"/>
                    <a:pt x="14" y="293"/>
                  </a:cubicBezTo>
                  <a:cubicBezTo>
                    <a:pt x="15" y="294"/>
                    <a:pt x="14" y="294"/>
                    <a:pt x="15" y="297"/>
                  </a:cubicBezTo>
                  <a:cubicBezTo>
                    <a:pt x="15" y="297"/>
                    <a:pt x="15" y="297"/>
                    <a:pt x="15" y="297"/>
                  </a:cubicBezTo>
                  <a:cubicBezTo>
                    <a:pt x="17" y="297"/>
                    <a:pt x="18" y="296"/>
                    <a:pt x="21" y="295"/>
                  </a:cubicBezTo>
                  <a:cubicBezTo>
                    <a:pt x="23" y="295"/>
                    <a:pt x="25" y="293"/>
                    <a:pt x="26" y="293"/>
                  </a:cubicBezTo>
                  <a:cubicBezTo>
                    <a:pt x="27" y="293"/>
                    <a:pt x="27" y="294"/>
                    <a:pt x="28" y="296"/>
                  </a:cubicBezTo>
                  <a:cubicBezTo>
                    <a:pt x="32" y="293"/>
                    <a:pt x="33" y="292"/>
                    <a:pt x="37" y="292"/>
                  </a:cubicBezTo>
                  <a:cubicBezTo>
                    <a:pt x="38" y="292"/>
                    <a:pt x="38" y="292"/>
                    <a:pt x="39" y="292"/>
                  </a:cubicBezTo>
                  <a:cubicBezTo>
                    <a:pt x="43" y="292"/>
                    <a:pt x="47" y="292"/>
                    <a:pt x="51" y="293"/>
                  </a:cubicBezTo>
                  <a:cubicBezTo>
                    <a:pt x="51" y="293"/>
                    <a:pt x="53" y="293"/>
                    <a:pt x="54" y="293"/>
                  </a:cubicBezTo>
                  <a:cubicBezTo>
                    <a:pt x="55" y="293"/>
                    <a:pt x="56" y="293"/>
                    <a:pt x="55" y="292"/>
                  </a:cubicBezTo>
                  <a:cubicBezTo>
                    <a:pt x="59" y="290"/>
                    <a:pt x="63" y="289"/>
                    <a:pt x="67" y="289"/>
                  </a:cubicBezTo>
                  <a:cubicBezTo>
                    <a:pt x="68" y="289"/>
                    <a:pt x="68" y="289"/>
                    <a:pt x="69" y="289"/>
                  </a:cubicBezTo>
                  <a:cubicBezTo>
                    <a:pt x="68" y="288"/>
                    <a:pt x="68" y="287"/>
                    <a:pt x="70" y="287"/>
                  </a:cubicBezTo>
                  <a:cubicBezTo>
                    <a:pt x="70" y="287"/>
                    <a:pt x="70" y="287"/>
                    <a:pt x="71" y="287"/>
                  </a:cubicBezTo>
                  <a:cubicBezTo>
                    <a:pt x="69" y="287"/>
                    <a:pt x="69" y="288"/>
                    <a:pt x="69" y="289"/>
                  </a:cubicBezTo>
                  <a:cubicBezTo>
                    <a:pt x="70" y="290"/>
                    <a:pt x="72" y="290"/>
                    <a:pt x="73" y="290"/>
                  </a:cubicBezTo>
                  <a:cubicBezTo>
                    <a:pt x="75" y="291"/>
                    <a:pt x="77" y="291"/>
                    <a:pt x="79" y="291"/>
                  </a:cubicBezTo>
                  <a:cubicBezTo>
                    <a:pt x="80" y="292"/>
                    <a:pt x="82" y="294"/>
                    <a:pt x="83" y="294"/>
                  </a:cubicBezTo>
                  <a:cubicBezTo>
                    <a:pt x="83" y="294"/>
                    <a:pt x="83" y="293"/>
                    <a:pt x="84" y="293"/>
                  </a:cubicBezTo>
                  <a:cubicBezTo>
                    <a:pt x="83" y="293"/>
                    <a:pt x="83" y="293"/>
                    <a:pt x="83" y="293"/>
                  </a:cubicBezTo>
                  <a:cubicBezTo>
                    <a:pt x="94" y="289"/>
                    <a:pt x="104" y="288"/>
                    <a:pt x="116" y="288"/>
                  </a:cubicBezTo>
                  <a:cubicBezTo>
                    <a:pt x="116" y="288"/>
                    <a:pt x="116" y="288"/>
                    <a:pt x="116" y="288"/>
                  </a:cubicBezTo>
                  <a:cubicBezTo>
                    <a:pt x="117" y="288"/>
                    <a:pt x="118" y="288"/>
                    <a:pt x="119" y="288"/>
                  </a:cubicBezTo>
                  <a:cubicBezTo>
                    <a:pt x="120" y="288"/>
                    <a:pt x="121" y="288"/>
                    <a:pt x="122" y="288"/>
                  </a:cubicBezTo>
                  <a:cubicBezTo>
                    <a:pt x="124" y="288"/>
                    <a:pt x="125" y="288"/>
                    <a:pt x="126" y="287"/>
                  </a:cubicBezTo>
                  <a:cubicBezTo>
                    <a:pt x="126" y="287"/>
                    <a:pt x="126" y="287"/>
                    <a:pt x="126" y="287"/>
                  </a:cubicBezTo>
                  <a:cubicBezTo>
                    <a:pt x="126" y="287"/>
                    <a:pt x="126" y="286"/>
                    <a:pt x="126" y="286"/>
                  </a:cubicBezTo>
                  <a:cubicBezTo>
                    <a:pt x="125" y="286"/>
                    <a:pt x="125" y="286"/>
                    <a:pt x="125" y="286"/>
                  </a:cubicBezTo>
                  <a:cubicBezTo>
                    <a:pt x="124" y="286"/>
                    <a:pt x="124" y="285"/>
                    <a:pt x="123" y="285"/>
                  </a:cubicBezTo>
                  <a:cubicBezTo>
                    <a:pt x="123" y="284"/>
                    <a:pt x="124" y="283"/>
                    <a:pt x="125" y="283"/>
                  </a:cubicBezTo>
                  <a:cubicBezTo>
                    <a:pt x="125" y="283"/>
                    <a:pt x="125" y="283"/>
                    <a:pt x="125" y="283"/>
                  </a:cubicBezTo>
                  <a:cubicBezTo>
                    <a:pt x="125" y="283"/>
                    <a:pt x="127" y="285"/>
                    <a:pt x="127" y="286"/>
                  </a:cubicBezTo>
                  <a:cubicBezTo>
                    <a:pt x="128" y="288"/>
                    <a:pt x="127" y="288"/>
                    <a:pt x="128" y="290"/>
                  </a:cubicBezTo>
                  <a:cubicBezTo>
                    <a:pt x="130" y="293"/>
                    <a:pt x="131" y="292"/>
                    <a:pt x="131" y="295"/>
                  </a:cubicBezTo>
                  <a:cubicBezTo>
                    <a:pt x="131" y="296"/>
                    <a:pt x="130" y="300"/>
                    <a:pt x="131" y="301"/>
                  </a:cubicBezTo>
                  <a:cubicBezTo>
                    <a:pt x="131" y="301"/>
                    <a:pt x="132" y="301"/>
                    <a:pt x="133" y="301"/>
                  </a:cubicBezTo>
                  <a:cubicBezTo>
                    <a:pt x="138" y="300"/>
                    <a:pt x="138" y="300"/>
                    <a:pt x="138" y="300"/>
                  </a:cubicBezTo>
                  <a:cubicBezTo>
                    <a:pt x="140" y="304"/>
                    <a:pt x="140" y="304"/>
                    <a:pt x="140" y="304"/>
                  </a:cubicBezTo>
                  <a:cubicBezTo>
                    <a:pt x="142" y="306"/>
                    <a:pt x="142" y="306"/>
                    <a:pt x="142" y="306"/>
                  </a:cubicBezTo>
                  <a:cubicBezTo>
                    <a:pt x="143" y="309"/>
                    <a:pt x="143" y="311"/>
                    <a:pt x="144" y="313"/>
                  </a:cubicBezTo>
                  <a:cubicBezTo>
                    <a:pt x="145" y="318"/>
                    <a:pt x="145" y="321"/>
                    <a:pt x="149" y="321"/>
                  </a:cubicBezTo>
                  <a:cubicBezTo>
                    <a:pt x="150" y="321"/>
                    <a:pt x="150" y="321"/>
                    <a:pt x="151" y="321"/>
                  </a:cubicBezTo>
                  <a:cubicBezTo>
                    <a:pt x="152" y="321"/>
                    <a:pt x="153" y="321"/>
                    <a:pt x="155" y="321"/>
                  </a:cubicBezTo>
                  <a:cubicBezTo>
                    <a:pt x="160" y="321"/>
                    <a:pt x="164" y="323"/>
                    <a:pt x="162" y="330"/>
                  </a:cubicBezTo>
                  <a:cubicBezTo>
                    <a:pt x="163" y="329"/>
                    <a:pt x="163" y="329"/>
                    <a:pt x="164" y="328"/>
                  </a:cubicBezTo>
                  <a:cubicBezTo>
                    <a:pt x="163" y="327"/>
                    <a:pt x="163" y="327"/>
                    <a:pt x="163" y="327"/>
                  </a:cubicBezTo>
                  <a:cubicBezTo>
                    <a:pt x="164" y="327"/>
                    <a:pt x="164" y="327"/>
                    <a:pt x="164" y="327"/>
                  </a:cubicBezTo>
                  <a:cubicBezTo>
                    <a:pt x="165" y="326"/>
                    <a:pt x="165" y="326"/>
                    <a:pt x="165" y="326"/>
                  </a:cubicBezTo>
                  <a:cubicBezTo>
                    <a:pt x="165" y="326"/>
                    <a:pt x="165" y="326"/>
                    <a:pt x="165" y="326"/>
                  </a:cubicBezTo>
                  <a:cubicBezTo>
                    <a:pt x="172" y="321"/>
                    <a:pt x="172" y="321"/>
                    <a:pt x="172" y="321"/>
                  </a:cubicBezTo>
                  <a:cubicBezTo>
                    <a:pt x="173" y="321"/>
                    <a:pt x="173" y="321"/>
                    <a:pt x="173" y="321"/>
                  </a:cubicBezTo>
                  <a:cubicBezTo>
                    <a:pt x="174" y="321"/>
                    <a:pt x="174" y="321"/>
                    <a:pt x="175" y="321"/>
                  </a:cubicBezTo>
                  <a:cubicBezTo>
                    <a:pt x="176" y="321"/>
                    <a:pt x="176" y="321"/>
                    <a:pt x="176" y="321"/>
                  </a:cubicBezTo>
                  <a:cubicBezTo>
                    <a:pt x="176" y="320"/>
                    <a:pt x="176" y="319"/>
                    <a:pt x="176" y="318"/>
                  </a:cubicBezTo>
                  <a:cubicBezTo>
                    <a:pt x="176" y="316"/>
                    <a:pt x="176" y="315"/>
                    <a:pt x="176" y="314"/>
                  </a:cubicBezTo>
                  <a:cubicBezTo>
                    <a:pt x="177" y="312"/>
                    <a:pt x="177" y="312"/>
                    <a:pt x="177" y="312"/>
                  </a:cubicBezTo>
                  <a:cubicBezTo>
                    <a:pt x="180" y="312"/>
                    <a:pt x="180" y="312"/>
                    <a:pt x="180" y="312"/>
                  </a:cubicBezTo>
                  <a:cubicBezTo>
                    <a:pt x="184" y="312"/>
                    <a:pt x="189" y="313"/>
                    <a:pt x="193" y="314"/>
                  </a:cubicBezTo>
                  <a:cubicBezTo>
                    <a:pt x="194" y="309"/>
                    <a:pt x="194" y="309"/>
                    <a:pt x="194" y="309"/>
                  </a:cubicBezTo>
                  <a:cubicBezTo>
                    <a:pt x="194" y="314"/>
                    <a:pt x="194" y="314"/>
                    <a:pt x="194" y="314"/>
                  </a:cubicBezTo>
                  <a:cubicBezTo>
                    <a:pt x="201" y="315"/>
                    <a:pt x="201" y="315"/>
                    <a:pt x="201" y="315"/>
                  </a:cubicBezTo>
                  <a:cubicBezTo>
                    <a:pt x="202" y="315"/>
                    <a:pt x="203" y="315"/>
                    <a:pt x="203" y="315"/>
                  </a:cubicBezTo>
                  <a:cubicBezTo>
                    <a:pt x="204" y="315"/>
                    <a:pt x="205" y="315"/>
                    <a:pt x="206" y="316"/>
                  </a:cubicBezTo>
                  <a:cubicBezTo>
                    <a:pt x="206" y="316"/>
                    <a:pt x="207" y="316"/>
                    <a:pt x="207" y="316"/>
                  </a:cubicBezTo>
                  <a:cubicBezTo>
                    <a:pt x="207" y="316"/>
                    <a:pt x="207" y="316"/>
                    <a:pt x="208" y="316"/>
                  </a:cubicBezTo>
                  <a:cubicBezTo>
                    <a:pt x="208" y="315"/>
                    <a:pt x="208" y="315"/>
                    <a:pt x="208" y="315"/>
                  </a:cubicBezTo>
                  <a:cubicBezTo>
                    <a:pt x="208" y="315"/>
                    <a:pt x="208" y="314"/>
                    <a:pt x="209" y="314"/>
                  </a:cubicBezTo>
                  <a:cubicBezTo>
                    <a:pt x="211" y="312"/>
                    <a:pt x="214" y="311"/>
                    <a:pt x="216" y="311"/>
                  </a:cubicBezTo>
                  <a:cubicBezTo>
                    <a:pt x="217" y="311"/>
                    <a:pt x="217" y="311"/>
                    <a:pt x="217" y="311"/>
                  </a:cubicBezTo>
                  <a:cubicBezTo>
                    <a:pt x="217" y="310"/>
                    <a:pt x="218" y="310"/>
                    <a:pt x="218" y="310"/>
                  </a:cubicBezTo>
                  <a:cubicBezTo>
                    <a:pt x="219" y="310"/>
                    <a:pt x="219" y="310"/>
                    <a:pt x="219" y="310"/>
                  </a:cubicBezTo>
                  <a:cubicBezTo>
                    <a:pt x="220" y="310"/>
                    <a:pt x="221" y="309"/>
                    <a:pt x="222" y="309"/>
                  </a:cubicBezTo>
                  <a:cubicBezTo>
                    <a:pt x="223" y="309"/>
                    <a:pt x="224" y="310"/>
                    <a:pt x="225" y="311"/>
                  </a:cubicBezTo>
                  <a:cubicBezTo>
                    <a:pt x="225" y="311"/>
                    <a:pt x="225" y="312"/>
                    <a:pt x="225" y="313"/>
                  </a:cubicBezTo>
                  <a:cubicBezTo>
                    <a:pt x="226" y="313"/>
                    <a:pt x="226" y="313"/>
                    <a:pt x="226" y="313"/>
                  </a:cubicBezTo>
                  <a:cubicBezTo>
                    <a:pt x="227" y="313"/>
                    <a:pt x="227" y="313"/>
                    <a:pt x="227" y="313"/>
                  </a:cubicBezTo>
                  <a:cubicBezTo>
                    <a:pt x="227" y="312"/>
                    <a:pt x="227" y="312"/>
                    <a:pt x="227" y="312"/>
                  </a:cubicBezTo>
                  <a:cubicBezTo>
                    <a:pt x="228" y="312"/>
                    <a:pt x="228" y="312"/>
                    <a:pt x="229" y="312"/>
                  </a:cubicBezTo>
                  <a:cubicBezTo>
                    <a:pt x="229" y="311"/>
                    <a:pt x="228" y="310"/>
                    <a:pt x="229" y="309"/>
                  </a:cubicBezTo>
                  <a:cubicBezTo>
                    <a:pt x="229" y="308"/>
                    <a:pt x="229" y="308"/>
                    <a:pt x="229" y="307"/>
                  </a:cubicBezTo>
                  <a:cubicBezTo>
                    <a:pt x="229" y="306"/>
                    <a:pt x="230" y="306"/>
                    <a:pt x="230" y="305"/>
                  </a:cubicBezTo>
                  <a:cubicBezTo>
                    <a:pt x="230" y="305"/>
                    <a:pt x="230" y="305"/>
                    <a:pt x="230" y="304"/>
                  </a:cubicBezTo>
                  <a:cubicBezTo>
                    <a:pt x="226" y="296"/>
                    <a:pt x="226" y="296"/>
                    <a:pt x="226" y="296"/>
                  </a:cubicBezTo>
                  <a:cubicBezTo>
                    <a:pt x="226" y="295"/>
                    <a:pt x="225" y="295"/>
                    <a:pt x="225" y="294"/>
                  </a:cubicBezTo>
                  <a:cubicBezTo>
                    <a:pt x="221" y="296"/>
                    <a:pt x="221" y="296"/>
                    <a:pt x="221" y="296"/>
                  </a:cubicBezTo>
                  <a:cubicBezTo>
                    <a:pt x="224" y="293"/>
                    <a:pt x="224" y="293"/>
                    <a:pt x="224" y="293"/>
                  </a:cubicBezTo>
                  <a:cubicBezTo>
                    <a:pt x="224" y="292"/>
                    <a:pt x="224" y="292"/>
                    <a:pt x="224" y="292"/>
                  </a:cubicBezTo>
                  <a:cubicBezTo>
                    <a:pt x="224" y="291"/>
                    <a:pt x="224" y="291"/>
                    <a:pt x="223" y="290"/>
                  </a:cubicBezTo>
                  <a:cubicBezTo>
                    <a:pt x="223" y="288"/>
                    <a:pt x="222" y="287"/>
                    <a:pt x="222" y="285"/>
                  </a:cubicBezTo>
                  <a:cubicBezTo>
                    <a:pt x="222" y="284"/>
                    <a:pt x="222" y="284"/>
                    <a:pt x="222" y="283"/>
                  </a:cubicBezTo>
                  <a:cubicBezTo>
                    <a:pt x="221" y="283"/>
                    <a:pt x="221" y="284"/>
                    <a:pt x="220" y="284"/>
                  </a:cubicBezTo>
                  <a:cubicBezTo>
                    <a:pt x="220" y="284"/>
                    <a:pt x="220" y="284"/>
                    <a:pt x="220" y="284"/>
                  </a:cubicBezTo>
                  <a:cubicBezTo>
                    <a:pt x="218" y="284"/>
                    <a:pt x="218" y="284"/>
                    <a:pt x="217" y="284"/>
                  </a:cubicBezTo>
                  <a:cubicBezTo>
                    <a:pt x="217" y="283"/>
                    <a:pt x="217" y="283"/>
                    <a:pt x="217" y="283"/>
                  </a:cubicBezTo>
                  <a:cubicBezTo>
                    <a:pt x="216" y="283"/>
                    <a:pt x="216" y="283"/>
                    <a:pt x="215" y="283"/>
                  </a:cubicBezTo>
                  <a:cubicBezTo>
                    <a:pt x="215" y="283"/>
                    <a:pt x="215" y="283"/>
                    <a:pt x="215" y="283"/>
                  </a:cubicBezTo>
                  <a:cubicBezTo>
                    <a:pt x="214" y="282"/>
                    <a:pt x="214" y="282"/>
                    <a:pt x="214" y="282"/>
                  </a:cubicBezTo>
                  <a:cubicBezTo>
                    <a:pt x="214" y="282"/>
                    <a:pt x="214" y="282"/>
                    <a:pt x="214" y="282"/>
                  </a:cubicBezTo>
                  <a:cubicBezTo>
                    <a:pt x="213" y="282"/>
                    <a:pt x="213" y="282"/>
                    <a:pt x="213" y="282"/>
                  </a:cubicBezTo>
                  <a:cubicBezTo>
                    <a:pt x="211" y="280"/>
                    <a:pt x="210" y="277"/>
                    <a:pt x="210" y="274"/>
                  </a:cubicBezTo>
                  <a:cubicBezTo>
                    <a:pt x="210" y="274"/>
                    <a:pt x="209" y="273"/>
                    <a:pt x="209" y="272"/>
                  </a:cubicBezTo>
                  <a:cubicBezTo>
                    <a:pt x="208" y="270"/>
                    <a:pt x="209" y="267"/>
                    <a:pt x="209" y="265"/>
                  </a:cubicBezTo>
                  <a:cubicBezTo>
                    <a:pt x="209" y="264"/>
                    <a:pt x="209" y="264"/>
                    <a:pt x="209" y="264"/>
                  </a:cubicBezTo>
                  <a:cubicBezTo>
                    <a:pt x="209" y="263"/>
                    <a:pt x="210" y="262"/>
                    <a:pt x="210" y="261"/>
                  </a:cubicBezTo>
                  <a:cubicBezTo>
                    <a:pt x="209" y="261"/>
                    <a:pt x="209" y="261"/>
                    <a:pt x="209" y="261"/>
                  </a:cubicBezTo>
                  <a:cubicBezTo>
                    <a:pt x="209" y="261"/>
                    <a:pt x="209" y="261"/>
                    <a:pt x="209" y="261"/>
                  </a:cubicBezTo>
                  <a:cubicBezTo>
                    <a:pt x="208" y="261"/>
                    <a:pt x="208" y="261"/>
                    <a:pt x="208" y="261"/>
                  </a:cubicBezTo>
                  <a:cubicBezTo>
                    <a:pt x="207" y="261"/>
                    <a:pt x="205" y="261"/>
                    <a:pt x="204" y="260"/>
                  </a:cubicBezTo>
                  <a:cubicBezTo>
                    <a:pt x="203" y="265"/>
                    <a:pt x="203" y="265"/>
                    <a:pt x="203" y="265"/>
                  </a:cubicBezTo>
                  <a:cubicBezTo>
                    <a:pt x="202" y="260"/>
                    <a:pt x="202" y="260"/>
                    <a:pt x="202" y="260"/>
                  </a:cubicBezTo>
                  <a:cubicBezTo>
                    <a:pt x="202" y="260"/>
                    <a:pt x="202" y="260"/>
                    <a:pt x="202" y="260"/>
                  </a:cubicBezTo>
                  <a:cubicBezTo>
                    <a:pt x="199" y="259"/>
                    <a:pt x="196" y="258"/>
                    <a:pt x="195" y="256"/>
                  </a:cubicBezTo>
                  <a:cubicBezTo>
                    <a:pt x="194" y="255"/>
                    <a:pt x="194" y="254"/>
                    <a:pt x="193" y="253"/>
                  </a:cubicBezTo>
                  <a:cubicBezTo>
                    <a:pt x="192" y="250"/>
                    <a:pt x="193" y="246"/>
                    <a:pt x="196" y="242"/>
                  </a:cubicBezTo>
                  <a:cubicBezTo>
                    <a:pt x="198" y="238"/>
                    <a:pt x="201" y="235"/>
                    <a:pt x="204" y="232"/>
                  </a:cubicBezTo>
                  <a:cubicBezTo>
                    <a:pt x="205" y="231"/>
                    <a:pt x="205" y="231"/>
                    <a:pt x="205" y="231"/>
                  </a:cubicBezTo>
                  <a:cubicBezTo>
                    <a:pt x="205" y="230"/>
                    <a:pt x="206" y="229"/>
                    <a:pt x="207" y="228"/>
                  </a:cubicBezTo>
                  <a:cubicBezTo>
                    <a:pt x="207" y="228"/>
                    <a:pt x="208" y="227"/>
                    <a:pt x="209" y="226"/>
                  </a:cubicBezTo>
                  <a:cubicBezTo>
                    <a:pt x="209" y="226"/>
                    <a:pt x="209" y="226"/>
                    <a:pt x="209" y="226"/>
                  </a:cubicBezTo>
                  <a:cubicBezTo>
                    <a:pt x="209" y="225"/>
                    <a:pt x="210" y="225"/>
                    <a:pt x="210" y="225"/>
                  </a:cubicBezTo>
                  <a:cubicBezTo>
                    <a:pt x="212" y="223"/>
                    <a:pt x="212" y="223"/>
                    <a:pt x="212" y="223"/>
                  </a:cubicBezTo>
                  <a:cubicBezTo>
                    <a:pt x="213" y="222"/>
                    <a:pt x="213" y="222"/>
                    <a:pt x="213" y="222"/>
                  </a:cubicBezTo>
                  <a:cubicBezTo>
                    <a:pt x="213" y="222"/>
                    <a:pt x="213" y="222"/>
                    <a:pt x="213" y="222"/>
                  </a:cubicBezTo>
                  <a:cubicBezTo>
                    <a:pt x="210" y="218"/>
                    <a:pt x="210" y="218"/>
                    <a:pt x="210" y="218"/>
                  </a:cubicBezTo>
                  <a:cubicBezTo>
                    <a:pt x="214" y="221"/>
                    <a:pt x="214" y="221"/>
                    <a:pt x="214" y="221"/>
                  </a:cubicBezTo>
                  <a:cubicBezTo>
                    <a:pt x="214" y="221"/>
                    <a:pt x="214" y="221"/>
                    <a:pt x="214" y="221"/>
                  </a:cubicBezTo>
                  <a:cubicBezTo>
                    <a:pt x="215" y="220"/>
                    <a:pt x="216" y="220"/>
                    <a:pt x="216" y="219"/>
                  </a:cubicBezTo>
                  <a:cubicBezTo>
                    <a:pt x="217" y="219"/>
                    <a:pt x="217" y="219"/>
                    <a:pt x="217" y="219"/>
                  </a:cubicBezTo>
                  <a:cubicBezTo>
                    <a:pt x="217" y="219"/>
                    <a:pt x="218" y="219"/>
                    <a:pt x="219" y="219"/>
                  </a:cubicBezTo>
                  <a:cubicBezTo>
                    <a:pt x="219" y="216"/>
                    <a:pt x="219" y="216"/>
                    <a:pt x="219" y="216"/>
                  </a:cubicBezTo>
                  <a:cubicBezTo>
                    <a:pt x="220" y="219"/>
                    <a:pt x="220" y="219"/>
                    <a:pt x="220" y="219"/>
                  </a:cubicBezTo>
                  <a:cubicBezTo>
                    <a:pt x="220" y="219"/>
                    <a:pt x="221" y="219"/>
                    <a:pt x="221" y="219"/>
                  </a:cubicBezTo>
                  <a:cubicBezTo>
                    <a:pt x="221" y="219"/>
                    <a:pt x="222" y="219"/>
                    <a:pt x="222" y="219"/>
                  </a:cubicBezTo>
                  <a:cubicBezTo>
                    <a:pt x="223" y="219"/>
                    <a:pt x="223" y="220"/>
                    <a:pt x="224" y="220"/>
                  </a:cubicBezTo>
                  <a:cubicBezTo>
                    <a:pt x="224" y="220"/>
                    <a:pt x="225" y="221"/>
                    <a:pt x="225" y="221"/>
                  </a:cubicBezTo>
                  <a:cubicBezTo>
                    <a:pt x="226" y="222"/>
                    <a:pt x="226" y="223"/>
                    <a:pt x="227" y="224"/>
                  </a:cubicBezTo>
                  <a:cubicBezTo>
                    <a:pt x="227" y="224"/>
                    <a:pt x="227" y="224"/>
                    <a:pt x="227" y="224"/>
                  </a:cubicBezTo>
                  <a:cubicBezTo>
                    <a:pt x="227" y="225"/>
                    <a:pt x="228" y="226"/>
                    <a:pt x="228" y="226"/>
                  </a:cubicBezTo>
                  <a:cubicBezTo>
                    <a:pt x="228" y="226"/>
                    <a:pt x="229" y="226"/>
                    <a:pt x="229" y="226"/>
                  </a:cubicBezTo>
                  <a:cubicBezTo>
                    <a:pt x="229" y="226"/>
                    <a:pt x="229" y="226"/>
                    <a:pt x="230" y="226"/>
                  </a:cubicBezTo>
                  <a:cubicBezTo>
                    <a:pt x="230" y="226"/>
                    <a:pt x="230" y="226"/>
                    <a:pt x="230" y="226"/>
                  </a:cubicBezTo>
                  <a:cubicBezTo>
                    <a:pt x="232" y="225"/>
                    <a:pt x="234" y="224"/>
                    <a:pt x="236" y="224"/>
                  </a:cubicBezTo>
                  <a:cubicBezTo>
                    <a:pt x="237" y="224"/>
                    <a:pt x="237" y="224"/>
                    <a:pt x="237" y="224"/>
                  </a:cubicBezTo>
                  <a:cubicBezTo>
                    <a:pt x="237" y="219"/>
                    <a:pt x="237" y="219"/>
                    <a:pt x="237" y="219"/>
                  </a:cubicBezTo>
                  <a:cubicBezTo>
                    <a:pt x="238" y="223"/>
                    <a:pt x="238" y="223"/>
                    <a:pt x="238" y="223"/>
                  </a:cubicBezTo>
                  <a:cubicBezTo>
                    <a:pt x="240" y="223"/>
                    <a:pt x="240" y="223"/>
                    <a:pt x="240" y="223"/>
                  </a:cubicBezTo>
                  <a:cubicBezTo>
                    <a:pt x="240" y="223"/>
                    <a:pt x="240" y="223"/>
                    <a:pt x="241" y="223"/>
                  </a:cubicBezTo>
                  <a:cubicBezTo>
                    <a:pt x="242" y="223"/>
                    <a:pt x="242" y="223"/>
                    <a:pt x="242" y="223"/>
                  </a:cubicBezTo>
                  <a:cubicBezTo>
                    <a:pt x="243" y="223"/>
                    <a:pt x="246" y="223"/>
                    <a:pt x="247" y="222"/>
                  </a:cubicBezTo>
                  <a:cubicBezTo>
                    <a:pt x="248" y="222"/>
                    <a:pt x="248" y="222"/>
                    <a:pt x="248" y="222"/>
                  </a:cubicBezTo>
                  <a:cubicBezTo>
                    <a:pt x="261" y="205"/>
                    <a:pt x="261" y="205"/>
                    <a:pt x="261" y="205"/>
                  </a:cubicBezTo>
                  <a:cubicBezTo>
                    <a:pt x="261" y="0"/>
                    <a:pt x="261" y="0"/>
                    <a:pt x="2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7" name="Freeform 286">
              <a:extLst>
                <a:ext uri="{FF2B5EF4-FFF2-40B4-BE49-F238E27FC236}">
                  <a16:creationId xmlns:a16="http://schemas.microsoft.com/office/drawing/2014/main" id="{D6CD5B5D-327D-4073-8AFE-C3FF82E25C93}"/>
                </a:ext>
              </a:extLst>
            </p:cNvPr>
            <p:cNvSpPr>
              <a:spLocks/>
            </p:cNvSpPr>
            <p:nvPr/>
          </p:nvSpPr>
          <p:spPr bwMode="auto">
            <a:xfrm>
              <a:off x="7033" y="512"/>
              <a:ext cx="645" cy="551"/>
            </a:xfrm>
            <a:custGeom>
              <a:avLst/>
              <a:gdLst>
                <a:gd name="T0" fmla="*/ 230 w 273"/>
                <a:gd name="T1" fmla="*/ 10 h 233"/>
                <a:gd name="T2" fmla="*/ 228 w 273"/>
                <a:gd name="T3" fmla="*/ 21 h 233"/>
                <a:gd name="T4" fmla="*/ 222 w 273"/>
                <a:gd name="T5" fmla="*/ 25 h 233"/>
                <a:gd name="T6" fmla="*/ 210 w 273"/>
                <a:gd name="T7" fmla="*/ 26 h 233"/>
                <a:gd name="T8" fmla="*/ 207 w 273"/>
                <a:gd name="T9" fmla="*/ 35 h 233"/>
                <a:gd name="T10" fmla="*/ 195 w 273"/>
                <a:gd name="T11" fmla="*/ 31 h 233"/>
                <a:gd name="T12" fmla="*/ 184 w 273"/>
                <a:gd name="T13" fmla="*/ 35 h 233"/>
                <a:gd name="T14" fmla="*/ 174 w 273"/>
                <a:gd name="T15" fmla="*/ 41 h 233"/>
                <a:gd name="T16" fmla="*/ 165 w 273"/>
                <a:gd name="T17" fmla="*/ 34 h 233"/>
                <a:gd name="T18" fmla="*/ 156 w 273"/>
                <a:gd name="T19" fmla="*/ 34 h 233"/>
                <a:gd name="T20" fmla="*/ 142 w 273"/>
                <a:gd name="T21" fmla="*/ 30 h 233"/>
                <a:gd name="T22" fmla="*/ 137 w 273"/>
                <a:gd name="T23" fmla="*/ 30 h 233"/>
                <a:gd name="T24" fmla="*/ 125 w 273"/>
                <a:gd name="T25" fmla="*/ 27 h 233"/>
                <a:gd name="T26" fmla="*/ 110 w 273"/>
                <a:gd name="T27" fmla="*/ 33 h 233"/>
                <a:gd name="T28" fmla="*/ 93 w 273"/>
                <a:gd name="T29" fmla="*/ 57 h 233"/>
                <a:gd name="T30" fmla="*/ 63 w 273"/>
                <a:gd name="T31" fmla="*/ 71 h 233"/>
                <a:gd name="T32" fmla="*/ 54 w 273"/>
                <a:gd name="T33" fmla="*/ 84 h 233"/>
                <a:gd name="T34" fmla="*/ 40 w 273"/>
                <a:gd name="T35" fmla="*/ 89 h 233"/>
                <a:gd name="T36" fmla="*/ 32 w 273"/>
                <a:gd name="T37" fmla="*/ 83 h 233"/>
                <a:gd name="T38" fmla="*/ 20 w 273"/>
                <a:gd name="T39" fmla="*/ 79 h 233"/>
                <a:gd name="T40" fmla="*/ 13 w 273"/>
                <a:gd name="T41" fmla="*/ 94 h 233"/>
                <a:gd name="T42" fmla="*/ 9 w 273"/>
                <a:gd name="T43" fmla="*/ 107 h 233"/>
                <a:gd name="T44" fmla="*/ 2 w 273"/>
                <a:gd name="T45" fmla="*/ 125 h 233"/>
                <a:gd name="T46" fmla="*/ 9 w 273"/>
                <a:gd name="T47" fmla="*/ 132 h 233"/>
                <a:gd name="T48" fmla="*/ 7 w 273"/>
                <a:gd name="T49" fmla="*/ 159 h 233"/>
                <a:gd name="T50" fmla="*/ 7 w 273"/>
                <a:gd name="T51" fmla="*/ 174 h 233"/>
                <a:gd name="T52" fmla="*/ 9 w 273"/>
                <a:gd name="T53" fmla="*/ 180 h 233"/>
                <a:gd name="T54" fmla="*/ 29 w 273"/>
                <a:gd name="T55" fmla="*/ 201 h 233"/>
                <a:gd name="T56" fmla="*/ 47 w 273"/>
                <a:gd name="T57" fmla="*/ 233 h 233"/>
                <a:gd name="T58" fmla="*/ 58 w 273"/>
                <a:gd name="T59" fmla="*/ 232 h 233"/>
                <a:gd name="T60" fmla="*/ 72 w 273"/>
                <a:gd name="T61" fmla="*/ 232 h 233"/>
                <a:gd name="T62" fmla="*/ 81 w 273"/>
                <a:gd name="T63" fmla="*/ 233 h 233"/>
                <a:gd name="T64" fmla="*/ 112 w 273"/>
                <a:gd name="T65" fmla="*/ 227 h 233"/>
                <a:gd name="T66" fmla="*/ 131 w 273"/>
                <a:gd name="T67" fmla="*/ 222 h 233"/>
                <a:gd name="T68" fmla="*/ 132 w 273"/>
                <a:gd name="T69" fmla="*/ 198 h 233"/>
                <a:gd name="T70" fmla="*/ 142 w 273"/>
                <a:gd name="T71" fmla="*/ 187 h 233"/>
                <a:gd name="T72" fmla="*/ 150 w 273"/>
                <a:gd name="T73" fmla="*/ 185 h 233"/>
                <a:gd name="T74" fmla="*/ 158 w 273"/>
                <a:gd name="T75" fmla="*/ 187 h 233"/>
                <a:gd name="T76" fmla="*/ 171 w 273"/>
                <a:gd name="T77" fmla="*/ 176 h 233"/>
                <a:gd name="T78" fmla="*/ 180 w 273"/>
                <a:gd name="T79" fmla="*/ 172 h 233"/>
                <a:gd name="T80" fmla="*/ 189 w 273"/>
                <a:gd name="T81" fmla="*/ 172 h 233"/>
                <a:gd name="T82" fmla="*/ 196 w 273"/>
                <a:gd name="T83" fmla="*/ 174 h 233"/>
                <a:gd name="T84" fmla="*/ 201 w 273"/>
                <a:gd name="T85" fmla="*/ 155 h 233"/>
                <a:gd name="T86" fmla="*/ 205 w 273"/>
                <a:gd name="T87" fmla="*/ 147 h 233"/>
                <a:gd name="T88" fmla="*/ 214 w 273"/>
                <a:gd name="T89" fmla="*/ 138 h 233"/>
                <a:gd name="T90" fmla="*/ 219 w 273"/>
                <a:gd name="T91" fmla="*/ 125 h 233"/>
                <a:gd name="T92" fmla="*/ 217 w 273"/>
                <a:gd name="T93" fmla="*/ 114 h 233"/>
                <a:gd name="T94" fmla="*/ 234 w 273"/>
                <a:gd name="T95" fmla="*/ 115 h 233"/>
                <a:gd name="T96" fmla="*/ 244 w 273"/>
                <a:gd name="T97" fmla="*/ 109 h 233"/>
                <a:gd name="T98" fmla="*/ 249 w 273"/>
                <a:gd name="T99" fmla="*/ 91 h 233"/>
                <a:gd name="T100" fmla="*/ 255 w 273"/>
                <a:gd name="T101" fmla="*/ 83 h 233"/>
                <a:gd name="T102" fmla="*/ 252 w 273"/>
                <a:gd name="T103" fmla="*/ 73 h 233"/>
                <a:gd name="T104" fmla="*/ 247 w 273"/>
                <a:gd name="T105" fmla="*/ 65 h 233"/>
                <a:gd name="T106" fmla="*/ 259 w 273"/>
                <a:gd name="T107" fmla="*/ 48 h 233"/>
                <a:gd name="T108" fmla="*/ 273 w 273"/>
                <a:gd name="T109" fmla="*/ 43 h 233"/>
                <a:gd name="T110" fmla="*/ 258 w 273"/>
                <a:gd name="T111" fmla="*/ 47 h 233"/>
                <a:gd name="T112" fmla="*/ 252 w 273"/>
                <a:gd name="T113" fmla="*/ 30 h 233"/>
                <a:gd name="T114" fmla="*/ 250 w 273"/>
                <a:gd name="T115" fmla="*/ 12 h 233"/>
                <a:gd name="T116" fmla="*/ 247 w 273"/>
                <a:gd name="T117" fmla="*/ 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3" h="233">
                  <a:moveTo>
                    <a:pt x="243" y="0"/>
                  </a:moveTo>
                  <a:cubicBezTo>
                    <a:pt x="243" y="0"/>
                    <a:pt x="243" y="0"/>
                    <a:pt x="243" y="0"/>
                  </a:cubicBezTo>
                  <a:cubicBezTo>
                    <a:pt x="241" y="0"/>
                    <a:pt x="240" y="0"/>
                    <a:pt x="240" y="0"/>
                  </a:cubicBezTo>
                  <a:cubicBezTo>
                    <a:pt x="238" y="2"/>
                    <a:pt x="236" y="4"/>
                    <a:pt x="235" y="6"/>
                  </a:cubicBezTo>
                  <a:cubicBezTo>
                    <a:pt x="234" y="7"/>
                    <a:pt x="232" y="8"/>
                    <a:pt x="231" y="10"/>
                  </a:cubicBezTo>
                  <a:cubicBezTo>
                    <a:pt x="230" y="10"/>
                    <a:pt x="230" y="10"/>
                    <a:pt x="230" y="10"/>
                  </a:cubicBezTo>
                  <a:cubicBezTo>
                    <a:pt x="229" y="11"/>
                    <a:pt x="228" y="12"/>
                    <a:pt x="227" y="13"/>
                  </a:cubicBezTo>
                  <a:cubicBezTo>
                    <a:pt x="227" y="13"/>
                    <a:pt x="227" y="13"/>
                    <a:pt x="227" y="13"/>
                  </a:cubicBezTo>
                  <a:cubicBezTo>
                    <a:pt x="228" y="13"/>
                    <a:pt x="228" y="13"/>
                    <a:pt x="228" y="13"/>
                  </a:cubicBezTo>
                  <a:cubicBezTo>
                    <a:pt x="228" y="14"/>
                    <a:pt x="229" y="15"/>
                    <a:pt x="229" y="16"/>
                  </a:cubicBezTo>
                  <a:cubicBezTo>
                    <a:pt x="230" y="17"/>
                    <a:pt x="230" y="17"/>
                    <a:pt x="230" y="18"/>
                  </a:cubicBezTo>
                  <a:cubicBezTo>
                    <a:pt x="229" y="19"/>
                    <a:pt x="229" y="20"/>
                    <a:pt x="228" y="21"/>
                  </a:cubicBezTo>
                  <a:cubicBezTo>
                    <a:pt x="228" y="22"/>
                    <a:pt x="227" y="23"/>
                    <a:pt x="226" y="24"/>
                  </a:cubicBezTo>
                  <a:cubicBezTo>
                    <a:pt x="225" y="24"/>
                    <a:pt x="225" y="24"/>
                    <a:pt x="225" y="24"/>
                  </a:cubicBezTo>
                  <a:cubicBezTo>
                    <a:pt x="227" y="29"/>
                    <a:pt x="227" y="29"/>
                    <a:pt x="227" y="29"/>
                  </a:cubicBezTo>
                  <a:cubicBezTo>
                    <a:pt x="224" y="24"/>
                    <a:pt x="224" y="24"/>
                    <a:pt x="224" y="24"/>
                  </a:cubicBezTo>
                  <a:cubicBezTo>
                    <a:pt x="224" y="24"/>
                    <a:pt x="224" y="24"/>
                    <a:pt x="224" y="24"/>
                  </a:cubicBezTo>
                  <a:cubicBezTo>
                    <a:pt x="223" y="25"/>
                    <a:pt x="223" y="25"/>
                    <a:pt x="222" y="25"/>
                  </a:cubicBezTo>
                  <a:cubicBezTo>
                    <a:pt x="222" y="25"/>
                    <a:pt x="222" y="25"/>
                    <a:pt x="222" y="25"/>
                  </a:cubicBezTo>
                  <a:cubicBezTo>
                    <a:pt x="221" y="25"/>
                    <a:pt x="219" y="24"/>
                    <a:pt x="218" y="24"/>
                  </a:cubicBezTo>
                  <a:cubicBezTo>
                    <a:pt x="217" y="24"/>
                    <a:pt x="217" y="24"/>
                    <a:pt x="216" y="24"/>
                  </a:cubicBezTo>
                  <a:cubicBezTo>
                    <a:pt x="215" y="24"/>
                    <a:pt x="213" y="23"/>
                    <a:pt x="211" y="23"/>
                  </a:cubicBezTo>
                  <a:cubicBezTo>
                    <a:pt x="211" y="24"/>
                    <a:pt x="211" y="24"/>
                    <a:pt x="211" y="24"/>
                  </a:cubicBezTo>
                  <a:cubicBezTo>
                    <a:pt x="211" y="24"/>
                    <a:pt x="211" y="25"/>
                    <a:pt x="210" y="26"/>
                  </a:cubicBezTo>
                  <a:cubicBezTo>
                    <a:pt x="210" y="29"/>
                    <a:pt x="210" y="29"/>
                    <a:pt x="210" y="29"/>
                  </a:cubicBezTo>
                  <a:cubicBezTo>
                    <a:pt x="210" y="29"/>
                    <a:pt x="210" y="29"/>
                    <a:pt x="209" y="30"/>
                  </a:cubicBezTo>
                  <a:cubicBezTo>
                    <a:pt x="209" y="30"/>
                    <a:pt x="209" y="31"/>
                    <a:pt x="209" y="32"/>
                  </a:cubicBezTo>
                  <a:cubicBezTo>
                    <a:pt x="209" y="32"/>
                    <a:pt x="208" y="33"/>
                    <a:pt x="208" y="34"/>
                  </a:cubicBezTo>
                  <a:cubicBezTo>
                    <a:pt x="213" y="37"/>
                    <a:pt x="213" y="37"/>
                    <a:pt x="213" y="37"/>
                  </a:cubicBezTo>
                  <a:cubicBezTo>
                    <a:pt x="207" y="35"/>
                    <a:pt x="207" y="35"/>
                    <a:pt x="207" y="35"/>
                  </a:cubicBezTo>
                  <a:cubicBezTo>
                    <a:pt x="206" y="35"/>
                    <a:pt x="206" y="36"/>
                    <a:pt x="205" y="36"/>
                  </a:cubicBezTo>
                  <a:cubicBezTo>
                    <a:pt x="204" y="36"/>
                    <a:pt x="204" y="36"/>
                    <a:pt x="203" y="36"/>
                  </a:cubicBezTo>
                  <a:cubicBezTo>
                    <a:pt x="203" y="36"/>
                    <a:pt x="202" y="36"/>
                    <a:pt x="202" y="36"/>
                  </a:cubicBezTo>
                  <a:cubicBezTo>
                    <a:pt x="200" y="35"/>
                    <a:pt x="199" y="34"/>
                    <a:pt x="198" y="33"/>
                  </a:cubicBezTo>
                  <a:cubicBezTo>
                    <a:pt x="195" y="31"/>
                    <a:pt x="195" y="31"/>
                    <a:pt x="195" y="31"/>
                  </a:cubicBezTo>
                  <a:cubicBezTo>
                    <a:pt x="195" y="31"/>
                    <a:pt x="195" y="31"/>
                    <a:pt x="195" y="31"/>
                  </a:cubicBezTo>
                  <a:cubicBezTo>
                    <a:pt x="195" y="31"/>
                    <a:pt x="195" y="31"/>
                    <a:pt x="194" y="31"/>
                  </a:cubicBezTo>
                  <a:cubicBezTo>
                    <a:pt x="193" y="32"/>
                    <a:pt x="193" y="32"/>
                    <a:pt x="193" y="32"/>
                  </a:cubicBezTo>
                  <a:cubicBezTo>
                    <a:pt x="193" y="32"/>
                    <a:pt x="193" y="32"/>
                    <a:pt x="193" y="32"/>
                  </a:cubicBezTo>
                  <a:cubicBezTo>
                    <a:pt x="192" y="32"/>
                    <a:pt x="191" y="32"/>
                    <a:pt x="191" y="33"/>
                  </a:cubicBezTo>
                  <a:cubicBezTo>
                    <a:pt x="189" y="34"/>
                    <a:pt x="186" y="34"/>
                    <a:pt x="184" y="35"/>
                  </a:cubicBezTo>
                  <a:cubicBezTo>
                    <a:pt x="184" y="35"/>
                    <a:pt x="184" y="35"/>
                    <a:pt x="184" y="35"/>
                  </a:cubicBezTo>
                  <a:cubicBezTo>
                    <a:pt x="183" y="35"/>
                    <a:pt x="183" y="36"/>
                    <a:pt x="183" y="36"/>
                  </a:cubicBezTo>
                  <a:cubicBezTo>
                    <a:pt x="181" y="37"/>
                    <a:pt x="180" y="38"/>
                    <a:pt x="179" y="38"/>
                  </a:cubicBezTo>
                  <a:cubicBezTo>
                    <a:pt x="179" y="39"/>
                    <a:pt x="179" y="39"/>
                    <a:pt x="179" y="39"/>
                  </a:cubicBezTo>
                  <a:cubicBezTo>
                    <a:pt x="180" y="39"/>
                    <a:pt x="180" y="39"/>
                    <a:pt x="180" y="39"/>
                  </a:cubicBezTo>
                  <a:cubicBezTo>
                    <a:pt x="178" y="39"/>
                    <a:pt x="178" y="39"/>
                    <a:pt x="178" y="39"/>
                  </a:cubicBezTo>
                  <a:cubicBezTo>
                    <a:pt x="177" y="40"/>
                    <a:pt x="176" y="41"/>
                    <a:pt x="174" y="41"/>
                  </a:cubicBezTo>
                  <a:cubicBezTo>
                    <a:pt x="174" y="41"/>
                    <a:pt x="174" y="41"/>
                    <a:pt x="174" y="41"/>
                  </a:cubicBezTo>
                  <a:cubicBezTo>
                    <a:pt x="172" y="41"/>
                    <a:pt x="171" y="40"/>
                    <a:pt x="170" y="39"/>
                  </a:cubicBezTo>
                  <a:cubicBezTo>
                    <a:pt x="167" y="37"/>
                    <a:pt x="167" y="37"/>
                    <a:pt x="167" y="37"/>
                  </a:cubicBezTo>
                  <a:cubicBezTo>
                    <a:pt x="166" y="36"/>
                    <a:pt x="166" y="35"/>
                    <a:pt x="166" y="35"/>
                  </a:cubicBezTo>
                  <a:cubicBezTo>
                    <a:pt x="166" y="34"/>
                    <a:pt x="166" y="34"/>
                    <a:pt x="166" y="34"/>
                  </a:cubicBezTo>
                  <a:cubicBezTo>
                    <a:pt x="165" y="34"/>
                    <a:pt x="165" y="34"/>
                    <a:pt x="165" y="34"/>
                  </a:cubicBezTo>
                  <a:cubicBezTo>
                    <a:pt x="165" y="34"/>
                    <a:pt x="165" y="34"/>
                    <a:pt x="165" y="34"/>
                  </a:cubicBezTo>
                  <a:cubicBezTo>
                    <a:pt x="164" y="34"/>
                    <a:pt x="164" y="34"/>
                    <a:pt x="163" y="34"/>
                  </a:cubicBezTo>
                  <a:cubicBezTo>
                    <a:pt x="162" y="34"/>
                    <a:pt x="161" y="34"/>
                    <a:pt x="160" y="34"/>
                  </a:cubicBezTo>
                  <a:cubicBezTo>
                    <a:pt x="160" y="34"/>
                    <a:pt x="160" y="34"/>
                    <a:pt x="160" y="34"/>
                  </a:cubicBezTo>
                  <a:cubicBezTo>
                    <a:pt x="159" y="34"/>
                    <a:pt x="158" y="34"/>
                    <a:pt x="157" y="34"/>
                  </a:cubicBezTo>
                  <a:cubicBezTo>
                    <a:pt x="156" y="34"/>
                    <a:pt x="156" y="34"/>
                    <a:pt x="156" y="34"/>
                  </a:cubicBezTo>
                  <a:cubicBezTo>
                    <a:pt x="154" y="34"/>
                    <a:pt x="153" y="33"/>
                    <a:pt x="152" y="32"/>
                  </a:cubicBezTo>
                  <a:cubicBezTo>
                    <a:pt x="152" y="32"/>
                    <a:pt x="152" y="31"/>
                    <a:pt x="151" y="31"/>
                  </a:cubicBezTo>
                  <a:cubicBezTo>
                    <a:pt x="150" y="30"/>
                    <a:pt x="149" y="30"/>
                    <a:pt x="148" y="30"/>
                  </a:cubicBezTo>
                  <a:cubicBezTo>
                    <a:pt x="148" y="30"/>
                    <a:pt x="147" y="30"/>
                    <a:pt x="146" y="30"/>
                  </a:cubicBezTo>
                  <a:cubicBezTo>
                    <a:pt x="142" y="29"/>
                    <a:pt x="142" y="29"/>
                    <a:pt x="142" y="29"/>
                  </a:cubicBezTo>
                  <a:cubicBezTo>
                    <a:pt x="142" y="30"/>
                    <a:pt x="142" y="30"/>
                    <a:pt x="142" y="30"/>
                  </a:cubicBezTo>
                  <a:cubicBezTo>
                    <a:pt x="139" y="30"/>
                    <a:pt x="139" y="30"/>
                    <a:pt x="139" y="30"/>
                  </a:cubicBezTo>
                  <a:cubicBezTo>
                    <a:pt x="139" y="30"/>
                    <a:pt x="139" y="30"/>
                    <a:pt x="139" y="30"/>
                  </a:cubicBezTo>
                  <a:cubicBezTo>
                    <a:pt x="138" y="30"/>
                    <a:pt x="138" y="30"/>
                    <a:pt x="138" y="30"/>
                  </a:cubicBezTo>
                  <a:cubicBezTo>
                    <a:pt x="138" y="30"/>
                    <a:pt x="138" y="30"/>
                    <a:pt x="138" y="30"/>
                  </a:cubicBezTo>
                  <a:cubicBezTo>
                    <a:pt x="137" y="30"/>
                    <a:pt x="137" y="30"/>
                    <a:pt x="137" y="30"/>
                  </a:cubicBezTo>
                  <a:cubicBezTo>
                    <a:pt x="137" y="30"/>
                    <a:pt x="137" y="30"/>
                    <a:pt x="137" y="30"/>
                  </a:cubicBezTo>
                  <a:cubicBezTo>
                    <a:pt x="136" y="30"/>
                    <a:pt x="135" y="30"/>
                    <a:pt x="134" y="30"/>
                  </a:cubicBezTo>
                  <a:cubicBezTo>
                    <a:pt x="134" y="30"/>
                    <a:pt x="134" y="30"/>
                    <a:pt x="133" y="30"/>
                  </a:cubicBezTo>
                  <a:cubicBezTo>
                    <a:pt x="132" y="30"/>
                    <a:pt x="131" y="29"/>
                    <a:pt x="130" y="29"/>
                  </a:cubicBezTo>
                  <a:cubicBezTo>
                    <a:pt x="130" y="29"/>
                    <a:pt x="130" y="29"/>
                    <a:pt x="130" y="29"/>
                  </a:cubicBezTo>
                  <a:cubicBezTo>
                    <a:pt x="129" y="29"/>
                    <a:pt x="128" y="28"/>
                    <a:pt x="127" y="28"/>
                  </a:cubicBezTo>
                  <a:cubicBezTo>
                    <a:pt x="125" y="27"/>
                    <a:pt x="125" y="27"/>
                    <a:pt x="125" y="27"/>
                  </a:cubicBezTo>
                  <a:cubicBezTo>
                    <a:pt x="125" y="27"/>
                    <a:pt x="124" y="27"/>
                    <a:pt x="124" y="26"/>
                  </a:cubicBezTo>
                  <a:cubicBezTo>
                    <a:pt x="122" y="25"/>
                    <a:pt x="122" y="25"/>
                    <a:pt x="122" y="25"/>
                  </a:cubicBezTo>
                  <a:cubicBezTo>
                    <a:pt x="121" y="26"/>
                    <a:pt x="121" y="26"/>
                    <a:pt x="121" y="26"/>
                  </a:cubicBezTo>
                  <a:cubicBezTo>
                    <a:pt x="120" y="29"/>
                    <a:pt x="118" y="31"/>
                    <a:pt x="115" y="32"/>
                  </a:cubicBezTo>
                  <a:cubicBezTo>
                    <a:pt x="115" y="33"/>
                    <a:pt x="114" y="33"/>
                    <a:pt x="112" y="33"/>
                  </a:cubicBezTo>
                  <a:cubicBezTo>
                    <a:pt x="112" y="33"/>
                    <a:pt x="111" y="33"/>
                    <a:pt x="110" y="33"/>
                  </a:cubicBezTo>
                  <a:cubicBezTo>
                    <a:pt x="110" y="33"/>
                    <a:pt x="110" y="33"/>
                    <a:pt x="110" y="33"/>
                  </a:cubicBezTo>
                  <a:cubicBezTo>
                    <a:pt x="97" y="46"/>
                    <a:pt x="97" y="46"/>
                    <a:pt x="97" y="46"/>
                  </a:cubicBezTo>
                  <a:cubicBezTo>
                    <a:pt x="97" y="47"/>
                    <a:pt x="97" y="47"/>
                    <a:pt x="97" y="47"/>
                  </a:cubicBezTo>
                  <a:cubicBezTo>
                    <a:pt x="96" y="47"/>
                    <a:pt x="96" y="48"/>
                    <a:pt x="96" y="48"/>
                  </a:cubicBezTo>
                  <a:cubicBezTo>
                    <a:pt x="96" y="51"/>
                    <a:pt x="96" y="54"/>
                    <a:pt x="93" y="57"/>
                  </a:cubicBezTo>
                  <a:cubicBezTo>
                    <a:pt x="93" y="57"/>
                    <a:pt x="93" y="57"/>
                    <a:pt x="93" y="57"/>
                  </a:cubicBezTo>
                  <a:cubicBezTo>
                    <a:pt x="90" y="60"/>
                    <a:pt x="88" y="61"/>
                    <a:pt x="84" y="63"/>
                  </a:cubicBezTo>
                  <a:cubicBezTo>
                    <a:pt x="82" y="63"/>
                    <a:pt x="80" y="65"/>
                    <a:pt x="77" y="65"/>
                  </a:cubicBezTo>
                  <a:cubicBezTo>
                    <a:pt x="75" y="66"/>
                    <a:pt x="75" y="66"/>
                    <a:pt x="75" y="66"/>
                  </a:cubicBezTo>
                  <a:cubicBezTo>
                    <a:pt x="73" y="67"/>
                    <a:pt x="71" y="68"/>
                    <a:pt x="69" y="69"/>
                  </a:cubicBezTo>
                  <a:cubicBezTo>
                    <a:pt x="67" y="69"/>
                    <a:pt x="66" y="70"/>
                    <a:pt x="64" y="70"/>
                  </a:cubicBezTo>
                  <a:cubicBezTo>
                    <a:pt x="63" y="71"/>
                    <a:pt x="63" y="71"/>
                    <a:pt x="63" y="71"/>
                  </a:cubicBezTo>
                  <a:cubicBezTo>
                    <a:pt x="63" y="71"/>
                    <a:pt x="63" y="71"/>
                    <a:pt x="63" y="71"/>
                  </a:cubicBezTo>
                  <a:cubicBezTo>
                    <a:pt x="64" y="73"/>
                    <a:pt x="62" y="75"/>
                    <a:pt x="61" y="77"/>
                  </a:cubicBezTo>
                  <a:cubicBezTo>
                    <a:pt x="60" y="78"/>
                    <a:pt x="60" y="78"/>
                    <a:pt x="60" y="78"/>
                  </a:cubicBezTo>
                  <a:cubicBezTo>
                    <a:pt x="59" y="79"/>
                    <a:pt x="57" y="82"/>
                    <a:pt x="55" y="83"/>
                  </a:cubicBezTo>
                  <a:cubicBezTo>
                    <a:pt x="54" y="84"/>
                    <a:pt x="54" y="84"/>
                    <a:pt x="54" y="84"/>
                  </a:cubicBezTo>
                  <a:cubicBezTo>
                    <a:pt x="54" y="84"/>
                    <a:pt x="54" y="84"/>
                    <a:pt x="54" y="84"/>
                  </a:cubicBezTo>
                  <a:cubicBezTo>
                    <a:pt x="53" y="84"/>
                    <a:pt x="52" y="84"/>
                    <a:pt x="52" y="84"/>
                  </a:cubicBezTo>
                  <a:cubicBezTo>
                    <a:pt x="51" y="85"/>
                    <a:pt x="50" y="85"/>
                    <a:pt x="49" y="85"/>
                  </a:cubicBezTo>
                  <a:cubicBezTo>
                    <a:pt x="47" y="85"/>
                    <a:pt x="47" y="85"/>
                    <a:pt x="47" y="85"/>
                  </a:cubicBezTo>
                  <a:cubicBezTo>
                    <a:pt x="46" y="85"/>
                    <a:pt x="44" y="85"/>
                    <a:pt x="43" y="86"/>
                  </a:cubicBezTo>
                  <a:cubicBezTo>
                    <a:pt x="43" y="87"/>
                    <a:pt x="43" y="87"/>
                    <a:pt x="43" y="87"/>
                  </a:cubicBezTo>
                  <a:cubicBezTo>
                    <a:pt x="42" y="88"/>
                    <a:pt x="42" y="89"/>
                    <a:pt x="40" y="89"/>
                  </a:cubicBezTo>
                  <a:cubicBezTo>
                    <a:pt x="40" y="89"/>
                    <a:pt x="40" y="89"/>
                    <a:pt x="40" y="89"/>
                  </a:cubicBezTo>
                  <a:cubicBezTo>
                    <a:pt x="38" y="89"/>
                    <a:pt x="37" y="88"/>
                    <a:pt x="35" y="86"/>
                  </a:cubicBezTo>
                  <a:cubicBezTo>
                    <a:pt x="34" y="86"/>
                    <a:pt x="34" y="85"/>
                    <a:pt x="34" y="85"/>
                  </a:cubicBezTo>
                  <a:cubicBezTo>
                    <a:pt x="33" y="84"/>
                    <a:pt x="33" y="84"/>
                    <a:pt x="32" y="84"/>
                  </a:cubicBezTo>
                  <a:cubicBezTo>
                    <a:pt x="32" y="83"/>
                    <a:pt x="32" y="83"/>
                    <a:pt x="32" y="83"/>
                  </a:cubicBezTo>
                  <a:cubicBezTo>
                    <a:pt x="32" y="83"/>
                    <a:pt x="32" y="83"/>
                    <a:pt x="32" y="83"/>
                  </a:cubicBezTo>
                  <a:cubicBezTo>
                    <a:pt x="31" y="82"/>
                    <a:pt x="31" y="82"/>
                    <a:pt x="31" y="82"/>
                  </a:cubicBezTo>
                  <a:cubicBezTo>
                    <a:pt x="30" y="81"/>
                    <a:pt x="29" y="81"/>
                    <a:pt x="27" y="80"/>
                  </a:cubicBezTo>
                  <a:cubicBezTo>
                    <a:pt x="27" y="80"/>
                    <a:pt x="27" y="80"/>
                    <a:pt x="27" y="80"/>
                  </a:cubicBezTo>
                  <a:cubicBezTo>
                    <a:pt x="27" y="80"/>
                    <a:pt x="26" y="80"/>
                    <a:pt x="25" y="80"/>
                  </a:cubicBezTo>
                  <a:cubicBezTo>
                    <a:pt x="24" y="80"/>
                    <a:pt x="23" y="79"/>
                    <a:pt x="22" y="79"/>
                  </a:cubicBezTo>
                  <a:cubicBezTo>
                    <a:pt x="20" y="79"/>
                    <a:pt x="20" y="79"/>
                    <a:pt x="20" y="79"/>
                  </a:cubicBezTo>
                  <a:cubicBezTo>
                    <a:pt x="19" y="78"/>
                    <a:pt x="19" y="78"/>
                    <a:pt x="19" y="78"/>
                  </a:cubicBezTo>
                  <a:cubicBezTo>
                    <a:pt x="16" y="82"/>
                    <a:pt x="16" y="82"/>
                    <a:pt x="16" y="82"/>
                  </a:cubicBezTo>
                  <a:cubicBezTo>
                    <a:pt x="14" y="88"/>
                    <a:pt x="14" y="88"/>
                    <a:pt x="14" y="88"/>
                  </a:cubicBezTo>
                  <a:cubicBezTo>
                    <a:pt x="14" y="89"/>
                    <a:pt x="14" y="90"/>
                    <a:pt x="14" y="91"/>
                  </a:cubicBezTo>
                  <a:cubicBezTo>
                    <a:pt x="14" y="93"/>
                    <a:pt x="14" y="93"/>
                    <a:pt x="14" y="93"/>
                  </a:cubicBezTo>
                  <a:cubicBezTo>
                    <a:pt x="13" y="94"/>
                    <a:pt x="13" y="94"/>
                    <a:pt x="13" y="94"/>
                  </a:cubicBezTo>
                  <a:cubicBezTo>
                    <a:pt x="13" y="94"/>
                    <a:pt x="13" y="94"/>
                    <a:pt x="13" y="94"/>
                  </a:cubicBezTo>
                  <a:cubicBezTo>
                    <a:pt x="12" y="97"/>
                    <a:pt x="12" y="98"/>
                    <a:pt x="9" y="100"/>
                  </a:cubicBezTo>
                  <a:cubicBezTo>
                    <a:pt x="8" y="101"/>
                    <a:pt x="8" y="101"/>
                    <a:pt x="8" y="101"/>
                  </a:cubicBezTo>
                  <a:cubicBezTo>
                    <a:pt x="7" y="102"/>
                    <a:pt x="7" y="102"/>
                    <a:pt x="6" y="103"/>
                  </a:cubicBezTo>
                  <a:cubicBezTo>
                    <a:pt x="7" y="104"/>
                    <a:pt x="7" y="104"/>
                    <a:pt x="7" y="105"/>
                  </a:cubicBezTo>
                  <a:cubicBezTo>
                    <a:pt x="9" y="107"/>
                    <a:pt x="9" y="107"/>
                    <a:pt x="9" y="107"/>
                  </a:cubicBezTo>
                  <a:cubicBezTo>
                    <a:pt x="0" y="116"/>
                    <a:pt x="0" y="116"/>
                    <a:pt x="0" y="116"/>
                  </a:cubicBezTo>
                  <a:cubicBezTo>
                    <a:pt x="0" y="117"/>
                    <a:pt x="0" y="118"/>
                    <a:pt x="0" y="120"/>
                  </a:cubicBezTo>
                  <a:cubicBezTo>
                    <a:pt x="0" y="121"/>
                    <a:pt x="0" y="122"/>
                    <a:pt x="0" y="123"/>
                  </a:cubicBezTo>
                  <a:cubicBezTo>
                    <a:pt x="0" y="124"/>
                    <a:pt x="0" y="124"/>
                    <a:pt x="0" y="124"/>
                  </a:cubicBezTo>
                  <a:cubicBezTo>
                    <a:pt x="0" y="124"/>
                    <a:pt x="0" y="125"/>
                    <a:pt x="0" y="125"/>
                  </a:cubicBezTo>
                  <a:cubicBezTo>
                    <a:pt x="0" y="125"/>
                    <a:pt x="1" y="125"/>
                    <a:pt x="2" y="125"/>
                  </a:cubicBezTo>
                  <a:cubicBezTo>
                    <a:pt x="3" y="126"/>
                    <a:pt x="3" y="126"/>
                    <a:pt x="3" y="126"/>
                  </a:cubicBezTo>
                  <a:cubicBezTo>
                    <a:pt x="3" y="126"/>
                    <a:pt x="4" y="126"/>
                    <a:pt x="5" y="126"/>
                  </a:cubicBezTo>
                  <a:cubicBezTo>
                    <a:pt x="5" y="126"/>
                    <a:pt x="5" y="126"/>
                    <a:pt x="5" y="126"/>
                  </a:cubicBezTo>
                  <a:cubicBezTo>
                    <a:pt x="6" y="126"/>
                    <a:pt x="7" y="127"/>
                    <a:pt x="8" y="127"/>
                  </a:cubicBezTo>
                  <a:cubicBezTo>
                    <a:pt x="12" y="128"/>
                    <a:pt x="12" y="128"/>
                    <a:pt x="12" y="128"/>
                  </a:cubicBezTo>
                  <a:cubicBezTo>
                    <a:pt x="9" y="132"/>
                    <a:pt x="9" y="132"/>
                    <a:pt x="9" y="132"/>
                  </a:cubicBezTo>
                  <a:cubicBezTo>
                    <a:pt x="9" y="132"/>
                    <a:pt x="8" y="133"/>
                    <a:pt x="7" y="134"/>
                  </a:cubicBezTo>
                  <a:cubicBezTo>
                    <a:pt x="7" y="134"/>
                    <a:pt x="7" y="134"/>
                    <a:pt x="7" y="134"/>
                  </a:cubicBezTo>
                  <a:cubicBezTo>
                    <a:pt x="4" y="137"/>
                    <a:pt x="2" y="139"/>
                    <a:pt x="2" y="139"/>
                  </a:cubicBezTo>
                  <a:cubicBezTo>
                    <a:pt x="6" y="155"/>
                    <a:pt x="6" y="155"/>
                    <a:pt x="6" y="155"/>
                  </a:cubicBezTo>
                  <a:cubicBezTo>
                    <a:pt x="6" y="155"/>
                    <a:pt x="6" y="156"/>
                    <a:pt x="6" y="157"/>
                  </a:cubicBezTo>
                  <a:cubicBezTo>
                    <a:pt x="7" y="159"/>
                    <a:pt x="7" y="159"/>
                    <a:pt x="7" y="159"/>
                  </a:cubicBezTo>
                  <a:cubicBezTo>
                    <a:pt x="7" y="160"/>
                    <a:pt x="8" y="161"/>
                    <a:pt x="8" y="162"/>
                  </a:cubicBezTo>
                  <a:cubicBezTo>
                    <a:pt x="8" y="164"/>
                    <a:pt x="8" y="165"/>
                    <a:pt x="7" y="167"/>
                  </a:cubicBezTo>
                  <a:cubicBezTo>
                    <a:pt x="7" y="168"/>
                    <a:pt x="7" y="170"/>
                    <a:pt x="7" y="171"/>
                  </a:cubicBezTo>
                  <a:cubicBezTo>
                    <a:pt x="7" y="172"/>
                    <a:pt x="7" y="172"/>
                    <a:pt x="7" y="172"/>
                  </a:cubicBezTo>
                  <a:cubicBezTo>
                    <a:pt x="7" y="172"/>
                    <a:pt x="7" y="173"/>
                    <a:pt x="7" y="173"/>
                  </a:cubicBezTo>
                  <a:cubicBezTo>
                    <a:pt x="7" y="174"/>
                    <a:pt x="7" y="174"/>
                    <a:pt x="7" y="174"/>
                  </a:cubicBezTo>
                  <a:cubicBezTo>
                    <a:pt x="12" y="174"/>
                    <a:pt x="12" y="174"/>
                    <a:pt x="12" y="174"/>
                  </a:cubicBezTo>
                  <a:cubicBezTo>
                    <a:pt x="7" y="175"/>
                    <a:pt x="7" y="175"/>
                    <a:pt x="7" y="175"/>
                  </a:cubicBezTo>
                  <a:cubicBezTo>
                    <a:pt x="7" y="176"/>
                    <a:pt x="7" y="176"/>
                    <a:pt x="7" y="176"/>
                  </a:cubicBezTo>
                  <a:cubicBezTo>
                    <a:pt x="7" y="177"/>
                    <a:pt x="7" y="178"/>
                    <a:pt x="7" y="178"/>
                  </a:cubicBezTo>
                  <a:cubicBezTo>
                    <a:pt x="7" y="179"/>
                    <a:pt x="7" y="179"/>
                    <a:pt x="7" y="180"/>
                  </a:cubicBezTo>
                  <a:cubicBezTo>
                    <a:pt x="8" y="180"/>
                    <a:pt x="8" y="180"/>
                    <a:pt x="9" y="180"/>
                  </a:cubicBezTo>
                  <a:cubicBezTo>
                    <a:pt x="21" y="182"/>
                    <a:pt x="21" y="182"/>
                    <a:pt x="21" y="182"/>
                  </a:cubicBezTo>
                  <a:cubicBezTo>
                    <a:pt x="24" y="182"/>
                    <a:pt x="25" y="183"/>
                    <a:pt x="26" y="184"/>
                  </a:cubicBezTo>
                  <a:cubicBezTo>
                    <a:pt x="28" y="188"/>
                    <a:pt x="28" y="188"/>
                    <a:pt x="28" y="188"/>
                  </a:cubicBezTo>
                  <a:cubicBezTo>
                    <a:pt x="29" y="188"/>
                    <a:pt x="29" y="189"/>
                    <a:pt x="29" y="189"/>
                  </a:cubicBezTo>
                  <a:cubicBezTo>
                    <a:pt x="30" y="191"/>
                    <a:pt x="30" y="192"/>
                    <a:pt x="31" y="193"/>
                  </a:cubicBezTo>
                  <a:cubicBezTo>
                    <a:pt x="31" y="196"/>
                    <a:pt x="31" y="198"/>
                    <a:pt x="29" y="201"/>
                  </a:cubicBezTo>
                  <a:cubicBezTo>
                    <a:pt x="27" y="204"/>
                    <a:pt x="25" y="206"/>
                    <a:pt x="24" y="207"/>
                  </a:cubicBezTo>
                  <a:cubicBezTo>
                    <a:pt x="23" y="208"/>
                    <a:pt x="23" y="209"/>
                    <a:pt x="22" y="210"/>
                  </a:cubicBezTo>
                  <a:cubicBezTo>
                    <a:pt x="20" y="213"/>
                    <a:pt x="20" y="213"/>
                    <a:pt x="20" y="213"/>
                  </a:cubicBezTo>
                  <a:cubicBezTo>
                    <a:pt x="18" y="214"/>
                    <a:pt x="17" y="216"/>
                    <a:pt x="15" y="217"/>
                  </a:cubicBezTo>
                  <a:cubicBezTo>
                    <a:pt x="11" y="223"/>
                    <a:pt x="11" y="223"/>
                    <a:pt x="11" y="223"/>
                  </a:cubicBezTo>
                  <a:cubicBezTo>
                    <a:pt x="47" y="233"/>
                    <a:pt x="47" y="233"/>
                    <a:pt x="47" y="233"/>
                  </a:cubicBezTo>
                  <a:cubicBezTo>
                    <a:pt x="47" y="233"/>
                    <a:pt x="48" y="233"/>
                    <a:pt x="48" y="233"/>
                  </a:cubicBezTo>
                  <a:cubicBezTo>
                    <a:pt x="48" y="233"/>
                    <a:pt x="48" y="233"/>
                    <a:pt x="48" y="233"/>
                  </a:cubicBezTo>
                  <a:cubicBezTo>
                    <a:pt x="49" y="233"/>
                    <a:pt x="50" y="233"/>
                    <a:pt x="51" y="233"/>
                  </a:cubicBezTo>
                  <a:cubicBezTo>
                    <a:pt x="51" y="233"/>
                    <a:pt x="51" y="233"/>
                    <a:pt x="51" y="233"/>
                  </a:cubicBezTo>
                  <a:cubicBezTo>
                    <a:pt x="52" y="233"/>
                    <a:pt x="53" y="233"/>
                    <a:pt x="54" y="233"/>
                  </a:cubicBezTo>
                  <a:cubicBezTo>
                    <a:pt x="58" y="232"/>
                    <a:pt x="58" y="232"/>
                    <a:pt x="58" y="232"/>
                  </a:cubicBezTo>
                  <a:cubicBezTo>
                    <a:pt x="58" y="232"/>
                    <a:pt x="58" y="232"/>
                    <a:pt x="58" y="232"/>
                  </a:cubicBezTo>
                  <a:cubicBezTo>
                    <a:pt x="69" y="231"/>
                    <a:pt x="69" y="231"/>
                    <a:pt x="69" y="231"/>
                  </a:cubicBezTo>
                  <a:cubicBezTo>
                    <a:pt x="69" y="231"/>
                    <a:pt x="69" y="231"/>
                    <a:pt x="70" y="231"/>
                  </a:cubicBezTo>
                  <a:cubicBezTo>
                    <a:pt x="70" y="231"/>
                    <a:pt x="71" y="232"/>
                    <a:pt x="71" y="232"/>
                  </a:cubicBezTo>
                  <a:cubicBezTo>
                    <a:pt x="72" y="232"/>
                    <a:pt x="72" y="232"/>
                    <a:pt x="72" y="232"/>
                  </a:cubicBezTo>
                  <a:cubicBezTo>
                    <a:pt x="72" y="232"/>
                    <a:pt x="72" y="232"/>
                    <a:pt x="72" y="232"/>
                  </a:cubicBezTo>
                  <a:cubicBezTo>
                    <a:pt x="73" y="232"/>
                    <a:pt x="73" y="232"/>
                    <a:pt x="73" y="232"/>
                  </a:cubicBezTo>
                  <a:cubicBezTo>
                    <a:pt x="74" y="232"/>
                    <a:pt x="75" y="232"/>
                    <a:pt x="76" y="233"/>
                  </a:cubicBezTo>
                  <a:cubicBezTo>
                    <a:pt x="76" y="233"/>
                    <a:pt x="77" y="233"/>
                    <a:pt x="77" y="233"/>
                  </a:cubicBezTo>
                  <a:cubicBezTo>
                    <a:pt x="78" y="233"/>
                    <a:pt x="78" y="233"/>
                    <a:pt x="78" y="233"/>
                  </a:cubicBezTo>
                  <a:cubicBezTo>
                    <a:pt x="79" y="233"/>
                    <a:pt x="79" y="233"/>
                    <a:pt x="80" y="233"/>
                  </a:cubicBezTo>
                  <a:cubicBezTo>
                    <a:pt x="80" y="233"/>
                    <a:pt x="80" y="233"/>
                    <a:pt x="81" y="233"/>
                  </a:cubicBezTo>
                  <a:cubicBezTo>
                    <a:pt x="82" y="233"/>
                    <a:pt x="83" y="232"/>
                    <a:pt x="85" y="232"/>
                  </a:cubicBezTo>
                  <a:cubicBezTo>
                    <a:pt x="86" y="231"/>
                    <a:pt x="87" y="231"/>
                    <a:pt x="88" y="230"/>
                  </a:cubicBezTo>
                  <a:cubicBezTo>
                    <a:pt x="88" y="230"/>
                    <a:pt x="89" y="229"/>
                    <a:pt x="90" y="229"/>
                  </a:cubicBezTo>
                  <a:cubicBezTo>
                    <a:pt x="94" y="228"/>
                    <a:pt x="97" y="228"/>
                    <a:pt x="100" y="228"/>
                  </a:cubicBezTo>
                  <a:cubicBezTo>
                    <a:pt x="102" y="228"/>
                    <a:pt x="105" y="227"/>
                    <a:pt x="107" y="227"/>
                  </a:cubicBezTo>
                  <a:cubicBezTo>
                    <a:pt x="112" y="227"/>
                    <a:pt x="112" y="227"/>
                    <a:pt x="112" y="227"/>
                  </a:cubicBezTo>
                  <a:cubicBezTo>
                    <a:pt x="112" y="227"/>
                    <a:pt x="113" y="227"/>
                    <a:pt x="113" y="227"/>
                  </a:cubicBezTo>
                  <a:cubicBezTo>
                    <a:pt x="116" y="227"/>
                    <a:pt x="118" y="226"/>
                    <a:pt x="120" y="225"/>
                  </a:cubicBezTo>
                  <a:cubicBezTo>
                    <a:pt x="122" y="225"/>
                    <a:pt x="124" y="224"/>
                    <a:pt x="126" y="223"/>
                  </a:cubicBezTo>
                  <a:cubicBezTo>
                    <a:pt x="129" y="223"/>
                    <a:pt x="129" y="223"/>
                    <a:pt x="129" y="223"/>
                  </a:cubicBezTo>
                  <a:cubicBezTo>
                    <a:pt x="129" y="223"/>
                    <a:pt x="130" y="222"/>
                    <a:pt x="130" y="222"/>
                  </a:cubicBezTo>
                  <a:cubicBezTo>
                    <a:pt x="131" y="222"/>
                    <a:pt x="131" y="222"/>
                    <a:pt x="131" y="222"/>
                  </a:cubicBezTo>
                  <a:cubicBezTo>
                    <a:pt x="129" y="220"/>
                    <a:pt x="129" y="218"/>
                    <a:pt x="130" y="216"/>
                  </a:cubicBezTo>
                  <a:cubicBezTo>
                    <a:pt x="130" y="216"/>
                    <a:pt x="130" y="216"/>
                    <a:pt x="130" y="216"/>
                  </a:cubicBezTo>
                  <a:cubicBezTo>
                    <a:pt x="130" y="214"/>
                    <a:pt x="130" y="213"/>
                    <a:pt x="130" y="212"/>
                  </a:cubicBezTo>
                  <a:cubicBezTo>
                    <a:pt x="131" y="211"/>
                    <a:pt x="131" y="211"/>
                    <a:pt x="131" y="210"/>
                  </a:cubicBezTo>
                  <a:cubicBezTo>
                    <a:pt x="131" y="207"/>
                    <a:pt x="131" y="204"/>
                    <a:pt x="132" y="201"/>
                  </a:cubicBezTo>
                  <a:cubicBezTo>
                    <a:pt x="132" y="198"/>
                    <a:pt x="132" y="198"/>
                    <a:pt x="132" y="198"/>
                  </a:cubicBezTo>
                  <a:cubicBezTo>
                    <a:pt x="132" y="198"/>
                    <a:pt x="133" y="198"/>
                    <a:pt x="133" y="197"/>
                  </a:cubicBezTo>
                  <a:cubicBezTo>
                    <a:pt x="133" y="196"/>
                    <a:pt x="134" y="195"/>
                    <a:pt x="135" y="194"/>
                  </a:cubicBezTo>
                  <a:cubicBezTo>
                    <a:pt x="135" y="194"/>
                    <a:pt x="135" y="194"/>
                    <a:pt x="135" y="194"/>
                  </a:cubicBezTo>
                  <a:cubicBezTo>
                    <a:pt x="136" y="193"/>
                    <a:pt x="137" y="192"/>
                    <a:pt x="139" y="190"/>
                  </a:cubicBezTo>
                  <a:cubicBezTo>
                    <a:pt x="140" y="189"/>
                    <a:pt x="141" y="188"/>
                    <a:pt x="142" y="188"/>
                  </a:cubicBezTo>
                  <a:cubicBezTo>
                    <a:pt x="142" y="187"/>
                    <a:pt x="142" y="187"/>
                    <a:pt x="142" y="187"/>
                  </a:cubicBezTo>
                  <a:cubicBezTo>
                    <a:pt x="143" y="187"/>
                    <a:pt x="143" y="187"/>
                    <a:pt x="144" y="186"/>
                  </a:cubicBezTo>
                  <a:cubicBezTo>
                    <a:pt x="140" y="184"/>
                    <a:pt x="140" y="184"/>
                    <a:pt x="140" y="184"/>
                  </a:cubicBezTo>
                  <a:cubicBezTo>
                    <a:pt x="145" y="186"/>
                    <a:pt x="145" y="186"/>
                    <a:pt x="145" y="186"/>
                  </a:cubicBezTo>
                  <a:cubicBezTo>
                    <a:pt x="145" y="186"/>
                    <a:pt x="145" y="186"/>
                    <a:pt x="145" y="186"/>
                  </a:cubicBezTo>
                  <a:cubicBezTo>
                    <a:pt x="146" y="185"/>
                    <a:pt x="148" y="185"/>
                    <a:pt x="149" y="185"/>
                  </a:cubicBezTo>
                  <a:cubicBezTo>
                    <a:pt x="149" y="185"/>
                    <a:pt x="149" y="185"/>
                    <a:pt x="150" y="185"/>
                  </a:cubicBezTo>
                  <a:cubicBezTo>
                    <a:pt x="150" y="185"/>
                    <a:pt x="151" y="185"/>
                    <a:pt x="151" y="185"/>
                  </a:cubicBezTo>
                  <a:cubicBezTo>
                    <a:pt x="153" y="185"/>
                    <a:pt x="153" y="185"/>
                    <a:pt x="153" y="185"/>
                  </a:cubicBezTo>
                  <a:cubicBezTo>
                    <a:pt x="153" y="185"/>
                    <a:pt x="154" y="186"/>
                    <a:pt x="155" y="186"/>
                  </a:cubicBezTo>
                  <a:cubicBezTo>
                    <a:pt x="155" y="186"/>
                    <a:pt x="155" y="186"/>
                    <a:pt x="155" y="186"/>
                  </a:cubicBezTo>
                  <a:cubicBezTo>
                    <a:pt x="156" y="186"/>
                    <a:pt x="156" y="186"/>
                    <a:pt x="156" y="186"/>
                  </a:cubicBezTo>
                  <a:cubicBezTo>
                    <a:pt x="157" y="186"/>
                    <a:pt x="157" y="187"/>
                    <a:pt x="158" y="187"/>
                  </a:cubicBezTo>
                  <a:cubicBezTo>
                    <a:pt x="158" y="187"/>
                    <a:pt x="158" y="187"/>
                    <a:pt x="158" y="187"/>
                  </a:cubicBezTo>
                  <a:cubicBezTo>
                    <a:pt x="160" y="186"/>
                    <a:pt x="160" y="186"/>
                    <a:pt x="160" y="186"/>
                  </a:cubicBezTo>
                  <a:cubicBezTo>
                    <a:pt x="161" y="186"/>
                    <a:pt x="162" y="185"/>
                    <a:pt x="163" y="185"/>
                  </a:cubicBezTo>
                  <a:cubicBezTo>
                    <a:pt x="156" y="179"/>
                    <a:pt x="156" y="179"/>
                    <a:pt x="156" y="179"/>
                  </a:cubicBezTo>
                  <a:cubicBezTo>
                    <a:pt x="163" y="178"/>
                    <a:pt x="163" y="178"/>
                    <a:pt x="163" y="178"/>
                  </a:cubicBezTo>
                  <a:cubicBezTo>
                    <a:pt x="166" y="178"/>
                    <a:pt x="167" y="178"/>
                    <a:pt x="171" y="176"/>
                  </a:cubicBezTo>
                  <a:cubicBezTo>
                    <a:pt x="171" y="175"/>
                    <a:pt x="171" y="175"/>
                    <a:pt x="171" y="175"/>
                  </a:cubicBezTo>
                  <a:cubicBezTo>
                    <a:pt x="171" y="175"/>
                    <a:pt x="172" y="175"/>
                    <a:pt x="172" y="175"/>
                  </a:cubicBezTo>
                  <a:cubicBezTo>
                    <a:pt x="173" y="174"/>
                    <a:pt x="174" y="174"/>
                    <a:pt x="175" y="173"/>
                  </a:cubicBezTo>
                  <a:cubicBezTo>
                    <a:pt x="175" y="173"/>
                    <a:pt x="176" y="173"/>
                    <a:pt x="176" y="173"/>
                  </a:cubicBezTo>
                  <a:cubicBezTo>
                    <a:pt x="177" y="172"/>
                    <a:pt x="178" y="172"/>
                    <a:pt x="179" y="172"/>
                  </a:cubicBezTo>
                  <a:cubicBezTo>
                    <a:pt x="179" y="172"/>
                    <a:pt x="180" y="172"/>
                    <a:pt x="180" y="172"/>
                  </a:cubicBezTo>
                  <a:cubicBezTo>
                    <a:pt x="181" y="172"/>
                    <a:pt x="181" y="172"/>
                    <a:pt x="181" y="172"/>
                  </a:cubicBezTo>
                  <a:cubicBezTo>
                    <a:pt x="182" y="171"/>
                    <a:pt x="183" y="171"/>
                    <a:pt x="184" y="171"/>
                  </a:cubicBezTo>
                  <a:cubicBezTo>
                    <a:pt x="184" y="171"/>
                    <a:pt x="184" y="171"/>
                    <a:pt x="185" y="171"/>
                  </a:cubicBezTo>
                  <a:cubicBezTo>
                    <a:pt x="185" y="171"/>
                    <a:pt x="186" y="171"/>
                    <a:pt x="186" y="171"/>
                  </a:cubicBezTo>
                  <a:cubicBezTo>
                    <a:pt x="187" y="171"/>
                    <a:pt x="187" y="171"/>
                    <a:pt x="187" y="171"/>
                  </a:cubicBezTo>
                  <a:cubicBezTo>
                    <a:pt x="187" y="171"/>
                    <a:pt x="188" y="172"/>
                    <a:pt x="189" y="172"/>
                  </a:cubicBezTo>
                  <a:cubicBezTo>
                    <a:pt x="190" y="173"/>
                    <a:pt x="190" y="173"/>
                    <a:pt x="190" y="173"/>
                  </a:cubicBezTo>
                  <a:cubicBezTo>
                    <a:pt x="190" y="173"/>
                    <a:pt x="191" y="174"/>
                    <a:pt x="192" y="174"/>
                  </a:cubicBezTo>
                  <a:cubicBezTo>
                    <a:pt x="193" y="175"/>
                    <a:pt x="193" y="175"/>
                    <a:pt x="193" y="175"/>
                  </a:cubicBezTo>
                  <a:cubicBezTo>
                    <a:pt x="193" y="175"/>
                    <a:pt x="194" y="175"/>
                    <a:pt x="194" y="176"/>
                  </a:cubicBezTo>
                  <a:cubicBezTo>
                    <a:pt x="194" y="176"/>
                    <a:pt x="194" y="176"/>
                    <a:pt x="194" y="176"/>
                  </a:cubicBezTo>
                  <a:cubicBezTo>
                    <a:pt x="196" y="174"/>
                    <a:pt x="196" y="174"/>
                    <a:pt x="196" y="174"/>
                  </a:cubicBezTo>
                  <a:cubicBezTo>
                    <a:pt x="197" y="173"/>
                    <a:pt x="199" y="171"/>
                    <a:pt x="201" y="170"/>
                  </a:cubicBezTo>
                  <a:cubicBezTo>
                    <a:pt x="201" y="169"/>
                    <a:pt x="201" y="169"/>
                    <a:pt x="201" y="169"/>
                  </a:cubicBezTo>
                  <a:cubicBezTo>
                    <a:pt x="200" y="162"/>
                    <a:pt x="200" y="162"/>
                    <a:pt x="200" y="162"/>
                  </a:cubicBezTo>
                  <a:cubicBezTo>
                    <a:pt x="200" y="162"/>
                    <a:pt x="200" y="162"/>
                    <a:pt x="200" y="162"/>
                  </a:cubicBezTo>
                  <a:cubicBezTo>
                    <a:pt x="200" y="157"/>
                    <a:pt x="200" y="157"/>
                    <a:pt x="200" y="157"/>
                  </a:cubicBezTo>
                  <a:cubicBezTo>
                    <a:pt x="200" y="156"/>
                    <a:pt x="200" y="155"/>
                    <a:pt x="201" y="155"/>
                  </a:cubicBezTo>
                  <a:cubicBezTo>
                    <a:pt x="201" y="154"/>
                    <a:pt x="201" y="154"/>
                    <a:pt x="201" y="154"/>
                  </a:cubicBezTo>
                  <a:cubicBezTo>
                    <a:pt x="202" y="153"/>
                    <a:pt x="202" y="153"/>
                    <a:pt x="203" y="153"/>
                  </a:cubicBezTo>
                  <a:cubicBezTo>
                    <a:pt x="204" y="152"/>
                    <a:pt x="204" y="152"/>
                    <a:pt x="204" y="152"/>
                  </a:cubicBezTo>
                  <a:cubicBezTo>
                    <a:pt x="204" y="151"/>
                    <a:pt x="204" y="151"/>
                    <a:pt x="204" y="151"/>
                  </a:cubicBezTo>
                  <a:cubicBezTo>
                    <a:pt x="204" y="150"/>
                    <a:pt x="204" y="150"/>
                    <a:pt x="204" y="150"/>
                  </a:cubicBezTo>
                  <a:cubicBezTo>
                    <a:pt x="205" y="149"/>
                    <a:pt x="205" y="148"/>
                    <a:pt x="205" y="147"/>
                  </a:cubicBezTo>
                  <a:cubicBezTo>
                    <a:pt x="205" y="145"/>
                    <a:pt x="206" y="142"/>
                    <a:pt x="208" y="140"/>
                  </a:cubicBezTo>
                  <a:cubicBezTo>
                    <a:pt x="208" y="139"/>
                    <a:pt x="208" y="139"/>
                    <a:pt x="208" y="139"/>
                  </a:cubicBezTo>
                  <a:cubicBezTo>
                    <a:pt x="209" y="139"/>
                    <a:pt x="210" y="138"/>
                    <a:pt x="211" y="138"/>
                  </a:cubicBezTo>
                  <a:cubicBezTo>
                    <a:pt x="211" y="138"/>
                    <a:pt x="211" y="138"/>
                    <a:pt x="211" y="138"/>
                  </a:cubicBezTo>
                  <a:cubicBezTo>
                    <a:pt x="212" y="138"/>
                    <a:pt x="212" y="138"/>
                    <a:pt x="213" y="138"/>
                  </a:cubicBezTo>
                  <a:cubicBezTo>
                    <a:pt x="214" y="138"/>
                    <a:pt x="214" y="138"/>
                    <a:pt x="214" y="138"/>
                  </a:cubicBezTo>
                  <a:cubicBezTo>
                    <a:pt x="215" y="138"/>
                    <a:pt x="216" y="138"/>
                    <a:pt x="217" y="138"/>
                  </a:cubicBezTo>
                  <a:cubicBezTo>
                    <a:pt x="217" y="138"/>
                    <a:pt x="217" y="138"/>
                    <a:pt x="217" y="138"/>
                  </a:cubicBezTo>
                  <a:cubicBezTo>
                    <a:pt x="219" y="137"/>
                    <a:pt x="223" y="135"/>
                    <a:pt x="224" y="134"/>
                  </a:cubicBezTo>
                  <a:cubicBezTo>
                    <a:pt x="224" y="134"/>
                    <a:pt x="224" y="134"/>
                    <a:pt x="224" y="134"/>
                  </a:cubicBezTo>
                  <a:cubicBezTo>
                    <a:pt x="224" y="133"/>
                    <a:pt x="223" y="131"/>
                    <a:pt x="221" y="129"/>
                  </a:cubicBezTo>
                  <a:cubicBezTo>
                    <a:pt x="219" y="125"/>
                    <a:pt x="219" y="125"/>
                    <a:pt x="219" y="125"/>
                  </a:cubicBezTo>
                  <a:cubicBezTo>
                    <a:pt x="219" y="125"/>
                    <a:pt x="219" y="125"/>
                    <a:pt x="219" y="125"/>
                  </a:cubicBezTo>
                  <a:cubicBezTo>
                    <a:pt x="219" y="125"/>
                    <a:pt x="219" y="125"/>
                    <a:pt x="219" y="125"/>
                  </a:cubicBezTo>
                  <a:cubicBezTo>
                    <a:pt x="218" y="124"/>
                    <a:pt x="218" y="124"/>
                    <a:pt x="218" y="124"/>
                  </a:cubicBezTo>
                  <a:cubicBezTo>
                    <a:pt x="216" y="121"/>
                    <a:pt x="216" y="121"/>
                    <a:pt x="216" y="121"/>
                  </a:cubicBezTo>
                  <a:cubicBezTo>
                    <a:pt x="214" y="117"/>
                    <a:pt x="215" y="115"/>
                    <a:pt x="216" y="114"/>
                  </a:cubicBezTo>
                  <a:cubicBezTo>
                    <a:pt x="217" y="114"/>
                    <a:pt x="217" y="114"/>
                    <a:pt x="217" y="114"/>
                  </a:cubicBezTo>
                  <a:cubicBezTo>
                    <a:pt x="218" y="113"/>
                    <a:pt x="219" y="113"/>
                    <a:pt x="220" y="113"/>
                  </a:cubicBezTo>
                  <a:cubicBezTo>
                    <a:pt x="223" y="113"/>
                    <a:pt x="225" y="113"/>
                    <a:pt x="229" y="114"/>
                  </a:cubicBezTo>
                  <a:cubicBezTo>
                    <a:pt x="229" y="114"/>
                    <a:pt x="229" y="114"/>
                    <a:pt x="229" y="114"/>
                  </a:cubicBezTo>
                  <a:cubicBezTo>
                    <a:pt x="230" y="115"/>
                    <a:pt x="231" y="115"/>
                    <a:pt x="231" y="115"/>
                  </a:cubicBezTo>
                  <a:cubicBezTo>
                    <a:pt x="232" y="115"/>
                    <a:pt x="232" y="115"/>
                    <a:pt x="232" y="115"/>
                  </a:cubicBezTo>
                  <a:cubicBezTo>
                    <a:pt x="233" y="115"/>
                    <a:pt x="233" y="115"/>
                    <a:pt x="234" y="115"/>
                  </a:cubicBezTo>
                  <a:cubicBezTo>
                    <a:pt x="234" y="115"/>
                    <a:pt x="235" y="115"/>
                    <a:pt x="235" y="115"/>
                  </a:cubicBezTo>
                  <a:cubicBezTo>
                    <a:pt x="237" y="115"/>
                    <a:pt x="240" y="114"/>
                    <a:pt x="241" y="113"/>
                  </a:cubicBezTo>
                  <a:cubicBezTo>
                    <a:pt x="242" y="113"/>
                    <a:pt x="243" y="112"/>
                    <a:pt x="243" y="111"/>
                  </a:cubicBezTo>
                  <a:cubicBezTo>
                    <a:pt x="243" y="111"/>
                    <a:pt x="244" y="111"/>
                    <a:pt x="244" y="111"/>
                  </a:cubicBezTo>
                  <a:cubicBezTo>
                    <a:pt x="244" y="110"/>
                    <a:pt x="244" y="110"/>
                    <a:pt x="244" y="110"/>
                  </a:cubicBezTo>
                  <a:cubicBezTo>
                    <a:pt x="244" y="110"/>
                    <a:pt x="244" y="110"/>
                    <a:pt x="244" y="109"/>
                  </a:cubicBezTo>
                  <a:cubicBezTo>
                    <a:pt x="244" y="109"/>
                    <a:pt x="244" y="109"/>
                    <a:pt x="244" y="109"/>
                  </a:cubicBezTo>
                  <a:cubicBezTo>
                    <a:pt x="243" y="109"/>
                    <a:pt x="242" y="108"/>
                    <a:pt x="242" y="106"/>
                  </a:cubicBezTo>
                  <a:cubicBezTo>
                    <a:pt x="240" y="103"/>
                    <a:pt x="241" y="101"/>
                    <a:pt x="243" y="98"/>
                  </a:cubicBezTo>
                  <a:cubicBezTo>
                    <a:pt x="243" y="98"/>
                    <a:pt x="244" y="97"/>
                    <a:pt x="245" y="96"/>
                  </a:cubicBezTo>
                  <a:cubicBezTo>
                    <a:pt x="246" y="95"/>
                    <a:pt x="246" y="95"/>
                    <a:pt x="247" y="94"/>
                  </a:cubicBezTo>
                  <a:cubicBezTo>
                    <a:pt x="247" y="93"/>
                    <a:pt x="248" y="92"/>
                    <a:pt x="249" y="91"/>
                  </a:cubicBezTo>
                  <a:cubicBezTo>
                    <a:pt x="250" y="90"/>
                    <a:pt x="251" y="89"/>
                    <a:pt x="252" y="89"/>
                  </a:cubicBezTo>
                  <a:cubicBezTo>
                    <a:pt x="253" y="89"/>
                    <a:pt x="253" y="89"/>
                    <a:pt x="253" y="89"/>
                  </a:cubicBezTo>
                  <a:cubicBezTo>
                    <a:pt x="253" y="89"/>
                    <a:pt x="253" y="89"/>
                    <a:pt x="253" y="88"/>
                  </a:cubicBezTo>
                  <a:cubicBezTo>
                    <a:pt x="254" y="86"/>
                    <a:pt x="255" y="85"/>
                    <a:pt x="255" y="85"/>
                  </a:cubicBezTo>
                  <a:cubicBezTo>
                    <a:pt x="255" y="84"/>
                    <a:pt x="255" y="84"/>
                    <a:pt x="255" y="83"/>
                  </a:cubicBezTo>
                  <a:cubicBezTo>
                    <a:pt x="255" y="83"/>
                    <a:pt x="255" y="83"/>
                    <a:pt x="255" y="83"/>
                  </a:cubicBezTo>
                  <a:cubicBezTo>
                    <a:pt x="255" y="82"/>
                    <a:pt x="255" y="81"/>
                    <a:pt x="255" y="79"/>
                  </a:cubicBezTo>
                  <a:cubicBezTo>
                    <a:pt x="255" y="79"/>
                    <a:pt x="255" y="77"/>
                    <a:pt x="255" y="77"/>
                  </a:cubicBezTo>
                  <a:cubicBezTo>
                    <a:pt x="254" y="75"/>
                    <a:pt x="254" y="75"/>
                    <a:pt x="254" y="75"/>
                  </a:cubicBezTo>
                  <a:cubicBezTo>
                    <a:pt x="254" y="75"/>
                    <a:pt x="254" y="75"/>
                    <a:pt x="254" y="75"/>
                  </a:cubicBezTo>
                  <a:cubicBezTo>
                    <a:pt x="254" y="74"/>
                    <a:pt x="254" y="74"/>
                    <a:pt x="254" y="74"/>
                  </a:cubicBezTo>
                  <a:cubicBezTo>
                    <a:pt x="252" y="73"/>
                    <a:pt x="252" y="73"/>
                    <a:pt x="252" y="73"/>
                  </a:cubicBezTo>
                  <a:cubicBezTo>
                    <a:pt x="252" y="72"/>
                    <a:pt x="252" y="72"/>
                    <a:pt x="251" y="71"/>
                  </a:cubicBezTo>
                  <a:cubicBezTo>
                    <a:pt x="251" y="70"/>
                    <a:pt x="251" y="70"/>
                    <a:pt x="251" y="70"/>
                  </a:cubicBezTo>
                  <a:cubicBezTo>
                    <a:pt x="251" y="70"/>
                    <a:pt x="251" y="70"/>
                    <a:pt x="251" y="70"/>
                  </a:cubicBezTo>
                  <a:cubicBezTo>
                    <a:pt x="250" y="68"/>
                    <a:pt x="249" y="66"/>
                    <a:pt x="247" y="65"/>
                  </a:cubicBezTo>
                  <a:cubicBezTo>
                    <a:pt x="247" y="65"/>
                    <a:pt x="247" y="65"/>
                    <a:pt x="247" y="65"/>
                  </a:cubicBezTo>
                  <a:cubicBezTo>
                    <a:pt x="247" y="65"/>
                    <a:pt x="247" y="65"/>
                    <a:pt x="247" y="65"/>
                  </a:cubicBezTo>
                  <a:cubicBezTo>
                    <a:pt x="244" y="63"/>
                    <a:pt x="244" y="63"/>
                    <a:pt x="244" y="63"/>
                  </a:cubicBezTo>
                  <a:cubicBezTo>
                    <a:pt x="246" y="60"/>
                    <a:pt x="246" y="60"/>
                    <a:pt x="246" y="60"/>
                  </a:cubicBezTo>
                  <a:cubicBezTo>
                    <a:pt x="249" y="56"/>
                    <a:pt x="253" y="52"/>
                    <a:pt x="257" y="49"/>
                  </a:cubicBezTo>
                  <a:cubicBezTo>
                    <a:pt x="258" y="48"/>
                    <a:pt x="258" y="48"/>
                    <a:pt x="258" y="48"/>
                  </a:cubicBezTo>
                  <a:cubicBezTo>
                    <a:pt x="259" y="48"/>
                    <a:pt x="259" y="48"/>
                    <a:pt x="259" y="48"/>
                  </a:cubicBezTo>
                  <a:cubicBezTo>
                    <a:pt x="259" y="48"/>
                    <a:pt x="259" y="48"/>
                    <a:pt x="259" y="48"/>
                  </a:cubicBezTo>
                  <a:cubicBezTo>
                    <a:pt x="260" y="48"/>
                    <a:pt x="261" y="48"/>
                    <a:pt x="261" y="48"/>
                  </a:cubicBezTo>
                  <a:cubicBezTo>
                    <a:pt x="262" y="49"/>
                    <a:pt x="262" y="49"/>
                    <a:pt x="262" y="49"/>
                  </a:cubicBezTo>
                  <a:cubicBezTo>
                    <a:pt x="263" y="49"/>
                    <a:pt x="263" y="49"/>
                    <a:pt x="263" y="49"/>
                  </a:cubicBezTo>
                  <a:cubicBezTo>
                    <a:pt x="264" y="48"/>
                    <a:pt x="265" y="47"/>
                    <a:pt x="267" y="46"/>
                  </a:cubicBezTo>
                  <a:cubicBezTo>
                    <a:pt x="270" y="44"/>
                    <a:pt x="270" y="44"/>
                    <a:pt x="270" y="44"/>
                  </a:cubicBezTo>
                  <a:cubicBezTo>
                    <a:pt x="271" y="44"/>
                    <a:pt x="272" y="43"/>
                    <a:pt x="273" y="43"/>
                  </a:cubicBezTo>
                  <a:cubicBezTo>
                    <a:pt x="273" y="43"/>
                    <a:pt x="273" y="43"/>
                    <a:pt x="273" y="43"/>
                  </a:cubicBezTo>
                  <a:cubicBezTo>
                    <a:pt x="270" y="44"/>
                    <a:pt x="267" y="45"/>
                    <a:pt x="264" y="46"/>
                  </a:cubicBezTo>
                  <a:cubicBezTo>
                    <a:pt x="261" y="47"/>
                    <a:pt x="261" y="47"/>
                    <a:pt x="261" y="47"/>
                  </a:cubicBezTo>
                  <a:cubicBezTo>
                    <a:pt x="261" y="47"/>
                    <a:pt x="260" y="47"/>
                    <a:pt x="260" y="47"/>
                  </a:cubicBezTo>
                  <a:cubicBezTo>
                    <a:pt x="259" y="47"/>
                    <a:pt x="259" y="47"/>
                    <a:pt x="259" y="47"/>
                  </a:cubicBezTo>
                  <a:cubicBezTo>
                    <a:pt x="259" y="47"/>
                    <a:pt x="258" y="47"/>
                    <a:pt x="258" y="47"/>
                  </a:cubicBezTo>
                  <a:cubicBezTo>
                    <a:pt x="256" y="46"/>
                    <a:pt x="255" y="44"/>
                    <a:pt x="254" y="42"/>
                  </a:cubicBezTo>
                  <a:cubicBezTo>
                    <a:pt x="253" y="41"/>
                    <a:pt x="253" y="41"/>
                    <a:pt x="253" y="41"/>
                  </a:cubicBezTo>
                  <a:cubicBezTo>
                    <a:pt x="253" y="40"/>
                    <a:pt x="253" y="40"/>
                    <a:pt x="253" y="40"/>
                  </a:cubicBezTo>
                  <a:cubicBezTo>
                    <a:pt x="252" y="39"/>
                    <a:pt x="251" y="37"/>
                    <a:pt x="251" y="35"/>
                  </a:cubicBezTo>
                  <a:cubicBezTo>
                    <a:pt x="251" y="34"/>
                    <a:pt x="251" y="33"/>
                    <a:pt x="251" y="32"/>
                  </a:cubicBezTo>
                  <a:cubicBezTo>
                    <a:pt x="252" y="31"/>
                    <a:pt x="252" y="31"/>
                    <a:pt x="252" y="30"/>
                  </a:cubicBezTo>
                  <a:cubicBezTo>
                    <a:pt x="252" y="29"/>
                    <a:pt x="252" y="29"/>
                    <a:pt x="252" y="29"/>
                  </a:cubicBezTo>
                  <a:cubicBezTo>
                    <a:pt x="253" y="26"/>
                    <a:pt x="253" y="23"/>
                    <a:pt x="254" y="19"/>
                  </a:cubicBezTo>
                  <a:cubicBezTo>
                    <a:pt x="254" y="17"/>
                    <a:pt x="254" y="15"/>
                    <a:pt x="254" y="13"/>
                  </a:cubicBezTo>
                  <a:cubicBezTo>
                    <a:pt x="253" y="13"/>
                    <a:pt x="252" y="13"/>
                    <a:pt x="252" y="13"/>
                  </a:cubicBezTo>
                  <a:cubicBezTo>
                    <a:pt x="251" y="13"/>
                    <a:pt x="251" y="13"/>
                    <a:pt x="251" y="13"/>
                  </a:cubicBezTo>
                  <a:cubicBezTo>
                    <a:pt x="251" y="13"/>
                    <a:pt x="250" y="12"/>
                    <a:pt x="250" y="12"/>
                  </a:cubicBezTo>
                  <a:cubicBezTo>
                    <a:pt x="246" y="12"/>
                    <a:pt x="246" y="12"/>
                    <a:pt x="246" y="12"/>
                  </a:cubicBezTo>
                  <a:cubicBezTo>
                    <a:pt x="248" y="8"/>
                    <a:pt x="248" y="8"/>
                    <a:pt x="248" y="8"/>
                  </a:cubicBezTo>
                  <a:cubicBezTo>
                    <a:pt x="248" y="7"/>
                    <a:pt x="248" y="6"/>
                    <a:pt x="249" y="6"/>
                  </a:cubicBezTo>
                  <a:cubicBezTo>
                    <a:pt x="248" y="6"/>
                    <a:pt x="248" y="6"/>
                    <a:pt x="248" y="6"/>
                  </a:cubicBezTo>
                  <a:cubicBezTo>
                    <a:pt x="248" y="5"/>
                    <a:pt x="248" y="5"/>
                    <a:pt x="247" y="4"/>
                  </a:cubicBezTo>
                  <a:cubicBezTo>
                    <a:pt x="247" y="4"/>
                    <a:pt x="247" y="4"/>
                    <a:pt x="247" y="4"/>
                  </a:cubicBezTo>
                  <a:cubicBezTo>
                    <a:pt x="242" y="8"/>
                    <a:pt x="242" y="8"/>
                    <a:pt x="242" y="8"/>
                  </a:cubicBezTo>
                  <a:cubicBezTo>
                    <a:pt x="246" y="2"/>
                    <a:pt x="246" y="2"/>
                    <a:pt x="246" y="2"/>
                  </a:cubicBezTo>
                  <a:cubicBezTo>
                    <a:pt x="245" y="1"/>
                    <a:pt x="245" y="1"/>
                    <a:pt x="244" y="1"/>
                  </a:cubicBezTo>
                  <a:cubicBezTo>
                    <a:pt x="244" y="0"/>
                    <a:pt x="243" y="0"/>
                    <a:pt x="2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8" name="Freeform 287">
              <a:extLst>
                <a:ext uri="{FF2B5EF4-FFF2-40B4-BE49-F238E27FC236}">
                  <a16:creationId xmlns:a16="http://schemas.microsoft.com/office/drawing/2014/main" id="{932A987D-FD59-4573-9F29-9DBEA9D3B8C6}"/>
                </a:ext>
              </a:extLst>
            </p:cNvPr>
            <p:cNvSpPr>
              <a:spLocks noEditPoints="1"/>
            </p:cNvSpPr>
            <p:nvPr/>
          </p:nvSpPr>
          <p:spPr bwMode="auto">
            <a:xfrm>
              <a:off x="6119" y="427"/>
              <a:ext cx="1054" cy="900"/>
            </a:xfrm>
            <a:custGeom>
              <a:avLst/>
              <a:gdLst>
                <a:gd name="T0" fmla="*/ 113 w 446"/>
                <a:gd name="T1" fmla="*/ 247 h 381"/>
                <a:gd name="T2" fmla="*/ 7 w 446"/>
                <a:gd name="T3" fmla="*/ 32 h 381"/>
                <a:gd name="T4" fmla="*/ 12 w 446"/>
                <a:gd name="T5" fmla="*/ 51 h 381"/>
                <a:gd name="T6" fmla="*/ 17 w 446"/>
                <a:gd name="T7" fmla="*/ 68 h 381"/>
                <a:gd name="T8" fmla="*/ 21 w 446"/>
                <a:gd name="T9" fmla="*/ 77 h 381"/>
                <a:gd name="T10" fmla="*/ 27 w 446"/>
                <a:gd name="T11" fmla="*/ 87 h 381"/>
                <a:gd name="T12" fmla="*/ 39 w 446"/>
                <a:gd name="T13" fmla="*/ 101 h 381"/>
                <a:gd name="T14" fmla="*/ 52 w 446"/>
                <a:gd name="T15" fmla="*/ 107 h 381"/>
                <a:gd name="T16" fmla="*/ 50 w 446"/>
                <a:gd name="T17" fmla="*/ 121 h 381"/>
                <a:gd name="T18" fmla="*/ 39 w 446"/>
                <a:gd name="T19" fmla="*/ 138 h 381"/>
                <a:gd name="T20" fmla="*/ 32 w 446"/>
                <a:gd name="T21" fmla="*/ 153 h 381"/>
                <a:gd name="T22" fmla="*/ 39 w 446"/>
                <a:gd name="T23" fmla="*/ 160 h 381"/>
                <a:gd name="T24" fmla="*/ 48 w 446"/>
                <a:gd name="T25" fmla="*/ 177 h 381"/>
                <a:gd name="T26" fmla="*/ 78 w 446"/>
                <a:gd name="T27" fmla="*/ 192 h 381"/>
                <a:gd name="T28" fmla="*/ 88 w 446"/>
                <a:gd name="T29" fmla="*/ 215 h 381"/>
                <a:gd name="T30" fmla="*/ 92 w 446"/>
                <a:gd name="T31" fmla="*/ 230 h 381"/>
                <a:gd name="T32" fmla="*/ 102 w 446"/>
                <a:gd name="T33" fmla="*/ 251 h 381"/>
                <a:gd name="T34" fmla="*/ 118 w 446"/>
                <a:gd name="T35" fmla="*/ 250 h 381"/>
                <a:gd name="T36" fmla="*/ 137 w 446"/>
                <a:gd name="T37" fmla="*/ 253 h 381"/>
                <a:gd name="T38" fmla="*/ 159 w 446"/>
                <a:gd name="T39" fmla="*/ 285 h 381"/>
                <a:gd name="T40" fmla="*/ 179 w 446"/>
                <a:gd name="T41" fmla="*/ 312 h 381"/>
                <a:gd name="T42" fmla="*/ 201 w 446"/>
                <a:gd name="T43" fmla="*/ 325 h 381"/>
                <a:gd name="T44" fmla="*/ 229 w 446"/>
                <a:gd name="T45" fmla="*/ 342 h 381"/>
                <a:gd name="T46" fmla="*/ 277 w 446"/>
                <a:gd name="T47" fmla="*/ 331 h 381"/>
                <a:gd name="T48" fmla="*/ 304 w 446"/>
                <a:gd name="T49" fmla="*/ 351 h 381"/>
                <a:gd name="T50" fmla="*/ 342 w 446"/>
                <a:gd name="T51" fmla="*/ 370 h 381"/>
                <a:gd name="T52" fmla="*/ 372 w 446"/>
                <a:gd name="T53" fmla="*/ 373 h 381"/>
                <a:gd name="T54" fmla="*/ 401 w 446"/>
                <a:gd name="T55" fmla="*/ 381 h 381"/>
                <a:gd name="T56" fmla="*/ 412 w 446"/>
                <a:gd name="T57" fmla="*/ 357 h 381"/>
                <a:gd name="T58" fmla="*/ 443 w 446"/>
                <a:gd name="T59" fmla="*/ 340 h 381"/>
                <a:gd name="T60" fmla="*/ 434 w 446"/>
                <a:gd name="T61" fmla="*/ 326 h 381"/>
                <a:gd name="T62" fmla="*/ 427 w 446"/>
                <a:gd name="T63" fmla="*/ 302 h 381"/>
                <a:gd name="T64" fmla="*/ 386 w 446"/>
                <a:gd name="T65" fmla="*/ 262 h 381"/>
                <a:gd name="T66" fmla="*/ 407 w 446"/>
                <a:gd name="T67" fmla="*/ 240 h 381"/>
                <a:gd name="T68" fmla="*/ 389 w 446"/>
                <a:gd name="T69" fmla="*/ 218 h 381"/>
                <a:gd name="T70" fmla="*/ 388 w 446"/>
                <a:gd name="T71" fmla="*/ 195 h 381"/>
                <a:gd name="T72" fmla="*/ 381 w 446"/>
                <a:gd name="T73" fmla="*/ 160 h 381"/>
                <a:gd name="T74" fmla="*/ 391 w 446"/>
                <a:gd name="T75" fmla="*/ 133 h 381"/>
                <a:gd name="T76" fmla="*/ 401 w 446"/>
                <a:gd name="T77" fmla="*/ 112 h 381"/>
                <a:gd name="T78" fmla="*/ 397 w 446"/>
                <a:gd name="T79" fmla="*/ 91 h 381"/>
                <a:gd name="T80" fmla="*/ 383 w 446"/>
                <a:gd name="T81" fmla="*/ 85 h 381"/>
                <a:gd name="T82" fmla="*/ 370 w 446"/>
                <a:gd name="T83" fmla="*/ 74 h 381"/>
                <a:gd name="T84" fmla="*/ 356 w 446"/>
                <a:gd name="T85" fmla="*/ 62 h 381"/>
                <a:gd name="T86" fmla="*/ 334 w 446"/>
                <a:gd name="T87" fmla="*/ 58 h 381"/>
                <a:gd name="T88" fmla="*/ 312 w 446"/>
                <a:gd name="T89" fmla="*/ 50 h 381"/>
                <a:gd name="T90" fmla="*/ 297 w 446"/>
                <a:gd name="T91" fmla="*/ 41 h 381"/>
                <a:gd name="T92" fmla="*/ 281 w 446"/>
                <a:gd name="T93" fmla="*/ 51 h 381"/>
                <a:gd name="T94" fmla="*/ 222 w 446"/>
                <a:gd name="T95" fmla="*/ 76 h 381"/>
                <a:gd name="T96" fmla="*/ 178 w 446"/>
                <a:gd name="T97" fmla="*/ 83 h 381"/>
                <a:gd name="T98" fmla="*/ 142 w 446"/>
                <a:gd name="T99" fmla="*/ 64 h 381"/>
                <a:gd name="T100" fmla="*/ 111 w 446"/>
                <a:gd name="T101" fmla="*/ 36 h 381"/>
                <a:gd name="T102" fmla="*/ 104 w 446"/>
                <a:gd name="T103" fmla="*/ 37 h 381"/>
                <a:gd name="T104" fmla="*/ 85 w 446"/>
                <a:gd name="T105" fmla="*/ 21 h 381"/>
                <a:gd name="T106" fmla="*/ 84 w 446"/>
                <a:gd name="T107" fmla="*/ 4 h 381"/>
                <a:gd name="T108" fmla="*/ 57 w 446"/>
                <a:gd name="T109" fmla="*/ 23 h 381"/>
                <a:gd name="T110" fmla="*/ 50 w 446"/>
                <a:gd name="T111" fmla="*/ 24 h 381"/>
                <a:gd name="T112" fmla="*/ 13 w 446"/>
                <a:gd name="T113" fmla="*/ 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6" h="381">
                  <a:moveTo>
                    <a:pt x="113" y="247"/>
                  </a:moveTo>
                  <a:cubicBezTo>
                    <a:pt x="114" y="246"/>
                    <a:pt x="114" y="245"/>
                    <a:pt x="112" y="244"/>
                  </a:cubicBezTo>
                  <a:cubicBezTo>
                    <a:pt x="113" y="244"/>
                    <a:pt x="114" y="244"/>
                    <a:pt x="115" y="244"/>
                  </a:cubicBezTo>
                  <a:cubicBezTo>
                    <a:pt x="116" y="244"/>
                    <a:pt x="117" y="244"/>
                    <a:pt x="117" y="244"/>
                  </a:cubicBezTo>
                  <a:cubicBezTo>
                    <a:pt x="119" y="244"/>
                    <a:pt x="120" y="245"/>
                    <a:pt x="119" y="246"/>
                  </a:cubicBezTo>
                  <a:cubicBezTo>
                    <a:pt x="119" y="247"/>
                    <a:pt x="118" y="247"/>
                    <a:pt x="118" y="247"/>
                  </a:cubicBezTo>
                  <a:cubicBezTo>
                    <a:pt x="117" y="247"/>
                    <a:pt x="115" y="247"/>
                    <a:pt x="114" y="247"/>
                  </a:cubicBezTo>
                  <a:cubicBezTo>
                    <a:pt x="114" y="247"/>
                    <a:pt x="114" y="247"/>
                    <a:pt x="113" y="247"/>
                  </a:cubicBezTo>
                  <a:cubicBezTo>
                    <a:pt x="113" y="247"/>
                    <a:pt x="113" y="247"/>
                    <a:pt x="113" y="247"/>
                  </a:cubicBezTo>
                  <a:moveTo>
                    <a:pt x="10" y="0"/>
                  </a:moveTo>
                  <a:cubicBezTo>
                    <a:pt x="9" y="0"/>
                    <a:pt x="9" y="0"/>
                    <a:pt x="9" y="0"/>
                  </a:cubicBezTo>
                  <a:cubicBezTo>
                    <a:pt x="9" y="1"/>
                    <a:pt x="9" y="1"/>
                    <a:pt x="9" y="1"/>
                  </a:cubicBezTo>
                  <a:cubicBezTo>
                    <a:pt x="10" y="6"/>
                    <a:pt x="7" y="8"/>
                    <a:pt x="5" y="9"/>
                  </a:cubicBezTo>
                  <a:cubicBezTo>
                    <a:pt x="4" y="10"/>
                    <a:pt x="2" y="10"/>
                    <a:pt x="0" y="10"/>
                  </a:cubicBezTo>
                  <a:cubicBezTo>
                    <a:pt x="0" y="11"/>
                    <a:pt x="0" y="11"/>
                    <a:pt x="0" y="11"/>
                  </a:cubicBezTo>
                  <a:cubicBezTo>
                    <a:pt x="1" y="13"/>
                    <a:pt x="1" y="14"/>
                    <a:pt x="1" y="15"/>
                  </a:cubicBezTo>
                  <a:cubicBezTo>
                    <a:pt x="2" y="17"/>
                    <a:pt x="3" y="19"/>
                    <a:pt x="4" y="20"/>
                  </a:cubicBezTo>
                  <a:cubicBezTo>
                    <a:pt x="6" y="22"/>
                    <a:pt x="7" y="27"/>
                    <a:pt x="7" y="32"/>
                  </a:cubicBezTo>
                  <a:cubicBezTo>
                    <a:pt x="8" y="32"/>
                    <a:pt x="8" y="33"/>
                    <a:pt x="9" y="34"/>
                  </a:cubicBezTo>
                  <a:cubicBezTo>
                    <a:pt x="11" y="36"/>
                    <a:pt x="9" y="40"/>
                    <a:pt x="8" y="41"/>
                  </a:cubicBezTo>
                  <a:cubicBezTo>
                    <a:pt x="7" y="42"/>
                    <a:pt x="5" y="45"/>
                    <a:pt x="5" y="45"/>
                  </a:cubicBezTo>
                  <a:cubicBezTo>
                    <a:pt x="5" y="45"/>
                    <a:pt x="5" y="45"/>
                    <a:pt x="5" y="45"/>
                  </a:cubicBezTo>
                  <a:cubicBezTo>
                    <a:pt x="5" y="46"/>
                    <a:pt x="5" y="46"/>
                    <a:pt x="5" y="46"/>
                  </a:cubicBezTo>
                  <a:cubicBezTo>
                    <a:pt x="6" y="46"/>
                    <a:pt x="6" y="46"/>
                    <a:pt x="7" y="48"/>
                  </a:cubicBezTo>
                  <a:cubicBezTo>
                    <a:pt x="8" y="48"/>
                    <a:pt x="9" y="48"/>
                    <a:pt x="11" y="49"/>
                  </a:cubicBezTo>
                  <a:cubicBezTo>
                    <a:pt x="11" y="49"/>
                    <a:pt x="11" y="50"/>
                    <a:pt x="12" y="50"/>
                  </a:cubicBezTo>
                  <a:cubicBezTo>
                    <a:pt x="12" y="51"/>
                    <a:pt x="12" y="51"/>
                    <a:pt x="12" y="51"/>
                  </a:cubicBezTo>
                  <a:cubicBezTo>
                    <a:pt x="13" y="52"/>
                    <a:pt x="13" y="53"/>
                    <a:pt x="13" y="54"/>
                  </a:cubicBezTo>
                  <a:cubicBezTo>
                    <a:pt x="13" y="55"/>
                    <a:pt x="13" y="55"/>
                    <a:pt x="13" y="56"/>
                  </a:cubicBezTo>
                  <a:cubicBezTo>
                    <a:pt x="13" y="57"/>
                    <a:pt x="13" y="57"/>
                    <a:pt x="13" y="57"/>
                  </a:cubicBezTo>
                  <a:cubicBezTo>
                    <a:pt x="12" y="57"/>
                    <a:pt x="12" y="58"/>
                    <a:pt x="12" y="58"/>
                  </a:cubicBezTo>
                  <a:cubicBezTo>
                    <a:pt x="13" y="59"/>
                    <a:pt x="13" y="59"/>
                    <a:pt x="13" y="59"/>
                  </a:cubicBezTo>
                  <a:cubicBezTo>
                    <a:pt x="15" y="60"/>
                    <a:pt x="16" y="61"/>
                    <a:pt x="17" y="63"/>
                  </a:cubicBezTo>
                  <a:cubicBezTo>
                    <a:pt x="17" y="63"/>
                    <a:pt x="17" y="63"/>
                    <a:pt x="17" y="63"/>
                  </a:cubicBezTo>
                  <a:cubicBezTo>
                    <a:pt x="18" y="65"/>
                    <a:pt x="17" y="67"/>
                    <a:pt x="17" y="68"/>
                  </a:cubicBezTo>
                  <a:cubicBezTo>
                    <a:pt x="17" y="68"/>
                    <a:pt x="17" y="68"/>
                    <a:pt x="17" y="68"/>
                  </a:cubicBezTo>
                  <a:cubicBezTo>
                    <a:pt x="17" y="69"/>
                    <a:pt x="18" y="70"/>
                    <a:pt x="18" y="70"/>
                  </a:cubicBezTo>
                  <a:cubicBezTo>
                    <a:pt x="19" y="73"/>
                    <a:pt x="19" y="73"/>
                    <a:pt x="20" y="74"/>
                  </a:cubicBezTo>
                  <a:cubicBezTo>
                    <a:pt x="20" y="74"/>
                    <a:pt x="19" y="75"/>
                    <a:pt x="19" y="76"/>
                  </a:cubicBezTo>
                  <a:cubicBezTo>
                    <a:pt x="19" y="76"/>
                    <a:pt x="19" y="76"/>
                    <a:pt x="19" y="76"/>
                  </a:cubicBezTo>
                  <a:cubicBezTo>
                    <a:pt x="20" y="76"/>
                    <a:pt x="20" y="76"/>
                    <a:pt x="20" y="76"/>
                  </a:cubicBezTo>
                  <a:cubicBezTo>
                    <a:pt x="20" y="75"/>
                    <a:pt x="20" y="75"/>
                    <a:pt x="20" y="75"/>
                  </a:cubicBezTo>
                  <a:cubicBezTo>
                    <a:pt x="20" y="76"/>
                    <a:pt x="20" y="76"/>
                    <a:pt x="20" y="76"/>
                  </a:cubicBezTo>
                  <a:cubicBezTo>
                    <a:pt x="20" y="77"/>
                    <a:pt x="20" y="77"/>
                    <a:pt x="20" y="77"/>
                  </a:cubicBezTo>
                  <a:cubicBezTo>
                    <a:pt x="21" y="77"/>
                    <a:pt x="21" y="77"/>
                    <a:pt x="21" y="77"/>
                  </a:cubicBezTo>
                  <a:cubicBezTo>
                    <a:pt x="23" y="78"/>
                    <a:pt x="23" y="80"/>
                    <a:pt x="23" y="81"/>
                  </a:cubicBezTo>
                  <a:cubicBezTo>
                    <a:pt x="23" y="82"/>
                    <a:pt x="23" y="82"/>
                    <a:pt x="23" y="83"/>
                  </a:cubicBezTo>
                  <a:cubicBezTo>
                    <a:pt x="23" y="83"/>
                    <a:pt x="23" y="83"/>
                    <a:pt x="23" y="83"/>
                  </a:cubicBezTo>
                  <a:cubicBezTo>
                    <a:pt x="23" y="84"/>
                    <a:pt x="23" y="84"/>
                    <a:pt x="23" y="84"/>
                  </a:cubicBezTo>
                  <a:cubicBezTo>
                    <a:pt x="24" y="84"/>
                    <a:pt x="24" y="84"/>
                    <a:pt x="24" y="84"/>
                  </a:cubicBezTo>
                  <a:cubicBezTo>
                    <a:pt x="24" y="84"/>
                    <a:pt x="26" y="85"/>
                    <a:pt x="27" y="86"/>
                  </a:cubicBezTo>
                  <a:cubicBezTo>
                    <a:pt x="32" y="85"/>
                    <a:pt x="32" y="85"/>
                    <a:pt x="32" y="85"/>
                  </a:cubicBezTo>
                  <a:cubicBezTo>
                    <a:pt x="27" y="87"/>
                    <a:pt x="27" y="87"/>
                    <a:pt x="27" y="87"/>
                  </a:cubicBezTo>
                  <a:cubicBezTo>
                    <a:pt x="27" y="87"/>
                    <a:pt x="27" y="87"/>
                    <a:pt x="27" y="87"/>
                  </a:cubicBezTo>
                  <a:cubicBezTo>
                    <a:pt x="28" y="88"/>
                    <a:pt x="28" y="88"/>
                    <a:pt x="28" y="89"/>
                  </a:cubicBezTo>
                  <a:cubicBezTo>
                    <a:pt x="29" y="90"/>
                    <a:pt x="29" y="92"/>
                    <a:pt x="30" y="95"/>
                  </a:cubicBezTo>
                  <a:cubicBezTo>
                    <a:pt x="30" y="96"/>
                    <a:pt x="30" y="96"/>
                    <a:pt x="30" y="96"/>
                  </a:cubicBezTo>
                  <a:cubicBezTo>
                    <a:pt x="30" y="96"/>
                    <a:pt x="30" y="96"/>
                    <a:pt x="30" y="96"/>
                  </a:cubicBezTo>
                  <a:cubicBezTo>
                    <a:pt x="31" y="96"/>
                    <a:pt x="31" y="96"/>
                    <a:pt x="32" y="96"/>
                  </a:cubicBezTo>
                  <a:cubicBezTo>
                    <a:pt x="33" y="96"/>
                    <a:pt x="34" y="97"/>
                    <a:pt x="35" y="98"/>
                  </a:cubicBezTo>
                  <a:cubicBezTo>
                    <a:pt x="36" y="99"/>
                    <a:pt x="37" y="100"/>
                    <a:pt x="38" y="101"/>
                  </a:cubicBezTo>
                  <a:cubicBezTo>
                    <a:pt x="38" y="101"/>
                    <a:pt x="38" y="101"/>
                    <a:pt x="38" y="101"/>
                  </a:cubicBezTo>
                  <a:cubicBezTo>
                    <a:pt x="39" y="101"/>
                    <a:pt x="39" y="101"/>
                    <a:pt x="39" y="101"/>
                  </a:cubicBezTo>
                  <a:cubicBezTo>
                    <a:pt x="40" y="101"/>
                    <a:pt x="40" y="101"/>
                    <a:pt x="42" y="101"/>
                  </a:cubicBezTo>
                  <a:cubicBezTo>
                    <a:pt x="43" y="101"/>
                    <a:pt x="43" y="101"/>
                    <a:pt x="43" y="101"/>
                  </a:cubicBezTo>
                  <a:cubicBezTo>
                    <a:pt x="43" y="101"/>
                    <a:pt x="43" y="101"/>
                    <a:pt x="43" y="101"/>
                  </a:cubicBezTo>
                  <a:cubicBezTo>
                    <a:pt x="44" y="101"/>
                    <a:pt x="44" y="101"/>
                    <a:pt x="44" y="101"/>
                  </a:cubicBezTo>
                  <a:cubicBezTo>
                    <a:pt x="44" y="101"/>
                    <a:pt x="45" y="101"/>
                    <a:pt x="45" y="101"/>
                  </a:cubicBezTo>
                  <a:cubicBezTo>
                    <a:pt x="46" y="101"/>
                    <a:pt x="47" y="101"/>
                    <a:pt x="48" y="101"/>
                  </a:cubicBezTo>
                  <a:cubicBezTo>
                    <a:pt x="49" y="101"/>
                    <a:pt x="49" y="101"/>
                    <a:pt x="50" y="101"/>
                  </a:cubicBezTo>
                  <a:cubicBezTo>
                    <a:pt x="59" y="104"/>
                    <a:pt x="59" y="104"/>
                    <a:pt x="59" y="104"/>
                  </a:cubicBezTo>
                  <a:cubicBezTo>
                    <a:pt x="52" y="107"/>
                    <a:pt x="52" y="107"/>
                    <a:pt x="52" y="107"/>
                  </a:cubicBezTo>
                  <a:cubicBezTo>
                    <a:pt x="51" y="108"/>
                    <a:pt x="50" y="108"/>
                    <a:pt x="49" y="108"/>
                  </a:cubicBezTo>
                  <a:cubicBezTo>
                    <a:pt x="47" y="109"/>
                    <a:pt x="46" y="110"/>
                    <a:pt x="46" y="110"/>
                  </a:cubicBezTo>
                  <a:cubicBezTo>
                    <a:pt x="46" y="110"/>
                    <a:pt x="46" y="110"/>
                    <a:pt x="46" y="110"/>
                  </a:cubicBezTo>
                  <a:cubicBezTo>
                    <a:pt x="46" y="111"/>
                    <a:pt x="46" y="111"/>
                    <a:pt x="46" y="111"/>
                  </a:cubicBezTo>
                  <a:cubicBezTo>
                    <a:pt x="46" y="112"/>
                    <a:pt x="46" y="112"/>
                    <a:pt x="46" y="112"/>
                  </a:cubicBezTo>
                  <a:cubicBezTo>
                    <a:pt x="46" y="112"/>
                    <a:pt x="46" y="113"/>
                    <a:pt x="46" y="113"/>
                  </a:cubicBezTo>
                  <a:cubicBezTo>
                    <a:pt x="46" y="114"/>
                    <a:pt x="47" y="114"/>
                    <a:pt x="47" y="114"/>
                  </a:cubicBezTo>
                  <a:cubicBezTo>
                    <a:pt x="47" y="115"/>
                    <a:pt x="47" y="115"/>
                    <a:pt x="47" y="115"/>
                  </a:cubicBezTo>
                  <a:cubicBezTo>
                    <a:pt x="48" y="116"/>
                    <a:pt x="50" y="118"/>
                    <a:pt x="50" y="121"/>
                  </a:cubicBezTo>
                  <a:cubicBezTo>
                    <a:pt x="50" y="121"/>
                    <a:pt x="50" y="122"/>
                    <a:pt x="50" y="122"/>
                  </a:cubicBezTo>
                  <a:cubicBezTo>
                    <a:pt x="49" y="123"/>
                    <a:pt x="49" y="123"/>
                    <a:pt x="49" y="123"/>
                  </a:cubicBezTo>
                  <a:cubicBezTo>
                    <a:pt x="49" y="125"/>
                    <a:pt x="49" y="125"/>
                    <a:pt x="49" y="125"/>
                  </a:cubicBezTo>
                  <a:cubicBezTo>
                    <a:pt x="47" y="126"/>
                    <a:pt x="47" y="126"/>
                    <a:pt x="47" y="126"/>
                  </a:cubicBezTo>
                  <a:cubicBezTo>
                    <a:pt x="47" y="126"/>
                    <a:pt x="46" y="126"/>
                    <a:pt x="45" y="126"/>
                  </a:cubicBezTo>
                  <a:cubicBezTo>
                    <a:pt x="44" y="127"/>
                    <a:pt x="43" y="127"/>
                    <a:pt x="42" y="127"/>
                  </a:cubicBezTo>
                  <a:cubicBezTo>
                    <a:pt x="40" y="130"/>
                    <a:pt x="40" y="131"/>
                    <a:pt x="40" y="133"/>
                  </a:cubicBezTo>
                  <a:cubicBezTo>
                    <a:pt x="39" y="136"/>
                    <a:pt x="39" y="136"/>
                    <a:pt x="39" y="136"/>
                  </a:cubicBezTo>
                  <a:cubicBezTo>
                    <a:pt x="39" y="137"/>
                    <a:pt x="39" y="138"/>
                    <a:pt x="39" y="138"/>
                  </a:cubicBezTo>
                  <a:cubicBezTo>
                    <a:pt x="38" y="139"/>
                    <a:pt x="37" y="141"/>
                    <a:pt x="35" y="141"/>
                  </a:cubicBezTo>
                  <a:cubicBezTo>
                    <a:pt x="35" y="141"/>
                    <a:pt x="35" y="141"/>
                    <a:pt x="34" y="141"/>
                  </a:cubicBezTo>
                  <a:cubicBezTo>
                    <a:pt x="34" y="141"/>
                    <a:pt x="34" y="141"/>
                    <a:pt x="34" y="141"/>
                  </a:cubicBezTo>
                  <a:cubicBezTo>
                    <a:pt x="34" y="141"/>
                    <a:pt x="34" y="141"/>
                    <a:pt x="34" y="141"/>
                  </a:cubicBezTo>
                  <a:cubicBezTo>
                    <a:pt x="34" y="141"/>
                    <a:pt x="34" y="142"/>
                    <a:pt x="35" y="142"/>
                  </a:cubicBezTo>
                  <a:cubicBezTo>
                    <a:pt x="36" y="143"/>
                    <a:pt x="36" y="145"/>
                    <a:pt x="35" y="146"/>
                  </a:cubicBezTo>
                  <a:cubicBezTo>
                    <a:pt x="35" y="146"/>
                    <a:pt x="35" y="147"/>
                    <a:pt x="35" y="147"/>
                  </a:cubicBezTo>
                  <a:cubicBezTo>
                    <a:pt x="34" y="148"/>
                    <a:pt x="34" y="148"/>
                    <a:pt x="34" y="148"/>
                  </a:cubicBezTo>
                  <a:cubicBezTo>
                    <a:pt x="34" y="150"/>
                    <a:pt x="33" y="151"/>
                    <a:pt x="32" y="153"/>
                  </a:cubicBezTo>
                  <a:cubicBezTo>
                    <a:pt x="32" y="153"/>
                    <a:pt x="32" y="153"/>
                    <a:pt x="32" y="153"/>
                  </a:cubicBezTo>
                  <a:cubicBezTo>
                    <a:pt x="39" y="153"/>
                    <a:pt x="39" y="153"/>
                    <a:pt x="39" y="153"/>
                  </a:cubicBezTo>
                  <a:cubicBezTo>
                    <a:pt x="35" y="157"/>
                    <a:pt x="35" y="157"/>
                    <a:pt x="35" y="157"/>
                  </a:cubicBezTo>
                  <a:cubicBezTo>
                    <a:pt x="37" y="158"/>
                    <a:pt x="37" y="158"/>
                    <a:pt x="37" y="158"/>
                  </a:cubicBezTo>
                  <a:cubicBezTo>
                    <a:pt x="41" y="154"/>
                    <a:pt x="41" y="154"/>
                    <a:pt x="41" y="154"/>
                  </a:cubicBezTo>
                  <a:cubicBezTo>
                    <a:pt x="38" y="160"/>
                    <a:pt x="38" y="160"/>
                    <a:pt x="38" y="160"/>
                  </a:cubicBezTo>
                  <a:cubicBezTo>
                    <a:pt x="38" y="160"/>
                    <a:pt x="38" y="160"/>
                    <a:pt x="38" y="160"/>
                  </a:cubicBezTo>
                  <a:cubicBezTo>
                    <a:pt x="38" y="160"/>
                    <a:pt x="38" y="160"/>
                    <a:pt x="39" y="160"/>
                  </a:cubicBezTo>
                  <a:cubicBezTo>
                    <a:pt x="39" y="160"/>
                    <a:pt x="39" y="160"/>
                    <a:pt x="39" y="160"/>
                  </a:cubicBezTo>
                  <a:cubicBezTo>
                    <a:pt x="41" y="161"/>
                    <a:pt x="42" y="161"/>
                    <a:pt x="44" y="162"/>
                  </a:cubicBezTo>
                  <a:cubicBezTo>
                    <a:pt x="44" y="163"/>
                    <a:pt x="44" y="163"/>
                    <a:pt x="44" y="164"/>
                  </a:cubicBezTo>
                  <a:cubicBezTo>
                    <a:pt x="44" y="165"/>
                    <a:pt x="45" y="166"/>
                    <a:pt x="45" y="167"/>
                  </a:cubicBezTo>
                  <a:cubicBezTo>
                    <a:pt x="45" y="168"/>
                    <a:pt x="45" y="168"/>
                    <a:pt x="45" y="168"/>
                  </a:cubicBezTo>
                  <a:cubicBezTo>
                    <a:pt x="45" y="169"/>
                    <a:pt x="45" y="170"/>
                    <a:pt x="45" y="171"/>
                  </a:cubicBezTo>
                  <a:cubicBezTo>
                    <a:pt x="46" y="172"/>
                    <a:pt x="46" y="172"/>
                    <a:pt x="46" y="172"/>
                  </a:cubicBezTo>
                  <a:cubicBezTo>
                    <a:pt x="46" y="173"/>
                    <a:pt x="46" y="175"/>
                    <a:pt x="47" y="176"/>
                  </a:cubicBezTo>
                  <a:cubicBezTo>
                    <a:pt x="47" y="177"/>
                    <a:pt x="47" y="177"/>
                    <a:pt x="47" y="177"/>
                  </a:cubicBezTo>
                  <a:cubicBezTo>
                    <a:pt x="48" y="177"/>
                    <a:pt x="48" y="177"/>
                    <a:pt x="48" y="177"/>
                  </a:cubicBezTo>
                  <a:cubicBezTo>
                    <a:pt x="48" y="177"/>
                    <a:pt x="49" y="177"/>
                    <a:pt x="50" y="177"/>
                  </a:cubicBezTo>
                  <a:cubicBezTo>
                    <a:pt x="51" y="177"/>
                    <a:pt x="52" y="178"/>
                    <a:pt x="54" y="178"/>
                  </a:cubicBezTo>
                  <a:cubicBezTo>
                    <a:pt x="56" y="179"/>
                    <a:pt x="57" y="180"/>
                    <a:pt x="59" y="181"/>
                  </a:cubicBezTo>
                  <a:cubicBezTo>
                    <a:pt x="69" y="189"/>
                    <a:pt x="69" y="189"/>
                    <a:pt x="69" y="189"/>
                  </a:cubicBezTo>
                  <a:cubicBezTo>
                    <a:pt x="70" y="190"/>
                    <a:pt x="70" y="190"/>
                    <a:pt x="70" y="190"/>
                  </a:cubicBezTo>
                  <a:cubicBezTo>
                    <a:pt x="70" y="190"/>
                    <a:pt x="70" y="190"/>
                    <a:pt x="70" y="190"/>
                  </a:cubicBezTo>
                  <a:cubicBezTo>
                    <a:pt x="70" y="190"/>
                    <a:pt x="71" y="189"/>
                    <a:pt x="72" y="189"/>
                  </a:cubicBezTo>
                  <a:cubicBezTo>
                    <a:pt x="72" y="189"/>
                    <a:pt x="73" y="189"/>
                    <a:pt x="74" y="190"/>
                  </a:cubicBezTo>
                  <a:cubicBezTo>
                    <a:pt x="75" y="190"/>
                    <a:pt x="76" y="191"/>
                    <a:pt x="78" y="192"/>
                  </a:cubicBezTo>
                  <a:cubicBezTo>
                    <a:pt x="79" y="194"/>
                    <a:pt x="81" y="197"/>
                    <a:pt x="82" y="198"/>
                  </a:cubicBezTo>
                  <a:cubicBezTo>
                    <a:pt x="83" y="200"/>
                    <a:pt x="83" y="200"/>
                    <a:pt x="83" y="200"/>
                  </a:cubicBezTo>
                  <a:cubicBezTo>
                    <a:pt x="84" y="201"/>
                    <a:pt x="85" y="202"/>
                    <a:pt x="85" y="203"/>
                  </a:cubicBezTo>
                  <a:cubicBezTo>
                    <a:pt x="88" y="207"/>
                    <a:pt x="89" y="209"/>
                    <a:pt x="89" y="211"/>
                  </a:cubicBezTo>
                  <a:cubicBezTo>
                    <a:pt x="89" y="211"/>
                    <a:pt x="89" y="211"/>
                    <a:pt x="89" y="211"/>
                  </a:cubicBezTo>
                  <a:cubicBezTo>
                    <a:pt x="89" y="211"/>
                    <a:pt x="89" y="211"/>
                    <a:pt x="89" y="211"/>
                  </a:cubicBezTo>
                  <a:cubicBezTo>
                    <a:pt x="89" y="212"/>
                    <a:pt x="89" y="213"/>
                    <a:pt x="89" y="213"/>
                  </a:cubicBezTo>
                  <a:cubicBezTo>
                    <a:pt x="89" y="213"/>
                    <a:pt x="89" y="213"/>
                    <a:pt x="89" y="213"/>
                  </a:cubicBezTo>
                  <a:cubicBezTo>
                    <a:pt x="88" y="215"/>
                    <a:pt x="88" y="215"/>
                    <a:pt x="88" y="215"/>
                  </a:cubicBezTo>
                  <a:cubicBezTo>
                    <a:pt x="88" y="216"/>
                    <a:pt x="87" y="217"/>
                    <a:pt x="87" y="218"/>
                  </a:cubicBezTo>
                  <a:cubicBezTo>
                    <a:pt x="86" y="219"/>
                    <a:pt x="86" y="219"/>
                    <a:pt x="86" y="219"/>
                  </a:cubicBezTo>
                  <a:cubicBezTo>
                    <a:pt x="86" y="219"/>
                    <a:pt x="86" y="219"/>
                    <a:pt x="86" y="219"/>
                  </a:cubicBezTo>
                  <a:cubicBezTo>
                    <a:pt x="86" y="221"/>
                    <a:pt x="86" y="222"/>
                    <a:pt x="86" y="224"/>
                  </a:cubicBezTo>
                  <a:cubicBezTo>
                    <a:pt x="86" y="225"/>
                    <a:pt x="85" y="227"/>
                    <a:pt x="85" y="228"/>
                  </a:cubicBezTo>
                  <a:cubicBezTo>
                    <a:pt x="86" y="228"/>
                    <a:pt x="87" y="228"/>
                    <a:pt x="88" y="228"/>
                  </a:cubicBezTo>
                  <a:cubicBezTo>
                    <a:pt x="89" y="228"/>
                    <a:pt x="90" y="228"/>
                    <a:pt x="91" y="229"/>
                  </a:cubicBezTo>
                  <a:cubicBezTo>
                    <a:pt x="92" y="229"/>
                    <a:pt x="92" y="229"/>
                    <a:pt x="92" y="229"/>
                  </a:cubicBezTo>
                  <a:cubicBezTo>
                    <a:pt x="92" y="230"/>
                    <a:pt x="92" y="230"/>
                    <a:pt x="92" y="230"/>
                  </a:cubicBezTo>
                  <a:cubicBezTo>
                    <a:pt x="93" y="231"/>
                    <a:pt x="93" y="231"/>
                    <a:pt x="93" y="232"/>
                  </a:cubicBezTo>
                  <a:cubicBezTo>
                    <a:pt x="93" y="232"/>
                    <a:pt x="94" y="233"/>
                    <a:pt x="94" y="233"/>
                  </a:cubicBezTo>
                  <a:cubicBezTo>
                    <a:pt x="94" y="236"/>
                    <a:pt x="94" y="238"/>
                    <a:pt x="93" y="240"/>
                  </a:cubicBezTo>
                  <a:cubicBezTo>
                    <a:pt x="93" y="241"/>
                    <a:pt x="93" y="242"/>
                    <a:pt x="93" y="243"/>
                  </a:cubicBezTo>
                  <a:cubicBezTo>
                    <a:pt x="94" y="243"/>
                    <a:pt x="94" y="243"/>
                    <a:pt x="94" y="243"/>
                  </a:cubicBezTo>
                  <a:cubicBezTo>
                    <a:pt x="95" y="244"/>
                    <a:pt x="96" y="244"/>
                    <a:pt x="97" y="246"/>
                  </a:cubicBezTo>
                  <a:cubicBezTo>
                    <a:pt x="98" y="247"/>
                    <a:pt x="99" y="248"/>
                    <a:pt x="100" y="249"/>
                  </a:cubicBezTo>
                  <a:cubicBezTo>
                    <a:pt x="101" y="250"/>
                    <a:pt x="101" y="250"/>
                    <a:pt x="102" y="251"/>
                  </a:cubicBezTo>
                  <a:cubicBezTo>
                    <a:pt x="102" y="251"/>
                    <a:pt x="102" y="251"/>
                    <a:pt x="102" y="251"/>
                  </a:cubicBezTo>
                  <a:cubicBezTo>
                    <a:pt x="102" y="252"/>
                    <a:pt x="104" y="253"/>
                    <a:pt x="106" y="255"/>
                  </a:cubicBezTo>
                  <a:cubicBezTo>
                    <a:pt x="109" y="257"/>
                    <a:pt x="109" y="257"/>
                    <a:pt x="109" y="257"/>
                  </a:cubicBezTo>
                  <a:cubicBezTo>
                    <a:pt x="110" y="257"/>
                    <a:pt x="111" y="256"/>
                    <a:pt x="111" y="256"/>
                  </a:cubicBezTo>
                  <a:cubicBezTo>
                    <a:pt x="112" y="255"/>
                    <a:pt x="112" y="253"/>
                    <a:pt x="112" y="252"/>
                  </a:cubicBezTo>
                  <a:cubicBezTo>
                    <a:pt x="112" y="252"/>
                    <a:pt x="111" y="251"/>
                    <a:pt x="111" y="250"/>
                  </a:cubicBezTo>
                  <a:cubicBezTo>
                    <a:pt x="110" y="250"/>
                    <a:pt x="110" y="249"/>
                    <a:pt x="110" y="249"/>
                  </a:cubicBezTo>
                  <a:cubicBezTo>
                    <a:pt x="111" y="248"/>
                    <a:pt x="112" y="248"/>
                    <a:pt x="113" y="248"/>
                  </a:cubicBezTo>
                  <a:cubicBezTo>
                    <a:pt x="113" y="248"/>
                    <a:pt x="113" y="248"/>
                    <a:pt x="114" y="248"/>
                  </a:cubicBezTo>
                  <a:cubicBezTo>
                    <a:pt x="115" y="248"/>
                    <a:pt x="116" y="249"/>
                    <a:pt x="118" y="250"/>
                  </a:cubicBezTo>
                  <a:cubicBezTo>
                    <a:pt x="119" y="250"/>
                    <a:pt x="119" y="250"/>
                    <a:pt x="120" y="251"/>
                  </a:cubicBezTo>
                  <a:cubicBezTo>
                    <a:pt x="122" y="252"/>
                    <a:pt x="124" y="253"/>
                    <a:pt x="125" y="254"/>
                  </a:cubicBezTo>
                  <a:cubicBezTo>
                    <a:pt x="126" y="255"/>
                    <a:pt x="126" y="255"/>
                    <a:pt x="126" y="255"/>
                  </a:cubicBezTo>
                  <a:cubicBezTo>
                    <a:pt x="126" y="256"/>
                    <a:pt x="126" y="257"/>
                    <a:pt x="126" y="257"/>
                  </a:cubicBezTo>
                  <a:cubicBezTo>
                    <a:pt x="127" y="257"/>
                    <a:pt x="127" y="256"/>
                    <a:pt x="127" y="256"/>
                  </a:cubicBezTo>
                  <a:cubicBezTo>
                    <a:pt x="128" y="256"/>
                    <a:pt x="129" y="255"/>
                    <a:pt x="130" y="255"/>
                  </a:cubicBezTo>
                  <a:cubicBezTo>
                    <a:pt x="132" y="254"/>
                    <a:pt x="134" y="254"/>
                    <a:pt x="135" y="253"/>
                  </a:cubicBezTo>
                  <a:cubicBezTo>
                    <a:pt x="136" y="253"/>
                    <a:pt x="136" y="253"/>
                    <a:pt x="137" y="253"/>
                  </a:cubicBezTo>
                  <a:cubicBezTo>
                    <a:pt x="137" y="253"/>
                    <a:pt x="137" y="253"/>
                    <a:pt x="137" y="253"/>
                  </a:cubicBezTo>
                  <a:cubicBezTo>
                    <a:pt x="139" y="253"/>
                    <a:pt x="140" y="255"/>
                    <a:pt x="141" y="257"/>
                  </a:cubicBezTo>
                  <a:cubicBezTo>
                    <a:pt x="142" y="258"/>
                    <a:pt x="142" y="259"/>
                    <a:pt x="143" y="260"/>
                  </a:cubicBezTo>
                  <a:cubicBezTo>
                    <a:pt x="143" y="261"/>
                    <a:pt x="144" y="262"/>
                    <a:pt x="144" y="263"/>
                  </a:cubicBezTo>
                  <a:cubicBezTo>
                    <a:pt x="146" y="264"/>
                    <a:pt x="147" y="266"/>
                    <a:pt x="149" y="267"/>
                  </a:cubicBezTo>
                  <a:cubicBezTo>
                    <a:pt x="150" y="269"/>
                    <a:pt x="152" y="271"/>
                    <a:pt x="152" y="273"/>
                  </a:cubicBezTo>
                  <a:cubicBezTo>
                    <a:pt x="153" y="275"/>
                    <a:pt x="153" y="276"/>
                    <a:pt x="152" y="278"/>
                  </a:cubicBezTo>
                  <a:cubicBezTo>
                    <a:pt x="153" y="279"/>
                    <a:pt x="154" y="279"/>
                    <a:pt x="155" y="279"/>
                  </a:cubicBezTo>
                  <a:cubicBezTo>
                    <a:pt x="157" y="280"/>
                    <a:pt x="158" y="281"/>
                    <a:pt x="159" y="284"/>
                  </a:cubicBezTo>
                  <a:cubicBezTo>
                    <a:pt x="159" y="285"/>
                    <a:pt x="159" y="285"/>
                    <a:pt x="159" y="285"/>
                  </a:cubicBezTo>
                  <a:cubicBezTo>
                    <a:pt x="159" y="287"/>
                    <a:pt x="160" y="289"/>
                    <a:pt x="161" y="292"/>
                  </a:cubicBezTo>
                  <a:cubicBezTo>
                    <a:pt x="162" y="294"/>
                    <a:pt x="163" y="296"/>
                    <a:pt x="164" y="298"/>
                  </a:cubicBezTo>
                  <a:cubicBezTo>
                    <a:pt x="165" y="300"/>
                    <a:pt x="166" y="302"/>
                    <a:pt x="167" y="304"/>
                  </a:cubicBezTo>
                  <a:cubicBezTo>
                    <a:pt x="167" y="304"/>
                    <a:pt x="167" y="304"/>
                    <a:pt x="167" y="304"/>
                  </a:cubicBezTo>
                  <a:cubicBezTo>
                    <a:pt x="168" y="306"/>
                    <a:pt x="169" y="308"/>
                    <a:pt x="170" y="310"/>
                  </a:cubicBezTo>
                  <a:cubicBezTo>
                    <a:pt x="172" y="310"/>
                    <a:pt x="173" y="311"/>
                    <a:pt x="174" y="312"/>
                  </a:cubicBezTo>
                  <a:cubicBezTo>
                    <a:pt x="175" y="312"/>
                    <a:pt x="176" y="312"/>
                    <a:pt x="177" y="312"/>
                  </a:cubicBezTo>
                  <a:cubicBezTo>
                    <a:pt x="177" y="312"/>
                    <a:pt x="178" y="312"/>
                    <a:pt x="178" y="312"/>
                  </a:cubicBezTo>
                  <a:cubicBezTo>
                    <a:pt x="178" y="312"/>
                    <a:pt x="179" y="312"/>
                    <a:pt x="179" y="312"/>
                  </a:cubicBezTo>
                  <a:cubicBezTo>
                    <a:pt x="179" y="312"/>
                    <a:pt x="179" y="312"/>
                    <a:pt x="180" y="312"/>
                  </a:cubicBezTo>
                  <a:cubicBezTo>
                    <a:pt x="181" y="312"/>
                    <a:pt x="183" y="312"/>
                    <a:pt x="184" y="313"/>
                  </a:cubicBezTo>
                  <a:cubicBezTo>
                    <a:pt x="184" y="313"/>
                    <a:pt x="185" y="313"/>
                    <a:pt x="185" y="313"/>
                  </a:cubicBezTo>
                  <a:cubicBezTo>
                    <a:pt x="187" y="314"/>
                    <a:pt x="189" y="315"/>
                    <a:pt x="191" y="316"/>
                  </a:cubicBezTo>
                  <a:cubicBezTo>
                    <a:pt x="192" y="317"/>
                    <a:pt x="192" y="317"/>
                    <a:pt x="192" y="317"/>
                  </a:cubicBezTo>
                  <a:cubicBezTo>
                    <a:pt x="193" y="317"/>
                    <a:pt x="193" y="317"/>
                    <a:pt x="193" y="317"/>
                  </a:cubicBezTo>
                  <a:cubicBezTo>
                    <a:pt x="194" y="317"/>
                    <a:pt x="195" y="318"/>
                    <a:pt x="195" y="318"/>
                  </a:cubicBezTo>
                  <a:cubicBezTo>
                    <a:pt x="196" y="319"/>
                    <a:pt x="196" y="319"/>
                    <a:pt x="197" y="320"/>
                  </a:cubicBezTo>
                  <a:cubicBezTo>
                    <a:pt x="198" y="321"/>
                    <a:pt x="199" y="323"/>
                    <a:pt x="201" y="325"/>
                  </a:cubicBezTo>
                  <a:cubicBezTo>
                    <a:pt x="202" y="327"/>
                    <a:pt x="203" y="328"/>
                    <a:pt x="206" y="329"/>
                  </a:cubicBezTo>
                  <a:cubicBezTo>
                    <a:pt x="206" y="329"/>
                    <a:pt x="206" y="329"/>
                    <a:pt x="206" y="329"/>
                  </a:cubicBezTo>
                  <a:cubicBezTo>
                    <a:pt x="208" y="330"/>
                    <a:pt x="209" y="331"/>
                    <a:pt x="212" y="332"/>
                  </a:cubicBezTo>
                  <a:cubicBezTo>
                    <a:pt x="212" y="332"/>
                    <a:pt x="212" y="332"/>
                    <a:pt x="212" y="332"/>
                  </a:cubicBezTo>
                  <a:cubicBezTo>
                    <a:pt x="215" y="333"/>
                    <a:pt x="216" y="334"/>
                    <a:pt x="218" y="335"/>
                  </a:cubicBezTo>
                  <a:cubicBezTo>
                    <a:pt x="218" y="336"/>
                    <a:pt x="218" y="336"/>
                    <a:pt x="218" y="336"/>
                  </a:cubicBezTo>
                  <a:cubicBezTo>
                    <a:pt x="220" y="337"/>
                    <a:pt x="220" y="339"/>
                    <a:pt x="222" y="340"/>
                  </a:cubicBezTo>
                  <a:cubicBezTo>
                    <a:pt x="223" y="340"/>
                    <a:pt x="223" y="340"/>
                    <a:pt x="223" y="340"/>
                  </a:cubicBezTo>
                  <a:cubicBezTo>
                    <a:pt x="225" y="341"/>
                    <a:pt x="227" y="342"/>
                    <a:pt x="229" y="342"/>
                  </a:cubicBezTo>
                  <a:cubicBezTo>
                    <a:pt x="232" y="342"/>
                    <a:pt x="235" y="343"/>
                    <a:pt x="237" y="343"/>
                  </a:cubicBezTo>
                  <a:cubicBezTo>
                    <a:pt x="238" y="343"/>
                    <a:pt x="239" y="343"/>
                    <a:pt x="239" y="343"/>
                  </a:cubicBezTo>
                  <a:cubicBezTo>
                    <a:pt x="241" y="344"/>
                    <a:pt x="243" y="344"/>
                    <a:pt x="245" y="345"/>
                  </a:cubicBezTo>
                  <a:cubicBezTo>
                    <a:pt x="245" y="345"/>
                    <a:pt x="245" y="346"/>
                    <a:pt x="245" y="346"/>
                  </a:cubicBezTo>
                  <a:cubicBezTo>
                    <a:pt x="249" y="345"/>
                    <a:pt x="252" y="344"/>
                    <a:pt x="255" y="343"/>
                  </a:cubicBezTo>
                  <a:cubicBezTo>
                    <a:pt x="257" y="343"/>
                    <a:pt x="258" y="342"/>
                    <a:pt x="259" y="342"/>
                  </a:cubicBezTo>
                  <a:cubicBezTo>
                    <a:pt x="261" y="341"/>
                    <a:pt x="263" y="340"/>
                    <a:pt x="266" y="340"/>
                  </a:cubicBezTo>
                  <a:cubicBezTo>
                    <a:pt x="267" y="339"/>
                    <a:pt x="267" y="336"/>
                    <a:pt x="268" y="336"/>
                  </a:cubicBezTo>
                  <a:cubicBezTo>
                    <a:pt x="270" y="333"/>
                    <a:pt x="273" y="332"/>
                    <a:pt x="277" y="331"/>
                  </a:cubicBezTo>
                  <a:cubicBezTo>
                    <a:pt x="280" y="330"/>
                    <a:pt x="283" y="330"/>
                    <a:pt x="285" y="330"/>
                  </a:cubicBezTo>
                  <a:cubicBezTo>
                    <a:pt x="286" y="330"/>
                    <a:pt x="286" y="330"/>
                    <a:pt x="287" y="330"/>
                  </a:cubicBezTo>
                  <a:cubicBezTo>
                    <a:pt x="287" y="330"/>
                    <a:pt x="287" y="330"/>
                    <a:pt x="287" y="330"/>
                  </a:cubicBezTo>
                  <a:cubicBezTo>
                    <a:pt x="289" y="330"/>
                    <a:pt x="293" y="330"/>
                    <a:pt x="295" y="331"/>
                  </a:cubicBezTo>
                  <a:cubicBezTo>
                    <a:pt x="297" y="331"/>
                    <a:pt x="299" y="332"/>
                    <a:pt x="300" y="334"/>
                  </a:cubicBezTo>
                  <a:cubicBezTo>
                    <a:pt x="300" y="334"/>
                    <a:pt x="300" y="334"/>
                    <a:pt x="300" y="334"/>
                  </a:cubicBezTo>
                  <a:cubicBezTo>
                    <a:pt x="302" y="336"/>
                    <a:pt x="302" y="339"/>
                    <a:pt x="303" y="342"/>
                  </a:cubicBezTo>
                  <a:cubicBezTo>
                    <a:pt x="303" y="344"/>
                    <a:pt x="303" y="347"/>
                    <a:pt x="304" y="349"/>
                  </a:cubicBezTo>
                  <a:cubicBezTo>
                    <a:pt x="304" y="350"/>
                    <a:pt x="304" y="351"/>
                    <a:pt x="304" y="351"/>
                  </a:cubicBezTo>
                  <a:cubicBezTo>
                    <a:pt x="305" y="353"/>
                    <a:pt x="305" y="355"/>
                    <a:pt x="306" y="357"/>
                  </a:cubicBezTo>
                  <a:cubicBezTo>
                    <a:pt x="306" y="359"/>
                    <a:pt x="307" y="361"/>
                    <a:pt x="308" y="363"/>
                  </a:cubicBezTo>
                  <a:cubicBezTo>
                    <a:pt x="308" y="363"/>
                    <a:pt x="308" y="363"/>
                    <a:pt x="308" y="363"/>
                  </a:cubicBezTo>
                  <a:cubicBezTo>
                    <a:pt x="310" y="365"/>
                    <a:pt x="312" y="365"/>
                    <a:pt x="315" y="366"/>
                  </a:cubicBezTo>
                  <a:cubicBezTo>
                    <a:pt x="316" y="366"/>
                    <a:pt x="316" y="366"/>
                    <a:pt x="316" y="366"/>
                  </a:cubicBezTo>
                  <a:cubicBezTo>
                    <a:pt x="318" y="366"/>
                    <a:pt x="321" y="366"/>
                    <a:pt x="323" y="367"/>
                  </a:cubicBezTo>
                  <a:cubicBezTo>
                    <a:pt x="326" y="367"/>
                    <a:pt x="328" y="368"/>
                    <a:pt x="331" y="368"/>
                  </a:cubicBezTo>
                  <a:cubicBezTo>
                    <a:pt x="334" y="368"/>
                    <a:pt x="336" y="369"/>
                    <a:pt x="339" y="369"/>
                  </a:cubicBezTo>
                  <a:cubicBezTo>
                    <a:pt x="340" y="369"/>
                    <a:pt x="341" y="369"/>
                    <a:pt x="342" y="370"/>
                  </a:cubicBezTo>
                  <a:cubicBezTo>
                    <a:pt x="343" y="370"/>
                    <a:pt x="344" y="370"/>
                    <a:pt x="345" y="371"/>
                  </a:cubicBezTo>
                  <a:cubicBezTo>
                    <a:pt x="346" y="371"/>
                    <a:pt x="346" y="371"/>
                    <a:pt x="346" y="371"/>
                  </a:cubicBezTo>
                  <a:cubicBezTo>
                    <a:pt x="348" y="373"/>
                    <a:pt x="349" y="373"/>
                    <a:pt x="351" y="373"/>
                  </a:cubicBezTo>
                  <a:cubicBezTo>
                    <a:pt x="352" y="373"/>
                    <a:pt x="352" y="373"/>
                    <a:pt x="353" y="373"/>
                  </a:cubicBezTo>
                  <a:cubicBezTo>
                    <a:pt x="353" y="373"/>
                    <a:pt x="354" y="373"/>
                    <a:pt x="354" y="373"/>
                  </a:cubicBezTo>
                  <a:cubicBezTo>
                    <a:pt x="357" y="372"/>
                    <a:pt x="359" y="372"/>
                    <a:pt x="361" y="372"/>
                  </a:cubicBezTo>
                  <a:cubicBezTo>
                    <a:pt x="362" y="372"/>
                    <a:pt x="362" y="372"/>
                    <a:pt x="363" y="372"/>
                  </a:cubicBezTo>
                  <a:cubicBezTo>
                    <a:pt x="365" y="372"/>
                    <a:pt x="366" y="372"/>
                    <a:pt x="368" y="373"/>
                  </a:cubicBezTo>
                  <a:cubicBezTo>
                    <a:pt x="369" y="373"/>
                    <a:pt x="370" y="373"/>
                    <a:pt x="372" y="373"/>
                  </a:cubicBezTo>
                  <a:cubicBezTo>
                    <a:pt x="375" y="373"/>
                    <a:pt x="378" y="373"/>
                    <a:pt x="381" y="373"/>
                  </a:cubicBezTo>
                  <a:cubicBezTo>
                    <a:pt x="381" y="373"/>
                    <a:pt x="382" y="373"/>
                    <a:pt x="383" y="373"/>
                  </a:cubicBezTo>
                  <a:cubicBezTo>
                    <a:pt x="383" y="373"/>
                    <a:pt x="383" y="373"/>
                    <a:pt x="383" y="373"/>
                  </a:cubicBezTo>
                  <a:cubicBezTo>
                    <a:pt x="385" y="374"/>
                    <a:pt x="385" y="374"/>
                    <a:pt x="386" y="376"/>
                  </a:cubicBezTo>
                  <a:cubicBezTo>
                    <a:pt x="387" y="376"/>
                    <a:pt x="387" y="376"/>
                    <a:pt x="387" y="376"/>
                  </a:cubicBezTo>
                  <a:cubicBezTo>
                    <a:pt x="388" y="378"/>
                    <a:pt x="390" y="378"/>
                    <a:pt x="393" y="379"/>
                  </a:cubicBezTo>
                  <a:cubicBezTo>
                    <a:pt x="395" y="380"/>
                    <a:pt x="398" y="380"/>
                    <a:pt x="400" y="381"/>
                  </a:cubicBezTo>
                  <a:cubicBezTo>
                    <a:pt x="400" y="381"/>
                    <a:pt x="400" y="381"/>
                    <a:pt x="400" y="381"/>
                  </a:cubicBezTo>
                  <a:cubicBezTo>
                    <a:pt x="401" y="381"/>
                    <a:pt x="401" y="381"/>
                    <a:pt x="401" y="381"/>
                  </a:cubicBezTo>
                  <a:cubicBezTo>
                    <a:pt x="403" y="381"/>
                    <a:pt x="405" y="380"/>
                    <a:pt x="407" y="380"/>
                  </a:cubicBezTo>
                  <a:cubicBezTo>
                    <a:pt x="407" y="379"/>
                    <a:pt x="407" y="378"/>
                    <a:pt x="407" y="378"/>
                  </a:cubicBezTo>
                  <a:cubicBezTo>
                    <a:pt x="407" y="377"/>
                    <a:pt x="407" y="377"/>
                    <a:pt x="407" y="377"/>
                  </a:cubicBezTo>
                  <a:cubicBezTo>
                    <a:pt x="408" y="377"/>
                    <a:pt x="408" y="377"/>
                    <a:pt x="408" y="377"/>
                  </a:cubicBezTo>
                  <a:cubicBezTo>
                    <a:pt x="408" y="376"/>
                    <a:pt x="408" y="374"/>
                    <a:pt x="408" y="373"/>
                  </a:cubicBezTo>
                  <a:cubicBezTo>
                    <a:pt x="408" y="373"/>
                    <a:pt x="408" y="373"/>
                    <a:pt x="408" y="373"/>
                  </a:cubicBezTo>
                  <a:cubicBezTo>
                    <a:pt x="409" y="372"/>
                    <a:pt x="409" y="372"/>
                    <a:pt x="409" y="371"/>
                  </a:cubicBezTo>
                  <a:cubicBezTo>
                    <a:pt x="409" y="370"/>
                    <a:pt x="409" y="370"/>
                    <a:pt x="409" y="370"/>
                  </a:cubicBezTo>
                  <a:cubicBezTo>
                    <a:pt x="410" y="365"/>
                    <a:pt x="411" y="361"/>
                    <a:pt x="412" y="357"/>
                  </a:cubicBezTo>
                  <a:cubicBezTo>
                    <a:pt x="413" y="352"/>
                    <a:pt x="414" y="351"/>
                    <a:pt x="417" y="349"/>
                  </a:cubicBezTo>
                  <a:cubicBezTo>
                    <a:pt x="418" y="349"/>
                    <a:pt x="418" y="349"/>
                    <a:pt x="418" y="349"/>
                  </a:cubicBezTo>
                  <a:cubicBezTo>
                    <a:pt x="418" y="349"/>
                    <a:pt x="419" y="348"/>
                    <a:pt x="420" y="347"/>
                  </a:cubicBezTo>
                  <a:cubicBezTo>
                    <a:pt x="420" y="347"/>
                    <a:pt x="420" y="347"/>
                    <a:pt x="420" y="347"/>
                  </a:cubicBezTo>
                  <a:cubicBezTo>
                    <a:pt x="421" y="346"/>
                    <a:pt x="422" y="345"/>
                    <a:pt x="423" y="345"/>
                  </a:cubicBezTo>
                  <a:cubicBezTo>
                    <a:pt x="425" y="344"/>
                    <a:pt x="427" y="343"/>
                    <a:pt x="428" y="343"/>
                  </a:cubicBezTo>
                  <a:cubicBezTo>
                    <a:pt x="438" y="341"/>
                    <a:pt x="438" y="341"/>
                    <a:pt x="438" y="341"/>
                  </a:cubicBezTo>
                  <a:cubicBezTo>
                    <a:pt x="439" y="341"/>
                    <a:pt x="440" y="341"/>
                    <a:pt x="441" y="341"/>
                  </a:cubicBezTo>
                  <a:cubicBezTo>
                    <a:pt x="442" y="341"/>
                    <a:pt x="443" y="341"/>
                    <a:pt x="443" y="340"/>
                  </a:cubicBezTo>
                  <a:cubicBezTo>
                    <a:pt x="445" y="335"/>
                    <a:pt x="445" y="335"/>
                    <a:pt x="445" y="335"/>
                  </a:cubicBezTo>
                  <a:cubicBezTo>
                    <a:pt x="445" y="334"/>
                    <a:pt x="445" y="332"/>
                    <a:pt x="446" y="331"/>
                  </a:cubicBezTo>
                  <a:cubicBezTo>
                    <a:pt x="446" y="331"/>
                    <a:pt x="445" y="331"/>
                    <a:pt x="445" y="331"/>
                  </a:cubicBezTo>
                  <a:cubicBezTo>
                    <a:pt x="445" y="331"/>
                    <a:pt x="445" y="331"/>
                    <a:pt x="444" y="331"/>
                  </a:cubicBezTo>
                  <a:cubicBezTo>
                    <a:pt x="444" y="331"/>
                    <a:pt x="443" y="331"/>
                    <a:pt x="443" y="331"/>
                  </a:cubicBezTo>
                  <a:cubicBezTo>
                    <a:pt x="442" y="331"/>
                    <a:pt x="442" y="331"/>
                    <a:pt x="442" y="331"/>
                  </a:cubicBezTo>
                  <a:cubicBezTo>
                    <a:pt x="441" y="331"/>
                    <a:pt x="441" y="331"/>
                    <a:pt x="440" y="331"/>
                  </a:cubicBezTo>
                  <a:cubicBezTo>
                    <a:pt x="440" y="331"/>
                    <a:pt x="440" y="331"/>
                    <a:pt x="440" y="331"/>
                  </a:cubicBezTo>
                  <a:cubicBezTo>
                    <a:pt x="437" y="330"/>
                    <a:pt x="435" y="329"/>
                    <a:pt x="434" y="326"/>
                  </a:cubicBezTo>
                  <a:cubicBezTo>
                    <a:pt x="434" y="324"/>
                    <a:pt x="434" y="322"/>
                    <a:pt x="434" y="321"/>
                  </a:cubicBezTo>
                  <a:cubicBezTo>
                    <a:pt x="434" y="320"/>
                    <a:pt x="434" y="320"/>
                    <a:pt x="434" y="320"/>
                  </a:cubicBezTo>
                  <a:cubicBezTo>
                    <a:pt x="435" y="311"/>
                    <a:pt x="435" y="311"/>
                    <a:pt x="435" y="311"/>
                  </a:cubicBezTo>
                  <a:cubicBezTo>
                    <a:pt x="435" y="310"/>
                    <a:pt x="435" y="309"/>
                    <a:pt x="435" y="309"/>
                  </a:cubicBezTo>
                  <a:cubicBezTo>
                    <a:pt x="435" y="307"/>
                    <a:pt x="435" y="306"/>
                    <a:pt x="435" y="305"/>
                  </a:cubicBezTo>
                  <a:cubicBezTo>
                    <a:pt x="435" y="305"/>
                    <a:pt x="434" y="305"/>
                    <a:pt x="433" y="304"/>
                  </a:cubicBezTo>
                  <a:cubicBezTo>
                    <a:pt x="433" y="304"/>
                    <a:pt x="433" y="304"/>
                    <a:pt x="433" y="304"/>
                  </a:cubicBezTo>
                  <a:cubicBezTo>
                    <a:pt x="432" y="304"/>
                    <a:pt x="431" y="303"/>
                    <a:pt x="430" y="303"/>
                  </a:cubicBezTo>
                  <a:cubicBezTo>
                    <a:pt x="428" y="302"/>
                    <a:pt x="427" y="302"/>
                    <a:pt x="427" y="302"/>
                  </a:cubicBezTo>
                  <a:cubicBezTo>
                    <a:pt x="426" y="301"/>
                    <a:pt x="425" y="301"/>
                    <a:pt x="425" y="301"/>
                  </a:cubicBezTo>
                  <a:cubicBezTo>
                    <a:pt x="424" y="301"/>
                    <a:pt x="424" y="301"/>
                    <a:pt x="424" y="301"/>
                  </a:cubicBezTo>
                  <a:cubicBezTo>
                    <a:pt x="423" y="300"/>
                    <a:pt x="422" y="300"/>
                    <a:pt x="421" y="300"/>
                  </a:cubicBezTo>
                  <a:cubicBezTo>
                    <a:pt x="419" y="299"/>
                    <a:pt x="415" y="297"/>
                    <a:pt x="414" y="295"/>
                  </a:cubicBezTo>
                  <a:cubicBezTo>
                    <a:pt x="411" y="291"/>
                    <a:pt x="409" y="288"/>
                    <a:pt x="407" y="285"/>
                  </a:cubicBezTo>
                  <a:cubicBezTo>
                    <a:pt x="406" y="284"/>
                    <a:pt x="406" y="284"/>
                    <a:pt x="406" y="284"/>
                  </a:cubicBezTo>
                  <a:cubicBezTo>
                    <a:pt x="401" y="278"/>
                    <a:pt x="396" y="271"/>
                    <a:pt x="391" y="263"/>
                  </a:cubicBezTo>
                  <a:cubicBezTo>
                    <a:pt x="390" y="263"/>
                    <a:pt x="390" y="263"/>
                    <a:pt x="390" y="263"/>
                  </a:cubicBezTo>
                  <a:cubicBezTo>
                    <a:pt x="386" y="262"/>
                    <a:pt x="386" y="262"/>
                    <a:pt x="386" y="262"/>
                  </a:cubicBezTo>
                  <a:cubicBezTo>
                    <a:pt x="390" y="259"/>
                    <a:pt x="390" y="259"/>
                    <a:pt x="390" y="259"/>
                  </a:cubicBezTo>
                  <a:cubicBezTo>
                    <a:pt x="390" y="259"/>
                    <a:pt x="390" y="259"/>
                    <a:pt x="390" y="259"/>
                  </a:cubicBezTo>
                  <a:cubicBezTo>
                    <a:pt x="391" y="258"/>
                    <a:pt x="391" y="258"/>
                    <a:pt x="391" y="258"/>
                  </a:cubicBezTo>
                  <a:cubicBezTo>
                    <a:pt x="392" y="257"/>
                    <a:pt x="393" y="255"/>
                    <a:pt x="394" y="254"/>
                  </a:cubicBezTo>
                  <a:cubicBezTo>
                    <a:pt x="399" y="248"/>
                    <a:pt x="399" y="248"/>
                    <a:pt x="399" y="248"/>
                  </a:cubicBezTo>
                  <a:cubicBezTo>
                    <a:pt x="400" y="247"/>
                    <a:pt x="401" y="246"/>
                    <a:pt x="402" y="245"/>
                  </a:cubicBezTo>
                  <a:cubicBezTo>
                    <a:pt x="403" y="244"/>
                    <a:pt x="403" y="244"/>
                    <a:pt x="403" y="244"/>
                  </a:cubicBezTo>
                  <a:cubicBezTo>
                    <a:pt x="404" y="243"/>
                    <a:pt x="404" y="243"/>
                    <a:pt x="404" y="242"/>
                  </a:cubicBezTo>
                  <a:cubicBezTo>
                    <a:pt x="405" y="241"/>
                    <a:pt x="406" y="240"/>
                    <a:pt x="407" y="240"/>
                  </a:cubicBezTo>
                  <a:cubicBezTo>
                    <a:pt x="408" y="238"/>
                    <a:pt x="410" y="236"/>
                    <a:pt x="411" y="234"/>
                  </a:cubicBezTo>
                  <a:cubicBezTo>
                    <a:pt x="412" y="233"/>
                    <a:pt x="412" y="231"/>
                    <a:pt x="412" y="230"/>
                  </a:cubicBezTo>
                  <a:cubicBezTo>
                    <a:pt x="412" y="230"/>
                    <a:pt x="412" y="229"/>
                    <a:pt x="411" y="229"/>
                  </a:cubicBezTo>
                  <a:cubicBezTo>
                    <a:pt x="411" y="228"/>
                    <a:pt x="411" y="228"/>
                    <a:pt x="410" y="227"/>
                  </a:cubicBezTo>
                  <a:cubicBezTo>
                    <a:pt x="408" y="224"/>
                    <a:pt x="408" y="224"/>
                    <a:pt x="408" y="224"/>
                  </a:cubicBezTo>
                  <a:cubicBezTo>
                    <a:pt x="408" y="224"/>
                    <a:pt x="408" y="224"/>
                    <a:pt x="407" y="223"/>
                  </a:cubicBezTo>
                  <a:cubicBezTo>
                    <a:pt x="395" y="222"/>
                    <a:pt x="395" y="222"/>
                    <a:pt x="395" y="222"/>
                  </a:cubicBezTo>
                  <a:cubicBezTo>
                    <a:pt x="394" y="222"/>
                    <a:pt x="394" y="222"/>
                    <a:pt x="394" y="222"/>
                  </a:cubicBezTo>
                  <a:cubicBezTo>
                    <a:pt x="393" y="221"/>
                    <a:pt x="390" y="221"/>
                    <a:pt x="389" y="218"/>
                  </a:cubicBezTo>
                  <a:cubicBezTo>
                    <a:pt x="389" y="218"/>
                    <a:pt x="389" y="217"/>
                    <a:pt x="389" y="217"/>
                  </a:cubicBezTo>
                  <a:cubicBezTo>
                    <a:pt x="389" y="216"/>
                    <a:pt x="389" y="215"/>
                    <a:pt x="389" y="214"/>
                  </a:cubicBezTo>
                  <a:cubicBezTo>
                    <a:pt x="389" y="214"/>
                    <a:pt x="389" y="214"/>
                    <a:pt x="389" y="214"/>
                  </a:cubicBezTo>
                  <a:cubicBezTo>
                    <a:pt x="389" y="213"/>
                    <a:pt x="389" y="213"/>
                    <a:pt x="389" y="212"/>
                  </a:cubicBezTo>
                  <a:cubicBezTo>
                    <a:pt x="388" y="208"/>
                    <a:pt x="388" y="208"/>
                    <a:pt x="388" y="208"/>
                  </a:cubicBezTo>
                  <a:cubicBezTo>
                    <a:pt x="388" y="206"/>
                    <a:pt x="388" y="204"/>
                    <a:pt x="389" y="202"/>
                  </a:cubicBezTo>
                  <a:cubicBezTo>
                    <a:pt x="389" y="201"/>
                    <a:pt x="389" y="200"/>
                    <a:pt x="389" y="198"/>
                  </a:cubicBezTo>
                  <a:cubicBezTo>
                    <a:pt x="389" y="198"/>
                    <a:pt x="389" y="197"/>
                    <a:pt x="389" y="196"/>
                  </a:cubicBezTo>
                  <a:cubicBezTo>
                    <a:pt x="388" y="195"/>
                    <a:pt x="388" y="195"/>
                    <a:pt x="388" y="195"/>
                  </a:cubicBezTo>
                  <a:cubicBezTo>
                    <a:pt x="388" y="194"/>
                    <a:pt x="387" y="193"/>
                    <a:pt x="387" y="192"/>
                  </a:cubicBezTo>
                  <a:cubicBezTo>
                    <a:pt x="385" y="184"/>
                    <a:pt x="385" y="184"/>
                    <a:pt x="385" y="184"/>
                  </a:cubicBezTo>
                  <a:cubicBezTo>
                    <a:pt x="385" y="183"/>
                    <a:pt x="385" y="183"/>
                    <a:pt x="385" y="182"/>
                  </a:cubicBezTo>
                  <a:cubicBezTo>
                    <a:pt x="383" y="176"/>
                    <a:pt x="383" y="176"/>
                    <a:pt x="383" y="176"/>
                  </a:cubicBezTo>
                  <a:cubicBezTo>
                    <a:pt x="383" y="173"/>
                    <a:pt x="385" y="170"/>
                    <a:pt x="388" y="167"/>
                  </a:cubicBezTo>
                  <a:cubicBezTo>
                    <a:pt x="388" y="167"/>
                    <a:pt x="388" y="167"/>
                    <a:pt x="388" y="167"/>
                  </a:cubicBezTo>
                  <a:cubicBezTo>
                    <a:pt x="386" y="167"/>
                    <a:pt x="384" y="166"/>
                    <a:pt x="383" y="164"/>
                  </a:cubicBezTo>
                  <a:cubicBezTo>
                    <a:pt x="382" y="163"/>
                    <a:pt x="382" y="162"/>
                    <a:pt x="381" y="161"/>
                  </a:cubicBezTo>
                  <a:cubicBezTo>
                    <a:pt x="381" y="160"/>
                    <a:pt x="381" y="160"/>
                    <a:pt x="381" y="160"/>
                  </a:cubicBezTo>
                  <a:cubicBezTo>
                    <a:pt x="381" y="159"/>
                    <a:pt x="381" y="157"/>
                    <a:pt x="381" y="156"/>
                  </a:cubicBezTo>
                  <a:cubicBezTo>
                    <a:pt x="381" y="153"/>
                    <a:pt x="381" y="151"/>
                    <a:pt x="381" y="150"/>
                  </a:cubicBezTo>
                  <a:cubicBezTo>
                    <a:pt x="381" y="150"/>
                    <a:pt x="381" y="150"/>
                    <a:pt x="381" y="150"/>
                  </a:cubicBezTo>
                  <a:cubicBezTo>
                    <a:pt x="380" y="150"/>
                    <a:pt x="380" y="150"/>
                    <a:pt x="380" y="150"/>
                  </a:cubicBezTo>
                  <a:cubicBezTo>
                    <a:pt x="388" y="142"/>
                    <a:pt x="388" y="142"/>
                    <a:pt x="388" y="142"/>
                  </a:cubicBezTo>
                  <a:cubicBezTo>
                    <a:pt x="388" y="142"/>
                    <a:pt x="387" y="141"/>
                    <a:pt x="387" y="141"/>
                  </a:cubicBezTo>
                  <a:cubicBezTo>
                    <a:pt x="385" y="139"/>
                    <a:pt x="385" y="139"/>
                    <a:pt x="385" y="139"/>
                  </a:cubicBezTo>
                  <a:cubicBezTo>
                    <a:pt x="387" y="137"/>
                    <a:pt x="387" y="137"/>
                    <a:pt x="387" y="137"/>
                  </a:cubicBezTo>
                  <a:cubicBezTo>
                    <a:pt x="388" y="136"/>
                    <a:pt x="389" y="134"/>
                    <a:pt x="391" y="133"/>
                  </a:cubicBezTo>
                  <a:cubicBezTo>
                    <a:pt x="392" y="132"/>
                    <a:pt x="392" y="132"/>
                    <a:pt x="392" y="132"/>
                  </a:cubicBezTo>
                  <a:cubicBezTo>
                    <a:pt x="394" y="130"/>
                    <a:pt x="394" y="130"/>
                    <a:pt x="394" y="129"/>
                  </a:cubicBezTo>
                  <a:cubicBezTo>
                    <a:pt x="394" y="127"/>
                    <a:pt x="394" y="127"/>
                    <a:pt x="394" y="127"/>
                  </a:cubicBezTo>
                  <a:cubicBezTo>
                    <a:pt x="395" y="126"/>
                    <a:pt x="395" y="126"/>
                    <a:pt x="395" y="126"/>
                  </a:cubicBezTo>
                  <a:cubicBezTo>
                    <a:pt x="395" y="126"/>
                    <a:pt x="395" y="126"/>
                    <a:pt x="395" y="126"/>
                  </a:cubicBezTo>
                  <a:cubicBezTo>
                    <a:pt x="395" y="125"/>
                    <a:pt x="395" y="124"/>
                    <a:pt x="396" y="123"/>
                  </a:cubicBezTo>
                  <a:cubicBezTo>
                    <a:pt x="398" y="115"/>
                    <a:pt x="398" y="115"/>
                    <a:pt x="398" y="115"/>
                  </a:cubicBezTo>
                  <a:cubicBezTo>
                    <a:pt x="401" y="112"/>
                    <a:pt x="401" y="112"/>
                    <a:pt x="401" y="112"/>
                  </a:cubicBezTo>
                  <a:cubicBezTo>
                    <a:pt x="401" y="112"/>
                    <a:pt x="401" y="112"/>
                    <a:pt x="401" y="112"/>
                  </a:cubicBezTo>
                  <a:cubicBezTo>
                    <a:pt x="400" y="111"/>
                    <a:pt x="400" y="111"/>
                    <a:pt x="399" y="110"/>
                  </a:cubicBezTo>
                  <a:cubicBezTo>
                    <a:pt x="399" y="109"/>
                    <a:pt x="399" y="109"/>
                    <a:pt x="399" y="109"/>
                  </a:cubicBezTo>
                  <a:cubicBezTo>
                    <a:pt x="399" y="108"/>
                    <a:pt x="399" y="107"/>
                    <a:pt x="399" y="107"/>
                  </a:cubicBezTo>
                  <a:cubicBezTo>
                    <a:pt x="398" y="106"/>
                    <a:pt x="398" y="106"/>
                    <a:pt x="398" y="105"/>
                  </a:cubicBezTo>
                  <a:cubicBezTo>
                    <a:pt x="397" y="103"/>
                    <a:pt x="397" y="103"/>
                    <a:pt x="397" y="103"/>
                  </a:cubicBezTo>
                  <a:cubicBezTo>
                    <a:pt x="397" y="100"/>
                    <a:pt x="397" y="97"/>
                    <a:pt x="397" y="95"/>
                  </a:cubicBezTo>
                  <a:cubicBezTo>
                    <a:pt x="397" y="94"/>
                    <a:pt x="397" y="94"/>
                    <a:pt x="397" y="94"/>
                  </a:cubicBezTo>
                  <a:cubicBezTo>
                    <a:pt x="397" y="93"/>
                    <a:pt x="397" y="92"/>
                    <a:pt x="397" y="92"/>
                  </a:cubicBezTo>
                  <a:cubicBezTo>
                    <a:pt x="397" y="91"/>
                    <a:pt x="397" y="91"/>
                    <a:pt x="397" y="91"/>
                  </a:cubicBezTo>
                  <a:cubicBezTo>
                    <a:pt x="397" y="89"/>
                    <a:pt x="397" y="86"/>
                    <a:pt x="397" y="85"/>
                  </a:cubicBezTo>
                  <a:cubicBezTo>
                    <a:pt x="397" y="85"/>
                    <a:pt x="397" y="85"/>
                    <a:pt x="397" y="85"/>
                  </a:cubicBezTo>
                  <a:cubicBezTo>
                    <a:pt x="396" y="84"/>
                    <a:pt x="394" y="84"/>
                    <a:pt x="393" y="84"/>
                  </a:cubicBezTo>
                  <a:cubicBezTo>
                    <a:pt x="393" y="84"/>
                    <a:pt x="392" y="84"/>
                    <a:pt x="391" y="84"/>
                  </a:cubicBezTo>
                  <a:cubicBezTo>
                    <a:pt x="389" y="84"/>
                    <a:pt x="389" y="84"/>
                    <a:pt x="389" y="84"/>
                  </a:cubicBezTo>
                  <a:cubicBezTo>
                    <a:pt x="387" y="85"/>
                    <a:pt x="386" y="85"/>
                    <a:pt x="385" y="85"/>
                  </a:cubicBezTo>
                  <a:cubicBezTo>
                    <a:pt x="385" y="88"/>
                    <a:pt x="385" y="88"/>
                    <a:pt x="385" y="88"/>
                  </a:cubicBezTo>
                  <a:cubicBezTo>
                    <a:pt x="384" y="85"/>
                    <a:pt x="384" y="85"/>
                    <a:pt x="384" y="85"/>
                  </a:cubicBezTo>
                  <a:cubicBezTo>
                    <a:pt x="383" y="85"/>
                    <a:pt x="383" y="85"/>
                    <a:pt x="383" y="85"/>
                  </a:cubicBezTo>
                  <a:cubicBezTo>
                    <a:pt x="382" y="85"/>
                    <a:pt x="380" y="84"/>
                    <a:pt x="379" y="84"/>
                  </a:cubicBezTo>
                  <a:cubicBezTo>
                    <a:pt x="379" y="84"/>
                    <a:pt x="378" y="83"/>
                    <a:pt x="378" y="83"/>
                  </a:cubicBezTo>
                  <a:cubicBezTo>
                    <a:pt x="377" y="82"/>
                    <a:pt x="377" y="82"/>
                    <a:pt x="377" y="82"/>
                  </a:cubicBezTo>
                  <a:cubicBezTo>
                    <a:pt x="376" y="82"/>
                    <a:pt x="376" y="81"/>
                    <a:pt x="375" y="80"/>
                  </a:cubicBezTo>
                  <a:cubicBezTo>
                    <a:pt x="374" y="78"/>
                    <a:pt x="374" y="78"/>
                    <a:pt x="374" y="78"/>
                  </a:cubicBezTo>
                  <a:cubicBezTo>
                    <a:pt x="373" y="77"/>
                    <a:pt x="373" y="77"/>
                    <a:pt x="372" y="76"/>
                  </a:cubicBezTo>
                  <a:cubicBezTo>
                    <a:pt x="372" y="75"/>
                    <a:pt x="372" y="75"/>
                    <a:pt x="372" y="75"/>
                  </a:cubicBezTo>
                  <a:cubicBezTo>
                    <a:pt x="372" y="75"/>
                    <a:pt x="371" y="75"/>
                    <a:pt x="371" y="74"/>
                  </a:cubicBezTo>
                  <a:cubicBezTo>
                    <a:pt x="370" y="74"/>
                    <a:pt x="370" y="74"/>
                    <a:pt x="370" y="74"/>
                  </a:cubicBezTo>
                  <a:cubicBezTo>
                    <a:pt x="369" y="73"/>
                    <a:pt x="367" y="73"/>
                    <a:pt x="365" y="72"/>
                  </a:cubicBezTo>
                  <a:cubicBezTo>
                    <a:pt x="365" y="72"/>
                    <a:pt x="365" y="72"/>
                    <a:pt x="365" y="72"/>
                  </a:cubicBezTo>
                  <a:cubicBezTo>
                    <a:pt x="364" y="72"/>
                    <a:pt x="363" y="72"/>
                    <a:pt x="362" y="72"/>
                  </a:cubicBezTo>
                  <a:cubicBezTo>
                    <a:pt x="362" y="71"/>
                    <a:pt x="362" y="71"/>
                    <a:pt x="362" y="71"/>
                  </a:cubicBezTo>
                  <a:cubicBezTo>
                    <a:pt x="361" y="71"/>
                    <a:pt x="361" y="71"/>
                    <a:pt x="361" y="71"/>
                  </a:cubicBezTo>
                  <a:cubicBezTo>
                    <a:pt x="360" y="70"/>
                    <a:pt x="360" y="70"/>
                    <a:pt x="360" y="70"/>
                  </a:cubicBezTo>
                  <a:cubicBezTo>
                    <a:pt x="360" y="69"/>
                    <a:pt x="360" y="69"/>
                    <a:pt x="359" y="68"/>
                  </a:cubicBezTo>
                  <a:cubicBezTo>
                    <a:pt x="358" y="66"/>
                    <a:pt x="358" y="66"/>
                    <a:pt x="358" y="66"/>
                  </a:cubicBezTo>
                  <a:cubicBezTo>
                    <a:pt x="357" y="65"/>
                    <a:pt x="357" y="63"/>
                    <a:pt x="356" y="62"/>
                  </a:cubicBezTo>
                  <a:cubicBezTo>
                    <a:pt x="355" y="61"/>
                    <a:pt x="355" y="61"/>
                    <a:pt x="355" y="61"/>
                  </a:cubicBezTo>
                  <a:cubicBezTo>
                    <a:pt x="354" y="59"/>
                    <a:pt x="351" y="58"/>
                    <a:pt x="347" y="58"/>
                  </a:cubicBezTo>
                  <a:cubicBezTo>
                    <a:pt x="347" y="58"/>
                    <a:pt x="346" y="58"/>
                    <a:pt x="346" y="58"/>
                  </a:cubicBezTo>
                  <a:cubicBezTo>
                    <a:pt x="345" y="58"/>
                    <a:pt x="344" y="58"/>
                    <a:pt x="343" y="58"/>
                  </a:cubicBezTo>
                  <a:cubicBezTo>
                    <a:pt x="337" y="58"/>
                    <a:pt x="337" y="58"/>
                    <a:pt x="337" y="58"/>
                  </a:cubicBezTo>
                  <a:cubicBezTo>
                    <a:pt x="337" y="58"/>
                    <a:pt x="337" y="58"/>
                    <a:pt x="337" y="58"/>
                  </a:cubicBezTo>
                  <a:cubicBezTo>
                    <a:pt x="336" y="58"/>
                    <a:pt x="336" y="58"/>
                    <a:pt x="336" y="58"/>
                  </a:cubicBezTo>
                  <a:cubicBezTo>
                    <a:pt x="334" y="58"/>
                    <a:pt x="334" y="58"/>
                    <a:pt x="334" y="58"/>
                  </a:cubicBezTo>
                  <a:cubicBezTo>
                    <a:pt x="334" y="58"/>
                    <a:pt x="334" y="58"/>
                    <a:pt x="334" y="58"/>
                  </a:cubicBezTo>
                  <a:cubicBezTo>
                    <a:pt x="333" y="58"/>
                    <a:pt x="333" y="58"/>
                    <a:pt x="332" y="58"/>
                  </a:cubicBezTo>
                  <a:cubicBezTo>
                    <a:pt x="331" y="57"/>
                    <a:pt x="331" y="57"/>
                    <a:pt x="330" y="57"/>
                  </a:cubicBezTo>
                  <a:cubicBezTo>
                    <a:pt x="329" y="57"/>
                    <a:pt x="329" y="57"/>
                    <a:pt x="329" y="56"/>
                  </a:cubicBezTo>
                  <a:cubicBezTo>
                    <a:pt x="325" y="53"/>
                    <a:pt x="325" y="53"/>
                    <a:pt x="325" y="53"/>
                  </a:cubicBezTo>
                  <a:cubicBezTo>
                    <a:pt x="324" y="53"/>
                    <a:pt x="323" y="52"/>
                    <a:pt x="322" y="52"/>
                  </a:cubicBezTo>
                  <a:cubicBezTo>
                    <a:pt x="320" y="51"/>
                    <a:pt x="320" y="51"/>
                    <a:pt x="320" y="51"/>
                  </a:cubicBezTo>
                  <a:cubicBezTo>
                    <a:pt x="320" y="51"/>
                    <a:pt x="319" y="51"/>
                    <a:pt x="318" y="51"/>
                  </a:cubicBezTo>
                  <a:cubicBezTo>
                    <a:pt x="316" y="50"/>
                    <a:pt x="315" y="50"/>
                    <a:pt x="313" y="50"/>
                  </a:cubicBezTo>
                  <a:cubicBezTo>
                    <a:pt x="312" y="50"/>
                    <a:pt x="312" y="50"/>
                    <a:pt x="312" y="50"/>
                  </a:cubicBezTo>
                  <a:cubicBezTo>
                    <a:pt x="310" y="49"/>
                    <a:pt x="308" y="48"/>
                    <a:pt x="307" y="46"/>
                  </a:cubicBezTo>
                  <a:cubicBezTo>
                    <a:pt x="307" y="45"/>
                    <a:pt x="307" y="45"/>
                    <a:pt x="307" y="45"/>
                  </a:cubicBezTo>
                  <a:cubicBezTo>
                    <a:pt x="302" y="48"/>
                    <a:pt x="302" y="48"/>
                    <a:pt x="302" y="48"/>
                  </a:cubicBezTo>
                  <a:cubicBezTo>
                    <a:pt x="306" y="44"/>
                    <a:pt x="306" y="44"/>
                    <a:pt x="306" y="44"/>
                  </a:cubicBezTo>
                  <a:cubicBezTo>
                    <a:pt x="306" y="44"/>
                    <a:pt x="306" y="44"/>
                    <a:pt x="306" y="44"/>
                  </a:cubicBezTo>
                  <a:cubicBezTo>
                    <a:pt x="305" y="41"/>
                    <a:pt x="305" y="41"/>
                    <a:pt x="304" y="41"/>
                  </a:cubicBezTo>
                  <a:cubicBezTo>
                    <a:pt x="303" y="41"/>
                    <a:pt x="302" y="41"/>
                    <a:pt x="301" y="41"/>
                  </a:cubicBezTo>
                  <a:cubicBezTo>
                    <a:pt x="300" y="41"/>
                    <a:pt x="300" y="41"/>
                    <a:pt x="300" y="41"/>
                  </a:cubicBezTo>
                  <a:cubicBezTo>
                    <a:pt x="299" y="41"/>
                    <a:pt x="298" y="41"/>
                    <a:pt x="297" y="41"/>
                  </a:cubicBezTo>
                  <a:cubicBezTo>
                    <a:pt x="296" y="41"/>
                    <a:pt x="296" y="41"/>
                    <a:pt x="296" y="41"/>
                  </a:cubicBezTo>
                  <a:cubicBezTo>
                    <a:pt x="296" y="41"/>
                    <a:pt x="295" y="41"/>
                    <a:pt x="295" y="41"/>
                  </a:cubicBezTo>
                  <a:cubicBezTo>
                    <a:pt x="293" y="41"/>
                    <a:pt x="292" y="41"/>
                    <a:pt x="291" y="41"/>
                  </a:cubicBezTo>
                  <a:cubicBezTo>
                    <a:pt x="290" y="41"/>
                    <a:pt x="290" y="41"/>
                    <a:pt x="290" y="41"/>
                  </a:cubicBezTo>
                  <a:cubicBezTo>
                    <a:pt x="290" y="41"/>
                    <a:pt x="290" y="41"/>
                    <a:pt x="290" y="41"/>
                  </a:cubicBezTo>
                  <a:cubicBezTo>
                    <a:pt x="289" y="41"/>
                    <a:pt x="289" y="41"/>
                    <a:pt x="289" y="41"/>
                  </a:cubicBezTo>
                  <a:cubicBezTo>
                    <a:pt x="287" y="44"/>
                    <a:pt x="285" y="46"/>
                    <a:pt x="282" y="46"/>
                  </a:cubicBezTo>
                  <a:cubicBezTo>
                    <a:pt x="281" y="46"/>
                    <a:pt x="281" y="46"/>
                    <a:pt x="281" y="46"/>
                  </a:cubicBezTo>
                  <a:cubicBezTo>
                    <a:pt x="281" y="51"/>
                    <a:pt x="281" y="51"/>
                    <a:pt x="281" y="51"/>
                  </a:cubicBezTo>
                  <a:cubicBezTo>
                    <a:pt x="280" y="46"/>
                    <a:pt x="280" y="46"/>
                    <a:pt x="280" y="46"/>
                  </a:cubicBezTo>
                  <a:cubicBezTo>
                    <a:pt x="278" y="46"/>
                    <a:pt x="277" y="46"/>
                    <a:pt x="275" y="46"/>
                  </a:cubicBezTo>
                  <a:cubicBezTo>
                    <a:pt x="275" y="46"/>
                    <a:pt x="274" y="46"/>
                    <a:pt x="273" y="46"/>
                  </a:cubicBezTo>
                  <a:cubicBezTo>
                    <a:pt x="269" y="46"/>
                    <a:pt x="266" y="47"/>
                    <a:pt x="263" y="48"/>
                  </a:cubicBezTo>
                  <a:cubicBezTo>
                    <a:pt x="232" y="78"/>
                    <a:pt x="232" y="78"/>
                    <a:pt x="232" y="78"/>
                  </a:cubicBezTo>
                  <a:cubicBezTo>
                    <a:pt x="231" y="77"/>
                    <a:pt x="231" y="77"/>
                    <a:pt x="231" y="77"/>
                  </a:cubicBezTo>
                  <a:cubicBezTo>
                    <a:pt x="230" y="77"/>
                    <a:pt x="230" y="77"/>
                    <a:pt x="229" y="77"/>
                  </a:cubicBezTo>
                  <a:cubicBezTo>
                    <a:pt x="229" y="77"/>
                    <a:pt x="228" y="77"/>
                    <a:pt x="228" y="77"/>
                  </a:cubicBezTo>
                  <a:cubicBezTo>
                    <a:pt x="226" y="77"/>
                    <a:pt x="224" y="77"/>
                    <a:pt x="222" y="76"/>
                  </a:cubicBezTo>
                  <a:cubicBezTo>
                    <a:pt x="222" y="76"/>
                    <a:pt x="223" y="76"/>
                    <a:pt x="223" y="76"/>
                  </a:cubicBezTo>
                  <a:cubicBezTo>
                    <a:pt x="225" y="76"/>
                    <a:pt x="226" y="75"/>
                    <a:pt x="228" y="75"/>
                  </a:cubicBezTo>
                  <a:cubicBezTo>
                    <a:pt x="226" y="75"/>
                    <a:pt x="224" y="75"/>
                    <a:pt x="222" y="75"/>
                  </a:cubicBezTo>
                  <a:cubicBezTo>
                    <a:pt x="218" y="76"/>
                    <a:pt x="215" y="76"/>
                    <a:pt x="211" y="77"/>
                  </a:cubicBezTo>
                  <a:cubicBezTo>
                    <a:pt x="207" y="78"/>
                    <a:pt x="203" y="79"/>
                    <a:pt x="200" y="80"/>
                  </a:cubicBezTo>
                  <a:cubicBezTo>
                    <a:pt x="198" y="80"/>
                    <a:pt x="196" y="80"/>
                    <a:pt x="194" y="81"/>
                  </a:cubicBezTo>
                  <a:cubicBezTo>
                    <a:pt x="192" y="81"/>
                    <a:pt x="190" y="82"/>
                    <a:pt x="188" y="82"/>
                  </a:cubicBezTo>
                  <a:cubicBezTo>
                    <a:pt x="186" y="83"/>
                    <a:pt x="184" y="83"/>
                    <a:pt x="182" y="83"/>
                  </a:cubicBezTo>
                  <a:cubicBezTo>
                    <a:pt x="180" y="83"/>
                    <a:pt x="179" y="83"/>
                    <a:pt x="178" y="83"/>
                  </a:cubicBezTo>
                  <a:cubicBezTo>
                    <a:pt x="177" y="83"/>
                    <a:pt x="176" y="83"/>
                    <a:pt x="175" y="82"/>
                  </a:cubicBezTo>
                  <a:cubicBezTo>
                    <a:pt x="173" y="82"/>
                    <a:pt x="172" y="81"/>
                    <a:pt x="171" y="81"/>
                  </a:cubicBezTo>
                  <a:cubicBezTo>
                    <a:pt x="168" y="80"/>
                    <a:pt x="166" y="80"/>
                    <a:pt x="164" y="79"/>
                  </a:cubicBezTo>
                  <a:cubicBezTo>
                    <a:pt x="162" y="78"/>
                    <a:pt x="159" y="77"/>
                    <a:pt x="157" y="76"/>
                  </a:cubicBezTo>
                  <a:cubicBezTo>
                    <a:pt x="157" y="76"/>
                    <a:pt x="157" y="76"/>
                    <a:pt x="157" y="76"/>
                  </a:cubicBezTo>
                  <a:cubicBezTo>
                    <a:pt x="155" y="76"/>
                    <a:pt x="153" y="75"/>
                    <a:pt x="151" y="73"/>
                  </a:cubicBezTo>
                  <a:cubicBezTo>
                    <a:pt x="149" y="72"/>
                    <a:pt x="147" y="71"/>
                    <a:pt x="146" y="70"/>
                  </a:cubicBezTo>
                  <a:cubicBezTo>
                    <a:pt x="145" y="68"/>
                    <a:pt x="144" y="67"/>
                    <a:pt x="143" y="66"/>
                  </a:cubicBezTo>
                  <a:cubicBezTo>
                    <a:pt x="143" y="66"/>
                    <a:pt x="142" y="65"/>
                    <a:pt x="142" y="64"/>
                  </a:cubicBezTo>
                  <a:cubicBezTo>
                    <a:pt x="140" y="63"/>
                    <a:pt x="138" y="62"/>
                    <a:pt x="136" y="61"/>
                  </a:cubicBezTo>
                  <a:cubicBezTo>
                    <a:pt x="133" y="61"/>
                    <a:pt x="130" y="60"/>
                    <a:pt x="128" y="59"/>
                  </a:cubicBezTo>
                  <a:cubicBezTo>
                    <a:pt x="128" y="59"/>
                    <a:pt x="128" y="59"/>
                    <a:pt x="128" y="59"/>
                  </a:cubicBezTo>
                  <a:cubicBezTo>
                    <a:pt x="126" y="59"/>
                    <a:pt x="123" y="58"/>
                    <a:pt x="121" y="58"/>
                  </a:cubicBezTo>
                  <a:cubicBezTo>
                    <a:pt x="119" y="57"/>
                    <a:pt x="117" y="56"/>
                    <a:pt x="115" y="54"/>
                  </a:cubicBezTo>
                  <a:cubicBezTo>
                    <a:pt x="115" y="54"/>
                    <a:pt x="114" y="53"/>
                    <a:pt x="114" y="52"/>
                  </a:cubicBezTo>
                  <a:cubicBezTo>
                    <a:pt x="114" y="50"/>
                    <a:pt x="113" y="49"/>
                    <a:pt x="113" y="48"/>
                  </a:cubicBezTo>
                  <a:cubicBezTo>
                    <a:pt x="112" y="45"/>
                    <a:pt x="112" y="43"/>
                    <a:pt x="111" y="40"/>
                  </a:cubicBezTo>
                  <a:cubicBezTo>
                    <a:pt x="111" y="39"/>
                    <a:pt x="111" y="37"/>
                    <a:pt x="111" y="36"/>
                  </a:cubicBezTo>
                  <a:cubicBezTo>
                    <a:pt x="109" y="36"/>
                    <a:pt x="109" y="36"/>
                    <a:pt x="109" y="36"/>
                  </a:cubicBezTo>
                  <a:cubicBezTo>
                    <a:pt x="109" y="36"/>
                    <a:pt x="108" y="36"/>
                    <a:pt x="108" y="36"/>
                  </a:cubicBezTo>
                  <a:cubicBezTo>
                    <a:pt x="108" y="36"/>
                    <a:pt x="108" y="36"/>
                    <a:pt x="108" y="36"/>
                  </a:cubicBezTo>
                  <a:cubicBezTo>
                    <a:pt x="107" y="37"/>
                    <a:pt x="106" y="37"/>
                    <a:pt x="106" y="37"/>
                  </a:cubicBezTo>
                  <a:cubicBezTo>
                    <a:pt x="106" y="37"/>
                    <a:pt x="106" y="37"/>
                    <a:pt x="106" y="37"/>
                  </a:cubicBezTo>
                  <a:cubicBezTo>
                    <a:pt x="105" y="37"/>
                    <a:pt x="105" y="37"/>
                    <a:pt x="105" y="37"/>
                  </a:cubicBezTo>
                  <a:cubicBezTo>
                    <a:pt x="105" y="37"/>
                    <a:pt x="105" y="37"/>
                    <a:pt x="104" y="37"/>
                  </a:cubicBezTo>
                  <a:cubicBezTo>
                    <a:pt x="104" y="37"/>
                    <a:pt x="104" y="37"/>
                    <a:pt x="104" y="37"/>
                  </a:cubicBezTo>
                  <a:cubicBezTo>
                    <a:pt x="104" y="37"/>
                    <a:pt x="104" y="37"/>
                    <a:pt x="104" y="37"/>
                  </a:cubicBezTo>
                  <a:cubicBezTo>
                    <a:pt x="103" y="37"/>
                    <a:pt x="103" y="37"/>
                    <a:pt x="102" y="36"/>
                  </a:cubicBezTo>
                  <a:cubicBezTo>
                    <a:pt x="101" y="36"/>
                    <a:pt x="100" y="34"/>
                    <a:pt x="100" y="33"/>
                  </a:cubicBezTo>
                  <a:cubicBezTo>
                    <a:pt x="99" y="33"/>
                    <a:pt x="99" y="32"/>
                    <a:pt x="99" y="32"/>
                  </a:cubicBezTo>
                  <a:cubicBezTo>
                    <a:pt x="99" y="32"/>
                    <a:pt x="98" y="32"/>
                    <a:pt x="98" y="31"/>
                  </a:cubicBezTo>
                  <a:cubicBezTo>
                    <a:pt x="96" y="31"/>
                    <a:pt x="96" y="30"/>
                    <a:pt x="95" y="29"/>
                  </a:cubicBezTo>
                  <a:cubicBezTo>
                    <a:pt x="94" y="29"/>
                    <a:pt x="94" y="29"/>
                    <a:pt x="93" y="28"/>
                  </a:cubicBezTo>
                  <a:cubicBezTo>
                    <a:pt x="93" y="28"/>
                    <a:pt x="93" y="28"/>
                    <a:pt x="93" y="28"/>
                  </a:cubicBezTo>
                  <a:cubicBezTo>
                    <a:pt x="93" y="27"/>
                    <a:pt x="93" y="27"/>
                    <a:pt x="93" y="27"/>
                  </a:cubicBezTo>
                  <a:cubicBezTo>
                    <a:pt x="85" y="21"/>
                    <a:pt x="85" y="21"/>
                    <a:pt x="85" y="21"/>
                  </a:cubicBezTo>
                  <a:cubicBezTo>
                    <a:pt x="93" y="16"/>
                    <a:pt x="93" y="16"/>
                    <a:pt x="93" y="16"/>
                  </a:cubicBezTo>
                  <a:cubicBezTo>
                    <a:pt x="91" y="15"/>
                    <a:pt x="90" y="13"/>
                    <a:pt x="91" y="10"/>
                  </a:cubicBezTo>
                  <a:cubicBezTo>
                    <a:pt x="92" y="10"/>
                    <a:pt x="92" y="9"/>
                    <a:pt x="93" y="8"/>
                  </a:cubicBezTo>
                  <a:cubicBezTo>
                    <a:pt x="93" y="7"/>
                    <a:pt x="93" y="7"/>
                    <a:pt x="93" y="7"/>
                  </a:cubicBezTo>
                  <a:cubicBezTo>
                    <a:pt x="93" y="7"/>
                    <a:pt x="93" y="7"/>
                    <a:pt x="93" y="7"/>
                  </a:cubicBezTo>
                  <a:cubicBezTo>
                    <a:pt x="92" y="5"/>
                    <a:pt x="92" y="5"/>
                    <a:pt x="92" y="5"/>
                  </a:cubicBezTo>
                  <a:cubicBezTo>
                    <a:pt x="90" y="2"/>
                    <a:pt x="89" y="1"/>
                    <a:pt x="89" y="1"/>
                  </a:cubicBezTo>
                  <a:cubicBezTo>
                    <a:pt x="88" y="1"/>
                    <a:pt x="87" y="2"/>
                    <a:pt x="84" y="3"/>
                  </a:cubicBezTo>
                  <a:cubicBezTo>
                    <a:pt x="84" y="4"/>
                    <a:pt x="84" y="4"/>
                    <a:pt x="84" y="4"/>
                  </a:cubicBezTo>
                  <a:cubicBezTo>
                    <a:pt x="80" y="6"/>
                    <a:pt x="77" y="8"/>
                    <a:pt x="74" y="10"/>
                  </a:cubicBezTo>
                  <a:cubicBezTo>
                    <a:pt x="72" y="11"/>
                    <a:pt x="72" y="11"/>
                    <a:pt x="72" y="11"/>
                  </a:cubicBezTo>
                  <a:cubicBezTo>
                    <a:pt x="71" y="12"/>
                    <a:pt x="70" y="12"/>
                    <a:pt x="69" y="13"/>
                  </a:cubicBezTo>
                  <a:cubicBezTo>
                    <a:pt x="67" y="14"/>
                    <a:pt x="66" y="15"/>
                    <a:pt x="64" y="17"/>
                  </a:cubicBezTo>
                  <a:cubicBezTo>
                    <a:pt x="64" y="17"/>
                    <a:pt x="63" y="18"/>
                    <a:pt x="63" y="18"/>
                  </a:cubicBezTo>
                  <a:cubicBezTo>
                    <a:pt x="62" y="19"/>
                    <a:pt x="62" y="19"/>
                    <a:pt x="62" y="19"/>
                  </a:cubicBezTo>
                  <a:cubicBezTo>
                    <a:pt x="60" y="21"/>
                    <a:pt x="60" y="21"/>
                    <a:pt x="60" y="21"/>
                  </a:cubicBezTo>
                  <a:cubicBezTo>
                    <a:pt x="59" y="21"/>
                    <a:pt x="59" y="22"/>
                    <a:pt x="58" y="23"/>
                  </a:cubicBezTo>
                  <a:cubicBezTo>
                    <a:pt x="57" y="23"/>
                    <a:pt x="57" y="23"/>
                    <a:pt x="57" y="23"/>
                  </a:cubicBezTo>
                  <a:cubicBezTo>
                    <a:pt x="54" y="29"/>
                    <a:pt x="54" y="29"/>
                    <a:pt x="54" y="29"/>
                  </a:cubicBezTo>
                  <a:cubicBezTo>
                    <a:pt x="54" y="27"/>
                    <a:pt x="54" y="27"/>
                    <a:pt x="54" y="27"/>
                  </a:cubicBezTo>
                  <a:cubicBezTo>
                    <a:pt x="54" y="27"/>
                    <a:pt x="54" y="27"/>
                    <a:pt x="54" y="27"/>
                  </a:cubicBezTo>
                  <a:cubicBezTo>
                    <a:pt x="53" y="24"/>
                    <a:pt x="53" y="24"/>
                    <a:pt x="53" y="24"/>
                  </a:cubicBezTo>
                  <a:cubicBezTo>
                    <a:pt x="53" y="24"/>
                    <a:pt x="53" y="24"/>
                    <a:pt x="53" y="24"/>
                  </a:cubicBezTo>
                  <a:cubicBezTo>
                    <a:pt x="53" y="24"/>
                    <a:pt x="53" y="24"/>
                    <a:pt x="53" y="24"/>
                  </a:cubicBezTo>
                  <a:cubicBezTo>
                    <a:pt x="53" y="24"/>
                    <a:pt x="53" y="24"/>
                    <a:pt x="53" y="24"/>
                  </a:cubicBezTo>
                  <a:cubicBezTo>
                    <a:pt x="52" y="24"/>
                    <a:pt x="51" y="24"/>
                    <a:pt x="51" y="24"/>
                  </a:cubicBezTo>
                  <a:cubicBezTo>
                    <a:pt x="50" y="24"/>
                    <a:pt x="50" y="24"/>
                    <a:pt x="50" y="24"/>
                  </a:cubicBezTo>
                  <a:cubicBezTo>
                    <a:pt x="50" y="25"/>
                    <a:pt x="50" y="25"/>
                    <a:pt x="50" y="25"/>
                  </a:cubicBezTo>
                  <a:cubicBezTo>
                    <a:pt x="47" y="25"/>
                    <a:pt x="47" y="25"/>
                    <a:pt x="47" y="25"/>
                  </a:cubicBezTo>
                  <a:cubicBezTo>
                    <a:pt x="47" y="25"/>
                    <a:pt x="43" y="24"/>
                    <a:pt x="40" y="24"/>
                  </a:cubicBezTo>
                  <a:cubicBezTo>
                    <a:pt x="36" y="24"/>
                    <a:pt x="28" y="21"/>
                    <a:pt x="26" y="19"/>
                  </a:cubicBezTo>
                  <a:cubicBezTo>
                    <a:pt x="26" y="18"/>
                    <a:pt x="24" y="16"/>
                    <a:pt x="23" y="15"/>
                  </a:cubicBezTo>
                  <a:cubicBezTo>
                    <a:pt x="23" y="15"/>
                    <a:pt x="23" y="15"/>
                    <a:pt x="23" y="15"/>
                  </a:cubicBezTo>
                  <a:cubicBezTo>
                    <a:pt x="22" y="14"/>
                    <a:pt x="21" y="14"/>
                    <a:pt x="21" y="13"/>
                  </a:cubicBezTo>
                  <a:cubicBezTo>
                    <a:pt x="17" y="9"/>
                    <a:pt x="14" y="6"/>
                    <a:pt x="13" y="4"/>
                  </a:cubicBezTo>
                  <a:cubicBezTo>
                    <a:pt x="13" y="4"/>
                    <a:pt x="13" y="4"/>
                    <a:pt x="13" y="4"/>
                  </a:cubicBezTo>
                  <a:cubicBezTo>
                    <a:pt x="12" y="4"/>
                    <a:pt x="12" y="4"/>
                    <a:pt x="12" y="4"/>
                  </a:cubicBezTo>
                  <a:cubicBezTo>
                    <a:pt x="12" y="3"/>
                    <a:pt x="12" y="3"/>
                    <a:pt x="12" y="3"/>
                  </a:cubicBezTo>
                  <a:cubicBezTo>
                    <a:pt x="12" y="2"/>
                    <a:pt x="12" y="2"/>
                    <a:pt x="12" y="2"/>
                  </a:cubicBezTo>
                  <a:cubicBezTo>
                    <a:pt x="12" y="2"/>
                    <a:pt x="12" y="2"/>
                    <a:pt x="12" y="2"/>
                  </a:cubicBezTo>
                  <a:cubicBezTo>
                    <a:pt x="11" y="1"/>
                    <a:pt x="11" y="1"/>
                    <a:pt x="11" y="1"/>
                  </a:cubicBezTo>
                  <a:cubicBezTo>
                    <a:pt x="10" y="0"/>
                    <a:pt x="10" y="0"/>
                    <a:pt x="10"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9" name="Freeform 288">
              <a:extLst>
                <a:ext uri="{FF2B5EF4-FFF2-40B4-BE49-F238E27FC236}">
                  <a16:creationId xmlns:a16="http://schemas.microsoft.com/office/drawing/2014/main" id="{225C320A-B967-4C28-A757-60BF8D3C3878}"/>
                </a:ext>
              </a:extLst>
            </p:cNvPr>
            <p:cNvSpPr>
              <a:spLocks/>
            </p:cNvSpPr>
            <p:nvPr/>
          </p:nvSpPr>
          <p:spPr bwMode="auto">
            <a:xfrm>
              <a:off x="6582" y="268"/>
              <a:ext cx="31" cy="67"/>
            </a:xfrm>
            <a:custGeom>
              <a:avLst/>
              <a:gdLst>
                <a:gd name="T0" fmla="*/ 13 w 13"/>
                <a:gd name="T1" fmla="*/ 0 h 28"/>
                <a:gd name="T2" fmla="*/ 12 w 13"/>
                <a:gd name="T3" fmla="*/ 1 h 28"/>
                <a:gd name="T4" fmla="*/ 8 w 13"/>
                <a:gd name="T5" fmla="*/ 4 h 28"/>
                <a:gd name="T6" fmla="*/ 4 w 13"/>
                <a:gd name="T7" fmla="*/ 7 h 28"/>
                <a:gd name="T8" fmla="*/ 1 w 13"/>
                <a:gd name="T9" fmla="*/ 10 h 28"/>
                <a:gd name="T10" fmla="*/ 0 w 13"/>
                <a:gd name="T11" fmla="*/ 11 h 28"/>
                <a:gd name="T12" fmla="*/ 9 w 13"/>
                <a:gd name="T13" fmla="*/ 28 h 28"/>
                <a:gd name="T14" fmla="*/ 7 w 13"/>
                <a:gd name="T15" fmla="*/ 20 h 28"/>
                <a:gd name="T16" fmla="*/ 9 w 13"/>
                <a:gd name="T17" fmla="*/ 13 h 28"/>
                <a:gd name="T18" fmla="*/ 8 w 13"/>
                <a:gd name="T19" fmla="*/ 10 h 28"/>
                <a:gd name="T20" fmla="*/ 7 w 13"/>
                <a:gd name="T21" fmla="*/ 10 h 28"/>
                <a:gd name="T22" fmla="*/ 6 w 13"/>
                <a:gd name="T23" fmla="*/ 10 h 28"/>
                <a:gd name="T24" fmla="*/ 8 w 13"/>
                <a:gd name="T25" fmla="*/ 7 h 28"/>
                <a:gd name="T26" fmla="*/ 12 w 13"/>
                <a:gd name="T27" fmla="*/ 1 h 28"/>
                <a:gd name="T28" fmla="*/ 13 w 13"/>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8">
                  <a:moveTo>
                    <a:pt x="13" y="0"/>
                  </a:moveTo>
                  <a:cubicBezTo>
                    <a:pt x="12" y="1"/>
                    <a:pt x="12" y="1"/>
                    <a:pt x="12" y="1"/>
                  </a:cubicBezTo>
                  <a:cubicBezTo>
                    <a:pt x="10" y="1"/>
                    <a:pt x="9" y="3"/>
                    <a:pt x="8" y="4"/>
                  </a:cubicBezTo>
                  <a:cubicBezTo>
                    <a:pt x="6" y="5"/>
                    <a:pt x="5" y="6"/>
                    <a:pt x="4" y="7"/>
                  </a:cubicBezTo>
                  <a:cubicBezTo>
                    <a:pt x="1" y="10"/>
                    <a:pt x="1" y="10"/>
                    <a:pt x="1" y="10"/>
                  </a:cubicBezTo>
                  <a:cubicBezTo>
                    <a:pt x="0" y="10"/>
                    <a:pt x="0" y="11"/>
                    <a:pt x="0" y="11"/>
                  </a:cubicBezTo>
                  <a:cubicBezTo>
                    <a:pt x="3" y="17"/>
                    <a:pt x="6" y="22"/>
                    <a:pt x="9" y="28"/>
                  </a:cubicBezTo>
                  <a:cubicBezTo>
                    <a:pt x="8" y="25"/>
                    <a:pt x="7" y="23"/>
                    <a:pt x="7" y="20"/>
                  </a:cubicBezTo>
                  <a:cubicBezTo>
                    <a:pt x="7" y="17"/>
                    <a:pt x="9" y="15"/>
                    <a:pt x="9" y="13"/>
                  </a:cubicBezTo>
                  <a:cubicBezTo>
                    <a:pt x="9" y="11"/>
                    <a:pt x="9" y="10"/>
                    <a:pt x="8" y="10"/>
                  </a:cubicBezTo>
                  <a:cubicBezTo>
                    <a:pt x="8" y="10"/>
                    <a:pt x="8" y="10"/>
                    <a:pt x="7" y="10"/>
                  </a:cubicBezTo>
                  <a:cubicBezTo>
                    <a:pt x="7" y="10"/>
                    <a:pt x="6" y="10"/>
                    <a:pt x="6" y="10"/>
                  </a:cubicBezTo>
                  <a:cubicBezTo>
                    <a:pt x="5" y="10"/>
                    <a:pt x="7" y="7"/>
                    <a:pt x="8" y="7"/>
                  </a:cubicBezTo>
                  <a:cubicBezTo>
                    <a:pt x="9" y="5"/>
                    <a:pt x="10" y="3"/>
                    <a:pt x="12" y="1"/>
                  </a:cubicBezTo>
                  <a:cubicBezTo>
                    <a:pt x="12" y="1"/>
                    <a:pt x="12"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0" name="Freeform 289">
              <a:extLst>
                <a:ext uri="{FF2B5EF4-FFF2-40B4-BE49-F238E27FC236}">
                  <a16:creationId xmlns:a16="http://schemas.microsoft.com/office/drawing/2014/main" id="{291C7384-D787-48DF-8200-E1C2EAD3F250}"/>
                </a:ext>
              </a:extLst>
            </p:cNvPr>
            <p:cNvSpPr>
              <a:spLocks/>
            </p:cNvSpPr>
            <p:nvPr/>
          </p:nvSpPr>
          <p:spPr bwMode="auto">
            <a:xfrm>
              <a:off x="6591" y="228"/>
              <a:ext cx="771" cy="478"/>
            </a:xfrm>
            <a:custGeom>
              <a:avLst/>
              <a:gdLst>
                <a:gd name="T0" fmla="*/ 136 w 326"/>
                <a:gd name="T1" fmla="*/ 12 h 202"/>
                <a:gd name="T2" fmla="*/ 127 w 326"/>
                <a:gd name="T3" fmla="*/ 7 h 202"/>
                <a:gd name="T4" fmla="*/ 108 w 326"/>
                <a:gd name="T5" fmla="*/ 19 h 202"/>
                <a:gd name="T6" fmla="*/ 105 w 326"/>
                <a:gd name="T7" fmla="*/ 29 h 202"/>
                <a:gd name="T8" fmla="*/ 89 w 326"/>
                <a:gd name="T9" fmla="*/ 40 h 202"/>
                <a:gd name="T10" fmla="*/ 71 w 326"/>
                <a:gd name="T11" fmla="*/ 40 h 202"/>
                <a:gd name="T12" fmla="*/ 62 w 326"/>
                <a:gd name="T13" fmla="*/ 38 h 202"/>
                <a:gd name="T14" fmla="*/ 44 w 326"/>
                <a:gd name="T15" fmla="*/ 20 h 202"/>
                <a:gd name="T16" fmla="*/ 30 w 326"/>
                <a:gd name="T17" fmla="*/ 12 h 202"/>
                <a:gd name="T18" fmla="*/ 25 w 326"/>
                <a:gd name="T19" fmla="*/ 15 h 202"/>
                <a:gd name="T20" fmla="*/ 44 w 326"/>
                <a:gd name="T21" fmla="*/ 50 h 202"/>
                <a:gd name="T22" fmla="*/ 39 w 326"/>
                <a:gd name="T23" fmla="*/ 55 h 202"/>
                <a:gd name="T24" fmla="*/ 26 w 326"/>
                <a:gd name="T25" fmla="*/ 57 h 202"/>
                <a:gd name="T26" fmla="*/ 18 w 326"/>
                <a:gd name="T27" fmla="*/ 54 h 202"/>
                <a:gd name="T28" fmla="*/ 6 w 326"/>
                <a:gd name="T29" fmla="*/ 74 h 202"/>
                <a:gd name="T30" fmla="*/ 14 w 326"/>
                <a:gd name="T31" fmla="*/ 75 h 202"/>
                <a:gd name="T32" fmla="*/ 17 w 326"/>
                <a:gd name="T33" fmla="*/ 74 h 202"/>
                <a:gd name="T34" fmla="*/ 14 w 326"/>
                <a:gd name="T35" fmla="*/ 87 h 202"/>
                <a:gd name="T36" fmla="*/ 12 w 326"/>
                <a:gd name="T37" fmla="*/ 92 h 202"/>
                <a:gd name="T38" fmla="*/ 30 w 326"/>
                <a:gd name="T39" fmla="*/ 152 h 202"/>
                <a:gd name="T40" fmla="*/ 81 w 326"/>
                <a:gd name="T41" fmla="*/ 124 h 202"/>
                <a:gd name="T42" fmla="*/ 89 w 326"/>
                <a:gd name="T43" fmla="*/ 119 h 202"/>
                <a:gd name="T44" fmla="*/ 105 w 326"/>
                <a:gd name="T45" fmla="*/ 119 h 202"/>
                <a:gd name="T46" fmla="*/ 123 w 326"/>
                <a:gd name="T47" fmla="*/ 130 h 202"/>
                <a:gd name="T48" fmla="*/ 132 w 326"/>
                <a:gd name="T49" fmla="*/ 136 h 202"/>
                <a:gd name="T50" fmla="*/ 137 w 326"/>
                <a:gd name="T51" fmla="*/ 136 h 202"/>
                <a:gd name="T52" fmla="*/ 156 w 326"/>
                <a:gd name="T53" fmla="*/ 138 h 202"/>
                <a:gd name="T54" fmla="*/ 166 w 326"/>
                <a:gd name="T55" fmla="*/ 151 h 202"/>
                <a:gd name="T56" fmla="*/ 181 w 326"/>
                <a:gd name="T57" fmla="*/ 162 h 202"/>
                <a:gd name="T58" fmla="*/ 191 w 326"/>
                <a:gd name="T59" fmla="*/ 163 h 202"/>
                <a:gd name="T60" fmla="*/ 202 w 326"/>
                <a:gd name="T61" fmla="*/ 167 h 202"/>
                <a:gd name="T62" fmla="*/ 205 w 326"/>
                <a:gd name="T63" fmla="*/ 192 h 202"/>
                <a:gd name="T64" fmla="*/ 213 w 326"/>
                <a:gd name="T65" fmla="*/ 194 h 202"/>
                <a:gd name="T66" fmla="*/ 226 w 326"/>
                <a:gd name="T67" fmla="*/ 202 h 202"/>
                <a:gd name="T68" fmla="*/ 242 w 326"/>
                <a:gd name="T69" fmla="*/ 194 h 202"/>
                <a:gd name="T70" fmla="*/ 254 w 326"/>
                <a:gd name="T71" fmla="*/ 183 h 202"/>
                <a:gd name="T72" fmla="*/ 278 w 326"/>
                <a:gd name="T73" fmla="*/ 168 h 202"/>
                <a:gd name="T74" fmla="*/ 296 w 326"/>
                <a:gd name="T75" fmla="*/ 147 h 202"/>
                <a:gd name="T76" fmla="*/ 306 w 326"/>
                <a:gd name="T77" fmla="*/ 140 h 202"/>
                <a:gd name="T78" fmla="*/ 313 w 326"/>
                <a:gd name="T79" fmla="*/ 141 h 202"/>
                <a:gd name="T80" fmla="*/ 320 w 326"/>
                <a:gd name="T81" fmla="*/ 144 h 202"/>
                <a:gd name="T82" fmla="*/ 324 w 326"/>
                <a:gd name="T83" fmla="*/ 141 h 202"/>
                <a:gd name="T84" fmla="*/ 322 w 326"/>
                <a:gd name="T85" fmla="*/ 130 h 202"/>
                <a:gd name="T86" fmla="*/ 307 w 326"/>
                <a:gd name="T87" fmla="*/ 126 h 202"/>
                <a:gd name="T88" fmla="*/ 285 w 326"/>
                <a:gd name="T89" fmla="*/ 113 h 202"/>
                <a:gd name="T90" fmla="*/ 243 w 326"/>
                <a:gd name="T91" fmla="*/ 87 h 202"/>
                <a:gd name="T92" fmla="*/ 228 w 326"/>
                <a:gd name="T93" fmla="*/ 76 h 202"/>
                <a:gd name="T94" fmla="*/ 223 w 326"/>
                <a:gd name="T95" fmla="*/ 64 h 202"/>
                <a:gd name="T96" fmla="*/ 201 w 326"/>
                <a:gd name="T97" fmla="*/ 44 h 202"/>
                <a:gd name="T98" fmla="*/ 184 w 326"/>
                <a:gd name="T99" fmla="*/ 42 h 202"/>
                <a:gd name="T100" fmla="*/ 171 w 326"/>
                <a:gd name="T101" fmla="*/ 32 h 202"/>
                <a:gd name="T102" fmla="*/ 169 w 326"/>
                <a:gd name="T103" fmla="*/ 22 h 202"/>
                <a:gd name="T104" fmla="*/ 164 w 326"/>
                <a:gd name="T105" fmla="*/ 12 h 202"/>
                <a:gd name="T106" fmla="*/ 152 w 326"/>
                <a:gd name="T107" fmla="*/ 8 h 202"/>
                <a:gd name="T108" fmla="*/ 149 w 326"/>
                <a:gd name="T109" fmla="*/ 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02">
                  <a:moveTo>
                    <a:pt x="140" y="0"/>
                  </a:moveTo>
                  <a:cubicBezTo>
                    <a:pt x="139" y="0"/>
                    <a:pt x="139" y="0"/>
                    <a:pt x="139" y="0"/>
                  </a:cubicBezTo>
                  <a:cubicBezTo>
                    <a:pt x="137" y="3"/>
                    <a:pt x="136" y="3"/>
                    <a:pt x="137" y="4"/>
                  </a:cubicBezTo>
                  <a:cubicBezTo>
                    <a:pt x="137" y="5"/>
                    <a:pt x="138" y="6"/>
                    <a:pt x="139" y="7"/>
                  </a:cubicBezTo>
                  <a:cubicBezTo>
                    <a:pt x="151" y="21"/>
                    <a:pt x="151" y="21"/>
                    <a:pt x="151" y="21"/>
                  </a:cubicBezTo>
                  <a:cubicBezTo>
                    <a:pt x="136" y="12"/>
                    <a:pt x="136" y="12"/>
                    <a:pt x="136" y="12"/>
                  </a:cubicBezTo>
                  <a:cubicBezTo>
                    <a:pt x="135" y="11"/>
                    <a:pt x="134" y="10"/>
                    <a:pt x="133" y="10"/>
                  </a:cubicBezTo>
                  <a:cubicBezTo>
                    <a:pt x="133" y="9"/>
                    <a:pt x="133" y="9"/>
                    <a:pt x="133" y="9"/>
                  </a:cubicBezTo>
                  <a:cubicBezTo>
                    <a:pt x="132" y="8"/>
                    <a:pt x="131" y="8"/>
                    <a:pt x="130" y="8"/>
                  </a:cubicBezTo>
                  <a:cubicBezTo>
                    <a:pt x="129" y="8"/>
                    <a:pt x="129" y="8"/>
                    <a:pt x="129" y="8"/>
                  </a:cubicBezTo>
                  <a:cubicBezTo>
                    <a:pt x="129" y="7"/>
                    <a:pt x="128" y="7"/>
                    <a:pt x="128" y="7"/>
                  </a:cubicBezTo>
                  <a:cubicBezTo>
                    <a:pt x="127" y="7"/>
                    <a:pt x="127" y="7"/>
                    <a:pt x="127" y="7"/>
                  </a:cubicBezTo>
                  <a:cubicBezTo>
                    <a:pt x="127" y="8"/>
                    <a:pt x="127" y="8"/>
                    <a:pt x="126" y="9"/>
                  </a:cubicBezTo>
                  <a:cubicBezTo>
                    <a:pt x="126" y="10"/>
                    <a:pt x="126" y="11"/>
                    <a:pt x="126" y="11"/>
                  </a:cubicBezTo>
                  <a:cubicBezTo>
                    <a:pt x="124" y="15"/>
                    <a:pt x="121" y="16"/>
                    <a:pt x="118" y="17"/>
                  </a:cubicBezTo>
                  <a:cubicBezTo>
                    <a:pt x="117" y="17"/>
                    <a:pt x="116" y="17"/>
                    <a:pt x="115" y="17"/>
                  </a:cubicBezTo>
                  <a:cubicBezTo>
                    <a:pt x="112" y="18"/>
                    <a:pt x="110" y="18"/>
                    <a:pt x="109" y="19"/>
                  </a:cubicBezTo>
                  <a:cubicBezTo>
                    <a:pt x="108" y="19"/>
                    <a:pt x="108" y="19"/>
                    <a:pt x="108" y="19"/>
                  </a:cubicBezTo>
                  <a:cubicBezTo>
                    <a:pt x="108" y="19"/>
                    <a:pt x="108" y="19"/>
                    <a:pt x="108" y="19"/>
                  </a:cubicBezTo>
                  <a:cubicBezTo>
                    <a:pt x="107" y="20"/>
                    <a:pt x="106" y="23"/>
                    <a:pt x="106" y="24"/>
                  </a:cubicBezTo>
                  <a:cubicBezTo>
                    <a:pt x="105" y="25"/>
                    <a:pt x="105" y="27"/>
                    <a:pt x="105" y="27"/>
                  </a:cubicBezTo>
                  <a:cubicBezTo>
                    <a:pt x="104" y="28"/>
                    <a:pt x="104" y="28"/>
                    <a:pt x="104" y="28"/>
                  </a:cubicBezTo>
                  <a:cubicBezTo>
                    <a:pt x="105" y="29"/>
                    <a:pt x="105" y="29"/>
                    <a:pt x="105" y="29"/>
                  </a:cubicBezTo>
                  <a:cubicBezTo>
                    <a:pt x="105" y="29"/>
                    <a:pt x="105" y="29"/>
                    <a:pt x="105" y="29"/>
                  </a:cubicBezTo>
                  <a:cubicBezTo>
                    <a:pt x="105" y="30"/>
                    <a:pt x="105" y="31"/>
                    <a:pt x="105" y="32"/>
                  </a:cubicBezTo>
                  <a:cubicBezTo>
                    <a:pt x="105" y="32"/>
                    <a:pt x="106" y="33"/>
                    <a:pt x="106" y="33"/>
                  </a:cubicBezTo>
                  <a:cubicBezTo>
                    <a:pt x="106" y="33"/>
                    <a:pt x="106" y="33"/>
                    <a:pt x="106" y="33"/>
                  </a:cubicBezTo>
                  <a:cubicBezTo>
                    <a:pt x="123" y="35"/>
                    <a:pt x="123" y="35"/>
                    <a:pt x="123" y="35"/>
                  </a:cubicBezTo>
                  <a:cubicBezTo>
                    <a:pt x="106" y="39"/>
                    <a:pt x="106" y="39"/>
                    <a:pt x="106" y="39"/>
                  </a:cubicBezTo>
                  <a:cubicBezTo>
                    <a:pt x="100" y="40"/>
                    <a:pt x="94" y="40"/>
                    <a:pt x="89" y="40"/>
                  </a:cubicBezTo>
                  <a:cubicBezTo>
                    <a:pt x="85" y="40"/>
                    <a:pt x="81" y="40"/>
                    <a:pt x="78" y="40"/>
                  </a:cubicBezTo>
                  <a:cubicBezTo>
                    <a:pt x="77" y="40"/>
                    <a:pt x="77" y="40"/>
                    <a:pt x="77" y="40"/>
                  </a:cubicBezTo>
                  <a:cubicBezTo>
                    <a:pt x="77" y="40"/>
                    <a:pt x="77" y="40"/>
                    <a:pt x="76" y="40"/>
                  </a:cubicBezTo>
                  <a:cubicBezTo>
                    <a:pt x="75" y="41"/>
                    <a:pt x="75" y="41"/>
                    <a:pt x="75" y="41"/>
                  </a:cubicBezTo>
                  <a:cubicBezTo>
                    <a:pt x="75" y="40"/>
                    <a:pt x="75" y="40"/>
                    <a:pt x="75" y="40"/>
                  </a:cubicBezTo>
                  <a:cubicBezTo>
                    <a:pt x="74" y="40"/>
                    <a:pt x="72" y="40"/>
                    <a:pt x="71" y="40"/>
                  </a:cubicBezTo>
                  <a:cubicBezTo>
                    <a:pt x="69" y="41"/>
                    <a:pt x="68" y="41"/>
                    <a:pt x="66" y="41"/>
                  </a:cubicBezTo>
                  <a:cubicBezTo>
                    <a:pt x="66" y="41"/>
                    <a:pt x="66" y="41"/>
                    <a:pt x="66" y="41"/>
                  </a:cubicBezTo>
                  <a:cubicBezTo>
                    <a:pt x="65" y="41"/>
                    <a:pt x="65" y="41"/>
                    <a:pt x="65" y="41"/>
                  </a:cubicBezTo>
                  <a:cubicBezTo>
                    <a:pt x="64" y="41"/>
                    <a:pt x="64" y="41"/>
                    <a:pt x="63" y="40"/>
                  </a:cubicBezTo>
                  <a:cubicBezTo>
                    <a:pt x="63" y="40"/>
                    <a:pt x="63" y="40"/>
                    <a:pt x="63" y="40"/>
                  </a:cubicBezTo>
                  <a:cubicBezTo>
                    <a:pt x="62" y="39"/>
                    <a:pt x="62" y="39"/>
                    <a:pt x="62" y="38"/>
                  </a:cubicBezTo>
                  <a:cubicBezTo>
                    <a:pt x="60" y="36"/>
                    <a:pt x="58" y="34"/>
                    <a:pt x="57" y="33"/>
                  </a:cubicBezTo>
                  <a:cubicBezTo>
                    <a:pt x="56" y="32"/>
                    <a:pt x="56" y="32"/>
                    <a:pt x="56" y="32"/>
                  </a:cubicBezTo>
                  <a:cubicBezTo>
                    <a:pt x="55" y="31"/>
                    <a:pt x="55" y="30"/>
                    <a:pt x="54" y="29"/>
                  </a:cubicBezTo>
                  <a:cubicBezTo>
                    <a:pt x="53" y="27"/>
                    <a:pt x="51" y="26"/>
                    <a:pt x="50" y="25"/>
                  </a:cubicBezTo>
                  <a:cubicBezTo>
                    <a:pt x="48" y="23"/>
                    <a:pt x="48" y="23"/>
                    <a:pt x="48" y="23"/>
                  </a:cubicBezTo>
                  <a:cubicBezTo>
                    <a:pt x="47" y="22"/>
                    <a:pt x="45" y="21"/>
                    <a:pt x="44" y="20"/>
                  </a:cubicBezTo>
                  <a:cubicBezTo>
                    <a:pt x="41" y="17"/>
                    <a:pt x="39" y="14"/>
                    <a:pt x="36" y="13"/>
                  </a:cubicBezTo>
                  <a:cubicBezTo>
                    <a:pt x="35" y="13"/>
                    <a:pt x="35" y="13"/>
                    <a:pt x="35" y="13"/>
                  </a:cubicBezTo>
                  <a:cubicBezTo>
                    <a:pt x="35" y="12"/>
                    <a:pt x="34" y="12"/>
                    <a:pt x="34" y="11"/>
                  </a:cubicBezTo>
                  <a:cubicBezTo>
                    <a:pt x="33" y="11"/>
                    <a:pt x="33" y="11"/>
                    <a:pt x="33" y="11"/>
                  </a:cubicBezTo>
                  <a:cubicBezTo>
                    <a:pt x="32" y="11"/>
                    <a:pt x="32" y="11"/>
                    <a:pt x="32" y="11"/>
                  </a:cubicBezTo>
                  <a:cubicBezTo>
                    <a:pt x="31" y="11"/>
                    <a:pt x="31" y="12"/>
                    <a:pt x="30" y="12"/>
                  </a:cubicBezTo>
                  <a:cubicBezTo>
                    <a:pt x="29" y="12"/>
                    <a:pt x="29" y="12"/>
                    <a:pt x="29" y="12"/>
                  </a:cubicBezTo>
                  <a:cubicBezTo>
                    <a:pt x="27" y="12"/>
                    <a:pt x="24" y="13"/>
                    <a:pt x="21" y="13"/>
                  </a:cubicBezTo>
                  <a:cubicBezTo>
                    <a:pt x="17" y="14"/>
                    <a:pt x="14" y="15"/>
                    <a:pt x="10" y="16"/>
                  </a:cubicBezTo>
                  <a:cubicBezTo>
                    <a:pt x="12" y="16"/>
                    <a:pt x="14" y="16"/>
                    <a:pt x="16" y="15"/>
                  </a:cubicBezTo>
                  <a:cubicBezTo>
                    <a:pt x="18" y="15"/>
                    <a:pt x="20" y="14"/>
                    <a:pt x="23" y="14"/>
                  </a:cubicBezTo>
                  <a:cubicBezTo>
                    <a:pt x="24" y="14"/>
                    <a:pt x="24" y="14"/>
                    <a:pt x="25" y="15"/>
                  </a:cubicBezTo>
                  <a:cubicBezTo>
                    <a:pt x="30" y="16"/>
                    <a:pt x="28" y="18"/>
                    <a:pt x="28" y="21"/>
                  </a:cubicBezTo>
                  <a:cubicBezTo>
                    <a:pt x="29" y="23"/>
                    <a:pt x="31" y="25"/>
                    <a:pt x="31" y="27"/>
                  </a:cubicBezTo>
                  <a:cubicBezTo>
                    <a:pt x="32" y="30"/>
                    <a:pt x="32" y="31"/>
                    <a:pt x="33" y="33"/>
                  </a:cubicBezTo>
                  <a:cubicBezTo>
                    <a:pt x="37" y="37"/>
                    <a:pt x="42" y="39"/>
                    <a:pt x="46" y="42"/>
                  </a:cubicBezTo>
                  <a:cubicBezTo>
                    <a:pt x="47" y="43"/>
                    <a:pt x="50" y="46"/>
                    <a:pt x="48" y="48"/>
                  </a:cubicBezTo>
                  <a:cubicBezTo>
                    <a:pt x="48" y="50"/>
                    <a:pt x="46" y="50"/>
                    <a:pt x="44" y="50"/>
                  </a:cubicBezTo>
                  <a:cubicBezTo>
                    <a:pt x="44" y="50"/>
                    <a:pt x="43" y="50"/>
                    <a:pt x="42" y="50"/>
                  </a:cubicBezTo>
                  <a:cubicBezTo>
                    <a:pt x="42" y="50"/>
                    <a:pt x="41" y="50"/>
                    <a:pt x="40" y="50"/>
                  </a:cubicBezTo>
                  <a:cubicBezTo>
                    <a:pt x="39" y="50"/>
                    <a:pt x="38" y="50"/>
                    <a:pt x="37" y="52"/>
                  </a:cubicBezTo>
                  <a:cubicBezTo>
                    <a:pt x="37" y="53"/>
                    <a:pt x="39" y="55"/>
                    <a:pt x="40" y="55"/>
                  </a:cubicBezTo>
                  <a:cubicBezTo>
                    <a:pt x="40" y="55"/>
                    <a:pt x="40" y="55"/>
                    <a:pt x="40" y="55"/>
                  </a:cubicBezTo>
                  <a:cubicBezTo>
                    <a:pt x="39" y="55"/>
                    <a:pt x="39" y="55"/>
                    <a:pt x="39" y="55"/>
                  </a:cubicBezTo>
                  <a:cubicBezTo>
                    <a:pt x="40" y="55"/>
                    <a:pt x="40" y="55"/>
                    <a:pt x="40" y="55"/>
                  </a:cubicBezTo>
                  <a:cubicBezTo>
                    <a:pt x="39" y="56"/>
                    <a:pt x="37" y="56"/>
                    <a:pt x="36" y="56"/>
                  </a:cubicBezTo>
                  <a:cubicBezTo>
                    <a:pt x="36" y="56"/>
                    <a:pt x="35" y="56"/>
                    <a:pt x="35" y="56"/>
                  </a:cubicBezTo>
                  <a:cubicBezTo>
                    <a:pt x="34" y="56"/>
                    <a:pt x="34" y="56"/>
                    <a:pt x="33" y="56"/>
                  </a:cubicBezTo>
                  <a:cubicBezTo>
                    <a:pt x="32" y="56"/>
                    <a:pt x="30" y="56"/>
                    <a:pt x="29" y="56"/>
                  </a:cubicBezTo>
                  <a:cubicBezTo>
                    <a:pt x="28" y="56"/>
                    <a:pt x="27" y="57"/>
                    <a:pt x="26" y="57"/>
                  </a:cubicBezTo>
                  <a:cubicBezTo>
                    <a:pt x="25" y="57"/>
                    <a:pt x="25" y="57"/>
                    <a:pt x="25" y="57"/>
                  </a:cubicBezTo>
                  <a:cubicBezTo>
                    <a:pt x="23" y="56"/>
                    <a:pt x="24" y="53"/>
                    <a:pt x="23" y="51"/>
                  </a:cubicBezTo>
                  <a:cubicBezTo>
                    <a:pt x="22" y="51"/>
                    <a:pt x="22" y="50"/>
                    <a:pt x="22" y="50"/>
                  </a:cubicBezTo>
                  <a:cubicBezTo>
                    <a:pt x="22" y="50"/>
                    <a:pt x="22" y="51"/>
                    <a:pt x="20" y="53"/>
                  </a:cubicBezTo>
                  <a:cubicBezTo>
                    <a:pt x="20" y="53"/>
                    <a:pt x="19" y="54"/>
                    <a:pt x="18" y="54"/>
                  </a:cubicBezTo>
                  <a:cubicBezTo>
                    <a:pt x="18" y="54"/>
                    <a:pt x="18" y="54"/>
                    <a:pt x="18" y="54"/>
                  </a:cubicBezTo>
                  <a:cubicBezTo>
                    <a:pt x="16" y="54"/>
                    <a:pt x="13" y="53"/>
                    <a:pt x="12" y="53"/>
                  </a:cubicBezTo>
                  <a:cubicBezTo>
                    <a:pt x="9" y="52"/>
                    <a:pt x="7" y="48"/>
                    <a:pt x="5" y="45"/>
                  </a:cubicBezTo>
                  <a:cubicBezTo>
                    <a:pt x="5" y="50"/>
                    <a:pt x="4" y="54"/>
                    <a:pt x="2" y="58"/>
                  </a:cubicBezTo>
                  <a:cubicBezTo>
                    <a:pt x="1" y="60"/>
                    <a:pt x="0" y="63"/>
                    <a:pt x="0" y="65"/>
                  </a:cubicBezTo>
                  <a:cubicBezTo>
                    <a:pt x="0" y="67"/>
                    <a:pt x="1" y="69"/>
                    <a:pt x="2" y="70"/>
                  </a:cubicBezTo>
                  <a:cubicBezTo>
                    <a:pt x="2" y="74"/>
                    <a:pt x="1" y="74"/>
                    <a:pt x="6" y="74"/>
                  </a:cubicBezTo>
                  <a:cubicBezTo>
                    <a:pt x="7" y="74"/>
                    <a:pt x="7" y="74"/>
                    <a:pt x="7" y="74"/>
                  </a:cubicBezTo>
                  <a:cubicBezTo>
                    <a:pt x="8" y="74"/>
                    <a:pt x="8" y="74"/>
                    <a:pt x="9" y="74"/>
                  </a:cubicBezTo>
                  <a:cubicBezTo>
                    <a:pt x="9" y="74"/>
                    <a:pt x="10" y="74"/>
                    <a:pt x="10" y="74"/>
                  </a:cubicBezTo>
                  <a:cubicBezTo>
                    <a:pt x="10" y="74"/>
                    <a:pt x="10" y="74"/>
                    <a:pt x="11" y="74"/>
                  </a:cubicBezTo>
                  <a:cubicBezTo>
                    <a:pt x="12" y="74"/>
                    <a:pt x="12" y="74"/>
                    <a:pt x="13" y="75"/>
                  </a:cubicBezTo>
                  <a:cubicBezTo>
                    <a:pt x="14" y="75"/>
                    <a:pt x="14" y="75"/>
                    <a:pt x="14" y="75"/>
                  </a:cubicBezTo>
                  <a:cubicBezTo>
                    <a:pt x="14" y="75"/>
                    <a:pt x="15" y="75"/>
                    <a:pt x="15" y="75"/>
                  </a:cubicBezTo>
                  <a:cubicBezTo>
                    <a:pt x="15" y="75"/>
                    <a:pt x="15" y="75"/>
                    <a:pt x="15" y="75"/>
                  </a:cubicBezTo>
                  <a:cubicBezTo>
                    <a:pt x="16" y="75"/>
                    <a:pt x="16" y="75"/>
                    <a:pt x="16" y="75"/>
                  </a:cubicBezTo>
                  <a:cubicBezTo>
                    <a:pt x="16" y="75"/>
                    <a:pt x="16" y="75"/>
                    <a:pt x="16" y="75"/>
                  </a:cubicBezTo>
                  <a:cubicBezTo>
                    <a:pt x="16" y="75"/>
                    <a:pt x="16" y="75"/>
                    <a:pt x="16" y="75"/>
                  </a:cubicBezTo>
                  <a:cubicBezTo>
                    <a:pt x="17" y="75"/>
                    <a:pt x="17" y="74"/>
                    <a:pt x="17" y="74"/>
                  </a:cubicBezTo>
                  <a:cubicBezTo>
                    <a:pt x="17" y="74"/>
                    <a:pt x="17" y="75"/>
                    <a:pt x="17" y="75"/>
                  </a:cubicBezTo>
                  <a:cubicBezTo>
                    <a:pt x="18" y="75"/>
                    <a:pt x="17" y="79"/>
                    <a:pt x="17" y="80"/>
                  </a:cubicBezTo>
                  <a:cubicBezTo>
                    <a:pt x="17" y="83"/>
                    <a:pt x="21" y="84"/>
                    <a:pt x="24" y="86"/>
                  </a:cubicBezTo>
                  <a:cubicBezTo>
                    <a:pt x="22" y="87"/>
                    <a:pt x="21" y="87"/>
                    <a:pt x="19" y="88"/>
                  </a:cubicBezTo>
                  <a:cubicBezTo>
                    <a:pt x="19" y="87"/>
                    <a:pt x="19" y="86"/>
                    <a:pt x="19" y="84"/>
                  </a:cubicBezTo>
                  <a:cubicBezTo>
                    <a:pt x="18" y="85"/>
                    <a:pt x="16" y="87"/>
                    <a:pt x="14" y="87"/>
                  </a:cubicBezTo>
                  <a:cubicBezTo>
                    <a:pt x="14" y="87"/>
                    <a:pt x="13" y="87"/>
                    <a:pt x="13" y="87"/>
                  </a:cubicBezTo>
                  <a:cubicBezTo>
                    <a:pt x="12" y="86"/>
                    <a:pt x="14" y="83"/>
                    <a:pt x="15" y="83"/>
                  </a:cubicBezTo>
                  <a:cubicBezTo>
                    <a:pt x="14" y="83"/>
                    <a:pt x="11" y="87"/>
                    <a:pt x="10" y="89"/>
                  </a:cubicBezTo>
                  <a:cubicBezTo>
                    <a:pt x="9" y="91"/>
                    <a:pt x="11" y="93"/>
                    <a:pt x="11" y="96"/>
                  </a:cubicBezTo>
                  <a:cubicBezTo>
                    <a:pt x="12" y="94"/>
                    <a:pt x="12" y="92"/>
                    <a:pt x="11" y="92"/>
                  </a:cubicBezTo>
                  <a:cubicBezTo>
                    <a:pt x="11" y="92"/>
                    <a:pt x="12" y="92"/>
                    <a:pt x="12" y="92"/>
                  </a:cubicBezTo>
                  <a:cubicBezTo>
                    <a:pt x="18" y="92"/>
                    <a:pt x="22" y="97"/>
                    <a:pt x="26" y="101"/>
                  </a:cubicBezTo>
                  <a:cubicBezTo>
                    <a:pt x="29" y="103"/>
                    <a:pt x="30" y="103"/>
                    <a:pt x="29" y="106"/>
                  </a:cubicBezTo>
                  <a:cubicBezTo>
                    <a:pt x="28" y="108"/>
                    <a:pt x="28" y="110"/>
                    <a:pt x="27" y="113"/>
                  </a:cubicBezTo>
                  <a:cubicBezTo>
                    <a:pt x="26" y="120"/>
                    <a:pt x="26" y="129"/>
                    <a:pt x="27" y="137"/>
                  </a:cubicBezTo>
                  <a:cubicBezTo>
                    <a:pt x="27" y="138"/>
                    <a:pt x="27" y="146"/>
                    <a:pt x="29" y="147"/>
                  </a:cubicBezTo>
                  <a:cubicBezTo>
                    <a:pt x="29" y="149"/>
                    <a:pt x="29" y="150"/>
                    <a:pt x="30" y="152"/>
                  </a:cubicBezTo>
                  <a:cubicBezTo>
                    <a:pt x="30" y="153"/>
                    <a:pt x="30" y="155"/>
                    <a:pt x="30" y="156"/>
                  </a:cubicBezTo>
                  <a:cubicBezTo>
                    <a:pt x="60" y="127"/>
                    <a:pt x="60" y="127"/>
                    <a:pt x="60" y="127"/>
                  </a:cubicBezTo>
                  <a:cubicBezTo>
                    <a:pt x="63" y="125"/>
                    <a:pt x="68" y="124"/>
                    <a:pt x="73" y="124"/>
                  </a:cubicBezTo>
                  <a:cubicBezTo>
                    <a:pt x="74" y="124"/>
                    <a:pt x="74" y="124"/>
                    <a:pt x="75" y="124"/>
                  </a:cubicBezTo>
                  <a:cubicBezTo>
                    <a:pt x="77" y="124"/>
                    <a:pt x="78" y="124"/>
                    <a:pt x="80" y="124"/>
                  </a:cubicBezTo>
                  <a:cubicBezTo>
                    <a:pt x="81" y="124"/>
                    <a:pt x="81" y="124"/>
                    <a:pt x="81" y="124"/>
                  </a:cubicBezTo>
                  <a:cubicBezTo>
                    <a:pt x="82" y="124"/>
                    <a:pt x="82" y="124"/>
                    <a:pt x="82" y="124"/>
                  </a:cubicBezTo>
                  <a:cubicBezTo>
                    <a:pt x="83" y="124"/>
                    <a:pt x="83" y="124"/>
                    <a:pt x="85" y="122"/>
                  </a:cubicBezTo>
                  <a:cubicBezTo>
                    <a:pt x="86" y="121"/>
                    <a:pt x="86" y="121"/>
                    <a:pt x="86" y="120"/>
                  </a:cubicBezTo>
                  <a:cubicBezTo>
                    <a:pt x="87" y="120"/>
                    <a:pt x="87" y="120"/>
                    <a:pt x="87" y="120"/>
                  </a:cubicBezTo>
                  <a:cubicBezTo>
                    <a:pt x="87" y="120"/>
                    <a:pt x="88" y="120"/>
                    <a:pt x="89" y="119"/>
                  </a:cubicBezTo>
                  <a:cubicBezTo>
                    <a:pt x="89" y="119"/>
                    <a:pt x="89" y="119"/>
                    <a:pt x="89" y="119"/>
                  </a:cubicBezTo>
                  <a:cubicBezTo>
                    <a:pt x="91" y="119"/>
                    <a:pt x="93" y="119"/>
                    <a:pt x="94" y="119"/>
                  </a:cubicBezTo>
                  <a:cubicBezTo>
                    <a:pt x="95" y="119"/>
                    <a:pt x="95" y="119"/>
                    <a:pt x="95" y="119"/>
                  </a:cubicBezTo>
                  <a:cubicBezTo>
                    <a:pt x="96" y="119"/>
                    <a:pt x="96" y="119"/>
                    <a:pt x="96" y="119"/>
                  </a:cubicBezTo>
                  <a:cubicBezTo>
                    <a:pt x="98" y="119"/>
                    <a:pt x="100" y="119"/>
                    <a:pt x="101" y="119"/>
                  </a:cubicBezTo>
                  <a:cubicBezTo>
                    <a:pt x="102" y="119"/>
                    <a:pt x="102" y="119"/>
                    <a:pt x="102" y="119"/>
                  </a:cubicBezTo>
                  <a:cubicBezTo>
                    <a:pt x="103" y="119"/>
                    <a:pt x="104" y="119"/>
                    <a:pt x="105" y="119"/>
                  </a:cubicBezTo>
                  <a:cubicBezTo>
                    <a:pt x="109" y="120"/>
                    <a:pt x="111" y="123"/>
                    <a:pt x="112" y="126"/>
                  </a:cubicBezTo>
                  <a:cubicBezTo>
                    <a:pt x="112" y="126"/>
                    <a:pt x="112" y="126"/>
                    <a:pt x="112" y="126"/>
                  </a:cubicBezTo>
                  <a:cubicBezTo>
                    <a:pt x="112" y="127"/>
                    <a:pt x="113" y="128"/>
                    <a:pt x="114" y="128"/>
                  </a:cubicBezTo>
                  <a:cubicBezTo>
                    <a:pt x="116" y="128"/>
                    <a:pt x="117" y="129"/>
                    <a:pt x="119" y="129"/>
                  </a:cubicBezTo>
                  <a:cubicBezTo>
                    <a:pt x="120" y="129"/>
                    <a:pt x="121" y="129"/>
                    <a:pt x="122" y="130"/>
                  </a:cubicBezTo>
                  <a:cubicBezTo>
                    <a:pt x="123" y="130"/>
                    <a:pt x="123" y="130"/>
                    <a:pt x="123" y="130"/>
                  </a:cubicBezTo>
                  <a:cubicBezTo>
                    <a:pt x="124" y="130"/>
                    <a:pt x="124" y="130"/>
                    <a:pt x="124" y="130"/>
                  </a:cubicBezTo>
                  <a:cubicBezTo>
                    <a:pt x="126" y="131"/>
                    <a:pt x="127" y="132"/>
                    <a:pt x="128" y="133"/>
                  </a:cubicBezTo>
                  <a:cubicBezTo>
                    <a:pt x="129" y="134"/>
                    <a:pt x="129" y="134"/>
                    <a:pt x="129" y="134"/>
                  </a:cubicBezTo>
                  <a:cubicBezTo>
                    <a:pt x="130" y="134"/>
                    <a:pt x="130" y="134"/>
                    <a:pt x="131" y="135"/>
                  </a:cubicBezTo>
                  <a:cubicBezTo>
                    <a:pt x="132" y="135"/>
                    <a:pt x="132" y="135"/>
                    <a:pt x="132" y="135"/>
                  </a:cubicBezTo>
                  <a:cubicBezTo>
                    <a:pt x="132" y="136"/>
                    <a:pt x="132" y="136"/>
                    <a:pt x="132" y="136"/>
                  </a:cubicBezTo>
                  <a:cubicBezTo>
                    <a:pt x="132" y="136"/>
                    <a:pt x="133" y="136"/>
                    <a:pt x="133" y="136"/>
                  </a:cubicBezTo>
                  <a:cubicBezTo>
                    <a:pt x="134" y="136"/>
                    <a:pt x="134" y="136"/>
                    <a:pt x="134" y="136"/>
                  </a:cubicBezTo>
                  <a:cubicBezTo>
                    <a:pt x="135" y="136"/>
                    <a:pt x="135" y="136"/>
                    <a:pt x="135" y="136"/>
                  </a:cubicBezTo>
                  <a:cubicBezTo>
                    <a:pt x="136" y="136"/>
                    <a:pt x="136" y="136"/>
                    <a:pt x="136" y="136"/>
                  </a:cubicBezTo>
                  <a:cubicBezTo>
                    <a:pt x="136" y="136"/>
                    <a:pt x="136" y="136"/>
                    <a:pt x="137" y="136"/>
                  </a:cubicBezTo>
                  <a:cubicBezTo>
                    <a:pt x="137" y="136"/>
                    <a:pt x="137" y="136"/>
                    <a:pt x="137" y="136"/>
                  </a:cubicBezTo>
                  <a:cubicBezTo>
                    <a:pt x="143" y="136"/>
                    <a:pt x="143" y="136"/>
                    <a:pt x="143" y="136"/>
                  </a:cubicBezTo>
                  <a:cubicBezTo>
                    <a:pt x="144" y="136"/>
                    <a:pt x="144" y="136"/>
                    <a:pt x="145" y="136"/>
                  </a:cubicBezTo>
                  <a:cubicBezTo>
                    <a:pt x="148" y="136"/>
                    <a:pt x="151" y="136"/>
                    <a:pt x="154" y="137"/>
                  </a:cubicBezTo>
                  <a:cubicBezTo>
                    <a:pt x="154" y="137"/>
                    <a:pt x="155" y="138"/>
                    <a:pt x="155" y="138"/>
                  </a:cubicBezTo>
                  <a:cubicBezTo>
                    <a:pt x="155" y="138"/>
                    <a:pt x="155" y="138"/>
                    <a:pt x="155" y="138"/>
                  </a:cubicBezTo>
                  <a:cubicBezTo>
                    <a:pt x="156" y="138"/>
                    <a:pt x="156" y="138"/>
                    <a:pt x="156" y="138"/>
                  </a:cubicBezTo>
                  <a:cubicBezTo>
                    <a:pt x="158" y="139"/>
                    <a:pt x="159" y="140"/>
                    <a:pt x="160" y="142"/>
                  </a:cubicBezTo>
                  <a:cubicBezTo>
                    <a:pt x="160" y="142"/>
                    <a:pt x="160" y="142"/>
                    <a:pt x="160" y="142"/>
                  </a:cubicBezTo>
                  <a:cubicBezTo>
                    <a:pt x="161" y="144"/>
                    <a:pt x="162" y="145"/>
                    <a:pt x="163" y="147"/>
                  </a:cubicBezTo>
                  <a:cubicBezTo>
                    <a:pt x="164" y="148"/>
                    <a:pt x="164" y="148"/>
                    <a:pt x="164" y="148"/>
                  </a:cubicBezTo>
                  <a:cubicBezTo>
                    <a:pt x="164" y="149"/>
                    <a:pt x="164" y="150"/>
                    <a:pt x="165" y="150"/>
                  </a:cubicBezTo>
                  <a:cubicBezTo>
                    <a:pt x="166" y="151"/>
                    <a:pt x="166" y="151"/>
                    <a:pt x="166" y="151"/>
                  </a:cubicBezTo>
                  <a:cubicBezTo>
                    <a:pt x="169" y="151"/>
                    <a:pt x="171" y="152"/>
                    <a:pt x="173" y="153"/>
                  </a:cubicBezTo>
                  <a:cubicBezTo>
                    <a:pt x="175" y="153"/>
                    <a:pt x="175" y="154"/>
                    <a:pt x="176" y="155"/>
                  </a:cubicBezTo>
                  <a:cubicBezTo>
                    <a:pt x="177" y="156"/>
                    <a:pt x="177" y="156"/>
                    <a:pt x="177" y="156"/>
                  </a:cubicBezTo>
                  <a:cubicBezTo>
                    <a:pt x="177" y="157"/>
                    <a:pt x="178" y="158"/>
                    <a:pt x="179" y="159"/>
                  </a:cubicBezTo>
                  <a:cubicBezTo>
                    <a:pt x="180" y="160"/>
                    <a:pt x="180" y="160"/>
                    <a:pt x="180" y="160"/>
                  </a:cubicBezTo>
                  <a:cubicBezTo>
                    <a:pt x="180" y="162"/>
                    <a:pt x="181" y="162"/>
                    <a:pt x="181" y="162"/>
                  </a:cubicBezTo>
                  <a:cubicBezTo>
                    <a:pt x="181" y="163"/>
                    <a:pt x="181" y="163"/>
                    <a:pt x="181" y="163"/>
                  </a:cubicBezTo>
                  <a:cubicBezTo>
                    <a:pt x="182" y="163"/>
                    <a:pt x="182" y="163"/>
                    <a:pt x="184" y="163"/>
                  </a:cubicBezTo>
                  <a:cubicBezTo>
                    <a:pt x="184" y="163"/>
                    <a:pt x="184" y="163"/>
                    <a:pt x="184" y="163"/>
                  </a:cubicBezTo>
                  <a:cubicBezTo>
                    <a:pt x="185" y="163"/>
                    <a:pt x="187" y="163"/>
                    <a:pt x="188" y="163"/>
                  </a:cubicBezTo>
                  <a:cubicBezTo>
                    <a:pt x="189" y="163"/>
                    <a:pt x="189" y="163"/>
                    <a:pt x="189" y="163"/>
                  </a:cubicBezTo>
                  <a:cubicBezTo>
                    <a:pt x="190" y="163"/>
                    <a:pt x="190" y="163"/>
                    <a:pt x="191" y="163"/>
                  </a:cubicBezTo>
                  <a:cubicBezTo>
                    <a:pt x="192" y="163"/>
                    <a:pt x="193" y="163"/>
                    <a:pt x="193" y="163"/>
                  </a:cubicBezTo>
                  <a:cubicBezTo>
                    <a:pt x="195" y="163"/>
                    <a:pt x="196" y="163"/>
                    <a:pt x="198" y="163"/>
                  </a:cubicBezTo>
                  <a:cubicBezTo>
                    <a:pt x="198" y="163"/>
                    <a:pt x="198" y="163"/>
                    <a:pt x="198" y="163"/>
                  </a:cubicBezTo>
                  <a:cubicBezTo>
                    <a:pt x="199" y="163"/>
                    <a:pt x="200" y="163"/>
                    <a:pt x="201" y="164"/>
                  </a:cubicBezTo>
                  <a:cubicBezTo>
                    <a:pt x="202" y="164"/>
                    <a:pt x="202" y="165"/>
                    <a:pt x="202" y="166"/>
                  </a:cubicBezTo>
                  <a:cubicBezTo>
                    <a:pt x="202" y="167"/>
                    <a:pt x="202" y="167"/>
                    <a:pt x="202" y="167"/>
                  </a:cubicBezTo>
                  <a:cubicBezTo>
                    <a:pt x="203" y="170"/>
                    <a:pt x="203" y="172"/>
                    <a:pt x="203" y="175"/>
                  </a:cubicBezTo>
                  <a:cubicBezTo>
                    <a:pt x="203" y="176"/>
                    <a:pt x="203" y="177"/>
                    <a:pt x="203" y="178"/>
                  </a:cubicBezTo>
                  <a:cubicBezTo>
                    <a:pt x="203" y="179"/>
                    <a:pt x="203" y="179"/>
                    <a:pt x="203" y="179"/>
                  </a:cubicBezTo>
                  <a:cubicBezTo>
                    <a:pt x="203" y="181"/>
                    <a:pt x="203" y="183"/>
                    <a:pt x="203" y="186"/>
                  </a:cubicBezTo>
                  <a:cubicBezTo>
                    <a:pt x="204" y="189"/>
                    <a:pt x="204" y="189"/>
                    <a:pt x="204" y="189"/>
                  </a:cubicBezTo>
                  <a:cubicBezTo>
                    <a:pt x="204" y="190"/>
                    <a:pt x="205" y="191"/>
                    <a:pt x="205" y="192"/>
                  </a:cubicBezTo>
                  <a:cubicBezTo>
                    <a:pt x="205" y="192"/>
                    <a:pt x="205" y="192"/>
                    <a:pt x="205" y="192"/>
                  </a:cubicBezTo>
                  <a:cubicBezTo>
                    <a:pt x="206" y="192"/>
                    <a:pt x="206" y="192"/>
                    <a:pt x="206" y="192"/>
                  </a:cubicBezTo>
                  <a:cubicBezTo>
                    <a:pt x="208" y="193"/>
                    <a:pt x="208" y="193"/>
                    <a:pt x="208" y="193"/>
                  </a:cubicBezTo>
                  <a:cubicBezTo>
                    <a:pt x="208" y="193"/>
                    <a:pt x="208" y="193"/>
                    <a:pt x="208" y="193"/>
                  </a:cubicBezTo>
                  <a:cubicBezTo>
                    <a:pt x="210" y="193"/>
                    <a:pt x="211" y="194"/>
                    <a:pt x="213" y="194"/>
                  </a:cubicBezTo>
                  <a:cubicBezTo>
                    <a:pt x="213" y="194"/>
                    <a:pt x="213" y="194"/>
                    <a:pt x="213" y="194"/>
                  </a:cubicBezTo>
                  <a:cubicBezTo>
                    <a:pt x="214" y="194"/>
                    <a:pt x="215" y="194"/>
                    <a:pt x="216" y="195"/>
                  </a:cubicBezTo>
                  <a:cubicBezTo>
                    <a:pt x="218" y="195"/>
                    <a:pt x="220" y="196"/>
                    <a:pt x="221" y="197"/>
                  </a:cubicBezTo>
                  <a:cubicBezTo>
                    <a:pt x="222" y="198"/>
                    <a:pt x="222" y="198"/>
                    <a:pt x="223" y="198"/>
                  </a:cubicBezTo>
                  <a:cubicBezTo>
                    <a:pt x="224" y="200"/>
                    <a:pt x="224" y="200"/>
                    <a:pt x="224" y="200"/>
                  </a:cubicBezTo>
                  <a:cubicBezTo>
                    <a:pt x="225" y="201"/>
                    <a:pt x="225" y="201"/>
                    <a:pt x="226" y="202"/>
                  </a:cubicBezTo>
                  <a:cubicBezTo>
                    <a:pt x="226" y="202"/>
                    <a:pt x="226" y="202"/>
                    <a:pt x="226" y="202"/>
                  </a:cubicBezTo>
                  <a:cubicBezTo>
                    <a:pt x="226" y="202"/>
                    <a:pt x="226" y="202"/>
                    <a:pt x="226" y="202"/>
                  </a:cubicBezTo>
                  <a:cubicBezTo>
                    <a:pt x="229" y="200"/>
                    <a:pt x="232" y="199"/>
                    <a:pt x="234" y="199"/>
                  </a:cubicBezTo>
                  <a:cubicBezTo>
                    <a:pt x="236" y="199"/>
                    <a:pt x="236" y="199"/>
                    <a:pt x="236" y="199"/>
                  </a:cubicBezTo>
                  <a:cubicBezTo>
                    <a:pt x="237" y="199"/>
                    <a:pt x="237" y="199"/>
                    <a:pt x="237" y="199"/>
                  </a:cubicBezTo>
                  <a:cubicBezTo>
                    <a:pt x="238" y="199"/>
                    <a:pt x="238" y="199"/>
                    <a:pt x="238" y="199"/>
                  </a:cubicBezTo>
                  <a:cubicBezTo>
                    <a:pt x="239" y="199"/>
                    <a:pt x="240" y="197"/>
                    <a:pt x="242" y="194"/>
                  </a:cubicBezTo>
                  <a:cubicBezTo>
                    <a:pt x="243" y="193"/>
                    <a:pt x="243" y="193"/>
                    <a:pt x="243" y="193"/>
                  </a:cubicBezTo>
                  <a:cubicBezTo>
                    <a:pt x="244" y="193"/>
                    <a:pt x="244" y="192"/>
                    <a:pt x="245" y="191"/>
                  </a:cubicBezTo>
                  <a:cubicBezTo>
                    <a:pt x="243" y="189"/>
                    <a:pt x="243" y="189"/>
                    <a:pt x="243" y="189"/>
                  </a:cubicBezTo>
                  <a:cubicBezTo>
                    <a:pt x="249" y="184"/>
                    <a:pt x="249" y="184"/>
                    <a:pt x="249" y="184"/>
                  </a:cubicBezTo>
                  <a:cubicBezTo>
                    <a:pt x="250" y="184"/>
                    <a:pt x="250" y="184"/>
                    <a:pt x="250" y="184"/>
                  </a:cubicBezTo>
                  <a:cubicBezTo>
                    <a:pt x="251" y="184"/>
                    <a:pt x="253" y="184"/>
                    <a:pt x="254" y="183"/>
                  </a:cubicBezTo>
                  <a:cubicBezTo>
                    <a:pt x="255" y="183"/>
                    <a:pt x="256" y="182"/>
                    <a:pt x="258" y="182"/>
                  </a:cubicBezTo>
                  <a:cubicBezTo>
                    <a:pt x="262" y="180"/>
                    <a:pt x="262" y="180"/>
                    <a:pt x="262" y="180"/>
                  </a:cubicBezTo>
                  <a:cubicBezTo>
                    <a:pt x="265" y="179"/>
                    <a:pt x="267" y="178"/>
                    <a:pt x="269" y="177"/>
                  </a:cubicBezTo>
                  <a:cubicBezTo>
                    <a:pt x="272" y="176"/>
                    <a:pt x="273" y="175"/>
                    <a:pt x="276" y="173"/>
                  </a:cubicBezTo>
                  <a:cubicBezTo>
                    <a:pt x="277" y="172"/>
                    <a:pt x="277" y="172"/>
                    <a:pt x="277" y="172"/>
                  </a:cubicBezTo>
                  <a:cubicBezTo>
                    <a:pt x="277" y="172"/>
                    <a:pt x="278" y="171"/>
                    <a:pt x="278" y="168"/>
                  </a:cubicBezTo>
                  <a:cubicBezTo>
                    <a:pt x="278" y="168"/>
                    <a:pt x="278" y="167"/>
                    <a:pt x="278" y="166"/>
                  </a:cubicBezTo>
                  <a:cubicBezTo>
                    <a:pt x="278" y="165"/>
                    <a:pt x="278" y="165"/>
                    <a:pt x="278" y="165"/>
                  </a:cubicBezTo>
                  <a:cubicBezTo>
                    <a:pt x="278" y="165"/>
                    <a:pt x="278" y="164"/>
                    <a:pt x="278" y="164"/>
                  </a:cubicBezTo>
                  <a:cubicBezTo>
                    <a:pt x="279" y="163"/>
                    <a:pt x="279" y="163"/>
                    <a:pt x="279" y="163"/>
                  </a:cubicBezTo>
                  <a:cubicBezTo>
                    <a:pt x="294" y="147"/>
                    <a:pt x="294" y="147"/>
                    <a:pt x="294" y="147"/>
                  </a:cubicBezTo>
                  <a:cubicBezTo>
                    <a:pt x="296" y="147"/>
                    <a:pt x="296" y="147"/>
                    <a:pt x="296" y="147"/>
                  </a:cubicBezTo>
                  <a:cubicBezTo>
                    <a:pt x="296" y="147"/>
                    <a:pt x="297" y="147"/>
                    <a:pt x="298" y="147"/>
                  </a:cubicBezTo>
                  <a:cubicBezTo>
                    <a:pt x="298" y="147"/>
                    <a:pt x="298" y="147"/>
                    <a:pt x="298" y="147"/>
                  </a:cubicBezTo>
                  <a:cubicBezTo>
                    <a:pt x="299" y="147"/>
                    <a:pt x="300" y="147"/>
                    <a:pt x="300" y="147"/>
                  </a:cubicBezTo>
                  <a:cubicBezTo>
                    <a:pt x="301" y="147"/>
                    <a:pt x="302" y="144"/>
                    <a:pt x="303" y="143"/>
                  </a:cubicBezTo>
                  <a:cubicBezTo>
                    <a:pt x="305" y="141"/>
                    <a:pt x="305" y="141"/>
                    <a:pt x="305" y="141"/>
                  </a:cubicBezTo>
                  <a:cubicBezTo>
                    <a:pt x="305" y="140"/>
                    <a:pt x="306" y="140"/>
                    <a:pt x="306" y="140"/>
                  </a:cubicBezTo>
                  <a:cubicBezTo>
                    <a:pt x="307" y="140"/>
                    <a:pt x="307" y="140"/>
                    <a:pt x="307" y="140"/>
                  </a:cubicBezTo>
                  <a:cubicBezTo>
                    <a:pt x="308" y="139"/>
                    <a:pt x="308" y="139"/>
                    <a:pt x="308" y="139"/>
                  </a:cubicBezTo>
                  <a:cubicBezTo>
                    <a:pt x="308" y="139"/>
                    <a:pt x="308" y="139"/>
                    <a:pt x="308" y="139"/>
                  </a:cubicBezTo>
                  <a:cubicBezTo>
                    <a:pt x="310" y="139"/>
                    <a:pt x="310" y="139"/>
                    <a:pt x="310" y="139"/>
                  </a:cubicBezTo>
                  <a:cubicBezTo>
                    <a:pt x="311" y="140"/>
                    <a:pt x="312" y="140"/>
                    <a:pt x="313" y="141"/>
                  </a:cubicBezTo>
                  <a:cubicBezTo>
                    <a:pt x="313" y="141"/>
                    <a:pt x="313" y="141"/>
                    <a:pt x="313" y="141"/>
                  </a:cubicBezTo>
                  <a:cubicBezTo>
                    <a:pt x="314" y="141"/>
                    <a:pt x="314" y="141"/>
                    <a:pt x="314" y="142"/>
                  </a:cubicBezTo>
                  <a:cubicBezTo>
                    <a:pt x="315" y="142"/>
                    <a:pt x="316" y="142"/>
                    <a:pt x="316" y="142"/>
                  </a:cubicBezTo>
                  <a:cubicBezTo>
                    <a:pt x="318" y="143"/>
                    <a:pt x="318" y="143"/>
                    <a:pt x="318" y="143"/>
                  </a:cubicBezTo>
                  <a:cubicBezTo>
                    <a:pt x="318" y="143"/>
                    <a:pt x="319" y="144"/>
                    <a:pt x="319" y="144"/>
                  </a:cubicBezTo>
                  <a:cubicBezTo>
                    <a:pt x="319" y="144"/>
                    <a:pt x="320" y="144"/>
                    <a:pt x="320" y="144"/>
                  </a:cubicBezTo>
                  <a:cubicBezTo>
                    <a:pt x="320" y="144"/>
                    <a:pt x="320" y="144"/>
                    <a:pt x="320" y="144"/>
                  </a:cubicBezTo>
                  <a:cubicBezTo>
                    <a:pt x="321" y="144"/>
                    <a:pt x="321" y="144"/>
                    <a:pt x="321" y="144"/>
                  </a:cubicBezTo>
                  <a:cubicBezTo>
                    <a:pt x="323" y="144"/>
                    <a:pt x="323" y="144"/>
                    <a:pt x="323" y="144"/>
                  </a:cubicBezTo>
                  <a:cubicBezTo>
                    <a:pt x="323" y="144"/>
                    <a:pt x="323" y="144"/>
                    <a:pt x="323" y="144"/>
                  </a:cubicBezTo>
                  <a:cubicBezTo>
                    <a:pt x="324" y="144"/>
                    <a:pt x="324" y="144"/>
                    <a:pt x="324" y="144"/>
                  </a:cubicBezTo>
                  <a:cubicBezTo>
                    <a:pt x="324" y="143"/>
                    <a:pt x="324" y="142"/>
                    <a:pt x="324" y="141"/>
                  </a:cubicBezTo>
                  <a:cubicBezTo>
                    <a:pt x="324" y="141"/>
                    <a:pt x="324" y="141"/>
                    <a:pt x="324" y="141"/>
                  </a:cubicBezTo>
                  <a:cubicBezTo>
                    <a:pt x="324" y="141"/>
                    <a:pt x="324" y="140"/>
                    <a:pt x="324" y="140"/>
                  </a:cubicBezTo>
                  <a:cubicBezTo>
                    <a:pt x="325" y="136"/>
                    <a:pt x="325" y="136"/>
                    <a:pt x="325" y="136"/>
                  </a:cubicBezTo>
                  <a:cubicBezTo>
                    <a:pt x="325" y="136"/>
                    <a:pt x="325" y="135"/>
                    <a:pt x="325" y="134"/>
                  </a:cubicBezTo>
                  <a:cubicBezTo>
                    <a:pt x="326" y="133"/>
                    <a:pt x="326" y="133"/>
                    <a:pt x="326" y="133"/>
                  </a:cubicBezTo>
                  <a:cubicBezTo>
                    <a:pt x="326" y="133"/>
                    <a:pt x="326" y="132"/>
                    <a:pt x="326" y="131"/>
                  </a:cubicBezTo>
                  <a:cubicBezTo>
                    <a:pt x="322" y="130"/>
                    <a:pt x="322" y="130"/>
                    <a:pt x="322" y="130"/>
                  </a:cubicBezTo>
                  <a:cubicBezTo>
                    <a:pt x="320" y="129"/>
                    <a:pt x="319" y="128"/>
                    <a:pt x="317" y="127"/>
                  </a:cubicBezTo>
                  <a:cubicBezTo>
                    <a:pt x="316" y="127"/>
                    <a:pt x="316" y="127"/>
                    <a:pt x="316" y="127"/>
                  </a:cubicBezTo>
                  <a:cubicBezTo>
                    <a:pt x="312" y="125"/>
                    <a:pt x="311" y="124"/>
                    <a:pt x="311" y="124"/>
                  </a:cubicBezTo>
                  <a:cubicBezTo>
                    <a:pt x="311" y="125"/>
                    <a:pt x="311" y="125"/>
                    <a:pt x="311" y="125"/>
                  </a:cubicBezTo>
                  <a:cubicBezTo>
                    <a:pt x="310" y="125"/>
                    <a:pt x="309" y="125"/>
                    <a:pt x="308" y="126"/>
                  </a:cubicBezTo>
                  <a:cubicBezTo>
                    <a:pt x="308" y="126"/>
                    <a:pt x="307" y="126"/>
                    <a:pt x="307" y="126"/>
                  </a:cubicBezTo>
                  <a:cubicBezTo>
                    <a:pt x="304" y="126"/>
                    <a:pt x="301" y="124"/>
                    <a:pt x="299" y="123"/>
                  </a:cubicBezTo>
                  <a:cubicBezTo>
                    <a:pt x="298" y="122"/>
                    <a:pt x="298" y="122"/>
                    <a:pt x="298" y="122"/>
                  </a:cubicBezTo>
                  <a:cubicBezTo>
                    <a:pt x="298" y="121"/>
                    <a:pt x="297" y="121"/>
                    <a:pt x="296" y="120"/>
                  </a:cubicBezTo>
                  <a:cubicBezTo>
                    <a:pt x="294" y="119"/>
                    <a:pt x="292" y="118"/>
                    <a:pt x="290" y="116"/>
                  </a:cubicBezTo>
                  <a:cubicBezTo>
                    <a:pt x="289" y="116"/>
                    <a:pt x="289" y="115"/>
                    <a:pt x="288" y="115"/>
                  </a:cubicBezTo>
                  <a:cubicBezTo>
                    <a:pt x="286" y="114"/>
                    <a:pt x="286" y="114"/>
                    <a:pt x="285" y="113"/>
                  </a:cubicBezTo>
                  <a:cubicBezTo>
                    <a:pt x="281" y="111"/>
                    <a:pt x="278" y="110"/>
                    <a:pt x="275" y="107"/>
                  </a:cubicBezTo>
                  <a:cubicBezTo>
                    <a:pt x="271" y="104"/>
                    <a:pt x="267" y="101"/>
                    <a:pt x="262" y="99"/>
                  </a:cubicBezTo>
                  <a:cubicBezTo>
                    <a:pt x="259" y="98"/>
                    <a:pt x="259" y="98"/>
                    <a:pt x="259" y="98"/>
                  </a:cubicBezTo>
                  <a:cubicBezTo>
                    <a:pt x="258" y="97"/>
                    <a:pt x="257" y="97"/>
                    <a:pt x="256" y="96"/>
                  </a:cubicBezTo>
                  <a:cubicBezTo>
                    <a:pt x="252" y="94"/>
                    <a:pt x="248" y="91"/>
                    <a:pt x="245" y="88"/>
                  </a:cubicBezTo>
                  <a:cubicBezTo>
                    <a:pt x="243" y="87"/>
                    <a:pt x="243" y="87"/>
                    <a:pt x="243" y="87"/>
                  </a:cubicBezTo>
                  <a:cubicBezTo>
                    <a:pt x="242" y="87"/>
                    <a:pt x="242" y="86"/>
                    <a:pt x="241" y="85"/>
                  </a:cubicBezTo>
                  <a:cubicBezTo>
                    <a:pt x="237" y="83"/>
                    <a:pt x="237" y="83"/>
                    <a:pt x="237" y="83"/>
                  </a:cubicBezTo>
                  <a:cubicBezTo>
                    <a:pt x="236" y="82"/>
                    <a:pt x="235" y="82"/>
                    <a:pt x="235" y="81"/>
                  </a:cubicBezTo>
                  <a:cubicBezTo>
                    <a:pt x="234" y="81"/>
                    <a:pt x="234" y="81"/>
                    <a:pt x="234" y="81"/>
                  </a:cubicBezTo>
                  <a:cubicBezTo>
                    <a:pt x="233" y="80"/>
                    <a:pt x="230" y="79"/>
                    <a:pt x="229" y="77"/>
                  </a:cubicBezTo>
                  <a:cubicBezTo>
                    <a:pt x="229" y="77"/>
                    <a:pt x="229" y="76"/>
                    <a:pt x="228" y="76"/>
                  </a:cubicBezTo>
                  <a:cubicBezTo>
                    <a:pt x="228" y="76"/>
                    <a:pt x="228" y="76"/>
                    <a:pt x="228" y="76"/>
                  </a:cubicBezTo>
                  <a:cubicBezTo>
                    <a:pt x="228" y="75"/>
                    <a:pt x="228" y="75"/>
                    <a:pt x="228" y="75"/>
                  </a:cubicBezTo>
                  <a:cubicBezTo>
                    <a:pt x="227" y="73"/>
                    <a:pt x="227" y="72"/>
                    <a:pt x="226" y="70"/>
                  </a:cubicBezTo>
                  <a:cubicBezTo>
                    <a:pt x="226" y="69"/>
                    <a:pt x="226" y="69"/>
                    <a:pt x="226" y="68"/>
                  </a:cubicBezTo>
                  <a:cubicBezTo>
                    <a:pt x="225" y="67"/>
                    <a:pt x="225" y="67"/>
                    <a:pt x="225" y="67"/>
                  </a:cubicBezTo>
                  <a:cubicBezTo>
                    <a:pt x="225" y="66"/>
                    <a:pt x="224" y="65"/>
                    <a:pt x="223" y="64"/>
                  </a:cubicBezTo>
                  <a:cubicBezTo>
                    <a:pt x="222" y="64"/>
                    <a:pt x="221" y="62"/>
                    <a:pt x="220" y="60"/>
                  </a:cubicBezTo>
                  <a:cubicBezTo>
                    <a:pt x="220" y="59"/>
                    <a:pt x="219" y="58"/>
                    <a:pt x="218" y="56"/>
                  </a:cubicBezTo>
                  <a:cubicBezTo>
                    <a:pt x="216" y="51"/>
                    <a:pt x="214" y="46"/>
                    <a:pt x="211" y="43"/>
                  </a:cubicBezTo>
                  <a:cubicBezTo>
                    <a:pt x="209" y="41"/>
                    <a:pt x="208" y="41"/>
                    <a:pt x="207" y="41"/>
                  </a:cubicBezTo>
                  <a:cubicBezTo>
                    <a:pt x="207" y="41"/>
                    <a:pt x="207" y="41"/>
                    <a:pt x="207" y="42"/>
                  </a:cubicBezTo>
                  <a:cubicBezTo>
                    <a:pt x="205" y="43"/>
                    <a:pt x="203" y="44"/>
                    <a:pt x="201" y="44"/>
                  </a:cubicBezTo>
                  <a:cubicBezTo>
                    <a:pt x="198" y="44"/>
                    <a:pt x="198" y="44"/>
                    <a:pt x="198" y="44"/>
                  </a:cubicBezTo>
                  <a:cubicBezTo>
                    <a:pt x="197" y="44"/>
                    <a:pt x="196" y="44"/>
                    <a:pt x="195" y="43"/>
                  </a:cubicBezTo>
                  <a:cubicBezTo>
                    <a:pt x="193" y="43"/>
                    <a:pt x="190" y="42"/>
                    <a:pt x="188" y="42"/>
                  </a:cubicBezTo>
                  <a:cubicBezTo>
                    <a:pt x="188" y="42"/>
                    <a:pt x="188" y="42"/>
                    <a:pt x="187" y="42"/>
                  </a:cubicBezTo>
                  <a:cubicBezTo>
                    <a:pt x="187" y="42"/>
                    <a:pt x="186" y="42"/>
                    <a:pt x="186" y="42"/>
                  </a:cubicBezTo>
                  <a:cubicBezTo>
                    <a:pt x="185" y="42"/>
                    <a:pt x="184" y="42"/>
                    <a:pt x="184" y="42"/>
                  </a:cubicBezTo>
                  <a:cubicBezTo>
                    <a:pt x="182" y="42"/>
                    <a:pt x="180" y="42"/>
                    <a:pt x="178" y="40"/>
                  </a:cubicBezTo>
                  <a:cubicBezTo>
                    <a:pt x="177" y="40"/>
                    <a:pt x="177" y="40"/>
                    <a:pt x="177" y="40"/>
                  </a:cubicBezTo>
                  <a:cubicBezTo>
                    <a:pt x="177" y="40"/>
                    <a:pt x="176" y="39"/>
                    <a:pt x="176" y="39"/>
                  </a:cubicBezTo>
                  <a:cubicBezTo>
                    <a:pt x="174" y="38"/>
                    <a:pt x="174" y="38"/>
                    <a:pt x="174" y="38"/>
                  </a:cubicBezTo>
                  <a:cubicBezTo>
                    <a:pt x="174" y="38"/>
                    <a:pt x="174" y="38"/>
                    <a:pt x="174" y="38"/>
                  </a:cubicBezTo>
                  <a:cubicBezTo>
                    <a:pt x="173" y="37"/>
                    <a:pt x="170" y="35"/>
                    <a:pt x="171" y="32"/>
                  </a:cubicBezTo>
                  <a:cubicBezTo>
                    <a:pt x="172" y="30"/>
                    <a:pt x="172" y="30"/>
                    <a:pt x="172" y="30"/>
                  </a:cubicBezTo>
                  <a:cubicBezTo>
                    <a:pt x="172" y="29"/>
                    <a:pt x="172" y="29"/>
                    <a:pt x="172" y="29"/>
                  </a:cubicBezTo>
                  <a:cubicBezTo>
                    <a:pt x="172" y="29"/>
                    <a:pt x="172" y="29"/>
                    <a:pt x="172" y="28"/>
                  </a:cubicBezTo>
                  <a:cubicBezTo>
                    <a:pt x="169" y="25"/>
                    <a:pt x="169" y="25"/>
                    <a:pt x="169" y="25"/>
                  </a:cubicBezTo>
                  <a:cubicBezTo>
                    <a:pt x="173" y="24"/>
                    <a:pt x="173" y="24"/>
                    <a:pt x="173" y="24"/>
                  </a:cubicBezTo>
                  <a:cubicBezTo>
                    <a:pt x="172" y="23"/>
                    <a:pt x="171" y="22"/>
                    <a:pt x="169" y="22"/>
                  </a:cubicBezTo>
                  <a:cubicBezTo>
                    <a:pt x="163" y="19"/>
                    <a:pt x="163" y="19"/>
                    <a:pt x="163" y="19"/>
                  </a:cubicBezTo>
                  <a:cubicBezTo>
                    <a:pt x="169" y="17"/>
                    <a:pt x="169" y="17"/>
                    <a:pt x="169" y="17"/>
                  </a:cubicBezTo>
                  <a:cubicBezTo>
                    <a:pt x="169" y="16"/>
                    <a:pt x="169" y="16"/>
                    <a:pt x="169" y="16"/>
                  </a:cubicBezTo>
                  <a:cubicBezTo>
                    <a:pt x="169" y="16"/>
                    <a:pt x="169" y="16"/>
                    <a:pt x="169" y="16"/>
                  </a:cubicBezTo>
                  <a:cubicBezTo>
                    <a:pt x="169" y="16"/>
                    <a:pt x="169" y="15"/>
                    <a:pt x="169" y="14"/>
                  </a:cubicBezTo>
                  <a:cubicBezTo>
                    <a:pt x="167" y="13"/>
                    <a:pt x="165" y="13"/>
                    <a:pt x="164" y="12"/>
                  </a:cubicBezTo>
                  <a:cubicBezTo>
                    <a:pt x="163" y="12"/>
                    <a:pt x="163" y="12"/>
                    <a:pt x="163" y="12"/>
                  </a:cubicBezTo>
                  <a:cubicBezTo>
                    <a:pt x="162" y="12"/>
                    <a:pt x="159" y="12"/>
                    <a:pt x="157" y="12"/>
                  </a:cubicBezTo>
                  <a:cubicBezTo>
                    <a:pt x="157" y="12"/>
                    <a:pt x="157" y="12"/>
                    <a:pt x="157" y="12"/>
                  </a:cubicBezTo>
                  <a:cubicBezTo>
                    <a:pt x="156" y="12"/>
                    <a:pt x="156" y="12"/>
                    <a:pt x="156" y="12"/>
                  </a:cubicBezTo>
                  <a:cubicBezTo>
                    <a:pt x="155" y="12"/>
                    <a:pt x="154" y="11"/>
                    <a:pt x="153" y="10"/>
                  </a:cubicBezTo>
                  <a:cubicBezTo>
                    <a:pt x="153" y="9"/>
                    <a:pt x="152" y="9"/>
                    <a:pt x="152" y="8"/>
                  </a:cubicBezTo>
                  <a:cubicBezTo>
                    <a:pt x="151" y="7"/>
                    <a:pt x="151" y="7"/>
                    <a:pt x="151" y="7"/>
                  </a:cubicBezTo>
                  <a:cubicBezTo>
                    <a:pt x="151" y="7"/>
                    <a:pt x="151" y="7"/>
                    <a:pt x="150" y="6"/>
                  </a:cubicBezTo>
                  <a:cubicBezTo>
                    <a:pt x="150" y="6"/>
                    <a:pt x="150" y="6"/>
                    <a:pt x="150" y="6"/>
                  </a:cubicBezTo>
                  <a:cubicBezTo>
                    <a:pt x="150" y="6"/>
                    <a:pt x="150" y="6"/>
                    <a:pt x="150" y="6"/>
                  </a:cubicBezTo>
                  <a:cubicBezTo>
                    <a:pt x="150" y="6"/>
                    <a:pt x="149" y="6"/>
                    <a:pt x="149" y="6"/>
                  </a:cubicBezTo>
                  <a:cubicBezTo>
                    <a:pt x="149" y="6"/>
                    <a:pt x="149" y="6"/>
                    <a:pt x="149" y="6"/>
                  </a:cubicBezTo>
                  <a:cubicBezTo>
                    <a:pt x="148" y="6"/>
                    <a:pt x="148" y="6"/>
                    <a:pt x="148" y="6"/>
                  </a:cubicBezTo>
                  <a:cubicBezTo>
                    <a:pt x="148" y="6"/>
                    <a:pt x="147" y="6"/>
                    <a:pt x="147" y="6"/>
                  </a:cubicBezTo>
                  <a:cubicBezTo>
                    <a:pt x="146" y="5"/>
                    <a:pt x="145" y="5"/>
                    <a:pt x="144" y="5"/>
                  </a:cubicBezTo>
                  <a:cubicBezTo>
                    <a:pt x="143" y="3"/>
                    <a:pt x="141" y="2"/>
                    <a:pt x="140" y="0"/>
                  </a:cubicBezTo>
                  <a:cubicBezTo>
                    <a:pt x="140" y="0"/>
                    <a:pt x="140" y="0"/>
                    <a:pt x="1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1" name="Freeform 290">
              <a:extLst>
                <a:ext uri="{FF2B5EF4-FFF2-40B4-BE49-F238E27FC236}">
                  <a16:creationId xmlns:a16="http://schemas.microsoft.com/office/drawing/2014/main" id="{43C0B3FD-77B1-4DA4-9C87-2FD00BAB53C8}"/>
                </a:ext>
              </a:extLst>
            </p:cNvPr>
            <p:cNvSpPr>
              <a:spLocks/>
            </p:cNvSpPr>
            <p:nvPr/>
          </p:nvSpPr>
          <p:spPr bwMode="auto">
            <a:xfrm>
              <a:off x="7518" y="396"/>
              <a:ext cx="2"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2" name="Freeform 291">
              <a:extLst>
                <a:ext uri="{FF2B5EF4-FFF2-40B4-BE49-F238E27FC236}">
                  <a16:creationId xmlns:a16="http://schemas.microsoft.com/office/drawing/2014/main" id="{B978BA02-52F6-42F6-B7E7-E2E024E30450}"/>
                </a:ext>
              </a:extLst>
            </p:cNvPr>
            <p:cNvSpPr>
              <a:spLocks/>
            </p:cNvSpPr>
            <p:nvPr/>
          </p:nvSpPr>
          <p:spPr bwMode="auto">
            <a:xfrm>
              <a:off x="7518" y="396"/>
              <a:ext cx="2"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3" name="Freeform 292">
              <a:extLst>
                <a:ext uri="{FF2B5EF4-FFF2-40B4-BE49-F238E27FC236}">
                  <a16:creationId xmlns:a16="http://schemas.microsoft.com/office/drawing/2014/main" id="{2FFD64ED-743B-4063-857F-DA7F2B304DB6}"/>
                </a:ext>
              </a:extLst>
            </p:cNvPr>
            <p:cNvSpPr>
              <a:spLocks/>
            </p:cNvSpPr>
            <p:nvPr/>
          </p:nvSpPr>
          <p:spPr bwMode="auto">
            <a:xfrm>
              <a:off x="7416" y="396"/>
              <a:ext cx="262" cy="213"/>
            </a:xfrm>
            <a:custGeom>
              <a:avLst/>
              <a:gdLst>
                <a:gd name="T0" fmla="*/ 36 w 111"/>
                <a:gd name="T1" fmla="*/ 4 h 90"/>
                <a:gd name="T2" fmla="*/ 34 w 111"/>
                <a:gd name="T3" fmla="*/ 4 h 90"/>
                <a:gd name="T4" fmla="*/ 33 w 111"/>
                <a:gd name="T5" fmla="*/ 20 h 90"/>
                <a:gd name="T6" fmla="*/ 29 w 111"/>
                <a:gd name="T7" fmla="*/ 10 h 90"/>
                <a:gd name="T8" fmla="*/ 22 w 111"/>
                <a:gd name="T9" fmla="*/ 19 h 90"/>
                <a:gd name="T10" fmla="*/ 15 w 111"/>
                <a:gd name="T11" fmla="*/ 18 h 90"/>
                <a:gd name="T12" fmla="*/ 5 w 111"/>
                <a:gd name="T13" fmla="*/ 17 h 90"/>
                <a:gd name="T14" fmla="*/ 3 w 111"/>
                <a:gd name="T15" fmla="*/ 18 h 90"/>
                <a:gd name="T16" fmla="*/ 0 w 111"/>
                <a:gd name="T17" fmla="*/ 22 h 90"/>
                <a:gd name="T18" fmla="*/ 3 w 111"/>
                <a:gd name="T19" fmla="*/ 26 h 90"/>
                <a:gd name="T20" fmla="*/ 18 w 111"/>
                <a:gd name="T21" fmla="*/ 32 h 90"/>
                <a:gd name="T22" fmla="*/ 17 w 111"/>
                <a:gd name="T23" fmla="*/ 44 h 90"/>
                <a:gd name="T24" fmla="*/ 20 w 111"/>
                <a:gd name="T25" fmla="*/ 47 h 90"/>
                <a:gd name="T26" fmla="*/ 14 w 111"/>
                <a:gd name="T27" fmla="*/ 68 h 90"/>
                <a:gd name="T28" fmla="*/ 10 w 111"/>
                <a:gd name="T29" fmla="*/ 76 h 90"/>
                <a:gd name="T30" fmla="*/ 12 w 111"/>
                <a:gd name="T31" fmla="*/ 83 h 90"/>
                <a:gd name="T32" fmla="*/ 17 w 111"/>
                <a:gd name="T33" fmla="*/ 80 h 90"/>
                <a:gd name="T34" fmla="*/ 28 w 111"/>
                <a:gd name="T35" fmla="*/ 76 h 90"/>
                <a:gd name="T36" fmla="*/ 30 w 111"/>
                <a:gd name="T37" fmla="*/ 75 h 90"/>
                <a:gd name="T38" fmla="*/ 38 w 111"/>
                <a:gd name="T39" fmla="*/ 76 h 90"/>
                <a:gd name="T40" fmla="*/ 42 w 111"/>
                <a:gd name="T41" fmla="*/ 79 h 90"/>
                <a:gd name="T42" fmla="*/ 42 w 111"/>
                <a:gd name="T43" fmla="*/ 76 h 90"/>
                <a:gd name="T44" fmla="*/ 44 w 111"/>
                <a:gd name="T45" fmla="*/ 69 h 90"/>
                <a:gd name="T46" fmla="*/ 57 w 111"/>
                <a:gd name="T47" fmla="*/ 67 h 90"/>
                <a:gd name="T48" fmla="*/ 61 w 111"/>
                <a:gd name="T49" fmla="*/ 68 h 90"/>
                <a:gd name="T50" fmla="*/ 61 w 111"/>
                <a:gd name="T51" fmla="*/ 66 h 90"/>
                <a:gd name="T52" fmla="*/ 61 w 111"/>
                <a:gd name="T53" fmla="*/ 57 h 90"/>
                <a:gd name="T54" fmla="*/ 69 w 111"/>
                <a:gd name="T55" fmla="*/ 52 h 90"/>
                <a:gd name="T56" fmla="*/ 80 w 111"/>
                <a:gd name="T57" fmla="*/ 43 h 90"/>
                <a:gd name="T58" fmla="*/ 86 w 111"/>
                <a:gd name="T59" fmla="*/ 45 h 90"/>
                <a:gd name="T60" fmla="*/ 90 w 111"/>
                <a:gd name="T61" fmla="*/ 45 h 90"/>
                <a:gd name="T62" fmla="*/ 90 w 111"/>
                <a:gd name="T63" fmla="*/ 50 h 90"/>
                <a:gd name="T64" fmla="*/ 96 w 111"/>
                <a:gd name="T65" fmla="*/ 57 h 90"/>
                <a:gd name="T66" fmla="*/ 96 w 111"/>
                <a:gd name="T67" fmla="*/ 79 h 90"/>
                <a:gd name="T68" fmla="*/ 96 w 111"/>
                <a:gd name="T69" fmla="*/ 80 h 90"/>
                <a:gd name="T70" fmla="*/ 96 w 111"/>
                <a:gd name="T71" fmla="*/ 86 h 90"/>
                <a:gd name="T72" fmla="*/ 98 w 111"/>
                <a:gd name="T73" fmla="*/ 90 h 90"/>
                <a:gd name="T74" fmla="*/ 111 w 111"/>
                <a:gd name="T75" fmla="*/ 86 h 90"/>
                <a:gd name="T76" fmla="*/ 104 w 111"/>
                <a:gd name="T77" fmla="*/ 26 h 90"/>
                <a:gd name="T78" fmla="*/ 99 w 111"/>
                <a:gd name="T79" fmla="*/ 26 h 90"/>
                <a:gd name="T80" fmla="*/ 96 w 111"/>
                <a:gd name="T81" fmla="*/ 21 h 90"/>
                <a:gd name="T82" fmla="*/ 92 w 111"/>
                <a:gd name="T83" fmla="*/ 19 h 90"/>
                <a:gd name="T84" fmla="*/ 82 w 111"/>
                <a:gd name="T85" fmla="*/ 22 h 90"/>
                <a:gd name="T86" fmla="*/ 82 w 111"/>
                <a:gd name="T87" fmla="*/ 22 h 90"/>
                <a:gd name="T88" fmla="*/ 58 w 111"/>
                <a:gd name="T89" fmla="*/ 18 h 90"/>
                <a:gd name="T90" fmla="*/ 39 w 111"/>
                <a:gd name="T91" fmla="*/ 16 h 90"/>
                <a:gd name="T92" fmla="*/ 39 w 111"/>
                <a:gd name="T93" fmla="*/ 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 h="90">
                  <a:moveTo>
                    <a:pt x="38" y="0"/>
                  </a:moveTo>
                  <a:cubicBezTo>
                    <a:pt x="38" y="1"/>
                    <a:pt x="37" y="2"/>
                    <a:pt x="37" y="3"/>
                  </a:cubicBezTo>
                  <a:cubicBezTo>
                    <a:pt x="36" y="4"/>
                    <a:pt x="36" y="4"/>
                    <a:pt x="36" y="4"/>
                  </a:cubicBezTo>
                  <a:cubicBezTo>
                    <a:pt x="35" y="4"/>
                    <a:pt x="35" y="4"/>
                    <a:pt x="35" y="4"/>
                  </a:cubicBezTo>
                  <a:cubicBezTo>
                    <a:pt x="34" y="4"/>
                    <a:pt x="34" y="4"/>
                    <a:pt x="34" y="4"/>
                  </a:cubicBezTo>
                  <a:cubicBezTo>
                    <a:pt x="34" y="4"/>
                    <a:pt x="34" y="4"/>
                    <a:pt x="34" y="4"/>
                  </a:cubicBezTo>
                  <a:cubicBezTo>
                    <a:pt x="34" y="5"/>
                    <a:pt x="34" y="5"/>
                    <a:pt x="34" y="5"/>
                  </a:cubicBezTo>
                  <a:cubicBezTo>
                    <a:pt x="34" y="6"/>
                    <a:pt x="34" y="6"/>
                    <a:pt x="34" y="7"/>
                  </a:cubicBezTo>
                  <a:cubicBezTo>
                    <a:pt x="33" y="20"/>
                    <a:pt x="33" y="20"/>
                    <a:pt x="33" y="20"/>
                  </a:cubicBezTo>
                  <a:cubicBezTo>
                    <a:pt x="29" y="9"/>
                    <a:pt x="29" y="9"/>
                    <a:pt x="29" y="9"/>
                  </a:cubicBezTo>
                  <a:cubicBezTo>
                    <a:pt x="29" y="9"/>
                    <a:pt x="29" y="9"/>
                    <a:pt x="29" y="9"/>
                  </a:cubicBezTo>
                  <a:cubicBezTo>
                    <a:pt x="29" y="10"/>
                    <a:pt x="29" y="10"/>
                    <a:pt x="29" y="10"/>
                  </a:cubicBezTo>
                  <a:cubicBezTo>
                    <a:pt x="27" y="15"/>
                    <a:pt x="26" y="18"/>
                    <a:pt x="24" y="18"/>
                  </a:cubicBezTo>
                  <a:cubicBezTo>
                    <a:pt x="24" y="19"/>
                    <a:pt x="24" y="19"/>
                    <a:pt x="24" y="19"/>
                  </a:cubicBezTo>
                  <a:cubicBezTo>
                    <a:pt x="23" y="19"/>
                    <a:pt x="23" y="19"/>
                    <a:pt x="22" y="19"/>
                  </a:cubicBezTo>
                  <a:cubicBezTo>
                    <a:pt x="21" y="19"/>
                    <a:pt x="21" y="19"/>
                    <a:pt x="20" y="19"/>
                  </a:cubicBezTo>
                  <a:cubicBezTo>
                    <a:pt x="19" y="19"/>
                    <a:pt x="19" y="19"/>
                    <a:pt x="19" y="19"/>
                  </a:cubicBezTo>
                  <a:cubicBezTo>
                    <a:pt x="18" y="19"/>
                    <a:pt x="17" y="18"/>
                    <a:pt x="15" y="18"/>
                  </a:cubicBezTo>
                  <a:cubicBezTo>
                    <a:pt x="13" y="18"/>
                    <a:pt x="10" y="17"/>
                    <a:pt x="7" y="17"/>
                  </a:cubicBezTo>
                  <a:cubicBezTo>
                    <a:pt x="6" y="17"/>
                    <a:pt x="6" y="17"/>
                    <a:pt x="5" y="17"/>
                  </a:cubicBezTo>
                  <a:cubicBezTo>
                    <a:pt x="5" y="17"/>
                    <a:pt x="5" y="17"/>
                    <a:pt x="5" y="17"/>
                  </a:cubicBezTo>
                  <a:cubicBezTo>
                    <a:pt x="4" y="17"/>
                    <a:pt x="4" y="17"/>
                    <a:pt x="4" y="17"/>
                  </a:cubicBezTo>
                  <a:cubicBezTo>
                    <a:pt x="4" y="17"/>
                    <a:pt x="4" y="17"/>
                    <a:pt x="4" y="17"/>
                  </a:cubicBezTo>
                  <a:cubicBezTo>
                    <a:pt x="4" y="17"/>
                    <a:pt x="3" y="18"/>
                    <a:pt x="3" y="18"/>
                  </a:cubicBezTo>
                  <a:cubicBezTo>
                    <a:pt x="2" y="18"/>
                    <a:pt x="2" y="18"/>
                    <a:pt x="2" y="18"/>
                  </a:cubicBezTo>
                  <a:cubicBezTo>
                    <a:pt x="1" y="19"/>
                    <a:pt x="0" y="20"/>
                    <a:pt x="0" y="22"/>
                  </a:cubicBezTo>
                  <a:cubicBezTo>
                    <a:pt x="0" y="22"/>
                    <a:pt x="0" y="22"/>
                    <a:pt x="0" y="22"/>
                  </a:cubicBezTo>
                  <a:cubicBezTo>
                    <a:pt x="0" y="23"/>
                    <a:pt x="1" y="23"/>
                    <a:pt x="1" y="24"/>
                  </a:cubicBezTo>
                  <a:cubicBezTo>
                    <a:pt x="2" y="24"/>
                    <a:pt x="2" y="24"/>
                    <a:pt x="2" y="24"/>
                  </a:cubicBezTo>
                  <a:cubicBezTo>
                    <a:pt x="2" y="25"/>
                    <a:pt x="3" y="25"/>
                    <a:pt x="3" y="26"/>
                  </a:cubicBezTo>
                  <a:cubicBezTo>
                    <a:pt x="5" y="28"/>
                    <a:pt x="5" y="28"/>
                    <a:pt x="9" y="28"/>
                  </a:cubicBezTo>
                  <a:cubicBezTo>
                    <a:pt x="9" y="28"/>
                    <a:pt x="10" y="28"/>
                    <a:pt x="12" y="28"/>
                  </a:cubicBezTo>
                  <a:cubicBezTo>
                    <a:pt x="14" y="29"/>
                    <a:pt x="17" y="30"/>
                    <a:pt x="18" y="32"/>
                  </a:cubicBezTo>
                  <a:cubicBezTo>
                    <a:pt x="18" y="33"/>
                    <a:pt x="18" y="33"/>
                    <a:pt x="19" y="34"/>
                  </a:cubicBezTo>
                  <a:cubicBezTo>
                    <a:pt x="19" y="36"/>
                    <a:pt x="18" y="38"/>
                    <a:pt x="18" y="41"/>
                  </a:cubicBezTo>
                  <a:cubicBezTo>
                    <a:pt x="17" y="44"/>
                    <a:pt x="17" y="44"/>
                    <a:pt x="17" y="44"/>
                  </a:cubicBezTo>
                  <a:cubicBezTo>
                    <a:pt x="17" y="44"/>
                    <a:pt x="17" y="45"/>
                    <a:pt x="18" y="45"/>
                  </a:cubicBezTo>
                  <a:cubicBezTo>
                    <a:pt x="18" y="46"/>
                    <a:pt x="18" y="46"/>
                    <a:pt x="18" y="46"/>
                  </a:cubicBezTo>
                  <a:cubicBezTo>
                    <a:pt x="20" y="47"/>
                    <a:pt x="20" y="47"/>
                    <a:pt x="20" y="47"/>
                  </a:cubicBezTo>
                  <a:cubicBezTo>
                    <a:pt x="20" y="48"/>
                    <a:pt x="21" y="49"/>
                    <a:pt x="22" y="50"/>
                  </a:cubicBezTo>
                  <a:cubicBezTo>
                    <a:pt x="25" y="54"/>
                    <a:pt x="20" y="61"/>
                    <a:pt x="15" y="66"/>
                  </a:cubicBezTo>
                  <a:cubicBezTo>
                    <a:pt x="15" y="67"/>
                    <a:pt x="14" y="68"/>
                    <a:pt x="14" y="68"/>
                  </a:cubicBezTo>
                  <a:cubicBezTo>
                    <a:pt x="13" y="70"/>
                    <a:pt x="13" y="70"/>
                    <a:pt x="13" y="70"/>
                  </a:cubicBezTo>
                  <a:cubicBezTo>
                    <a:pt x="12" y="71"/>
                    <a:pt x="11" y="72"/>
                    <a:pt x="10" y="74"/>
                  </a:cubicBezTo>
                  <a:cubicBezTo>
                    <a:pt x="10" y="74"/>
                    <a:pt x="10" y="75"/>
                    <a:pt x="10" y="76"/>
                  </a:cubicBezTo>
                  <a:cubicBezTo>
                    <a:pt x="10" y="78"/>
                    <a:pt x="10" y="79"/>
                    <a:pt x="9" y="80"/>
                  </a:cubicBezTo>
                  <a:cubicBezTo>
                    <a:pt x="9" y="81"/>
                    <a:pt x="9" y="81"/>
                    <a:pt x="9" y="82"/>
                  </a:cubicBezTo>
                  <a:cubicBezTo>
                    <a:pt x="12" y="83"/>
                    <a:pt x="12" y="83"/>
                    <a:pt x="12" y="83"/>
                  </a:cubicBezTo>
                  <a:cubicBezTo>
                    <a:pt x="12" y="84"/>
                    <a:pt x="12" y="84"/>
                    <a:pt x="12" y="84"/>
                  </a:cubicBezTo>
                  <a:cubicBezTo>
                    <a:pt x="13" y="83"/>
                    <a:pt x="13" y="83"/>
                    <a:pt x="13" y="83"/>
                  </a:cubicBezTo>
                  <a:cubicBezTo>
                    <a:pt x="15" y="82"/>
                    <a:pt x="17" y="81"/>
                    <a:pt x="17" y="80"/>
                  </a:cubicBezTo>
                  <a:cubicBezTo>
                    <a:pt x="18" y="80"/>
                    <a:pt x="19" y="79"/>
                    <a:pt x="20" y="79"/>
                  </a:cubicBezTo>
                  <a:cubicBezTo>
                    <a:pt x="22" y="78"/>
                    <a:pt x="24" y="77"/>
                    <a:pt x="27" y="76"/>
                  </a:cubicBezTo>
                  <a:cubicBezTo>
                    <a:pt x="27" y="76"/>
                    <a:pt x="27" y="76"/>
                    <a:pt x="28" y="76"/>
                  </a:cubicBezTo>
                  <a:cubicBezTo>
                    <a:pt x="29" y="77"/>
                    <a:pt x="29" y="77"/>
                    <a:pt x="29" y="77"/>
                  </a:cubicBezTo>
                  <a:cubicBezTo>
                    <a:pt x="28" y="76"/>
                    <a:pt x="28" y="76"/>
                    <a:pt x="28" y="76"/>
                  </a:cubicBezTo>
                  <a:cubicBezTo>
                    <a:pt x="29" y="75"/>
                    <a:pt x="29" y="75"/>
                    <a:pt x="30" y="75"/>
                  </a:cubicBezTo>
                  <a:cubicBezTo>
                    <a:pt x="31" y="74"/>
                    <a:pt x="32" y="74"/>
                    <a:pt x="33" y="74"/>
                  </a:cubicBezTo>
                  <a:cubicBezTo>
                    <a:pt x="34" y="74"/>
                    <a:pt x="35" y="74"/>
                    <a:pt x="37" y="75"/>
                  </a:cubicBezTo>
                  <a:cubicBezTo>
                    <a:pt x="37" y="76"/>
                    <a:pt x="37" y="76"/>
                    <a:pt x="38" y="76"/>
                  </a:cubicBezTo>
                  <a:cubicBezTo>
                    <a:pt x="40" y="78"/>
                    <a:pt x="40" y="78"/>
                    <a:pt x="40" y="78"/>
                  </a:cubicBezTo>
                  <a:cubicBezTo>
                    <a:pt x="40" y="79"/>
                    <a:pt x="41" y="79"/>
                    <a:pt x="41" y="80"/>
                  </a:cubicBezTo>
                  <a:cubicBezTo>
                    <a:pt x="42" y="79"/>
                    <a:pt x="42" y="79"/>
                    <a:pt x="42" y="79"/>
                  </a:cubicBezTo>
                  <a:cubicBezTo>
                    <a:pt x="42" y="78"/>
                    <a:pt x="42" y="78"/>
                    <a:pt x="42" y="78"/>
                  </a:cubicBezTo>
                  <a:cubicBezTo>
                    <a:pt x="42" y="78"/>
                    <a:pt x="42" y="78"/>
                    <a:pt x="42" y="78"/>
                  </a:cubicBezTo>
                  <a:cubicBezTo>
                    <a:pt x="42" y="77"/>
                    <a:pt x="42" y="76"/>
                    <a:pt x="42" y="76"/>
                  </a:cubicBezTo>
                  <a:cubicBezTo>
                    <a:pt x="43" y="74"/>
                    <a:pt x="43" y="74"/>
                    <a:pt x="43" y="74"/>
                  </a:cubicBezTo>
                  <a:cubicBezTo>
                    <a:pt x="43" y="73"/>
                    <a:pt x="43" y="71"/>
                    <a:pt x="44" y="70"/>
                  </a:cubicBezTo>
                  <a:cubicBezTo>
                    <a:pt x="44" y="69"/>
                    <a:pt x="44" y="69"/>
                    <a:pt x="44" y="69"/>
                  </a:cubicBezTo>
                  <a:cubicBezTo>
                    <a:pt x="45" y="67"/>
                    <a:pt x="47" y="66"/>
                    <a:pt x="50" y="66"/>
                  </a:cubicBezTo>
                  <a:cubicBezTo>
                    <a:pt x="52" y="66"/>
                    <a:pt x="54" y="67"/>
                    <a:pt x="55" y="67"/>
                  </a:cubicBezTo>
                  <a:cubicBezTo>
                    <a:pt x="56" y="67"/>
                    <a:pt x="56" y="67"/>
                    <a:pt x="57" y="67"/>
                  </a:cubicBezTo>
                  <a:cubicBezTo>
                    <a:pt x="58" y="68"/>
                    <a:pt x="59" y="68"/>
                    <a:pt x="60" y="68"/>
                  </a:cubicBezTo>
                  <a:cubicBezTo>
                    <a:pt x="61" y="68"/>
                    <a:pt x="61" y="68"/>
                    <a:pt x="61" y="68"/>
                  </a:cubicBezTo>
                  <a:cubicBezTo>
                    <a:pt x="61" y="68"/>
                    <a:pt x="61" y="68"/>
                    <a:pt x="61" y="68"/>
                  </a:cubicBezTo>
                  <a:cubicBezTo>
                    <a:pt x="61" y="67"/>
                    <a:pt x="61" y="67"/>
                    <a:pt x="61" y="67"/>
                  </a:cubicBezTo>
                  <a:cubicBezTo>
                    <a:pt x="62" y="67"/>
                    <a:pt x="62" y="67"/>
                    <a:pt x="62" y="67"/>
                  </a:cubicBezTo>
                  <a:cubicBezTo>
                    <a:pt x="61" y="66"/>
                    <a:pt x="61" y="66"/>
                    <a:pt x="61" y="66"/>
                  </a:cubicBezTo>
                  <a:cubicBezTo>
                    <a:pt x="61" y="65"/>
                    <a:pt x="61" y="65"/>
                    <a:pt x="61" y="65"/>
                  </a:cubicBezTo>
                  <a:cubicBezTo>
                    <a:pt x="60" y="64"/>
                    <a:pt x="59" y="63"/>
                    <a:pt x="59" y="62"/>
                  </a:cubicBezTo>
                  <a:cubicBezTo>
                    <a:pt x="59" y="61"/>
                    <a:pt x="59" y="59"/>
                    <a:pt x="61" y="57"/>
                  </a:cubicBezTo>
                  <a:cubicBezTo>
                    <a:pt x="62" y="57"/>
                    <a:pt x="64" y="55"/>
                    <a:pt x="65" y="54"/>
                  </a:cubicBezTo>
                  <a:cubicBezTo>
                    <a:pt x="66" y="54"/>
                    <a:pt x="67" y="52"/>
                    <a:pt x="68" y="51"/>
                  </a:cubicBezTo>
                  <a:cubicBezTo>
                    <a:pt x="69" y="52"/>
                    <a:pt x="69" y="52"/>
                    <a:pt x="69" y="52"/>
                  </a:cubicBezTo>
                  <a:cubicBezTo>
                    <a:pt x="68" y="51"/>
                    <a:pt x="68" y="51"/>
                    <a:pt x="68" y="51"/>
                  </a:cubicBezTo>
                  <a:cubicBezTo>
                    <a:pt x="70" y="49"/>
                    <a:pt x="72" y="46"/>
                    <a:pt x="74" y="45"/>
                  </a:cubicBezTo>
                  <a:cubicBezTo>
                    <a:pt x="76" y="43"/>
                    <a:pt x="78" y="43"/>
                    <a:pt x="80" y="43"/>
                  </a:cubicBezTo>
                  <a:cubicBezTo>
                    <a:pt x="81" y="43"/>
                    <a:pt x="81" y="43"/>
                    <a:pt x="81" y="43"/>
                  </a:cubicBezTo>
                  <a:cubicBezTo>
                    <a:pt x="83" y="43"/>
                    <a:pt x="83" y="43"/>
                    <a:pt x="83" y="43"/>
                  </a:cubicBezTo>
                  <a:cubicBezTo>
                    <a:pt x="84" y="44"/>
                    <a:pt x="85" y="44"/>
                    <a:pt x="86" y="45"/>
                  </a:cubicBezTo>
                  <a:cubicBezTo>
                    <a:pt x="87" y="46"/>
                    <a:pt x="87" y="46"/>
                    <a:pt x="87" y="47"/>
                  </a:cubicBezTo>
                  <a:cubicBezTo>
                    <a:pt x="92" y="43"/>
                    <a:pt x="92" y="43"/>
                    <a:pt x="92" y="43"/>
                  </a:cubicBezTo>
                  <a:cubicBezTo>
                    <a:pt x="90" y="45"/>
                    <a:pt x="90" y="45"/>
                    <a:pt x="90" y="45"/>
                  </a:cubicBezTo>
                  <a:cubicBezTo>
                    <a:pt x="91" y="44"/>
                    <a:pt x="91" y="44"/>
                    <a:pt x="91" y="44"/>
                  </a:cubicBezTo>
                  <a:cubicBezTo>
                    <a:pt x="89" y="48"/>
                    <a:pt x="89" y="48"/>
                    <a:pt x="89" y="48"/>
                  </a:cubicBezTo>
                  <a:cubicBezTo>
                    <a:pt x="90" y="50"/>
                    <a:pt x="90" y="50"/>
                    <a:pt x="90" y="50"/>
                  </a:cubicBezTo>
                  <a:cubicBezTo>
                    <a:pt x="90" y="50"/>
                    <a:pt x="91" y="51"/>
                    <a:pt x="91" y="51"/>
                  </a:cubicBezTo>
                  <a:cubicBezTo>
                    <a:pt x="92" y="53"/>
                    <a:pt x="93" y="54"/>
                    <a:pt x="92" y="56"/>
                  </a:cubicBezTo>
                  <a:cubicBezTo>
                    <a:pt x="93" y="56"/>
                    <a:pt x="95" y="57"/>
                    <a:pt x="96" y="57"/>
                  </a:cubicBezTo>
                  <a:cubicBezTo>
                    <a:pt x="97" y="58"/>
                    <a:pt x="98" y="60"/>
                    <a:pt x="98" y="61"/>
                  </a:cubicBezTo>
                  <a:cubicBezTo>
                    <a:pt x="98" y="64"/>
                    <a:pt x="98" y="66"/>
                    <a:pt x="97" y="69"/>
                  </a:cubicBezTo>
                  <a:cubicBezTo>
                    <a:pt x="97" y="73"/>
                    <a:pt x="97" y="76"/>
                    <a:pt x="96" y="79"/>
                  </a:cubicBezTo>
                  <a:cubicBezTo>
                    <a:pt x="102" y="80"/>
                    <a:pt x="102" y="80"/>
                    <a:pt x="102" y="80"/>
                  </a:cubicBezTo>
                  <a:cubicBezTo>
                    <a:pt x="96" y="80"/>
                    <a:pt x="96" y="80"/>
                    <a:pt x="96" y="80"/>
                  </a:cubicBezTo>
                  <a:cubicBezTo>
                    <a:pt x="96" y="80"/>
                    <a:pt x="96" y="80"/>
                    <a:pt x="96" y="80"/>
                  </a:cubicBezTo>
                  <a:cubicBezTo>
                    <a:pt x="95" y="81"/>
                    <a:pt x="95" y="82"/>
                    <a:pt x="95" y="82"/>
                  </a:cubicBezTo>
                  <a:cubicBezTo>
                    <a:pt x="95" y="83"/>
                    <a:pt x="95" y="83"/>
                    <a:pt x="95" y="84"/>
                  </a:cubicBezTo>
                  <a:cubicBezTo>
                    <a:pt x="95" y="85"/>
                    <a:pt x="95" y="86"/>
                    <a:pt x="96" y="86"/>
                  </a:cubicBezTo>
                  <a:cubicBezTo>
                    <a:pt x="96" y="87"/>
                    <a:pt x="97" y="88"/>
                    <a:pt x="97" y="88"/>
                  </a:cubicBezTo>
                  <a:cubicBezTo>
                    <a:pt x="97" y="89"/>
                    <a:pt x="97" y="89"/>
                    <a:pt x="97" y="89"/>
                  </a:cubicBezTo>
                  <a:cubicBezTo>
                    <a:pt x="97" y="89"/>
                    <a:pt x="98" y="90"/>
                    <a:pt x="98" y="90"/>
                  </a:cubicBezTo>
                  <a:cubicBezTo>
                    <a:pt x="109" y="86"/>
                    <a:pt x="109" y="86"/>
                    <a:pt x="109" y="86"/>
                  </a:cubicBezTo>
                  <a:cubicBezTo>
                    <a:pt x="110" y="86"/>
                    <a:pt x="110" y="86"/>
                    <a:pt x="110" y="86"/>
                  </a:cubicBezTo>
                  <a:cubicBezTo>
                    <a:pt x="111" y="86"/>
                    <a:pt x="111" y="86"/>
                    <a:pt x="111" y="86"/>
                  </a:cubicBezTo>
                  <a:cubicBezTo>
                    <a:pt x="111" y="29"/>
                    <a:pt x="111" y="29"/>
                    <a:pt x="111" y="29"/>
                  </a:cubicBezTo>
                  <a:cubicBezTo>
                    <a:pt x="109" y="28"/>
                    <a:pt x="109" y="28"/>
                    <a:pt x="109" y="28"/>
                  </a:cubicBezTo>
                  <a:cubicBezTo>
                    <a:pt x="108" y="27"/>
                    <a:pt x="105" y="26"/>
                    <a:pt x="104" y="26"/>
                  </a:cubicBezTo>
                  <a:cubicBezTo>
                    <a:pt x="103" y="26"/>
                    <a:pt x="103" y="26"/>
                    <a:pt x="103" y="26"/>
                  </a:cubicBezTo>
                  <a:cubicBezTo>
                    <a:pt x="99" y="26"/>
                    <a:pt x="99" y="26"/>
                    <a:pt x="99" y="26"/>
                  </a:cubicBezTo>
                  <a:cubicBezTo>
                    <a:pt x="99" y="26"/>
                    <a:pt x="99" y="26"/>
                    <a:pt x="99" y="26"/>
                  </a:cubicBezTo>
                  <a:cubicBezTo>
                    <a:pt x="97" y="24"/>
                    <a:pt x="97" y="22"/>
                    <a:pt x="97" y="21"/>
                  </a:cubicBezTo>
                  <a:cubicBezTo>
                    <a:pt x="96" y="21"/>
                    <a:pt x="96" y="21"/>
                    <a:pt x="96" y="21"/>
                  </a:cubicBezTo>
                  <a:cubicBezTo>
                    <a:pt x="96" y="21"/>
                    <a:pt x="96" y="21"/>
                    <a:pt x="96" y="21"/>
                  </a:cubicBezTo>
                  <a:cubicBezTo>
                    <a:pt x="96" y="21"/>
                    <a:pt x="95" y="21"/>
                    <a:pt x="95" y="21"/>
                  </a:cubicBezTo>
                  <a:cubicBezTo>
                    <a:pt x="94" y="21"/>
                    <a:pt x="94" y="21"/>
                    <a:pt x="94" y="21"/>
                  </a:cubicBezTo>
                  <a:cubicBezTo>
                    <a:pt x="93" y="20"/>
                    <a:pt x="93" y="20"/>
                    <a:pt x="92" y="19"/>
                  </a:cubicBezTo>
                  <a:cubicBezTo>
                    <a:pt x="92" y="19"/>
                    <a:pt x="92" y="19"/>
                    <a:pt x="92" y="19"/>
                  </a:cubicBezTo>
                  <a:cubicBezTo>
                    <a:pt x="88" y="21"/>
                    <a:pt x="86" y="22"/>
                    <a:pt x="83" y="22"/>
                  </a:cubicBezTo>
                  <a:cubicBezTo>
                    <a:pt x="83" y="22"/>
                    <a:pt x="83" y="22"/>
                    <a:pt x="82" y="22"/>
                  </a:cubicBezTo>
                  <a:cubicBezTo>
                    <a:pt x="82" y="22"/>
                    <a:pt x="82" y="22"/>
                    <a:pt x="82" y="22"/>
                  </a:cubicBezTo>
                  <a:cubicBezTo>
                    <a:pt x="82" y="22"/>
                    <a:pt x="82" y="22"/>
                    <a:pt x="82" y="22"/>
                  </a:cubicBezTo>
                  <a:cubicBezTo>
                    <a:pt x="82" y="22"/>
                    <a:pt x="82" y="22"/>
                    <a:pt x="82" y="22"/>
                  </a:cubicBezTo>
                  <a:cubicBezTo>
                    <a:pt x="81" y="22"/>
                    <a:pt x="81" y="22"/>
                    <a:pt x="81" y="22"/>
                  </a:cubicBezTo>
                  <a:cubicBezTo>
                    <a:pt x="77" y="21"/>
                    <a:pt x="73" y="20"/>
                    <a:pt x="69" y="19"/>
                  </a:cubicBezTo>
                  <a:cubicBezTo>
                    <a:pt x="65" y="19"/>
                    <a:pt x="62" y="18"/>
                    <a:pt x="58" y="18"/>
                  </a:cubicBezTo>
                  <a:cubicBezTo>
                    <a:pt x="53" y="18"/>
                    <a:pt x="48" y="19"/>
                    <a:pt x="43" y="19"/>
                  </a:cubicBezTo>
                  <a:cubicBezTo>
                    <a:pt x="39" y="19"/>
                    <a:pt x="39" y="19"/>
                    <a:pt x="39" y="19"/>
                  </a:cubicBezTo>
                  <a:cubicBezTo>
                    <a:pt x="39" y="16"/>
                    <a:pt x="39" y="16"/>
                    <a:pt x="39" y="16"/>
                  </a:cubicBezTo>
                  <a:cubicBezTo>
                    <a:pt x="39" y="13"/>
                    <a:pt x="39" y="10"/>
                    <a:pt x="39" y="7"/>
                  </a:cubicBezTo>
                  <a:cubicBezTo>
                    <a:pt x="40" y="1"/>
                    <a:pt x="40" y="1"/>
                    <a:pt x="40" y="1"/>
                  </a:cubicBezTo>
                  <a:cubicBezTo>
                    <a:pt x="39" y="1"/>
                    <a:pt x="39" y="1"/>
                    <a:pt x="39" y="1"/>
                  </a:cubicBezTo>
                  <a:cubicBezTo>
                    <a:pt x="39" y="1"/>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4" name="Freeform 293">
              <a:extLst>
                <a:ext uri="{FF2B5EF4-FFF2-40B4-BE49-F238E27FC236}">
                  <a16:creationId xmlns:a16="http://schemas.microsoft.com/office/drawing/2014/main" id="{637E3A07-32C3-4D82-A323-907DE6B28F4D}"/>
                </a:ext>
              </a:extLst>
            </p:cNvPr>
            <p:cNvSpPr>
              <a:spLocks/>
            </p:cNvSpPr>
            <p:nvPr/>
          </p:nvSpPr>
          <p:spPr bwMode="auto">
            <a:xfrm>
              <a:off x="7515" y="344"/>
              <a:ext cx="74" cy="52"/>
            </a:xfrm>
            <a:custGeom>
              <a:avLst/>
              <a:gdLst>
                <a:gd name="T0" fmla="*/ 27 w 31"/>
                <a:gd name="T1" fmla="*/ 0 h 22"/>
                <a:gd name="T2" fmla="*/ 27 w 31"/>
                <a:gd name="T3" fmla="*/ 0 h 22"/>
                <a:gd name="T4" fmla="*/ 26 w 31"/>
                <a:gd name="T5" fmla="*/ 1 h 22"/>
                <a:gd name="T6" fmla="*/ 25 w 31"/>
                <a:gd name="T7" fmla="*/ 2 h 22"/>
                <a:gd name="T8" fmla="*/ 23 w 31"/>
                <a:gd name="T9" fmla="*/ 3 h 22"/>
                <a:gd name="T10" fmla="*/ 23 w 31"/>
                <a:gd name="T11" fmla="*/ 3 h 22"/>
                <a:gd name="T12" fmla="*/ 19 w 31"/>
                <a:gd name="T13" fmla="*/ 6 h 22"/>
                <a:gd name="T14" fmla="*/ 18 w 31"/>
                <a:gd name="T15" fmla="*/ 7 h 22"/>
                <a:gd name="T16" fmla="*/ 16 w 31"/>
                <a:gd name="T17" fmla="*/ 7 h 22"/>
                <a:gd name="T18" fmla="*/ 14 w 31"/>
                <a:gd name="T19" fmla="*/ 8 h 22"/>
                <a:gd name="T20" fmla="*/ 9 w 31"/>
                <a:gd name="T21" fmla="*/ 10 h 22"/>
                <a:gd name="T22" fmla="*/ 6 w 31"/>
                <a:gd name="T23" fmla="*/ 9 h 22"/>
                <a:gd name="T24" fmla="*/ 6 w 31"/>
                <a:gd name="T25" fmla="*/ 9 h 22"/>
                <a:gd name="T26" fmla="*/ 5 w 31"/>
                <a:gd name="T27" fmla="*/ 9 h 22"/>
                <a:gd name="T28" fmla="*/ 2 w 31"/>
                <a:gd name="T29" fmla="*/ 7 h 22"/>
                <a:gd name="T30" fmla="*/ 2 w 31"/>
                <a:gd name="T31" fmla="*/ 8 h 22"/>
                <a:gd name="T32" fmla="*/ 1 w 31"/>
                <a:gd name="T33" fmla="*/ 10 h 22"/>
                <a:gd name="T34" fmla="*/ 2 w 31"/>
                <a:gd name="T35" fmla="*/ 16 h 22"/>
                <a:gd name="T36" fmla="*/ 2 w 31"/>
                <a:gd name="T37" fmla="*/ 17 h 22"/>
                <a:gd name="T38" fmla="*/ 3 w 31"/>
                <a:gd name="T39" fmla="*/ 19 h 22"/>
                <a:gd name="T40" fmla="*/ 3 w 31"/>
                <a:gd name="T41" fmla="*/ 21 h 22"/>
                <a:gd name="T42" fmla="*/ 6 w 31"/>
                <a:gd name="T43" fmla="*/ 19 h 22"/>
                <a:gd name="T44" fmla="*/ 7 w 31"/>
                <a:gd name="T45" fmla="*/ 18 h 22"/>
                <a:gd name="T46" fmla="*/ 8 w 31"/>
                <a:gd name="T47" fmla="*/ 18 h 22"/>
                <a:gd name="T48" fmla="*/ 15 w 31"/>
                <a:gd name="T49" fmla="*/ 17 h 22"/>
                <a:gd name="T50" fmla="*/ 30 w 31"/>
                <a:gd name="T51" fmla="*/ 22 h 22"/>
                <a:gd name="T52" fmla="*/ 31 w 31"/>
                <a:gd name="T53" fmla="*/ 21 h 22"/>
                <a:gd name="T54" fmla="*/ 30 w 31"/>
                <a:gd name="T55" fmla="*/ 21 h 22"/>
                <a:gd name="T56" fmla="*/ 30 w 31"/>
                <a:gd name="T57" fmla="*/ 21 h 22"/>
                <a:gd name="T58" fmla="*/ 24 w 31"/>
                <a:gd name="T59" fmla="*/ 16 h 22"/>
                <a:gd name="T60" fmla="*/ 20 w 31"/>
                <a:gd name="T61" fmla="*/ 14 h 22"/>
                <a:gd name="T62" fmla="*/ 23 w 31"/>
                <a:gd name="T63" fmla="*/ 11 h 22"/>
                <a:gd name="T64" fmla="*/ 31 w 31"/>
                <a:gd name="T65" fmla="*/ 5 h 22"/>
                <a:gd name="T66" fmla="*/ 27 w 31"/>
                <a:gd name="T6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22">
                  <a:moveTo>
                    <a:pt x="27" y="0"/>
                  </a:moveTo>
                  <a:cubicBezTo>
                    <a:pt x="27" y="0"/>
                    <a:pt x="27" y="0"/>
                    <a:pt x="27" y="0"/>
                  </a:cubicBezTo>
                  <a:cubicBezTo>
                    <a:pt x="26" y="1"/>
                    <a:pt x="26" y="1"/>
                    <a:pt x="26" y="1"/>
                  </a:cubicBezTo>
                  <a:cubicBezTo>
                    <a:pt x="26" y="1"/>
                    <a:pt x="25" y="1"/>
                    <a:pt x="25" y="2"/>
                  </a:cubicBezTo>
                  <a:cubicBezTo>
                    <a:pt x="24" y="2"/>
                    <a:pt x="24" y="2"/>
                    <a:pt x="23" y="3"/>
                  </a:cubicBezTo>
                  <a:cubicBezTo>
                    <a:pt x="23" y="3"/>
                    <a:pt x="23" y="3"/>
                    <a:pt x="23" y="3"/>
                  </a:cubicBezTo>
                  <a:cubicBezTo>
                    <a:pt x="21" y="4"/>
                    <a:pt x="20" y="5"/>
                    <a:pt x="19" y="6"/>
                  </a:cubicBezTo>
                  <a:cubicBezTo>
                    <a:pt x="18" y="7"/>
                    <a:pt x="18" y="7"/>
                    <a:pt x="18" y="7"/>
                  </a:cubicBezTo>
                  <a:cubicBezTo>
                    <a:pt x="17" y="7"/>
                    <a:pt x="17" y="7"/>
                    <a:pt x="16" y="7"/>
                  </a:cubicBezTo>
                  <a:cubicBezTo>
                    <a:pt x="16" y="7"/>
                    <a:pt x="15" y="8"/>
                    <a:pt x="14" y="8"/>
                  </a:cubicBezTo>
                  <a:cubicBezTo>
                    <a:pt x="13" y="9"/>
                    <a:pt x="11" y="10"/>
                    <a:pt x="9" y="10"/>
                  </a:cubicBezTo>
                  <a:cubicBezTo>
                    <a:pt x="8" y="10"/>
                    <a:pt x="7" y="10"/>
                    <a:pt x="6" y="9"/>
                  </a:cubicBezTo>
                  <a:cubicBezTo>
                    <a:pt x="6" y="9"/>
                    <a:pt x="6" y="9"/>
                    <a:pt x="6" y="9"/>
                  </a:cubicBezTo>
                  <a:cubicBezTo>
                    <a:pt x="5" y="9"/>
                    <a:pt x="5" y="9"/>
                    <a:pt x="5" y="9"/>
                  </a:cubicBezTo>
                  <a:cubicBezTo>
                    <a:pt x="4" y="8"/>
                    <a:pt x="3" y="8"/>
                    <a:pt x="2" y="7"/>
                  </a:cubicBezTo>
                  <a:cubicBezTo>
                    <a:pt x="2" y="8"/>
                    <a:pt x="2" y="8"/>
                    <a:pt x="2" y="8"/>
                  </a:cubicBezTo>
                  <a:cubicBezTo>
                    <a:pt x="1" y="9"/>
                    <a:pt x="1" y="10"/>
                    <a:pt x="1" y="10"/>
                  </a:cubicBezTo>
                  <a:cubicBezTo>
                    <a:pt x="0" y="11"/>
                    <a:pt x="1" y="14"/>
                    <a:pt x="2" y="16"/>
                  </a:cubicBezTo>
                  <a:cubicBezTo>
                    <a:pt x="2" y="17"/>
                    <a:pt x="2" y="17"/>
                    <a:pt x="2" y="17"/>
                  </a:cubicBezTo>
                  <a:cubicBezTo>
                    <a:pt x="2" y="17"/>
                    <a:pt x="2" y="18"/>
                    <a:pt x="3" y="19"/>
                  </a:cubicBezTo>
                  <a:cubicBezTo>
                    <a:pt x="3" y="21"/>
                    <a:pt x="3" y="21"/>
                    <a:pt x="3" y="21"/>
                  </a:cubicBezTo>
                  <a:cubicBezTo>
                    <a:pt x="4" y="20"/>
                    <a:pt x="5" y="19"/>
                    <a:pt x="6" y="19"/>
                  </a:cubicBezTo>
                  <a:cubicBezTo>
                    <a:pt x="6" y="19"/>
                    <a:pt x="7" y="19"/>
                    <a:pt x="7" y="18"/>
                  </a:cubicBezTo>
                  <a:cubicBezTo>
                    <a:pt x="8" y="18"/>
                    <a:pt x="8" y="18"/>
                    <a:pt x="8" y="18"/>
                  </a:cubicBezTo>
                  <a:cubicBezTo>
                    <a:pt x="11" y="17"/>
                    <a:pt x="13" y="17"/>
                    <a:pt x="15" y="17"/>
                  </a:cubicBezTo>
                  <a:cubicBezTo>
                    <a:pt x="20" y="17"/>
                    <a:pt x="27" y="20"/>
                    <a:pt x="30" y="22"/>
                  </a:cubicBezTo>
                  <a:cubicBezTo>
                    <a:pt x="31" y="21"/>
                    <a:pt x="31" y="21"/>
                    <a:pt x="31" y="21"/>
                  </a:cubicBezTo>
                  <a:cubicBezTo>
                    <a:pt x="30" y="21"/>
                    <a:pt x="30" y="21"/>
                    <a:pt x="30" y="21"/>
                  </a:cubicBezTo>
                  <a:cubicBezTo>
                    <a:pt x="30" y="21"/>
                    <a:pt x="30" y="21"/>
                    <a:pt x="30" y="21"/>
                  </a:cubicBezTo>
                  <a:cubicBezTo>
                    <a:pt x="28" y="19"/>
                    <a:pt x="26" y="18"/>
                    <a:pt x="24" y="16"/>
                  </a:cubicBezTo>
                  <a:cubicBezTo>
                    <a:pt x="20" y="14"/>
                    <a:pt x="20" y="14"/>
                    <a:pt x="20" y="14"/>
                  </a:cubicBezTo>
                  <a:cubicBezTo>
                    <a:pt x="23" y="11"/>
                    <a:pt x="23" y="11"/>
                    <a:pt x="23" y="11"/>
                  </a:cubicBezTo>
                  <a:cubicBezTo>
                    <a:pt x="25" y="9"/>
                    <a:pt x="28" y="7"/>
                    <a:pt x="31" y="5"/>
                  </a:cubicBez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5" name="Freeform 294">
              <a:extLst>
                <a:ext uri="{FF2B5EF4-FFF2-40B4-BE49-F238E27FC236}">
                  <a16:creationId xmlns:a16="http://schemas.microsoft.com/office/drawing/2014/main" id="{BB82E3D3-9FB6-4792-B3CA-4C139F428803}"/>
                </a:ext>
              </a:extLst>
            </p:cNvPr>
            <p:cNvSpPr>
              <a:spLocks noEditPoints="1"/>
            </p:cNvSpPr>
            <p:nvPr/>
          </p:nvSpPr>
          <p:spPr bwMode="auto">
            <a:xfrm>
              <a:off x="7522" y="228"/>
              <a:ext cx="156" cy="220"/>
            </a:xfrm>
            <a:custGeom>
              <a:avLst/>
              <a:gdLst>
                <a:gd name="T0" fmla="*/ 65 w 66"/>
                <a:gd name="T1" fmla="*/ 65 h 93"/>
                <a:gd name="T2" fmla="*/ 61 w 66"/>
                <a:gd name="T3" fmla="*/ 70 h 93"/>
                <a:gd name="T4" fmla="*/ 54 w 66"/>
                <a:gd name="T5" fmla="*/ 72 h 93"/>
                <a:gd name="T6" fmla="*/ 47 w 66"/>
                <a:gd name="T7" fmla="*/ 70 h 93"/>
                <a:gd name="T8" fmla="*/ 45 w 66"/>
                <a:gd name="T9" fmla="*/ 69 h 93"/>
                <a:gd name="T10" fmla="*/ 44 w 66"/>
                <a:gd name="T11" fmla="*/ 69 h 93"/>
                <a:gd name="T12" fmla="*/ 42 w 66"/>
                <a:gd name="T13" fmla="*/ 69 h 93"/>
                <a:gd name="T14" fmla="*/ 39 w 66"/>
                <a:gd name="T15" fmla="*/ 69 h 93"/>
                <a:gd name="T16" fmla="*/ 37 w 66"/>
                <a:gd name="T17" fmla="*/ 70 h 93"/>
                <a:gd name="T18" fmla="*/ 34 w 66"/>
                <a:gd name="T19" fmla="*/ 73 h 93"/>
                <a:gd name="T20" fmla="*/ 32 w 66"/>
                <a:gd name="T21" fmla="*/ 74 h 93"/>
                <a:gd name="T22" fmla="*/ 31 w 66"/>
                <a:gd name="T23" fmla="*/ 75 h 93"/>
                <a:gd name="T24" fmla="*/ 29 w 66"/>
                <a:gd name="T25" fmla="*/ 76 h 93"/>
                <a:gd name="T26" fmla="*/ 28 w 66"/>
                <a:gd name="T27" fmla="*/ 77 h 93"/>
                <a:gd name="T28" fmla="*/ 28 w 66"/>
                <a:gd name="T29" fmla="*/ 78 h 93"/>
                <a:gd name="T30" fmla="*/ 27 w 66"/>
                <a:gd name="T31" fmla="*/ 78 h 93"/>
                <a:gd name="T32" fmla="*/ 22 w 66"/>
                <a:gd name="T33" fmla="*/ 79 h 93"/>
                <a:gd name="T34" fmla="*/ 22 w 66"/>
                <a:gd name="T35" fmla="*/ 75 h 93"/>
                <a:gd name="T36" fmla="*/ 7 w 66"/>
                <a:gd name="T37" fmla="*/ 73 h 93"/>
                <a:gd name="T38" fmla="*/ 4 w 66"/>
                <a:gd name="T39" fmla="*/ 74 h 93"/>
                <a:gd name="T40" fmla="*/ 3 w 66"/>
                <a:gd name="T41" fmla="*/ 76 h 93"/>
                <a:gd name="T42" fmla="*/ 0 w 66"/>
                <a:gd name="T43" fmla="*/ 80 h 93"/>
                <a:gd name="T44" fmla="*/ 13 w 66"/>
                <a:gd name="T45" fmla="*/ 84 h 93"/>
                <a:gd name="T46" fmla="*/ 37 w 66"/>
                <a:gd name="T47" fmla="*/ 87 h 93"/>
                <a:gd name="T48" fmla="*/ 38 w 66"/>
                <a:gd name="T49" fmla="*/ 87 h 93"/>
                <a:gd name="T50" fmla="*/ 45 w 66"/>
                <a:gd name="T51" fmla="*/ 84 h 93"/>
                <a:gd name="T52" fmla="*/ 51 w 66"/>
                <a:gd name="T53" fmla="*/ 81 h 93"/>
                <a:gd name="T54" fmla="*/ 52 w 66"/>
                <a:gd name="T55" fmla="*/ 86 h 93"/>
                <a:gd name="T56" fmla="*/ 58 w 66"/>
                <a:gd name="T57" fmla="*/ 91 h 93"/>
                <a:gd name="T58" fmla="*/ 66 w 66"/>
                <a:gd name="T59" fmla="*/ 93 h 93"/>
                <a:gd name="T60" fmla="*/ 66 w 66"/>
                <a:gd name="T61" fmla="*/ 65 h 93"/>
                <a:gd name="T62" fmla="*/ 63 w 66"/>
                <a:gd name="T63" fmla="*/ 0 h 93"/>
                <a:gd name="T64" fmla="*/ 51 w 66"/>
                <a:gd name="T65" fmla="*/ 0 h 93"/>
                <a:gd name="T66" fmla="*/ 48 w 66"/>
                <a:gd name="T67" fmla="*/ 0 h 93"/>
                <a:gd name="T68" fmla="*/ 47 w 66"/>
                <a:gd name="T69" fmla="*/ 0 h 93"/>
                <a:gd name="T70" fmla="*/ 44 w 66"/>
                <a:gd name="T71" fmla="*/ 3 h 93"/>
                <a:gd name="T72" fmla="*/ 44 w 66"/>
                <a:gd name="T73" fmla="*/ 3 h 93"/>
                <a:gd name="T74" fmla="*/ 41 w 66"/>
                <a:gd name="T75" fmla="*/ 6 h 93"/>
                <a:gd name="T76" fmla="*/ 39 w 66"/>
                <a:gd name="T77" fmla="*/ 9 h 93"/>
                <a:gd name="T78" fmla="*/ 42 w 66"/>
                <a:gd name="T79" fmla="*/ 9 h 93"/>
                <a:gd name="T80" fmla="*/ 51 w 66"/>
                <a:gd name="T81" fmla="*/ 11 h 93"/>
                <a:gd name="T82" fmla="*/ 23 w 66"/>
                <a:gd name="T83" fmla="*/ 30 h 93"/>
                <a:gd name="T84" fmla="*/ 24 w 66"/>
                <a:gd name="T85" fmla="*/ 30 h 93"/>
                <a:gd name="T86" fmla="*/ 26 w 66"/>
                <a:gd name="T87" fmla="*/ 31 h 93"/>
                <a:gd name="T88" fmla="*/ 32 w 66"/>
                <a:gd name="T89" fmla="*/ 32 h 93"/>
                <a:gd name="T90" fmla="*/ 34 w 66"/>
                <a:gd name="T91" fmla="*/ 37 h 93"/>
                <a:gd name="T92" fmla="*/ 44 w 66"/>
                <a:gd name="T93" fmla="*/ 39 h 93"/>
                <a:gd name="T94" fmla="*/ 46 w 66"/>
                <a:gd name="T95" fmla="*/ 32 h 93"/>
                <a:gd name="T96" fmla="*/ 49 w 66"/>
                <a:gd name="T97" fmla="*/ 29 h 93"/>
                <a:gd name="T98" fmla="*/ 61 w 66"/>
                <a:gd name="T99" fmla="*/ 37 h 93"/>
                <a:gd name="T100" fmla="*/ 61 w 66"/>
                <a:gd name="T101" fmla="*/ 38 h 93"/>
                <a:gd name="T102" fmla="*/ 66 w 66"/>
                <a:gd name="T103" fmla="*/ 38 h 93"/>
                <a:gd name="T104" fmla="*/ 66 w 66"/>
                <a:gd name="T105" fmla="*/ 0 h 93"/>
                <a:gd name="T106" fmla="*/ 63 w 66"/>
                <a:gd name="T10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 h="93">
                  <a:moveTo>
                    <a:pt x="65" y="65"/>
                  </a:moveTo>
                  <a:cubicBezTo>
                    <a:pt x="65" y="65"/>
                    <a:pt x="65" y="65"/>
                    <a:pt x="65" y="65"/>
                  </a:cubicBezTo>
                  <a:cubicBezTo>
                    <a:pt x="64" y="66"/>
                    <a:pt x="64" y="66"/>
                    <a:pt x="64" y="66"/>
                  </a:cubicBezTo>
                  <a:cubicBezTo>
                    <a:pt x="64" y="68"/>
                    <a:pt x="63" y="69"/>
                    <a:pt x="61" y="70"/>
                  </a:cubicBezTo>
                  <a:cubicBezTo>
                    <a:pt x="60" y="71"/>
                    <a:pt x="60" y="71"/>
                    <a:pt x="60" y="71"/>
                  </a:cubicBezTo>
                  <a:cubicBezTo>
                    <a:pt x="58" y="71"/>
                    <a:pt x="56" y="72"/>
                    <a:pt x="54" y="72"/>
                  </a:cubicBezTo>
                  <a:cubicBezTo>
                    <a:pt x="53" y="72"/>
                    <a:pt x="51" y="72"/>
                    <a:pt x="50" y="71"/>
                  </a:cubicBezTo>
                  <a:cubicBezTo>
                    <a:pt x="49" y="70"/>
                    <a:pt x="48" y="70"/>
                    <a:pt x="47" y="70"/>
                  </a:cubicBezTo>
                  <a:cubicBezTo>
                    <a:pt x="46" y="69"/>
                    <a:pt x="46" y="69"/>
                    <a:pt x="46" y="69"/>
                  </a:cubicBezTo>
                  <a:cubicBezTo>
                    <a:pt x="46" y="69"/>
                    <a:pt x="45" y="69"/>
                    <a:pt x="45" y="69"/>
                  </a:cubicBezTo>
                  <a:cubicBezTo>
                    <a:pt x="45" y="69"/>
                    <a:pt x="45" y="69"/>
                    <a:pt x="45" y="69"/>
                  </a:cubicBezTo>
                  <a:cubicBezTo>
                    <a:pt x="45" y="69"/>
                    <a:pt x="44" y="69"/>
                    <a:pt x="44" y="69"/>
                  </a:cubicBezTo>
                  <a:cubicBezTo>
                    <a:pt x="44" y="69"/>
                    <a:pt x="44" y="69"/>
                    <a:pt x="44" y="69"/>
                  </a:cubicBezTo>
                  <a:cubicBezTo>
                    <a:pt x="43" y="69"/>
                    <a:pt x="42" y="69"/>
                    <a:pt x="42" y="69"/>
                  </a:cubicBezTo>
                  <a:cubicBezTo>
                    <a:pt x="41" y="69"/>
                    <a:pt x="40" y="69"/>
                    <a:pt x="40" y="69"/>
                  </a:cubicBezTo>
                  <a:cubicBezTo>
                    <a:pt x="39" y="69"/>
                    <a:pt x="39" y="69"/>
                    <a:pt x="39" y="69"/>
                  </a:cubicBezTo>
                  <a:cubicBezTo>
                    <a:pt x="38" y="70"/>
                    <a:pt x="38" y="70"/>
                    <a:pt x="38" y="70"/>
                  </a:cubicBezTo>
                  <a:cubicBezTo>
                    <a:pt x="37" y="70"/>
                    <a:pt x="37" y="70"/>
                    <a:pt x="37" y="70"/>
                  </a:cubicBezTo>
                  <a:cubicBezTo>
                    <a:pt x="35" y="72"/>
                    <a:pt x="35" y="72"/>
                    <a:pt x="35" y="72"/>
                  </a:cubicBezTo>
                  <a:cubicBezTo>
                    <a:pt x="34" y="73"/>
                    <a:pt x="34" y="73"/>
                    <a:pt x="34" y="73"/>
                  </a:cubicBezTo>
                  <a:cubicBezTo>
                    <a:pt x="34" y="73"/>
                    <a:pt x="34" y="73"/>
                    <a:pt x="34" y="73"/>
                  </a:cubicBezTo>
                  <a:cubicBezTo>
                    <a:pt x="33" y="73"/>
                    <a:pt x="33" y="74"/>
                    <a:pt x="32" y="74"/>
                  </a:cubicBezTo>
                  <a:cubicBezTo>
                    <a:pt x="32" y="75"/>
                    <a:pt x="32" y="75"/>
                    <a:pt x="32" y="75"/>
                  </a:cubicBezTo>
                  <a:cubicBezTo>
                    <a:pt x="31" y="75"/>
                    <a:pt x="31" y="75"/>
                    <a:pt x="31" y="75"/>
                  </a:cubicBezTo>
                  <a:cubicBezTo>
                    <a:pt x="30" y="76"/>
                    <a:pt x="30" y="76"/>
                    <a:pt x="30" y="76"/>
                  </a:cubicBezTo>
                  <a:cubicBezTo>
                    <a:pt x="29" y="76"/>
                    <a:pt x="29" y="76"/>
                    <a:pt x="29" y="76"/>
                  </a:cubicBezTo>
                  <a:cubicBezTo>
                    <a:pt x="29" y="77"/>
                    <a:pt x="29" y="77"/>
                    <a:pt x="29" y="77"/>
                  </a:cubicBezTo>
                  <a:cubicBezTo>
                    <a:pt x="28" y="77"/>
                    <a:pt x="28" y="77"/>
                    <a:pt x="28" y="77"/>
                  </a:cubicBezTo>
                  <a:cubicBezTo>
                    <a:pt x="28" y="78"/>
                    <a:pt x="28" y="78"/>
                    <a:pt x="28" y="78"/>
                  </a:cubicBezTo>
                  <a:cubicBezTo>
                    <a:pt x="28" y="78"/>
                    <a:pt x="28" y="78"/>
                    <a:pt x="28" y="78"/>
                  </a:cubicBezTo>
                  <a:cubicBezTo>
                    <a:pt x="27" y="78"/>
                    <a:pt x="27" y="78"/>
                    <a:pt x="27" y="78"/>
                  </a:cubicBezTo>
                  <a:cubicBezTo>
                    <a:pt x="27" y="78"/>
                    <a:pt x="27" y="78"/>
                    <a:pt x="27" y="78"/>
                  </a:cubicBezTo>
                  <a:cubicBezTo>
                    <a:pt x="26" y="79"/>
                    <a:pt x="25" y="79"/>
                    <a:pt x="24" y="79"/>
                  </a:cubicBezTo>
                  <a:cubicBezTo>
                    <a:pt x="22" y="79"/>
                    <a:pt x="22" y="79"/>
                    <a:pt x="22" y="79"/>
                  </a:cubicBezTo>
                  <a:cubicBezTo>
                    <a:pt x="21" y="76"/>
                    <a:pt x="21" y="76"/>
                    <a:pt x="21" y="76"/>
                  </a:cubicBezTo>
                  <a:cubicBezTo>
                    <a:pt x="21" y="76"/>
                    <a:pt x="21" y="75"/>
                    <a:pt x="22" y="75"/>
                  </a:cubicBezTo>
                  <a:cubicBezTo>
                    <a:pt x="18" y="73"/>
                    <a:pt x="14" y="71"/>
                    <a:pt x="12" y="71"/>
                  </a:cubicBezTo>
                  <a:cubicBezTo>
                    <a:pt x="11" y="71"/>
                    <a:pt x="9" y="72"/>
                    <a:pt x="7" y="73"/>
                  </a:cubicBezTo>
                  <a:cubicBezTo>
                    <a:pt x="7" y="73"/>
                    <a:pt x="7" y="73"/>
                    <a:pt x="7" y="73"/>
                  </a:cubicBezTo>
                  <a:cubicBezTo>
                    <a:pt x="6" y="73"/>
                    <a:pt x="5" y="73"/>
                    <a:pt x="4" y="74"/>
                  </a:cubicBezTo>
                  <a:cubicBezTo>
                    <a:pt x="4" y="74"/>
                    <a:pt x="4" y="74"/>
                    <a:pt x="4" y="74"/>
                  </a:cubicBezTo>
                  <a:cubicBezTo>
                    <a:pt x="4" y="74"/>
                    <a:pt x="4" y="74"/>
                    <a:pt x="3" y="76"/>
                  </a:cubicBezTo>
                  <a:cubicBezTo>
                    <a:pt x="2" y="77"/>
                    <a:pt x="2" y="77"/>
                    <a:pt x="2" y="78"/>
                  </a:cubicBezTo>
                  <a:cubicBezTo>
                    <a:pt x="0" y="80"/>
                    <a:pt x="0" y="80"/>
                    <a:pt x="0" y="80"/>
                  </a:cubicBezTo>
                  <a:cubicBezTo>
                    <a:pt x="0" y="84"/>
                    <a:pt x="0" y="84"/>
                    <a:pt x="0" y="84"/>
                  </a:cubicBezTo>
                  <a:cubicBezTo>
                    <a:pt x="4" y="84"/>
                    <a:pt x="8" y="84"/>
                    <a:pt x="13" y="84"/>
                  </a:cubicBezTo>
                  <a:cubicBezTo>
                    <a:pt x="17" y="84"/>
                    <a:pt x="21" y="84"/>
                    <a:pt x="25" y="84"/>
                  </a:cubicBezTo>
                  <a:cubicBezTo>
                    <a:pt x="29" y="85"/>
                    <a:pt x="33" y="86"/>
                    <a:pt x="37" y="87"/>
                  </a:cubicBezTo>
                  <a:cubicBezTo>
                    <a:pt x="38" y="83"/>
                    <a:pt x="38" y="83"/>
                    <a:pt x="38" y="83"/>
                  </a:cubicBezTo>
                  <a:cubicBezTo>
                    <a:pt x="38" y="87"/>
                    <a:pt x="38" y="87"/>
                    <a:pt x="38" y="87"/>
                  </a:cubicBezTo>
                  <a:cubicBezTo>
                    <a:pt x="39" y="87"/>
                    <a:pt x="43" y="85"/>
                    <a:pt x="44" y="84"/>
                  </a:cubicBezTo>
                  <a:cubicBezTo>
                    <a:pt x="45" y="84"/>
                    <a:pt x="45" y="84"/>
                    <a:pt x="45" y="84"/>
                  </a:cubicBezTo>
                  <a:cubicBezTo>
                    <a:pt x="46" y="83"/>
                    <a:pt x="47" y="83"/>
                    <a:pt x="48" y="83"/>
                  </a:cubicBezTo>
                  <a:cubicBezTo>
                    <a:pt x="51" y="81"/>
                    <a:pt x="51" y="81"/>
                    <a:pt x="51" y="81"/>
                  </a:cubicBezTo>
                  <a:cubicBezTo>
                    <a:pt x="52" y="86"/>
                    <a:pt x="52" y="86"/>
                    <a:pt x="52" y="86"/>
                  </a:cubicBezTo>
                  <a:cubicBezTo>
                    <a:pt x="52" y="86"/>
                    <a:pt x="52" y="86"/>
                    <a:pt x="52" y="86"/>
                  </a:cubicBezTo>
                  <a:cubicBezTo>
                    <a:pt x="57" y="86"/>
                    <a:pt x="57" y="90"/>
                    <a:pt x="58" y="91"/>
                  </a:cubicBezTo>
                  <a:cubicBezTo>
                    <a:pt x="58" y="91"/>
                    <a:pt x="58" y="91"/>
                    <a:pt x="58" y="91"/>
                  </a:cubicBezTo>
                  <a:cubicBezTo>
                    <a:pt x="59" y="91"/>
                    <a:pt x="59" y="91"/>
                    <a:pt x="59" y="91"/>
                  </a:cubicBezTo>
                  <a:cubicBezTo>
                    <a:pt x="62" y="92"/>
                    <a:pt x="64" y="92"/>
                    <a:pt x="66" y="93"/>
                  </a:cubicBezTo>
                  <a:cubicBezTo>
                    <a:pt x="66" y="93"/>
                    <a:pt x="66" y="93"/>
                    <a:pt x="66" y="93"/>
                  </a:cubicBezTo>
                  <a:cubicBezTo>
                    <a:pt x="66" y="65"/>
                    <a:pt x="66" y="65"/>
                    <a:pt x="66" y="65"/>
                  </a:cubicBezTo>
                  <a:cubicBezTo>
                    <a:pt x="65" y="65"/>
                    <a:pt x="65" y="65"/>
                    <a:pt x="65" y="65"/>
                  </a:cubicBezTo>
                  <a:moveTo>
                    <a:pt x="63" y="0"/>
                  </a:moveTo>
                  <a:cubicBezTo>
                    <a:pt x="51" y="0"/>
                    <a:pt x="51" y="0"/>
                    <a:pt x="51" y="0"/>
                  </a:cubicBezTo>
                  <a:cubicBezTo>
                    <a:pt x="51" y="0"/>
                    <a:pt x="51" y="0"/>
                    <a:pt x="51" y="0"/>
                  </a:cubicBezTo>
                  <a:cubicBezTo>
                    <a:pt x="51" y="0"/>
                    <a:pt x="50" y="0"/>
                    <a:pt x="50" y="0"/>
                  </a:cubicBezTo>
                  <a:cubicBezTo>
                    <a:pt x="49" y="0"/>
                    <a:pt x="48" y="0"/>
                    <a:pt x="48" y="0"/>
                  </a:cubicBezTo>
                  <a:cubicBezTo>
                    <a:pt x="47" y="0"/>
                    <a:pt x="47" y="0"/>
                    <a:pt x="47" y="0"/>
                  </a:cubicBezTo>
                  <a:cubicBezTo>
                    <a:pt x="47" y="0"/>
                    <a:pt x="47" y="0"/>
                    <a:pt x="47" y="0"/>
                  </a:cubicBezTo>
                  <a:cubicBezTo>
                    <a:pt x="46" y="0"/>
                    <a:pt x="46" y="0"/>
                    <a:pt x="46" y="0"/>
                  </a:cubicBezTo>
                  <a:cubicBezTo>
                    <a:pt x="45" y="1"/>
                    <a:pt x="45" y="2"/>
                    <a:pt x="44" y="3"/>
                  </a:cubicBezTo>
                  <a:cubicBezTo>
                    <a:pt x="43" y="2"/>
                    <a:pt x="43" y="2"/>
                    <a:pt x="43" y="2"/>
                  </a:cubicBezTo>
                  <a:cubicBezTo>
                    <a:pt x="44" y="3"/>
                    <a:pt x="44" y="3"/>
                    <a:pt x="44" y="3"/>
                  </a:cubicBezTo>
                  <a:cubicBezTo>
                    <a:pt x="43" y="3"/>
                    <a:pt x="43" y="4"/>
                    <a:pt x="43" y="4"/>
                  </a:cubicBezTo>
                  <a:cubicBezTo>
                    <a:pt x="41" y="6"/>
                    <a:pt x="41" y="6"/>
                    <a:pt x="41" y="6"/>
                  </a:cubicBezTo>
                  <a:cubicBezTo>
                    <a:pt x="40" y="7"/>
                    <a:pt x="39" y="8"/>
                    <a:pt x="38" y="8"/>
                  </a:cubicBezTo>
                  <a:cubicBezTo>
                    <a:pt x="39" y="9"/>
                    <a:pt x="39" y="9"/>
                    <a:pt x="39" y="9"/>
                  </a:cubicBezTo>
                  <a:cubicBezTo>
                    <a:pt x="39" y="9"/>
                    <a:pt x="39" y="9"/>
                    <a:pt x="39" y="9"/>
                  </a:cubicBezTo>
                  <a:cubicBezTo>
                    <a:pt x="39" y="9"/>
                    <a:pt x="40" y="9"/>
                    <a:pt x="42" y="9"/>
                  </a:cubicBezTo>
                  <a:cubicBezTo>
                    <a:pt x="43" y="9"/>
                    <a:pt x="43" y="9"/>
                    <a:pt x="44" y="10"/>
                  </a:cubicBezTo>
                  <a:cubicBezTo>
                    <a:pt x="51" y="11"/>
                    <a:pt x="51" y="11"/>
                    <a:pt x="51" y="11"/>
                  </a:cubicBezTo>
                  <a:cubicBezTo>
                    <a:pt x="41" y="17"/>
                    <a:pt x="41" y="17"/>
                    <a:pt x="41" y="17"/>
                  </a:cubicBezTo>
                  <a:cubicBezTo>
                    <a:pt x="38" y="19"/>
                    <a:pt x="28" y="26"/>
                    <a:pt x="23" y="30"/>
                  </a:cubicBezTo>
                  <a:cubicBezTo>
                    <a:pt x="23" y="30"/>
                    <a:pt x="23" y="30"/>
                    <a:pt x="23" y="30"/>
                  </a:cubicBezTo>
                  <a:cubicBezTo>
                    <a:pt x="23" y="30"/>
                    <a:pt x="23" y="30"/>
                    <a:pt x="24" y="30"/>
                  </a:cubicBezTo>
                  <a:cubicBezTo>
                    <a:pt x="24" y="30"/>
                    <a:pt x="24" y="30"/>
                    <a:pt x="24" y="30"/>
                  </a:cubicBezTo>
                  <a:cubicBezTo>
                    <a:pt x="25" y="31"/>
                    <a:pt x="25" y="31"/>
                    <a:pt x="26" y="31"/>
                  </a:cubicBezTo>
                  <a:cubicBezTo>
                    <a:pt x="31" y="29"/>
                    <a:pt x="31" y="29"/>
                    <a:pt x="31" y="29"/>
                  </a:cubicBezTo>
                  <a:cubicBezTo>
                    <a:pt x="32" y="32"/>
                    <a:pt x="32" y="32"/>
                    <a:pt x="32" y="32"/>
                  </a:cubicBezTo>
                  <a:cubicBezTo>
                    <a:pt x="33" y="33"/>
                    <a:pt x="33" y="33"/>
                    <a:pt x="33" y="34"/>
                  </a:cubicBezTo>
                  <a:cubicBezTo>
                    <a:pt x="33" y="36"/>
                    <a:pt x="34" y="36"/>
                    <a:pt x="34" y="37"/>
                  </a:cubicBezTo>
                  <a:cubicBezTo>
                    <a:pt x="35" y="37"/>
                    <a:pt x="35" y="37"/>
                    <a:pt x="35" y="37"/>
                  </a:cubicBezTo>
                  <a:cubicBezTo>
                    <a:pt x="38" y="38"/>
                    <a:pt x="41" y="39"/>
                    <a:pt x="44" y="39"/>
                  </a:cubicBezTo>
                  <a:cubicBezTo>
                    <a:pt x="44" y="38"/>
                    <a:pt x="44" y="37"/>
                    <a:pt x="45" y="36"/>
                  </a:cubicBezTo>
                  <a:cubicBezTo>
                    <a:pt x="46" y="32"/>
                    <a:pt x="46" y="32"/>
                    <a:pt x="46" y="32"/>
                  </a:cubicBezTo>
                  <a:cubicBezTo>
                    <a:pt x="48" y="34"/>
                    <a:pt x="48" y="34"/>
                    <a:pt x="48" y="34"/>
                  </a:cubicBezTo>
                  <a:cubicBezTo>
                    <a:pt x="49" y="29"/>
                    <a:pt x="49" y="29"/>
                    <a:pt x="49" y="29"/>
                  </a:cubicBezTo>
                  <a:cubicBezTo>
                    <a:pt x="52" y="30"/>
                    <a:pt x="52" y="30"/>
                    <a:pt x="52" y="30"/>
                  </a:cubicBezTo>
                  <a:cubicBezTo>
                    <a:pt x="57" y="31"/>
                    <a:pt x="59" y="34"/>
                    <a:pt x="61" y="37"/>
                  </a:cubicBezTo>
                  <a:cubicBezTo>
                    <a:pt x="61" y="38"/>
                    <a:pt x="61" y="38"/>
                    <a:pt x="61" y="38"/>
                  </a:cubicBezTo>
                  <a:cubicBezTo>
                    <a:pt x="61" y="38"/>
                    <a:pt x="61" y="38"/>
                    <a:pt x="61" y="38"/>
                  </a:cubicBezTo>
                  <a:cubicBezTo>
                    <a:pt x="62" y="38"/>
                    <a:pt x="63" y="38"/>
                    <a:pt x="63" y="38"/>
                  </a:cubicBezTo>
                  <a:cubicBezTo>
                    <a:pt x="64" y="38"/>
                    <a:pt x="65" y="38"/>
                    <a:pt x="66" y="38"/>
                  </a:cubicBezTo>
                  <a:cubicBezTo>
                    <a:pt x="66" y="0"/>
                    <a:pt x="66" y="0"/>
                    <a:pt x="66" y="0"/>
                  </a:cubicBezTo>
                  <a:cubicBezTo>
                    <a:pt x="66" y="0"/>
                    <a:pt x="66" y="0"/>
                    <a:pt x="66" y="0"/>
                  </a:cubicBezTo>
                  <a:cubicBezTo>
                    <a:pt x="65" y="0"/>
                    <a:pt x="65" y="0"/>
                    <a:pt x="65" y="0"/>
                  </a:cubicBezTo>
                  <a:cubicBezTo>
                    <a:pt x="64" y="0"/>
                    <a:pt x="64"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6" name="Rectangle 295">
              <a:extLst>
                <a:ext uri="{FF2B5EF4-FFF2-40B4-BE49-F238E27FC236}">
                  <a16:creationId xmlns:a16="http://schemas.microsoft.com/office/drawing/2014/main" id="{ED68362A-759E-4846-945C-6084D2E97FFF}"/>
                </a:ext>
              </a:extLst>
            </p:cNvPr>
            <p:cNvSpPr>
              <a:spLocks noChangeArrowheads="1"/>
            </p:cNvSpPr>
            <p:nvPr/>
          </p:nvSpPr>
          <p:spPr bwMode="auto">
            <a:xfrm>
              <a:off x="7631" y="2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7" name="Rectangle 296">
              <a:extLst>
                <a:ext uri="{FF2B5EF4-FFF2-40B4-BE49-F238E27FC236}">
                  <a16:creationId xmlns:a16="http://schemas.microsoft.com/office/drawing/2014/main" id="{AD0B3DC6-C3E3-4C5C-814A-663B2A9D4615}"/>
                </a:ext>
              </a:extLst>
            </p:cNvPr>
            <p:cNvSpPr>
              <a:spLocks noChangeArrowheads="1"/>
            </p:cNvSpPr>
            <p:nvPr/>
          </p:nvSpPr>
          <p:spPr bwMode="auto">
            <a:xfrm>
              <a:off x="7631" y="22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8" name="Freeform 297">
              <a:extLst>
                <a:ext uri="{FF2B5EF4-FFF2-40B4-BE49-F238E27FC236}">
                  <a16:creationId xmlns:a16="http://schemas.microsoft.com/office/drawing/2014/main" id="{364F4164-0D6D-496D-A795-65090CF23383}"/>
                </a:ext>
              </a:extLst>
            </p:cNvPr>
            <p:cNvSpPr>
              <a:spLocks noEditPoints="1"/>
            </p:cNvSpPr>
            <p:nvPr/>
          </p:nvSpPr>
          <p:spPr bwMode="auto">
            <a:xfrm>
              <a:off x="6783" y="13"/>
              <a:ext cx="895" cy="567"/>
            </a:xfrm>
            <a:custGeom>
              <a:avLst/>
              <a:gdLst>
                <a:gd name="T0" fmla="*/ 75 w 379"/>
                <a:gd name="T1" fmla="*/ 11 h 240"/>
                <a:gd name="T2" fmla="*/ 67 w 379"/>
                <a:gd name="T3" fmla="*/ 1 h 240"/>
                <a:gd name="T4" fmla="*/ 62 w 379"/>
                <a:gd name="T5" fmla="*/ 9 h 240"/>
                <a:gd name="T6" fmla="*/ 60 w 379"/>
                <a:gd name="T7" fmla="*/ 25 h 240"/>
                <a:gd name="T8" fmla="*/ 61 w 379"/>
                <a:gd name="T9" fmla="*/ 32 h 240"/>
                <a:gd name="T10" fmla="*/ 52 w 379"/>
                <a:gd name="T11" fmla="*/ 41 h 240"/>
                <a:gd name="T12" fmla="*/ 57 w 379"/>
                <a:gd name="T13" fmla="*/ 10 h 240"/>
                <a:gd name="T14" fmla="*/ 0 w 379"/>
                <a:gd name="T15" fmla="*/ 25 h 240"/>
                <a:gd name="T16" fmla="*/ 9 w 379"/>
                <a:gd name="T17" fmla="*/ 126 h 240"/>
                <a:gd name="T18" fmla="*/ 19 w 379"/>
                <a:gd name="T19" fmla="*/ 125 h 240"/>
                <a:gd name="T20" fmla="*/ 33 w 379"/>
                <a:gd name="T21" fmla="*/ 103 h 240"/>
                <a:gd name="T22" fmla="*/ 50 w 379"/>
                <a:gd name="T23" fmla="*/ 93 h 240"/>
                <a:gd name="T24" fmla="*/ 67 w 379"/>
                <a:gd name="T25" fmla="*/ 91 h 240"/>
                <a:gd name="T26" fmla="*/ 84 w 379"/>
                <a:gd name="T27" fmla="*/ 98 h 240"/>
                <a:gd name="T28" fmla="*/ 99 w 379"/>
                <a:gd name="T29" fmla="*/ 118 h 240"/>
                <a:gd name="T30" fmla="*/ 99 w 379"/>
                <a:gd name="T31" fmla="*/ 126 h 240"/>
                <a:gd name="T32" fmla="*/ 120 w 379"/>
                <a:gd name="T33" fmla="*/ 130 h 240"/>
                <a:gd name="T34" fmla="*/ 145 w 379"/>
                <a:gd name="T35" fmla="*/ 149 h 240"/>
                <a:gd name="T36" fmla="*/ 157 w 379"/>
                <a:gd name="T37" fmla="*/ 167 h 240"/>
                <a:gd name="T38" fmla="*/ 206 w 379"/>
                <a:gd name="T39" fmla="*/ 199 h 240"/>
                <a:gd name="T40" fmla="*/ 226 w 379"/>
                <a:gd name="T41" fmla="*/ 211 h 240"/>
                <a:gd name="T42" fmla="*/ 251 w 379"/>
                <a:gd name="T43" fmla="*/ 222 h 240"/>
                <a:gd name="T44" fmla="*/ 255 w 379"/>
                <a:gd name="T45" fmla="*/ 235 h 240"/>
                <a:gd name="T46" fmla="*/ 268 w 379"/>
                <a:gd name="T47" fmla="*/ 240 h 240"/>
                <a:gd name="T48" fmla="*/ 273 w 379"/>
                <a:gd name="T49" fmla="*/ 234 h 240"/>
                <a:gd name="T50" fmla="*/ 284 w 379"/>
                <a:gd name="T51" fmla="*/ 214 h 240"/>
                <a:gd name="T52" fmla="*/ 276 w 379"/>
                <a:gd name="T53" fmla="*/ 195 h 240"/>
                <a:gd name="T54" fmla="*/ 268 w 379"/>
                <a:gd name="T55" fmla="*/ 175 h 240"/>
                <a:gd name="T56" fmla="*/ 289 w 379"/>
                <a:gd name="T57" fmla="*/ 175 h 240"/>
                <a:gd name="T58" fmla="*/ 303 w 379"/>
                <a:gd name="T59" fmla="*/ 156 h 240"/>
                <a:gd name="T60" fmla="*/ 311 w 379"/>
                <a:gd name="T61" fmla="*/ 141 h 240"/>
                <a:gd name="T62" fmla="*/ 319 w 379"/>
                <a:gd name="T63" fmla="*/ 144 h 240"/>
                <a:gd name="T64" fmla="*/ 329 w 379"/>
                <a:gd name="T65" fmla="*/ 139 h 240"/>
                <a:gd name="T66" fmla="*/ 347 w 379"/>
                <a:gd name="T67" fmla="*/ 147 h 240"/>
                <a:gd name="T68" fmla="*/ 351 w 379"/>
                <a:gd name="T69" fmla="*/ 155 h 240"/>
                <a:gd name="T70" fmla="*/ 370 w 379"/>
                <a:gd name="T71" fmla="*/ 157 h 240"/>
                <a:gd name="T72" fmla="*/ 377 w 379"/>
                <a:gd name="T73" fmla="*/ 150 h 240"/>
                <a:gd name="T74" fmla="*/ 375 w 379"/>
                <a:gd name="T75" fmla="*/ 137 h 240"/>
                <a:gd name="T76" fmla="*/ 367 w 379"/>
                <a:gd name="T77" fmla="*/ 128 h 240"/>
                <a:gd name="T78" fmla="*/ 363 w 379"/>
                <a:gd name="T79" fmla="*/ 137 h 240"/>
                <a:gd name="T80" fmla="*/ 341 w 379"/>
                <a:gd name="T81" fmla="*/ 128 h 240"/>
                <a:gd name="T82" fmla="*/ 330 w 379"/>
                <a:gd name="T83" fmla="*/ 126 h 240"/>
                <a:gd name="T84" fmla="*/ 311 w 379"/>
                <a:gd name="T85" fmla="*/ 128 h 240"/>
                <a:gd name="T86" fmla="*/ 297 w 379"/>
                <a:gd name="T87" fmla="*/ 142 h 240"/>
                <a:gd name="T88" fmla="*/ 292 w 379"/>
                <a:gd name="T89" fmla="*/ 151 h 240"/>
                <a:gd name="T90" fmla="*/ 278 w 379"/>
                <a:gd name="T91" fmla="*/ 140 h 240"/>
                <a:gd name="T92" fmla="*/ 273 w 379"/>
                <a:gd name="T93" fmla="*/ 135 h 240"/>
                <a:gd name="T94" fmla="*/ 245 w 379"/>
                <a:gd name="T95" fmla="*/ 127 h 240"/>
                <a:gd name="T96" fmla="*/ 237 w 379"/>
                <a:gd name="T97" fmla="*/ 112 h 240"/>
                <a:gd name="T98" fmla="*/ 231 w 379"/>
                <a:gd name="T99" fmla="*/ 94 h 240"/>
                <a:gd name="T100" fmla="*/ 224 w 379"/>
                <a:gd name="T101" fmla="*/ 80 h 240"/>
                <a:gd name="T102" fmla="*/ 204 w 379"/>
                <a:gd name="T103" fmla="*/ 64 h 240"/>
                <a:gd name="T104" fmla="*/ 181 w 379"/>
                <a:gd name="T105" fmla="*/ 66 h 240"/>
                <a:gd name="T106" fmla="*/ 135 w 379"/>
                <a:gd name="T107" fmla="*/ 67 h 240"/>
                <a:gd name="T108" fmla="*/ 94 w 379"/>
                <a:gd name="T109" fmla="*/ 31 h 240"/>
                <a:gd name="T110" fmla="*/ 84 w 379"/>
                <a:gd name="T111" fmla="*/ 50 h 240"/>
                <a:gd name="T112" fmla="*/ 79 w 379"/>
                <a:gd name="T113" fmla="*/ 19 h 240"/>
                <a:gd name="T114" fmla="*/ 77 w 379"/>
                <a:gd name="T115" fmla="*/ 1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9" h="240">
                  <a:moveTo>
                    <a:pt x="75" y="11"/>
                  </a:moveTo>
                  <a:cubicBezTo>
                    <a:pt x="75" y="11"/>
                    <a:pt x="75" y="11"/>
                    <a:pt x="75" y="11"/>
                  </a:cubicBezTo>
                  <a:cubicBezTo>
                    <a:pt x="75" y="11"/>
                    <a:pt x="75" y="11"/>
                    <a:pt x="75" y="11"/>
                  </a:cubicBezTo>
                  <a:cubicBezTo>
                    <a:pt x="75" y="11"/>
                    <a:pt x="75" y="11"/>
                    <a:pt x="75" y="11"/>
                  </a:cubicBezTo>
                  <a:moveTo>
                    <a:pt x="75" y="13"/>
                  </a:moveTo>
                  <a:cubicBezTo>
                    <a:pt x="75" y="13"/>
                    <a:pt x="75" y="13"/>
                    <a:pt x="75" y="13"/>
                  </a:cubicBezTo>
                  <a:cubicBezTo>
                    <a:pt x="75" y="12"/>
                    <a:pt x="75" y="10"/>
                    <a:pt x="75" y="8"/>
                  </a:cubicBezTo>
                  <a:cubicBezTo>
                    <a:pt x="77" y="9"/>
                    <a:pt x="75" y="9"/>
                    <a:pt x="75" y="11"/>
                  </a:cubicBezTo>
                  <a:cubicBezTo>
                    <a:pt x="75" y="11"/>
                    <a:pt x="75" y="11"/>
                    <a:pt x="75" y="12"/>
                  </a:cubicBezTo>
                  <a:cubicBezTo>
                    <a:pt x="75" y="13"/>
                    <a:pt x="75" y="13"/>
                    <a:pt x="75" y="13"/>
                  </a:cubicBezTo>
                  <a:moveTo>
                    <a:pt x="70" y="0"/>
                  </a:moveTo>
                  <a:cubicBezTo>
                    <a:pt x="69" y="0"/>
                    <a:pt x="69" y="1"/>
                    <a:pt x="69" y="2"/>
                  </a:cubicBezTo>
                  <a:cubicBezTo>
                    <a:pt x="69" y="3"/>
                    <a:pt x="69" y="4"/>
                    <a:pt x="68" y="4"/>
                  </a:cubicBezTo>
                  <a:cubicBezTo>
                    <a:pt x="68" y="4"/>
                    <a:pt x="68" y="4"/>
                    <a:pt x="68" y="4"/>
                  </a:cubicBezTo>
                  <a:cubicBezTo>
                    <a:pt x="67" y="3"/>
                    <a:pt x="69" y="1"/>
                    <a:pt x="68" y="1"/>
                  </a:cubicBezTo>
                  <a:cubicBezTo>
                    <a:pt x="68" y="1"/>
                    <a:pt x="68" y="1"/>
                    <a:pt x="67" y="1"/>
                  </a:cubicBezTo>
                  <a:cubicBezTo>
                    <a:pt x="66" y="1"/>
                    <a:pt x="67" y="4"/>
                    <a:pt x="67" y="4"/>
                  </a:cubicBezTo>
                  <a:cubicBezTo>
                    <a:pt x="67" y="6"/>
                    <a:pt x="65" y="7"/>
                    <a:pt x="64" y="8"/>
                  </a:cubicBezTo>
                  <a:cubicBezTo>
                    <a:pt x="64" y="8"/>
                    <a:pt x="64" y="8"/>
                    <a:pt x="64" y="8"/>
                  </a:cubicBezTo>
                  <a:cubicBezTo>
                    <a:pt x="62" y="9"/>
                    <a:pt x="62" y="9"/>
                    <a:pt x="62" y="9"/>
                  </a:cubicBezTo>
                  <a:cubicBezTo>
                    <a:pt x="62" y="9"/>
                    <a:pt x="62" y="9"/>
                    <a:pt x="62" y="9"/>
                  </a:cubicBezTo>
                  <a:cubicBezTo>
                    <a:pt x="62" y="9"/>
                    <a:pt x="62" y="9"/>
                    <a:pt x="62" y="9"/>
                  </a:cubicBezTo>
                  <a:cubicBezTo>
                    <a:pt x="62" y="9"/>
                    <a:pt x="62" y="9"/>
                    <a:pt x="62" y="9"/>
                  </a:cubicBezTo>
                  <a:cubicBezTo>
                    <a:pt x="62" y="9"/>
                    <a:pt x="62" y="9"/>
                    <a:pt x="62" y="9"/>
                  </a:cubicBezTo>
                  <a:cubicBezTo>
                    <a:pt x="62" y="9"/>
                    <a:pt x="62" y="9"/>
                    <a:pt x="62" y="9"/>
                  </a:cubicBezTo>
                  <a:cubicBezTo>
                    <a:pt x="61" y="11"/>
                    <a:pt x="61" y="11"/>
                    <a:pt x="61" y="11"/>
                  </a:cubicBezTo>
                  <a:cubicBezTo>
                    <a:pt x="61" y="11"/>
                    <a:pt x="61" y="11"/>
                    <a:pt x="61" y="11"/>
                  </a:cubicBezTo>
                  <a:cubicBezTo>
                    <a:pt x="60" y="13"/>
                    <a:pt x="60" y="14"/>
                    <a:pt x="60" y="16"/>
                  </a:cubicBezTo>
                  <a:cubicBezTo>
                    <a:pt x="61" y="17"/>
                    <a:pt x="62" y="18"/>
                    <a:pt x="62" y="19"/>
                  </a:cubicBezTo>
                  <a:cubicBezTo>
                    <a:pt x="62" y="20"/>
                    <a:pt x="60" y="21"/>
                    <a:pt x="59" y="22"/>
                  </a:cubicBezTo>
                  <a:cubicBezTo>
                    <a:pt x="59" y="23"/>
                    <a:pt x="58" y="25"/>
                    <a:pt x="59" y="25"/>
                  </a:cubicBezTo>
                  <a:cubicBezTo>
                    <a:pt x="60" y="25"/>
                    <a:pt x="60" y="25"/>
                    <a:pt x="60" y="25"/>
                  </a:cubicBezTo>
                  <a:cubicBezTo>
                    <a:pt x="61" y="24"/>
                    <a:pt x="63" y="23"/>
                    <a:pt x="63" y="23"/>
                  </a:cubicBezTo>
                  <a:cubicBezTo>
                    <a:pt x="63" y="23"/>
                    <a:pt x="63" y="23"/>
                    <a:pt x="62" y="24"/>
                  </a:cubicBezTo>
                  <a:cubicBezTo>
                    <a:pt x="63" y="25"/>
                    <a:pt x="62" y="25"/>
                    <a:pt x="61" y="26"/>
                  </a:cubicBezTo>
                  <a:cubicBezTo>
                    <a:pt x="61" y="26"/>
                    <a:pt x="61" y="27"/>
                    <a:pt x="61" y="28"/>
                  </a:cubicBezTo>
                  <a:cubicBezTo>
                    <a:pt x="61" y="31"/>
                    <a:pt x="63" y="30"/>
                    <a:pt x="63" y="32"/>
                  </a:cubicBezTo>
                  <a:cubicBezTo>
                    <a:pt x="63" y="32"/>
                    <a:pt x="63" y="32"/>
                    <a:pt x="62" y="32"/>
                  </a:cubicBezTo>
                  <a:cubicBezTo>
                    <a:pt x="62" y="32"/>
                    <a:pt x="62" y="32"/>
                    <a:pt x="62" y="32"/>
                  </a:cubicBezTo>
                  <a:cubicBezTo>
                    <a:pt x="61" y="32"/>
                    <a:pt x="61" y="32"/>
                    <a:pt x="61" y="32"/>
                  </a:cubicBezTo>
                  <a:cubicBezTo>
                    <a:pt x="61" y="32"/>
                    <a:pt x="61" y="32"/>
                    <a:pt x="60" y="32"/>
                  </a:cubicBezTo>
                  <a:cubicBezTo>
                    <a:pt x="60" y="32"/>
                    <a:pt x="59" y="31"/>
                    <a:pt x="59" y="31"/>
                  </a:cubicBezTo>
                  <a:cubicBezTo>
                    <a:pt x="58" y="31"/>
                    <a:pt x="58" y="31"/>
                    <a:pt x="58" y="32"/>
                  </a:cubicBezTo>
                  <a:cubicBezTo>
                    <a:pt x="58" y="33"/>
                    <a:pt x="58" y="33"/>
                    <a:pt x="58" y="33"/>
                  </a:cubicBezTo>
                  <a:cubicBezTo>
                    <a:pt x="58" y="33"/>
                    <a:pt x="59" y="33"/>
                    <a:pt x="59" y="33"/>
                  </a:cubicBezTo>
                  <a:cubicBezTo>
                    <a:pt x="59" y="33"/>
                    <a:pt x="59" y="33"/>
                    <a:pt x="59" y="33"/>
                  </a:cubicBezTo>
                  <a:cubicBezTo>
                    <a:pt x="59" y="33"/>
                    <a:pt x="60" y="34"/>
                    <a:pt x="59" y="35"/>
                  </a:cubicBezTo>
                  <a:cubicBezTo>
                    <a:pt x="58" y="38"/>
                    <a:pt x="54" y="41"/>
                    <a:pt x="52" y="41"/>
                  </a:cubicBezTo>
                  <a:cubicBezTo>
                    <a:pt x="50" y="41"/>
                    <a:pt x="49" y="40"/>
                    <a:pt x="49" y="37"/>
                  </a:cubicBezTo>
                  <a:cubicBezTo>
                    <a:pt x="50" y="36"/>
                    <a:pt x="51" y="36"/>
                    <a:pt x="51" y="34"/>
                  </a:cubicBezTo>
                  <a:cubicBezTo>
                    <a:pt x="51" y="33"/>
                    <a:pt x="50" y="32"/>
                    <a:pt x="49" y="31"/>
                  </a:cubicBezTo>
                  <a:cubicBezTo>
                    <a:pt x="48" y="28"/>
                    <a:pt x="50" y="27"/>
                    <a:pt x="51" y="24"/>
                  </a:cubicBezTo>
                  <a:cubicBezTo>
                    <a:pt x="51" y="22"/>
                    <a:pt x="52" y="19"/>
                    <a:pt x="53" y="18"/>
                  </a:cubicBezTo>
                  <a:cubicBezTo>
                    <a:pt x="53" y="17"/>
                    <a:pt x="53" y="16"/>
                    <a:pt x="54" y="14"/>
                  </a:cubicBezTo>
                  <a:cubicBezTo>
                    <a:pt x="55" y="13"/>
                    <a:pt x="56" y="13"/>
                    <a:pt x="57" y="12"/>
                  </a:cubicBezTo>
                  <a:cubicBezTo>
                    <a:pt x="57" y="11"/>
                    <a:pt x="57" y="11"/>
                    <a:pt x="57" y="10"/>
                  </a:cubicBezTo>
                  <a:cubicBezTo>
                    <a:pt x="57" y="10"/>
                    <a:pt x="57" y="10"/>
                    <a:pt x="57" y="10"/>
                  </a:cubicBezTo>
                  <a:cubicBezTo>
                    <a:pt x="54" y="10"/>
                    <a:pt x="54" y="10"/>
                    <a:pt x="54" y="10"/>
                  </a:cubicBezTo>
                  <a:cubicBezTo>
                    <a:pt x="53" y="11"/>
                    <a:pt x="51" y="11"/>
                    <a:pt x="49" y="12"/>
                  </a:cubicBezTo>
                  <a:cubicBezTo>
                    <a:pt x="47" y="12"/>
                    <a:pt x="47" y="12"/>
                    <a:pt x="47" y="12"/>
                  </a:cubicBezTo>
                  <a:cubicBezTo>
                    <a:pt x="41" y="14"/>
                    <a:pt x="41" y="14"/>
                    <a:pt x="41" y="14"/>
                  </a:cubicBezTo>
                  <a:cubicBezTo>
                    <a:pt x="29" y="17"/>
                    <a:pt x="18" y="20"/>
                    <a:pt x="8" y="23"/>
                  </a:cubicBezTo>
                  <a:cubicBezTo>
                    <a:pt x="7" y="23"/>
                    <a:pt x="6" y="23"/>
                    <a:pt x="5" y="24"/>
                  </a:cubicBezTo>
                  <a:cubicBezTo>
                    <a:pt x="3" y="24"/>
                    <a:pt x="1" y="24"/>
                    <a:pt x="0" y="25"/>
                  </a:cubicBezTo>
                  <a:cubicBezTo>
                    <a:pt x="0" y="25"/>
                    <a:pt x="0" y="25"/>
                    <a:pt x="0" y="25"/>
                  </a:cubicBezTo>
                  <a:cubicBezTo>
                    <a:pt x="0" y="26"/>
                    <a:pt x="0" y="26"/>
                    <a:pt x="0" y="26"/>
                  </a:cubicBezTo>
                  <a:cubicBezTo>
                    <a:pt x="0" y="41"/>
                    <a:pt x="0" y="57"/>
                    <a:pt x="0" y="73"/>
                  </a:cubicBezTo>
                  <a:cubicBezTo>
                    <a:pt x="0" y="125"/>
                    <a:pt x="0" y="125"/>
                    <a:pt x="0" y="125"/>
                  </a:cubicBezTo>
                  <a:cubicBezTo>
                    <a:pt x="6" y="125"/>
                    <a:pt x="6" y="125"/>
                    <a:pt x="6" y="125"/>
                  </a:cubicBezTo>
                  <a:cubicBezTo>
                    <a:pt x="5" y="126"/>
                    <a:pt x="5" y="126"/>
                    <a:pt x="5" y="126"/>
                  </a:cubicBezTo>
                  <a:cubicBezTo>
                    <a:pt x="5" y="126"/>
                    <a:pt x="5" y="126"/>
                    <a:pt x="5" y="126"/>
                  </a:cubicBezTo>
                  <a:cubicBezTo>
                    <a:pt x="6" y="126"/>
                    <a:pt x="8" y="126"/>
                    <a:pt x="9" y="126"/>
                  </a:cubicBezTo>
                  <a:cubicBezTo>
                    <a:pt x="9" y="126"/>
                    <a:pt x="9" y="126"/>
                    <a:pt x="9" y="126"/>
                  </a:cubicBezTo>
                  <a:cubicBezTo>
                    <a:pt x="9" y="126"/>
                    <a:pt x="10" y="126"/>
                    <a:pt x="10" y="126"/>
                  </a:cubicBezTo>
                  <a:cubicBezTo>
                    <a:pt x="10" y="126"/>
                    <a:pt x="10" y="126"/>
                    <a:pt x="10" y="126"/>
                  </a:cubicBezTo>
                  <a:cubicBezTo>
                    <a:pt x="10" y="126"/>
                    <a:pt x="10" y="126"/>
                    <a:pt x="10" y="126"/>
                  </a:cubicBezTo>
                  <a:cubicBezTo>
                    <a:pt x="11" y="126"/>
                    <a:pt x="12" y="126"/>
                    <a:pt x="13" y="126"/>
                  </a:cubicBezTo>
                  <a:cubicBezTo>
                    <a:pt x="15" y="125"/>
                    <a:pt x="15" y="125"/>
                    <a:pt x="15" y="125"/>
                  </a:cubicBezTo>
                  <a:cubicBezTo>
                    <a:pt x="17" y="125"/>
                    <a:pt x="18" y="125"/>
                    <a:pt x="19" y="125"/>
                  </a:cubicBezTo>
                  <a:cubicBezTo>
                    <a:pt x="19" y="125"/>
                    <a:pt x="19" y="125"/>
                    <a:pt x="19" y="125"/>
                  </a:cubicBezTo>
                  <a:cubicBezTo>
                    <a:pt x="18" y="124"/>
                    <a:pt x="18" y="122"/>
                    <a:pt x="18" y="121"/>
                  </a:cubicBezTo>
                  <a:cubicBezTo>
                    <a:pt x="17" y="119"/>
                    <a:pt x="17" y="118"/>
                    <a:pt x="18" y="116"/>
                  </a:cubicBezTo>
                  <a:cubicBezTo>
                    <a:pt x="19" y="115"/>
                    <a:pt x="19" y="115"/>
                    <a:pt x="19" y="114"/>
                  </a:cubicBezTo>
                  <a:cubicBezTo>
                    <a:pt x="20" y="111"/>
                    <a:pt x="21" y="108"/>
                    <a:pt x="23" y="106"/>
                  </a:cubicBezTo>
                  <a:cubicBezTo>
                    <a:pt x="24" y="105"/>
                    <a:pt x="24" y="105"/>
                    <a:pt x="24" y="105"/>
                  </a:cubicBezTo>
                  <a:cubicBezTo>
                    <a:pt x="25" y="105"/>
                    <a:pt x="25" y="105"/>
                    <a:pt x="26" y="104"/>
                  </a:cubicBezTo>
                  <a:cubicBezTo>
                    <a:pt x="28" y="104"/>
                    <a:pt x="30" y="103"/>
                    <a:pt x="33" y="103"/>
                  </a:cubicBezTo>
                  <a:cubicBezTo>
                    <a:pt x="33" y="103"/>
                    <a:pt x="33" y="103"/>
                    <a:pt x="33" y="103"/>
                  </a:cubicBezTo>
                  <a:cubicBezTo>
                    <a:pt x="34" y="103"/>
                    <a:pt x="35" y="102"/>
                    <a:pt x="36" y="102"/>
                  </a:cubicBezTo>
                  <a:cubicBezTo>
                    <a:pt x="39" y="101"/>
                    <a:pt x="39" y="101"/>
                    <a:pt x="39" y="100"/>
                  </a:cubicBezTo>
                  <a:cubicBezTo>
                    <a:pt x="40" y="99"/>
                    <a:pt x="40" y="99"/>
                    <a:pt x="40" y="98"/>
                  </a:cubicBezTo>
                  <a:cubicBezTo>
                    <a:pt x="41" y="96"/>
                    <a:pt x="42" y="93"/>
                    <a:pt x="45" y="92"/>
                  </a:cubicBezTo>
                  <a:cubicBezTo>
                    <a:pt x="45" y="92"/>
                    <a:pt x="46" y="92"/>
                    <a:pt x="46" y="92"/>
                  </a:cubicBezTo>
                  <a:cubicBezTo>
                    <a:pt x="47" y="92"/>
                    <a:pt x="47" y="92"/>
                    <a:pt x="48" y="93"/>
                  </a:cubicBezTo>
                  <a:cubicBezTo>
                    <a:pt x="48" y="93"/>
                    <a:pt x="49" y="93"/>
                    <a:pt x="49" y="93"/>
                  </a:cubicBezTo>
                  <a:cubicBezTo>
                    <a:pt x="50" y="93"/>
                    <a:pt x="50" y="93"/>
                    <a:pt x="50" y="93"/>
                  </a:cubicBezTo>
                  <a:cubicBezTo>
                    <a:pt x="51" y="90"/>
                    <a:pt x="53" y="88"/>
                    <a:pt x="54" y="87"/>
                  </a:cubicBezTo>
                  <a:cubicBezTo>
                    <a:pt x="55" y="86"/>
                    <a:pt x="56" y="86"/>
                    <a:pt x="56" y="85"/>
                  </a:cubicBezTo>
                  <a:cubicBezTo>
                    <a:pt x="58" y="83"/>
                    <a:pt x="58" y="83"/>
                    <a:pt x="58" y="83"/>
                  </a:cubicBezTo>
                  <a:cubicBezTo>
                    <a:pt x="61" y="85"/>
                    <a:pt x="61" y="85"/>
                    <a:pt x="61" y="85"/>
                  </a:cubicBezTo>
                  <a:cubicBezTo>
                    <a:pt x="61" y="85"/>
                    <a:pt x="61" y="85"/>
                    <a:pt x="62" y="86"/>
                  </a:cubicBezTo>
                  <a:cubicBezTo>
                    <a:pt x="63" y="87"/>
                    <a:pt x="63" y="87"/>
                    <a:pt x="63" y="87"/>
                  </a:cubicBezTo>
                  <a:cubicBezTo>
                    <a:pt x="64" y="88"/>
                    <a:pt x="66" y="90"/>
                    <a:pt x="67" y="91"/>
                  </a:cubicBezTo>
                  <a:cubicBezTo>
                    <a:pt x="67" y="91"/>
                    <a:pt x="67" y="91"/>
                    <a:pt x="67" y="91"/>
                  </a:cubicBezTo>
                  <a:cubicBezTo>
                    <a:pt x="68" y="91"/>
                    <a:pt x="68" y="91"/>
                    <a:pt x="68" y="91"/>
                  </a:cubicBezTo>
                  <a:cubicBezTo>
                    <a:pt x="69" y="91"/>
                    <a:pt x="69" y="91"/>
                    <a:pt x="70" y="91"/>
                  </a:cubicBezTo>
                  <a:cubicBezTo>
                    <a:pt x="71" y="91"/>
                    <a:pt x="73" y="92"/>
                    <a:pt x="73" y="93"/>
                  </a:cubicBezTo>
                  <a:cubicBezTo>
                    <a:pt x="75" y="96"/>
                    <a:pt x="75" y="96"/>
                    <a:pt x="75" y="96"/>
                  </a:cubicBezTo>
                  <a:cubicBezTo>
                    <a:pt x="76" y="96"/>
                    <a:pt x="76" y="97"/>
                    <a:pt x="76" y="97"/>
                  </a:cubicBezTo>
                  <a:cubicBezTo>
                    <a:pt x="77" y="97"/>
                    <a:pt x="77" y="97"/>
                    <a:pt x="77" y="97"/>
                  </a:cubicBezTo>
                  <a:cubicBezTo>
                    <a:pt x="77" y="97"/>
                    <a:pt x="77" y="97"/>
                    <a:pt x="77" y="97"/>
                  </a:cubicBezTo>
                  <a:cubicBezTo>
                    <a:pt x="79" y="98"/>
                    <a:pt x="82" y="97"/>
                    <a:pt x="84" y="98"/>
                  </a:cubicBezTo>
                  <a:cubicBezTo>
                    <a:pt x="84" y="98"/>
                    <a:pt x="84" y="98"/>
                    <a:pt x="84" y="98"/>
                  </a:cubicBezTo>
                  <a:cubicBezTo>
                    <a:pt x="87" y="98"/>
                    <a:pt x="91" y="100"/>
                    <a:pt x="94" y="101"/>
                  </a:cubicBezTo>
                  <a:cubicBezTo>
                    <a:pt x="99" y="104"/>
                    <a:pt x="99" y="104"/>
                    <a:pt x="99" y="104"/>
                  </a:cubicBezTo>
                  <a:cubicBezTo>
                    <a:pt x="94" y="106"/>
                    <a:pt x="94" y="106"/>
                    <a:pt x="94" y="106"/>
                  </a:cubicBezTo>
                  <a:cubicBezTo>
                    <a:pt x="94" y="107"/>
                    <a:pt x="94" y="108"/>
                    <a:pt x="94" y="109"/>
                  </a:cubicBezTo>
                  <a:cubicBezTo>
                    <a:pt x="96" y="110"/>
                    <a:pt x="98" y="112"/>
                    <a:pt x="99" y="113"/>
                  </a:cubicBezTo>
                  <a:cubicBezTo>
                    <a:pt x="102" y="116"/>
                    <a:pt x="102" y="116"/>
                    <a:pt x="102" y="116"/>
                  </a:cubicBezTo>
                  <a:cubicBezTo>
                    <a:pt x="99" y="118"/>
                    <a:pt x="99" y="118"/>
                    <a:pt x="99" y="118"/>
                  </a:cubicBezTo>
                  <a:cubicBezTo>
                    <a:pt x="98" y="118"/>
                    <a:pt x="98" y="118"/>
                    <a:pt x="97" y="119"/>
                  </a:cubicBezTo>
                  <a:cubicBezTo>
                    <a:pt x="97" y="119"/>
                    <a:pt x="97" y="120"/>
                    <a:pt x="97" y="121"/>
                  </a:cubicBezTo>
                  <a:cubicBezTo>
                    <a:pt x="97" y="122"/>
                    <a:pt x="97" y="122"/>
                    <a:pt x="97" y="122"/>
                  </a:cubicBezTo>
                  <a:cubicBezTo>
                    <a:pt x="97" y="122"/>
                    <a:pt x="97" y="123"/>
                    <a:pt x="97" y="123"/>
                  </a:cubicBezTo>
                  <a:cubicBezTo>
                    <a:pt x="96" y="124"/>
                    <a:pt x="96" y="124"/>
                    <a:pt x="96" y="124"/>
                  </a:cubicBezTo>
                  <a:cubicBezTo>
                    <a:pt x="96" y="124"/>
                    <a:pt x="96" y="124"/>
                    <a:pt x="96" y="124"/>
                  </a:cubicBezTo>
                  <a:cubicBezTo>
                    <a:pt x="98" y="125"/>
                    <a:pt x="98" y="125"/>
                    <a:pt x="98" y="125"/>
                  </a:cubicBezTo>
                  <a:cubicBezTo>
                    <a:pt x="98" y="125"/>
                    <a:pt x="99" y="126"/>
                    <a:pt x="99" y="126"/>
                  </a:cubicBezTo>
                  <a:cubicBezTo>
                    <a:pt x="100" y="126"/>
                    <a:pt x="100" y="126"/>
                    <a:pt x="100" y="126"/>
                  </a:cubicBezTo>
                  <a:cubicBezTo>
                    <a:pt x="101" y="127"/>
                    <a:pt x="102" y="127"/>
                    <a:pt x="103" y="127"/>
                  </a:cubicBezTo>
                  <a:cubicBezTo>
                    <a:pt x="103" y="127"/>
                    <a:pt x="104" y="127"/>
                    <a:pt x="104" y="127"/>
                  </a:cubicBezTo>
                  <a:cubicBezTo>
                    <a:pt x="105" y="127"/>
                    <a:pt x="106" y="127"/>
                    <a:pt x="107" y="127"/>
                  </a:cubicBezTo>
                  <a:cubicBezTo>
                    <a:pt x="107" y="127"/>
                    <a:pt x="107" y="127"/>
                    <a:pt x="108" y="127"/>
                  </a:cubicBezTo>
                  <a:cubicBezTo>
                    <a:pt x="110" y="127"/>
                    <a:pt x="113" y="128"/>
                    <a:pt x="115" y="129"/>
                  </a:cubicBezTo>
                  <a:cubicBezTo>
                    <a:pt x="116" y="129"/>
                    <a:pt x="117" y="129"/>
                    <a:pt x="118" y="129"/>
                  </a:cubicBezTo>
                  <a:cubicBezTo>
                    <a:pt x="120" y="130"/>
                    <a:pt x="120" y="130"/>
                    <a:pt x="120" y="130"/>
                  </a:cubicBezTo>
                  <a:cubicBezTo>
                    <a:pt x="120" y="130"/>
                    <a:pt x="121" y="129"/>
                    <a:pt x="121" y="129"/>
                  </a:cubicBezTo>
                  <a:cubicBezTo>
                    <a:pt x="121" y="128"/>
                    <a:pt x="122" y="128"/>
                    <a:pt x="122" y="127"/>
                  </a:cubicBezTo>
                  <a:cubicBezTo>
                    <a:pt x="123" y="127"/>
                    <a:pt x="124" y="126"/>
                    <a:pt x="124" y="126"/>
                  </a:cubicBezTo>
                  <a:cubicBezTo>
                    <a:pt x="125" y="126"/>
                    <a:pt x="126" y="126"/>
                    <a:pt x="126" y="126"/>
                  </a:cubicBezTo>
                  <a:cubicBezTo>
                    <a:pt x="129" y="126"/>
                    <a:pt x="132" y="127"/>
                    <a:pt x="134" y="130"/>
                  </a:cubicBezTo>
                  <a:cubicBezTo>
                    <a:pt x="138" y="133"/>
                    <a:pt x="141" y="140"/>
                    <a:pt x="143" y="145"/>
                  </a:cubicBezTo>
                  <a:cubicBezTo>
                    <a:pt x="143" y="146"/>
                    <a:pt x="143" y="146"/>
                    <a:pt x="143" y="146"/>
                  </a:cubicBezTo>
                  <a:cubicBezTo>
                    <a:pt x="144" y="147"/>
                    <a:pt x="144" y="148"/>
                    <a:pt x="145" y="149"/>
                  </a:cubicBezTo>
                  <a:cubicBezTo>
                    <a:pt x="145" y="150"/>
                    <a:pt x="146" y="150"/>
                    <a:pt x="146" y="151"/>
                  </a:cubicBezTo>
                  <a:cubicBezTo>
                    <a:pt x="148" y="152"/>
                    <a:pt x="149" y="154"/>
                    <a:pt x="150" y="156"/>
                  </a:cubicBezTo>
                  <a:cubicBezTo>
                    <a:pt x="150" y="157"/>
                    <a:pt x="150" y="157"/>
                    <a:pt x="150" y="157"/>
                  </a:cubicBezTo>
                  <a:cubicBezTo>
                    <a:pt x="150" y="158"/>
                    <a:pt x="151" y="159"/>
                    <a:pt x="151" y="160"/>
                  </a:cubicBezTo>
                  <a:cubicBezTo>
                    <a:pt x="151" y="160"/>
                    <a:pt x="151" y="160"/>
                    <a:pt x="151" y="160"/>
                  </a:cubicBezTo>
                  <a:cubicBezTo>
                    <a:pt x="151" y="161"/>
                    <a:pt x="152" y="163"/>
                    <a:pt x="152" y="164"/>
                  </a:cubicBezTo>
                  <a:cubicBezTo>
                    <a:pt x="153" y="164"/>
                    <a:pt x="153" y="164"/>
                    <a:pt x="153" y="164"/>
                  </a:cubicBezTo>
                  <a:cubicBezTo>
                    <a:pt x="153" y="165"/>
                    <a:pt x="155" y="166"/>
                    <a:pt x="157" y="167"/>
                  </a:cubicBezTo>
                  <a:cubicBezTo>
                    <a:pt x="157" y="168"/>
                    <a:pt x="158" y="168"/>
                    <a:pt x="159" y="169"/>
                  </a:cubicBezTo>
                  <a:cubicBezTo>
                    <a:pt x="163" y="172"/>
                    <a:pt x="163" y="172"/>
                    <a:pt x="163" y="172"/>
                  </a:cubicBezTo>
                  <a:cubicBezTo>
                    <a:pt x="164" y="173"/>
                    <a:pt x="166" y="174"/>
                    <a:pt x="167" y="175"/>
                  </a:cubicBezTo>
                  <a:cubicBezTo>
                    <a:pt x="170" y="177"/>
                    <a:pt x="174" y="180"/>
                    <a:pt x="178" y="182"/>
                  </a:cubicBezTo>
                  <a:cubicBezTo>
                    <a:pt x="179" y="183"/>
                    <a:pt x="180" y="183"/>
                    <a:pt x="181" y="184"/>
                  </a:cubicBezTo>
                  <a:cubicBezTo>
                    <a:pt x="184" y="185"/>
                    <a:pt x="184" y="185"/>
                    <a:pt x="184" y="185"/>
                  </a:cubicBezTo>
                  <a:cubicBezTo>
                    <a:pt x="189" y="187"/>
                    <a:pt x="194" y="190"/>
                    <a:pt x="198" y="194"/>
                  </a:cubicBezTo>
                  <a:cubicBezTo>
                    <a:pt x="200" y="196"/>
                    <a:pt x="203" y="197"/>
                    <a:pt x="206" y="199"/>
                  </a:cubicBezTo>
                  <a:cubicBezTo>
                    <a:pt x="209" y="201"/>
                    <a:pt x="209" y="201"/>
                    <a:pt x="209" y="201"/>
                  </a:cubicBezTo>
                  <a:cubicBezTo>
                    <a:pt x="210" y="201"/>
                    <a:pt x="211" y="202"/>
                    <a:pt x="212" y="202"/>
                  </a:cubicBezTo>
                  <a:cubicBezTo>
                    <a:pt x="214" y="204"/>
                    <a:pt x="216" y="205"/>
                    <a:pt x="218" y="206"/>
                  </a:cubicBezTo>
                  <a:cubicBezTo>
                    <a:pt x="219" y="207"/>
                    <a:pt x="219" y="207"/>
                    <a:pt x="219" y="207"/>
                  </a:cubicBezTo>
                  <a:cubicBezTo>
                    <a:pt x="220" y="208"/>
                    <a:pt x="220" y="208"/>
                    <a:pt x="221" y="208"/>
                  </a:cubicBezTo>
                  <a:cubicBezTo>
                    <a:pt x="222" y="209"/>
                    <a:pt x="222" y="209"/>
                    <a:pt x="222" y="209"/>
                  </a:cubicBezTo>
                  <a:cubicBezTo>
                    <a:pt x="224" y="210"/>
                    <a:pt x="225" y="211"/>
                    <a:pt x="226" y="211"/>
                  </a:cubicBezTo>
                  <a:cubicBezTo>
                    <a:pt x="226" y="211"/>
                    <a:pt x="226" y="211"/>
                    <a:pt x="226" y="211"/>
                  </a:cubicBezTo>
                  <a:cubicBezTo>
                    <a:pt x="227" y="211"/>
                    <a:pt x="227" y="211"/>
                    <a:pt x="227" y="211"/>
                  </a:cubicBezTo>
                  <a:cubicBezTo>
                    <a:pt x="228" y="210"/>
                    <a:pt x="228" y="210"/>
                    <a:pt x="228" y="210"/>
                  </a:cubicBezTo>
                  <a:cubicBezTo>
                    <a:pt x="229" y="210"/>
                    <a:pt x="229" y="210"/>
                    <a:pt x="230" y="210"/>
                  </a:cubicBezTo>
                  <a:cubicBezTo>
                    <a:pt x="233" y="210"/>
                    <a:pt x="236" y="211"/>
                    <a:pt x="238" y="213"/>
                  </a:cubicBezTo>
                  <a:cubicBezTo>
                    <a:pt x="239" y="213"/>
                    <a:pt x="239" y="213"/>
                    <a:pt x="239" y="213"/>
                  </a:cubicBezTo>
                  <a:cubicBezTo>
                    <a:pt x="240" y="214"/>
                    <a:pt x="242" y="215"/>
                    <a:pt x="243" y="215"/>
                  </a:cubicBezTo>
                  <a:cubicBezTo>
                    <a:pt x="249" y="218"/>
                    <a:pt x="249" y="218"/>
                    <a:pt x="249" y="218"/>
                  </a:cubicBezTo>
                  <a:cubicBezTo>
                    <a:pt x="251" y="219"/>
                    <a:pt x="251" y="221"/>
                    <a:pt x="251" y="222"/>
                  </a:cubicBezTo>
                  <a:cubicBezTo>
                    <a:pt x="251" y="222"/>
                    <a:pt x="251" y="223"/>
                    <a:pt x="251" y="223"/>
                  </a:cubicBezTo>
                  <a:cubicBezTo>
                    <a:pt x="250" y="224"/>
                    <a:pt x="250" y="225"/>
                    <a:pt x="250" y="225"/>
                  </a:cubicBezTo>
                  <a:cubicBezTo>
                    <a:pt x="250" y="226"/>
                    <a:pt x="250" y="226"/>
                    <a:pt x="250" y="226"/>
                  </a:cubicBezTo>
                  <a:cubicBezTo>
                    <a:pt x="250" y="227"/>
                    <a:pt x="250" y="228"/>
                    <a:pt x="250" y="228"/>
                  </a:cubicBezTo>
                  <a:cubicBezTo>
                    <a:pt x="249" y="233"/>
                    <a:pt x="249" y="233"/>
                    <a:pt x="249" y="233"/>
                  </a:cubicBezTo>
                  <a:cubicBezTo>
                    <a:pt x="249" y="234"/>
                    <a:pt x="249" y="234"/>
                    <a:pt x="249" y="235"/>
                  </a:cubicBezTo>
                  <a:cubicBezTo>
                    <a:pt x="252" y="235"/>
                    <a:pt x="252" y="235"/>
                    <a:pt x="252" y="235"/>
                  </a:cubicBezTo>
                  <a:cubicBezTo>
                    <a:pt x="253" y="235"/>
                    <a:pt x="254" y="235"/>
                    <a:pt x="255" y="235"/>
                  </a:cubicBezTo>
                  <a:cubicBezTo>
                    <a:pt x="258" y="235"/>
                    <a:pt x="259" y="236"/>
                    <a:pt x="262" y="238"/>
                  </a:cubicBezTo>
                  <a:cubicBezTo>
                    <a:pt x="262" y="239"/>
                    <a:pt x="262" y="239"/>
                    <a:pt x="262" y="239"/>
                  </a:cubicBezTo>
                  <a:cubicBezTo>
                    <a:pt x="263" y="239"/>
                    <a:pt x="263" y="239"/>
                    <a:pt x="263" y="239"/>
                  </a:cubicBezTo>
                  <a:cubicBezTo>
                    <a:pt x="263" y="239"/>
                    <a:pt x="263" y="239"/>
                    <a:pt x="263" y="239"/>
                  </a:cubicBezTo>
                  <a:cubicBezTo>
                    <a:pt x="263" y="239"/>
                    <a:pt x="263" y="239"/>
                    <a:pt x="263" y="239"/>
                  </a:cubicBezTo>
                  <a:cubicBezTo>
                    <a:pt x="264" y="239"/>
                    <a:pt x="264" y="239"/>
                    <a:pt x="264" y="239"/>
                  </a:cubicBezTo>
                  <a:cubicBezTo>
                    <a:pt x="264" y="240"/>
                    <a:pt x="265" y="240"/>
                    <a:pt x="266" y="240"/>
                  </a:cubicBezTo>
                  <a:cubicBezTo>
                    <a:pt x="267" y="240"/>
                    <a:pt x="267" y="240"/>
                    <a:pt x="268" y="240"/>
                  </a:cubicBezTo>
                  <a:cubicBezTo>
                    <a:pt x="270" y="239"/>
                    <a:pt x="270" y="239"/>
                    <a:pt x="271" y="239"/>
                  </a:cubicBezTo>
                  <a:cubicBezTo>
                    <a:pt x="271" y="238"/>
                    <a:pt x="271" y="238"/>
                    <a:pt x="271" y="238"/>
                  </a:cubicBezTo>
                  <a:cubicBezTo>
                    <a:pt x="272" y="238"/>
                    <a:pt x="272" y="238"/>
                    <a:pt x="272" y="238"/>
                  </a:cubicBezTo>
                  <a:cubicBezTo>
                    <a:pt x="272" y="238"/>
                    <a:pt x="272" y="238"/>
                    <a:pt x="273" y="237"/>
                  </a:cubicBezTo>
                  <a:cubicBezTo>
                    <a:pt x="272" y="237"/>
                    <a:pt x="272" y="237"/>
                    <a:pt x="272" y="237"/>
                  </a:cubicBezTo>
                  <a:cubicBezTo>
                    <a:pt x="272" y="236"/>
                    <a:pt x="272" y="236"/>
                    <a:pt x="272" y="236"/>
                  </a:cubicBezTo>
                  <a:cubicBezTo>
                    <a:pt x="272" y="235"/>
                    <a:pt x="273" y="234"/>
                    <a:pt x="273" y="234"/>
                  </a:cubicBezTo>
                  <a:cubicBezTo>
                    <a:pt x="273" y="234"/>
                    <a:pt x="273" y="234"/>
                    <a:pt x="273" y="234"/>
                  </a:cubicBezTo>
                  <a:cubicBezTo>
                    <a:pt x="273" y="233"/>
                    <a:pt x="273" y="233"/>
                    <a:pt x="273" y="233"/>
                  </a:cubicBezTo>
                  <a:cubicBezTo>
                    <a:pt x="274" y="231"/>
                    <a:pt x="275" y="230"/>
                    <a:pt x="276" y="229"/>
                  </a:cubicBezTo>
                  <a:cubicBezTo>
                    <a:pt x="277" y="227"/>
                    <a:pt x="277" y="227"/>
                    <a:pt x="277" y="227"/>
                  </a:cubicBezTo>
                  <a:cubicBezTo>
                    <a:pt x="277" y="227"/>
                    <a:pt x="278" y="226"/>
                    <a:pt x="278" y="226"/>
                  </a:cubicBezTo>
                  <a:cubicBezTo>
                    <a:pt x="279" y="225"/>
                    <a:pt x="279" y="225"/>
                    <a:pt x="279" y="225"/>
                  </a:cubicBezTo>
                  <a:cubicBezTo>
                    <a:pt x="284" y="218"/>
                    <a:pt x="285" y="216"/>
                    <a:pt x="285" y="215"/>
                  </a:cubicBezTo>
                  <a:cubicBezTo>
                    <a:pt x="285" y="215"/>
                    <a:pt x="285" y="215"/>
                    <a:pt x="285" y="215"/>
                  </a:cubicBezTo>
                  <a:cubicBezTo>
                    <a:pt x="285" y="214"/>
                    <a:pt x="284" y="214"/>
                    <a:pt x="284" y="214"/>
                  </a:cubicBezTo>
                  <a:cubicBezTo>
                    <a:pt x="283" y="213"/>
                    <a:pt x="283" y="213"/>
                    <a:pt x="282" y="212"/>
                  </a:cubicBezTo>
                  <a:cubicBezTo>
                    <a:pt x="282" y="212"/>
                    <a:pt x="282" y="212"/>
                    <a:pt x="282" y="212"/>
                  </a:cubicBezTo>
                  <a:cubicBezTo>
                    <a:pt x="282" y="212"/>
                    <a:pt x="281" y="211"/>
                    <a:pt x="281" y="211"/>
                  </a:cubicBezTo>
                  <a:cubicBezTo>
                    <a:pt x="280" y="210"/>
                    <a:pt x="280" y="209"/>
                    <a:pt x="279" y="207"/>
                  </a:cubicBezTo>
                  <a:cubicBezTo>
                    <a:pt x="279" y="207"/>
                    <a:pt x="279" y="206"/>
                    <a:pt x="279" y="205"/>
                  </a:cubicBezTo>
                  <a:cubicBezTo>
                    <a:pt x="280" y="202"/>
                    <a:pt x="280" y="202"/>
                    <a:pt x="280" y="202"/>
                  </a:cubicBezTo>
                  <a:cubicBezTo>
                    <a:pt x="281" y="198"/>
                    <a:pt x="281" y="197"/>
                    <a:pt x="281" y="197"/>
                  </a:cubicBezTo>
                  <a:cubicBezTo>
                    <a:pt x="281" y="196"/>
                    <a:pt x="278" y="196"/>
                    <a:pt x="276" y="195"/>
                  </a:cubicBezTo>
                  <a:cubicBezTo>
                    <a:pt x="272" y="195"/>
                    <a:pt x="271" y="195"/>
                    <a:pt x="267" y="192"/>
                  </a:cubicBezTo>
                  <a:cubicBezTo>
                    <a:pt x="266" y="191"/>
                    <a:pt x="266" y="191"/>
                    <a:pt x="266" y="191"/>
                  </a:cubicBezTo>
                  <a:cubicBezTo>
                    <a:pt x="265" y="190"/>
                    <a:pt x="265" y="190"/>
                    <a:pt x="265" y="190"/>
                  </a:cubicBezTo>
                  <a:cubicBezTo>
                    <a:pt x="265" y="189"/>
                    <a:pt x="264" y="189"/>
                    <a:pt x="264" y="189"/>
                  </a:cubicBezTo>
                  <a:cubicBezTo>
                    <a:pt x="263" y="187"/>
                    <a:pt x="262" y="185"/>
                    <a:pt x="262" y="183"/>
                  </a:cubicBezTo>
                  <a:cubicBezTo>
                    <a:pt x="262" y="183"/>
                    <a:pt x="262" y="183"/>
                    <a:pt x="262" y="183"/>
                  </a:cubicBezTo>
                  <a:cubicBezTo>
                    <a:pt x="263" y="180"/>
                    <a:pt x="264" y="178"/>
                    <a:pt x="267" y="175"/>
                  </a:cubicBezTo>
                  <a:cubicBezTo>
                    <a:pt x="268" y="175"/>
                    <a:pt x="268" y="175"/>
                    <a:pt x="268" y="175"/>
                  </a:cubicBezTo>
                  <a:cubicBezTo>
                    <a:pt x="269" y="174"/>
                    <a:pt x="270" y="174"/>
                    <a:pt x="271" y="173"/>
                  </a:cubicBezTo>
                  <a:cubicBezTo>
                    <a:pt x="271" y="173"/>
                    <a:pt x="271" y="173"/>
                    <a:pt x="271" y="173"/>
                  </a:cubicBezTo>
                  <a:cubicBezTo>
                    <a:pt x="272" y="173"/>
                    <a:pt x="273" y="173"/>
                    <a:pt x="274" y="173"/>
                  </a:cubicBezTo>
                  <a:cubicBezTo>
                    <a:pt x="274" y="173"/>
                    <a:pt x="275" y="173"/>
                    <a:pt x="276" y="173"/>
                  </a:cubicBezTo>
                  <a:cubicBezTo>
                    <a:pt x="279" y="174"/>
                    <a:pt x="281" y="174"/>
                    <a:pt x="284" y="174"/>
                  </a:cubicBezTo>
                  <a:cubicBezTo>
                    <a:pt x="286" y="175"/>
                    <a:pt x="287" y="175"/>
                    <a:pt x="287" y="175"/>
                  </a:cubicBezTo>
                  <a:cubicBezTo>
                    <a:pt x="288" y="175"/>
                    <a:pt x="288" y="175"/>
                    <a:pt x="289" y="175"/>
                  </a:cubicBezTo>
                  <a:cubicBezTo>
                    <a:pt x="289" y="175"/>
                    <a:pt x="289" y="175"/>
                    <a:pt x="289" y="175"/>
                  </a:cubicBezTo>
                  <a:cubicBezTo>
                    <a:pt x="290" y="175"/>
                    <a:pt x="290" y="175"/>
                    <a:pt x="290" y="175"/>
                  </a:cubicBezTo>
                  <a:cubicBezTo>
                    <a:pt x="290" y="174"/>
                    <a:pt x="290" y="173"/>
                    <a:pt x="291" y="170"/>
                  </a:cubicBezTo>
                  <a:cubicBezTo>
                    <a:pt x="291" y="170"/>
                    <a:pt x="291" y="170"/>
                    <a:pt x="291" y="170"/>
                  </a:cubicBezTo>
                  <a:cubicBezTo>
                    <a:pt x="292" y="168"/>
                    <a:pt x="293" y="166"/>
                    <a:pt x="294" y="165"/>
                  </a:cubicBezTo>
                  <a:cubicBezTo>
                    <a:pt x="294" y="165"/>
                    <a:pt x="295" y="165"/>
                    <a:pt x="295" y="164"/>
                  </a:cubicBezTo>
                  <a:cubicBezTo>
                    <a:pt x="294" y="164"/>
                    <a:pt x="292" y="163"/>
                    <a:pt x="292" y="161"/>
                  </a:cubicBezTo>
                  <a:cubicBezTo>
                    <a:pt x="290" y="158"/>
                    <a:pt x="290" y="158"/>
                    <a:pt x="290" y="158"/>
                  </a:cubicBezTo>
                  <a:cubicBezTo>
                    <a:pt x="303" y="156"/>
                    <a:pt x="303" y="156"/>
                    <a:pt x="303" y="156"/>
                  </a:cubicBezTo>
                  <a:cubicBezTo>
                    <a:pt x="303" y="156"/>
                    <a:pt x="303" y="156"/>
                    <a:pt x="304" y="156"/>
                  </a:cubicBezTo>
                  <a:cubicBezTo>
                    <a:pt x="305" y="156"/>
                    <a:pt x="305" y="156"/>
                    <a:pt x="306" y="156"/>
                  </a:cubicBezTo>
                  <a:cubicBezTo>
                    <a:pt x="305" y="154"/>
                    <a:pt x="305" y="151"/>
                    <a:pt x="305" y="149"/>
                  </a:cubicBezTo>
                  <a:cubicBezTo>
                    <a:pt x="306" y="147"/>
                    <a:pt x="306" y="146"/>
                    <a:pt x="307" y="144"/>
                  </a:cubicBezTo>
                  <a:cubicBezTo>
                    <a:pt x="308" y="143"/>
                    <a:pt x="308" y="143"/>
                    <a:pt x="308" y="143"/>
                  </a:cubicBezTo>
                  <a:cubicBezTo>
                    <a:pt x="308" y="143"/>
                    <a:pt x="308" y="143"/>
                    <a:pt x="308" y="143"/>
                  </a:cubicBezTo>
                  <a:cubicBezTo>
                    <a:pt x="309" y="141"/>
                    <a:pt x="309" y="141"/>
                    <a:pt x="309" y="141"/>
                  </a:cubicBezTo>
                  <a:cubicBezTo>
                    <a:pt x="311" y="141"/>
                    <a:pt x="311" y="141"/>
                    <a:pt x="311" y="141"/>
                  </a:cubicBezTo>
                  <a:cubicBezTo>
                    <a:pt x="311" y="141"/>
                    <a:pt x="311" y="141"/>
                    <a:pt x="311" y="141"/>
                  </a:cubicBezTo>
                  <a:cubicBezTo>
                    <a:pt x="312" y="141"/>
                    <a:pt x="312" y="141"/>
                    <a:pt x="312" y="141"/>
                  </a:cubicBezTo>
                  <a:cubicBezTo>
                    <a:pt x="313" y="141"/>
                    <a:pt x="313" y="141"/>
                    <a:pt x="313" y="141"/>
                  </a:cubicBezTo>
                  <a:cubicBezTo>
                    <a:pt x="313" y="141"/>
                    <a:pt x="314" y="142"/>
                    <a:pt x="314" y="142"/>
                  </a:cubicBezTo>
                  <a:cubicBezTo>
                    <a:pt x="315" y="142"/>
                    <a:pt x="315" y="142"/>
                    <a:pt x="315" y="142"/>
                  </a:cubicBezTo>
                  <a:cubicBezTo>
                    <a:pt x="316" y="142"/>
                    <a:pt x="316" y="142"/>
                    <a:pt x="316" y="142"/>
                  </a:cubicBezTo>
                  <a:cubicBezTo>
                    <a:pt x="316" y="143"/>
                    <a:pt x="317" y="143"/>
                    <a:pt x="318" y="143"/>
                  </a:cubicBezTo>
                  <a:cubicBezTo>
                    <a:pt x="318" y="144"/>
                    <a:pt x="318" y="144"/>
                    <a:pt x="319" y="144"/>
                  </a:cubicBezTo>
                  <a:cubicBezTo>
                    <a:pt x="319" y="144"/>
                    <a:pt x="319" y="144"/>
                    <a:pt x="319" y="144"/>
                  </a:cubicBezTo>
                  <a:cubicBezTo>
                    <a:pt x="319" y="144"/>
                    <a:pt x="319" y="144"/>
                    <a:pt x="319" y="144"/>
                  </a:cubicBezTo>
                  <a:cubicBezTo>
                    <a:pt x="320" y="144"/>
                    <a:pt x="320" y="144"/>
                    <a:pt x="320" y="144"/>
                  </a:cubicBezTo>
                  <a:cubicBezTo>
                    <a:pt x="320" y="144"/>
                    <a:pt x="321" y="144"/>
                    <a:pt x="321" y="143"/>
                  </a:cubicBezTo>
                  <a:cubicBezTo>
                    <a:pt x="322" y="143"/>
                    <a:pt x="323" y="142"/>
                    <a:pt x="325" y="142"/>
                  </a:cubicBezTo>
                  <a:cubicBezTo>
                    <a:pt x="325" y="142"/>
                    <a:pt x="325" y="142"/>
                    <a:pt x="325" y="142"/>
                  </a:cubicBezTo>
                  <a:cubicBezTo>
                    <a:pt x="326" y="141"/>
                    <a:pt x="326" y="141"/>
                    <a:pt x="326" y="141"/>
                  </a:cubicBezTo>
                  <a:cubicBezTo>
                    <a:pt x="327" y="140"/>
                    <a:pt x="328" y="139"/>
                    <a:pt x="329" y="139"/>
                  </a:cubicBezTo>
                  <a:cubicBezTo>
                    <a:pt x="330" y="138"/>
                    <a:pt x="330" y="138"/>
                    <a:pt x="330" y="138"/>
                  </a:cubicBezTo>
                  <a:cubicBezTo>
                    <a:pt x="331" y="138"/>
                    <a:pt x="331" y="137"/>
                    <a:pt x="331" y="137"/>
                  </a:cubicBezTo>
                  <a:cubicBezTo>
                    <a:pt x="332" y="136"/>
                    <a:pt x="332" y="136"/>
                    <a:pt x="333" y="136"/>
                  </a:cubicBezTo>
                  <a:cubicBezTo>
                    <a:pt x="334" y="135"/>
                    <a:pt x="334" y="135"/>
                    <a:pt x="335" y="134"/>
                  </a:cubicBezTo>
                  <a:cubicBezTo>
                    <a:pt x="335" y="134"/>
                    <a:pt x="335" y="134"/>
                    <a:pt x="335" y="134"/>
                  </a:cubicBezTo>
                  <a:cubicBezTo>
                    <a:pt x="338" y="132"/>
                    <a:pt x="338" y="132"/>
                    <a:pt x="338" y="132"/>
                  </a:cubicBezTo>
                  <a:cubicBezTo>
                    <a:pt x="349" y="145"/>
                    <a:pt x="349" y="145"/>
                    <a:pt x="349" y="145"/>
                  </a:cubicBezTo>
                  <a:cubicBezTo>
                    <a:pt x="347" y="147"/>
                    <a:pt x="347" y="147"/>
                    <a:pt x="347" y="147"/>
                  </a:cubicBezTo>
                  <a:cubicBezTo>
                    <a:pt x="345" y="149"/>
                    <a:pt x="342" y="151"/>
                    <a:pt x="340" y="153"/>
                  </a:cubicBezTo>
                  <a:cubicBezTo>
                    <a:pt x="341" y="154"/>
                    <a:pt x="342" y="155"/>
                    <a:pt x="343" y="156"/>
                  </a:cubicBezTo>
                  <a:cubicBezTo>
                    <a:pt x="344" y="156"/>
                    <a:pt x="344" y="156"/>
                    <a:pt x="346" y="156"/>
                  </a:cubicBezTo>
                  <a:cubicBezTo>
                    <a:pt x="346" y="156"/>
                    <a:pt x="346" y="156"/>
                    <a:pt x="346" y="156"/>
                  </a:cubicBezTo>
                  <a:cubicBezTo>
                    <a:pt x="347" y="156"/>
                    <a:pt x="347" y="156"/>
                    <a:pt x="348" y="156"/>
                  </a:cubicBezTo>
                  <a:cubicBezTo>
                    <a:pt x="349" y="155"/>
                    <a:pt x="349" y="155"/>
                    <a:pt x="349" y="155"/>
                  </a:cubicBezTo>
                  <a:cubicBezTo>
                    <a:pt x="349" y="155"/>
                    <a:pt x="349" y="155"/>
                    <a:pt x="349" y="155"/>
                  </a:cubicBezTo>
                  <a:cubicBezTo>
                    <a:pt x="350" y="155"/>
                    <a:pt x="351" y="155"/>
                    <a:pt x="351" y="155"/>
                  </a:cubicBezTo>
                  <a:cubicBezTo>
                    <a:pt x="352" y="154"/>
                    <a:pt x="352" y="154"/>
                    <a:pt x="352" y="154"/>
                  </a:cubicBezTo>
                  <a:cubicBezTo>
                    <a:pt x="353" y="154"/>
                    <a:pt x="355" y="154"/>
                    <a:pt x="357" y="154"/>
                  </a:cubicBezTo>
                  <a:cubicBezTo>
                    <a:pt x="358" y="154"/>
                    <a:pt x="358" y="154"/>
                    <a:pt x="358" y="154"/>
                  </a:cubicBezTo>
                  <a:cubicBezTo>
                    <a:pt x="359" y="154"/>
                    <a:pt x="359" y="154"/>
                    <a:pt x="360" y="154"/>
                  </a:cubicBezTo>
                  <a:cubicBezTo>
                    <a:pt x="361" y="155"/>
                    <a:pt x="362" y="155"/>
                    <a:pt x="363" y="156"/>
                  </a:cubicBezTo>
                  <a:cubicBezTo>
                    <a:pt x="364" y="156"/>
                    <a:pt x="365" y="156"/>
                    <a:pt x="365" y="157"/>
                  </a:cubicBezTo>
                  <a:cubicBezTo>
                    <a:pt x="366" y="157"/>
                    <a:pt x="367" y="158"/>
                    <a:pt x="367" y="158"/>
                  </a:cubicBezTo>
                  <a:cubicBezTo>
                    <a:pt x="368" y="158"/>
                    <a:pt x="369" y="157"/>
                    <a:pt x="370" y="157"/>
                  </a:cubicBezTo>
                  <a:cubicBezTo>
                    <a:pt x="370" y="156"/>
                    <a:pt x="370" y="156"/>
                    <a:pt x="370" y="156"/>
                  </a:cubicBezTo>
                  <a:cubicBezTo>
                    <a:pt x="371" y="156"/>
                    <a:pt x="371" y="156"/>
                    <a:pt x="371" y="156"/>
                  </a:cubicBezTo>
                  <a:cubicBezTo>
                    <a:pt x="372" y="155"/>
                    <a:pt x="372" y="155"/>
                    <a:pt x="372" y="155"/>
                  </a:cubicBezTo>
                  <a:cubicBezTo>
                    <a:pt x="372" y="155"/>
                    <a:pt x="372" y="154"/>
                    <a:pt x="372" y="154"/>
                  </a:cubicBezTo>
                  <a:cubicBezTo>
                    <a:pt x="373" y="153"/>
                    <a:pt x="374" y="152"/>
                    <a:pt x="374" y="151"/>
                  </a:cubicBezTo>
                  <a:cubicBezTo>
                    <a:pt x="376" y="150"/>
                    <a:pt x="376" y="150"/>
                    <a:pt x="376" y="150"/>
                  </a:cubicBezTo>
                  <a:cubicBezTo>
                    <a:pt x="376" y="150"/>
                    <a:pt x="376" y="150"/>
                    <a:pt x="376" y="150"/>
                  </a:cubicBezTo>
                  <a:cubicBezTo>
                    <a:pt x="377" y="150"/>
                    <a:pt x="377" y="150"/>
                    <a:pt x="377" y="150"/>
                  </a:cubicBezTo>
                  <a:cubicBezTo>
                    <a:pt x="377" y="151"/>
                    <a:pt x="377" y="151"/>
                    <a:pt x="377" y="151"/>
                  </a:cubicBezTo>
                  <a:cubicBezTo>
                    <a:pt x="377" y="150"/>
                    <a:pt x="377" y="150"/>
                    <a:pt x="377" y="150"/>
                  </a:cubicBezTo>
                  <a:cubicBezTo>
                    <a:pt x="377" y="150"/>
                    <a:pt x="377" y="150"/>
                    <a:pt x="378" y="150"/>
                  </a:cubicBezTo>
                  <a:cubicBezTo>
                    <a:pt x="378" y="150"/>
                    <a:pt x="378" y="150"/>
                    <a:pt x="378" y="150"/>
                  </a:cubicBezTo>
                  <a:cubicBezTo>
                    <a:pt x="378" y="150"/>
                    <a:pt x="379" y="150"/>
                    <a:pt x="379" y="150"/>
                  </a:cubicBezTo>
                  <a:cubicBezTo>
                    <a:pt x="379" y="140"/>
                    <a:pt x="379" y="140"/>
                    <a:pt x="379" y="140"/>
                  </a:cubicBezTo>
                  <a:cubicBezTo>
                    <a:pt x="375" y="141"/>
                    <a:pt x="375" y="141"/>
                    <a:pt x="375" y="141"/>
                  </a:cubicBezTo>
                  <a:cubicBezTo>
                    <a:pt x="375" y="137"/>
                    <a:pt x="375" y="137"/>
                    <a:pt x="375" y="137"/>
                  </a:cubicBezTo>
                  <a:cubicBezTo>
                    <a:pt x="375" y="137"/>
                    <a:pt x="375" y="137"/>
                    <a:pt x="375" y="136"/>
                  </a:cubicBezTo>
                  <a:cubicBezTo>
                    <a:pt x="375" y="136"/>
                    <a:pt x="375" y="135"/>
                    <a:pt x="375" y="135"/>
                  </a:cubicBezTo>
                  <a:cubicBezTo>
                    <a:pt x="374" y="135"/>
                    <a:pt x="374" y="135"/>
                    <a:pt x="374" y="135"/>
                  </a:cubicBezTo>
                  <a:cubicBezTo>
                    <a:pt x="374" y="135"/>
                    <a:pt x="374" y="135"/>
                    <a:pt x="374" y="135"/>
                  </a:cubicBezTo>
                  <a:cubicBezTo>
                    <a:pt x="373" y="135"/>
                    <a:pt x="373" y="135"/>
                    <a:pt x="373" y="135"/>
                  </a:cubicBezTo>
                  <a:cubicBezTo>
                    <a:pt x="372" y="135"/>
                    <a:pt x="371" y="134"/>
                    <a:pt x="370" y="133"/>
                  </a:cubicBezTo>
                  <a:cubicBezTo>
                    <a:pt x="370" y="132"/>
                    <a:pt x="369" y="132"/>
                    <a:pt x="369" y="131"/>
                  </a:cubicBezTo>
                  <a:cubicBezTo>
                    <a:pt x="368" y="130"/>
                    <a:pt x="368" y="129"/>
                    <a:pt x="367" y="128"/>
                  </a:cubicBezTo>
                  <a:cubicBezTo>
                    <a:pt x="367" y="131"/>
                    <a:pt x="367" y="131"/>
                    <a:pt x="367" y="131"/>
                  </a:cubicBezTo>
                  <a:cubicBezTo>
                    <a:pt x="364" y="131"/>
                    <a:pt x="364" y="131"/>
                    <a:pt x="364" y="131"/>
                  </a:cubicBezTo>
                  <a:cubicBezTo>
                    <a:pt x="364" y="131"/>
                    <a:pt x="364" y="131"/>
                    <a:pt x="364" y="131"/>
                  </a:cubicBezTo>
                  <a:cubicBezTo>
                    <a:pt x="364" y="131"/>
                    <a:pt x="364" y="131"/>
                    <a:pt x="363" y="131"/>
                  </a:cubicBezTo>
                  <a:cubicBezTo>
                    <a:pt x="363" y="131"/>
                    <a:pt x="363" y="131"/>
                    <a:pt x="363" y="131"/>
                  </a:cubicBezTo>
                  <a:cubicBezTo>
                    <a:pt x="363" y="132"/>
                    <a:pt x="363" y="132"/>
                    <a:pt x="363" y="132"/>
                  </a:cubicBezTo>
                  <a:cubicBezTo>
                    <a:pt x="363" y="133"/>
                    <a:pt x="363" y="133"/>
                    <a:pt x="363" y="134"/>
                  </a:cubicBezTo>
                  <a:cubicBezTo>
                    <a:pt x="363" y="137"/>
                    <a:pt x="363" y="137"/>
                    <a:pt x="363" y="137"/>
                  </a:cubicBezTo>
                  <a:cubicBezTo>
                    <a:pt x="360" y="136"/>
                    <a:pt x="360" y="136"/>
                    <a:pt x="360" y="136"/>
                  </a:cubicBezTo>
                  <a:cubicBezTo>
                    <a:pt x="359" y="136"/>
                    <a:pt x="359" y="136"/>
                    <a:pt x="358" y="136"/>
                  </a:cubicBezTo>
                  <a:cubicBezTo>
                    <a:pt x="358" y="136"/>
                    <a:pt x="357" y="136"/>
                    <a:pt x="357" y="136"/>
                  </a:cubicBezTo>
                  <a:cubicBezTo>
                    <a:pt x="356" y="136"/>
                    <a:pt x="356" y="136"/>
                    <a:pt x="356" y="136"/>
                  </a:cubicBezTo>
                  <a:cubicBezTo>
                    <a:pt x="355" y="136"/>
                    <a:pt x="355" y="136"/>
                    <a:pt x="354" y="136"/>
                  </a:cubicBezTo>
                  <a:cubicBezTo>
                    <a:pt x="351" y="135"/>
                    <a:pt x="348" y="135"/>
                    <a:pt x="345" y="133"/>
                  </a:cubicBezTo>
                  <a:cubicBezTo>
                    <a:pt x="343" y="132"/>
                    <a:pt x="342" y="130"/>
                    <a:pt x="341" y="128"/>
                  </a:cubicBezTo>
                  <a:cubicBezTo>
                    <a:pt x="341" y="128"/>
                    <a:pt x="341" y="128"/>
                    <a:pt x="341" y="128"/>
                  </a:cubicBezTo>
                  <a:cubicBezTo>
                    <a:pt x="339" y="128"/>
                    <a:pt x="339" y="128"/>
                    <a:pt x="339" y="128"/>
                  </a:cubicBezTo>
                  <a:cubicBezTo>
                    <a:pt x="339" y="128"/>
                    <a:pt x="338" y="128"/>
                    <a:pt x="338" y="128"/>
                  </a:cubicBezTo>
                  <a:cubicBezTo>
                    <a:pt x="337" y="128"/>
                    <a:pt x="335" y="128"/>
                    <a:pt x="334" y="126"/>
                  </a:cubicBezTo>
                  <a:cubicBezTo>
                    <a:pt x="334" y="126"/>
                    <a:pt x="334" y="126"/>
                    <a:pt x="334" y="126"/>
                  </a:cubicBezTo>
                  <a:cubicBezTo>
                    <a:pt x="333" y="126"/>
                    <a:pt x="333" y="126"/>
                    <a:pt x="333" y="126"/>
                  </a:cubicBezTo>
                  <a:cubicBezTo>
                    <a:pt x="333" y="126"/>
                    <a:pt x="333" y="126"/>
                    <a:pt x="333" y="126"/>
                  </a:cubicBezTo>
                  <a:cubicBezTo>
                    <a:pt x="333" y="126"/>
                    <a:pt x="332" y="126"/>
                    <a:pt x="332" y="126"/>
                  </a:cubicBezTo>
                  <a:cubicBezTo>
                    <a:pt x="332" y="126"/>
                    <a:pt x="331" y="126"/>
                    <a:pt x="330" y="126"/>
                  </a:cubicBezTo>
                  <a:cubicBezTo>
                    <a:pt x="330" y="125"/>
                    <a:pt x="330" y="125"/>
                    <a:pt x="330" y="125"/>
                  </a:cubicBezTo>
                  <a:cubicBezTo>
                    <a:pt x="329" y="125"/>
                    <a:pt x="329" y="124"/>
                    <a:pt x="328" y="124"/>
                  </a:cubicBezTo>
                  <a:cubicBezTo>
                    <a:pt x="327" y="121"/>
                    <a:pt x="329" y="119"/>
                    <a:pt x="331" y="117"/>
                  </a:cubicBezTo>
                  <a:cubicBezTo>
                    <a:pt x="333" y="115"/>
                    <a:pt x="337" y="113"/>
                    <a:pt x="340" y="110"/>
                  </a:cubicBezTo>
                  <a:cubicBezTo>
                    <a:pt x="327" y="118"/>
                    <a:pt x="327" y="118"/>
                    <a:pt x="327" y="118"/>
                  </a:cubicBezTo>
                  <a:cubicBezTo>
                    <a:pt x="324" y="119"/>
                    <a:pt x="321" y="121"/>
                    <a:pt x="317" y="124"/>
                  </a:cubicBezTo>
                  <a:cubicBezTo>
                    <a:pt x="316" y="125"/>
                    <a:pt x="316" y="125"/>
                    <a:pt x="316" y="125"/>
                  </a:cubicBezTo>
                  <a:cubicBezTo>
                    <a:pt x="315" y="126"/>
                    <a:pt x="313" y="127"/>
                    <a:pt x="311" y="128"/>
                  </a:cubicBezTo>
                  <a:cubicBezTo>
                    <a:pt x="315" y="133"/>
                    <a:pt x="315" y="133"/>
                    <a:pt x="315" y="133"/>
                  </a:cubicBezTo>
                  <a:cubicBezTo>
                    <a:pt x="310" y="129"/>
                    <a:pt x="310" y="129"/>
                    <a:pt x="310" y="129"/>
                  </a:cubicBezTo>
                  <a:cubicBezTo>
                    <a:pt x="310" y="129"/>
                    <a:pt x="310" y="129"/>
                    <a:pt x="310" y="129"/>
                  </a:cubicBezTo>
                  <a:cubicBezTo>
                    <a:pt x="309" y="130"/>
                    <a:pt x="308" y="131"/>
                    <a:pt x="307" y="132"/>
                  </a:cubicBezTo>
                  <a:cubicBezTo>
                    <a:pt x="306" y="133"/>
                    <a:pt x="306" y="134"/>
                    <a:pt x="304" y="135"/>
                  </a:cubicBezTo>
                  <a:cubicBezTo>
                    <a:pt x="302" y="136"/>
                    <a:pt x="302" y="136"/>
                    <a:pt x="302" y="136"/>
                  </a:cubicBezTo>
                  <a:cubicBezTo>
                    <a:pt x="299" y="138"/>
                    <a:pt x="298" y="140"/>
                    <a:pt x="297" y="141"/>
                  </a:cubicBezTo>
                  <a:cubicBezTo>
                    <a:pt x="297" y="142"/>
                    <a:pt x="297" y="142"/>
                    <a:pt x="297" y="142"/>
                  </a:cubicBezTo>
                  <a:cubicBezTo>
                    <a:pt x="297" y="143"/>
                    <a:pt x="297" y="143"/>
                    <a:pt x="297" y="143"/>
                  </a:cubicBezTo>
                  <a:cubicBezTo>
                    <a:pt x="297" y="146"/>
                    <a:pt x="297" y="149"/>
                    <a:pt x="295" y="150"/>
                  </a:cubicBezTo>
                  <a:cubicBezTo>
                    <a:pt x="295" y="151"/>
                    <a:pt x="294" y="151"/>
                    <a:pt x="294" y="151"/>
                  </a:cubicBezTo>
                  <a:cubicBezTo>
                    <a:pt x="293" y="151"/>
                    <a:pt x="293" y="151"/>
                    <a:pt x="293" y="151"/>
                  </a:cubicBezTo>
                  <a:cubicBezTo>
                    <a:pt x="293" y="150"/>
                    <a:pt x="293" y="150"/>
                    <a:pt x="293" y="150"/>
                  </a:cubicBezTo>
                  <a:cubicBezTo>
                    <a:pt x="293" y="151"/>
                    <a:pt x="293" y="151"/>
                    <a:pt x="293" y="151"/>
                  </a:cubicBezTo>
                  <a:cubicBezTo>
                    <a:pt x="292" y="151"/>
                    <a:pt x="292" y="151"/>
                    <a:pt x="292" y="151"/>
                  </a:cubicBezTo>
                  <a:cubicBezTo>
                    <a:pt x="292" y="151"/>
                    <a:pt x="292" y="151"/>
                    <a:pt x="292" y="151"/>
                  </a:cubicBezTo>
                  <a:cubicBezTo>
                    <a:pt x="291" y="151"/>
                    <a:pt x="291" y="151"/>
                    <a:pt x="291" y="151"/>
                  </a:cubicBezTo>
                  <a:cubicBezTo>
                    <a:pt x="291" y="150"/>
                    <a:pt x="291" y="150"/>
                    <a:pt x="291" y="150"/>
                  </a:cubicBezTo>
                  <a:cubicBezTo>
                    <a:pt x="291" y="150"/>
                    <a:pt x="291" y="150"/>
                    <a:pt x="291" y="150"/>
                  </a:cubicBezTo>
                  <a:cubicBezTo>
                    <a:pt x="290" y="151"/>
                    <a:pt x="290" y="151"/>
                    <a:pt x="290" y="151"/>
                  </a:cubicBezTo>
                  <a:cubicBezTo>
                    <a:pt x="290" y="151"/>
                    <a:pt x="289" y="151"/>
                    <a:pt x="289" y="151"/>
                  </a:cubicBezTo>
                  <a:cubicBezTo>
                    <a:pt x="285" y="149"/>
                    <a:pt x="282" y="147"/>
                    <a:pt x="278" y="145"/>
                  </a:cubicBezTo>
                  <a:cubicBezTo>
                    <a:pt x="275" y="143"/>
                    <a:pt x="275" y="143"/>
                    <a:pt x="275" y="143"/>
                  </a:cubicBezTo>
                  <a:cubicBezTo>
                    <a:pt x="278" y="140"/>
                    <a:pt x="278" y="140"/>
                    <a:pt x="278" y="140"/>
                  </a:cubicBezTo>
                  <a:cubicBezTo>
                    <a:pt x="278" y="140"/>
                    <a:pt x="279" y="139"/>
                    <a:pt x="280" y="138"/>
                  </a:cubicBezTo>
                  <a:cubicBezTo>
                    <a:pt x="279" y="137"/>
                    <a:pt x="279" y="137"/>
                    <a:pt x="279" y="137"/>
                  </a:cubicBezTo>
                  <a:cubicBezTo>
                    <a:pt x="279" y="137"/>
                    <a:pt x="279" y="137"/>
                    <a:pt x="279" y="137"/>
                  </a:cubicBezTo>
                  <a:cubicBezTo>
                    <a:pt x="278" y="137"/>
                    <a:pt x="278" y="137"/>
                    <a:pt x="278" y="137"/>
                  </a:cubicBezTo>
                  <a:cubicBezTo>
                    <a:pt x="278" y="136"/>
                    <a:pt x="277" y="136"/>
                    <a:pt x="277" y="136"/>
                  </a:cubicBezTo>
                  <a:cubicBezTo>
                    <a:pt x="277" y="136"/>
                    <a:pt x="276" y="135"/>
                    <a:pt x="276" y="135"/>
                  </a:cubicBezTo>
                  <a:cubicBezTo>
                    <a:pt x="276" y="135"/>
                    <a:pt x="276" y="135"/>
                    <a:pt x="275" y="135"/>
                  </a:cubicBezTo>
                  <a:cubicBezTo>
                    <a:pt x="274" y="135"/>
                    <a:pt x="273" y="135"/>
                    <a:pt x="273" y="135"/>
                  </a:cubicBezTo>
                  <a:cubicBezTo>
                    <a:pt x="272" y="135"/>
                    <a:pt x="272" y="135"/>
                    <a:pt x="272" y="135"/>
                  </a:cubicBezTo>
                  <a:cubicBezTo>
                    <a:pt x="271" y="135"/>
                    <a:pt x="271" y="135"/>
                    <a:pt x="271" y="135"/>
                  </a:cubicBezTo>
                  <a:cubicBezTo>
                    <a:pt x="250" y="136"/>
                    <a:pt x="250" y="136"/>
                    <a:pt x="250" y="136"/>
                  </a:cubicBezTo>
                  <a:cubicBezTo>
                    <a:pt x="250" y="136"/>
                    <a:pt x="250" y="136"/>
                    <a:pt x="250" y="136"/>
                  </a:cubicBezTo>
                  <a:cubicBezTo>
                    <a:pt x="249" y="135"/>
                    <a:pt x="247" y="134"/>
                    <a:pt x="247" y="133"/>
                  </a:cubicBezTo>
                  <a:cubicBezTo>
                    <a:pt x="247" y="132"/>
                    <a:pt x="246" y="131"/>
                    <a:pt x="246" y="130"/>
                  </a:cubicBezTo>
                  <a:cubicBezTo>
                    <a:pt x="246" y="128"/>
                    <a:pt x="246" y="128"/>
                    <a:pt x="246" y="128"/>
                  </a:cubicBezTo>
                  <a:cubicBezTo>
                    <a:pt x="245" y="127"/>
                    <a:pt x="245" y="127"/>
                    <a:pt x="245" y="127"/>
                  </a:cubicBezTo>
                  <a:cubicBezTo>
                    <a:pt x="244" y="124"/>
                    <a:pt x="244" y="124"/>
                    <a:pt x="244" y="124"/>
                  </a:cubicBezTo>
                  <a:cubicBezTo>
                    <a:pt x="244" y="121"/>
                    <a:pt x="243" y="118"/>
                    <a:pt x="242" y="115"/>
                  </a:cubicBezTo>
                  <a:cubicBezTo>
                    <a:pt x="242" y="114"/>
                    <a:pt x="242" y="114"/>
                    <a:pt x="242" y="113"/>
                  </a:cubicBezTo>
                  <a:cubicBezTo>
                    <a:pt x="242" y="113"/>
                    <a:pt x="242" y="113"/>
                    <a:pt x="242" y="113"/>
                  </a:cubicBezTo>
                  <a:cubicBezTo>
                    <a:pt x="242" y="113"/>
                    <a:pt x="242" y="112"/>
                    <a:pt x="242" y="112"/>
                  </a:cubicBezTo>
                  <a:cubicBezTo>
                    <a:pt x="241" y="112"/>
                    <a:pt x="241" y="112"/>
                    <a:pt x="241" y="112"/>
                  </a:cubicBezTo>
                  <a:cubicBezTo>
                    <a:pt x="241" y="112"/>
                    <a:pt x="240" y="112"/>
                    <a:pt x="240" y="112"/>
                  </a:cubicBezTo>
                  <a:cubicBezTo>
                    <a:pt x="239" y="112"/>
                    <a:pt x="238" y="112"/>
                    <a:pt x="237" y="112"/>
                  </a:cubicBezTo>
                  <a:cubicBezTo>
                    <a:pt x="237" y="112"/>
                    <a:pt x="236" y="112"/>
                    <a:pt x="236" y="112"/>
                  </a:cubicBezTo>
                  <a:cubicBezTo>
                    <a:pt x="236" y="112"/>
                    <a:pt x="236" y="112"/>
                    <a:pt x="236" y="112"/>
                  </a:cubicBezTo>
                  <a:cubicBezTo>
                    <a:pt x="235" y="112"/>
                    <a:pt x="235" y="112"/>
                    <a:pt x="235" y="112"/>
                  </a:cubicBezTo>
                  <a:cubicBezTo>
                    <a:pt x="233" y="112"/>
                    <a:pt x="231" y="111"/>
                    <a:pt x="231" y="109"/>
                  </a:cubicBezTo>
                  <a:cubicBezTo>
                    <a:pt x="230" y="108"/>
                    <a:pt x="230" y="106"/>
                    <a:pt x="230" y="104"/>
                  </a:cubicBezTo>
                  <a:cubicBezTo>
                    <a:pt x="230" y="103"/>
                    <a:pt x="230" y="102"/>
                    <a:pt x="231" y="101"/>
                  </a:cubicBezTo>
                  <a:cubicBezTo>
                    <a:pt x="231" y="100"/>
                    <a:pt x="231" y="100"/>
                    <a:pt x="231" y="100"/>
                  </a:cubicBezTo>
                  <a:cubicBezTo>
                    <a:pt x="231" y="98"/>
                    <a:pt x="231" y="96"/>
                    <a:pt x="231" y="94"/>
                  </a:cubicBezTo>
                  <a:cubicBezTo>
                    <a:pt x="232" y="92"/>
                    <a:pt x="232" y="91"/>
                    <a:pt x="232" y="89"/>
                  </a:cubicBezTo>
                  <a:cubicBezTo>
                    <a:pt x="232" y="88"/>
                    <a:pt x="232" y="88"/>
                    <a:pt x="232" y="88"/>
                  </a:cubicBezTo>
                  <a:cubicBezTo>
                    <a:pt x="232" y="87"/>
                    <a:pt x="233" y="86"/>
                    <a:pt x="233" y="85"/>
                  </a:cubicBezTo>
                  <a:cubicBezTo>
                    <a:pt x="232" y="85"/>
                    <a:pt x="232" y="85"/>
                    <a:pt x="231" y="85"/>
                  </a:cubicBezTo>
                  <a:cubicBezTo>
                    <a:pt x="228" y="85"/>
                    <a:pt x="226" y="83"/>
                    <a:pt x="225" y="82"/>
                  </a:cubicBezTo>
                  <a:cubicBezTo>
                    <a:pt x="225" y="81"/>
                    <a:pt x="225" y="81"/>
                    <a:pt x="225" y="81"/>
                  </a:cubicBezTo>
                  <a:cubicBezTo>
                    <a:pt x="224" y="81"/>
                    <a:pt x="224" y="81"/>
                    <a:pt x="224" y="81"/>
                  </a:cubicBezTo>
                  <a:cubicBezTo>
                    <a:pt x="224" y="80"/>
                    <a:pt x="224" y="80"/>
                    <a:pt x="224" y="80"/>
                  </a:cubicBezTo>
                  <a:cubicBezTo>
                    <a:pt x="223" y="79"/>
                    <a:pt x="223" y="79"/>
                    <a:pt x="223" y="79"/>
                  </a:cubicBezTo>
                  <a:cubicBezTo>
                    <a:pt x="221" y="76"/>
                    <a:pt x="219" y="74"/>
                    <a:pt x="216" y="72"/>
                  </a:cubicBezTo>
                  <a:cubicBezTo>
                    <a:pt x="214" y="71"/>
                    <a:pt x="214" y="71"/>
                    <a:pt x="214" y="71"/>
                  </a:cubicBezTo>
                  <a:cubicBezTo>
                    <a:pt x="214" y="70"/>
                    <a:pt x="213" y="70"/>
                    <a:pt x="213" y="69"/>
                  </a:cubicBezTo>
                  <a:cubicBezTo>
                    <a:pt x="211" y="67"/>
                    <a:pt x="211" y="67"/>
                    <a:pt x="211" y="67"/>
                  </a:cubicBezTo>
                  <a:cubicBezTo>
                    <a:pt x="210" y="66"/>
                    <a:pt x="209" y="65"/>
                    <a:pt x="208" y="64"/>
                  </a:cubicBezTo>
                  <a:cubicBezTo>
                    <a:pt x="207" y="64"/>
                    <a:pt x="207" y="63"/>
                    <a:pt x="206" y="63"/>
                  </a:cubicBezTo>
                  <a:cubicBezTo>
                    <a:pt x="205" y="63"/>
                    <a:pt x="204" y="64"/>
                    <a:pt x="204" y="64"/>
                  </a:cubicBezTo>
                  <a:cubicBezTo>
                    <a:pt x="203" y="65"/>
                    <a:pt x="203" y="65"/>
                    <a:pt x="203" y="65"/>
                  </a:cubicBezTo>
                  <a:cubicBezTo>
                    <a:pt x="206" y="69"/>
                    <a:pt x="206" y="69"/>
                    <a:pt x="206" y="69"/>
                  </a:cubicBezTo>
                  <a:cubicBezTo>
                    <a:pt x="202" y="65"/>
                    <a:pt x="202" y="65"/>
                    <a:pt x="202" y="65"/>
                  </a:cubicBezTo>
                  <a:cubicBezTo>
                    <a:pt x="201" y="66"/>
                    <a:pt x="201" y="66"/>
                    <a:pt x="201" y="66"/>
                  </a:cubicBezTo>
                  <a:cubicBezTo>
                    <a:pt x="200" y="66"/>
                    <a:pt x="198" y="67"/>
                    <a:pt x="196" y="67"/>
                  </a:cubicBezTo>
                  <a:cubicBezTo>
                    <a:pt x="195" y="67"/>
                    <a:pt x="195" y="67"/>
                    <a:pt x="195" y="67"/>
                  </a:cubicBezTo>
                  <a:cubicBezTo>
                    <a:pt x="188" y="67"/>
                    <a:pt x="188" y="67"/>
                    <a:pt x="188" y="67"/>
                  </a:cubicBezTo>
                  <a:cubicBezTo>
                    <a:pt x="186" y="66"/>
                    <a:pt x="183" y="66"/>
                    <a:pt x="181" y="66"/>
                  </a:cubicBezTo>
                  <a:cubicBezTo>
                    <a:pt x="177" y="66"/>
                    <a:pt x="173" y="65"/>
                    <a:pt x="170" y="65"/>
                  </a:cubicBezTo>
                  <a:cubicBezTo>
                    <a:pt x="169" y="65"/>
                    <a:pt x="167" y="66"/>
                    <a:pt x="166" y="66"/>
                  </a:cubicBezTo>
                  <a:cubicBezTo>
                    <a:pt x="162" y="66"/>
                    <a:pt x="158" y="67"/>
                    <a:pt x="153" y="68"/>
                  </a:cubicBezTo>
                  <a:cubicBezTo>
                    <a:pt x="149" y="68"/>
                    <a:pt x="146" y="69"/>
                    <a:pt x="142" y="69"/>
                  </a:cubicBezTo>
                  <a:cubicBezTo>
                    <a:pt x="142" y="69"/>
                    <a:pt x="141" y="69"/>
                    <a:pt x="141" y="69"/>
                  </a:cubicBezTo>
                  <a:cubicBezTo>
                    <a:pt x="140" y="69"/>
                    <a:pt x="139" y="69"/>
                    <a:pt x="138" y="69"/>
                  </a:cubicBezTo>
                  <a:cubicBezTo>
                    <a:pt x="138" y="69"/>
                    <a:pt x="138" y="69"/>
                    <a:pt x="138" y="69"/>
                  </a:cubicBezTo>
                  <a:cubicBezTo>
                    <a:pt x="137" y="69"/>
                    <a:pt x="136" y="68"/>
                    <a:pt x="135" y="67"/>
                  </a:cubicBezTo>
                  <a:cubicBezTo>
                    <a:pt x="134" y="67"/>
                    <a:pt x="134" y="67"/>
                    <a:pt x="134" y="67"/>
                  </a:cubicBezTo>
                  <a:cubicBezTo>
                    <a:pt x="134" y="66"/>
                    <a:pt x="133" y="66"/>
                    <a:pt x="132" y="65"/>
                  </a:cubicBezTo>
                  <a:cubicBezTo>
                    <a:pt x="131" y="64"/>
                    <a:pt x="131" y="64"/>
                    <a:pt x="131" y="64"/>
                  </a:cubicBezTo>
                  <a:cubicBezTo>
                    <a:pt x="131" y="63"/>
                    <a:pt x="131" y="63"/>
                    <a:pt x="130" y="63"/>
                  </a:cubicBezTo>
                  <a:cubicBezTo>
                    <a:pt x="128" y="60"/>
                    <a:pt x="125" y="57"/>
                    <a:pt x="122" y="54"/>
                  </a:cubicBezTo>
                  <a:cubicBezTo>
                    <a:pt x="122" y="54"/>
                    <a:pt x="117" y="49"/>
                    <a:pt x="115" y="45"/>
                  </a:cubicBezTo>
                  <a:cubicBezTo>
                    <a:pt x="113" y="42"/>
                    <a:pt x="101" y="35"/>
                    <a:pt x="96" y="32"/>
                  </a:cubicBezTo>
                  <a:cubicBezTo>
                    <a:pt x="94" y="31"/>
                    <a:pt x="94" y="31"/>
                    <a:pt x="94" y="31"/>
                  </a:cubicBezTo>
                  <a:cubicBezTo>
                    <a:pt x="94" y="35"/>
                    <a:pt x="94" y="39"/>
                    <a:pt x="93" y="42"/>
                  </a:cubicBezTo>
                  <a:cubicBezTo>
                    <a:pt x="93" y="43"/>
                    <a:pt x="93" y="44"/>
                    <a:pt x="92" y="45"/>
                  </a:cubicBezTo>
                  <a:cubicBezTo>
                    <a:pt x="91" y="46"/>
                    <a:pt x="88" y="47"/>
                    <a:pt x="88" y="48"/>
                  </a:cubicBezTo>
                  <a:cubicBezTo>
                    <a:pt x="88" y="48"/>
                    <a:pt x="89" y="51"/>
                    <a:pt x="89" y="51"/>
                  </a:cubicBezTo>
                  <a:cubicBezTo>
                    <a:pt x="88" y="51"/>
                    <a:pt x="88" y="51"/>
                    <a:pt x="88" y="51"/>
                  </a:cubicBezTo>
                  <a:cubicBezTo>
                    <a:pt x="87" y="51"/>
                    <a:pt x="87" y="49"/>
                    <a:pt x="86" y="49"/>
                  </a:cubicBezTo>
                  <a:cubicBezTo>
                    <a:pt x="86" y="49"/>
                    <a:pt x="86" y="49"/>
                    <a:pt x="86" y="49"/>
                  </a:cubicBezTo>
                  <a:cubicBezTo>
                    <a:pt x="85" y="49"/>
                    <a:pt x="85" y="49"/>
                    <a:pt x="84" y="50"/>
                  </a:cubicBezTo>
                  <a:cubicBezTo>
                    <a:pt x="83" y="50"/>
                    <a:pt x="83" y="50"/>
                    <a:pt x="82" y="50"/>
                  </a:cubicBezTo>
                  <a:cubicBezTo>
                    <a:pt x="82" y="50"/>
                    <a:pt x="82" y="50"/>
                    <a:pt x="81" y="50"/>
                  </a:cubicBezTo>
                  <a:cubicBezTo>
                    <a:pt x="78" y="50"/>
                    <a:pt x="80" y="48"/>
                    <a:pt x="78" y="46"/>
                  </a:cubicBezTo>
                  <a:cubicBezTo>
                    <a:pt x="75" y="43"/>
                    <a:pt x="73" y="40"/>
                    <a:pt x="72" y="35"/>
                  </a:cubicBezTo>
                  <a:cubicBezTo>
                    <a:pt x="71" y="30"/>
                    <a:pt x="75" y="26"/>
                    <a:pt x="77" y="20"/>
                  </a:cubicBezTo>
                  <a:cubicBezTo>
                    <a:pt x="78" y="21"/>
                    <a:pt x="78" y="21"/>
                    <a:pt x="78" y="21"/>
                  </a:cubicBezTo>
                  <a:cubicBezTo>
                    <a:pt x="78" y="19"/>
                    <a:pt x="78" y="19"/>
                    <a:pt x="78" y="19"/>
                  </a:cubicBezTo>
                  <a:cubicBezTo>
                    <a:pt x="79" y="19"/>
                    <a:pt x="79" y="19"/>
                    <a:pt x="79" y="19"/>
                  </a:cubicBezTo>
                  <a:cubicBezTo>
                    <a:pt x="83" y="21"/>
                    <a:pt x="87" y="24"/>
                    <a:pt x="91" y="26"/>
                  </a:cubicBezTo>
                  <a:cubicBezTo>
                    <a:pt x="87" y="24"/>
                    <a:pt x="83" y="21"/>
                    <a:pt x="79" y="19"/>
                  </a:cubicBezTo>
                  <a:cubicBezTo>
                    <a:pt x="79" y="19"/>
                    <a:pt x="79" y="18"/>
                    <a:pt x="79" y="18"/>
                  </a:cubicBezTo>
                  <a:cubicBezTo>
                    <a:pt x="79" y="17"/>
                    <a:pt x="79" y="17"/>
                    <a:pt x="79" y="17"/>
                  </a:cubicBezTo>
                  <a:cubicBezTo>
                    <a:pt x="78" y="17"/>
                    <a:pt x="78" y="17"/>
                    <a:pt x="78" y="17"/>
                  </a:cubicBezTo>
                  <a:cubicBezTo>
                    <a:pt x="79" y="16"/>
                    <a:pt x="79" y="16"/>
                    <a:pt x="79" y="15"/>
                  </a:cubicBezTo>
                  <a:cubicBezTo>
                    <a:pt x="78" y="16"/>
                    <a:pt x="78" y="16"/>
                    <a:pt x="78" y="16"/>
                  </a:cubicBezTo>
                  <a:cubicBezTo>
                    <a:pt x="77" y="15"/>
                    <a:pt x="77" y="12"/>
                    <a:pt x="77" y="11"/>
                  </a:cubicBezTo>
                  <a:cubicBezTo>
                    <a:pt x="77" y="9"/>
                    <a:pt x="77" y="7"/>
                    <a:pt x="76" y="7"/>
                  </a:cubicBezTo>
                  <a:cubicBezTo>
                    <a:pt x="76" y="7"/>
                    <a:pt x="76" y="7"/>
                    <a:pt x="75" y="8"/>
                  </a:cubicBezTo>
                  <a:cubicBezTo>
                    <a:pt x="75" y="7"/>
                    <a:pt x="75" y="6"/>
                    <a:pt x="75" y="6"/>
                  </a:cubicBezTo>
                  <a:cubicBezTo>
                    <a:pt x="74" y="5"/>
                    <a:pt x="73" y="5"/>
                    <a:pt x="72" y="4"/>
                  </a:cubicBezTo>
                  <a:cubicBezTo>
                    <a:pt x="72" y="3"/>
                    <a:pt x="72" y="1"/>
                    <a:pt x="71" y="0"/>
                  </a:cubicBezTo>
                  <a:cubicBezTo>
                    <a:pt x="71" y="0"/>
                    <a:pt x="70" y="0"/>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9" name="Freeform 298">
              <a:extLst>
                <a:ext uri="{FF2B5EF4-FFF2-40B4-BE49-F238E27FC236}">
                  <a16:creationId xmlns:a16="http://schemas.microsoft.com/office/drawing/2014/main" id="{EB1590F0-FDA9-41AC-888D-AF455B6D754E}"/>
                </a:ext>
              </a:extLst>
            </p:cNvPr>
            <p:cNvSpPr>
              <a:spLocks noEditPoints="1"/>
            </p:cNvSpPr>
            <p:nvPr/>
          </p:nvSpPr>
          <p:spPr bwMode="auto">
            <a:xfrm>
              <a:off x="6563" y="1344"/>
              <a:ext cx="425" cy="475"/>
            </a:xfrm>
            <a:custGeom>
              <a:avLst/>
              <a:gdLst>
                <a:gd name="T0" fmla="*/ 133 w 180"/>
                <a:gd name="T1" fmla="*/ 143 h 201"/>
                <a:gd name="T2" fmla="*/ 100 w 180"/>
                <a:gd name="T3" fmla="*/ 0 h 201"/>
                <a:gd name="T4" fmla="*/ 94 w 180"/>
                <a:gd name="T5" fmla="*/ 4 h 201"/>
                <a:gd name="T6" fmla="*/ 89 w 180"/>
                <a:gd name="T7" fmla="*/ 5 h 201"/>
                <a:gd name="T8" fmla="*/ 88 w 180"/>
                <a:gd name="T9" fmla="*/ 13 h 201"/>
                <a:gd name="T10" fmla="*/ 89 w 180"/>
                <a:gd name="T11" fmla="*/ 14 h 201"/>
                <a:gd name="T12" fmla="*/ 95 w 180"/>
                <a:gd name="T13" fmla="*/ 21 h 201"/>
                <a:gd name="T14" fmla="*/ 84 w 180"/>
                <a:gd name="T15" fmla="*/ 23 h 201"/>
                <a:gd name="T16" fmla="*/ 84 w 180"/>
                <a:gd name="T17" fmla="*/ 28 h 201"/>
                <a:gd name="T18" fmla="*/ 82 w 180"/>
                <a:gd name="T19" fmla="*/ 23 h 201"/>
                <a:gd name="T20" fmla="*/ 79 w 180"/>
                <a:gd name="T21" fmla="*/ 28 h 201"/>
                <a:gd name="T22" fmla="*/ 77 w 180"/>
                <a:gd name="T23" fmla="*/ 40 h 201"/>
                <a:gd name="T24" fmla="*/ 75 w 180"/>
                <a:gd name="T25" fmla="*/ 49 h 201"/>
                <a:gd name="T26" fmla="*/ 74 w 180"/>
                <a:gd name="T27" fmla="*/ 52 h 201"/>
                <a:gd name="T28" fmla="*/ 77 w 180"/>
                <a:gd name="T29" fmla="*/ 56 h 201"/>
                <a:gd name="T30" fmla="*/ 80 w 180"/>
                <a:gd name="T31" fmla="*/ 62 h 201"/>
                <a:gd name="T32" fmla="*/ 82 w 180"/>
                <a:gd name="T33" fmla="*/ 67 h 201"/>
                <a:gd name="T34" fmla="*/ 82 w 180"/>
                <a:gd name="T35" fmla="*/ 77 h 201"/>
                <a:gd name="T36" fmla="*/ 77 w 180"/>
                <a:gd name="T37" fmla="*/ 96 h 201"/>
                <a:gd name="T38" fmla="*/ 74 w 180"/>
                <a:gd name="T39" fmla="*/ 105 h 201"/>
                <a:gd name="T40" fmla="*/ 73 w 180"/>
                <a:gd name="T41" fmla="*/ 107 h 201"/>
                <a:gd name="T42" fmla="*/ 72 w 180"/>
                <a:gd name="T43" fmla="*/ 111 h 201"/>
                <a:gd name="T44" fmla="*/ 72 w 180"/>
                <a:gd name="T45" fmla="*/ 113 h 201"/>
                <a:gd name="T46" fmla="*/ 68 w 180"/>
                <a:gd name="T47" fmla="*/ 122 h 201"/>
                <a:gd name="T48" fmla="*/ 67 w 180"/>
                <a:gd name="T49" fmla="*/ 123 h 201"/>
                <a:gd name="T50" fmla="*/ 40 w 180"/>
                <a:gd name="T51" fmla="*/ 132 h 201"/>
                <a:gd name="T52" fmla="*/ 0 w 180"/>
                <a:gd name="T53" fmla="*/ 146 h 201"/>
                <a:gd name="T54" fmla="*/ 25 w 180"/>
                <a:gd name="T55" fmla="*/ 201 h 201"/>
                <a:gd name="T56" fmla="*/ 52 w 180"/>
                <a:gd name="T57" fmla="*/ 192 h 201"/>
                <a:gd name="T58" fmla="*/ 58 w 180"/>
                <a:gd name="T59" fmla="*/ 193 h 201"/>
                <a:gd name="T60" fmla="*/ 66 w 180"/>
                <a:gd name="T61" fmla="*/ 193 h 201"/>
                <a:gd name="T62" fmla="*/ 79 w 180"/>
                <a:gd name="T63" fmla="*/ 172 h 201"/>
                <a:gd name="T64" fmla="*/ 93 w 180"/>
                <a:gd name="T65" fmla="*/ 170 h 201"/>
                <a:gd name="T66" fmla="*/ 103 w 180"/>
                <a:gd name="T67" fmla="*/ 164 h 201"/>
                <a:gd name="T68" fmla="*/ 109 w 180"/>
                <a:gd name="T69" fmla="*/ 150 h 201"/>
                <a:gd name="T70" fmla="*/ 133 w 180"/>
                <a:gd name="T71" fmla="*/ 143 h 201"/>
                <a:gd name="T72" fmla="*/ 133 w 180"/>
                <a:gd name="T73" fmla="*/ 142 h 201"/>
                <a:gd name="T74" fmla="*/ 132 w 180"/>
                <a:gd name="T75" fmla="*/ 140 h 201"/>
                <a:gd name="T76" fmla="*/ 131 w 180"/>
                <a:gd name="T77" fmla="*/ 134 h 201"/>
                <a:gd name="T78" fmla="*/ 133 w 180"/>
                <a:gd name="T79" fmla="*/ 120 h 201"/>
                <a:gd name="T80" fmla="*/ 142 w 180"/>
                <a:gd name="T81" fmla="*/ 105 h 201"/>
                <a:gd name="T82" fmla="*/ 144 w 180"/>
                <a:gd name="T83" fmla="*/ 110 h 201"/>
                <a:gd name="T84" fmla="*/ 149 w 180"/>
                <a:gd name="T85" fmla="*/ 107 h 201"/>
                <a:gd name="T86" fmla="*/ 162 w 180"/>
                <a:gd name="T87" fmla="*/ 89 h 201"/>
                <a:gd name="T88" fmla="*/ 176 w 180"/>
                <a:gd name="T89" fmla="*/ 71 h 201"/>
                <a:gd name="T90" fmla="*/ 176 w 180"/>
                <a:gd name="T91" fmla="*/ 57 h 201"/>
                <a:gd name="T92" fmla="*/ 167 w 180"/>
                <a:gd name="T93" fmla="*/ 50 h 201"/>
                <a:gd name="T94" fmla="*/ 156 w 180"/>
                <a:gd name="T95" fmla="*/ 36 h 201"/>
                <a:gd name="T96" fmla="*/ 150 w 180"/>
                <a:gd name="T97" fmla="*/ 30 h 201"/>
                <a:gd name="T98" fmla="*/ 147 w 180"/>
                <a:gd name="T99" fmla="*/ 30 h 201"/>
                <a:gd name="T100" fmla="*/ 132 w 180"/>
                <a:gd name="T101" fmla="*/ 27 h 201"/>
                <a:gd name="T102" fmla="*/ 109 w 180"/>
                <a:gd name="T103" fmla="*/ 14 h 201"/>
                <a:gd name="T104" fmla="*/ 102 w 180"/>
                <a:gd name="T105" fmla="*/ 4 h 201"/>
                <a:gd name="T106" fmla="*/ 100 w 180"/>
                <a:gd name="T10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201">
                  <a:moveTo>
                    <a:pt x="133" y="143"/>
                  </a:moveTo>
                  <a:cubicBezTo>
                    <a:pt x="133" y="143"/>
                    <a:pt x="133" y="143"/>
                    <a:pt x="133" y="143"/>
                  </a:cubicBezTo>
                  <a:cubicBezTo>
                    <a:pt x="133" y="143"/>
                    <a:pt x="133" y="143"/>
                    <a:pt x="133" y="143"/>
                  </a:cubicBezTo>
                  <a:moveTo>
                    <a:pt x="100" y="0"/>
                  </a:moveTo>
                  <a:cubicBezTo>
                    <a:pt x="99" y="2"/>
                    <a:pt x="98" y="2"/>
                    <a:pt x="97" y="3"/>
                  </a:cubicBezTo>
                  <a:cubicBezTo>
                    <a:pt x="96" y="3"/>
                    <a:pt x="95" y="4"/>
                    <a:pt x="94" y="4"/>
                  </a:cubicBezTo>
                  <a:cubicBezTo>
                    <a:pt x="90" y="8"/>
                    <a:pt x="90" y="8"/>
                    <a:pt x="90" y="8"/>
                  </a:cubicBezTo>
                  <a:cubicBezTo>
                    <a:pt x="89" y="5"/>
                    <a:pt x="89" y="5"/>
                    <a:pt x="89" y="5"/>
                  </a:cubicBezTo>
                  <a:cubicBezTo>
                    <a:pt x="89" y="5"/>
                    <a:pt x="89" y="5"/>
                    <a:pt x="89" y="5"/>
                  </a:cubicBezTo>
                  <a:cubicBezTo>
                    <a:pt x="88" y="7"/>
                    <a:pt x="88" y="10"/>
                    <a:pt x="88" y="13"/>
                  </a:cubicBezTo>
                  <a:cubicBezTo>
                    <a:pt x="88" y="14"/>
                    <a:pt x="88" y="14"/>
                    <a:pt x="88" y="14"/>
                  </a:cubicBezTo>
                  <a:cubicBezTo>
                    <a:pt x="89" y="14"/>
                    <a:pt x="89" y="14"/>
                    <a:pt x="89" y="14"/>
                  </a:cubicBezTo>
                  <a:cubicBezTo>
                    <a:pt x="91" y="16"/>
                    <a:pt x="92" y="17"/>
                    <a:pt x="93" y="18"/>
                  </a:cubicBezTo>
                  <a:cubicBezTo>
                    <a:pt x="95" y="21"/>
                    <a:pt x="95" y="21"/>
                    <a:pt x="95" y="21"/>
                  </a:cubicBezTo>
                  <a:cubicBezTo>
                    <a:pt x="89" y="22"/>
                    <a:pt x="89" y="22"/>
                    <a:pt x="89" y="22"/>
                  </a:cubicBezTo>
                  <a:cubicBezTo>
                    <a:pt x="87" y="23"/>
                    <a:pt x="86" y="23"/>
                    <a:pt x="84" y="23"/>
                  </a:cubicBezTo>
                  <a:cubicBezTo>
                    <a:pt x="84" y="23"/>
                    <a:pt x="84" y="23"/>
                    <a:pt x="84" y="23"/>
                  </a:cubicBezTo>
                  <a:cubicBezTo>
                    <a:pt x="84" y="28"/>
                    <a:pt x="84" y="28"/>
                    <a:pt x="84" y="28"/>
                  </a:cubicBezTo>
                  <a:cubicBezTo>
                    <a:pt x="82" y="23"/>
                    <a:pt x="82" y="23"/>
                    <a:pt x="82" y="23"/>
                  </a:cubicBezTo>
                  <a:cubicBezTo>
                    <a:pt x="82" y="23"/>
                    <a:pt x="82" y="23"/>
                    <a:pt x="82" y="23"/>
                  </a:cubicBezTo>
                  <a:cubicBezTo>
                    <a:pt x="80" y="24"/>
                    <a:pt x="80" y="25"/>
                    <a:pt x="79" y="27"/>
                  </a:cubicBezTo>
                  <a:cubicBezTo>
                    <a:pt x="79" y="28"/>
                    <a:pt x="79" y="28"/>
                    <a:pt x="79" y="28"/>
                  </a:cubicBezTo>
                  <a:cubicBezTo>
                    <a:pt x="79" y="29"/>
                    <a:pt x="79" y="30"/>
                    <a:pt x="79" y="31"/>
                  </a:cubicBezTo>
                  <a:cubicBezTo>
                    <a:pt x="78" y="34"/>
                    <a:pt x="77" y="37"/>
                    <a:pt x="77" y="40"/>
                  </a:cubicBezTo>
                  <a:cubicBezTo>
                    <a:pt x="75" y="47"/>
                    <a:pt x="75" y="47"/>
                    <a:pt x="75" y="47"/>
                  </a:cubicBezTo>
                  <a:cubicBezTo>
                    <a:pt x="75" y="48"/>
                    <a:pt x="75" y="48"/>
                    <a:pt x="75" y="49"/>
                  </a:cubicBezTo>
                  <a:cubicBezTo>
                    <a:pt x="75" y="50"/>
                    <a:pt x="75" y="50"/>
                    <a:pt x="75" y="50"/>
                  </a:cubicBezTo>
                  <a:cubicBezTo>
                    <a:pt x="75" y="50"/>
                    <a:pt x="74" y="52"/>
                    <a:pt x="74" y="52"/>
                  </a:cubicBezTo>
                  <a:cubicBezTo>
                    <a:pt x="75" y="54"/>
                    <a:pt x="76" y="55"/>
                    <a:pt x="76" y="56"/>
                  </a:cubicBezTo>
                  <a:cubicBezTo>
                    <a:pt x="77" y="56"/>
                    <a:pt x="77" y="56"/>
                    <a:pt x="77" y="56"/>
                  </a:cubicBezTo>
                  <a:cubicBezTo>
                    <a:pt x="77" y="58"/>
                    <a:pt x="78" y="59"/>
                    <a:pt x="79" y="61"/>
                  </a:cubicBezTo>
                  <a:cubicBezTo>
                    <a:pt x="80" y="62"/>
                    <a:pt x="80" y="62"/>
                    <a:pt x="80" y="62"/>
                  </a:cubicBezTo>
                  <a:cubicBezTo>
                    <a:pt x="80" y="64"/>
                    <a:pt x="81" y="65"/>
                    <a:pt x="81" y="66"/>
                  </a:cubicBezTo>
                  <a:cubicBezTo>
                    <a:pt x="81" y="66"/>
                    <a:pt x="81" y="67"/>
                    <a:pt x="82" y="67"/>
                  </a:cubicBezTo>
                  <a:cubicBezTo>
                    <a:pt x="82" y="69"/>
                    <a:pt x="83" y="71"/>
                    <a:pt x="83" y="73"/>
                  </a:cubicBezTo>
                  <a:cubicBezTo>
                    <a:pt x="83" y="74"/>
                    <a:pt x="82" y="76"/>
                    <a:pt x="82" y="77"/>
                  </a:cubicBezTo>
                  <a:cubicBezTo>
                    <a:pt x="82" y="81"/>
                    <a:pt x="81" y="83"/>
                    <a:pt x="80" y="86"/>
                  </a:cubicBezTo>
                  <a:cubicBezTo>
                    <a:pt x="77" y="96"/>
                    <a:pt x="77" y="96"/>
                    <a:pt x="77" y="96"/>
                  </a:cubicBezTo>
                  <a:cubicBezTo>
                    <a:pt x="76" y="98"/>
                    <a:pt x="75" y="101"/>
                    <a:pt x="74" y="104"/>
                  </a:cubicBezTo>
                  <a:cubicBezTo>
                    <a:pt x="74" y="105"/>
                    <a:pt x="74" y="105"/>
                    <a:pt x="74" y="105"/>
                  </a:cubicBezTo>
                  <a:cubicBezTo>
                    <a:pt x="74" y="106"/>
                    <a:pt x="74" y="106"/>
                    <a:pt x="74" y="106"/>
                  </a:cubicBezTo>
                  <a:cubicBezTo>
                    <a:pt x="73" y="107"/>
                    <a:pt x="73" y="107"/>
                    <a:pt x="73" y="107"/>
                  </a:cubicBezTo>
                  <a:cubicBezTo>
                    <a:pt x="73" y="109"/>
                    <a:pt x="73" y="109"/>
                    <a:pt x="73" y="109"/>
                  </a:cubicBezTo>
                  <a:cubicBezTo>
                    <a:pt x="73" y="110"/>
                    <a:pt x="72" y="111"/>
                    <a:pt x="72" y="111"/>
                  </a:cubicBezTo>
                  <a:cubicBezTo>
                    <a:pt x="72" y="112"/>
                    <a:pt x="72" y="112"/>
                    <a:pt x="72" y="112"/>
                  </a:cubicBezTo>
                  <a:cubicBezTo>
                    <a:pt x="72" y="113"/>
                    <a:pt x="72" y="113"/>
                    <a:pt x="72" y="113"/>
                  </a:cubicBezTo>
                  <a:cubicBezTo>
                    <a:pt x="71" y="115"/>
                    <a:pt x="71" y="118"/>
                    <a:pt x="70" y="119"/>
                  </a:cubicBezTo>
                  <a:cubicBezTo>
                    <a:pt x="69" y="120"/>
                    <a:pt x="69" y="121"/>
                    <a:pt x="68" y="122"/>
                  </a:cubicBezTo>
                  <a:cubicBezTo>
                    <a:pt x="69" y="125"/>
                    <a:pt x="69" y="125"/>
                    <a:pt x="69" y="125"/>
                  </a:cubicBezTo>
                  <a:cubicBezTo>
                    <a:pt x="67" y="123"/>
                    <a:pt x="67" y="123"/>
                    <a:pt x="67" y="123"/>
                  </a:cubicBezTo>
                  <a:cubicBezTo>
                    <a:pt x="63" y="124"/>
                    <a:pt x="63" y="124"/>
                    <a:pt x="63" y="124"/>
                  </a:cubicBezTo>
                  <a:cubicBezTo>
                    <a:pt x="55" y="127"/>
                    <a:pt x="48" y="129"/>
                    <a:pt x="40" y="132"/>
                  </a:cubicBezTo>
                  <a:cubicBezTo>
                    <a:pt x="3" y="145"/>
                    <a:pt x="3" y="145"/>
                    <a:pt x="3" y="145"/>
                  </a:cubicBezTo>
                  <a:cubicBezTo>
                    <a:pt x="1" y="145"/>
                    <a:pt x="1" y="145"/>
                    <a:pt x="0" y="146"/>
                  </a:cubicBezTo>
                  <a:cubicBezTo>
                    <a:pt x="7" y="162"/>
                    <a:pt x="7" y="162"/>
                    <a:pt x="7" y="162"/>
                  </a:cubicBezTo>
                  <a:cubicBezTo>
                    <a:pt x="13" y="175"/>
                    <a:pt x="19" y="188"/>
                    <a:pt x="25" y="201"/>
                  </a:cubicBezTo>
                  <a:cubicBezTo>
                    <a:pt x="28" y="200"/>
                    <a:pt x="33" y="197"/>
                    <a:pt x="35" y="196"/>
                  </a:cubicBezTo>
                  <a:cubicBezTo>
                    <a:pt x="41" y="194"/>
                    <a:pt x="46" y="192"/>
                    <a:pt x="52" y="192"/>
                  </a:cubicBezTo>
                  <a:cubicBezTo>
                    <a:pt x="52" y="192"/>
                    <a:pt x="52" y="192"/>
                    <a:pt x="52" y="192"/>
                  </a:cubicBezTo>
                  <a:cubicBezTo>
                    <a:pt x="54" y="192"/>
                    <a:pt x="56" y="192"/>
                    <a:pt x="58" y="193"/>
                  </a:cubicBezTo>
                  <a:cubicBezTo>
                    <a:pt x="60" y="193"/>
                    <a:pt x="62" y="193"/>
                    <a:pt x="63" y="193"/>
                  </a:cubicBezTo>
                  <a:cubicBezTo>
                    <a:pt x="64" y="193"/>
                    <a:pt x="65" y="193"/>
                    <a:pt x="66" y="193"/>
                  </a:cubicBezTo>
                  <a:cubicBezTo>
                    <a:pt x="66" y="193"/>
                    <a:pt x="67" y="192"/>
                    <a:pt x="67" y="192"/>
                  </a:cubicBezTo>
                  <a:cubicBezTo>
                    <a:pt x="75" y="188"/>
                    <a:pt x="70" y="175"/>
                    <a:pt x="79" y="172"/>
                  </a:cubicBezTo>
                  <a:cubicBezTo>
                    <a:pt x="81" y="171"/>
                    <a:pt x="84" y="171"/>
                    <a:pt x="86" y="171"/>
                  </a:cubicBezTo>
                  <a:cubicBezTo>
                    <a:pt x="88" y="171"/>
                    <a:pt x="91" y="171"/>
                    <a:pt x="93" y="170"/>
                  </a:cubicBezTo>
                  <a:cubicBezTo>
                    <a:pt x="96" y="169"/>
                    <a:pt x="100" y="168"/>
                    <a:pt x="102" y="166"/>
                  </a:cubicBezTo>
                  <a:cubicBezTo>
                    <a:pt x="103" y="164"/>
                    <a:pt x="102" y="165"/>
                    <a:pt x="103" y="164"/>
                  </a:cubicBezTo>
                  <a:cubicBezTo>
                    <a:pt x="104" y="162"/>
                    <a:pt x="104" y="161"/>
                    <a:pt x="104" y="160"/>
                  </a:cubicBezTo>
                  <a:cubicBezTo>
                    <a:pt x="106" y="157"/>
                    <a:pt x="107" y="153"/>
                    <a:pt x="109" y="150"/>
                  </a:cubicBezTo>
                  <a:cubicBezTo>
                    <a:pt x="109" y="149"/>
                    <a:pt x="115" y="149"/>
                    <a:pt x="116" y="148"/>
                  </a:cubicBezTo>
                  <a:cubicBezTo>
                    <a:pt x="120" y="147"/>
                    <a:pt x="132" y="146"/>
                    <a:pt x="133" y="143"/>
                  </a:cubicBezTo>
                  <a:cubicBezTo>
                    <a:pt x="133" y="143"/>
                    <a:pt x="133" y="143"/>
                    <a:pt x="133" y="143"/>
                  </a:cubicBezTo>
                  <a:cubicBezTo>
                    <a:pt x="133" y="143"/>
                    <a:pt x="133" y="142"/>
                    <a:pt x="133" y="142"/>
                  </a:cubicBezTo>
                  <a:cubicBezTo>
                    <a:pt x="132" y="141"/>
                    <a:pt x="132" y="140"/>
                    <a:pt x="132" y="140"/>
                  </a:cubicBezTo>
                  <a:cubicBezTo>
                    <a:pt x="132" y="140"/>
                    <a:pt x="132" y="140"/>
                    <a:pt x="132" y="140"/>
                  </a:cubicBezTo>
                  <a:cubicBezTo>
                    <a:pt x="132" y="139"/>
                    <a:pt x="131" y="139"/>
                    <a:pt x="131" y="137"/>
                  </a:cubicBezTo>
                  <a:cubicBezTo>
                    <a:pt x="131" y="136"/>
                    <a:pt x="132" y="135"/>
                    <a:pt x="131" y="134"/>
                  </a:cubicBezTo>
                  <a:cubicBezTo>
                    <a:pt x="131" y="132"/>
                    <a:pt x="130" y="130"/>
                    <a:pt x="130" y="128"/>
                  </a:cubicBezTo>
                  <a:cubicBezTo>
                    <a:pt x="130" y="125"/>
                    <a:pt x="132" y="122"/>
                    <a:pt x="133" y="120"/>
                  </a:cubicBezTo>
                  <a:cubicBezTo>
                    <a:pt x="134" y="116"/>
                    <a:pt x="137" y="106"/>
                    <a:pt x="141" y="105"/>
                  </a:cubicBezTo>
                  <a:cubicBezTo>
                    <a:pt x="141" y="105"/>
                    <a:pt x="142" y="105"/>
                    <a:pt x="142" y="105"/>
                  </a:cubicBezTo>
                  <a:cubicBezTo>
                    <a:pt x="143" y="105"/>
                    <a:pt x="144" y="106"/>
                    <a:pt x="142" y="107"/>
                  </a:cubicBezTo>
                  <a:cubicBezTo>
                    <a:pt x="140" y="110"/>
                    <a:pt x="142" y="110"/>
                    <a:pt x="144" y="110"/>
                  </a:cubicBezTo>
                  <a:cubicBezTo>
                    <a:pt x="145" y="110"/>
                    <a:pt x="145" y="110"/>
                    <a:pt x="146" y="110"/>
                  </a:cubicBezTo>
                  <a:cubicBezTo>
                    <a:pt x="149" y="109"/>
                    <a:pt x="148" y="109"/>
                    <a:pt x="149" y="107"/>
                  </a:cubicBezTo>
                  <a:cubicBezTo>
                    <a:pt x="151" y="105"/>
                    <a:pt x="152" y="103"/>
                    <a:pt x="154" y="101"/>
                  </a:cubicBezTo>
                  <a:cubicBezTo>
                    <a:pt x="157" y="97"/>
                    <a:pt x="158" y="92"/>
                    <a:pt x="162" y="89"/>
                  </a:cubicBezTo>
                  <a:cubicBezTo>
                    <a:pt x="166" y="86"/>
                    <a:pt x="168" y="85"/>
                    <a:pt x="170" y="81"/>
                  </a:cubicBezTo>
                  <a:cubicBezTo>
                    <a:pt x="172" y="78"/>
                    <a:pt x="176" y="74"/>
                    <a:pt x="176" y="71"/>
                  </a:cubicBezTo>
                  <a:cubicBezTo>
                    <a:pt x="178" y="67"/>
                    <a:pt x="180" y="65"/>
                    <a:pt x="180" y="61"/>
                  </a:cubicBezTo>
                  <a:cubicBezTo>
                    <a:pt x="180" y="58"/>
                    <a:pt x="179" y="57"/>
                    <a:pt x="176" y="57"/>
                  </a:cubicBezTo>
                  <a:cubicBezTo>
                    <a:pt x="173" y="57"/>
                    <a:pt x="172" y="56"/>
                    <a:pt x="171" y="54"/>
                  </a:cubicBezTo>
                  <a:cubicBezTo>
                    <a:pt x="169" y="53"/>
                    <a:pt x="168" y="51"/>
                    <a:pt x="167" y="50"/>
                  </a:cubicBezTo>
                  <a:cubicBezTo>
                    <a:pt x="165" y="48"/>
                    <a:pt x="164" y="46"/>
                    <a:pt x="162" y="44"/>
                  </a:cubicBezTo>
                  <a:cubicBezTo>
                    <a:pt x="160" y="41"/>
                    <a:pt x="158" y="38"/>
                    <a:pt x="156" y="36"/>
                  </a:cubicBezTo>
                  <a:cubicBezTo>
                    <a:pt x="154" y="34"/>
                    <a:pt x="152" y="30"/>
                    <a:pt x="151" y="30"/>
                  </a:cubicBezTo>
                  <a:cubicBezTo>
                    <a:pt x="150" y="30"/>
                    <a:pt x="150" y="30"/>
                    <a:pt x="150" y="30"/>
                  </a:cubicBezTo>
                  <a:cubicBezTo>
                    <a:pt x="149" y="30"/>
                    <a:pt x="148" y="30"/>
                    <a:pt x="147" y="30"/>
                  </a:cubicBezTo>
                  <a:cubicBezTo>
                    <a:pt x="147" y="30"/>
                    <a:pt x="147" y="30"/>
                    <a:pt x="147" y="30"/>
                  </a:cubicBezTo>
                  <a:cubicBezTo>
                    <a:pt x="145" y="30"/>
                    <a:pt x="144" y="30"/>
                    <a:pt x="142" y="29"/>
                  </a:cubicBezTo>
                  <a:cubicBezTo>
                    <a:pt x="138" y="27"/>
                    <a:pt x="136" y="28"/>
                    <a:pt x="132" y="27"/>
                  </a:cubicBezTo>
                  <a:cubicBezTo>
                    <a:pt x="127" y="24"/>
                    <a:pt x="119" y="24"/>
                    <a:pt x="114" y="20"/>
                  </a:cubicBezTo>
                  <a:cubicBezTo>
                    <a:pt x="112" y="18"/>
                    <a:pt x="111" y="16"/>
                    <a:pt x="109" y="14"/>
                  </a:cubicBezTo>
                  <a:cubicBezTo>
                    <a:pt x="108" y="12"/>
                    <a:pt x="105" y="11"/>
                    <a:pt x="104" y="8"/>
                  </a:cubicBezTo>
                  <a:cubicBezTo>
                    <a:pt x="103" y="7"/>
                    <a:pt x="102" y="5"/>
                    <a:pt x="102" y="4"/>
                  </a:cubicBezTo>
                  <a:cubicBezTo>
                    <a:pt x="101" y="3"/>
                    <a:pt x="101" y="2"/>
                    <a:pt x="100" y="1"/>
                  </a:cubicBezTo>
                  <a:cubicBezTo>
                    <a:pt x="100" y="0"/>
                    <a:pt x="100" y="0"/>
                    <a:pt x="1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0" name="Freeform 299">
              <a:extLst>
                <a:ext uri="{FF2B5EF4-FFF2-40B4-BE49-F238E27FC236}">
                  <a16:creationId xmlns:a16="http://schemas.microsoft.com/office/drawing/2014/main" id="{64EEFC60-5425-4AF0-9770-70DC5A806940}"/>
                </a:ext>
              </a:extLst>
            </p:cNvPr>
            <p:cNvSpPr>
              <a:spLocks/>
            </p:cNvSpPr>
            <p:nvPr/>
          </p:nvSpPr>
          <p:spPr bwMode="auto">
            <a:xfrm>
              <a:off x="6031" y="1691"/>
              <a:ext cx="577" cy="355"/>
            </a:xfrm>
            <a:custGeom>
              <a:avLst/>
              <a:gdLst>
                <a:gd name="T0" fmla="*/ 209 w 244"/>
                <a:gd name="T1" fmla="*/ 2 h 150"/>
                <a:gd name="T2" fmla="*/ 174 w 244"/>
                <a:gd name="T3" fmla="*/ 7 h 150"/>
                <a:gd name="T4" fmla="*/ 144 w 244"/>
                <a:gd name="T5" fmla="*/ 14 h 150"/>
                <a:gd name="T6" fmla="*/ 133 w 244"/>
                <a:gd name="T7" fmla="*/ 20 h 150"/>
                <a:gd name="T8" fmla="*/ 111 w 244"/>
                <a:gd name="T9" fmla="*/ 48 h 150"/>
                <a:gd name="T10" fmla="*/ 107 w 244"/>
                <a:gd name="T11" fmla="*/ 49 h 150"/>
                <a:gd name="T12" fmla="*/ 105 w 244"/>
                <a:gd name="T13" fmla="*/ 49 h 150"/>
                <a:gd name="T14" fmla="*/ 99 w 244"/>
                <a:gd name="T15" fmla="*/ 46 h 150"/>
                <a:gd name="T16" fmla="*/ 96 w 244"/>
                <a:gd name="T17" fmla="*/ 42 h 150"/>
                <a:gd name="T18" fmla="*/ 94 w 244"/>
                <a:gd name="T19" fmla="*/ 41 h 150"/>
                <a:gd name="T20" fmla="*/ 81 w 244"/>
                <a:gd name="T21" fmla="*/ 40 h 150"/>
                <a:gd name="T22" fmla="*/ 55 w 244"/>
                <a:gd name="T23" fmla="*/ 38 h 150"/>
                <a:gd name="T24" fmla="*/ 43 w 244"/>
                <a:gd name="T25" fmla="*/ 40 h 150"/>
                <a:gd name="T26" fmla="*/ 39 w 244"/>
                <a:gd name="T27" fmla="*/ 40 h 150"/>
                <a:gd name="T28" fmla="*/ 33 w 244"/>
                <a:gd name="T29" fmla="*/ 41 h 150"/>
                <a:gd name="T30" fmla="*/ 28 w 244"/>
                <a:gd name="T31" fmla="*/ 40 h 150"/>
                <a:gd name="T32" fmla="*/ 23 w 244"/>
                <a:gd name="T33" fmla="*/ 37 h 150"/>
                <a:gd name="T34" fmla="*/ 19 w 244"/>
                <a:gd name="T35" fmla="*/ 37 h 150"/>
                <a:gd name="T36" fmla="*/ 18 w 244"/>
                <a:gd name="T37" fmla="*/ 37 h 150"/>
                <a:gd name="T38" fmla="*/ 15 w 244"/>
                <a:gd name="T39" fmla="*/ 44 h 150"/>
                <a:gd name="T40" fmla="*/ 15 w 244"/>
                <a:gd name="T41" fmla="*/ 45 h 150"/>
                <a:gd name="T42" fmla="*/ 15 w 244"/>
                <a:gd name="T43" fmla="*/ 47 h 150"/>
                <a:gd name="T44" fmla="*/ 16 w 244"/>
                <a:gd name="T45" fmla="*/ 49 h 150"/>
                <a:gd name="T46" fmla="*/ 13 w 244"/>
                <a:gd name="T47" fmla="*/ 58 h 150"/>
                <a:gd name="T48" fmla="*/ 8 w 244"/>
                <a:gd name="T49" fmla="*/ 61 h 150"/>
                <a:gd name="T50" fmla="*/ 5 w 244"/>
                <a:gd name="T51" fmla="*/ 64 h 150"/>
                <a:gd name="T52" fmla="*/ 5 w 244"/>
                <a:gd name="T53" fmla="*/ 72 h 150"/>
                <a:gd name="T54" fmla="*/ 4 w 244"/>
                <a:gd name="T55" fmla="*/ 81 h 150"/>
                <a:gd name="T56" fmla="*/ 3 w 244"/>
                <a:gd name="T57" fmla="*/ 87 h 150"/>
                <a:gd name="T58" fmla="*/ 1 w 244"/>
                <a:gd name="T59" fmla="*/ 89 h 150"/>
                <a:gd name="T60" fmla="*/ 2 w 244"/>
                <a:gd name="T61" fmla="*/ 89 h 150"/>
                <a:gd name="T62" fmla="*/ 4 w 244"/>
                <a:gd name="T63" fmla="*/ 90 h 150"/>
                <a:gd name="T64" fmla="*/ 9 w 244"/>
                <a:gd name="T65" fmla="*/ 109 h 150"/>
                <a:gd name="T66" fmla="*/ 15 w 244"/>
                <a:gd name="T67" fmla="*/ 133 h 150"/>
                <a:gd name="T68" fmla="*/ 20 w 244"/>
                <a:gd name="T69" fmla="*/ 149 h 150"/>
                <a:gd name="T70" fmla="*/ 35 w 244"/>
                <a:gd name="T71" fmla="*/ 150 h 150"/>
                <a:gd name="T72" fmla="*/ 41 w 244"/>
                <a:gd name="T73" fmla="*/ 150 h 150"/>
                <a:gd name="T74" fmla="*/ 45 w 244"/>
                <a:gd name="T75" fmla="*/ 148 h 150"/>
                <a:gd name="T76" fmla="*/ 49 w 244"/>
                <a:gd name="T77" fmla="*/ 147 h 150"/>
                <a:gd name="T78" fmla="*/ 58 w 244"/>
                <a:gd name="T79" fmla="*/ 148 h 150"/>
                <a:gd name="T80" fmla="*/ 78 w 244"/>
                <a:gd name="T81" fmla="*/ 133 h 150"/>
                <a:gd name="T82" fmla="*/ 122 w 244"/>
                <a:gd name="T83" fmla="*/ 119 h 150"/>
                <a:gd name="T84" fmla="*/ 133 w 244"/>
                <a:gd name="T85" fmla="*/ 118 h 150"/>
                <a:gd name="T86" fmla="*/ 143 w 244"/>
                <a:gd name="T87" fmla="*/ 117 h 150"/>
                <a:gd name="T88" fmla="*/ 160 w 244"/>
                <a:gd name="T89" fmla="*/ 102 h 150"/>
                <a:gd name="T90" fmla="*/ 189 w 244"/>
                <a:gd name="T91" fmla="*/ 93 h 150"/>
                <a:gd name="T92" fmla="*/ 219 w 244"/>
                <a:gd name="T93" fmla="*/ 82 h 150"/>
                <a:gd name="T94" fmla="*/ 226 w 244"/>
                <a:gd name="T95" fmla="*/ 76 h 150"/>
                <a:gd name="T96" fmla="*/ 225 w 244"/>
                <a:gd name="T97" fmla="*/ 73 h 150"/>
                <a:gd name="T98" fmla="*/ 237 w 244"/>
                <a:gd name="T99" fmla="*/ 58 h 150"/>
                <a:gd name="T100" fmla="*/ 226 w 244"/>
                <a:gd name="T101" fmla="*/ 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150">
                  <a:moveTo>
                    <a:pt x="219" y="0"/>
                  </a:moveTo>
                  <a:cubicBezTo>
                    <a:pt x="215" y="1"/>
                    <a:pt x="212" y="2"/>
                    <a:pt x="209" y="2"/>
                  </a:cubicBezTo>
                  <a:cubicBezTo>
                    <a:pt x="198" y="4"/>
                    <a:pt x="187" y="5"/>
                    <a:pt x="178" y="7"/>
                  </a:cubicBezTo>
                  <a:cubicBezTo>
                    <a:pt x="174" y="7"/>
                    <a:pt x="174" y="7"/>
                    <a:pt x="174" y="7"/>
                  </a:cubicBezTo>
                  <a:cubicBezTo>
                    <a:pt x="165" y="7"/>
                    <a:pt x="156" y="8"/>
                    <a:pt x="149" y="12"/>
                  </a:cubicBezTo>
                  <a:cubicBezTo>
                    <a:pt x="148" y="12"/>
                    <a:pt x="146" y="13"/>
                    <a:pt x="144" y="14"/>
                  </a:cubicBezTo>
                  <a:cubicBezTo>
                    <a:pt x="140" y="15"/>
                    <a:pt x="136" y="17"/>
                    <a:pt x="134" y="19"/>
                  </a:cubicBezTo>
                  <a:cubicBezTo>
                    <a:pt x="133" y="20"/>
                    <a:pt x="133" y="20"/>
                    <a:pt x="133" y="20"/>
                  </a:cubicBezTo>
                  <a:cubicBezTo>
                    <a:pt x="118" y="42"/>
                    <a:pt x="118" y="42"/>
                    <a:pt x="118" y="42"/>
                  </a:cubicBezTo>
                  <a:cubicBezTo>
                    <a:pt x="116" y="44"/>
                    <a:pt x="114" y="46"/>
                    <a:pt x="111" y="48"/>
                  </a:cubicBezTo>
                  <a:cubicBezTo>
                    <a:pt x="110" y="48"/>
                    <a:pt x="109" y="48"/>
                    <a:pt x="108" y="49"/>
                  </a:cubicBezTo>
                  <a:cubicBezTo>
                    <a:pt x="107" y="49"/>
                    <a:pt x="107" y="49"/>
                    <a:pt x="107" y="49"/>
                  </a:cubicBezTo>
                  <a:cubicBezTo>
                    <a:pt x="107" y="49"/>
                    <a:pt x="106" y="49"/>
                    <a:pt x="105" y="49"/>
                  </a:cubicBezTo>
                  <a:cubicBezTo>
                    <a:pt x="105" y="49"/>
                    <a:pt x="105" y="49"/>
                    <a:pt x="105" y="49"/>
                  </a:cubicBezTo>
                  <a:cubicBezTo>
                    <a:pt x="104" y="49"/>
                    <a:pt x="104" y="49"/>
                    <a:pt x="104" y="49"/>
                  </a:cubicBezTo>
                  <a:cubicBezTo>
                    <a:pt x="102" y="49"/>
                    <a:pt x="100" y="48"/>
                    <a:pt x="99" y="46"/>
                  </a:cubicBezTo>
                  <a:cubicBezTo>
                    <a:pt x="99" y="46"/>
                    <a:pt x="98" y="45"/>
                    <a:pt x="98" y="45"/>
                  </a:cubicBezTo>
                  <a:cubicBezTo>
                    <a:pt x="97" y="43"/>
                    <a:pt x="96" y="42"/>
                    <a:pt x="96" y="42"/>
                  </a:cubicBezTo>
                  <a:cubicBezTo>
                    <a:pt x="95" y="42"/>
                    <a:pt x="95" y="42"/>
                    <a:pt x="95" y="42"/>
                  </a:cubicBezTo>
                  <a:cubicBezTo>
                    <a:pt x="94" y="41"/>
                    <a:pt x="94" y="41"/>
                    <a:pt x="94" y="41"/>
                  </a:cubicBezTo>
                  <a:cubicBezTo>
                    <a:pt x="90" y="41"/>
                    <a:pt x="86" y="41"/>
                    <a:pt x="82" y="40"/>
                  </a:cubicBezTo>
                  <a:cubicBezTo>
                    <a:pt x="81" y="40"/>
                    <a:pt x="81" y="40"/>
                    <a:pt x="81" y="40"/>
                  </a:cubicBezTo>
                  <a:cubicBezTo>
                    <a:pt x="74" y="39"/>
                    <a:pt x="67" y="38"/>
                    <a:pt x="60" y="38"/>
                  </a:cubicBezTo>
                  <a:cubicBezTo>
                    <a:pt x="58" y="38"/>
                    <a:pt x="57" y="38"/>
                    <a:pt x="55" y="38"/>
                  </a:cubicBezTo>
                  <a:cubicBezTo>
                    <a:pt x="52" y="38"/>
                    <a:pt x="49" y="39"/>
                    <a:pt x="45" y="39"/>
                  </a:cubicBezTo>
                  <a:cubicBezTo>
                    <a:pt x="43" y="40"/>
                    <a:pt x="43" y="40"/>
                    <a:pt x="43" y="40"/>
                  </a:cubicBezTo>
                  <a:cubicBezTo>
                    <a:pt x="42" y="40"/>
                    <a:pt x="41" y="40"/>
                    <a:pt x="41" y="40"/>
                  </a:cubicBezTo>
                  <a:cubicBezTo>
                    <a:pt x="40" y="40"/>
                    <a:pt x="39" y="40"/>
                    <a:pt x="39" y="40"/>
                  </a:cubicBezTo>
                  <a:cubicBezTo>
                    <a:pt x="37" y="41"/>
                    <a:pt x="37" y="41"/>
                    <a:pt x="37" y="41"/>
                  </a:cubicBezTo>
                  <a:cubicBezTo>
                    <a:pt x="36" y="41"/>
                    <a:pt x="35" y="41"/>
                    <a:pt x="33" y="41"/>
                  </a:cubicBezTo>
                  <a:cubicBezTo>
                    <a:pt x="32" y="41"/>
                    <a:pt x="30" y="41"/>
                    <a:pt x="29" y="41"/>
                  </a:cubicBezTo>
                  <a:cubicBezTo>
                    <a:pt x="28" y="40"/>
                    <a:pt x="28" y="40"/>
                    <a:pt x="28" y="40"/>
                  </a:cubicBezTo>
                  <a:cubicBezTo>
                    <a:pt x="26" y="40"/>
                    <a:pt x="24" y="39"/>
                    <a:pt x="23" y="37"/>
                  </a:cubicBezTo>
                  <a:cubicBezTo>
                    <a:pt x="23" y="37"/>
                    <a:pt x="23" y="37"/>
                    <a:pt x="23" y="37"/>
                  </a:cubicBezTo>
                  <a:cubicBezTo>
                    <a:pt x="22" y="37"/>
                    <a:pt x="22" y="37"/>
                    <a:pt x="21" y="37"/>
                  </a:cubicBezTo>
                  <a:cubicBezTo>
                    <a:pt x="21" y="37"/>
                    <a:pt x="20" y="37"/>
                    <a:pt x="19" y="37"/>
                  </a:cubicBezTo>
                  <a:cubicBezTo>
                    <a:pt x="19" y="37"/>
                    <a:pt x="19" y="37"/>
                    <a:pt x="19" y="37"/>
                  </a:cubicBezTo>
                  <a:cubicBezTo>
                    <a:pt x="18" y="37"/>
                    <a:pt x="18" y="37"/>
                    <a:pt x="18" y="37"/>
                  </a:cubicBezTo>
                  <a:cubicBezTo>
                    <a:pt x="18" y="38"/>
                    <a:pt x="17" y="39"/>
                    <a:pt x="16" y="42"/>
                  </a:cubicBezTo>
                  <a:cubicBezTo>
                    <a:pt x="15" y="43"/>
                    <a:pt x="15" y="44"/>
                    <a:pt x="15" y="44"/>
                  </a:cubicBezTo>
                  <a:cubicBezTo>
                    <a:pt x="15" y="44"/>
                    <a:pt x="15" y="45"/>
                    <a:pt x="15" y="45"/>
                  </a:cubicBezTo>
                  <a:cubicBezTo>
                    <a:pt x="15" y="45"/>
                    <a:pt x="15" y="45"/>
                    <a:pt x="15" y="45"/>
                  </a:cubicBezTo>
                  <a:cubicBezTo>
                    <a:pt x="15" y="46"/>
                    <a:pt x="15" y="46"/>
                    <a:pt x="15" y="46"/>
                  </a:cubicBezTo>
                  <a:cubicBezTo>
                    <a:pt x="15" y="47"/>
                    <a:pt x="15" y="47"/>
                    <a:pt x="15" y="47"/>
                  </a:cubicBezTo>
                  <a:cubicBezTo>
                    <a:pt x="15" y="47"/>
                    <a:pt x="15" y="48"/>
                    <a:pt x="15" y="49"/>
                  </a:cubicBezTo>
                  <a:cubicBezTo>
                    <a:pt x="16" y="49"/>
                    <a:pt x="16" y="49"/>
                    <a:pt x="16" y="49"/>
                  </a:cubicBezTo>
                  <a:cubicBezTo>
                    <a:pt x="16" y="52"/>
                    <a:pt x="17" y="55"/>
                    <a:pt x="15" y="57"/>
                  </a:cubicBezTo>
                  <a:cubicBezTo>
                    <a:pt x="14" y="57"/>
                    <a:pt x="14" y="57"/>
                    <a:pt x="13" y="58"/>
                  </a:cubicBezTo>
                  <a:cubicBezTo>
                    <a:pt x="12" y="58"/>
                    <a:pt x="12" y="58"/>
                    <a:pt x="12" y="58"/>
                  </a:cubicBezTo>
                  <a:cubicBezTo>
                    <a:pt x="8" y="60"/>
                    <a:pt x="8" y="61"/>
                    <a:pt x="8" y="61"/>
                  </a:cubicBezTo>
                  <a:cubicBezTo>
                    <a:pt x="7" y="62"/>
                    <a:pt x="7" y="62"/>
                    <a:pt x="7" y="62"/>
                  </a:cubicBezTo>
                  <a:cubicBezTo>
                    <a:pt x="5" y="64"/>
                    <a:pt x="5" y="64"/>
                    <a:pt x="5" y="64"/>
                  </a:cubicBezTo>
                  <a:cubicBezTo>
                    <a:pt x="4" y="64"/>
                    <a:pt x="4" y="64"/>
                    <a:pt x="4" y="64"/>
                  </a:cubicBezTo>
                  <a:cubicBezTo>
                    <a:pt x="5" y="66"/>
                    <a:pt x="5" y="69"/>
                    <a:pt x="5" y="72"/>
                  </a:cubicBezTo>
                  <a:cubicBezTo>
                    <a:pt x="5" y="73"/>
                    <a:pt x="4" y="74"/>
                    <a:pt x="4" y="75"/>
                  </a:cubicBezTo>
                  <a:cubicBezTo>
                    <a:pt x="4" y="77"/>
                    <a:pt x="4" y="79"/>
                    <a:pt x="4" y="81"/>
                  </a:cubicBezTo>
                  <a:cubicBezTo>
                    <a:pt x="4" y="84"/>
                    <a:pt x="4" y="86"/>
                    <a:pt x="4" y="89"/>
                  </a:cubicBezTo>
                  <a:cubicBezTo>
                    <a:pt x="4" y="89"/>
                    <a:pt x="4" y="87"/>
                    <a:pt x="3" y="87"/>
                  </a:cubicBezTo>
                  <a:cubicBezTo>
                    <a:pt x="3" y="87"/>
                    <a:pt x="3" y="87"/>
                    <a:pt x="3" y="87"/>
                  </a:cubicBezTo>
                  <a:cubicBezTo>
                    <a:pt x="0" y="88"/>
                    <a:pt x="0" y="89"/>
                    <a:pt x="1" y="89"/>
                  </a:cubicBezTo>
                  <a:cubicBezTo>
                    <a:pt x="1" y="89"/>
                    <a:pt x="1" y="89"/>
                    <a:pt x="1" y="89"/>
                  </a:cubicBezTo>
                  <a:cubicBezTo>
                    <a:pt x="2" y="89"/>
                    <a:pt x="2" y="89"/>
                    <a:pt x="2" y="89"/>
                  </a:cubicBezTo>
                  <a:cubicBezTo>
                    <a:pt x="2" y="89"/>
                    <a:pt x="2" y="89"/>
                    <a:pt x="3" y="89"/>
                  </a:cubicBezTo>
                  <a:cubicBezTo>
                    <a:pt x="3" y="89"/>
                    <a:pt x="4" y="89"/>
                    <a:pt x="4" y="90"/>
                  </a:cubicBezTo>
                  <a:cubicBezTo>
                    <a:pt x="6" y="91"/>
                    <a:pt x="6" y="98"/>
                    <a:pt x="7" y="100"/>
                  </a:cubicBezTo>
                  <a:cubicBezTo>
                    <a:pt x="7" y="103"/>
                    <a:pt x="8" y="106"/>
                    <a:pt x="9" y="109"/>
                  </a:cubicBezTo>
                  <a:cubicBezTo>
                    <a:pt x="10" y="114"/>
                    <a:pt x="11" y="118"/>
                    <a:pt x="14" y="122"/>
                  </a:cubicBezTo>
                  <a:cubicBezTo>
                    <a:pt x="16" y="127"/>
                    <a:pt x="15" y="128"/>
                    <a:pt x="15" y="133"/>
                  </a:cubicBezTo>
                  <a:cubicBezTo>
                    <a:pt x="15" y="134"/>
                    <a:pt x="14" y="135"/>
                    <a:pt x="15" y="136"/>
                  </a:cubicBezTo>
                  <a:cubicBezTo>
                    <a:pt x="16" y="141"/>
                    <a:pt x="18" y="145"/>
                    <a:pt x="20" y="149"/>
                  </a:cubicBezTo>
                  <a:cubicBezTo>
                    <a:pt x="20" y="150"/>
                    <a:pt x="23" y="150"/>
                    <a:pt x="27" y="150"/>
                  </a:cubicBezTo>
                  <a:cubicBezTo>
                    <a:pt x="29" y="150"/>
                    <a:pt x="33" y="150"/>
                    <a:pt x="35" y="150"/>
                  </a:cubicBezTo>
                  <a:cubicBezTo>
                    <a:pt x="38" y="150"/>
                    <a:pt x="41" y="150"/>
                    <a:pt x="41" y="150"/>
                  </a:cubicBezTo>
                  <a:cubicBezTo>
                    <a:pt x="41" y="150"/>
                    <a:pt x="41" y="150"/>
                    <a:pt x="41" y="150"/>
                  </a:cubicBezTo>
                  <a:cubicBezTo>
                    <a:pt x="42" y="150"/>
                    <a:pt x="42" y="150"/>
                    <a:pt x="42" y="150"/>
                  </a:cubicBezTo>
                  <a:cubicBezTo>
                    <a:pt x="43" y="150"/>
                    <a:pt x="44" y="149"/>
                    <a:pt x="45" y="148"/>
                  </a:cubicBezTo>
                  <a:cubicBezTo>
                    <a:pt x="47" y="148"/>
                    <a:pt x="48" y="147"/>
                    <a:pt x="49" y="147"/>
                  </a:cubicBezTo>
                  <a:cubicBezTo>
                    <a:pt x="49" y="147"/>
                    <a:pt x="49" y="147"/>
                    <a:pt x="49" y="147"/>
                  </a:cubicBezTo>
                  <a:cubicBezTo>
                    <a:pt x="52" y="147"/>
                    <a:pt x="54" y="148"/>
                    <a:pt x="56" y="148"/>
                  </a:cubicBezTo>
                  <a:cubicBezTo>
                    <a:pt x="57" y="148"/>
                    <a:pt x="57" y="148"/>
                    <a:pt x="58" y="148"/>
                  </a:cubicBezTo>
                  <a:cubicBezTo>
                    <a:pt x="57" y="142"/>
                    <a:pt x="65" y="140"/>
                    <a:pt x="69" y="136"/>
                  </a:cubicBezTo>
                  <a:cubicBezTo>
                    <a:pt x="72" y="133"/>
                    <a:pt x="74" y="133"/>
                    <a:pt x="78" y="133"/>
                  </a:cubicBezTo>
                  <a:cubicBezTo>
                    <a:pt x="87" y="131"/>
                    <a:pt x="97" y="129"/>
                    <a:pt x="106" y="128"/>
                  </a:cubicBezTo>
                  <a:cubicBezTo>
                    <a:pt x="112" y="126"/>
                    <a:pt x="117" y="123"/>
                    <a:pt x="122" y="119"/>
                  </a:cubicBezTo>
                  <a:cubicBezTo>
                    <a:pt x="125" y="118"/>
                    <a:pt x="126" y="117"/>
                    <a:pt x="128" y="117"/>
                  </a:cubicBezTo>
                  <a:cubicBezTo>
                    <a:pt x="129" y="117"/>
                    <a:pt x="131" y="118"/>
                    <a:pt x="133" y="118"/>
                  </a:cubicBezTo>
                  <a:cubicBezTo>
                    <a:pt x="133" y="118"/>
                    <a:pt x="134" y="118"/>
                    <a:pt x="136" y="118"/>
                  </a:cubicBezTo>
                  <a:cubicBezTo>
                    <a:pt x="138" y="118"/>
                    <a:pt x="142" y="118"/>
                    <a:pt x="143" y="117"/>
                  </a:cubicBezTo>
                  <a:cubicBezTo>
                    <a:pt x="145" y="114"/>
                    <a:pt x="148" y="111"/>
                    <a:pt x="150" y="108"/>
                  </a:cubicBezTo>
                  <a:cubicBezTo>
                    <a:pt x="153" y="105"/>
                    <a:pt x="156" y="104"/>
                    <a:pt x="160" y="102"/>
                  </a:cubicBezTo>
                  <a:cubicBezTo>
                    <a:pt x="163" y="101"/>
                    <a:pt x="166" y="100"/>
                    <a:pt x="169" y="99"/>
                  </a:cubicBezTo>
                  <a:cubicBezTo>
                    <a:pt x="176" y="97"/>
                    <a:pt x="182" y="95"/>
                    <a:pt x="189" y="93"/>
                  </a:cubicBezTo>
                  <a:cubicBezTo>
                    <a:pt x="195" y="91"/>
                    <a:pt x="200" y="91"/>
                    <a:pt x="206" y="88"/>
                  </a:cubicBezTo>
                  <a:cubicBezTo>
                    <a:pt x="210" y="86"/>
                    <a:pt x="214" y="84"/>
                    <a:pt x="219" y="82"/>
                  </a:cubicBezTo>
                  <a:cubicBezTo>
                    <a:pt x="220" y="82"/>
                    <a:pt x="226" y="80"/>
                    <a:pt x="226" y="79"/>
                  </a:cubicBezTo>
                  <a:cubicBezTo>
                    <a:pt x="227" y="78"/>
                    <a:pt x="226" y="77"/>
                    <a:pt x="226" y="76"/>
                  </a:cubicBezTo>
                  <a:cubicBezTo>
                    <a:pt x="226" y="75"/>
                    <a:pt x="226" y="74"/>
                    <a:pt x="226" y="74"/>
                  </a:cubicBezTo>
                  <a:cubicBezTo>
                    <a:pt x="226" y="73"/>
                    <a:pt x="225" y="73"/>
                    <a:pt x="225" y="73"/>
                  </a:cubicBezTo>
                  <a:cubicBezTo>
                    <a:pt x="225" y="69"/>
                    <a:pt x="228" y="66"/>
                    <a:pt x="230" y="63"/>
                  </a:cubicBezTo>
                  <a:cubicBezTo>
                    <a:pt x="232" y="60"/>
                    <a:pt x="233" y="59"/>
                    <a:pt x="237" y="58"/>
                  </a:cubicBezTo>
                  <a:cubicBezTo>
                    <a:pt x="239" y="57"/>
                    <a:pt x="242" y="56"/>
                    <a:pt x="244" y="55"/>
                  </a:cubicBezTo>
                  <a:cubicBezTo>
                    <a:pt x="238" y="43"/>
                    <a:pt x="232" y="29"/>
                    <a:pt x="226" y="16"/>
                  </a:cubicBezTo>
                  <a:cubicBezTo>
                    <a:pt x="219" y="0"/>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1" name="Freeform 300">
              <a:extLst>
                <a:ext uri="{FF2B5EF4-FFF2-40B4-BE49-F238E27FC236}">
                  <a16:creationId xmlns:a16="http://schemas.microsoft.com/office/drawing/2014/main" id="{5DDAA1E5-546B-4F2F-BBAF-352A3CF5B909}"/>
                </a:ext>
              </a:extLst>
            </p:cNvPr>
            <p:cNvSpPr>
              <a:spLocks/>
            </p:cNvSpPr>
            <p:nvPr/>
          </p:nvSpPr>
          <p:spPr bwMode="auto">
            <a:xfrm>
              <a:off x="6544" y="1278"/>
              <a:ext cx="253" cy="184"/>
            </a:xfrm>
            <a:custGeom>
              <a:avLst/>
              <a:gdLst>
                <a:gd name="T0" fmla="*/ 97 w 107"/>
                <a:gd name="T1" fmla="*/ 0 h 78"/>
                <a:gd name="T2" fmla="*/ 92 w 107"/>
                <a:gd name="T3" fmla="*/ 7 h 78"/>
                <a:gd name="T4" fmla="*/ 86 w 107"/>
                <a:gd name="T5" fmla="*/ 13 h 78"/>
                <a:gd name="T6" fmla="*/ 70 w 107"/>
                <a:gd name="T7" fmla="*/ 28 h 78"/>
                <a:gd name="T8" fmla="*/ 65 w 107"/>
                <a:gd name="T9" fmla="*/ 34 h 78"/>
                <a:gd name="T10" fmla="*/ 60 w 107"/>
                <a:gd name="T11" fmla="*/ 42 h 78"/>
                <a:gd name="T12" fmla="*/ 58 w 107"/>
                <a:gd name="T13" fmla="*/ 43 h 78"/>
                <a:gd name="T14" fmla="*/ 53 w 107"/>
                <a:gd name="T15" fmla="*/ 42 h 78"/>
                <a:gd name="T16" fmla="*/ 45 w 107"/>
                <a:gd name="T17" fmla="*/ 47 h 78"/>
                <a:gd name="T18" fmla="*/ 44 w 107"/>
                <a:gd name="T19" fmla="*/ 48 h 78"/>
                <a:gd name="T20" fmla="*/ 39 w 107"/>
                <a:gd name="T21" fmla="*/ 47 h 78"/>
                <a:gd name="T22" fmla="*/ 31 w 107"/>
                <a:gd name="T23" fmla="*/ 46 h 78"/>
                <a:gd name="T24" fmla="*/ 21 w 107"/>
                <a:gd name="T25" fmla="*/ 47 h 78"/>
                <a:gd name="T26" fmla="*/ 4 w 107"/>
                <a:gd name="T27" fmla="*/ 50 h 78"/>
                <a:gd name="T28" fmla="*/ 0 w 107"/>
                <a:gd name="T29" fmla="*/ 49 h 78"/>
                <a:gd name="T30" fmla="*/ 3 w 107"/>
                <a:gd name="T31" fmla="*/ 52 h 78"/>
                <a:gd name="T32" fmla="*/ 4 w 107"/>
                <a:gd name="T33" fmla="*/ 54 h 78"/>
                <a:gd name="T34" fmla="*/ 7 w 107"/>
                <a:gd name="T35" fmla="*/ 58 h 78"/>
                <a:gd name="T36" fmla="*/ 11 w 107"/>
                <a:gd name="T37" fmla="*/ 62 h 78"/>
                <a:gd name="T38" fmla="*/ 19 w 107"/>
                <a:gd name="T39" fmla="*/ 72 h 78"/>
                <a:gd name="T40" fmla="*/ 77 w 107"/>
                <a:gd name="T41" fmla="*/ 78 h 78"/>
                <a:gd name="T42" fmla="*/ 77 w 107"/>
                <a:gd name="T43" fmla="*/ 75 h 78"/>
                <a:gd name="T44" fmla="*/ 78 w 107"/>
                <a:gd name="T45" fmla="*/ 74 h 78"/>
                <a:gd name="T46" fmla="*/ 79 w 107"/>
                <a:gd name="T47" fmla="*/ 68 h 78"/>
                <a:gd name="T48" fmla="*/ 81 w 107"/>
                <a:gd name="T49" fmla="*/ 58 h 78"/>
                <a:gd name="T50" fmla="*/ 81 w 107"/>
                <a:gd name="T51" fmla="*/ 56 h 78"/>
                <a:gd name="T52" fmla="*/ 81 w 107"/>
                <a:gd name="T53" fmla="*/ 55 h 78"/>
                <a:gd name="T54" fmla="*/ 82 w 107"/>
                <a:gd name="T55" fmla="*/ 54 h 78"/>
                <a:gd name="T56" fmla="*/ 87 w 107"/>
                <a:gd name="T57" fmla="*/ 46 h 78"/>
                <a:gd name="T58" fmla="*/ 89 w 107"/>
                <a:gd name="T59" fmla="*/ 45 h 78"/>
                <a:gd name="T60" fmla="*/ 90 w 107"/>
                <a:gd name="T61" fmla="*/ 45 h 78"/>
                <a:gd name="T62" fmla="*/ 91 w 107"/>
                <a:gd name="T63" fmla="*/ 45 h 78"/>
                <a:gd name="T64" fmla="*/ 91 w 107"/>
                <a:gd name="T65" fmla="*/ 45 h 78"/>
                <a:gd name="T66" fmla="*/ 91 w 107"/>
                <a:gd name="T67" fmla="*/ 45 h 78"/>
                <a:gd name="T68" fmla="*/ 90 w 107"/>
                <a:gd name="T69" fmla="*/ 43 h 78"/>
                <a:gd name="T70" fmla="*/ 92 w 107"/>
                <a:gd name="T71" fmla="*/ 29 h 78"/>
                <a:gd name="T72" fmla="*/ 93 w 107"/>
                <a:gd name="T73" fmla="*/ 27 h 78"/>
                <a:gd name="T74" fmla="*/ 99 w 107"/>
                <a:gd name="T75" fmla="*/ 27 h 78"/>
                <a:gd name="T76" fmla="*/ 103 w 107"/>
                <a:gd name="T77" fmla="*/ 25 h 78"/>
                <a:gd name="T78" fmla="*/ 104 w 107"/>
                <a:gd name="T79" fmla="*/ 22 h 78"/>
                <a:gd name="T80" fmla="*/ 105 w 107"/>
                <a:gd name="T81" fmla="*/ 21 h 78"/>
                <a:gd name="T82" fmla="*/ 106 w 107"/>
                <a:gd name="T83" fmla="*/ 22 h 78"/>
                <a:gd name="T84" fmla="*/ 106 w 107"/>
                <a:gd name="T85" fmla="*/ 21 h 78"/>
                <a:gd name="T86" fmla="*/ 107 w 107"/>
                <a:gd name="T87" fmla="*/ 21 h 78"/>
                <a:gd name="T88" fmla="*/ 107 w 107"/>
                <a:gd name="T89" fmla="*/ 15 h 78"/>
                <a:gd name="T90" fmla="*/ 105 w 107"/>
                <a:gd name="T91" fmla="*/ 11 h 78"/>
                <a:gd name="T92" fmla="*/ 103 w 107"/>
                <a:gd name="T93" fmla="*/ 11 h 78"/>
                <a:gd name="T94" fmla="*/ 101 w 107"/>
                <a:gd name="T95" fmla="*/ 11 h 78"/>
                <a:gd name="T96" fmla="*/ 97 w 107"/>
                <a:gd name="T97" fmla="*/ 0 h 78"/>
                <a:gd name="T98" fmla="*/ 97 w 107"/>
                <a:gd name="T9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78">
                  <a:moveTo>
                    <a:pt x="97" y="0"/>
                  </a:moveTo>
                  <a:cubicBezTo>
                    <a:pt x="96" y="2"/>
                    <a:pt x="94" y="5"/>
                    <a:pt x="92" y="7"/>
                  </a:cubicBezTo>
                  <a:cubicBezTo>
                    <a:pt x="91" y="9"/>
                    <a:pt x="87" y="11"/>
                    <a:pt x="86" y="13"/>
                  </a:cubicBezTo>
                  <a:cubicBezTo>
                    <a:pt x="80" y="18"/>
                    <a:pt x="76" y="24"/>
                    <a:pt x="70" y="28"/>
                  </a:cubicBezTo>
                  <a:cubicBezTo>
                    <a:pt x="67" y="30"/>
                    <a:pt x="66" y="31"/>
                    <a:pt x="65" y="34"/>
                  </a:cubicBezTo>
                  <a:cubicBezTo>
                    <a:pt x="63" y="37"/>
                    <a:pt x="62" y="41"/>
                    <a:pt x="60" y="42"/>
                  </a:cubicBezTo>
                  <a:cubicBezTo>
                    <a:pt x="59" y="43"/>
                    <a:pt x="58" y="43"/>
                    <a:pt x="58" y="43"/>
                  </a:cubicBezTo>
                  <a:cubicBezTo>
                    <a:pt x="56" y="43"/>
                    <a:pt x="54" y="42"/>
                    <a:pt x="53" y="42"/>
                  </a:cubicBezTo>
                  <a:cubicBezTo>
                    <a:pt x="56" y="45"/>
                    <a:pt x="48" y="47"/>
                    <a:pt x="45" y="47"/>
                  </a:cubicBezTo>
                  <a:cubicBezTo>
                    <a:pt x="45" y="48"/>
                    <a:pt x="44" y="48"/>
                    <a:pt x="44" y="48"/>
                  </a:cubicBezTo>
                  <a:cubicBezTo>
                    <a:pt x="42" y="48"/>
                    <a:pt x="41" y="47"/>
                    <a:pt x="39" y="47"/>
                  </a:cubicBezTo>
                  <a:cubicBezTo>
                    <a:pt x="37" y="46"/>
                    <a:pt x="34" y="46"/>
                    <a:pt x="31" y="46"/>
                  </a:cubicBezTo>
                  <a:cubicBezTo>
                    <a:pt x="27" y="46"/>
                    <a:pt x="24" y="46"/>
                    <a:pt x="21" y="47"/>
                  </a:cubicBezTo>
                  <a:cubicBezTo>
                    <a:pt x="18" y="47"/>
                    <a:pt x="10" y="50"/>
                    <a:pt x="4" y="50"/>
                  </a:cubicBezTo>
                  <a:cubicBezTo>
                    <a:pt x="3" y="50"/>
                    <a:pt x="1" y="50"/>
                    <a:pt x="0" y="49"/>
                  </a:cubicBezTo>
                  <a:cubicBezTo>
                    <a:pt x="1" y="50"/>
                    <a:pt x="2" y="51"/>
                    <a:pt x="3" y="52"/>
                  </a:cubicBezTo>
                  <a:cubicBezTo>
                    <a:pt x="4" y="54"/>
                    <a:pt x="4" y="54"/>
                    <a:pt x="4" y="54"/>
                  </a:cubicBezTo>
                  <a:cubicBezTo>
                    <a:pt x="5" y="55"/>
                    <a:pt x="7" y="58"/>
                    <a:pt x="7" y="58"/>
                  </a:cubicBezTo>
                  <a:cubicBezTo>
                    <a:pt x="11" y="62"/>
                    <a:pt x="11" y="62"/>
                    <a:pt x="11" y="62"/>
                  </a:cubicBezTo>
                  <a:cubicBezTo>
                    <a:pt x="13" y="66"/>
                    <a:pt x="16" y="69"/>
                    <a:pt x="19" y="72"/>
                  </a:cubicBezTo>
                  <a:cubicBezTo>
                    <a:pt x="77" y="78"/>
                    <a:pt x="77" y="78"/>
                    <a:pt x="77" y="78"/>
                  </a:cubicBezTo>
                  <a:cubicBezTo>
                    <a:pt x="77" y="77"/>
                    <a:pt x="77" y="76"/>
                    <a:pt x="77" y="75"/>
                  </a:cubicBezTo>
                  <a:cubicBezTo>
                    <a:pt x="78" y="75"/>
                    <a:pt x="78" y="74"/>
                    <a:pt x="78" y="74"/>
                  </a:cubicBezTo>
                  <a:cubicBezTo>
                    <a:pt x="79" y="68"/>
                    <a:pt x="79" y="68"/>
                    <a:pt x="79" y="68"/>
                  </a:cubicBezTo>
                  <a:cubicBezTo>
                    <a:pt x="80" y="65"/>
                    <a:pt x="80" y="61"/>
                    <a:pt x="81" y="58"/>
                  </a:cubicBezTo>
                  <a:cubicBezTo>
                    <a:pt x="81" y="57"/>
                    <a:pt x="81" y="57"/>
                    <a:pt x="81" y="56"/>
                  </a:cubicBezTo>
                  <a:cubicBezTo>
                    <a:pt x="81" y="55"/>
                    <a:pt x="81" y="55"/>
                    <a:pt x="81" y="55"/>
                  </a:cubicBezTo>
                  <a:cubicBezTo>
                    <a:pt x="82" y="55"/>
                    <a:pt x="82" y="54"/>
                    <a:pt x="82" y="54"/>
                  </a:cubicBezTo>
                  <a:cubicBezTo>
                    <a:pt x="82" y="51"/>
                    <a:pt x="83" y="48"/>
                    <a:pt x="87" y="46"/>
                  </a:cubicBezTo>
                  <a:cubicBezTo>
                    <a:pt x="88" y="46"/>
                    <a:pt x="89" y="45"/>
                    <a:pt x="89" y="45"/>
                  </a:cubicBezTo>
                  <a:cubicBezTo>
                    <a:pt x="90" y="45"/>
                    <a:pt x="90" y="45"/>
                    <a:pt x="90" y="45"/>
                  </a:cubicBezTo>
                  <a:cubicBezTo>
                    <a:pt x="91" y="45"/>
                    <a:pt x="91" y="45"/>
                    <a:pt x="91" y="45"/>
                  </a:cubicBezTo>
                  <a:cubicBezTo>
                    <a:pt x="91" y="45"/>
                    <a:pt x="91" y="45"/>
                    <a:pt x="91" y="45"/>
                  </a:cubicBezTo>
                  <a:cubicBezTo>
                    <a:pt x="91" y="45"/>
                    <a:pt x="91" y="45"/>
                    <a:pt x="91" y="45"/>
                  </a:cubicBezTo>
                  <a:cubicBezTo>
                    <a:pt x="90" y="44"/>
                    <a:pt x="90" y="44"/>
                    <a:pt x="90" y="43"/>
                  </a:cubicBezTo>
                  <a:cubicBezTo>
                    <a:pt x="90" y="37"/>
                    <a:pt x="91" y="33"/>
                    <a:pt x="92" y="29"/>
                  </a:cubicBezTo>
                  <a:cubicBezTo>
                    <a:pt x="93" y="27"/>
                    <a:pt x="93" y="27"/>
                    <a:pt x="93" y="27"/>
                  </a:cubicBezTo>
                  <a:cubicBezTo>
                    <a:pt x="99" y="27"/>
                    <a:pt x="99" y="27"/>
                    <a:pt x="99" y="27"/>
                  </a:cubicBezTo>
                  <a:cubicBezTo>
                    <a:pt x="101" y="26"/>
                    <a:pt x="102" y="25"/>
                    <a:pt x="103" y="25"/>
                  </a:cubicBezTo>
                  <a:cubicBezTo>
                    <a:pt x="103" y="25"/>
                    <a:pt x="104" y="24"/>
                    <a:pt x="104" y="22"/>
                  </a:cubicBezTo>
                  <a:cubicBezTo>
                    <a:pt x="105" y="21"/>
                    <a:pt x="105" y="21"/>
                    <a:pt x="105" y="21"/>
                  </a:cubicBezTo>
                  <a:cubicBezTo>
                    <a:pt x="106" y="22"/>
                    <a:pt x="106" y="22"/>
                    <a:pt x="106" y="22"/>
                  </a:cubicBezTo>
                  <a:cubicBezTo>
                    <a:pt x="106" y="21"/>
                    <a:pt x="106" y="21"/>
                    <a:pt x="106" y="21"/>
                  </a:cubicBezTo>
                  <a:cubicBezTo>
                    <a:pt x="107" y="21"/>
                    <a:pt x="107" y="21"/>
                    <a:pt x="107" y="21"/>
                  </a:cubicBezTo>
                  <a:cubicBezTo>
                    <a:pt x="107" y="19"/>
                    <a:pt x="107" y="16"/>
                    <a:pt x="107" y="15"/>
                  </a:cubicBezTo>
                  <a:cubicBezTo>
                    <a:pt x="106" y="14"/>
                    <a:pt x="106" y="12"/>
                    <a:pt x="105" y="11"/>
                  </a:cubicBezTo>
                  <a:cubicBezTo>
                    <a:pt x="104" y="11"/>
                    <a:pt x="104" y="11"/>
                    <a:pt x="103" y="11"/>
                  </a:cubicBezTo>
                  <a:cubicBezTo>
                    <a:pt x="102" y="11"/>
                    <a:pt x="102" y="11"/>
                    <a:pt x="101" y="11"/>
                  </a:cubicBezTo>
                  <a:cubicBezTo>
                    <a:pt x="98" y="9"/>
                    <a:pt x="98" y="4"/>
                    <a:pt x="97" y="0"/>
                  </a:cubicBezTo>
                  <a:cubicBezTo>
                    <a:pt x="97" y="0"/>
                    <a:pt x="97" y="0"/>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2" name="Freeform 301">
              <a:extLst>
                <a:ext uri="{FF2B5EF4-FFF2-40B4-BE49-F238E27FC236}">
                  <a16:creationId xmlns:a16="http://schemas.microsoft.com/office/drawing/2014/main" id="{19EE16B3-7EBC-4AAA-98D1-CE2206572849}"/>
                </a:ext>
              </a:extLst>
            </p:cNvPr>
            <p:cNvSpPr>
              <a:spLocks/>
            </p:cNvSpPr>
            <p:nvPr/>
          </p:nvSpPr>
          <p:spPr bwMode="auto">
            <a:xfrm>
              <a:off x="5580" y="911"/>
              <a:ext cx="1165" cy="915"/>
            </a:xfrm>
            <a:custGeom>
              <a:avLst/>
              <a:gdLst>
                <a:gd name="T0" fmla="*/ 96 w 493"/>
                <a:gd name="T1" fmla="*/ 5 h 387"/>
                <a:gd name="T2" fmla="*/ 79 w 493"/>
                <a:gd name="T3" fmla="*/ 31 h 387"/>
                <a:gd name="T4" fmla="*/ 83 w 493"/>
                <a:gd name="T5" fmla="*/ 35 h 387"/>
                <a:gd name="T6" fmla="*/ 65 w 493"/>
                <a:gd name="T7" fmla="*/ 56 h 387"/>
                <a:gd name="T8" fmla="*/ 59 w 493"/>
                <a:gd name="T9" fmla="*/ 57 h 387"/>
                <a:gd name="T10" fmla="*/ 44 w 493"/>
                <a:gd name="T11" fmla="*/ 70 h 387"/>
                <a:gd name="T12" fmla="*/ 29 w 493"/>
                <a:gd name="T13" fmla="*/ 75 h 387"/>
                <a:gd name="T14" fmla="*/ 12 w 493"/>
                <a:gd name="T15" fmla="*/ 72 h 387"/>
                <a:gd name="T16" fmla="*/ 3 w 493"/>
                <a:gd name="T17" fmla="*/ 103 h 387"/>
                <a:gd name="T18" fmla="*/ 6 w 493"/>
                <a:gd name="T19" fmla="*/ 101 h 387"/>
                <a:gd name="T20" fmla="*/ 10 w 493"/>
                <a:gd name="T21" fmla="*/ 101 h 387"/>
                <a:gd name="T22" fmla="*/ 33 w 493"/>
                <a:gd name="T23" fmla="*/ 128 h 387"/>
                <a:gd name="T24" fmla="*/ 65 w 493"/>
                <a:gd name="T25" fmla="*/ 176 h 387"/>
                <a:gd name="T26" fmla="*/ 90 w 493"/>
                <a:gd name="T27" fmla="*/ 207 h 387"/>
                <a:gd name="T28" fmla="*/ 109 w 493"/>
                <a:gd name="T29" fmla="*/ 244 h 387"/>
                <a:gd name="T30" fmla="*/ 116 w 493"/>
                <a:gd name="T31" fmla="*/ 284 h 387"/>
                <a:gd name="T32" fmla="*/ 138 w 493"/>
                <a:gd name="T33" fmla="*/ 301 h 387"/>
                <a:gd name="T34" fmla="*/ 181 w 493"/>
                <a:gd name="T35" fmla="*/ 362 h 387"/>
                <a:gd name="T36" fmla="*/ 200 w 493"/>
                <a:gd name="T37" fmla="*/ 383 h 387"/>
                <a:gd name="T38" fmla="*/ 200 w 493"/>
                <a:gd name="T39" fmla="*/ 375 h 387"/>
                <a:gd name="T40" fmla="*/ 209 w 493"/>
                <a:gd name="T41" fmla="*/ 361 h 387"/>
                <a:gd name="T42" fmla="*/ 221 w 493"/>
                <a:gd name="T43" fmla="*/ 365 h 387"/>
                <a:gd name="T44" fmla="*/ 227 w 493"/>
                <a:gd name="T45" fmla="*/ 365 h 387"/>
                <a:gd name="T46" fmla="*/ 246 w 493"/>
                <a:gd name="T47" fmla="*/ 363 h 387"/>
                <a:gd name="T48" fmla="*/ 286 w 493"/>
                <a:gd name="T49" fmla="*/ 366 h 387"/>
                <a:gd name="T50" fmla="*/ 294 w 493"/>
                <a:gd name="T51" fmla="*/ 372 h 387"/>
                <a:gd name="T52" fmla="*/ 297 w 493"/>
                <a:gd name="T53" fmla="*/ 373 h 387"/>
                <a:gd name="T54" fmla="*/ 321 w 493"/>
                <a:gd name="T55" fmla="*/ 345 h 387"/>
                <a:gd name="T56" fmla="*/ 365 w 493"/>
                <a:gd name="T57" fmla="*/ 331 h 387"/>
                <a:gd name="T58" fmla="*/ 412 w 493"/>
                <a:gd name="T59" fmla="*/ 324 h 387"/>
                <a:gd name="T60" fmla="*/ 480 w 493"/>
                <a:gd name="T61" fmla="*/ 300 h 387"/>
                <a:gd name="T62" fmla="*/ 483 w 493"/>
                <a:gd name="T63" fmla="*/ 292 h 387"/>
                <a:gd name="T64" fmla="*/ 491 w 493"/>
                <a:gd name="T65" fmla="*/ 267 h 387"/>
                <a:gd name="T66" fmla="*/ 492 w 493"/>
                <a:gd name="T67" fmla="*/ 252 h 387"/>
                <a:gd name="T68" fmla="*/ 487 w 493"/>
                <a:gd name="T69" fmla="*/ 242 h 387"/>
                <a:gd name="T70" fmla="*/ 425 w 493"/>
                <a:gd name="T71" fmla="*/ 233 h 387"/>
                <a:gd name="T72" fmla="*/ 406 w 493"/>
                <a:gd name="T73" fmla="*/ 211 h 387"/>
                <a:gd name="T74" fmla="*/ 396 w 493"/>
                <a:gd name="T75" fmla="*/ 193 h 387"/>
                <a:gd name="T76" fmla="*/ 399 w 493"/>
                <a:gd name="T77" fmla="*/ 188 h 387"/>
                <a:gd name="T78" fmla="*/ 394 w 493"/>
                <a:gd name="T79" fmla="*/ 189 h 387"/>
                <a:gd name="T80" fmla="*/ 389 w 493"/>
                <a:gd name="T81" fmla="*/ 189 h 387"/>
                <a:gd name="T82" fmla="*/ 384 w 493"/>
                <a:gd name="T83" fmla="*/ 185 h 387"/>
                <a:gd name="T84" fmla="*/ 364 w 493"/>
                <a:gd name="T85" fmla="*/ 154 h 387"/>
                <a:gd name="T86" fmla="*/ 369 w 493"/>
                <a:gd name="T87" fmla="*/ 144 h 387"/>
                <a:gd name="T88" fmla="*/ 363 w 493"/>
                <a:gd name="T89" fmla="*/ 132 h 387"/>
                <a:gd name="T90" fmla="*/ 353 w 493"/>
                <a:gd name="T91" fmla="*/ 125 h 387"/>
                <a:gd name="T92" fmla="*/ 345 w 493"/>
                <a:gd name="T93" fmla="*/ 115 h 387"/>
                <a:gd name="T94" fmla="*/ 336 w 493"/>
                <a:gd name="T95" fmla="*/ 111 h 387"/>
                <a:gd name="T96" fmla="*/ 327 w 493"/>
                <a:gd name="T97" fmla="*/ 92 h 387"/>
                <a:gd name="T98" fmla="*/ 323 w 493"/>
                <a:gd name="T99" fmla="*/ 93 h 387"/>
                <a:gd name="T100" fmla="*/ 305 w 493"/>
                <a:gd name="T101" fmla="*/ 86 h 387"/>
                <a:gd name="T102" fmla="*/ 305 w 493"/>
                <a:gd name="T103" fmla="*/ 85 h 387"/>
                <a:gd name="T104" fmla="*/ 304 w 493"/>
                <a:gd name="T105" fmla="*/ 83 h 387"/>
                <a:gd name="T106" fmla="*/ 283 w 493"/>
                <a:gd name="T107" fmla="*/ 78 h 387"/>
                <a:gd name="T108" fmla="*/ 277 w 493"/>
                <a:gd name="T109" fmla="*/ 79 h 387"/>
                <a:gd name="T110" fmla="*/ 227 w 493"/>
                <a:gd name="T111" fmla="*/ 65 h 387"/>
                <a:gd name="T112" fmla="*/ 177 w 493"/>
                <a:gd name="T113" fmla="*/ 27 h 387"/>
                <a:gd name="T114" fmla="*/ 143 w 493"/>
                <a:gd name="T115" fmla="*/ 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3" h="387">
                  <a:moveTo>
                    <a:pt x="110" y="0"/>
                  </a:moveTo>
                  <a:cubicBezTo>
                    <a:pt x="109" y="0"/>
                    <a:pt x="109" y="0"/>
                    <a:pt x="109" y="0"/>
                  </a:cubicBezTo>
                  <a:cubicBezTo>
                    <a:pt x="105" y="2"/>
                    <a:pt x="101" y="3"/>
                    <a:pt x="97" y="5"/>
                  </a:cubicBezTo>
                  <a:cubicBezTo>
                    <a:pt x="96" y="5"/>
                    <a:pt x="96" y="5"/>
                    <a:pt x="96" y="5"/>
                  </a:cubicBezTo>
                  <a:cubicBezTo>
                    <a:pt x="94" y="5"/>
                    <a:pt x="92" y="6"/>
                    <a:pt x="91" y="7"/>
                  </a:cubicBezTo>
                  <a:cubicBezTo>
                    <a:pt x="83" y="9"/>
                    <a:pt x="75" y="12"/>
                    <a:pt x="67" y="14"/>
                  </a:cubicBezTo>
                  <a:cubicBezTo>
                    <a:pt x="64" y="15"/>
                    <a:pt x="64" y="15"/>
                    <a:pt x="64" y="15"/>
                  </a:cubicBezTo>
                  <a:cubicBezTo>
                    <a:pt x="69" y="20"/>
                    <a:pt x="74" y="25"/>
                    <a:pt x="79" y="31"/>
                  </a:cubicBezTo>
                  <a:cubicBezTo>
                    <a:pt x="79" y="31"/>
                    <a:pt x="80" y="32"/>
                    <a:pt x="80" y="32"/>
                  </a:cubicBezTo>
                  <a:cubicBezTo>
                    <a:pt x="81" y="33"/>
                    <a:pt x="81" y="33"/>
                    <a:pt x="81" y="33"/>
                  </a:cubicBezTo>
                  <a:cubicBezTo>
                    <a:pt x="81" y="33"/>
                    <a:pt x="82" y="34"/>
                    <a:pt x="82" y="34"/>
                  </a:cubicBezTo>
                  <a:cubicBezTo>
                    <a:pt x="83" y="34"/>
                    <a:pt x="83" y="35"/>
                    <a:pt x="83" y="35"/>
                  </a:cubicBezTo>
                  <a:cubicBezTo>
                    <a:pt x="85" y="37"/>
                    <a:pt x="85" y="38"/>
                    <a:pt x="85" y="39"/>
                  </a:cubicBezTo>
                  <a:cubicBezTo>
                    <a:pt x="85" y="40"/>
                    <a:pt x="85" y="42"/>
                    <a:pt x="74" y="52"/>
                  </a:cubicBezTo>
                  <a:cubicBezTo>
                    <a:pt x="73" y="53"/>
                    <a:pt x="73" y="54"/>
                    <a:pt x="72" y="54"/>
                  </a:cubicBezTo>
                  <a:cubicBezTo>
                    <a:pt x="70" y="56"/>
                    <a:pt x="67" y="56"/>
                    <a:pt x="65" y="56"/>
                  </a:cubicBezTo>
                  <a:cubicBezTo>
                    <a:pt x="64" y="56"/>
                    <a:pt x="64" y="56"/>
                    <a:pt x="64" y="56"/>
                  </a:cubicBezTo>
                  <a:cubicBezTo>
                    <a:pt x="63" y="56"/>
                    <a:pt x="63" y="57"/>
                    <a:pt x="62" y="57"/>
                  </a:cubicBezTo>
                  <a:cubicBezTo>
                    <a:pt x="61" y="57"/>
                    <a:pt x="60" y="57"/>
                    <a:pt x="60" y="57"/>
                  </a:cubicBezTo>
                  <a:cubicBezTo>
                    <a:pt x="59" y="57"/>
                    <a:pt x="59" y="57"/>
                    <a:pt x="59" y="57"/>
                  </a:cubicBezTo>
                  <a:cubicBezTo>
                    <a:pt x="58" y="57"/>
                    <a:pt x="57" y="58"/>
                    <a:pt x="56" y="58"/>
                  </a:cubicBezTo>
                  <a:cubicBezTo>
                    <a:pt x="53" y="59"/>
                    <a:pt x="51" y="61"/>
                    <a:pt x="49" y="63"/>
                  </a:cubicBezTo>
                  <a:cubicBezTo>
                    <a:pt x="49" y="64"/>
                    <a:pt x="48" y="65"/>
                    <a:pt x="47" y="66"/>
                  </a:cubicBezTo>
                  <a:cubicBezTo>
                    <a:pt x="44" y="70"/>
                    <a:pt x="44" y="70"/>
                    <a:pt x="44" y="70"/>
                  </a:cubicBezTo>
                  <a:cubicBezTo>
                    <a:pt x="42" y="73"/>
                    <a:pt x="40" y="74"/>
                    <a:pt x="39" y="75"/>
                  </a:cubicBezTo>
                  <a:cubicBezTo>
                    <a:pt x="38" y="76"/>
                    <a:pt x="37" y="76"/>
                    <a:pt x="36" y="76"/>
                  </a:cubicBezTo>
                  <a:cubicBezTo>
                    <a:pt x="35" y="76"/>
                    <a:pt x="33" y="75"/>
                    <a:pt x="30" y="75"/>
                  </a:cubicBezTo>
                  <a:cubicBezTo>
                    <a:pt x="29" y="75"/>
                    <a:pt x="29" y="75"/>
                    <a:pt x="29" y="75"/>
                  </a:cubicBezTo>
                  <a:cubicBezTo>
                    <a:pt x="29" y="74"/>
                    <a:pt x="29" y="74"/>
                    <a:pt x="29" y="74"/>
                  </a:cubicBezTo>
                  <a:cubicBezTo>
                    <a:pt x="14" y="72"/>
                    <a:pt x="14" y="72"/>
                    <a:pt x="14" y="72"/>
                  </a:cubicBezTo>
                  <a:cubicBezTo>
                    <a:pt x="13" y="72"/>
                    <a:pt x="13" y="72"/>
                    <a:pt x="13" y="72"/>
                  </a:cubicBezTo>
                  <a:cubicBezTo>
                    <a:pt x="12" y="72"/>
                    <a:pt x="12" y="72"/>
                    <a:pt x="12" y="72"/>
                  </a:cubicBezTo>
                  <a:cubicBezTo>
                    <a:pt x="11" y="73"/>
                    <a:pt x="11" y="73"/>
                    <a:pt x="11" y="73"/>
                  </a:cubicBezTo>
                  <a:cubicBezTo>
                    <a:pt x="10" y="73"/>
                    <a:pt x="10" y="73"/>
                    <a:pt x="10" y="73"/>
                  </a:cubicBezTo>
                  <a:cubicBezTo>
                    <a:pt x="8" y="79"/>
                    <a:pt x="7" y="86"/>
                    <a:pt x="4" y="92"/>
                  </a:cubicBezTo>
                  <a:cubicBezTo>
                    <a:pt x="4" y="93"/>
                    <a:pt x="0" y="102"/>
                    <a:pt x="3" y="103"/>
                  </a:cubicBezTo>
                  <a:cubicBezTo>
                    <a:pt x="3" y="103"/>
                    <a:pt x="3" y="103"/>
                    <a:pt x="3" y="103"/>
                  </a:cubicBezTo>
                  <a:cubicBezTo>
                    <a:pt x="4" y="103"/>
                    <a:pt x="3" y="101"/>
                    <a:pt x="4" y="101"/>
                  </a:cubicBezTo>
                  <a:cubicBezTo>
                    <a:pt x="4" y="100"/>
                    <a:pt x="4" y="100"/>
                    <a:pt x="5" y="100"/>
                  </a:cubicBezTo>
                  <a:cubicBezTo>
                    <a:pt x="5" y="100"/>
                    <a:pt x="5" y="101"/>
                    <a:pt x="6" y="101"/>
                  </a:cubicBezTo>
                  <a:cubicBezTo>
                    <a:pt x="6" y="101"/>
                    <a:pt x="7" y="101"/>
                    <a:pt x="7" y="101"/>
                  </a:cubicBezTo>
                  <a:cubicBezTo>
                    <a:pt x="7" y="101"/>
                    <a:pt x="7" y="101"/>
                    <a:pt x="8" y="101"/>
                  </a:cubicBezTo>
                  <a:cubicBezTo>
                    <a:pt x="8" y="101"/>
                    <a:pt x="8" y="101"/>
                    <a:pt x="9" y="101"/>
                  </a:cubicBezTo>
                  <a:cubicBezTo>
                    <a:pt x="9" y="101"/>
                    <a:pt x="10" y="101"/>
                    <a:pt x="10" y="101"/>
                  </a:cubicBezTo>
                  <a:cubicBezTo>
                    <a:pt x="10" y="101"/>
                    <a:pt x="11" y="100"/>
                    <a:pt x="12" y="100"/>
                  </a:cubicBezTo>
                  <a:cubicBezTo>
                    <a:pt x="12" y="100"/>
                    <a:pt x="12" y="100"/>
                    <a:pt x="12" y="100"/>
                  </a:cubicBezTo>
                  <a:cubicBezTo>
                    <a:pt x="14" y="100"/>
                    <a:pt x="15" y="102"/>
                    <a:pt x="17" y="104"/>
                  </a:cubicBezTo>
                  <a:cubicBezTo>
                    <a:pt x="23" y="111"/>
                    <a:pt x="27" y="121"/>
                    <a:pt x="33" y="128"/>
                  </a:cubicBezTo>
                  <a:cubicBezTo>
                    <a:pt x="39" y="136"/>
                    <a:pt x="43" y="148"/>
                    <a:pt x="51" y="153"/>
                  </a:cubicBezTo>
                  <a:cubicBezTo>
                    <a:pt x="52" y="154"/>
                    <a:pt x="52" y="155"/>
                    <a:pt x="52" y="157"/>
                  </a:cubicBezTo>
                  <a:cubicBezTo>
                    <a:pt x="52" y="160"/>
                    <a:pt x="53" y="161"/>
                    <a:pt x="56" y="164"/>
                  </a:cubicBezTo>
                  <a:cubicBezTo>
                    <a:pt x="59" y="167"/>
                    <a:pt x="63" y="172"/>
                    <a:pt x="65" y="176"/>
                  </a:cubicBezTo>
                  <a:cubicBezTo>
                    <a:pt x="66" y="179"/>
                    <a:pt x="66" y="183"/>
                    <a:pt x="67" y="186"/>
                  </a:cubicBezTo>
                  <a:cubicBezTo>
                    <a:pt x="68" y="190"/>
                    <a:pt x="69" y="192"/>
                    <a:pt x="71" y="195"/>
                  </a:cubicBezTo>
                  <a:cubicBezTo>
                    <a:pt x="73" y="198"/>
                    <a:pt x="76" y="198"/>
                    <a:pt x="79" y="198"/>
                  </a:cubicBezTo>
                  <a:cubicBezTo>
                    <a:pt x="83" y="199"/>
                    <a:pt x="87" y="204"/>
                    <a:pt x="90" y="207"/>
                  </a:cubicBezTo>
                  <a:cubicBezTo>
                    <a:pt x="92" y="208"/>
                    <a:pt x="92" y="209"/>
                    <a:pt x="94" y="211"/>
                  </a:cubicBezTo>
                  <a:cubicBezTo>
                    <a:pt x="97" y="216"/>
                    <a:pt x="99" y="221"/>
                    <a:pt x="102" y="226"/>
                  </a:cubicBezTo>
                  <a:cubicBezTo>
                    <a:pt x="104" y="231"/>
                    <a:pt x="106" y="235"/>
                    <a:pt x="108" y="240"/>
                  </a:cubicBezTo>
                  <a:cubicBezTo>
                    <a:pt x="108" y="241"/>
                    <a:pt x="109" y="243"/>
                    <a:pt x="109" y="244"/>
                  </a:cubicBezTo>
                  <a:cubicBezTo>
                    <a:pt x="109" y="245"/>
                    <a:pt x="108" y="246"/>
                    <a:pt x="108" y="247"/>
                  </a:cubicBezTo>
                  <a:cubicBezTo>
                    <a:pt x="106" y="250"/>
                    <a:pt x="108" y="254"/>
                    <a:pt x="108" y="258"/>
                  </a:cubicBezTo>
                  <a:cubicBezTo>
                    <a:pt x="109" y="264"/>
                    <a:pt x="108" y="272"/>
                    <a:pt x="111" y="277"/>
                  </a:cubicBezTo>
                  <a:cubicBezTo>
                    <a:pt x="112" y="280"/>
                    <a:pt x="114" y="281"/>
                    <a:pt x="116" y="284"/>
                  </a:cubicBezTo>
                  <a:cubicBezTo>
                    <a:pt x="119" y="289"/>
                    <a:pt x="122" y="293"/>
                    <a:pt x="127" y="296"/>
                  </a:cubicBezTo>
                  <a:cubicBezTo>
                    <a:pt x="127" y="295"/>
                    <a:pt x="127" y="295"/>
                    <a:pt x="127" y="295"/>
                  </a:cubicBezTo>
                  <a:cubicBezTo>
                    <a:pt x="129" y="296"/>
                    <a:pt x="130" y="296"/>
                    <a:pt x="132" y="296"/>
                  </a:cubicBezTo>
                  <a:cubicBezTo>
                    <a:pt x="133" y="297"/>
                    <a:pt x="136" y="300"/>
                    <a:pt x="138" y="301"/>
                  </a:cubicBezTo>
                  <a:cubicBezTo>
                    <a:pt x="140" y="302"/>
                    <a:pt x="140" y="303"/>
                    <a:pt x="141" y="305"/>
                  </a:cubicBezTo>
                  <a:cubicBezTo>
                    <a:pt x="146" y="313"/>
                    <a:pt x="151" y="321"/>
                    <a:pt x="155" y="329"/>
                  </a:cubicBezTo>
                  <a:cubicBezTo>
                    <a:pt x="159" y="335"/>
                    <a:pt x="163" y="341"/>
                    <a:pt x="167" y="348"/>
                  </a:cubicBezTo>
                  <a:cubicBezTo>
                    <a:pt x="170" y="353"/>
                    <a:pt x="176" y="358"/>
                    <a:pt x="181" y="362"/>
                  </a:cubicBezTo>
                  <a:cubicBezTo>
                    <a:pt x="185" y="366"/>
                    <a:pt x="183" y="369"/>
                    <a:pt x="185" y="375"/>
                  </a:cubicBezTo>
                  <a:cubicBezTo>
                    <a:pt x="185" y="375"/>
                    <a:pt x="185" y="375"/>
                    <a:pt x="185" y="375"/>
                  </a:cubicBezTo>
                  <a:cubicBezTo>
                    <a:pt x="191" y="375"/>
                    <a:pt x="193" y="382"/>
                    <a:pt x="194" y="387"/>
                  </a:cubicBezTo>
                  <a:cubicBezTo>
                    <a:pt x="195" y="386"/>
                    <a:pt x="197" y="385"/>
                    <a:pt x="200" y="383"/>
                  </a:cubicBezTo>
                  <a:cubicBezTo>
                    <a:pt x="201" y="383"/>
                    <a:pt x="201" y="383"/>
                    <a:pt x="201" y="382"/>
                  </a:cubicBezTo>
                  <a:cubicBezTo>
                    <a:pt x="201" y="382"/>
                    <a:pt x="201" y="382"/>
                    <a:pt x="201" y="381"/>
                  </a:cubicBezTo>
                  <a:cubicBezTo>
                    <a:pt x="201" y="380"/>
                    <a:pt x="200" y="379"/>
                    <a:pt x="200" y="378"/>
                  </a:cubicBezTo>
                  <a:cubicBezTo>
                    <a:pt x="200" y="377"/>
                    <a:pt x="200" y="376"/>
                    <a:pt x="200" y="375"/>
                  </a:cubicBezTo>
                  <a:cubicBezTo>
                    <a:pt x="200" y="375"/>
                    <a:pt x="200" y="374"/>
                    <a:pt x="200" y="373"/>
                  </a:cubicBezTo>
                  <a:cubicBezTo>
                    <a:pt x="201" y="372"/>
                    <a:pt x="201" y="371"/>
                    <a:pt x="202" y="370"/>
                  </a:cubicBezTo>
                  <a:cubicBezTo>
                    <a:pt x="204" y="362"/>
                    <a:pt x="206" y="361"/>
                    <a:pt x="208" y="361"/>
                  </a:cubicBezTo>
                  <a:cubicBezTo>
                    <a:pt x="209" y="361"/>
                    <a:pt x="209" y="361"/>
                    <a:pt x="209" y="361"/>
                  </a:cubicBezTo>
                  <a:cubicBezTo>
                    <a:pt x="210" y="361"/>
                    <a:pt x="211" y="361"/>
                    <a:pt x="212" y="361"/>
                  </a:cubicBezTo>
                  <a:cubicBezTo>
                    <a:pt x="214" y="361"/>
                    <a:pt x="215" y="361"/>
                    <a:pt x="216" y="362"/>
                  </a:cubicBezTo>
                  <a:cubicBezTo>
                    <a:pt x="217" y="362"/>
                    <a:pt x="218" y="363"/>
                    <a:pt x="218" y="363"/>
                  </a:cubicBezTo>
                  <a:cubicBezTo>
                    <a:pt x="219" y="364"/>
                    <a:pt x="220" y="364"/>
                    <a:pt x="221" y="365"/>
                  </a:cubicBezTo>
                  <a:cubicBezTo>
                    <a:pt x="221" y="365"/>
                    <a:pt x="221" y="365"/>
                    <a:pt x="221" y="365"/>
                  </a:cubicBezTo>
                  <a:cubicBezTo>
                    <a:pt x="221" y="365"/>
                    <a:pt x="222" y="365"/>
                    <a:pt x="222" y="365"/>
                  </a:cubicBezTo>
                  <a:cubicBezTo>
                    <a:pt x="223" y="365"/>
                    <a:pt x="224" y="365"/>
                    <a:pt x="224" y="365"/>
                  </a:cubicBezTo>
                  <a:cubicBezTo>
                    <a:pt x="225" y="365"/>
                    <a:pt x="226" y="365"/>
                    <a:pt x="227" y="365"/>
                  </a:cubicBezTo>
                  <a:cubicBezTo>
                    <a:pt x="228" y="365"/>
                    <a:pt x="228" y="365"/>
                    <a:pt x="228" y="365"/>
                  </a:cubicBezTo>
                  <a:cubicBezTo>
                    <a:pt x="229" y="365"/>
                    <a:pt x="230" y="364"/>
                    <a:pt x="231" y="364"/>
                  </a:cubicBezTo>
                  <a:cubicBezTo>
                    <a:pt x="232" y="364"/>
                    <a:pt x="234" y="364"/>
                    <a:pt x="235" y="364"/>
                  </a:cubicBezTo>
                  <a:cubicBezTo>
                    <a:pt x="239" y="363"/>
                    <a:pt x="242" y="363"/>
                    <a:pt x="246" y="363"/>
                  </a:cubicBezTo>
                  <a:cubicBezTo>
                    <a:pt x="248" y="362"/>
                    <a:pt x="249" y="362"/>
                    <a:pt x="251" y="362"/>
                  </a:cubicBezTo>
                  <a:cubicBezTo>
                    <a:pt x="258" y="362"/>
                    <a:pt x="266" y="363"/>
                    <a:pt x="273" y="364"/>
                  </a:cubicBezTo>
                  <a:cubicBezTo>
                    <a:pt x="278" y="365"/>
                    <a:pt x="282" y="365"/>
                    <a:pt x="285" y="366"/>
                  </a:cubicBezTo>
                  <a:cubicBezTo>
                    <a:pt x="286" y="366"/>
                    <a:pt x="286" y="366"/>
                    <a:pt x="286" y="366"/>
                  </a:cubicBezTo>
                  <a:cubicBezTo>
                    <a:pt x="287" y="366"/>
                    <a:pt x="287" y="366"/>
                    <a:pt x="287" y="366"/>
                  </a:cubicBezTo>
                  <a:cubicBezTo>
                    <a:pt x="288" y="366"/>
                    <a:pt x="288" y="366"/>
                    <a:pt x="288" y="366"/>
                  </a:cubicBezTo>
                  <a:cubicBezTo>
                    <a:pt x="291" y="367"/>
                    <a:pt x="293" y="370"/>
                    <a:pt x="294" y="372"/>
                  </a:cubicBezTo>
                  <a:cubicBezTo>
                    <a:pt x="294" y="372"/>
                    <a:pt x="294" y="372"/>
                    <a:pt x="294" y="372"/>
                  </a:cubicBezTo>
                  <a:cubicBezTo>
                    <a:pt x="294" y="372"/>
                    <a:pt x="295" y="373"/>
                    <a:pt x="295" y="373"/>
                  </a:cubicBezTo>
                  <a:cubicBezTo>
                    <a:pt x="295" y="373"/>
                    <a:pt x="295" y="373"/>
                    <a:pt x="295" y="373"/>
                  </a:cubicBezTo>
                  <a:cubicBezTo>
                    <a:pt x="296" y="373"/>
                    <a:pt x="296" y="373"/>
                    <a:pt x="296" y="373"/>
                  </a:cubicBezTo>
                  <a:cubicBezTo>
                    <a:pt x="297" y="373"/>
                    <a:pt x="297" y="373"/>
                    <a:pt x="297" y="373"/>
                  </a:cubicBezTo>
                  <a:cubicBezTo>
                    <a:pt x="298" y="373"/>
                    <a:pt x="299" y="373"/>
                    <a:pt x="300" y="372"/>
                  </a:cubicBezTo>
                  <a:cubicBezTo>
                    <a:pt x="302" y="371"/>
                    <a:pt x="303" y="370"/>
                    <a:pt x="304" y="369"/>
                  </a:cubicBezTo>
                  <a:cubicBezTo>
                    <a:pt x="319" y="346"/>
                    <a:pt x="319" y="346"/>
                    <a:pt x="319" y="346"/>
                  </a:cubicBezTo>
                  <a:cubicBezTo>
                    <a:pt x="320" y="346"/>
                    <a:pt x="320" y="345"/>
                    <a:pt x="321" y="345"/>
                  </a:cubicBezTo>
                  <a:cubicBezTo>
                    <a:pt x="324" y="342"/>
                    <a:pt x="329" y="340"/>
                    <a:pt x="333" y="339"/>
                  </a:cubicBezTo>
                  <a:cubicBezTo>
                    <a:pt x="333" y="338"/>
                    <a:pt x="333" y="338"/>
                    <a:pt x="333" y="338"/>
                  </a:cubicBezTo>
                  <a:cubicBezTo>
                    <a:pt x="335" y="338"/>
                    <a:pt x="336" y="337"/>
                    <a:pt x="338" y="336"/>
                  </a:cubicBezTo>
                  <a:cubicBezTo>
                    <a:pt x="346" y="332"/>
                    <a:pt x="355" y="332"/>
                    <a:pt x="365" y="331"/>
                  </a:cubicBezTo>
                  <a:cubicBezTo>
                    <a:pt x="369" y="331"/>
                    <a:pt x="369" y="331"/>
                    <a:pt x="369" y="331"/>
                  </a:cubicBezTo>
                  <a:cubicBezTo>
                    <a:pt x="377" y="330"/>
                    <a:pt x="388" y="328"/>
                    <a:pt x="399" y="326"/>
                  </a:cubicBezTo>
                  <a:cubicBezTo>
                    <a:pt x="402" y="326"/>
                    <a:pt x="406" y="325"/>
                    <a:pt x="411" y="324"/>
                  </a:cubicBezTo>
                  <a:cubicBezTo>
                    <a:pt x="412" y="324"/>
                    <a:pt x="412" y="324"/>
                    <a:pt x="412" y="324"/>
                  </a:cubicBezTo>
                  <a:cubicBezTo>
                    <a:pt x="414" y="323"/>
                    <a:pt x="415" y="323"/>
                    <a:pt x="417" y="322"/>
                  </a:cubicBezTo>
                  <a:cubicBezTo>
                    <a:pt x="453" y="310"/>
                    <a:pt x="453" y="310"/>
                    <a:pt x="453" y="310"/>
                  </a:cubicBezTo>
                  <a:cubicBezTo>
                    <a:pt x="461" y="307"/>
                    <a:pt x="469" y="304"/>
                    <a:pt x="477" y="302"/>
                  </a:cubicBezTo>
                  <a:cubicBezTo>
                    <a:pt x="480" y="300"/>
                    <a:pt x="480" y="300"/>
                    <a:pt x="480" y="300"/>
                  </a:cubicBezTo>
                  <a:cubicBezTo>
                    <a:pt x="481" y="299"/>
                    <a:pt x="481" y="299"/>
                    <a:pt x="481" y="299"/>
                  </a:cubicBezTo>
                  <a:cubicBezTo>
                    <a:pt x="481" y="298"/>
                    <a:pt x="481" y="297"/>
                    <a:pt x="482" y="296"/>
                  </a:cubicBezTo>
                  <a:cubicBezTo>
                    <a:pt x="482" y="295"/>
                    <a:pt x="482" y="295"/>
                    <a:pt x="482" y="295"/>
                  </a:cubicBezTo>
                  <a:cubicBezTo>
                    <a:pt x="482" y="294"/>
                    <a:pt x="482" y="293"/>
                    <a:pt x="483" y="292"/>
                  </a:cubicBezTo>
                  <a:cubicBezTo>
                    <a:pt x="483" y="291"/>
                    <a:pt x="483" y="290"/>
                    <a:pt x="484" y="288"/>
                  </a:cubicBezTo>
                  <a:cubicBezTo>
                    <a:pt x="484" y="288"/>
                    <a:pt x="484" y="287"/>
                    <a:pt x="484" y="287"/>
                  </a:cubicBezTo>
                  <a:cubicBezTo>
                    <a:pt x="485" y="285"/>
                    <a:pt x="486" y="283"/>
                    <a:pt x="486" y="280"/>
                  </a:cubicBezTo>
                  <a:cubicBezTo>
                    <a:pt x="491" y="267"/>
                    <a:pt x="491" y="267"/>
                    <a:pt x="491" y="267"/>
                  </a:cubicBezTo>
                  <a:cubicBezTo>
                    <a:pt x="491" y="265"/>
                    <a:pt x="492" y="262"/>
                    <a:pt x="493" y="260"/>
                  </a:cubicBezTo>
                  <a:cubicBezTo>
                    <a:pt x="493" y="258"/>
                    <a:pt x="493" y="257"/>
                    <a:pt x="493" y="256"/>
                  </a:cubicBezTo>
                  <a:cubicBezTo>
                    <a:pt x="493" y="255"/>
                    <a:pt x="493" y="253"/>
                    <a:pt x="492" y="252"/>
                  </a:cubicBezTo>
                  <a:cubicBezTo>
                    <a:pt x="492" y="252"/>
                    <a:pt x="492" y="252"/>
                    <a:pt x="492" y="252"/>
                  </a:cubicBezTo>
                  <a:cubicBezTo>
                    <a:pt x="492" y="251"/>
                    <a:pt x="492" y="251"/>
                    <a:pt x="492" y="251"/>
                  </a:cubicBezTo>
                  <a:cubicBezTo>
                    <a:pt x="491" y="250"/>
                    <a:pt x="491" y="249"/>
                    <a:pt x="490" y="248"/>
                  </a:cubicBezTo>
                  <a:cubicBezTo>
                    <a:pt x="490" y="246"/>
                    <a:pt x="490" y="246"/>
                    <a:pt x="490" y="246"/>
                  </a:cubicBezTo>
                  <a:cubicBezTo>
                    <a:pt x="489" y="245"/>
                    <a:pt x="488" y="244"/>
                    <a:pt x="487" y="242"/>
                  </a:cubicBezTo>
                  <a:cubicBezTo>
                    <a:pt x="487" y="242"/>
                    <a:pt x="487" y="242"/>
                    <a:pt x="487" y="242"/>
                  </a:cubicBezTo>
                  <a:cubicBezTo>
                    <a:pt x="487" y="241"/>
                    <a:pt x="486" y="240"/>
                    <a:pt x="486" y="239"/>
                  </a:cubicBezTo>
                  <a:cubicBezTo>
                    <a:pt x="485" y="239"/>
                    <a:pt x="485" y="239"/>
                    <a:pt x="485" y="239"/>
                  </a:cubicBezTo>
                  <a:cubicBezTo>
                    <a:pt x="425" y="233"/>
                    <a:pt x="425" y="233"/>
                    <a:pt x="425" y="233"/>
                  </a:cubicBezTo>
                  <a:cubicBezTo>
                    <a:pt x="424" y="232"/>
                    <a:pt x="423" y="232"/>
                    <a:pt x="423" y="231"/>
                  </a:cubicBezTo>
                  <a:cubicBezTo>
                    <a:pt x="419" y="228"/>
                    <a:pt x="416" y="224"/>
                    <a:pt x="413" y="220"/>
                  </a:cubicBezTo>
                  <a:cubicBezTo>
                    <a:pt x="408" y="213"/>
                    <a:pt x="408" y="213"/>
                    <a:pt x="408" y="213"/>
                  </a:cubicBezTo>
                  <a:cubicBezTo>
                    <a:pt x="406" y="211"/>
                    <a:pt x="406" y="211"/>
                    <a:pt x="406" y="211"/>
                  </a:cubicBezTo>
                  <a:cubicBezTo>
                    <a:pt x="403" y="208"/>
                    <a:pt x="400" y="204"/>
                    <a:pt x="399" y="201"/>
                  </a:cubicBezTo>
                  <a:cubicBezTo>
                    <a:pt x="398" y="197"/>
                    <a:pt x="398" y="197"/>
                    <a:pt x="398" y="197"/>
                  </a:cubicBezTo>
                  <a:cubicBezTo>
                    <a:pt x="397" y="197"/>
                    <a:pt x="396" y="197"/>
                    <a:pt x="395" y="196"/>
                  </a:cubicBezTo>
                  <a:cubicBezTo>
                    <a:pt x="395" y="196"/>
                    <a:pt x="395" y="194"/>
                    <a:pt x="396" y="193"/>
                  </a:cubicBezTo>
                  <a:cubicBezTo>
                    <a:pt x="397" y="192"/>
                    <a:pt x="398" y="192"/>
                    <a:pt x="399" y="190"/>
                  </a:cubicBezTo>
                  <a:cubicBezTo>
                    <a:pt x="399" y="190"/>
                    <a:pt x="399" y="190"/>
                    <a:pt x="399" y="190"/>
                  </a:cubicBezTo>
                  <a:cubicBezTo>
                    <a:pt x="399" y="188"/>
                    <a:pt x="399" y="188"/>
                    <a:pt x="399" y="188"/>
                  </a:cubicBezTo>
                  <a:cubicBezTo>
                    <a:pt x="399" y="188"/>
                    <a:pt x="399" y="188"/>
                    <a:pt x="399" y="188"/>
                  </a:cubicBezTo>
                  <a:cubicBezTo>
                    <a:pt x="398" y="188"/>
                    <a:pt x="397" y="189"/>
                    <a:pt x="397" y="189"/>
                  </a:cubicBezTo>
                  <a:cubicBezTo>
                    <a:pt x="396" y="189"/>
                    <a:pt x="396" y="189"/>
                    <a:pt x="396" y="189"/>
                  </a:cubicBezTo>
                  <a:cubicBezTo>
                    <a:pt x="396" y="189"/>
                    <a:pt x="395" y="189"/>
                    <a:pt x="395" y="189"/>
                  </a:cubicBezTo>
                  <a:cubicBezTo>
                    <a:pt x="395" y="189"/>
                    <a:pt x="394" y="189"/>
                    <a:pt x="394" y="189"/>
                  </a:cubicBezTo>
                  <a:cubicBezTo>
                    <a:pt x="393" y="189"/>
                    <a:pt x="392" y="189"/>
                    <a:pt x="391" y="189"/>
                  </a:cubicBezTo>
                  <a:cubicBezTo>
                    <a:pt x="390" y="189"/>
                    <a:pt x="390" y="189"/>
                    <a:pt x="389" y="189"/>
                  </a:cubicBezTo>
                  <a:cubicBezTo>
                    <a:pt x="389" y="189"/>
                    <a:pt x="389" y="189"/>
                    <a:pt x="389" y="189"/>
                  </a:cubicBezTo>
                  <a:cubicBezTo>
                    <a:pt x="389" y="189"/>
                    <a:pt x="389" y="189"/>
                    <a:pt x="389" y="189"/>
                  </a:cubicBezTo>
                  <a:cubicBezTo>
                    <a:pt x="388" y="189"/>
                    <a:pt x="388" y="189"/>
                    <a:pt x="388" y="189"/>
                  </a:cubicBezTo>
                  <a:cubicBezTo>
                    <a:pt x="388" y="189"/>
                    <a:pt x="388" y="189"/>
                    <a:pt x="388" y="189"/>
                  </a:cubicBezTo>
                  <a:cubicBezTo>
                    <a:pt x="387" y="189"/>
                    <a:pt x="387" y="189"/>
                    <a:pt x="387" y="189"/>
                  </a:cubicBezTo>
                  <a:cubicBezTo>
                    <a:pt x="386" y="188"/>
                    <a:pt x="385" y="187"/>
                    <a:pt x="384" y="185"/>
                  </a:cubicBezTo>
                  <a:cubicBezTo>
                    <a:pt x="384" y="184"/>
                    <a:pt x="384" y="184"/>
                    <a:pt x="384" y="184"/>
                  </a:cubicBezTo>
                  <a:cubicBezTo>
                    <a:pt x="383" y="184"/>
                    <a:pt x="383" y="184"/>
                    <a:pt x="383" y="184"/>
                  </a:cubicBezTo>
                  <a:cubicBezTo>
                    <a:pt x="380" y="179"/>
                    <a:pt x="377" y="174"/>
                    <a:pt x="374" y="168"/>
                  </a:cubicBezTo>
                  <a:cubicBezTo>
                    <a:pt x="371" y="164"/>
                    <a:pt x="366" y="159"/>
                    <a:pt x="364" y="154"/>
                  </a:cubicBezTo>
                  <a:cubicBezTo>
                    <a:pt x="364" y="153"/>
                    <a:pt x="364" y="150"/>
                    <a:pt x="365" y="150"/>
                  </a:cubicBezTo>
                  <a:cubicBezTo>
                    <a:pt x="365" y="149"/>
                    <a:pt x="365" y="149"/>
                    <a:pt x="365" y="149"/>
                  </a:cubicBezTo>
                  <a:cubicBezTo>
                    <a:pt x="366" y="149"/>
                    <a:pt x="367" y="152"/>
                    <a:pt x="368" y="153"/>
                  </a:cubicBezTo>
                  <a:cubicBezTo>
                    <a:pt x="369" y="151"/>
                    <a:pt x="370" y="146"/>
                    <a:pt x="369" y="144"/>
                  </a:cubicBezTo>
                  <a:cubicBezTo>
                    <a:pt x="368" y="141"/>
                    <a:pt x="363" y="140"/>
                    <a:pt x="365" y="135"/>
                  </a:cubicBezTo>
                  <a:cubicBezTo>
                    <a:pt x="365" y="137"/>
                    <a:pt x="366" y="137"/>
                    <a:pt x="368" y="137"/>
                  </a:cubicBezTo>
                  <a:cubicBezTo>
                    <a:pt x="368" y="137"/>
                    <a:pt x="368" y="137"/>
                    <a:pt x="368" y="137"/>
                  </a:cubicBezTo>
                  <a:cubicBezTo>
                    <a:pt x="366" y="136"/>
                    <a:pt x="365" y="133"/>
                    <a:pt x="363" y="132"/>
                  </a:cubicBezTo>
                  <a:cubicBezTo>
                    <a:pt x="362" y="132"/>
                    <a:pt x="360" y="132"/>
                    <a:pt x="359" y="131"/>
                  </a:cubicBezTo>
                  <a:cubicBezTo>
                    <a:pt x="357" y="129"/>
                    <a:pt x="356" y="124"/>
                    <a:pt x="353" y="124"/>
                  </a:cubicBezTo>
                  <a:cubicBezTo>
                    <a:pt x="353" y="124"/>
                    <a:pt x="353" y="124"/>
                    <a:pt x="353" y="124"/>
                  </a:cubicBezTo>
                  <a:cubicBezTo>
                    <a:pt x="353" y="124"/>
                    <a:pt x="353" y="125"/>
                    <a:pt x="353" y="125"/>
                  </a:cubicBezTo>
                  <a:cubicBezTo>
                    <a:pt x="350" y="125"/>
                    <a:pt x="348" y="119"/>
                    <a:pt x="344" y="117"/>
                  </a:cubicBezTo>
                  <a:cubicBezTo>
                    <a:pt x="345" y="117"/>
                    <a:pt x="347" y="117"/>
                    <a:pt x="348" y="116"/>
                  </a:cubicBezTo>
                  <a:cubicBezTo>
                    <a:pt x="347" y="115"/>
                    <a:pt x="347" y="115"/>
                    <a:pt x="346" y="115"/>
                  </a:cubicBezTo>
                  <a:cubicBezTo>
                    <a:pt x="346" y="115"/>
                    <a:pt x="345" y="115"/>
                    <a:pt x="345" y="115"/>
                  </a:cubicBezTo>
                  <a:cubicBezTo>
                    <a:pt x="345" y="115"/>
                    <a:pt x="345" y="115"/>
                    <a:pt x="345" y="115"/>
                  </a:cubicBezTo>
                  <a:cubicBezTo>
                    <a:pt x="344" y="115"/>
                    <a:pt x="344" y="115"/>
                    <a:pt x="343" y="115"/>
                  </a:cubicBezTo>
                  <a:cubicBezTo>
                    <a:pt x="342" y="114"/>
                    <a:pt x="342" y="113"/>
                    <a:pt x="341" y="113"/>
                  </a:cubicBezTo>
                  <a:cubicBezTo>
                    <a:pt x="338" y="112"/>
                    <a:pt x="338" y="114"/>
                    <a:pt x="336" y="111"/>
                  </a:cubicBezTo>
                  <a:cubicBezTo>
                    <a:pt x="335" y="109"/>
                    <a:pt x="335" y="105"/>
                    <a:pt x="333" y="103"/>
                  </a:cubicBezTo>
                  <a:cubicBezTo>
                    <a:pt x="332" y="99"/>
                    <a:pt x="330" y="96"/>
                    <a:pt x="329" y="92"/>
                  </a:cubicBezTo>
                  <a:cubicBezTo>
                    <a:pt x="328" y="93"/>
                    <a:pt x="328" y="93"/>
                    <a:pt x="328" y="93"/>
                  </a:cubicBezTo>
                  <a:cubicBezTo>
                    <a:pt x="327" y="92"/>
                    <a:pt x="327" y="92"/>
                    <a:pt x="327" y="92"/>
                  </a:cubicBezTo>
                  <a:cubicBezTo>
                    <a:pt x="326" y="92"/>
                    <a:pt x="326" y="92"/>
                    <a:pt x="326" y="92"/>
                  </a:cubicBezTo>
                  <a:cubicBezTo>
                    <a:pt x="326" y="92"/>
                    <a:pt x="326" y="92"/>
                    <a:pt x="326" y="92"/>
                  </a:cubicBezTo>
                  <a:cubicBezTo>
                    <a:pt x="325" y="92"/>
                    <a:pt x="324" y="92"/>
                    <a:pt x="323" y="93"/>
                  </a:cubicBezTo>
                  <a:cubicBezTo>
                    <a:pt x="323" y="93"/>
                    <a:pt x="323" y="93"/>
                    <a:pt x="323" y="93"/>
                  </a:cubicBezTo>
                  <a:cubicBezTo>
                    <a:pt x="321" y="93"/>
                    <a:pt x="319" y="93"/>
                    <a:pt x="317" y="93"/>
                  </a:cubicBezTo>
                  <a:cubicBezTo>
                    <a:pt x="314" y="93"/>
                    <a:pt x="312" y="92"/>
                    <a:pt x="310" y="91"/>
                  </a:cubicBezTo>
                  <a:cubicBezTo>
                    <a:pt x="308" y="91"/>
                    <a:pt x="307" y="90"/>
                    <a:pt x="306" y="88"/>
                  </a:cubicBezTo>
                  <a:cubicBezTo>
                    <a:pt x="305" y="87"/>
                    <a:pt x="305" y="87"/>
                    <a:pt x="305" y="86"/>
                  </a:cubicBezTo>
                  <a:cubicBezTo>
                    <a:pt x="305" y="86"/>
                    <a:pt x="305" y="86"/>
                    <a:pt x="305" y="86"/>
                  </a:cubicBezTo>
                  <a:cubicBezTo>
                    <a:pt x="305" y="86"/>
                    <a:pt x="305" y="86"/>
                    <a:pt x="305" y="86"/>
                  </a:cubicBezTo>
                  <a:cubicBezTo>
                    <a:pt x="305" y="85"/>
                    <a:pt x="305" y="85"/>
                    <a:pt x="305" y="85"/>
                  </a:cubicBezTo>
                  <a:cubicBezTo>
                    <a:pt x="305" y="85"/>
                    <a:pt x="305" y="85"/>
                    <a:pt x="305" y="85"/>
                  </a:cubicBezTo>
                  <a:cubicBezTo>
                    <a:pt x="304" y="84"/>
                    <a:pt x="304" y="84"/>
                    <a:pt x="304" y="84"/>
                  </a:cubicBezTo>
                  <a:cubicBezTo>
                    <a:pt x="304" y="84"/>
                    <a:pt x="304" y="84"/>
                    <a:pt x="304" y="84"/>
                  </a:cubicBezTo>
                  <a:cubicBezTo>
                    <a:pt x="304" y="83"/>
                    <a:pt x="304" y="83"/>
                    <a:pt x="304" y="83"/>
                  </a:cubicBezTo>
                  <a:cubicBezTo>
                    <a:pt x="304" y="83"/>
                    <a:pt x="304" y="83"/>
                    <a:pt x="304" y="83"/>
                  </a:cubicBezTo>
                  <a:cubicBezTo>
                    <a:pt x="285" y="78"/>
                    <a:pt x="285" y="78"/>
                    <a:pt x="285" y="78"/>
                  </a:cubicBezTo>
                  <a:cubicBezTo>
                    <a:pt x="284" y="78"/>
                    <a:pt x="284" y="78"/>
                    <a:pt x="284" y="78"/>
                  </a:cubicBezTo>
                  <a:cubicBezTo>
                    <a:pt x="283" y="78"/>
                    <a:pt x="283" y="78"/>
                    <a:pt x="283" y="78"/>
                  </a:cubicBezTo>
                  <a:cubicBezTo>
                    <a:pt x="283" y="78"/>
                    <a:pt x="283" y="78"/>
                    <a:pt x="283" y="78"/>
                  </a:cubicBezTo>
                  <a:cubicBezTo>
                    <a:pt x="282" y="79"/>
                    <a:pt x="281" y="79"/>
                    <a:pt x="281" y="79"/>
                  </a:cubicBezTo>
                  <a:cubicBezTo>
                    <a:pt x="280" y="79"/>
                    <a:pt x="280" y="79"/>
                    <a:pt x="280" y="79"/>
                  </a:cubicBezTo>
                  <a:cubicBezTo>
                    <a:pt x="279" y="79"/>
                    <a:pt x="278" y="79"/>
                    <a:pt x="277" y="79"/>
                  </a:cubicBezTo>
                  <a:cubicBezTo>
                    <a:pt x="277" y="79"/>
                    <a:pt x="277" y="79"/>
                    <a:pt x="277" y="79"/>
                  </a:cubicBezTo>
                  <a:cubicBezTo>
                    <a:pt x="276" y="79"/>
                    <a:pt x="276" y="79"/>
                    <a:pt x="276" y="79"/>
                  </a:cubicBezTo>
                  <a:cubicBezTo>
                    <a:pt x="244" y="76"/>
                    <a:pt x="244" y="76"/>
                    <a:pt x="244" y="76"/>
                  </a:cubicBezTo>
                  <a:cubicBezTo>
                    <a:pt x="242" y="76"/>
                    <a:pt x="240" y="75"/>
                    <a:pt x="238" y="74"/>
                  </a:cubicBezTo>
                  <a:cubicBezTo>
                    <a:pt x="234" y="71"/>
                    <a:pt x="230" y="68"/>
                    <a:pt x="227" y="65"/>
                  </a:cubicBezTo>
                  <a:cubicBezTo>
                    <a:pt x="224" y="63"/>
                    <a:pt x="221" y="61"/>
                    <a:pt x="218" y="59"/>
                  </a:cubicBezTo>
                  <a:cubicBezTo>
                    <a:pt x="202" y="47"/>
                    <a:pt x="202" y="47"/>
                    <a:pt x="202" y="47"/>
                  </a:cubicBezTo>
                  <a:cubicBezTo>
                    <a:pt x="199" y="44"/>
                    <a:pt x="196" y="41"/>
                    <a:pt x="193" y="39"/>
                  </a:cubicBezTo>
                  <a:cubicBezTo>
                    <a:pt x="188" y="34"/>
                    <a:pt x="182" y="30"/>
                    <a:pt x="177" y="27"/>
                  </a:cubicBezTo>
                  <a:cubicBezTo>
                    <a:pt x="171" y="23"/>
                    <a:pt x="171" y="23"/>
                    <a:pt x="171" y="23"/>
                  </a:cubicBezTo>
                  <a:cubicBezTo>
                    <a:pt x="169" y="22"/>
                    <a:pt x="167" y="21"/>
                    <a:pt x="165" y="20"/>
                  </a:cubicBezTo>
                  <a:cubicBezTo>
                    <a:pt x="159" y="17"/>
                    <a:pt x="152" y="13"/>
                    <a:pt x="145" y="9"/>
                  </a:cubicBezTo>
                  <a:cubicBezTo>
                    <a:pt x="145" y="8"/>
                    <a:pt x="144" y="8"/>
                    <a:pt x="143" y="7"/>
                  </a:cubicBezTo>
                  <a:cubicBezTo>
                    <a:pt x="142" y="6"/>
                    <a:pt x="140" y="5"/>
                    <a:pt x="139" y="4"/>
                  </a:cubicBezTo>
                  <a:cubicBezTo>
                    <a:pt x="110" y="0"/>
                    <a:pt x="110" y="0"/>
                    <a:pt x="1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3" name="Freeform 302">
              <a:extLst>
                <a:ext uri="{FF2B5EF4-FFF2-40B4-BE49-F238E27FC236}">
                  <a16:creationId xmlns:a16="http://schemas.microsoft.com/office/drawing/2014/main" id="{5D161B51-58AB-4451-8181-4F6FFB1FAAA8}"/>
                </a:ext>
              </a:extLst>
            </p:cNvPr>
            <p:cNvSpPr>
              <a:spLocks/>
            </p:cNvSpPr>
            <p:nvPr/>
          </p:nvSpPr>
          <p:spPr bwMode="auto">
            <a:xfrm>
              <a:off x="6783" y="1254"/>
              <a:ext cx="21" cy="38"/>
            </a:xfrm>
            <a:custGeom>
              <a:avLst/>
              <a:gdLst>
                <a:gd name="T0" fmla="*/ 6 w 9"/>
                <a:gd name="T1" fmla="*/ 0 h 16"/>
                <a:gd name="T2" fmla="*/ 0 w 9"/>
                <a:gd name="T3" fmla="*/ 5 h 16"/>
                <a:gd name="T4" fmla="*/ 2 w 9"/>
                <a:gd name="T5" fmla="*/ 5 h 16"/>
                <a:gd name="T6" fmla="*/ 2 w 9"/>
                <a:gd name="T7" fmla="*/ 6 h 16"/>
                <a:gd name="T8" fmla="*/ 2 w 9"/>
                <a:gd name="T9" fmla="*/ 8 h 16"/>
                <a:gd name="T10" fmla="*/ 2 w 9"/>
                <a:gd name="T11" fmla="*/ 10 h 16"/>
                <a:gd name="T12" fmla="*/ 3 w 9"/>
                <a:gd name="T13" fmla="*/ 15 h 16"/>
                <a:gd name="T14" fmla="*/ 3 w 9"/>
                <a:gd name="T15" fmla="*/ 14 h 16"/>
                <a:gd name="T16" fmla="*/ 4 w 9"/>
                <a:gd name="T17" fmla="*/ 16 h 16"/>
                <a:gd name="T18" fmla="*/ 8 w 9"/>
                <a:gd name="T19" fmla="*/ 7 h 16"/>
                <a:gd name="T20" fmla="*/ 5 w 9"/>
                <a:gd name="T21" fmla="*/ 4 h 16"/>
                <a:gd name="T22" fmla="*/ 9 w 9"/>
                <a:gd name="T23" fmla="*/ 1 h 16"/>
                <a:gd name="T24" fmla="*/ 6 w 9"/>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6">
                  <a:moveTo>
                    <a:pt x="6" y="0"/>
                  </a:moveTo>
                  <a:cubicBezTo>
                    <a:pt x="3" y="0"/>
                    <a:pt x="2" y="2"/>
                    <a:pt x="0" y="5"/>
                  </a:cubicBezTo>
                  <a:cubicBezTo>
                    <a:pt x="2" y="5"/>
                    <a:pt x="2" y="5"/>
                    <a:pt x="2" y="5"/>
                  </a:cubicBezTo>
                  <a:cubicBezTo>
                    <a:pt x="2" y="6"/>
                    <a:pt x="2" y="6"/>
                    <a:pt x="2" y="6"/>
                  </a:cubicBezTo>
                  <a:cubicBezTo>
                    <a:pt x="2" y="6"/>
                    <a:pt x="2" y="7"/>
                    <a:pt x="2" y="8"/>
                  </a:cubicBezTo>
                  <a:cubicBezTo>
                    <a:pt x="2" y="10"/>
                    <a:pt x="2" y="10"/>
                    <a:pt x="2" y="10"/>
                  </a:cubicBezTo>
                  <a:cubicBezTo>
                    <a:pt x="2" y="12"/>
                    <a:pt x="3" y="14"/>
                    <a:pt x="3" y="15"/>
                  </a:cubicBezTo>
                  <a:cubicBezTo>
                    <a:pt x="3" y="14"/>
                    <a:pt x="3" y="14"/>
                    <a:pt x="3" y="14"/>
                  </a:cubicBezTo>
                  <a:cubicBezTo>
                    <a:pt x="4" y="16"/>
                    <a:pt x="4" y="16"/>
                    <a:pt x="4" y="16"/>
                  </a:cubicBezTo>
                  <a:cubicBezTo>
                    <a:pt x="6" y="13"/>
                    <a:pt x="7" y="8"/>
                    <a:pt x="8" y="7"/>
                  </a:cubicBezTo>
                  <a:cubicBezTo>
                    <a:pt x="6" y="6"/>
                    <a:pt x="5" y="6"/>
                    <a:pt x="5" y="4"/>
                  </a:cubicBezTo>
                  <a:cubicBezTo>
                    <a:pt x="6"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4" name="Freeform 303">
              <a:extLst>
                <a:ext uri="{FF2B5EF4-FFF2-40B4-BE49-F238E27FC236}">
                  <a16:creationId xmlns:a16="http://schemas.microsoft.com/office/drawing/2014/main" id="{5ECA1355-5E87-4B17-BFC4-345CDADC6975}"/>
                </a:ext>
              </a:extLst>
            </p:cNvPr>
            <p:cNvSpPr>
              <a:spLocks/>
            </p:cNvSpPr>
            <p:nvPr/>
          </p:nvSpPr>
          <p:spPr bwMode="auto">
            <a:xfrm>
              <a:off x="5892" y="171"/>
              <a:ext cx="357" cy="152"/>
            </a:xfrm>
            <a:custGeom>
              <a:avLst/>
              <a:gdLst>
                <a:gd name="T0" fmla="*/ 0 w 151"/>
                <a:gd name="T1" fmla="*/ 4 h 64"/>
                <a:gd name="T2" fmla="*/ 10 w 151"/>
                <a:gd name="T3" fmla="*/ 10 h 64"/>
                <a:gd name="T4" fmla="*/ 33 w 151"/>
                <a:gd name="T5" fmla="*/ 27 h 64"/>
                <a:gd name="T6" fmla="*/ 39 w 151"/>
                <a:gd name="T7" fmla="*/ 46 h 64"/>
                <a:gd name="T8" fmla="*/ 35 w 151"/>
                <a:gd name="T9" fmla="*/ 53 h 64"/>
                <a:gd name="T10" fmla="*/ 41 w 151"/>
                <a:gd name="T11" fmla="*/ 54 h 64"/>
                <a:gd name="T12" fmla="*/ 46 w 151"/>
                <a:gd name="T13" fmla="*/ 54 h 64"/>
                <a:gd name="T14" fmla="*/ 55 w 151"/>
                <a:gd name="T15" fmla="*/ 55 h 64"/>
                <a:gd name="T16" fmla="*/ 61 w 151"/>
                <a:gd name="T17" fmla="*/ 51 h 64"/>
                <a:gd name="T18" fmla="*/ 68 w 151"/>
                <a:gd name="T19" fmla="*/ 56 h 64"/>
                <a:gd name="T20" fmla="*/ 69 w 151"/>
                <a:gd name="T21" fmla="*/ 56 h 64"/>
                <a:gd name="T22" fmla="*/ 71 w 151"/>
                <a:gd name="T23" fmla="*/ 57 h 64"/>
                <a:gd name="T24" fmla="*/ 76 w 151"/>
                <a:gd name="T25" fmla="*/ 60 h 64"/>
                <a:gd name="T26" fmla="*/ 79 w 151"/>
                <a:gd name="T27" fmla="*/ 63 h 64"/>
                <a:gd name="T28" fmla="*/ 80 w 151"/>
                <a:gd name="T29" fmla="*/ 64 h 64"/>
                <a:gd name="T30" fmla="*/ 83 w 151"/>
                <a:gd name="T31" fmla="*/ 64 h 64"/>
                <a:gd name="T32" fmla="*/ 102 w 151"/>
                <a:gd name="T33" fmla="*/ 61 h 64"/>
                <a:gd name="T34" fmla="*/ 106 w 151"/>
                <a:gd name="T35" fmla="*/ 61 h 64"/>
                <a:gd name="T36" fmla="*/ 109 w 151"/>
                <a:gd name="T37" fmla="*/ 61 h 64"/>
                <a:gd name="T38" fmla="*/ 109 w 151"/>
                <a:gd name="T39" fmla="*/ 60 h 64"/>
                <a:gd name="T40" fmla="*/ 117 w 151"/>
                <a:gd name="T41" fmla="*/ 57 h 64"/>
                <a:gd name="T42" fmla="*/ 123 w 151"/>
                <a:gd name="T43" fmla="*/ 55 h 64"/>
                <a:gd name="T44" fmla="*/ 131 w 151"/>
                <a:gd name="T45" fmla="*/ 58 h 64"/>
                <a:gd name="T46" fmla="*/ 134 w 151"/>
                <a:gd name="T47" fmla="*/ 61 h 64"/>
                <a:gd name="T48" fmla="*/ 148 w 151"/>
                <a:gd name="T49" fmla="*/ 64 h 64"/>
                <a:gd name="T50" fmla="*/ 151 w 151"/>
                <a:gd name="T51" fmla="*/ 62 h 64"/>
                <a:gd name="T52" fmla="*/ 142 w 151"/>
                <a:gd name="T53" fmla="*/ 55 h 64"/>
                <a:gd name="T54" fmla="*/ 145 w 151"/>
                <a:gd name="T55" fmla="*/ 46 h 64"/>
                <a:gd name="T56" fmla="*/ 130 w 151"/>
                <a:gd name="T57" fmla="*/ 40 h 64"/>
                <a:gd name="T58" fmla="*/ 128 w 151"/>
                <a:gd name="T59" fmla="*/ 31 h 64"/>
                <a:gd name="T60" fmla="*/ 114 w 151"/>
                <a:gd name="T61" fmla="*/ 24 h 64"/>
                <a:gd name="T62" fmla="*/ 111 w 151"/>
                <a:gd name="T63" fmla="*/ 33 h 64"/>
                <a:gd name="T64" fmla="*/ 105 w 151"/>
                <a:gd name="T65" fmla="*/ 24 h 64"/>
                <a:gd name="T66" fmla="*/ 99 w 151"/>
                <a:gd name="T67" fmla="*/ 26 h 64"/>
                <a:gd name="T68" fmla="*/ 89 w 151"/>
                <a:gd name="T69" fmla="*/ 28 h 64"/>
                <a:gd name="T70" fmla="*/ 82 w 151"/>
                <a:gd name="T71" fmla="*/ 24 h 64"/>
                <a:gd name="T72" fmla="*/ 83 w 151"/>
                <a:gd name="T73" fmla="*/ 22 h 64"/>
                <a:gd name="T74" fmla="*/ 55 w 151"/>
                <a:gd name="T75" fmla="*/ 10 h 64"/>
                <a:gd name="T76" fmla="*/ 46 w 151"/>
                <a:gd name="T77" fmla="*/ 11 h 64"/>
                <a:gd name="T78" fmla="*/ 12 w 151"/>
                <a:gd name="T79" fmla="*/ 2 h 64"/>
                <a:gd name="T80" fmla="*/ 9 w 151"/>
                <a:gd name="T8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64">
                  <a:moveTo>
                    <a:pt x="1" y="0"/>
                  </a:moveTo>
                  <a:cubicBezTo>
                    <a:pt x="1" y="1"/>
                    <a:pt x="1" y="2"/>
                    <a:pt x="0" y="4"/>
                  </a:cubicBezTo>
                  <a:cubicBezTo>
                    <a:pt x="0" y="5"/>
                    <a:pt x="0" y="5"/>
                    <a:pt x="0" y="5"/>
                  </a:cubicBezTo>
                  <a:cubicBezTo>
                    <a:pt x="3" y="7"/>
                    <a:pt x="6" y="9"/>
                    <a:pt x="10" y="10"/>
                  </a:cubicBezTo>
                  <a:cubicBezTo>
                    <a:pt x="15" y="12"/>
                    <a:pt x="21" y="12"/>
                    <a:pt x="23" y="17"/>
                  </a:cubicBezTo>
                  <a:cubicBezTo>
                    <a:pt x="25" y="22"/>
                    <a:pt x="32" y="21"/>
                    <a:pt x="33" y="27"/>
                  </a:cubicBezTo>
                  <a:cubicBezTo>
                    <a:pt x="34" y="30"/>
                    <a:pt x="35" y="38"/>
                    <a:pt x="39" y="38"/>
                  </a:cubicBezTo>
                  <a:cubicBezTo>
                    <a:pt x="37" y="41"/>
                    <a:pt x="40" y="43"/>
                    <a:pt x="39" y="46"/>
                  </a:cubicBezTo>
                  <a:cubicBezTo>
                    <a:pt x="38" y="49"/>
                    <a:pt x="37" y="51"/>
                    <a:pt x="35" y="53"/>
                  </a:cubicBezTo>
                  <a:cubicBezTo>
                    <a:pt x="35" y="53"/>
                    <a:pt x="35" y="53"/>
                    <a:pt x="35" y="53"/>
                  </a:cubicBezTo>
                  <a:cubicBezTo>
                    <a:pt x="36" y="54"/>
                    <a:pt x="37" y="54"/>
                    <a:pt x="38" y="54"/>
                  </a:cubicBezTo>
                  <a:cubicBezTo>
                    <a:pt x="39" y="54"/>
                    <a:pt x="40" y="54"/>
                    <a:pt x="41" y="54"/>
                  </a:cubicBezTo>
                  <a:cubicBezTo>
                    <a:pt x="42" y="53"/>
                    <a:pt x="43" y="53"/>
                    <a:pt x="44" y="53"/>
                  </a:cubicBezTo>
                  <a:cubicBezTo>
                    <a:pt x="44" y="53"/>
                    <a:pt x="45" y="53"/>
                    <a:pt x="46" y="54"/>
                  </a:cubicBezTo>
                  <a:cubicBezTo>
                    <a:pt x="48" y="54"/>
                    <a:pt x="48" y="54"/>
                    <a:pt x="48" y="54"/>
                  </a:cubicBezTo>
                  <a:cubicBezTo>
                    <a:pt x="50" y="54"/>
                    <a:pt x="52" y="54"/>
                    <a:pt x="55" y="55"/>
                  </a:cubicBezTo>
                  <a:cubicBezTo>
                    <a:pt x="55" y="53"/>
                    <a:pt x="57" y="52"/>
                    <a:pt x="59" y="51"/>
                  </a:cubicBezTo>
                  <a:cubicBezTo>
                    <a:pt x="59" y="51"/>
                    <a:pt x="60" y="51"/>
                    <a:pt x="61" y="51"/>
                  </a:cubicBezTo>
                  <a:cubicBezTo>
                    <a:pt x="64" y="51"/>
                    <a:pt x="66" y="52"/>
                    <a:pt x="69" y="55"/>
                  </a:cubicBezTo>
                  <a:cubicBezTo>
                    <a:pt x="68" y="56"/>
                    <a:pt x="68" y="56"/>
                    <a:pt x="68" y="56"/>
                  </a:cubicBezTo>
                  <a:cubicBezTo>
                    <a:pt x="69" y="55"/>
                    <a:pt x="69" y="55"/>
                    <a:pt x="69" y="55"/>
                  </a:cubicBezTo>
                  <a:cubicBezTo>
                    <a:pt x="69" y="56"/>
                    <a:pt x="69" y="56"/>
                    <a:pt x="69" y="56"/>
                  </a:cubicBezTo>
                  <a:cubicBezTo>
                    <a:pt x="70" y="56"/>
                    <a:pt x="70" y="56"/>
                    <a:pt x="70" y="57"/>
                  </a:cubicBezTo>
                  <a:cubicBezTo>
                    <a:pt x="71" y="57"/>
                    <a:pt x="71" y="57"/>
                    <a:pt x="71" y="57"/>
                  </a:cubicBezTo>
                  <a:cubicBezTo>
                    <a:pt x="72" y="58"/>
                    <a:pt x="72" y="58"/>
                    <a:pt x="72" y="58"/>
                  </a:cubicBezTo>
                  <a:cubicBezTo>
                    <a:pt x="73" y="59"/>
                    <a:pt x="75" y="60"/>
                    <a:pt x="76" y="60"/>
                  </a:cubicBezTo>
                  <a:cubicBezTo>
                    <a:pt x="77" y="61"/>
                    <a:pt x="77" y="61"/>
                    <a:pt x="77" y="61"/>
                  </a:cubicBezTo>
                  <a:cubicBezTo>
                    <a:pt x="78" y="62"/>
                    <a:pt x="79" y="63"/>
                    <a:pt x="79" y="63"/>
                  </a:cubicBezTo>
                  <a:cubicBezTo>
                    <a:pt x="80" y="64"/>
                    <a:pt x="80" y="64"/>
                    <a:pt x="80" y="64"/>
                  </a:cubicBezTo>
                  <a:cubicBezTo>
                    <a:pt x="80" y="64"/>
                    <a:pt x="80" y="64"/>
                    <a:pt x="80" y="64"/>
                  </a:cubicBezTo>
                  <a:cubicBezTo>
                    <a:pt x="81" y="64"/>
                    <a:pt x="81" y="64"/>
                    <a:pt x="81" y="64"/>
                  </a:cubicBezTo>
                  <a:cubicBezTo>
                    <a:pt x="83" y="64"/>
                    <a:pt x="83" y="64"/>
                    <a:pt x="83" y="64"/>
                  </a:cubicBezTo>
                  <a:cubicBezTo>
                    <a:pt x="88" y="63"/>
                    <a:pt x="93" y="63"/>
                    <a:pt x="98" y="62"/>
                  </a:cubicBezTo>
                  <a:cubicBezTo>
                    <a:pt x="99" y="62"/>
                    <a:pt x="101" y="61"/>
                    <a:pt x="102" y="61"/>
                  </a:cubicBezTo>
                  <a:cubicBezTo>
                    <a:pt x="103" y="61"/>
                    <a:pt x="104" y="61"/>
                    <a:pt x="105" y="61"/>
                  </a:cubicBezTo>
                  <a:cubicBezTo>
                    <a:pt x="106" y="61"/>
                    <a:pt x="106" y="61"/>
                    <a:pt x="106" y="61"/>
                  </a:cubicBezTo>
                  <a:cubicBezTo>
                    <a:pt x="107" y="61"/>
                    <a:pt x="108" y="61"/>
                    <a:pt x="108" y="61"/>
                  </a:cubicBezTo>
                  <a:cubicBezTo>
                    <a:pt x="109" y="61"/>
                    <a:pt x="109" y="61"/>
                    <a:pt x="109" y="61"/>
                  </a:cubicBezTo>
                  <a:cubicBezTo>
                    <a:pt x="110" y="61"/>
                    <a:pt x="110" y="61"/>
                    <a:pt x="110" y="61"/>
                  </a:cubicBezTo>
                  <a:cubicBezTo>
                    <a:pt x="109" y="60"/>
                    <a:pt x="109" y="60"/>
                    <a:pt x="109" y="60"/>
                  </a:cubicBezTo>
                  <a:cubicBezTo>
                    <a:pt x="114" y="59"/>
                    <a:pt x="114" y="59"/>
                    <a:pt x="114" y="59"/>
                  </a:cubicBezTo>
                  <a:cubicBezTo>
                    <a:pt x="115" y="59"/>
                    <a:pt x="116" y="58"/>
                    <a:pt x="117" y="57"/>
                  </a:cubicBezTo>
                  <a:cubicBezTo>
                    <a:pt x="119" y="56"/>
                    <a:pt x="119" y="56"/>
                    <a:pt x="119" y="56"/>
                  </a:cubicBezTo>
                  <a:cubicBezTo>
                    <a:pt x="120" y="55"/>
                    <a:pt x="122" y="55"/>
                    <a:pt x="123" y="55"/>
                  </a:cubicBezTo>
                  <a:cubicBezTo>
                    <a:pt x="123" y="55"/>
                    <a:pt x="124" y="55"/>
                    <a:pt x="124" y="55"/>
                  </a:cubicBezTo>
                  <a:cubicBezTo>
                    <a:pt x="127" y="56"/>
                    <a:pt x="129" y="57"/>
                    <a:pt x="131" y="58"/>
                  </a:cubicBezTo>
                  <a:cubicBezTo>
                    <a:pt x="132" y="59"/>
                    <a:pt x="132" y="59"/>
                    <a:pt x="132" y="59"/>
                  </a:cubicBezTo>
                  <a:cubicBezTo>
                    <a:pt x="132" y="59"/>
                    <a:pt x="133" y="60"/>
                    <a:pt x="134" y="61"/>
                  </a:cubicBezTo>
                  <a:cubicBezTo>
                    <a:pt x="135" y="61"/>
                    <a:pt x="135" y="61"/>
                    <a:pt x="136" y="61"/>
                  </a:cubicBezTo>
                  <a:cubicBezTo>
                    <a:pt x="140" y="63"/>
                    <a:pt x="144" y="63"/>
                    <a:pt x="148" y="64"/>
                  </a:cubicBezTo>
                  <a:cubicBezTo>
                    <a:pt x="149" y="64"/>
                    <a:pt x="150" y="64"/>
                    <a:pt x="151" y="64"/>
                  </a:cubicBezTo>
                  <a:cubicBezTo>
                    <a:pt x="151" y="62"/>
                    <a:pt x="151" y="62"/>
                    <a:pt x="151" y="62"/>
                  </a:cubicBezTo>
                  <a:cubicBezTo>
                    <a:pt x="149" y="61"/>
                    <a:pt x="147" y="59"/>
                    <a:pt x="146" y="58"/>
                  </a:cubicBezTo>
                  <a:cubicBezTo>
                    <a:pt x="145" y="57"/>
                    <a:pt x="144" y="56"/>
                    <a:pt x="142" y="55"/>
                  </a:cubicBezTo>
                  <a:cubicBezTo>
                    <a:pt x="139" y="54"/>
                    <a:pt x="139" y="54"/>
                    <a:pt x="139" y="54"/>
                  </a:cubicBezTo>
                  <a:cubicBezTo>
                    <a:pt x="145" y="46"/>
                    <a:pt x="145" y="46"/>
                    <a:pt x="145" y="46"/>
                  </a:cubicBezTo>
                  <a:cubicBezTo>
                    <a:pt x="144" y="46"/>
                    <a:pt x="144" y="46"/>
                    <a:pt x="143" y="45"/>
                  </a:cubicBezTo>
                  <a:cubicBezTo>
                    <a:pt x="139" y="45"/>
                    <a:pt x="130" y="40"/>
                    <a:pt x="130" y="40"/>
                  </a:cubicBezTo>
                  <a:cubicBezTo>
                    <a:pt x="129" y="39"/>
                    <a:pt x="128" y="38"/>
                    <a:pt x="128" y="36"/>
                  </a:cubicBezTo>
                  <a:cubicBezTo>
                    <a:pt x="127" y="35"/>
                    <a:pt x="128" y="33"/>
                    <a:pt x="128" y="31"/>
                  </a:cubicBezTo>
                  <a:cubicBezTo>
                    <a:pt x="124" y="29"/>
                    <a:pt x="117" y="27"/>
                    <a:pt x="114" y="25"/>
                  </a:cubicBezTo>
                  <a:cubicBezTo>
                    <a:pt x="114" y="24"/>
                    <a:pt x="114" y="24"/>
                    <a:pt x="114" y="24"/>
                  </a:cubicBezTo>
                  <a:cubicBezTo>
                    <a:pt x="114" y="25"/>
                    <a:pt x="113" y="25"/>
                    <a:pt x="113" y="26"/>
                  </a:cubicBezTo>
                  <a:cubicBezTo>
                    <a:pt x="111" y="33"/>
                    <a:pt x="111" y="33"/>
                    <a:pt x="111" y="33"/>
                  </a:cubicBezTo>
                  <a:cubicBezTo>
                    <a:pt x="108" y="26"/>
                    <a:pt x="108" y="26"/>
                    <a:pt x="108" y="26"/>
                  </a:cubicBezTo>
                  <a:cubicBezTo>
                    <a:pt x="107" y="25"/>
                    <a:pt x="106" y="24"/>
                    <a:pt x="105" y="24"/>
                  </a:cubicBezTo>
                  <a:cubicBezTo>
                    <a:pt x="105" y="24"/>
                    <a:pt x="105" y="24"/>
                    <a:pt x="105" y="24"/>
                  </a:cubicBezTo>
                  <a:cubicBezTo>
                    <a:pt x="103" y="24"/>
                    <a:pt x="101" y="25"/>
                    <a:pt x="99" y="26"/>
                  </a:cubicBezTo>
                  <a:cubicBezTo>
                    <a:pt x="96" y="28"/>
                    <a:pt x="93" y="29"/>
                    <a:pt x="91" y="29"/>
                  </a:cubicBezTo>
                  <a:cubicBezTo>
                    <a:pt x="90" y="29"/>
                    <a:pt x="89" y="29"/>
                    <a:pt x="89" y="28"/>
                  </a:cubicBezTo>
                  <a:cubicBezTo>
                    <a:pt x="89" y="28"/>
                    <a:pt x="84" y="27"/>
                    <a:pt x="83" y="25"/>
                  </a:cubicBezTo>
                  <a:cubicBezTo>
                    <a:pt x="82" y="24"/>
                    <a:pt x="82" y="24"/>
                    <a:pt x="82" y="24"/>
                  </a:cubicBezTo>
                  <a:cubicBezTo>
                    <a:pt x="83" y="22"/>
                    <a:pt x="83" y="22"/>
                    <a:pt x="83" y="22"/>
                  </a:cubicBezTo>
                  <a:cubicBezTo>
                    <a:pt x="83" y="22"/>
                    <a:pt x="83" y="22"/>
                    <a:pt x="83" y="22"/>
                  </a:cubicBezTo>
                  <a:cubicBezTo>
                    <a:pt x="78" y="21"/>
                    <a:pt x="67" y="16"/>
                    <a:pt x="65" y="13"/>
                  </a:cubicBezTo>
                  <a:cubicBezTo>
                    <a:pt x="64" y="12"/>
                    <a:pt x="60" y="10"/>
                    <a:pt x="55" y="10"/>
                  </a:cubicBezTo>
                  <a:cubicBezTo>
                    <a:pt x="54" y="10"/>
                    <a:pt x="52" y="10"/>
                    <a:pt x="51" y="10"/>
                  </a:cubicBezTo>
                  <a:cubicBezTo>
                    <a:pt x="50" y="11"/>
                    <a:pt x="48" y="11"/>
                    <a:pt x="46" y="11"/>
                  </a:cubicBezTo>
                  <a:cubicBezTo>
                    <a:pt x="37" y="11"/>
                    <a:pt x="21" y="6"/>
                    <a:pt x="18" y="4"/>
                  </a:cubicBezTo>
                  <a:cubicBezTo>
                    <a:pt x="16" y="3"/>
                    <a:pt x="13" y="2"/>
                    <a:pt x="12" y="2"/>
                  </a:cubicBezTo>
                  <a:cubicBezTo>
                    <a:pt x="12" y="2"/>
                    <a:pt x="12" y="2"/>
                    <a:pt x="11" y="2"/>
                  </a:cubicBezTo>
                  <a:cubicBezTo>
                    <a:pt x="11" y="2"/>
                    <a:pt x="10" y="2"/>
                    <a:pt x="9" y="2"/>
                  </a:cubicBezTo>
                  <a:cubicBezTo>
                    <a:pt x="7" y="2"/>
                    <a:pt x="4"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5" name="Freeform 304">
              <a:extLst>
                <a:ext uri="{FF2B5EF4-FFF2-40B4-BE49-F238E27FC236}">
                  <a16:creationId xmlns:a16="http://schemas.microsoft.com/office/drawing/2014/main" id="{48C210F0-9C11-48BB-8BD2-E8BB3E2675E9}"/>
                </a:ext>
              </a:extLst>
            </p:cNvPr>
            <p:cNvSpPr>
              <a:spLocks/>
            </p:cNvSpPr>
            <p:nvPr/>
          </p:nvSpPr>
          <p:spPr bwMode="auto">
            <a:xfrm>
              <a:off x="6400" y="-20"/>
              <a:ext cx="2"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6" name="Freeform 305">
              <a:extLst>
                <a:ext uri="{FF2B5EF4-FFF2-40B4-BE49-F238E27FC236}">
                  <a16:creationId xmlns:a16="http://schemas.microsoft.com/office/drawing/2014/main" id="{2A84CBB3-753F-4403-803C-7F0D0C80EA93}"/>
                </a:ext>
              </a:extLst>
            </p:cNvPr>
            <p:cNvSpPr>
              <a:spLocks noEditPoints="1"/>
            </p:cNvSpPr>
            <p:nvPr/>
          </p:nvSpPr>
          <p:spPr bwMode="auto">
            <a:xfrm>
              <a:off x="5696" y="-27"/>
              <a:ext cx="697" cy="345"/>
            </a:xfrm>
            <a:custGeom>
              <a:avLst/>
              <a:gdLst>
                <a:gd name="T0" fmla="*/ 2 w 295"/>
                <a:gd name="T1" fmla="*/ 30 h 146"/>
                <a:gd name="T2" fmla="*/ 288 w 295"/>
                <a:gd name="T3" fmla="*/ 0 h 146"/>
                <a:gd name="T4" fmla="*/ 46 w 295"/>
                <a:gd name="T5" fmla="*/ 10 h 146"/>
                <a:gd name="T6" fmla="*/ 40 w 295"/>
                <a:gd name="T7" fmla="*/ 7 h 146"/>
                <a:gd name="T8" fmla="*/ 35 w 295"/>
                <a:gd name="T9" fmla="*/ 16 h 146"/>
                <a:gd name="T10" fmla="*/ 35 w 295"/>
                <a:gd name="T11" fmla="*/ 9 h 146"/>
                <a:gd name="T12" fmla="*/ 32 w 295"/>
                <a:gd name="T13" fmla="*/ 11 h 146"/>
                <a:gd name="T14" fmla="*/ 24 w 295"/>
                <a:gd name="T15" fmla="*/ 21 h 146"/>
                <a:gd name="T16" fmla="*/ 24 w 295"/>
                <a:gd name="T17" fmla="*/ 31 h 146"/>
                <a:gd name="T18" fmla="*/ 7 w 295"/>
                <a:gd name="T19" fmla="*/ 28 h 146"/>
                <a:gd name="T20" fmla="*/ 4 w 295"/>
                <a:gd name="T21" fmla="*/ 29 h 146"/>
                <a:gd name="T22" fmla="*/ 8 w 295"/>
                <a:gd name="T23" fmla="*/ 31 h 146"/>
                <a:gd name="T24" fmla="*/ 0 w 295"/>
                <a:gd name="T25" fmla="*/ 34 h 146"/>
                <a:gd name="T26" fmla="*/ 21 w 295"/>
                <a:gd name="T27" fmla="*/ 49 h 146"/>
                <a:gd name="T28" fmla="*/ 28 w 295"/>
                <a:gd name="T29" fmla="*/ 49 h 146"/>
                <a:gd name="T30" fmla="*/ 33 w 295"/>
                <a:gd name="T31" fmla="*/ 52 h 146"/>
                <a:gd name="T32" fmla="*/ 47 w 295"/>
                <a:gd name="T33" fmla="*/ 60 h 146"/>
                <a:gd name="T34" fmla="*/ 78 w 295"/>
                <a:gd name="T35" fmla="*/ 85 h 146"/>
                <a:gd name="T36" fmla="*/ 84 w 295"/>
                <a:gd name="T37" fmla="*/ 78 h 146"/>
                <a:gd name="T38" fmla="*/ 85 w 295"/>
                <a:gd name="T39" fmla="*/ 79 h 146"/>
                <a:gd name="T40" fmla="*/ 93 w 295"/>
                <a:gd name="T41" fmla="*/ 80 h 146"/>
                <a:gd name="T42" fmla="*/ 104 w 295"/>
                <a:gd name="T43" fmla="*/ 83 h 146"/>
                <a:gd name="T44" fmla="*/ 129 w 295"/>
                <a:gd name="T45" fmla="*/ 89 h 146"/>
                <a:gd name="T46" fmla="*/ 138 w 295"/>
                <a:gd name="T47" fmla="*/ 88 h 146"/>
                <a:gd name="T48" fmla="*/ 167 w 295"/>
                <a:gd name="T49" fmla="*/ 100 h 146"/>
                <a:gd name="T50" fmla="*/ 172 w 295"/>
                <a:gd name="T51" fmla="*/ 106 h 146"/>
                <a:gd name="T52" fmla="*/ 175 w 295"/>
                <a:gd name="T53" fmla="*/ 107 h 146"/>
                <a:gd name="T54" fmla="*/ 188 w 295"/>
                <a:gd name="T55" fmla="*/ 102 h 146"/>
                <a:gd name="T56" fmla="*/ 193 w 295"/>
                <a:gd name="T57" fmla="*/ 104 h 146"/>
                <a:gd name="T58" fmla="*/ 196 w 295"/>
                <a:gd name="T59" fmla="*/ 102 h 146"/>
                <a:gd name="T60" fmla="*/ 216 w 295"/>
                <a:gd name="T61" fmla="*/ 110 h 146"/>
                <a:gd name="T62" fmla="*/ 218 w 295"/>
                <a:gd name="T63" fmla="*/ 114 h 146"/>
                <a:gd name="T64" fmla="*/ 227 w 295"/>
                <a:gd name="T65" fmla="*/ 123 h 146"/>
                <a:gd name="T66" fmla="*/ 229 w 295"/>
                <a:gd name="T67" fmla="*/ 124 h 146"/>
                <a:gd name="T68" fmla="*/ 231 w 295"/>
                <a:gd name="T69" fmla="*/ 126 h 146"/>
                <a:gd name="T70" fmla="*/ 236 w 295"/>
                <a:gd name="T71" fmla="*/ 126 h 146"/>
                <a:gd name="T72" fmla="*/ 246 w 295"/>
                <a:gd name="T73" fmla="*/ 133 h 146"/>
                <a:gd name="T74" fmla="*/ 253 w 295"/>
                <a:gd name="T75" fmla="*/ 141 h 146"/>
                <a:gd name="T76" fmla="*/ 263 w 295"/>
                <a:gd name="T77" fmla="*/ 146 h 146"/>
                <a:gd name="T78" fmla="*/ 270 w 295"/>
                <a:gd name="T79" fmla="*/ 138 h 146"/>
                <a:gd name="T80" fmla="*/ 274 w 295"/>
                <a:gd name="T81" fmla="*/ 135 h 146"/>
                <a:gd name="T82" fmla="*/ 280 w 295"/>
                <a:gd name="T83" fmla="*/ 128 h 146"/>
                <a:gd name="T84" fmla="*/ 268 w 295"/>
                <a:gd name="T85" fmla="*/ 113 h 146"/>
                <a:gd name="T86" fmla="*/ 260 w 295"/>
                <a:gd name="T87" fmla="*/ 101 h 146"/>
                <a:gd name="T88" fmla="*/ 260 w 295"/>
                <a:gd name="T89" fmla="*/ 77 h 146"/>
                <a:gd name="T90" fmla="*/ 260 w 295"/>
                <a:gd name="T91" fmla="*/ 73 h 146"/>
                <a:gd name="T92" fmla="*/ 254 w 295"/>
                <a:gd name="T93" fmla="*/ 80 h 146"/>
                <a:gd name="T94" fmla="*/ 255 w 295"/>
                <a:gd name="T95" fmla="*/ 71 h 146"/>
                <a:gd name="T96" fmla="*/ 239 w 295"/>
                <a:gd name="T97" fmla="*/ 57 h 146"/>
                <a:gd name="T98" fmla="*/ 253 w 295"/>
                <a:gd name="T99" fmla="*/ 34 h 146"/>
                <a:gd name="T100" fmla="*/ 256 w 295"/>
                <a:gd name="T101" fmla="*/ 23 h 146"/>
                <a:gd name="T102" fmla="*/ 256 w 295"/>
                <a:gd name="T103" fmla="*/ 23 h 146"/>
                <a:gd name="T104" fmla="*/ 260 w 295"/>
                <a:gd name="T105" fmla="*/ 24 h 146"/>
                <a:gd name="T106" fmla="*/ 265 w 295"/>
                <a:gd name="T107" fmla="*/ 22 h 146"/>
                <a:gd name="T108" fmla="*/ 271 w 295"/>
                <a:gd name="T109" fmla="*/ 19 h 146"/>
                <a:gd name="T110" fmla="*/ 275 w 295"/>
                <a:gd name="T111" fmla="*/ 18 h 146"/>
                <a:gd name="T112" fmla="*/ 282 w 295"/>
                <a:gd name="T113" fmla="*/ 12 h 146"/>
                <a:gd name="T114" fmla="*/ 285 w 295"/>
                <a:gd name="T115" fmla="*/ 9 h 146"/>
                <a:gd name="T116" fmla="*/ 290 w 295"/>
                <a:gd name="T117" fmla="*/ 7 h 146"/>
                <a:gd name="T118" fmla="*/ 294 w 295"/>
                <a:gd name="T119" fmla="*/ 7 h 146"/>
                <a:gd name="T120" fmla="*/ 293 w 295"/>
                <a:gd name="T121" fmla="*/ 2 h 146"/>
                <a:gd name="T122" fmla="*/ 287 w 295"/>
                <a:gd name="T12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5" h="146">
                  <a:moveTo>
                    <a:pt x="2" y="30"/>
                  </a:moveTo>
                  <a:cubicBezTo>
                    <a:pt x="2" y="30"/>
                    <a:pt x="2" y="30"/>
                    <a:pt x="2" y="30"/>
                  </a:cubicBezTo>
                  <a:cubicBezTo>
                    <a:pt x="2" y="30"/>
                    <a:pt x="2" y="30"/>
                    <a:pt x="2" y="30"/>
                  </a:cubicBezTo>
                  <a:moveTo>
                    <a:pt x="288" y="0"/>
                  </a:moveTo>
                  <a:cubicBezTo>
                    <a:pt x="33" y="0"/>
                    <a:pt x="33" y="0"/>
                    <a:pt x="33" y="0"/>
                  </a:cubicBezTo>
                  <a:cubicBezTo>
                    <a:pt x="38" y="2"/>
                    <a:pt x="47" y="6"/>
                    <a:pt x="46" y="10"/>
                  </a:cubicBezTo>
                  <a:cubicBezTo>
                    <a:pt x="45" y="10"/>
                    <a:pt x="43" y="9"/>
                    <a:pt x="41" y="8"/>
                  </a:cubicBezTo>
                  <a:cubicBezTo>
                    <a:pt x="40" y="7"/>
                    <a:pt x="40" y="7"/>
                    <a:pt x="40" y="7"/>
                  </a:cubicBezTo>
                  <a:cubicBezTo>
                    <a:pt x="40" y="7"/>
                    <a:pt x="40" y="7"/>
                    <a:pt x="40" y="7"/>
                  </a:cubicBezTo>
                  <a:cubicBezTo>
                    <a:pt x="36" y="7"/>
                    <a:pt x="35" y="13"/>
                    <a:pt x="35" y="16"/>
                  </a:cubicBezTo>
                  <a:cubicBezTo>
                    <a:pt x="35" y="14"/>
                    <a:pt x="35" y="11"/>
                    <a:pt x="34" y="10"/>
                  </a:cubicBezTo>
                  <a:cubicBezTo>
                    <a:pt x="35" y="10"/>
                    <a:pt x="35" y="10"/>
                    <a:pt x="35" y="9"/>
                  </a:cubicBezTo>
                  <a:cubicBezTo>
                    <a:pt x="35" y="9"/>
                    <a:pt x="35" y="9"/>
                    <a:pt x="35" y="9"/>
                  </a:cubicBezTo>
                  <a:cubicBezTo>
                    <a:pt x="34" y="9"/>
                    <a:pt x="33" y="10"/>
                    <a:pt x="32" y="11"/>
                  </a:cubicBezTo>
                  <a:cubicBezTo>
                    <a:pt x="32" y="11"/>
                    <a:pt x="27" y="22"/>
                    <a:pt x="25" y="22"/>
                  </a:cubicBezTo>
                  <a:cubicBezTo>
                    <a:pt x="25" y="22"/>
                    <a:pt x="24" y="21"/>
                    <a:pt x="24" y="21"/>
                  </a:cubicBezTo>
                  <a:cubicBezTo>
                    <a:pt x="23" y="23"/>
                    <a:pt x="31" y="31"/>
                    <a:pt x="24" y="31"/>
                  </a:cubicBezTo>
                  <a:cubicBezTo>
                    <a:pt x="24" y="31"/>
                    <a:pt x="24" y="31"/>
                    <a:pt x="24" y="31"/>
                  </a:cubicBezTo>
                  <a:cubicBezTo>
                    <a:pt x="19" y="31"/>
                    <a:pt x="15" y="30"/>
                    <a:pt x="11" y="29"/>
                  </a:cubicBezTo>
                  <a:cubicBezTo>
                    <a:pt x="9" y="28"/>
                    <a:pt x="8" y="28"/>
                    <a:pt x="7" y="28"/>
                  </a:cubicBezTo>
                  <a:cubicBezTo>
                    <a:pt x="5" y="28"/>
                    <a:pt x="4" y="29"/>
                    <a:pt x="2" y="30"/>
                  </a:cubicBezTo>
                  <a:cubicBezTo>
                    <a:pt x="3" y="30"/>
                    <a:pt x="4" y="29"/>
                    <a:pt x="4" y="29"/>
                  </a:cubicBezTo>
                  <a:cubicBezTo>
                    <a:pt x="5" y="29"/>
                    <a:pt x="5" y="30"/>
                    <a:pt x="6" y="30"/>
                  </a:cubicBezTo>
                  <a:cubicBezTo>
                    <a:pt x="7" y="31"/>
                    <a:pt x="7" y="31"/>
                    <a:pt x="8" y="31"/>
                  </a:cubicBezTo>
                  <a:cubicBezTo>
                    <a:pt x="8" y="31"/>
                    <a:pt x="9" y="31"/>
                    <a:pt x="9" y="31"/>
                  </a:cubicBezTo>
                  <a:cubicBezTo>
                    <a:pt x="6" y="34"/>
                    <a:pt x="3" y="34"/>
                    <a:pt x="0" y="34"/>
                  </a:cubicBezTo>
                  <a:cubicBezTo>
                    <a:pt x="3" y="36"/>
                    <a:pt x="7" y="38"/>
                    <a:pt x="10" y="39"/>
                  </a:cubicBezTo>
                  <a:cubicBezTo>
                    <a:pt x="14" y="40"/>
                    <a:pt x="18" y="46"/>
                    <a:pt x="21" y="49"/>
                  </a:cubicBezTo>
                  <a:cubicBezTo>
                    <a:pt x="21" y="50"/>
                    <a:pt x="22" y="50"/>
                    <a:pt x="22" y="50"/>
                  </a:cubicBezTo>
                  <a:cubicBezTo>
                    <a:pt x="24" y="50"/>
                    <a:pt x="27" y="49"/>
                    <a:pt x="28" y="49"/>
                  </a:cubicBezTo>
                  <a:cubicBezTo>
                    <a:pt x="28" y="49"/>
                    <a:pt x="28" y="49"/>
                    <a:pt x="28" y="49"/>
                  </a:cubicBezTo>
                  <a:cubicBezTo>
                    <a:pt x="31" y="49"/>
                    <a:pt x="31" y="50"/>
                    <a:pt x="33" y="52"/>
                  </a:cubicBezTo>
                  <a:cubicBezTo>
                    <a:pt x="34" y="53"/>
                    <a:pt x="36" y="56"/>
                    <a:pt x="37" y="57"/>
                  </a:cubicBezTo>
                  <a:cubicBezTo>
                    <a:pt x="40" y="59"/>
                    <a:pt x="44" y="59"/>
                    <a:pt x="47" y="60"/>
                  </a:cubicBezTo>
                  <a:cubicBezTo>
                    <a:pt x="51" y="61"/>
                    <a:pt x="55" y="65"/>
                    <a:pt x="59" y="68"/>
                  </a:cubicBezTo>
                  <a:cubicBezTo>
                    <a:pt x="66" y="73"/>
                    <a:pt x="72" y="79"/>
                    <a:pt x="78" y="85"/>
                  </a:cubicBezTo>
                  <a:cubicBezTo>
                    <a:pt x="79" y="81"/>
                    <a:pt x="81" y="79"/>
                    <a:pt x="82" y="79"/>
                  </a:cubicBezTo>
                  <a:cubicBezTo>
                    <a:pt x="83" y="79"/>
                    <a:pt x="83" y="78"/>
                    <a:pt x="84" y="78"/>
                  </a:cubicBezTo>
                  <a:cubicBezTo>
                    <a:pt x="84" y="78"/>
                    <a:pt x="85" y="78"/>
                    <a:pt x="85" y="79"/>
                  </a:cubicBezTo>
                  <a:cubicBezTo>
                    <a:pt x="85" y="79"/>
                    <a:pt x="85" y="79"/>
                    <a:pt x="85" y="79"/>
                  </a:cubicBezTo>
                  <a:cubicBezTo>
                    <a:pt x="89" y="80"/>
                    <a:pt x="91" y="80"/>
                    <a:pt x="92" y="80"/>
                  </a:cubicBezTo>
                  <a:cubicBezTo>
                    <a:pt x="93" y="80"/>
                    <a:pt x="93" y="80"/>
                    <a:pt x="93" y="80"/>
                  </a:cubicBezTo>
                  <a:cubicBezTo>
                    <a:pt x="94" y="80"/>
                    <a:pt x="94" y="80"/>
                    <a:pt x="95" y="80"/>
                  </a:cubicBezTo>
                  <a:cubicBezTo>
                    <a:pt x="98" y="80"/>
                    <a:pt x="102" y="82"/>
                    <a:pt x="104" y="83"/>
                  </a:cubicBezTo>
                  <a:cubicBezTo>
                    <a:pt x="104" y="83"/>
                    <a:pt x="105" y="84"/>
                    <a:pt x="107" y="84"/>
                  </a:cubicBezTo>
                  <a:cubicBezTo>
                    <a:pt x="112" y="86"/>
                    <a:pt x="123" y="89"/>
                    <a:pt x="129" y="89"/>
                  </a:cubicBezTo>
                  <a:cubicBezTo>
                    <a:pt x="130" y="89"/>
                    <a:pt x="131" y="89"/>
                    <a:pt x="132" y="89"/>
                  </a:cubicBezTo>
                  <a:cubicBezTo>
                    <a:pt x="134" y="88"/>
                    <a:pt x="136" y="88"/>
                    <a:pt x="138" y="88"/>
                  </a:cubicBezTo>
                  <a:cubicBezTo>
                    <a:pt x="144" y="88"/>
                    <a:pt x="150" y="91"/>
                    <a:pt x="152" y="93"/>
                  </a:cubicBezTo>
                  <a:cubicBezTo>
                    <a:pt x="154" y="95"/>
                    <a:pt x="165" y="100"/>
                    <a:pt x="167" y="100"/>
                  </a:cubicBezTo>
                  <a:cubicBezTo>
                    <a:pt x="169" y="100"/>
                    <a:pt x="170" y="101"/>
                    <a:pt x="171" y="102"/>
                  </a:cubicBezTo>
                  <a:cubicBezTo>
                    <a:pt x="172" y="104"/>
                    <a:pt x="172" y="105"/>
                    <a:pt x="172" y="106"/>
                  </a:cubicBezTo>
                  <a:cubicBezTo>
                    <a:pt x="172" y="106"/>
                    <a:pt x="173" y="107"/>
                    <a:pt x="173" y="107"/>
                  </a:cubicBezTo>
                  <a:cubicBezTo>
                    <a:pt x="174" y="107"/>
                    <a:pt x="174" y="107"/>
                    <a:pt x="175" y="107"/>
                  </a:cubicBezTo>
                  <a:cubicBezTo>
                    <a:pt x="176" y="107"/>
                    <a:pt x="177" y="107"/>
                    <a:pt x="179" y="105"/>
                  </a:cubicBezTo>
                  <a:cubicBezTo>
                    <a:pt x="182" y="103"/>
                    <a:pt x="185" y="102"/>
                    <a:pt x="188" y="102"/>
                  </a:cubicBezTo>
                  <a:cubicBezTo>
                    <a:pt x="188" y="102"/>
                    <a:pt x="189" y="102"/>
                    <a:pt x="190" y="103"/>
                  </a:cubicBezTo>
                  <a:cubicBezTo>
                    <a:pt x="191" y="103"/>
                    <a:pt x="192" y="103"/>
                    <a:pt x="193" y="104"/>
                  </a:cubicBezTo>
                  <a:cubicBezTo>
                    <a:pt x="193" y="103"/>
                    <a:pt x="194" y="103"/>
                    <a:pt x="195" y="103"/>
                  </a:cubicBezTo>
                  <a:cubicBezTo>
                    <a:pt x="195" y="102"/>
                    <a:pt x="196" y="102"/>
                    <a:pt x="196" y="102"/>
                  </a:cubicBezTo>
                  <a:cubicBezTo>
                    <a:pt x="198" y="102"/>
                    <a:pt x="199" y="103"/>
                    <a:pt x="201" y="104"/>
                  </a:cubicBezTo>
                  <a:cubicBezTo>
                    <a:pt x="204" y="106"/>
                    <a:pt x="214" y="110"/>
                    <a:pt x="216" y="110"/>
                  </a:cubicBezTo>
                  <a:cubicBezTo>
                    <a:pt x="221" y="110"/>
                    <a:pt x="221" y="110"/>
                    <a:pt x="221" y="110"/>
                  </a:cubicBezTo>
                  <a:cubicBezTo>
                    <a:pt x="218" y="114"/>
                    <a:pt x="218" y="114"/>
                    <a:pt x="218" y="114"/>
                  </a:cubicBezTo>
                  <a:cubicBezTo>
                    <a:pt x="217" y="117"/>
                    <a:pt x="216" y="118"/>
                    <a:pt x="216" y="119"/>
                  </a:cubicBezTo>
                  <a:cubicBezTo>
                    <a:pt x="219" y="121"/>
                    <a:pt x="226" y="123"/>
                    <a:pt x="227" y="123"/>
                  </a:cubicBezTo>
                  <a:cubicBezTo>
                    <a:pt x="228" y="123"/>
                    <a:pt x="228" y="123"/>
                    <a:pt x="228" y="123"/>
                  </a:cubicBezTo>
                  <a:cubicBezTo>
                    <a:pt x="229" y="124"/>
                    <a:pt x="229" y="124"/>
                    <a:pt x="229" y="124"/>
                  </a:cubicBezTo>
                  <a:cubicBezTo>
                    <a:pt x="229" y="124"/>
                    <a:pt x="230" y="125"/>
                    <a:pt x="231" y="126"/>
                  </a:cubicBezTo>
                  <a:cubicBezTo>
                    <a:pt x="231" y="126"/>
                    <a:pt x="231" y="126"/>
                    <a:pt x="231" y="126"/>
                  </a:cubicBezTo>
                  <a:cubicBezTo>
                    <a:pt x="232" y="126"/>
                    <a:pt x="232" y="126"/>
                    <a:pt x="232" y="126"/>
                  </a:cubicBezTo>
                  <a:cubicBezTo>
                    <a:pt x="234" y="126"/>
                    <a:pt x="235" y="126"/>
                    <a:pt x="236" y="126"/>
                  </a:cubicBezTo>
                  <a:cubicBezTo>
                    <a:pt x="236" y="127"/>
                    <a:pt x="236" y="127"/>
                    <a:pt x="237" y="127"/>
                  </a:cubicBezTo>
                  <a:cubicBezTo>
                    <a:pt x="241" y="127"/>
                    <a:pt x="245" y="130"/>
                    <a:pt x="246" y="133"/>
                  </a:cubicBezTo>
                  <a:cubicBezTo>
                    <a:pt x="247" y="135"/>
                    <a:pt x="248" y="137"/>
                    <a:pt x="249" y="137"/>
                  </a:cubicBezTo>
                  <a:cubicBezTo>
                    <a:pt x="251" y="138"/>
                    <a:pt x="253" y="141"/>
                    <a:pt x="253" y="141"/>
                  </a:cubicBezTo>
                  <a:cubicBezTo>
                    <a:pt x="254" y="142"/>
                    <a:pt x="255" y="144"/>
                    <a:pt x="259" y="145"/>
                  </a:cubicBezTo>
                  <a:cubicBezTo>
                    <a:pt x="261" y="145"/>
                    <a:pt x="262" y="146"/>
                    <a:pt x="263" y="146"/>
                  </a:cubicBezTo>
                  <a:cubicBezTo>
                    <a:pt x="265" y="146"/>
                    <a:pt x="265" y="145"/>
                    <a:pt x="266" y="144"/>
                  </a:cubicBezTo>
                  <a:cubicBezTo>
                    <a:pt x="267" y="140"/>
                    <a:pt x="269" y="139"/>
                    <a:pt x="270" y="138"/>
                  </a:cubicBezTo>
                  <a:cubicBezTo>
                    <a:pt x="271" y="138"/>
                    <a:pt x="271" y="137"/>
                    <a:pt x="272" y="137"/>
                  </a:cubicBezTo>
                  <a:cubicBezTo>
                    <a:pt x="272" y="137"/>
                    <a:pt x="273" y="136"/>
                    <a:pt x="274" y="135"/>
                  </a:cubicBezTo>
                  <a:cubicBezTo>
                    <a:pt x="275" y="134"/>
                    <a:pt x="279" y="131"/>
                    <a:pt x="280" y="129"/>
                  </a:cubicBezTo>
                  <a:cubicBezTo>
                    <a:pt x="280" y="128"/>
                    <a:pt x="280" y="128"/>
                    <a:pt x="280" y="128"/>
                  </a:cubicBezTo>
                  <a:cubicBezTo>
                    <a:pt x="280" y="128"/>
                    <a:pt x="280" y="128"/>
                    <a:pt x="280" y="128"/>
                  </a:cubicBezTo>
                  <a:cubicBezTo>
                    <a:pt x="274" y="124"/>
                    <a:pt x="272" y="118"/>
                    <a:pt x="268" y="113"/>
                  </a:cubicBezTo>
                  <a:cubicBezTo>
                    <a:pt x="266" y="111"/>
                    <a:pt x="264" y="109"/>
                    <a:pt x="262" y="105"/>
                  </a:cubicBezTo>
                  <a:cubicBezTo>
                    <a:pt x="262" y="104"/>
                    <a:pt x="261" y="102"/>
                    <a:pt x="260" y="101"/>
                  </a:cubicBezTo>
                  <a:cubicBezTo>
                    <a:pt x="260" y="100"/>
                    <a:pt x="258" y="100"/>
                    <a:pt x="258" y="99"/>
                  </a:cubicBezTo>
                  <a:cubicBezTo>
                    <a:pt x="259" y="92"/>
                    <a:pt x="259" y="84"/>
                    <a:pt x="260" y="77"/>
                  </a:cubicBezTo>
                  <a:cubicBezTo>
                    <a:pt x="260" y="76"/>
                    <a:pt x="260" y="74"/>
                    <a:pt x="261" y="73"/>
                  </a:cubicBezTo>
                  <a:cubicBezTo>
                    <a:pt x="261" y="73"/>
                    <a:pt x="260" y="73"/>
                    <a:pt x="260" y="73"/>
                  </a:cubicBezTo>
                  <a:cubicBezTo>
                    <a:pt x="257" y="73"/>
                    <a:pt x="256" y="79"/>
                    <a:pt x="256" y="82"/>
                  </a:cubicBezTo>
                  <a:cubicBezTo>
                    <a:pt x="255" y="82"/>
                    <a:pt x="254" y="81"/>
                    <a:pt x="254" y="80"/>
                  </a:cubicBezTo>
                  <a:cubicBezTo>
                    <a:pt x="255" y="80"/>
                    <a:pt x="256" y="77"/>
                    <a:pt x="256" y="76"/>
                  </a:cubicBezTo>
                  <a:cubicBezTo>
                    <a:pt x="257" y="75"/>
                    <a:pt x="256" y="73"/>
                    <a:pt x="255" y="71"/>
                  </a:cubicBezTo>
                  <a:cubicBezTo>
                    <a:pt x="252" y="66"/>
                    <a:pt x="251" y="63"/>
                    <a:pt x="246" y="60"/>
                  </a:cubicBezTo>
                  <a:cubicBezTo>
                    <a:pt x="244" y="59"/>
                    <a:pt x="241" y="59"/>
                    <a:pt x="239" y="57"/>
                  </a:cubicBezTo>
                  <a:cubicBezTo>
                    <a:pt x="235" y="55"/>
                    <a:pt x="241" y="49"/>
                    <a:pt x="243" y="47"/>
                  </a:cubicBezTo>
                  <a:cubicBezTo>
                    <a:pt x="248" y="42"/>
                    <a:pt x="250" y="40"/>
                    <a:pt x="253" y="34"/>
                  </a:cubicBezTo>
                  <a:cubicBezTo>
                    <a:pt x="254" y="31"/>
                    <a:pt x="255" y="28"/>
                    <a:pt x="256" y="24"/>
                  </a:cubicBezTo>
                  <a:cubicBezTo>
                    <a:pt x="256" y="24"/>
                    <a:pt x="256" y="23"/>
                    <a:pt x="256" y="23"/>
                  </a:cubicBezTo>
                  <a:cubicBezTo>
                    <a:pt x="257" y="24"/>
                    <a:pt x="257" y="24"/>
                    <a:pt x="257" y="24"/>
                  </a:cubicBezTo>
                  <a:cubicBezTo>
                    <a:pt x="256" y="23"/>
                    <a:pt x="256" y="23"/>
                    <a:pt x="256" y="23"/>
                  </a:cubicBezTo>
                  <a:cubicBezTo>
                    <a:pt x="257" y="21"/>
                    <a:pt x="257" y="21"/>
                    <a:pt x="257" y="21"/>
                  </a:cubicBezTo>
                  <a:cubicBezTo>
                    <a:pt x="258" y="22"/>
                    <a:pt x="260" y="23"/>
                    <a:pt x="260" y="24"/>
                  </a:cubicBezTo>
                  <a:cubicBezTo>
                    <a:pt x="261" y="22"/>
                    <a:pt x="260" y="20"/>
                    <a:pt x="259" y="18"/>
                  </a:cubicBezTo>
                  <a:cubicBezTo>
                    <a:pt x="261" y="20"/>
                    <a:pt x="263" y="21"/>
                    <a:pt x="265" y="22"/>
                  </a:cubicBezTo>
                  <a:cubicBezTo>
                    <a:pt x="266" y="20"/>
                    <a:pt x="266" y="19"/>
                    <a:pt x="268" y="19"/>
                  </a:cubicBezTo>
                  <a:cubicBezTo>
                    <a:pt x="269" y="19"/>
                    <a:pt x="270" y="19"/>
                    <a:pt x="271" y="19"/>
                  </a:cubicBezTo>
                  <a:cubicBezTo>
                    <a:pt x="271" y="19"/>
                    <a:pt x="272" y="19"/>
                    <a:pt x="272" y="19"/>
                  </a:cubicBezTo>
                  <a:cubicBezTo>
                    <a:pt x="273" y="19"/>
                    <a:pt x="274" y="19"/>
                    <a:pt x="275" y="18"/>
                  </a:cubicBezTo>
                  <a:cubicBezTo>
                    <a:pt x="277" y="16"/>
                    <a:pt x="280" y="14"/>
                    <a:pt x="282" y="12"/>
                  </a:cubicBezTo>
                  <a:cubicBezTo>
                    <a:pt x="282" y="12"/>
                    <a:pt x="282" y="12"/>
                    <a:pt x="282" y="12"/>
                  </a:cubicBezTo>
                  <a:cubicBezTo>
                    <a:pt x="283" y="12"/>
                    <a:pt x="286" y="15"/>
                    <a:pt x="287" y="16"/>
                  </a:cubicBezTo>
                  <a:cubicBezTo>
                    <a:pt x="286" y="14"/>
                    <a:pt x="286" y="11"/>
                    <a:pt x="285" y="9"/>
                  </a:cubicBezTo>
                  <a:cubicBezTo>
                    <a:pt x="285" y="7"/>
                    <a:pt x="287" y="7"/>
                    <a:pt x="288" y="7"/>
                  </a:cubicBezTo>
                  <a:cubicBezTo>
                    <a:pt x="289" y="7"/>
                    <a:pt x="289" y="7"/>
                    <a:pt x="290" y="7"/>
                  </a:cubicBezTo>
                  <a:cubicBezTo>
                    <a:pt x="291" y="7"/>
                    <a:pt x="291" y="7"/>
                    <a:pt x="292" y="7"/>
                  </a:cubicBezTo>
                  <a:cubicBezTo>
                    <a:pt x="293" y="7"/>
                    <a:pt x="294" y="7"/>
                    <a:pt x="294" y="7"/>
                  </a:cubicBezTo>
                  <a:cubicBezTo>
                    <a:pt x="295" y="6"/>
                    <a:pt x="295" y="4"/>
                    <a:pt x="295" y="3"/>
                  </a:cubicBezTo>
                  <a:cubicBezTo>
                    <a:pt x="295" y="3"/>
                    <a:pt x="294" y="2"/>
                    <a:pt x="293" y="2"/>
                  </a:cubicBezTo>
                  <a:cubicBezTo>
                    <a:pt x="292" y="1"/>
                    <a:pt x="291" y="1"/>
                    <a:pt x="289" y="0"/>
                  </a:cubicBezTo>
                  <a:cubicBezTo>
                    <a:pt x="287" y="4"/>
                    <a:pt x="287" y="4"/>
                    <a:pt x="287" y="4"/>
                  </a:cubicBezTo>
                  <a:cubicBezTo>
                    <a:pt x="288" y="0"/>
                    <a:pt x="288" y="0"/>
                    <a:pt x="2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7" name="Freeform 306">
              <a:extLst>
                <a:ext uri="{FF2B5EF4-FFF2-40B4-BE49-F238E27FC236}">
                  <a16:creationId xmlns:a16="http://schemas.microsoft.com/office/drawing/2014/main" id="{74C1BD11-631B-4573-979C-C20BFA08288A}"/>
                </a:ext>
              </a:extLst>
            </p:cNvPr>
            <p:cNvSpPr>
              <a:spLocks/>
            </p:cNvSpPr>
            <p:nvPr/>
          </p:nvSpPr>
          <p:spPr bwMode="auto">
            <a:xfrm>
              <a:off x="5381" y="4223"/>
              <a:ext cx="59" cy="78"/>
            </a:xfrm>
            <a:custGeom>
              <a:avLst/>
              <a:gdLst>
                <a:gd name="T0" fmla="*/ 12 w 25"/>
                <a:gd name="T1" fmla="*/ 0 h 33"/>
                <a:gd name="T2" fmla="*/ 12 w 25"/>
                <a:gd name="T3" fmla="*/ 1 h 33"/>
                <a:gd name="T4" fmla="*/ 3 w 25"/>
                <a:gd name="T5" fmla="*/ 11 h 33"/>
                <a:gd name="T6" fmla="*/ 0 w 25"/>
                <a:gd name="T7" fmla="*/ 17 h 33"/>
                <a:gd name="T8" fmla="*/ 0 w 25"/>
                <a:gd name="T9" fmla="*/ 20 h 33"/>
                <a:gd name="T10" fmla="*/ 1 w 25"/>
                <a:gd name="T11" fmla="*/ 22 h 33"/>
                <a:gd name="T12" fmla="*/ 5 w 25"/>
                <a:gd name="T13" fmla="*/ 27 h 33"/>
                <a:gd name="T14" fmla="*/ 9 w 25"/>
                <a:gd name="T15" fmla="*/ 32 h 33"/>
                <a:gd name="T16" fmla="*/ 9 w 25"/>
                <a:gd name="T17" fmla="*/ 32 h 33"/>
                <a:gd name="T18" fmla="*/ 22 w 25"/>
                <a:gd name="T19" fmla="*/ 33 h 33"/>
                <a:gd name="T20" fmla="*/ 23 w 25"/>
                <a:gd name="T21" fmla="*/ 23 h 33"/>
                <a:gd name="T22" fmla="*/ 24 w 25"/>
                <a:gd name="T23" fmla="*/ 20 h 33"/>
                <a:gd name="T24" fmla="*/ 25 w 25"/>
                <a:gd name="T25" fmla="*/ 21 h 33"/>
                <a:gd name="T26" fmla="*/ 24 w 25"/>
                <a:gd name="T27" fmla="*/ 6 h 33"/>
                <a:gd name="T28" fmla="*/ 24 w 25"/>
                <a:gd name="T29" fmla="*/ 6 h 33"/>
                <a:gd name="T30" fmla="*/ 21 w 25"/>
                <a:gd name="T31" fmla="*/ 5 h 33"/>
                <a:gd name="T32" fmla="*/ 21 w 25"/>
                <a:gd name="T33" fmla="*/ 5 h 33"/>
                <a:gd name="T34" fmla="*/ 21 w 25"/>
                <a:gd name="T35" fmla="*/ 5 h 33"/>
                <a:gd name="T36" fmla="*/ 18 w 25"/>
                <a:gd name="T37" fmla="*/ 4 h 33"/>
                <a:gd name="T38" fmla="*/ 12 w 25"/>
                <a:gd name="T39" fmla="*/ 1 h 33"/>
                <a:gd name="T40" fmla="*/ 12 w 25"/>
                <a:gd name="T4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3">
                  <a:moveTo>
                    <a:pt x="12" y="0"/>
                  </a:moveTo>
                  <a:cubicBezTo>
                    <a:pt x="12" y="1"/>
                    <a:pt x="12" y="1"/>
                    <a:pt x="12" y="1"/>
                  </a:cubicBezTo>
                  <a:cubicBezTo>
                    <a:pt x="8" y="4"/>
                    <a:pt x="6" y="6"/>
                    <a:pt x="3" y="11"/>
                  </a:cubicBezTo>
                  <a:cubicBezTo>
                    <a:pt x="2" y="12"/>
                    <a:pt x="1" y="15"/>
                    <a:pt x="0" y="17"/>
                  </a:cubicBezTo>
                  <a:cubicBezTo>
                    <a:pt x="0" y="20"/>
                    <a:pt x="0" y="20"/>
                    <a:pt x="0" y="20"/>
                  </a:cubicBezTo>
                  <a:cubicBezTo>
                    <a:pt x="0" y="21"/>
                    <a:pt x="1" y="21"/>
                    <a:pt x="1" y="22"/>
                  </a:cubicBezTo>
                  <a:cubicBezTo>
                    <a:pt x="3" y="23"/>
                    <a:pt x="4" y="25"/>
                    <a:pt x="5" y="27"/>
                  </a:cubicBezTo>
                  <a:cubicBezTo>
                    <a:pt x="9" y="32"/>
                    <a:pt x="9" y="32"/>
                    <a:pt x="9" y="32"/>
                  </a:cubicBezTo>
                  <a:cubicBezTo>
                    <a:pt x="9" y="32"/>
                    <a:pt x="9" y="32"/>
                    <a:pt x="9" y="32"/>
                  </a:cubicBezTo>
                  <a:cubicBezTo>
                    <a:pt x="22" y="33"/>
                    <a:pt x="22" y="33"/>
                    <a:pt x="22" y="33"/>
                  </a:cubicBezTo>
                  <a:cubicBezTo>
                    <a:pt x="21" y="30"/>
                    <a:pt x="22" y="27"/>
                    <a:pt x="23" y="23"/>
                  </a:cubicBezTo>
                  <a:cubicBezTo>
                    <a:pt x="24" y="20"/>
                    <a:pt x="24" y="20"/>
                    <a:pt x="24" y="20"/>
                  </a:cubicBezTo>
                  <a:cubicBezTo>
                    <a:pt x="25" y="21"/>
                    <a:pt x="25" y="21"/>
                    <a:pt x="25" y="21"/>
                  </a:cubicBezTo>
                  <a:cubicBezTo>
                    <a:pt x="24" y="6"/>
                    <a:pt x="24" y="6"/>
                    <a:pt x="24" y="6"/>
                  </a:cubicBezTo>
                  <a:cubicBezTo>
                    <a:pt x="24" y="6"/>
                    <a:pt x="24" y="6"/>
                    <a:pt x="24" y="6"/>
                  </a:cubicBezTo>
                  <a:cubicBezTo>
                    <a:pt x="21" y="5"/>
                    <a:pt x="21" y="5"/>
                    <a:pt x="21" y="5"/>
                  </a:cubicBezTo>
                  <a:cubicBezTo>
                    <a:pt x="21" y="5"/>
                    <a:pt x="21" y="5"/>
                    <a:pt x="21" y="5"/>
                  </a:cubicBezTo>
                  <a:cubicBezTo>
                    <a:pt x="21" y="5"/>
                    <a:pt x="21" y="5"/>
                    <a:pt x="21" y="5"/>
                  </a:cubicBezTo>
                  <a:cubicBezTo>
                    <a:pt x="19" y="5"/>
                    <a:pt x="19" y="5"/>
                    <a:pt x="18" y="4"/>
                  </a:cubicBezTo>
                  <a:cubicBezTo>
                    <a:pt x="16" y="4"/>
                    <a:pt x="14" y="2"/>
                    <a:pt x="12" y="1"/>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8" name="Freeform 307">
              <a:extLst>
                <a:ext uri="{FF2B5EF4-FFF2-40B4-BE49-F238E27FC236}">
                  <a16:creationId xmlns:a16="http://schemas.microsoft.com/office/drawing/2014/main" id="{39B2A75B-7F7F-4A5B-BDF2-B325547CF922}"/>
                </a:ext>
              </a:extLst>
            </p:cNvPr>
            <p:cNvSpPr>
              <a:spLocks/>
            </p:cNvSpPr>
            <p:nvPr/>
          </p:nvSpPr>
          <p:spPr bwMode="auto">
            <a:xfrm>
              <a:off x="5169" y="4391"/>
              <a:ext cx="125" cy="118"/>
            </a:xfrm>
            <a:custGeom>
              <a:avLst/>
              <a:gdLst>
                <a:gd name="T0" fmla="*/ 36 w 53"/>
                <a:gd name="T1" fmla="*/ 0 h 50"/>
                <a:gd name="T2" fmla="*/ 36 w 53"/>
                <a:gd name="T3" fmla="*/ 0 h 50"/>
                <a:gd name="T4" fmla="*/ 27 w 53"/>
                <a:gd name="T5" fmla="*/ 3 h 50"/>
                <a:gd name="T6" fmla="*/ 23 w 53"/>
                <a:gd name="T7" fmla="*/ 5 h 50"/>
                <a:gd name="T8" fmla="*/ 21 w 53"/>
                <a:gd name="T9" fmla="*/ 6 h 50"/>
                <a:gd name="T10" fmla="*/ 20 w 53"/>
                <a:gd name="T11" fmla="*/ 6 h 50"/>
                <a:gd name="T12" fmla="*/ 16 w 53"/>
                <a:gd name="T13" fmla="*/ 9 h 50"/>
                <a:gd name="T14" fmla="*/ 15 w 53"/>
                <a:gd name="T15" fmla="*/ 10 h 50"/>
                <a:gd name="T16" fmla="*/ 10 w 53"/>
                <a:gd name="T17" fmla="*/ 17 h 50"/>
                <a:gd name="T18" fmla="*/ 7 w 53"/>
                <a:gd name="T19" fmla="*/ 22 h 50"/>
                <a:gd name="T20" fmla="*/ 4 w 53"/>
                <a:gd name="T21" fmla="*/ 24 h 50"/>
                <a:gd name="T22" fmla="*/ 3 w 53"/>
                <a:gd name="T23" fmla="*/ 25 h 50"/>
                <a:gd name="T24" fmla="*/ 0 w 53"/>
                <a:gd name="T25" fmla="*/ 26 h 50"/>
                <a:gd name="T26" fmla="*/ 0 w 53"/>
                <a:gd name="T27" fmla="*/ 26 h 50"/>
                <a:gd name="T28" fmla="*/ 0 w 53"/>
                <a:gd name="T29" fmla="*/ 26 h 50"/>
                <a:gd name="T30" fmla="*/ 0 w 53"/>
                <a:gd name="T31" fmla="*/ 26 h 50"/>
                <a:gd name="T32" fmla="*/ 0 w 53"/>
                <a:gd name="T33" fmla="*/ 26 h 50"/>
                <a:gd name="T34" fmla="*/ 2 w 53"/>
                <a:gd name="T35" fmla="*/ 30 h 50"/>
                <a:gd name="T36" fmla="*/ 4 w 53"/>
                <a:gd name="T37" fmla="*/ 32 h 50"/>
                <a:gd name="T38" fmla="*/ 6 w 53"/>
                <a:gd name="T39" fmla="*/ 37 h 50"/>
                <a:gd name="T40" fmla="*/ 8 w 53"/>
                <a:gd name="T41" fmla="*/ 42 h 50"/>
                <a:gd name="T42" fmla="*/ 13 w 53"/>
                <a:gd name="T43" fmla="*/ 45 h 50"/>
                <a:gd name="T44" fmla="*/ 15 w 53"/>
                <a:gd name="T45" fmla="*/ 46 h 50"/>
                <a:gd name="T46" fmla="*/ 21 w 53"/>
                <a:gd name="T47" fmla="*/ 49 h 50"/>
                <a:gd name="T48" fmla="*/ 22 w 53"/>
                <a:gd name="T49" fmla="*/ 50 h 50"/>
                <a:gd name="T50" fmla="*/ 22 w 53"/>
                <a:gd name="T51" fmla="*/ 50 h 50"/>
                <a:gd name="T52" fmla="*/ 22 w 53"/>
                <a:gd name="T53" fmla="*/ 50 h 50"/>
                <a:gd name="T54" fmla="*/ 23 w 53"/>
                <a:gd name="T55" fmla="*/ 50 h 50"/>
                <a:gd name="T56" fmla="*/ 23 w 53"/>
                <a:gd name="T57" fmla="*/ 49 h 50"/>
                <a:gd name="T58" fmla="*/ 26 w 53"/>
                <a:gd name="T59" fmla="*/ 43 h 50"/>
                <a:gd name="T60" fmla="*/ 26 w 53"/>
                <a:gd name="T61" fmla="*/ 42 h 50"/>
                <a:gd name="T62" fmla="*/ 27 w 53"/>
                <a:gd name="T63" fmla="*/ 40 h 50"/>
                <a:gd name="T64" fmla="*/ 29 w 53"/>
                <a:gd name="T65" fmla="*/ 38 h 50"/>
                <a:gd name="T66" fmla="*/ 29 w 53"/>
                <a:gd name="T67" fmla="*/ 38 h 50"/>
                <a:gd name="T68" fmla="*/ 30 w 53"/>
                <a:gd name="T69" fmla="*/ 37 h 50"/>
                <a:gd name="T70" fmla="*/ 35 w 53"/>
                <a:gd name="T71" fmla="*/ 36 h 50"/>
                <a:gd name="T72" fmla="*/ 38 w 53"/>
                <a:gd name="T73" fmla="*/ 35 h 50"/>
                <a:gd name="T74" fmla="*/ 44 w 53"/>
                <a:gd name="T75" fmla="*/ 33 h 50"/>
                <a:gd name="T76" fmla="*/ 45 w 53"/>
                <a:gd name="T77" fmla="*/ 32 h 50"/>
                <a:gd name="T78" fmla="*/ 46 w 53"/>
                <a:gd name="T79" fmla="*/ 32 h 50"/>
                <a:gd name="T80" fmla="*/ 46 w 53"/>
                <a:gd name="T81" fmla="*/ 31 h 50"/>
                <a:gd name="T82" fmla="*/ 47 w 53"/>
                <a:gd name="T83" fmla="*/ 31 h 50"/>
                <a:gd name="T84" fmla="*/ 46 w 53"/>
                <a:gd name="T85" fmla="*/ 29 h 50"/>
                <a:gd name="T86" fmla="*/ 46 w 53"/>
                <a:gd name="T87" fmla="*/ 29 h 50"/>
                <a:gd name="T88" fmla="*/ 46 w 53"/>
                <a:gd name="T89" fmla="*/ 29 h 50"/>
                <a:gd name="T90" fmla="*/ 47 w 53"/>
                <a:gd name="T91" fmla="*/ 27 h 50"/>
                <a:gd name="T92" fmla="*/ 47 w 53"/>
                <a:gd name="T93" fmla="*/ 26 h 50"/>
                <a:gd name="T94" fmla="*/ 47 w 53"/>
                <a:gd name="T95" fmla="*/ 26 h 50"/>
                <a:gd name="T96" fmla="*/ 47 w 53"/>
                <a:gd name="T97" fmla="*/ 25 h 50"/>
                <a:gd name="T98" fmla="*/ 49 w 53"/>
                <a:gd name="T99" fmla="*/ 23 h 50"/>
                <a:gd name="T100" fmla="*/ 51 w 53"/>
                <a:gd name="T101" fmla="*/ 20 h 50"/>
                <a:gd name="T102" fmla="*/ 52 w 53"/>
                <a:gd name="T103" fmla="*/ 19 h 50"/>
                <a:gd name="T104" fmla="*/ 53 w 53"/>
                <a:gd name="T105" fmla="*/ 17 h 50"/>
                <a:gd name="T106" fmla="*/ 52 w 53"/>
                <a:gd name="T107" fmla="*/ 13 h 50"/>
                <a:gd name="T108" fmla="*/ 51 w 53"/>
                <a:gd name="T109" fmla="*/ 12 h 50"/>
                <a:gd name="T110" fmla="*/ 49 w 53"/>
                <a:gd name="T111" fmla="*/ 11 h 50"/>
                <a:gd name="T112" fmla="*/ 46 w 53"/>
                <a:gd name="T113" fmla="*/ 8 h 50"/>
                <a:gd name="T114" fmla="*/ 45 w 53"/>
                <a:gd name="T115" fmla="*/ 7 h 50"/>
                <a:gd name="T116" fmla="*/ 43 w 53"/>
                <a:gd name="T117" fmla="*/ 6 h 50"/>
                <a:gd name="T118" fmla="*/ 36 w 53"/>
                <a:gd name="T1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50">
                  <a:moveTo>
                    <a:pt x="36" y="0"/>
                  </a:moveTo>
                  <a:cubicBezTo>
                    <a:pt x="36" y="0"/>
                    <a:pt x="36" y="0"/>
                    <a:pt x="36" y="0"/>
                  </a:cubicBezTo>
                  <a:cubicBezTo>
                    <a:pt x="33" y="1"/>
                    <a:pt x="30" y="2"/>
                    <a:pt x="27" y="3"/>
                  </a:cubicBezTo>
                  <a:cubicBezTo>
                    <a:pt x="26" y="4"/>
                    <a:pt x="24" y="4"/>
                    <a:pt x="23" y="5"/>
                  </a:cubicBezTo>
                  <a:cubicBezTo>
                    <a:pt x="21" y="6"/>
                    <a:pt x="21" y="6"/>
                    <a:pt x="21" y="6"/>
                  </a:cubicBezTo>
                  <a:cubicBezTo>
                    <a:pt x="21" y="6"/>
                    <a:pt x="20" y="6"/>
                    <a:pt x="20" y="6"/>
                  </a:cubicBezTo>
                  <a:cubicBezTo>
                    <a:pt x="18" y="7"/>
                    <a:pt x="16" y="8"/>
                    <a:pt x="16" y="9"/>
                  </a:cubicBezTo>
                  <a:cubicBezTo>
                    <a:pt x="15" y="10"/>
                    <a:pt x="15" y="10"/>
                    <a:pt x="15" y="10"/>
                  </a:cubicBezTo>
                  <a:cubicBezTo>
                    <a:pt x="13" y="12"/>
                    <a:pt x="12" y="15"/>
                    <a:pt x="10" y="17"/>
                  </a:cubicBezTo>
                  <a:cubicBezTo>
                    <a:pt x="9" y="19"/>
                    <a:pt x="8" y="20"/>
                    <a:pt x="7" y="22"/>
                  </a:cubicBezTo>
                  <a:cubicBezTo>
                    <a:pt x="6" y="23"/>
                    <a:pt x="5" y="24"/>
                    <a:pt x="4" y="24"/>
                  </a:cubicBezTo>
                  <a:cubicBezTo>
                    <a:pt x="3" y="25"/>
                    <a:pt x="3" y="25"/>
                    <a:pt x="3" y="25"/>
                  </a:cubicBezTo>
                  <a:cubicBezTo>
                    <a:pt x="2" y="25"/>
                    <a:pt x="1" y="25"/>
                    <a:pt x="0" y="26"/>
                  </a:cubicBezTo>
                  <a:cubicBezTo>
                    <a:pt x="0" y="26"/>
                    <a:pt x="0" y="26"/>
                    <a:pt x="0" y="26"/>
                  </a:cubicBezTo>
                  <a:cubicBezTo>
                    <a:pt x="0" y="26"/>
                    <a:pt x="0" y="26"/>
                    <a:pt x="0" y="26"/>
                  </a:cubicBezTo>
                  <a:cubicBezTo>
                    <a:pt x="0" y="26"/>
                    <a:pt x="0" y="26"/>
                    <a:pt x="0" y="26"/>
                  </a:cubicBezTo>
                  <a:cubicBezTo>
                    <a:pt x="0" y="26"/>
                    <a:pt x="0" y="26"/>
                    <a:pt x="0" y="26"/>
                  </a:cubicBezTo>
                  <a:cubicBezTo>
                    <a:pt x="0" y="27"/>
                    <a:pt x="2" y="29"/>
                    <a:pt x="2" y="30"/>
                  </a:cubicBezTo>
                  <a:cubicBezTo>
                    <a:pt x="3" y="31"/>
                    <a:pt x="3" y="31"/>
                    <a:pt x="4" y="32"/>
                  </a:cubicBezTo>
                  <a:cubicBezTo>
                    <a:pt x="5" y="34"/>
                    <a:pt x="5" y="35"/>
                    <a:pt x="6" y="37"/>
                  </a:cubicBezTo>
                  <a:cubicBezTo>
                    <a:pt x="8" y="42"/>
                    <a:pt x="8" y="42"/>
                    <a:pt x="8" y="42"/>
                  </a:cubicBezTo>
                  <a:cubicBezTo>
                    <a:pt x="9" y="42"/>
                    <a:pt x="12" y="44"/>
                    <a:pt x="13" y="45"/>
                  </a:cubicBezTo>
                  <a:cubicBezTo>
                    <a:pt x="15" y="46"/>
                    <a:pt x="15" y="46"/>
                    <a:pt x="15" y="46"/>
                  </a:cubicBezTo>
                  <a:cubicBezTo>
                    <a:pt x="17" y="47"/>
                    <a:pt x="19" y="49"/>
                    <a:pt x="21" y="49"/>
                  </a:cubicBezTo>
                  <a:cubicBezTo>
                    <a:pt x="21" y="49"/>
                    <a:pt x="21" y="50"/>
                    <a:pt x="22" y="50"/>
                  </a:cubicBezTo>
                  <a:cubicBezTo>
                    <a:pt x="22" y="50"/>
                    <a:pt x="22" y="50"/>
                    <a:pt x="22" y="50"/>
                  </a:cubicBezTo>
                  <a:cubicBezTo>
                    <a:pt x="22" y="50"/>
                    <a:pt x="22" y="50"/>
                    <a:pt x="22" y="50"/>
                  </a:cubicBezTo>
                  <a:cubicBezTo>
                    <a:pt x="23" y="50"/>
                    <a:pt x="23" y="50"/>
                    <a:pt x="23" y="50"/>
                  </a:cubicBezTo>
                  <a:cubicBezTo>
                    <a:pt x="23" y="49"/>
                    <a:pt x="23" y="49"/>
                    <a:pt x="23" y="49"/>
                  </a:cubicBezTo>
                  <a:cubicBezTo>
                    <a:pt x="24" y="48"/>
                    <a:pt x="25" y="45"/>
                    <a:pt x="26" y="43"/>
                  </a:cubicBezTo>
                  <a:cubicBezTo>
                    <a:pt x="26" y="42"/>
                    <a:pt x="26" y="42"/>
                    <a:pt x="26" y="42"/>
                  </a:cubicBezTo>
                  <a:cubicBezTo>
                    <a:pt x="27" y="41"/>
                    <a:pt x="27" y="40"/>
                    <a:pt x="27" y="40"/>
                  </a:cubicBezTo>
                  <a:cubicBezTo>
                    <a:pt x="28" y="39"/>
                    <a:pt x="28" y="38"/>
                    <a:pt x="29" y="38"/>
                  </a:cubicBezTo>
                  <a:cubicBezTo>
                    <a:pt x="29" y="38"/>
                    <a:pt x="29" y="38"/>
                    <a:pt x="29" y="38"/>
                  </a:cubicBezTo>
                  <a:cubicBezTo>
                    <a:pt x="30" y="37"/>
                    <a:pt x="30" y="37"/>
                    <a:pt x="30" y="37"/>
                  </a:cubicBezTo>
                  <a:cubicBezTo>
                    <a:pt x="35" y="36"/>
                    <a:pt x="35" y="36"/>
                    <a:pt x="35" y="36"/>
                  </a:cubicBezTo>
                  <a:cubicBezTo>
                    <a:pt x="36" y="35"/>
                    <a:pt x="37" y="35"/>
                    <a:pt x="38" y="35"/>
                  </a:cubicBezTo>
                  <a:cubicBezTo>
                    <a:pt x="40" y="34"/>
                    <a:pt x="43" y="34"/>
                    <a:pt x="44" y="33"/>
                  </a:cubicBezTo>
                  <a:cubicBezTo>
                    <a:pt x="45" y="32"/>
                    <a:pt x="45" y="32"/>
                    <a:pt x="45" y="32"/>
                  </a:cubicBezTo>
                  <a:cubicBezTo>
                    <a:pt x="46" y="32"/>
                    <a:pt x="46" y="32"/>
                    <a:pt x="46" y="32"/>
                  </a:cubicBezTo>
                  <a:cubicBezTo>
                    <a:pt x="46" y="31"/>
                    <a:pt x="46" y="31"/>
                    <a:pt x="46" y="31"/>
                  </a:cubicBezTo>
                  <a:cubicBezTo>
                    <a:pt x="47" y="31"/>
                    <a:pt x="47" y="31"/>
                    <a:pt x="47" y="31"/>
                  </a:cubicBezTo>
                  <a:cubicBezTo>
                    <a:pt x="46" y="29"/>
                    <a:pt x="46" y="29"/>
                    <a:pt x="46" y="29"/>
                  </a:cubicBezTo>
                  <a:cubicBezTo>
                    <a:pt x="46" y="29"/>
                    <a:pt x="46" y="29"/>
                    <a:pt x="46" y="29"/>
                  </a:cubicBezTo>
                  <a:cubicBezTo>
                    <a:pt x="46" y="29"/>
                    <a:pt x="46" y="29"/>
                    <a:pt x="46" y="29"/>
                  </a:cubicBezTo>
                  <a:cubicBezTo>
                    <a:pt x="46" y="29"/>
                    <a:pt x="46" y="28"/>
                    <a:pt x="47" y="27"/>
                  </a:cubicBezTo>
                  <a:cubicBezTo>
                    <a:pt x="47" y="26"/>
                    <a:pt x="47" y="26"/>
                    <a:pt x="47" y="26"/>
                  </a:cubicBezTo>
                  <a:cubicBezTo>
                    <a:pt x="47" y="26"/>
                    <a:pt x="47" y="26"/>
                    <a:pt x="47" y="26"/>
                  </a:cubicBezTo>
                  <a:cubicBezTo>
                    <a:pt x="47" y="25"/>
                    <a:pt x="47" y="25"/>
                    <a:pt x="47" y="25"/>
                  </a:cubicBezTo>
                  <a:cubicBezTo>
                    <a:pt x="48" y="25"/>
                    <a:pt x="49" y="24"/>
                    <a:pt x="49" y="23"/>
                  </a:cubicBezTo>
                  <a:cubicBezTo>
                    <a:pt x="50" y="22"/>
                    <a:pt x="50" y="21"/>
                    <a:pt x="51" y="20"/>
                  </a:cubicBezTo>
                  <a:cubicBezTo>
                    <a:pt x="52" y="19"/>
                    <a:pt x="52" y="19"/>
                    <a:pt x="52" y="19"/>
                  </a:cubicBezTo>
                  <a:cubicBezTo>
                    <a:pt x="52" y="19"/>
                    <a:pt x="53" y="18"/>
                    <a:pt x="53" y="17"/>
                  </a:cubicBezTo>
                  <a:cubicBezTo>
                    <a:pt x="53" y="17"/>
                    <a:pt x="53" y="14"/>
                    <a:pt x="52" y="13"/>
                  </a:cubicBezTo>
                  <a:cubicBezTo>
                    <a:pt x="51" y="13"/>
                    <a:pt x="51" y="12"/>
                    <a:pt x="51" y="12"/>
                  </a:cubicBezTo>
                  <a:cubicBezTo>
                    <a:pt x="49" y="11"/>
                    <a:pt x="49" y="11"/>
                    <a:pt x="49" y="11"/>
                  </a:cubicBezTo>
                  <a:cubicBezTo>
                    <a:pt x="48" y="10"/>
                    <a:pt x="47" y="9"/>
                    <a:pt x="46" y="8"/>
                  </a:cubicBezTo>
                  <a:cubicBezTo>
                    <a:pt x="45" y="7"/>
                    <a:pt x="45" y="7"/>
                    <a:pt x="45" y="7"/>
                  </a:cubicBezTo>
                  <a:cubicBezTo>
                    <a:pt x="44" y="7"/>
                    <a:pt x="44" y="7"/>
                    <a:pt x="43" y="6"/>
                  </a:cubicBezTo>
                  <a:cubicBezTo>
                    <a:pt x="41" y="5"/>
                    <a:pt x="38" y="3"/>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9" name="Freeform 308">
              <a:extLst>
                <a:ext uri="{FF2B5EF4-FFF2-40B4-BE49-F238E27FC236}">
                  <a16:creationId xmlns:a16="http://schemas.microsoft.com/office/drawing/2014/main" id="{08958F51-7179-4A1D-8AC0-6009388EE24F}"/>
                </a:ext>
              </a:extLst>
            </p:cNvPr>
            <p:cNvSpPr>
              <a:spLocks noEditPoints="1"/>
            </p:cNvSpPr>
            <p:nvPr/>
          </p:nvSpPr>
          <p:spPr bwMode="auto">
            <a:xfrm>
              <a:off x="4583" y="4015"/>
              <a:ext cx="905" cy="754"/>
            </a:xfrm>
            <a:custGeom>
              <a:avLst/>
              <a:gdLst>
                <a:gd name="T0" fmla="*/ 295 w 383"/>
                <a:gd name="T1" fmla="*/ 164 h 319"/>
                <a:gd name="T2" fmla="*/ 304 w 383"/>
                <a:gd name="T3" fmla="*/ 179 h 319"/>
                <a:gd name="T4" fmla="*/ 298 w 383"/>
                <a:gd name="T5" fmla="*/ 189 h 319"/>
                <a:gd name="T6" fmla="*/ 280 w 383"/>
                <a:gd name="T7" fmla="*/ 199 h 319"/>
                <a:gd name="T8" fmla="*/ 268 w 383"/>
                <a:gd name="T9" fmla="*/ 212 h 319"/>
                <a:gd name="T10" fmla="*/ 249 w 383"/>
                <a:gd name="T11" fmla="*/ 193 h 319"/>
                <a:gd name="T12" fmla="*/ 245 w 383"/>
                <a:gd name="T13" fmla="*/ 184 h 319"/>
                <a:gd name="T14" fmla="*/ 260 w 383"/>
                <a:gd name="T15" fmla="*/ 167 h 319"/>
                <a:gd name="T16" fmla="*/ 283 w 383"/>
                <a:gd name="T17" fmla="*/ 156 h 319"/>
                <a:gd name="T18" fmla="*/ 297 w 383"/>
                <a:gd name="T19" fmla="*/ 0 h 319"/>
                <a:gd name="T20" fmla="*/ 280 w 383"/>
                <a:gd name="T21" fmla="*/ 10 h 319"/>
                <a:gd name="T22" fmla="*/ 273 w 383"/>
                <a:gd name="T23" fmla="*/ 15 h 319"/>
                <a:gd name="T24" fmla="*/ 246 w 383"/>
                <a:gd name="T25" fmla="*/ 44 h 319"/>
                <a:gd name="T26" fmla="*/ 227 w 383"/>
                <a:gd name="T27" fmla="*/ 61 h 319"/>
                <a:gd name="T28" fmla="*/ 214 w 383"/>
                <a:gd name="T29" fmla="*/ 83 h 319"/>
                <a:gd name="T30" fmla="*/ 198 w 383"/>
                <a:gd name="T31" fmla="*/ 90 h 319"/>
                <a:gd name="T32" fmla="*/ 168 w 383"/>
                <a:gd name="T33" fmla="*/ 81 h 319"/>
                <a:gd name="T34" fmla="*/ 150 w 383"/>
                <a:gd name="T35" fmla="*/ 81 h 319"/>
                <a:gd name="T36" fmla="*/ 149 w 383"/>
                <a:gd name="T37" fmla="*/ 87 h 319"/>
                <a:gd name="T38" fmla="*/ 147 w 383"/>
                <a:gd name="T39" fmla="*/ 91 h 319"/>
                <a:gd name="T40" fmla="*/ 130 w 383"/>
                <a:gd name="T41" fmla="*/ 109 h 319"/>
                <a:gd name="T42" fmla="*/ 118 w 383"/>
                <a:gd name="T43" fmla="*/ 117 h 319"/>
                <a:gd name="T44" fmla="*/ 111 w 383"/>
                <a:gd name="T45" fmla="*/ 116 h 319"/>
                <a:gd name="T46" fmla="*/ 102 w 383"/>
                <a:gd name="T47" fmla="*/ 115 h 319"/>
                <a:gd name="T48" fmla="*/ 93 w 383"/>
                <a:gd name="T49" fmla="*/ 112 h 319"/>
                <a:gd name="T50" fmla="*/ 93 w 383"/>
                <a:gd name="T51" fmla="*/ 108 h 319"/>
                <a:gd name="T52" fmla="*/ 97 w 383"/>
                <a:gd name="T53" fmla="*/ 98 h 319"/>
                <a:gd name="T54" fmla="*/ 94 w 383"/>
                <a:gd name="T55" fmla="*/ 80 h 319"/>
                <a:gd name="T56" fmla="*/ 84 w 383"/>
                <a:gd name="T57" fmla="*/ 145 h 319"/>
                <a:gd name="T58" fmla="*/ 75 w 383"/>
                <a:gd name="T59" fmla="*/ 158 h 319"/>
                <a:gd name="T60" fmla="*/ 60 w 383"/>
                <a:gd name="T61" fmla="*/ 169 h 319"/>
                <a:gd name="T62" fmla="*/ 26 w 383"/>
                <a:gd name="T63" fmla="*/ 166 h 319"/>
                <a:gd name="T64" fmla="*/ 17 w 383"/>
                <a:gd name="T65" fmla="*/ 159 h 319"/>
                <a:gd name="T66" fmla="*/ 13 w 383"/>
                <a:gd name="T67" fmla="*/ 150 h 319"/>
                <a:gd name="T68" fmla="*/ 9 w 383"/>
                <a:gd name="T69" fmla="*/ 148 h 319"/>
                <a:gd name="T70" fmla="*/ 4 w 383"/>
                <a:gd name="T71" fmla="*/ 155 h 319"/>
                <a:gd name="T72" fmla="*/ 13 w 383"/>
                <a:gd name="T73" fmla="*/ 190 h 319"/>
                <a:gd name="T74" fmla="*/ 37 w 383"/>
                <a:gd name="T75" fmla="*/ 266 h 319"/>
                <a:gd name="T76" fmla="*/ 30 w 383"/>
                <a:gd name="T77" fmla="*/ 269 h 319"/>
                <a:gd name="T78" fmla="*/ 44 w 383"/>
                <a:gd name="T79" fmla="*/ 291 h 319"/>
                <a:gd name="T80" fmla="*/ 50 w 383"/>
                <a:gd name="T81" fmla="*/ 300 h 319"/>
                <a:gd name="T82" fmla="*/ 59 w 383"/>
                <a:gd name="T83" fmla="*/ 308 h 319"/>
                <a:gd name="T84" fmla="*/ 86 w 383"/>
                <a:gd name="T85" fmla="*/ 317 h 319"/>
                <a:gd name="T86" fmla="*/ 121 w 383"/>
                <a:gd name="T87" fmla="*/ 308 h 319"/>
                <a:gd name="T88" fmla="*/ 160 w 383"/>
                <a:gd name="T89" fmla="*/ 301 h 319"/>
                <a:gd name="T90" fmla="*/ 195 w 383"/>
                <a:gd name="T91" fmla="*/ 303 h 319"/>
                <a:gd name="T92" fmla="*/ 214 w 383"/>
                <a:gd name="T93" fmla="*/ 297 h 319"/>
                <a:gd name="T94" fmla="*/ 225 w 383"/>
                <a:gd name="T95" fmla="*/ 291 h 319"/>
                <a:gd name="T96" fmla="*/ 275 w 383"/>
                <a:gd name="T97" fmla="*/ 265 h 319"/>
                <a:gd name="T98" fmla="*/ 363 w 383"/>
                <a:gd name="T99" fmla="*/ 164 h 319"/>
                <a:gd name="T100" fmla="*/ 383 w 383"/>
                <a:gd name="T101" fmla="*/ 116 h 319"/>
                <a:gd name="T102" fmla="*/ 366 w 383"/>
                <a:gd name="T103" fmla="*/ 116 h 319"/>
                <a:gd name="T104" fmla="*/ 342 w 383"/>
                <a:gd name="T105" fmla="*/ 123 h 319"/>
                <a:gd name="T106" fmla="*/ 333 w 383"/>
                <a:gd name="T107" fmla="*/ 111 h 319"/>
                <a:gd name="T108" fmla="*/ 336 w 383"/>
                <a:gd name="T109" fmla="*/ 96 h 319"/>
                <a:gd name="T110" fmla="*/ 358 w 383"/>
                <a:gd name="T111" fmla="*/ 87 h 319"/>
                <a:gd name="T112" fmla="*/ 360 w 383"/>
                <a:gd name="T113" fmla="*/ 80 h 319"/>
                <a:gd name="T114" fmla="*/ 359 w 383"/>
                <a:gd name="T115" fmla="*/ 53 h 319"/>
                <a:gd name="T116" fmla="*/ 350 w 383"/>
                <a:gd name="T117" fmla="*/ 24 h 319"/>
                <a:gd name="T118" fmla="*/ 344 w 383"/>
                <a:gd name="T119" fmla="*/ 5 h 319"/>
                <a:gd name="T120" fmla="*/ 310 w 383"/>
                <a:gd name="T12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3" h="319">
                  <a:moveTo>
                    <a:pt x="284" y="155"/>
                  </a:moveTo>
                  <a:cubicBezTo>
                    <a:pt x="286" y="155"/>
                    <a:pt x="286" y="155"/>
                    <a:pt x="286" y="155"/>
                  </a:cubicBezTo>
                  <a:cubicBezTo>
                    <a:pt x="286" y="156"/>
                    <a:pt x="286" y="156"/>
                    <a:pt x="286" y="156"/>
                  </a:cubicBezTo>
                  <a:cubicBezTo>
                    <a:pt x="288" y="159"/>
                    <a:pt x="291" y="161"/>
                    <a:pt x="293" y="162"/>
                  </a:cubicBezTo>
                  <a:cubicBezTo>
                    <a:pt x="294" y="163"/>
                    <a:pt x="294" y="163"/>
                    <a:pt x="295" y="164"/>
                  </a:cubicBezTo>
                  <a:cubicBezTo>
                    <a:pt x="296" y="165"/>
                    <a:pt x="296" y="165"/>
                    <a:pt x="296" y="165"/>
                  </a:cubicBezTo>
                  <a:cubicBezTo>
                    <a:pt x="297" y="165"/>
                    <a:pt x="299" y="166"/>
                    <a:pt x="299" y="167"/>
                  </a:cubicBezTo>
                  <a:cubicBezTo>
                    <a:pt x="301" y="168"/>
                    <a:pt x="301" y="168"/>
                    <a:pt x="301" y="168"/>
                  </a:cubicBezTo>
                  <a:cubicBezTo>
                    <a:pt x="303" y="170"/>
                    <a:pt x="305" y="173"/>
                    <a:pt x="305" y="176"/>
                  </a:cubicBezTo>
                  <a:cubicBezTo>
                    <a:pt x="305" y="177"/>
                    <a:pt x="305" y="178"/>
                    <a:pt x="304" y="179"/>
                  </a:cubicBezTo>
                  <a:cubicBezTo>
                    <a:pt x="302" y="180"/>
                    <a:pt x="301" y="182"/>
                    <a:pt x="300" y="184"/>
                  </a:cubicBezTo>
                  <a:cubicBezTo>
                    <a:pt x="300" y="185"/>
                    <a:pt x="299" y="186"/>
                    <a:pt x="298" y="187"/>
                  </a:cubicBezTo>
                  <a:cubicBezTo>
                    <a:pt x="298" y="187"/>
                    <a:pt x="298" y="187"/>
                    <a:pt x="298" y="187"/>
                  </a:cubicBezTo>
                  <a:cubicBezTo>
                    <a:pt x="298" y="188"/>
                    <a:pt x="298" y="188"/>
                    <a:pt x="298" y="188"/>
                  </a:cubicBezTo>
                  <a:cubicBezTo>
                    <a:pt x="298" y="189"/>
                    <a:pt x="298" y="189"/>
                    <a:pt x="298" y="189"/>
                  </a:cubicBezTo>
                  <a:cubicBezTo>
                    <a:pt x="299" y="192"/>
                    <a:pt x="297" y="193"/>
                    <a:pt x="296" y="193"/>
                  </a:cubicBezTo>
                  <a:cubicBezTo>
                    <a:pt x="296" y="194"/>
                    <a:pt x="295" y="194"/>
                    <a:pt x="294" y="195"/>
                  </a:cubicBezTo>
                  <a:cubicBezTo>
                    <a:pt x="292" y="196"/>
                    <a:pt x="289" y="197"/>
                    <a:pt x="287" y="197"/>
                  </a:cubicBezTo>
                  <a:cubicBezTo>
                    <a:pt x="286" y="197"/>
                    <a:pt x="285" y="198"/>
                    <a:pt x="284" y="198"/>
                  </a:cubicBezTo>
                  <a:cubicBezTo>
                    <a:pt x="280" y="199"/>
                    <a:pt x="280" y="199"/>
                    <a:pt x="280" y="199"/>
                  </a:cubicBezTo>
                  <a:cubicBezTo>
                    <a:pt x="279" y="199"/>
                    <a:pt x="279" y="200"/>
                    <a:pt x="278" y="201"/>
                  </a:cubicBezTo>
                  <a:cubicBezTo>
                    <a:pt x="278" y="201"/>
                    <a:pt x="278" y="202"/>
                    <a:pt x="277" y="203"/>
                  </a:cubicBezTo>
                  <a:cubicBezTo>
                    <a:pt x="276" y="208"/>
                    <a:pt x="274" y="211"/>
                    <a:pt x="272" y="212"/>
                  </a:cubicBezTo>
                  <a:cubicBezTo>
                    <a:pt x="272" y="212"/>
                    <a:pt x="271" y="212"/>
                    <a:pt x="270" y="212"/>
                  </a:cubicBezTo>
                  <a:cubicBezTo>
                    <a:pt x="269" y="212"/>
                    <a:pt x="269" y="212"/>
                    <a:pt x="268" y="212"/>
                  </a:cubicBezTo>
                  <a:cubicBezTo>
                    <a:pt x="265" y="211"/>
                    <a:pt x="263" y="209"/>
                    <a:pt x="261" y="207"/>
                  </a:cubicBezTo>
                  <a:cubicBezTo>
                    <a:pt x="260" y="207"/>
                    <a:pt x="260" y="207"/>
                    <a:pt x="260" y="207"/>
                  </a:cubicBezTo>
                  <a:cubicBezTo>
                    <a:pt x="255" y="204"/>
                    <a:pt x="253" y="203"/>
                    <a:pt x="253" y="202"/>
                  </a:cubicBezTo>
                  <a:cubicBezTo>
                    <a:pt x="251" y="198"/>
                    <a:pt x="251" y="198"/>
                    <a:pt x="251" y="198"/>
                  </a:cubicBezTo>
                  <a:cubicBezTo>
                    <a:pt x="250" y="196"/>
                    <a:pt x="249" y="194"/>
                    <a:pt x="249" y="193"/>
                  </a:cubicBezTo>
                  <a:cubicBezTo>
                    <a:pt x="248" y="192"/>
                    <a:pt x="248" y="191"/>
                    <a:pt x="247" y="191"/>
                  </a:cubicBezTo>
                  <a:cubicBezTo>
                    <a:pt x="246" y="189"/>
                    <a:pt x="245" y="187"/>
                    <a:pt x="245" y="186"/>
                  </a:cubicBezTo>
                  <a:cubicBezTo>
                    <a:pt x="245" y="186"/>
                    <a:pt x="245" y="186"/>
                    <a:pt x="245" y="186"/>
                  </a:cubicBezTo>
                  <a:cubicBezTo>
                    <a:pt x="245" y="185"/>
                    <a:pt x="245" y="185"/>
                    <a:pt x="245" y="185"/>
                  </a:cubicBezTo>
                  <a:cubicBezTo>
                    <a:pt x="245" y="185"/>
                    <a:pt x="244" y="184"/>
                    <a:pt x="245" y="184"/>
                  </a:cubicBezTo>
                  <a:cubicBezTo>
                    <a:pt x="245" y="181"/>
                    <a:pt x="248" y="181"/>
                    <a:pt x="250" y="180"/>
                  </a:cubicBezTo>
                  <a:cubicBezTo>
                    <a:pt x="250" y="180"/>
                    <a:pt x="250" y="180"/>
                    <a:pt x="250" y="180"/>
                  </a:cubicBezTo>
                  <a:cubicBezTo>
                    <a:pt x="251" y="180"/>
                    <a:pt x="252" y="179"/>
                    <a:pt x="253" y="179"/>
                  </a:cubicBezTo>
                  <a:cubicBezTo>
                    <a:pt x="253" y="178"/>
                    <a:pt x="254" y="176"/>
                    <a:pt x="255" y="174"/>
                  </a:cubicBezTo>
                  <a:cubicBezTo>
                    <a:pt x="257" y="172"/>
                    <a:pt x="258" y="169"/>
                    <a:pt x="260" y="167"/>
                  </a:cubicBezTo>
                  <a:cubicBezTo>
                    <a:pt x="261" y="166"/>
                    <a:pt x="261" y="166"/>
                    <a:pt x="261" y="166"/>
                  </a:cubicBezTo>
                  <a:cubicBezTo>
                    <a:pt x="262" y="164"/>
                    <a:pt x="265" y="163"/>
                    <a:pt x="268" y="162"/>
                  </a:cubicBezTo>
                  <a:cubicBezTo>
                    <a:pt x="269" y="161"/>
                    <a:pt x="269" y="161"/>
                    <a:pt x="269" y="161"/>
                  </a:cubicBezTo>
                  <a:cubicBezTo>
                    <a:pt x="271" y="160"/>
                    <a:pt x="272" y="160"/>
                    <a:pt x="274" y="159"/>
                  </a:cubicBezTo>
                  <a:cubicBezTo>
                    <a:pt x="277" y="157"/>
                    <a:pt x="280" y="156"/>
                    <a:pt x="283" y="156"/>
                  </a:cubicBezTo>
                  <a:cubicBezTo>
                    <a:pt x="283" y="155"/>
                    <a:pt x="283" y="155"/>
                    <a:pt x="284" y="155"/>
                  </a:cubicBezTo>
                  <a:cubicBezTo>
                    <a:pt x="284" y="155"/>
                    <a:pt x="284" y="155"/>
                    <a:pt x="284" y="155"/>
                  </a:cubicBezTo>
                  <a:cubicBezTo>
                    <a:pt x="284" y="155"/>
                    <a:pt x="284" y="155"/>
                    <a:pt x="284" y="155"/>
                  </a:cubicBezTo>
                  <a:moveTo>
                    <a:pt x="300" y="0"/>
                  </a:moveTo>
                  <a:cubicBezTo>
                    <a:pt x="299" y="0"/>
                    <a:pt x="298" y="0"/>
                    <a:pt x="297" y="0"/>
                  </a:cubicBezTo>
                  <a:cubicBezTo>
                    <a:pt x="296" y="0"/>
                    <a:pt x="295" y="0"/>
                    <a:pt x="295" y="0"/>
                  </a:cubicBezTo>
                  <a:cubicBezTo>
                    <a:pt x="295" y="1"/>
                    <a:pt x="295" y="1"/>
                    <a:pt x="294" y="2"/>
                  </a:cubicBezTo>
                  <a:cubicBezTo>
                    <a:pt x="293" y="4"/>
                    <a:pt x="292" y="6"/>
                    <a:pt x="289" y="7"/>
                  </a:cubicBezTo>
                  <a:cubicBezTo>
                    <a:pt x="287" y="8"/>
                    <a:pt x="287" y="8"/>
                    <a:pt x="287" y="8"/>
                  </a:cubicBezTo>
                  <a:cubicBezTo>
                    <a:pt x="286" y="8"/>
                    <a:pt x="283" y="9"/>
                    <a:pt x="280" y="10"/>
                  </a:cubicBezTo>
                  <a:cubicBezTo>
                    <a:pt x="280" y="10"/>
                    <a:pt x="280" y="10"/>
                    <a:pt x="280" y="10"/>
                  </a:cubicBezTo>
                  <a:cubicBezTo>
                    <a:pt x="279" y="10"/>
                    <a:pt x="279" y="10"/>
                    <a:pt x="279" y="9"/>
                  </a:cubicBezTo>
                  <a:cubicBezTo>
                    <a:pt x="278" y="9"/>
                    <a:pt x="278" y="9"/>
                    <a:pt x="278" y="9"/>
                  </a:cubicBezTo>
                  <a:cubicBezTo>
                    <a:pt x="277" y="10"/>
                    <a:pt x="275" y="13"/>
                    <a:pt x="274" y="14"/>
                  </a:cubicBezTo>
                  <a:cubicBezTo>
                    <a:pt x="273" y="15"/>
                    <a:pt x="273" y="15"/>
                    <a:pt x="273" y="15"/>
                  </a:cubicBezTo>
                  <a:cubicBezTo>
                    <a:pt x="270" y="19"/>
                    <a:pt x="267" y="23"/>
                    <a:pt x="262" y="26"/>
                  </a:cubicBezTo>
                  <a:cubicBezTo>
                    <a:pt x="260" y="27"/>
                    <a:pt x="259" y="28"/>
                    <a:pt x="257" y="29"/>
                  </a:cubicBezTo>
                  <a:cubicBezTo>
                    <a:pt x="254" y="32"/>
                    <a:pt x="248" y="35"/>
                    <a:pt x="247" y="38"/>
                  </a:cubicBezTo>
                  <a:cubicBezTo>
                    <a:pt x="246" y="42"/>
                    <a:pt x="246" y="42"/>
                    <a:pt x="246" y="42"/>
                  </a:cubicBezTo>
                  <a:cubicBezTo>
                    <a:pt x="246" y="42"/>
                    <a:pt x="246" y="43"/>
                    <a:pt x="246" y="44"/>
                  </a:cubicBezTo>
                  <a:cubicBezTo>
                    <a:pt x="246" y="45"/>
                    <a:pt x="245" y="46"/>
                    <a:pt x="245" y="47"/>
                  </a:cubicBezTo>
                  <a:cubicBezTo>
                    <a:pt x="245" y="49"/>
                    <a:pt x="244" y="51"/>
                    <a:pt x="242" y="52"/>
                  </a:cubicBezTo>
                  <a:cubicBezTo>
                    <a:pt x="242" y="53"/>
                    <a:pt x="241" y="53"/>
                    <a:pt x="240" y="54"/>
                  </a:cubicBezTo>
                  <a:cubicBezTo>
                    <a:pt x="238" y="56"/>
                    <a:pt x="238" y="56"/>
                    <a:pt x="238" y="56"/>
                  </a:cubicBezTo>
                  <a:cubicBezTo>
                    <a:pt x="234" y="60"/>
                    <a:pt x="232" y="61"/>
                    <a:pt x="227" y="61"/>
                  </a:cubicBezTo>
                  <a:cubicBezTo>
                    <a:pt x="225" y="62"/>
                    <a:pt x="223" y="62"/>
                    <a:pt x="222" y="62"/>
                  </a:cubicBezTo>
                  <a:cubicBezTo>
                    <a:pt x="222" y="63"/>
                    <a:pt x="222" y="63"/>
                    <a:pt x="222" y="63"/>
                  </a:cubicBezTo>
                  <a:cubicBezTo>
                    <a:pt x="222" y="64"/>
                    <a:pt x="222" y="65"/>
                    <a:pt x="221" y="66"/>
                  </a:cubicBezTo>
                  <a:cubicBezTo>
                    <a:pt x="220" y="72"/>
                    <a:pt x="218" y="77"/>
                    <a:pt x="216" y="81"/>
                  </a:cubicBezTo>
                  <a:cubicBezTo>
                    <a:pt x="215" y="82"/>
                    <a:pt x="215" y="82"/>
                    <a:pt x="214" y="83"/>
                  </a:cubicBezTo>
                  <a:cubicBezTo>
                    <a:pt x="213" y="84"/>
                    <a:pt x="213" y="84"/>
                    <a:pt x="213" y="84"/>
                  </a:cubicBezTo>
                  <a:cubicBezTo>
                    <a:pt x="212" y="85"/>
                    <a:pt x="210" y="87"/>
                    <a:pt x="208" y="88"/>
                  </a:cubicBezTo>
                  <a:cubicBezTo>
                    <a:pt x="207" y="88"/>
                    <a:pt x="206" y="89"/>
                    <a:pt x="204" y="89"/>
                  </a:cubicBezTo>
                  <a:cubicBezTo>
                    <a:pt x="203" y="89"/>
                    <a:pt x="203" y="89"/>
                    <a:pt x="203" y="89"/>
                  </a:cubicBezTo>
                  <a:cubicBezTo>
                    <a:pt x="201" y="89"/>
                    <a:pt x="200" y="89"/>
                    <a:pt x="198" y="90"/>
                  </a:cubicBezTo>
                  <a:cubicBezTo>
                    <a:pt x="197" y="90"/>
                    <a:pt x="195" y="90"/>
                    <a:pt x="194" y="90"/>
                  </a:cubicBezTo>
                  <a:cubicBezTo>
                    <a:pt x="191" y="90"/>
                    <a:pt x="189" y="90"/>
                    <a:pt x="187" y="89"/>
                  </a:cubicBezTo>
                  <a:cubicBezTo>
                    <a:pt x="174" y="84"/>
                    <a:pt x="174" y="84"/>
                    <a:pt x="174" y="84"/>
                  </a:cubicBezTo>
                  <a:cubicBezTo>
                    <a:pt x="173" y="84"/>
                    <a:pt x="171" y="83"/>
                    <a:pt x="170" y="82"/>
                  </a:cubicBezTo>
                  <a:cubicBezTo>
                    <a:pt x="168" y="81"/>
                    <a:pt x="168" y="81"/>
                    <a:pt x="168" y="81"/>
                  </a:cubicBezTo>
                  <a:cubicBezTo>
                    <a:pt x="166" y="80"/>
                    <a:pt x="163" y="79"/>
                    <a:pt x="161" y="78"/>
                  </a:cubicBezTo>
                  <a:cubicBezTo>
                    <a:pt x="158" y="77"/>
                    <a:pt x="157" y="77"/>
                    <a:pt x="155" y="77"/>
                  </a:cubicBezTo>
                  <a:cubicBezTo>
                    <a:pt x="154" y="77"/>
                    <a:pt x="154" y="77"/>
                    <a:pt x="153" y="77"/>
                  </a:cubicBezTo>
                  <a:cubicBezTo>
                    <a:pt x="153" y="77"/>
                    <a:pt x="151" y="80"/>
                    <a:pt x="150" y="80"/>
                  </a:cubicBezTo>
                  <a:cubicBezTo>
                    <a:pt x="150" y="81"/>
                    <a:pt x="150" y="81"/>
                    <a:pt x="150" y="81"/>
                  </a:cubicBezTo>
                  <a:cubicBezTo>
                    <a:pt x="150" y="81"/>
                    <a:pt x="150" y="82"/>
                    <a:pt x="150" y="82"/>
                  </a:cubicBezTo>
                  <a:cubicBezTo>
                    <a:pt x="150" y="82"/>
                    <a:pt x="150" y="82"/>
                    <a:pt x="150" y="82"/>
                  </a:cubicBezTo>
                  <a:cubicBezTo>
                    <a:pt x="150" y="83"/>
                    <a:pt x="150" y="83"/>
                    <a:pt x="150" y="83"/>
                  </a:cubicBezTo>
                  <a:cubicBezTo>
                    <a:pt x="150" y="84"/>
                    <a:pt x="150" y="85"/>
                    <a:pt x="149" y="85"/>
                  </a:cubicBezTo>
                  <a:cubicBezTo>
                    <a:pt x="149" y="86"/>
                    <a:pt x="149" y="86"/>
                    <a:pt x="149" y="87"/>
                  </a:cubicBezTo>
                  <a:cubicBezTo>
                    <a:pt x="148" y="87"/>
                    <a:pt x="148" y="87"/>
                    <a:pt x="148" y="87"/>
                  </a:cubicBezTo>
                  <a:cubicBezTo>
                    <a:pt x="149" y="88"/>
                    <a:pt x="149" y="88"/>
                    <a:pt x="149" y="88"/>
                  </a:cubicBezTo>
                  <a:cubicBezTo>
                    <a:pt x="149" y="89"/>
                    <a:pt x="149" y="89"/>
                    <a:pt x="149" y="89"/>
                  </a:cubicBezTo>
                  <a:cubicBezTo>
                    <a:pt x="147" y="90"/>
                    <a:pt x="147" y="90"/>
                    <a:pt x="147" y="90"/>
                  </a:cubicBezTo>
                  <a:cubicBezTo>
                    <a:pt x="147" y="91"/>
                    <a:pt x="147" y="91"/>
                    <a:pt x="147" y="91"/>
                  </a:cubicBezTo>
                  <a:cubicBezTo>
                    <a:pt x="147" y="92"/>
                    <a:pt x="147" y="94"/>
                    <a:pt x="146" y="95"/>
                  </a:cubicBezTo>
                  <a:cubicBezTo>
                    <a:pt x="145" y="96"/>
                    <a:pt x="145" y="96"/>
                    <a:pt x="144" y="97"/>
                  </a:cubicBezTo>
                  <a:cubicBezTo>
                    <a:pt x="142" y="99"/>
                    <a:pt x="142" y="99"/>
                    <a:pt x="142" y="99"/>
                  </a:cubicBezTo>
                  <a:cubicBezTo>
                    <a:pt x="131" y="109"/>
                    <a:pt x="131" y="109"/>
                    <a:pt x="131" y="109"/>
                  </a:cubicBezTo>
                  <a:cubicBezTo>
                    <a:pt x="130" y="109"/>
                    <a:pt x="130" y="109"/>
                    <a:pt x="130" y="109"/>
                  </a:cubicBezTo>
                  <a:cubicBezTo>
                    <a:pt x="130" y="110"/>
                    <a:pt x="130" y="110"/>
                    <a:pt x="130" y="110"/>
                  </a:cubicBezTo>
                  <a:cubicBezTo>
                    <a:pt x="127" y="112"/>
                    <a:pt x="127" y="112"/>
                    <a:pt x="127" y="112"/>
                  </a:cubicBezTo>
                  <a:cubicBezTo>
                    <a:pt x="125" y="114"/>
                    <a:pt x="123" y="116"/>
                    <a:pt x="119" y="117"/>
                  </a:cubicBezTo>
                  <a:cubicBezTo>
                    <a:pt x="119" y="117"/>
                    <a:pt x="119" y="117"/>
                    <a:pt x="119" y="117"/>
                  </a:cubicBezTo>
                  <a:cubicBezTo>
                    <a:pt x="118" y="117"/>
                    <a:pt x="118" y="117"/>
                    <a:pt x="118" y="117"/>
                  </a:cubicBezTo>
                  <a:cubicBezTo>
                    <a:pt x="117" y="117"/>
                    <a:pt x="116" y="117"/>
                    <a:pt x="116" y="116"/>
                  </a:cubicBezTo>
                  <a:cubicBezTo>
                    <a:pt x="115" y="116"/>
                    <a:pt x="115" y="116"/>
                    <a:pt x="115" y="116"/>
                  </a:cubicBezTo>
                  <a:cubicBezTo>
                    <a:pt x="114" y="116"/>
                    <a:pt x="114" y="116"/>
                    <a:pt x="113" y="116"/>
                  </a:cubicBezTo>
                  <a:cubicBezTo>
                    <a:pt x="113" y="116"/>
                    <a:pt x="113" y="116"/>
                    <a:pt x="113" y="116"/>
                  </a:cubicBezTo>
                  <a:cubicBezTo>
                    <a:pt x="112" y="116"/>
                    <a:pt x="112" y="116"/>
                    <a:pt x="111" y="116"/>
                  </a:cubicBezTo>
                  <a:cubicBezTo>
                    <a:pt x="111" y="116"/>
                    <a:pt x="111" y="116"/>
                    <a:pt x="110" y="116"/>
                  </a:cubicBezTo>
                  <a:cubicBezTo>
                    <a:pt x="110" y="116"/>
                    <a:pt x="109" y="116"/>
                    <a:pt x="108" y="116"/>
                  </a:cubicBezTo>
                  <a:cubicBezTo>
                    <a:pt x="107" y="116"/>
                    <a:pt x="106" y="116"/>
                    <a:pt x="105" y="116"/>
                  </a:cubicBezTo>
                  <a:cubicBezTo>
                    <a:pt x="104" y="116"/>
                    <a:pt x="103" y="115"/>
                    <a:pt x="103" y="115"/>
                  </a:cubicBezTo>
                  <a:cubicBezTo>
                    <a:pt x="103" y="115"/>
                    <a:pt x="102" y="115"/>
                    <a:pt x="102" y="115"/>
                  </a:cubicBezTo>
                  <a:cubicBezTo>
                    <a:pt x="102" y="115"/>
                    <a:pt x="101" y="116"/>
                    <a:pt x="101" y="116"/>
                  </a:cubicBezTo>
                  <a:cubicBezTo>
                    <a:pt x="100" y="116"/>
                    <a:pt x="99" y="117"/>
                    <a:pt x="99" y="117"/>
                  </a:cubicBezTo>
                  <a:cubicBezTo>
                    <a:pt x="96" y="119"/>
                    <a:pt x="96" y="119"/>
                    <a:pt x="96" y="119"/>
                  </a:cubicBezTo>
                  <a:cubicBezTo>
                    <a:pt x="94" y="116"/>
                    <a:pt x="94" y="116"/>
                    <a:pt x="94" y="116"/>
                  </a:cubicBezTo>
                  <a:cubicBezTo>
                    <a:pt x="94" y="115"/>
                    <a:pt x="94" y="114"/>
                    <a:pt x="93" y="112"/>
                  </a:cubicBezTo>
                  <a:cubicBezTo>
                    <a:pt x="93" y="112"/>
                    <a:pt x="93" y="111"/>
                    <a:pt x="93" y="111"/>
                  </a:cubicBezTo>
                  <a:cubicBezTo>
                    <a:pt x="88" y="112"/>
                    <a:pt x="88" y="112"/>
                    <a:pt x="88" y="112"/>
                  </a:cubicBezTo>
                  <a:cubicBezTo>
                    <a:pt x="93" y="110"/>
                    <a:pt x="93" y="110"/>
                    <a:pt x="93" y="110"/>
                  </a:cubicBezTo>
                  <a:cubicBezTo>
                    <a:pt x="93" y="109"/>
                    <a:pt x="93" y="109"/>
                    <a:pt x="93" y="109"/>
                  </a:cubicBezTo>
                  <a:cubicBezTo>
                    <a:pt x="93" y="109"/>
                    <a:pt x="93" y="108"/>
                    <a:pt x="93" y="108"/>
                  </a:cubicBezTo>
                  <a:cubicBezTo>
                    <a:pt x="93" y="106"/>
                    <a:pt x="93" y="106"/>
                    <a:pt x="93" y="106"/>
                  </a:cubicBezTo>
                  <a:cubicBezTo>
                    <a:pt x="93" y="104"/>
                    <a:pt x="94" y="101"/>
                    <a:pt x="95" y="99"/>
                  </a:cubicBezTo>
                  <a:cubicBezTo>
                    <a:pt x="96" y="99"/>
                    <a:pt x="96" y="99"/>
                    <a:pt x="96" y="99"/>
                  </a:cubicBezTo>
                  <a:cubicBezTo>
                    <a:pt x="96" y="98"/>
                    <a:pt x="96" y="98"/>
                    <a:pt x="96" y="98"/>
                  </a:cubicBezTo>
                  <a:cubicBezTo>
                    <a:pt x="97" y="98"/>
                    <a:pt x="97" y="98"/>
                    <a:pt x="97" y="98"/>
                  </a:cubicBezTo>
                  <a:cubicBezTo>
                    <a:pt x="98" y="96"/>
                    <a:pt x="98" y="96"/>
                    <a:pt x="98" y="95"/>
                  </a:cubicBezTo>
                  <a:cubicBezTo>
                    <a:pt x="98" y="95"/>
                    <a:pt x="98" y="95"/>
                    <a:pt x="98" y="94"/>
                  </a:cubicBezTo>
                  <a:cubicBezTo>
                    <a:pt x="98" y="91"/>
                    <a:pt x="96" y="86"/>
                    <a:pt x="95" y="83"/>
                  </a:cubicBezTo>
                  <a:cubicBezTo>
                    <a:pt x="94" y="81"/>
                    <a:pt x="94" y="81"/>
                    <a:pt x="94" y="81"/>
                  </a:cubicBezTo>
                  <a:cubicBezTo>
                    <a:pt x="94" y="81"/>
                    <a:pt x="94" y="80"/>
                    <a:pt x="94" y="80"/>
                  </a:cubicBezTo>
                  <a:cubicBezTo>
                    <a:pt x="93" y="78"/>
                    <a:pt x="93" y="78"/>
                    <a:pt x="93" y="78"/>
                  </a:cubicBezTo>
                  <a:cubicBezTo>
                    <a:pt x="92" y="75"/>
                    <a:pt x="89" y="71"/>
                    <a:pt x="88" y="70"/>
                  </a:cubicBezTo>
                  <a:cubicBezTo>
                    <a:pt x="86" y="69"/>
                    <a:pt x="85" y="68"/>
                    <a:pt x="83" y="67"/>
                  </a:cubicBezTo>
                  <a:cubicBezTo>
                    <a:pt x="84" y="69"/>
                    <a:pt x="84" y="70"/>
                    <a:pt x="84" y="72"/>
                  </a:cubicBezTo>
                  <a:cubicBezTo>
                    <a:pt x="84" y="145"/>
                    <a:pt x="84" y="145"/>
                    <a:pt x="84" y="145"/>
                  </a:cubicBezTo>
                  <a:cubicBezTo>
                    <a:pt x="84" y="145"/>
                    <a:pt x="84" y="146"/>
                    <a:pt x="84" y="146"/>
                  </a:cubicBezTo>
                  <a:cubicBezTo>
                    <a:pt x="84" y="147"/>
                    <a:pt x="84" y="147"/>
                    <a:pt x="84" y="147"/>
                  </a:cubicBezTo>
                  <a:cubicBezTo>
                    <a:pt x="84" y="151"/>
                    <a:pt x="84" y="153"/>
                    <a:pt x="83" y="155"/>
                  </a:cubicBezTo>
                  <a:cubicBezTo>
                    <a:pt x="82" y="157"/>
                    <a:pt x="79" y="158"/>
                    <a:pt x="76" y="158"/>
                  </a:cubicBezTo>
                  <a:cubicBezTo>
                    <a:pt x="75" y="158"/>
                    <a:pt x="75" y="158"/>
                    <a:pt x="75" y="158"/>
                  </a:cubicBezTo>
                  <a:cubicBezTo>
                    <a:pt x="74" y="158"/>
                    <a:pt x="73" y="158"/>
                    <a:pt x="73" y="159"/>
                  </a:cubicBezTo>
                  <a:cubicBezTo>
                    <a:pt x="71" y="160"/>
                    <a:pt x="69" y="161"/>
                    <a:pt x="67" y="162"/>
                  </a:cubicBezTo>
                  <a:cubicBezTo>
                    <a:pt x="66" y="163"/>
                    <a:pt x="66" y="164"/>
                    <a:pt x="65" y="165"/>
                  </a:cubicBezTo>
                  <a:cubicBezTo>
                    <a:pt x="65" y="166"/>
                    <a:pt x="65" y="167"/>
                    <a:pt x="64" y="168"/>
                  </a:cubicBezTo>
                  <a:cubicBezTo>
                    <a:pt x="63" y="169"/>
                    <a:pt x="62" y="169"/>
                    <a:pt x="60" y="169"/>
                  </a:cubicBezTo>
                  <a:cubicBezTo>
                    <a:pt x="59" y="169"/>
                    <a:pt x="57" y="170"/>
                    <a:pt x="54" y="170"/>
                  </a:cubicBezTo>
                  <a:cubicBezTo>
                    <a:pt x="51" y="170"/>
                    <a:pt x="47" y="169"/>
                    <a:pt x="44" y="169"/>
                  </a:cubicBezTo>
                  <a:cubicBezTo>
                    <a:pt x="43" y="169"/>
                    <a:pt x="41" y="169"/>
                    <a:pt x="41" y="169"/>
                  </a:cubicBezTo>
                  <a:cubicBezTo>
                    <a:pt x="36" y="169"/>
                    <a:pt x="31" y="167"/>
                    <a:pt x="27" y="166"/>
                  </a:cubicBezTo>
                  <a:cubicBezTo>
                    <a:pt x="26" y="166"/>
                    <a:pt x="26" y="166"/>
                    <a:pt x="26" y="166"/>
                  </a:cubicBezTo>
                  <a:cubicBezTo>
                    <a:pt x="25" y="165"/>
                    <a:pt x="24" y="165"/>
                    <a:pt x="24" y="165"/>
                  </a:cubicBezTo>
                  <a:cubicBezTo>
                    <a:pt x="23" y="165"/>
                    <a:pt x="23" y="165"/>
                    <a:pt x="23" y="165"/>
                  </a:cubicBezTo>
                  <a:cubicBezTo>
                    <a:pt x="21" y="164"/>
                    <a:pt x="18" y="164"/>
                    <a:pt x="17" y="162"/>
                  </a:cubicBezTo>
                  <a:cubicBezTo>
                    <a:pt x="16" y="161"/>
                    <a:pt x="17" y="160"/>
                    <a:pt x="17" y="159"/>
                  </a:cubicBezTo>
                  <a:cubicBezTo>
                    <a:pt x="17" y="159"/>
                    <a:pt x="17" y="159"/>
                    <a:pt x="17" y="159"/>
                  </a:cubicBezTo>
                  <a:cubicBezTo>
                    <a:pt x="17" y="158"/>
                    <a:pt x="16" y="158"/>
                    <a:pt x="16" y="157"/>
                  </a:cubicBezTo>
                  <a:cubicBezTo>
                    <a:pt x="15" y="156"/>
                    <a:pt x="15" y="156"/>
                    <a:pt x="15" y="155"/>
                  </a:cubicBezTo>
                  <a:cubicBezTo>
                    <a:pt x="15" y="154"/>
                    <a:pt x="15" y="153"/>
                    <a:pt x="16" y="153"/>
                  </a:cubicBezTo>
                  <a:cubicBezTo>
                    <a:pt x="15" y="152"/>
                    <a:pt x="14" y="152"/>
                    <a:pt x="13" y="151"/>
                  </a:cubicBezTo>
                  <a:cubicBezTo>
                    <a:pt x="13" y="150"/>
                    <a:pt x="13" y="150"/>
                    <a:pt x="13" y="150"/>
                  </a:cubicBezTo>
                  <a:cubicBezTo>
                    <a:pt x="12" y="150"/>
                    <a:pt x="12" y="150"/>
                    <a:pt x="12" y="150"/>
                  </a:cubicBezTo>
                  <a:cubicBezTo>
                    <a:pt x="12" y="149"/>
                    <a:pt x="12" y="148"/>
                    <a:pt x="12" y="148"/>
                  </a:cubicBezTo>
                  <a:cubicBezTo>
                    <a:pt x="10" y="148"/>
                    <a:pt x="10" y="148"/>
                    <a:pt x="10" y="148"/>
                  </a:cubicBezTo>
                  <a:cubicBezTo>
                    <a:pt x="9" y="148"/>
                    <a:pt x="9" y="148"/>
                    <a:pt x="9" y="148"/>
                  </a:cubicBezTo>
                  <a:cubicBezTo>
                    <a:pt x="9" y="148"/>
                    <a:pt x="9" y="148"/>
                    <a:pt x="9" y="148"/>
                  </a:cubicBezTo>
                  <a:cubicBezTo>
                    <a:pt x="9" y="148"/>
                    <a:pt x="8" y="149"/>
                    <a:pt x="8" y="149"/>
                  </a:cubicBezTo>
                  <a:cubicBezTo>
                    <a:pt x="8" y="150"/>
                    <a:pt x="8" y="150"/>
                    <a:pt x="8" y="150"/>
                  </a:cubicBezTo>
                  <a:cubicBezTo>
                    <a:pt x="7" y="151"/>
                    <a:pt x="6" y="152"/>
                    <a:pt x="6" y="153"/>
                  </a:cubicBezTo>
                  <a:cubicBezTo>
                    <a:pt x="5" y="154"/>
                    <a:pt x="5" y="154"/>
                    <a:pt x="4" y="155"/>
                  </a:cubicBezTo>
                  <a:cubicBezTo>
                    <a:pt x="4" y="155"/>
                    <a:pt x="4" y="155"/>
                    <a:pt x="4" y="155"/>
                  </a:cubicBezTo>
                  <a:cubicBezTo>
                    <a:pt x="3" y="156"/>
                    <a:pt x="2" y="158"/>
                    <a:pt x="1" y="159"/>
                  </a:cubicBezTo>
                  <a:cubicBezTo>
                    <a:pt x="0" y="160"/>
                    <a:pt x="0" y="160"/>
                    <a:pt x="0" y="160"/>
                  </a:cubicBezTo>
                  <a:cubicBezTo>
                    <a:pt x="0" y="160"/>
                    <a:pt x="0" y="160"/>
                    <a:pt x="0" y="160"/>
                  </a:cubicBezTo>
                  <a:cubicBezTo>
                    <a:pt x="0" y="162"/>
                    <a:pt x="1" y="163"/>
                    <a:pt x="2" y="165"/>
                  </a:cubicBezTo>
                  <a:cubicBezTo>
                    <a:pt x="5" y="173"/>
                    <a:pt x="9" y="182"/>
                    <a:pt x="13" y="190"/>
                  </a:cubicBezTo>
                  <a:cubicBezTo>
                    <a:pt x="18" y="202"/>
                    <a:pt x="23" y="215"/>
                    <a:pt x="30" y="226"/>
                  </a:cubicBezTo>
                  <a:cubicBezTo>
                    <a:pt x="32" y="231"/>
                    <a:pt x="35" y="235"/>
                    <a:pt x="37" y="239"/>
                  </a:cubicBezTo>
                  <a:cubicBezTo>
                    <a:pt x="38" y="241"/>
                    <a:pt x="40" y="244"/>
                    <a:pt x="40" y="246"/>
                  </a:cubicBezTo>
                  <a:cubicBezTo>
                    <a:pt x="41" y="249"/>
                    <a:pt x="43" y="252"/>
                    <a:pt x="41" y="255"/>
                  </a:cubicBezTo>
                  <a:cubicBezTo>
                    <a:pt x="40" y="259"/>
                    <a:pt x="38" y="262"/>
                    <a:pt x="37" y="266"/>
                  </a:cubicBezTo>
                  <a:cubicBezTo>
                    <a:pt x="37" y="266"/>
                    <a:pt x="37" y="266"/>
                    <a:pt x="37" y="266"/>
                  </a:cubicBezTo>
                  <a:cubicBezTo>
                    <a:pt x="37" y="266"/>
                    <a:pt x="36" y="266"/>
                    <a:pt x="36" y="266"/>
                  </a:cubicBezTo>
                  <a:cubicBezTo>
                    <a:pt x="35" y="266"/>
                    <a:pt x="34" y="266"/>
                    <a:pt x="34" y="266"/>
                  </a:cubicBezTo>
                  <a:cubicBezTo>
                    <a:pt x="32" y="266"/>
                    <a:pt x="31" y="266"/>
                    <a:pt x="30" y="267"/>
                  </a:cubicBezTo>
                  <a:cubicBezTo>
                    <a:pt x="30" y="269"/>
                    <a:pt x="30" y="269"/>
                    <a:pt x="30" y="269"/>
                  </a:cubicBezTo>
                  <a:cubicBezTo>
                    <a:pt x="31" y="271"/>
                    <a:pt x="31" y="273"/>
                    <a:pt x="32" y="273"/>
                  </a:cubicBezTo>
                  <a:cubicBezTo>
                    <a:pt x="32" y="273"/>
                    <a:pt x="32" y="273"/>
                    <a:pt x="32" y="273"/>
                  </a:cubicBezTo>
                  <a:cubicBezTo>
                    <a:pt x="33" y="273"/>
                    <a:pt x="33" y="273"/>
                    <a:pt x="33" y="273"/>
                  </a:cubicBezTo>
                  <a:cubicBezTo>
                    <a:pt x="36" y="273"/>
                    <a:pt x="36" y="277"/>
                    <a:pt x="37" y="280"/>
                  </a:cubicBezTo>
                  <a:cubicBezTo>
                    <a:pt x="39" y="283"/>
                    <a:pt x="41" y="287"/>
                    <a:pt x="44" y="291"/>
                  </a:cubicBezTo>
                  <a:cubicBezTo>
                    <a:pt x="45" y="293"/>
                    <a:pt x="42" y="296"/>
                    <a:pt x="42" y="299"/>
                  </a:cubicBezTo>
                  <a:cubicBezTo>
                    <a:pt x="42" y="302"/>
                    <a:pt x="44" y="305"/>
                    <a:pt x="45" y="307"/>
                  </a:cubicBezTo>
                  <a:cubicBezTo>
                    <a:pt x="45" y="306"/>
                    <a:pt x="45" y="306"/>
                    <a:pt x="45" y="306"/>
                  </a:cubicBezTo>
                  <a:cubicBezTo>
                    <a:pt x="45" y="305"/>
                    <a:pt x="44" y="304"/>
                    <a:pt x="45" y="302"/>
                  </a:cubicBezTo>
                  <a:cubicBezTo>
                    <a:pt x="46" y="301"/>
                    <a:pt x="48" y="300"/>
                    <a:pt x="50" y="300"/>
                  </a:cubicBezTo>
                  <a:cubicBezTo>
                    <a:pt x="51" y="300"/>
                    <a:pt x="52" y="300"/>
                    <a:pt x="53" y="301"/>
                  </a:cubicBezTo>
                  <a:cubicBezTo>
                    <a:pt x="55" y="303"/>
                    <a:pt x="52" y="307"/>
                    <a:pt x="54" y="308"/>
                  </a:cubicBezTo>
                  <a:cubicBezTo>
                    <a:pt x="54" y="309"/>
                    <a:pt x="54" y="309"/>
                    <a:pt x="54" y="309"/>
                  </a:cubicBezTo>
                  <a:cubicBezTo>
                    <a:pt x="55" y="309"/>
                    <a:pt x="56" y="308"/>
                    <a:pt x="56" y="308"/>
                  </a:cubicBezTo>
                  <a:cubicBezTo>
                    <a:pt x="57" y="308"/>
                    <a:pt x="58" y="308"/>
                    <a:pt x="59" y="308"/>
                  </a:cubicBezTo>
                  <a:cubicBezTo>
                    <a:pt x="59" y="308"/>
                    <a:pt x="60" y="308"/>
                    <a:pt x="60" y="308"/>
                  </a:cubicBezTo>
                  <a:cubicBezTo>
                    <a:pt x="62" y="310"/>
                    <a:pt x="65" y="314"/>
                    <a:pt x="67" y="315"/>
                  </a:cubicBezTo>
                  <a:cubicBezTo>
                    <a:pt x="71" y="316"/>
                    <a:pt x="76" y="317"/>
                    <a:pt x="80" y="319"/>
                  </a:cubicBezTo>
                  <a:cubicBezTo>
                    <a:pt x="81" y="319"/>
                    <a:pt x="81" y="319"/>
                    <a:pt x="82" y="319"/>
                  </a:cubicBezTo>
                  <a:cubicBezTo>
                    <a:pt x="83" y="319"/>
                    <a:pt x="84" y="319"/>
                    <a:pt x="86" y="317"/>
                  </a:cubicBezTo>
                  <a:cubicBezTo>
                    <a:pt x="92" y="313"/>
                    <a:pt x="97" y="309"/>
                    <a:pt x="105" y="308"/>
                  </a:cubicBezTo>
                  <a:cubicBezTo>
                    <a:pt x="108" y="308"/>
                    <a:pt x="112" y="308"/>
                    <a:pt x="115" y="308"/>
                  </a:cubicBezTo>
                  <a:cubicBezTo>
                    <a:pt x="116" y="308"/>
                    <a:pt x="116" y="308"/>
                    <a:pt x="116" y="308"/>
                  </a:cubicBezTo>
                  <a:cubicBezTo>
                    <a:pt x="117" y="308"/>
                    <a:pt x="117" y="308"/>
                    <a:pt x="118" y="308"/>
                  </a:cubicBezTo>
                  <a:cubicBezTo>
                    <a:pt x="119" y="308"/>
                    <a:pt x="120" y="308"/>
                    <a:pt x="121" y="308"/>
                  </a:cubicBezTo>
                  <a:cubicBezTo>
                    <a:pt x="123" y="308"/>
                    <a:pt x="124" y="308"/>
                    <a:pt x="125" y="307"/>
                  </a:cubicBezTo>
                  <a:cubicBezTo>
                    <a:pt x="128" y="306"/>
                    <a:pt x="131" y="302"/>
                    <a:pt x="133" y="300"/>
                  </a:cubicBezTo>
                  <a:cubicBezTo>
                    <a:pt x="135" y="299"/>
                    <a:pt x="140" y="299"/>
                    <a:pt x="142" y="299"/>
                  </a:cubicBezTo>
                  <a:cubicBezTo>
                    <a:pt x="143" y="299"/>
                    <a:pt x="145" y="299"/>
                    <a:pt x="146" y="299"/>
                  </a:cubicBezTo>
                  <a:cubicBezTo>
                    <a:pt x="151" y="299"/>
                    <a:pt x="155" y="300"/>
                    <a:pt x="160" y="301"/>
                  </a:cubicBezTo>
                  <a:cubicBezTo>
                    <a:pt x="161" y="299"/>
                    <a:pt x="164" y="298"/>
                    <a:pt x="166" y="298"/>
                  </a:cubicBezTo>
                  <a:cubicBezTo>
                    <a:pt x="170" y="298"/>
                    <a:pt x="175" y="300"/>
                    <a:pt x="178" y="300"/>
                  </a:cubicBezTo>
                  <a:cubicBezTo>
                    <a:pt x="181" y="301"/>
                    <a:pt x="189" y="303"/>
                    <a:pt x="193" y="303"/>
                  </a:cubicBezTo>
                  <a:cubicBezTo>
                    <a:pt x="194" y="303"/>
                    <a:pt x="194" y="303"/>
                    <a:pt x="195" y="303"/>
                  </a:cubicBezTo>
                  <a:cubicBezTo>
                    <a:pt x="195" y="303"/>
                    <a:pt x="195" y="303"/>
                    <a:pt x="195" y="303"/>
                  </a:cubicBezTo>
                  <a:cubicBezTo>
                    <a:pt x="195" y="303"/>
                    <a:pt x="196" y="300"/>
                    <a:pt x="197" y="300"/>
                  </a:cubicBezTo>
                  <a:cubicBezTo>
                    <a:pt x="199" y="298"/>
                    <a:pt x="199" y="297"/>
                    <a:pt x="201" y="297"/>
                  </a:cubicBezTo>
                  <a:cubicBezTo>
                    <a:pt x="202" y="297"/>
                    <a:pt x="203" y="297"/>
                    <a:pt x="204" y="298"/>
                  </a:cubicBezTo>
                  <a:cubicBezTo>
                    <a:pt x="208" y="298"/>
                    <a:pt x="211" y="299"/>
                    <a:pt x="215" y="299"/>
                  </a:cubicBezTo>
                  <a:cubicBezTo>
                    <a:pt x="214" y="297"/>
                    <a:pt x="214" y="297"/>
                    <a:pt x="214" y="297"/>
                  </a:cubicBezTo>
                  <a:cubicBezTo>
                    <a:pt x="214" y="297"/>
                    <a:pt x="213" y="297"/>
                    <a:pt x="213" y="296"/>
                  </a:cubicBezTo>
                  <a:cubicBezTo>
                    <a:pt x="214" y="295"/>
                    <a:pt x="217" y="292"/>
                    <a:pt x="218" y="291"/>
                  </a:cubicBezTo>
                  <a:cubicBezTo>
                    <a:pt x="219" y="291"/>
                    <a:pt x="221" y="291"/>
                    <a:pt x="222" y="291"/>
                  </a:cubicBezTo>
                  <a:cubicBezTo>
                    <a:pt x="222" y="291"/>
                    <a:pt x="223" y="291"/>
                    <a:pt x="224" y="291"/>
                  </a:cubicBezTo>
                  <a:cubicBezTo>
                    <a:pt x="224" y="291"/>
                    <a:pt x="225" y="291"/>
                    <a:pt x="225" y="291"/>
                  </a:cubicBezTo>
                  <a:cubicBezTo>
                    <a:pt x="226" y="291"/>
                    <a:pt x="226" y="291"/>
                    <a:pt x="226" y="291"/>
                  </a:cubicBezTo>
                  <a:cubicBezTo>
                    <a:pt x="229" y="290"/>
                    <a:pt x="233" y="290"/>
                    <a:pt x="236" y="290"/>
                  </a:cubicBezTo>
                  <a:cubicBezTo>
                    <a:pt x="240" y="290"/>
                    <a:pt x="245" y="287"/>
                    <a:pt x="248" y="285"/>
                  </a:cubicBezTo>
                  <a:cubicBezTo>
                    <a:pt x="253" y="282"/>
                    <a:pt x="258" y="279"/>
                    <a:pt x="262" y="276"/>
                  </a:cubicBezTo>
                  <a:cubicBezTo>
                    <a:pt x="266" y="272"/>
                    <a:pt x="270" y="268"/>
                    <a:pt x="275" y="265"/>
                  </a:cubicBezTo>
                  <a:cubicBezTo>
                    <a:pt x="284" y="260"/>
                    <a:pt x="291" y="251"/>
                    <a:pt x="298" y="244"/>
                  </a:cubicBezTo>
                  <a:cubicBezTo>
                    <a:pt x="309" y="233"/>
                    <a:pt x="319" y="224"/>
                    <a:pt x="327" y="212"/>
                  </a:cubicBezTo>
                  <a:cubicBezTo>
                    <a:pt x="334" y="202"/>
                    <a:pt x="338" y="190"/>
                    <a:pt x="346" y="181"/>
                  </a:cubicBezTo>
                  <a:cubicBezTo>
                    <a:pt x="350" y="176"/>
                    <a:pt x="354" y="170"/>
                    <a:pt x="359" y="167"/>
                  </a:cubicBezTo>
                  <a:cubicBezTo>
                    <a:pt x="360" y="166"/>
                    <a:pt x="364" y="165"/>
                    <a:pt x="363" y="164"/>
                  </a:cubicBezTo>
                  <a:cubicBezTo>
                    <a:pt x="363" y="163"/>
                    <a:pt x="364" y="162"/>
                    <a:pt x="365" y="161"/>
                  </a:cubicBezTo>
                  <a:cubicBezTo>
                    <a:pt x="367" y="159"/>
                    <a:pt x="371" y="156"/>
                    <a:pt x="373" y="153"/>
                  </a:cubicBezTo>
                  <a:cubicBezTo>
                    <a:pt x="376" y="147"/>
                    <a:pt x="377" y="139"/>
                    <a:pt x="379" y="132"/>
                  </a:cubicBezTo>
                  <a:cubicBezTo>
                    <a:pt x="380" y="127"/>
                    <a:pt x="382" y="122"/>
                    <a:pt x="383" y="116"/>
                  </a:cubicBezTo>
                  <a:cubicBezTo>
                    <a:pt x="383" y="116"/>
                    <a:pt x="383" y="116"/>
                    <a:pt x="383" y="116"/>
                  </a:cubicBezTo>
                  <a:cubicBezTo>
                    <a:pt x="379" y="117"/>
                    <a:pt x="379" y="117"/>
                    <a:pt x="379" y="117"/>
                  </a:cubicBezTo>
                  <a:cubicBezTo>
                    <a:pt x="378" y="117"/>
                    <a:pt x="376" y="117"/>
                    <a:pt x="374" y="117"/>
                  </a:cubicBezTo>
                  <a:cubicBezTo>
                    <a:pt x="374" y="117"/>
                    <a:pt x="374" y="117"/>
                    <a:pt x="374" y="117"/>
                  </a:cubicBezTo>
                  <a:cubicBezTo>
                    <a:pt x="373" y="117"/>
                    <a:pt x="371" y="117"/>
                    <a:pt x="370" y="117"/>
                  </a:cubicBezTo>
                  <a:cubicBezTo>
                    <a:pt x="369" y="116"/>
                    <a:pt x="367" y="116"/>
                    <a:pt x="366" y="116"/>
                  </a:cubicBezTo>
                  <a:cubicBezTo>
                    <a:pt x="366" y="116"/>
                    <a:pt x="366" y="116"/>
                    <a:pt x="366" y="116"/>
                  </a:cubicBezTo>
                  <a:cubicBezTo>
                    <a:pt x="365" y="118"/>
                    <a:pt x="365" y="121"/>
                    <a:pt x="366" y="124"/>
                  </a:cubicBezTo>
                  <a:cubicBezTo>
                    <a:pt x="366" y="128"/>
                    <a:pt x="366" y="128"/>
                    <a:pt x="366" y="128"/>
                  </a:cubicBezTo>
                  <a:cubicBezTo>
                    <a:pt x="346" y="126"/>
                    <a:pt x="346" y="126"/>
                    <a:pt x="346" y="126"/>
                  </a:cubicBezTo>
                  <a:cubicBezTo>
                    <a:pt x="344" y="125"/>
                    <a:pt x="343" y="124"/>
                    <a:pt x="342" y="123"/>
                  </a:cubicBezTo>
                  <a:cubicBezTo>
                    <a:pt x="338" y="118"/>
                    <a:pt x="338" y="118"/>
                    <a:pt x="338" y="118"/>
                  </a:cubicBezTo>
                  <a:cubicBezTo>
                    <a:pt x="338" y="117"/>
                    <a:pt x="337" y="114"/>
                    <a:pt x="336" y="114"/>
                  </a:cubicBezTo>
                  <a:cubicBezTo>
                    <a:pt x="335" y="113"/>
                    <a:pt x="335" y="113"/>
                    <a:pt x="335" y="113"/>
                  </a:cubicBezTo>
                  <a:cubicBezTo>
                    <a:pt x="334" y="113"/>
                    <a:pt x="334" y="113"/>
                    <a:pt x="333" y="112"/>
                  </a:cubicBezTo>
                  <a:cubicBezTo>
                    <a:pt x="333" y="111"/>
                    <a:pt x="333" y="111"/>
                    <a:pt x="333" y="111"/>
                  </a:cubicBezTo>
                  <a:cubicBezTo>
                    <a:pt x="332" y="111"/>
                    <a:pt x="332" y="110"/>
                    <a:pt x="332" y="110"/>
                  </a:cubicBezTo>
                  <a:cubicBezTo>
                    <a:pt x="332" y="108"/>
                    <a:pt x="332" y="107"/>
                    <a:pt x="332" y="106"/>
                  </a:cubicBezTo>
                  <a:cubicBezTo>
                    <a:pt x="332" y="104"/>
                    <a:pt x="332" y="104"/>
                    <a:pt x="332" y="104"/>
                  </a:cubicBezTo>
                  <a:cubicBezTo>
                    <a:pt x="332" y="104"/>
                    <a:pt x="332" y="104"/>
                    <a:pt x="332" y="104"/>
                  </a:cubicBezTo>
                  <a:cubicBezTo>
                    <a:pt x="333" y="101"/>
                    <a:pt x="335" y="97"/>
                    <a:pt x="336" y="96"/>
                  </a:cubicBezTo>
                  <a:cubicBezTo>
                    <a:pt x="339" y="91"/>
                    <a:pt x="342" y="88"/>
                    <a:pt x="346" y="84"/>
                  </a:cubicBezTo>
                  <a:cubicBezTo>
                    <a:pt x="347" y="83"/>
                    <a:pt x="348" y="83"/>
                    <a:pt x="350" y="83"/>
                  </a:cubicBezTo>
                  <a:cubicBezTo>
                    <a:pt x="350" y="83"/>
                    <a:pt x="351" y="83"/>
                    <a:pt x="352" y="83"/>
                  </a:cubicBezTo>
                  <a:cubicBezTo>
                    <a:pt x="354" y="84"/>
                    <a:pt x="354" y="84"/>
                    <a:pt x="354" y="84"/>
                  </a:cubicBezTo>
                  <a:cubicBezTo>
                    <a:pt x="355" y="85"/>
                    <a:pt x="357" y="86"/>
                    <a:pt x="358" y="87"/>
                  </a:cubicBezTo>
                  <a:cubicBezTo>
                    <a:pt x="360" y="87"/>
                    <a:pt x="360" y="87"/>
                    <a:pt x="360" y="87"/>
                  </a:cubicBezTo>
                  <a:cubicBezTo>
                    <a:pt x="360" y="85"/>
                    <a:pt x="360" y="85"/>
                    <a:pt x="360" y="85"/>
                  </a:cubicBezTo>
                  <a:cubicBezTo>
                    <a:pt x="360" y="84"/>
                    <a:pt x="361" y="83"/>
                    <a:pt x="361" y="83"/>
                  </a:cubicBezTo>
                  <a:cubicBezTo>
                    <a:pt x="361" y="82"/>
                    <a:pt x="360" y="81"/>
                    <a:pt x="360" y="80"/>
                  </a:cubicBezTo>
                  <a:cubicBezTo>
                    <a:pt x="360" y="80"/>
                    <a:pt x="360" y="80"/>
                    <a:pt x="360" y="80"/>
                  </a:cubicBezTo>
                  <a:cubicBezTo>
                    <a:pt x="360" y="79"/>
                    <a:pt x="360" y="77"/>
                    <a:pt x="360" y="76"/>
                  </a:cubicBezTo>
                  <a:cubicBezTo>
                    <a:pt x="361" y="74"/>
                    <a:pt x="361" y="74"/>
                    <a:pt x="361" y="74"/>
                  </a:cubicBezTo>
                  <a:cubicBezTo>
                    <a:pt x="361" y="73"/>
                    <a:pt x="361" y="72"/>
                    <a:pt x="361" y="72"/>
                  </a:cubicBezTo>
                  <a:cubicBezTo>
                    <a:pt x="361" y="67"/>
                    <a:pt x="360" y="62"/>
                    <a:pt x="360" y="57"/>
                  </a:cubicBezTo>
                  <a:cubicBezTo>
                    <a:pt x="359" y="53"/>
                    <a:pt x="359" y="53"/>
                    <a:pt x="359" y="53"/>
                  </a:cubicBezTo>
                  <a:cubicBezTo>
                    <a:pt x="359" y="49"/>
                    <a:pt x="359" y="44"/>
                    <a:pt x="358" y="42"/>
                  </a:cubicBezTo>
                  <a:cubicBezTo>
                    <a:pt x="352" y="33"/>
                    <a:pt x="352" y="33"/>
                    <a:pt x="352" y="33"/>
                  </a:cubicBezTo>
                  <a:cubicBezTo>
                    <a:pt x="350" y="30"/>
                    <a:pt x="350" y="28"/>
                    <a:pt x="350" y="25"/>
                  </a:cubicBezTo>
                  <a:cubicBezTo>
                    <a:pt x="347" y="25"/>
                    <a:pt x="347" y="25"/>
                    <a:pt x="347" y="25"/>
                  </a:cubicBezTo>
                  <a:cubicBezTo>
                    <a:pt x="350" y="24"/>
                    <a:pt x="350" y="24"/>
                    <a:pt x="350" y="24"/>
                  </a:cubicBezTo>
                  <a:cubicBezTo>
                    <a:pt x="350" y="24"/>
                    <a:pt x="350" y="24"/>
                    <a:pt x="350" y="24"/>
                  </a:cubicBezTo>
                  <a:cubicBezTo>
                    <a:pt x="350" y="23"/>
                    <a:pt x="350" y="22"/>
                    <a:pt x="349" y="21"/>
                  </a:cubicBezTo>
                  <a:cubicBezTo>
                    <a:pt x="349" y="18"/>
                    <a:pt x="348" y="15"/>
                    <a:pt x="347" y="12"/>
                  </a:cubicBezTo>
                  <a:cubicBezTo>
                    <a:pt x="346" y="10"/>
                    <a:pt x="345" y="8"/>
                    <a:pt x="345" y="6"/>
                  </a:cubicBezTo>
                  <a:cubicBezTo>
                    <a:pt x="344" y="5"/>
                    <a:pt x="344" y="5"/>
                    <a:pt x="344" y="5"/>
                  </a:cubicBezTo>
                  <a:cubicBezTo>
                    <a:pt x="344" y="5"/>
                    <a:pt x="344" y="5"/>
                    <a:pt x="344" y="5"/>
                  </a:cubicBezTo>
                  <a:cubicBezTo>
                    <a:pt x="342" y="3"/>
                    <a:pt x="340" y="3"/>
                    <a:pt x="337" y="3"/>
                  </a:cubicBezTo>
                  <a:cubicBezTo>
                    <a:pt x="336" y="2"/>
                    <a:pt x="336" y="2"/>
                    <a:pt x="336" y="2"/>
                  </a:cubicBezTo>
                  <a:cubicBezTo>
                    <a:pt x="329" y="1"/>
                    <a:pt x="321" y="1"/>
                    <a:pt x="313" y="1"/>
                  </a:cubicBezTo>
                  <a:cubicBezTo>
                    <a:pt x="310" y="0"/>
                    <a:pt x="310" y="0"/>
                    <a:pt x="310" y="0"/>
                  </a:cubicBezTo>
                  <a:cubicBezTo>
                    <a:pt x="307" y="0"/>
                    <a:pt x="305" y="0"/>
                    <a:pt x="302" y="0"/>
                  </a:cubicBezTo>
                  <a:cubicBezTo>
                    <a:pt x="302" y="0"/>
                    <a:pt x="302" y="0"/>
                    <a:pt x="302" y="0"/>
                  </a:cubicBezTo>
                  <a:cubicBezTo>
                    <a:pt x="301" y="0"/>
                    <a:pt x="301" y="0"/>
                    <a:pt x="301" y="0"/>
                  </a:cubicBezTo>
                  <a:cubicBezTo>
                    <a:pt x="300" y="0"/>
                    <a:pt x="300" y="0"/>
                    <a:pt x="3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0" name="Freeform 309">
              <a:extLst>
                <a:ext uri="{FF2B5EF4-FFF2-40B4-BE49-F238E27FC236}">
                  <a16:creationId xmlns:a16="http://schemas.microsoft.com/office/drawing/2014/main" id="{8459115D-B2D9-4C20-95F5-0D981947F77C}"/>
                </a:ext>
              </a:extLst>
            </p:cNvPr>
            <p:cNvSpPr>
              <a:spLocks/>
            </p:cNvSpPr>
            <p:nvPr/>
          </p:nvSpPr>
          <p:spPr bwMode="auto">
            <a:xfrm>
              <a:off x="5348" y="3344"/>
              <a:ext cx="586" cy="933"/>
            </a:xfrm>
            <a:custGeom>
              <a:avLst/>
              <a:gdLst>
                <a:gd name="T0" fmla="*/ 209 w 248"/>
                <a:gd name="T1" fmla="*/ 17 h 395"/>
                <a:gd name="T2" fmla="*/ 194 w 248"/>
                <a:gd name="T3" fmla="*/ 23 h 395"/>
                <a:gd name="T4" fmla="*/ 180 w 248"/>
                <a:gd name="T5" fmla="*/ 21 h 395"/>
                <a:gd name="T6" fmla="*/ 170 w 248"/>
                <a:gd name="T7" fmla="*/ 29 h 395"/>
                <a:gd name="T8" fmla="*/ 156 w 248"/>
                <a:gd name="T9" fmla="*/ 28 h 395"/>
                <a:gd name="T10" fmla="*/ 136 w 248"/>
                <a:gd name="T11" fmla="*/ 27 h 395"/>
                <a:gd name="T12" fmla="*/ 128 w 248"/>
                <a:gd name="T13" fmla="*/ 25 h 395"/>
                <a:gd name="T14" fmla="*/ 107 w 248"/>
                <a:gd name="T15" fmla="*/ 26 h 395"/>
                <a:gd name="T16" fmla="*/ 102 w 248"/>
                <a:gd name="T17" fmla="*/ 53 h 395"/>
                <a:gd name="T18" fmla="*/ 104 w 248"/>
                <a:gd name="T19" fmla="*/ 68 h 395"/>
                <a:gd name="T20" fmla="*/ 127 w 248"/>
                <a:gd name="T21" fmla="*/ 90 h 395"/>
                <a:gd name="T22" fmla="*/ 133 w 248"/>
                <a:gd name="T23" fmla="*/ 107 h 395"/>
                <a:gd name="T24" fmla="*/ 133 w 248"/>
                <a:gd name="T25" fmla="*/ 118 h 395"/>
                <a:gd name="T26" fmla="*/ 125 w 248"/>
                <a:gd name="T27" fmla="*/ 136 h 395"/>
                <a:gd name="T28" fmla="*/ 120 w 248"/>
                <a:gd name="T29" fmla="*/ 137 h 395"/>
                <a:gd name="T30" fmla="*/ 117 w 248"/>
                <a:gd name="T31" fmla="*/ 146 h 395"/>
                <a:gd name="T32" fmla="*/ 107 w 248"/>
                <a:gd name="T33" fmla="*/ 151 h 395"/>
                <a:gd name="T34" fmla="*/ 96 w 248"/>
                <a:gd name="T35" fmla="*/ 140 h 395"/>
                <a:gd name="T36" fmla="*/ 90 w 248"/>
                <a:gd name="T37" fmla="*/ 127 h 395"/>
                <a:gd name="T38" fmla="*/ 95 w 248"/>
                <a:gd name="T39" fmla="*/ 112 h 395"/>
                <a:gd name="T40" fmla="*/ 94 w 248"/>
                <a:gd name="T41" fmla="*/ 97 h 395"/>
                <a:gd name="T42" fmla="*/ 79 w 248"/>
                <a:gd name="T43" fmla="*/ 98 h 395"/>
                <a:gd name="T44" fmla="*/ 74 w 248"/>
                <a:gd name="T45" fmla="*/ 95 h 395"/>
                <a:gd name="T46" fmla="*/ 3 w 248"/>
                <a:gd name="T47" fmla="*/ 116 h 395"/>
                <a:gd name="T48" fmla="*/ 5 w 248"/>
                <a:gd name="T49" fmla="*/ 121 h 395"/>
                <a:gd name="T50" fmla="*/ 6 w 248"/>
                <a:gd name="T51" fmla="*/ 128 h 395"/>
                <a:gd name="T52" fmla="*/ 43 w 248"/>
                <a:gd name="T53" fmla="*/ 138 h 395"/>
                <a:gd name="T54" fmla="*/ 62 w 248"/>
                <a:gd name="T55" fmla="*/ 145 h 395"/>
                <a:gd name="T56" fmla="*/ 65 w 248"/>
                <a:gd name="T57" fmla="*/ 149 h 395"/>
                <a:gd name="T58" fmla="*/ 64 w 248"/>
                <a:gd name="T59" fmla="*/ 153 h 395"/>
                <a:gd name="T60" fmla="*/ 66 w 248"/>
                <a:gd name="T61" fmla="*/ 185 h 395"/>
                <a:gd name="T62" fmla="*/ 63 w 248"/>
                <a:gd name="T63" fmla="*/ 193 h 395"/>
                <a:gd name="T64" fmla="*/ 59 w 248"/>
                <a:gd name="T65" fmla="*/ 200 h 395"/>
                <a:gd name="T66" fmla="*/ 62 w 248"/>
                <a:gd name="T67" fmla="*/ 217 h 395"/>
                <a:gd name="T68" fmla="*/ 66 w 248"/>
                <a:gd name="T69" fmla="*/ 227 h 395"/>
                <a:gd name="T70" fmla="*/ 54 w 248"/>
                <a:gd name="T71" fmla="*/ 243 h 395"/>
                <a:gd name="T72" fmla="*/ 52 w 248"/>
                <a:gd name="T73" fmla="*/ 257 h 395"/>
                <a:gd name="T74" fmla="*/ 38 w 248"/>
                <a:gd name="T75" fmla="*/ 275 h 395"/>
                <a:gd name="T76" fmla="*/ 26 w 248"/>
                <a:gd name="T77" fmla="*/ 289 h 395"/>
                <a:gd name="T78" fmla="*/ 35 w 248"/>
                <a:gd name="T79" fmla="*/ 307 h 395"/>
                <a:gd name="T80" fmla="*/ 41 w 248"/>
                <a:gd name="T81" fmla="*/ 336 h 395"/>
                <a:gd name="T82" fmla="*/ 42 w 248"/>
                <a:gd name="T83" fmla="*/ 364 h 395"/>
                <a:gd name="T84" fmla="*/ 43 w 248"/>
                <a:gd name="T85" fmla="*/ 374 h 395"/>
                <a:gd name="T86" fmla="*/ 45 w 248"/>
                <a:gd name="T87" fmla="*/ 395 h 395"/>
                <a:gd name="T88" fmla="*/ 58 w 248"/>
                <a:gd name="T89" fmla="*/ 395 h 395"/>
                <a:gd name="T90" fmla="*/ 50 w 248"/>
                <a:gd name="T91" fmla="*/ 376 h 395"/>
                <a:gd name="T92" fmla="*/ 57 w 248"/>
                <a:gd name="T93" fmla="*/ 370 h 395"/>
                <a:gd name="T94" fmla="*/ 122 w 248"/>
                <a:gd name="T95" fmla="*/ 321 h 395"/>
                <a:gd name="T96" fmla="*/ 119 w 248"/>
                <a:gd name="T97" fmla="*/ 320 h 395"/>
                <a:gd name="T98" fmla="*/ 120 w 248"/>
                <a:gd name="T99" fmla="*/ 282 h 395"/>
                <a:gd name="T100" fmla="*/ 111 w 248"/>
                <a:gd name="T101" fmla="*/ 253 h 395"/>
                <a:gd name="T102" fmla="*/ 102 w 248"/>
                <a:gd name="T103" fmla="*/ 231 h 395"/>
                <a:gd name="T104" fmla="*/ 99 w 248"/>
                <a:gd name="T105" fmla="*/ 217 h 395"/>
                <a:gd name="T106" fmla="*/ 113 w 248"/>
                <a:gd name="T107" fmla="*/ 220 h 395"/>
                <a:gd name="T108" fmla="*/ 131 w 248"/>
                <a:gd name="T109" fmla="*/ 202 h 395"/>
                <a:gd name="T110" fmla="*/ 143 w 248"/>
                <a:gd name="T111" fmla="*/ 197 h 395"/>
                <a:gd name="T112" fmla="*/ 155 w 248"/>
                <a:gd name="T113" fmla="*/ 177 h 395"/>
                <a:gd name="T114" fmla="*/ 205 w 248"/>
                <a:gd name="T115" fmla="*/ 152 h 395"/>
                <a:gd name="T116" fmla="*/ 247 w 248"/>
                <a:gd name="T117" fmla="*/ 101 h 395"/>
                <a:gd name="T118" fmla="*/ 243 w 248"/>
                <a:gd name="T119" fmla="*/ 87 h 395"/>
                <a:gd name="T120" fmla="*/ 241 w 248"/>
                <a:gd name="T121" fmla="*/ 60 h 395"/>
                <a:gd name="T122" fmla="*/ 238 w 248"/>
                <a:gd name="T123" fmla="*/ 56 h 395"/>
                <a:gd name="T124" fmla="*/ 236 w 248"/>
                <a:gd name="T125"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 h="395">
                  <a:moveTo>
                    <a:pt x="240" y="0"/>
                  </a:moveTo>
                  <a:cubicBezTo>
                    <a:pt x="239" y="0"/>
                    <a:pt x="239" y="0"/>
                    <a:pt x="239" y="1"/>
                  </a:cubicBezTo>
                  <a:cubicBezTo>
                    <a:pt x="233" y="5"/>
                    <a:pt x="233" y="5"/>
                    <a:pt x="233" y="5"/>
                  </a:cubicBezTo>
                  <a:cubicBezTo>
                    <a:pt x="227" y="9"/>
                    <a:pt x="220" y="14"/>
                    <a:pt x="213" y="16"/>
                  </a:cubicBezTo>
                  <a:cubicBezTo>
                    <a:pt x="212" y="17"/>
                    <a:pt x="210" y="17"/>
                    <a:pt x="209" y="17"/>
                  </a:cubicBezTo>
                  <a:cubicBezTo>
                    <a:pt x="208" y="17"/>
                    <a:pt x="207" y="17"/>
                    <a:pt x="207" y="17"/>
                  </a:cubicBezTo>
                  <a:cubicBezTo>
                    <a:pt x="206" y="17"/>
                    <a:pt x="206" y="17"/>
                    <a:pt x="206" y="17"/>
                  </a:cubicBezTo>
                  <a:cubicBezTo>
                    <a:pt x="203" y="17"/>
                    <a:pt x="201" y="18"/>
                    <a:pt x="198" y="20"/>
                  </a:cubicBezTo>
                  <a:cubicBezTo>
                    <a:pt x="195" y="22"/>
                    <a:pt x="195" y="22"/>
                    <a:pt x="195" y="22"/>
                  </a:cubicBezTo>
                  <a:cubicBezTo>
                    <a:pt x="195" y="22"/>
                    <a:pt x="194" y="22"/>
                    <a:pt x="194" y="23"/>
                  </a:cubicBezTo>
                  <a:cubicBezTo>
                    <a:pt x="193" y="23"/>
                    <a:pt x="192" y="23"/>
                    <a:pt x="192" y="23"/>
                  </a:cubicBezTo>
                  <a:cubicBezTo>
                    <a:pt x="190" y="23"/>
                    <a:pt x="187" y="22"/>
                    <a:pt x="184" y="20"/>
                  </a:cubicBezTo>
                  <a:cubicBezTo>
                    <a:pt x="184" y="20"/>
                    <a:pt x="183" y="20"/>
                    <a:pt x="183" y="20"/>
                  </a:cubicBezTo>
                  <a:cubicBezTo>
                    <a:pt x="182" y="20"/>
                    <a:pt x="181" y="20"/>
                    <a:pt x="180" y="21"/>
                  </a:cubicBezTo>
                  <a:cubicBezTo>
                    <a:pt x="180" y="21"/>
                    <a:pt x="180" y="21"/>
                    <a:pt x="180" y="21"/>
                  </a:cubicBezTo>
                  <a:cubicBezTo>
                    <a:pt x="179" y="21"/>
                    <a:pt x="179" y="22"/>
                    <a:pt x="179" y="22"/>
                  </a:cubicBezTo>
                  <a:cubicBezTo>
                    <a:pt x="179" y="23"/>
                    <a:pt x="179" y="23"/>
                    <a:pt x="178" y="23"/>
                  </a:cubicBezTo>
                  <a:cubicBezTo>
                    <a:pt x="178" y="24"/>
                    <a:pt x="178" y="25"/>
                    <a:pt x="177" y="26"/>
                  </a:cubicBezTo>
                  <a:cubicBezTo>
                    <a:pt x="176" y="26"/>
                    <a:pt x="176" y="26"/>
                    <a:pt x="176" y="26"/>
                  </a:cubicBezTo>
                  <a:cubicBezTo>
                    <a:pt x="175" y="28"/>
                    <a:pt x="172" y="29"/>
                    <a:pt x="170" y="29"/>
                  </a:cubicBezTo>
                  <a:cubicBezTo>
                    <a:pt x="170" y="30"/>
                    <a:pt x="169" y="30"/>
                    <a:pt x="167" y="30"/>
                  </a:cubicBezTo>
                  <a:cubicBezTo>
                    <a:pt x="167" y="30"/>
                    <a:pt x="167" y="30"/>
                    <a:pt x="167" y="30"/>
                  </a:cubicBezTo>
                  <a:cubicBezTo>
                    <a:pt x="165" y="30"/>
                    <a:pt x="164" y="29"/>
                    <a:pt x="162" y="29"/>
                  </a:cubicBezTo>
                  <a:cubicBezTo>
                    <a:pt x="160" y="28"/>
                    <a:pt x="159" y="27"/>
                    <a:pt x="157" y="27"/>
                  </a:cubicBezTo>
                  <a:cubicBezTo>
                    <a:pt x="157" y="27"/>
                    <a:pt x="156" y="27"/>
                    <a:pt x="156" y="28"/>
                  </a:cubicBezTo>
                  <a:cubicBezTo>
                    <a:pt x="155" y="28"/>
                    <a:pt x="154" y="28"/>
                    <a:pt x="154" y="28"/>
                  </a:cubicBezTo>
                  <a:cubicBezTo>
                    <a:pt x="153" y="29"/>
                    <a:pt x="153" y="29"/>
                    <a:pt x="153" y="29"/>
                  </a:cubicBezTo>
                  <a:cubicBezTo>
                    <a:pt x="152" y="29"/>
                    <a:pt x="151" y="30"/>
                    <a:pt x="149" y="30"/>
                  </a:cubicBezTo>
                  <a:cubicBezTo>
                    <a:pt x="148" y="30"/>
                    <a:pt x="148" y="31"/>
                    <a:pt x="147" y="31"/>
                  </a:cubicBezTo>
                  <a:cubicBezTo>
                    <a:pt x="143" y="31"/>
                    <a:pt x="138" y="28"/>
                    <a:pt x="136" y="27"/>
                  </a:cubicBezTo>
                  <a:cubicBezTo>
                    <a:pt x="134" y="26"/>
                    <a:pt x="134" y="26"/>
                    <a:pt x="134" y="26"/>
                  </a:cubicBezTo>
                  <a:cubicBezTo>
                    <a:pt x="133" y="26"/>
                    <a:pt x="133" y="26"/>
                    <a:pt x="133" y="26"/>
                  </a:cubicBezTo>
                  <a:cubicBezTo>
                    <a:pt x="132" y="25"/>
                    <a:pt x="132" y="25"/>
                    <a:pt x="131" y="25"/>
                  </a:cubicBezTo>
                  <a:cubicBezTo>
                    <a:pt x="131" y="24"/>
                    <a:pt x="130" y="24"/>
                    <a:pt x="130" y="24"/>
                  </a:cubicBezTo>
                  <a:cubicBezTo>
                    <a:pt x="130" y="24"/>
                    <a:pt x="129" y="24"/>
                    <a:pt x="128" y="25"/>
                  </a:cubicBezTo>
                  <a:cubicBezTo>
                    <a:pt x="127" y="26"/>
                    <a:pt x="127" y="26"/>
                    <a:pt x="127" y="26"/>
                  </a:cubicBezTo>
                  <a:cubicBezTo>
                    <a:pt x="127" y="26"/>
                    <a:pt x="126" y="27"/>
                    <a:pt x="125" y="27"/>
                  </a:cubicBezTo>
                  <a:cubicBezTo>
                    <a:pt x="124" y="28"/>
                    <a:pt x="123" y="28"/>
                    <a:pt x="121" y="28"/>
                  </a:cubicBezTo>
                  <a:cubicBezTo>
                    <a:pt x="117" y="28"/>
                    <a:pt x="110" y="27"/>
                    <a:pt x="107" y="26"/>
                  </a:cubicBezTo>
                  <a:cubicBezTo>
                    <a:pt x="107" y="26"/>
                    <a:pt x="107" y="26"/>
                    <a:pt x="107" y="26"/>
                  </a:cubicBezTo>
                  <a:cubicBezTo>
                    <a:pt x="106" y="27"/>
                    <a:pt x="106" y="27"/>
                    <a:pt x="106" y="27"/>
                  </a:cubicBezTo>
                  <a:cubicBezTo>
                    <a:pt x="106" y="30"/>
                    <a:pt x="106" y="33"/>
                    <a:pt x="104" y="35"/>
                  </a:cubicBezTo>
                  <a:cubicBezTo>
                    <a:pt x="104" y="36"/>
                    <a:pt x="104" y="36"/>
                    <a:pt x="104" y="36"/>
                  </a:cubicBezTo>
                  <a:cubicBezTo>
                    <a:pt x="102" y="40"/>
                    <a:pt x="100" y="42"/>
                    <a:pt x="102" y="47"/>
                  </a:cubicBezTo>
                  <a:cubicBezTo>
                    <a:pt x="102" y="49"/>
                    <a:pt x="102" y="51"/>
                    <a:pt x="102" y="53"/>
                  </a:cubicBezTo>
                  <a:cubicBezTo>
                    <a:pt x="102" y="55"/>
                    <a:pt x="102" y="57"/>
                    <a:pt x="103" y="58"/>
                  </a:cubicBezTo>
                  <a:cubicBezTo>
                    <a:pt x="103" y="60"/>
                    <a:pt x="103" y="60"/>
                    <a:pt x="103" y="60"/>
                  </a:cubicBezTo>
                  <a:cubicBezTo>
                    <a:pt x="103" y="62"/>
                    <a:pt x="104" y="64"/>
                    <a:pt x="104" y="66"/>
                  </a:cubicBezTo>
                  <a:cubicBezTo>
                    <a:pt x="104" y="67"/>
                    <a:pt x="104" y="67"/>
                    <a:pt x="104" y="68"/>
                  </a:cubicBezTo>
                  <a:cubicBezTo>
                    <a:pt x="104" y="68"/>
                    <a:pt x="104" y="68"/>
                    <a:pt x="104" y="68"/>
                  </a:cubicBezTo>
                  <a:cubicBezTo>
                    <a:pt x="106" y="66"/>
                    <a:pt x="106" y="66"/>
                    <a:pt x="106" y="66"/>
                  </a:cubicBezTo>
                  <a:cubicBezTo>
                    <a:pt x="108" y="68"/>
                    <a:pt x="108" y="68"/>
                    <a:pt x="108" y="68"/>
                  </a:cubicBezTo>
                  <a:cubicBezTo>
                    <a:pt x="110" y="69"/>
                    <a:pt x="112" y="71"/>
                    <a:pt x="113" y="72"/>
                  </a:cubicBezTo>
                  <a:cubicBezTo>
                    <a:pt x="113" y="72"/>
                    <a:pt x="113" y="72"/>
                    <a:pt x="113" y="72"/>
                  </a:cubicBezTo>
                  <a:cubicBezTo>
                    <a:pt x="127" y="90"/>
                    <a:pt x="127" y="90"/>
                    <a:pt x="127" y="90"/>
                  </a:cubicBezTo>
                  <a:cubicBezTo>
                    <a:pt x="131" y="87"/>
                    <a:pt x="131" y="87"/>
                    <a:pt x="131" y="87"/>
                  </a:cubicBezTo>
                  <a:cubicBezTo>
                    <a:pt x="128" y="91"/>
                    <a:pt x="128" y="91"/>
                    <a:pt x="128" y="91"/>
                  </a:cubicBezTo>
                  <a:cubicBezTo>
                    <a:pt x="129" y="92"/>
                    <a:pt x="129" y="92"/>
                    <a:pt x="129" y="92"/>
                  </a:cubicBezTo>
                  <a:cubicBezTo>
                    <a:pt x="131" y="95"/>
                    <a:pt x="133" y="97"/>
                    <a:pt x="133" y="102"/>
                  </a:cubicBezTo>
                  <a:cubicBezTo>
                    <a:pt x="133" y="104"/>
                    <a:pt x="133" y="106"/>
                    <a:pt x="133" y="107"/>
                  </a:cubicBezTo>
                  <a:cubicBezTo>
                    <a:pt x="133" y="109"/>
                    <a:pt x="133" y="109"/>
                    <a:pt x="133" y="109"/>
                  </a:cubicBezTo>
                  <a:cubicBezTo>
                    <a:pt x="132" y="110"/>
                    <a:pt x="132" y="110"/>
                    <a:pt x="132" y="111"/>
                  </a:cubicBezTo>
                  <a:cubicBezTo>
                    <a:pt x="132" y="112"/>
                    <a:pt x="132" y="112"/>
                    <a:pt x="132" y="112"/>
                  </a:cubicBezTo>
                  <a:cubicBezTo>
                    <a:pt x="132" y="113"/>
                    <a:pt x="132" y="113"/>
                    <a:pt x="132" y="114"/>
                  </a:cubicBezTo>
                  <a:cubicBezTo>
                    <a:pt x="133" y="115"/>
                    <a:pt x="133" y="116"/>
                    <a:pt x="133" y="118"/>
                  </a:cubicBezTo>
                  <a:cubicBezTo>
                    <a:pt x="133" y="119"/>
                    <a:pt x="133" y="119"/>
                    <a:pt x="133" y="120"/>
                  </a:cubicBezTo>
                  <a:cubicBezTo>
                    <a:pt x="132" y="129"/>
                    <a:pt x="132" y="129"/>
                    <a:pt x="132" y="129"/>
                  </a:cubicBezTo>
                  <a:cubicBezTo>
                    <a:pt x="132" y="131"/>
                    <a:pt x="130" y="133"/>
                    <a:pt x="128" y="135"/>
                  </a:cubicBezTo>
                  <a:cubicBezTo>
                    <a:pt x="127" y="135"/>
                    <a:pt x="126" y="136"/>
                    <a:pt x="125" y="136"/>
                  </a:cubicBezTo>
                  <a:cubicBezTo>
                    <a:pt x="125" y="136"/>
                    <a:pt x="125" y="136"/>
                    <a:pt x="125" y="136"/>
                  </a:cubicBezTo>
                  <a:cubicBezTo>
                    <a:pt x="125" y="136"/>
                    <a:pt x="125" y="136"/>
                    <a:pt x="125" y="136"/>
                  </a:cubicBezTo>
                  <a:cubicBezTo>
                    <a:pt x="124" y="136"/>
                    <a:pt x="124" y="136"/>
                    <a:pt x="123" y="136"/>
                  </a:cubicBezTo>
                  <a:cubicBezTo>
                    <a:pt x="121" y="137"/>
                    <a:pt x="121" y="137"/>
                    <a:pt x="121" y="137"/>
                  </a:cubicBezTo>
                  <a:cubicBezTo>
                    <a:pt x="121" y="137"/>
                    <a:pt x="120" y="137"/>
                    <a:pt x="120" y="137"/>
                  </a:cubicBezTo>
                  <a:cubicBezTo>
                    <a:pt x="120" y="137"/>
                    <a:pt x="120" y="137"/>
                    <a:pt x="120" y="137"/>
                  </a:cubicBezTo>
                  <a:cubicBezTo>
                    <a:pt x="119" y="138"/>
                    <a:pt x="119" y="138"/>
                    <a:pt x="119" y="138"/>
                  </a:cubicBezTo>
                  <a:cubicBezTo>
                    <a:pt x="118" y="141"/>
                    <a:pt x="116" y="143"/>
                    <a:pt x="116" y="144"/>
                  </a:cubicBezTo>
                  <a:cubicBezTo>
                    <a:pt x="116" y="145"/>
                    <a:pt x="116" y="145"/>
                    <a:pt x="116" y="145"/>
                  </a:cubicBezTo>
                  <a:cubicBezTo>
                    <a:pt x="116" y="145"/>
                    <a:pt x="116" y="145"/>
                    <a:pt x="116" y="145"/>
                  </a:cubicBezTo>
                  <a:cubicBezTo>
                    <a:pt x="117" y="146"/>
                    <a:pt x="117" y="146"/>
                    <a:pt x="117" y="146"/>
                  </a:cubicBezTo>
                  <a:cubicBezTo>
                    <a:pt x="120" y="161"/>
                    <a:pt x="120" y="161"/>
                    <a:pt x="120" y="161"/>
                  </a:cubicBezTo>
                  <a:cubicBezTo>
                    <a:pt x="116" y="160"/>
                    <a:pt x="116" y="160"/>
                    <a:pt x="116" y="160"/>
                  </a:cubicBezTo>
                  <a:cubicBezTo>
                    <a:pt x="111" y="160"/>
                    <a:pt x="109" y="158"/>
                    <a:pt x="108" y="154"/>
                  </a:cubicBezTo>
                  <a:cubicBezTo>
                    <a:pt x="108" y="153"/>
                    <a:pt x="108" y="153"/>
                    <a:pt x="108" y="153"/>
                  </a:cubicBezTo>
                  <a:cubicBezTo>
                    <a:pt x="108" y="152"/>
                    <a:pt x="108" y="151"/>
                    <a:pt x="107" y="151"/>
                  </a:cubicBezTo>
                  <a:cubicBezTo>
                    <a:pt x="107" y="150"/>
                    <a:pt x="107" y="150"/>
                    <a:pt x="107" y="150"/>
                  </a:cubicBezTo>
                  <a:cubicBezTo>
                    <a:pt x="107" y="150"/>
                    <a:pt x="105" y="148"/>
                    <a:pt x="104" y="148"/>
                  </a:cubicBezTo>
                  <a:cubicBezTo>
                    <a:pt x="104" y="147"/>
                    <a:pt x="103" y="147"/>
                    <a:pt x="103" y="147"/>
                  </a:cubicBezTo>
                  <a:cubicBezTo>
                    <a:pt x="101" y="144"/>
                    <a:pt x="101" y="144"/>
                    <a:pt x="101" y="144"/>
                  </a:cubicBezTo>
                  <a:cubicBezTo>
                    <a:pt x="99" y="143"/>
                    <a:pt x="97" y="141"/>
                    <a:pt x="96" y="140"/>
                  </a:cubicBezTo>
                  <a:cubicBezTo>
                    <a:pt x="95" y="139"/>
                    <a:pt x="95" y="139"/>
                    <a:pt x="95" y="139"/>
                  </a:cubicBezTo>
                  <a:cubicBezTo>
                    <a:pt x="94" y="138"/>
                    <a:pt x="94" y="138"/>
                    <a:pt x="94" y="138"/>
                  </a:cubicBezTo>
                  <a:cubicBezTo>
                    <a:pt x="94" y="138"/>
                    <a:pt x="94" y="137"/>
                    <a:pt x="94" y="137"/>
                  </a:cubicBezTo>
                  <a:cubicBezTo>
                    <a:pt x="93" y="136"/>
                    <a:pt x="93" y="136"/>
                    <a:pt x="93" y="136"/>
                  </a:cubicBezTo>
                  <a:cubicBezTo>
                    <a:pt x="92" y="134"/>
                    <a:pt x="90" y="130"/>
                    <a:pt x="90" y="127"/>
                  </a:cubicBezTo>
                  <a:cubicBezTo>
                    <a:pt x="90" y="125"/>
                    <a:pt x="91" y="123"/>
                    <a:pt x="92" y="122"/>
                  </a:cubicBezTo>
                  <a:cubicBezTo>
                    <a:pt x="93" y="121"/>
                    <a:pt x="94" y="118"/>
                    <a:pt x="95" y="117"/>
                  </a:cubicBezTo>
                  <a:cubicBezTo>
                    <a:pt x="95" y="116"/>
                    <a:pt x="95" y="116"/>
                    <a:pt x="95" y="116"/>
                  </a:cubicBezTo>
                  <a:cubicBezTo>
                    <a:pt x="95" y="115"/>
                    <a:pt x="95" y="115"/>
                    <a:pt x="95" y="114"/>
                  </a:cubicBezTo>
                  <a:cubicBezTo>
                    <a:pt x="95" y="112"/>
                    <a:pt x="95" y="112"/>
                    <a:pt x="95" y="112"/>
                  </a:cubicBezTo>
                  <a:cubicBezTo>
                    <a:pt x="96" y="112"/>
                    <a:pt x="96" y="112"/>
                    <a:pt x="96" y="112"/>
                  </a:cubicBezTo>
                  <a:cubicBezTo>
                    <a:pt x="97" y="110"/>
                    <a:pt x="98" y="108"/>
                    <a:pt x="98" y="107"/>
                  </a:cubicBezTo>
                  <a:cubicBezTo>
                    <a:pt x="98" y="107"/>
                    <a:pt x="98" y="107"/>
                    <a:pt x="98" y="107"/>
                  </a:cubicBezTo>
                  <a:cubicBezTo>
                    <a:pt x="97" y="105"/>
                    <a:pt x="97" y="105"/>
                    <a:pt x="97" y="105"/>
                  </a:cubicBezTo>
                  <a:cubicBezTo>
                    <a:pt x="97" y="102"/>
                    <a:pt x="95" y="100"/>
                    <a:pt x="94" y="97"/>
                  </a:cubicBezTo>
                  <a:cubicBezTo>
                    <a:pt x="94" y="96"/>
                    <a:pt x="94" y="96"/>
                    <a:pt x="94" y="96"/>
                  </a:cubicBezTo>
                  <a:cubicBezTo>
                    <a:pt x="94" y="96"/>
                    <a:pt x="94" y="95"/>
                    <a:pt x="93" y="95"/>
                  </a:cubicBezTo>
                  <a:cubicBezTo>
                    <a:pt x="92" y="95"/>
                    <a:pt x="90" y="96"/>
                    <a:pt x="89" y="96"/>
                  </a:cubicBezTo>
                  <a:cubicBezTo>
                    <a:pt x="88" y="96"/>
                    <a:pt x="88" y="96"/>
                    <a:pt x="88" y="96"/>
                  </a:cubicBezTo>
                  <a:cubicBezTo>
                    <a:pt x="79" y="98"/>
                    <a:pt x="79" y="98"/>
                    <a:pt x="79" y="98"/>
                  </a:cubicBezTo>
                  <a:cubicBezTo>
                    <a:pt x="78" y="98"/>
                    <a:pt x="78" y="98"/>
                    <a:pt x="78" y="98"/>
                  </a:cubicBezTo>
                  <a:cubicBezTo>
                    <a:pt x="77" y="98"/>
                    <a:pt x="77" y="98"/>
                    <a:pt x="76" y="98"/>
                  </a:cubicBezTo>
                  <a:cubicBezTo>
                    <a:pt x="75" y="97"/>
                    <a:pt x="75" y="97"/>
                    <a:pt x="75" y="97"/>
                  </a:cubicBezTo>
                  <a:cubicBezTo>
                    <a:pt x="75" y="96"/>
                    <a:pt x="74" y="96"/>
                    <a:pt x="74" y="95"/>
                  </a:cubicBezTo>
                  <a:cubicBezTo>
                    <a:pt x="74" y="95"/>
                    <a:pt x="74" y="95"/>
                    <a:pt x="74" y="95"/>
                  </a:cubicBezTo>
                  <a:cubicBezTo>
                    <a:pt x="72" y="92"/>
                    <a:pt x="70" y="89"/>
                    <a:pt x="68" y="87"/>
                  </a:cubicBezTo>
                  <a:cubicBezTo>
                    <a:pt x="67" y="86"/>
                    <a:pt x="67" y="86"/>
                    <a:pt x="67" y="86"/>
                  </a:cubicBezTo>
                  <a:cubicBezTo>
                    <a:pt x="67" y="86"/>
                    <a:pt x="67" y="86"/>
                    <a:pt x="67" y="86"/>
                  </a:cubicBezTo>
                  <a:cubicBezTo>
                    <a:pt x="0" y="108"/>
                    <a:pt x="0" y="108"/>
                    <a:pt x="0" y="108"/>
                  </a:cubicBezTo>
                  <a:cubicBezTo>
                    <a:pt x="1" y="110"/>
                    <a:pt x="2" y="114"/>
                    <a:pt x="3" y="116"/>
                  </a:cubicBezTo>
                  <a:cubicBezTo>
                    <a:pt x="3" y="117"/>
                    <a:pt x="4" y="117"/>
                    <a:pt x="4" y="118"/>
                  </a:cubicBezTo>
                  <a:cubicBezTo>
                    <a:pt x="4" y="118"/>
                    <a:pt x="4" y="118"/>
                    <a:pt x="4" y="118"/>
                  </a:cubicBezTo>
                  <a:cubicBezTo>
                    <a:pt x="4" y="119"/>
                    <a:pt x="4" y="119"/>
                    <a:pt x="4" y="119"/>
                  </a:cubicBezTo>
                  <a:cubicBezTo>
                    <a:pt x="5" y="120"/>
                    <a:pt x="5" y="120"/>
                    <a:pt x="5" y="120"/>
                  </a:cubicBezTo>
                  <a:cubicBezTo>
                    <a:pt x="5" y="121"/>
                    <a:pt x="5" y="121"/>
                    <a:pt x="5" y="121"/>
                  </a:cubicBezTo>
                  <a:cubicBezTo>
                    <a:pt x="5" y="122"/>
                    <a:pt x="5" y="122"/>
                    <a:pt x="5" y="122"/>
                  </a:cubicBezTo>
                  <a:cubicBezTo>
                    <a:pt x="5" y="123"/>
                    <a:pt x="5" y="123"/>
                    <a:pt x="5" y="124"/>
                  </a:cubicBezTo>
                  <a:cubicBezTo>
                    <a:pt x="5" y="126"/>
                    <a:pt x="5" y="126"/>
                    <a:pt x="5" y="127"/>
                  </a:cubicBezTo>
                  <a:cubicBezTo>
                    <a:pt x="5" y="127"/>
                    <a:pt x="5" y="127"/>
                    <a:pt x="5" y="127"/>
                  </a:cubicBezTo>
                  <a:cubicBezTo>
                    <a:pt x="6" y="128"/>
                    <a:pt x="6" y="128"/>
                    <a:pt x="6" y="128"/>
                  </a:cubicBezTo>
                  <a:cubicBezTo>
                    <a:pt x="6" y="128"/>
                    <a:pt x="8" y="128"/>
                    <a:pt x="11" y="128"/>
                  </a:cubicBezTo>
                  <a:cubicBezTo>
                    <a:pt x="12" y="128"/>
                    <a:pt x="13" y="128"/>
                    <a:pt x="13" y="128"/>
                  </a:cubicBezTo>
                  <a:cubicBezTo>
                    <a:pt x="14" y="128"/>
                    <a:pt x="15" y="128"/>
                    <a:pt x="15" y="128"/>
                  </a:cubicBezTo>
                  <a:cubicBezTo>
                    <a:pt x="17" y="128"/>
                    <a:pt x="18" y="129"/>
                    <a:pt x="20" y="129"/>
                  </a:cubicBezTo>
                  <a:cubicBezTo>
                    <a:pt x="43" y="138"/>
                    <a:pt x="43" y="138"/>
                    <a:pt x="43" y="138"/>
                  </a:cubicBezTo>
                  <a:cubicBezTo>
                    <a:pt x="44" y="139"/>
                    <a:pt x="46" y="140"/>
                    <a:pt x="47" y="141"/>
                  </a:cubicBezTo>
                  <a:cubicBezTo>
                    <a:pt x="52" y="143"/>
                    <a:pt x="56" y="144"/>
                    <a:pt x="60" y="144"/>
                  </a:cubicBezTo>
                  <a:cubicBezTo>
                    <a:pt x="60" y="144"/>
                    <a:pt x="60" y="144"/>
                    <a:pt x="60" y="144"/>
                  </a:cubicBezTo>
                  <a:cubicBezTo>
                    <a:pt x="61" y="145"/>
                    <a:pt x="61" y="145"/>
                    <a:pt x="61" y="145"/>
                  </a:cubicBezTo>
                  <a:cubicBezTo>
                    <a:pt x="61" y="145"/>
                    <a:pt x="62" y="145"/>
                    <a:pt x="62" y="145"/>
                  </a:cubicBezTo>
                  <a:cubicBezTo>
                    <a:pt x="62" y="145"/>
                    <a:pt x="63" y="145"/>
                    <a:pt x="63" y="145"/>
                  </a:cubicBezTo>
                  <a:cubicBezTo>
                    <a:pt x="64" y="146"/>
                    <a:pt x="64" y="146"/>
                    <a:pt x="64" y="146"/>
                  </a:cubicBezTo>
                  <a:cubicBezTo>
                    <a:pt x="65" y="146"/>
                    <a:pt x="65" y="147"/>
                    <a:pt x="65" y="148"/>
                  </a:cubicBezTo>
                  <a:cubicBezTo>
                    <a:pt x="65" y="148"/>
                    <a:pt x="65" y="148"/>
                    <a:pt x="65" y="148"/>
                  </a:cubicBezTo>
                  <a:cubicBezTo>
                    <a:pt x="65" y="149"/>
                    <a:pt x="65" y="149"/>
                    <a:pt x="65" y="149"/>
                  </a:cubicBezTo>
                  <a:cubicBezTo>
                    <a:pt x="65" y="149"/>
                    <a:pt x="65" y="149"/>
                    <a:pt x="65" y="149"/>
                  </a:cubicBezTo>
                  <a:cubicBezTo>
                    <a:pt x="64" y="150"/>
                    <a:pt x="64" y="150"/>
                    <a:pt x="64" y="150"/>
                  </a:cubicBezTo>
                  <a:cubicBezTo>
                    <a:pt x="64" y="151"/>
                    <a:pt x="64" y="151"/>
                    <a:pt x="64" y="151"/>
                  </a:cubicBezTo>
                  <a:cubicBezTo>
                    <a:pt x="64" y="152"/>
                    <a:pt x="64" y="152"/>
                    <a:pt x="64" y="152"/>
                  </a:cubicBezTo>
                  <a:cubicBezTo>
                    <a:pt x="64" y="153"/>
                    <a:pt x="64" y="153"/>
                    <a:pt x="64" y="153"/>
                  </a:cubicBezTo>
                  <a:cubicBezTo>
                    <a:pt x="64" y="153"/>
                    <a:pt x="64" y="154"/>
                    <a:pt x="65" y="155"/>
                  </a:cubicBezTo>
                  <a:cubicBezTo>
                    <a:pt x="65" y="156"/>
                    <a:pt x="65" y="157"/>
                    <a:pt x="65" y="158"/>
                  </a:cubicBezTo>
                  <a:cubicBezTo>
                    <a:pt x="66" y="162"/>
                    <a:pt x="66" y="165"/>
                    <a:pt x="66" y="169"/>
                  </a:cubicBezTo>
                  <a:cubicBezTo>
                    <a:pt x="66" y="171"/>
                    <a:pt x="66" y="172"/>
                    <a:pt x="66" y="174"/>
                  </a:cubicBezTo>
                  <a:cubicBezTo>
                    <a:pt x="66" y="178"/>
                    <a:pt x="66" y="182"/>
                    <a:pt x="66" y="185"/>
                  </a:cubicBezTo>
                  <a:cubicBezTo>
                    <a:pt x="67" y="186"/>
                    <a:pt x="67" y="186"/>
                    <a:pt x="67" y="186"/>
                  </a:cubicBezTo>
                  <a:cubicBezTo>
                    <a:pt x="66" y="187"/>
                    <a:pt x="66" y="187"/>
                    <a:pt x="66" y="187"/>
                  </a:cubicBezTo>
                  <a:cubicBezTo>
                    <a:pt x="66" y="189"/>
                    <a:pt x="65" y="190"/>
                    <a:pt x="64" y="191"/>
                  </a:cubicBezTo>
                  <a:cubicBezTo>
                    <a:pt x="63" y="192"/>
                    <a:pt x="63" y="192"/>
                    <a:pt x="63" y="192"/>
                  </a:cubicBezTo>
                  <a:cubicBezTo>
                    <a:pt x="63" y="193"/>
                    <a:pt x="63" y="193"/>
                    <a:pt x="63" y="193"/>
                  </a:cubicBezTo>
                  <a:cubicBezTo>
                    <a:pt x="63" y="193"/>
                    <a:pt x="63" y="193"/>
                    <a:pt x="62" y="194"/>
                  </a:cubicBezTo>
                  <a:cubicBezTo>
                    <a:pt x="61" y="194"/>
                    <a:pt x="61" y="194"/>
                    <a:pt x="61" y="194"/>
                  </a:cubicBezTo>
                  <a:cubicBezTo>
                    <a:pt x="62" y="194"/>
                    <a:pt x="62" y="194"/>
                    <a:pt x="62" y="194"/>
                  </a:cubicBezTo>
                  <a:cubicBezTo>
                    <a:pt x="62" y="197"/>
                    <a:pt x="61" y="198"/>
                    <a:pt x="60" y="200"/>
                  </a:cubicBezTo>
                  <a:cubicBezTo>
                    <a:pt x="59" y="200"/>
                    <a:pt x="59" y="200"/>
                    <a:pt x="59" y="200"/>
                  </a:cubicBezTo>
                  <a:cubicBezTo>
                    <a:pt x="60" y="200"/>
                    <a:pt x="60" y="200"/>
                    <a:pt x="60" y="200"/>
                  </a:cubicBezTo>
                  <a:cubicBezTo>
                    <a:pt x="60" y="201"/>
                    <a:pt x="61" y="201"/>
                    <a:pt x="61" y="202"/>
                  </a:cubicBezTo>
                  <a:cubicBezTo>
                    <a:pt x="61" y="202"/>
                    <a:pt x="62" y="203"/>
                    <a:pt x="62" y="203"/>
                  </a:cubicBezTo>
                  <a:cubicBezTo>
                    <a:pt x="63" y="206"/>
                    <a:pt x="62" y="209"/>
                    <a:pt x="62" y="212"/>
                  </a:cubicBezTo>
                  <a:cubicBezTo>
                    <a:pt x="62" y="214"/>
                    <a:pt x="62" y="215"/>
                    <a:pt x="62" y="217"/>
                  </a:cubicBezTo>
                  <a:cubicBezTo>
                    <a:pt x="62" y="217"/>
                    <a:pt x="62" y="217"/>
                    <a:pt x="62" y="217"/>
                  </a:cubicBezTo>
                  <a:cubicBezTo>
                    <a:pt x="63" y="217"/>
                    <a:pt x="63" y="217"/>
                    <a:pt x="64" y="217"/>
                  </a:cubicBezTo>
                  <a:cubicBezTo>
                    <a:pt x="64" y="218"/>
                    <a:pt x="64" y="218"/>
                    <a:pt x="64" y="218"/>
                  </a:cubicBezTo>
                  <a:cubicBezTo>
                    <a:pt x="66" y="220"/>
                    <a:pt x="66" y="220"/>
                    <a:pt x="66" y="220"/>
                  </a:cubicBezTo>
                  <a:cubicBezTo>
                    <a:pt x="67" y="223"/>
                    <a:pt x="67" y="224"/>
                    <a:pt x="66" y="227"/>
                  </a:cubicBezTo>
                  <a:cubicBezTo>
                    <a:pt x="65" y="229"/>
                    <a:pt x="64" y="232"/>
                    <a:pt x="63" y="234"/>
                  </a:cubicBezTo>
                  <a:cubicBezTo>
                    <a:pt x="61" y="237"/>
                    <a:pt x="59" y="240"/>
                    <a:pt x="58" y="241"/>
                  </a:cubicBezTo>
                  <a:cubicBezTo>
                    <a:pt x="57" y="242"/>
                    <a:pt x="56" y="243"/>
                    <a:pt x="56" y="243"/>
                  </a:cubicBezTo>
                  <a:cubicBezTo>
                    <a:pt x="55" y="243"/>
                    <a:pt x="55" y="243"/>
                    <a:pt x="55" y="243"/>
                  </a:cubicBezTo>
                  <a:cubicBezTo>
                    <a:pt x="54" y="243"/>
                    <a:pt x="54" y="243"/>
                    <a:pt x="54" y="243"/>
                  </a:cubicBezTo>
                  <a:cubicBezTo>
                    <a:pt x="53" y="244"/>
                    <a:pt x="53" y="247"/>
                    <a:pt x="53" y="248"/>
                  </a:cubicBezTo>
                  <a:cubicBezTo>
                    <a:pt x="52" y="248"/>
                    <a:pt x="52" y="249"/>
                    <a:pt x="52" y="249"/>
                  </a:cubicBezTo>
                  <a:cubicBezTo>
                    <a:pt x="52" y="250"/>
                    <a:pt x="52" y="250"/>
                    <a:pt x="52" y="250"/>
                  </a:cubicBezTo>
                  <a:cubicBezTo>
                    <a:pt x="52" y="251"/>
                    <a:pt x="51" y="253"/>
                    <a:pt x="51" y="255"/>
                  </a:cubicBezTo>
                  <a:cubicBezTo>
                    <a:pt x="51" y="255"/>
                    <a:pt x="52" y="257"/>
                    <a:pt x="52" y="257"/>
                  </a:cubicBezTo>
                  <a:cubicBezTo>
                    <a:pt x="56" y="264"/>
                    <a:pt x="56" y="264"/>
                    <a:pt x="56" y="264"/>
                  </a:cubicBezTo>
                  <a:cubicBezTo>
                    <a:pt x="49" y="263"/>
                    <a:pt x="49" y="263"/>
                    <a:pt x="49" y="263"/>
                  </a:cubicBezTo>
                  <a:cubicBezTo>
                    <a:pt x="49" y="263"/>
                    <a:pt x="48" y="264"/>
                    <a:pt x="48" y="264"/>
                  </a:cubicBezTo>
                  <a:cubicBezTo>
                    <a:pt x="45" y="267"/>
                    <a:pt x="42" y="271"/>
                    <a:pt x="40" y="272"/>
                  </a:cubicBezTo>
                  <a:cubicBezTo>
                    <a:pt x="39" y="273"/>
                    <a:pt x="39" y="274"/>
                    <a:pt x="38" y="275"/>
                  </a:cubicBezTo>
                  <a:cubicBezTo>
                    <a:pt x="29" y="285"/>
                    <a:pt x="29" y="285"/>
                    <a:pt x="29" y="285"/>
                  </a:cubicBezTo>
                  <a:cubicBezTo>
                    <a:pt x="28" y="285"/>
                    <a:pt x="28" y="285"/>
                    <a:pt x="28" y="285"/>
                  </a:cubicBezTo>
                  <a:cubicBezTo>
                    <a:pt x="27" y="286"/>
                    <a:pt x="27" y="286"/>
                    <a:pt x="26" y="287"/>
                  </a:cubicBezTo>
                  <a:cubicBezTo>
                    <a:pt x="26" y="287"/>
                    <a:pt x="26" y="287"/>
                    <a:pt x="26" y="287"/>
                  </a:cubicBezTo>
                  <a:cubicBezTo>
                    <a:pt x="26" y="289"/>
                    <a:pt x="26" y="289"/>
                    <a:pt x="26" y="289"/>
                  </a:cubicBezTo>
                  <a:cubicBezTo>
                    <a:pt x="27" y="290"/>
                    <a:pt x="27" y="291"/>
                    <a:pt x="28" y="293"/>
                  </a:cubicBezTo>
                  <a:cubicBezTo>
                    <a:pt x="28" y="294"/>
                    <a:pt x="28" y="294"/>
                    <a:pt x="28" y="294"/>
                  </a:cubicBezTo>
                  <a:cubicBezTo>
                    <a:pt x="29" y="297"/>
                    <a:pt x="31" y="301"/>
                    <a:pt x="31" y="304"/>
                  </a:cubicBezTo>
                  <a:cubicBezTo>
                    <a:pt x="31" y="305"/>
                    <a:pt x="31" y="306"/>
                    <a:pt x="32" y="307"/>
                  </a:cubicBezTo>
                  <a:cubicBezTo>
                    <a:pt x="35" y="307"/>
                    <a:pt x="35" y="307"/>
                    <a:pt x="35" y="307"/>
                  </a:cubicBezTo>
                  <a:cubicBezTo>
                    <a:pt x="32" y="308"/>
                    <a:pt x="32" y="308"/>
                    <a:pt x="32" y="308"/>
                  </a:cubicBezTo>
                  <a:cubicBezTo>
                    <a:pt x="32" y="308"/>
                    <a:pt x="32" y="308"/>
                    <a:pt x="32" y="308"/>
                  </a:cubicBezTo>
                  <a:cubicBezTo>
                    <a:pt x="31" y="311"/>
                    <a:pt x="31" y="312"/>
                    <a:pt x="33" y="314"/>
                  </a:cubicBezTo>
                  <a:cubicBezTo>
                    <a:pt x="38" y="323"/>
                    <a:pt x="38" y="323"/>
                    <a:pt x="38" y="323"/>
                  </a:cubicBezTo>
                  <a:cubicBezTo>
                    <a:pt x="41" y="326"/>
                    <a:pt x="41" y="332"/>
                    <a:pt x="41" y="336"/>
                  </a:cubicBezTo>
                  <a:cubicBezTo>
                    <a:pt x="41" y="340"/>
                    <a:pt x="41" y="340"/>
                    <a:pt x="41" y="340"/>
                  </a:cubicBezTo>
                  <a:cubicBezTo>
                    <a:pt x="42" y="345"/>
                    <a:pt x="42" y="351"/>
                    <a:pt x="42" y="356"/>
                  </a:cubicBezTo>
                  <a:cubicBezTo>
                    <a:pt x="42" y="357"/>
                    <a:pt x="42" y="358"/>
                    <a:pt x="42" y="359"/>
                  </a:cubicBezTo>
                  <a:cubicBezTo>
                    <a:pt x="42" y="360"/>
                    <a:pt x="42" y="360"/>
                    <a:pt x="42" y="360"/>
                  </a:cubicBezTo>
                  <a:cubicBezTo>
                    <a:pt x="42" y="361"/>
                    <a:pt x="42" y="363"/>
                    <a:pt x="42" y="364"/>
                  </a:cubicBezTo>
                  <a:cubicBezTo>
                    <a:pt x="42" y="365"/>
                    <a:pt x="42" y="365"/>
                    <a:pt x="42" y="366"/>
                  </a:cubicBezTo>
                  <a:cubicBezTo>
                    <a:pt x="43" y="367"/>
                    <a:pt x="42" y="369"/>
                    <a:pt x="42" y="371"/>
                  </a:cubicBezTo>
                  <a:cubicBezTo>
                    <a:pt x="42" y="371"/>
                    <a:pt x="42" y="371"/>
                    <a:pt x="42" y="371"/>
                  </a:cubicBezTo>
                  <a:cubicBezTo>
                    <a:pt x="42" y="372"/>
                    <a:pt x="42" y="372"/>
                    <a:pt x="42" y="373"/>
                  </a:cubicBezTo>
                  <a:cubicBezTo>
                    <a:pt x="42" y="373"/>
                    <a:pt x="42" y="373"/>
                    <a:pt x="43" y="374"/>
                  </a:cubicBezTo>
                  <a:cubicBezTo>
                    <a:pt x="43" y="374"/>
                    <a:pt x="43" y="374"/>
                    <a:pt x="43" y="374"/>
                  </a:cubicBezTo>
                  <a:cubicBezTo>
                    <a:pt x="43" y="374"/>
                    <a:pt x="44" y="375"/>
                    <a:pt x="44" y="376"/>
                  </a:cubicBezTo>
                  <a:cubicBezTo>
                    <a:pt x="44" y="376"/>
                    <a:pt x="44" y="376"/>
                    <a:pt x="44" y="376"/>
                  </a:cubicBezTo>
                  <a:cubicBezTo>
                    <a:pt x="44" y="376"/>
                    <a:pt x="44" y="376"/>
                    <a:pt x="44" y="376"/>
                  </a:cubicBezTo>
                  <a:cubicBezTo>
                    <a:pt x="45" y="395"/>
                    <a:pt x="45" y="395"/>
                    <a:pt x="45" y="395"/>
                  </a:cubicBezTo>
                  <a:cubicBezTo>
                    <a:pt x="45" y="395"/>
                    <a:pt x="46" y="395"/>
                    <a:pt x="47" y="395"/>
                  </a:cubicBezTo>
                  <a:cubicBezTo>
                    <a:pt x="48" y="395"/>
                    <a:pt x="49" y="395"/>
                    <a:pt x="50" y="395"/>
                  </a:cubicBezTo>
                  <a:cubicBezTo>
                    <a:pt x="50" y="395"/>
                    <a:pt x="50" y="395"/>
                    <a:pt x="51" y="395"/>
                  </a:cubicBezTo>
                  <a:cubicBezTo>
                    <a:pt x="52" y="395"/>
                    <a:pt x="54" y="395"/>
                    <a:pt x="55" y="395"/>
                  </a:cubicBezTo>
                  <a:cubicBezTo>
                    <a:pt x="58" y="395"/>
                    <a:pt x="58" y="395"/>
                    <a:pt x="58" y="395"/>
                  </a:cubicBezTo>
                  <a:cubicBezTo>
                    <a:pt x="59" y="395"/>
                    <a:pt x="60" y="395"/>
                    <a:pt x="60" y="395"/>
                  </a:cubicBezTo>
                  <a:cubicBezTo>
                    <a:pt x="61" y="390"/>
                    <a:pt x="61" y="380"/>
                    <a:pt x="61" y="378"/>
                  </a:cubicBezTo>
                  <a:cubicBezTo>
                    <a:pt x="59" y="379"/>
                    <a:pt x="60" y="383"/>
                    <a:pt x="59" y="383"/>
                  </a:cubicBezTo>
                  <a:cubicBezTo>
                    <a:pt x="56" y="381"/>
                    <a:pt x="56" y="381"/>
                    <a:pt x="56" y="381"/>
                  </a:cubicBezTo>
                  <a:cubicBezTo>
                    <a:pt x="54" y="379"/>
                    <a:pt x="53" y="377"/>
                    <a:pt x="50" y="376"/>
                  </a:cubicBezTo>
                  <a:cubicBezTo>
                    <a:pt x="51" y="375"/>
                    <a:pt x="51" y="375"/>
                    <a:pt x="52" y="375"/>
                  </a:cubicBezTo>
                  <a:cubicBezTo>
                    <a:pt x="52" y="375"/>
                    <a:pt x="52" y="375"/>
                    <a:pt x="52" y="375"/>
                  </a:cubicBezTo>
                  <a:cubicBezTo>
                    <a:pt x="52" y="375"/>
                    <a:pt x="52" y="375"/>
                    <a:pt x="53" y="375"/>
                  </a:cubicBezTo>
                  <a:cubicBezTo>
                    <a:pt x="53" y="375"/>
                    <a:pt x="54" y="375"/>
                    <a:pt x="54" y="374"/>
                  </a:cubicBezTo>
                  <a:cubicBezTo>
                    <a:pt x="56" y="373"/>
                    <a:pt x="56" y="371"/>
                    <a:pt x="57" y="370"/>
                  </a:cubicBezTo>
                  <a:cubicBezTo>
                    <a:pt x="58" y="367"/>
                    <a:pt x="59" y="365"/>
                    <a:pt x="62" y="363"/>
                  </a:cubicBezTo>
                  <a:cubicBezTo>
                    <a:pt x="71" y="357"/>
                    <a:pt x="83" y="353"/>
                    <a:pt x="94" y="349"/>
                  </a:cubicBezTo>
                  <a:cubicBezTo>
                    <a:pt x="101" y="346"/>
                    <a:pt x="110" y="343"/>
                    <a:pt x="115" y="337"/>
                  </a:cubicBezTo>
                  <a:cubicBezTo>
                    <a:pt x="117" y="335"/>
                    <a:pt x="119" y="333"/>
                    <a:pt x="120" y="330"/>
                  </a:cubicBezTo>
                  <a:cubicBezTo>
                    <a:pt x="122" y="327"/>
                    <a:pt x="122" y="324"/>
                    <a:pt x="122" y="321"/>
                  </a:cubicBezTo>
                  <a:cubicBezTo>
                    <a:pt x="121" y="322"/>
                    <a:pt x="120" y="324"/>
                    <a:pt x="119" y="324"/>
                  </a:cubicBezTo>
                  <a:cubicBezTo>
                    <a:pt x="118" y="324"/>
                    <a:pt x="118" y="324"/>
                    <a:pt x="118" y="323"/>
                  </a:cubicBezTo>
                  <a:cubicBezTo>
                    <a:pt x="118" y="322"/>
                    <a:pt x="118" y="322"/>
                    <a:pt x="118" y="322"/>
                  </a:cubicBezTo>
                  <a:cubicBezTo>
                    <a:pt x="118" y="320"/>
                    <a:pt x="118" y="318"/>
                    <a:pt x="118" y="318"/>
                  </a:cubicBezTo>
                  <a:cubicBezTo>
                    <a:pt x="118" y="318"/>
                    <a:pt x="119" y="319"/>
                    <a:pt x="119" y="320"/>
                  </a:cubicBezTo>
                  <a:cubicBezTo>
                    <a:pt x="120" y="317"/>
                    <a:pt x="120" y="314"/>
                    <a:pt x="120" y="312"/>
                  </a:cubicBezTo>
                  <a:cubicBezTo>
                    <a:pt x="121" y="301"/>
                    <a:pt x="122" y="291"/>
                    <a:pt x="123" y="281"/>
                  </a:cubicBezTo>
                  <a:cubicBezTo>
                    <a:pt x="122" y="282"/>
                    <a:pt x="122" y="282"/>
                    <a:pt x="122" y="283"/>
                  </a:cubicBezTo>
                  <a:cubicBezTo>
                    <a:pt x="122" y="281"/>
                    <a:pt x="121" y="279"/>
                    <a:pt x="121" y="279"/>
                  </a:cubicBezTo>
                  <a:cubicBezTo>
                    <a:pt x="120" y="279"/>
                    <a:pt x="120" y="280"/>
                    <a:pt x="120" y="282"/>
                  </a:cubicBezTo>
                  <a:cubicBezTo>
                    <a:pt x="119" y="282"/>
                    <a:pt x="119" y="282"/>
                    <a:pt x="119" y="282"/>
                  </a:cubicBezTo>
                  <a:cubicBezTo>
                    <a:pt x="119" y="282"/>
                    <a:pt x="119" y="283"/>
                    <a:pt x="119" y="284"/>
                  </a:cubicBezTo>
                  <a:cubicBezTo>
                    <a:pt x="118" y="279"/>
                    <a:pt x="118" y="272"/>
                    <a:pt x="116" y="267"/>
                  </a:cubicBezTo>
                  <a:cubicBezTo>
                    <a:pt x="115" y="265"/>
                    <a:pt x="114" y="263"/>
                    <a:pt x="113" y="260"/>
                  </a:cubicBezTo>
                  <a:cubicBezTo>
                    <a:pt x="112" y="258"/>
                    <a:pt x="110" y="255"/>
                    <a:pt x="111" y="253"/>
                  </a:cubicBezTo>
                  <a:cubicBezTo>
                    <a:pt x="112" y="252"/>
                    <a:pt x="113" y="251"/>
                    <a:pt x="111" y="250"/>
                  </a:cubicBezTo>
                  <a:cubicBezTo>
                    <a:pt x="110" y="248"/>
                    <a:pt x="108" y="247"/>
                    <a:pt x="107" y="245"/>
                  </a:cubicBezTo>
                  <a:cubicBezTo>
                    <a:pt x="103" y="242"/>
                    <a:pt x="102" y="241"/>
                    <a:pt x="101" y="237"/>
                  </a:cubicBezTo>
                  <a:cubicBezTo>
                    <a:pt x="101" y="237"/>
                    <a:pt x="101" y="237"/>
                    <a:pt x="102" y="237"/>
                  </a:cubicBezTo>
                  <a:cubicBezTo>
                    <a:pt x="103" y="237"/>
                    <a:pt x="102" y="233"/>
                    <a:pt x="102" y="231"/>
                  </a:cubicBezTo>
                  <a:cubicBezTo>
                    <a:pt x="103" y="232"/>
                    <a:pt x="103" y="232"/>
                    <a:pt x="103" y="232"/>
                  </a:cubicBezTo>
                  <a:cubicBezTo>
                    <a:pt x="104" y="232"/>
                    <a:pt x="104" y="232"/>
                    <a:pt x="104" y="232"/>
                  </a:cubicBezTo>
                  <a:cubicBezTo>
                    <a:pt x="105" y="231"/>
                    <a:pt x="104" y="228"/>
                    <a:pt x="104" y="228"/>
                  </a:cubicBezTo>
                  <a:cubicBezTo>
                    <a:pt x="104" y="226"/>
                    <a:pt x="105" y="223"/>
                    <a:pt x="104" y="222"/>
                  </a:cubicBezTo>
                  <a:cubicBezTo>
                    <a:pt x="103" y="221"/>
                    <a:pt x="98" y="217"/>
                    <a:pt x="99" y="217"/>
                  </a:cubicBezTo>
                  <a:cubicBezTo>
                    <a:pt x="99" y="217"/>
                    <a:pt x="100" y="217"/>
                    <a:pt x="100" y="217"/>
                  </a:cubicBezTo>
                  <a:cubicBezTo>
                    <a:pt x="101" y="217"/>
                    <a:pt x="103" y="220"/>
                    <a:pt x="104" y="221"/>
                  </a:cubicBezTo>
                  <a:cubicBezTo>
                    <a:pt x="106" y="222"/>
                    <a:pt x="106" y="223"/>
                    <a:pt x="107" y="223"/>
                  </a:cubicBezTo>
                  <a:cubicBezTo>
                    <a:pt x="107" y="223"/>
                    <a:pt x="108" y="223"/>
                    <a:pt x="109" y="223"/>
                  </a:cubicBezTo>
                  <a:cubicBezTo>
                    <a:pt x="110" y="222"/>
                    <a:pt x="112" y="221"/>
                    <a:pt x="113" y="220"/>
                  </a:cubicBezTo>
                  <a:cubicBezTo>
                    <a:pt x="117" y="217"/>
                    <a:pt x="120" y="214"/>
                    <a:pt x="123" y="210"/>
                  </a:cubicBezTo>
                  <a:cubicBezTo>
                    <a:pt x="124" y="208"/>
                    <a:pt x="126" y="206"/>
                    <a:pt x="128" y="204"/>
                  </a:cubicBezTo>
                  <a:cubicBezTo>
                    <a:pt x="129" y="203"/>
                    <a:pt x="129" y="202"/>
                    <a:pt x="130" y="202"/>
                  </a:cubicBezTo>
                  <a:cubicBezTo>
                    <a:pt x="130" y="202"/>
                    <a:pt x="130" y="202"/>
                    <a:pt x="130" y="202"/>
                  </a:cubicBezTo>
                  <a:cubicBezTo>
                    <a:pt x="131" y="202"/>
                    <a:pt x="131" y="202"/>
                    <a:pt x="131" y="202"/>
                  </a:cubicBezTo>
                  <a:cubicBezTo>
                    <a:pt x="132" y="202"/>
                    <a:pt x="132" y="201"/>
                    <a:pt x="133" y="200"/>
                  </a:cubicBezTo>
                  <a:cubicBezTo>
                    <a:pt x="134" y="199"/>
                    <a:pt x="135" y="199"/>
                    <a:pt x="136" y="199"/>
                  </a:cubicBezTo>
                  <a:cubicBezTo>
                    <a:pt x="137" y="199"/>
                    <a:pt x="138" y="199"/>
                    <a:pt x="140" y="200"/>
                  </a:cubicBezTo>
                  <a:cubicBezTo>
                    <a:pt x="139" y="198"/>
                    <a:pt x="140" y="197"/>
                    <a:pt x="142" y="197"/>
                  </a:cubicBezTo>
                  <a:cubicBezTo>
                    <a:pt x="142" y="197"/>
                    <a:pt x="142" y="197"/>
                    <a:pt x="143" y="197"/>
                  </a:cubicBezTo>
                  <a:cubicBezTo>
                    <a:pt x="143" y="195"/>
                    <a:pt x="149" y="189"/>
                    <a:pt x="151" y="187"/>
                  </a:cubicBezTo>
                  <a:cubicBezTo>
                    <a:pt x="152" y="186"/>
                    <a:pt x="156" y="182"/>
                    <a:pt x="156" y="180"/>
                  </a:cubicBezTo>
                  <a:cubicBezTo>
                    <a:pt x="156" y="179"/>
                    <a:pt x="155" y="179"/>
                    <a:pt x="154" y="178"/>
                  </a:cubicBezTo>
                  <a:cubicBezTo>
                    <a:pt x="153" y="176"/>
                    <a:pt x="153" y="176"/>
                    <a:pt x="154" y="176"/>
                  </a:cubicBezTo>
                  <a:cubicBezTo>
                    <a:pt x="154" y="176"/>
                    <a:pt x="155" y="176"/>
                    <a:pt x="155" y="177"/>
                  </a:cubicBezTo>
                  <a:cubicBezTo>
                    <a:pt x="160" y="175"/>
                    <a:pt x="165" y="170"/>
                    <a:pt x="170" y="167"/>
                  </a:cubicBezTo>
                  <a:cubicBezTo>
                    <a:pt x="174" y="166"/>
                    <a:pt x="177" y="165"/>
                    <a:pt x="181" y="163"/>
                  </a:cubicBezTo>
                  <a:cubicBezTo>
                    <a:pt x="183" y="161"/>
                    <a:pt x="182" y="160"/>
                    <a:pt x="184" y="159"/>
                  </a:cubicBezTo>
                  <a:cubicBezTo>
                    <a:pt x="185" y="157"/>
                    <a:pt x="191" y="156"/>
                    <a:pt x="193" y="156"/>
                  </a:cubicBezTo>
                  <a:cubicBezTo>
                    <a:pt x="197" y="154"/>
                    <a:pt x="201" y="153"/>
                    <a:pt x="205" y="152"/>
                  </a:cubicBezTo>
                  <a:cubicBezTo>
                    <a:pt x="211" y="150"/>
                    <a:pt x="216" y="146"/>
                    <a:pt x="221" y="142"/>
                  </a:cubicBezTo>
                  <a:cubicBezTo>
                    <a:pt x="227" y="139"/>
                    <a:pt x="230" y="131"/>
                    <a:pt x="234" y="125"/>
                  </a:cubicBezTo>
                  <a:cubicBezTo>
                    <a:pt x="238" y="119"/>
                    <a:pt x="243" y="114"/>
                    <a:pt x="245" y="108"/>
                  </a:cubicBezTo>
                  <a:cubicBezTo>
                    <a:pt x="246" y="105"/>
                    <a:pt x="244" y="105"/>
                    <a:pt x="244" y="104"/>
                  </a:cubicBezTo>
                  <a:cubicBezTo>
                    <a:pt x="244" y="102"/>
                    <a:pt x="246" y="103"/>
                    <a:pt x="247" y="101"/>
                  </a:cubicBezTo>
                  <a:cubicBezTo>
                    <a:pt x="248" y="100"/>
                    <a:pt x="247" y="95"/>
                    <a:pt x="247" y="94"/>
                  </a:cubicBezTo>
                  <a:cubicBezTo>
                    <a:pt x="247" y="92"/>
                    <a:pt x="246" y="92"/>
                    <a:pt x="246" y="92"/>
                  </a:cubicBezTo>
                  <a:cubicBezTo>
                    <a:pt x="245" y="92"/>
                    <a:pt x="244" y="94"/>
                    <a:pt x="243" y="95"/>
                  </a:cubicBezTo>
                  <a:cubicBezTo>
                    <a:pt x="243" y="93"/>
                    <a:pt x="246" y="90"/>
                    <a:pt x="244" y="88"/>
                  </a:cubicBezTo>
                  <a:cubicBezTo>
                    <a:pt x="244" y="87"/>
                    <a:pt x="244" y="87"/>
                    <a:pt x="243" y="87"/>
                  </a:cubicBezTo>
                  <a:cubicBezTo>
                    <a:pt x="243" y="87"/>
                    <a:pt x="242" y="87"/>
                    <a:pt x="241" y="88"/>
                  </a:cubicBezTo>
                  <a:cubicBezTo>
                    <a:pt x="241" y="86"/>
                    <a:pt x="243" y="84"/>
                    <a:pt x="242" y="82"/>
                  </a:cubicBezTo>
                  <a:cubicBezTo>
                    <a:pt x="242" y="80"/>
                    <a:pt x="242" y="79"/>
                    <a:pt x="241" y="77"/>
                  </a:cubicBezTo>
                  <a:cubicBezTo>
                    <a:pt x="241" y="75"/>
                    <a:pt x="240" y="72"/>
                    <a:pt x="240" y="70"/>
                  </a:cubicBezTo>
                  <a:cubicBezTo>
                    <a:pt x="240" y="66"/>
                    <a:pt x="241" y="63"/>
                    <a:pt x="241" y="60"/>
                  </a:cubicBezTo>
                  <a:cubicBezTo>
                    <a:pt x="241" y="58"/>
                    <a:pt x="241" y="58"/>
                    <a:pt x="240" y="57"/>
                  </a:cubicBezTo>
                  <a:cubicBezTo>
                    <a:pt x="240" y="57"/>
                    <a:pt x="239" y="57"/>
                    <a:pt x="239" y="57"/>
                  </a:cubicBezTo>
                  <a:cubicBezTo>
                    <a:pt x="239" y="57"/>
                    <a:pt x="239" y="57"/>
                    <a:pt x="239" y="57"/>
                  </a:cubicBezTo>
                  <a:cubicBezTo>
                    <a:pt x="239" y="57"/>
                    <a:pt x="238" y="57"/>
                    <a:pt x="238" y="57"/>
                  </a:cubicBezTo>
                  <a:cubicBezTo>
                    <a:pt x="238" y="57"/>
                    <a:pt x="238" y="57"/>
                    <a:pt x="238" y="56"/>
                  </a:cubicBezTo>
                  <a:cubicBezTo>
                    <a:pt x="241" y="53"/>
                    <a:pt x="241" y="53"/>
                    <a:pt x="241" y="53"/>
                  </a:cubicBezTo>
                  <a:cubicBezTo>
                    <a:pt x="242" y="51"/>
                    <a:pt x="242" y="52"/>
                    <a:pt x="242" y="50"/>
                  </a:cubicBezTo>
                  <a:cubicBezTo>
                    <a:pt x="242" y="48"/>
                    <a:pt x="241" y="46"/>
                    <a:pt x="241" y="44"/>
                  </a:cubicBezTo>
                  <a:cubicBezTo>
                    <a:pt x="240" y="39"/>
                    <a:pt x="240" y="33"/>
                    <a:pt x="239" y="28"/>
                  </a:cubicBezTo>
                  <a:cubicBezTo>
                    <a:pt x="239" y="23"/>
                    <a:pt x="239" y="21"/>
                    <a:pt x="236" y="18"/>
                  </a:cubicBezTo>
                  <a:cubicBezTo>
                    <a:pt x="239" y="16"/>
                    <a:pt x="239" y="13"/>
                    <a:pt x="239" y="9"/>
                  </a:cubicBezTo>
                  <a:cubicBezTo>
                    <a:pt x="239" y="8"/>
                    <a:pt x="243" y="7"/>
                    <a:pt x="240" y="5"/>
                  </a:cubicBezTo>
                  <a:cubicBezTo>
                    <a:pt x="238" y="4"/>
                    <a:pt x="241" y="3"/>
                    <a:pt x="243" y="3"/>
                  </a:cubicBezTo>
                  <a:cubicBezTo>
                    <a:pt x="242" y="2"/>
                    <a:pt x="241" y="1"/>
                    <a:pt x="2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1" name="Freeform 310">
              <a:extLst>
                <a:ext uri="{FF2B5EF4-FFF2-40B4-BE49-F238E27FC236}">
                  <a16:creationId xmlns:a16="http://schemas.microsoft.com/office/drawing/2014/main" id="{90A3541E-C28B-452A-B2FD-B4E8E036BA36}"/>
                </a:ext>
              </a:extLst>
            </p:cNvPr>
            <p:cNvSpPr>
              <a:spLocks/>
            </p:cNvSpPr>
            <p:nvPr/>
          </p:nvSpPr>
          <p:spPr bwMode="auto">
            <a:xfrm>
              <a:off x="5306" y="2816"/>
              <a:ext cx="602" cy="587"/>
            </a:xfrm>
            <a:custGeom>
              <a:avLst/>
              <a:gdLst>
                <a:gd name="T0" fmla="*/ 30 w 255"/>
                <a:gd name="T1" fmla="*/ 7 h 248"/>
                <a:gd name="T2" fmla="*/ 33 w 255"/>
                <a:gd name="T3" fmla="*/ 19 h 248"/>
                <a:gd name="T4" fmla="*/ 30 w 255"/>
                <a:gd name="T5" fmla="*/ 31 h 248"/>
                <a:gd name="T6" fmla="*/ 30 w 255"/>
                <a:gd name="T7" fmla="*/ 33 h 248"/>
                <a:gd name="T8" fmla="*/ 34 w 255"/>
                <a:gd name="T9" fmla="*/ 39 h 248"/>
                <a:gd name="T10" fmla="*/ 34 w 255"/>
                <a:gd name="T11" fmla="*/ 55 h 248"/>
                <a:gd name="T12" fmla="*/ 30 w 255"/>
                <a:gd name="T13" fmla="*/ 59 h 248"/>
                <a:gd name="T14" fmla="*/ 19 w 255"/>
                <a:gd name="T15" fmla="*/ 80 h 248"/>
                <a:gd name="T16" fmla="*/ 5 w 255"/>
                <a:gd name="T17" fmla="*/ 83 h 248"/>
                <a:gd name="T18" fmla="*/ 3 w 255"/>
                <a:gd name="T19" fmla="*/ 91 h 248"/>
                <a:gd name="T20" fmla="*/ 7 w 255"/>
                <a:gd name="T21" fmla="*/ 114 h 248"/>
                <a:gd name="T22" fmla="*/ 9 w 255"/>
                <a:gd name="T23" fmla="*/ 127 h 248"/>
                <a:gd name="T24" fmla="*/ 22 w 255"/>
                <a:gd name="T25" fmla="*/ 136 h 248"/>
                <a:gd name="T26" fmla="*/ 36 w 255"/>
                <a:gd name="T27" fmla="*/ 176 h 248"/>
                <a:gd name="T28" fmla="*/ 37 w 255"/>
                <a:gd name="T29" fmla="*/ 175 h 248"/>
                <a:gd name="T30" fmla="*/ 46 w 255"/>
                <a:gd name="T31" fmla="*/ 177 h 248"/>
                <a:gd name="T32" fmla="*/ 56 w 255"/>
                <a:gd name="T33" fmla="*/ 183 h 248"/>
                <a:gd name="T34" fmla="*/ 70 w 255"/>
                <a:gd name="T35" fmla="*/ 188 h 248"/>
                <a:gd name="T36" fmla="*/ 83 w 255"/>
                <a:gd name="T37" fmla="*/ 193 h 248"/>
                <a:gd name="T38" fmla="*/ 101 w 255"/>
                <a:gd name="T39" fmla="*/ 199 h 248"/>
                <a:gd name="T40" fmla="*/ 105 w 255"/>
                <a:gd name="T41" fmla="*/ 197 h 248"/>
                <a:gd name="T42" fmla="*/ 125 w 255"/>
                <a:gd name="T43" fmla="*/ 244 h 248"/>
                <a:gd name="T44" fmla="*/ 141 w 255"/>
                <a:gd name="T45" fmla="*/ 245 h 248"/>
                <a:gd name="T46" fmla="*/ 151 w 255"/>
                <a:gd name="T47" fmla="*/ 242 h 248"/>
                <a:gd name="T48" fmla="*/ 155 w 255"/>
                <a:gd name="T49" fmla="*/ 244 h 248"/>
                <a:gd name="T50" fmla="*/ 169 w 255"/>
                <a:gd name="T51" fmla="*/ 246 h 248"/>
                <a:gd name="T52" fmla="*/ 185 w 255"/>
                <a:gd name="T53" fmla="*/ 247 h 248"/>
                <a:gd name="T54" fmla="*/ 192 w 255"/>
                <a:gd name="T55" fmla="*/ 242 h 248"/>
                <a:gd name="T56" fmla="*/ 195 w 255"/>
                <a:gd name="T57" fmla="*/ 239 h 248"/>
                <a:gd name="T58" fmla="*/ 211 w 255"/>
                <a:gd name="T59" fmla="*/ 239 h 248"/>
                <a:gd name="T60" fmla="*/ 224 w 255"/>
                <a:gd name="T61" fmla="*/ 234 h 248"/>
                <a:gd name="T62" fmla="*/ 227 w 255"/>
                <a:gd name="T63" fmla="*/ 234 h 248"/>
                <a:gd name="T64" fmla="*/ 255 w 255"/>
                <a:gd name="T65" fmla="*/ 218 h 248"/>
                <a:gd name="T66" fmla="*/ 246 w 255"/>
                <a:gd name="T67" fmla="*/ 214 h 248"/>
                <a:gd name="T68" fmla="*/ 239 w 255"/>
                <a:gd name="T69" fmla="*/ 210 h 248"/>
                <a:gd name="T70" fmla="*/ 230 w 255"/>
                <a:gd name="T71" fmla="*/ 175 h 248"/>
                <a:gd name="T72" fmla="*/ 221 w 255"/>
                <a:gd name="T73" fmla="*/ 125 h 248"/>
                <a:gd name="T74" fmla="*/ 226 w 255"/>
                <a:gd name="T75" fmla="*/ 86 h 248"/>
                <a:gd name="T76" fmla="*/ 211 w 255"/>
                <a:gd name="T77" fmla="*/ 76 h 248"/>
                <a:gd name="T78" fmla="*/ 189 w 255"/>
                <a:gd name="T79" fmla="*/ 59 h 248"/>
                <a:gd name="T80" fmla="*/ 188 w 255"/>
                <a:gd name="T81" fmla="*/ 49 h 248"/>
                <a:gd name="T82" fmla="*/ 185 w 255"/>
                <a:gd name="T83" fmla="*/ 47 h 248"/>
                <a:gd name="T84" fmla="*/ 143 w 255"/>
                <a:gd name="T85" fmla="*/ 22 h 248"/>
                <a:gd name="T86" fmla="*/ 100 w 255"/>
                <a:gd name="T87" fmla="*/ 5 h 248"/>
                <a:gd name="T88" fmla="*/ 97 w 255"/>
                <a:gd name="T89" fmla="*/ 9 h 248"/>
                <a:gd name="T90" fmla="*/ 96 w 255"/>
                <a:gd name="T91" fmla="*/ 15 h 248"/>
                <a:gd name="T92" fmla="*/ 88 w 255"/>
                <a:gd name="T93" fmla="*/ 22 h 248"/>
                <a:gd name="T94" fmla="*/ 90 w 255"/>
                <a:gd name="T95" fmla="*/ 34 h 248"/>
                <a:gd name="T96" fmla="*/ 86 w 255"/>
                <a:gd name="T97" fmla="*/ 32 h 248"/>
                <a:gd name="T98" fmla="*/ 80 w 255"/>
                <a:gd name="T99" fmla="*/ 31 h 248"/>
                <a:gd name="T100" fmla="*/ 75 w 255"/>
                <a:gd name="T101" fmla="*/ 44 h 248"/>
                <a:gd name="T102" fmla="*/ 77 w 255"/>
                <a:gd name="T103" fmla="*/ 33 h 248"/>
                <a:gd name="T104" fmla="*/ 69 w 255"/>
                <a:gd name="T105" fmla="*/ 34 h 248"/>
                <a:gd name="T106" fmla="*/ 60 w 255"/>
                <a:gd name="T107" fmla="*/ 33 h 248"/>
                <a:gd name="T108" fmla="*/ 57 w 255"/>
                <a:gd name="T109" fmla="*/ 38 h 248"/>
                <a:gd name="T110" fmla="*/ 50 w 255"/>
                <a:gd name="T11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248">
                  <a:moveTo>
                    <a:pt x="53" y="0"/>
                  </a:moveTo>
                  <a:cubicBezTo>
                    <a:pt x="53" y="0"/>
                    <a:pt x="52" y="0"/>
                    <a:pt x="52" y="0"/>
                  </a:cubicBezTo>
                  <a:cubicBezTo>
                    <a:pt x="42" y="0"/>
                    <a:pt x="33" y="1"/>
                    <a:pt x="26" y="1"/>
                  </a:cubicBezTo>
                  <a:cubicBezTo>
                    <a:pt x="30" y="7"/>
                    <a:pt x="30" y="7"/>
                    <a:pt x="30" y="7"/>
                  </a:cubicBezTo>
                  <a:cubicBezTo>
                    <a:pt x="31" y="10"/>
                    <a:pt x="32" y="11"/>
                    <a:pt x="32" y="13"/>
                  </a:cubicBezTo>
                  <a:cubicBezTo>
                    <a:pt x="32" y="15"/>
                    <a:pt x="32" y="16"/>
                    <a:pt x="32" y="18"/>
                  </a:cubicBezTo>
                  <a:cubicBezTo>
                    <a:pt x="32" y="18"/>
                    <a:pt x="32" y="18"/>
                    <a:pt x="32" y="18"/>
                  </a:cubicBezTo>
                  <a:cubicBezTo>
                    <a:pt x="32" y="18"/>
                    <a:pt x="33" y="18"/>
                    <a:pt x="33" y="19"/>
                  </a:cubicBezTo>
                  <a:cubicBezTo>
                    <a:pt x="33" y="20"/>
                    <a:pt x="34" y="21"/>
                    <a:pt x="34" y="22"/>
                  </a:cubicBezTo>
                  <a:cubicBezTo>
                    <a:pt x="34" y="24"/>
                    <a:pt x="34" y="26"/>
                    <a:pt x="33" y="28"/>
                  </a:cubicBezTo>
                  <a:cubicBezTo>
                    <a:pt x="33" y="29"/>
                    <a:pt x="32" y="30"/>
                    <a:pt x="32" y="30"/>
                  </a:cubicBezTo>
                  <a:cubicBezTo>
                    <a:pt x="31" y="31"/>
                    <a:pt x="31" y="31"/>
                    <a:pt x="30" y="31"/>
                  </a:cubicBezTo>
                  <a:cubicBezTo>
                    <a:pt x="30" y="31"/>
                    <a:pt x="30" y="31"/>
                    <a:pt x="30" y="31"/>
                  </a:cubicBezTo>
                  <a:cubicBezTo>
                    <a:pt x="30" y="32"/>
                    <a:pt x="30" y="32"/>
                    <a:pt x="30" y="32"/>
                  </a:cubicBezTo>
                  <a:cubicBezTo>
                    <a:pt x="30" y="33"/>
                    <a:pt x="30" y="33"/>
                    <a:pt x="30" y="33"/>
                  </a:cubicBezTo>
                  <a:cubicBezTo>
                    <a:pt x="30" y="33"/>
                    <a:pt x="30" y="33"/>
                    <a:pt x="30" y="33"/>
                  </a:cubicBezTo>
                  <a:cubicBezTo>
                    <a:pt x="30" y="34"/>
                    <a:pt x="31" y="35"/>
                    <a:pt x="31" y="36"/>
                  </a:cubicBezTo>
                  <a:cubicBezTo>
                    <a:pt x="32" y="36"/>
                    <a:pt x="32" y="37"/>
                    <a:pt x="32" y="38"/>
                  </a:cubicBezTo>
                  <a:cubicBezTo>
                    <a:pt x="34" y="38"/>
                    <a:pt x="34" y="38"/>
                    <a:pt x="34" y="38"/>
                  </a:cubicBezTo>
                  <a:cubicBezTo>
                    <a:pt x="34" y="39"/>
                    <a:pt x="34" y="39"/>
                    <a:pt x="34" y="39"/>
                  </a:cubicBezTo>
                  <a:cubicBezTo>
                    <a:pt x="35" y="40"/>
                    <a:pt x="36" y="46"/>
                    <a:pt x="36" y="49"/>
                  </a:cubicBezTo>
                  <a:cubicBezTo>
                    <a:pt x="36" y="50"/>
                    <a:pt x="36" y="51"/>
                    <a:pt x="36" y="51"/>
                  </a:cubicBezTo>
                  <a:cubicBezTo>
                    <a:pt x="35" y="52"/>
                    <a:pt x="35" y="53"/>
                    <a:pt x="34" y="54"/>
                  </a:cubicBezTo>
                  <a:cubicBezTo>
                    <a:pt x="34" y="55"/>
                    <a:pt x="34" y="55"/>
                    <a:pt x="34" y="55"/>
                  </a:cubicBezTo>
                  <a:cubicBezTo>
                    <a:pt x="34" y="56"/>
                    <a:pt x="34" y="56"/>
                    <a:pt x="34" y="56"/>
                  </a:cubicBezTo>
                  <a:cubicBezTo>
                    <a:pt x="33" y="57"/>
                    <a:pt x="33" y="57"/>
                    <a:pt x="33" y="57"/>
                  </a:cubicBezTo>
                  <a:cubicBezTo>
                    <a:pt x="32" y="58"/>
                    <a:pt x="32" y="58"/>
                    <a:pt x="31" y="59"/>
                  </a:cubicBezTo>
                  <a:cubicBezTo>
                    <a:pt x="31" y="59"/>
                    <a:pt x="30" y="59"/>
                    <a:pt x="30" y="59"/>
                  </a:cubicBezTo>
                  <a:cubicBezTo>
                    <a:pt x="29" y="60"/>
                    <a:pt x="29" y="61"/>
                    <a:pt x="29" y="63"/>
                  </a:cubicBezTo>
                  <a:cubicBezTo>
                    <a:pt x="29" y="65"/>
                    <a:pt x="28" y="68"/>
                    <a:pt x="27" y="70"/>
                  </a:cubicBezTo>
                  <a:cubicBezTo>
                    <a:pt x="26" y="72"/>
                    <a:pt x="26" y="72"/>
                    <a:pt x="26" y="72"/>
                  </a:cubicBezTo>
                  <a:cubicBezTo>
                    <a:pt x="24" y="75"/>
                    <a:pt x="23" y="77"/>
                    <a:pt x="19" y="80"/>
                  </a:cubicBezTo>
                  <a:cubicBezTo>
                    <a:pt x="18" y="80"/>
                    <a:pt x="18" y="80"/>
                    <a:pt x="13" y="81"/>
                  </a:cubicBezTo>
                  <a:cubicBezTo>
                    <a:pt x="11" y="81"/>
                    <a:pt x="8" y="81"/>
                    <a:pt x="7" y="81"/>
                  </a:cubicBezTo>
                  <a:cubicBezTo>
                    <a:pt x="7" y="82"/>
                    <a:pt x="6" y="82"/>
                    <a:pt x="6" y="82"/>
                  </a:cubicBezTo>
                  <a:cubicBezTo>
                    <a:pt x="5" y="82"/>
                    <a:pt x="5" y="83"/>
                    <a:pt x="5" y="83"/>
                  </a:cubicBezTo>
                  <a:cubicBezTo>
                    <a:pt x="2" y="84"/>
                    <a:pt x="2" y="84"/>
                    <a:pt x="2" y="84"/>
                  </a:cubicBezTo>
                  <a:cubicBezTo>
                    <a:pt x="1" y="83"/>
                    <a:pt x="1" y="83"/>
                    <a:pt x="1" y="83"/>
                  </a:cubicBezTo>
                  <a:cubicBezTo>
                    <a:pt x="0" y="85"/>
                    <a:pt x="0" y="88"/>
                    <a:pt x="1" y="89"/>
                  </a:cubicBezTo>
                  <a:cubicBezTo>
                    <a:pt x="1" y="89"/>
                    <a:pt x="3" y="91"/>
                    <a:pt x="3" y="91"/>
                  </a:cubicBezTo>
                  <a:cubicBezTo>
                    <a:pt x="5" y="93"/>
                    <a:pt x="6" y="94"/>
                    <a:pt x="6" y="96"/>
                  </a:cubicBezTo>
                  <a:cubicBezTo>
                    <a:pt x="6" y="98"/>
                    <a:pt x="4" y="100"/>
                    <a:pt x="4" y="102"/>
                  </a:cubicBezTo>
                  <a:cubicBezTo>
                    <a:pt x="5" y="104"/>
                    <a:pt x="7" y="107"/>
                    <a:pt x="7" y="108"/>
                  </a:cubicBezTo>
                  <a:cubicBezTo>
                    <a:pt x="9" y="112"/>
                    <a:pt x="9" y="111"/>
                    <a:pt x="7" y="114"/>
                  </a:cubicBezTo>
                  <a:cubicBezTo>
                    <a:pt x="7" y="115"/>
                    <a:pt x="6" y="115"/>
                    <a:pt x="5" y="116"/>
                  </a:cubicBezTo>
                  <a:cubicBezTo>
                    <a:pt x="4" y="119"/>
                    <a:pt x="3" y="120"/>
                    <a:pt x="5" y="122"/>
                  </a:cubicBezTo>
                  <a:cubicBezTo>
                    <a:pt x="6" y="123"/>
                    <a:pt x="8" y="127"/>
                    <a:pt x="9" y="127"/>
                  </a:cubicBezTo>
                  <a:cubicBezTo>
                    <a:pt x="9" y="127"/>
                    <a:pt x="9" y="127"/>
                    <a:pt x="9" y="127"/>
                  </a:cubicBezTo>
                  <a:cubicBezTo>
                    <a:pt x="10" y="127"/>
                    <a:pt x="10" y="126"/>
                    <a:pt x="10" y="126"/>
                  </a:cubicBezTo>
                  <a:cubicBezTo>
                    <a:pt x="11" y="126"/>
                    <a:pt x="11" y="126"/>
                    <a:pt x="12" y="126"/>
                  </a:cubicBezTo>
                  <a:cubicBezTo>
                    <a:pt x="12" y="126"/>
                    <a:pt x="12" y="126"/>
                    <a:pt x="12" y="126"/>
                  </a:cubicBezTo>
                  <a:cubicBezTo>
                    <a:pt x="16" y="126"/>
                    <a:pt x="20" y="133"/>
                    <a:pt x="22" y="136"/>
                  </a:cubicBezTo>
                  <a:cubicBezTo>
                    <a:pt x="24" y="138"/>
                    <a:pt x="24" y="141"/>
                    <a:pt x="26" y="144"/>
                  </a:cubicBezTo>
                  <a:cubicBezTo>
                    <a:pt x="29" y="153"/>
                    <a:pt x="32" y="162"/>
                    <a:pt x="36" y="171"/>
                  </a:cubicBezTo>
                  <a:cubicBezTo>
                    <a:pt x="36" y="172"/>
                    <a:pt x="36" y="173"/>
                    <a:pt x="36" y="173"/>
                  </a:cubicBezTo>
                  <a:cubicBezTo>
                    <a:pt x="36" y="176"/>
                    <a:pt x="36" y="176"/>
                    <a:pt x="36" y="176"/>
                  </a:cubicBezTo>
                  <a:cubicBezTo>
                    <a:pt x="36" y="176"/>
                    <a:pt x="36" y="176"/>
                    <a:pt x="36" y="176"/>
                  </a:cubicBezTo>
                  <a:cubicBezTo>
                    <a:pt x="36" y="177"/>
                    <a:pt x="36" y="177"/>
                    <a:pt x="36" y="177"/>
                  </a:cubicBezTo>
                  <a:cubicBezTo>
                    <a:pt x="36" y="175"/>
                    <a:pt x="36" y="175"/>
                    <a:pt x="36" y="175"/>
                  </a:cubicBezTo>
                  <a:cubicBezTo>
                    <a:pt x="37" y="175"/>
                    <a:pt x="37" y="175"/>
                    <a:pt x="37" y="175"/>
                  </a:cubicBezTo>
                  <a:cubicBezTo>
                    <a:pt x="40" y="175"/>
                    <a:pt x="42" y="175"/>
                    <a:pt x="44" y="176"/>
                  </a:cubicBezTo>
                  <a:cubicBezTo>
                    <a:pt x="46" y="171"/>
                    <a:pt x="46" y="171"/>
                    <a:pt x="46" y="171"/>
                  </a:cubicBezTo>
                  <a:cubicBezTo>
                    <a:pt x="45" y="177"/>
                    <a:pt x="45" y="177"/>
                    <a:pt x="45" y="177"/>
                  </a:cubicBezTo>
                  <a:cubicBezTo>
                    <a:pt x="46" y="177"/>
                    <a:pt x="46" y="177"/>
                    <a:pt x="46" y="177"/>
                  </a:cubicBezTo>
                  <a:cubicBezTo>
                    <a:pt x="47" y="178"/>
                    <a:pt x="49" y="179"/>
                    <a:pt x="51" y="180"/>
                  </a:cubicBezTo>
                  <a:cubicBezTo>
                    <a:pt x="52" y="181"/>
                    <a:pt x="53" y="181"/>
                    <a:pt x="55" y="182"/>
                  </a:cubicBezTo>
                  <a:cubicBezTo>
                    <a:pt x="58" y="177"/>
                    <a:pt x="58" y="177"/>
                    <a:pt x="58" y="177"/>
                  </a:cubicBezTo>
                  <a:cubicBezTo>
                    <a:pt x="56" y="183"/>
                    <a:pt x="56" y="183"/>
                    <a:pt x="56" y="183"/>
                  </a:cubicBezTo>
                  <a:cubicBezTo>
                    <a:pt x="56" y="183"/>
                    <a:pt x="56" y="183"/>
                    <a:pt x="56" y="183"/>
                  </a:cubicBezTo>
                  <a:cubicBezTo>
                    <a:pt x="57" y="183"/>
                    <a:pt x="57" y="183"/>
                    <a:pt x="57" y="183"/>
                  </a:cubicBezTo>
                  <a:cubicBezTo>
                    <a:pt x="58" y="184"/>
                    <a:pt x="58" y="184"/>
                    <a:pt x="58" y="184"/>
                  </a:cubicBezTo>
                  <a:cubicBezTo>
                    <a:pt x="61" y="186"/>
                    <a:pt x="66" y="187"/>
                    <a:pt x="70" y="188"/>
                  </a:cubicBezTo>
                  <a:cubicBezTo>
                    <a:pt x="73" y="189"/>
                    <a:pt x="76" y="190"/>
                    <a:pt x="79" y="191"/>
                  </a:cubicBezTo>
                  <a:cubicBezTo>
                    <a:pt x="79" y="191"/>
                    <a:pt x="80" y="192"/>
                    <a:pt x="80" y="192"/>
                  </a:cubicBezTo>
                  <a:cubicBezTo>
                    <a:pt x="81" y="192"/>
                    <a:pt x="81" y="192"/>
                    <a:pt x="81" y="192"/>
                  </a:cubicBezTo>
                  <a:cubicBezTo>
                    <a:pt x="83" y="193"/>
                    <a:pt x="83" y="193"/>
                    <a:pt x="83" y="193"/>
                  </a:cubicBezTo>
                  <a:cubicBezTo>
                    <a:pt x="87" y="194"/>
                    <a:pt x="91" y="195"/>
                    <a:pt x="95" y="197"/>
                  </a:cubicBezTo>
                  <a:cubicBezTo>
                    <a:pt x="96" y="197"/>
                    <a:pt x="97" y="198"/>
                    <a:pt x="99" y="198"/>
                  </a:cubicBezTo>
                  <a:cubicBezTo>
                    <a:pt x="100" y="198"/>
                    <a:pt x="100" y="198"/>
                    <a:pt x="100" y="198"/>
                  </a:cubicBezTo>
                  <a:cubicBezTo>
                    <a:pt x="100" y="199"/>
                    <a:pt x="101" y="199"/>
                    <a:pt x="101" y="199"/>
                  </a:cubicBezTo>
                  <a:cubicBezTo>
                    <a:pt x="103" y="200"/>
                    <a:pt x="103" y="200"/>
                    <a:pt x="103" y="200"/>
                  </a:cubicBezTo>
                  <a:cubicBezTo>
                    <a:pt x="103" y="200"/>
                    <a:pt x="103" y="200"/>
                    <a:pt x="103" y="200"/>
                  </a:cubicBezTo>
                  <a:cubicBezTo>
                    <a:pt x="103" y="199"/>
                    <a:pt x="103" y="198"/>
                    <a:pt x="104" y="198"/>
                  </a:cubicBezTo>
                  <a:cubicBezTo>
                    <a:pt x="104" y="198"/>
                    <a:pt x="104" y="197"/>
                    <a:pt x="105" y="197"/>
                  </a:cubicBezTo>
                  <a:cubicBezTo>
                    <a:pt x="107" y="197"/>
                    <a:pt x="112" y="203"/>
                    <a:pt x="113" y="205"/>
                  </a:cubicBezTo>
                  <a:cubicBezTo>
                    <a:pt x="114" y="207"/>
                    <a:pt x="116" y="208"/>
                    <a:pt x="117" y="210"/>
                  </a:cubicBezTo>
                  <a:cubicBezTo>
                    <a:pt x="117" y="216"/>
                    <a:pt x="119" y="222"/>
                    <a:pt x="119" y="227"/>
                  </a:cubicBezTo>
                  <a:cubicBezTo>
                    <a:pt x="119" y="234"/>
                    <a:pt x="122" y="239"/>
                    <a:pt x="125" y="244"/>
                  </a:cubicBezTo>
                  <a:cubicBezTo>
                    <a:pt x="126" y="243"/>
                    <a:pt x="126" y="243"/>
                    <a:pt x="126" y="243"/>
                  </a:cubicBezTo>
                  <a:cubicBezTo>
                    <a:pt x="127" y="244"/>
                    <a:pt x="127" y="244"/>
                    <a:pt x="127" y="244"/>
                  </a:cubicBezTo>
                  <a:cubicBezTo>
                    <a:pt x="130" y="244"/>
                    <a:pt x="136" y="245"/>
                    <a:pt x="139" y="245"/>
                  </a:cubicBezTo>
                  <a:cubicBezTo>
                    <a:pt x="140" y="245"/>
                    <a:pt x="141" y="245"/>
                    <a:pt x="141" y="245"/>
                  </a:cubicBezTo>
                  <a:cubicBezTo>
                    <a:pt x="141" y="245"/>
                    <a:pt x="141" y="245"/>
                    <a:pt x="142" y="244"/>
                  </a:cubicBezTo>
                  <a:cubicBezTo>
                    <a:pt x="142" y="244"/>
                    <a:pt x="142" y="244"/>
                    <a:pt x="142" y="244"/>
                  </a:cubicBezTo>
                  <a:cubicBezTo>
                    <a:pt x="144" y="242"/>
                    <a:pt x="146" y="241"/>
                    <a:pt x="148" y="241"/>
                  </a:cubicBezTo>
                  <a:cubicBezTo>
                    <a:pt x="149" y="241"/>
                    <a:pt x="150" y="241"/>
                    <a:pt x="151" y="242"/>
                  </a:cubicBezTo>
                  <a:cubicBezTo>
                    <a:pt x="152" y="242"/>
                    <a:pt x="152" y="242"/>
                    <a:pt x="152" y="242"/>
                  </a:cubicBezTo>
                  <a:cubicBezTo>
                    <a:pt x="152" y="243"/>
                    <a:pt x="152" y="243"/>
                    <a:pt x="152" y="243"/>
                  </a:cubicBezTo>
                  <a:cubicBezTo>
                    <a:pt x="153" y="243"/>
                    <a:pt x="153" y="243"/>
                    <a:pt x="153" y="243"/>
                  </a:cubicBezTo>
                  <a:cubicBezTo>
                    <a:pt x="154" y="243"/>
                    <a:pt x="154" y="244"/>
                    <a:pt x="155" y="244"/>
                  </a:cubicBezTo>
                  <a:cubicBezTo>
                    <a:pt x="156" y="245"/>
                    <a:pt x="156" y="245"/>
                    <a:pt x="156" y="245"/>
                  </a:cubicBezTo>
                  <a:cubicBezTo>
                    <a:pt x="159" y="246"/>
                    <a:pt x="162" y="248"/>
                    <a:pt x="165" y="248"/>
                  </a:cubicBezTo>
                  <a:cubicBezTo>
                    <a:pt x="165" y="248"/>
                    <a:pt x="165" y="248"/>
                    <a:pt x="166" y="248"/>
                  </a:cubicBezTo>
                  <a:cubicBezTo>
                    <a:pt x="167" y="247"/>
                    <a:pt x="168" y="247"/>
                    <a:pt x="169" y="246"/>
                  </a:cubicBezTo>
                  <a:cubicBezTo>
                    <a:pt x="170" y="246"/>
                    <a:pt x="171" y="246"/>
                    <a:pt x="172" y="245"/>
                  </a:cubicBezTo>
                  <a:cubicBezTo>
                    <a:pt x="173" y="245"/>
                    <a:pt x="174" y="245"/>
                    <a:pt x="175" y="245"/>
                  </a:cubicBezTo>
                  <a:cubicBezTo>
                    <a:pt x="178" y="245"/>
                    <a:pt x="180" y="246"/>
                    <a:pt x="182" y="246"/>
                  </a:cubicBezTo>
                  <a:cubicBezTo>
                    <a:pt x="183" y="247"/>
                    <a:pt x="184" y="247"/>
                    <a:pt x="185" y="247"/>
                  </a:cubicBezTo>
                  <a:cubicBezTo>
                    <a:pt x="186" y="247"/>
                    <a:pt x="186" y="247"/>
                    <a:pt x="186" y="247"/>
                  </a:cubicBezTo>
                  <a:cubicBezTo>
                    <a:pt x="188" y="246"/>
                    <a:pt x="190" y="246"/>
                    <a:pt x="190" y="245"/>
                  </a:cubicBezTo>
                  <a:cubicBezTo>
                    <a:pt x="191" y="244"/>
                    <a:pt x="191" y="244"/>
                    <a:pt x="191" y="244"/>
                  </a:cubicBezTo>
                  <a:cubicBezTo>
                    <a:pt x="191" y="244"/>
                    <a:pt x="191" y="243"/>
                    <a:pt x="192" y="242"/>
                  </a:cubicBezTo>
                  <a:cubicBezTo>
                    <a:pt x="192" y="241"/>
                    <a:pt x="193" y="241"/>
                    <a:pt x="194" y="240"/>
                  </a:cubicBezTo>
                  <a:cubicBezTo>
                    <a:pt x="190" y="235"/>
                    <a:pt x="190" y="235"/>
                    <a:pt x="190" y="235"/>
                  </a:cubicBezTo>
                  <a:cubicBezTo>
                    <a:pt x="195" y="239"/>
                    <a:pt x="195" y="239"/>
                    <a:pt x="195" y="239"/>
                  </a:cubicBezTo>
                  <a:cubicBezTo>
                    <a:pt x="195" y="239"/>
                    <a:pt x="195" y="239"/>
                    <a:pt x="195" y="239"/>
                  </a:cubicBezTo>
                  <a:cubicBezTo>
                    <a:pt x="197" y="238"/>
                    <a:pt x="199" y="237"/>
                    <a:pt x="200" y="237"/>
                  </a:cubicBezTo>
                  <a:cubicBezTo>
                    <a:pt x="202" y="237"/>
                    <a:pt x="203" y="237"/>
                    <a:pt x="204" y="238"/>
                  </a:cubicBezTo>
                  <a:cubicBezTo>
                    <a:pt x="207" y="239"/>
                    <a:pt x="209" y="240"/>
                    <a:pt x="209" y="240"/>
                  </a:cubicBezTo>
                  <a:cubicBezTo>
                    <a:pt x="210" y="240"/>
                    <a:pt x="210" y="240"/>
                    <a:pt x="211" y="239"/>
                  </a:cubicBezTo>
                  <a:cubicBezTo>
                    <a:pt x="211" y="239"/>
                    <a:pt x="211" y="239"/>
                    <a:pt x="211" y="239"/>
                  </a:cubicBezTo>
                  <a:cubicBezTo>
                    <a:pt x="212" y="238"/>
                    <a:pt x="212" y="238"/>
                    <a:pt x="212" y="238"/>
                  </a:cubicBezTo>
                  <a:cubicBezTo>
                    <a:pt x="213" y="238"/>
                    <a:pt x="213" y="238"/>
                    <a:pt x="213" y="238"/>
                  </a:cubicBezTo>
                  <a:cubicBezTo>
                    <a:pt x="216" y="236"/>
                    <a:pt x="219" y="234"/>
                    <a:pt x="224" y="234"/>
                  </a:cubicBezTo>
                  <a:cubicBezTo>
                    <a:pt x="225" y="234"/>
                    <a:pt x="225" y="234"/>
                    <a:pt x="225" y="234"/>
                  </a:cubicBezTo>
                  <a:cubicBezTo>
                    <a:pt x="225" y="234"/>
                    <a:pt x="225" y="234"/>
                    <a:pt x="225" y="234"/>
                  </a:cubicBezTo>
                  <a:cubicBezTo>
                    <a:pt x="226" y="234"/>
                    <a:pt x="226" y="234"/>
                    <a:pt x="226" y="234"/>
                  </a:cubicBezTo>
                  <a:cubicBezTo>
                    <a:pt x="226" y="234"/>
                    <a:pt x="227" y="234"/>
                    <a:pt x="227" y="234"/>
                  </a:cubicBezTo>
                  <a:cubicBezTo>
                    <a:pt x="228" y="234"/>
                    <a:pt x="228" y="234"/>
                    <a:pt x="229" y="234"/>
                  </a:cubicBezTo>
                  <a:cubicBezTo>
                    <a:pt x="236" y="232"/>
                    <a:pt x="242" y="227"/>
                    <a:pt x="247" y="224"/>
                  </a:cubicBezTo>
                  <a:cubicBezTo>
                    <a:pt x="255" y="218"/>
                    <a:pt x="255" y="218"/>
                    <a:pt x="255" y="218"/>
                  </a:cubicBezTo>
                  <a:cubicBezTo>
                    <a:pt x="255" y="218"/>
                    <a:pt x="255" y="218"/>
                    <a:pt x="255" y="218"/>
                  </a:cubicBezTo>
                  <a:cubicBezTo>
                    <a:pt x="254" y="217"/>
                    <a:pt x="253" y="216"/>
                    <a:pt x="253" y="215"/>
                  </a:cubicBezTo>
                  <a:cubicBezTo>
                    <a:pt x="251" y="214"/>
                    <a:pt x="250" y="214"/>
                    <a:pt x="249" y="214"/>
                  </a:cubicBezTo>
                  <a:cubicBezTo>
                    <a:pt x="248" y="213"/>
                    <a:pt x="248" y="213"/>
                    <a:pt x="248" y="213"/>
                  </a:cubicBezTo>
                  <a:cubicBezTo>
                    <a:pt x="247" y="213"/>
                    <a:pt x="247" y="213"/>
                    <a:pt x="246" y="214"/>
                  </a:cubicBezTo>
                  <a:cubicBezTo>
                    <a:pt x="246" y="214"/>
                    <a:pt x="246" y="214"/>
                    <a:pt x="245" y="214"/>
                  </a:cubicBezTo>
                  <a:cubicBezTo>
                    <a:pt x="245" y="214"/>
                    <a:pt x="244" y="213"/>
                    <a:pt x="244" y="212"/>
                  </a:cubicBezTo>
                  <a:cubicBezTo>
                    <a:pt x="243" y="211"/>
                    <a:pt x="242" y="210"/>
                    <a:pt x="241" y="210"/>
                  </a:cubicBezTo>
                  <a:cubicBezTo>
                    <a:pt x="240" y="210"/>
                    <a:pt x="239" y="210"/>
                    <a:pt x="239" y="210"/>
                  </a:cubicBezTo>
                  <a:cubicBezTo>
                    <a:pt x="239" y="205"/>
                    <a:pt x="235" y="200"/>
                    <a:pt x="235" y="196"/>
                  </a:cubicBezTo>
                  <a:cubicBezTo>
                    <a:pt x="235" y="194"/>
                    <a:pt x="237" y="193"/>
                    <a:pt x="237" y="191"/>
                  </a:cubicBezTo>
                  <a:cubicBezTo>
                    <a:pt x="236" y="188"/>
                    <a:pt x="233" y="186"/>
                    <a:pt x="232" y="184"/>
                  </a:cubicBezTo>
                  <a:cubicBezTo>
                    <a:pt x="230" y="182"/>
                    <a:pt x="230" y="178"/>
                    <a:pt x="230" y="175"/>
                  </a:cubicBezTo>
                  <a:cubicBezTo>
                    <a:pt x="229" y="171"/>
                    <a:pt x="228" y="169"/>
                    <a:pt x="230" y="166"/>
                  </a:cubicBezTo>
                  <a:cubicBezTo>
                    <a:pt x="233" y="160"/>
                    <a:pt x="231" y="158"/>
                    <a:pt x="230" y="152"/>
                  </a:cubicBezTo>
                  <a:cubicBezTo>
                    <a:pt x="228" y="147"/>
                    <a:pt x="232" y="144"/>
                    <a:pt x="234" y="139"/>
                  </a:cubicBezTo>
                  <a:cubicBezTo>
                    <a:pt x="236" y="136"/>
                    <a:pt x="223" y="127"/>
                    <a:pt x="221" y="125"/>
                  </a:cubicBezTo>
                  <a:cubicBezTo>
                    <a:pt x="218" y="123"/>
                    <a:pt x="216" y="116"/>
                    <a:pt x="217" y="114"/>
                  </a:cubicBezTo>
                  <a:cubicBezTo>
                    <a:pt x="220" y="106"/>
                    <a:pt x="222" y="98"/>
                    <a:pt x="225" y="90"/>
                  </a:cubicBezTo>
                  <a:cubicBezTo>
                    <a:pt x="225" y="89"/>
                    <a:pt x="226" y="88"/>
                    <a:pt x="226" y="86"/>
                  </a:cubicBezTo>
                  <a:cubicBezTo>
                    <a:pt x="226" y="86"/>
                    <a:pt x="226" y="86"/>
                    <a:pt x="226" y="86"/>
                  </a:cubicBezTo>
                  <a:cubicBezTo>
                    <a:pt x="225" y="86"/>
                    <a:pt x="225" y="86"/>
                    <a:pt x="225" y="86"/>
                  </a:cubicBezTo>
                  <a:cubicBezTo>
                    <a:pt x="222" y="84"/>
                    <a:pt x="219" y="82"/>
                    <a:pt x="217" y="80"/>
                  </a:cubicBezTo>
                  <a:cubicBezTo>
                    <a:pt x="215" y="79"/>
                    <a:pt x="215" y="79"/>
                    <a:pt x="215" y="79"/>
                  </a:cubicBezTo>
                  <a:cubicBezTo>
                    <a:pt x="214" y="78"/>
                    <a:pt x="212" y="77"/>
                    <a:pt x="211" y="76"/>
                  </a:cubicBezTo>
                  <a:cubicBezTo>
                    <a:pt x="210" y="75"/>
                    <a:pt x="210" y="75"/>
                    <a:pt x="210" y="75"/>
                  </a:cubicBezTo>
                  <a:cubicBezTo>
                    <a:pt x="209" y="74"/>
                    <a:pt x="208" y="74"/>
                    <a:pt x="208" y="74"/>
                  </a:cubicBezTo>
                  <a:cubicBezTo>
                    <a:pt x="205" y="71"/>
                    <a:pt x="205" y="71"/>
                    <a:pt x="205" y="71"/>
                  </a:cubicBezTo>
                  <a:cubicBezTo>
                    <a:pt x="200" y="68"/>
                    <a:pt x="194" y="64"/>
                    <a:pt x="189" y="59"/>
                  </a:cubicBezTo>
                  <a:cubicBezTo>
                    <a:pt x="188" y="58"/>
                    <a:pt x="188" y="58"/>
                    <a:pt x="188" y="58"/>
                  </a:cubicBezTo>
                  <a:cubicBezTo>
                    <a:pt x="187" y="56"/>
                    <a:pt x="187" y="54"/>
                    <a:pt x="187" y="52"/>
                  </a:cubicBezTo>
                  <a:cubicBezTo>
                    <a:pt x="188" y="51"/>
                    <a:pt x="188" y="50"/>
                    <a:pt x="188" y="50"/>
                  </a:cubicBezTo>
                  <a:cubicBezTo>
                    <a:pt x="188" y="49"/>
                    <a:pt x="188" y="49"/>
                    <a:pt x="188" y="49"/>
                  </a:cubicBezTo>
                  <a:cubicBezTo>
                    <a:pt x="188" y="49"/>
                    <a:pt x="187" y="49"/>
                    <a:pt x="186" y="48"/>
                  </a:cubicBezTo>
                  <a:cubicBezTo>
                    <a:pt x="186" y="48"/>
                    <a:pt x="186" y="48"/>
                    <a:pt x="186" y="48"/>
                  </a:cubicBezTo>
                  <a:cubicBezTo>
                    <a:pt x="183" y="52"/>
                    <a:pt x="183" y="52"/>
                    <a:pt x="183" y="52"/>
                  </a:cubicBezTo>
                  <a:cubicBezTo>
                    <a:pt x="185" y="47"/>
                    <a:pt x="185" y="47"/>
                    <a:pt x="185" y="47"/>
                  </a:cubicBezTo>
                  <a:cubicBezTo>
                    <a:pt x="184" y="47"/>
                    <a:pt x="184" y="47"/>
                    <a:pt x="184" y="47"/>
                  </a:cubicBezTo>
                  <a:cubicBezTo>
                    <a:pt x="184" y="46"/>
                    <a:pt x="183" y="45"/>
                    <a:pt x="183" y="45"/>
                  </a:cubicBezTo>
                  <a:cubicBezTo>
                    <a:pt x="181" y="44"/>
                    <a:pt x="180" y="42"/>
                    <a:pt x="179" y="42"/>
                  </a:cubicBezTo>
                  <a:cubicBezTo>
                    <a:pt x="167" y="35"/>
                    <a:pt x="155" y="28"/>
                    <a:pt x="143" y="22"/>
                  </a:cubicBezTo>
                  <a:cubicBezTo>
                    <a:pt x="130" y="14"/>
                    <a:pt x="117" y="7"/>
                    <a:pt x="105" y="0"/>
                  </a:cubicBezTo>
                  <a:cubicBezTo>
                    <a:pt x="104" y="2"/>
                    <a:pt x="103" y="4"/>
                    <a:pt x="104" y="5"/>
                  </a:cubicBezTo>
                  <a:cubicBezTo>
                    <a:pt x="103" y="5"/>
                    <a:pt x="102" y="5"/>
                    <a:pt x="101" y="5"/>
                  </a:cubicBezTo>
                  <a:cubicBezTo>
                    <a:pt x="100" y="5"/>
                    <a:pt x="100" y="5"/>
                    <a:pt x="100" y="5"/>
                  </a:cubicBezTo>
                  <a:cubicBezTo>
                    <a:pt x="100" y="8"/>
                    <a:pt x="102" y="8"/>
                    <a:pt x="103" y="9"/>
                  </a:cubicBezTo>
                  <a:cubicBezTo>
                    <a:pt x="102" y="9"/>
                    <a:pt x="100" y="8"/>
                    <a:pt x="99" y="8"/>
                  </a:cubicBezTo>
                  <a:cubicBezTo>
                    <a:pt x="99" y="8"/>
                    <a:pt x="98" y="8"/>
                    <a:pt x="98" y="9"/>
                  </a:cubicBezTo>
                  <a:cubicBezTo>
                    <a:pt x="97" y="9"/>
                    <a:pt x="97" y="9"/>
                    <a:pt x="97" y="9"/>
                  </a:cubicBezTo>
                  <a:cubicBezTo>
                    <a:pt x="97" y="9"/>
                    <a:pt x="97" y="9"/>
                    <a:pt x="97" y="9"/>
                  </a:cubicBezTo>
                  <a:cubicBezTo>
                    <a:pt x="97" y="9"/>
                    <a:pt x="97" y="9"/>
                    <a:pt x="97" y="9"/>
                  </a:cubicBezTo>
                  <a:cubicBezTo>
                    <a:pt x="96" y="9"/>
                    <a:pt x="97" y="9"/>
                    <a:pt x="97" y="11"/>
                  </a:cubicBezTo>
                  <a:cubicBezTo>
                    <a:pt x="97" y="12"/>
                    <a:pt x="98" y="13"/>
                    <a:pt x="96" y="15"/>
                  </a:cubicBezTo>
                  <a:cubicBezTo>
                    <a:pt x="94" y="17"/>
                    <a:pt x="88" y="14"/>
                    <a:pt x="88" y="19"/>
                  </a:cubicBezTo>
                  <a:cubicBezTo>
                    <a:pt x="89" y="19"/>
                    <a:pt x="90" y="18"/>
                    <a:pt x="91" y="18"/>
                  </a:cubicBezTo>
                  <a:cubicBezTo>
                    <a:pt x="90" y="22"/>
                    <a:pt x="90" y="22"/>
                    <a:pt x="90" y="22"/>
                  </a:cubicBezTo>
                  <a:cubicBezTo>
                    <a:pt x="89" y="22"/>
                    <a:pt x="89" y="22"/>
                    <a:pt x="88" y="22"/>
                  </a:cubicBezTo>
                  <a:cubicBezTo>
                    <a:pt x="87" y="22"/>
                    <a:pt x="86" y="22"/>
                    <a:pt x="86" y="22"/>
                  </a:cubicBezTo>
                  <a:cubicBezTo>
                    <a:pt x="85" y="24"/>
                    <a:pt x="88" y="24"/>
                    <a:pt x="91" y="24"/>
                  </a:cubicBezTo>
                  <a:cubicBezTo>
                    <a:pt x="95" y="24"/>
                    <a:pt x="99" y="24"/>
                    <a:pt x="100" y="24"/>
                  </a:cubicBezTo>
                  <a:cubicBezTo>
                    <a:pt x="98" y="26"/>
                    <a:pt x="93" y="33"/>
                    <a:pt x="90" y="34"/>
                  </a:cubicBezTo>
                  <a:cubicBezTo>
                    <a:pt x="90" y="34"/>
                    <a:pt x="90" y="34"/>
                    <a:pt x="90" y="34"/>
                  </a:cubicBezTo>
                  <a:cubicBezTo>
                    <a:pt x="90" y="34"/>
                    <a:pt x="88" y="33"/>
                    <a:pt x="88" y="33"/>
                  </a:cubicBezTo>
                  <a:cubicBezTo>
                    <a:pt x="88" y="32"/>
                    <a:pt x="87" y="32"/>
                    <a:pt x="87" y="32"/>
                  </a:cubicBezTo>
                  <a:cubicBezTo>
                    <a:pt x="87" y="32"/>
                    <a:pt x="87" y="32"/>
                    <a:pt x="86" y="32"/>
                  </a:cubicBezTo>
                  <a:cubicBezTo>
                    <a:pt x="86" y="32"/>
                    <a:pt x="86" y="32"/>
                    <a:pt x="86" y="32"/>
                  </a:cubicBezTo>
                  <a:cubicBezTo>
                    <a:pt x="86" y="32"/>
                    <a:pt x="85" y="32"/>
                    <a:pt x="85" y="32"/>
                  </a:cubicBezTo>
                  <a:cubicBezTo>
                    <a:pt x="84" y="32"/>
                    <a:pt x="83" y="31"/>
                    <a:pt x="82" y="31"/>
                  </a:cubicBezTo>
                  <a:cubicBezTo>
                    <a:pt x="81" y="31"/>
                    <a:pt x="80" y="31"/>
                    <a:pt x="80" y="31"/>
                  </a:cubicBezTo>
                  <a:cubicBezTo>
                    <a:pt x="79" y="31"/>
                    <a:pt x="79" y="31"/>
                    <a:pt x="78" y="33"/>
                  </a:cubicBezTo>
                  <a:cubicBezTo>
                    <a:pt x="78" y="35"/>
                    <a:pt x="78" y="35"/>
                    <a:pt x="78" y="35"/>
                  </a:cubicBezTo>
                  <a:cubicBezTo>
                    <a:pt x="78" y="36"/>
                    <a:pt x="78" y="36"/>
                    <a:pt x="78" y="37"/>
                  </a:cubicBezTo>
                  <a:cubicBezTo>
                    <a:pt x="78" y="40"/>
                    <a:pt x="77" y="42"/>
                    <a:pt x="75" y="44"/>
                  </a:cubicBezTo>
                  <a:cubicBezTo>
                    <a:pt x="75" y="43"/>
                    <a:pt x="75" y="43"/>
                    <a:pt x="76" y="42"/>
                  </a:cubicBezTo>
                  <a:cubicBezTo>
                    <a:pt x="75" y="42"/>
                    <a:pt x="75" y="41"/>
                    <a:pt x="74" y="41"/>
                  </a:cubicBezTo>
                  <a:cubicBezTo>
                    <a:pt x="78" y="39"/>
                    <a:pt x="77" y="39"/>
                    <a:pt x="77" y="37"/>
                  </a:cubicBezTo>
                  <a:cubicBezTo>
                    <a:pt x="76" y="36"/>
                    <a:pt x="76" y="34"/>
                    <a:pt x="77" y="33"/>
                  </a:cubicBezTo>
                  <a:cubicBezTo>
                    <a:pt x="76" y="33"/>
                    <a:pt x="76" y="33"/>
                    <a:pt x="76" y="33"/>
                  </a:cubicBezTo>
                  <a:cubicBezTo>
                    <a:pt x="75" y="33"/>
                    <a:pt x="74" y="33"/>
                    <a:pt x="73" y="33"/>
                  </a:cubicBezTo>
                  <a:cubicBezTo>
                    <a:pt x="74" y="32"/>
                    <a:pt x="73" y="31"/>
                    <a:pt x="72" y="30"/>
                  </a:cubicBezTo>
                  <a:cubicBezTo>
                    <a:pt x="72" y="31"/>
                    <a:pt x="71" y="33"/>
                    <a:pt x="69" y="34"/>
                  </a:cubicBezTo>
                  <a:cubicBezTo>
                    <a:pt x="70" y="31"/>
                    <a:pt x="69" y="32"/>
                    <a:pt x="67" y="31"/>
                  </a:cubicBezTo>
                  <a:cubicBezTo>
                    <a:pt x="65" y="30"/>
                    <a:pt x="65" y="28"/>
                    <a:pt x="62" y="27"/>
                  </a:cubicBezTo>
                  <a:cubicBezTo>
                    <a:pt x="63" y="29"/>
                    <a:pt x="59" y="28"/>
                    <a:pt x="59" y="30"/>
                  </a:cubicBezTo>
                  <a:cubicBezTo>
                    <a:pt x="59" y="30"/>
                    <a:pt x="60" y="32"/>
                    <a:pt x="60" y="33"/>
                  </a:cubicBezTo>
                  <a:cubicBezTo>
                    <a:pt x="59" y="33"/>
                    <a:pt x="58" y="33"/>
                    <a:pt x="58" y="33"/>
                  </a:cubicBezTo>
                  <a:cubicBezTo>
                    <a:pt x="57" y="33"/>
                    <a:pt x="57" y="33"/>
                    <a:pt x="57" y="33"/>
                  </a:cubicBezTo>
                  <a:cubicBezTo>
                    <a:pt x="57" y="33"/>
                    <a:pt x="57" y="34"/>
                    <a:pt x="56" y="35"/>
                  </a:cubicBezTo>
                  <a:cubicBezTo>
                    <a:pt x="56" y="35"/>
                    <a:pt x="57" y="37"/>
                    <a:pt x="57" y="38"/>
                  </a:cubicBezTo>
                  <a:cubicBezTo>
                    <a:pt x="57" y="38"/>
                    <a:pt x="57" y="38"/>
                    <a:pt x="57" y="38"/>
                  </a:cubicBezTo>
                  <a:cubicBezTo>
                    <a:pt x="56" y="38"/>
                    <a:pt x="55" y="36"/>
                    <a:pt x="55" y="36"/>
                  </a:cubicBezTo>
                  <a:cubicBezTo>
                    <a:pt x="53" y="36"/>
                    <a:pt x="53" y="38"/>
                    <a:pt x="53" y="39"/>
                  </a:cubicBezTo>
                  <a:cubicBezTo>
                    <a:pt x="52" y="36"/>
                    <a:pt x="51" y="32"/>
                    <a:pt x="50" y="28"/>
                  </a:cubicBezTo>
                  <a:cubicBezTo>
                    <a:pt x="50" y="27"/>
                    <a:pt x="48" y="22"/>
                    <a:pt x="48" y="21"/>
                  </a:cubicBezTo>
                  <a:cubicBezTo>
                    <a:pt x="48" y="19"/>
                    <a:pt x="49" y="19"/>
                    <a:pt x="50" y="18"/>
                  </a:cubicBezTo>
                  <a:cubicBezTo>
                    <a:pt x="52" y="13"/>
                    <a:pt x="52" y="6"/>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2" name="Freeform 311">
              <a:extLst>
                <a:ext uri="{FF2B5EF4-FFF2-40B4-BE49-F238E27FC236}">
                  <a16:creationId xmlns:a16="http://schemas.microsoft.com/office/drawing/2014/main" id="{1DD0417D-FDC9-4068-BF88-68358BF8B60A}"/>
                </a:ext>
              </a:extLst>
            </p:cNvPr>
            <p:cNvSpPr>
              <a:spLocks noEditPoints="1"/>
            </p:cNvSpPr>
            <p:nvPr/>
          </p:nvSpPr>
          <p:spPr bwMode="auto">
            <a:xfrm>
              <a:off x="5551" y="2504"/>
              <a:ext cx="426" cy="506"/>
            </a:xfrm>
            <a:custGeom>
              <a:avLst/>
              <a:gdLst>
                <a:gd name="T0" fmla="*/ 44 w 180"/>
                <a:gd name="T1" fmla="*/ 0 h 214"/>
                <a:gd name="T2" fmla="*/ 8 w 180"/>
                <a:gd name="T3" fmla="*/ 3 h 214"/>
                <a:gd name="T4" fmla="*/ 4 w 180"/>
                <a:gd name="T5" fmla="*/ 7 h 214"/>
                <a:gd name="T6" fmla="*/ 7 w 180"/>
                <a:gd name="T7" fmla="*/ 14 h 214"/>
                <a:gd name="T8" fmla="*/ 11 w 180"/>
                <a:gd name="T9" fmla="*/ 16 h 214"/>
                <a:gd name="T10" fmla="*/ 14 w 180"/>
                <a:gd name="T11" fmla="*/ 20 h 214"/>
                <a:gd name="T12" fmla="*/ 20 w 180"/>
                <a:gd name="T13" fmla="*/ 37 h 214"/>
                <a:gd name="T14" fmla="*/ 32 w 180"/>
                <a:gd name="T15" fmla="*/ 55 h 214"/>
                <a:gd name="T16" fmla="*/ 26 w 180"/>
                <a:gd name="T17" fmla="*/ 59 h 214"/>
                <a:gd name="T18" fmla="*/ 22 w 180"/>
                <a:gd name="T19" fmla="*/ 73 h 214"/>
                <a:gd name="T20" fmla="*/ 17 w 180"/>
                <a:gd name="T21" fmla="*/ 81 h 214"/>
                <a:gd name="T22" fmla="*/ 13 w 180"/>
                <a:gd name="T23" fmla="*/ 83 h 214"/>
                <a:gd name="T24" fmla="*/ 9 w 180"/>
                <a:gd name="T25" fmla="*/ 91 h 214"/>
                <a:gd name="T26" fmla="*/ 3 w 180"/>
                <a:gd name="T27" fmla="*/ 100 h 214"/>
                <a:gd name="T28" fmla="*/ 1 w 180"/>
                <a:gd name="T29" fmla="*/ 103 h 214"/>
                <a:gd name="T30" fmla="*/ 5 w 180"/>
                <a:gd name="T31" fmla="*/ 113 h 214"/>
                <a:gd name="T32" fmla="*/ 18 w 180"/>
                <a:gd name="T33" fmla="*/ 108 h 214"/>
                <a:gd name="T34" fmla="*/ 19 w 180"/>
                <a:gd name="T35" fmla="*/ 112 h 214"/>
                <a:gd name="T36" fmla="*/ 15 w 180"/>
                <a:gd name="T37" fmla="*/ 114 h 214"/>
                <a:gd name="T38" fmla="*/ 13 w 180"/>
                <a:gd name="T39" fmla="*/ 113 h 214"/>
                <a:gd name="T40" fmla="*/ 11 w 180"/>
                <a:gd name="T41" fmla="*/ 118 h 214"/>
                <a:gd name="T42" fmla="*/ 8 w 180"/>
                <a:gd name="T43" fmla="*/ 116 h 214"/>
                <a:gd name="T44" fmla="*/ 6 w 180"/>
                <a:gd name="T45" fmla="*/ 116 h 214"/>
                <a:gd name="T46" fmla="*/ 4 w 180"/>
                <a:gd name="T47" fmla="*/ 126 h 214"/>
                <a:gd name="T48" fmla="*/ 77 w 180"/>
                <a:gd name="T49" fmla="*/ 169 h 214"/>
                <a:gd name="T50" fmla="*/ 83 w 180"/>
                <a:gd name="T51" fmla="*/ 173 h 214"/>
                <a:gd name="T52" fmla="*/ 90 w 180"/>
                <a:gd name="T53" fmla="*/ 182 h 214"/>
                <a:gd name="T54" fmla="*/ 108 w 180"/>
                <a:gd name="T55" fmla="*/ 201 h 214"/>
                <a:gd name="T56" fmla="*/ 116 w 180"/>
                <a:gd name="T57" fmla="*/ 207 h 214"/>
                <a:gd name="T58" fmla="*/ 132 w 180"/>
                <a:gd name="T59" fmla="*/ 206 h 214"/>
                <a:gd name="T60" fmla="*/ 136 w 180"/>
                <a:gd name="T61" fmla="*/ 190 h 214"/>
                <a:gd name="T62" fmla="*/ 158 w 180"/>
                <a:gd name="T63" fmla="*/ 162 h 214"/>
                <a:gd name="T64" fmla="*/ 164 w 180"/>
                <a:gd name="T65" fmla="*/ 159 h 214"/>
                <a:gd name="T66" fmla="*/ 163 w 180"/>
                <a:gd name="T67" fmla="*/ 156 h 214"/>
                <a:gd name="T68" fmla="*/ 165 w 180"/>
                <a:gd name="T69" fmla="*/ 150 h 214"/>
                <a:gd name="T70" fmla="*/ 176 w 180"/>
                <a:gd name="T71" fmla="*/ 147 h 214"/>
                <a:gd name="T72" fmla="*/ 165 w 180"/>
                <a:gd name="T73" fmla="*/ 131 h 214"/>
                <a:gd name="T74" fmla="*/ 162 w 180"/>
                <a:gd name="T75" fmla="*/ 110 h 214"/>
                <a:gd name="T76" fmla="*/ 162 w 180"/>
                <a:gd name="T77" fmla="*/ 47 h 214"/>
                <a:gd name="T78" fmla="*/ 165 w 180"/>
                <a:gd name="T79" fmla="*/ 33 h 214"/>
                <a:gd name="T80" fmla="*/ 170 w 180"/>
                <a:gd name="T81" fmla="*/ 27 h 214"/>
                <a:gd name="T82" fmla="*/ 172 w 180"/>
                <a:gd name="T83" fmla="*/ 16 h 214"/>
                <a:gd name="T84" fmla="*/ 159 w 180"/>
                <a:gd name="T85" fmla="*/ 8 h 214"/>
                <a:gd name="T86" fmla="*/ 132 w 180"/>
                <a:gd name="T87" fmla="*/ 28 h 214"/>
                <a:gd name="T88" fmla="*/ 128 w 180"/>
                <a:gd name="T89" fmla="*/ 28 h 214"/>
                <a:gd name="T90" fmla="*/ 115 w 180"/>
                <a:gd name="T91" fmla="*/ 25 h 214"/>
                <a:gd name="T92" fmla="*/ 91 w 180"/>
                <a:gd name="T93" fmla="*/ 20 h 214"/>
                <a:gd name="T94" fmla="*/ 75 w 180"/>
                <a:gd name="T95" fmla="*/ 9 h 214"/>
                <a:gd name="T96" fmla="*/ 68 w 180"/>
                <a:gd name="T97" fmla="*/ 6 h 214"/>
                <a:gd name="T98" fmla="*/ 62 w 180"/>
                <a:gd name="T99" fmla="*/ 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214">
                  <a:moveTo>
                    <a:pt x="164" y="158"/>
                  </a:moveTo>
                  <a:cubicBezTo>
                    <a:pt x="164" y="158"/>
                    <a:pt x="164" y="158"/>
                    <a:pt x="164" y="158"/>
                  </a:cubicBezTo>
                  <a:cubicBezTo>
                    <a:pt x="164" y="158"/>
                    <a:pt x="164" y="158"/>
                    <a:pt x="164" y="158"/>
                  </a:cubicBezTo>
                  <a:moveTo>
                    <a:pt x="44" y="0"/>
                  </a:moveTo>
                  <a:cubicBezTo>
                    <a:pt x="41" y="0"/>
                    <a:pt x="41" y="0"/>
                    <a:pt x="41" y="0"/>
                  </a:cubicBezTo>
                  <a:cubicBezTo>
                    <a:pt x="11" y="0"/>
                    <a:pt x="11" y="0"/>
                    <a:pt x="11" y="0"/>
                  </a:cubicBezTo>
                  <a:cubicBezTo>
                    <a:pt x="10" y="0"/>
                    <a:pt x="10" y="0"/>
                    <a:pt x="9" y="1"/>
                  </a:cubicBezTo>
                  <a:cubicBezTo>
                    <a:pt x="8" y="2"/>
                    <a:pt x="8" y="2"/>
                    <a:pt x="8" y="3"/>
                  </a:cubicBezTo>
                  <a:cubicBezTo>
                    <a:pt x="7" y="3"/>
                    <a:pt x="7" y="4"/>
                    <a:pt x="6" y="4"/>
                  </a:cubicBezTo>
                  <a:cubicBezTo>
                    <a:pt x="6" y="4"/>
                    <a:pt x="6" y="4"/>
                    <a:pt x="6" y="4"/>
                  </a:cubicBezTo>
                  <a:cubicBezTo>
                    <a:pt x="4" y="7"/>
                    <a:pt x="4" y="7"/>
                    <a:pt x="4" y="7"/>
                  </a:cubicBezTo>
                  <a:cubicBezTo>
                    <a:pt x="4" y="7"/>
                    <a:pt x="4" y="7"/>
                    <a:pt x="4" y="7"/>
                  </a:cubicBezTo>
                  <a:cubicBezTo>
                    <a:pt x="4" y="8"/>
                    <a:pt x="4" y="8"/>
                    <a:pt x="4" y="9"/>
                  </a:cubicBezTo>
                  <a:cubicBezTo>
                    <a:pt x="5" y="10"/>
                    <a:pt x="5" y="10"/>
                    <a:pt x="5" y="10"/>
                  </a:cubicBezTo>
                  <a:cubicBezTo>
                    <a:pt x="5" y="11"/>
                    <a:pt x="5" y="12"/>
                    <a:pt x="6" y="13"/>
                  </a:cubicBezTo>
                  <a:cubicBezTo>
                    <a:pt x="6" y="14"/>
                    <a:pt x="6" y="14"/>
                    <a:pt x="7" y="14"/>
                  </a:cubicBezTo>
                  <a:cubicBezTo>
                    <a:pt x="7" y="15"/>
                    <a:pt x="7" y="15"/>
                    <a:pt x="8" y="15"/>
                  </a:cubicBezTo>
                  <a:cubicBezTo>
                    <a:pt x="8" y="15"/>
                    <a:pt x="8" y="15"/>
                    <a:pt x="8" y="15"/>
                  </a:cubicBezTo>
                  <a:cubicBezTo>
                    <a:pt x="9" y="15"/>
                    <a:pt x="10" y="16"/>
                    <a:pt x="11" y="16"/>
                  </a:cubicBezTo>
                  <a:cubicBezTo>
                    <a:pt x="11" y="16"/>
                    <a:pt x="11" y="16"/>
                    <a:pt x="11" y="16"/>
                  </a:cubicBezTo>
                  <a:cubicBezTo>
                    <a:pt x="12" y="17"/>
                    <a:pt x="13" y="17"/>
                    <a:pt x="13" y="18"/>
                  </a:cubicBezTo>
                  <a:cubicBezTo>
                    <a:pt x="13" y="18"/>
                    <a:pt x="13" y="18"/>
                    <a:pt x="13" y="18"/>
                  </a:cubicBezTo>
                  <a:cubicBezTo>
                    <a:pt x="14" y="19"/>
                    <a:pt x="14" y="19"/>
                    <a:pt x="14" y="19"/>
                  </a:cubicBezTo>
                  <a:cubicBezTo>
                    <a:pt x="14" y="20"/>
                    <a:pt x="14" y="20"/>
                    <a:pt x="14" y="20"/>
                  </a:cubicBezTo>
                  <a:cubicBezTo>
                    <a:pt x="15" y="22"/>
                    <a:pt x="15" y="25"/>
                    <a:pt x="16" y="28"/>
                  </a:cubicBezTo>
                  <a:cubicBezTo>
                    <a:pt x="16" y="30"/>
                    <a:pt x="16" y="30"/>
                    <a:pt x="16" y="30"/>
                  </a:cubicBezTo>
                  <a:cubicBezTo>
                    <a:pt x="16" y="32"/>
                    <a:pt x="17" y="33"/>
                    <a:pt x="19" y="35"/>
                  </a:cubicBezTo>
                  <a:cubicBezTo>
                    <a:pt x="20" y="37"/>
                    <a:pt x="20" y="37"/>
                    <a:pt x="20" y="37"/>
                  </a:cubicBezTo>
                  <a:cubicBezTo>
                    <a:pt x="20" y="37"/>
                    <a:pt x="20" y="38"/>
                    <a:pt x="21" y="38"/>
                  </a:cubicBezTo>
                  <a:cubicBezTo>
                    <a:pt x="23" y="42"/>
                    <a:pt x="25" y="45"/>
                    <a:pt x="25" y="47"/>
                  </a:cubicBezTo>
                  <a:cubicBezTo>
                    <a:pt x="25" y="51"/>
                    <a:pt x="25" y="53"/>
                    <a:pt x="26" y="57"/>
                  </a:cubicBezTo>
                  <a:cubicBezTo>
                    <a:pt x="32" y="55"/>
                    <a:pt x="32" y="55"/>
                    <a:pt x="32" y="55"/>
                  </a:cubicBezTo>
                  <a:cubicBezTo>
                    <a:pt x="26" y="58"/>
                    <a:pt x="26" y="58"/>
                    <a:pt x="26" y="58"/>
                  </a:cubicBezTo>
                  <a:cubicBezTo>
                    <a:pt x="26" y="59"/>
                    <a:pt x="26" y="59"/>
                    <a:pt x="26" y="59"/>
                  </a:cubicBezTo>
                  <a:cubicBezTo>
                    <a:pt x="26" y="59"/>
                    <a:pt x="26" y="59"/>
                    <a:pt x="26" y="59"/>
                  </a:cubicBezTo>
                  <a:cubicBezTo>
                    <a:pt x="26" y="59"/>
                    <a:pt x="26" y="59"/>
                    <a:pt x="26" y="59"/>
                  </a:cubicBezTo>
                  <a:cubicBezTo>
                    <a:pt x="27" y="62"/>
                    <a:pt x="26" y="65"/>
                    <a:pt x="24" y="69"/>
                  </a:cubicBezTo>
                  <a:cubicBezTo>
                    <a:pt x="23" y="70"/>
                    <a:pt x="23" y="70"/>
                    <a:pt x="23" y="70"/>
                  </a:cubicBezTo>
                  <a:cubicBezTo>
                    <a:pt x="23" y="71"/>
                    <a:pt x="23" y="71"/>
                    <a:pt x="23" y="72"/>
                  </a:cubicBezTo>
                  <a:cubicBezTo>
                    <a:pt x="22" y="72"/>
                    <a:pt x="22" y="73"/>
                    <a:pt x="22" y="73"/>
                  </a:cubicBezTo>
                  <a:cubicBezTo>
                    <a:pt x="22" y="73"/>
                    <a:pt x="22" y="73"/>
                    <a:pt x="22" y="73"/>
                  </a:cubicBezTo>
                  <a:cubicBezTo>
                    <a:pt x="22" y="74"/>
                    <a:pt x="22" y="74"/>
                    <a:pt x="22" y="74"/>
                  </a:cubicBezTo>
                  <a:cubicBezTo>
                    <a:pt x="22" y="75"/>
                    <a:pt x="23" y="77"/>
                    <a:pt x="22" y="78"/>
                  </a:cubicBezTo>
                  <a:cubicBezTo>
                    <a:pt x="21" y="80"/>
                    <a:pt x="19" y="80"/>
                    <a:pt x="17" y="81"/>
                  </a:cubicBezTo>
                  <a:cubicBezTo>
                    <a:pt x="17" y="81"/>
                    <a:pt x="17" y="81"/>
                    <a:pt x="17" y="81"/>
                  </a:cubicBezTo>
                  <a:cubicBezTo>
                    <a:pt x="16" y="84"/>
                    <a:pt x="16" y="84"/>
                    <a:pt x="16" y="84"/>
                  </a:cubicBezTo>
                  <a:cubicBezTo>
                    <a:pt x="14" y="83"/>
                    <a:pt x="14" y="83"/>
                    <a:pt x="14" y="83"/>
                  </a:cubicBezTo>
                  <a:cubicBezTo>
                    <a:pt x="13" y="83"/>
                    <a:pt x="13" y="83"/>
                    <a:pt x="13" y="83"/>
                  </a:cubicBezTo>
                  <a:cubicBezTo>
                    <a:pt x="13" y="84"/>
                    <a:pt x="12" y="85"/>
                    <a:pt x="12" y="86"/>
                  </a:cubicBezTo>
                  <a:cubicBezTo>
                    <a:pt x="11" y="87"/>
                    <a:pt x="11" y="87"/>
                    <a:pt x="11" y="87"/>
                  </a:cubicBezTo>
                  <a:cubicBezTo>
                    <a:pt x="11" y="88"/>
                    <a:pt x="11" y="88"/>
                    <a:pt x="10" y="89"/>
                  </a:cubicBezTo>
                  <a:cubicBezTo>
                    <a:pt x="10" y="89"/>
                    <a:pt x="9" y="90"/>
                    <a:pt x="9" y="91"/>
                  </a:cubicBezTo>
                  <a:cubicBezTo>
                    <a:pt x="8" y="92"/>
                    <a:pt x="8" y="92"/>
                    <a:pt x="8" y="92"/>
                  </a:cubicBezTo>
                  <a:cubicBezTo>
                    <a:pt x="7" y="93"/>
                    <a:pt x="6" y="94"/>
                    <a:pt x="6" y="95"/>
                  </a:cubicBezTo>
                  <a:cubicBezTo>
                    <a:pt x="5" y="96"/>
                    <a:pt x="5" y="96"/>
                    <a:pt x="5" y="97"/>
                  </a:cubicBezTo>
                  <a:cubicBezTo>
                    <a:pt x="5" y="98"/>
                    <a:pt x="4" y="99"/>
                    <a:pt x="3" y="100"/>
                  </a:cubicBezTo>
                  <a:cubicBezTo>
                    <a:pt x="3" y="100"/>
                    <a:pt x="3" y="100"/>
                    <a:pt x="3" y="100"/>
                  </a:cubicBezTo>
                  <a:cubicBezTo>
                    <a:pt x="3" y="101"/>
                    <a:pt x="3" y="102"/>
                    <a:pt x="3" y="102"/>
                  </a:cubicBezTo>
                  <a:cubicBezTo>
                    <a:pt x="2" y="103"/>
                    <a:pt x="2" y="103"/>
                    <a:pt x="2" y="103"/>
                  </a:cubicBezTo>
                  <a:cubicBezTo>
                    <a:pt x="1" y="103"/>
                    <a:pt x="1" y="103"/>
                    <a:pt x="1" y="103"/>
                  </a:cubicBezTo>
                  <a:cubicBezTo>
                    <a:pt x="1" y="104"/>
                    <a:pt x="1" y="104"/>
                    <a:pt x="1" y="104"/>
                  </a:cubicBezTo>
                  <a:cubicBezTo>
                    <a:pt x="0" y="104"/>
                    <a:pt x="0" y="104"/>
                    <a:pt x="0" y="104"/>
                  </a:cubicBezTo>
                  <a:cubicBezTo>
                    <a:pt x="0" y="105"/>
                    <a:pt x="0" y="106"/>
                    <a:pt x="1" y="106"/>
                  </a:cubicBezTo>
                  <a:cubicBezTo>
                    <a:pt x="2" y="108"/>
                    <a:pt x="4" y="111"/>
                    <a:pt x="5" y="113"/>
                  </a:cubicBezTo>
                  <a:cubicBezTo>
                    <a:pt x="6" y="114"/>
                    <a:pt x="7" y="114"/>
                    <a:pt x="7" y="114"/>
                  </a:cubicBezTo>
                  <a:cubicBezTo>
                    <a:pt x="7" y="114"/>
                    <a:pt x="7" y="114"/>
                    <a:pt x="8" y="114"/>
                  </a:cubicBezTo>
                  <a:cubicBezTo>
                    <a:pt x="10" y="112"/>
                    <a:pt x="8" y="111"/>
                    <a:pt x="8" y="111"/>
                  </a:cubicBezTo>
                  <a:cubicBezTo>
                    <a:pt x="9" y="110"/>
                    <a:pt x="16" y="108"/>
                    <a:pt x="18" y="108"/>
                  </a:cubicBezTo>
                  <a:cubicBezTo>
                    <a:pt x="17" y="110"/>
                    <a:pt x="20" y="111"/>
                    <a:pt x="20" y="112"/>
                  </a:cubicBezTo>
                  <a:cubicBezTo>
                    <a:pt x="20" y="113"/>
                    <a:pt x="20" y="113"/>
                    <a:pt x="20" y="113"/>
                  </a:cubicBezTo>
                  <a:cubicBezTo>
                    <a:pt x="20" y="113"/>
                    <a:pt x="19" y="113"/>
                    <a:pt x="19" y="113"/>
                  </a:cubicBezTo>
                  <a:cubicBezTo>
                    <a:pt x="19" y="112"/>
                    <a:pt x="19" y="112"/>
                    <a:pt x="19" y="112"/>
                  </a:cubicBezTo>
                  <a:cubicBezTo>
                    <a:pt x="19" y="112"/>
                    <a:pt x="19" y="112"/>
                    <a:pt x="19" y="112"/>
                  </a:cubicBezTo>
                  <a:cubicBezTo>
                    <a:pt x="17" y="113"/>
                    <a:pt x="18" y="113"/>
                    <a:pt x="16" y="114"/>
                  </a:cubicBezTo>
                  <a:cubicBezTo>
                    <a:pt x="16" y="114"/>
                    <a:pt x="16" y="114"/>
                    <a:pt x="16" y="114"/>
                  </a:cubicBezTo>
                  <a:cubicBezTo>
                    <a:pt x="16" y="114"/>
                    <a:pt x="15" y="114"/>
                    <a:pt x="15" y="114"/>
                  </a:cubicBezTo>
                  <a:cubicBezTo>
                    <a:pt x="15" y="113"/>
                    <a:pt x="14" y="113"/>
                    <a:pt x="14" y="113"/>
                  </a:cubicBezTo>
                  <a:cubicBezTo>
                    <a:pt x="14" y="113"/>
                    <a:pt x="14" y="113"/>
                    <a:pt x="14" y="113"/>
                  </a:cubicBezTo>
                  <a:cubicBezTo>
                    <a:pt x="14" y="113"/>
                    <a:pt x="14" y="113"/>
                    <a:pt x="13" y="113"/>
                  </a:cubicBezTo>
                  <a:cubicBezTo>
                    <a:pt x="13" y="113"/>
                    <a:pt x="13" y="113"/>
                    <a:pt x="13" y="113"/>
                  </a:cubicBezTo>
                  <a:cubicBezTo>
                    <a:pt x="13" y="113"/>
                    <a:pt x="13" y="113"/>
                    <a:pt x="13" y="113"/>
                  </a:cubicBezTo>
                  <a:cubicBezTo>
                    <a:pt x="12" y="113"/>
                    <a:pt x="12" y="114"/>
                    <a:pt x="12" y="115"/>
                  </a:cubicBezTo>
                  <a:cubicBezTo>
                    <a:pt x="12" y="116"/>
                    <a:pt x="12" y="117"/>
                    <a:pt x="11" y="117"/>
                  </a:cubicBezTo>
                  <a:cubicBezTo>
                    <a:pt x="11" y="118"/>
                    <a:pt x="11" y="118"/>
                    <a:pt x="11" y="118"/>
                  </a:cubicBezTo>
                  <a:cubicBezTo>
                    <a:pt x="10" y="118"/>
                    <a:pt x="10" y="116"/>
                    <a:pt x="9" y="116"/>
                  </a:cubicBezTo>
                  <a:cubicBezTo>
                    <a:pt x="9" y="116"/>
                    <a:pt x="9" y="116"/>
                    <a:pt x="9" y="116"/>
                  </a:cubicBezTo>
                  <a:cubicBezTo>
                    <a:pt x="9" y="116"/>
                    <a:pt x="9" y="116"/>
                    <a:pt x="9" y="116"/>
                  </a:cubicBezTo>
                  <a:cubicBezTo>
                    <a:pt x="9" y="116"/>
                    <a:pt x="8" y="116"/>
                    <a:pt x="8" y="116"/>
                  </a:cubicBezTo>
                  <a:cubicBezTo>
                    <a:pt x="8" y="116"/>
                    <a:pt x="8" y="116"/>
                    <a:pt x="8" y="116"/>
                  </a:cubicBezTo>
                  <a:cubicBezTo>
                    <a:pt x="7" y="116"/>
                    <a:pt x="7" y="116"/>
                    <a:pt x="7" y="116"/>
                  </a:cubicBezTo>
                  <a:cubicBezTo>
                    <a:pt x="7" y="116"/>
                    <a:pt x="7" y="116"/>
                    <a:pt x="7" y="116"/>
                  </a:cubicBezTo>
                  <a:cubicBezTo>
                    <a:pt x="6" y="116"/>
                    <a:pt x="6" y="116"/>
                    <a:pt x="6" y="116"/>
                  </a:cubicBezTo>
                  <a:cubicBezTo>
                    <a:pt x="6" y="116"/>
                    <a:pt x="6" y="116"/>
                    <a:pt x="6" y="116"/>
                  </a:cubicBezTo>
                  <a:cubicBezTo>
                    <a:pt x="4" y="116"/>
                    <a:pt x="5" y="116"/>
                    <a:pt x="4" y="117"/>
                  </a:cubicBezTo>
                  <a:cubicBezTo>
                    <a:pt x="3" y="118"/>
                    <a:pt x="1" y="122"/>
                    <a:pt x="2" y="123"/>
                  </a:cubicBezTo>
                  <a:cubicBezTo>
                    <a:pt x="2" y="124"/>
                    <a:pt x="4" y="125"/>
                    <a:pt x="4" y="126"/>
                  </a:cubicBezTo>
                  <a:cubicBezTo>
                    <a:pt x="4" y="126"/>
                    <a:pt x="4" y="127"/>
                    <a:pt x="4" y="127"/>
                  </a:cubicBezTo>
                  <a:cubicBezTo>
                    <a:pt x="16" y="134"/>
                    <a:pt x="29" y="141"/>
                    <a:pt x="41" y="149"/>
                  </a:cubicBezTo>
                  <a:cubicBezTo>
                    <a:pt x="53" y="155"/>
                    <a:pt x="64" y="161"/>
                    <a:pt x="75" y="167"/>
                  </a:cubicBezTo>
                  <a:cubicBezTo>
                    <a:pt x="77" y="169"/>
                    <a:pt x="77" y="169"/>
                    <a:pt x="77" y="169"/>
                  </a:cubicBezTo>
                  <a:cubicBezTo>
                    <a:pt x="79" y="170"/>
                    <a:pt x="81" y="171"/>
                    <a:pt x="82" y="173"/>
                  </a:cubicBezTo>
                  <a:cubicBezTo>
                    <a:pt x="82" y="174"/>
                    <a:pt x="82" y="174"/>
                    <a:pt x="82" y="174"/>
                  </a:cubicBezTo>
                  <a:cubicBezTo>
                    <a:pt x="82" y="173"/>
                    <a:pt x="82" y="173"/>
                    <a:pt x="82" y="173"/>
                  </a:cubicBezTo>
                  <a:cubicBezTo>
                    <a:pt x="83" y="173"/>
                    <a:pt x="83" y="173"/>
                    <a:pt x="83" y="173"/>
                  </a:cubicBezTo>
                  <a:cubicBezTo>
                    <a:pt x="83" y="173"/>
                    <a:pt x="84" y="174"/>
                    <a:pt x="84" y="174"/>
                  </a:cubicBezTo>
                  <a:cubicBezTo>
                    <a:pt x="86" y="175"/>
                    <a:pt x="86" y="175"/>
                    <a:pt x="86" y="175"/>
                  </a:cubicBezTo>
                  <a:cubicBezTo>
                    <a:pt x="87" y="177"/>
                    <a:pt x="89" y="178"/>
                    <a:pt x="89" y="179"/>
                  </a:cubicBezTo>
                  <a:cubicBezTo>
                    <a:pt x="90" y="180"/>
                    <a:pt x="90" y="181"/>
                    <a:pt x="90" y="182"/>
                  </a:cubicBezTo>
                  <a:cubicBezTo>
                    <a:pt x="90" y="183"/>
                    <a:pt x="89" y="184"/>
                    <a:pt x="89" y="185"/>
                  </a:cubicBezTo>
                  <a:cubicBezTo>
                    <a:pt x="89" y="186"/>
                    <a:pt x="89" y="186"/>
                    <a:pt x="89" y="187"/>
                  </a:cubicBezTo>
                  <a:cubicBezTo>
                    <a:pt x="94" y="191"/>
                    <a:pt x="99" y="195"/>
                    <a:pt x="104" y="199"/>
                  </a:cubicBezTo>
                  <a:cubicBezTo>
                    <a:pt x="108" y="201"/>
                    <a:pt x="108" y="201"/>
                    <a:pt x="108" y="201"/>
                  </a:cubicBezTo>
                  <a:cubicBezTo>
                    <a:pt x="108" y="201"/>
                    <a:pt x="109" y="202"/>
                    <a:pt x="110" y="203"/>
                  </a:cubicBezTo>
                  <a:cubicBezTo>
                    <a:pt x="111" y="203"/>
                    <a:pt x="111" y="203"/>
                    <a:pt x="111" y="203"/>
                  </a:cubicBezTo>
                  <a:cubicBezTo>
                    <a:pt x="112" y="204"/>
                    <a:pt x="113" y="205"/>
                    <a:pt x="114" y="206"/>
                  </a:cubicBezTo>
                  <a:cubicBezTo>
                    <a:pt x="116" y="207"/>
                    <a:pt x="116" y="207"/>
                    <a:pt x="116" y="207"/>
                  </a:cubicBezTo>
                  <a:cubicBezTo>
                    <a:pt x="119" y="209"/>
                    <a:pt x="121" y="211"/>
                    <a:pt x="124" y="213"/>
                  </a:cubicBezTo>
                  <a:cubicBezTo>
                    <a:pt x="124" y="213"/>
                    <a:pt x="124" y="213"/>
                    <a:pt x="124" y="213"/>
                  </a:cubicBezTo>
                  <a:cubicBezTo>
                    <a:pt x="125" y="214"/>
                    <a:pt x="125" y="214"/>
                    <a:pt x="125" y="214"/>
                  </a:cubicBezTo>
                  <a:cubicBezTo>
                    <a:pt x="128" y="211"/>
                    <a:pt x="130" y="210"/>
                    <a:pt x="132" y="206"/>
                  </a:cubicBezTo>
                  <a:cubicBezTo>
                    <a:pt x="132" y="205"/>
                    <a:pt x="133" y="204"/>
                    <a:pt x="133" y="202"/>
                  </a:cubicBezTo>
                  <a:cubicBezTo>
                    <a:pt x="134" y="201"/>
                    <a:pt x="131" y="199"/>
                    <a:pt x="133" y="199"/>
                  </a:cubicBezTo>
                  <a:cubicBezTo>
                    <a:pt x="136" y="198"/>
                    <a:pt x="138" y="196"/>
                    <a:pt x="138" y="193"/>
                  </a:cubicBezTo>
                  <a:cubicBezTo>
                    <a:pt x="138" y="191"/>
                    <a:pt x="136" y="191"/>
                    <a:pt x="136" y="190"/>
                  </a:cubicBezTo>
                  <a:cubicBezTo>
                    <a:pt x="136" y="188"/>
                    <a:pt x="140" y="185"/>
                    <a:pt x="141" y="184"/>
                  </a:cubicBezTo>
                  <a:cubicBezTo>
                    <a:pt x="144" y="182"/>
                    <a:pt x="144" y="183"/>
                    <a:pt x="145" y="180"/>
                  </a:cubicBezTo>
                  <a:cubicBezTo>
                    <a:pt x="146" y="177"/>
                    <a:pt x="146" y="176"/>
                    <a:pt x="146" y="174"/>
                  </a:cubicBezTo>
                  <a:cubicBezTo>
                    <a:pt x="147" y="164"/>
                    <a:pt x="153" y="167"/>
                    <a:pt x="158" y="162"/>
                  </a:cubicBezTo>
                  <a:cubicBezTo>
                    <a:pt x="158" y="161"/>
                    <a:pt x="160" y="158"/>
                    <a:pt x="162" y="158"/>
                  </a:cubicBezTo>
                  <a:cubicBezTo>
                    <a:pt x="162" y="158"/>
                    <a:pt x="162" y="158"/>
                    <a:pt x="162" y="158"/>
                  </a:cubicBezTo>
                  <a:cubicBezTo>
                    <a:pt x="162" y="158"/>
                    <a:pt x="163" y="158"/>
                    <a:pt x="163" y="159"/>
                  </a:cubicBezTo>
                  <a:cubicBezTo>
                    <a:pt x="163" y="159"/>
                    <a:pt x="164" y="159"/>
                    <a:pt x="164" y="159"/>
                  </a:cubicBezTo>
                  <a:cubicBezTo>
                    <a:pt x="164" y="159"/>
                    <a:pt x="164" y="159"/>
                    <a:pt x="164" y="158"/>
                  </a:cubicBezTo>
                  <a:cubicBezTo>
                    <a:pt x="164" y="158"/>
                    <a:pt x="164" y="158"/>
                    <a:pt x="164" y="158"/>
                  </a:cubicBezTo>
                  <a:cubicBezTo>
                    <a:pt x="164" y="158"/>
                    <a:pt x="164" y="158"/>
                    <a:pt x="163" y="157"/>
                  </a:cubicBezTo>
                  <a:cubicBezTo>
                    <a:pt x="163" y="157"/>
                    <a:pt x="163" y="156"/>
                    <a:pt x="163" y="156"/>
                  </a:cubicBezTo>
                  <a:cubicBezTo>
                    <a:pt x="163" y="156"/>
                    <a:pt x="163" y="156"/>
                    <a:pt x="163" y="156"/>
                  </a:cubicBezTo>
                  <a:cubicBezTo>
                    <a:pt x="162" y="155"/>
                    <a:pt x="162" y="153"/>
                    <a:pt x="162" y="152"/>
                  </a:cubicBezTo>
                  <a:cubicBezTo>
                    <a:pt x="162" y="152"/>
                    <a:pt x="162" y="152"/>
                    <a:pt x="163" y="152"/>
                  </a:cubicBezTo>
                  <a:cubicBezTo>
                    <a:pt x="163" y="152"/>
                    <a:pt x="164" y="151"/>
                    <a:pt x="165" y="150"/>
                  </a:cubicBezTo>
                  <a:cubicBezTo>
                    <a:pt x="164" y="152"/>
                    <a:pt x="164" y="153"/>
                    <a:pt x="165" y="153"/>
                  </a:cubicBezTo>
                  <a:cubicBezTo>
                    <a:pt x="166" y="153"/>
                    <a:pt x="166" y="153"/>
                    <a:pt x="167" y="153"/>
                  </a:cubicBezTo>
                  <a:cubicBezTo>
                    <a:pt x="168" y="152"/>
                    <a:pt x="169" y="151"/>
                    <a:pt x="171" y="150"/>
                  </a:cubicBezTo>
                  <a:cubicBezTo>
                    <a:pt x="172" y="149"/>
                    <a:pt x="174" y="148"/>
                    <a:pt x="176" y="147"/>
                  </a:cubicBezTo>
                  <a:cubicBezTo>
                    <a:pt x="175" y="147"/>
                    <a:pt x="175" y="147"/>
                    <a:pt x="175" y="147"/>
                  </a:cubicBezTo>
                  <a:cubicBezTo>
                    <a:pt x="174" y="145"/>
                    <a:pt x="174" y="145"/>
                    <a:pt x="174" y="145"/>
                  </a:cubicBezTo>
                  <a:cubicBezTo>
                    <a:pt x="173" y="142"/>
                    <a:pt x="172" y="140"/>
                    <a:pt x="170" y="138"/>
                  </a:cubicBezTo>
                  <a:cubicBezTo>
                    <a:pt x="168" y="136"/>
                    <a:pt x="166" y="133"/>
                    <a:pt x="165" y="131"/>
                  </a:cubicBezTo>
                  <a:cubicBezTo>
                    <a:pt x="164" y="130"/>
                    <a:pt x="163" y="128"/>
                    <a:pt x="162" y="127"/>
                  </a:cubicBezTo>
                  <a:cubicBezTo>
                    <a:pt x="161" y="124"/>
                    <a:pt x="161" y="118"/>
                    <a:pt x="162" y="114"/>
                  </a:cubicBezTo>
                  <a:cubicBezTo>
                    <a:pt x="162" y="114"/>
                    <a:pt x="162" y="114"/>
                    <a:pt x="162" y="114"/>
                  </a:cubicBezTo>
                  <a:cubicBezTo>
                    <a:pt x="162" y="112"/>
                    <a:pt x="162" y="111"/>
                    <a:pt x="162" y="110"/>
                  </a:cubicBezTo>
                  <a:cubicBezTo>
                    <a:pt x="162" y="101"/>
                    <a:pt x="162" y="92"/>
                    <a:pt x="162" y="83"/>
                  </a:cubicBezTo>
                  <a:cubicBezTo>
                    <a:pt x="162" y="81"/>
                    <a:pt x="162" y="81"/>
                    <a:pt x="162" y="81"/>
                  </a:cubicBezTo>
                  <a:cubicBezTo>
                    <a:pt x="162" y="73"/>
                    <a:pt x="162" y="66"/>
                    <a:pt x="162" y="58"/>
                  </a:cubicBezTo>
                  <a:cubicBezTo>
                    <a:pt x="162" y="47"/>
                    <a:pt x="162" y="47"/>
                    <a:pt x="162" y="47"/>
                  </a:cubicBezTo>
                  <a:cubicBezTo>
                    <a:pt x="162" y="46"/>
                    <a:pt x="162" y="46"/>
                    <a:pt x="162" y="45"/>
                  </a:cubicBezTo>
                  <a:cubicBezTo>
                    <a:pt x="161" y="41"/>
                    <a:pt x="161" y="39"/>
                    <a:pt x="162" y="37"/>
                  </a:cubicBezTo>
                  <a:cubicBezTo>
                    <a:pt x="163" y="36"/>
                    <a:pt x="163" y="36"/>
                    <a:pt x="163" y="36"/>
                  </a:cubicBezTo>
                  <a:cubicBezTo>
                    <a:pt x="164" y="35"/>
                    <a:pt x="165" y="34"/>
                    <a:pt x="165" y="33"/>
                  </a:cubicBezTo>
                  <a:cubicBezTo>
                    <a:pt x="167" y="31"/>
                    <a:pt x="167" y="31"/>
                    <a:pt x="167" y="31"/>
                  </a:cubicBezTo>
                  <a:cubicBezTo>
                    <a:pt x="163" y="28"/>
                    <a:pt x="163" y="28"/>
                    <a:pt x="163" y="28"/>
                  </a:cubicBezTo>
                  <a:cubicBezTo>
                    <a:pt x="168" y="30"/>
                    <a:pt x="168" y="30"/>
                    <a:pt x="168" y="30"/>
                  </a:cubicBezTo>
                  <a:cubicBezTo>
                    <a:pt x="170" y="27"/>
                    <a:pt x="170" y="27"/>
                    <a:pt x="170" y="27"/>
                  </a:cubicBezTo>
                  <a:cubicBezTo>
                    <a:pt x="170" y="27"/>
                    <a:pt x="176" y="20"/>
                    <a:pt x="180" y="15"/>
                  </a:cubicBezTo>
                  <a:cubicBezTo>
                    <a:pt x="178" y="15"/>
                    <a:pt x="176" y="16"/>
                    <a:pt x="174" y="16"/>
                  </a:cubicBezTo>
                  <a:cubicBezTo>
                    <a:pt x="173" y="16"/>
                    <a:pt x="173" y="16"/>
                    <a:pt x="172" y="16"/>
                  </a:cubicBezTo>
                  <a:cubicBezTo>
                    <a:pt x="172" y="16"/>
                    <a:pt x="172" y="16"/>
                    <a:pt x="172" y="16"/>
                  </a:cubicBezTo>
                  <a:cubicBezTo>
                    <a:pt x="171" y="16"/>
                    <a:pt x="170" y="16"/>
                    <a:pt x="169" y="15"/>
                  </a:cubicBezTo>
                  <a:cubicBezTo>
                    <a:pt x="169" y="15"/>
                    <a:pt x="168" y="15"/>
                    <a:pt x="167" y="14"/>
                  </a:cubicBezTo>
                  <a:cubicBezTo>
                    <a:pt x="165" y="13"/>
                    <a:pt x="162" y="11"/>
                    <a:pt x="161" y="9"/>
                  </a:cubicBezTo>
                  <a:cubicBezTo>
                    <a:pt x="160" y="9"/>
                    <a:pt x="160" y="8"/>
                    <a:pt x="159" y="8"/>
                  </a:cubicBezTo>
                  <a:cubicBezTo>
                    <a:pt x="142" y="16"/>
                    <a:pt x="142" y="16"/>
                    <a:pt x="142" y="16"/>
                  </a:cubicBezTo>
                  <a:cubicBezTo>
                    <a:pt x="140" y="17"/>
                    <a:pt x="139" y="19"/>
                    <a:pt x="138" y="21"/>
                  </a:cubicBezTo>
                  <a:cubicBezTo>
                    <a:pt x="136" y="23"/>
                    <a:pt x="135" y="26"/>
                    <a:pt x="132" y="27"/>
                  </a:cubicBezTo>
                  <a:cubicBezTo>
                    <a:pt x="132" y="28"/>
                    <a:pt x="132" y="28"/>
                    <a:pt x="132" y="28"/>
                  </a:cubicBezTo>
                  <a:cubicBezTo>
                    <a:pt x="131" y="28"/>
                    <a:pt x="131" y="28"/>
                    <a:pt x="131" y="28"/>
                  </a:cubicBezTo>
                  <a:cubicBezTo>
                    <a:pt x="131" y="28"/>
                    <a:pt x="130" y="28"/>
                    <a:pt x="130" y="28"/>
                  </a:cubicBezTo>
                  <a:cubicBezTo>
                    <a:pt x="129" y="28"/>
                    <a:pt x="129" y="28"/>
                    <a:pt x="129" y="28"/>
                  </a:cubicBezTo>
                  <a:cubicBezTo>
                    <a:pt x="128" y="28"/>
                    <a:pt x="128" y="28"/>
                    <a:pt x="128" y="28"/>
                  </a:cubicBezTo>
                  <a:cubicBezTo>
                    <a:pt x="126" y="28"/>
                    <a:pt x="126" y="28"/>
                    <a:pt x="126" y="28"/>
                  </a:cubicBezTo>
                  <a:cubicBezTo>
                    <a:pt x="126" y="27"/>
                    <a:pt x="126" y="27"/>
                    <a:pt x="126" y="27"/>
                  </a:cubicBezTo>
                  <a:cubicBezTo>
                    <a:pt x="124" y="27"/>
                    <a:pt x="121" y="26"/>
                    <a:pt x="118" y="26"/>
                  </a:cubicBezTo>
                  <a:cubicBezTo>
                    <a:pt x="115" y="25"/>
                    <a:pt x="115" y="25"/>
                    <a:pt x="115" y="25"/>
                  </a:cubicBezTo>
                  <a:cubicBezTo>
                    <a:pt x="114" y="25"/>
                    <a:pt x="114" y="25"/>
                    <a:pt x="113" y="25"/>
                  </a:cubicBezTo>
                  <a:cubicBezTo>
                    <a:pt x="112" y="25"/>
                    <a:pt x="112" y="25"/>
                    <a:pt x="112" y="25"/>
                  </a:cubicBezTo>
                  <a:cubicBezTo>
                    <a:pt x="106" y="25"/>
                    <a:pt x="99" y="25"/>
                    <a:pt x="95" y="22"/>
                  </a:cubicBezTo>
                  <a:cubicBezTo>
                    <a:pt x="93" y="21"/>
                    <a:pt x="92" y="20"/>
                    <a:pt x="91" y="20"/>
                  </a:cubicBezTo>
                  <a:cubicBezTo>
                    <a:pt x="90" y="19"/>
                    <a:pt x="90" y="19"/>
                    <a:pt x="90" y="19"/>
                  </a:cubicBezTo>
                  <a:cubicBezTo>
                    <a:pt x="87" y="17"/>
                    <a:pt x="84" y="15"/>
                    <a:pt x="81" y="13"/>
                  </a:cubicBezTo>
                  <a:cubicBezTo>
                    <a:pt x="80" y="12"/>
                    <a:pt x="80" y="12"/>
                    <a:pt x="80" y="12"/>
                  </a:cubicBezTo>
                  <a:cubicBezTo>
                    <a:pt x="78" y="11"/>
                    <a:pt x="76" y="10"/>
                    <a:pt x="75" y="9"/>
                  </a:cubicBezTo>
                  <a:cubicBezTo>
                    <a:pt x="74" y="9"/>
                    <a:pt x="74" y="9"/>
                    <a:pt x="74" y="9"/>
                  </a:cubicBezTo>
                  <a:cubicBezTo>
                    <a:pt x="73" y="8"/>
                    <a:pt x="72" y="8"/>
                    <a:pt x="71" y="7"/>
                  </a:cubicBezTo>
                  <a:cubicBezTo>
                    <a:pt x="70" y="7"/>
                    <a:pt x="70" y="7"/>
                    <a:pt x="70" y="7"/>
                  </a:cubicBezTo>
                  <a:cubicBezTo>
                    <a:pt x="69" y="6"/>
                    <a:pt x="69" y="6"/>
                    <a:pt x="68" y="6"/>
                  </a:cubicBezTo>
                  <a:cubicBezTo>
                    <a:pt x="68" y="6"/>
                    <a:pt x="68" y="6"/>
                    <a:pt x="68" y="6"/>
                  </a:cubicBezTo>
                  <a:cubicBezTo>
                    <a:pt x="67" y="5"/>
                    <a:pt x="67" y="5"/>
                    <a:pt x="67" y="5"/>
                  </a:cubicBezTo>
                  <a:cubicBezTo>
                    <a:pt x="66" y="5"/>
                    <a:pt x="66" y="5"/>
                    <a:pt x="65" y="4"/>
                  </a:cubicBezTo>
                  <a:cubicBezTo>
                    <a:pt x="64" y="4"/>
                    <a:pt x="63" y="4"/>
                    <a:pt x="62" y="4"/>
                  </a:cubicBezTo>
                  <a:cubicBezTo>
                    <a:pt x="49" y="4"/>
                    <a:pt x="49" y="4"/>
                    <a:pt x="49" y="4"/>
                  </a:cubicBezTo>
                  <a:cubicBezTo>
                    <a:pt x="47" y="4"/>
                    <a:pt x="45" y="2"/>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3" name="Freeform 312">
              <a:extLst>
                <a:ext uri="{FF2B5EF4-FFF2-40B4-BE49-F238E27FC236}">
                  <a16:creationId xmlns:a16="http://schemas.microsoft.com/office/drawing/2014/main" id="{CCEC42AA-6FC3-439E-B2AF-4585A46E0FED}"/>
                </a:ext>
              </a:extLst>
            </p:cNvPr>
            <p:cNvSpPr>
              <a:spLocks/>
            </p:cNvSpPr>
            <p:nvPr/>
          </p:nvSpPr>
          <p:spPr bwMode="auto">
            <a:xfrm>
              <a:off x="5313" y="49"/>
              <a:ext cx="4" cy="2"/>
            </a:xfrm>
            <a:custGeom>
              <a:avLst/>
              <a:gdLst>
                <a:gd name="T0" fmla="*/ 2 w 4"/>
                <a:gd name="T1" fmla="*/ 0 h 2"/>
                <a:gd name="T2" fmla="*/ 0 w 4"/>
                <a:gd name="T3" fmla="*/ 2 h 2"/>
                <a:gd name="T4" fmla="*/ 0 w 4"/>
                <a:gd name="T5" fmla="*/ 2 h 2"/>
                <a:gd name="T6" fmla="*/ 4 w 4"/>
                <a:gd name="T7" fmla="*/ 2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lnTo>
                    <a:pt x="0" y="2"/>
                  </a:lnTo>
                  <a:lnTo>
                    <a:pt x="0" y="2"/>
                  </a:lnTo>
                  <a:lnTo>
                    <a:pt x="4"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4" name="Freeform 313">
              <a:extLst>
                <a:ext uri="{FF2B5EF4-FFF2-40B4-BE49-F238E27FC236}">
                  <a16:creationId xmlns:a16="http://schemas.microsoft.com/office/drawing/2014/main" id="{B5A89FCE-3F1B-43A7-9F29-F5587997765E}"/>
                </a:ext>
              </a:extLst>
            </p:cNvPr>
            <p:cNvSpPr>
              <a:spLocks/>
            </p:cNvSpPr>
            <p:nvPr/>
          </p:nvSpPr>
          <p:spPr bwMode="auto">
            <a:xfrm>
              <a:off x="5313" y="49"/>
              <a:ext cx="4" cy="2"/>
            </a:xfrm>
            <a:custGeom>
              <a:avLst/>
              <a:gdLst>
                <a:gd name="T0" fmla="*/ 2 w 4"/>
                <a:gd name="T1" fmla="*/ 0 h 2"/>
                <a:gd name="T2" fmla="*/ 0 w 4"/>
                <a:gd name="T3" fmla="*/ 2 h 2"/>
                <a:gd name="T4" fmla="*/ 0 w 4"/>
                <a:gd name="T5" fmla="*/ 2 h 2"/>
                <a:gd name="T6" fmla="*/ 4 w 4"/>
                <a:gd name="T7" fmla="*/ 2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lnTo>
                    <a:pt x="0" y="2"/>
                  </a:lnTo>
                  <a:lnTo>
                    <a:pt x="0" y="2"/>
                  </a:lnTo>
                  <a:lnTo>
                    <a:pt x="4" y="2"/>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5" name="Freeform 314">
              <a:extLst>
                <a:ext uri="{FF2B5EF4-FFF2-40B4-BE49-F238E27FC236}">
                  <a16:creationId xmlns:a16="http://schemas.microsoft.com/office/drawing/2014/main" id="{A2BC7D88-FCD2-4BD7-9FB9-5574CBFE7DC9}"/>
                </a:ext>
              </a:extLst>
            </p:cNvPr>
            <p:cNvSpPr>
              <a:spLocks noEditPoints="1"/>
            </p:cNvSpPr>
            <p:nvPr/>
          </p:nvSpPr>
          <p:spPr bwMode="auto">
            <a:xfrm>
              <a:off x="5237" y="-27"/>
              <a:ext cx="461" cy="135"/>
            </a:xfrm>
            <a:custGeom>
              <a:avLst/>
              <a:gdLst>
                <a:gd name="T0" fmla="*/ 41 w 195"/>
                <a:gd name="T1" fmla="*/ 1 h 57"/>
                <a:gd name="T2" fmla="*/ 37 w 195"/>
                <a:gd name="T3" fmla="*/ 2 h 57"/>
                <a:gd name="T4" fmla="*/ 34 w 195"/>
                <a:gd name="T5" fmla="*/ 1 h 57"/>
                <a:gd name="T6" fmla="*/ 34 w 195"/>
                <a:gd name="T7" fmla="*/ 1 h 57"/>
                <a:gd name="T8" fmla="*/ 28 w 195"/>
                <a:gd name="T9" fmla="*/ 0 h 57"/>
                <a:gd name="T10" fmla="*/ 23 w 195"/>
                <a:gd name="T11" fmla="*/ 1 h 57"/>
                <a:gd name="T12" fmla="*/ 21 w 195"/>
                <a:gd name="T13" fmla="*/ 1 h 57"/>
                <a:gd name="T14" fmla="*/ 18 w 195"/>
                <a:gd name="T15" fmla="*/ 0 h 57"/>
                <a:gd name="T16" fmla="*/ 17 w 195"/>
                <a:gd name="T17" fmla="*/ 3 h 57"/>
                <a:gd name="T18" fmla="*/ 16 w 195"/>
                <a:gd name="T19" fmla="*/ 8 h 57"/>
                <a:gd name="T20" fmla="*/ 13 w 195"/>
                <a:gd name="T21" fmla="*/ 13 h 57"/>
                <a:gd name="T22" fmla="*/ 10 w 195"/>
                <a:gd name="T23" fmla="*/ 16 h 57"/>
                <a:gd name="T24" fmla="*/ 8 w 195"/>
                <a:gd name="T25" fmla="*/ 19 h 57"/>
                <a:gd name="T26" fmla="*/ 8 w 195"/>
                <a:gd name="T27" fmla="*/ 23 h 57"/>
                <a:gd name="T28" fmla="*/ 1 w 195"/>
                <a:gd name="T29" fmla="*/ 27 h 57"/>
                <a:gd name="T30" fmla="*/ 10 w 195"/>
                <a:gd name="T31" fmla="*/ 30 h 57"/>
                <a:gd name="T32" fmla="*/ 25 w 195"/>
                <a:gd name="T33" fmla="*/ 26 h 57"/>
                <a:gd name="T34" fmla="*/ 32 w 195"/>
                <a:gd name="T35" fmla="*/ 29 h 57"/>
                <a:gd name="T36" fmla="*/ 35 w 195"/>
                <a:gd name="T37" fmla="*/ 19 h 57"/>
                <a:gd name="T38" fmla="*/ 41 w 195"/>
                <a:gd name="T39" fmla="*/ 16 h 57"/>
                <a:gd name="T40" fmla="*/ 49 w 195"/>
                <a:gd name="T41" fmla="*/ 10 h 57"/>
                <a:gd name="T42" fmla="*/ 44 w 195"/>
                <a:gd name="T43" fmla="*/ 0 h 57"/>
                <a:gd name="T44" fmla="*/ 44 w 195"/>
                <a:gd name="T45" fmla="*/ 0 h 57"/>
                <a:gd name="T46" fmla="*/ 45 w 195"/>
                <a:gd name="T47" fmla="*/ 1 h 57"/>
                <a:gd name="T48" fmla="*/ 46 w 195"/>
                <a:gd name="T49" fmla="*/ 1 h 57"/>
                <a:gd name="T50" fmla="*/ 49 w 195"/>
                <a:gd name="T51" fmla="*/ 4 h 57"/>
                <a:gd name="T52" fmla="*/ 52 w 195"/>
                <a:gd name="T53" fmla="*/ 2 h 57"/>
                <a:gd name="T54" fmla="*/ 84 w 195"/>
                <a:gd name="T55" fmla="*/ 0 h 57"/>
                <a:gd name="T56" fmla="*/ 84 w 195"/>
                <a:gd name="T57" fmla="*/ 1 h 57"/>
                <a:gd name="T58" fmla="*/ 85 w 195"/>
                <a:gd name="T59" fmla="*/ 4 h 57"/>
                <a:gd name="T60" fmla="*/ 94 w 195"/>
                <a:gd name="T61" fmla="*/ 8 h 57"/>
                <a:gd name="T62" fmla="*/ 99 w 195"/>
                <a:gd name="T63" fmla="*/ 8 h 57"/>
                <a:gd name="T64" fmla="*/ 113 w 195"/>
                <a:gd name="T65" fmla="*/ 5 h 57"/>
                <a:gd name="T66" fmla="*/ 117 w 195"/>
                <a:gd name="T67" fmla="*/ 8 h 57"/>
                <a:gd name="T68" fmla="*/ 122 w 195"/>
                <a:gd name="T69" fmla="*/ 8 h 57"/>
                <a:gd name="T70" fmla="*/ 126 w 195"/>
                <a:gd name="T71" fmla="*/ 14 h 57"/>
                <a:gd name="T72" fmla="*/ 117 w 195"/>
                <a:gd name="T73" fmla="*/ 18 h 57"/>
                <a:gd name="T74" fmla="*/ 114 w 195"/>
                <a:gd name="T75" fmla="*/ 18 h 57"/>
                <a:gd name="T76" fmla="*/ 105 w 195"/>
                <a:gd name="T77" fmla="*/ 24 h 57"/>
                <a:gd name="T78" fmla="*/ 98 w 195"/>
                <a:gd name="T79" fmla="*/ 28 h 57"/>
                <a:gd name="T80" fmla="*/ 115 w 195"/>
                <a:gd name="T81" fmla="*/ 35 h 57"/>
                <a:gd name="T82" fmla="*/ 123 w 195"/>
                <a:gd name="T83" fmla="*/ 45 h 57"/>
                <a:gd name="T84" fmla="*/ 123 w 195"/>
                <a:gd name="T85" fmla="*/ 52 h 57"/>
                <a:gd name="T86" fmla="*/ 122 w 195"/>
                <a:gd name="T87" fmla="*/ 55 h 57"/>
                <a:gd name="T88" fmla="*/ 130 w 195"/>
                <a:gd name="T89" fmla="*/ 56 h 57"/>
                <a:gd name="T90" fmla="*/ 170 w 195"/>
                <a:gd name="T91" fmla="*/ 37 h 57"/>
                <a:gd name="T92" fmla="*/ 178 w 195"/>
                <a:gd name="T93" fmla="*/ 40 h 57"/>
                <a:gd name="T94" fmla="*/ 184 w 195"/>
                <a:gd name="T95" fmla="*/ 40 h 57"/>
                <a:gd name="T96" fmla="*/ 186 w 195"/>
                <a:gd name="T97" fmla="*/ 40 h 57"/>
                <a:gd name="T98" fmla="*/ 192 w 195"/>
                <a:gd name="T99" fmla="*/ 32 h 57"/>
                <a:gd name="T100" fmla="*/ 192 w 195"/>
                <a:gd name="T101" fmla="*/ 30 h 57"/>
                <a:gd name="T102" fmla="*/ 186 w 195"/>
                <a:gd name="T103" fmla="*/ 30 h 57"/>
                <a:gd name="T104" fmla="*/ 177 w 195"/>
                <a:gd name="T105" fmla="*/ 29 h 57"/>
                <a:gd name="T106" fmla="*/ 174 w 195"/>
                <a:gd name="T107" fmla="*/ 29 h 57"/>
                <a:gd name="T108" fmla="*/ 164 w 195"/>
                <a:gd name="T109" fmla="*/ 27 h 57"/>
                <a:gd name="T110" fmla="*/ 153 w 195"/>
                <a:gd name="T111" fmla="*/ 6 h 57"/>
                <a:gd name="T112" fmla="*/ 159 w 195"/>
                <a:gd name="T113" fmla="*/ 3 h 57"/>
                <a:gd name="T114" fmla="*/ 163 w 195"/>
                <a:gd name="T115" fmla="*/ 0 h 57"/>
                <a:gd name="T116" fmla="*/ 167 w 195"/>
                <a:gd name="T1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57">
                  <a:moveTo>
                    <a:pt x="44" y="0"/>
                  </a:moveTo>
                  <a:cubicBezTo>
                    <a:pt x="43" y="0"/>
                    <a:pt x="43" y="0"/>
                    <a:pt x="43" y="0"/>
                  </a:cubicBezTo>
                  <a:cubicBezTo>
                    <a:pt x="43" y="0"/>
                    <a:pt x="42" y="1"/>
                    <a:pt x="41" y="1"/>
                  </a:cubicBezTo>
                  <a:cubicBezTo>
                    <a:pt x="41" y="1"/>
                    <a:pt x="41" y="1"/>
                    <a:pt x="41" y="1"/>
                  </a:cubicBezTo>
                  <a:cubicBezTo>
                    <a:pt x="40" y="1"/>
                    <a:pt x="39" y="2"/>
                    <a:pt x="37" y="2"/>
                  </a:cubicBezTo>
                  <a:cubicBezTo>
                    <a:pt x="37" y="2"/>
                    <a:pt x="37" y="2"/>
                    <a:pt x="37" y="2"/>
                  </a:cubicBezTo>
                  <a:cubicBezTo>
                    <a:pt x="36" y="2"/>
                    <a:pt x="36" y="2"/>
                    <a:pt x="36" y="2"/>
                  </a:cubicBezTo>
                  <a:cubicBezTo>
                    <a:pt x="36" y="2"/>
                    <a:pt x="36" y="2"/>
                    <a:pt x="36" y="2"/>
                  </a:cubicBezTo>
                  <a:cubicBezTo>
                    <a:pt x="35" y="2"/>
                    <a:pt x="35" y="2"/>
                    <a:pt x="34" y="1"/>
                  </a:cubicBezTo>
                  <a:cubicBezTo>
                    <a:pt x="34" y="1"/>
                    <a:pt x="34" y="1"/>
                    <a:pt x="34" y="1"/>
                  </a:cubicBezTo>
                  <a:cubicBezTo>
                    <a:pt x="34" y="1"/>
                    <a:pt x="34" y="1"/>
                    <a:pt x="34" y="1"/>
                  </a:cubicBezTo>
                  <a:cubicBezTo>
                    <a:pt x="34" y="1"/>
                    <a:pt x="34" y="1"/>
                    <a:pt x="34" y="1"/>
                  </a:cubicBezTo>
                  <a:cubicBezTo>
                    <a:pt x="33" y="1"/>
                    <a:pt x="33" y="1"/>
                    <a:pt x="33" y="1"/>
                  </a:cubicBezTo>
                  <a:cubicBezTo>
                    <a:pt x="33" y="1"/>
                    <a:pt x="32" y="1"/>
                    <a:pt x="32" y="1"/>
                  </a:cubicBezTo>
                  <a:cubicBezTo>
                    <a:pt x="31" y="1"/>
                    <a:pt x="30" y="1"/>
                    <a:pt x="28" y="0"/>
                  </a:cubicBezTo>
                  <a:cubicBezTo>
                    <a:pt x="28" y="0"/>
                    <a:pt x="28" y="0"/>
                    <a:pt x="27" y="0"/>
                  </a:cubicBezTo>
                  <a:cubicBezTo>
                    <a:pt x="25" y="0"/>
                    <a:pt x="25" y="0"/>
                    <a:pt x="25" y="0"/>
                  </a:cubicBezTo>
                  <a:cubicBezTo>
                    <a:pt x="24" y="0"/>
                    <a:pt x="24" y="0"/>
                    <a:pt x="23" y="1"/>
                  </a:cubicBezTo>
                  <a:cubicBezTo>
                    <a:pt x="22" y="1"/>
                    <a:pt x="22" y="1"/>
                    <a:pt x="22" y="1"/>
                  </a:cubicBezTo>
                  <a:cubicBezTo>
                    <a:pt x="22" y="1"/>
                    <a:pt x="22" y="1"/>
                    <a:pt x="21" y="1"/>
                  </a:cubicBezTo>
                  <a:cubicBezTo>
                    <a:pt x="21" y="1"/>
                    <a:pt x="21" y="1"/>
                    <a:pt x="21" y="1"/>
                  </a:cubicBezTo>
                  <a:cubicBezTo>
                    <a:pt x="20" y="1"/>
                    <a:pt x="20" y="1"/>
                    <a:pt x="19" y="0"/>
                  </a:cubicBezTo>
                  <a:cubicBezTo>
                    <a:pt x="19" y="0"/>
                    <a:pt x="19" y="0"/>
                    <a:pt x="19" y="0"/>
                  </a:cubicBezTo>
                  <a:cubicBezTo>
                    <a:pt x="18" y="0"/>
                    <a:pt x="18" y="0"/>
                    <a:pt x="18" y="0"/>
                  </a:cubicBezTo>
                  <a:cubicBezTo>
                    <a:pt x="17" y="0"/>
                    <a:pt x="17" y="0"/>
                    <a:pt x="17" y="0"/>
                  </a:cubicBezTo>
                  <a:cubicBezTo>
                    <a:pt x="17" y="0"/>
                    <a:pt x="17" y="0"/>
                    <a:pt x="17" y="0"/>
                  </a:cubicBezTo>
                  <a:cubicBezTo>
                    <a:pt x="17" y="1"/>
                    <a:pt x="17" y="2"/>
                    <a:pt x="17" y="3"/>
                  </a:cubicBezTo>
                  <a:cubicBezTo>
                    <a:pt x="17" y="4"/>
                    <a:pt x="17" y="4"/>
                    <a:pt x="17" y="6"/>
                  </a:cubicBezTo>
                  <a:cubicBezTo>
                    <a:pt x="17" y="6"/>
                    <a:pt x="17" y="7"/>
                    <a:pt x="16" y="8"/>
                  </a:cubicBezTo>
                  <a:cubicBezTo>
                    <a:pt x="16" y="8"/>
                    <a:pt x="16" y="8"/>
                    <a:pt x="16" y="8"/>
                  </a:cubicBezTo>
                  <a:cubicBezTo>
                    <a:pt x="16" y="9"/>
                    <a:pt x="16" y="9"/>
                    <a:pt x="16" y="9"/>
                  </a:cubicBezTo>
                  <a:cubicBezTo>
                    <a:pt x="15" y="10"/>
                    <a:pt x="15" y="10"/>
                    <a:pt x="15" y="10"/>
                  </a:cubicBezTo>
                  <a:cubicBezTo>
                    <a:pt x="15" y="12"/>
                    <a:pt x="14" y="12"/>
                    <a:pt x="13" y="13"/>
                  </a:cubicBezTo>
                  <a:cubicBezTo>
                    <a:pt x="13" y="13"/>
                    <a:pt x="13" y="13"/>
                    <a:pt x="13" y="13"/>
                  </a:cubicBezTo>
                  <a:cubicBezTo>
                    <a:pt x="12" y="14"/>
                    <a:pt x="12" y="15"/>
                    <a:pt x="11" y="16"/>
                  </a:cubicBezTo>
                  <a:cubicBezTo>
                    <a:pt x="10" y="16"/>
                    <a:pt x="10" y="16"/>
                    <a:pt x="10" y="16"/>
                  </a:cubicBezTo>
                  <a:cubicBezTo>
                    <a:pt x="10" y="17"/>
                    <a:pt x="10" y="17"/>
                    <a:pt x="10" y="17"/>
                  </a:cubicBezTo>
                  <a:cubicBezTo>
                    <a:pt x="10" y="17"/>
                    <a:pt x="10" y="17"/>
                    <a:pt x="10" y="17"/>
                  </a:cubicBezTo>
                  <a:cubicBezTo>
                    <a:pt x="9" y="18"/>
                    <a:pt x="9" y="18"/>
                    <a:pt x="8" y="19"/>
                  </a:cubicBezTo>
                  <a:cubicBezTo>
                    <a:pt x="7" y="19"/>
                    <a:pt x="6" y="20"/>
                    <a:pt x="6" y="20"/>
                  </a:cubicBezTo>
                  <a:cubicBezTo>
                    <a:pt x="6" y="21"/>
                    <a:pt x="6" y="21"/>
                    <a:pt x="6" y="21"/>
                  </a:cubicBezTo>
                  <a:cubicBezTo>
                    <a:pt x="8" y="23"/>
                    <a:pt x="8" y="23"/>
                    <a:pt x="8" y="23"/>
                  </a:cubicBezTo>
                  <a:cubicBezTo>
                    <a:pt x="6" y="24"/>
                    <a:pt x="6" y="24"/>
                    <a:pt x="6" y="24"/>
                  </a:cubicBezTo>
                  <a:cubicBezTo>
                    <a:pt x="3" y="25"/>
                    <a:pt x="2" y="26"/>
                    <a:pt x="0" y="27"/>
                  </a:cubicBezTo>
                  <a:cubicBezTo>
                    <a:pt x="1" y="27"/>
                    <a:pt x="1" y="27"/>
                    <a:pt x="1" y="27"/>
                  </a:cubicBezTo>
                  <a:cubicBezTo>
                    <a:pt x="2" y="28"/>
                    <a:pt x="3" y="29"/>
                    <a:pt x="4" y="30"/>
                  </a:cubicBezTo>
                  <a:cubicBezTo>
                    <a:pt x="5" y="30"/>
                    <a:pt x="6" y="30"/>
                    <a:pt x="7" y="31"/>
                  </a:cubicBezTo>
                  <a:cubicBezTo>
                    <a:pt x="10" y="30"/>
                    <a:pt x="10" y="30"/>
                    <a:pt x="10" y="30"/>
                  </a:cubicBezTo>
                  <a:cubicBezTo>
                    <a:pt x="12" y="30"/>
                    <a:pt x="13" y="30"/>
                    <a:pt x="15" y="29"/>
                  </a:cubicBezTo>
                  <a:cubicBezTo>
                    <a:pt x="16" y="29"/>
                    <a:pt x="16" y="29"/>
                    <a:pt x="16" y="29"/>
                  </a:cubicBezTo>
                  <a:cubicBezTo>
                    <a:pt x="19" y="27"/>
                    <a:pt x="22" y="26"/>
                    <a:pt x="25" y="26"/>
                  </a:cubicBezTo>
                  <a:cubicBezTo>
                    <a:pt x="26" y="26"/>
                    <a:pt x="26" y="26"/>
                    <a:pt x="26" y="26"/>
                  </a:cubicBezTo>
                  <a:cubicBezTo>
                    <a:pt x="28" y="26"/>
                    <a:pt x="31" y="27"/>
                    <a:pt x="32" y="29"/>
                  </a:cubicBezTo>
                  <a:cubicBezTo>
                    <a:pt x="32" y="29"/>
                    <a:pt x="32" y="29"/>
                    <a:pt x="32" y="29"/>
                  </a:cubicBezTo>
                  <a:cubicBezTo>
                    <a:pt x="33" y="25"/>
                    <a:pt x="31" y="21"/>
                    <a:pt x="30" y="16"/>
                  </a:cubicBezTo>
                  <a:cubicBezTo>
                    <a:pt x="32" y="18"/>
                    <a:pt x="31" y="21"/>
                    <a:pt x="32" y="21"/>
                  </a:cubicBezTo>
                  <a:cubicBezTo>
                    <a:pt x="32" y="21"/>
                    <a:pt x="33" y="20"/>
                    <a:pt x="35" y="19"/>
                  </a:cubicBezTo>
                  <a:cubicBezTo>
                    <a:pt x="36" y="18"/>
                    <a:pt x="37" y="16"/>
                    <a:pt x="39" y="16"/>
                  </a:cubicBezTo>
                  <a:cubicBezTo>
                    <a:pt x="39" y="16"/>
                    <a:pt x="39" y="16"/>
                    <a:pt x="40" y="16"/>
                  </a:cubicBezTo>
                  <a:cubicBezTo>
                    <a:pt x="40" y="16"/>
                    <a:pt x="40" y="16"/>
                    <a:pt x="41" y="16"/>
                  </a:cubicBezTo>
                  <a:cubicBezTo>
                    <a:pt x="41" y="16"/>
                    <a:pt x="41" y="16"/>
                    <a:pt x="42" y="16"/>
                  </a:cubicBezTo>
                  <a:cubicBezTo>
                    <a:pt x="42" y="16"/>
                    <a:pt x="43" y="16"/>
                    <a:pt x="43" y="15"/>
                  </a:cubicBezTo>
                  <a:cubicBezTo>
                    <a:pt x="44" y="14"/>
                    <a:pt x="49" y="11"/>
                    <a:pt x="49" y="10"/>
                  </a:cubicBezTo>
                  <a:cubicBezTo>
                    <a:pt x="47" y="8"/>
                    <a:pt x="46" y="6"/>
                    <a:pt x="44" y="3"/>
                  </a:cubicBezTo>
                  <a:cubicBezTo>
                    <a:pt x="44" y="2"/>
                    <a:pt x="43" y="1"/>
                    <a:pt x="43" y="1"/>
                  </a:cubicBezTo>
                  <a:cubicBezTo>
                    <a:pt x="43" y="0"/>
                    <a:pt x="43" y="0"/>
                    <a:pt x="44" y="0"/>
                  </a:cubicBezTo>
                  <a:cubicBezTo>
                    <a:pt x="44" y="0"/>
                    <a:pt x="44" y="0"/>
                    <a:pt x="44" y="0"/>
                  </a:cubicBezTo>
                  <a:moveTo>
                    <a:pt x="53" y="0"/>
                  </a:moveTo>
                  <a:cubicBezTo>
                    <a:pt x="44" y="0"/>
                    <a:pt x="44" y="0"/>
                    <a:pt x="44" y="0"/>
                  </a:cubicBezTo>
                  <a:cubicBezTo>
                    <a:pt x="44" y="0"/>
                    <a:pt x="44" y="0"/>
                    <a:pt x="45" y="0"/>
                  </a:cubicBezTo>
                  <a:cubicBezTo>
                    <a:pt x="45" y="1"/>
                    <a:pt x="45" y="1"/>
                    <a:pt x="45" y="1"/>
                  </a:cubicBezTo>
                  <a:cubicBezTo>
                    <a:pt x="45" y="1"/>
                    <a:pt x="45" y="1"/>
                    <a:pt x="45" y="1"/>
                  </a:cubicBezTo>
                  <a:cubicBezTo>
                    <a:pt x="45" y="1"/>
                    <a:pt x="45" y="1"/>
                    <a:pt x="45" y="1"/>
                  </a:cubicBezTo>
                  <a:cubicBezTo>
                    <a:pt x="45" y="1"/>
                    <a:pt x="45" y="1"/>
                    <a:pt x="45" y="1"/>
                  </a:cubicBezTo>
                  <a:cubicBezTo>
                    <a:pt x="46" y="1"/>
                    <a:pt x="46" y="1"/>
                    <a:pt x="46" y="1"/>
                  </a:cubicBezTo>
                  <a:cubicBezTo>
                    <a:pt x="46" y="1"/>
                    <a:pt x="46" y="1"/>
                    <a:pt x="47" y="0"/>
                  </a:cubicBezTo>
                  <a:cubicBezTo>
                    <a:pt x="47" y="1"/>
                    <a:pt x="47" y="1"/>
                    <a:pt x="47" y="2"/>
                  </a:cubicBezTo>
                  <a:cubicBezTo>
                    <a:pt x="47" y="2"/>
                    <a:pt x="48" y="3"/>
                    <a:pt x="49" y="4"/>
                  </a:cubicBezTo>
                  <a:cubicBezTo>
                    <a:pt x="49" y="4"/>
                    <a:pt x="49" y="4"/>
                    <a:pt x="49" y="5"/>
                  </a:cubicBezTo>
                  <a:cubicBezTo>
                    <a:pt x="49" y="5"/>
                    <a:pt x="49" y="5"/>
                    <a:pt x="49" y="5"/>
                  </a:cubicBezTo>
                  <a:cubicBezTo>
                    <a:pt x="50" y="4"/>
                    <a:pt x="51" y="3"/>
                    <a:pt x="52" y="2"/>
                  </a:cubicBezTo>
                  <a:cubicBezTo>
                    <a:pt x="52" y="1"/>
                    <a:pt x="53" y="0"/>
                    <a:pt x="53" y="0"/>
                  </a:cubicBezTo>
                  <a:moveTo>
                    <a:pt x="160" y="0"/>
                  </a:moveTo>
                  <a:cubicBezTo>
                    <a:pt x="84" y="0"/>
                    <a:pt x="84" y="0"/>
                    <a:pt x="84" y="0"/>
                  </a:cubicBezTo>
                  <a:cubicBezTo>
                    <a:pt x="85" y="0"/>
                    <a:pt x="85" y="0"/>
                    <a:pt x="85" y="1"/>
                  </a:cubicBezTo>
                  <a:cubicBezTo>
                    <a:pt x="85" y="1"/>
                    <a:pt x="85" y="1"/>
                    <a:pt x="85" y="1"/>
                  </a:cubicBezTo>
                  <a:cubicBezTo>
                    <a:pt x="84" y="1"/>
                    <a:pt x="84" y="1"/>
                    <a:pt x="84" y="1"/>
                  </a:cubicBezTo>
                  <a:cubicBezTo>
                    <a:pt x="84" y="1"/>
                    <a:pt x="84" y="1"/>
                    <a:pt x="84" y="1"/>
                  </a:cubicBezTo>
                  <a:cubicBezTo>
                    <a:pt x="82" y="1"/>
                    <a:pt x="81" y="1"/>
                    <a:pt x="81" y="2"/>
                  </a:cubicBezTo>
                  <a:cubicBezTo>
                    <a:pt x="80" y="3"/>
                    <a:pt x="83" y="3"/>
                    <a:pt x="85" y="4"/>
                  </a:cubicBezTo>
                  <a:cubicBezTo>
                    <a:pt x="88" y="5"/>
                    <a:pt x="91" y="5"/>
                    <a:pt x="92" y="6"/>
                  </a:cubicBezTo>
                  <a:cubicBezTo>
                    <a:pt x="92" y="6"/>
                    <a:pt x="92" y="7"/>
                    <a:pt x="93" y="7"/>
                  </a:cubicBezTo>
                  <a:cubicBezTo>
                    <a:pt x="93" y="7"/>
                    <a:pt x="93" y="7"/>
                    <a:pt x="94" y="8"/>
                  </a:cubicBezTo>
                  <a:cubicBezTo>
                    <a:pt x="95" y="8"/>
                    <a:pt x="95" y="8"/>
                    <a:pt x="96" y="8"/>
                  </a:cubicBezTo>
                  <a:cubicBezTo>
                    <a:pt x="96" y="8"/>
                    <a:pt x="96" y="8"/>
                    <a:pt x="96" y="8"/>
                  </a:cubicBezTo>
                  <a:cubicBezTo>
                    <a:pt x="97" y="8"/>
                    <a:pt x="98" y="8"/>
                    <a:pt x="99" y="8"/>
                  </a:cubicBezTo>
                  <a:cubicBezTo>
                    <a:pt x="101" y="8"/>
                    <a:pt x="103" y="7"/>
                    <a:pt x="104" y="7"/>
                  </a:cubicBezTo>
                  <a:cubicBezTo>
                    <a:pt x="105" y="7"/>
                    <a:pt x="105" y="7"/>
                    <a:pt x="105" y="7"/>
                  </a:cubicBezTo>
                  <a:cubicBezTo>
                    <a:pt x="108" y="6"/>
                    <a:pt x="110" y="6"/>
                    <a:pt x="113" y="5"/>
                  </a:cubicBezTo>
                  <a:cubicBezTo>
                    <a:pt x="113" y="5"/>
                    <a:pt x="113" y="5"/>
                    <a:pt x="114" y="5"/>
                  </a:cubicBezTo>
                  <a:cubicBezTo>
                    <a:pt x="115" y="5"/>
                    <a:pt x="115" y="6"/>
                    <a:pt x="116" y="7"/>
                  </a:cubicBezTo>
                  <a:cubicBezTo>
                    <a:pt x="116" y="7"/>
                    <a:pt x="116" y="8"/>
                    <a:pt x="117" y="8"/>
                  </a:cubicBezTo>
                  <a:cubicBezTo>
                    <a:pt x="117" y="9"/>
                    <a:pt x="118" y="9"/>
                    <a:pt x="119" y="9"/>
                  </a:cubicBezTo>
                  <a:cubicBezTo>
                    <a:pt x="119" y="9"/>
                    <a:pt x="119" y="9"/>
                    <a:pt x="119" y="9"/>
                  </a:cubicBezTo>
                  <a:cubicBezTo>
                    <a:pt x="120" y="9"/>
                    <a:pt x="121" y="9"/>
                    <a:pt x="122" y="8"/>
                  </a:cubicBezTo>
                  <a:cubicBezTo>
                    <a:pt x="123" y="8"/>
                    <a:pt x="124" y="8"/>
                    <a:pt x="124" y="7"/>
                  </a:cubicBezTo>
                  <a:cubicBezTo>
                    <a:pt x="124" y="8"/>
                    <a:pt x="124" y="9"/>
                    <a:pt x="124" y="9"/>
                  </a:cubicBezTo>
                  <a:cubicBezTo>
                    <a:pt x="124" y="11"/>
                    <a:pt x="124" y="13"/>
                    <a:pt x="126" y="14"/>
                  </a:cubicBezTo>
                  <a:cubicBezTo>
                    <a:pt x="126" y="15"/>
                    <a:pt x="124" y="15"/>
                    <a:pt x="122" y="16"/>
                  </a:cubicBezTo>
                  <a:cubicBezTo>
                    <a:pt x="121" y="16"/>
                    <a:pt x="120" y="16"/>
                    <a:pt x="120" y="16"/>
                  </a:cubicBezTo>
                  <a:cubicBezTo>
                    <a:pt x="119" y="16"/>
                    <a:pt x="118" y="17"/>
                    <a:pt x="117" y="18"/>
                  </a:cubicBezTo>
                  <a:cubicBezTo>
                    <a:pt x="117" y="18"/>
                    <a:pt x="116" y="18"/>
                    <a:pt x="116" y="18"/>
                  </a:cubicBezTo>
                  <a:cubicBezTo>
                    <a:pt x="115" y="18"/>
                    <a:pt x="115" y="19"/>
                    <a:pt x="115" y="19"/>
                  </a:cubicBezTo>
                  <a:cubicBezTo>
                    <a:pt x="115" y="19"/>
                    <a:pt x="114" y="18"/>
                    <a:pt x="114" y="18"/>
                  </a:cubicBezTo>
                  <a:cubicBezTo>
                    <a:pt x="114" y="19"/>
                    <a:pt x="110" y="20"/>
                    <a:pt x="108" y="21"/>
                  </a:cubicBezTo>
                  <a:cubicBezTo>
                    <a:pt x="107" y="21"/>
                    <a:pt x="107" y="22"/>
                    <a:pt x="106" y="23"/>
                  </a:cubicBezTo>
                  <a:cubicBezTo>
                    <a:pt x="106" y="23"/>
                    <a:pt x="105" y="24"/>
                    <a:pt x="105" y="24"/>
                  </a:cubicBezTo>
                  <a:cubicBezTo>
                    <a:pt x="104" y="24"/>
                    <a:pt x="103" y="25"/>
                    <a:pt x="102" y="25"/>
                  </a:cubicBezTo>
                  <a:cubicBezTo>
                    <a:pt x="101" y="25"/>
                    <a:pt x="101" y="26"/>
                    <a:pt x="100" y="26"/>
                  </a:cubicBezTo>
                  <a:cubicBezTo>
                    <a:pt x="99" y="27"/>
                    <a:pt x="98" y="27"/>
                    <a:pt x="98" y="28"/>
                  </a:cubicBezTo>
                  <a:cubicBezTo>
                    <a:pt x="98" y="29"/>
                    <a:pt x="98" y="29"/>
                    <a:pt x="98" y="29"/>
                  </a:cubicBezTo>
                  <a:cubicBezTo>
                    <a:pt x="98" y="31"/>
                    <a:pt x="107" y="33"/>
                    <a:pt x="112" y="34"/>
                  </a:cubicBezTo>
                  <a:cubicBezTo>
                    <a:pt x="113" y="35"/>
                    <a:pt x="114" y="35"/>
                    <a:pt x="115" y="35"/>
                  </a:cubicBezTo>
                  <a:cubicBezTo>
                    <a:pt x="118" y="36"/>
                    <a:pt x="122" y="36"/>
                    <a:pt x="123" y="39"/>
                  </a:cubicBezTo>
                  <a:cubicBezTo>
                    <a:pt x="124" y="39"/>
                    <a:pt x="124" y="41"/>
                    <a:pt x="124" y="42"/>
                  </a:cubicBezTo>
                  <a:cubicBezTo>
                    <a:pt x="124" y="44"/>
                    <a:pt x="123" y="44"/>
                    <a:pt x="123" y="45"/>
                  </a:cubicBezTo>
                  <a:cubicBezTo>
                    <a:pt x="122" y="46"/>
                    <a:pt x="122" y="46"/>
                    <a:pt x="122" y="47"/>
                  </a:cubicBezTo>
                  <a:cubicBezTo>
                    <a:pt x="122" y="47"/>
                    <a:pt x="122" y="48"/>
                    <a:pt x="122" y="49"/>
                  </a:cubicBezTo>
                  <a:cubicBezTo>
                    <a:pt x="122" y="50"/>
                    <a:pt x="123" y="51"/>
                    <a:pt x="123" y="52"/>
                  </a:cubicBezTo>
                  <a:cubicBezTo>
                    <a:pt x="121" y="52"/>
                    <a:pt x="120" y="52"/>
                    <a:pt x="118" y="52"/>
                  </a:cubicBezTo>
                  <a:cubicBezTo>
                    <a:pt x="119" y="53"/>
                    <a:pt x="119" y="53"/>
                    <a:pt x="120" y="54"/>
                  </a:cubicBezTo>
                  <a:cubicBezTo>
                    <a:pt x="120" y="54"/>
                    <a:pt x="121" y="55"/>
                    <a:pt x="122" y="55"/>
                  </a:cubicBezTo>
                  <a:cubicBezTo>
                    <a:pt x="124" y="56"/>
                    <a:pt x="125" y="57"/>
                    <a:pt x="127" y="57"/>
                  </a:cubicBezTo>
                  <a:cubicBezTo>
                    <a:pt x="127" y="57"/>
                    <a:pt x="127" y="57"/>
                    <a:pt x="127" y="57"/>
                  </a:cubicBezTo>
                  <a:cubicBezTo>
                    <a:pt x="128" y="57"/>
                    <a:pt x="129" y="57"/>
                    <a:pt x="130" y="56"/>
                  </a:cubicBezTo>
                  <a:cubicBezTo>
                    <a:pt x="136" y="53"/>
                    <a:pt x="142" y="50"/>
                    <a:pt x="148" y="47"/>
                  </a:cubicBezTo>
                  <a:cubicBezTo>
                    <a:pt x="154" y="44"/>
                    <a:pt x="161" y="41"/>
                    <a:pt x="167" y="38"/>
                  </a:cubicBezTo>
                  <a:cubicBezTo>
                    <a:pt x="168" y="38"/>
                    <a:pt x="169" y="37"/>
                    <a:pt x="170" y="37"/>
                  </a:cubicBezTo>
                  <a:cubicBezTo>
                    <a:pt x="172" y="37"/>
                    <a:pt x="174" y="38"/>
                    <a:pt x="176" y="40"/>
                  </a:cubicBezTo>
                  <a:cubicBezTo>
                    <a:pt x="177" y="40"/>
                    <a:pt x="177" y="40"/>
                    <a:pt x="177" y="40"/>
                  </a:cubicBezTo>
                  <a:cubicBezTo>
                    <a:pt x="178" y="40"/>
                    <a:pt x="178" y="40"/>
                    <a:pt x="178" y="40"/>
                  </a:cubicBezTo>
                  <a:cubicBezTo>
                    <a:pt x="178" y="41"/>
                    <a:pt x="178" y="41"/>
                    <a:pt x="179" y="41"/>
                  </a:cubicBezTo>
                  <a:cubicBezTo>
                    <a:pt x="180" y="41"/>
                    <a:pt x="182" y="40"/>
                    <a:pt x="183" y="40"/>
                  </a:cubicBezTo>
                  <a:cubicBezTo>
                    <a:pt x="183" y="40"/>
                    <a:pt x="184" y="40"/>
                    <a:pt x="184" y="40"/>
                  </a:cubicBezTo>
                  <a:cubicBezTo>
                    <a:pt x="184" y="40"/>
                    <a:pt x="184" y="40"/>
                    <a:pt x="184" y="40"/>
                  </a:cubicBezTo>
                  <a:cubicBezTo>
                    <a:pt x="185" y="40"/>
                    <a:pt x="185" y="40"/>
                    <a:pt x="185" y="40"/>
                  </a:cubicBezTo>
                  <a:cubicBezTo>
                    <a:pt x="186" y="40"/>
                    <a:pt x="186" y="40"/>
                    <a:pt x="186" y="40"/>
                  </a:cubicBezTo>
                  <a:cubicBezTo>
                    <a:pt x="187" y="40"/>
                    <a:pt x="187" y="40"/>
                    <a:pt x="188" y="39"/>
                  </a:cubicBezTo>
                  <a:cubicBezTo>
                    <a:pt x="190" y="38"/>
                    <a:pt x="189" y="37"/>
                    <a:pt x="190" y="34"/>
                  </a:cubicBezTo>
                  <a:cubicBezTo>
                    <a:pt x="191" y="33"/>
                    <a:pt x="191" y="32"/>
                    <a:pt x="192" y="32"/>
                  </a:cubicBezTo>
                  <a:cubicBezTo>
                    <a:pt x="192" y="31"/>
                    <a:pt x="193" y="31"/>
                    <a:pt x="193" y="31"/>
                  </a:cubicBezTo>
                  <a:cubicBezTo>
                    <a:pt x="194" y="31"/>
                    <a:pt x="195" y="30"/>
                    <a:pt x="195" y="30"/>
                  </a:cubicBezTo>
                  <a:cubicBezTo>
                    <a:pt x="194" y="30"/>
                    <a:pt x="193" y="30"/>
                    <a:pt x="192" y="30"/>
                  </a:cubicBezTo>
                  <a:cubicBezTo>
                    <a:pt x="192" y="30"/>
                    <a:pt x="192" y="30"/>
                    <a:pt x="192" y="30"/>
                  </a:cubicBezTo>
                  <a:cubicBezTo>
                    <a:pt x="190" y="30"/>
                    <a:pt x="189" y="30"/>
                    <a:pt x="188" y="30"/>
                  </a:cubicBezTo>
                  <a:cubicBezTo>
                    <a:pt x="187" y="30"/>
                    <a:pt x="186" y="30"/>
                    <a:pt x="186" y="30"/>
                  </a:cubicBezTo>
                  <a:cubicBezTo>
                    <a:pt x="185" y="30"/>
                    <a:pt x="183" y="30"/>
                    <a:pt x="182" y="30"/>
                  </a:cubicBezTo>
                  <a:cubicBezTo>
                    <a:pt x="181" y="30"/>
                    <a:pt x="181" y="30"/>
                    <a:pt x="180" y="30"/>
                  </a:cubicBezTo>
                  <a:cubicBezTo>
                    <a:pt x="179" y="30"/>
                    <a:pt x="178" y="29"/>
                    <a:pt x="177" y="29"/>
                  </a:cubicBezTo>
                  <a:cubicBezTo>
                    <a:pt x="177" y="29"/>
                    <a:pt x="176" y="29"/>
                    <a:pt x="176" y="29"/>
                  </a:cubicBezTo>
                  <a:cubicBezTo>
                    <a:pt x="176" y="29"/>
                    <a:pt x="176" y="29"/>
                    <a:pt x="176" y="29"/>
                  </a:cubicBezTo>
                  <a:cubicBezTo>
                    <a:pt x="175" y="29"/>
                    <a:pt x="175" y="29"/>
                    <a:pt x="174" y="29"/>
                  </a:cubicBezTo>
                  <a:cubicBezTo>
                    <a:pt x="173" y="30"/>
                    <a:pt x="172" y="31"/>
                    <a:pt x="170" y="32"/>
                  </a:cubicBezTo>
                  <a:cubicBezTo>
                    <a:pt x="170" y="32"/>
                    <a:pt x="170" y="32"/>
                    <a:pt x="170" y="32"/>
                  </a:cubicBezTo>
                  <a:cubicBezTo>
                    <a:pt x="167" y="32"/>
                    <a:pt x="166" y="29"/>
                    <a:pt x="164" y="27"/>
                  </a:cubicBezTo>
                  <a:cubicBezTo>
                    <a:pt x="160" y="22"/>
                    <a:pt x="157" y="19"/>
                    <a:pt x="155" y="14"/>
                  </a:cubicBezTo>
                  <a:cubicBezTo>
                    <a:pt x="154" y="12"/>
                    <a:pt x="153" y="10"/>
                    <a:pt x="153" y="8"/>
                  </a:cubicBezTo>
                  <a:cubicBezTo>
                    <a:pt x="153" y="7"/>
                    <a:pt x="153" y="6"/>
                    <a:pt x="153" y="6"/>
                  </a:cubicBezTo>
                  <a:cubicBezTo>
                    <a:pt x="153" y="5"/>
                    <a:pt x="153" y="5"/>
                    <a:pt x="154" y="4"/>
                  </a:cubicBezTo>
                  <a:cubicBezTo>
                    <a:pt x="155" y="4"/>
                    <a:pt x="155" y="4"/>
                    <a:pt x="156" y="4"/>
                  </a:cubicBezTo>
                  <a:cubicBezTo>
                    <a:pt x="157" y="3"/>
                    <a:pt x="158" y="3"/>
                    <a:pt x="159" y="3"/>
                  </a:cubicBezTo>
                  <a:cubicBezTo>
                    <a:pt x="160" y="2"/>
                    <a:pt x="160" y="1"/>
                    <a:pt x="160" y="0"/>
                  </a:cubicBezTo>
                  <a:moveTo>
                    <a:pt x="168" y="0"/>
                  </a:moveTo>
                  <a:cubicBezTo>
                    <a:pt x="163" y="0"/>
                    <a:pt x="163" y="0"/>
                    <a:pt x="163" y="0"/>
                  </a:cubicBezTo>
                  <a:cubicBezTo>
                    <a:pt x="163" y="0"/>
                    <a:pt x="163" y="0"/>
                    <a:pt x="164" y="0"/>
                  </a:cubicBezTo>
                  <a:cubicBezTo>
                    <a:pt x="167" y="1"/>
                    <a:pt x="157" y="8"/>
                    <a:pt x="157" y="8"/>
                  </a:cubicBezTo>
                  <a:cubicBezTo>
                    <a:pt x="160" y="6"/>
                    <a:pt x="164" y="3"/>
                    <a:pt x="167" y="0"/>
                  </a:cubicBezTo>
                  <a:cubicBezTo>
                    <a:pt x="168" y="0"/>
                    <a:pt x="168" y="0"/>
                    <a:pt x="1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Africa</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65435B93-56F9-4AD0-B489-9FB9F0E7C82D}"/>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sp>
        <p:nvSpPr>
          <p:cNvPr id="317" name="Rectangle 316">
            <a:hlinkClick r:id="rId3" action="ppaction://hlinksldjump"/>
            <a:extLst>
              <a:ext uri="{FF2B5EF4-FFF2-40B4-BE49-F238E27FC236}">
                <a16:creationId xmlns:a16="http://schemas.microsoft.com/office/drawing/2014/main" id="{45DCA90E-99AE-4F91-809F-9FCE6644491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550474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Europe</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365" name="Group 364">
            <a:extLst>
              <a:ext uri="{FF2B5EF4-FFF2-40B4-BE49-F238E27FC236}">
                <a16:creationId xmlns:a16="http://schemas.microsoft.com/office/drawing/2014/main" id="{1FC7FCD2-50F6-40D7-B158-9E3D03F758E2}"/>
              </a:ext>
            </a:extLst>
          </p:cNvPr>
          <p:cNvGrpSpPr/>
          <p:nvPr/>
        </p:nvGrpSpPr>
        <p:grpSpPr>
          <a:xfrm>
            <a:off x="2336799" y="294744"/>
            <a:ext cx="9855207" cy="6563257"/>
            <a:chOff x="1533009" y="-232098"/>
            <a:chExt cx="10646298" cy="7090099"/>
          </a:xfrm>
          <a:solidFill>
            <a:srgbClr val="96968C">
              <a:lumMod val="40000"/>
              <a:lumOff val="60000"/>
            </a:srgbClr>
          </a:solidFill>
        </p:grpSpPr>
        <p:grpSp>
          <p:nvGrpSpPr>
            <p:cNvPr id="366" name="Group 365">
              <a:extLst>
                <a:ext uri="{FF2B5EF4-FFF2-40B4-BE49-F238E27FC236}">
                  <a16:creationId xmlns:a16="http://schemas.microsoft.com/office/drawing/2014/main" id="{DEA683A3-E736-4506-9058-DAC7431F3D85}"/>
                </a:ext>
              </a:extLst>
            </p:cNvPr>
            <p:cNvGrpSpPr/>
            <p:nvPr/>
          </p:nvGrpSpPr>
          <p:grpSpPr>
            <a:xfrm>
              <a:off x="1533009" y="40537"/>
              <a:ext cx="10646298" cy="6817464"/>
              <a:chOff x="1533009" y="40537"/>
              <a:chExt cx="10646298" cy="6817464"/>
            </a:xfrm>
            <a:grpFill/>
          </p:grpSpPr>
          <p:grpSp>
            <p:nvGrpSpPr>
              <p:cNvPr id="377" name="Group 376">
                <a:extLst>
                  <a:ext uri="{FF2B5EF4-FFF2-40B4-BE49-F238E27FC236}">
                    <a16:creationId xmlns:a16="http://schemas.microsoft.com/office/drawing/2014/main" id="{AB76AADD-93CB-4592-A9BD-3C2558E41885}"/>
                  </a:ext>
                </a:extLst>
              </p:cNvPr>
              <p:cNvGrpSpPr/>
              <p:nvPr/>
            </p:nvGrpSpPr>
            <p:grpSpPr>
              <a:xfrm>
                <a:off x="1533009" y="40537"/>
                <a:ext cx="9054328" cy="6666374"/>
                <a:chOff x="1533009" y="40537"/>
                <a:chExt cx="9054328" cy="6666374"/>
              </a:xfrm>
              <a:grpFill/>
            </p:grpSpPr>
            <p:sp>
              <p:nvSpPr>
                <p:cNvPr id="553" name="Freeform 5">
                  <a:extLst>
                    <a:ext uri="{FF2B5EF4-FFF2-40B4-BE49-F238E27FC236}">
                      <a16:creationId xmlns:a16="http://schemas.microsoft.com/office/drawing/2014/main" id="{D1B1A180-AAC8-4946-A7A0-0C72E7D40B5B}"/>
                    </a:ext>
                  </a:extLst>
                </p:cNvPr>
                <p:cNvSpPr>
                  <a:spLocks/>
                </p:cNvSpPr>
                <p:nvPr/>
              </p:nvSpPr>
              <p:spPr bwMode="auto">
                <a:xfrm>
                  <a:off x="3534026" y="1076054"/>
                  <a:ext cx="106868" cy="51592"/>
                </a:xfrm>
                <a:custGeom>
                  <a:avLst/>
                  <a:gdLst>
                    <a:gd name="T0" fmla="*/ 34 w 34"/>
                    <a:gd name="T1" fmla="*/ 0 h 16"/>
                    <a:gd name="T2" fmla="*/ 0 w 34"/>
                    <a:gd name="T3" fmla="*/ 16 h 16"/>
                    <a:gd name="T4" fmla="*/ 21 w 34"/>
                    <a:gd name="T5" fmla="*/ 9 h 16"/>
                    <a:gd name="T6" fmla="*/ 34 w 34"/>
                    <a:gd name="T7" fmla="*/ 0 h 16"/>
                  </a:gdLst>
                  <a:ahLst/>
                  <a:cxnLst>
                    <a:cxn ang="0">
                      <a:pos x="T0" y="T1"/>
                    </a:cxn>
                    <a:cxn ang="0">
                      <a:pos x="T2" y="T3"/>
                    </a:cxn>
                    <a:cxn ang="0">
                      <a:pos x="T4" y="T5"/>
                    </a:cxn>
                    <a:cxn ang="0">
                      <a:pos x="T6" y="T7"/>
                    </a:cxn>
                  </a:cxnLst>
                  <a:rect l="0" t="0" r="r" b="b"/>
                  <a:pathLst>
                    <a:path w="34" h="16">
                      <a:moveTo>
                        <a:pt x="34" y="0"/>
                      </a:moveTo>
                      <a:cubicBezTo>
                        <a:pt x="23" y="5"/>
                        <a:pt x="12" y="10"/>
                        <a:pt x="0" y="16"/>
                      </a:cubicBezTo>
                      <a:cubicBezTo>
                        <a:pt x="7" y="14"/>
                        <a:pt x="14" y="12"/>
                        <a:pt x="21" y="9"/>
                      </a:cubicBezTo>
                      <a:cubicBezTo>
                        <a:pt x="27" y="8"/>
                        <a:pt x="30" y="4"/>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4" name="Freeform 8">
                  <a:extLst>
                    <a:ext uri="{FF2B5EF4-FFF2-40B4-BE49-F238E27FC236}">
                      <a16:creationId xmlns:a16="http://schemas.microsoft.com/office/drawing/2014/main" id="{BC17ECD5-0F64-4A3C-B805-0F41DE58E1AC}"/>
                    </a:ext>
                  </a:extLst>
                </p:cNvPr>
                <p:cNvSpPr>
                  <a:spLocks/>
                </p:cNvSpPr>
                <p:nvPr/>
              </p:nvSpPr>
              <p:spPr bwMode="auto">
                <a:xfrm>
                  <a:off x="2141053" y="2068290"/>
                  <a:ext cx="998666" cy="456954"/>
                </a:xfrm>
                <a:custGeom>
                  <a:avLst/>
                  <a:gdLst>
                    <a:gd name="T0" fmla="*/ 231 w 314"/>
                    <a:gd name="T1" fmla="*/ 12 h 144"/>
                    <a:gd name="T2" fmla="*/ 195 w 314"/>
                    <a:gd name="T3" fmla="*/ 24 h 144"/>
                    <a:gd name="T4" fmla="*/ 184 w 314"/>
                    <a:gd name="T5" fmla="*/ 40 h 144"/>
                    <a:gd name="T6" fmla="*/ 146 w 314"/>
                    <a:gd name="T7" fmla="*/ 22 h 144"/>
                    <a:gd name="T8" fmla="*/ 146 w 314"/>
                    <a:gd name="T9" fmla="*/ 35 h 144"/>
                    <a:gd name="T10" fmla="*/ 124 w 314"/>
                    <a:gd name="T11" fmla="*/ 20 h 144"/>
                    <a:gd name="T12" fmla="*/ 116 w 314"/>
                    <a:gd name="T13" fmla="*/ 49 h 144"/>
                    <a:gd name="T14" fmla="*/ 108 w 314"/>
                    <a:gd name="T15" fmla="*/ 40 h 144"/>
                    <a:gd name="T16" fmla="*/ 98 w 314"/>
                    <a:gd name="T17" fmla="*/ 64 h 144"/>
                    <a:gd name="T18" fmla="*/ 87 w 314"/>
                    <a:gd name="T19" fmla="*/ 46 h 144"/>
                    <a:gd name="T20" fmla="*/ 83 w 314"/>
                    <a:gd name="T21" fmla="*/ 38 h 144"/>
                    <a:gd name="T22" fmla="*/ 84 w 314"/>
                    <a:gd name="T23" fmla="*/ 28 h 144"/>
                    <a:gd name="T24" fmla="*/ 58 w 314"/>
                    <a:gd name="T25" fmla="*/ 3 h 144"/>
                    <a:gd name="T26" fmla="*/ 44 w 314"/>
                    <a:gd name="T27" fmla="*/ 11 h 144"/>
                    <a:gd name="T28" fmla="*/ 54 w 314"/>
                    <a:gd name="T29" fmla="*/ 11 h 144"/>
                    <a:gd name="T30" fmla="*/ 61 w 314"/>
                    <a:gd name="T31" fmla="*/ 12 h 144"/>
                    <a:gd name="T32" fmla="*/ 61 w 314"/>
                    <a:gd name="T33" fmla="*/ 27 h 144"/>
                    <a:gd name="T34" fmla="*/ 54 w 314"/>
                    <a:gd name="T35" fmla="*/ 33 h 144"/>
                    <a:gd name="T36" fmla="*/ 28 w 314"/>
                    <a:gd name="T37" fmla="*/ 17 h 144"/>
                    <a:gd name="T38" fmla="*/ 33 w 314"/>
                    <a:gd name="T39" fmla="*/ 25 h 144"/>
                    <a:gd name="T40" fmla="*/ 36 w 314"/>
                    <a:gd name="T41" fmla="*/ 32 h 144"/>
                    <a:gd name="T42" fmla="*/ 19 w 314"/>
                    <a:gd name="T43" fmla="*/ 30 h 144"/>
                    <a:gd name="T44" fmla="*/ 29 w 314"/>
                    <a:gd name="T45" fmla="*/ 38 h 144"/>
                    <a:gd name="T46" fmla="*/ 13 w 314"/>
                    <a:gd name="T47" fmla="*/ 34 h 144"/>
                    <a:gd name="T48" fmla="*/ 19 w 314"/>
                    <a:gd name="T49" fmla="*/ 47 h 144"/>
                    <a:gd name="T50" fmla="*/ 3 w 314"/>
                    <a:gd name="T51" fmla="*/ 46 h 144"/>
                    <a:gd name="T52" fmla="*/ 34 w 314"/>
                    <a:gd name="T53" fmla="*/ 48 h 144"/>
                    <a:gd name="T54" fmla="*/ 81 w 314"/>
                    <a:gd name="T55" fmla="*/ 51 h 144"/>
                    <a:gd name="T56" fmla="*/ 74 w 314"/>
                    <a:gd name="T57" fmla="*/ 65 h 144"/>
                    <a:gd name="T58" fmla="*/ 69 w 314"/>
                    <a:gd name="T59" fmla="*/ 70 h 144"/>
                    <a:gd name="T60" fmla="*/ 53 w 314"/>
                    <a:gd name="T61" fmla="*/ 72 h 144"/>
                    <a:gd name="T62" fmla="*/ 46 w 314"/>
                    <a:gd name="T63" fmla="*/ 72 h 144"/>
                    <a:gd name="T64" fmla="*/ 42 w 314"/>
                    <a:gd name="T65" fmla="*/ 72 h 144"/>
                    <a:gd name="T66" fmla="*/ 39 w 314"/>
                    <a:gd name="T67" fmla="*/ 71 h 144"/>
                    <a:gd name="T68" fmla="*/ 25 w 314"/>
                    <a:gd name="T69" fmla="*/ 76 h 144"/>
                    <a:gd name="T70" fmla="*/ 14 w 314"/>
                    <a:gd name="T71" fmla="*/ 77 h 144"/>
                    <a:gd name="T72" fmla="*/ 61 w 314"/>
                    <a:gd name="T73" fmla="*/ 88 h 144"/>
                    <a:gd name="T74" fmla="*/ 66 w 314"/>
                    <a:gd name="T75" fmla="*/ 96 h 144"/>
                    <a:gd name="T76" fmla="*/ 69 w 314"/>
                    <a:gd name="T77" fmla="*/ 103 h 144"/>
                    <a:gd name="T78" fmla="*/ 63 w 314"/>
                    <a:gd name="T79" fmla="*/ 115 h 144"/>
                    <a:gd name="T80" fmla="*/ 52 w 314"/>
                    <a:gd name="T81" fmla="*/ 125 h 144"/>
                    <a:gd name="T82" fmla="*/ 116 w 314"/>
                    <a:gd name="T83" fmla="*/ 127 h 144"/>
                    <a:gd name="T84" fmla="*/ 163 w 314"/>
                    <a:gd name="T85" fmla="*/ 144 h 144"/>
                    <a:gd name="T86" fmla="*/ 183 w 314"/>
                    <a:gd name="T87" fmla="*/ 140 h 144"/>
                    <a:gd name="T88" fmla="*/ 239 w 314"/>
                    <a:gd name="T89" fmla="*/ 113 h 144"/>
                    <a:gd name="T90" fmla="*/ 266 w 314"/>
                    <a:gd name="T91" fmla="*/ 105 h 144"/>
                    <a:gd name="T92" fmla="*/ 283 w 314"/>
                    <a:gd name="T93" fmla="*/ 98 h 144"/>
                    <a:gd name="T94" fmla="*/ 293 w 314"/>
                    <a:gd name="T95" fmla="*/ 86 h 144"/>
                    <a:gd name="T96" fmla="*/ 299 w 314"/>
                    <a:gd name="T97" fmla="*/ 75 h 144"/>
                    <a:gd name="T98" fmla="*/ 302 w 314"/>
                    <a:gd name="T99" fmla="*/ 71 h 144"/>
                    <a:gd name="T100" fmla="*/ 293 w 314"/>
                    <a:gd name="T101" fmla="*/ 70 h 144"/>
                    <a:gd name="T102" fmla="*/ 303 w 314"/>
                    <a:gd name="T103" fmla="*/ 62 h 144"/>
                    <a:gd name="T104" fmla="*/ 312 w 314"/>
                    <a:gd name="T105" fmla="*/ 59 h 144"/>
                    <a:gd name="T106" fmla="*/ 307 w 314"/>
                    <a:gd name="T107" fmla="*/ 56 h 144"/>
                    <a:gd name="T108" fmla="*/ 292 w 314"/>
                    <a:gd name="T109" fmla="*/ 41 h 144"/>
                    <a:gd name="T110" fmla="*/ 289 w 314"/>
                    <a:gd name="T111" fmla="*/ 41 h 144"/>
                    <a:gd name="T112" fmla="*/ 277 w 314"/>
                    <a:gd name="T113" fmla="*/ 37 h 144"/>
                    <a:gd name="T114" fmla="*/ 269 w 314"/>
                    <a:gd name="T115" fmla="*/ 18 h 144"/>
                    <a:gd name="T116" fmla="*/ 281 w 314"/>
                    <a:gd name="T117" fmla="*/ 7 h 144"/>
                    <a:gd name="T118" fmla="*/ 250 w 314"/>
                    <a:gd name="T119"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4" h="144">
                      <a:moveTo>
                        <a:pt x="239" y="0"/>
                      </a:moveTo>
                      <a:cubicBezTo>
                        <a:pt x="237" y="0"/>
                        <a:pt x="234" y="1"/>
                        <a:pt x="231" y="1"/>
                      </a:cubicBezTo>
                      <a:cubicBezTo>
                        <a:pt x="227" y="1"/>
                        <a:pt x="226" y="2"/>
                        <a:pt x="228" y="7"/>
                      </a:cubicBezTo>
                      <a:cubicBezTo>
                        <a:pt x="229" y="9"/>
                        <a:pt x="231" y="11"/>
                        <a:pt x="231" y="12"/>
                      </a:cubicBezTo>
                      <a:cubicBezTo>
                        <a:pt x="231" y="15"/>
                        <a:pt x="227" y="16"/>
                        <a:pt x="230" y="18"/>
                      </a:cubicBezTo>
                      <a:cubicBezTo>
                        <a:pt x="225" y="18"/>
                        <a:pt x="219" y="17"/>
                        <a:pt x="214" y="16"/>
                      </a:cubicBezTo>
                      <a:cubicBezTo>
                        <a:pt x="210" y="18"/>
                        <a:pt x="201" y="24"/>
                        <a:pt x="196" y="24"/>
                      </a:cubicBezTo>
                      <a:cubicBezTo>
                        <a:pt x="196" y="24"/>
                        <a:pt x="195" y="24"/>
                        <a:pt x="195" y="24"/>
                      </a:cubicBezTo>
                      <a:cubicBezTo>
                        <a:pt x="193" y="23"/>
                        <a:pt x="192" y="21"/>
                        <a:pt x="190" y="20"/>
                      </a:cubicBezTo>
                      <a:cubicBezTo>
                        <a:pt x="188" y="18"/>
                        <a:pt x="183" y="17"/>
                        <a:pt x="179" y="17"/>
                      </a:cubicBezTo>
                      <a:cubicBezTo>
                        <a:pt x="179" y="17"/>
                        <a:pt x="178" y="17"/>
                        <a:pt x="178" y="17"/>
                      </a:cubicBezTo>
                      <a:cubicBezTo>
                        <a:pt x="179" y="25"/>
                        <a:pt x="182" y="32"/>
                        <a:pt x="184" y="40"/>
                      </a:cubicBezTo>
                      <a:cubicBezTo>
                        <a:pt x="179" y="32"/>
                        <a:pt x="174" y="26"/>
                        <a:pt x="169" y="20"/>
                      </a:cubicBezTo>
                      <a:cubicBezTo>
                        <a:pt x="167" y="18"/>
                        <a:pt x="164" y="17"/>
                        <a:pt x="162" y="17"/>
                      </a:cubicBezTo>
                      <a:cubicBezTo>
                        <a:pt x="160" y="17"/>
                        <a:pt x="158" y="17"/>
                        <a:pt x="155" y="18"/>
                      </a:cubicBezTo>
                      <a:cubicBezTo>
                        <a:pt x="153" y="18"/>
                        <a:pt x="148" y="21"/>
                        <a:pt x="146" y="22"/>
                      </a:cubicBezTo>
                      <a:cubicBezTo>
                        <a:pt x="144" y="24"/>
                        <a:pt x="146" y="24"/>
                        <a:pt x="145" y="25"/>
                      </a:cubicBezTo>
                      <a:cubicBezTo>
                        <a:pt x="145" y="26"/>
                        <a:pt x="143" y="26"/>
                        <a:pt x="143" y="27"/>
                      </a:cubicBezTo>
                      <a:cubicBezTo>
                        <a:pt x="143" y="27"/>
                        <a:pt x="145" y="30"/>
                        <a:pt x="146" y="31"/>
                      </a:cubicBezTo>
                      <a:cubicBezTo>
                        <a:pt x="146" y="32"/>
                        <a:pt x="146" y="34"/>
                        <a:pt x="146" y="35"/>
                      </a:cubicBezTo>
                      <a:cubicBezTo>
                        <a:pt x="145" y="37"/>
                        <a:pt x="145" y="37"/>
                        <a:pt x="144" y="37"/>
                      </a:cubicBezTo>
                      <a:cubicBezTo>
                        <a:pt x="143" y="37"/>
                        <a:pt x="141" y="34"/>
                        <a:pt x="139" y="33"/>
                      </a:cubicBezTo>
                      <a:cubicBezTo>
                        <a:pt x="135" y="29"/>
                        <a:pt x="131" y="25"/>
                        <a:pt x="127" y="21"/>
                      </a:cubicBezTo>
                      <a:cubicBezTo>
                        <a:pt x="126" y="20"/>
                        <a:pt x="125" y="20"/>
                        <a:pt x="124" y="20"/>
                      </a:cubicBezTo>
                      <a:cubicBezTo>
                        <a:pt x="123" y="20"/>
                        <a:pt x="122" y="20"/>
                        <a:pt x="121" y="20"/>
                      </a:cubicBezTo>
                      <a:cubicBezTo>
                        <a:pt x="117" y="21"/>
                        <a:pt x="117" y="21"/>
                        <a:pt x="118" y="25"/>
                      </a:cubicBezTo>
                      <a:cubicBezTo>
                        <a:pt x="119" y="28"/>
                        <a:pt x="121" y="33"/>
                        <a:pt x="121" y="36"/>
                      </a:cubicBezTo>
                      <a:cubicBezTo>
                        <a:pt x="121" y="40"/>
                        <a:pt x="118" y="45"/>
                        <a:pt x="116" y="49"/>
                      </a:cubicBezTo>
                      <a:cubicBezTo>
                        <a:pt x="114" y="48"/>
                        <a:pt x="113" y="45"/>
                        <a:pt x="111" y="45"/>
                      </a:cubicBezTo>
                      <a:cubicBezTo>
                        <a:pt x="111" y="45"/>
                        <a:pt x="111" y="45"/>
                        <a:pt x="111" y="45"/>
                      </a:cubicBezTo>
                      <a:cubicBezTo>
                        <a:pt x="111" y="42"/>
                        <a:pt x="112" y="40"/>
                        <a:pt x="110" y="40"/>
                      </a:cubicBezTo>
                      <a:cubicBezTo>
                        <a:pt x="109" y="40"/>
                        <a:pt x="109" y="40"/>
                        <a:pt x="108" y="40"/>
                      </a:cubicBezTo>
                      <a:cubicBezTo>
                        <a:pt x="107" y="40"/>
                        <a:pt x="105" y="42"/>
                        <a:pt x="104" y="43"/>
                      </a:cubicBezTo>
                      <a:cubicBezTo>
                        <a:pt x="101" y="46"/>
                        <a:pt x="104" y="51"/>
                        <a:pt x="100" y="53"/>
                      </a:cubicBezTo>
                      <a:cubicBezTo>
                        <a:pt x="100" y="52"/>
                        <a:pt x="99" y="51"/>
                        <a:pt x="98" y="50"/>
                      </a:cubicBezTo>
                      <a:cubicBezTo>
                        <a:pt x="97" y="55"/>
                        <a:pt x="98" y="60"/>
                        <a:pt x="98" y="64"/>
                      </a:cubicBezTo>
                      <a:cubicBezTo>
                        <a:pt x="95" y="60"/>
                        <a:pt x="92" y="55"/>
                        <a:pt x="88" y="52"/>
                      </a:cubicBezTo>
                      <a:cubicBezTo>
                        <a:pt x="86" y="50"/>
                        <a:pt x="90" y="49"/>
                        <a:pt x="91" y="48"/>
                      </a:cubicBezTo>
                      <a:cubicBezTo>
                        <a:pt x="92" y="46"/>
                        <a:pt x="92" y="45"/>
                        <a:pt x="90" y="45"/>
                      </a:cubicBezTo>
                      <a:cubicBezTo>
                        <a:pt x="89" y="45"/>
                        <a:pt x="88" y="45"/>
                        <a:pt x="87" y="46"/>
                      </a:cubicBezTo>
                      <a:cubicBezTo>
                        <a:pt x="91" y="41"/>
                        <a:pt x="86" y="43"/>
                        <a:pt x="83" y="42"/>
                      </a:cubicBezTo>
                      <a:cubicBezTo>
                        <a:pt x="81" y="41"/>
                        <a:pt x="80" y="38"/>
                        <a:pt x="79" y="36"/>
                      </a:cubicBezTo>
                      <a:cubicBezTo>
                        <a:pt x="79" y="36"/>
                        <a:pt x="79" y="36"/>
                        <a:pt x="79" y="36"/>
                      </a:cubicBezTo>
                      <a:cubicBezTo>
                        <a:pt x="80" y="36"/>
                        <a:pt x="82" y="37"/>
                        <a:pt x="83" y="38"/>
                      </a:cubicBezTo>
                      <a:cubicBezTo>
                        <a:pt x="84" y="39"/>
                        <a:pt x="85" y="40"/>
                        <a:pt x="87" y="40"/>
                      </a:cubicBezTo>
                      <a:cubicBezTo>
                        <a:pt x="88" y="40"/>
                        <a:pt x="89" y="39"/>
                        <a:pt x="90" y="38"/>
                      </a:cubicBezTo>
                      <a:cubicBezTo>
                        <a:pt x="90" y="37"/>
                        <a:pt x="92" y="34"/>
                        <a:pt x="92" y="32"/>
                      </a:cubicBezTo>
                      <a:cubicBezTo>
                        <a:pt x="93" y="27"/>
                        <a:pt x="88" y="28"/>
                        <a:pt x="84" y="28"/>
                      </a:cubicBezTo>
                      <a:cubicBezTo>
                        <a:pt x="86" y="26"/>
                        <a:pt x="89" y="26"/>
                        <a:pt x="91" y="25"/>
                      </a:cubicBezTo>
                      <a:cubicBezTo>
                        <a:pt x="86" y="24"/>
                        <a:pt x="82" y="25"/>
                        <a:pt x="79" y="21"/>
                      </a:cubicBezTo>
                      <a:cubicBezTo>
                        <a:pt x="74" y="14"/>
                        <a:pt x="71" y="11"/>
                        <a:pt x="65" y="7"/>
                      </a:cubicBezTo>
                      <a:cubicBezTo>
                        <a:pt x="62" y="5"/>
                        <a:pt x="61" y="4"/>
                        <a:pt x="58" y="3"/>
                      </a:cubicBezTo>
                      <a:cubicBezTo>
                        <a:pt x="57" y="3"/>
                        <a:pt x="56" y="3"/>
                        <a:pt x="54" y="3"/>
                      </a:cubicBezTo>
                      <a:cubicBezTo>
                        <a:pt x="50" y="3"/>
                        <a:pt x="45" y="4"/>
                        <a:pt x="40" y="4"/>
                      </a:cubicBezTo>
                      <a:cubicBezTo>
                        <a:pt x="43" y="7"/>
                        <a:pt x="39" y="11"/>
                        <a:pt x="44" y="11"/>
                      </a:cubicBezTo>
                      <a:cubicBezTo>
                        <a:pt x="44" y="11"/>
                        <a:pt x="44" y="11"/>
                        <a:pt x="44" y="11"/>
                      </a:cubicBezTo>
                      <a:cubicBezTo>
                        <a:pt x="46" y="11"/>
                        <a:pt x="47" y="9"/>
                        <a:pt x="49" y="8"/>
                      </a:cubicBezTo>
                      <a:cubicBezTo>
                        <a:pt x="48" y="9"/>
                        <a:pt x="48" y="10"/>
                        <a:pt x="49" y="10"/>
                      </a:cubicBezTo>
                      <a:cubicBezTo>
                        <a:pt x="50" y="10"/>
                        <a:pt x="54" y="8"/>
                        <a:pt x="54" y="8"/>
                      </a:cubicBezTo>
                      <a:cubicBezTo>
                        <a:pt x="53" y="10"/>
                        <a:pt x="51" y="11"/>
                        <a:pt x="54" y="11"/>
                      </a:cubicBezTo>
                      <a:cubicBezTo>
                        <a:pt x="54" y="11"/>
                        <a:pt x="55" y="11"/>
                        <a:pt x="55" y="11"/>
                      </a:cubicBezTo>
                      <a:cubicBezTo>
                        <a:pt x="56" y="11"/>
                        <a:pt x="58" y="10"/>
                        <a:pt x="58" y="10"/>
                      </a:cubicBezTo>
                      <a:cubicBezTo>
                        <a:pt x="59" y="10"/>
                        <a:pt x="59" y="11"/>
                        <a:pt x="57" y="12"/>
                      </a:cubicBezTo>
                      <a:cubicBezTo>
                        <a:pt x="59" y="12"/>
                        <a:pt x="60" y="12"/>
                        <a:pt x="61" y="12"/>
                      </a:cubicBezTo>
                      <a:cubicBezTo>
                        <a:pt x="58" y="15"/>
                        <a:pt x="54" y="16"/>
                        <a:pt x="50" y="19"/>
                      </a:cubicBezTo>
                      <a:cubicBezTo>
                        <a:pt x="54" y="19"/>
                        <a:pt x="56" y="21"/>
                        <a:pt x="59" y="21"/>
                      </a:cubicBezTo>
                      <a:cubicBezTo>
                        <a:pt x="60" y="21"/>
                        <a:pt x="60" y="21"/>
                        <a:pt x="61" y="21"/>
                      </a:cubicBezTo>
                      <a:cubicBezTo>
                        <a:pt x="58" y="24"/>
                        <a:pt x="60" y="24"/>
                        <a:pt x="61" y="27"/>
                      </a:cubicBezTo>
                      <a:cubicBezTo>
                        <a:pt x="61" y="29"/>
                        <a:pt x="61" y="30"/>
                        <a:pt x="60" y="32"/>
                      </a:cubicBezTo>
                      <a:cubicBezTo>
                        <a:pt x="59" y="30"/>
                        <a:pt x="58" y="28"/>
                        <a:pt x="57" y="28"/>
                      </a:cubicBezTo>
                      <a:cubicBezTo>
                        <a:pt x="57" y="28"/>
                        <a:pt x="56" y="28"/>
                        <a:pt x="55" y="30"/>
                      </a:cubicBezTo>
                      <a:cubicBezTo>
                        <a:pt x="55" y="31"/>
                        <a:pt x="54" y="32"/>
                        <a:pt x="54" y="33"/>
                      </a:cubicBezTo>
                      <a:cubicBezTo>
                        <a:pt x="55" y="27"/>
                        <a:pt x="56" y="27"/>
                        <a:pt x="53" y="23"/>
                      </a:cubicBezTo>
                      <a:cubicBezTo>
                        <a:pt x="51" y="25"/>
                        <a:pt x="50" y="27"/>
                        <a:pt x="49" y="29"/>
                      </a:cubicBezTo>
                      <a:cubicBezTo>
                        <a:pt x="47" y="26"/>
                        <a:pt x="46" y="22"/>
                        <a:pt x="43" y="20"/>
                      </a:cubicBezTo>
                      <a:cubicBezTo>
                        <a:pt x="39" y="18"/>
                        <a:pt x="32" y="18"/>
                        <a:pt x="28" y="17"/>
                      </a:cubicBezTo>
                      <a:cubicBezTo>
                        <a:pt x="29" y="18"/>
                        <a:pt x="31" y="19"/>
                        <a:pt x="32" y="20"/>
                      </a:cubicBezTo>
                      <a:cubicBezTo>
                        <a:pt x="30" y="19"/>
                        <a:pt x="29" y="19"/>
                        <a:pt x="28" y="19"/>
                      </a:cubicBezTo>
                      <a:cubicBezTo>
                        <a:pt x="27" y="19"/>
                        <a:pt x="26" y="19"/>
                        <a:pt x="25" y="19"/>
                      </a:cubicBezTo>
                      <a:cubicBezTo>
                        <a:pt x="27" y="22"/>
                        <a:pt x="31" y="22"/>
                        <a:pt x="33" y="25"/>
                      </a:cubicBezTo>
                      <a:cubicBezTo>
                        <a:pt x="31" y="25"/>
                        <a:pt x="26" y="22"/>
                        <a:pt x="23" y="22"/>
                      </a:cubicBezTo>
                      <a:cubicBezTo>
                        <a:pt x="22" y="22"/>
                        <a:pt x="21" y="22"/>
                        <a:pt x="21" y="23"/>
                      </a:cubicBezTo>
                      <a:cubicBezTo>
                        <a:pt x="20" y="26"/>
                        <a:pt x="28" y="29"/>
                        <a:pt x="31" y="30"/>
                      </a:cubicBezTo>
                      <a:cubicBezTo>
                        <a:pt x="32" y="31"/>
                        <a:pt x="34" y="31"/>
                        <a:pt x="36" y="32"/>
                      </a:cubicBezTo>
                      <a:cubicBezTo>
                        <a:pt x="33" y="32"/>
                        <a:pt x="30" y="32"/>
                        <a:pt x="27" y="31"/>
                      </a:cubicBezTo>
                      <a:cubicBezTo>
                        <a:pt x="26" y="31"/>
                        <a:pt x="24" y="29"/>
                        <a:pt x="22" y="29"/>
                      </a:cubicBezTo>
                      <a:cubicBezTo>
                        <a:pt x="22" y="29"/>
                        <a:pt x="21" y="29"/>
                        <a:pt x="20" y="29"/>
                      </a:cubicBezTo>
                      <a:cubicBezTo>
                        <a:pt x="20" y="29"/>
                        <a:pt x="20" y="29"/>
                        <a:pt x="19" y="30"/>
                      </a:cubicBezTo>
                      <a:cubicBezTo>
                        <a:pt x="18" y="32"/>
                        <a:pt x="26" y="34"/>
                        <a:pt x="28" y="34"/>
                      </a:cubicBezTo>
                      <a:cubicBezTo>
                        <a:pt x="30" y="35"/>
                        <a:pt x="32" y="36"/>
                        <a:pt x="34" y="36"/>
                      </a:cubicBezTo>
                      <a:cubicBezTo>
                        <a:pt x="35" y="36"/>
                        <a:pt x="36" y="36"/>
                        <a:pt x="38" y="35"/>
                      </a:cubicBezTo>
                      <a:cubicBezTo>
                        <a:pt x="35" y="37"/>
                        <a:pt x="32" y="37"/>
                        <a:pt x="29" y="38"/>
                      </a:cubicBezTo>
                      <a:cubicBezTo>
                        <a:pt x="28" y="39"/>
                        <a:pt x="28" y="43"/>
                        <a:pt x="27" y="43"/>
                      </a:cubicBezTo>
                      <a:cubicBezTo>
                        <a:pt x="27" y="43"/>
                        <a:pt x="27" y="42"/>
                        <a:pt x="26" y="41"/>
                      </a:cubicBezTo>
                      <a:cubicBezTo>
                        <a:pt x="25" y="39"/>
                        <a:pt x="24" y="39"/>
                        <a:pt x="21" y="37"/>
                      </a:cubicBezTo>
                      <a:cubicBezTo>
                        <a:pt x="18" y="36"/>
                        <a:pt x="16" y="35"/>
                        <a:pt x="13" y="34"/>
                      </a:cubicBezTo>
                      <a:cubicBezTo>
                        <a:pt x="11" y="41"/>
                        <a:pt x="17" y="40"/>
                        <a:pt x="21" y="43"/>
                      </a:cubicBezTo>
                      <a:cubicBezTo>
                        <a:pt x="18" y="43"/>
                        <a:pt x="16" y="42"/>
                        <a:pt x="13" y="42"/>
                      </a:cubicBezTo>
                      <a:cubicBezTo>
                        <a:pt x="14" y="44"/>
                        <a:pt x="17" y="46"/>
                        <a:pt x="20" y="47"/>
                      </a:cubicBezTo>
                      <a:cubicBezTo>
                        <a:pt x="19" y="47"/>
                        <a:pt x="19" y="47"/>
                        <a:pt x="19" y="47"/>
                      </a:cubicBezTo>
                      <a:cubicBezTo>
                        <a:pt x="17" y="47"/>
                        <a:pt x="15" y="46"/>
                        <a:pt x="13" y="45"/>
                      </a:cubicBezTo>
                      <a:cubicBezTo>
                        <a:pt x="11" y="44"/>
                        <a:pt x="9" y="42"/>
                        <a:pt x="7" y="42"/>
                      </a:cubicBezTo>
                      <a:cubicBezTo>
                        <a:pt x="6" y="42"/>
                        <a:pt x="6" y="43"/>
                        <a:pt x="5" y="43"/>
                      </a:cubicBezTo>
                      <a:cubicBezTo>
                        <a:pt x="5" y="43"/>
                        <a:pt x="4" y="45"/>
                        <a:pt x="3" y="46"/>
                      </a:cubicBezTo>
                      <a:cubicBezTo>
                        <a:pt x="2" y="47"/>
                        <a:pt x="1" y="48"/>
                        <a:pt x="0" y="48"/>
                      </a:cubicBezTo>
                      <a:cubicBezTo>
                        <a:pt x="5" y="50"/>
                        <a:pt x="12" y="52"/>
                        <a:pt x="17" y="53"/>
                      </a:cubicBezTo>
                      <a:cubicBezTo>
                        <a:pt x="17" y="53"/>
                        <a:pt x="17" y="53"/>
                        <a:pt x="18" y="53"/>
                      </a:cubicBezTo>
                      <a:cubicBezTo>
                        <a:pt x="23" y="53"/>
                        <a:pt x="29" y="49"/>
                        <a:pt x="34" y="48"/>
                      </a:cubicBezTo>
                      <a:cubicBezTo>
                        <a:pt x="38" y="47"/>
                        <a:pt x="42" y="44"/>
                        <a:pt x="45" y="44"/>
                      </a:cubicBezTo>
                      <a:cubicBezTo>
                        <a:pt x="46" y="44"/>
                        <a:pt x="46" y="44"/>
                        <a:pt x="46" y="44"/>
                      </a:cubicBezTo>
                      <a:cubicBezTo>
                        <a:pt x="49" y="44"/>
                        <a:pt x="52" y="45"/>
                        <a:pt x="55" y="46"/>
                      </a:cubicBezTo>
                      <a:cubicBezTo>
                        <a:pt x="63" y="47"/>
                        <a:pt x="72" y="49"/>
                        <a:pt x="81" y="51"/>
                      </a:cubicBezTo>
                      <a:cubicBezTo>
                        <a:pt x="75" y="52"/>
                        <a:pt x="72" y="54"/>
                        <a:pt x="68" y="56"/>
                      </a:cubicBezTo>
                      <a:cubicBezTo>
                        <a:pt x="64" y="58"/>
                        <a:pt x="59" y="59"/>
                        <a:pt x="57" y="62"/>
                      </a:cubicBezTo>
                      <a:cubicBezTo>
                        <a:pt x="60" y="63"/>
                        <a:pt x="67" y="66"/>
                        <a:pt x="71" y="66"/>
                      </a:cubicBezTo>
                      <a:cubicBezTo>
                        <a:pt x="72" y="66"/>
                        <a:pt x="73" y="65"/>
                        <a:pt x="74" y="65"/>
                      </a:cubicBezTo>
                      <a:cubicBezTo>
                        <a:pt x="75" y="65"/>
                        <a:pt x="76" y="63"/>
                        <a:pt x="77" y="63"/>
                      </a:cubicBezTo>
                      <a:cubicBezTo>
                        <a:pt x="77" y="63"/>
                        <a:pt x="77" y="63"/>
                        <a:pt x="78" y="63"/>
                      </a:cubicBezTo>
                      <a:cubicBezTo>
                        <a:pt x="81" y="63"/>
                        <a:pt x="78" y="69"/>
                        <a:pt x="77" y="69"/>
                      </a:cubicBezTo>
                      <a:cubicBezTo>
                        <a:pt x="74" y="70"/>
                        <a:pt x="72" y="70"/>
                        <a:pt x="69" y="70"/>
                      </a:cubicBezTo>
                      <a:cubicBezTo>
                        <a:pt x="68" y="70"/>
                        <a:pt x="67" y="70"/>
                        <a:pt x="66" y="70"/>
                      </a:cubicBezTo>
                      <a:cubicBezTo>
                        <a:pt x="64" y="70"/>
                        <a:pt x="62" y="69"/>
                        <a:pt x="60" y="69"/>
                      </a:cubicBezTo>
                      <a:cubicBezTo>
                        <a:pt x="59" y="69"/>
                        <a:pt x="58" y="69"/>
                        <a:pt x="58" y="69"/>
                      </a:cubicBezTo>
                      <a:cubicBezTo>
                        <a:pt x="56" y="70"/>
                        <a:pt x="54" y="72"/>
                        <a:pt x="53" y="72"/>
                      </a:cubicBezTo>
                      <a:cubicBezTo>
                        <a:pt x="53" y="72"/>
                        <a:pt x="53" y="72"/>
                        <a:pt x="53" y="72"/>
                      </a:cubicBezTo>
                      <a:cubicBezTo>
                        <a:pt x="53" y="72"/>
                        <a:pt x="52" y="71"/>
                        <a:pt x="51" y="70"/>
                      </a:cubicBezTo>
                      <a:cubicBezTo>
                        <a:pt x="51" y="70"/>
                        <a:pt x="51" y="69"/>
                        <a:pt x="51" y="68"/>
                      </a:cubicBezTo>
                      <a:cubicBezTo>
                        <a:pt x="50" y="69"/>
                        <a:pt x="47" y="71"/>
                        <a:pt x="46" y="72"/>
                      </a:cubicBezTo>
                      <a:cubicBezTo>
                        <a:pt x="46" y="72"/>
                        <a:pt x="46" y="72"/>
                        <a:pt x="45" y="72"/>
                      </a:cubicBezTo>
                      <a:cubicBezTo>
                        <a:pt x="45" y="72"/>
                        <a:pt x="45" y="72"/>
                        <a:pt x="45" y="72"/>
                      </a:cubicBezTo>
                      <a:cubicBezTo>
                        <a:pt x="44" y="71"/>
                        <a:pt x="44" y="71"/>
                        <a:pt x="43" y="71"/>
                      </a:cubicBezTo>
                      <a:cubicBezTo>
                        <a:pt x="43" y="71"/>
                        <a:pt x="43" y="71"/>
                        <a:pt x="42" y="72"/>
                      </a:cubicBezTo>
                      <a:cubicBezTo>
                        <a:pt x="42" y="72"/>
                        <a:pt x="40" y="74"/>
                        <a:pt x="40" y="74"/>
                      </a:cubicBezTo>
                      <a:cubicBezTo>
                        <a:pt x="40" y="74"/>
                        <a:pt x="40" y="74"/>
                        <a:pt x="40" y="74"/>
                      </a:cubicBezTo>
                      <a:cubicBezTo>
                        <a:pt x="38" y="74"/>
                        <a:pt x="41" y="72"/>
                        <a:pt x="39" y="71"/>
                      </a:cubicBezTo>
                      <a:cubicBezTo>
                        <a:pt x="39" y="71"/>
                        <a:pt x="39" y="71"/>
                        <a:pt x="39" y="71"/>
                      </a:cubicBezTo>
                      <a:cubicBezTo>
                        <a:pt x="37" y="71"/>
                        <a:pt x="36" y="74"/>
                        <a:pt x="35" y="75"/>
                      </a:cubicBezTo>
                      <a:cubicBezTo>
                        <a:pt x="34" y="74"/>
                        <a:pt x="34" y="73"/>
                        <a:pt x="33" y="73"/>
                      </a:cubicBezTo>
                      <a:cubicBezTo>
                        <a:pt x="31" y="73"/>
                        <a:pt x="28" y="76"/>
                        <a:pt x="25" y="76"/>
                      </a:cubicBezTo>
                      <a:cubicBezTo>
                        <a:pt x="25" y="76"/>
                        <a:pt x="25" y="76"/>
                        <a:pt x="25" y="76"/>
                      </a:cubicBezTo>
                      <a:cubicBezTo>
                        <a:pt x="24" y="76"/>
                        <a:pt x="23" y="76"/>
                        <a:pt x="22" y="76"/>
                      </a:cubicBezTo>
                      <a:cubicBezTo>
                        <a:pt x="21" y="75"/>
                        <a:pt x="20" y="75"/>
                        <a:pt x="19" y="75"/>
                      </a:cubicBezTo>
                      <a:cubicBezTo>
                        <a:pt x="19" y="75"/>
                        <a:pt x="19" y="75"/>
                        <a:pt x="19" y="75"/>
                      </a:cubicBezTo>
                      <a:cubicBezTo>
                        <a:pt x="17" y="75"/>
                        <a:pt x="16" y="76"/>
                        <a:pt x="14" y="77"/>
                      </a:cubicBezTo>
                      <a:cubicBezTo>
                        <a:pt x="16" y="83"/>
                        <a:pt x="18" y="84"/>
                        <a:pt x="24" y="84"/>
                      </a:cubicBezTo>
                      <a:cubicBezTo>
                        <a:pt x="24" y="84"/>
                        <a:pt x="24" y="84"/>
                        <a:pt x="24" y="84"/>
                      </a:cubicBezTo>
                      <a:cubicBezTo>
                        <a:pt x="38" y="84"/>
                        <a:pt x="53" y="84"/>
                        <a:pt x="67" y="84"/>
                      </a:cubicBezTo>
                      <a:cubicBezTo>
                        <a:pt x="65" y="85"/>
                        <a:pt x="63" y="88"/>
                        <a:pt x="61" y="88"/>
                      </a:cubicBezTo>
                      <a:cubicBezTo>
                        <a:pt x="61" y="88"/>
                        <a:pt x="60" y="88"/>
                        <a:pt x="60" y="88"/>
                      </a:cubicBezTo>
                      <a:cubicBezTo>
                        <a:pt x="61" y="89"/>
                        <a:pt x="61" y="90"/>
                        <a:pt x="62" y="90"/>
                      </a:cubicBezTo>
                      <a:cubicBezTo>
                        <a:pt x="63" y="92"/>
                        <a:pt x="64" y="92"/>
                        <a:pt x="66" y="93"/>
                      </a:cubicBezTo>
                      <a:cubicBezTo>
                        <a:pt x="66" y="94"/>
                        <a:pt x="64" y="95"/>
                        <a:pt x="66" y="96"/>
                      </a:cubicBezTo>
                      <a:cubicBezTo>
                        <a:pt x="67" y="96"/>
                        <a:pt x="67" y="96"/>
                        <a:pt x="67" y="96"/>
                      </a:cubicBezTo>
                      <a:cubicBezTo>
                        <a:pt x="70" y="96"/>
                        <a:pt x="76" y="92"/>
                        <a:pt x="78" y="91"/>
                      </a:cubicBezTo>
                      <a:cubicBezTo>
                        <a:pt x="77" y="94"/>
                        <a:pt x="74" y="94"/>
                        <a:pt x="72" y="96"/>
                      </a:cubicBezTo>
                      <a:cubicBezTo>
                        <a:pt x="71" y="98"/>
                        <a:pt x="72" y="102"/>
                        <a:pt x="69" y="103"/>
                      </a:cubicBezTo>
                      <a:cubicBezTo>
                        <a:pt x="73" y="102"/>
                        <a:pt x="77" y="102"/>
                        <a:pt x="81" y="101"/>
                      </a:cubicBezTo>
                      <a:cubicBezTo>
                        <a:pt x="78" y="102"/>
                        <a:pt x="76" y="105"/>
                        <a:pt x="74" y="107"/>
                      </a:cubicBezTo>
                      <a:cubicBezTo>
                        <a:pt x="76" y="108"/>
                        <a:pt x="78" y="109"/>
                        <a:pt x="79" y="110"/>
                      </a:cubicBezTo>
                      <a:cubicBezTo>
                        <a:pt x="74" y="111"/>
                        <a:pt x="69" y="113"/>
                        <a:pt x="63" y="115"/>
                      </a:cubicBezTo>
                      <a:cubicBezTo>
                        <a:pt x="62" y="116"/>
                        <a:pt x="59" y="117"/>
                        <a:pt x="57" y="117"/>
                      </a:cubicBezTo>
                      <a:cubicBezTo>
                        <a:pt x="57" y="117"/>
                        <a:pt x="56" y="117"/>
                        <a:pt x="56" y="117"/>
                      </a:cubicBezTo>
                      <a:cubicBezTo>
                        <a:pt x="55" y="117"/>
                        <a:pt x="54" y="114"/>
                        <a:pt x="53" y="114"/>
                      </a:cubicBezTo>
                      <a:cubicBezTo>
                        <a:pt x="52" y="117"/>
                        <a:pt x="52" y="121"/>
                        <a:pt x="52" y="125"/>
                      </a:cubicBezTo>
                      <a:cubicBezTo>
                        <a:pt x="71" y="125"/>
                        <a:pt x="90" y="124"/>
                        <a:pt x="109" y="123"/>
                      </a:cubicBezTo>
                      <a:cubicBezTo>
                        <a:pt x="108" y="125"/>
                        <a:pt x="109" y="127"/>
                        <a:pt x="107" y="128"/>
                      </a:cubicBezTo>
                      <a:cubicBezTo>
                        <a:pt x="108" y="129"/>
                        <a:pt x="109" y="129"/>
                        <a:pt x="110" y="129"/>
                      </a:cubicBezTo>
                      <a:cubicBezTo>
                        <a:pt x="112" y="129"/>
                        <a:pt x="114" y="128"/>
                        <a:pt x="116" y="127"/>
                      </a:cubicBezTo>
                      <a:cubicBezTo>
                        <a:pt x="113" y="130"/>
                        <a:pt x="112" y="130"/>
                        <a:pt x="116" y="133"/>
                      </a:cubicBezTo>
                      <a:cubicBezTo>
                        <a:pt x="120" y="137"/>
                        <a:pt x="124" y="138"/>
                        <a:pt x="129" y="139"/>
                      </a:cubicBezTo>
                      <a:cubicBezTo>
                        <a:pt x="140" y="141"/>
                        <a:pt x="150" y="143"/>
                        <a:pt x="160" y="144"/>
                      </a:cubicBezTo>
                      <a:cubicBezTo>
                        <a:pt x="161" y="144"/>
                        <a:pt x="162" y="144"/>
                        <a:pt x="163" y="144"/>
                      </a:cubicBezTo>
                      <a:cubicBezTo>
                        <a:pt x="169" y="144"/>
                        <a:pt x="174" y="142"/>
                        <a:pt x="180" y="142"/>
                      </a:cubicBezTo>
                      <a:cubicBezTo>
                        <a:pt x="179" y="140"/>
                        <a:pt x="177" y="140"/>
                        <a:pt x="177" y="138"/>
                      </a:cubicBezTo>
                      <a:cubicBezTo>
                        <a:pt x="179" y="140"/>
                        <a:pt x="179" y="141"/>
                        <a:pt x="181" y="141"/>
                      </a:cubicBezTo>
                      <a:cubicBezTo>
                        <a:pt x="181" y="141"/>
                        <a:pt x="182" y="141"/>
                        <a:pt x="183" y="140"/>
                      </a:cubicBezTo>
                      <a:cubicBezTo>
                        <a:pt x="185" y="138"/>
                        <a:pt x="186" y="134"/>
                        <a:pt x="187" y="132"/>
                      </a:cubicBezTo>
                      <a:cubicBezTo>
                        <a:pt x="191" y="126"/>
                        <a:pt x="204" y="128"/>
                        <a:pt x="210" y="127"/>
                      </a:cubicBezTo>
                      <a:cubicBezTo>
                        <a:pt x="216" y="126"/>
                        <a:pt x="220" y="126"/>
                        <a:pt x="226" y="122"/>
                      </a:cubicBezTo>
                      <a:cubicBezTo>
                        <a:pt x="230" y="119"/>
                        <a:pt x="235" y="116"/>
                        <a:pt x="239" y="113"/>
                      </a:cubicBezTo>
                      <a:cubicBezTo>
                        <a:pt x="245" y="109"/>
                        <a:pt x="257" y="107"/>
                        <a:pt x="260" y="102"/>
                      </a:cubicBezTo>
                      <a:cubicBezTo>
                        <a:pt x="261" y="103"/>
                        <a:pt x="265" y="105"/>
                        <a:pt x="266" y="105"/>
                      </a:cubicBezTo>
                      <a:cubicBezTo>
                        <a:pt x="266" y="105"/>
                        <a:pt x="266" y="105"/>
                        <a:pt x="266" y="105"/>
                      </a:cubicBezTo>
                      <a:cubicBezTo>
                        <a:pt x="266" y="105"/>
                        <a:pt x="266" y="105"/>
                        <a:pt x="266" y="105"/>
                      </a:cubicBezTo>
                      <a:cubicBezTo>
                        <a:pt x="267" y="105"/>
                        <a:pt x="268" y="105"/>
                        <a:pt x="268" y="105"/>
                      </a:cubicBezTo>
                      <a:cubicBezTo>
                        <a:pt x="269" y="106"/>
                        <a:pt x="270" y="106"/>
                        <a:pt x="271" y="106"/>
                      </a:cubicBezTo>
                      <a:cubicBezTo>
                        <a:pt x="271" y="106"/>
                        <a:pt x="271" y="106"/>
                        <a:pt x="272" y="106"/>
                      </a:cubicBezTo>
                      <a:cubicBezTo>
                        <a:pt x="276" y="105"/>
                        <a:pt x="280" y="100"/>
                        <a:pt x="283" y="98"/>
                      </a:cubicBezTo>
                      <a:cubicBezTo>
                        <a:pt x="286" y="96"/>
                        <a:pt x="283" y="93"/>
                        <a:pt x="283" y="91"/>
                      </a:cubicBezTo>
                      <a:cubicBezTo>
                        <a:pt x="283" y="90"/>
                        <a:pt x="284" y="89"/>
                        <a:pt x="286" y="87"/>
                      </a:cubicBezTo>
                      <a:cubicBezTo>
                        <a:pt x="289" y="83"/>
                        <a:pt x="287" y="85"/>
                        <a:pt x="286" y="82"/>
                      </a:cubicBezTo>
                      <a:cubicBezTo>
                        <a:pt x="289" y="84"/>
                        <a:pt x="290" y="86"/>
                        <a:pt x="293" y="86"/>
                      </a:cubicBezTo>
                      <a:cubicBezTo>
                        <a:pt x="294" y="86"/>
                        <a:pt x="295" y="85"/>
                        <a:pt x="296" y="85"/>
                      </a:cubicBezTo>
                      <a:cubicBezTo>
                        <a:pt x="298" y="84"/>
                        <a:pt x="302" y="80"/>
                        <a:pt x="301" y="77"/>
                      </a:cubicBezTo>
                      <a:cubicBezTo>
                        <a:pt x="300" y="76"/>
                        <a:pt x="299" y="75"/>
                        <a:pt x="298" y="75"/>
                      </a:cubicBezTo>
                      <a:cubicBezTo>
                        <a:pt x="298" y="75"/>
                        <a:pt x="299" y="75"/>
                        <a:pt x="299" y="75"/>
                      </a:cubicBezTo>
                      <a:cubicBezTo>
                        <a:pt x="300" y="75"/>
                        <a:pt x="300" y="75"/>
                        <a:pt x="301" y="75"/>
                      </a:cubicBezTo>
                      <a:cubicBezTo>
                        <a:pt x="301" y="75"/>
                        <a:pt x="301" y="75"/>
                        <a:pt x="302" y="75"/>
                      </a:cubicBezTo>
                      <a:cubicBezTo>
                        <a:pt x="304" y="75"/>
                        <a:pt x="305" y="75"/>
                        <a:pt x="303" y="73"/>
                      </a:cubicBezTo>
                      <a:cubicBezTo>
                        <a:pt x="303" y="72"/>
                        <a:pt x="302" y="71"/>
                        <a:pt x="302" y="71"/>
                      </a:cubicBezTo>
                      <a:cubicBezTo>
                        <a:pt x="301" y="71"/>
                        <a:pt x="300" y="70"/>
                        <a:pt x="298" y="70"/>
                      </a:cubicBezTo>
                      <a:cubicBezTo>
                        <a:pt x="298" y="70"/>
                        <a:pt x="297" y="71"/>
                        <a:pt x="297" y="71"/>
                      </a:cubicBezTo>
                      <a:cubicBezTo>
                        <a:pt x="296" y="71"/>
                        <a:pt x="296" y="71"/>
                        <a:pt x="295" y="71"/>
                      </a:cubicBezTo>
                      <a:cubicBezTo>
                        <a:pt x="294" y="71"/>
                        <a:pt x="294" y="71"/>
                        <a:pt x="293" y="70"/>
                      </a:cubicBezTo>
                      <a:cubicBezTo>
                        <a:pt x="300" y="69"/>
                        <a:pt x="307" y="69"/>
                        <a:pt x="314" y="68"/>
                      </a:cubicBezTo>
                      <a:cubicBezTo>
                        <a:pt x="312" y="67"/>
                        <a:pt x="310" y="67"/>
                        <a:pt x="308" y="66"/>
                      </a:cubicBezTo>
                      <a:cubicBezTo>
                        <a:pt x="307" y="65"/>
                        <a:pt x="307" y="63"/>
                        <a:pt x="306" y="63"/>
                      </a:cubicBezTo>
                      <a:cubicBezTo>
                        <a:pt x="305" y="62"/>
                        <a:pt x="304" y="62"/>
                        <a:pt x="303" y="62"/>
                      </a:cubicBezTo>
                      <a:cubicBezTo>
                        <a:pt x="303" y="62"/>
                        <a:pt x="302" y="62"/>
                        <a:pt x="301" y="63"/>
                      </a:cubicBezTo>
                      <a:cubicBezTo>
                        <a:pt x="300" y="63"/>
                        <a:pt x="300" y="63"/>
                        <a:pt x="299" y="63"/>
                      </a:cubicBezTo>
                      <a:cubicBezTo>
                        <a:pt x="299" y="63"/>
                        <a:pt x="299" y="63"/>
                        <a:pt x="299" y="63"/>
                      </a:cubicBezTo>
                      <a:cubicBezTo>
                        <a:pt x="303" y="61"/>
                        <a:pt x="307" y="60"/>
                        <a:pt x="312" y="59"/>
                      </a:cubicBezTo>
                      <a:cubicBezTo>
                        <a:pt x="309" y="59"/>
                        <a:pt x="307" y="58"/>
                        <a:pt x="304" y="58"/>
                      </a:cubicBezTo>
                      <a:cubicBezTo>
                        <a:pt x="303" y="58"/>
                        <a:pt x="301" y="58"/>
                        <a:pt x="300" y="59"/>
                      </a:cubicBezTo>
                      <a:cubicBezTo>
                        <a:pt x="301" y="58"/>
                        <a:pt x="303" y="58"/>
                        <a:pt x="305" y="57"/>
                      </a:cubicBezTo>
                      <a:cubicBezTo>
                        <a:pt x="306" y="57"/>
                        <a:pt x="306" y="56"/>
                        <a:pt x="307" y="56"/>
                      </a:cubicBezTo>
                      <a:cubicBezTo>
                        <a:pt x="308" y="55"/>
                        <a:pt x="309" y="53"/>
                        <a:pt x="309" y="51"/>
                      </a:cubicBezTo>
                      <a:cubicBezTo>
                        <a:pt x="310" y="51"/>
                        <a:pt x="311" y="49"/>
                        <a:pt x="310" y="49"/>
                      </a:cubicBezTo>
                      <a:cubicBezTo>
                        <a:pt x="310" y="46"/>
                        <a:pt x="302" y="45"/>
                        <a:pt x="300" y="44"/>
                      </a:cubicBezTo>
                      <a:cubicBezTo>
                        <a:pt x="298" y="43"/>
                        <a:pt x="295" y="42"/>
                        <a:pt x="292" y="41"/>
                      </a:cubicBezTo>
                      <a:cubicBezTo>
                        <a:pt x="293" y="41"/>
                        <a:pt x="293" y="42"/>
                        <a:pt x="293" y="42"/>
                      </a:cubicBezTo>
                      <a:cubicBezTo>
                        <a:pt x="293" y="42"/>
                        <a:pt x="292" y="41"/>
                        <a:pt x="291" y="41"/>
                      </a:cubicBezTo>
                      <a:cubicBezTo>
                        <a:pt x="289" y="41"/>
                        <a:pt x="287" y="46"/>
                        <a:pt x="285" y="47"/>
                      </a:cubicBezTo>
                      <a:cubicBezTo>
                        <a:pt x="286" y="45"/>
                        <a:pt x="288" y="43"/>
                        <a:pt x="289" y="41"/>
                      </a:cubicBezTo>
                      <a:cubicBezTo>
                        <a:pt x="291" y="39"/>
                        <a:pt x="292" y="41"/>
                        <a:pt x="290" y="37"/>
                      </a:cubicBezTo>
                      <a:cubicBezTo>
                        <a:pt x="290" y="36"/>
                        <a:pt x="289" y="35"/>
                        <a:pt x="288" y="35"/>
                      </a:cubicBezTo>
                      <a:cubicBezTo>
                        <a:pt x="286" y="35"/>
                        <a:pt x="285" y="36"/>
                        <a:pt x="283" y="36"/>
                      </a:cubicBezTo>
                      <a:cubicBezTo>
                        <a:pt x="281" y="37"/>
                        <a:pt x="279" y="37"/>
                        <a:pt x="277" y="37"/>
                      </a:cubicBezTo>
                      <a:cubicBezTo>
                        <a:pt x="275" y="37"/>
                        <a:pt x="275" y="36"/>
                        <a:pt x="279" y="32"/>
                      </a:cubicBezTo>
                      <a:cubicBezTo>
                        <a:pt x="280" y="31"/>
                        <a:pt x="281" y="31"/>
                        <a:pt x="282" y="29"/>
                      </a:cubicBezTo>
                      <a:cubicBezTo>
                        <a:pt x="283" y="25"/>
                        <a:pt x="276" y="24"/>
                        <a:pt x="273" y="23"/>
                      </a:cubicBezTo>
                      <a:cubicBezTo>
                        <a:pt x="270" y="22"/>
                        <a:pt x="263" y="21"/>
                        <a:pt x="269" y="18"/>
                      </a:cubicBezTo>
                      <a:cubicBezTo>
                        <a:pt x="272" y="17"/>
                        <a:pt x="270" y="14"/>
                        <a:pt x="271" y="12"/>
                      </a:cubicBezTo>
                      <a:cubicBezTo>
                        <a:pt x="271" y="11"/>
                        <a:pt x="272" y="11"/>
                        <a:pt x="273" y="11"/>
                      </a:cubicBezTo>
                      <a:cubicBezTo>
                        <a:pt x="276" y="9"/>
                        <a:pt x="281" y="9"/>
                        <a:pt x="283" y="7"/>
                      </a:cubicBezTo>
                      <a:cubicBezTo>
                        <a:pt x="282" y="7"/>
                        <a:pt x="282" y="7"/>
                        <a:pt x="281" y="7"/>
                      </a:cubicBezTo>
                      <a:cubicBezTo>
                        <a:pt x="274" y="7"/>
                        <a:pt x="265" y="9"/>
                        <a:pt x="261" y="14"/>
                      </a:cubicBezTo>
                      <a:cubicBezTo>
                        <a:pt x="261" y="14"/>
                        <a:pt x="261" y="17"/>
                        <a:pt x="260" y="18"/>
                      </a:cubicBezTo>
                      <a:cubicBezTo>
                        <a:pt x="256" y="16"/>
                        <a:pt x="253" y="13"/>
                        <a:pt x="249" y="11"/>
                      </a:cubicBezTo>
                      <a:cubicBezTo>
                        <a:pt x="251" y="10"/>
                        <a:pt x="252" y="8"/>
                        <a:pt x="250" y="6"/>
                      </a:cubicBezTo>
                      <a:cubicBezTo>
                        <a:pt x="249" y="5"/>
                        <a:pt x="241" y="5"/>
                        <a:pt x="245" y="2"/>
                      </a:cubicBezTo>
                      <a:cubicBezTo>
                        <a:pt x="243" y="1"/>
                        <a:pt x="241" y="0"/>
                        <a:pt x="2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5" name="Freeform 32">
                  <a:extLst>
                    <a:ext uri="{FF2B5EF4-FFF2-40B4-BE49-F238E27FC236}">
                      <a16:creationId xmlns:a16="http://schemas.microsoft.com/office/drawing/2014/main" id="{D2764C7D-1B10-4CF1-8FDC-6323F6A26084}"/>
                    </a:ext>
                  </a:extLst>
                </p:cNvPr>
                <p:cNvSpPr>
                  <a:spLocks/>
                </p:cNvSpPr>
                <p:nvPr/>
              </p:nvSpPr>
              <p:spPr bwMode="auto">
                <a:xfrm>
                  <a:off x="2391641" y="1171867"/>
                  <a:ext cx="18426" cy="22111"/>
                </a:xfrm>
                <a:custGeom>
                  <a:avLst/>
                  <a:gdLst>
                    <a:gd name="T0" fmla="*/ 1 w 5"/>
                    <a:gd name="T1" fmla="*/ 0 h 7"/>
                    <a:gd name="T2" fmla="*/ 0 w 5"/>
                    <a:gd name="T3" fmla="*/ 0 h 7"/>
                    <a:gd name="T4" fmla="*/ 2 w 5"/>
                    <a:gd name="T5" fmla="*/ 5 h 7"/>
                    <a:gd name="T6" fmla="*/ 1 w 5"/>
                    <a:gd name="T7" fmla="*/ 7 h 7"/>
                    <a:gd name="T8" fmla="*/ 2 w 5"/>
                    <a:gd name="T9" fmla="*/ 7 h 7"/>
                    <a:gd name="T10" fmla="*/ 5 w 5"/>
                    <a:gd name="T11" fmla="*/ 5 h 7"/>
                    <a:gd name="T12" fmla="*/ 1 w 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1" y="0"/>
                      </a:moveTo>
                      <a:cubicBezTo>
                        <a:pt x="1" y="0"/>
                        <a:pt x="0" y="0"/>
                        <a:pt x="0" y="0"/>
                      </a:cubicBezTo>
                      <a:cubicBezTo>
                        <a:pt x="1" y="1"/>
                        <a:pt x="2" y="3"/>
                        <a:pt x="2" y="5"/>
                      </a:cubicBezTo>
                      <a:cubicBezTo>
                        <a:pt x="2" y="6"/>
                        <a:pt x="1" y="7"/>
                        <a:pt x="1" y="7"/>
                      </a:cubicBezTo>
                      <a:cubicBezTo>
                        <a:pt x="1" y="7"/>
                        <a:pt x="2" y="7"/>
                        <a:pt x="2" y="7"/>
                      </a:cubicBezTo>
                      <a:cubicBezTo>
                        <a:pt x="3" y="7"/>
                        <a:pt x="5" y="7"/>
                        <a:pt x="5" y="5"/>
                      </a:cubicBezTo>
                      <a:cubicBezTo>
                        <a:pt x="5"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6" name="Freeform 34">
                  <a:extLst>
                    <a:ext uri="{FF2B5EF4-FFF2-40B4-BE49-F238E27FC236}">
                      <a16:creationId xmlns:a16="http://schemas.microsoft.com/office/drawing/2014/main" id="{C768C3E2-8AEE-4FB6-B4FC-B88B5A62F9F2}"/>
                    </a:ext>
                  </a:extLst>
                </p:cNvPr>
                <p:cNvSpPr>
                  <a:spLocks/>
                </p:cNvSpPr>
                <p:nvPr/>
              </p:nvSpPr>
              <p:spPr bwMode="auto">
                <a:xfrm>
                  <a:off x="1533009" y="5162848"/>
                  <a:ext cx="7370" cy="14740"/>
                </a:xfrm>
                <a:custGeom>
                  <a:avLst/>
                  <a:gdLst>
                    <a:gd name="T0" fmla="*/ 2 w 2"/>
                    <a:gd name="T1" fmla="*/ 0 h 5"/>
                    <a:gd name="T2" fmla="*/ 2 w 2"/>
                    <a:gd name="T3" fmla="*/ 5 h 5"/>
                    <a:gd name="T4" fmla="*/ 2 w 2"/>
                    <a:gd name="T5" fmla="*/ 0 h 5"/>
                  </a:gdLst>
                  <a:ahLst/>
                  <a:cxnLst>
                    <a:cxn ang="0">
                      <a:pos x="T0" y="T1"/>
                    </a:cxn>
                    <a:cxn ang="0">
                      <a:pos x="T2" y="T3"/>
                    </a:cxn>
                    <a:cxn ang="0">
                      <a:pos x="T4" y="T5"/>
                    </a:cxn>
                  </a:cxnLst>
                  <a:rect l="0" t="0" r="r" b="b"/>
                  <a:pathLst>
                    <a:path w="2" h="5">
                      <a:moveTo>
                        <a:pt x="2" y="0"/>
                      </a:moveTo>
                      <a:cubicBezTo>
                        <a:pt x="0" y="1"/>
                        <a:pt x="0" y="3"/>
                        <a:pt x="2" y="5"/>
                      </a:cubicBezTo>
                      <a:cubicBezTo>
                        <a:pt x="2"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7" name="Freeform 35">
                  <a:extLst>
                    <a:ext uri="{FF2B5EF4-FFF2-40B4-BE49-F238E27FC236}">
                      <a16:creationId xmlns:a16="http://schemas.microsoft.com/office/drawing/2014/main" id="{142CF798-DDC4-40DD-A749-528B514225A4}"/>
                    </a:ext>
                  </a:extLst>
                </p:cNvPr>
                <p:cNvSpPr>
                  <a:spLocks/>
                </p:cNvSpPr>
                <p:nvPr/>
              </p:nvSpPr>
              <p:spPr bwMode="auto">
                <a:xfrm>
                  <a:off x="1772541" y="5262346"/>
                  <a:ext cx="51592" cy="18426"/>
                </a:xfrm>
                <a:custGeom>
                  <a:avLst/>
                  <a:gdLst>
                    <a:gd name="T0" fmla="*/ 7 w 16"/>
                    <a:gd name="T1" fmla="*/ 0 h 5"/>
                    <a:gd name="T2" fmla="*/ 6 w 16"/>
                    <a:gd name="T3" fmla="*/ 5 h 5"/>
                    <a:gd name="T4" fmla="*/ 11 w 16"/>
                    <a:gd name="T5" fmla="*/ 5 h 5"/>
                    <a:gd name="T6" fmla="*/ 16 w 16"/>
                    <a:gd name="T7" fmla="*/ 4 h 5"/>
                    <a:gd name="T8" fmla="*/ 7 w 16"/>
                    <a:gd name="T9" fmla="*/ 0 h 5"/>
                  </a:gdLst>
                  <a:ahLst/>
                  <a:cxnLst>
                    <a:cxn ang="0">
                      <a:pos x="T0" y="T1"/>
                    </a:cxn>
                    <a:cxn ang="0">
                      <a:pos x="T2" y="T3"/>
                    </a:cxn>
                    <a:cxn ang="0">
                      <a:pos x="T4" y="T5"/>
                    </a:cxn>
                    <a:cxn ang="0">
                      <a:pos x="T6" y="T7"/>
                    </a:cxn>
                    <a:cxn ang="0">
                      <a:pos x="T8" y="T9"/>
                    </a:cxn>
                  </a:cxnLst>
                  <a:rect l="0" t="0" r="r" b="b"/>
                  <a:pathLst>
                    <a:path w="16" h="5">
                      <a:moveTo>
                        <a:pt x="7" y="0"/>
                      </a:moveTo>
                      <a:cubicBezTo>
                        <a:pt x="2" y="1"/>
                        <a:pt x="0" y="2"/>
                        <a:pt x="6" y="5"/>
                      </a:cubicBezTo>
                      <a:cubicBezTo>
                        <a:pt x="7" y="5"/>
                        <a:pt x="9" y="5"/>
                        <a:pt x="11" y="5"/>
                      </a:cubicBezTo>
                      <a:cubicBezTo>
                        <a:pt x="13" y="5"/>
                        <a:pt x="15" y="5"/>
                        <a:pt x="16" y="4"/>
                      </a:cubicBezTo>
                      <a:cubicBezTo>
                        <a:pt x="15" y="3"/>
                        <a:pt x="9"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8" name="Freeform 36">
                  <a:extLst>
                    <a:ext uri="{FF2B5EF4-FFF2-40B4-BE49-F238E27FC236}">
                      <a16:creationId xmlns:a16="http://schemas.microsoft.com/office/drawing/2014/main" id="{218F3738-B9B5-4441-A454-56F24F2F4EEC}"/>
                    </a:ext>
                  </a:extLst>
                </p:cNvPr>
                <p:cNvSpPr>
                  <a:spLocks/>
                </p:cNvSpPr>
                <p:nvPr/>
              </p:nvSpPr>
              <p:spPr bwMode="auto">
                <a:xfrm>
                  <a:off x="1875724" y="5240235"/>
                  <a:ext cx="40536" cy="14740"/>
                </a:xfrm>
                <a:custGeom>
                  <a:avLst/>
                  <a:gdLst>
                    <a:gd name="T0" fmla="*/ 8 w 13"/>
                    <a:gd name="T1" fmla="*/ 0 h 5"/>
                    <a:gd name="T2" fmla="*/ 3 w 13"/>
                    <a:gd name="T3" fmla="*/ 1 h 5"/>
                    <a:gd name="T4" fmla="*/ 10 w 13"/>
                    <a:gd name="T5" fmla="*/ 5 h 5"/>
                    <a:gd name="T6" fmla="*/ 9 w 13"/>
                    <a:gd name="T7" fmla="*/ 0 h 5"/>
                    <a:gd name="T8" fmla="*/ 8 w 13"/>
                    <a:gd name="T9" fmla="*/ 0 h 5"/>
                  </a:gdLst>
                  <a:ahLst/>
                  <a:cxnLst>
                    <a:cxn ang="0">
                      <a:pos x="T0" y="T1"/>
                    </a:cxn>
                    <a:cxn ang="0">
                      <a:pos x="T2" y="T3"/>
                    </a:cxn>
                    <a:cxn ang="0">
                      <a:pos x="T4" y="T5"/>
                    </a:cxn>
                    <a:cxn ang="0">
                      <a:pos x="T6" y="T7"/>
                    </a:cxn>
                    <a:cxn ang="0">
                      <a:pos x="T8" y="T9"/>
                    </a:cxn>
                  </a:cxnLst>
                  <a:rect l="0" t="0" r="r" b="b"/>
                  <a:pathLst>
                    <a:path w="13" h="5">
                      <a:moveTo>
                        <a:pt x="8" y="0"/>
                      </a:moveTo>
                      <a:cubicBezTo>
                        <a:pt x="6" y="0"/>
                        <a:pt x="4" y="0"/>
                        <a:pt x="3" y="1"/>
                      </a:cubicBezTo>
                      <a:cubicBezTo>
                        <a:pt x="0" y="4"/>
                        <a:pt x="10" y="5"/>
                        <a:pt x="10" y="5"/>
                      </a:cubicBezTo>
                      <a:cubicBezTo>
                        <a:pt x="12" y="2"/>
                        <a:pt x="13" y="1"/>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9" name="Freeform 37">
                  <a:extLst>
                    <a:ext uri="{FF2B5EF4-FFF2-40B4-BE49-F238E27FC236}">
                      <a16:creationId xmlns:a16="http://schemas.microsoft.com/office/drawing/2014/main" id="{E13D2BD9-88DF-4EB2-AD33-18BA90E9A547}"/>
                    </a:ext>
                  </a:extLst>
                </p:cNvPr>
                <p:cNvSpPr>
                  <a:spLocks/>
                </p:cNvSpPr>
                <p:nvPr/>
              </p:nvSpPr>
              <p:spPr bwMode="auto">
                <a:xfrm>
                  <a:off x="2023129" y="5332363"/>
                  <a:ext cx="66332" cy="22111"/>
                </a:xfrm>
                <a:custGeom>
                  <a:avLst/>
                  <a:gdLst>
                    <a:gd name="T0" fmla="*/ 3 w 21"/>
                    <a:gd name="T1" fmla="*/ 0 h 7"/>
                    <a:gd name="T2" fmla="*/ 0 w 21"/>
                    <a:gd name="T3" fmla="*/ 2 h 7"/>
                    <a:gd name="T4" fmla="*/ 12 w 21"/>
                    <a:gd name="T5" fmla="*/ 7 h 7"/>
                    <a:gd name="T6" fmla="*/ 13 w 21"/>
                    <a:gd name="T7" fmla="*/ 7 h 7"/>
                    <a:gd name="T8" fmla="*/ 21 w 21"/>
                    <a:gd name="T9" fmla="*/ 3 h 7"/>
                    <a:gd name="T10" fmla="*/ 18 w 21"/>
                    <a:gd name="T11" fmla="*/ 2 h 7"/>
                    <a:gd name="T12" fmla="*/ 14 w 21"/>
                    <a:gd name="T13" fmla="*/ 2 h 7"/>
                    <a:gd name="T14" fmla="*/ 9 w 21"/>
                    <a:gd name="T15" fmla="*/ 3 h 7"/>
                    <a:gd name="T16" fmla="*/ 8 w 21"/>
                    <a:gd name="T17" fmla="*/ 3 h 7"/>
                    <a:gd name="T18" fmla="*/ 3 w 2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7">
                      <a:moveTo>
                        <a:pt x="3" y="0"/>
                      </a:moveTo>
                      <a:cubicBezTo>
                        <a:pt x="2" y="0"/>
                        <a:pt x="1" y="1"/>
                        <a:pt x="0" y="2"/>
                      </a:cubicBezTo>
                      <a:cubicBezTo>
                        <a:pt x="4" y="4"/>
                        <a:pt x="8" y="7"/>
                        <a:pt x="12" y="7"/>
                      </a:cubicBezTo>
                      <a:cubicBezTo>
                        <a:pt x="13" y="7"/>
                        <a:pt x="13" y="7"/>
                        <a:pt x="13" y="7"/>
                      </a:cubicBezTo>
                      <a:cubicBezTo>
                        <a:pt x="15" y="6"/>
                        <a:pt x="21" y="4"/>
                        <a:pt x="21" y="3"/>
                      </a:cubicBezTo>
                      <a:cubicBezTo>
                        <a:pt x="21" y="2"/>
                        <a:pt x="20" y="2"/>
                        <a:pt x="18" y="2"/>
                      </a:cubicBezTo>
                      <a:cubicBezTo>
                        <a:pt x="17" y="2"/>
                        <a:pt x="15" y="2"/>
                        <a:pt x="14" y="2"/>
                      </a:cubicBezTo>
                      <a:cubicBezTo>
                        <a:pt x="13" y="2"/>
                        <a:pt x="11" y="3"/>
                        <a:pt x="9" y="3"/>
                      </a:cubicBezTo>
                      <a:cubicBezTo>
                        <a:pt x="9" y="3"/>
                        <a:pt x="8" y="3"/>
                        <a:pt x="8" y="3"/>
                      </a:cubicBezTo>
                      <a:cubicBezTo>
                        <a:pt x="6"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0" name="Freeform 38">
                  <a:extLst>
                    <a:ext uri="{FF2B5EF4-FFF2-40B4-BE49-F238E27FC236}">
                      <a16:creationId xmlns:a16="http://schemas.microsoft.com/office/drawing/2014/main" id="{B0E6EC54-4DFA-42D9-850A-19AF0FD8702B}"/>
                    </a:ext>
                  </a:extLst>
                </p:cNvPr>
                <p:cNvSpPr>
                  <a:spLocks noEditPoints="1"/>
                </p:cNvSpPr>
                <p:nvPr/>
              </p:nvSpPr>
              <p:spPr bwMode="auto">
                <a:xfrm>
                  <a:off x="2082091" y="5428176"/>
                  <a:ext cx="14740" cy="3685"/>
                </a:xfrm>
                <a:custGeom>
                  <a:avLst/>
                  <a:gdLst>
                    <a:gd name="T0" fmla="*/ 5 w 5"/>
                    <a:gd name="T1" fmla="*/ 1 h 1"/>
                    <a:gd name="T2" fmla="*/ 5 w 5"/>
                    <a:gd name="T3" fmla="*/ 1 h 1"/>
                    <a:gd name="T4" fmla="*/ 5 w 5"/>
                    <a:gd name="T5" fmla="*/ 1 h 1"/>
                    <a:gd name="T6" fmla="*/ 0 w 5"/>
                    <a:gd name="T7" fmla="*/ 0 h 1"/>
                    <a:gd name="T8" fmla="*/ 5 w 5"/>
                    <a:gd name="T9" fmla="*/ 1 h 1"/>
                    <a:gd name="T10" fmla="*/ 0 w 5"/>
                    <a:gd name="T11" fmla="*/ 0 h 1"/>
                  </a:gdLst>
                  <a:ahLst/>
                  <a:cxnLst>
                    <a:cxn ang="0">
                      <a:pos x="T0" y="T1"/>
                    </a:cxn>
                    <a:cxn ang="0">
                      <a:pos x="T2" y="T3"/>
                    </a:cxn>
                    <a:cxn ang="0">
                      <a:pos x="T4" y="T5"/>
                    </a:cxn>
                    <a:cxn ang="0">
                      <a:pos x="T6" y="T7"/>
                    </a:cxn>
                    <a:cxn ang="0">
                      <a:pos x="T8" y="T9"/>
                    </a:cxn>
                    <a:cxn ang="0">
                      <a:pos x="T10" y="T11"/>
                    </a:cxn>
                  </a:cxnLst>
                  <a:rect l="0" t="0" r="r" b="b"/>
                  <a:pathLst>
                    <a:path w="5" h="1">
                      <a:moveTo>
                        <a:pt x="5" y="1"/>
                      </a:moveTo>
                      <a:cubicBezTo>
                        <a:pt x="5" y="1"/>
                        <a:pt x="5" y="1"/>
                        <a:pt x="5" y="1"/>
                      </a:cubicBezTo>
                      <a:cubicBezTo>
                        <a:pt x="5" y="1"/>
                        <a:pt x="5" y="1"/>
                        <a:pt x="5" y="1"/>
                      </a:cubicBezTo>
                      <a:moveTo>
                        <a:pt x="0" y="0"/>
                      </a:moveTo>
                      <a:cubicBezTo>
                        <a:pt x="1" y="1"/>
                        <a:pt x="3" y="0"/>
                        <a:pt x="5" y="1"/>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1" name="Rectangle 39">
                  <a:extLst>
                    <a:ext uri="{FF2B5EF4-FFF2-40B4-BE49-F238E27FC236}">
                      <a16:creationId xmlns:a16="http://schemas.microsoft.com/office/drawing/2014/main" id="{75AF082F-13EA-4615-BDF7-2D4DCB6856BB}"/>
                    </a:ext>
                  </a:extLst>
                </p:cNvPr>
                <p:cNvSpPr>
                  <a:spLocks noChangeArrowheads="1"/>
                </p:cNvSpPr>
                <p:nvPr/>
              </p:nvSpPr>
              <p:spPr bwMode="auto">
                <a:xfrm>
                  <a:off x="6014109" y="4831187"/>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2" name="Freeform 40">
                  <a:extLst>
                    <a:ext uri="{FF2B5EF4-FFF2-40B4-BE49-F238E27FC236}">
                      <a16:creationId xmlns:a16="http://schemas.microsoft.com/office/drawing/2014/main" id="{96C32F70-B4F8-4BD6-AC56-2F97A8BF976E}"/>
                    </a:ext>
                  </a:extLst>
                </p:cNvPr>
                <p:cNvSpPr>
                  <a:spLocks/>
                </p:cNvSpPr>
                <p:nvPr/>
              </p:nvSpPr>
              <p:spPr bwMode="auto">
                <a:xfrm>
                  <a:off x="6014109" y="483118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3" name="Freeform 41">
                  <a:extLst>
                    <a:ext uri="{FF2B5EF4-FFF2-40B4-BE49-F238E27FC236}">
                      <a16:creationId xmlns:a16="http://schemas.microsoft.com/office/drawing/2014/main" id="{99578E9F-02EA-4C0D-BC9E-8F2C47EFC70D}"/>
                    </a:ext>
                  </a:extLst>
                </p:cNvPr>
                <p:cNvSpPr>
                  <a:spLocks/>
                </p:cNvSpPr>
                <p:nvPr/>
              </p:nvSpPr>
              <p:spPr bwMode="auto">
                <a:xfrm>
                  <a:off x="5944092" y="4801706"/>
                  <a:ext cx="11055" cy="0"/>
                </a:xfrm>
                <a:custGeom>
                  <a:avLst/>
                  <a:gdLst>
                    <a:gd name="T0" fmla="*/ 1 w 3"/>
                    <a:gd name="T1" fmla="*/ 0 h 1"/>
                    <a:gd name="T2" fmla="*/ 0 w 3"/>
                    <a:gd name="T3" fmla="*/ 0 h 1"/>
                    <a:gd name="T4" fmla="*/ 3 w 3"/>
                    <a:gd name="T5" fmla="*/ 1 h 1"/>
                    <a:gd name="T6" fmla="*/ 3 w 3"/>
                    <a:gd name="T7" fmla="*/ 1 h 1"/>
                    <a:gd name="T8" fmla="*/ 1 w 3"/>
                    <a:gd name="T9" fmla="*/ 0 h 1"/>
                  </a:gdLst>
                  <a:ahLst/>
                  <a:cxnLst>
                    <a:cxn ang="0">
                      <a:pos x="T0" y="T1"/>
                    </a:cxn>
                    <a:cxn ang="0">
                      <a:pos x="T2" y="T3"/>
                    </a:cxn>
                    <a:cxn ang="0">
                      <a:pos x="T4" y="T5"/>
                    </a:cxn>
                    <a:cxn ang="0">
                      <a:pos x="T6" y="T7"/>
                    </a:cxn>
                    <a:cxn ang="0">
                      <a:pos x="T8" y="T9"/>
                    </a:cxn>
                  </a:cxnLst>
                  <a:rect l="0" t="0" r="r" b="b"/>
                  <a:pathLst>
                    <a:path w="3" h="1">
                      <a:moveTo>
                        <a:pt x="1" y="0"/>
                      </a:moveTo>
                      <a:cubicBezTo>
                        <a:pt x="0" y="0"/>
                        <a:pt x="0" y="0"/>
                        <a:pt x="0" y="0"/>
                      </a:cubicBezTo>
                      <a:cubicBezTo>
                        <a:pt x="1" y="0"/>
                        <a:pt x="2" y="0"/>
                        <a:pt x="3" y="1"/>
                      </a:cubicBezTo>
                      <a:cubicBezTo>
                        <a:pt x="3" y="1"/>
                        <a:pt x="3" y="1"/>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4" name="Rectangle 42">
                  <a:extLst>
                    <a:ext uri="{FF2B5EF4-FFF2-40B4-BE49-F238E27FC236}">
                      <a16:creationId xmlns:a16="http://schemas.microsoft.com/office/drawing/2014/main" id="{29F1793F-3117-43DE-AEFE-1B1F569A23AE}"/>
                    </a:ext>
                  </a:extLst>
                </p:cNvPr>
                <p:cNvSpPr>
                  <a:spLocks noChangeArrowheads="1"/>
                </p:cNvSpPr>
                <p:nvPr/>
              </p:nvSpPr>
              <p:spPr bwMode="auto">
                <a:xfrm>
                  <a:off x="877426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5" name="Rectangle 43">
                  <a:extLst>
                    <a:ext uri="{FF2B5EF4-FFF2-40B4-BE49-F238E27FC236}">
                      <a16:creationId xmlns:a16="http://schemas.microsoft.com/office/drawing/2014/main" id="{AF4D06DA-BD48-46F6-94E6-5188CF11CEF3}"/>
                    </a:ext>
                  </a:extLst>
                </p:cNvPr>
                <p:cNvSpPr>
                  <a:spLocks noChangeArrowheads="1"/>
                </p:cNvSpPr>
                <p:nvPr/>
              </p:nvSpPr>
              <p:spPr bwMode="auto">
                <a:xfrm>
                  <a:off x="877426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6" name="Freeform 44">
                  <a:extLst>
                    <a:ext uri="{FF2B5EF4-FFF2-40B4-BE49-F238E27FC236}">
                      <a16:creationId xmlns:a16="http://schemas.microsoft.com/office/drawing/2014/main" id="{DCD2EFC6-8A84-44A4-B35F-A5FE39082D41}"/>
                    </a:ext>
                  </a:extLst>
                </p:cNvPr>
                <p:cNvSpPr>
                  <a:spLocks/>
                </p:cNvSpPr>
                <p:nvPr/>
              </p:nvSpPr>
              <p:spPr bwMode="auto">
                <a:xfrm>
                  <a:off x="7200716" y="4411084"/>
                  <a:ext cx="51592" cy="25796"/>
                </a:xfrm>
                <a:custGeom>
                  <a:avLst/>
                  <a:gdLst>
                    <a:gd name="T0" fmla="*/ 0 w 16"/>
                    <a:gd name="T1" fmla="*/ 0 h 7"/>
                    <a:gd name="T2" fmla="*/ 16 w 16"/>
                    <a:gd name="T3" fmla="*/ 7 h 7"/>
                    <a:gd name="T4" fmla="*/ 0 w 16"/>
                    <a:gd name="T5" fmla="*/ 0 h 7"/>
                  </a:gdLst>
                  <a:ahLst/>
                  <a:cxnLst>
                    <a:cxn ang="0">
                      <a:pos x="T0" y="T1"/>
                    </a:cxn>
                    <a:cxn ang="0">
                      <a:pos x="T2" y="T3"/>
                    </a:cxn>
                    <a:cxn ang="0">
                      <a:pos x="T4" y="T5"/>
                    </a:cxn>
                  </a:cxnLst>
                  <a:rect l="0" t="0" r="r" b="b"/>
                  <a:pathLst>
                    <a:path w="16" h="7">
                      <a:moveTo>
                        <a:pt x="0" y="0"/>
                      </a:moveTo>
                      <a:cubicBezTo>
                        <a:pt x="1" y="6"/>
                        <a:pt x="11" y="6"/>
                        <a:pt x="16" y="7"/>
                      </a:cubicBezTo>
                      <a:cubicBezTo>
                        <a:pt x="10" y="4"/>
                        <a:pt x="5"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7" name="Freeform 45">
                  <a:extLst>
                    <a:ext uri="{FF2B5EF4-FFF2-40B4-BE49-F238E27FC236}">
                      <a16:creationId xmlns:a16="http://schemas.microsoft.com/office/drawing/2014/main" id="{FFD60CD8-1869-4B48-8DFC-707BBC708203}"/>
                    </a:ext>
                  </a:extLst>
                </p:cNvPr>
                <p:cNvSpPr>
                  <a:spLocks/>
                </p:cNvSpPr>
                <p:nvPr/>
              </p:nvSpPr>
              <p:spPr bwMode="auto">
                <a:xfrm>
                  <a:off x="4248939" y="2634858"/>
                  <a:ext cx="18426" cy="33166"/>
                </a:xfrm>
                <a:custGeom>
                  <a:avLst/>
                  <a:gdLst>
                    <a:gd name="T0" fmla="*/ 4 w 6"/>
                    <a:gd name="T1" fmla="*/ 0 h 11"/>
                    <a:gd name="T2" fmla="*/ 2 w 6"/>
                    <a:gd name="T3" fmla="*/ 4 h 11"/>
                    <a:gd name="T4" fmla="*/ 3 w 6"/>
                    <a:gd name="T5" fmla="*/ 11 h 11"/>
                    <a:gd name="T6" fmla="*/ 6 w 6"/>
                    <a:gd name="T7" fmla="*/ 1 h 11"/>
                    <a:gd name="T8" fmla="*/ 4 w 6"/>
                    <a:gd name="T9" fmla="*/ 0 h 11"/>
                  </a:gdLst>
                  <a:ahLst/>
                  <a:cxnLst>
                    <a:cxn ang="0">
                      <a:pos x="T0" y="T1"/>
                    </a:cxn>
                    <a:cxn ang="0">
                      <a:pos x="T2" y="T3"/>
                    </a:cxn>
                    <a:cxn ang="0">
                      <a:pos x="T4" y="T5"/>
                    </a:cxn>
                    <a:cxn ang="0">
                      <a:pos x="T6" y="T7"/>
                    </a:cxn>
                    <a:cxn ang="0">
                      <a:pos x="T8" y="T9"/>
                    </a:cxn>
                  </a:cxnLst>
                  <a:rect l="0" t="0" r="r" b="b"/>
                  <a:pathLst>
                    <a:path w="6" h="11">
                      <a:moveTo>
                        <a:pt x="4" y="0"/>
                      </a:moveTo>
                      <a:cubicBezTo>
                        <a:pt x="3" y="0"/>
                        <a:pt x="3" y="2"/>
                        <a:pt x="2" y="4"/>
                      </a:cubicBezTo>
                      <a:cubicBezTo>
                        <a:pt x="1" y="7"/>
                        <a:pt x="0" y="7"/>
                        <a:pt x="3" y="11"/>
                      </a:cubicBezTo>
                      <a:cubicBezTo>
                        <a:pt x="4" y="8"/>
                        <a:pt x="5" y="4"/>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8" name="Freeform 46">
                  <a:extLst>
                    <a:ext uri="{FF2B5EF4-FFF2-40B4-BE49-F238E27FC236}">
                      <a16:creationId xmlns:a16="http://schemas.microsoft.com/office/drawing/2014/main" id="{7BFA2BA3-9D64-47E3-B203-D760DFFAC30E}"/>
                    </a:ext>
                  </a:extLst>
                </p:cNvPr>
                <p:cNvSpPr>
                  <a:spLocks/>
                </p:cNvSpPr>
                <p:nvPr/>
              </p:nvSpPr>
              <p:spPr bwMode="auto">
                <a:xfrm>
                  <a:off x="4201032" y="2649599"/>
                  <a:ext cx="58962" cy="106868"/>
                </a:xfrm>
                <a:custGeom>
                  <a:avLst/>
                  <a:gdLst>
                    <a:gd name="T0" fmla="*/ 10 w 18"/>
                    <a:gd name="T1" fmla="*/ 0 h 33"/>
                    <a:gd name="T2" fmla="*/ 8 w 18"/>
                    <a:gd name="T3" fmla="*/ 1 h 33"/>
                    <a:gd name="T4" fmla="*/ 9 w 18"/>
                    <a:gd name="T5" fmla="*/ 5 h 33"/>
                    <a:gd name="T6" fmla="*/ 4 w 18"/>
                    <a:gd name="T7" fmla="*/ 4 h 33"/>
                    <a:gd name="T8" fmla="*/ 3 w 18"/>
                    <a:gd name="T9" fmla="*/ 7 h 33"/>
                    <a:gd name="T10" fmla="*/ 7 w 18"/>
                    <a:gd name="T11" fmla="*/ 6 h 33"/>
                    <a:gd name="T12" fmla="*/ 12 w 18"/>
                    <a:gd name="T13" fmla="*/ 12 h 33"/>
                    <a:gd name="T14" fmla="*/ 11 w 18"/>
                    <a:gd name="T15" fmla="*/ 12 h 33"/>
                    <a:gd name="T16" fmla="*/ 11 w 18"/>
                    <a:gd name="T17" fmla="*/ 12 h 33"/>
                    <a:gd name="T18" fmla="*/ 7 w 18"/>
                    <a:gd name="T19" fmla="*/ 14 h 33"/>
                    <a:gd name="T20" fmla="*/ 0 w 18"/>
                    <a:gd name="T21" fmla="*/ 15 h 33"/>
                    <a:gd name="T22" fmla="*/ 3 w 18"/>
                    <a:gd name="T23" fmla="*/ 17 h 33"/>
                    <a:gd name="T24" fmla="*/ 6 w 18"/>
                    <a:gd name="T25" fmla="*/ 17 h 33"/>
                    <a:gd name="T26" fmla="*/ 5 w 18"/>
                    <a:gd name="T27" fmla="*/ 19 h 33"/>
                    <a:gd name="T28" fmla="*/ 6 w 18"/>
                    <a:gd name="T29" fmla="*/ 19 h 33"/>
                    <a:gd name="T30" fmla="*/ 10 w 18"/>
                    <a:gd name="T31" fmla="*/ 16 h 33"/>
                    <a:gd name="T32" fmla="*/ 12 w 18"/>
                    <a:gd name="T33" fmla="*/ 16 h 33"/>
                    <a:gd name="T34" fmla="*/ 12 w 18"/>
                    <a:gd name="T35" fmla="*/ 23 h 33"/>
                    <a:gd name="T36" fmla="*/ 12 w 18"/>
                    <a:gd name="T37" fmla="*/ 33 h 33"/>
                    <a:gd name="T38" fmla="*/ 18 w 18"/>
                    <a:gd name="T39" fmla="*/ 8 h 33"/>
                    <a:gd name="T40" fmla="*/ 16 w 18"/>
                    <a:gd name="T41" fmla="*/ 10 h 33"/>
                    <a:gd name="T42" fmla="*/ 12 w 18"/>
                    <a:gd name="T43" fmla="*/ 1 h 33"/>
                    <a:gd name="T44" fmla="*/ 10 w 18"/>
                    <a:gd name="T4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33">
                      <a:moveTo>
                        <a:pt x="10" y="0"/>
                      </a:moveTo>
                      <a:cubicBezTo>
                        <a:pt x="9" y="0"/>
                        <a:pt x="8" y="0"/>
                        <a:pt x="8" y="1"/>
                      </a:cubicBezTo>
                      <a:cubicBezTo>
                        <a:pt x="7" y="2"/>
                        <a:pt x="8" y="4"/>
                        <a:pt x="9" y="5"/>
                      </a:cubicBezTo>
                      <a:cubicBezTo>
                        <a:pt x="8" y="5"/>
                        <a:pt x="6" y="4"/>
                        <a:pt x="4" y="4"/>
                      </a:cubicBezTo>
                      <a:cubicBezTo>
                        <a:pt x="3" y="4"/>
                        <a:pt x="2" y="5"/>
                        <a:pt x="3" y="7"/>
                      </a:cubicBezTo>
                      <a:cubicBezTo>
                        <a:pt x="7" y="6"/>
                        <a:pt x="7" y="6"/>
                        <a:pt x="7" y="6"/>
                      </a:cubicBezTo>
                      <a:cubicBezTo>
                        <a:pt x="7" y="10"/>
                        <a:pt x="10" y="10"/>
                        <a:pt x="12" y="12"/>
                      </a:cubicBezTo>
                      <a:cubicBezTo>
                        <a:pt x="12" y="12"/>
                        <a:pt x="12" y="12"/>
                        <a:pt x="11" y="12"/>
                      </a:cubicBezTo>
                      <a:cubicBezTo>
                        <a:pt x="11" y="12"/>
                        <a:pt x="11" y="12"/>
                        <a:pt x="11" y="12"/>
                      </a:cubicBezTo>
                      <a:cubicBezTo>
                        <a:pt x="10" y="14"/>
                        <a:pt x="9" y="14"/>
                        <a:pt x="7" y="14"/>
                      </a:cubicBezTo>
                      <a:cubicBezTo>
                        <a:pt x="5" y="14"/>
                        <a:pt x="3" y="14"/>
                        <a:pt x="0" y="15"/>
                      </a:cubicBezTo>
                      <a:cubicBezTo>
                        <a:pt x="0" y="17"/>
                        <a:pt x="1" y="17"/>
                        <a:pt x="3" y="17"/>
                      </a:cubicBezTo>
                      <a:cubicBezTo>
                        <a:pt x="4" y="17"/>
                        <a:pt x="5" y="17"/>
                        <a:pt x="6" y="17"/>
                      </a:cubicBezTo>
                      <a:cubicBezTo>
                        <a:pt x="5" y="18"/>
                        <a:pt x="5" y="19"/>
                        <a:pt x="5" y="19"/>
                      </a:cubicBezTo>
                      <a:cubicBezTo>
                        <a:pt x="6" y="19"/>
                        <a:pt x="6" y="19"/>
                        <a:pt x="6" y="19"/>
                      </a:cubicBezTo>
                      <a:cubicBezTo>
                        <a:pt x="9" y="17"/>
                        <a:pt x="8" y="16"/>
                        <a:pt x="10" y="16"/>
                      </a:cubicBezTo>
                      <a:cubicBezTo>
                        <a:pt x="11" y="16"/>
                        <a:pt x="11" y="16"/>
                        <a:pt x="12" y="16"/>
                      </a:cubicBezTo>
                      <a:cubicBezTo>
                        <a:pt x="10" y="19"/>
                        <a:pt x="12" y="21"/>
                        <a:pt x="12" y="23"/>
                      </a:cubicBezTo>
                      <a:cubicBezTo>
                        <a:pt x="11" y="27"/>
                        <a:pt x="7" y="31"/>
                        <a:pt x="12" y="33"/>
                      </a:cubicBezTo>
                      <a:cubicBezTo>
                        <a:pt x="14" y="25"/>
                        <a:pt x="17" y="16"/>
                        <a:pt x="18" y="8"/>
                      </a:cubicBezTo>
                      <a:cubicBezTo>
                        <a:pt x="17" y="9"/>
                        <a:pt x="17" y="9"/>
                        <a:pt x="16" y="10"/>
                      </a:cubicBezTo>
                      <a:cubicBezTo>
                        <a:pt x="16" y="7"/>
                        <a:pt x="13" y="3"/>
                        <a:pt x="12" y="1"/>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9" name="Freeform 47">
                  <a:extLst>
                    <a:ext uri="{FF2B5EF4-FFF2-40B4-BE49-F238E27FC236}">
                      <a16:creationId xmlns:a16="http://schemas.microsoft.com/office/drawing/2014/main" id="{3A4CAAF6-B0E7-4974-86C9-8DB4260AD40E}"/>
                    </a:ext>
                  </a:extLst>
                </p:cNvPr>
                <p:cNvSpPr>
                  <a:spLocks/>
                </p:cNvSpPr>
                <p:nvPr/>
              </p:nvSpPr>
              <p:spPr bwMode="auto">
                <a:xfrm>
                  <a:off x="3858316" y="3294494"/>
                  <a:ext cx="44221" cy="36851"/>
                </a:xfrm>
                <a:custGeom>
                  <a:avLst/>
                  <a:gdLst>
                    <a:gd name="T0" fmla="*/ 6 w 13"/>
                    <a:gd name="T1" fmla="*/ 0 h 11"/>
                    <a:gd name="T2" fmla="*/ 9 w 13"/>
                    <a:gd name="T3" fmla="*/ 11 h 11"/>
                    <a:gd name="T4" fmla="*/ 11 w 13"/>
                    <a:gd name="T5" fmla="*/ 6 h 11"/>
                    <a:gd name="T6" fmla="*/ 10 w 13"/>
                    <a:gd name="T7" fmla="*/ 2 h 11"/>
                    <a:gd name="T8" fmla="*/ 7 w 13"/>
                    <a:gd name="T9" fmla="*/ 0 h 11"/>
                    <a:gd name="T10" fmla="*/ 6 w 13"/>
                    <a:gd name="T11" fmla="*/ 0 h 11"/>
                  </a:gdLst>
                  <a:ahLst/>
                  <a:cxnLst>
                    <a:cxn ang="0">
                      <a:pos x="T0" y="T1"/>
                    </a:cxn>
                    <a:cxn ang="0">
                      <a:pos x="T2" y="T3"/>
                    </a:cxn>
                    <a:cxn ang="0">
                      <a:pos x="T4" y="T5"/>
                    </a:cxn>
                    <a:cxn ang="0">
                      <a:pos x="T6" y="T7"/>
                    </a:cxn>
                    <a:cxn ang="0">
                      <a:pos x="T8" y="T9"/>
                    </a:cxn>
                    <a:cxn ang="0">
                      <a:pos x="T10" y="T11"/>
                    </a:cxn>
                  </a:cxnLst>
                  <a:rect l="0" t="0" r="r" b="b"/>
                  <a:pathLst>
                    <a:path w="13" h="11">
                      <a:moveTo>
                        <a:pt x="6" y="0"/>
                      </a:moveTo>
                      <a:cubicBezTo>
                        <a:pt x="0" y="0"/>
                        <a:pt x="8" y="10"/>
                        <a:pt x="9" y="11"/>
                      </a:cubicBezTo>
                      <a:cubicBezTo>
                        <a:pt x="13" y="11"/>
                        <a:pt x="12" y="8"/>
                        <a:pt x="11" y="6"/>
                      </a:cubicBezTo>
                      <a:cubicBezTo>
                        <a:pt x="11" y="6"/>
                        <a:pt x="10" y="3"/>
                        <a:pt x="10" y="2"/>
                      </a:cubicBezTo>
                      <a:cubicBezTo>
                        <a:pt x="9" y="1"/>
                        <a:pt x="8" y="0"/>
                        <a:pt x="7"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0" name="Freeform 48">
                  <a:extLst>
                    <a:ext uri="{FF2B5EF4-FFF2-40B4-BE49-F238E27FC236}">
                      <a16:creationId xmlns:a16="http://schemas.microsoft.com/office/drawing/2014/main" id="{E9810259-EB68-4864-8C3C-83D4F50374C3}"/>
                    </a:ext>
                  </a:extLst>
                </p:cNvPr>
                <p:cNvSpPr>
                  <a:spLocks/>
                </p:cNvSpPr>
                <p:nvPr/>
              </p:nvSpPr>
              <p:spPr bwMode="auto">
                <a:xfrm>
                  <a:off x="3740393" y="3043906"/>
                  <a:ext cx="106868" cy="81073"/>
                </a:xfrm>
                <a:custGeom>
                  <a:avLst/>
                  <a:gdLst>
                    <a:gd name="T0" fmla="*/ 15 w 34"/>
                    <a:gd name="T1" fmla="*/ 0 h 26"/>
                    <a:gd name="T2" fmla="*/ 13 w 34"/>
                    <a:gd name="T3" fmla="*/ 6 h 26"/>
                    <a:gd name="T4" fmla="*/ 11 w 34"/>
                    <a:gd name="T5" fmla="*/ 7 h 26"/>
                    <a:gd name="T6" fmla="*/ 6 w 34"/>
                    <a:gd name="T7" fmla="*/ 3 h 26"/>
                    <a:gd name="T8" fmla="*/ 6 w 34"/>
                    <a:gd name="T9" fmla="*/ 9 h 26"/>
                    <a:gd name="T10" fmla="*/ 3 w 34"/>
                    <a:gd name="T11" fmla="*/ 7 h 26"/>
                    <a:gd name="T12" fmla="*/ 3 w 34"/>
                    <a:gd name="T13" fmla="*/ 7 h 26"/>
                    <a:gd name="T14" fmla="*/ 5 w 34"/>
                    <a:gd name="T15" fmla="*/ 10 h 26"/>
                    <a:gd name="T16" fmla="*/ 13 w 34"/>
                    <a:gd name="T17" fmla="*/ 14 h 26"/>
                    <a:gd name="T18" fmla="*/ 13 w 34"/>
                    <a:gd name="T19" fmla="*/ 14 h 26"/>
                    <a:gd name="T20" fmla="*/ 10 w 34"/>
                    <a:gd name="T21" fmla="*/ 15 h 26"/>
                    <a:gd name="T22" fmla="*/ 21 w 34"/>
                    <a:gd name="T23" fmla="*/ 20 h 26"/>
                    <a:gd name="T24" fmla="*/ 23 w 34"/>
                    <a:gd name="T25" fmla="*/ 18 h 26"/>
                    <a:gd name="T26" fmla="*/ 26 w 34"/>
                    <a:gd name="T27" fmla="*/ 20 h 26"/>
                    <a:gd name="T28" fmla="*/ 28 w 34"/>
                    <a:gd name="T29" fmla="*/ 20 h 26"/>
                    <a:gd name="T30" fmla="*/ 23 w 34"/>
                    <a:gd name="T31" fmla="*/ 26 h 26"/>
                    <a:gd name="T32" fmla="*/ 28 w 34"/>
                    <a:gd name="T33" fmla="*/ 23 h 26"/>
                    <a:gd name="T34" fmla="*/ 30 w 34"/>
                    <a:gd name="T35" fmla="*/ 21 h 26"/>
                    <a:gd name="T36" fmla="*/ 34 w 34"/>
                    <a:gd name="T37" fmla="*/ 17 h 26"/>
                    <a:gd name="T38" fmla="*/ 25 w 34"/>
                    <a:gd name="T39" fmla="*/ 17 h 26"/>
                    <a:gd name="T40" fmla="*/ 23 w 34"/>
                    <a:gd name="T41" fmla="*/ 16 h 26"/>
                    <a:gd name="T42" fmla="*/ 22 w 34"/>
                    <a:gd name="T43" fmla="*/ 16 h 26"/>
                    <a:gd name="T44" fmla="*/ 22 w 34"/>
                    <a:gd name="T45" fmla="*/ 15 h 26"/>
                    <a:gd name="T46" fmla="*/ 20 w 34"/>
                    <a:gd name="T47" fmla="*/ 15 h 26"/>
                    <a:gd name="T48" fmla="*/ 19 w 34"/>
                    <a:gd name="T49" fmla="*/ 11 h 26"/>
                    <a:gd name="T50" fmla="*/ 18 w 34"/>
                    <a:gd name="T51" fmla="*/ 11 h 26"/>
                    <a:gd name="T52" fmla="*/ 19 w 34"/>
                    <a:gd name="T53" fmla="*/ 2 h 26"/>
                    <a:gd name="T54" fmla="*/ 16 w 34"/>
                    <a:gd name="T55" fmla="*/ 0 h 26"/>
                    <a:gd name="T56" fmla="*/ 15 w 34"/>
                    <a:gd name="T5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26">
                      <a:moveTo>
                        <a:pt x="15" y="0"/>
                      </a:moveTo>
                      <a:cubicBezTo>
                        <a:pt x="13" y="0"/>
                        <a:pt x="12" y="3"/>
                        <a:pt x="13" y="6"/>
                      </a:cubicBezTo>
                      <a:cubicBezTo>
                        <a:pt x="12" y="7"/>
                        <a:pt x="12" y="7"/>
                        <a:pt x="11" y="7"/>
                      </a:cubicBezTo>
                      <a:cubicBezTo>
                        <a:pt x="10" y="7"/>
                        <a:pt x="8" y="4"/>
                        <a:pt x="6" y="3"/>
                      </a:cubicBezTo>
                      <a:cubicBezTo>
                        <a:pt x="6" y="5"/>
                        <a:pt x="6" y="7"/>
                        <a:pt x="6" y="9"/>
                      </a:cubicBezTo>
                      <a:cubicBezTo>
                        <a:pt x="5" y="8"/>
                        <a:pt x="4" y="7"/>
                        <a:pt x="3" y="7"/>
                      </a:cubicBezTo>
                      <a:cubicBezTo>
                        <a:pt x="3" y="7"/>
                        <a:pt x="3" y="7"/>
                        <a:pt x="3" y="7"/>
                      </a:cubicBezTo>
                      <a:cubicBezTo>
                        <a:pt x="0" y="7"/>
                        <a:pt x="4" y="10"/>
                        <a:pt x="5" y="10"/>
                      </a:cubicBezTo>
                      <a:cubicBezTo>
                        <a:pt x="8" y="11"/>
                        <a:pt x="11" y="12"/>
                        <a:pt x="13" y="14"/>
                      </a:cubicBezTo>
                      <a:cubicBezTo>
                        <a:pt x="13" y="14"/>
                        <a:pt x="13" y="14"/>
                        <a:pt x="13" y="14"/>
                      </a:cubicBezTo>
                      <a:cubicBezTo>
                        <a:pt x="12" y="14"/>
                        <a:pt x="11" y="15"/>
                        <a:pt x="10" y="15"/>
                      </a:cubicBezTo>
                      <a:cubicBezTo>
                        <a:pt x="11" y="17"/>
                        <a:pt x="18" y="20"/>
                        <a:pt x="21" y="20"/>
                      </a:cubicBezTo>
                      <a:cubicBezTo>
                        <a:pt x="23" y="20"/>
                        <a:pt x="23" y="20"/>
                        <a:pt x="23" y="18"/>
                      </a:cubicBezTo>
                      <a:cubicBezTo>
                        <a:pt x="24" y="19"/>
                        <a:pt x="25" y="20"/>
                        <a:pt x="26" y="20"/>
                      </a:cubicBezTo>
                      <a:cubicBezTo>
                        <a:pt x="27" y="20"/>
                        <a:pt x="27" y="20"/>
                        <a:pt x="28" y="20"/>
                      </a:cubicBezTo>
                      <a:cubicBezTo>
                        <a:pt x="27" y="22"/>
                        <a:pt x="25" y="24"/>
                        <a:pt x="23" y="26"/>
                      </a:cubicBezTo>
                      <a:cubicBezTo>
                        <a:pt x="26" y="25"/>
                        <a:pt x="26" y="25"/>
                        <a:pt x="28" y="23"/>
                      </a:cubicBezTo>
                      <a:cubicBezTo>
                        <a:pt x="30" y="21"/>
                        <a:pt x="30" y="21"/>
                        <a:pt x="30" y="21"/>
                      </a:cubicBezTo>
                      <a:cubicBezTo>
                        <a:pt x="31" y="20"/>
                        <a:pt x="34" y="20"/>
                        <a:pt x="34" y="17"/>
                      </a:cubicBezTo>
                      <a:cubicBezTo>
                        <a:pt x="31" y="17"/>
                        <a:pt x="28" y="17"/>
                        <a:pt x="25" y="17"/>
                      </a:cubicBezTo>
                      <a:cubicBezTo>
                        <a:pt x="24" y="16"/>
                        <a:pt x="24" y="16"/>
                        <a:pt x="23" y="16"/>
                      </a:cubicBezTo>
                      <a:cubicBezTo>
                        <a:pt x="22" y="16"/>
                        <a:pt x="22" y="16"/>
                        <a:pt x="22" y="16"/>
                      </a:cubicBezTo>
                      <a:cubicBezTo>
                        <a:pt x="22" y="16"/>
                        <a:pt x="22" y="15"/>
                        <a:pt x="22" y="15"/>
                      </a:cubicBezTo>
                      <a:cubicBezTo>
                        <a:pt x="21" y="15"/>
                        <a:pt x="21" y="15"/>
                        <a:pt x="20" y="15"/>
                      </a:cubicBezTo>
                      <a:cubicBezTo>
                        <a:pt x="20" y="14"/>
                        <a:pt x="21" y="11"/>
                        <a:pt x="19" y="11"/>
                      </a:cubicBezTo>
                      <a:cubicBezTo>
                        <a:pt x="19" y="11"/>
                        <a:pt x="19" y="11"/>
                        <a:pt x="18" y="11"/>
                      </a:cubicBezTo>
                      <a:cubicBezTo>
                        <a:pt x="21" y="9"/>
                        <a:pt x="20" y="5"/>
                        <a:pt x="19" y="2"/>
                      </a:cubicBezTo>
                      <a:cubicBezTo>
                        <a:pt x="18" y="2"/>
                        <a:pt x="16" y="0"/>
                        <a:pt x="16" y="0"/>
                      </a:cubicBezTo>
                      <a:cubicBezTo>
                        <a:pt x="16" y="0"/>
                        <a:pt x="15"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1" name="Freeform 49">
                  <a:extLst>
                    <a:ext uri="{FF2B5EF4-FFF2-40B4-BE49-F238E27FC236}">
                      <a16:creationId xmlns:a16="http://schemas.microsoft.com/office/drawing/2014/main" id="{27547240-68FE-4F3B-B35D-8FB2D779E6D4}"/>
                    </a:ext>
                  </a:extLst>
                </p:cNvPr>
                <p:cNvSpPr>
                  <a:spLocks/>
                </p:cNvSpPr>
                <p:nvPr/>
              </p:nvSpPr>
              <p:spPr bwMode="auto">
                <a:xfrm>
                  <a:off x="4215773" y="3906223"/>
                  <a:ext cx="44221" cy="18426"/>
                </a:xfrm>
                <a:custGeom>
                  <a:avLst/>
                  <a:gdLst>
                    <a:gd name="T0" fmla="*/ 7 w 14"/>
                    <a:gd name="T1" fmla="*/ 0 h 6"/>
                    <a:gd name="T2" fmla="*/ 0 w 14"/>
                    <a:gd name="T3" fmla="*/ 3 h 6"/>
                    <a:gd name="T4" fmla="*/ 8 w 14"/>
                    <a:gd name="T5" fmla="*/ 6 h 6"/>
                    <a:gd name="T6" fmla="*/ 14 w 14"/>
                    <a:gd name="T7" fmla="*/ 2 h 6"/>
                    <a:gd name="T8" fmla="*/ 7 w 14"/>
                    <a:gd name="T9" fmla="*/ 0 h 6"/>
                  </a:gdLst>
                  <a:ahLst/>
                  <a:cxnLst>
                    <a:cxn ang="0">
                      <a:pos x="T0" y="T1"/>
                    </a:cxn>
                    <a:cxn ang="0">
                      <a:pos x="T2" y="T3"/>
                    </a:cxn>
                    <a:cxn ang="0">
                      <a:pos x="T4" y="T5"/>
                    </a:cxn>
                    <a:cxn ang="0">
                      <a:pos x="T6" y="T7"/>
                    </a:cxn>
                    <a:cxn ang="0">
                      <a:pos x="T8" y="T9"/>
                    </a:cxn>
                  </a:cxnLst>
                  <a:rect l="0" t="0" r="r" b="b"/>
                  <a:pathLst>
                    <a:path w="14" h="6">
                      <a:moveTo>
                        <a:pt x="7" y="0"/>
                      </a:moveTo>
                      <a:cubicBezTo>
                        <a:pt x="4" y="0"/>
                        <a:pt x="2" y="1"/>
                        <a:pt x="0" y="3"/>
                      </a:cubicBezTo>
                      <a:cubicBezTo>
                        <a:pt x="2" y="4"/>
                        <a:pt x="5" y="5"/>
                        <a:pt x="8" y="6"/>
                      </a:cubicBezTo>
                      <a:cubicBezTo>
                        <a:pt x="12" y="6"/>
                        <a:pt x="11" y="3"/>
                        <a:pt x="14" y="2"/>
                      </a:cubicBezTo>
                      <a:cubicBezTo>
                        <a:pt x="12"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2" name="Freeform 50">
                  <a:extLst>
                    <a:ext uri="{FF2B5EF4-FFF2-40B4-BE49-F238E27FC236}">
                      <a16:creationId xmlns:a16="http://schemas.microsoft.com/office/drawing/2014/main" id="{A232CCDF-A59F-4B48-9F44-C3B15DD625F6}"/>
                    </a:ext>
                  </a:extLst>
                </p:cNvPr>
                <p:cNvSpPr>
                  <a:spLocks/>
                </p:cNvSpPr>
                <p:nvPr/>
              </p:nvSpPr>
              <p:spPr bwMode="auto">
                <a:xfrm>
                  <a:off x="3714597" y="3010740"/>
                  <a:ext cx="36851" cy="25796"/>
                </a:xfrm>
                <a:custGeom>
                  <a:avLst/>
                  <a:gdLst>
                    <a:gd name="T0" fmla="*/ 7 w 12"/>
                    <a:gd name="T1" fmla="*/ 0 h 8"/>
                    <a:gd name="T2" fmla="*/ 1 w 12"/>
                    <a:gd name="T3" fmla="*/ 4 h 8"/>
                    <a:gd name="T4" fmla="*/ 0 w 12"/>
                    <a:gd name="T5" fmla="*/ 3 h 8"/>
                    <a:gd name="T6" fmla="*/ 4 w 12"/>
                    <a:gd name="T7" fmla="*/ 8 h 8"/>
                    <a:gd name="T8" fmla="*/ 4 w 12"/>
                    <a:gd name="T9" fmla="*/ 8 h 8"/>
                    <a:gd name="T10" fmla="*/ 9 w 12"/>
                    <a:gd name="T11" fmla="*/ 1 h 8"/>
                    <a:gd name="T12" fmla="*/ 7 w 1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7" y="0"/>
                      </a:moveTo>
                      <a:cubicBezTo>
                        <a:pt x="4" y="0"/>
                        <a:pt x="3" y="2"/>
                        <a:pt x="1" y="4"/>
                      </a:cubicBezTo>
                      <a:cubicBezTo>
                        <a:pt x="1" y="4"/>
                        <a:pt x="0" y="3"/>
                        <a:pt x="0" y="3"/>
                      </a:cubicBezTo>
                      <a:cubicBezTo>
                        <a:pt x="0" y="4"/>
                        <a:pt x="3" y="7"/>
                        <a:pt x="4" y="8"/>
                      </a:cubicBezTo>
                      <a:cubicBezTo>
                        <a:pt x="4" y="8"/>
                        <a:pt x="4" y="8"/>
                        <a:pt x="4" y="8"/>
                      </a:cubicBezTo>
                      <a:cubicBezTo>
                        <a:pt x="7" y="8"/>
                        <a:pt x="12" y="3"/>
                        <a:pt x="9"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3" name="Freeform 51">
                  <a:extLst>
                    <a:ext uri="{FF2B5EF4-FFF2-40B4-BE49-F238E27FC236}">
                      <a16:creationId xmlns:a16="http://schemas.microsoft.com/office/drawing/2014/main" id="{DF1C6D7C-CA60-4AA6-83E2-A3115D0C81D2}"/>
                    </a:ext>
                  </a:extLst>
                </p:cNvPr>
                <p:cNvSpPr>
                  <a:spLocks/>
                </p:cNvSpPr>
                <p:nvPr/>
              </p:nvSpPr>
              <p:spPr bwMode="auto">
                <a:xfrm>
                  <a:off x="3707227" y="2940723"/>
                  <a:ext cx="95813" cy="73702"/>
                </a:xfrm>
                <a:custGeom>
                  <a:avLst/>
                  <a:gdLst>
                    <a:gd name="T0" fmla="*/ 26 w 30"/>
                    <a:gd name="T1" fmla="*/ 0 h 24"/>
                    <a:gd name="T2" fmla="*/ 24 w 30"/>
                    <a:gd name="T3" fmla="*/ 0 h 24"/>
                    <a:gd name="T4" fmla="*/ 16 w 30"/>
                    <a:gd name="T5" fmla="*/ 5 h 24"/>
                    <a:gd name="T6" fmla="*/ 13 w 30"/>
                    <a:gd name="T7" fmla="*/ 6 h 24"/>
                    <a:gd name="T8" fmla="*/ 7 w 30"/>
                    <a:gd name="T9" fmla="*/ 12 h 24"/>
                    <a:gd name="T10" fmla="*/ 5 w 30"/>
                    <a:gd name="T11" fmla="*/ 10 h 24"/>
                    <a:gd name="T12" fmla="*/ 4 w 30"/>
                    <a:gd name="T13" fmla="*/ 10 h 24"/>
                    <a:gd name="T14" fmla="*/ 2 w 30"/>
                    <a:gd name="T15" fmla="*/ 20 h 24"/>
                    <a:gd name="T16" fmla="*/ 11 w 30"/>
                    <a:gd name="T17" fmla="*/ 24 h 24"/>
                    <a:gd name="T18" fmla="*/ 15 w 30"/>
                    <a:gd name="T19" fmla="*/ 24 h 24"/>
                    <a:gd name="T20" fmla="*/ 14 w 30"/>
                    <a:gd name="T21" fmla="*/ 18 h 24"/>
                    <a:gd name="T22" fmla="*/ 16 w 30"/>
                    <a:gd name="T23" fmla="*/ 17 h 24"/>
                    <a:gd name="T24" fmla="*/ 17 w 30"/>
                    <a:gd name="T25" fmla="*/ 22 h 24"/>
                    <a:gd name="T26" fmla="*/ 17 w 30"/>
                    <a:gd name="T27" fmla="*/ 23 h 24"/>
                    <a:gd name="T28" fmla="*/ 23 w 30"/>
                    <a:gd name="T29" fmla="*/ 18 h 24"/>
                    <a:gd name="T30" fmla="*/ 17 w 30"/>
                    <a:gd name="T31" fmla="*/ 16 h 24"/>
                    <a:gd name="T32" fmla="*/ 16 w 30"/>
                    <a:gd name="T33" fmla="*/ 16 h 24"/>
                    <a:gd name="T34" fmla="*/ 23 w 30"/>
                    <a:gd name="T35" fmla="*/ 11 h 24"/>
                    <a:gd name="T36" fmla="*/ 27 w 30"/>
                    <a:gd name="T37" fmla="*/ 12 h 24"/>
                    <a:gd name="T38" fmla="*/ 29 w 30"/>
                    <a:gd name="T39" fmla="*/ 11 h 24"/>
                    <a:gd name="T40" fmla="*/ 28 w 30"/>
                    <a:gd name="T41" fmla="*/ 4 h 24"/>
                    <a:gd name="T42" fmla="*/ 26 w 30"/>
                    <a:gd name="T4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24">
                      <a:moveTo>
                        <a:pt x="26" y="0"/>
                      </a:moveTo>
                      <a:cubicBezTo>
                        <a:pt x="26" y="0"/>
                        <a:pt x="25" y="0"/>
                        <a:pt x="24" y="0"/>
                      </a:cubicBezTo>
                      <a:cubicBezTo>
                        <a:pt x="21" y="1"/>
                        <a:pt x="19" y="4"/>
                        <a:pt x="16" y="5"/>
                      </a:cubicBezTo>
                      <a:cubicBezTo>
                        <a:pt x="15" y="6"/>
                        <a:pt x="14" y="5"/>
                        <a:pt x="13" y="6"/>
                      </a:cubicBezTo>
                      <a:cubicBezTo>
                        <a:pt x="11" y="7"/>
                        <a:pt x="9" y="11"/>
                        <a:pt x="7" y="12"/>
                      </a:cubicBezTo>
                      <a:cubicBezTo>
                        <a:pt x="8" y="12"/>
                        <a:pt x="6" y="10"/>
                        <a:pt x="5" y="10"/>
                      </a:cubicBezTo>
                      <a:cubicBezTo>
                        <a:pt x="5" y="10"/>
                        <a:pt x="5" y="10"/>
                        <a:pt x="4" y="10"/>
                      </a:cubicBezTo>
                      <a:cubicBezTo>
                        <a:pt x="0" y="11"/>
                        <a:pt x="4" y="18"/>
                        <a:pt x="2" y="20"/>
                      </a:cubicBezTo>
                      <a:cubicBezTo>
                        <a:pt x="5" y="21"/>
                        <a:pt x="8" y="22"/>
                        <a:pt x="11" y="24"/>
                      </a:cubicBezTo>
                      <a:cubicBezTo>
                        <a:pt x="12" y="24"/>
                        <a:pt x="13" y="24"/>
                        <a:pt x="15" y="24"/>
                      </a:cubicBezTo>
                      <a:cubicBezTo>
                        <a:pt x="13" y="21"/>
                        <a:pt x="11" y="20"/>
                        <a:pt x="14" y="18"/>
                      </a:cubicBezTo>
                      <a:cubicBezTo>
                        <a:pt x="15" y="17"/>
                        <a:pt x="15" y="17"/>
                        <a:pt x="16" y="17"/>
                      </a:cubicBezTo>
                      <a:cubicBezTo>
                        <a:pt x="17" y="17"/>
                        <a:pt x="17" y="20"/>
                        <a:pt x="17" y="22"/>
                      </a:cubicBezTo>
                      <a:cubicBezTo>
                        <a:pt x="17" y="23"/>
                        <a:pt x="17" y="23"/>
                        <a:pt x="17" y="23"/>
                      </a:cubicBezTo>
                      <a:cubicBezTo>
                        <a:pt x="19" y="23"/>
                        <a:pt x="23" y="19"/>
                        <a:pt x="23" y="18"/>
                      </a:cubicBezTo>
                      <a:cubicBezTo>
                        <a:pt x="22" y="17"/>
                        <a:pt x="20" y="16"/>
                        <a:pt x="17" y="16"/>
                      </a:cubicBezTo>
                      <a:cubicBezTo>
                        <a:pt x="17" y="16"/>
                        <a:pt x="17" y="16"/>
                        <a:pt x="16" y="16"/>
                      </a:cubicBezTo>
                      <a:cubicBezTo>
                        <a:pt x="19" y="15"/>
                        <a:pt x="25" y="15"/>
                        <a:pt x="23" y="11"/>
                      </a:cubicBezTo>
                      <a:cubicBezTo>
                        <a:pt x="24" y="11"/>
                        <a:pt x="25" y="12"/>
                        <a:pt x="27" y="12"/>
                      </a:cubicBezTo>
                      <a:cubicBezTo>
                        <a:pt x="27" y="12"/>
                        <a:pt x="28" y="12"/>
                        <a:pt x="29" y="11"/>
                      </a:cubicBezTo>
                      <a:cubicBezTo>
                        <a:pt x="30" y="9"/>
                        <a:pt x="29" y="5"/>
                        <a:pt x="28" y="4"/>
                      </a:cubicBezTo>
                      <a:cubicBezTo>
                        <a:pt x="28" y="2"/>
                        <a:pt x="29"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4" name="Freeform 52">
                  <a:extLst>
                    <a:ext uri="{FF2B5EF4-FFF2-40B4-BE49-F238E27FC236}">
                      <a16:creationId xmlns:a16="http://schemas.microsoft.com/office/drawing/2014/main" id="{28E040D0-703F-41DD-92CC-002997CFDB88}"/>
                    </a:ext>
                  </a:extLst>
                </p:cNvPr>
                <p:cNvSpPr>
                  <a:spLocks/>
                </p:cNvSpPr>
                <p:nvPr/>
              </p:nvSpPr>
              <p:spPr bwMode="auto">
                <a:xfrm>
                  <a:off x="3773559" y="3124979"/>
                  <a:ext cx="22111" cy="14740"/>
                </a:xfrm>
                <a:custGeom>
                  <a:avLst/>
                  <a:gdLst>
                    <a:gd name="T0" fmla="*/ 2 w 7"/>
                    <a:gd name="T1" fmla="*/ 0 h 5"/>
                    <a:gd name="T2" fmla="*/ 4 w 7"/>
                    <a:gd name="T3" fmla="*/ 5 h 5"/>
                    <a:gd name="T4" fmla="*/ 2 w 7"/>
                    <a:gd name="T5" fmla="*/ 0 h 5"/>
                  </a:gdLst>
                  <a:ahLst/>
                  <a:cxnLst>
                    <a:cxn ang="0">
                      <a:pos x="T0" y="T1"/>
                    </a:cxn>
                    <a:cxn ang="0">
                      <a:pos x="T2" y="T3"/>
                    </a:cxn>
                    <a:cxn ang="0">
                      <a:pos x="T4" y="T5"/>
                    </a:cxn>
                  </a:cxnLst>
                  <a:rect l="0" t="0" r="r" b="b"/>
                  <a:pathLst>
                    <a:path w="7" h="5">
                      <a:moveTo>
                        <a:pt x="2" y="0"/>
                      </a:moveTo>
                      <a:cubicBezTo>
                        <a:pt x="1" y="0"/>
                        <a:pt x="0" y="2"/>
                        <a:pt x="4" y="5"/>
                      </a:cubicBezTo>
                      <a:cubicBezTo>
                        <a:pt x="7"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5" name="Freeform 53">
                  <a:extLst>
                    <a:ext uri="{FF2B5EF4-FFF2-40B4-BE49-F238E27FC236}">
                      <a16:creationId xmlns:a16="http://schemas.microsoft.com/office/drawing/2014/main" id="{7B923D09-7992-485C-A516-B3AAE60079E2}"/>
                    </a:ext>
                  </a:extLst>
                </p:cNvPr>
                <p:cNvSpPr>
                  <a:spLocks/>
                </p:cNvSpPr>
                <p:nvPr/>
              </p:nvSpPr>
              <p:spPr bwMode="auto">
                <a:xfrm>
                  <a:off x="3777244" y="3176570"/>
                  <a:ext cx="77387" cy="47907"/>
                </a:xfrm>
                <a:custGeom>
                  <a:avLst/>
                  <a:gdLst>
                    <a:gd name="T0" fmla="*/ 8 w 24"/>
                    <a:gd name="T1" fmla="*/ 0 h 15"/>
                    <a:gd name="T2" fmla="*/ 7 w 24"/>
                    <a:gd name="T3" fmla="*/ 0 h 15"/>
                    <a:gd name="T4" fmla="*/ 3 w 24"/>
                    <a:gd name="T5" fmla="*/ 1 h 15"/>
                    <a:gd name="T6" fmla="*/ 5 w 24"/>
                    <a:gd name="T7" fmla="*/ 5 h 15"/>
                    <a:gd name="T8" fmla="*/ 9 w 24"/>
                    <a:gd name="T9" fmla="*/ 6 h 15"/>
                    <a:gd name="T10" fmla="*/ 11 w 24"/>
                    <a:gd name="T11" fmla="*/ 6 h 15"/>
                    <a:gd name="T12" fmla="*/ 8 w 24"/>
                    <a:gd name="T13" fmla="*/ 11 h 15"/>
                    <a:gd name="T14" fmla="*/ 4 w 24"/>
                    <a:gd name="T15" fmla="*/ 15 h 15"/>
                    <a:gd name="T16" fmla="*/ 14 w 24"/>
                    <a:gd name="T17" fmla="*/ 12 h 15"/>
                    <a:gd name="T18" fmla="*/ 15 w 24"/>
                    <a:gd name="T19" fmla="*/ 12 h 15"/>
                    <a:gd name="T20" fmla="*/ 16 w 24"/>
                    <a:gd name="T21" fmla="*/ 12 h 15"/>
                    <a:gd name="T22" fmla="*/ 16 w 24"/>
                    <a:gd name="T23" fmla="*/ 12 h 15"/>
                    <a:gd name="T24" fmla="*/ 17 w 24"/>
                    <a:gd name="T25" fmla="*/ 13 h 15"/>
                    <a:gd name="T26" fmla="*/ 17 w 24"/>
                    <a:gd name="T27" fmla="*/ 13 h 15"/>
                    <a:gd name="T28" fmla="*/ 20 w 24"/>
                    <a:gd name="T29" fmla="*/ 11 h 15"/>
                    <a:gd name="T30" fmla="*/ 15 w 24"/>
                    <a:gd name="T31" fmla="*/ 5 h 15"/>
                    <a:gd name="T32" fmla="*/ 10 w 24"/>
                    <a:gd name="T33" fmla="*/ 1 h 15"/>
                    <a:gd name="T34" fmla="*/ 8 w 24"/>
                    <a:gd name="T3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5">
                      <a:moveTo>
                        <a:pt x="8" y="0"/>
                      </a:moveTo>
                      <a:cubicBezTo>
                        <a:pt x="7" y="0"/>
                        <a:pt x="7" y="0"/>
                        <a:pt x="7" y="0"/>
                      </a:cubicBezTo>
                      <a:cubicBezTo>
                        <a:pt x="6" y="0"/>
                        <a:pt x="4" y="1"/>
                        <a:pt x="3" y="1"/>
                      </a:cubicBezTo>
                      <a:cubicBezTo>
                        <a:pt x="2" y="4"/>
                        <a:pt x="4" y="3"/>
                        <a:pt x="5" y="5"/>
                      </a:cubicBezTo>
                      <a:cubicBezTo>
                        <a:pt x="6" y="6"/>
                        <a:pt x="8" y="6"/>
                        <a:pt x="9" y="6"/>
                      </a:cubicBezTo>
                      <a:cubicBezTo>
                        <a:pt x="10" y="6"/>
                        <a:pt x="11" y="6"/>
                        <a:pt x="11" y="6"/>
                      </a:cubicBezTo>
                      <a:cubicBezTo>
                        <a:pt x="12" y="9"/>
                        <a:pt x="12" y="11"/>
                        <a:pt x="8" y="11"/>
                      </a:cubicBezTo>
                      <a:cubicBezTo>
                        <a:pt x="5" y="12"/>
                        <a:pt x="0" y="11"/>
                        <a:pt x="4" y="15"/>
                      </a:cubicBezTo>
                      <a:cubicBezTo>
                        <a:pt x="7" y="14"/>
                        <a:pt x="11" y="13"/>
                        <a:pt x="14" y="12"/>
                      </a:cubicBezTo>
                      <a:cubicBezTo>
                        <a:pt x="14" y="12"/>
                        <a:pt x="15" y="12"/>
                        <a:pt x="15" y="12"/>
                      </a:cubicBezTo>
                      <a:cubicBezTo>
                        <a:pt x="15" y="12"/>
                        <a:pt x="16" y="12"/>
                        <a:pt x="16" y="12"/>
                      </a:cubicBezTo>
                      <a:cubicBezTo>
                        <a:pt x="16" y="12"/>
                        <a:pt x="16" y="12"/>
                        <a:pt x="16" y="12"/>
                      </a:cubicBezTo>
                      <a:cubicBezTo>
                        <a:pt x="16" y="13"/>
                        <a:pt x="16" y="13"/>
                        <a:pt x="17" y="13"/>
                      </a:cubicBezTo>
                      <a:cubicBezTo>
                        <a:pt x="17" y="13"/>
                        <a:pt x="17" y="13"/>
                        <a:pt x="17" y="13"/>
                      </a:cubicBezTo>
                      <a:cubicBezTo>
                        <a:pt x="18" y="13"/>
                        <a:pt x="20" y="12"/>
                        <a:pt x="20" y="11"/>
                      </a:cubicBezTo>
                      <a:cubicBezTo>
                        <a:pt x="24" y="7"/>
                        <a:pt x="18" y="6"/>
                        <a:pt x="15" y="5"/>
                      </a:cubicBezTo>
                      <a:cubicBezTo>
                        <a:pt x="12" y="4"/>
                        <a:pt x="12" y="1"/>
                        <a:pt x="10"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6" name="Freeform 54">
                  <a:extLst>
                    <a:ext uri="{FF2B5EF4-FFF2-40B4-BE49-F238E27FC236}">
                      <a16:creationId xmlns:a16="http://schemas.microsoft.com/office/drawing/2014/main" id="{963783FD-34DD-4BF2-B1DE-C5395F23AF8E}"/>
                    </a:ext>
                  </a:extLst>
                </p:cNvPr>
                <p:cNvSpPr>
                  <a:spLocks/>
                </p:cNvSpPr>
                <p:nvPr/>
              </p:nvSpPr>
              <p:spPr bwMode="auto">
                <a:xfrm>
                  <a:off x="3674061" y="3047591"/>
                  <a:ext cx="44221" cy="18426"/>
                </a:xfrm>
                <a:custGeom>
                  <a:avLst/>
                  <a:gdLst>
                    <a:gd name="T0" fmla="*/ 1 w 13"/>
                    <a:gd name="T1" fmla="*/ 0 h 6"/>
                    <a:gd name="T2" fmla="*/ 6 w 13"/>
                    <a:gd name="T3" fmla="*/ 4 h 6"/>
                    <a:gd name="T4" fmla="*/ 8 w 13"/>
                    <a:gd name="T5" fmla="*/ 6 h 6"/>
                    <a:gd name="T6" fmla="*/ 9 w 13"/>
                    <a:gd name="T7" fmla="*/ 6 h 6"/>
                    <a:gd name="T8" fmla="*/ 13 w 13"/>
                    <a:gd name="T9" fmla="*/ 1 h 6"/>
                    <a:gd name="T10" fmla="*/ 6 w 13"/>
                    <a:gd name="T11" fmla="*/ 0 h 6"/>
                    <a:gd name="T12" fmla="*/ 5 w 13"/>
                    <a:gd name="T13" fmla="*/ 0 h 6"/>
                    <a:gd name="T14" fmla="*/ 3 w 13"/>
                    <a:gd name="T15" fmla="*/ 0 h 6"/>
                    <a:gd name="T16" fmla="*/ 1 w 1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1" y="0"/>
                      </a:moveTo>
                      <a:cubicBezTo>
                        <a:pt x="0" y="3"/>
                        <a:pt x="4" y="4"/>
                        <a:pt x="6" y="4"/>
                      </a:cubicBezTo>
                      <a:cubicBezTo>
                        <a:pt x="7" y="5"/>
                        <a:pt x="7" y="6"/>
                        <a:pt x="8" y="6"/>
                      </a:cubicBezTo>
                      <a:cubicBezTo>
                        <a:pt x="9" y="6"/>
                        <a:pt x="9" y="6"/>
                        <a:pt x="9" y="6"/>
                      </a:cubicBezTo>
                      <a:cubicBezTo>
                        <a:pt x="12" y="5"/>
                        <a:pt x="12" y="3"/>
                        <a:pt x="13" y="1"/>
                      </a:cubicBezTo>
                      <a:cubicBezTo>
                        <a:pt x="11" y="0"/>
                        <a:pt x="8" y="0"/>
                        <a:pt x="6" y="0"/>
                      </a:cubicBezTo>
                      <a:cubicBezTo>
                        <a:pt x="6" y="0"/>
                        <a:pt x="5" y="0"/>
                        <a:pt x="5" y="0"/>
                      </a:cubicBezTo>
                      <a:cubicBezTo>
                        <a:pt x="4" y="0"/>
                        <a:pt x="4"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7" name="Freeform 55">
                  <a:extLst>
                    <a:ext uri="{FF2B5EF4-FFF2-40B4-BE49-F238E27FC236}">
                      <a16:creationId xmlns:a16="http://schemas.microsoft.com/office/drawing/2014/main" id="{446948D1-F61D-442E-9B2F-06242EA4CB9C}"/>
                    </a:ext>
                  </a:extLst>
                </p:cNvPr>
                <p:cNvSpPr>
                  <a:spLocks/>
                </p:cNvSpPr>
                <p:nvPr/>
              </p:nvSpPr>
              <p:spPr bwMode="auto">
                <a:xfrm>
                  <a:off x="4267364" y="2620118"/>
                  <a:ext cx="25796" cy="22111"/>
                </a:xfrm>
                <a:custGeom>
                  <a:avLst/>
                  <a:gdLst>
                    <a:gd name="T0" fmla="*/ 4 w 8"/>
                    <a:gd name="T1" fmla="*/ 0 h 7"/>
                    <a:gd name="T2" fmla="*/ 2 w 8"/>
                    <a:gd name="T3" fmla="*/ 2 h 7"/>
                    <a:gd name="T4" fmla="*/ 4 w 8"/>
                    <a:gd name="T5" fmla="*/ 7 h 7"/>
                    <a:gd name="T6" fmla="*/ 5 w 8"/>
                    <a:gd name="T7" fmla="*/ 7 h 7"/>
                    <a:gd name="T8" fmla="*/ 5 w 8"/>
                    <a:gd name="T9" fmla="*/ 0 h 7"/>
                    <a:gd name="T10" fmla="*/ 4 w 8"/>
                    <a:gd name="T11" fmla="*/ 0 h 7"/>
                  </a:gdLst>
                  <a:ahLst/>
                  <a:cxnLst>
                    <a:cxn ang="0">
                      <a:pos x="T0" y="T1"/>
                    </a:cxn>
                    <a:cxn ang="0">
                      <a:pos x="T2" y="T3"/>
                    </a:cxn>
                    <a:cxn ang="0">
                      <a:pos x="T4" y="T5"/>
                    </a:cxn>
                    <a:cxn ang="0">
                      <a:pos x="T6" y="T7"/>
                    </a:cxn>
                    <a:cxn ang="0">
                      <a:pos x="T8" y="T9"/>
                    </a:cxn>
                    <a:cxn ang="0">
                      <a:pos x="T10" y="T11"/>
                    </a:cxn>
                  </a:cxnLst>
                  <a:rect l="0" t="0" r="r" b="b"/>
                  <a:pathLst>
                    <a:path w="8" h="7">
                      <a:moveTo>
                        <a:pt x="4" y="0"/>
                      </a:moveTo>
                      <a:cubicBezTo>
                        <a:pt x="3" y="0"/>
                        <a:pt x="3" y="1"/>
                        <a:pt x="2" y="2"/>
                      </a:cubicBezTo>
                      <a:cubicBezTo>
                        <a:pt x="0" y="4"/>
                        <a:pt x="1" y="7"/>
                        <a:pt x="4" y="7"/>
                      </a:cubicBezTo>
                      <a:cubicBezTo>
                        <a:pt x="4" y="7"/>
                        <a:pt x="4" y="7"/>
                        <a:pt x="5" y="7"/>
                      </a:cubicBezTo>
                      <a:cubicBezTo>
                        <a:pt x="5" y="5"/>
                        <a:pt x="8"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8" name="Freeform 56">
                  <a:extLst>
                    <a:ext uri="{FF2B5EF4-FFF2-40B4-BE49-F238E27FC236}">
                      <a16:creationId xmlns:a16="http://schemas.microsoft.com/office/drawing/2014/main" id="{259F9031-47EF-400D-9996-0FC22F813874}"/>
                    </a:ext>
                  </a:extLst>
                </p:cNvPr>
                <p:cNvSpPr>
                  <a:spLocks/>
                </p:cNvSpPr>
                <p:nvPr/>
              </p:nvSpPr>
              <p:spPr bwMode="auto">
                <a:xfrm>
                  <a:off x="4046257" y="2878076"/>
                  <a:ext cx="18426" cy="18426"/>
                </a:xfrm>
                <a:custGeom>
                  <a:avLst/>
                  <a:gdLst>
                    <a:gd name="T0" fmla="*/ 2 w 6"/>
                    <a:gd name="T1" fmla="*/ 0 h 6"/>
                    <a:gd name="T2" fmla="*/ 0 w 6"/>
                    <a:gd name="T3" fmla="*/ 1 h 6"/>
                    <a:gd name="T4" fmla="*/ 5 w 6"/>
                    <a:gd name="T5" fmla="*/ 6 h 6"/>
                    <a:gd name="T6" fmla="*/ 3 w 6"/>
                    <a:gd name="T7" fmla="*/ 1 h 6"/>
                    <a:gd name="T8" fmla="*/ 2 w 6"/>
                    <a:gd name="T9" fmla="*/ 0 h 6"/>
                  </a:gdLst>
                  <a:ahLst/>
                  <a:cxnLst>
                    <a:cxn ang="0">
                      <a:pos x="T0" y="T1"/>
                    </a:cxn>
                    <a:cxn ang="0">
                      <a:pos x="T2" y="T3"/>
                    </a:cxn>
                    <a:cxn ang="0">
                      <a:pos x="T4" y="T5"/>
                    </a:cxn>
                    <a:cxn ang="0">
                      <a:pos x="T6" y="T7"/>
                    </a:cxn>
                    <a:cxn ang="0">
                      <a:pos x="T8" y="T9"/>
                    </a:cxn>
                  </a:cxnLst>
                  <a:rect l="0" t="0" r="r" b="b"/>
                  <a:pathLst>
                    <a:path w="6" h="6">
                      <a:moveTo>
                        <a:pt x="2" y="0"/>
                      </a:moveTo>
                      <a:cubicBezTo>
                        <a:pt x="1" y="0"/>
                        <a:pt x="1" y="0"/>
                        <a:pt x="0" y="1"/>
                      </a:cubicBezTo>
                      <a:cubicBezTo>
                        <a:pt x="2" y="3"/>
                        <a:pt x="4" y="4"/>
                        <a:pt x="5" y="6"/>
                      </a:cubicBezTo>
                      <a:cubicBezTo>
                        <a:pt x="6" y="3"/>
                        <a:pt x="6" y="2"/>
                        <a:pt x="3"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9" name="Freeform 57">
                  <a:extLst>
                    <a:ext uri="{FF2B5EF4-FFF2-40B4-BE49-F238E27FC236}">
                      <a16:creationId xmlns:a16="http://schemas.microsoft.com/office/drawing/2014/main" id="{6545FDEB-DF38-47F2-B14F-652A5FE3C7CB}"/>
                    </a:ext>
                  </a:extLst>
                </p:cNvPr>
                <p:cNvSpPr>
                  <a:spLocks/>
                </p:cNvSpPr>
                <p:nvPr/>
              </p:nvSpPr>
              <p:spPr bwMode="auto">
                <a:xfrm>
                  <a:off x="3791984" y="2914927"/>
                  <a:ext cx="725968" cy="1083424"/>
                </a:xfrm>
                <a:custGeom>
                  <a:avLst/>
                  <a:gdLst>
                    <a:gd name="T0" fmla="*/ 75 w 228"/>
                    <a:gd name="T1" fmla="*/ 2 h 341"/>
                    <a:gd name="T2" fmla="*/ 42 w 228"/>
                    <a:gd name="T3" fmla="*/ 9 h 341"/>
                    <a:gd name="T4" fmla="*/ 31 w 228"/>
                    <a:gd name="T5" fmla="*/ 10 h 341"/>
                    <a:gd name="T6" fmla="*/ 29 w 228"/>
                    <a:gd name="T7" fmla="*/ 17 h 341"/>
                    <a:gd name="T8" fmla="*/ 23 w 228"/>
                    <a:gd name="T9" fmla="*/ 24 h 341"/>
                    <a:gd name="T10" fmla="*/ 23 w 228"/>
                    <a:gd name="T11" fmla="*/ 31 h 341"/>
                    <a:gd name="T12" fmla="*/ 16 w 228"/>
                    <a:gd name="T13" fmla="*/ 35 h 341"/>
                    <a:gd name="T14" fmla="*/ 11 w 228"/>
                    <a:gd name="T15" fmla="*/ 45 h 341"/>
                    <a:gd name="T16" fmla="*/ 22 w 228"/>
                    <a:gd name="T17" fmla="*/ 55 h 341"/>
                    <a:gd name="T18" fmla="*/ 17 w 228"/>
                    <a:gd name="T19" fmla="*/ 64 h 341"/>
                    <a:gd name="T20" fmla="*/ 12 w 228"/>
                    <a:gd name="T21" fmla="*/ 68 h 341"/>
                    <a:gd name="T22" fmla="*/ 16 w 228"/>
                    <a:gd name="T23" fmla="*/ 89 h 341"/>
                    <a:gd name="T24" fmla="*/ 25 w 228"/>
                    <a:gd name="T25" fmla="*/ 87 h 341"/>
                    <a:gd name="T26" fmla="*/ 26 w 228"/>
                    <a:gd name="T27" fmla="*/ 90 h 341"/>
                    <a:gd name="T28" fmla="*/ 15 w 228"/>
                    <a:gd name="T29" fmla="*/ 111 h 341"/>
                    <a:gd name="T30" fmla="*/ 22 w 228"/>
                    <a:gd name="T31" fmla="*/ 115 h 341"/>
                    <a:gd name="T32" fmla="*/ 19 w 228"/>
                    <a:gd name="T33" fmla="*/ 132 h 341"/>
                    <a:gd name="T34" fmla="*/ 22 w 228"/>
                    <a:gd name="T35" fmla="*/ 110 h 341"/>
                    <a:gd name="T36" fmla="*/ 36 w 228"/>
                    <a:gd name="T37" fmla="*/ 99 h 341"/>
                    <a:gd name="T38" fmla="*/ 33 w 228"/>
                    <a:gd name="T39" fmla="*/ 110 h 341"/>
                    <a:gd name="T40" fmla="*/ 45 w 228"/>
                    <a:gd name="T41" fmla="*/ 111 h 341"/>
                    <a:gd name="T42" fmla="*/ 40 w 228"/>
                    <a:gd name="T43" fmla="*/ 120 h 341"/>
                    <a:gd name="T44" fmla="*/ 35 w 228"/>
                    <a:gd name="T45" fmla="*/ 158 h 341"/>
                    <a:gd name="T46" fmla="*/ 53 w 228"/>
                    <a:gd name="T47" fmla="*/ 160 h 341"/>
                    <a:gd name="T48" fmla="*/ 78 w 228"/>
                    <a:gd name="T49" fmla="*/ 149 h 341"/>
                    <a:gd name="T50" fmla="*/ 75 w 228"/>
                    <a:gd name="T51" fmla="*/ 166 h 341"/>
                    <a:gd name="T52" fmla="*/ 89 w 228"/>
                    <a:gd name="T53" fmla="*/ 182 h 341"/>
                    <a:gd name="T54" fmla="*/ 91 w 228"/>
                    <a:gd name="T55" fmla="*/ 202 h 341"/>
                    <a:gd name="T56" fmla="*/ 87 w 228"/>
                    <a:gd name="T57" fmla="*/ 211 h 341"/>
                    <a:gd name="T58" fmla="*/ 59 w 228"/>
                    <a:gd name="T59" fmla="*/ 218 h 341"/>
                    <a:gd name="T60" fmla="*/ 54 w 228"/>
                    <a:gd name="T61" fmla="*/ 222 h 341"/>
                    <a:gd name="T62" fmla="*/ 61 w 228"/>
                    <a:gd name="T63" fmla="*/ 230 h 341"/>
                    <a:gd name="T64" fmla="*/ 32 w 228"/>
                    <a:gd name="T65" fmla="*/ 274 h 341"/>
                    <a:gd name="T66" fmla="*/ 37 w 228"/>
                    <a:gd name="T67" fmla="*/ 279 h 341"/>
                    <a:gd name="T68" fmla="*/ 70 w 228"/>
                    <a:gd name="T69" fmla="*/ 282 h 341"/>
                    <a:gd name="T70" fmla="*/ 89 w 228"/>
                    <a:gd name="T71" fmla="*/ 295 h 341"/>
                    <a:gd name="T72" fmla="*/ 38 w 228"/>
                    <a:gd name="T73" fmla="*/ 320 h 341"/>
                    <a:gd name="T74" fmla="*/ 49 w 228"/>
                    <a:gd name="T75" fmla="*/ 329 h 341"/>
                    <a:gd name="T76" fmla="*/ 63 w 228"/>
                    <a:gd name="T77" fmla="*/ 328 h 341"/>
                    <a:gd name="T78" fmla="*/ 79 w 228"/>
                    <a:gd name="T79" fmla="*/ 315 h 341"/>
                    <a:gd name="T80" fmla="*/ 121 w 228"/>
                    <a:gd name="T81" fmla="*/ 317 h 341"/>
                    <a:gd name="T82" fmla="*/ 125 w 228"/>
                    <a:gd name="T83" fmla="*/ 312 h 341"/>
                    <a:gd name="T84" fmla="*/ 164 w 228"/>
                    <a:gd name="T85" fmla="*/ 311 h 341"/>
                    <a:gd name="T86" fmla="*/ 217 w 228"/>
                    <a:gd name="T87" fmla="*/ 297 h 341"/>
                    <a:gd name="T88" fmla="*/ 214 w 228"/>
                    <a:gd name="T89" fmla="*/ 287 h 341"/>
                    <a:gd name="T90" fmla="*/ 200 w 228"/>
                    <a:gd name="T91" fmla="*/ 283 h 341"/>
                    <a:gd name="T92" fmla="*/ 197 w 228"/>
                    <a:gd name="T93" fmla="*/ 276 h 341"/>
                    <a:gd name="T94" fmla="*/ 208 w 228"/>
                    <a:gd name="T95" fmla="*/ 267 h 341"/>
                    <a:gd name="T96" fmla="*/ 218 w 228"/>
                    <a:gd name="T97" fmla="*/ 264 h 341"/>
                    <a:gd name="T98" fmla="*/ 192 w 228"/>
                    <a:gd name="T99" fmla="*/ 230 h 341"/>
                    <a:gd name="T100" fmla="*/ 181 w 228"/>
                    <a:gd name="T101" fmla="*/ 228 h 341"/>
                    <a:gd name="T102" fmla="*/ 162 w 228"/>
                    <a:gd name="T103" fmla="*/ 200 h 341"/>
                    <a:gd name="T104" fmla="*/ 177 w 228"/>
                    <a:gd name="T105" fmla="*/ 202 h 341"/>
                    <a:gd name="T106" fmla="*/ 142 w 228"/>
                    <a:gd name="T107" fmla="*/ 160 h 341"/>
                    <a:gd name="T108" fmla="*/ 82 w 228"/>
                    <a:gd name="T109" fmla="*/ 108 h 341"/>
                    <a:gd name="T110" fmla="*/ 96 w 228"/>
                    <a:gd name="T111" fmla="*/ 91 h 341"/>
                    <a:gd name="T112" fmla="*/ 126 w 228"/>
                    <a:gd name="T113" fmla="*/ 50 h 341"/>
                    <a:gd name="T114" fmla="*/ 58 w 228"/>
                    <a:gd name="T115" fmla="*/ 49 h 341"/>
                    <a:gd name="T116" fmla="*/ 63 w 228"/>
                    <a:gd name="T117" fmla="*/ 40 h 341"/>
                    <a:gd name="T118" fmla="*/ 75 w 228"/>
                    <a:gd name="T119" fmla="*/ 2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8" h="341">
                      <a:moveTo>
                        <a:pt x="82" y="0"/>
                      </a:moveTo>
                      <a:cubicBezTo>
                        <a:pt x="80" y="0"/>
                        <a:pt x="79" y="2"/>
                        <a:pt x="77" y="3"/>
                      </a:cubicBezTo>
                      <a:cubicBezTo>
                        <a:pt x="77" y="3"/>
                        <a:pt x="77" y="3"/>
                        <a:pt x="77" y="3"/>
                      </a:cubicBezTo>
                      <a:cubicBezTo>
                        <a:pt x="77" y="3"/>
                        <a:pt x="76" y="2"/>
                        <a:pt x="76" y="2"/>
                      </a:cubicBezTo>
                      <a:cubicBezTo>
                        <a:pt x="76" y="2"/>
                        <a:pt x="75" y="2"/>
                        <a:pt x="75" y="2"/>
                      </a:cubicBezTo>
                      <a:cubicBezTo>
                        <a:pt x="75" y="2"/>
                        <a:pt x="75" y="2"/>
                        <a:pt x="75" y="2"/>
                      </a:cubicBezTo>
                      <a:cubicBezTo>
                        <a:pt x="73" y="2"/>
                        <a:pt x="68" y="4"/>
                        <a:pt x="65" y="4"/>
                      </a:cubicBezTo>
                      <a:cubicBezTo>
                        <a:pt x="64" y="4"/>
                        <a:pt x="63" y="4"/>
                        <a:pt x="63" y="3"/>
                      </a:cubicBezTo>
                      <a:cubicBezTo>
                        <a:pt x="60" y="7"/>
                        <a:pt x="54" y="4"/>
                        <a:pt x="50" y="9"/>
                      </a:cubicBezTo>
                      <a:cubicBezTo>
                        <a:pt x="51" y="7"/>
                        <a:pt x="52" y="5"/>
                        <a:pt x="50" y="4"/>
                      </a:cubicBezTo>
                      <a:cubicBezTo>
                        <a:pt x="49" y="4"/>
                        <a:pt x="49" y="4"/>
                        <a:pt x="48" y="4"/>
                      </a:cubicBezTo>
                      <a:cubicBezTo>
                        <a:pt x="46" y="4"/>
                        <a:pt x="44" y="8"/>
                        <a:pt x="42" y="9"/>
                      </a:cubicBezTo>
                      <a:cubicBezTo>
                        <a:pt x="43" y="7"/>
                        <a:pt x="45" y="5"/>
                        <a:pt x="44" y="4"/>
                      </a:cubicBezTo>
                      <a:cubicBezTo>
                        <a:pt x="44" y="3"/>
                        <a:pt x="43" y="3"/>
                        <a:pt x="42" y="3"/>
                      </a:cubicBezTo>
                      <a:cubicBezTo>
                        <a:pt x="41" y="3"/>
                        <a:pt x="41" y="3"/>
                        <a:pt x="40" y="4"/>
                      </a:cubicBezTo>
                      <a:cubicBezTo>
                        <a:pt x="40" y="2"/>
                        <a:pt x="39" y="2"/>
                        <a:pt x="37" y="2"/>
                      </a:cubicBezTo>
                      <a:cubicBezTo>
                        <a:pt x="37" y="2"/>
                        <a:pt x="37" y="2"/>
                        <a:pt x="37" y="2"/>
                      </a:cubicBezTo>
                      <a:cubicBezTo>
                        <a:pt x="34" y="2"/>
                        <a:pt x="32" y="6"/>
                        <a:pt x="31" y="10"/>
                      </a:cubicBezTo>
                      <a:cubicBezTo>
                        <a:pt x="30" y="15"/>
                        <a:pt x="33" y="17"/>
                        <a:pt x="37" y="17"/>
                      </a:cubicBezTo>
                      <a:cubicBezTo>
                        <a:pt x="37" y="17"/>
                        <a:pt x="37" y="17"/>
                        <a:pt x="37" y="17"/>
                      </a:cubicBezTo>
                      <a:cubicBezTo>
                        <a:pt x="36" y="17"/>
                        <a:pt x="35" y="17"/>
                        <a:pt x="34" y="17"/>
                      </a:cubicBezTo>
                      <a:cubicBezTo>
                        <a:pt x="33" y="17"/>
                        <a:pt x="33" y="17"/>
                        <a:pt x="32" y="17"/>
                      </a:cubicBezTo>
                      <a:cubicBezTo>
                        <a:pt x="32" y="17"/>
                        <a:pt x="31" y="17"/>
                        <a:pt x="30" y="17"/>
                      </a:cubicBezTo>
                      <a:cubicBezTo>
                        <a:pt x="30" y="17"/>
                        <a:pt x="30" y="17"/>
                        <a:pt x="29" y="17"/>
                      </a:cubicBezTo>
                      <a:cubicBezTo>
                        <a:pt x="28" y="17"/>
                        <a:pt x="27" y="17"/>
                        <a:pt x="26" y="17"/>
                      </a:cubicBezTo>
                      <a:cubicBezTo>
                        <a:pt x="26" y="17"/>
                        <a:pt x="25" y="17"/>
                        <a:pt x="24" y="17"/>
                      </a:cubicBezTo>
                      <a:cubicBezTo>
                        <a:pt x="25" y="19"/>
                        <a:pt x="26" y="21"/>
                        <a:pt x="28" y="21"/>
                      </a:cubicBezTo>
                      <a:cubicBezTo>
                        <a:pt x="27" y="22"/>
                        <a:pt x="26" y="24"/>
                        <a:pt x="25" y="25"/>
                      </a:cubicBezTo>
                      <a:cubicBezTo>
                        <a:pt x="25" y="24"/>
                        <a:pt x="23" y="23"/>
                        <a:pt x="23" y="23"/>
                      </a:cubicBezTo>
                      <a:cubicBezTo>
                        <a:pt x="23" y="23"/>
                        <a:pt x="22" y="24"/>
                        <a:pt x="23" y="24"/>
                      </a:cubicBezTo>
                      <a:cubicBezTo>
                        <a:pt x="23" y="26"/>
                        <a:pt x="26" y="28"/>
                        <a:pt x="27" y="28"/>
                      </a:cubicBezTo>
                      <a:cubicBezTo>
                        <a:pt x="29" y="30"/>
                        <a:pt x="32" y="31"/>
                        <a:pt x="33" y="34"/>
                      </a:cubicBezTo>
                      <a:cubicBezTo>
                        <a:pt x="30" y="32"/>
                        <a:pt x="27" y="30"/>
                        <a:pt x="24" y="30"/>
                      </a:cubicBezTo>
                      <a:cubicBezTo>
                        <a:pt x="24" y="30"/>
                        <a:pt x="24" y="30"/>
                        <a:pt x="24" y="30"/>
                      </a:cubicBezTo>
                      <a:cubicBezTo>
                        <a:pt x="25" y="32"/>
                        <a:pt x="27" y="32"/>
                        <a:pt x="29" y="34"/>
                      </a:cubicBezTo>
                      <a:cubicBezTo>
                        <a:pt x="27" y="33"/>
                        <a:pt x="25" y="31"/>
                        <a:pt x="23" y="31"/>
                      </a:cubicBezTo>
                      <a:cubicBezTo>
                        <a:pt x="23" y="31"/>
                        <a:pt x="23" y="31"/>
                        <a:pt x="23" y="31"/>
                      </a:cubicBezTo>
                      <a:cubicBezTo>
                        <a:pt x="22" y="32"/>
                        <a:pt x="23" y="33"/>
                        <a:pt x="21" y="33"/>
                      </a:cubicBezTo>
                      <a:cubicBezTo>
                        <a:pt x="21" y="33"/>
                        <a:pt x="21" y="33"/>
                        <a:pt x="21" y="33"/>
                      </a:cubicBezTo>
                      <a:cubicBezTo>
                        <a:pt x="19" y="33"/>
                        <a:pt x="20" y="31"/>
                        <a:pt x="18" y="31"/>
                      </a:cubicBezTo>
                      <a:cubicBezTo>
                        <a:pt x="18" y="31"/>
                        <a:pt x="18" y="31"/>
                        <a:pt x="18" y="31"/>
                      </a:cubicBezTo>
                      <a:cubicBezTo>
                        <a:pt x="16" y="31"/>
                        <a:pt x="17" y="33"/>
                        <a:pt x="16" y="35"/>
                      </a:cubicBezTo>
                      <a:cubicBezTo>
                        <a:pt x="16" y="34"/>
                        <a:pt x="15" y="33"/>
                        <a:pt x="14" y="33"/>
                      </a:cubicBezTo>
                      <a:cubicBezTo>
                        <a:pt x="13" y="33"/>
                        <a:pt x="13" y="33"/>
                        <a:pt x="12" y="33"/>
                      </a:cubicBezTo>
                      <a:cubicBezTo>
                        <a:pt x="10" y="36"/>
                        <a:pt x="18" y="46"/>
                        <a:pt x="21" y="46"/>
                      </a:cubicBezTo>
                      <a:cubicBezTo>
                        <a:pt x="19" y="47"/>
                        <a:pt x="18" y="47"/>
                        <a:pt x="17" y="47"/>
                      </a:cubicBezTo>
                      <a:cubicBezTo>
                        <a:pt x="16" y="47"/>
                        <a:pt x="16" y="47"/>
                        <a:pt x="14" y="46"/>
                      </a:cubicBezTo>
                      <a:cubicBezTo>
                        <a:pt x="13" y="46"/>
                        <a:pt x="12" y="45"/>
                        <a:pt x="11" y="45"/>
                      </a:cubicBezTo>
                      <a:cubicBezTo>
                        <a:pt x="11" y="45"/>
                        <a:pt x="11" y="46"/>
                        <a:pt x="11" y="48"/>
                      </a:cubicBezTo>
                      <a:cubicBezTo>
                        <a:pt x="11" y="52"/>
                        <a:pt x="17" y="51"/>
                        <a:pt x="18" y="53"/>
                      </a:cubicBezTo>
                      <a:cubicBezTo>
                        <a:pt x="19" y="53"/>
                        <a:pt x="19" y="53"/>
                        <a:pt x="19" y="53"/>
                      </a:cubicBezTo>
                      <a:cubicBezTo>
                        <a:pt x="17" y="54"/>
                        <a:pt x="15" y="54"/>
                        <a:pt x="14" y="56"/>
                      </a:cubicBezTo>
                      <a:cubicBezTo>
                        <a:pt x="16" y="57"/>
                        <a:pt x="17" y="57"/>
                        <a:pt x="18" y="57"/>
                      </a:cubicBezTo>
                      <a:cubicBezTo>
                        <a:pt x="19" y="57"/>
                        <a:pt x="20" y="56"/>
                        <a:pt x="22" y="55"/>
                      </a:cubicBezTo>
                      <a:cubicBezTo>
                        <a:pt x="20" y="58"/>
                        <a:pt x="16" y="58"/>
                        <a:pt x="16" y="61"/>
                      </a:cubicBezTo>
                      <a:cubicBezTo>
                        <a:pt x="16" y="63"/>
                        <a:pt x="19" y="64"/>
                        <a:pt x="21" y="64"/>
                      </a:cubicBezTo>
                      <a:cubicBezTo>
                        <a:pt x="22" y="64"/>
                        <a:pt x="23" y="64"/>
                        <a:pt x="24" y="64"/>
                      </a:cubicBezTo>
                      <a:cubicBezTo>
                        <a:pt x="22" y="64"/>
                        <a:pt x="22" y="64"/>
                        <a:pt x="21" y="64"/>
                      </a:cubicBezTo>
                      <a:cubicBezTo>
                        <a:pt x="20" y="64"/>
                        <a:pt x="20" y="64"/>
                        <a:pt x="19" y="64"/>
                      </a:cubicBezTo>
                      <a:cubicBezTo>
                        <a:pt x="18" y="64"/>
                        <a:pt x="18" y="64"/>
                        <a:pt x="17" y="64"/>
                      </a:cubicBezTo>
                      <a:cubicBezTo>
                        <a:pt x="16" y="64"/>
                        <a:pt x="16" y="64"/>
                        <a:pt x="16" y="64"/>
                      </a:cubicBezTo>
                      <a:cubicBezTo>
                        <a:pt x="10" y="65"/>
                        <a:pt x="16" y="68"/>
                        <a:pt x="20" y="68"/>
                      </a:cubicBezTo>
                      <a:cubicBezTo>
                        <a:pt x="19" y="69"/>
                        <a:pt x="18" y="69"/>
                        <a:pt x="18" y="69"/>
                      </a:cubicBezTo>
                      <a:cubicBezTo>
                        <a:pt x="17" y="69"/>
                        <a:pt x="16" y="69"/>
                        <a:pt x="15" y="68"/>
                      </a:cubicBezTo>
                      <a:cubicBezTo>
                        <a:pt x="15" y="68"/>
                        <a:pt x="14" y="68"/>
                        <a:pt x="13" y="68"/>
                      </a:cubicBezTo>
                      <a:cubicBezTo>
                        <a:pt x="13" y="68"/>
                        <a:pt x="12" y="68"/>
                        <a:pt x="12" y="68"/>
                      </a:cubicBezTo>
                      <a:cubicBezTo>
                        <a:pt x="9" y="70"/>
                        <a:pt x="10" y="75"/>
                        <a:pt x="11" y="77"/>
                      </a:cubicBezTo>
                      <a:cubicBezTo>
                        <a:pt x="10" y="78"/>
                        <a:pt x="10" y="78"/>
                        <a:pt x="10" y="78"/>
                      </a:cubicBezTo>
                      <a:cubicBezTo>
                        <a:pt x="9" y="78"/>
                        <a:pt x="8" y="78"/>
                        <a:pt x="7" y="78"/>
                      </a:cubicBezTo>
                      <a:cubicBezTo>
                        <a:pt x="4" y="78"/>
                        <a:pt x="1" y="78"/>
                        <a:pt x="0" y="80"/>
                      </a:cubicBezTo>
                      <a:cubicBezTo>
                        <a:pt x="3" y="82"/>
                        <a:pt x="7" y="85"/>
                        <a:pt x="10" y="86"/>
                      </a:cubicBezTo>
                      <a:cubicBezTo>
                        <a:pt x="12" y="87"/>
                        <a:pt x="14" y="87"/>
                        <a:pt x="16" y="89"/>
                      </a:cubicBezTo>
                      <a:cubicBezTo>
                        <a:pt x="21" y="85"/>
                        <a:pt x="26" y="80"/>
                        <a:pt x="32" y="76"/>
                      </a:cubicBezTo>
                      <a:cubicBezTo>
                        <a:pt x="32" y="78"/>
                        <a:pt x="32" y="80"/>
                        <a:pt x="34" y="80"/>
                      </a:cubicBezTo>
                      <a:cubicBezTo>
                        <a:pt x="34" y="80"/>
                        <a:pt x="34" y="80"/>
                        <a:pt x="35" y="80"/>
                      </a:cubicBezTo>
                      <a:cubicBezTo>
                        <a:pt x="32" y="81"/>
                        <a:pt x="29" y="82"/>
                        <a:pt x="27" y="83"/>
                      </a:cubicBezTo>
                      <a:cubicBezTo>
                        <a:pt x="26" y="84"/>
                        <a:pt x="25" y="85"/>
                        <a:pt x="23" y="86"/>
                      </a:cubicBezTo>
                      <a:cubicBezTo>
                        <a:pt x="24" y="87"/>
                        <a:pt x="25" y="87"/>
                        <a:pt x="25" y="87"/>
                      </a:cubicBezTo>
                      <a:cubicBezTo>
                        <a:pt x="26" y="87"/>
                        <a:pt x="27" y="86"/>
                        <a:pt x="28" y="86"/>
                      </a:cubicBezTo>
                      <a:cubicBezTo>
                        <a:pt x="26" y="88"/>
                        <a:pt x="23" y="86"/>
                        <a:pt x="22" y="89"/>
                      </a:cubicBezTo>
                      <a:cubicBezTo>
                        <a:pt x="24" y="90"/>
                        <a:pt x="26" y="90"/>
                        <a:pt x="27" y="90"/>
                      </a:cubicBezTo>
                      <a:cubicBezTo>
                        <a:pt x="28" y="90"/>
                        <a:pt x="30" y="90"/>
                        <a:pt x="32" y="88"/>
                      </a:cubicBezTo>
                      <a:cubicBezTo>
                        <a:pt x="30" y="90"/>
                        <a:pt x="29" y="91"/>
                        <a:pt x="28" y="91"/>
                      </a:cubicBezTo>
                      <a:cubicBezTo>
                        <a:pt x="28" y="91"/>
                        <a:pt x="27" y="91"/>
                        <a:pt x="26" y="90"/>
                      </a:cubicBezTo>
                      <a:cubicBezTo>
                        <a:pt x="26" y="90"/>
                        <a:pt x="25" y="90"/>
                        <a:pt x="25" y="90"/>
                      </a:cubicBezTo>
                      <a:cubicBezTo>
                        <a:pt x="24" y="90"/>
                        <a:pt x="23" y="90"/>
                        <a:pt x="22" y="91"/>
                      </a:cubicBezTo>
                      <a:cubicBezTo>
                        <a:pt x="20" y="92"/>
                        <a:pt x="17" y="98"/>
                        <a:pt x="20" y="99"/>
                      </a:cubicBezTo>
                      <a:cubicBezTo>
                        <a:pt x="19" y="100"/>
                        <a:pt x="19" y="102"/>
                        <a:pt x="18" y="103"/>
                      </a:cubicBezTo>
                      <a:cubicBezTo>
                        <a:pt x="18" y="103"/>
                        <a:pt x="19" y="102"/>
                        <a:pt x="20" y="102"/>
                      </a:cubicBezTo>
                      <a:cubicBezTo>
                        <a:pt x="19" y="105"/>
                        <a:pt x="15" y="108"/>
                        <a:pt x="15" y="111"/>
                      </a:cubicBezTo>
                      <a:cubicBezTo>
                        <a:pt x="17" y="110"/>
                        <a:pt x="17" y="108"/>
                        <a:pt x="19" y="107"/>
                      </a:cubicBezTo>
                      <a:cubicBezTo>
                        <a:pt x="18" y="109"/>
                        <a:pt x="16" y="111"/>
                        <a:pt x="15" y="113"/>
                      </a:cubicBezTo>
                      <a:cubicBezTo>
                        <a:pt x="16" y="112"/>
                        <a:pt x="18" y="112"/>
                        <a:pt x="18" y="112"/>
                      </a:cubicBezTo>
                      <a:cubicBezTo>
                        <a:pt x="17" y="114"/>
                        <a:pt x="14" y="117"/>
                        <a:pt x="18" y="117"/>
                      </a:cubicBezTo>
                      <a:cubicBezTo>
                        <a:pt x="19" y="117"/>
                        <a:pt x="19" y="117"/>
                        <a:pt x="19" y="117"/>
                      </a:cubicBezTo>
                      <a:cubicBezTo>
                        <a:pt x="20" y="117"/>
                        <a:pt x="21" y="116"/>
                        <a:pt x="22" y="115"/>
                      </a:cubicBezTo>
                      <a:cubicBezTo>
                        <a:pt x="20" y="119"/>
                        <a:pt x="17" y="120"/>
                        <a:pt x="15" y="124"/>
                      </a:cubicBezTo>
                      <a:cubicBezTo>
                        <a:pt x="15" y="126"/>
                        <a:pt x="15" y="128"/>
                        <a:pt x="15" y="130"/>
                      </a:cubicBezTo>
                      <a:cubicBezTo>
                        <a:pt x="14" y="131"/>
                        <a:pt x="13" y="132"/>
                        <a:pt x="13" y="133"/>
                      </a:cubicBezTo>
                      <a:cubicBezTo>
                        <a:pt x="12" y="135"/>
                        <a:pt x="15" y="136"/>
                        <a:pt x="17" y="136"/>
                      </a:cubicBezTo>
                      <a:cubicBezTo>
                        <a:pt x="18" y="136"/>
                        <a:pt x="19" y="136"/>
                        <a:pt x="20" y="135"/>
                      </a:cubicBezTo>
                      <a:cubicBezTo>
                        <a:pt x="21" y="133"/>
                        <a:pt x="19" y="133"/>
                        <a:pt x="19" y="132"/>
                      </a:cubicBezTo>
                      <a:cubicBezTo>
                        <a:pt x="19" y="130"/>
                        <a:pt x="22" y="127"/>
                        <a:pt x="22" y="126"/>
                      </a:cubicBezTo>
                      <a:cubicBezTo>
                        <a:pt x="22" y="125"/>
                        <a:pt x="21" y="124"/>
                        <a:pt x="22" y="122"/>
                      </a:cubicBezTo>
                      <a:cubicBezTo>
                        <a:pt x="22" y="121"/>
                        <a:pt x="23" y="120"/>
                        <a:pt x="24" y="119"/>
                      </a:cubicBezTo>
                      <a:cubicBezTo>
                        <a:pt x="25" y="118"/>
                        <a:pt x="26" y="119"/>
                        <a:pt x="26" y="117"/>
                      </a:cubicBezTo>
                      <a:cubicBezTo>
                        <a:pt x="26" y="116"/>
                        <a:pt x="24" y="114"/>
                        <a:pt x="24" y="114"/>
                      </a:cubicBezTo>
                      <a:cubicBezTo>
                        <a:pt x="24" y="113"/>
                        <a:pt x="22" y="111"/>
                        <a:pt x="22" y="110"/>
                      </a:cubicBezTo>
                      <a:cubicBezTo>
                        <a:pt x="22" y="109"/>
                        <a:pt x="22" y="108"/>
                        <a:pt x="23" y="108"/>
                      </a:cubicBezTo>
                      <a:cubicBezTo>
                        <a:pt x="23" y="108"/>
                        <a:pt x="23" y="109"/>
                        <a:pt x="23" y="109"/>
                      </a:cubicBezTo>
                      <a:cubicBezTo>
                        <a:pt x="23" y="109"/>
                        <a:pt x="24" y="109"/>
                        <a:pt x="24" y="109"/>
                      </a:cubicBezTo>
                      <a:cubicBezTo>
                        <a:pt x="24" y="109"/>
                        <a:pt x="24" y="109"/>
                        <a:pt x="25" y="108"/>
                      </a:cubicBezTo>
                      <a:cubicBezTo>
                        <a:pt x="26" y="107"/>
                        <a:pt x="28" y="105"/>
                        <a:pt x="30" y="103"/>
                      </a:cubicBezTo>
                      <a:cubicBezTo>
                        <a:pt x="31" y="102"/>
                        <a:pt x="34" y="99"/>
                        <a:pt x="36" y="99"/>
                      </a:cubicBezTo>
                      <a:cubicBezTo>
                        <a:pt x="34" y="100"/>
                        <a:pt x="34" y="101"/>
                        <a:pt x="32" y="103"/>
                      </a:cubicBezTo>
                      <a:cubicBezTo>
                        <a:pt x="31" y="103"/>
                        <a:pt x="30" y="104"/>
                        <a:pt x="29" y="104"/>
                      </a:cubicBezTo>
                      <a:cubicBezTo>
                        <a:pt x="26" y="107"/>
                        <a:pt x="24" y="111"/>
                        <a:pt x="28" y="113"/>
                      </a:cubicBezTo>
                      <a:cubicBezTo>
                        <a:pt x="29" y="112"/>
                        <a:pt x="30" y="111"/>
                        <a:pt x="30" y="110"/>
                      </a:cubicBezTo>
                      <a:cubicBezTo>
                        <a:pt x="30" y="111"/>
                        <a:pt x="32" y="112"/>
                        <a:pt x="32" y="112"/>
                      </a:cubicBezTo>
                      <a:cubicBezTo>
                        <a:pt x="33" y="112"/>
                        <a:pt x="33" y="112"/>
                        <a:pt x="33" y="110"/>
                      </a:cubicBezTo>
                      <a:cubicBezTo>
                        <a:pt x="34" y="112"/>
                        <a:pt x="35" y="114"/>
                        <a:pt x="35" y="114"/>
                      </a:cubicBezTo>
                      <a:cubicBezTo>
                        <a:pt x="36" y="114"/>
                        <a:pt x="36" y="113"/>
                        <a:pt x="37" y="111"/>
                      </a:cubicBezTo>
                      <a:cubicBezTo>
                        <a:pt x="39" y="108"/>
                        <a:pt x="38" y="105"/>
                        <a:pt x="38" y="102"/>
                      </a:cubicBezTo>
                      <a:cubicBezTo>
                        <a:pt x="38" y="103"/>
                        <a:pt x="39" y="104"/>
                        <a:pt x="39" y="104"/>
                      </a:cubicBezTo>
                      <a:cubicBezTo>
                        <a:pt x="40" y="103"/>
                        <a:pt x="41" y="102"/>
                        <a:pt x="42" y="101"/>
                      </a:cubicBezTo>
                      <a:cubicBezTo>
                        <a:pt x="43" y="104"/>
                        <a:pt x="42" y="109"/>
                        <a:pt x="45" y="111"/>
                      </a:cubicBezTo>
                      <a:cubicBezTo>
                        <a:pt x="46" y="111"/>
                        <a:pt x="48" y="111"/>
                        <a:pt x="50" y="112"/>
                      </a:cubicBezTo>
                      <a:cubicBezTo>
                        <a:pt x="49" y="112"/>
                        <a:pt x="49" y="112"/>
                        <a:pt x="49" y="112"/>
                      </a:cubicBezTo>
                      <a:cubicBezTo>
                        <a:pt x="48" y="112"/>
                        <a:pt x="47" y="111"/>
                        <a:pt x="45" y="111"/>
                      </a:cubicBezTo>
                      <a:cubicBezTo>
                        <a:pt x="44" y="111"/>
                        <a:pt x="43" y="110"/>
                        <a:pt x="42" y="110"/>
                      </a:cubicBezTo>
                      <a:cubicBezTo>
                        <a:pt x="41" y="110"/>
                        <a:pt x="41" y="110"/>
                        <a:pt x="41" y="110"/>
                      </a:cubicBezTo>
                      <a:cubicBezTo>
                        <a:pt x="37" y="111"/>
                        <a:pt x="39" y="117"/>
                        <a:pt x="40" y="120"/>
                      </a:cubicBezTo>
                      <a:cubicBezTo>
                        <a:pt x="41" y="125"/>
                        <a:pt x="41" y="122"/>
                        <a:pt x="44" y="124"/>
                      </a:cubicBezTo>
                      <a:cubicBezTo>
                        <a:pt x="49" y="130"/>
                        <a:pt x="41" y="138"/>
                        <a:pt x="38" y="142"/>
                      </a:cubicBezTo>
                      <a:cubicBezTo>
                        <a:pt x="37" y="145"/>
                        <a:pt x="35" y="147"/>
                        <a:pt x="34" y="149"/>
                      </a:cubicBezTo>
                      <a:cubicBezTo>
                        <a:pt x="34" y="150"/>
                        <a:pt x="30" y="150"/>
                        <a:pt x="30" y="151"/>
                      </a:cubicBezTo>
                      <a:cubicBezTo>
                        <a:pt x="30" y="152"/>
                        <a:pt x="32" y="155"/>
                        <a:pt x="32" y="156"/>
                      </a:cubicBezTo>
                      <a:cubicBezTo>
                        <a:pt x="33" y="157"/>
                        <a:pt x="34" y="157"/>
                        <a:pt x="35" y="158"/>
                      </a:cubicBezTo>
                      <a:cubicBezTo>
                        <a:pt x="36" y="160"/>
                        <a:pt x="36" y="163"/>
                        <a:pt x="39" y="163"/>
                      </a:cubicBezTo>
                      <a:cubicBezTo>
                        <a:pt x="38" y="160"/>
                        <a:pt x="35" y="156"/>
                        <a:pt x="38" y="155"/>
                      </a:cubicBezTo>
                      <a:cubicBezTo>
                        <a:pt x="38" y="154"/>
                        <a:pt x="39" y="154"/>
                        <a:pt x="40" y="154"/>
                      </a:cubicBezTo>
                      <a:cubicBezTo>
                        <a:pt x="43" y="154"/>
                        <a:pt x="46" y="158"/>
                        <a:pt x="49" y="160"/>
                      </a:cubicBezTo>
                      <a:cubicBezTo>
                        <a:pt x="50" y="160"/>
                        <a:pt x="51" y="161"/>
                        <a:pt x="51" y="161"/>
                      </a:cubicBezTo>
                      <a:cubicBezTo>
                        <a:pt x="52" y="161"/>
                        <a:pt x="52" y="161"/>
                        <a:pt x="53" y="160"/>
                      </a:cubicBezTo>
                      <a:cubicBezTo>
                        <a:pt x="56" y="157"/>
                        <a:pt x="52" y="157"/>
                        <a:pt x="52" y="155"/>
                      </a:cubicBezTo>
                      <a:cubicBezTo>
                        <a:pt x="52" y="153"/>
                        <a:pt x="52" y="153"/>
                        <a:pt x="53" y="153"/>
                      </a:cubicBezTo>
                      <a:cubicBezTo>
                        <a:pt x="54" y="153"/>
                        <a:pt x="58" y="157"/>
                        <a:pt x="60" y="157"/>
                      </a:cubicBezTo>
                      <a:cubicBezTo>
                        <a:pt x="61" y="158"/>
                        <a:pt x="62" y="158"/>
                        <a:pt x="62" y="158"/>
                      </a:cubicBezTo>
                      <a:cubicBezTo>
                        <a:pt x="66" y="158"/>
                        <a:pt x="70" y="154"/>
                        <a:pt x="73" y="152"/>
                      </a:cubicBezTo>
                      <a:cubicBezTo>
                        <a:pt x="75" y="150"/>
                        <a:pt x="76" y="149"/>
                        <a:pt x="78" y="149"/>
                      </a:cubicBezTo>
                      <a:cubicBezTo>
                        <a:pt x="78" y="149"/>
                        <a:pt x="78" y="149"/>
                        <a:pt x="78" y="149"/>
                      </a:cubicBezTo>
                      <a:cubicBezTo>
                        <a:pt x="82" y="149"/>
                        <a:pt x="87" y="149"/>
                        <a:pt x="91" y="149"/>
                      </a:cubicBezTo>
                      <a:cubicBezTo>
                        <a:pt x="88" y="151"/>
                        <a:pt x="83" y="149"/>
                        <a:pt x="83" y="153"/>
                      </a:cubicBezTo>
                      <a:cubicBezTo>
                        <a:pt x="82" y="152"/>
                        <a:pt x="82" y="152"/>
                        <a:pt x="82" y="152"/>
                      </a:cubicBezTo>
                      <a:cubicBezTo>
                        <a:pt x="80" y="154"/>
                        <a:pt x="80" y="157"/>
                        <a:pt x="78" y="159"/>
                      </a:cubicBezTo>
                      <a:cubicBezTo>
                        <a:pt x="77" y="162"/>
                        <a:pt x="75" y="163"/>
                        <a:pt x="75" y="166"/>
                      </a:cubicBezTo>
                      <a:cubicBezTo>
                        <a:pt x="75" y="167"/>
                        <a:pt x="74" y="167"/>
                        <a:pt x="75" y="168"/>
                      </a:cubicBezTo>
                      <a:cubicBezTo>
                        <a:pt x="75" y="171"/>
                        <a:pt x="79" y="174"/>
                        <a:pt x="80" y="176"/>
                      </a:cubicBezTo>
                      <a:cubicBezTo>
                        <a:pt x="81" y="177"/>
                        <a:pt x="81" y="178"/>
                        <a:pt x="82" y="179"/>
                      </a:cubicBezTo>
                      <a:cubicBezTo>
                        <a:pt x="83" y="180"/>
                        <a:pt x="85" y="183"/>
                        <a:pt x="85" y="183"/>
                      </a:cubicBezTo>
                      <a:cubicBezTo>
                        <a:pt x="86" y="184"/>
                        <a:pt x="87" y="184"/>
                        <a:pt x="87" y="184"/>
                      </a:cubicBezTo>
                      <a:cubicBezTo>
                        <a:pt x="88" y="184"/>
                        <a:pt x="88" y="184"/>
                        <a:pt x="89" y="182"/>
                      </a:cubicBezTo>
                      <a:cubicBezTo>
                        <a:pt x="90" y="180"/>
                        <a:pt x="91" y="180"/>
                        <a:pt x="92" y="180"/>
                      </a:cubicBezTo>
                      <a:cubicBezTo>
                        <a:pt x="93" y="180"/>
                        <a:pt x="94" y="180"/>
                        <a:pt x="96" y="181"/>
                      </a:cubicBezTo>
                      <a:cubicBezTo>
                        <a:pt x="95" y="184"/>
                        <a:pt x="94" y="187"/>
                        <a:pt x="92" y="189"/>
                      </a:cubicBezTo>
                      <a:cubicBezTo>
                        <a:pt x="91" y="191"/>
                        <a:pt x="91" y="191"/>
                        <a:pt x="91" y="191"/>
                      </a:cubicBezTo>
                      <a:cubicBezTo>
                        <a:pt x="90" y="193"/>
                        <a:pt x="92" y="196"/>
                        <a:pt x="93" y="198"/>
                      </a:cubicBezTo>
                      <a:cubicBezTo>
                        <a:pt x="94" y="200"/>
                        <a:pt x="92" y="200"/>
                        <a:pt x="91" y="202"/>
                      </a:cubicBezTo>
                      <a:cubicBezTo>
                        <a:pt x="90" y="203"/>
                        <a:pt x="89" y="204"/>
                        <a:pt x="89" y="204"/>
                      </a:cubicBezTo>
                      <a:cubicBezTo>
                        <a:pt x="89" y="207"/>
                        <a:pt x="96" y="212"/>
                        <a:pt x="97" y="214"/>
                      </a:cubicBezTo>
                      <a:cubicBezTo>
                        <a:pt x="96" y="214"/>
                        <a:pt x="96" y="215"/>
                        <a:pt x="95" y="215"/>
                      </a:cubicBezTo>
                      <a:cubicBezTo>
                        <a:pt x="93" y="215"/>
                        <a:pt x="94" y="211"/>
                        <a:pt x="91" y="210"/>
                      </a:cubicBezTo>
                      <a:cubicBezTo>
                        <a:pt x="91" y="210"/>
                        <a:pt x="91" y="210"/>
                        <a:pt x="91" y="210"/>
                      </a:cubicBezTo>
                      <a:cubicBezTo>
                        <a:pt x="90" y="210"/>
                        <a:pt x="87" y="211"/>
                        <a:pt x="87" y="211"/>
                      </a:cubicBezTo>
                      <a:cubicBezTo>
                        <a:pt x="86" y="212"/>
                        <a:pt x="89" y="215"/>
                        <a:pt x="89" y="216"/>
                      </a:cubicBezTo>
                      <a:cubicBezTo>
                        <a:pt x="86" y="216"/>
                        <a:pt x="82" y="216"/>
                        <a:pt x="78" y="215"/>
                      </a:cubicBezTo>
                      <a:cubicBezTo>
                        <a:pt x="76" y="215"/>
                        <a:pt x="71" y="214"/>
                        <a:pt x="69" y="214"/>
                      </a:cubicBezTo>
                      <a:cubicBezTo>
                        <a:pt x="69" y="214"/>
                        <a:pt x="68" y="214"/>
                        <a:pt x="68" y="214"/>
                      </a:cubicBezTo>
                      <a:cubicBezTo>
                        <a:pt x="67" y="214"/>
                        <a:pt x="66" y="216"/>
                        <a:pt x="65" y="216"/>
                      </a:cubicBezTo>
                      <a:cubicBezTo>
                        <a:pt x="63" y="218"/>
                        <a:pt x="61" y="217"/>
                        <a:pt x="59" y="218"/>
                      </a:cubicBezTo>
                      <a:cubicBezTo>
                        <a:pt x="60" y="217"/>
                        <a:pt x="62" y="216"/>
                        <a:pt x="62" y="215"/>
                      </a:cubicBezTo>
                      <a:cubicBezTo>
                        <a:pt x="60" y="214"/>
                        <a:pt x="58" y="214"/>
                        <a:pt x="57" y="213"/>
                      </a:cubicBezTo>
                      <a:cubicBezTo>
                        <a:pt x="56" y="212"/>
                        <a:pt x="56" y="211"/>
                        <a:pt x="55" y="211"/>
                      </a:cubicBezTo>
                      <a:cubicBezTo>
                        <a:pt x="55" y="210"/>
                        <a:pt x="54" y="210"/>
                        <a:pt x="53" y="210"/>
                      </a:cubicBezTo>
                      <a:cubicBezTo>
                        <a:pt x="51" y="210"/>
                        <a:pt x="49" y="211"/>
                        <a:pt x="48" y="211"/>
                      </a:cubicBezTo>
                      <a:cubicBezTo>
                        <a:pt x="49" y="215"/>
                        <a:pt x="52" y="218"/>
                        <a:pt x="54" y="222"/>
                      </a:cubicBezTo>
                      <a:cubicBezTo>
                        <a:pt x="54" y="221"/>
                        <a:pt x="55" y="221"/>
                        <a:pt x="56" y="220"/>
                      </a:cubicBezTo>
                      <a:cubicBezTo>
                        <a:pt x="55" y="222"/>
                        <a:pt x="54" y="224"/>
                        <a:pt x="53" y="225"/>
                      </a:cubicBezTo>
                      <a:cubicBezTo>
                        <a:pt x="52" y="229"/>
                        <a:pt x="44" y="230"/>
                        <a:pt x="42" y="234"/>
                      </a:cubicBezTo>
                      <a:cubicBezTo>
                        <a:pt x="43" y="234"/>
                        <a:pt x="43" y="234"/>
                        <a:pt x="44" y="234"/>
                      </a:cubicBezTo>
                      <a:cubicBezTo>
                        <a:pt x="48" y="234"/>
                        <a:pt x="50" y="232"/>
                        <a:pt x="53" y="231"/>
                      </a:cubicBezTo>
                      <a:cubicBezTo>
                        <a:pt x="56" y="230"/>
                        <a:pt x="59" y="230"/>
                        <a:pt x="61" y="230"/>
                      </a:cubicBezTo>
                      <a:cubicBezTo>
                        <a:pt x="60" y="234"/>
                        <a:pt x="59" y="234"/>
                        <a:pt x="60" y="239"/>
                      </a:cubicBezTo>
                      <a:cubicBezTo>
                        <a:pt x="61" y="243"/>
                        <a:pt x="60" y="242"/>
                        <a:pt x="65" y="244"/>
                      </a:cubicBezTo>
                      <a:cubicBezTo>
                        <a:pt x="63" y="247"/>
                        <a:pt x="61" y="252"/>
                        <a:pt x="58" y="255"/>
                      </a:cubicBezTo>
                      <a:cubicBezTo>
                        <a:pt x="55" y="257"/>
                        <a:pt x="50" y="258"/>
                        <a:pt x="47" y="260"/>
                      </a:cubicBezTo>
                      <a:cubicBezTo>
                        <a:pt x="40" y="262"/>
                        <a:pt x="33" y="265"/>
                        <a:pt x="27" y="268"/>
                      </a:cubicBezTo>
                      <a:cubicBezTo>
                        <a:pt x="28" y="270"/>
                        <a:pt x="30" y="272"/>
                        <a:pt x="32" y="274"/>
                      </a:cubicBezTo>
                      <a:cubicBezTo>
                        <a:pt x="30" y="274"/>
                        <a:pt x="29" y="274"/>
                        <a:pt x="28" y="275"/>
                      </a:cubicBezTo>
                      <a:cubicBezTo>
                        <a:pt x="29" y="275"/>
                        <a:pt x="30" y="276"/>
                        <a:pt x="30" y="277"/>
                      </a:cubicBezTo>
                      <a:cubicBezTo>
                        <a:pt x="33" y="276"/>
                        <a:pt x="36" y="274"/>
                        <a:pt x="40" y="273"/>
                      </a:cubicBezTo>
                      <a:cubicBezTo>
                        <a:pt x="38" y="277"/>
                        <a:pt x="35" y="277"/>
                        <a:pt x="32" y="277"/>
                      </a:cubicBezTo>
                      <a:cubicBezTo>
                        <a:pt x="34" y="278"/>
                        <a:pt x="34" y="279"/>
                        <a:pt x="35" y="279"/>
                      </a:cubicBezTo>
                      <a:cubicBezTo>
                        <a:pt x="36" y="279"/>
                        <a:pt x="36" y="279"/>
                        <a:pt x="37" y="279"/>
                      </a:cubicBezTo>
                      <a:cubicBezTo>
                        <a:pt x="40" y="278"/>
                        <a:pt x="42" y="276"/>
                        <a:pt x="45" y="275"/>
                      </a:cubicBezTo>
                      <a:cubicBezTo>
                        <a:pt x="47" y="274"/>
                        <a:pt x="49" y="274"/>
                        <a:pt x="51" y="274"/>
                      </a:cubicBezTo>
                      <a:cubicBezTo>
                        <a:pt x="51" y="274"/>
                        <a:pt x="51" y="273"/>
                        <a:pt x="52" y="273"/>
                      </a:cubicBezTo>
                      <a:cubicBezTo>
                        <a:pt x="54" y="273"/>
                        <a:pt x="61" y="277"/>
                        <a:pt x="62" y="277"/>
                      </a:cubicBezTo>
                      <a:cubicBezTo>
                        <a:pt x="59" y="278"/>
                        <a:pt x="55" y="278"/>
                        <a:pt x="55" y="281"/>
                      </a:cubicBezTo>
                      <a:cubicBezTo>
                        <a:pt x="60" y="282"/>
                        <a:pt x="65" y="282"/>
                        <a:pt x="70" y="282"/>
                      </a:cubicBezTo>
                      <a:cubicBezTo>
                        <a:pt x="72" y="282"/>
                        <a:pt x="73" y="285"/>
                        <a:pt x="75" y="286"/>
                      </a:cubicBezTo>
                      <a:cubicBezTo>
                        <a:pt x="75" y="286"/>
                        <a:pt x="76" y="286"/>
                        <a:pt x="76" y="286"/>
                      </a:cubicBezTo>
                      <a:cubicBezTo>
                        <a:pt x="77" y="286"/>
                        <a:pt x="78" y="286"/>
                        <a:pt x="79" y="286"/>
                      </a:cubicBezTo>
                      <a:cubicBezTo>
                        <a:pt x="88" y="284"/>
                        <a:pt x="97" y="282"/>
                        <a:pt x="105" y="277"/>
                      </a:cubicBezTo>
                      <a:cubicBezTo>
                        <a:pt x="101" y="282"/>
                        <a:pt x="97" y="286"/>
                        <a:pt x="92" y="290"/>
                      </a:cubicBezTo>
                      <a:cubicBezTo>
                        <a:pt x="89" y="294"/>
                        <a:pt x="94" y="295"/>
                        <a:pt x="89" y="295"/>
                      </a:cubicBezTo>
                      <a:cubicBezTo>
                        <a:pt x="89" y="295"/>
                        <a:pt x="88" y="295"/>
                        <a:pt x="88" y="295"/>
                      </a:cubicBezTo>
                      <a:cubicBezTo>
                        <a:pt x="82" y="295"/>
                        <a:pt x="75" y="294"/>
                        <a:pt x="69" y="294"/>
                      </a:cubicBezTo>
                      <a:cubicBezTo>
                        <a:pt x="66" y="294"/>
                        <a:pt x="63" y="294"/>
                        <a:pt x="61" y="294"/>
                      </a:cubicBezTo>
                      <a:cubicBezTo>
                        <a:pt x="55" y="296"/>
                        <a:pt x="48" y="303"/>
                        <a:pt x="48" y="309"/>
                      </a:cubicBezTo>
                      <a:cubicBezTo>
                        <a:pt x="48" y="314"/>
                        <a:pt x="40" y="316"/>
                        <a:pt x="39" y="320"/>
                      </a:cubicBezTo>
                      <a:cubicBezTo>
                        <a:pt x="39" y="320"/>
                        <a:pt x="38" y="320"/>
                        <a:pt x="38" y="320"/>
                      </a:cubicBezTo>
                      <a:cubicBezTo>
                        <a:pt x="29" y="320"/>
                        <a:pt x="20" y="332"/>
                        <a:pt x="15" y="337"/>
                      </a:cubicBezTo>
                      <a:cubicBezTo>
                        <a:pt x="17" y="337"/>
                        <a:pt x="19" y="337"/>
                        <a:pt x="21" y="337"/>
                      </a:cubicBezTo>
                      <a:cubicBezTo>
                        <a:pt x="24" y="337"/>
                        <a:pt x="26" y="337"/>
                        <a:pt x="28" y="339"/>
                      </a:cubicBezTo>
                      <a:cubicBezTo>
                        <a:pt x="28" y="339"/>
                        <a:pt x="28" y="341"/>
                        <a:pt x="29" y="341"/>
                      </a:cubicBezTo>
                      <a:cubicBezTo>
                        <a:pt x="31" y="339"/>
                        <a:pt x="34" y="335"/>
                        <a:pt x="34" y="333"/>
                      </a:cubicBezTo>
                      <a:cubicBezTo>
                        <a:pt x="39" y="331"/>
                        <a:pt x="44" y="330"/>
                        <a:pt x="49" y="329"/>
                      </a:cubicBezTo>
                      <a:cubicBezTo>
                        <a:pt x="51" y="329"/>
                        <a:pt x="54" y="328"/>
                        <a:pt x="56" y="328"/>
                      </a:cubicBezTo>
                      <a:cubicBezTo>
                        <a:pt x="57" y="328"/>
                        <a:pt x="57" y="328"/>
                        <a:pt x="58" y="328"/>
                      </a:cubicBezTo>
                      <a:cubicBezTo>
                        <a:pt x="58" y="326"/>
                        <a:pt x="58" y="325"/>
                        <a:pt x="58" y="323"/>
                      </a:cubicBezTo>
                      <a:cubicBezTo>
                        <a:pt x="58" y="324"/>
                        <a:pt x="60" y="327"/>
                        <a:pt x="61" y="328"/>
                      </a:cubicBezTo>
                      <a:cubicBezTo>
                        <a:pt x="61" y="328"/>
                        <a:pt x="62" y="328"/>
                        <a:pt x="62" y="328"/>
                      </a:cubicBezTo>
                      <a:cubicBezTo>
                        <a:pt x="62" y="328"/>
                        <a:pt x="63" y="328"/>
                        <a:pt x="63" y="328"/>
                      </a:cubicBezTo>
                      <a:cubicBezTo>
                        <a:pt x="63" y="328"/>
                        <a:pt x="63" y="328"/>
                        <a:pt x="63" y="328"/>
                      </a:cubicBezTo>
                      <a:cubicBezTo>
                        <a:pt x="64" y="328"/>
                        <a:pt x="64" y="328"/>
                        <a:pt x="65" y="328"/>
                      </a:cubicBezTo>
                      <a:cubicBezTo>
                        <a:pt x="67" y="329"/>
                        <a:pt x="68" y="331"/>
                        <a:pt x="70" y="332"/>
                      </a:cubicBezTo>
                      <a:cubicBezTo>
                        <a:pt x="70" y="332"/>
                        <a:pt x="70" y="332"/>
                        <a:pt x="70" y="332"/>
                      </a:cubicBezTo>
                      <a:cubicBezTo>
                        <a:pt x="75" y="332"/>
                        <a:pt x="76" y="324"/>
                        <a:pt x="78" y="321"/>
                      </a:cubicBezTo>
                      <a:cubicBezTo>
                        <a:pt x="78" y="319"/>
                        <a:pt x="80" y="317"/>
                        <a:pt x="79" y="315"/>
                      </a:cubicBezTo>
                      <a:cubicBezTo>
                        <a:pt x="83" y="314"/>
                        <a:pt x="87" y="313"/>
                        <a:pt x="92" y="313"/>
                      </a:cubicBezTo>
                      <a:cubicBezTo>
                        <a:pt x="97" y="313"/>
                        <a:pt x="101" y="314"/>
                        <a:pt x="105" y="317"/>
                      </a:cubicBezTo>
                      <a:cubicBezTo>
                        <a:pt x="106" y="318"/>
                        <a:pt x="107" y="318"/>
                        <a:pt x="107" y="320"/>
                      </a:cubicBezTo>
                      <a:cubicBezTo>
                        <a:pt x="110" y="319"/>
                        <a:pt x="111" y="318"/>
                        <a:pt x="114" y="318"/>
                      </a:cubicBezTo>
                      <a:cubicBezTo>
                        <a:pt x="114" y="318"/>
                        <a:pt x="115" y="318"/>
                        <a:pt x="117" y="318"/>
                      </a:cubicBezTo>
                      <a:cubicBezTo>
                        <a:pt x="118" y="318"/>
                        <a:pt x="120" y="318"/>
                        <a:pt x="121" y="317"/>
                      </a:cubicBezTo>
                      <a:cubicBezTo>
                        <a:pt x="122" y="315"/>
                        <a:pt x="120" y="314"/>
                        <a:pt x="119" y="314"/>
                      </a:cubicBezTo>
                      <a:cubicBezTo>
                        <a:pt x="119" y="314"/>
                        <a:pt x="118" y="314"/>
                        <a:pt x="118" y="314"/>
                      </a:cubicBezTo>
                      <a:cubicBezTo>
                        <a:pt x="119" y="313"/>
                        <a:pt x="120" y="312"/>
                        <a:pt x="122" y="312"/>
                      </a:cubicBezTo>
                      <a:cubicBezTo>
                        <a:pt x="122" y="312"/>
                        <a:pt x="123" y="312"/>
                        <a:pt x="123" y="312"/>
                      </a:cubicBezTo>
                      <a:cubicBezTo>
                        <a:pt x="124" y="312"/>
                        <a:pt x="124" y="312"/>
                        <a:pt x="124" y="312"/>
                      </a:cubicBezTo>
                      <a:cubicBezTo>
                        <a:pt x="124" y="312"/>
                        <a:pt x="125" y="312"/>
                        <a:pt x="125" y="312"/>
                      </a:cubicBezTo>
                      <a:cubicBezTo>
                        <a:pt x="130" y="312"/>
                        <a:pt x="133" y="311"/>
                        <a:pt x="137" y="307"/>
                      </a:cubicBezTo>
                      <a:cubicBezTo>
                        <a:pt x="137" y="307"/>
                        <a:pt x="136" y="306"/>
                        <a:pt x="136" y="306"/>
                      </a:cubicBezTo>
                      <a:cubicBezTo>
                        <a:pt x="139" y="306"/>
                        <a:pt x="143" y="307"/>
                        <a:pt x="147" y="308"/>
                      </a:cubicBezTo>
                      <a:cubicBezTo>
                        <a:pt x="151" y="308"/>
                        <a:pt x="151" y="309"/>
                        <a:pt x="154" y="312"/>
                      </a:cubicBezTo>
                      <a:cubicBezTo>
                        <a:pt x="154" y="313"/>
                        <a:pt x="155" y="313"/>
                        <a:pt x="156" y="313"/>
                      </a:cubicBezTo>
                      <a:cubicBezTo>
                        <a:pt x="158" y="313"/>
                        <a:pt x="161" y="312"/>
                        <a:pt x="164" y="311"/>
                      </a:cubicBezTo>
                      <a:cubicBezTo>
                        <a:pt x="168" y="310"/>
                        <a:pt x="171" y="309"/>
                        <a:pt x="173" y="309"/>
                      </a:cubicBezTo>
                      <a:cubicBezTo>
                        <a:pt x="173" y="309"/>
                        <a:pt x="173" y="309"/>
                        <a:pt x="174" y="309"/>
                      </a:cubicBezTo>
                      <a:cubicBezTo>
                        <a:pt x="177" y="310"/>
                        <a:pt x="181" y="312"/>
                        <a:pt x="184" y="312"/>
                      </a:cubicBezTo>
                      <a:cubicBezTo>
                        <a:pt x="185" y="312"/>
                        <a:pt x="185" y="312"/>
                        <a:pt x="186" y="312"/>
                      </a:cubicBezTo>
                      <a:cubicBezTo>
                        <a:pt x="192" y="310"/>
                        <a:pt x="199" y="307"/>
                        <a:pt x="205" y="304"/>
                      </a:cubicBezTo>
                      <a:cubicBezTo>
                        <a:pt x="208" y="302"/>
                        <a:pt x="215" y="299"/>
                        <a:pt x="217" y="297"/>
                      </a:cubicBezTo>
                      <a:cubicBezTo>
                        <a:pt x="218" y="295"/>
                        <a:pt x="216" y="293"/>
                        <a:pt x="217" y="292"/>
                      </a:cubicBezTo>
                      <a:cubicBezTo>
                        <a:pt x="217" y="292"/>
                        <a:pt x="217" y="292"/>
                        <a:pt x="217" y="292"/>
                      </a:cubicBezTo>
                      <a:cubicBezTo>
                        <a:pt x="217" y="292"/>
                        <a:pt x="217" y="291"/>
                        <a:pt x="217" y="291"/>
                      </a:cubicBezTo>
                      <a:cubicBezTo>
                        <a:pt x="217" y="290"/>
                        <a:pt x="218" y="290"/>
                        <a:pt x="218" y="290"/>
                      </a:cubicBezTo>
                      <a:cubicBezTo>
                        <a:pt x="218" y="290"/>
                        <a:pt x="218" y="290"/>
                        <a:pt x="218" y="290"/>
                      </a:cubicBezTo>
                      <a:cubicBezTo>
                        <a:pt x="218" y="287"/>
                        <a:pt x="218" y="288"/>
                        <a:pt x="214" y="287"/>
                      </a:cubicBezTo>
                      <a:cubicBezTo>
                        <a:pt x="205" y="287"/>
                        <a:pt x="197" y="286"/>
                        <a:pt x="188" y="286"/>
                      </a:cubicBezTo>
                      <a:cubicBezTo>
                        <a:pt x="191" y="284"/>
                        <a:pt x="194" y="283"/>
                        <a:pt x="197" y="283"/>
                      </a:cubicBezTo>
                      <a:cubicBezTo>
                        <a:pt x="197" y="283"/>
                        <a:pt x="198" y="282"/>
                        <a:pt x="198" y="282"/>
                      </a:cubicBezTo>
                      <a:cubicBezTo>
                        <a:pt x="198" y="282"/>
                        <a:pt x="198" y="283"/>
                        <a:pt x="198" y="283"/>
                      </a:cubicBezTo>
                      <a:cubicBezTo>
                        <a:pt x="199" y="283"/>
                        <a:pt x="199" y="283"/>
                        <a:pt x="199" y="283"/>
                      </a:cubicBezTo>
                      <a:cubicBezTo>
                        <a:pt x="199" y="283"/>
                        <a:pt x="200" y="283"/>
                        <a:pt x="200" y="283"/>
                      </a:cubicBezTo>
                      <a:cubicBezTo>
                        <a:pt x="201" y="282"/>
                        <a:pt x="202" y="281"/>
                        <a:pt x="203" y="281"/>
                      </a:cubicBezTo>
                      <a:cubicBezTo>
                        <a:pt x="205" y="278"/>
                        <a:pt x="203" y="276"/>
                        <a:pt x="201" y="276"/>
                      </a:cubicBezTo>
                      <a:cubicBezTo>
                        <a:pt x="201" y="276"/>
                        <a:pt x="200" y="275"/>
                        <a:pt x="200" y="275"/>
                      </a:cubicBezTo>
                      <a:cubicBezTo>
                        <a:pt x="200" y="275"/>
                        <a:pt x="200" y="276"/>
                        <a:pt x="199" y="276"/>
                      </a:cubicBezTo>
                      <a:cubicBezTo>
                        <a:pt x="199" y="276"/>
                        <a:pt x="199" y="276"/>
                        <a:pt x="198" y="276"/>
                      </a:cubicBezTo>
                      <a:cubicBezTo>
                        <a:pt x="198" y="276"/>
                        <a:pt x="198" y="276"/>
                        <a:pt x="197" y="276"/>
                      </a:cubicBezTo>
                      <a:cubicBezTo>
                        <a:pt x="200" y="274"/>
                        <a:pt x="204" y="273"/>
                        <a:pt x="207" y="273"/>
                      </a:cubicBezTo>
                      <a:cubicBezTo>
                        <a:pt x="207" y="273"/>
                        <a:pt x="207" y="273"/>
                        <a:pt x="207" y="273"/>
                      </a:cubicBezTo>
                      <a:cubicBezTo>
                        <a:pt x="207" y="273"/>
                        <a:pt x="207" y="273"/>
                        <a:pt x="207" y="273"/>
                      </a:cubicBezTo>
                      <a:cubicBezTo>
                        <a:pt x="208" y="273"/>
                        <a:pt x="208" y="273"/>
                        <a:pt x="209" y="273"/>
                      </a:cubicBezTo>
                      <a:cubicBezTo>
                        <a:pt x="209" y="273"/>
                        <a:pt x="209" y="273"/>
                        <a:pt x="209" y="273"/>
                      </a:cubicBezTo>
                      <a:cubicBezTo>
                        <a:pt x="215" y="272"/>
                        <a:pt x="211" y="269"/>
                        <a:pt x="208" y="267"/>
                      </a:cubicBezTo>
                      <a:cubicBezTo>
                        <a:pt x="209" y="267"/>
                        <a:pt x="211" y="266"/>
                        <a:pt x="212" y="266"/>
                      </a:cubicBezTo>
                      <a:cubicBezTo>
                        <a:pt x="212" y="266"/>
                        <a:pt x="213" y="266"/>
                        <a:pt x="213" y="266"/>
                      </a:cubicBezTo>
                      <a:cubicBezTo>
                        <a:pt x="212" y="266"/>
                        <a:pt x="211" y="265"/>
                        <a:pt x="210" y="264"/>
                      </a:cubicBezTo>
                      <a:cubicBezTo>
                        <a:pt x="212" y="264"/>
                        <a:pt x="213" y="266"/>
                        <a:pt x="215" y="267"/>
                      </a:cubicBezTo>
                      <a:cubicBezTo>
                        <a:pt x="215" y="267"/>
                        <a:pt x="215" y="267"/>
                        <a:pt x="215" y="267"/>
                      </a:cubicBezTo>
                      <a:cubicBezTo>
                        <a:pt x="216" y="267"/>
                        <a:pt x="217" y="266"/>
                        <a:pt x="218" y="264"/>
                      </a:cubicBezTo>
                      <a:cubicBezTo>
                        <a:pt x="219" y="264"/>
                        <a:pt x="221" y="262"/>
                        <a:pt x="222" y="262"/>
                      </a:cubicBezTo>
                      <a:cubicBezTo>
                        <a:pt x="225" y="259"/>
                        <a:pt x="227" y="249"/>
                        <a:pt x="227" y="244"/>
                      </a:cubicBezTo>
                      <a:cubicBezTo>
                        <a:pt x="228" y="237"/>
                        <a:pt x="223" y="234"/>
                        <a:pt x="218" y="231"/>
                      </a:cubicBezTo>
                      <a:cubicBezTo>
                        <a:pt x="213" y="228"/>
                        <a:pt x="206" y="227"/>
                        <a:pt x="200" y="227"/>
                      </a:cubicBezTo>
                      <a:cubicBezTo>
                        <a:pt x="199" y="227"/>
                        <a:pt x="198" y="227"/>
                        <a:pt x="198" y="227"/>
                      </a:cubicBezTo>
                      <a:cubicBezTo>
                        <a:pt x="195" y="227"/>
                        <a:pt x="194" y="229"/>
                        <a:pt x="192" y="230"/>
                      </a:cubicBezTo>
                      <a:cubicBezTo>
                        <a:pt x="189" y="231"/>
                        <a:pt x="187" y="233"/>
                        <a:pt x="185" y="234"/>
                      </a:cubicBezTo>
                      <a:cubicBezTo>
                        <a:pt x="185" y="234"/>
                        <a:pt x="185" y="234"/>
                        <a:pt x="185" y="234"/>
                      </a:cubicBezTo>
                      <a:cubicBezTo>
                        <a:pt x="184" y="234"/>
                        <a:pt x="182" y="232"/>
                        <a:pt x="181" y="232"/>
                      </a:cubicBezTo>
                      <a:cubicBezTo>
                        <a:pt x="180" y="231"/>
                        <a:pt x="180" y="231"/>
                        <a:pt x="179" y="231"/>
                      </a:cubicBezTo>
                      <a:cubicBezTo>
                        <a:pt x="179" y="231"/>
                        <a:pt x="178" y="231"/>
                        <a:pt x="178" y="231"/>
                      </a:cubicBezTo>
                      <a:cubicBezTo>
                        <a:pt x="178" y="230"/>
                        <a:pt x="180" y="229"/>
                        <a:pt x="181" y="228"/>
                      </a:cubicBezTo>
                      <a:cubicBezTo>
                        <a:pt x="182" y="226"/>
                        <a:pt x="184" y="225"/>
                        <a:pt x="186" y="223"/>
                      </a:cubicBezTo>
                      <a:cubicBezTo>
                        <a:pt x="190" y="218"/>
                        <a:pt x="178" y="207"/>
                        <a:pt x="173" y="203"/>
                      </a:cubicBezTo>
                      <a:cubicBezTo>
                        <a:pt x="171" y="201"/>
                        <a:pt x="170" y="199"/>
                        <a:pt x="167" y="199"/>
                      </a:cubicBezTo>
                      <a:cubicBezTo>
                        <a:pt x="167" y="199"/>
                        <a:pt x="167" y="199"/>
                        <a:pt x="167" y="199"/>
                      </a:cubicBezTo>
                      <a:cubicBezTo>
                        <a:pt x="166" y="199"/>
                        <a:pt x="165" y="199"/>
                        <a:pt x="164" y="200"/>
                      </a:cubicBezTo>
                      <a:cubicBezTo>
                        <a:pt x="164" y="200"/>
                        <a:pt x="163" y="200"/>
                        <a:pt x="162" y="200"/>
                      </a:cubicBezTo>
                      <a:cubicBezTo>
                        <a:pt x="162" y="200"/>
                        <a:pt x="161" y="200"/>
                        <a:pt x="160" y="199"/>
                      </a:cubicBezTo>
                      <a:cubicBezTo>
                        <a:pt x="163" y="199"/>
                        <a:pt x="165" y="198"/>
                        <a:pt x="167" y="198"/>
                      </a:cubicBezTo>
                      <a:cubicBezTo>
                        <a:pt x="169" y="198"/>
                        <a:pt x="170" y="198"/>
                        <a:pt x="171" y="199"/>
                      </a:cubicBezTo>
                      <a:cubicBezTo>
                        <a:pt x="173" y="200"/>
                        <a:pt x="173" y="202"/>
                        <a:pt x="175" y="202"/>
                      </a:cubicBezTo>
                      <a:cubicBezTo>
                        <a:pt x="175" y="202"/>
                        <a:pt x="175" y="202"/>
                        <a:pt x="176" y="202"/>
                      </a:cubicBezTo>
                      <a:cubicBezTo>
                        <a:pt x="176" y="202"/>
                        <a:pt x="177" y="202"/>
                        <a:pt x="177" y="202"/>
                      </a:cubicBezTo>
                      <a:cubicBezTo>
                        <a:pt x="178" y="202"/>
                        <a:pt x="178" y="202"/>
                        <a:pt x="179" y="202"/>
                      </a:cubicBezTo>
                      <a:cubicBezTo>
                        <a:pt x="179" y="202"/>
                        <a:pt x="180" y="202"/>
                        <a:pt x="180" y="203"/>
                      </a:cubicBezTo>
                      <a:cubicBezTo>
                        <a:pt x="178" y="196"/>
                        <a:pt x="176" y="187"/>
                        <a:pt x="172" y="182"/>
                      </a:cubicBezTo>
                      <a:cubicBezTo>
                        <a:pt x="169" y="179"/>
                        <a:pt x="166" y="176"/>
                        <a:pt x="163" y="173"/>
                      </a:cubicBezTo>
                      <a:cubicBezTo>
                        <a:pt x="161" y="171"/>
                        <a:pt x="158" y="167"/>
                        <a:pt x="155" y="166"/>
                      </a:cubicBezTo>
                      <a:cubicBezTo>
                        <a:pt x="151" y="164"/>
                        <a:pt x="147" y="162"/>
                        <a:pt x="142" y="160"/>
                      </a:cubicBezTo>
                      <a:cubicBezTo>
                        <a:pt x="140" y="159"/>
                        <a:pt x="139" y="153"/>
                        <a:pt x="138" y="151"/>
                      </a:cubicBezTo>
                      <a:cubicBezTo>
                        <a:pt x="136" y="145"/>
                        <a:pt x="134" y="139"/>
                        <a:pt x="132" y="132"/>
                      </a:cubicBezTo>
                      <a:cubicBezTo>
                        <a:pt x="131" y="123"/>
                        <a:pt x="123" y="118"/>
                        <a:pt x="115" y="114"/>
                      </a:cubicBezTo>
                      <a:cubicBezTo>
                        <a:pt x="102" y="106"/>
                        <a:pt x="85" y="112"/>
                        <a:pt x="71" y="106"/>
                      </a:cubicBezTo>
                      <a:cubicBezTo>
                        <a:pt x="74" y="106"/>
                        <a:pt x="77" y="108"/>
                        <a:pt x="80" y="108"/>
                      </a:cubicBezTo>
                      <a:cubicBezTo>
                        <a:pt x="81" y="108"/>
                        <a:pt x="81" y="108"/>
                        <a:pt x="82" y="108"/>
                      </a:cubicBezTo>
                      <a:cubicBezTo>
                        <a:pt x="86" y="107"/>
                        <a:pt x="88" y="105"/>
                        <a:pt x="91" y="102"/>
                      </a:cubicBezTo>
                      <a:cubicBezTo>
                        <a:pt x="92" y="101"/>
                        <a:pt x="93" y="101"/>
                        <a:pt x="94" y="101"/>
                      </a:cubicBezTo>
                      <a:cubicBezTo>
                        <a:pt x="95" y="101"/>
                        <a:pt x="95" y="101"/>
                        <a:pt x="95" y="101"/>
                      </a:cubicBezTo>
                      <a:cubicBezTo>
                        <a:pt x="96" y="101"/>
                        <a:pt x="96" y="101"/>
                        <a:pt x="97" y="101"/>
                      </a:cubicBezTo>
                      <a:cubicBezTo>
                        <a:pt x="97" y="101"/>
                        <a:pt x="98" y="101"/>
                        <a:pt x="98" y="101"/>
                      </a:cubicBezTo>
                      <a:cubicBezTo>
                        <a:pt x="104" y="101"/>
                        <a:pt x="99" y="92"/>
                        <a:pt x="96" y="91"/>
                      </a:cubicBezTo>
                      <a:cubicBezTo>
                        <a:pt x="102" y="90"/>
                        <a:pt x="104" y="84"/>
                        <a:pt x="108" y="80"/>
                      </a:cubicBezTo>
                      <a:cubicBezTo>
                        <a:pt x="109" y="78"/>
                        <a:pt x="111" y="77"/>
                        <a:pt x="113" y="75"/>
                      </a:cubicBezTo>
                      <a:cubicBezTo>
                        <a:pt x="115" y="73"/>
                        <a:pt x="114" y="72"/>
                        <a:pt x="115" y="69"/>
                      </a:cubicBezTo>
                      <a:cubicBezTo>
                        <a:pt x="116" y="67"/>
                        <a:pt x="118" y="66"/>
                        <a:pt x="119" y="63"/>
                      </a:cubicBezTo>
                      <a:cubicBezTo>
                        <a:pt x="119" y="61"/>
                        <a:pt x="119" y="59"/>
                        <a:pt x="121" y="56"/>
                      </a:cubicBezTo>
                      <a:cubicBezTo>
                        <a:pt x="122" y="54"/>
                        <a:pt x="125" y="53"/>
                        <a:pt x="126" y="50"/>
                      </a:cubicBezTo>
                      <a:cubicBezTo>
                        <a:pt x="127" y="49"/>
                        <a:pt x="127" y="44"/>
                        <a:pt x="125" y="44"/>
                      </a:cubicBezTo>
                      <a:cubicBezTo>
                        <a:pt x="114" y="42"/>
                        <a:pt x="104" y="41"/>
                        <a:pt x="94" y="40"/>
                      </a:cubicBezTo>
                      <a:cubicBezTo>
                        <a:pt x="91" y="40"/>
                        <a:pt x="89" y="40"/>
                        <a:pt x="87" y="40"/>
                      </a:cubicBezTo>
                      <a:cubicBezTo>
                        <a:pt x="82" y="40"/>
                        <a:pt x="79" y="40"/>
                        <a:pt x="73" y="42"/>
                      </a:cubicBezTo>
                      <a:cubicBezTo>
                        <a:pt x="70" y="43"/>
                        <a:pt x="66" y="43"/>
                        <a:pt x="63" y="44"/>
                      </a:cubicBezTo>
                      <a:cubicBezTo>
                        <a:pt x="61" y="45"/>
                        <a:pt x="60" y="49"/>
                        <a:pt x="58" y="49"/>
                      </a:cubicBezTo>
                      <a:cubicBezTo>
                        <a:pt x="58" y="49"/>
                        <a:pt x="58" y="49"/>
                        <a:pt x="58" y="49"/>
                      </a:cubicBezTo>
                      <a:cubicBezTo>
                        <a:pt x="55" y="48"/>
                        <a:pt x="57" y="41"/>
                        <a:pt x="59" y="41"/>
                      </a:cubicBezTo>
                      <a:cubicBezTo>
                        <a:pt x="60" y="40"/>
                        <a:pt x="61" y="39"/>
                        <a:pt x="63" y="39"/>
                      </a:cubicBezTo>
                      <a:cubicBezTo>
                        <a:pt x="63" y="39"/>
                        <a:pt x="63" y="39"/>
                        <a:pt x="63" y="39"/>
                      </a:cubicBezTo>
                      <a:cubicBezTo>
                        <a:pt x="63" y="39"/>
                        <a:pt x="63" y="39"/>
                        <a:pt x="63" y="39"/>
                      </a:cubicBezTo>
                      <a:cubicBezTo>
                        <a:pt x="63" y="40"/>
                        <a:pt x="63" y="40"/>
                        <a:pt x="63" y="40"/>
                      </a:cubicBezTo>
                      <a:cubicBezTo>
                        <a:pt x="63" y="40"/>
                        <a:pt x="63" y="40"/>
                        <a:pt x="63" y="40"/>
                      </a:cubicBezTo>
                      <a:cubicBezTo>
                        <a:pt x="65" y="40"/>
                        <a:pt x="66" y="39"/>
                        <a:pt x="66" y="37"/>
                      </a:cubicBezTo>
                      <a:cubicBezTo>
                        <a:pt x="67" y="33"/>
                        <a:pt x="55" y="35"/>
                        <a:pt x="53" y="32"/>
                      </a:cubicBezTo>
                      <a:cubicBezTo>
                        <a:pt x="54" y="32"/>
                        <a:pt x="58" y="33"/>
                        <a:pt x="60" y="33"/>
                      </a:cubicBezTo>
                      <a:cubicBezTo>
                        <a:pt x="62" y="33"/>
                        <a:pt x="63" y="32"/>
                        <a:pt x="61" y="30"/>
                      </a:cubicBezTo>
                      <a:cubicBezTo>
                        <a:pt x="61" y="29"/>
                        <a:pt x="73" y="24"/>
                        <a:pt x="75" y="22"/>
                      </a:cubicBezTo>
                      <a:cubicBezTo>
                        <a:pt x="78" y="20"/>
                        <a:pt x="81" y="18"/>
                        <a:pt x="84" y="16"/>
                      </a:cubicBezTo>
                      <a:cubicBezTo>
                        <a:pt x="89" y="12"/>
                        <a:pt x="90" y="7"/>
                        <a:pt x="92" y="1"/>
                      </a:cubicBezTo>
                      <a:cubicBezTo>
                        <a:pt x="91" y="1"/>
                        <a:pt x="90" y="1"/>
                        <a:pt x="90" y="1"/>
                      </a:cubicBezTo>
                      <a:cubicBezTo>
                        <a:pt x="88" y="1"/>
                        <a:pt x="86" y="1"/>
                        <a:pt x="84" y="0"/>
                      </a:cubicBezTo>
                      <a:cubicBezTo>
                        <a:pt x="84" y="0"/>
                        <a:pt x="81"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0" name="Freeform 58">
                  <a:extLst>
                    <a:ext uri="{FF2B5EF4-FFF2-40B4-BE49-F238E27FC236}">
                      <a16:creationId xmlns:a16="http://schemas.microsoft.com/office/drawing/2014/main" id="{F4534902-C4B9-4F95-A648-E095F624F984}"/>
                    </a:ext>
                  </a:extLst>
                </p:cNvPr>
                <p:cNvSpPr>
                  <a:spLocks/>
                </p:cNvSpPr>
                <p:nvPr/>
              </p:nvSpPr>
              <p:spPr bwMode="auto">
                <a:xfrm>
                  <a:off x="3681431" y="3080757"/>
                  <a:ext cx="33166" cy="36851"/>
                </a:xfrm>
                <a:custGeom>
                  <a:avLst/>
                  <a:gdLst>
                    <a:gd name="T0" fmla="*/ 3 w 10"/>
                    <a:gd name="T1" fmla="*/ 0 h 12"/>
                    <a:gd name="T2" fmla="*/ 1 w 10"/>
                    <a:gd name="T3" fmla="*/ 3 h 12"/>
                    <a:gd name="T4" fmla="*/ 7 w 10"/>
                    <a:gd name="T5" fmla="*/ 12 h 12"/>
                    <a:gd name="T6" fmla="*/ 5 w 10"/>
                    <a:gd name="T7" fmla="*/ 8 h 12"/>
                    <a:gd name="T8" fmla="*/ 3 w 10"/>
                    <a:gd name="T9" fmla="*/ 7 h 12"/>
                    <a:gd name="T10" fmla="*/ 2 w 10"/>
                    <a:gd name="T11" fmla="*/ 1 h 12"/>
                    <a:gd name="T12" fmla="*/ 7 w 10"/>
                    <a:gd name="T13" fmla="*/ 3 h 12"/>
                    <a:gd name="T14" fmla="*/ 3 w 10"/>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3" y="0"/>
                      </a:moveTo>
                      <a:cubicBezTo>
                        <a:pt x="2" y="0"/>
                        <a:pt x="1" y="1"/>
                        <a:pt x="1" y="3"/>
                      </a:cubicBezTo>
                      <a:cubicBezTo>
                        <a:pt x="0" y="9"/>
                        <a:pt x="1" y="11"/>
                        <a:pt x="7" y="12"/>
                      </a:cubicBezTo>
                      <a:cubicBezTo>
                        <a:pt x="4" y="10"/>
                        <a:pt x="4" y="11"/>
                        <a:pt x="5" y="8"/>
                      </a:cubicBezTo>
                      <a:cubicBezTo>
                        <a:pt x="5" y="7"/>
                        <a:pt x="4" y="7"/>
                        <a:pt x="3" y="7"/>
                      </a:cubicBezTo>
                      <a:cubicBezTo>
                        <a:pt x="10" y="3"/>
                        <a:pt x="6" y="5"/>
                        <a:pt x="2" y="1"/>
                      </a:cubicBezTo>
                      <a:cubicBezTo>
                        <a:pt x="4" y="2"/>
                        <a:pt x="5" y="2"/>
                        <a:pt x="7" y="3"/>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1" name="Freeform 59">
                  <a:extLst>
                    <a:ext uri="{FF2B5EF4-FFF2-40B4-BE49-F238E27FC236}">
                      <a16:creationId xmlns:a16="http://schemas.microsoft.com/office/drawing/2014/main" id="{E4EDBDB1-188C-4D86-986F-4C7065E9BDAC}"/>
                    </a:ext>
                  </a:extLst>
                </p:cNvPr>
                <p:cNvSpPr>
                  <a:spLocks/>
                </p:cNvSpPr>
                <p:nvPr/>
              </p:nvSpPr>
              <p:spPr bwMode="auto">
                <a:xfrm>
                  <a:off x="3751448" y="3172885"/>
                  <a:ext cx="22111" cy="14740"/>
                </a:xfrm>
                <a:custGeom>
                  <a:avLst/>
                  <a:gdLst>
                    <a:gd name="T0" fmla="*/ 7 w 7"/>
                    <a:gd name="T1" fmla="*/ 0 h 5"/>
                    <a:gd name="T2" fmla="*/ 0 w 7"/>
                    <a:gd name="T3" fmla="*/ 5 h 5"/>
                    <a:gd name="T4" fmla="*/ 7 w 7"/>
                    <a:gd name="T5" fmla="*/ 0 h 5"/>
                  </a:gdLst>
                  <a:ahLst/>
                  <a:cxnLst>
                    <a:cxn ang="0">
                      <a:pos x="T0" y="T1"/>
                    </a:cxn>
                    <a:cxn ang="0">
                      <a:pos x="T2" y="T3"/>
                    </a:cxn>
                    <a:cxn ang="0">
                      <a:pos x="T4" y="T5"/>
                    </a:cxn>
                  </a:cxnLst>
                  <a:rect l="0" t="0" r="r" b="b"/>
                  <a:pathLst>
                    <a:path w="7" h="5">
                      <a:moveTo>
                        <a:pt x="7" y="0"/>
                      </a:moveTo>
                      <a:cubicBezTo>
                        <a:pt x="5" y="2"/>
                        <a:pt x="3" y="4"/>
                        <a:pt x="0" y="5"/>
                      </a:cubicBezTo>
                      <a:cubicBezTo>
                        <a:pt x="3" y="5"/>
                        <a:pt x="6"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2" name="Freeform 60">
                  <a:extLst>
                    <a:ext uri="{FF2B5EF4-FFF2-40B4-BE49-F238E27FC236}">
                      <a16:creationId xmlns:a16="http://schemas.microsoft.com/office/drawing/2014/main" id="{5A97E7FB-4019-49FB-8F68-96561F692106}"/>
                    </a:ext>
                  </a:extLst>
                </p:cNvPr>
                <p:cNvSpPr>
                  <a:spLocks/>
                </p:cNvSpPr>
                <p:nvPr/>
              </p:nvSpPr>
              <p:spPr bwMode="auto">
                <a:xfrm>
                  <a:off x="3688801" y="3069702"/>
                  <a:ext cx="18426" cy="11055"/>
                </a:xfrm>
                <a:custGeom>
                  <a:avLst/>
                  <a:gdLst>
                    <a:gd name="T0" fmla="*/ 2 w 6"/>
                    <a:gd name="T1" fmla="*/ 0 h 3"/>
                    <a:gd name="T2" fmla="*/ 0 w 6"/>
                    <a:gd name="T3" fmla="*/ 0 h 3"/>
                    <a:gd name="T4" fmla="*/ 3 w 6"/>
                    <a:gd name="T5" fmla="*/ 3 h 3"/>
                    <a:gd name="T6" fmla="*/ 2 w 6"/>
                    <a:gd name="T7" fmla="*/ 0 h 3"/>
                  </a:gdLst>
                  <a:ahLst/>
                  <a:cxnLst>
                    <a:cxn ang="0">
                      <a:pos x="T0" y="T1"/>
                    </a:cxn>
                    <a:cxn ang="0">
                      <a:pos x="T2" y="T3"/>
                    </a:cxn>
                    <a:cxn ang="0">
                      <a:pos x="T4" y="T5"/>
                    </a:cxn>
                    <a:cxn ang="0">
                      <a:pos x="T6" y="T7"/>
                    </a:cxn>
                  </a:cxnLst>
                  <a:rect l="0" t="0" r="r" b="b"/>
                  <a:pathLst>
                    <a:path w="6" h="3">
                      <a:moveTo>
                        <a:pt x="2" y="0"/>
                      </a:moveTo>
                      <a:cubicBezTo>
                        <a:pt x="1" y="0"/>
                        <a:pt x="0" y="0"/>
                        <a:pt x="0" y="0"/>
                      </a:cubicBezTo>
                      <a:cubicBezTo>
                        <a:pt x="1" y="1"/>
                        <a:pt x="2" y="2"/>
                        <a:pt x="3" y="3"/>
                      </a:cubicBezTo>
                      <a:cubicBezTo>
                        <a:pt x="6"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3" name="Freeform 61">
                  <a:extLst>
                    <a:ext uri="{FF2B5EF4-FFF2-40B4-BE49-F238E27FC236}">
                      <a16:creationId xmlns:a16="http://schemas.microsoft.com/office/drawing/2014/main" id="{9C3DA8A6-2780-4B89-BA3E-5E7F0B41C12B}"/>
                    </a:ext>
                  </a:extLst>
                </p:cNvPr>
                <p:cNvSpPr>
                  <a:spLocks/>
                </p:cNvSpPr>
                <p:nvPr/>
              </p:nvSpPr>
              <p:spPr bwMode="auto">
                <a:xfrm>
                  <a:off x="3677746" y="3128664"/>
                  <a:ext cx="11055" cy="11055"/>
                </a:xfrm>
                <a:custGeom>
                  <a:avLst/>
                  <a:gdLst>
                    <a:gd name="T0" fmla="*/ 0 w 3"/>
                    <a:gd name="T1" fmla="*/ 0 h 3"/>
                    <a:gd name="T2" fmla="*/ 0 w 3"/>
                    <a:gd name="T3" fmla="*/ 3 h 3"/>
                    <a:gd name="T4" fmla="*/ 3 w 3"/>
                    <a:gd name="T5" fmla="*/ 1 h 3"/>
                    <a:gd name="T6" fmla="*/ 0 w 3"/>
                    <a:gd name="T7" fmla="*/ 0 h 3"/>
                  </a:gdLst>
                  <a:ahLst/>
                  <a:cxnLst>
                    <a:cxn ang="0">
                      <a:pos x="T0" y="T1"/>
                    </a:cxn>
                    <a:cxn ang="0">
                      <a:pos x="T2" y="T3"/>
                    </a:cxn>
                    <a:cxn ang="0">
                      <a:pos x="T4" y="T5"/>
                    </a:cxn>
                    <a:cxn ang="0">
                      <a:pos x="T6" y="T7"/>
                    </a:cxn>
                  </a:cxnLst>
                  <a:rect l="0" t="0" r="r" b="b"/>
                  <a:pathLst>
                    <a:path w="3" h="3">
                      <a:moveTo>
                        <a:pt x="0" y="0"/>
                      </a:moveTo>
                      <a:cubicBezTo>
                        <a:pt x="0" y="1"/>
                        <a:pt x="0" y="2"/>
                        <a:pt x="0" y="3"/>
                      </a:cubicBezTo>
                      <a:cubicBezTo>
                        <a:pt x="1" y="2"/>
                        <a:pt x="2"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4" name="Freeform 62">
                  <a:extLst>
                    <a:ext uri="{FF2B5EF4-FFF2-40B4-BE49-F238E27FC236}">
                      <a16:creationId xmlns:a16="http://schemas.microsoft.com/office/drawing/2014/main" id="{6A1DEC1F-DD5B-473F-AAEB-84FC3A6DAD6C}"/>
                    </a:ext>
                  </a:extLst>
                </p:cNvPr>
                <p:cNvSpPr>
                  <a:spLocks noEditPoints="1"/>
                </p:cNvSpPr>
                <p:nvPr/>
              </p:nvSpPr>
              <p:spPr bwMode="auto">
                <a:xfrm>
                  <a:off x="3733023" y="3194996"/>
                  <a:ext cx="14740" cy="7370"/>
                </a:xfrm>
                <a:custGeom>
                  <a:avLst/>
                  <a:gdLst>
                    <a:gd name="T0" fmla="*/ 0 w 5"/>
                    <a:gd name="T1" fmla="*/ 3 h 3"/>
                    <a:gd name="T2" fmla="*/ 0 w 5"/>
                    <a:gd name="T3" fmla="*/ 3 h 3"/>
                    <a:gd name="T4" fmla="*/ 0 w 5"/>
                    <a:gd name="T5" fmla="*/ 3 h 3"/>
                    <a:gd name="T6" fmla="*/ 5 w 5"/>
                    <a:gd name="T7" fmla="*/ 0 h 3"/>
                    <a:gd name="T8" fmla="*/ 0 w 5"/>
                    <a:gd name="T9" fmla="*/ 3 h 3"/>
                    <a:gd name="T10" fmla="*/ 5 w 5"/>
                    <a:gd name="T11" fmla="*/ 0 h 3"/>
                    <a:gd name="T12" fmla="*/ 5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0" y="3"/>
                      </a:moveTo>
                      <a:cubicBezTo>
                        <a:pt x="0" y="3"/>
                        <a:pt x="0" y="3"/>
                        <a:pt x="0" y="3"/>
                      </a:cubicBezTo>
                      <a:cubicBezTo>
                        <a:pt x="0" y="3"/>
                        <a:pt x="0" y="3"/>
                        <a:pt x="0" y="3"/>
                      </a:cubicBezTo>
                      <a:moveTo>
                        <a:pt x="5" y="0"/>
                      </a:moveTo>
                      <a:cubicBezTo>
                        <a:pt x="2" y="0"/>
                        <a:pt x="2" y="2"/>
                        <a:pt x="0" y="3"/>
                      </a:cubicBezTo>
                      <a:cubicBezTo>
                        <a:pt x="2" y="2"/>
                        <a:pt x="3" y="1"/>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5" name="Freeform 63">
                  <a:extLst>
                    <a:ext uri="{FF2B5EF4-FFF2-40B4-BE49-F238E27FC236}">
                      <a16:creationId xmlns:a16="http://schemas.microsoft.com/office/drawing/2014/main" id="{B331DB92-0E39-4B58-AE1B-A9BFF6229FE3}"/>
                    </a:ext>
                  </a:extLst>
                </p:cNvPr>
                <p:cNvSpPr>
                  <a:spLocks/>
                </p:cNvSpPr>
                <p:nvPr/>
              </p:nvSpPr>
              <p:spPr bwMode="auto">
                <a:xfrm>
                  <a:off x="4049942" y="2852280"/>
                  <a:ext cx="77387" cy="33166"/>
                </a:xfrm>
                <a:custGeom>
                  <a:avLst/>
                  <a:gdLst>
                    <a:gd name="T0" fmla="*/ 5 w 24"/>
                    <a:gd name="T1" fmla="*/ 0 h 11"/>
                    <a:gd name="T2" fmla="*/ 4 w 24"/>
                    <a:gd name="T3" fmla="*/ 0 h 11"/>
                    <a:gd name="T4" fmla="*/ 1 w 24"/>
                    <a:gd name="T5" fmla="*/ 6 h 11"/>
                    <a:gd name="T6" fmla="*/ 16 w 24"/>
                    <a:gd name="T7" fmla="*/ 11 h 11"/>
                    <a:gd name="T8" fmla="*/ 14 w 24"/>
                    <a:gd name="T9" fmla="*/ 6 h 11"/>
                    <a:gd name="T10" fmla="*/ 13 w 24"/>
                    <a:gd name="T11" fmla="*/ 6 h 11"/>
                    <a:gd name="T12" fmla="*/ 11 w 24"/>
                    <a:gd name="T13" fmla="*/ 6 h 11"/>
                    <a:gd name="T14" fmla="*/ 9 w 24"/>
                    <a:gd name="T15" fmla="*/ 6 h 11"/>
                    <a:gd name="T16" fmla="*/ 7 w 24"/>
                    <a:gd name="T17" fmla="*/ 6 h 11"/>
                    <a:gd name="T18" fmla="*/ 9 w 24"/>
                    <a:gd name="T19" fmla="*/ 1 h 11"/>
                    <a:gd name="T20" fmla="*/ 5 w 2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1">
                      <a:moveTo>
                        <a:pt x="5" y="0"/>
                      </a:moveTo>
                      <a:cubicBezTo>
                        <a:pt x="4" y="0"/>
                        <a:pt x="4" y="0"/>
                        <a:pt x="4" y="0"/>
                      </a:cubicBezTo>
                      <a:cubicBezTo>
                        <a:pt x="2" y="0"/>
                        <a:pt x="0" y="3"/>
                        <a:pt x="1" y="6"/>
                      </a:cubicBezTo>
                      <a:cubicBezTo>
                        <a:pt x="2" y="10"/>
                        <a:pt x="12" y="10"/>
                        <a:pt x="16" y="11"/>
                      </a:cubicBezTo>
                      <a:cubicBezTo>
                        <a:pt x="24" y="8"/>
                        <a:pt x="15" y="8"/>
                        <a:pt x="14" y="6"/>
                      </a:cubicBezTo>
                      <a:cubicBezTo>
                        <a:pt x="14" y="6"/>
                        <a:pt x="13" y="6"/>
                        <a:pt x="13" y="6"/>
                      </a:cubicBezTo>
                      <a:cubicBezTo>
                        <a:pt x="12" y="6"/>
                        <a:pt x="11" y="6"/>
                        <a:pt x="11" y="6"/>
                      </a:cubicBezTo>
                      <a:cubicBezTo>
                        <a:pt x="10" y="6"/>
                        <a:pt x="9" y="6"/>
                        <a:pt x="9" y="6"/>
                      </a:cubicBezTo>
                      <a:cubicBezTo>
                        <a:pt x="8" y="6"/>
                        <a:pt x="8" y="6"/>
                        <a:pt x="7" y="6"/>
                      </a:cubicBezTo>
                      <a:cubicBezTo>
                        <a:pt x="10" y="4"/>
                        <a:pt x="12" y="4"/>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6" name="Freeform 64">
                  <a:extLst>
                    <a:ext uri="{FF2B5EF4-FFF2-40B4-BE49-F238E27FC236}">
                      <a16:creationId xmlns:a16="http://schemas.microsoft.com/office/drawing/2014/main" id="{789A38B9-A119-474A-BF00-9E6B2B2174F6}"/>
                    </a:ext>
                  </a:extLst>
                </p:cNvPr>
                <p:cNvSpPr>
                  <a:spLocks/>
                </p:cNvSpPr>
                <p:nvPr/>
              </p:nvSpPr>
              <p:spPr bwMode="auto">
                <a:xfrm>
                  <a:off x="3806725" y="3239217"/>
                  <a:ext cx="36851" cy="47907"/>
                </a:xfrm>
                <a:custGeom>
                  <a:avLst/>
                  <a:gdLst>
                    <a:gd name="T0" fmla="*/ 11 w 12"/>
                    <a:gd name="T1" fmla="*/ 0 h 14"/>
                    <a:gd name="T2" fmla="*/ 5 w 12"/>
                    <a:gd name="T3" fmla="*/ 4 h 14"/>
                    <a:gd name="T4" fmla="*/ 4 w 12"/>
                    <a:gd name="T5" fmla="*/ 14 h 14"/>
                    <a:gd name="T6" fmla="*/ 10 w 12"/>
                    <a:gd name="T7" fmla="*/ 3 h 14"/>
                    <a:gd name="T8" fmla="*/ 12 w 12"/>
                    <a:gd name="T9" fmla="*/ 0 h 14"/>
                    <a:gd name="T10" fmla="*/ 11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1" y="0"/>
                      </a:moveTo>
                      <a:cubicBezTo>
                        <a:pt x="10" y="0"/>
                        <a:pt x="6" y="3"/>
                        <a:pt x="5" y="4"/>
                      </a:cubicBezTo>
                      <a:cubicBezTo>
                        <a:pt x="1" y="7"/>
                        <a:pt x="0" y="9"/>
                        <a:pt x="4" y="14"/>
                      </a:cubicBezTo>
                      <a:cubicBezTo>
                        <a:pt x="6" y="11"/>
                        <a:pt x="9" y="7"/>
                        <a:pt x="10" y="3"/>
                      </a:cubicBezTo>
                      <a:cubicBezTo>
                        <a:pt x="11" y="2"/>
                        <a:pt x="12" y="1"/>
                        <a:pt x="12"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7" name="Freeform 65">
                  <a:extLst>
                    <a:ext uri="{FF2B5EF4-FFF2-40B4-BE49-F238E27FC236}">
                      <a16:creationId xmlns:a16="http://schemas.microsoft.com/office/drawing/2014/main" id="{97FDFD06-DBCE-4DD4-BBE8-4FCD818C7B55}"/>
                    </a:ext>
                  </a:extLst>
                </p:cNvPr>
                <p:cNvSpPr>
                  <a:spLocks/>
                </p:cNvSpPr>
                <p:nvPr/>
              </p:nvSpPr>
              <p:spPr bwMode="auto">
                <a:xfrm>
                  <a:off x="3766189" y="3268698"/>
                  <a:ext cx="44221" cy="44221"/>
                </a:xfrm>
                <a:custGeom>
                  <a:avLst/>
                  <a:gdLst>
                    <a:gd name="T0" fmla="*/ 11 w 14"/>
                    <a:gd name="T1" fmla="*/ 0 h 14"/>
                    <a:gd name="T2" fmla="*/ 5 w 14"/>
                    <a:gd name="T3" fmla="*/ 4 h 14"/>
                    <a:gd name="T4" fmla="*/ 5 w 14"/>
                    <a:gd name="T5" fmla="*/ 1 h 14"/>
                    <a:gd name="T6" fmla="*/ 2 w 14"/>
                    <a:gd name="T7" fmla="*/ 5 h 14"/>
                    <a:gd name="T8" fmla="*/ 3 w 14"/>
                    <a:gd name="T9" fmla="*/ 5 h 14"/>
                    <a:gd name="T10" fmla="*/ 4 w 14"/>
                    <a:gd name="T11" fmla="*/ 5 h 14"/>
                    <a:gd name="T12" fmla="*/ 6 w 14"/>
                    <a:gd name="T13" fmla="*/ 5 h 14"/>
                    <a:gd name="T14" fmla="*/ 7 w 14"/>
                    <a:gd name="T15" fmla="*/ 6 h 14"/>
                    <a:gd name="T16" fmla="*/ 7 w 14"/>
                    <a:gd name="T17" fmla="*/ 14 h 14"/>
                    <a:gd name="T18" fmla="*/ 14 w 14"/>
                    <a:gd name="T19" fmla="*/ 8 h 14"/>
                    <a:gd name="T20" fmla="*/ 11 w 1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11" y="0"/>
                      </a:moveTo>
                      <a:cubicBezTo>
                        <a:pt x="9" y="0"/>
                        <a:pt x="6" y="1"/>
                        <a:pt x="5" y="4"/>
                      </a:cubicBezTo>
                      <a:cubicBezTo>
                        <a:pt x="5" y="3"/>
                        <a:pt x="5" y="2"/>
                        <a:pt x="5" y="1"/>
                      </a:cubicBezTo>
                      <a:cubicBezTo>
                        <a:pt x="4" y="2"/>
                        <a:pt x="0" y="3"/>
                        <a:pt x="2" y="5"/>
                      </a:cubicBezTo>
                      <a:cubicBezTo>
                        <a:pt x="2" y="5"/>
                        <a:pt x="2" y="5"/>
                        <a:pt x="3" y="5"/>
                      </a:cubicBezTo>
                      <a:cubicBezTo>
                        <a:pt x="3" y="5"/>
                        <a:pt x="4" y="5"/>
                        <a:pt x="4" y="5"/>
                      </a:cubicBezTo>
                      <a:cubicBezTo>
                        <a:pt x="5" y="5"/>
                        <a:pt x="5" y="5"/>
                        <a:pt x="6" y="5"/>
                      </a:cubicBezTo>
                      <a:cubicBezTo>
                        <a:pt x="6" y="5"/>
                        <a:pt x="6" y="5"/>
                        <a:pt x="7" y="6"/>
                      </a:cubicBezTo>
                      <a:cubicBezTo>
                        <a:pt x="8" y="7"/>
                        <a:pt x="7" y="12"/>
                        <a:pt x="7" y="14"/>
                      </a:cubicBezTo>
                      <a:cubicBezTo>
                        <a:pt x="9" y="11"/>
                        <a:pt x="14" y="12"/>
                        <a:pt x="14" y="8"/>
                      </a:cubicBezTo>
                      <a:cubicBezTo>
                        <a:pt x="14" y="5"/>
                        <a:pt x="11" y="3"/>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8" name="Freeform 66">
                  <a:extLst>
                    <a:ext uri="{FF2B5EF4-FFF2-40B4-BE49-F238E27FC236}">
                      <a16:creationId xmlns:a16="http://schemas.microsoft.com/office/drawing/2014/main" id="{435DDD65-2E79-47AC-A9C4-B4906FAAD71E}"/>
                    </a:ext>
                  </a:extLst>
                </p:cNvPr>
                <p:cNvSpPr>
                  <a:spLocks/>
                </p:cNvSpPr>
                <p:nvPr/>
              </p:nvSpPr>
              <p:spPr bwMode="auto">
                <a:xfrm>
                  <a:off x="9139087" y="5207069"/>
                  <a:ext cx="7370" cy="33166"/>
                </a:xfrm>
                <a:custGeom>
                  <a:avLst/>
                  <a:gdLst>
                    <a:gd name="T0" fmla="*/ 2 w 2"/>
                    <a:gd name="T1" fmla="*/ 0 h 11"/>
                    <a:gd name="T2" fmla="*/ 2 w 2"/>
                    <a:gd name="T3" fmla="*/ 11 h 11"/>
                    <a:gd name="T4" fmla="*/ 2 w 2"/>
                    <a:gd name="T5" fmla="*/ 0 h 11"/>
                  </a:gdLst>
                  <a:ahLst/>
                  <a:cxnLst>
                    <a:cxn ang="0">
                      <a:pos x="T0" y="T1"/>
                    </a:cxn>
                    <a:cxn ang="0">
                      <a:pos x="T2" y="T3"/>
                    </a:cxn>
                    <a:cxn ang="0">
                      <a:pos x="T4" y="T5"/>
                    </a:cxn>
                  </a:cxnLst>
                  <a:rect l="0" t="0" r="r" b="b"/>
                  <a:pathLst>
                    <a:path w="2" h="11">
                      <a:moveTo>
                        <a:pt x="2" y="0"/>
                      </a:moveTo>
                      <a:cubicBezTo>
                        <a:pt x="0" y="3"/>
                        <a:pt x="2" y="9"/>
                        <a:pt x="2" y="11"/>
                      </a:cubicBezTo>
                      <a:cubicBezTo>
                        <a:pt x="2" y="8"/>
                        <a:pt x="1" y="4"/>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9" name="Freeform 67">
                  <a:extLst>
                    <a:ext uri="{FF2B5EF4-FFF2-40B4-BE49-F238E27FC236}">
                      <a16:creationId xmlns:a16="http://schemas.microsoft.com/office/drawing/2014/main" id="{9DEE294A-0850-494A-A31F-C8AB00A9319B}"/>
                    </a:ext>
                  </a:extLst>
                </p:cNvPr>
                <p:cNvSpPr>
                  <a:spLocks/>
                </p:cNvSpPr>
                <p:nvPr/>
              </p:nvSpPr>
              <p:spPr bwMode="auto">
                <a:xfrm>
                  <a:off x="6673745" y="5096516"/>
                  <a:ext cx="25796" cy="3685"/>
                </a:xfrm>
                <a:custGeom>
                  <a:avLst/>
                  <a:gdLst>
                    <a:gd name="T0" fmla="*/ 9 w 9"/>
                    <a:gd name="T1" fmla="*/ 0 h 1"/>
                    <a:gd name="T2" fmla="*/ 0 w 9"/>
                    <a:gd name="T3" fmla="*/ 0 h 1"/>
                    <a:gd name="T4" fmla="*/ 4 w 9"/>
                    <a:gd name="T5" fmla="*/ 1 h 1"/>
                    <a:gd name="T6" fmla="*/ 9 w 9"/>
                    <a:gd name="T7" fmla="*/ 0 h 1"/>
                    <a:gd name="T8" fmla="*/ 9 w 9"/>
                    <a:gd name="T9" fmla="*/ 0 h 1"/>
                  </a:gdLst>
                  <a:ahLst/>
                  <a:cxnLst>
                    <a:cxn ang="0">
                      <a:pos x="T0" y="T1"/>
                    </a:cxn>
                    <a:cxn ang="0">
                      <a:pos x="T2" y="T3"/>
                    </a:cxn>
                    <a:cxn ang="0">
                      <a:pos x="T4" y="T5"/>
                    </a:cxn>
                    <a:cxn ang="0">
                      <a:pos x="T6" y="T7"/>
                    </a:cxn>
                    <a:cxn ang="0">
                      <a:pos x="T8" y="T9"/>
                    </a:cxn>
                  </a:cxnLst>
                  <a:rect l="0" t="0" r="r" b="b"/>
                  <a:pathLst>
                    <a:path w="9" h="1">
                      <a:moveTo>
                        <a:pt x="9" y="0"/>
                      </a:moveTo>
                      <a:cubicBezTo>
                        <a:pt x="6" y="0"/>
                        <a:pt x="3" y="0"/>
                        <a:pt x="0" y="0"/>
                      </a:cubicBezTo>
                      <a:cubicBezTo>
                        <a:pt x="1" y="1"/>
                        <a:pt x="2" y="1"/>
                        <a:pt x="4" y="1"/>
                      </a:cubicBezTo>
                      <a:cubicBezTo>
                        <a:pt x="6" y="1"/>
                        <a:pt x="8" y="1"/>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0" name="Freeform 68">
                  <a:extLst>
                    <a:ext uri="{FF2B5EF4-FFF2-40B4-BE49-F238E27FC236}">
                      <a16:creationId xmlns:a16="http://schemas.microsoft.com/office/drawing/2014/main" id="{ACCC751D-435C-4EFB-A321-5764259459E1}"/>
                    </a:ext>
                  </a:extLst>
                </p:cNvPr>
                <p:cNvSpPr>
                  <a:spLocks/>
                </p:cNvSpPr>
                <p:nvPr/>
              </p:nvSpPr>
              <p:spPr bwMode="auto">
                <a:xfrm>
                  <a:off x="5361844" y="5652968"/>
                  <a:ext cx="11055" cy="11055"/>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2" y="1"/>
                        <a:pt x="1" y="2"/>
                        <a:pt x="0" y="3"/>
                      </a:cubicBezTo>
                      <a:cubicBezTo>
                        <a:pt x="1"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1" name="Freeform 69">
                  <a:extLst>
                    <a:ext uri="{FF2B5EF4-FFF2-40B4-BE49-F238E27FC236}">
                      <a16:creationId xmlns:a16="http://schemas.microsoft.com/office/drawing/2014/main" id="{323E6CBB-F8C4-407E-BF37-E85C2D47A838}"/>
                    </a:ext>
                  </a:extLst>
                </p:cNvPr>
                <p:cNvSpPr>
                  <a:spLocks/>
                </p:cNvSpPr>
                <p:nvPr/>
              </p:nvSpPr>
              <p:spPr bwMode="auto">
                <a:xfrm>
                  <a:off x="5988313" y="3010740"/>
                  <a:ext cx="92128" cy="132664"/>
                </a:xfrm>
                <a:custGeom>
                  <a:avLst/>
                  <a:gdLst>
                    <a:gd name="T0" fmla="*/ 25 w 29"/>
                    <a:gd name="T1" fmla="*/ 0 h 41"/>
                    <a:gd name="T2" fmla="*/ 20 w 29"/>
                    <a:gd name="T3" fmla="*/ 2 h 41"/>
                    <a:gd name="T4" fmla="*/ 19 w 29"/>
                    <a:gd name="T5" fmla="*/ 0 h 41"/>
                    <a:gd name="T6" fmla="*/ 15 w 29"/>
                    <a:gd name="T7" fmla="*/ 2 h 41"/>
                    <a:gd name="T8" fmla="*/ 11 w 29"/>
                    <a:gd name="T9" fmla="*/ 4 h 41"/>
                    <a:gd name="T10" fmla="*/ 7 w 29"/>
                    <a:gd name="T11" fmla="*/ 10 h 41"/>
                    <a:gd name="T12" fmla="*/ 3 w 29"/>
                    <a:gd name="T13" fmla="*/ 14 h 41"/>
                    <a:gd name="T14" fmla="*/ 1 w 29"/>
                    <a:gd name="T15" fmla="*/ 27 h 41"/>
                    <a:gd name="T16" fmla="*/ 2 w 29"/>
                    <a:gd name="T17" fmla="*/ 41 h 41"/>
                    <a:gd name="T18" fmla="*/ 8 w 29"/>
                    <a:gd name="T19" fmla="*/ 37 h 41"/>
                    <a:gd name="T20" fmla="*/ 12 w 29"/>
                    <a:gd name="T21" fmla="*/ 30 h 41"/>
                    <a:gd name="T22" fmla="*/ 18 w 29"/>
                    <a:gd name="T23" fmla="*/ 28 h 41"/>
                    <a:gd name="T24" fmla="*/ 19 w 29"/>
                    <a:gd name="T25" fmla="*/ 24 h 41"/>
                    <a:gd name="T26" fmla="*/ 23 w 29"/>
                    <a:gd name="T27" fmla="*/ 22 h 41"/>
                    <a:gd name="T28" fmla="*/ 23 w 29"/>
                    <a:gd name="T29" fmla="*/ 22 h 41"/>
                    <a:gd name="T30" fmla="*/ 20 w 29"/>
                    <a:gd name="T31" fmla="*/ 17 h 41"/>
                    <a:gd name="T32" fmla="*/ 21 w 29"/>
                    <a:gd name="T33" fmla="*/ 14 h 41"/>
                    <a:gd name="T34" fmla="*/ 20 w 29"/>
                    <a:gd name="T35" fmla="*/ 11 h 41"/>
                    <a:gd name="T36" fmla="*/ 21 w 29"/>
                    <a:gd name="T37" fmla="*/ 8 h 41"/>
                    <a:gd name="T38" fmla="*/ 22 w 29"/>
                    <a:gd name="T39" fmla="*/ 8 h 41"/>
                    <a:gd name="T40" fmla="*/ 22 w 29"/>
                    <a:gd name="T41" fmla="*/ 8 h 41"/>
                    <a:gd name="T42" fmla="*/ 23 w 29"/>
                    <a:gd name="T43" fmla="*/ 7 h 41"/>
                    <a:gd name="T44" fmla="*/ 24 w 29"/>
                    <a:gd name="T45" fmla="*/ 7 h 41"/>
                    <a:gd name="T46" fmla="*/ 24 w 29"/>
                    <a:gd name="T47" fmla="*/ 7 h 41"/>
                    <a:gd name="T48" fmla="*/ 25 w 29"/>
                    <a:gd name="T49" fmla="*/ 7 h 41"/>
                    <a:gd name="T50" fmla="*/ 25 w 29"/>
                    <a:gd name="T51" fmla="*/ 5 h 41"/>
                    <a:gd name="T52" fmla="*/ 26 w 29"/>
                    <a:gd name="T53" fmla="*/ 5 h 41"/>
                    <a:gd name="T54" fmla="*/ 27 w 29"/>
                    <a:gd name="T55" fmla="*/ 4 h 41"/>
                    <a:gd name="T56" fmla="*/ 28 w 29"/>
                    <a:gd name="T57" fmla="*/ 3 h 41"/>
                    <a:gd name="T58" fmla="*/ 29 w 29"/>
                    <a:gd name="T59" fmla="*/ 4 h 41"/>
                    <a:gd name="T60" fmla="*/ 25 w 29"/>
                    <a:gd name="T6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25" y="0"/>
                      </a:moveTo>
                      <a:cubicBezTo>
                        <a:pt x="23" y="0"/>
                        <a:pt x="21" y="1"/>
                        <a:pt x="20" y="2"/>
                      </a:cubicBezTo>
                      <a:cubicBezTo>
                        <a:pt x="20" y="0"/>
                        <a:pt x="20" y="0"/>
                        <a:pt x="19" y="0"/>
                      </a:cubicBezTo>
                      <a:cubicBezTo>
                        <a:pt x="18" y="0"/>
                        <a:pt x="16" y="1"/>
                        <a:pt x="15" y="2"/>
                      </a:cubicBezTo>
                      <a:cubicBezTo>
                        <a:pt x="14" y="2"/>
                        <a:pt x="12" y="3"/>
                        <a:pt x="11" y="4"/>
                      </a:cubicBezTo>
                      <a:cubicBezTo>
                        <a:pt x="9" y="5"/>
                        <a:pt x="9" y="8"/>
                        <a:pt x="7" y="10"/>
                      </a:cubicBezTo>
                      <a:cubicBezTo>
                        <a:pt x="6" y="12"/>
                        <a:pt x="4" y="12"/>
                        <a:pt x="3" y="14"/>
                      </a:cubicBezTo>
                      <a:cubicBezTo>
                        <a:pt x="1" y="16"/>
                        <a:pt x="0" y="23"/>
                        <a:pt x="1" y="27"/>
                      </a:cubicBezTo>
                      <a:cubicBezTo>
                        <a:pt x="2" y="33"/>
                        <a:pt x="5" y="36"/>
                        <a:pt x="2" y="41"/>
                      </a:cubicBezTo>
                      <a:cubicBezTo>
                        <a:pt x="4" y="40"/>
                        <a:pt x="6" y="38"/>
                        <a:pt x="8" y="37"/>
                      </a:cubicBezTo>
                      <a:cubicBezTo>
                        <a:pt x="9" y="34"/>
                        <a:pt x="11" y="32"/>
                        <a:pt x="12" y="30"/>
                      </a:cubicBezTo>
                      <a:cubicBezTo>
                        <a:pt x="14" y="29"/>
                        <a:pt x="17" y="29"/>
                        <a:pt x="18" y="28"/>
                      </a:cubicBezTo>
                      <a:cubicBezTo>
                        <a:pt x="19" y="27"/>
                        <a:pt x="18" y="25"/>
                        <a:pt x="19" y="24"/>
                      </a:cubicBezTo>
                      <a:cubicBezTo>
                        <a:pt x="20" y="23"/>
                        <a:pt x="22" y="22"/>
                        <a:pt x="23" y="22"/>
                      </a:cubicBezTo>
                      <a:cubicBezTo>
                        <a:pt x="23" y="22"/>
                        <a:pt x="23" y="22"/>
                        <a:pt x="23" y="22"/>
                      </a:cubicBezTo>
                      <a:cubicBezTo>
                        <a:pt x="26" y="20"/>
                        <a:pt x="20" y="19"/>
                        <a:pt x="20" y="17"/>
                      </a:cubicBezTo>
                      <a:cubicBezTo>
                        <a:pt x="20" y="16"/>
                        <a:pt x="21" y="15"/>
                        <a:pt x="21" y="14"/>
                      </a:cubicBezTo>
                      <a:cubicBezTo>
                        <a:pt x="21" y="13"/>
                        <a:pt x="20" y="12"/>
                        <a:pt x="20" y="11"/>
                      </a:cubicBezTo>
                      <a:cubicBezTo>
                        <a:pt x="21" y="8"/>
                        <a:pt x="21" y="8"/>
                        <a:pt x="21" y="8"/>
                      </a:cubicBezTo>
                      <a:cubicBezTo>
                        <a:pt x="22" y="8"/>
                        <a:pt x="22" y="8"/>
                        <a:pt x="22" y="8"/>
                      </a:cubicBezTo>
                      <a:cubicBezTo>
                        <a:pt x="22" y="8"/>
                        <a:pt x="22" y="8"/>
                        <a:pt x="22" y="8"/>
                      </a:cubicBezTo>
                      <a:cubicBezTo>
                        <a:pt x="22" y="8"/>
                        <a:pt x="22" y="8"/>
                        <a:pt x="23" y="7"/>
                      </a:cubicBezTo>
                      <a:cubicBezTo>
                        <a:pt x="23" y="7"/>
                        <a:pt x="23" y="7"/>
                        <a:pt x="24" y="7"/>
                      </a:cubicBezTo>
                      <a:cubicBezTo>
                        <a:pt x="24" y="7"/>
                        <a:pt x="24" y="7"/>
                        <a:pt x="24" y="7"/>
                      </a:cubicBezTo>
                      <a:cubicBezTo>
                        <a:pt x="24" y="7"/>
                        <a:pt x="25" y="7"/>
                        <a:pt x="25" y="7"/>
                      </a:cubicBezTo>
                      <a:cubicBezTo>
                        <a:pt x="25" y="7"/>
                        <a:pt x="26" y="7"/>
                        <a:pt x="25" y="5"/>
                      </a:cubicBezTo>
                      <a:cubicBezTo>
                        <a:pt x="25" y="5"/>
                        <a:pt x="26" y="5"/>
                        <a:pt x="26" y="5"/>
                      </a:cubicBezTo>
                      <a:cubicBezTo>
                        <a:pt x="26" y="5"/>
                        <a:pt x="27" y="5"/>
                        <a:pt x="27" y="4"/>
                      </a:cubicBezTo>
                      <a:cubicBezTo>
                        <a:pt x="27" y="4"/>
                        <a:pt x="27" y="3"/>
                        <a:pt x="28" y="3"/>
                      </a:cubicBezTo>
                      <a:cubicBezTo>
                        <a:pt x="28" y="3"/>
                        <a:pt x="29" y="3"/>
                        <a:pt x="29" y="4"/>
                      </a:cubicBezTo>
                      <a:cubicBezTo>
                        <a:pt x="29" y="1"/>
                        <a:pt x="27"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2" name="Freeform 70">
                  <a:extLst>
                    <a:ext uri="{FF2B5EF4-FFF2-40B4-BE49-F238E27FC236}">
                      <a16:creationId xmlns:a16="http://schemas.microsoft.com/office/drawing/2014/main" id="{356ED53A-BD35-4B10-B808-360E752C0976}"/>
                    </a:ext>
                  </a:extLst>
                </p:cNvPr>
                <p:cNvSpPr>
                  <a:spLocks/>
                </p:cNvSpPr>
                <p:nvPr/>
              </p:nvSpPr>
              <p:spPr bwMode="auto">
                <a:xfrm>
                  <a:off x="5387639" y="2966519"/>
                  <a:ext cx="44221" cy="18426"/>
                </a:xfrm>
                <a:custGeom>
                  <a:avLst/>
                  <a:gdLst>
                    <a:gd name="T0" fmla="*/ 10 w 14"/>
                    <a:gd name="T1" fmla="*/ 0 h 5"/>
                    <a:gd name="T2" fmla="*/ 3 w 14"/>
                    <a:gd name="T3" fmla="*/ 2 h 5"/>
                    <a:gd name="T4" fmla="*/ 0 w 14"/>
                    <a:gd name="T5" fmla="*/ 4 h 5"/>
                    <a:gd name="T6" fmla="*/ 8 w 14"/>
                    <a:gd name="T7" fmla="*/ 5 h 5"/>
                    <a:gd name="T8" fmla="*/ 12 w 14"/>
                    <a:gd name="T9" fmla="*/ 1 h 5"/>
                    <a:gd name="T10" fmla="*/ 10 w 14"/>
                    <a:gd name="T11" fmla="*/ 0 h 5"/>
                  </a:gdLst>
                  <a:ahLst/>
                  <a:cxnLst>
                    <a:cxn ang="0">
                      <a:pos x="T0" y="T1"/>
                    </a:cxn>
                    <a:cxn ang="0">
                      <a:pos x="T2" y="T3"/>
                    </a:cxn>
                    <a:cxn ang="0">
                      <a:pos x="T4" y="T5"/>
                    </a:cxn>
                    <a:cxn ang="0">
                      <a:pos x="T6" y="T7"/>
                    </a:cxn>
                    <a:cxn ang="0">
                      <a:pos x="T8" y="T9"/>
                    </a:cxn>
                    <a:cxn ang="0">
                      <a:pos x="T10" y="T11"/>
                    </a:cxn>
                  </a:cxnLst>
                  <a:rect l="0" t="0" r="r" b="b"/>
                  <a:pathLst>
                    <a:path w="14" h="5">
                      <a:moveTo>
                        <a:pt x="10" y="0"/>
                      </a:moveTo>
                      <a:cubicBezTo>
                        <a:pt x="8" y="0"/>
                        <a:pt x="5" y="1"/>
                        <a:pt x="3" y="2"/>
                      </a:cubicBezTo>
                      <a:cubicBezTo>
                        <a:pt x="2" y="3"/>
                        <a:pt x="1" y="4"/>
                        <a:pt x="0" y="4"/>
                      </a:cubicBezTo>
                      <a:cubicBezTo>
                        <a:pt x="2" y="4"/>
                        <a:pt x="5" y="5"/>
                        <a:pt x="8" y="5"/>
                      </a:cubicBezTo>
                      <a:cubicBezTo>
                        <a:pt x="11" y="5"/>
                        <a:pt x="14" y="4"/>
                        <a:pt x="12" y="1"/>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3" name="Freeform 71">
                  <a:extLst>
                    <a:ext uri="{FF2B5EF4-FFF2-40B4-BE49-F238E27FC236}">
                      <a16:creationId xmlns:a16="http://schemas.microsoft.com/office/drawing/2014/main" id="{94848574-4E48-4A5F-8761-9D7B8DA8F157}"/>
                    </a:ext>
                  </a:extLst>
                </p:cNvPr>
                <p:cNvSpPr>
                  <a:spLocks/>
                </p:cNvSpPr>
                <p:nvPr/>
              </p:nvSpPr>
              <p:spPr bwMode="auto">
                <a:xfrm>
                  <a:off x="5398695" y="2992315"/>
                  <a:ext cx="22111" cy="14740"/>
                </a:xfrm>
                <a:custGeom>
                  <a:avLst/>
                  <a:gdLst>
                    <a:gd name="T0" fmla="*/ 5 w 7"/>
                    <a:gd name="T1" fmla="*/ 0 h 4"/>
                    <a:gd name="T2" fmla="*/ 2 w 7"/>
                    <a:gd name="T3" fmla="*/ 0 h 4"/>
                    <a:gd name="T4" fmla="*/ 2 w 7"/>
                    <a:gd name="T5" fmla="*/ 0 h 4"/>
                    <a:gd name="T6" fmla="*/ 0 w 7"/>
                    <a:gd name="T7" fmla="*/ 2 h 4"/>
                    <a:gd name="T8" fmla="*/ 2 w 7"/>
                    <a:gd name="T9" fmla="*/ 4 h 4"/>
                    <a:gd name="T10" fmla="*/ 4 w 7"/>
                    <a:gd name="T11" fmla="*/ 3 h 4"/>
                    <a:gd name="T12" fmla="*/ 5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cubicBezTo>
                        <a:pt x="4" y="0"/>
                        <a:pt x="3" y="0"/>
                        <a:pt x="2" y="0"/>
                      </a:cubicBezTo>
                      <a:cubicBezTo>
                        <a:pt x="2" y="0"/>
                        <a:pt x="2" y="0"/>
                        <a:pt x="2" y="0"/>
                      </a:cubicBezTo>
                      <a:cubicBezTo>
                        <a:pt x="0" y="0"/>
                        <a:pt x="0" y="1"/>
                        <a:pt x="0" y="2"/>
                      </a:cubicBezTo>
                      <a:cubicBezTo>
                        <a:pt x="0" y="3"/>
                        <a:pt x="1" y="4"/>
                        <a:pt x="2" y="4"/>
                      </a:cubicBezTo>
                      <a:cubicBezTo>
                        <a:pt x="2" y="4"/>
                        <a:pt x="3" y="4"/>
                        <a:pt x="4" y="3"/>
                      </a:cubicBezTo>
                      <a:cubicBezTo>
                        <a:pt x="7"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4" name="Freeform 72">
                  <a:extLst>
                    <a:ext uri="{FF2B5EF4-FFF2-40B4-BE49-F238E27FC236}">
                      <a16:creationId xmlns:a16="http://schemas.microsoft.com/office/drawing/2014/main" id="{781C171D-CA00-4AFF-9AAB-B588A37BCECA}"/>
                    </a:ext>
                  </a:extLst>
                </p:cNvPr>
                <p:cNvSpPr>
                  <a:spLocks/>
                </p:cNvSpPr>
                <p:nvPr/>
              </p:nvSpPr>
              <p:spPr bwMode="auto">
                <a:xfrm>
                  <a:off x="5837223" y="3084442"/>
                  <a:ext cx="66332" cy="136349"/>
                </a:xfrm>
                <a:custGeom>
                  <a:avLst/>
                  <a:gdLst>
                    <a:gd name="T0" fmla="*/ 19 w 21"/>
                    <a:gd name="T1" fmla="*/ 0 h 43"/>
                    <a:gd name="T2" fmla="*/ 16 w 21"/>
                    <a:gd name="T3" fmla="*/ 4 h 43"/>
                    <a:gd name="T4" fmla="*/ 11 w 21"/>
                    <a:gd name="T5" fmla="*/ 14 h 43"/>
                    <a:gd name="T6" fmla="*/ 8 w 21"/>
                    <a:gd name="T7" fmla="*/ 19 h 43"/>
                    <a:gd name="T8" fmla="*/ 3 w 21"/>
                    <a:gd name="T9" fmla="*/ 25 h 43"/>
                    <a:gd name="T10" fmla="*/ 0 w 21"/>
                    <a:gd name="T11" fmla="*/ 37 h 43"/>
                    <a:gd name="T12" fmla="*/ 2 w 21"/>
                    <a:gd name="T13" fmla="*/ 43 h 43"/>
                    <a:gd name="T14" fmla="*/ 4 w 21"/>
                    <a:gd name="T15" fmla="*/ 41 h 43"/>
                    <a:gd name="T16" fmla="*/ 6 w 21"/>
                    <a:gd name="T17" fmla="*/ 36 h 43"/>
                    <a:gd name="T18" fmla="*/ 13 w 21"/>
                    <a:gd name="T19" fmla="*/ 19 h 43"/>
                    <a:gd name="T20" fmla="*/ 19 w 21"/>
                    <a:gd name="T21" fmla="*/ 0 h 43"/>
                    <a:gd name="T22" fmla="*/ 19 w 2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3">
                      <a:moveTo>
                        <a:pt x="19" y="0"/>
                      </a:moveTo>
                      <a:cubicBezTo>
                        <a:pt x="17" y="0"/>
                        <a:pt x="16" y="3"/>
                        <a:pt x="16" y="4"/>
                      </a:cubicBezTo>
                      <a:cubicBezTo>
                        <a:pt x="14" y="7"/>
                        <a:pt x="13" y="11"/>
                        <a:pt x="11" y="14"/>
                      </a:cubicBezTo>
                      <a:cubicBezTo>
                        <a:pt x="10" y="16"/>
                        <a:pt x="9" y="18"/>
                        <a:pt x="8" y="19"/>
                      </a:cubicBezTo>
                      <a:cubicBezTo>
                        <a:pt x="6" y="21"/>
                        <a:pt x="4" y="22"/>
                        <a:pt x="3" y="25"/>
                      </a:cubicBezTo>
                      <a:cubicBezTo>
                        <a:pt x="1" y="29"/>
                        <a:pt x="0" y="32"/>
                        <a:pt x="0" y="37"/>
                      </a:cubicBezTo>
                      <a:cubicBezTo>
                        <a:pt x="0" y="40"/>
                        <a:pt x="1" y="43"/>
                        <a:pt x="2" y="43"/>
                      </a:cubicBezTo>
                      <a:cubicBezTo>
                        <a:pt x="3" y="43"/>
                        <a:pt x="3" y="43"/>
                        <a:pt x="4" y="41"/>
                      </a:cubicBezTo>
                      <a:cubicBezTo>
                        <a:pt x="5" y="39"/>
                        <a:pt x="5" y="38"/>
                        <a:pt x="6" y="36"/>
                      </a:cubicBezTo>
                      <a:cubicBezTo>
                        <a:pt x="8" y="30"/>
                        <a:pt x="11" y="25"/>
                        <a:pt x="13" y="19"/>
                      </a:cubicBezTo>
                      <a:cubicBezTo>
                        <a:pt x="14" y="16"/>
                        <a:pt x="21" y="1"/>
                        <a:pt x="19" y="0"/>
                      </a:cubicBez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5" name="Freeform 75">
                  <a:extLst>
                    <a:ext uri="{FF2B5EF4-FFF2-40B4-BE49-F238E27FC236}">
                      <a16:creationId xmlns:a16="http://schemas.microsoft.com/office/drawing/2014/main" id="{B02F4624-DECF-4CAA-AAA0-9B54FCB44719}"/>
                    </a:ext>
                  </a:extLst>
                </p:cNvPr>
                <p:cNvSpPr>
                  <a:spLocks/>
                </p:cNvSpPr>
                <p:nvPr/>
              </p:nvSpPr>
              <p:spPr bwMode="auto">
                <a:xfrm>
                  <a:off x="6607412" y="117924"/>
                  <a:ext cx="36851" cy="29481"/>
                </a:xfrm>
                <a:custGeom>
                  <a:avLst/>
                  <a:gdLst>
                    <a:gd name="T0" fmla="*/ 11 w 11"/>
                    <a:gd name="T1" fmla="*/ 0 h 10"/>
                    <a:gd name="T2" fmla="*/ 0 w 11"/>
                    <a:gd name="T3" fmla="*/ 10 h 10"/>
                    <a:gd name="T4" fmla="*/ 11 w 11"/>
                    <a:gd name="T5" fmla="*/ 0 h 10"/>
                  </a:gdLst>
                  <a:ahLst/>
                  <a:cxnLst>
                    <a:cxn ang="0">
                      <a:pos x="T0" y="T1"/>
                    </a:cxn>
                    <a:cxn ang="0">
                      <a:pos x="T2" y="T3"/>
                    </a:cxn>
                    <a:cxn ang="0">
                      <a:pos x="T4" y="T5"/>
                    </a:cxn>
                  </a:cxnLst>
                  <a:rect l="0" t="0" r="r" b="b"/>
                  <a:pathLst>
                    <a:path w="11" h="10">
                      <a:moveTo>
                        <a:pt x="11" y="0"/>
                      </a:moveTo>
                      <a:cubicBezTo>
                        <a:pt x="7" y="2"/>
                        <a:pt x="3" y="6"/>
                        <a:pt x="0" y="10"/>
                      </a:cubicBezTo>
                      <a:cubicBezTo>
                        <a:pt x="4" y="7"/>
                        <a:pt x="8" y="3"/>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6" name="Freeform 76">
                  <a:extLst>
                    <a:ext uri="{FF2B5EF4-FFF2-40B4-BE49-F238E27FC236}">
                      <a16:creationId xmlns:a16="http://schemas.microsoft.com/office/drawing/2014/main" id="{5FB89EE6-7C2B-4868-9D90-909884982B64}"/>
                    </a:ext>
                  </a:extLst>
                </p:cNvPr>
                <p:cNvSpPr>
                  <a:spLocks/>
                </p:cNvSpPr>
                <p:nvPr/>
              </p:nvSpPr>
              <p:spPr bwMode="auto">
                <a:xfrm>
                  <a:off x="4702208" y="5100201"/>
                  <a:ext cx="44221" cy="29481"/>
                </a:xfrm>
                <a:custGeom>
                  <a:avLst/>
                  <a:gdLst>
                    <a:gd name="T0" fmla="*/ 7 w 14"/>
                    <a:gd name="T1" fmla="*/ 0 h 9"/>
                    <a:gd name="T2" fmla="*/ 0 w 14"/>
                    <a:gd name="T3" fmla="*/ 2 h 9"/>
                    <a:gd name="T4" fmla="*/ 13 w 14"/>
                    <a:gd name="T5" fmla="*/ 9 h 9"/>
                    <a:gd name="T6" fmla="*/ 9 w 14"/>
                    <a:gd name="T7" fmla="*/ 0 h 9"/>
                    <a:gd name="T8" fmla="*/ 7 w 14"/>
                    <a:gd name="T9" fmla="*/ 0 h 9"/>
                  </a:gdLst>
                  <a:ahLst/>
                  <a:cxnLst>
                    <a:cxn ang="0">
                      <a:pos x="T0" y="T1"/>
                    </a:cxn>
                    <a:cxn ang="0">
                      <a:pos x="T2" y="T3"/>
                    </a:cxn>
                    <a:cxn ang="0">
                      <a:pos x="T4" y="T5"/>
                    </a:cxn>
                    <a:cxn ang="0">
                      <a:pos x="T6" y="T7"/>
                    </a:cxn>
                    <a:cxn ang="0">
                      <a:pos x="T8" y="T9"/>
                    </a:cxn>
                  </a:cxnLst>
                  <a:rect l="0" t="0" r="r" b="b"/>
                  <a:pathLst>
                    <a:path w="14" h="9">
                      <a:moveTo>
                        <a:pt x="7" y="0"/>
                      </a:moveTo>
                      <a:cubicBezTo>
                        <a:pt x="4" y="0"/>
                        <a:pt x="1" y="1"/>
                        <a:pt x="0" y="2"/>
                      </a:cubicBezTo>
                      <a:cubicBezTo>
                        <a:pt x="3" y="5"/>
                        <a:pt x="9" y="7"/>
                        <a:pt x="13" y="9"/>
                      </a:cubicBezTo>
                      <a:cubicBezTo>
                        <a:pt x="14" y="5"/>
                        <a:pt x="12" y="2"/>
                        <a:pt x="9"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7" name="Freeform 77">
                  <a:extLst>
                    <a:ext uri="{FF2B5EF4-FFF2-40B4-BE49-F238E27FC236}">
                      <a16:creationId xmlns:a16="http://schemas.microsoft.com/office/drawing/2014/main" id="{A6AEE5A2-10B1-4DBF-90E0-B1FA15E9418E}"/>
                    </a:ext>
                  </a:extLst>
                </p:cNvPr>
                <p:cNvSpPr>
                  <a:spLocks/>
                </p:cNvSpPr>
                <p:nvPr/>
              </p:nvSpPr>
              <p:spPr bwMode="auto">
                <a:xfrm>
                  <a:off x="4462675" y="5207069"/>
                  <a:ext cx="40536" cy="29481"/>
                </a:xfrm>
                <a:custGeom>
                  <a:avLst/>
                  <a:gdLst>
                    <a:gd name="T0" fmla="*/ 9 w 13"/>
                    <a:gd name="T1" fmla="*/ 0 h 9"/>
                    <a:gd name="T2" fmla="*/ 5 w 13"/>
                    <a:gd name="T3" fmla="*/ 1 h 9"/>
                    <a:gd name="T4" fmla="*/ 5 w 13"/>
                    <a:gd name="T5" fmla="*/ 9 h 9"/>
                    <a:gd name="T6" fmla="*/ 12 w 13"/>
                    <a:gd name="T7" fmla="*/ 1 h 9"/>
                    <a:gd name="T8" fmla="*/ 9 w 13"/>
                    <a:gd name="T9" fmla="*/ 0 h 9"/>
                  </a:gdLst>
                  <a:ahLst/>
                  <a:cxnLst>
                    <a:cxn ang="0">
                      <a:pos x="T0" y="T1"/>
                    </a:cxn>
                    <a:cxn ang="0">
                      <a:pos x="T2" y="T3"/>
                    </a:cxn>
                    <a:cxn ang="0">
                      <a:pos x="T4" y="T5"/>
                    </a:cxn>
                    <a:cxn ang="0">
                      <a:pos x="T6" y="T7"/>
                    </a:cxn>
                    <a:cxn ang="0">
                      <a:pos x="T8" y="T9"/>
                    </a:cxn>
                  </a:cxnLst>
                  <a:rect l="0" t="0" r="r" b="b"/>
                  <a:pathLst>
                    <a:path w="13" h="9">
                      <a:moveTo>
                        <a:pt x="9" y="0"/>
                      </a:moveTo>
                      <a:cubicBezTo>
                        <a:pt x="8" y="0"/>
                        <a:pt x="6" y="0"/>
                        <a:pt x="5" y="1"/>
                      </a:cubicBezTo>
                      <a:cubicBezTo>
                        <a:pt x="0" y="3"/>
                        <a:pt x="2" y="5"/>
                        <a:pt x="5" y="9"/>
                      </a:cubicBezTo>
                      <a:cubicBezTo>
                        <a:pt x="7" y="7"/>
                        <a:pt x="13" y="3"/>
                        <a:pt x="12" y="1"/>
                      </a:cubicBezTo>
                      <a:cubicBezTo>
                        <a:pt x="12" y="0"/>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8" name="Freeform 78">
                  <a:extLst>
                    <a:ext uri="{FF2B5EF4-FFF2-40B4-BE49-F238E27FC236}">
                      <a16:creationId xmlns:a16="http://schemas.microsoft.com/office/drawing/2014/main" id="{66E4135F-72A9-4B5F-A636-1F322A0F5A30}"/>
                    </a:ext>
                  </a:extLst>
                </p:cNvPr>
                <p:cNvSpPr>
                  <a:spLocks/>
                </p:cNvSpPr>
                <p:nvPr/>
              </p:nvSpPr>
              <p:spPr bwMode="auto">
                <a:xfrm>
                  <a:off x="4569544" y="5114941"/>
                  <a:ext cx="103183" cy="70017"/>
                </a:xfrm>
                <a:custGeom>
                  <a:avLst/>
                  <a:gdLst>
                    <a:gd name="T0" fmla="*/ 23 w 33"/>
                    <a:gd name="T1" fmla="*/ 0 h 22"/>
                    <a:gd name="T2" fmla="*/ 0 w 33"/>
                    <a:gd name="T3" fmla="*/ 12 h 22"/>
                    <a:gd name="T4" fmla="*/ 5 w 33"/>
                    <a:gd name="T5" fmla="*/ 15 h 22"/>
                    <a:gd name="T6" fmla="*/ 6 w 33"/>
                    <a:gd name="T7" fmla="*/ 14 h 22"/>
                    <a:gd name="T8" fmla="*/ 8 w 33"/>
                    <a:gd name="T9" fmla="*/ 14 h 22"/>
                    <a:gd name="T10" fmla="*/ 10 w 33"/>
                    <a:gd name="T11" fmla="*/ 15 h 22"/>
                    <a:gd name="T12" fmla="*/ 12 w 33"/>
                    <a:gd name="T13" fmla="*/ 20 h 22"/>
                    <a:gd name="T14" fmla="*/ 19 w 33"/>
                    <a:gd name="T15" fmla="*/ 22 h 22"/>
                    <a:gd name="T16" fmla="*/ 20 w 33"/>
                    <a:gd name="T17" fmla="*/ 22 h 22"/>
                    <a:gd name="T18" fmla="*/ 27 w 33"/>
                    <a:gd name="T19" fmla="*/ 18 h 22"/>
                    <a:gd name="T20" fmla="*/ 32 w 33"/>
                    <a:gd name="T21" fmla="*/ 8 h 22"/>
                    <a:gd name="T22" fmla="*/ 24 w 33"/>
                    <a:gd name="T23" fmla="*/ 2 h 22"/>
                    <a:gd name="T24" fmla="*/ 22 w 33"/>
                    <a:gd name="T25" fmla="*/ 3 h 22"/>
                    <a:gd name="T26" fmla="*/ 25 w 33"/>
                    <a:gd name="T27" fmla="*/ 0 h 22"/>
                    <a:gd name="T28" fmla="*/ 23 w 33"/>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22">
                      <a:moveTo>
                        <a:pt x="23" y="0"/>
                      </a:moveTo>
                      <a:cubicBezTo>
                        <a:pt x="15" y="0"/>
                        <a:pt x="7" y="8"/>
                        <a:pt x="0" y="12"/>
                      </a:cubicBezTo>
                      <a:cubicBezTo>
                        <a:pt x="2" y="13"/>
                        <a:pt x="3" y="15"/>
                        <a:pt x="5" y="15"/>
                      </a:cubicBezTo>
                      <a:cubicBezTo>
                        <a:pt x="5" y="15"/>
                        <a:pt x="6" y="14"/>
                        <a:pt x="6" y="14"/>
                      </a:cubicBezTo>
                      <a:cubicBezTo>
                        <a:pt x="7" y="14"/>
                        <a:pt x="8" y="14"/>
                        <a:pt x="8" y="14"/>
                      </a:cubicBezTo>
                      <a:cubicBezTo>
                        <a:pt x="9" y="14"/>
                        <a:pt x="9" y="14"/>
                        <a:pt x="10" y="15"/>
                      </a:cubicBezTo>
                      <a:cubicBezTo>
                        <a:pt x="11" y="16"/>
                        <a:pt x="11" y="18"/>
                        <a:pt x="12" y="20"/>
                      </a:cubicBezTo>
                      <a:cubicBezTo>
                        <a:pt x="13" y="21"/>
                        <a:pt x="18" y="22"/>
                        <a:pt x="19" y="22"/>
                      </a:cubicBezTo>
                      <a:cubicBezTo>
                        <a:pt x="19" y="22"/>
                        <a:pt x="19" y="22"/>
                        <a:pt x="20" y="22"/>
                      </a:cubicBezTo>
                      <a:cubicBezTo>
                        <a:pt x="22" y="22"/>
                        <a:pt x="24" y="20"/>
                        <a:pt x="27" y="18"/>
                      </a:cubicBezTo>
                      <a:cubicBezTo>
                        <a:pt x="27" y="15"/>
                        <a:pt x="33" y="10"/>
                        <a:pt x="32" y="8"/>
                      </a:cubicBezTo>
                      <a:cubicBezTo>
                        <a:pt x="31" y="5"/>
                        <a:pt x="17" y="9"/>
                        <a:pt x="24" y="2"/>
                      </a:cubicBezTo>
                      <a:cubicBezTo>
                        <a:pt x="23" y="3"/>
                        <a:pt x="22" y="3"/>
                        <a:pt x="22" y="3"/>
                      </a:cubicBezTo>
                      <a:cubicBezTo>
                        <a:pt x="21" y="3"/>
                        <a:pt x="23" y="1"/>
                        <a:pt x="25" y="0"/>
                      </a:cubicBezTo>
                      <a:cubicBezTo>
                        <a:pt x="24" y="0"/>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9" name="Freeform 79">
                  <a:extLst>
                    <a:ext uri="{FF2B5EF4-FFF2-40B4-BE49-F238E27FC236}">
                      <a16:creationId xmlns:a16="http://schemas.microsoft.com/office/drawing/2014/main" id="{06C21ED8-B386-44BA-874C-9AD0C53417DA}"/>
                    </a:ext>
                  </a:extLst>
                </p:cNvPr>
                <p:cNvSpPr>
                  <a:spLocks/>
                </p:cNvSpPr>
                <p:nvPr/>
              </p:nvSpPr>
              <p:spPr bwMode="auto">
                <a:xfrm>
                  <a:off x="2878076" y="5826168"/>
                  <a:ext cx="7370" cy="7370"/>
                </a:xfrm>
                <a:custGeom>
                  <a:avLst/>
                  <a:gdLst>
                    <a:gd name="T0" fmla="*/ 2 w 2"/>
                    <a:gd name="T1" fmla="*/ 0 h 2"/>
                    <a:gd name="T2" fmla="*/ 0 w 2"/>
                    <a:gd name="T3" fmla="*/ 2 h 2"/>
                    <a:gd name="T4" fmla="*/ 2 w 2"/>
                    <a:gd name="T5" fmla="*/ 0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1" y="1"/>
                        <a:pt x="0" y="2"/>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0" name="Freeform 80">
                  <a:extLst>
                    <a:ext uri="{FF2B5EF4-FFF2-40B4-BE49-F238E27FC236}">
                      <a16:creationId xmlns:a16="http://schemas.microsoft.com/office/drawing/2014/main" id="{01D5B9A5-A7B9-4D7E-9115-A3E8FC9A7AFD}"/>
                    </a:ext>
                  </a:extLst>
                </p:cNvPr>
                <p:cNvSpPr>
                  <a:spLocks/>
                </p:cNvSpPr>
                <p:nvPr/>
              </p:nvSpPr>
              <p:spPr bwMode="auto">
                <a:xfrm>
                  <a:off x="6194680" y="1230829"/>
                  <a:ext cx="44221" cy="25796"/>
                </a:xfrm>
                <a:custGeom>
                  <a:avLst/>
                  <a:gdLst>
                    <a:gd name="T0" fmla="*/ 10 w 13"/>
                    <a:gd name="T1" fmla="*/ 0 h 8"/>
                    <a:gd name="T2" fmla="*/ 0 w 13"/>
                    <a:gd name="T3" fmla="*/ 3 h 8"/>
                    <a:gd name="T4" fmla="*/ 3 w 13"/>
                    <a:gd name="T5" fmla="*/ 8 h 8"/>
                    <a:gd name="T6" fmla="*/ 5 w 13"/>
                    <a:gd name="T7" fmla="*/ 6 h 8"/>
                    <a:gd name="T8" fmla="*/ 7 w 13"/>
                    <a:gd name="T9" fmla="*/ 8 h 8"/>
                    <a:gd name="T10" fmla="*/ 9 w 13"/>
                    <a:gd name="T11" fmla="*/ 8 h 8"/>
                    <a:gd name="T12" fmla="*/ 10 w 13"/>
                    <a:gd name="T13" fmla="*/ 8 h 8"/>
                    <a:gd name="T14" fmla="*/ 12 w 13"/>
                    <a:gd name="T15" fmla="*/ 0 h 8"/>
                    <a:gd name="T16" fmla="*/ 10 w 13"/>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8">
                      <a:moveTo>
                        <a:pt x="10" y="0"/>
                      </a:moveTo>
                      <a:cubicBezTo>
                        <a:pt x="7" y="0"/>
                        <a:pt x="3" y="2"/>
                        <a:pt x="0" y="3"/>
                      </a:cubicBezTo>
                      <a:cubicBezTo>
                        <a:pt x="1" y="5"/>
                        <a:pt x="2" y="8"/>
                        <a:pt x="3" y="8"/>
                      </a:cubicBezTo>
                      <a:cubicBezTo>
                        <a:pt x="4" y="8"/>
                        <a:pt x="5" y="7"/>
                        <a:pt x="5" y="6"/>
                      </a:cubicBezTo>
                      <a:cubicBezTo>
                        <a:pt x="5" y="7"/>
                        <a:pt x="6" y="8"/>
                        <a:pt x="7" y="8"/>
                      </a:cubicBezTo>
                      <a:cubicBezTo>
                        <a:pt x="6" y="8"/>
                        <a:pt x="9" y="8"/>
                        <a:pt x="9" y="8"/>
                      </a:cubicBezTo>
                      <a:cubicBezTo>
                        <a:pt x="10" y="8"/>
                        <a:pt x="10" y="8"/>
                        <a:pt x="10" y="8"/>
                      </a:cubicBezTo>
                      <a:cubicBezTo>
                        <a:pt x="13" y="6"/>
                        <a:pt x="12" y="4"/>
                        <a:pt x="12" y="0"/>
                      </a:cubicBezTo>
                      <a:cubicBezTo>
                        <a:pt x="12"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1" name="Freeform 81">
                  <a:extLst>
                    <a:ext uri="{FF2B5EF4-FFF2-40B4-BE49-F238E27FC236}">
                      <a16:creationId xmlns:a16="http://schemas.microsoft.com/office/drawing/2014/main" id="{A35C9EEA-0DF0-40FA-866E-4C5E6EDC878B}"/>
                    </a:ext>
                  </a:extLst>
                </p:cNvPr>
                <p:cNvSpPr>
                  <a:spLocks/>
                </p:cNvSpPr>
                <p:nvPr/>
              </p:nvSpPr>
              <p:spPr bwMode="auto">
                <a:xfrm>
                  <a:off x="6419472" y="1160812"/>
                  <a:ext cx="73702" cy="55277"/>
                </a:xfrm>
                <a:custGeom>
                  <a:avLst/>
                  <a:gdLst>
                    <a:gd name="T0" fmla="*/ 18 w 24"/>
                    <a:gd name="T1" fmla="*/ 0 h 17"/>
                    <a:gd name="T2" fmla="*/ 19 w 24"/>
                    <a:gd name="T3" fmla="*/ 4 h 17"/>
                    <a:gd name="T4" fmla="*/ 0 w 24"/>
                    <a:gd name="T5" fmla="*/ 11 h 17"/>
                    <a:gd name="T6" fmla="*/ 9 w 24"/>
                    <a:gd name="T7" fmla="*/ 17 h 17"/>
                    <a:gd name="T8" fmla="*/ 12 w 24"/>
                    <a:gd name="T9" fmla="*/ 16 h 17"/>
                    <a:gd name="T10" fmla="*/ 22 w 24"/>
                    <a:gd name="T11" fmla="*/ 5 h 17"/>
                    <a:gd name="T12" fmla="*/ 19 w 24"/>
                    <a:gd name="T13" fmla="*/ 0 h 17"/>
                    <a:gd name="T14" fmla="*/ 18 w 24"/>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18" y="0"/>
                      </a:moveTo>
                      <a:cubicBezTo>
                        <a:pt x="15" y="0"/>
                        <a:pt x="17" y="3"/>
                        <a:pt x="19" y="4"/>
                      </a:cubicBezTo>
                      <a:cubicBezTo>
                        <a:pt x="14" y="8"/>
                        <a:pt x="6" y="9"/>
                        <a:pt x="0" y="11"/>
                      </a:cubicBezTo>
                      <a:cubicBezTo>
                        <a:pt x="3" y="14"/>
                        <a:pt x="5" y="17"/>
                        <a:pt x="9" y="17"/>
                      </a:cubicBezTo>
                      <a:cubicBezTo>
                        <a:pt x="10" y="17"/>
                        <a:pt x="11" y="17"/>
                        <a:pt x="12" y="16"/>
                      </a:cubicBezTo>
                      <a:cubicBezTo>
                        <a:pt x="15" y="14"/>
                        <a:pt x="24" y="9"/>
                        <a:pt x="22" y="5"/>
                      </a:cubicBezTo>
                      <a:cubicBezTo>
                        <a:pt x="21" y="2"/>
                        <a:pt x="22" y="1"/>
                        <a:pt x="19"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2" name="Freeform 82">
                  <a:extLst>
                    <a:ext uri="{FF2B5EF4-FFF2-40B4-BE49-F238E27FC236}">
                      <a16:creationId xmlns:a16="http://schemas.microsoft.com/office/drawing/2014/main" id="{9C28D8CA-F964-4FA3-8ACA-E8C501DAF0D3}"/>
                    </a:ext>
                  </a:extLst>
                </p:cNvPr>
                <p:cNvSpPr>
                  <a:spLocks/>
                </p:cNvSpPr>
                <p:nvPr/>
              </p:nvSpPr>
              <p:spPr bwMode="auto">
                <a:xfrm>
                  <a:off x="4853298" y="2417437"/>
                  <a:ext cx="33166" cy="18426"/>
                </a:xfrm>
                <a:custGeom>
                  <a:avLst/>
                  <a:gdLst>
                    <a:gd name="T0" fmla="*/ 10 w 10"/>
                    <a:gd name="T1" fmla="*/ 0 h 5"/>
                    <a:gd name="T2" fmla="*/ 4 w 10"/>
                    <a:gd name="T3" fmla="*/ 5 h 5"/>
                    <a:gd name="T4" fmla="*/ 5 w 10"/>
                    <a:gd name="T5" fmla="*/ 5 h 5"/>
                    <a:gd name="T6" fmla="*/ 10 w 10"/>
                    <a:gd name="T7" fmla="*/ 0 h 5"/>
                  </a:gdLst>
                  <a:ahLst/>
                  <a:cxnLst>
                    <a:cxn ang="0">
                      <a:pos x="T0" y="T1"/>
                    </a:cxn>
                    <a:cxn ang="0">
                      <a:pos x="T2" y="T3"/>
                    </a:cxn>
                    <a:cxn ang="0">
                      <a:pos x="T4" y="T5"/>
                    </a:cxn>
                    <a:cxn ang="0">
                      <a:pos x="T6" y="T7"/>
                    </a:cxn>
                  </a:cxnLst>
                  <a:rect l="0" t="0" r="r" b="b"/>
                  <a:pathLst>
                    <a:path w="10" h="5">
                      <a:moveTo>
                        <a:pt x="10" y="0"/>
                      </a:moveTo>
                      <a:cubicBezTo>
                        <a:pt x="9" y="1"/>
                        <a:pt x="0" y="3"/>
                        <a:pt x="4" y="5"/>
                      </a:cubicBezTo>
                      <a:cubicBezTo>
                        <a:pt x="4" y="5"/>
                        <a:pt x="4" y="5"/>
                        <a:pt x="5" y="5"/>
                      </a:cubicBezTo>
                      <a:cubicBezTo>
                        <a:pt x="7" y="5"/>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3" name="Freeform 83">
                  <a:extLst>
                    <a:ext uri="{FF2B5EF4-FFF2-40B4-BE49-F238E27FC236}">
                      <a16:creationId xmlns:a16="http://schemas.microsoft.com/office/drawing/2014/main" id="{C93145CA-A671-4970-A8CF-216FBC1FD36B}"/>
                    </a:ext>
                  </a:extLst>
                </p:cNvPr>
                <p:cNvSpPr>
                  <a:spLocks/>
                </p:cNvSpPr>
                <p:nvPr/>
              </p:nvSpPr>
              <p:spPr bwMode="auto">
                <a:xfrm>
                  <a:off x="4820132" y="2815429"/>
                  <a:ext cx="22111" cy="33166"/>
                </a:xfrm>
                <a:custGeom>
                  <a:avLst/>
                  <a:gdLst>
                    <a:gd name="T0" fmla="*/ 3 w 7"/>
                    <a:gd name="T1" fmla="*/ 0 h 10"/>
                    <a:gd name="T2" fmla="*/ 1 w 7"/>
                    <a:gd name="T3" fmla="*/ 9 h 10"/>
                    <a:gd name="T4" fmla="*/ 3 w 7"/>
                    <a:gd name="T5" fmla="*/ 10 h 10"/>
                    <a:gd name="T6" fmla="*/ 5 w 7"/>
                    <a:gd name="T7" fmla="*/ 9 h 10"/>
                    <a:gd name="T8" fmla="*/ 3 w 7"/>
                    <a:gd name="T9" fmla="*/ 0 h 10"/>
                  </a:gdLst>
                  <a:ahLst/>
                  <a:cxnLst>
                    <a:cxn ang="0">
                      <a:pos x="T0" y="T1"/>
                    </a:cxn>
                    <a:cxn ang="0">
                      <a:pos x="T2" y="T3"/>
                    </a:cxn>
                    <a:cxn ang="0">
                      <a:pos x="T4" y="T5"/>
                    </a:cxn>
                    <a:cxn ang="0">
                      <a:pos x="T6" y="T7"/>
                    </a:cxn>
                    <a:cxn ang="0">
                      <a:pos x="T8" y="T9"/>
                    </a:cxn>
                  </a:cxnLst>
                  <a:rect l="0" t="0" r="r" b="b"/>
                  <a:pathLst>
                    <a:path w="7" h="10">
                      <a:moveTo>
                        <a:pt x="3" y="0"/>
                      </a:moveTo>
                      <a:cubicBezTo>
                        <a:pt x="2" y="2"/>
                        <a:pt x="0" y="7"/>
                        <a:pt x="1" y="9"/>
                      </a:cubicBezTo>
                      <a:cubicBezTo>
                        <a:pt x="2" y="10"/>
                        <a:pt x="2" y="10"/>
                        <a:pt x="3" y="10"/>
                      </a:cubicBezTo>
                      <a:cubicBezTo>
                        <a:pt x="4" y="10"/>
                        <a:pt x="4" y="10"/>
                        <a:pt x="5" y="9"/>
                      </a:cubicBezTo>
                      <a:cubicBezTo>
                        <a:pt x="7" y="6"/>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4" name="Freeform 84">
                  <a:extLst>
                    <a:ext uri="{FF2B5EF4-FFF2-40B4-BE49-F238E27FC236}">
                      <a16:creationId xmlns:a16="http://schemas.microsoft.com/office/drawing/2014/main" id="{ABD56090-65B4-4A0E-8A6B-4779B8C6CDAE}"/>
                    </a:ext>
                  </a:extLst>
                </p:cNvPr>
                <p:cNvSpPr>
                  <a:spLocks/>
                </p:cNvSpPr>
                <p:nvPr/>
              </p:nvSpPr>
              <p:spPr bwMode="auto">
                <a:xfrm>
                  <a:off x="6043590" y="1249255"/>
                  <a:ext cx="92128" cy="44221"/>
                </a:xfrm>
                <a:custGeom>
                  <a:avLst/>
                  <a:gdLst>
                    <a:gd name="T0" fmla="*/ 14 w 29"/>
                    <a:gd name="T1" fmla="*/ 0 h 14"/>
                    <a:gd name="T2" fmla="*/ 12 w 29"/>
                    <a:gd name="T3" fmla="*/ 2 h 14"/>
                    <a:gd name="T4" fmla="*/ 10 w 29"/>
                    <a:gd name="T5" fmla="*/ 2 h 14"/>
                    <a:gd name="T6" fmla="*/ 4 w 29"/>
                    <a:gd name="T7" fmla="*/ 5 h 14"/>
                    <a:gd name="T8" fmla="*/ 7 w 29"/>
                    <a:gd name="T9" fmla="*/ 11 h 14"/>
                    <a:gd name="T10" fmla="*/ 15 w 29"/>
                    <a:gd name="T11" fmla="*/ 14 h 14"/>
                    <a:gd name="T12" fmla="*/ 18 w 29"/>
                    <a:gd name="T13" fmla="*/ 13 h 14"/>
                    <a:gd name="T14" fmla="*/ 27 w 29"/>
                    <a:gd name="T15" fmla="*/ 6 h 14"/>
                    <a:gd name="T16" fmla="*/ 26 w 29"/>
                    <a:gd name="T17" fmla="*/ 2 h 14"/>
                    <a:gd name="T18" fmla="*/ 14 w 29"/>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4">
                      <a:moveTo>
                        <a:pt x="14" y="0"/>
                      </a:moveTo>
                      <a:cubicBezTo>
                        <a:pt x="12" y="0"/>
                        <a:pt x="10" y="0"/>
                        <a:pt x="12" y="2"/>
                      </a:cubicBezTo>
                      <a:cubicBezTo>
                        <a:pt x="11" y="2"/>
                        <a:pt x="11" y="2"/>
                        <a:pt x="10" y="2"/>
                      </a:cubicBezTo>
                      <a:cubicBezTo>
                        <a:pt x="8" y="2"/>
                        <a:pt x="6" y="4"/>
                        <a:pt x="4" y="5"/>
                      </a:cubicBezTo>
                      <a:cubicBezTo>
                        <a:pt x="0" y="8"/>
                        <a:pt x="4" y="10"/>
                        <a:pt x="7" y="11"/>
                      </a:cubicBezTo>
                      <a:cubicBezTo>
                        <a:pt x="10" y="13"/>
                        <a:pt x="12" y="14"/>
                        <a:pt x="15" y="14"/>
                      </a:cubicBezTo>
                      <a:cubicBezTo>
                        <a:pt x="16" y="14"/>
                        <a:pt x="17" y="14"/>
                        <a:pt x="18" y="13"/>
                      </a:cubicBezTo>
                      <a:cubicBezTo>
                        <a:pt x="22" y="13"/>
                        <a:pt x="25" y="9"/>
                        <a:pt x="27" y="6"/>
                      </a:cubicBezTo>
                      <a:cubicBezTo>
                        <a:pt x="29" y="4"/>
                        <a:pt x="28" y="4"/>
                        <a:pt x="26" y="2"/>
                      </a:cubicBezTo>
                      <a:cubicBezTo>
                        <a:pt x="24" y="1"/>
                        <a:pt x="18"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5" name="Freeform 85">
                  <a:extLst>
                    <a:ext uri="{FF2B5EF4-FFF2-40B4-BE49-F238E27FC236}">
                      <a16:creationId xmlns:a16="http://schemas.microsoft.com/office/drawing/2014/main" id="{2C0D4386-CD95-410A-A624-6E4ECADFEC20}"/>
                    </a:ext>
                  </a:extLst>
                </p:cNvPr>
                <p:cNvSpPr>
                  <a:spLocks/>
                </p:cNvSpPr>
                <p:nvPr/>
              </p:nvSpPr>
              <p:spPr bwMode="auto">
                <a:xfrm>
                  <a:off x="5652968" y="1422455"/>
                  <a:ext cx="95813" cy="66332"/>
                </a:xfrm>
                <a:custGeom>
                  <a:avLst/>
                  <a:gdLst>
                    <a:gd name="T0" fmla="*/ 20 w 30"/>
                    <a:gd name="T1" fmla="*/ 0 h 21"/>
                    <a:gd name="T2" fmla="*/ 19 w 30"/>
                    <a:gd name="T3" fmla="*/ 2 h 21"/>
                    <a:gd name="T4" fmla="*/ 20 w 30"/>
                    <a:gd name="T5" fmla="*/ 5 h 21"/>
                    <a:gd name="T6" fmla="*/ 12 w 30"/>
                    <a:gd name="T7" fmla="*/ 12 h 21"/>
                    <a:gd name="T8" fmla="*/ 2 w 30"/>
                    <a:gd name="T9" fmla="*/ 19 h 21"/>
                    <a:gd name="T10" fmla="*/ 4 w 30"/>
                    <a:gd name="T11" fmla="*/ 20 h 21"/>
                    <a:gd name="T12" fmla="*/ 6 w 30"/>
                    <a:gd name="T13" fmla="*/ 20 h 21"/>
                    <a:gd name="T14" fmla="*/ 9 w 30"/>
                    <a:gd name="T15" fmla="*/ 17 h 21"/>
                    <a:gd name="T16" fmla="*/ 13 w 30"/>
                    <a:gd name="T17" fmla="*/ 16 h 21"/>
                    <a:gd name="T18" fmla="*/ 19 w 30"/>
                    <a:gd name="T19" fmla="*/ 17 h 21"/>
                    <a:gd name="T20" fmla="*/ 18 w 30"/>
                    <a:gd name="T21" fmla="*/ 21 h 21"/>
                    <a:gd name="T22" fmla="*/ 18 w 30"/>
                    <a:gd name="T23" fmla="*/ 21 h 21"/>
                    <a:gd name="T24" fmla="*/ 27 w 30"/>
                    <a:gd name="T25" fmla="*/ 18 h 21"/>
                    <a:gd name="T26" fmla="*/ 29 w 30"/>
                    <a:gd name="T27" fmla="*/ 13 h 21"/>
                    <a:gd name="T28" fmla="*/ 29 w 30"/>
                    <a:gd name="T29" fmla="*/ 9 h 21"/>
                    <a:gd name="T30" fmla="*/ 28 w 30"/>
                    <a:gd name="T31" fmla="*/ 8 h 21"/>
                    <a:gd name="T32" fmla="*/ 27 w 30"/>
                    <a:gd name="T33" fmla="*/ 9 h 21"/>
                    <a:gd name="T34" fmla="*/ 26 w 30"/>
                    <a:gd name="T35" fmla="*/ 9 h 21"/>
                    <a:gd name="T36" fmla="*/ 26 w 30"/>
                    <a:gd name="T37" fmla="*/ 9 h 21"/>
                    <a:gd name="T38" fmla="*/ 20 w 30"/>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1">
                      <a:moveTo>
                        <a:pt x="20" y="0"/>
                      </a:moveTo>
                      <a:cubicBezTo>
                        <a:pt x="20" y="0"/>
                        <a:pt x="19" y="1"/>
                        <a:pt x="19" y="2"/>
                      </a:cubicBezTo>
                      <a:cubicBezTo>
                        <a:pt x="19" y="4"/>
                        <a:pt x="21" y="4"/>
                        <a:pt x="20" y="5"/>
                      </a:cubicBezTo>
                      <a:cubicBezTo>
                        <a:pt x="17" y="7"/>
                        <a:pt x="14" y="10"/>
                        <a:pt x="12" y="12"/>
                      </a:cubicBezTo>
                      <a:cubicBezTo>
                        <a:pt x="9" y="13"/>
                        <a:pt x="0" y="15"/>
                        <a:pt x="2" y="19"/>
                      </a:cubicBezTo>
                      <a:cubicBezTo>
                        <a:pt x="3" y="20"/>
                        <a:pt x="3" y="20"/>
                        <a:pt x="4" y="20"/>
                      </a:cubicBezTo>
                      <a:cubicBezTo>
                        <a:pt x="5" y="20"/>
                        <a:pt x="6" y="20"/>
                        <a:pt x="6" y="20"/>
                      </a:cubicBezTo>
                      <a:cubicBezTo>
                        <a:pt x="8" y="19"/>
                        <a:pt x="8" y="18"/>
                        <a:pt x="9" y="17"/>
                      </a:cubicBezTo>
                      <a:cubicBezTo>
                        <a:pt x="11" y="16"/>
                        <a:pt x="12" y="16"/>
                        <a:pt x="13" y="16"/>
                      </a:cubicBezTo>
                      <a:cubicBezTo>
                        <a:pt x="15" y="16"/>
                        <a:pt x="17" y="16"/>
                        <a:pt x="19" y="17"/>
                      </a:cubicBezTo>
                      <a:cubicBezTo>
                        <a:pt x="17" y="18"/>
                        <a:pt x="13" y="21"/>
                        <a:pt x="18" y="21"/>
                      </a:cubicBezTo>
                      <a:cubicBezTo>
                        <a:pt x="18" y="21"/>
                        <a:pt x="18" y="21"/>
                        <a:pt x="18" y="21"/>
                      </a:cubicBezTo>
                      <a:cubicBezTo>
                        <a:pt x="21" y="21"/>
                        <a:pt x="24" y="19"/>
                        <a:pt x="27" y="18"/>
                      </a:cubicBezTo>
                      <a:cubicBezTo>
                        <a:pt x="29" y="16"/>
                        <a:pt x="30" y="16"/>
                        <a:pt x="29" y="13"/>
                      </a:cubicBezTo>
                      <a:cubicBezTo>
                        <a:pt x="29" y="12"/>
                        <a:pt x="30" y="10"/>
                        <a:pt x="29" y="9"/>
                      </a:cubicBezTo>
                      <a:cubicBezTo>
                        <a:pt x="29" y="8"/>
                        <a:pt x="29" y="8"/>
                        <a:pt x="28" y="8"/>
                      </a:cubicBezTo>
                      <a:cubicBezTo>
                        <a:pt x="28" y="8"/>
                        <a:pt x="28" y="9"/>
                        <a:pt x="27" y="9"/>
                      </a:cubicBezTo>
                      <a:cubicBezTo>
                        <a:pt x="27" y="9"/>
                        <a:pt x="27" y="9"/>
                        <a:pt x="26" y="9"/>
                      </a:cubicBezTo>
                      <a:cubicBezTo>
                        <a:pt x="26" y="9"/>
                        <a:pt x="26" y="9"/>
                        <a:pt x="26" y="9"/>
                      </a:cubicBezTo>
                      <a:cubicBezTo>
                        <a:pt x="25" y="7"/>
                        <a:pt x="23"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6" name="Freeform 86">
                  <a:extLst>
                    <a:ext uri="{FF2B5EF4-FFF2-40B4-BE49-F238E27FC236}">
                      <a16:creationId xmlns:a16="http://schemas.microsoft.com/office/drawing/2014/main" id="{53226F50-2742-484B-B9E3-6A7B2F524098}"/>
                    </a:ext>
                  </a:extLst>
                </p:cNvPr>
                <p:cNvSpPr>
                  <a:spLocks/>
                </p:cNvSpPr>
                <p:nvPr/>
              </p:nvSpPr>
              <p:spPr bwMode="auto">
                <a:xfrm>
                  <a:off x="5074405" y="2295828"/>
                  <a:ext cx="22111" cy="3685"/>
                </a:xfrm>
                <a:custGeom>
                  <a:avLst/>
                  <a:gdLst>
                    <a:gd name="T0" fmla="*/ 2 w 7"/>
                    <a:gd name="T1" fmla="*/ 0 h 1"/>
                    <a:gd name="T2" fmla="*/ 0 w 7"/>
                    <a:gd name="T3" fmla="*/ 0 h 1"/>
                    <a:gd name="T4" fmla="*/ 4 w 7"/>
                    <a:gd name="T5" fmla="*/ 1 h 1"/>
                    <a:gd name="T6" fmla="*/ 4 w 7"/>
                    <a:gd name="T7" fmla="*/ 1 h 1"/>
                    <a:gd name="T8" fmla="*/ 7 w 7"/>
                    <a:gd name="T9" fmla="*/ 1 h 1"/>
                    <a:gd name="T10" fmla="*/ 2 w 7"/>
                    <a:gd name="T11" fmla="*/ 0 h 1"/>
                  </a:gdLst>
                  <a:ahLst/>
                  <a:cxnLst>
                    <a:cxn ang="0">
                      <a:pos x="T0" y="T1"/>
                    </a:cxn>
                    <a:cxn ang="0">
                      <a:pos x="T2" y="T3"/>
                    </a:cxn>
                    <a:cxn ang="0">
                      <a:pos x="T4" y="T5"/>
                    </a:cxn>
                    <a:cxn ang="0">
                      <a:pos x="T6" y="T7"/>
                    </a:cxn>
                    <a:cxn ang="0">
                      <a:pos x="T8" y="T9"/>
                    </a:cxn>
                    <a:cxn ang="0">
                      <a:pos x="T10" y="T11"/>
                    </a:cxn>
                  </a:cxnLst>
                  <a:rect l="0" t="0" r="r" b="b"/>
                  <a:pathLst>
                    <a:path w="7" h="1">
                      <a:moveTo>
                        <a:pt x="2" y="0"/>
                      </a:moveTo>
                      <a:cubicBezTo>
                        <a:pt x="1" y="0"/>
                        <a:pt x="1" y="0"/>
                        <a:pt x="0" y="0"/>
                      </a:cubicBezTo>
                      <a:cubicBezTo>
                        <a:pt x="1" y="0"/>
                        <a:pt x="3" y="1"/>
                        <a:pt x="4" y="1"/>
                      </a:cubicBezTo>
                      <a:cubicBezTo>
                        <a:pt x="4" y="1"/>
                        <a:pt x="4" y="1"/>
                        <a:pt x="4" y="1"/>
                      </a:cubicBezTo>
                      <a:cubicBezTo>
                        <a:pt x="5" y="1"/>
                        <a:pt x="6" y="1"/>
                        <a:pt x="7" y="1"/>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7" name="Freeform 87">
                  <a:extLst>
                    <a:ext uri="{FF2B5EF4-FFF2-40B4-BE49-F238E27FC236}">
                      <a16:creationId xmlns:a16="http://schemas.microsoft.com/office/drawing/2014/main" id="{BDEBFD6A-273B-45FC-835A-7DD8FDB209B3}"/>
                    </a:ext>
                  </a:extLst>
                </p:cNvPr>
                <p:cNvSpPr>
                  <a:spLocks/>
                </p:cNvSpPr>
                <p:nvPr/>
              </p:nvSpPr>
              <p:spPr bwMode="auto">
                <a:xfrm>
                  <a:off x="5756151" y="1381919"/>
                  <a:ext cx="62647" cy="62647"/>
                </a:xfrm>
                <a:custGeom>
                  <a:avLst/>
                  <a:gdLst>
                    <a:gd name="T0" fmla="*/ 20 w 20"/>
                    <a:gd name="T1" fmla="*/ 0 h 19"/>
                    <a:gd name="T2" fmla="*/ 0 w 20"/>
                    <a:gd name="T3" fmla="*/ 18 h 19"/>
                    <a:gd name="T4" fmla="*/ 0 w 20"/>
                    <a:gd name="T5" fmla="*/ 19 h 19"/>
                    <a:gd name="T6" fmla="*/ 2 w 20"/>
                    <a:gd name="T7" fmla="*/ 15 h 19"/>
                    <a:gd name="T8" fmla="*/ 3 w 20"/>
                    <a:gd name="T9" fmla="*/ 13 h 19"/>
                    <a:gd name="T10" fmla="*/ 4 w 20"/>
                    <a:gd name="T11" fmla="*/ 13 h 19"/>
                    <a:gd name="T12" fmla="*/ 5 w 20"/>
                    <a:gd name="T13" fmla="*/ 14 h 19"/>
                    <a:gd name="T14" fmla="*/ 5 w 20"/>
                    <a:gd name="T15" fmla="*/ 14 h 19"/>
                    <a:gd name="T16" fmla="*/ 13 w 20"/>
                    <a:gd name="T17" fmla="*/ 9 h 19"/>
                    <a:gd name="T18" fmla="*/ 17 w 20"/>
                    <a:gd name="T19" fmla="*/ 6 h 19"/>
                    <a:gd name="T20" fmla="*/ 20 w 20"/>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9">
                      <a:moveTo>
                        <a:pt x="20" y="0"/>
                      </a:moveTo>
                      <a:cubicBezTo>
                        <a:pt x="11" y="4"/>
                        <a:pt x="0" y="6"/>
                        <a:pt x="0" y="18"/>
                      </a:cubicBezTo>
                      <a:cubicBezTo>
                        <a:pt x="0" y="18"/>
                        <a:pt x="0" y="19"/>
                        <a:pt x="0" y="19"/>
                      </a:cubicBezTo>
                      <a:cubicBezTo>
                        <a:pt x="1" y="19"/>
                        <a:pt x="3" y="17"/>
                        <a:pt x="2" y="15"/>
                      </a:cubicBezTo>
                      <a:cubicBezTo>
                        <a:pt x="2" y="13"/>
                        <a:pt x="2" y="13"/>
                        <a:pt x="3" y="13"/>
                      </a:cubicBezTo>
                      <a:cubicBezTo>
                        <a:pt x="3" y="13"/>
                        <a:pt x="3" y="13"/>
                        <a:pt x="4" y="13"/>
                      </a:cubicBezTo>
                      <a:cubicBezTo>
                        <a:pt x="4" y="14"/>
                        <a:pt x="5" y="14"/>
                        <a:pt x="5" y="14"/>
                      </a:cubicBezTo>
                      <a:cubicBezTo>
                        <a:pt x="5" y="14"/>
                        <a:pt x="5" y="14"/>
                        <a:pt x="5" y="14"/>
                      </a:cubicBezTo>
                      <a:cubicBezTo>
                        <a:pt x="8" y="14"/>
                        <a:pt x="11" y="11"/>
                        <a:pt x="13" y="9"/>
                      </a:cubicBezTo>
                      <a:cubicBezTo>
                        <a:pt x="14" y="8"/>
                        <a:pt x="16" y="7"/>
                        <a:pt x="17" y="6"/>
                      </a:cubicBezTo>
                      <a:cubicBezTo>
                        <a:pt x="18" y="4"/>
                        <a:pt x="19" y="2"/>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8" name="Freeform 88">
                  <a:extLst>
                    <a:ext uri="{FF2B5EF4-FFF2-40B4-BE49-F238E27FC236}">
                      <a16:creationId xmlns:a16="http://schemas.microsoft.com/office/drawing/2014/main" id="{E0B88EDF-C01D-4DD8-B3DB-F73E605C39A1}"/>
                    </a:ext>
                  </a:extLst>
                </p:cNvPr>
                <p:cNvSpPr>
                  <a:spLocks/>
                </p:cNvSpPr>
                <p:nvPr/>
              </p:nvSpPr>
              <p:spPr bwMode="auto">
                <a:xfrm>
                  <a:off x="5715615" y="1429826"/>
                  <a:ext cx="140034" cy="103183"/>
                </a:xfrm>
                <a:custGeom>
                  <a:avLst/>
                  <a:gdLst>
                    <a:gd name="T0" fmla="*/ 24 w 44"/>
                    <a:gd name="T1" fmla="*/ 0 h 32"/>
                    <a:gd name="T2" fmla="*/ 18 w 44"/>
                    <a:gd name="T3" fmla="*/ 7 h 32"/>
                    <a:gd name="T4" fmla="*/ 15 w 44"/>
                    <a:gd name="T5" fmla="*/ 11 h 32"/>
                    <a:gd name="T6" fmla="*/ 19 w 44"/>
                    <a:gd name="T7" fmla="*/ 12 h 32"/>
                    <a:gd name="T8" fmla="*/ 13 w 44"/>
                    <a:gd name="T9" fmla="*/ 11 h 32"/>
                    <a:gd name="T10" fmla="*/ 12 w 44"/>
                    <a:gd name="T11" fmla="*/ 11 h 32"/>
                    <a:gd name="T12" fmla="*/ 13 w 44"/>
                    <a:gd name="T13" fmla="*/ 16 h 32"/>
                    <a:gd name="T14" fmla="*/ 8 w 44"/>
                    <a:gd name="T15" fmla="*/ 19 h 32"/>
                    <a:gd name="T16" fmla="*/ 8 w 44"/>
                    <a:gd name="T17" fmla="*/ 24 h 32"/>
                    <a:gd name="T18" fmla="*/ 0 w 44"/>
                    <a:gd name="T19" fmla="*/ 30 h 32"/>
                    <a:gd name="T20" fmla="*/ 3 w 44"/>
                    <a:gd name="T21" fmla="*/ 30 h 32"/>
                    <a:gd name="T22" fmla="*/ 15 w 44"/>
                    <a:gd name="T23" fmla="*/ 31 h 32"/>
                    <a:gd name="T24" fmla="*/ 16 w 44"/>
                    <a:gd name="T25" fmla="*/ 32 h 32"/>
                    <a:gd name="T26" fmla="*/ 18 w 44"/>
                    <a:gd name="T27" fmla="*/ 31 h 32"/>
                    <a:gd name="T28" fmla="*/ 23 w 44"/>
                    <a:gd name="T29" fmla="*/ 26 h 32"/>
                    <a:gd name="T30" fmla="*/ 30 w 44"/>
                    <a:gd name="T31" fmla="*/ 20 h 32"/>
                    <a:gd name="T32" fmla="*/ 41 w 44"/>
                    <a:gd name="T33" fmla="*/ 19 h 32"/>
                    <a:gd name="T34" fmla="*/ 44 w 44"/>
                    <a:gd name="T35" fmla="*/ 6 h 32"/>
                    <a:gd name="T36" fmla="*/ 43 w 44"/>
                    <a:gd name="T37" fmla="*/ 6 h 32"/>
                    <a:gd name="T38" fmla="*/ 40 w 44"/>
                    <a:gd name="T39" fmla="*/ 5 h 32"/>
                    <a:gd name="T40" fmla="*/ 36 w 44"/>
                    <a:gd name="T41" fmla="*/ 4 h 32"/>
                    <a:gd name="T42" fmla="*/ 33 w 44"/>
                    <a:gd name="T43" fmla="*/ 5 h 32"/>
                    <a:gd name="T44" fmla="*/ 32 w 44"/>
                    <a:gd name="T45" fmla="*/ 9 h 32"/>
                    <a:gd name="T46" fmla="*/ 29 w 44"/>
                    <a:gd name="T47" fmla="*/ 14 h 32"/>
                    <a:gd name="T48" fmla="*/ 19 w 44"/>
                    <a:gd name="T49" fmla="*/ 20 h 32"/>
                    <a:gd name="T50" fmla="*/ 22 w 44"/>
                    <a:gd name="T51" fmla="*/ 15 h 32"/>
                    <a:gd name="T52" fmla="*/ 25 w 44"/>
                    <a:gd name="T53" fmla="*/ 14 h 32"/>
                    <a:gd name="T54" fmla="*/ 21 w 44"/>
                    <a:gd name="T55" fmla="*/ 10 h 32"/>
                    <a:gd name="T56" fmla="*/ 24 w 44"/>
                    <a:gd name="T5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32">
                      <a:moveTo>
                        <a:pt x="24" y="0"/>
                      </a:moveTo>
                      <a:cubicBezTo>
                        <a:pt x="17" y="0"/>
                        <a:pt x="17" y="0"/>
                        <a:pt x="18" y="7"/>
                      </a:cubicBezTo>
                      <a:cubicBezTo>
                        <a:pt x="15" y="7"/>
                        <a:pt x="11" y="7"/>
                        <a:pt x="15" y="11"/>
                      </a:cubicBezTo>
                      <a:cubicBezTo>
                        <a:pt x="15" y="11"/>
                        <a:pt x="17" y="11"/>
                        <a:pt x="19" y="12"/>
                      </a:cubicBezTo>
                      <a:cubicBezTo>
                        <a:pt x="18" y="12"/>
                        <a:pt x="14" y="11"/>
                        <a:pt x="13" y="11"/>
                      </a:cubicBezTo>
                      <a:cubicBezTo>
                        <a:pt x="12" y="11"/>
                        <a:pt x="12" y="11"/>
                        <a:pt x="12" y="11"/>
                      </a:cubicBezTo>
                      <a:cubicBezTo>
                        <a:pt x="11" y="13"/>
                        <a:pt x="15" y="15"/>
                        <a:pt x="13" y="16"/>
                      </a:cubicBezTo>
                      <a:cubicBezTo>
                        <a:pt x="12" y="17"/>
                        <a:pt x="8" y="18"/>
                        <a:pt x="8" y="19"/>
                      </a:cubicBezTo>
                      <a:cubicBezTo>
                        <a:pt x="8" y="21"/>
                        <a:pt x="8" y="23"/>
                        <a:pt x="8" y="24"/>
                      </a:cubicBezTo>
                      <a:cubicBezTo>
                        <a:pt x="7" y="26"/>
                        <a:pt x="2" y="29"/>
                        <a:pt x="0" y="30"/>
                      </a:cubicBezTo>
                      <a:cubicBezTo>
                        <a:pt x="1" y="30"/>
                        <a:pt x="2" y="30"/>
                        <a:pt x="3" y="30"/>
                      </a:cubicBezTo>
                      <a:cubicBezTo>
                        <a:pt x="7" y="30"/>
                        <a:pt x="10" y="31"/>
                        <a:pt x="15" y="31"/>
                      </a:cubicBezTo>
                      <a:cubicBezTo>
                        <a:pt x="16" y="31"/>
                        <a:pt x="16" y="32"/>
                        <a:pt x="16" y="32"/>
                      </a:cubicBezTo>
                      <a:cubicBezTo>
                        <a:pt x="17" y="32"/>
                        <a:pt x="17" y="31"/>
                        <a:pt x="18" y="31"/>
                      </a:cubicBezTo>
                      <a:cubicBezTo>
                        <a:pt x="20" y="30"/>
                        <a:pt x="22" y="28"/>
                        <a:pt x="23" y="26"/>
                      </a:cubicBezTo>
                      <a:cubicBezTo>
                        <a:pt x="25" y="25"/>
                        <a:pt x="28" y="20"/>
                        <a:pt x="30" y="20"/>
                      </a:cubicBezTo>
                      <a:cubicBezTo>
                        <a:pt x="33" y="20"/>
                        <a:pt x="37" y="20"/>
                        <a:pt x="41" y="19"/>
                      </a:cubicBezTo>
                      <a:cubicBezTo>
                        <a:pt x="43" y="19"/>
                        <a:pt x="44" y="9"/>
                        <a:pt x="44" y="6"/>
                      </a:cubicBezTo>
                      <a:cubicBezTo>
                        <a:pt x="44" y="6"/>
                        <a:pt x="44" y="6"/>
                        <a:pt x="43" y="6"/>
                      </a:cubicBezTo>
                      <a:cubicBezTo>
                        <a:pt x="42" y="6"/>
                        <a:pt x="41" y="5"/>
                        <a:pt x="40" y="5"/>
                      </a:cubicBezTo>
                      <a:cubicBezTo>
                        <a:pt x="38" y="4"/>
                        <a:pt x="37" y="4"/>
                        <a:pt x="36" y="4"/>
                      </a:cubicBezTo>
                      <a:cubicBezTo>
                        <a:pt x="35" y="4"/>
                        <a:pt x="34" y="4"/>
                        <a:pt x="33" y="5"/>
                      </a:cubicBezTo>
                      <a:cubicBezTo>
                        <a:pt x="31" y="7"/>
                        <a:pt x="30" y="7"/>
                        <a:pt x="32" y="9"/>
                      </a:cubicBezTo>
                      <a:cubicBezTo>
                        <a:pt x="33" y="11"/>
                        <a:pt x="30" y="13"/>
                        <a:pt x="29" y="14"/>
                      </a:cubicBezTo>
                      <a:cubicBezTo>
                        <a:pt x="26" y="17"/>
                        <a:pt x="23" y="19"/>
                        <a:pt x="19" y="20"/>
                      </a:cubicBezTo>
                      <a:cubicBezTo>
                        <a:pt x="21" y="19"/>
                        <a:pt x="21" y="17"/>
                        <a:pt x="22" y="15"/>
                      </a:cubicBezTo>
                      <a:cubicBezTo>
                        <a:pt x="22" y="15"/>
                        <a:pt x="25" y="15"/>
                        <a:pt x="25" y="14"/>
                      </a:cubicBezTo>
                      <a:cubicBezTo>
                        <a:pt x="25" y="12"/>
                        <a:pt x="22" y="11"/>
                        <a:pt x="21" y="10"/>
                      </a:cubicBezTo>
                      <a:cubicBezTo>
                        <a:pt x="25" y="7"/>
                        <a:pt x="25" y="4"/>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9" name="Freeform 89">
                  <a:extLst>
                    <a:ext uri="{FF2B5EF4-FFF2-40B4-BE49-F238E27FC236}">
                      <a16:creationId xmlns:a16="http://schemas.microsoft.com/office/drawing/2014/main" id="{D4F84308-62CC-4E53-B9E0-9EAFF2AF004C}"/>
                    </a:ext>
                  </a:extLst>
                </p:cNvPr>
                <p:cNvSpPr>
                  <a:spLocks/>
                </p:cNvSpPr>
                <p:nvPr/>
              </p:nvSpPr>
              <p:spPr bwMode="auto">
                <a:xfrm>
                  <a:off x="5984628" y="1282421"/>
                  <a:ext cx="95813" cy="51592"/>
                </a:xfrm>
                <a:custGeom>
                  <a:avLst/>
                  <a:gdLst>
                    <a:gd name="T0" fmla="*/ 21 w 30"/>
                    <a:gd name="T1" fmla="*/ 0 h 17"/>
                    <a:gd name="T2" fmla="*/ 20 w 30"/>
                    <a:gd name="T3" fmla="*/ 1 h 17"/>
                    <a:gd name="T4" fmla="*/ 18 w 30"/>
                    <a:gd name="T5" fmla="*/ 9 h 17"/>
                    <a:gd name="T6" fmla="*/ 17 w 30"/>
                    <a:gd name="T7" fmla="*/ 5 h 17"/>
                    <a:gd name="T8" fmla="*/ 15 w 30"/>
                    <a:gd name="T9" fmla="*/ 5 h 17"/>
                    <a:gd name="T10" fmla="*/ 14 w 30"/>
                    <a:gd name="T11" fmla="*/ 7 h 17"/>
                    <a:gd name="T12" fmla="*/ 14 w 30"/>
                    <a:gd name="T13" fmla="*/ 7 h 17"/>
                    <a:gd name="T14" fmla="*/ 13 w 30"/>
                    <a:gd name="T15" fmla="*/ 6 h 17"/>
                    <a:gd name="T16" fmla="*/ 10 w 30"/>
                    <a:gd name="T17" fmla="*/ 5 h 17"/>
                    <a:gd name="T18" fmla="*/ 9 w 30"/>
                    <a:gd name="T19" fmla="*/ 5 h 17"/>
                    <a:gd name="T20" fmla="*/ 6 w 30"/>
                    <a:gd name="T21" fmla="*/ 9 h 17"/>
                    <a:gd name="T22" fmla="*/ 6 w 30"/>
                    <a:gd name="T23" fmla="*/ 9 h 17"/>
                    <a:gd name="T24" fmla="*/ 8 w 30"/>
                    <a:gd name="T25" fmla="*/ 15 h 17"/>
                    <a:gd name="T26" fmla="*/ 3 w 30"/>
                    <a:gd name="T27" fmla="*/ 13 h 17"/>
                    <a:gd name="T28" fmla="*/ 0 w 30"/>
                    <a:gd name="T29" fmla="*/ 16 h 17"/>
                    <a:gd name="T30" fmla="*/ 15 w 30"/>
                    <a:gd name="T31" fmla="*/ 16 h 17"/>
                    <a:gd name="T32" fmla="*/ 16 w 30"/>
                    <a:gd name="T33" fmla="*/ 16 h 17"/>
                    <a:gd name="T34" fmla="*/ 23 w 30"/>
                    <a:gd name="T35" fmla="*/ 11 h 17"/>
                    <a:gd name="T36" fmla="*/ 29 w 30"/>
                    <a:gd name="T37" fmla="*/ 6 h 17"/>
                    <a:gd name="T38" fmla="*/ 23 w 30"/>
                    <a:gd name="T39" fmla="*/ 2 h 17"/>
                    <a:gd name="T40" fmla="*/ 23 w 30"/>
                    <a:gd name="T41" fmla="*/ 2 h 17"/>
                    <a:gd name="T42" fmla="*/ 21 w 30"/>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17">
                      <a:moveTo>
                        <a:pt x="21" y="0"/>
                      </a:moveTo>
                      <a:cubicBezTo>
                        <a:pt x="21" y="0"/>
                        <a:pt x="20" y="0"/>
                        <a:pt x="20" y="1"/>
                      </a:cubicBezTo>
                      <a:cubicBezTo>
                        <a:pt x="18" y="2"/>
                        <a:pt x="19" y="7"/>
                        <a:pt x="18" y="9"/>
                      </a:cubicBezTo>
                      <a:cubicBezTo>
                        <a:pt x="18" y="7"/>
                        <a:pt x="19" y="5"/>
                        <a:pt x="17" y="5"/>
                      </a:cubicBezTo>
                      <a:cubicBezTo>
                        <a:pt x="16" y="5"/>
                        <a:pt x="16" y="5"/>
                        <a:pt x="15" y="5"/>
                      </a:cubicBezTo>
                      <a:cubicBezTo>
                        <a:pt x="15" y="5"/>
                        <a:pt x="15" y="7"/>
                        <a:pt x="14" y="7"/>
                      </a:cubicBezTo>
                      <a:cubicBezTo>
                        <a:pt x="14" y="7"/>
                        <a:pt x="14" y="7"/>
                        <a:pt x="14" y="7"/>
                      </a:cubicBezTo>
                      <a:cubicBezTo>
                        <a:pt x="13" y="7"/>
                        <a:pt x="14" y="6"/>
                        <a:pt x="13" y="6"/>
                      </a:cubicBezTo>
                      <a:cubicBezTo>
                        <a:pt x="12" y="6"/>
                        <a:pt x="11" y="5"/>
                        <a:pt x="10" y="5"/>
                      </a:cubicBezTo>
                      <a:cubicBezTo>
                        <a:pt x="10" y="5"/>
                        <a:pt x="10" y="5"/>
                        <a:pt x="9" y="5"/>
                      </a:cubicBezTo>
                      <a:cubicBezTo>
                        <a:pt x="8" y="6"/>
                        <a:pt x="9" y="9"/>
                        <a:pt x="6" y="9"/>
                      </a:cubicBezTo>
                      <a:cubicBezTo>
                        <a:pt x="6" y="9"/>
                        <a:pt x="6" y="9"/>
                        <a:pt x="6" y="9"/>
                      </a:cubicBezTo>
                      <a:cubicBezTo>
                        <a:pt x="6" y="11"/>
                        <a:pt x="8" y="13"/>
                        <a:pt x="8" y="15"/>
                      </a:cubicBezTo>
                      <a:cubicBezTo>
                        <a:pt x="7" y="14"/>
                        <a:pt x="5" y="13"/>
                        <a:pt x="3" y="13"/>
                      </a:cubicBezTo>
                      <a:cubicBezTo>
                        <a:pt x="2" y="13"/>
                        <a:pt x="1" y="14"/>
                        <a:pt x="0" y="16"/>
                      </a:cubicBezTo>
                      <a:cubicBezTo>
                        <a:pt x="5" y="17"/>
                        <a:pt x="10" y="16"/>
                        <a:pt x="15" y="16"/>
                      </a:cubicBezTo>
                      <a:cubicBezTo>
                        <a:pt x="15" y="16"/>
                        <a:pt x="16" y="16"/>
                        <a:pt x="16" y="16"/>
                      </a:cubicBezTo>
                      <a:cubicBezTo>
                        <a:pt x="21" y="16"/>
                        <a:pt x="22" y="16"/>
                        <a:pt x="23" y="11"/>
                      </a:cubicBezTo>
                      <a:cubicBezTo>
                        <a:pt x="25" y="10"/>
                        <a:pt x="30" y="8"/>
                        <a:pt x="29" y="6"/>
                      </a:cubicBezTo>
                      <a:cubicBezTo>
                        <a:pt x="29" y="4"/>
                        <a:pt x="25" y="2"/>
                        <a:pt x="23" y="2"/>
                      </a:cubicBezTo>
                      <a:cubicBezTo>
                        <a:pt x="23" y="2"/>
                        <a:pt x="23" y="2"/>
                        <a:pt x="23" y="2"/>
                      </a:cubicBezTo>
                      <a:cubicBezTo>
                        <a:pt x="23" y="1"/>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0" name="Freeform 90">
                  <a:extLst>
                    <a:ext uri="{FF2B5EF4-FFF2-40B4-BE49-F238E27FC236}">
                      <a16:creationId xmlns:a16="http://schemas.microsoft.com/office/drawing/2014/main" id="{D42EE90D-479D-4AE5-B3DE-E922D31A0792}"/>
                    </a:ext>
                  </a:extLst>
                </p:cNvPr>
                <p:cNvSpPr>
                  <a:spLocks/>
                </p:cNvSpPr>
                <p:nvPr/>
              </p:nvSpPr>
              <p:spPr bwMode="auto">
                <a:xfrm>
                  <a:off x="5863019" y="1330327"/>
                  <a:ext cx="125294" cy="92128"/>
                </a:xfrm>
                <a:custGeom>
                  <a:avLst/>
                  <a:gdLst>
                    <a:gd name="T0" fmla="*/ 24 w 40"/>
                    <a:gd name="T1" fmla="*/ 0 h 29"/>
                    <a:gd name="T2" fmla="*/ 28 w 40"/>
                    <a:gd name="T3" fmla="*/ 7 h 29"/>
                    <a:gd name="T4" fmla="*/ 27 w 40"/>
                    <a:gd name="T5" fmla="*/ 7 h 29"/>
                    <a:gd name="T6" fmla="*/ 25 w 40"/>
                    <a:gd name="T7" fmla="*/ 6 h 29"/>
                    <a:gd name="T8" fmla="*/ 24 w 40"/>
                    <a:gd name="T9" fmla="*/ 5 h 29"/>
                    <a:gd name="T10" fmla="*/ 24 w 40"/>
                    <a:gd name="T11" fmla="*/ 5 h 29"/>
                    <a:gd name="T12" fmla="*/ 23 w 40"/>
                    <a:gd name="T13" fmla="*/ 5 h 29"/>
                    <a:gd name="T14" fmla="*/ 21 w 40"/>
                    <a:gd name="T15" fmla="*/ 5 h 29"/>
                    <a:gd name="T16" fmla="*/ 19 w 40"/>
                    <a:gd name="T17" fmla="*/ 5 h 29"/>
                    <a:gd name="T18" fmla="*/ 15 w 40"/>
                    <a:gd name="T19" fmla="*/ 6 h 29"/>
                    <a:gd name="T20" fmla="*/ 23 w 40"/>
                    <a:gd name="T21" fmla="*/ 9 h 29"/>
                    <a:gd name="T22" fmla="*/ 20 w 40"/>
                    <a:gd name="T23" fmla="*/ 11 h 29"/>
                    <a:gd name="T24" fmla="*/ 13 w 40"/>
                    <a:gd name="T25" fmla="*/ 10 h 29"/>
                    <a:gd name="T26" fmla="*/ 7 w 40"/>
                    <a:gd name="T27" fmla="*/ 12 h 29"/>
                    <a:gd name="T28" fmla="*/ 13 w 40"/>
                    <a:gd name="T29" fmla="*/ 18 h 29"/>
                    <a:gd name="T30" fmla="*/ 11 w 40"/>
                    <a:gd name="T31" fmla="*/ 21 h 29"/>
                    <a:gd name="T32" fmla="*/ 5 w 40"/>
                    <a:gd name="T33" fmla="*/ 27 h 29"/>
                    <a:gd name="T34" fmla="*/ 5 w 40"/>
                    <a:gd name="T35" fmla="*/ 27 h 29"/>
                    <a:gd name="T36" fmla="*/ 10 w 40"/>
                    <a:gd name="T37" fmla="*/ 26 h 29"/>
                    <a:gd name="T38" fmla="*/ 12 w 40"/>
                    <a:gd name="T39" fmla="*/ 27 h 29"/>
                    <a:gd name="T40" fmla="*/ 13 w 40"/>
                    <a:gd name="T41" fmla="*/ 29 h 29"/>
                    <a:gd name="T42" fmla="*/ 13 w 40"/>
                    <a:gd name="T43" fmla="*/ 29 h 29"/>
                    <a:gd name="T44" fmla="*/ 15 w 40"/>
                    <a:gd name="T45" fmla="*/ 28 h 29"/>
                    <a:gd name="T46" fmla="*/ 29 w 40"/>
                    <a:gd name="T47" fmla="*/ 23 h 29"/>
                    <a:gd name="T48" fmla="*/ 37 w 40"/>
                    <a:gd name="T49" fmla="*/ 20 h 29"/>
                    <a:gd name="T50" fmla="*/ 38 w 40"/>
                    <a:gd name="T51" fmla="*/ 15 h 29"/>
                    <a:gd name="T52" fmla="*/ 39 w 40"/>
                    <a:gd name="T53" fmla="*/ 8 h 29"/>
                    <a:gd name="T54" fmla="*/ 38 w 40"/>
                    <a:gd name="T55" fmla="*/ 9 h 29"/>
                    <a:gd name="T56" fmla="*/ 39 w 40"/>
                    <a:gd name="T57" fmla="*/ 5 h 29"/>
                    <a:gd name="T58" fmla="*/ 32 w 40"/>
                    <a:gd name="T59" fmla="*/ 1 h 29"/>
                    <a:gd name="T60" fmla="*/ 32 w 40"/>
                    <a:gd name="T61" fmla="*/ 1 h 29"/>
                    <a:gd name="T62" fmla="*/ 32 w 40"/>
                    <a:gd name="T63" fmla="*/ 2 h 29"/>
                    <a:gd name="T64" fmla="*/ 32 w 40"/>
                    <a:gd name="T65" fmla="*/ 3 h 29"/>
                    <a:gd name="T66" fmla="*/ 32 w 40"/>
                    <a:gd name="T67" fmla="*/ 3 h 29"/>
                    <a:gd name="T68" fmla="*/ 30 w 40"/>
                    <a:gd name="T69" fmla="*/ 1 h 29"/>
                    <a:gd name="T70" fmla="*/ 28 w 40"/>
                    <a:gd name="T71" fmla="*/ 1 h 29"/>
                    <a:gd name="T72" fmla="*/ 28 w 40"/>
                    <a:gd name="T73" fmla="*/ 3 h 29"/>
                    <a:gd name="T74" fmla="*/ 24 w 40"/>
                    <a:gd name="T7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9">
                      <a:moveTo>
                        <a:pt x="24" y="0"/>
                      </a:moveTo>
                      <a:cubicBezTo>
                        <a:pt x="25" y="2"/>
                        <a:pt x="27" y="4"/>
                        <a:pt x="28" y="7"/>
                      </a:cubicBezTo>
                      <a:cubicBezTo>
                        <a:pt x="27" y="7"/>
                        <a:pt x="27" y="7"/>
                        <a:pt x="27" y="7"/>
                      </a:cubicBezTo>
                      <a:cubicBezTo>
                        <a:pt x="26" y="7"/>
                        <a:pt x="26" y="6"/>
                        <a:pt x="25" y="6"/>
                      </a:cubicBezTo>
                      <a:cubicBezTo>
                        <a:pt x="25" y="6"/>
                        <a:pt x="24" y="5"/>
                        <a:pt x="24" y="5"/>
                      </a:cubicBezTo>
                      <a:cubicBezTo>
                        <a:pt x="24" y="5"/>
                        <a:pt x="24" y="5"/>
                        <a:pt x="24" y="5"/>
                      </a:cubicBezTo>
                      <a:cubicBezTo>
                        <a:pt x="24" y="5"/>
                        <a:pt x="24" y="5"/>
                        <a:pt x="23" y="5"/>
                      </a:cubicBezTo>
                      <a:cubicBezTo>
                        <a:pt x="23" y="5"/>
                        <a:pt x="22" y="5"/>
                        <a:pt x="21" y="5"/>
                      </a:cubicBezTo>
                      <a:cubicBezTo>
                        <a:pt x="21" y="5"/>
                        <a:pt x="20" y="5"/>
                        <a:pt x="19" y="5"/>
                      </a:cubicBezTo>
                      <a:cubicBezTo>
                        <a:pt x="18" y="5"/>
                        <a:pt x="16" y="5"/>
                        <a:pt x="15" y="6"/>
                      </a:cubicBezTo>
                      <a:cubicBezTo>
                        <a:pt x="16" y="8"/>
                        <a:pt x="20" y="8"/>
                        <a:pt x="23" y="9"/>
                      </a:cubicBezTo>
                      <a:cubicBezTo>
                        <a:pt x="21" y="9"/>
                        <a:pt x="19" y="9"/>
                        <a:pt x="20" y="11"/>
                      </a:cubicBezTo>
                      <a:cubicBezTo>
                        <a:pt x="19" y="10"/>
                        <a:pt x="16" y="10"/>
                        <a:pt x="13" y="10"/>
                      </a:cubicBezTo>
                      <a:cubicBezTo>
                        <a:pt x="10" y="10"/>
                        <a:pt x="7" y="10"/>
                        <a:pt x="7" y="12"/>
                      </a:cubicBezTo>
                      <a:cubicBezTo>
                        <a:pt x="6" y="16"/>
                        <a:pt x="11" y="17"/>
                        <a:pt x="13" y="18"/>
                      </a:cubicBezTo>
                      <a:cubicBezTo>
                        <a:pt x="8" y="19"/>
                        <a:pt x="3" y="19"/>
                        <a:pt x="11" y="21"/>
                      </a:cubicBezTo>
                      <a:cubicBezTo>
                        <a:pt x="10" y="21"/>
                        <a:pt x="0" y="27"/>
                        <a:pt x="5" y="27"/>
                      </a:cubicBezTo>
                      <a:cubicBezTo>
                        <a:pt x="5" y="27"/>
                        <a:pt x="5" y="27"/>
                        <a:pt x="5" y="27"/>
                      </a:cubicBezTo>
                      <a:cubicBezTo>
                        <a:pt x="7" y="27"/>
                        <a:pt x="8" y="26"/>
                        <a:pt x="10" y="26"/>
                      </a:cubicBezTo>
                      <a:cubicBezTo>
                        <a:pt x="10" y="26"/>
                        <a:pt x="11" y="26"/>
                        <a:pt x="12" y="27"/>
                      </a:cubicBezTo>
                      <a:cubicBezTo>
                        <a:pt x="11" y="29"/>
                        <a:pt x="11" y="29"/>
                        <a:pt x="13" y="29"/>
                      </a:cubicBezTo>
                      <a:cubicBezTo>
                        <a:pt x="13" y="29"/>
                        <a:pt x="13" y="29"/>
                        <a:pt x="13" y="29"/>
                      </a:cubicBezTo>
                      <a:cubicBezTo>
                        <a:pt x="16" y="29"/>
                        <a:pt x="15" y="28"/>
                        <a:pt x="15" y="28"/>
                      </a:cubicBezTo>
                      <a:cubicBezTo>
                        <a:pt x="18" y="26"/>
                        <a:pt x="24" y="24"/>
                        <a:pt x="29" y="23"/>
                      </a:cubicBezTo>
                      <a:cubicBezTo>
                        <a:pt x="32" y="22"/>
                        <a:pt x="34" y="21"/>
                        <a:pt x="37" y="20"/>
                      </a:cubicBezTo>
                      <a:cubicBezTo>
                        <a:pt x="38" y="19"/>
                        <a:pt x="38" y="16"/>
                        <a:pt x="38" y="15"/>
                      </a:cubicBezTo>
                      <a:cubicBezTo>
                        <a:pt x="39" y="14"/>
                        <a:pt x="40" y="8"/>
                        <a:pt x="39" y="8"/>
                      </a:cubicBezTo>
                      <a:cubicBezTo>
                        <a:pt x="39" y="8"/>
                        <a:pt x="38" y="8"/>
                        <a:pt x="38" y="9"/>
                      </a:cubicBezTo>
                      <a:cubicBezTo>
                        <a:pt x="36" y="8"/>
                        <a:pt x="38" y="7"/>
                        <a:pt x="39" y="5"/>
                      </a:cubicBezTo>
                      <a:cubicBezTo>
                        <a:pt x="36" y="4"/>
                        <a:pt x="35" y="1"/>
                        <a:pt x="32" y="1"/>
                      </a:cubicBezTo>
                      <a:cubicBezTo>
                        <a:pt x="32" y="1"/>
                        <a:pt x="32" y="1"/>
                        <a:pt x="32" y="1"/>
                      </a:cubicBezTo>
                      <a:cubicBezTo>
                        <a:pt x="32" y="1"/>
                        <a:pt x="32" y="2"/>
                        <a:pt x="32" y="2"/>
                      </a:cubicBezTo>
                      <a:cubicBezTo>
                        <a:pt x="32" y="3"/>
                        <a:pt x="32" y="3"/>
                        <a:pt x="32" y="3"/>
                      </a:cubicBezTo>
                      <a:cubicBezTo>
                        <a:pt x="32" y="3"/>
                        <a:pt x="32" y="3"/>
                        <a:pt x="32" y="3"/>
                      </a:cubicBezTo>
                      <a:cubicBezTo>
                        <a:pt x="31" y="3"/>
                        <a:pt x="30" y="1"/>
                        <a:pt x="30" y="1"/>
                      </a:cubicBezTo>
                      <a:cubicBezTo>
                        <a:pt x="29" y="1"/>
                        <a:pt x="29" y="1"/>
                        <a:pt x="28" y="1"/>
                      </a:cubicBezTo>
                      <a:cubicBezTo>
                        <a:pt x="28" y="1"/>
                        <a:pt x="28" y="1"/>
                        <a:pt x="28" y="3"/>
                      </a:cubicBezTo>
                      <a:cubicBezTo>
                        <a:pt x="27" y="2"/>
                        <a:pt x="25" y="1"/>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1" name="Freeform 91">
                  <a:extLst>
                    <a:ext uri="{FF2B5EF4-FFF2-40B4-BE49-F238E27FC236}">
                      <a16:creationId xmlns:a16="http://schemas.microsoft.com/office/drawing/2014/main" id="{6E877661-6468-4447-A689-3E60E514766A}"/>
                    </a:ext>
                  </a:extLst>
                </p:cNvPr>
                <p:cNvSpPr>
                  <a:spLocks/>
                </p:cNvSpPr>
                <p:nvPr/>
              </p:nvSpPr>
              <p:spPr bwMode="auto">
                <a:xfrm>
                  <a:off x="5107571" y="2214755"/>
                  <a:ext cx="51592" cy="14740"/>
                </a:xfrm>
                <a:custGeom>
                  <a:avLst/>
                  <a:gdLst>
                    <a:gd name="T0" fmla="*/ 16 w 16"/>
                    <a:gd name="T1" fmla="*/ 0 h 4"/>
                    <a:gd name="T2" fmla="*/ 0 w 16"/>
                    <a:gd name="T3" fmla="*/ 3 h 4"/>
                    <a:gd name="T4" fmla="*/ 3 w 16"/>
                    <a:gd name="T5" fmla="*/ 4 h 4"/>
                    <a:gd name="T6" fmla="*/ 16 w 16"/>
                    <a:gd name="T7" fmla="*/ 0 h 4"/>
                  </a:gdLst>
                  <a:ahLst/>
                  <a:cxnLst>
                    <a:cxn ang="0">
                      <a:pos x="T0" y="T1"/>
                    </a:cxn>
                    <a:cxn ang="0">
                      <a:pos x="T2" y="T3"/>
                    </a:cxn>
                    <a:cxn ang="0">
                      <a:pos x="T4" y="T5"/>
                    </a:cxn>
                    <a:cxn ang="0">
                      <a:pos x="T6" y="T7"/>
                    </a:cxn>
                  </a:cxnLst>
                  <a:rect l="0" t="0" r="r" b="b"/>
                  <a:pathLst>
                    <a:path w="16" h="4">
                      <a:moveTo>
                        <a:pt x="16" y="0"/>
                      </a:moveTo>
                      <a:cubicBezTo>
                        <a:pt x="11" y="1"/>
                        <a:pt x="5" y="1"/>
                        <a:pt x="0" y="3"/>
                      </a:cubicBezTo>
                      <a:cubicBezTo>
                        <a:pt x="1" y="3"/>
                        <a:pt x="2" y="4"/>
                        <a:pt x="3" y="4"/>
                      </a:cubicBezTo>
                      <a:cubicBezTo>
                        <a:pt x="8" y="4"/>
                        <a:pt x="13" y="3"/>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2" name="Freeform 92">
                  <a:extLst>
                    <a:ext uri="{FF2B5EF4-FFF2-40B4-BE49-F238E27FC236}">
                      <a16:creationId xmlns:a16="http://schemas.microsoft.com/office/drawing/2014/main" id="{5740FB26-F998-4F17-B275-76E883FD2693}"/>
                    </a:ext>
                  </a:extLst>
                </p:cNvPr>
                <p:cNvSpPr>
                  <a:spLocks/>
                </p:cNvSpPr>
                <p:nvPr/>
              </p:nvSpPr>
              <p:spPr bwMode="auto">
                <a:xfrm>
                  <a:off x="6334714" y="1127646"/>
                  <a:ext cx="143719" cy="58962"/>
                </a:xfrm>
                <a:custGeom>
                  <a:avLst/>
                  <a:gdLst>
                    <a:gd name="T0" fmla="*/ 42 w 46"/>
                    <a:gd name="T1" fmla="*/ 0 h 18"/>
                    <a:gd name="T2" fmla="*/ 39 w 46"/>
                    <a:gd name="T3" fmla="*/ 1 h 18"/>
                    <a:gd name="T4" fmla="*/ 25 w 46"/>
                    <a:gd name="T5" fmla="*/ 8 h 18"/>
                    <a:gd name="T6" fmla="*/ 17 w 46"/>
                    <a:gd name="T7" fmla="*/ 8 h 18"/>
                    <a:gd name="T8" fmla="*/ 14 w 46"/>
                    <a:gd name="T9" fmla="*/ 6 h 18"/>
                    <a:gd name="T10" fmla="*/ 13 w 46"/>
                    <a:gd name="T11" fmla="*/ 7 h 18"/>
                    <a:gd name="T12" fmla="*/ 12 w 46"/>
                    <a:gd name="T13" fmla="*/ 9 h 18"/>
                    <a:gd name="T14" fmla="*/ 11 w 46"/>
                    <a:gd name="T15" fmla="*/ 8 h 18"/>
                    <a:gd name="T16" fmla="*/ 10 w 46"/>
                    <a:gd name="T17" fmla="*/ 8 h 18"/>
                    <a:gd name="T18" fmla="*/ 7 w 46"/>
                    <a:gd name="T19" fmla="*/ 10 h 18"/>
                    <a:gd name="T20" fmla="*/ 7 w 46"/>
                    <a:gd name="T21" fmla="*/ 10 h 18"/>
                    <a:gd name="T22" fmla="*/ 5 w 46"/>
                    <a:gd name="T23" fmla="*/ 9 h 18"/>
                    <a:gd name="T24" fmla="*/ 3 w 46"/>
                    <a:gd name="T25" fmla="*/ 8 h 18"/>
                    <a:gd name="T26" fmla="*/ 2 w 46"/>
                    <a:gd name="T27" fmla="*/ 9 h 18"/>
                    <a:gd name="T28" fmla="*/ 6 w 46"/>
                    <a:gd name="T29" fmla="*/ 18 h 18"/>
                    <a:gd name="T30" fmla="*/ 20 w 46"/>
                    <a:gd name="T31" fmla="*/ 16 h 18"/>
                    <a:gd name="T32" fmla="*/ 22 w 46"/>
                    <a:gd name="T33" fmla="*/ 14 h 18"/>
                    <a:gd name="T34" fmla="*/ 23 w 46"/>
                    <a:gd name="T35" fmla="*/ 16 h 18"/>
                    <a:gd name="T36" fmla="*/ 24 w 46"/>
                    <a:gd name="T37" fmla="*/ 15 h 18"/>
                    <a:gd name="T38" fmla="*/ 27 w 46"/>
                    <a:gd name="T39" fmla="*/ 16 h 18"/>
                    <a:gd name="T40" fmla="*/ 29 w 46"/>
                    <a:gd name="T41" fmla="*/ 15 h 18"/>
                    <a:gd name="T42" fmla="*/ 31 w 46"/>
                    <a:gd name="T43" fmla="*/ 14 h 18"/>
                    <a:gd name="T44" fmla="*/ 34 w 46"/>
                    <a:gd name="T45" fmla="*/ 13 h 18"/>
                    <a:gd name="T46" fmla="*/ 38 w 46"/>
                    <a:gd name="T47" fmla="*/ 8 h 18"/>
                    <a:gd name="T48" fmla="*/ 42 w 46"/>
                    <a:gd name="T49" fmla="*/ 5 h 18"/>
                    <a:gd name="T50" fmla="*/ 42 w 46"/>
                    <a:gd name="T51" fmla="*/ 5 h 18"/>
                    <a:gd name="T52" fmla="*/ 45 w 46"/>
                    <a:gd name="T53" fmla="*/ 3 h 18"/>
                    <a:gd name="T54" fmla="*/ 42 w 46"/>
                    <a:gd name="T5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8">
                      <a:moveTo>
                        <a:pt x="42" y="0"/>
                      </a:moveTo>
                      <a:cubicBezTo>
                        <a:pt x="41" y="0"/>
                        <a:pt x="40" y="0"/>
                        <a:pt x="39" y="1"/>
                      </a:cubicBezTo>
                      <a:cubicBezTo>
                        <a:pt x="35" y="7"/>
                        <a:pt x="31" y="8"/>
                        <a:pt x="25" y="8"/>
                      </a:cubicBezTo>
                      <a:cubicBezTo>
                        <a:pt x="23" y="8"/>
                        <a:pt x="20" y="8"/>
                        <a:pt x="17" y="8"/>
                      </a:cubicBezTo>
                      <a:cubicBezTo>
                        <a:pt x="16" y="6"/>
                        <a:pt x="15" y="6"/>
                        <a:pt x="14" y="6"/>
                      </a:cubicBezTo>
                      <a:cubicBezTo>
                        <a:pt x="14" y="6"/>
                        <a:pt x="13" y="7"/>
                        <a:pt x="13" y="7"/>
                      </a:cubicBezTo>
                      <a:cubicBezTo>
                        <a:pt x="13" y="8"/>
                        <a:pt x="12" y="9"/>
                        <a:pt x="12" y="9"/>
                      </a:cubicBezTo>
                      <a:cubicBezTo>
                        <a:pt x="12" y="9"/>
                        <a:pt x="11" y="9"/>
                        <a:pt x="11" y="8"/>
                      </a:cubicBezTo>
                      <a:cubicBezTo>
                        <a:pt x="10" y="8"/>
                        <a:pt x="10" y="8"/>
                        <a:pt x="10" y="8"/>
                      </a:cubicBezTo>
                      <a:cubicBezTo>
                        <a:pt x="9" y="8"/>
                        <a:pt x="8" y="9"/>
                        <a:pt x="7" y="10"/>
                      </a:cubicBezTo>
                      <a:cubicBezTo>
                        <a:pt x="7" y="10"/>
                        <a:pt x="7" y="10"/>
                        <a:pt x="7" y="10"/>
                      </a:cubicBezTo>
                      <a:cubicBezTo>
                        <a:pt x="7" y="10"/>
                        <a:pt x="6" y="9"/>
                        <a:pt x="5" y="9"/>
                      </a:cubicBezTo>
                      <a:cubicBezTo>
                        <a:pt x="4" y="9"/>
                        <a:pt x="3" y="8"/>
                        <a:pt x="3" y="8"/>
                      </a:cubicBezTo>
                      <a:cubicBezTo>
                        <a:pt x="3" y="8"/>
                        <a:pt x="2" y="8"/>
                        <a:pt x="2" y="9"/>
                      </a:cubicBezTo>
                      <a:cubicBezTo>
                        <a:pt x="0" y="10"/>
                        <a:pt x="8" y="16"/>
                        <a:pt x="6" y="18"/>
                      </a:cubicBezTo>
                      <a:cubicBezTo>
                        <a:pt x="10" y="18"/>
                        <a:pt x="17" y="17"/>
                        <a:pt x="20" y="16"/>
                      </a:cubicBezTo>
                      <a:cubicBezTo>
                        <a:pt x="21" y="16"/>
                        <a:pt x="22" y="14"/>
                        <a:pt x="22" y="14"/>
                      </a:cubicBezTo>
                      <a:cubicBezTo>
                        <a:pt x="23" y="14"/>
                        <a:pt x="23" y="15"/>
                        <a:pt x="23" y="16"/>
                      </a:cubicBezTo>
                      <a:cubicBezTo>
                        <a:pt x="23" y="16"/>
                        <a:pt x="24" y="15"/>
                        <a:pt x="24" y="15"/>
                      </a:cubicBezTo>
                      <a:cubicBezTo>
                        <a:pt x="25" y="15"/>
                        <a:pt x="26" y="16"/>
                        <a:pt x="27" y="16"/>
                      </a:cubicBezTo>
                      <a:cubicBezTo>
                        <a:pt x="27" y="16"/>
                        <a:pt x="28" y="16"/>
                        <a:pt x="29" y="15"/>
                      </a:cubicBezTo>
                      <a:cubicBezTo>
                        <a:pt x="30" y="15"/>
                        <a:pt x="30" y="14"/>
                        <a:pt x="31" y="14"/>
                      </a:cubicBezTo>
                      <a:cubicBezTo>
                        <a:pt x="32" y="13"/>
                        <a:pt x="34" y="13"/>
                        <a:pt x="34" y="13"/>
                      </a:cubicBezTo>
                      <a:cubicBezTo>
                        <a:pt x="35" y="12"/>
                        <a:pt x="36" y="9"/>
                        <a:pt x="38" y="8"/>
                      </a:cubicBezTo>
                      <a:cubicBezTo>
                        <a:pt x="39" y="6"/>
                        <a:pt x="41" y="7"/>
                        <a:pt x="42" y="5"/>
                      </a:cubicBezTo>
                      <a:cubicBezTo>
                        <a:pt x="42" y="5"/>
                        <a:pt x="42" y="5"/>
                        <a:pt x="42" y="5"/>
                      </a:cubicBezTo>
                      <a:cubicBezTo>
                        <a:pt x="43" y="5"/>
                        <a:pt x="45" y="4"/>
                        <a:pt x="45" y="3"/>
                      </a:cubicBezTo>
                      <a:cubicBezTo>
                        <a:pt x="46" y="1"/>
                        <a:pt x="44"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3" name="Freeform 93">
                  <a:extLst>
                    <a:ext uri="{FF2B5EF4-FFF2-40B4-BE49-F238E27FC236}">
                      <a16:creationId xmlns:a16="http://schemas.microsoft.com/office/drawing/2014/main" id="{8FBCE9F2-7CE8-4119-B1AA-358F92D73AE0}"/>
                    </a:ext>
                  </a:extLst>
                </p:cNvPr>
                <p:cNvSpPr>
                  <a:spLocks/>
                </p:cNvSpPr>
                <p:nvPr/>
              </p:nvSpPr>
              <p:spPr bwMode="auto">
                <a:xfrm>
                  <a:off x="6117292" y="1223459"/>
                  <a:ext cx="58962" cy="29481"/>
                </a:xfrm>
                <a:custGeom>
                  <a:avLst/>
                  <a:gdLst>
                    <a:gd name="T0" fmla="*/ 2 w 19"/>
                    <a:gd name="T1" fmla="*/ 0 h 9"/>
                    <a:gd name="T2" fmla="*/ 0 w 19"/>
                    <a:gd name="T3" fmla="*/ 0 h 9"/>
                    <a:gd name="T4" fmla="*/ 5 w 19"/>
                    <a:gd name="T5" fmla="*/ 6 h 9"/>
                    <a:gd name="T6" fmla="*/ 7 w 19"/>
                    <a:gd name="T7" fmla="*/ 9 h 9"/>
                    <a:gd name="T8" fmla="*/ 11 w 19"/>
                    <a:gd name="T9" fmla="*/ 9 h 9"/>
                    <a:gd name="T10" fmla="*/ 14 w 19"/>
                    <a:gd name="T11" fmla="*/ 9 h 9"/>
                    <a:gd name="T12" fmla="*/ 13 w 19"/>
                    <a:gd name="T13" fmla="*/ 4 h 9"/>
                    <a:gd name="T14" fmla="*/ 2 w 19"/>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
                      <a:moveTo>
                        <a:pt x="2" y="0"/>
                      </a:moveTo>
                      <a:cubicBezTo>
                        <a:pt x="1" y="0"/>
                        <a:pt x="1" y="0"/>
                        <a:pt x="0" y="0"/>
                      </a:cubicBezTo>
                      <a:cubicBezTo>
                        <a:pt x="3" y="2"/>
                        <a:pt x="4" y="3"/>
                        <a:pt x="5" y="6"/>
                      </a:cubicBezTo>
                      <a:cubicBezTo>
                        <a:pt x="6" y="7"/>
                        <a:pt x="5" y="9"/>
                        <a:pt x="7" y="9"/>
                      </a:cubicBezTo>
                      <a:cubicBezTo>
                        <a:pt x="8" y="9"/>
                        <a:pt x="9" y="9"/>
                        <a:pt x="11" y="9"/>
                      </a:cubicBezTo>
                      <a:cubicBezTo>
                        <a:pt x="12" y="9"/>
                        <a:pt x="13" y="9"/>
                        <a:pt x="14" y="9"/>
                      </a:cubicBezTo>
                      <a:cubicBezTo>
                        <a:pt x="19" y="6"/>
                        <a:pt x="17" y="6"/>
                        <a:pt x="13" y="4"/>
                      </a:cubicBezTo>
                      <a:cubicBezTo>
                        <a:pt x="10"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4" name="Freeform 94">
                  <a:extLst>
                    <a:ext uri="{FF2B5EF4-FFF2-40B4-BE49-F238E27FC236}">
                      <a16:creationId xmlns:a16="http://schemas.microsoft.com/office/drawing/2014/main" id="{03DD0311-B813-42FB-9505-366B94361CB3}"/>
                    </a:ext>
                  </a:extLst>
                </p:cNvPr>
                <p:cNvSpPr>
                  <a:spLocks/>
                </p:cNvSpPr>
                <p:nvPr/>
              </p:nvSpPr>
              <p:spPr bwMode="auto">
                <a:xfrm>
                  <a:off x="4838557" y="2741727"/>
                  <a:ext cx="22111" cy="18426"/>
                </a:xfrm>
                <a:custGeom>
                  <a:avLst/>
                  <a:gdLst>
                    <a:gd name="T0" fmla="*/ 0 w 7"/>
                    <a:gd name="T1" fmla="*/ 0 h 6"/>
                    <a:gd name="T2" fmla="*/ 0 w 7"/>
                    <a:gd name="T3" fmla="*/ 5 h 6"/>
                    <a:gd name="T4" fmla="*/ 6 w 7"/>
                    <a:gd name="T5" fmla="*/ 6 h 6"/>
                    <a:gd name="T6" fmla="*/ 7 w 7"/>
                    <a:gd name="T7" fmla="*/ 6 h 6"/>
                    <a:gd name="T8" fmla="*/ 0 w 7"/>
                    <a:gd name="T9" fmla="*/ 0 h 6"/>
                  </a:gdLst>
                  <a:ahLst/>
                  <a:cxnLst>
                    <a:cxn ang="0">
                      <a:pos x="T0" y="T1"/>
                    </a:cxn>
                    <a:cxn ang="0">
                      <a:pos x="T2" y="T3"/>
                    </a:cxn>
                    <a:cxn ang="0">
                      <a:pos x="T4" y="T5"/>
                    </a:cxn>
                    <a:cxn ang="0">
                      <a:pos x="T6" y="T7"/>
                    </a:cxn>
                    <a:cxn ang="0">
                      <a:pos x="T8" y="T9"/>
                    </a:cxn>
                  </a:cxnLst>
                  <a:rect l="0" t="0" r="r" b="b"/>
                  <a:pathLst>
                    <a:path w="7" h="6">
                      <a:moveTo>
                        <a:pt x="0" y="0"/>
                      </a:moveTo>
                      <a:cubicBezTo>
                        <a:pt x="0" y="1"/>
                        <a:pt x="0" y="3"/>
                        <a:pt x="0" y="5"/>
                      </a:cubicBezTo>
                      <a:cubicBezTo>
                        <a:pt x="2" y="6"/>
                        <a:pt x="4" y="6"/>
                        <a:pt x="6" y="6"/>
                      </a:cubicBezTo>
                      <a:cubicBezTo>
                        <a:pt x="7" y="6"/>
                        <a:pt x="7" y="6"/>
                        <a:pt x="7" y="6"/>
                      </a:cubicBezTo>
                      <a:cubicBezTo>
                        <a:pt x="6" y="2"/>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5" name="Freeform 95">
                  <a:extLst>
                    <a:ext uri="{FF2B5EF4-FFF2-40B4-BE49-F238E27FC236}">
                      <a16:creationId xmlns:a16="http://schemas.microsoft.com/office/drawing/2014/main" id="{FF0DC579-C34F-4387-B894-50270C701355}"/>
                    </a:ext>
                  </a:extLst>
                </p:cNvPr>
                <p:cNvSpPr>
                  <a:spLocks/>
                </p:cNvSpPr>
                <p:nvPr/>
              </p:nvSpPr>
              <p:spPr bwMode="auto">
                <a:xfrm>
                  <a:off x="5063349" y="2251606"/>
                  <a:ext cx="33166" cy="18426"/>
                </a:xfrm>
                <a:custGeom>
                  <a:avLst/>
                  <a:gdLst>
                    <a:gd name="T0" fmla="*/ 8 w 11"/>
                    <a:gd name="T1" fmla="*/ 0 h 5"/>
                    <a:gd name="T2" fmla="*/ 5 w 11"/>
                    <a:gd name="T3" fmla="*/ 1 h 5"/>
                    <a:gd name="T4" fmla="*/ 0 w 11"/>
                    <a:gd name="T5" fmla="*/ 3 h 5"/>
                    <a:gd name="T6" fmla="*/ 11 w 11"/>
                    <a:gd name="T7" fmla="*/ 5 h 5"/>
                    <a:gd name="T8" fmla="*/ 8 w 11"/>
                    <a:gd name="T9" fmla="*/ 0 h 5"/>
                  </a:gdLst>
                  <a:ahLst/>
                  <a:cxnLst>
                    <a:cxn ang="0">
                      <a:pos x="T0" y="T1"/>
                    </a:cxn>
                    <a:cxn ang="0">
                      <a:pos x="T2" y="T3"/>
                    </a:cxn>
                    <a:cxn ang="0">
                      <a:pos x="T4" y="T5"/>
                    </a:cxn>
                    <a:cxn ang="0">
                      <a:pos x="T6" y="T7"/>
                    </a:cxn>
                    <a:cxn ang="0">
                      <a:pos x="T8" y="T9"/>
                    </a:cxn>
                  </a:cxnLst>
                  <a:rect l="0" t="0" r="r" b="b"/>
                  <a:pathLst>
                    <a:path w="11" h="5">
                      <a:moveTo>
                        <a:pt x="8" y="0"/>
                      </a:moveTo>
                      <a:cubicBezTo>
                        <a:pt x="7" y="0"/>
                        <a:pt x="6" y="1"/>
                        <a:pt x="5" y="1"/>
                      </a:cubicBezTo>
                      <a:cubicBezTo>
                        <a:pt x="4" y="1"/>
                        <a:pt x="2" y="2"/>
                        <a:pt x="0" y="3"/>
                      </a:cubicBezTo>
                      <a:cubicBezTo>
                        <a:pt x="4" y="4"/>
                        <a:pt x="8" y="4"/>
                        <a:pt x="11" y="5"/>
                      </a:cubicBezTo>
                      <a:cubicBezTo>
                        <a:pt x="10" y="2"/>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6" name="Freeform 96">
                  <a:extLst>
                    <a:ext uri="{FF2B5EF4-FFF2-40B4-BE49-F238E27FC236}">
                      <a16:creationId xmlns:a16="http://schemas.microsoft.com/office/drawing/2014/main" id="{7B566629-51F8-4F81-864E-261AF692C967}"/>
                    </a:ext>
                  </a:extLst>
                </p:cNvPr>
                <p:cNvSpPr>
                  <a:spLocks/>
                </p:cNvSpPr>
                <p:nvPr/>
              </p:nvSpPr>
              <p:spPr bwMode="auto">
                <a:xfrm>
                  <a:off x="5111256" y="2229496"/>
                  <a:ext cx="84758" cy="29481"/>
                </a:xfrm>
                <a:custGeom>
                  <a:avLst/>
                  <a:gdLst>
                    <a:gd name="T0" fmla="*/ 18 w 27"/>
                    <a:gd name="T1" fmla="*/ 0 h 10"/>
                    <a:gd name="T2" fmla="*/ 0 w 27"/>
                    <a:gd name="T3" fmla="*/ 8 h 10"/>
                    <a:gd name="T4" fmla="*/ 5 w 27"/>
                    <a:gd name="T5" fmla="*/ 10 h 10"/>
                    <a:gd name="T6" fmla="*/ 18 w 27"/>
                    <a:gd name="T7" fmla="*/ 7 h 10"/>
                    <a:gd name="T8" fmla="*/ 21 w 27"/>
                    <a:gd name="T9" fmla="*/ 1 h 10"/>
                    <a:gd name="T10" fmla="*/ 18 w 27"/>
                    <a:gd name="T11" fmla="*/ 0 h 10"/>
                  </a:gdLst>
                  <a:ahLst/>
                  <a:cxnLst>
                    <a:cxn ang="0">
                      <a:pos x="T0" y="T1"/>
                    </a:cxn>
                    <a:cxn ang="0">
                      <a:pos x="T2" y="T3"/>
                    </a:cxn>
                    <a:cxn ang="0">
                      <a:pos x="T4" y="T5"/>
                    </a:cxn>
                    <a:cxn ang="0">
                      <a:pos x="T6" y="T7"/>
                    </a:cxn>
                    <a:cxn ang="0">
                      <a:pos x="T8" y="T9"/>
                    </a:cxn>
                    <a:cxn ang="0">
                      <a:pos x="T10" y="T11"/>
                    </a:cxn>
                  </a:cxnLst>
                  <a:rect l="0" t="0" r="r" b="b"/>
                  <a:pathLst>
                    <a:path w="27" h="10">
                      <a:moveTo>
                        <a:pt x="18" y="0"/>
                      </a:moveTo>
                      <a:cubicBezTo>
                        <a:pt x="12" y="0"/>
                        <a:pt x="4" y="6"/>
                        <a:pt x="0" y="8"/>
                      </a:cubicBezTo>
                      <a:cubicBezTo>
                        <a:pt x="1" y="9"/>
                        <a:pt x="3" y="10"/>
                        <a:pt x="5" y="10"/>
                      </a:cubicBezTo>
                      <a:cubicBezTo>
                        <a:pt x="10" y="10"/>
                        <a:pt x="14" y="8"/>
                        <a:pt x="18" y="7"/>
                      </a:cubicBezTo>
                      <a:cubicBezTo>
                        <a:pt x="22" y="6"/>
                        <a:pt x="27" y="4"/>
                        <a:pt x="21" y="1"/>
                      </a:cubicBezTo>
                      <a:cubicBezTo>
                        <a:pt x="20"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7" name="Freeform 97">
                  <a:extLst>
                    <a:ext uri="{FF2B5EF4-FFF2-40B4-BE49-F238E27FC236}">
                      <a16:creationId xmlns:a16="http://schemas.microsoft.com/office/drawing/2014/main" id="{384F6E61-54E6-4DC3-9E13-6C547B1F26E2}"/>
                    </a:ext>
                  </a:extLst>
                </p:cNvPr>
                <p:cNvSpPr>
                  <a:spLocks/>
                </p:cNvSpPr>
                <p:nvPr/>
              </p:nvSpPr>
              <p:spPr bwMode="auto">
                <a:xfrm>
                  <a:off x="6375250" y="1201348"/>
                  <a:ext cx="58962" cy="22111"/>
                </a:xfrm>
                <a:custGeom>
                  <a:avLst/>
                  <a:gdLst>
                    <a:gd name="T0" fmla="*/ 4 w 19"/>
                    <a:gd name="T1" fmla="*/ 0 h 7"/>
                    <a:gd name="T2" fmla="*/ 4 w 19"/>
                    <a:gd name="T3" fmla="*/ 2 h 7"/>
                    <a:gd name="T4" fmla="*/ 0 w 19"/>
                    <a:gd name="T5" fmla="*/ 2 h 7"/>
                    <a:gd name="T6" fmla="*/ 14 w 19"/>
                    <a:gd name="T7" fmla="*/ 7 h 7"/>
                    <a:gd name="T8" fmla="*/ 19 w 19"/>
                    <a:gd name="T9" fmla="*/ 5 h 7"/>
                    <a:gd name="T10" fmla="*/ 4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4" y="0"/>
                      </a:moveTo>
                      <a:cubicBezTo>
                        <a:pt x="4" y="1"/>
                        <a:pt x="4" y="2"/>
                        <a:pt x="4" y="2"/>
                      </a:cubicBezTo>
                      <a:cubicBezTo>
                        <a:pt x="2" y="2"/>
                        <a:pt x="1" y="2"/>
                        <a:pt x="0" y="2"/>
                      </a:cubicBezTo>
                      <a:cubicBezTo>
                        <a:pt x="3" y="4"/>
                        <a:pt x="9" y="7"/>
                        <a:pt x="14" y="7"/>
                      </a:cubicBezTo>
                      <a:cubicBezTo>
                        <a:pt x="16" y="7"/>
                        <a:pt x="17" y="6"/>
                        <a:pt x="19" y="5"/>
                      </a:cubicBezTo>
                      <a:cubicBezTo>
                        <a:pt x="17"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8" name="Freeform 98">
                  <a:extLst>
                    <a:ext uri="{FF2B5EF4-FFF2-40B4-BE49-F238E27FC236}">
                      <a16:creationId xmlns:a16="http://schemas.microsoft.com/office/drawing/2014/main" id="{42E2ADEE-4BA0-42FD-BC71-870D4D890995}"/>
                    </a:ext>
                  </a:extLst>
                </p:cNvPr>
                <p:cNvSpPr>
                  <a:spLocks/>
                </p:cNvSpPr>
                <p:nvPr/>
              </p:nvSpPr>
              <p:spPr bwMode="auto">
                <a:xfrm>
                  <a:off x="4886464" y="2402696"/>
                  <a:ext cx="18426" cy="22111"/>
                </a:xfrm>
                <a:custGeom>
                  <a:avLst/>
                  <a:gdLst>
                    <a:gd name="T0" fmla="*/ 2 w 6"/>
                    <a:gd name="T1" fmla="*/ 0 h 7"/>
                    <a:gd name="T2" fmla="*/ 0 w 6"/>
                    <a:gd name="T3" fmla="*/ 1 h 7"/>
                    <a:gd name="T4" fmla="*/ 1 w 6"/>
                    <a:gd name="T5" fmla="*/ 7 h 7"/>
                    <a:gd name="T6" fmla="*/ 2 w 6"/>
                    <a:gd name="T7" fmla="*/ 7 h 7"/>
                    <a:gd name="T8" fmla="*/ 6 w 6"/>
                    <a:gd name="T9" fmla="*/ 1 h 7"/>
                    <a:gd name="T10" fmla="*/ 2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2" y="0"/>
                      </a:moveTo>
                      <a:cubicBezTo>
                        <a:pt x="2" y="0"/>
                        <a:pt x="1" y="1"/>
                        <a:pt x="0" y="1"/>
                      </a:cubicBezTo>
                      <a:cubicBezTo>
                        <a:pt x="0" y="2"/>
                        <a:pt x="0" y="6"/>
                        <a:pt x="1" y="7"/>
                      </a:cubicBezTo>
                      <a:cubicBezTo>
                        <a:pt x="1" y="7"/>
                        <a:pt x="2" y="7"/>
                        <a:pt x="2" y="7"/>
                      </a:cubicBezTo>
                      <a:cubicBezTo>
                        <a:pt x="4" y="7"/>
                        <a:pt x="5" y="3"/>
                        <a:pt x="6" y="1"/>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9" name="Freeform 99">
                  <a:extLst>
                    <a:ext uri="{FF2B5EF4-FFF2-40B4-BE49-F238E27FC236}">
                      <a16:creationId xmlns:a16="http://schemas.microsoft.com/office/drawing/2014/main" id="{F01B3D8F-32FA-4865-8ABA-688CFAFC79FD}"/>
                    </a:ext>
                  </a:extLst>
                </p:cNvPr>
                <p:cNvSpPr>
                  <a:spLocks/>
                </p:cNvSpPr>
                <p:nvPr/>
              </p:nvSpPr>
              <p:spPr bwMode="auto">
                <a:xfrm>
                  <a:off x="5575580" y="1525639"/>
                  <a:ext cx="62647" cy="40536"/>
                </a:xfrm>
                <a:custGeom>
                  <a:avLst/>
                  <a:gdLst>
                    <a:gd name="T0" fmla="*/ 14 w 20"/>
                    <a:gd name="T1" fmla="*/ 0 h 13"/>
                    <a:gd name="T2" fmla="*/ 13 w 20"/>
                    <a:gd name="T3" fmla="*/ 1 h 13"/>
                    <a:gd name="T4" fmla="*/ 10 w 20"/>
                    <a:gd name="T5" fmla="*/ 3 h 13"/>
                    <a:gd name="T6" fmla="*/ 4 w 20"/>
                    <a:gd name="T7" fmla="*/ 5 h 13"/>
                    <a:gd name="T8" fmla="*/ 6 w 20"/>
                    <a:gd name="T9" fmla="*/ 6 h 13"/>
                    <a:gd name="T10" fmla="*/ 3 w 20"/>
                    <a:gd name="T11" fmla="*/ 13 h 13"/>
                    <a:gd name="T12" fmla="*/ 5 w 20"/>
                    <a:gd name="T13" fmla="*/ 11 h 13"/>
                    <a:gd name="T14" fmla="*/ 6 w 20"/>
                    <a:gd name="T15" fmla="*/ 12 h 13"/>
                    <a:gd name="T16" fmla="*/ 8 w 20"/>
                    <a:gd name="T17" fmla="*/ 12 h 13"/>
                    <a:gd name="T18" fmla="*/ 10 w 20"/>
                    <a:gd name="T19" fmla="*/ 11 h 13"/>
                    <a:gd name="T20" fmla="*/ 20 w 20"/>
                    <a:gd name="T21" fmla="*/ 4 h 13"/>
                    <a:gd name="T22" fmla="*/ 18 w 20"/>
                    <a:gd name="T23" fmla="*/ 3 h 13"/>
                    <a:gd name="T24" fmla="*/ 18 w 20"/>
                    <a:gd name="T25" fmla="*/ 3 h 13"/>
                    <a:gd name="T26" fmla="*/ 18 w 20"/>
                    <a:gd name="T27" fmla="*/ 3 h 13"/>
                    <a:gd name="T28" fmla="*/ 17 w 20"/>
                    <a:gd name="T29" fmla="*/ 2 h 13"/>
                    <a:gd name="T30" fmla="*/ 16 w 20"/>
                    <a:gd name="T31" fmla="*/ 2 h 13"/>
                    <a:gd name="T32" fmla="*/ 16 w 20"/>
                    <a:gd name="T33" fmla="*/ 2 h 13"/>
                    <a:gd name="T34" fmla="*/ 14 w 20"/>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3">
                      <a:moveTo>
                        <a:pt x="14" y="0"/>
                      </a:moveTo>
                      <a:cubicBezTo>
                        <a:pt x="14" y="0"/>
                        <a:pt x="14" y="0"/>
                        <a:pt x="13" y="1"/>
                      </a:cubicBezTo>
                      <a:cubicBezTo>
                        <a:pt x="12" y="1"/>
                        <a:pt x="11" y="2"/>
                        <a:pt x="10" y="3"/>
                      </a:cubicBezTo>
                      <a:cubicBezTo>
                        <a:pt x="8" y="4"/>
                        <a:pt x="6" y="4"/>
                        <a:pt x="4" y="5"/>
                      </a:cubicBezTo>
                      <a:cubicBezTo>
                        <a:pt x="4" y="5"/>
                        <a:pt x="5" y="5"/>
                        <a:pt x="6" y="6"/>
                      </a:cubicBezTo>
                      <a:cubicBezTo>
                        <a:pt x="1" y="7"/>
                        <a:pt x="0" y="9"/>
                        <a:pt x="3" y="13"/>
                      </a:cubicBezTo>
                      <a:cubicBezTo>
                        <a:pt x="3" y="12"/>
                        <a:pt x="4" y="11"/>
                        <a:pt x="5" y="11"/>
                      </a:cubicBezTo>
                      <a:cubicBezTo>
                        <a:pt x="5" y="11"/>
                        <a:pt x="6" y="12"/>
                        <a:pt x="6" y="12"/>
                      </a:cubicBezTo>
                      <a:cubicBezTo>
                        <a:pt x="7" y="12"/>
                        <a:pt x="8" y="12"/>
                        <a:pt x="8" y="12"/>
                      </a:cubicBezTo>
                      <a:cubicBezTo>
                        <a:pt x="9" y="12"/>
                        <a:pt x="9" y="12"/>
                        <a:pt x="10" y="11"/>
                      </a:cubicBezTo>
                      <a:cubicBezTo>
                        <a:pt x="13" y="10"/>
                        <a:pt x="17" y="7"/>
                        <a:pt x="20" y="4"/>
                      </a:cubicBezTo>
                      <a:cubicBezTo>
                        <a:pt x="20" y="4"/>
                        <a:pt x="18" y="3"/>
                        <a:pt x="18" y="3"/>
                      </a:cubicBezTo>
                      <a:cubicBezTo>
                        <a:pt x="18" y="3"/>
                        <a:pt x="18" y="3"/>
                        <a:pt x="18" y="3"/>
                      </a:cubicBezTo>
                      <a:cubicBezTo>
                        <a:pt x="18" y="3"/>
                        <a:pt x="18" y="3"/>
                        <a:pt x="18" y="3"/>
                      </a:cubicBezTo>
                      <a:cubicBezTo>
                        <a:pt x="18" y="3"/>
                        <a:pt x="17" y="3"/>
                        <a:pt x="17" y="2"/>
                      </a:cubicBezTo>
                      <a:cubicBezTo>
                        <a:pt x="16" y="2"/>
                        <a:pt x="16" y="2"/>
                        <a:pt x="16" y="2"/>
                      </a:cubicBezTo>
                      <a:cubicBezTo>
                        <a:pt x="16" y="2"/>
                        <a:pt x="16" y="2"/>
                        <a:pt x="16" y="2"/>
                      </a:cubicBezTo>
                      <a:cubicBezTo>
                        <a:pt x="15" y="1"/>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0" name="Freeform 100">
                  <a:extLst>
                    <a:ext uri="{FF2B5EF4-FFF2-40B4-BE49-F238E27FC236}">
                      <a16:creationId xmlns:a16="http://schemas.microsoft.com/office/drawing/2014/main" id="{234DFAB8-9A1E-4392-95A2-0F877F53B6E7}"/>
                    </a:ext>
                  </a:extLst>
                </p:cNvPr>
                <p:cNvSpPr>
                  <a:spLocks/>
                </p:cNvSpPr>
                <p:nvPr/>
              </p:nvSpPr>
              <p:spPr bwMode="auto">
                <a:xfrm>
                  <a:off x="5516618" y="1562490"/>
                  <a:ext cx="36851" cy="44221"/>
                </a:xfrm>
                <a:custGeom>
                  <a:avLst/>
                  <a:gdLst>
                    <a:gd name="T0" fmla="*/ 8 w 11"/>
                    <a:gd name="T1" fmla="*/ 0 h 14"/>
                    <a:gd name="T2" fmla="*/ 5 w 11"/>
                    <a:gd name="T3" fmla="*/ 5 h 14"/>
                    <a:gd name="T4" fmla="*/ 0 w 11"/>
                    <a:gd name="T5" fmla="*/ 14 h 14"/>
                    <a:gd name="T6" fmla="*/ 9 w 11"/>
                    <a:gd name="T7" fmla="*/ 8 h 14"/>
                    <a:gd name="T8" fmla="*/ 8 w 11"/>
                    <a:gd name="T9" fmla="*/ 4 h 14"/>
                    <a:gd name="T10" fmla="*/ 9 w 11"/>
                    <a:gd name="T11" fmla="*/ 1 h 14"/>
                    <a:gd name="T12" fmla="*/ 8 w 1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1" h="14">
                      <a:moveTo>
                        <a:pt x="8" y="0"/>
                      </a:moveTo>
                      <a:cubicBezTo>
                        <a:pt x="7" y="0"/>
                        <a:pt x="5" y="4"/>
                        <a:pt x="5" y="5"/>
                      </a:cubicBezTo>
                      <a:cubicBezTo>
                        <a:pt x="3" y="7"/>
                        <a:pt x="0" y="11"/>
                        <a:pt x="0" y="14"/>
                      </a:cubicBezTo>
                      <a:cubicBezTo>
                        <a:pt x="3" y="14"/>
                        <a:pt x="7" y="11"/>
                        <a:pt x="9" y="8"/>
                      </a:cubicBezTo>
                      <a:cubicBezTo>
                        <a:pt x="11" y="6"/>
                        <a:pt x="7" y="6"/>
                        <a:pt x="8" y="4"/>
                      </a:cubicBezTo>
                      <a:cubicBezTo>
                        <a:pt x="8" y="3"/>
                        <a:pt x="9" y="2"/>
                        <a:pt x="9" y="1"/>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1" name="Freeform 101">
                  <a:extLst>
                    <a:ext uri="{FF2B5EF4-FFF2-40B4-BE49-F238E27FC236}">
                      <a16:creationId xmlns:a16="http://schemas.microsoft.com/office/drawing/2014/main" id="{DF543680-E104-4ED4-9A0F-99624316A28A}"/>
                    </a:ext>
                  </a:extLst>
                </p:cNvPr>
                <p:cNvSpPr>
                  <a:spLocks/>
                </p:cNvSpPr>
                <p:nvPr/>
              </p:nvSpPr>
              <p:spPr bwMode="auto">
                <a:xfrm>
                  <a:off x="6489489" y="1146072"/>
                  <a:ext cx="44221" cy="29481"/>
                </a:xfrm>
                <a:custGeom>
                  <a:avLst/>
                  <a:gdLst>
                    <a:gd name="T0" fmla="*/ 3 w 14"/>
                    <a:gd name="T1" fmla="*/ 0 h 10"/>
                    <a:gd name="T2" fmla="*/ 2 w 14"/>
                    <a:gd name="T3" fmla="*/ 9 h 10"/>
                    <a:gd name="T4" fmla="*/ 9 w 14"/>
                    <a:gd name="T5" fmla="*/ 10 h 10"/>
                    <a:gd name="T6" fmla="*/ 12 w 14"/>
                    <a:gd name="T7" fmla="*/ 9 h 10"/>
                    <a:gd name="T8" fmla="*/ 6 w 14"/>
                    <a:gd name="T9" fmla="*/ 1 h 10"/>
                    <a:gd name="T10" fmla="*/ 3 w 14"/>
                    <a:gd name="T11" fmla="*/ 0 h 10"/>
                  </a:gdLst>
                  <a:ahLst/>
                  <a:cxnLst>
                    <a:cxn ang="0">
                      <a:pos x="T0" y="T1"/>
                    </a:cxn>
                    <a:cxn ang="0">
                      <a:pos x="T2" y="T3"/>
                    </a:cxn>
                    <a:cxn ang="0">
                      <a:pos x="T4" y="T5"/>
                    </a:cxn>
                    <a:cxn ang="0">
                      <a:pos x="T6" y="T7"/>
                    </a:cxn>
                    <a:cxn ang="0">
                      <a:pos x="T8" y="T9"/>
                    </a:cxn>
                    <a:cxn ang="0">
                      <a:pos x="T10" y="T11"/>
                    </a:cxn>
                  </a:cxnLst>
                  <a:rect l="0" t="0" r="r" b="b"/>
                  <a:pathLst>
                    <a:path w="14" h="10">
                      <a:moveTo>
                        <a:pt x="3" y="0"/>
                      </a:moveTo>
                      <a:cubicBezTo>
                        <a:pt x="0" y="0"/>
                        <a:pt x="2" y="5"/>
                        <a:pt x="2" y="9"/>
                      </a:cubicBezTo>
                      <a:cubicBezTo>
                        <a:pt x="3" y="9"/>
                        <a:pt x="7" y="10"/>
                        <a:pt x="9" y="10"/>
                      </a:cubicBezTo>
                      <a:cubicBezTo>
                        <a:pt x="11" y="10"/>
                        <a:pt x="12" y="10"/>
                        <a:pt x="12" y="9"/>
                      </a:cubicBezTo>
                      <a:cubicBezTo>
                        <a:pt x="14" y="3"/>
                        <a:pt x="12" y="4"/>
                        <a:pt x="6" y="1"/>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2" name="Freeform 102">
                  <a:extLst>
                    <a:ext uri="{FF2B5EF4-FFF2-40B4-BE49-F238E27FC236}">
                      <a16:creationId xmlns:a16="http://schemas.microsoft.com/office/drawing/2014/main" id="{70BA1792-7838-4249-9DD4-C51096191132}"/>
                    </a:ext>
                  </a:extLst>
                </p:cNvPr>
                <p:cNvSpPr>
                  <a:spLocks/>
                </p:cNvSpPr>
                <p:nvPr/>
              </p:nvSpPr>
              <p:spPr bwMode="auto">
                <a:xfrm>
                  <a:off x="4842242" y="2723301"/>
                  <a:ext cx="36851" cy="25796"/>
                </a:xfrm>
                <a:custGeom>
                  <a:avLst/>
                  <a:gdLst>
                    <a:gd name="T0" fmla="*/ 7 w 11"/>
                    <a:gd name="T1" fmla="*/ 0 h 8"/>
                    <a:gd name="T2" fmla="*/ 0 w 11"/>
                    <a:gd name="T3" fmla="*/ 4 h 8"/>
                    <a:gd name="T4" fmla="*/ 5 w 11"/>
                    <a:gd name="T5" fmla="*/ 8 h 8"/>
                    <a:gd name="T6" fmla="*/ 5 w 11"/>
                    <a:gd name="T7" fmla="*/ 8 h 8"/>
                    <a:gd name="T8" fmla="*/ 9 w 11"/>
                    <a:gd name="T9" fmla="*/ 1 h 8"/>
                    <a:gd name="T10" fmla="*/ 7 w 11"/>
                    <a:gd name="T11" fmla="*/ 0 h 8"/>
                  </a:gdLst>
                  <a:ahLst/>
                  <a:cxnLst>
                    <a:cxn ang="0">
                      <a:pos x="T0" y="T1"/>
                    </a:cxn>
                    <a:cxn ang="0">
                      <a:pos x="T2" y="T3"/>
                    </a:cxn>
                    <a:cxn ang="0">
                      <a:pos x="T4" y="T5"/>
                    </a:cxn>
                    <a:cxn ang="0">
                      <a:pos x="T6" y="T7"/>
                    </a:cxn>
                    <a:cxn ang="0">
                      <a:pos x="T8" y="T9"/>
                    </a:cxn>
                    <a:cxn ang="0">
                      <a:pos x="T10" y="T11"/>
                    </a:cxn>
                  </a:cxnLst>
                  <a:rect l="0" t="0" r="r" b="b"/>
                  <a:pathLst>
                    <a:path w="11" h="8">
                      <a:moveTo>
                        <a:pt x="7" y="0"/>
                      </a:moveTo>
                      <a:cubicBezTo>
                        <a:pt x="4" y="0"/>
                        <a:pt x="2" y="4"/>
                        <a:pt x="0" y="4"/>
                      </a:cubicBezTo>
                      <a:cubicBezTo>
                        <a:pt x="2" y="6"/>
                        <a:pt x="3" y="7"/>
                        <a:pt x="5" y="8"/>
                      </a:cubicBezTo>
                      <a:cubicBezTo>
                        <a:pt x="5" y="8"/>
                        <a:pt x="5" y="8"/>
                        <a:pt x="5" y="8"/>
                      </a:cubicBezTo>
                      <a:cubicBezTo>
                        <a:pt x="8" y="8"/>
                        <a:pt x="11" y="3"/>
                        <a:pt x="9"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3" name="Freeform 103">
                  <a:extLst>
                    <a:ext uri="{FF2B5EF4-FFF2-40B4-BE49-F238E27FC236}">
                      <a16:creationId xmlns:a16="http://schemas.microsoft.com/office/drawing/2014/main" id="{9310A064-EF1C-4562-842F-11824814B5FC}"/>
                    </a:ext>
                  </a:extLst>
                </p:cNvPr>
                <p:cNvSpPr>
                  <a:spLocks/>
                </p:cNvSpPr>
                <p:nvPr/>
              </p:nvSpPr>
              <p:spPr bwMode="auto">
                <a:xfrm>
                  <a:off x="6633208" y="1072369"/>
                  <a:ext cx="77387" cy="36851"/>
                </a:xfrm>
                <a:custGeom>
                  <a:avLst/>
                  <a:gdLst>
                    <a:gd name="T0" fmla="*/ 13 w 24"/>
                    <a:gd name="T1" fmla="*/ 0 h 12"/>
                    <a:gd name="T2" fmla="*/ 13 w 24"/>
                    <a:gd name="T3" fmla="*/ 0 h 12"/>
                    <a:gd name="T4" fmla="*/ 10 w 24"/>
                    <a:gd name="T5" fmla="*/ 1 h 12"/>
                    <a:gd name="T6" fmla="*/ 14 w 24"/>
                    <a:gd name="T7" fmla="*/ 5 h 12"/>
                    <a:gd name="T8" fmla="*/ 13 w 24"/>
                    <a:gd name="T9" fmla="*/ 5 h 12"/>
                    <a:gd name="T10" fmla="*/ 11 w 24"/>
                    <a:gd name="T11" fmla="*/ 5 h 12"/>
                    <a:gd name="T12" fmla="*/ 8 w 24"/>
                    <a:gd name="T13" fmla="*/ 5 h 12"/>
                    <a:gd name="T14" fmla="*/ 3 w 24"/>
                    <a:gd name="T15" fmla="*/ 6 h 12"/>
                    <a:gd name="T16" fmla="*/ 5 w 24"/>
                    <a:gd name="T17" fmla="*/ 9 h 12"/>
                    <a:gd name="T18" fmla="*/ 10 w 24"/>
                    <a:gd name="T19" fmla="*/ 12 h 12"/>
                    <a:gd name="T20" fmla="*/ 11 w 24"/>
                    <a:gd name="T21" fmla="*/ 12 h 12"/>
                    <a:gd name="T22" fmla="*/ 24 w 24"/>
                    <a:gd name="T23" fmla="*/ 8 h 12"/>
                    <a:gd name="T24" fmla="*/ 23 w 24"/>
                    <a:gd name="T25" fmla="*/ 9 h 12"/>
                    <a:gd name="T26" fmla="*/ 22 w 24"/>
                    <a:gd name="T27" fmla="*/ 3 h 12"/>
                    <a:gd name="T28" fmla="*/ 20 w 24"/>
                    <a:gd name="T29" fmla="*/ 3 h 12"/>
                    <a:gd name="T30" fmla="*/ 13 w 24"/>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2">
                      <a:moveTo>
                        <a:pt x="13" y="0"/>
                      </a:moveTo>
                      <a:cubicBezTo>
                        <a:pt x="13" y="0"/>
                        <a:pt x="13" y="0"/>
                        <a:pt x="13" y="0"/>
                      </a:cubicBezTo>
                      <a:cubicBezTo>
                        <a:pt x="12" y="0"/>
                        <a:pt x="11" y="1"/>
                        <a:pt x="10" y="1"/>
                      </a:cubicBezTo>
                      <a:cubicBezTo>
                        <a:pt x="11" y="3"/>
                        <a:pt x="13" y="4"/>
                        <a:pt x="14" y="5"/>
                      </a:cubicBezTo>
                      <a:cubicBezTo>
                        <a:pt x="14" y="5"/>
                        <a:pt x="13" y="5"/>
                        <a:pt x="13" y="5"/>
                      </a:cubicBezTo>
                      <a:cubicBezTo>
                        <a:pt x="12" y="5"/>
                        <a:pt x="12" y="5"/>
                        <a:pt x="11" y="5"/>
                      </a:cubicBezTo>
                      <a:cubicBezTo>
                        <a:pt x="10" y="5"/>
                        <a:pt x="9" y="5"/>
                        <a:pt x="8" y="5"/>
                      </a:cubicBezTo>
                      <a:cubicBezTo>
                        <a:pt x="6" y="5"/>
                        <a:pt x="5" y="5"/>
                        <a:pt x="3" y="6"/>
                      </a:cubicBezTo>
                      <a:cubicBezTo>
                        <a:pt x="0" y="8"/>
                        <a:pt x="3" y="8"/>
                        <a:pt x="5" y="9"/>
                      </a:cubicBezTo>
                      <a:cubicBezTo>
                        <a:pt x="6" y="11"/>
                        <a:pt x="8" y="12"/>
                        <a:pt x="10" y="12"/>
                      </a:cubicBezTo>
                      <a:cubicBezTo>
                        <a:pt x="10" y="12"/>
                        <a:pt x="11" y="12"/>
                        <a:pt x="11" y="12"/>
                      </a:cubicBezTo>
                      <a:cubicBezTo>
                        <a:pt x="15" y="11"/>
                        <a:pt x="20" y="10"/>
                        <a:pt x="24" y="8"/>
                      </a:cubicBezTo>
                      <a:cubicBezTo>
                        <a:pt x="24" y="9"/>
                        <a:pt x="23" y="9"/>
                        <a:pt x="23" y="9"/>
                      </a:cubicBezTo>
                      <a:cubicBezTo>
                        <a:pt x="21" y="9"/>
                        <a:pt x="24" y="4"/>
                        <a:pt x="22" y="3"/>
                      </a:cubicBezTo>
                      <a:cubicBezTo>
                        <a:pt x="20" y="3"/>
                        <a:pt x="20" y="3"/>
                        <a:pt x="20" y="3"/>
                      </a:cubicBezTo>
                      <a:cubicBezTo>
                        <a:pt x="17" y="2"/>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4" name="Freeform 104">
                  <a:extLst>
                    <a:ext uri="{FF2B5EF4-FFF2-40B4-BE49-F238E27FC236}">
                      <a16:creationId xmlns:a16="http://schemas.microsoft.com/office/drawing/2014/main" id="{C1320F0E-E324-4D59-A409-7BD9CED71614}"/>
                    </a:ext>
                  </a:extLst>
                </p:cNvPr>
                <p:cNvSpPr>
                  <a:spLocks/>
                </p:cNvSpPr>
                <p:nvPr/>
              </p:nvSpPr>
              <p:spPr bwMode="auto">
                <a:xfrm>
                  <a:off x="5107571" y="2281087"/>
                  <a:ext cx="25796" cy="11055"/>
                </a:xfrm>
                <a:custGeom>
                  <a:avLst/>
                  <a:gdLst>
                    <a:gd name="T0" fmla="*/ 4 w 8"/>
                    <a:gd name="T1" fmla="*/ 0 h 3"/>
                    <a:gd name="T2" fmla="*/ 3 w 8"/>
                    <a:gd name="T3" fmla="*/ 2 h 3"/>
                    <a:gd name="T4" fmla="*/ 2 w 8"/>
                    <a:gd name="T5" fmla="*/ 1 h 3"/>
                    <a:gd name="T6" fmla="*/ 0 w 8"/>
                    <a:gd name="T7" fmla="*/ 3 h 3"/>
                    <a:gd name="T8" fmla="*/ 5 w 8"/>
                    <a:gd name="T9" fmla="*/ 3 h 3"/>
                    <a:gd name="T10" fmla="*/ 8 w 8"/>
                    <a:gd name="T11" fmla="*/ 3 h 3"/>
                    <a:gd name="T12" fmla="*/ 4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4" y="0"/>
                      </a:moveTo>
                      <a:cubicBezTo>
                        <a:pt x="3" y="0"/>
                        <a:pt x="3" y="0"/>
                        <a:pt x="3" y="2"/>
                      </a:cubicBezTo>
                      <a:cubicBezTo>
                        <a:pt x="3" y="1"/>
                        <a:pt x="3" y="1"/>
                        <a:pt x="2" y="1"/>
                      </a:cubicBezTo>
                      <a:cubicBezTo>
                        <a:pt x="1" y="1"/>
                        <a:pt x="1" y="1"/>
                        <a:pt x="0" y="3"/>
                      </a:cubicBezTo>
                      <a:cubicBezTo>
                        <a:pt x="2" y="3"/>
                        <a:pt x="4" y="3"/>
                        <a:pt x="5" y="3"/>
                      </a:cubicBezTo>
                      <a:cubicBezTo>
                        <a:pt x="6" y="3"/>
                        <a:pt x="7" y="3"/>
                        <a:pt x="8" y="3"/>
                      </a:cubicBezTo>
                      <a:cubicBezTo>
                        <a:pt x="7" y="2"/>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5" name="Freeform 105">
                  <a:extLst>
                    <a:ext uri="{FF2B5EF4-FFF2-40B4-BE49-F238E27FC236}">
                      <a16:creationId xmlns:a16="http://schemas.microsoft.com/office/drawing/2014/main" id="{3317EDAA-6362-4CED-98A4-27C57B4B51EB}"/>
                    </a:ext>
                  </a:extLst>
                </p:cNvPr>
                <p:cNvSpPr>
                  <a:spLocks/>
                </p:cNvSpPr>
                <p:nvPr/>
              </p:nvSpPr>
              <p:spPr bwMode="auto">
                <a:xfrm>
                  <a:off x="4820132" y="2760152"/>
                  <a:ext cx="14740" cy="29481"/>
                </a:xfrm>
                <a:custGeom>
                  <a:avLst/>
                  <a:gdLst>
                    <a:gd name="T0" fmla="*/ 2 w 5"/>
                    <a:gd name="T1" fmla="*/ 0 h 10"/>
                    <a:gd name="T2" fmla="*/ 1 w 5"/>
                    <a:gd name="T3" fmla="*/ 3 h 10"/>
                    <a:gd name="T4" fmla="*/ 2 w 5"/>
                    <a:gd name="T5" fmla="*/ 2 h 10"/>
                    <a:gd name="T6" fmla="*/ 3 w 5"/>
                    <a:gd name="T7" fmla="*/ 10 h 10"/>
                    <a:gd name="T8" fmla="*/ 5 w 5"/>
                    <a:gd name="T9" fmla="*/ 4 h 10"/>
                    <a:gd name="T10" fmla="*/ 2 w 5"/>
                    <a:gd name="T11" fmla="*/ 0 h 10"/>
                  </a:gdLst>
                  <a:ahLst/>
                  <a:cxnLst>
                    <a:cxn ang="0">
                      <a:pos x="T0" y="T1"/>
                    </a:cxn>
                    <a:cxn ang="0">
                      <a:pos x="T2" y="T3"/>
                    </a:cxn>
                    <a:cxn ang="0">
                      <a:pos x="T4" y="T5"/>
                    </a:cxn>
                    <a:cxn ang="0">
                      <a:pos x="T6" y="T7"/>
                    </a:cxn>
                    <a:cxn ang="0">
                      <a:pos x="T8" y="T9"/>
                    </a:cxn>
                    <a:cxn ang="0">
                      <a:pos x="T10" y="T11"/>
                    </a:cxn>
                  </a:cxnLst>
                  <a:rect l="0" t="0" r="r" b="b"/>
                  <a:pathLst>
                    <a:path w="5" h="10">
                      <a:moveTo>
                        <a:pt x="2" y="0"/>
                      </a:moveTo>
                      <a:cubicBezTo>
                        <a:pt x="1" y="2"/>
                        <a:pt x="0" y="2"/>
                        <a:pt x="1" y="3"/>
                      </a:cubicBezTo>
                      <a:cubicBezTo>
                        <a:pt x="2" y="2"/>
                        <a:pt x="2" y="2"/>
                        <a:pt x="2" y="2"/>
                      </a:cubicBezTo>
                      <a:cubicBezTo>
                        <a:pt x="2" y="5"/>
                        <a:pt x="2" y="8"/>
                        <a:pt x="3" y="10"/>
                      </a:cubicBezTo>
                      <a:cubicBezTo>
                        <a:pt x="5" y="9"/>
                        <a:pt x="4" y="6"/>
                        <a:pt x="5" y="4"/>
                      </a:cubicBezTo>
                      <a:cubicBezTo>
                        <a:pt x="4" y="3"/>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6" name="Freeform 106">
                  <a:extLst>
                    <a:ext uri="{FF2B5EF4-FFF2-40B4-BE49-F238E27FC236}">
                      <a16:creationId xmlns:a16="http://schemas.microsoft.com/office/drawing/2014/main" id="{0D03F104-6917-4CA9-B969-489CCC0A4C74}"/>
                    </a:ext>
                  </a:extLst>
                </p:cNvPr>
                <p:cNvSpPr>
                  <a:spLocks/>
                </p:cNvSpPr>
                <p:nvPr/>
              </p:nvSpPr>
              <p:spPr bwMode="auto">
                <a:xfrm>
                  <a:off x="5641912" y="1507213"/>
                  <a:ext cx="88443" cy="44221"/>
                </a:xfrm>
                <a:custGeom>
                  <a:avLst/>
                  <a:gdLst>
                    <a:gd name="T0" fmla="*/ 28 w 28"/>
                    <a:gd name="T1" fmla="*/ 0 h 14"/>
                    <a:gd name="T2" fmla="*/ 9 w 28"/>
                    <a:gd name="T3" fmla="*/ 3 h 14"/>
                    <a:gd name="T4" fmla="*/ 5 w 28"/>
                    <a:gd name="T5" fmla="*/ 8 h 14"/>
                    <a:gd name="T6" fmla="*/ 5 w 28"/>
                    <a:gd name="T7" fmla="*/ 8 h 14"/>
                    <a:gd name="T8" fmla="*/ 4 w 28"/>
                    <a:gd name="T9" fmla="*/ 8 h 14"/>
                    <a:gd name="T10" fmla="*/ 4 w 28"/>
                    <a:gd name="T11" fmla="*/ 8 h 14"/>
                    <a:gd name="T12" fmla="*/ 4 w 28"/>
                    <a:gd name="T13" fmla="*/ 9 h 14"/>
                    <a:gd name="T14" fmla="*/ 3 w 28"/>
                    <a:gd name="T15" fmla="*/ 11 h 14"/>
                    <a:gd name="T16" fmla="*/ 0 w 28"/>
                    <a:gd name="T17" fmla="*/ 14 h 14"/>
                    <a:gd name="T18" fmla="*/ 28 w 28"/>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
                      <a:moveTo>
                        <a:pt x="28" y="0"/>
                      </a:moveTo>
                      <a:cubicBezTo>
                        <a:pt x="21" y="0"/>
                        <a:pt x="15" y="2"/>
                        <a:pt x="9" y="3"/>
                      </a:cubicBezTo>
                      <a:cubicBezTo>
                        <a:pt x="8" y="5"/>
                        <a:pt x="7" y="6"/>
                        <a:pt x="5" y="8"/>
                      </a:cubicBezTo>
                      <a:cubicBezTo>
                        <a:pt x="5" y="8"/>
                        <a:pt x="5" y="8"/>
                        <a:pt x="5" y="8"/>
                      </a:cubicBezTo>
                      <a:cubicBezTo>
                        <a:pt x="4" y="8"/>
                        <a:pt x="4" y="8"/>
                        <a:pt x="4" y="8"/>
                      </a:cubicBezTo>
                      <a:cubicBezTo>
                        <a:pt x="4" y="8"/>
                        <a:pt x="4" y="8"/>
                        <a:pt x="4" y="8"/>
                      </a:cubicBezTo>
                      <a:cubicBezTo>
                        <a:pt x="3" y="8"/>
                        <a:pt x="3" y="8"/>
                        <a:pt x="4" y="9"/>
                      </a:cubicBezTo>
                      <a:cubicBezTo>
                        <a:pt x="2" y="10"/>
                        <a:pt x="3" y="10"/>
                        <a:pt x="3" y="11"/>
                      </a:cubicBezTo>
                      <a:cubicBezTo>
                        <a:pt x="1" y="11"/>
                        <a:pt x="0" y="12"/>
                        <a:pt x="0" y="14"/>
                      </a:cubicBezTo>
                      <a:cubicBezTo>
                        <a:pt x="10" y="12"/>
                        <a:pt x="22" y="8"/>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7" name="Freeform 107">
                  <a:extLst>
                    <a:ext uri="{FF2B5EF4-FFF2-40B4-BE49-F238E27FC236}">
                      <a16:creationId xmlns:a16="http://schemas.microsoft.com/office/drawing/2014/main" id="{2C863556-5F11-4481-B25C-77DBA9181795}"/>
                    </a:ext>
                  </a:extLst>
                </p:cNvPr>
                <p:cNvSpPr>
                  <a:spLocks/>
                </p:cNvSpPr>
                <p:nvPr/>
              </p:nvSpPr>
              <p:spPr bwMode="auto">
                <a:xfrm>
                  <a:off x="4705893" y="3773559"/>
                  <a:ext cx="33166" cy="18426"/>
                </a:xfrm>
                <a:custGeom>
                  <a:avLst/>
                  <a:gdLst>
                    <a:gd name="T0" fmla="*/ 2 w 11"/>
                    <a:gd name="T1" fmla="*/ 0 h 5"/>
                    <a:gd name="T2" fmla="*/ 0 w 11"/>
                    <a:gd name="T3" fmla="*/ 0 h 5"/>
                    <a:gd name="T4" fmla="*/ 5 w 11"/>
                    <a:gd name="T5" fmla="*/ 2 h 5"/>
                    <a:gd name="T6" fmla="*/ 9 w 11"/>
                    <a:gd name="T7" fmla="*/ 5 h 5"/>
                    <a:gd name="T8" fmla="*/ 11 w 11"/>
                    <a:gd name="T9" fmla="*/ 4 h 5"/>
                    <a:gd name="T10" fmla="*/ 2 w 11"/>
                    <a:gd name="T11" fmla="*/ 0 h 5"/>
                  </a:gdLst>
                  <a:ahLst/>
                  <a:cxnLst>
                    <a:cxn ang="0">
                      <a:pos x="T0" y="T1"/>
                    </a:cxn>
                    <a:cxn ang="0">
                      <a:pos x="T2" y="T3"/>
                    </a:cxn>
                    <a:cxn ang="0">
                      <a:pos x="T4" y="T5"/>
                    </a:cxn>
                    <a:cxn ang="0">
                      <a:pos x="T6" y="T7"/>
                    </a:cxn>
                    <a:cxn ang="0">
                      <a:pos x="T8" y="T9"/>
                    </a:cxn>
                    <a:cxn ang="0">
                      <a:pos x="T10" y="T11"/>
                    </a:cxn>
                  </a:cxnLst>
                  <a:rect l="0" t="0" r="r" b="b"/>
                  <a:pathLst>
                    <a:path w="11" h="5">
                      <a:moveTo>
                        <a:pt x="2" y="0"/>
                      </a:moveTo>
                      <a:cubicBezTo>
                        <a:pt x="1" y="0"/>
                        <a:pt x="1" y="0"/>
                        <a:pt x="0" y="0"/>
                      </a:cubicBezTo>
                      <a:cubicBezTo>
                        <a:pt x="2" y="1"/>
                        <a:pt x="3" y="2"/>
                        <a:pt x="5" y="2"/>
                      </a:cubicBezTo>
                      <a:cubicBezTo>
                        <a:pt x="6" y="4"/>
                        <a:pt x="7" y="5"/>
                        <a:pt x="9" y="5"/>
                      </a:cubicBezTo>
                      <a:cubicBezTo>
                        <a:pt x="10" y="5"/>
                        <a:pt x="10" y="5"/>
                        <a:pt x="11" y="4"/>
                      </a:cubicBezTo>
                      <a:cubicBezTo>
                        <a:pt x="8"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8" name="Freeform 108">
                  <a:extLst>
                    <a:ext uri="{FF2B5EF4-FFF2-40B4-BE49-F238E27FC236}">
                      <a16:creationId xmlns:a16="http://schemas.microsoft.com/office/drawing/2014/main" id="{75D73746-2682-4953-8111-1C66CA51F006}"/>
                    </a:ext>
                  </a:extLst>
                </p:cNvPr>
                <p:cNvSpPr>
                  <a:spLocks/>
                </p:cNvSpPr>
                <p:nvPr/>
              </p:nvSpPr>
              <p:spPr bwMode="auto">
                <a:xfrm>
                  <a:off x="4908574" y="3570878"/>
                  <a:ext cx="18426" cy="3685"/>
                </a:xfrm>
                <a:custGeom>
                  <a:avLst/>
                  <a:gdLst>
                    <a:gd name="T0" fmla="*/ 6 w 6"/>
                    <a:gd name="T1" fmla="*/ 0 h 1"/>
                    <a:gd name="T2" fmla="*/ 0 w 6"/>
                    <a:gd name="T3" fmla="*/ 1 h 1"/>
                    <a:gd name="T4" fmla="*/ 2 w 6"/>
                    <a:gd name="T5" fmla="*/ 1 h 1"/>
                    <a:gd name="T6" fmla="*/ 3 w 6"/>
                    <a:gd name="T7" fmla="*/ 1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1"/>
                        <a:pt x="0" y="1"/>
                      </a:cubicBezTo>
                      <a:cubicBezTo>
                        <a:pt x="1" y="1"/>
                        <a:pt x="1" y="1"/>
                        <a:pt x="2" y="1"/>
                      </a:cubicBezTo>
                      <a:cubicBezTo>
                        <a:pt x="2" y="1"/>
                        <a:pt x="3" y="1"/>
                        <a:pt x="3" y="1"/>
                      </a:cubicBezTo>
                      <a:cubicBezTo>
                        <a:pt x="4" y="1"/>
                        <a:pt x="5"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9" name="Freeform 109">
                  <a:extLst>
                    <a:ext uri="{FF2B5EF4-FFF2-40B4-BE49-F238E27FC236}">
                      <a16:creationId xmlns:a16="http://schemas.microsoft.com/office/drawing/2014/main" id="{512CCEBB-189F-43E7-AAE2-E400CA77D86D}"/>
                    </a:ext>
                  </a:extLst>
                </p:cNvPr>
                <p:cNvSpPr>
                  <a:spLocks/>
                </p:cNvSpPr>
                <p:nvPr/>
              </p:nvSpPr>
              <p:spPr bwMode="auto">
                <a:xfrm>
                  <a:off x="4823817" y="3585618"/>
                  <a:ext cx="18426" cy="3685"/>
                </a:xfrm>
                <a:custGeom>
                  <a:avLst/>
                  <a:gdLst>
                    <a:gd name="T0" fmla="*/ 6 w 6"/>
                    <a:gd name="T1" fmla="*/ 0 h 2"/>
                    <a:gd name="T2" fmla="*/ 0 w 6"/>
                    <a:gd name="T3" fmla="*/ 2 h 2"/>
                    <a:gd name="T4" fmla="*/ 6 w 6"/>
                    <a:gd name="T5" fmla="*/ 0 h 2"/>
                  </a:gdLst>
                  <a:ahLst/>
                  <a:cxnLst>
                    <a:cxn ang="0">
                      <a:pos x="T0" y="T1"/>
                    </a:cxn>
                    <a:cxn ang="0">
                      <a:pos x="T2" y="T3"/>
                    </a:cxn>
                    <a:cxn ang="0">
                      <a:pos x="T4" y="T5"/>
                    </a:cxn>
                  </a:cxnLst>
                  <a:rect l="0" t="0" r="r" b="b"/>
                  <a:pathLst>
                    <a:path w="6" h="2">
                      <a:moveTo>
                        <a:pt x="6" y="0"/>
                      </a:moveTo>
                      <a:cubicBezTo>
                        <a:pt x="4" y="1"/>
                        <a:pt x="2" y="1"/>
                        <a:pt x="0" y="2"/>
                      </a:cubicBezTo>
                      <a:cubicBezTo>
                        <a:pt x="2" y="1"/>
                        <a:pt x="4"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0" name="Freeform 110">
                  <a:extLst>
                    <a:ext uri="{FF2B5EF4-FFF2-40B4-BE49-F238E27FC236}">
                      <a16:creationId xmlns:a16="http://schemas.microsoft.com/office/drawing/2014/main" id="{2D949CE0-C926-46A2-B024-CA7ECCA3A043}"/>
                    </a:ext>
                  </a:extLst>
                </p:cNvPr>
                <p:cNvSpPr>
                  <a:spLocks/>
                </p:cNvSpPr>
                <p:nvPr/>
              </p:nvSpPr>
              <p:spPr bwMode="auto">
                <a:xfrm>
                  <a:off x="4783280" y="3611414"/>
                  <a:ext cx="18426" cy="22111"/>
                </a:xfrm>
                <a:custGeom>
                  <a:avLst/>
                  <a:gdLst>
                    <a:gd name="T0" fmla="*/ 4 w 6"/>
                    <a:gd name="T1" fmla="*/ 0 h 7"/>
                    <a:gd name="T2" fmla="*/ 0 w 6"/>
                    <a:gd name="T3" fmla="*/ 7 h 7"/>
                    <a:gd name="T4" fmla="*/ 4 w 6"/>
                    <a:gd name="T5" fmla="*/ 0 h 7"/>
                  </a:gdLst>
                  <a:ahLst/>
                  <a:cxnLst>
                    <a:cxn ang="0">
                      <a:pos x="T0" y="T1"/>
                    </a:cxn>
                    <a:cxn ang="0">
                      <a:pos x="T2" y="T3"/>
                    </a:cxn>
                    <a:cxn ang="0">
                      <a:pos x="T4" y="T5"/>
                    </a:cxn>
                  </a:cxnLst>
                  <a:rect l="0" t="0" r="r" b="b"/>
                  <a:pathLst>
                    <a:path w="6" h="7">
                      <a:moveTo>
                        <a:pt x="4" y="0"/>
                      </a:moveTo>
                      <a:cubicBezTo>
                        <a:pt x="3" y="2"/>
                        <a:pt x="2" y="4"/>
                        <a:pt x="0" y="7"/>
                      </a:cubicBezTo>
                      <a:cubicBezTo>
                        <a:pt x="3" y="5"/>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1" name="Freeform 111">
                  <a:extLst>
                    <a:ext uri="{FF2B5EF4-FFF2-40B4-BE49-F238E27FC236}">
                      <a16:creationId xmlns:a16="http://schemas.microsoft.com/office/drawing/2014/main" id="{53B6C25C-C988-4FC8-B6E9-7003576DD00E}"/>
                    </a:ext>
                  </a:extLst>
                </p:cNvPr>
                <p:cNvSpPr>
                  <a:spLocks/>
                </p:cNvSpPr>
                <p:nvPr/>
              </p:nvSpPr>
              <p:spPr bwMode="auto">
                <a:xfrm>
                  <a:off x="4687467" y="3784614"/>
                  <a:ext cx="36851" cy="14740"/>
                </a:xfrm>
                <a:custGeom>
                  <a:avLst/>
                  <a:gdLst>
                    <a:gd name="T0" fmla="*/ 5 w 11"/>
                    <a:gd name="T1" fmla="*/ 0 h 5"/>
                    <a:gd name="T2" fmla="*/ 0 w 11"/>
                    <a:gd name="T3" fmla="*/ 2 h 5"/>
                    <a:gd name="T4" fmla="*/ 3 w 11"/>
                    <a:gd name="T5" fmla="*/ 3 h 5"/>
                    <a:gd name="T6" fmla="*/ 3 w 11"/>
                    <a:gd name="T7" fmla="*/ 3 h 5"/>
                    <a:gd name="T8" fmla="*/ 4 w 11"/>
                    <a:gd name="T9" fmla="*/ 3 h 5"/>
                    <a:gd name="T10" fmla="*/ 6 w 11"/>
                    <a:gd name="T11" fmla="*/ 3 h 5"/>
                    <a:gd name="T12" fmla="*/ 10 w 11"/>
                    <a:gd name="T13" fmla="*/ 5 h 5"/>
                    <a:gd name="T14" fmla="*/ 11 w 11"/>
                    <a:gd name="T15" fmla="*/ 3 h 5"/>
                    <a:gd name="T16" fmla="*/ 5 w 11"/>
                    <a:gd name="T17" fmla="*/ 0 h 5"/>
                    <a:gd name="T18" fmla="*/ 5 w 11"/>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5">
                      <a:moveTo>
                        <a:pt x="5" y="0"/>
                      </a:moveTo>
                      <a:cubicBezTo>
                        <a:pt x="3" y="0"/>
                        <a:pt x="2" y="1"/>
                        <a:pt x="0" y="2"/>
                      </a:cubicBezTo>
                      <a:cubicBezTo>
                        <a:pt x="1" y="3"/>
                        <a:pt x="2" y="3"/>
                        <a:pt x="3" y="3"/>
                      </a:cubicBezTo>
                      <a:cubicBezTo>
                        <a:pt x="3" y="3"/>
                        <a:pt x="3" y="3"/>
                        <a:pt x="3" y="3"/>
                      </a:cubicBezTo>
                      <a:cubicBezTo>
                        <a:pt x="4" y="3"/>
                        <a:pt x="4" y="3"/>
                        <a:pt x="4" y="3"/>
                      </a:cubicBezTo>
                      <a:cubicBezTo>
                        <a:pt x="5" y="3"/>
                        <a:pt x="5" y="3"/>
                        <a:pt x="6" y="3"/>
                      </a:cubicBezTo>
                      <a:cubicBezTo>
                        <a:pt x="6" y="3"/>
                        <a:pt x="9" y="5"/>
                        <a:pt x="10" y="5"/>
                      </a:cubicBezTo>
                      <a:cubicBezTo>
                        <a:pt x="11" y="5"/>
                        <a:pt x="11" y="4"/>
                        <a:pt x="11" y="3"/>
                      </a:cubicBezTo>
                      <a:cubicBezTo>
                        <a:pt x="10" y="2"/>
                        <a:pt x="6" y="1"/>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2" name="Freeform 112">
                  <a:extLst>
                    <a:ext uri="{FF2B5EF4-FFF2-40B4-BE49-F238E27FC236}">
                      <a16:creationId xmlns:a16="http://schemas.microsoft.com/office/drawing/2014/main" id="{2984F0F8-A548-4B4F-A363-09DC190CD923}"/>
                    </a:ext>
                  </a:extLst>
                </p:cNvPr>
                <p:cNvSpPr>
                  <a:spLocks/>
                </p:cNvSpPr>
                <p:nvPr/>
              </p:nvSpPr>
              <p:spPr bwMode="auto">
                <a:xfrm>
                  <a:off x="5649283" y="5531359"/>
                  <a:ext cx="18426" cy="18426"/>
                </a:xfrm>
                <a:custGeom>
                  <a:avLst/>
                  <a:gdLst>
                    <a:gd name="T0" fmla="*/ 0 w 5"/>
                    <a:gd name="T1" fmla="*/ 0 h 6"/>
                    <a:gd name="T2" fmla="*/ 0 w 5"/>
                    <a:gd name="T3" fmla="*/ 0 h 6"/>
                    <a:gd name="T4" fmla="*/ 5 w 5"/>
                    <a:gd name="T5" fmla="*/ 6 h 6"/>
                    <a:gd name="T6" fmla="*/ 0 w 5"/>
                    <a:gd name="T7" fmla="*/ 0 h 6"/>
                  </a:gdLst>
                  <a:ahLst/>
                  <a:cxnLst>
                    <a:cxn ang="0">
                      <a:pos x="T0" y="T1"/>
                    </a:cxn>
                    <a:cxn ang="0">
                      <a:pos x="T2" y="T3"/>
                    </a:cxn>
                    <a:cxn ang="0">
                      <a:pos x="T4" y="T5"/>
                    </a:cxn>
                    <a:cxn ang="0">
                      <a:pos x="T6" y="T7"/>
                    </a:cxn>
                  </a:cxnLst>
                  <a:rect l="0" t="0" r="r" b="b"/>
                  <a:pathLst>
                    <a:path w="5" h="6">
                      <a:moveTo>
                        <a:pt x="0" y="0"/>
                      </a:moveTo>
                      <a:cubicBezTo>
                        <a:pt x="0" y="0"/>
                        <a:pt x="0" y="0"/>
                        <a:pt x="0" y="0"/>
                      </a:cubicBezTo>
                      <a:cubicBezTo>
                        <a:pt x="1" y="2"/>
                        <a:pt x="3" y="4"/>
                        <a:pt x="5" y="6"/>
                      </a:cubicBezTo>
                      <a:cubicBezTo>
                        <a:pt x="4" y="0"/>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3" name="Freeform 113">
                  <a:extLst>
                    <a:ext uri="{FF2B5EF4-FFF2-40B4-BE49-F238E27FC236}">
                      <a16:creationId xmlns:a16="http://schemas.microsoft.com/office/drawing/2014/main" id="{4426D1A6-9180-48A8-9254-D301DFAF4EB8}"/>
                    </a:ext>
                  </a:extLst>
                </p:cNvPr>
                <p:cNvSpPr>
                  <a:spLocks/>
                </p:cNvSpPr>
                <p:nvPr/>
              </p:nvSpPr>
              <p:spPr bwMode="auto">
                <a:xfrm>
                  <a:off x="4149441" y="4079424"/>
                  <a:ext cx="22111" cy="11055"/>
                </a:xfrm>
                <a:custGeom>
                  <a:avLst/>
                  <a:gdLst>
                    <a:gd name="T0" fmla="*/ 2 w 7"/>
                    <a:gd name="T1" fmla="*/ 0 h 3"/>
                    <a:gd name="T2" fmla="*/ 6 w 7"/>
                    <a:gd name="T3" fmla="*/ 3 h 3"/>
                    <a:gd name="T4" fmla="*/ 7 w 7"/>
                    <a:gd name="T5" fmla="*/ 3 h 3"/>
                    <a:gd name="T6" fmla="*/ 6 w 7"/>
                    <a:gd name="T7" fmla="*/ 0 h 3"/>
                    <a:gd name="T8" fmla="*/ 2 w 7"/>
                    <a:gd name="T9" fmla="*/ 0 h 3"/>
                  </a:gdLst>
                  <a:ahLst/>
                  <a:cxnLst>
                    <a:cxn ang="0">
                      <a:pos x="T0" y="T1"/>
                    </a:cxn>
                    <a:cxn ang="0">
                      <a:pos x="T2" y="T3"/>
                    </a:cxn>
                    <a:cxn ang="0">
                      <a:pos x="T4" y="T5"/>
                    </a:cxn>
                    <a:cxn ang="0">
                      <a:pos x="T6" y="T7"/>
                    </a:cxn>
                    <a:cxn ang="0">
                      <a:pos x="T8" y="T9"/>
                    </a:cxn>
                  </a:cxnLst>
                  <a:rect l="0" t="0" r="r" b="b"/>
                  <a:pathLst>
                    <a:path w="7" h="3">
                      <a:moveTo>
                        <a:pt x="2" y="0"/>
                      </a:moveTo>
                      <a:cubicBezTo>
                        <a:pt x="0" y="2"/>
                        <a:pt x="4" y="3"/>
                        <a:pt x="6" y="3"/>
                      </a:cubicBezTo>
                      <a:cubicBezTo>
                        <a:pt x="6" y="3"/>
                        <a:pt x="7" y="3"/>
                        <a:pt x="7" y="3"/>
                      </a:cubicBezTo>
                      <a:cubicBezTo>
                        <a:pt x="7" y="2"/>
                        <a:pt x="6" y="1"/>
                        <a:pt x="6"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4" name="Freeform 114">
                  <a:extLst>
                    <a:ext uri="{FF2B5EF4-FFF2-40B4-BE49-F238E27FC236}">
                      <a16:creationId xmlns:a16="http://schemas.microsoft.com/office/drawing/2014/main" id="{3D6AF797-97F0-46BA-ADE6-264B0C75F128}"/>
                    </a:ext>
                  </a:extLst>
                </p:cNvPr>
                <p:cNvSpPr>
                  <a:spLocks/>
                </p:cNvSpPr>
                <p:nvPr/>
              </p:nvSpPr>
              <p:spPr bwMode="auto">
                <a:xfrm>
                  <a:off x="5092830" y="4974907"/>
                  <a:ext cx="147405" cy="257958"/>
                </a:xfrm>
                <a:custGeom>
                  <a:avLst/>
                  <a:gdLst>
                    <a:gd name="T0" fmla="*/ 30 w 47"/>
                    <a:gd name="T1" fmla="*/ 0 h 81"/>
                    <a:gd name="T2" fmla="*/ 8 w 47"/>
                    <a:gd name="T3" fmla="*/ 15 h 81"/>
                    <a:gd name="T4" fmla="*/ 8 w 47"/>
                    <a:gd name="T5" fmla="*/ 15 h 81"/>
                    <a:gd name="T6" fmla="*/ 1 w 47"/>
                    <a:gd name="T7" fmla="*/ 11 h 81"/>
                    <a:gd name="T8" fmla="*/ 0 w 47"/>
                    <a:gd name="T9" fmla="*/ 16 h 81"/>
                    <a:gd name="T10" fmla="*/ 0 w 47"/>
                    <a:gd name="T11" fmla="*/ 19 h 81"/>
                    <a:gd name="T12" fmla="*/ 0 w 47"/>
                    <a:gd name="T13" fmla="*/ 23 h 81"/>
                    <a:gd name="T14" fmla="*/ 1 w 47"/>
                    <a:gd name="T15" fmla="*/ 23 h 81"/>
                    <a:gd name="T16" fmla="*/ 4 w 47"/>
                    <a:gd name="T17" fmla="*/ 24 h 81"/>
                    <a:gd name="T18" fmla="*/ 7 w 47"/>
                    <a:gd name="T19" fmla="*/ 30 h 81"/>
                    <a:gd name="T20" fmla="*/ 7 w 47"/>
                    <a:gd name="T21" fmla="*/ 40 h 81"/>
                    <a:gd name="T22" fmla="*/ 7 w 47"/>
                    <a:gd name="T23" fmla="*/ 43 h 81"/>
                    <a:gd name="T24" fmla="*/ 11 w 47"/>
                    <a:gd name="T25" fmla="*/ 53 h 81"/>
                    <a:gd name="T26" fmla="*/ 11 w 47"/>
                    <a:gd name="T27" fmla="*/ 52 h 81"/>
                    <a:gd name="T28" fmla="*/ 9 w 47"/>
                    <a:gd name="T29" fmla="*/ 55 h 81"/>
                    <a:gd name="T30" fmla="*/ 8 w 47"/>
                    <a:gd name="T31" fmla="*/ 58 h 81"/>
                    <a:gd name="T32" fmla="*/ 8 w 47"/>
                    <a:gd name="T33" fmla="*/ 58 h 81"/>
                    <a:gd name="T34" fmla="*/ 7 w 47"/>
                    <a:gd name="T35" fmla="*/ 59 h 81"/>
                    <a:gd name="T36" fmla="*/ 6 w 47"/>
                    <a:gd name="T37" fmla="*/ 73 h 81"/>
                    <a:gd name="T38" fmla="*/ 6 w 47"/>
                    <a:gd name="T39" fmla="*/ 73 h 81"/>
                    <a:gd name="T40" fmla="*/ 14 w 47"/>
                    <a:gd name="T41" fmla="*/ 80 h 81"/>
                    <a:gd name="T42" fmla="*/ 16 w 47"/>
                    <a:gd name="T43" fmla="*/ 81 h 81"/>
                    <a:gd name="T44" fmla="*/ 21 w 47"/>
                    <a:gd name="T45" fmla="*/ 80 h 81"/>
                    <a:gd name="T46" fmla="*/ 26 w 47"/>
                    <a:gd name="T47" fmla="*/ 69 h 81"/>
                    <a:gd name="T48" fmla="*/ 28 w 47"/>
                    <a:gd name="T49" fmla="*/ 70 h 81"/>
                    <a:gd name="T50" fmla="*/ 28 w 47"/>
                    <a:gd name="T51" fmla="*/ 70 h 81"/>
                    <a:gd name="T52" fmla="*/ 30 w 47"/>
                    <a:gd name="T53" fmla="*/ 69 h 81"/>
                    <a:gd name="T54" fmla="*/ 31 w 47"/>
                    <a:gd name="T55" fmla="*/ 69 h 81"/>
                    <a:gd name="T56" fmla="*/ 31 w 47"/>
                    <a:gd name="T57" fmla="*/ 69 h 81"/>
                    <a:gd name="T58" fmla="*/ 34 w 47"/>
                    <a:gd name="T59" fmla="*/ 70 h 81"/>
                    <a:gd name="T60" fmla="*/ 39 w 47"/>
                    <a:gd name="T61" fmla="*/ 73 h 81"/>
                    <a:gd name="T62" fmla="*/ 47 w 47"/>
                    <a:gd name="T63" fmla="*/ 28 h 81"/>
                    <a:gd name="T64" fmla="*/ 46 w 47"/>
                    <a:gd name="T65" fmla="*/ 22 h 81"/>
                    <a:gd name="T66" fmla="*/ 43 w 47"/>
                    <a:gd name="T67" fmla="*/ 14 h 81"/>
                    <a:gd name="T68" fmla="*/ 38 w 47"/>
                    <a:gd name="T69" fmla="*/ 12 h 81"/>
                    <a:gd name="T70" fmla="*/ 39 w 47"/>
                    <a:gd name="T71" fmla="*/ 4 h 81"/>
                    <a:gd name="T72" fmla="*/ 38 w 47"/>
                    <a:gd name="T73" fmla="*/ 4 h 81"/>
                    <a:gd name="T74" fmla="*/ 30 w 47"/>
                    <a:gd name="T7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81">
                      <a:moveTo>
                        <a:pt x="30" y="0"/>
                      </a:moveTo>
                      <a:cubicBezTo>
                        <a:pt x="25" y="5"/>
                        <a:pt x="16" y="15"/>
                        <a:pt x="8" y="15"/>
                      </a:cubicBezTo>
                      <a:cubicBezTo>
                        <a:pt x="8" y="15"/>
                        <a:pt x="8" y="15"/>
                        <a:pt x="8" y="15"/>
                      </a:cubicBezTo>
                      <a:cubicBezTo>
                        <a:pt x="4" y="15"/>
                        <a:pt x="4" y="13"/>
                        <a:pt x="1" y="11"/>
                      </a:cubicBezTo>
                      <a:cubicBezTo>
                        <a:pt x="2" y="13"/>
                        <a:pt x="1" y="13"/>
                        <a:pt x="0" y="16"/>
                      </a:cubicBezTo>
                      <a:cubicBezTo>
                        <a:pt x="0" y="18"/>
                        <a:pt x="1" y="18"/>
                        <a:pt x="0" y="19"/>
                      </a:cubicBezTo>
                      <a:cubicBezTo>
                        <a:pt x="0" y="20"/>
                        <a:pt x="0" y="22"/>
                        <a:pt x="0" y="23"/>
                      </a:cubicBezTo>
                      <a:cubicBezTo>
                        <a:pt x="0" y="23"/>
                        <a:pt x="1" y="23"/>
                        <a:pt x="1" y="23"/>
                      </a:cubicBezTo>
                      <a:cubicBezTo>
                        <a:pt x="2" y="23"/>
                        <a:pt x="4" y="23"/>
                        <a:pt x="4" y="24"/>
                      </a:cubicBezTo>
                      <a:cubicBezTo>
                        <a:pt x="5" y="24"/>
                        <a:pt x="7" y="29"/>
                        <a:pt x="7" y="30"/>
                      </a:cubicBezTo>
                      <a:cubicBezTo>
                        <a:pt x="10" y="34"/>
                        <a:pt x="8" y="35"/>
                        <a:pt x="7" y="40"/>
                      </a:cubicBezTo>
                      <a:cubicBezTo>
                        <a:pt x="7" y="42"/>
                        <a:pt x="7" y="41"/>
                        <a:pt x="7" y="43"/>
                      </a:cubicBezTo>
                      <a:cubicBezTo>
                        <a:pt x="7" y="46"/>
                        <a:pt x="10" y="50"/>
                        <a:pt x="11" y="53"/>
                      </a:cubicBezTo>
                      <a:cubicBezTo>
                        <a:pt x="11" y="53"/>
                        <a:pt x="11" y="52"/>
                        <a:pt x="11" y="52"/>
                      </a:cubicBezTo>
                      <a:cubicBezTo>
                        <a:pt x="10" y="52"/>
                        <a:pt x="10" y="54"/>
                        <a:pt x="9" y="55"/>
                      </a:cubicBezTo>
                      <a:cubicBezTo>
                        <a:pt x="9" y="56"/>
                        <a:pt x="8" y="58"/>
                        <a:pt x="8" y="58"/>
                      </a:cubicBezTo>
                      <a:cubicBezTo>
                        <a:pt x="8" y="58"/>
                        <a:pt x="8" y="58"/>
                        <a:pt x="8" y="58"/>
                      </a:cubicBezTo>
                      <a:cubicBezTo>
                        <a:pt x="8" y="58"/>
                        <a:pt x="8" y="59"/>
                        <a:pt x="7" y="59"/>
                      </a:cubicBezTo>
                      <a:cubicBezTo>
                        <a:pt x="6" y="64"/>
                        <a:pt x="6" y="68"/>
                        <a:pt x="6" y="73"/>
                      </a:cubicBezTo>
                      <a:cubicBezTo>
                        <a:pt x="6" y="73"/>
                        <a:pt x="6" y="73"/>
                        <a:pt x="6" y="73"/>
                      </a:cubicBezTo>
                      <a:cubicBezTo>
                        <a:pt x="11" y="74"/>
                        <a:pt x="11" y="76"/>
                        <a:pt x="14" y="80"/>
                      </a:cubicBezTo>
                      <a:cubicBezTo>
                        <a:pt x="14" y="80"/>
                        <a:pt x="15" y="81"/>
                        <a:pt x="16" y="81"/>
                      </a:cubicBezTo>
                      <a:cubicBezTo>
                        <a:pt x="18" y="81"/>
                        <a:pt x="20" y="80"/>
                        <a:pt x="21" y="80"/>
                      </a:cubicBezTo>
                      <a:cubicBezTo>
                        <a:pt x="24" y="78"/>
                        <a:pt x="24" y="72"/>
                        <a:pt x="26" y="69"/>
                      </a:cubicBezTo>
                      <a:cubicBezTo>
                        <a:pt x="27" y="69"/>
                        <a:pt x="27" y="70"/>
                        <a:pt x="28" y="70"/>
                      </a:cubicBezTo>
                      <a:cubicBezTo>
                        <a:pt x="28" y="70"/>
                        <a:pt x="28" y="70"/>
                        <a:pt x="28" y="70"/>
                      </a:cubicBezTo>
                      <a:cubicBezTo>
                        <a:pt x="29" y="70"/>
                        <a:pt x="29" y="70"/>
                        <a:pt x="30" y="69"/>
                      </a:cubicBezTo>
                      <a:cubicBezTo>
                        <a:pt x="30" y="69"/>
                        <a:pt x="31" y="69"/>
                        <a:pt x="31" y="69"/>
                      </a:cubicBezTo>
                      <a:cubicBezTo>
                        <a:pt x="31" y="69"/>
                        <a:pt x="31" y="69"/>
                        <a:pt x="31" y="69"/>
                      </a:cubicBezTo>
                      <a:cubicBezTo>
                        <a:pt x="33" y="69"/>
                        <a:pt x="33" y="70"/>
                        <a:pt x="34" y="70"/>
                      </a:cubicBezTo>
                      <a:cubicBezTo>
                        <a:pt x="35" y="71"/>
                        <a:pt x="38" y="72"/>
                        <a:pt x="39" y="73"/>
                      </a:cubicBezTo>
                      <a:cubicBezTo>
                        <a:pt x="44" y="58"/>
                        <a:pt x="43" y="43"/>
                        <a:pt x="47" y="28"/>
                      </a:cubicBezTo>
                      <a:cubicBezTo>
                        <a:pt x="47" y="26"/>
                        <a:pt x="47" y="25"/>
                        <a:pt x="46" y="22"/>
                      </a:cubicBezTo>
                      <a:cubicBezTo>
                        <a:pt x="45" y="20"/>
                        <a:pt x="45" y="16"/>
                        <a:pt x="43" y="14"/>
                      </a:cubicBezTo>
                      <a:cubicBezTo>
                        <a:pt x="42" y="13"/>
                        <a:pt x="39" y="13"/>
                        <a:pt x="38" y="12"/>
                      </a:cubicBezTo>
                      <a:cubicBezTo>
                        <a:pt x="38" y="10"/>
                        <a:pt x="40" y="6"/>
                        <a:pt x="39" y="4"/>
                      </a:cubicBezTo>
                      <a:cubicBezTo>
                        <a:pt x="39" y="4"/>
                        <a:pt x="38" y="4"/>
                        <a:pt x="38" y="4"/>
                      </a:cubicBezTo>
                      <a:cubicBezTo>
                        <a:pt x="36" y="4"/>
                        <a:pt x="32"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5" name="Freeform 115">
                  <a:extLst>
                    <a:ext uri="{FF2B5EF4-FFF2-40B4-BE49-F238E27FC236}">
                      <a16:creationId xmlns:a16="http://schemas.microsoft.com/office/drawing/2014/main" id="{DAC60C43-8E6A-4B5E-8399-97A625A84C96}"/>
                    </a:ext>
                  </a:extLst>
                </p:cNvPr>
                <p:cNvSpPr>
                  <a:spLocks/>
                </p:cNvSpPr>
                <p:nvPr/>
              </p:nvSpPr>
              <p:spPr bwMode="auto">
                <a:xfrm>
                  <a:off x="5435546" y="5442916"/>
                  <a:ext cx="3685" cy="7370"/>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0" y="1"/>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6" name="Freeform 116">
                  <a:extLst>
                    <a:ext uri="{FF2B5EF4-FFF2-40B4-BE49-F238E27FC236}">
                      <a16:creationId xmlns:a16="http://schemas.microsoft.com/office/drawing/2014/main" id="{508DB007-27C6-4EB7-B930-00578C93BABC}"/>
                    </a:ext>
                  </a:extLst>
                </p:cNvPr>
                <p:cNvSpPr>
                  <a:spLocks/>
                </p:cNvSpPr>
                <p:nvPr/>
              </p:nvSpPr>
              <p:spPr bwMode="auto">
                <a:xfrm>
                  <a:off x="5266031" y="4801706"/>
                  <a:ext cx="33166" cy="18426"/>
                </a:xfrm>
                <a:custGeom>
                  <a:avLst/>
                  <a:gdLst>
                    <a:gd name="T0" fmla="*/ 9 w 10"/>
                    <a:gd name="T1" fmla="*/ 0 h 5"/>
                    <a:gd name="T2" fmla="*/ 5 w 10"/>
                    <a:gd name="T3" fmla="*/ 1 h 5"/>
                    <a:gd name="T4" fmla="*/ 3 w 10"/>
                    <a:gd name="T5" fmla="*/ 1 h 5"/>
                    <a:gd name="T6" fmla="*/ 0 w 10"/>
                    <a:gd name="T7" fmla="*/ 2 h 5"/>
                    <a:gd name="T8" fmla="*/ 9 w 10"/>
                    <a:gd name="T9" fmla="*/ 5 h 5"/>
                    <a:gd name="T10" fmla="*/ 9 w 10"/>
                    <a:gd name="T11" fmla="*/ 0 h 5"/>
                  </a:gdLst>
                  <a:ahLst/>
                  <a:cxnLst>
                    <a:cxn ang="0">
                      <a:pos x="T0" y="T1"/>
                    </a:cxn>
                    <a:cxn ang="0">
                      <a:pos x="T2" y="T3"/>
                    </a:cxn>
                    <a:cxn ang="0">
                      <a:pos x="T4" y="T5"/>
                    </a:cxn>
                    <a:cxn ang="0">
                      <a:pos x="T6" y="T7"/>
                    </a:cxn>
                    <a:cxn ang="0">
                      <a:pos x="T8" y="T9"/>
                    </a:cxn>
                    <a:cxn ang="0">
                      <a:pos x="T10" y="T11"/>
                    </a:cxn>
                  </a:cxnLst>
                  <a:rect l="0" t="0" r="r" b="b"/>
                  <a:pathLst>
                    <a:path w="10" h="5">
                      <a:moveTo>
                        <a:pt x="9" y="0"/>
                      </a:moveTo>
                      <a:cubicBezTo>
                        <a:pt x="8" y="0"/>
                        <a:pt x="7" y="0"/>
                        <a:pt x="5" y="1"/>
                      </a:cubicBezTo>
                      <a:cubicBezTo>
                        <a:pt x="3" y="1"/>
                        <a:pt x="3" y="1"/>
                        <a:pt x="3" y="1"/>
                      </a:cubicBezTo>
                      <a:cubicBezTo>
                        <a:pt x="2" y="1"/>
                        <a:pt x="1" y="1"/>
                        <a:pt x="0" y="2"/>
                      </a:cubicBezTo>
                      <a:cubicBezTo>
                        <a:pt x="3" y="3"/>
                        <a:pt x="6" y="4"/>
                        <a:pt x="9" y="5"/>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7" name="Freeform 117">
                  <a:extLst>
                    <a:ext uri="{FF2B5EF4-FFF2-40B4-BE49-F238E27FC236}">
                      <a16:creationId xmlns:a16="http://schemas.microsoft.com/office/drawing/2014/main" id="{8ED13754-BD63-4446-A94E-DD5D9917FE98}"/>
                    </a:ext>
                  </a:extLst>
                </p:cNvPr>
                <p:cNvSpPr>
                  <a:spLocks/>
                </p:cNvSpPr>
                <p:nvPr/>
              </p:nvSpPr>
              <p:spPr bwMode="auto">
                <a:xfrm>
                  <a:off x="5472397" y="5291827"/>
                  <a:ext cx="294809" cy="169515"/>
                </a:xfrm>
                <a:custGeom>
                  <a:avLst/>
                  <a:gdLst>
                    <a:gd name="T0" fmla="*/ 93 w 93"/>
                    <a:gd name="T1" fmla="*/ 0 h 53"/>
                    <a:gd name="T2" fmla="*/ 71 w 93"/>
                    <a:gd name="T3" fmla="*/ 5 h 53"/>
                    <a:gd name="T4" fmla="*/ 53 w 93"/>
                    <a:gd name="T5" fmla="*/ 9 h 53"/>
                    <a:gd name="T6" fmla="*/ 51 w 93"/>
                    <a:gd name="T7" fmla="*/ 8 h 53"/>
                    <a:gd name="T8" fmla="*/ 30 w 93"/>
                    <a:gd name="T9" fmla="*/ 5 h 53"/>
                    <a:gd name="T10" fmla="*/ 27 w 93"/>
                    <a:gd name="T11" fmla="*/ 3 h 53"/>
                    <a:gd name="T12" fmla="*/ 26 w 93"/>
                    <a:gd name="T13" fmla="*/ 3 h 53"/>
                    <a:gd name="T14" fmla="*/ 21 w 93"/>
                    <a:gd name="T15" fmla="*/ 5 h 53"/>
                    <a:gd name="T16" fmla="*/ 15 w 93"/>
                    <a:gd name="T17" fmla="*/ 7 h 53"/>
                    <a:gd name="T18" fmla="*/ 14 w 93"/>
                    <a:gd name="T19" fmla="*/ 7 h 53"/>
                    <a:gd name="T20" fmla="*/ 11 w 93"/>
                    <a:gd name="T21" fmla="*/ 4 h 53"/>
                    <a:gd name="T22" fmla="*/ 10 w 93"/>
                    <a:gd name="T23" fmla="*/ 4 h 53"/>
                    <a:gd name="T24" fmla="*/ 8 w 93"/>
                    <a:gd name="T25" fmla="*/ 6 h 53"/>
                    <a:gd name="T26" fmla="*/ 2 w 93"/>
                    <a:gd name="T27" fmla="*/ 17 h 53"/>
                    <a:gd name="T28" fmla="*/ 7 w 93"/>
                    <a:gd name="T29" fmla="*/ 23 h 53"/>
                    <a:gd name="T30" fmla="*/ 10 w 93"/>
                    <a:gd name="T31" fmla="*/ 24 h 53"/>
                    <a:gd name="T32" fmla="*/ 14 w 93"/>
                    <a:gd name="T33" fmla="*/ 23 h 53"/>
                    <a:gd name="T34" fmla="*/ 14 w 93"/>
                    <a:gd name="T35" fmla="*/ 23 h 53"/>
                    <a:gd name="T36" fmla="*/ 22 w 93"/>
                    <a:gd name="T37" fmla="*/ 27 h 53"/>
                    <a:gd name="T38" fmla="*/ 47 w 93"/>
                    <a:gd name="T39" fmla="*/ 38 h 53"/>
                    <a:gd name="T40" fmla="*/ 58 w 93"/>
                    <a:gd name="T41" fmla="*/ 45 h 53"/>
                    <a:gd name="T42" fmla="*/ 60 w 93"/>
                    <a:gd name="T43" fmla="*/ 48 h 53"/>
                    <a:gd name="T44" fmla="*/ 78 w 93"/>
                    <a:gd name="T45" fmla="*/ 53 h 53"/>
                    <a:gd name="T46" fmla="*/ 84 w 93"/>
                    <a:gd name="T47" fmla="*/ 42 h 53"/>
                    <a:gd name="T48" fmla="*/ 84 w 93"/>
                    <a:gd name="T49" fmla="*/ 42 h 53"/>
                    <a:gd name="T50" fmla="*/ 78 w 93"/>
                    <a:gd name="T51" fmla="*/ 31 h 53"/>
                    <a:gd name="T52" fmla="*/ 80 w 93"/>
                    <a:gd name="T53" fmla="*/ 20 h 53"/>
                    <a:gd name="T54" fmla="*/ 93 w 93"/>
                    <a:gd name="T5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53">
                      <a:moveTo>
                        <a:pt x="93" y="0"/>
                      </a:moveTo>
                      <a:cubicBezTo>
                        <a:pt x="86" y="2"/>
                        <a:pt x="78" y="3"/>
                        <a:pt x="71" y="5"/>
                      </a:cubicBezTo>
                      <a:cubicBezTo>
                        <a:pt x="66" y="6"/>
                        <a:pt x="59" y="9"/>
                        <a:pt x="53" y="9"/>
                      </a:cubicBezTo>
                      <a:cubicBezTo>
                        <a:pt x="52" y="9"/>
                        <a:pt x="52" y="9"/>
                        <a:pt x="51" y="8"/>
                      </a:cubicBezTo>
                      <a:cubicBezTo>
                        <a:pt x="44" y="7"/>
                        <a:pt x="37" y="6"/>
                        <a:pt x="30" y="5"/>
                      </a:cubicBezTo>
                      <a:cubicBezTo>
                        <a:pt x="28" y="4"/>
                        <a:pt x="29" y="3"/>
                        <a:pt x="27" y="3"/>
                      </a:cubicBezTo>
                      <a:cubicBezTo>
                        <a:pt x="27" y="3"/>
                        <a:pt x="27" y="3"/>
                        <a:pt x="26" y="3"/>
                      </a:cubicBezTo>
                      <a:cubicBezTo>
                        <a:pt x="25" y="3"/>
                        <a:pt x="23" y="4"/>
                        <a:pt x="21" y="5"/>
                      </a:cubicBezTo>
                      <a:cubicBezTo>
                        <a:pt x="19" y="6"/>
                        <a:pt x="18" y="7"/>
                        <a:pt x="15" y="7"/>
                      </a:cubicBezTo>
                      <a:cubicBezTo>
                        <a:pt x="15" y="7"/>
                        <a:pt x="14" y="7"/>
                        <a:pt x="14" y="7"/>
                      </a:cubicBezTo>
                      <a:cubicBezTo>
                        <a:pt x="12" y="6"/>
                        <a:pt x="13" y="5"/>
                        <a:pt x="11" y="4"/>
                      </a:cubicBezTo>
                      <a:cubicBezTo>
                        <a:pt x="11" y="4"/>
                        <a:pt x="10" y="4"/>
                        <a:pt x="10" y="4"/>
                      </a:cubicBezTo>
                      <a:cubicBezTo>
                        <a:pt x="10" y="4"/>
                        <a:pt x="9" y="4"/>
                        <a:pt x="8" y="6"/>
                      </a:cubicBezTo>
                      <a:cubicBezTo>
                        <a:pt x="7" y="8"/>
                        <a:pt x="0" y="15"/>
                        <a:pt x="2" y="17"/>
                      </a:cubicBezTo>
                      <a:cubicBezTo>
                        <a:pt x="3" y="18"/>
                        <a:pt x="6" y="22"/>
                        <a:pt x="7" y="23"/>
                      </a:cubicBezTo>
                      <a:cubicBezTo>
                        <a:pt x="8" y="23"/>
                        <a:pt x="9" y="24"/>
                        <a:pt x="10" y="24"/>
                      </a:cubicBezTo>
                      <a:cubicBezTo>
                        <a:pt x="11" y="24"/>
                        <a:pt x="13" y="23"/>
                        <a:pt x="14" y="23"/>
                      </a:cubicBezTo>
                      <a:cubicBezTo>
                        <a:pt x="14" y="23"/>
                        <a:pt x="14" y="23"/>
                        <a:pt x="14" y="23"/>
                      </a:cubicBezTo>
                      <a:cubicBezTo>
                        <a:pt x="17" y="23"/>
                        <a:pt x="20" y="26"/>
                        <a:pt x="22" y="27"/>
                      </a:cubicBezTo>
                      <a:cubicBezTo>
                        <a:pt x="30" y="30"/>
                        <a:pt x="39" y="34"/>
                        <a:pt x="47" y="38"/>
                      </a:cubicBezTo>
                      <a:cubicBezTo>
                        <a:pt x="51" y="40"/>
                        <a:pt x="55" y="41"/>
                        <a:pt x="58" y="45"/>
                      </a:cubicBezTo>
                      <a:cubicBezTo>
                        <a:pt x="58" y="46"/>
                        <a:pt x="59" y="48"/>
                        <a:pt x="60" y="48"/>
                      </a:cubicBezTo>
                      <a:cubicBezTo>
                        <a:pt x="64" y="52"/>
                        <a:pt x="73" y="51"/>
                        <a:pt x="78" y="53"/>
                      </a:cubicBezTo>
                      <a:cubicBezTo>
                        <a:pt x="79" y="50"/>
                        <a:pt x="80" y="42"/>
                        <a:pt x="84" y="42"/>
                      </a:cubicBezTo>
                      <a:cubicBezTo>
                        <a:pt x="84" y="42"/>
                        <a:pt x="84" y="42"/>
                        <a:pt x="84" y="42"/>
                      </a:cubicBezTo>
                      <a:cubicBezTo>
                        <a:pt x="82" y="38"/>
                        <a:pt x="80" y="35"/>
                        <a:pt x="78" y="31"/>
                      </a:cubicBezTo>
                      <a:cubicBezTo>
                        <a:pt x="76" y="29"/>
                        <a:pt x="80" y="23"/>
                        <a:pt x="80" y="20"/>
                      </a:cubicBezTo>
                      <a:cubicBezTo>
                        <a:pt x="83" y="13"/>
                        <a:pt x="88" y="7"/>
                        <a:pt x="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8" name="Freeform 118">
                  <a:extLst>
                    <a:ext uri="{FF2B5EF4-FFF2-40B4-BE49-F238E27FC236}">
                      <a16:creationId xmlns:a16="http://schemas.microsoft.com/office/drawing/2014/main" id="{B401C854-D525-439C-8373-5C76DE9DDB49}"/>
                    </a:ext>
                  </a:extLst>
                </p:cNvPr>
                <p:cNvSpPr>
                  <a:spLocks/>
                </p:cNvSpPr>
                <p:nvPr/>
              </p:nvSpPr>
              <p:spPr bwMode="auto">
                <a:xfrm>
                  <a:off x="3924649" y="3460324"/>
                  <a:ext cx="44221" cy="40536"/>
                </a:xfrm>
                <a:custGeom>
                  <a:avLst/>
                  <a:gdLst>
                    <a:gd name="T0" fmla="*/ 12 w 14"/>
                    <a:gd name="T1" fmla="*/ 0 h 13"/>
                    <a:gd name="T2" fmla="*/ 6 w 14"/>
                    <a:gd name="T3" fmla="*/ 3 h 13"/>
                    <a:gd name="T4" fmla="*/ 2 w 14"/>
                    <a:gd name="T5" fmla="*/ 9 h 13"/>
                    <a:gd name="T6" fmla="*/ 0 w 14"/>
                    <a:gd name="T7" fmla="*/ 13 h 13"/>
                    <a:gd name="T8" fmla="*/ 2 w 14"/>
                    <a:gd name="T9" fmla="*/ 13 h 13"/>
                    <a:gd name="T10" fmla="*/ 10 w 14"/>
                    <a:gd name="T11" fmla="*/ 9 h 13"/>
                    <a:gd name="T12" fmla="*/ 14 w 14"/>
                    <a:gd name="T13" fmla="*/ 4 h 13"/>
                    <a:gd name="T14" fmla="*/ 12 w 1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12" y="0"/>
                      </a:moveTo>
                      <a:cubicBezTo>
                        <a:pt x="10" y="1"/>
                        <a:pt x="8" y="2"/>
                        <a:pt x="6" y="3"/>
                      </a:cubicBezTo>
                      <a:cubicBezTo>
                        <a:pt x="5" y="6"/>
                        <a:pt x="3" y="7"/>
                        <a:pt x="2" y="9"/>
                      </a:cubicBezTo>
                      <a:cubicBezTo>
                        <a:pt x="1" y="10"/>
                        <a:pt x="1" y="12"/>
                        <a:pt x="0" y="13"/>
                      </a:cubicBezTo>
                      <a:cubicBezTo>
                        <a:pt x="1" y="13"/>
                        <a:pt x="2" y="13"/>
                        <a:pt x="2" y="13"/>
                      </a:cubicBezTo>
                      <a:cubicBezTo>
                        <a:pt x="6" y="13"/>
                        <a:pt x="8" y="12"/>
                        <a:pt x="10" y="9"/>
                      </a:cubicBezTo>
                      <a:cubicBezTo>
                        <a:pt x="11" y="8"/>
                        <a:pt x="14" y="6"/>
                        <a:pt x="14" y="4"/>
                      </a:cubicBezTo>
                      <a:cubicBezTo>
                        <a:pt x="14" y="2"/>
                        <a:pt x="11" y="2"/>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9" name="Freeform 119">
                  <a:extLst>
                    <a:ext uri="{FF2B5EF4-FFF2-40B4-BE49-F238E27FC236}">
                      <a16:creationId xmlns:a16="http://schemas.microsoft.com/office/drawing/2014/main" id="{05B90338-8388-4AE3-A376-1632C8F785FB}"/>
                    </a:ext>
                  </a:extLst>
                </p:cNvPr>
                <p:cNvSpPr>
                  <a:spLocks/>
                </p:cNvSpPr>
                <p:nvPr/>
              </p:nvSpPr>
              <p:spPr bwMode="auto">
                <a:xfrm>
                  <a:off x="5645597" y="4547433"/>
                  <a:ext cx="18426" cy="62647"/>
                </a:xfrm>
                <a:custGeom>
                  <a:avLst/>
                  <a:gdLst>
                    <a:gd name="T0" fmla="*/ 0 w 5"/>
                    <a:gd name="T1" fmla="*/ 0 h 20"/>
                    <a:gd name="T2" fmla="*/ 5 w 5"/>
                    <a:gd name="T3" fmla="*/ 20 h 20"/>
                    <a:gd name="T4" fmla="*/ 4 w 5"/>
                    <a:gd name="T5" fmla="*/ 12 h 20"/>
                    <a:gd name="T6" fmla="*/ 5 w 5"/>
                    <a:gd name="T7" fmla="*/ 7 h 20"/>
                    <a:gd name="T8" fmla="*/ 2 w 5"/>
                    <a:gd name="T9" fmla="*/ 4 h 20"/>
                    <a:gd name="T10" fmla="*/ 0 w 5"/>
                    <a:gd name="T11" fmla="*/ 0 h 20"/>
                  </a:gdLst>
                  <a:ahLst/>
                  <a:cxnLst>
                    <a:cxn ang="0">
                      <a:pos x="T0" y="T1"/>
                    </a:cxn>
                    <a:cxn ang="0">
                      <a:pos x="T2" y="T3"/>
                    </a:cxn>
                    <a:cxn ang="0">
                      <a:pos x="T4" y="T5"/>
                    </a:cxn>
                    <a:cxn ang="0">
                      <a:pos x="T6" y="T7"/>
                    </a:cxn>
                    <a:cxn ang="0">
                      <a:pos x="T8" y="T9"/>
                    </a:cxn>
                    <a:cxn ang="0">
                      <a:pos x="T10" y="T11"/>
                    </a:cxn>
                  </a:cxnLst>
                  <a:rect l="0" t="0" r="r" b="b"/>
                  <a:pathLst>
                    <a:path w="5" h="20">
                      <a:moveTo>
                        <a:pt x="0" y="0"/>
                      </a:moveTo>
                      <a:cubicBezTo>
                        <a:pt x="2" y="7"/>
                        <a:pt x="3" y="13"/>
                        <a:pt x="5" y="20"/>
                      </a:cubicBezTo>
                      <a:cubicBezTo>
                        <a:pt x="5" y="17"/>
                        <a:pt x="4" y="15"/>
                        <a:pt x="4" y="12"/>
                      </a:cubicBezTo>
                      <a:cubicBezTo>
                        <a:pt x="4" y="11"/>
                        <a:pt x="5" y="8"/>
                        <a:pt x="5" y="7"/>
                      </a:cubicBezTo>
                      <a:cubicBezTo>
                        <a:pt x="4" y="7"/>
                        <a:pt x="2" y="5"/>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0" name="Freeform 120">
                  <a:extLst>
                    <a:ext uri="{FF2B5EF4-FFF2-40B4-BE49-F238E27FC236}">
                      <a16:creationId xmlns:a16="http://schemas.microsoft.com/office/drawing/2014/main" id="{D3315605-4DDD-4039-AF8D-AF320CEDA1FB}"/>
                    </a:ext>
                  </a:extLst>
                </p:cNvPr>
                <p:cNvSpPr>
                  <a:spLocks/>
                </p:cNvSpPr>
                <p:nvPr/>
              </p:nvSpPr>
              <p:spPr bwMode="auto">
                <a:xfrm>
                  <a:off x="5870389" y="4790651"/>
                  <a:ext cx="33166" cy="7370"/>
                </a:xfrm>
                <a:custGeom>
                  <a:avLst/>
                  <a:gdLst>
                    <a:gd name="T0" fmla="*/ 0 w 11"/>
                    <a:gd name="T1" fmla="*/ 0 h 2"/>
                    <a:gd name="T2" fmla="*/ 3 w 11"/>
                    <a:gd name="T3" fmla="*/ 2 h 2"/>
                    <a:gd name="T4" fmla="*/ 6 w 11"/>
                    <a:gd name="T5" fmla="*/ 2 h 2"/>
                    <a:gd name="T6" fmla="*/ 8 w 11"/>
                    <a:gd name="T7" fmla="*/ 2 h 2"/>
                    <a:gd name="T8" fmla="*/ 9 w 11"/>
                    <a:gd name="T9" fmla="*/ 2 h 2"/>
                    <a:gd name="T10" fmla="*/ 11 w 11"/>
                    <a:gd name="T11" fmla="*/ 2 h 2"/>
                    <a:gd name="T12" fmla="*/ 0 w 1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1" h="2">
                      <a:moveTo>
                        <a:pt x="0" y="0"/>
                      </a:moveTo>
                      <a:cubicBezTo>
                        <a:pt x="1" y="1"/>
                        <a:pt x="2" y="2"/>
                        <a:pt x="3" y="2"/>
                      </a:cubicBezTo>
                      <a:cubicBezTo>
                        <a:pt x="4" y="2"/>
                        <a:pt x="5" y="2"/>
                        <a:pt x="6" y="2"/>
                      </a:cubicBezTo>
                      <a:cubicBezTo>
                        <a:pt x="6" y="2"/>
                        <a:pt x="7" y="2"/>
                        <a:pt x="8" y="2"/>
                      </a:cubicBezTo>
                      <a:cubicBezTo>
                        <a:pt x="8" y="2"/>
                        <a:pt x="9" y="2"/>
                        <a:pt x="9" y="2"/>
                      </a:cubicBezTo>
                      <a:cubicBezTo>
                        <a:pt x="10" y="2"/>
                        <a:pt x="11" y="2"/>
                        <a:pt x="11" y="2"/>
                      </a:cubicBezTo>
                      <a:cubicBezTo>
                        <a:pt x="8" y="1"/>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1" name="Freeform 121">
                  <a:extLst>
                    <a:ext uri="{FF2B5EF4-FFF2-40B4-BE49-F238E27FC236}">
                      <a16:creationId xmlns:a16="http://schemas.microsoft.com/office/drawing/2014/main" id="{AC3A639B-2BB9-4C1C-B3FF-8A92E31891B6}"/>
                    </a:ext>
                  </a:extLst>
                </p:cNvPr>
                <p:cNvSpPr>
                  <a:spLocks/>
                </p:cNvSpPr>
                <p:nvPr/>
              </p:nvSpPr>
              <p:spPr bwMode="auto">
                <a:xfrm>
                  <a:off x="5874075" y="4812762"/>
                  <a:ext cx="3685" cy="3685"/>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0"/>
                        <a:pt x="0" y="0"/>
                      </a:cubicBezTo>
                      <a:cubicBezTo>
                        <a:pt x="1" y="0"/>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2" name="Freeform 122">
                  <a:extLst>
                    <a:ext uri="{FF2B5EF4-FFF2-40B4-BE49-F238E27FC236}">
                      <a16:creationId xmlns:a16="http://schemas.microsoft.com/office/drawing/2014/main" id="{3F0EB07D-DFD6-4CEB-8A9B-7B8EB46983DB}"/>
                    </a:ext>
                  </a:extLst>
                </p:cNvPr>
                <p:cNvSpPr>
                  <a:spLocks/>
                </p:cNvSpPr>
                <p:nvPr/>
              </p:nvSpPr>
              <p:spPr bwMode="auto">
                <a:xfrm>
                  <a:off x="5837223" y="4742744"/>
                  <a:ext cx="47906" cy="14740"/>
                </a:xfrm>
                <a:custGeom>
                  <a:avLst/>
                  <a:gdLst>
                    <a:gd name="T0" fmla="*/ 2 w 15"/>
                    <a:gd name="T1" fmla="*/ 0 h 5"/>
                    <a:gd name="T2" fmla="*/ 0 w 15"/>
                    <a:gd name="T3" fmla="*/ 0 h 5"/>
                    <a:gd name="T4" fmla="*/ 7 w 15"/>
                    <a:gd name="T5" fmla="*/ 5 h 5"/>
                    <a:gd name="T6" fmla="*/ 7 w 15"/>
                    <a:gd name="T7" fmla="*/ 1 h 5"/>
                    <a:gd name="T8" fmla="*/ 2 w 15"/>
                    <a:gd name="T9" fmla="*/ 0 h 5"/>
                  </a:gdLst>
                  <a:ahLst/>
                  <a:cxnLst>
                    <a:cxn ang="0">
                      <a:pos x="T0" y="T1"/>
                    </a:cxn>
                    <a:cxn ang="0">
                      <a:pos x="T2" y="T3"/>
                    </a:cxn>
                    <a:cxn ang="0">
                      <a:pos x="T4" y="T5"/>
                    </a:cxn>
                    <a:cxn ang="0">
                      <a:pos x="T6" y="T7"/>
                    </a:cxn>
                    <a:cxn ang="0">
                      <a:pos x="T8" y="T9"/>
                    </a:cxn>
                  </a:cxnLst>
                  <a:rect l="0" t="0" r="r" b="b"/>
                  <a:pathLst>
                    <a:path w="15" h="5">
                      <a:moveTo>
                        <a:pt x="2" y="0"/>
                      </a:moveTo>
                      <a:cubicBezTo>
                        <a:pt x="1" y="0"/>
                        <a:pt x="1" y="0"/>
                        <a:pt x="0" y="0"/>
                      </a:cubicBezTo>
                      <a:cubicBezTo>
                        <a:pt x="1" y="3"/>
                        <a:pt x="5" y="4"/>
                        <a:pt x="7" y="5"/>
                      </a:cubicBezTo>
                      <a:cubicBezTo>
                        <a:pt x="14" y="4"/>
                        <a:pt x="15" y="3"/>
                        <a:pt x="7" y="1"/>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3" name="Freeform 123">
                  <a:extLst>
                    <a:ext uri="{FF2B5EF4-FFF2-40B4-BE49-F238E27FC236}">
                      <a16:creationId xmlns:a16="http://schemas.microsoft.com/office/drawing/2014/main" id="{E257AC3C-0D4C-4685-9FA8-234EAC133EDF}"/>
                    </a:ext>
                  </a:extLst>
                </p:cNvPr>
                <p:cNvSpPr>
                  <a:spLocks/>
                </p:cNvSpPr>
                <p:nvPr/>
              </p:nvSpPr>
              <p:spPr bwMode="auto">
                <a:xfrm>
                  <a:off x="5921981" y="4805391"/>
                  <a:ext cx="33166" cy="14740"/>
                </a:xfrm>
                <a:custGeom>
                  <a:avLst/>
                  <a:gdLst>
                    <a:gd name="T0" fmla="*/ 0 w 10"/>
                    <a:gd name="T1" fmla="*/ 0 h 4"/>
                    <a:gd name="T2" fmla="*/ 10 w 10"/>
                    <a:gd name="T3" fmla="*/ 4 h 4"/>
                    <a:gd name="T4" fmla="*/ 0 w 10"/>
                    <a:gd name="T5" fmla="*/ 0 h 4"/>
                  </a:gdLst>
                  <a:ahLst/>
                  <a:cxnLst>
                    <a:cxn ang="0">
                      <a:pos x="T0" y="T1"/>
                    </a:cxn>
                    <a:cxn ang="0">
                      <a:pos x="T2" y="T3"/>
                    </a:cxn>
                    <a:cxn ang="0">
                      <a:pos x="T4" y="T5"/>
                    </a:cxn>
                  </a:cxnLst>
                  <a:rect l="0" t="0" r="r" b="b"/>
                  <a:pathLst>
                    <a:path w="10" h="4">
                      <a:moveTo>
                        <a:pt x="0" y="0"/>
                      </a:moveTo>
                      <a:cubicBezTo>
                        <a:pt x="2" y="3"/>
                        <a:pt x="7" y="4"/>
                        <a:pt x="10" y="4"/>
                      </a:cubicBezTo>
                      <a:cubicBezTo>
                        <a:pt x="7"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4" name="Freeform 124">
                  <a:extLst>
                    <a:ext uri="{FF2B5EF4-FFF2-40B4-BE49-F238E27FC236}">
                      <a16:creationId xmlns:a16="http://schemas.microsoft.com/office/drawing/2014/main" id="{5482DA6F-A81B-4C31-B64E-BF86AB5A9950}"/>
                    </a:ext>
                  </a:extLst>
                </p:cNvPr>
                <p:cNvSpPr>
                  <a:spLocks/>
                </p:cNvSpPr>
                <p:nvPr/>
              </p:nvSpPr>
              <p:spPr bwMode="auto">
                <a:xfrm>
                  <a:off x="5804057" y="4779596"/>
                  <a:ext cx="11055" cy="3685"/>
                </a:xfrm>
                <a:custGeom>
                  <a:avLst/>
                  <a:gdLst>
                    <a:gd name="T0" fmla="*/ 3 w 4"/>
                    <a:gd name="T1" fmla="*/ 0 h 2"/>
                    <a:gd name="T2" fmla="*/ 1 w 4"/>
                    <a:gd name="T3" fmla="*/ 1 h 2"/>
                    <a:gd name="T4" fmla="*/ 1 w 4"/>
                    <a:gd name="T5" fmla="*/ 2 h 2"/>
                    <a:gd name="T6" fmla="*/ 4 w 4"/>
                    <a:gd name="T7" fmla="*/ 0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1" y="0"/>
                        <a:pt x="1" y="1"/>
                      </a:cubicBezTo>
                      <a:cubicBezTo>
                        <a:pt x="0" y="1"/>
                        <a:pt x="1" y="2"/>
                        <a:pt x="1" y="2"/>
                      </a:cubicBezTo>
                      <a:cubicBezTo>
                        <a:pt x="2" y="2"/>
                        <a:pt x="3" y="1"/>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5" name="Freeform 125">
                  <a:extLst>
                    <a:ext uri="{FF2B5EF4-FFF2-40B4-BE49-F238E27FC236}">
                      <a16:creationId xmlns:a16="http://schemas.microsoft.com/office/drawing/2014/main" id="{EF003A87-CC64-4E99-9ED6-49EE703E085A}"/>
                    </a:ext>
                  </a:extLst>
                </p:cNvPr>
                <p:cNvSpPr>
                  <a:spLocks/>
                </p:cNvSpPr>
                <p:nvPr/>
              </p:nvSpPr>
              <p:spPr bwMode="auto">
                <a:xfrm>
                  <a:off x="5715615" y="4680097"/>
                  <a:ext cx="11055" cy="11055"/>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0" y="2"/>
                        <a:pt x="2" y="3"/>
                        <a:pt x="3" y="4"/>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6" name="Freeform 126">
                  <a:extLst>
                    <a:ext uri="{FF2B5EF4-FFF2-40B4-BE49-F238E27FC236}">
                      <a16:creationId xmlns:a16="http://schemas.microsoft.com/office/drawing/2014/main" id="{CA86DAEA-6D32-4A58-A7B4-E55B386EBB13}"/>
                    </a:ext>
                  </a:extLst>
                </p:cNvPr>
                <p:cNvSpPr>
                  <a:spLocks/>
                </p:cNvSpPr>
                <p:nvPr/>
              </p:nvSpPr>
              <p:spPr bwMode="auto">
                <a:xfrm>
                  <a:off x="5693504" y="4665357"/>
                  <a:ext cx="22111" cy="14740"/>
                </a:xfrm>
                <a:custGeom>
                  <a:avLst/>
                  <a:gdLst>
                    <a:gd name="T0" fmla="*/ 0 w 7"/>
                    <a:gd name="T1" fmla="*/ 0 h 5"/>
                    <a:gd name="T2" fmla="*/ 7 w 7"/>
                    <a:gd name="T3" fmla="*/ 5 h 5"/>
                    <a:gd name="T4" fmla="*/ 0 w 7"/>
                    <a:gd name="T5" fmla="*/ 0 h 5"/>
                  </a:gdLst>
                  <a:ahLst/>
                  <a:cxnLst>
                    <a:cxn ang="0">
                      <a:pos x="T0" y="T1"/>
                    </a:cxn>
                    <a:cxn ang="0">
                      <a:pos x="T2" y="T3"/>
                    </a:cxn>
                    <a:cxn ang="0">
                      <a:pos x="T4" y="T5"/>
                    </a:cxn>
                  </a:cxnLst>
                  <a:rect l="0" t="0" r="r" b="b"/>
                  <a:pathLst>
                    <a:path w="7" h="5">
                      <a:moveTo>
                        <a:pt x="0" y="0"/>
                      </a:moveTo>
                      <a:cubicBezTo>
                        <a:pt x="3" y="1"/>
                        <a:pt x="5" y="3"/>
                        <a:pt x="7" y="5"/>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7" name="Freeform 127">
                  <a:extLst>
                    <a:ext uri="{FF2B5EF4-FFF2-40B4-BE49-F238E27FC236}">
                      <a16:creationId xmlns:a16="http://schemas.microsoft.com/office/drawing/2014/main" id="{EF2CF76B-3330-4AB4-9602-11A550313DED}"/>
                    </a:ext>
                  </a:extLst>
                </p:cNvPr>
                <p:cNvSpPr>
                  <a:spLocks/>
                </p:cNvSpPr>
                <p:nvPr/>
              </p:nvSpPr>
              <p:spPr bwMode="auto">
                <a:xfrm>
                  <a:off x="5686134" y="4599025"/>
                  <a:ext cx="40536" cy="44221"/>
                </a:xfrm>
                <a:custGeom>
                  <a:avLst/>
                  <a:gdLst>
                    <a:gd name="T0" fmla="*/ 0 w 13"/>
                    <a:gd name="T1" fmla="*/ 0 h 14"/>
                    <a:gd name="T2" fmla="*/ 12 w 13"/>
                    <a:gd name="T3" fmla="*/ 14 h 14"/>
                    <a:gd name="T4" fmla="*/ 5 w 13"/>
                    <a:gd name="T5" fmla="*/ 5 h 14"/>
                    <a:gd name="T6" fmla="*/ 5 w 13"/>
                    <a:gd name="T7" fmla="*/ 3 h 14"/>
                    <a:gd name="T8" fmla="*/ 5 w 13"/>
                    <a:gd name="T9" fmla="*/ 3 h 14"/>
                    <a:gd name="T10" fmla="*/ 4 w 13"/>
                    <a:gd name="T11" fmla="*/ 3 h 14"/>
                    <a:gd name="T12" fmla="*/ 4 w 13"/>
                    <a:gd name="T13" fmla="*/ 3 h 14"/>
                    <a:gd name="T14" fmla="*/ 3 w 13"/>
                    <a:gd name="T15" fmla="*/ 3 h 14"/>
                    <a:gd name="T16" fmla="*/ 0 w 1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0"/>
                      </a:moveTo>
                      <a:cubicBezTo>
                        <a:pt x="4" y="5"/>
                        <a:pt x="8" y="9"/>
                        <a:pt x="12" y="14"/>
                      </a:cubicBezTo>
                      <a:cubicBezTo>
                        <a:pt x="13" y="7"/>
                        <a:pt x="8" y="10"/>
                        <a:pt x="5" y="5"/>
                      </a:cubicBezTo>
                      <a:cubicBezTo>
                        <a:pt x="5" y="5"/>
                        <a:pt x="6" y="4"/>
                        <a:pt x="5" y="3"/>
                      </a:cubicBezTo>
                      <a:cubicBezTo>
                        <a:pt x="5" y="3"/>
                        <a:pt x="5" y="3"/>
                        <a:pt x="5" y="3"/>
                      </a:cubicBezTo>
                      <a:cubicBezTo>
                        <a:pt x="5" y="3"/>
                        <a:pt x="4" y="3"/>
                        <a:pt x="4" y="3"/>
                      </a:cubicBezTo>
                      <a:cubicBezTo>
                        <a:pt x="4" y="3"/>
                        <a:pt x="4" y="3"/>
                        <a:pt x="4"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8" name="Freeform 128">
                  <a:extLst>
                    <a:ext uri="{FF2B5EF4-FFF2-40B4-BE49-F238E27FC236}">
                      <a16:creationId xmlns:a16="http://schemas.microsoft.com/office/drawing/2014/main" id="{AF10BF3C-C69D-4B03-A5D4-08314CD06C26}"/>
                    </a:ext>
                  </a:extLst>
                </p:cNvPr>
                <p:cNvSpPr>
                  <a:spLocks/>
                </p:cNvSpPr>
                <p:nvPr/>
              </p:nvSpPr>
              <p:spPr bwMode="auto">
                <a:xfrm>
                  <a:off x="5656653" y="4540063"/>
                  <a:ext cx="29481" cy="33166"/>
                </a:xfrm>
                <a:custGeom>
                  <a:avLst/>
                  <a:gdLst>
                    <a:gd name="T0" fmla="*/ 4 w 9"/>
                    <a:gd name="T1" fmla="*/ 0 h 10"/>
                    <a:gd name="T2" fmla="*/ 0 w 9"/>
                    <a:gd name="T3" fmla="*/ 5 h 10"/>
                    <a:gd name="T4" fmla="*/ 9 w 9"/>
                    <a:gd name="T5" fmla="*/ 10 h 10"/>
                    <a:gd name="T6" fmla="*/ 5 w 9"/>
                    <a:gd name="T7" fmla="*/ 3 h 10"/>
                    <a:gd name="T8" fmla="*/ 5 w 9"/>
                    <a:gd name="T9" fmla="*/ 3 h 10"/>
                    <a:gd name="T10" fmla="*/ 4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4" y="0"/>
                      </a:moveTo>
                      <a:cubicBezTo>
                        <a:pt x="3" y="3"/>
                        <a:pt x="2" y="4"/>
                        <a:pt x="0" y="5"/>
                      </a:cubicBezTo>
                      <a:cubicBezTo>
                        <a:pt x="3" y="7"/>
                        <a:pt x="6" y="9"/>
                        <a:pt x="9" y="10"/>
                      </a:cubicBezTo>
                      <a:cubicBezTo>
                        <a:pt x="9" y="8"/>
                        <a:pt x="8" y="3"/>
                        <a:pt x="5" y="3"/>
                      </a:cubicBezTo>
                      <a:cubicBezTo>
                        <a:pt x="5" y="3"/>
                        <a:pt x="5" y="3"/>
                        <a:pt x="5" y="3"/>
                      </a:cubicBezTo>
                      <a:cubicBezTo>
                        <a:pt x="6"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9" name="Freeform 129">
                  <a:extLst>
                    <a:ext uri="{FF2B5EF4-FFF2-40B4-BE49-F238E27FC236}">
                      <a16:creationId xmlns:a16="http://schemas.microsoft.com/office/drawing/2014/main" id="{7F8C4AB1-B9C7-49AD-B984-D9E06EF338C7}"/>
                    </a:ext>
                  </a:extLst>
                </p:cNvPr>
                <p:cNvSpPr>
                  <a:spLocks/>
                </p:cNvSpPr>
                <p:nvPr/>
              </p:nvSpPr>
              <p:spPr bwMode="auto">
                <a:xfrm>
                  <a:off x="5837223" y="4761170"/>
                  <a:ext cx="66332" cy="14740"/>
                </a:xfrm>
                <a:custGeom>
                  <a:avLst/>
                  <a:gdLst>
                    <a:gd name="T0" fmla="*/ 3 w 21"/>
                    <a:gd name="T1" fmla="*/ 0 h 4"/>
                    <a:gd name="T2" fmla="*/ 0 w 21"/>
                    <a:gd name="T3" fmla="*/ 1 h 4"/>
                    <a:gd name="T4" fmla="*/ 17 w 21"/>
                    <a:gd name="T5" fmla="*/ 4 h 4"/>
                    <a:gd name="T6" fmla="*/ 21 w 21"/>
                    <a:gd name="T7" fmla="*/ 3 h 4"/>
                    <a:gd name="T8" fmla="*/ 7 w 21"/>
                    <a:gd name="T9" fmla="*/ 1 h 4"/>
                    <a:gd name="T10" fmla="*/ 3 w 21"/>
                    <a:gd name="T11" fmla="*/ 0 h 4"/>
                  </a:gdLst>
                  <a:ahLst/>
                  <a:cxnLst>
                    <a:cxn ang="0">
                      <a:pos x="T0" y="T1"/>
                    </a:cxn>
                    <a:cxn ang="0">
                      <a:pos x="T2" y="T3"/>
                    </a:cxn>
                    <a:cxn ang="0">
                      <a:pos x="T4" y="T5"/>
                    </a:cxn>
                    <a:cxn ang="0">
                      <a:pos x="T6" y="T7"/>
                    </a:cxn>
                    <a:cxn ang="0">
                      <a:pos x="T8" y="T9"/>
                    </a:cxn>
                    <a:cxn ang="0">
                      <a:pos x="T10" y="T11"/>
                    </a:cxn>
                  </a:cxnLst>
                  <a:rect l="0" t="0" r="r" b="b"/>
                  <a:pathLst>
                    <a:path w="21" h="4">
                      <a:moveTo>
                        <a:pt x="3" y="0"/>
                      </a:moveTo>
                      <a:cubicBezTo>
                        <a:pt x="2" y="0"/>
                        <a:pt x="1" y="1"/>
                        <a:pt x="0" y="1"/>
                      </a:cubicBezTo>
                      <a:cubicBezTo>
                        <a:pt x="5" y="2"/>
                        <a:pt x="11" y="4"/>
                        <a:pt x="17" y="4"/>
                      </a:cubicBezTo>
                      <a:cubicBezTo>
                        <a:pt x="18" y="4"/>
                        <a:pt x="20" y="4"/>
                        <a:pt x="21" y="3"/>
                      </a:cubicBezTo>
                      <a:cubicBezTo>
                        <a:pt x="16" y="3"/>
                        <a:pt x="11" y="3"/>
                        <a:pt x="7" y="1"/>
                      </a:cubicBezTo>
                      <a:cubicBezTo>
                        <a:pt x="6"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0" name="Freeform 130">
                  <a:extLst>
                    <a:ext uri="{FF2B5EF4-FFF2-40B4-BE49-F238E27FC236}">
                      <a16:creationId xmlns:a16="http://schemas.microsoft.com/office/drawing/2014/main" id="{7054105B-6D9C-4B04-8D48-AEFE8B0240BE}"/>
                    </a:ext>
                  </a:extLst>
                </p:cNvPr>
                <p:cNvSpPr>
                  <a:spLocks/>
                </p:cNvSpPr>
                <p:nvPr/>
              </p:nvSpPr>
              <p:spPr bwMode="auto">
                <a:xfrm>
                  <a:off x="6644264" y="5406065"/>
                  <a:ext cx="25796" cy="29481"/>
                </a:xfrm>
                <a:custGeom>
                  <a:avLst/>
                  <a:gdLst>
                    <a:gd name="T0" fmla="*/ 5 w 8"/>
                    <a:gd name="T1" fmla="*/ 0 h 9"/>
                    <a:gd name="T2" fmla="*/ 0 w 8"/>
                    <a:gd name="T3" fmla="*/ 3 h 9"/>
                    <a:gd name="T4" fmla="*/ 3 w 8"/>
                    <a:gd name="T5" fmla="*/ 9 h 9"/>
                    <a:gd name="T6" fmla="*/ 7 w 8"/>
                    <a:gd name="T7" fmla="*/ 2 h 9"/>
                    <a:gd name="T8" fmla="*/ 5 w 8"/>
                    <a:gd name="T9" fmla="*/ 0 h 9"/>
                  </a:gdLst>
                  <a:ahLst/>
                  <a:cxnLst>
                    <a:cxn ang="0">
                      <a:pos x="T0" y="T1"/>
                    </a:cxn>
                    <a:cxn ang="0">
                      <a:pos x="T2" y="T3"/>
                    </a:cxn>
                    <a:cxn ang="0">
                      <a:pos x="T4" y="T5"/>
                    </a:cxn>
                    <a:cxn ang="0">
                      <a:pos x="T6" y="T7"/>
                    </a:cxn>
                    <a:cxn ang="0">
                      <a:pos x="T8" y="T9"/>
                    </a:cxn>
                  </a:cxnLst>
                  <a:rect l="0" t="0" r="r" b="b"/>
                  <a:pathLst>
                    <a:path w="8" h="9">
                      <a:moveTo>
                        <a:pt x="5" y="0"/>
                      </a:moveTo>
                      <a:cubicBezTo>
                        <a:pt x="3" y="0"/>
                        <a:pt x="1" y="3"/>
                        <a:pt x="0" y="3"/>
                      </a:cubicBezTo>
                      <a:cubicBezTo>
                        <a:pt x="0" y="5"/>
                        <a:pt x="2" y="7"/>
                        <a:pt x="3" y="9"/>
                      </a:cubicBezTo>
                      <a:cubicBezTo>
                        <a:pt x="5" y="8"/>
                        <a:pt x="8" y="4"/>
                        <a:pt x="7" y="2"/>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1" name="Freeform 131">
                  <a:extLst>
                    <a:ext uri="{FF2B5EF4-FFF2-40B4-BE49-F238E27FC236}">
                      <a16:creationId xmlns:a16="http://schemas.microsoft.com/office/drawing/2014/main" id="{CCF8C9CE-2711-401F-909F-3F7D137836C7}"/>
                    </a:ext>
                  </a:extLst>
                </p:cNvPr>
                <p:cNvSpPr>
                  <a:spLocks/>
                </p:cNvSpPr>
                <p:nvPr/>
              </p:nvSpPr>
              <p:spPr bwMode="auto">
                <a:xfrm>
                  <a:off x="6636893" y="5446601"/>
                  <a:ext cx="7370" cy="18426"/>
                </a:xfrm>
                <a:custGeom>
                  <a:avLst/>
                  <a:gdLst>
                    <a:gd name="T0" fmla="*/ 0 w 2"/>
                    <a:gd name="T1" fmla="*/ 0 h 5"/>
                    <a:gd name="T2" fmla="*/ 2 w 2"/>
                    <a:gd name="T3" fmla="*/ 5 h 5"/>
                    <a:gd name="T4" fmla="*/ 0 w 2"/>
                    <a:gd name="T5" fmla="*/ 0 h 5"/>
                  </a:gdLst>
                  <a:ahLst/>
                  <a:cxnLst>
                    <a:cxn ang="0">
                      <a:pos x="T0" y="T1"/>
                    </a:cxn>
                    <a:cxn ang="0">
                      <a:pos x="T2" y="T3"/>
                    </a:cxn>
                    <a:cxn ang="0">
                      <a:pos x="T4" y="T5"/>
                    </a:cxn>
                  </a:cxnLst>
                  <a:rect l="0" t="0" r="r" b="b"/>
                  <a:pathLst>
                    <a:path w="2" h="5">
                      <a:moveTo>
                        <a:pt x="0" y="0"/>
                      </a:moveTo>
                      <a:cubicBezTo>
                        <a:pt x="0" y="2"/>
                        <a:pt x="1" y="3"/>
                        <a:pt x="2" y="5"/>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2" name="Freeform 132">
                  <a:extLst>
                    <a:ext uri="{FF2B5EF4-FFF2-40B4-BE49-F238E27FC236}">
                      <a16:creationId xmlns:a16="http://schemas.microsoft.com/office/drawing/2014/main" id="{BF65C97B-141F-4637-B00D-FF71E078780E}"/>
                    </a:ext>
                  </a:extLst>
                </p:cNvPr>
                <p:cNvSpPr>
                  <a:spLocks/>
                </p:cNvSpPr>
                <p:nvPr/>
              </p:nvSpPr>
              <p:spPr bwMode="auto">
                <a:xfrm>
                  <a:off x="6467378" y="5321308"/>
                  <a:ext cx="7370" cy="11055"/>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3" name="Freeform 133">
                  <a:extLst>
                    <a:ext uri="{FF2B5EF4-FFF2-40B4-BE49-F238E27FC236}">
                      <a16:creationId xmlns:a16="http://schemas.microsoft.com/office/drawing/2014/main" id="{AAC1CD5A-1A4D-4107-A9B4-F458C24CB700}"/>
                    </a:ext>
                  </a:extLst>
                </p:cNvPr>
                <p:cNvSpPr>
                  <a:spLocks/>
                </p:cNvSpPr>
                <p:nvPr/>
              </p:nvSpPr>
              <p:spPr bwMode="auto">
                <a:xfrm>
                  <a:off x="6611098" y="5107571"/>
                  <a:ext cx="44221" cy="25796"/>
                </a:xfrm>
                <a:custGeom>
                  <a:avLst/>
                  <a:gdLst>
                    <a:gd name="T0" fmla="*/ 13 w 13"/>
                    <a:gd name="T1" fmla="*/ 0 h 8"/>
                    <a:gd name="T2" fmla="*/ 8 w 13"/>
                    <a:gd name="T3" fmla="*/ 2 h 8"/>
                    <a:gd name="T4" fmla="*/ 8 w 13"/>
                    <a:gd name="T5" fmla="*/ 2 h 8"/>
                    <a:gd name="T6" fmla="*/ 7 w 13"/>
                    <a:gd name="T7" fmla="*/ 1 h 8"/>
                    <a:gd name="T8" fmla="*/ 5 w 13"/>
                    <a:gd name="T9" fmla="*/ 1 h 8"/>
                    <a:gd name="T10" fmla="*/ 4 w 13"/>
                    <a:gd name="T11" fmla="*/ 1 h 8"/>
                    <a:gd name="T12" fmla="*/ 3 w 13"/>
                    <a:gd name="T13" fmla="*/ 1 h 8"/>
                    <a:gd name="T14" fmla="*/ 1 w 13"/>
                    <a:gd name="T15" fmla="*/ 6 h 8"/>
                    <a:gd name="T16" fmla="*/ 6 w 13"/>
                    <a:gd name="T17" fmla="*/ 4 h 8"/>
                    <a:gd name="T18" fmla="*/ 10 w 13"/>
                    <a:gd name="T19" fmla="*/ 8 h 8"/>
                    <a:gd name="T20" fmla="*/ 13 w 13"/>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13" y="0"/>
                      </a:moveTo>
                      <a:cubicBezTo>
                        <a:pt x="12" y="0"/>
                        <a:pt x="9" y="2"/>
                        <a:pt x="8" y="2"/>
                      </a:cubicBezTo>
                      <a:cubicBezTo>
                        <a:pt x="8" y="2"/>
                        <a:pt x="8" y="2"/>
                        <a:pt x="8" y="2"/>
                      </a:cubicBezTo>
                      <a:cubicBezTo>
                        <a:pt x="7" y="2"/>
                        <a:pt x="8" y="1"/>
                        <a:pt x="7" y="1"/>
                      </a:cubicBezTo>
                      <a:cubicBezTo>
                        <a:pt x="7" y="1"/>
                        <a:pt x="6" y="1"/>
                        <a:pt x="5" y="1"/>
                      </a:cubicBezTo>
                      <a:cubicBezTo>
                        <a:pt x="5" y="1"/>
                        <a:pt x="4" y="1"/>
                        <a:pt x="4" y="1"/>
                      </a:cubicBezTo>
                      <a:cubicBezTo>
                        <a:pt x="3" y="1"/>
                        <a:pt x="3" y="1"/>
                        <a:pt x="3" y="1"/>
                      </a:cubicBezTo>
                      <a:cubicBezTo>
                        <a:pt x="0" y="2"/>
                        <a:pt x="2" y="3"/>
                        <a:pt x="1" y="6"/>
                      </a:cubicBezTo>
                      <a:cubicBezTo>
                        <a:pt x="4" y="5"/>
                        <a:pt x="5" y="4"/>
                        <a:pt x="6" y="4"/>
                      </a:cubicBezTo>
                      <a:cubicBezTo>
                        <a:pt x="7" y="4"/>
                        <a:pt x="8" y="5"/>
                        <a:pt x="10" y="8"/>
                      </a:cubicBezTo>
                      <a:cubicBezTo>
                        <a:pt x="9" y="3"/>
                        <a:pt x="12" y="3"/>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4" name="Freeform 134">
                  <a:extLst>
                    <a:ext uri="{FF2B5EF4-FFF2-40B4-BE49-F238E27FC236}">
                      <a16:creationId xmlns:a16="http://schemas.microsoft.com/office/drawing/2014/main" id="{90493FCB-670F-4BF0-BF0B-F32A580D9912}"/>
                    </a:ext>
                  </a:extLst>
                </p:cNvPr>
                <p:cNvSpPr>
                  <a:spLocks/>
                </p:cNvSpPr>
                <p:nvPr/>
              </p:nvSpPr>
              <p:spPr bwMode="auto">
                <a:xfrm>
                  <a:off x="6614783" y="5409750"/>
                  <a:ext cx="22111" cy="18426"/>
                </a:xfrm>
                <a:custGeom>
                  <a:avLst/>
                  <a:gdLst>
                    <a:gd name="T0" fmla="*/ 7 w 7"/>
                    <a:gd name="T1" fmla="*/ 0 h 6"/>
                    <a:gd name="T2" fmla="*/ 4 w 7"/>
                    <a:gd name="T3" fmla="*/ 6 h 6"/>
                    <a:gd name="T4" fmla="*/ 7 w 7"/>
                    <a:gd name="T5" fmla="*/ 0 h 6"/>
                  </a:gdLst>
                  <a:ahLst/>
                  <a:cxnLst>
                    <a:cxn ang="0">
                      <a:pos x="T0" y="T1"/>
                    </a:cxn>
                    <a:cxn ang="0">
                      <a:pos x="T2" y="T3"/>
                    </a:cxn>
                    <a:cxn ang="0">
                      <a:pos x="T4" y="T5"/>
                    </a:cxn>
                  </a:cxnLst>
                  <a:rect l="0" t="0" r="r" b="b"/>
                  <a:pathLst>
                    <a:path w="7" h="6">
                      <a:moveTo>
                        <a:pt x="7" y="0"/>
                      </a:moveTo>
                      <a:cubicBezTo>
                        <a:pt x="3" y="1"/>
                        <a:pt x="0" y="2"/>
                        <a:pt x="4" y="6"/>
                      </a:cubicBezTo>
                      <a:cubicBezTo>
                        <a:pt x="7" y="4"/>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5" name="Freeform 135">
                  <a:extLst>
                    <a:ext uri="{FF2B5EF4-FFF2-40B4-BE49-F238E27FC236}">
                      <a16:creationId xmlns:a16="http://schemas.microsoft.com/office/drawing/2014/main" id="{45521229-5E81-4EBC-8458-5DF23A44D508}"/>
                    </a:ext>
                  </a:extLst>
                </p:cNvPr>
                <p:cNvSpPr>
                  <a:spLocks/>
                </p:cNvSpPr>
                <p:nvPr/>
              </p:nvSpPr>
              <p:spPr bwMode="auto">
                <a:xfrm>
                  <a:off x="6647949" y="5479768"/>
                  <a:ext cx="7370" cy="14740"/>
                </a:xfrm>
                <a:custGeom>
                  <a:avLst/>
                  <a:gdLst>
                    <a:gd name="T0" fmla="*/ 0 w 2"/>
                    <a:gd name="T1" fmla="*/ 0 h 5"/>
                    <a:gd name="T2" fmla="*/ 1 w 2"/>
                    <a:gd name="T3" fmla="*/ 5 h 5"/>
                    <a:gd name="T4" fmla="*/ 0 w 2"/>
                    <a:gd name="T5" fmla="*/ 0 h 5"/>
                  </a:gdLst>
                  <a:ahLst/>
                  <a:cxnLst>
                    <a:cxn ang="0">
                      <a:pos x="T0" y="T1"/>
                    </a:cxn>
                    <a:cxn ang="0">
                      <a:pos x="T2" y="T3"/>
                    </a:cxn>
                    <a:cxn ang="0">
                      <a:pos x="T4" y="T5"/>
                    </a:cxn>
                  </a:cxnLst>
                  <a:rect l="0" t="0" r="r" b="b"/>
                  <a:pathLst>
                    <a:path w="2" h="5">
                      <a:moveTo>
                        <a:pt x="0" y="0"/>
                      </a:moveTo>
                      <a:cubicBezTo>
                        <a:pt x="0" y="2"/>
                        <a:pt x="1" y="3"/>
                        <a:pt x="1" y="5"/>
                      </a:cubicBezTo>
                      <a:cubicBezTo>
                        <a:pt x="2" y="3"/>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6" name="Freeform 136">
                  <a:extLst>
                    <a:ext uri="{FF2B5EF4-FFF2-40B4-BE49-F238E27FC236}">
                      <a16:creationId xmlns:a16="http://schemas.microsoft.com/office/drawing/2014/main" id="{D06E5B42-AC34-49EE-A266-058113947C16}"/>
                    </a:ext>
                  </a:extLst>
                </p:cNvPr>
                <p:cNvSpPr>
                  <a:spLocks/>
                </p:cNvSpPr>
                <p:nvPr/>
              </p:nvSpPr>
              <p:spPr bwMode="auto">
                <a:xfrm>
                  <a:off x="6699540" y="5354474"/>
                  <a:ext cx="33166" cy="18426"/>
                </a:xfrm>
                <a:custGeom>
                  <a:avLst/>
                  <a:gdLst>
                    <a:gd name="T0" fmla="*/ 10 w 10"/>
                    <a:gd name="T1" fmla="*/ 0 h 5"/>
                    <a:gd name="T2" fmla="*/ 0 w 10"/>
                    <a:gd name="T3" fmla="*/ 5 h 5"/>
                    <a:gd name="T4" fmla="*/ 10 w 10"/>
                    <a:gd name="T5" fmla="*/ 0 h 5"/>
                  </a:gdLst>
                  <a:ahLst/>
                  <a:cxnLst>
                    <a:cxn ang="0">
                      <a:pos x="T0" y="T1"/>
                    </a:cxn>
                    <a:cxn ang="0">
                      <a:pos x="T2" y="T3"/>
                    </a:cxn>
                    <a:cxn ang="0">
                      <a:pos x="T4" y="T5"/>
                    </a:cxn>
                  </a:cxnLst>
                  <a:rect l="0" t="0" r="r" b="b"/>
                  <a:pathLst>
                    <a:path w="10" h="5">
                      <a:moveTo>
                        <a:pt x="10" y="0"/>
                      </a:moveTo>
                      <a:cubicBezTo>
                        <a:pt x="7" y="1"/>
                        <a:pt x="3" y="3"/>
                        <a:pt x="0" y="5"/>
                      </a:cubicBezTo>
                      <a:cubicBezTo>
                        <a:pt x="4" y="5"/>
                        <a:pt x="8"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7" name="Freeform 137">
                  <a:extLst>
                    <a:ext uri="{FF2B5EF4-FFF2-40B4-BE49-F238E27FC236}">
                      <a16:creationId xmlns:a16="http://schemas.microsoft.com/office/drawing/2014/main" id="{265664F0-50B3-410A-946A-AC3521B667E1}"/>
                    </a:ext>
                  </a:extLst>
                </p:cNvPr>
                <p:cNvSpPr>
                  <a:spLocks/>
                </p:cNvSpPr>
                <p:nvPr/>
              </p:nvSpPr>
              <p:spPr bwMode="auto">
                <a:xfrm>
                  <a:off x="6600042" y="5376584"/>
                  <a:ext cx="7370" cy="11055"/>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1" y="0"/>
                        <a:pt x="1" y="1"/>
                        <a:pt x="0" y="4"/>
                      </a:cubicBezTo>
                      <a:cubicBezTo>
                        <a:pt x="2" y="2"/>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8" name="Freeform 138">
                  <a:extLst>
                    <a:ext uri="{FF2B5EF4-FFF2-40B4-BE49-F238E27FC236}">
                      <a16:creationId xmlns:a16="http://schemas.microsoft.com/office/drawing/2014/main" id="{3D201995-A4BA-406C-9F56-01AB0AFB380A}"/>
                    </a:ext>
                  </a:extLst>
                </p:cNvPr>
                <p:cNvSpPr>
                  <a:spLocks/>
                </p:cNvSpPr>
                <p:nvPr/>
              </p:nvSpPr>
              <p:spPr bwMode="auto">
                <a:xfrm>
                  <a:off x="6485804" y="5192329"/>
                  <a:ext cx="7370" cy="18426"/>
                </a:xfrm>
                <a:custGeom>
                  <a:avLst/>
                  <a:gdLst>
                    <a:gd name="T0" fmla="*/ 0 w 3"/>
                    <a:gd name="T1" fmla="*/ 0 h 5"/>
                    <a:gd name="T2" fmla="*/ 3 w 3"/>
                    <a:gd name="T3" fmla="*/ 5 h 5"/>
                    <a:gd name="T4" fmla="*/ 0 w 3"/>
                    <a:gd name="T5" fmla="*/ 0 h 5"/>
                  </a:gdLst>
                  <a:ahLst/>
                  <a:cxnLst>
                    <a:cxn ang="0">
                      <a:pos x="T0" y="T1"/>
                    </a:cxn>
                    <a:cxn ang="0">
                      <a:pos x="T2" y="T3"/>
                    </a:cxn>
                    <a:cxn ang="0">
                      <a:pos x="T4" y="T5"/>
                    </a:cxn>
                  </a:cxnLst>
                  <a:rect l="0" t="0" r="r" b="b"/>
                  <a:pathLst>
                    <a:path w="3" h="5">
                      <a:moveTo>
                        <a:pt x="0" y="0"/>
                      </a:moveTo>
                      <a:cubicBezTo>
                        <a:pt x="1" y="2"/>
                        <a:pt x="2" y="3"/>
                        <a:pt x="3"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9" name="Freeform 139">
                  <a:extLst>
                    <a:ext uri="{FF2B5EF4-FFF2-40B4-BE49-F238E27FC236}">
                      <a16:creationId xmlns:a16="http://schemas.microsoft.com/office/drawing/2014/main" id="{EA465065-6019-434C-B3CD-895C85E8D6B7}"/>
                    </a:ext>
                  </a:extLst>
                </p:cNvPr>
                <p:cNvSpPr>
                  <a:spLocks/>
                </p:cNvSpPr>
                <p:nvPr/>
              </p:nvSpPr>
              <p:spPr bwMode="auto">
                <a:xfrm>
                  <a:off x="6688485" y="5173903"/>
                  <a:ext cx="73702" cy="44221"/>
                </a:xfrm>
                <a:custGeom>
                  <a:avLst/>
                  <a:gdLst>
                    <a:gd name="T0" fmla="*/ 12 w 23"/>
                    <a:gd name="T1" fmla="*/ 0 h 14"/>
                    <a:gd name="T2" fmla="*/ 6 w 23"/>
                    <a:gd name="T3" fmla="*/ 3 h 14"/>
                    <a:gd name="T4" fmla="*/ 4 w 23"/>
                    <a:gd name="T5" fmla="*/ 4 h 14"/>
                    <a:gd name="T6" fmla="*/ 3 w 23"/>
                    <a:gd name="T7" fmla="*/ 4 h 14"/>
                    <a:gd name="T8" fmla="*/ 3 w 23"/>
                    <a:gd name="T9" fmla="*/ 4 h 14"/>
                    <a:gd name="T10" fmla="*/ 0 w 23"/>
                    <a:gd name="T11" fmla="*/ 5 h 14"/>
                    <a:gd name="T12" fmla="*/ 10 w 23"/>
                    <a:gd name="T13" fmla="*/ 6 h 14"/>
                    <a:gd name="T14" fmla="*/ 11 w 23"/>
                    <a:gd name="T15" fmla="*/ 6 h 14"/>
                    <a:gd name="T16" fmla="*/ 7 w 23"/>
                    <a:gd name="T17" fmla="*/ 10 h 14"/>
                    <a:gd name="T18" fmla="*/ 16 w 23"/>
                    <a:gd name="T19" fmla="*/ 14 h 14"/>
                    <a:gd name="T20" fmla="*/ 17 w 23"/>
                    <a:gd name="T21" fmla="*/ 14 h 14"/>
                    <a:gd name="T22" fmla="*/ 17 w 23"/>
                    <a:gd name="T23" fmla="*/ 9 h 14"/>
                    <a:gd name="T24" fmla="*/ 17 w 23"/>
                    <a:gd name="T25" fmla="*/ 9 h 14"/>
                    <a:gd name="T26" fmla="*/ 19 w 23"/>
                    <a:gd name="T27" fmla="*/ 11 h 14"/>
                    <a:gd name="T28" fmla="*/ 21 w 23"/>
                    <a:gd name="T29" fmla="*/ 13 h 14"/>
                    <a:gd name="T30" fmla="*/ 22 w 23"/>
                    <a:gd name="T31" fmla="*/ 12 h 14"/>
                    <a:gd name="T32" fmla="*/ 16 w 23"/>
                    <a:gd name="T33" fmla="*/ 5 h 14"/>
                    <a:gd name="T34" fmla="*/ 14 w 23"/>
                    <a:gd name="T35" fmla="*/ 1 h 14"/>
                    <a:gd name="T36" fmla="*/ 12 w 23"/>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12" y="0"/>
                      </a:moveTo>
                      <a:cubicBezTo>
                        <a:pt x="10" y="0"/>
                        <a:pt x="8" y="2"/>
                        <a:pt x="6" y="3"/>
                      </a:cubicBezTo>
                      <a:cubicBezTo>
                        <a:pt x="5" y="4"/>
                        <a:pt x="4" y="4"/>
                        <a:pt x="4" y="4"/>
                      </a:cubicBezTo>
                      <a:cubicBezTo>
                        <a:pt x="3" y="4"/>
                        <a:pt x="3" y="4"/>
                        <a:pt x="3" y="4"/>
                      </a:cubicBezTo>
                      <a:cubicBezTo>
                        <a:pt x="3" y="4"/>
                        <a:pt x="3" y="4"/>
                        <a:pt x="3" y="4"/>
                      </a:cubicBezTo>
                      <a:cubicBezTo>
                        <a:pt x="2" y="4"/>
                        <a:pt x="1" y="4"/>
                        <a:pt x="0" y="5"/>
                      </a:cubicBezTo>
                      <a:cubicBezTo>
                        <a:pt x="3" y="5"/>
                        <a:pt x="6" y="6"/>
                        <a:pt x="10" y="6"/>
                      </a:cubicBezTo>
                      <a:cubicBezTo>
                        <a:pt x="10" y="6"/>
                        <a:pt x="11" y="6"/>
                        <a:pt x="11" y="6"/>
                      </a:cubicBezTo>
                      <a:cubicBezTo>
                        <a:pt x="10" y="8"/>
                        <a:pt x="9" y="10"/>
                        <a:pt x="7" y="10"/>
                      </a:cubicBezTo>
                      <a:cubicBezTo>
                        <a:pt x="10" y="12"/>
                        <a:pt x="13" y="13"/>
                        <a:pt x="16" y="14"/>
                      </a:cubicBezTo>
                      <a:cubicBezTo>
                        <a:pt x="17" y="14"/>
                        <a:pt x="17" y="14"/>
                        <a:pt x="17" y="14"/>
                      </a:cubicBezTo>
                      <a:cubicBezTo>
                        <a:pt x="23" y="14"/>
                        <a:pt x="15" y="11"/>
                        <a:pt x="17" y="9"/>
                      </a:cubicBezTo>
                      <a:cubicBezTo>
                        <a:pt x="17" y="9"/>
                        <a:pt x="17" y="9"/>
                        <a:pt x="17" y="9"/>
                      </a:cubicBezTo>
                      <a:cubicBezTo>
                        <a:pt x="18" y="9"/>
                        <a:pt x="19" y="10"/>
                        <a:pt x="19" y="11"/>
                      </a:cubicBezTo>
                      <a:cubicBezTo>
                        <a:pt x="20" y="12"/>
                        <a:pt x="21" y="13"/>
                        <a:pt x="21" y="13"/>
                      </a:cubicBezTo>
                      <a:cubicBezTo>
                        <a:pt x="21" y="13"/>
                        <a:pt x="22" y="13"/>
                        <a:pt x="22" y="12"/>
                      </a:cubicBezTo>
                      <a:cubicBezTo>
                        <a:pt x="23" y="9"/>
                        <a:pt x="17" y="6"/>
                        <a:pt x="16" y="5"/>
                      </a:cubicBezTo>
                      <a:cubicBezTo>
                        <a:pt x="15" y="3"/>
                        <a:pt x="16" y="2"/>
                        <a:pt x="14" y="1"/>
                      </a:cubicBezTo>
                      <a:cubicBezTo>
                        <a:pt x="14"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0" name="Freeform 140">
                  <a:extLst>
                    <a:ext uri="{FF2B5EF4-FFF2-40B4-BE49-F238E27FC236}">
                      <a16:creationId xmlns:a16="http://schemas.microsoft.com/office/drawing/2014/main" id="{95FB36F2-7F4F-4560-9826-CF7B99BCE5C3}"/>
                    </a:ext>
                  </a:extLst>
                </p:cNvPr>
                <p:cNvSpPr>
                  <a:spLocks/>
                </p:cNvSpPr>
                <p:nvPr/>
              </p:nvSpPr>
              <p:spPr bwMode="auto">
                <a:xfrm>
                  <a:off x="6655319" y="5059664"/>
                  <a:ext cx="18426" cy="7370"/>
                </a:xfrm>
                <a:custGeom>
                  <a:avLst/>
                  <a:gdLst>
                    <a:gd name="T0" fmla="*/ 0 w 6"/>
                    <a:gd name="T1" fmla="*/ 0 h 2"/>
                    <a:gd name="T2" fmla="*/ 4 w 6"/>
                    <a:gd name="T3" fmla="*/ 2 h 2"/>
                    <a:gd name="T4" fmla="*/ 6 w 6"/>
                    <a:gd name="T5" fmla="*/ 1 h 2"/>
                    <a:gd name="T6" fmla="*/ 0 w 6"/>
                    <a:gd name="T7" fmla="*/ 0 h 2"/>
                  </a:gdLst>
                  <a:ahLst/>
                  <a:cxnLst>
                    <a:cxn ang="0">
                      <a:pos x="T0" y="T1"/>
                    </a:cxn>
                    <a:cxn ang="0">
                      <a:pos x="T2" y="T3"/>
                    </a:cxn>
                    <a:cxn ang="0">
                      <a:pos x="T4" y="T5"/>
                    </a:cxn>
                    <a:cxn ang="0">
                      <a:pos x="T6" y="T7"/>
                    </a:cxn>
                  </a:cxnLst>
                  <a:rect l="0" t="0" r="r" b="b"/>
                  <a:pathLst>
                    <a:path w="6" h="2">
                      <a:moveTo>
                        <a:pt x="0" y="0"/>
                      </a:moveTo>
                      <a:cubicBezTo>
                        <a:pt x="2" y="1"/>
                        <a:pt x="3" y="2"/>
                        <a:pt x="4" y="2"/>
                      </a:cubicBezTo>
                      <a:cubicBezTo>
                        <a:pt x="5" y="2"/>
                        <a:pt x="5" y="2"/>
                        <a:pt x="6" y="1"/>
                      </a:cubicBezTo>
                      <a:cubicBezTo>
                        <a:pt x="4"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1" name="Freeform 141">
                  <a:extLst>
                    <a:ext uri="{FF2B5EF4-FFF2-40B4-BE49-F238E27FC236}">
                      <a16:creationId xmlns:a16="http://schemas.microsoft.com/office/drawing/2014/main" id="{C24D5864-83A4-44E2-A8AA-1B05B5C63B32}"/>
                    </a:ext>
                  </a:extLst>
                </p:cNvPr>
                <p:cNvSpPr>
                  <a:spLocks/>
                </p:cNvSpPr>
                <p:nvPr/>
              </p:nvSpPr>
              <p:spPr bwMode="auto">
                <a:xfrm>
                  <a:off x="6581617" y="5424491"/>
                  <a:ext cx="3685" cy="11055"/>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2" name="Freeform 142">
                  <a:extLst>
                    <a:ext uri="{FF2B5EF4-FFF2-40B4-BE49-F238E27FC236}">
                      <a16:creationId xmlns:a16="http://schemas.microsoft.com/office/drawing/2014/main" id="{CF5D10D0-40F1-4564-BD11-3152A135A2DE}"/>
                    </a:ext>
                  </a:extLst>
                </p:cNvPr>
                <p:cNvSpPr>
                  <a:spLocks noEditPoints="1"/>
                </p:cNvSpPr>
                <p:nvPr/>
              </p:nvSpPr>
              <p:spPr bwMode="auto">
                <a:xfrm>
                  <a:off x="6478433" y="5560840"/>
                  <a:ext cx="250588" cy="77387"/>
                </a:xfrm>
                <a:custGeom>
                  <a:avLst/>
                  <a:gdLst>
                    <a:gd name="T0" fmla="*/ 79 w 79"/>
                    <a:gd name="T1" fmla="*/ 12 h 24"/>
                    <a:gd name="T2" fmla="*/ 79 w 79"/>
                    <a:gd name="T3" fmla="*/ 12 h 24"/>
                    <a:gd name="T4" fmla="*/ 79 w 79"/>
                    <a:gd name="T5" fmla="*/ 12 h 24"/>
                    <a:gd name="T6" fmla="*/ 6 w 79"/>
                    <a:gd name="T7" fmla="*/ 0 h 24"/>
                    <a:gd name="T8" fmla="*/ 0 w 79"/>
                    <a:gd name="T9" fmla="*/ 12 h 24"/>
                    <a:gd name="T10" fmla="*/ 26 w 79"/>
                    <a:gd name="T11" fmla="*/ 17 h 24"/>
                    <a:gd name="T12" fmla="*/ 34 w 79"/>
                    <a:gd name="T13" fmla="*/ 24 h 24"/>
                    <a:gd name="T14" fmla="*/ 59 w 79"/>
                    <a:gd name="T15" fmla="*/ 22 h 24"/>
                    <a:gd name="T16" fmla="*/ 76 w 79"/>
                    <a:gd name="T17" fmla="*/ 21 h 24"/>
                    <a:gd name="T18" fmla="*/ 78 w 79"/>
                    <a:gd name="T19" fmla="*/ 17 h 24"/>
                    <a:gd name="T20" fmla="*/ 79 w 79"/>
                    <a:gd name="T21" fmla="*/ 16 h 24"/>
                    <a:gd name="T22" fmla="*/ 78 w 79"/>
                    <a:gd name="T23" fmla="*/ 14 h 24"/>
                    <a:gd name="T24" fmla="*/ 79 w 79"/>
                    <a:gd name="T25" fmla="*/ 12 h 24"/>
                    <a:gd name="T26" fmla="*/ 69 w 79"/>
                    <a:gd name="T27" fmla="*/ 16 h 24"/>
                    <a:gd name="T28" fmla="*/ 65 w 79"/>
                    <a:gd name="T29" fmla="*/ 18 h 24"/>
                    <a:gd name="T30" fmla="*/ 64 w 79"/>
                    <a:gd name="T31" fmla="*/ 11 h 24"/>
                    <a:gd name="T32" fmla="*/ 63 w 79"/>
                    <a:gd name="T33" fmla="*/ 11 h 24"/>
                    <a:gd name="T34" fmla="*/ 60 w 79"/>
                    <a:gd name="T35" fmla="*/ 12 h 24"/>
                    <a:gd name="T36" fmla="*/ 57 w 79"/>
                    <a:gd name="T37" fmla="*/ 12 h 24"/>
                    <a:gd name="T38" fmla="*/ 56 w 79"/>
                    <a:gd name="T39" fmla="*/ 12 h 24"/>
                    <a:gd name="T40" fmla="*/ 42 w 79"/>
                    <a:gd name="T41" fmla="*/ 9 h 24"/>
                    <a:gd name="T42" fmla="*/ 40 w 79"/>
                    <a:gd name="T43" fmla="*/ 9 h 24"/>
                    <a:gd name="T44" fmla="*/ 33 w 79"/>
                    <a:gd name="T45" fmla="*/ 10 h 24"/>
                    <a:gd name="T46" fmla="*/ 27 w 79"/>
                    <a:gd name="T47" fmla="*/ 11 h 24"/>
                    <a:gd name="T48" fmla="*/ 21 w 79"/>
                    <a:gd name="T49" fmla="*/ 8 h 24"/>
                    <a:gd name="T50" fmla="*/ 17 w 79"/>
                    <a:gd name="T51" fmla="*/ 5 h 24"/>
                    <a:gd name="T52" fmla="*/ 19 w 79"/>
                    <a:gd name="T53" fmla="*/ 3 h 24"/>
                    <a:gd name="T54" fmla="*/ 16 w 79"/>
                    <a:gd name="T55" fmla="*/ 2 h 24"/>
                    <a:gd name="T56" fmla="*/ 9 w 79"/>
                    <a:gd name="T57" fmla="*/ 4 h 24"/>
                    <a:gd name="T58" fmla="*/ 8 w 79"/>
                    <a:gd name="T59" fmla="*/ 4 h 24"/>
                    <a:gd name="T60" fmla="*/ 6 w 79"/>
                    <a:gd name="T6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24">
                      <a:moveTo>
                        <a:pt x="79" y="12"/>
                      </a:moveTo>
                      <a:cubicBezTo>
                        <a:pt x="79" y="12"/>
                        <a:pt x="79" y="12"/>
                        <a:pt x="79" y="12"/>
                      </a:cubicBezTo>
                      <a:cubicBezTo>
                        <a:pt x="79" y="12"/>
                        <a:pt x="79" y="12"/>
                        <a:pt x="79" y="12"/>
                      </a:cubicBezTo>
                      <a:moveTo>
                        <a:pt x="6" y="0"/>
                      </a:moveTo>
                      <a:cubicBezTo>
                        <a:pt x="4" y="4"/>
                        <a:pt x="2" y="8"/>
                        <a:pt x="0" y="12"/>
                      </a:cubicBezTo>
                      <a:cubicBezTo>
                        <a:pt x="8" y="14"/>
                        <a:pt x="17" y="15"/>
                        <a:pt x="26" y="17"/>
                      </a:cubicBezTo>
                      <a:cubicBezTo>
                        <a:pt x="30" y="18"/>
                        <a:pt x="37" y="19"/>
                        <a:pt x="34" y="24"/>
                      </a:cubicBezTo>
                      <a:cubicBezTo>
                        <a:pt x="42" y="24"/>
                        <a:pt x="51" y="22"/>
                        <a:pt x="59" y="22"/>
                      </a:cubicBezTo>
                      <a:cubicBezTo>
                        <a:pt x="64" y="21"/>
                        <a:pt x="70" y="21"/>
                        <a:pt x="76" y="21"/>
                      </a:cubicBezTo>
                      <a:cubicBezTo>
                        <a:pt x="78" y="21"/>
                        <a:pt x="78" y="19"/>
                        <a:pt x="78" y="17"/>
                      </a:cubicBezTo>
                      <a:cubicBezTo>
                        <a:pt x="78" y="16"/>
                        <a:pt x="79" y="16"/>
                        <a:pt x="79" y="16"/>
                      </a:cubicBezTo>
                      <a:cubicBezTo>
                        <a:pt x="79" y="15"/>
                        <a:pt x="78" y="15"/>
                        <a:pt x="78" y="14"/>
                      </a:cubicBezTo>
                      <a:cubicBezTo>
                        <a:pt x="78" y="13"/>
                        <a:pt x="79" y="12"/>
                        <a:pt x="79" y="12"/>
                      </a:cubicBezTo>
                      <a:cubicBezTo>
                        <a:pt x="74" y="16"/>
                        <a:pt x="75" y="14"/>
                        <a:pt x="69" y="16"/>
                      </a:cubicBezTo>
                      <a:cubicBezTo>
                        <a:pt x="67" y="16"/>
                        <a:pt x="66" y="17"/>
                        <a:pt x="65" y="18"/>
                      </a:cubicBezTo>
                      <a:cubicBezTo>
                        <a:pt x="64" y="16"/>
                        <a:pt x="62" y="13"/>
                        <a:pt x="64" y="11"/>
                      </a:cubicBezTo>
                      <a:cubicBezTo>
                        <a:pt x="64" y="11"/>
                        <a:pt x="63" y="11"/>
                        <a:pt x="63" y="11"/>
                      </a:cubicBezTo>
                      <a:cubicBezTo>
                        <a:pt x="62" y="11"/>
                        <a:pt x="61" y="11"/>
                        <a:pt x="60" y="12"/>
                      </a:cubicBezTo>
                      <a:cubicBezTo>
                        <a:pt x="59" y="12"/>
                        <a:pt x="58" y="12"/>
                        <a:pt x="57" y="12"/>
                      </a:cubicBezTo>
                      <a:cubicBezTo>
                        <a:pt x="57" y="12"/>
                        <a:pt x="56" y="12"/>
                        <a:pt x="56" y="12"/>
                      </a:cubicBezTo>
                      <a:cubicBezTo>
                        <a:pt x="51" y="11"/>
                        <a:pt x="46" y="10"/>
                        <a:pt x="42" y="9"/>
                      </a:cubicBezTo>
                      <a:cubicBezTo>
                        <a:pt x="41" y="9"/>
                        <a:pt x="41" y="9"/>
                        <a:pt x="40" y="9"/>
                      </a:cubicBezTo>
                      <a:cubicBezTo>
                        <a:pt x="38" y="9"/>
                        <a:pt x="36" y="9"/>
                        <a:pt x="33" y="10"/>
                      </a:cubicBezTo>
                      <a:cubicBezTo>
                        <a:pt x="31" y="10"/>
                        <a:pt x="29" y="11"/>
                        <a:pt x="27" y="11"/>
                      </a:cubicBezTo>
                      <a:cubicBezTo>
                        <a:pt x="25" y="11"/>
                        <a:pt x="23" y="10"/>
                        <a:pt x="21" y="8"/>
                      </a:cubicBezTo>
                      <a:cubicBezTo>
                        <a:pt x="20" y="7"/>
                        <a:pt x="12" y="6"/>
                        <a:pt x="17" y="5"/>
                      </a:cubicBezTo>
                      <a:cubicBezTo>
                        <a:pt x="19" y="5"/>
                        <a:pt x="20" y="4"/>
                        <a:pt x="19" y="3"/>
                      </a:cubicBezTo>
                      <a:cubicBezTo>
                        <a:pt x="18" y="2"/>
                        <a:pt x="17" y="2"/>
                        <a:pt x="16" y="2"/>
                      </a:cubicBezTo>
                      <a:cubicBezTo>
                        <a:pt x="14" y="2"/>
                        <a:pt x="10" y="4"/>
                        <a:pt x="9" y="4"/>
                      </a:cubicBezTo>
                      <a:cubicBezTo>
                        <a:pt x="9" y="4"/>
                        <a:pt x="9" y="4"/>
                        <a:pt x="8" y="4"/>
                      </a:cubicBezTo>
                      <a:cubicBezTo>
                        <a:pt x="6" y="4"/>
                        <a:pt x="7"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3" name="Freeform 143">
                  <a:extLst>
                    <a:ext uri="{FF2B5EF4-FFF2-40B4-BE49-F238E27FC236}">
                      <a16:creationId xmlns:a16="http://schemas.microsoft.com/office/drawing/2014/main" id="{A1C7A2DB-E6BD-4286-8DA9-97A8C8651E34}"/>
                    </a:ext>
                  </a:extLst>
                </p:cNvPr>
                <p:cNvSpPr>
                  <a:spLocks/>
                </p:cNvSpPr>
                <p:nvPr/>
              </p:nvSpPr>
              <p:spPr bwMode="auto">
                <a:xfrm>
                  <a:off x="6854315" y="5483453"/>
                  <a:ext cx="51592" cy="55277"/>
                </a:xfrm>
                <a:custGeom>
                  <a:avLst/>
                  <a:gdLst>
                    <a:gd name="T0" fmla="*/ 14 w 16"/>
                    <a:gd name="T1" fmla="*/ 0 h 17"/>
                    <a:gd name="T2" fmla="*/ 8 w 16"/>
                    <a:gd name="T3" fmla="*/ 3 h 17"/>
                    <a:gd name="T4" fmla="*/ 1 w 16"/>
                    <a:gd name="T5" fmla="*/ 9 h 17"/>
                    <a:gd name="T6" fmla="*/ 1 w 16"/>
                    <a:gd name="T7" fmla="*/ 15 h 17"/>
                    <a:gd name="T8" fmla="*/ 1 w 16"/>
                    <a:gd name="T9" fmla="*/ 17 h 17"/>
                    <a:gd name="T10" fmla="*/ 2 w 16"/>
                    <a:gd name="T11" fmla="*/ 17 h 17"/>
                    <a:gd name="T12" fmla="*/ 7 w 16"/>
                    <a:gd name="T13" fmla="*/ 14 h 17"/>
                    <a:gd name="T14" fmla="*/ 10 w 16"/>
                    <a:gd name="T15" fmla="*/ 12 h 17"/>
                    <a:gd name="T16" fmla="*/ 11 w 16"/>
                    <a:gd name="T17" fmla="*/ 13 h 17"/>
                    <a:gd name="T18" fmla="*/ 14 w 16"/>
                    <a:gd name="T19" fmla="*/ 6 h 17"/>
                    <a:gd name="T20" fmla="*/ 16 w 16"/>
                    <a:gd name="T21" fmla="*/ 1 h 17"/>
                    <a:gd name="T22" fmla="*/ 14 w 16"/>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7">
                      <a:moveTo>
                        <a:pt x="14" y="0"/>
                      </a:moveTo>
                      <a:cubicBezTo>
                        <a:pt x="13" y="0"/>
                        <a:pt x="9" y="2"/>
                        <a:pt x="8" y="3"/>
                      </a:cubicBezTo>
                      <a:cubicBezTo>
                        <a:pt x="5" y="4"/>
                        <a:pt x="2" y="6"/>
                        <a:pt x="1" y="9"/>
                      </a:cubicBezTo>
                      <a:cubicBezTo>
                        <a:pt x="1" y="10"/>
                        <a:pt x="0" y="13"/>
                        <a:pt x="1" y="15"/>
                      </a:cubicBezTo>
                      <a:cubicBezTo>
                        <a:pt x="2" y="16"/>
                        <a:pt x="1" y="16"/>
                        <a:pt x="1" y="17"/>
                      </a:cubicBezTo>
                      <a:cubicBezTo>
                        <a:pt x="1" y="17"/>
                        <a:pt x="2" y="17"/>
                        <a:pt x="2" y="17"/>
                      </a:cubicBezTo>
                      <a:cubicBezTo>
                        <a:pt x="3" y="17"/>
                        <a:pt x="6" y="15"/>
                        <a:pt x="7" y="14"/>
                      </a:cubicBezTo>
                      <a:cubicBezTo>
                        <a:pt x="8" y="13"/>
                        <a:pt x="9" y="12"/>
                        <a:pt x="10" y="12"/>
                      </a:cubicBezTo>
                      <a:cubicBezTo>
                        <a:pt x="10" y="12"/>
                        <a:pt x="11" y="12"/>
                        <a:pt x="11" y="13"/>
                      </a:cubicBezTo>
                      <a:cubicBezTo>
                        <a:pt x="11" y="9"/>
                        <a:pt x="12" y="9"/>
                        <a:pt x="14" y="6"/>
                      </a:cubicBezTo>
                      <a:cubicBezTo>
                        <a:pt x="14" y="5"/>
                        <a:pt x="16" y="2"/>
                        <a:pt x="16" y="1"/>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4" name="Freeform 144">
                  <a:extLst>
                    <a:ext uri="{FF2B5EF4-FFF2-40B4-BE49-F238E27FC236}">
                      <a16:creationId xmlns:a16="http://schemas.microsoft.com/office/drawing/2014/main" id="{807EE956-40C3-4CCD-9044-C84136EF7D64}"/>
                    </a:ext>
                  </a:extLst>
                </p:cNvPr>
                <p:cNvSpPr>
                  <a:spLocks/>
                </p:cNvSpPr>
                <p:nvPr/>
              </p:nvSpPr>
              <p:spPr bwMode="auto">
                <a:xfrm>
                  <a:off x="6585302" y="5321308"/>
                  <a:ext cx="22111" cy="33166"/>
                </a:xfrm>
                <a:custGeom>
                  <a:avLst/>
                  <a:gdLst>
                    <a:gd name="T0" fmla="*/ 2 w 8"/>
                    <a:gd name="T1" fmla="*/ 0 h 10"/>
                    <a:gd name="T2" fmla="*/ 0 w 8"/>
                    <a:gd name="T3" fmla="*/ 1 h 10"/>
                    <a:gd name="T4" fmla="*/ 8 w 8"/>
                    <a:gd name="T5" fmla="*/ 10 h 10"/>
                    <a:gd name="T6" fmla="*/ 7 w 8"/>
                    <a:gd name="T7" fmla="*/ 5 h 10"/>
                    <a:gd name="T8" fmla="*/ 5 w 8"/>
                    <a:gd name="T9" fmla="*/ 3 h 10"/>
                    <a:gd name="T10" fmla="*/ 2 w 8"/>
                    <a:gd name="T11" fmla="*/ 0 h 10"/>
                  </a:gdLst>
                  <a:ahLst/>
                  <a:cxnLst>
                    <a:cxn ang="0">
                      <a:pos x="T0" y="T1"/>
                    </a:cxn>
                    <a:cxn ang="0">
                      <a:pos x="T2" y="T3"/>
                    </a:cxn>
                    <a:cxn ang="0">
                      <a:pos x="T4" y="T5"/>
                    </a:cxn>
                    <a:cxn ang="0">
                      <a:pos x="T6" y="T7"/>
                    </a:cxn>
                    <a:cxn ang="0">
                      <a:pos x="T8" y="T9"/>
                    </a:cxn>
                    <a:cxn ang="0">
                      <a:pos x="T10" y="T11"/>
                    </a:cxn>
                  </a:cxnLst>
                  <a:rect l="0" t="0" r="r" b="b"/>
                  <a:pathLst>
                    <a:path w="8" h="10">
                      <a:moveTo>
                        <a:pt x="2" y="0"/>
                      </a:moveTo>
                      <a:cubicBezTo>
                        <a:pt x="2" y="0"/>
                        <a:pt x="1" y="1"/>
                        <a:pt x="0" y="1"/>
                      </a:cubicBezTo>
                      <a:cubicBezTo>
                        <a:pt x="2" y="4"/>
                        <a:pt x="5" y="7"/>
                        <a:pt x="8" y="10"/>
                      </a:cubicBezTo>
                      <a:cubicBezTo>
                        <a:pt x="8" y="8"/>
                        <a:pt x="8" y="6"/>
                        <a:pt x="7" y="5"/>
                      </a:cubicBezTo>
                      <a:cubicBezTo>
                        <a:pt x="7" y="3"/>
                        <a:pt x="6" y="4"/>
                        <a:pt x="5" y="3"/>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5" name="Freeform 145">
                  <a:extLst>
                    <a:ext uri="{FF2B5EF4-FFF2-40B4-BE49-F238E27FC236}">
                      <a16:creationId xmlns:a16="http://schemas.microsoft.com/office/drawing/2014/main" id="{BABE167C-01AF-4264-A45E-0122D4A32D05}"/>
                    </a:ext>
                  </a:extLst>
                </p:cNvPr>
                <p:cNvSpPr>
                  <a:spLocks/>
                </p:cNvSpPr>
                <p:nvPr/>
              </p:nvSpPr>
              <p:spPr bwMode="auto">
                <a:xfrm>
                  <a:off x="6419472" y="5214439"/>
                  <a:ext cx="158460" cy="114239"/>
                </a:xfrm>
                <a:custGeom>
                  <a:avLst/>
                  <a:gdLst>
                    <a:gd name="T0" fmla="*/ 11 w 50"/>
                    <a:gd name="T1" fmla="*/ 0 h 36"/>
                    <a:gd name="T2" fmla="*/ 0 w 50"/>
                    <a:gd name="T3" fmla="*/ 6 h 36"/>
                    <a:gd name="T4" fmla="*/ 5 w 50"/>
                    <a:gd name="T5" fmla="*/ 5 h 36"/>
                    <a:gd name="T6" fmla="*/ 8 w 50"/>
                    <a:gd name="T7" fmla="*/ 6 h 36"/>
                    <a:gd name="T8" fmla="*/ 22 w 50"/>
                    <a:gd name="T9" fmla="*/ 20 h 36"/>
                    <a:gd name="T10" fmla="*/ 27 w 50"/>
                    <a:gd name="T11" fmla="*/ 21 h 36"/>
                    <a:gd name="T12" fmla="*/ 28 w 50"/>
                    <a:gd name="T13" fmla="*/ 21 h 36"/>
                    <a:gd name="T14" fmla="*/ 30 w 50"/>
                    <a:gd name="T15" fmla="*/ 21 h 36"/>
                    <a:gd name="T16" fmla="*/ 32 w 50"/>
                    <a:gd name="T17" fmla="*/ 21 h 36"/>
                    <a:gd name="T18" fmla="*/ 37 w 50"/>
                    <a:gd name="T19" fmla="*/ 28 h 36"/>
                    <a:gd name="T20" fmla="*/ 47 w 50"/>
                    <a:gd name="T21" fmla="*/ 36 h 36"/>
                    <a:gd name="T22" fmla="*/ 49 w 50"/>
                    <a:gd name="T23" fmla="*/ 29 h 36"/>
                    <a:gd name="T24" fmla="*/ 46 w 50"/>
                    <a:gd name="T25" fmla="*/ 29 h 36"/>
                    <a:gd name="T26" fmla="*/ 39 w 50"/>
                    <a:gd name="T27" fmla="*/ 25 h 36"/>
                    <a:gd name="T28" fmla="*/ 38 w 50"/>
                    <a:gd name="T29" fmla="*/ 20 h 36"/>
                    <a:gd name="T30" fmla="*/ 38 w 50"/>
                    <a:gd name="T31" fmla="*/ 16 h 36"/>
                    <a:gd name="T32" fmla="*/ 36 w 50"/>
                    <a:gd name="T33" fmla="*/ 14 h 36"/>
                    <a:gd name="T34" fmla="*/ 35 w 50"/>
                    <a:gd name="T35" fmla="*/ 12 h 36"/>
                    <a:gd name="T36" fmla="*/ 33 w 50"/>
                    <a:gd name="T37" fmla="*/ 12 h 36"/>
                    <a:gd name="T38" fmla="*/ 31 w 50"/>
                    <a:gd name="T39" fmla="*/ 12 h 36"/>
                    <a:gd name="T40" fmla="*/ 30 w 50"/>
                    <a:gd name="T41" fmla="*/ 12 h 36"/>
                    <a:gd name="T42" fmla="*/ 29 w 50"/>
                    <a:gd name="T43" fmla="*/ 12 h 36"/>
                    <a:gd name="T44" fmla="*/ 24 w 50"/>
                    <a:gd name="T45" fmla="*/ 9 h 36"/>
                    <a:gd name="T46" fmla="*/ 19 w 50"/>
                    <a:gd name="T47" fmla="*/ 7 h 36"/>
                    <a:gd name="T48" fmla="*/ 12 w 50"/>
                    <a:gd name="T49" fmla="*/ 0 h 36"/>
                    <a:gd name="T50" fmla="*/ 11 w 50"/>
                    <a:gd name="T5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6">
                      <a:moveTo>
                        <a:pt x="11" y="0"/>
                      </a:moveTo>
                      <a:cubicBezTo>
                        <a:pt x="8" y="0"/>
                        <a:pt x="3" y="4"/>
                        <a:pt x="0" y="6"/>
                      </a:cubicBezTo>
                      <a:cubicBezTo>
                        <a:pt x="1" y="6"/>
                        <a:pt x="3" y="5"/>
                        <a:pt x="5" y="5"/>
                      </a:cubicBezTo>
                      <a:cubicBezTo>
                        <a:pt x="6" y="5"/>
                        <a:pt x="7" y="5"/>
                        <a:pt x="8" y="6"/>
                      </a:cubicBezTo>
                      <a:cubicBezTo>
                        <a:pt x="14" y="9"/>
                        <a:pt x="17" y="16"/>
                        <a:pt x="22" y="20"/>
                      </a:cubicBezTo>
                      <a:cubicBezTo>
                        <a:pt x="24" y="21"/>
                        <a:pt x="25" y="21"/>
                        <a:pt x="27" y="21"/>
                      </a:cubicBezTo>
                      <a:cubicBezTo>
                        <a:pt x="27" y="21"/>
                        <a:pt x="28" y="21"/>
                        <a:pt x="28" y="21"/>
                      </a:cubicBezTo>
                      <a:cubicBezTo>
                        <a:pt x="29" y="21"/>
                        <a:pt x="29" y="21"/>
                        <a:pt x="30" y="21"/>
                      </a:cubicBezTo>
                      <a:cubicBezTo>
                        <a:pt x="31" y="21"/>
                        <a:pt x="31" y="21"/>
                        <a:pt x="32" y="21"/>
                      </a:cubicBezTo>
                      <a:cubicBezTo>
                        <a:pt x="35" y="22"/>
                        <a:pt x="35" y="26"/>
                        <a:pt x="37" y="28"/>
                      </a:cubicBezTo>
                      <a:cubicBezTo>
                        <a:pt x="39" y="32"/>
                        <a:pt x="43" y="33"/>
                        <a:pt x="47" y="36"/>
                      </a:cubicBezTo>
                      <a:cubicBezTo>
                        <a:pt x="50" y="33"/>
                        <a:pt x="48" y="32"/>
                        <a:pt x="49" y="29"/>
                      </a:cubicBezTo>
                      <a:cubicBezTo>
                        <a:pt x="48" y="29"/>
                        <a:pt x="47" y="29"/>
                        <a:pt x="46" y="29"/>
                      </a:cubicBezTo>
                      <a:cubicBezTo>
                        <a:pt x="42" y="29"/>
                        <a:pt x="41" y="28"/>
                        <a:pt x="39" y="25"/>
                      </a:cubicBezTo>
                      <a:cubicBezTo>
                        <a:pt x="39" y="23"/>
                        <a:pt x="38" y="22"/>
                        <a:pt x="38" y="20"/>
                      </a:cubicBezTo>
                      <a:cubicBezTo>
                        <a:pt x="38" y="19"/>
                        <a:pt x="38" y="17"/>
                        <a:pt x="38" y="16"/>
                      </a:cubicBezTo>
                      <a:cubicBezTo>
                        <a:pt x="38" y="15"/>
                        <a:pt x="36" y="15"/>
                        <a:pt x="36" y="14"/>
                      </a:cubicBezTo>
                      <a:cubicBezTo>
                        <a:pt x="35" y="13"/>
                        <a:pt x="37" y="13"/>
                        <a:pt x="35" y="12"/>
                      </a:cubicBezTo>
                      <a:cubicBezTo>
                        <a:pt x="35" y="12"/>
                        <a:pt x="34" y="12"/>
                        <a:pt x="33" y="12"/>
                      </a:cubicBezTo>
                      <a:cubicBezTo>
                        <a:pt x="33" y="12"/>
                        <a:pt x="32" y="12"/>
                        <a:pt x="31" y="12"/>
                      </a:cubicBezTo>
                      <a:cubicBezTo>
                        <a:pt x="31" y="12"/>
                        <a:pt x="30" y="12"/>
                        <a:pt x="30" y="12"/>
                      </a:cubicBezTo>
                      <a:cubicBezTo>
                        <a:pt x="29" y="12"/>
                        <a:pt x="29" y="12"/>
                        <a:pt x="29" y="12"/>
                      </a:cubicBezTo>
                      <a:cubicBezTo>
                        <a:pt x="26" y="11"/>
                        <a:pt x="25" y="10"/>
                        <a:pt x="24" y="9"/>
                      </a:cubicBezTo>
                      <a:cubicBezTo>
                        <a:pt x="22" y="8"/>
                        <a:pt x="21" y="9"/>
                        <a:pt x="19" y="7"/>
                      </a:cubicBezTo>
                      <a:cubicBezTo>
                        <a:pt x="16" y="5"/>
                        <a:pt x="16" y="0"/>
                        <a:pt x="12"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6" name="Freeform 146">
                  <a:extLst>
                    <a:ext uri="{FF2B5EF4-FFF2-40B4-BE49-F238E27FC236}">
                      <a16:creationId xmlns:a16="http://schemas.microsoft.com/office/drawing/2014/main" id="{BB35E496-4D25-4B3D-9B2B-8957D2CEC793}"/>
                    </a:ext>
                  </a:extLst>
                </p:cNvPr>
                <p:cNvSpPr>
                  <a:spLocks/>
                </p:cNvSpPr>
                <p:nvPr/>
              </p:nvSpPr>
              <p:spPr bwMode="auto">
                <a:xfrm>
                  <a:off x="6754817" y="5339733"/>
                  <a:ext cx="44221" cy="18426"/>
                </a:xfrm>
                <a:custGeom>
                  <a:avLst/>
                  <a:gdLst>
                    <a:gd name="T0" fmla="*/ 6 w 14"/>
                    <a:gd name="T1" fmla="*/ 0 h 6"/>
                    <a:gd name="T2" fmla="*/ 0 w 14"/>
                    <a:gd name="T3" fmla="*/ 2 h 6"/>
                    <a:gd name="T4" fmla="*/ 6 w 14"/>
                    <a:gd name="T5" fmla="*/ 6 h 6"/>
                    <a:gd name="T6" fmla="*/ 13 w 14"/>
                    <a:gd name="T7" fmla="*/ 2 h 6"/>
                    <a:gd name="T8" fmla="*/ 6 w 14"/>
                    <a:gd name="T9" fmla="*/ 0 h 6"/>
                  </a:gdLst>
                  <a:ahLst/>
                  <a:cxnLst>
                    <a:cxn ang="0">
                      <a:pos x="T0" y="T1"/>
                    </a:cxn>
                    <a:cxn ang="0">
                      <a:pos x="T2" y="T3"/>
                    </a:cxn>
                    <a:cxn ang="0">
                      <a:pos x="T4" y="T5"/>
                    </a:cxn>
                    <a:cxn ang="0">
                      <a:pos x="T6" y="T7"/>
                    </a:cxn>
                    <a:cxn ang="0">
                      <a:pos x="T8" y="T9"/>
                    </a:cxn>
                  </a:cxnLst>
                  <a:rect l="0" t="0" r="r" b="b"/>
                  <a:pathLst>
                    <a:path w="14" h="6">
                      <a:moveTo>
                        <a:pt x="6" y="0"/>
                      </a:moveTo>
                      <a:cubicBezTo>
                        <a:pt x="4" y="0"/>
                        <a:pt x="2" y="1"/>
                        <a:pt x="0" y="2"/>
                      </a:cubicBezTo>
                      <a:cubicBezTo>
                        <a:pt x="2" y="4"/>
                        <a:pt x="4" y="5"/>
                        <a:pt x="6" y="6"/>
                      </a:cubicBezTo>
                      <a:cubicBezTo>
                        <a:pt x="9" y="5"/>
                        <a:pt x="14" y="4"/>
                        <a:pt x="13" y="2"/>
                      </a:cubicBezTo>
                      <a:cubicBezTo>
                        <a:pt x="11"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7" name="Freeform 147">
                  <a:extLst>
                    <a:ext uri="{FF2B5EF4-FFF2-40B4-BE49-F238E27FC236}">
                      <a16:creationId xmlns:a16="http://schemas.microsoft.com/office/drawing/2014/main" id="{1F8EA7FA-C088-4699-827A-5473B45E1870}"/>
                    </a:ext>
                  </a:extLst>
                </p:cNvPr>
                <p:cNvSpPr>
                  <a:spLocks/>
                </p:cNvSpPr>
                <p:nvPr/>
              </p:nvSpPr>
              <p:spPr bwMode="auto">
                <a:xfrm>
                  <a:off x="6471063" y="5347103"/>
                  <a:ext cx="11055" cy="7370"/>
                </a:xfrm>
                <a:custGeom>
                  <a:avLst/>
                  <a:gdLst>
                    <a:gd name="T0" fmla="*/ 2 w 3"/>
                    <a:gd name="T1" fmla="*/ 0 h 3"/>
                    <a:gd name="T2" fmla="*/ 0 w 3"/>
                    <a:gd name="T3" fmla="*/ 0 h 3"/>
                    <a:gd name="T4" fmla="*/ 1 w 3"/>
                    <a:gd name="T5" fmla="*/ 3 h 3"/>
                    <a:gd name="T6" fmla="*/ 3 w 3"/>
                    <a:gd name="T7" fmla="*/ 0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1" y="0"/>
                        <a:pt x="0" y="0"/>
                        <a:pt x="0" y="0"/>
                      </a:cubicBezTo>
                      <a:cubicBezTo>
                        <a:pt x="0" y="1"/>
                        <a:pt x="0" y="2"/>
                        <a:pt x="1" y="3"/>
                      </a:cubicBezTo>
                      <a:cubicBezTo>
                        <a:pt x="2" y="2"/>
                        <a:pt x="2"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8" name="Freeform 148">
                  <a:extLst>
                    <a:ext uri="{FF2B5EF4-FFF2-40B4-BE49-F238E27FC236}">
                      <a16:creationId xmlns:a16="http://schemas.microsoft.com/office/drawing/2014/main" id="{C226CD6F-9277-47F4-9449-7970E83D47DB}"/>
                    </a:ext>
                  </a:extLst>
                </p:cNvPr>
                <p:cNvSpPr>
                  <a:spLocks/>
                </p:cNvSpPr>
                <p:nvPr/>
              </p:nvSpPr>
              <p:spPr bwMode="auto">
                <a:xfrm>
                  <a:off x="6795353" y="5546100"/>
                  <a:ext cx="18426" cy="44221"/>
                </a:xfrm>
                <a:custGeom>
                  <a:avLst/>
                  <a:gdLst>
                    <a:gd name="T0" fmla="*/ 5 w 5"/>
                    <a:gd name="T1" fmla="*/ 0 h 14"/>
                    <a:gd name="T2" fmla="*/ 3 w 5"/>
                    <a:gd name="T3" fmla="*/ 14 h 14"/>
                    <a:gd name="T4" fmla="*/ 5 w 5"/>
                    <a:gd name="T5" fmla="*/ 9 h 14"/>
                    <a:gd name="T6" fmla="*/ 3 w 5"/>
                    <a:gd name="T7" fmla="*/ 7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cubicBezTo>
                        <a:pt x="1" y="6"/>
                        <a:pt x="0" y="7"/>
                        <a:pt x="3" y="14"/>
                      </a:cubicBezTo>
                      <a:cubicBezTo>
                        <a:pt x="4" y="10"/>
                        <a:pt x="5" y="13"/>
                        <a:pt x="5" y="9"/>
                      </a:cubicBezTo>
                      <a:cubicBezTo>
                        <a:pt x="4" y="8"/>
                        <a:pt x="3" y="7"/>
                        <a:pt x="3" y="7"/>
                      </a:cubicBezTo>
                      <a:cubicBezTo>
                        <a:pt x="3" y="5"/>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9" name="Freeform 149">
                  <a:extLst>
                    <a:ext uri="{FF2B5EF4-FFF2-40B4-BE49-F238E27FC236}">
                      <a16:creationId xmlns:a16="http://schemas.microsoft.com/office/drawing/2014/main" id="{9E4FD815-EC66-4FD8-BA4E-635C73D13F3F}"/>
                    </a:ext>
                  </a:extLst>
                </p:cNvPr>
                <p:cNvSpPr>
                  <a:spLocks/>
                </p:cNvSpPr>
                <p:nvPr/>
              </p:nvSpPr>
              <p:spPr bwMode="auto">
                <a:xfrm>
                  <a:off x="6552136" y="5450287"/>
                  <a:ext cx="22111" cy="14740"/>
                </a:xfrm>
                <a:custGeom>
                  <a:avLst/>
                  <a:gdLst>
                    <a:gd name="T0" fmla="*/ 6 w 7"/>
                    <a:gd name="T1" fmla="*/ 0 h 4"/>
                    <a:gd name="T2" fmla="*/ 0 w 7"/>
                    <a:gd name="T3" fmla="*/ 3 h 4"/>
                    <a:gd name="T4" fmla="*/ 6 w 7"/>
                    <a:gd name="T5" fmla="*/ 0 h 4"/>
                  </a:gdLst>
                  <a:ahLst/>
                  <a:cxnLst>
                    <a:cxn ang="0">
                      <a:pos x="T0" y="T1"/>
                    </a:cxn>
                    <a:cxn ang="0">
                      <a:pos x="T2" y="T3"/>
                    </a:cxn>
                    <a:cxn ang="0">
                      <a:pos x="T4" y="T5"/>
                    </a:cxn>
                  </a:cxnLst>
                  <a:rect l="0" t="0" r="r" b="b"/>
                  <a:pathLst>
                    <a:path w="7" h="4">
                      <a:moveTo>
                        <a:pt x="6" y="0"/>
                      </a:moveTo>
                      <a:cubicBezTo>
                        <a:pt x="4" y="1"/>
                        <a:pt x="2" y="2"/>
                        <a:pt x="0" y="3"/>
                      </a:cubicBezTo>
                      <a:cubicBezTo>
                        <a:pt x="2" y="3"/>
                        <a:pt x="7"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0" name="Freeform 150">
                  <a:extLst>
                    <a:ext uri="{FF2B5EF4-FFF2-40B4-BE49-F238E27FC236}">
                      <a16:creationId xmlns:a16="http://schemas.microsoft.com/office/drawing/2014/main" id="{44BF63ED-F3D7-44B8-9DDE-CDB58F24B344}"/>
                    </a:ext>
                  </a:extLst>
                </p:cNvPr>
                <p:cNvSpPr>
                  <a:spLocks/>
                </p:cNvSpPr>
                <p:nvPr/>
              </p:nvSpPr>
              <p:spPr bwMode="auto">
                <a:xfrm>
                  <a:off x="6419472" y="5490823"/>
                  <a:ext cx="14740" cy="25796"/>
                </a:xfrm>
                <a:custGeom>
                  <a:avLst/>
                  <a:gdLst>
                    <a:gd name="T0" fmla="*/ 3 w 5"/>
                    <a:gd name="T1" fmla="*/ 0 h 8"/>
                    <a:gd name="T2" fmla="*/ 5 w 5"/>
                    <a:gd name="T3" fmla="*/ 8 h 8"/>
                    <a:gd name="T4" fmla="*/ 3 w 5"/>
                    <a:gd name="T5" fmla="*/ 0 h 8"/>
                  </a:gdLst>
                  <a:ahLst/>
                  <a:cxnLst>
                    <a:cxn ang="0">
                      <a:pos x="T0" y="T1"/>
                    </a:cxn>
                    <a:cxn ang="0">
                      <a:pos x="T2" y="T3"/>
                    </a:cxn>
                    <a:cxn ang="0">
                      <a:pos x="T4" y="T5"/>
                    </a:cxn>
                  </a:cxnLst>
                  <a:rect l="0" t="0" r="r" b="b"/>
                  <a:pathLst>
                    <a:path w="5" h="8">
                      <a:moveTo>
                        <a:pt x="3" y="0"/>
                      </a:moveTo>
                      <a:cubicBezTo>
                        <a:pt x="2" y="4"/>
                        <a:pt x="0" y="8"/>
                        <a:pt x="5" y="8"/>
                      </a:cubicBezTo>
                      <a:cubicBezTo>
                        <a:pt x="5" y="5"/>
                        <a:pt x="4"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1" name="Freeform 151">
                  <a:extLst>
                    <a:ext uri="{FF2B5EF4-FFF2-40B4-BE49-F238E27FC236}">
                      <a16:creationId xmlns:a16="http://schemas.microsoft.com/office/drawing/2014/main" id="{0934FC0E-8B9D-48AD-AD6A-E96E0072D851}"/>
                    </a:ext>
                  </a:extLst>
                </p:cNvPr>
                <p:cNvSpPr>
                  <a:spLocks/>
                </p:cNvSpPr>
                <p:nvPr/>
              </p:nvSpPr>
              <p:spPr bwMode="auto">
                <a:xfrm>
                  <a:off x="6216790" y="5332363"/>
                  <a:ext cx="33166" cy="25796"/>
                </a:xfrm>
                <a:custGeom>
                  <a:avLst/>
                  <a:gdLst>
                    <a:gd name="T0" fmla="*/ 3 w 11"/>
                    <a:gd name="T1" fmla="*/ 0 h 9"/>
                    <a:gd name="T2" fmla="*/ 6 w 11"/>
                    <a:gd name="T3" fmla="*/ 9 h 9"/>
                    <a:gd name="T4" fmla="*/ 9 w 11"/>
                    <a:gd name="T5" fmla="*/ 6 h 9"/>
                    <a:gd name="T6" fmla="*/ 11 w 11"/>
                    <a:gd name="T7" fmla="*/ 7 h 9"/>
                    <a:gd name="T8" fmla="*/ 4 w 11"/>
                    <a:gd name="T9" fmla="*/ 2 h 9"/>
                    <a:gd name="T10" fmla="*/ 3 w 11"/>
                    <a:gd name="T11" fmla="*/ 0 h 9"/>
                  </a:gdLst>
                  <a:ahLst/>
                  <a:cxnLst>
                    <a:cxn ang="0">
                      <a:pos x="T0" y="T1"/>
                    </a:cxn>
                    <a:cxn ang="0">
                      <a:pos x="T2" y="T3"/>
                    </a:cxn>
                    <a:cxn ang="0">
                      <a:pos x="T4" y="T5"/>
                    </a:cxn>
                    <a:cxn ang="0">
                      <a:pos x="T6" y="T7"/>
                    </a:cxn>
                    <a:cxn ang="0">
                      <a:pos x="T8" y="T9"/>
                    </a:cxn>
                    <a:cxn ang="0">
                      <a:pos x="T10" y="T11"/>
                    </a:cxn>
                  </a:cxnLst>
                  <a:rect l="0" t="0" r="r" b="b"/>
                  <a:pathLst>
                    <a:path w="11" h="9">
                      <a:moveTo>
                        <a:pt x="3" y="0"/>
                      </a:moveTo>
                      <a:cubicBezTo>
                        <a:pt x="0" y="0"/>
                        <a:pt x="5" y="7"/>
                        <a:pt x="6" y="9"/>
                      </a:cubicBezTo>
                      <a:cubicBezTo>
                        <a:pt x="7" y="7"/>
                        <a:pt x="8" y="6"/>
                        <a:pt x="9" y="6"/>
                      </a:cubicBezTo>
                      <a:cubicBezTo>
                        <a:pt x="10" y="6"/>
                        <a:pt x="10" y="6"/>
                        <a:pt x="11" y="7"/>
                      </a:cubicBezTo>
                      <a:cubicBezTo>
                        <a:pt x="8" y="4"/>
                        <a:pt x="7" y="4"/>
                        <a:pt x="4" y="2"/>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2" name="Freeform 152">
                  <a:extLst>
                    <a:ext uri="{FF2B5EF4-FFF2-40B4-BE49-F238E27FC236}">
                      <a16:creationId xmlns:a16="http://schemas.microsoft.com/office/drawing/2014/main" id="{8F74BAAD-9AD4-4352-95A0-78ECB509BA0E}"/>
                    </a:ext>
                  </a:extLst>
                </p:cNvPr>
                <p:cNvSpPr>
                  <a:spLocks/>
                </p:cNvSpPr>
                <p:nvPr/>
              </p:nvSpPr>
              <p:spPr bwMode="auto">
                <a:xfrm>
                  <a:off x="6563191" y="5026498"/>
                  <a:ext cx="33166" cy="22111"/>
                </a:xfrm>
                <a:custGeom>
                  <a:avLst/>
                  <a:gdLst>
                    <a:gd name="T0" fmla="*/ 5 w 10"/>
                    <a:gd name="T1" fmla="*/ 0 h 7"/>
                    <a:gd name="T2" fmla="*/ 3 w 10"/>
                    <a:gd name="T3" fmla="*/ 1 h 7"/>
                    <a:gd name="T4" fmla="*/ 5 w 10"/>
                    <a:gd name="T5" fmla="*/ 7 h 7"/>
                    <a:gd name="T6" fmla="*/ 9 w 10"/>
                    <a:gd name="T7" fmla="*/ 2 h 7"/>
                    <a:gd name="T8" fmla="*/ 5 w 10"/>
                    <a:gd name="T9" fmla="*/ 0 h 7"/>
                  </a:gdLst>
                  <a:ahLst/>
                  <a:cxnLst>
                    <a:cxn ang="0">
                      <a:pos x="T0" y="T1"/>
                    </a:cxn>
                    <a:cxn ang="0">
                      <a:pos x="T2" y="T3"/>
                    </a:cxn>
                    <a:cxn ang="0">
                      <a:pos x="T4" y="T5"/>
                    </a:cxn>
                    <a:cxn ang="0">
                      <a:pos x="T6" y="T7"/>
                    </a:cxn>
                    <a:cxn ang="0">
                      <a:pos x="T8" y="T9"/>
                    </a:cxn>
                  </a:cxnLst>
                  <a:rect l="0" t="0" r="r" b="b"/>
                  <a:pathLst>
                    <a:path w="10" h="7">
                      <a:moveTo>
                        <a:pt x="5" y="0"/>
                      </a:moveTo>
                      <a:cubicBezTo>
                        <a:pt x="4" y="0"/>
                        <a:pt x="3" y="1"/>
                        <a:pt x="3" y="1"/>
                      </a:cubicBezTo>
                      <a:cubicBezTo>
                        <a:pt x="0" y="3"/>
                        <a:pt x="3" y="5"/>
                        <a:pt x="5" y="7"/>
                      </a:cubicBezTo>
                      <a:cubicBezTo>
                        <a:pt x="7" y="6"/>
                        <a:pt x="10" y="4"/>
                        <a:pt x="9" y="2"/>
                      </a:cubicBezTo>
                      <a:cubicBezTo>
                        <a:pt x="8"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3" name="Freeform 153">
                  <a:extLst>
                    <a:ext uri="{FF2B5EF4-FFF2-40B4-BE49-F238E27FC236}">
                      <a16:creationId xmlns:a16="http://schemas.microsoft.com/office/drawing/2014/main" id="{232D47D8-2EC3-4420-9CC8-0B4F005C99BD}"/>
                    </a:ext>
                  </a:extLst>
                </p:cNvPr>
                <p:cNvSpPr>
                  <a:spLocks/>
                </p:cNvSpPr>
                <p:nvPr/>
              </p:nvSpPr>
              <p:spPr bwMode="auto">
                <a:xfrm>
                  <a:off x="6559506" y="5376584"/>
                  <a:ext cx="3685" cy="11055"/>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4" name="Freeform 154">
                  <a:extLst>
                    <a:ext uri="{FF2B5EF4-FFF2-40B4-BE49-F238E27FC236}">
                      <a16:creationId xmlns:a16="http://schemas.microsoft.com/office/drawing/2014/main" id="{6EC0E520-B832-4805-97B9-DDE06525BFF7}"/>
                    </a:ext>
                  </a:extLst>
                </p:cNvPr>
                <p:cNvSpPr>
                  <a:spLocks/>
                </p:cNvSpPr>
                <p:nvPr/>
              </p:nvSpPr>
              <p:spPr bwMode="auto">
                <a:xfrm>
                  <a:off x="6780613" y="5417121"/>
                  <a:ext cx="18426" cy="14740"/>
                </a:xfrm>
                <a:custGeom>
                  <a:avLst/>
                  <a:gdLst>
                    <a:gd name="T0" fmla="*/ 0 w 6"/>
                    <a:gd name="T1" fmla="*/ 0 h 5"/>
                    <a:gd name="T2" fmla="*/ 3 w 6"/>
                    <a:gd name="T3" fmla="*/ 5 h 5"/>
                    <a:gd name="T4" fmla="*/ 0 w 6"/>
                    <a:gd name="T5" fmla="*/ 0 h 5"/>
                  </a:gdLst>
                  <a:ahLst/>
                  <a:cxnLst>
                    <a:cxn ang="0">
                      <a:pos x="T0" y="T1"/>
                    </a:cxn>
                    <a:cxn ang="0">
                      <a:pos x="T2" y="T3"/>
                    </a:cxn>
                    <a:cxn ang="0">
                      <a:pos x="T4" y="T5"/>
                    </a:cxn>
                  </a:cxnLst>
                  <a:rect l="0" t="0" r="r" b="b"/>
                  <a:pathLst>
                    <a:path w="6" h="5">
                      <a:moveTo>
                        <a:pt x="0" y="0"/>
                      </a:moveTo>
                      <a:cubicBezTo>
                        <a:pt x="1" y="2"/>
                        <a:pt x="2" y="4"/>
                        <a:pt x="3" y="5"/>
                      </a:cubicBezTo>
                      <a:cubicBezTo>
                        <a:pt x="6"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5" name="Freeform 155">
                  <a:extLst>
                    <a:ext uri="{FF2B5EF4-FFF2-40B4-BE49-F238E27FC236}">
                      <a16:creationId xmlns:a16="http://schemas.microsoft.com/office/drawing/2014/main" id="{644E2518-5A6D-47AC-9A52-89F7D3183BBA}"/>
                    </a:ext>
                  </a:extLst>
                </p:cNvPr>
                <p:cNvSpPr>
                  <a:spLocks/>
                </p:cNvSpPr>
                <p:nvPr/>
              </p:nvSpPr>
              <p:spPr bwMode="auto">
                <a:xfrm>
                  <a:off x="6544766" y="5354474"/>
                  <a:ext cx="14740" cy="18426"/>
                </a:xfrm>
                <a:custGeom>
                  <a:avLst/>
                  <a:gdLst>
                    <a:gd name="T0" fmla="*/ 4 w 4"/>
                    <a:gd name="T1" fmla="*/ 0 h 5"/>
                    <a:gd name="T2" fmla="*/ 0 w 4"/>
                    <a:gd name="T3" fmla="*/ 5 h 5"/>
                    <a:gd name="T4" fmla="*/ 4 w 4"/>
                    <a:gd name="T5" fmla="*/ 0 h 5"/>
                  </a:gdLst>
                  <a:ahLst/>
                  <a:cxnLst>
                    <a:cxn ang="0">
                      <a:pos x="T0" y="T1"/>
                    </a:cxn>
                    <a:cxn ang="0">
                      <a:pos x="T2" y="T3"/>
                    </a:cxn>
                    <a:cxn ang="0">
                      <a:pos x="T4" y="T5"/>
                    </a:cxn>
                  </a:cxnLst>
                  <a:rect l="0" t="0" r="r" b="b"/>
                  <a:pathLst>
                    <a:path w="4" h="5">
                      <a:moveTo>
                        <a:pt x="4" y="0"/>
                      </a:moveTo>
                      <a:cubicBezTo>
                        <a:pt x="2" y="1"/>
                        <a:pt x="1" y="3"/>
                        <a:pt x="0" y="5"/>
                      </a:cubicBezTo>
                      <a:cubicBezTo>
                        <a:pt x="2" y="4"/>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6" name="Freeform 156">
                  <a:extLst>
                    <a:ext uri="{FF2B5EF4-FFF2-40B4-BE49-F238E27FC236}">
                      <a16:creationId xmlns:a16="http://schemas.microsoft.com/office/drawing/2014/main" id="{9F1BDBD3-1C8B-4683-AE5B-B70C53C6F42D}"/>
                    </a:ext>
                  </a:extLst>
                </p:cNvPr>
                <p:cNvSpPr>
                  <a:spLocks/>
                </p:cNvSpPr>
                <p:nvPr/>
              </p:nvSpPr>
              <p:spPr bwMode="auto">
                <a:xfrm>
                  <a:off x="6190994" y="5273401"/>
                  <a:ext cx="40536" cy="40536"/>
                </a:xfrm>
                <a:custGeom>
                  <a:avLst/>
                  <a:gdLst>
                    <a:gd name="T0" fmla="*/ 7 w 13"/>
                    <a:gd name="T1" fmla="*/ 0 h 13"/>
                    <a:gd name="T2" fmla="*/ 4 w 13"/>
                    <a:gd name="T3" fmla="*/ 5 h 13"/>
                    <a:gd name="T4" fmla="*/ 0 w 13"/>
                    <a:gd name="T5" fmla="*/ 9 h 13"/>
                    <a:gd name="T6" fmla="*/ 1 w 13"/>
                    <a:gd name="T7" fmla="*/ 9 h 13"/>
                    <a:gd name="T8" fmla="*/ 2 w 13"/>
                    <a:gd name="T9" fmla="*/ 9 h 13"/>
                    <a:gd name="T10" fmla="*/ 3 w 13"/>
                    <a:gd name="T11" fmla="*/ 9 h 13"/>
                    <a:gd name="T12" fmla="*/ 5 w 13"/>
                    <a:gd name="T13" fmla="*/ 9 h 13"/>
                    <a:gd name="T14" fmla="*/ 5 w 13"/>
                    <a:gd name="T15" fmla="*/ 11 h 13"/>
                    <a:gd name="T16" fmla="*/ 6 w 13"/>
                    <a:gd name="T17" fmla="*/ 11 h 13"/>
                    <a:gd name="T18" fmla="*/ 7 w 13"/>
                    <a:gd name="T19" fmla="*/ 11 h 13"/>
                    <a:gd name="T20" fmla="*/ 7 w 13"/>
                    <a:gd name="T21" fmla="*/ 11 h 13"/>
                    <a:gd name="T22" fmla="*/ 8 w 13"/>
                    <a:gd name="T23" fmla="*/ 11 h 13"/>
                    <a:gd name="T24" fmla="*/ 13 w 13"/>
                    <a:gd name="T25" fmla="*/ 13 h 13"/>
                    <a:gd name="T26" fmla="*/ 13 w 13"/>
                    <a:gd name="T27" fmla="*/ 13 h 13"/>
                    <a:gd name="T28" fmla="*/ 7 w 13"/>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3">
                      <a:moveTo>
                        <a:pt x="7" y="0"/>
                      </a:moveTo>
                      <a:cubicBezTo>
                        <a:pt x="6" y="1"/>
                        <a:pt x="5" y="3"/>
                        <a:pt x="4" y="5"/>
                      </a:cubicBezTo>
                      <a:cubicBezTo>
                        <a:pt x="2" y="6"/>
                        <a:pt x="0" y="6"/>
                        <a:pt x="0" y="9"/>
                      </a:cubicBezTo>
                      <a:cubicBezTo>
                        <a:pt x="0" y="9"/>
                        <a:pt x="1" y="9"/>
                        <a:pt x="1" y="9"/>
                      </a:cubicBezTo>
                      <a:cubicBezTo>
                        <a:pt x="1" y="9"/>
                        <a:pt x="1" y="9"/>
                        <a:pt x="2" y="9"/>
                      </a:cubicBezTo>
                      <a:cubicBezTo>
                        <a:pt x="2" y="9"/>
                        <a:pt x="3" y="9"/>
                        <a:pt x="3" y="9"/>
                      </a:cubicBezTo>
                      <a:cubicBezTo>
                        <a:pt x="4" y="9"/>
                        <a:pt x="4" y="9"/>
                        <a:pt x="5" y="9"/>
                      </a:cubicBezTo>
                      <a:cubicBezTo>
                        <a:pt x="5" y="9"/>
                        <a:pt x="4" y="11"/>
                        <a:pt x="5" y="11"/>
                      </a:cubicBezTo>
                      <a:cubicBezTo>
                        <a:pt x="5" y="11"/>
                        <a:pt x="6" y="11"/>
                        <a:pt x="6" y="11"/>
                      </a:cubicBezTo>
                      <a:cubicBezTo>
                        <a:pt x="6" y="11"/>
                        <a:pt x="6" y="11"/>
                        <a:pt x="7" y="11"/>
                      </a:cubicBezTo>
                      <a:cubicBezTo>
                        <a:pt x="7" y="11"/>
                        <a:pt x="7" y="11"/>
                        <a:pt x="7" y="11"/>
                      </a:cubicBezTo>
                      <a:cubicBezTo>
                        <a:pt x="7" y="11"/>
                        <a:pt x="7" y="11"/>
                        <a:pt x="8" y="11"/>
                      </a:cubicBezTo>
                      <a:cubicBezTo>
                        <a:pt x="9" y="12"/>
                        <a:pt x="11" y="13"/>
                        <a:pt x="13" y="13"/>
                      </a:cubicBezTo>
                      <a:cubicBezTo>
                        <a:pt x="13" y="13"/>
                        <a:pt x="13" y="13"/>
                        <a:pt x="13" y="13"/>
                      </a:cubicBezTo>
                      <a:cubicBezTo>
                        <a:pt x="11" y="9"/>
                        <a:pt x="9"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7" name="Freeform 157">
                  <a:extLst>
                    <a:ext uri="{FF2B5EF4-FFF2-40B4-BE49-F238E27FC236}">
                      <a16:creationId xmlns:a16="http://schemas.microsoft.com/office/drawing/2014/main" id="{7AA5968F-957A-43B4-B8F4-597FE360A705}"/>
                    </a:ext>
                  </a:extLst>
                </p:cNvPr>
                <p:cNvSpPr>
                  <a:spLocks/>
                </p:cNvSpPr>
                <p:nvPr/>
              </p:nvSpPr>
              <p:spPr bwMode="auto">
                <a:xfrm>
                  <a:off x="6644264" y="5376584"/>
                  <a:ext cx="11055" cy="7370"/>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0"/>
                        <a:pt x="1" y="1"/>
                        <a:pt x="0" y="2"/>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8" name="Freeform 158">
                  <a:extLst>
                    <a:ext uri="{FF2B5EF4-FFF2-40B4-BE49-F238E27FC236}">
                      <a16:creationId xmlns:a16="http://schemas.microsoft.com/office/drawing/2014/main" id="{6B11A97A-EDB9-4243-ACE5-4BC747AEB909}"/>
                    </a:ext>
                  </a:extLst>
                </p:cNvPr>
                <p:cNvSpPr>
                  <a:spLocks/>
                </p:cNvSpPr>
                <p:nvPr/>
              </p:nvSpPr>
              <p:spPr bwMode="auto">
                <a:xfrm>
                  <a:off x="6791668" y="5439231"/>
                  <a:ext cx="33166" cy="14740"/>
                </a:xfrm>
                <a:custGeom>
                  <a:avLst/>
                  <a:gdLst>
                    <a:gd name="T0" fmla="*/ 7 w 11"/>
                    <a:gd name="T1" fmla="*/ 0 h 5"/>
                    <a:gd name="T2" fmla="*/ 0 w 11"/>
                    <a:gd name="T3" fmla="*/ 5 h 5"/>
                    <a:gd name="T4" fmla="*/ 11 w 11"/>
                    <a:gd name="T5" fmla="*/ 0 h 5"/>
                    <a:gd name="T6" fmla="*/ 7 w 11"/>
                    <a:gd name="T7" fmla="*/ 0 h 5"/>
                  </a:gdLst>
                  <a:ahLst/>
                  <a:cxnLst>
                    <a:cxn ang="0">
                      <a:pos x="T0" y="T1"/>
                    </a:cxn>
                    <a:cxn ang="0">
                      <a:pos x="T2" y="T3"/>
                    </a:cxn>
                    <a:cxn ang="0">
                      <a:pos x="T4" y="T5"/>
                    </a:cxn>
                    <a:cxn ang="0">
                      <a:pos x="T6" y="T7"/>
                    </a:cxn>
                  </a:cxnLst>
                  <a:rect l="0" t="0" r="r" b="b"/>
                  <a:pathLst>
                    <a:path w="11" h="5">
                      <a:moveTo>
                        <a:pt x="7" y="0"/>
                      </a:moveTo>
                      <a:cubicBezTo>
                        <a:pt x="4" y="0"/>
                        <a:pt x="2" y="2"/>
                        <a:pt x="0" y="5"/>
                      </a:cubicBezTo>
                      <a:cubicBezTo>
                        <a:pt x="3" y="2"/>
                        <a:pt x="8" y="3"/>
                        <a:pt x="11" y="0"/>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9" name="Freeform 159">
                  <a:extLst>
                    <a:ext uri="{FF2B5EF4-FFF2-40B4-BE49-F238E27FC236}">
                      <a16:creationId xmlns:a16="http://schemas.microsoft.com/office/drawing/2014/main" id="{3B42D202-6A29-4296-9100-F2DC70A9BEAC}"/>
                    </a:ext>
                  </a:extLst>
                </p:cNvPr>
                <p:cNvSpPr>
                  <a:spLocks/>
                </p:cNvSpPr>
                <p:nvPr/>
              </p:nvSpPr>
              <p:spPr bwMode="auto">
                <a:xfrm>
                  <a:off x="6865371" y="5465027"/>
                  <a:ext cx="3685" cy="7370"/>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0" name="Freeform 160">
                  <a:extLst>
                    <a:ext uri="{FF2B5EF4-FFF2-40B4-BE49-F238E27FC236}">
                      <a16:creationId xmlns:a16="http://schemas.microsoft.com/office/drawing/2014/main" id="{39FD81E7-30F2-4D4C-82E4-657267AD54F4}"/>
                    </a:ext>
                  </a:extLst>
                </p:cNvPr>
                <p:cNvSpPr>
                  <a:spLocks/>
                </p:cNvSpPr>
                <p:nvPr/>
              </p:nvSpPr>
              <p:spPr bwMode="auto">
                <a:xfrm>
                  <a:off x="6209420" y="5232865"/>
                  <a:ext cx="18426" cy="29481"/>
                </a:xfrm>
                <a:custGeom>
                  <a:avLst/>
                  <a:gdLst>
                    <a:gd name="T0" fmla="*/ 5 w 6"/>
                    <a:gd name="T1" fmla="*/ 0 h 9"/>
                    <a:gd name="T2" fmla="*/ 0 w 6"/>
                    <a:gd name="T3" fmla="*/ 9 h 9"/>
                    <a:gd name="T4" fmla="*/ 5 w 6"/>
                    <a:gd name="T5" fmla="*/ 0 h 9"/>
                  </a:gdLst>
                  <a:ahLst/>
                  <a:cxnLst>
                    <a:cxn ang="0">
                      <a:pos x="T0" y="T1"/>
                    </a:cxn>
                    <a:cxn ang="0">
                      <a:pos x="T2" y="T3"/>
                    </a:cxn>
                    <a:cxn ang="0">
                      <a:pos x="T4" y="T5"/>
                    </a:cxn>
                  </a:cxnLst>
                  <a:rect l="0" t="0" r="r" b="b"/>
                  <a:pathLst>
                    <a:path w="6" h="9">
                      <a:moveTo>
                        <a:pt x="5" y="0"/>
                      </a:moveTo>
                      <a:cubicBezTo>
                        <a:pt x="0" y="2"/>
                        <a:pt x="1" y="6"/>
                        <a:pt x="0" y="9"/>
                      </a:cubicBezTo>
                      <a:cubicBezTo>
                        <a:pt x="6" y="8"/>
                        <a:pt x="5" y="6"/>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1" name="Freeform 161">
                  <a:extLst>
                    <a:ext uri="{FF2B5EF4-FFF2-40B4-BE49-F238E27FC236}">
                      <a16:creationId xmlns:a16="http://schemas.microsoft.com/office/drawing/2014/main" id="{71D88BA3-99DC-4C44-A002-7663BB8CA3CC}"/>
                    </a:ext>
                  </a:extLst>
                </p:cNvPr>
                <p:cNvSpPr>
                  <a:spLocks/>
                </p:cNvSpPr>
                <p:nvPr/>
              </p:nvSpPr>
              <p:spPr bwMode="auto">
                <a:xfrm>
                  <a:off x="6563191" y="5218124"/>
                  <a:ext cx="22111" cy="22111"/>
                </a:xfrm>
                <a:custGeom>
                  <a:avLst/>
                  <a:gdLst>
                    <a:gd name="T0" fmla="*/ 0 w 7"/>
                    <a:gd name="T1" fmla="*/ 0 h 7"/>
                    <a:gd name="T2" fmla="*/ 2 w 7"/>
                    <a:gd name="T3" fmla="*/ 7 h 7"/>
                    <a:gd name="T4" fmla="*/ 4 w 7"/>
                    <a:gd name="T5" fmla="*/ 7 h 7"/>
                    <a:gd name="T6" fmla="*/ 3 w 7"/>
                    <a:gd name="T7" fmla="*/ 4 h 7"/>
                    <a:gd name="T8" fmla="*/ 3 w 7"/>
                    <a:gd name="T9" fmla="*/ 2 h 7"/>
                    <a:gd name="T10" fmla="*/ 0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0" y="0"/>
                      </a:moveTo>
                      <a:cubicBezTo>
                        <a:pt x="1" y="2"/>
                        <a:pt x="2" y="5"/>
                        <a:pt x="2" y="7"/>
                      </a:cubicBezTo>
                      <a:cubicBezTo>
                        <a:pt x="3" y="7"/>
                        <a:pt x="4" y="7"/>
                        <a:pt x="4" y="7"/>
                      </a:cubicBezTo>
                      <a:cubicBezTo>
                        <a:pt x="7" y="7"/>
                        <a:pt x="4" y="5"/>
                        <a:pt x="3" y="4"/>
                      </a:cubicBezTo>
                      <a:cubicBezTo>
                        <a:pt x="3" y="2"/>
                        <a:pt x="3"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2" name="Freeform 162">
                  <a:extLst>
                    <a:ext uri="{FF2B5EF4-FFF2-40B4-BE49-F238E27FC236}">
                      <a16:creationId xmlns:a16="http://schemas.microsoft.com/office/drawing/2014/main" id="{40B46151-B729-4BF6-843B-8269B02C4490}"/>
                    </a:ext>
                  </a:extLst>
                </p:cNvPr>
                <p:cNvSpPr>
                  <a:spLocks/>
                </p:cNvSpPr>
                <p:nvPr/>
              </p:nvSpPr>
              <p:spPr bwMode="auto">
                <a:xfrm>
                  <a:off x="6684800" y="5258661"/>
                  <a:ext cx="36851" cy="47907"/>
                </a:xfrm>
                <a:custGeom>
                  <a:avLst/>
                  <a:gdLst>
                    <a:gd name="T0" fmla="*/ 4 w 11"/>
                    <a:gd name="T1" fmla="*/ 0 h 15"/>
                    <a:gd name="T2" fmla="*/ 1 w 11"/>
                    <a:gd name="T3" fmla="*/ 3 h 15"/>
                    <a:gd name="T4" fmla="*/ 6 w 11"/>
                    <a:gd name="T5" fmla="*/ 15 h 15"/>
                    <a:gd name="T6" fmla="*/ 9 w 11"/>
                    <a:gd name="T7" fmla="*/ 4 h 15"/>
                    <a:gd name="T8" fmla="*/ 6 w 11"/>
                    <a:gd name="T9" fmla="*/ 0 h 15"/>
                    <a:gd name="T10" fmla="*/ 4 w 11"/>
                    <a:gd name="T11" fmla="*/ 0 h 15"/>
                  </a:gdLst>
                  <a:ahLst/>
                  <a:cxnLst>
                    <a:cxn ang="0">
                      <a:pos x="T0" y="T1"/>
                    </a:cxn>
                    <a:cxn ang="0">
                      <a:pos x="T2" y="T3"/>
                    </a:cxn>
                    <a:cxn ang="0">
                      <a:pos x="T4" y="T5"/>
                    </a:cxn>
                    <a:cxn ang="0">
                      <a:pos x="T6" y="T7"/>
                    </a:cxn>
                    <a:cxn ang="0">
                      <a:pos x="T8" y="T9"/>
                    </a:cxn>
                    <a:cxn ang="0">
                      <a:pos x="T10" y="T11"/>
                    </a:cxn>
                  </a:cxnLst>
                  <a:rect l="0" t="0" r="r" b="b"/>
                  <a:pathLst>
                    <a:path w="11" h="15">
                      <a:moveTo>
                        <a:pt x="4" y="0"/>
                      </a:moveTo>
                      <a:cubicBezTo>
                        <a:pt x="2" y="0"/>
                        <a:pt x="1" y="1"/>
                        <a:pt x="1" y="3"/>
                      </a:cubicBezTo>
                      <a:cubicBezTo>
                        <a:pt x="1" y="9"/>
                        <a:pt x="0" y="11"/>
                        <a:pt x="6" y="15"/>
                      </a:cubicBezTo>
                      <a:cubicBezTo>
                        <a:pt x="9" y="13"/>
                        <a:pt x="11" y="8"/>
                        <a:pt x="9" y="4"/>
                      </a:cubicBezTo>
                      <a:cubicBezTo>
                        <a:pt x="11" y="2"/>
                        <a:pt x="8" y="1"/>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3" name="Freeform 163">
                  <a:extLst>
                    <a:ext uri="{FF2B5EF4-FFF2-40B4-BE49-F238E27FC236}">
                      <a16:creationId xmlns:a16="http://schemas.microsoft.com/office/drawing/2014/main" id="{E9062794-50EC-4E70-A988-1936C927B31F}"/>
                    </a:ext>
                  </a:extLst>
                </p:cNvPr>
                <p:cNvSpPr>
                  <a:spLocks/>
                </p:cNvSpPr>
                <p:nvPr/>
              </p:nvSpPr>
              <p:spPr bwMode="auto">
                <a:xfrm>
                  <a:off x="6124662" y="5129682"/>
                  <a:ext cx="40536" cy="33166"/>
                </a:xfrm>
                <a:custGeom>
                  <a:avLst/>
                  <a:gdLst>
                    <a:gd name="T0" fmla="*/ 7 w 13"/>
                    <a:gd name="T1" fmla="*/ 0 h 10"/>
                    <a:gd name="T2" fmla="*/ 4 w 13"/>
                    <a:gd name="T3" fmla="*/ 1 h 10"/>
                    <a:gd name="T4" fmla="*/ 4 w 13"/>
                    <a:gd name="T5" fmla="*/ 1 h 10"/>
                    <a:gd name="T6" fmla="*/ 3 w 13"/>
                    <a:gd name="T7" fmla="*/ 1 h 10"/>
                    <a:gd name="T8" fmla="*/ 3 w 13"/>
                    <a:gd name="T9" fmla="*/ 1 h 10"/>
                    <a:gd name="T10" fmla="*/ 2 w 13"/>
                    <a:gd name="T11" fmla="*/ 1 h 10"/>
                    <a:gd name="T12" fmla="*/ 9 w 13"/>
                    <a:gd name="T13" fmla="*/ 10 h 10"/>
                    <a:gd name="T14" fmla="*/ 9 w 13"/>
                    <a:gd name="T15" fmla="*/ 6 h 10"/>
                    <a:gd name="T16" fmla="*/ 8 w 13"/>
                    <a:gd name="T17" fmla="*/ 0 h 10"/>
                    <a:gd name="T18" fmla="*/ 7 w 13"/>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7" y="0"/>
                      </a:moveTo>
                      <a:cubicBezTo>
                        <a:pt x="6" y="0"/>
                        <a:pt x="5" y="0"/>
                        <a:pt x="4" y="1"/>
                      </a:cubicBezTo>
                      <a:cubicBezTo>
                        <a:pt x="4" y="1"/>
                        <a:pt x="4" y="1"/>
                        <a:pt x="4" y="1"/>
                      </a:cubicBezTo>
                      <a:cubicBezTo>
                        <a:pt x="4" y="1"/>
                        <a:pt x="3" y="1"/>
                        <a:pt x="3" y="1"/>
                      </a:cubicBezTo>
                      <a:cubicBezTo>
                        <a:pt x="3" y="1"/>
                        <a:pt x="3" y="1"/>
                        <a:pt x="3" y="1"/>
                      </a:cubicBezTo>
                      <a:cubicBezTo>
                        <a:pt x="3" y="1"/>
                        <a:pt x="2" y="1"/>
                        <a:pt x="2" y="1"/>
                      </a:cubicBezTo>
                      <a:cubicBezTo>
                        <a:pt x="0" y="3"/>
                        <a:pt x="8" y="9"/>
                        <a:pt x="9" y="10"/>
                      </a:cubicBezTo>
                      <a:cubicBezTo>
                        <a:pt x="9" y="9"/>
                        <a:pt x="9" y="7"/>
                        <a:pt x="9" y="6"/>
                      </a:cubicBezTo>
                      <a:cubicBezTo>
                        <a:pt x="3" y="5"/>
                        <a:pt x="13" y="2"/>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4" name="Freeform 164">
                  <a:extLst>
                    <a:ext uri="{FF2B5EF4-FFF2-40B4-BE49-F238E27FC236}">
                      <a16:creationId xmlns:a16="http://schemas.microsoft.com/office/drawing/2014/main" id="{E72B7B36-60B4-4308-B760-79EE583EE982}"/>
                    </a:ext>
                  </a:extLst>
                </p:cNvPr>
                <p:cNvSpPr>
                  <a:spLocks/>
                </p:cNvSpPr>
                <p:nvPr/>
              </p:nvSpPr>
              <p:spPr bwMode="auto">
                <a:xfrm>
                  <a:off x="6607412" y="5354474"/>
                  <a:ext cx="29481" cy="18426"/>
                </a:xfrm>
                <a:custGeom>
                  <a:avLst/>
                  <a:gdLst>
                    <a:gd name="T0" fmla="*/ 1 w 9"/>
                    <a:gd name="T1" fmla="*/ 0 h 5"/>
                    <a:gd name="T2" fmla="*/ 0 w 9"/>
                    <a:gd name="T3" fmla="*/ 0 h 5"/>
                    <a:gd name="T4" fmla="*/ 6 w 9"/>
                    <a:gd name="T5" fmla="*/ 5 h 5"/>
                    <a:gd name="T6" fmla="*/ 1 w 9"/>
                    <a:gd name="T7" fmla="*/ 0 h 5"/>
                  </a:gdLst>
                  <a:ahLst/>
                  <a:cxnLst>
                    <a:cxn ang="0">
                      <a:pos x="T0" y="T1"/>
                    </a:cxn>
                    <a:cxn ang="0">
                      <a:pos x="T2" y="T3"/>
                    </a:cxn>
                    <a:cxn ang="0">
                      <a:pos x="T4" y="T5"/>
                    </a:cxn>
                    <a:cxn ang="0">
                      <a:pos x="T6" y="T7"/>
                    </a:cxn>
                  </a:cxnLst>
                  <a:rect l="0" t="0" r="r" b="b"/>
                  <a:pathLst>
                    <a:path w="9" h="5">
                      <a:moveTo>
                        <a:pt x="1" y="0"/>
                      </a:moveTo>
                      <a:cubicBezTo>
                        <a:pt x="1" y="0"/>
                        <a:pt x="0" y="0"/>
                        <a:pt x="0" y="0"/>
                      </a:cubicBezTo>
                      <a:cubicBezTo>
                        <a:pt x="2" y="2"/>
                        <a:pt x="4" y="3"/>
                        <a:pt x="6" y="5"/>
                      </a:cubicBezTo>
                      <a:cubicBezTo>
                        <a:pt x="9" y="1"/>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5" name="Freeform 165">
                  <a:extLst>
                    <a:ext uri="{FF2B5EF4-FFF2-40B4-BE49-F238E27FC236}">
                      <a16:creationId xmlns:a16="http://schemas.microsoft.com/office/drawing/2014/main" id="{D844C526-A2DA-4088-ADDC-6FF5B8015026}"/>
                    </a:ext>
                  </a:extLst>
                </p:cNvPr>
                <p:cNvSpPr>
                  <a:spLocks/>
                </p:cNvSpPr>
                <p:nvPr/>
              </p:nvSpPr>
              <p:spPr bwMode="auto">
                <a:xfrm>
                  <a:off x="5339733" y="3445584"/>
                  <a:ext cx="29481" cy="11055"/>
                </a:xfrm>
                <a:custGeom>
                  <a:avLst/>
                  <a:gdLst>
                    <a:gd name="T0" fmla="*/ 6 w 9"/>
                    <a:gd name="T1" fmla="*/ 0 h 4"/>
                    <a:gd name="T2" fmla="*/ 4 w 9"/>
                    <a:gd name="T3" fmla="*/ 0 h 4"/>
                    <a:gd name="T4" fmla="*/ 9 w 9"/>
                    <a:gd name="T5" fmla="*/ 4 h 4"/>
                    <a:gd name="T6" fmla="*/ 6 w 9"/>
                    <a:gd name="T7" fmla="*/ 0 h 4"/>
                  </a:gdLst>
                  <a:ahLst/>
                  <a:cxnLst>
                    <a:cxn ang="0">
                      <a:pos x="T0" y="T1"/>
                    </a:cxn>
                    <a:cxn ang="0">
                      <a:pos x="T2" y="T3"/>
                    </a:cxn>
                    <a:cxn ang="0">
                      <a:pos x="T4" y="T5"/>
                    </a:cxn>
                    <a:cxn ang="0">
                      <a:pos x="T6" y="T7"/>
                    </a:cxn>
                  </a:cxnLst>
                  <a:rect l="0" t="0" r="r" b="b"/>
                  <a:pathLst>
                    <a:path w="9" h="4">
                      <a:moveTo>
                        <a:pt x="6" y="0"/>
                      </a:moveTo>
                      <a:cubicBezTo>
                        <a:pt x="5" y="0"/>
                        <a:pt x="5" y="0"/>
                        <a:pt x="4" y="0"/>
                      </a:cubicBezTo>
                      <a:cubicBezTo>
                        <a:pt x="0" y="3"/>
                        <a:pt x="8" y="4"/>
                        <a:pt x="9" y="4"/>
                      </a:cubicBezTo>
                      <a:cubicBezTo>
                        <a:pt x="9" y="3"/>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6" name="Freeform 166">
                  <a:extLst>
                    <a:ext uri="{FF2B5EF4-FFF2-40B4-BE49-F238E27FC236}">
                      <a16:creationId xmlns:a16="http://schemas.microsoft.com/office/drawing/2014/main" id="{00E56CA1-1B57-461C-92EE-8E4FBD8863F4}"/>
                    </a:ext>
                  </a:extLst>
                </p:cNvPr>
                <p:cNvSpPr>
                  <a:spLocks/>
                </p:cNvSpPr>
                <p:nvPr/>
              </p:nvSpPr>
              <p:spPr bwMode="auto">
                <a:xfrm>
                  <a:off x="5030183" y="3541397"/>
                  <a:ext cx="11055" cy="0"/>
                </a:xfrm>
                <a:custGeom>
                  <a:avLst/>
                  <a:gdLst>
                    <a:gd name="T0" fmla="*/ 0 w 3"/>
                    <a:gd name="T1" fmla="*/ 0 h 1"/>
                    <a:gd name="T2" fmla="*/ 0 w 3"/>
                    <a:gd name="T3" fmla="*/ 1 h 1"/>
                    <a:gd name="T4" fmla="*/ 3 w 3"/>
                    <a:gd name="T5" fmla="*/ 1 h 1"/>
                    <a:gd name="T6" fmla="*/ 0 w 3"/>
                    <a:gd name="T7" fmla="*/ 0 h 1"/>
                  </a:gdLst>
                  <a:ahLst/>
                  <a:cxnLst>
                    <a:cxn ang="0">
                      <a:pos x="T0" y="T1"/>
                    </a:cxn>
                    <a:cxn ang="0">
                      <a:pos x="T2" y="T3"/>
                    </a:cxn>
                    <a:cxn ang="0">
                      <a:pos x="T4" y="T5"/>
                    </a:cxn>
                    <a:cxn ang="0">
                      <a:pos x="T6" y="T7"/>
                    </a:cxn>
                  </a:cxnLst>
                  <a:rect l="0" t="0" r="r" b="b"/>
                  <a:pathLst>
                    <a:path w="3" h="1">
                      <a:moveTo>
                        <a:pt x="0" y="0"/>
                      </a:moveTo>
                      <a:cubicBezTo>
                        <a:pt x="0" y="0"/>
                        <a:pt x="0" y="1"/>
                        <a:pt x="0" y="1"/>
                      </a:cubicBezTo>
                      <a:cubicBezTo>
                        <a:pt x="1"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7" name="Freeform 167">
                  <a:extLst>
                    <a:ext uri="{FF2B5EF4-FFF2-40B4-BE49-F238E27FC236}">
                      <a16:creationId xmlns:a16="http://schemas.microsoft.com/office/drawing/2014/main" id="{1EC60A6E-5F65-458D-A04F-73BCA7406A8F}"/>
                    </a:ext>
                  </a:extLst>
                </p:cNvPr>
                <p:cNvSpPr>
                  <a:spLocks/>
                </p:cNvSpPr>
                <p:nvPr/>
              </p:nvSpPr>
              <p:spPr bwMode="auto">
                <a:xfrm>
                  <a:off x="5538729" y="3423473"/>
                  <a:ext cx="62647" cy="58962"/>
                </a:xfrm>
                <a:custGeom>
                  <a:avLst/>
                  <a:gdLst>
                    <a:gd name="T0" fmla="*/ 8 w 19"/>
                    <a:gd name="T1" fmla="*/ 0 h 18"/>
                    <a:gd name="T2" fmla="*/ 4 w 19"/>
                    <a:gd name="T3" fmla="*/ 2 h 18"/>
                    <a:gd name="T4" fmla="*/ 4 w 19"/>
                    <a:gd name="T5" fmla="*/ 2 h 18"/>
                    <a:gd name="T6" fmla="*/ 6 w 19"/>
                    <a:gd name="T7" fmla="*/ 4 h 18"/>
                    <a:gd name="T8" fmla="*/ 7 w 19"/>
                    <a:gd name="T9" fmla="*/ 3 h 18"/>
                    <a:gd name="T10" fmla="*/ 9 w 19"/>
                    <a:gd name="T11" fmla="*/ 5 h 18"/>
                    <a:gd name="T12" fmla="*/ 8 w 19"/>
                    <a:gd name="T13" fmla="*/ 5 h 18"/>
                    <a:gd name="T14" fmla="*/ 7 w 19"/>
                    <a:gd name="T15" fmla="*/ 6 h 18"/>
                    <a:gd name="T16" fmla="*/ 7 w 19"/>
                    <a:gd name="T17" fmla="*/ 4 h 18"/>
                    <a:gd name="T18" fmla="*/ 5 w 19"/>
                    <a:gd name="T19" fmla="*/ 6 h 18"/>
                    <a:gd name="T20" fmla="*/ 2 w 19"/>
                    <a:gd name="T21" fmla="*/ 5 h 18"/>
                    <a:gd name="T22" fmla="*/ 1 w 19"/>
                    <a:gd name="T23" fmla="*/ 6 h 18"/>
                    <a:gd name="T24" fmla="*/ 8 w 19"/>
                    <a:gd name="T25" fmla="*/ 18 h 18"/>
                    <a:gd name="T26" fmla="*/ 13 w 19"/>
                    <a:gd name="T27" fmla="*/ 13 h 18"/>
                    <a:gd name="T28" fmla="*/ 14 w 19"/>
                    <a:gd name="T29" fmla="*/ 13 h 18"/>
                    <a:gd name="T30" fmla="*/ 17 w 19"/>
                    <a:gd name="T31" fmla="*/ 16 h 18"/>
                    <a:gd name="T32" fmla="*/ 18 w 19"/>
                    <a:gd name="T33" fmla="*/ 13 h 18"/>
                    <a:gd name="T34" fmla="*/ 13 w 19"/>
                    <a:gd name="T35" fmla="*/ 8 h 18"/>
                    <a:gd name="T36" fmla="*/ 14 w 19"/>
                    <a:gd name="T37" fmla="*/ 4 h 18"/>
                    <a:gd name="T38" fmla="*/ 13 w 19"/>
                    <a:gd name="T39" fmla="*/ 4 h 18"/>
                    <a:gd name="T40" fmla="*/ 12 w 19"/>
                    <a:gd name="T41" fmla="*/ 4 h 18"/>
                    <a:gd name="T42" fmla="*/ 11 w 19"/>
                    <a:gd name="T43" fmla="*/ 4 h 18"/>
                    <a:gd name="T44" fmla="*/ 8 w 19"/>
                    <a:gd name="T45" fmla="*/ 3 h 18"/>
                    <a:gd name="T46" fmla="*/ 9 w 19"/>
                    <a:gd name="T47" fmla="*/ 0 h 18"/>
                    <a:gd name="T48" fmla="*/ 9 w 19"/>
                    <a:gd name="T49" fmla="*/ 0 h 18"/>
                    <a:gd name="T50" fmla="*/ 8 w 19"/>
                    <a:gd name="T5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8">
                      <a:moveTo>
                        <a:pt x="8" y="0"/>
                      </a:moveTo>
                      <a:cubicBezTo>
                        <a:pt x="6" y="0"/>
                        <a:pt x="4" y="1"/>
                        <a:pt x="4" y="2"/>
                      </a:cubicBezTo>
                      <a:cubicBezTo>
                        <a:pt x="4" y="2"/>
                        <a:pt x="4" y="2"/>
                        <a:pt x="4" y="2"/>
                      </a:cubicBezTo>
                      <a:cubicBezTo>
                        <a:pt x="5" y="2"/>
                        <a:pt x="6" y="2"/>
                        <a:pt x="6" y="4"/>
                      </a:cubicBezTo>
                      <a:cubicBezTo>
                        <a:pt x="7" y="3"/>
                        <a:pt x="7" y="3"/>
                        <a:pt x="7" y="3"/>
                      </a:cubicBezTo>
                      <a:cubicBezTo>
                        <a:pt x="8" y="3"/>
                        <a:pt x="9" y="4"/>
                        <a:pt x="9" y="5"/>
                      </a:cubicBezTo>
                      <a:cubicBezTo>
                        <a:pt x="9" y="5"/>
                        <a:pt x="9" y="5"/>
                        <a:pt x="8" y="5"/>
                      </a:cubicBezTo>
                      <a:cubicBezTo>
                        <a:pt x="8" y="5"/>
                        <a:pt x="7" y="5"/>
                        <a:pt x="7" y="6"/>
                      </a:cubicBezTo>
                      <a:cubicBezTo>
                        <a:pt x="7" y="5"/>
                        <a:pt x="6" y="5"/>
                        <a:pt x="7" y="4"/>
                      </a:cubicBezTo>
                      <a:cubicBezTo>
                        <a:pt x="6" y="5"/>
                        <a:pt x="6" y="5"/>
                        <a:pt x="5" y="6"/>
                      </a:cubicBezTo>
                      <a:cubicBezTo>
                        <a:pt x="5" y="6"/>
                        <a:pt x="3" y="5"/>
                        <a:pt x="2" y="5"/>
                      </a:cubicBezTo>
                      <a:cubicBezTo>
                        <a:pt x="1" y="5"/>
                        <a:pt x="1" y="5"/>
                        <a:pt x="1" y="6"/>
                      </a:cubicBezTo>
                      <a:cubicBezTo>
                        <a:pt x="0" y="14"/>
                        <a:pt x="0" y="14"/>
                        <a:pt x="8" y="18"/>
                      </a:cubicBezTo>
                      <a:cubicBezTo>
                        <a:pt x="9" y="14"/>
                        <a:pt x="10" y="14"/>
                        <a:pt x="13" y="13"/>
                      </a:cubicBezTo>
                      <a:cubicBezTo>
                        <a:pt x="13" y="13"/>
                        <a:pt x="14" y="13"/>
                        <a:pt x="14" y="13"/>
                      </a:cubicBezTo>
                      <a:cubicBezTo>
                        <a:pt x="16" y="13"/>
                        <a:pt x="17" y="14"/>
                        <a:pt x="17" y="16"/>
                      </a:cubicBezTo>
                      <a:cubicBezTo>
                        <a:pt x="18" y="15"/>
                        <a:pt x="18" y="14"/>
                        <a:pt x="18" y="13"/>
                      </a:cubicBezTo>
                      <a:cubicBezTo>
                        <a:pt x="16" y="12"/>
                        <a:pt x="13" y="11"/>
                        <a:pt x="13" y="8"/>
                      </a:cubicBezTo>
                      <a:cubicBezTo>
                        <a:pt x="14" y="6"/>
                        <a:pt x="19" y="5"/>
                        <a:pt x="14" y="4"/>
                      </a:cubicBezTo>
                      <a:cubicBezTo>
                        <a:pt x="14" y="4"/>
                        <a:pt x="14" y="4"/>
                        <a:pt x="13" y="4"/>
                      </a:cubicBezTo>
                      <a:cubicBezTo>
                        <a:pt x="13" y="4"/>
                        <a:pt x="13" y="4"/>
                        <a:pt x="12" y="4"/>
                      </a:cubicBezTo>
                      <a:cubicBezTo>
                        <a:pt x="12" y="4"/>
                        <a:pt x="11" y="4"/>
                        <a:pt x="11" y="4"/>
                      </a:cubicBezTo>
                      <a:cubicBezTo>
                        <a:pt x="10" y="4"/>
                        <a:pt x="8" y="4"/>
                        <a:pt x="8" y="3"/>
                      </a:cubicBezTo>
                      <a:cubicBezTo>
                        <a:pt x="7" y="2"/>
                        <a:pt x="9" y="0"/>
                        <a:pt x="9" y="0"/>
                      </a:cubicBezTo>
                      <a:cubicBezTo>
                        <a:pt x="9" y="0"/>
                        <a:pt x="9"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8" name="Freeform 168">
                  <a:extLst>
                    <a:ext uri="{FF2B5EF4-FFF2-40B4-BE49-F238E27FC236}">
                      <a16:creationId xmlns:a16="http://schemas.microsoft.com/office/drawing/2014/main" id="{39F70352-56C3-45B6-9054-73CAF8242A03}"/>
                    </a:ext>
                  </a:extLst>
                </p:cNvPr>
                <p:cNvSpPr>
                  <a:spLocks/>
                </p:cNvSpPr>
                <p:nvPr/>
              </p:nvSpPr>
              <p:spPr bwMode="auto">
                <a:xfrm>
                  <a:off x="4149441" y="4337382"/>
                  <a:ext cx="11055" cy="14740"/>
                </a:xfrm>
                <a:custGeom>
                  <a:avLst/>
                  <a:gdLst>
                    <a:gd name="T0" fmla="*/ 1 w 4"/>
                    <a:gd name="T1" fmla="*/ 0 h 5"/>
                    <a:gd name="T2" fmla="*/ 0 w 4"/>
                    <a:gd name="T3" fmla="*/ 0 h 5"/>
                    <a:gd name="T4" fmla="*/ 4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1" y="0"/>
                        <a:pt x="1" y="0"/>
                        <a:pt x="0" y="0"/>
                      </a:cubicBezTo>
                      <a:cubicBezTo>
                        <a:pt x="2" y="2"/>
                        <a:pt x="3" y="3"/>
                        <a:pt x="4" y="5"/>
                      </a:cubicBezTo>
                      <a:cubicBezTo>
                        <a:pt x="3"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9" name="Freeform 169">
                  <a:extLst>
                    <a:ext uri="{FF2B5EF4-FFF2-40B4-BE49-F238E27FC236}">
                      <a16:creationId xmlns:a16="http://schemas.microsoft.com/office/drawing/2014/main" id="{2C28284D-8307-4570-B637-74D9AB20C6EB}"/>
                    </a:ext>
                  </a:extLst>
                </p:cNvPr>
                <p:cNvSpPr>
                  <a:spLocks/>
                </p:cNvSpPr>
                <p:nvPr/>
              </p:nvSpPr>
              <p:spPr bwMode="auto">
                <a:xfrm>
                  <a:off x="4064683" y="4296845"/>
                  <a:ext cx="14740" cy="11055"/>
                </a:xfrm>
                <a:custGeom>
                  <a:avLst/>
                  <a:gdLst>
                    <a:gd name="T0" fmla="*/ 0 w 5"/>
                    <a:gd name="T1" fmla="*/ 0 h 4"/>
                    <a:gd name="T2" fmla="*/ 5 w 5"/>
                    <a:gd name="T3" fmla="*/ 4 h 4"/>
                    <a:gd name="T4" fmla="*/ 0 w 5"/>
                    <a:gd name="T5" fmla="*/ 0 h 4"/>
                  </a:gdLst>
                  <a:ahLst/>
                  <a:cxnLst>
                    <a:cxn ang="0">
                      <a:pos x="T0" y="T1"/>
                    </a:cxn>
                    <a:cxn ang="0">
                      <a:pos x="T2" y="T3"/>
                    </a:cxn>
                    <a:cxn ang="0">
                      <a:pos x="T4" y="T5"/>
                    </a:cxn>
                  </a:cxnLst>
                  <a:rect l="0" t="0" r="r" b="b"/>
                  <a:pathLst>
                    <a:path w="5" h="4">
                      <a:moveTo>
                        <a:pt x="0" y="0"/>
                      </a:moveTo>
                      <a:cubicBezTo>
                        <a:pt x="1" y="1"/>
                        <a:pt x="3" y="3"/>
                        <a:pt x="5"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0" name="Freeform 170">
                  <a:extLst>
                    <a:ext uri="{FF2B5EF4-FFF2-40B4-BE49-F238E27FC236}">
                      <a16:creationId xmlns:a16="http://schemas.microsoft.com/office/drawing/2014/main" id="{8754AA9E-853B-4E57-AB49-581C902A3D58}"/>
                    </a:ext>
                  </a:extLst>
                </p:cNvPr>
                <p:cNvSpPr>
                  <a:spLocks/>
                </p:cNvSpPr>
                <p:nvPr/>
              </p:nvSpPr>
              <p:spPr bwMode="auto">
                <a:xfrm>
                  <a:off x="4223143" y="4429510"/>
                  <a:ext cx="18426" cy="7370"/>
                </a:xfrm>
                <a:custGeom>
                  <a:avLst/>
                  <a:gdLst>
                    <a:gd name="T0" fmla="*/ 1 w 6"/>
                    <a:gd name="T1" fmla="*/ 0 h 2"/>
                    <a:gd name="T2" fmla="*/ 0 w 6"/>
                    <a:gd name="T3" fmla="*/ 0 h 2"/>
                    <a:gd name="T4" fmla="*/ 6 w 6"/>
                    <a:gd name="T5" fmla="*/ 2 h 2"/>
                    <a:gd name="T6" fmla="*/ 1 w 6"/>
                    <a:gd name="T7" fmla="*/ 0 h 2"/>
                  </a:gdLst>
                  <a:ahLst/>
                  <a:cxnLst>
                    <a:cxn ang="0">
                      <a:pos x="T0" y="T1"/>
                    </a:cxn>
                    <a:cxn ang="0">
                      <a:pos x="T2" y="T3"/>
                    </a:cxn>
                    <a:cxn ang="0">
                      <a:pos x="T4" y="T5"/>
                    </a:cxn>
                    <a:cxn ang="0">
                      <a:pos x="T6" y="T7"/>
                    </a:cxn>
                  </a:cxnLst>
                  <a:rect l="0" t="0" r="r" b="b"/>
                  <a:pathLst>
                    <a:path w="6" h="2">
                      <a:moveTo>
                        <a:pt x="1" y="0"/>
                      </a:moveTo>
                      <a:cubicBezTo>
                        <a:pt x="1" y="0"/>
                        <a:pt x="1" y="0"/>
                        <a:pt x="0" y="0"/>
                      </a:cubicBezTo>
                      <a:cubicBezTo>
                        <a:pt x="2" y="1"/>
                        <a:pt x="4" y="2"/>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1" name="Freeform 171">
                  <a:extLst>
                    <a:ext uri="{FF2B5EF4-FFF2-40B4-BE49-F238E27FC236}">
                      <a16:creationId xmlns:a16="http://schemas.microsoft.com/office/drawing/2014/main" id="{92975B95-E874-4CC0-94F7-7166973D4207}"/>
                    </a:ext>
                  </a:extLst>
                </p:cNvPr>
                <p:cNvSpPr>
                  <a:spLocks/>
                </p:cNvSpPr>
                <p:nvPr/>
              </p:nvSpPr>
              <p:spPr bwMode="auto">
                <a:xfrm>
                  <a:off x="4230513" y="4447935"/>
                  <a:ext cx="22111" cy="29481"/>
                </a:xfrm>
                <a:custGeom>
                  <a:avLst/>
                  <a:gdLst>
                    <a:gd name="T0" fmla="*/ 0 w 7"/>
                    <a:gd name="T1" fmla="*/ 0 h 9"/>
                    <a:gd name="T2" fmla="*/ 5 w 7"/>
                    <a:gd name="T3" fmla="*/ 9 h 9"/>
                    <a:gd name="T4" fmla="*/ 0 w 7"/>
                    <a:gd name="T5" fmla="*/ 0 h 9"/>
                  </a:gdLst>
                  <a:ahLst/>
                  <a:cxnLst>
                    <a:cxn ang="0">
                      <a:pos x="T0" y="T1"/>
                    </a:cxn>
                    <a:cxn ang="0">
                      <a:pos x="T2" y="T3"/>
                    </a:cxn>
                    <a:cxn ang="0">
                      <a:pos x="T4" y="T5"/>
                    </a:cxn>
                  </a:cxnLst>
                  <a:rect l="0" t="0" r="r" b="b"/>
                  <a:pathLst>
                    <a:path w="7" h="9">
                      <a:moveTo>
                        <a:pt x="0" y="0"/>
                      </a:moveTo>
                      <a:cubicBezTo>
                        <a:pt x="1" y="3"/>
                        <a:pt x="3" y="6"/>
                        <a:pt x="5" y="9"/>
                      </a:cubicBezTo>
                      <a:cubicBezTo>
                        <a:pt x="7" y="4"/>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2" name="Freeform 172">
                  <a:extLst>
                    <a:ext uri="{FF2B5EF4-FFF2-40B4-BE49-F238E27FC236}">
                      <a16:creationId xmlns:a16="http://schemas.microsoft.com/office/drawing/2014/main" id="{3DDDD35C-02DE-4BB8-A6B2-9AA0178399EE}"/>
                    </a:ext>
                  </a:extLst>
                </p:cNvPr>
                <p:cNvSpPr>
                  <a:spLocks/>
                </p:cNvSpPr>
                <p:nvPr/>
              </p:nvSpPr>
              <p:spPr bwMode="auto">
                <a:xfrm>
                  <a:off x="5122311" y="4786966"/>
                  <a:ext cx="99498" cy="176886"/>
                </a:xfrm>
                <a:custGeom>
                  <a:avLst/>
                  <a:gdLst>
                    <a:gd name="T0" fmla="*/ 24 w 31"/>
                    <a:gd name="T1" fmla="*/ 0 h 56"/>
                    <a:gd name="T2" fmla="*/ 24 w 31"/>
                    <a:gd name="T3" fmla="*/ 0 h 56"/>
                    <a:gd name="T4" fmla="*/ 20 w 31"/>
                    <a:gd name="T5" fmla="*/ 10 h 56"/>
                    <a:gd name="T6" fmla="*/ 2 w 31"/>
                    <a:gd name="T7" fmla="*/ 21 h 56"/>
                    <a:gd name="T8" fmla="*/ 2 w 31"/>
                    <a:gd name="T9" fmla="*/ 35 h 56"/>
                    <a:gd name="T10" fmla="*/ 7 w 31"/>
                    <a:gd name="T11" fmla="*/ 39 h 56"/>
                    <a:gd name="T12" fmla="*/ 4 w 31"/>
                    <a:gd name="T13" fmla="*/ 42 h 56"/>
                    <a:gd name="T14" fmla="*/ 9 w 31"/>
                    <a:gd name="T15" fmla="*/ 44 h 56"/>
                    <a:gd name="T16" fmla="*/ 20 w 31"/>
                    <a:gd name="T17" fmla="*/ 56 h 56"/>
                    <a:gd name="T18" fmla="*/ 30 w 31"/>
                    <a:gd name="T19" fmla="*/ 26 h 56"/>
                    <a:gd name="T20" fmla="*/ 29 w 31"/>
                    <a:gd name="T21" fmla="*/ 12 h 56"/>
                    <a:gd name="T22" fmla="*/ 24 w 31"/>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56">
                      <a:moveTo>
                        <a:pt x="24" y="0"/>
                      </a:moveTo>
                      <a:cubicBezTo>
                        <a:pt x="24" y="0"/>
                        <a:pt x="24" y="0"/>
                        <a:pt x="24" y="0"/>
                      </a:cubicBezTo>
                      <a:cubicBezTo>
                        <a:pt x="23" y="4"/>
                        <a:pt x="25" y="10"/>
                        <a:pt x="20" y="10"/>
                      </a:cubicBezTo>
                      <a:cubicBezTo>
                        <a:pt x="13" y="10"/>
                        <a:pt x="8" y="16"/>
                        <a:pt x="2" y="21"/>
                      </a:cubicBezTo>
                      <a:cubicBezTo>
                        <a:pt x="0" y="23"/>
                        <a:pt x="5" y="33"/>
                        <a:pt x="2" y="35"/>
                      </a:cubicBezTo>
                      <a:cubicBezTo>
                        <a:pt x="5" y="36"/>
                        <a:pt x="8" y="35"/>
                        <a:pt x="7" y="39"/>
                      </a:cubicBezTo>
                      <a:cubicBezTo>
                        <a:pt x="6" y="40"/>
                        <a:pt x="6" y="42"/>
                        <a:pt x="4" y="42"/>
                      </a:cubicBezTo>
                      <a:cubicBezTo>
                        <a:pt x="6" y="43"/>
                        <a:pt x="8" y="44"/>
                        <a:pt x="9" y="44"/>
                      </a:cubicBezTo>
                      <a:cubicBezTo>
                        <a:pt x="6" y="51"/>
                        <a:pt x="14" y="52"/>
                        <a:pt x="20" y="56"/>
                      </a:cubicBezTo>
                      <a:cubicBezTo>
                        <a:pt x="23" y="46"/>
                        <a:pt x="26" y="36"/>
                        <a:pt x="30" y="26"/>
                      </a:cubicBezTo>
                      <a:cubicBezTo>
                        <a:pt x="31" y="22"/>
                        <a:pt x="29" y="16"/>
                        <a:pt x="29" y="12"/>
                      </a:cubicBezTo>
                      <a:cubicBezTo>
                        <a:pt x="28" y="9"/>
                        <a:pt x="29"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3" name="Freeform 173">
                  <a:extLst>
                    <a:ext uri="{FF2B5EF4-FFF2-40B4-BE49-F238E27FC236}">
                      <a16:creationId xmlns:a16="http://schemas.microsoft.com/office/drawing/2014/main" id="{EAFDC384-79B7-4150-BEC3-45C8F4A9F7BA}"/>
                    </a:ext>
                  </a:extLst>
                </p:cNvPr>
                <p:cNvSpPr>
                  <a:spLocks/>
                </p:cNvSpPr>
                <p:nvPr/>
              </p:nvSpPr>
              <p:spPr bwMode="auto">
                <a:xfrm>
                  <a:off x="3718282" y="2417437"/>
                  <a:ext cx="47906" cy="36851"/>
                </a:xfrm>
                <a:custGeom>
                  <a:avLst/>
                  <a:gdLst>
                    <a:gd name="T0" fmla="*/ 3 w 16"/>
                    <a:gd name="T1" fmla="*/ 0 h 11"/>
                    <a:gd name="T2" fmla="*/ 0 w 16"/>
                    <a:gd name="T3" fmla="*/ 0 h 11"/>
                    <a:gd name="T4" fmla="*/ 4 w 16"/>
                    <a:gd name="T5" fmla="*/ 6 h 11"/>
                    <a:gd name="T6" fmla="*/ 5 w 16"/>
                    <a:gd name="T7" fmla="*/ 6 h 11"/>
                    <a:gd name="T8" fmla="*/ 7 w 16"/>
                    <a:gd name="T9" fmla="*/ 6 h 11"/>
                    <a:gd name="T10" fmla="*/ 8 w 16"/>
                    <a:gd name="T11" fmla="*/ 5 h 11"/>
                    <a:gd name="T12" fmla="*/ 9 w 16"/>
                    <a:gd name="T13" fmla="*/ 5 h 11"/>
                    <a:gd name="T14" fmla="*/ 12 w 16"/>
                    <a:gd name="T15" fmla="*/ 11 h 11"/>
                    <a:gd name="T16" fmla="*/ 12 w 16"/>
                    <a:gd name="T17" fmla="*/ 5 h 11"/>
                    <a:gd name="T18" fmla="*/ 13 w 16"/>
                    <a:gd name="T19" fmla="*/ 5 h 11"/>
                    <a:gd name="T20" fmla="*/ 3 w 16"/>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1">
                      <a:moveTo>
                        <a:pt x="3" y="0"/>
                      </a:moveTo>
                      <a:cubicBezTo>
                        <a:pt x="2" y="0"/>
                        <a:pt x="1" y="0"/>
                        <a:pt x="0" y="0"/>
                      </a:cubicBezTo>
                      <a:cubicBezTo>
                        <a:pt x="2" y="2"/>
                        <a:pt x="2" y="4"/>
                        <a:pt x="4" y="6"/>
                      </a:cubicBezTo>
                      <a:cubicBezTo>
                        <a:pt x="5" y="6"/>
                        <a:pt x="5" y="6"/>
                        <a:pt x="5" y="6"/>
                      </a:cubicBezTo>
                      <a:cubicBezTo>
                        <a:pt x="6" y="6"/>
                        <a:pt x="6" y="6"/>
                        <a:pt x="7" y="6"/>
                      </a:cubicBezTo>
                      <a:cubicBezTo>
                        <a:pt x="7" y="5"/>
                        <a:pt x="8" y="5"/>
                        <a:pt x="8" y="5"/>
                      </a:cubicBezTo>
                      <a:cubicBezTo>
                        <a:pt x="8" y="5"/>
                        <a:pt x="8" y="5"/>
                        <a:pt x="9" y="5"/>
                      </a:cubicBezTo>
                      <a:cubicBezTo>
                        <a:pt x="11" y="6"/>
                        <a:pt x="11" y="9"/>
                        <a:pt x="12" y="11"/>
                      </a:cubicBezTo>
                      <a:cubicBezTo>
                        <a:pt x="16" y="7"/>
                        <a:pt x="14" y="8"/>
                        <a:pt x="12" y="5"/>
                      </a:cubicBezTo>
                      <a:cubicBezTo>
                        <a:pt x="12" y="5"/>
                        <a:pt x="13" y="5"/>
                        <a:pt x="13" y="5"/>
                      </a:cubicBezTo>
                      <a:cubicBezTo>
                        <a:pt x="9" y="3"/>
                        <a:pt x="7"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4" name="Freeform 174">
                  <a:extLst>
                    <a:ext uri="{FF2B5EF4-FFF2-40B4-BE49-F238E27FC236}">
                      <a16:creationId xmlns:a16="http://schemas.microsoft.com/office/drawing/2014/main" id="{55E7CA3B-2C16-4125-A6E1-72E963D3C19E}"/>
                    </a:ext>
                  </a:extLst>
                </p:cNvPr>
                <p:cNvSpPr>
                  <a:spLocks/>
                </p:cNvSpPr>
                <p:nvPr/>
              </p:nvSpPr>
              <p:spPr bwMode="auto">
                <a:xfrm>
                  <a:off x="3733023" y="2476398"/>
                  <a:ext cx="22111" cy="22111"/>
                </a:xfrm>
                <a:custGeom>
                  <a:avLst/>
                  <a:gdLst>
                    <a:gd name="T0" fmla="*/ 0 w 7"/>
                    <a:gd name="T1" fmla="*/ 0 h 7"/>
                    <a:gd name="T2" fmla="*/ 7 w 7"/>
                    <a:gd name="T3" fmla="*/ 7 h 7"/>
                    <a:gd name="T4" fmla="*/ 0 w 7"/>
                    <a:gd name="T5" fmla="*/ 0 h 7"/>
                  </a:gdLst>
                  <a:ahLst/>
                  <a:cxnLst>
                    <a:cxn ang="0">
                      <a:pos x="T0" y="T1"/>
                    </a:cxn>
                    <a:cxn ang="0">
                      <a:pos x="T2" y="T3"/>
                    </a:cxn>
                    <a:cxn ang="0">
                      <a:pos x="T4" y="T5"/>
                    </a:cxn>
                  </a:cxnLst>
                  <a:rect l="0" t="0" r="r" b="b"/>
                  <a:pathLst>
                    <a:path w="7" h="7">
                      <a:moveTo>
                        <a:pt x="0" y="0"/>
                      </a:moveTo>
                      <a:cubicBezTo>
                        <a:pt x="2" y="2"/>
                        <a:pt x="5" y="4"/>
                        <a:pt x="7" y="7"/>
                      </a:cubicBezTo>
                      <a:cubicBezTo>
                        <a:pt x="7" y="1"/>
                        <a:pt x="5"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5" name="Freeform 175">
                  <a:extLst>
                    <a:ext uri="{FF2B5EF4-FFF2-40B4-BE49-F238E27FC236}">
                      <a16:creationId xmlns:a16="http://schemas.microsoft.com/office/drawing/2014/main" id="{E969CFD4-F27D-470B-98A7-44681B9B3B29}"/>
                    </a:ext>
                  </a:extLst>
                </p:cNvPr>
                <p:cNvSpPr>
                  <a:spLocks/>
                </p:cNvSpPr>
                <p:nvPr/>
              </p:nvSpPr>
              <p:spPr bwMode="auto">
                <a:xfrm>
                  <a:off x="3725652" y="2513250"/>
                  <a:ext cx="29481" cy="33166"/>
                </a:xfrm>
                <a:custGeom>
                  <a:avLst/>
                  <a:gdLst>
                    <a:gd name="T0" fmla="*/ 0 w 9"/>
                    <a:gd name="T1" fmla="*/ 0 h 10"/>
                    <a:gd name="T2" fmla="*/ 9 w 9"/>
                    <a:gd name="T3" fmla="*/ 10 h 10"/>
                    <a:gd name="T4" fmla="*/ 0 w 9"/>
                    <a:gd name="T5" fmla="*/ 0 h 10"/>
                  </a:gdLst>
                  <a:ahLst/>
                  <a:cxnLst>
                    <a:cxn ang="0">
                      <a:pos x="T0" y="T1"/>
                    </a:cxn>
                    <a:cxn ang="0">
                      <a:pos x="T2" y="T3"/>
                    </a:cxn>
                    <a:cxn ang="0">
                      <a:pos x="T4" y="T5"/>
                    </a:cxn>
                  </a:cxnLst>
                  <a:rect l="0" t="0" r="r" b="b"/>
                  <a:pathLst>
                    <a:path w="9" h="10">
                      <a:moveTo>
                        <a:pt x="0" y="0"/>
                      </a:moveTo>
                      <a:cubicBezTo>
                        <a:pt x="2" y="5"/>
                        <a:pt x="5" y="7"/>
                        <a:pt x="9" y="10"/>
                      </a:cubicBezTo>
                      <a:cubicBezTo>
                        <a:pt x="8" y="4"/>
                        <a:pt x="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6" name="Freeform 176">
                  <a:extLst>
                    <a:ext uri="{FF2B5EF4-FFF2-40B4-BE49-F238E27FC236}">
                      <a16:creationId xmlns:a16="http://schemas.microsoft.com/office/drawing/2014/main" id="{7D35EED3-C56E-43C5-962D-AC4593D7EBFC}"/>
                    </a:ext>
                  </a:extLst>
                </p:cNvPr>
                <p:cNvSpPr>
                  <a:spLocks/>
                </p:cNvSpPr>
                <p:nvPr/>
              </p:nvSpPr>
              <p:spPr bwMode="auto">
                <a:xfrm>
                  <a:off x="3766189" y="2413751"/>
                  <a:ext cx="18426" cy="22111"/>
                </a:xfrm>
                <a:custGeom>
                  <a:avLst/>
                  <a:gdLst>
                    <a:gd name="T0" fmla="*/ 0 w 6"/>
                    <a:gd name="T1" fmla="*/ 0 h 8"/>
                    <a:gd name="T2" fmla="*/ 1 w 6"/>
                    <a:gd name="T3" fmla="*/ 8 h 8"/>
                    <a:gd name="T4" fmla="*/ 1 w 6"/>
                    <a:gd name="T5" fmla="*/ 8 h 8"/>
                    <a:gd name="T6" fmla="*/ 2 w 6"/>
                    <a:gd name="T7" fmla="*/ 2 h 8"/>
                    <a:gd name="T8" fmla="*/ 0 w 6"/>
                    <a:gd name="T9" fmla="*/ 0 h 8"/>
                  </a:gdLst>
                  <a:ahLst/>
                  <a:cxnLst>
                    <a:cxn ang="0">
                      <a:pos x="T0" y="T1"/>
                    </a:cxn>
                    <a:cxn ang="0">
                      <a:pos x="T2" y="T3"/>
                    </a:cxn>
                    <a:cxn ang="0">
                      <a:pos x="T4" y="T5"/>
                    </a:cxn>
                    <a:cxn ang="0">
                      <a:pos x="T6" y="T7"/>
                    </a:cxn>
                    <a:cxn ang="0">
                      <a:pos x="T8" y="T9"/>
                    </a:cxn>
                  </a:cxnLst>
                  <a:rect l="0" t="0" r="r" b="b"/>
                  <a:pathLst>
                    <a:path w="6" h="8">
                      <a:moveTo>
                        <a:pt x="0" y="0"/>
                      </a:moveTo>
                      <a:cubicBezTo>
                        <a:pt x="0" y="2"/>
                        <a:pt x="1" y="5"/>
                        <a:pt x="1" y="8"/>
                      </a:cubicBezTo>
                      <a:cubicBezTo>
                        <a:pt x="1" y="8"/>
                        <a:pt x="1" y="8"/>
                        <a:pt x="1" y="8"/>
                      </a:cubicBezTo>
                      <a:cubicBezTo>
                        <a:pt x="6" y="8"/>
                        <a:pt x="4" y="4"/>
                        <a:pt x="2" y="2"/>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7" name="Freeform 177">
                  <a:extLst>
                    <a:ext uri="{FF2B5EF4-FFF2-40B4-BE49-F238E27FC236}">
                      <a16:creationId xmlns:a16="http://schemas.microsoft.com/office/drawing/2014/main" id="{F3179D4E-25AC-429F-9CD3-4E9BE6C40482}"/>
                    </a:ext>
                  </a:extLst>
                </p:cNvPr>
                <p:cNvSpPr>
                  <a:spLocks/>
                </p:cNvSpPr>
                <p:nvPr/>
              </p:nvSpPr>
              <p:spPr bwMode="auto">
                <a:xfrm>
                  <a:off x="3688801" y="2439547"/>
                  <a:ext cx="33166" cy="22111"/>
                </a:xfrm>
                <a:custGeom>
                  <a:avLst/>
                  <a:gdLst>
                    <a:gd name="T0" fmla="*/ 5 w 10"/>
                    <a:gd name="T1" fmla="*/ 0 h 6"/>
                    <a:gd name="T2" fmla="*/ 3 w 10"/>
                    <a:gd name="T3" fmla="*/ 0 h 6"/>
                    <a:gd name="T4" fmla="*/ 1 w 10"/>
                    <a:gd name="T5" fmla="*/ 1 h 6"/>
                    <a:gd name="T6" fmla="*/ 0 w 10"/>
                    <a:gd name="T7" fmla="*/ 0 h 6"/>
                    <a:gd name="T8" fmla="*/ 6 w 10"/>
                    <a:gd name="T9" fmla="*/ 6 h 6"/>
                    <a:gd name="T10" fmla="*/ 9 w 10"/>
                    <a:gd name="T11" fmla="*/ 2 h 6"/>
                    <a:gd name="T12" fmla="*/ 9 w 10"/>
                    <a:gd name="T13" fmla="*/ 1 h 6"/>
                    <a:gd name="T14" fmla="*/ 5 w 10"/>
                    <a:gd name="T15" fmla="*/ 0 h 6"/>
                    <a:gd name="T16" fmla="*/ 5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5" y="0"/>
                      </a:moveTo>
                      <a:cubicBezTo>
                        <a:pt x="4" y="0"/>
                        <a:pt x="4" y="0"/>
                        <a:pt x="3" y="0"/>
                      </a:cubicBezTo>
                      <a:cubicBezTo>
                        <a:pt x="3" y="0"/>
                        <a:pt x="2" y="1"/>
                        <a:pt x="1" y="1"/>
                      </a:cubicBezTo>
                      <a:cubicBezTo>
                        <a:pt x="1" y="1"/>
                        <a:pt x="0" y="0"/>
                        <a:pt x="0" y="0"/>
                      </a:cubicBezTo>
                      <a:cubicBezTo>
                        <a:pt x="1" y="2"/>
                        <a:pt x="4" y="4"/>
                        <a:pt x="6" y="6"/>
                      </a:cubicBezTo>
                      <a:cubicBezTo>
                        <a:pt x="8" y="5"/>
                        <a:pt x="10" y="3"/>
                        <a:pt x="9" y="2"/>
                      </a:cubicBezTo>
                      <a:cubicBezTo>
                        <a:pt x="9" y="2"/>
                        <a:pt x="9" y="1"/>
                        <a:pt x="9" y="1"/>
                      </a:cubicBezTo>
                      <a:cubicBezTo>
                        <a:pt x="8" y="1"/>
                        <a:pt x="7"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8" name="Freeform 178">
                  <a:extLst>
                    <a:ext uri="{FF2B5EF4-FFF2-40B4-BE49-F238E27FC236}">
                      <a16:creationId xmlns:a16="http://schemas.microsoft.com/office/drawing/2014/main" id="{CD1A60B7-AFDC-4D35-8816-20EFD3319724}"/>
                    </a:ext>
                  </a:extLst>
                </p:cNvPr>
                <p:cNvSpPr>
                  <a:spLocks/>
                </p:cNvSpPr>
                <p:nvPr/>
              </p:nvSpPr>
              <p:spPr bwMode="auto">
                <a:xfrm>
                  <a:off x="3696171" y="2417437"/>
                  <a:ext cx="51592" cy="51592"/>
                </a:xfrm>
                <a:custGeom>
                  <a:avLst/>
                  <a:gdLst>
                    <a:gd name="T0" fmla="*/ 4 w 16"/>
                    <a:gd name="T1" fmla="*/ 0 h 16"/>
                    <a:gd name="T2" fmla="*/ 3 w 16"/>
                    <a:gd name="T3" fmla="*/ 0 h 16"/>
                    <a:gd name="T4" fmla="*/ 6 w 16"/>
                    <a:gd name="T5" fmla="*/ 8 h 16"/>
                    <a:gd name="T6" fmla="*/ 6 w 16"/>
                    <a:gd name="T7" fmla="*/ 9 h 16"/>
                    <a:gd name="T8" fmla="*/ 16 w 16"/>
                    <a:gd name="T9" fmla="*/ 16 h 16"/>
                    <a:gd name="T10" fmla="*/ 15 w 16"/>
                    <a:gd name="T11" fmla="*/ 11 h 16"/>
                    <a:gd name="T12" fmla="*/ 15 w 16"/>
                    <a:gd name="T13" fmla="*/ 11 h 16"/>
                    <a:gd name="T14" fmla="*/ 14 w 16"/>
                    <a:gd name="T15" fmla="*/ 11 h 16"/>
                    <a:gd name="T16" fmla="*/ 13 w 16"/>
                    <a:gd name="T17" fmla="*/ 11 h 16"/>
                    <a:gd name="T18" fmla="*/ 13 w 16"/>
                    <a:gd name="T19" fmla="*/ 11 h 16"/>
                    <a:gd name="T20" fmla="*/ 13 w 16"/>
                    <a:gd name="T21" fmla="*/ 9 h 16"/>
                    <a:gd name="T22" fmla="*/ 11 w 16"/>
                    <a:gd name="T23" fmla="*/ 9 h 16"/>
                    <a:gd name="T24" fmla="*/ 9 w 16"/>
                    <a:gd name="T25" fmla="*/ 5 h 16"/>
                    <a:gd name="T26" fmla="*/ 7 w 16"/>
                    <a:gd name="T27" fmla="*/ 2 h 16"/>
                    <a:gd name="T28" fmla="*/ 4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4" y="0"/>
                      </a:moveTo>
                      <a:cubicBezTo>
                        <a:pt x="3" y="0"/>
                        <a:pt x="3" y="0"/>
                        <a:pt x="3" y="0"/>
                      </a:cubicBezTo>
                      <a:cubicBezTo>
                        <a:pt x="0" y="2"/>
                        <a:pt x="3" y="5"/>
                        <a:pt x="6" y="8"/>
                      </a:cubicBezTo>
                      <a:cubicBezTo>
                        <a:pt x="6" y="8"/>
                        <a:pt x="6" y="9"/>
                        <a:pt x="6" y="9"/>
                      </a:cubicBezTo>
                      <a:cubicBezTo>
                        <a:pt x="10" y="12"/>
                        <a:pt x="15" y="16"/>
                        <a:pt x="16" y="16"/>
                      </a:cubicBezTo>
                      <a:cubicBezTo>
                        <a:pt x="16" y="14"/>
                        <a:pt x="16" y="13"/>
                        <a:pt x="15" y="11"/>
                      </a:cubicBezTo>
                      <a:cubicBezTo>
                        <a:pt x="15" y="11"/>
                        <a:pt x="15" y="11"/>
                        <a:pt x="15" y="11"/>
                      </a:cubicBezTo>
                      <a:cubicBezTo>
                        <a:pt x="15" y="11"/>
                        <a:pt x="15" y="11"/>
                        <a:pt x="14" y="11"/>
                      </a:cubicBezTo>
                      <a:cubicBezTo>
                        <a:pt x="14" y="11"/>
                        <a:pt x="14" y="11"/>
                        <a:pt x="13" y="11"/>
                      </a:cubicBezTo>
                      <a:cubicBezTo>
                        <a:pt x="13" y="11"/>
                        <a:pt x="13" y="11"/>
                        <a:pt x="13" y="11"/>
                      </a:cubicBezTo>
                      <a:cubicBezTo>
                        <a:pt x="12" y="11"/>
                        <a:pt x="14" y="9"/>
                        <a:pt x="13" y="9"/>
                      </a:cubicBezTo>
                      <a:cubicBezTo>
                        <a:pt x="12" y="9"/>
                        <a:pt x="12" y="9"/>
                        <a:pt x="11" y="9"/>
                      </a:cubicBezTo>
                      <a:cubicBezTo>
                        <a:pt x="13" y="7"/>
                        <a:pt x="10" y="7"/>
                        <a:pt x="9" y="5"/>
                      </a:cubicBezTo>
                      <a:cubicBezTo>
                        <a:pt x="8" y="5"/>
                        <a:pt x="8" y="3"/>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9" name="Freeform 179">
                  <a:extLst>
                    <a:ext uri="{FF2B5EF4-FFF2-40B4-BE49-F238E27FC236}">
                      <a16:creationId xmlns:a16="http://schemas.microsoft.com/office/drawing/2014/main" id="{21BF45E8-4EA8-40BF-B0A9-D6A0860460CD}"/>
                    </a:ext>
                  </a:extLst>
                </p:cNvPr>
                <p:cNvSpPr>
                  <a:spLocks/>
                </p:cNvSpPr>
                <p:nvPr/>
              </p:nvSpPr>
              <p:spPr bwMode="auto">
                <a:xfrm>
                  <a:off x="6375250" y="2686450"/>
                  <a:ext cx="7370" cy="3685"/>
                </a:xfrm>
                <a:custGeom>
                  <a:avLst/>
                  <a:gdLst>
                    <a:gd name="T0" fmla="*/ 2 w 3"/>
                    <a:gd name="T1" fmla="*/ 0 h 2"/>
                    <a:gd name="T2" fmla="*/ 0 w 3"/>
                    <a:gd name="T3" fmla="*/ 2 h 2"/>
                    <a:gd name="T4" fmla="*/ 1 w 3"/>
                    <a:gd name="T5" fmla="*/ 2 h 2"/>
                    <a:gd name="T6" fmla="*/ 3 w 3"/>
                    <a:gd name="T7" fmla="*/ 1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1" y="0"/>
                        <a:pt x="1" y="1"/>
                        <a:pt x="0" y="2"/>
                      </a:cubicBezTo>
                      <a:cubicBezTo>
                        <a:pt x="0" y="2"/>
                        <a:pt x="1" y="2"/>
                        <a:pt x="1" y="2"/>
                      </a:cubicBezTo>
                      <a:cubicBezTo>
                        <a:pt x="1" y="2"/>
                        <a:pt x="2" y="1"/>
                        <a:pt x="3" y="1"/>
                      </a:cubicBezTo>
                      <a:cubicBezTo>
                        <a:pt x="3"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0" name="Freeform 180">
                  <a:extLst>
                    <a:ext uri="{FF2B5EF4-FFF2-40B4-BE49-F238E27FC236}">
                      <a16:creationId xmlns:a16="http://schemas.microsoft.com/office/drawing/2014/main" id="{AE863E4A-7495-463F-899B-E7083F7698AC}"/>
                    </a:ext>
                  </a:extLst>
                </p:cNvPr>
                <p:cNvSpPr>
                  <a:spLocks/>
                </p:cNvSpPr>
                <p:nvPr/>
              </p:nvSpPr>
              <p:spPr bwMode="auto">
                <a:xfrm>
                  <a:off x="6316288" y="2715931"/>
                  <a:ext cx="7370" cy="3685"/>
                </a:xfrm>
                <a:custGeom>
                  <a:avLst/>
                  <a:gdLst>
                    <a:gd name="T0" fmla="*/ 2 w 2"/>
                    <a:gd name="T1" fmla="*/ 0 h 1"/>
                    <a:gd name="T2" fmla="*/ 0 w 2"/>
                    <a:gd name="T3" fmla="*/ 1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0"/>
                        <a:pt x="0" y="1"/>
                      </a:cubicBezTo>
                      <a:cubicBezTo>
                        <a:pt x="1" y="1"/>
                        <a:pt x="1" y="1"/>
                        <a:pt x="1" y="1"/>
                      </a:cubicBezTo>
                      <a:cubicBezTo>
                        <a:pt x="2"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1" name="Freeform 181">
                  <a:extLst>
                    <a:ext uri="{FF2B5EF4-FFF2-40B4-BE49-F238E27FC236}">
                      <a16:creationId xmlns:a16="http://schemas.microsoft.com/office/drawing/2014/main" id="{B39C9EDA-4F9F-4628-9900-6304830C45B0}"/>
                    </a:ext>
                  </a:extLst>
                </p:cNvPr>
                <p:cNvSpPr>
                  <a:spLocks/>
                </p:cNvSpPr>
                <p:nvPr/>
              </p:nvSpPr>
              <p:spPr bwMode="auto">
                <a:xfrm>
                  <a:off x="6183624" y="2712246"/>
                  <a:ext cx="3685" cy="14740"/>
                </a:xfrm>
                <a:custGeom>
                  <a:avLst/>
                  <a:gdLst>
                    <a:gd name="T0" fmla="*/ 0 w 1"/>
                    <a:gd name="T1" fmla="*/ 0 h 5"/>
                    <a:gd name="T2" fmla="*/ 1 w 1"/>
                    <a:gd name="T3" fmla="*/ 5 h 5"/>
                    <a:gd name="T4" fmla="*/ 0 w 1"/>
                    <a:gd name="T5" fmla="*/ 0 h 5"/>
                  </a:gdLst>
                  <a:ahLst/>
                  <a:cxnLst>
                    <a:cxn ang="0">
                      <a:pos x="T0" y="T1"/>
                    </a:cxn>
                    <a:cxn ang="0">
                      <a:pos x="T2" y="T3"/>
                    </a:cxn>
                    <a:cxn ang="0">
                      <a:pos x="T4" y="T5"/>
                    </a:cxn>
                  </a:cxnLst>
                  <a:rect l="0" t="0" r="r" b="b"/>
                  <a:pathLst>
                    <a:path w="1" h="5">
                      <a:moveTo>
                        <a:pt x="0" y="0"/>
                      </a:moveTo>
                      <a:cubicBezTo>
                        <a:pt x="0" y="2"/>
                        <a:pt x="0" y="3"/>
                        <a:pt x="1" y="5"/>
                      </a:cubicBezTo>
                      <a:cubicBezTo>
                        <a:pt x="1"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2" name="Freeform 182">
                  <a:extLst>
                    <a:ext uri="{FF2B5EF4-FFF2-40B4-BE49-F238E27FC236}">
                      <a16:creationId xmlns:a16="http://schemas.microsoft.com/office/drawing/2014/main" id="{8A8FC5BD-3C25-449F-984A-303ACF2B96F8}"/>
                    </a:ext>
                  </a:extLst>
                </p:cNvPr>
                <p:cNvSpPr>
                  <a:spLocks/>
                </p:cNvSpPr>
                <p:nvPr/>
              </p:nvSpPr>
              <p:spPr bwMode="auto">
                <a:xfrm>
                  <a:off x="6120977" y="2693820"/>
                  <a:ext cx="14740" cy="18426"/>
                </a:xfrm>
                <a:custGeom>
                  <a:avLst/>
                  <a:gdLst>
                    <a:gd name="T0" fmla="*/ 2 w 5"/>
                    <a:gd name="T1" fmla="*/ 0 h 6"/>
                    <a:gd name="T2" fmla="*/ 1 w 5"/>
                    <a:gd name="T3" fmla="*/ 6 h 6"/>
                    <a:gd name="T4" fmla="*/ 2 w 5"/>
                    <a:gd name="T5" fmla="*/ 0 h 6"/>
                  </a:gdLst>
                  <a:ahLst/>
                  <a:cxnLst>
                    <a:cxn ang="0">
                      <a:pos x="T0" y="T1"/>
                    </a:cxn>
                    <a:cxn ang="0">
                      <a:pos x="T2" y="T3"/>
                    </a:cxn>
                    <a:cxn ang="0">
                      <a:pos x="T4" y="T5"/>
                    </a:cxn>
                  </a:cxnLst>
                  <a:rect l="0" t="0" r="r" b="b"/>
                  <a:pathLst>
                    <a:path w="5" h="6">
                      <a:moveTo>
                        <a:pt x="2" y="0"/>
                      </a:moveTo>
                      <a:cubicBezTo>
                        <a:pt x="2" y="2"/>
                        <a:pt x="0" y="4"/>
                        <a:pt x="1" y="6"/>
                      </a:cubicBezTo>
                      <a:cubicBezTo>
                        <a:pt x="5" y="5"/>
                        <a:pt x="4"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3" name="Freeform 183">
                  <a:extLst>
                    <a:ext uri="{FF2B5EF4-FFF2-40B4-BE49-F238E27FC236}">
                      <a16:creationId xmlns:a16="http://schemas.microsoft.com/office/drawing/2014/main" id="{4C2FA313-55D7-4848-9AE5-9FFAF27AB845}"/>
                    </a:ext>
                  </a:extLst>
                </p:cNvPr>
                <p:cNvSpPr>
                  <a:spLocks/>
                </p:cNvSpPr>
                <p:nvPr/>
              </p:nvSpPr>
              <p:spPr bwMode="auto">
                <a:xfrm>
                  <a:off x="6338399" y="2704876"/>
                  <a:ext cx="14740" cy="7370"/>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1" y="2"/>
                        <a:pt x="0" y="3"/>
                        <a:pt x="1" y="3"/>
                      </a:cubicBezTo>
                      <a:cubicBezTo>
                        <a:pt x="1" y="3"/>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4" name="Freeform 184">
                  <a:extLst>
                    <a:ext uri="{FF2B5EF4-FFF2-40B4-BE49-F238E27FC236}">
                      <a16:creationId xmlns:a16="http://schemas.microsoft.com/office/drawing/2014/main" id="{DEE8EDF2-D0E1-4EF1-9E08-FFACC130D617}"/>
                    </a:ext>
                  </a:extLst>
                </p:cNvPr>
                <p:cNvSpPr>
                  <a:spLocks/>
                </p:cNvSpPr>
                <p:nvPr/>
              </p:nvSpPr>
              <p:spPr bwMode="auto">
                <a:xfrm>
                  <a:off x="6161514" y="2723301"/>
                  <a:ext cx="18426" cy="14740"/>
                </a:xfrm>
                <a:custGeom>
                  <a:avLst/>
                  <a:gdLst>
                    <a:gd name="T0" fmla="*/ 4 w 6"/>
                    <a:gd name="T1" fmla="*/ 0 h 5"/>
                    <a:gd name="T2" fmla="*/ 0 w 6"/>
                    <a:gd name="T3" fmla="*/ 1 h 5"/>
                    <a:gd name="T4" fmla="*/ 5 w 6"/>
                    <a:gd name="T5" fmla="*/ 5 h 5"/>
                    <a:gd name="T6" fmla="*/ 4 w 6"/>
                    <a:gd name="T7" fmla="*/ 0 h 5"/>
                  </a:gdLst>
                  <a:ahLst/>
                  <a:cxnLst>
                    <a:cxn ang="0">
                      <a:pos x="T0" y="T1"/>
                    </a:cxn>
                    <a:cxn ang="0">
                      <a:pos x="T2" y="T3"/>
                    </a:cxn>
                    <a:cxn ang="0">
                      <a:pos x="T4" y="T5"/>
                    </a:cxn>
                    <a:cxn ang="0">
                      <a:pos x="T6" y="T7"/>
                    </a:cxn>
                  </a:cxnLst>
                  <a:rect l="0" t="0" r="r" b="b"/>
                  <a:pathLst>
                    <a:path w="6" h="5">
                      <a:moveTo>
                        <a:pt x="4" y="0"/>
                      </a:moveTo>
                      <a:cubicBezTo>
                        <a:pt x="3" y="0"/>
                        <a:pt x="1" y="0"/>
                        <a:pt x="0" y="1"/>
                      </a:cubicBezTo>
                      <a:cubicBezTo>
                        <a:pt x="2" y="2"/>
                        <a:pt x="3" y="2"/>
                        <a:pt x="5" y="5"/>
                      </a:cubicBezTo>
                      <a:cubicBezTo>
                        <a:pt x="6"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5" name="Freeform 185">
                  <a:extLst>
                    <a:ext uri="{FF2B5EF4-FFF2-40B4-BE49-F238E27FC236}">
                      <a16:creationId xmlns:a16="http://schemas.microsoft.com/office/drawing/2014/main" id="{F24F4879-C795-44C3-B07A-FE5C0353D440}"/>
                    </a:ext>
                  </a:extLst>
                </p:cNvPr>
                <p:cNvSpPr>
                  <a:spLocks/>
                </p:cNvSpPr>
                <p:nvPr/>
              </p:nvSpPr>
              <p:spPr bwMode="auto">
                <a:xfrm>
                  <a:off x="6353140" y="2693820"/>
                  <a:ext cx="22111" cy="3685"/>
                </a:xfrm>
                <a:custGeom>
                  <a:avLst/>
                  <a:gdLst>
                    <a:gd name="T0" fmla="*/ 7 w 7"/>
                    <a:gd name="T1" fmla="*/ 0 h 1"/>
                    <a:gd name="T2" fmla="*/ 0 w 7"/>
                    <a:gd name="T3" fmla="*/ 1 h 1"/>
                    <a:gd name="T4" fmla="*/ 0 w 7"/>
                    <a:gd name="T5" fmla="*/ 1 h 1"/>
                    <a:gd name="T6" fmla="*/ 2 w 7"/>
                    <a:gd name="T7" fmla="*/ 1 h 1"/>
                    <a:gd name="T8" fmla="*/ 3 w 7"/>
                    <a:gd name="T9" fmla="*/ 1 h 1"/>
                    <a:gd name="T10" fmla="*/ 3 w 7"/>
                    <a:gd name="T11" fmla="*/ 1 h 1"/>
                    <a:gd name="T12" fmla="*/ 7 w 7"/>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7" h="1">
                      <a:moveTo>
                        <a:pt x="7" y="0"/>
                      </a:moveTo>
                      <a:cubicBezTo>
                        <a:pt x="5" y="0"/>
                        <a:pt x="2" y="0"/>
                        <a:pt x="0" y="1"/>
                      </a:cubicBezTo>
                      <a:cubicBezTo>
                        <a:pt x="0" y="1"/>
                        <a:pt x="0" y="1"/>
                        <a:pt x="0" y="1"/>
                      </a:cubicBezTo>
                      <a:cubicBezTo>
                        <a:pt x="1" y="1"/>
                        <a:pt x="2" y="1"/>
                        <a:pt x="2" y="1"/>
                      </a:cubicBezTo>
                      <a:cubicBezTo>
                        <a:pt x="2" y="1"/>
                        <a:pt x="3" y="1"/>
                        <a:pt x="3" y="1"/>
                      </a:cubicBezTo>
                      <a:cubicBezTo>
                        <a:pt x="3" y="1"/>
                        <a:pt x="3" y="1"/>
                        <a:pt x="3" y="1"/>
                      </a:cubicBezTo>
                      <a:cubicBezTo>
                        <a:pt x="4" y="1"/>
                        <a:pt x="6"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6" name="Freeform 186">
                  <a:extLst>
                    <a:ext uri="{FF2B5EF4-FFF2-40B4-BE49-F238E27FC236}">
                      <a16:creationId xmlns:a16="http://schemas.microsoft.com/office/drawing/2014/main" id="{6F74E822-4593-4081-B725-E291CBC943A8}"/>
                    </a:ext>
                  </a:extLst>
                </p:cNvPr>
                <p:cNvSpPr>
                  <a:spLocks/>
                </p:cNvSpPr>
                <p:nvPr/>
              </p:nvSpPr>
              <p:spPr bwMode="auto">
                <a:xfrm>
                  <a:off x="6132033" y="2679080"/>
                  <a:ext cx="55277" cy="47907"/>
                </a:xfrm>
                <a:custGeom>
                  <a:avLst/>
                  <a:gdLst>
                    <a:gd name="T0" fmla="*/ 6 w 17"/>
                    <a:gd name="T1" fmla="*/ 0 h 15"/>
                    <a:gd name="T2" fmla="*/ 4 w 17"/>
                    <a:gd name="T3" fmla="*/ 0 h 15"/>
                    <a:gd name="T4" fmla="*/ 1 w 17"/>
                    <a:gd name="T5" fmla="*/ 5 h 15"/>
                    <a:gd name="T6" fmla="*/ 0 w 17"/>
                    <a:gd name="T7" fmla="*/ 5 h 15"/>
                    <a:gd name="T8" fmla="*/ 8 w 17"/>
                    <a:gd name="T9" fmla="*/ 15 h 15"/>
                    <a:gd name="T10" fmla="*/ 10 w 17"/>
                    <a:gd name="T11" fmla="*/ 8 h 15"/>
                    <a:gd name="T12" fmla="*/ 10 w 17"/>
                    <a:gd name="T13" fmla="*/ 4 h 15"/>
                    <a:gd name="T14" fmla="*/ 14 w 17"/>
                    <a:gd name="T15" fmla="*/ 10 h 15"/>
                    <a:gd name="T16" fmla="*/ 16 w 17"/>
                    <a:gd name="T17" fmla="*/ 8 h 15"/>
                    <a:gd name="T18" fmla="*/ 13 w 17"/>
                    <a:gd name="T19" fmla="*/ 3 h 15"/>
                    <a:gd name="T20" fmla="*/ 12 w 17"/>
                    <a:gd name="T21" fmla="*/ 3 h 15"/>
                    <a:gd name="T22" fmla="*/ 12 w 17"/>
                    <a:gd name="T23" fmla="*/ 2 h 15"/>
                    <a:gd name="T24" fmla="*/ 12 w 17"/>
                    <a:gd name="T25" fmla="*/ 2 h 15"/>
                    <a:gd name="T26" fmla="*/ 11 w 17"/>
                    <a:gd name="T27" fmla="*/ 2 h 15"/>
                    <a:gd name="T28" fmla="*/ 10 w 17"/>
                    <a:gd name="T29" fmla="*/ 2 h 15"/>
                    <a:gd name="T30" fmla="*/ 10 w 17"/>
                    <a:gd name="T31" fmla="*/ 2 h 15"/>
                    <a:gd name="T32" fmla="*/ 9 w 17"/>
                    <a:gd name="T33" fmla="*/ 2 h 15"/>
                    <a:gd name="T34" fmla="*/ 8 w 17"/>
                    <a:gd name="T35" fmla="*/ 2 h 15"/>
                    <a:gd name="T36" fmla="*/ 8 w 17"/>
                    <a:gd name="T37" fmla="*/ 2 h 15"/>
                    <a:gd name="T38" fmla="*/ 7 w 17"/>
                    <a:gd name="T39" fmla="*/ 1 h 15"/>
                    <a:gd name="T40" fmla="*/ 6 w 17"/>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5">
                      <a:moveTo>
                        <a:pt x="6" y="0"/>
                      </a:moveTo>
                      <a:cubicBezTo>
                        <a:pt x="5" y="0"/>
                        <a:pt x="5" y="0"/>
                        <a:pt x="4" y="0"/>
                      </a:cubicBezTo>
                      <a:cubicBezTo>
                        <a:pt x="3" y="2"/>
                        <a:pt x="3" y="5"/>
                        <a:pt x="1" y="5"/>
                      </a:cubicBezTo>
                      <a:cubicBezTo>
                        <a:pt x="1" y="5"/>
                        <a:pt x="0" y="5"/>
                        <a:pt x="0" y="5"/>
                      </a:cubicBezTo>
                      <a:cubicBezTo>
                        <a:pt x="2" y="8"/>
                        <a:pt x="5" y="12"/>
                        <a:pt x="8" y="15"/>
                      </a:cubicBezTo>
                      <a:cubicBezTo>
                        <a:pt x="11" y="12"/>
                        <a:pt x="10" y="10"/>
                        <a:pt x="10" y="8"/>
                      </a:cubicBezTo>
                      <a:cubicBezTo>
                        <a:pt x="9" y="5"/>
                        <a:pt x="9" y="6"/>
                        <a:pt x="10" y="4"/>
                      </a:cubicBezTo>
                      <a:cubicBezTo>
                        <a:pt x="12" y="6"/>
                        <a:pt x="13" y="10"/>
                        <a:pt x="14" y="10"/>
                      </a:cubicBezTo>
                      <a:cubicBezTo>
                        <a:pt x="14" y="10"/>
                        <a:pt x="15" y="9"/>
                        <a:pt x="16" y="8"/>
                      </a:cubicBezTo>
                      <a:cubicBezTo>
                        <a:pt x="17" y="6"/>
                        <a:pt x="16" y="3"/>
                        <a:pt x="13" y="3"/>
                      </a:cubicBezTo>
                      <a:cubicBezTo>
                        <a:pt x="13" y="3"/>
                        <a:pt x="13" y="3"/>
                        <a:pt x="12" y="3"/>
                      </a:cubicBezTo>
                      <a:cubicBezTo>
                        <a:pt x="12" y="2"/>
                        <a:pt x="12" y="2"/>
                        <a:pt x="12" y="2"/>
                      </a:cubicBezTo>
                      <a:cubicBezTo>
                        <a:pt x="12" y="2"/>
                        <a:pt x="12" y="2"/>
                        <a:pt x="12" y="2"/>
                      </a:cubicBezTo>
                      <a:cubicBezTo>
                        <a:pt x="11" y="2"/>
                        <a:pt x="11" y="2"/>
                        <a:pt x="11" y="2"/>
                      </a:cubicBezTo>
                      <a:cubicBezTo>
                        <a:pt x="11" y="2"/>
                        <a:pt x="11" y="2"/>
                        <a:pt x="10" y="2"/>
                      </a:cubicBezTo>
                      <a:cubicBezTo>
                        <a:pt x="10" y="2"/>
                        <a:pt x="10" y="2"/>
                        <a:pt x="10" y="2"/>
                      </a:cubicBezTo>
                      <a:cubicBezTo>
                        <a:pt x="10" y="2"/>
                        <a:pt x="9" y="2"/>
                        <a:pt x="9" y="2"/>
                      </a:cubicBezTo>
                      <a:cubicBezTo>
                        <a:pt x="9" y="2"/>
                        <a:pt x="9" y="2"/>
                        <a:pt x="8" y="2"/>
                      </a:cubicBezTo>
                      <a:cubicBezTo>
                        <a:pt x="8" y="2"/>
                        <a:pt x="8" y="2"/>
                        <a:pt x="8" y="2"/>
                      </a:cubicBezTo>
                      <a:cubicBezTo>
                        <a:pt x="7" y="2"/>
                        <a:pt x="8" y="1"/>
                        <a:pt x="7"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7" name="Freeform 187">
                  <a:extLst>
                    <a:ext uri="{FF2B5EF4-FFF2-40B4-BE49-F238E27FC236}">
                      <a16:creationId xmlns:a16="http://schemas.microsoft.com/office/drawing/2014/main" id="{D6C3521D-E94B-4586-A3DE-44ED3397DA99}"/>
                    </a:ext>
                  </a:extLst>
                </p:cNvPr>
                <p:cNvSpPr>
                  <a:spLocks/>
                </p:cNvSpPr>
                <p:nvPr/>
              </p:nvSpPr>
              <p:spPr bwMode="auto">
                <a:xfrm>
                  <a:off x="6349454" y="2863335"/>
                  <a:ext cx="77387" cy="44221"/>
                </a:xfrm>
                <a:custGeom>
                  <a:avLst/>
                  <a:gdLst>
                    <a:gd name="T0" fmla="*/ 17 w 24"/>
                    <a:gd name="T1" fmla="*/ 0 h 14"/>
                    <a:gd name="T2" fmla="*/ 2 w 24"/>
                    <a:gd name="T3" fmla="*/ 4 h 14"/>
                    <a:gd name="T4" fmla="*/ 0 w 24"/>
                    <a:gd name="T5" fmla="*/ 4 h 14"/>
                    <a:gd name="T6" fmla="*/ 11 w 24"/>
                    <a:gd name="T7" fmla="*/ 14 h 14"/>
                    <a:gd name="T8" fmla="*/ 24 w 24"/>
                    <a:gd name="T9" fmla="*/ 8 h 14"/>
                    <a:gd name="T10" fmla="*/ 17 w 24"/>
                    <a:gd name="T11" fmla="*/ 0 h 14"/>
                  </a:gdLst>
                  <a:ahLst/>
                  <a:cxnLst>
                    <a:cxn ang="0">
                      <a:pos x="T0" y="T1"/>
                    </a:cxn>
                    <a:cxn ang="0">
                      <a:pos x="T2" y="T3"/>
                    </a:cxn>
                    <a:cxn ang="0">
                      <a:pos x="T4" y="T5"/>
                    </a:cxn>
                    <a:cxn ang="0">
                      <a:pos x="T6" y="T7"/>
                    </a:cxn>
                    <a:cxn ang="0">
                      <a:pos x="T8" y="T9"/>
                    </a:cxn>
                    <a:cxn ang="0">
                      <a:pos x="T10" y="T11"/>
                    </a:cxn>
                  </a:cxnLst>
                  <a:rect l="0" t="0" r="r" b="b"/>
                  <a:pathLst>
                    <a:path w="24" h="14">
                      <a:moveTo>
                        <a:pt x="17" y="0"/>
                      </a:moveTo>
                      <a:cubicBezTo>
                        <a:pt x="13" y="1"/>
                        <a:pt x="7" y="4"/>
                        <a:pt x="2" y="4"/>
                      </a:cubicBezTo>
                      <a:cubicBezTo>
                        <a:pt x="1" y="4"/>
                        <a:pt x="1" y="4"/>
                        <a:pt x="0" y="4"/>
                      </a:cubicBezTo>
                      <a:cubicBezTo>
                        <a:pt x="3" y="6"/>
                        <a:pt x="14" y="8"/>
                        <a:pt x="11" y="14"/>
                      </a:cubicBezTo>
                      <a:cubicBezTo>
                        <a:pt x="15" y="13"/>
                        <a:pt x="21" y="10"/>
                        <a:pt x="24" y="8"/>
                      </a:cubicBezTo>
                      <a:cubicBezTo>
                        <a:pt x="22" y="6"/>
                        <a:pt x="18" y="2"/>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8" name="Freeform 188">
                  <a:extLst>
                    <a:ext uri="{FF2B5EF4-FFF2-40B4-BE49-F238E27FC236}">
                      <a16:creationId xmlns:a16="http://schemas.microsoft.com/office/drawing/2014/main" id="{C5769E98-3D27-4DF3-AA7A-A761751267A0}"/>
                    </a:ext>
                  </a:extLst>
                </p:cNvPr>
                <p:cNvSpPr>
                  <a:spLocks/>
                </p:cNvSpPr>
                <p:nvPr/>
              </p:nvSpPr>
              <p:spPr bwMode="auto">
                <a:xfrm>
                  <a:off x="6327344" y="2918612"/>
                  <a:ext cx="132664" cy="92128"/>
                </a:xfrm>
                <a:custGeom>
                  <a:avLst/>
                  <a:gdLst>
                    <a:gd name="T0" fmla="*/ 27 w 42"/>
                    <a:gd name="T1" fmla="*/ 0 h 29"/>
                    <a:gd name="T2" fmla="*/ 11 w 42"/>
                    <a:gd name="T3" fmla="*/ 4 h 29"/>
                    <a:gd name="T4" fmla="*/ 6 w 42"/>
                    <a:gd name="T5" fmla="*/ 6 h 29"/>
                    <a:gd name="T6" fmla="*/ 0 w 42"/>
                    <a:gd name="T7" fmla="*/ 5 h 29"/>
                    <a:gd name="T8" fmla="*/ 2 w 42"/>
                    <a:gd name="T9" fmla="*/ 7 h 29"/>
                    <a:gd name="T10" fmla="*/ 1 w 42"/>
                    <a:gd name="T11" fmla="*/ 13 h 29"/>
                    <a:gd name="T12" fmla="*/ 2 w 42"/>
                    <a:gd name="T13" fmla="*/ 15 h 29"/>
                    <a:gd name="T14" fmla="*/ 9 w 42"/>
                    <a:gd name="T15" fmla="*/ 20 h 29"/>
                    <a:gd name="T16" fmla="*/ 6 w 42"/>
                    <a:gd name="T17" fmla="*/ 29 h 29"/>
                    <a:gd name="T18" fmla="*/ 6 w 42"/>
                    <a:gd name="T19" fmla="*/ 29 h 29"/>
                    <a:gd name="T20" fmla="*/ 10 w 42"/>
                    <a:gd name="T21" fmla="*/ 24 h 29"/>
                    <a:gd name="T22" fmla="*/ 20 w 42"/>
                    <a:gd name="T23" fmla="*/ 15 h 29"/>
                    <a:gd name="T24" fmla="*/ 28 w 42"/>
                    <a:gd name="T25" fmla="*/ 14 h 29"/>
                    <a:gd name="T26" fmla="*/ 32 w 42"/>
                    <a:gd name="T27" fmla="*/ 10 h 29"/>
                    <a:gd name="T28" fmla="*/ 42 w 42"/>
                    <a:gd name="T29" fmla="*/ 6 h 29"/>
                    <a:gd name="T30" fmla="*/ 27 w 42"/>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29">
                      <a:moveTo>
                        <a:pt x="27" y="0"/>
                      </a:moveTo>
                      <a:cubicBezTo>
                        <a:pt x="21" y="1"/>
                        <a:pt x="17" y="1"/>
                        <a:pt x="11" y="4"/>
                      </a:cubicBezTo>
                      <a:cubicBezTo>
                        <a:pt x="9" y="6"/>
                        <a:pt x="8" y="6"/>
                        <a:pt x="6" y="6"/>
                      </a:cubicBezTo>
                      <a:cubicBezTo>
                        <a:pt x="5" y="6"/>
                        <a:pt x="3" y="5"/>
                        <a:pt x="0" y="5"/>
                      </a:cubicBezTo>
                      <a:cubicBezTo>
                        <a:pt x="1" y="5"/>
                        <a:pt x="2" y="6"/>
                        <a:pt x="2" y="7"/>
                      </a:cubicBezTo>
                      <a:cubicBezTo>
                        <a:pt x="5" y="12"/>
                        <a:pt x="1" y="10"/>
                        <a:pt x="1" y="13"/>
                      </a:cubicBezTo>
                      <a:cubicBezTo>
                        <a:pt x="0" y="14"/>
                        <a:pt x="1" y="15"/>
                        <a:pt x="2" y="15"/>
                      </a:cubicBezTo>
                      <a:cubicBezTo>
                        <a:pt x="4" y="16"/>
                        <a:pt x="10" y="18"/>
                        <a:pt x="9" y="20"/>
                      </a:cubicBezTo>
                      <a:cubicBezTo>
                        <a:pt x="9" y="21"/>
                        <a:pt x="2" y="28"/>
                        <a:pt x="6" y="29"/>
                      </a:cubicBezTo>
                      <a:cubicBezTo>
                        <a:pt x="6" y="29"/>
                        <a:pt x="6" y="29"/>
                        <a:pt x="6" y="29"/>
                      </a:cubicBezTo>
                      <a:cubicBezTo>
                        <a:pt x="8" y="29"/>
                        <a:pt x="10" y="24"/>
                        <a:pt x="10" y="24"/>
                      </a:cubicBezTo>
                      <a:cubicBezTo>
                        <a:pt x="12" y="19"/>
                        <a:pt x="14" y="15"/>
                        <a:pt x="20" y="15"/>
                      </a:cubicBezTo>
                      <a:cubicBezTo>
                        <a:pt x="23" y="15"/>
                        <a:pt x="25" y="14"/>
                        <a:pt x="28" y="14"/>
                      </a:cubicBezTo>
                      <a:cubicBezTo>
                        <a:pt x="30" y="13"/>
                        <a:pt x="30" y="11"/>
                        <a:pt x="32" y="10"/>
                      </a:cubicBezTo>
                      <a:cubicBezTo>
                        <a:pt x="35" y="6"/>
                        <a:pt x="38" y="8"/>
                        <a:pt x="42" y="6"/>
                      </a:cubicBezTo>
                      <a:cubicBezTo>
                        <a:pt x="39" y="3"/>
                        <a:pt x="31" y="2"/>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9" name="Freeform 189">
                  <a:extLst>
                    <a:ext uri="{FF2B5EF4-FFF2-40B4-BE49-F238E27FC236}">
                      <a16:creationId xmlns:a16="http://schemas.microsoft.com/office/drawing/2014/main" id="{5EA3EB20-14C0-4CA4-8C7F-687A01C68171}"/>
                    </a:ext>
                  </a:extLst>
                </p:cNvPr>
                <p:cNvSpPr>
                  <a:spLocks/>
                </p:cNvSpPr>
                <p:nvPr/>
              </p:nvSpPr>
              <p:spPr bwMode="auto">
                <a:xfrm>
                  <a:off x="3430843" y="3508231"/>
                  <a:ext cx="33166" cy="18426"/>
                </a:xfrm>
                <a:custGeom>
                  <a:avLst/>
                  <a:gdLst>
                    <a:gd name="T0" fmla="*/ 5 w 10"/>
                    <a:gd name="T1" fmla="*/ 0 h 6"/>
                    <a:gd name="T2" fmla="*/ 0 w 10"/>
                    <a:gd name="T3" fmla="*/ 2 h 6"/>
                    <a:gd name="T4" fmla="*/ 8 w 10"/>
                    <a:gd name="T5" fmla="*/ 6 h 6"/>
                    <a:gd name="T6" fmla="*/ 5 w 10"/>
                    <a:gd name="T7" fmla="*/ 0 h 6"/>
                    <a:gd name="T8" fmla="*/ 5 w 10"/>
                    <a:gd name="T9" fmla="*/ 0 h 6"/>
                  </a:gdLst>
                  <a:ahLst/>
                  <a:cxnLst>
                    <a:cxn ang="0">
                      <a:pos x="T0" y="T1"/>
                    </a:cxn>
                    <a:cxn ang="0">
                      <a:pos x="T2" y="T3"/>
                    </a:cxn>
                    <a:cxn ang="0">
                      <a:pos x="T4" y="T5"/>
                    </a:cxn>
                    <a:cxn ang="0">
                      <a:pos x="T6" y="T7"/>
                    </a:cxn>
                    <a:cxn ang="0">
                      <a:pos x="T8" y="T9"/>
                    </a:cxn>
                  </a:cxnLst>
                  <a:rect l="0" t="0" r="r" b="b"/>
                  <a:pathLst>
                    <a:path w="10" h="6">
                      <a:moveTo>
                        <a:pt x="5" y="0"/>
                      </a:moveTo>
                      <a:cubicBezTo>
                        <a:pt x="4" y="0"/>
                        <a:pt x="1" y="1"/>
                        <a:pt x="0" y="2"/>
                      </a:cubicBezTo>
                      <a:cubicBezTo>
                        <a:pt x="2" y="3"/>
                        <a:pt x="5" y="4"/>
                        <a:pt x="8" y="6"/>
                      </a:cubicBezTo>
                      <a:cubicBezTo>
                        <a:pt x="8" y="1"/>
                        <a:pt x="10"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0" name="Freeform 190">
                  <a:extLst>
                    <a:ext uri="{FF2B5EF4-FFF2-40B4-BE49-F238E27FC236}">
                      <a16:creationId xmlns:a16="http://schemas.microsoft.com/office/drawing/2014/main" id="{C2F78108-DA20-4044-A56D-9F8D0AFAF05C}"/>
                    </a:ext>
                  </a:extLst>
                </p:cNvPr>
                <p:cNvSpPr>
                  <a:spLocks/>
                </p:cNvSpPr>
                <p:nvPr/>
              </p:nvSpPr>
              <p:spPr bwMode="auto">
                <a:xfrm>
                  <a:off x="5225494" y="3375567"/>
                  <a:ext cx="33166" cy="25796"/>
                </a:xfrm>
                <a:custGeom>
                  <a:avLst/>
                  <a:gdLst>
                    <a:gd name="T0" fmla="*/ 3 w 11"/>
                    <a:gd name="T1" fmla="*/ 0 h 9"/>
                    <a:gd name="T2" fmla="*/ 0 w 11"/>
                    <a:gd name="T3" fmla="*/ 1 h 9"/>
                    <a:gd name="T4" fmla="*/ 6 w 11"/>
                    <a:gd name="T5" fmla="*/ 4 h 9"/>
                    <a:gd name="T6" fmla="*/ 9 w 11"/>
                    <a:gd name="T7" fmla="*/ 9 h 9"/>
                    <a:gd name="T8" fmla="*/ 5 w 11"/>
                    <a:gd name="T9" fmla="*/ 1 h 9"/>
                    <a:gd name="T10" fmla="*/ 4 w 11"/>
                    <a:gd name="T11" fmla="*/ 0 h 9"/>
                    <a:gd name="T12" fmla="*/ 3 w 11"/>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0"/>
                      </a:moveTo>
                      <a:cubicBezTo>
                        <a:pt x="2" y="0"/>
                        <a:pt x="1" y="0"/>
                        <a:pt x="0" y="1"/>
                      </a:cubicBezTo>
                      <a:cubicBezTo>
                        <a:pt x="2" y="2"/>
                        <a:pt x="4" y="3"/>
                        <a:pt x="6" y="4"/>
                      </a:cubicBezTo>
                      <a:cubicBezTo>
                        <a:pt x="6" y="7"/>
                        <a:pt x="7" y="8"/>
                        <a:pt x="9" y="9"/>
                      </a:cubicBezTo>
                      <a:cubicBezTo>
                        <a:pt x="11" y="5"/>
                        <a:pt x="10" y="3"/>
                        <a:pt x="5" y="1"/>
                      </a:cubicBezTo>
                      <a:cubicBezTo>
                        <a:pt x="5" y="1"/>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1" name="Freeform 191">
                  <a:extLst>
                    <a:ext uri="{FF2B5EF4-FFF2-40B4-BE49-F238E27FC236}">
                      <a16:creationId xmlns:a16="http://schemas.microsoft.com/office/drawing/2014/main" id="{DA7E6711-4E96-40A5-8B9F-A24E8819C387}"/>
                    </a:ext>
                  </a:extLst>
                </p:cNvPr>
                <p:cNvSpPr>
                  <a:spLocks/>
                </p:cNvSpPr>
                <p:nvPr/>
              </p:nvSpPr>
              <p:spPr bwMode="auto">
                <a:xfrm>
                  <a:off x="5100200" y="3032851"/>
                  <a:ext cx="217422" cy="151090"/>
                </a:xfrm>
                <a:custGeom>
                  <a:avLst/>
                  <a:gdLst>
                    <a:gd name="T0" fmla="*/ 68 w 68"/>
                    <a:gd name="T1" fmla="*/ 0 h 47"/>
                    <a:gd name="T2" fmla="*/ 46 w 68"/>
                    <a:gd name="T3" fmla="*/ 10 h 47"/>
                    <a:gd name="T4" fmla="*/ 32 w 68"/>
                    <a:gd name="T5" fmla="*/ 24 h 47"/>
                    <a:gd name="T6" fmla="*/ 28 w 68"/>
                    <a:gd name="T7" fmla="*/ 25 h 47"/>
                    <a:gd name="T8" fmla="*/ 22 w 68"/>
                    <a:gd name="T9" fmla="*/ 24 h 47"/>
                    <a:gd name="T10" fmla="*/ 17 w 68"/>
                    <a:gd name="T11" fmla="*/ 24 h 47"/>
                    <a:gd name="T12" fmla="*/ 11 w 68"/>
                    <a:gd name="T13" fmla="*/ 25 h 47"/>
                    <a:gd name="T14" fmla="*/ 0 w 68"/>
                    <a:gd name="T15" fmla="*/ 42 h 47"/>
                    <a:gd name="T16" fmla="*/ 8 w 68"/>
                    <a:gd name="T17" fmla="*/ 47 h 47"/>
                    <a:gd name="T18" fmla="*/ 9 w 68"/>
                    <a:gd name="T19" fmla="*/ 47 h 47"/>
                    <a:gd name="T20" fmla="*/ 5 w 68"/>
                    <a:gd name="T21" fmla="*/ 43 h 47"/>
                    <a:gd name="T22" fmla="*/ 9 w 68"/>
                    <a:gd name="T23" fmla="*/ 37 h 47"/>
                    <a:gd name="T24" fmla="*/ 11 w 68"/>
                    <a:gd name="T25" fmla="*/ 43 h 47"/>
                    <a:gd name="T26" fmla="*/ 12 w 68"/>
                    <a:gd name="T27" fmla="*/ 43 h 47"/>
                    <a:gd name="T28" fmla="*/ 16 w 68"/>
                    <a:gd name="T29" fmla="*/ 41 h 47"/>
                    <a:gd name="T30" fmla="*/ 17 w 68"/>
                    <a:gd name="T31" fmla="*/ 35 h 47"/>
                    <a:gd name="T32" fmla="*/ 18 w 68"/>
                    <a:gd name="T33" fmla="*/ 35 h 47"/>
                    <a:gd name="T34" fmla="*/ 19 w 68"/>
                    <a:gd name="T35" fmla="*/ 32 h 47"/>
                    <a:gd name="T36" fmla="*/ 37 w 68"/>
                    <a:gd name="T37" fmla="*/ 28 h 47"/>
                    <a:gd name="T38" fmla="*/ 45 w 68"/>
                    <a:gd name="T39" fmla="*/ 27 h 47"/>
                    <a:gd name="T40" fmla="*/ 48 w 68"/>
                    <a:gd name="T41" fmla="*/ 27 h 47"/>
                    <a:gd name="T42" fmla="*/ 51 w 68"/>
                    <a:gd name="T43" fmla="*/ 27 h 47"/>
                    <a:gd name="T44" fmla="*/ 54 w 68"/>
                    <a:gd name="T45" fmla="*/ 27 h 47"/>
                    <a:gd name="T46" fmla="*/ 62 w 68"/>
                    <a:gd name="T47" fmla="*/ 24 h 47"/>
                    <a:gd name="T48" fmla="*/ 64 w 68"/>
                    <a:gd name="T49" fmla="*/ 15 h 47"/>
                    <a:gd name="T50" fmla="*/ 62 w 68"/>
                    <a:gd name="T51" fmla="*/ 7 h 47"/>
                    <a:gd name="T52" fmla="*/ 68 w 68"/>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47">
                      <a:moveTo>
                        <a:pt x="68" y="0"/>
                      </a:moveTo>
                      <a:cubicBezTo>
                        <a:pt x="60" y="4"/>
                        <a:pt x="53" y="7"/>
                        <a:pt x="46" y="10"/>
                      </a:cubicBezTo>
                      <a:cubicBezTo>
                        <a:pt x="40" y="12"/>
                        <a:pt x="39" y="22"/>
                        <a:pt x="32" y="24"/>
                      </a:cubicBezTo>
                      <a:cubicBezTo>
                        <a:pt x="31" y="25"/>
                        <a:pt x="29" y="25"/>
                        <a:pt x="28" y="25"/>
                      </a:cubicBezTo>
                      <a:cubicBezTo>
                        <a:pt x="26" y="25"/>
                        <a:pt x="24" y="25"/>
                        <a:pt x="22" y="24"/>
                      </a:cubicBezTo>
                      <a:cubicBezTo>
                        <a:pt x="21" y="24"/>
                        <a:pt x="19" y="24"/>
                        <a:pt x="17" y="24"/>
                      </a:cubicBezTo>
                      <a:cubicBezTo>
                        <a:pt x="15" y="24"/>
                        <a:pt x="13" y="24"/>
                        <a:pt x="11" y="25"/>
                      </a:cubicBezTo>
                      <a:cubicBezTo>
                        <a:pt x="4" y="28"/>
                        <a:pt x="1" y="36"/>
                        <a:pt x="0" y="42"/>
                      </a:cubicBezTo>
                      <a:cubicBezTo>
                        <a:pt x="3" y="43"/>
                        <a:pt x="5" y="46"/>
                        <a:pt x="8" y="47"/>
                      </a:cubicBezTo>
                      <a:cubicBezTo>
                        <a:pt x="8" y="47"/>
                        <a:pt x="8" y="47"/>
                        <a:pt x="9" y="47"/>
                      </a:cubicBezTo>
                      <a:cubicBezTo>
                        <a:pt x="9" y="47"/>
                        <a:pt x="5" y="44"/>
                        <a:pt x="5" y="43"/>
                      </a:cubicBezTo>
                      <a:cubicBezTo>
                        <a:pt x="6" y="41"/>
                        <a:pt x="8" y="39"/>
                        <a:pt x="9" y="37"/>
                      </a:cubicBezTo>
                      <a:cubicBezTo>
                        <a:pt x="9" y="39"/>
                        <a:pt x="9" y="43"/>
                        <a:pt x="11" y="43"/>
                      </a:cubicBezTo>
                      <a:cubicBezTo>
                        <a:pt x="12" y="43"/>
                        <a:pt x="12" y="43"/>
                        <a:pt x="12" y="43"/>
                      </a:cubicBezTo>
                      <a:cubicBezTo>
                        <a:pt x="14" y="43"/>
                        <a:pt x="15" y="42"/>
                        <a:pt x="16" y="41"/>
                      </a:cubicBezTo>
                      <a:cubicBezTo>
                        <a:pt x="17" y="39"/>
                        <a:pt x="16" y="35"/>
                        <a:pt x="17" y="35"/>
                      </a:cubicBezTo>
                      <a:cubicBezTo>
                        <a:pt x="18" y="35"/>
                        <a:pt x="18" y="35"/>
                        <a:pt x="18" y="35"/>
                      </a:cubicBezTo>
                      <a:cubicBezTo>
                        <a:pt x="19" y="34"/>
                        <a:pt x="19" y="33"/>
                        <a:pt x="19" y="32"/>
                      </a:cubicBezTo>
                      <a:cubicBezTo>
                        <a:pt x="25" y="28"/>
                        <a:pt x="30" y="30"/>
                        <a:pt x="37" y="28"/>
                      </a:cubicBezTo>
                      <a:cubicBezTo>
                        <a:pt x="40" y="27"/>
                        <a:pt x="42" y="27"/>
                        <a:pt x="45" y="27"/>
                      </a:cubicBezTo>
                      <a:cubicBezTo>
                        <a:pt x="46" y="27"/>
                        <a:pt x="47" y="27"/>
                        <a:pt x="48" y="27"/>
                      </a:cubicBezTo>
                      <a:cubicBezTo>
                        <a:pt x="49" y="27"/>
                        <a:pt x="50" y="27"/>
                        <a:pt x="51" y="27"/>
                      </a:cubicBezTo>
                      <a:cubicBezTo>
                        <a:pt x="52" y="27"/>
                        <a:pt x="53" y="27"/>
                        <a:pt x="54" y="27"/>
                      </a:cubicBezTo>
                      <a:cubicBezTo>
                        <a:pt x="59" y="27"/>
                        <a:pt x="60" y="28"/>
                        <a:pt x="62" y="24"/>
                      </a:cubicBezTo>
                      <a:cubicBezTo>
                        <a:pt x="63" y="21"/>
                        <a:pt x="64" y="18"/>
                        <a:pt x="64" y="15"/>
                      </a:cubicBezTo>
                      <a:cubicBezTo>
                        <a:pt x="64" y="14"/>
                        <a:pt x="61" y="8"/>
                        <a:pt x="62" y="7"/>
                      </a:cubicBezTo>
                      <a:cubicBezTo>
                        <a:pt x="64" y="5"/>
                        <a:pt x="66" y="3"/>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2" name="Freeform 192">
                  <a:extLst>
                    <a:ext uri="{FF2B5EF4-FFF2-40B4-BE49-F238E27FC236}">
                      <a16:creationId xmlns:a16="http://schemas.microsoft.com/office/drawing/2014/main" id="{65B9B834-595C-4785-A951-7BEECD3D2C13}"/>
                    </a:ext>
                  </a:extLst>
                </p:cNvPr>
                <p:cNvSpPr>
                  <a:spLocks/>
                </p:cNvSpPr>
                <p:nvPr/>
              </p:nvSpPr>
              <p:spPr bwMode="auto">
                <a:xfrm>
                  <a:off x="5229179" y="3309234"/>
                  <a:ext cx="103183" cy="70017"/>
                </a:xfrm>
                <a:custGeom>
                  <a:avLst/>
                  <a:gdLst>
                    <a:gd name="T0" fmla="*/ 27 w 33"/>
                    <a:gd name="T1" fmla="*/ 0 h 22"/>
                    <a:gd name="T2" fmla="*/ 26 w 33"/>
                    <a:gd name="T3" fmla="*/ 4 h 22"/>
                    <a:gd name="T4" fmla="*/ 23 w 33"/>
                    <a:gd name="T5" fmla="*/ 5 h 22"/>
                    <a:gd name="T6" fmla="*/ 22 w 33"/>
                    <a:gd name="T7" fmla="*/ 5 h 22"/>
                    <a:gd name="T8" fmla="*/ 24 w 33"/>
                    <a:gd name="T9" fmla="*/ 3 h 22"/>
                    <a:gd name="T10" fmla="*/ 18 w 33"/>
                    <a:gd name="T11" fmla="*/ 1 h 22"/>
                    <a:gd name="T12" fmla="*/ 10 w 33"/>
                    <a:gd name="T13" fmla="*/ 2 h 22"/>
                    <a:gd name="T14" fmla="*/ 0 w 33"/>
                    <a:gd name="T15" fmla="*/ 4 h 22"/>
                    <a:gd name="T16" fmla="*/ 5 w 33"/>
                    <a:gd name="T17" fmla="*/ 8 h 22"/>
                    <a:gd name="T18" fmla="*/ 8 w 33"/>
                    <a:gd name="T19" fmla="*/ 15 h 22"/>
                    <a:gd name="T20" fmla="*/ 15 w 33"/>
                    <a:gd name="T21" fmla="*/ 18 h 22"/>
                    <a:gd name="T22" fmla="*/ 22 w 33"/>
                    <a:gd name="T23" fmla="*/ 22 h 22"/>
                    <a:gd name="T24" fmla="*/ 24 w 33"/>
                    <a:gd name="T25" fmla="*/ 22 h 22"/>
                    <a:gd name="T26" fmla="*/ 33 w 33"/>
                    <a:gd name="T27" fmla="*/ 15 h 22"/>
                    <a:gd name="T28" fmla="*/ 30 w 33"/>
                    <a:gd name="T29" fmla="*/ 7 h 22"/>
                    <a:gd name="T30" fmla="*/ 27 w 33"/>
                    <a:gd name="T31" fmla="*/ 6 h 22"/>
                    <a:gd name="T32" fmla="*/ 26 w 33"/>
                    <a:gd name="T33" fmla="*/ 6 h 22"/>
                    <a:gd name="T34" fmla="*/ 26 w 33"/>
                    <a:gd name="T35" fmla="*/ 6 h 22"/>
                    <a:gd name="T36" fmla="*/ 25 w 33"/>
                    <a:gd name="T37" fmla="*/ 6 h 22"/>
                    <a:gd name="T38" fmla="*/ 31 w 33"/>
                    <a:gd name="T39" fmla="*/ 4 h 22"/>
                    <a:gd name="T40" fmla="*/ 28 w 33"/>
                    <a:gd name="T41" fmla="*/ 0 h 22"/>
                    <a:gd name="T42" fmla="*/ 27 w 33"/>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2">
                      <a:moveTo>
                        <a:pt x="27" y="0"/>
                      </a:moveTo>
                      <a:cubicBezTo>
                        <a:pt x="26" y="0"/>
                        <a:pt x="26" y="3"/>
                        <a:pt x="26" y="4"/>
                      </a:cubicBezTo>
                      <a:cubicBezTo>
                        <a:pt x="25" y="5"/>
                        <a:pt x="24" y="5"/>
                        <a:pt x="23" y="5"/>
                      </a:cubicBezTo>
                      <a:cubicBezTo>
                        <a:pt x="23" y="5"/>
                        <a:pt x="22" y="5"/>
                        <a:pt x="22" y="5"/>
                      </a:cubicBezTo>
                      <a:cubicBezTo>
                        <a:pt x="23" y="4"/>
                        <a:pt x="23" y="3"/>
                        <a:pt x="24" y="3"/>
                      </a:cubicBezTo>
                      <a:cubicBezTo>
                        <a:pt x="22" y="1"/>
                        <a:pt x="20" y="1"/>
                        <a:pt x="18" y="1"/>
                      </a:cubicBezTo>
                      <a:cubicBezTo>
                        <a:pt x="15" y="1"/>
                        <a:pt x="13" y="1"/>
                        <a:pt x="10" y="2"/>
                      </a:cubicBezTo>
                      <a:cubicBezTo>
                        <a:pt x="7" y="3"/>
                        <a:pt x="4" y="3"/>
                        <a:pt x="0" y="4"/>
                      </a:cubicBezTo>
                      <a:cubicBezTo>
                        <a:pt x="3" y="5"/>
                        <a:pt x="3" y="6"/>
                        <a:pt x="5" y="8"/>
                      </a:cubicBezTo>
                      <a:cubicBezTo>
                        <a:pt x="6" y="10"/>
                        <a:pt x="7" y="13"/>
                        <a:pt x="8" y="15"/>
                      </a:cubicBezTo>
                      <a:cubicBezTo>
                        <a:pt x="10" y="16"/>
                        <a:pt x="13" y="17"/>
                        <a:pt x="15" y="18"/>
                      </a:cubicBezTo>
                      <a:cubicBezTo>
                        <a:pt x="18" y="20"/>
                        <a:pt x="19" y="21"/>
                        <a:pt x="22" y="22"/>
                      </a:cubicBezTo>
                      <a:cubicBezTo>
                        <a:pt x="23" y="22"/>
                        <a:pt x="24" y="22"/>
                        <a:pt x="24" y="22"/>
                      </a:cubicBezTo>
                      <a:cubicBezTo>
                        <a:pt x="28" y="22"/>
                        <a:pt x="32" y="19"/>
                        <a:pt x="33" y="15"/>
                      </a:cubicBezTo>
                      <a:cubicBezTo>
                        <a:pt x="33" y="13"/>
                        <a:pt x="31" y="10"/>
                        <a:pt x="30" y="7"/>
                      </a:cubicBezTo>
                      <a:cubicBezTo>
                        <a:pt x="30" y="6"/>
                        <a:pt x="28" y="6"/>
                        <a:pt x="27" y="6"/>
                      </a:cubicBezTo>
                      <a:cubicBezTo>
                        <a:pt x="26" y="6"/>
                        <a:pt x="26" y="6"/>
                        <a:pt x="26" y="6"/>
                      </a:cubicBezTo>
                      <a:cubicBezTo>
                        <a:pt x="26" y="6"/>
                        <a:pt x="26" y="6"/>
                        <a:pt x="26" y="6"/>
                      </a:cubicBezTo>
                      <a:cubicBezTo>
                        <a:pt x="26" y="6"/>
                        <a:pt x="25" y="6"/>
                        <a:pt x="25" y="6"/>
                      </a:cubicBezTo>
                      <a:cubicBezTo>
                        <a:pt x="27" y="5"/>
                        <a:pt x="30" y="6"/>
                        <a:pt x="31" y="4"/>
                      </a:cubicBezTo>
                      <a:cubicBezTo>
                        <a:pt x="31" y="3"/>
                        <a:pt x="28" y="0"/>
                        <a:pt x="28" y="0"/>
                      </a:cubicBezTo>
                      <a:cubicBezTo>
                        <a:pt x="28"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3" name="Freeform 193">
                  <a:extLst>
                    <a:ext uri="{FF2B5EF4-FFF2-40B4-BE49-F238E27FC236}">
                      <a16:creationId xmlns:a16="http://schemas.microsoft.com/office/drawing/2014/main" id="{8986DEB9-D442-4547-A833-DFCF2C6B6895}"/>
                    </a:ext>
                  </a:extLst>
                </p:cNvPr>
                <p:cNvSpPr>
                  <a:spLocks/>
                </p:cNvSpPr>
                <p:nvPr/>
              </p:nvSpPr>
              <p:spPr bwMode="auto">
                <a:xfrm>
                  <a:off x="5343418" y="3246588"/>
                  <a:ext cx="151090" cy="195311"/>
                </a:xfrm>
                <a:custGeom>
                  <a:avLst/>
                  <a:gdLst>
                    <a:gd name="T0" fmla="*/ 39 w 48"/>
                    <a:gd name="T1" fmla="*/ 0 h 61"/>
                    <a:gd name="T2" fmla="*/ 35 w 48"/>
                    <a:gd name="T3" fmla="*/ 0 h 61"/>
                    <a:gd name="T4" fmla="*/ 28 w 48"/>
                    <a:gd name="T5" fmla="*/ 4 h 61"/>
                    <a:gd name="T6" fmla="*/ 32 w 48"/>
                    <a:gd name="T7" fmla="*/ 13 h 61"/>
                    <a:gd name="T8" fmla="*/ 28 w 48"/>
                    <a:gd name="T9" fmla="*/ 18 h 61"/>
                    <a:gd name="T10" fmla="*/ 28 w 48"/>
                    <a:gd name="T11" fmla="*/ 7 h 61"/>
                    <a:gd name="T12" fmla="*/ 24 w 48"/>
                    <a:gd name="T13" fmla="*/ 17 h 61"/>
                    <a:gd name="T14" fmla="*/ 21 w 48"/>
                    <a:gd name="T15" fmla="*/ 14 h 61"/>
                    <a:gd name="T16" fmla="*/ 21 w 48"/>
                    <a:gd name="T17" fmla="*/ 11 h 61"/>
                    <a:gd name="T18" fmla="*/ 24 w 48"/>
                    <a:gd name="T19" fmla="*/ 5 h 61"/>
                    <a:gd name="T20" fmla="*/ 21 w 48"/>
                    <a:gd name="T21" fmla="*/ 5 h 61"/>
                    <a:gd name="T22" fmla="*/ 16 w 48"/>
                    <a:gd name="T23" fmla="*/ 5 h 61"/>
                    <a:gd name="T24" fmla="*/ 11 w 48"/>
                    <a:gd name="T25" fmla="*/ 4 h 61"/>
                    <a:gd name="T26" fmla="*/ 10 w 48"/>
                    <a:gd name="T27" fmla="*/ 4 h 61"/>
                    <a:gd name="T28" fmla="*/ 16 w 48"/>
                    <a:gd name="T29" fmla="*/ 9 h 61"/>
                    <a:gd name="T30" fmla="*/ 8 w 48"/>
                    <a:gd name="T31" fmla="*/ 16 h 61"/>
                    <a:gd name="T32" fmla="*/ 7 w 48"/>
                    <a:gd name="T33" fmla="*/ 16 h 61"/>
                    <a:gd name="T34" fmla="*/ 0 w 48"/>
                    <a:gd name="T35" fmla="*/ 15 h 61"/>
                    <a:gd name="T36" fmla="*/ 1 w 48"/>
                    <a:gd name="T37" fmla="*/ 18 h 61"/>
                    <a:gd name="T38" fmla="*/ 5 w 48"/>
                    <a:gd name="T39" fmla="*/ 20 h 61"/>
                    <a:gd name="T40" fmla="*/ 8 w 48"/>
                    <a:gd name="T41" fmla="*/ 27 h 61"/>
                    <a:gd name="T42" fmla="*/ 9 w 48"/>
                    <a:gd name="T43" fmla="*/ 32 h 61"/>
                    <a:gd name="T44" fmla="*/ 25 w 48"/>
                    <a:gd name="T45" fmla="*/ 38 h 61"/>
                    <a:gd name="T46" fmla="*/ 21 w 48"/>
                    <a:gd name="T47" fmla="*/ 40 h 61"/>
                    <a:gd name="T48" fmla="*/ 20 w 48"/>
                    <a:gd name="T49" fmla="*/ 40 h 61"/>
                    <a:gd name="T50" fmla="*/ 26 w 48"/>
                    <a:gd name="T51" fmla="*/ 43 h 61"/>
                    <a:gd name="T52" fmla="*/ 25 w 48"/>
                    <a:gd name="T53" fmla="*/ 50 h 61"/>
                    <a:gd name="T54" fmla="*/ 28 w 48"/>
                    <a:gd name="T55" fmla="*/ 59 h 61"/>
                    <a:gd name="T56" fmla="*/ 29 w 48"/>
                    <a:gd name="T57" fmla="*/ 61 h 61"/>
                    <a:gd name="T58" fmla="*/ 29 w 48"/>
                    <a:gd name="T59" fmla="*/ 60 h 61"/>
                    <a:gd name="T60" fmla="*/ 35 w 48"/>
                    <a:gd name="T61" fmla="*/ 50 h 61"/>
                    <a:gd name="T62" fmla="*/ 27 w 48"/>
                    <a:gd name="T63" fmla="*/ 46 h 61"/>
                    <a:gd name="T64" fmla="*/ 32 w 48"/>
                    <a:gd name="T65" fmla="*/ 43 h 61"/>
                    <a:gd name="T66" fmla="*/ 31 w 48"/>
                    <a:gd name="T67" fmla="*/ 37 h 61"/>
                    <a:gd name="T68" fmla="*/ 43 w 48"/>
                    <a:gd name="T69" fmla="*/ 32 h 61"/>
                    <a:gd name="T70" fmla="*/ 37 w 48"/>
                    <a:gd name="T71" fmla="*/ 27 h 61"/>
                    <a:gd name="T72" fmla="*/ 41 w 48"/>
                    <a:gd name="T73" fmla="*/ 20 h 61"/>
                    <a:gd name="T74" fmla="*/ 46 w 48"/>
                    <a:gd name="T75" fmla="*/ 17 h 61"/>
                    <a:gd name="T76" fmla="*/ 46 w 48"/>
                    <a:gd name="T77" fmla="*/ 10 h 61"/>
                    <a:gd name="T78" fmla="*/ 44 w 48"/>
                    <a:gd name="T79" fmla="*/ 2 h 61"/>
                    <a:gd name="T80" fmla="*/ 39 w 48"/>
                    <a:gd name="T8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61">
                      <a:moveTo>
                        <a:pt x="39" y="0"/>
                      </a:moveTo>
                      <a:cubicBezTo>
                        <a:pt x="38" y="0"/>
                        <a:pt x="36" y="0"/>
                        <a:pt x="35" y="0"/>
                      </a:cubicBezTo>
                      <a:cubicBezTo>
                        <a:pt x="33" y="1"/>
                        <a:pt x="31" y="3"/>
                        <a:pt x="28" y="4"/>
                      </a:cubicBezTo>
                      <a:cubicBezTo>
                        <a:pt x="31" y="6"/>
                        <a:pt x="32" y="9"/>
                        <a:pt x="32" y="13"/>
                      </a:cubicBezTo>
                      <a:cubicBezTo>
                        <a:pt x="32" y="16"/>
                        <a:pt x="32" y="17"/>
                        <a:pt x="28" y="18"/>
                      </a:cubicBezTo>
                      <a:cubicBezTo>
                        <a:pt x="31" y="13"/>
                        <a:pt x="32" y="11"/>
                        <a:pt x="28" y="7"/>
                      </a:cubicBezTo>
                      <a:cubicBezTo>
                        <a:pt x="28" y="9"/>
                        <a:pt x="26" y="15"/>
                        <a:pt x="24" y="17"/>
                      </a:cubicBezTo>
                      <a:cubicBezTo>
                        <a:pt x="23" y="16"/>
                        <a:pt x="22" y="15"/>
                        <a:pt x="21" y="14"/>
                      </a:cubicBezTo>
                      <a:cubicBezTo>
                        <a:pt x="19" y="12"/>
                        <a:pt x="21" y="12"/>
                        <a:pt x="21" y="11"/>
                      </a:cubicBezTo>
                      <a:cubicBezTo>
                        <a:pt x="21" y="7"/>
                        <a:pt x="22" y="8"/>
                        <a:pt x="24" y="5"/>
                      </a:cubicBezTo>
                      <a:cubicBezTo>
                        <a:pt x="23" y="5"/>
                        <a:pt x="22" y="5"/>
                        <a:pt x="21" y="5"/>
                      </a:cubicBezTo>
                      <a:cubicBezTo>
                        <a:pt x="19" y="5"/>
                        <a:pt x="18" y="5"/>
                        <a:pt x="16" y="5"/>
                      </a:cubicBezTo>
                      <a:cubicBezTo>
                        <a:pt x="14" y="5"/>
                        <a:pt x="13" y="4"/>
                        <a:pt x="11" y="4"/>
                      </a:cubicBezTo>
                      <a:cubicBezTo>
                        <a:pt x="10" y="4"/>
                        <a:pt x="10" y="4"/>
                        <a:pt x="10" y="4"/>
                      </a:cubicBezTo>
                      <a:cubicBezTo>
                        <a:pt x="12" y="6"/>
                        <a:pt x="17" y="6"/>
                        <a:pt x="16" y="9"/>
                      </a:cubicBezTo>
                      <a:cubicBezTo>
                        <a:pt x="16" y="11"/>
                        <a:pt x="9" y="15"/>
                        <a:pt x="8" y="16"/>
                      </a:cubicBezTo>
                      <a:cubicBezTo>
                        <a:pt x="7" y="16"/>
                        <a:pt x="7" y="16"/>
                        <a:pt x="7" y="16"/>
                      </a:cubicBezTo>
                      <a:cubicBezTo>
                        <a:pt x="4" y="16"/>
                        <a:pt x="2" y="15"/>
                        <a:pt x="0" y="15"/>
                      </a:cubicBezTo>
                      <a:cubicBezTo>
                        <a:pt x="1" y="15"/>
                        <a:pt x="0" y="17"/>
                        <a:pt x="1" y="18"/>
                      </a:cubicBezTo>
                      <a:cubicBezTo>
                        <a:pt x="2" y="19"/>
                        <a:pt x="5" y="18"/>
                        <a:pt x="5" y="20"/>
                      </a:cubicBezTo>
                      <a:cubicBezTo>
                        <a:pt x="6" y="22"/>
                        <a:pt x="7" y="25"/>
                        <a:pt x="8" y="27"/>
                      </a:cubicBezTo>
                      <a:cubicBezTo>
                        <a:pt x="8" y="30"/>
                        <a:pt x="1" y="29"/>
                        <a:pt x="9" y="32"/>
                      </a:cubicBezTo>
                      <a:cubicBezTo>
                        <a:pt x="14" y="34"/>
                        <a:pt x="20" y="35"/>
                        <a:pt x="25" y="38"/>
                      </a:cubicBezTo>
                      <a:cubicBezTo>
                        <a:pt x="24" y="39"/>
                        <a:pt x="23" y="40"/>
                        <a:pt x="21" y="40"/>
                      </a:cubicBezTo>
                      <a:cubicBezTo>
                        <a:pt x="21" y="40"/>
                        <a:pt x="20" y="40"/>
                        <a:pt x="20" y="40"/>
                      </a:cubicBezTo>
                      <a:cubicBezTo>
                        <a:pt x="22" y="41"/>
                        <a:pt x="24" y="42"/>
                        <a:pt x="26" y="43"/>
                      </a:cubicBezTo>
                      <a:cubicBezTo>
                        <a:pt x="22" y="46"/>
                        <a:pt x="21" y="45"/>
                        <a:pt x="25" y="50"/>
                      </a:cubicBezTo>
                      <a:cubicBezTo>
                        <a:pt x="27" y="53"/>
                        <a:pt x="26" y="56"/>
                        <a:pt x="28" y="59"/>
                      </a:cubicBezTo>
                      <a:cubicBezTo>
                        <a:pt x="28" y="59"/>
                        <a:pt x="28" y="61"/>
                        <a:pt x="29" y="61"/>
                      </a:cubicBezTo>
                      <a:cubicBezTo>
                        <a:pt x="29" y="61"/>
                        <a:pt x="29" y="61"/>
                        <a:pt x="29" y="60"/>
                      </a:cubicBezTo>
                      <a:cubicBezTo>
                        <a:pt x="31" y="56"/>
                        <a:pt x="31" y="52"/>
                        <a:pt x="35" y="50"/>
                      </a:cubicBezTo>
                      <a:cubicBezTo>
                        <a:pt x="33" y="48"/>
                        <a:pt x="29" y="48"/>
                        <a:pt x="27" y="46"/>
                      </a:cubicBezTo>
                      <a:cubicBezTo>
                        <a:pt x="29" y="45"/>
                        <a:pt x="30" y="45"/>
                        <a:pt x="32" y="43"/>
                      </a:cubicBezTo>
                      <a:cubicBezTo>
                        <a:pt x="34" y="40"/>
                        <a:pt x="33" y="40"/>
                        <a:pt x="31" y="37"/>
                      </a:cubicBezTo>
                      <a:cubicBezTo>
                        <a:pt x="33" y="36"/>
                        <a:pt x="43" y="35"/>
                        <a:pt x="43" y="32"/>
                      </a:cubicBezTo>
                      <a:cubicBezTo>
                        <a:pt x="44" y="29"/>
                        <a:pt x="38" y="28"/>
                        <a:pt x="37" y="27"/>
                      </a:cubicBezTo>
                      <a:cubicBezTo>
                        <a:pt x="35" y="23"/>
                        <a:pt x="38" y="21"/>
                        <a:pt x="41" y="20"/>
                      </a:cubicBezTo>
                      <a:cubicBezTo>
                        <a:pt x="43" y="19"/>
                        <a:pt x="44" y="19"/>
                        <a:pt x="46" y="17"/>
                      </a:cubicBezTo>
                      <a:cubicBezTo>
                        <a:pt x="48" y="15"/>
                        <a:pt x="47" y="12"/>
                        <a:pt x="46" y="10"/>
                      </a:cubicBezTo>
                      <a:cubicBezTo>
                        <a:pt x="45" y="6"/>
                        <a:pt x="46" y="5"/>
                        <a:pt x="44" y="2"/>
                      </a:cubicBezTo>
                      <a:cubicBezTo>
                        <a:pt x="42" y="0"/>
                        <a:pt x="41"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4" name="Freeform 194">
                  <a:extLst>
                    <a:ext uri="{FF2B5EF4-FFF2-40B4-BE49-F238E27FC236}">
                      <a16:creationId xmlns:a16="http://schemas.microsoft.com/office/drawing/2014/main" id="{51B75AAE-CC1F-436F-B1C0-02AE1A7B9DD9}"/>
                    </a:ext>
                  </a:extLst>
                </p:cNvPr>
                <p:cNvSpPr>
                  <a:spLocks/>
                </p:cNvSpPr>
                <p:nvPr/>
              </p:nvSpPr>
              <p:spPr bwMode="auto">
                <a:xfrm>
                  <a:off x="5302882" y="3261328"/>
                  <a:ext cx="14740" cy="25796"/>
                </a:xfrm>
                <a:custGeom>
                  <a:avLst/>
                  <a:gdLst>
                    <a:gd name="T0" fmla="*/ 2 w 5"/>
                    <a:gd name="T1" fmla="*/ 0 h 9"/>
                    <a:gd name="T2" fmla="*/ 1 w 5"/>
                    <a:gd name="T3" fmla="*/ 9 h 9"/>
                    <a:gd name="T4" fmla="*/ 5 w 5"/>
                    <a:gd name="T5" fmla="*/ 4 h 9"/>
                    <a:gd name="T6" fmla="*/ 2 w 5"/>
                    <a:gd name="T7" fmla="*/ 0 h 9"/>
                  </a:gdLst>
                  <a:ahLst/>
                  <a:cxnLst>
                    <a:cxn ang="0">
                      <a:pos x="T0" y="T1"/>
                    </a:cxn>
                    <a:cxn ang="0">
                      <a:pos x="T2" y="T3"/>
                    </a:cxn>
                    <a:cxn ang="0">
                      <a:pos x="T4" y="T5"/>
                    </a:cxn>
                    <a:cxn ang="0">
                      <a:pos x="T6" y="T7"/>
                    </a:cxn>
                  </a:cxnLst>
                  <a:rect l="0" t="0" r="r" b="b"/>
                  <a:pathLst>
                    <a:path w="5" h="9">
                      <a:moveTo>
                        <a:pt x="2" y="0"/>
                      </a:moveTo>
                      <a:cubicBezTo>
                        <a:pt x="0" y="1"/>
                        <a:pt x="1" y="6"/>
                        <a:pt x="1" y="9"/>
                      </a:cubicBezTo>
                      <a:cubicBezTo>
                        <a:pt x="3" y="7"/>
                        <a:pt x="4" y="6"/>
                        <a:pt x="5" y="4"/>
                      </a:cubicBezTo>
                      <a:cubicBezTo>
                        <a:pt x="4"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5" name="Freeform 195">
                  <a:extLst>
                    <a:ext uri="{FF2B5EF4-FFF2-40B4-BE49-F238E27FC236}">
                      <a16:creationId xmlns:a16="http://schemas.microsoft.com/office/drawing/2014/main" id="{6B53A301-EF45-4CA0-803C-488A8FF93D83}"/>
                    </a:ext>
                  </a:extLst>
                </p:cNvPr>
                <p:cNvSpPr>
                  <a:spLocks/>
                </p:cNvSpPr>
                <p:nvPr/>
              </p:nvSpPr>
              <p:spPr bwMode="auto">
                <a:xfrm>
                  <a:off x="5347103" y="3095498"/>
                  <a:ext cx="7370" cy="7370"/>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2"/>
                        <a:pt x="0" y="2"/>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6" name="Freeform 196">
                  <a:extLst>
                    <a:ext uri="{FF2B5EF4-FFF2-40B4-BE49-F238E27FC236}">
                      <a16:creationId xmlns:a16="http://schemas.microsoft.com/office/drawing/2014/main" id="{5E1BE031-3ED5-4E85-886A-6F9A19F4CABE}"/>
                    </a:ext>
                  </a:extLst>
                </p:cNvPr>
                <p:cNvSpPr>
                  <a:spLocks/>
                </p:cNvSpPr>
                <p:nvPr/>
              </p:nvSpPr>
              <p:spPr bwMode="auto">
                <a:xfrm>
                  <a:off x="5332363" y="3401362"/>
                  <a:ext cx="88443" cy="25796"/>
                </a:xfrm>
                <a:custGeom>
                  <a:avLst/>
                  <a:gdLst>
                    <a:gd name="T0" fmla="*/ 15 w 28"/>
                    <a:gd name="T1" fmla="*/ 0 h 9"/>
                    <a:gd name="T2" fmla="*/ 6 w 28"/>
                    <a:gd name="T3" fmla="*/ 1 h 9"/>
                    <a:gd name="T4" fmla="*/ 8 w 28"/>
                    <a:gd name="T5" fmla="*/ 2 h 9"/>
                    <a:gd name="T6" fmla="*/ 13 w 28"/>
                    <a:gd name="T7" fmla="*/ 8 h 9"/>
                    <a:gd name="T8" fmla="*/ 18 w 28"/>
                    <a:gd name="T9" fmla="*/ 9 h 9"/>
                    <a:gd name="T10" fmla="*/ 28 w 28"/>
                    <a:gd name="T11" fmla="*/ 6 h 9"/>
                    <a:gd name="T12" fmla="*/ 22 w 28"/>
                    <a:gd name="T13" fmla="*/ 2 h 9"/>
                    <a:gd name="T14" fmla="*/ 15 w 28"/>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9">
                      <a:moveTo>
                        <a:pt x="15" y="0"/>
                      </a:moveTo>
                      <a:cubicBezTo>
                        <a:pt x="12" y="0"/>
                        <a:pt x="9" y="1"/>
                        <a:pt x="6" y="1"/>
                      </a:cubicBezTo>
                      <a:cubicBezTo>
                        <a:pt x="7" y="2"/>
                        <a:pt x="7" y="2"/>
                        <a:pt x="8" y="2"/>
                      </a:cubicBezTo>
                      <a:cubicBezTo>
                        <a:pt x="0" y="4"/>
                        <a:pt x="12" y="7"/>
                        <a:pt x="13" y="8"/>
                      </a:cubicBezTo>
                      <a:cubicBezTo>
                        <a:pt x="15" y="9"/>
                        <a:pt x="17" y="9"/>
                        <a:pt x="18" y="9"/>
                      </a:cubicBezTo>
                      <a:cubicBezTo>
                        <a:pt x="22" y="9"/>
                        <a:pt x="25" y="8"/>
                        <a:pt x="28" y="6"/>
                      </a:cubicBezTo>
                      <a:cubicBezTo>
                        <a:pt x="27" y="2"/>
                        <a:pt x="26" y="3"/>
                        <a:pt x="22" y="2"/>
                      </a:cubicBezTo>
                      <a:cubicBezTo>
                        <a:pt x="19" y="2"/>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7" name="Freeform 197">
                  <a:extLst>
                    <a:ext uri="{FF2B5EF4-FFF2-40B4-BE49-F238E27FC236}">
                      <a16:creationId xmlns:a16="http://schemas.microsoft.com/office/drawing/2014/main" id="{9FCD9349-0D95-4146-B9EB-075040A61940}"/>
                    </a:ext>
                  </a:extLst>
                </p:cNvPr>
                <p:cNvSpPr>
                  <a:spLocks/>
                </p:cNvSpPr>
                <p:nvPr/>
              </p:nvSpPr>
              <p:spPr bwMode="auto">
                <a:xfrm>
                  <a:off x="5306567" y="3364511"/>
                  <a:ext cx="40536" cy="55277"/>
                </a:xfrm>
                <a:custGeom>
                  <a:avLst/>
                  <a:gdLst>
                    <a:gd name="T0" fmla="*/ 12 w 12"/>
                    <a:gd name="T1" fmla="*/ 0 h 17"/>
                    <a:gd name="T2" fmla="*/ 6 w 12"/>
                    <a:gd name="T3" fmla="*/ 8 h 17"/>
                    <a:gd name="T4" fmla="*/ 5 w 12"/>
                    <a:gd name="T5" fmla="*/ 17 h 17"/>
                    <a:gd name="T6" fmla="*/ 12 w 12"/>
                    <a:gd name="T7" fmla="*/ 0 h 17"/>
                  </a:gdLst>
                  <a:ahLst/>
                  <a:cxnLst>
                    <a:cxn ang="0">
                      <a:pos x="T0" y="T1"/>
                    </a:cxn>
                    <a:cxn ang="0">
                      <a:pos x="T2" y="T3"/>
                    </a:cxn>
                    <a:cxn ang="0">
                      <a:pos x="T4" y="T5"/>
                    </a:cxn>
                    <a:cxn ang="0">
                      <a:pos x="T6" y="T7"/>
                    </a:cxn>
                  </a:cxnLst>
                  <a:rect l="0" t="0" r="r" b="b"/>
                  <a:pathLst>
                    <a:path w="12" h="17">
                      <a:moveTo>
                        <a:pt x="12" y="0"/>
                      </a:moveTo>
                      <a:cubicBezTo>
                        <a:pt x="9" y="2"/>
                        <a:pt x="8" y="5"/>
                        <a:pt x="6" y="8"/>
                      </a:cubicBezTo>
                      <a:cubicBezTo>
                        <a:pt x="5" y="14"/>
                        <a:pt x="0" y="11"/>
                        <a:pt x="5" y="17"/>
                      </a:cubicBezTo>
                      <a:cubicBezTo>
                        <a:pt x="7" y="12"/>
                        <a:pt x="11" y="6"/>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8" name="Freeform 198">
                  <a:extLst>
                    <a:ext uri="{FF2B5EF4-FFF2-40B4-BE49-F238E27FC236}">
                      <a16:creationId xmlns:a16="http://schemas.microsoft.com/office/drawing/2014/main" id="{9A279EE9-0A40-4F4B-8FB2-36DBF3125749}"/>
                    </a:ext>
                  </a:extLst>
                </p:cNvPr>
                <p:cNvSpPr>
                  <a:spLocks/>
                </p:cNvSpPr>
                <p:nvPr/>
              </p:nvSpPr>
              <p:spPr bwMode="auto">
                <a:xfrm>
                  <a:off x="5453971" y="3379252"/>
                  <a:ext cx="44221" cy="22111"/>
                </a:xfrm>
                <a:custGeom>
                  <a:avLst/>
                  <a:gdLst>
                    <a:gd name="T0" fmla="*/ 3 w 14"/>
                    <a:gd name="T1" fmla="*/ 0 h 7"/>
                    <a:gd name="T2" fmla="*/ 0 w 14"/>
                    <a:gd name="T3" fmla="*/ 7 h 7"/>
                    <a:gd name="T4" fmla="*/ 5 w 14"/>
                    <a:gd name="T5" fmla="*/ 4 h 7"/>
                    <a:gd name="T6" fmla="*/ 6 w 14"/>
                    <a:gd name="T7" fmla="*/ 4 h 7"/>
                    <a:gd name="T8" fmla="*/ 8 w 14"/>
                    <a:gd name="T9" fmla="*/ 4 h 7"/>
                    <a:gd name="T10" fmla="*/ 9 w 14"/>
                    <a:gd name="T11" fmla="*/ 5 h 7"/>
                    <a:gd name="T12" fmla="*/ 9 w 14"/>
                    <a:gd name="T13" fmla="*/ 4 h 7"/>
                    <a:gd name="T14" fmla="*/ 3 w 1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3" y="0"/>
                      </a:moveTo>
                      <a:cubicBezTo>
                        <a:pt x="2" y="2"/>
                        <a:pt x="1" y="5"/>
                        <a:pt x="0" y="7"/>
                      </a:cubicBezTo>
                      <a:cubicBezTo>
                        <a:pt x="2" y="6"/>
                        <a:pt x="3" y="4"/>
                        <a:pt x="5" y="4"/>
                      </a:cubicBezTo>
                      <a:cubicBezTo>
                        <a:pt x="6" y="4"/>
                        <a:pt x="6" y="4"/>
                        <a:pt x="6" y="4"/>
                      </a:cubicBezTo>
                      <a:cubicBezTo>
                        <a:pt x="6" y="4"/>
                        <a:pt x="7" y="4"/>
                        <a:pt x="8" y="4"/>
                      </a:cubicBezTo>
                      <a:cubicBezTo>
                        <a:pt x="8" y="4"/>
                        <a:pt x="9" y="5"/>
                        <a:pt x="9" y="5"/>
                      </a:cubicBezTo>
                      <a:cubicBezTo>
                        <a:pt x="9" y="5"/>
                        <a:pt x="9" y="5"/>
                        <a:pt x="9" y="4"/>
                      </a:cubicBezTo>
                      <a:cubicBezTo>
                        <a:pt x="1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9" name="Freeform 199">
                  <a:extLst>
                    <a:ext uri="{FF2B5EF4-FFF2-40B4-BE49-F238E27FC236}">
                      <a16:creationId xmlns:a16="http://schemas.microsoft.com/office/drawing/2014/main" id="{D83801CA-C39E-4A5C-8780-E29D4144D43B}"/>
                    </a:ext>
                  </a:extLst>
                </p:cNvPr>
                <p:cNvSpPr>
                  <a:spLocks/>
                </p:cNvSpPr>
                <p:nvPr/>
              </p:nvSpPr>
              <p:spPr bwMode="auto">
                <a:xfrm>
                  <a:off x="8906924" y="6500545"/>
                  <a:ext cx="18426" cy="44221"/>
                </a:xfrm>
                <a:custGeom>
                  <a:avLst/>
                  <a:gdLst>
                    <a:gd name="T0" fmla="*/ 2 w 5"/>
                    <a:gd name="T1" fmla="*/ 0 h 14"/>
                    <a:gd name="T2" fmla="*/ 1 w 5"/>
                    <a:gd name="T3" fmla="*/ 1 h 14"/>
                    <a:gd name="T4" fmla="*/ 3 w 5"/>
                    <a:gd name="T5" fmla="*/ 14 h 14"/>
                    <a:gd name="T6" fmla="*/ 5 w 5"/>
                    <a:gd name="T7" fmla="*/ 6 h 14"/>
                    <a:gd name="T8" fmla="*/ 4 w 5"/>
                    <a:gd name="T9" fmla="*/ 2 h 14"/>
                    <a:gd name="T10" fmla="*/ 2 w 5"/>
                    <a:gd name="T11" fmla="*/ 0 h 14"/>
                  </a:gdLst>
                  <a:ahLst/>
                  <a:cxnLst>
                    <a:cxn ang="0">
                      <a:pos x="T0" y="T1"/>
                    </a:cxn>
                    <a:cxn ang="0">
                      <a:pos x="T2" y="T3"/>
                    </a:cxn>
                    <a:cxn ang="0">
                      <a:pos x="T4" y="T5"/>
                    </a:cxn>
                    <a:cxn ang="0">
                      <a:pos x="T6" y="T7"/>
                    </a:cxn>
                    <a:cxn ang="0">
                      <a:pos x="T8" y="T9"/>
                    </a:cxn>
                    <a:cxn ang="0">
                      <a:pos x="T10" y="T11"/>
                    </a:cxn>
                  </a:cxnLst>
                  <a:rect l="0" t="0" r="r" b="b"/>
                  <a:pathLst>
                    <a:path w="5" h="14">
                      <a:moveTo>
                        <a:pt x="2" y="0"/>
                      </a:moveTo>
                      <a:cubicBezTo>
                        <a:pt x="2" y="0"/>
                        <a:pt x="2" y="0"/>
                        <a:pt x="1" y="1"/>
                      </a:cubicBezTo>
                      <a:cubicBezTo>
                        <a:pt x="0" y="2"/>
                        <a:pt x="3" y="12"/>
                        <a:pt x="3" y="14"/>
                      </a:cubicBezTo>
                      <a:cubicBezTo>
                        <a:pt x="4" y="12"/>
                        <a:pt x="5" y="9"/>
                        <a:pt x="5" y="6"/>
                      </a:cubicBezTo>
                      <a:cubicBezTo>
                        <a:pt x="5" y="4"/>
                        <a:pt x="3" y="2"/>
                        <a:pt x="4"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0" name="Freeform 200">
                  <a:extLst>
                    <a:ext uri="{FF2B5EF4-FFF2-40B4-BE49-F238E27FC236}">
                      <a16:creationId xmlns:a16="http://schemas.microsoft.com/office/drawing/2014/main" id="{BB78BF28-5421-4561-9662-7DBDFF70AC4A}"/>
                    </a:ext>
                  </a:extLst>
                </p:cNvPr>
                <p:cNvSpPr>
                  <a:spLocks/>
                </p:cNvSpPr>
                <p:nvPr/>
              </p:nvSpPr>
              <p:spPr bwMode="auto">
                <a:xfrm>
                  <a:off x="9345453" y="6434212"/>
                  <a:ext cx="88443" cy="36851"/>
                </a:xfrm>
                <a:custGeom>
                  <a:avLst/>
                  <a:gdLst>
                    <a:gd name="T0" fmla="*/ 23 w 28"/>
                    <a:gd name="T1" fmla="*/ 0 h 12"/>
                    <a:gd name="T2" fmla="*/ 19 w 28"/>
                    <a:gd name="T3" fmla="*/ 0 h 12"/>
                    <a:gd name="T4" fmla="*/ 14 w 28"/>
                    <a:gd name="T5" fmla="*/ 0 h 12"/>
                    <a:gd name="T6" fmla="*/ 14 w 28"/>
                    <a:gd name="T7" fmla="*/ 0 h 12"/>
                    <a:gd name="T8" fmla="*/ 10 w 28"/>
                    <a:gd name="T9" fmla="*/ 6 h 12"/>
                    <a:gd name="T10" fmla="*/ 7 w 28"/>
                    <a:gd name="T11" fmla="*/ 7 h 12"/>
                    <a:gd name="T12" fmla="*/ 0 w 28"/>
                    <a:gd name="T13" fmla="*/ 12 h 12"/>
                    <a:gd name="T14" fmla="*/ 2 w 28"/>
                    <a:gd name="T15" fmla="*/ 12 h 12"/>
                    <a:gd name="T16" fmla="*/ 16 w 28"/>
                    <a:gd name="T17" fmla="*/ 7 h 12"/>
                    <a:gd name="T18" fmla="*/ 17 w 28"/>
                    <a:gd name="T19" fmla="*/ 7 h 12"/>
                    <a:gd name="T20" fmla="*/ 18 w 28"/>
                    <a:gd name="T21" fmla="*/ 7 h 12"/>
                    <a:gd name="T22" fmla="*/ 18 w 28"/>
                    <a:gd name="T23" fmla="*/ 7 h 12"/>
                    <a:gd name="T24" fmla="*/ 19 w 28"/>
                    <a:gd name="T25" fmla="*/ 7 h 12"/>
                    <a:gd name="T26" fmla="*/ 22 w 28"/>
                    <a:gd name="T27" fmla="*/ 5 h 12"/>
                    <a:gd name="T28" fmla="*/ 28 w 28"/>
                    <a:gd name="T29" fmla="*/ 0 h 12"/>
                    <a:gd name="T30" fmla="*/ 25 w 28"/>
                    <a:gd name="T31" fmla="*/ 0 h 12"/>
                    <a:gd name="T32" fmla="*/ 23 w 28"/>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12">
                      <a:moveTo>
                        <a:pt x="23" y="0"/>
                      </a:moveTo>
                      <a:cubicBezTo>
                        <a:pt x="22" y="0"/>
                        <a:pt x="21" y="0"/>
                        <a:pt x="19" y="0"/>
                      </a:cubicBezTo>
                      <a:cubicBezTo>
                        <a:pt x="20" y="0"/>
                        <a:pt x="16" y="0"/>
                        <a:pt x="14" y="0"/>
                      </a:cubicBezTo>
                      <a:cubicBezTo>
                        <a:pt x="14" y="0"/>
                        <a:pt x="14" y="0"/>
                        <a:pt x="14" y="0"/>
                      </a:cubicBezTo>
                      <a:cubicBezTo>
                        <a:pt x="12" y="2"/>
                        <a:pt x="15" y="4"/>
                        <a:pt x="10" y="6"/>
                      </a:cubicBezTo>
                      <a:cubicBezTo>
                        <a:pt x="9" y="6"/>
                        <a:pt x="8" y="6"/>
                        <a:pt x="7" y="7"/>
                      </a:cubicBezTo>
                      <a:cubicBezTo>
                        <a:pt x="4" y="8"/>
                        <a:pt x="0" y="9"/>
                        <a:pt x="0" y="12"/>
                      </a:cubicBezTo>
                      <a:cubicBezTo>
                        <a:pt x="1" y="12"/>
                        <a:pt x="1" y="12"/>
                        <a:pt x="2" y="12"/>
                      </a:cubicBezTo>
                      <a:cubicBezTo>
                        <a:pt x="7" y="10"/>
                        <a:pt x="12" y="7"/>
                        <a:pt x="16" y="7"/>
                      </a:cubicBezTo>
                      <a:cubicBezTo>
                        <a:pt x="16" y="7"/>
                        <a:pt x="16" y="7"/>
                        <a:pt x="17" y="7"/>
                      </a:cubicBezTo>
                      <a:cubicBezTo>
                        <a:pt x="17" y="7"/>
                        <a:pt x="17" y="7"/>
                        <a:pt x="18" y="7"/>
                      </a:cubicBezTo>
                      <a:cubicBezTo>
                        <a:pt x="18" y="7"/>
                        <a:pt x="18" y="7"/>
                        <a:pt x="18" y="7"/>
                      </a:cubicBezTo>
                      <a:cubicBezTo>
                        <a:pt x="19" y="7"/>
                        <a:pt x="19" y="7"/>
                        <a:pt x="19" y="7"/>
                      </a:cubicBezTo>
                      <a:cubicBezTo>
                        <a:pt x="20" y="7"/>
                        <a:pt x="22" y="5"/>
                        <a:pt x="22" y="5"/>
                      </a:cubicBezTo>
                      <a:cubicBezTo>
                        <a:pt x="24" y="3"/>
                        <a:pt x="25" y="1"/>
                        <a:pt x="28" y="0"/>
                      </a:cubicBezTo>
                      <a:cubicBezTo>
                        <a:pt x="27" y="0"/>
                        <a:pt x="26" y="0"/>
                        <a:pt x="25" y="0"/>
                      </a:cubicBezTo>
                      <a:cubicBezTo>
                        <a:pt x="24" y="0"/>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1" name="Freeform 201">
                  <a:extLst>
                    <a:ext uri="{FF2B5EF4-FFF2-40B4-BE49-F238E27FC236}">
                      <a16:creationId xmlns:a16="http://schemas.microsoft.com/office/drawing/2014/main" id="{5B1896FC-B4F9-48D6-B433-41047D638005}"/>
                    </a:ext>
                  </a:extLst>
                </p:cNvPr>
                <p:cNvSpPr>
                  <a:spLocks/>
                </p:cNvSpPr>
                <p:nvPr/>
              </p:nvSpPr>
              <p:spPr bwMode="auto">
                <a:xfrm>
                  <a:off x="9194363" y="6692171"/>
                  <a:ext cx="44221" cy="14740"/>
                </a:xfrm>
                <a:custGeom>
                  <a:avLst/>
                  <a:gdLst>
                    <a:gd name="T0" fmla="*/ 6 w 14"/>
                    <a:gd name="T1" fmla="*/ 0 h 4"/>
                    <a:gd name="T2" fmla="*/ 0 w 14"/>
                    <a:gd name="T3" fmla="*/ 2 h 4"/>
                    <a:gd name="T4" fmla="*/ 5 w 14"/>
                    <a:gd name="T5" fmla="*/ 4 h 4"/>
                    <a:gd name="T6" fmla="*/ 7 w 14"/>
                    <a:gd name="T7" fmla="*/ 0 h 4"/>
                    <a:gd name="T8" fmla="*/ 6 w 14"/>
                    <a:gd name="T9" fmla="*/ 0 h 4"/>
                  </a:gdLst>
                  <a:ahLst/>
                  <a:cxnLst>
                    <a:cxn ang="0">
                      <a:pos x="T0" y="T1"/>
                    </a:cxn>
                    <a:cxn ang="0">
                      <a:pos x="T2" y="T3"/>
                    </a:cxn>
                    <a:cxn ang="0">
                      <a:pos x="T4" y="T5"/>
                    </a:cxn>
                    <a:cxn ang="0">
                      <a:pos x="T6" y="T7"/>
                    </a:cxn>
                    <a:cxn ang="0">
                      <a:pos x="T8" y="T9"/>
                    </a:cxn>
                  </a:cxnLst>
                  <a:rect l="0" t="0" r="r" b="b"/>
                  <a:pathLst>
                    <a:path w="14" h="4">
                      <a:moveTo>
                        <a:pt x="6" y="0"/>
                      </a:moveTo>
                      <a:cubicBezTo>
                        <a:pt x="4" y="0"/>
                        <a:pt x="2" y="1"/>
                        <a:pt x="0" y="2"/>
                      </a:cubicBezTo>
                      <a:cubicBezTo>
                        <a:pt x="2" y="3"/>
                        <a:pt x="3" y="3"/>
                        <a:pt x="5" y="4"/>
                      </a:cubicBezTo>
                      <a:cubicBezTo>
                        <a:pt x="7" y="4"/>
                        <a:pt x="14" y="2"/>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2" name="Freeform 202">
                  <a:extLst>
                    <a:ext uri="{FF2B5EF4-FFF2-40B4-BE49-F238E27FC236}">
                      <a16:creationId xmlns:a16="http://schemas.microsoft.com/office/drawing/2014/main" id="{6B104137-7B8B-4E59-9519-8237ACB96624}"/>
                    </a:ext>
                  </a:extLst>
                </p:cNvPr>
                <p:cNvSpPr>
                  <a:spLocks/>
                </p:cNvSpPr>
                <p:nvPr/>
              </p:nvSpPr>
              <p:spPr bwMode="auto">
                <a:xfrm>
                  <a:off x="9198049" y="40537"/>
                  <a:ext cx="1389288" cy="681746"/>
                </a:xfrm>
                <a:custGeom>
                  <a:avLst/>
                  <a:gdLst>
                    <a:gd name="T0" fmla="*/ 350 w 438"/>
                    <a:gd name="T1" fmla="*/ 16 h 215"/>
                    <a:gd name="T2" fmla="*/ 325 w 438"/>
                    <a:gd name="T3" fmla="*/ 31 h 215"/>
                    <a:gd name="T4" fmla="*/ 292 w 438"/>
                    <a:gd name="T5" fmla="*/ 39 h 215"/>
                    <a:gd name="T6" fmla="*/ 261 w 438"/>
                    <a:gd name="T7" fmla="*/ 44 h 215"/>
                    <a:gd name="T8" fmla="*/ 248 w 438"/>
                    <a:gd name="T9" fmla="*/ 44 h 215"/>
                    <a:gd name="T10" fmla="*/ 241 w 438"/>
                    <a:gd name="T11" fmla="*/ 45 h 215"/>
                    <a:gd name="T12" fmla="*/ 233 w 438"/>
                    <a:gd name="T13" fmla="*/ 43 h 215"/>
                    <a:gd name="T14" fmla="*/ 216 w 438"/>
                    <a:gd name="T15" fmla="*/ 43 h 215"/>
                    <a:gd name="T16" fmla="*/ 198 w 438"/>
                    <a:gd name="T17" fmla="*/ 59 h 215"/>
                    <a:gd name="T18" fmla="*/ 194 w 438"/>
                    <a:gd name="T19" fmla="*/ 52 h 215"/>
                    <a:gd name="T20" fmla="*/ 172 w 438"/>
                    <a:gd name="T21" fmla="*/ 63 h 215"/>
                    <a:gd name="T22" fmla="*/ 146 w 438"/>
                    <a:gd name="T23" fmla="*/ 69 h 215"/>
                    <a:gd name="T24" fmla="*/ 112 w 438"/>
                    <a:gd name="T25" fmla="*/ 87 h 215"/>
                    <a:gd name="T26" fmla="*/ 101 w 438"/>
                    <a:gd name="T27" fmla="*/ 96 h 215"/>
                    <a:gd name="T28" fmla="*/ 82 w 438"/>
                    <a:gd name="T29" fmla="*/ 113 h 215"/>
                    <a:gd name="T30" fmla="*/ 73 w 438"/>
                    <a:gd name="T31" fmla="*/ 108 h 215"/>
                    <a:gd name="T32" fmla="*/ 67 w 438"/>
                    <a:gd name="T33" fmla="*/ 118 h 215"/>
                    <a:gd name="T34" fmla="*/ 79 w 438"/>
                    <a:gd name="T35" fmla="*/ 120 h 215"/>
                    <a:gd name="T36" fmla="*/ 75 w 438"/>
                    <a:gd name="T37" fmla="*/ 123 h 215"/>
                    <a:gd name="T38" fmla="*/ 78 w 438"/>
                    <a:gd name="T39" fmla="*/ 128 h 215"/>
                    <a:gd name="T40" fmla="*/ 92 w 438"/>
                    <a:gd name="T41" fmla="*/ 134 h 215"/>
                    <a:gd name="T42" fmla="*/ 75 w 438"/>
                    <a:gd name="T43" fmla="*/ 133 h 215"/>
                    <a:gd name="T44" fmla="*/ 61 w 438"/>
                    <a:gd name="T45" fmla="*/ 135 h 215"/>
                    <a:gd name="T46" fmla="*/ 65 w 438"/>
                    <a:gd name="T47" fmla="*/ 143 h 215"/>
                    <a:gd name="T48" fmla="*/ 74 w 438"/>
                    <a:gd name="T49" fmla="*/ 146 h 215"/>
                    <a:gd name="T50" fmla="*/ 50 w 438"/>
                    <a:gd name="T51" fmla="*/ 158 h 215"/>
                    <a:gd name="T52" fmla="*/ 58 w 438"/>
                    <a:gd name="T53" fmla="*/ 165 h 215"/>
                    <a:gd name="T54" fmla="*/ 42 w 438"/>
                    <a:gd name="T55" fmla="*/ 163 h 215"/>
                    <a:gd name="T56" fmla="*/ 27 w 438"/>
                    <a:gd name="T57" fmla="*/ 176 h 215"/>
                    <a:gd name="T58" fmla="*/ 1 w 438"/>
                    <a:gd name="T59" fmla="*/ 185 h 215"/>
                    <a:gd name="T60" fmla="*/ 47 w 438"/>
                    <a:gd name="T61" fmla="*/ 189 h 215"/>
                    <a:gd name="T62" fmla="*/ 15 w 438"/>
                    <a:gd name="T63" fmla="*/ 203 h 215"/>
                    <a:gd name="T64" fmla="*/ 36 w 438"/>
                    <a:gd name="T65" fmla="*/ 205 h 215"/>
                    <a:gd name="T66" fmla="*/ 58 w 438"/>
                    <a:gd name="T67" fmla="*/ 210 h 215"/>
                    <a:gd name="T68" fmla="*/ 71 w 438"/>
                    <a:gd name="T69" fmla="*/ 213 h 215"/>
                    <a:gd name="T70" fmla="*/ 101 w 438"/>
                    <a:gd name="T71" fmla="*/ 200 h 215"/>
                    <a:gd name="T72" fmla="*/ 102 w 438"/>
                    <a:gd name="T73" fmla="*/ 198 h 215"/>
                    <a:gd name="T74" fmla="*/ 104 w 438"/>
                    <a:gd name="T75" fmla="*/ 182 h 215"/>
                    <a:gd name="T76" fmla="*/ 119 w 438"/>
                    <a:gd name="T77" fmla="*/ 177 h 215"/>
                    <a:gd name="T78" fmla="*/ 107 w 438"/>
                    <a:gd name="T79" fmla="*/ 164 h 215"/>
                    <a:gd name="T80" fmla="*/ 126 w 438"/>
                    <a:gd name="T81" fmla="*/ 174 h 215"/>
                    <a:gd name="T82" fmla="*/ 134 w 438"/>
                    <a:gd name="T83" fmla="*/ 162 h 215"/>
                    <a:gd name="T84" fmla="*/ 140 w 438"/>
                    <a:gd name="T85" fmla="*/ 149 h 215"/>
                    <a:gd name="T86" fmla="*/ 156 w 438"/>
                    <a:gd name="T87" fmla="*/ 143 h 215"/>
                    <a:gd name="T88" fmla="*/ 171 w 438"/>
                    <a:gd name="T89" fmla="*/ 140 h 215"/>
                    <a:gd name="T90" fmla="*/ 181 w 438"/>
                    <a:gd name="T91" fmla="*/ 133 h 215"/>
                    <a:gd name="T92" fmla="*/ 195 w 438"/>
                    <a:gd name="T93" fmla="*/ 116 h 215"/>
                    <a:gd name="T94" fmla="*/ 227 w 438"/>
                    <a:gd name="T95" fmla="*/ 98 h 215"/>
                    <a:gd name="T96" fmla="*/ 358 w 438"/>
                    <a:gd name="T97" fmla="*/ 61 h 215"/>
                    <a:gd name="T98" fmla="*/ 431 w 438"/>
                    <a:gd name="T99" fmla="*/ 25 h 215"/>
                    <a:gd name="T100" fmla="*/ 426 w 438"/>
                    <a:gd name="T101" fmla="*/ 7 h 215"/>
                    <a:gd name="T102" fmla="*/ 410 w 438"/>
                    <a:gd name="T103" fmla="*/ 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8" h="215">
                      <a:moveTo>
                        <a:pt x="399" y="0"/>
                      </a:moveTo>
                      <a:cubicBezTo>
                        <a:pt x="397" y="0"/>
                        <a:pt x="395" y="0"/>
                        <a:pt x="393" y="1"/>
                      </a:cubicBezTo>
                      <a:cubicBezTo>
                        <a:pt x="388" y="3"/>
                        <a:pt x="384" y="3"/>
                        <a:pt x="379" y="4"/>
                      </a:cubicBezTo>
                      <a:cubicBezTo>
                        <a:pt x="375" y="4"/>
                        <a:pt x="370" y="7"/>
                        <a:pt x="366" y="8"/>
                      </a:cubicBezTo>
                      <a:cubicBezTo>
                        <a:pt x="362" y="10"/>
                        <a:pt x="352" y="13"/>
                        <a:pt x="350" y="16"/>
                      </a:cubicBezTo>
                      <a:cubicBezTo>
                        <a:pt x="347" y="19"/>
                        <a:pt x="348" y="25"/>
                        <a:pt x="352" y="27"/>
                      </a:cubicBezTo>
                      <a:cubicBezTo>
                        <a:pt x="351" y="27"/>
                        <a:pt x="350" y="27"/>
                        <a:pt x="349" y="27"/>
                      </a:cubicBezTo>
                      <a:cubicBezTo>
                        <a:pt x="346" y="27"/>
                        <a:pt x="342" y="26"/>
                        <a:pt x="338" y="25"/>
                      </a:cubicBezTo>
                      <a:cubicBezTo>
                        <a:pt x="338" y="25"/>
                        <a:pt x="338" y="25"/>
                        <a:pt x="338" y="25"/>
                      </a:cubicBezTo>
                      <a:cubicBezTo>
                        <a:pt x="333" y="25"/>
                        <a:pt x="329" y="30"/>
                        <a:pt x="325" y="31"/>
                      </a:cubicBezTo>
                      <a:cubicBezTo>
                        <a:pt x="324" y="31"/>
                        <a:pt x="323" y="30"/>
                        <a:pt x="322" y="30"/>
                      </a:cubicBezTo>
                      <a:cubicBezTo>
                        <a:pt x="318" y="30"/>
                        <a:pt x="309" y="35"/>
                        <a:pt x="307" y="36"/>
                      </a:cubicBezTo>
                      <a:cubicBezTo>
                        <a:pt x="306" y="37"/>
                        <a:pt x="299" y="41"/>
                        <a:pt x="296" y="41"/>
                      </a:cubicBezTo>
                      <a:cubicBezTo>
                        <a:pt x="296" y="41"/>
                        <a:pt x="295" y="41"/>
                        <a:pt x="295" y="41"/>
                      </a:cubicBezTo>
                      <a:cubicBezTo>
                        <a:pt x="293" y="40"/>
                        <a:pt x="293" y="39"/>
                        <a:pt x="292" y="39"/>
                      </a:cubicBezTo>
                      <a:cubicBezTo>
                        <a:pt x="291" y="39"/>
                        <a:pt x="291" y="40"/>
                        <a:pt x="289" y="40"/>
                      </a:cubicBezTo>
                      <a:cubicBezTo>
                        <a:pt x="283" y="40"/>
                        <a:pt x="278" y="42"/>
                        <a:pt x="272" y="44"/>
                      </a:cubicBezTo>
                      <a:cubicBezTo>
                        <a:pt x="270" y="45"/>
                        <a:pt x="267" y="47"/>
                        <a:pt x="265" y="47"/>
                      </a:cubicBezTo>
                      <a:cubicBezTo>
                        <a:pt x="265" y="47"/>
                        <a:pt x="265" y="47"/>
                        <a:pt x="264" y="47"/>
                      </a:cubicBezTo>
                      <a:cubicBezTo>
                        <a:pt x="262" y="47"/>
                        <a:pt x="262" y="45"/>
                        <a:pt x="261" y="44"/>
                      </a:cubicBezTo>
                      <a:cubicBezTo>
                        <a:pt x="260" y="44"/>
                        <a:pt x="260" y="44"/>
                        <a:pt x="260" y="44"/>
                      </a:cubicBezTo>
                      <a:cubicBezTo>
                        <a:pt x="258" y="44"/>
                        <a:pt x="256" y="45"/>
                        <a:pt x="255" y="46"/>
                      </a:cubicBezTo>
                      <a:cubicBezTo>
                        <a:pt x="253" y="47"/>
                        <a:pt x="251" y="48"/>
                        <a:pt x="250" y="48"/>
                      </a:cubicBezTo>
                      <a:cubicBezTo>
                        <a:pt x="249" y="48"/>
                        <a:pt x="248" y="48"/>
                        <a:pt x="248" y="47"/>
                      </a:cubicBezTo>
                      <a:cubicBezTo>
                        <a:pt x="247" y="46"/>
                        <a:pt x="250" y="44"/>
                        <a:pt x="248" y="44"/>
                      </a:cubicBezTo>
                      <a:cubicBezTo>
                        <a:pt x="248" y="44"/>
                        <a:pt x="247" y="44"/>
                        <a:pt x="247" y="44"/>
                      </a:cubicBezTo>
                      <a:cubicBezTo>
                        <a:pt x="246" y="44"/>
                        <a:pt x="245" y="45"/>
                        <a:pt x="244" y="45"/>
                      </a:cubicBezTo>
                      <a:cubicBezTo>
                        <a:pt x="243" y="45"/>
                        <a:pt x="243" y="45"/>
                        <a:pt x="243" y="45"/>
                      </a:cubicBezTo>
                      <a:cubicBezTo>
                        <a:pt x="243" y="45"/>
                        <a:pt x="242" y="45"/>
                        <a:pt x="242" y="45"/>
                      </a:cubicBezTo>
                      <a:cubicBezTo>
                        <a:pt x="242" y="45"/>
                        <a:pt x="241" y="45"/>
                        <a:pt x="241" y="45"/>
                      </a:cubicBezTo>
                      <a:cubicBezTo>
                        <a:pt x="240" y="45"/>
                        <a:pt x="240" y="45"/>
                        <a:pt x="239" y="45"/>
                      </a:cubicBezTo>
                      <a:cubicBezTo>
                        <a:pt x="239" y="45"/>
                        <a:pt x="238" y="45"/>
                        <a:pt x="238" y="45"/>
                      </a:cubicBezTo>
                      <a:cubicBezTo>
                        <a:pt x="237" y="44"/>
                        <a:pt x="236" y="43"/>
                        <a:pt x="235" y="42"/>
                      </a:cubicBezTo>
                      <a:cubicBezTo>
                        <a:pt x="235" y="42"/>
                        <a:pt x="235" y="42"/>
                        <a:pt x="235" y="42"/>
                      </a:cubicBezTo>
                      <a:cubicBezTo>
                        <a:pt x="234" y="42"/>
                        <a:pt x="234" y="42"/>
                        <a:pt x="233" y="43"/>
                      </a:cubicBezTo>
                      <a:cubicBezTo>
                        <a:pt x="233" y="43"/>
                        <a:pt x="232" y="43"/>
                        <a:pt x="232" y="43"/>
                      </a:cubicBezTo>
                      <a:cubicBezTo>
                        <a:pt x="231" y="43"/>
                        <a:pt x="231" y="43"/>
                        <a:pt x="231" y="43"/>
                      </a:cubicBezTo>
                      <a:cubicBezTo>
                        <a:pt x="230" y="42"/>
                        <a:pt x="229" y="42"/>
                        <a:pt x="228" y="42"/>
                      </a:cubicBezTo>
                      <a:cubicBezTo>
                        <a:pt x="228" y="42"/>
                        <a:pt x="227" y="42"/>
                        <a:pt x="227" y="42"/>
                      </a:cubicBezTo>
                      <a:cubicBezTo>
                        <a:pt x="223" y="42"/>
                        <a:pt x="220" y="43"/>
                        <a:pt x="216" y="43"/>
                      </a:cubicBezTo>
                      <a:cubicBezTo>
                        <a:pt x="212" y="44"/>
                        <a:pt x="208" y="44"/>
                        <a:pt x="210" y="50"/>
                      </a:cubicBezTo>
                      <a:cubicBezTo>
                        <a:pt x="211" y="52"/>
                        <a:pt x="213" y="50"/>
                        <a:pt x="213" y="53"/>
                      </a:cubicBezTo>
                      <a:cubicBezTo>
                        <a:pt x="213" y="55"/>
                        <a:pt x="208" y="56"/>
                        <a:pt x="206" y="56"/>
                      </a:cubicBezTo>
                      <a:cubicBezTo>
                        <a:pt x="203" y="57"/>
                        <a:pt x="201" y="59"/>
                        <a:pt x="198" y="59"/>
                      </a:cubicBezTo>
                      <a:cubicBezTo>
                        <a:pt x="198" y="59"/>
                        <a:pt x="198" y="59"/>
                        <a:pt x="198" y="59"/>
                      </a:cubicBezTo>
                      <a:cubicBezTo>
                        <a:pt x="197" y="59"/>
                        <a:pt x="196" y="59"/>
                        <a:pt x="196" y="59"/>
                      </a:cubicBezTo>
                      <a:cubicBezTo>
                        <a:pt x="195" y="59"/>
                        <a:pt x="195" y="59"/>
                        <a:pt x="194" y="59"/>
                      </a:cubicBezTo>
                      <a:cubicBezTo>
                        <a:pt x="194" y="59"/>
                        <a:pt x="194" y="59"/>
                        <a:pt x="194" y="59"/>
                      </a:cubicBezTo>
                      <a:cubicBezTo>
                        <a:pt x="196" y="56"/>
                        <a:pt x="200" y="52"/>
                        <a:pt x="195" y="52"/>
                      </a:cubicBezTo>
                      <a:cubicBezTo>
                        <a:pt x="195" y="52"/>
                        <a:pt x="194" y="52"/>
                        <a:pt x="194" y="52"/>
                      </a:cubicBezTo>
                      <a:cubicBezTo>
                        <a:pt x="190" y="53"/>
                        <a:pt x="188" y="53"/>
                        <a:pt x="185" y="56"/>
                      </a:cubicBezTo>
                      <a:cubicBezTo>
                        <a:pt x="187" y="57"/>
                        <a:pt x="188" y="58"/>
                        <a:pt x="190" y="59"/>
                      </a:cubicBezTo>
                      <a:cubicBezTo>
                        <a:pt x="187" y="60"/>
                        <a:pt x="183" y="60"/>
                        <a:pt x="180" y="61"/>
                      </a:cubicBezTo>
                      <a:cubicBezTo>
                        <a:pt x="179" y="61"/>
                        <a:pt x="177" y="62"/>
                        <a:pt x="176" y="63"/>
                      </a:cubicBezTo>
                      <a:cubicBezTo>
                        <a:pt x="174" y="63"/>
                        <a:pt x="173" y="63"/>
                        <a:pt x="172" y="63"/>
                      </a:cubicBezTo>
                      <a:cubicBezTo>
                        <a:pt x="171" y="63"/>
                        <a:pt x="170" y="63"/>
                        <a:pt x="169" y="63"/>
                      </a:cubicBezTo>
                      <a:cubicBezTo>
                        <a:pt x="169" y="63"/>
                        <a:pt x="168" y="63"/>
                        <a:pt x="167" y="63"/>
                      </a:cubicBezTo>
                      <a:cubicBezTo>
                        <a:pt x="166" y="63"/>
                        <a:pt x="165" y="63"/>
                        <a:pt x="165" y="63"/>
                      </a:cubicBezTo>
                      <a:cubicBezTo>
                        <a:pt x="160" y="64"/>
                        <a:pt x="157" y="67"/>
                        <a:pt x="153" y="68"/>
                      </a:cubicBezTo>
                      <a:cubicBezTo>
                        <a:pt x="150" y="68"/>
                        <a:pt x="148" y="68"/>
                        <a:pt x="146" y="69"/>
                      </a:cubicBezTo>
                      <a:cubicBezTo>
                        <a:pt x="140" y="72"/>
                        <a:pt x="136" y="76"/>
                        <a:pt x="129" y="78"/>
                      </a:cubicBezTo>
                      <a:cubicBezTo>
                        <a:pt x="129" y="78"/>
                        <a:pt x="125" y="78"/>
                        <a:pt x="125" y="78"/>
                      </a:cubicBezTo>
                      <a:cubicBezTo>
                        <a:pt x="123" y="80"/>
                        <a:pt x="128" y="81"/>
                        <a:pt x="129" y="82"/>
                      </a:cubicBezTo>
                      <a:cubicBezTo>
                        <a:pt x="130" y="84"/>
                        <a:pt x="122" y="85"/>
                        <a:pt x="120" y="85"/>
                      </a:cubicBezTo>
                      <a:cubicBezTo>
                        <a:pt x="117" y="86"/>
                        <a:pt x="114" y="86"/>
                        <a:pt x="112" y="87"/>
                      </a:cubicBezTo>
                      <a:cubicBezTo>
                        <a:pt x="109" y="89"/>
                        <a:pt x="113" y="92"/>
                        <a:pt x="114" y="95"/>
                      </a:cubicBezTo>
                      <a:cubicBezTo>
                        <a:pt x="115" y="96"/>
                        <a:pt x="116" y="97"/>
                        <a:pt x="115" y="98"/>
                      </a:cubicBezTo>
                      <a:cubicBezTo>
                        <a:pt x="115" y="99"/>
                        <a:pt x="114" y="99"/>
                        <a:pt x="114" y="99"/>
                      </a:cubicBezTo>
                      <a:cubicBezTo>
                        <a:pt x="112" y="99"/>
                        <a:pt x="110" y="98"/>
                        <a:pt x="109" y="97"/>
                      </a:cubicBezTo>
                      <a:cubicBezTo>
                        <a:pt x="106" y="96"/>
                        <a:pt x="105" y="96"/>
                        <a:pt x="101" y="96"/>
                      </a:cubicBezTo>
                      <a:cubicBezTo>
                        <a:pt x="99" y="96"/>
                        <a:pt x="98" y="95"/>
                        <a:pt x="97" y="95"/>
                      </a:cubicBezTo>
                      <a:cubicBezTo>
                        <a:pt x="96" y="95"/>
                        <a:pt x="95" y="96"/>
                        <a:pt x="93" y="96"/>
                      </a:cubicBezTo>
                      <a:cubicBezTo>
                        <a:pt x="90" y="97"/>
                        <a:pt x="86" y="99"/>
                        <a:pt x="91" y="101"/>
                      </a:cubicBezTo>
                      <a:cubicBezTo>
                        <a:pt x="96" y="103"/>
                        <a:pt x="87" y="109"/>
                        <a:pt x="85" y="111"/>
                      </a:cubicBezTo>
                      <a:cubicBezTo>
                        <a:pt x="84" y="111"/>
                        <a:pt x="83" y="112"/>
                        <a:pt x="82" y="113"/>
                      </a:cubicBezTo>
                      <a:cubicBezTo>
                        <a:pt x="81" y="113"/>
                        <a:pt x="81" y="113"/>
                        <a:pt x="81" y="113"/>
                      </a:cubicBezTo>
                      <a:cubicBezTo>
                        <a:pt x="80" y="113"/>
                        <a:pt x="80" y="112"/>
                        <a:pt x="80" y="111"/>
                      </a:cubicBezTo>
                      <a:cubicBezTo>
                        <a:pt x="79" y="109"/>
                        <a:pt x="78" y="107"/>
                        <a:pt x="77" y="107"/>
                      </a:cubicBezTo>
                      <a:cubicBezTo>
                        <a:pt x="76" y="107"/>
                        <a:pt x="75" y="107"/>
                        <a:pt x="75" y="108"/>
                      </a:cubicBezTo>
                      <a:cubicBezTo>
                        <a:pt x="74" y="108"/>
                        <a:pt x="73" y="108"/>
                        <a:pt x="73" y="108"/>
                      </a:cubicBezTo>
                      <a:cubicBezTo>
                        <a:pt x="71" y="108"/>
                        <a:pt x="71" y="105"/>
                        <a:pt x="69" y="105"/>
                      </a:cubicBezTo>
                      <a:cubicBezTo>
                        <a:pt x="69" y="105"/>
                        <a:pt x="68" y="105"/>
                        <a:pt x="68" y="105"/>
                      </a:cubicBezTo>
                      <a:cubicBezTo>
                        <a:pt x="66" y="105"/>
                        <a:pt x="58" y="109"/>
                        <a:pt x="60" y="112"/>
                      </a:cubicBezTo>
                      <a:cubicBezTo>
                        <a:pt x="60" y="113"/>
                        <a:pt x="64" y="112"/>
                        <a:pt x="65" y="113"/>
                      </a:cubicBezTo>
                      <a:cubicBezTo>
                        <a:pt x="66" y="115"/>
                        <a:pt x="65" y="118"/>
                        <a:pt x="67" y="118"/>
                      </a:cubicBezTo>
                      <a:cubicBezTo>
                        <a:pt x="67" y="118"/>
                        <a:pt x="67" y="118"/>
                        <a:pt x="67" y="118"/>
                      </a:cubicBezTo>
                      <a:cubicBezTo>
                        <a:pt x="70" y="117"/>
                        <a:pt x="72" y="116"/>
                        <a:pt x="75" y="116"/>
                      </a:cubicBezTo>
                      <a:cubicBezTo>
                        <a:pt x="76" y="116"/>
                        <a:pt x="77" y="115"/>
                        <a:pt x="78" y="115"/>
                      </a:cubicBezTo>
                      <a:cubicBezTo>
                        <a:pt x="80" y="115"/>
                        <a:pt x="79" y="116"/>
                        <a:pt x="77" y="119"/>
                      </a:cubicBezTo>
                      <a:cubicBezTo>
                        <a:pt x="78" y="120"/>
                        <a:pt x="78" y="120"/>
                        <a:pt x="79" y="120"/>
                      </a:cubicBezTo>
                      <a:cubicBezTo>
                        <a:pt x="79" y="120"/>
                        <a:pt x="79" y="120"/>
                        <a:pt x="79" y="120"/>
                      </a:cubicBezTo>
                      <a:cubicBezTo>
                        <a:pt x="80" y="120"/>
                        <a:pt x="81" y="120"/>
                        <a:pt x="82" y="120"/>
                      </a:cubicBezTo>
                      <a:cubicBezTo>
                        <a:pt x="83" y="119"/>
                        <a:pt x="84" y="119"/>
                        <a:pt x="85" y="119"/>
                      </a:cubicBezTo>
                      <a:cubicBezTo>
                        <a:pt x="85" y="119"/>
                        <a:pt x="86" y="119"/>
                        <a:pt x="85" y="120"/>
                      </a:cubicBezTo>
                      <a:cubicBezTo>
                        <a:pt x="83" y="122"/>
                        <a:pt x="78" y="122"/>
                        <a:pt x="75" y="123"/>
                      </a:cubicBezTo>
                      <a:cubicBezTo>
                        <a:pt x="72" y="123"/>
                        <a:pt x="70" y="124"/>
                        <a:pt x="68" y="125"/>
                      </a:cubicBezTo>
                      <a:cubicBezTo>
                        <a:pt x="66" y="126"/>
                        <a:pt x="59" y="127"/>
                        <a:pt x="64" y="129"/>
                      </a:cubicBezTo>
                      <a:cubicBezTo>
                        <a:pt x="65" y="130"/>
                        <a:pt x="65" y="130"/>
                        <a:pt x="66" y="130"/>
                      </a:cubicBezTo>
                      <a:cubicBezTo>
                        <a:pt x="67" y="130"/>
                        <a:pt x="70" y="129"/>
                        <a:pt x="72" y="129"/>
                      </a:cubicBezTo>
                      <a:cubicBezTo>
                        <a:pt x="74" y="129"/>
                        <a:pt x="76" y="128"/>
                        <a:pt x="78" y="128"/>
                      </a:cubicBezTo>
                      <a:cubicBezTo>
                        <a:pt x="79" y="128"/>
                        <a:pt x="80" y="128"/>
                        <a:pt x="81" y="129"/>
                      </a:cubicBezTo>
                      <a:cubicBezTo>
                        <a:pt x="82" y="132"/>
                        <a:pt x="83" y="134"/>
                        <a:pt x="86" y="134"/>
                      </a:cubicBezTo>
                      <a:cubicBezTo>
                        <a:pt x="86" y="135"/>
                        <a:pt x="87" y="135"/>
                        <a:pt x="87" y="135"/>
                      </a:cubicBezTo>
                      <a:cubicBezTo>
                        <a:pt x="88" y="135"/>
                        <a:pt x="89" y="134"/>
                        <a:pt x="90" y="134"/>
                      </a:cubicBezTo>
                      <a:cubicBezTo>
                        <a:pt x="90" y="134"/>
                        <a:pt x="91" y="134"/>
                        <a:pt x="92" y="134"/>
                      </a:cubicBezTo>
                      <a:cubicBezTo>
                        <a:pt x="93" y="134"/>
                        <a:pt x="93" y="134"/>
                        <a:pt x="94" y="134"/>
                      </a:cubicBezTo>
                      <a:cubicBezTo>
                        <a:pt x="92" y="135"/>
                        <a:pt x="91" y="136"/>
                        <a:pt x="89" y="136"/>
                      </a:cubicBezTo>
                      <a:cubicBezTo>
                        <a:pt x="87" y="136"/>
                        <a:pt x="84" y="135"/>
                        <a:pt x="82" y="135"/>
                      </a:cubicBezTo>
                      <a:cubicBezTo>
                        <a:pt x="80" y="134"/>
                        <a:pt x="78" y="133"/>
                        <a:pt x="76" y="133"/>
                      </a:cubicBezTo>
                      <a:cubicBezTo>
                        <a:pt x="76" y="133"/>
                        <a:pt x="76" y="133"/>
                        <a:pt x="75" y="133"/>
                      </a:cubicBezTo>
                      <a:cubicBezTo>
                        <a:pt x="73" y="134"/>
                        <a:pt x="71" y="135"/>
                        <a:pt x="68" y="135"/>
                      </a:cubicBezTo>
                      <a:cubicBezTo>
                        <a:pt x="67" y="136"/>
                        <a:pt x="66" y="136"/>
                        <a:pt x="65" y="136"/>
                      </a:cubicBezTo>
                      <a:cubicBezTo>
                        <a:pt x="64" y="136"/>
                        <a:pt x="64" y="136"/>
                        <a:pt x="64" y="136"/>
                      </a:cubicBezTo>
                      <a:cubicBezTo>
                        <a:pt x="63" y="136"/>
                        <a:pt x="63" y="135"/>
                        <a:pt x="62" y="135"/>
                      </a:cubicBezTo>
                      <a:cubicBezTo>
                        <a:pt x="61" y="135"/>
                        <a:pt x="61" y="135"/>
                        <a:pt x="61" y="135"/>
                      </a:cubicBezTo>
                      <a:cubicBezTo>
                        <a:pt x="59" y="135"/>
                        <a:pt x="55" y="135"/>
                        <a:pt x="55" y="136"/>
                      </a:cubicBezTo>
                      <a:cubicBezTo>
                        <a:pt x="53" y="139"/>
                        <a:pt x="58" y="143"/>
                        <a:pt x="60" y="143"/>
                      </a:cubicBezTo>
                      <a:cubicBezTo>
                        <a:pt x="61" y="143"/>
                        <a:pt x="61" y="143"/>
                        <a:pt x="62" y="143"/>
                      </a:cubicBezTo>
                      <a:cubicBezTo>
                        <a:pt x="62" y="143"/>
                        <a:pt x="63" y="143"/>
                        <a:pt x="63" y="143"/>
                      </a:cubicBezTo>
                      <a:cubicBezTo>
                        <a:pt x="64" y="143"/>
                        <a:pt x="65" y="143"/>
                        <a:pt x="65" y="143"/>
                      </a:cubicBezTo>
                      <a:cubicBezTo>
                        <a:pt x="66" y="143"/>
                        <a:pt x="67" y="143"/>
                        <a:pt x="68" y="144"/>
                      </a:cubicBezTo>
                      <a:cubicBezTo>
                        <a:pt x="69" y="144"/>
                        <a:pt x="70" y="145"/>
                        <a:pt x="71" y="146"/>
                      </a:cubicBezTo>
                      <a:cubicBezTo>
                        <a:pt x="71" y="146"/>
                        <a:pt x="71" y="146"/>
                        <a:pt x="71" y="146"/>
                      </a:cubicBezTo>
                      <a:cubicBezTo>
                        <a:pt x="72" y="146"/>
                        <a:pt x="72" y="146"/>
                        <a:pt x="73" y="146"/>
                      </a:cubicBezTo>
                      <a:cubicBezTo>
                        <a:pt x="73" y="146"/>
                        <a:pt x="74" y="146"/>
                        <a:pt x="74" y="146"/>
                      </a:cubicBezTo>
                      <a:cubicBezTo>
                        <a:pt x="74" y="146"/>
                        <a:pt x="74" y="146"/>
                        <a:pt x="74" y="146"/>
                      </a:cubicBezTo>
                      <a:cubicBezTo>
                        <a:pt x="68" y="149"/>
                        <a:pt x="59" y="147"/>
                        <a:pt x="52" y="149"/>
                      </a:cubicBezTo>
                      <a:cubicBezTo>
                        <a:pt x="50" y="149"/>
                        <a:pt x="42" y="151"/>
                        <a:pt x="49" y="154"/>
                      </a:cubicBezTo>
                      <a:cubicBezTo>
                        <a:pt x="52" y="155"/>
                        <a:pt x="57" y="154"/>
                        <a:pt x="59" y="156"/>
                      </a:cubicBezTo>
                      <a:cubicBezTo>
                        <a:pt x="56" y="157"/>
                        <a:pt x="53" y="158"/>
                        <a:pt x="50" y="158"/>
                      </a:cubicBezTo>
                      <a:cubicBezTo>
                        <a:pt x="49" y="158"/>
                        <a:pt x="49" y="158"/>
                        <a:pt x="49" y="158"/>
                      </a:cubicBezTo>
                      <a:cubicBezTo>
                        <a:pt x="47" y="157"/>
                        <a:pt x="46" y="157"/>
                        <a:pt x="45" y="157"/>
                      </a:cubicBezTo>
                      <a:cubicBezTo>
                        <a:pt x="44" y="157"/>
                        <a:pt x="43" y="157"/>
                        <a:pt x="41" y="158"/>
                      </a:cubicBezTo>
                      <a:cubicBezTo>
                        <a:pt x="43" y="160"/>
                        <a:pt x="48" y="161"/>
                        <a:pt x="51" y="161"/>
                      </a:cubicBezTo>
                      <a:cubicBezTo>
                        <a:pt x="54" y="162"/>
                        <a:pt x="55" y="164"/>
                        <a:pt x="58" y="165"/>
                      </a:cubicBezTo>
                      <a:cubicBezTo>
                        <a:pt x="59" y="165"/>
                        <a:pt x="61" y="165"/>
                        <a:pt x="62" y="166"/>
                      </a:cubicBezTo>
                      <a:cubicBezTo>
                        <a:pt x="62" y="167"/>
                        <a:pt x="61" y="167"/>
                        <a:pt x="60" y="167"/>
                      </a:cubicBezTo>
                      <a:cubicBezTo>
                        <a:pt x="59" y="167"/>
                        <a:pt x="57" y="167"/>
                        <a:pt x="57" y="167"/>
                      </a:cubicBezTo>
                      <a:cubicBezTo>
                        <a:pt x="55" y="167"/>
                        <a:pt x="52" y="166"/>
                        <a:pt x="49" y="165"/>
                      </a:cubicBezTo>
                      <a:cubicBezTo>
                        <a:pt x="46" y="165"/>
                        <a:pt x="45" y="163"/>
                        <a:pt x="42" y="163"/>
                      </a:cubicBezTo>
                      <a:cubicBezTo>
                        <a:pt x="42" y="163"/>
                        <a:pt x="42" y="163"/>
                        <a:pt x="41" y="163"/>
                      </a:cubicBezTo>
                      <a:cubicBezTo>
                        <a:pt x="39" y="164"/>
                        <a:pt x="37" y="165"/>
                        <a:pt x="35" y="166"/>
                      </a:cubicBezTo>
                      <a:cubicBezTo>
                        <a:pt x="33" y="167"/>
                        <a:pt x="30" y="168"/>
                        <a:pt x="29" y="170"/>
                      </a:cubicBezTo>
                      <a:cubicBezTo>
                        <a:pt x="27" y="173"/>
                        <a:pt x="28" y="172"/>
                        <a:pt x="31" y="174"/>
                      </a:cubicBezTo>
                      <a:cubicBezTo>
                        <a:pt x="33" y="175"/>
                        <a:pt x="28" y="176"/>
                        <a:pt x="27" y="176"/>
                      </a:cubicBezTo>
                      <a:cubicBezTo>
                        <a:pt x="22" y="177"/>
                        <a:pt x="19" y="179"/>
                        <a:pt x="14" y="180"/>
                      </a:cubicBezTo>
                      <a:cubicBezTo>
                        <a:pt x="11" y="181"/>
                        <a:pt x="10" y="184"/>
                        <a:pt x="8" y="185"/>
                      </a:cubicBezTo>
                      <a:cubicBezTo>
                        <a:pt x="7" y="185"/>
                        <a:pt x="6" y="186"/>
                        <a:pt x="6" y="186"/>
                      </a:cubicBezTo>
                      <a:cubicBezTo>
                        <a:pt x="5" y="186"/>
                        <a:pt x="4" y="185"/>
                        <a:pt x="3" y="185"/>
                      </a:cubicBezTo>
                      <a:cubicBezTo>
                        <a:pt x="2" y="185"/>
                        <a:pt x="1" y="185"/>
                        <a:pt x="1" y="185"/>
                      </a:cubicBezTo>
                      <a:cubicBezTo>
                        <a:pt x="0" y="185"/>
                        <a:pt x="0" y="185"/>
                        <a:pt x="0" y="185"/>
                      </a:cubicBezTo>
                      <a:cubicBezTo>
                        <a:pt x="6" y="189"/>
                        <a:pt x="13" y="190"/>
                        <a:pt x="20" y="190"/>
                      </a:cubicBezTo>
                      <a:cubicBezTo>
                        <a:pt x="24" y="190"/>
                        <a:pt x="27" y="189"/>
                        <a:pt x="31" y="189"/>
                      </a:cubicBezTo>
                      <a:cubicBezTo>
                        <a:pt x="34" y="189"/>
                        <a:pt x="39" y="189"/>
                        <a:pt x="43" y="189"/>
                      </a:cubicBezTo>
                      <a:cubicBezTo>
                        <a:pt x="44" y="189"/>
                        <a:pt x="46" y="189"/>
                        <a:pt x="47" y="189"/>
                      </a:cubicBezTo>
                      <a:cubicBezTo>
                        <a:pt x="44" y="190"/>
                        <a:pt x="40" y="191"/>
                        <a:pt x="36" y="192"/>
                      </a:cubicBezTo>
                      <a:cubicBezTo>
                        <a:pt x="35" y="192"/>
                        <a:pt x="33" y="192"/>
                        <a:pt x="31" y="192"/>
                      </a:cubicBezTo>
                      <a:cubicBezTo>
                        <a:pt x="30" y="193"/>
                        <a:pt x="29" y="194"/>
                        <a:pt x="27" y="195"/>
                      </a:cubicBezTo>
                      <a:cubicBezTo>
                        <a:pt x="24" y="195"/>
                        <a:pt x="21" y="197"/>
                        <a:pt x="19" y="199"/>
                      </a:cubicBezTo>
                      <a:cubicBezTo>
                        <a:pt x="17" y="200"/>
                        <a:pt x="15" y="201"/>
                        <a:pt x="15" y="203"/>
                      </a:cubicBezTo>
                      <a:cubicBezTo>
                        <a:pt x="15" y="206"/>
                        <a:pt x="13" y="206"/>
                        <a:pt x="11" y="207"/>
                      </a:cubicBezTo>
                      <a:cubicBezTo>
                        <a:pt x="15" y="208"/>
                        <a:pt x="19" y="208"/>
                        <a:pt x="24" y="208"/>
                      </a:cubicBezTo>
                      <a:cubicBezTo>
                        <a:pt x="24" y="208"/>
                        <a:pt x="24" y="208"/>
                        <a:pt x="24" y="208"/>
                      </a:cubicBezTo>
                      <a:cubicBezTo>
                        <a:pt x="24" y="208"/>
                        <a:pt x="24" y="208"/>
                        <a:pt x="24" y="208"/>
                      </a:cubicBezTo>
                      <a:cubicBezTo>
                        <a:pt x="27" y="207"/>
                        <a:pt x="32" y="205"/>
                        <a:pt x="36" y="205"/>
                      </a:cubicBezTo>
                      <a:cubicBezTo>
                        <a:pt x="36" y="205"/>
                        <a:pt x="37" y="205"/>
                        <a:pt x="37" y="205"/>
                      </a:cubicBezTo>
                      <a:cubicBezTo>
                        <a:pt x="41" y="206"/>
                        <a:pt x="44" y="209"/>
                        <a:pt x="47" y="209"/>
                      </a:cubicBezTo>
                      <a:cubicBezTo>
                        <a:pt x="49" y="210"/>
                        <a:pt x="51" y="210"/>
                        <a:pt x="53" y="210"/>
                      </a:cubicBezTo>
                      <a:cubicBezTo>
                        <a:pt x="54" y="210"/>
                        <a:pt x="55" y="210"/>
                        <a:pt x="56" y="210"/>
                      </a:cubicBezTo>
                      <a:cubicBezTo>
                        <a:pt x="57" y="210"/>
                        <a:pt x="58" y="210"/>
                        <a:pt x="58" y="210"/>
                      </a:cubicBezTo>
                      <a:cubicBezTo>
                        <a:pt x="59" y="210"/>
                        <a:pt x="60" y="210"/>
                        <a:pt x="61" y="210"/>
                      </a:cubicBezTo>
                      <a:cubicBezTo>
                        <a:pt x="62" y="210"/>
                        <a:pt x="63" y="211"/>
                        <a:pt x="63" y="211"/>
                      </a:cubicBezTo>
                      <a:cubicBezTo>
                        <a:pt x="64" y="211"/>
                        <a:pt x="64" y="210"/>
                        <a:pt x="64" y="210"/>
                      </a:cubicBezTo>
                      <a:cubicBezTo>
                        <a:pt x="65" y="209"/>
                        <a:pt x="65" y="206"/>
                        <a:pt x="64" y="205"/>
                      </a:cubicBezTo>
                      <a:cubicBezTo>
                        <a:pt x="67" y="207"/>
                        <a:pt x="68" y="212"/>
                        <a:pt x="71" y="213"/>
                      </a:cubicBezTo>
                      <a:cubicBezTo>
                        <a:pt x="74" y="213"/>
                        <a:pt x="77" y="213"/>
                        <a:pt x="80" y="213"/>
                      </a:cubicBezTo>
                      <a:cubicBezTo>
                        <a:pt x="81" y="214"/>
                        <a:pt x="84" y="215"/>
                        <a:pt x="86" y="215"/>
                      </a:cubicBezTo>
                      <a:cubicBezTo>
                        <a:pt x="87" y="215"/>
                        <a:pt x="88" y="214"/>
                        <a:pt x="88" y="214"/>
                      </a:cubicBezTo>
                      <a:cubicBezTo>
                        <a:pt x="89" y="210"/>
                        <a:pt x="89" y="208"/>
                        <a:pt x="92" y="206"/>
                      </a:cubicBezTo>
                      <a:cubicBezTo>
                        <a:pt x="95" y="204"/>
                        <a:pt x="99" y="203"/>
                        <a:pt x="101" y="200"/>
                      </a:cubicBezTo>
                      <a:cubicBezTo>
                        <a:pt x="99" y="199"/>
                        <a:pt x="96" y="197"/>
                        <a:pt x="94" y="196"/>
                      </a:cubicBezTo>
                      <a:cubicBezTo>
                        <a:pt x="93" y="196"/>
                        <a:pt x="91" y="196"/>
                        <a:pt x="90" y="196"/>
                      </a:cubicBezTo>
                      <a:cubicBezTo>
                        <a:pt x="88" y="195"/>
                        <a:pt x="89" y="193"/>
                        <a:pt x="87" y="192"/>
                      </a:cubicBezTo>
                      <a:cubicBezTo>
                        <a:pt x="93" y="193"/>
                        <a:pt x="97" y="197"/>
                        <a:pt x="102" y="198"/>
                      </a:cubicBezTo>
                      <a:cubicBezTo>
                        <a:pt x="102" y="198"/>
                        <a:pt x="102" y="198"/>
                        <a:pt x="102" y="198"/>
                      </a:cubicBezTo>
                      <a:cubicBezTo>
                        <a:pt x="106" y="198"/>
                        <a:pt x="111" y="192"/>
                        <a:pt x="110" y="188"/>
                      </a:cubicBezTo>
                      <a:cubicBezTo>
                        <a:pt x="110" y="187"/>
                        <a:pt x="107" y="185"/>
                        <a:pt x="106" y="184"/>
                      </a:cubicBezTo>
                      <a:cubicBezTo>
                        <a:pt x="100" y="181"/>
                        <a:pt x="90" y="184"/>
                        <a:pt x="84" y="180"/>
                      </a:cubicBezTo>
                      <a:cubicBezTo>
                        <a:pt x="85" y="180"/>
                        <a:pt x="86" y="180"/>
                        <a:pt x="88" y="180"/>
                      </a:cubicBezTo>
                      <a:cubicBezTo>
                        <a:pt x="93" y="180"/>
                        <a:pt x="99" y="181"/>
                        <a:pt x="104" y="182"/>
                      </a:cubicBezTo>
                      <a:cubicBezTo>
                        <a:pt x="107" y="182"/>
                        <a:pt x="108" y="183"/>
                        <a:pt x="110" y="184"/>
                      </a:cubicBezTo>
                      <a:cubicBezTo>
                        <a:pt x="111" y="185"/>
                        <a:pt x="113" y="189"/>
                        <a:pt x="115" y="189"/>
                      </a:cubicBezTo>
                      <a:cubicBezTo>
                        <a:pt x="115" y="189"/>
                        <a:pt x="115" y="189"/>
                        <a:pt x="115" y="189"/>
                      </a:cubicBezTo>
                      <a:cubicBezTo>
                        <a:pt x="119" y="189"/>
                        <a:pt x="119" y="180"/>
                        <a:pt x="119" y="178"/>
                      </a:cubicBezTo>
                      <a:cubicBezTo>
                        <a:pt x="119" y="178"/>
                        <a:pt x="121" y="177"/>
                        <a:pt x="119" y="177"/>
                      </a:cubicBezTo>
                      <a:cubicBezTo>
                        <a:pt x="119" y="176"/>
                        <a:pt x="118" y="176"/>
                        <a:pt x="118" y="176"/>
                      </a:cubicBezTo>
                      <a:cubicBezTo>
                        <a:pt x="117" y="175"/>
                        <a:pt x="116" y="175"/>
                        <a:pt x="115" y="174"/>
                      </a:cubicBezTo>
                      <a:cubicBezTo>
                        <a:pt x="114" y="173"/>
                        <a:pt x="112" y="170"/>
                        <a:pt x="110" y="170"/>
                      </a:cubicBezTo>
                      <a:cubicBezTo>
                        <a:pt x="108" y="170"/>
                        <a:pt x="105" y="169"/>
                        <a:pt x="103" y="169"/>
                      </a:cubicBezTo>
                      <a:cubicBezTo>
                        <a:pt x="105" y="167"/>
                        <a:pt x="110" y="166"/>
                        <a:pt x="107" y="164"/>
                      </a:cubicBezTo>
                      <a:cubicBezTo>
                        <a:pt x="113" y="165"/>
                        <a:pt x="116" y="173"/>
                        <a:pt x="123" y="173"/>
                      </a:cubicBezTo>
                      <a:cubicBezTo>
                        <a:pt x="123" y="173"/>
                        <a:pt x="123" y="173"/>
                        <a:pt x="123" y="173"/>
                      </a:cubicBezTo>
                      <a:cubicBezTo>
                        <a:pt x="123" y="173"/>
                        <a:pt x="123" y="173"/>
                        <a:pt x="123" y="173"/>
                      </a:cubicBezTo>
                      <a:cubicBezTo>
                        <a:pt x="123" y="173"/>
                        <a:pt x="124" y="173"/>
                        <a:pt x="125" y="173"/>
                      </a:cubicBezTo>
                      <a:cubicBezTo>
                        <a:pt x="125" y="174"/>
                        <a:pt x="126" y="174"/>
                        <a:pt x="126" y="174"/>
                      </a:cubicBezTo>
                      <a:cubicBezTo>
                        <a:pt x="126" y="174"/>
                        <a:pt x="126" y="174"/>
                        <a:pt x="126" y="174"/>
                      </a:cubicBezTo>
                      <a:cubicBezTo>
                        <a:pt x="128" y="173"/>
                        <a:pt x="128" y="169"/>
                        <a:pt x="128" y="167"/>
                      </a:cubicBezTo>
                      <a:cubicBezTo>
                        <a:pt x="128" y="165"/>
                        <a:pt x="128" y="166"/>
                        <a:pt x="130" y="164"/>
                      </a:cubicBezTo>
                      <a:cubicBezTo>
                        <a:pt x="131" y="162"/>
                        <a:pt x="131" y="162"/>
                        <a:pt x="132" y="162"/>
                      </a:cubicBezTo>
                      <a:cubicBezTo>
                        <a:pt x="132" y="162"/>
                        <a:pt x="133" y="162"/>
                        <a:pt x="134" y="162"/>
                      </a:cubicBezTo>
                      <a:cubicBezTo>
                        <a:pt x="136" y="163"/>
                        <a:pt x="137" y="163"/>
                        <a:pt x="138" y="163"/>
                      </a:cubicBezTo>
                      <a:cubicBezTo>
                        <a:pt x="139" y="163"/>
                        <a:pt x="140" y="163"/>
                        <a:pt x="141" y="162"/>
                      </a:cubicBezTo>
                      <a:cubicBezTo>
                        <a:pt x="142" y="160"/>
                        <a:pt x="143" y="157"/>
                        <a:pt x="142" y="155"/>
                      </a:cubicBezTo>
                      <a:cubicBezTo>
                        <a:pt x="142" y="153"/>
                        <a:pt x="141" y="152"/>
                        <a:pt x="140" y="151"/>
                      </a:cubicBezTo>
                      <a:cubicBezTo>
                        <a:pt x="140" y="150"/>
                        <a:pt x="143" y="150"/>
                        <a:pt x="140" y="149"/>
                      </a:cubicBezTo>
                      <a:cubicBezTo>
                        <a:pt x="139" y="148"/>
                        <a:pt x="136" y="145"/>
                        <a:pt x="135" y="145"/>
                      </a:cubicBezTo>
                      <a:cubicBezTo>
                        <a:pt x="132" y="144"/>
                        <a:pt x="130" y="143"/>
                        <a:pt x="129" y="142"/>
                      </a:cubicBezTo>
                      <a:cubicBezTo>
                        <a:pt x="138" y="142"/>
                        <a:pt x="144" y="148"/>
                        <a:pt x="153" y="149"/>
                      </a:cubicBezTo>
                      <a:cubicBezTo>
                        <a:pt x="153" y="149"/>
                        <a:pt x="153" y="149"/>
                        <a:pt x="154" y="149"/>
                      </a:cubicBezTo>
                      <a:cubicBezTo>
                        <a:pt x="157" y="149"/>
                        <a:pt x="155" y="145"/>
                        <a:pt x="156" y="143"/>
                      </a:cubicBezTo>
                      <a:cubicBezTo>
                        <a:pt x="156" y="141"/>
                        <a:pt x="158" y="140"/>
                        <a:pt x="158" y="138"/>
                      </a:cubicBezTo>
                      <a:cubicBezTo>
                        <a:pt x="157" y="137"/>
                        <a:pt x="153" y="138"/>
                        <a:pt x="156" y="136"/>
                      </a:cubicBezTo>
                      <a:cubicBezTo>
                        <a:pt x="158" y="135"/>
                        <a:pt x="156" y="133"/>
                        <a:pt x="155" y="132"/>
                      </a:cubicBezTo>
                      <a:cubicBezTo>
                        <a:pt x="161" y="133"/>
                        <a:pt x="165" y="139"/>
                        <a:pt x="170" y="140"/>
                      </a:cubicBezTo>
                      <a:cubicBezTo>
                        <a:pt x="171" y="140"/>
                        <a:pt x="171" y="140"/>
                        <a:pt x="171" y="140"/>
                      </a:cubicBezTo>
                      <a:cubicBezTo>
                        <a:pt x="174" y="140"/>
                        <a:pt x="175" y="135"/>
                        <a:pt x="173" y="133"/>
                      </a:cubicBezTo>
                      <a:cubicBezTo>
                        <a:pt x="173" y="133"/>
                        <a:pt x="172" y="133"/>
                        <a:pt x="172" y="133"/>
                      </a:cubicBezTo>
                      <a:cubicBezTo>
                        <a:pt x="171" y="133"/>
                        <a:pt x="170" y="133"/>
                        <a:pt x="170" y="132"/>
                      </a:cubicBezTo>
                      <a:cubicBezTo>
                        <a:pt x="169" y="132"/>
                        <a:pt x="168" y="130"/>
                        <a:pt x="167" y="129"/>
                      </a:cubicBezTo>
                      <a:cubicBezTo>
                        <a:pt x="172" y="130"/>
                        <a:pt x="176" y="133"/>
                        <a:pt x="181" y="133"/>
                      </a:cubicBezTo>
                      <a:cubicBezTo>
                        <a:pt x="182" y="133"/>
                        <a:pt x="182" y="133"/>
                        <a:pt x="183" y="132"/>
                      </a:cubicBezTo>
                      <a:cubicBezTo>
                        <a:pt x="188" y="131"/>
                        <a:pt x="186" y="132"/>
                        <a:pt x="187" y="127"/>
                      </a:cubicBezTo>
                      <a:cubicBezTo>
                        <a:pt x="187" y="123"/>
                        <a:pt x="194" y="123"/>
                        <a:pt x="197" y="119"/>
                      </a:cubicBezTo>
                      <a:cubicBezTo>
                        <a:pt x="191" y="119"/>
                        <a:pt x="185" y="119"/>
                        <a:pt x="179" y="118"/>
                      </a:cubicBezTo>
                      <a:cubicBezTo>
                        <a:pt x="184" y="116"/>
                        <a:pt x="190" y="116"/>
                        <a:pt x="195" y="116"/>
                      </a:cubicBezTo>
                      <a:cubicBezTo>
                        <a:pt x="201" y="116"/>
                        <a:pt x="200" y="115"/>
                        <a:pt x="205" y="110"/>
                      </a:cubicBezTo>
                      <a:cubicBezTo>
                        <a:pt x="207" y="108"/>
                        <a:pt x="219" y="103"/>
                        <a:pt x="217" y="99"/>
                      </a:cubicBezTo>
                      <a:cubicBezTo>
                        <a:pt x="218" y="100"/>
                        <a:pt x="220" y="104"/>
                        <a:pt x="221" y="104"/>
                      </a:cubicBezTo>
                      <a:cubicBezTo>
                        <a:pt x="221" y="104"/>
                        <a:pt x="221" y="104"/>
                        <a:pt x="221" y="104"/>
                      </a:cubicBezTo>
                      <a:cubicBezTo>
                        <a:pt x="224" y="104"/>
                        <a:pt x="226" y="100"/>
                        <a:pt x="227" y="98"/>
                      </a:cubicBezTo>
                      <a:cubicBezTo>
                        <a:pt x="231" y="93"/>
                        <a:pt x="237" y="92"/>
                        <a:pt x="243" y="90"/>
                      </a:cubicBezTo>
                      <a:cubicBezTo>
                        <a:pt x="259" y="87"/>
                        <a:pt x="276" y="83"/>
                        <a:pt x="290" y="80"/>
                      </a:cubicBezTo>
                      <a:cubicBezTo>
                        <a:pt x="300" y="77"/>
                        <a:pt x="309" y="72"/>
                        <a:pt x="319" y="71"/>
                      </a:cubicBezTo>
                      <a:cubicBezTo>
                        <a:pt x="329" y="70"/>
                        <a:pt x="338" y="66"/>
                        <a:pt x="347" y="63"/>
                      </a:cubicBezTo>
                      <a:cubicBezTo>
                        <a:pt x="351" y="62"/>
                        <a:pt x="355" y="62"/>
                        <a:pt x="358" y="61"/>
                      </a:cubicBezTo>
                      <a:cubicBezTo>
                        <a:pt x="364" y="59"/>
                        <a:pt x="370" y="57"/>
                        <a:pt x="376" y="55"/>
                      </a:cubicBezTo>
                      <a:cubicBezTo>
                        <a:pt x="387" y="53"/>
                        <a:pt x="397" y="46"/>
                        <a:pt x="408" y="44"/>
                      </a:cubicBezTo>
                      <a:cubicBezTo>
                        <a:pt x="410" y="43"/>
                        <a:pt x="411" y="43"/>
                        <a:pt x="413" y="43"/>
                      </a:cubicBezTo>
                      <a:cubicBezTo>
                        <a:pt x="417" y="43"/>
                        <a:pt x="414" y="43"/>
                        <a:pt x="416" y="40"/>
                      </a:cubicBezTo>
                      <a:cubicBezTo>
                        <a:pt x="419" y="36"/>
                        <a:pt x="432" y="31"/>
                        <a:pt x="431" y="25"/>
                      </a:cubicBezTo>
                      <a:cubicBezTo>
                        <a:pt x="431" y="21"/>
                        <a:pt x="438" y="20"/>
                        <a:pt x="435" y="16"/>
                      </a:cubicBezTo>
                      <a:cubicBezTo>
                        <a:pt x="433" y="14"/>
                        <a:pt x="432" y="13"/>
                        <a:pt x="430" y="12"/>
                      </a:cubicBezTo>
                      <a:cubicBezTo>
                        <a:pt x="428" y="11"/>
                        <a:pt x="431" y="9"/>
                        <a:pt x="430" y="8"/>
                      </a:cubicBezTo>
                      <a:cubicBezTo>
                        <a:pt x="430" y="8"/>
                        <a:pt x="430" y="8"/>
                        <a:pt x="430" y="8"/>
                      </a:cubicBezTo>
                      <a:cubicBezTo>
                        <a:pt x="430" y="8"/>
                        <a:pt x="426" y="7"/>
                        <a:pt x="426" y="7"/>
                      </a:cubicBezTo>
                      <a:cubicBezTo>
                        <a:pt x="424" y="6"/>
                        <a:pt x="422" y="5"/>
                        <a:pt x="422" y="5"/>
                      </a:cubicBezTo>
                      <a:cubicBezTo>
                        <a:pt x="421" y="5"/>
                        <a:pt x="422" y="3"/>
                        <a:pt x="420" y="3"/>
                      </a:cubicBezTo>
                      <a:cubicBezTo>
                        <a:pt x="420" y="3"/>
                        <a:pt x="419" y="3"/>
                        <a:pt x="419" y="3"/>
                      </a:cubicBezTo>
                      <a:cubicBezTo>
                        <a:pt x="419" y="3"/>
                        <a:pt x="418" y="3"/>
                        <a:pt x="418" y="3"/>
                      </a:cubicBezTo>
                      <a:cubicBezTo>
                        <a:pt x="415" y="3"/>
                        <a:pt x="413" y="2"/>
                        <a:pt x="410" y="2"/>
                      </a:cubicBezTo>
                      <a:cubicBezTo>
                        <a:pt x="407" y="1"/>
                        <a:pt x="403" y="0"/>
                        <a:pt x="3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3" name="Freeform 203">
                  <a:extLst>
                    <a:ext uri="{FF2B5EF4-FFF2-40B4-BE49-F238E27FC236}">
                      <a16:creationId xmlns:a16="http://schemas.microsoft.com/office/drawing/2014/main" id="{B09FE10D-2DC0-42D0-A8C0-AF99A7DDBE85}"/>
                    </a:ext>
                  </a:extLst>
                </p:cNvPr>
                <p:cNvSpPr>
                  <a:spLocks/>
                </p:cNvSpPr>
                <p:nvPr/>
              </p:nvSpPr>
              <p:spPr bwMode="auto">
                <a:xfrm>
                  <a:off x="8704243" y="1341383"/>
                  <a:ext cx="213737" cy="128979"/>
                </a:xfrm>
                <a:custGeom>
                  <a:avLst/>
                  <a:gdLst>
                    <a:gd name="T0" fmla="*/ 24 w 67"/>
                    <a:gd name="T1" fmla="*/ 0 h 40"/>
                    <a:gd name="T2" fmla="*/ 16 w 67"/>
                    <a:gd name="T3" fmla="*/ 2 h 40"/>
                    <a:gd name="T4" fmla="*/ 2 w 67"/>
                    <a:gd name="T5" fmla="*/ 18 h 40"/>
                    <a:gd name="T6" fmla="*/ 0 w 67"/>
                    <a:gd name="T7" fmla="*/ 26 h 40"/>
                    <a:gd name="T8" fmla="*/ 16 w 67"/>
                    <a:gd name="T9" fmla="*/ 40 h 40"/>
                    <a:gd name="T10" fmla="*/ 39 w 67"/>
                    <a:gd name="T11" fmla="*/ 33 h 40"/>
                    <a:gd name="T12" fmla="*/ 49 w 67"/>
                    <a:gd name="T13" fmla="*/ 26 h 40"/>
                    <a:gd name="T14" fmla="*/ 51 w 67"/>
                    <a:gd name="T15" fmla="*/ 22 h 40"/>
                    <a:gd name="T16" fmla="*/ 57 w 67"/>
                    <a:gd name="T17" fmla="*/ 18 h 40"/>
                    <a:gd name="T18" fmla="*/ 55 w 67"/>
                    <a:gd name="T19" fmla="*/ 26 h 40"/>
                    <a:gd name="T20" fmla="*/ 48 w 67"/>
                    <a:gd name="T21" fmla="*/ 9 h 40"/>
                    <a:gd name="T22" fmla="*/ 24 w 67"/>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40">
                      <a:moveTo>
                        <a:pt x="24" y="0"/>
                      </a:moveTo>
                      <a:cubicBezTo>
                        <a:pt x="22" y="0"/>
                        <a:pt x="19" y="1"/>
                        <a:pt x="16" y="2"/>
                      </a:cubicBezTo>
                      <a:cubicBezTo>
                        <a:pt x="9" y="5"/>
                        <a:pt x="3" y="10"/>
                        <a:pt x="2" y="18"/>
                      </a:cubicBezTo>
                      <a:cubicBezTo>
                        <a:pt x="1" y="20"/>
                        <a:pt x="0" y="23"/>
                        <a:pt x="0" y="26"/>
                      </a:cubicBezTo>
                      <a:cubicBezTo>
                        <a:pt x="1" y="34"/>
                        <a:pt x="10" y="36"/>
                        <a:pt x="16" y="40"/>
                      </a:cubicBezTo>
                      <a:cubicBezTo>
                        <a:pt x="24" y="38"/>
                        <a:pt x="32" y="37"/>
                        <a:pt x="39" y="33"/>
                      </a:cubicBezTo>
                      <a:cubicBezTo>
                        <a:pt x="42" y="32"/>
                        <a:pt x="47" y="29"/>
                        <a:pt x="49" y="26"/>
                      </a:cubicBezTo>
                      <a:cubicBezTo>
                        <a:pt x="50" y="24"/>
                        <a:pt x="49" y="23"/>
                        <a:pt x="51" y="22"/>
                      </a:cubicBezTo>
                      <a:cubicBezTo>
                        <a:pt x="53" y="20"/>
                        <a:pt x="55" y="19"/>
                        <a:pt x="57" y="18"/>
                      </a:cubicBezTo>
                      <a:cubicBezTo>
                        <a:pt x="57" y="21"/>
                        <a:pt x="55" y="24"/>
                        <a:pt x="55" y="26"/>
                      </a:cubicBezTo>
                      <a:cubicBezTo>
                        <a:pt x="67" y="20"/>
                        <a:pt x="55" y="12"/>
                        <a:pt x="48" y="9"/>
                      </a:cubicBezTo>
                      <a:cubicBezTo>
                        <a:pt x="40" y="5"/>
                        <a:pt x="33"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4" name="Freeform 204">
                  <a:extLst>
                    <a:ext uri="{FF2B5EF4-FFF2-40B4-BE49-F238E27FC236}">
                      <a16:creationId xmlns:a16="http://schemas.microsoft.com/office/drawing/2014/main" id="{87FFB162-8A64-420A-A37D-2B8314D16EA5}"/>
                    </a:ext>
                  </a:extLst>
                </p:cNvPr>
                <p:cNvSpPr>
                  <a:spLocks noEditPoints="1"/>
                </p:cNvSpPr>
                <p:nvPr/>
              </p:nvSpPr>
              <p:spPr bwMode="auto">
                <a:xfrm>
                  <a:off x="8991682" y="700173"/>
                  <a:ext cx="563823" cy="471695"/>
                </a:xfrm>
                <a:custGeom>
                  <a:avLst/>
                  <a:gdLst>
                    <a:gd name="T0" fmla="*/ 29 w 177"/>
                    <a:gd name="T1" fmla="*/ 34 h 148"/>
                    <a:gd name="T2" fmla="*/ 67 w 177"/>
                    <a:gd name="T3" fmla="*/ 5 h 148"/>
                    <a:gd name="T4" fmla="*/ 49 w 177"/>
                    <a:gd name="T5" fmla="*/ 20 h 148"/>
                    <a:gd name="T6" fmla="*/ 46 w 177"/>
                    <a:gd name="T7" fmla="*/ 25 h 148"/>
                    <a:gd name="T8" fmla="*/ 31 w 177"/>
                    <a:gd name="T9" fmla="*/ 31 h 148"/>
                    <a:gd name="T10" fmla="*/ 42 w 177"/>
                    <a:gd name="T11" fmla="*/ 37 h 148"/>
                    <a:gd name="T12" fmla="*/ 47 w 177"/>
                    <a:gd name="T13" fmla="*/ 39 h 148"/>
                    <a:gd name="T14" fmla="*/ 38 w 177"/>
                    <a:gd name="T15" fmla="*/ 43 h 148"/>
                    <a:gd name="T16" fmla="*/ 47 w 177"/>
                    <a:gd name="T17" fmla="*/ 42 h 148"/>
                    <a:gd name="T18" fmla="*/ 38 w 177"/>
                    <a:gd name="T19" fmla="*/ 47 h 148"/>
                    <a:gd name="T20" fmla="*/ 32 w 177"/>
                    <a:gd name="T21" fmla="*/ 59 h 148"/>
                    <a:gd name="T22" fmla="*/ 29 w 177"/>
                    <a:gd name="T23" fmla="*/ 62 h 148"/>
                    <a:gd name="T24" fmla="*/ 28 w 177"/>
                    <a:gd name="T25" fmla="*/ 69 h 148"/>
                    <a:gd name="T26" fmla="*/ 14 w 177"/>
                    <a:gd name="T27" fmla="*/ 66 h 148"/>
                    <a:gd name="T28" fmla="*/ 0 w 177"/>
                    <a:gd name="T29" fmla="*/ 83 h 148"/>
                    <a:gd name="T30" fmla="*/ 23 w 177"/>
                    <a:gd name="T31" fmla="*/ 96 h 148"/>
                    <a:gd name="T32" fmla="*/ 28 w 177"/>
                    <a:gd name="T33" fmla="*/ 97 h 148"/>
                    <a:gd name="T34" fmla="*/ 42 w 177"/>
                    <a:gd name="T35" fmla="*/ 105 h 148"/>
                    <a:gd name="T36" fmla="*/ 49 w 177"/>
                    <a:gd name="T37" fmla="*/ 100 h 148"/>
                    <a:gd name="T38" fmla="*/ 53 w 177"/>
                    <a:gd name="T39" fmla="*/ 104 h 148"/>
                    <a:gd name="T40" fmla="*/ 62 w 177"/>
                    <a:gd name="T41" fmla="*/ 106 h 148"/>
                    <a:gd name="T42" fmla="*/ 59 w 177"/>
                    <a:gd name="T43" fmla="*/ 113 h 148"/>
                    <a:gd name="T44" fmla="*/ 72 w 177"/>
                    <a:gd name="T45" fmla="*/ 123 h 148"/>
                    <a:gd name="T46" fmla="*/ 63 w 177"/>
                    <a:gd name="T47" fmla="*/ 122 h 148"/>
                    <a:gd name="T48" fmla="*/ 62 w 177"/>
                    <a:gd name="T49" fmla="*/ 124 h 148"/>
                    <a:gd name="T50" fmla="*/ 65 w 177"/>
                    <a:gd name="T51" fmla="*/ 134 h 148"/>
                    <a:gd name="T52" fmla="*/ 54 w 177"/>
                    <a:gd name="T53" fmla="*/ 133 h 148"/>
                    <a:gd name="T54" fmla="*/ 93 w 177"/>
                    <a:gd name="T55" fmla="*/ 144 h 148"/>
                    <a:gd name="T56" fmla="*/ 98 w 177"/>
                    <a:gd name="T57" fmla="*/ 144 h 148"/>
                    <a:gd name="T58" fmla="*/ 108 w 177"/>
                    <a:gd name="T59" fmla="*/ 145 h 148"/>
                    <a:gd name="T60" fmla="*/ 117 w 177"/>
                    <a:gd name="T61" fmla="*/ 141 h 148"/>
                    <a:gd name="T62" fmla="*/ 130 w 177"/>
                    <a:gd name="T63" fmla="*/ 148 h 148"/>
                    <a:gd name="T64" fmla="*/ 145 w 177"/>
                    <a:gd name="T65" fmla="*/ 148 h 148"/>
                    <a:gd name="T66" fmla="*/ 137 w 177"/>
                    <a:gd name="T67" fmla="*/ 140 h 148"/>
                    <a:gd name="T68" fmla="*/ 152 w 177"/>
                    <a:gd name="T69" fmla="*/ 142 h 148"/>
                    <a:gd name="T70" fmla="*/ 171 w 177"/>
                    <a:gd name="T71" fmla="*/ 142 h 148"/>
                    <a:gd name="T72" fmla="*/ 168 w 177"/>
                    <a:gd name="T73" fmla="*/ 136 h 148"/>
                    <a:gd name="T74" fmla="*/ 118 w 177"/>
                    <a:gd name="T75" fmla="*/ 88 h 148"/>
                    <a:gd name="T76" fmla="*/ 114 w 177"/>
                    <a:gd name="T77" fmla="*/ 69 h 148"/>
                    <a:gd name="T78" fmla="*/ 113 w 177"/>
                    <a:gd name="T79" fmla="*/ 51 h 148"/>
                    <a:gd name="T80" fmla="*/ 115 w 177"/>
                    <a:gd name="T81" fmla="*/ 44 h 148"/>
                    <a:gd name="T82" fmla="*/ 115 w 177"/>
                    <a:gd name="T83" fmla="*/ 44 h 148"/>
                    <a:gd name="T84" fmla="*/ 127 w 177"/>
                    <a:gd name="T85" fmla="*/ 38 h 148"/>
                    <a:gd name="T86" fmla="*/ 115 w 177"/>
                    <a:gd name="T87" fmla="*/ 32 h 148"/>
                    <a:gd name="T88" fmla="*/ 123 w 177"/>
                    <a:gd name="T89" fmla="*/ 32 h 148"/>
                    <a:gd name="T90" fmla="*/ 129 w 177"/>
                    <a:gd name="T91" fmla="*/ 32 h 148"/>
                    <a:gd name="T92" fmla="*/ 138 w 177"/>
                    <a:gd name="T93" fmla="*/ 24 h 148"/>
                    <a:gd name="T94" fmla="*/ 130 w 177"/>
                    <a:gd name="T95" fmla="*/ 23 h 148"/>
                    <a:gd name="T96" fmla="*/ 134 w 177"/>
                    <a:gd name="T97" fmla="*/ 20 h 148"/>
                    <a:gd name="T98" fmla="*/ 139 w 177"/>
                    <a:gd name="T99" fmla="*/ 20 h 148"/>
                    <a:gd name="T100" fmla="*/ 130 w 177"/>
                    <a:gd name="T101" fmla="*/ 17 h 148"/>
                    <a:gd name="T102" fmla="*/ 147 w 177"/>
                    <a:gd name="T103" fmla="*/ 13 h 148"/>
                    <a:gd name="T104" fmla="*/ 88 w 177"/>
                    <a:gd name="T105"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7" h="148">
                      <a:moveTo>
                        <a:pt x="29" y="34"/>
                      </a:moveTo>
                      <a:cubicBezTo>
                        <a:pt x="29" y="34"/>
                        <a:pt x="29" y="34"/>
                        <a:pt x="29" y="34"/>
                      </a:cubicBezTo>
                      <a:cubicBezTo>
                        <a:pt x="29" y="34"/>
                        <a:pt x="29" y="34"/>
                        <a:pt x="29" y="34"/>
                      </a:cubicBezTo>
                      <a:moveTo>
                        <a:pt x="88" y="0"/>
                      </a:moveTo>
                      <a:cubicBezTo>
                        <a:pt x="88" y="0"/>
                        <a:pt x="88" y="0"/>
                        <a:pt x="88" y="0"/>
                      </a:cubicBezTo>
                      <a:cubicBezTo>
                        <a:pt x="81" y="2"/>
                        <a:pt x="74" y="4"/>
                        <a:pt x="67" y="5"/>
                      </a:cubicBezTo>
                      <a:cubicBezTo>
                        <a:pt x="62" y="7"/>
                        <a:pt x="52" y="7"/>
                        <a:pt x="50" y="12"/>
                      </a:cubicBezTo>
                      <a:cubicBezTo>
                        <a:pt x="49" y="13"/>
                        <a:pt x="50" y="16"/>
                        <a:pt x="50" y="17"/>
                      </a:cubicBezTo>
                      <a:cubicBezTo>
                        <a:pt x="52" y="20"/>
                        <a:pt x="49" y="18"/>
                        <a:pt x="49" y="20"/>
                      </a:cubicBezTo>
                      <a:cubicBezTo>
                        <a:pt x="50" y="22"/>
                        <a:pt x="53" y="26"/>
                        <a:pt x="51" y="26"/>
                      </a:cubicBezTo>
                      <a:cubicBezTo>
                        <a:pt x="50" y="26"/>
                        <a:pt x="50" y="26"/>
                        <a:pt x="49" y="25"/>
                      </a:cubicBezTo>
                      <a:cubicBezTo>
                        <a:pt x="48" y="25"/>
                        <a:pt x="47" y="25"/>
                        <a:pt x="46" y="25"/>
                      </a:cubicBezTo>
                      <a:cubicBezTo>
                        <a:pt x="45" y="25"/>
                        <a:pt x="44" y="25"/>
                        <a:pt x="42" y="25"/>
                      </a:cubicBezTo>
                      <a:cubicBezTo>
                        <a:pt x="40" y="26"/>
                        <a:pt x="38" y="27"/>
                        <a:pt x="35" y="27"/>
                      </a:cubicBezTo>
                      <a:cubicBezTo>
                        <a:pt x="34" y="28"/>
                        <a:pt x="32" y="30"/>
                        <a:pt x="31" y="31"/>
                      </a:cubicBezTo>
                      <a:cubicBezTo>
                        <a:pt x="31" y="31"/>
                        <a:pt x="29" y="34"/>
                        <a:pt x="29" y="34"/>
                      </a:cubicBezTo>
                      <a:cubicBezTo>
                        <a:pt x="29" y="34"/>
                        <a:pt x="29" y="34"/>
                        <a:pt x="29" y="34"/>
                      </a:cubicBezTo>
                      <a:cubicBezTo>
                        <a:pt x="28" y="37"/>
                        <a:pt x="39" y="37"/>
                        <a:pt x="42" y="37"/>
                      </a:cubicBezTo>
                      <a:cubicBezTo>
                        <a:pt x="45" y="37"/>
                        <a:pt x="47" y="38"/>
                        <a:pt x="50" y="39"/>
                      </a:cubicBezTo>
                      <a:cubicBezTo>
                        <a:pt x="50" y="39"/>
                        <a:pt x="50" y="39"/>
                        <a:pt x="49" y="39"/>
                      </a:cubicBezTo>
                      <a:cubicBezTo>
                        <a:pt x="49" y="39"/>
                        <a:pt x="48" y="39"/>
                        <a:pt x="47" y="39"/>
                      </a:cubicBezTo>
                      <a:cubicBezTo>
                        <a:pt x="46" y="38"/>
                        <a:pt x="45" y="38"/>
                        <a:pt x="44" y="38"/>
                      </a:cubicBezTo>
                      <a:cubicBezTo>
                        <a:pt x="43" y="38"/>
                        <a:pt x="41" y="39"/>
                        <a:pt x="40" y="39"/>
                      </a:cubicBezTo>
                      <a:cubicBezTo>
                        <a:pt x="38" y="40"/>
                        <a:pt x="39" y="41"/>
                        <a:pt x="38" y="43"/>
                      </a:cubicBezTo>
                      <a:cubicBezTo>
                        <a:pt x="38" y="43"/>
                        <a:pt x="39" y="43"/>
                        <a:pt x="39" y="43"/>
                      </a:cubicBezTo>
                      <a:cubicBezTo>
                        <a:pt x="40" y="43"/>
                        <a:pt x="42" y="43"/>
                        <a:pt x="43" y="43"/>
                      </a:cubicBezTo>
                      <a:cubicBezTo>
                        <a:pt x="44" y="42"/>
                        <a:pt x="45" y="42"/>
                        <a:pt x="47" y="42"/>
                      </a:cubicBezTo>
                      <a:cubicBezTo>
                        <a:pt x="47" y="42"/>
                        <a:pt x="47" y="42"/>
                        <a:pt x="47" y="42"/>
                      </a:cubicBezTo>
                      <a:cubicBezTo>
                        <a:pt x="46" y="43"/>
                        <a:pt x="43" y="45"/>
                        <a:pt x="42" y="46"/>
                      </a:cubicBezTo>
                      <a:cubicBezTo>
                        <a:pt x="41" y="46"/>
                        <a:pt x="39" y="46"/>
                        <a:pt x="38" y="47"/>
                      </a:cubicBezTo>
                      <a:cubicBezTo>
                        <a:pt x="35" y="49"/>
                        <a:pt x="37" y="52"/>
                        <a:pt x="37" y="55"/>
                      </a:cubicBezTo>
                      <a:cubicBezTo>
                        <a:pt x="36" y="55"/>
                        <a:pt x="35" y="55"/>
                        <a:pt x="34" y="55"/>
                      </a:cubicBezTo>
                      <a:cubicBezTo>
                        <a:pt x="37" y="58"/>
                        <a:pt x="34" y="59"/>
                        <a:pt x="32" y="59"/>
                      </a:cubicBezTo>
                      <a:cubicBezTo>
                        <a:pt x="31" y="59"/>
                        <a:pt x="30" y="59"/>
                        <a:pt x="29" y="59"/>
                      </a:cubicBezTo>
                      <a:cubicBezTo>
                        <a:pt x="29" y="60"/>
                        <a:pt x="30" y="61"/>
                        <a:pt x="31" y="62"/>
                      </a:cubicBezTo>
                      <a:cubicBezTo>
                        <a:pt x="30" y="62"/>
                        <a:pt x="29" y="62"/>
                        <a:pt x="29" y="62"/>
                      </a:cubicBezTo>
                      <a:cubicBezTo>
                        <a:pt x="28" y="62"/>
                        <a:pt x="30" y="65"/>
                        <a:pt x="31" y="66"/>
                      </a:cubicBezTo>
                      <a:cubicBezTo>
                        <a:pt x="30" y="65"/>
                        <a:pt x="29" y="65"/>
                        <a:pt x="29" y="65"/>
                      </a:cubicBezTo>
                      <a:cubicBezTo>
                        <a:pt x="27" y="65"/>
                        <a:pt x="29" y="68"/>
                        <a:pt x="28" y="69"/>
                      </a:cubicBezTo>
                      <a:cubicBezTo>
                        <a:pt x="28" y="70"/>
                        <a:pt x="27" y="70"/>
                        <a:pt x="27" y="70"/>
                      </a:cubicBezTo>
                      <a:cubicBezTo>
                        <a:pt x="25" y="70"/>
                        <a:pt x="23" y="69"/>
                        <a:pt x="22" y="69"/>
                      </a:cubicBezTo>
                      <a:cubicBezTo>
                        <a:pt x="19" y="69"/>
                        <a:pt x="18" y="69"/>
                        <a:pt x="14" y="66"/>
                      </a:cubicBezTo>
                      <a:cubicBezTo>
                        <a:pt x="14" y="66"/>
                        <a:pt x="13" y="66"/>
                        <a:pt x="13" y="66"/>
                      </a:cubicBezTo>
                      <a:cubicBezTo>
                        <a:pt x="11" y="66"/>
                        <a:pt x="8" y="68"/>
                        <a:pt x="7" y="69"/>
                      </a:cubicBezTo>
                      <a:cubicBezTo>
                        <a:pt x="3" y="72"/>
                        <a:pt x="0" y="78"/>
                        <a:pt x="0" y="83"/>
                      </a:cubicBezTo>
                      <a:cubicBezTo>
                        <a:pt x="0" y="87"/>
                        <a:pt x="5" y="93"/>
                        <a:pt x="4" y="96"/>
                      </a:cubicBezTo>
                      <a:cubicBezTo>
                        <a:pt x="6" y="97"/>
                        <a:pt x="8" y="97"/>
                        <a:pt x="10" y="97"/>
                      </a:cubicBezTo>
                      <a:cubicBezTo>
                        <a:pt x="14" y="97"/>
                        <a:pt x="18" y="96"/>
                        <a:pt x="23" y="96"/>
                      </a:cubicBezTo>
                      <a:cubicBezTo>
                        <a:pt x="23" y="96"/>
                        <a:pt x="23" y="96"/>
                        <a:pt x="23" y="96"/>
                      </a:cubicBezTo>
                      <a:cubicBezTo>
                        <a:pt x="23" y="96"/>
                        <a:pt x="24" y="96"/>
                        <a:pt x="25" y="96"/>
                      </a:cubicBezTo>
                      <a:cubicBezTo>
                        <a:pt x="26" y="97"/>
                        <a:pt x="27" y="97"/>
                        <a:pt x="28" y="97"/>
                      </a:cubicBezTo>
                      <a:cubicBezTo>
                        <a:pt x="30" y="97"/>
                        <a:pt x="32" y="96"/>
                        <a:pt x="32" y="93"/>
                      </a:cubicBezTo>
                      <a:cubicBezTo>
                        <a:pt x="34" y="96"/>
                        <a:pt x="33" y="100"/>
                        <a:pt x="35" y="102"/>
                      </a:cubicBezTo>
                      <a:cubicBezTo>
                        <a:pt x="35" y="102"/>
                        <a:pt x="41" y="105"/>
                        <a:pt x="42" y="105"/>
                      </a:cubicBezTo>
                      <a:cubicBezTo>
                        <a:pt x="42" y="105"/>
                        <a:pt x="42" y="105"/>
                        <a:pt x="42" y="105"/>
                      </a:cubicBezTo>
                      <a:cubicBezTo>
                        <a:pt x="46" y="104"/>
                        <a:pt x="44" y="100"/>
                        <a:pt x="48" y="100"/>
                      </a:cubicBezTo>
                      <a:cubicBezTo>
                        <a:pt x="48" y="100"/>
                        <a:pt x="48" y="100"/>
                        <a:pt x="49" y="100"/>
                      </a:cubicBezTo>
                      <a:cubicBezTo>
                        <a:pt x="49" y="100"/>
                        <a:pt x="49" y="100"/>
                        <a:pt x="49" y="100"/>
                      </a:cubicBezTo>
                      <a:cubicBezTo>
                        <a:pt x="51" y="100"/>
                        <a:pt x="53" y="98"/>
                        <a:pt x="55" y="97"/>
                      </a:cubicBezTo>
                      <a:cubicBezTo>
                        <a:pt x="56" y="100"/>
                        <a:pt x="53" y="102"/>
                        <a:pt x="53" y="104"/>
                      </a:cubicBezTo>
                      <a:cubicBezTo>
                        <a:pt x="53" y="104"/>
                        <a:pt x="55" y="108"/>
                        <a:pt x="56" y="109"/>
                      </a:cubicBezTo>
                      <a:cubicBezTo>
                        <a:pt x="57" y="110"/>
                        <a:pt x="57" y="110"/>
                        <a:pt x="58" y="110"/>
                      </a:cubicBezTo>
                      <a:cubicBezTo>
                        <a:pt x="59" y="110"/>
                        <a:pt x="60" y="108"/>
                        <a:pt x="62" y="106"/>
                      </a:cubicBezTo>
                      <a:cubicBezTo>
                        <a:pt x="63" y="105"/>
                        <a:pt x="66" y="105"/>
                        <a:pt x="67" y="104"/>
                      </a:cubicBezTo>
                      <a:cubicBezTo>
                        <a:pt x="65" y="105"/>
                        <a:pt x="65" y="107"/>
                        <a:pt x="63" y="109"/>
                      </a:cubicBezTo>
                      <a:cubicBezTo>
                        <a:pt x="63" y="110"/>
                        <a:pt x="59" y="112"/>
                        <a:pt x="59" y="113"/>
                      </a:cubicBezTo>
                      <a:cubicBezTo>
                        <a:pt x="58" y="116"/>
                        <a:pt x="73" y="120"/>
                        <a:pt x="75" y="121"/>
                      </a:cubicBezTo>
                      <a:cubicBezTo>
                        <a:pt x="73" y="121"/>
                        <a:pt x="71" y="121"/>
                        <a:pt x="69" y="120"/>
                      </a:cubicBezTo>
                      <a:cubicBezTo>
                        <a:pt x="70" y="121"/>
                        <a:pt x="71" y="122"/>
                        <a:pt x="72" y="123"/>
                      </a:cubicBezTo>
                      <a:cubicBezTo>
                        <a:pt x="69" y="123"/>
                        <a:pt x="66" y="122"/>
                        <a:pt x="64" y="122"/>
                      </a:cubicBezTo>
                      <a:cubicBezTo>
                        <a:pt x="64" y="122"/>
                        <a:pt x="64" y="122"/>
                        <a:pt x="64" y="122"/>
                      </a:cubicBezTo>
                      <a:cubicBezTo>
                        <a:pt x="64" y="122"/>
                        <a:pt x="63" y="122"/>
                        <a:pt x="63" y="122"/>
                      </a:cubicBezTo>
                      <a:cubicBezTo>
                        <a:pt x="63" y="122"/>
                        <a:pt x="62" y="122"/>
                        <a:pt x="62" y="122"/>
                      </a:cubicBezTo>
                      <a:cubicBezTo>
                        <a:pt x="61" y="122"/>
                        <a:pt x="61" y="122"/>
                        <a:pt x="61" y="122"/>
                      </a:cubicBezTo>
                      <a:cubicBezTo>
                        <a:pt x="60" y="122"/>
                        <a:pt x="60" y="123"/>
                        <a:pt x="62" y="124"/>
                      </a:cubicBezTo>
                      <a:cubicBezTo>
                        <a:pt x="63" y="126"/>
                        <a:pt x="66" y="127"/>
                        <a:pt x="66" y="129"/>
                      </a:cubicBezTo>
                      <a:cubicBezTo>
                        <a:pt x="67" y="131"/>
                        <a:pt x="63" y="132"/>
                        <a:pt x="65" y="134"/>
                      </a:cubicBezTo>
                      <a:cubicBezTo>
                        <a:pt x="65" y="134"/>
                        <a:pt x="65" y="134"/>
                        <a:pt x="65" y="134"/>
                      </a:cubicBezTo>
                      <a:cubicBezTo>
                        <a:pt x="63" y="134"/>
                        <a:pt x="62" y="134"/>
                        <a:pt x="60" y="134"/>
                      </a:cubicBezTo>
                      <a:cubicBezTo>
                        <a:pt x="59" y="134"/>
                        <a:pt x="57" y="133"/>
                        <a:pt x="56" y="133"/>
                      </a:cubicBezTo>
                      <a:cubicBezTo>
                        <a:pt x="55" y="133"/>
                        <a:pt x="55" y="133"/>
                        <a:pt x="54" y="133"/>
                      </a:cubicBezTo>
                      <a:cubicBezTo>
                        <a:pt x="56" y="134"/>
                        <a:pt x="57" y="135"/>
                        <a:pt x="59" y="136"/>
                      </a:cubicBezTo>
                      <a:cubicBezTo>
                        <a:pt x="62" y="137"/>
                        <a:pt x="66" y="138"/>
                        <a:pt x="70" y="138"/>
                      </a:cubicBezTo>
                      <a:cubicBezTo>
                        <a:pt x="78" y="140"/>
                        <a:pt x="86" y="141"/>
                        <a:pt x="93" y="144"/>
                      </a:cubicBezTo>
                      <a:cubicBezTo>
                        <a:pt x="92" y="142"/>
                        <a:pt x="89" y="141"/>
                        <a:pt x="88" y="138"/>
                      </a:cubicBezTo>
                      <a:cubicBezTo>
                        <a:pt x="88" y="138"/>
                        <a:pt x="89" y="137"/>
                        <a:pt x="89" y="136"/>
                      </a:cubicBezTo>
                      <a:cubicBezTo>
                        <a:pt x="92" y="139"/>
                        <a:pt x="94" y="142"/>
                        <a:pt x="98" y="144"/>
                      </a:cubicBezTo>
                      <a:cubicBezTo>
                        <a:pt x="100" y="145"/>
                        <a:pt x="102" y="147"/>
                        <a:pt x="104" y="148"/>
                      </a:cubicBezTo>
                      <a:cubicBezTo>
                        <a:pt x="105" y="148"/>
                        <a:pt x="106" y="148"/>
                        <a:pt x="106" y="148"/>
                      </a:cubicBezTo>
                      <a:cubicBezTo>
                        <a:pt x="107" y="148"/>
                        <a:pt x="107" y="147"/>
                        <a:pt x="108" y="145"/>
                      </a:cubicBezTo>
                      <a:cubicBezTo>
                        <a:pt x="110" y="143"/>
                        <a:pt x="112" y="142"/>
                        <a:pt x="112" y="141"/>
                      </a:cubicBezTo>
                      <a:cubicBezTo>
                        <a:pt x="114" y="140"/>
                        <a:pt x="114" y="140"/>
                        <a:pt x="114" y="140"/>
                      </a:cubicBezTo>
                      <a:cubicBezTo>
                        <a:pt x="115" y="140"/>
                        <a:pt x="115" y="140"/>
                        <a:pt x="117" y="141"/>
                      </a:cubicBezTo>
                      <a:cubicBezTo>
                        <a:pt x="119" y="141"/>
                        <a:pt x="123" y="143"/>
                        <a:pt x="125" y="145"/>
                      </a:cubicBezTo>
                      <a:cubicBezTo>
                        <a:pt x="124" y="145"/>
                        <a:pt x="123" y="146"/>
                        <a:pt x="122" y="146"/>
                      </a:cubicBezTo>
                      <a:cubicBezTo>
                        <a:pt x="124" y="147"/>
                        <a:pt x="128" y="148"/>
                        <a:pt x="130" y="148"/>
                      </a:cubicBezTo>
                      <a:cubicBezTo>
                        <a:pt x="129" y="146"/>
                        <a:pt x="127" y="145"/>
                        <a:pt x="126" y="143"/>
                      </a:cubicBezTo>
                      <a:cubicBezTo>
                        <a:pt x="129" y="144"/>
                        <a:pt x="132" y="146"/>
                        <a:pt x="135" y="147"/>
                      </a:cubicBezTo>
                      <a:cubicBezTo>
                        <a:pt x="138" y="148"/>
                        <a:pt x="141" y="147"/>
                        <a:pt x="145" y="148"/>
                      </a:cubicBezTo>
                      <a:cubicBezTo>
                        <a:pt x="144" y="144"/>
                        <a:pt x="144" y="143"/>
                        <a:pt x="141" y="143"/>
                      </a:cubicBezTo>
                      <a:cubicBezTo>
                        <a:pt x="140" y="143"/>
                        <a:pt x="139" y="143"/>
                        <a:pt x="138" y="143"/>
                      </a:cubicBezTo>
                      <a:cubicBezTo>
                        <a:pt x="137" y="143"/>
                        <a:pt x="137" y="141"/>
                        <a:pt x="137" y="140"/>
                      </a:cubicBezTo>
                      <a:cubicBezTo>
                        <a:pt x="147" y="143"/>
                        <a:pt x="157" y="148"/>
                        <a:pt x="167" y="148"/>
                      </a:cubicBezTo>
                      <a:cubicBezTo>
                        <a:pt x="163" y="146"/>
                        <a:pt x="163" y="146"/>
                        <a:pt x="159" y="145"/>
                      </a:cubicBezTo>
                      <a:cubicBezTo>
                        <a:pt x="156" y="145"/>
                        <a:pt x="155" y="144"/>
                        <a:pt x="152" y="142"/>
                      </a:cubicBezTo>
                      <a:cubicBezTo>
                        <a:pt x="157" y="143"/>
                        <a:pt x="162" y="145"/>
                        <a:pt x="167" y="146"/>
                      </a:cubicBezTo>
                      <a:cubicBezTo>
                        <a:pt x="168" y="146"/>
                        <a:pt x="168" y="146"/>
                        <a:pt x="169" y="146"/>
                      </a:cubicBezTo>
                      <a:cubicBezTo>
                        <a:pt x="170" y="146"/>
                        <a:pt x="171" y="144"/>
                        <a:pt x="171" y="142"/>
                      </a:cubicBezTo>
                      <a:cubicBezTo>
                        <a:pt x="172" y="141"/>
                        <a:pt x="173" y="140"/>
                        <a:pt x="174" y="140"/>
                      </a:cubicBezTo>
                      <a:cubicBezTo>
                        <a:pt x="175" y="140"/>
                        <a:pt x="176" y="141"/>
                        <a:pt x="177" y="141"/>
                      </a:cubicBezTo>
                      <a:cubicBezTo>
                        <a:pt x="173" y="138"/>
                        <a:pt x="171" y="137"/>
                        <a:pt x="168" y="136"/>
                      </a:cubicBezTo>
                      <a:cubicBezTo>
                        <a:pt x="157" y="133"/>
                        <a:pt x="148" y="124"/>
                        <a:pt x="139" y="118"/>
                      </a:cubicBezTo>
                      <a:cubicBezTo>
                        <a:pt x="132" y="113"/>
                        <a:pt x="130" y="105"/>
                        <a:pt x="125" y="98"/>
                      </a:cubicBezTo>
                      <a:cubicBezTo>
                        <a:pt x="122" y="95"/>
                        <a:pt x="120" y="92"/>
                        <a:pt x="118" y="88"/>
                      </a:cubicBezTo>
                      <a:cubicBezTo>
                        <a:pt x="116" y="83"/>
                        <a:pt x="115" y="78"/>
                        <a:pt x="110" y="78"/>
                      </a:cubicBezTo>
                      <a:cubicBezTo>
                        <a:pt x="112" y="77"/>
                        <a:pt x="113" y="77"/>
                        <a:pt x="114" y="74"/>
                      </a:cubicBezTo>
                      <a:cubicBezTo>
                        <a:pt x="114" y="73"/>
                        <a:pt x="114" y="70"/>
                        <a:pt x="114" y="69"/>
                      </a:cubicBezTo>
                      <a:cubicBezTo>
                        <a:pt x="115" y="64"/>
                        <a:pt x="120" y="66"/>
                        <a:pt x="116" y="60"/>
                      </a:cubicBezTo>
                      <a:cubicBezTo>
                        <a:pt x="115" y="59"/>
                        <a:pt x="112" y="59"/>
                        <a:pt x="114" y="56"/>
                      </a:cubicBezTo>
                      <a:cubicBezTo>
                        <a:pt x="116" y="54"/>
                        <a:pt x="116" y="53"/>
                        <a:pt x="113" y="51"/>
                      </a:cubicBezTo>
                      <a:cubicBezTo>
                        <a:pt x="111" y="50"/>
                        <a:pt x="109" y="50"/>
                        <a:pt x="107" y="50"/>
                      </a:cubicBezTo>
                      <a:cubicBezTo>
                        <a:pt x="109" y="49"/>
                        <a:pt x="113" y="49"/>
                        <a:pt x="116" y="49"/>
                      </a:cubicBezTo>
                      <a:cubicBezTo>
                        <a:pt x="119" y="49"/>
                        <a:pt x="116" y="45"/>
                        <a:pt x="115" y="44"/>
                      </a:cubicBezTo>
                      <a:cubicBezTo>
                        <a:pt x="114" y="43"/>
                        <a:pt x="112" y="43"/>
                        <a:pt x="111" y="43"/>
                      </a:cubicBezTo>
                      <a:cubicBezTo>
                        <a:pt x="111" y="43"/>
                        <a:pt x="111" y="43"/>
                        <a:pt x="111" y="43"/>
                      </a:cubicBezTo>
                      <a:cubicBezTo>
                        <a:pt x="113" y="43"/>
                        <a:pt x="114" y="43"/>
                        <a:pt x="115" y="44"/>
                      </a:cubicBezTo>
                      <a:cubicBezTo>
                        <a:pt x="117" y="44"/>
                        <a:pt x="118" y="45"/>
                        <a:pt x="119" y="45"/>
                      </a:cubicBezTo>
                      <a:cubicBezTo>
                        <a:pt x="120" y="45"/>
                        <a:pt x="120" y="44"/>
                        <a:pt x="121" y="44"/>
                      </a:cubicBezTo>
                      <a:cubicBezTo>
                        <a:pt x="125" y="41"/>
                        <a:pt x="122" y="38"/>
                        <a:pt x="127" y="38"/>
                      </a:cubicBezTo>
                      <a:cubicBezTo>
                        <a:pt x="127" y="38"/>
                        <a:pt x="128" y="38"/>
                        <a:pt x="128" y="38"/>
                      </a:cubicBezTo>
                      <a:cubicBezTo>
                        <a:pt x="126" y="34"/>
                        <a:pt x="120" y="32"/>
                        <a:pt x="116" y="32"/>
                      </a:cubicBezTo>
                      <a:cubicBezTo>
                        <a:pt x="116" y="32"/>
                        <a:pt x="115" y="32"/>
                        <a:pt x="115" y="32"/>
                      </a:cubicBezTo>
                      <a:cubicBezTo>
                        <a:pt x="116" y="31"/>
                        <a:pt x="117" y="31"/>
                        <a:pt x="118" y="31"/>
                      </a:cubicBezTo>
                      <a:cubicBezTo>
                        <a:pt x="119" y="31"/>
                        <a:pt x="120" y="31"/>
                        <a:pt x="122" y="32"/>
                      </a:cubicBezTo>
                      <a:cubicBezTo>
                        <a:pt x="122" y="32"/>
                        <a:pt x="122" y="32"/>
                        <a:pt x="123" y="32"/>
                      </a:cubicBezTo>
                      <a:cubicBezTo>
                        <a:pt x="124" y="32"/>
                        <a:pt x="125" y="31"/>
                        <a:pt x="126" y="31"/>
                      </a:cubicBezTo>
                      <a:cubicBezTo>
                        <a:pt x="126" y="31"/>
                        <a:pt x="126" y="31"/>
                        <a:pt x="126" y="31"/>
                      </a:cubicBezTo>
                      <a:cubicBezTo>
                        <a:pt x="127" y="31"/>
                        <a:pt x="128" y="31"/>
                        <a:pt x="129" y="32"/>
                      </a:cubicBezTo>
                      <a:cubicBezTo>
                        <a:pt x="130" y="32"/>
                        <a:pt x="132" y="32"/>
                        <a:pt x="133" y="32"/>
                      </a:cubicBezTo>
                      <a:cubicBezTo>
                        <a:pt x="133" y="32"/>
                        <a:pt x="134" y="32"/>
                        <a:pt x="135" y="31"/>
                      </a:cubicBezTo>
                      <a:cubicBezTo>
                        <a:pt x="137" y="30"/>
                        <a:pt x="139" y="25"/>
                        <a:pt x="138" y="24"/>
                      </a:cubicBezTo>
                      <a:cubicBezTo>
                        <a:pt x="137" y="23"/>
                        <a:pt x="136" y="23"/>
                        <a:pt x="135" y="23"/>
                      </a:cubicBezTo>
                      <a:cubicBezTo>
                        <a:pt x="134" y="23"/>
                        <a:pt x="133" y="23"/>
                        <a:pt x="133" y="23"/>
                      </a:cubicBezTo>
                      <a:cubicBezTo>
                        <a:pt x="132" y="23"/>
                        <a:pt x="131" y="23"/>
                        <a:pt x="130" y="23"/>
                      </a:cubicBezTo>
                      <a:cubicBezTo>
                        <a:pt x="130" y="23"/>
                        <a:pt x="130" y="23"/>
                        <a:pt x="130" y="23"/>
                      </a:cubicBezTo>
                      <a:cubicBezTo>
                        <a:pt x="128" y="23"/>
                        <a:pt x="122" y="23"/>
                        <a:pt x="121" y="22"/>
                      </a:cubicBezTo>
                      <a:cubicBezTo>
                        <a:pt x="124" y="21"/>
                        <a:pt x="130" y="20"/>
                        <a:pt x="134" y="20"/>
                      </a:cubicBezTo>
                      <a:cubicBezTo>
                        <a:pt x="134" y="20"/>
                        <a:pt x="134" y="20"/>
                        <a:pt x="135" y="20"/>
                      </a:cubicBezTo>
                      <a:cubicBezTo>
                        <a:pt x="135" y="20"/>
                        <a:pt x="136" y="20"/>
                        <a:pt x="137" y="20"/>
                      </a:cubicBezTo>
                      <a:cubicBezTo>
                        <a:pt x="137" y="20"/>
                        <a:pt x="138" y="20"/>
                        <a:pt x="139" y="20"/>
                      </a:cubicBezTo>
                      <a:cubicBezTo>
                        <a:pt x="140" y="20"/>
                        <a:pt x="142" y="20"/>
                        <a:pt x="143" y="18"/>
                      </a:cubicBezTo>
                      <a:cubicBezTo>
                        <a:pt x="140" y="17"/>
                        <a:pt x="137" y="17"/>
                        <a:pt x="133" y="17"/>
                      </a:cubicBezTo>
                      <a:cubicBezTo>
                        <a:pt x="132" y="17"/>
                        <a:pt x="131" y="17"/>
                        <a:pt x="130" y="17"/>
                      </a:cubicBezTo>
                      <a:cubicBezTo>
                        <a:pt x="129" y="17"/>
                        <a:pt x="128" y="17"/>
                        <a:pt x="127" y="17"/>
                      </a:cubicBezTo>
                      <a:cubicBezTo>
                        <a:pt x="127" y="17"/>
                        <a:pt x="127" y="17"/>
                        <a:pt x="127" y="17"/>
                      </a:cubicBezTo>
                      <a:cubicBezTo>
                        <a:pt x="131" y="16"/>
                        <a:pt x="145" y="16"/>
                        <a:pt x="147" y="13"/>
                      </a:cubicBezTo>
                      <a:cubicBezTo>
                        <a:pt x="136" y="9"/>
                        <a:pt x="125" y="6"/>
                        <a:pt x="114" y="3"/>
                      </a:cubicBezTo>
                      <a:cubicBezTo>
                        <a:pt x="106" y="0"/>
                        <a:pt x="97" y="1"/>
                        <a:pt x="88" y="0"/>
                      </a:cubicBezTo>
                      <a:cubicBezTo>
                        <a:pt x="88" y="0"/>
                        <a:pt x="88"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378" name="Freeform 206">
                <a:extLst>
                  <a:ext uri="{FF2B5EF4-FFF2-40B4-BE49-F238E27FC236}">
                    <a16:creationId xmlns:a16="http://schemas.microsoft.com/office/drawing/2014/main" id="{59DB6F77-E151-4E06-9677-CCB5781D3AB5}"/>
                  </a:ext>
                </a:extLst>
              </p:cNvPr>
              <p:cNvSpPr>
                <a:spLocks/>
              </p:cNvSpPr>
              <p:nvPr/>
            </p:nvSpPr>
            <p:spPr bwMode="auto">
              <a:xfrm>
                <a:off x="12039273" y="445900"/>
                <a:ext cx="47906" cy="14740"/>
              </a:xfrm>
              <a:custGeom>
                <a:avLst/>
                <a:gdLst>
                  <a:gd name="T0" fmla="*/ 9 w 15"/>
                  <a:gd name="T1" fmla="*/ 0 h 4"/>
                  <a:gd name="T2" fmla="*/ 0 w 15"/>
                  <a:gd name="T3" fmla="*/ 4 h 4"/>
                  <a:gd name="T4" fmla="*/ 9 w 15"/>
                  <a:gd name="T5" fmla="*/ 4 h 4"/>
                  <a:gd name="T6" fmla="*/ 15 w 15"/>
                  <a:gd name="T7" fmla="*/ 4 h 4"/>
                  <a:gd name="T8" fmla="*/ 9 w 15"/>
                  <a:gd name="T9" fmla="*/ 0 h 4"/>
                </a:gdLst>
                <a:ahLst/>
                <a:cxnLst>
                  <a:cxn ang="0">
                    <a:pos x="T0" y="T1"/>
                  </a:cxn>
                  <a:cxn ang="0">
                    <a:pos x="T2" y="T3"/>
                  </a:cxn>
                  <a:cxn ang="0">
                    <a:pos x="T4" y="T5"/>
                  </a:cxn>
                  <a:cxn ang="0">
                    <a:pos x="T6" y="T7"/>
                  </a:cxn>
                  <a:cxn ang="0">
                    <a:pos x="T8" y="T9"/>
                  </a:cxn>
                </a:cxnLst>
                <a:rect l="0" t="0" r="r" b="b"/>
                <a:pathLst>
                  <a:path w="15" h="4">
                    <a:moveTo>
                      <a:pt x="9" y="0"/>
                    </a:moveTo>
                    <a:cubicBezTo>
                      <a:pt x="6" y="1"/>
                      <a:pt x="2" y="1"/>
                      <a:pt x="0" y="4"/>
                    </a:cubicBezTo>
                    <a:cubicBezTo>
                      <a:pt x="2" y="4"/>
                      <a:pt x="6" y="4"/>
                      <a:pt x="9" y="4"/>
                    </a:cubicBezTo>
                    <a:cubicBezTo>
                      <a:pt x="11" y="4"/>
                      <a:pt x="13" y="4"/>
                      <a:pt x="15" y="4"/>
                    </a:cubicBezTo>
                    <a:cubicBezTo>
                      <a:pt x="13" y="0"/>
                      <a:pt x="13"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9" name="Freeform 207">
                <a:extLst>
                  <a:ext uri="{FF2B5EF4-FFF2-40B4-BE49-F238E27FC236}">
                    <a16:creationId xmlns:a16="http://schemas.microsoft.com/office/drawing/2014/main" id="{18EBA55E-0BAC-40C7-A944-FE26ACB2201C}"/>
                  </a:ext>
                </a:extLst>
              </p:cNvPr>
              <p:cNvSpPr>
                <a:spLocks/>
              </p:cNvSpPr>
              <p:nvPr/>
            </p:nvSpPr>
            <p:spPr bwMode="auto">
              <a:xfrm>
                <a:off x="9632892" y="1190293"/>
                <a:ext cx="184256" cy="125294"/>
              </a:xfrm>
              <a:custGeom>
                <a:avLst/>
                <a:gdLst>
                  <a:gd name="T0" fmla="*/ 15 w 58"/>
                  <a:gd name="T1" fmla="*/ 0 h 40"/>
                  <a:gd name="T2" fmla="*/ 10 w 58"/>
                  <a:gd name="T3" fmla="*/ 2 h 40"/>
                  <a:gd name="T4" fmla="*/ 8 w 58"/>
                  <a:gd name="T5" fmla="*/ 2 h 40"/>
                  <a:gd name="T6" fmla="*/ 8 w 58"/>
                  <a:gd name="T7" fmla="*/ 3 h 40"/>
                  <a:gd name="T8" fmla="*/ 1 w 58"/>
                  <a:gd name="T9" fmla="*/ 6 h 40"/>
                  <a:gd name="T10" fmla="*/ 9 w 58"/>
                  <a:gd name="T11" fmla="*/ 13 h 40"/>
                  <a:gd name="T12" fmla="*/ 5 w 58"/>
                  <a:gd name="T13" fmla="*/ 11 h 40"/>
                  <a:gd name="T14" fmla="*/ 4 w 58"/>
                  <a:gd name="T15" fmla="*/ 11 h 40"/>
                  <a:gd name="T16" fmla="*/ 2 w 58"/>
                  <a:gd name="T17" fmla="*/ 18 h 40"/>
                  <a:gd name="T18" fmla="*/ 17 w 58"/>
                  <a:gd name="T19" fmla="*/ 31 h 40"/>
                  <a:gd name="T20" fmla="*/ 14 w 58"/>
                  <a:gd name="T21" fmla="*/ 27 h 40"/>
                  <a:gd name="T22" fmla="*/ 24 w 58"/>
                  <a:gd name="T23" fmla="*/ 30 h 40"/>
                  <a:gd name="T24" fmla="*/ 32 w 58"/>
                  <a:gd name="T25" fmla="*/ 35 h 40"/>
                  <a:gd name="T26" fmla="*/ 34 w 58"/>
                  <a:gd name="T27" fmla="*/ 38 h 40"/>
                  <a:gd name="T28" fmla="*/ 38 w 58"/>
                  <a:gd name="T29" fmla="*/ 39 h 40"/>
                  <a:gd name="T30" fmla="*/ 41 w 58"/>
                  <a:gd name="T31" fmla="*/ 40 h 40"/>
                  <a:gd name="T32" fmla="*/ 41 w 58"/>
                  <a:gd name="T33" fmla="*/ 40 h 40"/>
                  <a:gd name="T34" fmla="*/ 42 w 58"/>
                  <a:gd name="T35" fmla="*/ 39 h 40"/>
                  <a:gd name="T36" fmla="*/ 45 w 58"/>
                  <a:gd name="T37" fmla="*/ 38 h 40"/>
                  <a:gd name="T38" fmla="*/ 46 w 58"/>
                  <a:gd name="T39" fmla="*/ 38 h 40"/>
                  <a:gd name="T40" fmla="*/ 50 w 58"/>
                  <a:gd name="T41" fmla="*/ 39 h 40"/>
                  <a:gd name="T42" fmla="*/ 51 w 58"/>
                  <a:gd name="T43" fmla="*/ 39 h 40"/>
                  <a:gd name="T44" fmla="*/ 56 w 58"/>
                  <a:gd name="T45" fmla="*/ 30 h 40"/>
                  <a:gd name="T46" fmla="*/ 53 w 58"/>
                  <a:gd name="T47" fmla="*/ 25 h 40"/>
                  <a:gd name="T48" fmla="*/ 19 w 58"/>
                  <a:gd name="T49" fmla="*/ 1 h 40"/>
                  <a:gd name="T50" fmla="*/ 15 w 58"/>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40">
                    <a:moveTo>
                      <a:pt x="15" y="0"/>
                    </a:moveTo>
                    <a:cubicBezTo>
                      <a:pt x="14" y="0"/>
                      <a:pt x="12" y="0"/>
                      <a:pt x="10" y="2"/>
                    </a:cubicBezTo>
                    <a:cubicBezTo>
                      <a:pt x="10" y="2"/>
                      <a:pt x="9" y="2"/>
                      <a:pt x="8" y="2"/>
                    </a:cubicBezTo>
                    <a:cubicBezTo>
                      <a:pt x="7" y="2"/>
                      <a:pt x="8" y="3"/>
                      <a:pt x="8" y="3"/>
                    </a:cubicBezTo>
                    <a:cubicBezTo>
                      <a:pt x="6" y="4"/>
                      <a:pt x="4" y="5"/>
                      <a:pt x="1" y="6"/>
                    </a:cubicBezTo>
                    <a:cubicBezTo>
                      <a:pt x="4" y="8"/>
                      <a:pt x="7" y="10"/>
                      <a:pt x="9" y="13"/>
                    </a:cubicBezTo>
                    <a:cubicBezTo>
                      <a:pt x="8" y="12"/>
                      <a:pt x="6" y="11"/>
                      <a:pt x="5" y="11"/>
                    </a:cubicBezTo>
                    <a:cubicBezTo>
                      <a:pt x="4" y="11"/>
                      <a:pt x="4" y="11"/>
                      <a:pt x="4" y="11"/>
                    </a:cubicBezTo>
                    <a:cubicBezTo>
                      <a:pt x="0" y="11"/>
                      <a:pt x="1" y="14"/>
                      <a:pt x="2" y="18"/>
                    </a:cubicBezTo>
                    <a:cubicBezTo>
                      <a:pt x="4" y="24"/>
                      <a:pt x="12" y="29"/>
                      <a:pt x="17" y="31"/>
                    </a:cubicBezTo>
                    <a:cubicBezTo>
                      <a:pt x="16" y="29"/>
                      <a:pt x="14" y="28"/>
                      <a:pt x="14" y="27"/>
                    </a:cubicBezTo>
                    <a:cubicBezTo>
                      <a:pt x="17" y="27"/>
                      <a:pt x="21" y="28"/>
                      <a:pt x="24" y="30"/>
                    </a:cubicBezTo>
                    <a:cubicBezTo>
                      <a:pt x="26" y="31"/>
                      <a:pt x="33" y="32"/>
                      <a:pt x="32" y="35"/>
                    </a:cubicBezTo>
                    <a:cubicBezTo>
                      <a:pt x="31" y="38"/>
                      <a:pt x="32" y="38"/>
                      <a:pt x="34" y="38"/>
                    </a:cubicBezTo>
                    <a:cubicBezTo>
                      <a:pt x="35" y="39"/>
                      <a:pt x="37" y="39"/>
                      <a:pt x="38" y="39"/>
                    </a:cubicBezTo>
                    <a:cubicBezTo>
                      <a:pt x="39" y="39"/>
                      <a:pt x="40" y="40"/>
                      <a:pt x="41" y="40"/>
                    </a:cubicBezTo>
                    <a:cubicBezTo>
                      <a:pt x="41" y="40"/>
                      <a:pt x="41" y="40"/>
                      <a:pt x="41" y="40"/>
                    </a:cubicBezTo>
                    <a:cubicBezTo>
                      <a:pt x="42" y="40"/>
                      <a:pt x="41" y="39"/>
                      <a:pt x="42" y="39"/>
                    </a:cubicBezTo>
                    <a:cubicBezTo>
                      <a:pt x="43" y="39"/>
                      <a:pt x="44" y="38"/>
                      <a:pt x="45" y="38"/>
                    </a:cubicBezTo>
                    <a:cubicBezTo>
                      <a:pt x="45" y="38"/>
                      <a:pt x="45" y="38"/>
                      <a:pt x="46" y="38"/>
                    </a:cubicBezTo>
                    <a:cubicBezTo>
                      <a:pt x="48" y="39"/>
                      <a:pt x="48" y="39"/>
                      <a:pt x="50" y="39"/>
                    </a:cubicBezTo>
                    <a:cubicBezTo>
                      <a:pt x="50" y="39"/>
                      <a:pt x="51" y="39"/>
                      <a:pt x="51" y="39"/>
                    </a:cubicBezTo>
                    <a:cubicBezTo>
                      <a:pt x="58" y="38"/>
                      <a:pt x="56" y="36"/>
                      <a:pt x="56" y="30"/>
                    </a:cubicBezTo>
                    <a:cubicBezTo>
                      <a:pt x="55" y="27"/>
                      <a:pt x="55" y="27"/>
                      <a:pt x="53" y="25"/>
                    </a:cubicBezTo>
                    <a:cubicBezTo>
                      <a:pt x="41" y="18"/>
                      <a:pt x="30" y="10"/>
                      <a:pt x="19" y="1"/>
                    </a:cubicBezTo>
                    <a:cubicBezTo>
                      <a:pt x="18"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0" name="Freeform 208">
                <a:extLst>
                  <a:ext uri="{FF2B5EF4-FFF2-40B4-BE49-F238E27FC236}">
                    <a16:creationId xmlns:a16="http://schemas.microsoft.com/office/drawing/2014/main" id="{B8078A1F-C710-4767-8B6F-B443EAC813B7}"/>
                  </a:ext>
                </a:extLst>
              </p:cNvPr>
              <p:cNvSpPr>
                <a:spLocks/>
              </p:cNvSpPr>
              <p:nvPr/>
            </p:nvSpPr>
            <p:spPr bwMode="auto">
              <a:xfrm>
                <a:off x="9069070" y="1035518"/>
                <a:ext cx="88443" cy="70017"/>
              </a:xfrm>
              <a:custGeom>
                <a:avLst/>
                <a:gdLst>
                  <a:gd name="T0" fmla="*/ 11 w 28"/>
                  <a:gd name="T1" fmla="*/ 0 h 22"/>
                  <a:gd name="T2" fmla="*/ 0 w 28"/>
                  <a:gd name="T3" fmla="*/ 3 h 22"/>
                  <a:gd name="T4" fmla="*/ 22 w 28"/>
                  <a:gd name="T5" fmla="*/ 21 h 22"/>
                  <a:gd name="T6" fmla="*/ 24 w 28"/>
                  <a:gd name="T7" fmla="*/ 22 h 22"/>
                  <a:gd name="T8" fmla="*/ 24 w 28"/>
                  <a:gd name="T9" fmla="*/ 18 h 22"/>
                  <a:gd name="T10" fmla="*/ 26 w 28"/>
                  <a:gd name="T11" fmla="*/ 15 h 22"/>
                  <a:gd name="T12" fmla="*/ 28 w 28"/>
                  <a:gd name="T13" fmla="*/ 8 h 22"/>
                  <a:gd name="T14" fmla="*/ 19 w 28"/>
                  <a:gd name="T15" fmla="*/ 6 h 22"/>
                  <a:gd name="T16" fmla="*/ 15 w 28"/>
                  <a:gd name="T17" fmla="*/ 1 h 22"/>
                  <a:gd name="T18" fmla="*/ 22 w 28"/>
                  <a:gd name="T19" fmla="*/ 6 h 22"/>
                  <a:gd name="T20" fmla="*/ 11 w 28"/>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2">
                    <a:moveTo>
                      <a:pt x="11" y="0"/>
                    </a:moveTo>
                    <a:cubicBezTo>
                      <a:pt x="7" y="0"/>
                      <a:pt x="3" y="1"/>
                      <a:pt x="0" y="3"/>
                    </a:cubicBezTo>
                    <a:cubicBezTo>
                      <a:pt x="6" y="10"/>
                      <a:pt x="14" y="15"/>
                      <a:pt x="22" y="21"/>
                    </a:cubicBezTo>
                    <a:cubicBezTo>
                      <a:pt x="22" y="22"/>
                      <a:pt x="23" y="22"/>
                      <a:pt x="24" y="22"/>
                    </a:cubicBezTo>
                    <a:cubicBezTo>
                      <a:pt x="25" y="22"/>
                      <a:pt x="25" y="20"/>
                      <a:pt x="24" y="18"/>
                    </a:cubicBezTo>
                    <a:cubicBezTo>
                      <a:pt x="23" y="15"/>
                      <a:pt x="25" y="17"/>
                      <a:pt x="26" y="15"/>
                    </a:cubicBezTo>
                    <a:cubicBezTo>
                      <a:pt x="27" y="14"/>
                      <a:pt x="28" y="11"/>
                      <a:pt x="28" y="8"/>
                    </a:cubicBezTo>
                    <a:cubicBezTo>
                      <a:pt x="27" y="7"/>
                      <a:pt x="21" y="6"/>
                      <a:pt x="19" y="6"/>
                    </a:cubicBezTo>
                    <a:cubicBezTo>
                      <a:pt x="16" y="4"/>
                      <a:pt x="16" y="4"/>
                      <a:pt x="15" y="1"/>
                    </a:cubicBezTo>
                    <a:cubicBezTo>
                      <a:pt x="18" y="2"/>
                      <a:pt x="19" y="5"/>
                      <a:pt x="22" y="6"/>
                    </a:cubicBezTo>
                    <a:cubicBezTo>
                      <a:pt x="20" y="1"/>
                      <a:pt x="16"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1" name="Freeform 209">
                <a:extLst>
                  <a:ext uri="{FF2B5EF4-FFF2-40B4-BE49-F238E27FC236}">
                    <a16:creationId xmlns:a16="http://schemas.microsoft.com/office/drawing/2014/main" id="{2CBAF5BA-1C82-44F2-87E8-D6134D90071F}"/>
                  </a:ext>
                </a:extLst>
              </p:cNvPr>
              <p:cNvSpPr>
                <a:spLocks/>
              </p:cNvSpPr>
              <p:nvPr/>
            </p:nvSpPr>
            <p:spPr bwMode="auto">
              <a:xfrm>
                <a:off x="10657354" y="678062"/>
                <a:ext cx="169515" cy="81073"/>
              </a:xfrm>
              <a:custGeom>
                <a:avLst/>
                <a:gdLst>
                  <a:gd name="T0" fmla="*/ 31 w 54"/>
                  <a:gd name="T1" fmla="*/ 0 h 26"/>
                  <a:gd name="T2" fmla="*/ 30 w 54"/>
                  <a:gd name="T3" fmla="*/ 0 h 26"/>
                  <a:gd name="T4" fmla="*/ 5 w 54"/>
                  <a:gd name="T5" fmla="*/ 5 h 26"/>
                  <a:gd name="T6" fmla="*/ 5 w 54"/>
                  <a:gd name="T7" fmla="*/ 16 h 26"/>
                  <a:gd name="T8" fmla="*/ 2 w 54"/>
                  <a:gd name="T9" fmla="*/ 23 h 26"/>
                  <a:gd name="T10" fmla="*/ 4 w 54"/>
                  <a:gd name="T11" fmla="*/ 26 h 26"/>
                  <a:gd name="T12" fmla="*/ 5 w 54"/>
                  <a:gd name="T13" fmla="*/ 26 h 26"/>
                  <a:gd name="T14" fmla="*/ 9 w 54"/>
                  <a:gd name="T15" fmla="*/ 23 h 26"/>
                  <a:gd name="T16" fmla="*/ 13 w 54"/>
                  <a:gd name="T17" fmla="*/ 25 h 26"/>
                  <a:gd name="T18" fmla="*/ 23 w 54"/>
                  <a:gd name="T19" fmla="*/ 22 h 26"/>
                  <a:gd name="T20" fmla="*/ 37 w 54"/>
                  <a:gd name="T21" fmla="*/ 20 h 26"/>
                  <a:gd name="T22" fmla="*/ 44 w 54"/>
                  <a:gd name="T23" fmla="*/ 18 h 26"/>
                  <a:gd name="T24" fmla="*/ 45 w 54"/>
                  <a:gd name="T25" fmla="*/ 18 h 26"/>
                  <a:gd name="T26" fmla="*/ 48 w 54"/>
                  <a:gd name="T27" fmla="*/ 18 h 26"/>
                  <a:gd name="T28" fmla="*/ 50 w 54"/>
                  <a:gd name="T29" fmla="*/ 18 h 26"/>
                  <a:gd name="T30" fmla="*/ 52 w 54"/>
                  <a:gd name="T31" fmla="*/ 17 h 26"/>
                  <a:gd name="T32" fmla="*/ 47 w 54"/>
                  <a:gd name="T33" fmla="*/ 10 h 26"/>
                  <a:gd name="T34" fmla="*/ 45 w 54"/>
                  <a:gd name="T35" fmla="*/ 10 h 26"/>
                  <a:gd name="T36" fmla="*/ 43 w 54"/>
                  <a:gd name="T37" fmla="*/ 10 h 26"/>
                  <a:gd name="T38" fmla="*/ 41 w 54"/>
                  <a:gd name="T39" fmla="*/ 11 h 26"/>
                  <a:gd name="T40" fmla="*/ 38 w 54"/>
                  <a:gd name="T41" fmla="*/ 9 h 26"/>
                  <a:gd name="T42" fmla="*/ 36 w 54"/>
                  <a:gd name="T43" fmla="*/ 4 h 26"/>
                  <a:gd name="T44" fmla="*/ 38 w 54"/>
                  <a:gd name="T45" fmla="*/ 3 h 26"/>
                  <a:gd name="T46" fmla="*/ 39 w 54"/>
                  <a:gd name="T47" fmla="*/ 3 h 26"/>
                  <a:gd name="T48" fmla="*/ 40 w 54"/>
                  <a:gd name="T49" fmla="*/ 3 h 26"/>
                  <a:gd name="T50" fmla="*/ 40 w 54"/>
                  <a:gd name="T51" fmla="*/ 3 h 26"/>
                  <a:gd name="T52" fmla="*/ 31 w 54"/>
                  <a:gd name="T5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26">
                    <a:moveTo>
                      <a:pt x="31" y="0"/>
                    </a:moveTo>
                    <a:cubicBezTo>
                      <a:pt x="31" y="0"/>
                      <a:pt x="31" y="0"/>
                      <a:pt x="30" y="0"/>
                    </a:cubicBezTo>
                    <a:cubicBezTo>
                      <a:pt x="22" y="1"/>
                      <a:pt x="13" y="3"/>
                      <a:pt x="5" y="5"/>
                    </a:cubicBezTo>
                    <a:cubicBezTo>
                      <a:pt x="5" y="8"/>
                      <a:pt x="5" y="12"/>
                      <a:pt x="5" y="16"/>
                    </a:cubicBezTo>
                    <a:cubicBezTo>
                      <a:pt x="5" y="19"/>
                      <a:pt x="3" y="20"/>
                      <a:pt x="2" y="23"/>
                    </a:cubicBezTo>
                    <a:cubicBezTo>
                      <a:pt x="0" y="25"/>
                      <a:pt x="2" y="25"/>
                      <a:pt x="4" y="26"/>
                    </a:cubicBezTo>
                    <a:cubicBezTo>
                      <a:pt x="5" y="26"/>
                      <a:pt x="5" y="26"/>
                      <a:pt x="5" y="26"/>
                    </a:cubicBezTo>
                    <a:cubicBezTo>
                      <a:pt x="7" y="26"/>
                      <a:pt x="8" y="25"/>
                      <a:pt x="9" y="23"/>
                    </a:cubicBezTo>
                    <a:cubicBezTo>
                      <a:pt x="10" y="25"/>
                      <a:pt x="11" y="25"/>
                      <a:pt x="13" y="25"/>
                    </a:cubicBezTo>
                    <a:cubicBezTo>
                      <a:pt x="16" y="25"/>
                      <a:pt x="21" y="23"/>
                      <a:pt x="23" y="22"/>
                    </a:cubicBezTo>
                    <a:cubicBezTo>
                      <a:pt x="28" y="20"/>
                      <a:pt x="32" y="21"/>
                      <a:pt x="37" y="20"/>
                    </a:cubicBezTo>
                    <a:cubicBezTo>
                      <a:pt x="40" y="20"/>
                      <a:pt x="42" y="18"/>
                      <a:pt x="44" y="18"/>
                    </a:cubicBezTo>
                    <a:cubicBezTo>
                      <a:pt x="45" y="18"/>
                      <a:pt x="45" y="18"/>
                      <a:pt x="45" y="18"/>
                    </a:cubicBezTo>
                    <a:cubicBezTo>
                      <a:pt x="46" y="18"/>
                      <a:pt x="47" y="18"/>
                      <a:pt x="48" y="18"/>
                    </a:cubicBezTo>
                    <a:cubicBezTo>
                      <a:pt x="48" y="18"/>
                      <a:pt x="49" y="18"/>
                      <a:pt x="50" y="18"/>
                    </a:cubicBezTo>
                    <a:cubicBezTo>
                      <a:pt x="51" y="18"/>
                      <a:pt x="51" y="18"/>
                      <a:pt x="52" y="17"/>
                    </a:cubicBezTo>
                    <a:cubicBezTo>
                      <a:pt x="54" y="16"/>
                      <a:pt x="48" y="11"/>
                      <a:pt x="47" y="10"/>
                    </a:cubicBezTo>
                    <a:cubicBezTo>
                      <a:pt x="47" y="10"/>
                      <a:pt x="46" y="10"/>
                      <a:pt x="45" y="10"/>
                    </a:cubicBezTo>
                    <a:cubicBezTo>
                      <a:pt x="45" y="10"/>
                      <a:pt x="44" y="10"/>
                      <a:pt x="43" y="10"/>
                    </a:cubicBezTo>
                    <a:cubicBezTo>
                      <a:pt x="43" y="10"/>
                      <a:pt x="42" y="11"/>
                      <a:pt x="41" y="11"/>
                    </a:cubicBezTo>
                    <a:cubicBezTo>
                      <a:pt x="41" y="11"/>
                      <a:pt x="40" y="10"/>
                      <a:pt x="38" y="9"/>
                    </a:cubicBezTo>
                    <a:cubicBezTo>
                      <a:pt x="36" y="4"/>
                      <a:pt x="36" y="4"/>
                      <a:pt x="36" y="4"/>
                    </a:cubicBezTo>
                    <a:cubicBezTo>
                      <a:pt x="36" y="3"/>
                      <a:pt x="37" y="3"/>
                      <a:pt x="38" y="3"/>
                    </a:cubicBezTo>
                    <a:cubicBezTo>
                      <a:pt x="38" y="3"/>
                      <a:pt x="38" y="3"/>
                      <a:pt x="39" y="3"/>
                    </a:cubicBezTo>
                    <a:cubicBezTo>
                      <a:pt x="39" y="3"/>
                      <a:pt x="39" y="3"/>
                      <a:pt x="40" y="3"/>
                    </a:cubicBezTo>
                    <a:cubicBezTo>
                      <a:pt x="40" y="3"/>
                      <a:pt x="40" y="3"/>
                      <a:pt x="40" y="3"/>
                    </a:cubicBezTo>
                    <a:cubicBezTo>
                      <a:pt x="38" y="1"/>
                      <a:pt x="35"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2" name="Freeform 210">
                <a:extLst>
                  <a:ext uri="{FF2B5EF4-FFF2-40B4-BE49-F238E27FC236}">
                    <a16:creationId xmlns:a16="http://schemas.microsoft.com/office/drawing/2014/main" id="{CCFD59B9-49D4-412A-A2A1-A556F42E4C9E}"/>
                  </a:ext>
                </a:extLst>
              </p:cNvPr>
              <p:cNvSpPr>
                <a:spLocks/>
              </p:cNvSpPr>
              <p:nvPr/>
            </p:nvSpPr>
            <p:spPr bwMode="auto">
              <a:xfrm>
                <a:off x="10465728" y="6710596"/>
                <a:ext cx="18426" cy="25796"/>
              </a:xfrm>
              <a:custGeom>
                <a:avLst/>
                <a:gdLst>
                  <a:gd name="T0" fmla="*/ 1 w 6"/>
                  <a:gd name="T1" fmla="*/ 0 h 8"/>
                  <a:gd name="T2" fmla="*/ 2 w 6"/>
                  <a:gd name="T3" fmla="*/ 2 h 8"/>
                  <a:gd name="T4" fmla="*/ 0 w 6"/>
                  <a:gd name="T5" fmla="*/ 1 h 8"/>
                  <a:gd name="T6" fmla="*/ 0 w 6"/>
                  <a:gd name="T7" fmla="*/ 8 h 8"/>
                  <a:gd name="T8" fmla="*/ 5 w 6"/>
                  <a:gd name="T9" fmla="*/ 2 h 8"/>
                  <a:gd name="T10" fmla="*/ 2 w 6"/>
                  <a:gd name="T11" fmla="*/ 2 h 8"/>
                  <a:gd name="T12" fmla="*/ 5 w 6"/>
                  <a:gd name="T13" fmla="*/ 2 h 8"/>
                  <a:gd name="T14" fmla="*/ 6 w 6"/>
                  <a:gd name="T15" fmla="*/ 2 h 8"/>
                  <a:gd name="T16" fmla="*/ 1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1" y="0"/>
                    </a:moveTo>
                    <a:cubicBezTo>
                      <a:pt x="1" y="1"/>
                      <a:pt x="1" y="1"/>
                      <a:pt x="2" y="2"/>
                    </a:cubicBezTo>
                    <a:cubicBezTo>
                      <a:pt x="1" y="1"/>
                      <a:pt x="1" y="1"/>
                      <a:pt x="0" y="1"/>
                    </a:cubicBezTo>
                    <a:cubicBezTo>
                      <a:pt x="0" y="3"/>
                      <a:pt x="0" y="5"/>
                      <a:pt x="0" y="8"/>
                    </a:cubicBezTo>
                    <a:cubicBezTo>
                      <a:pt x="5" y="7"/>
                      <a:pt x="2" y="5"/>
                      <a:pt x="5" y="2"/>
                    </a:cubicBezTo>
                    <a:cubicBezTo>
                      <a:pt x="4" y="2"/>
                      <a:pt x="3" y="2"/>
                      <a:pt x="2" y="2"/>
                    </a:cubicBezTo>
                    <a:cubicBezTo>
                      <a:pt x="3" y="2"/>
                      <a:pt x="4" y="2"/>
                      <a:pt x="5" y="2"/>
                    </a:cubicBezTo>
                    <a:cubicBezTo>
                      <a:pt x="5" y="2"/>
                      <a:pt x="5" y="2"/>
                      <a:pt x="6" y="2"/>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3" name="Freeform 211">
                <a:extLst>
                  <a:ext uri="{FF2B5EF4-FFF2-40B4-BE49-F238E27FC236}">
                    <a16:creationId xmlns:a16="http://schemas.microsoft.com/office/drawing/2014/main" id="{915C86EC-1FFE-43F1-A0A0-8CC98D38E485}"/>
                  </a:ext>
                </a:extLst>
              </p:cNvPr>
              <p:cNvSpPr>
                <a:spLocks/>
              </p:cNvSpPr>
              <p:nvPr/>
            </p:nvSpPr>
            <p:spPr bwMode="auto">
              <a:xfrm>
                <a:off x="10443618" y="6710596"/>
                <a:ext cx="18426" cy="18426"/>
              </a:xfrm>
              <a:custGeom>
                <a:avLst/>
                <a:gdLst>
                  <a:gd name="T0" fmla="*/ 5 w 5"/>
                  <a:gd name="T1" fmla="*/ 0 h 6"/>
                  <a:gd name="T2" fmla="*/ 0 w 5"/>
                  <a:gd name="T3" fmla="*/ 4 h 6"/>
                  <a:gd name="T4" fmla="*/ 2 w 5"/>
                  <a:gd name="T5" fmla="*/ 6 h 6"/>
                  <a:gd name="T6" fmla="*/ 5 w 5"/>
                  <a:gd name="T7" fmla="*/ 5 h 6"/>
                  <a:gd name="T8" fmla="*/ 5 w 5"/>
                  <a:gd name="T9" fmla="*/ 0 h 6"/>
                </a:gdLst>
                <a:ahLst/>
                <a:cxnLst>
                  <a:cxn ang="0">
                    <a:pos x="T0" y="T1"/>
                  </a:cxn>
                  <a:cxn ang="0">
                    <a:pos x="T2" y="T3"/>
                  </a:cxn>
                  <a:cxn ang="0">
                    <a:pos x="T4" y="T5"/>
                  </a:cxn>
                  <a:cxn ang="0">
                    <a:pos x="T6" y="T7"/>
                  </a:cxn>
                  <a:cxn ang="0">
                    <a:pos x="T8" y="T9"/>
                  </a:cxn>
                </a:cxnLst>
                <a:rect l="0" t="0" r="r" b="b"/>
                <a:pathLst>
                  <a:path w="5" h="6">
                    <a:moveTo>
                      <a:pt x="5" y="0"/>
                    </a:moveTo>
                    <a:cubicBezTo>
                      <a:pt x="3" y="2"/>
                      <a:pt x="0" y="1"/>
                      <a:pt x="0" y="4"/>
                    </a:cubicBezTo>
                    <a:cubicBezTo>
                      <a:pt x="0" y="5"/>
                      <a:pt x="1" y="6"/>
                      <a:pt x="2" y="6"/>
                    </a:cubicBezTo>
                    <a:cubicBezTo>
                      <a:pt x="3" y="6"/>
                      <a:pt x="4" y="6"/>
                      <a:pt x="5" y="5"/>
                    </a:cubicBezTo>
                    <a:cubicBezTo>
                      <a:pt x="5" y="3"/>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4" name="Freeform 212">
                <a:extLst>
                  <a:ext uri="{FF2B5EF4-FFF2-40B4-BE49-F238E27FC236}">
                    <a16:creationId xmlns:a16="http://schemas.microsoft.com/office/drawing/2014/main" id="{E6CEC385-A058-4AE6-8649-BF692AD6F084}"/>
                  </a:ext>
                </a:extLst>
              </p:cNvPr>
              <p:cNvSpPr>
                <a:spLocks/>
              </p:cNvSpPr>
              <p:nvPr/>
            </p:nvSpPr>
            <p:spPr bwMode="auto">
              <a:xfrm>
                <a:off x="10473099" y="6714281"/>
                <a:ext cx="22111" cy="22111"/>
              </a:xfrm>
              <a:custGeom>
                <a:avLst/>
                <a:gdLst>
                  <a:gd name="T0" fmla="*/ 6 w 7"/>
                  <a:gd name="T1" fmla="*/ 0 h 7"/>
                  <a:gd name="T2" fmla="*/ 6 w 7"/>
                  <a:gd name="T3" fmla="*/ 7 h 7"/>
                  <a:gd name="T4" fmla="*/ 6 w 7"/>
                  <a:gd name="T5" fmla="*/ 0 h 7"/>
                </a:gdLst>
                <a:ahLst/>
                <a:cxnLst>
                  <a:cxn ang="0">
                    <a:pos x="T0" y="T1"/>
                  </a:cxn>
                  <a:cxn ang="0">
                    <a:pos x="T2" y="T3"/>
                  </a:cxn>
                  <a:cxn ang="0">
                    <a:pos x="T4" y="T5"/>
                  </a:cxn>
                </a:cxnLst>
                <a:rect l="0" t="0" r="r" b="b"/>
                <a:pathLst>
                  <a:path w="7" h="7">
                    <a:moveTo>
                      <a:pt x="6" y="0"/>
                    </a:moveTo>
                    <a:cubicBezTo>
                      <a:pt x="0" y="3"/>
                      <a:pt x="2" y="4"/>
                      <a:pt x="6" y="7"/>
                    </a:cubicBezTo>
                    <a:cubicBezTo>
                      <a:pt x="7" y="4"/>
                      <a:pt x="6" y="3"/>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5" name="Freeform 213">
                <a:extLst>
                  <a:ext uri="{FF2B5EF4-FFF2-40B4-BE49-F238E27FC236}">
                    <a16:creationId xmlns:a16="http://schemas.microsoft.com/office/drawing/2014/main" id="{176CABE9-18C7-4922-969D-DD47609EAEB9}"/>
                  </a:ext>
                </a:extLst>
              </p:cNvPr>
              <p:cNvSpPr>
                <a:spLocks/>
              </p:cNvSpPr>
              <p:nvPr/>
            </p:nvSpPr>
            <p:spPr bwMode="auto">
              <a:xfrm>
                <a:off x="7267048" y="5560840"/>
                <a:ext cx="210052" cy="106868"/>
              </a:xfrm>
              <a:custGeom>
                <a:avLst/>
                <a:gdLst>
                  <a:gd name="T0" fmla="*/ 66 w 66"/>
                  <a:gd name="T1" fmla="*/ 0 h 33"/>
                  <a:gd name="T2" fmla="*/ 40 w 66"/>
                  <a:gd name="T3" fmla="*/ 10 h 33"/>
                  <a:gd name="T4" fmla="*/ 39 w 66"/>
                  <a:gd name="T5" fmla="*/ 10 h 33"/>
                  <a:gd name="T6" fmla="*/ 34 w 66"/>
                  <a:gd name="T7" fmla="*/ 11 h 33"/>
                  <a:gd name="T8" fmla="*/ 28 w 66"/>
                  <a:gd name="T9" fmla="*/ 11 h 33"/>
                  <a:gd name="T10" fmla="*/ 19 w 66"/>
                  <a:gd name="T11" fmla="*/ 9 h 33"/>
                  <a:gd name="T12" fmla="*/ 16 w 66"/>
                  <a:gd name="T13" fmla="*/ 14 h 33"/>
                  <a:gd name="T14" fmla="*/ 7 w 66"/>
                  <a:gd name="T15" fmla="*/ 18 h 33"/>
                  <a:gd name="T16" fmla="*/ 4 w 66"/>
                  <a:gd name="T17" fmla="*/ 20 h 33"/>
                  <a:gd name="T18" fmla="*/ 4 w 66"/>
                  <a:gd name="T19" fmla="*/ 20 h 33"/>
                  <a:gd name="T20" fmla="*/ 2 w 66"/>
                  <a:gd name="T21" fmla="*/ 20 h 33"/>
                  <a:gd name="T22" fmla="*/ 1 w 66"/>
                  <a:gd name="T23" fmla="*/ 19 h 33"/>
                  <a:gd name="T24" fmla="*/ 1 w 66"/>
                  <a:gd name="T25" fmla="*/ 19 h 33"/>
                  <a:gd name="T26" fmla="*/ 4 w 66"/>
                  <a:gd name="T27" fmla="*/ 30 h 33"/>
                  <a:gd name="T28" fmla="*/ 19 w 66"/>
                  <a:gd name="T29" fmla="*/ 33 h 33"/>
                  <a:gd name="T30" fmla="*/ 20 w 66"/>
                  <a:gd name="T31" fmla="*/ 33 h 33"/>
                  <a:gd name="T32" fmla="*/ 38 w 66"/>
                  <a:gd name="T33" fmla="*/ 27 h 33"/>
                  <a:gd name="T34" fmla="*/ 41 w 66"/>
                  <a:gd name="T35" fmla="*/ 23 h 33"/>
                  <a:gd name="T36" fmla="*/ 46 w 66"/>
                  <a:gd name="T37" fmla="*/ 23 h 33"/>
                  <a:gd name="T38" fmla="*/ 46 w 66"/>
                  <a:gd name="T39" fmla="*/ 23 h 33"/>
                  <a:gd name="T40" fmla="*/ 46 w 66"/>
                  <a:gd name="T41" fmla="*/ 20 h 33"/>
                  <a:gd name="T42" fmla="*/ 49 w 66"/>
                  <a:gd name="T43" fmla="*/ 23 h 33"/>
                  <a:gd name="T44" fmla="*/ 50 w 66"/>
                  <a:gd name="T45" fmla="*/ 23 h 33"/>
                  <a:gd name="T46" fmla="*/ 52 w 66"/>
                  <a:gd name="T47" fmla="*/ 23 h 33"/>
                  <a:gd name="T48" fmla="*/ 49 w 66"/>
                  <a:gd name="T49" fmla="*/ 12 h 33"/>
                  <a:gd name="T50" fmla="*/ 51 w 66"/>
                  <a:gd name="T51" fmla="*/ 11 h 33"/>
                  <a:gd name="T52" fmla="*/ 53 w 66"/>
                  <a:gd name="T53" fmla="*/ 9 h 33"/>
                  <a:gd name="T54" fmla="*/ 58 w 66"/>
                  <a:gd name="T55" fmla="*/ 6 h 33"/>
                  <a:gd name="T56" fmla="*/ 66 w 66"/>
                  <a:gd name="T5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33">
                    <a:moveTo>
                      <a:pt x="66" y="0"/>
                    </a:moveTo>
                    <a:cubicBezTo>
                      <a:pt x="57" y="3"/>
                      <a:pt x="48" y="7"/>
                      <a:pt x="40" y="10"/>
                    </a:cubicBezTo>
                    <a:cubicBezTo>
                      <a:pt x="39" y="10"/>
                      <a:pt x="39" y="10"/>
                      <a:pt x="39" y="10"/>
                    </a:cubicBezTo>
                    <a:cubicBezTo>
                      <a:pt x="37" y="10"/>
                      <a:pt x="36" y="10"/>
                      <a:pt x="34" y="11"/>
                    </a:cubicBezTo>
                    <a:cubicBezTo>
                      <a:pt x="32" y="11"/>
                      <a:pt x="30" y="11"/>
                      <a:pt x="28" y="11"/>
                    </a:cubicBezTo>
                    <a:cubicBezTo>
                      <a:pt x="25" y="11"/>
                      <a:pt x="21" y="10"/>
                      <a:pt x="19" y="9"/>
                    </a:cubicBezTo>
                    <a:cubicBezTo>
                      <a:pt x="19" y="13"/>
                      <a:pt x="20" y="13"/>
                      <a:pt x="16" y="14"/>
                    </a:cubicBezTo>
                    <a:cubicBezTo>
                      <a:pt x="12" y="15"/>
                      <a:pt x="9" y="16"/>
                      <a:pt x="7" y="18"/>
                    </a:cubicBezTo>
                    <a:cubicBezTo>
                      <a:pt x="6" y="19"/>
                      <a:pt x="6" y="20"/>
                      <a:pt x="4" y="20"/>
                    </a:cubicBezTo>
                    <a:cubicBezTo>
                      <a:pt x="4" y="20"/>
                      <a:pt x="4" y="20"/>
                      <a:pt x="4" y="20"/>
                    </a:cubicBezTo>
                    <a:cubicBezTo>
                      <a:pt x="4" y="20"/>
                      <a:pt x="3" y="20"/>
                      <a:pt x="2" y="20"/>
                    </a:cubicBezTo>
                    <a:cubicBezTo>
                      <a:pt x="1" y="19"/>
                      <a:pt x="1" y="19"/>
                      <a:pt x="1" y="19"/>
                    </a:cubicBezTo>
                    <a:cubicBezTo>
                      <a:pt x="1" y="19"/>
                      <a:pt x="1" y="19"/>
                      <a:pt x="1" y="19"/>
                    </a:cubicBezTo>
                    <a:cubicBezTo>
                      <a:pt x="0" y="19"/>
                      <a:pt x="3" y="29"/>
                      <a:pt x="4" y="30"/>
                    </a:cubicBezTo>
                    <a:cubicBezTo>
                      <a:pt x="8" y="33"/>
                      <a:pt x="15" y="33"/>
                      <a:pt x="19" y="33"/>
                    </a:cubicBezTo>
                    <a:cubicBezTo>
                      <a:pt x="19" y="33"/>
                      <a:pt x="20" y="33"/>
                      <a:pt x="20" y="33"/>
                    </a:cubicBezTo>
                    <a:cubicBezTo>
                      <a:pt x="26" y="33"/>
                      <a:pt x="32" y="30"/>
                      <a:pt x="38" y="27"/>
                    </a:cubicBezTo>
                    <a:cubicBezTo>
                      <a:pt x="40" y="26"/>
                      <a:pt x="40" y="24"/>
                      <a:pt x="41" y="23"/>
                    </a:cubicBezTo>
                    <a:cubicBezTo>
                      <a:pt x="43" y="23"/>
                      <a:pt x="45" y="23"/>
                      <a:pt x="46" y="23"/>
                    </a:cubicBezTo>
                    <a:cubicBezTo>
                      <a:pt x="46" y="23"/>
                      <a:pt x="46" y="23"/>
                      <a:pt x="46" y="23"/>
                    </a:cubicBezTo>
                    <a:cubicBezTo>
                      <a:pt x="48" y="23"/>
                      <a:pt x="46" y="21"/>
                      <a:pt x="46" y="20"/>
                    </a:cubicBezTo>
                    <a:cubicBezTo>
                      <a:pt x="47" y="22"/>
                      <a:pt x="47" y="23"/>
                      <a:pt x="49" y="23"/>
                    </a:cubicBezTo>
                    <a:cubicBezTo>
                      <a:pt x="49" y="23"/>
                      <a:pt x="50" y="23"/>
                      <a:pt x="50" y="23"/>
                    </a:cubicBezTo>
                    <a:cubicBezTo>
                      <a:pt x="52" y="23"/>
                      <a:pt x="52" y="23"/>
                      <a:pt x="52" y="23"/>
                    </a:cubicBezTo>
                    <a:cubicBezTo>
                      <a:pt x="50" y="19"/>
                      <a:pt x="45" y="15"/>
                      <a:pt x="49" y="12"/>
                    </a:cubicBezTo>
                    <a:cubicBezTo>
                      <a:pt x="49" y="11"/>
                      <a:pt x="51" y="11"/>
                      <a:pt x="51" y="11"/>
                    </a:cubicBezTo>
                    <a:cubicBezTo>
                      <a:pt x="52" y="11"/>
                      <a:pt x="52" y="9"/>
                      <a:pt x="53" y="9"/>
                    </a:cubicBezTo>
                    <a:cubicBezTo>
                      <a:pt x="54" y="8"/>
                      <a:pt x="56" y="7"/>
                      <a:pt x="58" y="6"/>
                    </a:cubicBezTo>
                    <a:cubicBezTo>
                      <a:pt x="60" y="5"/>
                      <a:pt x="66" y="2"/>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6" name="Freeform 214">
                <a:extLst>
                  <a:ext uri="{FF2B5EF4-FFF2-40B4-BE49-F238E27FC236}">
                    <a16:creationId xmlns:a16="http://schemas.microsoft.com/office/drawing/2014/main" id="{DD139176-4AE2-40D1-BD12-684988D8666F}"/>
                  </a:ext>
                </a:extLst>
              </p:cNvPr>
              <p:cNvSpPr>
                <a:spLocks/>
              </p:cNvSpPr>
              <p:nvPr/>
            </p:nvSpPr>
            <p:spPr bwMode="auto">
              <a:xfrm>
                <a:off x="5678764" y="3353456"/>
                <a:ext cx="40536" cy="29481"/>
              </a:xfrm>
              <a:custGeom>
                <a:avLst/>
                <a:gdLst>
                  <a:gd name="T0" fmla="*/ 2 w 13"/>
                  <a:gd name="T1" fmla="*/ 0 h 10"/>
                  <a:gd name="T2" fmla="*/ 2 w 13"/>
                  <a:gd name="T3" fmla="*/ 7 h 10"/>
                  <a:gd name="T4" fmla="*/ 10 w 13"/>
                  <a:gd name="T5" fmla="*/ 10 h 10"/>
                  <a:gd name="T6" fmla="*/ 11 w 13"/>
                  <a:gd name="T7" fmla="*/ 4 h 10"/>
                  <a:gd name="T8" fmla="*/ 2 w 13"/>
                  <a:gd name="T9" fmla="*/ 0 h 10"/>
                </a:gdLst>
                <a:ahLst/>
                <a:cxnLst>
                  <a:cxn ang="0">
                    <a:pos x="T0" y="T1"/>
                  </a:cxn>
                  <a:cxn ang="0">
                    <a:pos x="T2" y="T3"/>
                  </a:cxn>
                  <a:cxn ang="0">
                    <a:pos x="T4" y="T5"/>
                  </a:cxn>
                  <a:cxn ang="0">
                    <a:pos x="T6" y="T7"/>
                  </a:cxn>
                  <a:cxn ang="0">
                    <a:pos x="T8" y="T9"/>
                  </a:cxn>
                </a:cxnLst>
                <a:rect l="0" t="0" r="r" b="b"/>
                <a:pathLst>
                  <a:path w="13" h="10">
                    <a:moveTo>
                      <a:pt x="2" y="0"/>
                    </a:moveTo>
                    <a:cubicBezTo>
                      <a:pt x="2" y="1"/>
                      <a:pt x="0" y="6"/>
                      <a:pt x="2" y="7"/>
                    </a:cubicBezTo>
                    <a:cubicBezTo>
                      <a:pt x="4" y="8"/>
                      <a:pt x="7" y="9"/>
                      <a:pt x="10" y="10"/>
                    </a:cubicBezTo>
                    <a:cubicBezTo>
                      <a:pt x="11" y="9"/>
                      <a:pt x="13" y="5"/>
                      <a:pt x="11" y="4"/>
                    </a:cubicBezTo>
                    <a:cubicBezTo>
                      <a:pt x="8" y="3"/>
                      <a:pt x="5"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7" name="Freeform 215">
                <a:extLst>
                  <a:ext uri="{FF2B5EF4-FFF2-40B4-BE49-F238E27FC236}">
                    <a16:creationId xmlns:a16="http://schemas.microsoft.com/office/drawing/2014/main" id="{FBAD5867-42C1-4E3D-AFF6-5DAFF953222F}"/>
                  </a:ext>
                </a:extLst>
              </p:cNvPr>
              <p:cNvSpPr>
                <a:spLocks/>
              </p:cNvSpPr>
              <p:nvPr/>
            </p:nvSpPr>
            <p:spPr bwMode="auto">
              <a:xfrm>
                <a:off x="9772927" y="4455306"/>
                <a:ext cx="40536" cy="14740"/>
              </a:xfrm>
              <a:custGeom>
                <a:avLst/>
                <a:gdLst>
                  <a:gd name="T0" fmla="*/ 9 w 12"/>
                  <a:gd name="T1" fmla="*/ 0 h 5"/>
                  <a:gd name="T2" fmla="*/ 0 w 12"/>
                  <a:gd name="T3" fmla="*/ 2 h 5"/>
                  <a:gd name="T4" fmla="*/ 6 w 12"/>
                  <a:gd name="T5" fmla="*/ 4 h 5"/>
                  <a:gd name="T6" fmla="*/ 8 w 12"/>
                  <a:gd name="T7" fmla="*/ 5 h 5"/>
                  <a:gd name="T8" fmla="*/ 12 w 12"/>
                  <a:gd name="T9" fmla="*/ 1 h 5"/>
                  <a:gd name="T10" fmla="*/ 9 w 12"/>
                  <a:gd name="T11" fmla="*/ 0 h 5"/>
                </a:gdLst>
                <a:ahLst/>
                <a:cxnLst>
                  <a:cxn ang="0">
                    <a:pos x="T0" y="T1"/>
                  </a:cxn>
                  <a:cxn ang="0">
                    <a:pos x="T2" y="T3"/>
                  </a:cxn>
                  <a:cxn ang="0">
                    <a:pos x="T4" y="T5"/>
                  </a:cxn>
                  <a:cxn ang="0">
                    <a:pos x="T6" y="T7"/>
                  </a:cxn>
                  <a:cxn ang="0">
                    <a:pos x="T8" y="T9"/>
                  </a:cxn>
                  <a:cxn ang="0">
                    <a:pos x="T10" y="T11"/>
                  </a:cxn>
                </a:cxnLst>
                <a:rect l="0" t="0" r="r" b="b"/>
                <a:pathLst>
                  <a:path w="12" h="5">
                    <a:moveTo>
                      <a:pt x="9" y="0"/>
                    </a:moveTo>
                    <a:cubicBezTo>
                      <a:pt x="5" y="0"/>
                      <a:pt x="0" y="1"/>
                      <a:pt x="0" y="2"/>
                    </a:cubicBezTo>
                    <a:cubicBezTo>
                      <a:pt x="0" y="4"/>
                      <a:pt x="4" y="3"/>
                      <a:pt x="6" y="4"/>
                    </a:cubicBezTo>
                    <a:cubicBezTo>
                      <a:pt x="7" y="5"/>
                      <a:pt x="7" y="5"/>
                      <a:pt x="8" y="5"/>
                    </a:cubicBezTo>
                    <a:cubicBezTo>
                      <a:pt x="10" y="5"/>
                      <a:pt x="11" y="4"/>
                      <a:pt x="12" y="1"/>
                    </a:cubicBezTo>
                    <a:cubicBezTo>
                      <a:pt x="12"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8" name="Freeform 216">
                <a:extLst>
                  <a:ext uri="{FF2B5EF4-FFF2-40B4-BE49-F238E27FC236}">
                    <a16:creationId xmlns:a16="http://schemas.microsoft.com/office/drawing/2014/main" id="{74DC4A40-6053-4752-B54B-16E0354838C0}"/>
                  </a:ext>
                </a:extLst>
              </p:cNvPr>
              <p:cNvSpPr>
                <a:spLocks/>
              </p:cNvSpPr>
              <p:nvPr/>
            </p:nvSpPr>
            <p:spPr bwMode="auto">
              <a:xfrm>
                <a:off x="4871723" y="3972555"/>
                <a:ext cx="73702" cy="84758"/>
              </a:xfrm>
              <a:custGeom>
                <a:avLst/>
                <a:gdLst>
                  <a:gd name="T0" fmla="*/ 9 w 23"/>
                  <a:gd name="T1" fmla="*/ 0 h 27"/>
                  <a:gd name="T2" fmla="*/ 7 w 23"/>
                  <a:gd name="T3" fmla="*/ 1 h 27"/>
                  <a:gd name="T4" fmla="*/ 5 w 23"/>
                  <a:gd name="T5" fmla="*/ 3 h 27"/>
                  <a:gd name="T6" fmla="*/ 4 w 23"/>
                  <a:gd name="T7" fmla="*/ 5 h 27"/>
                  <a:gd name="T8" fmla="*/ 4 w 23"/>
                  <a:gd name="T9" fmla="*/ 6 h 27"/>
                  <a:gd name="T10" fmla="*/ 1 w 23"/>
                  <a:gd name="T11" fmla="*/ 11 h 27"/>
                  <a:gd name="T12" fmla="*/ 1 w 23"/>
                  <a:gd name="T13" fmla="*/ 12 h 27"/>
                  <a:gd name="T14" fmla="*/ 4 w 23"/>
                  <a:gd name="T15" fmla="*/ 19 h 27"/>
                  <a:gd name="T16" fmla="*/ 3 w 23"/>
                  <a:gd name="T17" fmla="*/ 23 h 27"/>
                  <a:gd name="T18" fmla="*/ 2 w 23"/>
                  <a:gd name="T19" fmla="*/ 23 h 27"/>
                  <a:gd name="T20" fmla="*/ 5 w 23"/>
                  <a:gd name="T21" fmla="*/ 24 h 27"/>
                  <a:gd name="T22" fmla="*/ 11 w 23"/>
                  <a:gd name="T23" fmla="*/ 25 h 27"/>
                  <a:gd name="T24" fmla="*/ 13 w 23"/>
                  <a:gd name="T25" fmla="*/ 25 h 27"/>
                  <a:gd name="T26" fmla="*/ 16 w 23"/>
                  <a:gd name="T27" fmla="*/ 26 h 27"/>
                  <a:gd name="T28" fmla="*/ 18 w 23"/>
                  <a:gd name="T29" fmla="*/ 27 h 27"/>
                  <a:gd name="T30" fmla="*/ 18 w 23"/>
                  <a:gd name="T31" fmla="*/ 27 h 27"/>
                  <a:gd name="T32" fmla="*/ 18 w 23"/>
                  <a:gd name="T33" fmla="*/ 27 h 27"/>
                  <a:gd name="T34" fmla="*/ 18 w 23"/>
                  <a:gd name="T35" fmla="*/ 26 h 27"/>
                  <a:gd name="T36" fmla="*/ 21 w 23"/>
                  <a:gd name="T37" fmla="*/ 15 h 27"/>
                  <a:gd name="T38" fmla="*/ 21 w 23"/>
                  <a:gd name="T39" fmla="*/ 15 h 27"/>
                  <a:gd name="T40" fmla="*/ 20 w 23"/>
                  <a:gd name="T41" fmla="*/ 14 h 27"/>
                  <a:gd name="T42" fmla="*/ 19 w 23"/>
                  <a:gd name="T43" fmla="*/ 13 h 27"/>
                  <a:gd name="T44" fmla="*/ 17 w 23"/>
                  <a:gd name="T45" fmla="*/ 12 h 27"/>
                  <a:gd name="T46" fmla="*/ 12 w 23"/>
                  <a:gd name="T47" fmla="*/ 7 h 27"/>
                  <a:gd name="T48" fmla="*/ 12 w 23"/>
                  <a:gd name="T49" fmla="*/ 7 h 27"/>
                  <a:gd name="T50" fmla="*/ 12 w 23"/>
                  <a:gd name="T51" fmla="*/ 5 h 27"/>
                  <a:gd name="T52" fmla="*/ 10 w 23"/>
                  <a:gd name="T53" fmla="*/ 1 h 27"/>
                  <a:gd name="T54" fmla="*/ 10 w 23"/>
                  <a:gd name="T55" fmla="*/ 1 h 27"/>
                  <a:gd name="T56" fmla="*/ 9 w 23"/>
                  <a:gd name="T5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27">
                    <a:moveTo>
                      <a:pt x="9" y="0"/>
                    </a:moveTo>
                    <a:cubicBezTo>
                      <a:pt x="8" y="0"/>
                      <a:pt x="8" y="1"/>
                      <a:pt x="7" y="1"/>
                    </a:cubicBezTo>
                    <a:cubicBezTo>
                      <a:pt x="7" y="2"/>
                      <a:pt x="6" y="2"/>
                      <a:pt x="5" y="3"/>
                    </a:cubicBezTo>
                    <a:cubicBezTo>
                      <a:pt x="4" y="4"/>
                      <a:pt x="4" y="5"/>
                      <a:pt x="4" y="5"/>
                    </a:cubicBezTo>
                    <a:cubicBezTo>
                      <a:pt x="4" y="6"/>
                      <a:pt x="4" y="6"/>
                      <a:pt x="4" y="6"/>
                    </a:cubicBezTo>
                    <a:cubicBezTo>
                      <a:pt x="2" y="8"/>
                      <a:pt x="2" y="10"/>
                      <a:pt x="1" y="11"/>
                    </a:cubicBezTo>
                    <a:cubicBezTo>
                      <a:pt x="1" y="12"/>
                      <a:pt x="1" y="12"/>
                      <a:pt x="1" y="12"/>
                    </a:cubicBezTo>
                    <a:cubicBezTo>
                      <a:pt x="0" y="12"/>
                      <a:pt x="3" y="16"/>
                      <a:pt x="4" y="19"/>
                    </a:cubicBezTo>
                    <a:cubicBezTo>
                      <a:pt x="4" y="20"/>
                      <a:pt x="4" y="22"/>
                      <a:pt x="3" y="23"/>
                    </a:cubicBezTo>
                    <a:cubicBezTo>
                      <a:pt x="2" y="23"/>
                      <a:pt x="2" y="23"/>
                      <a:pt x="2" y="23"/>
                    </a:cubicBezTo>
                    <a:cubicBezTo>
                      <a:pt x="3" y="24"/>
                      <a:pt x="4" y="24"/>
                      <a:pt x="5" y="24"/>
                    </a:cubicBezTo>
                    <a:cubicBezTo>
                      <a:pt x="7" y="25"/>
                      <a:pt x="9" y="25"/>
                      <a:pt x="11" y="25"/>
                    </a:cubicBezTo>
                    <a:cubicBezTo>
                      <a:pt x="12" y="25"/>
                      <a:pt x="12" y="25"/>
                      <a:pt x="13" y="25"/>
                    </a:cubicBezTo>
                    <a:cubicBezTo>
                      <a:pt x="14" y="25"/>
                      <a:pt x="15" y="25"/>
                      <a:pt x="16" y="26"/>
                    </a:cubicBezTo>
                    <a:cubicBezTo>
                      <a:pt x="17" y="26"/>
                      <a:pt x="17" y="26"/>
                      <a:pt x="18" y="27"/>
                    </a:cubicBezTo>
                    <a:cubicBezTo>
                      <a:pt x="18" y="27"/>
                      <a:pt x="18" y="27"/>
                      <a:pt x="18" y="27"/>
                    </a:cubicBezTo>
                    <a:cubicBezTo>
                      <a:pt x="18" y="27"/>
                      <a:pt x="18" y="27"/>
                      <a:pt x="18" y="27"/>
                    </a:cubicBezTo>
                    <a:cubicBezTo>
                      <a:pt x="18" y="26"/>
                      <a:pt x="18" y="26"/>
                      <a:pt x="18" y="26"/>
                    </a:cubicBezTo>
                    <a:cubicBezTo>
                      <a:pt x="16" y="24"/>
                      <a:pt x="23" y="18"/>
                      <a:pt x="21" y="15"/>
                    </a:cubicBezTo>
                    <a:cubicBezTo>
                      <a:pt x="21" y="15"/>
                      <a:pt x="21" y="15"/>
                      <a:pt x="21" y="15"/>
                    </a:cubicBezTo>
                    <a:cubicBezTo>
                      <a:pt x="20" y="14"/>
                      <a:pt x="20" y="14"/>
                      <a:pt x="20" y="14"/>
                    </a:cubicBezTo>
                    <a:cubicBezTo>
                      <a:pt x="20" y="14"/>
                      <a:pt x="19" y="13"/>
                      <a:pt x="19" y="13"/>
                    </a:cubicBezTo>
                    <a:cubicBezTo>
                      <a:pt x="18" y="13"/>
                      <a:pt x="17" y="12"/>
                      <a:pt x="17" y="12"/>
                    </a:cubicBezTo>
                    <a:cubicBezTo>
                      <a:pt x="15" y="11"/>
                      <a:pt x="13" y="9"/>
                      <a:pt x="12" y="7"/>
                    </a:cubicBezTo>
                    <a:cubicBezTo>
                      <a:pt x="12" y="7"/>
                      <a:pt x="12" y="7"/>
                      <a:pt x="12" y="7"/>
                    </a:cubicBezTo>
                    <a:cubicBezTo>
                      <a:pt x="12" y="6"/>
                      <a:pt x="12" y="5"/>
                      <a:pt x="12" y="5"/>
                    </a:cubicBezTo>
                    <a:cubicBezTo>
                      <a:pt x="12" y="3"/>
                      <a:pt x="11" y="2"/>
                      <a:pt x="10" y="1"/>
                    </a:cubicBezTo>
                    <a:cubicBezTo>
                      <a:pt x="10" y="1"/>
                      <a:pt x="10" y="1"/>
                      <a:pt x="10" y="1"/>
                    </a:cubicBezTo>
                    <a:cubicBezTo>
                      <a:pt x="10" y="1"/>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9" name="Freeform 217">
                <a:extLst>
                  <a:ext uri="{FF2B5EF4-FFF2-40B4-BE49-F238E27FC236}">
                    <a16:creationId xmlns:a16="http://schemas.microsoft.com/office/drawing/2014/main" id="{BC9492A4-E076-4010-8D33-A873D189C4F1}"/>
                  </a:ext>
                </a:extLst>
              </p:cNvPr>
              <p:cNvSpPr>
                <a:spLocks/>
              </p:cNvSpPr>
              <p:nvPr/>
            </p:nvSpPr>
            <p:spPr bwMode="auto">
              <a:xfrm>
                <a:off x="6448953" y="2863336"/>
                <a:ext cx="18426" cy="11055"/>
              </a:xfrm>
              <a:custGeom>
                <a:avLst/>
                <a:gdLst>
                  <a:gd name="T0" fmla="*/ 0 w 6"/>
                  <a:gd name="T1" fmla="*/ 0 h 3"/>
                  <a:gd name="T2" fmla="*/ 4 w 6"/>
                  <a:gd name="T3" fmla="*/ 3 h 3"/>
                  <a:gd name="T4" fmla="*/ 6 w 6"/>
                  <a:gd name="T5" fmla="*/ 3 h 3"/>
                  <a:gd name="T6" fmla="*/ 0 w 6"/>
                  <a:gd name="T7" fmla="*/ 0 h 3"/>
                </a:gdLst>
                <a:ahLst/>
                <a:cxnLst>
                  <a:cxn ang="0">
                    <a:pos x="T0" y="T1"/>
                  </a:cxn>
                  <a:cxn ang="0">
                    <a:pos x="T2" y="T3"/>
                  </a:cxn>
                  <a:cxn ang="0">
                    <a:pos x="T4" y="T5"/>
                  </a:cxn>
                  <a:cxn ang="0">
                    <a:pos x="T6" y="T7"/>
                  </a:cxn>
                </a:cxnLst>
                <a:rect l="0" t="0" r="r" b="b"/>
                <a:pathLst>
                  <a:path w="6" h="3">
                    <a:moveTo>
                      <a:pt x="0" y="0"/>
                    </a:moveTo>
                    <a:cubicBezTo>
                      <a:pt x="2" y="2"/>
                      <a:pt x="2" y="3"/>
                      <a:pt x="4" y="3"/>
                    </a:cubicBezTo>
                    <a:cubicBezTo>
                      <a:pt x="4" y="3"/>
                      <a:pt x="5" y="3"/>
                      <a:pt x="6" y="3"/>
                    </a:cubicBezTo>
                    <a:cubicBezTo>
                      <a:pt x="4"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0" name="Freeform 218">
                <a:extLst>
                  <a:ext uri="{FF2B5EF4-FFF2-40B4-BE49-F238E27FC236}">
                    <a16:creationId xmlns:a16="http://schemas.microsoft.com/office/drawing/2014/main" id="{12BB9F0F-16AF-4A94-BE6F-054C788947E5}"/>
                  </a:ext>
                </a:extLst>
              </p:cNvPr>
              <p:cNvSpPr>
                <a:spLocks/>
              </p:cNvSpPr>
              <p:nvPr/>
            </p:nvSpPr>
            <p:spPr bwMode="auto">
              <a:xfrm>
                <a:off x="6434212" y="2914927"/>
                <a:ext cx="33166" cy="14740"/>
              </a:xfrm>
              <a:custGeom>
                <a:avLst/>
                <a:gdLst>
                  <a:gd name="T0" fmla="*/ 5 w 10"/>
                  <a:gd name="T1" fmla="*/ 0 h 5"/>
                  <a:gd name="T2" fmla="*/ 3 w 10"/>
                  <a:gd name="T3" fmla="*/ 4 h 5"/>
                  <a:gd name="T4" fmla="*/ 8 w 10"/>
                  <a:gd name="T5" fmla="*/ 5 h 5"/>
                  <a:gd name="T6" fmla="*/ 8 w 10"/>
                  <a:gd name="T7" fmla="*/ 2 h 5"/>
                  <a:gd name="T8" fmla="*/ 5 w 10"/>
                  <a:gd name="T9" fmla="*/ 0 h 5"/>
                </a:gdLst>
                <a:ahLst/>
                <a:cxnLst>
                  <a:cxn ang="0">
                    <a:pos x="T0" y="T1"/>
                  </a:cxn>
                  <a:cxn ang="0">
                    <a:pos x="T2" y="T3"/>
                  </a:cxn>
                  <a:cxn ang="0">
                    <a:pos x="T4" y="T5"/>
                  </a:cxn>
                  <a:cxn ang="0">
                    <a:pos x="T6" y="T7"/>
                  </a:cxn>
                  <a:cxn ang="0">
                    <a:pos x="T8" y="T9"/>
                  </a:cxn>
                </a:cxnLst>
                <a:rect l="0" t="0" r="r" b="b"/>
                <a:pathLst>
                  <a:path w="10" h="5">
                    <a:moveTo>
                      <a:pt x="5" y="0"/>
                    </a:moveTo>
                    <a:cubicBezTo>
                      <a:pt x="2" y="0"/>
                      <a:pt x="0" y="3"/>
                      <a:pt x="3" y="4"/>
                    </a:cubicBezTo>
                    <a:cubicBezTo>
                      <a:pt x="5" y="5"/>
                      <a:pt x="7" y="5"/>
                      <a:pt x="8" y="5"/>
                    </a:cubicBezTo>
                    <a:cubicBezTo>
                      <a:pt x="10" y="5"/>
                      <a:pt x="10" y="4"/>
                      <a:pt x="8" y="2"/>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1" name="Freeform 219">
                <a:extLst>
                  <a:ext uri="{FF2B5EF4-FFF2-40B4-BE49-F238E27FC236}">
                    <a16:creationId xmlns:a16="http://schemas.microsoft.com/office/drawing/2014/main" id="{23612A71-4388-4297-843F-1429596AF623}"/>
                  </a:ext>
                </a:extLst>
              </p:cNvPr>
              <p:cNvSpPr>
                <a:spLocks/>
              </p:cNvSpPr>
              <p:nvPr/>
            </p:nvSpPr>
            <p:spPr bwMode="auto">
              <a:xfrm>
                <a:off x="7355491" y="6272068"/>
                <a:ext cx="0" cy="3685"/>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2" name="Freeform 220">
                <a:extLst>
                  <a:ext uri="{FF2B5EF4-FFF2-40B4-BE49-F238E27FC236}">
                    <a16:creationId xmlns:a16="http://schemas.microsoft.com/office/drawing/2014/main" id="{42809BA4-C939-4864-A65C-5546F90E824B}"/>
                  </a:ext>
                </a:extLst>
              </p:cNvPr>
              <p:cNvSpPr>
                <a:spLocks/>
              </p:cNvSpPr>
              <p:nvPr/>
            </p:nvSpPr>
            <p:spPr bwMode="auto">
              <a:xfrm>
                <a:off x="7355491" y="6272068"/>
                <a:ext cx="0" cy="3685"/>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lnTo>
                      <a:pt x="0" y="1"/>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3" name="Freeform 221">
                <a:extLst>
                  <a:ext uri="{FF2B5EF4-FFF2-40B4-BE49-F238E27FC236}">
                    <a16:creationId xmlns:a16="http://schemas.microsoft.com/office/drawing/2014/main" id="{62B3787E-AD76-4C5D-BF63-D14FC1058BF1}"/>
                  </a:ext>
                </a:extLst>
              </p:cNvPr>
              <p:cNvSpPr>
                <a:spLocks/>
              </p:cNvSpPr>
              <p:nvPr/>
            </p:nvSpPr>
            <p:spPr bwMode="auto">
              <a:xfrm>
                <a:off x="7326010" y="6014110"/>
                <a:ext cx="29481" cy="7370"/>
              </a:xfrm>
              <a:custGeom>
                <a:avLst/>
                <a:gdLst>
                  <a:gd name="T0" fmla="*/ 7 w 9"/>
                  <a:gd name="T1" fmla="*/ 0 h 2"/>
                  <a:gd name="T2" fmla="*/ 0 w 9"/>
                  <a:gd name="T3" fmla="*/ 2 h 2"/>
                  <a:gd name="T4" fmla="*/ 9 w 9"/>
                  <a:gd name="T5" fmla="*/ 0 h 2"/>
                  <a:gd name="T6" fmla="*/ 7 w 9"/>
                  <a:gd name="T7" fmla="*/ 0 h 2"/>
                </a:gdLst>
                <a:ahLst/>
                <a:cxnLst>
                  <a:cxn ang="0">
                    <a:pos x="T0" y="T1"/>
                  </a:cxn>
                  <a:cxn ang="0">
                    <a:pos x="T2" y="T3"/>
                  </a:cxn>
                  <a:cxn ang="0">
                    <a:pos x="T4" y="T5"/>
                  </a:cxn>
                  <a:cxn ang="0">
                    <a:pos x="T6" y="T7"/>
                  </a:cxn>
                </a:cxnLst>
                <a:rect l="0" t="0" r="r" b="b"/>
                <a:pathLst>
                  <a:path w="9" h="2">
                    <a:moveTo>
                      <a:pt x="7" y="0"/>
                    </a:moveTo>
                    <a:cubicBezTo>
                      <a:pt x="4" y="0"/>
                      <a:pt x="3" y="1"/>
                      <a:pt x="0" y="2"/>
                    </a:cubicBezTo>
                    <a:cubicBezTo>
                      <a:pt x="3" y="1"/>
                      <a:pt x="6"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4" name="Freeform 222">
                <a:extLst>
                  <a:ext uri="{FF2B5EF4-FFF2-40B4-BE49-F238E27FC236}">
                    <a16:creationId xmlns:a16="http://schemas.microsoft.com/office/drawing/2014/main" id="{7D2D4EB9-ADC3-4999-8B5D-4879E4757372}"/>
                  </a:ext>
                </a:extLst>
              </p:cNvPr>
              <p:cNvSpPr>
                <a:spLocks/>
              </p:cNvSpPr>
              <p:nvPr/>
            </p:nvSpPr>
            <p:spPr bwMode="auto">
              <a:xfrm>
                <a:off x="2800688" y="5851964"/>
                <a:ext cx="47906" cy="18426"/>
              </a:xfrm>
              <a:custGeom>
                <a:avLst/>
                <a:gdLst>
                  <a:gd name="T0" fmla="*/ 8 w 16"/>
                  <a:gd name="T1" fmla="*/ 0 h 6"/>
                  <a:gd name="T2" fmla="*/ 0 w 16"/>
                  <a:gd name="T3" fmla="*/ 1 h 6"/>
                  <a:gd name="T4" fmla="*/ 9 w 16"/>
                  <a:gd name="T5" fmla="*/ 6 h 6"/>
                  <a:gd name="T6" fmla="*/ 16 w 16"/>
                  <a:gd name="T7" fmla="*/ 2 h 6"/>
                  <a:gd name="T8" fmla="*/ 16 w 16"/>
                  <a:gd name="T9" fmla="*/ 2 h 6"/>
                  <a:gd name="T10" fmla="*/ 9 w 16"/>
                  <a:gd name="T11" fmla="*/ 0 h 6"/>
                  <a:gd name="T12" fmla="*/ 8 w 1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6" h="6">
                    <a:moveTo>
                      <a:pt x="8" y="0"/>
                    </a:moveTo>
                    <a:cubicBezTo>
                      <a:pt x="5" y="0"/>
                      <a:pt x="2" y="1"/>
                      <a:pt x="0" y="1"/>
                    </a:cubicBezTo>
                    <a:cubicBezTo>
                      <a:pt x="1" y="4"/>
                      <a:pt x="6" y="5"/>
                      <a:pt x="9" y="6"/>
                    </a:cubicBezTo>
                    <a:cubicBezTo>
                      <a:pt x="11" y="5"/>
                      <a:pt x="14" y="4"/>
                      <a:pt x="16" y="2"/>
                    </a:cubicBezTo>
                    <a:cubicBezTo>
                      <a:pt x="16" y="2"/>
                      <a:pt x="16" y="2"/>
                      <a:pt x="16" y="2"/>
                    </a:cubicBezTo>
                    <a:cubicBezTo>
                      <a:pt x="13" y="2"/>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5" name="Freeform 223">
                <a:extLst>
                  <a:ext uri="{FF2B5EF4-FFF2-40B4-BE49-F238E27FC236}">
                    <a16:creationId xmlns:a16="http://schemas.microsoft.com/office/drawing/2014/main" id="{76785248-A3FB-4BED-BB42-6C4742397A04}"/>
                  </a:ext>
                </a:extLst>
              </p:cNvPr>
              <p:cNvSpPr>
                <a:spLocks/>
              </p:cNvSpPr>
              <p:nvPr/>
            </p:nvSpPr>
            <p:spPr bwMode="auto">
              <a:xfrm>
                <a:off x="2730671" y="6249957"/>
                <a:ext cx="29481" cy="25796"/>
              </a:xfrm>
              <a:custGeom>
                <a:avLst/>
                <a:gdLst>
                  <a:gd name="T0" fmla="*/ 5 w 10"/>
                  <a:gd name="T1" fmla="*/ 0 h 9"/>
                  <a:gd name="T2" fmla="*/ 1 w 10"/>
                  <a:gd name="T3" fmla="*/ 2 h 9"/>
                  <a:gd name="T4" fmla="*/ 7 w 10"/>
                  <a:gd name="T5" fmla="*/ 9 h 9"/>
                  <a:gd name="T6" fmla="*/ 7 w 10"/>
                  <a:gd name="T7" fmla="*/ 0 h 9"/>
                  <a:gd name="T8" fmla="*/ 5 w 10"/>
                  <a:gd name="T9" fmla="*/ 0 h 9"/>
                </a:gdLst>
                <a:ahLst/>
                <a:cxnLst>
                  <a:cxn ang="0">
                    <a:pos x="T0" y="T1"/>
                  </a:cxn>
                  <a:cxn ang="0">
                    <a:pos x="T2" y="T3"/>
                  </a:cxn>
                  <a:cxn ang="0">
                    <a:pos x="T4" y="T5"/>
                  </a:cxn>
                  <a:cxn ang="0">
                    <a:pos x="T6" y="T7"/>
                  </a:cxn>
                  <a:cxn ang="0">
                    <a:pos x="T8" y="T9"/>
                  </a:cxn>
                </a:cxnLst>
                <a:rect l="0" t="0" r="r" b="b"/>
                <a:pathLst>
                  <a:path w="10" h="9">
                    <a:moveTo>
                      <a:pt x="5" y="0"/>
                    </a:moveTo>
                    <a:cubicBezTo>
                      <a:pt x="3" y="0"/>
                      <a:pt x="1" y="1"/>
                      <a:pt x="1" y="2"/>
                    </a:cubicBezTo>
                    <a:cubicBezTo>
                      <a:pt x="0" y="5"/>
                      <a:pt x="5" y="9"/>
                      <a:pt x="7" y="9"/>
                    </a:cubicBezTo>
                    <a:cubicBezTo>
                      <a:pt x="7" y="7"/>
                      <a:pt x="10" y="2"/>
                      <a:pt x="7"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6" name="Freeform 224">
                <a:extLst>
                  <a:ext uri="{FF2B5EF4-FFF2-40B4-BE49-F238E27FC236}">
                    <a16:creationId xmlns:a16="http://schemas.microsoft.com/office/drawing/2014/main" id="{0BAA274B-61F4-4911-A0C4-1597F0C70D6F}"/>
                  </a:ext>
                </a:extLst>
              </p:cNvPr>
              <p:cNvSpPr>
                <a:spLocks/>
              </p:cNvSpPr>
              <p:nvPr/>
            </p:nvSpPr>
            <p:spPr bwMode="auto">
              <a:xfrm>
                <a:off x="2712246" y="6342085"/>
                <a:ext cx="25796" cy="22111"/>
              </a:xfrm>
              <a:custGeom>
                <a:avLst/>
                <a:gdLst>
                  <a:gd name="T0" fmla="*/ 9 w 9"/>
                  <a:gd name="T1" fmla="*/ 0 h 7"/>
                  <a:gd name="T2" fmla="*/ 5 w 9"/>
                  <a:gd name="T3" fmla="*/ 3 h 7"/>
                  <a:gd name="T4" fmla="*/ 7 w 9"/>
                  <a:gd name="T5" fmla="*/ 7 h 7"/>
                  <a:gd name="T6" fmla="*/ 9 w 9"/>
                  <a:gd name="T7" fmla="*/ 0 h 7"/>
                </a:gdLst>
                <a:ahLst/>
                <a:cxnLst>
                  <a:cxn ang="0">
                    <a:pos x="T0" y="T1"/>
                  </a:cxn>
                  <a:cxn ang="0">
                    <a:pos x="T2" y="T3"/>
                  </a:cxn>
                  <a:cxn ang="0">
                    <a:pos x="T4" y="T5"/>
                  </a:cxn>
                  <a:cxn ang="0">
                    <a:pos x="T6" y="T7"/>
                  </a:cxn>
                </a:cxnLst>
                <a:rect l="0" t="0" r="r" b="b"/>
                <a:pathLst>
                  <a:path w="9" h="7">
                    <a:moveTo>
                      <a:pt x="9" y="0"/>
                    </a:moveTo>
                    <a:cubicBezTo>
                      <a:pt x="7" y="1"/>
                      <a:pt x="7" y="2"/>
                      <a:pt x="5" y="3"/>
                    </a:cubicBezTo>
                    <a:cubicBezTo>
                      <a:pt x="0" y="6"/>
                      <a:pt x="4" y="4"/>
                      <a:pt x="7" y="7"/>
                    </a:cubicBezTo>
                    <a:cubicBezTo>
                      <a:pt x="8" y="5"/>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7" name="Freeform 225">
                <a:extLst>
                  <a:ext uri="{FF2B5EF4-FFF2-40B4-BE49-F238E27FC236}">
                    <a16:creationId xmlns:a16="http://schemas.microsoft.com/office/drawing/2014/main" id="{28800FE3-9979-41F0-8B46-3EE0A4A602F7}"/>
                  </a:ext>
                </a:extLst>
              </p:cNvPr>
              <p:cNvSpPr>
                <a:spLocks/>
              </p:cNvSpPr>
              <p:nvPr/>
            </p:nvSpPr>
            <p:spPr bwMode="auto">
              <a:xfrm>
                <a:off x="2782263" y="6312604"/>
                <a:ext cx="33166" cy="14740"/>
              </a:xfrm>
              <a:custGeom>
                <a:avLst/>
                <a:gdLst>
                  <a:gd name="T0" fmla="*/ 6 w 10"/>
                  <a:gd name="T1" fmla="*/ 0 h 5"/>
                  <a:gd name="T2" fmla="*/ 6 w 10"/>
                  <a:gd name="T3" fmla="*/ 5 h 5"/>
                  <a:gd name="T4" fmla="*/ 6 w 10"/>
                  <a:gd name="T5" fmla="*/ 0 h 5"/>
                </a:gdLst>
                <a:ahLst/>
                <a:cxnLst>
                  <a:cxn ang="0">
                    <a:pos x="T0" y="T1"/>
                  </a:cxn>
                  <a:cxn ang="0">
                    <a:pos x="T2" y="T3"/>
                  </a:cxn>
                  <a:cxn ang="0">
                    <a:pos x="T4" y="T5"/>
                  </a:cxn>
                </a:cxnLst>
                <a:rect l="0" t="0" r="r" b="b"/>
                <a:pathLst>
                  <a:path w="10" h="5">
                    <a:moveTo>
                      <a:pt x="6" y="0"/>
                    </a:moveTo>
                    <a:cubicBezTo>
                      <a:pt x="4" y="0"/>
                      <a:pt x="0" y="2"/>
                      <a:pt x="6" y="5"/>
                    </a:cubicBezTo>
                    <a:cubicBezTo>
                      <a:pt x="10" y="2"/>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8" name="Freeform 226">
                <a:extLst>
                  <a:ext uri="{FF2B5EF4-FFF2-40B4-BE49-F238E27FC236}">
                    <a16:creationId xmlns:a16="http://schemas.microsoft.com/office/drawing/2014/main" id="{5891E111-B4CA-4208-A8AB-38F4F8194266}"/>
                  </a:ext>
                </a:extLst>
              </p:cNvPr>
              <p:cNvSpPr>
                <a:spLocks/>
              </p:cNvSpPr>
              <p:nvPr/>
            </p:nvSpPr>
            <p:spPr bwMode="auto">
              <a:xfrm>
                <a:off x="2830169" y="6272068"/>
                <a:ext cx="70017" cy="58962"/>
              </a:xfrm>
              <a:custGeom>
                <a:avLst/>
                <a:gdLst>
                  <a:gd name="T0" fmla="*/ 22 w 22"/>
                  <a:gd name="T1" fmla="*/ 0 h 18"/>
                  <a:gd name="T2" fmla="*/ 16 w 22"/>
                  <a:gd name="T3" fmla="*/ 1 h 18"/>
                  <a:gd name="T4" fmla="*/ 13 w 22"/>
                  <a:gd name="T5" fmla="*/ 4 h 18"/>
                  <a:gd name="T6" fmla="*/ 0 w 22"/>
                  <a:gd name="T7" fmla="*/ 7 h 18"/>
                  <a:gd name="T8" fmla="*/ 0 w 22"/>
                  <a:gd name="T9" fmla="*/ 7 h 18"/>
                  <a:gd name="T10" fmla="*/ 1 w 22"/>
                  <a:gd name="T11" fmla="*/ 9 h 18"/>
                  <a:gd name="T12" fmla="*/ 6 w 22"/>
                  <a:gd name="T13" fmla="*/ 18 h 18"/>
                  <a:gd name="T14" fmla="*/ 22 w 22"/>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2" y="0"/>
                    </a:moveTo>
                    <a:cubicBezTo>
                      <a:pt x="20" y="1"/>
                      <a:pt x="18" y="0"/>
                      <a:pt x="16" y="1"/>
                    </a:cubicBezTo>
                    <a:cubicBezTo>
                      <a:pt x="14" y="2"/>
                      <a:pt x="14" y="3"/>
                      <a:pt x="13" y="4"/>
                    </a:cubicBezTo>
                    <a:cubicBezTo>
                      <a:pt x="9" y="6"/>
                      <a:pt x="5" y="6"/>
                      <a:pt x="0" y="7"/>
                    </a:cubicBezTo>
                    <a:cubicBezTo>
                      <a:pt x="0" y="7"/>
                      <a:pt x="0" y="7"/>
                      <a:pt x="0" y="7"/>
                    </a:cubicBezTo>
                    <a:cubicBezTo>
                      <a:pt x="0" y="8"/>
                      <a:pt x="0" y="8"/>
                      <a:pt x="1" y="9"/>
                    </a:cubicBezTo>
                    <a:cubicBezTo>
                      <a:pt x="3" y="12"/>
                      <a:pt x="5" y="16"/>
                      <a:pt x="6" y="18"/>
                    </a:cubicBezTo>
                    <a:cubicBezTo>
                      <a:pt x="12" y="12"/>
                      <a:pt x="17" y="6"/>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9" name="Freeform 227">
                <a:extLst>
                  <a:ext uri="{FF2B5EF4-FFF2-40B4-BE49-F238E27FC236}">
                    <a16:creationId xmlns:a16="http://schemas.microsoft.com/office/drawing/2014/main" id="{0F44ECDF-3C3B-49FC-8BEB-D08DD70E7CAB}"/>
                  </a:ext>
                </a:extLst>
              </p:cNvPr>
              <p:cNvSpPr>
                <a:spLocks/>
              </p:cNvSpPr>
              <p:nvPr/>
            </p:nvSpPr>
            <p:spPr bwMode="auto">
              <a:xfrm>
                <a:off x="2925982" y="6312604"/>
                <a:ext cx="47906" cy="44221"/>
              </a:xfrm>
              <a:custGeom>
                <a:avLst/>
                <a:gdLst>
                  <a:gd name="T0" fmla="*/ 12 w 15"/>
                  <a:gd name="T1" fmla="*/ 0 h 14"/>
                  <a:gd name="T2" fmla="*/ 10 w 15"/>
                  <a:gd name="T3" fmla="*/ 2 h 14"/>
                  <a:gd name="T4" fmla="*/ 4 w 15"/>
                  <a:gd name="T5" fmla="*/ 1 h 14"/>
                  <a:gd name="T6" fmla="*/ 1 w 15"/>
                  <a:gd name="T7" fmla="*/ 9 h 14"/>
                  <a:gd name="T8" fmla="*/ 7 w 15"/>
                  <a:gd name="T9" fmla="*/ 14 h 14"/>
                  <a:gd name="T10" fmla="*/ 12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12" y="0"/>
                    </a:moveTo>
                    <a:cubicBezTo>
                      <a:pt x="12" y="1"/>
                      <a:pt x="11" y="2"/>
                      <a:pt x="10" y="2"/>
                    </a:cubicBezTo>
                    <a:cubicBezTo>
                      <a:pt x="8" y="2"/>
                      <a:pt x="5" y="1"/>
                      <a:pt x="4" y="1"/>
                    </a:cubicBezTo>
                    <a:cubicBezTo>
                      <a:pt x="5" y="5"/>
                      <a:pt x="0" y="5"/>
                      <a:pt x="1" y="9"/>
                    </a:cubicBezTo>
                    <a:cubicBezTo>
                      <a:pt x="1" y="11"/>
                      <a:pt x="5" y="14"/>
                      <a:pt x="7" y="14"/>
                    </a:cubicBezTo>
                    <a:cubicBezTo>
                      <a:pt x="13" y="10"/>
                      <a:pt x="15" y="7"/>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0" name="Freeform 228">
                <a:extLst>
                  <a:ext uri="{FF2B5EF4-FFF2-40B4-BE49-F238E27FC236}">
                    <a16:creationId xmlns:a16="http://schemas.microsoft.com/office/drawing/2014/main" id="{0807E045-419B-40D4-8B42-2DE4B89EFE5B}"/>
                  </a:ext>
                </a:extLst>
              </p:cNvPr>
              <p:cNvSpPr>
                <a:spLocks/>
              </p:cNvSpPr>
              <p:nvPr/>
            </p:nvSpPr>
            <p:spPr bwMode="auto">
              <a:xfrm>
                <a:off x="3047591" y="6249957"/>
                <a:ext cx="66332" cy="73702"/>
              </a:xfrm>
              <a:custGeom>
                <a:avLst/>
                <a:gdLst>
                  <a:gd name="T0" fmla="*/ 13 w 21"/>
                  <a:gd name="T1" fmla="*/ 0 h 24"/>
                  <a:gd name="T2" fmla="*/ 16 w 21"/>
                  <a:gd name="T3" fmla="*/ 3 h 24"/>
                  <a:gd name="T4" fmla="*/ 12 w 21"/>
                  <a:gd name="T5" fmla="*/ 9 h 24"/>
                  <a:gd name="T6" fmla="*/ 9 w 21"/>
                  <a:gd name="T7" fmla="*/ 16 h 24"/>
                  <a:gd name="T8" fmla="*/ 1 w 21"/>
                  <a:gd name="T9" fmla="*/ 23 h 24"/>
                  <a:gd name="T10" fmla="*/ 0 w 21"/>
                  <a:gd name="T11" fmla="*/ 24 h 24"/>
                  <a:gd name="T12" fmla="*/ 1 w 21"/>
                  <a:gd name="T13" fmla="*/ 24 h 24"/>
                  <a:gd name="T14" fmla="*/ 1 w 21"/>
                  <a:gd name="T15" fmla="*/ 24 h 24"/>
                  <a:gd name="T16" fmla="*/ 1 w 21"/>
                  <a:gd name="T17" fmla="*/ 24 h 24"/>
                  <a:gd name="T18" fmla="*/ 1 w 21"/>
                  <a:gd name="T19" fmla="*/ 24 h 24"/>
                  <a:gd name="T20" fmla="*/ 1 w 21"/>
                  <a:gd name="T21" fmla="*/ 24 h 24"/>
                  <a:gd name="T22" fmla="*/ 5 w 21"/>
                  <a:gd name="T23" fmla="*/ 24 h 24"/>
                  <a:gd name="T24" fmla="*/ 18 w 21"/>
                  <a:gd name="T25" fmla="*/ 12 h 24"/>
                  <a:gd name="T26" fmla="*/ 19 w 21"/>
                  <a:gd name="T27" fmla="*/ 5 h 24"/>
                  <a:gd name="T28" fmla="*/ 21 w 21"/>
                  <a:gd name="T29" fmla="*/ 6 h 24"/>
                  <a:gd name="T30" fmla="*/ 13 w 21"/>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4">
                    <a:moveTo>
                      <a:pt x="13" y="0"/>
                    </a:moveTo>
                    <a:cubicBezTo>
                      <a:pt x="14" y="1"/>
                      <a:pt x="15" y="2"/>
                      <a:pt x="16" y="3"/>
                    </a:cubicBezTo>
                    <a:cubicBezTo>
                      <a:pt x="14" y="4"/>
                      <a:pt x="13" y="7"/>
                      <a:pt x="12" y="9"/>
                    </a:cubicBezTo>
                    <a:cubicBezTo>
                      <a:pt x="11" y="12"/>
                      <a:pt x="10" y="14"/>
                      <a:pt x="9" y="16"/>
                    </a:cubicBezTo>
                    <a:cubicBezTo>
                      <a:pt x="7" y="21"/>
                      <a:pt x="6" y="21"/>
                      <a:pt x="1" y="23"/>
                    </a:cubicBezTo>
                    <a:cubicBezTo>
                      <a:pt x="0" y="24"/>
                      <a:pt x="0" y="24"/>
                      <a:pt x="0" y="24"/>
                    </a:cubicBezTo>
                    <a:cubicBezTo>
                      <a:pt x="0" y="24"/>
                      <a:pt x="0" y="24"/>
                      <a:pt x="1" y="24"/>
                    </a:cubicBezTo>
                    <a:cubicBezTo>
                      <a:pt x="1" y="24"/>
                      <a:pt x="1" y="24"/>
                      <a:pt x="1" y="24"/>
                    </a:cubicBezTo>
                    <a:cubicBezTo>
                      <a:pt x="1" y="24"/>
                      <a:pt x="1" y="24"/>
                      <a:pt x="1" y="24"/>
                    </a:cubicBezTo>
                    <a:cubicBezTo>
                      <a:pt x="1" y="24"/>
                      <a:pt x="1" y="24"/>
                      <a:pt x="1" y="24"/>
                    </a:cubicBezTo>
                    <a:cubicBezTo>
                      <a:pt x="1" y="24"/>
                      <a:pt x="1" y="24"/>
                      <a:pt x="1" y="24"/>
                    </a:cubicBezTo>
                    <a:cubicBezTo>
                      <a:pt x="3" y="24"/>
                      <a:pt x="4" y="24"/>
                      <a:pt x="5" y="24"/>
                    </a:cubicBezTo>
                    <a:cubicBezTo>
                      <a:pt x="11" y="21"/>
                      <a:pt x="17" y="19"/>
                      <a:pt x="18" y="12"/>
                    </a:cubicBezTo>
                    <a:cubicBezTo>
                      <a:pt x="19" y="11"/>
                      <a:pt x="20" y="8"/>
                      <a:pt x="19" y="5"/>
                    </a:cubicBezTo>
                    <a:cubicBezTo>
                      <a:pt x="20" y="6"/>
                      <a:pt x="21" y="6"/>
                      <a:pt x="21" y="6"/>
                    </a:cubicBezTo>
                    <a:cubicBezTo>
                      <a:pt x="20" y="3"/>
                      <a:pt x="17"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1" name="Freeform 229">
                <a:extLst>
                  <a:ext uri="{FF2B5EF4-FFF2-40B4-BE49-F238E27FC236}">
                    <a16:creationId xmlns:a16="http://schemas.microsoft.com/office/drawing/2014/main" id="{820BFFB5-9414-4DA1-B8E9-06CBEEE7899B}"/>
                  </a:ext>
                </a:extLst>
              </p:cNvPr>
              <p:cNvSpPr>
                <a:spLocks/>
              </p:cNvSpPr>
              <p:nvPr/>
            </p:nvSpPr>
            <p:spPr bwMode="auto">
              <a:xfrm>
                <a:off x="3110238" y="6209421"/>
                <a:ext cx="36851" cy="40536"/>
              </a:xfrm>
              <a:custGeom>
                <a:avLst/>
                <a:gdLst>
                  <a:gd name="T0" fmla="*/ 10 w 11"/>
                  <a:gd name="T1" fmla="*/ 0 h 12"/>
                  <a:gd name="T2" fmla="*/ 9 w 11"/>
                  <a:gd name="T3" fmla="*/ 1 h 12"/>
                  <a:gd name="T4" fmla="*/ 1 w 11"/>
                  <a:gd name="T5" fmla="*/ 12 h 12"/>
                  <a:gd name="T6" fmla="*/ 10 w 11"/>
                  <a:gd name="T7" fmla="*/ 5 h 12"/>
                  <a:gd name="T8" fmla="*/ 10 w 11"/>
                  <a:gd name="T9" fmla="*/ 0 h 12"/>
                </a:gdLst>
                <a:ahLst/>
                <a:cxnLst>
                  <a:cxn ang="0">
                    <a:pos x="T0" y="T1"/>
                  </a:cxn>
                  <a:cxn ang="0">
                    <a:pos x="T2" y="T3"/>
                  </a:cxn>
                  <a:cxn ang="0">
                    <a:pos x="T4" y="T5"/>
                  </a:cxn>
                  <a:cxn ang="0">
                    <a:pos x="T6" y="T7"/>
                  </a:cxn>
                  <a:cxn ang="0">
                    <a:pos x="T8" y="T9"/>
                  </a:cxn>
                </a:cxnLst>
                <a:rect l="0" t="0" r="r" b="b"/>
                <a:pathLst>
                  <a:path w="11" h="12">
                    <a:moveTo>
                      <a:pt x="10" y="0"/>
                    </a:moveTo>
                    <a:cubicBezTo>
                      <a:pt x="10" y="0"/>
                      <a:pt x="9" y="0"/>
                      <a:pt x="9" y="1"/>
                    </a:cubicBezTo>
                    <a:cubicBezTo>
                      <a:pt x="2" y="5"/>
                      <a:pt x="0" y="4"/>
                      <a:pt x="1" y="12"/>
                    </a:cubicBezTo>
                    <a:cubicBezTo>
                      <a:pt x="3" y="8"/>
                      <a:pt x="8" y="9"/>
                      <a:pt x="10" y="5"/>
                    </a:cubicBezTo>
                    <a:cubicBezTo>
                      <a:pt x="10" y="3"/>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2" name="Freeform 230">
                <a:extLst>
                  <a:ext uri="{FF2B5EF4-FFF2-40B4-BE49-F238E27FC236}">
                    <a16:creationId xmlns:a16="http://schemas.microsoft.com/office/drawing/2014/main" id="{AA8E95B6-A55E-4133-B777-682E33517FA3}"/>
                  </a:ext>
                </a:extLst>
              </p:cNvPr>
              <p:cNvSpPr>
                <a:spLocks/>
              </p:cNvSpPr>
              <p:nvPr/>
            </p:nvSpPr>
            <p:spPr bwMode="auto">
              <a:xfrm>
                <a:off x="10598393" y="3338716"/>
                <a:ext cx="7370" cy="3685"/>
              </a:xfrm>
              <a:custGeom>
                <a:avLst/>
                <a:gdLst>
                  <a:gd name="T0" fmla="*/ 1 w 2"/>
                  <a:gd name="T1" fmla="*/ 0 h 1"/>
                  <a:gd name="T2" fmla="*/ 0 w 2"/>
                  <a:gd name="T3" fmla="*/ 1 h 1"/>
                  <a:gd name="T4" fmla="*/ 1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0"/>
                      <a:pt x="0" y="1"/>
                      <a:pt x="0" y="1"/>
                    </a:cubicBezTo>
                    <a:cubicBezTo>
                      <a:pt x="0" y="1"/>
                      <a:pt x="1" y="1"/>
                      <a:pt x="1" y="1"/>
                    </a:cubicBezTo>
                    <a:cubicBezTo>
                      <a:pt x="1" y="1"/>
                      <a:pt x="2"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3" name="Freeform 231">
                <a:extLst>
                  <a:ext uri="{FF2B5EF4-FFF2-40B4-BE49-F238E27FC236}">
                    <a16:creationId xmlns:a16="http://schemas.microsoft.com/office/drawing/2014/main" id="{C80C1E25-65EF-41C7-9CE4-2C87B2439021}"/>
                  </a:ext>
                </a:extLst>
              </p:cNvPr>
              <p:cNvSpPr>
                <a:spLocks/>
              </p:cNvSpPr>
              <p:nvPr/>
            </p:nvSpPr>
            <p:spPr bwMode="auto">
              <a:xfrm>
                <a:off x="8936405" y="6511600"/>
                <a:ext cx="81073" cy="147405"/>
              </a:xfrm>
              <a:custGeom>
                <a:avLst/>
                <a:gdLst>
                  <a:gd name="T0" fmla="*/ 13 w 25"/>
                  <a:gd name="T1" fmla="*/ 0 h 46"/>
                  <a:gd name="T2" fmla="*/ 11 w 25"/>
                  <a:gd name="T3" fmla="*/ 0 h 46"/>
                  <a:gd name="T4" fmla="*/ 6 w 25"/>
                  <a:gd name="T5" fmla="*/ 9 h 46"/>
                  <a:gd name="T6" fmla="*/ 2 w 25"/>
                  <a:gd name="T7" fmla="*/ 19 h 46"/>
                  <a:gd name="T8" fmla="*/ 0 w 25"/>
                  <a:gd name="T9" fmla="*/ 30 h 46"/>
                  <a:gd name="T10" fmla="*/ 1 w 25"/>
                  <a:gd name="T11" fmla="*/ 39 h 46"/>
                  <a:gd name="T12" fmla="*/ 1 w 25"/>
                  <a:gd name="T13" fmla="*/ 40 h 46"/>
                  <a:gd name="T14" fmla="*/ 2 w 25"/>
                  <a:gd name="T15" fmla="*/ 41 h 46"/>
                  <a:gd name="T16" fmla="*/ 6 w 25"/>
                  <a:gd name="T17" fmla="*/ 46 h 46"/>
                  <a:gd name="T18" fmla="*/ 6 w 25"/>
                  <a:gd name="T19" fmla="*/ 46 h 46"/>
                  <a:gd name="T20" fmla="*/ 7 w 25"/>
                  <a:gd name="T21" fmla="*/ 46 h 46"/>
                  <a:gd name="T22" fmla="*/ 7 w 25"/>
                  <a:gd name="T23" fmla="*/ 46 h 46"/>
                  <a:gd name="T24" fmla="*/ 7 w 25"/>
                  <a:gd name="T25" fmla="*/ 46 h 46"/>
                  <a:gd name="T26" fmla="*/ 8 w 25"/>
                  <a:gd name="T27" fmla="*/ 46 h 46"/>
                  <a:gd name="T28" fmla="*/ 10 w 25"/>
                  <a:gd name="T29" fmla="*/ 46 h 46"/>
                  <a:gd name="T30" fmla="*/ 14 w 25"/>
                  <a:gd name="T31" fmla="*/ 46 h 46"/>
                  <a:gd name="T32" fmla="*/ 14 w 25"/>
                  <a:gd name="T33" fmla="*/ 46 h 46"/>
                  <a:gd name="T34" fmla="*/ 16 w 25"/>
                  <a:gd name="T35" fmla="*/ 46 h 46"/>
                  <a:gd name="T36" fmla="*/ 17 w 25"/>
                  <a:gd name="T37" fmla="*/ 46 h 46"/>
                  <a:gd name="T38" fmla="*/ 20 w 25"/>
                  <a:gd name="T39" fmla="*/ 45 h 46"/>
                  <a:gd name="T40" fmla="*/ 20 w 25"/>
                  <a:gd name="T41" fmla="*/ 43 h 46"/>
                  <a:gd name="T42" fmla="*/ 19 w 25"/>
                  <a:gd name="T43" fmla="*/ 43 h 46"/>
                  <a:gd name="T44" fmla="*/ 21 w 25"/>
                  <a:gd name="T45" fmla="*/ 39 h 46"/>
                  <a:gd name="T46" fmla="*/ 24 w 25"/>
                  <a:gd name="T47" fmla="*/ 26 h 46"/>
                  <a:gd name="T48" fmla="*/ 21 w 25"/>
                  <a:gd name="T49" fmla="*/ 17 h 46"/>
                  <a:gd name="T50" fmla="*/ 22 w 25"/>
                  <a:gd name="T51" fmla="*/ 6 h 46"/>
                  <a:gd name="T52" fmla="*/ 20 w 25"/>
                  <a:gd name="T53" fmla="*/ 5 h 46"/>
                  <a:gd name="T54" fmla="*/ 20 w 25"/>
                  <a:gd name="T55" fmla="*/ 5 h 46"/>
                  <a:gd name="T56" fmla="*/ 20 w 25"/>
                  <a:gd name="T57" fmla="*/ 5 h 46"/>
                  <a:gd name="T58" fmla="*/ 18 w 25"/>
                  <a:gd name="T59" fmla="*/ 5 h 46"/>
                  <a:gd name="T60" fmla="*/ 14 w 25"/>
                  <a:gd name="T61" fmla="*/ 0 h 46"/>
                  <a:gd name="T62" fmla="*/ 13 w 25"/>
                  <a:gd name="T6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46">
                    <a:moveTo>
                      <a:pt x="13" y="0"/>
                    </a:moveTo>
                    <a:cubicBezTo>
                      <a:pt x="12" y="0"/>
                      <a:pt x="12" y="0"/>
                      <a:pt x="11" y="0"/>
                    </a:cubicBezTo>
                    <a:cubicBezTo>
                      <a:pt x="7" y="1"/>
                      <a:pt x="6" y="5"/>
                      <a:pt x="6" y="9"/>
                    </a:cubicBezTo>
                    <a:cubicBezTo>
                      <a:pt x="3" y="12"/>
                      <a:pt x="3" y="15"/>
                      <a:pt x="2" y="19"/>
                    </a:cubicBezTo>
                    <a:cubicBezTo>
                      <a:pt x="2" y="22"/>
                      <a:pt x="0" y="27"/>
                      <a:pt x="0" y="30"/>
                    </a:cubicBezTo>
                    <a:cubicBezTo>
                      <a:pt x="0" y="32"/>
                      <a:pt x="1" y="36"/>
                      <a:pt x="1" y="39"/>
                    </a:cubicBezTo>
                    <a:cubicBezTo>
                      <a:pt x="1" y="40"/>
                      <a:pt x="1" y="40"/>
                      <a:pt x="1" y="40"/>
                    </a:cubicBezTo>
                    <a:cubicBezTo>
                      <a:pt x="2" y="41"/>
                      <a:pt x="2" y="41"/>
                      <a:pt x="2" y="41"/>
                    </a:cubicBezTo>
                    <a:cubicBezTo>
                      <a:pt x="3" y="44"/>
                      <a:pt x="4" y="45"/>
                      <a:pt x="6" y="46"/>
                    </a:cubicBezTo>
                    <a:cubicBezTo>
                      <a:pt x="6" y="46"/>
                      <a:pt x="6" y="46"/>
                      <a:pt x="6" y="46"/>
                    </a:cubicBezTo>
                    <a:cubicBezTo>
                      <a:pt x="7" y="46"/>
                      <a:pt x="7" y="46"/>
                      <a:pt x="7" y="46"/>
                    </a:cubicBezTo>
                    <a:cubicBezTo>
                      <a:pt x="7" y="46"/>
                      <a:pt x="7" y="46"/>
                      <a:pt x="7" y="46"/>
                    </a:cubicBezTo>
                    <a:cubicBezTo>
                      <a:pt x="7" y="46"/>
                      <a:pt x="7" y="46"/>
                      <a:pt x="7" y="46"/>
                    </a:cubicBezTo>
                    <a:cubicBezTo>
                      <a:pt x="8" y="46"/>
                      <a:pt x="8" y="46"/>
                      <a:pt x="8" y="46"/>
                    </a:cubicBezTo>
                    <a:cubicBezTo>
                      <a:pt x="9" y="46"/>
                      <a:pt x="9" y="46"/>
                      <a:pt x="10" y="46"/>
                    </a:cubicBezTo>
                    <a:cubicBezTo>
                      <a:pt x="11" y="46"/>
                      <a:pt x="13" y="46"/>
                      <a:pt x="14" y="46"/>
                    </a:cubicBezTo>
                    <a:cubicBezTo>
                      <a:pt x="14" y="46"/>
                      <a:pt x="14" y="46"/>
                      <a:pt x="14" y="46"/>
                    </a:cubicBezTo>
                    <a:cubicBezTo>
                      <a:pt x="15" y="46"/>
                      <a:pt x="16" y="46"/>
                      <a:pt x="16" y="46"/>
                    </a:cubicBezTo>
                    <a:cubicBezTo>
                      <a:pt x="16" y="46"/>
                      <a:pt x="17" y="46"/>
                      <a:pt x="17" y="46"/>
                    </a:cubicBezTo>
                    <a:cubicBezTo>
                      <a:pt x="17" y="46"/>
                      <a:pt x="18" y="45"/>
                      <a:pt x="20" y="45"/>
                    </a:cubicBezTo>
                    <a:cubicBezTo>
                      <a:pt x="20" y="43"/>
                      <a:pt x="20" y="43"/>
                      <a:pt x="20" y="43"/>
                    </a:cubicBezTo>
                    <a:cubicBezTo>
                      <a:pt x="19" y="43"/>
                      <a:pt x="19" y="43"/>
                      <a:pt x="19" y="43"/>
                    </a:cubicBezTo>
                    <a:cubicBezTo>
                      <a:pt x="20" y="41"/>
                      <a:pt x="20" y="40"/>
                      <a:pt x="21" y="39"/>
                    </a:cubicBezTo>
                    <a:cubicBezTo>
                      <a:pt x="21" y="36"/>
                      <a:pt x="25" y="28"/>
                      <a:pt x="24" y="26"/>
                    </a:cubicBezTo>
                    <a:cubicBezTo>
                      <a:pt x="22" y="24"/>
                      <a:pt x="20" y="20"/>
                      <a:pt x="21" y="17"/>
                    </a:cubicBezTo>
                    <a:cubicBezTo>
                      <a:pt x="21" y="14"/>
                      <a:pt x="24" y="8"/>
                      <a:pt x="22" y="6"/>
                    </a:cubicBezTo>
                    <a:cubicBezTo>
                      <a:pt x="21" y="5"/>
                      <a:pt x="21" y="5"/>
                      <a:pt x="20" y="5"/>
                    </a:cubicBezTo>
                    <a:cubicBezTo>
                      <a:pt x="20" y="5"/>
                      <a:pt x="20" y="5"/>
                      <a:pt x="20" y="5"/>
                    </a:cubicBezTo>
                    <a:cubicBezTo>
                      <a:pt x="20" y="5"/>
                      <a:pt x="20" y="5"/>
                      <a:pt x="20" y="5"/>
                    </a:cubicBezTo>
                    <a:cubicBezTo>
                      <a:pt x="19" y="5"/>
                      <a:pt x="19" y="5"/>
                      <a:pt x="18" y="5"/>
                    </a:cubicBezTo>
                    <a:cubicBezTo>
                      <a:pt x="17" y="4"/>
                      <a:pt x="16" y="1"/>
                      <a:pt x="14" y="0"/>
                    </a:cubicBezTo>
                    <a:cubicBezTo>
                      <a:pt x="14"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4" name="Freeform 232">
                <a:extLst>
                  <a:ext uri="{FF2B5EF4-FFF2-40B4-BE49-F238E27FC236}">
                    <a16:creationId xmlns:a16="http://schemas.microsoft.com/office/drawing/2014/main" id="{CAC8F084-537C-442C-B43E-4B385A2E9C90}"/>
                  </a:ext>
                </a:extLst>
              </p:cNvPr>
              <p:cNvSpPr>
                <a:spLocks noEditPoints="1"/>
              </p:cNvSpPr>
              <p:nvPr/>
            </p:nvSpPr>
            <p:spPr bwMode="auto">
              <a:xfrm>
                <a:off x="10369915" y="3419788"/>
                <a:ext cx="7370" cy="0"/>
              </a:xfrm>
              <a:custGeom>
                <a:avLst/>
                <a:gdLst>
                  <a:gd name="T0" fmla="*/ 2 w 2"/>
                  <a:gd name="T1" fmla="*/ 1 w 2"/>
                  <a:gd name="T2" fmla="*/ 0 w 2"/>
                  <a:gd name="T3" fmla="*/ 1 w 2"/>
                  <a:gd name="T4" fmla="*/ 2 w 2"/>
                  <a:gd name="T5" fmla="*/ 2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cubicBezTo>
                      <a:pt x="2" y="0"/>
                      <a:pt x="2" y="0"/>
                      <a:pt x="1" y="0"/>
                    </a:cubicBezTo>
                    <a:cubicBezTo>
                      <a:pt x="1" y="0"/>
                      <a:pt x="0" y="0"/>
                      <a:pt x="0" y="0"/>
                    </a:cubicBezTo>
                    <a:cubicBezTo>
                      <a:pt x="0" y="0"/>
                      <a:pt x="0" y="0"/>
                      <a:pt x="1" y="0"/>
                    </a:cubicBezTo>
                    <a:cubicBezTo>
                      <a:pt x="1" y="0"/>
                      <a:pt x="2" y="0"/>
                      <a:pt x="2" y="0"/>
                    </a:cubicBezTo>
                    <a:moveTo>
                      <a:pt x="2" y="0"/>
                    </a:moveTo>
                    <a:cubicBezTo>
                      <a:pt x="2" y="0"/>
                      <a:pt x="2" y="0"/>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5" name="Freeform 233">
                <a:extLst>
                  <a:ext uri="{FF2B5EF4-FFF2-40B4-BE49-F238E27FC236}">
                    <a16:creationId xmlns:a16="http://schemas.microsoft.com/office/drawing/2014/main" id="{B1A51235-C391-4F4D-80FB-43CC07F217B6}"/>
                  </a:ext>
                </a:extLst>
              </p:cNvPr>
              <p:cNvSpPr>
                <a:spLocks/>
              </p:cNvSpPr>
              <p:nvPr/>
            </p:nvSpPr>
            <p:spPr bwMode="auto">
              <a:xfrm>
                <a:off x="3773559" y="3500861"/>
                <a:ext cx="7370"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cubicBezTo>
                      <a:pt x="2" y="0"/>
                      <a:pt x="2" y="0"/>
                      <a:pt x="2" y="0"/>
                    </a:cubicBezTo>
                    <a:cubicBezTo>
                      <a:pt x="1" y="0"/>
                      <a:pt x="1" y="0"/>
                      <a:pt x="0" y="0"/>
                    </a:cubicBezTo>
                    <a:cubicBezTo>
                      <a:pt x="1" y="0"/>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6" name="Freeform 234">
                <a:extLst>
                  <a:ext uri="{FF2B5EF4-FFF2-40B4-BE49-F238E27FC236}">
                    <a16:creationId xmlns:a16="http://schemas.microsoft.com/office/drawing/2014/main" id="{BA48EDEE-E695-4033-8020-9AD8446C631D}"/>
                  </a:ext>
                </a:extLst>
              </p:cNvPr>
              <p:cNvSpPr>
                <a:spLocks/>
              </p:cNvSpPr>
              <p:nvPr/>
            </p:nvSpPr>
            <p:spPr bwMode="auto">
              <a:xfrm>
                <a:off x="3497175" y="4893834"/>
                <a:ext cx="283754" cy="530657"/>
              </a:xfrm>
              <a:custGeom>
                <a:avLst/>
                <a:gdLst>
                  <a:gd name="T0" fmla="*/ 34 w 89"/>
                  <a:gd name="T1" fmla="*/ 1 h 167"/>
                  <a:gd name="T2" fmla="*/ 19 w 89"/>
                  <a:gd name="T3" fmla="*/ 8 h 167"/>
                  <a:gd name="T4" fmla="*/ 20 w 89"/>
                  <a:gd name="T5" fmla="*/ 16 h 167"/>
                  <a:gd name="T6" fmla="*/ 24 w 89"/>
                  <a:gd name="T7" fmla="*/ 29 h 167"/>
                  <a:gd name="T8" fmla="*/ 25 w 89"/>
                  <a:gd name="T9" fmla="*/ 41 h 167"/>
                  <a:gd name="T10" fmla="*/ 19 w 89"/>
                  <a:gd name="T11" fmla="*/ 59 h 167"/>
                  <a:gd name="T12" fmla="*/ 8 w 89"/>
                  <a:gd name="T13" fmla="*/ 88 h 167"/>
                  <a:gd name="T14" fmla="*/ 3 w 89"/>
                  <a:gd name="T15" fmla="*/ 99 h 167"/>
                  <a:gd name="T16" fmla="*/ 2 w 89"/>
                  <a:gd name="T17" fmla="*/ 110 h 167"/>
                  <a:gd name="T18" fmla="*/ 8 w 89"/>
                  <a:gd name="T19" fmla="*/ 111 h 167"/>
                  <a:gd name="T20" fmla="*/ 15 w 89"/>
                  <a:gd name="T21" fmla="*/ 103 h 167"/>
                  <a:gd name="T22" fmla="*/ 15 w 89"/>
                  <a:gd name="T23" fmla="*/ 112 h 167"/>
                  <a:gd name="T24" fmla="*/ 9 w 89"/>
                  <a:gd name="T25" fmla="*/ 112 h 167"/>
                  <a:gd name="T26" fmla="*/ 9 w 89"/>
                  <a:gd name="T27" fmla="*/ 121 h 167"/>
                  <a:gd name="T28" fmla="*/ 21 w 89"/>
                  <a:gd name="T29" fmla="*/ 116 h 167"/>
                  <a:gd name="T30" fmla="*/ 22 w 89"/>
                  <a:gd name="T31" fmla="*/ 121 h 167"/>
                  <a:gd name="T32" fmla="*/ 20 w 89"/>
                  <a:gd name="T33" fmla="*/ 131 h 167"/>
                  <a:gd name="T34" fmla="*/ 15 w 89"/>
                  <a:gd name="T35" fmla="*/ 166 h 167"/>
                  <a:gd name="T36" fmla="*/ 27 w 89"/>
                  <a:gd name="T37" fmla="*/ 162 h 167"/>
                  <a:gd name="T38" fmla="*/ 40 w 89"/>
                  <a:gd name="T39" fmla="*/ 165 h 167"/>
                  <a:gd name="T40" fmla="*/ 44 w 89"/>
                  <a:gd name="T41" fmla="*/ 167 h 167"/>
                  <a:gd name="T42" fmla="*/ 57 w 89"/>
                  <a:gd name="T43" fmla="*/ 161 h 167"/>
                  <a:gd name="T44" fmla="*/ 56 w 89"/>
                  <a:gd name="T45" fmla="*/ 158 h 167"/>
                  <a:gd name="T46" fmla="*/ 55 w 89"/>
                  <a:gd name="T47" fmla="*/ 153 h 167"/>
                  <a:gd name="T48" fmla="*/ 56 w 89"/>
                  <a:gd name="T49" fmla="*/ 141 h 167"/>
                  <a:gd name="T50" fmla="*/ 65 w 89"/>
                  <a:gd name="T51" fmla="*/ 130 h 167"/>
                  <a:gd name="T52" fmla="*/ 65 w 89"/>
                  <a:gd name="T53" fmla="*/ 129 h 167"/>
                  <a:gd name="T54" fmla="*/ 63 w 89"/>
                  <a:gd name="T55" fmla="*/ 126 h 167"/>
                  <a:gd name="T56" fmla="*/ 60 w 89"/>
                  <a:gd name="T57" fmla="*/ 114 h 167"/>
                  <a:gd name="T58" fmla="*/ 59 w 89"/>
                  <a:gd name="T59" fmla="*/ 103 h 167"/>
                  <a:gd name="T60" fmla="*/ 65 w 89"/>
                  <a:gd name="T61" fmla="*/ 104 h 167"/>
                  <a:gd name="T62" fmla="*/ 66 w 89"/>
                  <a:gd name="T63" fmla="*/ 103 h 167"/>
                  <a:gd name="T64" fmla="*/ 69 w 89"/>
                  <a:gd name="T65" fmla="*/ 100 h 167"/>
                  <a:gd name="T66" fmla="*/ 62 w 89"/>
                  <a:gd name="T67" fmla="*/ 97 h 167"/>
                  <a:gd name="T68" fmla="*/ 61 w 89"/>
                  <a:gd name="T69" fmla="*/ 93 h 167"/>
                  <a:gd name="T70" fmla="*/ 58 w 89"/>
                  <a:gd name="T71" fmla="*/ 89 h 167"/>
                  <a:gd name="T72" fmla="*/ 58 w 89"/>
                  <a:gd name="T73" fmla="*/ 75 h 167"/>
                  <a:gd name="T74" fmla="*/ 68 w 89"/>
                  <a:gd name="T75" fmla="*/ 76 h 167"/>
                  <a:gd name="T76" fmla="*/ 71 w 89"/>
                  <a:gd name="T77" fmla="*/ 57 h 167"/>
                  <a:gd name="T78" fmla="*/ 73 w 89"/>
                  <a:gd name="T79" fmla="*/ 52 h 167"/>
                  <a:gd name="T80" fmla="*/ 73 w 89"/>
                  <a:gd name="T81" fmla="*/ 42 h 167"/>
                  <a:gd name="T82" fmla="*/ 74 w 89"/>
                  <a:gd name="T83" fmla="*/ 28 h 167"/>
                  <a:gd name="T84" fmla="*/ 80 w 89"/>
                  <a:gd name="T85" fmla="*/ 23 h 167"/>
                  <a:gd name="T86" fmla="*/ 85 w 89"/>
                  <a:gd name="T87" fmla="*/ 20 h 167"/>
                  <a:gd name="T88" fmla="*/ 87 w 89"/>
                  <a:gd name="T89" fmla="*/ 15 h 167"/>
                  <a:gd name="T90" fmla="*/ 81 w 89"/>
                  <a:gd name="T91" fmla="*/ 8 h 167"/>
                  <a:gd name="T92" fmla="*/ 81 w 89"/>
                  <a:gd name="T93" fmla="*/ 5 h 167"/>
                  <a:gd name="T94" fmla="*/ 81 w 89"/>
                  <a:gd name="T95" fmla="*/ 5 h 167"/>
                  <a:gd name="T96" fmla="*/ 79 w 89"/>
                  <a:gd name="T97" fmla="*/ 5 h 167"/>
                  <a:gd name="T98" fmla="*/ 74 w 89"/>
                  <a:gd name="T99" fmla="*/ 5 h 167"/>
                  <a:gd name="T100" fmla="*/ 71 w 89"/>
                  <a:gd name="T101" fmla="*/ 5 h 167"/>
                  <a:gd name="T102" fmla="*/ 64 w 89"/>
                  <a:gd name="T103" fmla="*/ 8 h 167"/>
                  <a:gd name="T104" fmla="*/ 61 w 89"/>
                  <a:gd name="T105" fmla="*/ 8 h 167"/>
                  <a:gd name="T106" fmla="*/ 54 w 89"/>
                  <a:gd name="T107" fmla="*/ 9 h 167"/>
                  <a:gd name="T108" fmla="*/ 48 w 89"/>
                  <a:gd name="T109" fmla="*/ 7 h 167"/>
                  <a:gd name="T110" fmla="*/ 47 w 89"/>
                  <a:gd name="T111" fmla="*/ 6 h 167"/>
                  <a:gd name="T112" fmla="*/ 40 w 89"/>
                  <a:gd name="T113" fmla="*/ 10 h 167"/>
                  <a:gd name="T114" fmla="*/ 40 w 89"/>
                  <a:gd name="T115" fmla="*/ 10 h 167"/>
                  <a:gd name="T116" fmla="*/ 39 w 89"/>
                  <a:gd name="T117" fmla="*/ 10 h 167"/>
                  <a:gd name="T118" fmla="*/ 34 w 89"/>
                  <a:gd name="T119" fmla="*/ 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 h="167">
                    <a:moveTo>
                      <a:pt x="35" y="0"/>
                    </a:moveTo>
                    <a:cubicBezTo>
                      <a:pt x="34" y="1"/>
                      <a:pt x="34" y="1"/>
                      <a:pt x="34" y="1"/>
                    </a:cubicBezTo>
                    <a:cubicBezTo>
                      <a:pt x="33" y="1"/>
                      <a:pt x="32" y="1"/>
                      <a:pt x="31" y="1"/>
                    </a:cubicBezTo>
                    <a:cubicBezTo>
                      <a:pt x="29" y="2"/>
                      <a:pt x="23" y="5"/>
                      <a:pt x="19" y="8"/>
                    </a:cubicBezTo>
                    <a:cubicBezTo>
                      <a:pt x="19" y="8"/>
                      <a:pt x="19" y="8"/>
                      <a:pt x="19" y="8"/>
                    </a:cubicBezTo>
                    <a:cubicBezTo>
                      <a:pt x="19" y="10"/>
                      <a:pt x="20" y="13"/>
                      <a:pt x="20" y="16"/>
                    </a:cubicBezTo>
                    <a:cubicBezTo>
                      <a:pt x="21" y="18"/>
                      <a:pt x="21" y="21"/>
                      <a:pt x="22" y="23"/>
                    </a:cubicBezTo>
                    <a:cubicBezTo>
                      <a:pt x="22" y="25"/>
                      <a:pt x="24" y="28"/>
                      <a:pt x="24" y="29"/>
                    </a:cubicBezTo>
                    <a:cubicBezTo>
                      <a:pt x="26" y="33"/>
                      <a:pt x="21" y="41"/>
                      <a:pt x="23" y="44"/>
                    </a:cubicBezTo>
                    <a:cubicBezTo>
                      <a:pt x="23" y="43"/>
                      <a:pt x="24" y="42"/>
                      <a:pt x="25" y="41"/>
                    </a:cubicBezTo>
                    <a:cubicBezTo>
                      <a:pt x="27" y="44"/>
                      <a:pt x="22" y="46"/>
                      <a:pt x="21" y="48"/>
                    </a:cubicBezTo>
                    <a:cubicBezTo>
                      <a:pt x="19" y="51"/>
                      <a:pt x="19" y="56"/>
                      <a:pt x="19" y="59"/>
                    </a:cubicBezTo>
                    <a:cubicBezTo>
                      <a:pt x="17" y="67"/>
                      <a:pt x="14" y="75"/>
                      <a:pt x="11" y="83"/>
                    </a:cubicBezTo>
                    <a:cubicBezTo>
                      <a:pt x="11" y="84"/>
                      <a:pt x="9" y="87"/>
                      <a:pt x="8" y="88"/>
                    </a:cubicBezTo>
                    <a:cubicBezTo>
                      <a:pt x="6" y="88"/>
                      <a:pt x="5" y="89"/>
                      <a:pt x="5" y="92"/>
                    </a:cubicBezTo>
                    <a:cubicBezTo>
                      <a:pt x="4" y="94"/>
                      <a:pt x="4" y="96"/>
                      <a:pt x="3" y="99"/>
                    </a:cubicBezTo>
                    <a:cubicBezTo>
                      <a:pt x="2" y="100"/>
                      <a:pt x="3" y="102"/>
                      <a:pt x="2" y="104"/>
                    </a:cubicBezTo>
                    <a:cubicBezTo>
                      <a:pt x="2" y="106"/>
                      <a:pt x="0" y="108"/>
                      <a:pt x="2" y="110"/>
                    </a:cubicBezTo>
                    <a:cubicBezTo>
                      <a:pt x="3" y="111"/>
                      <a:pt x="5" y="111"/>
                      <a:pt x="6" y="111"/>
                    </a:cubicBezTo>
                    <a:cubicBezTo>
                      <a:pt x="7" y="111"/>
                      <a:pt x="7" y="111"/>
                      <a:pt x="8" y="111"/>
                    </a:cubicBezTo>
                    <a:cubicBezTo>
                      <a:pt x="11" y="109"/>
                      <a:pt x="11" y="109"/>
                      <a:pt x="12" y="106"/>
                    </a:cubicBezTo>
                    <a:cubicBezTo>
                      <a:pt x="13" y="105"/>
                      <a:pt x="14" y="104"/>
                      <a:pt x="15" y="103"/>
                    </a:cubicBezTo>
                    <a:cubicBezTo>
                      <a:pt x="16" y="107"/>
                      <a:pt x="18" y="109"/>
                      <a:pt x="14" y="110"/>
                    </a:cubicBezTo>
                    <a:cubicBezTo>
                      <a:pt x="14" y="111"/>
                      <a:pt x="15" y="111"/>
                      <a:pt x="15" y="112"/>
                    </a:cubicBezTo>
                    <a:cubicBezTo>
                      <a:pt x="13" y="112"/>
                      <a:pt x="13" y="112"/>
                      <a:pt x="13" y="114"/>
                    </a:cubicBezTo>
                    <a:cubicBezTo>
                      <a:pt x="12" y="113"/>
                      <a:pt x="10" y="112"/>
                      <a:pt x="9" y="112"/>
                    </a:cubicBezTo>
                    <a:cubicBezTo>
                      <a:pt x="8" y="112"/>
                      <a:pt x="7" y="112"/>
                      <a:pt x="7" y="112"/>
                    </a:cubicBezTo>
                    <a:cubicBezTo>
                      <a:pt x="9" y="115"/>
                      <a:pt x="8" y="117"/>
                      <a:pt x="9" y="121"/>
                    </a:cubicBezTo>
                    <a:cubicBezTo>
                      <a:pt x="11" y="119"/>
                      <a:pt x="14" y="119"/>
                      <a:pt x="16" y="118"/>
                    </a:cubicBezTo>
                    <a:cubicBezTo>
                      <a:pt x="18" y="117"/>
                      <a:pt x="20" y="116"/>
                      <a:pt x="21" y="116"/>
                    </a:cubicBezTo>
                    <a:cubicBezTo>
                      <a:pt x="23" y="116"/>
                      <a:pt x="24" y="117"/>
                      <a:pt x="25" y="121"/>
                    </a:cubicBezTo>
                    <a:cubicBezTo>
                      <a:pt x="23" y="121"/>
                      <a:pt x="23" y="121"/>
                      <a:pt x="22" y="121"/>
                    </a:cubicBezTo>
                    <a:cubicBezTo>
                      <a:pt x="20" y="121"/>
                      <a:pt x="20" y="121"/>
                      <a:pt x="18" y="118"/>
                    </a:cubicBezTo>
                    <a:cubicBezTo>
                      <a:pt x="18" y="122"/>
                      <a:pt x="21" y="128"/>
                      <a:pt x="20" y="131"/>
                    </a:cubicBezTo>
                    <a:cubicBezTo>
                      <a:pt x="19" y="135"/>
                      <a:pt x="20" y="141"/>
                      <a:pt x="20" y="146"/>
                    </a:cubicBezTo>
                    <a:cubicBezTo>
                      <a:pt x="20" y="153"/>
                      <a:pt x="18" y="159"/>
                      <a:pt x="15" y="166"/>
                    </a:cubicBezTo>
                    <a:cubicBezTo>
                      <a:pt x="18" y="166"/>
                      <a:pt x="22" y="164"/>
                      <a:pt x="25" y="163"/>
                    </a:cubicBezTo>
                    <a:cubicBezTo>
                      <a:pt x="26" y="162"/>
                      <a:pt x="26" y="162"/>
                      <a:pt x="27" y="162"/>
                    </a:cubicBezTo>
                    <a:cubicBezTo>
                      <a:pt x="29" y="162"/>
                      <a:pt x="31" y="164"/>
                      <a:pt x="34" y="164"/>
                    </a:cubicBezTo>
                    <a:cubicBezTo>
                      <a:pt x="36" y="164"/>
                      <a:pt x="38" y="164"/>
                      <a:pt x="40" y="165"/>
                    </a:cubicBezTo>
                    <a:cubicBezTo>
                      <a:pt x="41" y="165"/>
                      <a:pt x="43" y="167"/>
                      <a:pt x="44" y="167"/>
                    </a:cubicBezTo>
                    <a:cubicBezTo>
                      <a:pt x="44" y="167"/>
                      <a:pt x="44" y="167"/>
                      <a:pt x="44" y="167"/>
                    </a:cubicBezTo>
                    <a:cubicBezTo>
                      <a:pt x="48" y="166"/>
                      <a:pt x="51" y="165"/>
                      <a:pt x="55" y="163"/>
                    </a:cubicBezTo>
                    <a:cubicBezTo>
                      <a:pt x="56" y="162"/>
                      <a:pt x="57" y="161"/>
                      <a:pt x="57" y="161"/>
                    </a:cubicBezTo>
                    <a:cubicBezTo>
                      <a:pt x="55" y="160"/>
                      <a:pt x="55" y="160"/>
                      <a:pt x="55" y="160"/>
                    </a:cubicBezTo>
                    <a:cubicBezTo>
                      <a:pt x="56" y="158"/>
                      <a:pt x="56" y="158"/>
                      <a:pt x="56" y="158"/>
                    </a:cubicBezTo>
                    <a:cubicBezTo>
                      <a:pt x="55" y="157"/>
                      <a:pt x="55" y="157"/>
                      <a:pt x="55" y="157"/>
                    </a:cubicBezTo>
                    <a:cubicBezTo>
                      <a:pt x="55" y="156"/>
                      <a:pt x="55" y="154"/>
                      <a:pt x="55" y="153"/>
                    </a:cubicBezTo>
                    <a:cubicBezTo>
                      <a:pt x="53" y="149"/>
                      <a:pt x="55" y="144"/>
                      <a:pt x="56" y="141"/>
                    </a:cubicBezTo>
                    <a:cubicBezTo>
                      <a:pt x="56" y="141"/>
                      <a:pt x="56" y="141"/>
                      <a:pt x="56" y="141"/>
                    </a:cubicBezTo>
                    <a:cubicBezTo>
                      <a:pt x="57" y="139"/>
                      <a:pt x="60" y="133"/>
                      <a:pt x="63" y="131"/>
                    </a:cubicBezTo>
                    <a:cubicBezTo>
                      <a:pt x="64" y="131"/>
                      <a:pt x="65" y="130"/>
                      <a:pt x="65" y="130"/>
                    </a:cubicBezTo>
                    <a:cubicBezTo>
                      <a:pt x="66" y="130"/>
                      <a:pt x="66" y="130"/>
                      <a:pt x="66" y="130"/>
                    </a:cubicBezTo>
                    <a:cubicBezTo>
                      <a:pt x="65" y="129"/>
                      <a:pt x="65" y="129"/>
                      <a:pt x="65" y="129"/>
                    </a:cubicBezTo>
                    <a:cubicBezTo>
                      <a:pt x="65" y="129"/>
                      <a:pt x="64" y="128"/>
                      <a:pt x="64" y="127"/>
                    </a:cubicBezTo>
                    <a:cubicBezTo>
                      <a:pt x="64" y="127"/>
                      <a:pt x="63" y="126"/>
                      <a:pt x="63" y="126"/>
                    </a:cubicBezTo>
                    <a:cubicBezTo>
                      <a:pt x="61" y="123"/>
                      <a:pt x="58" y="119"/>
                      <a:pt x="59" y="116"/>
                    </a:cubicBezTo>
                    <a:cubicBezTo>
                      <a:pt x="60" y="114"/>
                      <a:pt x="60" y="114"/>
                      <a:pt x="60" y="114"/>
                    </a:cubicBezTo>
                    <a:cubicBezTo>
                      <a:pt x="61" y="111"/>
                      <a:pt x="62" y="109"/>
                      <a:pt x="63" y="106"/>
                    </a:cubicBezTo>
                    <a:cubicBezTo>
                      <a:pt x="59" y="103"/>
                      <a:pt x="59" y="103"/>
                      <a:pt x="59" y="103"/>
                    </a:cubicBezTo>
                    <a:cubicBezTo>
                      <a:pt x="65" y="105"/>
                      <a:pt x="65" y="105"/>
                      <a:pt x="65" y="105"/>
                    </a:cubicBezTo>
                    <a:cubicBezTo>
                      <a:pt x="65" y="104"/>
                      <a:pt x="65" y="104"/>
                      <a:pt x="65" y="104"/>
                    </a:cubicBezTo>
                    <a:cubicBezTo>
                      <a:pt x="66" y="104"/>
                      <a:pt x="66" y="104"/>
                      <a:pt x="66" y="104"/>
                    </a:cubicBezTo>
                    <a:cubicBezTo>
                      <a:pt x="66" y="103"/>
                      <a:pt x="66" y="103"/>
                      <a:pt x="66" y="103"/>
                    </a:cubicBezTo>
                    <a:cubicBezTo>
                      <a:pt x="67" y="102"/>
                      <a:pt x="68" y="101"/>
                      <a:pt x="68" y="101"/>
                    </a:cubicBezTo>
                    <a:cubicBezTo>
                      <a:pt x="69" y="100"/>
                      <a:pt x="69" y="100"/>
                      <a:pt x="69" y="100"/>
                    </a:cubicBezTo>
                    <a:cubicBezTo>
                      <a:pt x="68" y="100"/>
                      <a:pt x="67" y="100"/>
                      <a:pt x="67" y="100"/>
                    </a:cubicBezTo>
                    <a:cubicBezTo>
                      <a:pt x="65" y="99"/>
                      <a:pt x="64" y="98"/>
                      <a:pt x="62" y="97"/>
                    </a:cubicBezTo>
                    <a:cubicBezTo>
                      <a:pt x="62" y="97"/>
                      <a:pt x="62" y="97"/>
                      <a:pt x="62" y="97"/>
                    </a:cubicBezTo>
                    <a:cubicBezTo>
                      <a:pt x="61" y="96"/>
                      <a:pt x="61" y="94"/>
                      <a:pt x="61" y="93"/>
                    </a:cubicBezTo>
                    <a:cubicBezTo>
                      <a:pt x="61" y="93"/>
                      <a:pt x="61" y="93"/>
                      <a:pt x="61" y="93"/>
                    </a:cubicBezTo>
                    <a:cubicBezTo>
                      <a:pt x="59" y="92"/>
                      <a:pt x="59" y="90"/>
                      <a:pt x="58" y="89"/>
                    </a:cubicBezTo>
                    <a:cubicBezTo>
                      <a:pt x="50" y="75"/>
                      <a:pt x="50" y="75"/>
                      <a:pt x="50" y="75"/>
                    </a:cubicBezTo>
                    <a:cubicBezTo>
                      <a:pt x="58" y="75"/>
                      <a:pt x="58" y="75"/>
                      <a:pt x="58" y="75"/>
                    </a:cubicBezTo>
                    <a:cubicBezTo>
                      <a:pt x="63" y="76"/>
                      <a:pt x="65" y="76"/>
                      <a:pt x="66" y="76"/>
                    </a:cubicBezTo>
                    <a:cubicBezTo>
                      <a:pt x="68" y="76"/>
                      <a:pt x="68" y="76"/>
                      <a:pt x="68" y="76"/>
                    </a:cubicBezTo>
                    <a:cubicBezTo>
                      <a:pt x="69" y="75"/>
                      <a:pt x="70" y="67"/>
                      <a:pt x="70" y="62"/>
                    </a:cubicBezTo>
                    <a:cubicBezTo>
                      <a:pt x="69" y="60"/>
                      <a:pt x="69" y="58"/>
                      <a:pt x="71" y="57"/>
                    </a:cubicBezTo>
                    <a:cubicBezTo>
                      <a:pt x="72" y="56"/>
                      <a:pt x="72" y="56"/>
                      <a:pt x="72" y="56"/>
                    </a:cubicBezTo>
                    <a:cubicBezTo>
                      <a:pt x="72" y="54"/>
                      <a:pt x="73" y="53"/>
                      <a:pt x="73" y="52"/>
                    </a:cubicBezTo>
                    <a:cubicBezTo>
                      <a:pt x="73" y="49"/>
                      <a:pt x="73" y="49"/>
                      <a:pt x="73" y="49"/>
                    </a:cubicBezTo>
                    <a:cubicBezTo>
                      <a:pt x="73" y="47"/>
                      <a:pt x="74" y="44"/>
                      <a:pt x="73" y="42"/>
                    </a:cubicBezTo>
                    <a:cubicBezTo>
                      <a:pt x="73" y="41"/>
                      <a:pt x="72" y="40"/>
                      <a:pt x="72" y="40"/>
                    </a:cubicBezTo>
                    <a:cubicBezTo>
                      <a:pt x="71" y="36"/>
                      <a:pt x="69" y="32"/>
                      <a:pt x="74" y="28"/>
                    </a:cubicBezTo>
                    <a:cubicBezTo>
                      <a:pt x="75" y="27"/>
                      <a:pt x="75" y="27"/>
                      <a:pt x="75" y="27"/>
                    </a:cubicBezTo>
                    <a:cubicBezTo>
                      <a:pt x="77" y="25"/>
                      <a:pt x="79" y="24"/>
                      <a:pt x="80" y="23"/>
                    </a:cubicBezTo>
                    <a:cubicBezTo>
                      <a:pt x="82" y="22"/>
                      <a:pt x="83" y="22"/>
                      <a:pt x="84" y="21"/>
                    </a:cubicBezTo>
                    <a:cubicBezTo>
                      <a:pt x="85" y="20"/>
                      <a:pt x="85" y="20"/>
                      <a:pt x="85" y="20"/>
                    </a:cubicBezTo>
                    <a:cubicBezTo>
                      <a:pt x="87" y="18"/>
                      <a:pt x="88" y="17"/>
                      <a:pt x="89" y="16"/>
                    </a:cubicBezTo>
                    <a:cubicBezTo>
                      <a:pt x="89" y="15"/>
                      <a:pt x="88" y="15"/>
                      <a:pt x="87" y="15"/>
                    </a:cubicBezTo>
                    <a:cubicBezTo>
                      <a:pt x="87" y="14"/>
                      <a:pt x="87" y="14"/>
                      <a:pt x="86" y="14"/>
                    </a:cubicBezTo>
                    <a:cubicBezTo>
                      <a:pt x="84" y="13"/>
                      <a:pt x="80" y="12"/>
                      <a:pt x="81" y="8"/>
                    </a:cubicBezTo>
                    <a:cubicBezTo>
                      <a:pt x="81" y="8"/>
                      <a:pt x="81" y="8"/>
                      <a:pt x="81" y="7"/>
                    </a:cubicBezTo>
                    <a:cubicBezTo>
                      <a:pt x="81" y="7"/>
                      <a:pt x="81" y="6"/>
                      <a:pt x="81" y="5"/>
                    </a:cubicBezTo>
                    <a:cubicBezTo>
                      <a:pt x="81" y="5"/>
                      <a:pt x="81" y="5"/>
                      <a:pt x="81" y="5"/>
                    </a:cubicBezTo>
                    <a:cubicBezTo>
                      <a:pt x="81" y="5"/>
                      <a:pt x="81" y="5"/>
                      <a:pt x="81" y="5"/>
                    </a:cubicBezTo>
                    <a:cubicBezTo>
                      <a:pt x="81" y="5"/>
                      <a:pt x="80" y="5"/>
                      <a:pt x="79" y="5"/>
                    </a:cubicBezTo>
                    <a:cubicBezTo>
                      <a:pt x="79" y="5"/>
                      <a:pt x="79" y="5"/>
                      <a:pt x="79" y="5"/>
                    </a:cubicBezTo>
                    <a:cubicBezTo>
                      <a:pt x="78" y="5"/>
                      <a:pt x="76" y="5"/>
                      <a:pt x="75" y="5"/>
                    </a:cubicBezTo>
                    <a:cubicBezTo>
                      <a:pt x="75" y="5"/>
                      <a:pt x="74" y="5"/>
                      <a:pt x="74" y="5"/>
                    </a:cubicBezTo>
                    <a:cubicBezTo>
                      <a:pt x="73" y="5"/>
                      <a:pt x="72" y="5"/>
                      <a:pt x="71" y="5"/>
                    </a:cubicBezTo>
                    <a:cubicBezTo>
                      <a:pt x="71" y="5"/>
                      <a:pt x="71" y="5"/>
                      <a:pt x="71" y="5"/>
                    </a:cubicBezTo>
                    <a:cubicBezTo>
                      <a:pt x="69" y="6"/>
                      <a:pt x="68" y="7"/>
                      <a:pt x="66" y="7"/>
                    </a:cubicBezTo>
                    <a:cubicBezTo>
                      <a:pt x="66" y="7"/>
                      <a:pt x="65" y="8"/>
                      <a:pt x="64" y="8"/>
                    </a:cubicBezTo>
                    <a:cubicBezTo>
                      <a:pt x="63" y="8"/>
                      <a:pt x="63" y="8"/>
                      <a:pt x="62" y="8"/>
                    </a:cubicBezTo>
                    <a:cubicBezTo>
                      <a:pt x="61" y="8"/>
                      <a:pt x="61" y="8"/>
                      <a:pt x="61" y="8"/>
                    </a:cubicBezTo>
                    <a:cubicBezTo>
                      <a:pt x="59" y="9"/>
                      <a:pt x="57" y="9"/>
                      <a:pt x="55" y="9"/>
                    </a:cubicBezTo>
                    <a:cubicBezTo>
                      <a:pt x="54" y="9"/>
                      <a:pt x="54" y="9"/>
                      <a:pt x="54" y="9"/>
                    </a:cubicBezTo>
                    <a:cubicBezTo>
                      <a:pt x="52" y="9"/>
                      <a:pt x="51" y="8"/>
                      <a:pt x="49" y="8"/>
                    </a:cubicBezTo>
                    <a:cubicBezTo>
                      <a:pt x="49" y="8"/>
                      <a:pt x="49" y="7"/>
                      <a:pt x="48" y="7"/>
                    </a:cubicBezTo>
                    <a:cubicBezTo>
                      <a:pt x="48" y="7"/>
                      <a:pt x="48" y="7"/>
                      <a:pt x="48" y="7"/>
                    </a:cubicBezTo>
                    <a:cubicBezTo>
                      <a:pt x="47" y="6"/>
                      <a:pt x="47" y="6"/>
                      <a:pt x="47" y="6"/>
                    </a:cubicBezTo>
                    <a:cubicBezTo>
                      <a:pt x="45" y="8"/>
                      <a:pt x="43" y="10"/>
                      <a:pt x="41" y="10"/>
                    </a:cubicBezTo>
                    <a:cubicBezTo>
                      <a:pt x="41" y="10"/>
                      <a:pt x="40" y="10"/>
                      <a:pt x="40" y="10"/>
                    </a:cubicBezTo>
                    <a:cubicBezTo>
                      <a:pt x="40" y="10"/>
                      <a:pt x="40" y="10"/>
                      <a:pt x="40" y="10"/>
                    </a:cubicBezTo>
                    <a:cubicBezTo>
                      <a:pt x="40" y="10"/>
                      <a:pt x="40" y="10"/>
                      <a:pt x="40" y="10"/>
                    </a:cubicBezTo>
                    <a:cubicBezTo>
                      <a:pt x="40" y="10"/>
                      <a:pt x="39" y="10"/>
                      <a:pt x="39" y="10"/>
                    </a:cubicBezTo>
                    <a:cubicBezTo>
                      <a:pt x="39" y="10"/>
                      <a:pt x="39" y="10"/>
                      <a:pt x="39" y="10"/>
                    </a:cubicBezTo>
                    <a:cubicBezTo>
                      <a:pt x="36" y="10"/>
                      <a:pt x="35" y="9"/>
                      <a:pt x="35" y="8"/>
                    </a:cubicBezTo>
                    <a:cubicBezTo>
                      <a:pt x="34" y="7"/>
                      <a:pt x="33" y="6"/>
                      <a:pt x="34" y="3"/>
                    </a:cubicBezTo>
                    <a:cubicBezTo>
                      <a:pt x="34" y="2"/>
                      <a:pt x="34"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7" name="Freeform 235">
                <a:extLst>
                  <a:ext uri="{FF2B5EF4-FFF2-40B4-BE49-F238E27FC236}">
                    <a16:creationId xmlns:a16="http://schemas.microsoft.com/office/drawing/2014/main" id="{597D9AE4-E2F0-4AE2-A54E-664EA4D35F3E}"/>
                  </a:ext>
                </a:extLst>
              </p:cNvPr>
              <p:cNvSpPr>
                <a:spLocks/>
              </p:cNvSpPr>
              <p:nvPr/>
            </p:nvSpPr>
            <p:spPr bwMode="auto">
              <a:xfrm>
                <a:off x="3581933" y="5420806"/>
                <a:ext cx="1838873" cy="1437195"/>
              </a:xfrm>
              <a:custGeom>
                <a:avLst/>
                <a:gdLst>
                  <a:gd name="T0" fmla="*/ 397 w 579"/>
                  <a:gd name="T1" fmla="*/ 13 h 453"/>
                  <a:gd name="T2" fmla="*/ 354 w 579"/>
                  <a:gd name="T3" fmla="*/ 6 h 453"/>
                  <a:gd name="T4" fmla="*/ 323 w 579"/>
                  <a:gd name="T5" fmla="*/ 11 h 453"/>
                  <a:gd name="T6" fmla="*/ 252 w 579"/>
                  <a:gd name="T7" fmla="*/ 30 h 453"/>
                  <a:gd name="T8" fmla="*/ 232 w 579"/>
                  <a:gd name="T9" fmla="*/ 38 h 453"/>
                  <a:gd name="T10" fmla="*/ 205 w 579"/>
                  <a:gd name="T11" fmla="*/ 57 h 453"/>
                  <a:gd name="T12" fmla="*/ 186 w 579"/>
                  <a:gd name="T13" fmla="*/ 64 h 453"/>
                  <a:gd name="T14" fmla="*/ 193 w 579"/>
                  <a:gd name="T15" fmla="*/ 70 h 453"/>
                  <a:gd name="T16" fmla="*/ 195 w 579"/>
                  <a:gd name="T17" fmla="*/ 79 h 453"/>
                  <a:gd name="T18" fmla="*/ 199 w 579"/>
                  <a:gd name="T19" fmla="*/ 94 h 453"/>
                  <a:gd name="T20" fmla="*/ 198 w 579"/>
                  <a:gd name="T21" fmla="*/ 109 h 453"/>
                  <a:gd name="T22" fmla="*/ 217 w 579"/>
                  <a:gd name="T23" fmla="*/ 147 h 453"/>
                  <a:gd name="T24" fmla="*/ 212 w 579"/>
                  <a:gd name="T25" fmla="*/ 162 h 453"/>
                  <a:gd name="T26" fmla="*/ 197 w 579"/>
                  <a:gd name="T27" fmla="*/ 163 h 453"/>
                  <a:gd name="T28" fmla="*/ 192 w 579"/>
                  <a:gd name="T29" fmla="*/ 162 h 453"/>
                  <a:gd name="T30" fmla="*/ 172 w 579"/>
                  <a:gd name="T31" fmla="*/ 162 h 453"/>
                  <a:gd name="T32" fmla="*/ 162 w 579"/>
                  <a:gd name="T33" fmla="*/ 166 h 453"/>
                  <a:gd name="T34" fmla="*/ 144 w 579"/>
                  <a:gd name="T35" fmla="*/ 176 h 453"/>
                  <a:gd name="T36" fmla="*/ 138 w 579"/>
                  <a:gd name="T37" fmla="*/ 175 h 453"/>
                  <a:gd name="T38" fmla="*/ 138 w 579"/>
                  <a:gd name="T39" fmla="*/ 177 h 453"/>
                  <a:gd name="T40" fmla="*/ 139 w 579"/>
                  <a:gd name="T41" fmla="*/ 185 h 453"/>
                  <a:gd name="T42" fmla="*/ 136 w 579"/>
                  <a:gd name="T43" fmla="*/ 201 h 453"/>
                  <a:gd name="T44" fmla="*/ 97 w 579"/>
                  <a:gd name="T45" fmla="*/ 224 h 453"/>
                  <a:gd name="T46" fmla="*/ 62 w 579"/>
                  <a:gd name="T47" fmla="*/ 234 h 453"/>
                  <a:gd name="T48" fmla="*/ 51 w 579"/>
                  <a:gd name="T49" fmla="*/ 241 h 453"/>
                  <a:gd name="T50" fmla="*/ 40 w 579"/>
                  <a:gd name="T51" fmla="*/ 244 h 453"/>
                  <a:gd name="T52" fmla="*/ 15 w 579"/>
                  <a:gd name="T53" fmla="*/ 257 h 453"/>
                  <a:gd name="T54" fmla="*/ 1 w 579"/>
                  <a:gd name="T55" fmla="*/ 266 h 453"/>
                  <a:gd name="T56" fmla="*/ 106 w 579"/>
                  <a:gd name="T57" fmla="*/ 375 h 453"/>
                  <a:gd name="T58" fmla="*/ 129 w 579"/>
                  <a:gd name="T59" fmla="*/ 390 h 453"/>
                  <a:gd name="T60" fmla="*/ 220 w 579"/>
                  <a:gd name="T61" fmla="*/ 453 h 453"/>
                  <a:gd name="T62" fmla="*/ 577 w 579"/>
                  <a:gd name="T63" fmla="*/ 418 h 453"/>
                  <a:gd name="T64" fmla="*/ 565 w 579"/>
                  <a:gd name="T65" fmla="*/ 401 h 453"/>
                  <a:gd name="T66" fmla="*/ 548 w 579"/>
                  <a:gd name="T67" fmla="*/ 396 h 453"/>
                  <a:gd name="T68" fmla="*/ 543 w 579"/>
                  <a:gd name="T69" fmla="*/ 397 h 453"/>
                  <a:gd name="T70" fmla="*/ 538 w 579"/>
                  <a:gd name="T71" fmla="*/ 397 h 453"/>
                  <a:gd name="T72" fmla="*/ 533 w 579"/>
                  <a:gd name="T73" fmla="*/ 393 h 453"/>
                  <a:gd name="T74" fmla="*/ 526 w 579"/>
                  <a:gd name="T75" fmla="*/ 383 h 453"/>
                  <a:gd name="T76" fmla="*/ 519 w 579"/>
                  <a:gd name="T77" fmla="*/ 361 h 453"/>
                  <a:gd name="T78" fmla="*/ 515 w 579"/>
                  <a:gd name="T79" fmla="*/ 356 h 453"/>
                  <a:gd name="T80" fmla="*/ 518 w 579"/>
                  <a:gd name="T81" fmla="*/ 331 h 453"/>
                  <a:gd name="T82" fmla="*/ 520 w 579"/>
                  <a:gd name="T83" fmla="*/ 328 h 453"/>
                  <a:gd name="T84" fmla="*/ 518 w 579"/>
                  <a:gd name="T85" fmla="*/ 313 h 453"/>
                  <a:gd name="T86" fmla="*/ 521 w 579"/>
                  <a:gd name="T87" fmla="*/ 297 h 453"/>
                  <a:gd name="T88" fmla="*/ 519 w 579"/>
                  <a:gd name="T89" fmla="*/ 266 h 453"/>
                  <a:gd name="T90" fmla="*/ 513 w 579"/>
                  <a:gd name="T91" fmla="*/ 237 h 453"/>
                  <a:gd name="T92" fmla="*/ 507 w 579"/>
                  <a:gd name="T93" fmla="*/ 217 h 453"/>
                  <a:gd name="T94" fmla="*/ 510 w 579"/>
                  <a:gd name="T95" fmla="*/ 216 h 453"/>
                  <a:gd name="T96" fmla="*/ 497 w 579"/>
                  <a:gd name="T97" fmla="*/ 163 h 453"/>
                  <a:gd name="T98" fmla="*/ 480 w 579"/>
                  <a:gd name="T99" fmla="*/ 150 h 453"/>
                  <a:gd name="T100" fmla="*/ 475 w 579"/>
                  <a:gd name="T101" fmla="*/ 136 h 453"/>
                  <a:gd name="T102" fmla="*/ 468 w 579"/>
                  <a:gd name="T103" fmla="*/ 128 h 453"/>
                  <a:gd name="T104" fmla="*/ 457 w 579"/>
                  <a:gd name="T105" fmla="*/ 91 h 453"/>
                  <a:gd name="T106" fmla="*/ 479 w 579"/>
                  <a:gd name="T107" fmla="*/ 56 h 453"/>
                  <a:gd name="T108" fmla="*/ 477 w 579"/>
                  <a:gd name="T109" fmla="*/ 47 h 453"/>
                  <a:gd name="T110" fmla="*/ 475 w 579"/>
                  <a:gd name="T111" fmla="*/ 22 h 453"/>
                  <a:gd name="T112" fmla="*/ 465 w 579"/>
                  <a:gd name="T113" fmla="*/ 6 h 453"/>
                  <a:gd name="T114" fmla="*/ 447 w 579"/>
                  <a:gd name="T115" fmla="*/ 2 h 453"/>
                  <a:gd name="T116" fmla="*/ 432 w 579"/>
                  <a:gd name="T117" fmla="*/ 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9" h="453">
                    <a:moveTo>
                      <a:pt x="424" y="0"/>
                    </a:moveTo>
                    <a:cubicBezTo>
                      <a:pt x="423" y="0"/>
                      <a:pt x="422" y="1"/>
                      <a:pt x="421" y="4"/>
                    </a:cubicBezTo>
                    <a:cubicBezTo>
                      <a:pt x="413" y="7"/>
                      <a:pt x="405" y="10"/>
                      <a:pt x="398" y="13"/>
                    </a:cubicBezTo>
                    <a:cubicBezTo>
                      <a:pt x="397" y="13"/>
                      <a:pt x="397" y="13"/>
                      <a:pt x="397" y="13"/>
                    </a:cubicBezTo>
                    <a:cubicBezTo>
                      <a:pt x="395" y="13"/>
                      <a:pt x="389" y="11"/>
                      <a:pt x="388" y="10"/>
                    </a:cubicBezTo>
                    <a:cubicBezTo>
                      <a:pt x="383" y="9"/>
                      <a:pt x="379" y="7"/>
                      <a:pt x="374" y="6"/>
                    </a:cubicBezTo>
                    <a:cubicBezTo>
                      <a:pt x="372" y="5"/>
                      <a:pt x="370" y="5"/>
                      <a:pt x="367" y="5"/>
                    </a:cubicBezTo>
                    <a:cubicBezTo>
                      <a:pt x="363" y="5"/>
                      <a:pt x="358" y="5"/>
                      <a:pt x="354" y="6"/>
                    </a:cubicBezTo>
                    <a:cubicBezTo>
                      <a:pt x="349" y="7"/>
                      <a:pt x="343" y="9"/>
                      <a:pt x="338" y="10"/>
                    </a:cubicBezTo>
                    <a:cubicBezTo>
                      <a:pt x="333" y="10"/>
                      <a:pt x="333" y="10"/>
                      <a:pt x="333" y="10"/>
                    </a:cubicBezTo>
                    <a:cubicBezTo>
                      <a:pt x="328" y="8"/>
                      <a:pt x="328" y="8"/>
                      <a:pt x="328" y="8"/>
                    </a:cubicBezTo>
                    <a:cubicBezTo>
                      <a:pt x="323" y="11"/>
                      <a:pt x="323" y="11"/>
                      <a:pt x="323" y="11"/>
                    </a:cubicBezTo>
                    <a:cubicBezTo>
                      <a:pt x="320" y="13"/>
                      <a:pt x="317" y="15"/>
                      <a:pt x="315" y="15"/>
                    </a:cubicBezTo>
                    <a:cubicBezTo>
                      <a:pt x="310" y="16"/>
                      <a:pt x="304" y="16"/>
                      <a:pt x="299" y="16"/>
                    </a:cubicBezTo>
                    <a:cubicBezTo>
                      <a:pt x="290" y="17"/>
                      <a:pt x="282" y="19"/>
                      <a:pt x="274" y="21"/>
                    </a:cubicBezTo>
                    <a:cubicBezTo>
                      <a:pt x="266" y="23"/>
                      <a:pt x="258" y="25"/>
                      <a:pt x="252" y="30"/>
                    </a:cubicBezTo>
                    <a:cubicBezTo>
                      <a:pt x="248" y="33"/>
                      <a:pt x="245" y="37"/>
                      <a:pt x="242" y="40"/>
                    </a:cubicBezTo>
                    <a:cubicBezTo>
                      <a:pt x="241" y="41"/>
                      <a:pt x="240" y="41"/>
                      <a:pt x="239" y="41"/>
                    </a:cubicBezTo>
                    <a:cubicBezTo>
                      <a:pt x="238" y="41"/>
                      <a:pt x="236" y="39"/>
                      <a:pt x="233" y="38"/>
                    </a:cubicBezTo>
                    <a:cubicBezTo>
                      <a:pt x="233" y="38"/>
                      <a:pt x="232" y="38"/>
                      <a:pt x="232" y="38"/>
                    </a:cubicBezTo>
                    <a:cubicBezTo>
                      <a:pt x="231" y="38"/>
                      <a:pt x="230" y="39"/>
                      <a:pt x="230" y="39"/>
                    </a:cubicBezTo>
                    <a:cubicBezTo>
                      <a:pt x="227" y="40"/>
                      <a:pt x="225" y="41"/>
                      <a:pt x="222" y="42"/>
                    </a:cubicBezTo>
                    <a:cubicBezTo>
                      <a:pt x="219" y="43"/>
                      <a:pt x="214" y="45"/>
                      <a:pt x="212" y="47"/>
                    </a:cubicBezTo>
                    <a:cubicBezTo>
                      <a:pt x="209" y="49"/>
                      <a:pt x="208" y="54"/>
                      <a:pt x="205" y="57"/>
                    </a:cubicBezTo>
                    <a:cubicBezTo>
                      <a:pt x="201" y="59"/>
                      <a:pt x="195" y="59"/>
                      <a:pt x="192" y="61"/>
                    </a:cubicBezTo>
                    <a:cubicBezTo>
                      <a:pt x="189" y="61"/>
                      <a:pt x="187" y="62"/>
                      <a:pt x="184" y="63"/>
                    </a:cubicBezTo>
                    <a:cubicBezTo>
                      <a:pt x="185" y="63"/>
                      <a:pt x="185" y="63"/>
                      <a:pt x="185" y="63"/>
                    </a:cubicBezTo>
                    <a:cubicBezTo>
                      <a:pt x="186" y="64"/>
                      <a:pt x="186" y="64"/>
                      <a:pt x="186" y="64"/>
                    </a:cubicBezTo>
                    <a:cubicBezTo>
                      <a:pt x="187" y="65"/>
                      <a:pt x="188" y="66"/>
                      <a:pt x="188" y="67"/>
                    </a:cubicBezTo>
                    <a:cubicBezTo>
                      <a:pt x="190" y="68"/>
                      <a:pt x="190" y="68"/>
                      <a:pt x="190" y="68"/>
                    </a:cubicBezTo>
                    <a:cubicBezTo>
                      <a:pt x="190" y="68"/>
                      <a:pt x="191" y="69"/>
                      <a:pt x="191" y="69"/>
                    </a:cubicBezTo>
                    <a:cubicBezTo>
                      <a:pt x="193" y="70"/>
                      <a:pt x="193" y="70"/>
                      <a:pt x="193" y="70"/>
                    </a:cubicBezTo>
                    <a:cubicBezTo>
                      <a:pt x="194" y="71"/>
                      <a:pt x="196" y="72"/>
                      <a:pt x="197" y="73"/>
                    </a:cubicBezTo>
                    <a:cubicBezTo>
                      <a:pt x="197" y="74"/>
                      <a:pt x="197" y="74"/>
                      <a:pt x="197" y="74"/>
                    </a:cubicBezTo>
                    <a:cubicBezTo>
                      <a:pt x="197" y="75"/>
                      <a:pt x="197" y="75"/>
                      <a:pt x="197" y="75"/>
                    </a:cubicBezTo>
                    <a:cubicBezTo>
                      <a:pt x="197" y="77"/>
                      <a:pt x="196" y="78"/>
                      <a:pt x="195" y="79"/>
                    </a:cubicBezTo>
                    <a:cubicBezTo>
                      <a:pt x="196" y="79"/>
                      <a:pt x="196" y="80"/>
                      <a:pt x="197" y="80"/>
                    </a:cubicBezTo>
                    <a:cubicBezTo>
                      <a:pt x="200" y="83"/>
                      <a:pt x="198" y="86"/>
                      <a:pt x="198" y="87"/>
                    </a:cubicBezTo>
                    <a:cubicBezTo>
                      <a:pt x="197" y="88"/>
                      <a:pt x="197" y="88"/>
                      <a:pt x="197" y="88"/>
                    </a:cubicBezTo>
                    <a:cubicBezTo>
                      <a:pt x="199" y="94"/>
                      <a:pt x="199" y="94"/>
                      <a:pt x="199" y="94"/>
                    </a:cubicBezTo>
                    <a:cubicBezTo>
                      <a:pt x="200" y="97"/>
                      <a:pt x="199" y="101"/>
                      <a:pt x="198" y="105"/>
                    </a:cubicBezTo>
                    <a:cubicBezTo>
                      <a:pt x="198" y="106"/>
                      <a:pt x="198" y="106"/>
                      <a:pt x="198" y="106"/>
                    </a:cubicBezTo>
                    <a:cubicBezTo>
                      <a:pt x="198" y="106"/>
                      <a:pt x="198" y="107"/>
                      <a:pt x="198" y="108"/>
                    </a:cubicBezTo>
                    <a:cubicBezTo>
                      <a:pt x="198" y="108"/>
                      <a:pt x="198" y="109"/>
                      <a:pt x="198" y="109"/>
                    </a:cubicBezTo>
                    <a:cubicBezTo>
                      <a:pt x="209" y="137"/>
                      <a:pt x="209" y="137"/>
                      <a:pt x="209" y="137"/>
                    </a:cubicBezTo>
                    <a:cubicBezTo>
                      <a:pt x="209" y="138"/>
                      <a:pt x="210" y="139"/>
                      <a:pt x="211" y="140"/>
                    </a:cubicBezTo>
                    <a:cubicBezTo>
                      <a:pt x="213" y="141"/>
                      <a:pt x="213" y="141"/>
                      <a:pt x="213" y="141"/>
                    </a:cubicBezTo>
                    <a:cubicBezTo>
                      <a:pt x="215" y="142"/>
                      <a:pt x="217" y="143"/>
                      <a:pt x="217" y="147"/>
                    </a:cubicBezTo>
                    <a:cubicBezTo>
                      <a:pt x="217" y="150"/>
                      <a:pt x="215" y="152"/>
                      <a:pt x="213" y="153"/>
                    </a:cubicBezTo>
                    <a:cubicBezTo>
                      <a:pt x="212" y="155"/>
                      <a:pt x="212" y="155"/>
                      <a:pt x="212" y="155"/>
                    </a:cubicBezTo>
                    <a:cubicBezTo>
                      <a:pt x="213" y="156"/>
                      <a:pt x="214" y="157"/>
                      <a:pt x="213" y="159"/>
                    </a:cubicBezTo>
                    <a:cubicBezTo>
                      <a:pt x="213" y="160"/>
                      <a:pt x="212" y="161"/>
                      <a:pt x="212" y="162"/>
                    </a:cubicBezTo>
                    <a:cubicBezTo>
                      <a:pt x="210" y="163"/>
                      <a:pt x="209" y="163"/>
                      <a:pt x="207" y="163"/>
                    </a:cubicBezTo>
                    <a:cubicBezTo>
                      <a:pt x="207" y="163"/>
                      <a:pt x="206" y="163"/>
                      <a:pt x="206" y="163"/>
                    </a:cubicBezTo>
                    <a:cubicBezTo>
                      <a:pt x="205" y="163"/>
                      <a:pt x="204" y="163"/>
                      <a:pt x="204" y="163"/>
                    </a:cubicBezTo>
                    <a:cubicBezTo>
                      <a:pt x="202" y="163"/>
                      <a:pt x="199" y="163"/>
                      <a:pt x="197" y="163"/>
                    </a:cubicBezTo>
                    <a:cubicBezTo>
                      <a:pt x="197" y="161"/>
                      <a:pt x="197" y="161"/>
                      <a:pt x="197" y="161"/>
                    </a:cubicBezTo>
                    <a:cubicBezTo>
                      <a:pt x="197" y="161"/>
                      <a:pt x="197" y="161"/>
                      <a:pt x="197" y="161"/>
                    </a:cubicBezTo>
                    <a:cubicBezTo>
                      <a:pt x="196" y="163"/>
                      <a:pt x="196" y="163"/>
                      <a:pt x="196" y="163"/>
                    </a:cubicBezTo>
                    <a:cubicBezTo>
                      <a:pt x="195" y="162"/>
                      <a:pt x="193" y="162"/>
                      <a:pt x="192" y="162"/>
                    </a:cubicBezTo>
                    <a:cubicBezTo>
                      <a:pt x="189" y="162"/>
                      <a:pt x="186" y="162"/>
                      <a:pt x="183" y="161"/>
                    </a:cubicBezTo>
                    <a:cubicBezTo>
                      <a:pt x="182" y="161"/>
                      <a:pt x="182" y="161"/>
                      <a:pt x="182" y="161"/>
                    </a:cubicBezTo>
                    <a:cubicBezTo>
                      <a:pt x="180" y="161"/>
                      <a:pt x="179" y="161"/>
                      <a:pt x="178" y="161"/>
                    </a:cubicBezTo>
                    <a:cubicBezTo>
                      <a:pt x="176" y="161"/>
                      <a:pt x="174" y="161"/>
                      <a:pt x="172" y="162"/>
                    </a:cubicBezTo>
                    <a:cubicBezTo>
                      <a:pt x="171" y="162"/>
                      <a:pt x="170" y="162"/>
                      <a:pt x="169" y="162"/>
                    </a:cubicBezTo>
                    <a:cubicBezTo>
                      <a:pt x="169" y="162"/>
                      <a:pt x="169" y="162"/>
                      <a:pt x="169" y="162"/>
                    </a:cubicBezTo>
                    <a:cubicBezTo>
                      <a:pt x="168" y="162"/>
                      <a:pt x="167" y="162"/>
                      <a:pt x="166" y="163"/>
                    </a:cubicBezTo>
                    <a:cubicBezTo>
                      <a:pt x="164" y="163"/>
                      <a:pt x="163" y="164"/>
                      <a:pt x="162" y="166"/>
                    </a:cubicBezTo>
                    <a:cubicBezTo>
                      <a:pt x="161" y="168"/>
                      <a:pt x="159" y="171"/>
                      <a:pt x="156" y="172"/>
                    </a:cubicBezTo>
                    <a:cubicBezTo>
                      <a:pt x="156" y="172"/>
                      <a:pt x="155" y="173"/>
                      <a:pt x="154" y="173"/>
                    </a:cubicBezTo>
                    <a:cubicBezTo>
                      <a:pt x="153" y="173"/>
                      <a:pt x="153" y="173"/>
                      <a:pt x="153" y="173"/>
                    </a:cubicBezTo>
                    <a:cubicBezTo>
                      <a:pt x="150" y="174"/>
                      <a:pt x="147" y="176"/>
                      <a:pt x="144" y="176"/>
                    </a:cubicBezTo>
                    <a:cubicBezTo>
                      <a:pt x="144" y="176"/>
                      <a:pt x="144" y="176"/>
                      <a:pt x="143" y="176"/>
                    </a:cubicBezTo>
                    <a:cubicBezTo>
                      <a:pt x="143" y="176"/>
                      <a:pt x="143" y="176"/>
                      <a:pt x="142" y="176"/>
                    </a:cubicBezTo>
                    <a:cubicBezTo>
                      <a:pt x="141" y="176"/>
                      <a:pt x="140" y="176"/>
                      <a:pt x="139" y="175"/>
                    </a:cubicBezTo>
                    <a:cubicBezTo>
                      <a:pt x="138" y="175"/>
                      <a:pt x="138" y="175"/>
                      <a:pt x="138" y="175"/>
                    </a:cubicBezTo>
                    <a:cubicBezTo>
                      <a:pt x="137" y="175"/>
                      <a:pt x="137" y="175"/>
                      <a:pt x="137" y="175"/>
                    </a:cubicBezTo>
                    <a:cubicBezTo>
                      <a:pt x="137" y="176"/>
                      <a:pt x="137" y="176"/>
                      <a:pt x="137" y="176"/>
                    </a:cubicBezTo>
                    <a:cubicBezTo>
                      <a:pt x="137" y="176"/>
                      <a:pt x="138" y="176"/>
                      <a:pt x="138" y="177"/>
                    </a:cubicBezTo>
                    <a:cubicBezTo>
                      <a:pt x="138" y="177"/>
                      <a:pt x="138" y="177"/>
                      <a:pt x="138" y="177"/>
                    </a:cubicBezTo>
                    <a:cubicBezTo>
                      <a:pt x="138" y="177"/>
                      <a:pt x="138" y="177"/>
                      <a:pt x="138" y="177"/>
                    </a:cubicBezTo>
                    <a:cubicBezTo>
                      <a:pt x="139" y="178"/>
                      <a:pt x="140" y="179"/>
                      <a:pt x="140" y="179"/>
                    </a:cubicBezTo>
                    <a:cubicBezTo>
                      <a:pt x="141" y="180"/>
                      <a:pt x="141" y="182"/>
                      <a:pt x="140" y="184"/>
                    </a:cubicBezTo>
                    <a:cubicBezTo>
                      <a:pt x="140" y="184"/>
                      <a:pt x="139" y="185"/>
                      <a:pt x="139" y="185"/>
                    </a:cubicBezTo>
                    <a:cubicBezTo>
                      <a:pt x="140" y="185"/>
                      <a:pt x="141" y="186"/>
                      <a:pt x="141" y="186"/>
                    </a:cubicBezTo>
                    <a:cubicBezTo>
                      <a:pt x="142" y="187"/>
                      <a:pt x="144" y="189"/>
                      <a:pt x="144" y="191"/>
                    </a:cubicBezTo>
                    <a:cubicBezTo>
                      <a:pt x="146" y="197"/>
                      <a:pt x="140" y="199"/>
                      <a:pt x="137" y="200"/>
                    </a:cubicBezTo>
                    <a:cubicBezTo>
                      <a:pt x="137" y="200"/>
                      <a:pt x="136" y="200"/>
                      <a:pt x="136" y="201"/>
                    </a:cubicBezTo>
                    <a:cubicBezTo>
                      <a:pt x="106" y="214"/>
                      <a:pt x="106" y="214"/>
                      <a:pt x="106" y="214"/>
                    </a:cubicBezTo>
                    <a:cubicBezTo>
                      <a:pt x="104" y="215"/>
                      <a:pt x="103" y="217"/>
                      <a:pt x="101" y="218"/>
                    </a:cubicBezTo>
                    <a:cubicBezTo>
                      <a:pt x="101" y="220"/>
                      <a:pt x="100" y="221"/>
                      <a:pt x="99" y="222"/>
                    </a:cubicBezTo>
                    <a:cubicBezTo>
                      <a:pt x="97" y="224"/>
                      <a:pt x="97" y="224"/>
                      <a:pt x="97" y="224"/>
                    </a:cubicBezTo>
                    <a:cubicBezTo>
                      <a:pt x="96" y="225"/>
                      <a:pt x="95" y="226"/>
                      <a:pt x="94" y="227"/>
                    </a:cubicBezTo>
                    <a:cubicBezTo>
                      <a:pt x="92" y="229"/>
                      <a:pt x="90" y="230"/>
                      <a:pt x="88" y="231"/>
                    </a:cubicBezTo>
                    <a:cubicBezTo>
                      <a:pt x="84" y="232"/>
                      <a:pt x="74" y="235"/>
                      <a:pt x="66" y="235"/>
                    </a:cubicBezTo>
                    <a:cubicBezTo>
                      <a:pt x="65" y="235"/>
                      <a:pt x="63" y="235"/>
                      <a:pt x="62" y="234"/>
                    </a:cubicBezTo>
                    <a:cubicBezTo>
                      <a:pt x="61" y="237"/>
                      <a:pt x="59" y="241"/>
                      <a:pt x="55" y="242"/>
                    </a:cubicBezTo>
                    <a:cubicBezTo>
                      <a:pt x="55" y="242"/>
                      <a:pt x="55" y="242"/>
                      <a:pt x="54" y="242"/>
                    </a:cubicBezTo>
                    <a:cubicBezTo>
                      <a:pt x="54" y="242"/>
                      <a:pt x="53" y="242"/>
                      <a:pt x="53" y="242"/>
                    </a:cubicBezTo>
                    <a:cubicBezTo>
                      <a:pt x="52" y="242"/>
                      <a:pt x="51" y="241"/>
                      <a:pt x="51" y="241"/>
                    </a:cubicBezTo>
                    <a:cubicBezTo>
                      <a:pt x="50" y="241"/>
                      <a:pt x="50" y="241"/>
                      <a:pt x="50" y="241"/>
                    </a:cubicBezTo>
                    <a:cubicBezTo>
                      <a:pt x="50" y="241"/>
                      <a:pt x="50" y="241"/>
                      <a:pt x="50" y="241"/>
                    </a:cubicBezTo>
                    <a:cubicBezTo>
                      <a:pt x="48" y="242"/>
                      <a:pt x="46" y="242"/>
                      <a:pt x="44" y="243"/>
                    </a:cubicBezTo>
                    <a:cubicBezTo>
                      <a:pt x="40" y="244"/>
                      <a:pt x="40" y="244"/>
                      <a:pt x="40" y="244"/>
                    </a:cubicBezTo>
                    <a:cubicBezTo>
                      <a:pt x="38" y="244"/>
                      <a:pt x="37" y="245"/>
                      <a:pt x="35" y="245"/>
                    </a:cubicBezTo>
                    <a:cubicBezTo>
                      <a:pt x="33" y="246"/>
                      <a:pt x="31" y="246"/>
                      <a:pt x="28" y="247"/>
                    </a:cubicBezTo>
                    <a:cubicBezTo>
                      <a:pt x="27" y="248"/>
                      <a:pt x="26" y="249"/>
                      <a:pt x="25" y="249"/>
                    </a:cubicBezTo>
                    <a:cubicBezTo>
                      <a:pt x="22" y="252"/>
                      <a:pt x="18" y="255"/>
                      <a:pt x="15" y="257"/>
                    </a:cubicBezTo>
                    <a:cubicBezTo>
                      <a:pt x="11" y="259"/>
                      <a:pt x="11" y="259"/>
                      <a:pt x="11" y="259"/>
                    </a:cubicBezTo>
                    <a:cubicBezTo>
                      <a:pt x="10" y="260"/>
                      <a:pt x="9" y="260"/>
                      <a:pt x="8" y="261"/>
                    </a:cubicBezTo>
                    <a:cubicBezTo>
                      <a:pt x="6" y="263"/>
                      <a:pt x="6" y="263"/>
                      <a:pt x="6" y="263"/>
                    </a:cubicBezTo>
                    <a:cubicBezTo>
                      <a:pt x="4" y="264"/>
                      <a:pt x="3" y="265"/>
                      <a:pt x="1" y="266"/>
                    </a:cubicBezTo>
                    <a:cubicBezTo>
                      <a:pt x="1" y="266"/>
                      <a:pt x="1" y="267"/>
                      <a:pt x="0" y="267"/>
                    </a:cubicBezTo>
                    <a:cubicBezTo>
                      <a:pt x="0" y="293"/>
                      <a:pt x="0" y="293"/>
                      <a:pt x="0" y="293"/>
                    </a:cubicBezTo>
                    <a:cubicBezTo>
                      <a:pt x="1" y="307"/>
                      <a:pt x="1" y="307"/>
                      <a:pt x="1" y="307"/>
                    </a:cubicBezTo>
                    <a:cubicBezTo>
                      <a:pt x="40" y="331"/>
                      <a:pt x="74" y="354"/>
                      <a:pt x="106" y="375"/>
                    </a:cubicBezTo>
                    <a:cubicBezTo>
                      <a:pt x="107" y="375"/>
                      <a:pt x="107" y="375"/>
                      <a:pt x="107" y="375"/>
                    </a:cubicBezTo>
                    <a:cubicBezTo>
                      <a:pt x="126" y="382"/>
                      <a:pt x="126" y="382"/>
                      <a:pt x="126" y="382"/>
                    </a:cubicBezTo>
                    <a:cubicBezTo>
                      <a:pt x="117" y="382"/>
                      <a:pt x="117" y="382"/>
                      <a:pt x="117" y="382"/>
                    </a:cubicBezTo>
                    <a:cubicBezTo>
                      <a:pt x="129" y="390"/>
                      <a:pt x="129" y="390"/>
                      <a:pt x="129" y="390"/>
                    </a:cubicBezTo>
                    <a:cubicBezTo>
                      <a:pt x="129" y="390"/>
                      <a:pt x="129" y="390"/>
                      <a:pt x="129" y="390"/>
                    </a:cubicBezTo>
                    <a:cubicBezTo>
                      <a:pt x="136" y="395"/>
                      <a:pt x="145" y="401"/>
                      <a:pt x="153" y="406"/>
                    </a:cubicBezTo>
                    <a:cubicBezTo>
                      <a:pt x="166" y="416"/>
                      <a:pt x="180" y="425"/>
                      <a:pt x="193" y="434"/>
                    </a:cubicBezTo>
                    <a:cubicBezTo>
                      <a:pt x="201" y="440"/>
                      <a:pt x="210" y="447"/>
                      <a:pt x="220" y="453"/>
                    </a:cubicBezTo>
                    <a:cubicBezTo>
                      <a:pt x="528" y="453"/>
                      <a:pt x="528" y="453"/>
                      <a:pt x="528" y="453"/>
                    </a:cubicBezTo>
                    <a:cubicBezTo>
                      <a:pt x="579" y="422"/>
                      <a:pt x="579" y="422"/>
                      <a:pt x="579" y="422"/>
                    </a:cubicBezTo>
                    <a:cubicBezTo>
                      <a:pt x="578" y="421"/>
                      <a:pt x="578" y="420"/>
                      <a:pt x="577" y="419"/>
                    </a:cubicBezTo>
                    <a:cubicBezTo>
                      <a:pt x="577" y="418"/>
                      <a:pt x="577" y="418"/>
                      <a:pt x="577" y="418"/>
                    </a:cubicBezTo>
                    <a:cubicBezTo>
                      <a:pt x="576" y="417"/>
                      <a:pt x="575" y="415"/>
                      <a:pt x="575" y="414"/>
                    </a:cubicBezTo>
                    <a:cubicBezTo>
                      <a:pt x="574" y="412"/>
                      <a:pt x="573" y="410"/>
                      <a:pt x="572" y="408"/>
                    </a:cubicBezTo>
                    <a:cubicBezTo>
                      <a:pt x="571" y="407"/>
                      <a:pt x="571" y="407"/>
                      <a:pt x="570" y="406"/>
                    </a:cubicBezTo>
                    <a:cubicBezTo>
                      <a:pt x="569" y="403"/>
                      <a:pt x="568" y="402"/>
                      <a:pt x="565" y="401"/>
                    </a:cubicBezTo>
                    <a:cubicBezTo>
                      <a:pt x="559" y="399"/>
                      <a:pt x="559" y="399"/>
                      <a:pt x="559" y="399"/>
                    </a:cubicBezTo>
                    <a:cubicBezTo>
                      <a:pt x="557" y="398"/>
                      <a:pt x="554" y="398"/>
                      <a:pt x="552" y="397"/>
                    </a:cubicBezTo>
                    <a:cubicBezTo>
                      <a:pt x="550" y="396"/>
                      <a:pt x="549" y="396"/>
                      <a:pt x="548" y="396"/>
                    </a:cubicBezTo>
                    <a:cubicBezTo>
                      <a:pt x="548" y="396"/>
                      <a:pt x="548" y="396"/>
                      <a:pt x="548" y="396"/>
                    </a:cubicBezTo>
                    <a:cubicBezTo>
                      <a:pt x="548" y="396"/>
                      <a:pt x="548" y="396"/>
                      <a:pt x="548" y="396"/>
                    </a:cubicBezTo>
                    <a:cubicBezTo>
                      <a:pt x="547" y="396"/>
                      <a:pt x="546" y="396"/>
                      <a:pt x="544" y="397"/>
                    </a:cubicBezTo>
                    <a:cubicBezTo>
                      <a:pt x="543" y="397"/>
                      <a:pt x="543" y="397"/>
                      <a:pt x="543" y="397"/>
                    </a:cubicBezTo>
                    <a:cubicBezTo>
                      <a:pt x="543" y="397"/>
                      <a:pt x="543" y="397"/>
                      <a:pt x="543" y="397"/>
                    </a:cubicBezTo>
                    <a:cubicBezTo>
                      <a:pt x="543" y="404"/>
                      <a:pt x="543" y="404"/>
                      <a:pt x="543" y="404"/>
                    </a:cubicBezTo>
                    <a:cubicBezTo>
                      <a:pt x="541" y="397"/>
                      <a:pt x="541" y="397"/>
                      <a:pt x="541" y="397"/>
                    </a:cubicBezTo>
                    <a:cubicBezTo>
                      <a:pt x="540" y="397"/>
                      <a:pt x="540" y="397"/>
                      <a:pt x="540" y="397"/>
                    </a:cubicBezTo>
                    <a:cubicBezTo>
                      <a:pt x="539" y="397"/>
                      <a:pt x="539" y="397"/>
                      <a:pt x="538" y="397"/>
                    </a:cubicBezTo>
                    <a:cubicBezTo>
                      <a:pt x="537" y="396"/>
                      <a:pt x="537" y="396"/>
                      <a:pt x="537" y="396"/>
                    </a:cubicBezTo>
                    <a:cubicBezTo>
                      <a:pt x="536" y="396"/>
                      <a:pt x="535" y="395"/>
                      <a:pt x="534" y="394"/>
                    </a:cubicBezTo>
                    <a:cubicBezTo>
                      <a:pt x="534" y="394"/>
                      <a:pt x="534" y="394"/>
                      <a:pt x="534" y="394"/>
                    </a:cubicBezTo>
                    <a:cubicBezTo>
                      <a:pt x="533" y="393"/>
                      <a:pt x="533" y="393"/>
                      <a:pt x="533" y="393"/>
                    </a:cubicBezTo>
                    <a:cubicBezTo>
                      <a:pt x="531" y="391"/>
                      <a:pt x="529" y="389"/>
                      <a:pt x="528" y="387"/>
                    </a:cubicBezTo>
                    <a:cubicBezTo>
                      <a:pt x="527" y="386"/>
                      <a:pt x="527" y="385"/>
                      <a:pt x="526" y="384"/>
                    </a:cubicBezTo>
                    <a:cubicBezTo>
                      <a:pt x="526" y="384"/>
                      <a:pt x="526" y="383"/>
                      <a:pt x="526" y="383"/>
                    </a:cubicBezTo>
                    <a:cubicBezTo>
                      <a:pt x="526" y="383"/>
                      <a:pt x="526" y="383"/>
                      <a:pt x="526" y="383"/>
                    </a:cubicBezTo>
                    <a:cubicBezTo>
                      <a:pt x="526" y="382"/>
                      <a:pt x="526" y="382"/>
                      <a:pt x="526" y="382"/>
                    </a:cubicBezTo>
                    <a:cubicBezTo>
                      <a:pt x="525" y="380"/>
                      <a:pt x="525" y="377"/>
                      <a:pt x="524" y="375"/>
                    </a:cubicBezTo>
                    <a:cubicBezTo>
                      <a:pt x="523" y="371"/>
                      <a:pt x="523" y="367"/>
                      <a:pt x="521" y="364"/>
                    </a:cubicBezTo>
                    <a:cubicBezTo>
                      <a:pt x="521" y="363"/>
                      <a:pt x="520" y="362"/>
                      <a:pt x="519" y="361"/>
                    </a:cubicBezTo>
                    <a:cubicBezTo>
                      <a:pt x="518" y="360"/>
                      <a:pt x="518" y="360"/>
                      <a:pt x="518" y="360"/>
                    </a:cubicBezTo>
                    <a:cubicBezTo>
                      <a:pt x="518" y="360"/>
                      <a:pt x="518" y="359"/>
                      <a:pt x="517" y="359"/>
                    </a:cubicBezTo>
                    <a:cubicBezTo>
                      <a:pt x="517" y="358"/>
                      <a:pt x="517" y="358"/>
                      <a:pt x="517" y="358"/>
                    </a:cubicBezTo>
                    <a:cubicBezTo>
                      <a:pt x="516" y="358"/>
                      <a:pt x="516" y="357"/>
                      <a:pt x="515" y="356"/>
                    </a:cubicBezTo>
                    <a:cubicBezTo>
                      <a:pt x="511" y="351"/>
                      <a:pt x="508" y="347"/>
                      <a:pt x="508" y="344"/>
                    </a:cubicBezTo>
                    <a:cubicBezTo>
                      <a:pt x="507" y="341"/>
                      <a:pt x="508" y="339"/>
                      <a:pt x="512" y="336"/>
                    </a:cubicBezTo>
                    <a:cubicBezTo>
                      <a:pt x="512" y="335"/>
                      <a:pt x="514" y="333"/>
                      <a:pt x="515" y="333"/>
                    </a:cubicBezTo>
                    <a:cubicBezTo>
                      <a:pt x="516" y="332"/>
                      <a:pt x="517" y="331"/>
                      <a:pt x="518" y="331"/>
                    </a:cubicBezTo>
                    <a:cubicBezTo>
                      <a:pt x="519" y="331"/>
                      <a:pt x="519" y="331"/>
                      <a:pt x="519" y="331"/>
                    </a:cubicBezTo>
                    <a:cubicBezTo>
                      <a:pt x="519" y="330"/>
                      <a:pt x="520" y="330"/>
                      <a:pt x="520" y="330"/>
                    </a:cubicBezTo>
                    <a:cubicBezTo>
                      <a:pt x="520" y="330"/>
                      <a:pt x="520" y="329"/>
                      <a:pt x="520" y="329"/>
                    </a:cubicBezTo>
                    <a:cubicBezTo>
                      <a:pt x="520" y="328"/>
                      <a:pt x="520" y="328"/>
                      <a:pt x="520" y="328"/>
                    </a:cubicBezTo>
                    <a:cubicBezTo>
                      <a:pt x="519" y="325"/>
                      <a:pt x="519" y="322"/>
                      <a:pt x="519" y="319"/>
                    </a:cubicBezTo>
                    <a:cubicBezTo>
                      <a:pt x="518" y="317"/>
                      <a:pt x="518" y="317"/>
                      <a:pt x="518" y="317"/>
                    </a:cubicBezTo>
                    <a:cubicBezTo>
                      <a:pt x="518" y="316"/>
                      <a:pt x="518" y="315"/>
                      <a:pt x="518" y="315"/>
                    </a:cubicBezTo>
                    <a:cubicBezTo>
                      <a:pt x="518" y="314"/>
                      <a:pt x="518" y="314"/>
                      <a:pt x="518" y="313"/>
                    </a:cubicBezTo>
                    <a:cubicBezTo>
                      <a:pt x="517" y="312"/>
                      <a:pt x="517" y="311"/>
                      <a:pt x="517" y="309"/>
                    </a:cubicBezTo>
                    <a:cubicBezTo>
                      <a:pt x="516" y="306"/>
                      <a:pt x="518" y="303"/>
                      <a:pt x="519" y="301"/>
                    </a:cubicBezTo>
                    <a:cubicBezTo>
                      <a:pt x="519" y="300"/>
                      <a:pt x="519" y="299"/>
                      <a:pt x="520" y="299"/>
                    </a:cubicBezTo>
                    <a:cubicBezTo>
                      <a:pt x="520" y="298"/>
                      <a:pt x="520" y="297"/>
                      <a:pt x="521" y="297"/>
                    </a:cubicBezTo>
                    <a:cubicBezTo>
                      <a:pt x="522" y="294"/>
                      <a:pt x="522" y="293"/>
                      <a:pt x="522" y="291"/>
                    </a:cubicBezTo>
                    <a:cubicBezTo>
                      <a:pt x="520" y="286"/>
                      <a:pt x="520" y="286"/>
                      <a:pt x="520" y="286"/>
                    </a:cubicBezTo>
                    <a:cubicBezTo>
                      <a:pt x="520" y="284"/>
                      <a:pt x="519" y="282"/>
                      <a:pt x="519" y="280"/>
                    </a:cubicBezTo>
                    <a:cubicBezTo>
                      <a:pt x="518" y="275"/>
                      <a:pt x="519" y="271"/>
                      <a:pt x="519" y="266"/>
                    </a:cubicBezTo>
                    <a:cubicBezTo>
                      <a:pt x="519" y="265"/>
                      <a:pt x="519" y="265"/>
                      <a:pt x="519" y="265"/>
                    </a:cubicBezTo>
                    <a:cubicBezTo>
                      <a:pt x="520" y="264"/>
                      <a:pt x="520" y="263"/>
                      <a:pt x="520" y="261"/>
                    </a:cubicBezTo>
                    <a:cubicBezTo>
                      <a:pt x="520" y="253"/>
                      <a:pt x="519" y="246"/>
                      <a:pt x="515" y="240"/>
                    </a:cubicBezTo>
                    <a:cubicBezTo>
                      <a:pt x="515" y="240"/>
                      <a:pt x="514" y="239"/>
                      <a:pt x="513" y="237"/>
                    </a:cubicBezTo>
                    <a:cubicBezTo>
                      <a:pt x="509" y="231"/>
                      <a:pt x="506" y="226"/>
                      <a:pt x="505" y="222"/>
                    </a:cubicBezTo>
                    <a:cubicBezTo>
                      <a:pt x="505" y="222"/>
                      <a:pt x="505" y="221"/>
                      <a:pt x="505" y="221"/>
                    </a:cubicBezTo>
                    <a:cubicBezTo>
                      <a:pt x="505" y="221"/>
                      <a:pt x="505" y="220"/>
                      <a:pt x="506" y="219"/>
                    </a:cubicBezTo>
                    <a:cubicBezTo>
                      <a:pt x="507" y="217"/>
                      <a:pt x="507" y="217"/>
                      <a:pt x="507" y="217"/>
                    </a:cubicBezTo>
                    <a:cubicBezTo>
                      <a:pt x="509" y="217"/>
                      <a:pt x="509" y="217"/>
                      <a:pt x="509" y="217"/>
                    </a:cubicBezTo>
                    <a:cubicBezTo>
                      <a:pt x="510" y="218"/>
                      <a:pt x="510" y="218"/>
                      <a:pt x="510" y="218"/>
                    </a:cubicBezTo>
                    <a:cubicBezTo>
                      <a:pt x="509" y="217"/>
                      <a:pt x="509" y="217"/>
                      <a:pt x="509" y="217"/>
                    </a:cubicBezTo>
                    <a:cubicBezTo>
                      <a:pt x="509" y="217"/>
                      <a:pt x="510" y="216"/>
                      <a:pt x="510" y="216"/>
                    </a:cubicBezTo>
                    <a:cubicBezTo>
                      <a:pt x="510" y="216"/>
                      <a:pt x="510" y="216"/>
                      <a:pt x="510" y="216"/>
                    </a:cubicBezTo>
                    <a:cubicBezTo>
                      <a:pt x="510" y="216"/>
                      <a:pt x="510" y="216"/>
                      <a:pt x="510" y="216"/>
                    </a:cubicBezTo>
                    <a:cubicBezTo>
                      <a:pt x="498" y="165"/>
                      <a:pt x="498" y="165"/>
                      <a:pt x="498" y="165"/>
                    </a:cubicBezTo>
                    <a:cubicBezTo>
                      <a:pt x="498" y="164"/>
                      <a:pt x="498" y="164"/>
                      <a:pt x="497" y="163"/>
                    </a:cubicBezTo>
                    <a:cubicBezTo>
                      <a:pt x="496" y="162"/>
                      <a:pt x="495" y="161"/>
                      <a:pt x="493" y="160"/>
                    </a:cubicBezTo>
                    <a:cubicBezTo>
                      <a:pt x="492" y="159"/>
                      <a:pt x="491" y="159"/>
                      <a:pt x="490" y="158"/>
                    </a:cubicBezTo>
                    <a:cubicBezTo>
                      <a:pt x="482" y="151"/>
                      <a:pt x="482" y="151"/>
                      <a:pt x="482" y="151"/>
                    </a:cubicBezTo>
                    <a:cubicBezTo>
                      <a:pt x="481" y="151"/>
                      <a:pt x="481" y="150"/>
                      <a:pt x="480" y="150"/>
                    </a:cubicBezTo>
                    <a:cubicBezTo>
                      <a:pt x="479" y="149"/>
                      <a:pt x="479" y="149"/>
                      <a:pt x="479" y="149"/>
                    </a:cubicBezTo>
                    <a:cubicBezTo>
                      <a:pt x="476" y="147"/>
                      <a:pt x="476" y="143"/>
                      <a:pt x="476" y="141"/>
                    </a:cubicBezTo>
                    <a:cubicBezTo>
                      <a:pt x="476" y="139"/>
                      <a:pt x="476" y="139"/>
                      <a:pt x="476" y="139"/>
                    </a:cubicBezTo>
                    <a:cubicBezTo>
                      <a:pt x="476" y="138"/>
                      <a:pt x="476" y="137"/>
                      <a:pt x="475" y="136"/>
                    </a:cubicBezTo>
                    <a:cubicBezTo>
                      <a:pt x="475" y="136"/>
                      <a:pt x="475" y="136"/>
                      <a:pt x="475" y="136"/>
                    </a:cubicBezTo>
                    <a:cubicBezTo>
                      <a:pt x="475" y="135"/>
                      <a:pt x="475" y="135"/>
                      <a:pt x="475" y="135"/>
                    </a:cubicBezTo>
                    <a:cubicBezTo>
                      <a:pt x="473" y="133"/>
                      <a:pt x="473" y="133"/>
                      <a:pt x="473" y="133"/>
                    </a:cubicBezTo>
                    <a:cubicBezTo>
                      <a:pt x="472" y="132"/>
                      <a:pt x="470" y="130"/>
                      <a:pt x="468" y="128"/>
                    </a:cubicBezTo>
                    <a:cubicBezTo>
                      <a:pt x="465" y="125"/>
                      <a:pt x="461" y="122"/>
                      <a:pt x="459" y="118"/>
                    </a:cubicBezTo>
                    <a:cubicBezTo>
                      <a:pt x="457" y="115"/>
                      <a:pt x="454" y="109"/>
                      <a:pt x="453" y="103"/>
                    </a:cubicBezTo>
                    <a:cubicBezTo>
                      <a:pt x="452" y="97"/>
                      <a:pt x="454" y="94"/>
                      <a:pt x="456" y="92"/>
                    </a:cubicBezTo>
                    <a:cubicBezTo>
                      <a:pt x="457" y="91"/>
                      <a:pt x="457" y="91"/>
                      <a:pt x="457" y="91"/>
                    </a:cubicBezTo>
                    <a:cubicBezTo>
                      <a:pt x="459" y="89"/>
                      <a:pt x="462" y="87"/>
                      <a:pt x="465" y="84"/>
                    </a:cubicBezTo>
                    <a:cubicBezTo>
                      <a:pt x="469" y="81"/>
                      <a:pt x="472" y="78"/>
                      <a:pt x="475" y="74"/>
                    </a:cubicBezTo>
                    <a:cubicBezTo>
                      <a:pt x="477" y="70"/>
                      <a:pt x="478" y="65"/>
                      <a:pt x="479" y="60"/>
                    </a:cubicBezTo>
                    <a:cubicBezTo>
                      <a:pt x="479" y="59"/>
                      <a:pt x="479" y="58"/>
                      <a:pt x="479" y="56"/>
                    </a:cubicBezTo>
                    <a:cubicBezTo>
                      <a:pt x="479" y="56"/>
                      <a:pt x="479" y="56"/>
                      <a:pt x="479" y="56"/>
                    </a:cubicBezTo>
                    <a:cubicBezTo>
                      <a:pt x="479" y="55"/>
                      <a:pt x="478" y="54"/>
                      <a:pt x="478" y="54"/>
                    </a:cubicBezTo>
                    <a:cubicBezTo>
                      <a:pt x="477" y="49"/>
                      <a:pt x="477" y="49"/>
                      <a:pt x="477" y="49"/>
                    </a:cubicBezTo>
                    <a:cubicBezTo>
                      <a:pt x="477" y="49"/>
                      <a:pt x="477" y="48"/>
                      <a:pt x="477" y="47"/>
                    </a:cubicBezTo>
                    <a:cubicBezTo>
                      <a:pt x="477" y="46"/>
                      <a:pt x="477" y="46"/>
                      <a:pt x="477" y="46"/>
                    </a:cubicBezTo>
                    <a:cubicBezTo>
                      <a:pt x="476" y="42"/>
                      <a:pt x="475" y="37"/>
                      <a:pt x="476" y="33"/>
                    </a:cubicBezTo>
                    <a:cubicBezTo>
                      <a:pt x="477" y="27"/>
                      <a:pt x="477" y="27"/>
                      <a:pt x="477" y="27"/>
                    </a:cubicBezTo>
                    <a:cubicBezTo>
                      <a:pt x="477" y="24"/>
                      <a:pt x="477" y="24"/>
                      <a:pt x="475" y="22"/>
                    </a:cubicBezTo>
                    <a:cubicBezTo>
                      <a:pt x="471" y="19"/>
                      <a:pt x="471" y="19"/>
                      <a:pt x="471" y="19"/>
                    </a:cubicBezTo>
                    <a:cubicBezTo>
                      <a:pt x="483" y="4"/>
                      <a:pt x="483" y="4"/>
                      <a:pt x="483" y="4"/>
                    </a:cubicBezTo>
                    <a:cubicBezTo>
                      <a:pt x="479" y="4"/>
                      <a:pt x="475" y="5"/>
                      <a:pt x="470" y="5"/>
                    </a:cubicBezTo>
                    <a:cubicBezTo>
                      <a:pt x="469" y="5"/>
                      <a:pt x="467" y="6"/>
                      <a:pt x="465" y="6"/>
                    </a:cubicBezTo>
                    <a:cubicBezTo>
                      <a:pt x="465" y="6"/>
                      <a:pt x="464" y="6"/>
                      <a:pt x="464" y="6"/>
                    </a:cubicBezTo>
                    <a:cubicBezTo>
                      <a:pt x="463" y="5"/>
                      <a:pt x="464" y="3"/>
                      <a:pt x="462" y="2"/>
                    </a:cubicBezTo>
                    <a:cubicBezTo>
                      <a:pt x="458" y="1"/>
                      <a:pt x="455" y="0"/>
                      <a:pt x="452" y="0"/>
                    </a:cubicBezTo>
                    <a:cubicBezTo>
                      <a:pt x="450" y="0"/>
                      <a:pt x="448" y="1"/>
                      <a:pt x="447" y="2"/>
                    </a:cubicBezTo>
                    <a:cubicBezTo>
                      <a:pt x="445" y="3"/>
                      <a:pt x="442" y="6"/>
                      <a:pt x="440" y="6"/>
                    </a:cubicBezTo>
                    <a:cubicBezTo>
                      <a:pt x="440" y="6"/>
                      <a:pt x="440" y="6"/>
                      <a:pt x="439" y="6"/>
                    </a:cubicBezTo>
                    <a:cubicBezTo>
                      <a:pt x="438" y="5"/>
                      <a:pt x="438" y="4"/>
                      <a:pt x="437" y="4"/>
                    </a:cubicBezTo>
                    <a:cubicBezTo>
                      <a:pt x="435" y="4"/>
                      <a:pt x="433" y="4"/>
                      <a:pt x="432" y="3"/>
                    </a:cubicBezTo>
                    <a:cubicBezTo>
                      <a:pt x="428" y="2"/>
                      <a:pt x="426" y="0"/>
                      <a:pt x="4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8" name="Freeform 236">
                <a:extLst>
                  <a:ext uri="{FF2B5EF4-FFF2-40B4-BE49-F238E27FC236}">
                    <a16:creationId xmlns:a16="http://schemas.microsoft.com/office/drawing/2014/main" id="{E3D15373-5EE9-4864-B42D-8D374FD45DCA}"/>
                  </a:ext>
                </a:extLst>
              </p:cNvPr>
              <p:cNvSpPr>
                <a:spLocks noEditPoints="1"/>
              </p:cNvSpPr>
              <p:nvPr/>
            </p:nvSpPr>
            <p:spPr bwMode="auto">
              <a:xfrm>
                <a:off x="4798021" y="1079740"/>
                <a:ext cx="2365844" cy="1923630"/>
              </a:xfrm>
              <a:custGeom>
                <a:avLst/>
                <a:gdLst>
                  <a:gd name="T0" fmla="*/ 637 w 746"/>
                  <a:gd name="T1" fmla="*/ 27 h 605"/>
                  <a:gd name="T2" fmla="*/ 618 w 746"/>
                  <a:gd name="T3" fmla="*/ 39 h 605"/>
                  <a:gd name="T4" fmla="*/ 586 w 746"/>
                  <a:gd name="T5" fmla="*/ 44 h 605"/>
                  <a:gd name="T6" fmla="*/ 579 w 746"/>
                  <a:gd name="T7" fmla="*/ 10 h 605"/>
                  <a:gd name="T8" fmla="*/ 556 w 746"/>
                  <a:gd name="T9" fmla="*/ 14 h 605"/>
                  <a:gd name="T10" fmla="*/ 530 w 746"/>
                  <a:gd name="T11" fmla="*/ 45 h 605"/>
                  <a:gd name="T12" fmla="*/ 501 w 746"/>
                  <a:gd name="T13" fmla="*/ 44 h 605"/>
                  <a:gd name="T14" fmla="*/ 475 w 746"/>
                  <a:gd name="T15" fmla="*/ 52 h 605"/>
                  <a:gd name="T16" fmla="*/ 445 w 746"/>
                  <a:gd name="T17" fmla="*/ 78 h 605"/>
                  <a:gd name="T18" fmla="*/ 426 w 746"/>
                  <a:gd name="T19" fmla="*/ 70 h 605"/>
                  <a:gd name="T20" fmla="*/ 389 w 746"/>
                  <a:gd name="T21" fmla="*/ 82 h 605"/>
                  <a:gd name="T22" fmla="*/ 359 w 746"/>
                  <a:gd name="T23" fmla="*/ 116 h 605"/>
                  <a:gd name="T24" fmla="*/ 359 w 746"/>
                  <a:gd name="T25" fmla="*/ 131 h 605"/>
                  <a:gd name="T26" fmla="*/ 337 w 746"/>
                  <a:gd name="T27" fmla="*/ 153 h 605"/>
                  <a:gd name="T28" fmla="*/ 306 w 746"/>
                  <a:gd name="T29" fmla="*/ 152 h 605"/>
                  <a:gd name="T30" fmla="*/ 289 w 746"/>
                  <a:gd name="T31" fmla="*/ 162 h 605"/>
                  <a:gd name="T32" fmla="*/ 311 w 746"/>
                  <a:gd name="T33" fmla="*/ 187 h 605"/>
                  <a:gd name="T34" fmla="*/ 270 w 746"/>
                  <a:gd name="T35" fmla="*/ 192 h 605"/>
                  <a:gd name="T36" fmla="*/ 242 w 746"/>
                  <a:gd name="T37" fmla="*/ 218 h 605"/>
                  <a:gd name="T38" fmla="*/ 232 w 746"/>
                  <a:gd name="T39" fmla="*/ 229 h 605"/>
                  <a:gd name="T40" fmla="*/ 229 w 746"/>
                  <a:gd name="T41" fmla="*/ 254 h 605"/>
                  <a:gd name="T42" fmla="*/ 212 w 746"/>
                  <a:gd name="T43" fmla="*/ 272 h 605"/>
                  <a:gd name="T44" fmla="*/ 210 w 746"/>
                  <a:gd name="T45" fmla="*/ 290 h 605"/>
                  <a:gd name="T46" fmla="*/ 189 w 746"/>
                  <a:gd name="T47" fmla="*/ 324 h 605"/>
                  <a:gd name="T48" fmla="*/ 138 w 746"/>
                  <a:gd name="T49" fmla="*/ 358 h 605"/>
                  <a:gd name="T50" fmla="*/ 165 w 746"/>
                  <a:gd name="T51" fmla="*/ 365 h 605"/>
                  <a:gd name="T52" fmla="*/ 113 w 746"/>
                  <a:gd name="T53" fmla="*/ 381 h 605"/>
                  <a:gd name="T54" fmla="*/ 91 w 746"/>
                  <a:gd name="T55" fmla="*/ 395 h 605"/>
                  <a:gd name="T56" fmla="*/ 73 w 746"/>
                  <a:gd name="T57" fmla="*/ 407 h 605"/>
                  <a:gd name="T58" fmla="*/ 60 w 746"/>
                  <a:gd name="T59" fmla="*/ 416 h 605"/>
                  <a:gd name="T60" fmla="*/ 50 w 746"/>
                  <a:gd name="T61" fmla="*/ 425 h 605"/>
                  <a:gd name="T62" fmla="*/ 11 w 746"/>
                  <a:gd name="T63" fmla="*/ 425 h 605"/>
                  <a:gd name="T64" fmla="*/ 0 w 746"/>
                  <a:gd name="T65" fmla="*/ 441 h 605"/>
                  <a:gd name="T66" fmla="*/ 7 w 746"/>
                  <a:gd name="T67" fmla="*/ 459 h 605"/>
                  <a:gd name="T68" fmla="*/ 63 w 746"/>
                  <a:gd name="T69" fmla="*/ 470 h 605"/>
                  <a:gd name="T70" fmla="*/ 62 w 746"/>
                  <a:gd name="T71" fmla="*/ 481 h 605"/>
                  <a:gd name="T72" fmla="*/ 5 w 746"/>
                  <a:gd name="T73" fmla="*/ 479 h 605"/>
                  <a:gd name="T74" fmla="*/ 13 w 746"/>
                  <a:gd name="T75" fmla="*/ 510 h 605"/>
                  <a:gd name="T76" fmla="*/ 48 w 746"/>
                  <a:gd name="T77" fmla="*/ 516 h 605"/>
                  <a:gd name="T78" fmla="*/ 28 w 746"/>
                  <a:gd name="T79" fmla="*/ 536 h 605"/>
                  <a:gd name="T80" fmla="*/ 21 w 746"/>
                  <a:gd name="T81" fmla="*/ 542 h 605"/>
                  <a:gd name="T82" fmla="*/ 30 w 746"/>
                  <a:gd name="T83" fmla="*/ 559 h 605"/>
                  <a:gd name="T84" fmla="*/ 53 w 746"/>
                  <a:gd name="T85" fmla="*/ 594 h 605"/>
                  <a:gd name="T86" fmla="*/ 116 w 746"/>
                  <a:gd name="T87" fmla="*/ 579 h 605"/>
                  <a:gd name="T88" fmla="*/ 156 w 746"/>
                  <a:gd name="T89" fmla="*/ 539 h 605"/>
                  <a:gd name="T90" fmla="*/ 179 w 746"/>
                  <a:gd name="T91" fmla="*/ 556 h 605"/>
                  <a:gd name="T92" fmla="*/ 196 w 746"/>
                  <a:gd name="T93" fmla="*/ 528 h 605"/>
                  <a:gd name="T94" fmla="*/ 211 w 746"/>
                  <a:gd name="T95" fmla="*/ 487 h 605"/>
                  <a:gd name="T96" fmla="*/ 210 w 746"/>
                  <a:gd name="T97" fmla="*/ 453 h 605"/>
                  <a:gd name="T98" fmla="*/ 201 w 746"/>
                  <a:gd name="T99" fmla="*/ 381 h 605"/>
                  <a:gd name="T100" fmla="*/ 259 w 746"/>
                  <a:gd name="T101" fmla="*/ 336 h 605"/>
                  <a:gd name="T102" fmla="*/ 271 w 746"/>
                  <a:gd name="T103" fmla="*/ 282 h 605"/>
                  <a:gd name="T104" fmla="*/ 302 w 746"/>
                  <a:gd name="T105" fmla="*/ 224 h 605"/>
                  <a:gd name="T106" fmla="*/ 355 w 746"/>
                  <a:gd name="T107" fmla="*/ 149 h 605"/>
                  <a:gd name="T108" fmla="*/ 428 w 746"/>
                  <a:gd name="T109" fmla="*/ 136 h 605"/>
                  <a:gd name="T110" fmla="*/ 463 w 746"/>
                  <a:gd name="T111" fmla="*/ 91 h 605"/>
                  <a:gd name="T112" fmla="*/ 572 w 746"/>
                  <a:gd name="T113" fmla="*/ 122 h 605"/>
                  <a:gd name="T114" fmla="*/ 609 w 746"/>
                  <a:gd name="T115" fmla="*/ 64 h 605"/>
                  <a:gd name="T116" fmla="*/ 677 w 746"/>
                  <a:gd name="T117" fmla="*/ 65 h 605"/>
                  <a:gd name="T118" fmla="*/ 726 w 746"/>
                  <a:gd name="T119" fmla="*/ 73 h 605"/>
                  <a:gd name="T120" fmla="*/ 705 w 746"/>
                  <a:gd name="T121" fmla="*/ 70 h 605"/>
                  <a:gd name="T122" fmla="*/ 716 w 746"/>
                  <a:gd name="T123" fmla="*/ 21 h 605"/>
                  <a:gd name="T124" fmla="*/ 666 w 746"/>
                  <a:gd name="T125" fmla="*/ 2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6" h="605">
                    <a:moveTo>
                      <a:pt x="283" y="172"/>
                    </a:moveTo>
                    <a:cubicBezTo>
                      <a:pt x="282" y="172"/>
                      <a:pt x="282" y="173"/>
                      <a:pt x="282" y="173"/>
                    </a:cubicBezTo>
                    <a:cubicBezTo>
                      <a:pt x="282" y="173"/>
                      <a:pt x="283" y="172"/>
                      <a:pt x="283" y="172"/>
                    </a:cubicBezTo>
                    <a:moveTo>
                      <a:pt x="649" y="0"/>
                    </a:moveTo>
                    <a:cubicBezTo>
                      <a:pt x="648" y="1"/>
                      <a:pt x="647" y="6"/>
                      <a:pt x="646" y="8"/>
                    </a:cubicBezTo>
                    <a:cubicBezTo>
                      <a:pt x="644" y="10"/>
                      <a:pt x="639" y="10"/>
                      <a:pt x="636" y="12"/>
                    </a:cubicBezTo>
                    <a:cubicBezTo>
                      <a:pt x="637" y="12"/>
                      <a:pt x="638" y="12"/>
                      <a:pt x="639" y="12"/>
                    </a:cubicBezTo>
                    <a:cubicBezTo>
                      <a:pt x="640" y="12"/>
                      <a:pt x="640" y="12"/>
                      <a:pt x="641" y="12"/>
                    </a:cubicBezTo>
                    <a:cubicBezTo>
                      <a:pt x="641" y="12"/>
                      <a:pt x="641" y="12"/>
                      <a:pt x="641" y="12"/>
                    </a:cubicBezTo>
                    <a:cubicBezTo>
                      <a:pt x="641" y="12"/>
                      <a:pt x="641" y="12"/>
                      <a:pt x="641" y="12"/>
                    </a:cubicBezTo>
                    <a:cubicBezTo>
                      <a:pt x="643" y="12"/>
                      <a:pt x="643" y="13"/>
                      <a:pt x="645" y="13"/>
                    </a:cubicBezTo>
                    <a:cubicBezTo>
                      <a:pt x="642" y="16"/>
                      <a:pt x="646" y="16"/>
                      <a:pt x="648" y="16"/>
                    </a:cubicBezTo>
                    <a:cubicBezTo>
                      <a:pt x="643" y="19"/>
                      <a:pt x="638" y="19"/>
                      <a:pt x="632" y="22"/>
                    </a:cubicBezTo>
                    <a:cubicBezTo>
                      <a:pt x="636" y="22"/>
                      <a:pt x="632" y="24"/>
                      <a:pt x="633" y="25"/>
                    </a:cubicBezTo>
                    <a:cubicBezTo>
                      <a:pt x="634" y="26"/>
                      <a:pt x="637" y="27"/>
                      <a:pt x="637" y="27"/>
                    </a:cubicBezTo>
                    <a:cubicBezTo>
                      <a:pt x="636" y="27"/>
                      <a:pt x="633" y="26"/>
                      <a:pt x="632" y="26"/>
                    </a:cubicBezTo>
                    <a:cubicBezTo>
                      <a:pt x="630" y="26"/>
                      <a:pt x="629" y="27"/>
                      <a:pt x="629" y="29"/>
                    </a:cubicBezTo>
                    <a:cubicBezTo>
                      <a:pt x="629" y="31"/>
                      <a:pt x="631" y="32"/>
                      <a:pt x="633" y="33"/>
                    </a:cubicBezTo>
                    <a:cubicBezTo>
                      <a:pt x="631" y="33"/>
                      <a:pt x="631" y="34"/>
                      <a:pt x="630" y="34"/>
                    </a:cubicBezTo>
                    <a:cubicBezTo>
                      <a:pt x="629" y="34"/>
                      <a:pt x="629" y="33"/>
                      <a:pt x="628" y="33"/>
                    </a:cubicBezTo>
                    <a:cubicBezTo>
                      <a:pt x="627" y="33"/>
                      <a:pt x="627" y="32"/>
                      <a:pt x="625" y="32"/>
                    </a:cubicBezTo>
                    <a:cubicBezTo>
                      <a:pt x="625" y="32"/>
                      <a:pt x="625" y="32"/>
                      <a:pt x="625" y="32"/>
                    </a:cubicBezTo>
                    <a:cubicBezTo>
                      <a:pt x="623" y="33"/>
                      <a:pt x="623" y="34"/>
                      <a:pt x="621" y="36"/>
                    </a:cubicBezTo>
                    <a:cubicBezTo>
                      <a:pt x="621" y="36"/>
                      <a:pt x="621" y="36"/>
                      <a:pt x="621" y="36"/>
                    </a:cubicBezTo>
                    <a:cubicBezTo>
                      <a:pt x="621" y="36"/>
                      <a:pt x="620" y="36"/>
                      <a:pt x="620" y="36"/>
                    </a:cubicBezTo>
                    <a:cubicBezTo>
                      <a:pt x="619" y="37"/>
                      <a:pt x="619" y="37"/>
                      <a:pt x="619" y="37"/>
                    </a:cubicBezTo>
                    <a:cubicBezTo>
                      <a:pt x="619" y="37"/>
                      <a:pt x="619" y="37"/>
                      <a:pt x="619" y="37"/>
                    </a:cubicBezTo>
                    <a:cubicBezTo>
                      <a:pt x="619" y="37"/>
                      <a:pt x="619" y="37"/>
                      <a:pt x="619" y="37"/>
                    </a:cubicBezTo>
                    <a:cubicBezTo>
                      <a:pt x="619" y="37"/>
                      <a:pt x="619" y="37"/>
                      <a:pt x="619" y="38"/>
                    </a:cubicBezTo>
                    <a:cubicBezTo>
                      <a:pt x="618" y="38"/>
                      <a:pt x="618" y="39"/>
                      <a:pt x="618" y="39"/>
                    </a:cubicBezTo>
                    <a:cubicBezTo>
                      <a:pt x="617" y="39"/>
                      <a:pt x="617" y="38"/>
                      <a:pt x="616" y="37"/>
                    </a:cubicBezTo>
                    <a:cubicBezTo>
                      <a:pt x="616" y="34"/>
                      <a:pt x="616" y="24"/>
                      <a:pt x="613" y="24"/>
                    </a:cubicBezTo>
                    <a:cubicBezTo>
                      <a:pt x="612" y="24"/>
                      <a:pt x="612" y="24"/>
                      <a:pt x="612" y="24"/>
                    </a:cubicBezTo>
                    <a:cubicBezTo>
                      <a:pt x="614" y="22"/>
                      <a:pt x="618" y="22"/>
                      <a:pt x="620" y="20"/>
                    </a:cubicBezTo>
                    <a:cubicBezTo>
                      <a:pt x="622" y="17"/>
                      <a:pt x="621" y="11"/>
                      <a:pt x="621" y="8"/>
                    </a:cubicBezTo>
                    <a:cubicBezTo>
                      <a:pt x="615" y="13"/>
                      <a:pt x="608" y="18"/>
                      <a:pt x="602" y="23"/>
                    </a:cubicBezTo>
                    <a:cubicBezTo>
                      <a:pt x="600" y="24"/>
                      <a:pt x="599" y="27"/>
                      <a:pt x="597" y="28"/>
                    </a:cubicBezTo>
                    <a:cubicBezTo>
                      <a:pt x="596" y="29"/>
                      <a:pt x="595" y="30"/>
                      <a:pt x="594" y="31"/>
                    </a:cubicBezTo>
                    <a:cubicBezTo>
                      <a:pt x="592" y="32"/>
                      <a:pt x="590" y="34"/>
                      <a:pt x="588" y="36"/>
                    </a:cubicBezTo>
                    <a:cubicBezTo>
                      <a:pt x="588" y="37"/>
                      <a:pt x="585" y="38"/>
                      <a:pt x="585" y="39"/>
                    </a:cubicBezTo>
                    <a:cubicBezTo>
                      <a:pt x="585" y="40"/>
                      <a:pt x="585" y="41"/>
                      <a:pt x="585" y="41"/>
                    </a:cubicBezTo>
                    <a:cubicBezTo>
                      <a:pt x="585" y="41"/>
                      <a:pt x="585" y="40"/>
                      <a:pt x="585" y="40"/>
                    </a:cubicBezTo>
                    <a:cubicBezTo>
                      <a:pt x="585" y="40"/>
                      <a:pt x="585" y="40"/>
                      <a:pt x="585" y="40"/>
                    </a:cubicBezTo>
                    <a:cubicBezTo>
                      <a:pt x="586" y="40"/>
                      <a:pt x="586" y="41"/>
                      <a:pt x="586" y="41"/>
                    </a:cubicBezTo>
                    <a:cubicBezTo>
                      <a:pt x="586" y="43"/>
                      <a:pt x="587" y="41"/>
                      <a:pt x="586" y="44"/>
                    </a:cubicBezTo>
                    <a:cubicBezTo>
                      <a:pt x="585" y="46"/>
                      <a:pt x="582" y="47"/>
                      <a:pt x="580" y="49"/>
                    </a:cubicBezTo>
                    <a:cubicBezTo>
                      <a:pt x="579" y="51"/>
                      <a:pt x="579" y="53"/>
                      <a:pt x="578" y="53"/>
                    </a:cubicBezTo>
                    <a:cubicBezTo>
                      <a:pt x="577" y="53"/>
                      <a:pt x="577" y="53"/>
                      <a:pt x="577" y="53"/>
                    </a:cubicBezTo>
                    <a:cubicBezTo>
                      <a:pt x="576" y="52"/>
                      <a:pt x="575" y="49"/>
                      <a:pt x="574" y="49"/>
                    </a:cubicBezTo>
                    <a:cubicBezTo>
                      <a:pt x="574" y="49"/>
                      <a:pt x="574" y="49"/>
                      <a:pt x="573" y="50"/>
                    </a:cubicBezTo>
                    <a:cubicBezTo>
                      <a:pt x="572" y="51"/>
                      <a:pt x="574" y="53"/>
                      <a:pt x="574" y="54"/>
                    </a:cubicBezTo>
                    <a:cubicBezTo>
                      <a:pt x="565" y="50"/>
                      <a:pt x="576" y="38"/>
                      <a:pt x="576" y="33"/>
                    </a:cubicBezTo>
                    <a:cubicBezTo>
                      <a:pt x="572" y="32"/>
                      <a:pt x="577" y="29"/>
                      <a:pt x="579" y="28"/>
                    </a:cubicBezTo>
                    <a:cubicBezTo>
                      <a:pt x="582" y="26"/>
                      <a:pt x="584" y="24"/>
                      <a:pt x="587" y="23"/>
                    </a:cubicBezTo>
                    <a:cubicBezTo>
                      <a:pt x="588" y="22"/>
                      <a:pt x="591" y="21"/>
                      <a:pt x="592" y="20"/>
                    </a:cubicBezTo>
                    <a:cubicBezTo>
                      <a:pt x="595" y="18"/>
                      <a:pt x="595" y="15"/>
                      <a:pt x="599" y="13"/>
                    </a:cubicBezTo>
                    <a:cubicBezTo>
                      <a:pt x="595" y="11"/>
                      <a:pt x="589" y="10"/>
                      <a:pt x="583" y="10"/>
                    </a:cubicBezTo>
                    <a:cubicBezTo>
                      <a:pt x="583" y="10"/>
                      <a:pt x="582" y="10"/>
                      <a:pt x="581" y="10"/>
                    </a:cubicBezTo>
                    <a:cubicBezTo>
                      <a:pt x="580" y="10"/>
                      <a:pt x="579" y="10"/>
                      <a:pt x="579" y="10"/>
                    </a:cubicBezTo>
                    <a:cubicBezTo>
                      <a:pt x="579" y="10"/>
                      <a:pt x="579" y="10"/>
                      <a:pt x="579" y="10"/>
                    </a:cubicBezTo>
                    <a:cubicBezTo>
                      <a:pt x="577" y="10"/>
                      <a:pt x="576" y="10"/>
                      <a:pt x="575" y="10"/>
                    </a:cubicBezTo>
                    <a:cubicBezTo>
                      <a:pt x="573" y="11"/>
                      <a:pt x="572" y="12"/>
                      <a:pt x="570" y="12"/>
                    </a:cubicBezTo>
                    <a:cubicBezTo>
                      <a:pt x="570" y="12"/>
                      <a:pt x="570" y="12"/>
                      <a:pt x="570" y="12"/>
                    </a:cubicBezTo>
                    <a:cubicBezTo>
                      <a:pt x="571" y="12"/>
                      <a:pt x="574" y="10"/>
                      <a:pt x="574" y="9"/>
                    </a:cubicBezTo>
                    <a:cubicBezTo>
                      <a:pt x="574" y="8"/>
                      <a:pt x="573" y="7"/>
                      <a:pt x="573" y="7"/>
                    </a:cubicBezTo>
                    <a:cubicBezTo>
                      <a:pt x="572" y="7"/>
                      <a:pt x="570" y="9"/>
                      <a:pt x="569" y="9"/>
                    </a:cubicBezTo>
                    <a:cubicBezTo>
                      <a:pt x="569" y="9"/>
                      <a:pt x="569" y="9"/>
                      <a:pt x="568" y="9"/>
                    </a:cubicBezTo>
                    <a:cubicBezTo>
                      <a:pt x="568" y="9"/>
                      <a:pt x="567" y="9"/>
                      <a:pt x="567" y="8"/>
                    </a:cubicBezTo>
                    <a:cubicBezTo>
                      <a:pt x="567" y="8"/>
                      <a:pt x="566" y="7"/>
                      <a:pt x="565" y="7"/>
                    </a:cubicBezTo>
                    <a:cubicBezTo>
                      <a:pt x="565" y="7"/>
                      <a:pt x="564" y="7"/>
                      <a:pt x="564" y="7"/>
                    </a:cubicBezTo>
                    <a:cubicBezTo>
                      <a:pt x="565" y="6"/>
                      <a:pt x="563" y="5"/>
                      <a:pt x="562" y="5"/>
                    </a:cubicBezTo>
                    <a:cubicBezTo>
                      <a:pt x="562" y="5"/>
                      <a:pt x="561" y="5"/>
                      <a:pt x="561" y="5"/>
                    </a:cubicBezTo>
                    <a:cubicBezTo>
                      <a:pt x="559" y="6"/>
                      <a:pt x="559" y="12"/>
                      <a:pt x="559" y="14"/>
                    </a:cubicBezTo>
                    <a:cubicBezTo>
                      <a:pt x="558" y="15"/>
                      <a:pt x="558" y="15"/>
                      <a:pt x="558" y="15"/>
                    </a:cubicBezTo>
                    <a:cubicBezTo>
                      <a:pt x="557" y="15"/>
                      <a:pt x="557" y="14"/>
                      <a:pt x="556" y="14"/>
                    </a:cubicBezTo>
                    <a:cubicBezTo>
                      <a:pt x="555" y="14"/>
                      <a:pt x="554" y="13"/>
                      <a:pt x="553" y="13"/>
                    </a:cubicBezTo>
                    <a:cubicBezTo>
                      <a:pt x="553" y="13"/>
                      <a:pt x="552" y="13"/>
                      <a:pt x="552" y="15"/>
                    </a:cubicBezTo>
                    <a:cubicBezTo>
                      <a:pt x="550" y="19"/>
                      <a:pt x="561" y="23"/>
                      <a:pt x="564" y="24"/>
                    </a:cubicBezTo>
                    <a:cubicBezTo>
                      <a:pt x="561" y="23"/>
                      <a:pt x="559" y="23"/>
                      <a:pt x="557" y="23"/>
                    </a:cubicBezTo>
                    <a:cubicBezTo>
                      <a:pt x="555" y="23"/>
                      <a:pt x="553" y="24"/>
                      <a:pt x="552" y="28"/>
                    </a:cubicBezTo>
                    <a:cubicBezTo>
                      <a:pt x="550" y="32"/>
                      <a:pt x="553" y="31"/>
                      <a:pt x="554" y="34"/>
                    </a:cubicBezTo>
                    <a:cubicBezTo>
                      <a:pt x="554" y="34"/>
                      <a:pt x="554" y="34"/>
                      <a:pt x="554" y="34"/>
                    </a:cubicBezTo>
                    <a:cubicBezTo>
                      <a:pt x="551" y="34"/>
                      <a:pt x="548" y="33"/>
                      <a:pt x="545" y="32"/>
                    </a:cubicBezTo>
                    <a:cubicBezTo>
                      <a:pt x="545" y="32"/>
                      <a:pt x="544" y="32"/>
                      <a:pt x="544" y="32"/>
                    </a:cubicBezTo>
                    <a:cubicBezTo>
                      <a:pt x="542" y="32"/>
                      <a:pt x="539" y="34"/>
                      <a:pt x="537" y="35"/>
                    </a:cubicBezTo>
                    <a:cubicBezTo>
                      <a:pt x="532" y="37"/>
                      <a:pt x="526" y="40"/>
                      <a:pt x="524" y="45"/>
                    </a:cubicBezTo>
                    <a:cubicBezTo>
                      <a:pt x="524" y="45"/>
                      <a:pt x="525" y="45"/>
                      <a:pt x="525" y="45"/>
                    </a:cubicBezTo>
                    <a:cubicBezTo>
                      <a:pt x="526" y="45"/>
                      <a:pt x="526" y="45"/>
                      <a:pt x="527" y="45"/>
                    </a:cubicBezTo>
                    <a:cubicBezTo>
                      <a:pt x="527" y="45"/>
                      <a:pt x="528" y="45"/>
                      <a:pt x="528" y="45"/>
                    </a:cubicBezTo>
                    <a:cubicBezTo>
                      <a:pt x="529" y="45"/>
                      <a:pt x="530" y="45"/>
                      <a:pt x="530" y="45"/>
                    </a:cubicBezTo>
                    <a:cubicBezTo>
                      <a:pt x="528" y="45"/>
                      <a:pt x="525" y="46"/>
                      <a:pt x="522" y="47"/>
                    </a:cubicBezTo>
                    <a:cubicBezTo>
                      <a:pt x="524" y="48"/>
                      <a:pt x="525" y="50"/>
                      <a:pt x="524" y="52"/>
                    </a:cubicBezTo>
                    <a:cubicBezTo>
                      <a:pt x="524" y="53"/>
                      <a:pt x="520" y="52"/>
                      <a:pt x="522" y="55"/>
                    </a:cubicBezTo>
                    <a:cubicBezTo>
                      <a:pt x="524" y="56"/>
                      <a:pt x="528" y="56"/>
                      <a:pt x="531" y="57"/>
                    </a:cubicBezTo>
                    <a:cubicBezTo>
                      <a:pt x="529" y="59"/>
                      <a:pt x="528" y="58"/>
                      <a:pt x="526" y="58"/>
                    </a:cubicBezTo>
                    <a:cubicBezTo>
                      <a:pt x="524" y="59"/>
                      <a:pt x="521" y="61"/>
                      <a:pt x="519" y="61"/>
                    </a:cubicBezTo>
                    <a:cubicBezTo>
                      <a:pt x="519" y="61"/>
                      <a:pt x="518" y="61"/>
                      <a:pt x="518" y="60"/>
                    </a:cubicBezTo>
                    <a:cubicBezTo>
                      <a:pt x="523" y="59"/>
                      <a:pt x="517" y="56"/>
                      <a:pt x="516" y="55"/>
                    </a:cubicBezTo>
                    <a:cubicBezTo>
                      <a:pt x="514" y="54"/>
                      <a:pt x="517" y="53"/>
                      <a:pt x="515" y="53"/>
                    </a:cubicBezTo>
                    <a:cubicBezTo>
                      <a:pt x="514" y="52"/>
                      <a:pt x="514" y="52"/>
                      <a:pt x="513" y="52"/>
                    </a:cubicBezTo>
                    <a:cubicBezTo>
                      <a:pt x="512" y="52"/>
                      <a:pt x="511" y="53"/>
                      <a:pt x="510" y="53"/>
                    </a:cubicBezTo>
                    <a:cubicBezTo>
                      <a:pt x="505" y="54"/>
                      <a:pt x="500" y="55"/>
                      <a:pt x="496" y="56"/>
                    </a:cubicBezTo>
                    <a:cubicBezTo>
                      <a:pt x="499" y="52"/>
                      <a:pt x="506" y="54"/>
                      <a:pt x="510" y="52"/>
                    </a:cubicBezTo>
                    <a:cubicBezTo>
                      <a:pt x="511" y="52"/>
                      <a:pt x="515" y="49"/>
                      <a:pt x="515" y="48"/>
                    </a:cubicBezTo>
                    <a:cubicBezTo>
                      <a:pt x="515" y="46"/>
                      <a:pt x="504" y="44"/>
                      <a:pt x="501" y="44"/>
                    </a:cubicBezTo>
                    <a:cubicBezTo>
                      <a:pt x="501" y="44"/>
                      <a:pt x="501" y="44"/>
                      <a:pt x="501" y="44"/>
                    </a:cubicBezTo>
                    <a:cubicBezTo>
                      <a:pt x="499" y="45"/>
                      <a:pt x="496" y="47"/>
                      <a:pt x="496" y="49"/>
                    </a:cubicBezTo>
                    <a:cubicBezTo>
                      <a:pt x="496" y="49"/>
                      <a:pt x="501" y="51"/>
                      <a:pt x="502" y="51"/>
                    </a:cubicBezTo>
                    <a:cubicBezTo>
                      <a:pt x="501" y="51"/>
                      <a:pt x="499" y="51"/>
                      <a:pt x="498" y="51"/>
                    </a:cubicBezTo>
                    <a:cubicBezTo>
                      <a:pt x="498" y="51"/>
                      <a:pt x="497" y="51"/>
                      <a:pt x="497" y="51"/>
                    </a:cubicBezTo>
                    <a:cubicBezTo>
                      <a:pt x="497" y="51"/>
                      <a:pt x="496" y="51"/>
                      <a:pt x="496" y="51"/>
                    </a:cubicBezTo>
                    <a:cubicBezTo>
                      <a:pt x="495" y="51"/>
                      <a:pt x="494" y="51"/>
                      <a:pt x="493" y="50"/>
                    </a:cubicBezTo>
                    <a:cubicBezTo>
                      <a:pt x="494" y="50"/>
                      <a:pt x="494" y="50"/>
                      <a:pt x="494" y="50"/>
                    </a:cubicBezTo>
                    <a:cubicBezTo>
                      <a:pt x="484" y="48"/>
                      <a:pt x="474" y="47"/>
                      <a:pt x="464" y="46"/>
                    </a:cubicBezTo>
                    <a:cubicBezTo>
                      <a:pt x="467" y="49"/>
                      <a:pt x="470" y="48"/>
                      <a:pt x="473" y="50"/>
                    </a:cubicBezTo>
                    <a:cubicBezTo>
                      <a:pt x="473" y="50"/>
                      <a:pt x="473" y="52"/>
                      <a:pt x="474" y="52"/>
                    </a:cubicBezTo>
                    <a:cubicBezTo>
                      <a:pt x="474" y="52"/>
                      <a:pt x="474" y="52"/>
                      <a:pt x="474" y="52"/>
                    </a:cubicBezTo>
                    <a:cubicBezTo>
                      <a:pt x="475" y="52"/>
                      <a:pt x="475" y="52"/>
                      <a:pt x="475" y="52"/>
                    </a:cubicBezTo>
                    <a:cubicBezTo>
                      <a:pt x="475" y="52"/>
                      <a:pt x="475" y="52"/>
                      <a:pt x="475" y="52"/>
                    </a:cubicBezTo>
                    <a:cubicBezTo>
                      <a:pt x="475" y="52"/>
                      <a:pt x="475" y="52"/>
                      <a:pt x="475" y="52"/>
                    </a:cubicBezTo>
                    <a:cubicBezTo>
                      <a:pt x="476" y="53"/>
                      <a:pt x="477" y="53"/>
                      <a:pt x="478" y="54"/>
                    </a:cubicBezTo>
                    <a:cubicBezTo>
                      <a:pt x="479" y="54"/>
                      <a:pt x="479" y="54"/>
                      <a:pt x="480" y="54"/>
                    </a:cubicBezTo>
                    <a:cubicBezTo>
                      <a:pt x="483" y="54"/>
                      <a:pt x="487" y="53"/>
                      <a:pt x="489" y="51"/>
                    </a:cubicBezTo>
                    <a:cubicBezTo>
                      <a:pt x="490" y="53"/>
                      <a:pt x="489" y="56"/>
                      <a:pt x="489" y="58"/>
                    </a:cubicBezTo>
                    <a:cubicBezTo>
                      <a:pt x="489" y="59"/>
                      <a:pt x="489" y="60"/>
                      <a:pt x="488" y="61"/>
                    </a:cubicBezTo>
                    <a:cubicBezTo>
                      <a:pt x="483" y="64"/>
                      <a:pt x="487" y="62"/>
                      <a:pt x="487" y="64"/>
                    </a:cubicBezTo>
                    <a:cubicBezTo>
                      <a:pt x="487" y="65"/>
                      <a:pt x="489" y="65"/>
                      <a:pt x="486" y="66"/>
                    </a:cubicBezTo>
                    <a:cubicBezTo>
                      <a:pt x="488" y="67"/>
                      <a:pt x="489" y="69"/>
                      <a:pt x="491" y="70"/>
                    </a:cubicBezTo>
                    <a:cubicBezTo>
                      <a:pt x="482" y="66"/>
                      <a:pt x="474" y="62"/>
                      <a:pt x="465" y="59"/>
                    </a:cubicBezTo>
                    <a:cubicBezTo>
                      <a:pt x="466" y="61"/>
                      <a:pt x="467" y="65"/>
                      <a:pt x="464" y="66"/>
                    </a:cubicBezTo>
                    <a:cubicBezTo>
                      <a:pt x="464" y="67"/>
                      <a:pt x="463" y="67"/>
                      <a:pt x="462" y="67"/>
                    </a:cubicBezTo>
                    <a:cubicBezTo>
                      <a:pt x="460" y="67"/>
                      <a:pt x="459" y="64"/>
                      <a:pt x="458" y="62"/>
                    </a:cubicBezTo>
                    <a:cubicBezTo>
                      <a:pt x="455" y="63"/>
                      <a:pt x="443" y="67"/>
                      <a:pt x="444" y="71"/>
                    </a:cubicBezTo>
                    <a:cubicBezTo>
                      <a:pt x="446" y="74"/>
                      <a:pt x="446" y="79"/>
                      <a:pt x="450" y="81"/>
                    </a:cubicBezTo>
                    <a:cubicBezTo>
                      <a:pt x="449" y="80"/>
                      <a:pt x="446" y="78"/>
                      <a:pt x="445" y="78"/>
                    </a:cubicBezTo>
                    <a:cubicBezTo>
                      <a:pt x="444" y="78"/>
                      <a:pt x="444" y="79"/>
                      <a:pt x="444" y="79"/>
                    </a:cubicBezTo>
                    <a:cubicBezTo>
                      <a:pt x="442" y="81"/>
                      <a:pt x="441" y="85"/>
                      <a:pt x="439" y="87"/>
                    </a:cubicBezTo>
                    <a:cubicBezTo>
                      <a:pt x="437" y="90"/>
                      <a:pt x="432" y="91"/>
                      <a:pt x="430" y="94"/>
                    </a:cubicBezTo>
                    <a:cubicBezTo>
                      <a:pt x="431" y="91"/>
                      <a:pt x="434" y="89"/>
                      <a:pt x="436" y="86"/>
                    </a:cubicBezTo>
                    <a:cubicBezTo>
                      <a:pt x="438" y="84"/>
                      <a:pt x="437" y="84"/>
                      <a:pt x="438" y="81"/>
                    </a:cubicBezTo>
                    <a:cubicBezTo>
                      <a:pt x="439" y="80"/>
                      <a:pt x="440" y="79"/>
                      <a:pt x="440" y="78"/>
                    </a:cubicBezTo>
                    <a:cubicBezTo>
                      <a:pt x="441" y="76"/>
                      <a:pt x="440" y="75"/>
                      <a:pt x="440" y="72"/>
                    </a:cubicBezTo>
                    <a:cubicBezTo>
                      <a:pt x="439" y="69"/>
                      <a:pt x="442" y="67"/>
                      <a:pt x="442" y="64"/>
                    </a:cubicBezTo>
                    <a:cubicBezTo>
                      <a:pt x="442" y="63"/>
                      <a:pt x="441" y="59"/>
                      <a:pt x="439" y="59"/>
                    </a:cubicBezTo>
                    <a:cubicBezTo>
                      <a:pt x="439" y="59"/>
                      <a:pt x="439" y="59"/>
                      <a:pt x="439" y="59"/>
                    </a:cubicBezTo>
                    <a:cubicBezTo>
                      <a:pt x="438" y="59"/>
                      <a:pt x="436" y="61"/>
                      <a:pt x="435" y="62"/>
                    </a:cubicBezTo>
                    <a:cubicBezTo>
                      <a:pt x="435" y="61"/>
                      <a:pt x="435" y="60"/>
                      <a:pt x="435" y="60"/>
                    </a:cubicBezTo>
                    <a:cubicBezTo>
                      <a:pt x="433" y="63"/>
                      <a:pt x="432" y="66"/>
                      <a:pt x="430" y="68"/>
                    </a:cubicBezTo>
                    <a:cubicBezTo>
                      <a:pt x="430" y="67"/>
                      <a:pt x="431" y="66"/>
                      <a:pt x="431" y="65"/>
                    </a:cubicBezTo>
                    <a:cubicBezTo>
                      <a:pt x="429" y="66"/>
                      <a:pt x="427" y="68"/>
                      <a:pt x="426" y="70"/>
                    </a:cubicBezTo>
                    <a:cubicBezTo>
                      <a:pt x="423" y="75"/>
                      <a:pt x="428" y="77"/>
                      <a:pt x="432" y="79"/>
                    </a:cubicBezTo>
                    <a:cubicBezTo>
                      <a:pt x="430" y="80"/>
                      <a:pt x="423" y="86"/>
                      <a:pt x="420" y="86"/>
                    </a:cubicBezTo>
                    <a:cubicBezTo>
                      <a:pt x="420" y="86"/>
                      <a:pt x="419" y="86"/>
                      <a:pt x="419" y="86"/>
                    </a:cubicBezTo>
                    <a:cubicBezTo>
                      <a:pt x="422" y="83"/>
                      <a:pt x="420" y="84"/>
                      <a:pt x="421" y="81"/>
                    </a:cubicBezTo>
                    <a:cubicBezTo>
                      <a:pt x="421" y="79"/>
                      <a:pt x="423" y="79"/>
                      <a:pt x="423" y="77"/>
                    </a:cubicBezTo>
                    <a:cubicBezTo>
                      <a:pt x="423" y="75"/>
                      <a:pt x="422" y="75"/>
                      <a:pt x="422" y="73"/>
                    </a:cubicBezTo>
                    <a:cubicBezTo>
                      <a:pt x="421" y="72"/>
                      <a:pt x="423" y="69"/>
                      <a:pt x="423" y="68"/>
                    </a:cubicBezTo>
                    <a:cubicBezTo>
                      <a:pt x="423" y="67"/>
                      <a:pt x="422" y="67"/>
                      <a:pt x="421" y="67"/>
                    </a:cubicBezTo>
                    <a:cubicBezTo>
                      <a:pt x="418" y="67"/>
                      <a:pt x="415" y="68"/>
                      <a:pt x="413" y="68"/>
                    </a:cubicBezTo>
                    <a:cubicBezTo>
                      <a:pt x="411" y="69"/>
                      <a:pt x="409" y="69"/>
                      <a:pt x="407" y="70"/>
                    </a:cubicBezTo>
                    <a:cubicBezTo>
                      <a:pt x="405" y="71"/>
                      <a:pt x="399" y="76"/>
                      <a:pt x="402" y="78"/>
                    </a:cubicBezTo>
                    <a:cubicBezTo>
                      <a:pt x="405" y="79"/>
                      <a:pt x="408" y="79"/>
                      <a:pt x="409" y="81"/>
                    </a:cubicBezTo>
                    <a:cubicBezTo>
                      <a:pt x="407" y="82"/>
                      <a:pt x="405" y="82"/>
                      <a:pt x="402" y="83"/>
                    </a:cubicBezTo>
                    <a:cubicBezTo>
                      <a:pt x="403" y="84"/>
                      <a:pt x="404" y="86"/>
                      <a:pt x="404" y="87"/>
                    </a:cubicBezTo>
                    <a:cubicBezTo>
                      <a:pt x="399" y="84"/>
                      <a:pt x="395" y="83"/>
                      <a:pt x="389" y="82"/>
                    </a:cubicBezTo>
                    <a:cubicBezTo>
                      <a:pt x="391" y="85"/>
                      <a:pt x="393" y="88"/>
                      <a:pt x="397" y="90"/>
                    </a:cubicBezTo>
                    <a:cubicBezTo>
                      <a:pt x="398" y="91"/>
                      <a:pt x="400" y="91"/>
                      <a:pt x="401" y="92"/>
                    </a:cubicBezTo>
                    <a:cubicBezTo>
                      <a:pt x="400" y="94"/>
                      <a:pt x="398" y="94"/>
                      <a:pt x="396" y="94"/>
                    </a:cubicBezTo>
                    <a:cubicBezTo>
                      <a:pt x="394" y="94"/>
                      <a:pt x="392" y="94"/>
                      <a:pt x="390" y="93"/>
                    </a:cubicBezTo>
                    <a:cubicBezTo>
                      <a:pt x="387" y="92"/>
                      <a:pt x="387" y="92"/>
                      <a:pt x="386" y="89"/>
                    </a:cubicBezTo>
                    <a:cubicBezTo>
                      <a:pt x="385" y="89"/>
                      <a:pt x="384" y="88"/>
                      <a:pt x="383" y="88"/>
                    </a:cubicBezTo>
                    <a:cubicBezTo>
                      <a:pt x="383" y="86"/>
                      <a:pt x="385" y="86"/>
                      <a:pt x="383" y="84"/>
                    </a:cubicBezTo>
                    <a:cubicBezTo>
                      <a:pt x="382" y="84"/>
                      <a:pt x="382" y="84"/>
                      <a:pt x="381" y="84"/>
                    </a:cubicBezTo>
                    <a:cubicBezTo>
                      <a:pt x="379" y="84"/>
                      <a:pt x="377" y="87"/>
                      <a:pt x="376" y="89"/>
                    </a:cubicBezTo>
                    <a:cubicBezTo>
                      <a:pt x="375" y="90"/>
                      <a:pt x="374" y="93"/>
                      <a:pt x="374" y="94"/>
                    </a:cubicBezTo>
                    <a:cubicBezTo>
                      <a:pt x="374" y="97"/>
                      <a:pt x="377" y="96"/>
                      <a:pt x="374" y="99"/>
                    </a:cubicBezTo>
                    <a:cubicBezTo>
                      <a:pt x="372" y="101"/>
                      <a:pt x="371" y="101"/>
                      <a:pt x="368" y="101"/>
                    </a:cubicBezTo>
                    <a:cubicBezTo>
                      <a:pt x="367" y="102"/>
                      <a:pt x="365" y="102"/>
                      <a:pt x="364" y="102"/>
                    </a:cubicBezTo>
                    <a:cubicBezTo>
                      <a:pt x="361" y="106"/>
                      <a:pt x="365" y="112"/>
                      <a:pt x="368" y="114"/>
                    </a:cubicBezTo>
                    <a:cubicBezTo>
                      <a:pt x="366" y="116"/>
                      <a:pt x="362" y="116"/>
                      <a:pt x="359" y="116"/>
                    </a:cubicBezTo>
                    <a:cubicBezTo>
                      <a:pt x="361" y="117"/>
                      <a:pt x="367" y="118"/>
                      <a:pt x="368" y="119"/>
                    </a:cubicBezTo>
                    <a:cubicBezTo>
                      <a:pt x="368" y="119"/>
                      <a:pt x="368" y="119"/>
                      <a:pt x="368" y="119"/>
                    </a:cubicBezTo>
                    <a:cubicBezTo>
                      <a:pt x="364" y="119"/>
                      <a:pt x="361" y="118"/>
                      <a:pt x="358" y="117"/>
                    </a:cubicBezTo>
                    <a:cubicBezTo>
                      <a:pt x="359" y="123"/>
                      <a:pt x="359" y="122"/>
                      <a:pt x="364" y="124"/>
                    </a:cubicBezTo>
                    <a:cubicBezTo>
                      <a:pt x="364" y="124"/>
                      <a:pt x="364" y="124"/>
                      <a:pt x="363" y="124"/>
                    </a:cubicBezTo>
                    <a:cubicBezTo>
                      <a:pt x="361" y="124"/>
                      <a:pt x="359" y="123"/>
                      <a:pt x="358" y="123"/>
                    </a:cubicBezTo>
                    <a:cubicBezTo>
                      <a:pt x="356" y="123"/>
                      <a:pt x="354" y="122"/>
                      <a:pt x="352" y="122"/>
                    </a:cubicBezTo>
                    <a:cubicBezTo>
                      <a:pt x="351" y="122"/>
                      <a:pt x="349" y="122"/>
                      <a:pt x="347" y="123"/>
                    </a:cubicBezTo>
                    <a:cubicBezTo>
                      <a:pt x="343" y="125"/>
                      <a:pt x="339" y="127"/>
                      <a:pt x="335" y="129"/>
                    </a:cubicBezTo>
                    <a:cubicBezTo>
                      <a:pt x="332" y="130"/>
                      <a:pt x="333" y="132"/>
                      <a:pt x="333" y="135"/>
                    </a:cubicBezTo>
                    <a:cubicBezTo>
                      <a:pt x="334" y="135"/>
                      <a:pt x="335" y="135"/>
                      <a:pt x="336" y="135"/>
                    </a:cubicBezTo>
                    <a:cubicBezTo>
                      <a:pt x="337" y="135"/>
                      <a:pt x="337" y="135"/>
                      <a:pt x="338" y="135"/>
                    </a:cubicBezTo>
                    <a:cubicBezTo>
                      <a:pt x="343" y="135"/>
                      <a:pt x="347" y="135"/>
                      <a:pt x="351" y="135"/>
                    </a:cubicBezTo>
                    <a:cubicBezTo>
                      <a:pt x="354" y="134"/>
                      <a:pt x="356" y="132"/>
                      <a:pt x="358" y="132"/>
                    </a:cubicBezTo>
                    <a:cubicBezTo>
                      <a:pt x="358" y="132"/>
                      <a:pt x="359" y="131"/>
                      <a:pt x="359" y="131"/>
                    </a:cubicBezTo>
                    <a:cubicBezTo>
                      <a:pt x="361" y="131"/>
                      <a:pt x="362" y="133"/>
                      <a:pt x="364" y="134"/>
                    </a:cubicBezTo>
                    <a:cubicBezTo>
                      <a:pt x="365" y="135"/>
                      <a:pt x="367" y="137"/>
                      <a:pt x="369" y="137"/>
                    </a:cubicBezTo>
                    <a:cubicBezTo>
                      <a:pt x="369" y="137"/>
                      <a:pt x="370" y="137"/>
                      <a:pt x="370" y="136"/>
                    </a:cubicBezTo>
                    <a:cubicBezTo>
                      <a:pt x="367" y="139"/>
                      <a:pt x="354" y="142"/>
                      <a:pt x="356" y="147"/>
                    </a:cubicBezTo>
                    <a:cubicBezTo>
                      <a:pt x="352" y="146"/>
                      <a:pt x="350" y="141"/>
                      <a:pt x="347" y="139"/>
                    </a:cubicBezTo>
                    <a:cubicBezTo>
                      <a:pt x="347" y="139"/>
                      <a:pt x="347" y="139"/>
                      <a:pt x="347" y="139"/>
                    </a:cubicBezTo>
                    <a:cubicBezTo>
                      <a:pt x="346" y="139"/>
                      <a:pt x="338" y="143"/>
                      <a:pt x="337" y="144"/>
                    </a:cubicBezTo>
                    <a:cubicBezTo>
                      <a:pt x="333" y="147"/>
                      <a:pt x="338" y="148"/>
                      <a:pt x="340" y="149"/>
                    </a:cubicBezTo>
                    <a:cubicBezTo>
                      <a:pt x="337" y="148"/>
                      <a:pt x="334" y="147"/>
                      <a:pt x="330" y="146"/>
                    </a:cubicBezTo>
                    <a:cubicBezTo>
                      <a:pt x="331" y="147"/>
                      <a:pt x="332" y="148"/>
                      <a:pt x="333" y="148"/>
                    </a:cubicBezTo>
                    <a:cubicBezTo>
                      <a:pt x="331" y="150"/>
                      <a:pt x="329" y="150"/>
                      <a:pt x="327" y="152"/>
                    </a:cubicBezTo>
                    <a:cubicBezTo>
                      <a:pt x="328" y="152"/>
                      <a:pt x="330" y="151"/>
                      <a:pt x="331" y="151"/>
                    </a:cubicBezTo>
                    <a:cubicBezTo>
                      <a:pt x="331" y="151"/>
                      <a:pt x="332" y="151"/>
                      <a:pt x="332" y="152"/>
                    </a:cubicBezTo>
                    <a:cubicBezTo>
                      <a:pt x="333" y="152"/>
                      <a:pt x="335" y="153"/>
                      <a:pt x="336" y="153"/>
                    </a:cubicBezTo>
                    <a:cubicBezTo>
                      <a:pt x="337" y="153"/>
                      <a:pt x="337" y="153"/>
                      <a:pt x="337" y="153"/>
                    </a:cubicBezTo>
                    <a:cubicBezTo>
                      <a:pt x="334" y="154"/>
                      <a:pt x="331" y="153"/>
                      <a:pt x="328" y="155"/>
                    </a:cubicBezTo>
                    <a:cubicBezTo>
                      <a:pt x="329" y="155"/>
                      <a:pt x="330" y="156"/>
                      <a:pt x="331" y="157"/>
                    </a:cubicBezTo>
                    <a:cubicBezTo>
                      <a:pt x="329" y="158"/>
                      <a:pt x="333" y="157"/>
                      <a:pt x="331" y="159"/>
                    </a:cubicBezTo>
                    <a:cubicBezTo>
                      <a:pt x="330" y="161"/>
                      <a:pt x="331" y="161"/>
                      <a:pt x="329" y="161"/>
                    </a:cubicBezTo>
                    <a:cubicBezTo>
                      <a:pt x="328" y="161"/>
                      <a:pt x="328" y="161"/>
                      <a:pt x="327" y="161"/>
                    </a:cubicBezTo>
                    <a:cubicBezTo>
                      <a:pt x="327" y="161"/>
                      <a:pt x="327" y="161"/>
                      <a:pt x="326" y="161"/>
                    </a:cubicBezTo>
                    <a:cubicBezTo>
                      <a:pt x="326" y="161"/>
                      <a:pt x="326" y="161"/>
                      <a:pt x="325" y="161"/>
                    </a:cubicBezTo>
                    <a:cubicBezTo>
                      <a:pt x="325" y="161"/>
                      <a:pt x="324" y="161"/>
                      <a:pt x="324" y="161"/>
                    </a:cubicBezTo>
                    <a:cubicBezTo>
                      <a:pt x="326" y="163"/>
                      <a:pt x="329" y="163"/>
                      <a:pt x="330" y="165"/>
                    </a:cubicBezTo>
                    <a:cubicBezTo>
                      <a:pt x="327" y="164"/>
                      <a:pt x="323" y="163"/>
                      <a:pt x="322" y="159"/>
                    </a:cubicBezTo>
                    <a:cubicBezTo>
                      <a:pt x="321" y="156"/>
                      <a:pt x="322" y="150"/>
                      <a:pt x="319" y="147"/>
                    </a:cubicBezTo>
                    <a:cubicBezTo>
                      <a:pt x="318" y="146"/>
                      <a:pt x="317" y="146"/>
                      <a:pt x="317" y="146"/>
                    </a:cubicBezTo>
                    <a:cubicBezTo>
                      <a:pt x="314" y="146"/>
                      <a:pt x="312" y="150"/>
                      <a:pt x="309" y="151"/>
                    </a:cubicBezTo>
                    <a:cubicBezTo>
                      <a:pt x="309" y="152"/>
                      <a:pt x="307" y="153"/>
                      <a:pt x="306" y="153"/>
                    </a:cubicBezTo>
                    <a:cubicBezTo>
                      <a:pt x="306" y="153"/>
                      <a:pt x="306" y="153"/>
                      <a:pt x="306" y="152"/>
                    </a:cubicBezTo>
                    <a:cubicBezTo>
                      <a:pt x="306" y="151"/>
                      <a:pt x="310" y="148"/>
                      <a:pt x="307" y="148"/>
                    </a:cubicBezTo>
                    <a:cubicBezTo>
                      <a:pt x="307" y="148"/>
                      <a:pt x="307" y="148"/>
                      <a:pt x="307" y="148"/>
                    </a:cubicBezTo>
                    <a:cubicBezTo>
                      <a:pt x="305" y="148"/>
                      <a:pt x="304" y="150"/>
                      <a:pt x="303" y="151"/>
                    </a:cubicBezTo>
                    <a:cubicBezTo>
                      <a:pt x="303" y="151"/>
                      <a:pt x="303" y="151"/>
                      <a:pt x="303" y="151"/>
                    </a:cubicBezTo>
                    <a:cubicBezTo>
                      <a:pt x="303" y="151"/>
                      <a:pt x="303" y="151"/>
                      <a:pt x="302" y="151"/>
                    </a:cubicBezTo>
                    <a:cubicBezTo>
                      <a:pt x="302" y="150"/>
                      <a:pt x="302" y="150"/>
                      <a:pt x="301" y="150"/>
                    </a:cubicBezTo>
                    <a:cubicBezTo>
                      <a:pt x="301" y="150"/>
                      <a:pt x="301" y="150"/>
                      <a:pt x="300" y="151"/>
                    </a:cubicBezTo>
                    <a:cubicBezTo>
                      <a:pt x="299" y="152"/>
                      <a:pt x="298" y="153"/>
                      <a:pt x="297" y="154"/>
                    </a:cubicBezTo>
                    <a:cubicBezTo>
                      <a:pt x="303" y="155"/>
                      <a:pt x="308" y="154"/>
                      <a:pt x="314" y="156"/>
                    </a:cubicBezTo>
                    <a:cubicBezTo>
                      <a:pt x="309" y="159"/>
                      <a:pt x="305" y="161"/>
                      <a:pt x="301" y="161"/>
                    </a:cubicBezTo>
                    <a:cubicBezTo>
                      <a:pt x="299" y="161"/>
                      <a:pt x="298" y="162"/>
                      <a:pt x="297" y="163"/>
                    </a:cubicBezTo>
                    <a:cubicBezTo>
                      <a:pt x="296" y="163"/>
                      <a:pt x="295" y="164"/>
                      <a:pt x="294" y="164"/>
                    </a:cubicBezTo>
                    <a:cubicBezTo>
                      <a:pt x="294" y="164"/>
                      <a:pt x="294" y="164"/>
                      <a:pt x="294" y="164"/>
                    </a:cubicBezTo>
                    <a:cubicBezTo>
                      <a:pt x="294" y="164"/>
                      <a:pt x="294" y="163"/>
                      <a:pt x="293" y="162"/>
                    </a:cubicBezTo>
                    <a:cubicBezTo>
                      <a:pt x="292" y="162"/>
                      <a:pt x="291" y="162"/>
                      <a:pt x="289" y="162"/>
                    </a:cubicBezTo>
                    <a:cubicBezTo>
                      <a:pt x="287" y="162"/>
                      <a:pt x="285" y="162"/>
                      <a:pt x="285" y="163"/>
                    </a:cubicBezTo>
                    <a:cubicBezTo>
                      <a:pt x="284" y="165"/>
                      <a:pt x="282" y="165"/>
                      <a:pt x="282" y="166"/>
                    </a:cubicBezTo>
                    <a:cubicBezTo>
                      <a:pt x="283" y="168"/>
                      <a:pt x="285" y="171"/>
                      <a:pt x="283" y="172"/>
                    </a:cubicBezTo>
                    <a:cubicBezTo>
                      <a:pt x="287" y="171"/>
                      <a:pt x="299" y="167"/>
                      <a:pt x="299" y="164"/>
                    </a:cubicBezTo>
                    <a:cubicBezTo>
                      <a:pt x="303" y="164"/>
                      <a:pt x="306" y="167"/>
                      <a:pt x="309" y="169"/>
                    </a:cubicBezTo>
                    <a:cubicBezTo>
                      <a:pt x="308" y="169"/>
                      <a:pt x="308" y="169"/>
                      <a:pt x="307" y="169"/>
                    </a:cubicBezTo>
                    <a:cubicBezTo>
                      <a:pt x="303" y="169"/>
                      <a:pt x="298" y="172"/>
                      <a:pt x="294" y="174"/>
                    </a:cubicBezTo>
                    <a:cubicBezTo>
                      <a:pt x="295" y="174"/>
                      <a:pt x="300" y="175"/>
                      <a:pt x="300" y="176"/>
                    </a:cubicBezTo>
                    <a:cubicBezTo>
                      <a:pt x="302" y="178"/>
                      <a:pt x="300" y="180"/>
                      <a:pt x="303" y="180"/>
                    </a:cubicBezTo>
                    <a:cubicBezTo>
                      <a:pt x="303" y="180"/>
                      <a:pt x="303" y="180"/>
                      <a:pt x="303" y="180"/>
                    </a:cubicBezTo>
                    <a:cubicBezTo>
                      <a:pt x="305" y="180"/>
                      <a:pt x="306" y="180"/>
                      <a:pt x="308" y="179"/>
                    </a:cubicBezTo>
                    <a:cubicBezTo>
                      <a:pt x="310" y="178"/>
                      <a:pt x="312" y="177"/>
                      <a:pt x="313" y="177"/>
                    </a:cubicBezTo>
                    <a:cubicBezTo>
                      <a:pt x="313" y="177"/>
                      <a:pt x="313" y="177"/>
                      <a:pt x="314" y="177"/>
                    </a:cubicBezTo>
                    <a:cubicBezTo>
                      <a:pt x="311" y="180"/>
                      <a:pt x="304" y="183"/>
                      <a:pt x="306" y="186"/>
                    </a:cubicBezTo>
                    <a:cubicBezTo>
                      <a:pt x="306" y="186"/>
                      <a:pt x="310" y="187"/>
                      <a:pt x="311" y="187"/>
                    </a:cubicBezTo>
                    <a:cubicBezTo>
                      <a:pt x="305" y="187"/>
                      <a:pt x="299" y="184"/>
                      <a:pt x="294" y="182"/>
                    </a:cubicBezTo>
                    <a:cubicBezTo>
                      <a:pt x="293" y="182"/>
                      <a:pt x="292" y="182"/>
                      <a:pt x="291" y="182"/>
                    </a:cubicBezTo>
                    <a:cubicBezTo>
                      <a:pt x="291" y="182"/>
                      <a:pt x="290" y="182"/>
                      <a:pt x="290" y="182"/>
                    </a:cubicBezTo>
                    <a:cubicBezTo>
                      <a:pt x="289" y="182"/>
                      <a:pt x="289" y="182"/>
                      <a:pt x="289" y="182"/>
                    </a:cubicBezTo>
                    <a:cubicBezTo>
                      <a:pt x="288" y="182"/>
                      <a:pt x="288" y="182"/>
                      <a:pt x="288" y="182"/>
                    </a:cubicBezTo>
                    <a:cubicBezTo>
                      <a:pt x="288" y="181"/>
                      <a:pt x="291" y="177"/>
                      <a:pt x="290" y="177"/>
                    </a:cubicBezTo>
                    <a:cubicBezTo>
                      <a:pt x="290" y="177"/>
                      <a:pt x="289" y="177"/>
                      <a:pt x="289" y="177"/>
                    </a:cubicBezTo>
                    <a:cubicBezTo>
                      <a:pt x="286" y="178"/>
                      <a:pt x="283" y="180"/>
                      <a:pt x="280" y="182"/>
                    </a:cubicBezTo>
                    <a:cubicBezTo>
                      <a:pt x="283" y="183"/>
                      <a:pt x="287" y="183"/>
                      <a:pt x="290" y="183"/>
                    </a:cubicBezTo>
                    <a:cubicBezTo>
                      <a:pt x="289" y="184"/>
                      <a:pt x="285" y="186"/>
                      <a:pt x="284" y="186"/>
                    </a:cubicBezTo>
                    <a:cubicBezTo>
                      <a:pt x="284" y="186"/>
                      <a:pt x="284" y="186"/>
                      <a:pt x="284" y="186"/>
                    </a:cubicBezTo>
                    <a:cubicBezTo>
                      <a:pt x="283" y="185"/>
                      <a:pt x="282" y="184"/>
                      <a:pt x="281" y="184"/>
                    </a:cubicBezTo>
                    <a:cubicBezTo>
                      <a:pt x="280" y="184"/>
                      <a:pt x="279" y="185"/>
                      <a:pt x="278" y="185"/>
                    </a:cubicBezTo>
                    <a:cubicBezTo>
                      <a:pt x="277" y="187"/>
                      <a:pt x="276" y="188"/>
                      <a:pt x="274" y="190"/>
                    </a:cubicBezTo>
                    <a:cubicBezTo>
                      <a:pt x="273" y="191"/>
                      <a:pt x="271" y="191"/>
                      <a:pt x="270" y="192"/>
                    </a:cubicBezTo>
                    <a:cubicBezTo>
                      <a:pt x="276" y="192"/>
                      <a:pt x="283" y="191"/>
                      <a:pt x="289" y="190"/>
                    </a:cubicBezTo>
                    <a:cubicBezTo>
                      <a:pt x="289" y="190"/>
                      <a:pt x="289" y="190"/>
                      <a:pt x="290" y="190"/>
                    </a:cubicBezTo>
                    <a:cubicBezTo>
                      <a:pt x="292" y="190"/>
                      <a:pt x="296" y="193"/>
                      <a:pt x="298" y="194"/>
                    </a:cubicBezTo>
                    <a:cubicBezTo>
                      <a:pt x="301" y="196"/>
                      <a:pt x="301" y="195"/>
                      <a:pt x="302" y="200"/>
                    </a:cubicBezTo>
                    <a:cubicBezTo>
                      <a:pt x="301" y="200"/>
                      <a:pt x="301" y="200"/>
                      <a:pt x="301" y="200"/>
                    </a:cubicBezTo>
                    <a:cubicBezTo>
                      <a:pt x="298" y="195"/>
                      <a:pt x="297" y="196"/>
                      <a:pt x="291" y="196"/>
                    </a:cubicBezTo>
                    <a:cubicBezTo>
                      <a:pt x="289" y="196"/>
                      <a:pt x="286" y="195"/>
                      <a:pt x="283" y="195"/>
                    </a:cubicBezTo>
                    <a:cubicBezTo>
                      <a:pt x="282" y="195"/>
                      <a:pt x="281" y="195"/>
                      <a:pt x="280" y="195"/>
                    </a:cubicBezTo>
                    <a:cubicBezTo>
                      <a:pt x="277" y="196"/>
                      <a:pt x="274" y="197"/>
                      <a:pt x="271" y="197"/>
                    </a:cubicBezTo>
                    <a:cubicBezTo>
                      <a:pt x="269" y="198"/>
                      <a:pt x="269" y="198"/>
                      <a:pt x="270" y="201"/>
                    </a:cubicBezTo>
                    <a:cubicBezTo>
                      <a:pt x="270" y="202"/>
                      <a:pt x="275" y="202"/>
                      <a:pt x="277" y="202"/>
                    </a:cubicBezTo>
                    <a:cubicBezTo>
                      <a:pt x="272" y="203"/>
                      <a:pt x="269" y="202"/>
                      <a:pt x="264" y="203"/>
                    </a:cubicBezTo>
                    <a:cubicBezTo>
                      <a:pt x="259" y="205"/>
                      <a:pt x="254" y="206"/>
                      <a:pt x="249" y="208"/>
                    </a:cubicBezTo>
                    <a:cubicBezTo>
                      <a:pt x="252" y="213"/>
                      <a:pt x="253" y="214"/>
                      <a:pt x="260" y="215"/>
                    </a:cubicBezTo>
                    <a:cubicBezTo>
                      <a:pt x="254" y="216"/>
                      <a:pt x="248" y="217"/>
                      <a:pt x="242" y="218"/>
                    </a:cubicBezTo>
                    <a:cubicBezTo>
                      <a:pt x="244" y="219"/>
                      <a:pt x="245" y="220"/>
                      <a:pt x="247" y="221"/>
                    </a:cubicBezTo>
                    <a:cubicBezTo>
                      <a:pt x="246" y="221"/>
                      <a:pt x="246" y="221"/>
                      <a:pt x="245" y="221"/>
                    </a:cubicBezTo>
                    <a:cubicBezTo>
                      <a:pt x="244" y="221"/>
                      <a:pt x="244" y="221"/>
                      <a:pt x="243" y="221"/>
                    </a:cubicBezTo>
                    <a:cubicBezTo>
                      <a:pt x="242" y="221"/>
                      <a:pt x="242" y="221"/>
                      <a:pt x="241" y="221"/>
                    </a:cubicBezTo>
                    <a:cubicBezTo>
                      <a:pt x="241" y="221"/>
                      <a:pt x="240" y="221"/>
                      <a:pt x="240" y="221"/>
                    </a:cubicBezTo>
                    <a:cubicBezTo>
                      <a:pt x="244" y="223"/>
                      <a:pt x="241" y="225"/>
                      <a:pt x="242" y="226"/>
                    </a:cubicBezTo>
                    <a:cubicBezTo>
                      <a:pt x="242" y="226"/>
                      <a:pt x="243" y="226"/>
                      <a:pt x="243" y="226"/>
                    </a:cubicBezTo>
                    <a:cubicBezTo>
                      <a:pt x="244" y="226"/>
                      <a:pt x="245" y="225"/>
                      <a:pt x="246" y="225"/>
                    </a:cubicBezTo>
                    <a:cubicBezTo>
                      <a:pt x="248" y="224"/>
                      <a:pt x="249" y="224"/>
                      <a:pt x="251" y="224"/>
                    </a:cubicBezTo>
                    <a:cubicBezTo>
                      <a:pt x="251" y="224"/>
                      <a:pt x="251" y="224"/>
                      <a:pt x="251" y="224"/>
                    </a:cubicBezTo>
                    <a:cubicBezTo>
                      <a:pt x="254" y="224"/>
                      <a:pt x="250" y="226"/>
                      <a:pt x="251" y="228"/>
                    </a:cubicBezTo>
                    <a:cubicBezTo>
                      <a:pt x="250" y="228"/>
                      <a:pt x="249" y="228"/>
                      <a:pt x="248" y="228"/>
                    </a:cubicBezTo>
                    <a:cubicBezTo>
                      <a:pt x="247" y="228"/>
                      <a:pt x="246" y="228"/>
                      <a:pt x="244" y="228"/>
                    </a:cubicBezTo>
                    <a:cubicBezTo>
                      <a:pt x="243" y="228"/>
                      <a:pt x="242" y="228"/>
                      <a:pt x="240" y="228"/>
                    </a:cubicBezTo>
                    <a:cubicBezTo>
                      <a:pt x="236" y="228"/>
                      <a:pt x="232" y="228"/>
                      <a:pt x="232" y="229"/>
                    </a:cubicBezTo>
                    <a:cubicBezTo>
                      <a:pt x="232" y="230"/>
                      <a:pt x="231" y="236"/>
                      <a:pt x="232" y="237"/>
                    </a:cubicBezTo>
                    <a:cubicBezTo>
                      <a:pt x="234" y="238"/>
                      <a:pt x="237" y="239"/>
                      <a:pt x="240" y="239"/>
                    </a:cubicBezTo>
                    <a:cubicBezTo>
                      <a:pt x="237" y="240"/>
                      <a:pt x="234" y="242"/>
                      <a:pt x="232" y="243"/>
                    </a:cubicBezTo>
                    <a:cubicBezTo>
                      <a:pt x="237" y="243"/>
                      <a:pt x="241" y="241"/>
                      <a:pt x="246" y="240"/>
                    </a:cubicBezTo>
                    <a:cubicBezTo>
                      <a:pt x="251" y="239"/>
                      <a:pt x="258" y="239"/>
                      <a:pt x="264" y="237"/>
                    </a:cubicBezTo>
                    <a:cubicBezTo>
                      <a:pt x="260" y="239"/>
                      <a:pt x="254" y="245"/>
                      <a:pt x="250" y="245"/>
                    </a:cubicBezTo>
                    <a:cubicBezTo>
                      <a:pt x="249" y="245"/>
                      <a:pt x="249" y="245"/>
                      <a:pt x="248" y="244"/>
                    </a:cubicBezTo>
                    <a:cubicBezTo>
                      <a:pt x="247" y="244"/>
                      <a:pt x="246" y="242"/>
                      <a:pt x="245" y="242"/>
                    </a:cubicBezTo>
                    <a:cubicBezTo>
                      <a:pt x="245" y="242"/>
                      <a:pt x="245" y="242"/>
                      <a:pt x="245" y="242"/>
                    </a:cubicBezTo>
                    <a:cubicBezTo>
                      <a:pt x="244" y="242"/>
                      <a:pt x="241" y="243"/>
                      <a:pt x="240" y="243"/>
                    </a:cubicBezTo>
                    <a:cubicBezTo>
                      <a:pt x="238" y="244"/>
                      <a:pt x="235" y="245"/>
                      <a:pt x="233" y="245"/>
                    </a:cubicBezTo>
                    <a:cubicBezTo>
                      <a:pt x="231" y="246"/>
                      <a:pt x="228" y="246"/>
                      <a:pt x="227" y="247"/>
                    </a:cubicBezTo>
                    <a:cubicBezTo>
                      <a:pt x="224" y="249"/>
                      <a:pt x="226" y="250"/>
                      <a:pt x="229" y="250"/>
                    </a:cubicBezTo>
                    <a:cubicBezTo>
                      <a:pt x="230" y="250"/>
                      <a:pt x="231" y="249"/>
                      <a:pt x="232" y="249"/>
                    </a:cubicBezTo>
                    <a:cubicBezTo>
                      <a:pt x="232" y="251"/>
                      <a:pt x="230" y="252"/>
                      <a:pt x="229" y="254"/>
                    </a:cubicBezTo>
                    <a:cubicBezTo>
                      <a:pt x="232" y="255"/>
                      <a:pt x="236" y="256"/>
                      <a:pt x="237" y="260"/>
                    </a:cubicBezTo>
                    <a:cubicBezTo>
                      <a:pt x="233" y="259"/>
                      <a:pt x="231" y="255"/>
                      <a:pt x="229" y="255"/>
                    </a:cubicBezTo>
                    <a:cubicBezTo>
                      <a:pt x="228" y="255"/>
                      <a:pt x="227" y="255"/>
                      <a:pt x="226" y="256"/>
                    </a:cubicBezTo>
                    <a:cubicBezTo>
                      <a:pt x="225" y="258"/>
                      <a:pt x="220" y="262"/>
                      <a:pt x="221" y="264"/>
                    </a:cubicBezTo>
                    <a:cubicBezTo>
                      <a:pt x="221" y="265"/>
                      <a:pt x="222" y="266"/>
                      <a:pt x="223" y="268"/>
                    </a:cubicBezTo>
                    <a:cubicBezTo>
                      <a:pt x="221" y="267"/>
                      <a:pt x="220" y="266"/>
                      <a:pt x="219" y="266"/>
                    </a:cubicBezTo>
                    <a:cubicBezTo>
                      <a:pt x="217" y="266"/>
                      <a:pt x="217" y="268"/>
                      <a:pt x="215" y="272"/>
                    </a:cubicBezTo>
                    <a:cubicBezTo>
                      <a:pt x="214" y="276"/>
                      <a:pt x="220" y="275"/>
                      <a:pt x="221" y="275"/>
                    </a:cubicBezTo>
                    <a:cubicBezTo>
                      <a:pt x="219" y="277"/>
                      <a:pt x="221" y="277"/>
                      <a:pt x="222" y="278"/>
                    </a:cubicBezTo>
                    <a:cubicBezTo>
                      <a:pt x="222" y="278"/>
                      <a:pt x="222" y="278"/>
                      <a:pt x="223" y="278"/>
                    </a:cubicBezTo>
                    <a:cubicBezTo>
                      <a:pt x="223" y="278"/>
                      <a:pt x="223" y="278"/>
                      <a:pt x="223" y="278"/>
                    </a:cubicBezTo>
                    <a:cubicBezTo>
                      <a:pt x="223" y="278"/>
                      <a:pt x="224" y="278"/>
                      <a:pt x="224" y="278"/>
                    </a:cubicBezTo>
                    <a:cubicBezTo>
                      <a:pt x="224" y="278"/>
                      <a:pt x="224" y="278"/>
                      <a:pt x="224" y="279"/>
                    </a:cubicBezTo>
                    <a:cubicBezTo>
                      <a:pt x="224" y="279"/>
                      <a:pt x="223" y="281"/>
                      <a:pt x="223" y="282"/>
                    </a:cubicBezTo>
                    <a:cubicBezTo>
                      <a:pt x="220" y="280"/>
                      <a:pt x="213" y="276"/>
                      <a:pt x="212" y="272"/>
                    </a:cubicBezTo>
                    <a:cubicBezTo>
                      <a:pt x="210" y="278"/>
                      <a:pt x="208" y="284"/>
                      <a:pt x="205" y="290"/>
                    </a:cubicBezTo>
                    <a:cubicBezTo>
                      <a:pt x="207" y="288"/>
                      <a:pt x="211" y="285"/>
                      <a:pt x="213" y="285"/>
                    </a:cubicBezTo>
                    <a:cubicBezTo>
                      <a:pt x="214" y="285"/>
                      <a:pt x="215" y="285"/>
                      <a:pt x="215" y="286"/>
                    </a:cubicBezTo>
                    <a:cubicBezTo>
                      <a:pt x="217" y="290"/>
                      <a:pt x="217" y="290"/>
                      <a:pt x="216" y="290"/>
                    </a:cubicBezTo>
                    <a:cubicBezTo>
                      <a:pt x="216" y="290"/>
                      <a:pt x="216" y="290"/>
                      <a:pt x="216" y="290"/>
                    </a:cubicBezTo>
                    <a:cubicBezTo>
                      <a:pt x="216" y="290"/>
                      <a:pt x="216" y="290"/>
                      <a:pt x="216" y="290"/>
                    </a:cubicBezTo>
                    <a:cubicBezTo>
                      <a:pt x="215" y="290"/>
                      <a:pt x="214" y="290"/>
                      <a:pt x="214" y="291"/>
                    </a:cubicBezTo>
                    <a:cubicBezTo>
                      <a:pt x="214" y="292"/>
                      <a:pt x="214" y="292"/>
                      <a:pt x="215" y="292"/>
                    </a:cubicBezTo>
                    <a:cubicBezTo>
                      <a:pt x="217" y="292"/>
                      <a:pt x="221" y="290"/>
                      <a:pt x="222" y="290"/>
                    </a:cubicBezTo>
                    <a:cubicBezTo>
                      <a:pt x="225" y="288"/>
                      <a:pt x="227" y="286"/>
                      <a:pt x="230" y="284"/>
                    </a:cubicBezTo>
                    <a:cubicBezTo>
                      <a:pt x="227" y="290"/>
                      <a:pt x="220" y="291"/>
                      <a:pt x="216" y="295"/>
                    </a:cubicBezTo>
                    <a:cubicBezTo>
                      <a:pt x="217" y="295"/>
                      <a:pt x="217" y="295"/>
                      <a:pt x="217" y="295"/>
                    </a:cubicBezTo>
                    <a:cubicBezTo>
                      <a:pt x="215" y="296"/>
                      <a:pt x="213" y="297"/>
                      <a:pt x="211" y="297"/>
                    </a:cubicBezTo>
                    <a:cubicBezTo>
                      <a:pt x="211" y="297"/>
                      <a:pt x="210" y="297"/>
                      <a:pt x="210" y="297"/>
                    </a:cubicBezTo>
                    <a:cubicBezTo>
                      <a:pt x="213" y="295"/>
                      <a:pt x="214" y="291"/>
                      <a:pt x="210" y="290"/>
                    </a:cubicBezTo>
                    <a:cubicBezTo>
                      <a:pt x="210" y="290"/>
                      <a:pt x="209" y="290"/>
                      <a:pt x="209" y="290"/>
                    </a:cubicBezTo>
                    <a:cubicBezTo>
                      <a:pt x="205" y="290"/>
                      <a:pt x="198" y="295"/>
                      <a:pt x="197" y="298"/>
                    </a:cubicBezTo>
                    <a:cubicBezTo>
                      <a:pt x="199" y="298"/>
                      <a:pt x="200" y="296"/>
                      <a:pt x="202" y="296"/>
                    </a:cubicBezTo>
                    <a:cubicBezTo>
                      <a:pt x="202" y="296"/>
                      <a:pt x="202" y="296"/>
                      <a:pt x="202" y="296"/>
                    </a:cubicBezTo>
                    <a:cubicBezTo>
                      <a:pt x="195" y="301"/>
                      <a:pt x="188" y="306"/>
                      <a:pt x="182" y="312"/>
                    </a:cubicBezTo>
                    <a:cubicBezTo>
                      <a:pt x="186" y="310"/>
                      <a:pt x="189" y="309"/>
                      <a:pt x="193" y="307"/>
                    </a:cubicBezTo>
                    <a:cubicBezTo>
                      <a:pt x="193" y="306"/>
                      <a:pt x="194" y="305"/>
                      <a:pt x="195" y="305"/>
                    </a:cubicBezTo>
                    <a:cubicBezTo>
                      <a:pt x="196" y="304"/>
                      <a:pt x="197" y="304"/>
                      <a:pt x="198" y="303"/>
                    </a:cubicBezTo>
                    <a:cubicBezTo>
                      <a:pt x="200" y="303"/>
                      <a:pt x="202" y="302"/>
                      <a:pt x="203" y="302"/>
                    </a:cubicBezTo>
                    <a:cubicBezTo>
                      <a:pt x="204" y="302"/>
                      <a:pt x="204" y="302"/>
                      <a:pt x="205" y="302"/>
                    </a:cubicBezTo>
                    <a:cubicBezTo>
                      <a:pt x="201" y="302"/>
                      <a:pt x="196" y="305"/>
                      <a:pt x="194" y="308"/>
                    </a:cubicBezTo>
                    <a:cubicBezTo>
                      <a:pt x="195" y="308"/>
                      <a:pt x="197" y="309"/>
                      <a:pt x="198" y="309"/>
                    </a:cubicBezTo>
                    <a:cubicBezTo>
                      <a:pt x="195" y="311"/>
                      <a:pt x="191" y="312"/>
                      <a:pt x="187" y="313"/>
                    </a:cubicBezTo>
                    <a:cubicBezTo>
                      <a:pt x="190" y="315"/>
                      <a:pt x="192" y="317"/>
                      <a:pt x="195" y="318"/>
                    </a:cubicBezTo>
                    <a:cubicBezTo>
                      <a:pt x="192" y="320"/>
                      <a:pt x="186" y="324"/>
                      <a:pt x="189" y="324"/>
                    </a:cubicBezTo>
                    <a:cubicBezTo>
                      <a:pt x="189" y="324"/>
                      <a:pt x="190" y="324"/>
                      <a:pt x="192" y="323"/>
                    </a:cubicBezTo>
                    <a:cubicBezTo>
                      <a:pt x="188" y="325"/>
                      <a:pt x="185" y="328"/>
                      <a:pt x="182" y="331"/>
                    </a:cubicBezTo>
                    <a:cubicBezTo>
                      <a:pt x="182" y="327"/>
                      <a:pt x="186" y="326"/>
                      <a:pt x="182" y="324"/>
                    </a:cubicBezTo>
                    <a:cubicBezTo>
                      <a:pt x="179" y="323"/>
                      <a:pt x="177" y="321"/>
                      <a:pt x="175" y="321"/>
                    </a:cubicBezTo>
                    <a:cubicBezTo>
                      <a:pt x="174" y="321"/>
                      <a:pt x="173" y="322"/>
                      <a:pt x="172" y="322"/>
                    </a:cubicBezTo>
                    <a:cubicBezTo>
                      <a:pt x="168" y="325"/>
                      <a:pt x="164" y="327"/>
                      <a:pt x="160" y="330"/>
                    </a:cubicBezTo>
                    <a:cubicBezTo>
                      <a:pt x="158" y="332"/>
                      <a:pt x="152" y="335"/>
                      <a:pt x="158" y="336"/>
                    </a:cubicBezTo>
                    <a:cubicBezTo>
                      <a:pt x="154" y="339"/>
                      <a:pt x="148" y="342"/>
                      <a:pt x="145" y="347"/>
                    </a:cubicBezTo>
                    <a:cubicBezTo>
                      <a:pt x="147" y="347"/>
                      <a:pt x="148" y="346"/>
                      <a:pt x="149" y="346"/>
                    </a:cubicBezTo>
                    <a:cubicBezTo>
                      <a:pt x="150" y="346"/>
                      <a:pt x="150" y="346"/>
                      <a:pt x="150" y="346"/>
                    </a:cubicBezTo>
                    <a:cubicBezTo>
                      <a:pt x="149" y="348"/>
                      <a:pt x="147" y="348"/>
                      <a:pt x="146" y="349"/>
                    </a:cubicBezTo>
                    <a:cubicBezTo>
                      <a:pt x="146" y="349"/>
                      <a:pt x="147" y="349"/>
                      <a:pt x="148" y="349"/>
                    </a:cubicBezTo>
                    <a:cubicBezTo>
                      <a:pt x="149" y="349"/>
                      <a:pt x="149" y="349"/>
                      <a:pt x="149" y="349"/>
                    </a:cubicBezTo>
                    <a:cubicBezTo>
                      <a:pt x="144" y="351"/>
                      <a:pt x="139" y="354"/>
                      <a:pt x="134" y="358"/>
                    </a:cubicBezTo>
                    <a:cubicBezTo>
                      <a:pt x="136" y="358"/>
                      <a:pt x="137" y="358"/>
                      <a:pt x="138" y="358"/>
                    </a:cubicBezTo>
                    <a:cubicBezTo>
                      <a:pt x="141" y="358"/>
                      <a:pt x="144" y="357"/>
                      <a:pt x="148" y="357"/>
                    </a:cubicBezTo>
                    <a:cubicBezTo>
                      <a:pt x="146" y="358"/>
                      <a:pt x="143" y="360"/>
                      <a:pt x="142" y="362"/>
                    </a:cubicBezTo>
                    <a:cubicBezTo>
                      <a:pt x="142" y="364"/>
                      <a:pt x="143" y="364"/>
                      <a:pt x="143" y="365"/>
                    </a:cubicBezTo>
                    <a:cubicBezTo>
                      <a:pt x="144" y="367"/>
                      <a:pt x="145" y="368"/>
                      <a:pt x="147" y="368"/>
                    </a:cubicBezTo>
                    <a:cubicBezTo>
                      <a:pt x="148" y="368"/>
                      <a:pt x="148" y="368"/>
                      <a:pt x="149" y="368"/>
                    </a:cubicBezTo>
                    <a:cubicBezTo>
                      <a:pt x="155" y="365"/>
                      <a:pt x="161" y="362"/>
                      <a:pt x="167" y="359"/>
                    </a:cubicBezTo>
                    <a:cubicBezTo>
                      <a:pt x="169" y="358"/>
                      <a:pt x="171" y="357"/>
                      <a:pt x="173" y="356"/>
                    </a:cubicBezTo>
                    <a:cubicBezTo>
                      <a:pt x="176" y="354"/>
                      <a:pt x="175" y="353"/>
                      <a:pt x="174" y="350"/>
                    </a:cubicBezTo>
                    <a:cubicBezTo>
                      <a:pt x="171" y="351"/>
                      <a:pt x="167" y="353"/>
                      <a:pt x="164" y="354"/>
                    </a:cubicBezTo>
                    <a:cubicBezTo>
                      <a:pt x="170" y="350"/>
                      <a:pt x="175" y="345"/>
                      <a:pt x="182" y="342"/>
                    </a:cubicBezTo>
                    <a:cubicBezTo>
                      <a:pt x="183" y="341"/>
                      <a:pt x="184" y="341"/>
                      <a:pt x="185" y="341"/>
                    </a:cubicBezTo>
                    <a:cubicBezTo>
                      <a:pt x="186" y="341"/>
                      <a:pt x="185" y="343"/>
                      <a:pt x="188" y="345"/>
                    </a:cubicBezTo>
                    <a:cubicBezTo>
                      <a:pt x="184" y="346"/>
                      <a:pt x="181" y="348"/>
                      <a:pt x="178" y="350"/>
                    </a:cubicBezTo>
                    <a:cubicBezTo>
                      <a:pt x="179" y="352"/>
                      <a:pt x="184" y="352"/>
                      <a:pt x="186" y="353"/>
                    </a:cubicBezTo>
                    <a:cubicBezTo>
                      <a:pt x="181" y="360"/>
                      <a:pt x="170" y="359"/>
                      <a:pt x="165" y="365"/>
                    </a:cubicBezTo>
                    <a:cubicBezTo>
                      <a:pt x="167" y="365"/>
                      <a:pt x="169" y="364"/>
                      <a:pt x="171" y="364"/>
                    </a:cubicBezTo>
                    <a:cubicBezTo>
                      <a:pt x="168" y="367"/>
                      <a:pt x="168" y="367"/>
                      <a:pt x="170" y="370"/>
                    </a:cubicBezTo>
                    <a:cubicBezTo>
                      <a:pt x="161" y="371"/>
                      <a:pt x="151" y="372"/>
                      <a:pt x="142" y="376"/>
                    </a:cubicBezTo>
                    <a:cubicBezTo>
                      <a:pt x="143" y="373"/>
                      <a:pt x="145" y="371"/>
                      <a:pt x="143" y="368"/>
                    </a:cubicBezTo>
                    <a:cubicBezTo>
                      <a:pt x="143" y="368"/>
                      <a:pt x="139" y="362"/>
                      <a:pt x="138" y="362"/>
                    </a:cubicBezTo>
                    <a:cubicBezTo>
                      <a:pt x="138" y="362"/>
                      <a:pt x="138" y="362"/>
                      <a:pt x="138" y="362"/>
                    </a:cubicBezTo>
                    <a:cubicBezTo>
                      <a:pt x="133" y="364"/>
                      <a:pt x="127" y="365"/>
                      <a:pt x="123" y="368"/>
                    </a:cubicBezTo>
                    <a:cubicBezTo>
                      <a:pt x="125" y="369"/>
                      <a:pt x="127" y="369"/>
                      <a:pt x="129" y="369"/>
                    </a:cubicBezTo>
                    <a:cubicBezTo>
                      <a:pt x="130" y="369"/>
                      <a:pt x="131" y="369"/>
                      <a:pt x="132" y="369"/>
                    </a:cubicBezTo>
                    <a:cubicBezTo>
                      <a:pt x="128" y="372"/>
                      <a:pt x="123" y="375"/>
                      <a:pt x="120" y="378"/>
                    </a:cubicBezTo>
                    <a:cubicBezTo>
                      <a:pt x="121" y="375"/>
                      <a:pt x="122" y="376"/>
                      <a:pt x="119" y="372"/>
                    </a:cubicBezTo>
                    <a:cubicBezTo>
                      <a:pt x="118" y="371"/>
                      <a:pt x="117" y="370"/>
                      <a:pt x="116" y="370"/>
                    </a:cubicBezTo>
                    <a:cubicBezTo>
                      <a:pt x="115" y="370"/>
                      <a:pt x="114" y="371"/>
                      <a:pt x="112" y="371"/>
                    </a:cubicBezTo>
                    <a:cubicBezTo>
                      <a:pt x="109" y="372"/>
                      <a:pt x="108" y="376"/>
                      <a:pt x="105" y="377"/>
                    </a:cubicBezTo>
                    <a:cubicBezTo>
                      <a:pt x="107" y="379"/>
                      <a:pt x="110" y="380"/>
                      <a:pt x="113" y="381"/>
                    </a:cubicBezTo>
                    <a:cubicBezTo>
                      <a:pt x="110" y="383"/>
                      <a:pt x="95" y="382"/>
                      <a:pt x="95" y="385"/>
                    </a:cubicBezTo>
                    <a:cubicBezTo>
                      <a:pt x="95" y="389"/>
                      <a:pt x="101" y="390"/>
                      <a:pt x="103" y="390"/>
                    </a:cubicBezTo>
                    <a:cubicBezTo>
                      <a:pt x="107" y="391"/>
                      <a:pt x="109" y="392"/>
                      <a:pt x="110" y="397"/>
                    </a:cubicBezTo>
                    <a:cubicBezTo>
                      <a:pt x="110" y="397"/>
                      <a:pt x="109" y="398"/>
                      <a:pt x="109" y="398"/>
                    </a:cubicBezTo>
                    <a:cubicBezTo>
                      <a:pt x="108" y="398"/>
                      <a:pt x="108" y="397"/>
                      <a:pt x="107" y="396"/>
                    </a:cubicBezTo>
                    <a:cubicBezTo>
                      <a:pt x="107" y="396"/>
                      <a:pt x="106" y="396"/>
                      <a:pt x="105" y="396"/>
                    </a:cubicBezTo>
                    <a:cubicBezTo>
                      <a:pt x="105" y="396"/>
                      <a:pt x="105" y="396"/>
                      <a:pt x="104" y="396"/>
                    </a:cubicBezTo>
                    <a:cubicBezTo>
                      <a:pt x="104" y="396"/>
                      <a:pt x="104" y="396"/>
                      <a:pt x="103" y="396"/>
                    </a:cubicBezTo>
                    <a:cubicBezTo>
                      <a:pt x="103" y="396"/>
                      <a:pt x="102" y="396"/>
                      <a:pt x="102" y="396"/>
                    </a:cubicBezTo>
                    <a:cubicBezTo>
                      <a:pt x="98" y="394"/>
                      <a:pt x="94" y="386"/>
                      <a:pt x="91" y="386"/>
                    </a:cubicBezTo>
                    <a:cubicBezTo>
                      <a:pt x="90" y="386"/>
                      <a:pt x="88" y="387"/>
                      <a:pt x="87" y="390"/>
                    </a:cubicBezTo>
                    <a:cubicBezTo>
                      <a:pt x="88" y="389"/>
                      <a:pt x="88" y="390"/>
                      <a:pt x="89" y="388"/>
                    </a:cubicBezTo>
                    <a:cubicBezTo>
                      <a:pt x="93" y="394"/>
                      <a:pt x="99" y="399"/>
                      <a:pt x="105" y="402"/>
                    </a:cubicBezTo>
                    <a:cubicBezTo>
                      <a:pt x="105" y="403"/>
                      <a:pt x="105" y="403"/>
                      <a:pt x="105" y="403"/>
                    </a:cubicBezTo>
                    <a:cubicBezTo>
                      <a:pt x="100" y="400"/>
                      <a:pt x="96" y="398"/>
                      <a:pt x="91" y="395"/>
                    </a:cubicBezTo>
                    <a:cubicBezTo>
                      <a:pt x="88" y="393"/>
                      <a:pt x="86" y="392"/>
                      <a:pt x="84" y="392"/>
                    </a:cubicBezTo>
                    <a:cubicBezTo>
                      <a:pt x="83" y="392"/>
                      <a:pt x="81" y="393"/>
                      <a:pt x="78" y="393"/>
                    </a:cubicBezTo>
                    <a:cubicBezTo>
                      <a:pt x="77" y="394"/>
                      <a:pt x="76" y="394"/>
                      <a:pt x="75" y="394"/>
                    </a:cubicBezTo>
                    <a:cubicBezTo>
                      <a:pt x="74" y="394"/>
                      <a:pt x="74" y="394"/>
                      <a:pt x="74" y="394"/>
                    </a:cubicBezTo>
                    <a:cubicBezTo>
                      <a:pt x="73" y="393"/>
                      <a:pt x="70" y="390"/>
                      <a:pt x="69" y="390"/>
                    </a:cubicBezTo>
                    <a:cubicBezTo>
                      <a:pt x="69" y="390"/>
                      <a:pt x="69" y="390"/>
                      <a:pt x="69" y="390"/>
                    </a:cubicBezTo>
                    <a:cubicBezTo>
                      <a:pt x="65" y="391"/>
                      <a:pt x="61" y="392"/>
                      <a:pt x="59" y="394"/>
                    </a:cubicBezTo>
                    <a:cubicBezTo>
                      <a:pt x="60" y="395"/>
                      <a:pt x="61" y="396"/>
                      <a:pt x="62" y="397"/>
                    </a:cubicBezTo>
                    <a:cubicBezTo>
                      <a:pt x="64" y="398"/>
                      <a:pt x="66" y="397"/>
                      <a:pt x="67" y="399"/>
                    </a:cubicBezTo>
                    <a:cubicBezTo>
                      <a:pt x="67" y="399"/>
                      <a:pt x="67" y="398"/>
                      <a:pt x="67" y="398"/>
                    </a:cubicBezTo>
                    <a:cubicBezTo>
                      <a:pt x="64" y="398"/>
                      <a:pt x="62" y="401"/>
                      <a:pt x="61" y="402"/>
                    </a:cubicBezTo>
                    <a:cubicBezTo>
                      <a:pt x="67" y="402"/>
                      <a:pt x="73" y="403"/>
                      <a:pt x="79" y="403"/>
                    </a:cubicBezTo>
                    <a:cubicBezTo>
                      <a:pt x="79" y="403"/>
                      <a:pt x="79" y="403"/>
                      <a:pt x="79" y="403"/>
                    </a:cubicBezTo>
                    <a:cubicBezTo>
                      <a:pt x="83" y="403"/>
                      <a:pt x="87" y="400"/>
                      <a:pt x="91" y="400"/>
                    </a:cubicBezTo>
                    <a:cubicBezTo>
                      <a:pt x="91" y="404"/>
                      <a:pt x="77" y="403"/>
                      <a:pt x="73" y="407"/>
                    </a:cubicBezTo>
                    <a:cubicBezTo>
                      <a:pt x="72" y="409"/>
                      <a:pt x="76" y="409"/>
                      <a:pt x="79" y="409"/>
                    </a:cubicBezTo>
                    <a:cubicBezTo>
                      <a:pt x="81" y="409"/>
                      <a:pt x="83" y="409"/>
                      <a:pt x="83" y="409"/>
                    </a:cubicBezTo>
                    <a:cubicBezTo>
                      <a:pt x="80" y="410"/>
                      <a:pt x="78" y="411"/>
                      <a:pt x="76" y="411"/>
                    </a:cubicBezTo>
                    <a:cubicBezTo>
                      <a:pt x="76" y="411"/>
                      <a:pt x="75" y="411"/>
                      <a:pt x="73" y="410"/>
                    </a:cubicBezTo>
                    <a:cubicBezTo>
                      <a:pt x="71" y="409"/>
                      <a:pt x="69" y="407"/>
                      <a:pt x="66" y="407"/>
                    </a:cubicBezTo>
                    <a:cubicBezTo>
                      <a:pt x="66" y="407"/>
                      <a:pt x="65" y="407"/>
                      <a:pt x="64" y="407"/>
                    </a:cubicBezTo>
                    <a:cubicBezTo>
                      <a:pt x="61" y="407"/>
                      <a:pt x="58" y="407"/>
                      <a:pt x="56" y="407"/>
                    </a:cubicBezTo>
                    <a:cubicBezTo>
                      <a:pt x="54" y="408"/>
                      <a:pt x="39" y="408"/>
                      <a:pt x="41" y="411"/>
                    </a:cubicBezTo>
                    <a:cubicBezTo>
                      <a:pt x="41" y="411"/>
                      <a:pt x="46" y="411"/>
                      <a:pt x="49" y="411"/>
                    </a:cubicBezTo>
                    <a:cubicBezTo>
                      <a:pt x="49" y="411"/>
                      <a:pt x="50" y="411"/>
                      <a:pt x="50" y="411"/>
                    </a:cubicBezTo>
                    <a:cubicBezTo>
                      <a:pt x="48" y="412"/>
                      <a:pt x="46" y="412"/>
                      <a:pt x="44" y="413"/>
                    </a:cubicBezTo>
                    <a:cubicBezTo>
                      <a:pt x="45" y="414"/>
                      <a:pt x="46" y="415"/>
                      <a:pt x="47" y="415"/>
                    </a:cubicBezTo>
                    <a:cubicBezTo>
                      <a:pt x="48" y="415"/>
                      <a:pt x="50" y="414"/>
                      <a:pt x="52" y="413"/>
                    </a:cubicBezTo>
                    <a:cubicBezTo>
                      <a:pt x="52" y="413"/>
                      <a:pt x="53" y="413"/>
                      <a:pt x="53" y="413"/>
                    </a:cubicBezTo>
                    <a:cubicBezTo>
                      <a:pt x="55" y="413"/>
                      <a:pt x="57" y="415"/>
                      <a:pt x="60" y="416"/>
                    </a:cubicBezTo>
                    <a:cubicBezTo>
                      <a:pt x="61" y="417"/>
                      <a:pt x="59" y="420"/>
                      <a:pt x="62" y="421"/>
                    </a:cubicBezTo>
                    <a:cubicBezTo>
                      <a:pt x="65" y="421"/>
                      <a:pt x="67" y="422"/>
                      <a:pt x="69" y="423"/>
                    </a:cubicBezTo>
                    <a:cubicBezTo>
                      <a:pt x="68" y="422"/>
                      <a:pt x="66" y="422"/>
                      <a:pt x="65" y="422"/>
                    </a:cubicBezTo>
                    <a:cubicBezTo>
                      <a:pt x="63" y="422"/>
                      <a:pt x="62" y="422"/>
                      <a:pt x="62" y="424"/>
                    </a:cubicBezTo>
                    <a:cubicBezTo>
                      <a:pt x="62" y="428"/>
                      <a:pt x="63" y="428"/>
                      <a:pt x="67" y="429"/>
                    </a:cubicBezTo>
                    <a:cubicBezTo>
                      <a:pt x="66" y="429"/>
                      <a:pt x="66" y="429"/>
                      <a:pt x="65" y="429"/>
                    </a:cubicBezTo>
                    <a:cubicBezTo>
                      <a:pt x="64" y="429"/>
                      <a:pt x="63" y="429"/>
                      <a:pt x="62" y="429"/>
                    </a:cubicBezTo>
                    <a:cubicBezTo>
                      <a:pt x="62" y="430"/>
                      <a:pt x="61" y="430"/>
                      <a:pt x="60" y="430"/>
                    </a:cubicBezTo>
                    <a:cubicBezTo>
                      <a:pt x="60" y="430"/>
                      <a:pt x="59" y="430"/>
                      <a:pt x="59" y="430"/>
                    </a:cubicBezTo>
                    <a:cubicBezTo>
                      <a:pt x="61" y="427"/>
                      <a:pt x="63" y="424"/>
                      <a:pt x="60" y="421"/>
                    </a:cubicBezTo>
                    <a:cubicBezTo>
                      <a:pt x="59" y="420"/>
                      <a:pt x="60" y="417"/>
                      <a:pt x="59" y="416"/>
                    </a:cubicBezTo>
                    <a:cubicBezTo>
                      <a:pt x="58" y="415"/>
                      <a:pt x="54" y="415"/>
                      <a:pt x="52" y="415"/>
                    </a:cubicBezTo>
                    <a:cubicBezTo>
                      <a:pt x="52" y="415"/>
                      <a:pt x="52" y="415"/>
                      <a:pt x="52" y="415"/>
                    </a:cubicBezTo>
                    <a:cubicBezTo>
                      <a:pt x="50" y="415"/>
                      <a:pt x="45" y="416"/>
                      <a:pt x="45" y="418"/>
                    </a:cubicBezTo>
                    <a:cubicBezTo>
                      <a:pt x="44" y="421"/>
                      <a:pt x="50" y="423"/>
                      <a:pt x="50" y="425"/>
                    </a:cubicBezTo>
                    <a:cubicBezTo>
                      <a:pt x="50" y="426"/>
                      <a:pt x="50" y="427"/>
                      <a:pt x="49" y="427"/>
                    </a:cubicBezTo>
                    <a:cubicBezTo>
                      <a:pt x="47" y="427"/>
                      <a:pt x="45" y="420"/>
                      <a:pt x="44" y="420"/>
                    </a:cubicBezTo>
                    <a:cubicBezTo>
                      <a:pt x="43" y="419"/>
                      <a:pt x="42" y="418"/>
                      <a:pt x="41" y="418"/>
                    </a:cubicBezTo>
                    <a:cubicBezTo>
                      <a:pt x="41" y="418"/>
                      <a:pt x="40" y="419"/>
                      <a:pt x="39" y="420"/>
                    </a:cubicBezTo>
                    <a:cubicBezTo>
                      <a:pt x="37" y="421"/>
                      <a:pt x="34" y="422"/>
                      <a:pt x="33" y="423"/>
                    </a:cubicBezTo>
                    <a:cubicBezTo>
                      <a:pt x="31" y="426"/>
                      <a:pt x="34" y="426"/>
                      <a:pt x="36" y="429"/>
                    </a:cubicBezTo>
                    <a:cubicBezTo>
                      <a:pt x="36" y="429"/>
                      <a:pt x="35" y="428"/>
                      <a:pt x="34" y="428"/>
                    </a:cubicBezTo>
                    <a:cubicBezTo>
                      <a:pt x="32" y="428"/>
                      <a:pt x="31" y="431"/>
                      <a:pt x="29" y="433"/>
                    </a:cubicBezTo>
                    <a:cubicBezTo>
                      <a:pt x="31" y="431"/>
                      <a:pt x="28" y="428"/>
                      <a:pt x="27" y="426"/>
                    </a:cubicBezTo>
                    <a:cubicBezTo>
                      <a:pt x="25" y="427"/>
                      <a:pt x="25" y="428"/>
                      <a:pt x="24" y="428"/>
                    </a:cubicBezTo>
                    <a:cubicBezTo>
                      <a:pt x="23" y="428"/>
                      <a:pt x="22" y="427"/>
                      <a:pt x="21" y="427"/>
                    </a:cubicBezTo>
                    <a:cubicBezTo>
                      <a:pt x="20" y="426"/>
                      <a:pt x="19" y="426"/>
                      <a:pt x="19" y="426"/>
                    </a:cubicBezTo>
                    <a:cubicBezTo>
                      <a:pt x="18" y="426"/>
                      <a:pt x="17" y="426"/>
                      <a:pt x="17" y="427"/>
                    </a:cubicBezTo>
                    <a:cubicBezTo>
                      <a:pt x="16" y="428"/>
                      <a:pt x="18" y="432"/>
                      <a:pt x="18" y="434"/>
                    </a:cubicBezTo>
                    <a:cubicBezTo>
                      <a:pt x="17" y="432"/>
                      <a:pt x="13" y="425"/>
                      <a:pt x="11" y="425"/>
                    </a:cubicBezTo>
                    <a:cubicBezTo>
                      <a:pt x="11" y="425"/>
                      <a:pt x="11" y="425"/>
                      <a:pt x="11" y="425"/>
                    </a:cubicBezTo>
                    <a:cubicBezTo>
                      <a:pt x="8" y="425"/>
                      <a:pt x="14" y="432"/>
                      <a:pt x="17" y="433"/>
                    </a:cubicBezTo>
                    <a:cubicBezTo>
                      <a:pt x="15" y="435"/>
                      <a:pt x="11" y="436"/>
                      <a:pt x="9" y="437"/>
                    </a:cubicBezTo>
                    <a:cubicBezTo>
                      <a:pt x="17" y="437"/>
                      <a:pt x="24" y="438"/>
                      <a:pt x="32" y="439"/>
                    </a:cubicBezTo>
                    <a:cubicBezTo>
                      <a:pt x="34" y="440"/>
                      <a:pt x="36" y="440"/>
                      <a:pt x="38" y="440"/>
                    </a:cubicBezTo>
                    <a:cubicBezTo>
                      <a:pt x="42" y="440"/>
                      <a:pt x="45" y="439"/>
                      <a:pt x="49" y="439"/>
                    </a:cubicBezTo>
                    <a:cubicBezTo>
                      <a:pt x="42" y="441"/>
                      <a:pt x="37" y="442"/>
                      <a:pt x="31" y="446"/>
                    </a:cubicBezTo>
                    <a:cubicBezTo>
                      <a:pt x="30" y="444"/>
                      <a:pt x="30" y="442"/>
                      <a:pt x="31" y="440"/>
                    </a:cubicBezTo>
                    <a:cubicBezTo>
                      <a:pt x="29" y="441"/>
                      <a:pt x="28" y="441"/>
                      <a:pt x="27" y="441"/>
                    </a:cubicBezTo>
                    <a:cubicBezTo>
                      <a:pt x="26" y="441"/>
                      <a:pt x="25" y="441"/>
                      <a:pt x="25" y="441"/>
                    </a:cubicBezTo>
                    <a:cubicBezTo>
                      <a:pt x="23" y="440"/>
                      <a:pt x="19" y="438"/>
                      <a:pt x="17" y="438"/>
                    </a:cubicBezTo>
                    <a:cubicBezTo>
                      <a:pt x="17" y="438"/>
                      <a:pt x="17" y="438"/>
                      <a:pt x="16" y="438"/>
                    </a:cubicBezTo>
                    <a:cubicBezTo>
                      <a:pt x="15" y="438"/>
                      <a:pt x="13" y="439"/>
                      <a:pt x="12" y="441"/>
                    </a:cubicBezTo>
                    <a:cubicBezTo>
                      <a:pt x="10" y="441"/>
                      <a:pt x="8" y="441"/>
                      <a:pt x="5" y="441"/>
                    </a:cubicBezTo>
                    <a:cubicBezTo>
                      <a:pt x="4" y="441"/>
                      <a:pt x="2" y="441"/>
                      <a:pt x="0" y="441"/>
                    </a:cubicBezTo>
                    <a:cubicBezTo>
                      <a:pt x="2" y="441"/>
                      <a:pt x="2" y="443"/>
                      <a:pt x="2" y="444"/>
                    </a:cubicBezTo>
                    <a:cubicBezTo>
                      <a:pt x="5" y="442"/>
                      <a:pt x="9" y="442"/>
                      <a:pt x="12" y="441"/>
                    </a:cubicBezTo>
                    <a:cubicBezTo>
                      <a:pt x="9" y="443"/>
                      <a:pt x="6" y="446"/>
                      <a:pt x="4" y="448"/>
                    </a:cubicBezTo>
                    <a:cubicBezTo>
                      <a:pt x="8" y="449"/>
                      <a:pt x="11" y="450"/>
                      <a:pt x="15" y="450"/>
                    </a:cubicBezTo>
                    <a:cubicBezTo>
                      <a:pt x="12" y="451"/>
                      <a:pt x="8" y="450"/>
                      <a:pt x="5" y="452"/>
                    </a:cubicBezTo>
                    <a:cubicBezTo>
                      <a:pt x="6" y="452"/>
                      <a:pt x="6" y="452"/>
                      <a:pt x="6" y="452"/>
                    </a:cubicBezTo>
                    <a:cubicBezTo>
                      <a:pt x="7" y="452"/>
                      <a:pt x="8" y="451"/>
                      <a:pt x="9" y="451"/>
                    </a:cubicBezTo>
                    <a:cubicBezTo>
                      <a:pt x="11" y="451"/>
                      <a:pt x="12" y="451"/>
                      <a:pt x="13" y="451"/>
                    </a:cubicBezTo>
                    <a:cubicBezTo>
                      <a:pt x="14" y="451"/>
                      <a:pt x="15" y="451"/>
                      <a:pt x="17" y="452"/>
                    </a:cubicBezTo>
                    <a:cubicBezTo>
                      <a:pt x="15" y="452"/>
                      <a:pt x="14" y="452"/>
                      <a:pt x="13" y="452"/>
                    </a:cubicBezTo>
                    <a:cubicBezTo>
                      <a:pt x="12" y="452"/>
                      <a:pt x="12" y="452"/>
                      <a:pt x="11" y="452"/>
                    </a:cubicBezTo>
                    <a:cubicBezTo>
                      <a:pt x="12" y="453"/>
                      <a:pt x="14" y="453"/>
                      <a:pt x="15" y="454"/>
                    </a:cubicBezTo>
                    <a:cubicBezTo>
                      <a:pt x="14" y="455"/>
                      <a:pt x="14" y="456"/>
                      <a:pt x="13" y="456"/>
                    </a:cubicBezTo>
                    <a:cubicBezTo>
                      <a:pt x="18" y="456"/>
                      <a:pt x="22" y="456"/>
                      <a:pt x="27" y="456"/>
                    </a:cubicBezTo>
                    <a:cubicBezTo>
                      <a:pt x="22" y="457"/>
                      <a:pt x="11" y="456"/>
                      <a:pt x="7" y="459"/>
                    </a:cubicBezTo>
                    <a:cubicBezTo>
                      <a:pt x="8" y="460"/>
                      <a:pt x="8" y="461"/>
                      <a:pt x="7" y="463"/>
                    </a:cubicBezTo>
                    <a:cubicBezTo>
                      <a:pt x="11" y="462"/>
                      <a:pt x="15" y="461"/>
                      <a:pt x="19" y="461"/>
                    </a:cubicBezTo>
                    <a:cubicBezTo>
                      <a:pt x="20" y="461"/>
                      <a:pt x="22" y="461"/>
                      <a:pt x="23" y="462"/>
                    </a:cubicBezTo>
                    <a:cubicBezTo>
                      <a:pt x="23" y="462"/>
                      <a:pt x="23" y="462"/>
                      <a:pt x="23" y="462"/>
                    </a:cubicBezTo>
                    <a:cubicBezTo>
                      <a:pt x="18" y="462"/>
                      <a:pt x="7" y="462"/>
                      <a:pt x="5" y="467"/>
                    </a:cubicBezTo>
                    <a:cubicBezTo>
                      <a:pt x="8" y="469"/>
                      <a:pt x="13" y="474"/>
                      <a:pt x="16" y="474"/>
                    </a:cubicBezTo>
                    <a:cubicBezTo>
                      <a:pt x="16" y="474"/>
                      <a:pt x="16" y="474"/>
                      <a:pt x="16" y="474"/>
                    </a:cubicBezTo>
                    <a:cubicBezTo>
                      <a:pt x="23" y="473"/>
                      <a:pt x="29" y="472"/>
                      <a:pt x="35" y="471"/>
                    </a:cubicBezTo>
                    <a:cubicBezTo>
                      <a:pt x="35" y="471"/>
                      <a:pt x="35" y="471"/>
                      <a:pt x="35" y="471"/>
                    </a:cubicBezTo>
                    <a:cubicBezTo>
                      <a:pt x="37" y="471"/>
                      <a:pt x="38" y="471"/>
                      <a:pt x="39" y="472"/>
                    </a:cubicBezTo>
                    <a:cubicBezTo>
                      <a:pt x="41" y="472"/>
                      <a:pt x="42" y="473"/>
                      <a:pt x="43" y="473"/>
                    </a:cubicBezTo>
                    <a:cubicBezTo>
                      <a:pt x="44" y="473"/>
                      <a:pt x="44" y="473"/>
                      <a:pt x="45" y="473"/>
                    </a:cubicBezTo>
                    <a:cubicBezTo>
                      <a:pt x="47" y="472"/>
                      <a:pt x="49" y="469"/>
                      <a:pt x="51" y="467"/>
                    </a:cubicBezTo>
                    <a:cubicBezTo>
                      <a:pt x="50" y="469"/>
                      <a:pt x="54" y="469"/>
                      <a:pt x="57" y="470"/>
                    </a:cubicBezTo>
                    <a:cubicBezTo>
                      <a:pt x="59" y="470"/>
                      <a:pt x="61" y="470"/>
                      <a:pt x="63" y="470"/>
                    </a:cubicBezTo>
                    <a:cubicBezTo>
                      <a:pt x="65" y="470"/>
                      <a:pt x="66" y="470"/>
                      <a:pt x="68" y="470"/>
                    </a:cubicBezTo>
                    <a:cubicBezTo>
                      <a:pt x="69" y="470"/>
                      <a:pt x="71" y="470"/>
                      <a:pt x="72" y="470"/>
                    </a:cubicBezTo>
                    <a:cubicBezTo>
                      <a:pt x="72" y="470"/>
                      <a:pt x="72" y="470"/>
                      <a:pt x="72" y="470"/>
                    </a:cubicBezTo>
                    <a:cubicBezTo>
                      <a:pt x="71" y="469"/>
                      <a:pt x="68" y="466"/>
                      <a:pt x="69" y="465"/>
                    </a:cubicBezTo>
                    <a:cubicBezTo>
                      <a:pt x="69" y="463"/>
                      <a:pt x="71" y="463"/>
                      <a:pt x="70" y="461"/>
                    </a:cubicBezTo>
                    <a:cubicBezTo>
                      <a:pt x="70" y="461"/>
                      <a:pt x="70" y="461"/>
                      <a:pt x="70" y="461"/>
                    </a:cubicBezTo>
                    <a:cubicBezTo>
                      <a:pt x="73" y="461"/>
                      <a:pt x="76" y="458"/>
                      <a:pt x="78" y="457"/>
                    </a:cubicBezTo>
                    <a:cubicBezTo>
                      <a:pt x="76" y="459"/>
                      <a:pt x="68" y="465"/>
                      <a:pt x="72" y="468"/>
                    </a:cubicBezTo>
                    <a:cubicBezTo>
                      <a:pt x="73" y="469"/>
                      <a:pt x="73" y="469"/>
                      <a:pt x="74" y="469"/>
                    </a:cubicBezTo>
                    <a:cubicBezTo>
                      <a:pt x="76" y="469"/>
                      <a:pt x="79" y="468"/>
                      <a:pt x="81" y="467"/>
                    </a:cubicBezTo>
                    <a:cubicBezTo>
                      <a:pt x="77" y="469"/>
                      <a:pt x="73" y="470"/>
                      <a:pt x="69" y="471"/>
                    </a:cubicBezTo>
                    <a:cubicBezTo>
                      <a:pt x="65" y="473"/>
                      <a:pt x="61" y="474"/>
                      <a:pt x="64" y="478"/>
                    </a:cubicBezTo>
                    <a:cubicBezTo>
                      <a:pt x="64" y="479"/>
                      <a:pt x="68" y="480"/>
                      <a:pt x="66" y="482"/>
                    </a:cubicBezTo>
                    <a:cubicBezTo>
                      <a:pt x="65" y="482"/>
                      <a:pt x="65" y="482"/>
                      <a:pt x="64" y="482"/>
                    </a:cubicBezTo>
                    <a:cubicBezTo>
                      <a:pt x="64" y="482"/>
                      <a:pt x="63" y="482"/>
                      <a:pt x="62" y="481"/>
                    </a:cubicBezTo>
                    <a:cubicBezTo>
                      <a:pt x="61" y="481"/>
                      <a:pt x="60" y="481"/>
                      <a:pt x="59" y="481"/>
                    </a:cubicBezTo>
                    <a:cubicBezTo>
                      <a:pt x="59" y="481"/>
                      <a:pt x="58" y="481"/>
                      <a:pt x="58" y="481"/>
                    </a:cubicBezTo>
                    <a:cubicBezTo>
                      <a:pt x="59" y="479"/>
                      <a:pt x="60" y="478"/>
                      <a:pt x="61" y="476"/>
                    </a:cubicBezTo>
                    <a:cubicBezTo>
                      <a:pt x="59" y="475"/>
                      <a:pt x="55" y="471"/>
                      <a:pt x="52" y="471"/>
                    </a:cubicBezTo>
                    <a:cubicBezTo>
                      <a:pt x="51" y="471"/>
                      <a:pt x="51" y="471"/>
                      <a:pt x="51" y="471"/>
                    </a:cubicBezTo>
                    <a:cubicBezTo>
                      <a:pt x="49" y="473"/>
                      <a:pt x="44" y="475"/>
                      <a:pt x="44" y="477"/>
                    </a:cubicBezTo>
                    <a:cubicBezTo>
                      <a:pt x="41" y="476"/>
                      <a:pt x="39" y="473"/>
                      <a:pt x="35" y="473"/>
                    </a:cubicBezTo>
                    <a:cubicBezTo>
                      <a:pt x="35" y="473"/>
                      <a:pt x="35" y="473"/>
                      <a:pt x="34" y="473"/>
                    </a:cubicBezTo>
                    <a:cubicBezTo>
                      <a:pt x="29" y="474"/>
                      <a:pt x="24" y="475"/>
                      <a:pt x="18" y="475"/>
                    </a:cubicBezTo>
                    <a:cubicBezTo>
                      <a:pt x="18" y="475"/>
                      <a:pt x="18" y="475"/>
                      <a:pt x="18" y="475"/>
                    </a:cubicBezTo>
                    <a:cubicBezTo>
                      <a:pt x="16" y="475"/>
                      <a:pt x="13" y="474"/>
                      <a:pt x="11" y="474"/>
                    </a:cubicBezTo>
                    <a:cubicBezTo>
                      <a:pt x="10" y="474"/>
                      <a:pt x="9" y="474"/>
                      <a:pt x="9" y="474"/>
                    </a:cubicBezTo>
                    <a:cubicBezTo>
                      <a:pt x="5" y="475"/>
                      <a:pt x="9" y="478"/>
                      <a:pt x="11" y="479"/>
                    </a:cubicBezTo>
                    <a:cubicBezTo>
                      <a:pt x="10" y="480"/>
                      <a:pt x="8" y="481"/>
                      <a:pt x="7" y="483"/>
                    </a:cubicBezTo>
                    <a:cubicBezTo>
                      <a:pt x="6" y="482"/>
                      <a:pt x="5" y="481"/>
                      <a:pt x="5" y="479"/>
                    </a:cubicBezTo>
                    <a:cubicBezTo>
                      <a:pt x="6" y="483"/>
                      <a:pt x="6" y="484"/>
                      <a:pt x="8" y="484"/>
                    </a:cubicBezTo>
                    <a:cubicBezTo>
                      <a:pt x="9" y="484"/>
                      <a:pt x="11" y="484"/>
                      <a:pt x="12" y="484"/>
                    </a:cubicBezTo>
                    <a:cubicBezTo>
                      <a:pt x="14" y="484"/>
                      <a:pt x="15" y="483"/>
                      <a:pt x="17" y="483"/>
                    </a:cubicBezTo>
                    <a:cubicBezTo>
                      <a:pt x="11" y="484"/>
                      <a:pt x="13" y="488"/>
                      <a:pt x="16" y="490"/>
                    </a:cubicBezTo>
                    <a:cubicBezTo>
                      <a:pt x="14" y="491"/>
                      <a:pt x="7" y="496"/>
                      <a:pt x="13" y="496"/>
                    </a:cubicBezTo>
                    <a:cubicBezTo>
                      <a:pt x="13" y="496"/>
                      <a:pt x="13" y="496"/>
                      <a:pt x="13" y="496"/>
                    </a:cubicBezTo>
                    <a:cubicBezTo>
                      <a:pt x="15" y="496"/>
                      <a:pt x="17" y="494"/>
                      <a:pt x="19" y="493"/>
                    </a:cubicBezTo>
                    <a:cubicBezTo>
                      <a:pt x="21" y="491"/>
                      <a:pt x="23" y="489"/>
                      <a:pt x="25" y="489"/>
                    </a:cubicBezTo>
                    <a:cubicBezTo>
                      <a:pt x="26" y="489"/>
                      <a:pt x="26" y="489"/>
                      <a:pt x="27" y="490"/>
                    </a:cubicBezTo>
                    <a:cubicBezTo>
                      <a:pt x="26" y="493"/>
                      <a:pt x="24" y="496"/>
                      <a:pt x="23" y="500"/>
                    </a:cubicBezTo>
                    <a:cubicBezTo>
                      <a:pt x="22" y="501"/>
                      <a:pt x="22" y="501"/>
                      <a:pt x="21" y="501"/>
                    </a:cubicBezTo>
                    <a:cubicBezTo>
                      <a:pt x="20" y="501"/>
                      <a:pt x="19" y="501"/>
                      <a:pt x="17" y="501"/>
                    </a:cubicBezTo>
                    <a:cubicBezTo>
                      <a:pt x="16" y="501"/>
                      <a:pt x="14" y="498"/>
                      <a:pt x="13" y="498"/>
                    </a:cubicBezTo>
                    <a:cubicBezTo>
                      <a:pt x="13" y="498"/>
                      <a:pt x="12" y="498"/>
                      <a:pt x="12" y="498"/>
                    </a:cubicBezTo>
                    <a:cubicBezTo>
                      <a:pt x="9" y="504"/>
                      <a:pt x="9" y="504"/>
                      <a:pt x="13" y="510"/>
                    </a:cubicBezTo>
                    <a:cubicBezTo>
                      <a:pt x="14" y="511"/>
                      <a:pt x="15" y="513"/>
                      <a:pt x="17" y="513"/>
                    </a:cubicBezTo>
                    <a:cubicBezTo>
                      <a:pt x="17" y="513"/>
                      <a:pt x="17" y="513"/>
                      <a:pt x="17" y="513"/>
                    </a:cubicBezTo>
                    <a:cubicBezTo>
                      <a:pt x="19" y="513"/>
                      <a:pt x="21" y="508"/>
                      <a:pt x="23" y="506"/>
                    </a:cubicBezTo>
                    <a:cubicBezTo>
                      <a:pt x="23" y="507"/>
                      <a:pt x="20" y="513"/>
                      <a:pt x="21" y="513"/>
                    </a:cubicBezTo>
                    <a:cubicBezTo>
                      <a:pt x="21" y="513"/>
                      <a:pt x="21" y="513"/>
                      <a:pt x="21" y="513"/>
                    </a:cubicBezTo>
                    <a:cubicBezTo>
                      <a:pt x="23" y="513"/>
                      <a:pt x="25" y="512"/>
                      <a:pt x="27" y="511"/>
                    </a:cubicBezTo>
                    <a:cubicBezTo>
                      <a:pt x="27" y="512"/>
                      <a:pt x="24" y="521"/>
                      <a:pt x="27" y="521"/>
                    </a:cubicBezTo>
                    <a:cubicBezTo>
                      <a:pt x="27" y="521"/>
                      <a:pt x="27" y="521"/>
                      <a:pt x="28" y="521"/>
                    </a:cubicBezTo>
                    <a:cubicBezTo>
                      <a:pt x="29" y="521"/>
                      <a:pt x="29" y="516"/>
                      <a:pt x="30" y="515"/>
                    </a:cubicBezTo>
                    <a:cubicBezTo>
                      <a:pt x="30" y="514"/>
                      <a:pt x="33" y="512"/>
                      <a:pt x="34" y="512"/>
                    </a:cubicBezTo>
                    <a:cubicBezTo>
                      <a:pt x="39" y="508"/>
                      <a:pt x="44" y="503"/>
                      <a:pt x="49" y="501"/>
                    </a:cubicBezTo>
                    <a:cubicBezTo>
                      <a:pt x="53" y="500"/>
                      <a:pt x="57" y="499"/>
                      <a:pt x="60" y="499"/>
                    </a:cubicBezTo>
                    <a:cubicBezTo>
                      <a:pt x="62" y="499"/>
                      <a:pt x="63" y="499"/>
                      <a:pt x="65" y="499"/>
                    </a:cubicBezTo>
                    <a:cubicBezTo>
                      <a:pt x="59" y="500"/>
                      <a:pt x="57" y="499"/>
                      <a:pt x="54" y="504"/>
                    </a:cubicBezTo>
                    <a:cubicBezTo>
                      <a:pt x="52" y="508"/>
                      <a:pt x="50" y="512"/>
                      <a:pt x="48" y="516"/>
                    </a:cubicBezTo>
                    <a:cubicBezTo>
                      <a:pt x="49" y="512"/>
                      <a:pt x="49" y="507"/>
                      <a:pt x="51" y="504"/>
                    </a:cubicBezTo>
                    <a:cubicBezTo>
                      <a:pt x="51" y="504"/>
                      <a:pt x="51" y="504"/>
                      <a:pt x="50" y="504"/>
                    </a:cubicBezTo>
                    <a:cubicBezTo>
                      <a:pt x="45" y="504"/>
                      <a:pt x="42" y="507"/>
                      <a:pt x="38" y="510"/>
                    </a:cubicBezTo>
                    <a:cubicBezTo>
                      <a:pt x="36" y="511"/>
                      <a:pt x="34" y="514"/>
                      <a:pt x="38" y="515"/>
                    </a:cubicBezTo>
                    <a:cubicBezTo>
                      <a:pt x="38" y="515"/>
                      <a:pt x="38" y="515"/>
                      <a:pt x="39" y="515"/>
                    </a:cubicBezTo>
                    <a:cubicBezTo>
                      <a:pt x="39" y="515"/>
                      <a:pt x="39" y="515"/>
                      <a:pt x="40" y="514"/>
                    </a:cubicBezTo>
                    <a:cubicBezTo>
                      <a:pt x="40" y="514"/>
                      <a:pt x="41" y="514"/>
                      <a:pt x="41" y="514"/>
                    </a:cubicBezTo>
                    <a:cubicBezTo>
                      <a:pt x="41" y="514"/>
                      <a:pt x="41" y="515"/>
                      <a:pt x="40" y="516"/>
                    </a:cubicBezTo>
                    <a:cubicBezTo>
                      <a:pt x="38" y="518"/>
                      <a:pt x="35" y="519"/>
                      <a:pt x="32" y="520"/>
                    </a:cubicBezTo>
                    <a:cubicBezTo>
                      <a:pt x="31" y="521"/>
                      <a:pt x="32" y="522"/>
                      <a:pt x="32" y="523"/>
                    </a:cubicBezTo>
                    <a:cubicBezTo>
                      <a:pt x="30" y="523"/>
                      <a:pt x="29" y="524"/>
                      <a:pt x="28" y="525"/>
                    </a:cubicBezTo>
                    <a:cubicBezTo>
                      <a:pt x="26" y="526"/>
                      <a:pt x="25" y="526"/>
                      <a:pt x="24" y="528"/>
                    </a:cubicBezTo>
                    <a:cubicBezTo>
                      <a:pt x="25" y="528"/>
                      <a:pt x="26" y="529"/>
                      <a:pt x="27" y="529"/>
                    </a:cubicBezTo>
                    <a:cubicBezTo>
                      <a:pt x="29" y="530"/>
                      <a:pt x="32" y="530"/>
                      <a:pt x="35" y="530"/>
                    </a:cubicBezTo>
                    <a:cubicBezTo>
                      <a:pt x="33" y="532"/>
                      <a:pt x="28" y="533"/>
                      <a:pt x="28" y="536"/>
                    </a:cubicBezTo>
                    <a:cubicBezTo>
                      <a:pt x="28" y="537"/>
                      <a:pt x="27" y="538"/>
                      <a:pt x="26" y="538"/>
                    </a:cubicBezTo>
                    <a:cubicBezTo>
                      <a:pt x="26" y="538"/>
                      <a:pt x="25" y="538"/>
                      <a:pt x="25" y="538"/>
                    </a:cubicBezTo>
                    <a:cubicBezTo>
                      <a:pt x="26" y="537"/>
                      <a:pt x="24" y="535"/>
                      <a:pt x="22" y="535"/>
                    </a:cubicBezTo>
                    <a:cubicBezTo>
                      <a:pt x="22" y="535"/>
                      <a:pt x="22" y="535"/>
                      <a:pt x="21" y="535"/>
                    </a:cubicBezTo>
                    <a:cubicBezTo>
                      <a:pt x="21" y="536"/>
                      <a:pt x="19" y="540"/>
                      <a:pt x="18" y="541"/>
                    </a:cubicBezTo>
                    <a:cubicBezTo>
                      <a:pt x="18" y="541"/>
                      <a:pt x="17" y="542"/>
                      <a:pt x="16" y="542"/>
                    </a:cubicBezTo>
                    <a:cubicBezTo>
                      <a:pt x="15" y="542"/>
                      <a:pt x="15" y="541"/>
                      <a:pt x="14" y="541"/>
                    </a:cubicBezTo>
                    <a:cubicBezTo>
                      <a:pt x="19" y="539"/>
                      <a:pt x="19" y="538"/>
                      <a:pt x="19" y="532"/>
                    </a:cubicBezTo>
                    <a:cubicBezTo>
                      <a:pt x="17" y="533"/>
                      <a:pt x="17" y="534"/>
                      <a:pt x="16" y="535"/>
                    </a:cubicBezTo>
                    <a:cubicBezTo>
                      <a:pt x="13" y="537"/>
                      <a:pt x="13" y="537"/>
                      <a:pt x="13" y="537"/>
                    </a:cubicBezTo>
                    <a:cubicBezTo>
                      <a:pt x="12" y="539"/>
                      <a:pt x="13" y="542"/>
                      <a:pt x="11" y="544"/>
                    </a:cubicBezTo>
                    <a:cubicBezTo>
                      <a:pt x="15" y="545"/>
                      <a:pt x="16" y="547"/>
                      <a:pt x="19" y="550"/>
                    </a:cubicBezTo>
                    <a:cubicBezTo>
                      <a:pt x="19" y="550"/>
                      <a:pt x="19" y="550"/>
                      <a:pt x="20" y="550"/>
                    </a:cubicBezTo>
                    <a:cubicBezTo>
                      <a:pt x="20" y="550"/>
                      <a:pt x="20" y="550"/>
                      <a:pt x="21" y="549"/>
                    </a:cubicBezTo>
                    <a:cubicBezTo>
                      <a:pt x="22" y="548"/>
                      <a:pt x="21" y="543"/>
                      <a:pt x="21" y="542"/>
                    </a:cubicBezTo>
                    <a:cubicBezTo>
                      <a:pt x="22" y="545"/>
                      <a:pt x="22" y="548"/>
                      <a:pt x="23" y="551"/>
                    </a:cubicBezTo>
                    <a:cubicBezTo>
                      <a:pt x="23" y="550"/>
                      <a:pt x="25" y="550"/>
                      <a:pt x="25" y="548"/>
                    </a:cubicBezTo>
                    <a:cubicBezTo>
                      <a:pt x="27" y="544"/>
                      <a:pt x="24" y="544"/>
                      <a:pt x="29" y="543"/>
                    </a:cubicBezTo>
                    <a:cubicBezTo>
                      <a:pt x="31" y="542"/>
                      <a:pt x="32" y="542"/>
                      <a:pt x="34" y="542"/>
                    </a:cubicBezTo>
                    <a:cubicBezTo>
                      <a:pt x="35" y="542"/>
                      <a:pt x="37" y="542"/>
                      <a:pt x="38" y="543"/>
                    </a:cubicBezTo>
                    <a:cubicBezTo>
                      <a:pt x="35" y="543"/>
                      <a:pt x="34" y="544"/>
                      <a:pt x="32" y="547"/>
                    </a:cubicBezTo>
                    <a:cubicBezTo>
                      <a:pt x="35" y="546"/>
                      <a:pt x="37" y="545"/>
                      <a:pt x="38" y="543"/>
                    </a:cubicBezTo>
                    <a:cubicBezTo>
                      <a:pt x="39" y="541"/>
                      <a:pt x="40" y="539"/>
                      <a:pt x="42" y="538"/>
                    </a:cubicBezTo>
                    <a:cubicBezTo>
                      <a:pt x="42" y="538"/>
                      <a:pt x="42" y="538"/>
                      <a:pt x="43" y="538"/>
                    </a:cubicBezTo>
                    <a:cubicBezTo>
                      <a:pt x="44" y="538"/>
                      <a:pt x="47" y="539"/>
                      <a:pt x="49" y="540"/>
                    </a:cubicBezTo>
                    <a:cubicBezTo>
                      <a:pt x="49" y="540"/>
                      <a:pt x="48" y="540"/>
                      <a:pt x="48" y="540"/>
                    </a:cubicBezTo>
                    <a:cubicBezTo>
                      <a:pt x="43" y="540"/>
                      <a:pt x="37" y="545"/>
                      <a:pt x="33" y="548"/>
                    </a:cubicBezTo>
                    <a:cubicBezTo>
                      <a:pt x="38" y="548"/>
                      <a:pt x="43" y="548"/>
                      <a:pt x="47" y="550"/>
                    </a:cubicBezTo>
                    <a:cubicBezTo>
                      <a:pt x="47" y="550"/>
                      <a:pt x="47" y="550"/>
                      <a:pt x="47" y="550"/>
                    </a:cubicBezTo>
                    <a:cubicBezTo>
                      <a:pt x="43" y="550"/>
                      <a:pt x="31" y="556"/>
                      <a:pt x="30" y="559"/>
                    </a:cubicBezTo>
                    <a:cubicBezTo>
                      <a:pt x="30" y="562"/>
                      <a:pt x="32" y="562"/>
                      <a:pt x="36" y="562"/>
                    </a:cubicBezTo>
                    <a:cubicBezTo>
                      <a:pt x="41" y="562"/>
                      <a:pt x="49" y="561"/>
                      <a:pt x="51" y="561"/>
                    </a:cubicBezTo>
                    <a:cubicBezTo>
                      <a:pt x="49" y="561"/>
                      <a:pt x="46" y="562"/>
                      <a:pt x="44" y="562"/>
                    </a:cubicBezTo>
                    <a:cubicBezTo>
                      <a:pt x="39" y="563"/>
                      <a:pt x="39" y="564"/>
                      <a:pt x="38" y="570"/>
                    </a:cubicBezTo>
                    <a:cubicBezTo>
                      <a:pt x="34" y="568"/>
                      <a:pt x="32" y="567"/>
                      <a:pt x="28" y="566"/>
                    </a:cubicBezTo>
                    <a:cubicBezTo>
                      <a:pt x="26" y="566"/>
                      <a:pt x="25" y="566"/>
                      <a:pt x="24" y="564"/>
                    </a:cubicBezTo>
                    <a:cubicBezTo>
                      <a:pt x="23" y="563"/>
                      <a:pt x="23" y="562"/>
                      <a:pt x="21" y="562"/>
                    </a:cubicBezTo>
                    <a:cubicBezTo>
                      <a:pt x="21" y="562"/>
                      <a:pt x="21" y="563"/>
                      <a:pt x="20" y="563"/>
                    </a:cubicBezTo>
                    <a:cubicBezTo>
                      <a:pt x="22" y="565"/>
                      <a:pt x="23" y="565"/>
                      <a:pt x="22" y="567"/>
                    </a:cubicBezTo>
                    <a:cubicBezTo>
                      <a:pt x="22" y="567"/>
                      <a:pt x="20" y="568"/>
                      <a:pt x="20" y="569"/>
                    </a:cubicBezTo>
                    <a:cubicBezTo>
                      <a:pt x="19" y="570"/>
                      <a:pt x="19" y="572"/>
                      <a:pt x="19" y="574"/>
                    </a:cubicBezTo>
                    <a:cubicBezTo>
                      <a:pt x="18" y="576"/>
                      <a:pt x="26" y="584"/>
                      <a:pt x="28" y="585"/>
                    </a:cubicBezTo>
                    <a:cubicBezTo>
                      <a:pt x="33" y="588"/>
                      <a:pt x="39" y="592"/>
                      <a:pt x="44" y="593"/>
                    </a:cubicBezTo>
                    <a:cubicBezTo>
                      <a:pt x="46" y="593"/>
                      <a:pt x="49" y="594"/>
                      <a:pt x="51" y="594"/>
                    </a:cubicBezTo>
                    <a:cubicBezTo>
                      <a:pt x="52" y="594"/>
                      <a:pt x="52" y="594"/>
                      <a:pt x="53" y="594"/>
                    </a:cubicBezTo>
                    <a:cubicBezTo>
                      <a:pt x="55" y="594"/>
                      <a:pt x="57" y="593"/>
                      <a:pt x="58" y="593"/>
                    </a:cubicBezTo>
                    <a:cubicBezTo>
                      <a:pt x="58" y="593"/>
                      <a:pt x="58" y="593"/>
                      <a:pt x="58" y="593"/>
                    </a:cubicBezTo>
                    <a:cubicBezTo>
                      <a:pt x="55" y="595"/>
                      <a:pt x="51" y="596"/>
                      <a:pt x="49" y="600"/>
                    </a:cubicBezTo>
                    <a:cubicBezTo>
                      <a:pt x="51" y="602"/>
                      <a:pt x="56" y="602"/>
                      <a:pt x="59" y="602"/>
                    </a:cubicBezTo>
                    <a:cubicBezTo>
                      <a:pt x="59" y="602"/>
                      <a:pt x="59" y="602"/>
                      <a:pt x="60" y="602"/>
                    </a:cubicBezTo>
                    <a:cubicBezTo>
                      <a:pt x="63" y="602"/>
                      <a:pt x="63" y="600"/>
                      <a:pt x="66" y="599"/>
                    </a:cubicBezTo>
                    <a:cubicBezTo>
                      <a:pt x="65" y="601"/>
                      <a:pt x="63" y="603"/>
                      <a:pt x="62" y="605"/>
                    </a:cubicBezTo>
                    <a:cubicBezTo>
                      <a:pt x="63" y="604"/>
                      <a:pt x="64" y="603"/>
                      <a:pt x="65" y="603"/>
                    </a:cubicBezTo>
                    <a:cubicBezTo>
                      <a:pt x="66" y="603"/>
                      <a:pt x="67" y="602"/>
                      <a:pt x="68" y="602"/>
                    </a:cubicBezTo>
                    <a:cubicBezTo>
                      <a:pt x="70" y="602"/>
                      <a:pt x="72" y="603"/>
                      <a:pt x="74" y="603"/>
                    </a:cubicBezTo>
                    <a:cubicBezTo>
                      <a:pt x="74" y="603"/>
                      <a:pt x="74" y="603"/>
                      <a:pt x="74" y="603"/>
                    </a:cubicBezTo>
                    <a:cubicBezTo>
                      <a:pt x="76" y="603"/>
                      <a:pt x="80" y="600"/>
                      <a:pt x="82" y="600"/>
                    </a:cubicBezTo>
                    <a:cubicBezTo>
                      <a:pt x="90" y="599"/>
                      <a:pt x="97" y="596"/>
                      <a:pt x="104" y="593"/>
                    </a:cubicBezTo>
                    <a:cubicBezTo>
                      <a:pt x="107" y="592"/>
                      <a:pt x="109" y="588"/>
                      <a:pt x="111" y="586"/>
                    </a:cubicBezTo>
                    <a:cubicBezTo>
                      <a:pt x="113" y="584"/>
                      <a:pt x="118" y="582"/>
                      <a:pt x="116" y="579"/>
                    </a:cubicBezTo>
                    <a:cubicBezTo>
                      <a:pt x="118" y="578"/>
                      <a:pt x="124" y="577"/>
                      <a:pt x="125" y="575"/>
                    </a:cubicBezTo>
                    <a:cubicBezTo>
                      <a:pt x="123" y="575"/>
                      <a:pt x="122" y="574"/>
                      <a:pt x="120" y="573"/>
                    </a:cubicBezTo>
                    <a:cubicBezTo>
                      <a:pt x="123" y="573"/>
                      <a:pt x="126" y="573"/>
                      <a:pt x="129" y="572"/>
                    </a:cubicBezTo>
                    <a:cubicBezTo>
                      <a:pt x="128" y="571"/>
                      <a:pt x="127" y="569"/>
                      <a:pt x="127" y="568"/>
                    </a:cubicBezTo>
                    <a:cubicBezTo>
                      <a:pt x="127" y="568"/>
                      <a:pt x="127" y="568"/>
                      <a:pt x="127" y="568"/>
                    </a:cubicBezTo>
                    <a:cubicBezTo>
                      <a:pt x="130" y="568"/>
                      <a:pt x="136" y="564"/>
                      <a:pt x="138" y="563"/>
                    </a:cubicBezTo>
                    <a:cubicBezTo>
                      <a:pt x="136" y="562"/>
                      <a:pt x="135" y="560"/>
                      <a:pt x="133" y="558"/>
                    </a:cubicBezTo>
                    <a:cubicBezTo>
                      <a:pt x="138" y="558"/>
                      <a:pt x="140" y="561"/>
                      <a:pt x="145" y="561"/>
                    </a:cubicBezTo>
                    <a:cubicBezTo>
                      <a:pt x="145" y="561"/>
                      <a:pt x="146" y="562"/>
                      <a:pt x="147" y="562"/>
                    </a:cubicBezTo>
                    <a:cubicBezTo>
                      <a:pt x="149" y="562"/>
                      <a:pt x="150" y="561"/>
                      <a:pt x="153" y="558"/>
                    </a:cubicBezTo>
                    <a:cubicBezTo>
                      <a:pt x="155" y="556"/>
                      <a:pt x="156" y="554"/>
                      <a:pt x="157" y="551"/>
                    </a:cubicBezTo>
                    <a:cubicBezTo>
                      <a:pt x="158" y="554"/>
                      <a:pt x="159" y="555"/>
                      <a:pt x="159" y="555"/>
                    </a:cubicBezTo>
                    <a:cubicBezTo>
                      <a:pt x="160" y="555"/>
                      <a:pt x="161" y="551"/>
                      <a:pt x="160" y="548"/>
                    </a:cubicBezTo>
                    <a:cubicBezTo>
                      <a:pt x="160" y="545"/>
                      <a:pt x="155" y="542"/>
                      <a:pt x="153" y="539"/>
                    </a:cubicBezTo>
                    <a:cubicBezTo>
                      <a:pt x="154" y="539"/>
                      <a:pt x="155" y="539"/>
                      <a:pt x="156" y="539"/>
                    </a:cubicBezTo>
                    <a:cubicBezTo>
                      <a:pt x="157" y="539"/>
                      <a:pt x="158" y="539"/>
                      <a:pt x="158" y="537"/>
                    </a:cubicBezTo>
                    <a:cubicBezTo>
                      <a:pt x="160" y="538"/>
                      <a:pt x="162" y="538"/>
                      <a:pt x="162" y="538"/>
                    </a:cubicBezTo>
                    <a:cubicBezTo>
                      <a:pt x="165" y="538"/>
                      <a:pt x="163" y="536"/>
                      <a:pt x="161" y="533"/>
                    </a:cubicBezTo>
                    <a:cubicBezTo>
                      <a:pt x="160" y="529"/>
                      <a:pt x="161" y="526"/>
                      <a:pt x="164" y="525"/>
                    </a:cubicBezTo>
                    <a:cubicBezTo>
                      <a:pt x="164" y="525"/>
                      <a:pt x="165" y="525"/>
                      <a:pt x="165" y="525"/>
                    </a:cubicBezTo>
                    <a:cubicBezTo>
                      <a:pt x="168" y="525"/>
                      <a:pt x="167" y="530"/>
                      <a:pt x="167" y="531"/>
                    </a:cubicBezTo>
                    <a:cubicBezTo>
                      <a:pt x="167" y="531"/>
                      <a:pt x="166" y="530"/>
                      <a:pt x="166" y="529"/>
                    </a:cubicBezTo>
                    <a:cubicBezTo>
                      <a:pt x="162" y="531"/>
                      <a:pt x="163" y="531"/>
                      <a:pt x="164" y="536"/>
                    </a:cubicBezTo>
                    <a:cubicBezTo>
                      <a:pt x="165" y="538"/>
                      <a:pt x="166" y="541"/>
                      <a:pt x="166" y="543"/>
                    </a:cubicBezTo>
                    <a:cubicBezTo>
                      <a:pt x="165" y="546"/>
                      <a:pt x="164" y="548"/>
                      <a:pt x="167" y="549"/>
                    </a:cubicBezTo>
                    <a:cubicBezTo>
                      <a:pt x="169" y="550"/>
                      <a:pt x="168" y="554"/>
                      <a:pt x="170" y="556"/>
                    </a:cubicBezTo>
                    <a:cubicBezTo>
                      <a:pt x="170" y="556"/>
                      <a:pt x="171" y="556"/>
                      <a:pt x="172" y="556"/>
                    </a:cubicBezTo>
                    <a:cubicBezTo>
                      <a:pt x="172" y="556"/>
                      <a:pt x="173" y="556"/>
                      <a:pt x="174" y="556"/>
                    </a:cubicBezTo>
                    <a:cubicBezTo>
                      <a:pt x="175" y="556"/>
                      <a:pt x="176" y="556"/>
                      <a:pt x="177" y="556"/>
                    </a:cubicBezTo>
                    <a:cubicBezTo>
                      <a:pt x="178" y="556"/>
                      <a:pt x="178" y="556"/>
                      <a:pt x="179" y="556"/>
                    </a:cubicBezTo>
                    <a:cubicBezTo>
                      <a:pt x="179" y="556"/>
                      <a:pt x="179" y="556"/>
                      <a:pt x="179" y="556"/>
                    </a:cubicBezTo>
                    <a:cubicBezTo>
                      <a:pt x="180" y="557"/>
                      <a:pt x="180" y="557"/>
                      <a:pt x="180" y="557"/>
                    </a:cubicBezTo>
                    <a:cubicBezTo>
                      <a:pt x="182" y="556"/>
                      <a:pt x="182" y="556"/>
                      <a:pt x="182" y="556"/>
                    </a:cubicBezTo>
                    <a:cubicBezTo>
                      <a:pt x="183" y="557"/>
                      <a:pt x="183" y="557"/>
                      <a:pt x="183" y="557"/>
                    </a:cubicBezTo>
                    <a:cubicBezTo>
                      <a:pt x="184" y="558"/>
                      <a:pt x="188" y="560"/>
                      <a:pt x="191" y="561"/>
                    </a:cubicBezTo>
                    <a:cubicBezTo>
                      <a:pt x="191" y="561"/>
                      <a:pt x="191" y="561"/>
                      <a:pt x="191" y="561"/>
                    </a:cubicBezTo>
                    <a:cubicBezTo>
                      <a:pt x="194" y="552"/>
                      <a:pt x="194" y="552"/>
                      <a:pt x="194" y="552"/>
                    </a:cubicBezTo>
                    <a:cubicBezTo>
                      <a:pt x="194" y="551"/>
                      <a:pt x="193" y="546"/>
                      <a:pt x="193" y="544"/>
                    </a:cubicBezTo>
                    <a:cubicBezTo>
                      <a:pt x="193" y="543"/>
                      <a:pt x="192" y="542"/>
                      <a:pt x="192" y="541"/>
                    </a:cubicBezTo>
                    <a:cubicBezTo>
                      <a:pt x="192" y="537"/>
                      <a:pt x="192" y="535"/>
                      <a:pt x="194" y="532"/>
                    </a:cubicBezTo>
                    <a:cubicBezTo>
                      <a:pt x="195" y="531"/>
                      <a:pt x="195" y="531"/>
                      <a:pt x="195" y="531"/>
                    </a:cubicBezTo>
                    <a:cubicBezTo>
                      <a:pt x="195" y="530"/>
                      <a:pt x="196" y="529"/>
                      <a:pt x="196" y="529"/>
                    </a:cubicBezTo>
                    <a:cubicBezTo>
                      <a:pt x="196" y="529"/>
                      <a:pt x="196" y="529"/>
                      <a:pt x="196" y="529"/>
                    </a:cubicBezTo>
                    <a:cubicBezTo>
                      <a:pt x="196" y="528"/>
                      <a:pt x="196" y="528"/>
                      <a:pt x="196" y="528"/>
                    </a:cubicBezTo>
                    <a:cubicBezTo>
                      <a:pt x="196" y="528"/>
                      <a:pt x="196" y="528"/>
                      <a:pt x="196" y="528"/>
                    </a:cubicBezTo>
                    <a:cubicBezTo>
                      <a:pt x="196" y="527"/>
                      <a:pt x="196" y="527"/>
                      <a:pt x="196" y="527"/>
                    </a:cubicBezTo>
                    <a:cubicBezTo>
                      <a:pt x="195" y="526"/>
                      <a:pt x="195" y="526"/>
                      <a:pt x="195" y="526"/>
                    </a:cubicBezTo>
                    <a:cubicBezTo>
                      <a:pt x="195" y="526"/>
                      <a:pt x="195" y="526"/>
                      <a:pt x="195" y="526"/>
                    </a:cubicBezTo>
                    <a:cubicBezTo>
                      <a:pt x="195" y="526"/>
                      <a:pt x="195" y="526"/>
                      <a:pt x="195" y="526"/>
                    </a:cubicBezTo>
                    <a:cubicBezTo>
                      <a:pt x="196" y="525"/>
                      <a:pt x="196" y="525"/>
                      <a:pt x="196" y="525"/>
                    </a:cubicBezTo>
                    <a:cubicBezTo>
                      <a:pt x="196" y="523"/>
                      <a:pt x="198" y="522"/>
                      <a:pt x="199" y="522"/>
                    </a:cubicBezTo>
                    <a:cubicBezTo>
                      <a:pt x="205" y="520"/>
                      <a:pt x="205" y="520"/>
                      <a:pt x="205" y="520"/>
                    </a:cubicBezTo>
                    <a:cubicBezTo>
                      <a:pt x="206" y="519"/>
                      <a:pt x="206" y="519"/>
                      <a:pt x="207" y="519"/>
                    </a:cubicBezTo>
                    <a:cubicBezTo>
                      <a:pt x="210" y="518"/>
                      <a:pt x="210" y="518"/>
                      <a:pt x="210" y="517"/>
                    </a:cubicBezTo>
                    <a:cubicBezTo>
                      <a:pt x="210" y="516"/>
                      <a:pt x="210" y="516"/>
                      <a:pt x="210" y="516"/>
                    </a:cubicBezTo>
                    <a:cubicBezTo>
                      <a:pt x="211" y="516"/>
                      <a:pt x="211" y="516"/>
                      <a:pt x="211" y="516"/>
                    </a:cubicBezTo>
                    <a:cubicBezTo>
                      <a:pt x="211" y="513"/>
                      <a:pt x="211" y="513"/>
                      <a:pt x="211" y="513"/>
                    </a:cubicBezTo>
                    <a:cubicBezTo>
                      <a:pt x="212" y="509"/>
                      <a:pt x="214" y="506"/>
                      <a:pt x="215" y="502"/>
                    </a:cubicBezTo>
                    <a:cubicBezTo>
                      <a:pt x="215" y="500"/>
                      <a:pt x="215" y="500"/>
                      <a:pt x="215" y="500"/>
                    </a:cubicBezTo>
                    <a:cubicBezTo>
                      <a:pt x="216" y="497"/>
                      <a:pt x="213" y="492"/>
                      <a:pt x="211" y="487"/>
                    </a:cubicBezTo>
                    <a:cubicBezTo>
                      <a:pt x="210" y="487"/>
                      <a:pt x="210" y="487"/>
                      <a:pt x="210" y="487"/>
                    </a:cubicBezTo>
                    <a:cubicBezTo>
                      <a:pt x="209" y="484"/>
                      <a:pt x="207" y="481"/>
                      <a:pt x="207" y="478"/>
                    </a:cubicBezTo>
                    <a:cubicBezTo>
                      <a:pt x="205" y="474"/>
                      <a:pt x="205" y="474"/>
                      <a:pt x="205" y="474"/>
                    </a:cubicBezTo>
                    <a:cubicBezTo>
                      <a:pt x="209" y="474"/>
                      <a:pt x="209" y="474"/>
                      <a:pt x="209" y="474"/>
                    </a:cubicBezTo>
                    <a:cubicBezTo>
                      <a:pt x="210" y="474"/>
                      <a:pt x="212" y="474"/>
                      <a:pt x="213" y="474"/>
                    </a:cubicBezTo>
                    <a:cubicBezTo>
                      <a:pt x="213" y="474"/>
                      <a:pt x="213" y="474"/>
                      <a:pt x="213" y="474"/>
                    </a:cubicBezTo>
                    <a:cubicBezTo>
                      <a:pt x="216" y="473"/>
                      <a:pt x="218" y="473"/>
                      <a:pt x="219" y="473"/>
                    </a:cubicBezTo>
                    <a:cubicBezTo>
                      <a:pt x="220" y="472"/>
                      <a:pt x="220" y="472"/>
                      <a:pt x="220" y="472"/>
                    </a:cubicBezTo>
                    <a:cubicBezTo>
                      <a:pt x="221" y="470"/>
                      <a:pt x="223" y="467"/>
                      <a:pt x="223" y="466"/>
                    </a:cubicBezTo>
                    <a:cubicBezTo>
                      <a:pt x="223" y="466"/>
                      <a:pt x="223" y="465"/>
                      <a:pt x="222" y="463"/>
                    </a:cubicBezTo>
                    <a:cubicBezTo>
                      <a:pt x="222" y="463"/>
                      <a:pt x="222" y="463"/>
                      <a:pt x="222" y="463"/>
                    </a:cubicBezTo>
                    <a:cubicBezTo>
                      <a:pt x="221" y="462"/>
                      <a:pt x="221" y="461"/>
                      <a:pt x="216" y="457"/>
                    </a:cubicBezTo>
                    <a:cubicBezTo>
                      <a:pt x="215" y="457"/>
                      <a:pt x="214" y="456"/>
                      <a:pt x="213" y="455"/>
                    </a:cubicBezTo>
                    <a:cubicBezTo>
                      <a:pt x="212" y="455"/>
                      <a:pt x="212" y="455"/>
                      <a:pt x="212" y="455"/>
                    </a:cubicBezTo>
                    <a:cubicBezTo>
                      <a:pt x="211" y="454"/>
                      <a:pt x="210" y="453"/>
                      <a:pt x="210" y="453"/>
                    </a:cubicBezTo>
                    <a:cubicBezTo>
                      <a:pt x="209" y="452"/>
                      <a:pt x="208" y="452"/>
                      <a:pt x="208" y="451"/>
                    </a:cubicBezTo>
                    <a:cubicBezTo>
                      <a:pt x="208" y="451"/>
                      <a:pt x="207" y="451"/>
                      <a:pt x="207" y="450"/>
                    </a:cubicBezTo>
                    <a:cubicBezTo>
                      <a:pt x="205" y="448"/>
                      <a:pt x="204" y="446"/>
                      <a:pt x="205" y="442"/>
                    </a:cubicBezTo>
                    <a:cubicBezTo>
                      <a:pt x="208" y="422"/>
                      <a:pt x="208" y="422"/>
                      <a:pt x="208" y="422"/>
                    </a:cubicBezTo>
                    <a:cubicBezTo>
                      <a:pt x="209" y="422"/>
                      <a:pt x="208" y="420"/>
                      <a:pt x="205" y="415"/>
                    </a:cubicBezTo>
                    <a:cubicBezTo>
                      <a:pt x="204" y="414"/>
                      <a:pt x="204" y="413"/>
                      <a:pt x="203" y="412"/>
                    </a:cubicBezTo>
                    <a:cubicBezTo>
                      <a:pt x="202" y="410"/>
                      <a:pt x="202" y="408"/>
                      <a:pt x="202" y="406"/>
                    </a:cubicBezTo>
                    <a:cubicBezTo>
                      <a:pt x="202" y="405"/>
                      <a:pt x="203" y="405"/>
                      <a:pt x="203" y="404"/>
                    </a:cubicBezTo>
                    <a:cubicBezTo>
                      <a:pt x="204" y="401"/>
                      <a:pt x="204" y="398"/>
                      <a:pt x="205" y="395"/>
                    </a:cubicBezTo>
                    <a:cubicBezTo>
                      <a:pt x="205" y="392"/>
                      <a:pt x="205" y="392"/>
                      <a:pt x="205" y="392"/>
                    </a:cubicBezTo>
                    <a:cubicBezTo>
                      <a:pt x="205" y="390"/>
                      <a:pt x="205" y="389"/>
                      <a:pt x="204" y="387"/>
                    </a:cubicBezTo>
                    <a:cubicBezTo>
                      <a:pt x="204" y="387"/>
                      <a:pt x="204" y="386"/>
                      <a:pt x="203" y="385"/>
                    </a:cubicBezTo>
                    <a:cubicBezTo>
                      <a:pt x="203" y="384"/>
                      <a:pt x="203" y="384"/>
                      <a:pt x="203" y="384"/>
                    </a:cubicBezTo>
                    <a:cubicBezTo>
                      <a:pt x="202" y="384"/>
                      <a:pt x="202" y="383"/>
                      <a:pt x="202" y="383"/>
                    </a:cubicBezTo>
                    <a:cubicBezTo>
                      <a:pt x="201" y="381"/>
                      <a:pt x="201" y="381"/>
                      <a:pt x="201" y="381"/>
                    </a:cubicBezTo>
                    <a:cubicBezTo>
                      <a:pt x="201" y="380"/>
                      <a:pt x="200" y="380"/>
                      <a:pt x="200" y="379"/>
                    </a:cubicBezTo>
                    <a:cubicBezTo>
                      <a:pt x="200" y="377"/>
                      <a:pt x="200" y="375"/>
                      <a:pt x="201" y="372"/>
                    </a:cubicBezTo>
                    <a:cubicBezTo>
                      <a:pt x="202" y="369"/>
                      <a:pt x="202" y="369"/>
                      <a:pt x="202" y="369"/>
                    </a:cubicBezTo>
                    <a:cubicBezTo>
                      <a:pt x="204" y="366"/>
                      <a:pt x="205" y="363"/>
                      <a:pt x="207" y="360"/>
                    </a:cubicBezTo>
                    <a:cubicBezTo>
                      <a:pt x="215" y="351"/>
                      <a:pt x="215" y="351"/>
                      <a:pt x="215" y="351"/>
                    </a:cubicBezTo>
                    <a:cubicBezTo>
                      <a:pt x="218" y="347"/>
                      <a:pt x="221" y="344"/>
                      <a:pt x="225" y="342"/>
                    </a:cubicBezTo>
                    <a:cubicBezTo>
                      <a:pt x="226" y="342"/>
                      <a:pt x="226" y="342"/>
                      <a:pt x="226" y="342"/>
                    </a:cubicBezTo>
                    <a:cubicBezTo>
                      <a:pt x="227" y="342"/>
                      <a:pt x="227" y="341"/>
                      <a:pt x="228" y="341"/>
                    </a:cubicBezTo>
                    <a:cubicBezTo>
                      <a:pt x="228" y="341"/>
                      <a:pt x="229" y="341"/>
                      <a:pt x="229" y="340"/>
                    </a:cubicBezTo>
                    <a:cubicBezTo>
                      <a:pt x="230" y="340"/>
                      <a:pt x="230" y="340"/>
                      <a:pt x="230" y="340"/>
                    </a:cubicBezTo>
                    <a:cubicBezTo>
                      <a:pt x="232" y="339"/>
                      <a:pt x="234" y="338"/>
                      <a:pt x="237" y="338"/>
                    </a:cubicBezTo>
                    <a:cubicBezTo>
                      <a:pt x="238" y="338"/>
                      <a:pt x="238" y="338"/>
                      <a:pt x="239" y="338"/>
                    </a:cubicBezTo>
                    <a:cubicBezTo>
                      <a:pt x="255" y="340"/>
                      <a:pt x="255" y="340"/>
                      <a:pt x="255" y="340"/>
                    </a:cubicBezTo>
                    <a:cubicBezTo>
                      <a:pt x="255" y="340"/>
                      <a:pt x="255" y="340"/>
                      <a:pt x="256" y="340"/>
                    </a:cubicBezTo>
                    <a:cubicBezTo>
                      <a:pt x="257" y="340"/>
                      <a:pt x="258" y="340"/>
                      <a:pt x="259" y="336"/>
                    </a:cubicBezTo>
                    <a:cubicBezTo>
                      <a:pt x="260" y="334"/>
                      <a:pt x="260" y="332"/>
                      <a:pt x="260" y="330"/>
                    </a:cubicBezTo>
                    <a:cubicBezTo>
                      <a:pt x="259" y="329"/>
                      <a:pt x="259" y="329"/>
                      <a:pt x="259" y="329"/>
                    </a:cubicBezTo>
                    <a:cubicBezTo>
                      <a:pt x="259" y="328"/>
                      <a:pt x="259" y="328"/>
                      <a:pt x="259" y="328"/>
                    </a:cubicBezTo>
                    <a:cubicBezTo>
                      <a:pt x="259" y="327"/>
                      <a:pt x="259" y="327"/>
                      <a:pt x="257" y="326"/>
                    </a:cubicBezTo>
                    <a:cubicBezTo>
                      <a:pt x="257" y="325"/>
                      <a:pt x="255" y="325"/>
                      <a:pt x="255" y="323"/>
                    </a:cubicBezTo>
                    <a:cubicBezTo>
                      <a:pt x="254" y="323"/>
                      <a:pt x="254" y="323"/>
                      <a:pt x="254" y="323"/>
                    </a:cubicBezTo>
                    <a:cubicBezTo>
                      <a:pt x="253" y="319"/>
                      <a:pt x="253" y="315"/>
                      <a:pt x="252" y="311"/>
                    </a:cubicBezTo>
                    <a:cubicBezTo>
                      <a:pt x="252" y="310"/>
                      <a:pt x="252" y="310"/>
                      <a:pt x="252" y="310"/>
                    </a:cubicBezTo>
                    <a:cubicBezTo>
                      <a:pt x="253" y="308"/>
                      <a:pt x="253" y="308"/>
                      <a:pt x="253" y="308"/>
                    </a:cubicBezTo>
                    <a:cubicBezTo>
                      <a:pt x="254" y="307"/>
                      <a:pt x="255" y="305"/>
                      <a:pt x="257" y="304"/>
                    </a:cubicBezTo>
                    <a:cubicBezTo>
                      <a:pt x="257" y="303"/>
                      <a:pt x="257" y="303"/>
                      <a:pt x="257" y="303"/>
                    </a:cubicBezTo>
                    <a:cubicBezTo>
                      <a:pt x="259" y="301"/>
                      <a:pt x="261" y="298"/>
                      <a:pt x="263" y="296"/>
                    </a:cubicBezTo>
                    <a:cubicBezTo>
                      <a:pt x="264" y="294"/>
                      <a:pt x="266" y="293"/>
                      <a:pt x="267" y="291"/>
                    </a:cubicBezTo>
                    <a:cubicBezTo>
                      <a:pt x="267" y="290"/>
                      <a:pt x="268" y="289"/>
                      <a:pt x="268" y="289"/>
                    </a:cubicBezTo>
                    <a:cubicBezTo>
                      <a:pt x="269" y="287"/>
                      <a:pt x="271" y="284"/>
                      <a:pt x="271" y="282"/>
                    </a:cubicBezTo>
                    <a:cubicBezTo>
                      <a:pt x="271" y="280"/>
                      <a:pt x="271" y="280"/>
                      <a:pt x="271" y="280"/>
                    </a:cubicBezTo>
                    <a:cubicBezTo>
                      <a:pt x="272" y="276"/>
                      <a:pt x="272" y="273"/>
                      <a:pt x="273" y="269"/>
                    </a:cubicBezTo>
                    <a:cubicBezTo>
                      <a:pt x="273" y="267"/>
                      <a:pt x="273" y="266"/>
                      <a:pt x="273" y="264"/>
                    </a:cubicBezTo>
                    <a:cubicBezTo>
                      <a:pt x="274" y="262"/>
                      <a:pt x="274" y="260"/>
                      <a:pt x="274" y="258"/>
                    </a:cubicBezTo>
                    <a:cubicBezTo>
                      <a:pt x="274" y="258"/>
                      <a:pt x="274" y="258"/>
                      <a:pt x="274" y="258"/>
                    </a:cubicBezTo>
                    <a:cubicBezTo>
                      <a:pt x="273" y="256"/>
                      <a:pt x="273" y="256"/>
                      <a:pt x="273" y="256"/>
                    </a:cubicBezTo>
                    <a:cubicBezTo>
                      <a:pt x="273" y="255"/>
                      <a:pt x="273" y="254"/>
                      <a:pt x="273" y="253"/>
                    </a:cubicBezTo>
                    <a:cubicBezTo>
                      <a:pt x="272" y="250"/>
                      <a:pt x="271" y="246"/>
                      <a:pt x="277" y="243"/>
                    </a:cubicBezTo>
                    <a:cubicBezTo>
                      <a:pt x="277" y="243"/>
                      <a:pt x="278" y="243"/>
                      <a:pt x="279" y="242"/>
                    </a:cubicBezTo>
                    <a:cubicBezTo>
                      <a:pt x="281" y="242"/>
                      <a:pt x="281" y="242"/>
                      <a:pt x="281" y="242"/>
                    </a:cubicBezTo>
                    <a:cubicBezTo>
                      <a:pt x="285" y="240"/>
                      <a:pt x="291" y="238"/>
                      <a:pt x="295" y="236"/>
                    </a:cubicBezTo>
                    <a:cubicBezTo>
                      <a:pt x="297" y="235"/>
                      <a:pt x="298" y="235"/>
                      <a:pt x="299" y="235"/>
                    </a:cubicBezTo>
                    <a:cubicBezTo>
                      <a:pt x="298" y="234"/>
                      <a:pt x="298" y="234"/>
                      <a:pt x="298" y="234"/>
                    </a:cubicBezTo>
                    <a:cubicBezTo>
                      <a:pt x="298" y="233"/>
                      <a:pt x="296" y="230"/>
                      <a:pt x="298" y="227"/>
                    </a:cubicBezTo>
                    <a:cubicBezTo>
                      <a:pt x="299" y="226"/>
                      <a:pt x="300" y="225"/>
                      <a:pt x="302" y="224"/>
                    </a:cubicBezTo>
                    <a:cubicBezTo>
                      <a:pt x="303" y="223"/>
                      <a:pt x="305" y="221"/>
                      <a:pt x="307" y="219"/>
                    </a:cubicBezTo>
                    <a:cubicBezTo>
                      <a:pt x="308" y="218"/>
                      <a:pt x="308" y="218"/>
                      <a:pt x="308" y="218"/>
                    </a:cubicBezTo>
                    <a:cubicBezTo>
                      <a:pt x="309" y="216"/>
                      <a:pt x="311" y="215"/>
                      <a:pt x="312" y="214"/>
                    </a:cubicBezTo>
                    <a:cubicBezTo>
                      <a:pt x="317" y="209"/>
                      <a:pt x="322" y="205"/>
                      <a:pt x="324" y="199"/>
                    </a:cubicBezTo>
                    <a:cubicBezTo>
                      <a:pt x="325" y="197"/>
                      <a:pt x="325" y="197"/>
                      <a:pt x="325" y="197"/>
                    </a:cubicBezTo>
                    <a:cubicBezTo>
                      <a:pt x="325" y="196"/>
                      <a:pt x="323" y="193"/>
                      <a:pt x="322" y="191"/>
                    </a:cubicBezTo>
                    <a:cubicBezTo>
                      <a:pt x="320" y="188"/>
                      <a:pt x="317" y="185"/>
                      <a:pt x="319" y="182"/>
                    </a:cubicBezTo>
                    <a:cubicBezTo>
                      <a:pt x="320" y="178"/>
                      <a:pt x="324" y="177"/>
                      <a:pt x="327" y="176"/>
                    </a:cubicBezTo>
                    <a:cubicBezTo>
                      <a:pt x="328" y="176"/>
                      <a:pt x="330" y="174"/>
                      <a:pt x="331" y="171"/>
                    </a:cubicBezTo>
                    <a:cubicBezTo>
                      <a:pt x="332" y="169"/>
                      <a:pt x="333" y="167"/>
                      <a:pt x="333" y="166"/>
                    </a:cubicBezTo>
                    <a:cubicBezTo>
                      <a:pt x="336" y="159"/>
                      <a:pt x="338" y="158"/>
                      <a:pt x="344" y="154"/>
                    </a:cubicBezTo>
                    <a:cubicBezTo>
                      <a:pt x="344" y="154"/>
                      <a:pt x="345" y="154"/>
                      <a:pt x="345" y="154"/>
                    </a:cubicBezTo>
                    <a:cubicBezTo>
                      <a:pt x="346" y="153"/>
                      <a:pt x="346" y="153"/>
                      <a:pt x="346" y="153"/>
                    </a:cubicBezTo>
                    <a:cubicBezTo>
                      <a:pt x="347" y="153"/>
                      <a:pt x="349" y="151"/>
                      <a:pt x="350" y="150"/>
                    </a:cubicBezTo>
                    <a:cubicBezTo>
                      <a:pt x="352" y="149"/>
                      <a:pt x="354" y="149"/>
                      <a:pt x="355" y="149"/>
                    </a:cubicBezTo>
                    <a:cubicBezTo>
                      <a:pt x="356" y="149"/>
                      <a:pt x="357" y="149"/>
                      <a:pt x="357" y="149"/>
                    </a:cubicBezTo>
                    <a:cubicBezTo>
                      <a:pt x="361" y="150"/>
                      <a:pt x="361" y="150"/>
                      <a:pt x="361" y="150"/>
                    </a:cubicBezTo>
                    <a:cubicBezTo>
                      <a:pt x="362" y="151"/>
                      <a:pt x="364" y="152"/>
                      <a:pt x="365" y="152"/>
                    </a:cubicBezTo>
                    <a:cubicBezTo>
                      <a:pt x="369" y="153"/>
                      <a:pt x="369" y="153"/>
                      <a:pt x="369" y="153"/>
                    </a:cubicBezTo>
                    <a:cubicBezTo>
                      <a:pt x="369" y="154"/>
                      <a:pt x="369" y="154"/>
                      <a:pt x="369" y="154"/>
                    </a:cubicBezTo>
                    <a:cubicBezTo>
                      <a:pt x="370" y="154"/>
                      <a:pt x="370" y="154"/>
                      <a:pt x="370" y="153"/>
                    </a:cubicBezTo>
                    <a:cubicBezTo>
                      <a:pt x="371" y="153"/>
                      <a:pt x="371" y="153"/>
                      <a:pt x="371" y="153"/>
                    </a:cubicBezTo>
                    <a:cubicBezTo>
                      <a:pt x="371" y="153"/>
                      <a:pt x="371" y="153"/>
                      <a:pt x="371" y="153"/>
                    </a:cubicBezTo>
                    <a:cubicBezTo>
                      <a:pt x="372" y="151"/>
                      <a:pt x="374" y="147"/>
                      <a:pt x="374" y="146"/>
                    </a:cubicBezTo>
                    <a:cubicBezTo>
                      <a:pt x="374" y="142"/>
                      <a:pt x="374" y="142"/>
                      <a:pt x="374" y="142"/>
                    </a:cubicBezTo>
                    <a:cubicBezTo>
                      <a:pt x="374" y="140"/>
                      <a:pt x="374" y="138"/>
                      <a:pt x="374" y="136"/>
                    </a:cubicBezTo>
                    <a:cubicBezTo>
                      <a:pt x="374" y="134"/>
                      <a:pt x="374" y="132"/>
                      <a:pt x="374" y="130"/>
                    </a:cubicBezTo>
                    <a:cubicBezTo>
                      <a:pt x="375" y="126"/>
                      <a:pt x="375" y="126"/>
                      <a:pt x="375" y="126"/>
                    </a:cubicBezTo>
                    <a:cubicBezTo>
                      <a:pt x="428" y="136"/>
                      <a:pt x="428" y="136"/>
                      <a:pt x="428" y="136"/>
                    </a:cubicBezTo>
                    <a:cubicBezTo>
                      <a:pt x="428" y="136"/>
                      <a:pt x="428" y="136"/>
                      <a:pt x="428" y="136"/>
                    </a:cubicBezTo>
                    <a:cubicBezTo>
                      <a:pt x="428" y="134"/>
                      <a:pt x="428" y="134"/>
                      <a:pt x="428" y="134"/>
                    </a:cubicBezTo>
                    <a:cubicBezTo>
                      <a:pt x="428" y="133"/>
                      <a:pt x="428" y="133"/>
                      <a:pt x="428" y="133"/>
                    </a:cubicBezTo>
                    <a:cubicBezTo>
                      <a:pt x="428" y="130"/>
                      <a:pt x="428" y="128"/>
                      <a:pt x="429" y="127"/>
                    </a:cubicBezTo>
                    <a:cubicBezTo>
                      <a:pt x="429" y="126"/>
                      <a:pt x="429" y="125"/>
                      <a:pt x="430" y="125"/>
                    </a:cubicBezTo>
                    <a:cubicBezTo>
                      <a:pt x="430" y="124"/>
                      <a:pt x="431" y="123"/>
                      <a:pt x="431" y="122"/>
                    </a:cubicBezTo>
                    <a:cubicBezTo>
                      <a:pt x="432" y="121"/>
                      <a:pt x="434" y="118"/>
                      <a:pt x="435" y="117"/>
                    </a:cubicBezTo>
                    <a:cubicBezTo>
                      <a:pt x="434" y="116"/>
                      <a:pt x="434" y="116"/>
                      <a:pt x="434" y="116"/>
                    </a:cubicBezTo>
                    <a:cubicBezTo>
                      <a:pt x="435" y="115"/>
                      <a:pt x="435" y="115"/>
                      <a:pt x="435" y="115"/>
                    </a:cubicBezTo>
                    <a:cubicBezTo>
                      <a:pt x="435" y="114"/>
                      <a:pt x="433" y="112"/>
                      <a:pt x="433" y="110"/>
                    </a:cubicBezTo>
                    <a:cubicBezTo>
                      <a:pt x="429" y="103"/>
                      <a:pt x="429" y="103"/>
                      <a:pt x="429" y="103"/>
                    </a:cubicBezTo>
                    <a:cubicBezTo>
                      <a:pt x="448" y="102"/>
                      <a:pt x="448" y="102"/>
                      <a:pt x="448" y="102"/>
                    </a:cubicBezTo>
                    <a:cubicBezTo>
                      <a:pt x="457" y="101"/>
                      <a:pt x="457" y="101"/>
                      <a:pt x="457" y="101"/>
                    </a:cubicBezTo>
                    <a:cubicBezTo>
                      <a:pt x="457" y="100"/>
                      <a:pt x="457" y="100"/>
                      <a:pt x="457" y="99"/>
                    </a:cubicBezTo>
                    <a:cubicBezTo>
                      <a:pt x="457" y="98"/>
                      <a:pt x="457" y="96"/>
                      <a:pt x="459" y="94"/>
                    </a:cubicBezTo>
                    <a:cubicBezTo>
                      <a:pt x="460" y="92"/>
                      <a:pt x="461" y="92"/>
                      <a:pt x="463" y="91"/>
                    </a:cubicBezTo>
                    <a:cubicBezTo>
                      <a:pt x="465" y="90"/>
                      <a:pt x="466" y="90"/>
                      <a:pt x="468" y="90"/>
                    </a:cubicBezTo>
                    <a:cubicBezTo>
                      <a:pt x="469" y="90"/>
                      <a:pt x="470" y="90"/>
                      <a:pt x="471" y="91"/>
                    </a:cubicBezTo>
                    <a:cubicBezTo>
                      <a:pt x="472" y="91"/>
                      <a:pt x="473" y="92"/>
                      <a:pt x="475" y="93"/>
                    </a:cubicBezTo>
                    <a:cubicBezTo>
                      <a:pt x="488" y="102"/>
                      <a:pt x="488" y="102"/>
                      <a:pt x="488" y="102"/>
                    </a:cubicBezTo>
                    <a:cubicBezTo>
                      <a:pt x="491" y="105"/>
                      <a:pt x="499" y="112"/>
                      <a:pt x="501" y="117"/>
                    </a:cubicBezTo>
                    <a:cubicBezTo>
                      <a:pt x="501" y="118"/>
                      <a:pt x="501" y="118"/>
                      <a:pt x="501" y="118"/>
                    </a:cubicBezTo>
                    <a:cubicBezTo>
                      <a:pt x="501" y="118"/>
                      <a:pt x="501" y="118"/>
                      <a:pt x="501" y="118"/>
                    </a:cubicBezTo>
                    <a:cubicBezTo>
                      <a:pt x="504" y="118"/>
                      <a:pt x="504" y="118"/>
                      <a:pt x="504" y="118"/>
                    </a:cubicBezTo>
                    <a:cubicBezTo>
                      <a:pt x="534" y="117"/>
                      <a:pt x="534" y="117"/>
                      <a:pt x="534" y="117"/>
                    </a:cubicBezTo>
                    <a:cubicBezTo>
                      <a:pt x="534" y="116"/>
                      <a:pt x="535" y="116"/>
                      <a:pt x="535" y="115"/>
                    </a:cubicBezTo>
                    <a:cubicBezTo>
                      <a:pt x="537" y="114"/>
                      <a:pt x="539" y="113"/>
                      <a:pt x="541" y="113"/>
                    </a:cubicBezTo>
                    <a:cubicBezTo>
                      <a:pt x="545" y="113"/>
                      <a:pt x="550" y="116"/>
                      <a:pt x="553" y="117"/>
                    </a:cubicBezTo>
                    <a:cubicBezTo>
                      <a:pt x="554" y="118"/>
                      <a:pt x="555" y="118"/>
                      <a:pt x="556" y="119"/>
                    </a:cubicBezTo>
                    <a:cubicBezTo>
                      <a:pt x="570" y="125"/>
                      <a:pt x="570" y="125"/>
                      <a:pt x="570" y="125"/>
                    </a:cubicBezTo>
                    <a:cubicBezTo>
                      <a:pt x="570" y="124"/>
                      <a:pt x="571" y="123"/>
                      <a:pt x="572" y="122"/>
                    </a:cubicBezTo>
                    <a:cubicBezTo>
                      <a:pt x="572" y="122"/>
                      <a:pt x="573" y="121"/>
                      <a:pt x="573" y="121"/>
                    </a:cubicBezTo>
                    <a:cubicBezTo>
                      <a:pt x="582" y="111"/>
                      <a:pt x="582" y="111"/>
                      <a:pt x="582" y="111"/>
                    </a:cubicBezTo>
                    <a:cubicBezTo>
                      <a:pt x="583" y="110"/>
                      <a:pt x="585" y="109"/>
                      <a:pt x="586" y="109"/>
                    </a:cubicBezTo>
                    <a:cubicBezTo>
                      <a:pt x="587" y="109"/>
                      <a:pt x="588" y="110"/>
                      <a:pt x="588" y="110"/>
                    </a:cubicBezTo>
                    <a:cubicBezTo>
                      <a:pt x="589" y="108"/>
                      <a:pt x="590" y="107"/>
                      <a:pt x="590" y="106"/>
                    </a:cubicBezTo>
                    <a:cubicBezTo>
                      <a:pt x="591" y="103"/>
                      <a:pt x="591" y="99"/>
                      <a:pt x="592" y="96"/>
                    </a:cubicBezTo>
                    <a:cubicBezTo>
                      <a:pt x="592" y="95"/>
                      <a:pt x="592" y="95"/>
                      <a:pt x="592" y="95"/>
                    </a:cubicBezTo>
                    <a:cubicBezTo>
                      <a:pt x="592" y="92"/>
                      <a:pt x="592" y="88"/>
                      <a:pt x="593" y="85"/>
                    </a:cubicBezTo>
                    <a:cubicBezTo>
                      <a:pt x="594" y="83"/>
                      <a:pt x="594" y="83"/>
                      <a:pt x="594" y="83"/>
                    </a:cubicBezTo>
                    <a:cubicBezTo>
                      <a:pt x="594" y="82"/>
                      <a:pt x="594" y="81"/>
                      <a:pt x="594" y="80"/>
                    </a:cubicBezTo>
                    <a:cubicBezTo>
                      <a:pt x="595" y="77"/>
                      <a:pt x="596" y="74"/>
                      <a:pt x="598" y="72"/>
                    </a:cubicBezTo>
                    <a:cubicBezTo>
                      <a:pt x="598" y="72"/>
                      <a:pt x="599" y="71"/>
                      <a:pt x="599" y="71"/>
                    </a:cubicBezTo>
                    <a:cubicBezTo>
                      <a:pt x="601" y="69"/>
                      <a:pt x="602" y="68"/>
                      <a:pt x="604" y="67"/>
                    </a:cubicBezTo>
                    <a:cubicBezTo>
                      <a:pt x="606" y="66"/>
                      <a:pt x="607" y="65"/>
                      <a:pt x="609" y="64"/>
                    </a:cubicBezTo>
                    <a:cubicBezTo>
                      <a:pt x="609" y="64"/>
                      <a:pt x="609" y="64"/>
                      <a:pt x="609" y="64"/>
                    </a:cubicBezTo>
                    <a:cubicBezTo>
                      <a:pt x="614" y="58"/>
                      <a:pt x="617" y="57"/>
                      <a:pt x="625" y="56"/>
                    </a:cubicBezTo>
                    <a:cubicBezTo>
                      <a:pt x="628" y="56"/>
                      <a:pt x="628" y="56"/>
                      <a:pt x="628" y="56"/>
                    </a:cubicBezTo>
                    <a:cubicBezTo>
                      <a:pt x="630" y="56"/>
                      <a:pt x="632" y="56"/>
                      <a:pt x="634" y="56"/>
                    </a:cubicBezTo>
                    <a:cubicBezTo>
                      <a:pt x="635" y="56"/>
                      <a:pt x="636" y="56"/>
                      <a:pt x="637" y="55"/>
                    </a:cubicBezTo>
                    <a:cubicBezTo>
                      <a:pt x="638" y="55"/>
                      <a:pt x="638" y="55"/>
                      <a:pt x="639" y="55"/>
                    </a:cubicBezTo>
                    <a:cubicBezTo>
                      <a:pt x="640" y="54"/>
                      <a:pt x="640" y="54"/>
                      <a:pt x="640" y="54"/>
                    </a:cubicBezTo>
                    <a:cubicBezTo>
                      <a:pt x="640" y="54"/>
                      <a:pt x="641" y="54"/>
                      <a:pt x="642" y="53"/>
                    </a:cubicBezTo>
                    <a:cubicBezTo>
                      <a:pt x="642" y="53"/>
                      <a:pt x="642" y="53"/>
                      <a:pt x="642" y="53"/>
                    </a:cubicBezTo>
                    <a:cubicBezTo>
                      <a:pt x="643" y="52"/>
                      <a:pt x="644" y="52"/>
                      <a:pt x="644" y="51"/>
                    </a:cubicBezTo>
                    <a:cubicBezTo>
                      <a:pt x="646" y="51"/>
                      <a:pt x="648" y="50"/>
                      <a:pt x="650" y="50"/>
                    </a:cubicBezTo>
                    <a:cubicBezTo>
                      <a:pt x="655" y="50"/>
                      <a:pt x="660" y="54"/>
                      <a:pt x="663" y="57"/>
                    </a:cubicBezTo>
                    <a:cubicBezTo>
                      <a:pt x="665" y="58"/>
                      <a:pt x="665" y="58"/>
                      <a:pt x="665" y="58"/>
                    </a:cubicBezTo>
                    <a:cubicBezTo>
                      <a:pt x="666" y="59"/>
                      <a:pt x="666" y="59"/>
                      <a:pt x="667" y="60"/>
                    </a:cubicBezTo>
                    <a:cubicBezTo>
                      <a:pt x="668" y="61"/>
                      <a:pt x="671" y="62"/>
                      <a:pt x="673" y="63"/>
                    </a:cubicBezTo>
                    <a:cubicBezTo>
                      <a:pt x="675" y="64"/>
                      <a:pt x="676" y="64"/>
                      <a:pt x="677" y="65"/>
                    </a:cubicBezTo>
                    <a:cubicBezTo>
                      <a:pt x="679" y="66"/>
                      <a:pt x="679" y="66"/>
                      <a:pt x="679" y="66"/>
                    </a:cubicBezTo>
                    <a:cubicBezTo>
                      <a:pt x="681" y="66"/>
                      <a:pt x="682" y="67"/>
                      <a:pt x="684" y="68"/>
                    </a:cubicBezTo>
                    <a:cubicBezTo>
                      <a:pt x="686" y="69"/>
                      <a:pt x="696" y="74"/>
                      <a:pt x="697" y="80"/>
                    </a:cubicBezTo>
                    <a:cubicBezTo>
                      <a:pt x="698" y="82"/>
                      <a:pt x="698" y="84"/>
                      <a:pt x="697" y="86"/>
                    </a:cubicBezTo>
                    <a:cubicBezTo>
                      <a:pt x="698" y="86"/>
                      <a:pt x="698" y="86"/>
                      <a:pt x="698" y="86"/>
                    </a:cubicBezTo>
                    <a:cubicBezTo>
                      <a:pt x="700" y="86"/>
                      <a:pt x="702" y="85"/>
                      <a:pt x="704" y="85"/>
                    </a:cubicBezTo>
                    <a:cubicBezTo>
                      <a:pt x="706" y="84"/>
                      <a:pt x="706" y="84"/>
                      <a:pt x="706" y="84"/>
                    </a:cubicBezTo>
                    <a:cubicBezTo>
                      <a:pt x="710" y="83"/>
                      <a:pt x="710" y="82"/>
                      <a:pt x="713" y="78"/>
                    </a:cubicBezTo>
                    <a:cubicBezTo>
                      <a:pt x="713" y="77"/>
                      <a:pt x="714" y="77"/>
                      <a:pt x="714" y="76"/>
                    </a:cubicBezTo>
                    <a:cubicBezTo>
                      <a:pt x="712" y="74"/>
                      <a:pt x="712" y="74"/>
                      <a:pt x="712" y="74"/>
                    </a:cubicBezTo>
                    <a:cubicBezTo>
                      <a:pt x="715" y="71"/>
                      <a:pt x="715" y="71"/>
                      <a:pt x="715" y="71"/>
                    </a:cubicBezTo>
                    <a:cubicBezTo>
                      <a:pt x="716" y="71"/>
                      <a:pt x="717" y="70"/>
                      <a:pt x="719" y="70"/>
                    </a:cubicBezTo>
                    <a:cubicBezTo>
                      <a:pt x="720" y="70"/>
                      <a:pt x="721" y="71"/>
                      <a:pt x="722" y="71"/>
                    </a:cubicBezTo>
                    <a:cubicBezTo>
                      <a:pt x="723" y="72"/>
                      <a:pt x="723" y="72"/>
                      <a:pt x="724" y="72"/>
                    </a:cubicBezTo>
                    <a:cubicBezTo>
                      <a:pt x="726" y="73"/>
                      <a:pt x="726" y="73"/>
                      <a:pt x="726" y="73"/>
                    </a:cubicBezTo>
                    <a:cubicBezTo>
                      <a:pt x="728" y="73"/>
                      <a:pt x="730" y="74"/>
                      <a:pt x="732" y="75"/>
                    </a:cubicBezTo>
                    <a:cubicBezTo>
                      <a:pt x="732" y="75"/>
                      <a:pt x="733" y="75"/>
                      <a:pt x="733" y="75"/>
                    </a:cubicBezTo>
                    <a:cubicBezTo>
                      <a:pt x="735" y="75"/>
                      <a:pt x="735" y="75"/>
                      <a:pt x="735" y="75"/>
                    </a:cubicBezTo>
                    <a:cubicBezTo>
                      <a:pt x="735" y="75"/>
                      <a:pt x="735" y="75"/>
                      <a:pt x="735" y="75"/>
                    </a:cubicBezTo>
                    <a:cubicBezTo>
                      <a:pt x="735" y="74"/>
                      <a:pt x="735" y="72"/>
                      <a:pt x="734" y="71"/>
                    </a:cubicBezTo>
                    <a:cubicBezTo>
                      <a:pt x="734" y="69"/>
                      <a:pt x="734" y="69"/>
                      <a:pt x="734" y="69"/>
                    </a:cubicBezTo>
                    <a:cubicBezTo>
                      <a:pt x="737" y="69"/>
                      <a:pt x="737" y="69"/>
                      <a:pt x="737" y="69"/>
                    </a:cubicBezTo>
                    <a:cubicBezTo>
                      <a:pt x="736" y="68"/>
                      <a:pt x="734" y="67"/>
                      <a:pt x="732" y="67"/>
                    </a:cubicBezTo>
                    <a:cubicBezTo>
                      <a:pt x="730" y="67"/>
                      <a:pt x="727" y="68"/>
                      <a:pt x="726" y="71"/>
                    </a:cubicBezTo>
                    <a:cubicBezTo>
                      <a:pt x="725" y="69"/>
                      <a:pt x="722" y="65"/>
                      <a:pt x="720" y="64"/>
                    </a:cubicBezTo>
                    <a:cubicBezTo>
                      <a:pt x="720" y="64"/>
                      <a:pt x="720" y="64"/>
                      <a:pt x="720" y="64"/>
                    </a:cubicBezTo>
                    <a:cubicBezTo>
                      <a:pt x="719" y="64"/>
                      <a:pt x="718" y="66"/>
                      <a:pt x="717" y="67"/>
                    </a:cubicBezTo>
                    <a:cubicBezTo>
                      <a:pt x="712" y="70"/>
                      <a:pt x="706" y="73"/>
                      <a:pt x="701" y="74"/>
                    </a:cubicBezTo>
                    <a:cubicBezTo>
                      <a:pt x="700" y="72"/>
                      <a:pt x="700" y="72"/>
                      <a:pt x="700" y="72"/>
                    </a:cubicBezTo>
                    <a:cubicBezTo>
                      <a:pt x="703" y="72"/>
                      <a:pt x="704" y="71"/>
                      <a:pt x="705" y="70"/>
                    </a:cubicBezTo>
                    <a:cubicBezTo>
                      <a:pt x="705" y="69"/>
                      <a:pt x="705" y="69"/>
                      <a:pt x="705" y="69"/>
                    </a:cubicBezTo>
                    <a:cubicBezTo>
                      <a:pt x="705" y="69"/>
                      <a:pt x="706" y="69"/>
                      <a:pt x="706" y="69"/>
                    </a:cubicBezTo>
                    <a:cubicBezTo>
                      <a:pt x="704" y="66"/>
                      <a:pt x="700" y="66"/>
                      <a:pt x="697" y="64"/>
                    </a:cubicBezTo>
                    <a:cubicBezTo>
                      <a:pt x="701" y="63"/>
                      <a:pt x="698" y="57"/>
                      <a:pt x="696" y="56"/>
                    </a:cubicBezTo>
                    <a:cubicBezTo>
                      <a:pt x="689" y="55"/>
                      <a:pt x="682" y="54"/>
                      <a:pt x="675" y="51"/>
                    </a:cubicBezTo>
                    <a:cubicBezTo>
                      <a:pt x="675" y="49"/>
                      <a:pt x="676" y="48"/>
                      <a:pt x="677" y="48"/>
                    </a:cubicBezTo>
                    <a:cubicBezTo>
                      <a:pt x="680" y="48"/>
                      <a:pt x="684" y="50"/>
                      <a:pt x="686" y="51"/>
                    </a:cubicBezTo>
                    <a:cubicBezTo>
                      <a:pt x="697" y="53"/>
                      <a:pt x="709" y="53"/>
                      <a:pt x="720" y="54"/>
                    </a:cubicBezTo>
                    <a:cubicBezTo>
                      <a:pt x="722" y="48"/>
                      <a:pt x="734" y="46"/>
                      <a:pt x="739" y="44"/>
                    </a:cubicBezTo>
                    <a:cubicBezTo>
                      <a:pt x="743" y="43"/>
                      <a:pt x="746" y="43"/>
                      <a:pt x="744" y="38"/>
                    </a:cubicBezTo>
                    <a:cubicBezTo>
                      <a:pt x="743" y="34"/>
                      <a:pt x="742" y="36"/>
                      <a:pt x="738" y="35"/>
                    </a:cubicBezTo>
                    <a:cubicBezTo>
                      <a:pt x="732" y="32"/>
                      <a:pt x="724" y="32"/>
                      <a:pt x="717" y="30"/>
                    </a:cubicBezTo>
                    <a:cubicBezTo>
                      <a:pt x="720" y="29"/>
                      <a:pt x="720" y="29"/>
                      <a:pt x="720" y="29"/>
                    </a:cubicBezTo>
                    <a:cubicBezTo>
                      <a:pt x="721" y="27"/>
                      <a:pt x="719" y="23"/>
                      <a:pt x="718" y="22"/>
                    </a:cubicBezTo>
                    <a:cubicBezTo>
                      <a:pt x="717" y="21"/>
                      <a:pt x="717" y="21"/>
                      <a:pt x="716" y="21"/>
                    </a:cubicBezTo>
                    <a:cubicBezTo>
                      <a:pt x="714" y="21"/>
                      <a:pt x="709" y="24"/>
                      <a:pt x="708" y="24"/>
                    </a:cubicBezTo>
                    <a:cubicBezTo>
                      <a:pt x="708" y="23"/>
                      <a:pt x="708" y="21"/>
                      <a:pt x="708" y="20"/>
                    </a:cubicBezTo>
                    <a:cubicBezTo>
                      <a:pt x="704" y="21"/>
                      <a:pt x="699" y="23"/>
                      <a:pt x="695" y="24"/>
                    </a:cubicBezTo>
                    <a:cubicBezTo>
                      <a:pt x="695" y="23"/>
                      <a:pt x="696" y="22"/>
                      <a:pt x="697" y="22"/>
                    </a:cubicBezTo>
                    <a:cubicBezTo>
                      <a:pt x="693" y="19"/>
                      <a:pt x="687" y="13"/>
                      <a:pt x="683" y="13"/>
                    </a:cubicBezTo>
                    <a:cubicBezTo>
                      <a:pt x="681" y="13"/>
                      <a:pt x="679" y="14"/>
                      <a:pt x="677" y="17"/>
                    </a:cubicBezTo>
                    <a:cubicBezTo>
                      <a:pt x="676" y="20"/>
                      <a:pt x="669" y="29"/>
                      <a:pt x="671" y="31"/>
                    </a:cubicBezTo>
                    <a:cubicBezTo>
                      <a:pt x="674" y="35"/>
                      <a:pt x="667" y="40"/>
                      <a:pt x="663" y="42"/>
                    </a:cubicBezTo>
                    <a:cubicBezTo>
                      <a:pt x="664" y="37"/>
                      <a:pt x="665" y="37"/>
                      <a:pt x="667" y="33"/>
                    </a:cubicBezTo>
                    <a:cubicBezTo>
                      <a:pt x="667" y="33"/>
                      <a:pt x="667" y="33"/>
                      <a:pt x="667" y="33"/>
                    </a:cubicBezTo>
                    <a:cubicBezTo>
                      <a:pt x="665" y="33"/>
                      <a:pt x="663" y="34"/>
                      <a:pt x="662" y="34"/>
                    </a:cubicBezTo>
                    <a:cubicBezTo>
                      <a:pt x="660" y="35"/>
                      <a:pt x="658" y="35"/>
                      <a:pt x="656" y="35"/>
                    </a:cubicBezTo>
                    <a:cubicBezTo>
                      <a:pt x="655" y="35"/>
                      <a:pt x="655" y="35"/>
                      <a:pt x="654" y="35"/>
                    </a:cubicBezTo>
                    <a:cubicBezTo>
                      <a:pt x="652" y="33"/>
                      <a:pt x="654" y="32"/>
                      <a:pt x="655" y="31"/>
                    </a:cubicBezTo>
                    <a:cubicBezTo>
                      <a:pt x="661" y="27"/>
                      <a:pt x="665" y="28"/>
                      <a:pt x="666" y="20"/>
                    </a:cubicBezTo>
                    <a:cubicBezTo>
                      <a:pt x="662" y="22"/>
                      <a:pt x="658" y="23"/>
                      <a:pt x="654" y="24"/>
                    </a:cubicBezTo>
                    <a:cubicBezTo>
                      <a:pt x="654" y="23"/>
                      <a:pt x="654" y="23"/>
                      <a:pt x="654" y="23"/>
                    </a:cubicBezTo>
                    <a:cubicBezTo>
                      <a:pt x="655" y="23"/>
                      <a:pt x="656" y="23"/>
                      <a:pt x="657" y="23"/>
                    </a:cubicBezTo>
                    <a:cubicBezTo>
                      <a:pt x="656" y="22"/>
                      <a:pt x="655" y="20"/>
                      <a:pt x="654" y="20"/>
                    </a:cubicBezTo>
                    <a:cubicBezTo>
                      <a:pt x="656" y="17"/>
                      <a:pt x="657" y="17"/>
                      <a:pt x="659" y="17"/>
                    </a:cubicBezTo>
                    <a:cubicBezTo>
                      <a:pt x="659" y="17"/>
                      <a:pt x="660" y="17"/>
                      <a:pt x="662" y="17"/>
                    </a:cubicBezTo>
                    <a:cubicBezTo>
                      <a:pt x="663" y="17"/>
                      <a:pt x="663" y="17"/>
                      <a:pt x="664" y="17"/>
                    </a:cubicBezTo>
                    <a:cubicBezTo>
                      <a:pt x="664" y="17"/>
                      <a:pt x="665" y="17"/>
                      <a:pt x="666" y="17"/>
                    </a:cubicBezTo>
                    <a:cubicBezTo>
                      <a:pt x="667" y="16"/>
                      <a:pt x="670" y="14"/>
                      <a:pt x="671" y="13"/>
                    </a:cubicBezTo>
                    <a:cubicBezTo>
                      <a:pt x="674" y="10"/>
                      <a:pt x="673" y="7"/>
                      <a:pt x="669" y="6"/>
                    </a:cubicBezTo>
                    <a:cubicBezTo>
                      <a:pt x="662" y="4"/>
                      <a:pt x="655" y="2"/>
                      <a:pt x="6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9" name="Freeform 237">
                <a:extLst>
                  <a:ext uri="{FF2B5EF4-FFF2-40B4-BE49-F238E27FC236}">
                    <a16:creationId xmlns:a16="http://schemas.microsoft.com/office/drawing/2014/main" id="{ACC90DD5-5948-4EF8-A8F7-6405367E536F}"/>
                  </a:ext>
                </a:extLst>
              </p:cNvPr>
              <p:cNvSpPr>
                <a:spLocks noEditPoints="1"/>
              </p:cNvSpPr>
              <p:nvPr/>
            </p:nvSpPr>
            <p:spPr bwMode="auto">
              <a:xfrm>
                <a:off x="5365529" y="1426140"/>
                <a:ext cx="1153441" cy="1908890"/>
              </a:xfrm>
              <a:custGeom>
                <a:avLst/>
                <a:gdLst>
                  <a:gd name="T0" fmla="*/ 199 w 364"/>
                  <a:gd name="T1" fmla="*/ 441 h 601"/>
                  <a:gd name="T2" fmla="*/ 257 w 364"/>
                  <a:gd name="T3" fmla="*/ 19 h 601"/>
                  <a:gd name="T4" fmla="*/ 249 w 364"/>
                  <a:gd name="T5" fmla="*/ 34 h 601"/>
                  <a:gd name="T6" fmla="*/ 193 w 364"/>
                  <a:gd name="T7" fmla="*/ 51 h 601"/>
                  <a:gd name="T8" fmla="*/ 170 w 364"/>
                  <a:gd name="T9" fmla="*/ 50 h 601"/>
                  <a:gd name="T10" fmla="*/ 148 w 364"/>
                  <a:gd name="T11" fmla="*/ 78 h 601"/>
                  <a:gd name="T12" fmla="*/ 133 w 364"/>
                  <a:gd name="T13" fmla="*/ 115 h 601"/>
                  <a:gd name="T14" fmla="*/ 101 w 364"/>
                  <a:gd name="T15" fmla="*/ 141 h 601"/>
                  <a:gd name="T16" fmla="*/ 101 w 364"/>
                  <a:gd name="T17" fmla="*/ 147 h 601"/>
                  <a:gd name="T18" fmla="*/ 94 w 364"/>
                  <a:gd name="T19" fmla="*/ 185 h 601"/>
                  <a:gd name="T20" fmla="*/ 87 w 364"/>
                  <a:gd name="T21" fmla="*/ 217 h 601"/>
                  <a:gd name="T22" fmla="*/ 58 w 364"/>
                  <a:gd name="T23" fmla="*/ 236 h 601"/>
                  <a:gd name="T24" fmla="*/ 34 w 364"/>
                  <a:gd name="T25" fmla="*/ 256 h 601"/>
                  <a:gd name="T26" fmla="*/ 33 w 364"/>
                  <a:gd name="T27" fmla="*/ 284 h 601"/>
                  <a:gd name="T28" fmla="*/ 36 w 364"/>
                  <a:gd name="T29" fmla="*/ 315 h 601"/>
                  <a:gd name="T30" fmla="*/ 41 w 364"/>
                  <a:gd name="T31" fmla="*/ 343 h 601"/>
                  <a:gd name="T32" fmla="*/ 43 w 364"/>
                  <a:gd name="T33" fmla="*/ 393 h 601"/>
                  <a:gd name="T34" fmla="*/ 30 w 364"/>
                  <a:gd name="T35" fmla="*/ 416 h 601"/>
                  <a:gd name="T36" fmla="*/ 22 w 364"/>
                  <a:gd name="T37" fmla="*/ 445 h 601"/>
                  <a:gd name="T38" fmla="*/ 3 w 364"/>
                  <a:gd name="T39" fmla="*/ 481 h 601"/>
                  <a:gd name="T40" fmla="*/ 14 w 364"/>
                  <a:gd name="T41" fmla="*/ 477 h 601"/>
                  <a:gd name="T42" fmla="*/ 21 w 364"/>
                  <a:gd name="T43" fmla="*/ 487 h 601"/>
                  <a:gd name="T44" fmla="*/ 17 w 364"/>
                  <a:gd name="T45" fmla="*/ 507 h 601"/>
                  <a:gd name="T46" fmla="*/ 50 w 364"/>
                  <a:gd name="T47" fmla="*/ 558 h 601"/>
                  <a:gd name="T48" fmla="*/ 46 w 364"/>
                  <a:gd name="T49" fmla="*/ 568 h 601"/>
                  <a:gd name="T50" fmla="*/ 52 w 364"/>
                  <a:gd name="T51" fmla="*/ 599 h 601"/>
                  <a:gd name="T52" fmla="*/ 114 w 364"/>
                  <a:gd name="T53" fmla="*/ 571 h 601"/>
                  <a:gd name="T54" fmla="*/ 150 w 364"/>
                  <a:gd name="T55" fmla="*/ 545 h 601"/>
                  <a:gd name="T56" fmla="*/ 154 w 364"/>
                  <a:gd name="T57" fmla="*/ 511 h 601"/>
                  <a:gd name="T58" fmla="*/ 153 w 364"/>
                  <a:gd name="T59" fmla="*/ 499 h 601"/>
                  <a:gd name="T60" fmla="*/ 161 w 364"/>
                  <a:gd name="T61" fmla="*/ 486 h 601"/>
                  <a:gd name="T62" fmla="*/ 165 w 364"/>
                  <a:gd name="T63" fmla="*/ 475 h 601"/>
                  <a:gd name="T64" fmla="*/ 150 w 364"/>
                  <a:gd name="T65" fmla="*/ 469 h 601"/>
                  <a:gd name="T66" fmla="*/ 187 w 364"/>
                  <a:gd name="T67" fmla="*/ 448 h 601"/>
                  <a:gd name="T68" fmla="*/ 199 w 364"/>
                  <a:gd name="T69" fmla="*/ 453 h 601"/>
                  <a:gd name="T70" fmla="*/ 207 w 364"/>
                  <a:gd name="T71" fmla="*/ 443 h 601"/>
                  <a:gd name="T72" fmla="*/ 214 w 364"/>
                  <a:gd name="T73" fmla="*/ 442 h 601"/>
                  <a:gd name="T74" fmla="*/ 201 w 364"/>
                  <a:gd name="T75" fmla="*/ 435 h 601"/>
                  <a:gd name="T76" fmla="*/ 196 w 364"/>
                  <a:gd name="T77" fmla="*/ 390 h 601"/>
                  <a:gd name="T78" fmla="*/ 171 w 364"/>
                  <a:gd name="T79" fmla="*/ 382 h 601"/>
                  <a:gd name="T80" fmla="*/ 169 w 364"/>
                  <a:gd name="T81" fmla="*/ 353 h 601"/>
                  <a:gd name="T82" fmla="*/ 168 w 364"/>
                  <a:gd name="T83" fmla="*/ 344 h 601"/>
                  <a:gd name="T84" fmla="*/ 175 w 364"/>
                  <a:gd name="T85" fmla="*/ 333 h 601"/>
                  <a:gd name="T86" fmla="*/ 180 w 364"/>
                  <a:gd name="T87" fmla="*/ 305 h 601"/>
                  <a:gd name="T88" fmla="*/ 185 w 364"/>
                  <a:gd name="T89" fmla="*/ 280 h 601"/>
                  <a:gd name="T90" fmla="*/ 197 w 364"/>
                  <a:gd name="T91" fmla="*/ 289 h 601"/>
                  <a:gd name="T92" fmla="*/ 224 w 364"/>
                  <a:gd name="T93" fmla="*/ 273 h 601"/>
                  <a:gd name="T94" fmla="*/ 262 w 364"/>
                  <a:gd name="T95" fmla="*/ 249 h 601"/>
                  <a:gd name="T96" fmla="*/ 292 w 364"/>
                  <a:gd name="T97" fmla="*/ 213 h 601"/>
                  <a:gd name="T98" fmla="*/ 285 w 364"/>
                  <a:gd name="T99" fmla="*/ 201 h 601"/>
                  <a:gd name="T100" fmla="*/ 296 w 364"/>
                  <a:gd name="T101" fmla="*/ 175 h 601"/>
                  <a:gd name="T102" fmla="*/ 318 w 364"/>
                  <a:gd name="T103" fmla="*/ 156 h 601"/>
                  <a:gd name="T104" fmla="*/ 341 w 364"/>
                  <a:gd name="T105" fmla="*/ 152 h 601"/>
                  <a:gd name="T106" fmla="*/ 352 w 364"/>
                  <a:gd name="T107" fmla="*/ 131 h 601"/>
                  <a:gd name="T108" fmla="*/ 360 w 364"/>
                  <a:gd name="T109" fmla="*/ 105 h 601"/>
                  <a:gd name="T110" fmla="*/ 352 w 364"/>
                  <a:gd name="T111" fmla="*/ 78 h 601"/>
                  <a:gd name="T112" fmla="*/ 345 w 364"/>
                  <a:gd name="T113" fmla="*/ 74 h 601"/>
                  <a:gd name="T114" fmla="*/ 350 w 364"/>
                  <a:gd name="T115" fmla="*/ 5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4" h="601">
                    <a:moveTo>
                      <a:pt x="199" y="441"/>
                    </a:moveTo>
                    <a:cubicBezTo>
                      <a:pt x="198" y="439"/>
                      <a:pt x="197" y="436"/>
                      <a:pt x="199" y="436"/>
                    </a:cubicBezTo>
                    <a:cubicBezTo>
                      <a:pt x="199" y="436"/>
                      <a:pt x="199" y="436"/>
                      <a:pt x="199" y="436"/>
                    </a:cubicBezTo>
                    <a:cubicBezTo>
                      <a:pt x="199" y="436"/>
                      <a:pt x="199" y="437"/>
                      <a:pt x="199" y="437"/>
                    </a:cubicBezTo>
                    <a:cubicBezTo>
                      <a:pt x="200" y="437"/>
                      <a:pt x="200" y="437"/>
                      <a:pt x="200" y="437"/>
                    </a:cubicBezTo>
                    <a:cubicBezTo>
                      <a:pt x="200" y="440"/>
                      <a:pt x="200" y="440"/>
                      <a:pt x="200" y="440"/>
                    </a:cubicBezTo>
                    <a:cubicBezTo>
                      <a:pt x="200" y="440"/>
                      <a:pt x="199" y="441"/>
                      <a:pt x="199" y="441"/>
                    </a:cubicBezTo>
                    <a:moveTo>
                      <a:pt x="268" y="0"/>
                    </a:moveTo>
                    <a:cubicBezTo>
                      <a:pt x="261" y="0"/>
                      <a:pt x="261" y="0"/>
                      <a:pt x="261" y="0"/>
                    </a:cubicBezTo>
                    <a:cubicBezTo>
                      <a:pt x="262" y="2"/>
                      <a:pt x="263" y="4"/>
                      <a:pt x="263" y="7"/>
                    </a:cubicBezTo>
                    <a:cubicBezTo>
                      <a:pt x="262" y="7"/>
                      <a:pt x="262" y="7"/>
                      <a:pt x="262" y="7"/>
                    </a:cubicBezTo>
                    <a:cubicBezTo>
                      <a:pt x="262" y="8"/>
                      <a:pt x="262" y="8"/>
                      <a:pt x="262" y="8"/>
                    </a:cubicBezTo>
                    <a:cubicBezTo>
                      <a:pt x="262" y="11"/>
                      <a:pt x="260" y="15"/>
                      <a:pt x="258" y="17"/>
                    </a:cubicBezTo>
                    <a:cubicBezTo>
                      <a:pt x="257" y="18"/>
                      <a:pt x="257" y="19"/>
                      <a:pt x="257" y="19"/>
                    </a:cubicBezTo>
                    <a:cubicBezTo>
                      <a:pt x="256" y="20"/>
                      <a:pt x="256" y="20"/>
                      <a:pt x="256" y="20"/>
                    </a:cubicBezTo>
                    <a:cubicBezTo>
                      <a:pt x="256" y="21"/>
                      <a:pt x="256" y="23"/>
                      <a:pt x="256" y="24"/>
                    </a:cubicBezTo>
                    <a:cubicBezTo>
                      <a:pt x="256" y="25"/>
                      <a:pt x="256" y="25"/>
                      <a:pt x="256" y="25"/>
                    </a:cubicBezTo>
                    <a:cubicBezTo>
                      <a:pt x="256" y="26"/>
                      <a:pt x="256" y="26"/>
                      <a:pt x="256" y="26"/>
                    </a:cubicBezTo>
                    <a:cubicBezTo>
                      <a:pt x="256" y="28"/>
                      <a:pt x="255" y="30"/>
                      <a:pt x="254" y="32"/>
                    </a:cubicBezTo>
                    <a:cubicBezTo>
                      <a:pt x="253" y="33"/>
                      <a:pt x="252" y="34"/>
                      <a:pt x="250" y="34"/>
                    </a:cubicBezTo>
                    <a:cubicBezTo>
                      <a:pt x="250" y="34"/>
                      <a:pt x="249" y="34"/>
                      <a:pt x="249" y="34"/>
                    </a:cubicBezTo>
                    <a:cubicBezTo>
                      <a:pt x="249" y="34"/>
                      <a:pt x="248" y="34"/>
                      <a:pt x="248" y="34"/>
                    </a:cubicBezTo>
                    <a:cubicBezTo>
                      <a:pt x="202" y="26"/>
                      <a:pt x="202" y="26"/>
                      <a:pt x="202" y="26"/>
                    </a:cubicBezTo>
                    <a:cubicBezTo>
                      <a:pt x="202" y="27"/>
                      <a:pt x="202" y="27"/>
                      <a:pt x="202" y="27"/>
                    </a:cubicBezTo>
                    <a:cubicBezTo>
                      <a:pt x="202" y="29"/>
                      <a:pt x="202" y="31"/>
                      <a:pt x="202" y="33"/>
                    </a:cubicBezTo>
                    <a:cubicBezTo>
                      <a:pt x="202" y="37"/>
                      <a:pt x="202" y="37"/>
                      <a:pt x="202" y="37"/>
                    </a:cubicBezTo>
                    <a:cubicBezTo>
                      <a:pt x="202" y="38"/>
                      <a:pt x="199" y="51"/>
                      <a:pt x="193" y="51"/>
                    </a:cubicBezTo>
                    <a:cubicBezTo>
                      <a:pt x="193" y="51"/>
                      <a:pt x="193" y="51"/>
                      <a:pt x="193" y="51"/>
                    </a:cubicBezTo>
                    <a:cubicBezTo>
                      <a:pt x="192" y="51"/>
                      <a:pt x="191" y="52"/>
                      <a:pt x="190" y="52"/>
                    </a:cubicBezTo>
                    <a:cubicBezTo>
                      <a:pt x="189" y="52"/>
                      <a:pt x="188" y="51"/>
                      <a:pt x="187" y="51"/>
                    </a:cubicBezTo>
                    <a:cubicBezTo>
                      <a:pt x="184" y="50"/>
                      <a:pt x="184" y="50"/>
                      <a:pt x="184" y="50"/>
                    </a:cubicBezTo>
                    <a:cubicBezTo>
                      <a:pt x="183" y="49"/>
                      <a:pt x="181" y="49"/>
                      <a:pt x="180" y="48"/>
                    </a:cubicBezTo>
                    <a:cubicBezTo>
                      <a:pt x="176" y="47"/>
                      <a:pt x="176" y="47"/>
                      <a:pt x="176" y="47"/>
                    </a:cubicBezTo>
                    <a:cubicBezTo>
                      <a:pt x="176" y="47"/>
                      <a:pt x="176" y="47"/>
                      <a:pt x="175" y="47"/>
                    </a:cubicBezTo>
                    <a:cubicBezTo>
                      <a:pt x="174" y="48"/>
                      <a:pt x="172" y="49"/>
                      <a:pt x="170" y="50"/>
                    </a:cubicBezTo>
                    <a:cubicBezTo>
                      <a:pt x="170" y="51"/>
                      <a:pt x="169" y="51"/>
                      <a:pt x="168" y="52"/>
                    </a:cubicBezTo>
                    <a:cubicBezTo>
                      <a:pt x="163" y="55"/>
                      <a:pt x="162" y="55"/>
                      <a:pt x="161" y="59"/>
                    </a:cubicBezTo>
                    <a:cubicBezTo>
                      <a:pt x="161" y="60"/>
                      <a:pt x="161" y="60"/>
                      <a:pt x="161" y="60"/>
                    </a:cubicBezTo>
                    <a:cubicBezTo>
                      <a:pt x="160" y="61"/>
                      <a:pt x="159" y="63"/>
                      <a:pt x="158" y="65"/>
                    </a:cubicBezTo>
                    <a:cubicBezTo>
                      <a:pt x="157" y="69"/>
                      <a:pt x="154" y="73"/>
                      <a:pt x="149" y="74"/>
                    </a:cubicBezTo>
                    <a:cubicBezTo>
                      <a:pt x="148" y="74"/>
                      <a:pt x="147" y="75"/>
                      <a:pt x="146" y="75"/>
                    </a:cubicBezTo>
                    <a:cubicBezTo>
                      <a:pt x="147" y="76"/>
                      <a:pt x="148" y="77"/>
                      <a:pt x="148" y="78"/>
                    </a:cubicBezTo>
                    <a:cubicBezTo>
                      <a:pt x="151" y="81"/>
                      <a:pt x="154" y="86"/>
                      <a:pt x="153" y="90"/>
                    </a:cubicBezTo>
                    <a:cubicBezTo>
                      <a:pt x="152" y="91"/>
                      <a:pt x="152" y="91"/>
                      <a:pt x="152" y="91"/>
                    </a:cubicBezTo>
                    <a:cubicBezTo>
                      <a:pt x="152" y="91"/>
                      <a:pt x="152" y="92"/>
                      <a:pt x="152" y="93"/>
                    </a:cubicBezTo>
                    <a:cubicBezTo>
                      <a:pt x="149" y="100"/>
                      <a:pt x="143" y="105"/>
                      <a:pt x="138" y="110"/>
                    </a:cubicBezTo>
                    <a:cubicBezTo>
                      <a:pt x="137" y="111"/>
                      <a:pt x="137" y="111"/>
                      <a:pt x="137" y="111"/>
                    </a:cubicBezTo>
                    <a:cubicBezTo>
                      <a:pt x="136" y="112"/>
                      <a:pt x="135" y="113"/>
                      <a:pt x="134" y="114"/>
                    </a:cubicBezTo>
                    <a:cubicBezTo>
                      <a:pt x="133" y="115"/>
                      <a:pt x="133" y="115"/>
                      <a:pt x="133" y="115"/>
                    </a:cubicBezTo>
                    <a:cubicBezTo>
                      <a:pt x="131" y="117"/>
                      <a:pt x="129" y="119"/>
                      <a:pt x="127" y="121"/>
                    </a:cubicBezTo>
                    <a:cubicBezTo>
                      <a:pt x="126" y="121"/>
                      <a:pt x="126" y="121"/>
                      <a:pt x="125" y="122"/>
                    </a:cubicBezTo>
                    <a:cubicBezTo>
                      <a:pt x="125" y="122"/>
                      <a:pt x="125" y="122"/>
                      <a:pt x="125" y="122"/>
                    </a:cubicBezTo>
                    <a:cubicBezTo>
                      <a:pt x="126" y="123"/>
                      <a:pt x="128" y="126"/>
                      <a:pt x="126" y="129"/>
                    </a:cubicBezTo>
                    <a:cubicBezTo>
                      <a:pt x="125" y="131"/>
                      <a:pt x="123" y="132"/>
                      <a:pt x="119" y="133"/>
                    </a:cubicBezTo>
                    <a:cubicBezTo>
                      <a:pt x="115" y="135"/>
                      <a:pt x="110" y="137"/>
                      <a:pt x="104" y="139"/>
                    </a:cubicBezTo>
                    <a:cubicBezTo>
                      <a:pt x="103" y="140"/>
                      <a:pt x="101" y="140"/>
                      <a:pt x="101" y="141"/>
                    </a:cubicBezTo>
                    <a:cubicBezTo>
                      <a:pt x="100" y="141"/>
                      <a:pt x="100" y="141"/>
                      <a:pt x="100" y="141"/>
                    </a:cubicBezTo>
                    <a:cubicBezTo>
                      <a:pt x="100" y="141"/>
                      <a:pt x="100" y="142"/>
                      <a:pt x="100" y="142"/>
                    </a:cubicBezTo>
                    <a:cubicBezTo>
                      <a:pt x="100" y="143"/>
                      <a:pt x="100" y="143"/>
                      <a:pt x="100" y="143"/>
                    </a:cubicBezTo>
                    <a:cubicBezTo>
                      <a:pt x="101" y="143"/>
                      <a:pt x="101" y="144"/>
                      <a:pt x="101" y="145"/>
                    </a:cubicBezTo>
                    <a:cubicBezTo>
                      <a:pt x="101" y="146"/>
                      <a:pt x="101" y="146"/>
                      <a:pt x="101" y="146"/>
                    </a:cubicBezTo>
                    <a:cubicBezTo>
                      <a:pt x="106" y="145"/>
                      <a:pt x="106" y="145"/>
                      <a:pt x="106" y="145"/>
                    </a:cubicBezTo>
                    <a:cubicBezTo>
                      <a:pt x="101" y="147"/>
                      <a:pt x="101" y="147"/>
                      <a:pt x="101" y="147"/>
                    </a:cubicBezTo>
                    <a:cubicBezTo>
                      <a:pt x="102" y="151"/>
                      <a:pt x="102" y="153"/>
                      <a:pt x="101" y="156"/>
                    </a:cubicBezTo>
                    <a:cubicBezTo>
                      <a:pt x="101" y="157"/>
                      <a:pt x="101" y="158"/>
                      <a:pt x="101" y="159"/>
                    </a:cubicBezTo>
                    <a:cubicBezTo>
                      <a:pt x="101" y="161"/>
                      <a:pt x="101" y="161"/>
                      <a:pt x="101" y="161"/>
                    </a:cubicBezTo>
                    <a:cubicBezTo>
                      <a:pt x="100" y="164"/>
                      <a:pt x="100" y="168"/>
                      <a:pt x="99" y="172"/>
                    </a:cubicBezTo>
                    <a:cubicBezTo>
                      <a:pt x="99" y="174"/>
                      <a:pt x="99" y="174"/>
                      <a:pt x="99" y="174"/>
                    </a:cubicBezTo>
                    <a:cubicBezTo>
                      <a:pt x="99" y="178"/>
                      <a:pt x="97" y="181"/>
                      <a:pt x="95" y="183"/>
                    </a:cubicBezTo>
                    <a:cubicBezTo>
                      <a:pt x="95" y="184"/>
                      <a:pt x="94" y="184"/>
                      <a:pt x="94" y="185"/>
                    </a:cubicBezTo>
                    <a:cubicBezTo>
                      <a:pt x="94" y="185"/>
                      <a:pt x="94" y="185"/>
                      <a:pt x="94" y="185"/>
                    </a:cubicBezTo>
                    <a:cubicBezTo>
                      <a:pt x="93" y="188"/>
                      <a:pt x="91" y="189"/>
                      <a:pt x="89" y="191"/>
                    </a:cubicBezTo>
                    <a:cubicBezTo>
                      <a:pt x="87" y="194"/>
                      <a:pt x="85" y="197"/>
                      <a:pt x="83" y="199"/>
                    </a:cubicBezTo>
                    <a:cubicBezTo>
                      <a:pt x="82" y="200"/>
                      <a:pt x="81" y="201"/>
                      <a:pt x="80" y="202"/>
                    </a:cubicBezTo>
                    <a:cubicBezTo>
                      <a:pt x="80" y="205"/>
                      <a:pt x="81" y="208"/>
                      <a:pt x="82" y="211"/>
                    </a:cubicBezTo>
                    <a:cubicBezTo>
                      <a:pt x="83" y="212"/>
                      <a:pt x="83" y="212"/>
                      <a:pt x="83" y="212"/>
                    </a:cubicBezTo>
                    <a:cubicBezTo>
                      <a:pt x="84" y="213"/>
                      <a:pt x="86" y="214"/>
                      <a:pt x="87" y="217"/>
                    </a:cubicBezTo>
                    <a:cubicBezTo>
                      <a:pt x="87" y="218"/>
                      <a:pt x="87" y="218"/>
                      <a:pt x="87" y="218"/>
                    </a:cubicBezTo>
                    <a:cubicBezTo>
                      <a:pt x="87" y="219"/>
                      <a:pt x="87" y="219"/>
                      <a:pt x="87" y="219"/>
                    </a:cubicBezTo>
                    <a:cubicBezTo>
                      <a:pt x="88" y="222"/>
                      <a:pt x="88" y="226"/>
                      <a:pt x="87" y="229"/>
                    </a:cubicBezTo>
                    <a:cubicBezTo>
                      <a:pt x="85" y="235"/>
                      <a:pt x="82" y="238"/>
                      <a:pt x="77" y="238"/>
                    </a:cubicBezTo>
                    <a:cubicBezTo>
                      <a:pt x="76" y="238"/>
                      <a:pt x="76" y="238"/>
                      <a:pt x="75" y="238"/>
                    </a:cubicBezTo>
                    <a:cubicBezTo>
                      <a:pt x="59" y="236"/>
                      <a:pt x="59" y="236"/>
                      <a:pt x="59" y="236"/>
                    </a:cubicBezTo>
                    <a:cubicBezTo>
                      <a:pt x="59" y="236"/>
                      <a:pt x="59" y="236"/>
                      <a:pt x="58" y="236"/>
                    </a:cubicBezTo>
                    <a:cubicBezTo>
                      <a:pt x="57" y="236"/>
                      <a:pt x="56" y="236"/>
                      <a:pt x="54" y="237"/>
                    </a:cubicBezTo>
                    <a:cubicBezTo>
                      <a:pt x="52" y="239"/>
                      <a:pt x="52" y="239"/>
                      <a:pt x="52" y="239"/>
                    </a:cubicBezTo>
                    <a:cubicBezTo>
                      <a:pt x="51" y="239"/>
                      <a:pt x="51" y="239"/>
                      <a:pt x="51" y="239"/>
                    </a:cubicBezTo>
                    <a:cubicBezTo>
                      <a:pt x="50" y="239"/>
                      <a:pt x="50" y="239"/>
                      <a:pt x="50" y="239"/>
                    </a:cubicBezTo>
                    <a:cubicBezTo>
                      <a:pt x="49" y="240"/>
                      <a:pt x="49" y="240"/>
                      <a:pt x="49" y="240"/>
                    </a:cubicBezTo>
                    <a:cubicBezTo>
                      <a:pt x="46" y="241"/>
                      <a:pt x="44" y="243"/>
                      <a:pt x="41" y="246"/>
                    </a:cubicBezTo>
                    <a:cubicBezTo>
                      <a:pt x="34" y="256"/>
                      <a:pt x="34" y="256"/>
                      <a:pt x="34" y="256"/>
                    </a:cubicBezTo>
                    <a:cubicBezTo>
                      <a:pt x="32" y="258"/>
                      <a:pt x="31" y="261"/>
                      <a:pt x="30" y="263"/>
                    </a:cubicBezTo>
                    <a:cubicBezTo>
                      <a:pt x="28" y="266"/>
                      <a:pt x="28" y="266"/>
                      <a:pt x="28" y="266"/>
                    </a:cubicBezTo>
                    <a:cubicBezTo>
                      <a:pt x="28" y="267"/>
                      <a:pt x="28" y="268"/>
                      <a:pt x="28" y="268"/>
                    </a:cubicBezTo>
                    <a:cubicBezTo>
                      <a:pt x="28" y="268"/>
                      <a:pt x="28" y="268"/>
                      <a:pt x="28" y="269"/>
                    </a:cubicBezTo>
                    <a:cubicBezTo>
                      <a:pt x="29" y="271"/>
                      <a:pt x="29" y="271"/>
                      <a:pt x="29" y="271"/>
                    </a:cubicBezTo>
                    <a:cubicBezTo>
                      <a:pt x="30" y="272"/>
                      <a:pt x="30" y="272"/>
                      <a:pt x="30" y="273"/>
                    </a:cubicBezTo>
                    <a:cubicBezTo>
                      <a:pt x="32" y="276"/>
                      <a:pt x="34" y="280"/>
                      <a:pt x="33" y="284"/>
                    </a:cubicBezTo>
                    <a:cubicBezTo>
                      <a:pt x="33" y="287"/>
                      <a:pt x="33" y="287"/>
                      <a:pt x="33" y="287"/>
                    </a:cubicBezTo>
                    <a:cubicBezTo>
                      <a:pt x="32" y="290"/>
                      <a:pt x="32" y="294"/>
                      <a:pt x="30" y="298"/>
                    </a:cubicBezTo>
                    <a:cubicBezTo>
                      <a:pt x="30" y="298"/>
                      <a:pt x="30" y="298"/>
                      <a:pt x="30" y="298"/>
                    </a:cubicBezTo>
                    <a:cubicBezTo>
                      <a:pt x="30" y="299"/>
                      <a:pt x="30" y="299"/>
                      <a:pt x="31" y="300"/>
                    </a:cubicBezTo>
                    <a:cubicBezTo>
                      <a:pt x="31" y="300"/>
                      <a:pt x="31" y="301"/>
                      <a:pt x="32" y="301"/>
                    </a:cubicBezTo>
                    <a:cubicBezTo>
                      <a:pt x="32" y="302"/>
                      <a:pt x="32" y="302"/>
                      <a:pt x="32" y="302"/>
                    </a:cubicBezTo>
                    <a:cubicBezTo>
                      <a:pt x="34" y="306"/>
                      <a:pt x="37" y="311"/>
                      <a:pt x="36" y="315"/>
                    </a:cubicBezTo>
                    <a:cubicBezTo>
                      <a:pt x="32" y="334"/>
                      <a:pt x="32" y="334"/>
                      <a:pt x="32" y="334"/>
                    </a:cubicBezTo>
                    <a:cubicBezTo>
                      <a:pt x="32" y="336"/>
                      <a:pt x="32" y="336"/>
                      <a:pt x="33" y="336"/>
                    </a:cubicBezTo>
                    <a:cubicBezTo>
                      <a:pt x="33" y="337"/>
                      <a:pt x="33" y="337"/>
                      <a:pt x="33" y="337"/>
                    </a:cubicBezTo>
                    <a:cubicBezTo>
                      <a:pt x="34" y="337"/>
                      <a:pt x="35" y="338"/>
                      <a:pt x="35" y="338"/>
                    </a:cubicBezTo>
                    <a:cubicBezTo>
                      <a:pt x="36" y="339"/>
                      <a:pt x="37" y="340"/>
                      <a:pt x="38" y="340"/>
                    </a:cubicBezTo>
                    <a:cubicBezTo>
                      <a:pt x="39" y="341"/>
                      <a:pt x="39" y="341"/>
                      <a:pt x="40" y="342"/>
                    </a:cubicBezTo>
                    <a:cubicBezTo>
                      <a:pt x="41" y="343"/>
                      <a:pt x="41" y="343"/>
                      <a:pt x="41" y="343"/>
                    </a:cubicBezTo>
                    <a:cubicBezTo>
                      <a:pt x="46" y="346"/>
                      <a:pt x="48" y="349"/>
                      <a:pt x="49" y="351"/>
                    </a:cubicBezTo>
                    <a:cubicBezTo>
                      <a:pt x="51" y="353"/>
                      <a:pt x="52" y="356"/>
                      <a:pt x="51" y="359"/>
                    </a:cubicBezTo>
                    <a:cubicBezTo>
                      <a:pt x="51" y="359"/>
                      <a:pt x="47" y="370"/>
                      <a:pt x="44" y="370"/>
                    </a:cubicBezTo>
                    <a:cubicBezTo>
                      <a:pt x="43" y="370"/>
                      <a:pt x="43" y="370"/>
                      <a:pt x="43" y="370"/>
                    </a:cubicBezTo>
                    <a:cubicBezTo>
                      <a:pt x="41" y="371"/>
                      <a:pt x="38" y="371"/>
                      <a:pt x="36" y="371"/>
                    </a:cubicBezTo>
                    <a:cubicBezTo>
                      <a:pt x="37" y="373"/>
                      <a:pt x="37" y="374"/>
                      <a:pt x="38" y="375"/>
                    </a:cubicBezTo>
                    <a:cubicBezTo>
                      <a:pt x="41" y="381"/>
                      <a:pt x="44" y="387"/>
                      <a:pt x="43" y="393"/>
                    </a:cubicBezTo>
                    <a:cubicBezTo>
                      <a:pt x="42" y="394"/>
                      <a:pt x="42" y="394"/>
                      <a:pt x="42" y="394"/>
                    </a:cubicBezTo>
                    <a:cubicBezTo>
                      <a:pt x="41" y="398"/>
                      <a:pt x="40" y="402"/>
                      <a:pt x="39" y="406"/>
                    </a:cubicBezTo>
                    <a:cubicBezTo>
                      <a:pt x="39" y="407"/>
                      <a:pt x="39" y="407"/>
                      <a:pt x="39" y="407"/>
                    </a:cubicBezTo>
                    <a:cubicBezTo>
                      <a:pt x="42" y="408"/>
                      <a:pt x="42" y="408"/>
                      <a:pt x="42" y="408"/>
                    </a:cubicBezTo>
                    <a:cubicBezTo>
                      <a:pt x="39" y="408"/>
                      <a:pt x="39" y="408"/>
                      <a:pt x="39" y="408"/>
                    </a:cubicBezTo>
                    <a:cubicBezTo>
                      <a:pt x="38" y="411"/>
                      <a:pt x="38" y="411"/>
                      <a:pt x="38" y="411"/>
                    </a:cubicBezTo>
                    <a:cubicBezTo>
                      <a:pt x="36" y="415"/>
                      <a:pt x="33" y="416"/>
                      <a:pt x="30" y="416"/>
                    </a:cubicBezTo>
                    <a:cubicBezTo>
                      <a:pt x="30" y="417"/>
                      <a:pt x="29" y="417"/>
                      <a:pt x="28" y="417"/>
                    </a:cubicBezTo>
                    <a:cubicBezTo>
                      <a:pt x="24" y="419"/>
                      <a:pt x="24" y="419"/>
                      <a:pt x="24" y="419"/>
                    </a:cubicBezTo>
                    <a:cubicBezTo>
                      <a:pt x="24" y="419"/>
                      <a:pt x="24" y="420"/>
                      <a:pt x="24" y="420"/>
                    </a:cubicBezTo>
                    <a:cubicBezTo>
                      <a:pt x="24" y="423"/>
                      <a:pt x="22" y="425"/>
                      <a:pt x="21" y="427"/>
                    </a:cubicBezTo>
                    <a:cubicBezTo>
                      <a:pt x="20" y="428"/>
                      <a:pt x="20" y="428"/>
                      <a:pt x="20" y="431"/>
                    </a:cubicBezTo>
                    <a:cubicBezTo>
                      <a:pt x="20" y="432"/>
                      <a:pt x="21" y="433"/>
                      <a:pt x="21" y="434"/>
                    </a:cubicBezTo>
                    <a:cubicBezTo>
                      <a:pt x="22" y="438"/>
                      <a:pt x="22" y="442"/>
                      <a:pt x="22" y="445"/>
                    </a:cubicBezTo>
                    <a:cubicBezTo>
                      <a:pt x="16" y="462"/>
                      <a:pt x="16" y="462"/>
                      <a:pt x="16" y="462"/>
                    </a:cubicBezTo>
                    <a:cubicBezTo>
                      <a:pt x="13" y="460"/>
                      <a:pt x="13" y="460"/>
                      <a:pt x="13" y="460"/>
                    </a:cubicBezTo>
                    <a:cubicBezTo>
                      <a:pt x="12" y="460"/>
                      <a:pt x="11" y="459"/>
                      <a:pt x="10" y="459"/>
                    </a:cubicBezTo>
                    <a:cubicBezTo>
                      <a:pt x="9" y="459"/>
                      <a:pt x="9" y="459"/>
                      <a:pt x="9" y="459"/>
                    </a:cubicBezTo>
                    <a:cubicBezTo>
                      <a:pt x="6" y="457"/>
                      <a:pt x="3" y="456"/>
                      <a:pt x="1" y="455"/>
                    </a:cubicBezTo>
                    <a:cubicBezTo>
                      <a:pt x="0" y="461"/>
                      <a:pt x="1" y="467"/>
                      <a:pt x="2" y="474"/>
                    </a:cubicBezTo>
                    <a:cubicBezTo>
                      <a:pt x="2" y="476"/>
                      <a:pt x="2" y="480"/>
                      <a:pt x="3" y="481"/>
                    </a:cubicBezTo>
                    <a:cubicBezTo>
                      <a:pt x="3" y="481"/>
                      <a:pt x="3" y="481"/>
                      <a:pt x="3" y="481"/>
                    </a:cubicBezTo>
                    <a:cubicBezTo>
                      <a:pt x="4" y="481"/>
                      <a:pt x="4" y="481"/>
                      <a:pt x="4" y="480"/>
                    </a:cubicBezTo>
                    <a:cubicBezTo>
                      <a:pt x="4" y="480"/>
                      <a:pt x="4" y="480"/>
                      <a:pt x="5" y="480"/>
                    </a:cubicBezTo>
                    <a:cubicBezTo>
                      <a:pt x="5" y="480"/>
                      <a:pt x="5" y="480"/>
                      <a:pt x="5" y="480"/>
                    </a:cubicBezTo>
                    <a:cubicBezTo>
                      <a:pt x="6" y="482"/>
                      <a:pt x="7" y="484"/>
                      <a:pt x="8" y="484"/>
                    </a:cubicBezTo>
                    <a:cubicBezTo>
                      <a:pt x="9" y="484"/>
                      <a:pt x="10" y="483"/>
                      <a:pt x="11" y="482"/>
                    </a:cubicBezTo>
                    <a:cubicBezTo>
                      <a:pt x="12" y="481"/>
                      <a:pt x="11" y="477"/>
                      <a:pt x="14" y="477"/>
                    </a:cubicBezTo>
                    <a:cubicBezTo>
                      <a:pt x="14" y="477"/>
                      <a:pt x="15" y="477"/>
                      <a:pt x="15" y="478"/>
                    </a:cubicBezTo>
                    <a:cubicBezTo>
                      <a:pt x="14" y="480"/>
                      <a:pt x="12" y="482"/>
                      <a:pt x="11" y="485"/>
                    </a:cubicBezTo>
                    <a:cubicBezTo>
                      <a:pt x="14" y="484"/>
                      <a:pt x="17" y="483"/>
                      <a:pt x="20" y="482"/>
                    </a:cubicBezTo>
                    <a:cubicBezTo>
                      <a:pt x="20" y="482"/>
                      <a:pt x="20" y="482"/>
                      <a:pt x="20" y="482"/>
                    </a:cubicBezTo>
                    <a:cubicBezTo>
                      <a:pt x="20" y="484"/>
                      <a:pt x="20" y="484"/>
                      <a:pt x="20" y="484"/>
                    </a:cubicBezTo>
                    <a:cubicBezTo>
                      <a:pt x="21" y="484"/>
                      <a:pt x="21" y="484"/>
                      <a:pt x="21" y="484"/>
                    </a:cubicBezTo>
                    <a:cubicBezTo>
                      <a:pt x="21" y="485"/>
                      <a:pt x="21" y="486"/>
                      <a:pt x="21" y="487"/>
                    </a:cubicBezTo>
                    <a:cubicBezTo>
                      <a:pt x="21" y="487"/>
                      <a:pt x="21" y="487"/>
                      <a:pt x="21" y="487"/>
                    </a:cubicBezTo>
                    <a:cubicBezTo>
                      <a:pt x="21" y="487"/>
                      <a:pt x="20" y="487"/>
                      <a:pt x="20" y="488"/>
                    </a:cubicBezTo>
                    <a:cubicBezTo>
                      <a:pt x="19" y="489"/>
                      <a:pt x="19" y="491"/>
                      <a:pt x="19" y="492"/>
                    </a:cubicBezTo>
                    <a:cubicBezTo>
                      <a:pt x="18" y="494"/>
                      <a:pt x="18" y="495"/>
                      <a:pt x="18" y="497"/>
                    </a:cubicBezTo>
                    <a:cubicBezTo>
                      <a:pt x="17" y="499"/>
                      <a:pt x="15" y="504"/>
                      <a:pt x="18" y="504"/>
                    </a:cubicBezTo>
                    <a:cubicBezTo>
                      <a:pt x="18" y="504"/>
                      <a:pt x="19" y="504"/>
                      <a:pt x="20" y="504"/>
                    </a:cubicBezTo>
                    <a:cubicBezTo>
                      <a:pt x="19" y="504"/>
                      <a:pt x="17" y="506"/>
                      <a:pt x="17" y="507"/>
                    </a:cubicBezTo>
                    <a:cubicBezTo>
                      <a:pt x="17" y="508"/>
                      <a:pt x="19" y="510"/>
                      <a:pt x="20" y="511"/>
                    </a:cubicBezTo>
                    <a:cubicBezTo>
                      <a:pt x="23" y="513"/>
                      <a:pt x="22" y="515"/>
                      <a:pt x="22" y="518"/>
                    </a:cubicBezTo>
                    <a:cubicBezTo>
                      <a:pt x="21" y="521"/>
                      <a:pt x="25" y="524"/>
                      <a:pt x="26" y="526"/>
                    </a:cubicBezTo>
                    <a:cubicBezTo>
                      <a:pt x="29" y="531"/>
                      <a:pt x="31" y="536"/>
                      <a:pt x="35" y="540"/>
                    </a:cubicBezTo>
                    <a:cubicBezTo>
                      <a:pt x="36" y="542"/>
                      <a:pt x="38" y="543"/>
                      <a:pt x="40" y="545"/>
                    </a:cubicBezTo>
                    <a:cubicBezTo>
                      <a:pt x="41" y="546"/>
                      <a:pt x="43" y="550"/>
                      <a:pt x="45" y="551"/>
                    </a:cubicBezTo>
                    <a:cubicBezTo>
                      <a:pt x="49" y="553"/>
                      <a:pt x="51" y="551"/>
                      <a:pt x="50" y="558"/>
                    </a:cubicBezTo>
                    <a:cubicBezTo>
                      <a:pt x="50" y="559"/>
                      <a:pt x="48" y="559"/>
                      <a:pt x="46" y="559"/>
                    </a:cubicBezTo>
                    <a:cubicBezTo>
                      <a:pt x="46" y="559"/>
                      <a:pt x="46" y="559"/>
                      <a:pt x="46" y="559"/>
                    </a:cubicBezTo>
                    <a:cubicBezTo>
                      <a:pt x="46" y="559"/>
                      <a:pt x="46" y="559"/>
                      <a:pt x="45" y="559"/>
                    </a:cubicBezTo>
                    <a:cubicBezTo>
                      <a:pt x="44" y="559"/>
                      <a:pt x="43" y="559"/>
                      <a:pt x="42" y="559"/>
                    </a:cubicBezTo>
                    <a:cubicBezTo>
                      <a:pt x="41" y="561"/>
                      <a:pt x="42" y="560"/>
                      <a:pt x="43" y="561"/>
                    </a:cubicBezTo>
                    <a:cubicBezTo>
                      <a:pt x="45" y="562"/>
                      <a:pt x="45" y="562"/>
                      <a:pt x="45" y="562"/>
                    </a:cubicBezTo>
                    <a:cubicBezTo>
                      <a:pt x="46" y="563"/>
                      <a:pt x="46" y="566"/>
                      <a:pt x="46" y="568"/>
                    </a:cubicBezTo>
                    <a:cubicBezTo>
                      <a:pt x="43" y="567"/>
                      <a:pt x="41" y="566"/>
                      <a:pt x="38" y="565"/>
                    </a:cubicBezTo>
                    <a:cubicBezTo>
                      <a:pt x="40" y="567"/>
                      <a:pt x="41" y="571"/>
                      <a:pt x="42" y="573"/>
                    </a:cubicBezTo>
                    <a:cubicBezTo>
                      <a:pt x="44" y="576"/>
                      <a:pt x="46" y="579"/>
                      <a:pt x="47" y="582"/>
                    </a:cubicBezTo>
                    <a:cubicBezTo>
                      <a:pt x="48" y="583"/>
                      <a:pt x="49" y="586"/>
                      <a:pt x="50" y="587"/>
                    </a:cubicBezTo>
                    <a:cubicBezTo>
                      <a:pt x="53" y="589"/>
                      <a:pt x="54" y="589"/>
                      <a:pt x="54" y="592"/>
                    </a:cubicBezTo>
                    <a:cubicBezTo>
                      <a:pt x="54" y="592"/>
                      <a:pt x="52" y="591"/>
                      <a:pt x="52" y="592"/>
                    </a:cubicBezTo>
                    <a:cubicBezTo>
                      <a:pt x="51" y="594"/>
                      <a:pt x="52" y="597"/>
                      <a:pt x="52" y="599"/>
                    </a:cubicBezTo>
                    <a:cubicBezTo>
                      <a:pt x="51" y="598"/>
                      <a:pt x="51" y="598"/>
                      <a:pt x="51" y="598"/>
                    </a:cubicBezTo>
                    <a:cubicBezTo>
                      <a:pt x="51" y="600"/>
                      <a:pt x="49" y="601"/>
                      <a:pt x="48" y="601"/>
                    </a:cubicBezTo>
                    <a:cubicBezTo>
                      <a:pt x="61" y="601"/>
                      <a:pt x="74" y="601"/>
                      <a:pt x="87" y="600"/>
                    </a:cubicBezTo>
                    <a:cubicBezTo>
                      <a:pt x="88" y="600"/>
                      <a:pt x="90" y="596"/>
                      <a:pt x="91" y="595"/>
                    </a:cubicBezTo>
                    <a:cubicBezTo>
                      <a:pt x="91" y="594"/>
                      <a:pt x="90" y="592"/>
                      <a:pt x="90" y="591"/>
                    </a:cubicBezTo>
                    <a:cubicBezTo>
                      <a:pt x="88" y="587"/>
                      <a:pt x="86" y="584"/>
                      <a:pt x="89" y="581"/>
                    </a:cubicBezTo>
                    <a:cubicBezTo>
                      <a:pt x="94" y="573"/>
                      <a:pt x="106" y="572"/>
                      <a:pt x="114" y="571"/>
                    </a:cubicBezTo>
                    <a:cubicBezTo>
                      <a:pt x="118" y="570"/>
                      <a:pt x="122" y="569"/>
                      <a:pt x="125" y="569"/>
                    </a:cubicBezTo>
                    <a:cubicBezTo>
                      <a:pt x="126" y="569"/>
                      <a:pt x="127" y="569"/>
                      <a:pt x="127" y="569"/>
                    </a:cubicBezTo>
                    <a:cubicBezTo>
                      <a:pt x="130" y="569"/>
                      <a:pt x="131" y="572"/>
                      <a:pt x="133" y="573"/>
                    </a:cubicBezTo>
                    <a:cubicBezTo>
                      <a:pt x="139" y="567"/>
                      <a:pt x="142" y="559"/>
                      <a:pt x="147" y="552"/>
                    </a:cubicBezTo>
                    <a:cubicBezTo>
                      <a:pt x="148" y="550"/>
                      <a:pt x="151" y="547"/>
                      <a:pt x="151" y="545"/>
                    </a:cubicBezTo>
                    <a:cubicBezTo>
                      <a:pt x="151" y="545"/>
                      <a:pt x="151" y="545"/>
                      <a:pt x="151" y="545"/>
                    </a:cubicBezTo>
                    <a:cubicBezTo>
                      <a:pt x="151" y="545"/>
                      <a:pt x="150" y="545"/>
                      <a:pt x="150" y="545"/>
                    </a:cubicBezTo>
                    <a:cubicBezTo>
                      <a:pt x="150" y="543"/>
                      <a:pt x="150" y="540"/>
                      <a:pt x="150" y="538"/>
                    </a:cubicBezTo>
                    <a:cubicBezTo>
                      <a:pt x="151" y="534"/>
                      <a:pt x="151" y="536"/>
                      <a:pt x="154" y="534"/>
                    </a:cubicBezTo>
                    <a:cubicBezTo>
                      <a:pt x="154" y="534"/>
                      <a:pt x="150" y="527"/>
                      <a:pt x="152" y="524"/>
                    </a:cubicBezTo>
                    <a:cubicBezTo>
                      <a:pt x="154" y="521"/>
                      <a:pt x="158" y="520"/>
                      <a:pt x="157" y="516"/>
                    </a:cubicBezTo>
                    <a:cubicBezTo>
                      <a:pt x="156" y="513"/>
                      <a:pt x="155" y="514"/>
                      <a:pt x="153" y="511"/>
                    </a:cubicBezTo>
                    <a:cubicBezTo>
                      <a:pt x="153" y="511"/>
                      <a:pt x="154" y="511"/>
                      <a:pt x="154" y="511"/>
                    </a:cubicBezTo>
                    <a:cubicBezTo>
                      <a:pt x="154" y="511"/>
                      <a:pt x="154" y="511"/>
                      <a:pt x="154" y="511"/>
                    </a:cubicBezTo>
                    <a:cubicBezTo>
                      <a:pt x="154" y="511"/>
                      <a:pt x="155" y="511"/>
                      <a:pt x="155" y="511"/>
                    </a:cubicBezTo>
                    <a:cubicBezTo>
                      <a:pt x="155" y="511"/>
                      <a:pt x="156" y="511"/>
                      <a:pt x="156" y="512"/>
                    </a:cubicBezTo>
                    <a:cubicBezTo>
                      <a:pt x="156" y="510"/>
                      <a:pt x="155" y="509"/>
                      <a:pt x="154" y="508"/>
                    </a:cubicBezTo>
                    <a:cubicBezTo>
                      <a:pt x="155" y="508"/>
                      <a:pt x="156" y="508"/>
                      <a:pt x="157" y="508"/>
                    </a:cubicBezTo>
                    <a:cubicBezTo>
                      <a:pt x="158" y="508"/>
                      <a:pt x="158" y="506"/>
                      <a:pt x="156" y="505"/>
                    </a:cubicBezTo>
                    <a:cubicBezTo>
                      <a:pt x="155" y="503"/>
                      <a:pt x="153" y="501"/>
                      <a:pt x="151" y="499"/>
                    </a:cubicBezTo>
                    <a:cubicBezTo>
                      <a:pt x="152" y="499"/>
                      <a:pt x="152" y="499"/>
                      <a:pt x="153" y="499"/>
                    </a:cubicBezTo>
                    <a:cubicBezTo>
                      <a:pt x="153" y="499"/>
                      <a:pt x="153" y="499"/>
                      <a:pt x="154" y="499"/>
                    </a:cubicBezTo>
                    <a:cubicBezTo>
                      <a:pt x="154" y="499"/>
                      <a:pt x="154" y="499"/>
                      <a:pt x="155" y="499"/>
                    </a:cubicBezTo>
                    <a:cubicBezTo>
                      <a:pt x="155" y="499"/>
                      <a:pt x="155" y="499"/>
                      <a:pt x="155" y="499"/>
                    </a:cubicBezTo>
                    <a:cubicBezTo>
                      <a:pt x="156" y="499"/>
                      <a:pt x="157" y="500"/>
                      <a:pt x="157" y="500"/>
                    </a:cubicBezTo>
                    <a:cubicBezTo>
                      <a:pt x="158" y="500"/>
                      <a:pt x="159" y="500"/>
                      <a:pt x="160" y="499"/>
                    </a:cubicBezTo>
                    <a:cubicBezTo>
                      <a:pt x="159" y="497"/>
                      <a:pt x="158" y="496"/>
                      <a:pt x="157" y="496"/>
                    </a:cubicBezTo>
                    <a:cubicBezTo>
                      <a:pt x="159" y="493"/>
                      <a:pt x="162" y="490"/>
                      <a:pt x="161" y="486"/>
                    </a:cubicBezTo>
                    <a:cubicBezTo>
                      <a:pt x="160" y="481"/>
                      <a:pt x="160" y="484"/>
                      <a:pt x="157" y="481"/>
                    </a:cubicBezTo>
                    <a:cubicBezTo>
                      <a:pt x="158" y="481"/>
                      <a:pt x="159" y="480"/>
                      <a:pt x="160" y="480"/>
                    </a:cubicBezTo>
                    <a:cubicBezTo>
                      <a:pt x="157" y="479"/>
                      <a:pt x="153" y="478"/>
                      <a:pt x="150" y="476"/>
                    </a:cubicBezTo>
                    <a:cubicBezTo>
                      <a:pt x="150" y="476"/>
                      <a:pt x="150" y="476"/>
                      <a:pt x="151" y="476"/>
                    </a:cubicBezTo>
                    <a:cubicBezTo>
                      <a:pt x="153" y="476"/>
                      <a:pt x="154" y="476"/>
                      <a:pt x="155" y="477"/>
                    </a:cubicBezTo>
                    <a:cubicBezTo>
                      <a:pt x="157" y="477"/>
                      <a:pt x="158" y="478"/>
                      <a:pt x="160" y="478"/>
                    </a:cubicBezTo>
                    <a:cubicBezTo>
                      <a:pt x="161" y="478"/>
                      <a:pt x="163" y="477"/>
                      <a:pt x="165" y="475"/>
                    </a:cubicBezTo>
                    <a:cubicBezTo>
                      <a:pt x="161" y="473"/>
                      <a:pt x="158" y="470"/>
                      <a:pt x="153" y="470"/>
                    </a:cubicBezTo>
                    <a:cubicBezTo>
                      <a:pt x="151" y="470"/>
                      <a:pt x="151" y="470"/>
                      <a:pt x="151" y="470"/>
                    </a:cubicBezTo>
                    <a:cubicBezTo>
                      <a:pt x="151" y="470"/>
                      <a:pt x="149" y="471"/>
                      <a:pt x="150" y="471"/>
                    </a:cubicBezTo>
                    <a:cubicBezTo>
                      <a:pt x="149" y="471"/>
                      <a:pt x="147" y="470"/>
                      <a:pt x="145" y="470"/>
                    </a:cubicBezTo>
                    <a:cubicBezTo>
                      <a:pt x="142" y="469"/>
                      <a:pt x="147" y="468"/>
                      <a:pt x="147" y="468"/>
                    </a:cubicBezTo>
                    <a:cubicBezTo>
                      <a:pt x="147" y="468"/>
                      <a:pt x="147" y="468"/>
                      <a:pt x="147" y="468"/>
                    </a:cubicBezTo>
                    <a:cubicBezTo>
                      <a:pt x="148" y="468"/>
                      <a:pt x="149" y="468"/>
                      <a:pt x="150" y="469"/>
                    </a:cubicBezTo>
                    <a:cubicBezTo>
                      <a:pt x="152" y="469"/>
                      <a:pt x="154" y="469"/>
                      <a:pt x="157" y="469"/>
                    </a:cubicBezTo>
                    <a:cubicBezTo>
                      <a:pt x="157" y="469"/>
                      <a:pt x="158" y="469"/>
                      <a:pt x="159" y="469"/>
                    </a:cubicBezTo>
                    <a:cubicBezTo>
                      <a:pt x="165" y="469"/>
                      <a:pt x="172" y="467"/>
                      <a:pt x="178" y="465"/>
                    </a:cubicBezTo>
                    <a:cubicBezTo>
                      <a:pt x="182" y="464"/>
                      <a:pt x="183" y="460"/>
                      <a:pt x="183" y="456"/>
                    </a:cubicBezTo>
                    <a:cubicBezTo>
                      <a:pt x="184" y="457"/>
                      <a:pt x="185" y="458"/>
                      <a:pt x="186" y="458"/>
                    </a:cubicBezTo>
                    <a:cubicBezTo>
                      <a:pt x="186" y="457"/>
                      <a:pt x="185" y="450"/>
                      <a:pt x="186" y="449"/>
                    </a:cubicBezTo>
                    <a:cubicBezTo>
                      <a:pt x="187" y="448"/>
                      <a:pt x="187" y="448"/>
                      <a:pt x="187" y="448"/>
                    </a:cubicBezTo>
                    <a:cubicBezTo>
                      <a:pt x="188" y="448"/>
                      <a:pt x="188" y="449"/>
                      <a:pt x="188" y="449"/>
                    </a:cubicBezTo>
                    <a:cubicBezTo>
                      <a:pt x="188" y="450"/>
                      <a:pt x="188" y="451"/>
                      <a:pt x="188" y="451"/>
                    </a:cubicBezTo>
                    <a:cubicBezTo>
                      <a:pt x="188" y="451"/>
                      <a:pt x="188" y="451"/>
                      <a:pt x="188" y="451"/>
                    </a:cubicBezTo>
                    <a:cubicBezTo>
                      <a:pt x="188" y="455"/>
                      <a:pt x="187" y="458"/>
                      <a:pt x="191" y="462"/>
                    </a:cubicBezTo>
                    <a:cubicBezTo>
                      <a:pt x="190" y="462"/>
                      <a:pt x="190" y="461"/>
                      <a:pt x="190" y="461"/>
                    </a:cubicBezTo>
                    <a:cubicBezTo>
                      <a:pt x="193" y="460"/>
                      <a:pt x="192" y="459"/>
                      <a:pt x="194" y="457"/>
                    </a:cubicBezTo>
                    <a:cubicBezTo>
                      <a:pt x="195" y="456"/>
                      <a:pt x="197" y="454"/>
                      <a:pt x="199" y="453"/>
                    </a:cubicBezTo>
                    <a:cubicBezTo>
                      <a:pt x="199" y="454"/>
                      <a:pt x="199" y="454"/>
                      <a:pt x="199" y="454"/>
                    </a:cubicBezTo>
                    <a:cubicBezTo>
                      <a:pt x="199" y="453"/>
                      <a:pt x="199" y="453"/>
                      <a:pt x="199" y="453"/>
                    </a:cubicBezTo>
                    <a:cubicBezTo>
                      <a:pt x="202" y="451"/>
                      <a:pt x="205" y="449"/>
                      <a:pt x="208" y="447"/>
                    </a:cubicBezTo>
                    <a:cubicBezTo>
                      <a:pt x="208" y="447"/>
                      <a:pt x="208" y="447"/>
                      <a:pt x="207" y="447"/>
                    </a:cubicBezTo>
                    <a:cubicBezTo>
                      <a:pt x="206" y="447"/>
                      <a:pt x="205" y="445"/>
                      <a:pt x="205" y="443"/>
                    </a:cubicBezTo>
                    <a:cubicBezTo>
                      <a:pt x="206" y="443"/>
                      <a:pt x="206" y="443"/>
                      <a:pt x="206" y="443"/>
                    </a:cubicBezTo>
                    <a:cubicBezTo>
                      <a:pt x="207" y="443"/>
                      <a:pt x="207" y="443"/>
                      <a:pt x="207" y="443"/>
                    </a:cubicBezTo>
                    <a:cubicBezTo>
                      <a:pt x="208" y="444"/>
                      <a:pt x="209" y="444"/>
                      <a:pt x="210" y="444"/>
                    </a:cubicBezTo>
                    <a:cubicBezTo>
                      <a:pt x="211" y="444"/>
                      <a:pt x="211" y="444"/>
                      <a:pt x="212" y="444"/>
                    </a:cubicBezTo>
                    <a:cubicBezTo>
                      <a:pt x="210" y="443"/>
                      <a:pt x="209" y="442"/>
                      <a:pt x="208" y="442"/>
                    </a:cubicBezTo>
                    <a:cubicBezTo>
                      <a:pt x="208" y="442"/>
                      <a:pt x="208" y="442"/>
                      <a:pt x="208" y="442"/>
                    </a:cubicBezTo>
                    <a:cubicBezTo>
                      <a:pt x="209" y="442"/>
                      <a:pt x="211" y="443"/>
                      <a:pt x="212" y="443"/>
                    </a:cubicBezTo>
                    <a:cubicBezTo>
                      <a:pt x="213" y="443"/>
                      <a:pt x="214" y="443"/>
                      <a:pt x="214" y="442"/>
                    </a:cubicBezTo>
                    <a:cubicBezTo>
                      <a:pt x="214" y="442"/>
                      <a:pt x="214" y="442"/>
                      <a:pt x="214" y="442"/>
                    </a:cubicBezTo>
                    <a:cubicBezTo>
                      <a:pt x="212" y="442"/>
                      <a:pt x="214" y="440"/>
                      <a:pt x="212" y="439"/>
                    </a:cubicBezTo>
                    <a:cubicBezTo>
                      <a:pt x="211" y="438"/>
                      <a:pt x="208" y="437"/>
                      <a:pt x="206" y="436"/>
                    </a:cubicBezTo>
                    <a:cubicBezTo>
                      <a:pt x="207" y="437"/>
                      <a:pt x="207" y="438"/>
                      <a:pt x="207" y="439"/>
                    </a:cubicBezTo>
                    <a:cubicBezTo>
                      <a:pt x="207" y="439"/>
                      <a:pt x="207" y="439"/>
                      <a:pt x="207" y="439"/>
                    </a:cubicBezTo>
                    <a:cubicBezTo>
                      <a:pt x="206" y="438"/>
                      <a:pt x="206" y="438"/>
                      <a:pt x="206" y="438"/>
                    </a:cubicBezTo>
                    <a:cubicBezTo>
                      <a:pt x="203" y="437"/>
                      <a:pt x="203" y="437"/>
                      <a:pt x="203" y="437"/>
                    </a:cubicBezTo>
                    <a:cubicBezTo>
                      <a:pt x="202" y="436"/>
                      <a:pt x="202" y="436"/>
                      <a:pt x="201" y="435"/>
                    </a:cubicBezTo>
                    <a:cubicBezTo>
                      <a:pt x="205" y="434"/>
                      <a:pt x="208" y="430"/>
                      <a:pt x="211" y="428"/>
                    </a:cubicBezTo>
                    <a:cubicBezTo>
                      <a:pt x="215" y="425"/>
                      <a:pt x="220" y="424"/>
                      <a:pt x="225" y="422"/>
                    </a:cubicBezTo>
                    <a:cubicBezTo>
                      <a:pt x="223" y="417"/>
                      <a:pt x="221" y="412"/>
                      <a:pt x="218" y="408"/>
                    </a:cubicBezTo>
                    <a:cubicBezTo>
                      <a:pt x="217" y="406"/>
                      <a:pt x="212" y="406"/>
                      <a:pt x="210" y="406"/>
                    </a:cubicBezTo>
                    <a:cubicBezTo>
                      <a:pt x="211" y="403"/>
                      <a:pt x="212" y="403"/>
                      <a:pt x="210" y="400"/>
                    </a:cubicBezTo>
                    <a:cubicBezTo>
                      <a:pt x="209" y="399"/>
                      <a:pt x="206" y="397"/>
                      <a:pt x="205" y="396"/>
                    </a:cubicBezTo>
                    <a:cubicBezTo>
                      <a:pt x="202" y="394"/>
                      <a:pt x="199" y="392"/>
                      <a:pt x="196" y="390"/>
                    </a:cubicBezTo>
                    <a:cubicBezTo>
                      <a:pt x="196" y="389"/>
                      <a:pt x="195" y="387"/>
                      <a:pt x="195" y="387"/>
                    </a:cubicBezTo>
                    <a:cubicBezTo>
                      <a:pt x="194" y="387"/>
                      <a:pt x="194" y="387"/>
                      <a:pt x="193" y="387"/>
                    </a:cubicBezTo>
                    <a:cubicBezTo>
                      <a:pt x="192" y="387"/>
                      <a:pt x="191" y="387"/>
                      <a:pt x="190" y="388"/>
                    </a:cubicBezTo>
                    <a:cubicBezTo>
                      <a:pt x="188" y="389"/>
                      <a:pt x="187" y="389"/>
                      <a:pt x="186" y="389"/>
                    </a:cubicBezTo>
                    <a:cubicBezTo>
                      <a:pt x="185" y="389"/>
                      <a:pt x="184" y="389"/>
                      <a:pt x="183" y="389"/>
                    </a:cubicBezTo>
                    <a:cubicBezTo>
                      <a:pt x="181" y="386"/>
                      <a:pt x="176" y="382"/>
                      <a:pt x="172" y="382"/>
                    </a:cubicBezTo>
                    <a:cubicBezTo>
                      <a:pt x="172" y="382"/>
                      <a:pt x="172" y="382"/>
                      <a:pt x="171" y="382"/>
                    </a:cubicBezTo>
                    <a:cubicBezTo>
                      <a:pt x="172" y="381"/>
                      <a:pt x="174" y="381"/>
                      <a:pt x="175" y="380"/>
                    </a:cubicBezTo>
                    <a:cubicBezTo>
                      <a:pt x="176" y="379"/>
                      <a:pt x="174" y="378"/>
                      <a:pt x="174" y="377"/>
                    </a:cubicBezTo>
                    <a:cubicBezTo>
                      <a:pt x="173" y="376"/>
                      <a:pt x="172" y="374"/>
                      <a:pt x="171" y="372"/>
                    </a:cubicBezTo>
                    <a:cubicBezTo>
                      <a:pt x="171" y="370"/>
                      <a:pt x="170" y="370"/>
                      <a:pt x="170" y="367"/>
                    </a:cubicBezTo>
                    <a:cubicBezTo>
                      <a:pt x="170" y="363"/>
                      <a:pt x="170" y="360"/>
                      <a:pt x="170" y="356"/>
                    </a:cubicBezTo>
                    <a:cubicBezTo>
                      <a:pt x="171" y="356"/>
                      <a:pt x="172" y="357"/>
                      <a:pt x="172" y="357"/>
                    </a:cubicBezTo>
                    <a:cubicBezTo>
                      <a:pt x="173" y="357"/>
                      <a:pt x="170" y="353"/>
                      <a:pt x="169" y="353"/>
                    </a:cubicBezTo>
                    <a:cubicBezTo>
                      <a:pt x="169" y="351"/>
                      <a:pt x="171" y="350"/>
                      <a:pt x="170" y="347"/>
                    </a:cubicBezTo>
                    <a:cubicBezTo>
                      <a:pt x="169" y="347"/>
                      <a:pt x="169" y="346"/>
                      <a:pt x="168" y="345"/>
                    </a:cubicBezTo>
                    <a:cubicBezTo>
                      <a:pt x="168" y="345"/>
                      <a:pt x="169" y="345"/>
                      <a:pt x="169" y="345"/>
                    </a:cubicBezTo>
                    <a:cubicBezTo>
                      <a:pt x="169" y="345"/>
                      <a:pt x="169" y="345"/>
                      <a:pt x="170" y="345"/>
                    </a:cubicBezTo>
                    <a:cubicBezTo>
                      <a:pt x="170" y="345"/>
                      <a:pt x="171" y="345"/>
                      <a:pt x="171" y="345"/>
                    </a:cubicBezTo>
                    <a:cubicBezTo>
                      <a:pt x="171" y="345"/>
                      <a:pt x="171" y="345"/>
                      <a:pt x="172" y="345"/>
                    </a:cubicBezTo>
                    <a:cubicBezTo>
                      <a:pt x="171" y="345"/>
                      <a:pt x="169" y="344"/>
                      <a:pt x="168" y="344"/>
                    </a:cubicBezTo>
                    <a:cubicBezTo>
                      <a:pt x="170" y="343"/>
                      <a:pt x="171" y="343"/>
                      <a:pt x="172" y="343"/>
                    </a:cubicBezTo>
                    <a:cubicBezTo>
                      <a:pt x="171" y="342"/>
                      <a:pt x="170" y="342"/>
                      <a:pt x="169" y="341"/>
                    </a:cubicBezTo>
                    <a:cubicBezTo>
                      <a:pt x="172" y="341"/>
                      <a:pt x="173" y="339"/>
                      <a:pt x="169" y="338"/>
                    </a:cubicBezTo>
                    <a:cubicBezTo>
                      <a:pt x="170" y="338"/>
                      <a:pt x="171" y="338"/>
                      <a:pt x="171" y="338"/>
                    </a:cubicBezTo>
                    <a:cubicBezTo>
                      <a:pt x="173" y="338"/>
                      <a:pt x="175" y="338"/>
                      <a:pt x="176" y="339"/>
                    </a:cubicBezTo>
                    <a:cubicBezTo>
                      <a:pt x="178" y="340"/>
                      <a:pt x="177" y="342"/>
                      <a:pt x="180" y="342"/>
                    </a:cubicBezTo>
                    <a:cubicBezTo>
                      <a:pt x="178" y="339"/>
                      <a:pt x="175" y="336"/>
                      <a:pt x="175" y="333"/>
                    </a:cubicBezTo>
                    <a:cubicBezTo>
                      <a:pt x="175" y="327"/>
                      <a:pt x="181" y="322"/>
                      <a:pt x="180" y="316"/>
                    </a:cubicBezTo>
                    <a:cubicBezTo>
                      <a:pt x="180" y="316"/>
                      <a:pt x="179" y="313"/>
                      <a:pt x="179" y="312"/>
                    </a:cubicBezTo>
                    <a:cubicBezTo>
                      <a:pt x="179" y="312"/>
                      <a:pt x="177" y="311"/>
                      <a:pt x="177" y="311"/>
                    </a:cubicBezTo>
                    <a:cubicBezTo>
                      <a:pt x="177" y="311"/>
                      <a:pt x="177" y="311"/>
                      <a:pt x="177" y="311"/>
                    </a:cubicBezTo>
                    <a:cubicBezTo>
                      <a:pt x="176" y="309"/>
                      <a:pt x="177" y="306"/>
                      <a:pt x="176" y="305"/>
                    </a:cubicBezTo>
                    <a:cubicBezTo>
                      <a:pt x="176" y="305"/>
                      <a:pt x="176" y="305"/>
                      <a:pt x="177" y="305"/>
                    </a:cubicBezTo>
                    <a:cubicBezTo>
                      <a:pt x="178" y="305"/>
                      <a:pt x="179" y="305"/>
                      <a:pt x="180" y="305"/>
                    </a:cubicBezTo>
                    <a:cubicBezTo>
                      <a:pt x="181" y="306"/>
                      <a:pt x="183" y="306"/>
                      <a:pt x="184" y="306"/>
                    </a:cubicBezTo>
                    <a:cubicBezTo>
                      <a:pt x="184" y="306"/>
                      <a:pt x="184" y="306"/>
                      <a:pt x="184" y="306"/>
                    </a:cubicBezTo>
                    <a:cubicBezTo>
                      <a:pt x="189" y="306"/>
                      <a:pt x="190" y="302"/>
                      <a:pt x="191" y="298"/>
                    </a:cubicBezTo>
                    <a:cubicBezTo>
                      <a:pt x="192" y="296"/>
                      <a:pt x="192" y="295"/>
                      <a:pt x="193" y="293"/>
                    </a:cubicBezTo>
                    <a:cubicBezTo>
                      <a:pt x="194" y="292"/>
                      <a:pt x="192" y="290"/>
                      <a:pt x="191" y="289"/>
                    </a:cubicBezTo>
                    <a:cubicBezTo>
                      <a:pt x="191" y="288"/>
                      <a:pt x="191" y="286"/>
                      <a:pt x="190" y="284"/>
                    </a:cubicBezTo>
                    <a:cubicBezTo>
                      <a:pt x="189" y="283"/>
                      <a:pt x="185" y="282"/>
                      <a:pt x="185" y="280"/>
                    </a:cubicBezTo>
                    <a:cubicBezTo>
                      <a:pt x="186" y="280"/>
                      <a:pt x="187" y="279"/>
                      <a:pt x="187" y="279"/>
                    </a:cubicBezTo>
                    <a:cubicBezTo>
                      <a:pt x="189" y="279"/>
                      <a:pt x="190" y="283"/>
                      <a:pt x="191" y="284"/>
                    </a:cubicBezTo>
                    <a:cubicBezTo>
                      <a:pt x="191" y="285"/>
                      <a:pt x="192" y="284"/>
                      <a:pt x="192" y="285"/>
                    </a:cubicBezTo>
                    <a:cubicBezTo>
                      <a:pt x="192" y="286"/>
                      <a:pt x="191" y="287"/>
                      <a:pt x="192" y="288"/>
                    </a:cubicBezTo>
                    <a:cubicBezTo>
                      <a:pt x="192" y="289"/>
                      <a:pt x="193" y="289"/>
                      <a:pt x="194" y="289"/>
                    </a:cubicBezTo>
                    <a:cubicBezTo>
                      <a:pt x="194" y="289"/>
                      <a:pt x="195" y="289"/>
                      <a:pt x="195" y="289"/>
                    </a:cubicBezTo>
                    <a:cubicBezTo>
                      <a:pt x="196" y="289"/>
                      <a:pt x="196" y="289"/>
                      <a:pt x="197" y="289"/>
                    </a:cubicBezTo>
                    <a:cubicBezTo>
                      <a:pt x="197" y="289"/>
                      <a:pt x="198" y="289"/>
                      <a:pt x="198" y="289"/>
                    </a:cubicBezTo>
                    <a:cubicBezTo>
                      <a:pt x="197" y="290"/>
                      <a:pt x="197" y="291"/>
                      <a:pt x="197" y="291"/>
                    </a:cubicBezTo>
                    <a:cubicBezTo>
                      <a:pt x="198" y="291"/>
                      <a:pt x="198" y="290"/>
                      <a:pt x="199" y="289"/>
                    </a:cubicBezTo>
                    <a:cubicBezTo>
                      <a:pt x="200" y="287"/>
                      <a:pt x="202" y="284"/>
                      <a:pt x="203" y="281"/>
                    </a:cubicBezTo>
                    <a:cubicBezTo>
                      <a:pt x="202" y="281"/>
                      <a:pt x="202" y="281"/>
                      <a:pt x="201" y="281"/>
                    </a:cubicBezTo>
                    <a:cubicBezTo>
                      <a:pt x="204" y="280"/>
                      <a:pt x="218" y="272"/>
                      <a:pt x="222" y="272"/>
                    </a:cubicBezTo>
                    <a:cubicBezTo>
                      <a:pt x="223" y="272"/>
                      <a:pt x="223" y="272"/>
                      <a:pt x="224" y="273"/>
                    </a:cubicBezTo>
                    <a:cubicBezTo>
                      <a:pt x="226" y="269"/>
                      <a:pt x="228" y="266"/>
                      <a:pt x="230" y="262"/>
                    </a:cubicBezTo>
                    <a:cubicBezTo>
                      <a:pt x="231" y="261"/>
                      <a:pt x="232" y="261"/>
                      <a:pt x="233" y="261"/>
                    </a:cubicBezTo>
                    <a:cubicBezTo>
                      <a:pt x="234" y="261"/>
                      <a:pt x="236" y="261"/>
                      <a:pt x="237" y="262"/>
                    </a:cubicBezTo>
                    <a:cubicBezTo>
                      <a:pt x="237" y="260"/>
                      <a:pt x="235" y="258"/>
                      <a:pt x="235" y="256"/>
                    </a:cubicBezTo>
                    <a:cubicBezTo>
                      <a:pt x="240" y="257"/>
                      <a:pt x="240" y="261"/>
                      <a:pt x="243" y="261"/>
                    </a:cubicBezTo>
                    <a:cubicBezTo>
                      <a:pt x="243" y="261"/>
                      <a:pt x="245" y="260"/>
                      <a:pt x="246" y="259"/>
                    </a:cubicBezTo>
                    <a:cubicBezTo>
                      <a:pt x="251" y="254"/>
                      <a:pt x="256" y="251"/>
                      <a:pt x="262" y="249"/>
                    </a:cubicBezTo>
                    <a:cubicBezTo>
                      <a:pt x="262" y="250"/>
                      <a:pt x="262" y="250"/>
                      <a:pt x="263" y="250"/>
                    </a:cubicBezTo>
                    <a:cubicBezTo>
                      <a:pt x="264" y="250"/>
                      <a:pt x="265" y="248"/>
                      <a:pt x="266" y="248"/>
                    </a:cubicBezTo>
                    <a:cubicBezTo>
                      <a:pt x="269" y="246"/>
                      <a:pt x="271" y="245"/>
                      <a:pt x="272" y="243"/>
                    </a:cubicBezTo>
                    <a:cubicBezTo>
                      <a:pt x="277" y="238"/>
                      <a:pt x="280" y="232"/>
                      <a:pt x="284" y="226"/>
                    </a:cubicBezTo>
                    <a:cubicBezTo>
                      <a:pt x="286" y="223"/>
                      <a:pt x="288" y="224"/>
                      <a:pt x="290" y="222"/>
                    </a:cubicBezTo>
                    <a:cubicBezTo>
                      <a:pt x="291" y="220"/>
                      <a:pt x="295" y="217"/>
                      <a:pt x="297" y="217"/>
                    </a:cubicBezTo>
                    <a:cubicBezTo>
                      <a:pt x="293" y="216"/>
                      <a:pt x="293" y="216"/>
                      <a:pt x="292" y="213"/>
                    </a:cubicBezTo>
                    <a:cubicBezTo>
                      <a:pt x="293" y="213"/>
                      <a:pt x="294" y="213"/>
                      <a:pt x="295" y="213"/>
                    </a:cubicBezTo>
                    <a:cubicBezTo>
                      <a:pt x="295" y="213"/>
                      <a:pt x="295" y="213"/>
                      <a:pt x="296" y="213"/>
                    </a:cubicBezTo>
                    <a:cubicBezTo>
                      <a:pt x="294" y="210"/>
                      <a:pt x="291" y="210"/>
                      <a:pt x="289" y="209"/>
                    </a:cubicBezTo>
                    <a:cubicBezTo>
                      <a:pt x="288" y="208"/>
                      <a:pt x="286" y="206"/>
                      <a:pt x="283" y="205"/>
                    </a:cubicBezTo>
                    <a:cubicBezTo>
                      <a:pt x="285" y="205"/>
                      <a:pt x="286" y="206"/>
                      <a:pt x="288" y="206"/>
                    </a:cubicBezTo>
                    <a:cubicBezTo>
                      <a:pt x="288" y="205"/>
                      <a:pt x="287" y="201"/>
                      <a:pt x="285" y="201"/>
                    </a:cubicBezTo>
                    <a:cubicBezTo>
                      <a:pt x="285" y="201"/>
                      <a:pt x="285" y="201"/>
                      <a:pt x="285" y="201"/>
                    </a:cubicBezTo>
                    <a:cubicBezTo>
                      <a:pt x="285" y="201"/>
                      <a:pt x="284" y="201"/>
                      <a:pt x="284" y="201"/>
                    </a:cubicBezTo>
                    <a:cubicBezTo>
                      <a:pt x="283" y="201"/>
                      <a:pt x="282" y="201"/>
                      <a:pt x="282" y="201"/>
                    </a:cubicBezTo>
                    <a:cubicBezTo>
                      <a:pt x="278" y="197"/>
                      <a:pt x="293" y="190"/>
                      <a:pt x="295" y="188"/>
                    </a:cubicBezTo>
                    <a:cubicBezTo>
                      <a:pt x="298" y="186"/>
                      <a:pt x="294" y="181"/>
                      <a:pt x="297" y="179"/>
                    </a:cubicBezTo>
                    <a:cubicBezTo>
                      <a:pt x="299" y="178"/>
                      <a:pt x="301" y="177"/>
                      <a:pt x="299" y="176"/>
                    </a:cubicBezTo>
                    <a:cubicBezTo>
                      <a:pt x="299" y="176"/>
                      <a:pt x="296" y="175"/>
                      <a:pt x="296" y="175"/>
                    </a:cubicBezTo>
                    <a:cubicBezTo>
                      <a:pt x="296" y="175"/>
                      <a:pt x="296" y="175"/>
                      <a:pt x="296" y="175"/>
                    </a:cubicBezTo>
                    <a:cubicBezTo>
                      <a:pt x="288" y="175"/>
                      <a:pt x="302" y="168"/>
                      <a:pt x="303" y="167"/>
                    </a:cubicBezTo>
                    <a:cubicBezTo>
                      <a:pt x="305" y="165"/>
                      <a:pt x="308" y="163"/>
                      <a:pt x="311" y="163"/>
                    </a:cubicBezTo>
                    <a:cubicBezTo>
                      <a:pt x="311" y="163"/>
                      <a:pt x="311" y="163"/>
                      <a:pt x="312" y="163"/>
                    </a:cubicBezTo>
                    <a:cubicBezTo>
                      <a:pt x="313" y="163"/>
                      <a:pt x="315" y="164"/>
                      <a:pt x="317" y="164"/>
                    </a:cubicBezTo>
                    <a:cubicBezTo>
                      <a:pt x="319" y="164"/>
                      <a:pt x="320" y="164"/>
                      <a:pt x="319" y="161"/>
                    </a:cubicBezTo>
                    <a:cubicBezTo>
                      <a:pt x="319" y="160"/>
                      <a:pt x="314" y="161"/>
                      <a:pt x="316" y="158"/>
                    </a:cubicBezTo>
                    <a:cubicBezTo>
                      <a:pt x="316" y="157"/>
                      <a:pt x="318" y="157"/>
                      <a:pt x="318" y="156"/>
                    </a:cubicBezTo>
                    <a:cubicBezTo>
                      <a:pt x="318" y="155"/>
                      <a:pt x="317" y="155"/>
                      <a:pt x="317" y="154"/>
                    </a:cubicBezTo>
                    <a:cubicBezTo>
                      <a:pt x="318" y="153"/>
                      <a:pt x="319" y="152"/>
                      <a:pt x="319" y="151"/>
                    </a:cubicBezTo>
                    <a:cubicBezTo>
                      <a:pt x="321" y="152"/>
                      <a:pt x="323" y="154"/>
                      <a:pt x="326" y="154"/>
                    </a:cubicBezTo>
                    <a:cubicBezTo>
                      <a:pt x="326" y="154"/>
                      <a:pt x="326" y="155"/>
                      <a:pt x="326" y="155"/>
                    </a:cubicBezTo>
                    <a:cubicBezTo>
                      <a:pt x="328" y="155"/>
                      <a:pt x="328" y="152"/>
                      <a:pt x="328" y="150"/>
                    </a:cubicBezTo>
                    <a:cubicBezTo>
                      <a:pt x="330" y="151"/>
                      <a:pt x="339" y="156"/>
                      <a:pt x="339" y="158"/>
                    </a:cubicBezTo>
                    <a:cubicBezTo>
                      <a:pt x="340" y="157"/>
                      <a:pt x="343" y="153"/>
                      <a:pt x="341" y="152"/>
                    </a:cubicBezTo>
                    <a:cubicBezTo>
                      <a:pt x="343" y="152"/>
                      <a:pt x="344" y="152"/>
                      <a:pt x="346" y="152"/>
                    </a:cubicBezTo>
                    <a:cubicBezTo>
                      <a:pt x="352" y="152"/>
                      <a:pt x="358" y="152"/>
                      <a:pt x="364" y="152"/>
                    </a:cubicBezTo>
                    <a:cubicBezTo>
                      <a:pt x="360" y="141"/>
                      <a:pt x="360" y="141"/>
                      <a:pt x="360" y="141"/>
                    </a:cubicBezTo>
                    <a:cubicBezTo>
                      <a:pt x="359" y="140"/>
                      <a:pt x="359" y="139"/>
                      <a:pt x="358" y="138"/>
                    </a:cubicBezTo>
                    <a:cubicBezTo>
                      <a:pt x="356" y="137"/>
                      <a:pt x="355" y="136"/>
                      <a:pt x="354" y="134"/>
                    </a:cubicBezTo>
                    <a:cubicBezTo>
                      <a:pt x="353" y="134"/>
                      <a:pt x="353" y="133"/>
                      <a:pt x="353" y="133"/>
                    </a:cubicBezTo>
                    <a:cubicBezTo>
                      <a:pt x="353" y="132"/>
                      <a:pt x="352" y="132"/>
                      <a:pt x="352" y="131"/>
                    </a:cubicBezTo>
                    <a:cubicBezTo>
                      <a:pt x="352" y="130"/>
                      <a:pt x="352" y="129"/>
                      <a:pt x="352" y="128"/>
                    </a:cubicBezTo>
                    <a:cubicBezTo>
                      <a:pt x="352" y="127"/>
                      <a:pt x="352" y="126"/>
                      <a:pt x="353" y="125"/>
                    </a:cubicBezTo>
                    <a:cubicBezTo>
                      <a:pt x="353" y="122"/>
                      <a:pt x="355" y="119"/>
                      <a:pt x="356" y="117"/>
                    </a:cubicBezTo>
                    <a:cubicBezTo>
                      <a:pt x="357" y="115"/>
                      <a:pt x="357" y="113"/>
                      <a:pt x="358" y="112"/>
                    </a:cubicBezTo>
                    <a:cubicBezTo>
                      <a:pt x="358" y="111"/>
                      <a:pt x="359" y="109"/>
                      <a:pt x="359" y="108"/>
                    </a:cubicBezTo>
                    <a:cubicBezTo>
                      <a:pt x="359" y="107"/>
                      <a:pt x="359" y="106"/>
                      <a:pt x="360" y="105"/>
                    </a:cubicBezTo>
                    <a:cubicBezTo>
                      <a:pt x="360" y="105"/>
                      <a:pt x="360" y="105"/>
                      <a:pt x="360" y="105"/>
                    </a:cubicBezTo>
                    <a:cubicBezTo>
                      <a:pt x="360" y="105"/>
                      <a:pt x="360" y="104"/>
                      <a:pt x="359" y="104"/>
                    </a:cubicBezTo>
                    <a:cubicBezTo>
                      <a:pt x="359" y="103"/>
                      <a:pt x="359" y="103"/>
                      <a:pt x="359" y="103"/>
                    </a:cubicBezTo>
                    <a:cubicBezTo>
                      <a:pt x="358" y="102"/>
                      <a:pt x="357" y="101"/>
                      <a:pt x="356" y="100"/>
                    </a:cubicBezTo>
                    <a:cubicBezTo>
                      <a:pt x="353" y="96"/>
                      <a:pt x="350" y="92"/>
                      <a:pt x="350" y="87"/>
                    </a:cubicBezTo>
                    <a:cubicBezTo>
                      <a:pt x="350" y="85"/>
                      <a:pt x="351" y="83"/>
                      <a:pt x="354" y="81"/>
                    </a:cubicBezTo>
                    <a:cubicBezTo>
                      <a:pt x="354" y="81"/>
                      <a:pt x="354" y="81"/>
                      <a:pt x="355" y="80"/>
                    </a:cubicBezTo>
                    <a:cubicBezTo>
                      <a:pt x="354" y="79"/>
                      <a:pt x="353" y="79"/>
                      <a:pt x="352" y="78"/>
                    </a:cubicBezTo>
                    <a:cubicBezTo>
                      <a:pt x="352" y="78"/>
                      <a:pt x="352" y="78"/>
                      <a:pt x="352" y="78"/>
                    </a:cubicBezTo>
                    <a:cubicBezTo>
                      <a:pt x="351" y="78"/>
                      <a:pt x="351" y="78"/>
                      <a:pt x="351" y="78"/>
                    </a:cubicBezTo>
                    <a:cubicBezTo>
                      <a:pt x="350" y="78"/>
                      <a:pt x="349" y="77"/>
                      <a:pt x="348" y="77"/>
                    </a:cubicBezTo>
                    <a:cubicBezTo>
                      <a:pt x="348" y="77"/>
                      <a:pt x="348" y="77"/>
                      <a:pt x="348" y="77"/>
                    </a:cubicBezTo>
                    <a:cubicBezTo>
                      <a:pt x="347" y="76"/>
                      <a:pt x="347" y="76"/>
                      <a:pt x="346" y="76"/>
                    </a:cubicBezTo>
                    <a:cubicBezTo>
                      <a:pt x="346" y="75"/>
                      <a:pt x="346" y="75"/>
                      <a:pt x="346" y="75"/>
                    </a:cubicBezTo>
                    <a:cubicBezTo>
                      <a:pt x="345" y="74"/>
                      <a:pt x="345" y="74"/>
                      <a:pt x="345" y="74"/>
                    </a:cubicBezTo>
                    <a:cubicBezTo>
                      <a:pt x="345" y="71"/>
                      <a:pt x="346" y="69"/>
                      <a:pt x="347" y="69"/>
                    </a:cubicBezTo>
                    <a:cubicBezTo>
                      <a:pt x="347" y="68"/>
                      <a:pt x="347" y="68"/>
                      <a:pt x="348" y="68"/>
                    </a:cubicBezTo>
                    <a:cubicBezTo>
                      <a:pt x="348" y="67"/>
                      <a:pt x="348" y="66"/>
                      <a:pt x="348" y="65"/>
                    </a:cubicBezTo>
                    <a:cubicBezTo>
                      <a:pt x="348" y="62"/>
                      <a:pt x="348" y="62"/>
                      <a:pt x="348" y="62"/>
                    </a:cubicBezTo>
                    <a:cubicBezTo>
                      <a:pt x="348" y="59"/>
                      <a:pt x="347" y="55"/>
                      <a:pt x="349" y="51"/>
                    </a:cubicBezTo>
                    <a:cubicBezTo>
                      <a:pt x="350" y="51"/>
                      <a:pt x="350" y="51"/>
                      <a:pt x="350" y="51"/>
                    </a:cubicBezTo>
                    <a:cubicBezTo>
                      <a:pt x="350" y="50"/>
                      <a:pt x="350" y="50"/>
                      <a:pt x="350" y="50"/>
                    </a:cubicBezTo>
                    <a:cubicBezTo>
                      <a:pt x="348" y="49"/>
                      <a:pt x="348" y="49"/>
                      <a:pt x="348" y="49"/>
                    </a:cubicBezTo>
                    <a:cubicBezTo>
                      <a:pt x="348" y="48"/>
                      <a:pt x="348" y="48"/>
                      <a:pt x="348" y="48"/>
                    </a:cubicBezTo>
                    <a:cubicBezTo>
                      <a:pt x="345" y="45"/>
                      <a:pt x="343" y="43"/>
                      <a:pt x="339" y="41"/>
                    </a:cubicBezTo>
                    <a:cubicBezTo>
                      <a:pt x="268" y="0"/>
                      <a:pt x="268" y="0"/>
                      <a:pt x="2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0" name="Freeform 238">
                <a:extLst>
                  <a:ext uri="{FF2B5EF4-FFF2-40B4-BE49-F238E27FC236}">
                    <a16:creationId xmlns:a16="http://schemas.microsoft.com/office/drawing/2014/main" id="{6DBC651F-A1B4-4E49-A0D3-9F0F1E58F0C3}"/>
                  </a:ext>
                </a:extLst>
              </p:cNvPr>
              <p:cNvSpPr>
                <a:spLocks/>
              </p:cNvSpPr>
              <p:nvPr/>
            </p:nvSpPr>
            <p:spPr bwMode="auto">
              <a:xfrm>
                <a:off x="7513951" y="5815113"/>
                <a:ext cx="364826" cy="390622"/>
              </a:xfrm>
              <a:custGeom>
                <a:avLst/>
                <a:gdLst>
                  <a:gd name="T0" fmla="*/ 92 w 115"/>
                  <a:gd name="T1" fmla="*/ 8 h 123"/>
                  <a:gd name="T2" fmla="*/ 88 w 115"/>
                  <a:gd name="T3" fmla="*/ 10 h 123"/>
                  <a:gd name="T4" fmla="*/ 84 w 115"/>
                  <a:gd name="T5" fmla="*/ 13 h 123"/>
                  <a:gd name="T6" fmla="*/ 71 w 115"/>
                  <a:gd name="T7" fmla="*/ 20 h 123"/>
                  <a:gd name="T8" fmla="*/ 66 w 115"/>
                  <a:gd name="T9" fmla="*/ 23 h 123"/>
                  <a:gd name="T10" fmla="*/ 62 w 115"/>
                  <a:gd name="T11" fmla="*/ 26 h 123"/>
                  <a:gd name="T12" fmla="*/ 58 w 115"/>
                  <a:gd name="T13" fmla="*/ 29 h 123"/>
                  <a:gd name="T14" fmla="*/ 56 w 115"/>
                  <a:gd name="T15" fmla="*/ 30 h 123"/>
                  <a:gd name="T16" fmla="*/ 54 w 115"/>
                  <a:gd name="T17" fmla="*/ 31 h 123"/>
                  <a:gd name="T18" fmla="*/ 52 w 115"/>
                  <a:gd name="T19" fmla="*/ 32 h 123"/>
                  <a:gd name="T20" fmla="*/ 50 w 115"/>
                  <a:gd name="T21" fmla="*/ 32 h 123"/>
                  <a:gd name="T22" fmla="*/ 49 w 115"/>
                  <a:gd name="T23" fmla="*/ 32 h 123"/>
                  <a:gd name="T24" fmla="*/ 46 w 115"/>
                  <a:gd name="T25" fmla="*/ 31 h 123"/>
                  <a:gd name="T26" fmla="*/ 41 w 115"/>
                  <a:gd name="T27" fmla="*/ 30 h 123"/>
                  <a:gd name="T28" fmla="*/ 36 w 115"/>
                  <a:gd name="T29" fmla="*/ 28 h 123"/>
                  <a:gd name="T30" fmla="*/ 29 w 115"/>
                  <a:gd name="T31" fmla="*/ 25 h 123"/>
                  <a:gd name="T32" fmla="*/ 25 w 115"/>
                  <a:gd name="T33" fmla="*/ 22 h 123"/>
                  <a:gd name="T34" fmla="*/ 23 w 115"/>
                  <a:gd name="T35" fmla="*/ 20 h 123"/>
                  <a:gd name="T36" fmla="*/ 22 w 115"/>
                  <a:gd name="T37" fmla="*/ 20 h 123"/>
                  <a:gd name="T38" fmla="*/ 21 w 115"/>
                  <a:gd name="T39" fmla="*/ 20 h 123"/>
                  <a:gd name="T40" fmla="*/ 20 w 115"/>
                  <a:gd name="T41" fmla="*/ 22 h 123"/>
                  <a:gd name="T42" fmla="*/ 20 w 115"/>
                  <a:gd name="T43" fmla="*/ 28 h 123"/>
                  <a:gd name="T44" fmla="*/ 15 w 115"/>
                  <a:gd name="T45" fmla="*/ 43 h 123"/>
                  <a:gd name="T46" fmla="*/ 14 w 115"/>
                  <a:gd name="T47" fmla="*/ 52 h 123"/>
                  <a:gd name="T48" fmla="*/ 16 w 115"/>
                  <a:gd name="T49" fmla="*/ 58 h 123"/>
                  <a:gd name="T50" fmla="*/ 13 w 115"/>
                  <a:gd name="T51" fmla="*/ 73 h 123"/>
                  <a:gd name="T52" fmla="*/ 10 w 115"/>
                  <a:gd name="T53" fmla="*/ 83 h 123"/>
                  <a:gd name="T54" fmla="*/ 3 w 115"/>
                  <a:gd name="T55" fmla="*/ 115 h 123"/>
                  <a:gd name="T56" fmla="*/ 0 w 115"/>
                  <a:gd name="T57" fmla="*/ 116 h 123"/>
                  <a:gd name="T58" fmla="*/ 1 w 115"/>
                  <a:gd name="T59" fmla="*/ 118 h 123"/>
                  <a:gd name="T60" fmla="*/ 2 w 115"/>
                  <a:gd name="T61" fmla="*/ 118 h 123"/>
                  <a:gd name="T62" fmla="*/ 21 w 115"/>
                  <a:gd name="T63" fmla="*/ 121 h 123"/>
                  <a:gd name="T64" fmla="*/ 24 w 115"/>
                  <a:gd name="T65" fmla="*/ 122 h 123"/>
                  <a:gd name="T66" fmla="*/ 33 w 115"/>
                  <a:gd name="T67" fmla="*/ 118 h 123"/>
                  <a:gd name="T68" fmla="*/ 35 w 115"/>
                  <a:gd name="T69" fmla="*/ 116 h 123"/>
                  <a:gd name="T70" fmla="*/ 40 w 115"/>
                  <a:gd name="T71" fmla="*/ 110 h 123"/>
                  <a:gd name="T72" fmla="*/ 55 w 115"/>
                  <a:gd name="T73" fmla="*/ 100 h 123"/>
                  <a:gd name="T74" fmla="*/ 59 w 115"/>
                  <a:gd name="T75" fmla="*/ 100 h 123"/>
                  <a:gd name="T76" fmla="*/ 63 w 115"/>
                  <a:gd name="T77" fmla="*/ 99 h 123"/>
                  <a:gd name="T78" fmla="*/ 70 w 115"/>
                  <a:gd name="T79" fmla="*/ 97 h 123"/>
                  <a:gd name="T80" fmla="*/ 81 w 115"/>
                  <a:gd name="T81" fmla="*/ 85 h 123"/>
                  <a:gd name="T82" fmla="*/ 78 w 115"/>
                  <a:gd name="T83" fmla="*/ 82 h 123"/>
                  <a:gd name="T84" fmla="*/ 76 w 115"/>
                  <a:gd name="T85" fmla="*/ 80 h 123"/>
                  <a:gd name="T86" fmla="*/ 50 w 115"/>
                  <a:gd name="T87" fmla="*/ 52 h 123"/>
                  <a:gd name="T88" fmla="*/ 64 w 115"/>
                  <a:gd name="T89" fmla="*/ 48 h 123"/>
                  <a:gd name="T90" fmla="*/ 93 w 115"/>
                  <a:gd name="T91" fmla="*/ 40 h 123"/>
                  <a:gd name="T92" fmla="*/ 100 w 115"/>
                  <a:gd name="T93" fmla="*/ 37 h 123"/>
                  <a:gd name="T94" fmla="*/ 103 w 115"/>
                  <a:gd name="T95" fmla="*/ 35 h 123"/>
                  <a:gd name="T96" fmla="*/ 113 w 115"/>
                  <a:gd name="T97" fmla="*/ 31 h 123"/>
                  <a:gd name="T98" fmla="*/ 112 w 115"/>
                  <a:gd name="T99" fmla="*/ 3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23">
                    <a:moveTo>
                      <a:pt x="105" y="0"/>
                    </a:moveTo>
                    <a:cubicBezTo>
                      <a:pt x="102" y="2"/>
                      <a:pt x="97" y="5"/>
                      <a:pt x="92" y="8"/>
                    </a:cubicBezTo>
                    <a:cubicBezTo>
                      <a:pt x="91" y="8"/>
                      <a:pt x="91" y="8"/>
                      <a:pt x="91" y="8"/>
                    </a:cubicBezTo>
                    <a:cubicBezTo>
                      <a:pt x="90" y="9"/>
                      <a:pt x="89" y="10"/>
                      <a:pt x="88" y="10"/>
                    </a:cubicBezTo>
                    <a:cubicBezTo>
                      <a:pt x="87" y="11"/>
                      <a:pt x="86" y="11"/>
                      <a:pt x="85" y="12"/>
                    </a:cubicBezTo>
                    <a:cubicBezTo>
                      <a:pt x="84" y="12"/>
                      <a:pt x="84" y="12"/>
                      <a:pt x="84" y="13"/>
                    </a:cubicBezTo>
                    <a:cubicBezTo>
                      <a:pt x="82" y="14"/>
                      <a:pt x="80" y="15"/>
                      <a:pt x="78" y="16"/>
                    </a:cubicBezTo>
                    <a:cubicBezTo>
                      <a:pt x="71" y="20"/>
                      <a:pt x="71" y="20"/>
                      <a:pt x="71" y="20"/>
                    </a:cubicBezTo>
                    <a:cubicBezTo>
                      <a:pt x="69" y="21"/>
                      <a:pt x="68" y="22"/>
                      <a:pt x="66" y="23"/>
                    </a:cubicBezTo>
                    <a:cubicBezTo>
                      <a:pt x="66" y="23"/>
                      <a:pt x="66" y="23"/>
                      <a:pt x="66" y="23"/>
                    </a:cubicBezTo>
                    <a:cubicBezTo>
                      <a:pt x="65" y="24"/>
                      <a:pt x="65" y="24"/>
                      <a:pt x="65" y="24"/>
                    </a:cubicBezTo>
                    <a:cubicBezTo>
                      <a:pt x="64" y="25"/>
                      <a:pt x="63" y="25"/>
                      <a:pt x="62" y="26"/>
                    </a:cubicBezTo>
                    <a:cubicBezTo>
                      <a:pt x="61" y="27"/>
                      <a:pt x="60" y="27"/>
                      <a:pt x="59" y="28"/>
                    </a:cubicBezTo>
                    <a:cubicBezTo>
                      <a:pt x="58" y="29"/>
                      <a:pt x="58" y="29"/>
                      <a:pt x="58" y="29"/>
                    </a:cubicBezTo>
                    <a:cubicBezTo>
                      <a:pt x="58" y="29"/>
                      <a:pt x="57" y="29"/>
                      <a:pt x="57" y="30"/>
                    </a:cubicBezTo>
                    <a:cubicBezTo>
                      <a:pt x="56" y="30"/>
                      <a:pt x="56" y="30"/>
                      <a:pt x="56" y="30"/>
                    </a:cubicBezTo>
                    <a:cubicBezTo>
                      <a:pt x="56" y="30"/>
                      <a:pt x="55" y="31"/>
                      <a:pt x="55" y="31"/>
                    </a:cubicBezTo>
                    <a:cubicBezTo>
                      <a:pt x="54" y="31"/>
                      <a:pt x="54" y="31"/>
                      <a:pt x="54" y="31"/>
                    </a:cubicBezTo>
                    <a:cubicBezTo>
                      <a:pt x="53" y="31"/>
                      <a:pt x="53" y="32"/>
                      <a:pt x="52" y="32"/>
                    </a:cubicBezTo>
                    <a:cubicBezTo>
                      <a:pt x="52" y="32"/>
                      <a:pt x="52" y="32"/>
                      <a:pt x="52" y="32"/>
                    </a:cubicBezTo>
                    <a:cubicBezTo>
                      <a:pt x="51" y="32"/>
                      <a:pt x="51" y="32"/>
                      <a:pt x="51" y="32"/>
                    </a:cubicBezTo>
                    <a:cubicBezTo>
                      <a:pt x="51" y="32"/>
                      <a:pt x="51" y="32"/>
                      <a:pt x="50" y="32"/>
                    </a:cubicBezTo>
                    <a:cubicBezTo>
                      <a:pt x="50" y="32"/>
                      <a:pt x="50" y="32"/>
                      <a:pt x="50" y="32"/>
                    </a:cubicBezTo>
                    <a:cubicBezTo>
                      <a:pt x="49" y="32"/>
                      <a:pt x="49" y="32"/>
                      <a:pt x="49" y="32"/>
                    </a:cubicBezTo>
                    <a:cubicBezTo>
                      <a:pt x="48" y="32"/>
                      <a:pt x="47" y="31"/>
                      <a:pt x="46" y="31"/>
                    </a:cubicBezTo>
                    <a:cubicBezTo>
                      <a:pt x="46" y="31"/>
                      <a:pt x="46" y="31"/>
                      <a:pt x="46" y="31"/>
                    </a:cubicBezTo>
                    <a:cubicBezTo>
                      <a:pt x="44" y="31"/>
                      <a:pt x="43" y="30"/>
                      <a:pt x="42" y="30"/>
                    </a:cubicBezTo>
                    <a:cubicBezTo>
                      <a:pt x="41" y="30"/>
                      <a:pt x="41" y="30"/>
                      <a:pt x="41" y="30"/>
                    </a:cubicBezTo>
                    <a:cubicBezTo>
                      <a:pt x="40" y="29"/>
                      <a:pt x="38" y="29"/>
                      <a:pt x="37" y="28"/>
                    </a:cubicBezTo>
                    <a:cubicBezTo>
                      <a:pt x="36" y="28"/>
                      <a:pt x="36" y="28"/>
                      <a:pt x="36" y="28"/>
                    </a:cubicBezTo>
                    <a:cubicBezTo>
                      <a:pt x="34" y="27"/>
                      <a:pt x="32" y="26"/>
                      <a:pt x="30" y="25"/>
                    </a:cubicBezTo>
                    <a:cubicBezTo>
                      <a:pt x="29" y="25"/>
                      <a:pt x="29" y="25"/>
                      <a:pt x="29" y="25"/>
                    </a:cubicBezTo>
                    <a:cubicBezTo>
                      <a:pt x="28" y="24"/>
                      <a:pt x="27" y="23"/>
                      <a:pt x="26" y="22"/>
                    </a:cubicBezTo>
                    <a:cubicBezTo>
                      <a:pt x="25" y="22"/>
                      <a:pt x="25" y="22"/>
                      <a:pt x="25" y="22"/>
                    </a:cubicBezTo>
                    <a:cubicBezTo>
                      <a:pt x="24" y="21"/>
                      <a:pt x="24" y="21"/>
                      <a:pt x="24" y="21"/>
                    </a:cubicBezTo>
                    <a:cubicBezTo>
                      <a:pt x="24" y="21"/>
                      <a:pt x="23" y="21"/>
                      <a:pt x="23" y="20"/>
                    </a:cubicBezTo>
                    <a:cubicBezTo>
                      <a:pt x="22" y="20"/>
                      <a:pt x="22" y="20"/>
                      <a:pt x="22" y="20"/>
                    </a:cubicBezTo>
                    <a:cubicBezTo>
                      <a:pt x="22" y="20"/>
                      <a:pt x="22" y="20"/>
                      <a:pt x="22" y="20"/>
                    </a:cubicBezTo>
                    <a:cubicBezTo>
                      <a:pt x="21" y="20"/>
                      <a:pt x="21" y="20"/>
                      <a:pt x="21" y="20"/>
                    </a:cubicBezTo>
                    <a:cubicBezTo>
                      <a:pt x="21" y="20"/>
                      <a:pt x="21" y="20"/>
                      <a:pt x="21" y="20"/>
                    </a:cubicBezTo>
                    <a:cubicBezTo>
                      <a:pt x="21" y="20"/>
                      <a:pt x="21" y="20"/>
                      <a:pt x="21" y="20"/>
                    </a:cubicBezTo>
                    <a:cubicBezTo>
                      <a:pt x="20" y="22"/>
                      <a:pt x="20" y="22"/>
                      <a:pt x="20" y="22"/>
                    </a:cubicBezTo>
                    <a:cubicBezTo>
                      <a:pt x="20" y="23"/>
                      <a:pt x="20" y="25"/>
                      <a:pt x="20" y="27"/>
                    </a:cubicBezTo>
                    <a:cubicBezTo>
                      <a:pt x="20" y="28"/>
                      <a:pt x="20" y="28"/>
                      <a:pt x="20" y="28"/>
                    </a:cubicBezTo>
                    <a:cubicBezTo>
                      <a:pt x="16" y="28"/>
                      <a:pt x="16" y="28"/>
                      <a:pt x="16" y="28"/>
                    </a:cubicBezTo>
                    <a:cubicBezTo>
                      <a:pt x="16" y="33"/>
                      <a:pt x="15" y="38"/>
                      <a:pt x="15" y="43"/>
                    </a:cubicBezTo>
                    <a:cubicBezTo>
                      <a:pt x="15" y="43"/>
                      <a:pt x="15" y="43"/>
                      <a:pt x="15" y="43"/>
                    </a:cubicBezTo>
                    <a:cubicBezTo>
                      <a:pt x="15" y="46"/>
                      <a:pt x="14" y="49"/>
                      <a:pt x="14" y="52"/>
                    </a:cubicBezTo>
                    <a:cubicBezTo>
                      <a:pt x="17" y="52"/>
                      <a:pt x="17" y="52"/>
                      <a:pt x="17" y="52"/>
                    </a:cubicBezTo>
                    <a:cubicBezTo>
                      <a:pt x="16" y="58"/>
                      <a:pt x="16" y="58"/>
                      <a:pt x="16" y="58"/>
                    </a:cubicBezTo>
                    <a:cubicBezTo>
                      <a:pt x="16" y="62"/>
                      <a:pt x="15" y="65"/>
                      <a:pt x="14" y="68"/>
                    </a:cubicBezTo>
                    <a:cubicBezTo>
                      <a:pt x="14" y="70"/>
                      <a:pt x="14" y="72"/>
                      <a:pt x="13" y="73"/>
                    </a:cubicBezTo>
                    <a:cubicBezTo>
                      <a:pt x="13" y="76"/>
                      <a:pt x="13" y="76"/>
                      <a:pt x="13" y="76"/>
                    </a:cubicBezTo>
                    <a:cubicBezTo>
                      <a:pt x="12" y="78"/>
                      <a:pt x="11" y="81"/>
                      <a:pt x="10" y="83"/>
                    </a:cubicBezTo>
                    <a:cubicBezTo>
                      <a:pt x="9" y="91"/>
                      <a:pt x="9" y="91"/>
                      <a:pt x="9" y="91"/>
                    </a:cubicBezTo>
                    <a:cubicBezTo>
                      <a:pt x="7" y="98"/>
                      <a:pt x="4" y="107"/>
                      <a:pt x="3" y="115"/>
                    </a:cubicBezTo>
                    <a:cubicBezTo>
                      <a:pt x="3" y="117"/>
                      <a:pt x="3" y="117"/>
                      <a:pt x="3" y="117"/>
                    </a:cubicBezTo>
                    <a:cubicBezTo>
                      <a:pt x="0" y="116"/>
                      <a:pt x="0" y="116"/>
                      <a:pt x="0" y="116"/>
                    </a:cubicBezTo>
                    <a:cubicBezTo>
                      <a:pt x="0" y="118"/>
                      <a:pt x="0" y="118"/>
                      <a:pt x="0" y="118"/>
                    </a:cubicBezTo>
                    <a:cubicBezTo>
                      <a:pt x="1" y="118"/>
                      <a:pt x="1" y="118"/>
                      <a:pt x="1" y="118"/>
                    </a:cubicBezTo>
                    <a:cubicBezTo>
                      <a:pt x="1" y="118"/>
                      <a:pt x="1" y="118"/>
                      <a:pt x="1" y="118"/>
                    </a:cubicBezTo>
                    <a:cubicBezTo>
                      <a:pt x="2" y="118"/>
                      <a:pt x="2" y="118"/>
                      <a:pt x="2" y="118"/>
                    </a:cubicBezTo>
                    <a:cubicBezTo>
                      <a:pt x="2" y="118"/>
                      <a:pt x="3" y="118"/>
                      <a:pt x="3" y="118"/>
                    </a:cubicBezTo>
                    <a:cubicBezTo>
                      <a:pt x="21" y="121"/>
                      <a:pt x="21" y="121"/>
                      <a:pt x="21" y="121"/>
                    </a:cubicBezTo>
                    <a:cubicBezTo>
                      <a:pt x="22" y="121"/>
                      <a:pt x="22" y="121"/>
                      <a:pt x="23" y="121"/>
                    </a:cubicBezTo>
                    <a:cubicBezTo>
                      <a:pt x="24" y="122"/>
                      <a:pt x="24" y="122"/>
                      <a:pt x="24" y="122"/>
                    </a:cubicBezTo>
                    <a:cubicBezTo>
                      <a:pt x="27" y="122"/>
                      <a:pt x="28" y="123"/>
                      <a:pt x="29" y="123"/>
                    </a:cubicBezTo>
                    <a:cubicBezTo>
                      <a:pt x="30" y="122"/>
                      <a:pt x="31" y="121"/>
                      <a:pt x="33" y="118"/>
                    </a:cubicBezTo>
                    <a:cubicBezTo>
                      <a:pt x="34" y="117"/>
                      <a:pt x="34" y="117"/>
                      <a:pt x="34" y="117"/>
                    </a:cubicBezTo>
                    <a:cubicBezTo>
                      <a:pt x="34" y="117"/>
                      <a:pt x="34" y="116"/>
                      <a:pt x="35" y="116"/>
                    </a:cubicBezTo>
                    <a:cubicBezTo>
                      <a:pt x="38" y="113"/>
                      <a:pt x="38" y="113"/>
                      <a:pt x="38" y="113"/>
                    </a:cubicBezTo>
                    <a:cubicBezTo>
                      <a:pt x="38" y="112"/>
                      <a:pt x="39" y="111"/>
                      <a:pt x="40" y="110"/>
                    </a:cubicBezTo>
                    <a:cubicBezTo>
                      <a:pt x="43" y="107"/>
                      <a:pt x="46" y="103"/>
                      <a:pt x="51" y="101"/>
                    </a:cubicBezTo>
                    <a:cubicBezTo>
                      <a:pt x="52" y="101"/>
                      <a:pt x="54" y="101"/>
                      <a:pt x="55" y="100"/>
                    </a:cubicBezTo>
                    <a:cubicBezTo>
                      <a:pt x="57" y="100"/>
                      <a:pt x="57" y="100"/>
                      <a:pt x="57" y="100"/>
                    </a:cubicBezTo>
                    <a:cubicBezTo>
                      <a:pt x="58" y="100"/>
                      <a:pt x="58" y="100"/>
                      <a:pt x="59" y="100"/>
                    </a:cubicBezTo>
                    <a:cubicBezTo>
                      <a:pt x="60" y="99"/>
                      <a:pt x="61" y="99"/>
                      <a:pt x="63" y="99"/>
                    </a:cubicBezTo>
                    <a:cubicBezTo>
                      <a:pt x="63" y="99"/>
                      <a:pt x="63" y="99"/>
                      <a:pt x="63" y="99"/>
                    </a:cubicBezTo>
                    <a:cubicBezTo>
                      <a:pt x="65" y="99"/>
                      <a:pt x="68" y="99"/>
                      <a:pt x="69" y="98"/>
                    </a:cubicBezTo>
                    <a:cubicBezTo>
                      <a:pt x="69" y="98"/>
                      <a:pt x="69" y="97"/>
                      <a:pt x="70" y="97"/>
                    </a:cubicBezTo>
                    <a:cubicBezTo>
                      <a:pt x="70" y="96"/>
                      <a:pt x="70" y="96"/>
                      <a:pt x="70" y="96"/>
                    </a:cubicBezTo>
                    <a:cubicBezTo>
                      <a:pt x="78" y="90"/>
                      <a:pt x="80" y="86"/>
                      <a:pt x="81" y="85"/>
                    </a:cubicBezTo>
                    <a:cubicBezTo>
                      <a:pt x="81" y="85"/>
                      <a:pt x="80" y="84"/>
                      <a:pt x="80" y="84"/>
                    </a:cubicBezTo>
                    <a:cubicBezTo>
                      <a:pt x="79" y="83"/>
                      <a:pt x="79" y="83"/>
                      <a:pt x="78" y="82"/>
                    </a:cubicBezTo>
                    <a:cubicBezTo>
                      <a:pt x="78" y="82"/>
                      <a:pt x="78" y="82"/>
                      <a:pt x="78" y="82"/>
                    </a:cubicBezTo>
                    <a:cubicBezTo>
                      <a:pt x="77" y="81"/>
                      <a:pt x="76" y="80"/>
                      <a:pt x="76" y="80"/>
                    </a:cubicBezTo>
                    <a:cubicBezTo>
                      <a:pt x="68" y="72"/>
                      <a:pt x="61" y="64"/>
                      <a:pt x="54" y="56"/>
                    </a:cubicBezTo>
                    <a:cubicBezTo>
                      <a:pt x="50" y="52"/>
                      <a:pt x="50" y="52"/>
                      <a:pt x="50" y="52"/>
                    </a:cubicBezTo>
                    <a:cubicBezTo>
                      <a:pt x="56" y="51"/>
                      <a:pt x="56" y="51"/>
                      <a:pt x="56" y="51"/>
                    </a:cubicBezTo>
                    <a:cubicBezTo>
                      <a:pt x="59" y="50"/>
                      <a:pt x="61" y="49"/>
                      <a:pt x="64" y="48"/>
                    </a:cubicBezTo>
                    <a:cubicBezTo>
                      <a:pt x="65" y="48"/>
                      <a:pt x="65" y="48"/>
                      <a:pt x="65" y="48"/>
                    </a:cubicBezTo>
                    <a:cubicBezTo>
                      <a:pt x="74" y="45"/>
                      <a:pt x="84" y="43"/>
                      <a:pt x="93" y="40"/>
                    </a:cubicBezTo>
                    <a:cubicBezTo>
                      <a:pt x="95" y="39"/>
                      <a:pt x="97" y="38"/>
                      <a:pt x="99" y="38"/>
                    </a:cubicBezTo>
                    <a:cubicBezTo>
                      <a:pt x="100" y="37"/>
                      <a:pt x="100" y="37"/>
                      <a:pt x="100" y="37"/>
                    </a:cubicBezTo>
                    <a:cubicBezTo>
                      <a:pt x="102" y="37"/>
                      <a:pt x="103" y="36"/>
                      <a:pt x="105" y="36"/>
                    </a:cubicBezTo>
                    <a:cubicBezTo>
                      <a:pt x="103" y="35"/>
                      <a:pt x="103" y="35"/>
                      <a:pt x="103" y="35"/>
                    </a:cubicBezTo>
                    <a:cubicBezTo>
                      <a:pt x="115" y="32"/>
                      <a:pt x="115" y="32"/>
                      <a:pt x="115" y="32"/>
                    </a:cubicBezTo>
                    <a:cubicBezTo>
                      <a:pt x="114" y="31"/>
                      <a:pt x="113" y="31"/>
                      <a:pt x="113" y="31"/>
                    </a:cubicBezTo>
                    <a:cubicBezTo>
                      <a:pt x="112" y="30"/>
                      <a:pt x="112" y="30"/>
                      <a:pt x="112" y="30"/>
                    </a:cubicBezTo>
                    <a:cubicBezTo>
                      <a:pt x="112" y="30"/>
                      <a:pt x="112" y="30"/>
                      <a:pt x="112" y="30"/>
                    </a:cubicBezTo>
                    <a:cubicBezTo>
                      <a:pt x="105" y="0"/>
                      <a:pt x="105" y="0"/>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1" name="Freeform 239">
                <a:extLst>
                  <a:ext uri="{FF2B5EF4-FFF2-40B4-BE49-F238E27FC236}">
                    <a16:creationId xmlns:a16="http://schemas.microsoft.com/office/drawing/2014/main" id="{A1BFFBA8-049F-4238-9D92-E9E63DCE39E5}"/>
                  </a:ext>
                </a:extLst>
              </p:cNvPr>
              <p:cNvSpPr>
                <a:spLocks/>
              </p:cNvSpPr>
              <p:nvPr/>
            </p:nvSpPr>
            <p:spPr bwMode="auto">
              <a:xfrm>
                <a:off x="7871407" y="5398695"/>
                <a:ext cx="869687" cy="818096"/>
              </a:xfrm>
              <a:custGeom>
                <a:avLst/>
                <a:gdLst>
                  <a:gd name="T0" fmla="*/ 101 w 274"/>
                  <a:gd name="T1" fmla="*/ 8 h 258"/>
                  <a:gd name="T2" fmla="*/ 86 w 274"/>
                  <a:gd name="T3" fmla="*/ 23 h 258"/>
                  <a:gd name="T4" fmla="*/ 75 w 274"/>
                  <a:gd name="T5" fmla="*/ 27 h 258"/>
                  <a:gd name="T6" fmla="*/ 70 w 274"/>
                  <a:gd name="T7" fmla="*/ 47 h 258"/>
                  <a:gd name="T8" fmla="*/ 69 w 274"/>
                  <a:gd name="T9" fmla="*/ 63 h 258"/>
                  <a:gd name="T10" fmla="*/ 68 w 274"/>
                  <a:gd name="T11" fmla="*/ 77 h 258"/>
                  <a:gd name="T12" fmla="*/ 52 w 274"/>
                  <a:gd name="T13" fmla="*/ 99 h 258"/>
                  <a:gd name="T14" fmla="*/ 40 w 274"/>
                  <a:gd name="T15" fmla="*/ 104 h 258"/>
                  <a:gd name="T16" fmla="*/ 0 w 274"/>
                  <a:gd name="T17" fmla="*/ 128 h 258"/>
                  <a:gd name="T18" fmla="*/ 11 w 274"/>
                  <a:gd name="T19" fmla="*/ 158 h 258"/>
                  <a:gd name="T20" fmla="*/ 42 w 274"/>
                  <a:gd name="T21" fmla="*/ 168 h 258"/>
                  <a:gd name="T22" fmla="*/ 84 w 274"/>
                  <a:gd name="T23" fmla="*/ 191 h 258"/>
                  <a:gd name="T24" fmla="*/ 131 w 274"/>
                  <a:gd name="T25" fmla="*/ 226 h 258"/>
                  <a:gd name="T26" fmla="*/ 168 w 274"/>
                  <a:gd name="T27" fmla="*/ 253 h 258"/>
                  <a:gd name="T28" fmla="*/ 210 w 274"/>
                  <a:gd name="T29" fmla="*/ 257 h 258"/>
                  <a:gd name="T30" fmla="*/ 214 w 274"/>
                  <a:gd name="T31" fmla="*/ 257 h 258"/>
                  <a:gd name="T32" fmla="*/ 225 w 274"/>
                  <a:gd name="T33" fmla="*/ 238 h 258"/>
                  <a:gd name="T34" fmla="*/ 252 w 274"/>
                  <a:gd name="T35" fmla="*/ 226 h 258"/>
                  <a:gd name="T36" fmla="*/ 266 w 274"/>
                  <a:gd name="T37" fmla="*/ 231 h 258"/>
                  <a:gd name="T38" fmla="*/ 267 w 274"/>
                  <a:gd name="T39" fmla="*/ 232 h 258"/>
                  <a:gd name="T40" fmla="*/ 273 w 274"/>
                  <a:gd name="T41" fmla="*/ 235 h 258"/>
                  <a:gd name="T42" fmla="*/ 262 w 274"/>
                  <a:gd name="T43" fmla="*/ 223 h 258"/>
                  <a:gd name="T44" fmla="*/ 255 w 274"/>
                  <a:gd name="T45" fmla="*/ 211 h 258"/>
                  <a:gd name="T46" fmla="*/ 252 w 274"/>
                  <a:gd name="T47" fmla="*/ 204 h 258"/>
                  <a:gd name="T48" fmla="*/ 245 w 274"/>
                  <a:gd name="T49" fmla="*/ 201 h 258"/>
                  <a:gd name="T50" fmla="*/ 248 w 274"/>
                  <a:gd name="T51" fmla="*/ 181 h 258"/>
                  <a:gd name="T52" fmla="*/ 250 w 274"/>
                  <a:gd name="T53" fmla="*/ 177 h 258"/>
                  <a:gd name="T54" fmla="*/ 243 w 274"/>
                  <a:gd name="T55" fmla="*/ 167 h 258"/>
                  <a:gd name="T56" fmla="*/ 238 w 274"/>
                  <a:gd name="T57" fmla="*/ 158 h 258"/>
                  <a:gd name="T58" fmla="*/ 233 w 274"/>
                  <a:gd name="T59" fmla="*/ 158 h 258"/>
                  <a:gd name="T60" fmla="*/ 211 w 274"/>
                  <a:gd name="T61" fmla="*/ 143 h 258"/>
                  <a:gd name="T62" fmla="*/ 201 w 274"/>
                  <a:gd name="T63" fmla="*/ 140 h 258"/>
                  <a:gd name="T64" fmla="*/ 197 w 274"/>
                  <a:gd name="T65" fmla="*/ 127 h 258"/>
                  <a:gd name="T66" fmla="*/ 195 w 274"/>
                  <a:gd name="T67" fmla="*/ 122 h 258"/>
                  <a:gd name="T68" fmla="*/ 183 w 274"/>
                  <a:gd name="T69" fmla="*/ 112 h 258"/>
                  <a:gd name="T70" fmla="*/ 184 w 274"/>
                  <a:gd name="T71" fmla="*/ 98 h 258"/>
                  <a:gd name="T72" fmla="*/ 184 w 274"/>
                  <a:gd name="T73" fmla="*/ 95 h 258"/>
                  <a:gd name="T74" fmla="*/ 190 w 274"/>
                  <a:gd name="T75" fmla="*/ 84 h 258"/>
                  <a:gd name="T76" fmla="*/ 202 w 274"/>
                  <a:gd name="T77" fmla="*/ 68 h 258"/>
                  <a:gd name="T78" fmla="*/ 200 w 274"/>
                  <a:gd name="T79" fmla="*/ 64 h 258"/>
                  <a:gd name="T80" fmla="*/ 198 w 274"/>
                  <a:gd name="T81" fmla="*/ 55 h 258"/>
                  <a:gd name="T82" fmla="*/ 196 w 274"/>
                  <a:gd name="T83" fmla="*/ 51 h 258"/>
                  <a:gd name="T84" fmla="*/ 187 w 274"/>
                  <a:gd name="T85" fmla="*/ 45 h 258"/>
                  <a:gd name="T86" fmla="*/ 183 w 274"/>
                  <a:gd name="T87" fmla="*/ 45 h 258"/>
                  <a:gd name="T88" fmla="*/ 176 w 274"/>
                  <a:gd name="T89" fmla="*/ 31 h 258"/>
                  <a:gd name="T90" fmla="*/ 171 w 274"/>
                  <a:gd name="T91" fmla="*/ 27 h 258"/>
                  <a:gd name="T92" fmla="*/ 169 w 274"/>
                  <a:gd name="T93" fmla="*/ 20 h 258"/>
                  <a:gd name="T94" fmla="*/ 166 w 274"/>
                  <a:gd name="T95" fmla="*/ 11 h 258"/>
                  <a:gd name="T96" fmla="*/ 161 w 274"/>
                  <a:gd name="T97" fmla="*/ 10 h 258"/>
                  <a:gd name="T98" fmla="*/ 153 w 274"/>
                  <a:gd name="T99" fmla="*/ 12 h 258"/>
                  <a:gd name="T100" fmla="*/ 147 w 274"/>
                  <a:gd name="T101" fmla="*/ 5 h 258"/>
                  <a:gd name="T102" fmla="*/ 139 w 274"/>
                  <a:gd name="T103" fmla="*/ 3 h 258"/>
                  <a:gd name="T104" fmla="*/ 118 w 274"/>
                  <a:gd name="T10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4" h="258">
                    <a:moveTo>
                      <a:pt x="115" y="0"/>
                    </a:moveTo>
                    <a:cubicBezTo>
                      <a:pt x="110" y="0"/>
                      <a:pt x="108" y="2"/>
                      <a:pt x="103" y="5"/>
                    </a:cubicBezTo>
                    <a:cubicBezTo>
                      <a:pt x="101" y="7"/>
                      <a:pt x="101" y="7"/>
                      <a:pt x="101" y="7"/>
                    </a:cubicBezTo>
                    <a:cubicBezTo>
                      <a:pt x="101" y="8"/>
                      <a:pt x="101" y="8"/>
                      <a:pt x="101" y="8"/>
                    </a:cubicBezTo>
                    <a:cubicBezTo>
                      <a:pt x="100" y="9"/>
                      <a:pt x="100" y="9"/>
                      <a:pt x="99" y="10"/>
                    </a:cubicBezTo>
                    <a:cubicBezTo>
                      <a:pt x="99" y="11"/>
                      <a:pt x="99" y="11"/>
                      <a:pt x="99" y="11"/>
                    </a:cubicBezTo>
                    <a:cubicBezTo>
                      <a:pt x="96" y="13"/>
                      <a:pt x="96" y="13"/>
                      <a:pt x="96" y="13"/>
                    </a:cubicBezTo>
                    <a:cubicBezTo>
                      <a:pt x="92" y="17"/>
                      <a:pt x="89" y="20"/>
                      <a:pt x="86" y="23"/>
                    </a:cubicBezTo>
                    <a:cubicBezTo>
                      <a:pt x="84" y="24"/>
                      <a:pt x="83" y="25"/>
                      <a:pt x="81" y="26"/>
                    </a:cubicBezTo>
                    <a:cubicBezTo>
                      <a:pt x="83" y="33"/>
                      <a:pt x="83" y="33"/>
                      <a:pt x="83" y="33"/>
                    </a:cubicBezTo>
                    <a:cubicBezTo>
                      <a:pt x="79" y="26"/>
                      <a:pt x="79" y="26"/>
                      <a:pt x="79" y="26"/>
                    </a:cubicBezTo>
                    <a:cubicBezTo>
                      <a:pt x="75" y="27"/>
                      <a:pt x="75" y="27"/>
                      <a:pt x="75" y="27"/>
                    </a:cubicBezTo>
                    <a:cubicBezTo>
                      <a:pt x="75" y="27"/>
                      <a:pt x="74" y="27"/>
                      <a:pt x="74" y="27"/>
                    </a:cubicBezTo>
                    <a:cubicBezTo>
                      <a:pt x="73" y="28"/>
                      <a:pt x="72" y="28"/>
                      <a:pt x="72" y="28"/>
                    </a:cubicBezTo>
                    <a:cubicBezTo>
                      <a:pt x="72" y="28"/>
                      <a:pt x="72" y="29"/>
                      <a:pt x="71" y="30"/>
                    </a:cubicBezTo>
                    <a:cubicBezTo>
                      <a:pt x="69" y="35"/>
                      <a:pt x="70" y="41"/>
                      <a:pt x="70" y="47"/>
                    </a:cubicBezTo>
                    <a:cubicBezTo>
                      <a:pt x="71" y="48"/>
                      <a:pt x="71" y="48"/>
                      <a:pt x="71" y="48"/>
                    </a:cubicBezTo>
                    <a:cubicBezTo>
                      <a:pt x="71" y="50"/>
                      <a:pt x="71" y="53"/>
                      <a:pt x="71" y="56"/>
                    </a:cubicBezTo>
                    <a:cubicBezTo>
                      <a:pt x="71" y="59"/>
                      <a:pt x="70" y="61"/>
                      <a:pt x="70" y="62"/>
                    </a:cubicBezTo>
                    <a:cubicBezTo>
                      <a:pt x="69" y="63"/>
                      <a:pt x="69" y="63"/>
                      <a:pt x="69" y="63"/>
                    </a:cubicBezTo>
                    <a:cubicBezTo>
                      <a:pt x="69" y="66"/>
                      <a:pt x="68" y="69"/>
                      <a:pt x="68" y="72"/>
                    </a:cubicBezTo>
                    <a:cubicBezTo>
                      <a:pt x="68" y="73"/>
                      <a:pt x="68" y="74"/>
                      <a:pt x="68" y="76"/>
                    </a:cubicBezTo>
                    <a:cubicBezTo>
                      <a:pt x="68" y="77"/>
                      <a:pt x="68" y="77"/>
                      <a:pt x="68" y="77"/>
                    </a:cubicBezTo>
                    <a:cubicBezTo>
                      <a:pt x="68" y="77"/>
                      <a:pt x="68" y="77"/>
                      <a:pt x="68" y="77"/>
                    </a:cubicBezTo>
                    <a:cubicBezTo>
                      <a:pt x="68" y="79"/>
                      <a:pt x="68" y="82"/>
                      <a:pt x="67" y="84"/>
                    </a:cubicBezTo>
                    <a:cubicBezTo>
                      <a:pt x="66" y="87"/>
                      <a:pt x="64" y="91"/>
                      <a:pt x="62" y="94"/>
                    </a:cubicBezTo>
                    <a:cubicBezTo>
                      <a:pt x="60" y="96"/>
                      <a:pt x="57" y="97"/>
                      <a:pt x="55" y="98"/>
                    </a:cubicBezTo>
                    <a:cubicBezTo>
                      <a:pt x="54" y="98"/>
                      <a:pt x="53" y="98"/>
                      <a:pt x="52" y="99"/>
                    </a:cubicBezTo>
                    <a:cubicBezTo>
                      <a:pt x="50" y="99"/>
                      <a:pt x="49" y="100"/>
                      <a:pt x="47" y="101"/>
                    </a:cubicBezTo>
                    <a:cubicBezTo>
                      <a:pt x="42" y="104"/>
                      <a:pt x="42" y="104"/>
                      <a:pt x="42" y="104"/>
                    </a:cubicBezTo>
                    <a:cubicBezTo>
                      <a:pt x="44" y="107"/>
                      <a:pt x="44" y="107"/>
                      <a:pt x="44" y="107"/>
                    </a:cubicBezTo>
                    <a:cubicBezTo>
                      <a:pt x="40" y="104"/>
                      <a:pt x="40" y="104"/>
                      <a:pt x="40" y="104"/>
                    </a:cubicBezTo>
                    <a:cubicBezTo>
                      <a:pt x="35" y="108"/>
                      <a:pt x="35" y="108"/>
                      <a:pt x="35" y="108"/>
                    </a:cubicBezTo>
                    <a:cubicBezTo>
                      <a:pt x="31" y="110"/>
                      <a:pt x="26" y="112"/>
                      <a:pt x="22" y="115"/>
                    </a:cubicBezTo>
                    <a:cubicBezTo>
                      <a:pt x="16" y="118"/>
                      <a:pt x="10" y="122"/>
                      <a:pt x="4" y="125"/>
                    </a:cubicBezTo>
                    <a:cubicBezTo>
                      <a:pt x="0" y="128"/>
                      <a:pt x="0" y="128"/>
                      <a:pt x="0" y="128"/>
                    </a:cubicBezTo>
                    <a:cubicBezTo>
                      <a:pt x="0" y="128"/>
                      <a:pt x="0" y="128"/>
                      <a:pt x="0" y="128"/>
                    </a:cubicBezTo>
                    <a:cubicBezTo>
                      <a:pt x="6" y="156"/>
                      <a:pt x="6" y="156"/>
                      <a:pt x="6" y="156"/>
                    </a:cubicBezTo>
                    <a:cubicBezTo>
                      <a:pt x="7" y="157"/>
                      <a:pt x="9" y="157"/>
                      <a:pt x="10" y="158"/>
                    </a:cubicBezTo>
                    <a:cubicBezTo>
                      <a:pt x="10" y="158"/>
                      <a:pt x="11" y="158"/>
                      <a:pt x="11" y="158"/>
                    </a:cubicBezTo>
                    <a:cubicBezTo>
                      <a:pt x="12" y="159"/>
                      <a:pt x="12" y="159"/>
                      <a:pt x="12" y="159"/>
                    </a:cubicBezTo>
                    <a:cubicBezTo>
                      <a:pt x="16" y="162"/>
                      <a:pt x="16" y="162"/>
                      <a:pt x="16" y="162"/>
                    </a:cubicBezTo>
                    <a:cubicBezTo>
                      <a:pt x="14" y="163"/>
                      <a:pt x="14" y="163"/>
                      <a:pt x="14" y="163"/>
                    </a:cubicBezTo>
                    <a:cubicBezTo>
                      <a:pt x="42" y="168"/>
                      <a:pt x="42" y="168"/>
                      <a:pt x="42" y="168"/>
                    </a:cubicBezTo>
                    <a:cubicBezTo>
                      <a:pt x="45" y="168"/>
                      <a:pt x="48" y="170"/>
                      <a:pt x="51" y="172"/>
                    </a:cubicBezTo>
                    <a:cubicBezTo>
                      <a:pt x="52" y="173"/>
                      <a:pt x="52" y="174"/>
                      <a:pt x="53" y="174"/>
                    </a:cubicBezTo>
                    <a:cubicBezTo>
                      <a:pt x="61" y="179"/>
                      <a:pt x="69" y="183"/>
                      <a:pt x="76" y="187"/>
                    </a:cubicBezTo>
                    <a:cubicBezTo>
                      <a:pt x="79" y="188"/>
                      <a:pt x="81" y="190"/>
                      <a:pt x="84" y="191"/>
                    </a:cubicBezTo>
                    <a:cubicBezTo>
                      <a:pt x="91" y="195"/>
                      <a:pt x="91" y="195"/>
                      <a:pt x="91" y="195"/>
                    </a:cubicBezTo>
                    <a:cubicBezTo>
                      <a:pt x="98" y="199"/>
                      <a:pt x="105" y="205"/>
                      <a:pt x="111" y="211"/>
                    </a:cubicBezTo>
                    <a:cubicBezTo>
                      <a:pt x="115" y="214"/>
                      <a:pt x="119" y="217"/>
                      <a:pt x="122" y="220"/>
                    </a:cubicBezTo>
                    <a:cubicBezTo>
                      <a:pt x="125" y="222"/>
                      <a:pt x="128" y="224"/>
                      <a:pt x="131" y="226"/>
                    </a:cubicBezTo>
                    <a:cubicBezTo>
                      <a:pt x="143" y="235"/>
                      <a:pt x="143" y="235"/>
                      <a:pt x="143" y="235"/>
                    </a:cubicBezTo>
                    <a:cubicBezTo>
                      <a:pt x="146" y="238"/>
                      <a:pt x="149" y="240"/>
                      <a:pt x="152" y="243"/>
                    </a:cubicBezTo>
                    <a:cubicBezTo>
                      <a:pt x="156" y="246"/>
                      <a:pt x="161" y="249"/>
                      <a:pt x="165" y="253"/>
                    </a:cubicBezTo>
                    <a:cubicBezTo>
                      <a:pt x="166" y="253"/>
                      <a:pt x="167" y="253"/>
                      <a:pt x="168" y="253"/>
                    </a:cubicBezTo>
                    <a:cubicBezTo>
                      <a:pt x="170" y="254"/>
                      <a:pt x="170" y="254"/>
                      <a:pt x="170" y="254"/>
                    </a:cubicBezTo>
                    <a:cubicBezTo>
                      <a:pt x="208" y="257"/>
                      <a:pt x="208" y="257"/>
                      <a:pt x="208" y="257"/>
                    </a:cubicBezTo>
                    <a:cubicBezTo>
                      <a:pt x="208" y="257"/>
                      <a:pt x="209" y="257"/>
                      <a:pt x="209" y="257"/>
                    </a:cubicBezTo>
                    <a:cubicBezTo>
                      <a:pt x="210" y="257"/>
                      <a:pt x="210" y="257"/>
                      <a:pt x="210" y="257"/>
                    </a:cubicBezTo>
                    <a:cubicBezTo>
                      <a:pt x="211" y="257"/>
                      <a:pt x="211" y="258"/>
                      <a:pt x="212" y="258"/>
                    </a:cubicBezTo>
                    <a:cubicBezTo>
                      <a:pt x="212" y="258"/>
                      <a:pt x="212" y="258"/>
                      <a:pt x="212" y="258"/>
                    </a:cubicBezTo>
                    <a:cubicBezTo>
                      <a:pt x="212" y="257"/>
                      <a:pt x="212" y="257"/>
                      <a:pt x="212" y="257"/>
                    </a:cubicBezTo>
                    <a:cubicBezTo>
                      <a:pt x="213" y="257"/>
                      <a:pt x="214" y="257"/>
                      <a:pt x="214" y="257"/>
                    </a:cubicBezTo>
                    <a:cubicBezTo>
                      <a:pt x="215" y="256"/>
                      <a:pt x="215" y="256"/>
                      <a:pt x="215" y="256"/>
                    </a:cubicBezTo>
                    <a:cubicBezTo>
                      <a:pt x="218" y="251"/>
                      <a:pt x="220" y="246"/>
                      <a:pt x="223" y="242"/>
                    </a:cubicBezTo>
                    <a:cubicBezTo>
                      <a:pt x="224" y="241"/>
                      <a:pt x="224" y="240"/>
                      <a:pt x="225" y="239"/>
                    </a:cubicBezTo>
                    <a:cubicBezTo>
                      <a:pt x="225" y="238"/>
                      <a:pt x="225" y="238"/>
                      <a:pt x="225" y="238"/>
                    </a:cubicBezTo>
                    <a:cubicBezTo>
                      <a:pt x="227" y="235"/>
                      <a:pt x="229" y="230"/>
                      <a:pt x="233" y="228"/>
                    </a:cubicBezTo>
                    <a:cubicBezTo>
                      <a:pt x="235" y="226"/>
                      <a:pt x="237" y="226"/>
                      <a:pt x="240" y="225"/>
                    </a:cubicBezTo>
                    <a:cubicBezTo>
                      <a:pt x="241" y="225"/>
                      <a:pt x="242" y="225"/>
                      <a:pt x="244" y="225"/>
                    </a:cubicBezTo>
                    <a:cubicBezTo>
                      <a:pt x="246" y="225"/>
                      <a:pt x="249" y="225"/>
                      <a:pt x="252" y="226"/>
                    </a:cubicBezTo>
                    <a:cubicBezTo>
                      <a:pt x="252" y="223"/>
                      <a:pt x="252" y="223"/>
                      <a:pt x="252" y="223"/>
                    </a:cubicBezTo>
                    <a:cubicBezTo>
                      <a:pt x="258" y="227"/>
                      <a:pt x="258" y="227"/>
                      <a:pt x="258" y="227"/>
                    </a:cubicBezTo>
                    <a:cubicBezTo>
                      <a:pt x="261" y="229"/>
                      <a:pt x="264" y="230"/>
                      <a:pt x="266" y="231"/>
                    </a:cubicBezTo>
                    <a:cubicBezTo>
                      <a:pt x="266" y="231"/>
                      <a:pt x="266" y="231"/>
                      <a:pt x="266" y="231"/>
                    </a:cubicBezTo>
                    <a:cubicBezTo>
                      <a:pt x="266" y="231"/>
                      <a:pt x="266" y="231"/>
                      <a:pt x="266" y="231"/>
                    </a:cubicBezTo>
                    <a:cubicBezTo>
                      <a:pt x="266" y="231"/>
                      <a:pt x="266" y="231"/>
                      <a:pt x="266" y="231"/>
                    </a:cubicBezTo>
                    <a:cubicBezTo>
                      <a:pt x="267" y="232"/>
                      <a:pt x="267" y="232"/>
                      <a:pt x="267" y="232"/>
                    </a:cubicBezTo>
                    <a:cubicBezTo>
                      <a:pt x="267" y="232"/>
                      <a:pt x="267" y="232"/>
                      <a:pt x="267" y="232"/>
                    </a:cubicBezTo>
                    <a:cubicBezTo>
                      <a:pt x="269" y="235"/>
                      <a:pt x="269" y="235"/>
                      <a:pt x="269" y="235"/>
                    </a:cubicBezTo>
                    <a:cubicBezTo>
                      <a:pt x="270" y="235"/>
                      <a:pt x="271" y="235"/>
                      <a:pt x="273" y="236"/>
                    </a:cubicBezTo>
                    <a:cubicBezTo>
                      <a:pt x="274" y="236"/>
                      <a:pt x="274" y="236"/>
                      <a:pt x="274" y="236"/>
                    </a:cubicBezTo>
                    <a:cubicBezTo>
                      <a:pt x="273" y="235"/>
                      <a:pt x="273" y="235"/>
                      <a:pt x="273" y="235"/>
                    </a:cubicBezTo>
                    <a:cubicBezTo>
                      <a:pt x="270" y="233"/>
                      <a:pt x="267" y="230"/>
                      <a:pt x="266" y="229"/>
                    </a:cubicBezTo>
                    <a:cubicBezTo>
                      <a:pt x="266" y="228"/>
                      <a:pt x="266" y="228"/>
                      <a:pt x="266" y="228"/>
                    </a:cubicBezTo>
                    <a:cubicBezTo>
                      <a:pt x="265" y="227"/>
                      <a:pt x="265" y="227"/>
                      <a:pt x="265" y="227"/>
                    </a:cubicBezTo>
                    <a:cubicBezTo>
                      <a:pt x="264" y="225"/>
                      <a:pt x="263" y="224"/>
                      <a:pt x="262" y="223"/>
                    </a:cubicBezTo>
                    <a:cubicBezTo>
                      <a:pt x="261" y="222"/>
                      <a:pt x="260" y="222"/>
                      <a:pt x="259" y="221"/>
                    </a:cubicBezTo>
                    <a:cubicBezTo>
                      <a:pt x="257" y="220"/>
                      <a:pt x="256" y="218"/>
                      <a:pt x="255" y="217"/>
                    </a:cubicBezTo>
                    <a:cubicBezTo>
                      <a:pt x="255" y="216"/>
                      <a:pt x="255" y="216"/>
                      <a:pt x="255" y="216"/>
                    </a:cubicBezTo>
                    <a:cubicBezTo>
                      <a:pt x="255" y="214"/>
                      <a:pt x="255" y="213"/>
                      <a:pt x="255" y="211"/>
                    </a:cubicBezTo>
                    <a:cubicBezTo>
                      <a:pt x="255" y="211"/>
                      <a:pt x="255" y="211"/>
                      <a:pt x="255" y="211"/>
                    </a:cubicBezTo>
                    <a:cubicBezTo>
                      <a:pt x="255" y="209"/>
                      <a:pt x="256" y="206"/>
                      <a:pt x="255" y="204"/>
                    </a:cubicBezTo>
                    <a:cubicBezTo>
                      <a:pt x="255" y="204"/>
                      <a:pt x="255" y="204"/>
                      <a:pt x="255" y="204"/>
                    </a:cubicBezTo>
                    <a:cubicBezTo>
                      <a:pt x="255" y="204"/>
                      <a:pt x="253" y="204"/>
                      <a:pt x="252" y="204"/>
                    </a:cubicBezTo>
                    <a:cubicBezTo>
                      <a:pt x="250" y="204"/>
                      <a:pt x="250" y="204"/>
                      <a:pt x="250" y="204"/>
                    </a:cubicBezTo>
                    <a:cubicBezTo>
                      <a:pt x="249" y="204"/>
                      <a:pt x="249" y="204"/>
                      <a:pt x="249" y="204"/>
                    </a:cubicBezTo>
                    <a:cubicBezTo>
                      <a:pt x="245" y="204"/>
                      <a:pt x="245" y="204"/>
                      <a:pt x="245" y="204"/>
                    </a:cubicBezTo>
                    <a:cubicBezTo>
                      <a:pt x="245" y="201"/>
                      <a:pt x="245" y="201"/>
                      <a:pt x="245" y="201"/>
                    </a:cubicBezTo>
                    <a:cubicBezTo>
                      <a:pt x="245" y="198"/>
                      <a:pt x="245" y="195"/>
                      <a:pt x="246" y="191"/>
                    </a:cubicBezTo>
                    <a:cubicBezTo>
                      <a:pt x="246" y="189"/>
                      <a:pt x="246" y="188"/>
                      <a:pt x="246" y="186"/>
                    </a:cubicBezTo>
                    <a:cubicBezTo>
                      <a:pt x="246" y="185"/>
                      <a:pt x="246" y="185"/>
                      <a:pt x="247" y="184"/>
                    </a:cubicBezTo>
                    <a:cubicBezTo>
                      <a:pt x="248" y="181"/>
                      <a:pt x="248" y="181"/>
                      <a:pt x="248" y="181"/>
                    </a:cubicBezTo>
                    <a:cubicBezTo>
                      <a:pt x="248" y="180"/>
                      <a:pt x="249" y="180"/>
                      <a:pt x="249" y="179"/>
                    </a:cubicBezTo>
                    <a:cubicBezTo>
                      <a:pt x="242" y="176"/>
                      <a:pt x="242" y="176"/>
                      <a:pt x="242" y="176"/>
                    </a:cubicBezTo>
                    <a:cubicBezTo>
                      <a:pt x="250" y="177"/>
                      <a:pt x="250" y="177"/>
                      <a:pt x="250" y="177"/>
                    </a:cubicBezTo>
                    <a:cubicBezTo>
                      <a:pt x="250" y="177"/>
                      <a:pt x="250" y="177"/>
                      <a:pt x="250" y="177"/>
                    </a:cubicBezTo>
                    <a:cubicBezTo>
                      <a:pt x="250" y="177"/>
                      <a:pt x="250" y="177"/>
                      <a:pt x="250" y="177"/>
                    </a:cubicBezTo>
                    <a:cubicBezTo>
                      <a:pt x="250" y="176"/>
                      <a:pt x="250" y="176"/>
                      <a:pt x="250" y="176"/>
                    </a:cubicBezTo>
                    <a:cubicBezTo>
                      <a:pt x="250" y="176"/>
                      <a:pt x="249" y="175"/>
                      <a:pt x="247" y="171"/>
                    </a:cubicBezTo>
                    <a:cubicBezTo>
                      <a:pt x="246" y="170"/>
                      <a:pt x="244" y="168"/>
                      <a:pt x="243" y="167"/>
                    </a:cubicBezTo>
                    <a:cubicBezTo>
                      <a:pt x="243" y="166"/>
                      <a:pt x="243" y="166"/>
                      <a:pt x="243" y="166"/>
                    </a:cubicBezTo>
                    <a:cubicBezTo>
                      <a:pt x="236" y="170"/>
                      <a:pt x="236" y="170"/>
                      <a:pt x="236" y="170"/>
                    </a:cubicBezTo>
                    <a:cubicBezTo>
                      <a:pt x="242" y="165"/>
                      <a:pt x="242" y="165"/>
                      <a:pt x="242" y="165"/>
                    </a:cubicBezTo>
                    <a:cubicBezTo>
                      <a:pt x="241" y="162"/>
                      <a:pt x="239" y="160"/>
                      <a:pt x="238" y="158"/>
                    </a:cubicBezTo>
                    <a:cubicBezTo>
                      <a:pt x="237" y="158"/>
                      <a:pt x="237" y="157"/>
                      <a:pt x="237" y="157"/>
                    </a:cubicBezTo>
                    <a:cubicBezTo>
                      <a:pt x="236" y="157"/>
                      <a:pt x="236" y="157"/>
                      <a:pt x="236" y="157"/>
                    </a:cubicBezTo>
                    <a:cubicBezTo>
                      <a:pt x="236" y="157"/>
                      <a:pt x="235" y="157"/>
                      <a:pt x="235" y="157"/>
                    </a:cubicBezTo>
                    <a:cubicBezTo>
                      <a:pt x="235" y="157"/>
                      <a:pt x="234" y="158"/>
                      <a:pt x="233" y="158"/>
                    </a:cubicBezTo>
                    <a:cubicBezTo>
                      <a:pt x="233" y="158"/>
                      <a:pt x="232" y="157"/>
                      <a:pt x="231" y="157"/>
                    </a:cubicBezTo>
                    <a:cubicBezTo>
                      <a:pt x="230" y="157"/>
                      <a:pt x="229" y="156"/>
                      <a:pt x="228" y="156"/>
                    </a:cubicBezTo>
                    <a:cubicBezTo>
                      <a:pt x="216" y="146"/>
                      <a:pt x="216" y="146"/>
                      <a:pt x="216" y="146"/>
                    </a:cubicBezTo>
                    <a:cubicBezTo>
                      <a:pt x="215" y="145"/>
                      <a:pt x="213" y="144"/>
                      <a:pt x="211" y="143"/>
                    </a:cubicBezTo>
                    <a:cubicBezTo>
                      <a:pt x="210" y="143"/>
                      <a:pt x="209" y="142"/>
                      <a:pt x="208" y="142"/>
                    </a:cubicBezTo>
                    <a:cubicBezTo>
                      <a:pt x="207" y="142"/>
                      <a:pt x="207" y="142"/>
                      <a:pt x="207" y="142"/>
                    </a:cubicBezTo>
                    <a:cubicBezTo>
                      <a:pt x="205" y="142"/>
                      <a:pt x="203" y="142"/>
                      <a:pt x="202" y="141"/>
                    </a:cubicBezTo>
                    <a:cubicBezTo>
                      <a:pt x="201" y="140"/>
                      <a:pt x="201" y="140"/>
                      <a:pt x="201" y="140"/>
                    </a:cubicBezTo>
                    <a:cubicBezTo>
                      <a:pt x="200" y="139"/>
                      <a:pt x="199" y="138"/>
                      <a:pt x="199" y="137"/>
                    </a:cubicBezTo>
                    <a:cubicBezTo>
                      <a:pt x="198" y="135"/>
                      <a:pt x="198" y="132"/>
                      <a:pt x="197" y="130"/>
                    </a:cubicBezTo>
                    <a:cubicBezTo>
                      <a:pt x="197" y="130"/>
                      <a:pt x="197" y="130"/>
                      <a:pt x="197" y="130"/>
                    </a:cubicBezTo>
                    <a:cubicBezTo>
                      <a:pt x="197" y="128"/>
                      <a:pt x="197" y="127"/>
                      <a:pt x="197" y="127"/>
                    </a:cubicBezTo>
                    <a:cubicBezTo>
                      <a:pt x="196" y="126"/>
                      <a:pt x="196" y="125"/>
                      <a:pt x="196" y="124"/>
                    </a:cubicBezTo>
                    <a:cubicBezTo>
                      <a:pt x="196" y="123"/>
                      <a:pt x="196" y="123"/>
                      <a:pt x="196" y="123"/>
                    </a:cubicBezTo>
                    <a:cubicBezTo>
                      <a:pt x="196" y="122"/>
                      <a:pt x="196" y="122"/>
                      <a:pt x="196" y="122"/>
                    </a:cubicBezTo>
                    <a:cubicBezTo>
                      <a:pt x="195" y="122"/>
                      <a:pt x="195" y="122"/>
                      <a:pt x="195" y="122"/>
                    </a:cubicBezTo>
                    <a:cubicBezTo>
                      <a:pt x="195" y="122"/>
                      <a:pt x="195" y="122"/>
                      <a:pt x="195" y="122"/>
                    </a:cubicBezTo>
                    <a:cubicBezTo>
                      <a:pt x="193" y="121"/>
                      <a:pt x="192" y="121"/>
                      <a:pt x="191" y="120"/>
                    </a:cubicBezTo>
                    <a:cubicBezTo>
                      <a:pt x="191" y="120"/>
                      <a:pt x="191" y="120"/>
                      <a:pt x="191" y="120"/>
                    </a:cubicBezTo>
                    <a:cubicBezTo>
                      <a:pt x="183" y="112"/>
                      <a:pt x="183" y="112"/>
                      <a:pt x="183" y="112"/>
                    </a:cubicBezTo>
                    <a:cubicBezTo>
                      <a:pt x="183" y="111"/>
                      <a:pt x="182" y="111"/>
                      <a:pt x="182" y="110"/>
                    </a:cubicBezTo>
                    <a:cubicBezTo>
                      <a:pt x="181" y="109"/>
                      <a:pt x="180" y="107"/>
                      <a:pt x="181" y="105"/>
                    </a:cubicBezTo>
                    <a:cubicBezTo>
                      <a:pt x="181" y="104"/>
                      <a:pt x="181" y="104"/>
                      <a:pt x="181" y="104"/>
                    </a:cubicBezTo>
                    <a:cubicBezTo>
                      <a:pt x="182" y="102"/>
                      <a:pt x="183" y="100"/>
                      <a:pt x="184" y="98"/>
                    </a:cubicBezTo>
                    <a:cubicBezTo>
                      <a:pt x="185" y="96"/>
                      <a:pt x="185" y="96"/>
                      <a:pt x="185" y="96"/>
                    </a:cubicBezTo>
                    <a:cubicBezTo>
                      <a:pt x="185" y="96"/>
                      <a:pt x="185" y="96"/>
                      <a:pt x="185" y="96"/>
                    </a:cubicBezTo>
                    <a:cubicBezTo>
                      <a:pt x="184" y="95"/>
                      <a:pt x="184" y="95"/>
                      <a:pt x="184" y="95"/>
                    </a:cubicBezTo>
                    <a:cubicBezTo>
                      <a:pt x="184" y="95"/>
                      <a:pt x="184" y="95"/>
                      <a:pt x="184" y="95"/>
                    </a:cubicBezTo>
                    <a:cubicBezTo>
                      <a:pt x="183" y="94"/>
                      <a:pt x="182" y="93"/>
                      <a:pt x="182" y="91"/>
                    </a:cubicBezTo>
                    <a:cubicBezTo>
                      <a:pt x="181" y="89"/>
                      <a:pt x="181" y="89"/>
                      <a:pt x="181" y="89"/>
                    </a:cubicBezTo>
                    <a:cubicBezTo>
                      <a:pt x="188" y="82"/>
                      <a:pt x="188" y="82"/>
                      <a:pt x="188" y="82"/>
                    </a:cubicBezTo>
                    <a:cubicBezTo>
                      <a:pt x="190" y="84"/>
                      <a:pt x="190" y="84"/>
                      <a:pt x="190" y="84"/>
                    </a:cubicBezTo>
                    <a:cubicBezTo>
                      <a:pt x="190" y="82"/>
                      <a:pt x="190" y="82"/>
                      <a:pt x="190" y="82"/>
                    </a:cubicBezTo>
                    <a:cubicBezTo>
                      <a:pt x="191" y="78"/>
                      <a:pt x="192" y="75"/>
                      <a:pt x="195" y="71"/>
                    </a:cubicBezTo>
                    <a:cubicBezTo>
                      <a:pt x="195" y="70"/>
                      <a:pt x="195" y="70"/>
                      <a:pt x="195" y="70"/>
                    </a:cubicBezTo>
                    <a:cubicBezTo>
                      <a:pt x="197" y="69"/>
                      <a:pt x="200" y="68"/>
                      <a:pt x="202" y="68"/>
                    </a:cubicBezTo>
                    <a:cubicBezTo>
                      <a:pt x="202" y="67"/>
                      <a:pt x="202" y="67"/>
                      <a:pt x="202" y="67"/>
                    </a:cubicBezTo>
                    <a:cubicBezTo>
                      <a:pt x="202" y="67"/>
                      <a:pt x="202" y="67"/>
                      <a:pt x="202" y="67"/>
                    </a:cubicBezTo>
                    <a:cubicBezTo>
                      <a:pt x="202" y="66"/>
                      <a:pt x="202" y="66"/>
                      <a:pt x="201" y="64"/>
                    </a:cubicBezTo>
                    <a:cubicBezTo>
                      <a:pt x="200" y="64"/>
                      <a:pt x="200" y="64"/>
                      <a:pt x="200" y="64"/>
                    </a:cubicBezTo>
                    <a:cubicBezTo>
                      <a:pt x="200" y="63"/>
                      <a:pt x="199" y="62"/>
                      <a:pt x="199" y="62"/>
                    </a:cubicBezTo>
                    <a:cubicBezTo>
                      <a:pt x="198" y="61"/>
                      <a:pt x="198" y="61"/>
                      <a:pt x="198" y="61"/>
                    </a:cubicBezTo>
                    <a:cubicBezTo>
                      <a:pt x="198" y="59"/>
                      <a:pt x="198" y="58"/>
                      <a:pt x="198" y="57"/>
                    </a:cubicBezTo>
                    <a:cubicBezTo>
                      <a:pt x="198" y="55"/>
                      <a:pt x="198" y="55"/>
                      <a:pt x="198" y="55"/>
                    </a:cubicBezTo>
                    <a:cubicBezTo>
                      <a:pt x="198" y="55"/>
                      <a:pt x="198" y="54"/>
                      <a:pt x="198" y="54"/>
                    </a:cubicBezTo>
                    <a:cubicBezTo>
                      <a:pt x="198" y="52"/>
                      <a:pt x="198" y="52"/>
                      <a:pt x="198" y="52"/>
                    </a:cubicBezTo>
                    <a:cubicBezTo>
                      <a:pt x="198" y="52"/>
                      <a:pt x="199" y="51"/>
                      <a:pt x="199" y="50"/>
                    </a:cubicBezTo>
                    <a:cubicBezTo>
                      <a:pt x="198" y="51"/>
                      <a:pt x="197" y="51"/>
                      <a:pt x="196" y="51"/>
                    </a:cubicBezTo>
                    <a:cubicBezTo>
                      <a:pt x="196" y="51"/>
                      <a:pt x="195" y="51"/>
                      <a:pt x="195" y="51"/>
                    </a:cubicBezTo>
                    <a:cubicBezTo>
                      <a:pt x="193" y="50"/>
                      <a:pt x="192" y="50"/>
                      <a:pt x="191" y="49"/>
                    </a:cubicBezTo>
                    <a:cubicBezTo>
                      <a:pt x="190" y="48"/>
                      <a:pt x="190" y="48"/>
                      <a:pt x="190" y="48"/>
                    </a:cubicBezTo>
                    <a:cubicBezTo>
                      <a:pt x="189" y="47"/>
                      <a:pt x="188" y="46"/>
                      <a:pt x="187" y="45"/>
                    </a:cubicBezTo>
                    <a:cubicBezTo>
                      <a:pt x="186" y="45"/>
                      <a:pt x="186" y="44"/>
                      <a:pt x="186" y="44"/>
                    </a:cubicBezTo>
                    <a:cubicBezTo>
                      <a:pt x="186" y="44"/>
                      <a:pt x="186" y="44"/>
                      <a:pt x="185" y="45"/>
                    </a:cubicBezTo>
                    <a:cubicBezTo>
                      <a:pt x="184" y="45"/>
                      <a:pt x="184" y="45"/>
                      <a:pt x="184" y="45"/>
                    </a:cubicBezTo>
                    <a:cubicBezTo>
                      <a:pt x="183" y="45"/>
                      <a:pt x="183" y="45"/>
                      <a:pt x="183" y="45"/>
                    </a:cubicBezTo>
                    <a:cubicBezTo>
                      <a:pt x="181" y="45"/>
                      <a:pt x="179" y="43"/>
                      <a:pt x="179" y="40"/>
                    </a:cubicBezTo>
                    <a:cubicBezTo>
                      <a:pt x="179" y="40"/>
                      <a:pt x="178" y="40"/>
                      <a:pt x="178" y="39"/>
                    </a:cubicBezTo>
                    <a:cubicBezTo>
                      <a:pt x="178" y="37"/>
                      <a:pt x="178" y="37"/>
                      <a:pt x="178" y="37"/>
                    </a:cubicBezTo>
                    <a:cubicBezTo>
                      <a:pt x="178" y="35"/>
                      <a:pt x="177" y="33"/>
                      <a:pt x="176" y="31"/>
                    </a:cubicBezTo>
                    <a:cubicBezTo>
                      <a:pt x="176" y="30"/>
                      <a:pt x="176" y="30"/>
                      <a:pt x="176" y="30"/>
                    </a:cubicBezTo>
                    <a:cubicBezTo>
                      <a:pt x="176" y="30"/>
                      <a:pt x="176" y="30"/>
                      <a:pt x="176" y="30"/>
                    </a:cubicBezTo>
                    <a:cubicBezTo>
                      <a:pt x="175" y="29"/>
                      <a:pt x="175" y="29"/>
                      <a:pt x="175" y="29"/>
                    </a:cubicBezTo>
                    <a:cubicBezTo>
                      <a:pt x="173" y="28"/>
                      <a:pt x="172" y="28"/>
                      <a:pt x="171" y="27"/>
                    </a:cubicBezTo>
                    <a:cubicBezTo>
                      <a:pt x="170" y="25"/>
                      <a:pt x="170" y="23"/>
                      <a:pt x="170" y="21"/>
                    </a:cubicBezTo>
                    <a:cubicBezTo>
                      <a:pt x="170" y="21"/>
                      <a:pt x="170" y="21"/>
                      <a:pt x="170" y="21"/>
                    </a:cubicBezTo>
                    <a:cubicBezTo>
                      <a:pt x="170" y="20"/>
                      <a:pt x="170" y="20"/>
                      <a:pt x="170" y="20"/>
                    </a:cubicBezTo>
                    <a:cubicBezTo>
                      <a:pt x="169" y="20"/>
                      <a:pt x="169" y="20"/>
                      <a:pt x="169" y="20"/>
                    </a:cubicBezTo>
                    <a:cubicBezTo>
                      <a:pt x="169" y="20"/>
                      <a:pt x="167" y="19"/>
                      <a:pt x="166" y="18"/>
                    </a:cubicBezTo>
                    <a:cubicBezTo>
                      <a:pt x="165" y="16"/>
                      <a:pt x="165" y="14"/>
                      <a:pt x="165" y="13"/>
                    </a:cubicBezTo>
                    <a:cubicBezTo>
                      <a:pt x="165" y="12"/>
                      <a:pt x="165" y="12"/>
                      <a:pt x="165" y="12"/>
                    </a:cubicBezTo>
                    <a:cubicBezTo>
                      <a:pt x="166" y="11"/>
                      <a:pt x="166" y="11"/>
                      <a:pt x="166" y="11"/>
                    </a:cubicBezTo>
                    <a:cubicBezTo>
                      <a:pt x="165" y="10"/>
                      <a:pt x="165" y="10"/>
                      <a:pt x="165" y="10"/>
                    </a:cubicBezTo>
                    <a:cubicBezTo>
                      <a:pt x="165" y="9"/>
                      <a:pt x="165" y="9"/>
                      <a:pt x="164" y="8"/>
                    </a:cubicBezTo>
                    <a:cubicBezTo>
                      <a:pt x="162" y="9"/>
                      <a:pt x="162" y="9"/>
                      <a:pt x="162" y="9"/>
                    </a:cubicBezTo>
                    <a:cubicBezTo>
                      <a:pt x="162" y="10"/>
                      <a:pt x="161" y="10"/>
                      <a:pt x="161" y="10"/>
                    </a:cubicBezTo>
                    <a:cubicBezTo>
                      <a:pt x="160" y="10"/>
                      <a:pt x="160" y="10"/>
                      <a:pt x="160" y="10"/>
                    </a:cubicBezTo>
                    <a:cubicBezTo>
                      <a:pt x="158" y="11"/>
                      <a:pt x="157" y="12"/>
                      <a:pt x="155" y="12"/>
                    </a:cubicBezTo>
                    <a:cubicBezTo>
                      <a:pt x="154" y="12"/>
                      <a:pt x="154" y="12"/>
                      <a:pt x="154" y="12"/>
                    </a:cubicBezTo>
                    <a:cubicBezTo>
                      <a:pt x="153" y="12"/>
                      <a:pt x="153" y="12"/>
                      <a:pt x="153" y="12"/>
                    </a:cubicBezTo>
                    <a:cubicBezTo>
                      <a:pt x="150" y="12"/>
                      <a:pt x="149" y="9"/>
                      <a:pt x="149" y="8"/>
                    </a:cubicBezTo>
                    <a:cubicBezTo>
                      <a:pt x="149" y="7"/>
                      <a:pt x="148" y="7"/>
                      <a:pt x="148" y="6"/>
                    </a:cubicBezTo>
                    <a:cubicBezTo>
                      <a:pt x="148" y="6"/>
                      <a:pt x="148" y="6"/>
                      <a:pt x="148" y="6"/>
                    </a:cubicBezTo>
                    <a:cubicBezTo>
                      <a:pt x="148" y="5"/>
                      <a:pt x="148" y="5"/>
                      <a:pt x="147" y="5"/>
                    </a:cubicBezTo>
                    <a:cubicBezTo>
                      <a:pt x="147" y="4"/>
                      <a:pt x="147" y="4"/>
                      <a:pt x="147" y="4"/>
                    </a:cubicBezTo>
                    <a:cubicBezTo>
                      <a:pt x="147" y="3"/>
                      <a:pt x="146" y="2"/>
                      <a:pt x="146" y="2"/>
                    </a:cubicBezTo>
                    <a:cubicBezTo>
                      <a:pt x="146" y="2"/>
                      <a:pt x="145" y="2"/>
                      <a:pt x="144" y="3"/>
                    </a:cubicBezTo>
                    <a:cubicBezTo>
                      <a:pt x="143" y="3"/>
                      <a:pt x="141" y="3"/>
                      <a:pt x="139" y="3"/>
                    </a:cubicBezTo>
                    <a:cubicBezTo>
                      <a:pt x="135" y="3"/>
                      <a:pt x="130" y="2"/>
                      <a:pt x="126" y="2"/>
                    </a:cubicBezTo>
                    <a:cubicBezTo>
                      <a:pt x="123" y="1"/>
                      <a:pt x="123" y="1"/>
                      <a:pt x="123" y="1"/>
                    </a:cubicBezTo>
                    <a:cubicBezTo>
                      <a:pt x="121" y="1"/>
                      <a:pt x="120" y="0"/>
                      <a:pt x="118" y="0"/>
                    </a:cubicBezTo>
                    <a:cubicBezTo>
                      <a:pt x="118" y="0"/>
                      <a:pt x="118" y="0"/>
                      <a:pt x="118" y="0"/>
                    </a:cubicBezTo>
                    <a:cubicBezTo>
                      <a:pt x="117" y="0"/>
                      <a:pt x="116" y="0"/>
                      <a:pt x="116" y="0"/>
                    </a:cubicBezTo>
                    <a:cubicBezTo>
                      <a:pt x="115" y="0"/>
                      <a:pt x="115"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2" name="Freeform 240">
                <a:extLst>
                  <a:ext uri="{FF2B5EF4-FFF2-40B4-BE49-F238E27FC236}">
                    <a16:creationId xmlns:a16="http://schemas.microsoft.com/office/drawing/2014/main" id="{895F45AB-0541-4D68-A4AA-1B18E495A02F}"/>
                  </a:ext>
                </a:extLst>
              </p:cNvPr>
              <p:cNvSpPr>
                <a:spLocks/>
              </p:cNvSpPr>
              <p:nvPr/>
            </p:nvSpPr>
            <p:spPr bwMode="auto">
              <a:xfrm>
                <a:off x="8575264" y="6135718"/>
                <a:ext cx="143719" cy="132664"/>
              </a:xfrm>
              <a:custGeom>
                <a:avLst/>
                <a:gdLst>
                  <a:gd name="T0" fmla="*/ 22 w 46"/>
                  <a:gd name="T1" fmla="*/ 0 h 42"/>
                  <a:gd name="T2" fmla="*/ 19 w 46"/>
                  <a:gd name="T3" fmla="*/ 0 h 42"/>
                  <a:gd name="T4" fmla="*/ 15 w 46"/>
                  <a:gd name="T5" fmla="*/ 2 h 42"/>
                  <a:gd name="T6" fmla="*/ 9 w 46"/>
                  <a:gd name="T7" fmla="*/ 10 h 42"/>
                  <a:gd name="T8" fmla="*/ 9 w 46"/>
                  <a:gd name="T9" fmla="*/ 10 h 42"/>
                  <a:gd name="T10" fmla="*/ 7 w 46"/>
                  <a:gd name="T11" fmla="*/ 13 h 42"/>
                  <a:gd name="T12" fmla="*/ 0 w 46"/>
                  <a:gd name="T13" fmla="*/ 25 h 42"/>
                  <a:gd name="T14" fmla="*/ 21 w 46"/>
                  <a:gd name="T15" fmla="*/ 31 h 42"/>
                  <a:gd name="T16" fmla="*/ 26 w 46"/>
                  <a:gd name="T17" fmla="*/ 37 h 42"/>
                  <a:gd name="T18" fmla="*/ 27 w 46"/>
                  <a:gd name="T19" fmla="*/ 39 h 42"/>
                  <a:gd name="T20" fmla="*/ 27 w 46"/>
                  <a:gd name="T21" fmla="*/ 39 h 42"/>
                  <a:gd name="T22" fmla="*/ 27 w 46"/>
                  <a:gd name="T23" fmla="*/ 40 h 42"/>
                  <a:gd name="T24" fmla="*/ 29 w 46"/>
                  <a:gd name="T25" fmla="*/ 41 h 42"/>
                  <a:gd name="T26" fmla="*/ 35 w 46"/>
                  <a:gd name="T27" fmla="*/ 42 h 42"/>
                  <a:gd name="T28" fmla="*/ 42 w 46"/>
                  <a:gd name="T29" fmla="*/ 42 h 42"/>
                  <a:gd name="T30" fmla="*/ 46 w 46"/>
                  <a:gd name="T31" fmla="*/ 42 h 42"/>
                  <a:gd name="T32" fmla="*/ 39 w 46"/>
                  <a:gd name="T33" fmla="*/ 27 h 42"/>
                  <a:gd name="T34" fmla="*/ 37 w 46"/>
                  <a:gd name="T35" fmla="*/ 21 h 42"/>
                  <a:gd name="T36" fmla="*/ 29 w 46"/>
                  <a:gd name="T37" fmla="*/ 19 h 42"/>
                  <a:gd name="T38" fmla="*/ 35 w 46"/>
                  <a:gd name="T39" fmla="*/ 11 h 42"/>
                  <a:gd name="T40" fmla="*/ 35 w 46"/>
                  <a:gd name="T41" fmla="*/ 11 h 42"/>
                  <a:gd name="T42" fmla="*/ 40 w 46"/>
                  <a:gd name="T43" fmla="*/ 13 h 42"/>
                  <a:gd name="T44" fmla="*/ 38 w 46"/>
                  <a:gd name="T45" fmla="*/ 8 h 42"/>
                  <a:gd name="T46" fmla="*/ 35 w 46"/>
                  <a:gd name="T47" fmla="*/ 4 h 42"/>
                  <a:gd name="T48" fmla="*/ 30 w 46"/>
                  <a:gd name="T49" fmla="*/ 2 h 42"/>
                  <a:gd name="T50" fmla="*/ 22 w 46"/>
                  <a:gd name="T5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 h="42">
                    <a:moveTo>
                      <a:pt x="22" y="0"/>
                    </a:moveTo>
                    <a:cubicBezTo>
                      <a:pt x="21" y="0"/>
                      <a:pt x="20" y="0"/>
                      <a:pt x="19" y="0"/>
                    </a:cubicBezTo>
                    <a:cubicBezTo>
                      <a:pt x="17" y="0"/>
                      <a:pt x="16" y="1"/>
                      <a:pt x="15" y="2"/>
                    </a:cubicBezTo>
                    <a:cubicBezTo>
                      <a:pt x="13" y="3"/>
                      <a:pt x="11" y="7"/>
                      <a:pt x="9" y="10"/>
                    </a:cubicBezTo>
                    <a:cubicBezTo>
                      <a:pt x="9" y="10"/>
                      <a:pt x="9" y="10"/>
                      <a:pt x="9" y="10"/>
                    </a:cubicBezTo>
                    <a:cubicBezTo>
                      <a:pt x="9" y="11"/>
                      <a:pt x="8" y="12"/>
                      <a:pt x="7" y="13"/>
                    </a:cubicBezTo>
                    <a:cubicBezTo>
                      <a:pt x="5" y="17"/>
                      <a:pt x="2" y="21"/>
                      <a:pt x="0" y="25"/>
                    </a:cubicBezTo>
                    <a:cubicBezTo>
                      <a:pt x="21" y="31"/>
                      <a:pt x="21" y="31"/>
                      <a:pt x="21" y="31"/>
                    </a:cubicBezTo>
                    <a:cubicBezTo>
                      <a:pt x="25" y="32"/>
                      <a:pt x="26" y="36"/>
                      <a:pt x="26" y="37"/>
                    </a:cubicBezTo>
                    <a:cubicBezTo>
                      <a:pt x="26" y="38"/>
                      <a:pt x="27" y="38"/>
                      <a:pt x="27" y="39"/>
                    </a:cubicBezTo>
                    <a:cubicBezTo>
                      <a:pt x="27" y="39"/>
                      <a:pt x="27" y="39"/>
                      <a:pt x="27" y="39"/>
                    </a:cubicBezTo>
                    <a:cubicBezTo>
                      <a:pt x="27" y="39"/>
                      <a:pt x="27" y="40"/>
                      <a:pt x="27" y="40"/>
                    </a:cubicBezTo>
                    <a:cubicBezTo>
                      <a:pt x="27" y="40"/>
                      <a:pt x="28" y="41"/>
                      <a:pt x="29" y="41"/>
                    </a:cubicBezTo>
                    <a:cubicBezTo>
                      <a:pt x="30" y="42"/>
                      <a:pt x="33" y="42"/>
                      <a:pt x="35" y="42"/>
                    </a:cubicBezTo>
                    <a:cubicBezTo>
                      <a:pt x="37" y="42"/>
                      <a:pt x="40" y="42"/>
                      <a:pt x="42" y="42"/>
                    </a:cubicBezTo>
                    <a:cubicBezTo>
                      <a:pt x="43" y="42"/>
                      <a:pt x="44" y="42"/>
                      <a:pt x="46" y="42"/>
                    </a:cubicBezTo>
                    <a:cubicBezTo>
                      <a:pt x="44" y="37"/>
                      <a:pt x="41" y="32"/>
                      <a:pt x="39" y="27"/>
                    </a:cubicBezTo>
                    <a:cubicBezTo>
                      <a:pt x="38" y="25"/>
                      <a:pt x="38" y="23"/>
                      <a:pt x="37" y="21"/>
                    </a:cubicBezTo>
                    <a:cubicBezTo>
                      <a:pt x="35" y="19"/>
                      <a:pt x="32" y="19"/>
                      <a:pt x="29" y="19"/>
                    </a:cubicBezTo>
                    <a:cubicBezTo>
                      <a:pt x="30" y="17"/>
                      <a:pt x="33" y="12"/>
                      <a:pt x="35" y="11"/>
                    </a:cubicBezTo>
                    <a:cubicBezTo>
                      <a:pt x="35" y="11"/>
                      <a:pt x="35" y="11"/>
                      <a:pt x="35" y="11"/>
                    </a:cubicBezTo>
                    <a:cubicBezTo>
                      <a:pt x="36" y="11"/>
                      <a:pt x="39" y="13"/>
                      <a:pt x="40" y="13"/>
                    </a:cubicBezTo>
                    <a:cubicBezTo>
                      <a:pt x="40" y="12"/>
                      <a:pt x="39" y="10"/>
                      <a:pt x="38" y="8"/>
                    </a:cubicBezTo>
                    <a:cubicBezTo>
                      <a:pt x="38" y="8"/>
                      <a:pt x="36" y="6"/>
                      <a:pt x="35" y="4"/>
                    </a:cubicBezTo>
                    <a:cubicBezTo>
                      <a:pt x="30" y="2"/>
                      <a:pt x="30" y="2"/>
                      <a:pt x="30" y="2"/>
                    </a:cubicBezTo>
                    <a:cubicBezTo>
                      <a:pt x="26" y="0"/>
                      <a:pt x="24"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3" name="Freeform 241">
                <a:extLst>
                  <a:ext uri="{FF2B5EF4-FFF2-40B4-BE49-F238E27FC236}">
                    <a16:creationId xmlns:a16="http://schemas.microsoft.com/office/drawing/2014/main" id="{A8F7D195-35AE-434F-9FAE-2F896A6546FB}"/>
                  </a:ext>
                </a:extLst>
              </p:cNvPr>
              <p:cNvSpPr>
                <a:spLocks/>
              </p:cNvSpPr>
              <p:nvPr/>
            </p:nvSpPr>
            <p:spPr bwMode="auto">
              <a:xfrm>
                <a:off x="8693188" y="6146774"/>
                <a:ext cx="25796" cy="29481"/>
              </a:xfrm>
              <a:custGeom>
                <a:avLst/>
                <a:gdLst>
                  <a:gd name="T0" fmla="*/ 1 w 9"/>
                  <a:gd name="T1" fmla="*/ 0 h 9"/>
                  <a:gd name="T2" fmla="*/ 0 w 9"/>
                  <a:gd name="T3" fmla="*/ 2 h 9"/>
                  <a:gd name="T4" fmla="*/ 4 w 9"/>
                  <a:gd name="T5" fmla="*/ 9 h 9"/>
                  <a:gd name="T6" fmla="*/ 8 w 9"/>
                  <a:gd name="T7" fmla="*/ 3 h 9"/>
                  <a:gd name="T8" fmla="*/ 4 w 9"/>
                  <a:gd name="T9" fmla="*/ 1 h 9"/>
                  <a:gd name="T10" fmla="*/ 3 w 9"/>
                  <a:gd name="T11" fmla="*/ 1 h 9"/>
                  <a:gd name="T12" fmla="*/ 2 w 9"/>
                  <a:gd name="T13" fmla="*/ 2 h 9"/>
                  <a:gd name="T14" fmla="*/ 2 w 9"/>
                  <a:gd name="T15" fmla="*/ 1 h 9"/>
                  <a:gd name="T16" fmla="*/ 1 w 9"/>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1" y="0"/>
                    </a:moveTo>
                    <a:cubicBezTo>
                      <a:pt x="1" y="1"/>
                      <a:pt x="0" y="1"/>
                      <a:pt x="0" y="2"/>
                    </a:cubicBezTo>
                    <a:cubicBezTo>
                      <a:pt x="0" y="4"/>
                      <a:pt x="3" y="7"/>
                      <a:pt x="4" y="9"/>
                    </a:cubicBezTo>
                    <a:cubicBezTo>
                      <a:pt x="8" y="7"/>
                      <a:pt x="9" y="5"/>
                      <a:pt x="8" y="3"/>
                    </a:cubicBezTo>
                    <a:cubicBezTo>
                      <a:pt x="4" y="1"/>
                      <a:pt x="4" y="1"/>
                      <a:pt x="4" y="1"/>
                    </a:cubicBezTo>
                    <a:cubicBezTo>
                      <a:pt x="3" y="1"/>
                      <a:pt x="3" y="1"/>
                      <a:pt x="3" y="1"/>
                    </a:cubicBezTo>
                    <a:cubicBezTo>
                      <a:pt x="2" y="2"/>
                      <a:pt x="2" y="2"/>
                      <a:pt x="2"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4" name="Freeform 242">
                <a:extLst>
                  <a:ext uri="{FF2B5EF4-FFF2-40B4-BE49-F238E27FC236}">
                    <a16:creationId xmlns:a16="http://schemas.microsoft.com/office/drawing/2014/main" id="{99870B17-2EEC-4A4B-B3C9-E8FC8A406A3F}"/>
                  </a:ext>
                </a:extLst>
              </p:cNvPr>
              <p:cNvSpPr>
                <a:spLocks/>
              </p:cNvSpPr>
              <p:nvPr/>
            </p:nvSpPr>
            <p:spPr bwMode="auto">
              <a:xfrm>
                <a:off x="7580283" y="5413436"/>
                <a:ext cx="585933" cy="479065"/>
              </a:xfrm>
              <a:custGeom>
                <a:avLst/>
                <a:gdLst>
                  <a:gd name="T0" fmla="*/ 177 w 185"/>
                  <a:gd name="T1" fmla="*/ 1 h 151"/>
                  <a:gd name="T2" fmla="*/ 146 w 185"/>
                  <a:gd name="T3" fmla="*/ 4 h 151"/>
                  <a:gd name="T4" fmla="*/ 135 w 185"/>
                  <a:gd name="T5" fmla="*/ 7 h 151"/>
                  <a:gd name="T6" fmla="*/ 129 w 185"/>
                  <a:gd name="T7" fmla="*/ 10 h 151"/>
                  <a:gd name="T8" fmla="*/ 106 w 185"/>
                  <a:gd name="T9" fmla="*/ 17 h 151"/>
                  <a:gd name="T10" fmla="*/ 104 w 185"/>
                  <a:gd name="T11" fmla="*/ 17 h 151"/>
                  <a:gd name="T12" fmla="*/ 85 w 185"/>
                  <a:gd name="T13" fmla="*/ 16 h 151"/>
                  <a:gd name="T14" fmla="*/ 81 w 185"/>
                  <a:gd name="T15" fmla="*/ 15 h 151"/>
                  <a:gd name="T16" fmla="*/ 79 w 185"/>
                  <a:gd name="T17" fmla="*/ 13 h 151"/>
                  <a:gd name="T18" fmla="*/ 71 w 185"/>
                  <a:gd name="T19" fmla="*/ 11 h 151"/>
                  <a:gd name="T20" fmla="*/ 66 w 185"/>
                  <a:gd name="T21" fmla="*/ 13 h 151"/>
                  <a:gd name="T22" fmla="*/ 44 w 185"/>
                  <a:gd name="T23" fmla="*/ 19 h 151"/>
                  <a:gd name="T24" fmla="*/ 34 w 185"/>
                  <a:gd name="T25" fmla="*/ 18 h 151"/>
                  <a:gd name="T26" fmla="*/ 27 w 185"/>
                  <a:gd name="T27" fmla="*/ 21 h 151"/>
                  <a:gd name="T28" fmla="*/ 36 w 185"/>
                  <a:gd name="T29" fmla="*/ 26 h 151"/>
                  <a:gd name="T30" fmla="*/ 26 w 185"/>
                  <a:gd name="T31" fmla="*/ 30 h 151"/>
                  <a:gd name="T32" fmla="*/ 22 w 185"/>
                  <a:gd name="T33" fmla="*/ 32 h 151"/>
                  <a:gd name="T34" fmla="*/ 22 w 185"/>
                  <a:gd name="T35" fmla="*/ 33 h 151"/>
                  <a:gd name="T36" fmla="*/ 18 w 185"/>
                  <a:gd name="T37" fmla="*/ 40 h 151"/>
                  <a:gd name="T38" fmla="*/ 16 w 185"/>
                  <a:gd name="T39" fmla="*/ 41 h 151"/>
                  <a:gd name="T40" fmla="*/ 15 w 185"/>
                  <a:gd name="T41" fmla="*/ 44 h 151"/>
                  <a:gd name="T42" fmla="*/ 10 w 185"/>
                  <a:gd name="T43" fmla="*/ 45 h 151"/>
                  <a:gd name="T44" fmla="*/ 1 w 185"/>
                  <a:gd name="T45" fmla="*/ 46 h 151"/>
                  <a:gd name="T46" fmla="*/ 5 w 185"/>
                  <a:gd name="T47" fmla="*/ 57 h 151"/>
                  <a:gd name="T48" fmla="*/ 6 w 185"/>
                  <a:gd name="T49" fmla="*/ 77 h 151"/>
                  <a:gd name="T50" fmla="*/ 11 w 185"/>
                  <a:gd name="T51" fmla="*/ 77 h 151"/>
                  <a:gd name="T52" fmla="*/ 16 w 185"/>
                  <a:gd name="T53" fmla="*/ 77 h 151"/>
                  <a:gd name="T54" fmla="*/ 20 w 185"/>
                  <a:gd name="T55" fmla="*/ 77 h 151"/>
                  <a:gd name="T56" fmla="*/ 23 w 185"/>
                  <a:gd name="T57" fmla="*/ 83 h 151"/>
                  <a:gd name="T58" fmla="*/ 26 w 185"/>
                  <a:gd name="T59" fmla="*/ 89 h 151"/>
                  <a:gd name="T60" fmla="*/ 25 w 185"/>
                  <a:gd name="T61" fmla="*/ 99 h 151"/>
                  <a:gd name="T62" fmla="*/ 44 w 185"/>
                  <a:gd name="T63" fmla="*/ 125 h 151"/>
                  <a:gd name="T64" fmla="*/ 14 w 185"/>
                  <a:gd name="T65" fmla="*/ 109 h 151"/>
                  <a:gd name="T66" fmla="*/ 10 w 185"/>
                  <a:gd name="T67" fmla="*/ 110 h 151"/>
                  <a:gd name="T68" fmla="*/ 12 w 185"/>
                  <a:gd name="T69" fmla="*/ 115 h 151"/>
                  <a:gd name="T70" fmla="*/ 11 w 185"/>
                  <a:gd name="T71" fmla="*/ 117 h 151"/>
                  <a:gd name="T72" fmla="*/ 5 w 185"/>
                  <a:gd name="T73" fmla="*/ 123 h 151"/>
                  <a:gd name="T74" fmla="*/ 2 w 185"/>
                  <a:gd name="T75" fmla="*/ 125 h 151"/>
                  <a:gd name="T76" fmla="*/ 1 w 185"/>
                  <a:gd name="T77" fmla="*/ 130 h 151"/>
                  <a:gd name="T78" fmla="*/ 1 w 185"/>
                  <a:gd name="T79" fmla="*/ 138 h 151"/>
                  <a:gd name="T80" fmla="*/ 3 w 185"/>
                  <a:gd name="T81" fmla="*/ 139 h 151"/>
                  <a:gd name="T82" fmla="*/ 7 w 185"/>
                  <a:gd name="T83" fmla="*/ 141 h 151"/>
                  <a:gd name="T84" fmla="*/ 12 w 185"/>
                  <a:gd name="T85" fmla="*/ 145 h 151"/>
                  <a:gd name="T86" fmla="*/ 34 w 185"/>
                  <a:gd name="T87" fmla="*/ 149 h 151"/>
                  <a:gd name="T88" fmla="*/ 85 w 185"/>
                  <a:gd name="T89" fmla="*/ 118 h 151"/>
                  <a:gd name="T90" fmla="*/ 88 w 185"/>
                  <a:gd name="T91" fmla="*/ 116 h 151"/>
                  <a:gd name="T92" fmla="*/ 110 w 185"/>
                  <a:gd name="T93" fmla="*/ 104 h 151"/>
                  <a:gd name="T94" fmla="*/ 127 w 185"/>
                  <a:gd name="T95" fmla="*/ 94 h 151"/>
                  <a:gd name="T96" fmla="*/ 140 w 185"/>
                  <a:gd name="T97" fmla="*/ 87 h 151"/>
                  <a:gd name="T98" fmla="*/ 143 w 185"/>
                  <a:gd name="T99" fmla="*/ 86 h 151"/>
                  <a:gd name="T100" fmla="*/ 151 w 185"/>
                  <a:gd name="T101" fmla="*/ 76 h 151"/>
                  <a:gd name="T102" fmla="*/ 152 w 185"/>
                  <a:gd name="T103" fmla="*/ 71 h 151"/>
                  <a:gd name="T104" fmla="*/ 154 w 185"/>
                  <a:gd name="T105" fmla="*/ 56 h 151"/>
                  <a:gd name="T106" fmla="*/ 155 w 185"/>
                  <a:gd name="T107" fmla="*/ 51 h 151"/>
                  <a:gd name="T108" fmla="*/ 155 w 185"/>
                  <a:gd name="T109" fmla="*/ 42 h 151"/>
                  <a:gd name="T110" fmla="*/ 157 w 185"/>
                  <a:gd name="T111" fmla="*/ 19 h 151"/>
                  <a:gd name="T112" fmla="*/ 167 w 185"/>
                  <a:gd name="T113" fmla="*/ 15 h 151"/>
                  <a:gd name="T114" fmla="*/ 168 w 185"/>
                  <a:gd name="T115" fmla="*/ 14 h 151"/>
                  <a:gd name="T116" fmla="*/ 172 w 185"/>
                  <a:gd name="T117" fmla="*/ 13 h 151"/>
                  <a:gd name="T118" fmla="*/ 185 w 185"/>
                  <a:gd name="T119" fmla="*/ 1 h 151"/>
                  <a:gd name="T120" fmla="*/ 185 w 185"/>
                  <a:gd name="T1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 h="151">
                    <a:moveTo>
                      <a:pt x="185" y="0"/>
                    </a:moveTo>
                    <a:cubicBezTo>
                      <a:pt x="182" y="0"/>
                      <a:pt x="180" y="1"/>
                      <a:pt x="177" y="1"/>
                    </a:cubicBezTo>
                    <a:cubicBezTo>
                      <a:pt x="169" y="3"/>
                      <a:pt x="161" y="4"/>
                      <a:pt x="151" y="4"/>
                    </a:cubicBezTo>
                    <a:cubicBezTo>
                      <a:pt x="149" y="4"/>
                      <a:pt x="148" y="4"/>
                      <a:pt x="146" y="4"/>
                    </a:cubicBezTo>
                    <a:cubicBezTo>
                      <a:pt x="146" y="4"/>
                      <a:pt x="146" y="4"/>
                      <a:pt x="146" y="4"/>
                    </a:cubicBezTo>
                    <a:cubicBezTo>
                      <a:pt x="142" y="4"/>
                      <a:pt x="139" y="6"/>
                      <a:pt x="135" y="7"/>
                    </a:cubicBezTo>
                    <a:cubicBezTo>
                      <a:pt x="134" y="8"/>
                      <a:pt x="133" y="9"/>
                      <a:pt x="131" y="9"/>
                    </a:cubicBezTo>
                    <a:cubicBezTo>
                      <a:pt x="130" y="10"/>
                      <a:pt x="129" y="10"/>
                      <a:pt x="129" y="10"/>
                    </a:cubicBezTo>
                    <a:cubicBezTo>
                      <a:pt x="123" y="12"/>
                      <a:pt x="123" y="12"/>
                      <a:pt x="123" y="12"/>
                    </a:cubicBezTo>
                    <a:cubicBezTo>
                      <a:pt x="118" y="14"/>
                      <a:pt x="112" y="16"/>
                      <a:pt x="106" y="17"/>
                    </a:cubicBezTo>
                    <a:cubicBezTo>
                      <a:pt x="106" y="17"/>
                      <a:pt x="105" y="17"/>
                      <a:pt x="105" y="17"/>
                    </a:cubicBezTo>
                    <a:cubicBezTo>
                      <a:pt x="104" y="17"/>
                      <a:pt x="104" y="17"/>
                      <a:pt x="104" y="17"/>
                    </a:cubicBezTo>
                    <a:cubicBezTo>
                      <a:pt x="103" y="17"/>
                      <a:pt x="102" y="17"/>
                      <a:pt x="101" y="17"/>
                    </a:cubicBezTo>
                    <a:cubicBezTo>
                      <a:pt x="95" y="17"/>
                      <a:pt x="90" y="17"/>
                      <a:pt x="85" y="16"/>
                    </a:cubicBezTo>
                    <a:cubicBezTo>
                      <a:pt x="83" y="15"/>
                      <a:pt x="83" y="15"/>
                      <a:pt x="83" y="15"/>
                    </a:cubicBezTo>
                    <a:cubicBezTo>
                      <a:pt x="82" y="15"/>
                      <a:pt x="82" y="15"/>
                      <a:pt x="81" y="15"/>
                    </a:cubicBezTo>
                    <a:cubicBezTo>
                      <a:pt x="80" y="14"/>
                      <a:pt x="80" y="14"/>
                      <a:pt x="80" y="14"/>
                    </a:cubicBezTo>
                    <a:cubicBezTo>
                      <a:pt x="79" y="14"/>
                      <a:pt x="79" y="13"/>
                      <a:pt x="79" y="13"/>
                    </a:cubicBezTo>
                    <a:cubicBezTo>
                      <a:pt x="73" y="11"/>
                      <a:pt x="73" y="11"/>
                      <a:pt x="73" y="11"/>
                    </a:cubicBezTo>
                    <a:cubicBezTo>
                      <a:pt x="72" y="11"/>
                      <a:pt x="71" y="11"/>
                      <a:pt x="71" y="11"/>
                    </a:cubicBezTo>
                    <a:cubicBezTo>
                      <a:pt x="70" y="11"/>
                      <a:pt x="69" y="11"/>
                      <a:pt x="68" y="12"/>
                    </a:cubicBezTo>
                    <a:cubicBezTo>
                      <a:pt x="66" y="13"/>
                      <a:pt x="66" y="13"/>
                      <a:pt x="66" y="13"/>
                    </a:cubicBezTo>
                    <a:cubicBezTo>
                      <a:pt x="58" y="16"/>
                      <a:pt x="51" y="18"/>
                      <a:pt x="46" y="19"/>
                    </a:cubicBezTo>
                    <a:cubicBezTo>
                      <a:pt x="44" y="19"/>
                      <a:pt x="44" y="19"/>
                      <a:pt x="44" y="19"/>
                    </a:cubicBezTo>
                    <a:cubicBezTo>
                      <a:pt x="43" y="19"/>
                      <a:pt x="41" y="19"/>
                      <a:pt x="39" y="19"/>
                    </a:cubicBezTo>
                    <a:cubicBezTo>
                      <a:pt x="38" y="19"/>
                      <a:pt x="36" y="19"/>
                      <a:pt x="34" y="18"/>
                    </a:cubicBezTo>
                    <a:cubicBezTo>
                      <a:pt x="28" y="14"/>
                      <a:pt x="28" y="14"/>
                      <a:pt x="28" y="14"/>
                    </a:cubicBezTo>
                    <a:cubicBezTo>
                      <a:pt x="27" y="17"/>
                      <a:pt x="27" y="19"/>
                      <a:pt x="27" y="21"/>
                    </a:cubicBezTo>
                    <a:cubicBezTo>
                      <a:pt x="27" y="23"/>
                      <a:pt x="27" y="23"/>
                      <a:pt x="27" y="23"/>
                    </a:cubicBezTo>
                    <a:cubicBezTo>
                      <a:pt x="36" y="26"/>
                      <a:pt x="36" y="26"/>
                      <a:pt x="36" y="26"/>
                    </a:cubicBezTo>
                    <a:cubicBezTo>
                      <a:pt x="28" y="29"/>
                      <a:pt x="28" y="29"/>
                      <a:pt x="28" y="29"/>
                    </a:cubicBezTo>
                    <a:cubicBezTo>
                      <a:pt x="27" y="30"/>
                      <a:pt x="26" y="30"/>
                      <a:pt x="26" y="30"/>
                    </a:cubicBezTo>
                    <a:cubicBezTo>
                      <a:pt x="25" y="31"/>
                      <a:pt x="25" y="31"/>
                      <a:pt x="25" y="31"/>
                    </a:cubicBezTo>
                    <a:cubicBezTo>
                      <a:pt x="24" y="31"/>
                      <a:pt x="23" y="32"/>
                      <a:pt x="22" y="32"/>
                    </a:cubicBezTo>
                    <a:cubicBezTo>
                      <a:pt x="22" y="33"/>
                      <a:pt x="22" y="33"/>
                      <a:pt x="22" y="33"/>
                    </a:cubicBezTo>
                    <a:cubicBezTo>
                      <a:pt x="22" y="33"/>
                      <a:pt x="22" y="33"/>
                      <a:pt x="22" y="33"/>
                    </a:cubicBezTo>
                    <a:cubicBezTo>
                      <a:pt x="22" y="34"/>
                      <a:pt x="22" y="34"/>
                      <a:pt x="22" y="34"/>
                    </a:cubicBezTo>
                    <a:cubicBezTo>
                      <a:pt x="22" y="37"/>
                      <a:pt x="19" y="39"/>
                      <a:pt x="18" y="40"/>
                    </a:cubicBezTo>
                    <a:cubicBezTo>
                      <a:pt x="17" y="40"/>
                      <a:pt x="17" y="40"/>
                      <a:pt x="17" y="40"/>
                    </a:cubicBezTo>
                    <a:cubicBezTo>
                      <a:pt x="16" y="41"/>
                      <a:pt x="16" y="41"/>
                      <a:pt x="16" y="41"/>
                    </a:cubicBezTo>
                    <a:cubicBezTo>
                      <a:pt x="15" y="42"/>
                      <a:pt x="15" y="42"/>
                      <a:pt x="15" y="42"/>
                    </a:cubicBezTo>
                    <a:cubicBezTo>
                      <a:pt x="15" y="43"/>
                      <a:pt x="15" y="43"/>
                      <a:pt x="15" y="44"/>
                    </a:cubicBezTo>
                    <a:cubicBezTo>
                      <a:pt x="14" y="47"/>
                      <a:pt x="14" y="47"/>
                      <a:pt x="14" y="47"/>
                    </a:cubicBezTo>
                    <a:cubicBezTo>
                      <a:pt x="10" y="45"/>
                      <a:pt x="10" y="45"/>
                      <a:pt x="10" y="45"/>
                    </a:cubicBezTo>
                    <a:cubicBezTo>
                      <a:pt x="9" y="45"/>
                      <a:pt x="5" y="43"/>
                      <a:pt x="2" y="42"/>
                    </a:cubicBezTo>
                    <a:cubicBezTo>
                      <a:pt x="2" y="43"/>
                      <a:pt x="2" y="44"/>
                      <a:pt x="1" y="46"/>
                    </a:cubicBezTo>
                    <a:cubicBezTo>
                      <a:pt x="1" y="47"/>
                      <a:pt x="1" y="49"/>
                      <a:pt x="0" y="50"/>
                    </a:cubicBezTo>
                    <a:cubicBezTo>
                      <a:pt x="2" y="53"/>
                      <a:pt x="5" y="54"/>
                      <a:pt x="5" y="57"/>
                    </a:cubicBezTo>
                    <a:cubicBezTo>
                      <a:pt x="5" y="61"/>
                      <a:pt x="4" y="65"/>
                      <a:pt x="5" y="69"/>
                    </a:cubicBezTo>
                    <a:cubicBezTo>
                      <a:pt x="5" y="72"/>
                      <a:pt x="5" y="74"/>
                      <a:pt x="6" y="77"/>
                    </a:cubicBezTo>
                    <a:cubicBezTo>
                      <a:pt x="6" y="77"/>
                      <a:pt x="6" y="77"/>
                      <a:pt x="6" y="77"/>
                    </a:cubicBezTo>
                    <a:cubicBezTo>
                      <a:pt x="8" y="77"/>
                      <a:pt x="10" y="77"/>
                      <a:pt x="11" y="77"/>
                    </a:cubicBezTo>
                    <a:cubicBezTo>
                      <a:pt x="12" y="77"/>
                      <a:pt x="12" y="77"/>
                      <a:pt x="13" y="77"/>
                    </a:cubicBezTo>
                    <a:cubicBezTo>
                      <a:pt x="14" y="77"/>
                      <a:pt x="15" y="77"/>
                      <a:pt x="16" y="77"/>
                    </a:cubicBezTo>
                    <a:cubicBezTo>
                      <a:pt x="16" y="77"/>
                      <a:pt x="16" y="77"/>
                      <a:pt x="16" y="77"/>
                    </a:cubicBezTo>
                    <a:cubicBezTo>
                      <a:pt x="18" y="77"/>
                      <a:pt x="19" y="77"/>
                      <a:pt x="20" y="77"/>
                    </a:cubicBezTo>
                    <a:cubicBezTo>
                      <a:pt x="27" y="77"/>
                      <a:pt x="27" y="77"/>
                      <a:pt x="27" y="77"/>
                    </a:cubicBezTo>
                    <a:cubicBezTo>
                      <a:pt x="23" y="83"/>
                      <a:pt x="23" y="83"/>
                      <a:pt x="23" y="83"/>
                    </a:cubicBezTo>
                    <a:cubicBezTo>
                      <a:pt x="24" y="84"/>
                      <a:pt x="25" y="86"/>
                      <a:pt x="26" y="88"/>
                    </a:cubicBezTo>
                    <a:cubicBezTo>
                      <a:pt x="26" y="88"/>
                      <a:pt x="26" y="88"/>
                      <a:pt x="26" y="89"/>
                    </a:cubicBezTo>
                    <a:cubicBezTo>
                      <a:pt x="27" y="90"/>
                      <a:pt x="30" y="95"/>
                      <a:pt x="27" y="98"/>
                    </a:cubicBezTo>
                    <a:cubicBezTo>
                      <a:pt x="26" y="98"/>
                      <a:pt x="26" y="99"/>
                      <a:pt x="25" y="99"/>
                    </a:cubicBezTo>
                    <a:cubicBezTo>
                      <a:pt x="22" y="101"/>
                      <a:pt x="20" y="103"/>
                      <a:pt x="20" y="104"/>
                    </a:cubicBezTo>
                    <a:cubicBezTo>
                      <a:pt x="44" y="125"/>
                      <a:pt x="44" y="125"/>
                      <a:pt x="44" y="125"/>
                    </a:cubicBezTo>
                    <a:cubicBezTo>
                      <a:pt x="16" y="109"/>
                      <a:pt x="16" y="109"/>
                      <a:pt x="16" y="109"/>
                    </a:cubicBezTo>
                    <a:cubicBezTo>
                      <a:pt x="15" y="109"/>
                      <a:pt x="14" y="109"/>
                      <a:pt x="14" y="109"/>
                    </a:cubicBezTo>
                    <a:cubicBezTo>
                      <a:pt x="13" y="109"/>
                      <a:pt x="13" y="109"/>
                      <a:pt x="12" y="109"/>
                    </a:cubicBezTo>
                    <a:cubicBezTo>
                      <a:pt x="11" y="110"/>
                      <a:pt x="11" y="110"/>
                      <a:pt x="10" y="110"/>
                    </a:cubicBezTo>
                    <a:cubicBezTo>
                      <a:pt x="11" y="111"/>
                      <a:pt x="11" y="111"/>
                      <a:pt x="11" y="111"/>
                    </a:cubicBezTo>
                    <a:cubicBezTo>
                      <a:pt x="11" y="111"/>
                      <a:pt x="12" y="113"/>
                      <a:pt x="12" y="115"/>
                    </a:cubicBezTo>
                    <a:cubicBezTo>
                      <a:pt x="12" y="116"/>
                      <a:pt x="12" y="116"/>
                      <a:pt x="12" y="116"/>
                    </a:cubicBezTo>
                    <a:cubicBezTo>
                      <a:pt x="11" y="117"/>
                      <a:pt x="11" y="117"/>
                      <a:pt x="11" y="117"/>
                    </a:cubicBezTo>
                    <a:cubicBezTo>
                      <a:pt x="10" y="118"/>
                      <a:pt x="10" y="118"/>
                      <a:pt x="10" y="118"/>
                    </a:cubicBezTo>
                    <a:cubicBezTo>
                      <a:pt x="9" y="120"/>
                      <a:pt x="7" y="121"/>
                      <a:pt x="5" y="123"/>
                    </a:cubicBezTo>
                    <a:cubicBezTo>
                      <a:pt x="4" y="123"/>
                      <a:pt x="3" y="124"/>
                      <a:pt x="3" y="124"/>
                    </a:cubicBezTo>
                    <a:cubicBezTo>
                      <a:pt x="2" y="125"/>
                      <a:pt x="2" y="125"/>
                      <a:pt x="2" y="125"/>
                    </a:cubicBezTo>
                    <a:cubicBezTo>
                      <a:pt x="1" y="125"/>
                      <a:pt x="1" y="125"/>
                      <a:pt x="1" y="125"/>
                    </a:cubicBezTo>
                    <a:cubicBezTo>
                      <a:pt x="1" y="127"/>
                      <a:pt x="1" y="129"/>
                      <a:pt x="1" y="130"/>
                    </a:cubicBezTo>
                    <a:cubicBezTo>
                      <a:pt x="1" y="132"/>
                      <a:pt x="1" y="133"/>
                      <a:pt x="0" y="134"/>
                    </a:cubicBezTo>
                    <a:cubicBezTo>
                      <a:pt x="0" y="135"/>
                      <a:pt x="1" y="136"/>
                      <a:pt x="1" y="138"/>
                    </a:cubicBezTo>
                    <a:cubicBezTo>
                      <a:pt x="1" y="139"/>
                      <a:pt x="1" y="139"/>
                      <a:pt x="1" y="139"/>
                    </a:cubicBezTo>
                    <a:cubicBezTo>
                      <a:pt x="2" y="139"/>
                      <a:pt x="3" y="139"/>
                      <a:pt x="3" y="139"/>
                    </a:cubicBezTo>
                    <a:cubicBezTo>
                      <a:pt x="4" y="140"/>
                      <a:pt x="4" y="140"/>
                      <a:pt x="4" y="140"/>
                    </a:cubicBezTo>
                    <a:cubicBezTo>
                      <a:pt x="5" y="140"/>
                      <a:pt x="6" y="141"/>
                      <a:pt x="7" y="141"/>
                    </a:cubicBezTo>
                    <a:cubicBezTo>
                      <a:pt x="7" y="141"/>
                      <a:pt x="8" y="142"/>
                      <a:pt x="8" y="142"/>
                    </a:cubicBezTo>
                    <a:cubicBezTo>
                      <a:pt x="9" y="143"/>
                      <a:pt x="11" y="144"/>
                      <a:pt x="12" y="145"/>
                    </a:cubicBezTo>
                    <a:cubicBezTo>
                      <a:pt x="22" y="149"/>
                      <a:pt x="26" y="151"/>
                      <a:pt x="29" y="151"/>
                    </a:cubicBezTo>
                    <a:cubicBezTo>
                      <a:pt x="31" y="151"/>
                      <a:pt x="32" y="150"/>
                      <a:pt x="34" y="149"/>
                    </a:cubicBezTo>
                    <a:cubicBezTo>
                      <a:pt x="35" y="148"/>
                      <a:pt x="35" y="147"/>
                      <a:pt x="37" y="146"/>
                    </a:cubicBezTo>
                    <a:cubicBezTo>
                      <a:pt x="46" y="139"/>
                      <a:pt x="74" y="124"/>
                      <a:pt x="85" y="118"/>
                    </a:cubicBezTo>
                    <a:cubicBezTo>
                      <a:pt x="87" y="116"/>
                      <a:pt x="87" y="116"/>
                      <a:pt x="87" y="116"/>
                    </a:cubicBezTo>
                    <a:cubicBezTo>
                      <a:pt x="88" y="116"/>
                      <a:pt x="88" y="116"/>
                      <a:pt x="88" y="116"/>
                    </a:cubicBezTo>
                    <a:cubicBezTo>
                      <a:pt x="92" y="114"/>
                      <a:pt x="92" y="114"/>
                      <a:pt x="92" y="114"/>
                    </a:cubicBezTo>
                    <a:cubicBezTo>
                      <a:pt x="98" y="111"/>
                      <a:pt x="104" y="107"/>
                      <a:pt x="110" y="104"/>
                    </a:cubicBezTo>
                    <a:cubicBezTo>
                      <a:pt x="127" y="94"/>
                      <a:pt x="127" y="94"/>
                      <a:pt x="127" y="94"/>
                    </a:cubicBezTo>
                    <a:cubicBezTo>
                      <a:pt x="127" y="94"/>
                      <a:pt x="127" y="94"/>
                      <a:pt x="127" y="94"/>
                    </a:cubicBezTo>
                    <a:cubicBezTo>
                      <a:pt x="135" y="90"/>
                      <a:pt x="135" y="90"/>
                      <a:pt x="135" y="90"/>
                    </a:cubicBezTo>
                    <a:cubicBezTo>
                      <a:pt x="136" y="89"/>
                      <a:pt x="139" y="88"/>
                      <a:pt x="140" y="87"/>
                    </a:cubicBezTo>
                    <a:cubicBezTo>
                      <a:pt x="141" y="87"/>
                      <a:pt x="142" y="86"/>
                      <a:pt x="143" y="86"/>
                    </a:cubicBezTo>
                    <a:cubicBezTo>
                      <a:pt x="143" y="86"/>
                      <a:pt x="143" y="86"/>
                      <a:pt x="143" y="86"/>
                    </a:cubicBezTo>
                    <a:cubicBezTo>
                      <a:pt x="145" y="85"/>
                      <a:pt x="147" y="85"/>
                      <a:pt x="147" y="84"/>
                    </a:cubicBezTo>
                    <a:cubicBezTo>
                      <a:pt x="149" y="82"/>
                      <a:pt x="150" y="79"/>
                      <a:pt x="151" y="76"/>
                    </a:cubicBezTo>
                    <a:cubicBezTo>
                      <a:pt x="152" y="75"/>
                      <a:pt x="152" y="73"/>
                      <a:pt x="152" y="72"/>
                    </a:cubicBezTo>
                    <a:cubicBezTo>
                      <a:pt x="152" y="71"/>
                      <a:pt x="152" y="71"/>
                      <a:pt x="152" y="71"/>
                    </a:cubicBezTo>
                    <a:cubicBezTo>
                      <a:pt x="152" y="70"/>
                      <a:pt x="152" y="68"/>
                      <a:pt x="152" y="67"/>
                    </a:cubicBezTo>
                    <a:cubicBezTo>
                      <a:pt x="152" y="63"/>
                      <a:pt x="153" y="60"/>
                      <a:pt x="154" y="56"/>
                    </a:cubicBezTo>
                    <a:cubicBezTo>
                      <a:pt x="154" y="56"/>
                      <a:pt x="154" y="56"/>
                      <a:pt x="154" y="56"/>
                    </a:cubicBezTo>
                    <a:cubicBezTo>
                      <a:pt x="154" y="54"/>
                      <a:pt x="155" y="52"/>
                      <a:pt x="155" y="51"/>
                    </a:cubicBezTo>
                    <a:cubicBezTo>
                      <a:pt x="155" y="49"/>
                      <a:pt x="155" y="46"/>
                      <a:pt x="155" y="43"/>
                    </a:cubicBezTo>
                    <a:cubicBezTo>
                      <a:pt x="155" y="42"/>
                      <a:pt x="155" y="42"/>
                      <a:pt x="155" y="42"/>
                    </a:cubicBezTo>
                    <a:cubicBezTo>
                      <a:pt x="154" y="36"/>
                      <a:pt x="153" y="29"/>
                      <a:pt x="156" y="23"/>
                    </a:cubicBezTo>
                    <a:cubicBezTo>
                      <a:pt x="156" y="21"/>
                      <a:pt x="157" y="20"/>
                      <a:pt x="157" y="19"/>
                    </a:cubicBezTo>
                    <a:cubicBezTo>
                      <a:pt x="159" y="17"/>
                      <a:pt x="161" y="16"/>
                      <a:pt x="165" y="15"/>
                    </a:cubicBezTo>
                    <a:cubicBezTo>
                      <a:pt x="167" y="15"/>
                      <a:pt x="167" y="15"/>
                      <a:pt x="167" y="15"/>
                    </a:cubicBezTo>
                    <a:cubicBezTo>
                      <a:pt x="166" y="12"/>
                      <a:pt x="166" y="12"/>
                      <a:pt x="166" y="12"/>
                    </a:cubicBezTo>
                    <a:cubicBezTo>
                      <a:pt x="168" y="14"/>
                      <a:pt x="168" y="14"/>
                      <a:pt x="168" y="14"/>
                    </a:cubicBezTo>
                    <a:cubicBezTo>
                      <a:pt x="170" y="14"/>
                      <a:pt x="170" y="14"/>
                      <a:pt x="170" y="14"/>
                    </a:cubicBezTo>
                    <a:cubicBezTo>
                      <a:pt x="170" y="14"/>
                      <a:pt x="171" y="14"/>
                      <a:pt x="172" y="13"/>
                    </a:cubicBezTo>
                    <a:cubicBezTo>
                      <a:pt x="175" y="10"/>
                      <a:pt x="178" y="6"/>
                      <a:pt x="182" y="3"/>
                    </a:cubicBezTo>
                    <a:cubicBezTo>
                      <a:pt x="185" y="1"/>
                      <a:pt x="185" y="1"/>
                      <a:pt x="185" y="1"/>
                    </a:cubicBezTo>
                    <a:cubicBezTo>
                      <a:pt x="185" y="0"/>
                      <a:pt x="185" y="0"/>
                      <a:pt x="185" y="0"/>
                    </a:cubicBezTo>
                    <a:cubicBezTo>
                      <a:pt x="185" y="0"/>
                      <a:pt x="185" y="0"/>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5" name="Freeform 243">
                <a:extLst>
                  <a:ext uri="{FF2B5EF4-FFF2-40B4-BE49-F238E27FC236}">
                    <a16:creationId xmlns:a16="http://schemas.microsoft.com/office/drawing/2014/main" id="{7F0AD120-5B36-45B5-9A07-D8FE6F71E095}"/>
                  </a:ext>
                </a:extLst>
              </p:cNvPr>
              <p:cNvSpPr>
                <a:spLocks/>
              </p:cNvSpPr>
              <p:nvPr/>
            </p:nvSpPr>
            <p:spPr bwMode="auto">
              <a:xfrm>
                <a:off x="7543432" y="5881445"/>
                <a:ext cx="11055" cy="7370"/>
              </a:xfrm>
              <a:custGeom>
                <a:avLst/>
                <a:gdLst>
                  <a:gd name="T0" fmla="*/ 4 w 4"/>
                  <a:gd name="T1" fmla="*/ 0 h 3"/>
                  <a:gd name="T2" fmla="*/ 0 w 4"/>
                  <a:gd name="T3" fmla="*/ 1 h 3"/>
                  <a:gd name="T4" fmla="*/ 4 w 4"/>
                  <a:gd name="T5" fmla="*/ 3 h 3"/>
                  <a:gd name="T6" fmla="*/ 4 w 4"/>
                  <a:gd name="T7" fmla="*/ 0 h 3"/>
                </a:gdLst>
                <a:ahLst/>
                <a:cxnLst>
                  <a:cxn ang="0">
                    <a:pos x="T0" y="T1"/>
                  </a:cxn>
                  <a:cxn ang="0">
                    <a:pos x="T2" y="T3"/>
                  </a:cxn>
                  <a:cxn ang="0">
                    <a:pos x="T4" y="T5"/>
                  </a:cxn>
                  <a:cxn ang="0">
                    <a:pos x="T6" y="T7"/>
                  </a:cxn>
                </a:cxnLst>
                <a:rect l="0" t="0" r="r" b="b"/>
                <a:pathLst>
                  <a:path w="4" h="3">
                    <a:moveTo>
                      <a:pt x="4" y="0"/>
                    </a:moveTo>
                    <a:cubicBezTo>
                      <a:pt x="0" y="1"/>
                      <a:pt x="0" y="1"/>
                      <a:pt x="0" y="1"/>
                    </a:cubicBezTo>
                    <a:cubicBezTo>
                      <a:pt x="1" y="2"/>
                      <a:pt x="3" y="2"/>
                      <a:pt x="4"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6" name="Freeform 244">
                <a:extLst>
                  <a:ext uri="{FF2B5EF4-FFF2-40B4-BE49-F238E27FC236}">
                    <a16:creationId xmlns:a16="http://schemas.microsoft.com/office/drawing/2014/main" id="{D8F44147-3FE8-4605-A6EE-805645D80349}"/>
                  </a:ext>
                </a:extLst>
              </p:cNvPr>
              <p:cNvSpPr>
                <a:spLocks/>
              </p:cNvSpPr>
              <p:nvPr/>
            </p:nvSpPr>
            <p:spPr bwMode="auto">
              <a:xfrm>
                <a:off x="7451304" y="5833539"/>
                <a:ext cx="110553" cy="324290"/>
              </a:xfrm>
              <a:custGeom>
                <a:avLst/>
                <a:gdLst>
                  <a:gd name="T0" fmla="*/ 35 w 35"/>
                  <a:gd name="T1" fmla="*/ 0 h 102"/>
                  <a:gd name="T2" fmla="*/ 31 w 35"/>
                  <a:gd name="T3" fmla="*/ 1 h 102"/>
                  <a:gd name="T4" fmla="*/ 29 w 35"/>
                  <a:gd name="T5" fmla="*/ 1 h 102"/>
                  <a:gd name="T6" fmla="*/ 22 w 35"/>
                  <a:gd name="T7" fmla="*/ 1 h 102"/>
                  <a:gd name="T8" fmla="*/ 22 w 35"/>
                  <a:gd name="T9" fmla="*/ 4 h 102"/>
                  <a:gd name="T10" fmla="*/ 19 w 35"/>
                  <a:gd name="T11" fmla="*/ 11 h 102"/>
                  <a:gd name="T12" fmla="*/ 6 w 35"/>
                  <a:gd name="T13" fmla="*/ 45 h 102"/>
                  <a:gd name="T14" fmla="*/ 5 w 35"/>
                  <a:gd name="T15" fmla="*/ 45 h 102"/>
                  <a:gd name="T16" fmla="*/ 0 w 35"/>
                  <a:gd name="T17" fmla="*/ 51 h 102"/>
                  <a:gd name="T18" fmla="*/ 1 w 35"/>
                  <a:gd name="T19" fmla="*/ 53 h 102"/>
                  <a:gd name="T20" fmla="*/ 0 w 35"/>
                  <a:gd name="T21" fmla="*/ 53 h 102"/>
                  <a:gd name="T22" fmla="*/ 1 w 35"/>
                  <a:gd name="T23" fmla="*/ 53 h 102"/>
                  <a:gd name="T24" fmla="*/ 2 w 35"/>
                  <a:gd name="T25" fmla="*/ 53 h 102"/>
                  <a:gd name="T26" fmla="*/ 2 w 35"/>
                  <a:gd name="T27" fmla="*/ 55 h 102"/>
                  <a:gd name="T28" fmla="*/ 2 w 35"/>
                  <a:gd name="T29" fmla="*/ 55 h 102"/>
                  <a:gd name="T30" fmla="*/ 17 w 35"/>
                  <a:gd name="T31" fmla="*/ 102 h 102"/>
                  <a:gd name="T32" fmla="*/ 22 w 35"/>
                  <a:gd name="T33" fmla="*/ 83 h 102"/>
                  <a:gd name="T34" fmla="*/ 24 w 35"/>
                  <a:gd name="T35" fmla="*/ 75 h 102"/>
                  <a:gd name="T36" fmla="*/ 26 w 35"/>
                  <a:gd name="T37" fmla="*/ 67 h 102"/>
                  <a:gd name="T38" fmla="*/ 27 w 35"/>
                  <a:gd name="T39" fmla="*/ 65 h 102"/>
                  <a:gd name="T40" fmla="*/ 28 w 35"/>
                  <a:gd name="T41" fmla="*/ 61 h 102"/>
                  <a:gd name="T42" fmla="*/ 29 w 35"/>
                  <a:gd name="T43" fmla="*/ 51 h 102"/>
                  <a:gd name="T44" fmla="*/ 29 w 35"/>
                  <a:gd name="T45" fmla="*/ 50 h 102"/>
                  <a:gd name="T46" fmla="*/ 26 w 35"/>
                  <a:gd name="T47" fmla="*/ 52 h 102"/>
                  <a:gd name="T48" fmla="*/ 25 w 35"/>
                  <a:gd name="T49" fmla="*/ 52 h 102"/>
                  <a:gd name="T50" fmla="*/ 24 w 35"/>
                  <a:gd name="T51" fmla="*/ 52 h 102"/>
                  <a:gd name="T52" fmla="*/ 24 w 35"/>
                  <a:gd name="T53" fmla="*/ 52 h 102"/>
                  <a:gd name="T54" fmla="*/ 22 w 35"/>
                  <a:gd name="T55" fmla="*/ 52 h 102"/>
                  <a:gd name="T56" fmla="*/ 21 w 35"/>
                  <a:gd name="T57" fmla="*/ 52 h 102"/>
                  <a:gd name="T58" fmla="*/ 21 w 35"/>
                  <a:gd name="T59" fmla="*/ 52 h 102"/>
                  <a:gd name="T60" fmla="*/ 18 w 35"/>
                  <a:gd name="T61" fmla="*/ 53 h 102"/>
                  <a:gd name="T62" fmla="*/ 25 w 35"/>
                  <a:gd name="T63" fmla="*/ 40 h 102"/>
                  <a:gd name="T64" fmla="*/ 26 w 35"/>
                  <a:gd name="T65" fmla="*/ 40 h 102"/>
                  <a:gd name="T66" fmla="*/ 19 w 35"/>
                  <a:gd name="T67" fmla="*/ 37 h 102"/>
                  <a:gd name="T68" fmla="*/ 21 w 35"/>
                  <a:gd name="T69" fmla="*/ 20 h 102"/>
                  <a:gd name="T70" fmla="*/ 25 w 35"/>
                  <a:gd name="T71" fmla="*/ 16 h 102"/>
                  <a:gd name="T72" fmla="*/ 26 w 35"/>
                  <a:gd name="T73" fmla="*/ 15 h 102"/>
                  <a:gd name="T74" fmla="*/ 26 w 35"/>
                  <a:gd name="T75" fmla="*/ 15 h 102"/>
                  <a:gd name="T76" fmla="*/ 35 w 35"/>
                  <a:gd name="T77" fmla="*/ 8 h 102"/>
                  <a:gd name="T78" fmla="*/ 35 w 35"/>
                  <a:gd name="T79" fmla="*/ 8 h 102"/>
                  <a:gd name="T80" fmla="*/ 35 w 35"/>
                  <a:gd name="T81" fmla="*/ 7 h 102"/>
                  <a:gd name="T82" fmla="*/ 34 w 35"/>
                  <a:gd name="T83" fmla="*/ 2 h 102"/>
                  <a:gd name="T84" fmla="*/ 35 w 35"/>
                  <a:gd name="T8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 h="102">
                    <a:moveTo>
                      <a:pt x="35" y="0"/>
                    </a:moveTo>
                    <a:cubicBezTo>
                      <a:pt x="34" y="0"/>
                      <a:pt x="32" y="1"/>
                      <a:pt x="31" y="1"/>
                    </a:cubicBezTo>
                    <a:cubicBezTo>
                      <a:pt x="30" y="1"/>
                      <a:pt x="30" y="1"/>
                      <a:pt x="29" y="1"/>
                    </a:cubicBezTo>
                    <a:cubicBezTo>
                      <a:pt x="22" y="1"/>
                      <a:pt x="22" y="1"/>
                      <a:pt x="22" y="1"/>
                    </a:cubicBezTo>
                    <a:cubicBezTo>
                      <a:pt x="22" y="2"/>
                      <a:pt x="22" y="3"/>
                      <a:pt x="22" y="4"/>
                    </a:cubicBezTo>
                    <a:cubicBezTo>
                      <a:pt x="22" y="6"/>
                      <a:pt x="20" y="9"/>
                      <a:pt x="19" y="11"/>
                    </a:cubicBezTo>
                    <a:cubicBezTo>
                      <a:pt x="15" y="23"/>
                      <a:pt x="12" y="34"/>
                      <a:pt x="6" y="45"/>
                    </a:cubicBezTo>
                    <a:cubicBezTo>
                      <a:pt x="5" y="45"/>
                      <a:pt x="5" y="45"/>
                      <a:pt x="5" y="45"/>
                    </a:cubicBezTo>
                    <a:cubicBezTo>
                      <a:pt x="4" y="47"/>
                      <a:pt x="1" y="49"/>
                      <a:pt x="0" y="51"/>
                    </a:cubicBezTo>
                    <a:cubicBezTo>
                      <a:pt x="1" y="53"/>
                      <a:pt x="1" y="53"/>
                      <a:pt x="1" y="53"/>
                    </a:cubicBezTo>
                    <a:cubicBezTo>
                      <a:pt x="0" y="53"/>
                      <a:pt x="0" y="53"/>
                      <a:pt x="0" y="53"/>
                    </a:cubicBezTo>
                    <a:cubicBezTo>
                      <a:pt x="1" y="53"/>
                      <a:pt x="1" y="53"/>
                      <a:pt x="1" y="53"/>
                    </a:cubicBezTo>
                    <a:cubicBezTo>
                      <a:pt x="2" y="53"/>
                      <a:pt x="2" y="53"/>
                      <a:pt x="2" y="53"/>
                    </a:cubicBezTo>
                    <a:cubicBezTo>
                      <a:pt x="2" y="55"/>
                      <a:pt x="2" y="55"/>
                      <a:pt x="2" y="55"/>
                    </a:cubicBezTo>
                    <a:cubicBezTo>
                      <a:pt x="2" y="55"/>
                      <a:pt x="2" y="55"/>
                      <a:pt x="2" y="55"/>
                    </a:cubicBezTo>
                    <a:cubicBezTo>
                      <a:pt x="17" y="102"/>
                      <a:pt x="17" y="102"/>
                      <a:pt x="17" y="102"/>
                    </a:cubicBezTo>
                    <a:cubicBezTo>
                      <a:pt x="19" y="95"/>
                      <a:pt x="20" y="89"/>
                      <a:pt x="22" y="83"/>
                    </a:cubicBezTo>
                    <a:cubicBezTo>
                      <a:pt x="24" y="75"/>
                      <a:pt x="24" y="75"/>
                      <a:pt x="24" y="75"/>
                    </a:cubicBezTo>
                    <a:cubicBezTo>
                      <a:pt x="24" y="73"/>
                      <a:pt x="25" y="70"/>
                      <a:pt x="26" y="67"/>
                    </a:cubicBezTo>
                    <a:cubicBezTo>
                      <a:pt x="27" y="65"/>
                      <a:pt x="27" y="65"/>
                      <a:pt x="27" y="65"/>
                    </a:cubicBezTo>
                    <a:cubicBezTo>
                      <a:pt x="27" y="64"/>
                      <a:pt x="27" y="62"/>
                      <a:pt x="28" y="61"/>
                    </a:cubicBezTo>
                    <a:cubicBezTo>
                      <a:pt x="28" y="58"/>
                      <a:pt x="29" y="55"/>
                      <a:pt x="29" y="51"/>
                    </a:cubicBezTo>
                    <a:cubicBezTo>
                      <a:pt x="29" y="50"/>
                      <a:pt x="29" y="50"/>
                      <a:pt x="29" y="50"/>
                    </a:cubicBezTo>
                    <a:cubicBezTo>
                      <a:pt x="28" y="51"/>
                      <a:pt x="27" y="51"/>
                      <a:pt x="26" y="52"/>
                    </a:cubicBezTo>
                    <a:cubicBezTo>
                      <a:pt x="25" y="52"/>
                      <a:pt x="25" y="52"/>
                      <a:pt x="25" y="52"/>
                    </a:cubicBezTo>
                    <a:cubicBezTo>
                      <a:pt x="24" y="52"/>
                      <a:pt x="24" y="52"/>
                      <a:pt x="24" y="52"/>
                    </a:cubicBezTo>
                    <a:cubicBezTo>
                      <a:pt x="24" y="52"/>
                      <a:pt x="24" y="52"/>
                      <a:pt x="24" y="52"/>
                    </a:cubicBezTo>
                    <a:cubicBezTo>
                      <a:pt x="23" y="52"/>
                      <a:pt x="22" y="52"/>
                      <a:pt x="22" y="52"/>
                    </a:cubicBezTo>
                    <a:cubicBezTo>
                      <a:pt x="22" y="52"/>
                      <a:pt x="21" y="52"/>
                      <a:pt x="21" y="52"/>
                    </a:cubicBezTo>
                    <a:cubicBezTo>
                      <a:pt x="21" y="52"/>
                      <a:pt x="21" y="52"/>
                      <a:pt x="21" y="52"/>
                    </a:cubicBezTo>
                    <a:cubicBezTo>
                      <a:pt x="20" y="52"/>
                      <a:pt x="19" y="53"/>
                      <a:pt x="18" y="53"/>
                    </a:cubicBezTo>
                    <a:cubicBezTo>
                      <a:pt x="18" y="49"/>
                      <a:pt x="20" y="40"/>
                      <a:pt x="25" y="40"/>
                    </a:cubicBezTo>
                    <a:cubicBezTo>
                      <a:pt x="25" y="40"/>
                      <a:pt x="26" y="40"/>
                      <a:pt x="26" y="40"/>
                    </a:cubicBezTo>
                    <a:cubicBezTo>
                      <a:pt x="24" y="38"/>
                      <a:pt x="22" y="37"/>
                      <a:pt x="19" y="37"/>
                    </a:cubicBezTo>
                    <a:cubicBezTo>
                      <a:pt x="20" y="32"/>
                      <a:pt x="19" y="25"/>
                      <a:pt x="21" y="20"/>
                    </a:cubicBezTo>
                    <a:cubicBezTo>
                      <a:pt x="22" y="18"/>
                      <a:pt x="24" y="17"/>
                      <a:pt x="25" y="16"/>
                    </a:cubicBezTo>
                    <a:cubicBezTo>
                      <a:pt x="25" y="16"/>
                      <a:pt x="26" y="15"/>
                      <a:pt x="26" y="15"/>
                    </a:cubicBezTo>
                    <a:cubicBezTo>
                      <a:pt x="26" y="15"/>
                      <a:pt x="26" y="15"/>
                      <a:pt x="26" y="15"/>
                    </a:cubicBezTo>
                    <a:cubicBezTo>
                      <a:pt x="35" y="8"/>
                      <a:pt x="35" y="8"/>
                      <a:pt x="35" y="8"/>
                    </a:cubicBezTo>
                    <a:cubicBezTo>
                      <a:pt x="35" y="8"/>
                      <a:pt x="35" y="8"/>
                      <a:pt x="35" y="8"/>
                    </a:cubicBezTo>
                    <a:cubicBezTo>
                      <a:pt x="35" y="7"/>
                      <a:pt x="35" y="7"/>
                      <a:pt x="35" y="7"/>
                    </a:cubicBezTo>
                    <a:cubicBezTo>
                      <a:pt x="35" y="6"/>
                      <a:pt x="34" y="4"/>
                      <a:pt x="34" y="2"/>
                    </a:cubicBezTo>
                    <a:cubicBezTo>
                      <a:pt x="35" y="1"/>
                      <a:pt x="35" y="1"/>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7" name="Rectangle 245">
                <a:extLst>
                  <a:ext uri="{FF2B5EF4-FFF2-40B4-BE49-F238E27FC236}">
                    <a16:creationId xmlns:a16="http://schemas.microsoft.com/office/drawing/2014/main" id="{7C9C47A8-A7C7-4FDB-BCCA-26BD1B60997E}"/>
                  </a:ext>
                </a:extLst>
              </p:cNvPr>
              <p:cNvSpPr>
                <a:spLocks noChangeArrowheads="1"/>
              </p:cNvSpPr>
              <p:nvPr/>
            </p:nvSpPr>
            <p:spPr bwMode="auto">
              <a:xfrm>
                <a:off x="8391008" y="5402380"/>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8" name="Freeform 246">
                <a:extLst>
                  <a:ext uri="{FF2B5EF4-FFF2-40B4-BE49-F238E27FC236}">
                    <a16:creationId xmlns:a16="http://schemas.microsoft.com/office/drawing/2014/main" id="{EFA3EDCD-A810-4763-BE3F-B6B3B8C6D900}"/>
                  </a:ext>
                </a:extLst>
              </p:cNvPr>
              <p:cNvSpPr>
                <a:spLocks/>
              </p:cNvSpPr>
              <p:nvPr/>
            </p:nvSpPr>
            <p:spPr bwMode="auto">
              <a:xfrm>
                <a:off x="8391008" y="540238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9" name="Freeform 247">
                <a:extLst>
                  <a:ext uri="{FF2B5EF4-FFF2-40B4-BE49-F238E27FC236}">
                    <a16:creationId xmlns:a16="http://schemas.microsoft.com/office/drawing/2014/main" id="{594E2C97-4C03-4352-B115-771C251C60F5}"/>
                  </a:ext>
                </a:extLst>
              </p:cNvPr>
              <p:cNvSpPr>
                <a:spLocks/>
              </p:cNvSpPr>
              <p:nvPr/>
            </p:nvSpPr>
            <p:spPr bwMode="auto">
              <a:xfrm>
                <a:off x="6706911" y="4893834"/>
                <a:ext cx="1680413" cy="641210"/>
              </a:xfrm>
              <a:custGeom>
                <a:avLst/>
                <a:gdLst>
                  <a:gd name="T0" fmla="*/ 233 w 529"/>
                  <a:gd name="T1" fmla="*/ 2 h 202"/>
                  <a:gd name="T2" fmla="*/ 167 w 529"/>
                  <a:gd name="T3" fmla="*/ 17 h 202"/>
                  <a:gd name="T4" fmla="*/ 119 w 529"/>
                  <a:gd name="T5" fmla="*/ 28 h 202"/>
                  <a:gd name="T6" fmla="*/ 87 w 529"/>
                  <a:gd name="T7" fmla="*/ 28 h 202"/>
                  <a:gd name="T8" fmla="*/ 108 w 529"/>
                  <a:gd name="T9" fmla="*/ 44 h 202"/>
                  <a:gd name="T10" fmla="*/ 72 w 529"/>
                  <a:gd name="T11" fmla="*/ 56 h 202"/>
                  <a:gd name="T12" fmla="*/ 44 w 529"/>
                  <a:gd name="T13" fmla="*/ 58 h 202"/>
                  <a:gd name="T14" fmla="*/ 15 w 529"/>
                  <a:gd name="T15" fmla="*/ 60 h 202"/>
                  <a:gd name="T16" fmla="*/ 2 w 529"/>
                  <a:gd name="T17" fmla="*/ 87 h 202"/>
                  <a:gd name="T18" fmla="*/ 21 w 529"/>
                  <a:gd name="T19" fmla="*/ 102 h 202"/>
                  <a:gd name="T20" fmla="*/ 23 w 529"/>
                  <a:gd name="T21" fmla="*/ 123 h 202"/>
                  <a:gd name="T22" fmla="*/ 11 w 529"/>
                  <a:gd name="T23" fmla="*/ 118 h 202"/>
                  <a:gd name="T24" fmla="*/ 7 w 529"/>
                  <a:gd name="T25" fmla="*/ 124 h 202"/>
                  <a:gd name="T26" fmla="*/ 16 w 529"/>
                  <a:gd name="T27" fmla="*/ 128 h 202"/>
                  <a:gd name="T28" fmla="*/ 44 w 529"/>
                  <a:gd name="T29" fmla="*/ 159 h 202"/>
                  <a:gd name="T30" fmla="*/ 36 w 529"/>
                  <a:gd name="T31" fmla="*/ 164 h 202"/>
                  <a:gd name="T32" fmla="*/ 48 w 529"/>
                  <a:gd name="T33" fmla="*/ 175 h 202"/>
                  <a:gd name="T34" fmla="*/ 54 w 529"/>
                  <a:gd name="T35" fmla="*/ 179 h 202"/>
                  <a:gd name="T36" fmla="*/ 54 w 529"/>
                  <a:gd name="T37" fmla="*/ 182 h 202"/>
                  <a:gd name="T38" fmla="*/ 79 w 529"/>
                  <a:gd name="T39" fmla="*/ 181 h 202"/>
                  <a:gd name="T40" fmla="*/ 114 w 529"/>
                  <a:gd name="T41" fmla="*/ 193 h 202"/>
                  <a:gd name="T42" fmla="*/ 129 w 529"/>
                  <a:gd name="T43" fmla="*/ 173 h 202"/>
                  <a:gd name="T44" fmla="*/ 188 w 529"/>
                  <a:gd name="T45" fmla="*/ 197 h 202"/>
                  <a:gd name="T46" fmla="*/ 228 w 529"/>
                  <a:gd name="T47" fmla="*/ 189 h 202"/>
                  <a:gd name="T48" fmla="*/ 264 w 529"/>
                  <a:gd name="T49" fmla="*/ 183 h 202"/>
                  <a:gd name="T50" fmla="*/ 282 w 529"/>
                  <a:gd name="T51" fmla="*/ 200 h 202"/>
                  <a:gd name="T52" fmla="*/ 289 w 529"/>
                  <a:gd name="T53" fmla="*/ 198 h 202"/>
                  <a:gd name="T54" fmla="*/ 293 w 529"/>
                  <a:gd name="T55" fmla="*/ 190 h 202"/>
                  <a:gd name="T56" fmla="*/ 313 w 529"/>
                  <a:gd name="T57" fmla="*/ 176 h 202"/>
                  <a:gd name="T58" fmla="*/ 340 w 529"/>
                  <a:gd name="T59" fmla="*/ 170 h 202"/>
                  <a:gd name="T60" fmla="*/ 359 w 529"/>
                  <a:gd name="T61" fmla="*/ 172 h 202"/>
                  <a:gd name="T62" fmla="*/ 380 w 529"/>
                  <a:gd name="T63" fmla="*/ 174 h 202"/>
                  <a:gd name="T64" fmla="*/ 403 w 529"/>
                  <a:gd name="T65" fmla="*/ 167 h 202"/>
                  <a:gd name="T66" fmla="*/ 426 w 529"/>
                  <a:gd name="T67" fmla="*/ 161 h 202"/>
                  <a:gd name="T68" fmla="*/ 481 w 529"/>
                  <a:gd name="T69" fmla="*/ 152 h 202"/>
                  <a:gd name="T70" fmla="*/ 485 w 529"/>
                  <a:gd name="T71" fmla="*/ 154 h 202"/>
                  <a:gd name="T72" fmla="*/ 509 w 529"/>
                  <a:gd name="T73" fmla="*/ 155 h 202"/>
                  <a:gd name="T74" fmla="*/ 521 w 529"/>
                  <a:gd name="T75" fmla="*/ 164 h 202"/>
                  <a:gd name="T76" fmla="*/ 529 w 529"/>
                  <a:gd name="T77" fmla="*/ 159 h 202"/>
                  <a:gd name="T78" fmla="*/ 525 w 529"/>
                  <a:gd name="T79" fmla="*/ 155 h 202"/>
                  <a:gd name="T80" fmla="*/ 524 w 529"/>
                  <a:gd name="T81" fmla="*/ 145 h 202"/>
                  <a:gd name="T82" fmla="*/ 518 w 529"/>
                  <a:gd name="T83" fmla="*/ 142 h 202"/>
                  <a:gd name="T84" fmla="*/ 515 w 529"/>
                  <a:gd name="T85" fmla="*/ 131 h 202"/>
                  <a:gd name="T86" fmla="*/ 514 w 529"/>
                  <a:gd name="T87" fmla="*/ 109 h 202"/>
                  <a:gd name="T88" fmla="*/ 511 w 529"/>
                  <a:gd name="T89" fmla="*/ 86 h 202"/>
                  <a:gd name="T90" fmla="*/ 514 w 529"/>
                  <a:gd name="T91" fmla="*/ 71 h 202"/>
                  <a:gd name="T92" fmla="*/ 499 w 529"/>
                  <a:gd name="T93" fmla="*/ 68 h 202"/>
                  <a:gd name="T94" fmla="*/ 494 w 529"/>
                  <a:gd name="T95" fmla="*/ 52 h 202"/>
                  <a:gd name="T96" fmla="*/ 497 w 529"/>
                  <a:gd name="T97" fmla="*/ 45 h 202"/>
                  <a:gd name="T98" fmla="*/ 496 w 529"/>
                  <a:gd name="T99" fmla="*/ 40 h 202"/>
                  <a:gd name="T100" fmla="*/ 482 w 529"/>
                  <a:gd name="T101" fmla="*/ 26 h 202"/>
                  <a:gd name="T102" fmla="*/ 477 w 529"/>
                  <a:gd name="T103" fmla="*/ 22 h 202"/>
                  <a:gd name="T104" fmla="*/ 470 w 529"/>
                  <a:gd name="T105" fmla="*/ 24 h 202"/>
                  <a:gd name="T106" fmla="*/ 449 w 529"/>
                  <a:gd name="T107" fmla="*/ 22 h 202"/>
                  <a:gd name="T108" fmla="*/ 439 w 529"/>
                  <a:gd name="T109" fmla="*/ 22 h 202"/>
                  <a:gd name="T110" fmla="*/ 399 w 529"/>
                  <a:gd name="T111" fmla="*/ 37 h 202"/>
                  <a:gd name="T112" fmla="*/ 393 w 529"/>
                  <a:gd name="T113" fmla="*/ 36 h 202"/>
                  <a:gd name="T114" fmla="*/ 374 w 529"/>
                  <a:gd name="T115" fmla="*/ 33 h 202"/>
                  <a:gd name="T116" fmla="*/ 328 w 529"/>
                  <a:gd name="T117" fmla="*/ 33 h 202"/>
                  <a:gd name="T118" fmla="*/ 287 w 529"/>
                  <a:gd name="T119" fmla="*/ 19 h 202"/>
                  <a:gd name="T120" fmla="*/ 258 w 529"/>
                  <a:gd name="T121" fmla="*/ 6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9" h="202">
                    <a:moveTo>
                      <a:pt x="257" y="0"/>
                    </a:moveTo>
                    <a:cubicBezTo>
                      <a:pt x="255" y="0"/>
                      <a:pt x="252" y="0"/>
                      <a:pt x="251" y="0"/>
                    </a:cubicBezTo>
                    <a:cubicBezTo>
                      <a:pt x="248" y="2"/>
                      <a:pt x="245" y="3"/>
                      <a:pt x="242" y="3"/>
                    </a:cubicBezTo>
                    <a:cubicBezTo>
                      <a:pt x="240" y="3"/>
                      <a:pt x="239" y="3"/>
                      <a:pt x="238" y="3"/>
                    </a:cubicBezTo>
                    <a:cubicBezTo>
                      <a:pt x="236" y="2"/>
                      <a:pt x="235" y="2"/>
                      <a:pt x="233" y="2"/>
                    </a:cubicBezTo>
                    <a:cubicBezTo>
                      <a:pt x="233" y="2"/>
                      <a:pt x="233" y="2"/>
                      <a:pt x="233" y="2"/>
                    </a:cubicBezTo>
                    <a:cubicBezTo>
                      <a:pt x="226" y="2"/>
                      <a:pt x="218" y="2"/>
                      <a:pt x="211" y="1"/>
                    </a:cubicBezTo>
                    <a:cubicBezTo>
                      <a:pt x="210" y="1"/>
                      <a:pt x="210" y="1"/>
                      <a:pt x="209" y="1"/>
                    </a:cubicBezTo>
                    <a:cubicBezTo>
                      <a:pt x="201" y="1"/>
                      <a:pt x="195" y="5"/>
                      <a:pt x="187" y="7"/>
                    </a:cubicBezTo>
                    <a:cubicBezTo>
                      <a:pt x="179" y="9"/>
                      <a:pt x="174" y="13"/>
                      <a:pt x="167" y="17"/>
                    </a:cubicBezTo>
                    <a:cubicBezTo>
                      <a:pt x="163" y="19"/>
                      <a:pt x="160" y="21"/>
                      <a:pt x="156" y="24"/>
                    </a:cubicBezTo>
                    <a:cubicBezTo>
                      <a:pt x="154" y="26"/>
                      <a:pt x="150" y="31"/>
                      <a:pt x="148" y="31"/>
                    </a:cubicBezTo>
                    <a:cubicBezTo>
                      <a:pt x="145" y="32"/>
                      <a:pt x="141" y="32"/>
                      <a:pt x="138" y="32"/>
                    </a:cubicBezTo>
                    <a:cubicBezTo>
                      <a:pt x="133" y="32"/>
                      <a:pt x="128" y="31"/>
                      <a:pt x="123" y="29"/>
                    </a:cubicBezTo>
                    <a:cubicBezTo>
                      <a:pt x="122" y="29"/>
                      <a:pt x="121" y="28"/>
                      <a:pt x="119" y="28"/>
                    </a:cubicBezTo>
                    <a:cubicBezTo>
                      <a:pt x="116" y="28"/>
                      <a:pt x="112" y="30"/>
                      <a:pt x="109" y="30"/>
                    </a:cubicBezTo>
                    <a:cubicBezTo>
                      <a:pt x="108" y="30"/>
                      <a:pt x="108" y="30"/>
                      <a:pt x="107" y="30"/>
                    </a:cubicBezTo>
                    <a:cubicBezTo>
                      <a:pt x="104" y="30"/>
                      <a:pt x="100" y="29"/>
                      <a:pt x="97" y="28"/>
                    </a:cubicBezTo>
                    <a:cubicBezTo>
                      <a:pt x="96" y="28"/>
                      <a:pt x="92" y="27"/>
                      <a:pt x="90" y="27"/>
                    </a:cubicBezTo>
                    <a:cubicBezTo>
                      <a:pt x="89" y="27"/>
                      <a:pt x="87" y="27"/>
                      <a:pt x="87" y="28"/>
                    </a:cubicBezTo>
                    <a:cubicBezTo>
                      <a:pt x="87" y="28"/>
                      <a:pt x="87" y="28"/>
                      <a:pt x="87" y="28"/>
                    </a:cubicBezTo>
                    <a:cubicBezTo>
                      <a:pt x="89" y="30"/>
                      <a:pt x="90" y="32"/>
                      <a:pt x="90" y="34"/>
                    </a:cubicBezTo>
                    <a:cubicBezTo>
                      <a:pt x="90" y="36"/>
                      <a:pt x="90" y="37"/>
                      <a:pt x="89" y="38"/>
                    </a:cubicBezTo>
                    <a:cubicBezTo>
                      <a:pt x="92" y="40"/>
                      <a:pt x="94" y="42"/>
                      <a:pt x="98" y="43"/>
                    </a:cubicBezTo>
                    <a:cubicBezTo>
                      <a:pt x="101" y="44"/>
                      <a:pt x="105" y="43"/>
                      <a:pt x="108" y="44"/>
                    </a:cubicBezTo>
                    <a:cubicBezTo>
                      <a:pt x="102" y="45"/>
                      <a:pt x="95" y="45"/>
                      <a:pt x="89" y="47"/>
                    </a:cubicBezTo>
                    <a:cubicBezTo>
                      <a:pt x="85" y="47"/>
                      <a:pt x="79" y="48"/>
                      <a:pt x="77" y="51"/>
                    </a:cubicBezTo>
                    <a:cubicBezTo>
                      <a:pt x="80" y="52"/>
                      <a:pt x="85" y="51"/>
                      <a:pt x="87" y="54"/>
                    </a:cubicBezTo>
                    <a:cubicBezTo>
                      <a:pt x="85" y="56"/>
                      <a:pt x="82" y="57"/>
                      <a:pt x="79" y="57"/>
                    </a:cubicBezTo>
                    <a:cubicBezTo>
                      <a:pt x="77" y="57"/>
                      <a:pt x="74" y="56"/>
                      <a:pt x="72" y="56"/>
                    </a:cubicBezTo>
                    <a:cubicBezTo>
                      <a:pt x="67" y="56"/>
                      <a:pt x="63" y="56"/>
                      <a:pt x="59" y="56"/>
                    </a:cubicBezTo>
                    <a:cubicBezTo>
                      <a:pt x="57" y="56"/>
                      <a:pt x="55" y="56"/>
                      <a:pt x="52" y="56"/>
                    </a:cubicBezTo>
                    <a:cubicBezTo>
                      <a:pt x="54" y="50"/>
                      <a:pt x="52" y="52"/>
                      <a:pt x="48" y="51"/>
                    </a:cubicBezTo>
                    <a:cubicBezTo>
                      <a:pt x="48" y="53"/>
                      <a:pt x="50" y="54"/>
                      <a:pt x="52" y="56"/>
                    </a:cubicBezTo>
                    <a:cubicBezTo>
                      <a:pt x="49" y="57"/>
                      <a:pt x="46" y="57"/>
                      <a:pt x="44" y="58"/>
                    </a:cubicBezTo>
                    <a:cubicBezTo>
                      <a:pt x="43" y="58"/>
                      <a:pt x="43" y="58"/>
                      <a:pt x="42" y="58"/>
                    </a:cubicBezTo>
                    <a:cubicBezTo>
                      <a:pt x="40" y="58"/>
                      <a:pt x="39" y="57"/>
                      <a:pt x="37" y="55"/>
                    </a:cubicBezTo>
                    <a:cubicBezTo>
                      <a:pt x="36" y="54"/>
                      <a:pt x="35" y="53"/>
                      <a:pt x="34" y="53"/>
                    </a:cubicBezTo>
                    <a:cubicBezTo>
                      <a:pt x="34" y="53"/>
                      <a:pt x="33" y="53"/>
                      <a:pt x="33" y="53"/>
                    </a:cubicBezTo>
                    <a:cubicBezTo>
                      <a:pt x="27" y="56"/>
                      <a:pt x="21" y="58"/>
                      <a:pt x="15" y="60"/>
                    </a:cubicBezTo>
                    <a:cubicBezTo>
                      <a:pt x="10" y="62"/>
                      <a:pt x="4" y="67"/>
                      <a:pt x="2" y="71"/>
                    </a:cubicBezTo>
                    <a:cubicBezTo>
                      <a:pt x="2" y="74"/>
                      <a:pt x="3" y="78"/>
                      <a:pt x="3" y="81"/>
                    </a:cubicBezTo>
                    <a:cubicBezTo>
                      <a:pt x="3" y="82"/>
                      <a:pt x="1" y="83"/>
                      <a:pt x="1" y="85"/>
                    </a:cubicBezTo>
                    <a:cubicBezTo>
                      <a:pt x="1" y="85"/>
                      <a:pt x="0" y="86"/>
                      <a:pt x="0" y="86"/>
                    </a:cubicBezTo>
                    <a:cubicBezTo>
                      <a:pt x="0" y="87"/>
                      <a:pt x="1" y="87"/>
                      <a:pt x="2" y="87"/>
                    </a:cubicBezTo>
                    <a:cubicBezTo>
                      <a:pt x="4" y="87"/>
                      <a:pt x="8" y="86"/>
                      <a:pt x="9" y="85"/>
                    </a:cubicBezTo>
                    <a:cubicBezTo>
                      <a:pt x="14" y="84"/>
                      <a:pt x="19" y="84"/>
                      <a:pt x="25" y="84"/>
                    </a:cubicBezTo>
                    <a:cubicBezTo>
                      <a:pt x="22" y="87"/>
                      <a:pt x="20" y="90"/>
                      <a:pt x="17" y="92"/>
                    </a:cubicBezTo>
                    <a:cubicBezTo>
                      <a:pt x="18" y="94"/>
                      <a:pt x="20" y="95"/>
                      <a:pt x="20" y="97"/>
                    </a:cubicBezTo>
                    <a:cubicBezTo>
                      <a:pt x="20" y="98"/>
                      <a:pt x="20" y="101"/>
                      <a:pt x="21" y="102"/>
                    </a:cubicBezTo>
                    <a:cubicBezTo>
                      <a:pt x="22" y="104"/>
                      <a:pt x="25" y="104"/>
                      <a:pt x="28" y="105"/>
                    </a:cubicBezTo>
                    <a:cubicBezTo>
                      <a:pt x="26" y="108"/>
                      <a:pt x="25" y="110"/>
                      <a:pt x="21" y="111"/>
                    </a:cubicBezTo>
                    <a:cubicBezTo>
                      <a:pt x="21" y="111"/>
                      <a:pt x="19" y="111"/>
                      <a:pt x="19" y="111"/>
                    </a:cubicBezTo>
                    <a:cubicBezTo>
                      <a:pt x="20" y="117"/>
                      <a:pt x="25" y="120"/>
                      <a:pt x="30" y="122"/>
                    </a:cubicBezTo>
                    <a:cubicBezTo>
                      <a:pt x="27" y="122"/>
                      <a:pt x="25" y="123"/>
                      <a:pt x="23" y="123"/>
                    </a:cubicBezTo>
                    <a:cubicBezTo>
                      <a:pt x="21" y="123"/>
                      <a:pt x="19" y="122"/>
                      <a:pt x="17" y="121"/>
                    </a:cubicBezTo>
                    <a:cubicBezTo>
                      <a:pt x="15" y="120"/>
                      <a:pt x="15" y="118"/>
                      <a:pt x="15" y="117"/>
                    </a:cubicBezTo>
                    <a:cubicBezTo>
                      <a:pt x="14" y="116"/>
                      <a:pt x="14" y="115"/>
                      <a:pt x="13" y="114"/>
                    </a:cubicBezTo>
                    <a:cubicBezTo>
                      <a:pt x="12" y="114"/>
                      <a:pt x="12" y="113"/>
                      <a:pt x="11" y="113"/>
                    </a:cubicBezTo>
                    <a:cubicBezTo>
                      <a:pt x="10" y="113"/>
                      <a:pt x="11" y="115"/>
                      <a:pt x="11" y="118"/>
                    </a:cubicBezTo>
                    <a:cubicBezTo>
                      <a:pt x="11" y="119"/>
                      <a:pt x="12" y="123"/>
                      <a:pt x="11" y="124"/>
                    </a:cubicBezTo>
                    <a:cubicBezTo>
                      <a:pt x="10" y="124"/>
                      <a:pt x="10" y="124"/>
                      <a:pt x="9" y="124"/>
                    </a:cubicBezTo>
                    <a:cubicBezTo>
                      <a:pt x="9" y="124"/>
                      <a:pt x="9" y="124"/>
                      <a:pt x="9" y="124"/>
                    </a:cubicBezTo>
                    <a:cubicBezTo>
                      <a:pt x="9" y="124"/>
                      <a:pt x="9" y="124"/>
                      <a:pt x="9" y="124"/>
                    </a:cubicBezTo>
                    <a:cubicBezTo>
                      <a:pt x="8" y="124"/>
                      <a:pt x="8" y="124"/>
                      <a:pt x="7" y="124"/>
                    </a:cubicBezTo>
                    <a:cubicBezTo>
                      <a:pt x="6" y="123"/>
                      <a:pt x="6" y="123"/>
                      <a:pt x="6" y="123"/>
                    </a:cubicBezTo>
                    <a:cubicBezTo>
                      <a:pt x="7" y="125"/>
                      <a:pt x="6" y="126"/>
                      <a:pt x="5" y="126"/>
                    </a:cubicBezTo>
                    <a:cubicBezTo>
                      <a:pt x="8" y="128"/>
                      <a:pt x="11" y="129"/>
                      <a:pt x="15" y="129"/>
                    </a:cubicBezTo>
                    <a:cubicBezTo>
                      <a:pt x="15" y="129"/>
                      <a:pt x="16" y="129"/>
                      <a:pt x="16" y="128"/>
                    </a:cubicBezTo>
                    <a:cubicBezTo>
                      <a:pt x="16" y="128"/>
                      <a:pt x="16" y="128"/>
                      <a:pt x="16" y="128"/>
                    </a:cubicBezTo>
                    <a:cubicBezTo>
                      <a:pt x="21" y="128"/>
                      <a:pt x="25" y="133"/>
                      <a:pt x="29" y="134"/>
                    </a:cubicBezTo>
                    <a:cubicBezTo>
                      <a:pt x="32" y="135"/>
                      <a:pt x="37" y="140"/>
                      <a:pt x="33" y="144"/>
                    </a:cubicBezTo>
                    <a:cubicBezTo>
                      <a:pt x="32" y="146"/>
                      <a:pt x="28" y="146"/>
                      <a:pt x="27" y="146"/>
                    </a:cubicBezTo>
                    <a:cubicBezTo>
                      <a:pt x="31" y="149"/>
                      <a:pt x="35" y="151"/>
                      <a:pt x="32" y="156"/>
                    </a:cubicBezTo>
                    <a:cubicBezTo>
                      <a:pt x="35" y="157"/>
                      <a:pt x="42" y="156"/>
                      <a:pt x="44" y="159"/>
                    </a:cubicBezTo>
                    <a:cubicBezTo>
                      <a:pt x="45" y="161"/>
                      <a:pt x="43" y="165"/>
                      <a:pt x="40" y="165"/>
                    </a:cubicBezTo>
                    <a:cubicBezTo>
                      <a:pt x="40" y="165"/>
                      <a:pt x="40" y="165"/>
                      <a:pt x="40" y="165"/>
                    </a:cubicBezTo>
                    <a:cubicBezTo>
                      <a:pt x="39" y="165"/>
                      <a:pt x="38" y="165"/>
                      <a:pt x="38" y="165"/>
                    </a:cubicBezTo>
                    <a:cubicBezTo>
                      <a:pt x="37" y="164"/>
                      <a:pt x="37" y="164"/>
                      <a:pt x="36" y="164"/>
                    </a:cubicBezTo>
                    <a:cubicBezTo>
                      <a:pt x="36" y="164"/>
                      <a:pt x="36" y="164"/>
                      <a:pt x="36" y="164"/>
                    </a:cubicBezTo>
                    <a:cubicBezTo>
                      <a:pt x="34" y="165"/>
                      <a:pt x="33" y="166"/>
                      <a:pt x="34" y="169"/>
                    </a:cubicBezTo>
                    <a:cubicBezTo>
                      <a:pt x="34" y="169"/>
                      <a:pt x="35" y="169"/>
                      <a:pt x="35" y="169"/>
                    </a:cubicBezTo>
                    <a:cubicBezTo>
                      <a:pt x="45" y="169"/>
                      <a:pt x="54" y="167"/>
                      <a:pt x="64" y="166"/>
                    </a:cubicBezTo>
                    <a:cubicBezTo>
                      <a:pt x="60" y="170"/>
                      <a:pt x="58" y="174"/>
                      <a:pt x="52" y="174"/>
                    </a:cubicBezTo>
                    <a:cubicBezTo>
                      <a:pt x="51" y="174"/>
                      <a:pt x="49" y="175"/>
                      <a:pt x="48" y="175"/>
                    </a:cubicBezTo>
                    <a:cubicBezTo>
                      <a:pt x="46" y="175"/>
                      <a:pt x="45" y="176"/>
                      <a:pt x="43" y="176"/>
                    </a:cubicBezTo>
                    <a:cubicBezTo>
                      <a:pt x="41" y="176"/>
                      <a:pt x="39" y="177"/>
                      <a:pt x="37" y="178"/>
                    </a:cubicBezTo>
                    <a:cubicBezTo>
                      <a:pt x="37" y="178"/>
                      <a:pt x="38" y="179"/>
                      <a:pt x="39" y="179"/>
                    </a:cubicBezTo>
                    <a:cubicBezTo>
                      <a:pt x="45" y="179"/>
                      <a:pt x="56" y="175"/>
                      <a:pt x="58" y="174"/>
                    </a:cubicBezTo>
                    <a:cubicBezTo>
                      <a:pt x="57" y="176"/>
                      <a:pt x="55" y="177"/>
                      <a:pt x="54" y="179"/>
                    </a:cubicBezTo>
                    <a:cubicBezTo>
                      <a:pt x="55" y="178"/>
                      <a:pt x="55" y="178"/>
                      <a:pt x="55" y="178"/>
                    </a:cubicBezTo>
                    <a:cubicBezTo>
                      <a:pt x="56" y="178"/>
                      <a:pt x="56" y="179"/>
                      <a:pt x="56" y="180"/>
                    </a:cubicBezTo>
                    <a:cubicBezTo>
                      <a:pt x="57" y="180"/>
                      <a:pt x="57" y="180"/>
                      <a:pt x="57" y="180"/>
                    </a:cubicBezTo>
                    <a:cubicBezTo>
                      <a:pt x="57" y="181"/>
                      <a:pt x="54" y="181"/>
                      <a:pt x="54" y="182"/>
                    </a:cubicBezTo>
                    <a:cubicBezTo>
                      <a:pt x="54" y="182"/>
                      <a:pt x="54" y="182"/>
                      <a:pt x="54" y="182"/>
                    </a:cubicBezTo>
                    <a:cubicBezTo>
                      <a:pt x="55" y="182"/>
                      <a:pt x="62" y="176"/>
                      <a:pt x="62" y="176"/>
                    </a:cubicBezTo>
                    <a:cubicBezTo>
                      <a:pt x="65" y="174"/>
                      <a:pt x="66" y="173"/>
                      <a:pt x="67" y="173"/>
                    </a:cubicBezTo>
                    <a:cubicBezTo>
                      <a:pt x="68" y="173"/>
                      <a:pt x="69" y="174"/>
                      <a:pt x="71" y="174"/>
                    </a:cubicBezTo>
                    <a:cubicBezTo>
                      <a:pt x="74" y="175"/>
                      <a:pt x="71" y="178"/>
                      <a:pt x="75" y="178"/>
                    </a:cubicBezTo>
                    <a:cubicBezTo>
                      <a:pt x="78" y="178"/>
                      <a:pt x="79" y="181"/>
                      <a:pt x="79" y="181"/>
                    </a:cubicBezTo>
                    <a:cubicBezTo>
                      <a:pt x="80" y="181"/>
                      <a:pt x="80" y="180"/>
                      <a:pt x="81" y="176"/>
                    </a:cubicBezTo>
                    <a:cubicBezTo>
                      <a:pt x="84" y="180"/>
                      <a:pt x="88" y="190"/>
                      <a:pt x="92" y="191"/>
                    </a:cubicBezTo>
                    <a:cubicBezTo>
                      <a:pt x="96" y="193"/>
                      <a:pt x="101" y="194"/>
                      <a:pt x="105" y="195"/>
                    </a:cubicBezTo>
                    <a:cubicBezTo>
                      <a:pt x="105" y="196"/>
                      <a:pt x="105" y="196"/>
                      <a:pt x="106" y="196"/>
                    </a:cubicBezTo>
                    <a:cubicBezTo>
                      <a:pt x="108" y="196"/>
                      <a:pt x="112" y="193"/>
                      <a:pt x="114" y="193"/>
                    </a:cubicBezTo>
                    <a:cubicBezTo>
                      <a:pt x="115" y="192"/>
                      <a:pt x="117" y="191"/>
                      <a:pt x="118" y="191"/>
                    </a:cubicBezTo>
                    <a:cubicBezTo>
                      <a:pt x="120" y="191"/>
                      <a:pt x="121" y="193"/>
                      <a:pt x="122" y="193"/>
                    </a:cubicBezTo>
                    <a:cubicBezTo>
                      <a:pt x="122" y="193"/>
                      <a:pt x="122" y="193"/>
                      <a:pt x="122" y="193"/>
                    </a:cubicBezTo>
                    <a:cubicBezTo>
                      <a:pt x="124" y="193"/>
                      <a:pt x="126" y="192"/>
                      <a:pt x="126" y="190"/>
                    </a:cubicBezTo>
                    <a:cubicBezTo>
                      <a:pt x="127" y="186"/>
                      <a:pt x="126" y="176"/>
                      <a:pt x="129" y="173"/>
                    </a:cubicBezTo>
                    <a:cubicBezTo>
                      <a:pt x="130" y="172"/>
                      <a:pt x="131" y="172"/>
                      <a:pt x="132" y="172"/>
                    </a:cubicBezTo>
                    <a:cubicBezTo>
                      <a:pt x="133" y="172"/>
                      <a:pt x="134" y="172"/>
                      <a:pt x="135" y="172"/>
                    </a:cubicBezTo>
                    <a:cubicBezTo>
                      <a:pt x="142" y="173"/>
                      <a:pt x="148" y="175"/>
                      <a:pt x="155" y="178"/>
                    </a:cubicBezTo>
                    <a:cubicBezTo>
                      <a:pt x="162" y="180"/>
                      <a:pt x="167" y="185"/>
                      <a:pt x="174" y="189"/>
                    </a:cubicBezTo>
                    <a:cubicBezTo>
                      <a:pt x="178" y="192"/>
                      <a:pt x="182" y="197"/>
                      <a:pt x="188" y="197"/>
                    </a:cubicBezTo>
                    <a:cubicBezTo>
                      <a:pt x="188" y="197"/>
                      <a:pt x="188" y="197"/>
                      <a:pt x="188" y="197"/>
                    </a:cubicBezTo>
                    <a:cubicBezTo>
                      <a:pt x="196" y="197"/>
                      <a:pt x="203" y="195"/>
                      <a:pt x="211" y="195"/>
                    </a:cubicBezTo>
                    <a:cubicBezTo>
                      <a:pt x="211" y="195"/>
                      <a:pt x="211" y="195"/>
                      <a:pt x="211" y="195"/>
                    </a:cubicBezTo>
                    <a:cubicBezTo>
                      <a:pt x="211" y="195"/>
                      <a:pt x="212" y="195"/>
                      <a:pt x="212" y="195"/>
                    </a:cubicBezTo>
                    <a:cubicBezTo>
                      <a:pt x="219" y="195"/>
                      <a:pt x="223" y="195"/>
                      <a:pt x="228" y="189"/>
                    </a:cubicBezTo>
                    <a:cubicBezTo>
                      <a:pt x="233" y="181"/>
                      <a:pt x="239" y="178"/>
                      <a:pt x="248" y="175"/>
                    </a:cubicBezTo>
                    <a:cubicBezTo>
                      <a:pt x="248" y="175"/>
                      <a:pt x="258" y="180"/>
                      <a:pt x="258" y="180"/>
                    </a:cubicBezTo>
                    <a:cubicBezTo>
                      <a:pt x="259" y="180"/>
                      <a:pt x="260" y="181"/>
                      <a:pt x="261" y="181"/>
                    </a:cubicBezTo>
                    <a:cubicBezTo>
                      <a:pt x="261" y="181"/>
                      <a:pt x="263" y="183"/>
                      <a:pt x="263" y="183"/>
                    </a:cubicBezTo>
                    <a:cubicBezTo>
                      <a:pt x="263" y="183"/>
                      <a:pt x="264" y="183"/>
                      <a:pt x="264" y="183"/>
                    </a:cubicBezTo>
                    <a:cubicBezTo>
                      <a:pt x="267" y="183"/>
                      <a:pt x="270" y="180"/>
                      <a:pt x="273" y="177"/>
                    </a:cubicBezTo>
                    <a:cubicBezTo>
                      <a:pt x="275" y="175"/>
                      <a:pt x="278" y="172"/>
                      <a:pt x="281" y="172"/>
                    </a:cubicBezTo>
                    <a:cubicBezTo>
                      <a:pt x="281" y="172"/>
                      <a:pt x="281" y="172"/>
                      <a:pt x="281" y="172"/>
                    </a:cubicBezTo>
                    <a:cubicBezTo>
                      <a:pt x="295" y="172"/>
                      <a:pt x="282" y="185"/>
                      <a:pt x="278" y="190"/>
                    </a:cubicBezTo>
                    <a:cubicBezTo>
                      <a:pt x="276" y="194"/>
                      <a:pt x="281" y="196"/>
                      <a:pt x="282" y="200"/>
                    </a:cubicBezTo>
                    <a:cubicBezTo>
                      <a:pt x="281" y="200"/>
                      <a:pt x="281" y="200"/>
                      <a:pt x="281" y="200"/>
                    </a:cubicBezTo>
                    <a:cubicBezTo>
                      <a:pt x="283" y="201"/>
                      <a:pt x="284" y="201"/>
                      <a:pt x="285" y="202"/>
                    </a:cubicBezTo>
                    <a:cubicBezTo>
                      <a:pt x="285" y="201"/>
                      <a:pt x="286" y="200"/>
                      <a:pt x="287" y="199"/>
                    </a:cubicBezTo>
                    <a:cubicBezTo>
                      <a:pt x="287" y="199"/>
                      <a:pt x="287" y="199"/>
                      <a:pt x="287" y="199"/>
                    </a:cubicBezTo>
                    <a:cubicBezTo>
                      <a:pt x="288" y="198"/>
                      <a:pt x="288" y="198"/>
                      <a:pt x="289" y="198"/>
                    </a:cubicBezTo>
                    <a:cubicBezTo>
                      <a:pt x="290" y="197"/>
                      <a:pt x="290" y="197"/>
                      <a:pt x="290" y="197"/>
                    </a:cubicBezTo>
                    <a:cubicBezTo>
                      <a:pt x="290" y="196"/>
                      <a:pt x="290" y="196"/>
                      <a:pt x="290" y="196"/>
                    </a:cubicBezTo>
                    <a:cubicBezTo>
                      <a:pt x="290" y="195"/>
                      <a:pt x="290" y="195"/>
                      <a:pt x="291" y="194"/>
                    </a:cubicBezTo>
                    <a:cubicBezTo>
                      <a:pt x="291" y="193"/>
                      <a:pt x="291" y="193"/>
                      <a:pt x="292" y="192"/>
                    </a:cubicBezTo>
                    <a:cubicBezTo>
                      <a:pt x="292" y="192"/>
                      <a:pt x="293" y="191"/>
                      <a:pt x="293" y="190"/>
                    </a:cubicBezTo>
                    <a:cubicBezTo>
                      <a:pt x="294" y="190"/>
                      <a:pt x="295" y="190"/>
                      <a:pt x="295" y="189"/>
                    </a:cubicBezTo>
                    <a:cubicBezTo>
                      <a:pt x="295" y="188"/>
                      <a:pt x="295" y="187"/>
                      <a:pt x="295" y="185"/>
                    </a:cubicBezTo>
                    <a:cubicBezTo>
                      <a:pt x="295" y="181"/>
                      <a:pt x="296" y="177"/>
                      <a:pt x="297" y="174"/>
                    </a:cubicBezTo>
                    <a:cubicBezTo>
                      <a:pt x="299" y="168"/>
                      <a:pt x="299" y="168"/>
                      <a:pt x="299" y="168"/>
                    </a:cubicBezTo>
                    <a:cubicBezTo>
                      <a:pt x="313" y="176"/>
                      <a:pt x="313" y="176"/>
                      <a:pt x="313" y="176"/>
                    </a:cubicBezTo>
                    <a:cubicBezTo>
                      <a:pt x="313" y="176"/>
                      <a:pt x="314" y="176"/>
                      <a:pt x="314" y="176"/>
                    </a:cubicBezTo>
                    <a:cubicBezTo>
                      <a:pt x="315" y="176"/>
                      <a:pt x="317" y="176"/>
                      <a:pt x="318" y="176"/>
                    </a:cubicBezTo>
                    <a:cubicBezTo>
                      <a:pt x="320" y="176"/>
                      <a:pt x="320" y="176"/>
                      <a:pt x="320" y="176"/>
                    </a:cubicBezTo>
                    <a:cubicBezTo>
                      <a:pt x="325" y="175"/>
                      <a:pt x="331" y="173"/>
                      <a:pt x="338" y="170"/>
                    </a:cubicBezTo>
                    <a:cubicBezTo>
                      <a:pt x="340" y="170"/>
                      <a:pt x="340" y="170"/>
                      <a:pt x="340" y="170"/>
                    </a:cubicBezTo>
                    <a:cubicBezTo>
                      <a:pt x="342" y="169"/>
                      <a:pt x="344" y="168"/>
                      <a:pt x="345" y="168"/>
                    </a:cubicBezTo>
                    <a:cubicBezTo>
                      <a:pt x="347" y="168"/>
                      <a:pt x="348" y="168"/>
                      <a:pt x="350" y="169"/>
                    </a:cubicBezTo>
                    <a:cubicBezTo>
                      <a:pt x="355" y="170"/>
                      <a:pt x="355" y="170"/>
                      <a:pt x="355" y="170"/>
                    </a:cubicBezTo>
                    <a:cubicBezTo>
                      <a:pt x="357" y="170"/>
                      <a:pt x="358" y="171"/>
                      <a:pt x="359" y="172"/>
                    </a:cubicBezTo>
                    <a:cubicBezTo>
                      <a:pt x="359" y="172"/>
                      <a:pt x="359" y="172"/>
                      <a:pt x="359" y="172"/>
                    </a:cubicBezTo>
                    <a:cubicBezTo>
                      <a:pt x="359" y="172"/>
                      <a:pt x="359" y="172"/>
                      <a:pt x="359" y="172"/>
                    </a:cubicBezTo>
                    <a:cubicBezTo>
                      <a:pt x="360" y="173"/>
                      <a:pt x="360" y="173"/>
                      <a:pt x="360" y="173"/>
                    </a:cubicBezTo>
                    <a:cubicBezTo>
                      <a:pt x="366" y="174"/>
                      <a:pt x="371" y="174"/>
                      <a:pt x="376" y="174"/>
                    </a:cubicBezTo>
                    <a:cubicBezTo>
                      <a:pt x="377" y="174"/>
                      <a:pt x="378" y="174"/>
                      <a:pt x="379" y="174"/>
                    </a:cubicBezTo>
                    <a:cubicBezTo>
                      <a:pt x="380" y="174"/>
                      <a:pt x="380" y="174"/>
                      <a:pt x="380" y="174"/>
                    </a:cubicBezTo>
                    <a:cubicBezTo>
                      <a:pt x="380" y="176"/>
                      <a:pt x="380" y="176"/>
                      <a:pt x="380" y="176"/>
                    </a:cubicBezTo>
                    <a:cubicBezTo>
                      <a:pt x="380" y="174"/>
                      <a:pt x="380" y="174"/>
                      <a:pt x="380" y="174"/>
                    </a:cubicBezTo>
                    <a:cubicBezTo>
                      <a:pt x="385" y="173"/>
                      <a:pt x="391" y="171"/>
                      <a:pt x="396" y="169"/>
                    </a:cubicBezTo>
                    <a:cubicBezTo>
                      <a:pt x="401" y="168"/>
                      <a:pt x="401" y="168"/>
                      <a:pt x="401" y="168"/>
                    </a:cubicBezTo>
                    <a:cubicBezTo>
                      <a:pt x="402" y="167"/>
                      <a:pt x="403" y="167"/>
                      <a:pt x="403" y="167"/>
                    </a:cubicBezTo>
                    <a:cubicBezTo>
                      <a:pt x="405" y="166"/>
                      <a:pt x="406" y="166"/>
                      <a:pt x="407" y="165"/>
                    </a:cubicBezTo>
                    <a:cubicBezTo>
                      <a:pt x="408" y="165"/>
                      <a:pt x="408" y="165"/>
                      <a:pt x="408" y="165"/>
                    </a:cubicBezTo>
                    <a:cubicBezTo>
                      <a:pt x="411" y="163"/>
                      <a:pt x="416" y="161"/>
                      <a:pt x="420" y="161"/>
                    </a:cubicBezTo>
                    <a:cubicBezTo>
                      <a:pt x="420" y="161"/>
                      <a:pt x="421" y="161"/>
                      <a:pt x="421" y="161"/>
                    </a:cubicBezTo>
                    <a:cubicBezTo>
                      <a:pt x="423" y="161"/>
                      <a:pt x="424" y="161"/>
                      <a:pt x="426" y="161"/>
                    </a:cubicBezTo>
                    <a:cubicBezTo>
                      <a:pt x="435" y="161"/>
                      <a:pt x="443" y="160"/>
                      <a:pt x="451" y="159"/>
                    </a:cubicBezTo>
                    <a:cubicBezTo>
                      <a:pt x="454" y="158"/>
                      <a:pt x="457" y="157"/>
                      <a:pt x="461" y="156"/>
                    </a:cubicBezTo>
                    <a:cubicBezTo>
                      <a:pt x="464" y="155"/>
                      <a:pt x="464" y="155"/>
                      <a:pt x="464" y="155"/>
                    </a:cubicBezTo>
                    <a:cubicBezTo>
                      <a:pt x="465" y="158"/>
                      <a:pt x="465" y="158"/>
                      <a:pt x="465" y="158"/>
                    </a:cubicBezTo>
                    <a:cubicBezTo>
                      <a:pt x="470" y="155"/>
                      <a:pt x="474" y="152"/>
                      <a:pt x="481" y="152"/>
                    </a:cubicBezTo>
                    <a:cubicBezTo>
                      <a:pt x="483" y="152"/>
                      <a:pt x="483" y="152"/>
                      <a:pt x="483" y="152"/>
                    </a:cubicBezTo>
                    <a:cubicBezTo>
                      <a:pt x="483" y="152"/>
                      <a:pt x="484" y="152"/>
                      <a:pt x="484" y="152"/>
                    </a:cubicBezTo>
                    <a:cubicBezTo>
                      <a:pt x="484" y="152"/>
                      <a:pt x="484" y="152"/>
                      <a:pt x="485" y="152"/>
                    </a:cubicBezTo>
                    <a:cubicBezTo>
                      <a:pt x="485" y="152"/>
                      <a:pt x="485" y="152"/>
                      <a:pt x="485" y="152"/>
                    </a:cubicBezTo>
                    <a:cubicBezTo>
                      <a:pt x="485" y="154"/>
                      <a:pt x="485" y="154"/>
                      <a:pt x="485" y="154"/>
                    </a:cubicBezTo>
                    <a:cubicBezTo>
                      <a:pt x="486" y="152"/>
                      <a:pt x="486" y="152"/>
                      <a:pt x="486" y="152"/>
                    </a:cubicBezTo>
                    <a:cubicBezTo>
                      <a:pt x="487" y="152"/>
                      <a:pt x="488" y="153"/>
                      <a:pt x="489" y="153"/>
                    </a:cubicBezTo>
                    <a:cubicBezTo>
                      <a:pt x="494" y="154"/>
                      <a:pt x="494" y="154"/>
                      <a:pt x="494" y="154"/>
                    </a:cubicBezTo>
                    <a:cubicBezTo>
                      <a:pt x="497" y="154"/>
                      <a:pt x="501" y="155"/>
                      <a:pt x="505" y="155"/>
                    </a:cubicBezTo>
                    <a:cubicBezTo>
                      <a:pt x="506" y="155"/>
                      <a:pt x="507" y="155"/>
                      <a:pt x="509" y="155"/>
                    </a:cubicBezTo>
                    <a:cubicBezTo>
                      <a:pt x="510" y="154"/>
                      <a:pt x="511" y="154"/>
                      <a:pt x="512" y="154"/>
                    </a:cubicBezTo>
                    <a:cubicBezTo>
                      <a:pt x="517" y="154"/>
                      <a:pt x="519" y="159"/>
                      <a:pt x="520" y="160"/>
                    </a:cubicBezTo>
                    <a:cubicBezTo>
                      <a:pt x="520" y="161"/>
                      <a:pt x="520" y="161"/>
                      <a:pt x="520" y="161"/>
                    </a:cubicBezTo>
                    <a:cubicBezTo>
                      <a:pt x="520" y="162"/>
                      <a:pt x="520" y="162"/>
                      <a:pt x="521" y="163"/>
                    </a:cubicBezTo>
                    <a:cubicBezTo>
                      <a:pt x="521" y="163"/>
                      <a:pt x="521" y="164"/>
                      <a:pt x="521" y="164"/>
                    </a:cubicBezTo>
                    <a:cubicBezTo>
                      <a:pt x="522" y="163"/>
                      <a:pt x="522" y="163"/>
                      <a:pt x="522" y="163"/>
                    </a:cubicBezTo>
                    <a:cubicBezTo>
                      <a:pt x="524" y="163"/>
                      <a:pt x="525" y="162"/>
                      <a:pt x="526" y="162"/>
                    </a:cubicBezTo>
                    <a:cubicBezTo>
                      <a:pt x="529" y="160"/>
                      <a:pt x="529" y="160"/>
                      <a:pt x="529" y="160"/>
                    </a:cubicBezTo>
                    <a:cubicBezTo>
                      <a:pt x="529" y="160"/>
                      <a:pt x="529" y="160"/>
                      <a:pt x="529" y="160"/>
                    </a:cubicBezTo>
                    <a:cubicBezTo>
                      <a:pt x="529" y="160"/>
                      <a:pt x="529" y="160"/>
                      <a:pt x="529" y="159"/>
                    </a:cubicBezTo>
                    <a:cubicBezTo>
                      <a:pt x="529" y="159"/>
                      <a:pt x="529" y="159"/>
                      <a:pt x="529" y="159"/>
                    </a:cubicBezTo>
                    <a:cubicBezTo>
                      <a:pt x="529" y="158"/>
                      <a:pt x="529" y="158"/>
                      <a:pt x="529" y="158"/>
                    </a:cubicBezTo>
                    <a:cubicBezTo>
                      <a:pt x="528" y="158"/>
                      <a:pt x="528" y="158"/>
                      <a:pt x="528" y="158"/>
                    </a:cubicBezTo>
                    <a:cubicBezTo>
                      <a:pt x="526" y="157"/>
                      <a:pt x="526" y="157"/>
                      <a:pt x="526" y="157"/>
                    </a:cubicBezTo>
                    <a:cubicBezTo>
                      <a:pt x="526" y="156"/>
                      <a:pt x="525" y="156"/>
                      <a:pt x="525" y="155"/>
                    </a:cubicBezTo>
                    <a:cubicBezTo>
                      <a:pt x="524" y="154"/>
                      <a:pt x="524" y="154"/>
                      <a:pt x="524" y="154"/>
                    </a:cubicBezTo>
                    <a:cubicBezTo>
                      <a:pt x="523" y="151"/>
                      <a:pt x="523" y="149"/>
                      <a:pt x="523" y="147"/>
                    </a:cubicBezTo>
                    <a:cubicBezTo>
                      <a:pt x="524" y="147"/>
                      <a:pt x="524" y="147"/>
                      <a:pt x="524" y="147"/>
                    </a:cubicBezTo>
                    <a:cubicBezTo>
                      <a:pt x="524" y="146"/>
                      <a:pt x="524" y="146"/>
                      <a:pt x="524" y="146"/>
                    </a:cubicBezTo>
                    <a:cubicBezTo>
                      <a:pt x="524" y="145"/>
                      <a:pt x="524" y="145"/>
                      <a:pt x="524" y="145"/>
                    </a:cubicBezTo>
                    <a:cubicBezTo>
                      <a:pt x="523" y="145"/>
                      <a:pt x="523" y="145"/>
                      <a:pt x="523" y="145"/>
                    </a:cubicBezTo>
                    <a:cubicBezTo>
                      <a:pt x="523" y="145"/>
                      <a:pt x="522" y="144"/>
                      <a:pt x="521" y="144"/>
                    </a:cubicBezTo>
                    <a:cubicBezTo>
                      <a:pt x="520" y="143"/>
                      <a:pt x="520" y="143"/>
                      <a:pt x="520" y="143"/>
                    </a:cubicBezTo>
                    <a:cubicBezTo>
                      <a:pt x="520" y="143"/>
                      <a:pt x="519" y="143"/>
                      <a:pt x="519" y="142"/>
                    </a:cubicBezTo>
                    <a:cubicBezTo>
                      <a:pt x="518" y="142"/>
                      <a:pt x="518" y="142"/>
                      <a:pt x="518" y="142"/>
                    </a:cubicBezTo>
                    <a:cubicBezTo>
                      <a:pt x="517" y="142"/>
                      <a:pt x="516" y="142"/>
                      <a:pt x="516" y="141"/>
                    </a:cubicBezTo>
                    <a:cubicBezTo>
                      <a:pt x="515" y="140"/>
                      <a:pt x="515" y="140"/>
                      <a:pt x="515" y="140"/>
                    </a:cubicBezTo>
                    <a:cubicBezTo>
                      <a:pt x="514" y="139"/>
                      <a:pt x="513" y="138"/>
                      <a:pt x="513" y="137"/>
                    </a:cubicBezTo>
                    <a:cubicBezTo>
                      <a:pt x="513" y="136"/>
                      <a:pt x="513" y="135"/>
                      <a:pt x="514" y="134"/>
                    </a:cubicBezTo>
                    <a:cubicBezTo>
                      <a:pt x="514" y="133"/>
                      <a:pt x="514" y="133"/>
                      <a:pt x="515" y="131"/>
                    </a:cubicBezTo>
                    <a:cubicBezTo>
                      <a:pt x="516" y="130"/>
                      <a:pt x="518" y="128"/>
                      <a:pt x="519" y="126"/>
                    </a:cubicBezTo>
                    <a:cubicBezTo>
                      <a:pt x="515" y="127"/>
                      <a:pt x="515" y="127"/>
                      <a:pt x="515" y="127"/>
                    </a:cubicBezTo>
                    <a:cubicBezTo>
                      <a:pt x="516" y="122"/>
                      <a:pt x="516" y="122"/>
                      <a:pt x="516" y="122"/>
                    </a:cubicBezTo>
                    <a:cubicBezTo>
                      <a:pt x="516" y="117"/>
                      <a:pt x="516" y="111"/>
                      <a:pt x="515" y="110"/>
                    </a:cubicBezTo>
                    <a:cubicBezTo>
                      <a:pt x="514" y="109"/>
                      <a:pt x="514" y="109"/>
                      <a:pt x="514" y="109"/>
                    </a:cubicBezTo>
                    <a:cubicBezTo>
                      <a:pt x="514" y="108"/>
                      <a:pt x="514" y="108"/>
                      <a:pt x="514" y="108"/>
                    </a:cubicBezTo>
                    <a:cubicBezTo>
                      <a:pt x="513" y="106"/>
                      <a:pt x="512" y="104"/>
                      <a:pt x="510" y="100"/>
                    </a:cubicBezTo>
                    <a:cubicBezTo>
                      <a:pt x="510" y="99"/>
                      <a:pt x="509" y="98"/>
                      <a:pt x="509" y="96"/>
                    </a:cubicBezTo>
                    <a:cubicBezTo>
                      <a:pt x="507" y="90"/>
                      <a:pt x="507" y="90"/>
                      <a:pt x="507" y="90"/>
                    </a:cubicBezTo>
                    <a:cubicBezTo>
                      <a:pt x="511" y="86"/>
                      <a:pt x="511" y="86"/>
                      <a:pt x="511" y="86"/>
                    </a:cubicBezTo>
                    <a:cubicBezTo>
                      <a:pt x="512" y="86"/>
                      <a:pt x="512" y="86"/>
                      <a:pt x="512" y="86"/>
                    </a:cubicBezTo>
                    <a:cubicBezTo>
                      <a:pt x="515" y="86"/>
                      <a:pt x="518" y="85"/>
                      <a:pt x="519" y="85"/>
                    </a:cubicBezTo>
                    <a:cubicBezTo>
                      <a:pt x="519" y="85"/>
                      <a:pt x="520" y="84"/>
                      <a:pt x="520" y="82"/>
                    </a:cubicBezTo>
                    <a:cubicBezTo>
                      <a:pt x="519" y="80"/>
                      <a:pt x="519" y="76"/>
                      <a:pt x="522" y="75"/>
                    </a:cubicBezTo>
                    <a:cubicBezTo>
                      <a:pt x="519" y="72"/>
                      <a:pt x="519" y="72"/>
                      <a:pt x="514" y="71"/>
                    </a:cubicBezTo>
                    <a:cubicBezTo>
                      <a:pt x="512" y="71"/>
                      <a:pt x="511" y="71"/>
                      <a:pt x="509" y="71"/>
                    </a:cubicBezTo>
                    <a:cubicBezTo>
                      <a:pt x="509" y="71"/>
                      <a:pt x="509" y="71"/>
                      <a:pt x="509" y="71"/>
                    </a:cubicBezTo>
                    <a:cubicBezTo>
                      <a:pt x="509" y="71"/>
                      <a:pt x="508" y="71"/>
                      <a:pt x="508" y="71"/>
                    </a:cubicBezTo>
                    <a:cubicBezTo>
                      <a:pt x="505" y="71"/>
                      <a:pt x="503" y="70"/>
                      <a:pt x="501" y="69"/>
                    </a:cubicBezTo>
                    <a:cubicBezTo>
                      <a:pt x="499" y="68"/>
                      <a:pt x="499" y="68"/>
                      <a:pt x="499" y="68"/>
                    </a:cubicBezTo>
                    <a:cubicBezTo>
                      <a:pt x="498" y="68"/>
                      <a:pt x="497" y="67"/>
                      <a:pt x="497" y="65"/>
                    </a:cubicBezTo>
                    <a:cubicBezTo>
                      <a:pt x="496" y="63"/>
                      <a:pt x="497" y="62"/>
                      <a:pt x="497" y="61"/>
                    </a:cubicBezTo>
                    <a:cubicBezTo>
                      <a:pt x="497" y="61"/>
                      <a:pt x="497" y="61"/>
                      <a:pt x="497" y="61"/>
                    </a:cubicBezTo>
                    <a:cubicBezTo>
                      <a:pt x="497" y="60"/>
                      <a:pt x="497" y="60"/>
                      <a:pt x="496" y="59"/>
                    </a:cubicBezTo>
                    <a:cubicBezTo>
                      <a:pt x="494" y="55"/>
                      <a:pt x="494" y="54"/>
                      <a:pt x="494" y="52"/>
                    </a:cubicBezTo>
                    <a:cubicBezTo>
                      <a:pt x="494" y="50"/>
                      <a:pt x="495" y="49"/>
                      <a:pt x="496" y="48"/>
                    </a:cubicBezTo>
                    <a:cubicBezTo>
                      <a:pt x="497" y="48"/>
                      <a:pt x="497" y="48"/>
                      <a:pt x="497" y="48"/>
                    </a:cubicBezTo>
                    <a:cubicBezTo>
                      <a:pt x="497" y="48"/>
                      <a:pt x="497" y="48"/>
                      <a:pt x="497" y="48"/>
                    </a:cubicBezTo>
                    <a:cubicBezTo>
                      <a:pt x="498" y="47"/>
                      <a:pt x="498" y="47"/>
                      <a:pt x="498" y="47"/>
                    </a:cubicBezTo>
                    <a:cubicBezTo>
                      <a:pt x="497" y="45"/>
                      <a:pt x="497" y="45"/>
                      <a:pt x="497" y="45"/>
                    </a:cubicBezTo>
                    <a:cubicBezTo>
                      <a:pt x="497" y="44"/>
                      <a:pt x="497" y="44"/>
                      <a:pt x="497" y="43"/>
                    </a:cubicBezTo>
                    <a:cubicBezTo>
                      <a:pt x="497" y="43"/>
                      <a:pt x="497" y="42"/>
                      <a:pt x="497" y="42"/>
                    </a:cubicBezTo>
                    <a:cubicBezTo>
                      <a:pt x="497" y="41"/>
                      <a:pt x="497" y="41"/>
                      <a:pt x="497" y="41"/>
                    </a:cubicBezTo>
                    <a:cubicBezTo>
                      <a:pt x="496" y="40"/>
                      <a:pt x="496" y="40"/>
                      <a:pt x="496" y="40"/>
                    </a:cubicBezTo>
                    <a:cubicBezTo>
                      <a:pt x="496" y="40"/>
                      <a:pt x="496" y="40"/>
                      <a:pt x="496" y="40"/>
                    </a:cubicBezTo>
                    <a:cubicBezTo>
                      <a:pt x="496" y="39"/>
                      <a:pt x="496" y="39"/>
                      <a:pt x="496" y="39"/>
                    </a:cubicBezTo>
                    <a:cubicBezTo>
                      <a:pt x="496" y="38"/>
                      <a:pt x="495" y="37"/>
                      <a:pt x="495" y="37"/>
                    </a:cubicBezTo>
                    <a:cubicBezTo>
                      <a:pt x="487" y="29"/>
                      <a:pt x="487" y="29"/>
                      <a:pt x="487" y="29"/>
                    </a:cubicBezTo>
                    <a:cubicBezTo>
                      <a:pt x="487" y="29"/>
                      <a:pt x="487" y="29"/>
                      <a:pt x="487" y="29"/>
                    </a:cubicBezTo>
                    <a:cubicBezTo>
                      <a:pt x="485" y="28"/>
                      <a:pt x="484" y="27"/>
                      <a:pt x="482" y="26"/>
                    </a:cubicBezTo>
                    <a:cubicBezTo>
                      <a:pt x="481" y="25"/>
                      <a:pt x="481" y="25"/>
                      <a:pt x="481" y="25"/>
                    </a:cubicBezTo>
                    <a:cubicBezTo>
                      <a:pt x="481" y="25"/>
                      <a:pt x="481" y="25"/>
                      <a:pt x="481" y="25"/>
                    </a:cubicBezTo>
                    <a:cubicBezTo>
                      <a:pt x="480" y="24"/>
                      <a:pt x="480" y="24"/>
                      <a:pt x="479" y="24"/>
                    </a:cubicBezTo>
                    <a:cubicBezTo>
                      <a:pt x="479" y="23"/>
                      <a:pt x="478" y="23"/>
                      <a:pt x="478" y="22"/>
                    </a:cubicBezTo>
                    <a:cubicBezTo>
                      <a:pt x="477" y="22"/>
                      <a:pt x="477" y="22"/>
                      <a:pt x="477" y="22"/>
                    </a:cubicBezTo>
                    <a:cubicBezTo>
                      <a:pt x="477" y="21"/>
                      <a:pt x="477" y="21"/>
                      <a:pt x="477" y="21"/>
                    </a:cubicBezTo>
                    <a:cubicBezTo>
                      <a:pt x="475" y="19"/>
                      <a:pt x="474" y="19"/>
                      <a:pt x="472" y="19"/>
                    </a:cubicBezTo>
                    <a:cubicBezTo>
                      <a:pt x="472" y="19"/>
                      <a:pt x="472" y="19"/>
                      <a:pt x="472" y="19"/>
                    </a:cubicBezTo>
                    <a:cubicBezTo>
                      <a:pt x="472" y="19"/>
                      <a:pt x="471" y="19"/>
                      <a:pt x="471" y="21"/>
                    </a:cubicBezTo>
                    <a:cubicBezTo>
                      <a:pt x="470" y="24"/>
                      <a:pt x="470" y="24"/>
                      <a:pt x="470" y="24"/>
                    </a:cubicBezTo>
                    <a:cubicBezTo>
                      <a:pt x="467" y="23"/>
                      <a:pt x="467" y="23"/>
                      <a:pt x="467" y="23"/>
                    </a:cubicBezTo>
                    <a:cubicBezTo>
                      <a:pt x="463" y="23"/>
                      <a:pt x="460" y="22"/>
                      <a:pt x="457" y="22"/>
                    </a:cubicBezTo>
                    <a:cubicBezTo>
                      <a:pt x="454" y="22"/>
                      <a:pt x="454" y="22"/>
                      <a:pt x="454" y="22"/>
                    </a:cubicBezTo>
                    <a:cubicBezTo>
                      <a:pt x="453" y="22"/>
                      <a:pt x="453" y="22"/>
                      <a:pt x="452" y="22"/>
                    </a:cubicBezTo>
                    <a:cubicBezTo>
                      <a:pt x="451" y="22"/>
                      <a:pt x="450" y="22"/>
                      <a:pt x="449" y="22"/>
                    </a:cubicBezTo>
                    <a:cubicBezTo>
                      <a:pt x="449" y="22"/>
                      <a:pt x="449" y="22"/>
                      <a:pt x="449" y="22"/>
                    </a:cubicBezTo>
                    <a:cubicBezTo>
                      <a:pt x="447" y="22"/>
                      <a:pt x="446" y="22"/>
                      <a:pt x="445" y="22"/>
                    </a:cubicBezTo>
                    <a:cubicBezTo>
                      <a:pt x="444" y="22"/>
                      <a:pt x="442" y="22"/>
                      <a:pt x="441" y="21"/>
                    </a:cubicBezTo>
                    <a:cubicBezTo>
                      <a:pt x="443" y="26"/>
                      <a:pt x="443" y="26"/>
                      <a:pt x="443" y="26"/>
                    </a:cubicBezTo>
                    <a:cubicBezTo>
                      <a:pt x="439" y="22"/>
                      <a:pt x="439" y="22"/>
                      <a:pt x="439" y="22"/>
                    </a:cubicBezTo>
                    <a:cubicBezTo>
                      <a:pt x="428" y="26"/>
                      <a:pt x="428" y="26"/>
                      <a:pt x="428" y="26"/>
                    </a:cubicBezTo>
                    <a:cubicBezTo>
                      <a:pt x="426" y="27"/>
                      <a:pt x="425" y="28"/>
                      <a:pt x="423" y="28"/>
                    </a:cubicBezTo>
                    <a:cubicBezTo>
                      <a:pt x="421" y="29"/>
                      <a:pt x="418" y="29"/>
                      <a:pt x="417" y="30"/>
                    </a:cubicBezTo>
                    <a:cubicBezTo>
                      <a:pt x="414" y="33"/>
                      <a:pt x="409" y="34"/>
                      <a:pt x="405" y="36"/>
                    </a:cubicBezTo>
                    <a:cubicBezTo>
                      <a:pt x="403" y="37"/>
                      <a:pt x="402" y="37"/>
                      <a:pt x="399" y="37"/>
                    </a:cubicBezTo>
                    <a:cubicBezTo>
                      <a:pt x="399" y="37"/>
                      <a:pt x="399" y="37"/>
                      <a:pt x="399" y="37"/>
                    </a:cubicBezTo>
                    <a:cubicBezTo>
                      <a:pt x="398" y="37"/>
                      <a:pt x="397" y="37"/>
                      <a:pt x="397" y="37"/>
                    </a:cubicBezTo>
                    <a:cubicBezTo>
                      <a:pt x="396" y="36"/>
                      <a:pt x="396" y="36"/>
                      <a:pt x="395" y="36"/>
                    </a:cubicBezTo>
                    <a:cubicBezTo>
                      <a:pt x="395" y="36"/>
                      <a:pt x="395" y="36"/>
                      <a:pt x="394" y="36"/>
                    </a:cubicBezTo>
                    <a:cubicBezTo>
                      <a:pt x="394" y="36"/>
                      <a:pt x="393" y="36"/>
                      <a:pt x="393" y="36"/>
                    </a:cubicBezTo>
                    <a:cubicBezTo>
                      <a:pt x="389" y="36"/>
                      <a:pt x="385" y="34"/>
                      <a:pt x="382" y="33"/>
                    </a:cubicBezTo>
                    <a:cubicBezTo>
                      <a:pt x="381" y="32"/>
                      <a:pt x="380" y="32"/>
                      <a:pt x="380" y="32"/>
                    </a:cubicBezTo>
                    <a:cubicBezTo>
                      <a:pt x="379" y="32"/>
                      <a:pt x="378" y="32"/>
                      <a:pt x="376" y="33"/>
                    </a:cubicBezTo>
                    <a:cubicBezTo>
                      <a:pt x="376" y="33"/>
                      <a:pt x="375" y="33"/>
                      <a:pt x="375" y="33"/>
                    </a:cubicBezTo>
                    <a:cubicBezTo>
                      <a:pt x="374" y="33"/>
                      <a:pt x="374" y="33"/>
                      <a:pt x="374" y="33"/>
                    </a:cubicBezTo>
                    <a:cubicBezTo>
                      <a:pt x="373" y="33"/>
                      <a:pt x="373" y="33"/>
                      <a:pt x="372" y="33"/>
                    </a:cubicBezTo>
                    <a:cubicBezTo>
                      <a:pt x="372" y="33"/>
                      <a:pt x="371" y="33"/>
                      <a:pt x="370" y="33"/>
                    </a:cubicBezTo>
                    <a:cubicBezTo>
                      <a:pt x="364" y="35"/>
                      <a:pt x="357" y="38"/>
                      <a:pt x="350" y="38"/>
                    </a:cubicBezTo>
                    <a:cubicBezTo>
                      <a:pt x="350" y="38"/>
                      <a:pt x="350" y="38"/>
                      <a:pt x="350" y="38"/>
                    </a:cubicBezTo>
                    <a:cubicBezTo>
                      <a:pt x="343" y="38"/>
                      <a:pt x="335" y="34"/>
                      <a:pt x="328" y="33"/>
                    </a:cubicBezTo>
                    <a:cubicBezTo>
                      <a:pt x="319" y="32"/>
                      <a:pt x="314" y="29"/>
                      <a:pt x="306" y="23"/>
                    </a:cubicBezTo>
                    <a:cubicBezTo>
                      <a:pt x="306" y="23"/>
                      <a:pt x="305" y="23"/>
                      <a:pt x="305" y="23"/>
                    </a:cubicBezTo>
                    <a:cubicBezTo>
                      <a:pt x="303" y="23"/>
                      <a:pt x="297" y="26"/>
                      <a:pt x="295" y="26"/>
                    </a:cubicBezTo>
                    <a:cubicBezTo>
                      <a:pt x="295" y="26"/>
                      <a:pt x="295" y="26"/>
                      <a:pt x="295" y="26"/>
                    </a:cubicBezTo>
                    <a:cubicBezTo>
                      <a:pt x="292" y="26"/>
                      <a:pt x="288" y="21"/>
                      <a:pt x="287" y="19"/>
                    </a:cubicBezTo>
                    <a:cubicBezTo>
                      <a:pt x="285" y="16"/>
                      <a:pt x="285" y="11"/>
                      <a:pt x="281" y="11"/>
                    </a:cubicBezTo>
                    <a:cubicBezTo>
                      <a:pt x="281" y="11"/>
                      <a:pt x="280" y="11"/>
                      <a:pt x="279" y="11"/>
                    </a:cubicBezTo>
                    <a:cubicBezTo>
                      <a:pt x="276" y="12"/>
                      <a:pt x="273" y="13"/>
                      <a:pt x="270" y="13"/>
                    </a:cubicBezTo>
                    <a:cubicBezTo>
                      <a:pt x="269" y="13"/>
                      <a:pt x="269" y="13"/>
                      <a:pt x="268" y="13"/>
                    </a:cubicBezTo>
                    <a:cubicBezTo>
                      <a:pt x="264" y="12"/>
                      <a:pt x="261" y="9"/>
                      <a:pt x="258" y="6"/>
                    </a:cubicBezTo>
                    <a:cubicBezTo>
                      <a:pt x="257" y="4"/>
                      <a:pt x="257" y="0"/>
                      <a:pt x="259" y="0"/>
                    </a:cubicBezTo>
                    <a:cubicBezTo>
                      <a:pt x="259" y="0"/>
                      <a:pt x="260" y="0"/>
                      <a:pt x="260" y="1"/>
                    </a:cubicBezTo>
                    <a:cubicBezTo>
                      <a:pt x="259" y="0"/>
                      <a:pt x="258" y="0"/>
                      <a:pt x="2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0" name="Freeform 248">
                <a:extLst>
                  <a:ext uri="{FF2B5EF4-FFF2-40B4-BE49-F238E27FC236}">
                    <a16:creationId xmlns:a16="http://schemas.microsoft.com/office/drawing/2014/main" id="{3805BDA5-B34A-4903-B26D-8C61C59E4522}"/>
                  </a:ext>
                </a:extLst>
              </p:cNvPr>
              <p:cNvSpPr>
                <a:spLocks/>
              </p:cNvSpPr>
              <p:nvPr/>
            </p:nvSpPr>
            <p:spPr bwMode="auto">
              <a:xfrm>
                <a:off x="7528691" y="5678764"/>
                <a:ext cx="117924" cy="136349"/>
              </a:xfrm>
              <a:custGeom>
                <a:avLst/>
                <a:gdLst>
                  <a:gd name="T0" fmla="*/ 22 w 37"/>
                  <a:gd name="T1" fmla="*/ 0 h 42"/>
                  <a:gd name="T2" fmla="*/ 20 w 37"/>
                  <a:gd name="T3" fmla="*/ 2 h 42"/>
                  <a:gd name="T4" fmla="*/ 15 w 37"/>
                  <a:gd name="T5" fmla="*/ 6 h 42"/>
                  <a:gd name="T6" fmla="*/ 11 w 37"/>
                  <a:gd name="T7" fmla="*/ 20 h 42"/>
                  <a:gd name="T8" fmla="*/ 8 w 37"/>
                  <a:gd name="T9" fmla="*/ 25 h 42"/>
                  <a:gd name="T10" fmla="*/ 5 w 37"/>
                  <a:gd name="T11" fmla="*/ 31 h 42"/>
                  <a:gd name="T12" fmla="*/ 0 w 37"/>
                  <a:gd name="T13" fmla="*/ 42 h 42"/>
                  <a:gd name="T14" fmla="*/ 2 w 37"/>
                  <a:gd name="T15" fmla="*/ 42 h 42"/>
                  <a:gd name="T16" fmla="*/ 5 w 37"/>
                  <a:gd name="T17" fmla="*/ 42 h 42"/>
                  <a:gd name="T18" fmla="*/ 9 w 37"/>
                  <a:gd name="T19" fmla="*/ 40 h 42"/>
                  <a:gd name="T20" fmla="*/ 11 w 37"/>
                  <a:gd name="T21" fmla="*/ 37 h 42"/>
                  <a:gd name="T22" fmla="*/ 13 w 37"/>
                  <a:gd name="T23" fmla="*/ 36 h 42"/>
                  <a:gd name="T24" fmla="*/ 15 w 37"/>
                  <a:gd name="T25" fmla="*/ 34 h 42"/>
                  <a:gd name="T26" fmla="*/ 15 w 37"/>
                  <a:gd name="T27" fmla="*/ 34 h 42"/>
                  <a:gd name="T28" fmla="*/ 17 w 37"/>
                  <a:gd name="T29" fmla="*/ 33 h 42"/>
                  <a:gd name="T30" fmla="*/ 20 w 37"/>
                  <a:gd name="T31" fmla="*/ 30 h 42"/>
                  <a:gd name="T32" fmla="*/ 20 w 37"/>
                  <a:gd name="T33" fmla="*/ 30 h 42"/>
                  <a:gd name="T34" fmla="*/ 19 w 37"/>
                  <a:gd name="T35" fmla="*/ 27 h 42"/>
                  <a:gd name="T36" fmla="*/ 25 w 37"/>
                  <a:gd name="T37" fmla="*/ 19 h 42"/>
                  <a:gd name="T38" fmla="*/ 29 w 37"/>
                  <a:gd name="T39" fmla="*/ 18 h 42"/>
                  <a:gd name="T40" fmla="*/ 36 w 37"/>
                  <a:gd name="T41" fmla="*/ 10 h 42"/>
                  <a:gd name="T42" fmla="*/ 37 w 37"/>
                  <a:gd name="T43" fmla="*/ 9 h 42"/>
                  <a:gd name="T44" fmla="*/ 36 w 37"/>
                  <a:gd name="T45" fmla="*/ 8 h 42"/>
                  <a:gd name="T46" fmla="*/ 35 w 37"/>
                  <a:gd name="T47" fmla="*/ 7 h 42"/>
                  <a:gd name="T48" fmla="*/ 33 w 37"/>
                  <a:gd name="T49" fmla="*/ 4 h 42"/>
                  <a:gd name="T50" fmla="*/ 28 w 37"/>
                  <a:gd name="T51" fmla="*/ 3 h 42"/>
                  <a:gd name="T52" fmla="*/ 30 w 37"/>
                  <a:gd name="T53" fmla="*/ 0 h 42"/>
                  <a:gd name="T54" fmla="*/ 26 w 37"/>
                  <a:gd name="T55" fmla="*/ 0 h 42"/>
                  <a:gd name="T56" fmla="*/ 22 w 37"/>
                  <a:gd name="T5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42">
                    <a:moveTo>
                      <a:pt x="22" y="0"/>
                    </a:moveTo>
                    <a:cubicBezTo>
                      <a:pt x="22" y="0"/>
                      <a:pt x="21" y="1"/>
                      <a:pt x="20" y="2"/>
                    </a:cubicBezTo>
                    <a:cubicBezTo>
                      <a:pt x="19" y="3"/>
                      <a:pt x="16" y="4"/>
                      <a:pt x="15" y="6"/>
                    </a:cubicBezTo>
                    <a:cubicBezTo>
                      <a:pt x="13" y="11"/>
                      <a:pt x="13" y="15"/>
                      <a:pt x="11" y="20"/>
                    </a:cubicBezTo>
                    <a:cubicBezTo>
                      <a:pt x="9" y="22"/>
                      <a:pt x="9" y="22"/>
                      <a:pt x="8" y="25"/>
                    </a:cubicBezTo>
                    <a:cubicBezTo>
                      <a:pt x="7" y="27"/>
                      <a:pt x="6" y="29"/>
                      <a:pt x="5" y="31"/>
                    </a:cubicBezTo>
                    <a:cubicBezTo>
                      <a:pt x="3" y="35"/>
                      <a:pt x="2" y="38"/>
                      <a:pt x="0" y="42"/>
                    </a:cubicBezTo>
                    <a:cubicBezTo>
                      <a:pt x="2" y="42"/>
                      <a:pt x="2" y="42"/>
                      <a:pt x="2" y="42"/>
                    </a:cubicBezTo>
                    <a:cubicBezTo>
                      <a:pt x="4" y="42"/>
                      <a:pt x="5" y="42"/>
                      <a:pt x="5" y="42"/>
                    </a:cubicBezTo>
                    <a:cubicBezTo>
                      <a:pt x="8" y="42"/>
                      <a:pt x="8" y="42"/>
                      <a:pt x="9" y="40"/>
                    </a:cubicBezTo>
                    <a:cubicBezTo>
                      <a:pt x="11" y="37"/>
                      <a:pt x="11" y="37"/>
                      <a:pt x="11" y="37"/>
                    </a:cubicBezTo>
                    <a:cubicBezTo>
                      <a:pt x="12" y="37"/>
                      <a:pt x="12" y="36"/>
                      <a:pt x="13" y="36"/>
                    </a:cubicBezTo>
                    <a:cubicBezTo>
                      <a:pt x="15" y="34"/>
                      <a:pt x="15" y="34"/>
                      <a:pt x="15" y="34"/>
                    </a:cubicBezTo>
                    <a:cubicBezTo>
                      <a:pt x="15" y="34"/>
                      <a:pt x="15" y="34"/>
                      <a:pt x="15" y="34"/>
                    </a:cubicBezTo>
                    <a:cubicBezTo>
                      <a:pt x="16" y="34"/>
                      <a:pt x="17" y="33"/>
                      <a:pt x="17" y="33"/>
                    </a:cubicBezTo>
                    <a:cubicBezTo>
                      <a:pt x="19" y="32"/>
                      <a:pt x="20" y="31"/>
                      <a:pt x="20" y="30"/>
                    </a:cubicBezTo>
                    <a:cubicBezTo>
                      <a:pt x="20" y="30"/>
                      <a:pt x="20" y="30"/>
                      <a:pt x="20" y="30"/>
                    </a:cubicBezTo>
                    <a:cubicBezTo>
                      <a:pt x="20" y="29"/>
                      <a:pt x="20" y="28"/>
                      <a:pt x="19" y="27"/>
                    </a:cubicBezTo>
                    <a:cubicBezTo>
                      <a:pt x="19" y="24"/>
                      <a:pt x="21" y="21"/>
                      <a:pt x="25" y="19"/>
                    </a:cubicBezTo>
                    <a:cubicBezTo>
                      <a:pt x="26" y="18"/>
                      <a:pt x="27" y="18"/>
                      <a:pt x="29" y="18"/>
                    </a:cubicBezTo>
                    <a:cubicBezTo>
                      <a:pt x="30" y="14"/>
                      <a:pt x="34" y="12"/>
                      <a:pt x="36" y="10"/>
                    </a:cubicBezTo>
                    <a:cubicBezTo>
                      <a:pt x="37" y="9"/>
                      <a:pt x="37" y="9"/>
                      <a:pt x="37" y="9"/>
                    </a:cubicBezTo>
                    <a:cubicBezTo>
                      <a:pt x="36" y="8"/>
                      <a:pt x="36" y="8"/>
                      <a:pt x="36" y="8"/>
                    </a:cubicBezTo>
                    <a:cubicBezTo>
                      <a:pt x="36" y="8"/>
                      <a:pt x="36" y="7"/>
                      <a:pt x="35" y="7"/>
                    </a:cubicBezTo>
                    <a:cubicBezTo>
                      <a:pt x="35" y="5"/>
                      <a:pt x="35" y="5"/>
                      <a:pt x="33" y="4"/>
                    </a:cubicBezTo>
                    <a:cubicBezTo>
                      <a:pt x="28" y="3"/>
                      <a:pt x="28" y="3"/>
                      <a:pt x="28" y="3"/>
                    </a:cubicBezTo>
                    <a:cubicBezTo>
                      <a:pt x="30" y="0"/>
                      <a:pt x="30" y="0"/>
                      <a:pt x="30" y="0"/>
                    </a:cubicBezTo>
                    <a:cubicBezTo>
                      <a:pt x="29" y="0"/>
                      <a:pt x="27" y="0"/>
                      <a:pt x="26" y="0"/>
                    </a:cubicBezTo>
                    <a:cubicBezTo>
                      <a:pt x="25"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1" name="Freeform 249">
                <a:extLst>
                  <a:ext uri="{FF2B5EF4-FFF2-40B4-BE49-F238E27FC236}">
                    <a16:creationId xmlns:a16="http://schemas.microsoft.com/office/drawing/2014/main" id="{56F8D856-227F-4310-94F8-227EEE7EA649}"/>
                  </a:ext>
                </a:extLst>
              </p:cNvPr>
              <p:cNvSpPr>
                <a:spLocks/>
              </p:cNvSpPr>
              <p:nvPr/>
            </p:nvSpPr>
            <p:spPr bwMode="auto">
              <a:xfrm>
                <a:off x="8298881" y="4985962"/>
                <a:ext cx="243218" cy="232162"/>
              </a:xfrm>
              <a:custGeom>
                <a:avLst/>
                <a:gdLst>
                  <a:gd name="T0" fmla="*/ 37 w 77"/>
                  <a:gd name="T1" fmla="*/ 0 h 74"/>
                  <a:gd name="T2" fmla="*/ 33 w 77"/>
                  <a:gd name="T3" fmla="*/ 2 h 74"/>
                  <a:gd name="T4" fmla="*/ 29 w 77"/>
                  <a:gd name="T5" fmla="*/ 2 h 74"/>
                  <a:gd name="T6" fmla="*/ 26 w 77"/>
                  <a:gd name="T7" fmla="*/ 2 h 74"/>
                  <a:gd name="T8" fmla="*/ 17 w 77"/>
                  <a:gd name="T9" fmla="*/ 3 h 74"/>
                  <a:gd name="T10" fmla="*/ 1 w 77"/>
                  <a:gd name="T11" fmla="*/ 6 h 74"/>
                  <a:gd name="T12" fmla="*/ 2 w 77"/>
                  <a:gd name="T13" fmla="*/ 8 h 74"/>
                  <a:gd name="T14" fmla="*/ 2 w 77"/>
                  <a:gd name="T15" fmla="*/ 9 h 74"/>
                  <a:gd name="T16" fmla="*/ 3 w 77"/>
                  <a:gd name="T17" fmla="*/ 12 h 74"/>
                  <a:gd name="T18" fmla="*/ 3 w 77"/>
                  <a:gd name="T19" fmla="*/ 15 h 74"/>
                  <a:gd name="T20" fmla="*/ 2 w 77"/>
                  <a:gd name="T21" fmla="*/ 22 h 74"/>
                  <a:gd name="T22" fmla="*/ 0 w 77"/>
                  <a:gd name="T23" fmla="*/ 24 h 74"/>
                  <a:gd name="T24" fmla="*/ 3 w 77"/>
                  <a:gd name="T25" fmla="*/ 30 h 74"/>
                  <a:gd name="T26" fmla="*/ 7 w 77"/>
                  <a:gd name="T27" fmla="*/ 35 h 74"/>
                  <a:gd name="T28" fmla="*/ 9 w 77"/>
                  <a:gd name="T29" fmla="*/ 35 h 74"/>
                  <a:gd name="T30" fmla="*/ 27 w 77"/>
                  <a:gd name="T31" fmla="*/ 41 h 74"/>
                  <a:gd name="T32" fmla="*/ 34 w 77"/>
                  <a:gd name="T33" fmla="*/ 45 h 74"/>
                  <a:gd name="T34" fmla="*/ 40 w 77"/>
                  <a:gd name="T35" fmla="*/ 43 h 74"/>
                  <a:gd name="T36" fmla="*/ 46 w 77"/>
                  <a:gd name="T37" fmla="*/ 48 h 74"/>
                  <a:gd name="T38" fmla="*/ 47 w 77"/>
                  <a:gd name="T39" fmla="*/ 50 h 74"/>
                  <a:gd name="T40" fmla="*/ 50 w 77"/>
                  <a:gd name="T41" fmla="*/ 52 h 74"/>
                  <a:gd name="T42" fmla="*/ 52 w 77"/>
                  <a:gd name="T43" fmla="*/ 52 h 74"/>
                  <a:gd name="T44" fmla="*/ 59 w 77"/>
                  <a:gd name="T45" fmla="*/ 49 h 74"/>
                  <a:gd name="T46" fmla="*/ 62 w 77"/>
                  <a:gd name="T47" fmla="*/ 57 h 74"/>
                  <a:gd name="T48" fmla="*/ 64 w 77"/>
                  <a:gd name="T49" fmla="*/ 59 h 74"/>
                  <a:gd name="T50" fmla="*/ 68 w 77"/>
                  <a:gd name="T51" fmla="*/ 62 h 74"/>
                  <a:gd name="T52" fmla="*/ 73 w 77"/>
                  <a:gd name="T53" fmla="*/ 74 h 74"/>
                  <a:gd name="T54" fmla="*/ 76 w 77"/>
                  <a:gd name="T55" fmla="*/ 73 h 74"/>
                  <a:gd name="T56" fmla="*/ 77 w 77"/>
                  <a:gd name="T57" fmla="*/ 73 h 74"/>
                  <a:gd name="T58" fmla="*/ 76 w 77"/>
                  <a:gd name="T59" fmla="*/ 71 h 74"/>
                  <a:gd name="T60" fmla="*/ 75 w 77"/>
                  <a:gd name="T61" fmla="*/ 68 h 74"/>
                  <a:gd name="T62" fmla="*/ 74 w 77"/>
                  <a:gd name="T63" fmla="*/ 60 h 74"/>
                  <a:gd name="T64" fmla="*/ 54 w 77"/>
                  <a:gd name="T65" fmla="*/ 45 h 74"/>
                  <a:gd name="T66" fmla="*/ 53 w 77"/>
                  <a:gd name="T67" fmla="*/ 37 h 74"/>
                  <a:gd name="T68" fmla="*/ 59 w 77"/>
                  <a:gd name="T69" fmla="*/ 36 h 74"/>
                  <a:gd name="T70" fmla="*/ 60 w 77"/>
                  <a:gd name="T71" fmla="*/ 35 h 74"/>
                  <a:gd name="T72" fmla="*/ 57 w 77"/>
                  <a:gd name="T73" fmla="*/ 31 h 74"/>
                  <a:gd name="T74" fmla="*/ 52 w 77"/>
                  <a:gd name="T75" fmla="*/ 27 h 74"/>
                  <a:gd name="T76" fmla="*/ 49 w 77"/>
                  <a:gd name="T77" fmla="*/ 12 h 74"/>
                  <a:gd name="T78" fmla="*/ 50 w 77"/>
                  <a:gd name="T79" fmla="*/ 11 h 74"/>
                  <a:gd name="T80" fmla="*/ 47 w 77"/>
                  <a:gd name="T81" fmla="*/ 9 h 74"/>
                  <a:gd name="T82" fmla="*/ 41 w 77"/>
                  <a:gd name="T83" fmla="*/ 7 h 74"/>
                  <a:gd name="T84" fmla="*/ 31 w 77"/>
                  <a:gd name="T85" fmla="*/ 10 h 74"/>
                  <a:gd name="T86" fmla="*/ 38 w 77"/>
                  <a:gd name="T87"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 h="74">
                    <a:moveTo>
                      <a:pt x="37" y="0"/>
                    </a:moveTo>
                    <a:cubicBezTo>
                      <a:pt x="37" y="0"/>
                      <a:pt x="37" y="0"/>
                      <a:pt x="37" y="0"/>
                    </a:cubicBezTo>
                    <a:cubicBezTo>
                      <a:pt x="36" y="1"/>
                      <a:pt x="36" y="1"/>
                      <a:pt x="36" y="1"/>
                    </a:cubicBezTo>
                    <a:cubicBezTo>
                      <a:pt x="35" y="1"/>
                      <a:pt x="34" y="1"/>
                      <a:pt x="33" y="2"/>
                    </a:cubicBezTo>
                    <a:cubicBezTo>
                      <a:pt x="32" y="2"/>
                      <a:pt x="32" y="2"/>
                      <a:pt x="32" y="2"/>
                    </a:cubicBezTo>
                    <a:cubicBezTo>
                      <a:pt x="31" y="2"/>
                      <a:pt x="30" y="2"/>
                      <a:pt x="29" y="2"/>
                    </a:cubicBezTo>
                    <a:cubicBezTo>
                      <a:pt x="29" y="2"/>
                      <a:pt x="29" y="2"/>
                      <a:pt x="29" y="2"/>
                    </a:cubicBezTo>
                    <a:cubicBezTo>
                      <a:pt x="27" y="2"/>
                      <a:pt x="27" y="2"/>
                      <a:pt x="26" y="2"/>
                    </a:cubicBezTo>
                    <a:cubicBezTo>
                      <a:pt x="24" y="2"/>
                      <a:pt x="23" y="2"/>
                      <a:pt x="22" y="2"/>
                    </a:cubicBezTo>
                    <a:cubicBezTo>
                      <a:pt x="20" y="2"/>
                      <a:pt x="19" y="2"/>
                      <a:pt x="17" y="3"/>
                    </a:cubicBezTo>
                    <a:cubicBezTo>
                      <a:pt x="11" y="3"/>
                      <a:pt x="6" y="4"/>
                      <a:pt x="0" y="5"/>
                    </a:cubicBezTo>
                    <a:cubicBezTo>
                      <a:pt x="1" y="5"/>
                      <a:pt x="1" y="6"/>
                      <a:pt x="1" y="6"/>
                    </a:cubicBezTo>
                    <a:cubicBezTo>
                      <a:pt x="1" y="7"/>
                      <a:pt x="2" y="7"/>
                      <a:pt x="2" y="7"/>
                    </a:cubicBezTo>
                    <a:cubicBezTo>
                      <a:pt x="2" y="8"/>
                      <a:pt x="2" y="8"/>
                      <a:pt x="2" y="8"/>
                    </a:cubicBezTo>
                    <a:cubicBezTo>
                      <a:pt x="8" y="6"/>
                      <a:pt x="8" y="6"/>
                      <a:pt x="8" y="6"/>
                    </a:cubicBezTo>
                    <a:cubicBezTo>
                      <a:pt x="2" y="9"/>
                      <a:pt x="2" y="9"/>
                      <a:pt x="2" y="9"/>
                    </a:cubicBezTo>
                    <a:cubicBezTo>
                      <a:pt x="2" y="10"/>
                      <a:pt x="2" y="10"/>
                      <a:pt x="2" y="10"/>
                    </a:cubicBezTo>
                    <a:cubicBezTo>
                      <a:pt x="3" y="10"/>
                      <a:pt x="3" y="11"/>
                      <a:pt x="3" y="12"/>
                    </a:cubicBezTo>
                    <a:cubicBezTo>
                      <a:pt x="3" y="13"/>
                      <a:pt x="3" y="13"/>
                      <a:pt x="3" y="13"/>
                    </a:cubicBezTo>
                    <a:cubicBezTo>
                      <a:pt x="3" y="14"/>
                      <a:pt x="3" y="15"/>
                      <a:pt x="3" y="15"/>
                    </a:cubicBezTo>
                    <a:cubicBezTo>
                      <a:pt x="4" y="19"/>
                      <a:pt x="4" y="19"/>
                      <a:pt x="4" y="19"/>
                    </a:cubicBezTo>
                    <a:cubicBezTo>
                      <a:pt x="4" y="21"/>
                      <a:pt x="3" y="22"/>
                      <a:pt x="2" y="22"/>
                    </a:cubicBezTo>
                    <a:cubicBezTo>
                      <a:pt x="2" y="23"/>
                      <a:pt x="1" y="24"/>
                      <a:pt x="1" y="24"/>
                    </a:cubicBezTo>
                    <a:cubicBezTo>
                      <a:pt x="0" y="24"/>
                      <a:pt x="0" y="24"/>
                      <a:pt x="0" y="24"/>
                    </a:cubicBezTo>
                    <a:cubicBezTo>
                      <a:pt x="1" y="25"/>
                      <a:pt x="1" y="26"/>
                      <a:pt x="1" y="27"/>
                    </a:cubicBezTo>
                    <a:cubicBezTo>
                      <a:pt x="3" y="29"/>
                      <a:pt x="3" y="30"/>
                      <a:pt x="3" y="30"/>
                    </a:cubicBezTo>
                    <a:cubicBezTo>
                      <a:pt x="4" y="31"/>
                      <a:pt x="3" y="33"/>
                      <a:pt x="3" y="34"/>
                    </a:cubicBezTo>
                    <a:cubicBezTo>
                      <a:pt x="5" y="34"/>
                      <a:pt x="6" y="35"/>
                      <a:pt x="7" y="35"/>
                    </a:cubicBezTo>
                    <a:cubicBezTo>
                      <a:pt x="8" y="35"/>
                      <a:pt x="8" y="35"/>
                      <a:pt x="8" y="35"/>
                    </a:cubicBezTo>
                    <a:cubicBezTo>
                      <a:pt x="8" y="35"/>
                      <a:pt x="8" y="35"/>
                      <a:pt x="9" y="35"/>
                    </a:cubicBezTo>
                    <a:cubicBezTo>
                      <a:pt x="10" y="35"/>
                      <a:pt x="12" y="35"/>
                      <a:pt x="14" y="35"/>
                    </a:cubicBezTo>
                    <a:cubicBezTo>
                      <a:pt x="21" y="36"/>
                      <a:pt x="22" y="37"/>
                      <a:pt x="27" y="41"/>
                    </a:cubicBezTo>
                    <a:cubicBezTo>
                      <a:pt x="32" y="46"/>
                      <a:pt x="32" y="46"/>
                      <a:pt x="32" y="46"/>
                    </a:cubicBezTo>
                    <a:cubicBezTo>
                      <a:pt x="33" y="46"/>
                      <a:pt x="33" y="45"/>
                      <a:pt x="34" y="45"/>
                    </a:cubicBezTo>
                    <a:cubicBezTo>
                      <a:pt x="36" y="45"/>
                      <a:pt x="37" y="44"/>
                      <a:pt x="38" y="44"/>
                    </a:cubicBezTo>
                    <a:cubicBezTo>
                      <a:pt x="40" y="43"/>
                      <a:pt x="40" y="43"/>
                      <a:pt x="40" y="43"/>
                    </a:cubicBezTo>
                    <a:cubicBezTo>
                      <a:pt x="43" y="46"/>
                      <a:pt x="43" y="46"/>
                      <a:pt x="43" y="46"/>
                    </a:cubicBezTo>
                    <a:cubicBezTo>
                      <a:pt x="44" y="46"/>
                      <a:pt x="45" y="47"/>
                      <a:pt x="46" y="48"/>
                    </a:cubicBezTo>
                    <a:cubicBezTo>
                      <a:pt x="46" y="49"/>
                      <a:pt x="46" y="49"/>
                      <a:pt x="46" y="49"/>
                    </a:cubicBezTo>
                    <a:cubicBezTo>
                      <a:pt x="46" y="49"/>
                      <a:pt x="47" y="50"/>
                      <a:pt x="47" y="50"/>
                    </a:cubicBezTo>
                    <a:cubicBezTo>
                      <a:pt x="47" y="50"/>
                      <a:pt x="48" y="51"/>
                      <a:pt x="49" y="51"/>
                    </a:cubicBezTo>
                    <a:cubicBezTo>
                      <a:pt x="49" y="52"/>
                      <a:pt x="50" y="52"/>
                      <a:pt x="50" y="52"/>
                    </a:cubicBezTo>
                    <a:cubicBezTo>
                      <a:pt x="51" y="52"/>
                      <a:pt x="51" y="52"/>
                      <a:pt x="51" y="52"/>
                    </a:cubicBezTo>
                    <a:cubicBezTo>
                      <a:pt x="52" y="52"/>
                      <a:pt x="52" y="52"/>
                      <a:pt x="52" y="52"/>
                    </a:cubicBezTo>
                    <a:cubicBezTo>
                      <a:pt x="52" y="52"/>
                      <a:pt x="54" y="52"/>
                      <a:pt x="54" y="51"/>
                    </a:cubicBezTo>
                    <a:cubicBezTo>
                      <a:pt x="59" y="49"/>
                      <a:pt x="59" y="49"/>
                      <a:pt x="59" y="49"/>
                    </a:cubicBezTo>
                    <a:cubicBezTo>
                      <a:pt x="61" y="53"/>
                      <a:pt x="61" y="53"/>
                      <a:pt x="61" y="53"/>
                    </a:cubicBezTo>
                    <a:cubicBezTo>
                      <a:pt x="61" y="54"/>
                      <a:pt x="62" y="56"/>
                      <a:pt x="62" y="57"/>
                    </a:cubicBezTo>
                    <a:cubicBezTo>
                      <a:pt x="62" y="58"/>
                      <a:pt x="62" y="58"/>
                      <a:pt x="62" y="58"/>
                    </a:cubicBezTo>
                    <a:cubicBezTo>
                      <a:pt x="63" y="59"/>
                      <a:pt x="63" y="59"/>
                      <a:pt x="64" y="59"/>
                    </a:cubicBezTo>
                    <a:cubicBezTo>
                      <a:pt x="64" y="59"/>
                      <a:pt x="64" y="59"/>
                      <a:pt x="64" y="59"/>
                    </a:cubicBezTo>
                    <a:cubicBezTo>
                      <a:pt x="66" y="60"/>
                      <a:pt x="67" y="61"/>
                      <a:pt x="68" y="62"/>
                    </a:cubicBezTo>
                    <a:cubicBezTo>
                      <a:pt x="70" y="65"/>
                      <a:pt x="72" y="69"/>
                      <a:pt x="73" y="73"/>
                    </a:cubicBezTo>
                    <a:cubicBezTo>
                      <a:pt x="73" y="74"/>
                      <a:pt x="73" y="74"/>
                      <a:pt x="73" y="74"/>
                    </a:cubicBezTo>
                    <a:cubicBezTo>
                      <a:pt x="73" y="74"/>
                      <a:pt x="73" y="74"/>
                      <a:pt x="73" y="74"/>
                    </a:cubicBezTo>
                    <a:cubicBezTo>
                      <a:pt x="74" y="74"/>
                      <a:pt x="75" y="73"/>
                      <a:pt x="76" y="73"/>
                    </a:cubicBezTo>
                    <a:cubicBezTo>
                      <a:pt x="77" y="73"/>
                      <a:pt x="77" y="73"/>
                      <a:pt x="77" y="73"/>
                    </a:cubicBezTo>
                    <a:cubicBezTo>
                      <a:pt x="77" y="73"/>
                      <a:pt x="77" y="73"/>
                      <a:pt x="77" y="73"/>
                    </a:cubicBezTo>
                    <a:cubicBezTo>
                      <a:pt x="77" y="72"/>
                      <a:pt x="77" y="72"/>
                      <a:pt x="76" y="71"/>
                    </a:cubicBezTo>
                    <a:cubicBezTo>
                      <a:pt x="76" y="71"/>
                      <a:pt x="76" y="71"/>
                      <a:pt x="76" y="71"/>
                    </a:cubicBezTo>
                    <a:cubicBezTo>
                      <a:pt x="75" y="70"/>
                      <a:pt x="75" y="70"/>
                      <a:pt x="75" y="70"/>
                    </a:cubicBezTo>
                    <a:cubicBezTo>
                      <a:pt x="75" y="68"/>
                      <a:pt x="75" y="68"/>
                      <a:pt x="75" y="68"/>
                    </a:cubicBezTo>
                    <a:cubicBezTo>
                      <a:pt x="74" y="66"/>
                      <a:pt x="75" y="65"/>
                      <a:pt x="76" y="64"/>
                    </a:cubicBezTo>
                    <a:cubicBezTo>
                      <a:pt x="75" y="63"/>
                      <a:pt x="74" y="62"/>
                      <a:pt x="74" y="60"/>
                    </a:cubicBezTo>
                    <a:cubicBezTo>
                      <a:pt x="74" y="59"/>
                      <a:pt x="74" y="58"/>
                      <a:pt x="75" y="58"/>
                    </a:cubicBezTo>
                    <a:cubicBezTo>
                      <a:pt x="68" y="53"/>
                      <a:pt x="61" y="49"/>
                      <a:pt x="54" y="45"/>
                    </a:cubicBezTo>
                    <a:cubicBezTo>
                      <a:pt x="45" y="39"/>
                      <a:pt x="45" y="39"/>
                      <a:pt x="45" y="39"/>
                    </a:cubicBezTo>
                    <a:cubicBezTo>
                      <a:pt x="53" y="37"/>
                      <a:pt x="53" y="37"/>
                      <a:pt x="53" y="37"/>
                    </a:cubicBezTo>
                    <a:cubicBezTo>
                      <a:pt x="54" y="37"/>
                      <a:pt x="55" y="37"/>
                      <a:pt x="56" y="36"/>
                    </a:cubicBezTo>
                    <a:cubicBezTo>
                      <a:pt x="58" y="36"/>
                      <a:pt x="59" y="36"/>
                      <a:pt x="59" y="36"/>
                    </a:cubicBezTo>
                    <a:cubicBezTo>
                      <a:pt x="59" y="36"/>
                      <a:pt x="59" y="36"/>
                      <a:pt x="59" y="36"/>
                    </a:cubicBezTo>
                    <a:cubicBezTo>
                      <a:pt x="60" y="35"/>
                      <a:pt x="60" y="35"/>
                      <a:pt x="60" y="35"/>
                    </a:cubicBezTo>
                    <a:cubicBezTo>
                      <a:pt x="60" y="34"/>
                      <a:pt x="60" y="33"/>
                      <a:pt x="60" y="33"/>
                    </a:cubicBezTo>
                    <a:cubicBezTo>
                      <a:pt x="59" y="32"/>
                      <a:pt x="58" y="31"/>
                      <a:pt x="57" y="31"/>
                    </a:cubicBezTo>
                    <a:cubicBezTo>
                      <a:pt x="54" y="28"/>
                      <a:pt x="54" y="28"/>
                      <a:pt x="54" y="28"/>
                    </a:cubicBezTo>
                    <a:cubicBezTo>
                      <a:pt x="53" y="28"/>
                      <a:pt x="53" y="27"/>
                      <a:pt x="52" y="27"/>
                    </a:cubicBezTo>
                    <a:cubicBezTo>
                      <a:pt x="49" y="24"/>
                      <a:pt x="44" y="21"/>
                      <a:pt x="46" y="15"/>
                    </a:cubicBezTo>
                    <a:cubicBezTo>
                      <a:pt x="47" y="13"/>
                      <a:pt x="48" y="13"/>
                      <a:pt x="49" y="12"/>
                    </a:cubicBezTo>
                    <a:cubicBezTo>
                      <a:pt x="49" y="12"/>
                      <a:pt x="50" y="12"/>
                      <a:pt x="50" y="11"/>
                    </a:cubicBezTo>
                    <a:cubicBezTo>
                      <a:pt x="50" y="11"/>
                      <a:pt x="50" y="11"/>
                      <a:pt x="50" y="11"/>
                    </a:cubicBezTo>
                    <a:cubicBezTo>
                      <a:pt x="50" y="11"/>
                      <a:pt x="50" y="11"/>
                      <a:pt x="49" y="10"/>
                    </a:cubicBezTo>
                    <a:cubicBezTo>
                      <a:pt x="49" y="10"/>
                      <a:pt x="48" y="10"/>
                      <a:pt x="47" y="9"/>
                    </a:cubicBezTo>
                    <a:cubicBezTo>
                      <a:pt x="45" y="8"/>
                      <a:pt x="43" y="7"/>
                      <a:pt x="42" y="7"/>
                    </a:cubicBezTo>
                    <a:cubicBezTo>
                      <a:pt x="41" y="7"/>
                      <a:pt x="41" y="7"/>
                      <a:pt x="41" y="7"/>
                    </a:cubicBezTo>
                    <a:cubicBezTo>
                      <a:pt x="41" y="7"/>
                      <a:pt x="41" y="7"/>
                      <a:pt x="41" y="7"/>
                    </a:cubicBezTo>
                    <a:cubicBezTo>
                      <a:pt x="31" y="10"/>
                      <a:pt x="31" y="10"/>
                      <a:pt x="31" y="10"/>
                    </a:cubicBezTo>
                    <a:cubicBezTo>
                      <a:pt x="37" y="2"/>
                      <a:pt x="37" y="2"/>
                      <a:pt x="37" y="2"/>
                    </a:cubicBezTo>
                    <a:cubicBezTo>
                      <a:pt x="38" y="1"/>
                      <a:pt x="38" y="1"/>
                      <a:pt x="38" y="1"/>
                    </a:cubicBezTo>
                    <a:cubicBezTo>
                      <a:pt x="38" y="1"/>
                      <a:pt x="38"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2" name="Rectangle 250">
                <a:extLst>
                  <a:ext uri="{FF2B5EF4-FFF2-40B4-BE49-F238E27FC236}">
                    <a16:creationId xmlns:a16="http://schemas.microsoft.com/office/drawing/2014/main" id="{456F9154-5F1F-436B-AEEC-DB4A790D56D9}"/>
                  </a:ext>
                </a:extLst>
              </p:cNvPr>
              <p:cNvSpPr>
                <a:spLocks noChangeArrowheads="1"/>
              </p:cNvSpPr>
              <p:nvPr/>
            </p:nvSpPr>
            <p:spPr bwMode="auto">
              <a:xfrm>
                <a:off x="8542098" y="5207069"/>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3" name="Freeform 251">
                <a:extLst>
                  <a:ext uri="{FF2B5EF4-FFF2-40B4-BE49-F238E27FC236}">
                    <a16:creationId xmlns:a16="http://schemas.microsoft.com/office/drawing/2014/main" id="{950BBADB-62DE-4119-9807-F97B494FF510}"/>
                  </a:ext>
                </a:extLst>
              </p:cNvPr>
              <p:cNvSpPr>
                <a:spLocks/>
              </p:cNvSpPr>
              <p:nvPr/>
            </p:nvSpPr>
            <p:spPr bwMode="auto">
              <a:xfrm>
                <a:off x="8542098" y="520706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4" name="Freeform 252">
                <a:extLst>
                  <a:ext uri="{FF2B5EF4-FFF2-40B4-BE49-F238E27FC236}">
                    <a16:creationId xmlns:a16="http://schemas.microsoft.com/office/drawing/2014/main" id="{0E669470-18B6-47B6-811D-8F90E9AEFE87}"/>
                  </a:ext>
                </a:extLst>
              </p:cNvPr>
              <p:cNvSpPr>
                <a:spLocks/>
              </p:cNvSpPr>
              <p:nvPr/>
            </p:nvSpPr>
            <p:spPr bwMode="auto">
              <a:xfrm>
                <a:off x="8560524" y="5199699"/>
                <a:ext cx="7370" cy="7370"/>
              </a:xfrm>
              <a:custGeom>
                <a:avLst/>
                <a:gdLst>
                  <a:gd name="T0" fmla="*/ 2 w 2"/>
                  <a:gd name="T1" fmla="*/ 0 h 2"/>
                  <a:gd name="T2" fmla="*/ 1 w 2"/>
                  <a:gd name="T3" fmla="*/ 1 h 2"/>
                  <a:gd name="T4" fmla="*/ 0 w 2"/>
                  <a:gd name="T5" fmla="*/ 1 h 2"/>
                  <a:gd name="T6" fmla="*/ 1 w 2"/>
                  <a:gd name="T7" fmla="*/ 2 h 2"/>
                  <a:gd name="T8" fmla="*/ 1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1" y="1"/>
                      <a:pt x="1" y="1"/>
                      <a:pt x="1" y="1"/>
                    </a:cubicBezTo>
                    <a:cubicBezTo>
                      <a:pt x="0" y="1"/>
                      <a:pt x="0" y="1"/>
                      <a:pt x="0" y="1"/>
                    </a:cubicBezTo>
                    <a:cubicBezTo>
                      <a:pt x="1" y="2"/>
                      <a:pt x="1" y="2"/>
                      <a:pt x="1" y="2"/>
                    </a:cubicBezTo>
                    <a:cubicBezTo>
                      <a:pt x="1" y="2"/>
                      <a:pt x="1" y="2"/>
                      <a:pt x="1" y="2"/>
                    </a:cubicBezTo>
                    <a:cubicBezTo>
                      <a:pt x="2"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5" name="Freeform 253">
                <a:extLst>
                  <a:ext uri="{FF2B5EF4-FFF2-40B4-BE49-F238E27FC236}">
                    <a16:creationId xmlns:a16="http://schemas.microsoft.com/office/drawing/2014/main" id="{922FCD44-A932-49FA-9FEF-C2B23823D664}"/>
                  </a:ext>
                </a:extLst>
              </p:cNvPr>
              <p:cNvSpPr>
                <a:spLocks/>
              </p:cNvSpPr>
              <p:nvPr/>
            </p:nvSpPr>
            <p:spPr bwMode="auto">
              <a:xfrm>
                <a:off x="8438915" y="4919630"/>
                <a:ext cx="464325" cy="346401"/>
              </a:xfrm>
              <a:custGeom>
                <a:avLst/>
                <a:gdLst>
                  <a:gd name="T0" fmla="*/ 33 w 146"/>
                  <a:gd name="T1" fmla="*/ 5 h 110"/>
                  <a:gd name="T2" fmla="*/ 40 w 146"/>
                  <a:gd name="T3" fmla="*/ 11 h 110"/>
                  <a:gd name="T4" fmla="*/ 43 w 146"/>
                  <a:gd name="T5" fmla="*/ 22 h 110"/>
                  <a:gd name="T6" fmla="*/ 43 w 146"/>
                  <a:gd name="T7" fmla="*/ 28 h 110"/>
                  <a:gd name="T8" fmla="*/ 32 w 146"/>
                  <a:gd name="T9" fmla="*/ 26 h 110"/>
                  <a:gd name="T10" fmla="*/ 13 w 146"/>
                  <a:gd name="T11" fmla="*/ 21 h 110"/>
                  <a:gd name="T12" fmla="*/ 3 w 146"/>
                  <a:gd name="T13" fmla="*/ 15 h 110"/>
                  <a:gd name="T14" fmla="*/ 0 w 146"/>
                  <a:gd name="T15" fmla="*/ 17 h 110"/>
                  <a:gd name="T16" fmla="*/ 0 w 146"/>
                  <a:gd name="T17" fmla="*/ 18 h 110"/>
                  <a:gd name="T18" fmla="*/ 1 w 146"/>
                  <a:gd name="T19" fmla="*/ 19 h 110"/>
                  <a:gd name="T20" fmla="*/ 2 w 146"/>
                  <a:gd name="T21" fmla="*/ 21 h 110"/>
                  <a:gd name="T22" fmla="*/ 7 w 146"/>
                  <a:gd name="T23" fmla="*/ 24 h 110"/>
                  <a:gd name="T24" fmla="*/ 13 w 146"/>
                  <a:gd name="T25" fmla="*/ 36 h 110"/>
                  <a:gd name="T26" fmla="*/ 9 w 146"/>
                  <a:gd name="T27" fmla="*/ 39 h 110"/>
                  <a:gd name="T28" fmla="*/ 8 w 146"/>
                  <a:gd name="T29" fmla="*/ 39 h 110"/>
                  <a:gd name="T30" fmla="*/ 14 w 146"/>
                  <a:gd name="T31" fmla="*/ 44 h 110"/>
                  <a:gd name="T32" fmla="*/ 20 w 146"/>
                  <a:gd name="T33" fmla="*/ 48 h 110"/>
                  <a:gd name="T34" fmla="*/ 22 w 146"/>
                  <a:gd name="T35" fmla="*/ 57 h 110"/>
                  <a:gd name="T36" fmla="*/ 38 w 146"/>
                  <a:gd name="T37" fmla="*/ 75 h 110"/>
                  <a:gd name="T38" fmla="*/ 38 w 146"/>
                  <a:gd name="T39" fmla="*/ 81 h 110"/>
                  <a:gd name="T40" fmla="*/ 41 w 146"/>
                  <a:gd name="T41" fmla="*/ 84 h 110"/>
                  <a:gd name="T42" fmla="*/ 50 w 146"/>
                  <a:gd name="T43" fmla="*/ 82 h 110"/>
                  <a:gd name="T44" fmla="*/ 67 w 146"/>
                  <a:gd name="T45" fmla="*/ 71 h 110"/>
                  <a:gd name="T46" fmla="*/ 77 w 146"/>
                  <a:gd name="T47" fmla="*/ 67 h 110"/>
                  <a:gd name="T48" fmla="*/ 86 w 146"/>
                  <a:gd name="T49" fmla="*/ 74 h 110"/>
                  <a:gd name="T50" fmla="*/ 90 w 146"/>
                  <a:gd name="T51" fmla="*/ 81 h 110"/>
                  <a:gd name="T52" fmla="*/ 87 w 146"/>
                  <a:gd name="T53" fmla="*/ 87 h 110"/>
                  <a:gd name="T54" fmla="*/ 90 w 146"/>
                  <a:gd name="T55" fmla="*/ 90 h 110"/>
                  <a:gd name="T56" fmla="*/ 85 w 146"/>
                  <a:gd name="T57" fmla="*/ 98 h 110"/>
                  <a:gd name="T58" fmla="*/ 88 w 146"/>
                  <a:gd name="T59" fmla="*/ 102 h 110"/>
                  <a:gd name="T60" fmla="*/ 92 w 146"/>
                  <a:gd name="T61" fmla="*/ 104 h 110"/>
                  <a:gd name="T62" fmla="*/ 97 w 146"/>
                  <a:gd name="T63" fmla="*/ 109 h 110"/>
                  <a:gd name="T64" fmla="*/ 97 w 146"/>
                  <a:gd name="T65" fmla="*/ 110 h 110"/>
                  <a:gd name="T66" fmla="*/ 104 w 146"/>
                  <a:gd name="T67" fmla="*/ 109 h 110"/>
                  <a:gd name="T68" fmla="*/ 107 w 146"/>
                  <a:gd name="T69" fmla="*/ 88 h 110"/>
                  <a:gd name="T70" fmla="*/ 111 w 146"/>
                  <a:gd name="T71" fmla="*/ 95 h 110"/>
                  <a:gd name="T72" fmla="*/ 116 w 146"/>
                  <a:gd name="T73" fmla="*/ 83 h 110"/>
                  <a:gd name="T74" fmla="*/ 118 w 146"/>
                  <a:gd name="T75" fmla="*/ 84 h 110"/>
                  <a:gd name="T76" fmla="*/ 118 w 146"/>
                  <a:gd name="T77" fmla="*/ 80 h 110"/>
                  <a:gd name="T78" fmla="*/ 119 w 146"/>
                  <a:gd name="T79" fmla="*/ 65 h 110"/>
                  <a:gd name="T80" fmla="*/ 135 w 146"/>
                  <a:gd name="T81" fmla="*/ 49 h 110"/>
                  <a:gd name="T82" fmla="*/ 146 w 146"/>
                  <a:gd name="T83" fmla="*/ 53 h 110"/>
                  <a:gd name="T84" fmla="*/ 137 w 146"/>
                  <a:gd name="T85" fmla="*/ 42 h 110"/>
                  <a:gd name="T86" fmla="*/ 133 w 146"/>
                  <a:gd name="T87" fmla="*/ 41 h 110"/>
                  <a:gd name="T88" fmla="*/ 131 w 146"/>
                  <a:gd name="T89" fmla="*/ 42 h 110"/>
                  <a:gd name="T90" fmla="*/ 110 w 146"/>
                  <a:gd name="T91" fmla="*/ 17 h 110"/>
                  <a:gd name="T92" fmla="*/ 89 w 146"/>
                  <a:gd name="T93" fmla="*/ 10 h 110"/>
                  <a:gd name="T94" fmla="*/ 87 w 146"/>
                  <a:gd name="T95" fmla="*/ 11 h 110"/>
                  <a:gd name="T96" fmla="*/ 81 w 146"/>
                  <a:gd name="T97" fmla="*/ 17 h 110"/>
                  <a:gd name="T98" fmla="*/ 66 w 146"/>
                  <a:gd name="T99" fmla="*/ 23 h 110"/>
                  <a:gd name="T100" fmla="*/ 52 w 146"/>
                  <a:gd name="T101" fmla="*/ 12 h 110"/>
                  <a:gd name="T102" fmla="*/ 40 w 146"/>
                  <a:gd name="T103" fmla="*/ 0 h 110"/>
                  <a:gd name="T104" fmla="*/ 36 w 146"/>
                  <a:gd name="T10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10">
                    <a:moveTo>
                      <a:pt x="36" y="0"/>
                    </a:moveTo>
                    <a:cubicBezTo>
                      <a:pt x="33" y="5"/>
                      <a:pt x="33" y="5"/>
                      <a:pt x="33" y="5"/>
                    </a:cubicBezTo>
                    <a:cubicBezTo>
                      <a:pt x="34" y="6"/>
                      <a:pt x="35" y="6"/>
                      <a:pt x="35" y="7"/>
                    </a:cubicBezTo>
                    <a:cubicBezTo>
                      <a:pt x="37" y="9"/>
                      <a:pt x="38" y="10"/>
                      <a:pt x="40" y="11"/>
                    </a:cubicBezTo>
                    <a:cubicBezTo>
                      <a:pt x="45" y="13"/>
                      <a:pt x="44" y="18"/>
                      <a:pt x="43" y="21"/>
                    </a:cubicBezTo>
                    <a:cubicBezTo>
                      <a:pt x="43" y="22"/>
                      <a:pt x="43" y="22"/>
                      <a:pt x="43" y="22"/>
                    </a:cubicBezTo>
                    <a:cubicBezTo>
                      <a:pt x="43" y="23"/>
                      <a:pt x="43" y="23"/>
                      <a:pt x="43" y="24"/>
                    </a:cubicBezTo>
                    <a:cubicBezTo>
                      <a:pt x="43" y="28"/>
                      <a:pt x="43" y="28"/>
                      <a:pt x="43" y="28"/>
                    </a:cubicBezTo>
                    <a:cubicBezTo>
                      <a:pt x="39" y="27"/>
                      <a:pt x="39" y="27"/>
                      <a:pt x="39" y="27"/>
                    </a:cubicBezTo>
                    <a:cubicBezTo>
                      <a:pt x="37" y="27"/>
                      <a:pt x="35" y="26"/>
                      <a:pt x="32" y="26"/>
                    </a:cubicBezTo>
                    <a:cubicBezTo>
                      <a:pt x="27" y="25"/>
                      <a:pt x="21" y="25"/>
                      <a:pt x="16" y="23"/>
                    </a:cubicBezTo>
                    <a:cubicBezTo>
                      <a:pt x="15" y="22"/>
                      <a:pt x="14" y="22"/>
                      <a:pt x="13" y="21"/>
                    </a:cubicBezTo>
                    <a:cubicBezTo>
                      <a:pt x="11" y="20"/>
                      <a:pt x="10" y="19"/>
                      <a:pt x="8" y="18"/>
                    </a:cubicBezTo>
                    <a:cubicBezTo>
                      <a:pt x="6" y="17"/>
                      <a:pt x="5" y="16"/>
                      <a:pt x="3" y="15"/>
                    </a:cubicBezTo>
                    <a:cubicBezTo>
                      <a:pt x="2" y="16"/>
                      <a:pt x="2" y="16"/>
                      <a:pt x="2" y="16"/>
                    </a:cubicBezTo>
                    <a:cubicBezTo>
                      <a:pt x="0" y="17"/>
                      <a:pt x="0" y="17"/>
                      <a:pt x="0" y="17"/>
                    </a:cubicBezTo>
                    <a:cubicBezTo>
                      <a:pt x="0" y="17"/>
                      <a:pt x="0" y="17"/>
                      <a:pt x="0" y="17"/>
                    </a:cubicBezTo>
                    <a:cubicBezTo>
                      <a:pt x="0" y="18"/>
                      <a:pt x="0" y="18"/>
                      <a:pt x="0" y="18"/>
                    </a:cubicBezTo>
                    <a:cubicBezTo>
                      <a:pt x="1" y="18"/>
                      <a:pt x="1" y="18"/>
                      <a:pt x="1" y="18"/>
                    </a:cubicBezTo>
                    <a:cubicBezTo>
                      <a:pt x="1" y="19"/>
                      <a:pt x="1" y="19"/>
                      <a:pt x="1" y="19"/>
                    </a:cubicBezTo>
                    <a:cubicBezTo>
                      <a:pt x="2" y="19"/>
                      <a:pt x="2" y="20"/>
                      <a:pt x="2" y="20"/>
                    </a:cubicBezTo>
                    <a:cubicBezTo>
                      <a:pt x="2" y="21"/>
                      <a:pt x="2" y="21"/>
                      <a:pt x="2" y="21"/>
                    </a:cubicBezTo>
                    <a:cubicBezTo>
                      <a:pt x="3" y="21"/>
                      <a:pt x="3" y="22"/>
                      <a:pt x="3" y="22"/>
                    </a:cubicBezTo>
                    <a:cubicBezTo>
                      <a:pt x="4" y="23"/>
                      <a:pt x="6" y="24"/>
                      <a:pt x="7" y="24"/>
                    </a:cubicBezTo>
                    <a:cubicBezTo>
                      <a:pt x="10" y="26"/>
                      <a:pt x="12" y="28"/>
                      <a:pt x="13" y="30"/>
                    </a:cubicBezTo>
                    <a:cubicBezTo>
                      <a:pt x="15" y="32"/>
                      <a:pt x="14" y="35"/>
                      <a:pt x="13" y="36"/>
                    </a:cubicBezTo>
                    <a:cubicBezTo>
                      <a:pt x="12" y="37"/>
                      <a:pt x="11" y="38"/>
                      <a:pt x="10" y="38"/>
                    </a:cubicBezTo>
                    <a:cubicBezTo>
                      <a:pt x="10" y="38"/>
                      <a:pt x="9" y="39"/>
                      <a:pt x="9" y="39"/>
                    </a:cubicBezTo>
                    <a:cubicBezTo>
                      <a:pt x="9" y="39"/>
                      <a:pt x="9" y="39"/>
                      <a:pt x="9" y="39"/>
                    </a:cubicBezTo>
                    <a:cubicBezTo>
                      <a:pt x="8" y="39"/>
                      <a:pt x="8" y="39"/>
                      <a:pt x="8" y="39"/>
                    </a:cubicBezTo>
                    <a:cubicBezTo>
                      <a:pt x="9" y="40"/>
                      <a:pt x="10" y="41"/>
                      <a:pt x="12" y="42"/>
                    </a:cubicBezTo>
                    <a:cubicBezTo>
                      <a:pt x="13" y="43"/>
                      <a:pt x="14" y="43"/>
                      <a:pt x="14" y="44"/>
                    </a:cubicBezTo>
                    <a:cubicBezTo>
                      <a:pt x="17" y="46"/>
                      <a:pt x="17" y="46"/>
                      <a:pt x="17" y="46"/>
                    </a:cubicBezTo>
                    <a:cubicBezTo>
                      <a:pt x="18" y="47"/>
                      <a:pt x="19" y="48"/>
                      <a:pt x="20" y="48"/>
                    </a:cubicBezTo>
                    <a:cubicBezTo>
                      <a:pt x="23" y="50"/>
                      <a:pt x="23" y="54"/>
                      <a:pt x="23" y="56"/>
                    </a:cubicBezTo>
                    <a:cubicBezTo>
                      <a:pt x="22" y="57"/>
                      <a:pt x="22" y="57"/>
                      <a:pt x="22" y="57"/>
                    </a:cubicBezTo>
                    <a:cubicBezTo>
                      <a:pt x="22" y="60"/>
                      <a:pt x="22" y="61"/>
                      <a:pt x="19" y="63"/>
                    </a:cubicBezTo>
                    <a:cubicBezTo>
                      <a:pt x="25" y="67"/>
                      <a:pt x="32" y="71"/>
                      <a:pt x="38" y="75"/>
                    </a:cubicBezTo>
                    <a:cubicBezTo>
                      <a:pt x="43" y="78"/>
                      <a:pt x="43" y="78"/>
                      <a:pt x="43" y="78"/>
                    </a:cubicBezTo>
                    <a:cubicBezTo>
                      <a:pt x="38" y="81"/>
                      <a:pt x="38" y="81"/>
                      <a:pt x="38" y="81"/>
                    </a:cubicBezTo>
                    <a:cubicBezTo>
                      <a:pt x="38" y="81"/>
                      <a:pt x="38" y="81"/>
                      <a:pt x="38" y="81"/>
                    </a:cubicBezTo>
                    <a:cubicBezTo>
                      <a:pt x="39" y="82"/>
                      <a:pt x="40" y="83"/>
                      <a:pt x="41" y="84"/>
                    </a:cubicBezTo>
                    <a:cubicBezTo>
                      <a:pt x="44" y="86"/>
                      <a:pt x="44" y="86"/>
                      <a:pt x="44" y="86"/>
                    </a:cubicBezTo>
                    <a:cubicBezTo>
                      <a:pt x="46" y="85"/>
                      <a:pt x="48" y="84"/>
                      <a:pt x="50" y="82"/>
                    </a:cubicBezTo>
                    <a:cubicBezTo>
                      <a:pt x="52" y="81"/>
                      <a:pt x="54" y="80"/>
                      <a:pt x="56" y="79"/>
                    </a:cubicBezTo>
                    <a:cubicBezTo>
                      <a:pt x="59" y="76"/>
                      <a:pt x="63" y="74"/>
                      <a:pt x="67" y="71"/>
                    </a:cubicBezTo>
                    <a:cubicBezTo>
                      <a:pt x="68" y="71"/>
                      <a:pt x="68" y="71"/>
                      <a:pt x="68" y="71"/>
                    </a:cubicBezTo>
                    <a:cubicBezTo>
                      <a:pt x="72" y="68"/>
                      <a:pt x="75" y="67"/>
                      <a:pt x="77" y="67"/>
                    </a:cubicBezTo>
                    <a:cubicBezTo>
                      <a:pt x="78" y="67"/>
                      <a:pt x="78" y="67"/>
                      <a:pt x="79" y="67"/>
                    </a:cubicBezTo>
                    <a:cubicBezTo>
                      <a:pt x="81" y="67"/>
                      <a:pt x="83" y="70"/>
                      <a:pt x="86" y="74"/>
                    </a:cubicBezTo>
                    <a:cubicBezTo>
                      <a:pt x="88" y="76"/>
                      <a:pt x="88" y="76"/>
                      <a:pt x="88" y="76"/>
                    </a:cubicBezTo>
                    <a:cubicBezTo>
                      <a:pt x="89" y="78"/>
                      <a:pt x="90" y="79"/>
                      <a:pt x="90" y="81"/>
                    </a:cubicBezTo>
                    <a:cubicBezTo>
                      <a:pt x="91" y="83"/>
                      <a:pt x="89" y="85"/>
                      <a:pt x="88" y="86"/>
                    </a:cubicBezTo>
                    <a:cubicBezTo>
                      <a:pt x="87" y="87"/>
                      <a:pt x="87" y="87"/>
                      <a:pt x="87" y="87"/>
                    </a:cubicBezTo>
                    <a:cubicBezTo>
                      <a:pt x="88" y="88"/>
                      <a:pt x="88" y="88"/>
                      <a:pt x="88" y="88"/>
                    </a:cubicBezTo>
                    <a:cubicBezTo>
                      <a:pt x="89" y="88"/>
                      <a:pt x="89" y="89"/>
                      <a:pt x="90" y="90"/>
                    </a:cubicBezTo>
                    <a:cubicBezTo>
                      <a:pt x="93" y="93"/>
                      <a:pt x="93" y="93"/>
                      <a:pt x="93" y="93"/>
                    </a:cubicBezTo>
                    <a:cubicBezTo>
                      <a:pt x="85" y="98"/>
                      <a:pt x="85" y="98"/>
                      <a:pt x="85" y="98"/>
                    </a:cubicBezTo>
                    <a:cubicBezTo>
                      <a:pt x="87" y="100"/>
                      <a:pt x="87" y="100"/>
                      <a:pt x="87" y="100"/>
                    </a:cubicBezTo>
                    <a:cubicBezTo>
                      <a:pt x="88" y="100"/>
                      <a:pt x="88" y="101"/>
                      <a:pt x="88" y="102"/>
                    </a:cubicBezTo>
                    <a:cubicBezTo>
                      <a:pt x="89" y="103"/>
                      <a:pt x="89" y="103"/>
                      <a:pt x="89" y="103"/>
                    </a:cubicBezTo>
                    <a:cubicBezTo>
                      <a:pt x="90" y="103"/>
                      <a:pt x="91" y="104"/>
                      <a:pt x="92" y="104"/>
                    </a:cubicBezTo>
                    <a:cubicBezTo>
                      <a:pt x="92" y="105"/>
                      <a:pt x="93" y="105"/>
                      <a:pt x="95" y="106"/>
                    </a:cubicBezTo>
                    <a:cubicBezTo>
                      <a:pt x="96" y="107"/>
                      <a:pt x="96" y="108"/>
                      <a:pt x="97" y="109"/>
                    </a:cubicBezTo>
                    <a:cubicBezTo>
                      <a:pt x="97" y="110"/>
                      <a:pt x="97" y="110"/>
                      <a:pt x="97" y="110"/>
                    </a:cubicBezTo>
                    <a:cubicBezTo>
                      <a:pt x="97" y="110"/>
                      <a:pt x="97" y="110"/>
                      <a:pt x="97" y="110"/>
                    </a:cubicBezTo>
                    <a:cubicBezTo>
                      <a:pt x="98" y="110"/>
                      <a:pt x="100" y="109"/>
                      <a:pt x="102" y="109"/>
                    </a:cubicBezTo>
                    <a:cubicBezTo>
                      <a:pt x="104" y="109"/>
                      <a:pt x="104" y="109"/>
                      <a:pt x="104" y="109"/>
                    </a:cubicBezTo>
                    <a:cubicBezTo>
                      <a:pt x="103" y="105"/>
                      <a:pt x="104" y="102"/>
                      <a:pt x="104" y="98"/>
                    </a:cubicBezTo>
                    <a:cubicBezTo>
                      <a:pt x="105" y="95"/>
                      <a:pt x="104" y="88"/>
                      <a:pt x="107" y="88"/>
                    </a:cubicBezTo>
                    <a:cubicBezTo>
                      <a:pt x="108" y="88"/>
                      <a:pt x="108" y="88"/>
                      <a:pt x="108" y="88"/>
                    </a:cubicBezTo>
                    <a:cubicBezTo>
                      <a:pt x="109" y="89"/>
                      <a:pt x="111" y="94"/>
                      <a:pt x="111" y="95"/>
                    </a:cubicBezTo>
                    <a:cubicBezTo>
                      <a:pt x="112" y="92"/>
                      <a:pt x="112" y="84"/>
                      <a:pt x="115" y="83"/>
                    </a:cubicBezTo>
                    <a:cubicBezTo>
                      <a:pt x="116" y="83"/>
                      <a:pt x="116" y="83"/>
                      <a:pt x="116" y="83"/>
                    </a:cubicBezTo>
                    <a:cubicBezTo>
                      <a:pt x="116" y="83"/>
                      <a:pt x="117" y="83"/>
                      <a:pt x="117" y="83"/>
                    </a:cubicBezTo>
                    <a:cubicBezTo>
                      <a:pt x="117" y="84"/>
                      <a:pt x="117" y="84"/>
                      <a:pt x="118" y="84"/>
                    </a:cubicBezTo>
                    <a:cubicBezTo>
                      <a:pt x="118" y="84"/>
                      <a:pt x="118" y="84"/>
                      <a:pt x="118" y="83"/>
                    </a:cubicBezTo>
                    <a:cubicBezTo>
                      <a:pt x="119" y="81"/>
                      <a:pt x="118" y="81"/>
                      <a:pt x="118" y="80"/>
                    </a:cubicBezTo>
                    <a:cubicBezTo>
                      <a:pt x="117" y="78"/>
                      <a:pt x="115" y="77"/>
                      <a:pt x="116" y="74"/>
                    </a:cubicBezTo>
                    <a:cubicBezTo>
                      <a:pt x="117" y="71"/>
                      <a:pt x="118" y="68"/>
                      <a:pt x="119" y="65"/>
                    </a:cubicBezTo>
                    <a:cubicBezTo>
                      <a:pt x="120" y="61"/>
                      <a:pt x="121" y="56"/>
                      <a:pt x="125" y="53"/>
                    </a:cubicBezTo>
                    <a:cubicBezTo>
                      <a:pt x="128" y="50"/>
                      <a:pt x="132" y="49"/>
                      <a:pt x="135" y="49"/>
                    </a:cubicBezTo>
                    <a:cubicBezTo>
                      <a:pt x="136" y="49"/>
                      <a:pt x="137" y="49"/>
                      <a:pt x="137" y="49"/>
                    </a:cubicBezTo>
                    <a:cubicBezTo>
                      <a:pt x="141" y="49"/>
                      <a:pt x="143" y="49"/>
                      <a:pt x="146" y="53"/>
                    </a:cubicBezTo>
                    <a:cubicBezTo>
                      <a:pt x="145" y="50"/>
                      <a:pt x="146" y="48"/>
                      <a:pt x="143" y="46"/>
                    </a:cubicBezTo>
                    <a:cubicBezTo>
                      <a:pt x="141" y="44"/>
                      <a:pt x="139" y="43"/>
                      <a:pt x="137" y="42"/>
                    </a:cubicBezTo>
                    <a:cubicBezTo>
                      <a:pt x="136" y="41"/>
                      <a:pt x="135" y="41"/>
                      <a:pt x="133" y="41"/>
                    </a:cubicBezTo>
                    <a:cubicBezTo>
                      <a:pt x="133" y="41"/>
                      <a:pt x="133" y="41"/>
                      <a:pt x="133" y="41"/>
                    </a:cubicBezTo>
                    <a:cubicBezTo>
                      <a:pt x="132" y="41"/>
                      <a:pt x="132" y="42"/>
                      <a:pt x="131" y="42"/>
                    </a:cubicBezTo>
                    <a:cubicBezTo>
                      <a:pt x="131" y="42"/>
                      <a:pt x="131" y="42"/>
                      <a:pt x="131" y="42"/>
                    </a:cubicBezTo>
                    <a:cubicBezTo>
                      <a:pt x="127" y="41"/>
                      <a:pt x="125" y="39"/>
                      <a:pt x="122" y="36"/>
                    </a:cubicBezTo>
                    <a:cubicBezTo>
                      <a:pt x="116" y="31"/>
                      <a:pt x="112" y="24"/>
                      <a:pt x="110" y="17"/>
                    </a:cubicBezTo>
                    <a:cubicBezTo>
                      <a:pt x="107" y="11"/>
                      <a:pt x="102" y="5"/>
                      <a:pt x="97" y="0"/>
                    </a:cubicBezTo>
                    <a:cubicBezTo>
                      <a:pt x="96" y="4"/>
                      <a:pt x="92" y="7"/>
                      <a:pt x="89" y="10"/>
                    </a:cubicBezTo>
                    <a:cubicBezTo>
                      <a:pt x="88" y="10"/>
                      <a:pt x="88" y="10"/>
                      <a:pt x="88" y="10"/>
                    </a:cubicBezTo>
                    <a:cubicBezTo>
                      <a:pt x="88" y="10"/>
                      <a:pt x="87" y="11"/>
                      <a:pt x="87" y="11"/>
                    </a:cubicBezTo>
                    <a:cubicBezTo>
                      <a:pt x="86" y="12"/>
                      <a:pt x="85" y="13"/>
                      <a:pt x="84" y="13"/>
                    </a:cubicBezTo>
                    <a:cubicBezTo>
                      <a:pt x="83" y="14"/>
                      <a:pt x="82" y="14"/>
                      <a:pt x="81" y="17"/>
                    </a:cubicBezTo>
                    <a:cubicBezTo>
                      <a:pt x="79" y="21"/>
                      <a:pt x="76" y="23"/>
                      <a:pt x="72" y="23"/>
                    </a:cubicBezTo>
                    <a:cubicBezTo>
                      <a:pt x="70" y="23"/>
                      <a:pt x="68" y="23"/>
                      <a:pt x="66" y="23"/>
                    </a:cubicBezTo>
                    <a:cubicBezTo>
                      <a:pt x="58" y="21"/>
                      <a:pt x="55" y="17"/>
                      <a:pt x="54" y="15"/>
                    </a:cubicBezTo>
                    <a:cubicBezTo>
                      <a:pt x="53" y="14"/>
                      <a:pt x="52" y="12"/>
                      <a:pt x="52" y="12"/>
                    </a:cubicBezTo>
                    <a:cubicBezTo>
                      <a:pt x="49" y="12"/>
                      <a:pt x="46" y="8"/>
                      <a:pt x="45" y="5"/>
                    </a:cubicBezTo>
                    <a:cubicBezTo>
                      <a:pt x="44" y="2"/>
                      <a:pt x="41" y="1"/>
                      <a:pt x="40" y="0"/>
                    </a:cubicBezTo>
                    <a:cubicBezTo>
                      <a:pt x="38" y="0"/>
                      <a:pt x="37" y="0"/>
                      <a:pt x="36" y="0"/>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6" name="Freeform 254">
                <a:extLst>
                  <a:ext uri="{FF2B5EF4-FFF2-40B4-BE49-F238E27FC236}">
                    <a16:creationId xmlns:a16="http://schemas.microsoft.com/office/drawing/2014/main" id="{A61ABCD8-2829-4205-AF4A-5B3733725A20}"/>
                  </a:ext>
                </a:extLst>
              </p:cNvPr>
              <p:cNvSpPr>
                <a:spLocks/>
              </p:cNvSpPr>
              <p:nvPr/>
            </p:nvSpPr>
            <p:spPr bwMode="auto">
              <a:xfrm>
                <a:off x="8413119" y="5148107"/>
                <a:ext cx="95813" cy="70017"/>
              </a:xfrm>
              <a:custGeom>
                <a:avLst/>
                <a:gdLst>
                  <a:gd name="T0" fmla="*/ 2 w 30"/>
                  <a:gd name="T1" fmla="*/ 0 h 23"/>
                  <a:gd name="T2" fmla="*/ 0 w 30"/>
                  <a:gd name="T3" fmla="*/ 1 h 23"/>
                  <a:gd name="T4" fmla="*/ 0 w 30"/>
                  <a:gd name="T5" fmla="*/ 1 h 23"/>
                  <a:gd name="T6" fmla="*/ 0 w 30"/>
                  <a:gd name="T7" fmla="*/ 3 h 23"/>
                  <a:gd name="T8" fmla="*/ 8 w 30"/>
                  <a:gd name="T9" fmla="*/ 11 h 23"/>
                  <a:gd name="T10" fmla="*/ 10 w 30"/>
                  <a:gd name="T11" fmla="*/ 13 h 23"/>
                  <a:gd name="T12" fmla="*/ 10 w 30"/>
                  <a:gd name="T13" fmla="*/ 13 h 23"/>
                  <a:gd name="T14" fmla="*/ 16 w 30"/>
                  <a:gd name="T15" fmla="*/ 19 h 23"/>
                  <a:gd name="T16" fmla="*/ 26 w 30"/>
                  <a:gd name="T17" fmla="*/ 22 h 23"/>
                  <a:gd name="T18" fmla="*/ 28 w 30"/>
                  <a:gd name="T19" fmla="*/ 23 h 23"/>
                  <a:gd name="T20" fmla="*/ 30 w 30"/>
                  <a:gd name="T21" fmla="*/ 23 h 23"/>
                  <a:gd name="T22" fmla="*/ 30 w 30"/>
                  <a:gd name="T23" fmla="*/ 23 h 23"/>
                  <a:gd name="T24" fmla="*/ 27 w 30"/>
                  <a:gd name="T25" fmla="*/ 15 h 23"/>
                  <a:gd name="T26" fmla="*/ 26 w 30"/>
                  <a:gd name="T27" fmla="*/ 15 h 23"/>
                  <a:gd name="T28" fmla="*/ 25 w 30"/>
                  <a:gd name="T29" fmla="*/ 15 h 23"/>
                  <a:gd name="T30" fmla="*/ 20 w 30"/>
                  <a:gd name="T31" fmla="*/ 10 h 23"/>
                  <a:gd name="T32" fmla="*/ 19 w 30"/>
                  <a:gd name="T33" fmla="*/ 8 h 23"/>
                  <a:gd name="T34" fmla="*/ 16 w 30"/>
                  <a:gd name="T35" fmla="*/ 8 h 23"/>
                  <a:gd name="T36" fmla="*/ 15 w 30"/>
                  <a:gd name="T37" fmla="*/ 8 h 23"/>
                  <a:gd name="T38" fmla="*/ 12 w 30"/>
                  <a:gd name="T39" fmla="*/ 8 h 23"/>
                  <a:gd name="T40" fmla="*/ 12 w 30"/>
                  <a:gd name="T41" fmla="*/ 8 h 23"/>
                  <a:gd name="T42" fmla="*/ 9 w 30"/>
                  <a:gd name="T43" fmla="*/ 6 h 23"/>
                  <a:gd name="T44" fmla="*/ 6 w 30"/>
                  <a:gd name="T45" fmla="*/ 4 h 23"/>
                  <a:gd name="T46" fmla="*/ 5 w 30"/>
                  <a:gd name="T47" fmla="*/ 2 h 23"/>
                  <a:gd name="T48" fmla="*/ 3 w 30"/>
                  <a:gd name="T49" fmla="*/ 0 h 23"/>
                  <a:gd name="T50" fmla="*/ 2 w 30"/>
                  <a:gd name="T5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3">
                    <a:moveTo>
                      <a:pt x="2" y="0"/>
                    </a:moveTo>
                    <a:cubicBezTo>
                      <a:pt x="0" y="1"/>
                      <a:pt x="0" y="1"/>
                      <a:pt x="0" y="1"/>
                    </a:cubicBezTo>
                    <a:cubicBezTo>
                      <a:pt x="0" y="1"/>
                      <a:pt x="0" y="1"/>
                      <a:pt x="0" y="1"/>
                    </a:cubicBezTo>
                    <a:cubicBezTo>
                      <a:pt x="0" y="1"/>
                      <a:pt x="0" y="2"/>
                      <a:pt x="0" y="3"/>
                    </a:cubicBezTo>
                    <a:cubicBezTo>
                      <a:pt x="1" y="3"/>
                      <a:pt x="2" y="5"/>
                      <a:pt x="8" y="11"/>
                    </a:cubicBezTo>
                    <a:cubicBezTo>
                      <a:pt x="9" y="12"/>
                      <a:pt x="9" y="12"/>
                      <a:pt x="10" y="13"/>
                    </a:cubicBezTo>
                    <a:cubicBezTo>
                      <a:pt x="10" y="13"/>
                      <a:pt x="10" y="13"/>
                      <a:pt x="10" y="13"/>
                    </a:cubicBezTo>
                    <a:cubicBezTo>
                      <a:pt x="13" y="16"/>
                      <a:pt x="15" y="17"/>
                      <a:pt x="16" y="19"/>
                    </a:cubicBezTo>
                    <a:cubicBezTo>
                      <a:pt x="16" y="19"/>
                      <a:pt x="21" y="21"/>
                      <a:pt x="26" y="22"/>
                    </a:cubicBezTo>
                    <a:cubicBezTo>
                      <a:pt x="27" y="22"/>
                      <a:pt x="27" y="23"/>
                      <a:pt x="28" y="23"/>
                    </a:cubicBezTo>
                    <a:cubicBezTo>
                      <a:pt x="29" y="23"/>
                      <a:pt x="29" y="23"/>
                      <a:pt x="30" y="23"/>
                    </a:cubicBezTo>
                    <a:cubicBezTo>
                      <a:pt x="30" y="23"/>
                      <a:pt x="30" y="23"/>
                      <a:pt x="30" y="23"/>
                    </a:cubicBezTo>
                    <a:cubicBezTo>
                      <a:pt x="29" y="20"/>
                      <a:pt x="28" y="17"/>
                      <a:pt x="27" y="15"/>
                    </a:cubicBezTo>
                    <a:cubicBezTo>
                      <a:pt x="27" y="15"/>
                      <a:pt x="26" y="15"/>
                      <a:pt x="26" y="15"/>
                    </a:cubicBezTo>
                    <a:cubicBezTo>
                      <a:pt x="25" y="15"/>
                      <a:pt x="25" y="15"/>
                      <a:pt x="25" y="15"/>
                    </a:cubicBezTo>
                    <a:cubicBezTo>
                      <a:pt x="23" y="13"/>
                      <a:pt x="21" y="12"/>
                      <a:pt x="20" y="10"/>
                    </a:cubicBezTo>
                    <a:cubicBezTo>
                      <a:pt x="20" y="9"/>
                      <a:pt x="19" y="8"/>
                      <a:pt x="19" y="8"/>
                    </a:cubicBezTo>
                    <a:cubicBezTo>
                      <a:pt x="18" y="8"/>
                      <a:pt x="17" y="8"/>
                      <a:pt x="16" y="8"/>
                    </a:cubicBezTo>
                    <a:cubicBezTo>
                      <a:pt x="15" y="8"/>
                      <a:pt x="15" y="8"/>
                      <a:pt x="15" y="8"/>
                    </a:cubicBezTo>
                    <a:cubicBezTo>
                      <a:pt x="14" y="8"/>
                      <a:pt x="13" y="8"/>
                      <a:pt x="12" y="8"/>
                    </a:cubicBezTo>
                    <a:cubicBezTo>
                      <a:pt x="12" y="8"/>
                      <a:pt x="12" y="8"/>
                      <a:pt x="12" y="8"/>
                    </a:cubicBezTo>
                    <a:cubicBezTo>
                      <a:pt x="11" y="7"/>
                      <a:pt x="10" y="7"/>
                      <a:pt x="9" y="6"/>
                    </a:cubicBezTo>
                    <a:cubicBezTo>
                      <a:pt x="8" y="5"/>
                      <a:pt x="7" y="5"/>
                      <a:pt x="6" y="4"/>
                    </a:cubicBezTo>
                    <a:cubicBezTo>
                      <a:pt x="5" y="3"/>
                      <a:pt x="5" y="3"/>
                      <a:pt x="5" y="2"/>
                    </a:cubicBezTo>
                    <a:cubicBezTo>
                      <a:pt x="4" y="1"/>
                      <a:pt x="3" y="1"/>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7" name="Freeform 255">
                <a:extLst>
                  <a:ext uri="{FF2B5EF4-FFF2-40B4-BE49-F238E27FC236}">
                    <a16:creationId xmlns:a16="http://schemas.microsoft.com/office/drawing/2014/main" id="{E9CB3658-882A-43C7-8C62-930FE390B6B8}"/>
                  </a:ext>
                </a:extLst>
              </p:cNvPr>
              <p:cNvSpPr>
                <a:spLocks/>
              </p:cNvSpPr>
              <p:nvPr/>
            </p:nvSpPr>
            <p:spPr bwMode="auto">
              <a:xfrm>
                <a:off x="5210754" y="5822483"/>
                <a:ext cx="1411399" cy="1035518"/>
              </a:xfrm>
              <a:custGeom>
                <a:avLst/>
                <a:gdLst>
                  <a:gd name="T0" fmla="*/ 61 w 444"/>
                  <a:gd name="T1" fmla="*/ 21 h 326"/>
                  <a:gd name="T2" fmla="*/ 48 w 444"/>
                  <a:gd name="T3" fmla="*/ 31 h 326"/>
                  <a:gd name="T4" fmla="*/ 42 w 444"/>
                  <a:gd name="T5" fmla="*/ 34 h 326"/>
                  <a:gd name="T6" fmla="*/ 34 w 444"/>
                  <a:gd name="T7" fmla="*/ 40 h 326"/>
                  <a:gd name="T8" fmla="*/ 28 w 444"/>
                  <a:gd name="T9" fmla="*/ 46 h 326"/>
                  <a:gd name="T10" fmla="*/ 26 w 444"/>
                  <a:gd name="T11" fmla="*/ 48 h 326"/>
                  <a:gd name="T12" fmla="*/ 25 w 444"/>
                  <a:gd name="T13" fmla="*/ 63 h 326"/>
                  <a:gd name="T14" fmla="*/ 28 w 444"/>
                  <a:gd name="T15" fmla="*/ 83 h 326"/>
                  <a:gd name="T16" fmla="*/ 18 w 444"/>
                  <a:gd name="T17" fmla="*/ 84 h 326"/>
                  <a:gd name="T18" fmla="*/ 8 w 444"/>
                  <a:gd name="T19" fmla="*/ 92 h 326"/>
                  <a:gd name="T20" fmla="*/ 2 w 444"/>
                  <a:gd name="T21" fmla="*/ 94 h 326"/>
                  <a:gd name="T22" fmla="*/ 0 w 444"/>
                  <a:gd name="T23" fmla="*/ 96 h 326"/>
                  <a:gd name="T24" fmla="*/ 14 w 444"/>
                  <a:gd name="T25" fmla="*/ 134 h 326"/>
                  <a:gd name="T26" fmla="*/ 13 w 444"/>
                  <a:gd name="T27" fmla="*/ 152 h 326"/>
                  <a:gd name="T28" fmla="*/ 14 w 444"/>
                  <a:gd name="T29" fmla="*/ 172 h 326"/>
                  <a:gd name="T30" fmla="*/ 12 w 444"/>
                  <a:gd name="T31" fmla="*/ 176 h 326"/>
                  <a:gd name="T32" fmla="*/ 12 w 444"/>
                  <a:gd name="T33" fmla="*/ 186 h 326"/>
                  <a:gd name="T34" fmla="*/ 14 w 444"/>
                  <a:gd name="T35" fmla="*/ 200 h 326"/>
                  <a:gd name="T36" fmla="*/ 10 w 444"/>
                  <a:gd name="T37" fmla="*/ 210 h 326"/>
                  <a:gd name="T38" fmla="*/ 6 w 444"/>
                  <a:gd name="T39" fmla="*/ 211 h 326"/>
                  <a:gd name="T40" fmla="*/ 2 w 444"/>
                  <a:gd name="T41" fmla="*/ 216 h 326"/>
                  <a:gd name="T42" fmla="*/ 7 w 444"/>
                  <a:gd name="T43" fmla="*/ 225 h 326"/>
                  <a:gd name="T44" fmla="*/ 11 w 444"/>
                  <a:gd name="T45" fmla="*/ 229 h 326"/>
                  <a:gd name="T46" fmla="*/ 18 w 444"/>
                  <a:gd name="T47" fmla="*/ 247 h 326"/>
                  <a:gd name="T48" fmla="*/ 20 w 444"/>
                  <a:gd name="T49" fmla="*/ 254 h 326"/>
                  <a:gd name="T50" fmla="*/ 25 w 444"/>
                  <a:gd name="T51" fmla="*/ 261 h 326"/>
                  <a:gd name="T52" fmla="*/ 28 w 444"/>
                  <a:gd name="T53" fmla="*/ 263 h 326"/>
                  <a:gd name="T54" fmla="*/ 34 w 444"/>
                  <a:gd name="T55" fmla="*/ 257 h 326"/>
                  <a:gd name="T56" fmla="*/ 41 w 444"/>
                  <a:gd name="T57" fmla="*/ 263 h 326"/>
                  <a:gd name="T58" fmla="*/ 63 w 444"/>
                  <a:gd name="T59" fmla="*/ 275 h 326"/>
                  <a:gd name="T60" fmla="*/ 68 w 444"/>
                  <a:gd name="T61" fmla="*/ 284 h 326"/>
                  <a:gd name="T62" fmla="*/ 73 w 444"/>
                  <a:gd name="T63" fmla="*/ 292 h 326"/>
                  <a:gd name="T64" fmla="*/ 113 w 444"/>
                  <a:gd name="T65" fmla="*/ 302 h 326"/>
                  <a:gd name="T66" fmla="*/ 130 w 444"/>
                  <a:gd name="T67" fmla="*/ 314 h 326"/>
                  <a:gd name="T68" fmla="*/ 135 w 444"/>
                  <a:gd name="T69" fmla="*/ 318 h 326"/>
                  <a:gd name="T70" fmla="*/ 139 w 444"/>
                  <a:gd name="T71" fmla="*/ 317 h 326"/>
                  <a:gd name="T72" fmla="*/ 185 w 444"/>
                  <a:gd name="T73" fmla="*/ 295 h 326"/>
                  <a:gd name="T74" fmla="*/ 201 w 444"/>
                  <a:gd name="T75" fmla="*/ 302 h 326"/>
                  <a:gd name="T76" fmla="*/ 250 w 444"/>
                  <a:gd name="T77" fmla="*/ 326 h 326"/>
                  <a:gd name="T78" fmla="*/ 437 w 444"/>
                  <a:gd name="T79" fmla="*/ 138 h 326"/>
                  <a:gd name="T80" fmla="*/ 432 w 444"/>
                  <a:gd name="T81" fmla="*/ 103 h 326"/>
                  <a:gd name="T82" fmla="*/ 429 w 444"/>
                  <a:gd name="T83" fmla="*/ 94 h 326"/>
                  <a:gd name="T84" fmla="*/ 435 w 444"/>
                  <a:gd name="T85" fmla="*/ 81 h 326"/>
                  <a:gd name="T86" fmla="*/ 434 w 444"/>
                  <a:gd name="T87" fmla="*/ 62 h 326"/>
                  <a:gd name="T88" fmla="*/ 440 w 444"/>
                  <a:gd name="T89" fmla="*/ 46 h 326"/>
                  <a:gd name="T90" fmla="*/ 444 w 444"/>
                  <a:gd name="T91" fmla="*/ 43 h 326"/>
                  <a:gd name="T92" fmla="*/ 433 w 444"/>
                  <a:gd name="T93" fmla="*/ 35 h 326"/>
                  <a:gd name="T94" fmla="*/ 414 w 444"/>
                  <a:gd name="T95" fmla="*/ 33 h 326"/>
                  <a:gd name="T96" fmla="*/ 387 w 444"/>
                  <a:gd name="T97" fmla="*/ 16 h 326"/>
                  <a:gd name="T98" fmla="*/ 356 w 444"/>
                  <a:gd name="T99" fmla="*/ 7 h 326"/>
                  <a:gd name="T100" fmla="*/ 316 w 444"/>
                  <a:gd name="T101" fmla="*/ 17 h 326"/>
                  <a:gd name="T102" fmla="*/ 299 w 444"/>
                  <a:gd name="T103" fmla="*/ 53 h 326"/>
                  <a:gd name="T104" fmla="*/ 280 w 444"/>
                  <a:gd name="T105" fmla="*/ 89 h 326"/>
                  <a:gd name="T106" fmla="*/ 264 w 444"/>
                  <a:gd name="T107" fmla="*/ 87 h 326"/>
                  <a:gd name="T108" fmla="*/ 185 w 444"/>
                  <a:gd name="T109" fmla="*/ 57 h 326"/>
                  <a:gd name="T110" fmla="*/ 160 w 444"/>
                  <a:gd name="T111" fmla="*/ 22 h 326"/>
                  <a:gd name="T112" fmla="*/ 104 w 444"/>
                  <a:gd name="T113" fmla="*/ 9 h 326"/>
                  <a:gd name="T114" fmla="*/ 90 w 444"/>
                  <a:gd name="T115" fmla="*/ 1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4" h="326">
                    <a:moveTo>
                      <a:pt x="61" y="0"/>
                    </a:moveTo>
                    <a:cubicBezTo>
                      <a:pt x="61" y="0"/>
                      <a:pt x="61" y="0"/>
                      <a:pt x="61" y="0"/>
                    </a:cubicBezTo>
                    <a:cubicBezTo>
                      <a:pt x="61" y="21"/>
                      <a:pt x="61" y="21"/>
                      <a:pt x="61" y="21"/>
                    </a:cubicBezTo>
                    <a:cubicBezTo>
                      <a:pt x="61" y="24"/>
                      <a:pt x="58" y="27"/>
                      <a:pt x="57" y="27"/>
                    </a:cubicBezTo>
                    <a:cubicBezTo>
                      <a:pt x="54" y="28"/>
                      <a:pt x="52" y="29"/>
                      <a:pt x="50" y="30"/>
                    </a:cubicBezTo>
                    <a:cubicBezTo>
                      <a:pt x="48" y="31"/>
                      <a:pt x="48" y="31"/>
                      <a:pt x="48" y="31"/>
                    </a:cubicBezTo>
                    <a:cubicBezTo>
                      <a:pt x="46" y="32"/>
                      <a:pt x="44" y="32"/>
                      <a:pt x="43" y="33"/>
                    </a:cubicBezTo>
                    <a:cubicBezTo>
                      <a:pt x="43" y="33"/>
                      <a:pt x="43" y="33"/>
                      <a:pt x="43" y="33"/>
                    </a:cubicBezTo>
                    <a:cubicBezTo>
                      <a:pt x="42" y="34"/>
                      <a:pt x="42" y="34"/>
                      <a:pt x="42" y="34"/>
                    </a:cubicBezTo>
                    <a:cubicBezTo>
                      <a:pt x="42" y="34"/>
                      <a:pt x="41" y="35"/>
                      <a:pt x="41" y="36"/>
                    </a:cubicBezTo>
                    <a:cubicBezTo>
                      <a:pt x="40" y="37"/>
                      <a:pt x="39" y="38"/>
                      <a:pt x="37" y="39"/>
                    </a:cubicBezTo>
                    <a:cubicBezTo>
                      <a:pt x="36" y="40"/>
                      <a:pt x="35" y="40"/>
                      <a:pt x="34" y="40"/>
                    </a:cubicBezTo>
                    <a:cubicBezTo>
                      <a:pt x="34" y="40"/>
                      <a:pt x="34" y="40"/>
                      <a:pt x="34" y="40"/>
                    </a:cubicBezTo>
                    <a:cubicBezTo>
                      <a:pt x="33" y="41"/>
                      <a:pt x="33" y="41"/>
                      <a:pt x="33" y="41"/>
                    </a:cubicBezTo>
                    <a:cubicBezTo>
                      <a:pt x="32" y="43"/>
                      <a:pt x="30" y="45"/>
                      <a:pt x="28" y="46"/>
                    </a:cubicBezTo>
                    <a:cubicBezTo>
                      <a:pt x="27" y="47"/>
                      <a:pt x="27" y="47"/>
                      <a:pt x="27" y="47"/>
                    </a:cubicBezTo>
                    <a:cubicBezTo>
                      <a:pt x="26" y="48"/>
                      <a:pt x="26" y="48"/>
                      <a:pt x="26" y="48"/>
                    </a:cubicBezTo>
                    <a:cubicBezTo>
                      <a:pt x="26" y="48"/>
                      <a:pt x="26" y="48"/>
                      <a:pt x="26" y="48"/>
                    </a:cubicBezTo>
                    <a:cubicBezTo>
                      <a:pt x="25" y="50"/>
                      <a:pt x="24" y="54"/>
                      <a:pt x="24" y="57"/>
                    </a:cubicBezTo>
                    <a:cubicBezTo>
                      <a:pt x="24" y="59"/>
                      <a:pt x="24" y="61"/>
                      <a:pt x="24" y="62"/>
                    </a:cubicBezTo>
                    <a:cubicBezTo>
                      <a:pt x="25" y="63"/>
                      <a:pt x="25" y="63"/>
                      <a:pt x="25" y="63"/>
                    </a:cubicBezTo>
                    <a:cubicBezTo>
                      <a:pt x="25" y="64"/>
                      <a:pt x="25" y="65"/>
                      <a:pt x="25" y="66"/>
                    </a:cubicBezTo>
                    <a:cubicBezTo>
                      <a:pt x="26" y="72"/>
                      <a:pt x="24" y="76"/>
                      <a:pt x="22" y="79"/>
                    </a:cubicBezTo>
                    <a:cubicBezTo>
                      <a:pt x="28" y="83"/>
                      <a:pt x="28" y="83"/>
                      <a:pt x="28" y="83"/>
                    </a:cubicBezTo>
                    <a:cubicBezTo>
                      <a:pt x="21" y="80"/>
                      <a:pt x="21" y="80"/>
                      <a:pt x="21" y="80"/>
                    </a:cubicBezTo>
                    <a:cubicBezTo>
                      <a:pt x="21" y="81"/>
                      <a:pt x="21" y="81"/>
                      <a:pt x="21" y="81"/>
                    </a:cubicBezTo>
                    <a:cubicBezTo>
                      <a:pt x="20" y="82"/>
                      <a:pt x="19" y="83"/>
                      <a:pt x="18" y="84"/>
                    </a:cubicBezTo>
                    <a:cubicBezTo>
                      <a:pt x="17" y="85"/>
                      <a:pt x="17" y="85"/>
                      <a:pt x="17" y="85"/>
                    </a:cubicBezTo>
                    <a:cubicBezTo>
                      <a:pt x="17" y="85"/>
                      <a:pt x="16" y="86"/>
                      <a:pt x="16" y="87"/>
                    </a:cubicBezTo>
                    <a:cubicBezTo>
                      <a:pt x="14" y="90"/>
                      <a:pt x="10" y="91"/>
                      <a:pt x="8" y="92"/>
                    </a:cubicBezTo>
                    <a:cubicBezTo>
                      <a:pt x="5" y="93"/>
                      <a:pt x="5" y="93"/>
                      <a:pt x="5" y="93"/>
                    </a:cubicBezTo>
                    <a:cubicBezTo>
                      <a:pt x="4" y="93"/>
                      <a:pt x="3" y="94"/>
                      <a:pt x="2" y="94"/>
                    </a:cubicBezTo>
                    <a:cubicBezTo>
                      <a:pt x="2" y="94"/>
                      <a:pt x="2" y="94"/>
                      <a:pt x="2" y="94"/>
                    </a:cubicBezTo>
                    <a:cubicBezTo>
                      <a:pt x="2" y="94"/>
                      <a:pt x="2" y="94"/>
                      <a:pt x="2" y="94"/>
                    </a:cubicBezTo>
                    <a:cubicBezTo>
                      <a:pt x="1" y="95"/>
                      <a:pt x="1" y="95"/>
                      <a:pt x="1" y="95"/>
                    </a:cubicBezTo>
                    <a:cubicBezTo>
                      <a:pt x="0" y="96"/>
                      <a:pt x="0" y="96"/>
                      <a:pt x="0" y="96"/>
                    </a:cubicBezTo>
                    <a:cubicBezTo>
                      <a:pt x="1" y="99"/>
                      <a:pt x="4" y="104"/>
                      <a:pt x="6" y="106"/>
                    </a:cubicBezTo>
                    <a:cubicBezTo>
                      <a:pt x="7" y="108"/>
                      <a:pt x="8" y="109"/>
                      <a:pt x="8" y="110"/>
                    </a:cubicBezTo>
                    <a:cubicBezTo>
                      <a:pt x="12" y="117"/>
                      <a:pt x="14" y="124"/>
                      <a:pt x="14" y="134"/>
                    </a:cubicBezTo>
                    <a:cubicBezTo>
                      <a:pt x="14" y="136"/>
                      <a:pt x="14" y="138"/>
                      <a:pt x="13" y="139"/>
                    </a:cubicBezTo>
                    <a:cubicBezTo>
                      <a:pt x="13" y="140"/>
                      <a:pt x="13" y="140"/>
                      <a:pt x="13" y="140"/>
                    </a:cubicBezTo>
                    <a:cubicBezTo>
                      <a:pt x="13" y="144"/>
                      <a:pt x="12" y="148"/>
                      <a:pt x="13" y="152"/>
                    </a:cubicBezTo>
                    <a:cubicBezTo>
                      <a:pt x="13" y="154"/>
                      <a:pt x="13" y="155"/>
                      <a:pt x="14" y="157"/>
                    </a:cubicBezTo>
                    <a:cubicBezTo>
                      <a:pt x="16" y="162"/>
                      <a:pt x="16" y="162"/>
                      <a:pt x="16" y="162"/>
                    </a:cubicBezTo>
                    <a:cubicBezTo>
                      <a:pt x="17" y="166"/>
                      <a:pt x="15" y="169"/>
                      <a:pt x="14" y="172"/>
                    </a:cubicBezTo>
                    <a:cubicBezTo>
                      <a:pt x="14" y="173"/>
                      <a:pt x="13" y="174"/>
                      <a:pt x="13" y="174"/>
                    </a:cubicBezTo>
                    <a:cubicBezTo>
                      <a:pt x="13" y="175"/>
                      <a:pt x="13" y="175"/>
                      <a:pt x="13" y="175"/>
                    </a:cubicBezTo>
                    <a:cubicBezTo>
                      <a:pt x="13" y="176"/>
                      <a:pt x="12" y="176"/>
                      <a:pt x="12" y="176"/>
                    </a:cubicBezTo>
                    <a:cubicBezTo>
                      <a:pt x="11" y="178"/>
                      <a:pt x="10" y="180"/>
                      <a:pt x="11" y="182"/>
                    </a:cubicBezTo>
                    <a:cubicBezTo>
                      <a:pt x="11" y="182"/>
                      <a:pt x="11" y="183"/>
                      <a:pt x="11" y="184"/>
                    </a:cubicBezTo>
                    <a:cubicBezTo>
                      <a:pt x="11" y="184"/>
                      <a:pt x="12" y="185"/>
                      <a:pt x="12" y="186"/>
                    </a:cubicBezTo>
                    <a:cubicBezTo>
                      <a:pt x="12" y="187"/>
                      <a:pt x="12" y="188"/>
                      <a:pt x="12" y="189"/>
                    </a:cubicBezTo>
                    <a:cubicBezTo>
                      <a:pt x="13" y="192"/>
                      <a:pt x="13" y="192"/>
                      <a:pt x="13" y="192"/>
                    </a:cubicBezTo>
                    <a:cubicBezTo>
                      <a:pt x="13" y="195"/>
                      <a:pt x="13" y="198"/>
                      <a:pt x="14" y="200"/>
                    </a:cubicBezTo>
                    <a:cubicBezTo>
                      <a:pt x="14" y="201"/>
                      <a:pt x="14" y="201"/>
                      <a:pt x="14" y="201"/>
                    </a:cubicBezTo>
                    <a:cubicBezTo>
                      <a:pt x="14" y="205"/>
                      <a:pt x="14" y="207"/>
                      <a:pt x="10" y="209"/>
                    </a:cubicBezTo>
                    <a:cubicBezTo>
                      <a:pt x="10" y="210"/>
                      <a:pt x="10" y="210"/>
                      <a:pt x="10" y="210"/>
                    </a:cubicBezTo>
                    <a:cubicBezTo>
                      <a:pt x="9" y="210"/>
                      <a:pt x="9" y="210"/>
                      <a:pt x="9" y="210"/>
                    </a:cubicBezTo>
                    <a:cubicBezTo>
                      <a:pt x="7" y="211"/>
                      <a:pt x="7" y="211"/>
                      <a:pt x="7" y="211"/>
                    </a:cubicBezTo>
                    <a:cubicBezTo>
                      <a:pt x="6" y="211"/>
                      <a:pt x="6" y="211"/>
                      <a:pt x="6" y="211"/>
                    </a:cubicBezTo>
                    <a:cubicBezTo>
                      <a:pt x="5" y="212"/>
                      <a:pt x="5" y="212"/>
                      <a:pt x="4" y="214"/>
                    </a:cubicBezTo>
                    <a:cubicBezTo>
                      <a:pt x="2" y="215"/>
                      <a:pt x="2" y="216"/>
                      <a:pt x="1" y="216"/>
                    </a:cubicBezTo>
                    <a:cubicBezTo>
                      <a:pt x="2" y="216"/>
                      <a:pt x="2" y="216"/>
                      <a:pt x="2" y="216"/>
                    </a:cubicBezTo>
                    <a:cubicBezTo>
                      <a:pt x="1" y="217"/>
                      <a:pt x="1" y="217"/>
                      <a:pt x="1" y="217"/>
                    </a:cubicBezTo>
                    <a:cubicBezTo>
                      <a:pt x="2" y="217"/>
                      <a:pt x="2" y="218"/>
                      <a:pt x="7" y="224"/>
                    </a:cubicBezTo>
                    <a:cubicBezTo>
                      <a:pt x="7" y="225"/>
                      <a:pt x="7" y="225"/>
                      <a:pt x="7" y="225"/>
                    </a:cubicBezTo>
                    <a:cubicBezTo>
                      <a:pt x="8" y="226"/>
                      <a:pt x="9" y="226"/>
                      <a:pt x="9" y="227"/>
                    </a:cubicBezTo>
                    <a:cubicBezTo>
                      <a:pt x="10" y="228"/>
                      <a:pt x="10" y="228"/>
                      <a:pt x="10" y="228"/>
                    </a:cubicBezTo>
                    <a:cubicBezTo>
                      <a:pt x="10" y="228"/>
                      <a:pt x="11" y="229"/>
                      <a:pt x="11" y="229"/>
                    </a:cubicBezTo>
                    <a:cubicBezTo>
                      <a:pt x="11" y="230"/>
                      <a:pt x="11" y="230"/>
                      <a:pt x="11" y="230"/>
                    </a:cubicBezTo>
                    <a:cubicBezTo>
                      <a:pt x="13" y="231"/>
                      <a:pt x="14" y="232"/>
                      <a:pt x="14" y="234"/>
                    </a:cubicBezTo>
                    <a:cubicBezTo>
                      <a:pt x="17" y="238"/>
                      <a:pt x="17" y="243"/>
                      <a:pt x="18" y="247"/>
                    </a:cubicBezTo>
                    <a:cubicBezTo>
                      <a:pt x="18" y="248"/>
                      <a:pt x="18" y="248"/>
                      <a:pt x="18" y="248"/>
                    </a:cubicBezTo>
                    <a:cubicBezTo>
                      <a:pt x="19" y="249"/>
                      <a:pt x="19" y="251"/>
                      <a:pt x="19" y="253"/>
                    </a:cubicBezTo>
                    <a:cubicBezTo>
                      <a:pt x="20" y="254"/>
                      <a:pt x="20" y="254"/>
                      <a:pt x="20" y="254"/>
                    </a:cubicBezTo>
                    <a:cubicBezTo>
                      <a:pt x="20" y="255"/>
                      <a:pt x="20" y="255"/>
                      <a:pt x="20" y="255"/>
                    </a:cubicBezTo>
                    <a:cubicBezTo>
                      <a:pt x="22" y="257"/>
                      <a:pt x="23" y="259"/>
                      <a:pt x="25" y="261"/>
                    </a:cubicBezTo>
                    <a:cubicBezTo>
                      <a:pt x="25" y="261"/>
                      <a:pt x="25" y="261"/>
                      <a:pt x="25" y="261"/>
                    </a:cubicBezTo>
                    <a:cubicBezTo>
                      <a:pt x="26" y="262"/>
                      <a:pt x="26" y="262"/>
                      <a:pt x="26" y="262"/>
                    </a:cubicBezTo>
                    <a:cubicBezTo>
                      <a:pt x="26" y="262"/>
                      <a:pt x="27" y="263"/>
                      <a:pt x="27" y="263"/>
                    </a:cubicBezTo>
                    <a:cubicBezTo>
                      <a:pt x="28" y="263"/>
                      <a:pt x="28" y="263"/>
                      <a:pt x="28" y="263"/>
                    </a:cubicBezTo>
                    <a:cubicBezTo>
                      <a:pt x="29" y="263"/>
                      <a:pt x="29" y="263"/>
                      <a:pt x="29" y="263"/>
                    </a:cubicBezTo>
                    <a:cubicBezTo>
                      <a:pt x="31" y="262"/>
                      <a:pt x="32" y="262"/>
                      <a:pt x="34" y="262"/>
                    </a:cubicBezTo>
                    <a:cubicBezTo>
                      <a:pt x="34" y="257"/>
                      <a:pt x="34" y="257"/>
                      <a:pt x="34" y="257"/>
                    </a:cubicBezTo>
                    <a:cubicBezTo>
                      <a:pt x="35" y="262"/>
                      <a:pt x="35" y="262"/>
                      <a:pt x="35" y="262"/>
                    </a:cubicBezTo>
                    <a:cubicBezTo>
                      <a:pt x="36" y="262"/>
                      <a:pt x="36" y="262"/>
                      <a:pt x="36" y="262"/>
                    </a:cubicBezTo>
                    <a:cubicBezTo>
                      <a:pt x="37" y="262"/>
                      <a:pt x="39" y="262"/>
                      <a:pt x="41" y="263"/>
                    </a:cubicBezTo>
                    <a:cubicBezTo>
                      <a:pt x="44" y="264"/>
                      <a:pt x="46" y="265"/>
                      <a:pt x="49" y="266"/>
                    </a:cubicBezTo>
                    <a:cubicBezTo>
                      <a:pt x="54" y="267"/>
                      <a:pt x="54" y="267"/>
                      <a:pt x="54" y="267"/>
                    </a:cubicBezTo>
                    <a:cubicBezTo>
                      <a:pt x="59" y="269"/>
                      <a:pt x="61" y="272"/>
                      <a:pt x="63" y="275"/>
                    </a:cubicBezTo>
                    <a:cubicBezTo>
                      <a:pt x="63" y="275"/>
                      <a:pt x="63" y="275"/>
                      <a:pt x="63" y="275"/>
                    </a:cubicBezTo>
                    <a:cubicBezTo>
                      <a:pt x="64" y="276"/>
                      <a:pt x="64" y="277"/>
                      <a:pt x="65" y="277"/>
                    </a:cubicBezTo>
                    <a:cubicBezTo>
                      <a:pt x="66" y="279"/>
                      <a:pt x="67" y="281"/>
                      <a:pt x="68" y="284"/>
                    </a:cubicBezTo>
                    <a:cubicBezTo>
                      <a:pt x="68" y="284"/>
                      <a:pt x="68" y="284"/>
                      <a:pt x="68" y="284"/>
                    </a:cubicBezTo>
                    <a:cubicBezTo>
                      <a:pt x="70" y="287"/>
                      <a:pt x="71" y="291"/>
                      <a:pt x="73" y="292"/>
                    </a:cubicBezTo>
                    <a:cubicBezTo>
                      <a:pt x="73" y="292"/>
                      <a:pt x="73" y="292"/>
                      <a:pt x="73" y="292"/>
                    </a:cubicBezTo>
                    <a:cubicBezTo>
                      <a:pt x="84" y="292"/>
                      <a:pt x="84" y="292"/>
                      <a:pt x="84" y="292"/>
                    </a:cubicBezTo>
                    <a:cubicBezTo>
                      <a:pt x="80" y="294"/>
                      <a:pt x="80" y="294"/>
                      <a:pt x="80" y="294"/>
                    </a:cubicBezTo>
                    <a:cubicBezTo>
                      <a:pt x="113" y="302"/>
                      <a:pt x="113" y="302"/>
                      <a:pt x="113" y="302"/>
                    </a:cubicBezTo>
                    <a:cubicBezTo>
                      <a:pt x="118" y="303"/>
                      <a:pt x="121" y="306"/>
                      <a:pt x="124" y="309"/>
                    </a:cubicBezTo>
                    <a:cubicBezTo>
                      <a:pt x="129" y="313"/>
                      <a:pt x="129" y="313"/>
                      <a:pt x="129" y="313"/>
                    </a:cubicBezTo>
                    <a:cubicBezTo>
                      <a:pt x="129" y="313"/>
                      <a:pt x="130" y="314"/>
                      <a:pt x="130" y="314"/>
                    </a:cubicBezTo>
                    <a:cubicBezTo>
                      <a:pt x="131" y="315"/>
                      <a:pt x="131" y="315"/>
                      <a:pt x="131" y="315"/>
                    </a:cubicBezTo>
                    <a:cubicBezTo>
                      <a:pt x="132" y="316"/>
                      <a:pt x="133" y="317"/>
                      <a:pt x="134" y="318"/>
                    </a:cubicBezTo>
                    <a:cubicBezTo>
                      <a:pt x="135" y="318"/>
                      <a:pt x="135" y="318"/>
                      <a:pt x="135" y="318"/>
                    </a:cubicBezTo>
                    <a:cubicBezTo>
                      <a:pt x="135" y="318"/>
                      <a:pt x="135" y="318"/>
                      <a:pt x="135" y="318"/>
                    </a:cubicBezTo>
                    <a:cubicBezTo>
                      <a:pt x="136" y="318"/>
                      <a:pt x="137" y="318"/>
                      <a:pt x="138" y="318"/>
                    </a:cubicBezTo>
                    <a:cubicBezTo>
                      <a:pt x="138" y="318"/>
                      <a:pt x="138" y="317"/>
                      <a:pt x="139" y="317"/>
                    </a:cubicBezTo>
                    <a:cubicBezTo>
                      <a:pt x="180" y="296"/>
                      <a:pt x="180" y="296"/>
                      <a:pt x="180" y="296"/>
                    </a:cubicBezTo>
                    <a:cubicBezTo>
                      <a:pt x="180" y="296"/>
                      <a:pt x="181" y="296"/>
                      <a:pt x="181" y="296"/>
                    </a:cubicBezTo>
                    <a:cubicBezTo>
                      <a:pt x="182" y="295"/>
                      <a:pt x="184" y="295"/>
                      <a:pt x="185" y="295"/>
                    </a:cubicBezTo>
                    <a:cubicBezTo>
                      <a:pt x="186" y="295"/>
                      <a:pt x="186" y="295"/>
                      <a:pt x="187" y="295"/>
                    </a:cubicBezTo>
                    <a:cubicBezTo>
                      <a:pt x="188" y="296"/>
                      <a:pt x="190" y="296"/>
                      <a:pt x="191" y="297"/>
                    </a:cubicBezTo>
                    <a:cubicBezTo>
                      <a:pt x="201" y="302"/>
                      <a:pt x="201" y="302"/>
                      <a:pt x="201" y="302"/>
                    </a:cubicBezTo>
                    <a:cubicBezTo>
                      <a:pt x="210" y="306"/>
                      <a:pt x="219" y="311"/>
                      <a:pt x="228" y="315"/>
                    </a:cubicBezTo>
                    <a:cubicBezTo>
                      <a:pt x="241" y="322"/>
                      <a:pt x="241" y="322"/>
                      <a:pt x="241" y="322"/>
                    </a:cubicBezTo>
                    <a:cubicBezTo>
                      <a:pt x="244" y="323"/>
                      <a:pt x="247" y="325"/>
                      <a:pt x="250" y="326"/>
                    </a:cubicBezTo>
                    <a:cubicBezTo>
                      <a:pt x="437" y="326"/>
                      <a:pt x="437" y="326"/>
                      <a:pt x="437" y="326"/>
                    </a:cubicBezTo>
                    <a:cubicBezTo>
                      <a:pt x="437" y="169"/>
                      <a:pt x="437" y="169"/>
                      <a:pt x="437" y="169"/>
                    </a:cubicBezTo>
                    <a:cubicBezTo>
                      <a:pt x="437" y="159"/>
                      <a:pt x="437" y="148"/>
                      <a:pt x="437" y="138"/>
                    </a:cubicBezTo>
                    <a:cubicBezTo>
                      <a:pt x="436" y="134"/>
                      <a:pt x="436" y="130"/>
                      <a:pt x="436" y="126"/>
                    </a:cubicBezTo>
                    <a:cubicBezTo>
                      <a:pt x="435" y="119"/>
                      <a:pt x="434" y="113"/>
                      <a:pt x="433" y="107"/>
                    </a:cubicBezTo>
                    <a:cubicBezTo>
                      <a:pt x="432" y="106"/>
                      <a:pt x="432" y="105"/>
                      <a:pt x="432" y="103"/>
                    </a:cubicBezTo>
                    <a:cubicBezTo>
                      <a:pt x="432" y="103"/>
                      <a:pt x="432" y="103"/>
                      <a:pt x="432" y="103"/>
                    </a:cubicBezTo>
                    <a:cubicBezTo>
                      <a:pt x="431" y="101"/>
                      <a:pt x="431" y="99"/>
                      <a:pt x="430" y="97"/>
                    </a:cubicBezTo>
                    <a:cubicBezTo>
                      <a:pt x="430" y="96"/>
                      <a:pt x="429" y="95"/>
                      <a:pt x="429" y="94"/>
                    </a:cubicBezTo>
                    <a:cubicBezTo>
                      <a:pt x="429" y="90"/>
                      <a:pt x="431" y="87"/>
                      <a:pt x="433" y="84"/>
                    </a:cubicBezTo>
                    <a:cubicBezTo>
                      <a:pt x="434" y="83"/>
                      <a:pt x="435" y="82"/>
                      <a:pt x="435" y="81"/>
                    </a:cubicBezTo>
                    <a:cubicBezTo>
                      <a:pt x="435" y="81"/>
                      <a:pt x="435" y="81"/>
                      <a:pt x="435" y="81"/>
                    </a:cubicBezTo>
                    <a:cubicBezTo>
                      <a:pt x="436" y="79"/>
                      <a:pt x="437" y="76"/>
                      <a:pt x="436" y="73"/>
                    </a:cubicBezTo>
                    <a:cubicBezTo>
                      <a:pt x="436" y="72"/>
                      <a:pt x="435" y="71"/>
                      <a:pt x="435" y="69"/>
                    </a:cubicBezTo>
                    <a:cubicBezTo>
                      <a:pt x="435" y="67"/>
                      <a:pt x="434" y="65"/>
                      <a:pt x="434" y="62"/>
                    </a:cubicBezTo>
                    <a:cubicBezTo>
                      <a:pt x="433" y="61"/>
                      <a:pt x="433" y="58"/>
                      <a:pt x="434" y="56"/>
                    </a:cubicBezTo>
                    <a:cubicBezTo>
                      <a:pt x="434" y="55"/>
                      <a:pt x="434" y="54"/>
                      <a:pt x="435" y="53"/>
                    </a:cubicBezTo>
                    <a:cubicBezTo>
                      <a:pt x="436" y="51"/>
                      <a:pt x="438" y="49"/>
                      <a:pt x="440" y="46"/>
                    </a:cubicBezTo>
                    <a:cubicBezTo>
                      <a:pt x="442" y="45"/>
                      <a:pt x="442" y="45"/>
                      <a:pt x="442" y="45"/>
                    </a:cubicBezTo>
                    <a:cubicBezTo>
                      <a:pt x="442" y="44"/>
                      <a:pt x="443" y="44"/>
                      <a:pt x="443" y="43"/>
                    </a:cubicBezTo>
                    <a:cubicBezTo>
                      <a:pt x="444" y="43"/>
                      <a:pt x="444" y="43"/>
                      <a:pt x="444" y="43"/>
                    </a:cubicBezTo>
                    <a:cubicBezTo>
                      <a:pt x="442" y="41"/>
                      <a:pt x="441" y="37"/>
                      <a:pt x="439" y="36"/>
                    </a:cubicBezTo>
                    <a:cubicBezTo>
                      <a:pt x="438" y="36"/>
                      <a:pt x="436" y="35"/>
                      <a:pt x="435" y="35"/>
                    </a:cubicBezTo>
                    <a:cubicBezTo>
                      <a:pt x="434" y="35"/>
                      <a:pt x="433" y="35"/>
                      <a:pt x="433" y="35"/>
                    </a:cubicBezTo>
                    <a:cubicBezTo>
                      <a:pt x="432" y="35"/>
                      <a:pt x="431" y="35"/>
                      <a:pt x="430" y="35"/>
                    </a:cubicBezTo>
                    <a:cubicBezTo>
                      <a:pt x="429" y="35"/>
                      <a:pt x="428" y="36"/>
                      <a:pt x="427" y="36"/>
                    </a:cubicBezTo>
                    <a:cubicBezTo>
                      <a:pt x="422" y="36"/>
                      <a:pt x="418" y="34"/>
                      <a:pt x="414" y="33"/>
                    </a:cubicBezTo>
                    <a:cubicBezTo>
                      <a:pt x="406" y="30"/>
                      <a:pt x="399" y="30"/>
                      <a:pt x="391" y="29"/>
                    </a:cubicBezTo>
                    <a:cubicBezTo>
                      <a:pt x="389" y="28"/>
                      <a:pt x="387" y="25"/>
                      <a:pt x="386" y="24"/>
                    </a:cubicBezTo>
                    <a:cubicBezTo>
                      <a:pt x="386" y="22"/>
                      <a:pt x="388" y="18"/>
                      <a:pt x="387" y="16"/>
                    </a:cubicBezTo>
                    <a:cubicBezTo>
                      <a:pt x="386" y="14"/>
                      <a:pt x="381" y="13"/>
                      <a:pt x="379" y="13"/>
                    </a:cubicBezTo>
                    <a:cubicBezTo>
                      <a:pt x="375" y="11"/>
                      <a:pt x="370" y="10"/>
                      <a:pt x="366" y="9"/>
                    </a:cubicBezTo>
                    <a:cubicBezTo>
                      <a:pt x="363" y="8"/>
                      <a:pt x="359" y="7"/>
                      <a:pt x="356" y="7"/>
                    </a:cubicBezTo>
                    <a:cubicBezTo>
                      <a:pt x="355" y="7"/>
                      <a:pt x="355" y="7"/>
                      <a:pt x="354" y="7"/>
                    </a:cubicBezTo>
                    <a:cubicBezTo>
                      <a:pt x="349" y="8"/>
                      <a:pt x="345" y="9"/>
                      <a:pt x="340" y="10"/>
                    </a:cubicBezTo>
                    <a:cubicBezTo>
                      <a:pt x="332" y="12"/>
                      <a:pt x="324" y="15"/>
                      <a:pt x="316" y="17"/>
                    </a:cubicBezTo>
                    <a:cubicBezTo>
                      <a:pt x="313" y="18"/>
                      <a:pt x="310" y="22"/>
                      <a:pt x="308" y="24"/>
                    </a:cubicBezTo>
                    <a:cubicBezTo>
                      <a:pt x="306" y="27"/>
                      <a:pt x="303" y="30"/>
                      <a:pt x="300" y="33"/>
                    </a:cubicBezTo>
                    <a:cubicBezTo>
                      <a:pt x="295" y="39"/>
                      <a:pt x="296" y="47"/>
                      <a:pt x="299" y="53"/>
                    </a:cubicBezTo>
                    <a:cubicBezTo>
                      <a:pt x="300" y="55"/>
                      <a:pt x="301" y="56"/>
                      <a:pt x="301" y="57"/>
                    </a:cubicBezTo>
                    <a:cubicBezTo>
                      <a:pt x="304" y="62"/>
                      <a:pt x="302" y="69"/>
                      <a:pt x="299" y="73"/>
                    </a:cubicBezTo>
                    <a:cubicBezTo>
                      <a:pt x="294" y="80"/>
                      <a:pt x="288" y="86"/>
                      <a:pt x="280" y="89"/>
                    </a:cubicBezTo>
                    <a:cubicBezTo>
                      <a:pt x="278" y="89"/>
                      <a:pt x="276" y="90"/>
                      <a:pt x="273" y="90"/>
                    </a:cubicBezTo>
                    <a:cubicBezTo>
                      <a:pt x="272" y="90"/>
                      <a:pt x="272" y="90"/>
                      <a:pt x="271" y="90"/>
                    </a:cubicBezTo>
                    <a:cubicBezTo>
                      <a:pt x="268" y="89"/>
                      <a:pt x="266" y="88"/>
                      <a:pt x="264" y="87"/>
                    </a:cubicBezTo>
                    <a:cubicBezTo>
                      <a:pt x="256" y="81"/>
                      <a:pt x="249" y="76"/>
                      <a:pt x="241" y="71"/>
                    </a:cubicBezTo>
                    <a:cubicBezTo>
                      <a:pt x="232" y="66"/>
                      <a:pt x="218" y="62"/>
                      <a:pt x="207" y="60"/>
                    </a:cubicBezTo>
                    <a:cubicBezTo>
                      <a:pt x="199" y="59"/>
                      <a:pt x="192" y="61"/>
                      <a:pt x="185" y="57"/>
                    </a:cubicBezTo>
                    <a:cubicBezTo>
                      <a:pt x="178" y="53"/>
                      <a:pt x="173" y="52"/>
                      <a:pt x="170" y="45"/>
                    </a:cubicBezTo>
                    <a:cubicBezTo>
                      <a:pt x="169" y="43"/>
                      <a:pt x="168" y="40"/>
                      <a:pt x="167" y="37"/>
                    </a:cubicBezTo>
                    <a:cubicBezTo>
                      <a:pt x="166" y="33"/>
                      <a:pt x="165" y="25"/>
                      <a:pt x="160" y="22"/>
                    </a:cubicBezTo>
                    <a:cubicBezTo>
                      <a:pt x="159" y="22"/>
                      <a:pt x="156" y="22"/>
                      <a:pt x="154" y="22"/>
                    </a:cubicBezTo>
                    <a:cubicBezTo>
                      <a:pt x="145" y="21"/>
                      <a:pt x="138" y="17"/>
                      <a:pt x="129" y="13"/>
                    </a:cubicBezTo>
                    <a:cubicBezTo>
                      <a:pt x="122" y="9"/>
                      <a:pt x="112" y="10"/>
                      <a:pt x="104" y="9"/>
                    </a:cubicBezTo>
                    <a:cubicBezTo>
                      <a:pt x="103" y="9"/>
                      <a:pt x="102" y="9"/>
                      <a:pt x="102" y="9"/>
                    </a:cubicBezTo>
                    <a:cubicBezTo>
                      <a:pt x="100" y="9"/>
                      <a:pt x="98" y="9"/>
                      <a:pt x="96" y="9"/>
                    </a:cubicBezTo>
                    <a:cubicBezTo>
                      <a:pt x="94" y="10"/>
                      <a:pt x="92" y="10"/>
                      <a:pt x="90" y="10"/>
                    </a:cubicBezTo>
                    <a:cubicBezTo>
                      <a:pt x="88" y="10"/>
                      <a:pt x="86" y="10"/>
                      <a:pt x="84" y="9"/>
                    </a:cubicBezTo>
                    <a:cubicBezTo>
                      <a:pt x="77" y="6"/>
                      <a:pt x="69" y="3"/>
                      <a:pt x="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8" name="Freeform 256">
                <a:extLst>
                  <a:ext uri="{FF2B5EF4-FFF2-40B4-BE49-F238E27FC236}">
                    <a16:creationId xmlns:a16="http://schemas.microsoft.com/office/drawing/2014/main" id="{C6655469-D16E-47C9-A076-5C6544C0C1FE}"/>
                  </a:ext>
                </a:extLst>
              </p:cNvPr>
              <p:cNvSpPr>
                <a:spLocks/>
              </p:cNvSpPr>
              <p:nvPr/>
            </p:nvSpPr>
            <p:spPr bwMode="auto">
              <a:xfrm>
                <a:off x="5044924" y="5395010"/>
                <a:ext cx="339031" cy="696487"/>
              </a:xfrm>
              <a:custGeom>
                <a:avLst/>
                <a:gdLst>
                  <a:gd name="T0" fmla="*/ 56 w 107"/>
                  <a:gd name="T1" fmla="*/ 0 h 220"/>
                  <a:gd name="T2" fmla="*/ 35 w 107"/>
                  <a:gd name="T3" fmla="*/ 10 h 220"/>
                  <a:gd name="T4" fmla="*/ 33 w 107"/>
                  <a:gd name="T5" fmla="*/ 11 h 220"/>
                  <a:gd name="T6" fmla="*/ 21 w 107"/>
                  <a:gd name="T7" fmla="*/ 26 h 220"/>
                  <a:gd name="T8" fmla="*/ 22 w 107"/>
                  <a:gd name="T9" fmla="*/ 43 h 220"/>
                  <a:gd name="T10" fmla="*/ 24 w 107"/>
                  <a:gd name="T11" fmla="*/ 56 h 220"/>
                  <a:gd name="T12" fmla="*/ 26 w 107"/>
                  <a:gd name="T13" fmla="*/ 62 h 220"/>
                  <a:gd name="T14" fmla="*/ 26 w 107"/>
                  <a:gd name="T15" fmla="*/ 69 h 220"/>
                  <a:gd name="T16" fmla="*/ 9 w 107"/>
                  <a:gd name="T17" fmla="*/ 98 h 220"/>
                  <a:gd name="T18" fmla="*/ 1 w 107"/>
                  <a:gd name="T19" fmla="*/ 105 h 220"/>
                  <a:gd name="T20" fmla="*/ 5 w 107"/>
                  <a:gd name="T21" fmla="*/ 122 h 220"/>
                  <a:gd name="T22" fmla="*/ 19 w 107"/>
                  <a:gd name="T23" fmla="*/ 137 h 220"/>
                  <a:gd name="T24" fmla="*/ 21 w 107"/>
                  <a:gd name="T25" fmla="*/ 141 h 220"/>
                  <a:gd name="T26" fmla="*/ 23 w 107"/>
                  <a:gd name="T27" fmla="*/ 147 h 220"/>
                  <a:gd name="T28" fmla="*/ 23 w 107"/>
                  <a:gd name="T29" fmla="*/ 151 h 220"/>
                  <a:gd name="T30" fmla="*/ 26 w 107"/>
                  <a:gd name="T31" fmla="*/ 154 h 220"/>
                  <a:gd name="T32" fmla="*/ 37 w 107"/>
                  <a:gd name="T33" fmla="*/ 162 h 220"/>
                  <a:gd name="T34" fmla="*/ 45 w 107"/>
                  <a:gd name="T35" fmla="*/ 171 h 220"/>
                  <a:gd name="T36" fmla="*/ 62 w 107"/>
                  <a:gd name="T37" fmla="*/ 210 h 220"/>
                  <a:gd name="T38" fmla="*/ 63 w 107"/>
                  <a:gd name="T39" fmla="*/ 217 h 220"/>
                  <a:gd name="T40" fmla="*/ 66 w 107"/>
                  <a:gd name="T41" fmla="*/ 214 h 220"/>
                  <a:gd name="T42" fmla="*/ 68 w 107"/>
                  <a:gd name="T43" fmla="*/ 211 h 220"/>
                  <a:gd name="T44" fmla="*/ 71 w 107"/>
                  <a:gd name="T45" fmla="*/ 200 h 220"/>
                  <a:gd name="T46" fmla="*/ 70 w 107"/>
                  <a:gd name="T47" fmla="*/ 192 h 220"/>
                  <a:gd name="T48" fmla="*/ 77 w 107"/>
                  <a:gd name="T49" fmla="*/ 175 h 220"/>
                  <a:gd name="T50" fmla="*/ 80 w 107"/>
                  <a:gd name="T51" fmla="*/ 172 h 220"/>
                  <a:gd name="T52" fmla="*/ 86 w 107"/>
                  <a:gd name="T53" fmla="*/ 167 h 220"/>
                  <a:gd name="T54" fmla="*/ 88 w 107"/>
                  <a:gd name="T55" fmla="*/ 166 h 220"/>
                  <a:gd name="T56" fmla="*/ 90 w 107"/>
                  <a:gd name="T57" fmla="*/ 164 h 220"/>
                  <a:gd name="T58" fmla="*/ 92 w 107"/>
                  <a:gd name="T59" fmla="*/ 162 h 220"/>
                  <a:gd name="T60" fmla="*/ 101 w 107"/>
                  <a:gd name="T61" fmla="*/ 159 h 220"/>
                  <a:gd name="T62" fmla="*/ 107 w 107"/>
                  <a:gd name="T63" fmla="*/ 155 h 220"/>
                  <a:gd name="T64" fmla="*/ 107 w 107"/>
                  <a:gd name="T65" fmla="*/ 135 h 220"/>
                  <a:gd name="T66" fmla="*/ 107 w 107"/>
                  <a:gd name="T67" fmla="*/ 133 h 220"/>
                  <a:gd name="T68" fmla="*/ 100 w 107"/>
                  <a:gd name="T69" fmla="*/ 129 h 220"/>
                  <a:gd name="T70" fmla="*/ 95 w 107"/>
                  <a:gd name="T71" fmla="*/ 118 h 220"/>
                  <a:gd name="T72" fmla="*/ 89 w 107"/>
                  <a:gd name="T73" fmla="*/ 123 h 220"/>
                  <a:gd name="T74" fmla="*/ 87 w 107"/>
                  <a:gd name="T75" fmla="*/ 116 h 220"/>
                  <a:gd name="T76" fmla="*/ 82 w 107"/>
                  <a:gd name="T77" fmla="*/ 117 h 220"/>
                  <a:gd name="T78" fmla="*/ 68 w 107"/>
                  <a:gd name="T79" fmla="*/ 102 h 220"/>
                  <a:gd name="T80" fmla="*/ 96 w 107"/>
                  <a:gd name="T81" fmla="*/ 72 h 220"/>
                  <a:gd name="T82" fmla="*/ 96 w 107"/>
                  <a:gd name="T83" fmla="*/ 56 h 220"/>
                  <a:gd name="T84" fmla="*/ 82 w 107"/>
                  <a:gd name="T85" fmla="*/ 31 h 220"/>
                  <a:gd name="T86" fmla="*/ 97 w 107"/>
                  <a:gd name="T87" fmla="*/ 17 h 220"/>
                  <a:gd name="T88" fmla="*/ 93 w 107"/>
                  <a:gd name="T89" fmla="*/ 8 h 220"/>
                  <a:gd name="T90" fmla="*/ 83 w 107"/>
                  <a:gd name="T91" fmla="*/ 15 h 220"/>
                  <a:gd name="T92" fmla="*/ 79 w 107"/>
                  <a:gd name="T93" fmla="*/ 19 h 220"/>
                  <a:gd name="T94" fmla="*/ 74 w 107"/>
                  <a:gd name="T95" fmla="*/ 8 h 220"/>
                  <a:gd name="T96" fmla="*/ 66 w 107"/>
                  <a:gd name="T97" fmla="*/ 1 h 220"/>
                  <a:gd name="T98" fmla="*/ 58 w 107"/>
                  <a:gd name="T9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220">
                    <a:moveTo>
                      <a:pt x="58" y="0"/>
                    </a:moveTo>
                    <a:cubicBezTo>
                      <a:pt x="58" y="0"/>
                      <a:pt x="57" y="0"/>
                      <a:pt x="56" y="0"/>
                    </a:cubicBezTo>
                    <a:cubicBezTo>
                      <a:pt x="51" y="1"/>
                      <a:pt x="46" y="3"/>
                      <a:pt x="41" y="5"/>
                    </a:cubicBezTo>
                    <a:cubicBezTo>
                      <a:pt x="39" y="6"/>
                      <a:pt x="38" y="9"/>
                      <a:pt x="35" y="10"/>
                    </a:cubicBezTo>
                    <a:cubicBezTo>
                      <a:pt x="34" y="10"/>
                      <a:pt x="33" y="10"/>
                      <a:pt x="32" y="11"/>
                    </a:cubicBezTo>
                    <a:cubicBezTo>
                      <a:pt x="33" y="11"/>
                      <a:pt x="33" y="11"/>
                      <a:pt x="33" y="11"/>
                    </a:cubicBezTo>
                    <a:cubicBezTo>
                      <a:pt x="31" y="14"/>
                      <a:pt x="31" y="14"/>
                      <a:pt x="31" y="14"/>
                    </a:cubicBezTo>
                    <a:cubicBezTo>
                      <a:pt x="21" y="26"/>
                      <a:pt x="21" y="26"/>
                      <a:pt x="21" y="26"/>
                    </a:cubicBezTo>
                    <a:cubicBezTo>
                      <a:pt x="23" y="28"/>
                      <a:pt x="25" y="30"/>
                      <a:pt x="24" y="36"/>
                    </a:cubicBezTo>
                    <a:cubicBezTo>
                      <a:pt x="22" y="43"/>
                      <a:pt x="22" y="43"/>
                      <a:pt x="22" y="43"/>
                    </a:cubicBezTo>
                    <a:cubicBezTo>
                      <a:pt x="22" y="45"/>
                      <a:pt x="23" y="49"/>
                      <a:pt x="23" y="53"/>
                    </a:cubicBezTo>
                    <a:cubicBezTo>
                      <a:pt x="24" y="54"/>
                      <a:pt x="24" y="55"/>
                      <a:pt x="24" y="56"/>
                    </a:cubicBezTo>
                    <a:cubicBezTo>
                      <a:pt x="25" y="60"/>
                      <a:pt x="25" y="60"/>
                      <a:pt x="25" y="60"/>
                    </a:cubicBezTo>
                    <a:cubicBezTo>
                      <a:pt x="25" y="61"/>
                      <a:pt x="25" y="61"/>
                      <a:pt x="26" y="62"/>
                    </a:cubicBezTo>
                    <a:cubicBezTo>
                      <a:pt x="26" y="62"/>
                      <a:pt x="26" y="62"/>
                      <a:pt x="26" y="62"/>
                    </a:cubicBezTo>
                    <a:cubicBezTo>
                      <a:pt x="26" y="65"/>
                      <a:pt x="27" y="67"/>
                      <a:pt x="26" y="69"/>
                    </a:cubicBezTo>
                    <a:cubicBezTo>
                      <a:pt x="25" y="75"/>
                      <a:pt x="23" y="81"/>
                      <a:pt x="21" y="86"/>
                    </a:cubicBezTo>
                    <a:cubicBezTo>
                      <a:pt x="17" y="90"/>
                      <a:pt x="14" y="94"/>
                      <a:pt x="9" y="98"/>
                    </a:cubicBezTo>
                    <a:cubicBezTo>
                      <a:pt x="7" y="100"/>
                      <a:pt x="4" y="102"/>
                      <a:pt x="2" y="104"/>
                    </a:cubicBezTo>
                    <a:cubicBezTo>
                      <a:pt x="1" y="105"/>
                      <a:pt x="1" y="105"/>
                      <a:pt x="1" y="105"/>
                    </a:cubicBezTo>
                    <a:cubicBezTo>
                      <a:pt x="0" y="106"/>
                      <a:pt x="0" y="107"/>
                      <a:pt x="0" y="110"/>
                    </a:cubicBezTo>
                    <a:cubicBezTo>
                      <a:pt x="0" y="114"/>
                      <a:pt x="2" y="118"/>
                      <a:pt x="5" y="122"/>
                    </a:cubicBezTo>
                    <a:cubicBezTo>
                      <a:pt x="7" y="126"/>
                      <a:pt x="10" y="128"/>
                      <a:pt x="13" y="131"/>
                    </a:cubicBezTo>
                    <a:cubicBezTo>
                      <a:pt x="15" y="133"/>
                      <a:pt x="17" y="135"/>
                      <a:pt x="19" y="137"/>
                    </a:cubicBezTo>
                    <a:cubicBezTo>
                      <a:pt x="19" y="138"/>
                      <a:pt x="20" y="139"/>
                      <a:pt x="20" y="139"/>
                    </a:cubicBezTo>
                    <a:cubicBezTo>
                      <a:pt x="21" y="140"/>
                      <a:pt x="21" y="140"/>
                      <a:pt x="21" y="141"/>
                    </a:cubicBezTo>
                    <a:cubicBezTo>
                      <a:pt x="21" y="141"/>
                      <a:pt x="21" y="141"/>
                      <a:pt x="21" y="141"/>
                    </a:cubicBezTo>
                    <a:cubicBezTo>
                      <a:pt x="22" y="143"/>
                      <a:pt x="23" y="145"/>
                      <a:pt x="23" y="147"/>
                    </a:cubicBezTo>
                    <a:cubicBezTo>
                      <a:pt x="23" y="148"/>
                      <a:pt x="23" y="148"/>
                      <a:pt x="23" y="148"/>
                    </a:cubicBezTo>
                    <a:cubicBezTo>
                      <a:pt x="23" y="149"/>
                      <a:pt x="23" y="151"/>
                      <a:pt x="23" y="151"/>
                    </a:cubicBezTo>
                    <a:cubicBezTo>
                      <a:pt x="25" y="153"/>
                      <a:pt x="25" y="153"/>
                      <a:pt x="25" y="153"/>
                    </a:cubicBezTo>
                    <a:cubicBezTo>
                      <a:pt x="25" y="153"/>
                      <a:pt x="26" y="153"/>
                      <a:pt x="26" y="154"/>
                    </a:cubicBezTo>
                    <a:cubicBezTo>
                      <a:pt x="35" y="161"/>
                      <a:pt x="35" y="161"/>
                      <a:pt x="35" y="161"/>
                    </a:cubicBezTo>
                    <a:cubicBezTo>
                      <a:pt x="36" y="161"/>
                      <a:pt x="36" y="162"/>
                      <a:pt x="37" y="162"/>
                    </a:cubicBezTo>
                    <a:cubicBezTo>
                      <a:pt x="39" y="163"/>
                      <a:pt x="41" y="165"/>
                      <a:pt x="42" y="166"/>
                    </a:cubicBezTo>
                    <a:cubicBezTo>
                      <a:pt x="44" y="168"/>
                      <a:pt x="45" y="170"/>
                      <a:pt x="45" y="171"/>
                    </a:cubicBezTo>
                    <a:cubicBezTo>
                      <a:pt x="56" y="217"/>
                      <a:pt x="56" y="217"/>
                      <a:pt x="56" y="217"/>
                    </a:cubicBezTo>
                    <a:cubicBezTo>
                      <a:pt x="62" y="210"/>
                      <a:pt x="62" y="210"/>
                      <a:pt x="62" y="210"/>
                    </a:cubicBezTo>
                    <a:cubicBezTo>
                      <a:pt x="59" y="220"/>
                      <a:pt x="59" y="220"/>
                      <a:pt x="59" y="220"/>
                    </a:cubicBezTo>
                    <a:cubicBezTo>
                      <a:pt x="60" y="220"/>
                      <a:pt x="62" y="219"/>
                      <a:pt x="63" y="217"/>
                    </a:cubicBezTo>
                    <a:cubicBezTo>
                      <a:pt x="64" y="217"/>
                      <a:pt x="65" y="216"/>
                      <a:pt x="65" y="215"/>
                    </a:cubicBezTo>
                    <a:cubicBezTo>
                      <a:pt x="66" y="214"/>
                      <a:pt x="66" y="214"/>
                      <a:pt x="66" y="214"/>
                    </a:cubicBezTo>
                    <a:cubicBezTo>
                      <a:pt x="67" y="213"/>
                      <a:pt x="67" y="212"/>
                      <a:pt x="68" y="212"/>
                    </a:cubicBezTo>
                    <a:cubicBezTo>
                      <a:pt x="68" y="211"/>
                      <a:pt x="68" y="211"/>
                      <a:pt x="68" y="211"/>
                    </a:cubicBezTo>
                    <a:cubicBezTo>
                      <a:pt x="71" y="208"/>
                      <a:pt x="72" y="205"/>
                      <a:pt x="71" y="202"/>
                    </a:cubicBezTo>
                    <a:cubicBezTo>
                      <a:pt x="71" y="202"/>
                      <a:pt x="71" y="201"/>
                      <a:pt x="71" y="200"/>
                    </a:cubicBezTo>
                    <a:cubicBezTo>
                      <a:pt x="71" y="199"/>
                      <a:pt x="71" y="199"/>
                      <a:pt x="71" y="199"/>
                    </a:cubicBezTo>
                    <a:cubicBezTo>
                      <a:pt x="70" y="197"/>
                      <a:pt x="70" y="195"/>
                      <a:pt x="70" y="192"/>
                    </a:cubicBezTo>
                    <a:cubicBezTo>
                      <a:pt x="70" y="192"/>
                      <a:pt x="70" y="181"/>
                      <a:pt x="74" y="177"/>
                    </a:cubicBezTo>
                    <a:cubicBezTo>
                      <a:pt x="75" y="176"/>
                      <a:pt x="76" y="175"/>
                      <a:pt x="77" y="175"/>
                    </a:cubicBezTo>
                    <a:cubicBezTo>
                      <a:pt x="77" y="175"/>
                      <a:pt x="77" y="175"/>
                      <a:pt x="78" y="175"/>
                    </a:cubicBezTo>
                    <a:cubicBezTo>
                      <a:pt x="78" y="174"/>
                      <a:pt x="79" y="173"/>
                      <a:pt x="80" y="172"/>
                    </a:cubicBezTo>
                    <a:cubicBezTo>
                      <a:pt x="81" y="171"/>
                      <a:pt x="82" y="169"/>
                      <a:pt x="84" y="168"/>
                    </a:cubicBezTo>
                    <a:cubicBezTo>
                      <a:pt x="85" y="168"/>
                      <a:pt x="85" y="167"/>
                      <a:pt x="86" y="167"/>
                    </a:cubicBezTo>
                    <a:cubicBezTo>
                      <a:pt x="86" y="167"/>
                      <a:pt x="87" y="167"/>
                      <a:pt x="87" y="168"/>
                    </a:cubicBezTo>
                    <a:cubicBezTo>
                      <a:pt x="87" y="167"/>
                      <a:pt x="88" y="166"/>
                      <a:pt x="88" y="166"/>
                    </a:cubicBezTo>
                    <a:cubicBezTo>
                      <a:pt x="89" y="165"/>
                      <a:pt x="89" y="165"/>
                      <a:pt x="89" y="165"/>
                    </a:cubicBezTo>
                    <a:cubicBezTo>
                      <a:pt x="89" y="165"/>
                      <a:pt x="90" y="164"/>
                      <a:pt x="90" y="164"/>
                    </a:cubicBezTo>
                    <a:cubicBezTo>
                      <a:pt x="91" y="163"/>
                      <a:pt x="91" y="163"/>
                      <a:pt x="91" y="163"/>
                    </a:cubicBezTo>
                    <a:cubicBezTo>
                      <a:pt x="92" y="163"/>
                      <a:pt x="92" y="162"/>
                      <a:pt x="92" y="162"/>
                    </a:cubicBezTo>
                    <a:cubicBezTo>
                      <a:pt x="94" y="161"/>
                      <a:pt x="96" y="160"/>
                      <a:pt x="99" y="159"/>
                    </a:cubicBezTo>
                    <a:cubicBezTo>
                      <a:pt x="101" y="159"/>
                      <a:pt x="101" y="159"/>
                      <a:pt x="101" y="159"/>
                    </a:cubicBezTo>
                    <a:cubicBezTo>
                      <a:pt x="103" y="158"/>
                      <a:pt x="105" y="157"/>
                      <a:pt x="106" y="156"/>
                    </a:cubicBezTo>
                    <a:cubicBezTo>
                      <a:pt x="107" y="156"/>
                      <a:pt x="107" y="155"/>
                      <a:pt x="107" y="155"/>
                    </a:cubicBezTo>
                    <a:cubicBezTo>
                      <a:pt x="107" y="136"/>
                      <a:pt x="107" y="136"/>
                      <a:pt x="107" y="136"/>
                    </a:cubicBezTo>
                    <a:cubicBezTo>
                      <a:pt x="107" y="135"/>
                      <a:pt x="107" y="135"/>
                      <a:pt x="107" y="135"/>
                    </a:cubicBezTo>
                    <a:cubicBezTo>
                      <a:pt x="106" y="134"/>
                      <a:pt x="106" y="134"/>
                      <a:pt x="106" y="134"/>
                    </a:cubicBezTo>
                    <a:cubicBezTo>
                      <a:pt x="107" y="133"/>
                      <a:pt x="107" y="133"/>
                      <a:pt x="107" y="133"/>
                    </a:cubicBezTo>
                    <a:cubicBezTo>
                      <a:pt x="106" y="133"/>
                      <a:pt x="106" y="133"/>
                      <a:pt x="106" y="133"/>
                    </a:cubicBezTo>
                    <a:cubicBezTo>
                      <a:pt x="105" y="133"/>
                      <a:pt x="96" y="130"/>
                      <a:pt x="100" y="129"/>
                    </a:cubicBezTo>
                    <a:cubicBezTo>
                      <a:pt x="98" y="126"/>
                      <a:pt x="99" y="120"/>
                      <a:pt x="96" y="119"/>
                    </a:cubicBezTo>
                    <a:cubicBezTo>
                      <a:pt x="95" y="118"/>
                      <a:pt x="95" y="118"/>
                      <a:pt x="95" y="118"/>
                    </a:cubicBezTo>
                    <a:cubicBezTo>
                      <a:pt x="93" y="118"/>
                      <a:pt x="94" y="121"/>
                      <a:pt x="94" y="121"/>
                    </a:cubicBezTo>
                    <a:cubicBezTo>
                      <a:pt x="93" y="122"/>
                      <a:pt x="90" y="123"/>
                      <a:pt x="89" y="123"/>
                    </a:cubicBezTo>
                    <a:cubicBezTo>
                      <a:pt x="88" y="123"/>
                      <a:pt x="87" y="123"/>
                      <a:pt x="87" y="122"/>
                    </a:cubicBezTo>
                    <a:cubicBezTo>
                      <a:pt x="86" y="121"/>
                      <a:pt x="90" y="118"/>
                      <a:pt x="87" y="116"/>
                    </a:cubicBezTo>
                    <a:cubicBezTo>
                      <a:pt x="84" y="117"/>
                      <a:pt x="84" y="117"/>
                      <a:pt x="84" y="117"/>
                    </a:cubicBezTo>
                    <a:cubicBezTo>
                      <a:pt x="83" y="117"/>
                      <a:pt x="82" y="117"/>
                      <a:pt x="82" y="117"/>
                    </a:cubicBezTo>
                    <a:cubicBezTo>
                      <a:pt x="79" y="117"/>
                      <a:pt x="77" y="116"/>
                      <a:pt x="74" y="113"/>
                    </a:cubicBezTo>
                    <a:cubicBezTo>
                      <a:pt x="70" y="110"/>
                      <a:pt x="69" y="106"/>
                      <a:pt x="68" y="102"/>
                    </a:cubicBezTo>
                    <a:cubicBezTo>
                      <a:pt x="67" y="99"/>
                      <a:pt x="83" y="89"/>
                      <a:pt x="86" y="87"/>
                    </a:cubicBezTo>
                    <a:cubicBezTo>
                      <a:pt x="91" y="83"/>
                      <a:pt x="93" y="77"/>
                      <a:pt x="96" y="72"/>
                    </a:cubicBezTo>
                    <a:cubicBezTo>
                      <a:pt x="98" y="69"/>
                      <a:pt x="100" y="68"/>
                      <a:pt x="99" y="65"/>
                    </a:cubicBezTo>
                    <a:cubicBezTo>
                      <a:pt x="98" y="63"/>
                      <a:pt x="98" y="58"/>
                      <a:pt x="96" y="56"/>
                    </a:cubicBezTo>
                    <a:cubicBezTo>
                      <a:pt x="90" y="52"/>
                      <a:pt x="82" y="47"/>
                      <a:pt x="81" y="39"/>
                    </a:cubicBezTo>
                    <a:cubicBezTo>
                      <a:pt x="80" y="37"/>
                      <a:pt x="81" y="32"/>
                      <a:pt x="82" y="31"/>
                    </a:cubicBezTo>
                    <a:cubicBezTo>
                      <a:pt x="84" y="28"/>
                      <a:pt x="89" y="28"/>
                      <a:pt x="91" y="26"/>
                    </a:cubicBezTo>
                    <a:cubicBezTo>
                      <a:pt x="94" y="23"/>
                      <a:pt x="96" y="20"/>
                      <a:pt x="97" y="17"/>
                    </a:cubicBezTo>
                    <a:cubicBezTo>
                      <a:pt x="99" y="14"/>
                      <a:pt x="99" y="7"/>
                      <a:pt x="96" y="7"/>
                    </a:cubicBezTo>
                    <a:cubicBezTo>
                      <a:pt x="95" y="7"/>
                      <a:pt x="94" y="8"/>
                      <a:pt x="93" y="8"/>
                    </a:cubicBezTo>
                    <a:cubicBezTo>
                      <a:pt x="91" y="10"/>
                      <a:pt x="90" y="13"/>
                      <a:pt x="88" y="14"/>
                    </a:cubicBezTo>
                    <a:cubicBezTo>
                      <a:pt x="86" y="14"/>
                      <a:pt x="85" y="14"/>
                      <a:pt x="83" y="15"/>
                    </a:cubicBezTo>
                    <a:cubicBezTo>
                      <a:pt x="83" y="15"/>
                      <a:pt x="83" y="17"/>
                      <a:pt x="82" y="17"/>
                    </a:cubicBezTo>
                    <a:cubicBezTo>
                      <a:pt x="81" y="18"/>
                      <a:pt x="80" y="19"/>
                      <a:pt x="79" y="19"/>
                    </a:cubicBezTo>
                    <a:cubicBezTo>
                      <a:pt x="78" y="19"/>
                      <a:pt x="77" y="18"/>
                      <a:pt x="75" y="17"/>
                    </a:cubicBezTo>
                    <a:cubicBezTo>
                      <a:pt x="77" y="13"/>
                      <a:pt x="76" y="12"/>
                      <a:pt x="74" y="8"/>
                    </a:cubicBezTo>
                    <a:cubicBezTo>
                      <a:pt x="73" y="5"/>
                      <a:pt x="72" y="3"/>
                      <a:pt x="69" y="2"/>
                    </a:cubicBezTo>
                    <a:cubicBezTo>
                      <a:pt x="68" y="1"/>
                      <a:pt x="67" y="1"/>
                      <a:pt x="66" y="1"/>
                    </a:cubicBezTo>
                    <a:cubicBezTo>
                      <a:pt x="64" y="1"/>
                      <a:pt x="63" y="3"/>
                      <a:pt x="62" y="5"/>
                    </a:cubicBezTo>
                    <a:cubicBezTo>
                      <a:pt x="60" y="2"/>
                      <a:pt x="60"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9" name="Freeform 257">
                <a:extLst>
                  <a:ext uri="{FF2B5EF4-FFF2-40B4-BE49-F238E27FC236}">
                    <a16:creationId xmlns:a16="http://schemas.microsoft.com/office/drawing/2014/main" id="{04FE4A99-8617-405A-A9C8-1BF371C91020}"/>
                  </a:ext>
                </a:extLst>
              </p:cNvPr>
              <p:cNvSpPr>
                <a:spLocks/>
              </p:cNvSpPr>
              <p:nvPr/>
            </p:nvSpPr>
            <p:spPr bwMode="auto">
              <a:xfrm>
                <a:off x="5722985" y="6780614"/>
                <a:ext cx="235847" cy="77387"/>
              </a:xfrm>
              <a:custGeom>
                <a:avLst/>
                <a:gdLst>
                  <a:gd name="T0" fmla="*/ 24 w 74"/>
                  <a:gd name="T1" fmla="*/ 0 h 24"/>
                  <a:gd name="T2" fmla="*/ 23 w 74"/>
                  <a:gd name="T3" fmla="*/ 0 h 24"/>
                  <a:gd name="T4" fmla="*/ 22 w 74"/>
                  <a:gd name="T5" fmla="*/ 1 h 24"/>
                  <a:gd name="T6" fmla="*/ 0 w 74"/>
                  <a:gd name="T7" fmla="*/ 12 h 24"/>
                  <a:gd name="T8" fmla="*/ 1 w 74"/>
                  <a:gd name="T9" fmla="*/ 17 h 24"/>
                  <a:gd name="T10" fmla="*/ 2 w 74"/>
                  <a:gd name="T11" fmla="*/ 24 h 24"/>
                  <a:gd name="T12" fmla="*/ 74 w 74"/>
                  <a:gd name="T13" fmla="*/ 24 h 24"/>
                  <a:gd name="T14" fmla="*/ 64 w 74"/>
                  <a:gd name="T15" fmla="*/ 20 h 24"/>
                  <a:gd name="T16" fmla="*/ 36 w 74"/>
                  <a:gd name="T17" fmla="*/ 6 h 24"/>
                  <a:gd name="T18" fmla="*/ 27 w 74"/>
                  <a:gd name="T19" fmla="*/ 1 h 24"/>
                  <a:gd name="T20" fmla="*/ 24 w 74"/>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24">
                    <a:moveTo>
                      <a:pt x="24" y="0"/>
                    </a:moveTo>
                    <a:cubicBezTo>
                      <a:pt x="24" y="0"/>
                      <a:pt x="24" y="0"/>
                      <a:pt x="23" y="0"/>
                    </a:cubicBezTo>
                    <a:cubicBezTo>
                      <a:pt x="22" y="1"/>
                      <a:pt x="22" y="1"/>
                      <a:pt x="22" y="1"/>
                    </a:cubicBezTo>
                    <a:cubicBezTo>
                      <a:pt x="0" y="12"/>
                      <a:pt x="0" y="12"/>
                      <a:pt x="0" y="12"/>
                    </a:cubicBezTo>
                    <a:cubicBezTo>
                      <a:pt x="1" y="17"/>
                      <a:pt x="1" y="17"/>
                      <a:pt x="1" y="17"/>
                    </a:cubicBezTo>
                    <a:cubicBezTo>
                      <a:pt x="1" y="20"/>
                      <a:pt x="2" y="22"/>
                      <a:pt x="2" y="24"/>
                    </a:cubicBezTo>
                    <a:cubicBezTo>
                      <a:pt x="74" y="24"/>
                      <a:pt x="74" y="24"/>
                      <a:pt x="74" y="24"/>
                    </a:cubicBezTo>
                    <a:cubicBezTo>
                      <a:pt x="64" y="20"/>
                      <a:pt x="64" y="20"/>
                      <a:pt x="64" y="20"/>
                    </a:cubicBezTo>
                    <a:cubicBezTo>
                      <a:pt x="55" y="15"/>
                      <a:pt x="46" y="10"/>
                      <a:pt x="36" y="6"/>
                    </a:cubicBezTo>
                    <a:cubicBezTo>
                      <a:pt x="27" y="1"/>
                      <a:pt x="27" y="1"/>
                      <a:pt x="27" y="1"/>
                    </a:cubicBezTo>
                    <a:cubicBezTo>
                      <a:pt x="26" y="1"/>
                      <a:pt x="25"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0" name="Freeform 258">
                <a:extLst>
                  <a:ext uri="{FF2B5EF4-FFF2-40B4-BE49-F238E27FC236}">
                    <a16:creationId xmlns:a16="http://schemas.microsoft.com/office/drawing/2014/main" id="{86247AD1-202E-4178-93EC-505AE9D25DCC}"/>
                  </a:ext>
                </a:extLst>
              </p:cNvPr>
              <p:cNvSpPr>
                <a:spLocks/>
              </p:cNvSpPr>
              <p:nvPr/>
            </p:nvSpPr>
            <p:spPr bwMode="auto">
              <a:xfrm>
                <a:off x="5302882" y="6776928"/>
                <a:ext cx="405363" cy="81073"/>
              </a:xfrm>
              <a:custGeom>
                <a:avLst/>
                <a:gdLst>
                  <a:gd name="T0" fmla="*/ 42 w 127"/>
                  <a:gd name="T1" fmla="*/ 0 h 26"/>
                  <a:gd name="T2" fmla="*/ 0 w 127"/>
                  <a:gd name="T3" fmla="*/ 26 h 26"/>
                  <a:gd name="T4" fmla="*/ 127 w 127"/>
                  <a:gd name="T5" fmla="*/ 26 h 26"/>
                  <a:gd name="T6" fmla="*/ 126 w 127"/>
                  <a:gd name="T7" fmla="*/ 21 h 26"/>
                  <a:gd name="T8" fmla="*/ 125 w 127"/>
                  <a:gd name="T9" fmla="*/ 19 h 26"/>
                  <a:gd name="T10" fmla="*/ 125 w 127"/>
                  <a:gd name="T11" fmla="*/ 17 h 26"/>
                  <a:gd name="T12" fmla="*/ 113 w 127"/>
                  <a:gd name="T13" fmla="*/ 23 h 26"/>
                  <a:gd name="T14" fmla="*/ 107 w 127"/>
                  <a:gd name="T15" fmla="*/ 25 h 26"/>
                  <a:gd name="T16" fmla="*/ 101 w 127"/>
                  <a:gd name="T17" fmla="*/ 23 h 26"/>
                  <a:gd name="T18" fmla="*/ 97 w 127"/>
                  <a:gd name="T19" fmla="*/ 20 h 26"/>
                  <a:gd name="T20" fmla="*/ 97 w 127"/>
                  <a:gd name="T21" fmla="*/ 20 h 26"/>
                  <a:gd name="T22" fmla="*/ 95 w 127"/>
                  <a:gd name="T23" fmla="*/ 18 h 26"/>
                  <a:gd name="T24" fmla="*/ 90 w 127"/>
                  <a:gd name="T25" fmla="*/ 14 h 26"/>
                  <a:gd name="T26" fmla="*/ 82 w 127"/>
                  <a:gd name="T27" fmla="*/ 9 h 26"/>
                  <a:gd name="T28" fmla="*/ 42 w 127"/>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26">
                    <a:moveTo>
                      <a:pt x="42" y="0"/>
                    </a:moveTo>
                    <a:cubicBezTo>
                      <a:pt x="0" y="26"/>
                      <a:pt x="0" y="26"/>
                      <a:pt x="0" y="26"/>
                    </a:cubicBezTo>
                    <a:cubicBezTo>
                      <a:pt x="127" y="26"/>
                      <a:pt x="127" y="26"/>
                      <a:pt x="127" y="26"/>
                    </a:cubicBezTo>
                    <a:cubicBezTo>
                      <a:pt x="127" y="24"/>
                      <a:pt x="126" y="22"/>
                      <a:pt x="126" y="21"/>
                    </a:cubicBezTo>
                    <a:cubicBezTo>
                      <a:pt x="125" y="19"/>
                      <a:pt x="125" y="19"/>
                      <a:pt x="125" y="19"/>
                    </a:cubicBezTo>
                    <a:cubicBezTo>
                      <a:pt x="125" y="19"/>
                      <a:pt x="125" y="18"/>
                      <a:pt x="125" y="17"/>
                    </a:cubicBezTo>
                    <a:cubicBezTo>
                      <a:pt x="113" y="23"/>
                      <a:pt x="113" y="23"/>
                      <a:pt x="113" y="23"/>
                    </a:cubicBezTo>
                    <a:cubicBezTo>
                      <a:pt x="112" y="24"/>
                      <a:pt x="110" y="25"/>
                      <a:pt x="107" y="25"/>
                    </a:cubicBezTo>
                    <a:cubicBezTo>
                      <a:pt x="105" y="25"/>
                      <a:pt x="103" y="25"/>
                      <a:pt x="101" y="23"/>
                    </a:cubicBezTo>
                    <a:cubicBezTo>
                      <a:pt x="100" y="23"/>
                      <a:pt x="99" y="21"/>
                      <a:pt x="97" y="20"/>
                    </a:cubicBezTo>
                    <a:cubicBezTo>
                      <a:pt x="97" y="20"/>
                      <a:pt x="97" y="20"/>
                      <a:pt x="97" y="20"/>
                    </a:cubicBezTo>
                    <a:cubicBezTo>
                      <a:pt x="96" y="19"/>
                      <a:pt x="96" y="19"/>
                      <a:pt x="95" y="18"/>
                    </a:cubicBezTo>
                    <a:cubicBezTo>
                      <a:pt x="90" y="14"/>
                      <a:pt x="90" y="14"/>
                      <a:pt x="90" y="14"/>
                    </a:cubicBezTo>
                    <a:cubicBezTo>
                      <a:pt x="87" y="11"/>
                      <a:pt x="85" y="10"/>
                      <a:pt x="82" y="9"/>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1" name="Freeform 259">
                <a:extLst>
                  <a:ext uri="{FF2B5EF4-FFF2-40B4-BE49-F238E27FC236}">
                    <a16:creationId xmlns:a16="http://schemas.microsoft.com/office/drawing/2014/main" id="{0AE441BC-2FB0-4B60-84A2-48082AED4FE0}"/>
                  </a:ext>
                </a:extLst>
              </p:cNvPr>
              <p:cNvSpPr>
                <a:spLocks/>
              </p:cNvSpPr>
              <p:nvPr/>
            </p:nvSpPr>
            <p:spPr bwMode="auto">
              <a:xfrm>
                <a:off x="6596357" y="5973573"/>
                <a:ext cx="983926" cy="884428"/>
              </a:xfrm>
              <a:custGeom>
                <a:avLst/>
                <a:gdLst>
                  <a:gd name="T0" fmla="*/ 27 w 310"/>
                  <a:gd name="T1" fmla="*/ 0 h 278"/>
                  <a:gd name="T2" fmla="*/ 11 w 310"/>
                  <a:gd name="T3" fmla="*/ 2 h 278"/>
                  <a:gd name="T4" fmla="*/ 5 w 310"/>
                  <a:gd name="T5" fmla="*/ 8 h 278"/>
                  <a:gd name="T6" fmla="*/ 5 w 310"/>
                  <a:gd name="T7" fmla="*/ 14 h 278"/>
                  <a:gd name="T8" fmla="*/ 6 w 310"/>
                  <a:gd name="T9" fmla="*/ 19 h 278"/>
                  <a:gd name="T10" fmla="*/ 6 w 310"/>
                  <a:gd name="T11" fmla="*/ 35 h 278"/>
                  <a:gd name="T12" fmla="*/ 3 w 310"/>
                  <a:gd name="T13" fmla="*/ 40 h 278"/>
                  <a:gd name="T14" fmla="*/ 1 w 310"/>
                  <a:gd name="T15" fmla="*/ 47 h 278"/>
                  <a:gd name="T16" fmla="*/ 3 w 310"/>
                  <a:gd name="T17" fmla="*/ 55 h 278"/>
                  <a:gd name="T18" fmla="*/ 7 w 310"/>
                  <a:gd name="T19" fmla="*/ 77 h 278"/>
                  <a:gd name="T20" fmla="*/ 8 w 310"/>
                  <a:gd name="T21" fmla="*/ 116 h 278"/>
                  <a:gd name="T22" fmla="*/ 8 w 310"/>
                  <a:gd name="T23" fmla="*/ 278 h 278"/>
                  <a:gd name="T24" fmla="*/ 280 w 310"/>
                  <a:gd name="T25" fmla="*/ 278 h 278"/>
                  <a:gd name="T26" fmla="*/ 281 w 310"/>
                  <a:gd name="T27" fmla="*/ 275 h 278"/>
                  <a:gd name="T28" fmla="*/ 291 w 310"/>
                  <a:gd name="T29" fmla="*/ 264 h 278"/>
                  <a:gd name="T30" fmla="*/ 301 w 310"/>
                  <a:gd name="T31" fmla="*/ 259 h 278"/>
                  <a:gd name="T32" fmla="*/ 306 w 310"/>
                  <a:gd name="T33" fmla="*/ 256 h 278"/>
                  <a:gd name="T34" fmla="*/ 305 w 310"/>
                  <a:gd name="T35" fmla="*/ 253 h 278"/>
                  <a:gd name="T36" fmla="*/ 303 w 310"/>
                  <a:gd name="T37" fmla="*/ 234 h 278"/>
                  <a:gd name="T38" fmla="*/ 306 w 310"/>
                  <a:gd name="T39" fmla="*/ 235 h 278"/>
                  <a:gd name="T40" fmla="*/ 310 w 310"/>
                  <a:gd name="T41" fmla="*/ 235 h 278"/>
                  <a:gd name="T42" fmla="*/ 303 w 310"/>
                  <a:gd name="T43" fmla="*/ 230 h 278"/>
                  <a:gd name="T44" fmla="*/ 264 w 310"/>
                  <a:gd name="T45" fmla="*/ 161 h 278"/>
                  <a:gd name="T46" fmla="*/ 259 w 310"/>
                  <a:gd name="T47" fmla="*/ 153 h 278"/>
                  <a:gd name="T48" fmla="*/ 252 w 310"/>
                  <a:gd name="T49" fmla="*/ 126 h 278"/>
                  <a:gd name="T50" fmla="*/ 241 w 310"/>
                  <a:gd name="T51" fmla="*/ 109 h 278"/>
                  <a:gd name="T52" fmla="*/ 229 w 310"/>
                  <a:gd name="T53" fmla="*/ 94 h 278"/>
                  <a:gd name="T54" fmla="*/ 213 w 310"/>
                  <a:gd name="T55" fmla="*/ 62 h 278"/>
                  <a:gd name="T56" fmla="*/ 218 w 310"/>
                  <a:gd name="T57" fmla="*/ 52 h 278"/>
                  <a:gd name="T58" fmla="*/ 224 w 310"/>
                  <a:gd name="T59" fmla="*/ 67 h 278"/>
                  <a:gd name="T60" fmla="*/ 230 w 310"/>
                  <a:gd name="T61" fmla="*/ 74 h 278"/>
                  <a:gd name="T62" fmla="*/ 239 w 310"/>
                  <a:gd name="T63" fmla="*/ 94 h 278"/>
                  <a:gd name="T64" fmla="*/ 268 w 310"/>
                  <a:gd name="T65" fmla="*/ 120 h 278"/>
                  <a:gd name="T66" fmla="*/ 286 w 310"/>
                  <a:gd name="T67" fmla="*/ 67 h 278"/>
                  <a:gd name="T68" fmla="*/ 266 w 310"/>
                  <a:gd name="T69" fmla="*/ 9 h 278"/>
                  <a:gd name="T70" fmla="*/ 254 w 310"/>
                  <a:gd name="T71" fmla="*/ 14 h 278"/>
                  <a:gd name="T72" fmla="*/ 234 w 310"/>
                  <a:gd name="T73" fmla="*/ 17 h 278"/>
                  <a:gd name="T74" fmla="*/ 232 w 310"/>
                  <a:gd name="T75" fmla="*/ 17 h 278"/>
                  <a:gd name="T76" fmla="*/ 226 w 310"/>
                  <a:gd name="T77" fmla="*/ 17 h 278"/>
                  <a:gd name="T78" fmla="*/ 210 w 310"/>
                  <a:gd name="T79" fmla="*/ 10 h 278"/>
                  <a:gd name="T80" fmla="*/ 198 w 310"/>
                  <a:gd name="T81" fmla="*/ 10 h 278"/>
                  <a:gd name="T82" fmla="*/ 201 w 310"/>
                  <a:gd name="T83" fmla="*/ 2 h 278"/>
                  <a:gd name="T84" fmla="*/ 192 w 310"/>
                  <a:gd name="T85" fmla="*/ 5 h 278"/>
                  <a:gd name="T86" fmla="*/ 176 w 310"/>
                  <a:gd name="T87" fmla="*/ 0 h 278"/>
                  <a:gd name="T88" fmla="*/ 152 w 310"/>
                  <a:gd name="T89" fmla="*/ 10 h 278"/>
                  <a:gd name="T90" fmla="*/ 153 w 310"/>
                  <a:gd name="T91" fmla="*/ 12 h 278"/>
                  <a:gd name="T92" fmla="*/ 150 w 310"/>
                  <a:gd name="T93" fmla="*/ 10 h 278"/>
                  <a:gd name="T94" fmla="*/ 143 w 310"/>
                  <a:gd name="T95" fmla="*/ 14 h 278"/>
                  <a:gd name="T96" fmla="*/ 120 w 310"/>
                  <a:gd name="T97" fmla="*/ 24 h 278"/>
                  <a:gd name="T98" fmla="*/ 91 w 310"/>
                  <a:gd name="T99" fmla="*/ 16 h 278"/>
                  <a:gd name="T100" fmla="*/ 72 w 310"/>
                  <a:gd name="T101" fmla="*/ 10 h 278"/>
                  <a:gd name="T102" fmla="*/ 31 w 310"/>
                  <a:gd name="T10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0" h="278">
                    <a:moveTo>
                      <a:pt x="31" y="0"/>
                    </a:moveTo>
                    <a:cubicBezTo>
                      <a:pt x="30" y="0"/>
                      <a:pt x="28" y="0"/>
                      <a:pt x="27" y="0"/>
                    </a:cubicBezTo>
                    <a:cubicBezTo>
                      <a:pt x="24" y="1"/>
                      <a:pt x="18" y="3"/>
                      <a:pt x="14" y="3"/>
                    </a:cubicBezTo>
                    <a:cubicBezTo>
                      <a:pt x="13" y="3"/>
                      <a:pt x="12" y="2"/>
                      <a:pt x="11" y="2"/>
                    </a:cubicBezTo>
                    <a:cubicBezTo>
                      <a:pt x="10" y="3"/>
                      <a:pt x="10" y="3"/>
                      <a:pt x="10" y="3"/>
                    </a:cubicBezTo>
                    <a:cubicBezTo>
                      <a:pt x="7" y="5"/>
                      <a:pt x="6" y="7"/>
                      <a:pt x="5" y="8"/>
                    </a:cubicBezTo>
                    <a:cubicBezTo>
                      <a:pt x="5" y="9"/>
                      <a:pt x="4" y="10"/>
                      <a:pt x="4" y="10"/>
                    </a:cubicBezTo>
                    <a:cubicBezTo>
                      <a:pt x="4" y="10"/>
                      <a:pt x="4" y="12"/>
                      <a:pt x="5" y="14"/>
                    </a:cubicBezTo>
                    <a:cubicBezTo>
                      <a:pt x="5" y="15"/>
                      <a:pt x="5" y="17"/>
                      <a:pt x="6" y="19"/>
                    </a:cubicBezTo>
                    <a:cubicBezTo>
                      <a:pt x="6" y="19"/>
                      <a:pt x="6" y="19"/>
                      <a:pt x="6" y="19"/>
                    </a:cubicBezTo>
                    <a:cubicBezTo>
                      <a:pt x="6" y="21"/>
                      <a:pt x="7" y="22"/>
                      <a:pt x="7" y="24"/>
                    </a:cubicBezTo>
                    <a:cubicBezTo>
                      <a:pt x="7" y="27"/>
                      <a:pt x="8" y="31"/>
                      <a:pt x="6" y="35"/>
                    </a:cubicBezTo>
                    <a:cubicBezTo>
                      <a:pt x="5" y="36"/>
                      <a:pt x="5" y="36"/>
                      <a:pt x="5" y="36"/>
                    </a:cubicBezTo>
                    <a:cubicBezTo>
                      <a:pt x="5" y="38"/>
                      <a:pt x="4" y="39"/>
                      <a:pt x="3" y="40"/>
                    </a:cubicBezTo>
                    <a:cubicBezTo>
                      <a:pt x="2" y="42"/>
                      <a:pt x="0" y="44"/>
                      <a:pt x="0" y="45"/>
                    </a:cubicBezTo>
                    <a:cubicBezTo>
                      <a:pt x="1" y="47"/>
                      <a:pt x="1" y="47"/>
                      <a:pt x="1" y="47"/>
                    </a:cubicBezTo>
                    <a:cubicBezTo>
                      <a:pt x="2" y="49"/>
                      <a:pt x="2" y="51"/>
                      <a:pt x="3" y="53"/>
                    </a:cubicBezTo>
                    <a:cubicBezTo>
                      <a:pt x="3" y="54"/>
                      <a:pt x="3" y="54"/>
                      <a:pt x="3" y="55"/>
                    </a:cubicBezTo>
                    <a:cubicBezTo>
                      <a:pt x="3" y="56"/>
                      <a:pt x="3" y="56"/>
                      <a:pt x="3" y="57"/>
                    </a:cubicBezTo>
                    <a:cubicBezTo>
                      <a:pt x="5" y="63"/>
                      <a:pt x="6" y="70"/>
                      <a:pt x="7" y="77"/>
                    </a:cubicBezTo>
                    <a:cubicBezTo>
                      <a:pt x="7" y="82"/>
                      <a:pt x="7" y="86"/>
                      <a:pt x="8" y="90"/>
                    </a:cubicBezTo>
                    <a:cubicBezTo>
                      <a:pt x="8" y="99"/>
                      <a:pt x="8" y="107"/>
                      <a:pt x="8" y="116"/>
                    </a:cubicBezTo>
                    <a:cubicBezTo>
                      <a:pt x="8" y="128"/>
                      <a:pt x="8" y="128"/>
                      <a:pt x="8" y="128"/>
                    </a:cubicBezTo>
                    <a:cubicBezTo>
                      <a:pt x="8" y="278"/>
                      <a:pt x="8" y="278"/>
                      <a:pt x="8" y="278"/>
                    </a:cubicBezTo>
                    <a:cubicBezTo>
                      <a:pt x="280" y="278"/>
                      <a:pt x="280" y="278"/>
                      <a:pt x="280" y="278"/>
                    </a:cubicBezTo>
                    <a:cubicBezTo>
                      <a:pt x="280" y="278"/>
                      <a:pt x="280" y="278"/>
                      <a:pt x="280" y="278"/>
                    </a:cubicBezTo>
                    <a:cubicBezTo>
                      <a:pt x="280" y="278"/>
                      <a:pt x="280" y="277"/>
                      <a:pt x="281" y="276"/>
                    </a:cubicBezTo>
                    <a:cubicBezTo>
                      <a:pt x="281" y="275"/>
                      <a:pt x="281" y="275"/>
                      <a:pt x="281" y="275"/>
                    </a:cubicBezTo>
                    <a:cubicBezTo>
                      <a:pt x="282" y="272"/>
                      <a:pt x="284" y="268"/>
                      <a:pt x="287" y="265"/>
                    </a:cubicBezTo>
                    <a:cubicBezTo>
                      <a:pt x="288" y="265"/>
                      <a:pt x="289" y="264"/>
                      <a:pt x="291" y="264"/>
                    </a:cubicBezTo>
                    <a:cubicBezTo>
                      <a:pt x="292" y="263"/>
                      <a:pt x="294" y="262"/>
                      <a:pt x="296" y="261"/>
                    </a:cubicBezTo>
                    <a:cubicBezTo>
                      <a:pt x="298" y="260"/>
                      <a:pt x="299" y="260"/>
                      <a:pt x="301" y="259"/>
                    </a:cubicBezTo>
                    <a:cubicBezTo>
                      <a:pt x="302" y="258"/>
                      <a:pt x="302" y="258"/>
                      <a:pt x="303" y="257"/>
                    </a:cubicBezTo>
                    <a:cubicBezTo>
                      <a:pt x="304" y="257"/>
                      <a:pt x="305" y="256"/>
                      <a:pt x="306" y="256"/>
                    </a:cubicBezTo>
                    <a:cubicBezTo>
                      <a:pt x="306" y="256"/>
                      <a:pt x="306" y="256"/>
                      <a:pt x="306" y="256"/>
                    </a:cubicBezTo>
                    <a:cubicBezTo>
                      <a:pt x="306" y="255"/>
                      <a:pt x="306" y="254"/>
                      <a:pt x="305" y="253"/>
                    </a:cubicBezTo>
                    <a:cubicBezTo>
                      <a:pt x="305" y="249"/>
                      <a:pt x="304" y="246"/>
                      <a:pt x="304" y="242"/>
                    </a:cubicBezTo>
                    <a:cubicBezTo>
                      <a:pt x="303" y="241"/>
                      <a:pt x="302" y="235"/>
                      <a:pt x="303" y="234"/>
                    </a:cubicBezTo>
                    <a:cubicBezTo>
                      <a:pt x="304" y="234"/>
                      <a:pt x="304" y="234"/>
                      <a:pt x="304" y="234"/>
                    </a:cubicBezTo>
                    <a:cubicBezTo>
                      <a:pt x="305" y="234"/>
                      <a:pt x="305" y="234"/>
                      <a:pt x="306" y="235"/>
                    </a:cubicBezTo>
                    <a:cubicBezTo>
                      <a:pt x="307" y="235"/>
                      <a:pt x="308" y="235"/>
                      <a:pt x="309" y="235"/>
                    </a:cubicBezTo>
                    <a:cubicBezTo>
                      <a:pt x="310" y="235"/>
                      <a:pt x="310" y="235"/>
                      <a:pt x="310" y="235"/>
                    </a:cubicBezTo>
                    <a:cubicBezTo>
                      <a:pt x="309" y="234"/>
                      <a:pt x="305" y="230"/>
                      <a:pt x="303" y="230"/>
                    </a:cubicBezTo>
                    <a:cubicBezTo>
                      <a:pt x="303" y="230"/>
                      <a:pt x="303" y="230"/>
                      <a:pt x="303" y="230"/>
                    </a:cubicBezTo>
                    <a:cubicBezTo>
                      <a:pt x="299" y="224"/>
                      <a:pt x="294" y="219"/>
                      <a:pt x="291" y="213"/>
                    </a:cubicBezTo>
                    <a:cubicBezTo>
                      <a:pt x="282" y="196"/>
                      <a:pt x="273" y="178"/>
                      <a:pt x="264" y="161"/>
                    </a:cubicBezTo>
                    <a:cubicBezTo>
                      <a:pt x="263" y="158"/>
                      <a:pt x="261" y="156"/>
                      <a:pt x="260" y="154"/>
                    </a:cubicBezTo>
                    <a:cubicBezTo>
                      <a:pt x="260" y="153"/>
                      <a:pt x="259" y="154"/>
                      <a:pt x="259" y="153"/>
                    </a:cubicBezTo>
                    <a:cubicBezTo>
                      <a:pt x="259" y="151"/>
                      <a:pt x="260" y="150"/>
                      <a:pt x="260" y="148"/>
                    </a:cubicBezTo>
                    <a:cubicBezTo>
                      <a:pt x="261" y="141"/>
                      <a:pt x="255" y="132"/>
                      <a:pt x="252" y="126"/>
                    </a:cubicBezTo>
                    <a:cubicBezTo>
                      <a:pt x="251" y="123"/>
                      <a:pt x="250" y="118"/>
                      <a:pt x="248" y="116"/>
                    </a:cubicBezTo>
                    <a:cubicBezTo>
                      <a:pt x="246" y="114"/>
                      <a:pt x="243" y="112"/>
                      <a:pt x="241" y="109"/>
                    </a:cubicBezTo>
                    <a:cubicBezTo>
                      <a:pt x="239" y="107"/>
                      <a:pt x="238" y="106"/>
                      <a:pt x="236" y="104"/>
                    </a:cubicBezTo>
                    <a:cubicBezTo>
                      <a:pt x="234" y="101"/>
                      <a:pt x="231" y="97"/>
                      <a:pt x="229" y="94"/>
                    </a:cubicBezTo>
                    <a:cubicBezTo>
                      <a:pt x="226" y="90"/>
                      <a:pt x="224" y="83"/>
                      <a:pt x="223" y="78"/>
                    </a:cubicBezTo>
                    <a:cubicBezTo>
                      <a:pt x="221" y="73"/>
                      <a:pt x="214" y="67"/>
                      <a:pt x="213" y="62"/>
                    </a:cubicBezTo>
                    <a:cubicBezTo>
                      <a:pt x="213" y="60"/>
                      <a:pt x="215" y="59"/>
                      <a:pt x="216" y="57"/>
                    </a:cubicBezTo>
                    <a:cubicBezTo>
                      <a:pt x="217" y="55"/>
                      <a:pt x="216" y="53"/>
                      <a:pt x="218" y="52"/>
                    </a:cubicBezTo>
                    <a:cubicBezTo>
                      <a:pt x="218" y="51"/>
                      <a:pt x="218" y="51"/>
                      <a:pt x="219" y="51"/>
                    </a:cubicBezTo>
                    <a:cubicBezTo>
                      <a:pt x="222" y="51"/>
                      <a:pt x="224" y="65"/>
                      <a:pt x="224" y="67"/>
                    </a:cubicBezTo>
                    <a:cubicBezTo>
                      <a:pt x="224" y="66"/>
                      <a:pt x="224" y="66"/>
                      <a:pt x="224" y="66"/>
                    </a:cubicBezTo>
                    <a:cubicBezTo>
                      <a:pt x="226" y="69"/>
                      <a:pt x="227" y="72"/>
                      <a:pt x="230" y="74"/>
                    </a:cubicBezTo>
                    <a:cubicBezTo>
                      <a:pt x="232" y="76"/>
                      <a:pt x="236" y="79"/>
                      <a:pt x="237" y="81"/>
                    </a:cubicBezTo>
                    <a:cubicBezTo>
                      <a:pt x="239" y="85"/>
                      <a:pt x="238" y="91"/>
                      <a:pt x="239" y="94"/>
                    </a:cubicBezTo>
                    <a:cubicBezTo>
                      <a:pt x="240" y="97"/>
                      <a:pt x="243" y="99"/>
                      <a:pt x="245" y="101"/>
                    </a:cubicBezTo>
                    <a:cubicBezTo>
                      <a:pt x="253" y="109"/>
                      <a:pt x="257" y="116"/>
                      <a:pt x="268" y="120"/>
                    </a:cubicBezTo>
                    <a:cubicBezTo>
                      <a:pt x="268" y="120"/>
                      <a:pt x="268" y="119"/>
                      <a:pt x="268" y="118"/>
                    </a:cubicBezTo>
                    <a:cubicBezTo>
                      <a:pt x="274" y="101"/>
                      <a:pt x="280" y="84"/>
                      <a:pt x="286" y="67"/>
                    </a:cubicBezTo>
                    <a:cubicBezTo>
                      <a:pt x="267" y="10"/>
                      <a:pt x="267" y="10"/>
                      <a:pt x="267" y="10"/>
                    </a:cubicBezTo>
                    <a:cubicBezTo>
                      <a:pt x="267" y="9"/>
                      <a:pt x="267" y="9"/>
                      <a:pt x="266" y="9"/>
                    </a:cubicBezTo>
                    <a:cubicBezTo>
                      <a:pt x="266" y="9"/>
                      <a:pt x="266" y="9"/>
                      <a:pt x="266" y="9"/>
                    </a:cubicBezTo>
                    <a:cubicBezTo>
                      <a:pt x="262" y="11"/>
                      <a:pt x="258" y="12"/>
                      <a:pt x="254" y="14"/>
                    </a:cubicBezTo>
                    <a:cubicBezTo>
                      <a:pt x="252" y="15"/>
                      <a:pt x="251" y="15"/>
                      <a:pt x="249" y="15"/>
                    </a:cubicBezTo>
                    <a:cubicBezTo>
                      <a:pt x="244" y="16"/>
                      <a:pt x="239" y="17"/>
                      <a:pt x="234" y="17"/>
                    </a:cubicBezTo>
                    <a:cubicBezTo>
                      <a:pt x="233" y="17"/>
                      <a:pt x="233" y="17"/>
                      <a:pt x="233" y="17"/>
                    </a:cubicBezTo>
                    <a:cubicBezTo>
                      <a:pt x="232" y="17"/>
                      <a:pt x="232" y="17"/>
                      <a:pt x="232" y="17"/>
                    </a:cubicBezTo>
                    <a:cubicBezTo>
                      <a:pt x="231" y="17"/>
                      <a:pt x="230" y="17"/>
                      <a:pt x="229" y="17"/>
                    </a:cubicBezTo>
                    <a:cubicBezTo>
                      <a:pt x="228" y="17"/>
                      <a:pt x="227" y="17"/>
                      <a:pt x="226" y="17"/>
                    </a:cubicBezTo>
                    <a:cubicBezTo>
                      <a:pt x="223" y="17"/>
                      <a:pt x="221" y="17"/>
                      <a:pt x="220" y="16"/>
                    </a:cubicBezTo>
                    <a:cubicBezTo>
                      <a:pt x="217" y="14"/>
                      <a:pt x="213" y="10"/>
                      <a:pt x="210" y="10"/>
                    </a:cubicBezTo>
                    <a:cubicBezTo>
                      <a:pt x="215" y="12"/>
                      <a:pt x="210" y="16"/>
                      <a:pt x="208" y="16"/>
                    </a:cubicBezTo>
                    <a:cubicBezTo>
                      <a:pt x="206" y="15"/>
                      <a:pt x="198" y="12"/>
                      <a:pt x="198" y="10"/>
                    </a:cubicBezTo>
                    <a:cubicBezTo>
                      <a:pt x="198" y="9"/>
                      <a:pt x="201" y="3"/>
                      <a:pt x="201" y="2"/>
                    </a:cubicBezTo>
                    <a:cubicBezTo>
                      <a:pt x="201" y="2"/>
                      <a:pt x="201" y="2"/>
                      <a:pt x="201" y="2"/>
                    </a:cubicBezTo>
                    <a:cubicBezTo>
                      <a:pt x="198" y="2"/>
                      <a:pt x="195" y="4"/>
                      <a:pt x="193" y="4"/>
                    </a:cubicBezTo>
                    <a:cubicBezTo>
                      <a:pt x="193" y="5"/>
                      <a:pt x="192" y="5"/>
                      <a:pt x="192" y="5"/>
                    </a:cubicBezTo>
                    <a:cubicBezTo>
                      <a:pt x="189" y="5"/>
                      <a:pt x="184" y="2"/>
                      <a:pt x="181" y="1"/>
                    </a:cubicBezTo>
                    <a:cubicBezTo>
                      <a:pt x="179" y="1"/>
                      <a:pt x="178" y="0"/>
                      <a:pt x="176" y="0"/>
                    </a:cubicBezTo>
                    <a:cubicBezTo>
                      <a:pt x="175" y="0"/>
                      <a:pt x="174" y="0"/>
                      <a:pt x="173" y="1"/>
                    </a:cubicBezTo>
                    <a:cubicBezTo>
                      <a:pt x="164" y="3"/>
                      <a:pt x="158" y="4"/>
                      <a:pt x="152" y="10"/>
                    </a:cubicBezTo>
                    <a:cubicBezTo>
                      <a:pt x="153" y="10"/>
                      <a:pt x="154" y="11"/>
                      <a:pt x="155" y="11"/>
                    </a:cubicBezTo>
                    <a:cubicBezTo>
                      <a:pt x="154" y="12"/>
                      <a:pt x="153" y="12"/>
                      <a:pt x="153" y="12"/>
                    </a:cubicBezTo>
                    <a:cubicBezTo>
                      <a:pt x="153" y="12"/>
                      <a:pt x="153" y="12"/>
                      <a:pt x="153" y="12"/>
                    </a:cubicBezTo>
                    <a:cubicBezTo>
                      <a:pt x="152" y="12"/>
                      <a:pt x="151" y="10"/>
                      <a:pt x="150" y="10"/>
                    </a:cubicBezTo>
                    <a:cubicBezTo>
                      <a:pt x="149" y="10"/>
                      <a:pt x="149" y="10"/>
                      <a:pt x="149" y="10"/>
                    </a:cubicBezTo>
                    <a:cubicBezTo>
                      <a:pt x="147" y="11"/>
                      <a:pt x="145" y="13"/>
                      <a:pt x="143" y="14"/>
                    </a:cubicBezTo>
                    <a:cubicBezTo>
                      <a:pt x="137" y="18"/>
                      <a:pt x="129" y="23"/>
                      <a:pt x="121" y="24"/>
                    </a:cubicBezTo>
                    <a:cubicBezTo>
                      <a:pt x="120" y="24"/>
                      <a:pt x="120" y="24"/>
                      <a:pt x="120" y="24"/>
                    </a:cubicBezTo>
                    <a:cubicBezTo>
                      <a:pt x="116" y="24"/>
                      <a:pt x="115" y="21"/>
                      <a:pt x="112" y="20"/>
                    </a:cubicBezTo>
                    <a:cubicBezTo>
                      <a:pt x="106" y="17"/>
                      <a:pt x="98" y="17"/>
                      <a:pt x="91" y="16"/>
                    </a:cubicBezTo>
                    <a:cubicBezTo>
                      <a:pt x="87" y="16"/>
                      <a:pt x="83" y="14"/>
                      <a:pt x="78" y="13"/>
                    </a:cubicBezTo>
                    <a:cubicBezTo>
                      <a:pt x="76" y="12"/>
                      <a:pt x="74" y="11"/>
                      <a:pt x="72" y="10"/>
                    </a:cubicBezTo>
                    <a:cubicBezTo>
                      <a:pt x="66" y="7"/>
                      <a:pt x="57" y="6"/>
                      <a:pt x="50" y="4"/>
                    </a:cubicBezTo>
                    <a:cubicBezTo>
                      <a:pt x="44" y="2"/>
                      <a:pt x="37"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2" name="Freeform 260">
                <a:extLst>
                  <a:ext uri="{FF2B5EF4-FFF2-40B4-BE49-F238E27FC236}">
                    <a16:creationId xmlns:a16="http://schemas.microsoft.com/office/drawing/2014/main" id="{79AFD025-C3A6-4F19-9A30-35D5D881BEC8}"/>
                  </a:ext>
                </a:extLst>
              </p:cNvPr>
              <p:cNvSpPr>
                <a:spLocks/>
              </p:cNvSpPr>
              <p:nvPr/>
            </p:nvSpPr>
            <p:spPr bwMode="auto">
              <a:xfrm>
                <a:off x="7506581" y="6806409"/>
                <a:ext cx="114239" cy="51592"/>
              </a:xfrm>
              <a:custGeom>
                <a:avLst/>
                <a:gdLst>
                  <a:gd name="T0" fmla="*/ 22 w 36"/>
                  <a:gd name="T1" fmla="*/ 0 h 16"/>
                  <a:gd name="T2" fmla="*/ 20 w 36"/>
                  <a:gd name="T3" fmla="*/ 1 h 16"/>
                  <a:gd name="T4" fmla="*/ 20 w 36"/>
                  <a:gd name="T5" fmla="*/ 1 h 16"/>
                  <a:gd name="T6" fmla="*/ 17 w 36"/>
                  <a:gd name="T7" fmla="*/ 3 h 16"/>
                  <a:gd name="T8" fmla="*/ 12 w 36"/>
                  <a:gd name="T9" fmla="*/ 5 h 16"/>
                  <a:gd name="T10" fmla="*/ 12 w 36"/>
                  <a:gd name="T11" fmla="*/ 6 h 16"/>
                  <a:gd name="T12" fmla="*/ 7 w 36"/>
                  <a:gd name="T13" fmla="*/ 8 h 16"/>
                  <a:gd name="T14" fmla="*/ 6 w 36"/>
                  <a:gd name="T15" fmla="*/ 8 h 16"/>
                  <a:gd name="T16" fmla="*/ 4 w 36"/>
                  <a:gd name="T17" fmla="*/ 9 h 16"/>
                  <a:gd name="T18" fmla="*/ 0 w 36"/>
                  <a:gd name="T19" fmla="*/ 16 h 16"/>
                  <a:gd name="T20" fmla="*/ 0 w 36"/>
                  <a:gd name="T21" fmla="*/ 16 h 16"/>
                  <a:gd name="T22" fmla="*/ 36 w 36"/>
                  <a:gd name="T23" fmla="*/ 16 h 16"/>
                  <a:gd name="T24" fmla="*/ 31 w 36"/>
                  <a:gd name="T25" fmla="*/ 12 h 16"/>
                  <a:gd name="T26" fmla="*/ 22 w 36"/>
                  <a:gd name="T2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6">
                    <a:moveTo>
                      <a:pt x="22" y="0"/>
                    </a:moveTo>
                    <a:cubicBezTo>
                      <a:pt x="21" y="1"/>
                      <a:pt x="21" y="1"/>
                      <a:pt x="20" y="1"/>
                    </a:cubicBezTo>
                    <a:cubicBezTo>
                      <a:pt x="20" y="1"/>
                      <a:pt x="20" y="1"/>
                      <a:pt x="20" y="1"/>
                    </a:cubicBezTo>
                    <a:cubicBezTo>
                      <a:pt x="19" y="2"/>
                      <a:pt x="18" y="2"/>
                      <a:pt x="17" y="3"/>
                    </a:cubicBezTo>
                    <a:cubicBezTo>
                      <a:pt x="15" y="4"/>
                      <a:pt x="14" y="5"/>
                      <a:pt x="12" y="5"/>
                    </a:cubicBezTo>
                    <a:cubicBezTo>
                      <a:pt x="12" y="6"/>
                      <a:pt x="12" y="6"/>
                      <a:pt x="12" y="6"/>
                    </a:cubicBezTo>
                    <a:cubicBezTo>
                      <a:pt x="10" y="6"/>
                      <a:pt x="8" y="7"/>
                      <a:pt x="7" y="8"/>
                    </a:cubicBezTo>
                    <a:cubicBezTo>
                      <a:pt x="6" y="8"/>
                      <a:pt x="6" y="8"/>
                      <a:pt x="6" y="8"/>
                    </a:cubicBezTo>
                    <a:cubicBezTo>
                      <a:pt x="6" y="8"/>
                      <a:pt x="4" y="9"/>
                      <a:pt x="4" y="9"/>
                    </a:cubicBezTo>
                    <a:cubicBezTo>
                      <a:pt x="3" y="10"/>
                      <a:pt x="1" y="13"/>
                      <a:pt x="0" y="16"/>
                    </a:cubicBezTo>
                    <a:cubicBezTo>
                      <a:pt x="0" y="16"/>
                      <a:pt x="0" y="16"/>
                      <a:pt x="0" y="16"/>
                    </a:cubicBezTo>
                    <a:cubicBezTo>
                      <a:pt x="36" y="16"/>
                      <a:pt x="36" y="16"/>
                      <a:pt x="36" y="16"/>
                    </a:cubicBezTo>
                    <a:cubicBezTo>
                      <a:pt x="35" y="15"/>
                      <a:pt x="33" y="13"/>
                      <a:pt x="31" y="12"/>
                    </a:cubicBezTo>
                    <a:cubicBezTo>
                      <a:pt x="29" y="10"/>
                      <a:pt x="25" y="5"/>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3" name="Freeform 261">
                <a:extLst>
                  <a:ext uri="{FF2B5EF4-FFF2-40B4-BE49-F238E27FC236}">
                    <a16:creationId xmlns:a16="http://schemas.microsoft.com/office/drawing/2014/main" id="{3F1479BE-35FF-4300-B4E4-1E4942A276F6}"/>
                  </a:ext>
                </a:extLst>
              </p:cNvPr>
              <p:cNvSpPr>
                <a:spLocks/>
              </p:cNvSpPr>
              <p:nvPr/>
            </p:nvSpPr>
            <p:spPr bwMode="auto">
              <a:xfrm>
                <a:off x="3773559" y="6633209"/>
                <a:ext cx="468010" cy="224792"/>
              </a:xfrm>
              <a:custGeom>
                <a:avLst/>
                <a:gdLst>
                  <a:gd name="T0" fmla="*/ 44 w 147"/>
                  <a:gd name="T1" fmla="*/ 0 h 71"/>
                  <a:gd name="T2" fmla="*/ 0 w 147"/>
                  <a:gd name="T3" fmla="*/ 0 h 71"/>
                  <a:gd name="T4" fmla="*/ 3 w 147"/>
                  <a:gd name="T5" fmla="*/ 22 h 71"/>
                  <a:gd name="T6" fmla="*/ 3 w 147"/>
                  <a:gd name="T7" fmla="*/ 27 h 71"/>
                  <a:gd name="T8" fmla="*/ 4 w 147"/>
                  <a:gd name="T9" fmla="*/ 36 h 71"/>
                  <a:gd name="T10" fmla="*/ 9 w 147"/>
                  <a:gd name="T11" fmla="*/ 71 h 71"/>
                  <a:gd name="T12" fmla="*/ 147 w 147"/>
                  <a:gd name="T13" fmla="*/ 71 h 71"/>
                  <a:gd name="T14" fmla="*/ 129 w 147"/>
                  <a:gd name="T15" fmla="*/ 58 h 71"/>
                  <a:gd name="T16" fmla="*/ 96 w 147"/>
                  <a:gd name="T17" fmla="*/ 35 h 71"/>
                  <a:gd name="T18" fmla="*/ 89 w 147"/>
                  <a:gd name="T19" fmla="*/ 30 h 71"/>
                  <a:gd name="T20" fmla="*/ 67 w 147"/>
                  <a:gd name="T21" fmla="*/ 15 h 71"/>
                  <a:gd name="T22" fmla="*/ 65 w 147"/>
                  <a:gd name="T23" fmla="*/ 14 h 71"/>
                  <a:gd name="T24" fmla="*/ 58 w 147"/>
                  <a:gd name="T25" fmla="*/ 9 h 71"/>
                  <a:gd name="T26" fmla="*/ 52 w 147"/>
                  <a:gd name="T27" fmla="*/ 5 h 71"/>
                  <a:gd name="T28" fmla="*/ 44 w 147"/>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71">
                    <a:moveTo>
                      <a:pt x="44" y="0"/>
                    </a:moveTo>
                    <a:cubicBezTo>
                      <a:pt x="0" y="0"/>
                      <a:pt x="0" y="0"/>
                      <a:pt x="0" y="0"/>
                    </a:cubicBezTo>
                    <a:cubicBezTo>
                      <a:pt x="3" y="22"/>
                      <a:pt x="3" y="22"/>
                      <a:pt x="3" y="22"/>
                    </a:cubicBezTo>
                    <a:cubicBezTo>
                      <a:pt x="3" y="24"/>
                      <a:pt x="3" y="25"/>
                      <a:pt x="3" y="27"/>
                    </a:cubicBezTo>
                    <a:cubicBezTo>
                      <a:pt x="4" y="36"/>
                      <a:pt x="4" y="36"/>
                      <a:pt x="4" y="36"/>
                    </a:cubicBezTo>
                    <a:cubicBezTo>
                      <a:pt x="6" y="48"/>
                      <a:pt x="7" y="59"/>
                      <a:pt x="9" y="71"/>
                    </a:cubicBezTo>
                    <a:cubicBezTo>
                      <a:pt x="147" y="71"/>
                      <a:pt x="147" y="71"/>
                      <a:pt x="147" y="71"/>
                    </a:cubicBezTo>
                    <a:cubicBezTo>
                      <a:pt x="141" y="67"/>
                      <a:pt x="135" y="62"/>
                      <a:pt x="129" y="58"/>
                    </a:cubicBezTo>
                    <a:cubicBezTo>
                      <a:pt x="118" y="51"/>
                      <a:pt x="107" y="43"/>
                      <a:pt x="96" y="35"/>
                    </a:cubicBezTo>
                    <a:cubicBezTo>
                      <a:pt x="89" y="30"/>
                      <a:pt x="89" y="30"/>
                      <a:pt x="89" y="30"/>
                    </a:cubicBezTo>
                    <a:cubicBezTo>
                      <a:pt x="82" y="25"/>
                      <a:pt x="74" y="20"/>
                      <a:pt x="67" y="15"/>
                    </a:cubicBezTo>
                    <a:cubicBezTo>
                      <a:pt x="65" y="14"/>
                      <a:pt x="65" y="14"/>
                      <a:pt x="65" y="14"/>
                    </a:cubicBezTo>
                    <a:cubicBezTo>
                      <a:pt x="63" y="13"/>
                      <a:pt x="61" y="11"/>
                      <a:pt x="58" y="9"/>
                    </a:cubicBezTo>
                    <a:cubicBezTo>
                      <a:pt x="52" y="5"/>
                      <a:pt x="52" y="5"/>
                      <a:pt x="52" y="5"/>
                    </a:cubicBezTo>
                    <a:cubicBezTo>
                      <a:pt x="49" y="3"/>
                      <a:pt x="47" y="1"/>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4" name="Freeform 262">
                <a:extLst>
                  <a:ext uri="{FF2B5EF4-FFF2-40B4-BE49-F238E27FC236}">
                    <a16:creationId xmlns:a16="http://schemas.microsoft.com/office/drawing/2014/main" id="{2A6FB6D9-0C0F-4A26-9DEC-B351DD31075E}"/>
                  </a:ext>
                </a:extLst>
              </p:cNvPr>
              <p:cNvSpPr>
                <a:spLocks/>
              </p:cNvSpPr>
              <p:nvPr/>
            </p:nvSpPr>
            <p:spPr bwMode="auto">
              <a:xfrm>
                <a:off x="4016777" y="6028850"/>
                <a:ext cx="0" cy="3685"/>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5" name="Freeform 263">
                <a:extLst>
                  <a:ext uri="{FF2B5EF4-FFF2-40B4-BE49-F238E27FC236}">
                    <a16:creationId xmlns:a16="http://schemas.microsoft.com/office/drawing/2014/main" id="{325AFE16-DCF2-4229-B65F-489AF046E116}"/>
                  </a:ext>
                </a:extLst>
              </p:cNvPr>
              <p:cNvSpPr>
                <a:spLocks/>
              </p:cNvSpPr>
              <p:nvPr/>
            </p:nvSpPr>
            <p:spPr bwMode="auto">
              <a:xfrm>
                <a:off x="4016777" y="6028850"/>
                <a:ext cx="0" cy="3685"/>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1"/>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6" name="Freeform 264">
                <a:extLst>
                  <a:ext uri="{FF2B5EF4-FFF2-40B4-BE49-F238E27FC236}">
                    <a16:creationId xmlns:a16="http://schemas.microsoft.com/office/drawing/2014/main" id="{B3766A1E-B97F-4332-B029-D39104CDA815}"/>
                  </a:ext>
                </a:extLst>
              </p:cNvPr>
              <p:cNvSpPr>
                <a:spLocks/>
              </p:cNvSpPr>
              <p:nvPr/>
            </p:nvSpPr>
            <p:spPr bwMode="auto">
              <a:xfrm>
                <a:off x="3176570" y="5538730"/>
                <a:ext cx="1072369" cy="810725"/>
              </a:xfrm>
              <a:custGeom>
                <a:avLst/>
                <a:gdLst>
                  <a:gd name="T0" fmla="*/ 202 w 337"/>
                  <a:gd name="T1" fmla="*/ 6 h 256"/>
                  <a:gd name="T2" fmla="*/ 163 w 337"/>
                  <a:gd name="T3" fmla="*/ 70 h 256"/>
                  <a:gd name="T4" fmla="*/ 143 w 337"/>
                  <a:gd name="T5" fmla="*/ 79 h 256"/>
                  <a:gd name="T6" fmla="*/ 107 w 337"/>
                  <a:gd name="T7" fmla="*/ 108 h 256"/>
                  <a:gd name="T8" fmla="*/ 93 w 337"/>
                  <a:gd name="T9" fmla="*/ 148 h 256"/>
                  <a:gd name="T10" fmla="*/ 91 w 337"/>
                  <a:gd name="T11" fmla="*/ 168 h 256"/>
                  <a:gd name="T12" fmla="*/ 97 w 337"/>
                  <a:gd name="T13" fmla="*/ 184 h 256"/>
                  <a:gd name="T14" fmla="*/ 37 w 337"/>
                  <a:gd name="T15" fmla="*/ 243 h 256"/>
                  <a:gd name="T16" fmla="*/ 3 w 337"/>
                  <a:gd name="T17" fmla="*/ 252 h 256"/>
                  <a:gd name="T18" fmla="*/ 121 w 337"/>
                  <a:gd name="T19" fmla="*/ 230 h 256"/>
                  <a:gd name="T20" fmla="*/ 131 w 337"/>
                  <a:gd name="T21" fmla="*/ 219 h 256"/>
                  <a:gd name="T22" fmla="*/ 139 w 337"/>
                  <a:gd name="T23" fmla="*/ 214 h 256"/>
                  <a:gd name="T24" fmla="*/ 161 w 337"/>
                  <a:gd name="T25" fmla="*/ 201 h 256"/>
                  <a:gd name="T26" fmla="*/ 176 w 337"/>
                  <a:gd name="T27" fmla="*/ 197 h 256"/>
                  <a:gd name="T28" fmla="*/ 182 w 337"/>
                  <a:gd name="T29" fmla="*/ 198 h 256"/>
                  <a:gd name="T30" fmla="*/ 183 w 337"/>
                  <a:gd name="T31" fmla="*/ 194 h 256"/>
                  <a:gd name="T32" fmla="*/ 189 w 337"/>
                  <a:gd name="T33" fmla="*/ 190 h 256"/>
                  <a:gd name="T34" fmla="*/ 213 w 337"/>
                  <a:gd name="T35" fmla="*/ 187 h 256"/>
                  <a:gd name="T36" fmla="*/ 222 w 337"/>
                  <a:gd name="T37" fmla="*/ 180 h 256"/>
                  <a:gd name="T38" fmla="*/ 231 w 337"/>
                  <a:gd name="T39" fmla="*/ 171 h 256"/>
                  <a:gd name="T40" fmla="*/ 264 w 337"/>
                  <a:gd name="T41" fmla="*/ 156 h 256"/>
                  <a:gd name="T42" fmla="*/ 261 w 337"/>
                  <a:gd name="T43" fmla="*/ 145 h 256"/>
                  <a:gd name="T44" fmla="*/ 259 w 337"/>
                  <a:gd name="T45" fmla="*/ 141 h 256"/>
                  <a:gd name="T46" fmla="*/ 265 w 337"/>
                  <a:gd name="T47" fmla="*/ 131 h 256"/>
                  <a:gd name="T48" fmla="*/ 271 w 337"/>
                  <a:gd name="T49" fmla="*/ 132 h 256"/>
                  <a:gd name="T50" fmla="*/ 282 w 337"/>
                  <a:gd name="T51" fmla="*/ 128 h 256"/>
                  <a:gd name="T52" fmla="*/ 296 w 337"/>
                  <a:gd name="T53" fmla="*/ 118 h 256"/>
                  <a:gd name="T54" fmla="*/ 310 w 337"/>
                  <a:gd name="T55" fmla="*/ 117 h 256"/>
                  <a:gd name="T56" fmla="*/ 326 w 337"/>
                  <a:gd name="T57" fmla="*/ 119 h 256"/>
                  <a:gd name="T58" fmla="*/ 336 w 337"/>
                  <a:gd name="T59" fmla="*/ 111 h 256"/>
                  <a:gd name="T60" fmla="*/ 330 w 337"/>
                  <a:gd name="T61" fmla="*/ 102 h 256"/>
                  <a:gd name="T62" fmla="*/ 320 w 337"/>
                  <a:gd name="T63" fmla="*/ 66 h 256"/>
                  <a:gd name="T64" fmla="*/ 318 w 337"/>
                  <a:gd name="T65" fmla="*/ 49 h 256"/>
                  <a:gd name="T66" fmla="*/ 315 w 337"/>
                  <a:gd name="T67" fmla="*/ 42 h 256"/>
                  <a:gd name="T68" fmla="*/ 315 w 337"/>
                  <a:gd name="T69" fmla="*/ 38 h 256"/>
                  <a:gd name="T70" fmla="*/ 312 w 337"/>
                  <a:gd name="T71" fmla="*/ 35 h 256"/>
                  <a:gd name="T72" fmla="*/ 307 w 337"/>
                  <a:gd name="T73" fmla="*/ 30 h 256"/>
                  <a:gd name="T74" fmla="*/ 304 w 337"/>
                  <a:gd name="T75" fmla="*/ 28 h 256"/>
                  <a:gd name="T76" fmla="*/ 289 w 337"/>
                  <a:gd name="T77" fmla="*/ 22 h 256"/>
                  <a:gd name="T78" fmla="*/ 285 w 337"/>
                  <a:gd name="T79" fmla="*/ 17 h 256"/>
                  <a:gd name="T80" fmla="*/ 244 w 337"/>
                  <a:gd name="T81" fmla="*/ 24 h 256"/>
                  <a:gd name="T82" fmla="*/ 225 w 337"/>
                  <a:gd name="T83" fmla="*/ 12 h 256"/>
                  <a:gd name="T84" fmla="*/ 221 w 337"/>
                  <a:gd name="T85" fmla="*/ 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7" h="256">
                    <a:moveTo>
                      <a:pt x="218" y="0"/>
                    </a:moveTo>
                    <a:cubicBezTo>
                      <a:pt x="218" y="0"/>
                      <a:pt x="218" y="0"/>
                      <a:pt x="218" y="0"/>
                    </a:cubicBezTo>
                    <a:cubicBezTo>
                      <a:pt x="214" y="2"/>
                      <a:pt x="204" y="2"/>
                      <a:pt x="202" y="6"/>
                    </a:cubicBezTo>
                    <a:cubicBezTo>
                      <a:pt x="200" y="12"/>
                      <a:pt x="198" y="18"/>
                      <a:pt x="196" y="23"/>
                    </a:cubicBezTo>
                    <a:cubicBezTo>
                      <a:pt x="192" y="35"/>
                      <a:pt x="186" y="45"/>
                      <a:pt x="180" y="56"/>
                    </a:cubicBezTo>
                    <a:cubicBezTo>
                      <a:pt x="177" y="62"/>
                      <a:pt x="169" y="67"/>
                      <a:pt x="163" y="70"/>
                    </a:cubicBezTo>
                    <a:cubicBezTo>
                      <a:pt x="162" y="71"/>
                      <a:pt x="162" y="71"/>
                      <a:pt x="161" y="71"/>
                    </a:cubicBezTo>
                    <a:cubicBezTo>
                      <a:pt x="148" y="77"/>
                      <a:pt x="148" y="77"/>
                      <a:pt x="148" y="77"/>
                    </a:cubicBezTo>
                    <a:cubicBezTo>
                      <a:pt x="146" y="78"/>
                      <a:pt x="145" y="78"/>
                      <a:pt x="143" y="79"/>
                    </a:cubicBezTo>
                    <a:cubicBezTo>
                      <a:pt x="138" y="81"/>
                      <a:pt x="132" y="83"/>
                      <a:pt x="128" y="87"/>
                    </a:cubicBezTo>
                    <a:cubicBezTo>
                      <a:pt x="123" y="91"/>
                      <a:pt x="119" y="97"/>
                      <a:pt x="114" y="102"/>
                    </a:cubicBezTo>
                    <a:cubicBezTo>
                      <a:pt x="112" y="104"/>
                      <a:pt x="109" y="106"/>
                      <a:pt x="107" y="108"/>
                    </a:cubicBezTo>
                    <a:cubicBezTo>
                      <a:pt x="106" y="110"/>
                      <a:pt x="106" y="115"/>
                      <a:pt x="106" y="117"/>
                    </a:cubicBezTo>
                    <a:cubicBezTo>
                      <a:pt x="103" y="126"/>
                      <a:pt x="99" y="132"/>
                      <a:pt x="94" y="140"/>
                    </a:cubicBezTo>
                    <a:cubicBezTo>
                      <a:pt x="91" y="144"/>
                      <a:pt x="93" y="144"/>
                      <a:pt x="93" y="148"/>
                    </a:cubicBezTo>
                    <a:cubicBezTo>
                      <a:pt x="92" y="152"/>
                      <a:pt x="92" y="156"/>
                      <a:pt x="92" y="160"/>
                    </a:cubicBezTo>
                    <a:cubicBezTo>
                      <a:pt x="92" y="163"/>
                      <a:pt x="91" y="166"/>
                      <a:pt x="91" y="168"/>
                    </a:cubicBezTo>
                    <a:cubicBezTo>
                      <a:pt x="91" y="168"/>
                      <a:pt x="91" y="168"/>
                      <a:pt x="91" y="168"/>
                    </a:cubicBezTo>
                    <a:cubicBezTo>
                      <a:pt x="92" y="168"/>
                      <a:pt x="92" y="168"/>
                      <a:pt x="92" y="169"/>
                    </a:cubicBezTo>
                    <a:cubicBezTo>
                      <a:pt x="96" y="172"/>
                      <a:pt x="98" y="174"/>
                      <a:pt x="98" y="179"/>
                    </a:cubicBezTo>
                    <a:cubicBezTo>
                      <a:pt x="98" y="180"/>
                      <a:pt x="97" y="182"/>
                      <a:pt x="97" y="184"/>
                    </a:cubicBezTo>
                    <a:cubicBezTo>
                      <a:pt x="93" y="195"/>
                      <a:pt x="83" y="205"/>
                      <a:pt x="76" y="213"/>
                    </a:cubicBezTo>
                    <a:cubicBezTo>
                      <a:pt x="71" y="219"/>
                      <a:pt x="63" y="223"/>
                      <a:pt x="57" y="228"/>
                    </a:cubicBezTo>
                    <a:cubicBezTo>
                      <a:pt x="50" y="232"/>
                      <a:pt x="44" y="238"/>
                      <a:pt x="37" y="243"/>
                    </a:cubicBezTo>
                    <a:cubicBezTo>
                      <a:pt x="35" y="244"/>
                      <a:pt x="32" y="245"/>
                      <a:pt x="29" y="245"/>
                    </a:cubicBezTo>
                    <a:cubicBezTo>
                      <a:pt x="24" y="247"/>
                      <a:pt x="18" y="248"/>
                      <a:pt x="13" y="250"/>
                    </a:cubicBezTo>
                    <a:cubicBezTo>
                      <a:pt x="11" y="250"/>
                      <a:pt x="3" y="251"/>
                      <a:pt x="3" y="252"/>
                    </a:cubicBezTo>
                    <a:cubicBezTo>
                      <a:pt x="2" y="254"/>
                      <a:pt x="1" y="255"/>
                      <a:pt x="0" y="256"/>
                    </a:cubicBezTo>
                    <a:cubicBezTo>
                      <a:pt x="122" y="256"/>
                      <a:pt x="122" y="256"/>
                      <a:pt x="122" y="256"/>
                    </a:cubicBezTo>
                    <a:cubicBezTo>
                      <a:pt x="121" y="230"/>
                      <a:pt x="121" y="230"/>
                      <a:pt x="121" y="230"/>
                    </a:cubicBezTo>
                    <a:cubicBezTo>
                      <a:pt x="121" y="229"/>
                      <a:pt x="122" y="229"/>
                      <a:pt x="122" y="228"/>
                    </a:cubicBezTo>
                    <a:cubicBezTo>
                      <a:pt x="123" y="226"/>
                      <a:pt x="124" y="225"/>
                      <a:pt x="125" y="223"/>
                    </a:cubicBezTo>
                    <a:cubicBezTo>
                      <a:pt x="127" y="222"/>
                      <a:pt x="129" y="221"/>
                      <a:pt x="131" y="219"/>
                    </a:cubicBezTo>
                    <a:cubicBezTo>
                      <a:pt x="134" y="217"/>
                      <a:pt x="134" y="217"/>
                      <a:pt x="134" y="217"/>
                    </a:cubicBezTo>
                    <a:cubicBezTo>
                      <a:pt x="134" y="217"/>
                      <a:pt x="135" y="217"/>
                      <a:pt x="135" y="217"/>
                    </a:cubicBezTo>
                    <a:cubicBezTo>
                      <a:pt x="139" y="214"/>
                      <a:pt x="139" y="214"/>
                      <a:pt x="139" y="214"/>
                    </a:cubicBezTo>
                    <a:cubicBezTo>
                      <a:pt x="143" y="211"/>
                      <a:pt x="146" y="209"/>
                      <a:pt x="149" y="207"/>
                    </a:cubicBezTo>
                    <a:cubicBezTo>
                      <a:pt x="150" y="206"/>
                      <a:pt x="152" y="205"/>
                      <a:pt x="153" y="204"/>
                    </a:cubicBezTo>
                    <a:cubicBezTo>
                      <a:pt x="156" y="203"/>
                      <a:pt x="159" y="202"/>
                      <a:pt x="161" y="201"/>
                    </a:cubicBezTo>
                    <a:cubicBezTo>
                      <a:pt x="163" y="201"/>
                      <a:pt x="164" y="200"/>
                      <a:pt x="166" y="200"/>
                    </a:cubicBezTo>
                    <a:cubicBezTo>
                      <a:pt x="170" y="199"/>
                      <a:pt x="170" y="199"/>
                      <a:pt x="170" y="199"/>
                    </a:cubicBezTo>
                    <a:cubicBezTo>
                      <a:pt x="172" y="198"/>
                      <a:pt x="174" y="198"/>
                      <a:pt x="176" y="197"/>
                    </a:cubicBezTo>
                    <a:cubicBezTo>
                      <a:pt x="177" y="197"/>
                      <a:pt x="177" y="197"/>
                      <a:pt x="178" y="197"/>
                    </a:cubicBezTo>
                    <a:cubicBezTo>
                      <a:pt x="179" y="197"/>
                      <a:pt x="180" y="197"/>
                      <a:pt x="181" y="198"/>
                    </a:cubicBezTo>
                    <a:cubicBezTo>
                      <a:pt x="181" y="198"/>
                      <a:pt x="181" y="198"/>
                      <a:pt x="182" y="198"/>
                    </a:cubicBezTo>
                    <a:cubicBezTo>
                      <a:pt x="182" y="198"/>
                      <a:pt x="182" y="198"/>
                      <a:pt x="182" y="198"/>
                    </a:cubicBezTo>
                    <a:cubicBezTo>
                      <a:pt x="182" y="197"/>
                      <a:pt x="183" y="195"/>
                      <a:pt x="183" y="194"/>
                    </a:cubicBezTo>
                    <a:cubicBezTo>
                      <a:pt x="183" y="194"/>
                      <a:pt x="183" y="194"/>
                      <a:pt x="183" y="194"/>
                    </a:cubicBezTo>
                    <a:cubicBezTo>
                      <a:pt x="184" y="193"/>
                      <a:pt x="184" y="192"/>
                      <a:pt x="184" y="192"/>
                    </a:cubicBezTo>
                    <a:cubicBezTo>
                      <a:pt x="185" y="188"/>
                      <a:pt x="185" y="188"/>
                      <a:pt x="185" y="188"/>
                    </a:cubicBezTo>
                    <a:cubicBezTo>
                      <a:pt x="189" y="190"/>
                      <a:pt x="189" y="190"/>
                      <a:pt x="189" y="190"/>
                    </a:cubicBezTo>
                    <a:cubicBezTo>
                      <a:pt x="189" y="190"/>
                      <a:pt x="190" y="190"/>
                      <a:pt x="190" y="190"/>
                    </a:cubicBezTo>
                    <a:cubicBezTo>
                      <a:pt x="191" y="191"/>
                      <a:pt x="193" y="191"/>
                      <a:pt x="194" y="191"/>
                    </a:cubicBezTo>
                    <a:cubicBezTo>
                      <a:pt x="200" y="191"/>
                      <a:pt x="209" y="189"/>
                      <a:pt x="213" y="187"/>
                    </a:cubicBezTo>
                    <a:cubicBezTo>
                      <a:pt x="215" y="187"/>
                      <a:pt x="216" y="186"/>
                      <a:pt x="217" y="185"/>
                    </a:cubicBezTo>
                    <a:cubicBezTo>
                      <a:pt x="218" y="184"/>
                      <a:pt x="219" y="183"/>
                      <a:pt x="220" y="182"/>
                    </a:cubicBezTo>
                    <a:cubicBezTo>
                      <a:pt x="222" y="180"/>
                      <a:pt x="222" y="180"/>
                      <a:pt x="222" y="180"/>
                    </a:cubicBezTo>
                    <a:cubicBezTo>
                      <a:pt x="223" y="180"/>
                      <a:pt x="223" y="179"/>
                      <a:pt x="223" y="178"/>
                    </a:cubicBezTo>
                    <a:cubicBezTo>
                      <a:pt x="224" y="177"/>
                      <a:pt x="224" y="177"/>
                      <a:pt x="224" y="177"/>
                    </a:cubicBezTo>
                    <a:cubicBezTo>
                      <a:pt x="226" y="175"/>
                      <a:pt x="228" y="173"/>
                      <a:pt x="231" y="171"/>
                    </a:cubicBezTo>
                    <a:cubicBezTo>
                      <a:pt x="261" y="157"/>
                      <a:pt x="261" y="157"/>
                      <a:pt x="261" y="157"/>
                    </a:cubicBezTo>
                    <a:cubicBezTo>
                      <a:pt x="261" y="157"/>
                      <a:pt x="262" y="157"/>
                      <a:pt x="263" y="156"/>
                    </a:cubicBezTo>
                    <a:cubicBezTo>
                      <a:pt x="263" y="156"/>
                      <a:pt x="264" y="156"/>
                      <a:pt x="264" y="156"/>
                    </a:cubicBezTo>
                    <a:cubicBezTo>
                      <a:pt x="262" y="155"/>
                      <a:pt x="262" y="155"/>
                      <a:pt x="262" y="155"/>
                    </a:cubicBezTo>
                    <a:cubicBezTo>
                      <a:pt x="259" y="153"/>
                      <a:pt x="259" y="150"/>
                      <a:pt x="260" y="148"/>
                    </a:cubicBezTo>
                    <a:cubicBezTo>
                      <a:pt x="260" y="147"/>
                      <a:pt x="260" y="146"/>
                      <a:pt x="261" y="145"/>
                    </a:cubicBezTo>
                    <a:cubicBezTo>
                      <a:pt x="260" y="144"/>
                      <a:pt x="260" y="144"/>
                      <a:pt x="260" y="144"/>
                    </a:cubicBezTo>
                    <a:cubicBezTo>
                      <a:pt x="260" y="144"/>
                      <a:pt x="260" y="144"/>
                      <a:pt x="260" y="144"/>
                    </a:cubicBezTo>
                    <a:cubicBezTo>
                      <a:pt x="260" y="144"/>
                      <a:pt x="259" y="142"/>
                      <a:pt x="259" y="141"/>
                    </a:cubicBezTo>
                    <a:cubicBezTo>
                      <a:pt x="258" y="140"/>
                      <a:pt x="258" y="139"/>
                      <a:pt x="258" y="138"/>
                    </a:cubicBezTo>
                    <a:cubicBezTo>
                      <a:pt x="259" y="134"/>
                      <a:pt x="261" y="132"/>
                      <a:pt x="264" y="131"/>
                    </a:cubicBezTo>
                    <a:cubicBezTo>
                      <a:pt x="265" y="131"/>
                      <a:pt x="265" y="131"/>
                      <a:pt x="265" y="131"/>
                    </a:cubicBezTo>
                    <a:cubicBezTo>
                      <a:pt x="266" y="131"/>
                      <a:pt x="267" y="131"/>
                      <a:pt x="268" y="132"/>
                    </a:cubicBezTo>
                    <a:cubicBezTo>
                      <a:pt x="269" y="132"/>
                      <a:pt x="270" y="132"/>
                      <a:pt x="271" y="132"/>
                    </a:cubicBezTo>
                    <a:cubicBezTo>
                      <a:pt x="271" y="132"/>
                      <a:pt x="271" y="132"/>
                      <a:pt x="271" y="132"/>
                    </a:cubicBezTo>
                    <a:cubicBezTo>
                      <a:pt x="271" y="132"/>
                      <a:pt x="271" y="132"/>
                      <a:pt x="271" y="132"/>
                    </a:cubicBezTo>
                    <a:cubicBezTo>
                      <a:pt x="273" y="132"/>
                      <a:pt x="276" y="131"/>
                      <a:pt x="279" y="130"/>
                    </a:cubicBezTo>
                    <a:cubicBezTo>
                      <a:pt x="280" y="129"/>
                      <a:pt x="281" y="129"/>
                      <a:pt x="282" y="128"/>
                    </a:cubicBezTo>
                    <a:cubicBezTo>
                      <a:pt x="283" y="128"/>
                      <a:pt x="284" y="127"/>
                      <a:pt x="285" y="125"/>
                    </a:cubicBezTo>
                    <a:cubicBezTo>
                      <a:pt x="286" y="123"/>
                      <a:pt x="288" y="120"/>
                      <a:pt x="291" y="119"/>
                    </a:cubicBezTo>
                    <a:cubicBezTo>
                      <a:pt x="293" y="119"/>
                      <a:pt x="295" y="118"/>
                      <a:pt x="296" y="118"/>
                    </a:cubicBezTo>
                    <a:cubicBezTo>
                      <a:pt x="297" y="118"/>
                      <a:pt x="298" y="118"/>
                      <a:pt x="299" y="118"/>
                    </a:cubicBezTo>
                    <a:cubicBezTo>
                      <a:pt x="301" y="117"/>
                      <a:pt x="303" y="117"/>
                      <a:pt x="306" y="117"/>
                    </a:cubicBezTo>
                    <a:cubicBezTo>
                      <a:pt x="307" y="117"/>
                      <a:pt x="309" y="117"/>
                      <a:pt x="310" y="117"/>
                    </a:cubicBezTo>
                    <a:cubicBezTo>
                      <a:pt x="311" y="117"/>
                      <a:pt x="311" y="117"/>
                      <a:pt x="311" y="117"/>
                    </a:cubicBezTo>
                    <a:cubicBezTo>
                      <a:pt x="314" y="118"/>
                      <a:pt x="317" y="118"/>
                      <a:pt x="320" y="118"/>
                    </a:cubicBezTo>
                    <a:cubicBezTo>
                      <a:pt x="322" y="118"/>
                      <a:pt x="324" y="118"/>
                      <a:pt x="326" y="119"/>
                    </a:cubicBezTo>
                    <a:cubicBezTo>
                      <a:pt x="328" y="119"/>
                      <a:pt x="330" y="119"/>
                      <a:pt x="332" y="119"/>
                    </a:cubicBezTo>
                    <a:cubicBezTo>
                      <a:pt x="332" y="118"/>
                      <a:pt x="332" y="117"/>
                      <a:pt x="333" y="116"/>
                    </a:cubicBezTo>
                    <a:cubicBezTo>
                      <a:pt x="336" y="111"/>
                      <a:pt x="336" y="111"/>
                      <a:pt x="336" y="111"/>
                    </a:cubicBezTo>
                    <a:cubicBezTo>
                      <a:pt x="337" y="111"/>
                      <a:pt x="337" y="110"/>
                      <a:pt x="337" y="110"/>
                    </a:cubicBezTo>
                    <a:cubicBezTo>
                      <a:pt x="335" y="108"/>
                      <a:pt x="335" y="108"/>
                      <a:pt x="335" y="108"/>
                    </a:cubicBezTo>
                    <a:cubicBezTo>
                      <a:pt x="333" y="106"/>
                      <a:pt x="331" y="105"/>
                      <a:pt x="330" y="102"/>
                    </a:cubicBezTo>
                    <a:cubicBezTo>
                      <a:pt x="320" y="74"/>
                      <a:pt x="320" y="74"/>
                      <a:pt x="320" y="74"/>
                    </a:cubicBezTo>
                    <a:cubicBezTo>
                      <a:pt x="319" y="73"/>
                      <a:pt x="319" y="71"/>
                      <a:pt x="319" y="70"/>
                    </a:cubicBezTo>
                    <a:cubicBezTo>
                      <a:pt x="319" y="68"/>
                      <a:pt x="319" y="67"/>
                      <a:pt x="320" y="66"/>
                    </a:cubicBezTo>
                    <a:cubicBezTo>
                      <a:pt x="320" y="64"/>
                      <a:pt x="321" y="60"/>
                      <a:pt x="320" y="59"/>
                    </a:cubicBezTo>
                    <a:cubicBezTo>
                      <a:pt x="318" y="52"/>
                      <a:pt x="318" y="52"/>
                      <a:pt x="318" y="52"/>
                    </a:cubicBezTo>
                    <a:cubicBezTo>
                      <a:pt x="318" y="51"/>
                      <a:pt x="318" y="50"/>
                      <a:pt x="318" y="49"/>
                    </a:cubicBezTo>
                    <a:cubicBezTo>
                      <a:pt x="319" y="49"/>
                      <a:pt x="319" y="48"/>
                      <a:pt x="319" y="47"/>
                    </a:cubicBezTo>
                    <a:cubicBezTo>
                      <a:pt x="318" y="47"/>
                      <a:pt x="317" y="46"/>
                      <a:pt x="317" y="45"/>
                    </a:cubicBezTo>
                    <a:cubicBezTo>
                      <a:pt x="316" y="44"/>
                      <a:pt x="315" y="43"/>
                      <a:pt x="315" y="42"/>
                    </a:cubicBezTo>
                    <a:cubicBezTo>
                      <a:pt x="315" y="41"/>
                      <a:pt x="316" y="40"/>
                      <a:pt x="316" y="40"/>
                    </a:cubicBezTo>
                    <a:cubicBezTo>
                      <a:pt x="314" y="42"/>
                      <a:pt x="314" y="42"/>
                      <a:pt x="314" y="42"/>
                    </a:cubicBezTo>
                    <a:cubicBezTo>
                      <a:pt x="315" y="38"/>
                      <a:pt x="315" y="38"/>
                      <a:pt x="315" y="38"/>
                    </a:cubicBezTo>
                    <a:cubicBezTo>
                      <a:pt x="315" y="38"/>
                      <a:pt x="315" y="38"/>
                      <a:pt x="315" y="38"/>
                    </a:cubicBezTo>
                    <a:cubicBezTo>
                      <a:pt x="314" y="37"/>
                      <a:pt x="313" y="36"/>
                      <a:pt x="312" y="35"/>
                    </a:cubicBezTo>
                    <a:cubicBezTo>
                      <a:pt x="312" y="35"/>
                      <a:pt x="312" y="35"/>
                      <a:pt x="312" y="35"/>
                    </a:cubicBezTo>
                    <a:cubicBezTo>
                      <a:pt x="311" y="34"/>
                      <a:pt x="310" y="33"/>
                      <a:pt x="309" y="32"/>
                    </a:cubicBezTo>
                    <a:cubicBezTo>
                      <a:pt x="308" y="32"/>
                      <a:pt x="308" y="32"/>
                      <a:pt x="308" y="32"/>
                    </a:cubicBezTo>
                    <a:cubicBezTo>
                      <a:pt x="308" y="31"/>
                      <a:pt x="307" y="31"/>
                      <a:pt x="307" y="30"/>
                    </a:cubicBezTo>
                    <a:cubicBezTo>
                      <a:pt x="306" y="29"/>
                      <a:pt x="306" y="29"/>
                      <a:pt x="306" y="29"/>
                    </a:cubicBezTo>
                    <a:cubicBezTo>
                      <a:pt x="305" y="29"/>
                      <a:pt x="305" y="29"/>
                      <a:pt x="305" y="29"/>
                    </a:cubicBezTo>
                    <a:cubicBezTo>
                      <a:pt x="304" y="28"/>
                      <a:pt x="304" y="28"/>
                      <a:pt x="304" y="28"/>
                    </a:cubicBezTo>
                    <a:cubicBezTo>
                      <a:pt x="306" y="26"/>
                      <a:pt x="306" y="26"/>
                      <a:pt x="306" y="26"/>
                    </a:cubicBezTo>
                    <a:cubicBezTo>
                      <a:pt x="301" y="24"/>
                      <a:pt x="296" y="22"/>
                      <a:pt x="290" y="22"/>
                    </a:cubicBezTo>
                    <a:cubicBezTo>
                      <a:pt x="290" y="22"/>
                      <a:pt x="289" y="22"/>
                      <a:pt x="289" y="22"/>
                    </a:cubicBezTo>
                    <a:cubicBezTo>
                      <a:pt x="290" y="23"/>
                      <a:pt x="290" y="25"/>
                      <a:pt x="290" y="26"/>
                    </a:cubicBezTo>
                    <a:cubicBezTo>
                      <a:pt x="289" y="25"/>
                      <a:pt x="289" y="24"/>
                      <a:pt x="289" y="22"/>
                    </a:cubicBezTo>
                    <a:cubicBezTo>
                      <a:pt x="288" y="18"/>
                      <a:pt x="287" y="17"/>
                      <a:pt x="285" y="17"/>
                    </a:cubicBezTo>
                    <a:cubicBezTo>
                      <a:pt x="284" y="17"/>
                      <a:pt x="284" y="17"/>
                      <a:pt x="282" y="17"/>
                    </a:cubicBezTo>
                    <a:cubicBezTo>
                      <a:pt x="275" y="20"/>
                      <a:pt x="267" y="23"/>
                      <a:pt x="259" y="24"/>
                    </a:cubicBezTo>
                    <a:cubicBezTo>
                      <a:pt x="254" y="24"/>
                      <a:pt x="249" y="24"/>
                      <a:pt x="244" y="24"/>
                    </a:cubicBezTo>
                    <a:cubicBezTo>
                      <a:pt x="244" y="24"/>
                      <a:pt x="244" y="24"/>
                      <a:pt x="243" y="24"/>
                    </a:cubicBezTo>
                    <a:cubicBezTo>
                      <a:pt x="241" y="24"/>
                      <a:pt x="236" y="20"/>
                      <a:pt x="233" y="19"/>
                    </a:cubicBezTo>
                    <a:cubicBezTo>
                      <a:pt x="229" y="17"/>
                      <a:pt x="227" y="16"/>
                      <a:pt x="225" y="12"/>
                    </a:cubicBezTo>
                    <a:cubicBezTo>
                      <a:pt x="223" y="9"/>
                      <a:pt x="221" y="6"/>
                      <a:pt x="219" y="2"/>
                    </a:cubicBezTo>
                    <a:cubicBezTo>
                      <a:pt x="219" y="3"/>
                      <a:pt x="219" y="3"/>
                      <a:pt x="219" y="3"/>
                    </a:cubicBezTo>
                    <a:cubicBezTo>
                      <a:pt x="220" y="2"/>
                      <a:pt x="221" y="1"/>
                      <a:pt x="221" y="1"/>
                    </a:cubicBezTo>
                    <a:cubicBezTo>
                      <a:pt x="220" y="0"/>
                      <a:pt x="219" y="0"/>
                      <a:pt x="2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7" name="Freeform 265">
                <a:extLst>
                  <a:ext uri="{FF2B5EF4-FFF2-40B4-BE49-F238E27FC236}">
                    <a16:creationId xmlns:a16="http://schemas.microsoft.com/office/drawing/2014/main" id="{9B263373-A198-4266-B402-23E4EAE440A8}"/>
                  </a:ext>
                </a:extLst>
              </p:cNvPr>
              <p:cNvSpPr>
                <a:spLocks/>
              </p:cNvSpPr>
              <p:nvPr/>
            </p:nvSpPr>
            <p:spPr bwMode="auto">
              <a:xfrm>
                <a:off x="2874391" y="6371566"/>
                <a:ext cx="689117" cy="486435"/>
              </a:xfrm>
              <a:custGeom>
                <a:avLst/>
                <a:gdLst>
                  <a:gd name="T0" fmla="*/ 217 w 217"/>
                  <a:gd name="T1" fmla="*/ 0 h 153"/>
                  <a:gd name="T2" fmla="*/ 91 w 217"/>
                  <a:gd name="T3" fmla="*/ 0 h 153"/>
                  <a:gd name="T4" fmla="*/ 76 w 217"/>
                  <a:gd name="T5" fmla="*/ 29 h 153"/>
                  <a:gd name="T6" fmla="*/ 59 w 217"/>
                  <a:gd name="T7" fmla="*/ 39 h 153"/>
                  <a:gd name="T8" fmla="*/ 55 w 217"/>
                  <a:gd name="T9" fmla="*/ 43 h 153"/>
                  <a:gd name="T10" fmla="*/ 47 w 217"/>
                  <a:gd name="T11" fmla="*/ 63 h 153"/>
                  <a:gd name="T12" fmla="*/ 41 w 217"/>
                  <a:gd name="T13" fmla="*/ 89 h 153"/>
                  <a:gd name="T14" fmla="*/ 34 w 217"/>
                  <a:gd name="T15" fmla="*/ 95 h 153"/>
                  <a:gd name="T16" fmla="*/ 26 w 217"/>
                  <a:gd name="T17" fmla="*/ 103 h 153"/>
                  <a:gd name="T18" fmla="*/ 15 w 217"/>
                  <a:gd name="T19" fmla="*/ 118 h 153"/>
                  <a:gd name="T20" fmla="*/ 5 w 217"/>
                  <a:gd name="T21" fmla="*/ 138 h 153"/>
                  <a:gd name="T22" fmla="*/ 0 w 217"/>
                  <a:gd name="T23" fmla="*/ 151 h 153"/>
                  <a:gd name="T24" fmla="*/ 0 w 217"/>
                  <a:gd name="T25" fmla="*/ 153 h 153"/>
                  <a:gd name="T26" fmla="*/ 91 w 217"/>
                  <a:gd name="T27" fmla="*/ 153 h 153"/>
                  <a:gd name="T28" fmla="*/ 91 w 217"/>
                  <a:gd name="T29" fmla="*/ 153 h 153"/>
                  <a:gd name="T30" fmla="*/ 91 w 217"/>
                  <a:gd name="T31" fmla="*/ 152 h 153"/>
                  <a:gd name="T32" fmla="*/ 90 w 217"/>
                  <a:gd name="T33" fmla="*/ 151 h 153"/>
                  <a:gd name="T34" fmla="*/ 92 w 217"/>
                  <a:gd name="T35" fmla="*/ 141 h 153"/>
                  <a:gd name="T36" fmla="*/ 102 w 217"/>
                  <a:gd name="T37" fmla="*/ 130 h 153"/>
                  <a:gd name="T38" fmla="*/ 105 w 217"/>
                  <a:gd name="T39" fmla="*/ 128 h 153"/>
                  <a:gd name="T40" fmla="*/ 107 w 217"/>
                  <a:gd name="T41" fmla="*/ 127 h 153"/>
                  <a:gd name="T42" fmla="*/ 111 w 217"/>
                  <a:gd name="T43" fmla="*/ 126 h 153"/>
                  <a:gd name="T44" fmla="*/ 116 w 217"/>
                  <a:gd name="T45" fmla="*/ 124 h 153"/>
                  <a:gd name="T46" fmla="*/ 119 w 217"/>
                  <a:gd name="T47" fmla="*/ 123 h 153"/>
                  <a:gd name="T48" fmla="*/ 119 w 217"/>
                  <a:gd name="T49" fmla="*/ 123 h 153"/>
                  <a:gd name="T50" fmla="*/ 122 w 217"/>
                  <a:gd name="T51" fmla="*/ 122 h 153"/>
                  <a:gd name="T52" fmla="*/ 122 w 217"/>
                  <a:gd name="T53" fmla="*/ 112 h 153"/>
                  <a:gd name="T54" fmla="*/ 122 w 217"/>
                  <a:gd name="T55" fmla="*/ 111 h 153"/>
                  <a:gd name="T56" fmla="*/ 122 w 217"/>
                  <a:gd name="T57" fmla="*/ 108 h 153"/>
                  <a:gd name="T58" fmla="*/ 122 w 217"/>
                  <a:gd name="T59" fmla="*/ 52 h 153"/>
                  <a:gd name="T60" fmla="*/ 125 w 217"/>
                  <a:gd name="T61" fmla="*/ 45 h 153"/>
                  <a:gd name="T62" fmla="*/ 126 w 217"/>
                  <a:gd name="T63" fmla="*/ 45 h 153"/>
                  <a:gd name="T64" fmla="*/ 129 w 217"/>
                  <a:gd name="T65" fmla="*/ 44 h 153"/>
                  <a:gd name="T66" fmla="*/ 130 w 217"/>
                  <a:gd name="T67" fmla="*/ 44 h 153"/>
                  <a:gd name="T68" fmla="*/ 132 w 217"/>
                  <a:gd name="T69" fmla="*/ 44 h 153"/>
                  <a:gd name="T70" fmla="*/ 217 w 217"/>
                  <a:gd name="T71" fmla="*/ 44 h 153"/>
                  <a:gd name="T72" fmla="*/ 217 w 217"/>
                  <a:gd name="T73" fmla="*/ 38 h 153"/>
                  <a:gd name="T74" fmla="*/ 217 w 217"/>
                  <a:gd name="T75" fmla="*/ 38 h 153"/>
                  <a:gd name="T76" fmla="*/ 216 w 217"/>
                  <a:gd name="T77" fmla="*/ 33 h 153"/>
                  <a:gd name="T78" fmla="*/ 216 w 217"/>
                  <a:gd name="T79" fmla="*/ 2 h 153"/>
                  <a:gd name="T80" fmla="*/ 217 w 217"/>
                  <a:gd name="T81" fmla="*/ 2 h 153"/>
                  <a:gd name="T82" fmla="*/ 217 w 217"/>
                  <a:gd name="T83"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 h="153">
                    <a:moveTo>
                      <a:pt x="217" y="0"/>
                    </a:moveTo>
                    <a:cubicBezTo>
                      <a:pt x="91" y="0"/>
                      <a:pt x="91" y="0"/>
                      <a:pt x="91" y="0"/>
                    </a:cubicBezTo>
                    <a:cubicBezTo>
                      <a:pt x="87" y="10"/>
                      <a:pt x="84" y="24"/>
                      <a:pt x="76" y="29"/>
                    </a:cubicBezTo>
                    <a:cubicBezTo>
                      <a:pt x="71" y="33"/>
                      <a:pt x="65" y="36"/>
                      <a:pt x="59" y="39"/>
                    </a:cubicBezTo>
                    <a:cubicBezTo>
                      <a:pt x="58" y="40"/>
                      <a:pt x="55" y="41"/>
                      <a:pt x="55" y="43"/>
                    </a:cubicBezTo>
                    <a:cubicBezTo>
                      <a:pt x="54" y="51"/>
                      <a:pt x="50" y="57"/>
                      <a:pt x="47" y="63"/>
                    </a:cubicBezTo>
                    <a:cubicBezTo>
                      <a:pt x="43" y="71"/>
                      <a:pt x="45" y="82"/>
                      <a:pt x="41" y="89"/>
                    </a:cubicBezTo>
                    <a:cubicBezTo>
                      <a:pt x="39" y="93"/>
                      <a:pt x="36" y="92"/>
                      <a:pt x="34" y="95"/>
                    </a:cubicBezTo>
                    <a:cubicBezTo>
                      <a:pt x="31" y="98"/>
                      <a:pt x="29" y="101"/>
                      <a:pt x="26" y="103"/>
                    </a:cubicBezTo>
                    <a:cubicBezTo>
                      <a:pt x="22" y="108"/>
                      <a:pt x="18" y="112"/>
                      <a:pt x="15" y="118"/>
                    </a:cubicBezTo>
                    <a:cubicBezTo>
                      <a:pt x="11" y="124"/>
                      <a:pt x="7" y="131"/>
                      <a:pt x="5" y="138"/>
                    </a:cubicBezTo>
                    <a:cubicBezTo>
                      <a:pt x="4" y="142"/>
                      <a:pt x="2" y="146"/>
                      <a:pt x="0" y="151"/>
                    </a:cubicBezTo>
                    <a:cubicBezTo>
                      <a:pt x="0" y="151"/>
                      <a:pt x="0" y="152"/>
                      <a:pt x="0" y="153"/>
                    </a:cubicBezTo>
                    <a:cubicBezTo>
                      <a:pt x="91" y="153"/>
                      <a:pt x="91" y="153"/>
                      <a:pt x="91" y="153"/>
                    </a:cubicBezTo>
                    <a:cubicBezTo>
                      <a:pt x="91" y="153"/>
                      <a:pt x="91" y="153"/>
                      <a:pt x="91" y="153"/>
                    </a:cubicBezTo>
                    <a:cubicBezTo>
                      <a:pt x="91" y="152"/>
                      <a:pt x="91" y="152"/>
                      <a:pt x="91" y="152"/>
                    </a:cubicBezTo>
                    <a:cubicBezTo>
                      <a:pt x="90" y="151"/>
                      <a:pt x="90" y="151"/>
                      <a:pt x="90" y="151"/>
                    </a:cubicBezTo>
                    <a:cubicBezTo>
                      <a:pt x="89" y="146"/>
                      <a:pt x="90" y="143"/>
                      <a:pt x="92" y="141"/>
                    </a:cubicBezTo>
                    <a:cubicBezTo>
                      <a:pt x="95" y="136"/>
                      <a:pt x="98" y="132"/>
                      <a:pt x="102" y="130"/>
                    </a:cubicBezTo>
                    <a:cubicBezTo>
                      <a:pt x="103" y="129"/>
                      <a:pt x="104" y="129"/>
                      <a:pt x="105" y="128"/>
                    </a:cubicBezTo>
                    <a:cubicBezTo>
                      <a:pt x="105" y="128"/>
                      <a:pt x="106" y="128"/>
                      <a:pt x="107" y="127"/>
                    </a:cubicBezTo>
                    <a:cubicBezTo>
                      <a:pt x="108" y="127"/>
                      <a:pt x="109" y="126"/>
                      <a:pt x="111" y="126"/>
                    </a:cubicBezTo>
                    <a:cubicBezTo>
                      <a:pt x="113" y="126"/>
                      <a:pt x="114" y="125"/>
                      <a:pt x="116" y="124"/>
                    </a:cubicBezTo>
                    <a:cubicBezTo>
                      <a:pt x="118" y="124"/>
                      <a:pt x="118" y="124"/>
                      <a:pt x="119" y="123"/>
                    </a:cubicBezTo>
                    <a:cubicBezTo>
                      <a:pt x="119" y="123"/>
                      <a:pt x="119" y="123"/>
                      <a:pt x="119" y="123"/>
                    </a:cubicBezTo>
                    <a:cubicBezTo>
                      <a:pt x="120" y="123"/>
                      <a:pt x="121" y="123"/>
                      <a:pt x="122" y="122"/>
                    </a:cubicBezTo>
                    <a:cubicBezTo>
                      <a:pt x="123" y="120"/>
                      <a:pt x="122" y="115"/>
                      <a:pt x="122" y="112"/>
                    </a:cubicBezTo>
                    <a:cubicBezTo>
                      <a:pt x="122" y="111"/>
                      <a:pt x="122" y="111"/>
                      <a:pt x="122" y="111"/>
                    </a:cubicBezTo>
                    <a:cubicBezTo>
                      <a:pt x="122" y="110"/>
                      <a:pt x="122" y="109"/>
                      <a:pt x="122" y="108"/>
                    </a:cubicBezTo>
                    <a:cubicBezTo>
                      <a:pt x="122" y="52"/>
                      <a:pt x="122" y="52"/>
                      <a:pt x="122" y="52"/>
                    </a:cubicBezTo>
                    <a:cubicBezTo>
                      <a:pt x="122" y="50"/>
                      <a:pt x="122" y="46"/>
                      <a:pt x="125" y="45"/>
                    </a:cubicBezTo>
                    <a:cubicBezTo>
                      <a:pt x="126" y="45"/>
                      <a:pt x="126" y="45"/>
                      <a:pt x="126" y="45"/>
                    </a:cubicBezTo>
                    <a:cubicBezTo>
                      <a:pt x="127" y="44"/>
                      <a:pt x="128" y="44"/>
                      <a:pt x="129" y="44"/>
                    </a:cubicBezTo>
                    <a:cubicBezTo>
                      <a:pt x="130" y="44"/>
                      <a:pt x="130" y="44"/>
                      <a:pt x="130" y="44"/>
                    </a:cubicBezTo>
                    <a:cubicBezTo>
                      <a:pt x="131" y="44"/>
                      <a:pt x="131" y="44"/>
                      <a:pt x="132" y="44"/>
                    </a:cubicBezTo>
                    <a:cubicBezTo>
                      <a:pt x="217" y="44"/>
                      <a:pt x="217" y="44"/>
                      <a:pt x="217" y="44"/>
                    </a:cubicBezTo>
                    <a:cubicBezTo>
                      <a:pt x="217" y="43"/>
                      <a:pt x="217" y="40"/>
                      <a:pt x="217" y="38"/>
                    </a:cubicBezTo>
                    <a:cubicBezTo>
                      <a:pt x="217" y="38"/>
                      <a:pt x="217" y="38"/>
                      <a:pt x="217" y="38"/>
                    </a:cubicBezTo>
                    <a:cubicBezTo>
                      <a:pt x="217" y="36"/>
                      <a:pt x="216" y="35"/>
                      <a:pt x="216" y="33"/>
                    </a:cubicBezTo>
                    <a:cubicBezTo>
                      <a:pt x="216" y="2"/>
                      <a:pt x="216" y="2"/>
                      <a:pt x="216" y="2"/>
                    </a:cubicBezTo>
                    <a:cubicBezTo>
                      <a:pt x="217" y="2"/>
                      <a:pt x="217" y="2"/>
                      <a:pt x="217" y="2"/>
                    </a:cubicBezTo>
                    <a:cubicBezTo>
                      <a:pt x="217" y="0"/>
                      <a:pt x="217" y="0"/>
                      <a:pt x="2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8" name="Freeform 266">
                <a:extLst>
                  <a:ext uri="{FF2B5EF4-FFF2-40B4-BE49-F238E27FC236}">
                    <a16:creationId xmlns:a16="http://schemas.microsoft.com/office/drawing/2014/main" id="{506006F8-1AB7-49BE-8E6E-161ADDA51025}"/>
                  </a:ext>
                </a:extLst>
              </p:cNvPr>
              <p:cNvSpPr>
                <a:spLocks/>
              </p:cNvSpPr>
              <p:nvPr/>
            </p:nvSpPr>
            <p:spPr bwMode="auto">
              <a:xfrm>
                <a:off x="3183940" y="6419472"/>
                <a:ext cx="696487" cy="438529"/>
              </a:xfrm>
              <a:custGeom>
                <a:avLst/>
                <a:gdLst>
                  <a:gd name="T0" fmla="*/ 126 w 219"/>
                  <a:gd name="T1" fmla="*/ 0 h 138"/>
                  <a:gd name="T2" fmla="*/ 126 w 219"/>
                  <a:gd name="T3" fmla="*/ 12 h 138"/>
                  <a:gd name="T4" fmla="*/ 126 w 219"/>
                  <a:gd name="T5" fmla="*/ 18 h 138"/>
                  <a:gd name="T6" fmla="*/ 127 w 219"/>
                  <a:gd name="T7" fmla="*/ 21 h 138"/>
                  <a:gd name="T8" fmla="*/ 127 w 219"/>
                  <a:gd name="T9" fmla="*/ 22 h 138"/>
                  <a:gd name="T10" fmla="*/ 126 w 219"/>
                  <a:gd name="T11" fmla="*/ 32 h 138"/>
                  <a:gd name="T12" fmla="*/ 123 w 219"/>
                  <a:gd name="T13" fmla="*/ 36 h 138"/>
                  <a:gd name="T14" fmla="*/ 35 w 219"/>
                  <a:gd name="T15" fmla="*/ 36 h 138"/>
                  <a:gd name="T16" fmla="*/ 32 w 219"/>
                  <a:gd name="T17" fmla="*/ 36 h 138"/>
                  <a:gd name="T18" fmla="*/ 32 w 219"/>
                  <a:gd name="T19" fmla="*/ 36 h 138"/>
                  <a:gd name="T20" fmla="*/ 32 w 219"/>
                  <a:gd name="T21" fmla="*/ 37 h 138"/>
                  <a:gd name="T22" fmla="*/ 32 w 219"/>
                  <a:gd name="T23" fmla="*/ 93 h 138"/>
                  <a:gd name="T24" fmla="*/ 32 w 219"/>
                  <a:gd name="T25" fmla="*/ 96 h 138"/>
                  <a:gd name="T26" fmla="*/ 32 w 219"/>
                  <a:gd name="T27" fmla="*/ 96 h 138"/>
                  <a:gd name="T28" fmla="*/ 32 w 219"/>
                  <a:gd name="T29" fmla="*/ 110 h 138"/>
                  <a:gd name="T30" fmla="*/ 30 w 219"/>
                  <a:gd name="T31" fmla="*/ 113 h 138"/>
                  <a:gd name="T32" fmla="*/ 24 w 219"/>
                  <a:gd name="T33" fmla="*/ 115 h 138"/>
                  <a:gd name="T34" fmla="*/ 22 w 219"/>
                  <a:gd name="T35" fmla="*/ 116 h 138"/>
                  <a:gd name="T36" fmla="*/ 15 w 219"/>
                  <a:gd name="T37" fmla="*/ 118 h 138"/>
                  <a:gd name="T38" fmla="*/ 12 w 219"/>
                  <a:gd name="T39" fmla="*/ 119 h 138"/>
                  <a:gd name="T40" fmla="*/ 11 w 219"/>
                  <a:gd name="T41" fmla="*/ 119 h 138"/>
                  <a:gd name="T42" fmla="*/ 11 w 219"/>
                  <a:gd name="T43" fmla="*/ 119 h 138"/>
                  <a:gd name="T44" fmla="*/ 9 w 219"/>
                  <a:gd name="T45" fmla="*/ 121 h 138"/>
                  <a:gd name="T46" fmla="*/ 1 w 219"/>
                  <a:gd name="T47" fmla="*/ 129 h 138"/>
                  <a:gd name="T48" fmla="*/ 0 w 219"/>
                  <a:gd name="T49" fmla="*/ 134 h 138"/>
                  <a:gd name="T50" fmla="*/ 1 w 219"/>
                  <a:gd name="T51" fmla="*/ 137 h 138"/>
                  <a:gd name="T52" fmla="*/ 1 w 219"/>
                  <a:gd name="T53" fmla="*/ 138 h 138"/>
                  <a:gd name="T54" fmla="*/ 188 w 219"/>
                  <a:gd name="T55" fmla="*/ 138 h 138"/>
                  <a:gd name="T56" fmla="*/ 184 w 219"/>
                  <a:gd name="T57" fmla="*/ 104 h 138"/>
                  <a:gd name="T58" fmla="*/ 180 w 219"/>
                  <a:gd name="T59" fmla="*/ 78 h 138"/>
                  <a:gd name="T60" fmla="*/ 179 w 219"/>
                  <a:gd name="T61" fmla="*/ 64 h 138"/>
                  <a:gd name="T62" fmla="*/ 178 w 219"/>
                  <a:gd name="T63" fmla="*/ 60 h 138"/>
                  <a:gd name="T64" fmla="*/ 219 w 219"/>
                  <a:gd name="T65" fmla="*/ 60 h 138"/>
                  <a:gd name="T66" fmla="*/ 202 w 219"/>
                  <a:gd name="T67" fmla="*/ 48 h 138"/>
                  <a:gd name="T68" fmla="*/ 198 w 219"/>
                  <a:gd name="T69" fmla="*/ 46 h 138"/>
                  <a:gd name="T70" fmla="*/ 177 w 219"/>
                  <a:gd name="T71" fmla="*/ 32 h 138"/>
                  <a:gd name="T72" fmla="*/ 175 w 219"/>
                  <a:gd name="T73" fmla="*/ 31 h 138"/>
                  <a:gd name="T74" fmla="*/ 151 w 219"/>
                  <a:gd name="T75" fmla="*/ 16 h 138"/>
                  <a:gd name="T76" fmla="*/ 151 w 219"/>
                  <a:gd name="T77" fmla="*/ 15 h 138"/>
                  <a:gd name="T78" fmla="*/ 126 w 219"/>
                  <a:gd name="T7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9" h="138">
                    <a:moveTo>
                      <a:pt x="126" y="0"/>
                    </a:moveTo>
                    <a:cubicBezTo>
                      <a:pt x="126" y="4"/>
                      <a:pt x="126" y="8"/>
                      <a:pt x="126" y="12"/>
                    </a:cubicBezTo>
                    <a:cubicBezTo>
                      <a:pt x="126" y="18"/>
                      <a:pt x="126" y="18"/>
                      <a:pt x="126" y="18"/>
                    </a:cubicBezTo>
                    <a:cubicBezTo>
                      <a:pt x="126" y="19"/>
                      <a:pt x="126" y="20"/>
                      <a:pt x="127" y="21"/>
                    </a:cubicBezTo>
                    <a:cubicBezTo>
                      <a:pt x="127" y="22"/>
                      <a:pt x="127" y="22"/>
                      <a:pt x="127" y="22"/>
                    </a:cubicBezTo>
                    <a:cubicBezTo>
                      <a:pt x="127" y="25"/>
                      <a:pt x="127" y="29"/>
                      <a:pt x="126" y="32"/>
                    </a:cubicBezTo>
                    <a:cubicBezTo>
                      <a:pt x="126" y="33"/>
                      <a:pt x="126" y="36"/>
                      <a:pt x="123" y="36"/>
                    </a:cubicBezTo>
                    <a:cubicBezTo>
                      <a:pt x="35" y="36"/>
                      <a:pt x="35" y="36"/>
                      <a:pt x="35" y="36"/>
                    </a:cubicBezTo>
                    <a:cubicBezTo>
                      <a:pt x="34" y="36"/>
                      <a:pt x="33" y="36"/>
                      <a:pt x="32" y="36"/>
                    </a:cubicBezTo>
                    <a:cubicBezTo>
                      <a:pt x="32" y="36"/>
                      <a:pt x="32" y="36"/>
                      <a:pt x="32" y="36"/>
                    </a:cubicBezTo>
                    <a:cubicBezTo>
                      <a:pt x="32" y="37"/>
                      <a:pt x="32" y="37"/>
                      <a:pt x="32" y="37"/>
                    </a:cubicBezTo>
                    <a:cubicBezTo>
                      <a:pt x="32" y="93"/>
                      <a:pt x="32" y="93"/>
                      <a:pt x="32" y="93"/>
                    </a:cubicBezTo>
                    <a:cubicBezTo>
                      <a:pt x="32" y="94"/>
                      <a:pt x="32" y="95"/>
                      <a:pt x="32" y="96"/>
                    </a:cubicBezTo>
                    <a:cubicBezTo>
                      <a:pt x="32" y="96"/>
                      <a:pt x="32" y="96"/>
                      <a:pt x="32" y="96"/>
                    </a:cubicBezTo>
                    <a:cubicBezTo>
                      <a:pt x="32" y="102"/>
                      <a:pt x="33" y="107"/>
                      <a:pt x="32" y="110"/>
                    </a:cubicBezTo>
                    <a:cubicBezTo>
                      <a:pt x="31" y="111"/>
                      <a:pt x="31" y="112"/>
                      <a:pt x="30" y="113"/>
                    </a:cubicBezTo>
                    <a:cubicBezTo>
                      <a:pt x="29" y="114"/>
                      <a:pt x="27" y="114"/>
                      <a:pt x="24" y="115"/>
                    </a:cubicBezTo>
                    <a:cubicBezTo>
                      <a:pt x="23" y="115"/>
                      <a:pt x="23" y="115"/>
                      <a:pt x="22" y="116"/>
                    </a:cubicBezTo>
                    <a:cubicBezTo>
                      <a:pt x="20" y="117"/>
                      <a:pt x="18" y="117"/>
                      <a:pt x="15" y="118"/>
                    </a:cubicBezTo>
                    <a:cubicBezTo>
                      <a:pt x="14" y="118"/>
                      <a:pt x="14" y="118"/>
                      <a:pt x="12" y="119"/>
                    </a:cubicBezTo>
                    <a:cubicBezTo>
                      <a:pt x="11" y="119"/>
                      <a:pt x="11" y="119"/>
                      <a:pt x="11" y="119"/>
                    </a:cubicBezTo>
                    <a:cubicBezTo>
                      <a:pt x="11" y="119"/>
                      <a:pt x="11" y="119"/>
                      <a:pt x="11" y="119"/>
                    </a:cubicBezTo>
                    <a:cubicBezTo>
                      <a:pt x="10" y="120"/>
                      <a:pt x="10" y="120"/>
                      <a:pt x="9" y="121"/>
                    </a:cubicBezTo>
                    <a:cubicBezTo>
                      <a:pt x="6" y="122"/>
                      <a:pt x="3" y="125"/>
                      <a:pt x="1" y="129"/>
                    </a:cubicBezTo>
                    <a:cubicBezTo>
                      <a:pt x="0" y="131"/>
                      <a:pt x="0" y="132"/>
                      <a:pt x="0" y="134"/>
                    </a:cubicBezTo>
                    <a:cubicBezTo>
                      <a:pt x="0" y="135"/>
                      <a:pt x="1" y="136"/>
                      <a:pt x="1" y="137"/>
                    </a:cubicBezTo>
                    <a:cubicBezTo>
                      <a:pt x="1" y="137"/>
                      <a:pt x="1" y="138"/>
                      <a:pt x="1" y="138"/>
                    </a:cubicBezTo>
                    <a:cubicBezTo>
                      <a:pt x="188" y="138"/>
                      <a:pt x="188" y="138"/>
                      <a:pt x="188" y="138"/>
                    </a:cubicBezTo>
                    <a:cubicBezTo>
                      <a:pt x="186" y="127"/>
                      <a:pt x="185" y="115"/>
                      <a:pt x="184" y="104"/>
                    </a:cubicBezTo>
                    <a:cubicBezTo>
                      <a:pt x="180" y="78"/>
                      <a:pt x="180" y="78"/>
                      <a:pt x="180" y="78"/>
                    </a:cubicBezTo>
                    <a:cubicBezTo>
                      <a:pt x="180" y="73"/>
                      <a:pt x="179" y="69"/>
                      <a:pt x="179" y="64"/>
                    </a:cubicBezTo>
                    <a:cubicBezTo>
                      <a:pt x="178" y="60"/>
                      <a:pt x="178" y="60"/>
                      <a:pt x="178" y="60"/>
                    </a:cubicBezTo>
                    <a:cubicBezTo>
                      <a:pt x="219" y="60"/>
                      <a:pt x="219" y="60"/>
                      <a:pt x="219" y="60"/>
                    </a:cubicBezTo>
                    <a:cubicBezTo>
                      <a:pt x="214" y="56"/>
                      <a:pt x="208" y="52"/>
                      <a:pt x="202" y="48"/>
                    </a:cubicBezTo>
                    <a:cubicBezTo>
                      <a:pt x="201" y="47"/>
                      <a:pt x="199" y="47"/>
                      <a:pt x="198" y="46"/>
                    </a:cubicBezTo>
                    <a:cubicBezTo>
                      <a:pt x="191" y="41"/>
                      <a:pt x="184" y="37"/>
                      <a:pt x="177" y="32"/>
                    </a:cubicBezTo>
                    <a:cubicBezTo>
                      <a:pt x="176" y="32"/>
                      <a:pt x="175" y="31"/>
                      <a:pt x="175" y="31"/>
                    </a:cubicBezTo>
                    <a:cubicBezTo>
                      <a:pt x="167" y="26"/>
                      <a:pt x="159" y="21"/>
                      <a:pt x="151" y="16"/>
                    </a:cubicBezTo>
                    <a:cubicBezTo>
                      <a:pt x="151" y="15"/>
                      <a:pt x="151" y="15"/>
                      <a:pt x="151" y="15"/>
                    </a:cubicBezTo>
                    <a:cubicBezTo>
                      <a:pt x="143" y="10"/>
                      <a:pt x="135" y="5"/>
                      <a:pt x="1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9" name="Freeform 267">
                <a:extLst>
                  <a:ext uri="{FF2B5EF4-FFF2-40B4-BE49-F238E27FC236}">
                    <a16:creationId xmlns:a16="http://schemas.microsoft.com/office/drawing/2014/main" id="{1467B130-8822-4801-B710-A7560FC4F558}"/>
                  </a:ext>
                </a:extLst>
              </p:cNvPr>
              <p:cNvSpPr>
                <a:spLocks/>
              </p:cNvSpPr>
              <p:nvPr/>
            </p:nvSpPr>
            <p:spPr bwMode="auto">
              <a:xfrm>
                <a:off x="3515601" y="4702208"/>
                <a:ext cx="1142386" cy="825466"/>
              </a:xfrm>
              <a:custGeom>
                <a:avLst/>
                <a:gdLst>
                  <a:gd name="T0" fmla="*/ 31 w 359"/>
                  <a:gd name="T1" fmla="*/ 10 h 260"/>
                  <a:gd name="T2" fmla="*/ 19 w 359"/>
                  <a:gd name="T3" fmla="*/ 16 h 260"/>
                  <a:gd name="T4" fmla="*/ 6 w 359"/>
                  <a:gd name="T5" fmla="*/ 21 h 260"/>
                  <a:gd name="T6" fmla="*/ 1 w 359"/>
                  <a:gd name="T7" fmla="*/ 28 h 260"/>
                  <a:gd name="T8" fmla="*/ 12 w 359"/>
                  <a:gd name="T9" fmla="*/ 45 h 260"/>
                  <a:gd name="T10" fmla="*/ 17 w 359"/>
                  <a:gd name="T11" fmla="*/ 46 h 260"/>
                  <a:gd name="T12" fmla="*/ 12 w 359"/>
                  <a:gd name="T13" fmla="*/ 57 h 260"/>
                  <a:gd name="T14" fmla="*/ 31 w 359"/>
                  <a:gd name="T15" fmla="*/ 53 h 260"/>
                  <a:gd name="T16" fmla="*/ 40 w 359"/>
                  <a:gd name="T17" fmla="*/ 60 h 260"/>
                  <a:gd name="T18" fmla="*/ 54 w 359"/>
                  <a:gd name="T19" fmla="*/ 62 h 260"/>
                  <a:gd name="T20" fmla="*/ 67 w 359"/>
                  <a:gd name="T21" fmla="*/ 59 h 260"/>
                  <a:gd name="T22" fmla="*/ 72 w 359"/>
                  <a:gd name="T23" fmla="*/ 59 h 260"/>
                  <a:gd name="T24" fmla="*/ 82 w 359"/>
                  <a:gd name="T25" fmla="*/ 66 h 260"/>
                  <a:gd name="T26" fmla="*/ 86 w 359"/>
                  <a:gd name="T27" fmla="*/ 70 h 260"/>
                  <a:gd name="T28" fmla="*/ 78 w 359"/>
                  <a:gd name="T29" fmla="*/ 90 h 260"/>
                  <a:gd name="T30" fmla="*/ 72 w 359"/>
                  <a:gd name="T31" fmla="*/ 98 h 260"/>
                  <a:gd name="T32" fmla="*/ 73 w 359"/>
                  <a:gd name="T33" fmla="*/ 120 h 260"/>
                  <a:gd name="T34" fmla="*/ 58 w 359"/>
                  <a:gd name="T35" fmla="*/ 147 h 260"/>
                  <a:gd name="T36" fmla="*/ 64 w 359"/>
                  <a:gd name="T37" fmla="*/ 154 h 260"/>
                  <a:gd name="T38" fmla="*/ 64 w 359"/>
                  <a:gd name="T39" fmla="*/ 170 h 260"/>
                  <a:gd name="T40" fmla="*/ 60 w 359"/>
                  <a:gd name="T41" fmla="*/ 179 h 260"/>
                  <a:gd name="T42" fmla="*/ 71 w 359"/>
                  <a:gd name="T43" fmla="*/ 184 h 260"/>
                  <a:gd name="T44" fmla="*/ 60 w 359"/>
                  <a:gd name="T45" fmla="*/ 198 h 260"/>
                  <a:gd name="T46" fmla="*/ 63 w 359"/>
                  <a:gd name="T47" fmla="*/ 221 h 260"/>
                  <a:gd name="T48" fmla="*/ 75 w 359"/>
                  <a:gd name="T49" fmla="*/ 228 h 260"/>
                  <a:gd name="T50" fmla="*/ 87 w 359"/>
                  <a:gd name="T51" fmla="*/ 231 h 260"/>
                  <a:gd name="T52" fmla="*/ 105 w 359"/>
                  <a:gd name="T53" fmla="*/ 260 h 260"/>
                  <a:gd name="T54" fmla="*/ 118 w 359"/>
                  <a:gd name="T55" fmla="*/ 249 h 260"/>
                  <a:gd name="T56" fmla="*/ 154 w 359"/>
                  <a:gd name="T57" fmla="*/ 237 h 260"/>
                  <a:gd name="T58" fmla="*/ 186 w 359"/>
                  <a:gd name="T59" fmla="*/ 238 h 260"/>
                  <a:gd name="T60" fmla="*/ 209 w 359"/>
                  <a:gd name="T61" fmla="*/ 229 h 260"/>
                  <a:gd name="T62" fmla="*/ 237 w 359"/>
                  <a:gd name="T63" fmla="*/ 209 h 260"/>
                  <a:gd name="T64" fmla="*/ 244 w 359"/>
                  <a:gd name="T65" fmla="*/ 196 h 260"/>
                  <a:gd name="T66" fmla="*/ 285 w 359"/>
                  <a:gd name="T67" fmla="*/ 102 h 260"/>
                  <a:gd name="T68" fmla="*/ 319 w 359"/>
                  <a:gd name="T69" fmla="*/ 82 h 260"/>
                  <a:gd name="T70" fmla="*/ 353 w 359"/>
                  <a:gd name="T71" fmla="*/ 56 h 260"/>
                  <a:gd name="T72" fmla="*/ 353 w 359"/>
                  <a:gd name="T73" fmla="*/ 50 h 260"/>
                  <a:gd name="T74" fmla="*/ 333 w 359"/>
                  <a:gd name="T75" fmla="*/ 53 h 260"/>
                  <a:gd name="T76" fmla="*/ 311 w 359"/>
                  <a:gd name="T77" fmla="*/ 44 h 260"/>
                  <a:gd name="T78" fmla="*/ 287 w 359"/>
                  <a:gd name="T79" fmla="*/ 36 h 260"/>
                  <a:gd name="T80" fmla="*/ 270 w 359"/>
                  <a:gd name="T81" fmla="*/ 41 h 260"/>
                  <a:gd name="T82" fmla="*/ 257 w 359"/>
                  <a:gd name="T83" fmla="*/ 38 h 260"/>
                  <a:gd name="T84" fmla="*/ 244 w 359"/>
                  <a:gd name="T85" fmla="*/ 34 h 260"/>
                  <a:gd name="T86" fmla="*/ 230 w 359"/>
                  <a:gd name="T87" fmla="*/ 30 h 260"/>
                  <a:gd name="T88" fmla="*/ 221 w 359"/>
                  <a:gd name="T89" fmla="*/ 20 h 260"/>
                  <a:gd name="T90" fmla="*/ 211 w 359"/>
                  <a:gd name="T91" fmla="*/ 17 h 260"/>
                  <a:gd name="T92" fmla="*/ 197 w 359"/>
                  <a:gd name="T93" fmla="*/ 16 h 260"/>
                  <a:gd name="T94" fmla="*/ 168 w 359"/>
                  <a:gd name="T95" fmla="*/ 11 h 260"/>
                  <a:gd name="T96" fmla="*/ 136 w 359"/>
                  <a:gd name="T97" fmla="*/ 13 h 260"/>
                  <a:gd name="T98" fmla="*/ 92 w 359"/>
                  <a:gd name="T99" fmla="*/ 5 h 260"/>
                  <a:gd name="T100" fmla="*/ 48 w 359"/>
                  <a:gd name="T101" fmla="*/ 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260">
                    <a:moveTo>
                      <a:pt x="41" y="0"/>
                    </a:moveTo>
                    <a:cubicBezTo>
                      <a:pt x="37" y="2"/>
                      <a:pt x="35" y="3"/>
                      <a:pt x="32" y="6"/>
                    </a:cubicBezTo>
                    <a:cubicBezTo>
                      <a:pt x="31" y="6"/>
                      <a:pt x="30" y="7"/>
                      <a:pt x="29" y="7"/>
                    </a:cubicBezTo>
                    <a:cubicBezTo>
                      <a:pt x="29" y="7"/>
                      <a:pt x="28" y="7"/>
                      <a:pt x="28" y="7"/>
                    </a:cubicBezTo>
                    <a:cubicBezTo>
                      <a:pt x="29" y="9"/>
                      <a:pt x="30" y="10"/>
                      <a:pt x="31" y="10"/>
                    </a:cubicBezTo>
                    <a:cubicBezTo>
                      <a:pt x="31" y="10"/>
                      <a:pt x="32" y="10"/>
                      <a:pt x="32" y="9"/>
                    </a:cubicBezTo>
                    <a:cubicBezTo>
                      <a:pt x="32" y="11"/>
                      <a:pt x="31" y="11"/>
                      <a:pt x="32" y="12"/>
                    </a:cubicBezTo>
                    <a:cubicBezTo>
                      <a:pt x="30" y="13"/>
                      <a:pt x="27" y="12"/>
                      <a:pt x="26" y="14"/>
                    </a:cubicBezTo>
                    <a:cubicBezTo>
                      <a:pt x="26" y="14"/>
                      <a:pt x="26" y="14"/>
                      <a:pt x="26" y="14"/>
                    </a:cubicBezTo>
                    <a:cubicBezTo>
                      <a:pt x="23" y="14"/>
                      <a:pt x="22" y="16"/>
                      <a:pt x="19" y="16"/>
                    </a:cubicBezTo>
                    <a:cubicBezTo>
                      <a:pt x="19" y="16"/>
                      <a:pt x="18" y="16"/>
                      <a:pt x="18" y="16"/>
                    </a:cubicBezTo>
                    <a:cubicBezTo>
                      <a:pt x="16" y="16"/>
                      <a:pt x="15" y="15"/>
                      <a:pt x="13" y="15"/>
                    </a:cubicBezTo>
                    <a:cubicBezTo>
                      <a:pt x="13" y="15"/>
                      <a:pt x="13" y="15"/>
                      <a:pt x="13" y="15"/>
                    </a:cubicBezTo>
                    <a:cubicBezTo>
                      <a:pt x="10" y="15"/>
                      <a:pt x="9" y="19"/>
                      <a:pt x="6" y="20"/>
                    </a:cubicBezTo>
                    <a:cubicBezTo>
                      <a:pt x="6" y="20"/>
                      <a:pt x="6" y="21"/>
                      <a:pt x="6" y="21"/>
                    </a:cubicBezTo>
                    <a:cubicBezTo>
                      <a:pt x="6" y="21"/>
                      <a:pt x="5" y="20"/>
                      <a:pt x="5" y="20"/>
                    </a:cubicBezTo>
                    <a:cubicBezTo>
                      <a:pt x="5" y="20"/>
                      <a:pt x="5" y="20"/>
                      <a:pt x="4" y="20"/>
                    </a:cubicBezTo>
                    <a:cubicBezTo>
                      <a:pt x="4" y="20"/>
                      <a:pt x="4" y="20"/>
                      <a:pt x="3" y="21"/>
                    </a:cubicBezTo>
                    <a:cubicBezTo>
                      <a:pt x="2" y="22"/>
                      <a:pt x="2" y="25"/>
                      <a:pt x="0" y="25"/>
                    </a:cubicBezTo>
                    <a:cubicBezTo>
                      <a:pt x="1" y="26"/>
                      <a:pt x="0" y="28"/>
                      <a:pt x="1" y="28"/>
                    </a:cubicBezTo>
                    <a:cubicBezTo>
                      <a:pt x="1" y="31"/>
                      <a:pt x="2" y="32"/>
                      <a:pt x="5" y="34"/>
                    </a:cubicBezTo>
                    <a:cubicBezTo>
                      <a:pt x="8" y="37"/>
                      <a:pt x="8" y="38"/>
                      <a:pt x="6" y="41"/>
                    </a:cubicBezTo>
                    <a:cubicBezTo>
                      <a:pt x="6" y="41"/>
                      <a:pt x="7" y="41"/>
                      <a:pt x="7" y="41"/>
                    </a:cubicBezTo>
                    <a:cubicBezTo>
                      <a:pt x="10" y="41"/>
                      <a:pt x="13" y="39"/>
                      <a:pt x="16" y="37"/>
                    </a:cubicBezTo>
                    <a:cubicBezTo>
                      <a:pt x="15" y="40"/>
                      <a:pt x="14" y="43"/>
                      <a:pt x="12" y="45"/>
                    </a:cubicBezTo>
                    <a:cubicBezTo>
                      <a:pt x="12" y="44"/>
                      <a:pt x="12" y="44"/>
                      <a:pt x="12" y="44"/>
                    </a:cubicBezTo>
                    <a:cubicBezTo>
                      <a:pt x="11" y="44"/>
                      <a:pt x="11" y="44"/>
                      <a:pt x="10" y="45"/>
                    </a:cubicBezTo>
                    <a:cubicBezTo>
                      <a:pt x="12" y="46"/>
                      <a:pt x="13" y="47"/>
                      <a:pt x="14" y="47"/>
                    </a:cubicBezTo>
                    <a:cubicBezTo>
                      <a:pt x="14" y="47"/>
                      <a:pt x="15" y="47"/>
                      <a:pt x="15" y="47"/>
                    </a:cubicBezTo>
                    <a:cubicBezTo>
                      <a:pt x="16" y="47"/>
                      <a:pt x="17" y="46"/>
                      <a:pt x="17" y="46"/>
                    </a:cubicBezTo>
                    <a:cubicBezTo>
                      <a:pt x="18" y="46"/>
                      <a:pt x="18" y="46"/>
                      <a:pt x="18" y="46"/>
                    </a:cubicBezTo>
                    <a:cubicBezTo>
                      <a:pt x="16" y="48"/>
                      <a:pt x="14" y="49"/>
                      <a:pt x="13" y="50"/>
                    </a:cubicBezTo>
                    <a:cubicBezTo>
                      <a:pt x="12" y="52"/>
                      <a:pt x="13" y="52"/>
                      <a:pt x="14" y="52"/>
                    </a:cubicBezTo>
                    <a:cubicBezTo>
                      <a:pt x="15" y="52"/>
                      <a:pt x="17" y="51"/>
                      <a:pt x="18" y="51"/>
                    </a:cubicBezTo>
                    <a:cubicBezTo>
                      <a:pt x="16" y="53"/>
                      <a:pt x="13" y="54"/>
                      <a:pt x="12" y="57"/>
                    </a:cubicBezTo>
                    <a:cubicBezTo>
                      <a:pt x="12" y="58"/>
                      <a:pt x="12" y="60"/>
                      <a:pt x="12" y="61"/>
                    </a:cubicBezTo>
                    <a:cubicBezTo>
                      <a:pt x="15" y="59"/>
                      <a:pt x="20" y="56"/>
                      <a:pt x="23" y="55"/>
                    </a:cubicBezTo>
                    <a:cubicBezTo>
                      <a:pt x="24" y="55"/>
                      <a:pt x="25" y="55"/>
                      <a:pt x="27" y="55"/>
                    </a:cubicBezTo>
                    <a:cubicBezTo>
                      <a:pt x="28" y="54"/>
                      <a:pt x="28" y="54"/>
                      <a:pt x="28" y="54"/>
                    </a:cubicBezTo>
                    <a:cubicBezTo>
                      <a:pt x="29" y="54"/>
                      <a:pt x="30" y="53"/>
                      <a:pt x="31" y="53"/>
                    </a:cubicBezTo>
                    <a:cubicBezTo>
                      <a:pt x="33" y="53"/>
                      <a:pt x="33" y="53"/>
                      <a:pt x="33" y="53"/>
                    </a:cubicBezTo>
                    <a:cubicBezTo>
                      <a:pt x="35" y="54"/>
                      <a:pt x="35" y="54"/>
                      <a:pt x="35" y="54"/>
                    </a:cubicBezTo>
                    <a:cubicBezTo>
                      <a:pt x="36" y="56"/>
                      <a:pt x="38" y="58"/>
                      <a:pt x="37" y="61"/>
                    </a:cubicBezTo>
                    <a:cubicBezTo>
                      <a:pt x="37" y="61"/>
                      <a:pt x="37" y="61"/>
                      <a:pt x="37" y="61"/>
                    </a:cubicBezTo>
                    <a:cubicBezTo>
                      <a:pt x="38" y="60"/>
                      <a:pt x="39" y="60"/>
                      <a:pt x="40" y="60"/>
                    </a:cubicBezTo>
                    <a:cubicBezTo>
                      <a:pt x="42" y="60"/>
                      <a:pt x="44" y="61"/>
                      <a:pt x="45" y="62"/>
                    </a:cubicBezTo>
                    <a:cubicBezTo>
                      <a:pt x="47" y="62"/>
                      <a:pt x="47" y="62"/>
                      <a:pt x="47" y="62"/>
                    </a:cubicBezTo>
                    <a:cubicBezTo>
                      <a:pt x="48" y="63"/>
                      <a:pt x="48" y="63"/>
                      <a:pt x="48" y="63"/>
                    </a:cubicBezTo>
                    <a:cubicBezTo>
                      <a:pt x="48" y="63"/>
                      <a:pt x="49" y="63"/>
                      <a:pt x="49" y="63"/>
                    </a:cubicBezTo>
                    <a:cubicBezTo>
                      <a:pt x="50" y="63"/>
                      <a:pt x="52" y="63"/>
                      <a:pt x="54" y="62"/>
                    </a:cubicBezTo>
                    <a:cubicBezTo>
                      <a:pt x="55" y="62"/>
                      <a:pt x="56" y="62"/>
                      <a:pt x="57" y="62"/>
                    </a:cubicBezTo>
                    <a:cubicBezTo>
                      <a:pt x="58" y="62"/>
                      <a:pt x="58" y="62"/>
                      <a:pt x="58" y="62"/>
                    </a:cubicBezTo>
                    <a:cubicBezTo>
                      <a:pt x="59" y="61"/>
                      <a:pt x="60" y="61"/>
                      <a:pt x="62" y="60"/>
                    </a:cubicBezTo>
                    <a:cubicBezTo>
                      <a:pt x="63" y="59"/>
                      <a:pt x="64" y="59"/>
                      <a:pt x="65" y="59"/>
                    </a:cubicBezTo>
                    <a:cubicBezTo>
                      <a:pt x="66" y="59"/>
                      <a:pt x="66" y="59"/>
                      <a:pt x="67" y="59"/>
                    </a:cubicBezTo>
                    <a:cubicBezTo>
                      <a:pt x="67" y="59"/>
                      <a:pt x="67" y="59"/>
                      <a:pt x="67" y="59"/>
                    </a:cubicBezTo>
                    <a:cubicBezTo>
                      <a:pt x="68" y="59"/>
                      <a:pt x="68" y="59"/>
                      <a:pt x="68" y="59"/>
                    </a:cubicBezTo>
                    <a:cubicBezTo>
                      <a:pt x="69" y="59"/>
                      <a:pt x="69" y="59"/>
                      <a:pt x="69" y="59"/>
                    </a:cubicBezTo>
                    <a:cubicBezTo>
                      <a:pt x="70" y="59"/>
                      <a:pt x="71" y="59"/>
                      <a:pt x="71" y="59"/>
                    </a:cubicBezTo>
                    <a:cubicBezTo>
                      <a:pt x="72" y="59"/>
                      <a:pt x="72" y="59"/>
                      <a:pt x="72" y="59"/>
                    </a:cubicBezTo>
                    <a:cubicBezTo>
                      <a:pt x="73" y="59"/>
                      <a:pt x="74" y="59"/>
                      <a:pt x="74" y="59"/>
                    </a:cubicBezTo>
                    <a:cubicBezTo>
                      <a:pt x="75" y="59"/>
                      <a:pt x="75" y="59"/>
                      <a:pt x="75" y="59"/>
                    </a:cubicBezTo>
                    <a:cubicBezTo>
                      <a:pt x="75" y="59"/>
                      <a:pt x="76" y="59"/>
                      <a:pt x="76" y="59"/>
                    </a:cubicBezTo>
                    <a:cubicBezTo>
                      <a:pt x="78" y="59"/>
                      <a:pt x="79" y="59"/>
                      <a:pt x="80" y="60"/>
                    </a:cubicBezTo>
                    <a:cubicBezTo>
                      <a:pt x="82" y="61"/>
                      <a:pt x="82" y="64"/>
                      <a:pt x="82" y="66"/>
                    </a:cubicBezTo>
                    <a:cubicBezTo>
                      <a:pt x="82" y="66"/>
                      <a:pt x="82" y="67"/>
                      <a:pt x="82" y="67"/>
                    </a:cubicBezTo>
                    <a:cubicBezTo>
                      <a:pt x="82" y="68"/>
                      <a:pt x="82" y="68"/>
                      <a:pt x="82" y="68"/>
                    </a:cubicBezTo>
                    <a:cubicBezTo>
                      <a:pt x="83" y="69"/>
                      <a:pt x="83" y="69"/>
                      <a:pt x="83" y="69"/>
                    </a:cubicBezTo>
                    <a:cubicBezTo>
                      <a:pt x="83" y="69"/>
                      <a:pt x="84" y="69"/>
                      <a:pt x="84" y="69"/>
                    </a:cubicBezTo>
                    <a:cubicBezTo>
                      <a:pt x="86" y="70"/>
                      <a:pt x="86" y="70"/>
                      <a:pt x="86" y="70"/>
                    </a:cubicBezTo>
                    <a:cubicBezTo>
                      <a:pt x="88" y="71"/>
                      <a:pt x="90" y="72"/>
                      <a:pt x="91" y="74"/>
                    </a:cubicBezTo>
                    <a:cubicBezTo>
                      <a:pt x="91" y="76"/>
                      <a:pt x="90" y="78"/>
                      <a:pt x="90" y="80"/>
                    </a:cubicBezTo>
                    <a:cubicBezTo>
                      <a:pt x="88" y="83"/>
                      <a:pt x="86" y="84"/>
                      <a:pt x="84" y="86"/>
                    </a:cubicBezTo>
                    <a:cubicBezTo>
                      <a:pt x="83" y="87"/>
                      <a:pt x="83" y="87"/>
                      <a:pt x="83" y="87"/>
                    </a:cubicBezTo>
                    <a:cubicBezTo>
                      <a:pt x="81" y="89"/>
                      <a:pt x="79" y="90"/>
                      <a:pt x="78" y="90"/>
                    </a:cubicBezTo>
                    <a:cubicBezTo>
                      <a:pt x="76" y="91"/>
                      <a:pt x="75" y="92"/>
                      <a:pt x="74" y="93"/>
                    </a:cubicBezTo>
                    <a:cubicBezTo>
                      <a:pt x="73" y="93"/>
                      <a:pt x="73" y="93"/>
                      <a:pt x="73" y="93"/>
                    </a:cubicBezTo>
                    <a:cubicBezTo>
                      <a:pt x="77" y="99"/>
                      <a:pt x="77" y="99"/>
                      <a:pt x="77" y="99"/>
                    </a:cubicBezTo>
                    <a:cubicBezTo>
                      <a:pt x="72" y="95"/>
                      <a:pt x="72" y="95"/>
                      <a:pt x="72" y="95"/>
                    </a:cubicBezTo>
                    <a:cubicBezTo>
                      <a:pt x="71" y="95"/>
                      <a:pt x="72" y="96"/>
                      <a:pt x="72" y="98"/>
                    </a:cubicBezTo>
                    <a:cubicBezTo>
                      <a:pt x="73" y="99"/>
                      <a:pt x="73" y="100"/>
                      <a:pt x="74" y="101"/>
                    </a:cubicBezTo>
                    <a:cubicBezTo>
                      <a:pt x="75" y="104"/>
                      <a:pt x="74" y="108"/>
                      <a:pt x="74" y="111"/>
                    </a:cubicBezTo>
                    <a:cubicBezTo>
                      <a:pt x="74" y="113"/>
                      <a:pt x="74" y="113"/>
                      <a:pt x="74" y="113"/>
                    </a:cubicBezTo>
                    <a:cubicBezTo>
                      <a:pt x="74" y="115"/>
                      <a:pt x="73" y="116"/>
                      <a:pt x="73" y="118"/>
                    </a:cubicBezTo>
                    <a:cubicBezTo>
                      <a:pt x="73" y="120"/>
                      <a:pt x="73" y="120"/>
                      <a:pt x="73" y="120"/>
                    </a:cubicBezTo>
                    <a:cubicBezTo>
                      <a:pt x="73" y="121"/>
                      <a:pt x="72" y="122"/>
                      <a:pt x="71" y="123"/>
                    </a:cubicBezTo>
                    <a:cubicBezTo>
                      <a:pt x="71" y="126"/>
                      <a:pt x="71" y="139"/>
                      <a:pt x="66" y="143"/>
                    </a:cubicBezTo>
                    <a:cubicBezTo>
                      <a:pt x="64" y="144"/>
                      <a:pt x="63" y="144"/>
                      <a:pt x="60" y="144"/>
                    </a:cubicBezTo>
                    <a:cubicBezTo>
                      <a:pt x="59" y="144"/>
                      <a:pt x="58" y="144"/>
                      <a:pt x="57" y="144"/>
                    </a:cubicBezTo>
                    <a:cubicBezTo>
                      <a:pt x="58" y="147"/>
                      <a:pt x="58" y="147"/>
                      <a:pt x="58" y="147"/>
                    </a:cubicBezTo>
                    <a:cubicBezTo>
                      <a:pt x="59" y="148"/>
                      <a:pt x="59" y="148"/>
                      <a:pt x="60" y="149"/>
                    </a:cubicBezTo>
                    <a:cubicBezTo>
                      <a:pt x="61" y="150"/>
                      <a:pt x="61" y="152"/>
                      <a:pt x="62" y="153"/>
                    </a:cubicBezTo>
                    <a:cubicBezTo>
                      <a:pt x="62" y="153"/>
                      <a:pt x="62" y="153"/>
                      <a:pt x="62" y="153"/>
                    </a:cubicBezTo>
                    <a:cubicBezTo>
                      <a:pt x="62" y="154"/>
                      <a:pt x="62" y="154"/>
                      <a:pt x="62" y="154"/>
                    </a:cubicBezTo>
                    <a:cubicBezTo>
                      <a:pt x="62" y="154"/>
                      <a:pt x="63" y="154"/>
                      <a:pt x="64" y="154"/>
                    </a:cubicBezTo>
                    <a:cubicBezTo>
                      <a:pt x="66" y="155"/>
                      <a:pt x="68" y="156"/>
                      <a:pt x="69" y="159"/>
                    </a:cubicBezTo>
                    <a:cubicBezTo>
                      <a:pt x="70" y="160"/>
                      <a:pt x="70" y="161"/>
                      <a:pt x="70" y="162"/>
                    </a:cubicBezTo>
                    <a:cubicBezTo>
                      <a:pt x="69" y="164"/>
                      <a:pt x="69" y="165"/>
                      <a:pt x="68" y="165"/>
                    </a:cubicBezTo>
                    <a:cubicBezTo>
                      <a:pt x="67" y="167"/>
                      <a:pt x="66" y="168"/>
                      <a:pt x="65" y="169"/>
                    </a:cubicBezTo>
                    <a:cubicBezTo>
                      <a:pt x="64" y="170"/>
                      <a:pt x="64" y="170"/>
                      <a:pt x="64" y="170"/>
                    </a:cubicBezTo>
                    <a:cubicBezTo>
                      <a:pt x="64" y="170"/>
                      <a:pt x="64" y="170"/>
                      <a:pt x="64" y="170"/>
                    </a:cubicBezTo>
                    <a:cubicBezTo>
                      <a:pt x="63" y="171"/>
                      <a:pt x="63" y="171"/>
                      <a:pt x="63" y="171"/>
                    </a:cubicBezTo>
                    <a:cubicBezTo>
                      <a:pt x="63" y="171"/>
                      <a:pt x="63" y="171"/>
                      <a:pt x="63" y="171"/>
                    </a:cubicBezTo>
                    <a:cubicBezTo>
                      <a:pt x="62" y="173"/>
                      <a:pt x="61" y="175"/>
                      <a:pt x="61" y="177"/>
                    </a:cubicBezTo>
                    <a:cubicBezTo>
                      <a:pt x="60" y="177"/>
                      <a:pt x="60" y="178"/>
                      <a:pt x="60" y="179"/>
                    </a:cubicBezTo>
                    <a:cubicBezTo>
                      <a:pt x="60" y="179"/>
                      <a:pt x="61" y="180"/>
                      <a:pt x="62" y="182"/>
                    </a:cubicBezTo>
                    <a:cubicBezTo>
                      <a:pt x="63" y="183"/>
                      <a:pt x="63" y="184"/>
                      <a:pt x="64" y="184"/>
                    </a:cubicBezTo>
                    <a:cubicBezTo>
                      <a:pt x="64" y="185"/>
                      <a:pt x="64" y="185"/>
                      <a:pt x="64" y="185"/>
                    </a:cubicBezTo>
                    <a:cubicBezTo>
                      <a:pt x="65" y="185"/>
                      <a:pt x="65" y="185"/>
                      <a:pt x="65" y="185"/>
                    </a:cubicBezTo>
                    <a:cubicBezTo>
                      <a:pt x="71" y="184"/>
                      <a:pt x="71" y="184"/>
                      <a:pt x="71" y="184"/>
                    </a:cubicBezTo>
                    <a:cubicBezTo>
                      <a:pt x="71" y="188"/>
                      <a:pt x="71" y="188"/>
                      <a:pt x="71" y="188"/>
                    </a:cubicBezTo>
                    <a:cubicBezTo>
                      <a:pt x="71" y="190"/>
                      <a:pt x="70" y="191"/>
                      <a:pt x="69" y="193"/>
                    </a:cubicBezTo>
                    <a:cubicBezTo>
                      <a:pt x="69" y="193"/>
                      <a:pt x="69" y="193"/>
                      <a:pt x="69" y="193"/>
                    </a:cubicBezTo>
                    <a:cubicBezTo>
                      <a:pt x="67" y="195"/>
                      <a:pt x="64" y="196"/>
                      <a:pt x="62" y="197"/>
                    </a:cubicBezTo>
                    <a:cubicBezTo>
                      <a:pt x="62" y="198"/>
                      <a:pt x="61" y="198"/>
                      <a:pt x="60" y="198"/>
                    </a:cubicBezTo>
                    <a:cubicBezTo>
                      <a:pt x="60" y="199"/>
                      <a:pt x="58" y="202"/>
                      <a:pt x="57" y="204"/>
                    </a:cubicBezTo>
                    <a:cubicBezTo>
                      <a:pt x="55" y="208"/>
                      <a:pt x="54" y="210"/>
                      <a:pt x="55" y="212"/>
                    </a:cubicBezTo>
                    <a:cubicBezTo>
                      <a:pt x="56" y="213"/>
                      <a:pt x="57" y="218"/>
                      <a:pt x="57" y="218"/>
                    </a:cubicBezTo>
                    <a:cubicBezTo>
                      <a:pt x="57" y="220"/>
                      <a:pt x="57" y="220"/>
                      <a:pt x="57" y="220"/>
                    </a:cubicBezTo>
                    <a:cubicBezTo>
                      <a:pt x="59" y="220"/>
                      <a:pt x="61" y="220"/>
                      <a:pt x="63" y="221"/>
                    </a:cubicBezTo>
                    <a:cubicBezTo>
                      <a:pt x="64" y="221"/>
                      <a:pt x="64" y="221"/>
                      <a:pt x="65" y="221"/>
                    </a:cubicBezTo>
                    <a:cubicBezTo>
                      <a:pt x="66" y="221"/>
                      <a:pt x="67" y="220"/>
                      <a:pt x="66" y="219"/>
                    </a:cubicBezTo>
                    <a:cubicBezTo>
                      <a:pt x="66" y="219"/>
                      <a:pt x="66" y="219"/>
                      <a:pt x="66" y="219"/>
                    </a:cubicBezTo>
                    <a:cubicBezTo>
                      <a:pt x="67" y="219"/>
                      <a:pt x="68" y="219"/>
                      <a:pt x="68" y="219"/>
                    </a:cubicBezTo>
                    <a:cubicBezTo>
                      <a:pt x="66" y="223"/>
                      <a:pt x="73" y="226"/>
                      <a:pt x="75" y="228"/>
                    </a:cubicBezTo>
                    <a:cubicBezTo>
                      <a:pt x="77" y="230"/>
                      <a:pt x="79" y="232"/>
                      <a:pt x="82" y="233"/>
                    </a:cubicBezTo>
                    <a:cubicBezTo>
                      <a:pt x="82" y="233"/>
                      <a:pt x="82" y="233"/>
                      <a:pt x="82" y="233"/>
                    </a:cubicBezTo>
                    <a:cubicBezTo>
                      <a:pt x="83" y="233"/>
                      <a:pt x="83" y="233"/>
                      <a:pt x="84" y="232"/>
                    </a:cubicBezTo>
                    <a:cubicBezTo>
                      <a:pt x="84" y="232"/>
                      <a:pt x="85" y="231"/>
                      <a:pt x="86" y="231"/>
                    </a:cubicBezTo>
                    <a:cubicBezTo>
                      <a:pt x="86" y="231"/>
                      <a:pt x="86" y="231"/>
                      <a:pt x="87" y="231"/>
                    </a:cubicBezTo>
                    <a:cubicBezTo>
                      <a:pt x="85" y="232"/>
                      <a:pt x="83" y="234"/>
                      <a:pt x="83" y="236"/>
                    </a:cubicBezTo>
                    <a:cubicBezTo>
                      <a:pt x="82" y="236"/>
                      <a:pt x="81" y="236"/>
                      <a:pt x="81" y="237"/>
                    </a:cubicBezTo>
                    <a:cubicBezTo>
                      <a:pt x="81" y="238"/>
                      <a:pt x="84" y="242"/>
                      <a:pt x="85" y="243"/>
                    </a:cubicBezTo>
                    <a:cubicBezTo>
                      <a:pt x="90" y="250"/>
                      <a:pt x="95" y="259"/>
                      <a:pt x="104" y="260"/>
                    </a:cubicBezTo>
                    <a:cubicBezTo>
                      <a:pt x="104" y="260"/>
                      <a:pt x="104" y="260"/>
                      <a:pt x="105" y="260"/>
                    </a:cubicBezTo>
                    <a:cubicBezTo>
                      <a:pt x="106" y="260"/>
                      <a:pt x="110" y="258"/>
                      <a:pt x="112" y="256"/>
                    </a:cubicBezTo>
                    <a:cubicBezTo>
                      <a:pt x="112" y="256"/>
                      <a:pt x="112" y="256"/>
                      <a:pt x="113" y="257"/>
                    </a:cubicBezTo>
                    <a:cubicBezTo>
                      <a:pt x="112" y="256"/>
                      <a:pt x="112" y="256"/>
                      <a:pt x="112" y="256"/>
                    </a:cubicBezTo>
                    <a:cubicBezTo>
                      <a:pt x="113" y="256"/>
                      <a:pt x="113" y="256"/>
                      <a:pt x="113" y="256"/>
                    </a:cubicBezTo>
                    <a:cubicBezTo>
                      <a:pt x="115" y="253"/>
                      <a:pt x="114" y="251"/>
                      <a:pt x="118" y="249"/>
                    </a:cubicBezTo>
                    <a:cubicBezTo>
                      <a:pt x="122" y="247"/>
                      <a:pt x="126" y="245"/>
                      <a:pt x="131" y="243"/>
                    </a:cubicBezTo>
                    <a:cubicBezTo>
                      <a:pt x="133" y="241"/>
                      <a:pt x="136" y="239"/>
                      <a:pt x="138" y="238"/>
                    </a:cubicBezTo>
                    <a:cubicBezTo>
                      <a:pt x="141" y="237"/>
                      <a:pt x="143" y="236"/>
                      <a:pt x="146" y="236"/>
                    </a:cubicBezTo>
                    <a:cubicBezTo>
                      <a:pt x="148" y="236"/>
                      <a:pt x="149" y="236"/>
                      <a:pt x="151" y="236"/>
                    </a:cubicBezTo>
                    <a:cubicBezTo>
                      <a:pt x="152" y="236"/>
                      <a:pt x="153" y="237"/>
                      <a:pt x="154" y="237"/>
                    </a:cubicBezTo>
                    <a:cubicBezTo>
                      <a:pt x="155" y="237"/>
                      <a:pt x="155" y="237"/>
                      <a:pt x="155" y="237"/>
                    </a:cubicBezTo>
                    <a:cubicBezTo>
                      <a:pt x="160" y="236"/>
                      <a:pt x="165" y="236"/>
                      <a:pt x="170" y="236"/>
                    </a:cubicBezTo>
                    <a:cubicBezTo>
                      <a:pt x="173" y="236"/>
                      <a:pt x="175" y="236"/>
                      <a:pt x="178" y="236"/>
                    </a:cubicBezTo>
                    <a:cubicBezTo>
                      <a:pt x="181" y="237"/>
                      <a:pt x="183" y="238"/>
                      <a:pt x="185" y="238"/>
                    </a:cubicBezTo>
                    <a:cubicBezTo>
                      <a:pt x="185" y="238"/>
                      <a:pt x="186" y="238"/>
                      <a:pt x="186" y="238"/>
                    </a:cubicBezTo>
                    <a:cubicBezTo>
                      <a:pt x="190" y="238"/>
                      <a:pt x="192" y="236"/>
                      <a:pt x="196" y="235"/>
                    </a:cubicBezTo>
                    <a:cubicBezTo>
                      <a:pt x="197" y="234"/>
                      <a:pt x="198" y="234"/>
                      <a:pt x="199" y="234"/>
                    </a:cubicBezTo>
                    <a:cubicBezTo>
                      <a:pt x="200" y="234"/>
                      <a:pt x="199" y="235"/>
                      <a:pt x="201" y="236"/>
                    </a:cubicBezTo>
                    <a:cubicBezTo>
                      <a:pt x="202" y="236"/>
                      <a:pt x="202" y="236"/>
                      <a:pt x="202" y="236"/>
                    </a:cubicBezTo>
                    <a:cubicBezTo>
                      <a:pt x="205" y="236"/>
                      <a:pt x="208" y="231"/>
                      <a:pt x="209" y="229"/>
                    </a:cubicBezTo>
                    <a:cubicBezTo>
                      <a:pt x="212" y="224"/>
                      <a:pt x="215" y="220"/>
                      <a:pt x="218" y="216"/>
                    </a:cubicBezTo>
                    <a:cubicBezTo>
                      <a:pt x="219" y="214"/>
                      <a:pt x="227" y="212"/>
                      <a:pt x="229" y="212"/>
                    </a:cubicBezTo>
                    <a:cubicBezTo>
                      <a:pt x="231" y="211"/>
                      <a:pt x="234" y="209"/>
                      <a:pt x="236" y="209"/>
                    </a:cubicBezTo>
                    <a:cubicBezTo>
                      <a:pt x="236" y="209"/>
                      <a:pt x="236" y="209"/>
                      <a:pt x="236" y="209"/>
                    </a:cubicBezTo>
                    <a:cubicBezTo>
                      <a:pt x="236" y="209"/>
                      <a:pt x="237" y="209"/>
                      <a:pt x="237" y="209"/>
                    </a:cubicBezTo>
                    <a:cubicBezTo>
                      <a:pt x="237" y="210"/>
                      <a:pt x="237" y="210"/>
                      <a:pt x="237" y="210"/>
                    </a:cubicBezTo>
                    <a:cubicBezTo>
                      <a:pt x="238" y="210"/>
                      <a:pt x="238" y="210"/>
                      <a:pt x="238" y="210"/>
                    </a:cubicBezTo>
                    <a:cubicBezTo>
                      <a:pt x="239" y="210"/>
                      <a:pt x="241" y="209"/>
                      <a:pt x="243" y="208"/>
                    </a:cubicBezTo>
                    <a:cubicBezTo>
                      <a:pt x="243" y="208"/>
                      <a:pt x="240" y="205"/>
                      <a:pt x="240" y="204"/>
                    </a:cubicBezTo>
                    <a:cubicBezTo>
                      <a:pt x="241" y="202"/>
                      <a:pt x="243" y="199"/>
                      <a:pt x="244" y="196"/>
                    </a:cubicBezTo>
                    <a:cubicBezTo>
                      <a:pt x="245" y="194"/>
                      <a:pt x="246" y="192"/>
                      <a:pt x="247" y="190"/>
                    </a:cubicBezTo>
                    <a:cubicBezTo>
                      <a:pt x="252" y="181"/>
                      <a:pt x="263" y="176"/>
                      <a:pt x="271" y="171"/>
                    </a:cubicBezTo>
                    <a:cubicBezTo>
                      <a:pt x="262" y="165"/>
                      <a:pt x="257" y="160"/>
                      <a:pt x="255" y="150"/>
                    </a:cubicBezTo>
                    <a:cubicBezTo>
                      <a:pt x="254" y="142"/>
                      <a:pt x="262" y="134"/>
                      <a:pt x="266" y="128"/>
                    </a:cubicBezTo>
                    <a:cubicBezTo>
                      <a:pt x="272" y="120"/>
                      <a:pt x="281" y="111"/>
                      <a:pt x="285" y="102"/>
                    </a:cubicBezTo>
                    <a:cubicBezTo>
                      <a:pt x="285" y="102"/>
                      <a:pt x="285" y="102"/>
                      <a:pt x="285" y="102"/>
                    </a:cubicBezTo>
                    <a:cubicBezTo>
                      <a:pt x="286" y="100"/>
                      <a:pt x="288" y="96"/>
                      <a:pt x="291" y="95"/>
                    </a:cubicBezTo>
                    <a:cubicBezTo>
                      <a:pt x="296" y="91"/>
                      <a:pt x="305" y="90"/>
                      <a:pt x="311" y="88"/>
                    </a:cubicBezTo>
                    <a:cubicBezTo>
                      <a:pt x="313" y="88"/>
                      <a:pt x="316" y="86"/>
                      <a:pt x="319" y="85"/>
                    </a:cubicBezTo>
                    <a:cubicBezTo>
                      <a:pt x="319" y="84"/>
                      <a:pt x="319" y="83"/>
                      <a:pt x="319" y="82"/>
                    </a:cubicBezTo>
                    <a:cubicBezTo>
                      <a:pt x="319" y="78"/>
                      <a:pt x="322" y="74"/>
                      <a:pt x="326" y="74"/>
                    </a:cubicBezTo>
                    <a:cubicBezTo>
                      <a:pt x="329" y="74"/>
                      <a:pt x="331" y="76"/>
                      <a:pt x="333" y="78"/>
                    </a:cubicBezTo>
                    <a:cubicBezTo>
                      <a:pt x="333" y="78"/>
                      <a:pt x="334" y="77"/>
                      <a:pt x="335" y="77"/>
                    </a:cubicBezTo>
                    <a:cubicBezTo>
                      <a:pt x="340" y="74"/>
                      <a:pt x="351" y="71"/>
                      <a:pt x="354" y="66"/>
                    </a:cubicBezTo>
                    <a:cubicBezTo>
                      <a:pt x="356" y="62"/>
                      <a:pt x="353" y="59"/>
                      <a:pt x="353" y="56"/>
                    </a:cubicBezTo>
                    <a:cubicBezTo>
                      <a:pt x="353" y="53"/>
                      <a:pt x="355" y="52"/>
                      <a:pt x="359" y="50"/>
                    </a:cubicBezTo>
                    <a:cubicBezTo>
                      <a:pt x="358" y="50"/>
                      <a:pt x="357" y="49"/>
                      <a:pt x="357" y="48"/>
                    </a:cubicBezTo>
                    <a:cubicBezTo>
                      <a:pt x="357" y="49"/>
                      <a:pt x="357" y="49"/>
                      <a:pt x="357" y="49"/>
                    </a:cubicBezTo>
                    <a:cubicBezTo>
                      <a:pt x="353" y="50"/>
                      <a:pt x="353" y="50"/>
                      <a:pt x="353" y="50"/>
                    </a:cubicBezTo>
                    <a:cubicBezTo>
                      <a:pt x="353" y="50"/>
                      <a:pt x="353" y="50"/>
                      <a:pt x="353" y="50"/>
                    </a:cubicBezTo>
                    <a:cubicBezTo>
                      <a:pt x="342" y="52"/>
                      <a:pt x="342" y="52"/>
                      <a:pt x="342" y="52"/>
                    </a:cubicBezTo>
                    <a:cubicBezTo>
                      <a:pt x="341" y="52"/>
                      <a:pt x="341" y="53"/>
                      <a:pt x="340" y="53"/>
                    </a:cubicBezTo>
                    <a:cubicBezTo>
                      <a:pt x="339" y="53"/>
                      <a:pt x="339" y="53"/>
                      <a:pt x="339" y="53"/>
                    </a:cubicBezTo>
                    <a:cubicBezTo>
                      <a:pt x="338" y="53"/>
                      <a:pt x="337" y="53"/>
                      <a:pt x="337" y="53"/>
                    </a:cubicBezTo>
                    <a:cubicBezTo>
                      <a:pt x="335" y="53"/>
                      <a:pt x="334" y="53"/>
                      <a:pt x="333" y="53"/>
                    </a:cubicBezTo>
                    <a:cubicBezTo>
                      <a:pt x="328" y="52"/>
                      <a:pt x="323" y="51"/>
                      <a:pt x="319" y="50"/>
                    </a:cubicBezTo>
                    <a:cubicBezTo>
                      <a:pt x="319" y="50"/>
                      <a:pt x="318" y="50"/>
                      <a:pt x="318" y="50"/>
                    </a:cubicBezTo>
                    <a:cubicBezTo>
                      <a:pt x="317" y="49"/>
                      <a:pt x="317" y="49"/>
                      <a:pt x="317" y="49"/>
                    </a:cubicBezTo>
                    <a:cubicBezTo>
                      <a:pt x="314" y="48"/>
                      <a:pt x="312" y="47"/>
                      <a:pt x="311" y="45"/>
                    </a:cubicBezTo>
                    <a:cubicBezTo>
                      <a:pt x="311" y="44"/>
                      <a:pt x="311" y="44"/>
                      <a:pt x="311" y="44"/>
                    </a:cubicBezTo>
                    <a:cubicBezTo>
                      <a:pt x="305" y="43"/>
                      <a:pt x="300" y="42"/>
                      <a:pt x="295" y="39"/>
                    </a:cubicBezTo>
                    <a:cubicBezTo>
                      <a:pt x="294" y="39"/>
                      <a:pt x="293" y="39"/>
                      <a:pt x="292" y="38"/>
                    </a:cubicBezTo>
                    <a:cubicBezTo>
                      <a:pt x="289" y="37"/>
                      <a:pt x="289" y="37"/>
                      <a:pt x="289" y="37"/>
                    </a:cubicBezTo>
                    <a:cubicBezTo>
                      <a:pt x="289" y="37"/>
                      <a:pt x="288" y="36"/>
                      <a:pt x="287" y="36"/>
                    </a:cubicBezTo>
                    <a:cubicBezTo>
                      <a:pt x="287" y="36"/>
                      <a:pt x="287" y="36"/>
                      <a:pt x="287" y="36"/>
                    </a:cubicBezTo>
                    <a:cubicBezTo>
                      <a:pt x="287" y="37"/>
                      <a:pt x="287" y="37"/>
                      <a:pt x="287" y="37"/>
                    </a:cubicBezTo>
                    <a:cubicBezTo>
                      <a:pt x="287" y="41"/>
                      <a:pt x="287" y="41"/>
                      <a:pt x="287" y="41"/>
                    </a:cubicBezTo>
                    <a:cubicBezTo>
                      <a:pt x="283" y="41"/>
                      <a:pt x="283" y="41"/>
                      <a:pt x="283" y="41"/>
                    </a:cubicBezTo>
                    <a:cubicBezTo>
                      <a:pt x="281" y="41"/>
                      <a:pt x="279" y="41"/>
                      <a:pt x="277" y="41"/>
                    </a:cubicBezTo>
                    <a:cubicBezTo>
                      <a:pt x="275" y="41"/>
                      <a:pt x="273" y="41"/>
                      <a:pt x="270" y="41"/>
                    </a:cubicBezTo>
                    <a:cubicBezTo>
                      <a:pt x="265" y="41"/>
                      <a:pt x="265" y="41"/>
                      <a:pt x="265" y="41"/>
                    </a:cubicBezTo>
                    <a:cubicBezTo>
                      <a:pt x="265" y="41"/>
                      <a:pt x="265" y="41"/>
                      <a:pt x="264" y="41"/>
                    </a:cubicBezTo>
                    <a:cubicBezTo>
                      <a:pt x="264" y="41"/>
                      <a:pt x="264" y="41"/>
                      <a:pt x="263" y="41"/>
                    </a:cubicBezTo>
                    <a:cubicBezTo>
                      <a:pt x="262" y="40"/>
                      <a:pt x="261" y="40"/>
                      <a:pt x="260" y="40"/>
                    </a:cubicBezTo>
                    <a:cubicBezTo>
                      <a:pt x="259" y="39"/>
                      <a:pt x="258" y="38"/>
                      <a:pt x="257" y="38"/>
                    </a:cubicBezTo>
                    <a:cubicBezTo>
                      <a:pt x="256" y="37"/>
                      <a:pt x="256" y="37"/>
                      <a:pt x="255" y="36"/>
                    </a:cubicBezTo>
                    <a:cubicBezTo>
                      <a:pt x="255" y="36"/>
                      <a:pt x="255" y="36"/>
                      <a:pt x="255" y="36"/>
                    </a:cubicBezTo>
                    <a:cubicBezTo>
                      <a:pt x="255" y="36"/>
                      <a:pt x="254" y="36"/>
                      <a:pt x="254" y="36"/>
                    </a:cubicBezTo>
                    <a:cubicBezTo>
                      <a:pt x="252" y="37"/>
                      <a:pt x="251" y="37"/>
                      <a:pt x="250" y="37"/>
                    </a:cubicBezTo>
                    <a:cubicBezTo>
                      <a:pt x="247" y="37"/>
                      <a:pt x="246" y="36"/>
                      <a:pt x="244" y="34"/>
                    </a:cubicBezTo>
                    <a:cubicBezTo>
                      <a:pt x="244" y="34"/>
                      <a:pt x="243" y="33"/>
                      <a:pt x="242" y="33"/>
                    </a:cubicBezTo>
                    <a:cubicBezTo>
                      <a:pt x="241" y="32"/>
                      <a:pt x="241" y="32"/>
                      <a:pt x="241" y="32"/>
                    </a:cubicBezTo>
                    <a:cubicBezTo>
                      <a:pt x="241" y="32"/>
                      <a:pt x="241" y="32"/>
                      <a:pt x="240" y="32"/>
                    </a:cubicBezTo>
                    <a:cubicBezTo>
                      <a:pt x="238" y="31"/>
                      <a:pt x="236" y="31"/>
                      <a:pt x="234" y="31"/>
                    </a:cubicBezTo>
                    <a:cubicBezTo>
                      <a:pt x="233" y="30"/>
                      <a:pt x="231" y="30"/>
                      <a:pt x="230" y="30"/>
                    </a:cubicBezTo>
                    <a:cubicBezTo>
                      <a:pt x="230" y="30"/>
                      <a:pt x="229" y="30"/>
                      <a:pt x="229" y="30"/>
                    </a:cubicBezTo>
                    <a:cubicBezTo>
                      <a:pt x="228" y="30"/>
                      <a:pt x="228" y="30"/>
                      <a:pt x="228" y="30"/>
                    </a:cubicBezTo>
                    <a:cubicBezTo>
                      <a:pt x="226" y="30"/>
                      <a:pt x="224" y="29"/>
                      <a:pt x="223" y="28"/>
                    </a:cubicBezTo>
                    <a:cubicBezTo>
                      <a:pt x="219" y="25"/>
                      <a:pt x="221" y="21"/>
                      <a:pt x="221" y="20"/>
                    </a:cubicBezTo>
                    <a:cubicBezTo>
                      <a:pt x="221" y="20"/>
                      <a:pt x="221" y="20"/>
                      <a:pt x="221" y="20"/>
                    </a:cubicBezTo>
                    <a:cubicBezTo>
                      <a:pt x="221" y="20"/>
                      <a:pt x="221" y="20"/>
                      <a:pt x="221" y="20"/>
                    </a:cubicBezTo>
                    <a:cubicBezTo>
                      <a:pt x="221" y="20"/>
                      <a:pt x="220" y="20"/>
                      <a:pt x="220" y="20"/>
                    </a:cubicBezTo>
                    <a:cubicBezTo>
                      <a:pt x="219" y="21"/>
                      <a:pt x="219" y="21"/>
                      <a:pt x="219" y="21"/>
                    </a:cubicBezTo>
                    <a:cubicBezTo>
                      <a:pt x="218" y="21"/>
                      <a:pt x="218" y="21"/>
                      <a:pt x="218" y="21"/>
                    </a:cubicBezTo>
                    <a:cubicBezTo>
                      <a:pt x="215" y="20"/>
                      <a:pt x="213" y="18"/>
                      <a:pt x="211" y="17"/>
                    </a:cubicBezTo>
                    <a:cubicBezTo>
                      <a:pt x="210" y="16"/>
                      <a:pt x="210" y="16"/>
                      <a:pt x="210" y="16"/>
                    </a:cubicBezTo>
                    <a:cubicBezTo>
                      <a:pt x="212" y="14"/>
                      <a:pt x="212" y="14"/>
                      <a:pt x="212" y="14"/>
                    </a:cubicBezTo>
                    <a:cubicBezTo>
                      <a:pt x="211" y="14"/>
                      <a:pt x="210" y="14"/>
                      <a:pt x="210" y="14"/>
                    </a:cubicBezTo>
                    <a:cubicBezTo>
                      <a:pt x="208" y="14"/>
                      <a:pt x="205" y="15"/>
                      <a:pt x="203" y="15"/>
                    </a:cubicBezTo>
                    <a:cubicBezTo>
                      <a:pt x="201" y="15"/>
                      <a:pt x="199" y="16"/>
                      <a:pt x="197" y="16"/>
                    </a:cubicBezTo>
                    <a:cubicBezTo>
                      <a:pt x="196" y="16"/>
                      <a:pt x="196" y="16"/>
                      <a:pt x="196" y="16"/>
                    </a:cubicBezTo>
                    <a:cubicBezTo>
                      <a:pt x="190" y="15"/>
                      <a:pt x="188" y="12"/>
                      <a:pt x="184" y="12"/>
                    </a:cubicBezTo>
                    <a:cubicBezTo>
                      <a:pt x="183" y="12"/>
                      <a:pt x="182" y="12"/>
                      <a:pt x="181" y="13"/>
                    </a:cubicBezTo>
                    <a:cubicBezTo>
                      <a:pt x="178" y="13"/>
                      <a:pt x="177" y="14"/>
                      <a:pt x="175" y="14"/>
                    </a:cubicBezTo>
                    <a:cubicBezTo>
                      <a:pt x="173" y="14"/>
                      <a:pt x="172" y="13"/>
                      <a:pt x="168" y="11"/>
                    </a:cubicBezTo>
                    <a:cubicBezTo>
                      <a:pt x="167" y="11"/>
                      <a:pt x="165" y="10"/>
                      <a:pt x="164" y="10"/>
                    </a:cubicBezTo>
                    <a:cubicBezTo>
                      <a:pt x="163" y="10"/>
                      <a:pt x="162" y="10"/>
                      <a:pt x="161" y="10"/>
                    </a:cubicBezTo>
                    <a:cubicBezTo>
                      <a:pt x="157" y="10"/>
                      <a:pt x="152" y="11"/>
                      <a:pt x="148" y="11"/>
                    </a:cubicBezTo>
                    <a:cubicBezTo>
                      <a:pt x="145" y="12"/>
                      <a:pt x="141" y="13"/>
                      <a:pt x="137" y="13"/>
                    </a:cubicBezTo>
                    <a:cubicBezTo>
                      <a:pt x="137" y="13"/>
                      <a:pt x="136" y="13"/>
                      <a:pt x="136" y="13"/>
                    </a:cubicBezTo>
                    <a:cubicBezTo>
                      <a:pt x="131" y="12"/>
                      <a:pt x="126" y="11"/>
                      <a:pt x="121" y="10"/>
                    </a:cubicBezTo>
                    <a:cubicBezTo>
                      <a:pt x="116" y="9"/>
                      <a:pt x="111" y="8"/>
                      <a:pt x="105" y="7"/>
                    </a:cubicBezTo>
                    <a:cubicBezTo>
                      <a:pt x="101" y="7"/>
                      <a:pt x="101" y="5"/>
                      <a:pt x="99" y="5"/>
                    </a:cubicBezTo>
                    <a:cubicBezTo>
                      <a:pt x="98" y="4"/>
                      <a:pt x="98" y="4"/>
                      <a:pt x="97" y="4"/>
                    </a:cubicBezTo>
                    <a:cubicBezTo>
                      <a:pt x="96" y="4"/>
                      <a:pt x="94" y="5"/>
                      <a:pt x="92" y="5"/>
                    </a:cubicBezTo>
                    <a:cubicBezTo>
                      <a:pt x="87" y="6"/>
                      <a:pt x="81" y="7"/>
                      <a:pt x="75" y="8"/>
                    </a:cubicBezTo>
                    <a:cubicBezTo>
                      <a:pt x="73" y="8"/>
                      <a:pt x="68" y="10"/>
                      <a:pt x="65" y="10"/>
                    </a:cubicBezTo>
                    <a:cubicBezTo>
                      <a:pt x="65" y="10"/>
                      <a:pt x="64" y="10"/>
                      <a:pt x="64" y="10"/>
                    </a:cubicBezTo>
                    <a:cubicBezTo>
                      <a:pt x="60" y="9"/>
                      <a:pt x="56" y="5"/>
                      <a:pt x="52" y="3"/>
                    </a:cubicBezTo>
                    <a:cubicBezTo>
                      <a:pt x="51" y="2"/>
                      <a:pt x="50" y="1"/>
                      <a:pt x="48" y="1"/>
                    </a:cubicBezTo>
                    <a:cubicBezTo>
                      <a:pt x="46" y="1"/>
                      <a:pt x="44" y="2"/>
                      <a:pt x="42" y="3"/>
                    </a:cubicBezTo>
                    <a:cubicBezTo>
                      <a:pt x="41" y="3"/>
                      <a:pt x="41" y="3"/>
                      <a:pt x="41" y="3"/>
                    </a:cubicBezTo>
                    <a:cubicBezTo>
                      <a:pt x="40" y="3"/>
                      <a:pt x="40" y="2"/>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0" name="Freeform 268">
                <a:extLst>
                  <a:ext uri="{FF2B5EF4-FFF2-40B4-BE49-F238E27FC236}">
                    <a16:creationId xmlns:a16="http://schemas.microsoft.com/office/drawing/2014/main" id="{3FB6CF40-177E-4656-9AB3-ABEED9734565}"/>
                  </a:ext>
                </a:extLst>
              </p:cNvPr>
              <p:cNvSpPr>
                <a:spLocks/>
              </p:cNvSpPr>
              <p:nvPr/>
            </p:nvSpPr>
            <p:spPr bwMode="auto">
              <a:xfrm>
                <a:off x="3924649" y="3865687"/>
                <a:ext cx="1153441" cy="983926"/>
              </a:xfrm>
              <a:custGeom>
                <a:avLst/>
                <a:gdLst>
                  <a:gd name="T0" fmla="*/ 149 w 364"/>
                  <a:gd name="T1" fmla="*/ 47 h 309"/>
                  <a:gd name="T2" fmla="*/ 150 w 364"/>
                  <a:gd name="T3" fmla="*/ 59 h 309"/>
                  <a:gd name="T4" fmla="*/ 99 w 364"/>
                  <a:gd name="T5" fmla="*/ 56 h 309"/>
                  <a:gd name="T6" fmla="*/ 81 w 364"/>
                  <a:gd name="T7" fmla="*/ 50 h 309"/>
                  <a:gd name="T8" fmla="*/ 98 w 364"/>
                  <a:gd name="T9" fmla="*/ 89 h 309"/>
                  <a:gd name="T10" fmla="*/ 67 w 364"/>
                  <a:gd name="T11" fmla="*/ 93 h 309"/>
                  <a:gd name="T12" fmla="*/ 1 w 364"/>
                  <a:gd name="T13" fmla="*/ 95 h 309"/>
                  <a:gd name="T14" fmla="*/ 15 w 364"/>
                  <a:gd name="T15" fmla="*/ 100 h 309"/>
                  <a:gd name="T16" fmla="*/ 12 w 364"/>
                  <a:gd name="T17" fmla="*/ 109 h 309"/>
                  <a:gd name="T18" fmla="*/ 20 w 364"/>
                  <a:gd name="T19" fmla="*/ 117 h 309"/>
                  <a:gd name="T20" fmla="*/ 71 w 364"/>
                  <a:gd name="T21" fmla="*/ 140 h 309"/>
                  <a:gd name="T22" fmla="*/ 78 w 364"/>
                  <a:gd name="T23" fmla="*/ 139 h 309"/>
                  <a:gd name="T24" fmla="*/ 105 w 364"/>
                  <a:gd name="T25" fmla="*/ 174 h 309"/>
                  <a:gd name="T26" fmla="*/ 104 w 364"/>
                  <a:gd name="T27" fmla="*/ 202 h 309"/>
                  <a:gd name="T28" fmla="*/ 91 w 364"/>
                  <a:gd name="T29" fmla="*/ 273 h 309"/>
                  <a:gd name="T30" fmla="*/ 100 w 364"/>
                  <a:gd name="T31" fmla="*/ 286 h 309"/>
                  <a:gd name="T32" fmla="*/ 117 w 364"/>
                  <a:gd name="T33" fmla="*/ 289 h 309"/>
                  <a:gd name="T34" fmla="*/ 128 w 364"/>
                  <a:gd name="T35" fmla="*/ 292 h 309"/>
                  <a:gd name="T36" fmla="*/ 142 w 364"/>
                  <a:gd name="T37" fmla="*/ 297 h 309"/>
                  <a:gd name="T38" fmla="*/ 164 w 364"/>
                  <a:gd name="T39" fmla="*/ 294 h 309"/>
                  <a:gd name="T40" fmla="*/ 191 w 364"/>
                  <a:gd name="T41" fmla="*/ 306 h 309"/>
                  <a:gd name="T42" fmla="*/ 211 w 364"/>
                  <a:gd name="T43" fmla="*/ 309 h 309"/>
                  <a:gd name="T44" fmla="*/ 246 w 364"/>
                  <a:gd name="T45" fmla="*/ 274 h 309"/>
                  <a:gd name="T46" fmla="*/ 267 w 364"/>
                  <a:gd name="T47" fmla="*/ 273 h 309"/>
                  <a:gd name="T48" fmla="*/ 279 w 364"/>
                  <a:gd name="T49" fmla="*/ 275 h 309"/>
                  <a:gd name="T50" fmla="*/ 296 w 364"/>
                  <a:gd name="T51" fmla="*/ 283 h 309"/>
                  <a:gd name="T52" fmla="*/ 309 w 364"/>
                  <a:gd name="T53" fmla="*/ 286 h 309"/>
                  <a:gd name="T54" fmla="*/ 348 w 364"/>
                  <a:gd name="T55" fmla="*/ 263 h 309"/>
                  <a:gd name="T56" fmla="*/ 333 w 364"/>
                  <a:gd name="T57" fmla="*/ 247 h 309"/>
                  <a:gd name="T58" fmla="*/ 335 w 364"/>
                  <a:gd name="T59" fmla="*/ 209 h 309"/>
                  <a:gd name="T60" fmla="*/ 331 w 364"/>
                  <a:gd name="T61" fmla="*/ 187 h 309"/>
                  <a:gd name="T62" fmla="*/ 327 w 364"/>
                  <a:gd name="T63" fmla="*/ 172 h 309"/>
                  <a:gd name="T64" fmla="*/ 318 w 364"/>
                  <a:gd name="T65" fmla="*/ 174 h 309"/>
                  <a:gd name="T66" fmla="*/ 307 w 364"/>
                  <a:gd name="T67" fmla="*/ 183 h 309"/>
                  <a:gd name="T68" fmla="*/ 307 w 364"/>
                  <a:gd name="T69" fmla="*/ 172 h 309"/>
                  <a:gd name="T70" fmla="*/ 319 w 364"/>
                  <a:gd name="T71" fmla="*/ 147 h 309"/>
                  <a:gd name="T72" fmla="*/ 336 w 364"/>
                  <a:gd name="T73" fmla="*/ 128 h 309"/>
                  <a:gd name="T74" fmla="*/ 344 w 364"/>
                  <a:gd name="T75" fmla="*/ 130 h 309"/>
                  <a:gd name="T76" fmla="*/ 347 w 364"/>
                  <a:gd name="T77" fmla="*/ 123 h 309"/>
                  <a:gd name="T78" fmla="*/ 347 w 364"/>
                  <a:gd name="T79" fmla="*/ 112 h 309"/>
                  <a:gd name="T80" fmla="*/ 364 w 364"/>
                  <a:gd name="T81" fmla="*/ 80 h 309"/>
                  <a:gd name="T82" fmla="*/ 355 w 364"/>
                  <a:gd name="T83" fmla="*/ 79 h 309"/>
                  <a:gd name="T84" fmla="*/ 345 w 364"/>
                  <a:gd name="T85" fmla="*/ 74 h 309"/>
                  <a:gd name="T86" fmla="*/ 334 w 364"/>
                  <a:gd name="T87" fmla="*/ 74 h 309"/>
                  <a:gd name="T88" fmla="*/ 320 w 364"/>
                  <a:gd name="T89" fmla="*/ 66 h 309"/>
                  <a:gd name="T90" fmla="*/ 303 w 364"/>
                  <a:gd name="T91" fmla="*/ 61 h 309"/>
                  <a:gd name="T92" fmla="*/ 295 w 364"/>
                  <a:gd name="T93" fmla="*/ 61 h 309"/>
                  <a:gd name="T94" fmla="*/ 278 w 364"/>
                  <a:gd name="T95" fmla="*/ 51 h 309"/>
                  <a:gd name="T96" fmla="*/ 259 w 364"/>
                  <a:gd name="T97" fmla="*/ 45 h 309"/>
                  <a:gd name="T98" fmla="*/ 252 w 364"/>
                  <a:gd name="T99" fmla="*/ 34 h 309"/>
                  <a:gd name="T100" fmla="*/ 240 w 364"/>
                  <a:gd name="T101" fmla="*/ 34 h 309"/>
                  <a:gd name="T102" fmla="*/ 235 w 364"/>
                  <a:gd name="T103" fmla="*/ 25 h 309"/>
                  <a:gd name="T104" fmla="*/ 225 w 364"/>
                  <a:gd name="T105" fmla="*/ 15 h 309"/>
                  <a:gd name="T106" fmla="*/ 215 w 364"/>
                  <a:gd name="T107" fmla="*/ 16 h 309"/>
                  <a:gd name="T108" fmla="*/ 205 w 364"/>
                  <a:gd name="T10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 h="309">
                    <a:moveTo>
                      <a:pt x="205" y="0"/>
                    </a:moveTo>
                    <a:cubicBezTo>
                      <a:pt x="198" y="2"/>
                      <a:pt x="191" y="4"/>
                      <a:pt x="184" y="6"/>
                    </a:cubicBezTo>
                    <a:cubicBezTo>
                      <a:pt x="179" y="8"/>
                      <a:pt x="181" y="21"/>
                      <a:pt x="182" y="27"/>
                    </a:cubicBezTo>
                    <a:cubicBezTo>
                      <a:pt x="182" y="32"/>
                      <a:pt x="185" y="32"/>
                      <a:pt x="180" y="35"/>
                    </a:cubicBezTo>
                    <a:cubicBezTo>
                      <a:pt x="174" y="38"/>
                      <a:pt x="169" y="41"/>
                      <a:pt x="163" y="43"/>
                    </a:cubicBezTo>
                    <a:cubicBezTo>
                      <a:pt x="158" y="45"/>
                      <a:pt x="153" y="45"/>
                      <a:pt x="149" y="47"/>
                    </a:cubicBezTo>
                    <a:cubicBezTo>
                      <a:pt x="147" y="48"/>
                      <a:pt x="143" y="49"/>
                      <a:pt x="141" y="51"/>
                    </a:cubicBezTo>
                    <a:cubicBezTo>
                      <a:pt x="141" y="52"/>
                      <a:pt x="139" y="56"/>
                      <a:pt x="139" y="57"/>
                    </a:cubicBezTo>
                    <a:cubicBezTo>
                      <a:pt x="139" y="59"/>
                      <a:pt x="141" y="59"/>
                      <a:pt x="144" y="59"/>
                    </a:cubicBezTo>
                    <a:cubicBezTo>
                      <a:pt x="145" y="59"/>
                      <a:pt x="147" y="59"/>
                      <a:pt x="148" y="59"/>
                    </a:cubicBezTo>
                    <a:cubicBezTo>
                      <a:pt x="149" y="59"/>
                      <a:pt x="149" y="59"/>
                      <a:pt x="150" y="59"/>
                    </a:cubicBezTo>
                    <a:cubicBezTo>
                      <a:pt x="150" y="59"/>
                      <a:pt x="150" y="59"/>
                      <a:pt x="150" y="59"/>
                    </a:cubicBezTo>
                    <a:cubicBezTo>
                      <a:pt x="144" y="61"/>
                      <a:pt x="137" y="65"/>
                      <a:pt x="130" y="66"/>
                    </a:cubicBezTo>
                    <a:cubicBezTo>
                      <a:pt x="130" y="66"/>
                      <a:pt x="129" y="66"/>
                      <a:pt x="128" y="66"/>
                    </a:cubicBezTo>
                    <a:cubicBezTo>
                      <a:pt x="125" y="66"/>
                      <a:pt x="122" y="66"/>
                      <a:pt x="120" y="66"/>
                    </a:cubicBezTo>
                    <a:cubicBezTo>
                      <a:pt x="116" y="65"/>
                      <a:pt x="111" y="65"/>
                      <a:pt x="107" y="64"/>
                    </a:cubicBezTo>
                    <a:cubicBezTo>
                      <a:pt x="104" y="64"/>
                      <a:pt x="105" y="64"/>
                      <a:pt x="103" y="61"/>
                    </a:cubicBezTo>
                    <a:cubicBezTo>
                      <a:pt x="101" y="60"/>
                      <a:pt x="99" y="58"/>
                      <a:pt x="99" y="56"/>
                    </a:cubicBezTo>
                    <a:cubicBezTo>
                      <a:pt x="99" y="52"/>
                      <a:pt x="102" y="52"/>
                      <a:pt x="99" y="51"/>
                    </a:cubicBezTo>
                    <a:cubicBezTo>
                      <a:pt x="98" y="51"/>
                      <a:pt x="98" y="51"/>
                      <a:pt x="97" y="51"/>
                    </a:cubicBezTo>
                    <a:cubicBezTo>
                      <a:pt x="96" y="51"/>
                      <a:pt x="95" y="51"/>
                      <a:pt x="95" y="51"/>
                    </a:cubicBezTo>
                    <a:cubicBezTo>
                      <a:pt x="93" y="51"/>
                      <a:pt x="92" y="53"/>
                      <a:pt x="91" y="53"/>
                    </a:cubicBezTo>
                    <a:cubicBezTo>
                      <a:pt x="90" y="53"/>
                      <a:pt x="89" y="52"/>
                      <a:pt x="88" y="52"/>
                    </a:cubicBezTo>
                    <a:cubicBezTo>
                      <a:pt x="85" y="51"/>
                      <a:pt x="84" y="50"/>
                      <a:pt x="81" y="50"/>
                    </a:cubicBezTo>
                    <a:cubicBezTo>
                      <a:pt x="83" y="55"/>
                      <a:pt x="85" y="60"/>
                      <a:pt x="88" y="64"/>
                    </a:cubicBezTo>
                    <a:cubicBezTo>
                      <a:pt x="88" y="64"/>
                      <a:pt x="88" y="64"/>
                      <a:pt x="88" y="64"/>
                    </a:cubicBezTo>
                    <a:cubicBezTo>
                      <a:pt x="89" y="65"/>
                      <a:pt x="89" y="67"/>
                      <a:pt x="90" y="69"/>
                    </a:cubicBezTo>
                    <a:cubicBezTo>
                      <a:pt x="90" y="68"/>
                      <a:pt x="90" y="68"/>
                      <a:pt x="91" y="68"/>
                    </a:cubicBezTo>
                    <a:cubicBezTo>
                      <a:pt x="93" y="68"/>
                      <a:pt x="93" y="81"/>
                      <a:pt x="94" y="83"/>
                    </a:cubicBezTo>
                    <a:cubicBezTo>
                      <a:pt x="94" y="88"/>
                      <a:pt x="94" y="88"/>
                      <a:pt x="98" y="89"/>
                    </a:cubicBezTo>
                    <a:cubicBezTo>
                      <a:pt x="97" y="90"/>
                      <a:pt x="96" y="90"/>
                      <a:pt x="95" y="90"/>
                    </a:cubicBezTo>
                    <a:cubicBezTo>
                      <a:pt x="91" y="90"/>
                      <a:pt x="89" y="88"/>
                      <a:pt x="85" y="88"/>
                    </a:cubicBezTo>
                    <a:cubicBezTo>
                      <a:pt x="85" y="88"/>
                      <a:pt x="85" y="88"/>
                      <a:pt x="85" y="88"/>
                    </a:cubicBezTo>
                    <a:cubicBezTo>
                      <a:pt x="82" y="88"/>
                      <a:pt x="78" y="90"/>
                      <a:pt x="80" y="93"/>
                    </a:cubicBezTo>
                    <a:cubicBezTo>
                      <a:pt x="79" y="92"/>
                      <a:pt x="77" y="91"/>
                      <a:pt x="75" y="91"/>
                    </a:cubicBezTo>
                    <a:cubicBezTo>
                      <a:pt x="72" y="91"/>
                      <a:pt x="69" y="92"/>
                      <a:pt x="67" y="93"/>
                    </a:cubicBezTo>
                    <a:cubicBezTo>
                      <a:pt x="65" y="93"/>
                      <a:pt x="61" y="93"/>
                      <a:pt x="60" y="95"/>
                    </a:cubicBezTo>
                    <a:cubicBezTo>
                      <a:pt x="57" y="92"/>
                      <a:pt x="53" y="85"/>
                      <a:pt x="50" y="84"/>
                    </a:cubicBezTo>
                    <a:cubicBezTo>
                      <a:pt x="52" y="83"/>
                      <a:pt x="48" y="84"/>
                      <a:pt x="49" y="81"/>
                    </a:cubicBezTo>
                    <a:cubicBezTo>
                      <a:pt x="43" y="83"/>
                      <a:pt x="38" y="86"/>
                      <a:pt x="33" y="88"/>
                    </a:cubicBezTo>
                    <a:cubicBezTo>
                      <a:pt x="29" y="90"/>
                      <a:pt x="23" y="90"/>
                      <a:pt x="19" y="91"/>
                    </a:cubicBezTo>
                    <a:cubicBezTo>
                      <a:pt x="13" y="92"/>
                      <a:pt x="7" y="93"/>
                      <a:pt x="1" y="95"/>
                    </a:cubicBezTo>
                    <a:cubicBezTo>
                      <a:pt x="1" y="95"/>
                      <a:pt x="1" y="95"/>
                      <a:pt x="1" y="95"/>
                    </a:cubicBezTo>
                    <a:cubicBezTo>
                      <a:pt x="1" y="95"/>
                      <a:pt x="0" y="100"/>
                      <a:pt x="0" y="100"/>
                    </a:cubicBezTo>
                    <a:cubicBezTo>
                      <a:pt x="1" y="101"/>
                      <a:pt x="1" y="101"/>
                      <a:pt x="2" y="101"/>
                    </a:cubicBezTo>
                    <a:cubicBezTo>
                      <a:pt x="5" y="101"/>
                      <a:pt x="11" y="99"/>
                      <a:pt x="13" y="98"/>
                    </a:cubicBezTo>
                    <a:cubicBezTo>
                      <a:pt x="12" y="99"/>
                      <a:pt x="10" y="99"/>
                      <a:pt x="10" y="101"/>
                    </a:cubicBezTo>
                    <a:cubicBezTo>
                      <a:pt x="11" y="101"/>
                      <a:pt x="13" y="100"/>
                      <a:pt x="15" y="100"/>
                    </a:cubicBezTo>
                    <a:cubicBezTo>
                      <a:pt x="14" y="102"/>
                      <a:pt x="12" y="103"/>
                      <a:pt x="10" y="103"/>
                    </a:cubicBezTo>
                    <a:cubicBezTo>
                      <a:pt x="8" y="103"/>
                      <a:pt x="7" y="102"/>
                      <a:pt x="6" y="102"/>
                    </a:cubicBezTo>
                    <a:cubicBezTo>
                      <a:pt x="5" y="104"/>
                      <a:pt x="6" y="103"/>
                      <a:pt x="7" y="107"/>
                    </a:cubicBezTo>
                    <a:cubicBezTo>
                      <a:pt x="8" y="106"/>
                      <a:pt x="9" y="105"/>
                      <a:pt x="11" y="105"/>
                    </a:cubicBezTo>
                    <a:cubicBezTo>
                      <a:pt x="11" y="105"/>
                      <a:pt x="11" y="105"/>
                      <a:pt x="12" y="105"/>
                    </a:cubicBezTo>
                    <a:cubicBezTo>
                      <a:pt x="14" y="106"/>
                      <a:pt x="14" y="108"/>
                      <a:pt x="12" y="109"/>
                    </a:cubicBezTo>
                    <a:cubicBezTo>
                      <a:pt x="12" y="110"/>
                      <a:pt x="9" y="110"/>
                      <a:pt x="8" y="110"/>
                    </a:cubicBezTo>
                    <a:cubicBezTo>
                      <a:pt x="6" y="110"/>
                      <a:pt x="3" y="110"/>
                      <a:pt x="2" y="112"/>
                    </a:cubicBezTo>
                    <a:cubicBezTo>
                      <a:pt x="6" y="114"/>
                      <a:pt x="9" y="116"/>
                      <a:pt x="13" y="119"/>
                    </a:cubicBezTo>
                    <a:cubicBezTo>
                      <a:pt x="12" y="119"/>
                      <a:pt x="12" y="120"/>
                      <a:pt x="12" y="120"/>
                    </a:cubicBezTo>
                    <a:cubicBezTo>
                      <a:pt x="15" y="119"/>
                      <a:pt x="18" y="117"/>
                      <a:pt x="20" y="117"/>
                    </a:cubicBezTo>
                    <a:cubicBezTo>
                      <a:pt x="20" y="117"/>
                      <a:pt x="20" y="117"/>
                      <a:pt x="20" y="117"/>
                    </a:cubicBezTo>
                    <a:cubicBezTo>
                      <a:pt x="24" y="117"/>
                      <a:pt x="33" y="119"/>
                      <a:pt x="36" y="121"/>
                    </a:cubicBezTo>
                    <a:cubicBezTo>
                      <a:pt x="40" y="124"/>
                      <a:pt x="47" y="127"/>
                      <a:pt x="47" y="132"/>
                    </a:cubicBezTo>
                    <a:cubicBezTo>
                      <a:pt x="48" y="127"/>
                      <a:pt x="47" y="130"/>
                      <a:pt x="50" y="128"/>
                    </a:cubicBezTo>
                    <a:cubicBezTo>
                      <a:pt x="51" y="127"/>
                      <a:pt x="53" y="128"/>
                      <a:pt x="52" y="126"/>
                    </a:cubicBezTo>
                    <a:cubicBezTo>
                      <a:pt x="57" y="128"/>
                      <a:pt x="61" y="130"/>
                      <a:pt x="66" y="133"/>
                    </a:cubicBezTo>
                    <a:cubicBezTo>
                      <a:pt x="62" y="137"/>
                      <a:pt x="67" y="140"/>
                      <a:pt x="71" y="140"/>
                    </a:cubicBezTo>
                    <a:cubicBezTo>
                      <a:pt x="72" y="140"/>
                      <a:pt x="73" y="140"/>
                      <a:pt x="73" y="139"/>
                    </a:cubicBezTo>
                    <a:cubicBezTo>
                      <a:pt x="75" y="139"/>
                      <a:pt x="75" y="138"/>
                      <a:pt x="77" y="138"/>
                    </a:cubicBezTo>
                    <a:cubicBezTo>
                      <a:pt x="78" y="138"/>
                      <a:pt x="78" y="138"/>
                      <a:pt x="78" y="138"/>
                    </a:cubicBezTo>
                    <a:cubicBezTo>
                      <a:pt x="81" y="138"/>
                      <a:pt x="83" y="139"/>
                      <a:pt x="85" y="141"/>
                    </a:cubicBezTo>
                    <a:cubicBezTo>
                      <a:pt x="82" y="141"/>
                      <a:pt x="82" y="139"/>
                      <a:pt x="79" y="139"/>
                    </a:cubicBezTo>
                    <a:cubicBezTo>
                      <a:pt x="79" y="139"/>
                      <a:pt x="79" y="139"/>
                      <a:pt x="78" y="139"/>
                    </a:cubicBezTo>
                    <a:cubicBezTo>
                      <a:pt x="75" y="139"/>
                      <a:pt x="75" y="142"/>
                      <a:pt x="73" y="144"/>
                    </a:cubicBezTo>
                    <a:cubicBezTo>
                      <a:pt x="75" y="146"/>
                      <a:pt x="77" y="147"/>
                      <a:pt x="80" y="148"/>
                    </a:cubicBezTo>
                    <a:cubicBezTo>
                      <a:pt x="77" y="155"/>
                      <a:pt x="73" y="153"/>
                      <a:pt x="80" y="160"/>
                    </a:cubicBezTo>
                    <a:cubicBezTo>
                      <a:pt x="82" y="162"/>
                      <a:pt x="83" y="164"/>
                      <a:pt x="84" y="165"/>
                    </a:cubicBezTo>
                    <a:cubicBezTo>
                      <a:pt x="85" y="166"/>
                      <a:pt x="85" y="167"/>
                      <a:pt x="85" y="167"/>
                    </a:cubicBezTo>
                    <a:cubicBezTo>
                      <a:pt x="88" y="171"/>
                      <a:pt x="100" y="172"/>
                      <a:pt x="105" y="174"/>
                    </a:cubicBezTo>
                    <a:cubicBezTo>
                      <a:pt x="101" y="179"/>
                      <a:pt x="102" y="180"/>
                      <a:pt x="104" y="187"/>
                    </a:cubicBezTo>
                    <a:cubicBezTo>
                      <a:pt x="105" y="190"/>
                      <a:pt x="103" y="190"/>
                      <a:pt x="104" y="193"/>
                    </a:cubicBezTo>
                    <a:cubicBezTo>
                      <a:pt x="104" y="192"/>
                      <a:pt x="103" y="192"/>
                      <a:pt x="103" y="192"/>
                    </a:cubicBezTo>
                    <a:cubicBezTo>
                      <a:pt x="102" y="192"/>
                      <a:pt x="102" y="192"/>
                      <a:pt x="101" y="193"/>
                    </a:cubicBezTo>
                    <a:cubicBezTo>
                      <a:pt x="100" y="195"/>
                      <a:pt x="103" y="198"/>
                      <a:pt x="106" y="200"/>
                    </a:cubicBezTo>
                    <a:cubicBezTo>
                      <a:pt x="105" y="200"/>
                      <a:pt x="105" y="201"/>
                      <a:pt x="104" y="202"/>
                    </a:cubicBezTo>
                    <a:cubicBezTo>
                      <a:pt x="103" y="205"/>
                      <a:pt x="104" y="213"/>
                      <a:pt x="104" y="216"/>
                    </a:cubicBezTo>
                    <a:cubicBezTo>
                      <a:pt x="104" y="220"/>
                      <a:pt x="104" y="224"/>
                      <a:pt x="105" y="228"/>
                    </a:cubicBezTo>
                    <a:cubicBezTo>
                      <a:pt x="105" y="230"/>
                      <a:pt x="107" y="230"/>
                      <a:pt x="107" y="231"/>
                    </a:cubicBezTo>
                    <a:cubicBezTo>
                      <a:pt x="106" y="234"/>
                      <a:pt x="102" y="236"/>
                      <a:pt x="101" y="239"/>
                    </a:cubicBezTo>
                    <a:cubicBezTo>
                      <a:pt x="99" y="241"/>
                      <a:pt x="99" y="245"/>
                      <a:pt x="98" y="248"/>
                    </a:cubicBezTo>
                    <a:cubicBezTo>
                      <a:pt x="97" y="256"/>
                      <a:pt x="97" y="268"/>
                      <a:pt x="91" y="273"/>
                    </a:cubicBezTo>
                    <a:cubicBezTo>
                      <a:pt x="90" y="274"/>
                      <a:pt x="89" y="275"/>
                      <a:pt x="88" y="275"/>
                    </a:cubicBezTo>
                    <a:cubicBezTo>
                      <a:pt x="89" y="276"/>
                      <a:pt x="90" y="276"/>
                      <a:pt x="91" y="277"/>
                    </a:cubicBezTo>
                    <a:cubicBezTo>
                      <a:pt x="91" y="276"/>
                      <a:pt x="92" y="276"/>
                      <a:pt x="93" y="276"/>
                    </a:cubicBezTo>
                    <a:cubicBezTo>
                      <a:pt x="96" y="276"/>
                      <a:pt x="99" y="278"/>
                      <a:pt x="100" y="280"/>
                    </a:cubicBezTo>
                    <a:cubicBezTo>
                      <a:pt x="101" y="282"/>
                      <a:pt x="100" y="284"/>
                      <a:pt x="100" y="286"/>
                    </a:cubicBezTo>
                    <a:cubicBezTo>
                      <a:pt x="100" y="286"/>
                      <a:pt x="100" y="286"/>
                      <a:pt x="100" y="286"/>
                    </a:cubicBezTo>
                    <a:cubicBezTo>
                      <a:pt x="102" y="286"/>
                      <a:pt x="103" y="286"/>
                      <a:pt x="103" y="286"/>
                    </a:cubicBezTo>
                    <a:cubicBezTo>
                      <a:pt x="104" y="286"/>
                      <a:pt x="106" y="286"/>
                      <a:pt x="107" y="287"/>
                    </a:cubicBezTo>
                    <a:cubicBezTo>
                      <a:pt x="107" y="287"/>
                      <a:pt x="107" y="287"/>
                      <a:pt x="107" y="287"/>
                    </a:cubicBezTo>
                    <a:cubicBezTo>
                      <a:pt x="109" y="287"/>
                      <a:pt x="112" y="287"/>
                      <a:pt x="114" y="288"/>
                    </a:cubicBezTo>
                    <a:cubicBezTo>
                      <a:pt x="115" y="288"/>
                      <a:pt x="116" y="289"/>
                      <a:pt x="116" y="289"/>
                    </a:cubicBezTo>
                    <a:cubicBezTo>
                      <a:pt x="117" y="289"/>
                      <a:pt x="117" y="289"/>
                      <a:pt x="117" y="289"/>
                    </a:cubicBezTo>
                    <a:cubicBezTo>
                      <a:pt x="119" y="290"/>
                      <a:pt x="120" y="292"/>
                      <a:pt x="121" y="292"/>
                    </a:cubicBezTo>
                    <a:cubicBezTo>
                      <a:pt x="122" y="293"/>
                      <a:pt x="122" y="293"/>
                      <a:pt x="122" y="293"/>
                    </a:cubicBezTo>
                    <a:cubicBezTo>
                      <a:pt x="122" y="293"/>
                      <a:pt x="122" y="293"/>
                      <a:pt x="122" y="293"/>
                    </a:cubicBezTo>
                    <a:cubicBezTo>
                      <a:pt x="122" y="293"/>
                      <a:pt x="123" y="293"/>
                      <a:pt x="123" y="293"/>
                    </a:cubicBezTo>
                    <a:cubicBezTo>
                      <a:pt x="125" y="292"/>
                      <a:pt x="126" y="292"/>
                      <a:pt x="127" y="292"/>
                    </a:cubicBezTo>
                    <a:cubicBezTo>
                      <a:pt x="127" y="292"/>
                      <a:pt x="128" y="292"/>
                      <a:pt x="128" y="292"/>
                    </a:cubicBezTo>
                    <a:cubicBezTo>
                      <a:pt x="129" y="292"/>
                      <a:pt x="129" y="292"/>
                      <a:pt x="129" y="292"/>
                    </a:cubicBezTo>
                    <a:cubicBezTo>
                      <a:pt x="129" y="292"/>
                      <a:pt x="130" y="293"/>
                      <a:pt x="131" y="293"/>
                    </a:cubicBezTo>
                    <a:cubicBezTo>
                      <a:pt x="131" y="294"/>
                      <a:pt x="132" y="294"/>
                      <a:pt x="133" y="295"/>
                    </a:cubicBezTo>
                    <a:cubicBezTo>
                      <a:pt x="134" y="295"/>
                      <a:pt x="135" y="296"/>
                      <a:pt x="136" y="297"/>
                    </a:cubicBezTo>
                    <a:cubicBezTo>
                      <a:pt x="137" y="297"/>
                      <a:pt x="137" y="297"/>
                      <a:pt x="137" y="297"/>
                    </a:cubicBezTo>
                    <a:cubicBezTo>
                      <a:pt x="142" y="297"/>
                      <a:pt x="142" y="297"/>
                      <a:pt x="142" y="297"/>
                    </a:cubicBezTo>
                    <a:cubicBezTo>
                      <a:pt x="144" y="297"/>
                      <a:pt x="147" y="297"/>
                      <a:pt x="149" y="297"/>
                    </a:cubicBezTo>
                    <a:cubicBezTo>
                      <a:pt x="150" y="297"/>
                      <a:pt x="151" y="297"/>
                      <a:pt x="152" y="297"/>
                    </a:cubicBezTo>
                    <a:cubicBezTo>
                      <a:pt x="152" y="295"/>
                      <a:pt x="152" y="294"/>
                      <a:pt x="154" y="292"/>
                    </a:cubicBezTo>
                    <a:cubicBezTo>
                      <a:pt x="154" y="292"/>
                      <a:pt x="155" y="291"/>
                      <a:pt x="157" y="291"/>
                    </a:cubicBezTo>
                    <a:cubicBezTo>
                      <a:pt x="157" y="291"/>
                      <a:pt x="158" y="291"/>
                      <a:pt x="159" y="292"/>
                    </a:cubicBezTo>
                    <a:cubicBezTo>
                      <a:pt x="160" y="292"/>
                      <a:pt x="162" y="293"/>
                      <a:pt x="164" y="294"/>
                    </a:cubicBezTo>
                    <a:cubicBezTo>
                      <a:pt x="167" y="295"/>
                      <a:pt x="167" y="295"/>
                      <a:pt x="167" y="295"/>
                    </a:cubicBezTo>
                    <a:cubicBezTo>
                      <a:pt x="168" y="295"/>
                      <a:pt x="169" y="296"/>
                      <a:pt x="169" y="296"/>
                    </a:cubicBezTo>
                    <a:cubicBezTo>
                      <a:pt x="175" y="299"/>
                      <a:pt x="180" y="300"/>
                      <a:pt x="187" y="301"/>
                    </a:cubicBezTo>
                    <a:cubicBezTo>
                      <a:pt x="192" y="302"/>
                      <a:pt x="192" y="302"/>
                      <a:pt x="192" y="302"/>
                    </a:cubicBezTo>
                    <a:cubicBezTo>
                      <a:pt x="190" y="305"/>
                      <a:pt x="190" y="305"/>
                      <a:pt x="190" y="305"/>
                    </a:cubicBezTo>
                    <a:cubicBezTo>
                      <a:pt x="191" y="306"/>
                      <a:pt x="191" y="306"/>
                      <a:pt x="191" y="306"/>
                    </a:cubicBezTo>
                    <a:cubicBezTo>
                      <a:pt x="192" y="306"/>
                      <a:pt x="192" y="306"/>
                      <a:pt x="192" y="306"/>
                    </a:cubicBezTo>
                    <a:cubicBezTo>
                      <a:pt x="192" y="306"/>
                      <a:pt x="193" y="306"/>
                      <a:pt x="193" y="306"/>
                    </a:cubicBezTo>
                    <a:cubicBezTo>
                      <a:pt x="195" y="307"/>
                      <a:pt x="199" y="308"/>
                      <a:pt x="206" y="309"/>
                    </a:cubicBezTo>
                    <a:cubicBezTo>
                      <a:pt x="207" y="309"/>
                      <a:pt x="208" y="309"/>
                      <a:pt x="208" y="309"/>
                    </a:cubicBezTo>
                    <a:cubicBezTo>
                      <a:pt x="209" y="309"/>
                      <a:pt x="210" y="309"/>
                      <a:pt x="211" y="309"/>
                    </a:cubicBezTo>
                    <a:cubicBezTo>
                      <a:pt x="211" y="309"/>
                      <a:pt x="211" y="309"/>
                      <a:pt x="211" y="309"/>
                    </a:cubicBezTo>
                    <a:cubicBezTo>
                      <a:pt x="212" y="309"/>
                      <a:pt x="212" y="308"/>
                      <a:pt x="213" y="308"/>
                    </a:cubicBezTo>
                    <a:cubicBezTo>
                      <a:pt x="226" y="306"/>
                      <a:pt x="226" y="306"/>
                      <a:pt x="226" y="306"/>
                    </a:cubicBezTo>
                    <a:cubicBezTo>
                      <a:pt x="225" y="302"/>
                      <a:pt x="224" y="299"/>
                      <a:pt x="223" y="296"/>
                    </a:cubicBezTo>
                    <a:cubicBezTo>
                      <a:pt x="222" y="295"/>
                      <a:pt x="221" y="295"/>
                      <a:pt x="221" y="294"/>
                    </a:cubicBezTo>
                    <a:cubicBezTo>
                      <a:pt x="223" y="292"/>
                      <a:pt x="224" y="289"/>
                      <a:pt x="225" y="287"/>
                    </a:cubicBezTo>
                    <a:cubicBezTo>
                      <a:pt x="230" y="280"/>
                      <a:pt x="238" y="277"/>
                      <a:pt x="246" y="274"/>
                    </a:cubicBezTo>
                    <a:cubicBezTo>
                      <a:pt x="248" y="272"/>
                      <a:pt x="250" y="271"/>
                      <a:pt x="252" y="271"/>
                    </a:cubicBezTo>
                    <a:cubicBezTo>
                      <a:pt x="253" y="271"/>
                      <a:pt x="254" y="271"/>
                      <a:pt x="254" y="272"/>
                    </a:cubicBezTo>
                    <a:cubicBezTo>
                      <a:pt x="257" y="273"/>
                      <a:pt x="259" y="273"/>
                      <a:pt x="262" y="273"/>
                    </a:cubicBezTo>
                    <a:cubicBezTo>
                      <a:pt x="263" y="273"/>
                      <a:pt x="263" y="273"/>
                      <a:pt x="264" y="273"/>
                    </a:cubicBezTo>
                    <a:cubicBezTo>
                      <a:pt x="265" y="273"/>
                      <a:pt x="265" y="273"/>
                      <a:pt x="266" y="273"/>
                    </a:cubicBezTo>
                    <a:cubicBezTo>
                      <a:pt x="266" y="273"/>
                      <a:pt x="266" y="273"/>
                      <a:pt x="267" y="273"/>
                    </a:cubicBezTo>
                    <a:cubicBezTo>
                      <a:pt x="267" y="273"/>
                      <a:pt x="267" y="273"/>
                      <a:pt x="267" y="273"/>
                    </a:cubicBezTo>
                    <a:cubicBezTo>
                      <a:pt x="268" y="273"/>
                      <a:pt x="269" y="273"/>
                      <a:pt x="270" y="273"/>
                    </a:cubicBezTo>
                    <a:cubicBezTo>
                      <a:pt x="270" y="273"/>
                      <a:pt x="270" y="273"/>
                      <a:pt x="270" y="273"/>
                    </a:cubicBezTo>
                    <a:cubicBezTo>
                      <a:pt x="271" y="273"/>
                      <a:pt x="270" y="275"/>
                      <a:pt x="271" y="275"/>
                    </a:cubicBezTo>
                    <a:cubicBezTo>
                      <a:pt x="272" y="275"/>
                      <a:pt x="273" y="275"/>
                      <a:pt x="274" y="275"/>
                    </a:cubicBezTo>
                    <a:cubicBezTo>
                      <a:pt x="276" y="275"/>
                      <a:pt x="278" y="275"/>
                      <a:pt x="279" y="275"/>
                    </a:cubicBezTo>
                    <a:cubicBezTo>
                      <a:pt x="278" y="277"/>
                      <a:pt x="279" y="277"/>
                      <a:pt x="281" y="277"/>
                    </a:cubicBezTo>
                    <a:cubicBezTo>
                      <a:pt x="282" y="277"/>
                      <a:pt x="283" y="277"/>
                      <a:pt x="283" y="277"/>
                    </a:cubicBezTo>
                    <a:cubicBezTo>
                      <a:pt x="284" y="277"/>
                      <a:pt x="285" y="277"/>
                      <a:pt x="286" y="277"/>
                    </a:cubicBezTo>
                    <a:cubicBezTo>
                      <a:pt x="286" y="277"/>
                      <a:pt x="287" y="277"/>
                      <a:pt x="287" y="278"/>
                    </a:cubicBezTo>
                    <a:cubicBezTo>
                      <a:pt x="288" y="278"/>
                      <a:pt x="288" y="282"/>
                      <a:pt x="289" y="282"/>
                    </a:cubicBezTo>
                    <a:cubicBezTo>
                      <a:pt x="291" y="282"/>
                      <a:pt x="293" y="283"/>
                      <a:pt x="296" y="283"/>
                    </a:cubicBezTo>
                    <a:cubicBezTo>
                      <a:pt x="298" y="283"/>
                      <a:pt x="299" y="284"/>
                      <a:pt x="300" y="285"/>
                    </a:cubicBezTo>
                    <a:cubicBezTo>
                      <a:pt x="301" y="285"/>
                      <a:pt x="301" y="286"/>
                      <a:pt x="301" y="286"/>
                    </a:cubicBezTo>
                    <a:cubicBezTo>
                      <a:pt x="301" y="286"/>
                      <a:pt x="301" y="286"/>
                      <a:pt x="301" y="286"/>
                    </a:cubicBezTo>
                    <a:cubicBezTo>
                      <a:pt x="302" y="287"/>
                      <a:pt x="302" y="287"/>
                      <a:pt x="303" y="287"/>
                    </a:cubicBezTo>
                    <a:cubicBezTo>
                      <a:pt x="304" y="287"/>
                      <a:pt x="305" y="287"/>
                      <a:pt x="307" y="287"/>
                    </a:cubicBezTo>
                    <a:cubicBezTo>
                      <a:pt x="307" y="287"/>
                      <a:pt x="308" y="286"/>
                      <a:pt x="309" y="286"/>
                    </a:cubicBezTo>
                    <a:cubicBezTo>
                      <a:pt x="310" y="286"/>
                      <a:pt x="311" y="287"/>
                      <a:pt x="310" y="288"/>
                    </a:cubicBezTo>
                    <a:cubicBezTo>
                      <a:pt x="310" y="288"/>
                      <a:pt x="310" y="288"/>
                      <a:pt x="310" y="288"/>
                    </a:cubicBezTo>
                    <a:cubicBezTo>
                      <a:pt x="319" y="288"/>
                      <a:pt x="325" y="279"/>
                      <a:pt x="331" y="274"/>
                    </a:cubicBezTo>
                    <a:cubicBezTo>
                      <a:pt x="334" y="271"/>
                      <a:pt x="335" y="271"/>
                      <a:pt x="338" y="270"/>
                    </a:cubicBezTo>
                    <a:cubicBezTo>
                      <a:pt x="341" y="270"/>
                      <a:pt x="344" y="267"/>
                      <a:pt x="346" y="265"/>
                    </a:cubicBezTo>
                    <a:cubicBezTo>
                      <a:pt x="347" y="264"/>
                      <a:pt x="348" y="264"/>
                      <a:pt x="348" y="263"/>
                    </a:cubicBezTo>
                    <a:cubicBezTo>
                      <a:pt x="347" y="263"/>
                      <a:pt x="347" y="263"/>
                      <a:pt x="347" y="263"/>
                    </a:cubicBezTo>
                    <a:cubicBezTo>
                      <a:pt x="347" y="261"/>
                      <a:pt x="347" y="261"/>
                      <a:pt x="347" y="261"/>
                    </a:cubicBezTo>
                    <a:cubicBezTo>
                      <a:pt x="348" y="260"/>
                      <a:pt x="349" y="258"/>
                      <a:pt x="349" y="257"/>
                    </a:cubicBezTo>
                    <a:cubicBezTo>
                      <a:pt x="350" y="256"/>
                      <a:pt x="350" y="256"/>
                      <a:pt x="350" y="256"/>
                    </a:cubicBezTo>
                    <a:cubicBezTo>
                      <a:pt x="350" y="255"/>
                      <a:pt x="350" y="255"/>
                      <a:pt x="351" y="254"/>
                    </a:cubicBezTo>
                    <a:cubicBezTo>
                      <a:pt x="333" y="247"/>
                      <a:pt x="333" y="247"/>
                      <a:pt x="333" y="247"/>
                    </a:cubicBezTo>
                    <a:cubicBezTo>
                      <a:pt x="331" y="246"/>
                      <a:pt x="329" y="243"/>
                      <a:pt x="329" y="240"/>
                    </a:cubicBezTo>
                    <a:cubicBezTo>
                      <a:pt x="328" y="237"/>
                      <a:pt x="330" y="233"/>
                      <a:pt x="332" y="230"/>
                    </a:cubicBezTo>
                    <a:cubicBezTo>
                      <a:pt x="319" y="214"/>
                      <a:pt x="319" y="214"/>
                      <a:pt x="319" y="214"/>
                    </a:cubicBezTo>
                    <a:cubicBezTo>
                      <a:pt x="324" y="213"/>
                      <a:pt x="324" y="213"/>
                      <a:pt x="324" y="213"/>
                    </a:cubicBezTo>
                    <a:cubicBezTo>
                      <a:pt x="325" y="212"/>
                      <a:pt x="326" y="212"/>
                      <a:pt x="328" y="211"/>
                    </a:cubicBezTo>
                    <a:cubicBezTo>
                      <a:pt x="330" y="211"/>
                      <a:pt x="333" y="210"/>
                      <a:pt x="335" y="209"/>
                    </a:cubicBezTo>
                    <a:cubicBezTo>
                      <a:pt x="335" y="209"/>
                      <a:pt x="335" y="208"/>
                      <a:pt x="335" y="207"/>
                    </a:cubicBezTo>
                    <a:cubicBezTo>
                      <a:pt x="335" y="207"/>
                      <a:pt x="336" y="207"/>
                      <a:pt x="336" y="206"/>
                    </a:cubicBezTo>
                    <a:cubicBezTo>
                      <a:pt x="335" y="206"/>
                      <a:pt x="335" y="205"/>
                      <a:pt x="334" y="205"/>
                    </a:cubicBezTo>
                    <a:cubicBezTo>
                      <a:pt x="328" y="197"/>
                      <a:pt x="328" y="197"/>
                      <a:pt x="328" y="197"/>
                    </a:cubicBezTo>
                    <a:cubicBezTo>
                      <a:pt x="327" y="195"/>
                      <a:pt x="326" y="193"/>
                      <a:pt x="327" y="192"/>
                    </a:cubicBezTo>
                    <a:cubicBezTo>
                      <a:pt x="327" y="189"/>
                      <a:pt x="330" y="188"/>
                      <a:pt x="331" y="187"/>
                    </a:cubicBezTo>
                    <a:cubicBezTo>
                      <a:pt x="332" y="186"/>
                      <a:pt x="332" y="186"/>
                      <a:pt x="332" y="186"/>
                    </a:cubicBezTo>
                    <a:cubicBezTo>
                      <a:pt x="331" y="186"/>
                      <a:pt x="331" y="186"/>
                      <a:pt x="331" y="185"/>
                    </a:cubicBezTo>
                    <a:cubicBezTo>
                      <a:pt x="330" y="185"/>
                      <a:pt x="330" y="185"/>
                      <a:pt x="330" y="185"/>
                    </a:cubicBezTo>
                    <a:cubicBezTo>
                      <a:pt x="327" y="181"/>
                      <a:pt x="327" y="180"/>
                      <a:pt x="327" y="179"/>
                    </a:cubicBezTo>
                    <a:cubicBezTo>
                      <a:pt x="327" y="179"/>
                      <a:pt x="327" y="178"/>
                      <a:pt x="327" y="177"/>
                    </a:cubicBezTo>
                    <a:cubicBezTo>
                      <a:pt x="327" y="174"/>
                      <a:pt x="327" y="173"/>
                      <a:pt x="327" y="172"/>
                    </a:cubicBezTo>
                    <a:cubicBezTo>
                      <a:pt x="327" y="172"/>
                      <a:pt x="326" y="172"/>
                      <a:pt x="325" y="172"/>
                    </a:cubicBezTo>
                    <a:cubicBezTo>
                      <a:pt x="325" y="172"/>
                      <a:pt x="325" y="172"/>
                      <a:pt x="324" y="172"/>
                    </a:cubicBezTo>
                    <a:cubicBezTo>
                      <a:pt x="324" y="172"/>
                      <a:pt x="324" y="172"/>
                      <a:pt x="324" y="172"/>
                    </a:cubicBezTo>
                    <a:cubicBezTo>
                      <a:pt x="323" y="172"/>
                      <a:pt x="322" y="172"/>
                      <a:pt x="321" y="173"/>
                    </a:cubicBezTo>
                    <a:cubicBezTo>
                      <a:pt x="321" y="173"/>
                      <a:pt x="321" y="173"/>
                      <a:pt x="321" y="173"/>
                    </a:cubicBezTo>
                    <a:cubicBezTo>
                      <a:pt x="320" y="173"/>
                      <a:pt x="319" y="174"/>
                      <a:pt x="318" y="174"/>
                    </a:cubicBezTo>
                    <a:cubicBezTo>
                      <a:pt x="317" y="173"/>
                      <a:pt x="317" y="173"/>
                      <a:pt x="317" y="173"/>
                    </a:cubicBezTo>
                    <a:cubicBezTo>
                      <a:pt x="318" y="174"/>
                      <a:pt x="318" y="174"/>
                      <a:pt x="318" y="174"/>
                    </a:cubicBezTo>
                    <a:cubicBezTo>
                      <a:pt x="316" y="176"/>
                      <a:pt x="314" y="178"/>
                      <a:pt x="312" y="179"/>
                    </a:cubicBezTo>
                    <a:cubicBezTo>
                      <a:pt x="310" y="181"/>
                      <a:pt x="310" y="181"/>
                      <a:pt x="310" y="181"/>
                    </a:cubicBezTo>
                    <a:cubicBezTo>
                      <a:pt x="310" y="181"/>
                      <a:pt x="309" y="182"/>
                      <a:pt x="308" y="183"/>
                    </a:cubicBezTo>
                    <a:cubicBezTo>
                      <a:pt x="307" y="183"/>
                      <a:pt x="307" y="183"/>
                      <a:pt x="307" y="183"/>
                    </a:cubicBezTo>
                    <a:cubicBezTo>
                      <a:pt x="303" y="179"/>
                      <a:pt x="303" y="179"/>
                      <a:pt x="303" y="179"/>
                    </a:cubicBezTo>
                    <a:cubicBezTo>
                      <a:pt x="303" y="178"/>
                      <a:pt x="303" y="178"/>
                      <a:pt x="303" y="178"/>
                    </a:cubicBezTo>
                    <a:cubicBezTo>
                      <a:pt x="303" y="177"/>
                      <a:pt x="304" y="177"/>
                      <a:pt x="304" y="176"/>
                    </a:cubicBezTo>
                    <a:cubicBezTo>
                      <a:pt x="305" y="176"/>
                      <a:pt x="305" y="176"/>
                      <a:pt x="305" y="176"/>
                    </a:cubicBezTo>
                    <a:cubicBezTo>
                      <a:pt x="306" y="174"/>
                      <a:pt x="307" y="173"/>
                      <a:pt x="307" y="173"/>
                    </a:cubicBezTo>
                    <a:cubicBezTo>
                      <a:pt x="307" y="172"/>
                      <a:pt x="307" y="172"/>
                      <a:pt x="307" y="172"/>
                    </a:cubicBezTo>
                    <a:cubicBezTo>
                      <a:pt x="305" y="170"/>
                      <a:pt x="306" y="168"/>
                      <a:pt x="307" y="166"/>
                    </a:cubicBezTo>
                    <a:cubicBezTo>
                      <a:pt x="309" y="162"/>
                      <a:pt x="312" y="159"/>
                      <a:pt x="315" y="156"/>
                    </a:cubicBezTo>
                    <a:cubicBezTo>
                      <a:pt x="316" y="154"/>
                      <a:pt x="316" y="154"/>
                      <a:pt x="316" y="154"/>
                    </a:cubicBezTo>
                    <a:cubicBezTo>
                      <a:pt x="317" y="154"/>
                      <a:pt x="317" y="152"/>
                      <a:pt x="317" y="151"/>
                    </a:cubicBezTo>
                    <a:cubicBezTo>
                      <a:pt x="317" y="150"/>
                      <a:pt x="317" y="150"/>
                      <a:pt x="317" y="150"/>
                    </a:cubicBezTo>
                    <a:cubicBezTo>
                      <a:pt x="318" y="149"/>
                      <a:pt x="318" y="148"/>
                      <a:pt x="319" y="147"/>
                    </a:cubicBezTo>
                    <a:cubicBezTo>
                      <a:pt x="320" y="146"/>
                      <a:pt x="322" y="145"/>
                      <a:pt x="323" y="144"/>
                    </a:cubicBezTo>
                    <a:cubicBezTo>
                      <a:pt x="324" y="144"/>
                      <a:pt x="325" y="144"/>
                      <a:pt x="325" y="143"/>
                    </a:cubicBezTo>
                    <a:cubicBezTo>
                      <a:pt x="327" y="142"/>
                      <a:pt x="329" y="141"/>
                      <a:pt x="330" y="139"/>
                    </a:cubicBezTo>
                    <a:cubicBezTo>
                      <a:pt x="326" y="138"/>
                      <a:pt x="326" y="138"/>
                      <a:pt x="326" y="138"/>
                    </a:cubicBezTo>
                    <a:cubicBezTo>
                      <a:pt x="330" y="133"/>
                      <a:pt x="330" y="133"/>
                      <a:pt x="330" y="133"/>
                    </a:cubicBezTo>
                    <a:cubicBezTo>
                      <a:pt x="332" y="131"/>
                      <a:pt x="333" y="129"/>
                      <a:pt x="336" y="128"/>
                    </a:cubicBezTo>
                    <a:cubicBezTo>
                      <a:pt x="337" y="128"/>
                      <a:pt x="337" y="128"/>
                      <a:pt x="337" y="128"/>
                    </a:cubicBezTo>
                    <a:cubicBezTo>
                      <a:pt x="339" y="128"/>
                      <a:pt x="341" y="129"/>
                      <a:pt x="342" y="130"/>
                    </a:cubicBezTo>
                    <a:cubicBezTo>
                      <a:pt x="343" y="130"/>
                      <a:pt x="343" y="130"/>
                      <a:pt x="343" y="130"/>
                    </a:cubicBezTo>
                    <a:cubicBezTo>
                      <a:pt x="344" y="131"/>
                      <a:pt x="344" y="131"/>
                      <a:pt x="344" y="131"/>
                    </a:cubicBezTo>
                    <a:cubicBezTo>
                      <a:pt x="344" y="130"/>
                      <a:pt x="344" y="130"/>
                      <a:pt x="344" y="130"/>
                    </a:cubicBezTo>
                    <a:cubicBezTo>
                      <a:pt x="344" y="130"/>
                      <a:pt x="344" y="130"/>
                      <a:pt x="344" y="130"/>
                    </a:cubicBezTo>
                    <a:cubicBezTo>
                      <a:pt x="345" y="130"/>
                      <a:pt x="345" y="130"/>
                      <a:pt x="346" y="130"/>
                    </a:cubicBezTo>
                    <a:cubicBezTo>
                      <a:pt x="346" y="130"/>
                      <a:pt x="346" y="130"/>
                      <a:pt x="346" y="130"/>
                    </a:cubicBezTo>
                    <a:cubicBezTo>
                      <a:pt x="347" y="129"/>
                      <a:pt x="347" y="128"/>
                      <a:pt x="347" y="127"/>
                    </a:cubicBezTo>
                    <a:cubicBezTo>
                      <a:pt x="347" y="126"/>
                      <a:pt x="347" y="126"/>
                      <a:pt x="347" y="126"/>
                    </a:cubicBezTo>
                    <a:cubicBezTo>
                      <a:pt x="348" y="126"/>
                      <a:pt x="348" y="126"/>
                      <a:pt x="348" y="126"/>
                    </a:cubicBezTo>
                    <a:cubicBezTo>
                      <a:pt x="348" y="125"/>
                      <a:pt x="347" y="124"/>
                      <a:pt x="347" y="123"/>
                    </a:cubicBezTo>
                    <a:cubicBezTo>
                      <a:pt x="347" y="122"/>
                      <a:pt x="347" y="120"/>
                      <a:pt x="347" y="119"/>
                    </a:cubicBezTo>
                    <a:cubicBezTo>
                      <a:pt x="347" y="118"/>
                      <a:pt x="347" y="117"/>
                      <a:pt x="347" y="116"/>
                    </a:cubicBezTo>
                    <a:cubicBezTo>
                      <a:pt x="347" y="114"/>
                      <a:pt x="347" y="114"/>
                      <a:pt x="347" y="114"/>
                    </a:cubicBezTo>
                    <a:cubicBezTo>
                      <a:pt x="347" y="114"/>
                      <a:pt x="347" y="114"/>
                      <a:pt x="347" y="114"/>
                    </a:cubicBezTo>
                    <a:cubicBezTo>
                      <a:pt x="347" y="113"/>
                      <a:pt x="347" y="113"/>
                      <a:pt x="347" y="112"/>
                    </a:cubicBezTo>
                    <a:cubicBezTo>
                      <a:pt x="347" y="112"/>
                      <a:pt x="347" y="112"/>
                      <a:pt x="347" y="112"/>
                    </a:cubicBezTo>
                    <a:cubicBezTo>
                      <a:pt x="348" y="111"/>
                      <a:pt x="348" y="110"/>
                      <a:pt x="348" y="109"/>
                    </a:cubicBezTo>
                    <a:cubicBezTo>
                      <a:pt x="348" y="108"/>
                      <a:pt x="348" y="107"/>
                      <a:pt x="349" y="107"/>
                    </a:cubicBezTo>
                    <a:cubicBezTo>
                      <a:pt x="350" y="105"/>
                      <a:pt x="351" y="103"/>
                      <a:pt x="353" y="100"/>
                    </a:cubicBezTo>
                    <a:cubicBezTo>
                      <a:pt x="353" y="99"/>
                      <a:pt x="353" y="99"/>
                      <a:pt x="353" y="99"/>
                    </a:cubicBezTo>
                    <a:cubicBezTo>
                      <a:pt x="353" y="99"/>
                      <a:pt x="353" y="99"/>
                      <a:pt x="353" y="99"/>
                    </a:cubicBezTo>
                    <a:cubicBezTo>
                      <a:pt x="357" y="91"/>
                      <a:pt x="359" y="86"/>
                      <a:pt x="364" y="80"/>
                    </a:cubicBezTo>
                    <a:cubicBezTo>
                      <a:pt x="363" y="79"/>
                      <a:pt x="363" y="79"/>
                      <a:pt x="363" y="79"/>
                    </a:cubicBezTo>
                    <a:cubicBezTo>
                      <a:pt x="362" y="79"/>
                      <a:pt x="361" y="79"/>
                      <a:pt x="360" y="79"/>
                    </a:cubicBezTo>
                    <a:cubicBezTo>
                      <a:pt x="360" y="79"/>
                      <a:pt x="359" y="78"/>
                      <a:pt x="359" y="78"/>
                    </a:cubicBezTo>
                    <a:cubicBezTo>
                      <a:pt x="358" y="78"/>
                      <a:pt x="358" y="79"/>
                      <a:pt x="357" y="79"/>
                    </a:cubicBezTo>
                    <a:cubicBezTo>
                      <a:pt x="356" y="79"/>
                      <a:pt x="356" y="79"/>
                      <a:pt x="356" y="79"/>
                    </a:cubicBezTo>
                    <a:cubicBezTo>
                      <a:pt x="355" y="79"/>
                      <a:pt x="355" y="79"/>
                      <a:pt x="355" y="79"/>
                    </a:cubicBezTo>
                    <a:cubicBezTo>
                      <a:pt x="355" y="79"/>
                      <a:pt x="355" y="79"/>
                      <a:pt x="355" y="79"/>
                    </a:cubicBezTo>
                    <a:cubicBezTo>
                      <a:pt x="354" y="79"/>
                      <a:pt x="354" y="78"/>
                      <a:pt x="353" y="78"/>
                    </a:cubicBezTo>
                    <a:cubicBezTo>
                      <a:pt x="353" y="78"/>
                      <a:pt x="353" y="78"/>
                      <a:pt x="353" y="78"/>
                    </a:cubicBezTo>
                    <a:cubicBezTo>
                      <a:pt x="352" y="78"/>
                      <a:pt x="352" y="78"/>
                      <a:pt x="351" y="78"/>
                    </a:cubicBezTo>
                    <a:cubicBezTo>
                      <a:pt x="350" y="77"/>
                      <a:pt x="350" y="77"/>
                      <a:pt x="349" y="76"/>
                    </a:cubicBezTo>
                    <a:cubicBezTo>
                      <a:pt x="348" y="75"/>
                      <a:pt x="346" y="74"/>
                      <a:pt x="345" y="74"/>
                    </a:cubicBezTo>
                    <a:cubicBezTo>
                      <a:pt x="345" y="74"/>
                      <a:pt x="345" y="74"/>
                      <a:pt x="345" y="74"/>
                    </a:cubicBezTo>
                    <a:cubicBezTo>
                      <a:pt x="342" y="74"/>
                      <a:pt x="342" y="74"/>
                      <a:pt x="342" y="74"/>
                    </a:cubicBezTo>
                    <a:cubicBezTo>
                      <a:pt x="341" y="74"/>
                      <a:pt x="341" y="74"/>
                      <a:pt x="340" y="75"/>
                    </a:cubicBezTo>
                    <a:cubicBezTo>
                      <a:pt x="339" y="75"/>
                      <a:pt x="339" y="75"/>
                      <a:pt x="339" y="75"/>
                    </a:cubicBezTo>
                    <a:cubicBezTo>
                      <a:pt x="339" y="75"/>
                      <a:pt x="339" y="75"/>
                      <a:pt x="338" y="75"/>
                    </a:cubicBezTo>
                    <a:cubicBezTo>
                      <a:pt x="337" y="75"/>
                      <a:pt x="335" y="74"/>
                      <a:pt x="334" y="74"/>
                    </a:cubicBezTo>
                    <a:cubicBezTo>
                      <a:pt x="333" y="74"/>
                      <a:pt x="333" y="74"/>
                      <a:pt x="332" y="74"/>
                    </a:cubicBezTo>
                    <a:cubicBezTo>
                      <a:pt x="332" y="73"/>
                      <a:pt x="332" y="73"/>
                      <a:pt x="332" y="73"/>
                    </a:cubicBezTo>
                    <a:cubicBezTo>
                      <a:pt x="329" y="73"/>
                      <a:pt x="326" y="72"/>
                      <a:pt x="323" y="69"/>
                    </a:cubicBezTo>
                    <a:cubicBezTo>
                      <a:pt x="323" y="68"/>
                      <a:pt x="323" y="68"/>
                      <a:pt x="323" y="68"/>
                    </a:cubicBezTo>
                    <a:cubicBezTo>
                      <a:pt x="322" y="68"/>
                      <a:pt x="322" y="67"/>
                      <a:pt x="321" y="66"/>
                    </a:cubicBezTo>
                    <a:cubicBezTo>
                      <a:pt x="320" y="66"/>
                      <a:pt x="320" y="66"/>
                      <a:pt x="320" y="66"/>
                    </a:cubicBezTo>
                    <a:cubicBezTo>
                      <a:pt x="320" y="66"/>
                      <a:pt x="320" y="66"/>
                      <a:pt x="320" y="66"/>
                    </a:cubicBezTo>
                    <a:cubicBezTo>
                      <a:pt x="314" y="62"/>
                      <a:pt x="314" y="62"/>
                      <a:pt x="314" y="62"/>
                    </a:cubicBezTo>
                    <a:cubicBezTo>
                      <a:pt x="313" y="62"/>
                      <a:pt x="313" y="62"/>
                      <a:pt x="312" y="62"/>
                    </a:cubicBezTo>
                    <a:cubicBezTo>
                      <a:pt x="312" y="62"/>
                      <a:pt x="311" y="62"/>
                      <a:pt x="311" y="62"/>
                    </a:cubicBezTo>
                    <a:cubicBezTo>
                      <a:pt x="309" y="62"/>
                      <a:pt x="309" y="62"/>
                      <a:pt x="309" y="62"/>
                    </a:cubicBezTo>
                    <a:cubicBezTo>
                      <a:pt x="307" y="61"/>
                      <a:pt x="305" y="61"/>
                      <a:pt x="303" y="61"/>
                    </a:cubicBezTo>
                    <a:cubicBezTo>
                      <a:pt x="301" y="60"/>
                      <a:pt x="301" y="60"/>
                      <a:pt x="301" y="60"/>
                    </a:cubicBezTo>
                    <a:cubicBezTo>
                      <a:pt x="301" y="60"/>
                      <a:pt x="301" y="60"/>
                      <a:pt x="301" y="60"/>
                    </a:cubicBezTo>
                    <a:cubicBezTo>
                      <a:pt x="301" y="60"/>
                      <a:pt x="301" y="60"/>
                      <a:pt x="301" y="60"/>
                    </a:cubicBezTo>
                    <a:cubicBezTo>
                      <a:pt x="300" y="60"/>
                      <a:pt x="300" y="60"/>
                      <a:pt x="300" y="60"/>
                    </a:cubicBezTo>
                    <a:cubicBezTo>
                      <a:pt x="299" y="60"/>
                      <a:pt x="297" y="60"/>
                      <a:pt x="296" y="61"/>
                    </a:cubicBezTo>
                    <a:cubicBezTo>
                      <a:pt x="295" y="61"/>
                      <a:pt x="295" y="61"/>
                      <a:pt x="295" y="61"/>
                    </a:cubicBezTo>
                    <a:cubicBezTo>
                      <a:pt x="294" y="61"/>
                      <a:pt x="294" y="61"/>
                      <a:pt x="293" y="61"/>
                    </a:cubicBezTo>
                    <a:cubicBezTo>
                      <a:pt x="293" y="61"/>
                      <a:pt x="293" y="61"/>
                      <a:pt x="293" y="61"/>
                    </a:cubicBezTo>
                    <a:cubicBezTo>
                      <a:pt x="292" y="61"/>
                      <a:pt x="292" y="61"/>
                      <a:pt x="292" y="61"/>
                    </a:cubicBezTo>
                    <a:cubicBezTo>
                      <a:pt x="289" y="60"/>
                      <a:pt x="289" y="59"/>
                      <a:pt x="288" y="58"/>
                    </a:cubicBezTo>
                    <a:cubicBezTo>
                      <a:pt x="288" y="57"/>
                      <a:pt x="288" y="57"/>
                      <a:pt x="287" y="56"/>
                    </a:cubicBezTo>
                    <a:cubicBezTo>
                      <a:pt x="286" y="55"/>
                      <a:pt x="281" y="52"/>
                      <a:pt x="278" y="51"/>
                    </a:cubicBezTo>
                    <a:cubicBezTo>
                      <a:pt x="277" y="51"/>
                      <a:pt x="277" y="51"/>
                      <a:pt x="277" y="51"/>
                    </a:cubicBezTo>
                    <a:cubicBezTo>
                      <a:pt x="276" y="51"/>
                      <a:pt x="276" y="51"/>
                      <a:pt x="276" y="51"/>
                    </a:cubicBezTo>
                    <a:cubicBezTo>
                      <a:pt x="276" y="51"/>
                      <a:pt x="276" y="51"/>
                      <a:pt x="276" y="51"/>
                    </a:cubicBezTo>
                    <a:cubicBezTo>
                      <a:pt x="275" y="51"/>
                      <a:pt x="274" y="51"/>
                      <a:pt x="273" y="50"/>
                    </a:cubicBezTo>
                    <a:cubicBezTo>
                      <a:pt x="271" y="48"/>
                      <a:pt x="270" y="45"/>
                      <a:pt x="270" y="41"/>
                    </a:cubicBezTo>
                    <a:cubicBezTo>
                      <a:pt x="267" y="43"/>
                      <a:pt x="263" y="45"/>
                      <a:pt x="259" y="45"/>
                    </a:cubicBezTo>
                    <a:cubicBezTo>
                      <a:pt x="257" y="45"/>
                      <a:pt x="255" y="45"/>
                      <a:pt x="253" y="44"/>
                    </a:cubicBezTo>
                    <a:cubicBezTo>
                      <a:pt x="249" y="42"/>
                      <a:pt x="249" y="42"/>
                      <a:pt x="249" y="42"/>
                    </a:cubicBezTo>
                    <a:cubicBezTo>
                      <a:pt x="251" y="39"/>
                      <a:pt x="251" y="39"/>
                      <a:pt x="251" y="39"/>
                    </a:cubicBezTo>
                    <a:cubicBezTo>
                      <a:pt x="251" y="38"/>
                      <a:pt x="252" y="38"/>
                      <a:pt x="252" y="37"/>
                    </a:cubicBezTo>
                    <a:cubicBezTo>
                      <a:pt x="252" y="36"/>
                      <a:pt x="252" y="36"/>
                      <a:pt x="252" y="36"/>
                    </a:cubicBezTo>
                    <a:cubicBezTo>
                      <a:pt x="252" y="36"/>
                      <a:pt x="252" y="35"/>
                      <a:pt x="252" y="34"/>
                    </a:cubicBezTo>
                    <a:cubicBezTo>
                      <a:pt x="252" y="32"/>
                      <a:pt x="252" y="32"/>
                      <a:pt x="252" y="32"/>
                    </a:cubicBezTo>
                    <a:cubicBezTo>
                      <a:pt x="252" y="32"/>
                      <a:pt x="252" y="32"/>
                      <a:pt x="252" y="32"/>
                    </a:cubicBezTo>
                    <a:cubicBezTo>
                      <a:pt x="250" y="31"/>
                      <a:pt x="249" y="30"/>
                      <a:pt x="247" y="30"/>
                    </a:cubicBezTo>
                    <a:cubicBezTo>
                      <a:pt x="246" y="30"/>
                      <a:pt x="246" y="30"/>
                      <a:pt x="246" y="30"/>
                    </a:cubicBezTo>
                    <a:cubicBezTo>
                      <a:pt x="245" y="30"/>
                      <a:pt x="245" y="31"/>
                      <a:pt x="244" y="31"/>
                    </a:cubicBezTo>
                    <a:cubicBezTo>
                      <a:pt x="240" y="34"/>
                      <a:pt x="240" y="34"/>
                      <a:pt x="240" y="34"/>
                    </a:cubicBezTo>
                    <a:cubicBezTo>
                      <a:pt x="239" y="30"/>
                      <a:pt x="239" y="30"/>
                      <a:pt x="239" y="30"/>
                    </a:cubicBezTo>
                    <a:cubicBezTo>
                      <a:pt x="238" y="29"/>
                      <a:pt x="238" y="28"/>
                      <a:pt x="238" y="27"/>
                    </a:cubicBezTo>
                    <a:cubicBezTo>
                      <a:pt x="238" y="26"/>
                      <a:pt x="238" y="25"/>
                      <a:pt x="237" y="25"/>
                    </a:cubicBezTo>
                    <a:cubicBezTo>
                      <a:pt x="236" y="25"/>
                      <a:pt x="236" y="25"/>
                      <a:pt x="236" y="25"/>
                    </a:cubicBezTo>
                    <a:cubicBezTo>
                      <a:pt x="236" y="25"/>
                      <a:pt x="236" y="25"/>
                      <a:pt x="235" y="25"/>
                    </a:cubicBezTo>
                    <a:cubicBezTo>
                      <a:pt x="235" y="25"/>
                      <a:pt x="235" y="25"/>
                      <a:pt x="235" y="25"/>
                    </a:cubicBezTo>
                    <a:cubicBezTo>
                      <a:pt x="233" y="25"/>
                      <a:pt x="232" y="25"/>
                      <a:pt x="232" y="24"/>
                    </a:cubicBezTo>
                    <a:cubicBezTo>
                      <a:pt x="231" y="24"/>
                      <a:pt x="230" y="24"/>
                      <a:pt x="230" y="24"/>
                    </a:cubicBezTo>
                    <a:cubicBezTo>
                      <a:pt x="229" y="23"/>
                      <a:pt x="229" y="23"/>
                      <a:pt x="229" y="23"/>
                    </a:cubicBezTo>
                    <a:cubicBezTo>
                      <a:pt x="227" y="22"/>
                      <a:pt x="226" y="19"/>
                      <a:pt x="226" y="17"/>
                    </a:cubicBezTo>
                    <a:cubicBezTo>
                      <a:pt x="225" y="16"/>
                      <a:pt x="225" y="16"/>
                      <a:pt x="225" y="16"/>
                    </a:cubicBezTo>
                    <a:cubicBezTo>
                      <a:pt x="225" y="15"/>
                      <a:pt x="225" y="15"/>
                      <a:pt x="225" y="15"/>
                    </a:cubicBezTo>
                    <a:cubicBezTo>
                      <a:pt x="225" y="14"/>
                      <a:pt x="225" y="14"/>
                      <a:pt x="225" y="14"/>
                    </a:cubicBezTo>
                    <a:cubicBezTo>
                      <a:pt x="224" y="14"/>
                      <a:pt x="224" y="14"/>
                      <a:pt x="224" y="14"/>
                    </a:cubicBezTo>
                    <a:cubicBezTo>
                      <a:pt x="223" y="15"/>
                      <a:pt x="222" y="15"/>
                      <a:pt x="221" y="16"/>
                    </a:cubicBezTo>
                    <a:cubicBezTo>
                      <a:pt x="220" y="16"/>
                      <a:pt x="220" y="16"/>
                      <a:pt x="220" y="16"/>
                    </a:cubicBezTo>
                    <a:cubicBezTo>
                      <a:pt x="219" y="16"/>
                      <a:pt x="219" y="17"/>
                      <a:pt x="218" y="17"/>
                    </a:cubicBezTo>
                    <a:cubicBezTo>
                      <a:pt x="217" y="17"/>
                      <a:pt x="216" y="16"/>
                      <a:pt x="215" y="16"/>
                    </a:cubicBezTo>
                    <a:cubicBezTo>
                      <a:pt x="215" y="15"/>
                      <a:pt x="215" y="15"/>
                      <a:pt x="215" y="15"/>
                    </a:cubicBezTo>
                    <a:cubicBezTo>
                      <a:pt x="214" y="15"/>
                      <a:pt x="213" y="13"/>
                      <a:pt x="212" y="12"/>
                    </a:cubicBezTo>
                    <a:cubicBezTo>
                      <a:pt x="211" y="12"/>
                      <a:pt x="211" y="12"/>
                      <a:pt x="211" y="12"/>
                    </a:cubicBezTo>
                    <a:cubicBezTo>
                      <a:pt x="211" y="11"/>
                      <a:pt x="211" y="11"/>
                      <a:pt x="211" y="11"/>
                    </a:cubicBezTo>
                    <a:cubicBezTo>
                      <a:pt x="210" y="10"/>
                      <a:pt x="208" y="8"/>
                      <a:pt x="206" y="5"/>
                    </a:cubicBezTo>
                    <a:cubicBezTo>
                      <a:pt x="206" y="3"/>
                      <a:pt x="205" y="1"/>
                      <a:pt x="2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1" name="Freeform 269">
                <a:extLst>
                  <a:ext uri="{FF2B5EF4-FFF2-40B4-BE49-F238E27FC236}">
                    <a16:creationId xmlns:a16="http://schemas.microsoft.com/office/drawing/2014/main" id="{54386508-795B-4EF4-B391-98538C651E8E}"/>
                  </a:ext>
                </a:extLst>
              </p:cNvPr>
              <p:cNvSpPr>
                <a:spLocks/>
              </p:cNvSpPr>
              <p:nvPr/>
            </p:nvSpPr>
            <p:spPr bwMode="auto">
              <a:xfrm>
                <a:off x="4595340" y="3828836"/>
                <a:ext cx="324290" cy="210052"/>
              </a:xfrm>
              <a:custGeom>
                <a:avLst/>
                <a:gdLst>
                  <a:gd name="T0" fmla="*/ 60 w 102"/>
                  <a:gd name="T1" fmla="*/ 0 h 66"/>
                  <a:gd name="T2" fmla="*/ 55 w 102"/>
                  <a:gd name="T3" fmla="*/ 1 h 66"/>
                  <a:gd name="T4" fmla="*/ 53 w 102"/>
                  <a:gd name="T5" fmla="*/ 0 h 66"/>
                  <a:gd name="T6" fmla="*/ 48 w 102"/>
                  <a:gd name="T7" fmla="*/ 4 h 66"/>
                  <a:gd name="T8" fmla="*/ 47 w 102"/>
                  <a:gd name="T9" fmla="*/ 4 h 66"/>
                  <a:gd name="T10" fmla="*/ 46 w 102"/>
                  <a:gd name="T11" fmla="*/ 3 h 66"/>
                  <a:gd name="T12" fmla="*/ 46 w 102"/>
                  <a:gd name="T13" fmla="*/ 4 h 66"/>
                  <a:gd name="T14" fmla="*/ 45 w 102"/>
                  <a:gd name="T15" fmla="*/ 4 h 66"/>
                  <a:gd name="T16" fmla="*/ 44 w 102"/>
                  <a:gd name="T17" fmla="*/ 4 h 66"/>
                  <a:gd name="T18" fmla="*/ 43 w 102"/>
                  <a:gd name="T19" fmla="*/ 2 h 66"/>
                  <a:gd name="T20" fmla="*/ 20 w 102"/>
                  <a:gd name="T21" fmla="*/ 0 h 66"/>
                  <a:gd name="T22" fmla="*/ 20 w 102"/>
                  <a:gd name="T23" fmla="*/ 0 h 66"/>
                  <a:gd name="T24" fmla="*/ 0 w 102"/>
                  <a:gd name="T25" fmla="*/ 13 h 66"/>
                  <a:gd name="T26" fmla="*/ 4 w 102"/>
                  <a:gd name="T27" fmla="*/ 18 h 66"/>
                  <a:gd name="T28" fmla="*/ 6 w 102"/>
                  <a:gd name="T29" fmla="*/ 21 h 66"/>
                  <a:gd name="T30" fmla="*/ 11 w 102"/>
                  <a:gd name="T31" fmla="*/ 19 h 66"/>
                  <a:gd name="T32" fmla="*/ 19 w 102"/>
                  <a:gd name="T33" fmla="*/ 23 h 66"/>
                  <a:gd name="T34" fmla="*/ 20 w 102"/>
                  <a:gd name="T35" fmla="*/ 27 h 66"/>
                  <a:gd name="T36" fmla="*/ 21 w 102"/>
                  <a:gd name="T37" fmla="*/ 30 h 66"/>
                  <a:gd name="T38" fmla="*/ 25 w 102"/>
                  <a:gd name="T39" fmla="*/ 30 h 66"/>
                  <a:gd name="T40" fmla="*/ 26 w 102"/>
                  <a:gd name="T41" fmla="*/ 30 h 66"/>
                  <a:gd name="T42" fmla="*/ 32 w 102"/>
                  <a:gd name="T43" fmla="*/ 35 h 66"/>
                  <a:gd name="T44" fmla="*/ 35 w 102"/>
                  <a:gd name="T45" fmla="*/ 35 h 66"/>
                  <a:gd name="T46" fmla="*/ 50 w 102"/>
                  <a:gd name="T47" fmla="*/ 43 h 66"/>
                  <a:gd name="T48" fmla="*/ 47 w 102"/>
                  <a:gd name="T49" fmla="*/ 49 h 66"/>
                  <a:gd name="T50" fmla="*/ 47 w 102"/>
                  <a:gd name="T51" fmla="*/ 50 h 66"/>
                  <a:gd name="T52" fmla="*/ 56 w 102"/>
                  <a:gd name="T53" fmla="*/ 45 h 66"/>
                  <a:gd name="T54" fmla="*/ 63 w 102"/>
                  <a:gd name="T55" fmla="*/ 40 h 66"/>
                  <a:gd name="T56" fmla="*/ 64 w 102"/>
                  <a:gd name="T57" fmla="*/ 48 h 66"/>
                  <a:gd name="T58" fmla="*/ 65 w 102"/>
                  <a:gd name="T59" fmla="*/ 56 h 66"/>
                  <a:gd name="T60" fmla="*/ 69 w 102"/>
                  <a:gd name="T61" fmla="*/ 57 h 66"/>
                  <a:gd name="T62" fmla="*/ 82 w 102"/>
                  <a:gd name="T63" fmla="*/ 66 h 66"/>
                  <a:gd name="T64" fmla="*/ 87 w 102"/>
                  <a:gd name="T65" fmla="*/ 65 h 66"/>
                  <a:gd name="T66" fmla="*/ 88 w 102"/>
                  <a:gd name="T67" fmla="*/ 64 h 66"/>
                  <a:gd name="T68" fmla="*/ 85 w 102"/>
                  <a:gd name="T69" fmla="*/ 55 h 66"/>
                  <a:gd name="T70" fmla="*/ 89 w 102"/>
                  <a:gd name="T71" fmla="*/ 46 h 66"/>
                  <a:gd name="T72" fmla="*/ 88 w 102"/>
                  <a:gd name="T73" fmla="*/ 40 h 66"/>
                  <a:gd name="T74" fmla="*/ 95 w 102"/>
                  <a:gd name="T75" fmla="*/ 41 h 66"/>
                  <a:gd name="T76" fmla="*/ 98 w 102"/>
                  <a:gd name="T77" fmla="*/ 42 h 66"/>
                  <a:gd name="T78" fmla="*/ 99 w 102"/>
                  <a:gd name="T79" fmla="*/ 42 h 66"/>
                  <a:gd name="T80" fmla="*/ 100 w 102"/>
                  <a:gd name="T81" fmla="*/ 41 h 66"/>
                  <a:gd name="T82" fmla="*/ 102 w 102"/>
                  <a:gd name="T83" fmla="*/ 39 h 66"/>
                  <a:gd name="T84" fmla="*/ 96 w 102"/>
                  <a:gd name="T85" fmla="*/ 30 h 66"/>
                  <a:gd name="T86" fmla="*/ 95 w 102"/>
                  <a:gd name="T87" fmla="*/ 29 h 66"/>
                  <a:gd name="T88" fmla="*/ 94 w 102"/>
                  <a:gd name="T89" fmla="*/ 28 h 66"/>
                  <a:gd name="T90" fmla="*/ 92 w 102"/>
                  <a:gd name="T91" fmla="*/ 27 h 66"/>
                  <a:gd name="T92" fmla="*/ 89 w 102"/>
                  <a:gd name="T93" fmla="*/ 27 h 66"/>
                  <a:gd name="T94" fmla="*/ 82 w 102"/>
                  <a:gd name="T95" fmla="*/ 28 h 66"/>
                  <a:gd name="T96" fmla="*/ 86 w 102"/>
                  <a:gd name="T97" fmla="*/ 11 h 66"/>
                  <a:gd name="T98" fmla="*/ 85 w 102"/>
                  <a:gd name="T99" fmla="*/ 11 h 66"/>
                  <a:gd name="T100" fmla="*/ 80 w 102"/>
                  <a:gd name="T101" fmla="*/ 8 h 66"/>
                  <a:gd name="T102" fmla="*/ 77 w 102"/>
                  <a:gd name="T103" fmla="*/ 8 h 66"/>
                  <a:gd name="T104" fmla="*/ 76 w 102"/>
                  <a:gd name="T105" fmla="*/ 8 h 66"/>
                  <a:gd name="T106" fmla="*/ 74 w 102"/>
                  <a:gd name="T107" fmla="*/ 8 h 66"/>
                  <a:gd name="T108" fmla="*/ 67 w 102"/>
                  <a:gd name="T109" fmla="*/ 3 h 66"/>
                  <a:gd name="T110" fmla="*/ 62 w 102"/>
                  <a:gd name="T11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 h="66">
                    <a:moveTo>
                      <a:pt x="61" y="0"/>
                    </a:moveTo>
                    <a:cubicBezTo>
                      <a:pt x="60" y="0"/>
                      <a:pt x="60" y="0"/>
                      <a:pt x="60" y="0"/>
                    </a:cubicBezTo>
                    <a:cubicBezTo>
                      <a:pt x="59" y="1"/>
                      <a:pt x="58" y="2"/>
                      <a:pt x="57" y="2"/>
                    </a:cubicBezTo>
                    <a:cubicBezTo>
                      <a:pt x="56" y="2"/>
                      <a:pt x="55" y="1"/>
                      <a:pt x="55" y="1"/>
                    </a:cubicBezTo>
                    <a:cubicBezTo>
                      <a:pt x="54" y="1"/>
                      <a:pt x="54" y="1"/>
                      <a:pt x="54" y="1"/>
                    </a:cubicBezTo>
                    <a:cubicBezTo>
                      <a:pt x="54" y="0"/>
                      <a:pt x="53" y="0"/>
                      <a:pt x="53" y="0"/>
                    </a:cubicBezTo>
                    <a:cubicBezTo>
                      <a:pt x="52" y="1"/>
                      <a:pt x="52" y="1"/>
                      <a:pt x="52" y="1"/>
                    </a:cubicBezTo>
                    <a:cubicBezTo>
                      <a:pt x="51" y="2"/>
                      <a:pt x="50" y="3"/>
                      <a:pt x="48" y="4"/>
                    </a:cubicBezTo>
                    <a:cubicBezTo>
                      <a:pt x="47" y="4"/>
                      <a:pt x="47" y="4"/>
                      <a:pt x="47" y="4"/>
                    </a:cubicBezTo>
                    <a:cubicBezTo>
                      <a:pt x="47" y="4"/>
                      <a:pt x="47" y="4"/>
                      <a:pt x="47" y="4"/>
                    </a:cubicBezTo>
                    <a:cubicBezTo>
                      <a:pt x="47" y="4"/>
                      <a:pt x="46" y="4"/>
                      <a:pt x="46" y="4"/>
                    </a:cubicBezTo>
                    <a:cubicBezTo>
                      <a:pt x="46" y="3"/>
                      <a:pt x="46" y="3"/>
                      <a:pt x="46" y="3"/>
                    </a:cubicBezTo>
                    <a:cubicBezTo>
                      <a:pt x="45" y="3"/>
                      <a:pt x="45" y="3"/>
                      <a:pt x="45" y="3"/>
                    </a:cubicBezTo>
                    <a:cubicBezTo>
                      <a:pt x="46" y="3"/>
                      <a:pt x="46" y="4"/>
                      <a:pt x="46" y="4"/>
                    </a:cubicBezTo>
                    <a:cubicBezTo>
                      <a:pt x="46" y="4"/>
                      <a:pt x="46" y="4"/>
                      <a:pt x="46" y="4"/>
                    </a:cubicBezTo>
                    <a:cubicBezTo>
                      <a:pt x="45" y="4"/>
                      <a:pt x="45" y="4"/>
                      <a:pt x="45" y="4"/>
                    </a:cubicBezTo>
                    <a:cubicBezTo>
                      <a:pt x="44" y="4"/>
                      <a:pt x="44" y="4"/>
                      <a:pt x="44" y="4"/>
                    </a:cubicBezTo>
                    <a:cubicBezTo>
                      <a:pt x="44" y="4"/>
                      <a:pt x="44" y="4"/>
                      <a:pt x="44" y="4"/>
                    </a:cubicBezTo>
                    <a:cubicBezTo>
                      <a:pt x="43" y="3"/>
                      <a:pt x="43" y="3"/>
                      <a:pt x="43" y="3"/>
                    </a:cubicBezTo>
                    <a:cubicBezTo>
                      <a:pt x="43" y="2"/>
                      <a:pt x="43" y="2"/>
                      <a:pt x="43" y="2"/>
                    </a:cubicBezTo>
                    <a:cubicBezTo>
                      <a:pt x="43" y="1"/>
                      <a:pt x="43" y="1"/>
                      <a:pt x="43" y="1"/>
                    </a:cubicBezTo>
                    <a:cubicBezTo>
                      <a:pt x="36" y="1"/>
                      <a:pt x="28" y="0"/>
                      <a:pt x="20" y="0"/>
                    </a:cubicBezTo>
                    <a:cubicBezTo>
                      <a:pt x="20" y="1"/>
                      <a:pt x="20" y="1"/>
                      <a:pt x="20" y="2"/>
                    </a:cubicBezTo>
                    <a:cubicBezTo>
                      <a:pt x="20" y="1"/>
                      <a:pt x="20" y="1"/>
                      <a:pt x="20" y="0"/>
                    </a:cubicBezTo>
                    <a:cubicBezTo>
                      <a:pt x="13" y="2"/>
                      <a:pt x="6" y="6"/>
                      <a:pt x="0" y="9"/>
                    </a:cubicBezTo>
                    <a:cubicBezTo>
                      <a:pt x="0" y="13"/>
                      <a:pt x="0" y="13"/>
                      <a:pt x="0" y="13"/>
                    </a:cubicBezTo>
                    <a:cubicBezTo>
                      <a:pt x="0" y="13"/>
                      <a:pt x="1" y="14"/>
                      <a:pt x="1" y="14"/>
                    </a:cubicBezTo>
                    <a:cubicBezTo>
                      <a:pt x="2" y="16"/>
                      <a:pt x="4" y="18"/>
                      <a:pt x="4" y="18"/>
                    </a:cubicBezTo>
                    <a:cubicBezTo>
                      <a:pt x="5" y="19"/>
                      <a:pt x="5" y="19"/>
                      <a:pt x="5" y="19"/>
                    </a:cubicBezTo>
                    <a:cubicBezTo>
                      <a:pt x="5" y="20"/>
                      <a:pt x="6" y="21"/>
                      <a:pt x="6" y="21"/>
                    </a:cubicBezTo>
                    <a:cubicBezTo>
                      <a:pt x="7" y="21"/>
                      <a:pt x="9" y="20"/>
                      <a:pt x="10" y="20"/>
                    </a:cubicBezTo>
                    <a:cubicBezTo>
                      <a:pt x="10" y="20"/>
                      <a:pt x="11" y="19"/>
                      <a:pt x="11" y="19"/>
                    </a:cubicBezTo>
                    <a:cubicBezTo>
                      <a:pt x="12" y="19"/>
                      <a:pt x="12" y="19"/>
                      <a:pt x="13" y="19"/>
                    </a:cubicBezTo>
                    <a:cubicBezTo>
                      <a:pt x="15" y="19"/>
                      <a:pt x="17" y="20"/>
                      <a:pt x="19" y="23"/>
                    </a:cubicBezTo>
                    <a:cubicBezTo>
                      <a:pt x="19" y="23"/>
                      <a:pt x="20" y="24"/>
                      <a:pt x="20" y="26"/>
                    </a:cubicBezTo>
                    <a:cubicBezTo>
                      <a:pt x="20" y="27"/>
                      <a:pt x="20" y="27"/>
                      <a:pt x="20" y="27"/>
                    </a:cubicBezTo>
                    <a:cubicBezTo>
                      <a:pt x="21" y="28"/>
                      <a:pt x="21" y="29"/>
                      <a:pt x="21" y="30"/>
                    </a:cubicBezTo>
                    <a:cubicBezTo>
                      <a:pt x="21" y="30"/>
                      <a:pt x="21" y="30"/>
                      <a:pt x="21" y="30"/>
                    </a:cubicBezTo>
                    <a:cubicBezTo>
                      <a:pt x="22" y="30"/>
                      <a:pt x="22" y="30"/>
                      <a:pt x="23" y="30"/>
                    </a:cubicBezTo>
                    <a:cubicBezTo>
                      <a:pt x="24" y="30"/>
                      <a:pt x="24" y="30"/>
                      <a:pt x="25" y="30"/>
                    </a:cubicBezTo>
                    <a:cubicBezTo>
                      <a:pt x="25" y="30"/>
                      <a:pt x="25" y="30"/>
                      <a:pt x="26" y="30"/>
                    </a:cubicBezTo>
                    <a:cubicBezTo>
                      <a:pt x="26" y="30"/>
                      <a:pt x="26" y="30"/>
                      <a:pt x="26" y="30"/>
                    </a:cubicBezTo>
                    <a:cubicBezTo>
                      <a:pt x="27" y="30"/>
                      <a:pt x="27" y="30"/>
                      <a:pt x="27" y="30"/>
                    </a:cubicBezTo>
                    <a:cubicBezTo>
                      <a:pt x="30" y="30"/>
                      <a:pt x="32" y="33"/>
                      <a:pt x="32" y="35"/>
                    </a:cubicBezTo>
                    <a:cubicBezTo>
                      <a:pt x="33" y="35"/>
                      <a:pt x="33" y="35"/>
                      <a:pt x="33" y="35"/>
                    </a:cubicBezTo>
                    <a:cubicBezTo>
                      <a:pt x="34" y="35"/>
                      <a:pt x="35" y="35"/>
                      <a:pt x="35" y="35"/>
                    </a:cubicBezTo>
                    <a:cubicBezTo>
                      <a:pt x="39" y="35"/>
                      <a:pt x="44" y="37"/>
                      <a:pt x="47" y="40"/>
                    </a:cubicBezTo>
                    <a:cubicBezTo>
                      <a:pt x="50" y="43"/>
                      <a:pt x="50" y="43"/>
                      <a:pt x="50" y="43"/>
                    </a:cubicBezTo>
                    <a:cubicBezTo>
                      <a:pt x="47" y="45"/>
                      <a:pt x="47" y="45"/>
                      <a:pt x="47" y="45"/>
                    </a:cubicBezTo>
                    <a:cubicBezTo>
                      <a:pt x="47" y="47"/>
                      <a:pt x="47" y="48"/>
                      <a:pt x="47" y="49"/>
                    </a:cubicBezTo>
                    <a:cubicBezTo>
                      <a:pt x="47" y="50"/>
                      <a:pt x="47" y="50"/>
                      <a:pt x="47" y="50"/>
                    </a:cubicBezTo>
                    <a:cubicBezTo>
                      <a:pt x="47" y="50"/>
                      <a:pt x="47" y="50"/>
                      <a:pt x="47" y="50"/>
                    </a:cubicBezTo>
                    <a:cubicBezTo>
                      <a:pt x="50" y="50"/>
                      <a:pt x="52" y="49"/>
                      <a:pt x="56" y="46"/>
                    </a:cubicBezTo>
                    <a:cubicBezTo>
                      <a:pt x="56" y="45"/>
                      <a:pt x="56" y="45"/>
                      <a:pt x="56" y="45"/>
                    </a:cubicBezTo>
                    <a:cubicBezTo>
                      <a:pt x="57" y="45"/>
                      <a:pt x="58" y="44"/>
                      <a:pt x="59" y="43"/>
                    </a:cubicBezTo>
                    <a:cubicBezTo>
                      <a:pt x="63" y="40"/>
                      <a:pt x="63" y="40"/>
                      <a:pt x="63" y="40"/>
                    </a:cubicBezTo>
                    <a:cubicBezTo>
                      <a:pt x="64" y="46"/>
                      <a:pt x="64" y="46"/>
                      <a:pt x="64" y="46"/>
                    </a:cubicBezTo>
                    <a:cubicBezTo>
                      <a:pt x="64" y="46"/>
                      <a:pt x="64" y="47"/>
                      <a:pt x="64" y="48"/>
                    </a:cubicBezTo>
                    <a:cubicBezTo>
                      <a:pt x="65" y="52"/>
                      <a:pt x="65" y="55"/>
                      <a:pt x="65" y="56"/>
                    </a:cubicBezTo>
                    <a:cubicBezTo>
                      <a:pt x="65" y="56"/>
                      <a:pt x="65" y="56"/>
                      <a:pt x="65" y="56"/>
                    </a:cubicBezTo>
                    <a:cubicBezTo>
                      <a:pt x="66" y="56"/>
                      <a:pt x="67" y="56"/>
                      <a:pt x="68" y="56"/>
                    </a:cubicBezTo>
                    <a:cubicBezTo>
                      <a:pt x="69" y="57"/>
                      <a:pt x="69" y="57"/>
                      <a:pt x="69" y="57"/>
                    </a:cubicBezTo>
                    <a:cubicBezTo>
                      <a:pt x="72" y="58"/>
                      <a:pt x="78" y="61"/>
                      <a:pt x="80" y="63"/>
                    </a:cubicBezTo>
                    <a:cubicBezTo>
                      <a:pt x="81" y="64"/>
                      <a:pt x="82" y="65"/>
                      <a:pt x="82" y="66"/>
                    </a:cubicBezTo>
                    <a:cubicBezTo>
                      <a:pt x="82" y="66"/>
                      <a:pt x="82" y="66"/>
                      <a:pt x="82" y="66"/>
                    </a:cubicBezTo>
                    <a:cubicBezTo>
                      <a:pt x="84" y="66"/>
                      <a:pt x="86" y="65"/>
                      <a:pt x="87" y="65"/>
                    </a:cubicBezTo>
                    <a:cubicBezTo>
                      <a:pt x="88" y="65"/>
                      <a:pt x="88" y="65"/>
                      <a:pt x="88" y="65"/>
                    </a:cubicBezTo>
                    <a:cubicBezTo>
                      <a:pt x="88" y="64"/>
                      <a:pt x="88" y="64"/>
                      <a:pt x="88" y="64"/>
                    </a:cubicBezTo>
                    <a:cubicBezTo>
                      <a:pt x="87" y="64"/>
                      <a:pt x="87" y="62"/>
                      <a:pt x="86" y="62"/>
                    </a:cubicBezTo>
                    <a:cubicBezTo>
                      <a:pt x="85" y="60"/>
                      <a:pt x="83" y="57"/>
                      <a:pt x="85" y="55"/>
                    </a:cubicBezTo>
                    <a:cubicBezTo>
                      <a:pt x="86" y="53"/>
                      <a:pt x="86" y="51"/>
                      <a:pt x="88" y="49"/>
                    </a:cubicBezTo>
                    <a:cubicBezTo>
                      <a:pt x="88" y="48"/>
                      <a:pt x="89" y="47"/>
                      <a:pt x="89" y="46"/>
                    </a:cubicBezTo>
                    <a:cubicBezTo>
                      <a:pt x="90" y="45"/>
                      <a:pt x="91" y="45"/>
                      <a:pt x="91" y="44"/>
                    </a:cubicBezTo>
                    <a:cubicBezTo>
                      <a:pt x="88" y="40"/>
                      <a:pt x="88" y="40"/>
                      <a:pt x="88" y="40"/>
                    </a:cubicBezTo>
                    <a:cubicBezTo>
                      <a:pt x="94" y="41"/>
                      <a:pt x="94" y="41"/>
                      <a:pt x="94" y="41"/>
                    </a:cubicBezTo>
                    <a:cubicBezTo>
                      <a:pt x="95" y="41"/>
                      <a:pt x="95" y="41"/>
                      <a:pt x="95" y="41"/>
                    </a:cubicBezTo>
                    <a:cubicBezTo>
                      <a:pt x="97" y="42"/>
                      <a:pt x="97" y="42"/>
                      <a:pt x="97" y="42"/>
                    </a:cubicBezTo>
                    <a:cubicBezTo>
                      <a:pt x="98" y="42"/>
                      <a:pt x="98" y="42"/>
                      <a:pt x="98" y="42"/>
                    </a:cubicBezTo>
                    <a:cubicBezTo>
                      <a:pt x="98" y="42"/>
                      <a:pt x="98" y="42"/>
                      <a:pt x="98" y="42"/>
                    </a:cubicBezTo>
                    <a:cubicBezTo>
                      <a:pt x="99" y="42"/>
                      <a:pt x="99" y="42"/>
                      <a:pt x="99" y="42"/>
                    </a:cubicBezTo>
                    <a:cubicBezTo>
                      <a:pt x="99" y="42"/>
                      <a:pt x="99" y="42"/>
                      <a:pt x="99" y="42"/>
                    </a:cubicBezTo>
                    <a:cubicBezTo>
                      <a:pt x="100" y="41"/>
                      <a:pt x="100" y="41"/>
                      <a:pt x="100" y="41"/>
                    </a:cubicBezTo>
                    <a:cubicBezTo>
                      <a:pt x="100" y="40"/>
                      <a:pt x="101" y="40"/>
                      <a:pt x="101" y="39"/>
                    </a:cubicBezTo>
                    <a:cubicBezTo>
                      <a:pt x="102" y="39"/>
                      <a:pt x="102" y="39"/>
                      <a:pt x="102" y="39"/>
                    </a:cubicBezTo>
                    <a:cubicBezTo>
                      <a:pt x="102" y="39"/>
                      <a:pt x="102" y="39"/>
                      <a:pt x="102" y="39"/>
                    </a:cubicBezTo>
                    <a:cubicBezTo>
                      <a:pt x="100" y="35"/>
                      <a:pt x="98" y="33"/>
                      <a:pt x="96" y="30"/>
                    </a:cubicBezTo>
                    <a:cubicBezTo>
                      <a:pt x="95" y="30"/>
                      <a:pt x="95" y="30"/>
                      <a:pt x="95" y="30"/>
                    </a:cubicBezTo>
                    <a:cubicBezTo>
                      <a:pt x="95" y="29"/>
                      <a:pt x="95" y="29"/>
                      <a:pt x="95" y="29"/>
                    </a:cubicBezTo>
                    <a:cubicBezTo>
                      <a:pt x="95" y="29"/>
                      <a:pt x="95" y="29"/>
                      <a:pt x="94" y="28"/>
                    </a:cubicBezTo>
                    <a:cubicBezTo>
                      <a:pt x="94" y="28"/>
                      <a:pt x="94" y="28"/>
                      <a:pt x="94" y="28"/>
                    </a:cubicBezTo>
                    <a:cubicBezTo>
                      <a:pt x="94" y="28"/>
                      <a:pt x="94" y="28"/>
                      <a:pt x="94" y="28"/>
                    </a:cubicBezTo>
                    <a:cubicBezTo>
                      <a:pt x="93" y="28"/>
                      <a:pt x="93" y="27"/>
                      <a:pt x="92" y="27"/>
                    </a:cubicBezTo>
                    <a:cubicBezTo>
                      <a:pt x="92" y="27"/>
                      <a:pt x="91" y="27"/>
                      <a:pt x="91" y="27"/>
                    </a:cubicBezTo>
                    <a:cubicBezTo>
                      <a:pt x="90" y="27"/>
                      <a:pt x="89" y="27"/>
                      <a:pt x="89" y="27"/>
                    </a:cubicBezTo>
                    <a:cubicBezTo>
                      <a:pt x="88" y="27"/>
                      <a:pt x="87" y="27"/>
                      <a:pt x="87" y="27"/>
                    </a:cubicBezTo>
                    <a:cubicBezTo>
                      <a:pt x="82" y="28"/>
                      <a:pt x="82" y="28"/>
                      <a:pt x="82" y="28"/>
                    </a:cubicBezTo>
                    <a:cubicBezTo>
                      <a:pt x="83" y="23"/>
                      <a:pt x="83" y="23"/>
                      <a:pt x="83" y="23"/>
                    </a:cubicBezTo>
                    <a:cubicBezTo>
                      <a:pt x="83" y="21"/>
                      <a:pt x="83" y="15"/>
                      <a:pt x="86" y="11"/>
                    </a:cubicBezTo>
                    <a:cubicBezTo>
                      <a:pt x="86" y="11"/>
                      <a:pt x="86" y="11"/>
                      <a:pt x="86" y="11"/>
                    </a:cubicBezTo>
                    <a:cubicBezTo>
                      <a:pt x="85" y="11"/>
                      <a:pt x="85" y="11"/>
                      <a:pt x="85" y="11"/>
                    </a:cubicBezTo>
                    <a:cubicBezTo>
                      <a:pt x="84" y="11"/>
                      <a:pt x="84" y="11"/>
                      <a:pt x="84" y="10"/>
                    </a:cubicBezTo>
                    <a:cubicBezTo>
                      <a:pt x="82" y="10"/>
                      <a:pt x="81" y="8"/>
                      <a:pt x="80" y="8"/>
                    </a:cubicBezTo>
                    <a:cubicBezTo>
                      <a:pt x="80" y="7"/>
                      <a:pt x="80" y="7"/>
                      <a:pt x="80" y="7"/>
                    </a:cubicBezTo>
                    <a:cubicBezTo>
                      <a:pt x="79" y="8"/>
                      <a:pt x="78" y="8"/>
                      <a:pt x="77" y="8"/>
                    </a:cubicBezTo>
                    <a:cubicBezTo>
                      <a:pt x="77" y="8"/>
                      <a:pt x="76" y="8"/>
                      <a:pt x="76" y="8"/>
                    </a:cubicBezTo>
                    <a:cubicBezTo>
                      <a:pt x="76" y="8"/>
                      <a:pt x="76" y="8"/>
                      <a:pt x="76" y="8"/>
                    </a:cubicBezTo>
                    <a:cubicBezTo>
                      <a:pt x="75" y="8"/>
                      <a:pt x="75" y="8"/>
                      <a:pt x="75" y="8"/>
                    </a:cubicBezTo>
                    <a:cubicBezTo>
                      <a:pt x="75" y="8"/>
                      <a:pt x="74" y="8"/>
                      <a:pt x="74" y="8"/>
                    </a:cubicBezTo>
                    <a:cubicBezTo>
                      <a:pt x="73" y="8"/>
                      <a:pt x="71" y="8"/>
                      <a:pt x="70" y="6"/>
                    </a:cubicBezTo>
                    <a:cubicBezTo>
                      <a:pt x="69" y="5"/>
                      <a:pt x="67" y="4"/>
                      <a:pt x="67" y="3"/>
                    </a:cubicBezTo>
                    <a:cubicBezTo>
                      <a:pt x="66" y="2"/>
                      <a:pt x="66" y="1"/>
                      <a:pt x="66" y="1"/>
                    </a:cubicBezTo>
                    <a:cubicBezTo>
                      <a:pt x="65" y="1"/>
                      <a:pt x="64" y="0"/>
                      <a:pt x="62" y="0"/>
                    </a:cubicBezTo>
                    <a:cubicBezTo>
                      <a:pt x="62" y="0"/>
                      <a:pt x="61" y="0"/>
                      <a:pt x="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2" name="Freeform 270">
                <a:extLst>
                  <a:ext uri="{FF2B5EF4-FFF2-40B4-BE49-F238E27FC236}">
                    <a16:creationId xmlns:a16="http://schemas.microsoft.com/office/drawing/2014/main" id="{7DA9AB0B-78CC-46E1-BCF9-36FEC74F46B7}"/>
                  </a:ext>
                </a:extLst>
              </p:cNvPr>
              <p:cNvSpPr>
                <a:spLocks/>
              </p:cNvSpPr>
              <p:nvPr/>
            </p:nvSpPr>
            <p:spPr bwMode="auto">
              <a:xfrm>
                <a:off x="4915945" y="4274735"/>
                <a:ext cx="372197" cy="176886"/>
              </a:xfrm>
              <a:custGeom>
                <a:avLst/>
                <a:gdLst>
                  <a:gd name="T0" fmla="*/ 70 w 117"/>
                  <a:gd name="T1" fmla="*/ 2 h 56"/>
                  <a:gd name="T2" fmla="*/ 66 w 117"/>
                  <a:gd name="T3" fmla="*/ 3 h 56"/>
                  <a:gd name="T4" fmla="*/ 62 w 117"/>
                  <a:gd name="T5" fmla="*/ 3 h 56"/>
                  <a:gd name="T6" fmla="*/ 60 w 117"/>
                  <a:gd name="T7" fmla="*/ 4 h 56"/>
                  <a:gd name="T8" fmla="*/ 57 w 117"/>
                  <a:gd name="T9" fmla="*/ 4 h 56"/>
                  <a:gd name="T10" fmla="*/ 55 w 117"/>
                  <a:gd name="T11" fmla="*/ 4 h 56"/>
                  <a:gd name="T12" fmla="*/ 50 w 117"/>
                  <a:gd name="T13" fmla="*/ 4 h 56"/>
                  <a:gd name="T14" fmla="*/ 47 w 117"/>
                  <a:gd name="T15" fmla="*/ 4 h 56"/>
                  <a:gd name="T16" fmla="*/ 46 w 117"/>
                  <a:gd name="T17" fmla="*/ 4 h 56"/>
                  <a:gd name="T18" fmla="*/ 42 w 117"/>
                  <a:gd name="T19" fmla="*/ 5 h 56"/>
                  <a:gd name="T20" fmla="*/ 39 w 117"/>
                  <a:gd name="T21" fmla="*/ 6 h 56"/>
                  <a:gd name="T22" fmla="*/ 30 w 117"/>
                  <a:gd name="T23" fmla="*/ 10 h 56"/>
                  <a:gd name="T24" fmla="*/ 25 w 117"/>
                  <a:gd name="T25" fmla="*/ 13 h 56"/>
                  <a:gd name="T26" fmla="*/ 14 w 117"/>
                  <a:gd name="T27" fmla="*/ 22 h 56"/>
                  <a:gd name="T28" fmla="*/ 11 w 117"/>
                  <a:gd name="T29" fmla="*/ 24 h 56"/>
                  <a:gd name="T30" fmla="*/ 8 w 117"/>
                  <a:gd name="T31" fmla="*/ 31 h 56"/>
                  <a:gd name="T32" fmla="*/ 0 w 117"/>
                  <a:gd name="T33" fmla="*/ 41 h 56"/>
                  <a:gd name="T34" fmla="*/ 12 w 117"/>
                  <a:gd name="T35" fmla="*/ 37 h 56"/>
                  <a:gd name="T36" fmla="*/ 20 w 117"/>
                  <a:gd name="T37" fmla="*/ 40 h 56"/>
                  <a:gd name="T38" fmla="*/ 21 w 117"/>
                  <a:gd name="T39" fmla="*/ 49 h 56"/>
                  <a:gd name="T40" fmla="*/ 22 w 117"/>
                  <a:gd name="T41" fmla="*/ 51 h 56"/>
                  <a:gd name="T42" fmla="*/ 24 w 117"/>
                  <a:gd name="T43" fmla="*/ 54 h 56"/>
                  <a:gd name="T44" fmla="*/ 26 w 117"/>
                  <a:gd name="T45" fmla="*/ 56 h 56"/>
                  <a:gd name="T46" fmla="*/ 38 w 117"/>
                  <a:gd name="T47" fmla="*/ 55 h 56"/>
                  <a:gd name="T48" fmla="*/ 45 w 117"/>
                  <a:gd name="T49" fmla="*/ 56 h 56"/>
                  <a:gd name="T50" fmla="*/ 46 w 117"/>
                  <a:gd name="T51" fmla="*/ 54 h 56"/>
                  <a:gd name="T52" fmla="*/ 61 w 117"/>
                  <a:gd name="T53" fmla="*/ 38 h 56"/>
                  <a:gd name="T54" fmla="*/ 64 w 117"/>
                  <a:gd name="T55" fmla="*/ 37 h 56"/>
                  <a:gd name="T56" fmla="*/ 67 w 117"/>
                  <a:gd name="T57" fmla="*/ 43 h 56"/>
                  <a:gd name="T58" fmla="*/ 70 w 117"/>
                  <a:gd name="T59" fmla="*/ 48 h 56"/>
                  <a:gd name="T60" fmla="*/ 73 w 117"/>
                  <a:gd name="T61" fmla="*/ 50 h 56"/>
                  <a:gd name="T62" fmla="*/ 80 w 117"/>
                  <a:gd name="T63" fmla="*/ 50 h 56"/>
                  <a:gd name="T64" fmla="*/ 83 w 117"/>
                  <a:gd name="T65" fmla="*/ 41 h 56"/>
                  <a:gd name="T66" fmla="*/ 84 w 117"/>
                  <a:gd name="T67" fmla="*/ 39 h 56"/>
                  <a:gd name="T68" fmla="*/ 90 w 117"/>
                  <a:gd name="T69" fmla="*/ 36 h 56"/>
                  <a:gd name="T70" fmla="*/ 107 w 117"/>
                  <a:gd name="T71" fmla="*/ 44 h 56"/>
                  <a:gd name="T72" fmla="*/ 106 w 117"/>
                  <a:gd name="T73" fmla="*/ 41 h 56"/>
                  <a:gd name="T74" fmla="*/ 105 w 117"/>
                  <a:gd name="T75" fmla="*/ 37 h 56"/>
                  <a:gd name="T76" fmla="*/ 107 w 117"/>
                  <a:gd name="T77" fmla="*/ 33 h 56"/>
                  <a:gd name="T78" fmla="*/ 117 w 117"/>
                  <a:gd name="T79" fmla="*/ 33 h 56"/>
                  <a:gd name="T80" fmla="*/ 117 w 117"/>
                  <a:gd name="T81" fmla="*/ 26 h 56"/>
                  <a:gd name="T82" fmla="*/ 108 w 117"/>
                  <a:gd name="T83" fmla="*/ 29 h 56"/>
                  <a:gd name="T84" fmla="*/ 96 w 117"/>
                  <a:gd name="T85" fmla="*/ 23 h 56"/>
                  <a:gd name="T86" fmla="*/ 93 w 117"/>
                  <a:gd name="T87" fmla="*/ 18 h 56"/>
                  <a:gd name="T88" fmla="*/ 93 w 117"/>
                  <a:gd name="T89" fmla="*/ 17 h 56"/>
                  <a:gd name="T90" fmla="*/ 92 w 117"/>
                  <a:gd name="T91" fmla="*/ 15 h 56"/>
                  <a:gd name="T92" fmla="*/ 94 w 117"/>
                  <a:gd name="T93" fmla="*/ 6 h 56"/>
                  <a:gd name="T94" fmla="*/ 93 w 117"/>
                  <a:gd name="T95" fmla="*/ 5 h 56"/>
                  <a:gd name="T96" fmla="*/ 82 w 117"/>
                  <a:gd name="T97" fmla="*/ 1 h 56"/>
                  <a:gd name="T98" fmla="*/ 79 w 117"/>
                  <a:gd name="T99" fmla="*/ 1 h 56"/>
                  <a:gd name="T100" fmla="*/ 76 w 117"/>
                  <a:gd name="T101"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56">
                    <a:moveTo>
                      <a:pt x="71" y="0"/>
                    </a:moveTo>
                    <a:cubicBezTo>
                      <a:pt x="71" y="0"/>
                      <a:pt x="70" y="1"/>
                      <a:pt x="70" y="2"/>
                    </a:cubicBezTo>
                    <a:cubicBezTo>
                      <a:pt x="68" y="4"/>
                      <a:pt x="68" y="4"/>
                      <a:pt x="68" y="4"/>
                    </a:cubicBezTo>
                    <a:cubicBezTo>
                      <a:pt x="66" y="3"/>
                      <a:pt x="66" y="3"/>
                      <a:pt x="66" y="3"/>
                    </a:cubicBezTo>
                    <a:cubicBezTo>
                      <a:pt x="65" y="3"/>
                      <a:pt x="64" y="3"/>
                      <a:pt x="63" y="3"/>
                    </a:cubicBezTo>
                    <a:cubicBezTo>
                      <a:pt x="62" y="3"/>
                      <a:pt x="62" y="3"/>
                      <a:pt x="62" y="3"/>
                    </a:cubicBezTo>
                    <a:cubicBezTo>
                      <a:pt x="62" y="4"/>
                      <a:pt x="61" y="4"/>
                      <a:pt x="61" y="4"/>
                    </a:cubicBezTo>
                    <a:cubicBezTo>
                      <a:pt x="60" y="4"/>
                      <a:pt x="60" y="4"/>
                      <a:pt x="60" y="4"/>
                    </a:cubicBezTo>
                    <a:cubicBezTo>
                      <a:pt x="59" y="4"/>
                      <a:pt x="59" y="4"/>
                      <a:pt x="58" y="4"/>
                    </a:cubicBezTo>
                    <a:cubicBezTo>
                      <a:pt x="58" y="4"/>
                      <a:pt x="58" y="4"/>
                      <a:pt x="57" y="4"/>
                    </a:cubicBezTo>
                    <a:cubicBezTo>
                      <a:pt x="57" y="4"/>
                      <a:pt x="56" y="4"/>
                      <a:pt x="56" y="4"/>
                    </a:cubicBezTo>
                    <a:cubicBezTo>
                      <a:pt x="56" y="4"/>
                      <a:pt x="55" y="4"/>
                      <a:pt x="55" y="4"/>
                    </a:cubicBezTo>
                    <a:cubicBezTo>
                      <a:pt x="54" y="4"/>
                      <a:pt x="53" y="4"/>
                      <a:pt x="52" y="4"/>
                    </a:cubicBezTo>
                    <a:cubicBezTo>
                      <a:pt x="51" y="4"/>
                      <a:pt x="51" y="4"/>
                      <a:pt x="50" y="4"/>
                    </a:cubicBezTo>
                    <a:cubicBezTo>
                      <a:pt x="50" y="4"/>
                      <a:pt x="50" y="4"/>
                      <a:pt x="50" y="4"/>
                    </a:cubicBezTo>
                    <a:cubicBezTo>
                      <a:pt x="49" y="4"/>
                      <a:pt x="48" y="4"/>
                      <a:pt x="47" y="4"/>
                    </a:cubicBezTo>
                    <a:cubicBezTo>
                      <a:pt x="46" y="4"/>
                      <a:pt x="46" y="4"/>
                      <a:pt x="46" y="4"/>
                    </a:cubicBezTo>
                    <a:cubicBezTo>
                      <a:pt x="46" y="4"/>
                      <a:pt x="46" y="4"/>
                      <a:pt x="46" y="4"/>
                    </a:cubicBezTo>
                    <a:cubicBezTo>
                      <a:pt x="45" y="4"/>
                      <a:pt x="45" y="4"/>
                      <a:pt x="45" y="4"/>
                    </a:cubicBezTo>
                    <a:cubicBezTo>
                      <a:pt x="45" y="4"/>
                      <a:pt x="43" y="5"/>
                      <a:pt x="42" y="5"/>
                    </a:cubicBezTo>
                    <a:cubicBezTo>
                      <a:pt x="41" y="5"/>
                      <a:pt x="40" y="5"/>
                      <a:pt x="40" y="5"/>
                    </a:cubicBezTo>
                    <a:cubicBezTo>
                      <a:pt x="39" y="5"/>
                      <a:pt x="39" y="5"/>
                      <a:pt x="39" y="6"/>
                    </a:cubicBezTo>
                    <a:cubicBezTo>
                      <a:pt x="38" y="7"/>
                      <a:pt x="37" y="8"/>
                      <a:pt x="35" y="8"/>
                    </a:cubicBezTo>
                    <a:cubicBezTo>
                      <a:pt x="34" y="9"/>
                      <a:pt x="32" y="10"/>
                      <a:pt x="30" y="10"/>
                    </a:cubicBezTo>
                    <a:cubicBezTo>
                      <a:pt x="30" y="10"/>
                      <a:pt x="29" y="10"/>
                      <a:pt x="28" y="9"/>
                    </a:cubicBezTo>
                    <a:cubicBezTo>
                      <a:pt x="25" y="13"/>
                      <a:pt x="25" y="13"/>
                      <a:pt x="25" y="13"/>
                    </a:cubicBezTo>
                    <a:cubicBezTo>
                      <a:pt x="22" y="16"/>
                      <a:pt x="19" y="19"/>
                      <a:pt x="16" y="21"/>
                    </a:cubicBezTo>
                    <a:cubicBezTo>
                      <a:pt x="15" y="21"/>
                      <a:pt x="15" y="22"/>
                      <a:pt x="14" y="22"/>
                    </a:cubicBezTo>
                    <a:cubicBezTo>
                      <a:pt x="14" y="22"/>
                      <a:pt x="14" y="22"/>
                      <a:pt x="14" y="22"/>
                    </a:cubicBezTo>
                    <a:cubicBezTo>
                      <a:pt x="12" y="23"/>
                      <a:pt x="12" y="24"/>
                      <a:pt x="11" y="24"/>
                    </a:cubicBezTo>
                    <a:cubicBezTo>
                      <a:pt x="11" y="25"/>
                      <a:pt x="11" y="25"/>
                      <a:pt x="11" y="25"/>
                    </a:cubicBezTo>
                    <a:cubicBezTo>
                      <a:pt x="11" y="26"/>
                      <a:pt x="10" y="29"/>
                      <a:pt x="8" y="31"/>
                    </a:cubicBezTo>
                    <a:cubicBezTo>
                      <a:pt x="7" y="32"/>
                      <a:pt x="7" y="32"/>
                      <a:pt x="7" y="32"/>
                    </a:cubicBezTo>
                    <a:cubicBezTo>
                      <a:pt x="4" y="35"/>
                      <a:pt x="2" y="38"/>
                      <a:pt x="0" y="41"/>
                    </a:cubicBezTo>
                    <a:cubicBezTo>
                      <a:pt x="3" y="39"/>
                      <a:pt x="7" y="37"/>
                      <a:pt x="11" y="37"/>
                    </a:cubicBezTo>
                    <a:cubicBezTo>
                      <a:pt x="11" y="37"/>
                      <a:pt x="12" y="37"/>
                      <a:pt x="12" y="37"/>
                    </a:cubicBezTo>
                    <a:cubicBezTo>
                      <a:pt x="13" y="37"/>
                      <a:pt x="13" y="37"/>
                      <a:pt x="13" y="37"/>
                    </a:cubicBezTo>
                    <a:cubicBezTo>
                      <a:pt x="17" y="37"/>
                      <a:pt x="19" y="39"/>
                      <a:pt x="20" y="40"/>
                    </a:cubicBezTo>
                    <a:cubicBezTo>
                      <a:pt x="21" y="42"/>
                      <a:pt x="21" y="45"/>
                      <a:pt x="21" y="49"/>
                    </a:cubicBezTo>
                    <a:cubicBezTo>
                      <a:pt x="21" y="49"/>
                      <a:pt x="21" y="49"/>
                      <a:pt x="21" y="49"/>
                    </a:cubicBezTo>
                    <a:cubicBezTo>
                      <a:pt x="21" y="50"/>
                      <a:pt x="21" y="50"/>
                      <a:pt x="21" y="50"/>
                    </a:cubicBezTo>
                    <a:cubicBezTo>
                      <a:pt x="22" y="51"/>
                      <a:pt x="22" y="51"/>
                      <a:pt x="22" y="51"/>
                    </a:cubicBezTo>
                    <a:cubicBezTo>
                      <a:pt x="22" y="51"/>
                      <a:pt x="22" y="52"/>
                      <a:pt x="23" y="53"/>
                    </a:cubicBezTo>
                    <a:cubicBezTo>
                      <a:pt x="23" y="53"/>
                      <a:pt x="24" y="53"/>
                      <a:pt x="24" y="54"/>
                    </a:cubicBezTo>
                    <a:cubicBezTo>
                      <a:pt x="24" y="54"/>
                      <a:pt x="25" y="55"/>
                      <a:pt x="25" y="55"/>
                    </a:cubicBezTo>
                    <a:cubicBezTo>
                      <a:pt x="26" y="55"/>
                      <a:pt x="26" y="56"/>
                      <a:pt x="26" y="56"/>
                    </a:cubicBezTo>
                    <a:cubicBezTo>
                      <a:pt x="30" y="56"/>
                      <a:pt x="33" y="55"/>
                      <a:pt x="35" y="55"/>
                    </a:cubicBezTo>
                    <a:cubicBezTo>
                      <a:pt x="37" y="55"/>
                      <a:pt x="37" y="55"/>
                      <a:pt x="38" y="55"/>
                    </a:cubicBezTo>
                    <a:cubicBezTo>
                      <a:pt x="40" y="55"/>
                      <a:pt x="42" y="55"/>
                      <a:pt x="44" y="55"/>
                    </a:cubicBezTo>
                    <a:cubicBezTo>
                      <a:pt x="45" y="56"/>
                      <a:pt x="45" y="56"/>
                      <a:pt x="45" y="56"/>
                    </a:cubicBezTo>
                    <a:cubicBezTo>
                      <a:pt x="45" y="56"/>
                      <a:pt x="45" y="56"/>
                      <a:pt x="45" y="56"/>
                    </a:cubicBezTo>
                    <a:cubicBezTo>
                      <a:pt x="46" y="54"/>
                      <a:pt x="46" y="54"/>
                      <a:pt x="46" y="54"/>
                    </a:cubicBezTo>
                    <a:cubicBezTo>
                      <a:pt x="48" y="53"/>
                      <a:pt x="49" y="51"/>
                      <a:pt x="50" y="50"/>
                    </a:cubicBezTo>
                    <a:cubicBezTo>
                      <a:pt x="51" y="47"/>
                      <a:pt x="55" y="39"/>
                      <a:pt x="61" y="38"/>
                    </a:cubicBezTo>
                    <a:cubicBezTo>
                      <a:pt x="61" y="37"/>
                      <a:pt x="62" y="37"/>
                      <a:pt x="63" y="37"/>
                    </a:cubicBezTo>
                    <a:cubicBezTo>
                      <a:pt x="64" y="37"/>
                      <a:pt x="64" y="37"/>
                      <a:pt x="64" y="37"/>
                    </a:cubicBezTo>
                    <a:cubicBezTo>
                      <a:pt x="67" y="38"/>
                      <a:pt x="67" y="38"/>
                      <a:pt x="67" y="38"/>
                    </a:cubicBezTo>
                    <a:cubicBezTo>
                      <a:pt x="67" y="43"/>
                      <a:pt x="67" y="43"/>
                      <a:pt x="67" y="43"/>
                    </a:cubicBezTo>
                    <a:cubicBezTo>
                      <a:pt x="67" y="45"/>
                      <a:pt x="67" y="46"/>
                      <a:pt x="67" y="47"/>
                    </a:cubicBezTo>
                    <a:cubicBezTo>
                      <a:pt x="67" y="47"/>
                      <a:pt x="68" y="48"/>
                      <a:pt x="70" y="48"/>
                    </a:cubicBezTo>
                    <a:cubicBezTo>
                      <a:pt x="71" y="49"/>
                      <a:pt x="72" y="49"/>
                      <a:pt x="72" y="50"/>
                    </a:cubicBezTo>
                    <a:cubicBezTo>
                      <a:pt x="73" y="50"/>
                      <a:pt x="73" y="50"/>
                      <a:pt x="73" y="50"/>
                    </a:cubicBezTo>
                    <a:cubicBezTo>
                      <a:pt x="74" y="50"/>
                      <a:pt x="77" y="51"/>
                      <a:pt x="78" y="53"/>
                    </a:cubicBezTo>
                    <a:cubicBezTo>
                      <a:pt x="78" y="52"/>
                      <a:pt x="79" y="51"/>
                      <a:pt x="80" y="50"/>
                    </a:cubicBezTo>
                    <a:cubicBezTo>
                      <a:pt x="81" y="48"/>
                      <a:pt x="81" y="48"/>
                      <a:pt x="81" y="48"/>
                    </a:cubicBezTo>
                    <a:cubicBezTo>
                      <a:pt x="83" y="46"/>
                      <a:pt x="83" y="44"/>
                      <a:pt x="83" y="41"/>
                    </a:cubicBezTo>
                    <a:cubicBezTo>
                      <a:pt x="83" y="41"/>
                      <a:pt x="83" y="41"/>
                      <a:pt x="83" y="41"/>
                    </a:cubicBezTo>
                    <a:cubicBezTo>
                      <a:pt x="84" y="40"/>
                      <a:pt x="84" y="39"/>
                      <a:pt x="84" y="39"/>
                    </a:cubicBezTo>
                    <a:cubicBezTo>
                      <a:pt x="84" y="33"/>
                      <a:pt x="84" y="33"/>
                      <a:pt x="84" y="33"/>
                    </a:cubicBezTo>
                    <a:cubicBezTo>
                      <a:pt x="90" y="36"/>
                      <a:pt x="90" y="36"/>
                      <a:pt x="90" y="36"/>
                    </a:cubicBezTo>
                    <a:cubicBezTo>
                      <a:pt x="94" y="39"/>
                      <a:pt x="102" y="43"/>
                      <a:pt x="107" y="44"/>
                    </a:cubicBezTo>
                    <a:cubicBezTo>
                      <a:pt x="107" y="44"/>
                      <a:pt x="107" y="44"/>
                      <a:pt x="107" y="44"/>
                    </a:cubicBezTo>
                    <a:cubicBezTo>
                      <a:pt x="107" y="44"/>
                      <a:pt x="107" y="44"/>
                      <a:pt x="107" y="44"/>
                    </a:cubicBezTo>
                    <a:cubicBezTo>
                      <a:pt x="106" y="42"/>
                      <a:pt x="106" y="42"/>
                      <a:pt x="106" y="41"/>
                    </a:cubicBezTo>
                    <a:cubicBezTo>
                      <a:pt x="105" y="39"/>
                      <a:pt x="105" y="39"/>
                      <a:pt x="105" y="38"/>
                    </a:cubicBezTo>
                    <a:cubicBezTo>
                      <a:pt x="105" y="38"/>
                      <a:pt x="105" y="37"/>
                      <a:pt x="105" y="37"/>
                    </a:cubicBezTo>
                    <a:cubicBezTo>
                      <a:pt x="106" y="35"/>
                      <a:pt x="106" y="35"/>
                      <a:pt x="106" y="35"/>
                    </a:cubicBezTo>
                    <a:cubicBezTo>
                      <a:pt x="106" y="35"/>
                      <a:pt x="107" y="34"/>
                      <a:pt x="107" y="33"/>
                    </a:cubicBezTo>
                    <a:cubicBezTo>
                      <a:pt x="109" y="32"/>
                      <a:pt x="110" y="32"/>
                      <a:pt x="112" y="32"/>
                    </a:cubicBezTo>
                    <a:cubicBezTo>
                      <a:pt x="114" y="32"/>
                      <a:pt x="116" y="32"/>
                      <a:pt x="117" y="33"/>
                    </a:cubicBezTo>
                    <a:cubicBezTo>
                      <a:pt x="117" y="31"/>
                      <a:pt x="117" y="29"/>
                      <a:pt x="117" y="27"/>
                    </a:cubicBezTo>
                    <a:cubicBezTo>
                      <a:pt x="117" y="26"/>
                      <a:pt x="117" y="26"/>
                      <a:pt x="117" y="26"/>
                    </a:cubicBezTo>
                    <a:cubicBezTo>
                      <a:pt x="116" y="28"/>
                      <a:pt x="114" y="30"/>
                      <a:pt x="111" y="30"/>
                    </a:cubicBezTo>
                    <a:cubicBezTo>
                      <a:pt x="110" y="30"/>
                      <a:pt x="109" y="30"/>
                      <a:pt x="108" y="29"/>
                    </a:cubicBezTo>
                    <a:cubicBezTo>
                      <a:pt x="97" y="23"/>
                      <a:pt x="97" y="23"/>
                      <a:pt x="97" y="23"/>
                    </a:cubicBezTo>
                    <a:cubicBezTo>
                      <a:pt x="96" y="23"/>
                      <a:pt x="96" y="23"/>
                      <a:pt x="96" y="23"/>
                    </a:cubicBezTo>
                    <a:cubicBezTo>
                      <a:pt x="95" y="22"/>
                      <a:pt x="95" y="22"/>
                      <a:pt x="95" y="22"/>
                    </a:cubicBezTo>
                    <a:cubicBezTo>
                      <a:pt x="94" y="22"/>
                      <a:pt x="92" y="21"/>
                      <a:pt x="93" y="18"/>
                    </a:cubicBezTo>
                    <a:cubicBezTo>
                      <a:pt x="93" y="17"/>
                      <a:pt x="93" y="17"/>
                      <a:pt x="93" y="17"/>
                    </a:cubicBezTo>
                    <a:cubicBezTo>
                      <a:pt x="93" y="17"/>
                      <a:pt x="93" y="17"/>
                      <a:pt x="93" y="17"/>
                    </a:cubicBezTo>
                    <a:cubicBezTo>
                      <a:pt x="93" y="16"/>
                      <a:pt x="93" y="16"/>
                      <a:pt x="93" y="16"/>
                    </a:cubicBezTo>
                    <a:cubicBezTo>
                      <a:pt x="93" y="16"/>
                      <a:pt x="92" y="15"/>
                      <a:pt x="92" y="15"/>
                    </a:cubicBezTo>
                    <a:cubicBezTo>
                      <a:pt x="91" y="11"/>
                      <a:pt x="91" y="9"/>
                      <a:pt x="94" y="6"/>
                    </a:cubicBezTo>
                    <a:cubicBezTo>
                      <a:pt x="94" y="6"/>
                      <a:pt x="94" y="6"/>
                      <a:pt x="94" y="6"/>
                    </a:cubicBezTo>
                    <a:cubicBezTo>
                      <a:pt x="94" y="6"/>
                      <a:pt x="94" y="6"/>
                      <a:pt x="94" y="6"/>
                    </a:cubicBezTo>
                    <a:cubicBezTo>
                      <a:pt x="94" y="6"/>
                      <a:pt x="94" y="5"/>
                      <a:pt x="93" y="5"/>
                    </a:cubicBezTo>
                    <a:cubicBezTo>
                      <a:pt x="92" y="4"/>
                      <a:pt x="92" y="4"/>
                      <a:pt x="92" y="4"/>
                    </a:cubicBezTo>
                    <a:cubicBezTo>
                      <a:pt x="90" y="3"/>
                      <a:pt x="85" y="1"/>
                      <a:pt x="82" y="1"/>
                    </a:cubicBezTo>
                    <a:cubicBezTo>
                      <a:pt x="82" y="1"/>
                      <a:pt x="81" y="0"/>
                      <a:pt x="81" y="0"/>
                    </a:cubicBezTo>
                    <a:cubicBezTo>
                      <a:pt x="80" y="0"/>
                      <a:pt x="80" y="1"/>
                      <a:pt x="79" y="1"/>
                    </a:cubicBezTo>
                    <a:cubicBezTo>
                      <a:pt x="78" y="1"/>
                      <a:pt x="78" y="1"/>
                      <a:pt x="78" y="1"/>
                    </a:cubicBezTo>
                    <a:cubicBezTo>
                      <a:pt x="78" y="1"/>
                      <a:pt x="77" y="1"/>
                      <a:pt x="76" y="1"/>
                    </a:cubicBezTo>
                    <a:cubicBezTo>
                      <a:pt x="75" y="1"/>
                      <a:pt x="73"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3" name="Freeform 271">
                <a:extLst>
                  <a:ext uri="{FF2B5EF4-FFF2-40B4-BE49-F238E27FC236}">
                    <a16:creationId xmlns:a16="http://schemas.microsoft.com/office/drawing/2014/main" id="{49ED10F9-87CC-4C6F-B5D4-C966B9D1DCD1}"/>
                  </a:ext>
                </a:extLst>
              </p:cNvPr>
              <p:cNvSpPr>
                <a:spLocks/>
              </p:cNvSpPr>
              <p:nvPr/>
            </p:nvSpPr>
            <p:spPr bwMode="auto">
              <a:xfrm>
                <a:off x="4974906" y="4344752"/>
                <a:ext cx="1053943" cy="987611"/>
              </a:xfrm>
              <a:custGeom>
                <a:avLst/>
                <a:gdLst>
                  <a:gd name="T0" fmla="*/ 136 w 332"/>
                  <a:gd name="T1" fmla="*/ 2 h 311"/>
                  <a:gd name="T2" fmla="*/ 122 w 332"/>
                  <a:gd name="T3" fmla="*/ 8 h 311"/>
                  <a:gd name="T4" fmla="*/ 107 w 332"/>
                  <a:gd name="T5" fmla="*/ 8 h 311"/>
                  <a:gd name="T6" fmla="*/ 106 w 332"/>
                  <a:gd name="T7" fmla="*/ 16 h 311"/>
                  <a:gd name="T8" fmla="*/ 99 w 332"/>
                  <a:gd name="T9" fmla="*/ 18 h 311"/>
                  <a:gd name="T10" fmla="*/ 97 w 332"/>
                  <a:gd name="T11" fmla="*/ 28 h 311"/>
                  <a:gd name="T12" fmla="*/ 94 w 332"/>
                  <a:gd name="T13" fmla="*/ 30 h 311"/>
                  <a:gd name="T14" fmla="*/ 69 w 332"/>
                  <a:gd name="T15" fmla="*/ 30 h 311"/>
                  <a:gd name="T16" fmla="*/ 65 w 332"/>
                  <a:gd name="T17" fmla="*/ 37 h 311"/>
                  <a:gd name="T18" fmla="*/ 55 w 332"/>
                  <a:gd name="T19" fmla="*/ 39 h 311"/>
                  <a:gd name="T20" fmla="*/ 51 w 332"/>
                  <a:gd name="T21" fmla="*/ 34 h 311"/>
                  <a:gd name="T22" fmla="*/ 38 w 332"/>
                  <a:gd name="T23" fmla="*/ 30 h 311"/>
                  <a:gd name="T24" fmla="*/ 26 w 332"/>
                  <a:gd name="T25" fmla="*/ 41 h 311"/>
                  <a:gd name="T26" fmla="*/ 9 w 332"/>
                  <a:gd name="T27" fmla="*/ 41 h 311"/>
                  <a:gd name="T28" fmla="*/ 3 w 332"/>
                  <a:gd name="T29" fmla="*/ 43 h 311"/>
                  <a:gd name="T30" fmla="*/ 11 w 332"/>
                  <a:gd name="T31" fmla="*/ 59 h 311"/>
                  <a:gd name="T32" fmla="*/ 11 w 332"/>
                  <a:gd name="T33" fmla="*/ 81 h 311"/>
                  <a:gd name="T34" fmla="*/ 29 w 332"/>
                  <a:gd name="T35" fmla="*/ 100 h 311"/>
                  <a:gd name="T36" fmla="*/ 36 w 332"/>
                  <a:gd name="T37" fmla="*/ 107 h 311"/>
                  <a:gd name="T38" fmla="*/ 86 w 332"/>
                  <a:gd name="T39" fmla="*/ 102 h 311"/>
                  <a:gd name="T40" fmla="*/ 103 w 332"/>
                  <a:gd name="T41" fmla="*/ 141 h 311"/>
                  <a:gd name="T42" fmla="*/ 110 w 332"/>
                  <a:gd name="T43" fmla="*/ 142 h 311"/>
                  <a:gd name="T44" fmla="*/ 120 w 332"/>
                  <a:gd name="T45" fmla="*/ 160 h 311"/>
                  <a:gd name="T46" fmla="*/ 127 w 332"/>
                  <a:gd name="T47" fmla="*/ 161 h 311"/>
                  <a:gd name="T48" fmla="*/ 168 w 332"/>
                  <a:gd name="T49" fmla="*/ 193 h 311"/>
                  <a:gd name="T50" fmla="*/ 186 w 332"/>
                  <a:gd name="T51" fmla="*/ 200 h 311"/>
                  <a:gd name="T52" fmla="*/ 216 w 332"/>
                  <a:gd name="T53" fmla="*/ 216 h 311"/>
                  <a:gd name="T54" fmla="*/ 225 w 332"/>
                  <a:gd name="T55" fmla="*/ 219 h 311"/>
                  <a:gd name="T56" fmla="*/ 242 w 332"/>
                  <a:gd name="T57" fmla="*/ 241 h 311"/>
                  <a:gd name="T58" fmla="*/ 256 w 332"/>
                  <a:gd name="T59" fmla="*/ 254 h 311"/>
                  <a:gd name="T60" fmla="*/ 257 w 332"/>
                  <a:gd name="T61" fmla="*/ 286 h 311"/>
                  <a:gd name="T62" fmla="*/ 254 w 332"/>
                  <a:gd name="T63" fmla="*/ 311 h 311"/>
                  <a:gd name="T64" fmla="*/ 276 w 332"/>
                  <a:gd name="T65" fmla="*/ 293 h 311"/>
                  <a:gd name="T66" fmla="*/ 291 w 332"/>
                  <a:gd name="T67" fmla="*/ 278 h 311"/>
                  <a:gd name="T68" fmla="*/ 281 w 332"/>
                  <a:gd name="T69" fmla="*/ 254 h 311"/>
                  <a:gd name="T70" fmla="*/ 277 w 332"/>
                  <a:gd name="T71" fmla="*/ 254 h 311"/>
                  <a:gd name="T72" fmla="*/ 294 w 332"/>
                  <a:gd name="T73" fmla="*/ 228 h 311"/>
                  <a:gd name="T74" fmla="*/ 331 w 332"/>
                  <a:gd name="T75" fmla="*/ 240 h 311"/>
                  <a:gd name="T76" fmla="*/ 258 w 332"/>
                  <a:gd name="T77" fmla="*/ 186 h 311"/>
                  <a:gd name="T78" fmla="*/ 225 w 332"/>
                  <a:gd name="T79" fmla="*/ 171 h 311"/>
                  <a:gd name="T80" fmla="*/ 171 w 332"/>
                  <a:gd name="T81" fmla="*/ 108 h 311"/>
                  <a:gd name="T82" fmla="*/ 161 w 332"/>
                  <a:gd name="T83" fmla="*/ 73 h 311"/>
                  <a:gd name="T84" fmla="*/ 159 w 332"/>
                  <a:gd name="T85" fmla="*/ 51 h 311"/>
                  <a:gd name="T86" fmla="*/ 180 w 332"/>
                  <a:gd name="T87" fmla="*/ 43 h 311"/>
                  <a:gd name="T88" fmla="*/ 189 w 332"/>
                  <a:gd name="T89" fmla="*/ 44 h 311"/>
                  <a:gd name="T90" fmla="*/ 189 w 332"/>
                  <a:gd name="T91" fmla="*/ 38 h 311"/>
                  <a:gd name="T92" fmla="*/ 187 w 332"/>
                  <a:gd name="T93" fmla="*/ 30 h 311"/>
                  <a:gd name="T94" fmla="*/ 184 w 332"/>
                  <a:gd name="T95" fmla="*/ 21 h 311"/>
                  <a:gd name="T96" fmla="*/ 189 w 332"/>
                  <a:gd name="T97" fmla="*/ 18 h 311"/>
                  <a:gd name="T98" fmla="*/ 161 w 332"/>
                  <a:gd name="T99" fmla="*/ 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2" h="311">
                    <a:moveTo>
                      <a:pt x="148" y="0"/>
                    </a:moveTo>
                    <a:cubicBezTo>
                      <a:pt x="146" y="0"/>
                      <a:pt x="146" y="0"/>
                      <a:pt x="146" y="0"/>
                    </a:cubicBezTo>
                    <a:cubicBezTo>
                      <a:pt x="143" y="1"/>
                      <a:pt x="140" y="1"/>
                      <a:pt x="137" y="2"/>
                    </a:cubicBezTo>
                    <a:cubicBezTo>
                      <a:pt x="136" y="2"/>
                      <a:pt x="136" y="2"/>
                      <a:pt x="136" y="2"/>
                    </a:cubicBezTo>
                    <a:cubicBezTo>
                      <a:pt x="126" y="4"/>
                      <a:pt x="126" y="4"/>
                      <a:pt x="126" y="4"/>
                    </a:cubicBezTo>
                    <a:cubicBezTo>
                      <a:pt x="125" y="4"/>
                      <a:pt x="125" y="4"/>
                      <a:pt x="124" y="5"/>
                    </a:cubicBezTo>
                    <a:cubicBezTo>
                      <a:pt x="124" y="6"/>
                      <a:pt x="123" y="7"/>
                      <a:pt x="122" y="8"/>
                    </a:cubicBezTo>
                    <a:cubicBezTo>
                      <a:pt x="122" y="8"/>
                      <a:pt x="122" y="8"/>
                      <a:pt x="122" y="8"/>
                    </a:cubicBezTo>
                    <a:cubicBezTo>
                      <a:pt x="121" y="10"/>
                      <a:pt x="121" y="10"/>
                      <a:pt x="120" y="10"/>
                    </a:cubicBezTo>
                    <a:cubicBezTo>
                      <a:pt x="119" y="11"/>
                      <a:pt x="118" y="11"/>
                      <a:pt x="118" y="11"/>
                    </a:cubicBezTo>
                    <a:cubicBezTo>
                      <a:pt x="117" y="11"/>
                      <a:pt x="116" y="10"/>
                      <a:pt x="114" y="10"/>
                    </a:cubicBezTo>
                    <a:cubicBezTo>
                      <a:pt x="112" y="10"/>
                      <a:pt x="109" y="9"/>
                      <a:pt x="107" y="8"/>
                    </a:cubicBezTo>
                    <a:cubicBezTo>
                      <a:pt x="106" y="8"/>
                      <a:pt x="106" y="8"/>
                      <a:pt x="106" y="8"/>
                    </a:cubicBezTo>
                    <a:cubicBezTo>
                      <a:pt x="106" y="10"/>
                      <a:pt x="106" y="12"/>
                      <a:pt x="106" y="13"/>
                    </a:cubicBezTo>
                    <a:cubicBezTo>
                      <a:pt x="106" y="14"/>
                      <a:pt x="106" y="14"/>
                      <a:pt x="106" y="14"/>
                    </a:cubicBezTo>
                    <a:cubicBezTo>
                      <a:pt x="106" y="14"/>
                      <a:pt x="106" y="15"/>
                      <a:pt x="106" y="16"/>
                    </a:cubicBezTo>
                    <a:cubicBezTo>
                      <a:pt x="106" y="20"/>
                      <a:pt x="106" y="20"/>
                      <a:pt x="106" y="20"/>
                    </a:cubicBezTo>
                    <a:cubicBezTo>
                      <a:pt x="102" y="19"/>
                      <a:pt x="102" y="19"/>
                      <a:pt x="102" y="19"/>
                    </a:cubicBezTo>
                    <a:cubicBezTo>
                      <a:pt x="101" y="19"/>
                      <a:pt x="101" y="19"/>
                      <a:pt x="101" y="19"/>
                    </a:cubicBezTo>
                    <a:cubicBezTo>
                      <a:pt x="99" y="18"/>
                      <a:pt x="99" y="18"/>
                      <a:pt x="99" y="18"/>
                    </a:cubicBezTo>
                    <a:cubicBezTo>
                      <a:pt x="99" y="18"/>
                      <a:pt x="97" y="18"/>
                      <a:pt x="96" y="17"/>
                    </a:cubicBezTo>
                    <a:cubicBezTo>
                      <a:pt x="97" y="18"/>
                      <a:pt x="97" y="18"/>
                      <a:pt x="97" y="19"/>
                    </a:cubicBezTo>
                    <a:cubicBezTo>
                      <a:pt x="98" y="20"/>
                      <a:pt x="98" y="21"/>
                      <a:pt x="97" y="23"/>
                    </a:cubicBezTo>
                    <a:cubicBezTo>
                      <a:pt x="98" y="24"/>
                      <a:pt x="98" y="26"/>
                      <a:pt x="97" y="28"/>
                    </a:cubicBezTo>
                    <a:cubicBezTo>
                      <a:pt x="96" y="29"/>
                      <a:pt x="96" y="29"/>
                      <a:pt x="96" y="29"/>
                    </a:cubicBezTo>
                    <a:cubicBezTo>
                      <a:pt x="95" y="29"/>
                      <a:pt x="95" y="29"/>
                      <a:pt x="95" y="29"/>
                    </a:cubicBezTo>
                    <a:cubicBezTo>
                      <a:pt x="95" y="29"/>
                      <a:pt x="95" y="30"/>
                      <a:pt x="94" y="30"/>
                    </a:cubicBezTo>
                    <a:cubicBezTo>
                      <a:pt x="94" y="30"/>
                      <a:pt x="94" y="30"/>
                      <a:pt x="94" y="30"/>
                    </a:cubicBezTo>
                    <a:cubicBezTo>
                      <a:pt x="93" y="30"/>
                      <a:pt x="93" y="30"/>
                      <a:pt x="93" y="30"/>
                    </a:cubicBezTo>
                    <a:cubicBezTo>
                      <a:pt x="93" y="30"/>
                      <a:pt x="93" y="30"/>
                      <a:pt x="93" y="30"/>
                    </a:cubicBezTo>
                    <a:cubicBezTo>
                      <a:pt x="88" y="30"/>
                      <a:pt x="79" y="26"/>
                      <a:pt x="72" y="23"/>
                    </a:cubicBezTo>
                    <a:cubicBezTo>
                      <a:pt x="72" y="25"/>
                      <a:pt x="71" y="28"/>
                      <a:pt x="69" y="30"/>
                    </a:cubicBezTo>
                    <a:cubicBezTo>
                      <a:pt x="68" y="31"/>
                      <a:pt x="68" y="31"/>
                      <a:pt x="68" y="31"/>
                    </a:cubicBezTo>
                    <a:cubicBezTo>
                      <a:pt x="68" y="31"/>
                      <a:pt x="68" y="32"/>
                      <a:pt x="67" y="32"/>
                    </a:cubicBezTo>
                    <a:cubicBezTo>
                      <a:pt x="66" y="33"/>
                      <a:pt x="66" y="33"/>
                      <a:pt x="66" y="35"/>
                    </a:cubicBezTo>
                    <a:cubicBezTo>
                      <a:pt x="65" y="37"/>
                      <a:pt x="65" y="37"/>
                      <a:pt x="65" y="37"/>
                    </a:cubicBezTo>
                    <a:cubicBezTo>
                      <a:pt x="65" y="39"/>
                      <a:pt x="63" y="41"/>
                      <a:pt x="62" y="42"/>
                    </a:cubicBezTo>
                    <a:cubicBezTo>
                      <a:pt x="53" y="53"/>
                      <a:pt x="53" y="53"/>
                      <a:pt x="53" y="53"/>
                    </a:cubicBezTo>
                    <a:cubicBezTo>
                      <a:pt x="55" y="40"/>
                      <a:pt x="55" y="40"/>
                      <a:pt x="55" y="40"/>
                    </a:cubicBezTo>
                    <a:cubicBezTo>
                      <a:pt x="55" y="39"/>
                      <a:pt x="55" y="39"/>
                      <a:pt x="55" y="39"/>
                    </a:cubicBezTo>
                    <a:cubicBezTo>
                      <a:pt x="55" y="38"/>
                      <a:pt x="55" y="37"/>
                      <a:pt x="54" y="36"/>
                    </a:cubicBezTo>
                    <a:cubicBezTo>
                      <a:pt x="54" y="35"/>
                      <a:pt x="54" y="35"/>
                      <a:pt x="54" y="35"/>
                    </a:cubicBezTo>
                    <a:cubicBezTo>
                      <a:pt x="53" y="35"/>
                      <a:pt x="53" y="35"/>
                      <a:pt x="53" y="35"/>
                    </a:cubicBezTo>
                    <a:cubicBezTo>
                      <a:pt x="53" y="34"/>
                      <a:pt x="52" y="34"/>
                      <a:pt x="51" y="34"/>
                    </a:cubicBezTo>
                    <a:cubicBezTo>
                      <a:pt x="50" y="33"/>
                      <a:pt x="50" y="33"/>
                      <a:pt x="49" y="33"/>
                    </a:cubicBezTo>
                    <a:cubicBezTo>
                      <a:pt x="46" y="31"/>
                      <a:pt x="43" y="30"/>
                      <a:pt x="42" y="28"/>
                    </a:cubicBezTo>
                    <a:cubicBezTo>
                      <a:pt x="42" y="27"/>
                      <a:pt x="42" y="26"/>
                      <a:pt x="42" y="25"/>
                    </a:cubicBezTo>
                    <a:cubicBezTo>
                      <a:pt x="40" y="26"/>
                      <a:pt x="39" y="29"/>
                      <a:pt x="38" y="30"/>
                    </a:cubicBezTo>
                    <a:cubicBezTo>
                      <a:pt x="37" y="33"/>
                      <a:pt x="35" y="35"/>
                      <a:pt x="34" y="37"/>
                    </a:cubicBezTo>
                    <a:cubicBezTo>
                      <a:pt x="32" y="39"/>
                      <a:pt x="32" y="39"/>
                      <a:pt x="32" y="39"/>
                    </a:cubicBezTo>
                    <a:cubicBezTo>
                      <a:pt x="32" y="39"/>
                      <a:pt x="30" y="41"/>
                      <a:pt x="28" y="41"/>
                    </a:cubicBezTo>
                    <a:cubicBezTo>
                      <a:pt x="26" y="41"/>
                      <a:pt x="26" y="41"/>
                      <a:pt x="26" y="41"/>
                    </a:cubicBezTo>
                    <a:cubicBezTo>
                      <a:pt x="26" y="41"/>
                      <a:pt x="25" y="40"/>
                      <a:pt x="25" y="40"/>
                    </a:cubicBezTo>
                    <a:cubicBezTo>
                      <a:pt x="23" y="40"/>
                      <a:pt x="21" y="39"/>
                      <a:pt x="20" y="39"/>
                    </a:cubicBezTo>
                    <a:cubicBezTo>
                      <a:pt x="19" y="39"/>
                      <a:pt x="19" y="40"/>
                      <a:pt x="18" y="40"/>
                    </a:cubicBezTo>
                    <a:cubicBezTo>
                      <a:pt x="16" y="40"/>
                      <a:pt x="12" y="40"/>
                      <a:pt x="9" y="41"/>
                    </a:cubicBezTo>
                    <a:cubicBezTo>
                      <a:pt x="8" y="41"/>
                      <a:pt x="8" y="41"/>
                      <a:pt x="8" y="41"/>
                    </a:cubicBezTo>
                    <a:cubicBezTo>
                      <a:pt x="7" y="41"/>
                      <a:pt x="7" y="41"/>
                      <a:pt x="6" y="41"/>
                    </a:cubicBezTo>
                    <a:cubicBezTo>
                      <a:pt x="5" y="42"/>
                      <a:pt x="5" y="42"/>
                      <a:pt x="4" y="43"/>
                    </a:cubicBezTo>
                    <a:cubicBezTo>
                      <a:pt x="3" y="43"/>
                      <a:pt x="3" y="43"/>
                      <a:pt x="3" y="43"/>
                    </a:cubicBezTo>
                    <a:cubicBezTo>
                      <a:pt x="9" y="51"/>
                      <a:pt x="9" y="51"/>
                      <a:pt x="9" y="51"/>
                    </a:cubicBezTo>
                    <a:cubicBezTo>
                      <a:pt x="9" y="51"/>
                      <a:pt x="9" y="51"/>
                      <a:pt x="9" y="51"/>
                    </a:cubicBezTo>
                    <a:cubicBezTo>
                      <a:pt x="11" y="52"/>
                      <a:pt x="12" y="53"/>
                      <a:pt x="13" y="55"/>
                    </a:cubicBezTo>
                    <a:cubicBezTo>
                      <a:pt x="13" y="57"/>
                      <a:pt x="12" y="58"/>
                      <a:pt x="11" y="59"/>
                    </a:cubicBezTo>
                    <a:cubicBezTo>
                      <a:pt x="11" y="60"/>
                      <a:pt x="11" y="60"/>
                      <a:pt x="11" y="60"/>
                    </a:cubicBezTo>
                    <a:cubicBezTo>
                      <a:pt x="12" y="61"/>
                      <a:pt x="11" y="62"/>
                      <a:pt x="11" y="63"/>
                    </a:cubicBezTo>
                    <a:cubicBezTo>
                      <a:pt x="9" y="66"/>
                      <a:pt x="5" y="67"/>
                      <a:pt x="0" y="68"/>
                    </a:cubicBezTo>
                    <a:cubicBezTo>
                      <a:pt x="11" y="81"/>
                      <a:pt x="11" y="81"/>
                      <a:pt x="11" y="81"/>
                    </a:cubicBezTo>
                    <a:cubicBezTo>
                      <a:pt x="8" y="83"/>
                      <a:pt x="8" y="83"/>
                      <a:pt x="8" y="83"/>
                    </a:cubicBezTo>
                    <a:cubicBezTo>
                      <a:pt x="6" y="84"/>
                      <a:pt x="4" y="88"/>
                      <a:pt x="5" y="90"/>
                    </a:cubicBezTo>
                    <a:cubicBezTo>
                      <a:pt x="5" y="90"/>
                      <a:pt x="5" y="90"/>
                      <a:pt x="5" y="90"/>
                    </a:cubicBezTo>
                    <a:cubicBezTo>
                      <a:pt x="29" y="100"/>
                      <a:pt x="29" y="100"/>
                      <a:pt x="29" y="100"/>
                    </a:cubicBezTo>
                    <a:cubicBezTo>
                      <a:pt x="28" y="103"/>
                      <a:pt x="28" y="103"/>
                      <a:pt x="28" y="103"/>
                    </a:cubicBezTo>
                    <a:cubicBezTo>
                      <a:pt x="27" y="105"/>
                      <a:pt x="26" y="107"/>
                      <a:pt x="25" y="109"/>
                    </a:cubicBezTo>
                    <a:cubicBezTo>
                      <a:pt x="25" y="110"/>
                      <a:pt x="24" y="111"/>
                      <a:pt x="24" y="112"/>
                    </a:cubicBezTo>
                    <a:cubicBezTo>
                      <a:pt x="29" y="111"/>
                      <a:pt x="34" y="109"/>
                      <a:pt x="36" y="107"/>
                    </a:cubicBezTo>
                    <a:cubicBezTo>
                      <a:pt x="41" y="102"/>
                      <a:pt x="46" y="97"/>
                      <a:pt x="50" y="92"/>
                    </a:cubicBezTo>
                    <a:cubicBezTo>
                      <a:pt x="50" y="92"/>
                      <a:pt x="51" y="92"/>
                      <a:pt x="52" y="92"/>
                    </a:cubicBezTo>
                    <a:cubicBezTo>
                      <a:pt x="56" y="92"/>
                      <a:pt x="66" y="94"/>
                      <a:pt x="67" y="95"/>
                    </a:cubicBezTo>
                    <a:cubicBezTo>
                      <a:pt x="73" y="97"/>
                      <a:pt x="79" y="99"/>
                      <a:pt x="86" y="102"/>
                    </a:cubicBezTo>
                    <a:cubicBezTo>
                      <a:pt x="90" y="104"/>
                      <a:pt x="96" y="107"/>
                      <a:pt x="97" y="113"/>
                    </a:cubicBezTo>
                    <a:cubicBezTo>
                      <a:pt x="98" y="120"/>
                      <a:pt x="100" y="126"/>
                      <a:pt x="103" y="133"/>
                    </a:cubicBezTo>
                    <a:cubicBezTo>
                      <a:pt x="103" y="135"/>
                      <a:pt x="104" y="138"/>
                      <a:pt x="104" y="140"/>
                    </a:cubicBezTo>
                    <a:cubicBezTo>
                      <a:pt x="104" y="140"/>
                      <a:pt x="103" y="140"/>
                      <a:pt x="103" y="141"/>
                    </a:cubicBezTo>
                    <a:cubicBezTo>
                      <a:pt x="104" y="142"/>
                      <a:pt x="105" y="142"/>
                      <a:pt x="107" y="142"/>
                    </a:cubicBezTo>
                    <a:cubicBezTo>
                      <a:pt x="107" y="142"/>
                      <a:pt x="108" y="142"/>
                      <a:pt x="108" y="142"/>
                    </a:cubicBezTo>
                    <a:cubicBezTo>
                      <a:pt x="109" y="142"/>
                      <a:pt x="109" y="142"/>
                      <a:pt x="109" y="142"/>
                    </a:cubicBezTo>
                    <a:cubicBezTo>
                      <a:pt x="110" y="142"/>
                      <a:pt x="110" y="142"/>
                      <a:pt x="110" y="142"/>
                    </a:cubicBezTo>
                    <a:cubicBezTo>
                      <a:pt x="112" y="142"/>
                      <a:pt x="116" y="150"/>
                      <a:pt x="118" y="152"/>
                    </a:cubicBezTo>
                    <a:cubicBezTo>
                      <a:pt x="119" y="154"/>
                      <a:pt x="122" y="157"/>
                      <a:pt x="122" y="159"/>
                    </a:cubicBezTo>
                    <a:cubicBezTo>
                      <a:pt x="121" y="159"/>
                      <a:pt x="121" y="159"/>
                      <a:pt x="121" y="159"/>
                    </a:cubicBezTo>
                    <a:cubicBezTo>
                      <a:pt x="121" y="159"/>
                      <a:pt x="120" y="159"/>
                      <a:pt x="120" y="160"/>
                    </a:cubicBezTo>
                    <a:cubicBezTo>
                      <a:pt x="121" y="161"/>
                      <a:pt x="123" y="161"/>
                      <a:pt x="125" y="161"/>
                    </a:cubicBezTo>
                    <a:cubicBezTo>
                      <a:pt x="125" y="161"/>
                      <a:pt x="126" y="161"/>
                      <a:pt x="126" y="161"/>
                    </a:cubicBezTo>
                    <a:cubicBezTo>
                      <a:pt x="126" y="161"/>
                      <a:pt x="126" y="161"/>
                      <a:pt x="126" y="161"/>
                    </a:cubicBezTo>
                    <a:cubicBezTo>
                      <a:pt x="127" y="161"/>
                      <a:pt x="127" y="161"/>
                      <a:pt x="127" y="161"/>
                    </a:cubicBezTo>
                    <a:cubicBezTo>
                      <a:pt x="134" y="161"/>
                      <a:pt x="139" y="169"/>
                      <a:pt x="144" y="173"/>
                    </a:cubicBezTo>
                    <a:cubicBezTo>
                      <a:pt x="147" y="176"/>
                      <a:pt x="150" y="178"/>
                      <a:pt x="153" y="181"/>
                    </a:cubicBezTo>
                    <a:cubicBezTo>
                      <a:pt x="158" y="185"/>
                      <a:pt x="158" y="185"/>
                      <a:pt x="158" y="185"/>
                    </a:cubicBezTo>
                    <a:cubicBezTo>
                      <a:pt x="161" y="187"/>
                      <a:pt x="164" y="190"/>
                      <a:pt x="168" y="193"/>
                    </a:cubicBezTo>
                    <a:cubicBezTo>
                      <a:pt x="170" y="195"/>
                      <a:pt x="172" y="197"/>
                      <a:pt x="175" y="198"/>
                    </a:cubicBezTo>
                    <a:cubicBezTo>
                      <a:pt x="175" y="199"/>
                      <a:pt x="176" y="200"/>
                      <a:pt x="176" y="200"/>
                    </a:cubicBezTo>
                    <a:cubicBezTo>
                      <a:pt x="177" y="201"/>
                      <a:pt x="178" y="201"/>
                      <a:pt x="180" y="201"/>
                    </a:cubicBezTo>
                    <a:cubicBezTo>
                      <a:pt x="182" y="201"/>
                      <a:pt x="184" y="201"/>
                      <a:pt x="186" y="200"/>
                    </a:cubicBezTo>
                    <a:cubicBezTo>
                      <a:pt x="187" y="200"/>
                      <a:pt x="189" y="200"/>
                      <a:pt x="191" y="200"/>
                    </a:cubicBezTo>
                    <a:cubicBezTo>
                      <a:pt x="194" y="200"/>
                      <a:pt x="196" y="200"/>
                      <a:pt x="197" y="202"/>
                    </a:cubicBezTo>
                    <a:cubicBezTo>
                      <a:pt x="200" y="206"/>
                      <a:pt x="202" y="210"/>
                      <a:pt x="206" y="212"/>
                    </a:cubicBezTo>
                    <a:cubicBezTo>
                      <a:pt x="209" y="213"/>
                      <a:pt x="212" y="215"/>
                      <a:pt x="216" y="216"/>
                    </a:cubicBezTo>
                    <a:cubicBezTo>
                      <a:pt x="215" y="218"/>
                      <a:pt x="213" y="220"/>
                      <a:pt x="212" y="222"/>
                    </a:cubicBezTo>
                    <a:cubicBezTo>
                      <a:pt x="216" y="221"/>
                      <a:pt x="219" y="220"/>
                      <a:pt x="222" y="220"/>
                    </a:cubicBezTo>
                    <a:cubicBezTo>
                      <a:pt x="223" y="220"/>
                      <a:pt x="224" y="219"/>
                      <a:pt x="224" y="219"/>
                    </a:cubicBezTo>
                    <a:cubicBezTo>
                      <a:pt x="225" y="219"/>
                      <a:pt x="225" y="219"/>
                      <a:pt x="225" y="219"/>
                    </a:cubicBezTo>
                    <a:cubicBezTo>
                      <a:pt x="227" y="220"/>
                      <a:pt x="231" y="228"/>
                      <a:pt x="231" y="230"/>
                    </a:cubicBezTo>
                    <a:cubicBezTo>
                      <a:pt x="231" y="230"/>
                      <a:pt x="230" y="231"/>
                      <a:pt x="230" y="232"/>
                    </a:cubicBezTo>
                    <a:cubicBezTo>
                      <a:pt x="229" y="234"/>
                      <a:pt x="229" y="233"/>
                      <a:pt x="232" y="236"/>
                    </a:cubicBezTo>
                    <a:cubicBezTo>
                      <a:pt x="235" y="238"/>
                      <a:pt x="239" y="241"/>
                      <a:pt x="242" y="241"/>
                    </a:cubicBezTo>
                    <a:cubicBezTo>
                      <a:pt x="243" y="241"/>
                      <a:pt x="243" y="241"/>
                      <a:pt x="243" y="241"/>
                    </a:cubicBezTo>
                    <a:cubicBezTo>
                      <a:pt x="245" y="241"/>
                      <a:pt x="247" y="241"/>
                      <a:pt x="248" y="241"/>
                    </a:cubicBezTo>
                    <a:cubicBezTo>
                      <a:pt x="250" y="241"/>
                      <a:pt x="252" y="241"/>
                      <a:pt x="253" y="244"/>
                    </a:cubicBezTo>
                    <a:cubicBezTo>
                      <a:pt x="254" y="247"/>
                      <a:pt x="255" y="251"/>
                      <a:pt x="256" y="254"/>
                    </a:cubicBezTo>
                    <a:cubicBezTo>
                      <a:pt x="259" y="261"/>
                      <a:pt x="260" y="270"/>
                      <a:pt x="264" y="276"/>
                    </a:cubicBezTo>
                    <a:cubicBezTo>
                      <a:pt x="265" y="278"/>
                      <a:pt x="266" y="277"/>
                      <a:pt x="266" y="279"/>
                    </a:cubicBezTo>
                    <a:cubicBezTo>
                      <a:pt x="266" y="283"/>
                      <a:pt x="263" y="283"/>
                      <a:pt x="260" y="284"/>
                    </a:cubicBezTo>
                    <a:cubicBezTo>
                      <a:pt x="259" y="284"/>
                      <a:pt x="257" y="285"/>
                      <a:pt x="257" y="286"/>
                    </a:cubicBezTo>
                    <a:cubicBezTo>
                      <a:pt x="256" y="287"/>
                      <a:pt x="256" y="286"/>
                      <a:pt x="256" y="287"/>
                    </a:cubicBezTo>
                    <a:cubicBezTo>
                      <a:pt x="255" y="288"/>
                      <a:pt x="258" y="290"/>
                      <a:pt x="258" y="291"/>
                    </a:cubicBezTo>
                    <a:cubicBezTo>
                      <a:pt x="258" y="292"/>
                      <a:pt x="255" y="295"/>
                      <a:pt x="254" y="296"/>
                    </a:cubicBezTo>
                    <a:cubicBezTo>
                      <a:pt x="251" y="300"/>
                      <a:pt x="245" y="309"/>
                      <a:pt x="254" y="311"/>
                    </a:cubicBezTo>
                    <a:cubicBezTo>
                      <a:pt x="254" y="311"/>
                      <a:pt x="256" y="311"/>
                      <a:pt x="257" y="311"/>
                    </a:cubicBezTo>
                    <a:cubicBezTo>
                      <a:pt x="259" y="311"/>
                      <a:pt x="261" y="311"/>
                      <a:pt x="261" y="311"/>
                    </a:cubicBezTo>
                    <a:cubicBezTo>
                      <a:pt x="263" y="310"/>
                      <a:pt x="266" y="305"/>
                      <a:pt x="268" y="303"/>
                    </a:cubicBezTo>
                    <a:cubicBezTo>
                      <a:pt x="270" y="301"/>
                      <a:pt x="275" y="296"/>
                      <a:pt x="276" y="293"/>
                    </a:cubicBezTo>
                    <a:cubicBezTo>
                      <a:pt x="277" y="291"/>
                      <a:pt x="275" y="286"/>
                      <a:pt x="275" y="285"/>
                    </a:cubicBezTo>
                    <a:cubicBezTo>
                      <a:pt x="276" y="282"/>
                      <a:pt x="282" y="277"/>
                      <a:pt x="286" y="277"/>
                    </a:cubicBezTo>
                    <a:cubicBezTo>
                      <a:pt x="286" y="277"/>
                      <a:pt x="286" y="277"/>
                      <a:pt x="287" y="277"/>
                    </a:cubicBezTo>
                    <a:cubicBezTo>
                      <a:pt x="288" y="277"/>
                      <a:pt x="290" y="278"/>
                      <a:pt x="291" y="278"/>
                    </a:cubicBezTo>
                    <a:cubicBezTo>
                      <a:pt x="292" y="278"/>
                      <a:pt x="292" y="278"/>
                      <a:pt x="292" y="278"/>
                    </a:cubicBezTo>
                    <a:cubicBezTo>
                      <a:pt x="295" y="275"/>
                      <a:pt x="293" y="269"/>
                      <a:pt x="293" y="266"/>
                    </a:cubicBezTo>
                    <a:cubicBezTo>
                      <a:pt x="292" y="261"/>
                      <a:pt x="288" y="259"/>
                      <a:pt x="283" y="256"/>
                    </a:cubicBezTo>
                    <a:cubicBezTo>
                      <a:pt x="282" y="255"/>
                      <a:pt x="282" y="255"/>
                      <a:pt x="281" y="254"/>
                    </a:cubicBezTo>
                    <a:cubicBezTo>
                      <a:pt x="280" y="254"/>
                      <a:pt x="280" y="254"/>
                      <a:pt x="280" y="254"/>
                    </a:cubicBezTo>
                    <a:cubicBezTo>
                      <a:pt x="279" y="254"/>
                      <a:pt x="279" y="254"/>
                      <a:pt x="279" y="254"/>
                    </a:cubicBezTo>
                    <a:cubicBezTo>
                      <a:pt x="279" y="254"/>
                      <a:pt x="278" y="254"/>
                      <a:pt x="278" y="254"/>
                    </a:cubicBezTo>
                    <a:cubicBezTo>
                      <a:pt x="278" y="254"/>
                      <a:pt x="277" y="254"/>
                      <a:pt x="277" y="254"/>
                    </a:cubicBezTo>
                    <a:cubicBezTo>
                      <a:pt x="274" y="252"/>
                      <a:pt x="276" y="249"/>
                      <a:pt x="276" y="246"/>
                    </a:cubicBezTo>
                    <a:cubicBezTo>
                      <a:pt x="278" y="238"/>
                      <a:pt x="281" y="232"/>
                      <a:pt x="288" y="225"/>
                    </a:cubicBezTo>
                    <a:cubicBezTo>
                      <a:pt x="289" y="225"/>
                      <a:pt x="290" y="224"/>
                      <a:pt x="292" y="224"/>
                    </a:cubicBezTo>
                    <a:cubicBezTo>
                      <a:pt x="295" y="224"/>
                      <a:pt x="298" y="226"/>
                      <a:pt x="294" y="228"/>
                    </a:cubicBezTo>
                    <a:cubicBezTo>
                      <a:pt x="298" y="229"/>
                      <a:pt x="302" y="230"/>
                      <a:pt x="306" y="231"/>
                    </a:cubicBezTo>
                    <a:cubicBezTo>
                      <a:pt x="311" y="232"/>
                      <a:pt x="311" y="234"/>
                      <a:pt x="314" y="238"/>
                    </a:cubicBezTo>
                    <a:cubicBezTo>
                      <a:pt x="318" y="244"/>
                      <a:pt x="321" y="245"/>
                      <a:pt x="327" y="248"/>
                    </a:cubicBezTo>
                    <a:cubicBezTo>
                      <a:pt x="328" y="244"/>
                      <a:pt x="330" y="243"/>
                      <a:pt x="331" y="240"/>
                    </a:cubicBezTo>
                    <a:cubicBezTo>
                      <a:pt x="332" y="234"/>
                      <a:pt x="323" y="228"/>
                      <a:pt x="319" y="224"/>
                    </a:cubicBezTo>
                    <a:cubicBezTo>
                      <a:pt x="315" y="220"/>
                      <a:pt x="308" y="217"/>
                      <a:pt x="303" y="214"/>
                    </a:cubicBezTo>
                    <a:cubicBezTo>
                      <a:pt x="299" y="211"/>
                      <a:pt x="294" y="209"/>
                      <a:pt x="290" y="207"/>
                    </a:cubicBezTo>
                    <a:cubicBezTo>
                      <a:pt x="278" y="201"/>
                      <a:pt x="266" y="198"/>
                      <a:pt x="258" y="186"/>
                    </a:cubicBezTo>
                    <a:cubicBezTo>
                      <a:pt x="261" y="185"/>
                      <a:pt x="266" y="183"/>
                      <a:pt x="265" y="180"/>
                    </a:cubicBezTo>
                    <a:cubicBezTo>
                      <a:pt x="265" y="179"/>
                      <a:pt x="265" y="177"/>
                      <a:pt x="264" y="177"/>
                    </a:cubicBezTo>
                    <a:cubicBezTo>
                      <a:pt x="254" y="177"/>
                      <a:pt x="245" y="177"/>
                      <a:pt x="236" y="176"/>
                    </a:cubicBezTo>
                    <a:cubicBezTo>
                      <a:pt x="233" y="176"/>
                      <a:pt x="227" y="173"/>
                      <a:pt x="225" y="171"/>
                    </a:cubicBezTo>
                    <a:cubicBezTo>
                      <a:pt x="221" y="169"/>
                      <a:pt x="218" y="166"/>
                      <a:pt x="215" y="163"/>
                    </a:cubicBezTo>
                    <a:cubicBezTo>
                      <a:pt x="208" y="157"/>
                      <a:pt x="205" y="152"/>
                      <a:pt x="201" y="144"/>
                    </a:cubicBezTo>
                    <a:cubicBezTo>
                      <a:pt x="198" y="139"/>
                      <a:pt x="198" y="128"/>
                      <a:pt x="193" y="124"/>
                    </a:cubicBezTo>
                    <a:cubicBezTo>
                      <a:pt x="186" y="119"/>
                      <a:pt x="179" y="113"/>
                      <a:pt x="171" y="108"/>
                    </a:cubicBezTo>
                    <a:cubicBezTo>
                      <a:pt x="164" y="104"/>
                      <a:pt x="158" y="100"/>
                      <a:pt x="156" y="92"/>
                    </a:cubicBezTo>
                    <a:cubicBezTo>
                      <a:pt x="155" y="87"/>
                      <a:pt x="153" y="81"/>
                      <a:pt x="154" y="77"/>
                    </a:cubicBezTo>
                    <a:cubicBezTo>
                      <a:pt x="155" y="77"/>
                      <a:pt x="156" y="77"/>
                      <a:pt x="156" y="77"/>
                    </a:cubicBezTo>
                    <a:cubicBezTo>
                      <a:pt x="159" y="77"/>
                      <a:pt x="160" y="76"/>
                      <a:pt x="161" y="73"/>
                    </a:cubicBezTo>
                    <a:cubicBezTo>
                      <a:pt x="161" y="71"/>
                      <a:pt x="160" y="70"/>
                      <a:pt x="158" y="67"/>
                    </a:cubicBezTo>
                    <a:cubicBezTo>
                      <a:pt x="157" y="66"/>
                      <a:pt x="151" y="61"/>
                      <a:pt x="151" y="59"/>
                    </a:cubicBezTo>
                    <a:cubicBezTo>
                      <a:pt x="151" y="58"/>
                      <a:pt x="153" y="55"/>
                      <a:pt x="154" y="54"/>
                    </a:cubicBezTo>
                    <a:cubicBezTo>
                      <a:pt x="155" y="53"/>
                      <a:pt x="158" y="51"/>
                      <a:pt x="159" y="51"/>
                    </a:cubicBezTo>
                    <a:cubicBezTo>
                      <a:pt x="159" y="52"/>
                      <a:pt x="159" y="54"/>
                      <a:pt x="158" y="55"/>
                    </a:cubicBezTo>
                    <a:cubicBezTo>
                      <a:pt x="161" y="54"/>
                      <a:pt x="164" y="53"/>
                      <a:pt x="167" y="51"/>
                    </a:cubicBezTo>
                    <a:cubicBezTo>
                      <a:pt x="169" y="50"/>
                      <a:pt x="176" y="49"/>
                      <a:pt x="177" y="47"/>
                    </a:cubicBezTo>
                    <a:cubicBezTo>
                      <a:pt x="179" y="44"/>
                      <a:pt x="176" y="44"/>
                      <a:pt x="180" y="43"/>
                    </a:cubicBezTo>
                    <a:cubicBezTo>
                      <a:pt x="180" y="43"/>
                      <a:pt x="180" y="43"/>
                      <a:pt x="181" y="43"/>
                    </a:cubicBezTo>
                    <a:cubicBezTo>
                      <a:pt x="182" y="43"/>
                      <a:pt x="183" y="43"/>
                      <a:pt x="184" y="44"/>
                    </a:cubicBezTo>
                    <a:cubicBezTo>
                      <a:pt x="185" y="44"/>
                      <a:pt x="185" y="44"/>
                      <a:pt x="186" y="44"/>
                    </a:cubicBezTo>
                    <a:cubicBezTo>
                      <a:pt x="187" y="44"/>
                      <a:pt x="188" y="44"/>
                      <a:pt x="189" y="44"/>
                    </a:cubicBezTo>
                    <a:cubicBezTo>
                      <a:pt x="189" y="43"/>
                      <a:pt x="189" y="44"/>
                      <a:pt x="189" y="43"/>
                    </a:cubicBezTo>
                    <a:cubicBezTo>
                      <a:pt x="189" y="43"/>
                      <a:pt x="189" y="43"/>
                      <a:pt x="189" y="43"/>
                    </a:cubicBezTo>
                    <a:cubicBezTo>
                      <a:pt x="189" y="42"/>
                      <a:pt x="189" y="42"/>
                      <a:pt x="189" y="42"/>
                    </a:cubicBezTo>
                    <a:cubicBezTo>
                      <a:pt x="188" y="41"/>
                      <a:pt x="188" y="40"/>
                      <a:pt x="189" y="38"/>
                    </a:cubicBezTo>
                    <a:cubicBezTo>
                      <a:pt x="189" y="37"/>
                      <a:pt x="189" y="37"/>
                      <a:pt x="189" y="37"/>
                    </a:cubicBezTo>
                    <a:cubicBezTo>
                      <a:pt x="189" y="37"/>
                      <a:pt x="187" y="36"/>
                      <a:pt x="187" y="36"/>
                    </a:cubicBezTo>
                    <a:cubicBezTo>
                      <a:pt x="182" y="32"/>
                      <a:pt x="182" y="32"/>
                      <a:pt x="182" y="32"/>
                    </a:cubicBezTo>
                    <a:cubicBezTo>
                      <a:pt x="187" y="30"/>
                      <a:pt x="187" y="30"/>
                      <a:pt x="187" y="30"/>
                    </a:cubicBezTo>
                    <a:cubicBezTo>
                      <a:pt x="188" y="29"/>
                      <a:pt x="188" y="29"/>
                      <a:pt x="188" y="29"/>
                    </a:cubicBezTo>
                    <a:cubicBezTo>
                      <a:pt x="188" y="29"/>
                      <a:pt x="188" y="29"/>
                      <a:pt x="188" y="29"/>
                    </a:cubicBezTo>
                    <a:cubicBezTo>
                      <a:pt x="180" y="24"/>
                      <a:pt x="180" y="24"/>
                      <a:pt x="180" y="24"/>
                    </a:cubicBezTo>
                    <a:cubicBezTo>
                      <a:pt x="184" y="21"/>
                      <a:pt x="184" y="21"/>
                      <a:pt x="184" y="21"/>
                    </a:cubicBezTo>
                    <a:cubicBezTo>
                      <a:pt x="185" y="21"/>
                      <a:pt x="185" y="21"/>
                      <a:pt x="186" y="20"/>
                    </a:cubicBezTo>
                    <a:cubicBezTo>
                      <a:pt x="187" y="20"/>
                      <a:pt x="187" y="20"/>
                      <a:pt x="187" y="20"/>
                    </a:cubicBezTo>
                    <a:cubicBezTo>
                      <a:pt x="187" y="19"/>
                      <a:pt x="188" y="19"/>
                      <a:pt x="189" y="18"/>
                    </a:cubicBezTo>
                    <a:cubicBezTo>
                      <a:pt x="189" y="18"/>
                      <a:pt x="189" y="18"/>
                      <a:pt x="189" y="18"/>
                    </a:cubicBezTo>
                    <a:cubicBezTo>
                      <a:pt x="187" y="18"/>
                      <a:pt x="186" y="18"/>
                      <a:pt x="184" y="18"/>
                    </a:cubicBezTo>
                    <a:cubicBezTo>
                      <a:pt x="178" y="17"/>
                      <a:pt x="172" y="17"/>
                      <a:pt x="165" y="15"/>
                    </a:cubicBezTo>
                    <a:cubicBezTo>
                      <a:pt x="164" y="15"/>
                      <a:pt x="164" y="15"/>
                      <a:pt x="164" y="15"/>
                    </a:cubicBezTo>
                    <a:cubicBezTo>
                      <a:pt x="161" y="14"/>
                      <a:pt x="161" y="14"/>
                      <a:pt x="161" y="14"/>
                    </a:cubicBezTo>
                    <a:cubicBezTo>
                      <a:pt x="156" y="14"/>
                      <a:pt x="151" y="9"/>
                      <a:pt x="149" y="5"/>
                    </a:cubicBezTo>
                    <a:cubicBezTo>
                      <a:pt x="149" y="4"/>
                      <a:pt x="149" y="4"/>
                      <a:pt x="149" y="4"/>
                    </a:cubicBezTo>
                    <a:cubicBezTo>
                      <a:pt x="148" y="3"/>
                      <a:pt x="148" y="2"/>
                      <a:pt x="1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4" name="Freeform 272">
                <a:extLst>
                  <a:ext uri="{FF2B5EF4-FFF2-40B4-BE49-F238E27FC236}">
                    <a16:creationId xmlns:a16="http://schemas.microsoft.com/office/drawing/2014/main" id="{B71A6A8F-F4F2-4528-9CC6-D4B939A43940}"/>
                  </a:ext>
                </a:extLst>
              </p:cNvPr>
              <p:cNvSpPr>
                <a:spLocks/>
              </p:cNvSpPr>
              <p:nvPr/>
            </p:nvSpPr>
            <p:spPr bwMode="auto">
              <a:xfrm>
                <a:off x="4882779" y="3884113"/>
                <a:ext cx="7370" cy="7370"/>
              </a:xfrm>
              <a:custGeom>
                <a:avLst/>
                <a:gdLst>
                  <a:gd name="T0" fmla="*/ 0 w 2"/>
                  <a:gd name="T1" fmla="*/ 0 h 2"/>
                  <a:gd name="T2" fmla="*/ 0 w 2"/>
                  <a:gd name="T3" fmla="*/ 0 h 2"/>
                  <a:gd name="T4" fmla="*/ 0 w 2"/>
                  <a:gd name="T5" fmla="*/ 2 h 2"/>
                  <a:gd name="T6" fmla="*/ 2 w 2"/>
                  <a:gd name="T7" fmla="*/ 2 h 2"/>
                  <a:gd name="T8" fmla="*/ 2 w 2"/>
                  <a:gd name="T9" fmla="*/ 1 h 2"/>
                  <a:gd name="T10" fmla="*/ 2 w 2"/>
                  <a:gd name="T11" fmla="*/ 1 h 2"/>
                  <a:gd name="T12" fmla="*/ 1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cubicBezTo>
                      <a:pt x="0" y="0"/>
                      <a:pt x="0" y="0"/>
                      <a:pt x="0" y="0"/>
                    </a:cubicBezTo>
                    <a:cubicBezTo>
                      <a:pt x="0" y="1"/>
                      <a:pt x="0" y="1"/>
                      <a:pt x="0" y="2"/>
                    </a:cubicBezTo>
                    <a:cubicBezTo>
                      <a:pt x="1" y="2"/>
                      <a:pt x="1" y="2"/>
                      <a:pt x="2" y="2"/>
                    </a:cubicBezTo>
                    <a:cubicBezTo>
                      <a:pt x="2" y="1"/>
                      <a:pt x="2" y="1"/>
                      <a:pt x="2" y="1"/>
                    </a:cubicBezTo>
                    <a:cubicBezTo>
                      <a:pt x="2" y="1"/>
                      <a:pt x="2" y="1"/>
                      <a:pt x="2"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5" name="Freeform 273">
                <a:extLst>
                  <a:ext uri="{FF2B5EF4-FFF2-40B4-BE49-F238E27FC236}">
                    <a16:creationId xmlns:a16="http://schemas.microsoft.com/office/drawing/2014/main" id="{97662B73-E6E0-44F2-A2DF-8E2217A0685B}"/>
                  </a:ext>
                </a:extLst>
              </p:cNvPr>
              <p:cNvSpPr>
                <a:spLocks noEditPoints="1"/>
              </p:cNvSpPr>
              <p:nvPr/>
            </p:nvSpPr>
            <p:spPr bwMode="auto">
              <a:xfrm>
                <a:off x="4716948" y="3581933"/>
                <a:ext cx="280069" cy="272699"/>
              </a:xfrm>
              <a:custGeom>
                <a:avLst/>
                <a:gdLst>
                  <a:gd name="T0" fmla="*/ 30 w 88"/>
                  <a:gd name="T1" fmla="*/ 19 h 86"/>
                  <a:gd name="T2" fmla="*/ 38 w 88"/>
                  <a:gd name="T3" fmla="*/ 16 h 86"/>
                  <a:gd name="T4" fmla="*/ 44 w 88"/>
                  <a:gd name="T5" fmla="*/ 22 h 86"/>
                  <a:gd name="T6" fmla="*/ 46 w 88"/>
                  <a:gd name="T7" fmla="*/ 22 h 86"/>
                  <a:gd name="T8" fmla="*/ 45 w 88"/>
                  <a:gd name="T9" fmla="*/ 27 h 86"/>
                  <a:gd name="T10" fmla="*/ 53 w 88"/>
                  <a:gd name="T11" fmla="*/ 35 h 86"/>
                  <a:gd name="T12" fmla="*/ 33 w 88"/>
                  <a:gd name="T13" fmla="*/ 40 h 86"/>
                  <a:gd name="T14" fmla="*/ 39 w 88"/>
                  <a:gd name="T15" fmla="*/ 43 h 86"/>
                  <a:gd name="T16" fmla="*/ 53 w 88"/>
                  <a:gd name="T17" fmla="*/ 37 h 86"/>
                  <a:gd name="T18" fmla="*/ 45 w 88"/>
                  <a:gd name="T19" fmla="*/ 43 h 86"/>
                  <a:gd name="T20" fmla="*/ 29 w 88"/>
                  <a:gd name="T21" fmla="*/ 41 h 86"/>
                  <a:gd name="T22" fmla="*/ 29 w 88"/>
                  <a:gd name="T23" fmla="*/ 31 h 86"/>
                  <a:gd name="T24" fmla="*/ 35 w 88"/>
                  <a:gd name="T25" fmla="*/ 26 h 86"/>
                  <a:gd name="T26" fmla="*/ 41 w 88"/>
                  <a:gd name="T27" fmla="*/ 8 h 86"/>
                  <a:gd name="T28" fmla="*/ 28 w 88"/>
                  <a:gd name="T29" fmla="*/ 19 h 86"/>
                  <a:gd name="T30" fmla="*/ 18 w 88"/>
                  <a:gd name="T31" fmla="*/ 29 h 86"/>
                  <a:gd name="T32" fmla="*/ 2 w 88"/>
                  <a:gd name="T33" fmla="*/ 60 h 86"/>
                  <a:gd name="T34" fmla="*/ 15 w 88"/>
                  <a:gd name="T35" fmla="*/ 65 h 86"/>
                  <a:gd name="T36" fmla="*/ 23 w 88"/>
                  <a:gd name="T37" fmla="*/ 66 h 86"/>
                  <a:gd name="T38" fmla="*/ 11 w 88"/>
                  <a:gd name="T39" fmla="*/ 67 h 86"/>
                  <a:gd name="T40" fmla="*/ 2 w 88"/>
                  <a:gd name="T41" fmla="*/ 70 h 86"/>
                  <a:gd name="T42" fmla="*/ 7 w 88"/>
                  <a:gd name="T43" fmla="*/ 73 h 86"/>
                  <a:gd name="T44" fmla="*/ 8 w 88"/>
                  <a:gd name="T45" fmla="*/ 75 h 86"/>
                  <a:gd name="T46" fmla="*/ 9 w 88"/>
                  <a:gd name="T47" fmla="*/ 74 h 86"/>
                  <a:gd name="T48" fmla="*/ 14 w 88"/>
                  <a:gd name="T49" fmla="*/ 71 h 86"/>
                  <a:gd name="T50" fmla="*/ 19 w 88"/>
                  <a:gd name="T51" fmla="*/ 71 h 86"/>
                  <a:gd name="T52" fmla="*/ 22 w 88"/>
                  <a:gd name="T53" fmla="*/ 70 h 86"/>
                  <a:gd name="T54" fmla="*/ 28 w 88"/>
                  <a:gd name="T55" fmla="*/ 72 h 86"/>
                  <a:gd name="T56" fmla="*/ 31 w 88"/>
                  <a:gd name="T57" fmla="*/ 72 h 86"/>
                  <a:gd name="T58" fmla="*/ 35 w 88"/>
                  <a:gd name="T59" fmla="*/ 76 h 86"/>
                  <a:gd name="T60" fmla="*/ 35 w 88"/>
                  <a:gd name="T61" fmla="*/ 77 h 86"/>
                  <a:gd name="T62" fmla="*/ 37 w 88"/>
                  <a:gd name="T63" fmla="*/ 79 h 86"/>
                  <a:gd name="T64" fmla="*/ 38 w 88"/>
                  <a:gd name="T65" fmla="*/ 79 h 86"/>
                  <a:gd name="T66" fmla="*/ 39 w 88"/>
                  <a:gd name="T67" fmla="*/ 79 h 86"/>
                  <a:gd name="T68" fmla="*/ 46 w 88"/>
                  <a:gd name="T69" fmla="*/ 80 h 86"/>
                  <a:gd name="T70" fmla="*/ 48 w 88"/>
                  <a:gd name="T71" fmla="*/ 82 h 86"/>
                  <a:gd name="T72" fmla="*/ 54 w 88"/>
                  <a:gd name="T73" fmla="*/ 85 h 86"/>
                  <a:gd name="T74" fmla="*/ 55 w 88"/>
                  <a:gd name="T75" fmla="*/ 86 h 86"/>
                  <a:gd name="T76" fmla="*/ 55 w 88"/>
                  <a:gd name="T77" fmla="*/ 84 h 86"/>
                  <a:gd name="T78" fmla="*/ 56 w 88"/>
                  <a:gd name="T79" fmla="*/ 82 h 86"/>
                  <a:gd name="T80" fmla="*/ 58 w 88"/>
                  <a:gd name="T81" fmla="*/ 80 h 86"/>
                  <a:gd name="T82" fmla="*/ 60 w 88"/>
                  <a:gd name="T83" fmla="*/ 75 h 86"/>
                  <a:gd name="T84" fmla="*/ 52 w 88"/>
                  <a:gd name="T85" fmla="*/ 65 h 86"/>
                  <a:gd name="T86" fmla="*/ 57 w 88"/>
                  <a:gd name="T87" fmla="*/ 56 h 86"/>
                  <a:gd name="T88" fmla="*/ 58 w 88"/>
                  <a:gd name="T89" fmla="*/ 56 h 86"/>
                  <a:gd name="T90" fmla="*/ 62 w 88"/>
                  <a:gd name="T91" fmla="*/ 55 h 86"/>
                  <a:gd name="T92" fmla="*/ 67 w 88"/>
                  <a:gd name="T93" fmla="*/ 49 h 86"/>
                  <a:gd name="T94" fmla="*/ 66 w 88"/>
                  <a:gd name="T95" fmla="*/ 56 h 86"/>
                  <a:gd name="T96" fmla="*/ 70 w 88"/>
                  <a:gd name="T97" fmla="*/ 57 h 86"/>
                  <a:gd name="T98" fmla="*/ 71 w 88"/>
                  <a:gd name="T99" fmla="*/ 56 h 86"/>
                  <a:gd name="T100" fmla="*/ 72 w 88"/>
                  <a:gd name="T101" fmla="*/ 54 h 86"/>
                  <a:gd name="T102" fmla="*/ 79 w 88"/>
                  <a:gd name="T103" fmla="*/ 47 h 86"/>
                  <a:gd name="T104" fmla="*/ 83 w 88"/>
                  <a:gd name="T105" fmla="*/ 44 h 86"/>
                  <a:gd name="T106" fmla="*/ 81 w 88"/>
                  <a:gd name="T107" fmla="*/ 41 h 86"/>
                  <a:gd name="T108" fmla="*/ 76 w 88"/>
                  <a:gd name="T109" fmla="*/ 39 h 86"/>
                  <a:gd name="T110" fmla="*/ 74 w 88"/>
                  <a:gd name="T111" fmla="*/ 34 h 86"/>
                  <a:gd name="T112" fmla="*/ 71 w 88"/>
                  <a:gd name="T113" fmla="*/ 29 h 86"/>
                  <a:gd name="T114" fmla="*/ 80 w 88"/>
                  <a:gd name="T115" fmla="*/ 27 h 86"/>
                  <a:gd name="T116" fmla="*/ 84 w 88"/>
                  <a:gd name="T117" fmla="*/ 25 h 86"/>
                  <a:gd name="T118" fmla="*/ 86 w 88"/>
                  <a:gd name="T119" fmla="*/ 18 h 86"/>
                  <a:gd name="T120" fmla="*/ 87 w 88"/>
                  <a:gd name="T121" fmla="*/ 12 h 86"/>
                  <a:gd name="T122" fmla="*/ 87 w 88"/>
                  <a:gd name="T123" fmla="*/ 6 h 86"/>
                  <a:gd name="T124" fmla="*/ 84 w 88"/>
                  <a:gd name="T125"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86">
                    <a:moveTo>
                      <a:pt x="35" y="26"/>
                    </a:moveTo>
                    <a:cubicBezTo>
                      <a:pt x="31" y="26"/>
                      <a:pt x="31" y="22"/>
                      <a:pt x="30" y="19"/>
                    </a:cubicBezTo>
                    <a:cubicBezTo>
                      <a:pt x="31" y="18"/>
                      <a:pt x="32" y="18"/>
                      <a:pt x="34" y="17"/>
                    </a:cubicBezTo>
                    <a:cubicBezTo>
                      <a:pt x="36" y="17"/>
                      <a:pt x="37" y="16"/>
                      <a:pt x="38" y="16"/>
                    </a:cubicBezTo>
                    <a:cubicBezTo>
                      <a:pt x="40" y="16"/>
                      <a:pt x="40" y="17"/>
                      <a:pt x="41" y="21"/>
                    </a:cubicBezTo>
                    <a:cubicBezTo>
                      <a:pt x="41" y="22"/>
                      <a:pt x="42" y="22"/>
                      <a:pt x="44" y="22"/>
                    </a:cubicBezTo>
                    <a:cubicBezTo>
                      <a:pt x="44" y="22"/>
                      <a:pt x="45" y="22"/>
                      <a:pt x="45" y="22"/>
                    </a:cubicBezTo>
                    <a:cubicBezTo>
                      <a:pt x="45" y="22"/>
                      <a:pt x="46" y="22"/>
                      <a:pt x="46" y="22"/>
                    </a:cubicBezTo>
                    <a:cubicBezTo>
                      <a:pt x="47" y="22"/>
                      <a:pt x="48" y="22"/>
                      <a:pt x="49" y="23"/>
                    </a:cubicBezTo>
                    <a:cubicBezTo>
                      <a:pt x="47" y="24"/>
                      <a:pt x="45" y="25"/>
                      <a:pt x="45" y="27"/>
                    </a:cubicBezTo>
                    <a:cubicBezTo>
                      <a:pt x="45" y="30"/>
                      <a:pt x="47" y="30"/>
                      <a:pt x="50" y="31"/>
                    </a:cubicBezTo>
                    <a:cubicBezTo>
                      <a:pt x="52" y="31"/>
                      <a:pt x="53" y="33"/>
                      <a:pt x="53" y="35"/>
                    </a:cubicBezTo>
                    <a:cubicBezTo>
                      <a:pt x="52" y="33"/>
                      <a:pt x="46" y="32"/>
                      <a:pt x="45" y="32"/>
                    </a:cubicBezTo>
                    <a:cubicBezTo>
                      <a:pt x="43" y="34"/>
                      <a:pt x="34" y="37"/>
                      <a:pt x="33" y="40"/>
                    </a:cubicBezTo>
                    <a:cubicBezTo>
                      <a:pt x="32" y="42"/>
                      <a:pt x="35" y="42"/>
                      <a:pt x="37" y="43"/>
                    </a:cubicBezTo>
                    <a:cubicBezTo>
                      <a:pt x="38" y="43"/>
                      <a:pt x="38" y="43"/>
                      <a:pt x="39" y="43"/>
                    </a:cubicBezTo>
                    <a:cubicBezTo>
                      <a:pt x="42" y="43"/>
                      <a:pt x="48" y="39"/>
                      <a:pt x="51" y="38"/>
                    </a:cubicBezTo>
                    <a:cubicBezTo>
                      <a:pt x="52" y="37"/>
                      <a:pt x="52" y="37"/>
                      <a:pt x="53" y="37"/>
                    </a:cubicBezTo>
                    <a:cubicBezTo>
                      <a:pt x="52" y="37"/>
                      <a:pt x="52" y="38"/>
                      <a:pt x="52" y="38"/>
                    </a:cubicBezTo>
                    <a:cubicBezTo>
                      <a:pt x="50" y="40"/>
                      <a:pt x="46" y="40"/>
                      <a:pt x="45" y="43"/>
                    </a:cubicBezTo>
                    <a:cubicBezTo>
                      <a:pt x="44" y="44"/>
                      <a:pt x="42" y="45"/>
                      <a:pt x="41" y="45"/>
                    </a:cubicBezTo>
                    <a:cubicBezTo>
                      <a:pt x="37" y="45"/>
                      <a:pt x="31" y="42"/>
                      <a:pt x="29" y="41"/>
                    </a:cubicBezTo>
                    <a:cubicBezTo>
                      <a:pt x="31" y="40"/>
                      <a:pt x="31" y="38"/>
                      <a:pt x="31" y="35"/>
                    </a:cubicBezTo>
                    <a:cubicBezTo>
                      <a:pt x="30" y="34"/>
                      <a:pt x="29" y="32"/>
                      <a:pt x="29" y="31"/>
                    </a:cubicBezTo>
                    <a:cubicBezTo>
                      <a:pt x="30" y="28"/>
                      <a:pt x="37" y="31"/>
                      <a:pt x="36" y="26"/>
                    </a:cubicBezTo>
                    <a:cubicBezTo>
                      <a:pt x="36" y="26"/>
                      <a:pt x="35" y="26"/>
                      <a:pt x="35" y="26"/>
                    </a:cubicBezTo>
                    <a:moveTo>
                      <a:pt x="72" y="0"/>
                    </a:moveTo>
                    <a:cubicBezTo>
                      <a:pt x="62" y="0"/>
                      <a:pt x="49" y="0"/>
                      <a:pt x="41" y="8"/>
                    </a:cubicBezTo>
                    <a:cubicBezTo>
                      <a:pt x="39" y="10"/>
                      <a:pt x="38" y="13"/>
                      <a:pt x="35" y="15"/>
                    </a:cubicBezTo>
                    <a:cubicBezTo>
                      <a:pt x="33" y="17"/>
                      <a:pt x="31" y="18"/>
                      <a:pt x="28" y="19"/>
                    </a:cubicBezTo>
                    <a:cubicBezTo>
                      <a:pt x="26" y="20"/>
                      <a:pt x="21" y="20"/>
                      <a:pt x="20" y="21"/>
                    </a:cubicBezTo>
                    <a:cubicBezTo>
                      <a:pt x="19" y="22"/>
                      <a:pt x="18" y="27"/>
                      <a:pt x="18" y="29"/>
                    </a:cubicBezTo>
                    <a:cubicBezTo>
                      <a:pt x="16" y="39"/>
                      <a:pt x="12" y="46"/>
                      <a:pt x="5" y="54"/>
                    </a:cubicBezTo>
                    <a:cubicBezTo>
                      <a:pt x="2" y="56"/>
                      <a:pt x="1" y="57"/>
                      <a:pt x="2" y="60"/>
                    </a:cubicBezTo>
                    <a:cubicBezTo>
                      <a:pt x="2" y="61"/>
                      <a:pt x="7" y="63"/>
                      <a:pt x="8" y="64"/>
                    </a:cubicBezTo>
                    <a:cubicBezTo>
                      <a:pt x="11" y="65"/>
                      <a:pt x="13" y="65"/>
                      <a:pt x="15" y="65"/>
                    </a:cubicBezTo>
                    <a:cubicBezTo>
                      <a:pt x="17" y="65"/>
                      <a:pt x="19" y="64"/>
                      <a:pt x="22" y="62"/>
                    </a:cubicBezTo>
                    <a:cubicBezTo>
                      <a:pt x="21" y="64"/>
                      <a:pt x="22" y="65"/>
                      <a:pt x="23" y="66"/>
                    </a:cubicBezTo>
                    <a:cubicBezTo>
                      <a:pt x="23" y="65"/>
                      <a:pt x="21" y="65"/>
                      <a:pt x="20" y="65"/>
                    </a:cubicBezTo>
                    <a:cubicBezTo>
                      <a:pt x="17" y="65"/>
                      <a:pt x="13" y="66"/>
                      <a:pt x="11" y="67"/>
                    </a:cubicBezTo>
                    <a:cubicBezTo>
                      <a:pt x="9" y="67"/>
                      <a:pt x="5" y="68"/>
                      <a:pt x="6" y="70"/>
                    </a:cubicBezTo>
                    <a:cubicBezTo>
                      <a:pt x="5" y="70"/>
                      <a:pt x="3" y="70"/>
                      <a:pt x="2" y="70"/>
                    </a:cubicBezTo>
                    <a:cubicBezTo>
                      <a:pt x="1" y="70"/>
                      <a:pt x="1" y="70"/>
                      <a:pt x="0" y="70"/>
                    </a:cubicBezTo>
                    <a:cubicBezTo>
                      <a:pt x="2" y="71"/>
                      <a:pt x="5" y="72"/>
                      <a:pt x="7" y="73"/>
                    </a:cubicBezTo>
                    <a:cubicBezTo>
                      <a:pt x="8" y="74"/>
                      <a:pt x="8" y="75"/>
                      <a:pt x="8" y="75"/>
                    </a:cubicBezTo>
                    <a:cubicBezTo>
                      <a:pt x="8" y="75"/>
                      <a:pt x="8" y="75"/>
                      <a:pt x="8" y="75"/>
                    </a:cubicBezTo>
                    <a:cubicBezTo>
                      <a:pt x="8" y="75"/>
                      <a:pt x="8" y="75"/>
                      <a:pt x="8" y="75"/>
                    </a:cubicBezTo>
                    <a:cubicBezTo>
                      <a:pt x="9" y="74"/>
                      <a:pt x="9" y="74"/>
                      <a:pt x="9" y="74"/>
                    </a:cubicBezTo>
                    <a:cubicBezTo>
                      <a:pt x="9" y="73"/>
                      <a:pt x="10" y="72"/>
                      <a:pt x="12" y="71"/>
                    </a:cubicBezTo>
                    <a:cubicBezTo>
                      <a:pt x="13" y="71"/>
                      <a:pt x="14" y="71"/>
                      <a:pt x="14" y="71"/>
                    </a:cubicBezTo>
                    <a:cubicBezTo>
                      <a:pt x="16" y="71"/>
                      <a:pt x="17" y="71"/>
                      <a:pt x="18" y="72"/>
                    </a:cubicBezTo>
                    <a:cubicBezTo>
                      <a:pt x="19" y="71"/>
                      <a:pt x="19" y="71"/>
                      <a:pt x="19" y="71"/>
                    </a:cubicBezTo>
                    <a:cubicBezTo>
                      <a:pt x="20" y="71"/>
                      <a:pt x="20" y="71"/>
                      <a:pt x="20" y="71"/>
                    </a:cubicBezTo>
                    <a:cubicBezTo>
                      <a:pt x="20" y="71"/>
                      <a:pt x="21" y="70"/>
                      <a:pt x="22" y="70"/>
                    </a:cubicBezTo>
                    <a:cubicBezTo>
                      <a:pt x="23" y="70"/>
                      <a:pt x="24" y="71"/>
                      <a:pt x="26" y="71"/>
                    </a:cubicBezTo>
                    <a:cubicBezTo>
                      <a:pt x="26" y="71"/>
                      <a:pt x="27" y="71"/>
                      <a:pt x="28" y="72"/>
                    </a:cubicBezTo>
                    <a:cubicBezTo>
                      <a:pt x="29" y="71"/>
                      <a:pt x="29" y="71"/>
                      <a:pt x="29" y="71"/>
                    </a:cubicBezTo>
                    <a:cubicBezTo>
                      <a:pt x="31" y="72"/>
                      <a:pt x="31" y="72"/>
                      <a:pt x="31" y="72"/>
                    </a:cubicBezTo>
                    <a:cubicBezTo>
                      <a:pt x="32" y="72"/>
                      <a:pt x="33" y="73"/>
                      <a:pt x="34" y="75"/>
                    </a:cubicBezTo>
                    <a:cubicBezTo>
                      <a:pt x="35" y="76"/>
                      <a:pt x="35" y="76"/>
                      <a:pt x="35" y="76"/>
                    </a:cubicBezTo>
                    <a:cubicBezTo>
                      <a:pt x="35" y="77"/>
                      <a:pt x="35" y="77"/>
                      <a:pt x="35" y="77"/>
                    </a:cubicBezTo>
                    <a:cubicBezTo>
                      <a:pt x="35" y="77"/>
                      <a:pt x="35" y="77"/>
                      <a:pt x="35" y="77"/>
                    </a:cubicBezTo>
                    <a:cubicBezTo>
                      <a:pt x="35" y="78"/>
                      <a:pt x="36" y="78"/>
                      <a:pt x="36" y="79"/>
                    </a:cubicBezTo>
                    <a:cubicBezTo>
                      <a:pt x="37" y="79"/>
                      <a:pt x="37" y="79"/>
                      <a:pt x="37" y="79"/>
                    </a:cubicBezTo>
                    <a:cubicBezTo>
                      <a:pt x="37" y="79"/>
                      <a:pt x="38" y="79"/>
                      <a:pt x="38" y="79"/>
                    </a:cubicBezTo>
                    <a:cubicBezTo>
                      <a:pt x="38" y="79"/>
                      <a:pt x="38" y="79"/>
                      <a:pt x="38" y="79"/>
                    </a:cubicBezTo>
                    <a:cubicBezTo>
                      <a:pt x="39" y="79"/>
                      <a:pt x="39" y="79"/>
                      <a:pt x="39" y="79"/>
                    </a:cubicBezTo>
                    <a:cubicBezTo>
                      <a:pt x="39" y="79"/>
                      <a:pt x="39" y="79"/>
                      <a:pt x="39" y="79"/>
                    </a:cubicBezTo>
                    <a:cubicBezTo>
                      <a:pt x="40" y="79"/>
                      <a:pt x="41" y="78"/>
                      <a:pt x="42" y="78"/>
                    </a:cubicBezTo>
                    <a:cubicBezTo>
                      <a:pt x="43" y="78"/>
                      <a:pt x="45" y="79"/>
                      <a:pt x="46" y="80"/>
                    </a:cubicBezTo>
                    <a:cubicBezTo>
                      <a:pt x="47" y="81"/>
                      <a:pt x="47" y="81"/>
                      <a:pt x="47" y="81"/>
                    </a:cubicBezTo>
                    <a:cubicBezTo>
                      <a:pt x="47" y="81"/>
                      <a:pt x="48" y="82"/>
                      <a:pt x="48" y="82"/>
                    </a:cubicBezTo>
                    <a:cubicBezTo>
                      <a:pt x="49" y="82"/>
                      <a:pt x="50" y="82"/>
                      <a:pt x="52" y="83"/>
                    </a:cubicBezTo>
                    <a:cubicBezTo>
                      <a:pt x="53" y="83"/>
                      <a:pt x="54" y="84"/>
                      <a:pt x="54" y="85"/>
                    </a:cubicBezTo>
                    <a:cubicBezTo>
                      <a:pt x="55" y="85"/>
                      <a:pt x="55" y="85"/>
                      <a:pt x="55" y="85"/>
                    </a:cubicBezTo>
                    <a:cubicBezTo>
                      <a:pt x="55" y="86"/>
                      <a:pt x="55" y="86"/>
                      <a:pt x="55" y="86"/>
                    </a:cubicBezTo>
                    <a:cubicBezTo>
                      <a:pt x="56" y="86"/>
                      <a:pt x="56" y="86"/>
                      <a:pt x="56" y="86"/>
                    </a:cubicBezTo>
                    <a:cubicBezTo>
                      <a:pt x="55" y="85"/>
                      <a:pt x="55" y="85"/>
                      <a:pt x="55" y="84"/>
                    </a:cubicBezTo>
                    <a:cubicBezTo>
                      <a:pt x="56" y="83"/>
                      <a:pt x="56" y="83"/>
                      <a:pt x="56" y="83"/>
                    </a:cubicBezTo>
                    <a:cubicBezTo>
                      <a:pt x="56" y="82"/>
                      <a:pt x="56" y="82"/>
                      <a:pt x="56" y="82"/>
                    </a:cubicBezTo>
                    <a:cubicBezTo>
                      <a:pt x="57" y="81"/>
                      <a:pt x="57" y="80"/>
                      <a:pt x="57" y="80"/>
                    </a:cubicBezTo>
                    <a:cubicBezTo>
                      <a:pt x="58" y="80"/>
                      <a:pt x="58" y="80"/>
                      <a:pt x="58" y="80"/>
                    </a:cubicBezTo>
                    <a:cubicBezTo>
                      <a:pt x="58" y="79"/>
                      <a:pt x="58" y="79"/>
                      <a:pt x="58" y="79"/>
                    </a:cubicBezTo>
                    <a:cubicBezTo>
                      <a:pt x="60" y="76"/>
                      <a:pt x="60" y="75"/>
                      <a:pt x="60" y="75"/>
                    </a:cubicBezTo>
                    <a:cubicBezTo>
                      <a:pt x="57" y="72"/>
                      <a:pt x="55" y="70"/>
                      <a:pt x="53" y="67"/>
                    </a:cubicBezTo>
                    <a:cubicBezTo>
                      <a:pt x="53" y="66"/>
                      <a:pt x="52" y="66"/>
                      <a:pt x="52" y="65"/>
                    </a:cubicBezTo>
                    <a:cubicBezTo>
                      <a:pt x="52" y="65"/>
                      <a:pt x="52" y="65"/>
                      <a:pt x="52" y="65"/>
                    </a:cubicBezTo>
                    <a:cubicBezTo>
                      <a:pt x="51" y="61"/>
                      <a:pt x="54" y="58"/>
                      <a:pt x="57" y="56"/>
                    </a:cubicBezTo>
                    <a:cubicBezTo>
                      <a:pt x="58" y="56"/>
                      <a:pt x="58" y="56"/>
                      <a:pt x="58" y="56"/>
                    </a:cubicBezTo>
                    <a:cubicBezTo>
                      <a:pt x="58" y="56"/>
                      <a:pt x="58" y="56"/>
                      <a:pt x="58" y="56"/>
                    </a:cubicBezTo>
                    <a:cubicBezTo>
                      <a:pt x="59" y="55"/>
                      <a:pt x="60" y="55"/>
                      <a:pt x="61" y="55"/>
                    </a:cubicBezTo>
                    <a:cubicBezTo>
                      <a:pt x="61" y="55"/>
                      <a:pt x="61" y="55"/>
                      <a:pt x="62" y="55"/>
                    </a:cubicBezTo>
                    <a:cubicBezTo>
                      <a:pt x="63" y="55"/>
                      <a:pt x="63" y="55"/>
                      <a:pt x="64" y="55"/>
                    </a:cubicBezTo>
                    <a:cubicBezTo>
                      <a:pt x="67" y="49"/>
                      <a:pt x="67" y="49"/>
                      <a:pt x="67" y="49"/>
                    </a:cubicBezTo>
                    <a:cubicBezTo>
                      <a:pt x="66" y="56"/>
                      <a:pt x="66" y="56"/>
                      <a:pt x="66" y="56"/>
                    </a:cubicBezTo>
                    <a:cubicBezTo>
                      <a:pt x="66" y="56"/>
                      <a:pt x="66" y="56"/>
                      <a:pt x="66" y="56"/>
                    </a:cubicBezTo>
                    <a:cubicBezTo>
                      <a:pt x="67" y="56"/>
                      <a:pt x="68" y="57"/>
                      <a:pt x="69" y="57"/>
                    </a:cubicBezTo>
                    <a:cubicBezTo>
                      <a:pt x="70" y="57"/>
                      <a:pt x="70" y="57"/>
                      <a:pt x="70" y="57"/>
                    </a:cubicBezTo>
                    <a:cubicBezTo>
                      <a:pt x="71" y="57"/>
                      <a:pt x="71" y="57"/>
                      <a:pt x="71" y="57"/>
                    </a:cubicBezTo>
                    <a:cubicBezTo>
                      <a:pt x="71" y="56"/>
                      <a:pt x="71" y="56"/>
                      <a:pt x="71" y="56"/>
                    </a:cubicBezTo>
                    <a:cubicBezTo>
                      <a:pt x="72" y="56"/>
                      <a:pt x="73" y="56"/>
                      <a:pt x="74" y="56"/>
                    </a:cubicBezTo>
                    <a:cubicBezTo>
                      <a:pt x="72" y="54"/>
                      <a:pt x="72" y="54"/>
                      <a:pt x="72" y="54"/>
                    </a:cubicBezTo>
                    <a:cubicBezTo>
                      <a:pt x="73" y="52"/>
                      <a:pt x="73" y="52"/>
                      <a:pt x="73" y="52"/>
                    </a:cubicBezTo>
                    <a:cubicBezTo>
                      <a:pt x="74" y="49"/>
                      <a:pt x="77" y="48"/>
                      <a:pt x="79" y="47"/>
                    </a:cubicBezTo>
                    <a:cubicBezTo>
                      <a:pt x="80" y="46"/>
                      <a:pt x="80" y="46"/>
                      <a:pt x="80" y="46"/>
                    </a:cubicBezTo>
                    <a:cubicBezTo>
                      <a:pt x="81" y="45"/>
                      <a:pt x="83" y="44"/>
                      <a:pt x="83" y="44"/>
                    </a:cubicBezTo>
                    <a:cubicBezTo>
                      <a:pt x="83" y="42"/>
                      <a:pt x="83" y="42"/>
                      <a:pt x="81" y="41"/>
                    </a:cubicBezTo>
                    <a:cubicBezTo>
                      <a:pt x="81" y="41"/>
                      <a:pt x="81" y="41"/>
                      <a:pt x="81" y="41"/>
                    </a:cubicBezTo>
                    <a:cubicBezTo>
                      <a:pt x="80" y="41"/>
                      <a:pt x="80" y="41"/>
                      <a:pt x="80" y="41"/>
                    </a:cubicBezTo>
                    <a:cubicBezTo>
                      <a:pt x="78" y="40"/>
                      <a:pt x="77" y="40"/>
                      <a:pt x="76" y="39"/>
                    </a:cubicBezTo>
                    <a:cubicBezTo>
                      <a:pt x="71" y="38"/>
                      <a:pt x="71" y="38"/>
                      <a:pt x="71" y="38"/>
                    </a:cubicBezTo>
                    <a:cubicBezTo>
                      <a:pt x="74" y="34"/>
                      <a:pt x="74" y="34"/>
                      <a:pt x="74" y="34"/>
                    </a:cubicBezTo>
                    <a:cubicBezTo>
                      <a:pt x="75" y="33"/>
                      <a:pt x="75" y="33"/>
                      <a:pt x="75" y="33"/>
                    </a:cubicBezTo>
                    <a:cubicBezTo>
                      <a:pt x="71" y="29"/>
                      <a:pt x="71" y="29"/>
                      <a:pt x="71" y="29"/>
                    </a:cubicBezTo>
                    <a:cubicBezTo>
                      <a:pt x="76" y="27"/>
                      <a:pt x="76" y="27"/>
                      <a:pt x="76" y="27"/>
                    </a:cubicBezTo>
                    <a:cubicBezTo>
                      <a:pt x="78" y="27"/>
                      <a:pt x="79" y="27"/>
                      <a:pt x="80" y="27"/>
                    </a:cubicBezTo>
                    <a:cubicBezTo>
                      <a:pt x="81" y="27"/>
                      <a:pt x="83" y="27"/>
                      <a:pt x="83" y="27"/>
                    </a:cubicBezTo>
                    <a:cubicBezTo>
                      <a:pt x="84" y="25"/>
                      <a:pt x="84" y="25"/>
                      <a:pt x="84" y="25"/>
                    </a:cubicBezTo>
                    <a:cubicBezTo>
                      <a:pt x="84" y="25"/>
                      <a:pt x="84" y="25"/>
                      <a:pt x="84" y="25"/>
                    </a:cubicBezTo>
                    <a:cubicBezTo>
                      <a:pt x="84" y="22"/>
                      <a:pt x="85" y="20"/>
                      <a:pt x="86" y="18"/>
                    </a:cubicBezTo>
                    <a:cubicBezTo>
                      <a:pt x="86" y="17"/>
                      <a:pt x="87" y="16"/>
                      <a:pt x="87" y="15"/>
                    </a:cubicBezTo>
                    <a:cubicBezTo>
                      <a:pt x="87" y="14"/>
                      <a:pt x="87" y="13"/>
                      <a:pt x="87" y="12"/>
                    </a:cubicBezTo>
                    <a:cubicBezTo>
                      <a:pt x="88" y="10"/>
                      <a:pt x="88" y="8"/>
                      <a:pt x="87" y="7"/>
                    </a:cubicBezTo>
                    <a:cubicBezTo>
                      <a:pt x="87" y="6"/>
                      <a:pt x="87" y="6"/>
                      <a:pt x="87" y="6"/>
                    </a:cubicBezTo>
                    <a:cubicBezTo>
                      <a:pt x="87" y="6"/>
                      <a:pt x="87" y="6"/>
                      <a:pt x="87" y="6"/>
                    </a:cubicBezTo>
                    <a:cubicBezTo>
                      <a:pt x="86" y="5"/>
                      <a:pt x="85" y="4"/>
                      <a:pt x="84" y="3"/>
                    </a:cubicBezTo>
                    <a:cubicBezTo>
                      <a:pt x="81" y="0"/>
                      <a:pt x="77" y="0"/>
                      <a:pt x="7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6" name="Freeform 274">
                <a:extLst>
                  <a:ext uri="{FF2B5EF4-FFF2-40B4-BE49-F238E27FC236}">
                    <a16:creationId xmlns:a16="http://schemas.microsoft.com/office/drawing/2014/main" id="{F62FDCEF-8CB7-4474-AA1D-69A53DCE47D9}"/>
                  </a:ext>
                </a:extLst>
              </p:cNvPr>
              <p:cNvSpPr>
                <a:spLocks/>
              </p:cNvSpPr>
              <p:nvPr/>
            </p:nvSpPr>
            <p:spPr bwMode="auto">
              <a:xfrm>
                <a:off x="4661672" y="3803040"/>
                <a:ext cx="73702" cy="22111"/>
              </a:xfrm>
              <a:custGeom>
                <a:avLst/>
                <a:gdLst>
                  <a:gd name="T0" fmla="*/ 11 w 24"/>
                  <a:gd name="T1" fmla="*/ 0 h 7"/>
                  <a:gd name="T2" fmla="*/ 4 w 24"/>
                  <a:gd name="T3" fmla="*/ 1 h 7"/>
                  <a:gd name="T4" fmla="*/ 8 w 24"/>
                  <a:gd name="T5" fmla="*/ 6 h 7"/>
                  <a:gd name="T6" fmla="*/ 11 w 24"/>
                  <a:gd name="T7" fmla="*/ 6 h 7"/>
                  <a:gd name="T8" fmla="*/ 17 w 24"/>
                  <a:gd name="T9" fmla="*/ 5 h 7"/>
                  <a:gd name="T10" fmla="*/ 17 w 24"/>
                  <a:gd name="T11" fmla="*/ 5 h 7"/>
                  <a:gd name="T12" fmla="*/ 23 w 24"/>
                  <a:gd name="T13" fmla="*/ 7 h 7"/>
                  <a:gd name="T14" fmla="*/ 22 w 24"/>
                  <a:gd name="T15" fmla="*/ 5 h 7"/>
                  <a:gd name="T16" fmla="*/ 24 w 24"/>
                  <a:gd name="T17" fmla="*/ 5 h 7"/>
                  <a:gd name="T18" fmla="*/ 21 w 24"/>
                  <a:gd name="T19" fmla="*/ 4 h 7"/>
                  <a:gd name="T20" fmla="*/ 13 w 24"/>
                  <a:gd name="T21" fmla="*/ 0 h 7"/>
                  <a:gd name="T22" fmla="*/ 11 w 24"/>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7">
                    <a:moveTo>
                      <a:pt x="11" y="0"/>
                    </a:moveTo>
                    <a:cubicBezTo>
                      <a:pt x="8" y="0"/>
                      <a:pt x="5" y="0"/>
                      <a:pt x="4" y="1"/>
                    </a:cubicBezTo>
                    <a:cubicBezTo>
                      <a:pt x="0" y="3"/>
                      <a:pt x="6" y="5"/>
                      <a:pt x="8" y="6"/>
                    </a:cubicBezTo>
                    <a:cubicBezTo>
                      <a:pt x="9" y="6"/>
                      <a:pt x="10" y="6"/>
                      <a:pt x="11" y="6"/>
                    </a:cubicBezTo>
                    <a:cubicBezTo>
                      <a:pt x="13" y="6"/>
                      <a:pt x="15" y="5"/>
                      <a:pt x="17" y="5"/>
                    </a:cubicBezTo>
                    <a:cubicBezTo>
                      <a:pt x="17" y="5"/>
                      <a:pt x="17" y="5"/>
                      <a:pt x="17" y="5"/>
                    </a:cubicBezTo>
                    <a:cubicBezTo>
                      <a:pt x="19" y="5"/>
                      <a:pt x="21" y="7"/>
                      <a:pt x="23" y="7"/>
                    </a:cubicBezTo>
                    <a:cubicBezTo>
                      <a:pt x="22" y="5"/>
                      <a:pt x="22" y="5"/>
                      <a:pt x="22" y="5"/>
                    </a:cubicBezTo>
                    <a:cubicBezTo>
                      <a:pt x="24" y="5"/>
                      <a:pt x="24" y="5"/>
                      <a:pt x="24" y="5"/>
                    </a:cubicBezTo>
                    <a:cubicBezTo>
                      <a:pt x="23" y="5"/>
                      <a:pt x="21" y="4"/>
                      <a:pt x="21" y="4"/>
                    </a:cubicBezTo>
                    <a:cubicBezTo>
                      <a:pt x="18" y="2"/>
                      <a:pt x="15" y="2"/>
                      <a:pt x="13" y="0"/>
                    </a:cubicBezTo>
                    <a:cubicBezTo>
                      <a:pt x="12"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7" name="Freeform 275">
                <a:extLst>
                  <a:ext uri="{FF2B5EF4-FFF2-40B4-BE49-F238E27FC236}">
                    <a16:creationId xmlns:a16="http://schemas.microsoft.com/office/drawing/2014/main" id="{EE1B5881-7666-4716-BE79-0AB90F5CD39D}"/>
                  </a:ext>
                </a:extLst>
              </p:cNvPr>
              <p:cNvSpPr>
                <a:spLocks/>
              </p:cNvSpPr>
              <p:nvPr/>
            </p:nvSpPr>
            <p:spPr bwMode="auto">
              <a:xfrm>
                <a:off x="5476082" y="3884113"/>
                <a:ext cx="563823" cy="261643"/>
              </a:xfrm>
              <a:custGeom>
                <a:avLst/>
                <a:gdLst>
                  <a:gd name="T0" fmla="*/ 55 w 178"/>
                  <a:gd name="T1" fmla="*/ 5 h 83"/>
                  <a:gd name="T2" fmla="*/ 50 w 178"/>
                  <a:gd name="T3" fmla="*/ 7 h 83"/>
                  <a:gd name="T4" fmla="*/ 45 w 178"/>
                  <a:gd name="T5" fmla="*/ 9 h 83"/>
                  <a:gd name="T6" fmla="*/ 29 w 178"/>
                  <a:gd name="T7" fmla="*/ 15 h 83"/>
                  <a:gd name="T8" fmla="*/ 10 w 178"/>
                  <a:gd name="T9" fmla="*/ 23 h 83"/>
                  <a:gd name="T10" fmla="*/ 7 w 178"/>
                  <a:gd name="T11" fmla="*/ 23 h 83"/>
                  <a:gd name="T12" fmla="*/ 1 w 178"/>
                  <a:gd name="T13" fmla="*/ 28 h 83"/>
                  <a:gd name="T14" fmla="*/ 0 w 178"/>
                  <a:gd name="T15" fmla="*/ 31 h 83"/>
                  <a:gd name="T16" fmla="*/ 6 w 178"/>
                  <a:gd name="T17" fmla="*/ 37 h 83"/>
                  <a:gd name="T18" fmla="*/ 8 w 178"/>
                  <a:gd name="T19" fmla="*/ 50 h 83"/>
                  <a:gd name="T20" fmla="*/ 13 w 178"/>
                  <a:gd name="T21" fmla="*/ 55 h 83"/>
                  <a:gd name="T22" fmla="*/ 26 w 178"/>
                  <a:gd name="T23" fmla="*/ 65 h 83"/>
                  <a:gd name="T24" fmla="*/ 31 w 178"/>
                  <a:gd name="T25" fmla="*/ 69 h 83"/>
                  <a:gd name="T26" fmla="*/ 42 w 178"/>
                  <a:gd name="T27" fmla="*/ 77 h 83"/>
                  <a:gd name="T28" fmla="*/ 45 w 178"/>
                  <a:gd name="T29" fmla="*/ 79 h 83"/>
                  <a:gd name="T30" fmla="*/ 49 w 178"/>
                  <a:gd name="T31" fmla="*/ 81 h 83"/>
                  <a:gd name="T32" fmla="*/ 64 w 178"/>
                  <a:gd name="T33" fmla="*/ 83 h 83"/>
                  <a:gd name="T34" fmla="*/ 69 w 178"/>
                  <a:gd name="T35" fmla="*/ 74 h 83"/>
                  <a:gd name="T36" fmla="*/ 75 w 178"/>
                  <a:gd name="T37" fmla="*/ 68 h 83"/>
                  <a:gd name="T38" fmla="*/ 82 w 178"/>
                  <a:gd name="T39" fmla="*/ 71 h 83"/>
                  <a:gd name="T40" fmla="*/ 85 w 178"/>
                  <a:gd name="T41" fmla="*/ 71 h 83"/>
                  <a:gd name="T42" fmla="*/ 94 w 178"/>
                  <a:gd name="T43" fmla="*/ 73 h 83"/>
                  <a:gd name="T44" fmla="*/ 109 w 178"/>
                  <a:gd name="T45" fmla="*/ 77 h 83"/>
                  <a:gd name="T46" fmla="*/ 117 w 178"/>
                  <a:gd name="T47" fmla="*/ 75 h 83"/>
                  <a:gd name="T48" fmla="*/ 121 w 178"/>
                  <a:gd name="T49" fmla="*/ 76 h 83"/>
                  <a:gd name="T50" fmla="*/ 126 w 178"/>
                  <a:gd name="T51" fmla="*/ 79 h 83"/>
                  <a:gd name="T52" fmla="*/ 128 w 178"/>
                  <a:gd name="T53" fmla="*/ 80 h 83"/>
                  <a:gd name="T54" fmla="*/ 130 w 178"/>
                  <a:gd name="T55" fmla="*/ 78 h 83"/>
                  <a:gd name="T56" fmla="*/ 132 w 178"/>
                  <a:gd name="T57" fmla="*/ 75 h 83"/>
                  <a:gd name="T58" fmla="*/ 137 w 178"/>
                  <a:gd name="T59" fmla="*/ 73 h 83"/>
                  <a:gd name="T60" fmla="*/ 143 w 178"/>
                  <a:gd name="T61" fmla="*/ 74 h 83"/>
                  <a:gd name="T62" fmla="*/ 158 w 178"/>
                  <a:gd name="T63" fmla="*/ 67 h 83"/>
                  <a:gd name="T64" fmla="*/ 162 w 178"/>
                  <a:gd name="T65" fmla="*/ 60 h 83"/>
                  <a:gd name="T66" fmla="*/ 178 w 178"/>
                  <a:gd name="T67" fmla="*/ 51 h 83"/>
                  <a:gd name="T68" fmla="*/ 166 w 178"/>
                  <a:gd name="T69" fmla="*/ 40 h 83"/>
                  <a:gd name="T70" fmla="*/ 161 w 178"/>
                  <a:gd name="T71" fmla="*/ 37 h 83"/>
                  <a:gd name="T72" fmla="*/ 159 w 178"/>
                  <a:gd name="T73" fmla="*/ 38 h 83"/>
                  <a:gd name="T74" fmla="*/ 155 w 178"/>
                  <a:gd name="T75" fmla="*/ 39 h 83"/>
                  <a:gd name="T76" fmla="*/ 144 w 178"/>
                  <a:gd name="T77" fmla="*/ 28 h 83"/>
                  <a:gd name="T78" fmla="*/ 134 w 178"/>
                  <a:gd name="T79" fmla="*/ 24 h 83"/>
                  <a:gd name="T80" fmla="*/ 130 w 178"/>
                  <a:gd name="T81" fmla="*/ 30 h 83"/>
                  <a:gd name="T82" fmla="*/ 121 w 178"/>
                  <a:gd name="T83" fmla="*/ 33 h 83"/>
                  <a:gd name="T84" fmla="*/ 116 w 178"/>
                  <a:gd name="T85" fmla="*/ 32 h 83"/>
                  <a:gd name="T86" fmla="*/ 111 w 178"/>
                  <a:gd name="T87" fmla="*/ 26 h 83"/>
                  <a:gd name="T88" fmla="*/ 105 w 178"/>
                  <a:gd name="T89" fmla="*/ 18 h 83"/>
                  <a:gd name="T90" fmla="*/ 109 w 178"/>
                  <a:gd name="T91" fmla="*/ 14 h 83"/>
                  <a:gd name="T92" fmla="*/ 108 w 178"/>
                  <a:gd name="T93" fmla="*/ 13 h 83"/>
                  <a:gd name="T94" fmla="*/ 87 w 178"/>
                  <a:gd name="T95" fmla="*/ 10 h 83"/>
                  <a:gd name="T96" fmla="*/ 82 w 178"/>
                  <a:gd name="T97" fmla="*/ 7 h 83"/>
                  <a:gd name="T98" fmla="*/ 77 w 178"/>
                  <a:gd name="T99" fmla="*/ 1 h 83"/>
                  <a:gd name="T100" fmla="*/ 73 w 178"/>
                  <a:gd name="T101" fmla="*/ 4 h 83"/>
                  <a:gd name="T102" fmla="*/ 70 w 178"/>
                  <a:gd name="T103" fmla="*/ 6 h 83"/>
                  <a:gd name="T104" fmla="*/ 65 w 178"/>
                  <a:gd name="T105" fmla="*/ 4 h 83"/>
                  <a:gd name="T106" fmla="*/ 59 w 178"/>
                  <a:gd name="T107"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8" h="83">
                    <a:moveTo>
                      <a:pt x="58" y="0"/>
                    </a:moveTo>
                    <a:cubicBezTo>
                      <a:pt x="58" y="2"/>
                      <a:pt x="57" y="3"/>
                      <a:pt x="56" y="4"/>
                    </a:cubicBezTo>
                    <a:cubicBezTo>
                      <a:pt x="55" y="5"/>
                      <a:pt x="55" y="5"/>
                      <a:pt x="55" y="5"/>
                    </a:cubicBezTo>
                    <a:cubicBezTo>
                      <a:pt x="55" y="5"/>
                      <a:pt x="55" y="5"/>
                      <a:pt x="55" y="5"/>
                    </a:cubicBezTo>
                    <a:cubicBezTo>
                      <a:pt x="54" y="5"/>
                      <a:pt x="54" y="6"/>
                      <a:pt x="54" y="6"/>
                    </a:cubicBezTo>
                    <a:cubicBezTo>
                      <a:pt x="50" y="7"/>
                      <a:pt x="50" y="7"/>
                      <a:pt x="50" y="7"/>
                    </a:cubicBezTo>
                    <a:cubicBezTo>
                      <a:pt x="49" y="7"/>
                      <a:pt x="48" y="8"/>
                      <a:pt x="46" y="8"/>
                    </a:cubicBezTo>
                    <a:cubicBezTo>
                      <a:pt x="45" y="9"/>
                      <a:pt x="45" y="9"/>
                      <a:pt x="45" y="9"/>
                    </a:cubicBezTo>
                    <a:cubicBezTo>
                      <a:pt x="45" y="9"/>
                      <a:pt x="45" y="9"/>
                      <a:pt x="45" y="9"/>
                    </a:cubicBezTo>
                    <a:cubicBezTo>
                      <a:pt x="43" y="9"/>
                      <a:pt x="41" y="10"/>
                      <a:pt x="38" y="11"/>
                    </a:cubicBezTo>
                    <a:cubicBezTo>
                      <a:pt x="37" y="12"/>
                      <a:pt x="36" y="12"/>
                      <a:pt x="35" y="12"/>
                    </a:cubicBezTo>
                    <a:cubicBezTo>
                      <a:pt x="33" y="13"/>
                      <a:pt x="31" y="14"/>
                      <a:pt x="29" y="15"/>
                    </a:cubicBezTo>
                    <a:cubicBezTo>
                      <a:pt x="26" y="18"/>
                      <a:pt x="22" y="20"/>
                      <a:pt x="17" y="22"/>
                    </a:cubicBezTo>
                    <a:cubicBezTo>
                      <a:pt x="16" y="23"/>
                      <a:pt x="14" y="23"/>
                      <a:pt x="13" y="23"/>
                    </a:cubicBezTo>
                    <a:cubicBezTo>
                      <a:pt x="12" y="23"/>
                      <a:pt x="11" y="23"/>
                      <a:pt x="10" y="23"/>
                    </a:cubicBezTo>
                    <a:cubicBezTo>
                      <a:pt x="10" y="23"/>
                      <a:pt x="9" y="23"/>
                      <a:pt x="8" y="23"/>
                    </a:cubicBezTo>
                    <a:cubicBezTo>
                      <a:pt x="8" y="23"/>
                      <a:pt x="7" y="23"/>
                      <a:pt x="7" y="23"/>
                    </a:cubicBezTo>
                    <a:cubicBezTo>
                      <a:pt x="7" y="23"/>
                      <a:pt x="7" y="23"/>
                      <a:pt x="7" y="23"/>
                    </a:cubicBezTo>
                    <a:cubicBezTo>
                      <a:pt x="6" y="23"/>
                      <a:pt x="6" y="23"/>
                      <a:pt x="6" y="23"/>
                    </a:cubicBezTo>
                    <a:cubicBezTo>
                      <a:pt x="5" y="24"/>
                      <a:pt x="3" y="25"/>
                      <a:pt x="2" y="26"/>
                    </a:cubicBezTo>
                    <a:cubicBezTo>
                      <a:pt x="2" y="27"/>
                      <a:pt x="1" y="28"/>
                      <a:pt x="1" y="28"/>
                    </a:cubicBezTo>
                    <a:cubicBezTo>
                      <a:pt x="1" y="29"/>
                      <a:pt x="0" y="30"/>
                      <a:pt x="0" y="30"/>
                    </a:cubicBezTo>
                    <a:cubicBezTo>
                      <a:pt x="0" y="31"/>
                      <a:pt x="0" y="31"/>
                      <a:pt x="0" y="31"/>
                    </a:cubicBezTo>
                    <a:cubicBezTo>
                      <a:pt x="0" y="31"/>
                      <a:pt x="0" y="31"/>
                      <a:pt x="0" y="31"/>
                    </a:cubicBezTo>
                    <a:cubicBezTo>
                      <a:pt x="1" y="31"/>
                      <a:pt x="2" y="32"/>
                      <a:pt x="3" y="32"/>
                    </a:cubicBezTo>
                    <a:cubicBezTo>
                      <a:pt x="5" y="34"/>
                      <a:pt x="6" y="35"/>
                      <a:pt x="6" y="37"/>
                    </a:cubicBezTo>
                    <a:cubicBezTo>
                      <a:pt x="6" y="37"/>
                      <a:pt x="6" y="37"/>
                      <a:pt x="6" y="37"/>
                    </a:cubicBezTo>
                    <a:cubicBezTo>
                      <a:pt x="6" y="40"/>
                      <a:pt x="5" y="42"/>
                      <a:pt x="4" y="43"/>
                    </a:cubicBezTo>
                    <a:cubicBezTo>
                      <a:pt x="4" y="44"/>
                      <a:pt x="4" y="44"/>
                      <a:pt x="4" y="44"/>
                    </a:cubicBezTo>
                    <a:cubicBezTo>
                      <a:pt x="4" y="44"/>
                      <a:pt x="4" y="46"/>
                      <a:pt x="8" y="50"/>
                    </a:cubicBezTo>
                    <a:cubicBezTo>
                      <a:pt x="9" y="51"/>
                      <a:pt x="10" y="52"/>
                      <a:pt x="10" y="53"/>
                    </a:cubicBezTo>
                    <a:cubicBezTo>
                      <a:pt x="11" y="53"/>
                      <a:pt x="12" y="54"/>
                      <a:pt x="12" y="54"/>
                    </a:cubicBezTo>
                    <a:cubicBezTo>
                      <a:pt x="13" y="55"/>
                      <a:pt x="13" y="55"/>
                      <a:pt x="13" y="55"/>
                    </a:cubicBezTo>
                    <a:cubicBezTo>
                      <a:pt x="15" y="56"/>
                      <a:pt x="16" y="57"/>
                      <a:pt x="17" y="58"/>
                    </a:cubicBezTo>
                    <a:cubicBezTo>
                      <a:pt x="17" y="58"/>
                      <a:pt x="17" y="58"/>
                      <a:pt x="17" y="58"/>
                    </a:cubicBezTo>
                    <a:cubicBezTo>
                      <a:pt x="20" y="60"/>
                      <a:pt x="23" y="62"/>
                      <a:pt x="26" y="65"/>
                    </a:cubicBezTo>
                    <a:cubicBezTo>
                      <a:pt x="27" y="66"/>
                      <a:pt x="27" y="66"/>
                      <a:pt x="27" y="66"/>
                    </a:cubicBezTo>
                    <a:cubicBezTo>
                      <a:pt x="28" y="67"/>
                      <a:pt x="29" y="69"/>
                      <a:pt x="31" y="69"/>
                    </a:cubicBezTo>
                    <a:cubicBezTo>
                      <a:pt x="31" y="69"/>
                      <a:pt x="31" y="69"/>
                      <a:pt x="31" y="69"/>
                    </a:cubicBezTo>
                    <a:cubicBezTo>
                      <a:pt x="32" y="69"/>
                      <a:pt x="33" y="69"/>
                      <a:pt x="35" y="71"/>
                    </a:cubicBezTo>
                    <a:cubicBezTo>
                      <a:pt x="37" y="73"/>
                      <a:pt x="37" y="73"/>
                      <a:pt x="37" y="73"/>
                    </a:cubicBezTo>
                    <a:cubicBezTo>
                      <a:pt x="39" y="74"/>
                      <a:pt x="40" y="75"/>
                      <a:pt x="42" y="77"/>
                    </a:cubicBezTo>
                    <a:cubicBezTo>
                      <a:pt x="44" y="78"/>
                      <a:pt x="44" y="78"/>
                      <a:pt x="44" y="78"/>
                    </a:cubicBezTo>
                    <a:cubicBezTo>
                      <a:pt x="44" y="78"/>
                      <a:pt x="45" y="79"/>
                      <a:pt x="45" y="79"/>
                    </a:cubicBezTo>
                    <a:cubicBezTo>
                      <a:pt x="45" y="79"/>
                      <a:pt x="45" y="79"/>
                      <a:pt x="45" y="79"/>
                    </a:cubicBezTo>
                    <a:cubicBezTo>
                      <a:pt x="46" y="79"/>
                      <a:pt x="46" y="79"/>
                      <a:pt x="46" y="79"/>
                    </a:cubicBezTo>
                    <a:cubicBezTo>
                      <a:pt x="47" y="80"/>
                      <a:pt x="48" y="80"/>
                      <a:pt x="49" y="81"/>
                    </a:cubicBezTo>
                    <a:cubicBezTo>
                      <a:pt x="49" y="81"/>
                      <a:pt x="49" y="81"/>
                      <a:pt x="49" y="81"/>
                    </a:cubicBezTo>
                    <a:cubicBezTo>
                      <a:pt x="52" y="83"/>
                      <a:pt x="55" y="83"/>
                      <a:pt x="59" y="83"/>
                    </a:cubicBezTo>
                    <a:cubicBezTo>
                      <a:pt x="60" y="83"/>
                      <a:pt x="60" y="83"/>
                      <a:pt x="60" y="83"/>
                    </a:cubicBezTo>
                    <a:cubicBezTo>
                      <a:pt x="61" y="83"/>
                      <a:pt x="63" y="83"/>
                      <a:pt x="64" y="83"/>
                    </a:cubicBezTo>
                    <a:cubicBezTo>
                      <a:pt x="65" y="82"/>
                      <a:pt x="65" y="82"/>
                      <a:pt x="65" y="82"/>
                    </a:cubicBezTo>
                    <a:cubicBezTo>
                      <a:pt x="68" y="79"/>
                      <a:pt x="69" y="79"/>
                      <a:pt x="69" y="75"/>
                    </a:cubicBezTo>
                    <a:cubicBezTo>
                      <a:pt x="69" y="75"/>
                      <a:pt x="69" y="74"/>
                      <a:pt x="69" y="74"/>
                    </a:cubicBezTo>
                    <a:cubicBezTo>
                      <a:pt x="69" y="72"/>
                      <a:pt x="70" y="70"/>
                      <a:pt x="71" y="69"/>
                    </a:cubicBezTo>
                    <a:cubicBezTo>
                      <a:pt x="72" y="69"/>
                      <a:pt x="72" y="69"/>
                      <a:pt x="72" y="69"/>
                    </a:cubicBezTo>
                    <a:cubicBezTo>
                      <a:pt x="73" y="68"/>
                      <a:pt x="74" y="68"/>
                      <a:pt x="75" y="68"/>
                    </a:cubicBezTo>
                    <a:cubicBezTo>
                      <a:pt x="77" y="68"/>
                      <a:pt x="79" y="69"/>
                      <a:pt x="80" y="70"/>
                    </a:cubicBezTo>
                    <a:cubicBezTo>
                      <a:pt x="80" y="70"/>
                      <a:pt x="80" y="70"/>
                      <a:pt x="81" y="71"/>
                    </a:cubicBezTo>
                    <a:cubicBezTo>
                      <a:pt x="82" y="71"/>
                      <a:pt x="82" y="71"/>
                      <a:pt x="82" y="71"/>
                    </a:cubicBezTo>
                    <a:cubicBezTo>
                      <a:pt x="82" y="71"/>
                      <a:pt x="82" y="71"/>
                      <a:pt x="82" y="71"/>
                    </a:cubicBezTo>
                    <a:cubicBezTo>
                      <a:pt x="83" y="71"/>
                      <a:pt x="83" y="71"/>
                      <a:pt x="83" y="71"/>
                    </a:cubicBezTo>
                    <a:cubicBezTo>
                      <a:pt x="84" y="71"/>
                      <a:pt x="84" y="71"/>
                      <a:pt x="85" y="71"/>
                    </a:cubicBezTo>
                    <a:cubicBezTo>
                      <a:pt x="86" y="71"/>
                      <a:pt x="86" y="71"/>
                      <a:pt x="86" y="71"/>
                    </a:cubicBezTo>
                    <a:cubicBezTo>
                      <a:pt x="87" y="71"/>
                      <a:pt x="88" y="71"/>
                      <a:pt x="89" y="71"/>
                    </a:cubicBezTo>
                    <a:cubicBezTo>
                      <a:pt x="90" y="71"/>
                      <a:pt x="92" y="72"/>
                      <a:pt x="94" y="73"/>
                    </a:cubicBezTo>
                    <a:cubicBezTo>
                      <a:pt x="95" y="73"/>
                      <a:pt x="95" y="73"/>
                      <a:pt x="95" y="73"/>
                    </a:cubicBezTo>
                    <a:cubicBezTo>
                      <a:pt x="95" y="73"/>
                      <a:pt x="96" y="74"/>
                      <a:pt x="97" y="74"/>
                    </a:cubicBezTo>
                    <a:cubicBezTo>
                      <a:pt x="109" y="77"/>
                      <a:pt x="109" y="77"/>
                      <a:pt x="109" y="77"/>
                    </a:cubicBezTo>
                    <a:cubicBezTo>
                      <a:pt x="109" y="77"/>
                      <a:pt x="109" y="77"/>
                      <a:pt x="109" y="77"/>
                    </a:cubicBezTo>
                    <a:cubicBezTo>
                      <a:pt x="109" y="77"/>
                      <a:pt x="110" y="77"/>
                      <a:pt x="112" y="77"/>
                    </a:cubicBezTo>
                    <a:cubicBezTo>
                      <a:pt x="113" y="76"/>
                      <a:pt x="115" y="75"/>
                      <a:pt x="117" y="75"/>
                    </a:cubicBezTo>
                    <a:cubicBezTo>
                      <a:pt x="117" y="75"/>
                      <a:pt x="117" y="75"/>
                      <a:pt x="118" y="75"/>
                    </a:cubicBezTo>
                    <a:cubicBezTo>
                      <a:pt x="119" y="75"/>
                      <a:pt x="120" y="75"/>
                      <a:pt x="120" y="76"/>
                    </a:cubicBezTo>
                    <a:cubicBezTo>
                      <a:pt x="121" y="76"/>
                      <a:pt x="121" y="76"/>
                      <a:pt x="121" y="76"/>
                    </a:cubicBezTo>
                    <a:cubicBezTo>
                      <a:pt x="122" y="76"/>
                      <a:pt x="123" y="77"/>
                      <a:pt x="124" y="77"/>
                    </a:cubicBezTo>
                    <a:cubicBezTo>
                      <a:pt x="124" y="77"/>
                      <a:pt x="124" y="77"/>
                      <a:pt x="124" y="77"/>
                    </a:cubicBezTo>
                    <a:cubicBezTo>
                      <a:pt x="125" y="78"/>
                      <a:pt x="126" y="78"/>
                      <a:pt x="126" y="79"/>
                    </a:cubicBezTo>
                    <a:cubicBezTo>
                      <a:pt x="127" y="79"/>
                      <a:pt x="127" y="79"/>
                      <a:pt x="127" y="79"/>
                    </a:cubicBezTo>
                    <a:cubicBezTo>
                      <a:pt x="127" y="79"/>
                      <a:pt x="128" y="79"/>
                      <a:pt x="128" y="80"/>
                    </a:cubicBezTo>
                    <a:cubicBezTo>
                      <a:pt x="128" y="80"/>
                      <a:pt x="128" y="80"/>
                      <a:pt x="128" y="80"/>
                    </a:cubicBezTo>
                    <a:cubicBezTo>
                      <a:pt x="128" y="80"/>
                      <a:pt x="128" y="80"/>
                      <a:pt x="128" y="80"/>
                    </a:cubicBezTo>
                    <a:cubicBezTo>
                      <a:pt x="128" y="79"/>
                      <a:pt x="128" y="79"/>
                      <a:pt x="128" y="79"/>
                    </a:cubicBezTo>
                    <a:cubicBezTo>
                      <a:pt x="129" y="79"/>
                      <a:pt x="129" y="78"/>
                      <a:pt x="130" y="78"/>
                    </a:cubicBezTo>
                    <a:cubicBezTo>
                      <a:pt x="126" y="74"/>
                      <a:pt x="126" y="74"/>
                      <a:pt x="126" y="74"/>
                    </a:cubicBezTo>
                    <a:cubicBezTo>
                      <a:pt x="131" y="76"/>
                      <a:pt x="131" y="76"/>
                      <a:pt x="131" y="76"/>
                    </a:cubicBezTo>
                    <a:cubicBezTo>
                      <a:pt x="132" y="75"/>
                      <a:pt x="132" y="75"/>
                      <a:pt x="132" y="75"/>
                    </a:cubicBezTo>
                    <a:cubicBezTo>
                      <a:pt x="133" y="74"/>
                      <a:pt x="134" y="74"/>
                      <a:pt x="134" y="74"/>
                    </a:cubicBezTo>
                    <a:cubicBezTo>
                      <a:pt x="134" y="73"/>
                      <a:pt x="135" y="73"/>
                      <a:pt x="135" y="73"/>
                    </a:cubicBezTo>
                    <a:cubicBezTo>
                      <a:pt x="137" y="73"/>
                      <a:pt x="137" y="73"/>
                      <a:pt x="137" y="73"/>
                    </a:cubicBezTo>
                    <a:cubicBezTo>
                      <a:pt x="137" y="73"/>
                      <a:pt x="137" y="73"/>
                      <a:pt x="137" y="73"/>
                    </a:cubicBezTo>
                    <a:cubicBezTo>
                      <a:pt x="139" y="73"/>
                      <a:pt x="140" y="73"/>
                      <a:pt x="141" y="74"/>
                    </a:cubicBezTo>
                    <a:cubicBezTo>
                      <a:pt x="142" y="74"/>
                      <a:pt x="143" y="74"/>
                      <a:pt x="143" y="74"/>
                    </a:cubicBezTo>
                    <a:cubicBezTo>
                      <a:pt x="147" y="74"/>
                      <a:pt x="149" y="73"/>
                      <a:pt x="153" y="71"/>
                    </a:cubicBezTo>
                    <a:cubicBezTo>
                      <a:pt x="156" y="70"/>
                      <a:pt x="158" y="68"/>
                      <a:pt x="158" y="68"/>
                    </a:cubicBezTo>
                    <a:cubicBezTo>
                      <a:pt x="158" y="67"/>
                      <a:pt x="158" y="67"/>
                      <a:pt x="158" y="67"/>
                    </a:cubicBezTo>
                    <a:cubicBezTo>
                      <a:pt x="158" y="66"/>
                      <a:pt x="159" y="64"/>
                      <a:pt x="160" y="63"/>
                    </a:cubicBezTo>
                    <a:cubicBezTo>
                      <a:pt x="161" y="62"/>
                      <a:pt x="161" y="61"/>
                      <a:pt x="162" y="61"/>
                    </a:cubicBezTo>
                    <a:cubicBezTo>
                      <a:pt x="162" y="60"/>
                      <a:pt x="162" y="60"/>
                      <a:pt x="162" y="60"/>
                    </a:cubicBezTo>
                    <a:cubicBezTo>
                      <a:pt x="165" y="56"/>
                      <a:pt x="170" y="54"/>
                      <a:pt x="175" y="52"/>
                    </a:cubicBezTo>
                    <a:cubicBezTo>
                      <a:pt x="176" y="52"/>
                      <a:pt x="177" y="51"/>
                      <a:pt x="178" y="51"/>
                    </a:cubicBezTo>
                    <a:cubicBezTo>
                      <a:pt x="178" y="51"/>
                      <a:pt x="178" y="51"/>
                      <a:pt x="178" y="51"/>
                    </a:cubicBezTo>
                    <a:cubicBezTo>
                      <a:pt x="178" y="51"/>
                      <a:pt x="178" y="51"/>
                      <a:pt x="178" y="51"/>
                    </a:cubicBezTo>
                    <a:cubicBezTo>
                      <a:pt x="177" y="50"/>
                      <a:pt x="176" y="48"/>
                      <a:pt x="174" y="46"/>
                    </a:cubicBezTo>
                    <a:cubicBezTo>
                      <a:pt x="172" y="43"/>
                      <a:pt x="169" y="41"/>
                      <a:pt x="166" y="40"/>
                    </a:cubicBezTo>
                    <a:cubicBezTo>
                      <a:pt x="165" y="40"/>
                      <a:pt x="165" y="40"/>
                      <a:pt x="165" y="40"/>
                    </a:cubicBezTo>
                    <a:cubicBezTo>
                      <a:pt x="164" y="39"/>
                      <a:pt x="163" y="39"/>
                      <a:pt x="162" y="38"/>
                    </a:cubicBezTo>
                    <a:cubicBezTo>
                      <a:pt x="161" y="37"/>
                      <a:pt x="161" y="37"/>
                      <a:pt x="161" y="37"/>
                    </a:cubicBezTo>
                    <a:cubicBezTo>
                      <a:pt x="161" y="37"/>
                      <a:pt x="161" y="37"/>
                      <a:pt x="161" y="37"/>
                    </a:cubicBezTo>
                    <a:cubicBezTo>
                      <a:pt x="160" y="38"/>
                      <a:pt x="160" y="38"/>
                      <a:pt x="159" y="38"/>
                    </a:cubicBezTo>
                    <a:cubicBezTo>
                      <a:pt x="159" y="38"/>
                      <a:pt x="159" y="38"/>
                      <a:pt x="159" y="38"/>
                    </a:cubicBezTo>
                    <a:cubicBezTo>
                      <a:pt x="158" y="39"/>
                      <a:pt x="157" y="39"/>
                      <a:pt x="156" y="39"/>
                    </a:cubicBezTo>
                    <a:cubicBezTo>
                      <a:pt x="156" y="39"/>
                      <a:pt x="156" y="39"/>
                      <a:pt x="156" y="39"/>
                    </a:cubicBezTo>
                    <a:cubicBezTo>
                      <a:pt x="155" y="39"/>
                      <a:pt x="155" y="39"/>
                      <a:pt x="155" y="39"/>
                    </a:cubicBezTo>
                    <a:cubicBezTo>
                      <a:pt x="154" y="39"/>
                      <a:pt x="154" y="39"/>
                      <a:pt x="154" y="39"/>
                    </a:cubicBezTo>
                    <a:cubicBezTo>
                      <a:pt x="151" y="38"/>
                      <a:pt x="148" y="35"/>
                      <a:pt x="147" y="33"/>
                    </a:cubicBezTo>
                    <a:cubicBezTo>
                      <a:pt x="144" y="31"/>
                      <a:pt x="144" y="29"/>
                      <a:pt x="144" y="28"/>
                    </a:cubicBezTo>
                    <a:cubicBezTo>
                      <a:pt x="144" y="27"/>
                      <a:pt x="144" y="27"/>
                      <a:pt x="144" y="27"/>
                    </a:cubicBezTo>
                    <a:cubicBezTo>
                      <a:pt x="142" y="26"/>
                      <a:pt x="139" y="26"/>
                      <a:pt x="136" y="25"/>
                    </a:cubicBezTo>
                    <a:cubicBezTo>
                      <a:pt x="135" y="24"/>
                      <a:pt x="135" y="24"/>
                      <a:pt x="134" y="24"/>
                    </a:cubicBezTo>
                    <a:cubicBezTo>
                      <a:pt x="134" y="25"/>
                      <a:pt x="134" y="25"/>
                      <a:pt x="135" y="26"/>
                    </a:cubicBezTo>
                    <a:cubicBezTo>
                      <a:pt x="138" y="38"/>
                      <a:pt x="138" y="38"/>
                      <a:pt x="138" y="38"/>
                    </a:cubicBezTo>
                    <a:cubicBezTo>
                      <a:pt x="130" y="30"/>
                      <a:pt x="130" y="30"/>
                      <a:pt x="130" y="30"/>
                    </a:cubicBezTo>
                    <a:cubicBezTo>
                      <a:pt x="129" y="30"/>
                      <a:pt x="129" y="30"/>
                      <a:pt x="129" y="30"/>
                    </a:cubicBezTo>
                    <a:cubicBezTo>
                      <a:pt x="129" y="30"/>
                      <a:pt x="128" y="30"/>
                      <a:pt x="127" y="31"/>
                    </a:cubicBezTo>
                    <a:cubicBezTo>
                      <a:pt x="125" y="32"/>
                      <a:pt x="123" y="33"/>
                      <a:pt x="121" y="33"/>
                    </a:cubicBezTo>
                    <a:cubicBezTo>
                      <a:pt x="120" y="33"/>
                      <a:pt x="120" y="33"/>
                      <a:pt x="119" y="33"/>
                    </a:cubicBezTo>
                    <a:cubicBezTo>
                      <a:pt x="118" y="33"/>
                      <a:pt x="118" y="33"/>
                      <a:pt x="118" y="33"/>
                    </a:cubicBezTo>
                    <a:cubicBezTo>
                      <a:pt x="118" y="33"/>
                      <a:pt x="117" y="32"/>
                      <a:pt x="116" y="32"/>
                    </a:cubicBezTo>
                    <a:cubicBezTo>
                      <a:pt x="115" y="31"/>
                      <a:pt x="114" y="30"/>
                      <a:pt x="113" y="28"/>
                    </a:cubicBezTo>
                    <a:cubicBezTo>
                      <a:pt x="113" y="28"/>
                      <a:pt x="113" y="28"/>
                      <a:pt x="113" y="28"/>
                    </a:cubicBezTo>
                    <a:cubicBezTo>
                      <a:pt x="112" y="27"/>
                      <a:pt x="111" y="27"/>
                      <a:pt x="111" y="26"/>
                    </a:cubicBezTo>
                    <a:cubicBezTo>
                      <a:pt x="110" y="26"/>
                      <a:pt x="110" y="26"/>
                      <a:pt x="110" y="26"/>
                    </a:cubicBezTo>
                    <a:cubicBezTo>
                      <a:pt x="109" y="25"/>
                      <a:pt x="108" y="24"/>
                      <a:pt x="108" y="24"/>
                    </a:cubicBezTo>
                    <a:cubicBezTo>
                      <a:pt x="107" y="23"/>
                      <a:pt x="104" y="21"/>
                      <a:pt x="105" y="18"/>
                    </a:cubicBezTo>
                    <a:cubicBezTo>
                      <a:pt x="105" y="17"/>
                      <a:pt x="105" y="17"/>
                      <a:pt x="105" y="17"/>
                    </a:cubicBezTo>
                    <a:cubicBezTo>
                      <a:pt x="105" y="16"/>
                      <a:pt x="107" y="15"/>
                      <a:pt x="108" y="14"/>
                    </a:cubicBezTo>
                    <a:cubicBezTo>
                      <a:pt x="109" y="14"/>
                      <a:pt x="109" y="14"/>
                      <a:pt x="109" y="14"/>
                    </a:cubicBezTo>
                    <a:cubicBezTo>
                      <a:pt x="109" y="13"/>
                      <a:pt x="109" y="13"/>
                      <a:pt x="109" y="13"/>
                    </a:cubicBezTo>
                    <a:cubicBezTo>
                      <a:pt x="109" y="13"/>
                      <a:pt x="109" y="13"/>
                      <a:pt x="109" y="13"/>
                    </a:cubicBezTo>
                    <a:cubicBezTo>
                      <a:pt x="109" y="13"/>
                      <a:pt x="108" y="13"/>
                      <a:pt x="108" y="13"/>
                    </a:cubicBezTo>
                    <a:cubicBezTo>
                      <a:pt x="107" y="14"/>
                      <a:pt x="106" y="14"/>
                      <a:pt x="106" y="14"/>
                    </a:cubicBezTo>
                    <a:cubicBezTo>
                      <a:pt x="105" y="14"/>
                      <a:pt x="104" y="14"/>
                      <a:pt x="103" y="13"/>
                    </a:cubicBezTo>
                    <a:cubicBezTo>
                      <a:pt x="87" y="10"/>
                      <a:pt x="87" y="10"/>
                      <a:pt x="87" y="10"/>
                    </a:cubicBezTo>
                    <a:cubicBezTo>
                      <a:pt x="86" y="10"/>
                      <a:pt x="85" y="9"/>
                      <a:pt x="85" y="9"/>
                    </a:cubicBezTo>
                    <a:cubicBezTo>
                      <a:pt x="84" y="9"/>
                      <a:pt x="84" y="9"/>
                      <a:pt x="83" y="8"/>
                    </a:cubicBezTo>
                    <a:cubicBezTo>
                      <a:pt x="83" y="8"/>
                      <a:pt x="82" y="8"/>
                      <a:pt x="82" y="7"/>
                    </a:cubicBezTo>
                    <a:cubicBezTo>
                      <a:pt x="80" y="6"/>
                      <a:pt x="79" y="5"/>
                      <a:pt x="78" y="3"/>
                    </a:cubicBezTo>
                    <a:cubicBezTo>
                      <a:pt x="78" y="2"/>
                      <a:pt x="78" y="2"/>
                      <a:pt x="78" y="2"/>
                    </a:cubicBezTo>
                    <a:cubicBezTo>
                      <a:pt x="77" y="2"/>
                      <a:pt x="77" y="1"/>
                      <a:pt x="77" y="1"/>
                    </a:cubicBezTo>
                    <a:cubicBezTo>
                      <a:pt x="77" y="1"/>
                      <a:pt x="77" y="1"/>
                      <a:pt x="77" y="1"/>
                    </a:cubicBezTo>
                    <a:cubicBezTo>
                      <a:pt x="77" y="1"/>
                      <a:pt x="76" y="2"/>
                      <a:pt x="76" y="2"/>
                    </a:cubicBezTo>
                    <a:cubicBezTo>
                      <a:pt x="75" y="3"/>
                      <a:pt x="74" y="4"/>
                      <a:pt x="73" y="4"/>
                    </a:cubicBezTo>
                    <a:cubicBezTo>
                      <a:pt x="73" y="5"/>
                      <a:pt x="73" y="5"/>
                      <a:pt x="73" y="5"/>
                    </a:cubicBezTo>
                    <a:cubicBezTo>
                      <a:pt x="71" y="5"/>
                      <a:pt x="71" y="5"/>
                      <a:pt x="71" y="5"/>
                    </a:cubicBezTo>
                    <a:cubicBezTo>
                      <a:pt x="70" y="6"/>
                      <a:pt x="70" y="6"/>
                      <a:pt x="70" y="6"/>
                    </a:cubicBezTo>
                    <a:cubicBezTo>
                      <a:pt x="67" y="7"/>
                      <a:pt x="67" y="7"/>
                      <a:pt x="67" y="7"/>
                    </a:cubicBezTo>
                    <a:cubicBezTo>
                      <a:pt x="66" y="4"/>
                      <a:pt x="66" y="4"/>
                      <a:pt x="66" y="4"/>
                    </a:cubicBezTo>
                    <a:cubicBezTo>
                      <a:pt x="65" y="4"/>
                      <a:pt x="65" y="4"/>
                      <a:pt x="65" y="4"/>
                    </a:cubicBezTo>
                    <a:cubicBezTo>
                      <a:pt x="64" y="4"/>
                      <a:pt x="64" y="4"/>
                      <a:pt x="64" y="4"/>
                    </a:cubicBezTo>
                    <a:cubicBezTo>
                      <a:pt x="63" y="3"/>
                      <a:pt x="63" y="3"/>
                      <a:pt x="62" y="3"/>
                    </a:cubicBezTo>
                    <a:cubicBezTo>
                      <a:pt x="61" y="2"/>
                      <a:pt x="60" y="1"/>
                      <a:pt x="59" y="1"/>
                    </a:cubicBezTo>
                    <a:cubicBezTo>
                      <a:pt x="59" y="1"/>
                      <a:pt x="59"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8" name="Freeform 276">
                <a:extLst>
                  <a:ext uri="{FF2B5EF4-FFF2-40B4-BE49-F238E27FC236}">
                    <a16:creationId xmlns:a16="http://schemas.microsoft.com/office/drawing/2014/main" id="{31D2E193-9096-4286-A0FC-01F8FE11FD7C}"/>
                  </a:ext>
                </a:extLst>
              </p:cNvPr>
              <p:cNvSpPr>
                <a:spLocks/>
              </p:cNvSpPr>
              <p:nvPr/>
            </p:nvSpPr>
            <p:spPr bwMode="auto">
              <a:xfrm>
                <a:off x="5984628" y="3998351"/>
                <a:ext cx="3685"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9" name="Freeform 277">
                <a:extLst>
                  <a:ext uri="{FF2B5EF4-FFF2-40B4-BE49-F238E27FC236}">
                    <a16:creationId xmlns:a16="http://schemas.microsoft.com/office/drawing/2014/main" id="{AED2866E-5E56-46CB-AECA-C7CCB882C460}"/>
                  </a:ext>
                </a:extLst>
              </p:cNvPr>
              <p:cNvSpPr>
                <a:spLocks/>
              </p:cNvSpPr>
              <p:nvPr/>
            </p:nvSpPr>
            <p:spPr bwMode="auto">
              <a:xfrm>
                <a:off x="5984628" y="3998351"/>
                <a:ext cx="3685"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0" name="Freeform 278">
                <a:extLst>
                  <a:ext uri="{FF2B5EF4-FFF2-40B4-BE49-F238E27FC236}">
                    <a16:creationId xmlns:a16="http://schemas.microsoft.com/office/drawing/2014/main" id="{509C4E23-A307-4F40-B0B9-9C992D9D0895}"/>
                  </a:ext>
                </a:extLst>
              </p:cNvPr>
              <p:cNvSpPr>
                <a:spLocks/>
              </p:cNvSpPr>
              <p:nvPr/>
            </p:nvSpPr>
            <p:spPr bwMode="auto">
              <a:xfrm>
                <a:off x="5229179" y="4289475"/>
                <a:ext cx="36851" cy="44221"/>
              </a:xfrm>
              <a:custGeom>
                <a:avLst/>
                <a:gdLst>
                  <a:gd name="T0" fmla="*/ 4 w 12"/>
                  <a:gd name="T1" fmla="*/ 0 h 14"/>
                  <a:gd name="T2" fmla="*/ 3 w 12"/>
                  <a:gd name="T3" fmla="*/ 0 h 14"/>
                  <a:gd name="T4" fmla="*/ 3 w 12"/>
                  <a:gd name="T5" fmla="*/ 1 h 14"/>
                  <a:gd name="T6" fmla="*/ 3 w 12"/>
                  <a:gd name="T7" fmla="*/ 2 h 14"/>
                  <a:gd name="T8" fmla="*/ 3 w 12"/>
                  <a:gd name="T9" fmla="*/ 3 h 14"/>
                  <a:gd name="T10" fmla="*/ 2 w 12"/>
                  <a:gd name="T11" fmla="*/ 4 h 14"/>
                  <a:gd name="T12" fmla="*/ 1 w 12"/>
                  <a:gd name="T13" fmla="*/ 5 h 14"/>
                  <a:gd name="T14" fmla="*/ 1 w 12"/>
                  <a:gd name="T15" fmla="*/ 5 h 14"/>
                  <a:gd name="T16" fmla="*/ 0 w 12"/>
                  <a:gd name="T17" fmla="*/ 7 h 14"/>
                  <a:gd name="T18" fmla="*/ 1 w 12"/>
                  <a:gd name="T19" fmla="*/ 7 h 14"/>
                  <a:gd name="T20" fmla="*/ 2 w 12"/>
                  <a:gd name="T21" fmla="*/ 9 h 14"/>
                  <a:gd name="T22" fmla="*/ 4 w 12"/>
                  <a:gd name="T23" fmla="*/ 6 h 14"/>
                  <a:gd name="T24" fmla="*/ 2 w 12"/>
                  <a:gd name="T25" fmla="*/ 12 h 14"/>
                  <a:gd name="T26" fmla="*/ 2 w 12"/>
                  <a:gd name="T27" fmla="*/ 12 h 14"/>
                  <a:gd name="T28" fmla="*/ 7 w 12"/>
                  <a:gd name="T29" fmla="*/ 14 h 14"/>
                  <a:gd name="T30" fmla="*/ 11 w 12"/>
                  <a:gd name="T31" fmla="*/ 5 h 14"/>
                  <a:gd name="T32" fmla="*/ 12 w 12"/>
                  <a:gd name="T33" fmla="*/ 4 h 14"/>
                  <a:gd name="T34" fmla="*/ 10 w 12"/>
                  <a:gd name="T35" fmla="*/ 2 h 14"/>
                  <a:gd name="T36" fmla="*/ 9 w 12"/>
                  <a:gd name="T37" fmla="*/ 2 h 14"/>
                  <a:gd name="T38" fmla="*/ 7 w 12"/>
                  <a:gd name="T39" fmla="*/ 0 h 14"/>
                  <a:gd name="T40" fmla="*/ 4 w 12"/>
                  <a:gd name="T4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4">
                    <a:moveTo>
                      <a:pt x="4" y="0"/>
                    </a:moveTo>
                    <a:cubicBezTo>
                      <a:pt x="4" y="0"/>
                      <a:pt x="3" y="0"/>
                      <a:pt x="3" y="0"/>
                    </a:cubicBezTo>
                    <a:cubicBezTo>
                      <a:pt x="3" y="0"/>
                      <a:pt x="3" y="1"/>
                      <a:pt x="3" y="1"/>
                    </a:cubicBezTo>
                    <a:cubicBezTo>
                      <a:pt x="3" y="2"/>
                      <a:pt x="3" y="2"/>
                      <a:pt x="3" y="2"/>
                    </a:cubicBezTo>
                    <a:cubicBezTo>
                      <a:pt x="3" y="2"/>
                      <a:pt x="3" y="3"/>
                      <a:pt x="3" y="3"/>
                    </a:cubicBezTo>
                    <a:cubicBezTo>
                      <a:pt x="2" y="4"/>
                      <a:pt x="2" y="4"/>
                      <a:pt x="2" y="4"/>
                    </a:cubicBezTo>
                    <a:cubicBezTo>
                      <a:pt x="2" y="4"/>
                      <a:pt x="2" y="5"/>
                      <a:pt x="1" y="5"/>
                    </a:cubicBezTo>
                    <a:cubicBezTo>
                      <a:pt x="1" y="5"/>
                      <a:pt x="1" y="5"/>
                      <a:pt x="1" y="5"/>
                    </a:cubicBezTo>
                    <a:cubicBezTo>
                      <a:pt x="1" y="6"/>
                      <a:pt x="1" y="6"/>
                      <a:pt x="0" y="7"/>
                    </a:cubicBezTo>
                    <a:cubicBezTo>
                      <a:pt x="1" y="7"/>
                      <a:pt x="1" y="7"/>
                      <a:pt x="1" y="7"/>
                    </a:cubicBezTo>
                    <a:cubicBezTo>
                      <a:pt x="1" y="7"/>
                      <a:pt x="1" y="8"/>
                      <a:pt x="2" y="9"/>
                    </a:cubicBezTo>
                    <a:cubicBezTo>
                      <a:pt x="4" y="6"/>
                      <a:pt x="4" y="6"/>
                      <a:pt x="4" y="6"/>
                    </a:cubicBezTo>
                    <a:cubicBezTo>
                      <a:pt x="2" y="12"/>
                      <a:pt x="2" y="12"/>
                      <a:pt x="2" y="12"/>
                    </a:cubicBezTo>
                    <a:cubicBezTo>
                      <a:pt x="2" y="12"/>
                      <a:pt x="2" y="12"/>
                      <a:pt x="2" y="12"/>
                    </a:cubicBezTo>
                    <a:cubicBezTo>
                      <a:pt x="7" y="14"/>
                      <a:pt x="7" y="14"/>
                      <a:pt x="7" y="14"/>
                    </a:cubicBezTo>
                    <a:cubicBezTo>
                      <a:pt x="11" y="5"/>
                      <a:pt x="11" y="5"/>
                      <a:pt x="11" y="5"/>
                    </a:cubicBezTo>
                    <a:cubicBezTo>
                      <a:pt x="12" y="4"/>
                      <a:pt x="12" y="4"/>
                      <a:pt x="12" y="4"/>
                    </a:cubicBezTo>
                    <a:cubicBezTo>
                      <a:pt x="11" y="3"/>
                      <a:pt x="10" y="3"/>
                      <a:pt x="10" y="2"/>
                    </a:cubicBezTo>
                    <a:cubicBezTo>
                      <a:pt x="9" y="2"/>
                      <a:pt x="9" y="2"/>
                      <a:pt x="9" y="2"/>
                    </a:cubicBezTo>
                    <a:cubicBezTo>
                      <a:pt x="9" y="1"/>
                      <a:pt x="8" y="1"/>
                      <a:pt x="7" y="0"/>
                    </a:cubicBezTo>
                    <a:cubicBezTo>
                      <a:pt x="7"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1" name="Freeform 279">
                <a:extLst>
                  <a:ext uri="{FF2B5EF4-FFF2-40B4-BE49-F238E27FC236}">
                    <a16:creationId xmlns:a16="http://schemas.microsoft.com/office/drawing/2014/main" id="{E601D8D0-7958-438F-BC10-7142D08302A6}"/>
                  </a:ext>
                </a:extLst>
              </p:cNvPr>
              <p:cNvSpPr>
                <a:spLocks/>
              </p:cNvSpPr>
              <p:nvPr/>
            </p:nvSpPr>
            <p:spPr bwMode="auto">
              <a:xfrm>
                <a:off x="5251290" y="4123645"/>
                <a:ext cx="641210" cy="272699"/>
              </a:xfrm>
              <a:custGeom>
                <a:avLst/>
                <a:gdLst>
                  <a:gd name="T0" fmla="*/ 131 w 202"/>
                  <a:gd name="T1" fmla="*/ 14 h 86"/>
                  <a:gd name="T2" fmla="*/ 113 w 202"/>
                  <a:gd name="T3" fmla="*/ 9 h 86"/>
                  <a:gd name="T4" fmla="*/ 112 w 202"/>
                  <a:gd name="T5" fmla="*/ 14 h 86"/>
                  <a:gd name="T6" fmla="*/ 104 w 202"/>
                  <a:gd name="T7" fmla="*/ 15 h 86"/>
                  <a:gd name="T8" fmla="*/ 95 w 202"/>
                  <a:gd name="T9" fmla="*/ 24 h 86"/>
                  <a:gd name="T10" fmla="*/ 85 w 202"/>
                  <a:gd name="T11" fmla="*/ 29 h 86"/>
                  <a:gd name="T12" fmla="*/ 91 w 202"/>
                  <a:gd name="T13" fmla="*/ 40 h 86"/>
                  <a:gd name="T14" fmla="*/ 91 w 202"/>
                  <a:gd name="T15" fmla="*/ 53 h 86"/>
                  <a:gd name="T16" fmla="*/ 77 w 202"/>
                  <a:gd name="T17" fmla="*/ 48 h 86"/>
                  <a:gd name="T18" fmla="*/ 71 w 202"/>
                  <a:gd name="T19" fmla="*/ 48 h 86"/>
                  <a:gd name="T20" fmla="*/ 68 w 202"/>
                  <a:gd name="T21" fmla="*/ 47 h 86"/>
                  <a:gd name="T22" fmla="*/ 57 w 202"/>
                  <a:gd name="T23" fmla="*/ 50 h 86"/>
                  <a:gd name="T24" fmla="*/ 46 w 202"/>
                  <a:gd name="T25" fmla="*/ 52 h 86"/>
                  <a:gd name="T26" fmla="*/ 31 w 202"/>
                  <a:gd name="T27" fmla="*/ 57 h 86"/>
                  <a:gd name="T28" fmla="*/ 28 w 202"/>
                  <a:gd name="T29" fmla="*/ 56 h 86"/>
                  <a:gd name="T30" fmla="*/ 19 w 202"/>
                  <a:gd name="T31" fmla="*/ 51 h 86"/>
                  <a:gd name="T32" fmla="*/ 7 w 202"/>
                  <a:gd name="T33" fmla="*/ 69 h 86"/>
                  <a:gd name="T34" fmla="*/ 16 w 202"/>
                  <a:gd name="T35" fmla="*/ 67 h 86"/>
                  <a:gd name="T36" fmla="*/ 18 w 202"/>
                  <a:gd name="T37" fmla="*/ 69 h 86"/>
                  <a:gd name="T38" fmla="*/ 29 w 202"/>
                  <a:gd name="T39" fmla="*/ 72 h 86"/>
                  <a:gd name="T40" fmla="*/ 30 w 202"/>
                  <a:gd name="T41" fmla="*/ 72 h 86"/>
                  <a:gd name="T42" fmla="*/ 59 w 202"/>
                  <a:gd name="T43" fmla="*/ 62 h 86"/>
                  <a:gd name="T44" fmla="*/ 71 w 202"/>
                  <a:gd name="T45" fmla="*/ 63 h 86"/>
                  <a:gd name="T46" fmla="*/ 75 w 202"/>
                  <a:gd name="T47" fmla="*/ 76 h 86"/>
                  <a:gd name="T48" fmla="*/ 79 w 202"/>
                  <a:gd name="T49" fmla="*/ 77 h 86"/>
                  <a:gd name="T50" fmla="*/ 109 w 202"/>
                  <a:gd name="T51" fmla="*/ 81 h 86"/>
                  <a:gd name="T52" fmla="*/ 118 w 202"/>
                  <a:gd name="T53" fmla="*/ 83 h 86"/>
                  <a:gd name="T54" fmla="*/ 123 w 202"/>
                  <a:gd name="T55" fmla="*/ 85 h 86"/>
                  <a:gd name="T56" fmla="*/ 130 w 202"/>
                  <a:gd name="T57" fmla="*/ 85 h 86"/>
                  <a:gd name="T58" fmla="*/ 135 w 202"/>
                  <a:gd name="T59" fmla="*/ 84 h 86"/>
                  <a:gd name="T60" fmla="*/ 145 w 202"/>
                  <a:gd name="T61" fmla="*/ 77 h 86"/>
                  <a:gd name="T62" fmla="*/ 152 w 202"/>
                  <a:gd name="T63" fmla="*/ 77 h 86"/>
                  <a:gd name="T64" fmla="*/ 158 w 202"/>
                  <a:gd name="T65" fmla="*/ 78 h 86"/>
                  <a:gd name="T66" fmla="*/ 160 w 202"/>
                  <a:gd name="T67" fmla="*/ 77 h 86"/>
                  <a:gd name="T68" fmla="*/ 170 w 202"/>
                  <a:gd name="T69" fmla="*/ 76 h 86"/>
                  <a:gd name="T70" fmla="*/ 172 w 202"/>
                  <a:gd name="T71" fmla="*/ 72 h 86"/>
                  <a:gd name="T72" fmla="*/ 176 w 202"/>
                  <a:gd name="T73" fmla="*/ 69 h 86"/>
                  <a:gd name="T74" fmla="*/ 176 w 202"/>
                  <a:gd name="T75" fmla="*/ 69 h 86"/>
                  <a:gd name="T76" fmla="*/ 183 w 202"/>
                  <a:gd name="T77" fmla="*/ 64 h 86"/>
                  <a:gd name="T78" fmla="*/ 182 w 202"/>
                  <a:gd name="T79" fmla="*/ 58 h 86"/>
                  <a:gd name="T80" fmla="*/ 184 w 202"/>
                  <a:gd name="T81" fmla="*/ 48 h 86"/>
                  <a:gd name="T82" fmla="*/ 187 w 202"/>
                  <a:gd name="T83" fmla="*/ 38 h 86"/>
                  <a:gd name="T84" fmla="*/ 196 w 202"/>
                  <a:gd name="T85" fmla="*/ 40 h 86"/>
                  <a:gd name="T86" fmla="*/ 200 w 202"/>
                  <a:gd name="T87" fmla="*/ 39 h 86"/>
                  <a:gd name="T88" fmla="*/ 202 w 202"/>
                  <a:gd name="T89" fmla="*/ 32 h 86"/>
                  <a:gd name="T90" fmla="*/ 197 w 202"/>
                  <a:gd name="T91" fmla="*/ 24 h 86"/>
                  <a:gd name="T92" fmla="*/ 196 w 202"/>
                  <a:gd name="T93" fmla="*/ 12 h 86"/>
                  <a:gd name="T94" fmla="*/ 189 w 202"/>
                  <a:gd name="T95" fmla="*/ 6 h 86"/>
                  <a:gd name="T96" fmla="*/ 178 w 202"/>
                  <a:gd name="T97" fmla="*/ 8 h 86"/>
                  <a:gd name="T98" fmla="*/ 156 w 202"/>
                  <a:gd name="T99" fmla="*/ 2 h 86"/>
                  <a:gd name="T100" fmla="*/ 152 w 202"/>
                  <a:gd name="T101"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 h="86">
                    <a:moveTo>
                      <a:pt x="147" y="0"/>
                    </a:moveTo>
                    <a:cubicBezTo>
                      <a:pt x="146" y="6"/>
                      <a:pt x="144" y="9"/>
                      <a:pt x="140" y="12"/>
                    </a:cubicBezTo>
                    <a:cubicBezTo>
                      <a:pt x="139" y="13"/>
                      <a:pt x="139" y="13"/>
                      <a:pt x="139" y="13"/>
                    </a:cubicBezTo>
                    <a:cubicBezTo>
                      <a:pt x="136" y="14"/>
                      <a:pt x="134" y="14"/>
                      <a:pt x="131" y="14"/>
                    </a:cubicBezTo>
                    <a:cubicBezTo>
                      <a:pt x="130" y="15"/>
                      <a:pt x="130" y="15"/>
                      <a:pt x="130" y="15"/>
                    </a:cubicBezTo>
                    <a:cubicBezTo>
                      <a:pt x="126" y="15"/>
                      <a:pt x="121" y="14"/>
                      <a:pt x="117" y="11"/>
                    </a:cubicBezTo>
                    <a:cubicBezTo>
                      <a:pt x="114" y="10"/>
                      <a:pt x="114" y="10"/>
                      <a:pt x="114" y="10"/>
                    </a:cubicBezTo>
                    <a:cubicBezTo>
                      <a:pt x="113" y="9"/>
                      <a:pt x="113" y="9"/>
                      <a:pt x="113" y="9"/>
                    </a:cubicBezTo>
                    <a:cubicBezTo>
                      <a:pt x="111" y="9"/>
                      <a:pt x="111" y="9"/>
                      <a:pt x="111" y="9"/>
                    </a:cubicBezTo>
                    <a:cubicBezTo>
                      <a:pt x="113" y="9"/>
                      <a:pt x="113" y="9"/>
                      <a:pt x="113" y="9"/>
                    </a:cubicBezTo>
                    <a:cubicBezTo>
                      <a:pt x="113" y="10"/>
                      <a:pt x="112" y="11"/>
                      <a:pt x="112" y="12"/>
                    </a:cubicBezTo>
                    <a:cubicBezTo>
                      <a:pt x="112" y="12"/>
                      <a:pt x="112" y="13"/>
                      <a:pt x="112" y="14"/>
                    </a:cubicBezTo>
                    <a:cubicBezTo>
                      <a:pt x="111" y="18"/>
                      <a:pt x="111" y="18"/>
                      <a:pt x="111" y="18"/>
                    </a:cubicBezTo>
                    <a:cubicBezTo>
                      <a:pt x="107" y="17"/>
                      <a:pt x="107" y="17"/>
                      <a:pt x="107" y="17"/>
                    </a:cubicBezTo>
                    <a:cubicBezTo>
                      <a:pt x="107" y="16"/>
                      <a:pt x="106" y="16"/>
                      <a:pt x="106" y="16"/>
                    </a:cubicBezTo>
                    <a:cubicBezTo>
                      <a:pt x="105" y="16"/>
                      <a:pt x="104" y="15"/>
                      <a:pt x="104" y="15"/>
                    </a:cubicBezTo>
                    <a:cubicBezTo>
                      <a:pt x="103" y="15"/>
                      <a:pt x="103" y="15"/>
                      <a:pt x="103" y="15"/>
                    </a:cubicBezTo>
                    <a:cubicBezTo>
                      <a:pt x="103" y="17"/>
                      <a:pt x="103" y="19"/>
                      <a:pt x="102" y="21"/>
                    </a:cubicBezTo>
                    <a:cubicBezTo>
                      <a:pt x="101" y="22"/>
                      <a:pt x="101" y="22"/>
                      <a:pt x="101" y="22"/>
                    </a:cubicBezTo>
                    <a:cubicBezTo>
                      <a:pt x="99" y="23"/>
                      <a:pt x="98" y="23"/>
                      <a:pt x="95" y="24"/>
                    </a:cubicBezTo>
                    <a:cubicBezTo>
                      <a:pt x="94" y="25"/>
                      <a:pt x="94" y="25"/>
                      <a:pt x="94" y="25"/>
                    </a:cubicBezTo>
                    <a:cubicBezTo>
                      <a:pt x="93" y="25"/>
                      <a:pt x="93" y="25"/>
                      <a:pt x="92" y="25"/>
                    </a:cubicBezTo>
                    <a:cubicBezTo>
                      <a:pt x="91" y="26"/>
                      <a:pt x="91" y="26"/>
                      <a:pt x="91" y="26"/>
                    </a:cubicBezTo>
                    <a:cubicBezTo>
                      <a:pt x="88" y="27"/>
                      <a:pt x="86" y="28"/>
                      <a:pt x="85" y="29"/>
                    </a:cubicBezTo>
                    <a:cubicBezTo>
                      <a:pt x="86" y="29"/>
                      <a:pt x="87" y="31"/>
                      <a:pt x="88" y="32"/>
                    </a:cubicBezTo>
                    <a:cubicBezTo>
                      <a:pt x="88" y="33"/>
                      <a:pt x="88" y="33"/>
                      <a:pt x="88" y="33"/>
                    </a:cubicBezTo>
                    <a:cubicBezTo>
                      <a:pt x="89" y="33"/>
                      <a:pt x="89" y="33"/>
                      <a:pt x="90" y="34"/>
                    </a:cubicBezTo>
                    <a:cubicBezTo>
                      <a:pt x="91" y="36"/>
                      <a:pt x="91" y="38"/>
                      <a:pt x="91" y="40"/>
                    </a:cubicBezTo>
                    <a:cubicBezTo>
                      <a:pt x="91" y="40"/>
                      <a:pt x="91" y="40"/>
                      <a:pt x="91" y="40"/>
                    </a:cubicBezTo>
                    <a:cubicBezTo>
                      <a:pt x="92" y="41"/>
                      <a:pt x="92" y="42"/>
                      <a:pt x="92" y="44"/>
                    </a:cubicBezTo>
                    <a:cubicBezTo>
                      <a:pt x="92" y="45"/>
                      <a:pt x="92" y="45"/>
                      <a:pt x="92" y="45"/>
                    </a:cubicBezTo>
                    <a:cubicBezTo>
                      <a:pt x="92" y="47"/>
                      <a:pt x="92" y="50"/>
                      <a:pt x="91" y="53"/>
                    </a:cubicBezTo>
                    <a:cubicBezTo>
                      <a:pt x="89" y="57"/>
                      <a:pt x="89" y="57"/>
                      <a:pt x="89" y="57"/>
                    </a:cubicBezTo>
                    <a:cubicBezTo>
                      <a:pt x="78" y="48"/>
                      <a:pt x="78" y="48"/>
                      <a:pt x="78" y="48"/>
                    </a:cubicBezTo>
                    <a:cubicBezTo>
                      <a:pt x="78" y="48"/>
                      <a:pt x="78" y="48"/>
                      <a:pt x="78" y="48"/>
                    </a:cubicBezTo>
                    <a:cubicBezTo>
                      <a:pt x="77" y="48"/>
                      <a:pt x="77" y="48"/>
                      <a:pt x="77" y="48"/>
                    </a:cubicBezTo>
                    <a:cubicBezTo>
                      <a:pt x="76" y="48"/>
                      <a:pt x="76" y="49"/>
                      <a:pt x="75" y="49"/>
                    </a:cubicBezTo>
                    <a:cubicBezTo>
                      <a:pt x="75" y="49"/>
                      <a:pt x="74" y="48"/>
                      <a:pt x="74" y="48"/>
                    </a:cubicBezTo>
                    <a:cubicBezTo>
                      <a:pt x="73" y="48"/>
                      <a:pt x="73" y="48"/>
                      <a:pt x="72" y="48"/>
                    </a:cubicBezTo>
                    <a:cubicBezTo>
                      <a:pt x="72" y="48"/>
                      <a:pt x="71" y="48"/>
                      <a:pt x="71" y="48"/>
                    </a:cubicBezTo>
                    <a:cubicBezTo>
                      <a:pt x="70" y="47"/>
                      <a:pt x="70" y="47"/>
                      <a:pt x="70" y="47"/>
                    </a:cubicBezTo>
                    <a:cubicBezTo>
                      <a:pt x="70" y="47"/>
                      <a:pt x="69" y="47"/>
                      <a:pt x="69" y="47"/>
                    </a:cubicBezTo>
                    <a:cubicBezTo>
                      <a:pt x="69" y="47"/>
                      <a:pt x="69" y="47"/>
                      <a:pt x="69" y="47"/>
                    </a:cubicBezTo>
                    <a:cubicBezTo>
                      <a:pt x="69" y="47"/>
                      <a:pt x="68" y="47"/>
                      <a:pt x="68" y="47"/>
                    </a:cubicBezTo>
                    <a:cubicBezTo>
                      <a:pt x="67" y="47"/>
                      <a:pt x="67" y="47"/>
                      <a:pt x="66" y="48"/>
                    </a:cubicBezTo>
                    <a:cubicBezTo>
                      <a:pt x="65" y="48"/>
                      <a:pt x="64" y="49"/>
                      <a:pt x="62" y="49"/>
                    </a:cubicBezTo>
                    <a:cubicBezTo>
                      <a:pt x="62" y="49"/>
                      <a:pt x="62" y="49"/>
                      <a:pt x="62" y="49"/>
                    </a:cubicBezTo>
                    <a:cubicBezTo>
                      <a:pt x="61" y="50"/>
                      <a:pt x="59" y="50"/>
                      <a:pt x="57" y="50"/>
                    </a:cubicBezTo>
                    <a:cubicBezTo>
                      <a:pt x="57" y="50"/>
                      <a:pt x="56" y="50"/>
                      <a:pt x="56" y="50"/>
                    </a:cubicBezTo>
                    <a:cubicBezTo>
                      <a:pt x="54" y="50"/>
                      <a:pt x="54" y="50"/>
                      <a:pt x="54" y="50"/>
                    </a:cubicBezTo>
                    <a:cubicBezTo>
                      <a:pt x="53" y="50"/>
                      <a:pt x="52" y="50"/>
                      <a:pt x="51" y="50"/>
                    </a:cubicBezTo>
                    <a:cubicBezTo>
                      <a:pt x="49" y="50"/>
                      <a:pt x="47" y="51"/>
                      <a:pt x="46" y="52"/>
                    </a:cubicBezTo>
                    <a:cubicBezTo>
                      <a:pt x="45" y="56"/>
                      <a:pt x="39" y="56"/>
                      <a:pt x="34" y="57"/>
                    </a:cubicBezTo>
                    <a:cubicBezTo>
                      <a:pt x="33" y="57"/>
                      <a:pt x="33" y="57"/>
                      <a:pt x="33" y="57"/>
                    </a:cubicBezTo>
                    <a:cubicBezTo>
                      <a:pt x="33" y="57"/>
                      <a:pt x="33" y="57"/>
                      <a:pt x="32" y="57"/>
                    </a:cubicBezTo>
                    <a:cubicBezTo>
                      <a:pt x="31" y="57"/>
                      <a:pt x="31" y="57"/>
                      <a:pt x="31" y="57"/>
                    </a:cubicBezTo>
                    <a:cubicBezTo>
                      <a:pt x="31" y="57"/>
                      <a:pt x="30" y="57"/>
                      <a:pt x="30" y="57"/>
                    </a:cubicBezTo>
                    <a:cubicBezTo>
                      <a:pt x="30" y="57"/>
                      <a:pt x="30" y="57"/>
                      <a:pt x="30" y="57"/>
                    </a:cubicBezTo>
                    <a:cubicBezTo>
                      <a:pt x="29" y="57"/>
                      <a:pt x="29" y="57"/>
                      <a:pt x="29" y="57"/>
                    </a:cubicBezTo>
                    <a:cubicBezTo>
                      <a:pt x="29" y="57"/>
                      <a:pt x="28" y="56"/>
                      <a:pt x="28" y="56"/>
                    </a:cubicBezTo>
                    <a:cubicBezTo>
                      <a:pt x="27" y="56"/>
                      <a:pt x="27" y="56"/>
                      <a:pt x="27" y="56"/>
                    </a:cubicBezTo>
                    <a:cubicBezTo>
                      <a:pt x="26" y="54"/>
                      <a:pt x="26" y="53"/>
                      <a:pt x="26" y="52"/>
                    </a:cubicBezTo>
                    <a:cubicBezTo>
                      <a:pt x="26" y="52"/>
                      <a:pt x="26" y="52"/>
                      <a:pt x="26" y="52"/>
                    </a:cubicBezTo>
                    <a:cubicBezTo>
                      <a:pt x="19" y="51"/>
                      <a:pt x="19" y="51"/>
                      <a:pt x="19" y="51"/>
                    </a:cubicBezTo>
                    <a:cubicBezTo>
                      <a:pt x="18" y="56"/>
                      <a:pt x="15" y="58"/>
                      <a:pt x="11" y="60"/>
                    </a:cubicBezTo>
                    <a:cubicBezTo>
                      <a:pt x="0" y="66"/>
                      <a:pt x="0" y="66"/>
                      <a:pt x="0" y="66"/>
                    </a:cubicBezTo>
                    <a:cubicBezTo>
                      <a:pt x="6" y="70"/>
                      <a:pt x="6" y="70"/>
                      <a:pt x="6" y="70"/>
                    </a:cubicBezTo>
                    <a:cubicBezTo>
                      <a:pt x="6" y="69"/>
                      <a:pt x="6" y="69"/>
                      <a:pt x="7" y="69"/>
                    </a:cubicBezTo>
                    <a:cubicBezTo>
                      <a:pt x="8" y="67"/>
                      <a:pt x="10" y="65"/>
                      <a:pt x="12" y="65"/>
                    </a:cubicBezTo>
                    <a:cubicBezTo>
                      <a:pt x="13" y="65"/>
                      <a:pt x="14" y="66"/>
                      <a:pt x="14" y="66"/>
                    </a:cubicBezTo>
                    <a:cubicBezTo>
                      <a:pt x="15" y="66"/>
                      <a:pt x="15" y="66"/>
                      <a:pt x="16" y="66"/>
                    </a:cubicBezTo>
                    <a:cubicBezTo>
                      <a:pt x="16" y="67"/>
                      <a:pt x="16" y="67"/>
                      <a:pt x="16" y="67"/>
                    </a:cubicBezTo>
                    <a:cubicBezTo>
                      <a:pt x="17" y="67"/>
                      <a:pt x="17" y="67"/>
                      <a:pt x="17" y="67"/>
                    </a:cubicBezTo>
                    <a:cubicBezTo>
                      <a:pt x="17" y="68"/>
                      <a:pt x="17" y="68"/>
                      <a:pt x="17" y="68"/>
                    </a:cubicBezTo>
                    <a:cubicBezTo>
                      <a:pt x="18" y="68"/>
                      <a:pt x="18" y="68"/>
                      <a:pt x="18" y="68"/>
                    </a:cubicBezTo>
                    <a:cubicBezTo>
                      <a:pt x="18" y="69"/>
                      <a:pt x="18" y="69"/>
                      <a:pt x="18" y="69"/>
                    </a:cubicBezTo>
                    <a:cubicBezTo>
                      <a:pt x="18" y="69"/>
                      <a:pt x="18" y="69"/>
                      <a:pt x="18" y="69"/>
                    </a:cubicBezTo>
                    <a:cubicBezTo>
                      <a:pt x="18" y="70"/>
                      <a:pt x="18" y="70"/>
                      <a:pt x="18" y="70"/>
                    </a:cubicBezTo>
                    <a:cubicBezTo>
                      <a:pt x="19" y="70"/>
                      <a:pt x="20" y="70"/>
                      <a:pt x="21" y="71"/>
                    </a:cubicBezTo>
                    <a:cubicBezTo>
                      <a:pt x="24" y="71"/>
                      <a:pt x="27" y="72"/>
                      <a:pt x="29" y="72"/>
                    </a:cubicBezTo>
                    <a:cubicBezTo>
                      <a:pt x="29" y="72"/>
                      <a:pt x="29" y="72"/>
                      <a:pt x="29" y="72"/>
                    </a:cubicBezTo>
                    <a:cubicBezTo>
                      <a:pt x="30" y="73"/>
                      <a:pt x="30" y="73"/>
                      <a:pt x="30" y="73"/>
                    </a:cubicBezTo>
                    <a:cubicBezTo>
                      <a:pt x="30" y="72"/>
                      <a:pt x="30" y="72"/>
                      <a:pt x="30" y="72"/>
                    </a:cubicBezTo>
                    <a:cubicBezTo>
                      <a:pt x="30" y="72"/>
                      <a:pt x="30" y="72"/>
                      <a:pt x="30" y="72"/>
                    </a:cubicBezTo>
                    <a:cubicBezTo>
                      <a:pt x="31" y="71"/>
                      <a:pt x="31" y="71"/>
                      <a:pt x="31" y="71"/>
                    </a:cubicBezTo>
                    <a:cubicBezTo>
                      <a:pt x="32" y="68"/>
                      <a:pt x="33" y="66"/>
                      <a:pt x="38" y="66"/>
                    </a:cubicBezTo>
                    <a:cubicBezTo>
                      <a:pt x="49" y="64"/>
                      <a:pt x="49" y="64"/>
                      <a:pt x="49" y="64"/>
                    </a:cubicBezTo>
                    <a:cubicBezTo>
                      <a:pt x="53" y="63"/>
                      <a:pt x="56" y="63"/>
                      <a:pt x="59" y="62"/>
                    </a:cubicBezTo>
                    <a:cubicBezTo>
                      <a:pt x="63" y="62"/>
                      <a:pt x="63" y="62"/>
                      <a:pt x="63" y="62"/>
                    </a:cubicBezTo>
                    <a:cubicBezTo>
                      <a:pt x="64" y="62"/>
                      <a:pt x="64" y="62"/>
                      <a:pt x="64" y="62"/>
                    </a:cubicBezTo>
                    <a:cubicBezTo>
                      <a:pt x="65" y="62"/>
                      <a:pt x="66" y="62"/>
                      <a:pt x="67" y="62"/>
                    </a:cubicBezTo>
                    <a:cubicBezTo>
                      <a:pt x="71" y="63"/>
                      <a:pt x="71" y="63"/>
                      <a:pt x="71" y="63"/>
                    </a:cubicBezTo>
                    <a:cubicBezTo>
                      <a:pt x="68" y="68"/>
                      <a:pt x="68" y="68"/>
                      <a:pt x="68" y="68"/>
                    </a:cubicBezTo>
                    <a:cubicBezTo>
                      <a:pt x="68" y="69"/>
                      <a:pt x="68" y="70"/>
                      <a:pt x="68" y="70"/>
                    </a:cubicBezTo>
                    <a:cubicBezTo>
                      <a:pt x="68" y="71"/>
                      <a:pt x="68" y="71"/>
                      <a:pt x="68" y="71"/>
                    </a:cubicBezTo>
                    <a:cubicBezTo>
                      <a:pt x="70" y="73"/>
                      <a:pt x="73" y="76"/>
                      <a:pt x="75" y="76"/>
                    </a:cubicBezTo>
                    <a:cubicBezTo>
                      <a:pt x="77" y="77"/>
                      <a:pt x="77" y="77"/>
                      <a:pt x="77" y="77"/>
                    </a:cubicBezTo>
                    <a:cubicBezTo>
                      <a:pt x="78" y="69"/>
                      <a:pt x="78" y="69"/>
                      <a:pt x="78" y="69"/>
                    </a:cubicBezTo>
                    <a:cubicBezTo>
                      <a:pt x="79" y="77"/>
                      <a:pt x="79" y="77"/>
                      <a:pt x="79" y="77"/>
                    </a:cubicBezTo>
                    <a:cubicBezTo>
                      <a:pt x="79" y="77"/>
                      <a:pt x="79" y="77"/>
                      <a:pt x="79" y="77"/>
                    </a:cubicBezTo>
                    <a:cubicBezTo>
                      <a:pt x="86" y="79"/>
                      <a:pt x="92" y="79"/>
                      <a:pt x="98" y="80"/>
                    </a:cubicBezTo>
                    <a:cubicBezTo>
                      <a:pt x="100" y="80"/>
                      <a:pt x="102" y="80"/>
                      <a:pt x="104" y="81"/>
                    </a:cubicBezTo>
                    <a:cubicBezTo>
                      <a:pt x="104" y="81"/>
                      <a:pt x="106" y="81"/>
                      <a:pt x="108" y="82"/>
                    </a:cubicBezTo>
                    <a:cubicBezTo>
                      <a:pt x="109" y="81"/>
                      <a:pt x="109" y="81"/>
                      <a:pt x="109" y="81"/>
                    </a:cubicBezTo>
                    <a:cubicBezTo>
                      <a:pt x="109" y="82"/>
                      <a:pt x="109" y="82"/>
                      <a:pt x="109" y="82"/>
                    </a:cubicBezTo>
                    <a:cubicBezTo>
                      <a:pt x="110" y="82"/>
                      <a:pt x="111" y="82"/>
                      <a:pt x="112" y="82"/>
                    </a:cubicBezTo>
                    <a:cubicBezTo>
                      <a:pt x="114" y="82"/>
                      <a:pt x="114" y="82"/>
                      <a:pt x="114" y="82"/>
                    </a:cubicBezTo>
                    <a:cubicBezTo>
                      <a:pt x="115" y="83"/>
                      <a:pt x="116" y="83"/>
                      <a:pt x="118" y="83"/>
                    </a:cubicBezTo>
                    <a:cubicBezTo>
                      <a:pt x="118" y="83"/>
                      <a:pt x="118" y="83"/>
                      <a:pt x="119" y="84"/>
                    </a:cubicBezTo>
                    <a:cubicBezTo>
                      <a:pt x="120" y="84"/>
                      <a:pt x="120" y="84"/>
                      <a:pt x="120" y="84"/>
                    </a:cubicBezTo>
                    <a:cubicBezTo>
                      <a:pt x="121" y="84"/>
                      <a:pt x="121" y="84"/>
                      <a:pt x="122" y="85"/>
                    </a:cubicBezTo>
                    <a:cubicBezTo>
                      <a:pt x="123" y="85"/>
                      <a:pt x="123" y="85"/>
                      <a:pt x="123" y="85"/>
                    </a:cubicBezTo>
                    <a:cubicBezTo>
                      <a:pt x="124" y="85"/>
                      <a:pt x="124" y="85"/>
                      <a:pt x="125" y="85"/>
                    </a:cubicBezTo>
                    <a:cubicBezTo>
                      <a:pt x="126" y="85"/>
                      <a:pt x="126" y="85"/>
                      <a:pt x="126" y="85"/>
                    </a:cubicBezTo>
                    <a:cubicBezTo>
                      <a:pt x="127" y="85"/>
                      <a:pt x="127" y="85"/>
                      <a:pt x="127" y="85"/>
                    </a:cubicBezTo>
                    <a:cubicBezTo>
                      <a:pt x="128" y="85"/>
                      <a:pt x="129" y="85"/>
                      <a:pt x="130" y="85"/>
                    </a:cubicBezTo>
                    <a:cubicBezTo>
                      <a:pt x="131" y="86"/>
                      <a:pt x="131" y="86"/>
                      <a:pt x="131" y="86"/>
                    </a:cubicBezTo>
                    <a:cubicBezTo>
                      <a:pt x="132" y="86"/>
                      <a:pt x="132" y="86"/>
                      <a:pt x="132" y="86"/>
                    </a:cubicBezTo>
                    <a:cubicBezTo>
                      <a:pt x="132" y="86"/>
                      <a:pt x="132" y="86"/>
                      <a:pt x="132" y="86"/>
                    </a:cubicBezTo>
                    <a:cubicBezTo>
                      <a:pt x="133" y="86"/>
                      <a:pt x="134" y="85"/>
                      <a:pt x="135" y="84"/>
                    </a:cubicBezTo>
                    <a:cubicBezTo>
                      <a:pt x="136" y="84"/>
                      <a:pt x="136" y="84"/>
                      <a:pt x="136" y="84"/>
                    </a:cubicBezTo>
                    <a:cubicBezTo>
                      <a:pt x="136" y="83"/>
                      <a:pt x="137" y="83"/>
                      <a:pt x="137" y="83"/>
                    </a:cubicBezTo>
                    <a:cubicBezTo>
                      <a:pt x="137" y="82"/>
                      <a:pt x="138" y="82"/>
                      <a:pt x="138" y="81"/>
                    </a:cubicBezTo>
                    <a:cubicBezTo>
                      <a:pt x="140" y="79"/>
                      <a:pt x="141" y="78"/>
                      <a:pt x="145" y="77"/>
                    </a:cubicBezTo>
                    <a:cubicBezTo>
                      <a:pt x="146" y="77"/>
                      <a:pt x="146" y="77"/>
                      <a:pt x="147" y="77"/>
                    </a:cubicBezTo>
                    <a:cubicBezTo>
                      <a:pt x="147" y="77"/>
                      <a:pt x="147" y="77"/>
                      <a:pt x="147" y="77"/>
                    </a:cubicBezTo>
                    <a:cubicBezTo>
                      <a:pt x="148" y="77"/>
                      <a:pt x="149" y="77"/>
                      <a:pt x="150" y="77"/>
                    </a:cubicBezTo>
                    <a:cubicBezTo>
                      <a:pt x="152" y="77"/>
                      <a:pt x="152" y="77"/>
                      <a:pt x="152" y="77"/>
                    </a:cubicBezTo>
                    <a:cubicBezTo>
                      <a:pt x="152" y="77"/>
                      <a:pt x="153" y="77"/>
                      <a:pt x="153" y="77"/>
                    </a:cubicBezTo>
                    <a:cubicBezTo>
                      <a:pt x="154" y="77"/>
                      <a:pt x="155" y="77"/>
                      <a:pt x="156" y="78"/>
                    </a:cubicBezTo>
                    <a:cubicBezTo>
                      <a:pt x="156" y="78"/>
                      <a:pt x="156" y="78"/>
                      <a:pt x="156" y="78"/>
                    </a:cubicBezTo>
                    <a:cubicBezTo>
                      <a:pt x="157" y="78"/>
                      <a:pt x="158" y="78"/>
                      <a:pt x="158" y="78"/>
                    </a:cubicBezTo>
                    <a:cubicBezTo>
                      <a:pt x="159" y="78"/>
                      <a:pt x="159" y="78"/>
                      <a:pt x="159" y="78"/>
                    </a:cubicBezTo>
                    <a:cubicBezTo>
                      <a:pt x="159" y="78"/>
                      <a:pt x="159" y="78"/>
                      <a:pt x="159" y="78"/>
                    </a:cubicBezTo>
                    <a:cubicBezTo>
                      <a:pt x="160" y="77"/>
                      <a:pt x="160" y="77"/>
                      <a:pt x="160" y="77"/>
                    </a:cubicBezTo>
                    <a:cubicBezTo>
                      <a:pt x="160" y="77"/>
                      <a:pt x="160" y="77"/>
                      <a:pt x="160" y="77"/>
                    </a:cubicBezTo>
                    <a:cubicBezTo>
                      <a:pt x="161" y="76"/>
                      <a:pt x="163" y="75"/>
                      <a:pt x="166" y="75"/>
                    </a:cubicBezTo>
                    <a:cubicBezTo>
                      <a:pt x="166" y="75"/>
                      <a:pt x="166" y="75"/>
                      <a:pt x="166" y="75"/>
                    </a:cubicBezTo>
                    <a:cubicBezTo>
                      <a:pt x="167" y="75"/>
                      <a:pt x="167" y="75"/>
                      <a:pt x="167" y="75"/>
                    </a:cubicBezTo>
                    <a:cubicBezTo>
                      <a:pt x="168" y="75"/>
                      <a:pt x="169" y="75"/>
                      <a:pt x="170" y="76"/>
                    </a:cubicBezTo>
                    <a:cubicBezTo>
                      <a:pt x="170" y="75"/>
                      <a:pt x="170" y="75"/>
                      <a:pt x="170" y="74"/>
                    </a:cubicBezTo>
                    <a:cubicBezTo>
                      <a:pt x="171" y="73"/>
                      <a:pt x="171" y="73"/>
                      <a:pt x="171" y="73"/>
                    </a:cubicBezTo>
                    <a:cubicBezTo>
                      <a:pt x="171" y="73"/>
                      <a:pt x="172" y="72"/>
                      <a:pt x="172" y="72"/>
                    </a:cubicBezTo>
                    <a:cubicBezTo>
                      <a:pt x="172" y="72"/>
                      <a:pt x="172" y="72"/>
                      <a:pt x="172" y="72"/>
                    </a:cubicBezTo>
                    <a:cubicBezTo>
                      <a:pt x="174" y="70"/>
                      <a:pt x="174" y="70"/>
                      <a:pt x="174" y="70"/>
                    </a:cubicBezTo>
                    <a:cubicBezTo>
                      <a:pt x="175" y="70"/>
                      <a:pt x="175" y="70"/>
                      <a:pt x="175" y="70"/>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6" y="69"/>
                      <a:pt x="176" y="69"/>
                      <a:pt x="176" y="69"/>
                    </a:cubicBezTo>
                    <a:cubicBezTo>
                      <a:pt x="177" y="67"/>
                      <a:pt x="178" y="66"/>
                      <a:pt x="179" y="65"/>
                    </a:cubicBezTo>
                    <a:cubicBezTo>
                      <a:pt x="180" y="64"/>
                      <a:pt x="181" y="64"/>
                      <a:pt x="182" y="64"/>
                    </a:cubicBezTo>
                    <a:cubicBezTo>
                      <a:pt x="183" y="64"/>
                      <a:pt x="183" y="64"/>
                      <a:pt x="183" y="64"/>
                    </a:cubicBezTo>
                    <a:cubicBezTo>
                      <a:pt x="183" y="64"/>
                      <a:pt x="183" y="64"/>
                      <a:pt x="183" y="64"/>
                    </a:cubicBezTo>
                    <a:cubicBezTo>
                      <a:pt x="183" y="64"/>
                      <a:pt x="183" y="64"/>
                      <a:pt x="183" y="64"/>
                    </a:cubicBezTo>
                    <a:cubicBezTo>
                      <a:pt x="183" y="64"/>
                      <a:pt x="183" y="64"/>
                      <a:pt x="183" y="64"/>
                    </a:cubicBezTo>
                    <a:cubicBezTo>
                      <a:pt x="183" y="63"/>
                      <a:pt x="183" y="63"/>
                      <a:pt x="183" y="63"/>
                    </a:cubicBezTo>
                    <a:cubicBezTo>
                      <a:pt x="183" y="62"/>
                      <a:pt x="182" y="60"/>
                      <a:pt x="182" y="58"/>
                    </a:cubicBezTo>
                    <a:cubicBezTo>
                      <a:pt x="182" y="53"/>
                      <a:pt x="186" y="51"/>
                      <a:pt x="187" y="51"/>
                    </a:cubicBezTo>
                    <a:cubicBezTo>
                      <a:pt x="188" y="50"/>
                      <a:pt x="188" y="50"/>
                      <a:pt x="188" y="50"/>
                    </a:cubicBezTo>
                    <a:cubicBezTo>
                      <a:pt x="188" y="49"/>
                      <a:pt x="187" y="49"/>
                      <a:pt x="186" y="48"/>
                    </a:cubicBezTo>
                    <a:cubicBezTo>
                      <a:pt x="185" y="48"/>
                      <a:pt x="185" y="48"/>
                      <a:pt x="184" y="48"/>
                    </a:cubicBezTo>
                    <a:cubicBezTo>
                      <a:pt x="177" y="46"/>
                      <a:pt x="177" y="46"/>
                      <a:pt x="177" y="46"/>
                    </a:cubicBezTo>
                    <a:cubicBezTo>
                      <a:pt x="185" y="40"/>
                      <a:pt x="185" y="40"/>
                      <a:pt x="185" y="40"/>
                    </a:cubicBezTo>
                    <a:cubicBezTo>
                      <a:pt x="186" y="39"/>
                      <a:pt x="186" y="39"/>
                      <a:pt x="187" y="39"/>
                    </a:cubicBezTo>
                    <a:cubicBezTo>
                      <a:pt x="187" y="38"/>
                      <a:pt x="187" y="38"/>
                      <a:pt x="187" y="38"/>
                    </a:cubicBezTo>
                    <a:cubicBezTo>
                      <a:pt x="189" y="38"/>
                      <a:pt x="190" y="38"/>
                      <a:pt x="191" y="38"/>
                    </a:cubicBezTo>
                    <a:cubicBezTo>
                      <a:pt x="192" y="38"/>
                      <a:pt x="193" y="38"/>
                      <a:pt x="195" y="39"/>
                    </a:cubicBezTo>
                    <a:cubicBezTo>
                      <a:pt x="196" y="39"/>
                      <a:pt x="196" y="39"/>
                      <a:pt x="196" y="39"/>
                    </a:cubicBezTo>
                    <a:cubicBezTo>
                      <a:pt x="196" y="40"/>
                      <a:pt x="196" y="40"/>
                      <a:pt x="196" y="40"/>
                    </a:cubicBezTo>
                    <a:cubicBezTo>
                      <a:pt x="196" y="40"/>
                      <a:pt x="196" y="40"/>
                      <a:pt x="196" y="40"/>
                    </a:cubicBezTo>
                    <a:cubicBezTo>
                      <a:pt x="197" y="40"/>
                      <a:pt x="197" y="40"/>
                      <a:pt x="197" y="40"/>
                    </a:cubicBezTo>
                    <a:cubicBezTo>
                      <a:pt x="198" y="40"/>
                      <a:pt x="199" y="40"/>
                      <a:pt x="200" y="40"/>
                    </a:cubicBezTo>
                    <a:cubicBezTo>
                      <a:pt x="200" y="39"/>
                      <a:pt x="200" y="39"/>
                      <a:pt x="200" y="39"/>
                    </a:cubicBezTo>
                    <a:cubicBezTo>
                      <a:pt x="200" y="38"/>
                      <a:pt x="200" y="38"/>
                      <a:pt x="200" y="38"/>
                    </a:cubicBezTo>
                    <a:cubicBezTo>
                      <a:pt x="201" y="37"/>
                      <a:pt x="201" y="36"/>
                      <a:pt x="201" y="35"/>
                    </a:cubicBezTo>
                    <a:cubicBezTo>
                      <a:pt x="202" y="34"/>
                      <a:pt x="202" y="33"/>
                      <a:pt x="202" y="32"/>
                    </a:cubicBezTo>
                    <a:cubicBezTo>
                      <a:pt x="202" y="32"/>
                      <a:pt x="202" y="32"/>
                      <a:pt x="202" y="32"/>
                    </a:cubicBezTo>
                    <a:cubicBezTo>
                      <a:pt x="202" y="32"/>
                      <a:pt x="201" y="31"/>
                      <a:pt x="201" y="30"/>
                    </a:cubicBezTo>
                    <a:cubicBezTo>
                      <a:pt x="200" y="29"/>
                      <a:pt x="199" y="29"/>
                      <a:pt x="198" y="28"/>
                    </a:cubicBezTo>
                    <a:cubicBezTo>
                      <a:pt x="197" y="27"/>
                      <a:pt x="197" y="25"/>
                      <a:pt x="197" y="24"/>
                    </a:cubicBezTo>
                    <a:cubicBezTo>
                      <a:pt x="197" y="24"/>
                      <a:pt x="197" y="24"/>
                      <a:pt x="197" y="24"/>
                    </a:cubicBezTo>
                    <a:cubicBezTo>
                      <a:pt x="196" y="23"/>
                      <a:pt x="196" y="23"/>
                      <a:pt x="195" y="22"/>
                    </a:cubicBezTo>
                    <a:cubicBezTo>
                      <a:pt x="194" y="21"/>
                      <a:pt x="194" y="20"/>
                      <a:pt x="194" y="17"/>
                    </a:cubicBezTo>
                    <a:cubicBezTo>
                      <a:pt x="194" y="15"/>
                      <a:pt x="195" y="13"/>
                      <a:pt x="196" y="12"/>
                    </a:cubicBezTo>
                    <a:cubicBezTo>
                      <a:pt x="196" y="12"/>
                      <a:pt x="196" y="12"/>
                      <a:pt x="196" y="12"/>
                    </a:cubicBezTo>
                    <a:cubicBezTo>
                      <a:pt x="196" y="11"/>
                      <a:pt x="196" y="11"/>
                      <a:pt x="196" y="11"/>
                    </a:cubicBezTo>
                    <a:cubicBezTo>
                      <a:pt x="196" y="11"/>
                      <a:pt x="196" y="11"/>
                      <a:pt x="196" y="11"/>
                    </a:cubicBezTo>
                    <a:cubicBezTo>
                      <a:pt x="196" y="11"/>
                      <a:pt x="196" y="11"/>
                      <a:pt x="196" y="11"/>
                    </a:cubicBezTo>
                    <a:cubicBezTo>
                      <a:pt x="195" y="9"/>
                      <a:pt x="190" y="6"/>
                      <a:pt x="189" y="6"/>
                    </a:cubicBezTo>
                    <a:cubicBezTo>
                      <a:pt x="187" y="6"/>
                      <a:pt x="187" y="6"/>
                      <a:pt x="187" y="6"/>
                    </a:cubicBezTo>
                    <a:cubicBezTo>
                      <a:pt x="187" y="7"/>
                      <a:pt x="186" y="7"/>
                      <a:pt x="185" y="7"/>
                    </a:cubicBezTo>
                    <a:cubicBezTo>
                      <a:pt x="184" y="8"/>
                      <a:pt x="182" y="8"/>
                      <a:pt x="180" y="8"/>
                    </a:cubicBezTo>
                    <a:cubicBezTo>
                      <a:pt x="179" y="8"/>
                      <a:pt x="178" y="8"/>
                      <a:pt x="178" y="8"/>
                    </a:cubicBezTo>
                    <a:cubicBezTo>
                      <a:pt x="165" y="4"/>
                      <a:pt x="165" y="4"/>
                      <a:pt x="165" y="4"/>
                    </a:cubicBezTo>
                    <a:cubicBezTo>
                      <a:pt x="164" y="4"/>
                      <a:pt x="164" y="4"/>
                      <a:pt x="163" y="4"/>
                    </a:cubicBezTo>
                    <a:cubicBezTo>
                      <a:pt x="162" y="3"/>
                      <a:pt x="160" y="2"/>
                      <a:pt x="159" y="2"/>
                    </a:cubicBezTo>
                    <a:cubicBezTo>
                      <a:pt x="158" y="2"/>
                      <a:pt x="157" y="2"/>
                      <a:pt x="156" y="2"/>
                    </a:cubicBezTo>
                    <a:cubicBezTo>
                      <a:pt x="154" y="2"/>
                      <a:pt x="154" y="2"/>
                      <a:pt x="154" y="2"/>
                    </a:cubicBezTo>
                    <a:cubicBezTo>
                      <a:pt x="154" y="2"/>
                      <a:pt x="154" y="2"/>
                      <a:pt x="154" y="2"/>
                    </a:cubicBezTo>
                    <a:cubicBezTo>
                      <a:pt x="153" y="2"/>
                      <a:pt x="153" y="2"/>
                      <a:pt x="152" y="2"/>
                    </a:cubicBezTo>
                    <a:cubicBezTo>
                      <a:pt x="152" y="2"/>
                      <a:pt x="152" y="2"/>
                      <a:pt x="152" y="2"/>
                    </a:cubicBezTo>
                    <a:cubicBezTo>
                      <a:pt x="150" y="1"/>
                      <a:pt x="148" y="1"/>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2" name="Freeform 280">
                <a:extLst>
                  <a:ext uri="{FF2B5EF4-FFF2-40B4-BE49-F238E27FC236}">
                    <a16:creationId xmlns:a16="http://schemas.microsoft.com/office/drawing/2014/main" id="{E87E1200-93D8-4338-A0C9-1B70E7D598F9}"/>
                  </a:ext>
                </a:extLst>
              </p:cNvPr>
              <p:cNvSpPr>
                <a:spLocks/>
              </p:cNvSpPr>
              <p:nvPr/>
            </p:nvSpPr>
            <p:spPr bwMode="auto">
              <a:xfrm>
                <a:off x="5586636" y="4385288"/>
                <a:ext cx="224792" cy="117924"/>
              </a:xfrm>
              <a:custGeom>
                <a:avLst/>
                <a:gdLst>
                  <a:gd name="T0" fmla="*/ 58 w 71"/>
                  <a:gd name="T1" fmla="*/ 1 h 37"/>
                  <a:gd name="T2" fmla="*/ 54 w 71"/>
                  <a:gd name="T3" fmla="*/ 3 h 37"/>
                  <a:gd name="T4" fmla="*/ 52 w 71"/>
                  <a:gd name="T5" fmla="*/ 3 h 37"/>
                  <a:gd name="T6" fmla="*/ 47 w 71"/>
                  <a:gd name="T7" fmla="*/ 2 h 37"/>
                  <a:gd name="T8" fmla="*/ 44 w 71"/>
                  <a:gd name="T9" fmla="*/ 2 h 37"/>
                  <a:gd name="T10" fmla="*/ 40 w 71"/>
                  <a:gd name="T11" fmla="*/ 2 h 37"/>
                  <a:gd name="T12" fmla="*/ 37 w 71"/>
                  <a:gd name="T13" fmla="*/ 4 h 37"/>
                  <a:gd name="T14" fmla="*/ 33 w 71"/>
                  <a:gd name="T15" fmla="*/ 8 h 37"/>
                  <a:gd name="T16" fmla="*/ 26 w 71"/>
                  <a:gd name="T17" fmla="*/ 12 h 37"/>
                  <a:gd name="T18" fmla="*/ 22 w 71"/>
                  <a:gd name="T19" fmla="*/ 10 h 37"/>
                  <a:gd name="T20" fmla="*/ 20 w 71"/>
                  <a:gd name="T21" fmla="*/ 10 h 37"/>
                  <a:gd name="T22" fmla="*/ 18 w 71"/>
                  <a:gd name="T23" fmla="*/ 10 h 37"/>
                  <a:gd name="T24" fmla="*/ 15 w 71"/>
                  <a:gd name="T25" fmla="*/ 9 h 37"/>
                  <a:gd name="T26" fmla="*/ 11 w 71"/>
                  <a:gd name="T27" fmla="*/ 8 h 37"/>
                  <a:gd name="T28" fmla="*/ 7 w 71"/>
                  <a:gd name="T29" fmla="*/ 7 h 37"/>
                  <a:gd name="T30" fmla="*/ 4 w 71"/>
                  <a:gd name="T31" fmla="*/ 7 h 37"/>
                  <a:gd name="T32" fmla="*/ 2 w 71"/>
                  <a:gd name="T33" fmla="*/ 12 h 37"/>
                  <a:gd name="T34" fmla="*/ 3 w 71"/>
                  <a:gd name="T35" fmla="*/ 18 h 37"/>
                  <a:gd name="T36" fmla="*/ 2 w 71"/>
                  <a:gd name="T37" fmla="*/ 19 h 37"/>
                  <a:gd name="T38" fmla="*/ 2 w 71"/>
                  <a:gd name="T39" fmla="*/ 22 h 37"/>
                  <a:gd name="T40" fmla="*/ 2 w 71"/>
                  <a:gd name="T41" fmla="*/ 26 h 37"/>
                  <a:gd name="T42" fmla="*/ 5 w 71"/>
                  <a:gd name="T43" fmla="*/ 28 h 37"/>
                  <a:gd name="T44" fmla="*/ 9 w 71"/>
                  <a:gd name="T45" fmla="*/ 31 h 37"/>
                  <a:gd name="T46" fmla="*/ 11 w 71"/>
                  <a:gd name="T47" fmla="*/ 36 h 37"/>
                  <a:gd name="T48" fmla="*/ 13 w 71"/>
                  <a:gd name="T49" fmla="*/ 36 h 37"/>
                  <a:gd name="T50" fmla="*/ 23 w 71"/>
                  <a:gd name="T51" fmla="*/ 32 h 37"/>
                  <a:gd name="T52" fmla="*/ 29 w 71"/>
                  <a:gd name="T53" fmla="*/ 31 h 37"/>
                  <a:gd name="T54" fmla="*/ 31 w 71"/>
                  <a:gd name="T55" fmla="*/ 33 h 37"/>
                  <a:gd name="T56" fmla="*/ 36 w 71"/>
                  <a:gd name="T57" fmla="*/ 36 h 37"/>
                  <a:gd name="T58" fmla="*/ 37 w 71"/>
                  <a:gd name="T59" fmla="*/ 36 h 37"/>
                  <a:gd name="T60" fmla="*/ 40 w 71"/>
                  <a:gd name="T61" fmla="*/ 36 h 37"/>
                  <a:gd name="T62" fmla="*/ 43 w 71"/>
                  <a:gd name="T63" fmla="*/ 37 h 37"/>
                  <a:gd name="T64" fmla="*/ 44 w 71"/>
                  <a:gd name="T65" fmla="*/ 35 h 37"/>
                  <a:gd name="T66" fmla="*/ 44 w 71"/>
                  <a:gd name="T67" fmla="*/ 29 h 37"/>
                  <a:gd name="T68" fmla="*/ 54 w 71"/>
                  <a:gd name="T69" fmla="*/ 22 h 37"/>
                  <a:gd name="T70" fmla="*/ 53 w 71"/>
                  <a:gd name="T71" fmla="*/ 19 h 37"/>
                  <a:gd name="T72" fmla="*/ 55 w 71"/>
                  <a:gd name="T73" fmla="*/ 12 h 37"/>
                  <a:gd name="T74" fmla="*/ 57 w 71"/>
                  <a:gd name="T75" fmla="*/ 10 h 37"/>
                  <a:gd name="T76" fmla="*/ 61 w 71"/>
                  <a:gd name="T77" fmla="*/ 9 h 37"/>
                  <a:gd name="T78" fmla="*/ 64 w 71"/>
                  <a:gd name="T79" fmla="*/ 9 h 37"/>
                  <a:gd name="T80" fmla="*/ 65 w 71"/>
                  <a:gd name="T81" fmla="*/ 8 h 37"/>
                  <a:gd name="T82" fmla="*/ 68 w 71"/>
                  <a:gd name="T83" fmla="*/ 5 h 37"/>
                  <a:gd name="T84" fmla="*/ 71 w 71"/>
                  <a:gd name="T85" fmla="*/ 3 h 37"/>
                  <a:gd name="T86" fmla="*/ 64 w 71"/>
                  <a:gd name="T87" fmla="*/ 1 h 37"/>
                  <a:gd name="T88" fmla="*/ 61 w 71"/>
                  <a:gd name="T8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 h="37">
                    <a:moveTo>
                      <a:pt x="60" y="0"/>
                    </a:moveTo>
                    <a:cubicBezTo>
                      <a:pt x="59" y="0"/>
                      <a:pt x="59" y="0"/>
                      <a:pt x="58" y="1"/>
                    </a:cubicBezTo>
                    <a:cubicBezTo>
                      <a:pt x="57" y="1"/>
                      <a:pt x="56" y="2"/>
                      <a:pt x="55" y="2"/>
                    </a:cubicBezTo>
                    <a:cubicBezTo>
                      <a:pt x="54" y="3"/>
                      <a:pt x="54" y="3"/>
                      <a:pt x="54" y="3"/>
                    </a:cubicBezTo>
                    <a:cubicBezTo>
                      <a:pt x="54" y="3"/>
                      <a:pt x="53" y="3"/>
                      <a:pt x="53" y="3"/>
                    </a:cubicBezTo>
                    <a:cubicBezTo>
                      <a:pt x="53" y="3"/>
                      <a:pt x="52" y="3"/>
                      <a:pt x="52" y="3"/>
                    </a:cubicBezTo>
                    <a:cubicBezTo>
                      <a:pt x="51" y="3"/>
                      <a:pt x="50" y="3"/>
                      <a:pt x="49" y="2"/>
                    </a:cubicBezTo>
                    <a:cubicBezTo>
                      <a:pt x="48" y="2"/>
                      <a:pt x="47" y="2"/>
                      <a:pt x="47" y="2"/>
                    </a:cubicBezTo>
                    <a:cubicBezTo>
                      <a:pt x="47" y="2"/>
                      <a:pt x="46" y="2"/>
                      <a:pt x="46" y="2"/>
                    </a:cubicBezTo>
                    <a:cubicBezTo>
                      <a:pt x="45" y="2"/>
                      <a:pt x="45" y="2"/>
                      <a:pt x="44" y="2"/>
                    </a:cubicBezTo>
                    <a:cubicBezTo>
                      <a:pt x="43" y="2"/>
                      <a:pt x="43" y="2"/>
                      <a:pt x="42" y="2"/>
                    </a:cubicBezTo>
                    <a:cubicBezTo>
                      <a:pt x="40" y="2"/>
                      <a:pt x="40" y="2"/>
                      <a:pt x="40" y="2"/>
                    </a:cubicBezTo>
                    <a:cubicBezTo>
                      <a:pt x="39" y="3"/>
                      <a:pt x="39" y="3"/>
                      <a:pt x="38" y="4"/>
                    </a:cubicBezTo>
                    <a:cubicBezTo>
                      <a:pt x="37" y="4"/>
                      <a:pt x="37" y="4"/>
                      <a:pt x="37" y="4"/>
                    </a:cubicBezTo>
                    <a:cubicBezTo>
                      <a:pt x="37" y="5"/>
                      <a:pt x="36" y="5"/>
                      <a:pt x="36" y="6"/>
                    </a:cubicBezTo>
                    <a:cubicBezTo>
                      <a:pt x="35" y="7"/>
                      <a:pt x="34" y="7"/>
                      <a:pt x="33" y="8"/>
                    </a:cubicBezTo>
                    <a:cubicBezTo>
                      <a:pt x="30" y="10"/>
                      <a:pt x="28" y="11"/>
                      <a:pt x="27" y="12"/>
                    </a:cubicBezTo>
                    <a:cubicBezTo>
                      <a:pt x="26" y="12"/>
                      <a:pt x="26" y="12"/>
                      <a:pt x="26" y="12"/>
                    </a:cubicBezTo>
                    <a:cubicBezTo>
                      <a:pt x="25" y="12"/>
                      <a:pt x="25" y="12"/>
                      <a:pt x="25" y="12"/>
                    </a:cubicBezTo>
                    <a:cubicBezTo>
                      <a:pt x="24" y="11"/>
                      <a:pt x="22" y="10"/>
                      <a:pt x="22" y="10"/>
                    </a:cubicBezTo>
                    <a:cubicBezTo>
                      <a:pt x="21" y="10"/>
                      <a:pt x="21" y="10"/>
                      <a:pt x="21" y="10"/>
                    </a:cubicBezTo>
                    <a:cubicBezTo>
                      <a:pt x="20" y="10"/>
                      <a:pt x="20" y="10"/>
                      <a:pt x="20" y="10"/>
                    </a:cubicBezTo>
                    <a:cubicBezTo>
                      <a:pt x="20" y="10"/>
                      <a:pt x="19" y="10"/>
                      <a:pt x="19" y="10"/>
                    </a:cubicBezTo>
                    <a:cubicBezTo>
                      <a:pt x="18" y="10"/>
                      <a:pt x="18" y="10"/>
                      <a:pt x="18" y="10"/>
                    </a:cubicBezTo>
                    <a:cubicBezTo>
                      <a:pt x="18" y="10"/>
                      <a:pt x="18" y="10"/>
                      <a:pt x="18" y="10"/>
                    </a:cubicBezTo>
                    <a:cubicBezTo>
                      <a:pt x="16" y="10"/>
                      <a:pt x="15" y="10"/>
                      <a:pt x="15" y="9"/>
                    </a:cubicBezTo>
                    <a:cubicBezTo>
                      <a:pt x="14" y="9"/>
                      <a:pt x="13" y="9"/>
                      <a:pt x="11" y="8"/>
                    </a:cubicBezTo>
                    <a:cubicBezTo>
                      <a:pt x="11" y="8"/>
                      <a:pt x="11" y="8"/>
                      <a:pt x="11" y="8"/>
                    </a:cubicBezTo>
                    <a:cubicBezTo>
                      <a:pt x="10" y="8"/>
                      <a:pt x="10" y="8"/>
                      <a:pt x="10" y="8"/>
                    </a:cubicBezTo>
                    <a:cubicBezTo>
                      <a:pt x="9" y="8"/>
                      <a:pt x="8" y="7"/>
                      <a:pt x="7" y="7"/>
                    </a:cubicBezTo>
                    <a:cubicBezTo>
                      <a:pt x="5" y="7"/>
                      <a:pt x="5" y="7"/>
                      <a:pt x="5" y="7"/>
                    </a:cubicBezTo>
                    <a:cubicBezTo>
                      <a:pt x="4" y="7"/>
                      <a:pt x="4" y="7"/>
                      <a:pt x="4" y="7"/>
                    </a:cubicBezTo>
                    <a:cubicBezTo>
                      <a:pt x="3" y="9"/>
                      <a:pt x="2" y="10"/>
                      <a:pt x="0" y="11"/>
                    </a:cubicBezTo>
                    <a:cubicBezTo>
                      <a:pt x="1" y="12"/>
                      <a:pt x="2" y="12"/>
                      <a:pt x="2" y="12"/>
                    </a:cubicBezTo>
                    <a:cubicBezTo>
                      <a:pt x="7" y="15"/>
                      <a:pt x="7" y="15"/>
                      <a:pt x="7" y="15"/>
                    </a:cubicBezTo>
                    <a:cubicBezTo>
                      <a:pt x="3" y="18"/>
                      <a:pt x="3" y="18"/>
                      <a:pt x="3" y="18"/>
                    </a:cubicBezTo>
                    <a:cubicBezTo>
                      <a:pt x="3" y="19"/>
                      <a:pt x="3" y="19"/>
                      <a:pt x="3" y="19"/>
                    </a:cubicBezTo>
                    <a:cubicBezTo>
                      <a:pt x="2" y="19"/>
                      <a:pt x="2" y="19"/>
                      <a:pt x="2" y="19"/>
                    </a:cubicBezTo>
                    <a:cubicBezTo>
                      <a:pt x="1" y="20"/>
                      <a:pt x="1" y="20"/>
                      <a:pt x="1" y="20"/>
                    </a:cubicBezTo>
                    <a:cubicBezTo>
                      <a:pt x="2" y="21"/>
                      <a:pt x="2" y="21"/>
                      <a:pt x="2" y="22"/>
                    </a:cubicBezTo>
                    <a:cubicBezTo>
                      <a:pt x="3" y="23"/>
                      <a:pt x="3" y="24"/>
                      <a:pt x="3" y="25"/>
                    </a:cubicBezTo>
                    <a:cubicBezTo>
                      <a:pt x="3" y="25"/>
                      <a:pt x="3" y="26"/>
                      <a:pt x="2" y="26"/>
                    </a:cubicBezTo>
                    <a:cubicBezTo>
                      <a:pt x="2" y="26"/>
                      <a:pt x="2" y="26"/>
                      <a:pt x="2" y="26"/>
                    </a:cubicBezTo>
                    <a:cubicBezTo>
                      <a:pt x="3" y="27"/>
                      <a:pt x="4" y="27"/>
                      <a:pt x="5" y="28"/>
                    </a:cubicBezTo>
                    <a:cubicBezTo>
                      <a:pt x="6" y="28"/>
                      <a:pt x="7" y="29"/>
                      <a:pt x="8" y="30"/>
                    </a:cubicBezTo>
                    <a:cubicBezTo>
                      <a:pt x="8" y="31"/>
                      <a:pt x="8" y="31"/>
                      <a:pt x="9" y="31"/>
                    </a:cubicBezTo>
                    <a:cubicBezTo>
                      <a:pt x="9" y="32"/>
                      <a:pt x="9" y="32"/>
                      <a:pt x="10" y="32"/>
                    </a:cubicBezTo>
                    <a:cubicBezTo>
                      <a:pt x="11" y="33"/>
                      <a:pt x="11" y="35"/>
                      <a:pt x="11" y="36"/>
                    </a:cubicBezTo>
                    <a:cubicBezTo>
                      <a:pt x="11" y="36"/>
                      <a:pt x="11" y="36"/>
                      <a:pt x="11" y="36"/>
                    </a:cubicBezTo>
                    <a:cubicBezTo>
                      <a:pt x="12" y="36"/>
                      <a:pt x="12" y="36"/>
                      <a:pt x="13" y="36"/>
                    </a:cubicBezTo>
                    <a:cubicBezTo>
                      <a:pt x="13" y="37"/>
                      <a:pt x="14" y="37"/>
                      <a:pt x="15" y="37"/>
                    </a:cubicBezTo>
                    <a:cubicBezTo>
                      <a:pt x="18" y="37"/>
                      <a:pt x="22" y="34"/>
                      <a:pt x="23" y="32"/>
                    </a:cubicBezTo>
                    <a:cubicBezTo>
                      <a:pt x="25" y="28"/>
                      <a:pt x="25" y="28"/>
                      <a:pt x="25" y="28"/>
                    </a:cubicBezTo>
                    <a:cubicBezTo>
                      <a:pt x="29" y="31"/>
                      <a:pt x="29" y="31"/>
                      <a:pt x="29" y="31"/>
                    </a:cubicBezTo>
                    <a:cubicBezTo>
                      <a:pt x="29" y="32"/>
                      <a:pt x="30" y="32"/>
                      <a:pt x="30" y="33"/>
                    </a:cubicBezTo>
                    <a:cubicBezTo>
                      <a:pt x="31" y="33"/>
                      <a:pt x="31" y="33"/>
                      <a:pt x="31" y="33"/>
                    </a:cubicBezTo>
                    <a:cubicBezTo>
                      <a:pt x="32" y="34"/>
                      <a:pt x="33" y="35"/>
                      <a:pt x="33" y="36"/>
                    </a:cubicBezTo>
                    <a:cubicBezTo>
                      <a:pt x="34" y="36"/>
                      <a:pt x="35" y="36"/>
                      <a:pt x="36" y="36"/>
                    </a:cubicBezTo>
                    <a:cubicBezTo>
                      <a:pt x="36" y="36"/>
                      <a:pt x="36" y="36"/>
                      <a:pt x="36" y="36"/>
                    </a:cubicBezTo>
                    <a:cubicBezTo>
                      <a:pt x="37" y="36"/>
                      <a:pt x="37" y="36"/>
                      <a:pt x="37" y="36"/>
                    </a:cubicBezTo>
                    <a:cubicBezTo>
                      <a:pt x="37" y="36"/>
                      <a:pt x="38" y="36"/>
                      <a:pt x="39" y="36"/>
                    </a:cubicBezTo>
                    <a:cubicBezTo>
                      <a:pt x="40" y="36"/>
                      <a:pt x="40" y="36"/>
                      <a:pt x="40" y="36"/>
                    </a:cubicBezTo>
                    <a:cubicBezTo>
                      <a:pt x="41" y="36"/>
                      <a:pt x="42" y="37"/>
                      <a:pt x="43" y="37"/>
                    </a:cubicBezTo>
                    <a:cubicBezTo>
                      <a:pt x="43" y="37"/>
                      <a:pt x="43" y="37"/>
                      <a:pt x="43" y="37"/>
                    </a:cubicBezTo>
                    <a:cubicBezTo>
                      <a:pt x="43" y="37"/>
                      <a:pt x="44" y="36"/>
                      <a:pt x="44" y="36"/>
                    </a:cubicBezTo>
                    <a:cubicBezTo>
                      <a:pt x="44" y="36"/>
                      <a:pt x="44" y="35"/>
                      <a:pt x="44" y="35"/>
                    </a:cubicBezTo>
                    <a:cubicBezTo>
                      <a:pt x="39" y="33"/>
                      <a:pt x="39" y="33"/>
                      <a:pt x="39" y="33"/>
                    </a:cubicBezTo>
                    <a:cubicBezTo>
                      <a:pt x="44" y="29"/>
                      <a:pt x="44" y="29"/>
                      <a:pt x="44" y="29"/>
                    </a:cubicBezTo>
                    <a:cubicBezTo>
                      <a:pt x="46" y="28"/>
                      <a:pt x="47" y="27"/>
                      <a:pt x="49" y="26"/>
                    </a:cubicBezTo>
                    <a:cubicBezTo>
                      <a:pt x="51" y="25"/>
                      <a:pt x="52" y="24"/>
                      <a:pt x="54" y="22"/>
                    </a:cubicBezTo>
                    <a:cubicBezTo>
                      <a:pt x="55" y="22"/>
                      <a:pt x="55" y="22"/>
                      <a:pt x="55" y="22"/>
                    </a:cubicBezTo>
                    <a:cubicBezTo>
                      <a:pt x="54" y="21"/>
                      <a:pt x="53" y="20"/>
                      <a:pt x="53" y="19"/>
                    </a:cubicBezTo>
                    <a:cubicBezTo>
                      <a:pt x="52" y="17"/>
                      <a:pt x="53" y="15"/>
                      <a:pt x="54" y="13"/>
                    </a:cubicBezTo>
                    <a:cubicBezTo>
                      <a:pt x="55" y="12"/>
                      <a:pt x="55" y="12"/>
                      <a:pt x="55" y="12"/>
                    </a:cubicBezTo>
                    <a:cubicBezTo>
                      <a:pt x="55" y="12"/>
                      <a:pt x="56" y="11"/>
                      <a:pt x="57" y="11"/>
                    </a:cubicBezTo>
                    <a:cubicBezTo>
                      <a:pt x="57" y="10"/>
                      <a:pt x="57" y="10"/>
                      <a:pt x="57" y="10"/>
                    </a:cubicBezTo>
                    <a:cubicBezTo>
                      <a:pt x="58" y="10"/>
                      <a:pt x="59" y="10"/>
                      <a:pt x="59" y="10"/>
                    </a:cubicBezTo>
                    <a:cubicBezTo>
                      <a:pt x="60" y="10"/>
                      <a:pt x="60" y="9"/>
                      <a:pt x="61" y="9"/>
                    </a:cubicBezTo>
                    <a:cubicBezTo>
                      <a:pt x="62" y="9"/>
                      <a:pt x="62" y="9"/>
                      <a:pt x="62" y="9"/>
                    </a:cubicBezTo>
                    <a:cubicBezTo>
                      <a:pt x="63" y="9"/>
                      <a:pt x="63" y="9"/>
                      <a:pt x="64" y="9"/>
                    </a:cubicBezTo>
                    <a:cubicBezTo>
                      <a:pt x="64" y="8"/>
                      <a:pt x="65" y="8"/>
                      <a:pt x="65" y="8"/>
                    </a:cubicBezTo>
                    <a:cubicBezTo>
                      <a:pt x="65" y="8"/>
                      <a:pt x="65" y="8"/>
                      <a:pt x="65" y="8"/>
                    </a:cubicBezTo>
                    <a:cubicBezTo>
                      <a:pt x="66" y="7"/>
                      <a:pt x="66" y="7"/>
                      <a:pt x="66" y="7"/>
                    </a:cubicBezTo>
                    <a:cubicBezTo>
                      <a:pt x="66" y="6"/>
                      <a:pt x="67" y="5"/>
                      <a:pt x="68" y="5"/>
                    </a:cubicBezTo>
                    <a:cubicBezTo>
                      <a:pt x="69" y="5"/>
                      <a:pt x="70" y="4"/>
                      <a:pt x="71" y="4"/>
                    </a:cubicBezTo>
                    <a:cubicBezTo>
                      <a:pt x="71" y="4"/>
                      <a:pt x="71" y="3"/>
                      <a:pt x="71" y="3"/>
                    </a:cubicBezTo>
                    <a:cubicBezTo>
                      <a:pt x="67" y="2"/>
                      <a:pt x="67" y="2"/>
                      <a:pt x="67" y="2"/>
                    </a:cubicBezTo>
                    <a:cubicBezTo>
                      <a:pt x="66" y="2"/>
                      <a:pt x="65" y="1"/>
                      <a:pt x="64" y="1"/>
                    </a:cubicBezTo>
                    <a:cubicBezTo>
                      <a:pt x="63" y="1"/>
                      <a:pt x="63" y="1"/>
                      <a:pt x="63" y="1"/>
                    </a:cubicBezTo>
                    <a:cubicBezTo>
                      <a:pt x="62" y="0"/>
                      <a:pt x="61" y="0"/>
                      <a:pt x="61" y="0"/>
                    </a:cubicBezTo>
                    <a:cubicBezTo>
                      <a:pt x="60" y="0"/>
                      <a:pt x="60" y="0"/>
                      <a:pt x="6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3" name="Freeform 281">
                <a:extLst>
                  <a:ext uri="{FF2B5EF4-FFF2-40B4-BE49-F238E27FC236}">
                    <a16:creationId xmlns:a16="http://schemas.microsoft.com/office/drawing/2014/main" id="{0374FE4F-0047-4DD2-A815-294E1BC95662}"/>
                  </a:ext>
                </a:extLst>
              </p:cNvPr>
              <p:cNvSpPr>
                <a:spLocks/>
              </p:cNvSpPr>
              <p:nvPr/>
            </p:nvSpPr>
            <p:spPr bwMode="auto">
              <a:xfrm>
                <a:off x="5811428" y="4366863"/>
                <a:ext cx="14740" cy="22111"/>
              </a:xfrm>
              <a:custGeom>
                <a:avLst/>
                <a:gdLst>
                  <a:gd name="T0" fmla="*/ 2 w 4"/>
                  <a:gd name="T1" fmla="*/ 0 h 6"/>
                  <a:gd name="T2" fmla="*/ 1 w 4"/>
                  <a:gd name="T3" fmla="*/ 0 h 6"/>
                  <a:gd name="T4" fmla="*/ 0 w 4"/>
                  <a:gd name="T5" fmla="*/ 0 h 6"/>
                  <a:gd name="T6" fmla="*/ 0 w 4"/>
                  <a:gd name="T7" fmla="*/ 0 h 6"/>
                  <a:gd name="T8" fmla="*/ 0 w 4"/>
                  <a:gd name="T9" fmla="*/ 0 h 6"/>
                  <a:gd name="T10" fmla="*/ 0 w 4"/>
                  <a:gd name="T11" fmla="*/ 2 h 6"/>
                  <a:gd name="T12" fmla="*/ 2 w 4"/>
                  <a:gd name="T13" fmla="*/ 6 h 6"/>
                  <a:gd name="T14" fmla="*/ 3 w 4"/>
                  <a:gd name="T15" fmla="*/ 5 h 6"/>
                  <a:gd name="T16" fmla="*/ 4 w 4"/>
                  <a:gd name="T17" fmla="*/ 5 h 6"/>
                  <a:gd name="T18" fmla="*/ 3 w 4"/>
                  <a:gd name="T19" fmla="*/ 4 h 6"/>
                  <a:gd name="T20" fmla="*/ 2 w 4"/>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0"/>
                    </a:moveTo>
                    <a:cubicBezTo>
                      <a:pt x="1" y="0"/>
                      <a:pt x="1" y="0"/>
                      <a:pt x="1" y="0"/>
                    </a:cubicBezTo>
                    <a:cubicBezTo>
                      <a:pt x="0" y="0"/>
                      <a:pt x="0" y="0"/>
                      <a:pt x="0" y="0"/>
                    </a:cubicBezTo>
                    <a:cubicBezTo>
                      <a:pt x="0" y="0"/>
                      <a:pt x="0" y="0"/>
                      <a:pt x="0" y="0"/>
                    </a:cubicBezTo>
                    <a:cubicBezTo>
                      <a:pt x="0" y="0"/>
                      <a:pt x="0" y="0"/>
                      <a:pt x="0" y="0"/>
                    </a:cubicBezTo>
                    <a:cubicBezTo>
                      <a:pt x="0" y="0"/>
                      <a:pt x="0" y="1"/>
                      <a:pt x="0" y="2"/>
                    </a:cubicBezTo>
                    <a:cubicBezTo>
                      <a:pt x="2" y="6"/>
                      <a:pt x="2" y="6"/>
                      <a:pt x="2" y="6"/>
                    </a:cubicBezTo>
                    <a:cubicBezTo>
                      <a:pt x="2" y="5"/>
                      <a:pt x="2" y="5"/>
                      <a:pt x="3" y="5"/>
                    </a:cubicBezTo>
                    <a:cubicBezTo>
                      <a:pt x="4" y="5"/>
                      <a:pt x="4" y="5"/>
                      <a:pt x="4" y="5"/>
                    </a:cubicBezTo>
                    <a:cubicBezTo>
                      <a:pt x="3" y="4"/>
                      <a:pt x="3" y="4"/>
                      <a:pt x="3" y="4"/>
                    </a:cubicBezTo>
                    <a:cubicBezTo>
                      <a:pt x="3"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4" name="Freeform 282">
                <a:extLst>
                  <a:ext uri="{FF2B5EF4-FFF2-40B4-BE49-F238E27FC236}">
                    <a16:creationId xmlns:a16="http://schemas.microsoft.com/office/drawing/2014/main" id="{1BC2E052-84B2-4FDA-84D4-DF6FF56579CE}"/>
                  </a:ext>
                </a:extLst>
              </p:cNvPr>
              <p:cNvSpPr>
                <a:spLocks/>
              </p:cNvSpPr>
              <p:nvPr/>
            </p:nvSpPr>
            <p:spPr bwMode="auto">
              <a:xfrm>
                <a:off x="6062016" y="4554804"/>
                <a:ext cx="3685" cy="14740"/>
              </a:xfrm>
              <a:custGeom>
                <a:avLst/>
                <a:gdLst>
                  <a:gd name="T0" fmla="*/ 1 w 1"/>
                  <a:gd name="T1" fmla="*/ 0 h 4"/>
                  <a:gd name="T2" fmla="*/ 0 w 1"/>
                  <a:gd name="T3" fmla="*/ 3 h 4"/>
                  <a:gd name="T4" fmla="*/ 1 w 1"/>
                  <a:gd name="T5" fmla="*/ 4 h 4"/>
                  <a:gd name="T6" fmla="*/ 1 w 1"/>
                  <a:gd name="T7" fmla="*/ 4 h 4"/>
                  <a:gd name="T8" fmla="*/ 1 w 1"/>
                  <a:gd name="T9" fmla="*/ 0 h 4"/>
                </a:gdLst>
                <a:ahLst/>
                <a:cxnLst>
                  <a:cxn ang="0">
                    <a:pos x="T0" y="T1"/>
                  </a:cxn>
                  <a:cxn ang="0">
                    <a:pos x="T2" y="T3"/>
                  </a:cxn>
                  <a:cxn ang="0">
                    <a:pos x="T4" y="T5"/>
                  </a:cxn>
                  <a:cxn ang="0">
                    <a:pos x="T6" y="T7"/>
                  </a:cxn>
                  <a:cxn ang="0">
                    <a:pos x="T8" y="T9"/>
                  </a:cxn>
                </a:cxnLst>
                <a:rect l="0" t="0" r="r" b="b"/>
                <a:pathLst>
                  <a:path w="1" h="4">
                    <a:moveTo>
                      <a:pt x="1" y="0"/>
                    </a:moveTo>
                    <a:cubicBezTo>
                      <a:pt x="0" y="3"/>
                      <a:pt x="0" y="3"/>
                      <a:pt x="0" y="3"/>
                    </a:cubicBezTo>
                    <a:cubicBezTo>
                      <a:pt x="0" y="4"/>
                      <a:pt x="1" y="4"/>
                      <a:pt x="1" y="4"/>
                    </a:cubicBezTo>
                    <a:cubicBezTo>
                      <a:pt x="1" y="4"/>
                      <a:pt x="1" y="4"/>
                      <a:pt x="1"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5" name="Rectangle 283">
                <a:extLst>
                  <a:ext uri="{FF2B5EF4-FFF2-40B4-BE49-F238E27FC236}">
                    <a16:creationId xmlns:a16="http://schemas.microsoft.com/office/drawing/2014/main" id="{9A6FB8B3-94B4-48C0-8E28-16FEA44B143A}"/>
                  </a:ext>
                </a:extLst>
              </p:cNvPr>
              <p:cNvSpPr>
                <a:spLocks noChangeArrowheads="1"/>
              </p:cNvSpPr>
              <p:nvPr/>
            </p:nvSpPr>
            <p:spPr bwMode="auto">
              <a:xfrm>
                <a:off x="6076756" y="45400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6" name="Rectangle 284">
                <a:extLst>
                  <a:ext uri="{FF2B5EF4-FFF2-40B4-BE49-F238E27FC236}">
                    <a16:creationId xmlns:a16="http://schemas.microsoft.com/office/drawing/2014/main" id="{1F39C0CE-F5EB-4E95-A0C0-4886F5DAE808}"/>
                  </a:ext>
                </a:extLst>
              </p:cNvPr>
              <p:cNvSpPr>
                <a:spLocks noChangeArrowheads="1"/>
              </p:cNvSpPr>
              <p:nvPr/>
            </p:nvSpPr>
            <p:spPr bwMode="auto">
              <a:xfrm>
                <a:off x="6076756" y="45400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7" name="Freeform 285">
                <a:extLst>
                  <a:ext uri="{FF2B5EF4-FFF2-40B4-BE49-F238E27FC236}">
                    <a16:creationId xmlns:a16="http://schemas.microsoft.com/office/drawing/2014/main" id="{2858AA31-CF96-4FA5-BC5C-EC007176D9D3}"/>
                  </a:ext>
                </a:extLst>
              </p:cNvPr>
              <p:cNvSpPr>
                <a:spLocks/>
              </p:cNvSpPr>
              <p:nvPr/>
            </p:nvSpPr>
            <p:spPr bwMode="auto">
              <a:xfrm>
                <a:off x="5575580" y="4407399"/>
                <a:ext cx="501176" cy="379567"/>
              </a:xfrm>
              <a:custGeom>
                <a:avLst/>
                <a:gdLst>
                  <a:gd name="T0" fmla="*/ 83 w 158"/>
                  <a:gd name="T1" fmla="*/ 5 h 120"/>
                  <a:gd name="T2" fmla="*/ 77 w 158"/>
                  <a:gd name="T3" fmla="*/ 5 h 120"/>
                  <a:gd name="T4" fmla="*/ 72 w 158"/>
                  <a:gd name="T5" fmla="*/ 8 h 120"/>
                  <a:gd name="T6" fmla="*/ 65 w 158"/>
                  <a:gd name="T7" fmla="*/ 9 h 120"/>
                  <a:gd name="T8" fmla="*/ 64 w 158"/>
                  <a:gd name="T9" fmla="*/ 10 h 120"/>
                  <a:gd name="T10" fmla="*/ 66 w 158"/>
                  <a:gd name="T11" fmla="*/ 15 h 120"/>
                  <a:gd name="T12" fmla="*/ 56 w 158"/>
                  <a:gd name="T13" fmla="*/ 25 h 120"/>
                  <a:gd name="T14" fmla="*/ 55 w 158"/>
                  <a:gd name="T15" fmla="*/ 32 h 120"/>
                  <a:gd name="T16" fmla="*/ 50 w 158"/>
                  <a:gd name="T17" fmla="*/ 37 h 120"/>
                  <a:gd name="T18" fmla="*/ 47 w 158"/>
                  <a:gd name="T19" fmla="*/ 37 h 120"/>
                  <a:gd name="T20" fmla="*/ 40 w 158"/>
                  <a:gd name="T21" fmla="*/ 36 h 120"/>
                  <a:gd name="T22" fmla="*/ 35 w 158"/>
                  <a:gd name="T23" fmla="*/ 35 h 120"/>
                  <a:gd name="T24" fmla="*/ 14 w 158"/>
                  <a:gd name="T25" fmla="*/ 36 h 120"/>
                  <a:gd name="T26" fmla="*/ 2 w 158"/>
                  <a:gd name="T27" fmla="*/ 37 h 120"/>
                  <a:gd name="T28" fmla="*/ 3 w 158"/>
                  <a:gd name="T29" fmla="*/ 42 h 120"/>
                  <a:gd name="T30" fmla="*/ 8 w 158"/>
                  <a:gd name="T31" fmla="*/ 55 h 120"/>
                  <a:gd name="T32" fmla="*/ 19 w 158"/>
                  <a:gd name="T33" fmla="*/ 50 h 120"/>
                  <a:gd name="T34" fmla="*/ 30 w 158"/>
                  <a:gd name="T35" fmla="*/ 42 h 120"/>
                  <a:gd name="T36" fmla="*/ 46 w 158"/>
                  <a:gd name="T37" fmla="*/ 68 h 120"/>
                  <a:gd name="T38" fmla="*/ 48 w 158"/>
                  <a:gd name="T39" fmla="*/ 76 h 120"/>
                  <a:gd name="T40" fmla="*/ 61 w 158"/>
                  <a:gd name="T41" fmla="*/ 91 h 120"/>
                  <a:gd name="T42" fmla="*/ 75 w 158"/>
                  <a:gd name="T43" fmla="*/ 102 h 120"/>
                  <a:gd name="T44" fmla="*/ 81 w 158"/>
                  <a:gd name="T45" fmla="*/ 101 h 120"/>
                  <a:gd name="T46" fmla="*/ 113 w 158"/>
                  <a:gd name="T47" fmla="*/ 120 h 120"/>
                  <a:gd name="T48" fmla="*/ 105 w 158"/>
                  <a:gd name="T49" fmla="*/ 107 h 120"/>
                  <a:gd name="T50" fmla="*/ 88 w 158"/>
                  <a:gd name="T51" fmla="*/ 92 h 120"/>
                  <a:gd name="T52" fmla="*/ 79 w 158"/>
                  <a:gd name="T53" fmla="*/ 84 h 120"/>
                  <a:gd name="T54" fmla="*/ 72 w 158"/>
                  <a:gd name="T55" fmla="*/ 73 h 120"/>
                  <a:gd name="T56" fmla="*/ 69 w 158"/>
                  <a:gd name="T57" fmla="*/ 65 h 120"/>
                  <a:gd name="T58" fmla="*/ 62 w 158"/>
                  <a:gd name="T59" fmla="*/ 60 h 120"/>
                  <a:gd name="T60" fmla="*/ 61 w 158"/>
                  <a:gd name="T61" fmla="*/ 50 h 120"/>
                  <a:gd name="T62" fmla="*/ 68 w 158"/>
                  <a:gd name="T63" fmla="*/ 39 h 120"/>
                  <a:gd name="T64" fmla="*/ 73 w 158"/>
                  <a:gd name="T65" fmla="*/ 40 h 120"/>
                  <a:gd name="T66" fmla="*/ 86 w 158"/>
                  <a:gd name="T67" fmla="*/ 39 h 120"/>
                  <a:gd name="T68" fmla="*/ 92 w 158"/>
                  <a:gd name="T69" fmla="*/ 39 h 120"/>
                  <a:gd name="T70" fmla="*/ 94 w 158"/>
                  <a:gd name="T71" fmla="*/ 39 h 120"/>
                  <a:gd name="T72" fmla="*/ 99 w 158"/>
                  <a:gd name="T73" fmla="*/ 38 h 120"/>
                  <a:gd name="T74" fmla="*/ 101 w 158"/>
                  <a:gd name="T75" fmla="*/ 39 h 120"/>
                  <a:gd name="T76" fmla="*/ 141 w 158"/>
                  <a:gd name="T77" fmla="*/ 44 h 120"/>
                  <a:gd name="T78" fmla="*/ 150 w 158"/>
                  <a:gd name="T79" fmla="*/ 47 h 120"/>
                  <a:gd name="T80" fmla="*/ 158 w 158"/>
                  <a:gd name="T81" fmla="*/ 41 h 120"/>
                  <a:gd name="T82" fmla="*/ 151 w 158"/>
                  <a:gd name="T83" fmla="*/ 33 h 120"/>
                  <a:gd name="T84" fmla="*/ 140 w 158"/>
                  <a:gd name="T85" fmla="*/ 33 h 120"/>
                  <a:gd name="T86" fmla="*/ 133 w 158"/>
                  <a:gd name="T87" fmla="*/ 27 h 120"/>
                  <a:gd name="T88" fmla="*/ 126 w 158"/>
                  <a:gd name="T89" fmla="*/ 26 h 120"/>
                  <a:gd name="T90" fmla="*/ 112 w 158"/>
                  <a:gd name="T91" fmla="*/ 21 h 120"/>
                  <a:gd name="T92" fmla="*/ 109 w 158"/>
                  <a:gd name="T93" fmla="*/ 19 h 120"/>
                  <a:gd name="T94" fmla="*/ 86 w 158"/>
                  <a:gd name="T95" fmla="*/ 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20">
                    <a:moveTo>
                      <a:pt x="82" y="0"/>
                    </a:moveTo>
                    <a:cubicBezTo>
                      <a:pt x="82" y="0"/>
                      <a:pt x="82" y="0"/>
                      <a:pt x="82" y="0"/>
                    </a:cubicBezTo>
                    <a:cubicBezTo>
                      <a:pt x="83" y="5"/>
                      <a:pt x="83" y="5"/>
                      <a:pt x="83" y="5"/>
                    </a:cubicBezTo>
                    <a:cubicBezTo>
                      <a:pt x="79" y="5"/>
                      <a:pt x="79" y="5"/>
                      <a:pt x="79" y="5"/>
                    </a:cubicBezTo>
                    <a:cubicBezTo>
                      <a:pt x="79" y="5"/>
                      <a:pt x="79" y="5"/>
                      <a:pt x="79" y="5"/>
                    </a:cubicBezTo>
                    <a:cubicBezTo>
                      <a:pt x="78" y="5"/>
                      <a:pt x="78" y="5"/>
                      <a:pt x="77" y="5"/>
                    </a:cubicBezTo>
                    <a:cubicBezTo>
                      <a:pt x="76" y="5"/>
                      <a:pt x="76" y="5"/>
                      <a:pt x="76" y="5"/>
                    </a:cubicBezTo>
                    <a:cubicBezTo>
                      <a:pt x="76" y="5"/>
                      <a:pt x="76" y="5"/>
                      <a:pt x="76" y="5"/>
                    </a:cubicBezTo>
                    <a:cubicBezTo>
                      <a:pt x="74" y="6"/>
                      <a:pt x="73" y="7"/>
                      <a:pt x="72" y="8"/>
                    </a:cubicBezTo>
                    <a:cubicBezTo>
                      <a:pt x="71" y="8"/>
                      <a:pt x="71" y="8"/>
                      <a:pt x="70" y="8"/>
                    </a:cubicBezTo>
                    <a:cubicBezTo>
                      <a:pt x="69" y="9"/>
                      <a:pt x="68" y="9"/>
                      <a:pt x="67" y="9"/>
                    </a:cubicBezTo>
                    <a:cubicBezTo>
                      <a:pt x="65" y="9"/>
                      <a:pt x="65" y="9"/>
                      <a:pt x="65" y="9"/>
                    </a:cubicBezTo>
                    <a:cubicBezTo>
                      <a:pt x="64" y="10"/>
                      <a:pt x="64" y="10"/>
                      <a:pt x="64" y="10"/>
                    </a:cubicBezTo>
                    <a:cubicBezTo>
                      <a:pt x="64" y="10"/>
                      <a:pt x="64" y="10"/>
                      <a:pt x="64" y="10"/>
                    </a:cubicBezTo>
                    <a:cubicBezTo>
                      <a:pt x="64" y="10"/>
                      <a:pt x="64" y="10"/>
                      <a:pt x="64" y="10"/>
                    </a:cubicBezTo>
                    <a:cubicBezTo>
                      <a:pt x="65" y="10"/>
                      <a:pt x="66" y="12"/>
                      <a:pt x="66" y="13"/>
                    </a:cubicBezTo>
                    <a:cubicBezTo>
                      <a:pt x="66" y="14"/>
                      <a:pt x="66" y="14"/>
                      <a:pt x="66" y="14"/>
                    </a:cubicBezTo>
                    <a:cubicBezTo>
                      <a:pt x="66" y="15"/>
                      <a:pt x="66" y="15"/>
                      <a:pt x="66" y="15"/>
                    </a:cubicBezTo>
                    <a:cubicBezTo>
                      <a:pt x="66" y="17"/>
                      <a:pt x="65" y="18"/>
                      <a:pt x="63" y="20"/>
                    </a:cubicBezTo>
                    <a:cubicBezTo>
                      <a:pt x="61" y="23"/>
                      <a:pt x="58" y="24"/>
                      <a:pt x="56" y="25"/>
                    </a:cubicBezTo>
                    <a:cubicBezTo>
                      <a:pt x="56" y="25"/>
                      <a:pt x="56" y="25"/>
                      <a:pt x="56" y="25"/>
                    </a:cubicBezTo>
                    <a:cubicBezTo>
                      <a:pt x="56" y="26"/>
                      <a:pt x="56" y="26"/>
                      <a:pt x="56" y="26"/>
                    </a:cubicBezTo>
                    <a:cubicBezTo>
                      <a:pt x="57" y="28"/>
                      <a:pt x="55" y="30"/>
                      <a:pt x="55" y="31"/>
                    </a:cubicBezTo>
                    <a:cubicBezTo>
                      <a:pt x="55" y="31"/>
                      <a:pt x="55" y="32"/>
                      <a:pt x="55" y="32"/>
                    </a:cubicBezTo>
                    <a:cubicBezTo>
                      <a:pt x="55" y="34"/>
                      <a:pt x="54" y="36"/>
                      <a:pt x="53" y="36"/>
                    </a:cubicBezTo>
                    <a:cubicBezTo>
                      <a:pt x="52" y="37"/>
                      <a:pt x="52" y="37"/>
                      <a:pt x="52" y="37"/>
                    </a:cubicBezTo>
                    <a:cubicBezTo>
                      <a:pt x="50" y="37"/>
                      <a:pt x="50" y="37"/>
                      <a:pt x="50" y="37"/>
                    </a:cubicBezTo>
                    <a:cubicBezTo>
                      <a:pt x="50" y="38"/>
                      <a:pt x="50" y="38"/>
                      <a:pt x="49" y="38"/>
                    </a:cubicBezTo>
                    <a:cubicBezTo>
                      <a:pt x="49" y="38"/>
                      <a:pt x="48" y="38"/>
                      <a:pt x="48" y="37"/>
                    </a:cubicBezTo>
                    <a:cubicBezTo>
                      <a:pt x="47" y="37"/>
                      <a:pt x="47" y="37"/>
                      <a:pt x="47" y="37"/>
                    </a:cubicBezTo>
                    <a:cubicBezTo>
                      <a:pt x="46" y="37"/>
                      <a:pt x="46" y="37"/>
                      <a:pt x="46" y="37"/>
                    </a:cubicBezTo>
                    <a:cubicBezTo>
                      <a:pt x="45" y="37"/>
                      <a:pt x="44" y="37"/>
                      <a:pt x="44" y="36"/>
                    </a:cubicBezTo>
                    <a:cubicBezTo>
                      <a:pt x="43" y="36"/>
                      <a:pt x="42" y="36"/>
                      <a:pt x="40" y="36"/>
                    </a:cubicBezTo>
                    <a:cubicBezTo>
                      <a:pt x="40" y="36"/>
                      <a:pt x="39" y="36"/>
                      <a:pt x="38" y="36"/>
                    </a:cubicBezTo>
                    <a:cubicBezTo>
                      <a:pt x="38" y="36"/>
                      <a:pt x="37" y="36"/>
                      <a:pt x="37" y="36"/>
                    </a:cubicBezTo>
                    <a:cubicBezTo>
                      <a:pt x="36" y="36"/>
                      <a:pt x="35" y="36"/>
                      <a:pt x="35" y="35"/>
                    </a:cubicBezTo>
                    <a:cubicBezTo>
                      <a:pt x="33" y="34"/>
                      <a:pt x="31" y="33"/>
                      <a:pt x="30" y="32"/>
                    </a:cubicBezTo>
                    <a:cubicBezTo>
                      <a:pt x="27" y="35"/>
                      <a:pt x="23" y="37"/>
                      <a:pt x="19" y="37"/>
                    </a:cubicBezTo>
                    <a:cubicBezTo>
                      <a:pt x="17" y="37"/>
                      <a:pt x="16" y="36"/>
                      <a:pt x="14" y="36"/>
                    </a:cubicBezTo>
                    <a:cubicBezTo>
                      <a:pt x="14" y="36"/>
                      <a:pt x="14" y="36"/>
                      <a:pt x="13" y="36"/>
                    </a:cubicBezTo>
                    <a:cubicBezTo>
                      <a:pt x="11" y="36"/>
                      <a:pt x="7" y="36"/>
                      <a:pt x="4" y="37"/>
                    </a:cubicBezTo>
                    <a:cubicBezTo>
                      <a:pt x="2" y="37"/>
                      <a:pt x="2" y="37"/>
                      <a:pt x="2" y="37"/>
                    </a:cubicBezTo>
                    <a:cubicBezTo>
                      <a:pt x="2" y="35"/>
                      <a:pt x="2" y="35"/>
                      <a:pt x="2" y="35"/>
                    </a:cubicBezTo>
                    <a:cubicBezTo>
                      <a:pt x="1" y="35"/>
                      <a:pt x="1" y="35"/>
                      <a:pt x="1" y="35"/>
                    </a:cubicBezTo>
                    <a:cubicBezTo>
                      <a:pt x="0" y="38"/>
                      <a:pt x="2" y="40"/>
                      <a:pt x="3" y="42"/>
                    </a:cubicBezTo>
                    <a:cubicBezTo>
                      <a:pt x="3" y="44"/>
                      <a:pt x="3" y="45"/>
                      <a:pt x="4" y="47"/>
                    </a:cubicBezTo>
                    <a:cubicBezTo>
                      <a:pt x="5" y="50"/>
                      <a:pt x="8" y="52"/>
                      <a:pt x="9" y="55"/>
                    </a:cubicBezTo>
                    <a:cubicBezTo>
                      <a:pt x="8" y="55"/>
                      <a:pt x="8" y="55"/>
                      <a:pt x="8" y="55"/>
                    </a:cubicBezTo>
                    <a:cubicBezTo>
                      <a:pt x="9" y="56"/>
                      <a:pt x="10" y="57"/>
                      <a:pt x="11" y="58"/>
                    </a:cubicBezTo>
                    <a:cubicBezTo>
                      <a:pt x="13" y="55"/>
                      <a:pt x="14" y="49"/>
                      <a:pt x="17" y="49"/>
                    </a:cubicBezTo>
                    <a:cubicBezTo>
                      <a:pt x="17" y="49"/>
                      <a:pt x="18" y="50"/>
                      <a:pt x="19" y="50"/>
                    </a:cubicBezTo>
                    <a:cubicBezTo>
                      <a:pt x="20" y="48"/>
                      <a:pt x="20" y="41"/>
                      <a:pt x="22" y="39"/>
                    </a:cubicBezTo>
                    <a:cubicBezTo>
                      <a:pt x="23" y="39"/>
                      <a:pt x="23" y="39"/>
                      <a:pt x="24" y="39"/>
                    </a:cubicBezTo>
                    <a:cubicBezTo>
                      <a:pt x="26" y="39"/>
                      <a:pt x="28" y="41"/>
                      <a:pt x="30" y="42"/>
                    </a:cubicBezTo>
                    <a:cubicBezTo>
                      <a:pt x="30" y="42"/>
                      <a:pt x="30" y="42"/>
                      <a:pt x="30" y="42"/>
                    </a:cubicBezTo>
                    <a:cubicBezTo>
                      <a:pt x="31" y="42"/>
                      <a:pt x="39" y="48"/>
                      <a:pt x="40" y="50"/>
                    </a:cubicBezTo>
                    <a:cubicBezTo>
                      <a:pt x="41" y="57"/>
                      <a:pt x="41" y="64"/>
                      <a:pt x="46" y="68"/>
                    </a:cubicBezTo>
                    <a:cubicBezTo>
                      <a:pt x="51" y="73"/>
                      <a:pt x="57" y="75"/>
                      <a:pt x="60" y="80"/>
                    </a:cubicBezTo>
                    <a:cubicBezTo>
                      <a:pt x="59" y="80"/>
                      <a:pt x="52" y="75"/>
                      <a:pt x="49" y="75"/>
                    </a:cubicBezTo>
                    <a:cubicBezTo>
                      <a:pt x="48" y="75"/>
                      <a:pt x="48" y="75"/>
                      <a:pt x="48" y="76"/>
                    </a:cubicBezTo>
                    <a:cubicBezTo>
                      <a:pt x="47" y="76"/>
                      <a:pt x="47" y="76"/>
                      <a:pt x="47" y="76"/>
                    </a:cubicBezTo>
                    <a:cubicBezTo>
                      <a:pt x="46" y="76"/>
                      <a:pt x="48" y="79"/>
                      <a:pt x="49" y="80"/>
                    </a:cubicBezTo>
                    <a:cubicBezTo>
                      <a:pt x="52" y="84"/>
                      <a:pt x="56" y="88"/>
                      <a:pt x="61" y="91"/>
                    </a:cubicBezTo>
                    <a:cubicBezTo>
                      <a:pt x="63" y="93"/>
                      <a:pt x="69" y="95"/>
                      <a:pt x="70" y="97"/>
                    </a:cubicBezTo>
                    <a:cubicBezTo>
                      <a:pt x="71" y="101"/>
                      <a:pt x="71" y="102"/>
                      <a:pt x="73" y="102"/>
                    </a:cubicBezTo>
                    <a:cubicBezTo>
                      <a:pt x="73" y="102"/>
                      <a:pt x="74" y="102"/>
                      <a:pt x="75" y="102"/>
                    </a:cubicBezTo>
                    <a:cubicBezTo>
                      <a:pt x="76" y="102"/>
                      <a:pt x="78" y="102"/>
                      <a:pt x="79" y="101"/>
                    </a:cubicBezTo>
                    <a:cubicBezTo>
                      <a:pt x="80" y="101"/>
                      <a:pt x="80" y="101"/>
                      <a:pt x="81" y="101"/>
                    </a:cubicBezTo>
                    <a:cubicBezTo>
                      <a:pt x="81" y="101"/>
                      <a:pt x="81" y="101"/>
                      <a:pt x="81" y="101"/>
                    </a:cubicBezTo>
                    <a:cubicBezTo>
                      <a:pt x="87" y="101"/>
                      <a:pt x="92" y="106"/>
                      <a:pt x="96" y="108"/>
                    </a:cubicBezTo>
                    <a:cubicBezTo>
                      <a:pt x="100" y="111"/>
                      <a:pt x="105" y="114"/>
                      <a:pt x="109" y="117"/>
                    </a:cubicBezTo>
                    <a:cubicBezTo>
                      <a:pt x="110" y="117"/>
                      <a:pt x="112" y="119"/>
                      <a:pt x="113" y="120"/>
                    </a:cubicBezTo>
                    <a:cubicBezTo>
                      <a:pt x="113" y="119"/>
                      <a:pt x="113" y="119"/>
                      <a:pt x="113" y="119"/>
                    </a:cubicBezTo>
                    <a:cubicBezTo>
                      <a:pt x="111" y="118"/>
                      <a:pt x="110" y="117"/>
                      <a:pt x="109" y="116"/>
                    </a:cubicBezTo>
                    <a:cubicBezTo>
                      <a:pt x="105" y="107"/>
                      <a:pt x="105" y="107"/>
                      <a:pt x="105" y="107"/>
                    </a:cubicBezTo>
                    <a:cubicBezTo>
                      <a:pt x="104" y="105"/>
                      <a:pt x="102" y="103"/>
                      <a:pt x="100" y="101"/>
                    </a:cubicBezTo>
                    <a:cubicBezTo>
                      <a:pt x="99" y="101"/>
                      <a:pt x="98" y="100"/>
                      <a:pt x="97" y="99"/>
                    </a:cubicBezTo>
                    <a:cubicBezTo>
                      <a:pt x="94" y="97"/>
                      <a:pt x="91" y="94"/>
                      <a:pt x="88" y="92"/>
                    </a:cubicBezTo>
                    <a:cubicBezTo>
                      <a:pt x="87" y="91"/>
                      <a:pt x="87" y="91"/>
                      <a:pt x="87" y="91"/>
                    </a:cubicBezTo>
                    <a:cubicBezTo>
                      <a:pt x="84" y="89"/>
                      <a:pt x="82" y="87"/>
                      <a:pt x="80" y="85"/>
                    </a:cubicBezTo>
                    <a:cubicBezTo>
                      <a:pt x="79" y="84"/>
                      <a:pt x="79" y="84"/>
                      <a:pt x="79" y="84"/>
                    </a:cubicBezTo>
                    <a:cubicBezTo>
                      <a:pt x="76" y="81"/>
                      <a:pt x="74" y="78"/>
                      <a:pt x="74" y="76"/>
                    </a:cubicBezTo>
                    <a:cubicBezTo>
                      <a:pt x="73" y="75"/>
                      <a:pt x="73" y="75"/>
                      <a:pt x="73" y="75"/>
                    </a:cubicBezTo>
                    <a:cubicBezTo>
                      <a:pt x="73" y="75"/>
                      <a:pt x="73" y="74"/>
                      <a:pt x="72" y="73"/>
                    </a:cubicBezTo>
                    <a:cubicBezTo>
                      <a:pt x="72" y="71"/>
                      <a:pt x="72" y="71"/>
                      <a:pt x="72" y="71"/>
                    </a:cubicBezTo>
                    <a:cubicBezTo>
                      <a:pt x="71" y="69"/>
                      <a:pt x="70" y="67"/>
                      <a:pt x="69" y="66"/>
                    </a:cubicBezTo>
                    <a:cubicBezTo>
                      <a:pt x="69" y="65"/>
                      <a:pt x="69" y="65"/>
                      <a:pt x="69" y="65"/>
                    </a:cubicBezTo>
                    <a:cubicBezTo>
                      <a:pt x="68" y="64"/>
                      <a:pt x="68" y="64"/>
                      <a:pt x="68" y="64"/>
                    </a:cubicBezTo>
                    <a:cubicBezTo>
                      <a:pt x="67" y="64"/>
                      <a:pt x="66" y="63"/>
                      <a:pt x="65" y="62"/>
                    </a:cubicBezTo>
                    <a:cubicBezTo>
                      <a:pt x="64" y="62"/>
                      <a:pt x="63" y="62"/>
                      <a:pt x="62" y="60"/>
                    </a:cubicBezTo>
                    <a:cubicBezTo>
                      <a:pt x="59" y="57"/>
                      <a:pt x="60" y="54"/>
                      <a:pt x="61" y="52"/>
                    </a:cubicBezTo>
                    <a:cubicBezTo>
                      <a:pt x="61" y="52"/>
                      <a:pt x="61" y="51"/>
                      <a:pt x="61" y="50"/>
                    </a:cubicBezTo>
                    <a:cubicBezTo>
                      <a:pt x="61" y="50"/>
                      <a:pt x="61" y="50"/>
                      <a:pt x="61" y="50"/>
                    </a:cubicBezTo>
                    <a:cubicBezTo>
                      <a:pt x="61" y="48"/>
                      <a:pt x="62" y="47"/>
                      <a:pt x="62" y="46"/>
                    </a:cubicBezTo>
                    <a:cubicBezTo>
                      <a:pt x="62" y="42"/>
                      <a:pt x="64" y="41"/>
                      <a:pt x="65" y="40"/>
                    </a:cubicBezTo>
                    <a:cubicBezTo>
                      <a:pt x="66" y="39"/>
                      <a:pt x="67" y="39"/>
                      <a:pt x="68" y="39"/>
                    </a:cubicBezTo>
                    <a:cubicBezTo>
                      <a:pt x="68" y="39"/>
                      <a:pt x="68" y="39"/>
                      <a:pt x="68" y="39"/>
                    </a:cubicBezTo>
                    <a:cubicBezTo>
                      <a:pt x="69" y="39"/>
                      <a:pt x="70" y="39"/>
                      <a:pt x="72" y="39"/>
                    </a:cubicBezTo>
                    <a:cubicBezTo>
                      <a:pt x="72" y="39"/>
                      <a:pt x="72" y="40"/>
                      <a:pt x="73" y="40"/>
                    </a:cubicBezTo>
                    <a:cubicBezTo>
                      <a:pt x="76" y="41"/>
                      <a:pt x="78" y="43"/>
                      <a:pt x="80" y="45"/>
                    </a:cubicBezTo>
                    <a:cubicBezTo>
                      <a:pt x="80" y="44"/>
                      <a:pt x="81" y="44"/>
                      <a:pt x="81" y="43"/>
                    </a:cubicBezTo>
                    <a:cubicBezTo>
                      <a:pt x="82" y="42"/>
                      <a:pt x="84" y="40"/>
                      <a:pt x="86" y="39"/>
                    </a:cubicBezTo>
                    <a:cubicBezTo>
                      <a:pt x="87" y="39"/>
                      <a:pt x="87" y="39"/>
                      <a:pt x="87" y="39"/>
                    </a:cubicBezTo>
                    <a:cubicBezTo>
                      <a:pt x="88" y="39"/>
                      <a:pt x="89" y="38"/>
                      <a:pt x="89" y="38"/>
                    </a:cubicBezTo>
                    <a:cubicBezTo>
                      <a:pt x="90" y="38"/>
                      <a:pt x="91" y="39"/>
                      <a:pt x="92" y="39"/>
                    </a:cubicBezTo>
                    <a:cubicBezTo>
                      <a:pt x="92" y="39"/>
                      <a:pt x="92" y="39"/>
                      <a:pt x="92" y="39"/>
                    </a:cubicBezTo>
                    <a:cubicBezTo>
                      <a:pt x="92" y="39"/>
                      <a:pt x="93" y="39"/>
                      <a:pt x="93" y="39"/>
                    </a:cubicBezTo>
                    <a:cubicBezTo>
                      <a:pt x="93" y="39"/>
                      <a:pt x="94" y="39"/>
                      <a:pt x="94" y="39"/>
                    </a:cubicBezTo>
                    <a:cubicBezTo>
                      <a:pt x="94" y="39"/>
                      <a:pt x="94" y="39"/>
                      <a:pt x="94" y="39"/>
                    </a:cubicBezTo>
                    <a:cubicBezTo>
                      <a:pt x="96" y="36"/>
                      <a:pt x="96" y="36"/>
                      <a:pt x="96" y="36"/>
                    </a:cubicBezTo>
                    <a:cubicBezTo>
                      <a:pt x="99" y="38"/>
                      <a:pt x="99" y="38"/>
                      <a:pt x="99" y="38"/>
                    </a:cubicBezTo>
                    <a:cubicBezTo>
                      <a:pt x="99" y="38"/>
                      <a:pt x="99" y="38"/>
                      <a:pt x="99" y="38"/>
                    </a:cubicBezTo>
                    <a:cubicBezTo>
                      <a:pt x="100" y="38"/>
                      <a:pt x="100" y="38"/>
                      <a:pt x="100" y="38"/>
                    </a:cubicBezTo>
                    <a:cubicBezTo>
                      <a:pt x="101" y="39"/>
                      <a:pt x="101" y="39"/>
                      <a:pt x="101" y="39"/>
                    </a:cubicBezTo>
                    <a:cubicBezTo>
                      <a:pt x="103" y="40"/>
                      <a:pt x="106" y="41"/>
                      <a:pt x="109" y="41"/>
                    </a:cubicBezTo>
                    <a:cubicBezTo>
                      <a:pt x="128" y="43"/>
                      <a:pt x="128" y="43"/>
                      <a:pt x="128" y="43"/>
                    </a:cubicBezTo>
                    <a:cubicBezTo>
                      <a:pt x="133" y="44"/>
                      <a:pt x="137" y="44"/>
                      <a:pt x="141" y="44"/>
                    </a:cubicBezTo>
                    <a:cubicBezTo>
                      <a:pt x="141" y="44"/>
                      <a:pt x="142" y="44"/>
                      <a:pt x="143" y="44"/>
                    </a:cubicBezTo>
                    <a:cubicBezTo>
                      <a:pt x="145" y="44"/>
                      <a:pt x="147" y="45"/>
                      <a:pt x="148" y="46"/>
                    </a:cubicBezTo>
                    <a:cubicBezTo>
                      <a:pt x="149" y="46"/>
                      <a:pt x="149" y="47"/>
                      <a:pt x="150" y="47"/>
                    </a:cubicBezTo>
                    <a:cubicBezTo>
                      <a:pt x="155" y="46"/>
                      <a:pt x="155" y="46"/>
                      <a:pt x="155" y="46"/>
                    </a:cubicBezTo>
                    <a:cubicBezTo>
                      <a:pt x="155" y="44"/>
                      <a:pt x="156" y="43"/>
                      <a:pt x="157" y="41"/>
                    </a:cubicBezTo>
                    <a:cubicBezTo>
                      <a:pt x="158" y="41"/>
                      <a:pt x="158" y="41"/>
                      <a:pt x="158" y="41"/>
                    </a:cubicBezTo>
                    <a:cubicBezTo>
                      <a:pt x="158" y="40"/>
                      <a:pt x="158" y="40"/>
                      <a:pt x="158" y="40"/>
                    </a:cubicBezTo>
                    <a:cubicBezTo>
                      <a:pt x="148" y="34"/>
                      <a:pt x="148" y="34"/>
                      <a:pt x="148" y="34"/>
                    </a:cubicBezTo>
                    <a:cubicBezTo>
                      <a:pt x="151" y="33"/>
                      <a:pt x="151" y="33"/>
                      <a:pt x="151" y="33"/>
                    </a:cubicBezTo>
                    <a:cubicBezTo>
                      <a:pt x="150" y="31"/>
                      <a:pt x="150" y="29"/>
                      <a:pt x="150" y="28"/>
                    </a:cubicBezTo>
                    <a:cubicBezTo>
                      <a:pt x="151" y="24"/>
                      <a:pt x="151" y="24"/>
                      <a:pt x="151" y="24"/>
                    </a:cubicBezTo>
                    <a:cubicBezTo>
                      <a:pt x="140" y="33"/>
                      <a:pt x="140" y="33"/>
                      <a:pt x="140" y="33"/>
                    </a:cubicBezTo>
                    <a:cubicBezTo>
                      <a:pt x="145" y="24"/>
                      <a:pt x="145" y="24"/>
                      <a:pt x="145" y="24"/>
                    </a:cubicBezTo>
                    <a:cubicBezTo>
                      <a:pt x="142" y="26"/>
                      <a:pt x="139" y="27"/>
                      <a:pt x="135" y="27"/>
                    </a:cubicBezTo>
                    <a:cubicBezTo>
                      <a:pt x="135" y="27"/>
                      <a:pt x="134" y="27"/>
                      <a:pt x="133" y="27"/>
                    </a:cubicBezTo>
                    <a:cubicBezTo>
                      <a:pt x="132" y="27"/>
                      <a:pt x="130" y="26"/>
                      <a:pt x="129" y="26"/>
                    </a:cubicBezTo>
                    <a:cubicBezTo>
                      <a:pt x="128" y="26"/>
                      <a:pt x="128" y="26"/>
                      <a:pt x="128" y="26"/>
                    </a:cubicBezTo>
                    <a:cubicBezTo>
                      <a:pt x="127" y="26"/>
                      <a:pt x="127" y="26"/>
                      <a:pt x="126" y="26"/>
                    </a:cubicBezTo>
                    <a:cubicBezTo>
                      <a:pt x="121" y="25"/>
                      <a:pt x="117" y="23"/>
                      <a:pt x="113" y="21"/>
                    </a:cubicBezTo>
                    <a:cubicBezTo>
                      <a:pt x="113" y="20"/>
                      <a:pt x="113" y="20"/>
                      <a:pt x="113" y="20"/>
                    </a:cubicBezTo>
                    <a:cubicBezTo>
                      <a:pt x="112" y="21"/>
                      <a:pt x="112" y="21"/>
                      <a:pt x="112" y="21"/>
                    </a:cubicBezTo>
                    <a:cubicBezTo>
                      <a:pt x="112" y="21"/>
                      <a:pt x="112" y="21"/>
                      <a:pt x="112" y="21"/>
                    </a:cubicBezTo>
                    <a:cubicBezTo>
                      <a:pt x="110" y="20"/>
                      <a:pt x="110" y="20"/>
                      <a:pt x="110" y="20"/>
                    </a:cubicBezTo>
                    <a:cubicBezTo>
                      <a:pt x="110" y="20"/>
                      <a:pt x="109" y="19"/>
                      <a:pt x="109" y="19"/>
                    </a:cubicBezTo>
                    <a:cubicBezTo>
                      <a:pt x="104" y="17"/>
                      <a:pt x="97" y="12"/>
                      <a:pt x="94" y="7"/>
                    </a:cubicBezTo>
                    <a:cubicBezTo>
                      <a:pt x="91" y="3"/>
                      <a:pt x="90" y="3"/>
                      <a:pt x="86" y="1"/>
                    </a:cubicBezTo>
                    <a:cubicBezTo>
                      <a:pt x="86" y="1"/>
                      <a:pt x="86" y="1"/>
                      <a:pt x="86" y="1"/>
                    </a:cubicBezTo>
                    <a:cubicBezTo>
                      <a:pt x="84" y="0"/>
                      <a:pt x="83"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8" name="Freeform 286">
                <a:extLst>
                  <a:ext uri="{FF2B5EF4-FFF2-40B4-BE49-F238E27FC236}">
                    <a16:creationId xmlns:a16="http://schemas.microsoft.com/office/drawing/2014/main" id="{261E93FB-77ED-4896-A77F-BDA50A9223B2}"/>
                  </a:ext>
                </a:extLst>
              </p:cNvPr>
              <p:cNvSpPr>
                <a:spLocks/>
              </p:cNvSpPr>
              <p:nvPr/>
            </p:nvSpPr>
            <p:spPr bwMode="auto">
              <a:xfrm>
                <a:off x="6036220" y="4565859"/>
                <a:ext cx="0" cy="3685"/>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9" name="Freeform 287">
                <a:extLst>
                  <a:ext uri="{FF2B5EF4-FFF2-40B4-BE49-F238E27FC236}">
                    <a16:creationId xmlns:a16="http://schemas.microsoft.com/office/drawing/2014/main" id="{1DF8CA43-C1B7-4829-82BC-CBEBAD10968F}"/>
                  </a:ext>
                </a:extLst>
              </p:cNvPr>
              <p:cNvSpPr>
                <a:spLocks/>
              </p:cNvSpPr>
              <p:nvPr/>
            </p:nvSpPr>
            <p:spPr bwMode="auto">
              <a:xfrm>
                <a:off x="6036220" y="4565859"/>
                <a:ext cx="0" cy="3685"/>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0" name="Freeform 288">
                <a:extLst>
                  <a:ext uri="{FF2B5EF4-FFF2-40B4-BE49-F238E27FC236}">
                    <a16:creationId xmlns:a16="http://schemas.microsoft.com/office/drawing/2014/main" id="{E84721FD-1CD7-4297-A62C-754AFCD63AA3}"/>
                  </a:ext>
                </a:extLst>
              </p:cNvPr>
              <p:cNvSpPr>
                <a:spLocks/>
              </p:cNvSpPr>
              <p:nvPr/>
            </p:nvSpPr>
            <p:spPr bwMode="auto">
              <a:xfrm>
                <a:off x="5785632" y="4551119"/>
                <a:ext cx="320605" cy="287439"/>
              </a:xfrm>
              <a:custGeom>
                <a:avLst/>
                <a:gdLst>
                  <a:gd name="T0" fmla="*/ 29 w 100"/>
                  <a:gd name="T1" fmla="*/ 0 h 91"/>
                  <a:gd name="T2" fmla="*/ 24 w 100"/>
                  <a:gd name="T3" fmla="*/ 1 h 91"/>
                  <a:gd name="T4" fmla="*/ 21 w 100"/>
                  <a:gd name="T5" fmla="*/ 1 h 91"/>
                  <a:gd name="T6" fmla="*/ 18 w 100"/>
                  <a:gd name="T7" fmla="*/ 5 h 91"/>
                  <a:gd name="T8" fmla="*/ 15 w 100"/>
                  <a:gd name="T9" fmla="*/ 10 h 91"/>
                  <a:gd name="T10" fmla="*/ 10 w 100"/>
                  <a:gd name="T11" fmla="*/ 6 h 91"/>
                  <a:gd name="T12" fmla="*/ 4 w 100"/>
                  <a:gd name="T13" fmla="*/ 1 h 91"/>
                  <a:gd name="T14" fmla="*/ 2 w 100"/>
                  <a:gd name="T15" fmla="*/ 1 h 91"/>
                  <a:gd name="T16" fmla="*/ 1 w 100"/>
                  <a:gd name="T17" fmla="*/ 6 h 91"/>
                  <a:gd name="T18" fmla="*/ 0 w 100"/>
                  <a:gd name="T19" fmla="*/ 11 h 91"/>
                  <a:gd name="T20" fmla="*/ 4 w 100"/>
                  <a:gd name="T21" fmla="*/ 12 h 91"/>
                  <a:gd name="T22" fmla="*/ 7 w 100"/>
                  <a:gd name="T23" fmla="*/ 16 h 91"/>
                  <a:gd name="T24" fmla="*/ 11 w 100"/>
                  <a:gd name="T25" fmla="*/ 24 h 91"/>
                  <a:gd name="T26" fmla="*/ 12 w 100"/>
                  <a:gd name="T27" fmla="*/ 27 h 91"/>
                  <a:gd name="T28" fmla="*/ 17 w 100"/>
                  <a:gd name="T29" fmla="*/ 34 h 91"/>
                  <a:gd name="T30" fmla="*/ 24 w 100"/>
                  <a:gd name="T31" fmla="*/ 40 h 91"/>
                  <a:gd name="T32" fmla="*/ 35 w 100"/>
                  <a:gd name="T33" fmla="*/ 49 h 91"/>
                  <a:gd name="T34" fmla="*/ 37 w 100"/>
                  <a:gd name="T35" fmla="*/ 51 h 91"/>
                  <a:gd name="T36" fmla="*/ 48 w 100"/>
                  <a:gd name="T37" fmla="*/ 68 h 91"/>
                  <a:gd name="T38" fmla="*/ 53 w 100"/>
                  <a:gd name="T39" fmla="*/ 71 h 91"/>
                  <a:gd name="T40" fmla="*/ 55 w 100"/>
                  <a:gd name="T41" fmla="*/ 75 h 91"/>
                  <a:gd name="T42" fmla="*/ 53 w 100"/>
                  <a:gd name="T43" fmla="*/ 80 h 91"/>
                  <a:gd name="T44" fmla="*/ 53 w 100"/>
                  <a:gd name="T45" fmla="*/ 80 h 91"/>
                  <a:gd name="T46" fmla="*/ 49 w 100"/>
                  <a:gd name="T47" fmla="*/ 80 h 91"/>
                  <a:gd name="T48" fmla="*/ 71 w 100"/>
                  <a:gd name="T49" fmla="*/ 91 h 91"/>
                  <a:gd name="T50" fmla="*/ 73 w 100"/>
                  <a:gd name="T51" fmla="*/ 86 h 91"/>
                  <a:gd name="T52" fmla="*/ 73 w 100"/>
                  <a:gd name="T53" fmla="*/ 84 h 91"/>
                  <a:gd name="T54" fmla="*/ 72 w 100"/>
                  <a:gd name="T55" fmla="*/ 77 h 91"/>
                  <a:gd name="T56" fmla="*/ 81 w 100"/>
                  <a:gd name="T57" fmla="*/ 62 h 91"/>
                  <a:gd name="T58" fmla="*/ 85 w 100"/>
                  <a:gd name="T59" fmla="*/ 59 h 91"/>
                  <a:gd name="T60" fmla="*/ 85 w 100"/>
                  <a:gd name="T61" fmla="*/ 55 h 91"/>
                  <a:gd name="T62" fmla="*/ 90 w 100"/>
                  <a:gd name="T63" fmla="*/ 52 h 91"/>
                  <a:gd name="T64" fmla="*/ 93 w 100"/>
                  <a:gd name="T65" fmla="*/ 53 h 91"/>
                  <a:gd name="T66" fmla="*/ 94 w 100"/>
                  <a:gd name="T67" fmla="*/ 53 h 91"/>
                  <a:gd name="T68" fmla="*/ 95 w 100"/>
                  <a:gd name="T69" fmla="*/ 53 h 91"/>
                  <a:gd name="T70" fmla="*/ 100 w 100"/>
                  <a:gd name="T71" fmla="*/ 50 h 91"/>
                  <a:gd name="T72" fmla="*/ 97 w 100"/>
                  <a:gd name="T73" fmla="*/ 47 h 91"/>
                  <a:gd name="T74" fmla="*/ 89 w 100"/>
                  <a:gd name="T75" fmla="*/ 34 h 91"/>
                  <a:gd name="T76" fmla="*/ 99 w 100"/>
                  <a:gd name="T77" fmla="*/ 37 h 91"/>
                  <a:gd name="T78" fmla="*/ 97 w 100"/>
                  <a:gd name="T79" fmla="*/ 34 h 91"/>
                  <a:gd name="T80" fmla="*/ 95 w 100"/>
                  <a:gd name="T81" fmla="*/ 34 h 91"/>
                  <a:gd name="T82" fmla="*/ 91 w 100"/>
                  <a:gd name="T83" fmla="*/ 32 h 91"/>
                  <a:gd name="T84" fmla="*/ 91 w 100"/>
                  <a:gd name="T85" fmla="*/ 19 h 91"/>
                  <a:gd name="T86" fmla="*/ 94 w 100"/>
                  <a:gd name="T87" fmla="*/ 13 h 91"/>
                  <a:gd name="T88" fmla="*/ 93 w 100"/>
                  <a:gd name="T89" fmla="*/ 13 h 91"/>
                  <a:gd name="T90" fmla="*/ 92 w 100"/>
                  <a:gd name="T91" fmla="*/ 13 h 91"/>
                  <a:gd name="T92" fmla="*/ 91 w 100"/>
                  <a:gd name="T93" fmla="*/ 13 h 91"/>
                  <a:gd name="T94" fmla="*/ 80 w 100"/>
                  <a:gd name="T95" fmla="*/ 8 h 91"/>
                  <a:gd name="T96" fmla="*/ 77 w 100"/>
                  <a:gd name="T97" fmla="*/ 7 h 91"/>
                  <a:gd name="T98" fmla="*/ 76 w 100"/>
                  <a:gd name="T99" fmla="*/ 6 h 91"/>
                  <a:gd name="T100" fmla="*/ 74 w 100"/>
                  <a:gd name="T101" fmla="*/ 6 h 91"/>
                  <a:gd name="T102" fmla="*/ 41 w 100"/>
                  <a:gd name="T103"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0" h="91">
                    <a:moveTo>
                      <a:pt x="30" y="0"/>
                    </a:moveTo>
                    <a:cubicBezTo>
                      <a:pt x="30" y="0"/>
                      <a:pt x="29" y="0"/>
                      <a:pt x="29" y="0"/>
                    </a:cubicBezTo>
                    <a:cubicBezTo>
                      <a:pt x="28" y="1"/>
                      <a:pt x="27" y="1"/>
                      <a:pt x="26" y="1"/>
                    </a:cubicBezTo>
                    <a:cubicBezTo>
                      <a:pt x="25" y="1"/>
                      <a:pt x="25" y="1"/>
                      <a:pt x="24" y="1"/>
                    </a:cubicBezTo>
                    <a:cubicBezTo>
                      <a:pt x="23" y="1"/>
                      <a:pt x="23" y="0"/>
                      <a:pt x="22" y="0"/>
                    </a:cubicBezTo>
                    <a:cubicBezTo>
                      <a:pt x="22" y="0"/>
                      <a:pt x="22" y="0"/>
                      <a:pt x="21" y="1"/>
                    </a:cubicBezTo>
                    <a:cubicBezTo>
                      <a:pt x="21" y="1"/>
                      <a:pt x="20" y="1"/>
                      <a:pt x="20" y="2"/>
                    </a:cubicBezTo>
                    <a:cubicBezTo>
                      <a:pt x="19" y="3"/>
                      <a:pt x="19" y="4"/>
                      <a:pt x="18" y="5"/>
                    </a:cubicBezTo>
                    <a:cubicBezTo>
                      <a:pt x="18" y="6"/>
                      <a:pt x="17" y="6"/>
                      <a:pt x="17" y="7"/>
                    </a:cubicBezTo>
                    <a:cubicBezTo>
                      <a:pt x="15" y="10"/>
                      <a:pt x="15" y="10"/>
                      <a:pt x="15" y="10"/>
                    </a:cubicBezTo>
                    <a:cubicBezTo>
                      <a:pt x="12" y="8"/>
                      <a:pt x="12" y="8"/>
                      <a:pt x="12" y="8"/>
                    </a:cubicBezTo>
                    <a:cubicBezTo>
                      <a:pt x="11" y="7"/>
                      <a:pt x="10" y="7"/>
                      <a:pt x="10" y="6"/>
                    </a:cubicBezTo>
                    <a:cubicBezTo>
                      <a:pt x="9" y="6"/>
                      <a:pt x="9" y="6"/>
                      <a:pt x="9" y="6"/>
                    </a:cubicBezTo>
                    <a:cubicBezTo>
                      <a:pt x="7" y="4"/>
                      <a:pt x="6" y="2"/>
                      <a:pt x="4" y="1"/>
                    </a:cubicBezTo>
                    <a:cubicBezTo>
                      <a:pt x="4" y="1"/>
                      <a:pt x="3" y="1"/>
                      <a:pt x="3" y="1"/>
                    </a:cubicBezTo>
                    <a:cubicBezTo>
                      <a:pt x="2" y="1"/>
                      <a:pt x="2" y="1"/>
                      <a:pt x="2" y="1"/>
                    </a:cubicBezTo>
                    <a:cubicBezTo>
                      <a:pt x="2" y="1"/>
                      <a:pt x="2" y="1"/>
                      <a:pt x="2" y="1"/>
                    </a:cubicBezTo>
                    <a:cubicBezTo>
                      <a:pt x="2" y="3"/>
                      <a:pt x="1" y="4"/>
                      <a:pt x="1" y="6"/>
                    </a:cubicBezTo>
                    <a:cubicBezTo>
                      <a:pt x="1" y="7"/>
                      <a:pt x="1" y="8"/>
                      <a:pt x="1" y="9"/>
                    </a:cubicBezTo>
                    <a:cubicBezTo>
                      <a:pt x="0" y="10"/>
                      <a:pt x="0" y="11"/>
                      <a:pt x="0" y="11"/>
                    </a:cubicBezTo>
                    <a:cubicBezTo>
                      <a:pt x="0" y="11"/>
                      <a:pt x="1" y="11"/>
                      <a:pt x="1" y="11"/>
                    </a:cubicBezTo>
                    <a:cubicBezTo>
                      <a:pt x="2" y="12"/>
                      <a:pt x="3" y="12"/>
                      <a:pt x="4" y="12"/>
                    </a:cubicBezTo>
                    <a:cubicBezTo>
                      <a:pt x="5" y="13"/>
                      <a:pt x="6" y="14"/>
                      <a:pt x="6" y="14"/>
                    </a:cubicBezTo>
                    <a:cubicBezTo>
                      <a:pt x="7" y="15"/>
                      <a:pt x="7" y="15"/>
                      <a:pt x="7" y="16"/>
                    </a:cubicBezTo>
                    <a:cubicBezTo>
                      <a:pt x="8" y="16"/>
                      <a:pt x="8" y="17"/>
                      <a:pt x="9" y="17"/>
                    </a:cubicBezTo>
                    <a:cubicBezTo>
                      <a:pt x="10" y="19"/>
                      <a:pt x="10" y="21"/>
                      <a:pt x="11" y="24"/>
                    </a:cubicBezTo>
                    <a:cubicBezTo>
                      <a:pt x="11" y="25"/>
                      <a:pt x="12" y="25"/>
                      <a:pt x="12" y="26"/>
                    </a:cubicBezTo>
                    <a:cubicBezTo>
                      <a:pt x="12" y="26"/>
                      <a:pt x="12" y="27"/>
                      <a:pt x="12" y="27"/>
                    </a:cubicBezTo>
                    <a:cubicBezTo>
                      <a:pt x="13" y="28"/>
                      <a:pt x="13" y="28"/>
                      <a:pt x="13" y="28"/>
                    </a:cubicBezTo>
                    <a:cubicBezTo>
                      <a:pt x="14" y="30"/>
                      <a:pt x="15" y="32"/>
                      <a:pt x="17" y="34"/>
                    </a:cubicBezTo>
                    <a:cubicBezTo>
                      <a:pt x="18" y="35"/>
                      <a:pt x="18" y="35"/>
                      <a:pt x="18" y="35"/>
                    </a:cubicBezTo>
                    <a:cubicBezTo>
                      <a:pt x="19" y="37"/>
                      <a:pt x="21" y="38"/>
                      <a:pt x="24" y="40"/>
                    </a:cubicBezTo>
                    <a:cubicBezTo>
                      <a:pt x="25" y="41"/>
                      <a:pt x="25" y="41"/>
                      <a:pt x="25" y="41"/>
                    </a:cubicBezTo>
                    <a:cubicBezTo>
                      <a:pt x="28" y="44"/>
                      <a:pt x="31" y="46"/>
                      <a:pt x="35" y="49"/>
                    </a:cubicBezTo>
                    <a:cubicBezTo>
                      <a:pt x="35" y="50"/>
                      <a:pt x="36" y="50"/>
                      <a:pt x="36" y="51"/>
                    </a:cubicBezTo>
                    <a:cubicBezTo>
                      <a:pt x="37" y="51"/>
                      <a:pt x="37" y="51"/>
                      <a:pt x="37" y="51"/>
                    </a:cubicBezTo>
                    <a:cubicBezTo>
                      <a:pt x="40" y="53"/>
                      <a:pt x="43" y="55"/>
                      <a:pt x="44" y="59"/>
                    </a:cubicBezTo>
                    <a:cubicBezTo>
                      <a:pt x="48" y="68"/>
                      <a:pt x="48" y="68"/>
                      <a:pt x="48" y="68"/>
                    </a:cubicBezTo>
                    <a:cubicBezTo>
                      <a:pt x="50" y="68"/>
                      <a:pt x="50" y="68"/>
                      <a:pt x="50" y="68"/>
                    </a:cubicBezTo>
                    <a:cubicBezTo>
                      <a:pt x="51" y="69"/>
                      <a:pt x="52" y="69"/>
                      <a:pt x="53" y="71"/>
                    </a:cubicBezTo>
                    <a:cubicBezTo>
                      <a:pt x="54" y="72"/>
                      <a:pt x="54" y="72"/>
                      <a:pt x="55" y="73"/>
                    </a:cubicBezTo>
                    <a:cubicBezTo>
                      <a:pt x="55" y="74"/>
                      <a:pt x="55" y="75"/>
                      <a:pt x="55" y="75"/>
                    </a:cubicBezTo>
                    <a:cubicBezTo>
                      <a:pt x="55" y="77"/>
                      <a:pt x="54" y="78"/>
                      <a:pt x="52" y="79"/>
                    </a:cubicBezTo>
                    <a:cubicBezTo>
                      <a:pt x="53" y="80"/>
                      <a:pt x="53" y="80"/>
                      <a:pt x="53" y="80"/>
                    </a:cubicBezTo>
                    <a:cubicBezTo>
                      <a:pt x="53" y="80"/>
                      <a:pt x="53" y="80"/>
                      <a:pt x="53" y="80"/>
                    </a:cubicBezTo>
                    <a:cubicBezTo>
                      <a:pt x="53" y="80"/>
                      <a:pt x="53" y="80"/>
                      <a:pt x="53" y="80"/>
                    </a:cubicBezTo>
                    <a:cubicBezTo>
                      <a:pt x="52" y="80"/>
                      <a:pt x="52" y="79"/>
                      <a:pt x="51" y="79"/>
                    </a:cubicBezTo>
                    <a:cubicBezTo>
                      <a:pt x="51" y="80"/>
                      <a:pt x="50" y="80"/>
                      <a:pt x="49" y="80"/>
                    </a:cubicBezTo>
                    <a:cubicBezTo>
                      <a:pt x="48" y="80"/>
                      <a:pt x="48" y="80"/>
                      <a:pt x="48" y="80"/>
                    </a:cubicBezTo>
                    <a:cubicBezTo>
                      <a:pt x="56" y="84"/>
                      <a:pt x="63" y="88"/>
                      <a:pt x="71" y="91"/>
                    </a:cubicBezTo>
                    <a:cubicBezTo>
                      <a:pt x="70" y="88"/>
                      <a:pt x="70" y="88"/>
                      <a:pt x="70" y="88"/>
                    </a:cubicBezTo>
                    <a:cubicBezTo>
                      <a:pt x="73" y="86"/>
                      <a:pt x="73" y="86"/>
                      <a:pt x="73" y="86"/>
                    </a:cubicBezTo>
                    <a:cubicBezTo>
                      <a:pt x="73" y="86"/>
                      <a:pt x="73" y="86"/>
                      <a:pt x="73" y="86"/>
                    </a:cubicBezTo>
                    <a:cubicBezTo>
                      <a:pt x="73" y="85"/>
                      <a:pt x="73" y="85"/>
                      <a:pt x="73" y="84"/>
                    </a:cubicBezTo>
                    <a:cubicBezTo>
                      <a:pt x="73" y="83"/>
                      <a:pt x="73" y="82"/>
                      <a:pt x="72" y="81"/>
                    </a:cubicBezTo>
                    <a:cubicBezTo>
                      <a:pt x="72" y="80"/>
                      <a:pt x="72" y="79"/>
                      <a:pt x="72" y="77"/>
                    </a:cubicBezTo>
                    <a:cubicBezTo>
                      <a:pt x="71" y="73"/>
                      <a:pt x="73" y="69"/>
                      <a:pt x="77" y="65"/>
                    </a:cubicBezTo>
                    <a:cubicBezTo>
                      <a:pt x="78" y="64"/>
                      <a:pt x="80" y="62"/>
                      <a:pt x="81" y="62"/>
                    </a:cubicBezTo>
                    <a:cubicBezTo>
                      <a:pt x="81" y="61"/>
                      <a:pt x="81" y="61"/>
                      <a:pt x="81" y="61"/>
                    </a:cubicBezTo>
                    <a:cubicBezTo>
                      <a:pt x="82" y="61"/>
                      <a:pt x="83" y="60"/>
                      <a:pt x="85" y="59"/>
                    </a:cubicBezTo>
                    <a:cubicBezTo>
                      <a:pt x="83" y="57"/>
                      <a:pt x="83" y="57"/>
                      <a:pt x="83" y="57"/>
                    </a:cubicBezTo>
                    <a:cubicBezTo>
                      <a:pt x="85" y="55"/>
                      <a:pt x="85" y="55"/>
                      <a:pt x="85" y="55"/>
                    </a:cubicBezTo>
                    <a:cubicBezTo>
                      <a:pt x="86" y="53"/>
                      <a:pt x="87" y="53"/>
                      <a:pt x="88" y="53"/>
                    </a:cubicBezTo>
                    <a:cubicBezTo>
                      <a:pt x="89" y="53"/>
                      <a:pt x="89" y="52"/>
                      <a:pt x="90" y="52"/>
                    </a:cubicBezTo>
                    <a:cubicBezTo>
                      <a:pt x="91" y="52"/>
                      <a:pt x="91" y="53"/>
                      <a:pt x="92" y="53"/>
                    </a:cubicBezTo>
                    <a:cubicBezTo>
                      <a:pt x="92" y="53"/>
                      <a:pt x="93" y="53"/>
                      <a:pt x="93" y="53"/>
                    </a:cubicBezTo>
                    <a:cubicBezTo>
                      <a:pt x="93" y="53"/>
                      <a:pt x="93" y="53"/>
                      <a:pt x="93" y="53"/>
                    </a:cubicBezTo>
                    <a:cubicBezTo>
                      <a:pt x="94" y="53"/>
                      <a:pt x="94" y="53"/>
                      <a:pt x="94" y="53"/>
                    </a:cubicBezTo>
                    <a:cubicBezTo>
                      <a:pt x="94" y="53"/>
                      <a:pt x="94" y="53"/>
                      <a:pt x="94" y="53"/>
                    </a:cubicBezTo>
                    <a:cubicBezTo>
                      <a:pt x="95" y="53"/>
                      <a:pt x="95" y="53"/>
                      <a:pt x="95" y="53"/>
                    </a:cubicBezTo>
                    <a:cubicBezTo>
                      <a:pt x="97" y="52"/>
                      <a:pt x="99" y="51"/>
                      <a:pt x="100" y="50"/>
                    </a:cubicBezTo>
                    <a:cubicBezTo>
                      <a:pt x="100" y="50"/>
                      <a:pt x="100" y="50"/>
                      <a:pt x="100" y="50"/>
                    </a:cubicBezTo>
                    <a:cubicBezTo>
                      <a:pt x="100" y="50"/>
                      <a:pt x="100" y="50"/>
                      <a:pt x="100" y="50"/>
                    </a:cubicBezTo>
                    <a:cubicBezTo>
                      <a:pt x="99" y="49"/>
                      <a:pt x="98" y="48"/>
                      <a:pt x="97" y="47"/>
                    </a:cubicBezTo>
                    <a:cubicBezTo>
                      <a:pt x="96" y="45"/>
                      <a:pt x="94" y="43"/>
                      <a:pt x="93" y="41"/>
                    </a:cubicBezTo>
                    <a:cubicBezTo>
                      <a:pt x="89" y="34"/>
                      <a:pt x="89" y="34"/>
                      <a:pt x="89" y="34"/>
                    </a:cubicBezTo>
                    <a:cubicBezTo>
                      <a:pt x="97" y="36"/>
                      <a:pt x="97" y="36"/>
                      <a:pt x="97" y="36"/>
                    </a:cubicBezTo>
                    <a:cubicBezTo>
                      <a:pt x="98" y="37"/>
                      <a:pt x="98" y="37"/>
                      <a:pt x="99" y="37"/>
                    </a:cubicBezTo>
                    <a:cubicBezTo>
                      <a:pt x="99" y="37"/>
                      <a:pt x="98" y="36"/>
                      <a:pt x="98" y="36"/>
                    </a:cubicBezTo>
                    <a:cubicBezTo>
                      <a:pt x="98" y="35"/>
                      <a:pt x="97" y="35"/>
                      <a:pt x="97" y="34"/>
                    </a:cubicBezTo>
                    <a:cubicBezTo>
                      <a:pt x="96" y="34"/>
                      <a:pt x="96" y="34"/>
                      <a:pt x="96" y="34"/>
                    </a:cubicBezTo>
                    <a:cubicBezTo>
                      <a:pt x="95" y="34"/>
                      <a:pt x="95" y="34"/>
                      <a:pt x="95" y="34"/>
                    </a:cubicBezTo>
                    <a:cubicBezTo>
                      <a:pt x="94" y="34"/>
                      <a:pt x="94" y="34"/>
                      <a:pt x="94" y="34"/>
                    </a:cubicBezTo>
                    <a:cubicBezTo>
                      <a:pt x="93" y="33"/>
                      <a:pt x="92" y="32"/>
                      <a:pt x="91" y="32"/>
                    </a:cubicBezTo>
                    <a:cubicBezTo>
                      <a:pt x="89" y="29"/>
                      <a:pt x="89" y="25"/>
                      <a:pt x="89" y="22"/>
                    </a:cubicBezTo>
                    <a:cubicBezTo>
                      <a:pt x="89" y="21"/>
                      <a:pt x="90" y="20"/>
                      <a:pt x="91" y="19"/>
                    </a:cubicBezTo>
                    <a:cubicBezTo>
                      <a:pt x="92" y="18"/>
                      <a:pt x="92" y="18"/>
                      <a:pt x="92" y="18"/>
                    </a:cubicBezTo>
                    <a:cubicBezTo>
                      <a:pt x="92" y="17"/>
                      <a:pt x="93" y="15"/>
                      <a:pt x="94" y="13"/>
                    </a:cubicBezTo>
                    <a:cubicBezTo>
                      <a:pt x="94" y="13"/>
                      <a:pt x="94" y="13"/>
                      <a:pt x="94" y="13"/>
                    </a:cubicBezTo>
                    <a:cubicBezTo>
                      <a:pt x="94" y="13"/>
                      <a:pt x="93" y="13"/>
                      <a:pt x="93" y="13"/>
                    </a:cubicBezTo>
                    <a:cubicBezTo>
                      <a:pt x="92" y="13"/>
                      <a:pt x="92" y="13"/>
                      <a:pt x="92" y="13"/>
                    </a:cubicBezTo>
                    <a:cubicBezTo>
                      <a:pt x="92" y="13"/>
                      <a:pt x="92" y="13"/>
                      <a:pt x="92" y="13"/>
                    </a:cubicBezTo>
                    <a:cubicBezTo>
                      <a:pt x="91" y="13"/>
                      <a:pt x="91" y="13"/>
                      <a:pt x="91" y="13"/>
                    </a:cubicBezTo>
                    <a:cubicBezTo>
                      <a:pt x="91" y="13"/>
                      <a:pt x="91" y="13"/>
                      <a:pt x="91" y="13"/>
                    </a:cubicBezTo>
                    <a:cubicBezTo>
                      <a:pt x="89" y="13"/>
                      <a:pt x="88" y="13"/>
                      <a:pt x="87" y="13"/>
                    </a:cubicBezTo>
                    <a:cubicBezTo>
                      <a:pt x="84" y="12"/>
                      <a:pt x="81" y="11"/>
                      <a:pt x="80" y="8"/>
                    </a:cubicBezTo>
                    <a:cubicBezTo>
                      <a:pt x="79" y="8"/>
                      <a:pt x="79" y="8"/>
                      <a:pt x="79" y="8"/>
                    </a:cubicBezTo>
                    <a:cubicBezTo>
                      <a:pt x="79" y="7"/>
                      <a:pt x="78" y="7"/>
                      <a:pt x="77" y="7"/>
                    </a:cubicBezTo>
                    <a:cubicBezTo>
                      <a:pt x="77" y="6"/>
                      <a:pt x="77" y="6"/>
                      <a:pt x="77" y="6"/>
                    </a:cubicBezTo>
                    <a:cubicBezTo>
                      <a:pt x="76" y="6"/>
                      <a:pt x="76" y="6"/>
                      <a:pt x="76" y="6"/>
                    </a:cubicBezTo>
                    <a:cubicBezTo>
                      <a:pt x="75" y="6"/>
                      <a:pt x="75" y="6"/>
                      <a:pt x="75" y="6"/>
                    </a:cubicBezTo>
                    <a:cubicBezTo>
                      <a:pt x="74" y="6"/>
                      <a:pt x="74" y="6"/>
                      <a:pt x="74" y="6"/>
                    </a:cubicBezTo>
                    <a:cubicBezTo>
                      <a:pt x="70" y="6"/>
                      <a:pt x="65" y="6"/>
                      <a:pt x="61" y="5"/>
                    </a:cubicBezTo>
                    <a:cubicBezTo>
                      <a:pt x="41" y="3"/>
                      <a:pt x="41" y="3"/>
                      <a:pt x="41" y="3"/>
                    </a:cubicBezTo>
                    <a:cubicBezTo>
                      <a:pt x="37" y="2"/>
                      <a:pt x="33"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1" name="Freeform 289">
                <a:extLst>
                  <a:ext uri="{FF2B5EF4-FFF2-40B4-BE49-F238E27FC236}">
                    <a16:creationId xmlns:a16="http://schemas.microsoft.com/office/drawing/2014/main" id="{CB254310-AECF-4E2C-B1FE-8C50E0C4ED14}"/>
                  </a:ext>
                </a:extLst>
              </p:cNvPr>
              <p:cNvSpPr>
                <a:spLocks/>
              </p:cNvSpPr>
              <p:nvPr/>
            </p:nvSpPr>
            <p:spPr bwMode="auto">
              <a:xfrm>
                <a:off x="5914611" y="4790651"/>
                <a:ext cx="25796" cy="11055"/>
              </a:xfrm>
              <a:custGeom>
                <a:avLst/>
                <a:gdLst>
                  <a:gd name="T0" fmla="*/ 0 w 8"/>
                  <a:gd name="T1" fmla="*/ 0 h 4"/>
                  <a:gd name="T2" fmla="*/ 8 w 8"/>
                  <a:gd name="T3" fmla="*/ 4 h 4"/>
                  <a:gd name="T4" fmla="*/ 7 w 8"/>
                  <a:gd name="T5" fmla="*/ 2 h 4"/>
                  <a:gd name="T6" fmla="*/ 0 w 8"/>
                  <a:gd name="T7" fmla="*/ 0 h 4"/>
                </a:gdLst>
                <a:ahLst/>
                <a:cxnLst>
                  <a:cxn ang="0">
                    <a:pos x="T0" y="T1"/>
                  </a:cxn>
                  <a:cxn ang="0">
                    <a:pos x="T2" y="T3"/>
                  </a:cxn>
                  <a:cxn ang="0">
                    <a:pos x="T4" y="T5"/>
                  </a:cxn>
                  <a:cxn ang="0">
                    <a:pos x="T6" y="T7"/>
                  </a:cxn>
                </a:cxnLst>
                <a:rect l="0" t="0" r="r" b="b"/>
                <a:pathLst>
                  <a:path w="8" h="4">
                    <a:moveTo>
                      <a:pt x="0" y="0"/>
                    </a:moveTo>
                    <a:cubicBezTo>
                      <a:pt x="2" y="2"/>
                      <a:pt x="5" y="3"/>
                      <a:pt x="8" y="4"/>
                    </a:cubicBezTo>
                    <a:cubicBezTo>
                      <a:pt x="7" y="2"/>
                      <a:pt x="7" y="2"/>
                      <a:pt x="7" y="2"/>
                    </a:cubicBezTo>
                    <a:cubicBezTo>
                      <a:pt x="5"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2" name="Rectangle 290">
                <a:extLst>
                  <a:ext uri="{FF2B5EF4-FFF2-40B4-BE49-F238E27FC236}">
                    <a16:creationId xmlns:a16="http://schemas.microsoft.com/office/drawing/2014/main" id="{4B1D08D8-AD7A-4964-80F6-AF772B21AAB3}"/>
                  </a:ext>
                </a:extLst>
              </p:cNvPr>
              <p:cNvSpPr>
                <a:spLocks noChangeArrowheads="1"/>
              </p:cNvSpPr>
              <p:nvPr/>
            </p:nvSpPr>
            <p:spPr bwMode="auto">
              <a:xfrm>
                <a:off x="6025164" y="484592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3" name="Freeform 291">
                <a:extLst>
                  <a:ext uri="{FF2B5EF4-FFF2-40B4-BE49-F238E27FC236}">
                    <a16:creationId xmlns:a16="http://schemas.microsoft.com/office/drawing/2014/main" id="{69F95468-2411-4A7D-9D5B-D29C4E7B64AD}"/>
                  </a:ext>
                </a:extLst>
              </p:cNvPr>
              <p:cNvSpPr>
                <a:spLocks/>
              </p:cNvSpPr>
              <p:nvPr/>
            </p:nvSpPr>
            <p:spPr bwMode="auto">
              <a:xfrm>
                <a:off x="6025164" y="4845928"/>
                <a:ext cx="0" cy="368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4" name="Rectangle 292">
                <a:extLst>
                  <a:ext uri="{FF2B5EF4-FFF2-40B4-BE49-F238E27FC236}">
                    <a16:creationId xmlns:a16="http://schemas.microsoft.com/office/drawing/2014/main" id="{51E9922A-FC5C-4230-979C-43232BC712AE}"/>
                  </a:ext>
                </a:extLst>
              </p:cNvPr>
              <p:cNvSpPr>
                <a:spLocks noChangeArrowheads="1"/>
              </p:cNvSpPr>
              <p:nvPr/>
            </p:nvSpPr>
            <p:spPr bwMode="auto">
              <a:xfrm>
                <a:off x="6165199" y="480539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5" name="Freeform 293">
                <a:extLst>
                  <a:ext uri="{FF2B5EF4-FFF2-40B4-BE49-F238E27FC236}">
                    <a16:creationId xmlns:a16="http://schemas.microsoft.com/office/drawing/2014/main" id="{4188E2D2-825A-4E0F-8B9F-F59C437BA95D}"/>
                  </a:ext>
                </a:extLst>
              </p:cNvPr>
              <p:cNvSpPr>
                <a:spLocks/>
              </p:cNvSpPr>
              <p:nvPr/>
            </p:nvSpPr>
            <p:spPr bwMode="auto">
              <a:xfrm>
                <a:off x="6165199" y="480539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6" name="Freeform 294">
                <a:extLst>
                  <a:ext uri="{FF2B5EF4-FFF2-40B4-BE49-F238E27FC236}">
                    <a16:creationId xmlns:a16="http://schemas.microsoft.com/office/drawing/2014/main" id="{EBE1B4A2-18B1-4A76-96F1-7E48549B0CD9}"/>
                  </a:ext>
                </a:extLst>
              </p:cNvPr>
              <p:cNvSpPr>
                <a:spLocks/>
              </p:cNvSpPr>
              <p:nvPr/>
            </p:nvSpPr>
            <p:spPr bwMode="auto">
              <a:xfrm>
                <a:off x="6028849" y="4739059"/>
                <a:ext cx="140034" cy="162145"/>
              </a:xfrm>
              <a:custGeom>
                <a:avLst/>
                <a:gdLst>
                  <a:gd name="T0" fmla="*/ 18 w 44"/>
                  <a:gd name="T1" fmla="*/ 0 h 51"/>
                  <a:gd name="T2" fmla="*/ 17 w 44"/>
                  <a:gd name="T3" fmla="*/ 0 h 51"/>
                  <a:gd name="T4" fmla="*/ 18 w 44"/>
                  <a:gd name="T5" fmla="*/ 1 h 51"/>
                  <a:gd name="T6" fmla="*/ 21 w 44"/>
                  <a:gd name="T7" fmla="*/ 5 h 51"/>
                  <a:gd name="T8" fmla="*/ 17 w 44"/>
                  <a:gd name="T9" fmla="*/ 7 h 51"/>
                  <a:gd name="T10" fmla="*/ 14 w 44"/>
                  <a:gd name="T11" fmla="*/ 7 h 51"/>
                  <a:gd name="T12" fmla="*/ 12 w 44"/>
                  <a:gd name="T13" fmla="*/ 7 h 51"/>
                  <a:gd name="T14" fmla="*/ 11 w 44"/>
                  <a:gd name="T15" fmla="*/ 6 h 51"/>
                  <a:gd name="T16" fmla="*/ 10 w 44"/>
                  <a:gd name="T17" fmla="*/ 6 h 51"/>
                  <a:gd name="T18" fmla="*/ 10 w 44"/>
                  <a:gd name="T19" fmla="*/ 7 h 51"/>
                  <a:gd name="T20" fmla="*/ 9 w 44"/>
                  <a:gd name="T21" fmla="*/ 7 h 51"/>
                  <a:gd name="T22" fmla="*/ 6 w 44"/>
                  <a:gd name="T23" fmla="*/ 10 h 51"/>
                  <a:gd name="T24" fmla="*/ 2 w 44"/>
                  <a:gd name="T25" fmla="*/ 17 h 51"/>
                  <a:gd name="T26" fmla="*/ 3 w 44"/>
                  <a:gd name="T27" fmla="*/ 19 h 51"/>
                  <a:gd name="T28" fmla="*/ 4 w 44"/>
                  <a:gd name="T29" fmla="*/ 22 h 51"/>
                  <a:gd name="T30" fmla="*/ 4 w 44"/>
                  <a:gd name="T31" fmla="*/ 28 h 51"/>
                  <a:gd name="T32" fmla="*/ 0 w 44"/>
                  <a:gd name="T33" fmla="*/ 32 h 51"/>
                  <a:gd name="T34" fmla="*/ 0 w 44"/>
                  <a:gd name="T35" fmla="*/ 33 h 51"/>
                  <a:gd name="T36" fmla="*/ 1 w 44"/>
                  <a:gd name="T37" fmla="*/ 33 h 51"/>
                  <a:gd name="T38" fmla="*/ 4 w 44"/>
                  <a:gd name="T39" fmla="*/ 32 h 51"/>
                  <a:gd name="T40" fmla="*/ 4 w 44"/>
                  <a:gd name="T41" fmla="*/ 32 h 51"/>
                  <a:gd name="T42" fmla="*/ 4 w 44"/>
                  <a:gd name="T43" fmla="*/ 32 h 51"/>
                  <a:gd name="T44" fmla="*/ 5 w 44"/>
                  <a:gd name="T45" fmla="*/ 32 h 51"/>
                  <a:gd name="T46" fmla="*/ 6 w 44"/>
                  <a:gd name="T47" fmla="*/ 32 h 51"/>
                  <a:gd name="T48" fmla="*/ 4 w 44"/>
                  <a:gd name="T49" fmla="*/ 35 h 51"/>
                  <a:gd name="T50" fmla="*/ 3 w 44"/>
                  <a:gd name="T51" fmla="*/ 35 h 51"/>
                  <a:gd name="T52" fmla="*/ 1 w 44"/>
                  <a:gd name="T53" fmla="*/ 34 h 51"/>
                  <a:gd name="T54" fmla="*/ 0 w 44"/>
                  <a:gd name="T55" fmla="*/ 35 h 51"/>
                  <a:gd name="T56" fmla="*/ 20 w 44"/>
                  <a:gd name="T57" fmla="*/ 51 h 51"/>
                  <a:gd name="T58" fmla="*/ 20 w 44"/>
                  <a:gd name="T59" fmla="*/ 50 h 51"/>
                  <a:gd name="T60" fmla="*/ 20 w 44"/>
                  <a:gd name="T61" fmla="*/ 46 h 51"/>
                  <a:gd name="T62" fmla="*/ 18 w 44"/>
                  <a:gd name="T63" fmla="*/ 41 h 51"/>
                  <a:gd name="T64" fmla="*/ 21 w 44"/>
                  <a:gd name="T65" fmla="*/ 37 h 51"/>
                  <a:gd name="T66" fmla="*/ 22 w 44"/>
                  <a:gd name="T67" fmla="*/ 36 h 51"/>
                  <a:gd name="T68" fmla="*/ 24 w 44"/>
                  <a:gd name="T69" fmla="*/ 33 h 51"/>
                  <a:gd name="T70" fmla="*/ 24 w 44"/>
                  <a:gd name="T71" fmla="*/ 33 h 51"/>
                  <a:gd name="T72" fmla="*/ 29 w 44"/>
                  <a:gd name="T73" fmla="*/ 26 h 51"/>
                  <a:gd name="T74" fmla="*/ 31 w 44"/>
                  <a:gd name="T75" fmla="*/ 24 h 51"/>
                  <a:gd name="T76" fmla="*/ 35 w 44"/>
                  <a:gd name="T77" fmla="*/ 22 h 51"/>
                  <a:gd name="T78" fmla="*/ 36 w 44"/>
                  <a:gd name="T79" fmla="*/ 25 h 51"/>
                  <a:gd name="T80" fmla="*/ 37 w 44"/>
                  <a:gd name="T81" fmla="*/ 27 h 51"/>
                  <a:gd name="T82" fmla="*/ 38 w 44"/>
                  <a:gd name="T83" fmla="*/ 28 h 51"/>
                  <a:gd name="T84" fmla="*/ 38 w 44"/>
                  <a:gd name="T85" fmla="*/ 29 h 51"/>
                  <a:gd name="T86" fmla="*/ 40 w 44"/>
                  <a:gd name="T87" fmla="*/ 28 h 51"/>
                  <a:gd name="T88" fmla="*/ 40 w 44"/>
                  <a:gd name="T89" fmla="*/ 28 h 51"/>
                  <a:gd name="T90" fmla="*/ 40 w 44"/>
                  <a:gd name="T91" fmla="*/ 25 h 51"/>
                  <a:gd name="T92" fmla="*/ 41 w 44"/>
                  <a:gd name="T93" fmla="*/ 20 h 51"/>
                  <a:gd name="T94" fmla="*/ 42 w 44"/>
                  <a:gd name="T95" fmla="*/ 20 h 51"/>
                  <a:gd name="T96" fmla="*/ 43 w 44"/>
                  <a:gd name="T97" fmla="*/ 19 h 51"/>
                  <a:gd name="T98" fmla="*/ 44 w 44"/>
                  <a:gd name="T99" fmla="*/ 19 h 51"/>
                  <a:gd name="T100" fmla="*/ 44 w 44"/>
                  <a:gd name="T101" fmla="*/ 19 h 51"/>
                  <a:gd name="T102" fmla="*/ 19 w 44"/>
                  <a:gd name="T103" fmla="*/ 0 h 51"/>
                  <a:gd name="T104" fmla="*/ 18 w 44"/>
                  <a:gd name="T10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51">
                    <a:moveTo>
                      <a:pt x="18" y="0"/>
                    </a:moveTo>
                    <a:cubicBezTo>
                      <a:pt x="17" y="0"/>
                      <a:pt x="17" y="0"/>
                      <a:pt x="17" y="0"/>
                    </a:cubicBezTo>
                    <a:cubicBezTo>
                      <a:pt x="18" y="1"/>
                      <a:pt x="18" y="1"/>
                      <a:pt x="18" y="1"/>
                    </a:cubicBezTo>
                    <a:cubicBezTo>
                      <a:pt x="21" y="5"/>
                      <a:pt x="21" y="5"/>
                      <a:pt x="21" y="5"/>
                    </a:cubicBezTo>
                    <a:cubicBezTo>
                      <a:pt x="17" y="7"/>
                      <a:pt x="17" y="7"/>
                      <a:pt x="17" y="7"/>
                    </a:cubicBezTo>
                    <a:cubicBezTo>
                      <a:pt x="16" y="7"/>
                      <a:pt x="15" y="7"/>
                      <a:pt x="14" y="7"/>
                    </a:cubicBezTo>
                    <a:cubicBezTo>
                      <a:pt x="13" y="7"/>
                      <a:pt x="13" y="7"/>
                      <a:pt x="12" y="7"/>
                    </a:cubicBezTo>
                    <a:cubicBezTo>
                      <a:pt x="12" y="7"/>
                      <a:pt x="11" y="7"/>
                      <a:pt x="11" y="6"/>
                    </a:cubicBezTo>
                    <a:cubicBezTo>
                      <a:pt x="10" y="6"/>
                      <a:pt x="10" y="6"/>
                      <a:pt x="10" y="6"/>
                    </a:cubicBezTo>
                    <a:cubicBezTo>
                      <a:pt x="10" y="7"/>
                      <a:pt x="10" y="7"/>
                      <a:pt x="10" y="7"/>
                    </a:cubicBezTo>
                    <a:cubicBezTo>
                      <a:pt x="9" y="7"/>
                      <a:pt x="9" y="7"/>
                      <a:pt x="9" y="7"/>
                    </a:cubicBezTo>
                    <a:cubicBezTo>
                      <a:pt x="8" y="8"/>
                      <a:pt x="7" y="9"/>
                      <a:pt x="6" y="10"/>
                    </a:cubicBezTo>
                    <a:cubicBezTo>
                      <a:pt x="4" y="12"/>
                      <a:pt x="2" y="15"/>
                      <a:pt x="2" y="17"/>
                    </a:cubicBezTo>
                    <a:cubicBezTo>
                      <a:pt x="3" y="17"/>
                      <a:pt x="3" y="18"/>
                      <a:pt x="3" y="19"/>
                    </a:cubicBezTo>
                    <a:cubicBezTo>
                      <a:pt x="3" y="20"/>
                      <a:pt x="4" y="21"/>
                      <a:pt x="4" y="22"/>
                    </a:cubicBezTo>
                    <a:cubicBezTo>
                      <a:pt x="4" y="24"/>
                      <a:pt x="5" y="26"/>
                      <a:pt x="4" y="28"/>
                    </a:cubicBezTo>
                    <a:cubicBezTo>
                      <a:pt x="3" y="30"/>
                      <a:pt x="2" y="32"/>
                      <a:pt x="0" y="32"/>
                    </a:cubicBezTo>
                    <a:cubicBezTo>
                      <a:pt x="0" y="33"/>
                      <a:pt x="0" y="33"/>
                      <a:pt x="0" y="33"/>
                    </a:cubicBezTo>
                    <a:cubicBezTo>
                      <a:pt x="0" y="33"/>
                      <a:pt x="0" y="33"/>
                      <a:pt x="1" y="33"/>
                    </a:cubicBezTo>
                    <a:cubicBezTo>
                      <a:pt x="2" y="33"/>
                      <a:pt x="3" y="33"/>
                      <a:pt x="4" y="32"/>
                    </a:cubicBezTo>
                    <a:cubicBezTo>
                      <a:pt x="4" y="32"/>
                      <a:pt x="4" y="32"/>
                      <a:pt x="4" y="32"/>
                    </a:cubicBezTo>
                    <a:cubicBezTo>
                      <a:pt x="4" y="32"/>
                      <a:pt x="4" y="32"/>
                      <a:pt x="4" y="32"/>
                    </a:cubicBezTo>
                    <a:cubicBezTo>
                      <a:pt x="4" y="32"/>
                      <a:pt x="5" y="32"/>
                      <a:pt x="5" y="32"/>
                    </a:cubicBezTo>
                    <a:cubicBezTo>
                      <a:pt x="5" y="32"/>
                      <a:pt x="6" y="32"/>
                      <a:pt x="6" y="32"/>
                    </a:cubicBezTo>
                    <a:cubicBezTo>
                      <a:pt x="5" y="34"/>
                      <a:pt x="5" y="35"/>
                      <a:pt x="4" y="35"/>
                    </a:cubicBezTo>
                    <a:cubicBezTo>
                      <a:pt x="4" y="35"/>
                      <a:pt x="4" y="35"/>
                      <a:pt x="3" y="35"/>
                    </a:cubicBezTo>
                    <a:cubicBezTo>
                      <a:pt x="3" y="35"/>
                      <a:pt x="2" y="34"/>
                      <a:pt x="1" y="34"/>
                    </a:cubicBezTo>
                    <a:cubicBezTo>
                      <a:pt x="1" y="34"/>
                      <a:pt x="1" y="34"/>
                      <a:pt x="0" y="35"/>
                    </a:cubicBezTo>
                    <a:cubicBezTo>
                      <a:pt x="7" y="40"/>
                      <a:pt x="14" y="46"/>
                      <a:pt x="20" y="51"/>
                    </a:cubicBezTo>
                    <a:cubicBezTo>
                      <a:pt x="20" y="51"/>
                      <a:pt x="20" y="50"/>
                      <a:pt x="20" y="50"/>
                    </a:cubicBezTo>
                    <a:cubicBezTo>
                      <a:pt x="20" y="49"/>
                      <a:pt x="20" y="47"/>
                      <a:pt x="20" y="46"/>
                    </a:cubicBezTo>
                    <a:cubicBezTo>
                      <a:pt x="18" y="45"/>
                      <a:pt x="18" y="43"/>
                      <a:pt x="18" y="41"/>
                    </a:cubicBezTo>
                    <a:cubicBezTo>
                      <a:pt x="19" y="39"/>
                      <a:pt x="20" y="38"/>
                      <a:pt x="21" y="37"/>
                    </a:cubicBezTo>
                    <a:cubicBezTo>
                      <a:pt x="22" y="36"/>
                      <a:pt x="22" y="36"/>
                      <a:pt x="22" y="36"/>
                    </a:cubicBezTo>
                    <a:cubicBezTo>
                      <a:pt x="23" y="35"/>
                      <a:pt x="23" y="34"/>
                      <a:pt x="24" y="33"/>
                    </a:cubicBezTo>
                    <a:cubicBezTo>
                      <a:pt x="24" y="33"/>
                      <a:pt x="24" y="33"/>
                      <a:pt x="24" y="33"/>
                    </a:cubicBezTo>
                    <a:cubicBezTo>
                      <a:pt x="25" y="30"/>
                      <a:pt x="27" y="28"/>
                      <a:pt x="29" y="26"/>
                    </a:cubicBezTo>
                    <a:cubicBezTo>
                      <a:pt x="29" y="25"/>
                      <a:pt x="30" y="24"/>
                      <a:pt x="31" y="24"/>
                    </a:cubicBezTo>
                    <a:cubicBezTo>
                      <a:pt x="35" y="22"/>
                      <a:pt x="35" y="22"/>
                      <a:pt x="35" y="22"/>
                    </a:cubicBezTo>
                    <a:cubicBezTo>
                      <a:pt x="36" y="25"/>
                      <a:pt x="36" y="25"/>
                      <a:pt x="36" y="25"/>
                    </a:cubicBezTo>
                    <a:cubicBezTo>
                      <a:pt x="37" y="26"/>
                      <a:pt x="37" y="27"/>
                      <a:pt x="37" y="27"/>
                    </a:cubicBezTo>
                    <a:cubicBezTo>
                      <a:pt x="38" y="28"/>
                      <a:pt x="38" y="28"/>
                      <a:pt x="38" y="28"/>
                    </a:cubicBezTo>
                    <a:cubicBezTo>
                      <a:pt x="38" y="29"/>
                      <a:pt x="38" y="29"/>
                      <a:pt x="38" y="29"/>
                    </a:cubicBezTo>
                    <a:cubicBezTo>
                      <a:pt x="39" y="29"/>
                      <a:pt x="39" y="28"/>
                      <a:pt x="40" y="28"/>
                    </a:cubicBezTo>
                    <a:cubicBezTo>
                      <a:pt x="40" y="28"/>
                      <a:pt x="40" y="28"/>
                      <a:pt x="40" y="28"/>
                    </a:cubicBezTo>
                    <a:cubicBezTo>
                      <a:pt x="40" y="27"/>
                      <a:pt x="40" y="26"/>
                      <a:pt x="40" y="25"/>
                    </a:cubicBezTo>
                    <a:cubicBezTo>
                      <a:pt x="39" y="23"/>
                      <a:pt x="40" y="21"/>
                      <a:pt x="41" y="20"/>
                    </a:cubicBezTo>
                    <a:cubicBezTo>
                      <a:pt x="42" y="20"/>
                      <a:pt x="42" y="20"/>
                      <a:pt x="42" y="20"/>
                    </a:cubicBezTo>
                    <a:cubicBezTo>
                      <a:pt x="43" y="19"/>
                      <a:pt x="43" y="19"/>
                      <a:pt x="43" y="19"/>
                    </a:cubicBezTo>
                    <a:cubicBezTo>
                      <a:pt x="44" y="19"/>
                      <a:pt x="44" y="19"/>
                      <a:pt x="44" y="19"/>
                    </a:cubicBezTo>
                    <a:cubicBezTo>
                      <a:pt x="44" y="19"/>
                      <a:pt x="44" y="19"/>
                      <a:pt x="44" y="19"/>
                    </a:cubicBezTo>
                    <a:cubicBezTo>
                      <a:pt x="19" y="0"/>
                      <a:pt x="19" y="0"/>
                      <a:pt x="19" y="0"/>
                    </a:cubicBezTo>
                    <a:cubicBezTo>
                      <a:pt x="19"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7" name="Freeform 295">
                <a:extLst>
                  <a:ext uri="{FF2B5EF4-FFF2-40B4-BE49-F238E27FC236}">
                    <a16:creationId xmlns:a16="http://schemas.microsoft.com/office/drawing/2014/main" id="{2B87EDFA-B314-4102-8DD4-813572A5D142}"/>
                  </a:ext>
                </a:extLst>
              </p:cNvPr>
              <p:cNvSpPr>
                <a:spLocks/>
              </p:cNvSpPr>
              <p:nvPr/>
            </p:nvSpPr>
            <p:spPr bwMode="auto">
              <a:xfrm>
                <a:off x="6095182" y="4845928"/>
                <a:ext cx="147405" cy="287439"/>
              </a:xfrm>
              <a:custGeom>
                <a:avLst/>
                <a:gdLst>
                  <a:gd name="T0" fmla="*/ 9 w 46"/>
                  <a:gd name="T1" fmla="*/ 4 h 91"/>
                  <a:gd name="T2" fmla="*/ 7 w 46"/>
                  <a:gd name="T3" fmla="*/ 7 h 91"/>
                  <a:gd name="T4" fmla="*/ 5 w 46"/>
                  <a:gd name="T5" fmla="*/ 9 h 91"/>
                  <a:gd name="T6" fmla="*/ 6 w 46"/>
                  <a:gd name="T7" fmla="*/ 19 h 91"/>
                  <a:gd name="T8" fmla="*/ 6 w 46"/>
                  <a:gd name="T9" fmla="*/ 20 h 91"/>
                  <a:gd name="T10" fmla="*/ 8 w 46"/>
                  <a:gd name="T11" fmla="*/ 26 h 91"/>
                  <a:gd name="T12" fmla="*/ 7 w 46"/>
                  <a:gd name="T13" fmla="*/ 30 h 91"/>
                  <a:gd name="T14" fmla="*/ 4 w 46"/>
                  <a:gd name="T15" fmla="*/ 37 h 91"/>
                  <a:gd name="T16" fmla="*/ 6 w 46"/>
                  <a:gd name="T17" fmla="*/ 46 h 91"/>
                  <a:gd name="T18" fmla="*/ 1 w 46"/>
                  <a:gd name="T19" fmla="*/ 63 h 91"/>
                  <a:gd name="T20" fmla="*/ 1 w 46"/>
                  <a:gd name="T21" fmla="*/ 70 h 91"/>
                  <a:gd name="T22" fmla="*/ 11 w 46"/>
                  <a:gd name="T23" fmla="*/ 79 h 91"/>
                  <a:gd name="T24" fmla="*/ 20 w 46"/>
                  <a:gd name="T25" fmla="*/ 91 h 91"/>
                  <a:gd name="T26" fmla="*/ 24 w 46"/>
                  <a:gd name="T27" fmla="*/ 91 h 91"/>
                  <a:gd name="T28" fmla="*/ 26 w 46"/>
                  <a:gd name="T29" fmla="*/ 89 h 91"/>
                  <a:gd name="T30" fmla="*/ 27 w 46"/>
                  <a:gd name="T31" fmla="*/ 86 h 91"/>
                  <a:gd name="T32" fmla="*/ 28 w 46"/>
                  <a:gd name="T33" fmla="*/ 81 h 91"/>
                  <a:gd name="T34" fmla="*/ 32 w 46"/>
                  <a:gd name="T35" fmla="*/ 78 h 91"/>
                  <a:gd name="T36" fmla="*/ 36 w 46"/>
                  <a:gd name="T37" fmla="*/ 78 h 91"/>
                  <a:gd name="T38" fmla="*/ 37 w 46"/>
                  <a:gd name="T39" fmla="*/ 74 h 91"/>
                  <a:gd name="T40" fmla="*/ 40 w 46"/>
                  <a:gd name="T41" fmla="*/ 67 h 91"/>
                  <a:gd name="T42" fmla="*/ 46 w 46"/>
                  <a:gd name="T43" fmla="*/ 62 h 91"/>
                  <a:gd name="T44" fmla="*/ 46 w 46"/>
                  <a:gd name="T45" fmla="*/ 61 h 91"/>
                  <a:gd name="T46" fmla="*/ 45 w 46"/>
                  <a:gd name="T47" fmla="*/ 57 h 91"/>
                  <a:gd name="T48" fmla="*/ 43 w 46"/>
                  <a:gd name="T49" fmla="*/ 58 h 91"/>
                  <a:gd name="T50" fmla="*/ 37 w 46"/>
                  <a:gd name="T51" fmla="*/ 50 h 91"/>
                  <a:gd name="T52" fmla="*/ 36 w 46"/>
                  <a:gd name="T53" fmla="*/ 49 h 91"/>
                  <a:gd name="T54" fmla="*/ 32 w 46"/>
                  <a:gd name="T55" fmla="*/ 43 h 91"/>
                  <a:gd name="T56" fmla="*/ 33 w 46"/>
                  <a:gd name="T57" fmla="*/ 37 h 91"/>
                  <a:gd name="T58" fmla="*/ 30 w 46"/>
                  <a:gd name="T59" fmla="*/ 32 h 91"/>
                  <a:gd name="T60" fmla="*/ 33 w 46"/>
                  <a:gd name="T61" fmla="*/ 28 h 91"/>
                  <a:gd name="T62" fmla="*/ 33 w 46"/>
                  <a:gd name="T63" fmla="*/ 25 h 91"/>
                  <a:gd name="T64" fmla="*/ 33 w 46"/>
                  <a:gd name="T65" fmla="*/ 24 h 91"/>
                  <a:gd name="T66" fmla="*/ 34 w 46"/>
                  <a:gd name="T67" fmla="*/ 21 h 91"/>
                  <a:gd name="T68" fmla="*/ 33 w 46"/>
                  <a:gd name="T69" fmla="*/ 17 h 91"/>
                  <a:gd name="T70" fmla="*/ 32 w 46"/>
                  <a:gd name="T71" fmla="*/ 11 h 91"/>
                  <a:gd name="T72" fmla="*/ 31 w 46"/>
                  <a:gd name="T73" fmla="*/ 10 h 91"/>
                  <a:gd name="T74" fmla="*/ 28 w 46"/>
                  <a:gd name="T75" fmla="*/ 7 h 91"/>
                  <a:gd name="T76" fmla="*/ 27 w 46"/>
                  <a:gd name="T77" fmla="*/ 6 h 91"/>
                  <a:gd name="T78" fmla="*/ 25 w 46"/>
                  <a:gd name="T79" fmla="*/ 4 h 91"/>
                  <a:gd name="T80" fmla="*/ 22 w 46"/>
                  <a:gd name="T81" fmla="*/ 2 h 91"/>
                  <a:gd name="T82" fmla="*/ 16 w 46"/>
                  <a:gd name="T83"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91">
                    <a:moveTo>
                      <a:pt x="11" y="0"/>
                    </a:moveTo>
                    <a:cubicBezTo>
                      <a:pt x="10" y="1"/>
                      <a:pt x="10" y="3"/>
                      <a:pt x="9" y="4"/>
                    </a:cubicBezTo>
                    <a:cubicBezTo>
                      <a:pt x="8" y="4"/>
                      <a:pt x="8" y="4"/>
                      <a:pt x="8" y="4"/>
                    </a:cubicBezTo>
                    <a:cubicBezTo>
                      <a:pt x="8" y="5"/>
                      <a:pt x="7" y="6"/>
                      <a:pt x="7" y="7"/>
                    </a:cubicBezTo>
                    <a:cubicBezTo>
                      <a:pt x="6" y="7"/>
                      <a:pt x="6" y="8"/>
                      <a:pt x="5" y="8"/>
                    </a:cubicBezTo>
                    <a:cubicBezTo>
                      <a:pt x="5" y="9"/>
                      <a:pt x="5" y="9"/>
                      <a:pt x="5" y="9"/>
                    </a:cubicBezTo>
                    <a:cubicBezTo>
                      <a:pt x="7" y="12"/>
                      <a:pt x="6" y="15"/>
                      <a:pt x="6" y="17"/>
                    </a:cubicBezTo>
                    <a:cubicBezTo>
                      <a:pt x="6" y="18"/>
                      <a:pt x="6" y="19"/>
                      <a:pt x="6" y="19"/>
                    </a:cubicBezTo>
                    <a:cubicBezTo>
                      <a:pt x="6" y="20"/>
                      <a:pt x="6" y="20"/>
                      <a:pt x="6" y="20"/>
                    </a:cubicBezTo>
                    <a:cubicBezTo>
                      <a:pt x="6" y="20"/>
                      <a:pt x="6" y="20"/>
                      <a:pt x="6" y="20"/>
                    </a:cubicBezTo>
                    <a:cubicBezTo>
                      <a:pt x="6" y="21"/>
                      <a:pt x="6" y="21"/>
                      <a:pt x="6" y="22"/>
                    </a:cubicBezTo>
                    <a:cubicBezTo>
                      <a:pt x="8" y="22"/>
                      <a:pt x="8" y="23"/>
                      <a:pt x="8" y="26"/>
                    </a:cubicBezTo>
                    <a:cubicBezTo>
                      <a:pt x="8" y="27"/>
                      <a:pt x="9" y="30"/>
                      <a:pt x="8" y="30"/>
                    </a:cubicBezTo>
                    <a:cubicBezTo>
                      <a:pt x="7" y="30"/>
                      <a:pt x="7" y="30"/>
                      <a:pt x="7" y="30"/>
                    </a:cubicBezTo>
                    <a:cubicBezTo>
                      <a:pt x="7" y="30"/>
                      <a:pt x="7" y="30"/>
                      <a:pt x="7" y="30"/>
                    </a:cubicBezTo>
                    <a:cubicBezTo>
                      <a:pt x="4" y="30"/>
                      <a:pt x="5" y="33"/>
                      <a:pt x="4" y="37"/>
                    </a:cubicBezTo>
                    <a:cubicBezTo>
                      <a:pt x="3" y="36"/>
                      <a:pt x="3" y="36"/>
                      <a:pt x="3" y="36"/>
                    </a:cubicBezTo>
                    <a:cubicBezTo>
                      <a:pt x="6" y="41"/>
                      <a:pt x="7" y="41"/>
                      <a:pt x="6" y="46"/>
                    </a:cubicBezTo>
                    <a:cubicBezTo>
                      <a:pt x="5" y="49"/>
                      <a:pt x="5" y="51"/>
                      <a:pt x="5" y="54"/>
                    </a:cubicBezTo>
                    <a:cubicBezTo>
                      <a:pt x="3" y="54"/>
                      <a:pt x="0" y="60"/>
                      <a:pt x="1" y="63"/>
                    </a:cubicBezTo>
                    <a:cubicBezTo>
                      <a:pt x="3" y="66"/>
                      <a:pt x="4" y="69"/>
                      <a:pt x="5" y="73"/>
                    </a:cubicBezTo>
                    <a:cubicBezTo>
                      <a:pt x="4" y="73"/>
                      <a:pt x="1" y="70"/>
                      <a:pt x="1" y="70"/>
                    </a:cubicBezTo>
                    <a:cubicBezTo>
                      <a:pt x="1" y="70"/>
                      <a:pt x="1" y="70"/>
                      <a:pt x="1" y="70"/>
                    </a:cubicBezTo>
                    <a:cubicBezTo>
                      <a:pt x="3" y="75"/>
                      <a:pt x="7" y="76"/>
                      <a:pt x="11" y="79"/>
                    </a:cubicBezTo>
                    <a:cubicBezTo>
                      <a:pt x="15" y="81"/>
                      <a:pt x="16" y="82"/>
                      <a:pt x="18" y="86"/>
                    </a:cubicBezTo>
                    <a:cubicBezTo>
                      <a:pt x="18" y="88"/>
                      <a:pt x="19" y="89"/>
                      <a:pt x="20" y="91"/>
                    </a:cubicBezTo>
                    <a:cubicBezTo>
                      <a:pt x="23" y="91"/>
                      <a:pt x="23" y="91"/>
                      <a:pt x="23" y="91"/>
                    </a:cubicBezTo>
                    <a:cubicBezTo>
                      <a:pt x="24" y="91"/>
                      <a:pt x="24" y="91"/>
                      <a:pt x="24" y="91"/>
                    </a:cubicBezTo>
                    <a:cubicBezTo>
                      <a:pt x="24" y="91"/>
                      <a:pt x="25" y="91"/>
                      <a:pt x="25" y="91"/>
                    </a:cubicBezTo>
                    <a:cubicBezTo>
                      <a:pt x="25" y="90"/>
                      <a:pt x="26" y="89"/>
                      <a:pt x="26" y="89"/>
                    </a:cubicBezTo>
                    <a:cubicBezTo>
                      <a:pt x="26" y="88"/>
                      <a:pt x="27" y="88"/>
                      <a:pt x="27" y="88"/>
                    </a:cubicBezTo>
                    <a:cubicBezTo>
                      <a:pt x="27" y="87"/>
                      <a:pt x="27" y="87"/>
                      <a:pt x="27" y="86"/>
                    </a:cubicBezTo>
                    <a:cubicBezTo>
                      <a:pt x="27" y="86"/>
                      <a:pt x="26" y="85"/>
                      <a:pt x="26" y="84"/>
                    </a:cubicBezTo>
                    <a:cubicBezTo>
                      <a:pt x="27" y="82"/>
                      <a:pt x="28" y="81"/>
                      <a:pt x="28" y="81"/>
                    </a:cubicBezTo>
                    <a:cubicBezTo>
                      <a:pt x="29" y="81"/>
                      <a:pt x="29" y="80"/>
                      <a:pt x="29" y="80"/>
                    </a:cubicBezTo>
                    <a:cubicBezTo>
                      <a:pt x="30" y="79"/>
                      <a:pt x="31" y="78"/>
                      <a:pt x="32" y="78"/>
                    </a:cubicBezTo>
                    <a:cubicBezTo>
                      <a:pt x="33" y="78"/>
                      <a:pt x="34" y="77"/>
                      <a:pt x="35" y="77"/>
                    </a:cubicBezTo>
                    <a:cubicBezTo>
                      <a:pt x="35" y="77"/>
                      <a:pt x="35" y="77"/>
                      <a:pt x="36" y="78"/>
                    </a:cubicBezTo>
                    <a:cubicBezTo>
                      <a:pt x="36" y="78"/>
                      <a:pt x="36" y="78"/>
                      <a:pt x="36" y="78"/>
                    </a:cubicBezTo>
                    <a:cubicBezTo>
                      <a:pt x="36" y="77"/>
                      <a:pt x="37" y="75"/>
                      <a:pt x="37" y="74"/>
                    </a:cubicBezTo>
                    <a:cubicBezTo>
                      <a:pt x="37" y="74"/>
                      <a:pt x="37" y="74"/>
                      <a:pt x="37" y="74"/>
                    </a:cubicBezTo>
                    <a:cubicBezTo>
                      <a:pt x="38" y="71"/>
                      <a:pt x="39" y="69"/>
                      <a:pt x="40" y="67"/>
                    </a:cubicBezTo>
                    <a:cubicBezTo>
                      <a:pt x="42" y="65"/>
                      <a:pt x="44" y="63"/>
                      <a:pt x="45" y="63"/>
                    </a:cubicBezTo>
                    <a:cubicBezTo>
                      <a:pt x="46" y="62"/>
                      <a:pt x="46" y="62"/>
                      <a:pt x="46" y="62"/>
                    </a:cubicBezTo>
                    <a:cubicBezTo>
                      <a:pt x="46" y="62"/>
                      <a:pt x="46" y="62"/>
                      <a:pt x="46" y="62"/>
                    </a:cubicBezTo>
                    <a:cubicBezTo>
                      <a:pt x="46" y="62"/>
                      <a:pt x="46" y="62"/>
                      <a:pt x="46" y="61"/>
                    </a:cubicBezTo>
                    <a:cubicBezTo>
                      <a:pt x="45" y="59"/>
                      <a:pt x="45" y="58"/>
                      <a:pt x="45" y="57"/>
                    </a:cubicBezTo>
                    <a:cubicBezTo>
                      <a:pt x="45" y="57"/>
                      <a:pt x="45" y="57"/>
                      <a:pt x="45" y="57"/>
                    </a:cubicBezTo>
                    <a:cubicBezTo>
                      <a:pt x="45" y="57"/>
                      <a:pt x="45" y="57"/>
                      <a:pt x="45" y="57"/>
                    </a:cubicBezTo>
                    <a:cubicBezTo>
                      <a:pt x="43" y="58"/>
                      <a:pt x="43" y="58"/>
                      <a:pt x="43" y="58"/>
                    </a:cubicBezTo>
                    <a:cubicBezTo>
                      <a:pt x="40" y="53"/>
                      <a:pt x="40" y="53"/>
                      <a:pt x="40" y="53"/>
                    </a:cubicBezTo>
                    <a:cubicBezTo>
                      <a:pt x="39" y="52"/>
                      <a:pt x="38" y="51"/>
                      <a:pt x="37" y="50"/>
                    </a:cubicBezTo>
                    <a:cubicBezTo>
                      <a:pt x="37" y="50"/>
                      <a:pt x="37" y="50"/>
                      <a:pt x="37" y="50"/>
                    </a:cubicBezTo>
                    <a:cubicBezTo>
                      <a:pt x="36" y="49"/>
                      <a:pt x="36" y="49"/>
                      <a:pt x="36" y="49"/>
                    </a:cubicBezTo>
                    <a:cubicBezTo>
                      <a:pt x="35" y="48"/>
                      <a:pt x="33" y="46"/>
                      <a:pt x="32" y="44"/>
                    </a:cubicBezTo>
                    <a:cubicBezTo>
                      <a:pt x="32" y="43"/>
                      <a:pt x="32" y="43"/>
                      <a:pt x="32" y="43"/>
                    </a:cubicBezTo>
                    <a:cubicBezTo>
                      <a:pt x="31" y="40"/>
                      <a:pt x="32" y="38"/>
                      <a:pt x="33" y="37"/>
                    </a:cubicBezTo>
                    <a:cubicBezTo>
                      <a:pt x="33" y="37"/>
                      <a:pt x="33" y="37"/>
                      <a:pt x="33" y="37"/>
                    </a:cubicBezTo>
                    <a:cubicBezTo>
                      <a:pt x="33" y="36"/>
                      <a:pt x="33" y="36"/>
                      <a:pt x="32" y="36"/>
                    </a:cubicBezTo>
                    <a:cubicBezTo>
                      <a:pt x="31" y="34"/>
                      <a:pt x="31" y="33"/>
                      <a:pt x="30" y="32"/>
                    </a:cubicBezTo>
                    <a:cubicBezTo>
                      <a:pt x="29" y="28"/>
                      <a:pt x="29" y="28"/>
                      <a:pt x="29" y="28"/>
                    </a:cubicBezTo>
                    <a:cubicBezTo>
                      <a:pt x="33" y="28"/>
                      <a:pt x="33" y="28"/>
                      <a:pt x="33" y="28"/>
                    </a:cubicBezTo>
                    <a:cubicBezTo>
                      <a:pt x="33" y="27"/>
                      <a:pt x="33" y="27"/>
                      <a:pt x="33" y="27"/>
                    </a:cubicBezTo>
                    <a:cubicBezTo>
                      <a:pt x="33" y="26"/>
                      <a:pt x="33" y="26"/>
                      <a:pt x="33" y="25"/>
                    </a:cubicBezTo>
                    <a:cubicBezTo>
                      <a:pt x="33" y="24"/>
                      <a:pt x="33" y="24"/>
                      <a:pt x="33" y="24"/>
                    </a:cubicBezTo>
                    <a:cubicBezTo>
                      <a:pt x="33" y="24"/>
                      <a:pt x="33" y="24"/>
                      <a:pt x="33" y="24"/>
                    </a:cubicBezTo>
                    <a:cubicBezTo>
                      <a:pt x="33" y="24"/>
                      <a:pt x="33" y="24"/>
                      <a:pt x="33" y="24"/>
                    </a:cubicBezTo>
                    <a:cubicBezTo>
                      <a:pt x="34" y="21"/>
                      <a:pt x="34" y="21"/>
                      <a:pt x="34" y="21"/>
                    </a:cubicBezTo>
                    <a:cubicBezTo>
                      <a:pt x="34" y="20"/>
                      <a:pt x="34" y="20"/>
                      <a:pt x="34" y="20"/>
                    </a:cubicBezTo>
                    <a:cubicBezTo>
                      <a:pt x="33" y="17"/>
                      <a:pt x="33" y="17"/>
                      <a:pt x="33" y="17"/>
                    </a:cubicBezTo>
                    <a:cubicBezTo>
                      <a:pt x="33" y="17"/>
                      <a:pt x="33" y="16"/>
                      <a:pt x="33" y="16"/>
                    </a:cubicBezTo>
                    <a:cubicBezTo>
                      <a:pt x="33" y="14"/>
                      <a:pt x="33" y="12"/>
                      <a:pt x="32" y="11"/>
                    </a:cubicBezTo>
                    <a:cubicBezTo>
                      <a:pt x="32" y="11"/>
                      <a:pt x="32" y="11"/>
                      <a:pt x="32" y="11"/>
                    </a:cubicBezTo>
                    <a:cubicBezTo>
                      <a:pt x="32" y="10"/>
                      <a:pt x="31" y="10"/>
                      <a:pt x="31" y="10"/>
                    </a:cubicBezTo>
                    <a:cubicBezTo>
                      <a:pt x="31" y="9"/>
                      <a:pt x="30" y="9"/>
                      <a:pt x="30" y="9"/>
                    </a:cubicBezTo>
                    <a:cubicBezTo>
                      <a:pt x="29" y="8"/>
                      <a:pt x="28" y="8"/>
                      <a:pt x="28" y="7"/>
                    </a:cubicBezTo>
                    <a:cubicBezTo>
                      <a:pt x="27" y="7"/>
                      <a:pt x="27" y="7"/>
                      <a:pt x="27" y="7"/>
                    </a:cubicBezTo>
                    <a:cubicBezTo>
                      <a:pt x="27" y="6"/>
                      <a:pt x="27" y="6"/>
                      <a:pt x="27" y="6"/>
                    </a:cubicBezTo>
                    <a:cubicBezTo>
                      <a:pt x="26" y="6"/>
                      <a:pt x="26" y="6"/>
                      <a:pt x="25" y="5"/>
                    </a:cubicBezTo>
                    <a:cubicBezTo>
                      <a:pt x="25" y="4"/>
                      <a:pt x="25" y="4"/>
                      <a:pt x="25" y="4"/>
                    </a:cubicBezTo>
                    <a:cubicBezTo>
                      <a:pt x="24" y="4"/>
                      <a:pt x="24" y="3"/>
                      <a:pt x="23" y="3"/>
                    </a:cubicBezTo>
                    <a:cubicBezTo>
                      <a:pt x="22" y="2"/>
                      <a:pt x="22" y="2"/>
                      <a:pt x="22" y="2"/>
                    </a:cubicBezTo>
                    <a:cubicBezTo>
                      <a:pt x="22" y="1"/>
                      <a:pt x="22" y="1"/>
                      <a:pt x="22" y="1"/>
                    </a:cubicBezTo>
                    <a:cubicBezTo>
                      <a:pt x="20" y="2"/>
                      <a:pt x="18" y="3"/>
                      <a:pt x="16" y="3"/>
                    </a:cubicBezTo>
                    <a:cubicBezTo>
                      <a:pt x="14" y="3"/>
                      <a:pt x="13"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8" name="Freeform 296">
                <a:extLst>
                  <a:ext uri="{FF2B5EF4-FFF2-40B4-BE49-F238E27FC236}">
                    <a16:creationId xmlns:a16="http://schemas.microsoft.com/office/drawing/2014/main" id="{C4F1CCF4-C619-4749-9448-BD25CCB8CF30}"/>
                  </a:ext>
                </a:extLst>
              </p:cNvPr>
              <p:cNvSpPr>
                <a:spLocks/>
              </p:cNvSpPr>
              <p:nvPr/>
            </p:nvSpPr>
            <p:spPr bwMode="auto">
              <a:xfrm>
                <a:off x="6176254" y="4768540"/>
                <a:ext cx="132664" cy="125294"/>
              </a:xfrm>
              <a:custGeom>
                <a:avLst/>
                <a:gdLst>
                  <a:gd name="T0" fmla="*/ 17 w 41"/>
                  <a:gd name="T1" fmla="*/ 0 h 40"/>
                  <a:gd name="T2" fmla="*/ 18 w 41"/>
                  <a:gd name="T3" fmla="*/ 5 h 40"/>
                  <a:gd name="T4" fmla="*/ 14 w 41"/>
                  <a:gd name="T5" fmla="*/ 9 h 40"/>
                  <a:gd name="T6" fmla="*/ 11 w 41"/>
                  <a:gd name="T7" fmla="*/ 9 h 40"/>
                  <a:gd name="T8" fmla="*/ 11 w 41"/>
                  <a:gd name="T9" fmla="*/ 10 h 40"/>
                  <a:gd name="T10" fmla="*/ 11 w 41"/>
                  <a:gd name="T11" fmla="*/ 10 h 40"/>
                  <a:gd name="T12" fmla="*/ 11 w 41"/>
                  <a:gd name="T13" fmla="*/ 11 h 40"/>
                  <a:gd name="T14" fmla="*/ 13 w 41"/>
                  <a:gd name="T15" fmla="*/ 13 h 40"/>
                  <a:gd name="T16" fmla="*/ 6 w 41"/>
                  <a:gd name="T17" fmla="*/ 15 h 40"/>
                  <a:gd name="T18" fmla="*/ 2 w 41"/>
                  <a:gd name="T19" fmla="*/ 16 h 40"/>
                  <a:gd name="T20" fmla="*/ 0 w 41"/>
                  <a:gd name="T21" fmla="*/ 16 h 40"/>
                  <a:gd name="T22" fmla="*/ 0 w 41"/>
                  <a:gd name="T23" fmla="*/ 19 h 40"/>
                  <a:gd name="T24" fmla="*/ 1 w 41"/>
                  <a:gd name="T25" fmla="*/ 20 h 40"/>
                  <a:gd name="T26" fmla="*/ 7 w 41"/>
                  <a:gd name="T27" fmla="*/ 27 h 40"/>
                  <a:gd name="T28" fmla="*/ 10 w 41"/>
                  <a:gd name="T29" fmla="*/ 29 h 40"/>
                  <a:gd name="T30" fmla="*/ 11 w 41"/>
                  <a:gd name="T31" fmla="*/ 30 h 40"/>
                  <a:gd name="T32" fmla="*/ 11 w 41"/>
                  <a:gd name="T33" fmla="*/ 30 h 40"/>
                  <a:gd name="T34" fmla="*/ 12 w 41"/>
                  <a:gd name="T35" fmla="*/ 31 h 40"/>
                  <a:gd name="T36" fmla="*/ 13 w 41"/>
                  <a:gd name="T37" fmla="*/ 33 h 40"/>
                  <a:gd name="T38" fmla="*/ 14 w 41"/>
                  <a:gd name="T39" fmla="*/ 39 h 40"/>
                  <a:gd name="T40" fmla="*/ 14 w 41"/>
                  <a:gd name="T41" fmla="*/ 40 h 40"/>
                  <a:gd name="T42" fmla="*/ 15 w 41"/>
                  <a:gd name="T43" fmla="*/ 38 h 40"/>
                  <a:gd name="T44" fmla="*/ 18 w 41"/>
                  <a:gd name="T45" fmla="*/ 35 h 40"/>
                  <a:gd name="T46" fmla="*/ 19 w 41"/>
                  <a:gd name="T47" fmla="*/ 34 h 40"/>
                  <a:gd name="T48" fmla="*/ 21 w 41"/>
                  <a:gd name="T49" fmla="*/ 32 h 40"/>
                  <a:gd name="T50" fmla="*/ 21 w 41"/>
                  <a:gd name="T51" fmla="*/ 32 h 40"/>
                  <a:gd name="T52" fmla="*/ 20 w 41"/>
                  <a:gd name="T53" fmla="*/ 24 h 40"/>
                  <a:gd name="T54" fmla="*/ 23 w 41"/>
                  <a:gd name="T55" fmla="*/ 31 h 40"/>
                  <a:gd name="T56" fmla="*/ 24 w 41"/>
                  <a:gd name="T57" fmla="*/ 31 h 40"/>
                  <a:gd name="T58" fmla="*/ 24 w 41"/>
                  <a:gd name="T59" fmla="*/ 31 h 40"/>
                  <a:gd name="T60" fmla="*/ 25 w 41"/>
                  <a:gd name="T61" fmla="*/ 31 h 40"/>
                  <a:gd name="T62" fmla="*/ 29 w 41"/>
                  <a:gd name="T63" fmla="*/ 33 h 40"/>
                  <a:gd name="T64" fmla="*/ 30 w 41"/>
                  <a:gd name="T65" fmla="*/ 33 h 40"/>
                  <a:gd name="T66" fmla="*/ 33 w 41"/>
                  <a:gd name="T67" fmla="*/ 29 h 40"/>
                  <a:gd name="T68" fmla="*/ 36 w 41"/>
                  <a:gd name="T69" fmla="*/ 28 h 40"/>
                  <a:gd name="T70" fmla="*/ 37 w 41"/>
                  <a:gd name="T71" fmla="*/ 28 h 40"/>
                  <a:gd name="T72" fmla="*/ 37 w 41"/>
                  <a:gd name="T73" fmla="*/ 27 h 40"/>
                  <a:gd name="T74" fmla="*/ 39 w 41"/>
                  <a:gd name="T75" fmla="*/ 25 h 40"/>
                  <a:gd name="T76" fmla="*/ 41 w 41"/>
                  <a:gd name="T77" fmla="*/ 20 h 40"/>
                  <a:gd name="T78" fmla="*/ 41 w 41"/>
                  <a:gd name="T79" fmla="*/ 20 h 40"/>
                  <a:gd name="T80" fmla="*/ 34 w 41"/>
                  <a:gd name="T81" fmla="*/ 16 h 40"/>
                  <a:gd name="T82" fmla="*/ 33 w 41"/>
                  <a:gd name="T83" fmla="*/ 12 h 40"/>
                  <a:gd name="T84" fmla="*/ 32 w 41"/>
                  <a:gd name="T85" fmla="*/ 12 h 40"/>
                  <a:gd name="T86" fmla="*/ 32 w 41"/>
                  <a:gd name="T87" fmla="*/ 10 h 40"/>
                  <a:gd name="T88" fmla="*/ 31 w 41"/>
                  <a:gd name="T89" fmla="*/ 10 h 40"/>
                  <a:gd name="T90" fmla="*/ 24 w 41"/>
                  <a:gd name="T91" fmla="*/ 1 h 40"/>
                  <a:gd name="T92" fmla="*/ 21 w 41"/>
                  <a:gd name="T93" fmla="*/ 0 h 40"/>
                  <a:gd name="T94" fmla="*/ 19 w 41"/>
                  <a:gd name="T95" fmla="*/ 0 h 40"/>
                  <a:gd name="T96" fmla="*/ 18 w 41"/>
                  <a:gd name="T97" fmla="*/ 0 h 40"/>
                  <a:gd name="T98" fmla="*/ 17 w 41"/>
                  <a:gd name="T9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0">
                    <a:moveTo>
                      <a:pt x="17" y="0"/>
                    </a:moveTo>
                    <a:cubicBezTo>
                      <a:pt x="18" y="1"/>
                      <a:pt x="19" y="3"/>
                      <a:pt x="18" y="5"/>
                    </a:cubicBezTo>
                    <a:cubicBezTo>
                      <a:pt x="18" y="7"/>
                      <a:pt x="15" y="8"/>
                      <a:pt x="14" y="9"/>
                    </a:cubicBezTo>
                    <a:cubicBezTo>
                      <a:pt x="13" y="9"/>
                      <a:pt x="12" y="9"/>
                      <a:pt x="11" y="9"/>
                    </a:cubicBezTo>
                    <a:cubicBezTo>
                      <a:pt x="11" y="10"/>
                      <a:pt x="11" y="10"/>
                      <a:pt x="11" y="10"/>
                    </a:cubicBezTo>
                    <a:cubicBezTo>
                      <a:pt x="11" y="10"/>
                      <a:pt x="11" y="10"/>
                      <a:pt x="11" y="10"/>
                    </a:cubicBezTo>
                    <a:cubicBezTo>
                      <a:pt x="11" y="11"/>
                      <a:pt x="11" y="11"/>
                      <a:pt x="11" y="11"/>
                    </a:cubicBezTo>
                    <a:cubicBezTo>
                      <a:pt x="13" y="13"/>
                      <a:pt x="13" y="13"/>
                      <a:pt x="13" y="13"/>
                    </a:cubicBezTo>
                    <a:cubicBezTo>
                      <a:pt x="6" y="15"/>
                      <a:pt x="6" y="15"/>
                      <a:pt x="6" y="15"/>
                    </a:cubicBezTo>
                    <a:cubicBezTo>
                      <a:pt x="5" y="15"/>
                      <a:pt x="4" y="16"/>
                      <a:pt x="2" y="16"/>
                    </a:cubicBezTo>
                    <a:cubicBezTo>
                      <a:pt x="1" y="16"/>
                      <a:pt x="0" y="16"/>
                      <a:pt x="0" y="16"/>
                    </a:cubicBezTo>
                    <a:cubicBezTo>
                      <a:pt x="0" y="17"/>
                      <a:pt x="0" y="19"/>
                      <a:pt x="0" y="19"/>
                    </a:cubicBezTo>
                    <a:cubicBezTo>
                      <a:pt x="1" y="20"/>
                      <a:pt x="1" y="20"/>
                      <a:pt x="1" y="20"/>
                    </a:cubicBezTo>
                    <a:cubicBezTo>
                      <a:pt x="2" y="22"/>
                      <a:pt x="6" y="26"/>
                      <a:pt x="7" y="27"/>
                    </a:cubicBezTo>
                    <a:cubicBezTo>
                      <a:pt x="9" y="27"/>
                      <a:pt x="9" y="28"/>
                      <a:pt x="10" y="29"/>
                    </a:cubicBezTo>
                    <a:cubicBezTo>
                      <a:pt x="11" y="29"/>
                      <a:pt x="11" y="30"/>
                      <a:pt x="11" y="30"/>
                    </a:cubicBezTo>
                    <a:cubicBezTo>
                      <a:pt x="11" y="30"/>
                      <a:pt x="11" y="30"/>
                      <a:pt x="11" y="30"/>
                    </a:cubicBezTo>
                    <a:cubicBezTo>
                      <a:pt x="12" y="31"/>
                      <a:pt x="12" y="31"/>
                      <a:pt x="12" y="31"/>
                    </a:cubicBezTo>
                    <a:cubicBezTo>
                      <a:pt x="12" y="31"/>
                      <a:pt x="13" y="32"/>
                      <a:pt x="13" y="33"/>
                    </a:cubicBezTo>
                    <a:cubicBezTo>
                      <a:pt x="14" y="35"/>
                      <a:pt x="14" y="37"/>
                      <a:pt x="14" y="39"/>
                    </a:cubicBezTo>
                    <a:cubicBezTo>
                      <a:pt x="14" y="39"/>
                      <a:pt x="14" y="40"/>
                      <a:pt x="14" y="40"/>
                    </a:cubicBezTo>
                    <a:cubicBezTo>
                      <a:pt x="15" y="39"/>
                      <a:pt x="15" y="39"/>
                      <a:pt x="15" y="38"/>
                    </a:cubicBezTo>
                    <a:cubicBezTo>
                      <a:pt x="16" y="37"/>
                      <a:pt x="17" y="36"/>
                      <a:pt x="18" y="35"/>
                    </a:cubicBezTo>
                    <a:cubicBezTo>
                      <a:pt x="18" y="34"/>
                      <a:pt x="18" y="34"/>
                      <a:pt x="19" y="34"/>
                    </a:cubicBezTo>
                    <a:cubicBezTo>
                      <a:pt x="19" y="33"/>
                      <a:pt x="20" y="33"/>
                      <a:pt x="21" y="32"/>
                    </a:cubicBezTo>
                    <a:cubicBezTo>
                      <a:pt x="21" y="32"/>
                      <a:pt x="21" y="32"/>
                      <a:pt x="21" y="32"/>
                    </a:cubicBezTo>
                    <a:cubicBezTo>
                      <a:pt x="20" y="24"/>
                      <a:pt x="20" y="24"/>
                      <a:pt x="20" y="24"/>
                    </a:cubicBezTo>
                    <a:cubicBezTo>
                      <a:pt x="23" y="31"/>
                      <a:pt x="23" y="31"/>
                      <a:pt x="23" y="31"/>
                    </a:cubicBezTo>
                    <a:cubicBezTo>
                      <a:pt x="24" y="31"/>
                      <a:pt x="24" y="31"/>
                      <a:pt x="24" y="31"/>
                    </a:cubicBezTo>
                    <a:cubicBezTo>
                      <a:pt x="24" y="31"/>
                      <a:pt x="24" y="31"/>
                      <a:pt x="24" y="31"/>
                    </a:cubicBezTo>
                    <a:cubicBezTo>
                      <a:pt x="24" y="31"/>
                      <a:pt x="25" y="31"/>
                      <a:pt x="25" y="31"/>
                    </a:cubicBezTo>
                    <a:cubicBezTo>
                      <a:pt x="27" y="32"/>
                      <a:pt x="28" y="32"/>
                      <a:pt x="29" y="33"/>
                    </a:cubicBezTo>
                    <a:cubicBezTo>
                      <a:pt x="30" y="33"/>
                      <a:pt x="30" y="33"/>
                      <a:pt x="30" y="33"/>
                    </a:cubicBezTo>
                    <a:cubicBezTo>
                      <a:pt x="30" y="32"/>
                      <a:pt x="31" y="30"/>
                      <a:pt x="33" y="29"/>
                    </a:cubicBezTo>
                    <a:cubicBezTo>
                      <a:pt x="34" y="29"/>
                      <a:pt x="35" y="29"/>
                      <a:pt x="36" y="28"/>
                    </a:cubicBezTo>
                    <a:cubicBezTo>
                      <a:pt x="37" y="28"/>
                      <a:pt x="37" y="28"/>
                      <a:pt x="37" y="28"/>
                    </a:cubicBezTo>
                    <a:cubicBezTo>
                      <a:pt x="37" y="27"/>
                      <a:pt x="37" y="27"/>
                      <a:pt x="37" y="27"/>
                    </a:cubicBezTo>
                    <a:cubicBezTo>
                      <a:pt x="37" y="27"/>
                      <a:pt x="38" y="26"/>
                      <a:pt x="39" y="25"/>
                    </a:cubicBezTo>
                    <a:cubicBezTo>
                      <a:pt x="40" y="23"/>
                      <a:pt x="41" y="21"/>
                      <a:pt x="41" y="20"/>
                    </a:cubicBezTo>
                    <a:cubicBezTo>
                      <a:pt x="41" y="20"/>
                      <a:pt x="41" y="20"/>
                      <a:pt x="41" y="20"/>
                    </a:cubicBezTo>
                    <a:cubicBezTo>
                      <a:pt x="39" y="20"/>
                      <a:pt x="36" y="19"/>
                      <a:pt x="34" y="16"/>
                    </a:cubicBezTo>
                    <a:cubicBezTo>
                      <a:pt x="33" y="15"/>
                      <a:pt x="33" y="13"/>
                      <a:pt x="33" y="12"/>
                    </a:cubicBezTo>
                    <a:cubicBezTo>
                      <a:pt x="32" y="12"/>
                      <a:pt x="32" y="12"/>
                      <a:pt x="32" y="12"/>
                    </a:cubicBezTo>
                    <a:cubicBezTo>
                      <a:pt x="32" y="11"/>
                      <a:pt x="32" y="10"/>
                      <a:pt x="32" y="10"/>
                    </a:cubicBezTo>
                    <a:cubicBezTo>
                      <a:pt x="32" y="10"/>
                      <a:pt x="32" y="10"/>
                      <a:pt x="31" y="10"/>
                    </a:cubicBezTo>
                    <a:cubicBezTo>
                      <a:pt x="27" y="9"/>
                      <a:pt x="24" y="6"/>
                      <a:pt x="24" y="1"/>
                    </a:cubicBezTo>
                    <a:cubicBezTo>
                      <a:pt x="23" y="1"/>
                      <a:pt x="23" y="1"/>
                      <a:pt x="21" y="0"/>
                    </a:cubicBezTo>
                    <a:cubicBezTo>
                      <a:pt x="21" y="0"/>
                      <a:pt x="20" y="0"/>
                      <a:pt x="19" y="0"/>
                    </a:cubicBezTo>
                    <a:cubicBezTo>
                      <a:pt x="18" y="0"/>
                      <a:pt x="18" y="0"/>
                      <a:pt x="18" y="0"/>
                    </a:cubicBezTo>
                    <a:cubicBezTo>
                      <a:pt x="18" y="0"/>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9" name="Freeform 297">
                <a:extLst>
                  <a:ext uri="{FF2B5EF4-FFF2-40B4-BE49-F238E27FC236}">
                    <a16:creationId xmlns:a16="http://schemas.microsoft.com/office/drawing/2014/main" id="{BAA3E2EB-8028-409A-AA3D-6F3FA3AE7BB1}"/>
                  </a:ext>
                </a:extLst>
              </p:cNvPr>
              <p:cNvSpPr>
                <a:spLocks/>
              </p:cNvSpPr>
              <p:nvPr/>
            </p:nvSpPr>
            <p:spPr bwMode="auto">
              <a:xfrm>
                <a:off x="6220475" y="4871724"/>
                <a:ext cx="202681" cy="140034"/>
              </a:xfrm>
              <a:custGeom>
                <a:avLst/>
                <a:gdLst>
                  <a:gd name="T0" fmla="*/ 41 w 64"/>
                  <a:gd name="T1" fmla="*/ 1 h 43"/>
                  <a:gd name="T2" fmla="*/ 33 w 64"/>
                  <a:gd name="T3" fmla="*/ 2 h 43"/>
                  <a:gd name="T4" fmla="*/ 29 w 64"/>
                  <a:gd name="T5" fmla="*/ 2 h 43"/>
                  <a:gd name="T6" fmla="*/ 26 w 64"/>
                  <a:gd name="T7" fmla="*/ 2 h 43"/>
                  <a:gd name="T8" fmla="*/ 24 w 64"/>
                  <a:gd name="T9" fmla="*/ 3 h 43"/>
                  <a:gd name="T10" fmla="*/ 18 w 64"/>
                  <a:gd name="T11" fmla="*/ 7 h 43"/>
                  <a:gd name="T12" fmla="*/ 11 w 64"/>
                  <a:gd name="T13" fmla="*/ 5 h 43"/>
                  <a:gd name="T14" fmla="*/ 10 w 64"/>
                  <a:gd name="T15" fmla="*/ 6 h 43"/>
                  <a:gd name="T16" fmla="*/ 8 w 64"/>
                  <a:gd name="T17" fmla="*/ 9 h 43"/>
                  <a:gd name="T18" fmla="*/ 4 w 64"/>
                  <a:gd name="T19" fmla="*/ 15 h 43"/>
                  <a:gd name="T20" fmla="*/ 1 w 64"/>
                  <a:gd name="T21" fmla="*/ 17 h 43"/>
                  <a:gd name="T22" fmla="*/ 1 w 64"/>
                  <a:gd name="T23" fmla="*/ 21 h 43"/>
                  <a:gd name="T24" fmla="*/ 1 w 64"/>
                  <a:gd name="T25" fmla="*/ 27 h 43"/>
                  <a:gd name="T26" fmla="*/ 0 w 64"/>
                  <a:gd name="T27" fmla="*/ 32 h 43"/>
                  <a:gd name="T28" fmla="*/ 3 w 64"/>
                  <a:gd name="T29" fmla="*/ 36 h 43"/>
                  <a:gd name="T30" fmla="*/ 7 w 64"/>
                  <a:gd name="T31" fmla="*/ 40 h 43"/>
                  <a:gd name="T32" fmla="*/ 10 w 64"/>
                  <a:gd name="T33" fmla="*/ 42 h 43"/>
                  <a:gd name="T34" fmla="*/ 11 w 64"/>
                  <a:gd name="T35" fmla="*/ 42 h 43"/>
                  <a:gd name="T36" fmla="*/ 13 w 64"/>
                  <a:gd name="T37" fmla="*/ 42 h 43"/>
                  <a:gd name="T38" fmla="*/ 16 w 64"/>
                  <a:gd name="T39" fmla="*/ 42 h 43"/>
                  <a:gd name="T40" fmla="*/ 22 w 64"/>
                  <a:gd name="T41" fmla="*/ 41 h 43"/>
                  <a:gd name="T42" fmla="*/ 28 w 64"/>
                  <a:gd name="T43" fmla="*/ 40 h 43"/>
                  <a:gd name="T44" fmla="*/ 31 w 64"/>
                  <a:gd name="T45" fmla="*/ 39 h 43"/>
                  <a:gd name="T46" fmla="*/ 33 w 64"/>
                  <a:gd name="T47" fmla="*/ 36 h 43"/>
                  <a:gd name="T48" fmla="*/ 43 w 64"/>
                  <a:gd name="T49" fmla="*/ 32 h 43"/>
                  <a:gd name="T50" fmla="*/ 49 w 64"/>
                  <a:gd name="T51" fmla="*/ 33 h 43"/>
                  <a:gd name="T52" fmla="*/ 52 w 64"/>
                  <a:gd name="T53" fmla="*/ 33 h 43"/>
                  <a:gd name="T54" fmla="*/ 55 w 64"/>
                  <a:gd name="T55" fmla="*/ 32 h 43"/>
                  <a:gd name="T56" fmla="*/ 57 w 64"/>
                  <a:gd name="T57" fmla="*/ 29 h 43"/>
                  <a:gd name="T58" fmla="*/ 60 w 64"/>
                  <a:gd name="T59" fmla="*/ 26 h 43"/>
                  <a:gd name="T60" fmla="*/ 62 w 64"/>
                  <a:gd name="T61" fmla="*/ 25 h 43"/>
                  <a:gd name="T62" fmla="*/ 64 w 64"/>
                  <a:gd name="T63" fmla="*/ 17 h 43"/>
                  <a:gd name="T64" fmla="*/ 64 w 64"/>
                  <a:gd name="T65" fmla="*/ 17 h 43"/>
                  <a:gd name="T66" fmla="*/ 56 w 64"/>
                  <a:gd name="T67" fmla="*/ 9 h 43"/>
                  <a:gd name="T68" fmla="*/ 55 w 64"/>
                  <a:gd name="T69" fmla="*/ 7 h 43"/>
                  <a:gd name="T70" fmla="*/ 55 w 64"/>
                  <a:gd name="T71" fmla="*/ 7 h 43"/>
                  <a:gd name="T72" fmla="*/ 47 w 64"/>
                  <a:gd name="T7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43">
                    <a:moveTo>
                      <a:pt x="47" y="0"/>
                    </a:moveTo>
                    <a:cubicBezTo>
                      <a:pt x="41" y="1"/>
                      <a:pt x="41" y="1"/>
                      <a:pt x="41" y="1"/>
                    </a:cubicBezTo>
                    <a:cubicBezTo>
                      <a:pt x="42" y="0"/>
                      <a:pt x="42" y="0"/>
                      <a:pt x="42" y="0"/>
                    </a:cubicBezTo>
                    <a:cubicBezTo>
                      <a:pt x="39" y="1"/>
                      <a:pt x="36" y="1"/>
                      <a:pt x="33" y="2"/>
                    </a:cubicBezTo>
                    <a:cubicBezTo>
                      <a:pt x="30" y="2"/>
                      <a:pt x="30" y="2"/>
                      <a:pt x="30" y="2"/>
                    </a:cubicBezTo>
                    <a:cubicBezTo>
                      <a:pt x="29" y="2"/>
                      <a:pt x="29" y="2"/>
                      <a:pt x="29" y="2"/>
                    </a:cubicBezTo>
                    <a:cubicBezTo>
                      <a:pt x="29" y="2"/>
                      <a:pt x="29" y="2"/>
                      <a:pt x="29" y="2"/>
                    </a:cubicBezTo>
                    <a:cubicBezTo>
                      <a:pt x="26" y="2"/>
                      <a:pt x="26" y="2"/>
                      <a:pt x="26" y="2"/>
                    </a:cubicBezTo>
                    <a:cubicBezTo>
                      <a:pt x="25" y="2"/>
                      <a:pt x="25" y="2"/>
                      <a:pt x="25" y="2"/>
                    </a:cubicBezTo>
                    <a:cubicBezTo>
                      <a:pt x="24" y="2"/>
                      <a:pt x="24" y="2"/>
                      <a:pt x="24" y="3"/>
                    </a:cubicBezTo>
                    <a:cubicBezTo>
                      <a:pt x="23" y="4"/>
                      <a:pt x="23" y="6"/>
                      <a:pt x="21" y="7"/>
                    </a:cubicBezTo>
                    <a:cubicBezTo>
                      <a:pt x="20" y="7"/>
                      <a:pt x="19" y="7"/>
                      <a:pt x="18" y="7"/>
                    </a:cubicBezTo>
                    <a:cubicBezTo>
                      <a:pt x="16" y="7"/>
                      <a:pt x="15" y="7"/>
                      <a:pt x="14" y="6"/>
                    </a:cubicBezTo>
                    <a:cubicBezTo>
                      <a:pt x="13" y="6"/>
                      <a:pt x="12" y="6"/>
                      <a:pt x="11" y="5"/>
                    </a:cubicBezTo>
                    <a:cubicBezTo>
                      <a:pt x="11" y="6"/>
                      <a:pt x="11" y="6"/>
                      <a:pt x="11" y="6"/>
                    </a:cubicBezTo>
                    <a:cubicBezTo>
                      <a:pt x="10" y="6"/>
                      <a:pt x="10" y="6"/>
                      <a:pt x="10" y="6"/>
                    </a:cubicBezTo>
                    <a:cubicBezTo>
                      <a:pt x="10" y="6"/>
                      <a:pt x="10" y="6"/>
                      <a:pt x="10" y="6"/>
                    </a:cubicBezTo>
                    <a:cubicBezTo>
                      <a:pt x="9" y="7"/>
                      <a:pt x="9" y="8"/>
                      <a:pt x="8" y="9"/>
                    </a:cubicBezTo>
                    <a:cubicBezTo>
                      <a:pt x="8" y="10"/>
                      <a:pt x="7" y="11"/>
                      <a:pt x="7" y="12"/>
                    </a:cubicBezTo>
                    <a:cubicBezTo>
                      <a:pt x="6" y="13"/>
                      <a:pt x="5" y="14"/>
                      <a:pt x="4" y="15"/>
                    </a:cubicBezTo>
                    <a:cubicBezTo>
                      <a:pt x="3" y="15"/>
                      <a:pt x="2" y="16"/>
                      <a:pt x="1" y="16"/>
                    </a:cubicBezTo>
                    <a:cubicBezTo>
                      <a:pt x="1" y="17"/>
                      <a:pt x="1" y="17"/>
                      <a:pt x="1" y="17"/>
                    </a:cubicBezTo>
                    <a:cubicBezTo>
                      <a:pt x="1" y="17"/>
                      <a:pt x="1" y="17"/>
                      <a:pt x="1" y="18"/>
                    </a:cubicBezTo>
                    <a:cubicBezTo>
                      <a:pt x="1" y="19"/>
                      <a:pt x="1" y="20"/>
                      <a:pt x="1" y="21"/>
                    </a:cubicBezTo>
                    <a:cubicBezTo>
                      <a:pt x="0" y="24"/>
                      <a:pt x="0" y="24"/>
                      <a:pt x="0" y="24"/>
                    </a:cubicBezTo>
                    <a:cubicBezTo>
                      <a:pt x="0" y="25"/>
                      <a:pt x="1" y="26"/>
                      <a:pt x="1" y="27"/>
                    </a:cubicBezTo>
                    <a:cubicBezTo>
                      <a:pt x="1" y="29"/>
                      <a:pt x="1" y="30"/>
                      <a:pt x="0" y="31"/>
                    </a:cubicBezTo>
                    <a:cubicBezTo>
                      <a:pt x="0" y="32"/>
                      <a:pt x="0" y="32"/>
                      <a:pt x="0" y="32"/>
                    </a:cubicBezTo>
                    <a:cubicBezTo>
                      <a:pt x="0" y="33"/>
                      <a:pt x="1" y="34"/>
                      <a:pt x="1" y="34"/>
                    </a:cubicBezTo>
                    <a:cubicBezTo>
                      <a:pt x="2" y="35"/>
                      <a:pt x="2" y="35"/>
                      <a:pt x="3" y="36"/>
                    </a:cubicBezTo>
                    <a:cubicBezTo>
                      <a:pt x="4" y="37"/>
                      <a:pt x="5" y="38"/>
                      <a:pt x="6" y="40"/>
                    </a:cubicBezTo>
                    <a:cubicBezTo>
                      <a:pt x="7" y="40"/>
                      <a:pt x="7" y="40"/>
                      <a:pt x="7" y="40"/>
                    </a:cubicBezTo>
                    <a:cubicBezTo>
                      <a:pt x="8" y="40"/>
                      <a:pt x="9" y="41"/>
                      <a:pt x="10" y="41"/>
                    </a:cubicBezTo>
                    <a:cubicBezTo>
                      <a:pt x="10" y="42"/>
                      <a:pt x="10" y="42"/>
                      <a:pt x="10" y="42"/>
                    </a:cubicBezTo>
                    <a:cubicBezTo>
                      <a:pt x="10" y="42"/>
                      <a:pt x="10" y="42"/>
                      <a:pt x="10" y="42"/>
                    </a:cubicBezTo>
                    <a:cubicBezTo>
                      <a:pt x="11" y="42"/>
                      <a:pt x="11" y="42"/>
                      <a:pt x="11" y="42"/>
                    </a:cubicBezTo>
                    <a:cubicBezTo>
                      <a:pt x="11" y="43"/>
                      <a:pt x="11" y="43"/>
                      <a:pt x="11" y="43"/>
                    </a:cubicBezTo>
                    <a:cubicBezTo>
                      <a:pt x="11" y="42"/>
                      <a:pt x="12" y="42"/>
                      <a:pt x="13" y="42"/>
                    </a:cubicBezTo>
                    <a:cubicBezTo>
                      <a:pt x="13" y="42"/>
                      <a:pt x="14" y="42"/>
                      <a:pt x="14" y="42"/>
                    </a:cubicBezTo>
                    <a:cubicBezTo>
                      <a:pt x="16" y="42"/>
                      <a:pt x="16" y="42"/>
                      <a:pt x="16" y="42"/>
                    </a:cubicBezTo>
                    <a:cubicBezTo>
                      <a:pt x="17" y="42"/>
                      <a:pt x="17" y="42"/>
                      <a:pt x="18" y="42"/>
                    </a:cubicBezTo>
                    <a:cubicBezTo>
                      <a:pt x="22" y="41"/>
                      <a:pt x="22" y="41"/>
                      <a:pt x="22" y="41"/>
                    </a:cubicBezTo>
                    <a:cubicBezTo>
                      <a:pt x="23" y="41"/>
                      <a:pt x="25" y="41"/>
                      <a:pt x="26" y="40"/>
                    </a:cubicBezTo>
                    <a:cubicBezTo>
                      <a:pt x="27" y="40"/>
                      <a:pt x="27" y="40"/>
                      <a:pt x="28" y="40"/>
                    </a:cubicBezTo>
                    <a:cubicBezTo>
                      <a:pt x="31" y="40"/>
                      <a:pt x="31" y="40"/>
                      <a:pt x="31" y="40"/>
                    </a:cubicBezTo>
                    <a:cubicBezTo>
                      <a:pt x="31" y="39"/>
                      <a:pt x="31" y="39"/>
                      <a:pt x="31" y="39"/>
                    </a:cubicBezTo>
                    <a:cubicBezTo>
                      <a:pt x="31" y="39"/>
                      <a:pt x="31" y="39"/>
                      <a:pt x="31" y="39"/>
                    </a:cubicBezTo>
                    <a:cubicBezTo>
                      <a:pt x="32" y="38"/>
                      <a:pt x="32" y="37"/>
                      <a:pt x="33" y="36"/>
                    </a:cubicBezTo>
                    <a:cubicBezTo>
                      <a:pt x="35" y="34"/>
                      <a:pt x="37" y="33"/>
                      <a:pt x="39" y="33"/>
                    </a:cubicBezTo>
                    <a:cubicBezTo>
                      <a:pt x="40" y="33"/>
                      <a:pt x="42" y="32"/>
                      <a:pt x="43" y="32"/>
                    </a:cubicBezTo>
                    <a:cubicBezTo>
                      <a:pt x="44" y="32"/>
                      <a:pt x="44" y="32"/>
                      <a:pt x="45" y="32"/>
                    </a:cubicBezTo>
                    <a:cubicBezTo>
                      <a:pt x="46" y="32"/>
                      <a:pt x="48" y="32"/>
                      <a:pt x="49" y="33"/>
                    </a:cubicBezTo>
                    <a:cubicBezTo>
                      <a:pt x="51" y="33"/>
                      <a:pt x="51" y="33"/>
                      <a:pt x="51" y="33"/>
                    </a:cubicBezTo>
                    <a:cubicBezTo>
                      <a:pt x="52" y="33"/>
                      <a:pt x="52" y="33"/>
                      <a:pt x="52" y="33"/>
                    </a:cubicBezTo>
                    <a:cubicBezTo>
                      <a:pt x="54" y="33"/>
                      <a:pt x="54" y="33"/>
                      <a:pt x="55" y="33"/>
                    </a:cubicBezTo>
                    <a:cubicBezTo>
                      <a:pt x="55" y="33"/>
                      <a:pt x="55" y="32"/>
                      <a:pt x="55" y="32"/>
                    </a:cubicBezTo>
                    <a:cubicBezTo>
                      <a:pt x="56" y="31"/>
                      <a:pt x="56" y="31"/>
                      <a:pt x="56" y="31"/>
                    </a:cubicBezTo>
                    <a:cubicBezTo>
                      <a:pt x="56" y="30"/>
                      <a:pt x="57" y="29"/>
                      <a:pt x="57" y="29"/>
                    </a:cubicBezTo>
                    <a:cubicBezTo>
                      <a:pt x="58" y="27"/>
                      <a:pt x="59" y="27"/>
                      <a:pt x="60" y="26"/>
                    </a:cubicBezTo>
                    <a:cubicBezTo>
                      <a:pt x="60" y="26"/>
                      <a:pt x="60" y="26"/>
                      <a:pt x="60" y="26"/>
                    </a:cubicBezTo>
                    <a:cubicBezTo>
                      <a:pt x="62" y="26"/>
                      <a:pt x="62" y="26"/>
                      <a:pt x="62" y="26"/>
                    </a:cubicBezTo>
                    <a:cubicBezTo>
                      <a:pt x="62" y="25"/>
                      <a:pt x="62" y="25"/>
                      <a:pt x="62" y="25"/>
                    </a:cubicBezTo>
                    <a:cubicBezTo>
                      <a:pt x="63" y="23"/>
                      <a:pt x="64" y="18"/>
                      <a:pt x="64" y="18"/>
                    </a:cubicBezTo>
                    <a:cubicBezTo>
                      <a:pt x="64" y="17"/>
                      <a:pt x="64" y="17"/>
                      <a:pt x="64" y="17"/>
                    </a:cubicBezTo>
                    <a:cubicBezTo>
                      <a:pt x="64" y="17"/>
                      <a:pt x="64" y="17"/>
                      <a:pt x="64" y="17"/>
                    </a:cubicBezTo>
                    <a:cubicBezTo>
                      <a:pt x="64" y="17"/>
                      <a:pt x="64" y="17"/>
                      <a:pt x="64" y="17"/>
                    </a:cubicBezTo>
                    <a:cubicBezTo>
                      <a:pt x="64" y="17"/>
                      <a:pt x="63" y="15"/>
                      <a:pt x="57" y="9"/>
                    </a:cubicBezTo>
                    <a:cubicBezTo>
                      <a:pt x="56" y="9"/>
                      <a:pt x="56" y="9"/>
                      <a:pt x="56" y="9"/>
                    </a:cubicBezTo>
                    <a:cubicBezTo>
                      <a:pt x="52" y="13"/>
                      <a:pt x="52" y="13"/>
                      <a:pt x="52" y="13"/>
                    </a:cubicBezTo>
                    <a:cubicBezTo>
                      <a:pt x="55" y="7"/>
                      <a:pt x="55" y="7"/>
                      <a:pt x="55" y="7"/>
                    </a:cubicBezTo>
                    <a:cubicBezTo>
                      <a:pt x="55" y="7"/>
                      <a:pt x="55" y="7"/>
                      <a:pt x="55" y="7"/>
                    </a:cubicBezTo>
                    <a:cubicBezTo>
                      <a:pt x="55" y="7"/>
                      <a:pt x="55" y="7"/>
                      <a:pt x="55" y="7"/>
                    </a:cubicBezTo>
                    <a:cubicBezTo>
                      <a:pt x="54" y="6"/>
                      <a:pt x="54" y="6"/>
                      <a:pt x="54" y="6"/>
                    </a:cubicBezTo>
                    <a:cubicBezTo>
                      <a:pt x="51" y="4"/>
                      <a:pt x="49" y="2"/>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0" name="Freeform 298">
                <a:extLst>
                  <a:ext uri="{FF2B5EF4-FFF2-40B4-BE49-F238E27FC236}">
                    <a16:creationId xmlns:a16="http://schemas.microsoft.com/office/drawing/2014/main" id="{75D276CB-F75A-4DED-A89B-C36B375A2E17}"/>
                  </a:ext>
                </a:extLst>
              </p:cNvPr>
              <p:cNvSpPr>
                <a:spLocks/>
              </p:cNvSpPr>
              <p:nvPr/>
            </p:nvSpPr>
            <p:spPr bwMode="auto">
              <a:xfrm>
                <a:off x="6172569" y="4938056"/>
                <a:ext cx="574878" cy="552767"/>
              </a:xfrm>
              <a:custGeom>
                <a:avLst/>
                <a:gdLst>
                  <a:gd name="T0" fmla="*/ 174 w 182"/>
                  <a:gd name="T1" fmla="*/ 10 h 174"/>
                  <a:gd name="T2" fmla="*/ 154 w 182"/>
                  <a:gd name="T3" fmla="*/ 15 h 174"/>
                  <a:gd name="T4" fmla="*/ 145 w 182"/>
                  <a:gd name="T5" fmla="*/ 15 h 174"/>
                  <a:gd name="T6" fmla="*/ 139 w 182"/>
                  <a:gd name="T7" fmla="*/ 14 h 174"/>
                  <a:gd name="T8" fmla="*/ 125 w 182"/>
                  <a:gd name="T9" fmla="*/ 5 h 174"/>
                  <a:gd name="T10" fmla="*/ 118 w 182"/>
                  <a:gd name="T11" fmla="*/ 6 h 174"/>
                  <a:gd name="T12" fmla="*/ 100 w 182"/>
                  <a:gd name="T13" fmla="*/ 12 h 174"/>
                  <a:gd name="T14" fmla="*/ 78 w 182"/>
                  <a:gd name="T15" fmla="*/ 13 h 174"/>
                  <a:gd name="T16" fmla="*/ 65 w 182"/>
                  <a:gd name="T17" fmla="*/ 20 h 174"/>
                  <a:gd name="T18" fmla="*/ 59 w 182"/>
                  <a:gd name="T19" fmla="*/ 19 h 174"/>
                  <a:gd name="T20" fmla="*/ 53 w 182"/>
                  <a:gd name="T21" fmla="*/ 22 h 174"/>
                  <a:gd name="T22" fmla="*/ 46 w 182"/>
                  <a:gd name="T23" fmla="*/ 27 h 174"/>
                  <a:gd name="T24" fmla="*/ 34 w 182"/>
                  <a:gd name="T25" fmla="*/ 28 h 174"/>
                  <a:gd name="T26" fmla="*/ 28 w 182"/>
                  <a:gd name="T27" fmla="*/ 29 h 174"/>
                  <a:gd name="T28" fmla="*/ 20 w 182"/>
                  <a:gd name="T29" fmla="*/ 48 h 174"/>
                  <a:gd name="T30" fmla="*/ 12 w 182"/>
                  <a:gd name="T31" fmla="*/ 56 h 174"/>
                  <a:gd name="T32" fmla="*/ 10 w 182"/>
                  <a:gd name="T33" fmla="*/ 56 h 174"/>
                  <a:gd name="T34" fmla="*/ 14 w 182"/>
                  <a:gd name="T35" fmla="*/ 67 h 174"/>
                  <a:gd name="T36" fmla="*/ 3 w 182"/>
                  <a:gd name="T37" fmla="*/ 70 h 174"/>
                  <a:gd name="T38" fmla="*/ 17 w 182"/>
                  <a:gd name="T39" fmla="*/ 86 h 174"/>
                  <a:gd name="T40" fmla="*/ 28 w 182"/>
                  <a:gd name="T41" fmla="*/ 89 h 174"/>
                  <a:gd name="T42" fmla="*/ 23 w 182"/>
                  <a:gd name="T43" fmla="*/ 90 h 174"/>
                  <a:gd name="T44" fmla="*/ 19 w 182"/>
                  <a:gd name="T45" fmla="*/ 93 h 174"/>
                  <a:gd name="T46" fmla="*/ 27 w 182"/>
                  <a:gd name="T47" fmla="*/ 107 h 174"/>
                  <a:gd name="T48" fmla="*/ 39 w 182"/>
                  <a:gd name="T49" fmla="*/ 111 h 174"/>
                  <a:gd name="T50" fmla="*/ 64 w 182"/>
                  <a:gd name="T51" fmla="*/ 109 h 174"/>
                  <a:gd name="T52" fmla="*/ 88 w 182"/>
                  <a:gd name="T53" fmla="*/ 116 h 174"/>
                  <a:gd name="T54" fmla="*/ 59 w 182"/>
                  <a:gd name="T55" fmla="*/ 114 h 174"/>
                  <a:gd name="T56" fmla="*/ 28 w 182"/>
                  <a:gd name="T57" fmla="*/ 124 h 174"/>
                  <a:gd name="T58" fmla="*/ 44 w 182"/>
                  <a:gd name="T59" fmla="*/ 156 h 174"/>
                  <a:gd name="T60" fmla="*/ 53 w 182"/>
                  <a:gd name="T61" fmla="*/ 154 h 174"/>
                  <a:gd name="T62" fmla="*/ 69 w 182"/>
                  <a:gd name="T63" fmla="*/ 164 h 174"/>
                  <a:gd name="T64" fmla="*/ 74 w 182"/>
                  <a:gd name="T65" fmla="*/ 137 h 174"/>
                  <a:gd name="T66" fmla="*/ 94 w 182"/>
                  <a:gd name="T67" fmla="*/ 136 h 174"/>
                  <a:gd name="T68" fmla="*/ 88 w 182"/>
                  <a:gd name="T69" fmla="*/ 135 h 174"/>
                  <a:gd name="T70" fmla="*/ 98 w 182"/>
                  <a:gd name="T71" fmla="*/ 120 h 174"/>
                  <a:gd name="T72" fmla="*/ 101 w 182"/>
                  <a:gd name="T73" fmla="*/ 123 h 174"/>
                  <a:gd name="T74" fmla="*/ 108 w 182"/>
                  <a:gd name="T75" fmla="*/ 130 h 174"/>
                  <a:gd name="T76" fmla="*/ 112 w 182"/>
                  <a:gd name="T77" fmla="*/ 117 h 174"/>
                  <a:gd name="T78" fmla="*/ 74 w 182"/>
                  <a:gd name="T79" fmla="*/ 94 h 174"/>
                  <a:gd name="T80" fmla="*/ 78 w 182"/>
                  <a:gd name="T81" fmla="*/ 83 h 174"/>
                  <a:gd name="T82" fmla="*/ 86 w 182"/>
                  <a:gd name="T83" fmla="*/ 84 h 174"/>
                  <a:gd name="T84" fmla="*/ 85 w 182"/>
                  <a:gd name="T85" fmla="*/ 85 h 174"/>
                  <a:gd name="T86" fmla="*/ 69 w 182"/>
                  <a:gd name="T87" fmla="*/ 49 h 174"/>
                  <a:gd name="T88" fmla="*/ 79 w 182"/>
                  <a:gd name="T89" fmla="*/ 33 h 174"/>
                  <a:gd name="T90" fmla="*/ 77 w 182"/>
                  <a:gd name="T91" fmla="*/ 38 h 174"/>
                  <a:gd name="T92" fmla="*/ 91 w 182"/>
                  <a:gd name="T93" fmla="*/ 51 h 174"/>
                  <a:gd name="T94" fmla="*/ 102 w 182"/>
                  <a:gd name="T95" fmla="*/ 57 h 174"/>
                  <a:gd name="T96" fmla="*/ 103 w 182"/>
                  <a:gd name="T97" fmla="*/ 50 h 174"/>
                  <a:gd name="T98" fmla="*/ 110 w 182"/>
                  <a:gd name="T99" fmla="*/ 56 h 174"/>
                  <a:gd name="T100" fmla="*/ 114 w 182"/>
                  <a:gd name="T101" fmla="*/ 45 h 174"/>
                  <a:gd name="T102" fmla="*/ 133 w 182"/>
                  <a:gd name="T103" fmla="*/ 25 h 174"/>
                  <a:gd name="T104" fmla="*/ 158 w 182"/>
                  <a:gd name="T105" fmla="*/ 26 h 174"/>
                  <a:gd name="T106" fmla="*/ 172 w 182"/>
                  <a:gd name="T107" fmla="*/ 21 h 174"/>
                  <a:gd name="T108" fmla="*/ 173 w 182"/>
                  <a:gd name="T109" fmla="*/ 17 h 174"/>
                  <a:gd name="T110" fmla="*/ 177 w 182"/>
                  <a:gd name="T111" fmla="*/ 8 h 174"/>
                  <a:gd name="T112" fmla="*/ 182 w 182"/>
                  <a:gd name="T113" fmla="*/ 4 h 174"/>
                  <a:gd name="T114" fmla="*/ 178 w 182"/>
                  <a:gd name="T115" fmla="*/ 1 h 174"/>
                  <a:gd name="T116" fmla="*/ 175 w 182"/>
                  <a:gd name="T11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174">
                    <a:moveTo>
                      <a:pt x="175" y="0"/>
                    </a:moveTo>
                    <a:cubicBezTo>
                      <a:pt x="175" y="3"/>
                      <a:pt x="175" y="5"/>
                      <a:pt x="175" y="7"/>
                    </a:cubicBezTo>
                    <a:cubicBezTo>
                      <a:pt x="174" y="8"/>
                      <a:pt x="174" y="8"/>
                      <a:pt x="174" y="8"/>
                    </a:cubicBezTo>
                    <a:cubicBezTo>
                      <a:pt x="174" y="10"/>
                      <a:pt x="174" y="10"/>
                      <a:pt x="174" y="10"/>
                    </a:cubicBezTo>
                    <a:cubicBezTo>
                      <a:pt x="172" y="12"/>
                      <a:pt x="168" y="13"/>
                      <a:pt x="165" y="14"/>
                    </a:cubicBezTo>
                    <a:cubicBezTo>
                      <a:pt x="163" y="14"/>
                      <a:pt x="161" y="15"/>
                      <a:pt x="158" y="15"/>
                    </a:cubicBezTo>
                    <a:cubicBezTo>
                      <a:pt x="156" y="15"/>
                      <a:pt x="156" y="15"/>
                      <a:pt x="156" y="15"/>
                    </a:cubicBezTo>
                    <a:cubicBezTo>
                      <a:pt x="155" y="15"/>
                      <a:pt x="155" y="15"/>
                      <a:pt x="154" y="15"/>
                    </a:cubicBezTo>
                    <a:cubicBezTo>
                      <a:pt x="149" y="15"/>
                      <a:pt x="149" y="15"/>
                      <a:pt x="149" y="15"/>
                    </a:cubicBezTo>
                    <a:cubicBezTo>
                      <a:pt x="149" y="16"/>
                      <a:pt x="148" y="16"/>
                      <a:pt x="148" y="16"/>
                    </a:cubicBezTo>
                    <a:cubicBezTo>
                      <a:pt x="147" y="15"/>
                      <a:pt x="147" y="15"/>
                      <a:pt x="147" y="15"/>
                    </a:cubicBezTo>
                    <a:cubicBezTo>
                      <a:pt x="146" y="15"/>
                      <a:pt x="145" y="15"/>
                      <a:pt x="145" y="15"/>
                    </a:cubicBezTo>
                    <a:cubicBezTo>
                      <a:pt x="143" y="15"/>
                      <a:pt x="143" y="15"/>
                      <a:pt x="143" y="15"/>
                    </a:cubicBezTo>
                    <a:cubicBezTo>
                      <a:pt x="143" y="14"/>
                      <a:pt x="143" y="14"/>
                      <a:pt x="143" y="14"/>
                    </a:cubicBezTo>
                    <a:cubicBezTo>
                      <a:pt x="142" y="14"/>
                      <a:pt x="141" y="14"/>
                      <a:pt x="140" y="14"/>
                    </a:cubicBezTo>
                    <a:cubicBezTo>
                      <a:pt x="139" y="14"/>
                      <a:pt x="139" y="14"/>
                      <a:pt x="139" y="14"/>
                    </a:cubicBezTo>
                    <a:cubicBezTo>
                      <a:pt x="138" y="13"/>
                      <a:pt x="138" y="13"/>
                      <a:pt x="137" y="13"/>
                    </a:cubicBezTo>
                    <a:cubicBezTo>
                      <a:pt x="134" y="13"/>
                      <a:pt x="132" y="12"/>
                      <a:pt x="129" y="10"/>
                    </a:cubicBezTo>
                    <a:cubicBezTo>
                      <a:pt x="128" y="8"/>
                      <a:pt x="128" y="8"/>
                      <a:pt x="128" y="8"/>
                    </a:cubicBezTo>
                    <a:cubicBezTo>
                      <a:pt x="127" y="7"/>
                      <a:pt x="125" y="6"/>
                      <a:pt x="125" y="5"/>
                    </a:cubicBezTo>
                    <a:cubicBezTo>
                      <a:pt x="124" y="5"/>
                      <a:pt x="124" y="5"/>
                      <a:pt x="124" y="5"/>
                    </a:cubicBezTo>
                    <a:cubicBezTo>
                      <a:pt x="124" y="5"/>
                      <a:pt x="124" y="5"/>
                      <a:pt x="123" y="5"/>
                    </a:cubicBezTo>
                    <a:cubicBezTo>
                      <a:pt x="122" y="5"/>
                      <a:pt x="121" y="5"/>
                      <a:pt x="120" y="6"/>
                    </a:cubicBezTo>
                    <a:cubicBezTo>
                      <a:pt x="118" y="6"/>
                      <a:pt x="118" y="6"/>
                      <a:pt x="118" y="6"/>
                    </a:cubicBezTo>
                    <a:cubicBezTo>
                      <a:pt x="115" y="6"/>
                      <a:pt x="113" y="7"/>
                      <a:pt x="110" y="8"/>
                    </a:cubicBezTo>
                    <a:cubicBezTo>
                      <a:pt x="106" y="10"/>
                      <a:pt x="106" y="10"/>
                      <a:pt x="106" y="10"/>
                    </a:cubicBezTo>
                    <a:cubicBezTo>
                      <a:pt x="104" y="10"/>
                      <a:pt x="103" y="11"/>
                      <a:pt x="101" y="11"/>
                    </a:cubicBezTo>
                    <a:cubicBezTo>
                      <a:pt x="100" y="12"/>
                      <a:pt x="100" y="12"/>
                      <a:pt x="100" y="12"/>
                    </a:cubicBezTo>
                    <a:cubicBezTo>
                      <a:pt x="96" y="12"/>
                      <a:pt x="91" y="13"/>
                      <a:pt x="87" y="13"/>
                    </a:cubicBezTo>
                    <a:cubicBezTo>
                      <a:pt x="85" y="13"/>
                      <a:pt x="85" y="13"/>
                      <a:pt x="85" y="13"/>
                    </a:cubicBezTo>
                    <a:cubicBezTo>
                      <a:pt x="84" y="13"/>
                      <a:pt x="82" y="13"/>
                      <a:pt x="80" y="13"/>
                    </a:cubicBezTo>
                    <a:cubicBezTo>
                      <a:pt x="78" y="13"/>
                      <a:pt x="78" y="13"/>
                      <a:pt x="78" y="13"/>
                    </a:cubicBezTo>
                    <a:cubicBezTo>
                      <a:pt x="77" y="14"/>
                      <a:pt x="77" y="14"/>
                      <a:pt x="77" y="15"/>
                    </a:cubicBezTo>
                    <a:cubicBezTo>
                      <a:pt x="76" y="16"/>
                      <a:pt x="75" y="17"/>
                      <a:pt x="75" y="17"/>
                    </a:cubicBezTo>
                    <a:cubicBezTo>
                      <a:pt x="73" y="19"/>
                      <a:pt x="71" y="20"/>
                      <a:pt x="67" y="20"/>
                    </a:cubicBezTo>
                    <a:cubicBezTo>
                      <a:pt x="67" y="20"/>
                      <a:pt x="66" y="20"/>
                      <a:pt x="65" y="20"/>
                    </a:cubicBezTo>
                    <a:cubicBezTo>
                      <a:pt x="62" y="19"/>
                      <a:pt x="62" y="19"/>
                      <a:pt x="62" y="19"/>
                    </a:cubicBezTo>
                    <a:cubicBezTo>
                      <a:pt x="62" y="19"/>
                      <a:pt x="60" y="19"/>
                      <a:pt x="60" y="19"/>
                    </a:cubicBezTo>
                    <a:cubicBezTo>
                      <a:pt x="60" y="19"/>
                      <a:pt x="60" y="19"/>
                      <a:pt x="59" y="19"/>
                    </a:cubicBezTo>
                    <a:cubicBezTo>
                      <a:pt x="59" y="19"/>
                      <a:pt x="59" y="19"/>
                      <a:pt x="59" y="19"/>
                    </a:cubicBezTo>
                    <a:cubicBezTo>
                      <a:pt x="58" y="19"/>
                      <a:pt x="57" y="19"/>
                      <a:pt x="56" y="20"/>
                    </a:cubicBezTo>
                    <a:cubicBezTo>
                      <a:pt x="54" y="20"/>
                      <a:pt x="54" y="20"/>
                      <a:pt x="54" y="20"/>
                    </a:cubicBezTo>
                    <a:cubicBezTo>
                      <a:pt x="53" y="21"/>
                      <a:pt x="53" y="21"/>
                      <a:pt x="53" y="21"/>
                    </a:cubicBezTo>
                    <a:cubicBezTo>
                      <a:pt x="53" y="21"/>
                      <a:pt x="53" y="22"/>
                      <a:pt x="53" y="22"/>
                    </a:cubicBezTo>
                    <a:cubicBezTo>
                      <a:pt x="52" y="23"/>
                      <a:pt x="52" y="23"/>
                      <a:pt x="52" y="24"/>
                    </a:cubicBezTo>
                    <a:cubicBezTo>
                      <a:pt x="51" y="25"/>
                      <a:pt x="51" y="25"/>
                      <a:pt x="51" y="25"/>
                    </a:cubicBezTo>
                    <a:cubicBezTo>
                      <a:pt x="50" y="26"/>
                      <a:pt x="49" y="27"/>
                      <a:pt x="48" y="27"/>
                    </a:cubicBezTo>
                    <a:cubicBezTo>
                      <a:pt x="47" y="27"/>
                      <a:pt x="46" y="27"/>
                      <a:pt x="46" y="27"/>
                    </a:cubicBezTo>
                    <a:cubicBezTo>
                      <a:pt x="43" y="27"/>
                      <a:pt x="43" y="27"/>
                      <a:pt x="43" y="27"/>
                    </a:cubicBezTo>
                    <a:cubicBezTo>
                      <a:pt x="42" y="27"/>
                      <a:pt x="42" y="27"/>
                      <a:pt x="42" y="27"/>
                    </a:cubicBezTo>
                    <a:cubicBezTo>
                      <a:pt x="40" y="27"/>
                      <a:pt x="39" y="28"/>
                      <a:pt x="38" y="28"/>
                    </a:cubicBezTo>
                    <a:cubicBezTo>
                      <a:pt x="34" y="28"/>
                      <a:pt x="34" y="28"/>
                      <a:pt x="34" y="28"/>
                    </a:cubicBezTo>
                    <a:cubicBezTo>
                      <a:pt x="34" y="28"/>
                      <a:pt x="33" y="29"/>
                      <a:pt x="32" y="29"/>
                    </a:cubicBezTo>
                    <a:cubicBezTo>
                      <a:pt x="32" y="29"/>
                      <a:pt x="31" y="29"/>
                      <a:pt x="31" y="29"/>
                    </a:cubicBezTo>
                    <a:cubicBezTo>
                      <a:pt x="30" y="29"/>
                      <a:pt x="29" y="29"/>
                      <a:pt x="28" y="29"/>
                    </a:cubicBezTo>
                    <a:cubicBezTo>
                      <a:pt x="28" y="29"/>
                      <a:pt x="28" y="29"/>
                      <a:pt x="28" y="29"/>
                    </a:cubicBezTo>
                    <a:cubicBezTo>
                      <a:pt x="28" y="30"/>
                      <a:pt x="28" y="30"/>
                      <a:pt x="28" y="30"/>
                    </a:cubicBezTo>
                    <a:cubicBezTo>
                      <a:pt x="31" y="35"/>
                      <a:pt x="28" y="38"/>
                      <a:pt x="25" y="40"/>
                    </a:cubicBezTo>
                    <a:cubicBezTo>
                      <a:pt x="24" y="40"/>
                      <a:pt x="23" y="41"/>
                      <a:pt x="22" y="42"/>
                    </a:cubicBezTo>
                    <a:cubicBezTo>
                      <a:pt x="21" y="43"/>
                      <a:pt x="20" y="46"/>
                      <a:pt x="20" y="48"/>
                    </a:cubicBezTo>
                    <a:cubicBezTo>
                      <a:pt x="19" y="48"/>
                      <a:pt x="19" y="48"/>
                      <a:pt x="19" y="48"/>
                    </a:cubicBezTo>
                    <a:cubicBezTo>
                      <a:pt x="19" y="50"/>
                      <a:pt x="18" y="51"/>
                      <a:pt x="18" y="52"/>
                    </a:cubicBezTo>
                    <a:cubicBezTo>
                      <a:pt x="18" y="53"/>
                      <a:pt x="18" y="53"/>
                      <a:pt x="18" y="53"/>
                    </a:cubicBezTo>
                    <a:cubicBezTo>
                      <a:pt x="16" y="55"/>
                      <a:pt x="14" y="56"/>
                      <a:pt x="12" y="56"/>
                    </a:cubicBezTo>
                    <a:cubicBezTo>
                      <a:pt x="12" y="56"/>
                      <a:pt x="12" y="56"/>
                      <a:pt x="11" y="56"/>
                    </a:cubicBezTo>
                    <a:cubicBezTo>
                      <a:pt x="11" y="55"/>
                      <a:pt x="11" y="55"/>
                      <a:pt x="11" y="55"/>
                    </a:cubicBezTo>
                    <a:cubicBezTo>
                      <a:pt x="11" y="55"/>
                      <a:pt x="11" y="55"/>
                      <a:pt x="11" y="55"/>
                    </a:cubicBezTo>
                    <a:cubicBezTo>
                      <a:pt x="11" y="55"/>
                      <a:pt x="11" y="56"/>
                      <a:pt x="10" y="56"/>
                    </a:cubicBezTo>
                    <a:cubicBezTo>
                      <a:pt x="10" y="56"/>
                      <a:pt x="10" y="56"/>
                      <a:pt x="10" y="56"/>
                    </a:cubicBezTo>
                    <a:cubicBezTo>
                      <a:pt x="10" y="57"/>
                      <a:pt x="11" y="58"/>
                      <a:pt x="11" y="59"/>
                    </a:cubicBezTo>
                    <a:cubicBezTo>
                      <a:pt x="11" y="59"/>
                      <a:pt x="11" y="59"/>
                      <a:pt x="11" y="60"/>
                    </a:cubicBezTo>
                    <a:cubicBezTo>
                      <a:pt x="14" y="67"/>
                      <a:pt x="14" y="67"/>
                      <a:pt x="14" y="67"/>
                    </a:cubicBezTo>
                    <a:cubicBezTo>
                      <a:pt x="8" y="65"/>
                      <a:pt x="8" y="65"/>
                      <a:pt x="8" y="65"/>
                    </a:cubicBezTo>
                    <a:cubicBezTo>
                      <a:pt x="8" y="65"/>
                      <a:pt x="8" y="65"/>
                      <a:pt x="8" y="65"/>
                    </a:cubicBezTo>
                    <a:cubicBezTo>
                      <a:pt x="7" y="67"/>
                      <a:pt x="7" y="68"/>
                      <a:pt x="5" y="69"/>
                    </a:cubicBezTo>
                    <a:cubicBezTo>
                      <a:pt x="5" y="69"/>
                      <a:pt x="4" y="69"/>
                      <a:pt x="3" y="70"/>
                    </a:cubicBezTo>
                    <a:cubicBezTo>
                      <a:pt x="2" y="70"/>
                      <a:pt x="2" y="70"/>
                      <a:pt x="2" y="70"/>
                    </a:cubicBezTo>
                    <a:cubicBezTo>
                      <a:pt x="1" y="70"/>
                      <a:pt x="1" y="69"/>
                      <a:pt x="0" y="69"/>
                    </a:cubicBezTo>
                    <a:cubicBezTo>
                      <a:pt x="2" y="72"/>
                      <a:pt x="3" y="75"/>
                      <a:pt x="6" y="78"/>
                    </a:cubicBezTo>
                    <a:cubicBezTo>
                      <a:pt x="9" y="81"/>
                      <a:pt x="14" y="83"/>
                      <a:pt x="17" y="86"/>
                    </a:cubicBezTo>
                    <a:cubicBezTo>
                      <a:pt x="17" y="87"/>
                      <a:pt x="17" y="89"/>
                      <a:pt x="17" y="90"/>
                    </a:cubicBezTo>
                    <a:cubicBezTo>
                      <a:pt x="18" y="88"/>
                      <a:pt x="19" y="84"/>
                      <a:pt x="21" y="84"/>
                    </a:cubicBezTo>
                    <a:cubicBezTo>
                      <a:pt x="21" y="84"/>
                      <a:pt x="21" y="84"/>
                      <a:pt x="21" y="85"/>
                    </a:cubicBezTo>
                    <a:cubicBezTo>
                      <a:pt x="24" y="85"/>
                      <a:pt x="28" y="85"/>
                      <a:pt x="28" y="89"/>
                    </a:cubicBezTo>
                    <a:cubicBezTo>
                      <a:pt x="28" y="90"/>
                      <a:pt x="28" y="91"/>
                      <a:pt x="27" y="92"/>
                    </a:cubicBezTo>
                    <a:cubicBezTo>
                      <a:pt x="26" y="92"/>
                      <a:pt x="25" y="90"/>
                      <a:pt x="23" y="90"/>
                    </a:cubicBezTo>
                    <a:cubicBezTo>
                      <a:pt x="23" y="90"/>
                      <a:pt x="23" y="90"/>
                      <a:pt x="23" y="90"/>
                    </a:cubicBezTo>
                    <a:cubicBezTo>
                      <a:pt x="23" y="90"/>
                      <a:pt x="23" y="90"/>
                      <a:pt x="23" y="90"/>
                    </a:cubicBezTo>
                    <a:cubicBezTo>
                      <a:pt x="22" y="90"/>
                      <a:pt x="22" y="91"/>
                      <a:pt x="22" y="91"/>
                    </a:cubicBezTo>
                    <a:cubicBezTo>
                      <a:pt x="22" y="91"/>
                      <a:pt x="22" y="91"/>
                      <a:pt x="22" y="91"/>
                    </a:cubicBezTo>
                    <a:cubicBezTo>
                      <a:pt x="21" y="91"/>
                      <a:pt x="20" y="90"/>
                      <a:pt x="19" y="90"/>
                    </a:cubicBezTo>
                    <a:cubicBezTo>
                      <a:pt x="18" y="90"/>
                      <a:pt x="17" y="91"/>
                      <a:pt x="19" y="93"/>
                    </a:cubicBezTo>
                    <a:cubicBezTo>
                      <a:pt x="16" y="93"/>
                      <a:pt x="18" y="95"/>
                      <a:pt x="19" y="96"/>
                    </a:cubicBezTo>
                    <a:cubicBezTo>
                      <a:pt x="21" y="99"/>
                      <a:pt x="24" y="101"/>
                      <a:pt x="26" y="103"/>
                    </a:cubicBezTo>
                    <a:cubicBezTo>
                      <a:pt x="26" y="105"/>
                      <a:pt x="27" y="106"/>
                      <a:pt x="28" y="107"/>
                    </a:cubicBezTo>
                    <a:cubicBezTo>
                      <a:pt x="27" y="107"/>
                      <a:pt x="27" y="107"/>
                      <a:pt x="27" y="107"/>
                    </a:cubicBezTo>
                    <a:cubicBezTo>
                      <a:pt x="28" y="108"/>
                      <a:pt x="28" y="109"/>
                      <a:pt x="28" y="110"/>
                    </a:cubicBezTo>
                    <a:cubicBezTo>
                      <a:pt x="30" y="109"/>
                      <a:pt x="32" y="107"/>
                      <a:pt x="35" y="106"/>
                    </a:cubicBezTo>
                    <a:cubicBezTo>
                      <a:pt x="34" y="106"/>
                      <a:pt x="34" y="105"/>
                      <a:pt x="34" y="105"/>
                    </a:cubicBezTo>
                    <a:cubicBezTo>
                      <a:pt x="35" y="106"/>
                      <a:pt x="39" y="110"/>
                      <a:pt x="39" y="111"/>
                    </a:cubicBezTo>
                    <a:cubicBezTo>
                      <a:pt x="42" y="111"/>
                      <a:pt x="46" y="110"/>
                      <a:pt x="49" y="109"/>
                    </a:cubicBezTo>
                    <a:cubicBezTo>
                      <a:pt x="50" y="109"/>
                      <a:pt x="52" y="109"/>
                      <a:pt x="53" y="109"/>
                    </a:cubicBezTo>
                    <a:cubicBezTo>
                      <a:pt x="56" y="109"/>
                      <a:pt x="60" y="109"/>
                      <a:pt x="62" y="109"/>
                    </a:cubicBezTo>
                    <a:cubicBezTo>
                      <a:pt x="63" y="109"/>
                      <a:pt x="64" y="109"/>
                      <a:pt x="64" y="109"/>
                    </a:cubicBezTo>
                    <a:cubicBezTo>
                      <a:pt x="64" y="109"/>
                      <a:pt x="65" y="109"/>
                      <a:pt x="65" y="109"/>
                    </a:cubicBezTo>
                    <a:cubicBezTo>
                      <a:pt x="65" y="109"/>
                      <a:pt x="66" y="109"/>
                      <a:pt x="66" y="109"/>
                    </a:cubicBezTo>
                    <a:cubicBezTo>
                      <a:pt x="69" y="109"/>
                      <a:pt x="71" y="109"/>
                      <a:pt x="74" y="110"/>
                    </a:cubicBezTo>
                    <a:cubicBezTo>
                      <a:pt x="78" y="112"/>
                      <a:pt x="83" y="114"/>
                      <a:pt x="88" y="116"/>
                    </a:cubicBezTo>
                    <a:cubicBezTo>
                      <a:pt x="87" y="118"/>
                      <a:pt x="82" y="123"/>
                      <a:pt x="80" y="123"/>
                    </a:cubicBezTo>
                    <a:cubicBezTo>
                      <a:pt x="80" y="123"/>
                      <a:pt x="79" y="123"/>
                      <a:pt x="79" y="123"/>
                    </a:cubicBezTo>
                    <a:cubicBezTo>
                      <a:pt x="77" y="123"/>
                      <a:pt x="75" y="122"/>
                      <a:pt x="74" y="121"/>
                    </a:cubicBezTo>
                    <a:cubicBezTo>
                      <a:pt x="69" y="118"/>
                      <a:pt x="64" y="116"/>
                      <a:pt x="59" y="114"/>
                    </a:cubicBezTo>
                    <a:cubicBezTo>
                      <a:pt x="56" y="113"/>
                      <a:pt x="54" y="110"/>
                      <a:pt x="51" y="110"/>
                    </a:cubicBezTo>
                    <a:cubicBezTo>
                      <a:pt x="45" y="110"/>
                      <a:pt x="37" y="115"/>
                      <a:pt x="34" y="120"/>
                    </a:cubicBezTo>
                    <a:cubicBezTo>
                      <a:pt x="33" y="120"/>
                      <a:pt x="33" y="121"/>
                      <a:pt x="33" y="122"/>
                    </a:cubicBezTo>
                    <a:cubicBezTo>
                      <a:pt x="31" y="123"/>
                      <a:pt x="29" y="123"/>
                      <a:pt x="28" y="124"/>
                    </a:cubicBezTo>
                    <a:cubicBezTo>
                      <a:pt x="27" y="127"/>
                      <a:pt x="33" y="130"/>
                      <a:pt x="34" y="132"/>
                    </a:cubicBezTo>
                    <a:cubicBezTo>
                      <a:pt x="39" y="136"/>
                      <a:pt x="46" y="139"/>
                      <a:pt x="43" y="146"/>
                    </a:cubicBezTo>
                    <a:cubicBezTo>
                      <a:pt x="42" y="148"/>
                      <a:pt x="41" y="148"/>
                      <a:pt x="42" y="151"/>
                    </a:cubicBezTo>
                    <a:cubicBezTo>
                      <a:pt x="42" y="153"/>
                      <a:pt x="43" y="155"/>
                      <a:pt x="44" y="156"/>
                    </a:cubicBezTo>
                    <a:cubicBezTo>
                      <a:pt x="45" y="157"/>
                      <a:pt x="44" y="159"/>
                      <a:pt x="45" y="160"/>
                    </a:cubicBezTo>
                    <a:cubicBezTo>
                      <a:pt x="45" y="160"/>
                      <a:pt x="46" y="160"/>
                      <a:pt x="46" y="160"/>
                    </a:cubicBezTo>
                    <a:cubicBezTo>
                      <a:pt x="49" y="160"/>
                      <a:pt x="51" y="156"/>
                      <a:pt x="52" y="155"/>
                    </a:cubicBezTo>
                    <a:cubicBezTo>
                      <a:pt x="52" y="155"/>
                      <a:pt x="52" y="154"/>
                      <a:pt x="53" y="154"/>
                    </a:cubicBezTo>
                    <a:cubicBezTo>
                      <a:pt x="54" y="153"/>
                      <a:pt x="54" y="153"/>
                      <a:pt x="55" y="153"/>
                    </a:cubicBezTo>
                    <a:cubicBezTo>
                      <a:pt x="61" y="153"/>
                      <a:pt x="66" y="171"/>
                      <a:pt x="67" y="174"/>
                    </a:cubicBezTo>
                    <a:cubicBezTo>
                      <a:pt x="68" y="172"/>
                      <a:pt x="67" y="170"/>
                      <a:pt x="67" y="167"/>
                    </a:cubicBezTo>
                    <a:cubicBezTo>
                      <a:pt x="67" y="166"/>
                      <a:pt x="68" y="165"/>
                      <a:pt x="69" y="164"/>
                    </a:cubicBezTo>
                    <a:cubicBezTo>
                      <a:pt x="69" y="164"/>
                      <a:pt x="69" y="162"/>
                      <a:pt x="70" y="161"/>
                    </a:cubicBezTo>
                    <a:cubicBezTo>
                      <a:pt x="70" y="161"/>
                      <a:pt x="71" y="161"/>
                      <a:pt x="71" y="161"/>
                    </a:cubicBezTo>
                    <a:cubicBezTo>
                      <a:pt x="76" y="161"/>
                      <a:pt x="84" y="170"/>
                      <a:pt x="87" y="172"/>
                    </a:cubicBezTo>
                    <a:cubicBezTo>
                      <a:pt x="84" y="160"/>
                      <a:pt x="80" y="149"/>
                      <a:pt x="74" y="137"/>
                    </a:cubicBezTo>
                    <a:cubicBezTo>
                      <a:pt x="77" y="138"/>
                      <a:pt x="84" y="141"/>
                      <a:pt x="85" y="143"/>
                    </a:cubicBezTo>
                    <a:cubicBezTo>
                      <a:pt x="86" y="144"/>
                      <a:pt x="86" y="144"/>
                      <a:pt x="87" y="144"/>
                    </a:cubicBezTo>
                    <a:cubicBezTo>
                      <a:pt x="88" y="144"/>
                      <a:pt x="89" y="143"/>
                      <a:pt x="90" y="143"/>
                    </a:cubicBezTo>
                    <a:cubicBezTo>
                      <a:pt x="95" y="141"/>
                      <a:pt x="96" y="140"/>
                      <a:pt x="94" y="136"/>
                    </a:cubicBezTo>
                    <a:cubicBezTo>
                      <a:pt x="94" y="134"/>
                      <a:pt x="94" y="134"/>
                      <a:pt x="94" y="134"/>
                    </a:cubicBezTo>
                    <a:cubicBezTo>
                      <a:pt x="93" y="133"/>
                      <a:pt x="93" y="133"/>
                      <a:pt x="92" y="133"/>
                    </a:cubicBezTo>
                    <a:cubicBezTo>
                      <a:pt x="91" y="133"/>
                      <a:pt x="89" y="134"/>
                      <a:pt x="88" y="135"/>
                    </a:cubicBezTo>
                    <a:cubicBezTo>
                      <a:pt x="88" y="135"/>
                      <a:pt x="88" y="135"/>
                      <a:pt x="88" y="135"/>
                    </a:cubicBezTo>
                    <a:cubicBezTo>
                      <a:pt x="88" y="135"/>
                      <a:pt x="85" y="128"/>
                      <a:pt x="84" y="127"/>
                    </a:cubicBezTo>
                    <a:cubicBezTo>
                      <a:pt x="84" y="126"/>
                      <a:pt x="82" y="126"/>
                      <a:pt x="82" y="125"/>
                    </a:cubicBezTo>
                    <a:cubicBezTo>
                      <a:pt x="82" y="122"/>
                      <a:pt x="91" y="123"/>
                      <a:pt x="94" y="122"/>
                    </a:cubicBezTo>
                    <a:cubicBezTo>
                      <a:pt x="95" y="122"/>
                      <a:pt x="96" y="120"/>
                      <a:pt x="98" y="120"/>
                    </a:cubicBezTo>
                    <a:cubicBezTo>
                      <a:pt x="98" y="120"/>
                      <a:pt x="98" y="120"/>
                      <a:pt x="98" y="120"/>
                    </a:cubicBezTo>
                    <a:cubicBezTo>
                      <a:pt x="100" y="120"/>
                      <a:pt x="97" y="123"/>
                      <a:pt x="100" y="123"/>
                    </a:cubicBezTo>
                    <a:cubicBezTo>
                      <a:pt x="100" y="123"/>
                      <a:pt x="100" y="123"/>
                      <a:pt x="100" y="123"/>
                    </a:cubicBezTo>
                    <a:cubicBezTo>
                      <a:pt x="100" y="123"/>
                      <a:pt x="101" y="123"/>
                      <a:pt x="101" y="123"/>
                    </a:cubicBezTo>
                    <a:cubicBezTo>
                      <a:pt x="101" y="123"/>
                      <a:pt x="101" y="123"/>
                      <a:pt x="102" y="123"/>
                    </a:cubicBezTo>
                    <a:cubicBezTo>
                      <a:pt x="103" y="124"/>
                      <a:pt x="103" y="127"/>
                      <a:pt x="104" y="128"/>
                    </a:cubicBezTo>
                    <a:cubicBezTo>
                      <a:pt x="105" y="128"/>
                      <a:pt x="106" y="127"/>
                      <a:pt x="107" y="128"/>
                    </a:cubicBezTo>
                    <a:cubicBezTo>
                      <a:pt x="108" y="129"/>
                      <a:pt x="108" y="130"/>
                      <a:pt x="108" y="130"/>
                    </a:cubicBezTo>
                    <a:cubicBezTo>
                      <a:pt x="109" y="131"/>
                      <a:pt x="108" y="132"/>
                      <a:pt x="110" y="132"/>
                    </a:cubicBezTo>
                    <a:cubicBezTo>
                      <a:pt x="110" y="132"/>
                      <a:pt x="110" y="132"/>
                      <a:pt x="110" y="132"/>
                    </a:cubicBezTo>
                    <a:cubicBezTo>
                      <a:pt x="112" y="132"/>
                      <a:pt x="113" y="129"/>
                      <a:pt x="112" y="127"/>
                    </a:cubicBezTo>
                    <a:cubicBezTo>
                      <a:pt x="112" y="125"/>
                      <a:pt x="109" y="117"/>
                      <a:pt x="112" y="117"/>
                    </a:cubicBezTo>
                    <a:cubicBezTo>
                      <a:pt x="112" y="117"/>
                      <a:pt x="112" y="117"/>
                      <a:pt x="112" y="117"/>
                    </a:cubicBezTo>
                    <a:cubicBezTo>
                      <a:pt x="114" y="113"/>
                      <a:pt x="91" y="105"/>
                      <a:pt x="88" y="102"/>
                    </a:cubicBezTo>
                    <a:cubicBezTo>
                      <a:pt x="85" y="100"/>
                      <a:pt x="83" y="97"/>
                      <a:pt x="79" y="96"/>
                    </a:cubicBezTo>
                    <a:cubicBezTo>
                      <a:pt x="78" y="95"/>
                      <a:pt x="76" y="95"/>
                      <a:pt x="74" y="94"/>
                    </a:cubicBezTo>
                    <a:cubicBezTo>
                      <a:pt x="73" y="94"/>
                      <a:pt x="70" y="94"/>
                      <a:pt x="69" y="93"/>
                    </a:cubicBezTo>
                    <a:cubicBezTo>
                      <a:pt x="73" y="91"/>
                      <a:pt x="78" y="90"/>
                      <a:pt x="82" y="89"/>
                    </a:cubicBezTo>
                    <a:cubicBezTo>
                      <a:pt x="81" y="86"/>
                      <a:pt x="80" y="84"/>
                      <a:pt x="78" y="82"/>
                    </a:cubicBezTo>
                    <a:cubicBezTo>
                      <a:pt x="78" y="83"/>
                      <a:pt x="78" y="83"/>
                      <a:pt x="78" y="83"/>
                    </a:cubicBezTo>
                    <a:cubicBezTo>
                      <a:pt x="75" y="80"/>
                      <a:pt x="79" y="77"/>
                      <a:pt x="82" y="77"/>
                    </a:cubicBezTo>
                    <a:cubicBezTo>
                      <a:pt x="83" y="77"/>
                      <a:pt x="84" y="77"/>
                      <a:pt x="85" y="78"/>
                    </a:cubicBezTo>
                    <a:cubicBezTo>
                      <a:pt x="86" y="79"/>
                      <a:pt x="87" y="79"/>
                      <a:pt x="87" y="81"/>
                    </a:cubicBezTo>
                    <a:cubicBezTo>
                      <a:pt x="88" y="82"/>
                      <a:pt x="88" y="82"/>
                      <a:pt x="86" y="84"/>
                    </a:cubicBezTo>
                    <a:cubicBezTo>
                      <a:pt x="86" y="84"/>
                      <a:pt x="85" y="84"/>
                      <a:pt x="85" y="84"/>
                    </a:cubicBezTo>
                    <a:cubicBezTo>
                      <a:pt x="85" y="84"/>
                      <a:pt x="84" y="84"/>
                      <a:pt x="84" y="84"/>
                    </a:cubicBezTo>
                    <a:cubicBezTo>
                      <a:pt x="83" y="85"/>
                      <a:pt x="83" y="85"/>
                      <a:pt x="83" y="85"/>
                    </a:cubicBezTo>
                    <a:cubicBezTo>
                      <a:pt x="84" y="85"/>
                      <a:pt x="85" y="85"/>
                      <a:pt x="85" y="85"/>
                    </a:cubicBezTo>
                    <a:cubicBezTo>
                      <a:pt x="87" y="85"/>
                      <a:pt x="88" y="84"/>
                      <a:pt x="89" y="84"/>
                    </a:cubicBezTo>
                    <a:cubicBezTo>
                      <a:pt x="91" y="82"/>
                      <a:pt x="93" y="83"/>
                      <a:pt x="90" y="79"/>
                    </a:cubicBezTo>
                    <a:cubicBezTo>
                      <a:pt x="82" y="71"/>
                      <a:pt x="77" y="63"/>
                      <a:pt x="72" y="54"/>
                    </a:cubicBezTo>
                    <a:cubicBezTo>
                      <a:pt x="70" y="52"/>
                      <a:pt x="69" y="51"/>
                      <a:pt x="69" y="49"/>
                    </a:cubicBezTo>
                    <a:cubicBezTo>
                      <a:pt x="69" y="46"/>
                      <a:pt x="71" y="38"/>
                      <a:pt x="74" y="37"/>
                    </a:cubicBezTo>
                    <a:cubicBezTo>
                      <a:pt x="75" y="36"/>
                      <a:pt x="76" y="36"/>
                      <a:pt x="78" y="35"/>
                    </a:cubicBezTo>
                    <a:cubicBezTo>
                      <a:pt x="78" y="35"/>
                      <a:pt x="78" y="33"/>
                      <a:pt x="78" y="33"/>
                    </a:cubicBezTo>
                    <a:cubicBezTo>
                      <a:pt x="78" y="33"/>
                      <a:pt x="79" y="33"/>
                      <a:pt x="79" y="33"/>
                    </a:cubicBezTo>
                    <a:cubicBezTo>
                      <a:pt x="81" y="33"/>
                      <a:pt x="78" y="36"/>
                      <a:pt x="78" y="38"/>
                    </a:cubicBezTo>
                    <a:cubicBezTo>
                      <a:pt x="78" y="38"/>
                      <a:pt x="78" y="38"/>
                      <a:pt x="78" y="38"/>
                    </a:cubicBezTo>
                    <a:cubicBezTo>
                      <a:pt x="78" y="38"/>
                      <a:pt x="78" y="38"/>
                      <a:pt x="77" y="38"/>
                    </a:cubicBezTo>
                    <a:cubicBezTo>
                      <a:pt x="77" y="38"/>
                      <a:pt x="77" y="38"/>
                      <a:pt x="77" y="38"/>
                    </a:cubicBezTo>
                    <a:cubicBezTo>
                      <a:pt x="77" y="38"/>
                      <a:pt x="77" y="38"/>
                      <a:pt x="77" y="38"/>
                    </a:cubicBezTo>
                    <a:cubicBezTo>
                      <a:pt x="77" y="40"/>
                      <a:pt x="81" y="43"/>
                      <a:pt x="83" y="44"/>
                    </a:cubicBezTo>
                    <a:cubicBezTo>
                      <a:pt x="84" y="45"/>
                      <a:pt x="88" y="45"/>
                      <a:pt x="89" y="46"/>
                    </a:cubicBezTo>
                    <a:cubicBezTo>
                      <a:pt x="92" y="48"/>
                      <a:pt x="90" y="49"/>
                      <a:pt x="91" y="51"/>
                    </a:cubicBezTo>
                    <a:cubicBezTo>
                      <a:pt x="91" y="53"/>
                      <a:pt x="93" y="54"/>
                      <a:pt x="92" y="56"/>
                    </a:cubicBezTo>
                    <a:cubicBezTo>
                      <a:pt x="93" y="56"/>
                      <a:pt x="93" y="56"/>
                      <a:pt x="93" y="56"/>
                    </a:cubicBezTo>
                    <a:cubicBezTo>
                      <a:pt x="95" y="56"/>
                      <a:pt x="96" y="56"/>
                      <a:pt x="98" y="57"/>
                    </a:cubicBezTo>
                    <a:cubicBezTo>
                      <a:pt x="99" y="57"/>
                      <a:pt x="100" y="57"/>
                      <a:pt x="102" y="57"/>
                    </a:cubicBezTo>
                    <a:cubicBezTo>
                      <a:pt x="102" y="57"/>
                      <a:pt x="102" y="57"/>
                      <a:pt x="103" y="57"/>
                    </a:cubicBezTo>
                    <a:cubicBezTo>
                      <a:pt x="99" y="54"/>
                      <a:pt x="93" y="53"/>
                      <a:pt x="91" y="48"/>
                    </a:cubicBezTo>
                    <a:cubicBezTo>
                      <a:pt x="93" y="47"/>
                      <a:pt x="95" y="47"/>
                      <a:pt x="97" y="47"/>
                    </a:cubicBezTo>
                    <a:cubicBezTo>
                      <a:pt x="100" y="47"/>
                      <a:pt x="102" y="48"/>
                      <a:pt x="103" y="50"/>
                    </a:cubicBezTo>
                    <a:cubicBezTo>
                      <a:pt x="104" y="52"/>
                      <a:pt x="104" y="53"/>
                      <a:pt x="105" y="54"/>
                    </a:cubicBezTo>
                    <a:cubicBezTo>
                      <a:pt x="105" y="54"/>
                      <a:pt x="108" y="55"/>
                      <a:pt x="108" y="56"/>
                    </a:cubicBezTo>
                    <a:cubicBezTo>
                      <a:pt x="109" y="56"/>
                      <a:pt x="108" y="56"/>
                      <a:pt x="109" y="56"/>
                    </a:cubicBezTo>
                    <a:cubicBezTo>
                      <a:pt x="109" y="56"/>
                      <a:pt x="109" y="56"/>
                      <a:pt x="110" y="56"/>
                    </a:cubicBezTo>
                    <a:cubicBezTo>
                      <a:pt x="109" y="54"/>
                      <a:pt x="96" y="42"/>
                      <a:pt x="106" y="42"/>
                    </a:cubicBezTo>
                    <a:cubicBezTo>
                      <a:pt x="107" y="42"/>
                      <a:pt x="107" y="42"/>
                      <a:pt x="107" y="42"/>
                    </a:cubicBezTo>
                    <a:cubicBezTo>
                      <a:pt x="109" y="42"/>
                      <a:pt x="111" y="45"/>
                      <a:pt x="113" y="45"/>
                    </a:cubicBezTo>
                    <a:cubicBezTo>
                      <a:pt x="114" y="45"/>
                      <a:pt x="114" y="45"/>
                      <a:pt x="114" y="45"/>
                    </a:cubicBezTo>
                    <a:cubicBezTo>
                      <a:pt x="106" y="41"/>
                      <a:pt x="105" y="38"/>
                      <a:pt x="103" y="29"/>
                    </a:cubicBezTo>
                    <a:cubicBezTo>
                      <a:pt x="109" y="28"/>
                      <a:pt x="117" y="23"/>
                      <a:pt x="124" y="23"/>
                    </a:cubicBezTo>
                    <a:cubicBezTo>
                      <a:pt x="125" y="23"/>
                      <a:pt x="126" y="23"/>
                      <a:pt x="127" y="23"/>
                    </a:cubicBezTo>
                    <a:cubicBezTo>
                      <a:pt x="130" y="24"/>
                      <a:pt x="131" y="25"/>
                      <a:pt x="133" y="25"/>
                    </a:cubicBezTo>
                    <a:cubicBezTo>
                      <a:pt x="134" y="25"/>
                      <a:pt x="135" y="25"/>
                      <a:pt x="136" y="25"/>
                    </a:cubicBezTo>
                    <a:cubicBezTo>
                      <a:pt x="137" y="24"/>
                      <a:pt x="141" y="21"/>
                      <a:pt x="143" y="21"/>
                    </a:cubicBezTo>
                    <a:cubicBezTo>
                      <a:pt x="143" y="21"/>
                      <a:pt x="143" y="21"/>
                      <a:pt x="143" y="21"/>
                    </a:cubicBezTo>
                    <a:cubicBezTo>
                      <a:pt x="148" y="23"/>
                      <a:pt x="153" y="24"/>
                      <a:pt x="158" y="26"/>
                    </a:cubicBezTo>
                    <a:cubicBezTo>
                      <a:pt x="161" y="27"/>
                      <a:pt x="163" y="28"/>
                      <a:pt x="165" y="29"/>
                    </a:cubicBezTo>
                    <a:cubicBezTo>
                      <a:pt x="166" y="28"/>
                      <a:pt x="166" y="28"/>
                      <a:pt x="166" y="28"/>
                    </a:cubicBezTo>
                    <a:cubicBezTo>
                      <a:pt x="167" y="27"/>
                      <a:pt x="170" y="24"/>
                      <a:pt x="170" y="23"/>
                    </a:cubicBezTo>
                    <a:cubicBezTo>
                      <a:pt x="172" y="21"/>
                      <a:pt x="172" y="21"/>
                      <a:pt x="172" y="21"/>
                    </a:cubicBezTo>
                    <a:cubicBezTo>
                      <a:pt x="172" y="21"/>
                      <a:pt x="173" y="20"/>
                      <a:pt x="173" y="19"/>
                    </a:cubicBezTo>
                    <a:cubicBezTo>
                      <a:pt x="173" y="19"/>
                      <a:pt x="173" y="19"/>
                      <a:pt x="173" y="19"/>
                    </a:cubicBezTo>
                    <a:cubicBezTo>
                      <a:pt x="173" y="19"/>
                      <a:pt x="173" y="19"/>
                      <a:pt x="173" y="18"/>
                    </a:cubicBezTo>
                    <a:cubicBezTo>
                      <a:pt x="173" y="17"/>
                      <a:pt x="173" y="17"/>
                      <a:pt x="173" y="17"/>
                    </a:cubicBezTo>
                    <a:cubicBezTo>
                      <a:pt x="173" y="17"/>
                      <a:pt x="173" y="17"/>
                      <a:pt x="173" y="17"/>
                    </a:cubicBezTo>
                    <a:cubicBezTo>
                      <a:pt x="173" y="16"/>
                      <a:pt x="173" y="16"/>
                      <a:pt x="173" y="16"/>
                    </a:cubicBezTo>
                    <a:cubicBezTo>
                      <a:pt x="173" y="15"/>
                      <a:pt x="173" y="13"/>
                      <a:pt x="173" y="12"/>
                    </a:cubicBezTo>
                    <a:cubicBezTo>
                      <a:pt x="174" y="10"/>
                      <a:pt x="175" y="9"/>
                      <a:pt x="177" y="8"/>
                    </a:cubicBezTo>
                    <a:cubicBezTo>
                      <a:pt x="179" y="7"/>
                      <a:pt x="179" y="7"/>
                      <a:pt x="179" y="7"/>
                    </a:cubicBezTo>
                    <a:cubicBezTo>
                      <a:pt x="180" y="6"/>
                      <a:pt x="181" y="6"/>
                      <a:pt x="181" y="5"/>
                    </a:cubicBezTo>
                    <a:cubicBezTo>
                      <a:pt x="182" y="4"/>
                      <a:pt x="182" y="4"/>
                      <a:pt x="182" y="4"/>
                    </a:cubicBezTo>
                    <a:cubicBezTo>
                      <a:pt x="182" y="4"/>
                      <a:pt x="182" y="4"/>
                      <a:pt x="182" y="4"/>
                    </a:cubicBezTo>
                    <a:cubicBezTo>
                      <a:pt x="181" y="3"/>
                      <a:pt x="181" y="3"/>
                      <a:pt x="181" y="3"/>
                    </a:cubicBezTo>
                    <a:cubicBezTo>
                      <a:pt x="180" y="2"/>
                      <a:pt x="180" y="2"/>
                      <a:pt x="180" y="2"/>
                    </a:cubicBezTo>
                    <a:cubicBezTo>
                      <a:pt x="179" y="2"/>
                      <a:pt x="179" y="2"/>
                      <a:pt x="179" y="2"/>
                    </a:cubicBezTo>
                    <a:cubicBezTo>
                      <a:pt x="178" y="1"/>
                      <a:pt x="178" y="1"/>
                      <a:pt x="178" y="1"/>
                    </a:cubicBezTo>
                    <a:cubicBezTo>
                      <a:pt x="178" y="1"/>
                      <a:pt x="178" y="1"/>
                      <a:pt x="178" y="1"/>
                    </a:cubicBezTo>
                    <a:cubicBezTo>
                      <a:pt x="177" y="0"/>
                      <a:pt x="177" y="0"/>
                      <a:pt x="177" y="0"/>
                    </a:cubicBezTo>
                    <a:cubicBezTo>
                      <a:pt x="177" y="0"/>
                      <a:pt x="177" y="0"/>
                      <a:pt x="177" y="0"/>
                    </a:cubicBezTo>
                    <a:cubicBezTo>
                      <a:pt x="175" y="0"/>
                      <a:pt x="175" y="0"/>
                      <a:pt x="1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1" name="Freeform 299">
                <a:extLst>
                  <a:ext uri="{FF2B5EF4-FFF2-40B4-BE49-F238E27FC236}">
                    <a16:creationId xmlns:a16="http://schemas.microsoft.com/office/drawing/2014/main" id="{1B818420-827F-42EB-B237-1945611BC55E}"/>
                  </a:ext>
                </a:extLst>
              </p:cNvPr>
              <p:cNvSpPr>
                <a:spLocks/>
              </p:cNvSpPr>
              <p:nvPr/>
            </p:nvSpPr>
            <p:spPr bwMode="auto">
              <a:xfrm>
                <a:off x="6386306" y="4665357"/>
                <a:ext cx="545397" cy="298494"/>
              </a:xfrm>
              <a:custGeom>
                <a:avLst/>
                <a:gdLst>
                  <a:gd name="T0" fmla="*/ 4 w 172"/>
                  <a:gd name="T1" fmla="*/ 4 h 94"/>
                  <a:gd name="T2" fmla="*/ 0 w 172"/>
                  <a:gd name="T3" fmla="*/ 11 h 94"/>
                  <a:gd name="T4" fmla="*/ 5 w 172"/>
                  <a:gd name="T5" fmla="*/ 21 h 94"/>
                  <a:gd name="T6" fmla="*/ 12 w 172"/>
                  <a:gd name="T7" fmla="*/ 25 h 94"/>
                  <a:gd name="T8" fmla="*/ 16 w 172"/>
                  <a:gd name="T9" fmla="*/ 34 h 94"/>
                  <a:gd name="T10" fmla="*/ 4 w 172"/>
                  <a:gd name="T11" fmla="*/ 44 h 94"/>
                  <a:gd name="T12" fmla="*/ 2 w 172"/>
                  <a:gd name="T13" fmla="*/ 46 h 94"/>
                  <a:gd name="T14" fmla="*/ 3 w 172"/>
                  <a:gd name="T15" fmla="*/ 50 h 94"/>
                  <a:gd name="T16" fmla="*/ 1 w 172"/>
                  <a:gd name="T17" fmla="*/ 61 h 94"/>
                  <a:gd name="T18" fmla="*/ 5 w 172"/>
                  <a:gd name="T19" fmla="*/ 66 h 94"/>
                  <a:gd name="T20" fmla="*/ 7 w 172"/>
                  <a:gd name="T21" fmla="*/ 67 h 94"/>
                  <a:gd name="T22" fmla="*/ 9 w 172"/>
                  <a:gd name="T23" fmla="*/ 69 h 94"/>
                  <a:gd name="T24" fmla="*/ 18 w 172"/>
                  <a:gd name="T25" fmla="*/ 91 h 94"/>
                  <a:gd name="T26" fmla="*/ 35 w 172"/>
                  <a:gd name="T27" fmla="*/ 88 h 94"/>
                  <a:gd name="T28" fmla="*/ 49 w 172"/>
                  <a:gd name="T29" fmla="*/ 84 h 94"/>
                  <a:gd name="T30" fmla="*/ 57 w 172"/>
                  <a:gd name="T31" fmla="*/ 83 h 94"/>
                  <a:gd name="T32" fmla="*/ 65 w 172"/>
                  <a:gd name="T33" fmla="*/ 89 h 94"/>
                  <a:gd name="T34" fmla="*/ 73 w 172"/>
                  <a:gd name="T35" fmla="*/ 92 h 94"/>
                  <a:gd name="T36" fmla="*/ 80 w 172"/>
                  <a:gd name="T37" fmla="*/ 94 h 94"/>
                  <a:gd name="T38" fmla="*/ 87 w 172"/>
                  <a:gd name="T39" fmla="*/ 93 h 94"/>
                  <a:gd name="T40" fmla="*/ 100 w 172"/>
                  <a:gd name="T41" fmla="*/ 91 h 94"/>
                  <a:gd name="T42" fmla="*/ 98 w 172"/>
                  <a:gd name="T43" fmla="*/ 83 h 94"/>
                  <a:gd name="T44" fmla="*/ 106 w 172"/>
                  <a:gd name="T45" fmla="*/ 78 h 94"/>
                  <a:gd name="T46" fmla="*/ 110 w 172"/>
                  <a:gd name="T47" fmla="*/ 76 h 94"/>
                  <a:gd name="T48" fmla="*/ 115 w 172"/>
                  <a:gd name="T49" fmla="*/ 72 h 94"/>
                  <a:gd name="T50" fmla="*/ 137 w 172"/>
                  <a:gd name="T51" fmla="*/ 65 h 94"/>
                  <a:gd name="T52" fmla="*/ 140 w 172"/>
                  <a:gd name="T53" fmla="*/ 68 h 94"/>
                  <a:gd name="T54" fmla="*/ 154 w 172"/>
                  <a:gd name="T55" fmla="*/ 69 h 94"/>
                  <a:gd name="T56" fmla="*/ 145 w 172"/>
                  <a:gd name="T57" fmla="*/ 56 h 94"/>
                  <a:gd name="T58" fmla="*/ 142 w 172"/>
                  <a:gd name="T59" fmla="*/ 57 h 94"/>
                  <a:gd name="T60" fmla="*/ 149 w 172"/>
                  <a:gd name="T61" fmla="*/ 50 h 94"/>
                  <a:gd name="T62" fmla="*/ 153 w 172"/>
                  <a:gd name="T63" fmla="*/ 31 h 94"/>
                  <a:gd name="T64" fmla="*/ 172 w 172"/>
                  <a:gd name="T65" fmla="*/ 15 h 94"/>
                  <a:gd name="T66" fmla="*/ 136 w 172"/>
                  <a:gd name="T67" fmla="*/ 3 h 94"/>
                  <a:gd name="T68" fmla="*/ 133 w 172"/>
                  <a:gd name="T69" fmla="*/ 2 h 94"/>
                  <a:gd name="T70" fmla="*/ 108 w 172"/>
                  <a:gd name="T71" fmla="*/ 7 h 94"/>
                  <a:gd name="T72" fmla="*/ 85 w 172"/>
                  <a:gd name="T73" fmla="*/ 19 h 94"/>
                  <a:gd name="T74" fmla="*/ 68 w 172"/>
                  <a:gd name="T75" fmla="*/ 17 h 94"/>
                  <a:gd name="T76" fmla="*/ 47 w 172"/>
                  <a:gd name="T77" fmla="*/ 17 h 94"/>
                  <a:gd name="T78" fmla="*/ 31 w 172"/>
                  <a:gd name="T79" fmla="*/ 13 h 94"/>
                  <a:gd name="T80" fmla="*/ 20 w 172"/>
                  <a:gd name="T81" fmla="*/ 13 h 94"/>
                  <a:gd name="T82" fmla="*/ 8 w 172"/>
                  <a:gd name="T83" fmla="*/ 11 h 94"/>
                  <a:gd name="T84" fmla="*/ 9 w 172"/>
                  <a:gd name="T85" fmla="*/ 1 h 94"/>
                  <a:gd name="T86" fmla="*/ 7 w 172"/>
                  <a:gd name="T8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94">
                    <a:moveTo>
                      <a:pt x="6" y="0"/>
                    </a:moveTo>
                    <a:cubicBezTo>
                      <a:pt x="6" y="0"/>
                      <a:pt x="6" y="1"/>
                      <a:pt x="6" y="1"/>
                    </a:cubicBezTo>
                    <a:cubicBezTo>
                      <a:pt x="4" y="4"/>
                      <a:pt x="4" y="4"/>
                      <a:pt x="4" y="4"/>
                    </a:cubicBezTo>
                    <a:cubicBezTo>
                      <a:pt x="1" y="9"/>
                      <a:pt x="1" y="9"/>
                      <a:pt x="1" y="9"/>
                    </a:cubicBezTo>
                    <a:cubicBezTo>
                      <a:pt x="1" y="9"/>
                      <a:pt x="1" y="9"/>
                      <a:pt x="1" y="9"/>
                    </a:cubicBezTo>
                    <a:cubicBezTo>
                      <a:pt x="0" y="11"/>
                      <a:pt x="0" y="11"/>
                      <a:pt x="0" y="11"/>
                    </a:cubicBezTo>
                    <a:cubicBezTo>
                      <a:pt x="1" y="12"/>
                      <a:pt x="1" y="12"/>
                      <a:pt x="1" y="13"/>
                    </a:cubicBezTo>
                    <a:cubicBezTo>
                      <a:pt x="2" y="15"/>
                      <a:pt x="2" y="17"/>
                      <a:pt x="3" y="18"/>
                    </a:cubicBezTo>
                    <a:cubicBezTo>
                      <a:pt x="4" y="19"/>
                      <a:pt x="5" y="20"/>
                      <a:pt x="5" y="21"/>
                    </a:cubicBezTo>
                    <a:cubicBezTo>
                      <a:pt x="6" y="22"/>
                      <a:pt x="7" y="22"/>
                      <a:pt x="8" y="23"/>
                    </a:cubicBezTo>
                    <a:cubicBezTo>
                      <a:pt x="9" y="24"/>
                      <a:pt x="10" y="24"/>
                      <a:pt x="11" y="25"/>
                    </a:cubicBezTo>
                    <a:cubicBezTo>
                      <a:pt x="12" y="25"/>
                      <a:pt x="12" y="25"/>
                      <a:pt x="12" y="25"/>
                    </a:cubicBezTo>
                    <a:cubicBezTo>
                      <a:pt x="13" y="26"/>
                      <a:pt x="15" y="27"/>
                      <a:pt x="16" y="28"/>
                    </a:cubicBezTo>
                    <a:cubicBezTo>
                      <a:pt x="20" y="31"/>
                      <a:pt x="20" y="31"/>
                      <a:pt x="20" y="31"/>
                    </a:cubicBezTo>
                    <a:cubicBezTo>
                      <a:pt x="16" y="34"/>
                      <a:pt x="16" y="34"/>
                      <a:pt x="16" y="34"/>
                    </a:cubicBezTo>
                    <a:cubicBezTo>
                      <a:pt x="15" y="35"/>
                      <a:pt x="14" y="36"/>
                      <a:pt x="13" y="37"/>
                    </a:cubicBezTo>
                    <a:cubicBezTo>
                      <a:pt x="12" y="38"/>
                      <a:pt x="12" y="38"/>
                      <a:pt x="12" y="38"/>
                    </a:cubicBezTo>
                    <a:cubicBezTo>
                      <a:pt x="10" y="40"/>
                      <a:pt x="7" y="42"/>
                      <a:pt x="4" y="44"/>
                    </a:cubicBezTo>
                    <a:cubicBezTo>
                      <a:pt x="4" y="44"/>
                      <a:pt x="3" y="45"/>
                      <a:pt x="3" y="45"/>
                    </a:cubicBezTo>
                    <a:cubicBezTo>
                      <a:pt x="2" y="45"/>
                      <a:pt x="2" y="45"/>
                      <a:pt x="2" y="46"/>
                    </a:cubicBezTo>
                    <a:cubicBezTo>
                      <a:pt x="2" y="46"/>
                      <a:pt x="2" y="46"/>
                      <a:pt x="2" y="46"/>
                    </a:cubicBezTo>
                    <a:cubicBezTo>
                      <a:pt x="1" y="46"/>
                      <a:pt x="1" y="47"/>
                      <a:pt x="1" y="48"/>
                    </a:cubicBezTo>
                    <a:cubicBezTo>
                      <a:pt x="1" y="48"/>
                      <a:pt x="2" y="49"/>
                      <a:pt x="2" y="49"/>
                    </a:cubicBezTo>
                    <a:cubicBezTo>
                      <a:pt x="3" y="50"/>
                      <a:pt x="3" y="50"/>
                      <a:pt x="3" y="50"/>
                    </a:cubicBezTo>
                    <a:cubicBezTo>
                      <a:pt x="3" y="51"/>
                      <a:pt x="3" y="51"/>
                      <a:pt x="3" y="51"/>
                    </a:cubicBezTo>
                    <a:cubicBezTo>
                      <a:pt x="4" y="52"/>
                      <a:pt x="5" y="53"/>
                      <a:pt x="5" y="55"/>
                    </a:cubicBezTo>
                    <a:cubicBezTo>
                      <a:pt x="5" y="58"/>
                      <a:pt x="3" y="60"/>
                      <a:pt x="1" y="61"/>
                    </a:cubicBezTo>
                    <a:cubicBezTo>
                      <a:pt x="2" y="62"/>
                      <a:pt x="2" y="62"/>
                      <a:pt x="2" y="62"/>
                    </a:cubicBezTo>
                    <a:cubicBezTo>
                      <a:pt x="2" y="63"/>
                      <a:pt x="2" y="63"/>
                      <a:pt x="2" y="63"/>
                    </a:cubicBezTo>
                    <a:cubicBezTo>
                      <a:pt x="3" y="64"/>
                      <a:pt x="4" y="65"/>
                      <a:pt x="5" y="66"/>
                    </a:cubicBezTo>
                    <a:cubicBezTo>
                      <a:pt x="6" y="66"/>
                      <a:pt x="6" y="66"/>
                      <a:pt x="6" y="66"/>
                    </a:cubicBezTo>
                    <a:cubicBezTo>
                      <a:pt x="11" y="60"/>
                      <a:pt x="11" y="60"/>
                      <a:pt x="11" y="60"/>
                    </a:cubicBezTo>
                    <a:cubicBezTo>
                      <a:pt x="7" y="67"/>
                      <a:pt x="7" y="67"/>
                      <a:pt x="7" y="67"/>
                    </a:cubicBezTo>
                    <a:cubicBezTo>
                      <a:pt x="8" y="68"/>
                      <a:pt x="8" y="68"/>
                      <a:pt x="8" y="68"/>
                    </a:cubicBezTo>
                    <a:cubicBezTo>
                      <a:pt x="8" y="68"/>
                      <a:pt x="8" y="68"/>
                      <a:pt x="8" y="68"/>
                    </a:cubicBezTo>
                    <a:cubicBezTo>
                      <a:pt x="9" y="69"/>
                      <a:pt x="9" y="69"/>
                      <a:pt x="9" y="69"/>
                    </a:cubicBezTo>
                    <a:cubicBezTo>
                      <a:pt x="14" y="73"/>
                      <a:pt x="19" y="78"/>
                      <a:pt x="18" y="83"/>
                    </a:cubicBezTo>
                    <a:cubicBezTo>
                      <a:pt x="18" y="84"/>
                      <a:pt x="17" y="87"/>
                      <a:pt x="16" y="91"/>
                    </a:cubicBezTo>
                    <a:cubicBezTo>
                      <a:pt x="17" y="91"/>
                      <a:pt x="18" y="91"/>
                      <a:pt x="18" y="91"/>
                    </a:cubicBezTo>
                    <a:cubicBezTo>
                      <a:pt x="19" y="91"/>
                      <a:pt x="19" y="91"/>
                      <a:pt x="19" y="91"/>
                    </a:cubicBezTo>
                    <a:cubicBezTo>
                      <a:pt x="23" y="91"/>
                      <a:pt x="27" y="90"/>
                      <a:pt x="31" y="90"/>
                    </a:cubicBezTo>
                    <a:cubicBezTo>
                      <a:pt x="32" y="89"/>
                      <a:pt x="33" y="89"/>
                      <a:pt x="35" y="88"/>
                    </a:cubicBezTo>
                    <a:cubicBezTo>
                      <a:pt x="35" y="88"/>
                      <a:pt x="35" y="88"/>
                      <a:pt x="35" y="88"/>
                    </a:cubicBezTo>
                    <a:cubicBezTo>
                      <a:pt x="37" y="88"/>
                      <a:pt x="38" y="87"/>
                      <a:pt x="40" y="87"/>
                    </a:cubicBezTo>
                    <a:cubicBezTo>
                      <a:pt x="42" y="85"/>
                      <a:pt x="46" y="84"/>
                      <a:pt x="49" y="84"/>
                    </a:cubicBezTo>
                    <a:cubicBezTo>
                      <a:pt x="49" y="84"/>
                      <a:pt x="50" y="84"/>
                      <a:pt x="51" y="84"/>
                    </a:cubicBezTo>
                    <a:cubicBezTo>
                      <a:pt x="52" y="84"/>
                      <a:pt x="54" y="83"/>
                      <a:pt x="55" y="83"/>
                    </a:cubicBezTo>
                    <a:cubicBezTo>
                      <a:pt x="56" y="83"/>
                      <a:pt x="56" y="83"/>
                      <a:pt x="57" y="83"/>
                    </a:cubicBezTo>
                    <a:cubicBezTo>
                      <a:pt x="58" y="83"/>
                      <a:pt x="58" y="84"/>
                      <a:pt x="59" y="84"/>
                    </a:cubicBezTo>
                    <a:cubicBezTo>
                      <a:pt x="59" y="84"/>
                      <a:pt x="59" y="84"/>
                      <a:pt x="59" y="84"/>
                    </a:cubicBezTo>
                    <a:cubicBezTo>
                      <a:pt x="62" y="85"/>
                      <a:pt x="63" y="87"/>
                      <a:pt x="65" y="89"/>
                    </a:cubicBezTo>
                    <a:cubicBezTo>
                      <a:pt x="66" y="89"/>
                      <a:pt x="66" y="89"/>
                      <a:pt x="66" y="89"/>
                    </a:cubicBezTo>
                    <a:cubicBezTo>
                      <a:pt x="67" y="90"/>
                      <a:pt x="68" y="91"/>
                      <a:pt x="71" y="91"/>
                    </a:cubicBezTo>
                    <a:cubicBezTo>
                      <a:pt x="71" y="91"/>
                      <a:pt x="72" y="92"/>
                      <a:pt x="73" y="92"/>
                    </a:cubicBezTo>
                    <a:cubicBezTo>
                      <a:pt x="74" y="92"/>
                      <a:pt x="76" y="92"/>
                      <a:pt x="77" y="92"/>
                    </a:cubicBezTo>
                    <a:cubicBezTo>
                      <a:pt x="78" y="93"/>
                      <a:pt x="79" y="93"/>
                      <a:pt x="79" y="94"/>
                    </a:cubicBezTo>
                    <a:cubicBezTo>
                      <a:pt x="79" y="94"/>
                      <a:pt x="80" y="94"/>
                      <a:pt x="80" y="94"/>
                    </a:cubicBezTo>
                    <a:cubicBezTo>
                      <a:pt x="80" y="94"/>
                      <a:pt x="80" y="94"/>
                      <a:pt x="80" y="94"/>
                    </a:cubicBezTo>
                    <a:cubicBezTo>
                      <a:pt x="86" y="93"/>
                      <a:pt x="86" y="93"/>
                      <a:pt x="86" y="93"/>
                    </a:cubicBezTo>
                    <a:cubicBezTo>
                      <a:pt x="86" y="93"/>
                      <a:pt x="87" y="93"/>
                      <a:pt x="87" y="93"/>
                    </a:cubicBezTo>
                    <a:cubicBezTo>
                      <a:pt x="90" y="93"/>
                      <a:pt x="90" y="93"/>
                      <a:pt x="90" y="93"/>
                    </a:cubicBezTo>
                    <a:cubicBezTo>
                      <a:pt x="92" y="93"/>
                      <a:pt x="94" y="92"/>
                      <a:pt x="96" y="92"/>
                    </a:cubicBezTo>
                    <a:cubicBezTo>
                      <a:pt x="96" y="92"/>
                      <a:pt x="99" y="91"/>
                      <a:pt x="100" y="91"/>
                    </a:cubicBezTo>
                    <a:cubicBezTo>
                      <a:pt x="100" y="90"/>
                      <a:pt x="100" y="88"/>
                      <a:pt x="100" y="87"/>
                    </a:cubicBezTo>
                    <a:cubicBezTo>
                      <a:pt x="100" y="87"/>
                      <a:pt x="99" y="87"/>
                      <a:pt x="99" y="86"/>
                    </a:cubicBezTo>
                    <a:cubicBezTo>
                      <a:pt x="98" y="86"/>
                      <a:pt x="98" y="84"/>
                      <a:pt x="98" y="83"/>
                    </a:cubicBezTo>
                    <a:cubicBezTo>
                      <a:pt x="98" y="82"/>
                      <a:pt x="98" y="79"/>
                      <a:pt x="101" y="79"/>
                    </a:cubicBezTo>
                    <a:cubicBezTo>
                      <a:pt x="102" y="78"/>
                      <a:pt x="103" y="78"/>
                      <a:pt x="104" y="78"/>
                    </a:cubicBezTo>
                    <a:cubicBezTo>
                      <a:pt x="105" y="78"/>
                      <a:pt x="105" y="78"/>
                      <a:pt x="106" y="78"/>
                    </a:cubicBezTo>
                    <a:cubicBezTo>
                      <a:pt x="108" y="78"/>
                      <a:pt x="108" y="78"/>
                      <a:pt x="108" y="78"/>
                    </a:cubicBezTo>
                    <a:cubicBezTo>
                      <a:pt x="109" y="78"/>
                      <a:pt x="109" y="77"/>
                      <a:pt x="110" y="77"/>
                    </a:cubicBezTo>
                    <a:cubicBezTo>
                      <a:pt x="110" y="76"/>
                      <a:pt x="110" y="76"/>
                      <a:pt x="110" y="76"/>
                    </a:cubicBezTo>
                    <a:cubicBezTo>
                      <a:pt x="111" y="76"/>
                      <a:pt x="111" y="76"/>
                      <a:pt x="112" y="75"/>
                    </a:cubicBezTo>
                    <a:cubicBezTo>
                      <a:pt x="112" y="75"/>
                      <a:pt x="112" y="75"/>
                      <a:pt x="112" y="75"/>
                    </a:cubicBezTo>
                    <a:cubicBezTo>
                      <a:pt x="112" y="74"/>
                      <a:pt x="113" y="73"/>
                      <a:pt x="115" y="72"/>
                    </a:cubicBezTo>
                    <a:cubicBezTo>
                      <a:pt x="123" y="70"/>
                      <a:pt x="123" y="70"/>
                      <a:pt x="123" y="70"/>
                    </a:cubicBezTo>
                    <a:cubicBezTo>
                      <a:pt x="125" y="69"/>
                      <a:pt x="128" y="68"/>
                      <a:pt x="131" y="67"/>
                    </a:cubicBezTo>
                    <a:cubicBezTo>
                      <a:pt x="137" y="65"/>
                      <a:pt x="137" y="65"/>
                      <a:pt x="137" y="65"/>
                    </a:cubicBezTo>
                    <a:cubicBezTo>
                      <a:pt x="139" y="67"/>
                      <a:pt x="139" y="67"/>
                      <a:pt x="139" y="67"/>
                    </a:cubicBezTo>
                    <a:cubicBezTo>
                      <a:pt x="139" y="67"/>
                      <a:pt x="140" y="67"/>
                      <a:pt x="140" y="68"/>
                    </a:cubicBezTo>
                    <a:cubicBezTo>
                      <a:pt x="140" y="68"/>
                      <a:pt x="140" y="68"/>
                      <a:pt x="140" y="68"/>
                    </a:cubicBezTo>
                    <a:cubicBezTo>
                      <a:pt x="141" y="68"/>
                      <a:pt x="141" y="69"/>
                      <a:pt x="142" y="70"/>
                    </a:cubicBezTo>
                    <a:cubicBezTo>
                      <a:pt x="143" y="71"/>
                      <a:pt x="144" y="71"/>
                      <a:pt x="144" y="71"/>
                    </a:cubicBezTo>
                    <a:cubicBezTo>
                      <a:pt x="154" y="69"/>
                      <a:pt x="154" y="69"/>
                      <a:pt x="154" y="69"/>
                    </a:cubicBezTo>
                    <a:cubicBezTo>
                      <a:pt x="151" y="66"/>
                      <a:pt x="148" y="62"/>
                      <a:pt x="147" y="57"/>
                    </a:cubicBezTo>
                    <a:cubicBezTo>
                      <a:pt x="147" y="58"/>
                      <a:pt x="146" y="58"/>
                      <a:pt x="146" y="58"/>
                    </a:cubicBezTo>
                    <a:cubicBezTo>
                      <a:pt x="146" y="58"/>
                      <a:pt x="146" y="57"/>
                      <a:pt x="145" y="56"/>
                    </a:cubicBezTo>
                    <a:cubicBezTo>
                      <a:pt x="145" y="56"/>
                      <a:pt x="145" y="56"/>
                      <a:pt x="145" y="56"/>
                    </a:cubicBezTo>
                    <a:cubicBezTo>
                      <a:pt x="145" y="56"/>
                      <a:pt x="144" y="57"/>
                      <a:pt x="144" y="57"/>
                    </a:cubicBezTo>
                    <a:cubicBezTo>
                      <a:pt x="143" y="57"/>
                      <a:pt x="143" y="57"/>
                      <a:pt x="142" y="57"/>
                    </a:cubicBezTo>
                    <a:cubicBezTo>
                      <a:pt x="142" y="57"/>
                      <a:pt x="142" y="57"/>
                      <a:pt x="141" y="56"/>
                    </a:cubicBezTo>
                    <a:cubicBezTo>
                      <a:pt x="141" y="57"/>
                      <a:pt x="141" y="57"/>
                      <a:pt x="141" y="57"/>
                    </a:cubicBezTo>
                    <a:cubicBezTo>
                      <a:pt x="140" y="55"/>
                      <a:pt x="147" y="51"/>
                      <a:pt x="149" y="50"/>
                    </a:cubicBezTo>
                    <a:cubicBezTo>
                      <a:pt x="153" y="48"/>
                      <a:pt x="153" y="48"/>
                      <a:pt x="153" y="44"/>
                    </a:cubicBezTo>
                    <a:cubicBezTo>
                      <a:pt x="152" y="42"/>
                      <a:pt x="153" y="39"/>
                      <a:pt x="153" y="37"/>
                    </a:cubicBezTo>
                    <a:cubicBezTo>
                      <a:pt x="153" y="35"/>
                      <a:pt x="156" y="33"/>
                      <a:pt x="153" y="31"/>
                    </a:cubicBezTo>
                    <a:cubicBezTo>
                      <a:pt x="157" y="29"/>
                      <a:pt x="162" y="24"/>
                      <a:pt x="166" y="24"/>
                    </a:cubicBezTo>
                    <a:cubicBezTo>
                      <a:pt x="167" y="24"/>
                      <a:pt x="168" y="24"/>
                      <a:pt x="169" y="25"/>
                    </a:cubicBezTo>
                    <a:cubicBezTo>
                      <a:pt x="170" y="23"/>
                      <a:pt x="172" y="19"/>
                      <a:pt x="172" y="15"/>
                    </a:cubicBezTo>
                    <a:cubicBezTo>
                      <a:pt x="147" y="7"/>
                      <a:pt x="147" y="7"/>
                      <a:pt x="147" y="7"/>
                    </a:cubicBezTo>
                    <a:cubicBezTo>
                      <a:pt x="144" y="6"/>
                      <a:pt x="142" y="5"/>
                      <a:pt x="140" y="4"/>
                    </a:cubicBezTo>
                    <a:cubicBezTo>
                      <a:pt x="136" y="3"/>
                      <a:pt x="136" y="3"/>
                      <a:pt x="136" y="3"/>
                    </a:cubicBezTo>
                    <a:cubicBezTo>
                      <a:pt x="135" y="3"/>
                      <a:pt x="135" y="3"/>
                      <a:pt x="135" y="3"/>
                    </a:cubicBezTo>
                    <a:cubicBezTo>
                      <a:pt x="134" y="2"/>
                      <a:pt x="134" y="2"/>
                      <a:pt x="134" y="2"/>
                    </a:cubicBezTo>
                    <a:cubicBezTo>
                      <a:pt x="134" y="2"/>
                      <a:pt x="134" y="2"/>
                      <a:pt x="133" y="2"/>
                    </a:cubicBezTo>
                    <a:cubicBezTo>
                      <a:pt x="133" y="2"/>
                      <a:pt x="132" y="2"/>
                      <a:pt x="132" y="2"/>
                    </a:cubicBezTo>
                    <a:cubicBezTo>
                      <a:pt x="113" y="5"/>
                      <a:pt x="113" y="5"/>
                      <a:pt x="113" y="5"/>
                    </a:cubicBezTo>
                    <a:cubicBezTo>
                      <a:pt x="112" y="5"/>
                      <a:pt x="110" y="6"/>
                      <a:pt x="108" y="7"/>
                    </a:cubicBezTo>
                    <a:cubicBezTo>
                      <a:pt x="108" y="8"/>
                      <a:pt x="107" y="8"/>
                      <a:pt x="106" y="9"/>
                    </a:cubicBezTo>
                    <a:cubicBezTo>
                      <a:pt x="105" y="9"/>
                      <a:pt x="104" y="10"/>
                      <a:pt x="103" y="11"/>
                    </a:cubicBezTo>
                    <a:cubicBezTo>
                      <a:pt x="98" y="14"/>
                      <a:pt x="91" y="19"/>
                      <a:pt x="85" y="19"/>
                    </a:cubicBezTo>
                    <a:cubicBezTo>
                      <a:pt x="84" y="19"/>
                      <a:pt x="83" y="19"/>
                      <a:pt x="82" y="19"/>
                    </a:cubicBezTo>
                    <a:cubicBezTo>
                      <a:pt x="78" y="19"/>
                      <a:pt x="75" y="18"/>
                      <a:pt x="72" y="18"/>
                    </a:cubicBezTo>
                    <a:cubicBezTo>
                      <a:pt x="70" y="17"/>
                      <a:pt x="69" y="17"/>
                      <a:pt x="68" y="17"/>
                    </a:cubicBezTo>
                    <a:cubicBezTo>
                      <a:pt x="67" y="17"/>
                      <a:pt x="66" y="16"/>
                      <a:pt x="64" y="16"/>
                    </a:cubicBezTo>
                    <a:cubicBezTo>
                      <a:pt x="63" y="16"/>
                      <a:pt x="59" y="15"/>
                      <a:pt x="59" y="15"/>
                    </a:cubicBezTo>
                    <a:cubicBezTo>
                      <a:pt x="55" y="16"/>
                      <a:pt x="52" y="17"/>
                      <a:pt x="47" y="17"/>
                    </a:cubicBezTo>
                    <a:cubicBezTo>
                      <a:pt x="46" y="17"/>
                      <a:pt x="46" y="17"/>
                      <a:pt x="46" y="17"/>
                    </a:cubicBezTo>
                    <a:cubicBezTo>
                      <a:pt x="42" y="17"/>
                      <a:pt x="37" y="16"/>
                      <a:pt x="33" y="14"/>
                    </a:cubicBezTo>
                    <a:cubicBezTo>
                      <a:pt x="31" y="13"/>
                      <a:pt x="31" y="13"/>
                      <a:pt x="31" y="13"/>
                    </a:cubicBezTo>
                    <a:cubicBezTo>
                      <a:pt x="28" y="13"/>
                      <a:pt x="26" y="12"/>
                      <a:pt x="23" y="12"/>
                    </a:cubicBezTo>
                    <a:cubicBezTo>
                      <a:pt x="23" y="12"/>
                      <a:pt x="22" y="12"/>
                      <a:pt x="22" y="12"/>
                    </a:cubicBezTo>
                    <a:cubicBezTo>
                      <a:pt x="20" y="13"/>
                      <a:pt x="20" y="13"/>
                      <a:pt x="20" y="13"/>
                    </a:cubicBezTo>
                    <a:cubicBezTo>
                      <a:pt x="18" y="13"/>
                      <a:pt x="17" y="13"/>
                      <a:pt x="16" y="13"/>
                    </a:cubicBezTo>
                    <a:cubicBezTo>
                      <a:pt x="15" y="13"/>
                      <a:pt x="13" y="13"/>
                      <a:pt x="12" y="13"/>
                    </a:cubicBezTo>
                    <a:cubicBezTo>
                      <a:pt x="11" y="13"/>
                      <a:pt x="9" y="12"/>
                      <a:pt x="8" y="11"/>
                    </a:cubicBezTo>
                    <a:cubicBezTo>
                      <a:pt x="7" y="9"/>
                      <a:pt x="7" y="6"/>
                      <a:pt x="8" y="6"/>
                    </a:cubicBezTo>
                    <a:cubicBezTo>
                      <a:pt x="8" y="4"/>
                      <a:pt x="9" y="3"/>
                      <a:pt x="9" y="1"/>
                    </a:cubicBezTo>
                    <a:cubicBezTo>
                      <a:pt x="9" y="1"/>
                      <a:pt x="9" y="1"/>
                      <a:pt x="9" y="1"/>
                    </a:cubicBezTo>
                    <a:cubicBezTo>
                      <a:pt x="9" y="1"/>
                      <a:pt x="9" y="1"/>
                      <a:pt x="9" y="1"/>
                    </a:cubicBezTo>
                    <a:cubicBezTo>
                      <a:pt x="9" y="1"/>
                      <a:pt x="9" y="1"/>
                      <a:pt x="9" y="1"/>
                    </a:cubicBezTo>
                    <a:cubicBezTo>
                      <a:pt x="7" y="0"/>
                      <a:pt x="7" y="0"/>
                      <a:pt x="7" y="0"/>
                    </a:cubicBezTo>
                    <a:cubicBezTo>
                      <a:pt x="7" y="0"/>
                      <a:pt x="7" y="0"/>
                      <a:pt x="7"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2" name="Freeform 300">
                <a:extLst>
                  <a:ext uri="{FF2B5EF4-FFF2-40B4-BE49-F238E27FC236}">
                    <a16:creationId xmlns:a16="http://schemas.microsoft.com/office/drawing/2014/main" id="{EE888104-63B7-4B79-AFCB-562E1A77DEFE}"/>
                  </a:ext>
                </a:extLst>
              </p:cNvPr>
              <p:cNvSpPr>
                <a:spLocks/>
              </p:cNvSpPr>
              <p:nvPr/>
            </p:nvSpPr>
            <p:spPr bwMode="auto">
              <a:xfrm>
                <a:off x="6710596" y="4897519"/>
                <a:ext cx="269013" cy="206366"/>
              </a:xfrm>
              <a:custGeom>
                <a:avLst/>
                <a:gdLst>
                  <a:gd name="T0" fmla="*/ 34 w 85"/>
                  <a:gd name="T1" fmla="*/ 0 h 65"/>
                  <a:gd name="T2" fmla="*/ 32 w 85"/>
                  <a:gd name="T3" fmla="*/ 1 h 65"/>
                  <a:gd name="T4" fmla="*/ 23 w 85"/>
                  <a:gd name="T5" fmla="*/ 3 h 65"/>
                  <a:gd name="T6" fmla="*/ 16 w 85"/>
                  <a:gd name="T7" fmla="*/ 5 h 65"/>
                  <a:gd name="T8" fmla="*/ 16 w 85"/>
                  <a:gd name="T9" fmla="*/ 6 h 65"/>
                  <a:gd name="T10" fmla="*/ 14 w 85"/>
                  <a:gd name="T11" fmla="*/ 7 h 65"/>
                  <a:gd name="T12" fmla="*/ 14 w 85"/>
                  <a:gd name="T13" fmla="*/ 8 h 65"/>
                  <a:gd name="T14" fmla="*/ 16 w 85"/>
                  <a:gd name="T15" fmla="*/ 9 h 65"/>
                  <a:gd name="T16" fmla="*/ 15 w 85"/>
                  <a:gd name="T17" fmla="*/ 9 h 65"/>
                  <a:gd name="T18" fmla="*/ 17 w 85"/>
                  <a:gd name="T19" fmla="*/ 12 h 65"/>
                  <a:gd name="T20" fmla="*/ 18 w 85"/>
                  <a:gd name="T21" fmla="*/ 20 h 65"/>
                  <a:gd name="T22" fmla="*/ 12 w 85"/>
                  <a:gd name="T23" fmla="*/ 25 h 65"/>
                  <a:gd name="T24" fmla="*/ 11 w 85"/>
                  <a:gd name="T25" fmla="*/ 26 h 65"/>
                  <a:gd name="T26" fmla="*/ 10 w 85"/>
                  <a:gd name="T27" fmla="*/ 27 h 65"/>
                  <a:gd name="T28" fmla="*/ 10 w 85"/>
                  <a:gd name="T29" fmla="*/ 27 h 65"/>
                  <a:gd name="T30" fmla="*/ 10 w 85"/>
                  <a:gd name="T31" fmla="*/ 29 h 65"/>
                  <a:gd name="T32" fmla="*/ 9 w 85"/>
                  <a:gd name="T33" fmla="*/ 34 h 65"/>
                  <a:gd name="T34" fmla="*/ 9 w 85"/>
                  <a:gd name="T35" fmla="*/ 35 h 65"/>
                  <a:gd name="T36" fmla="*/ 7 w 85"/>
                  <a:gd name="T37" fmla="*/ 38 h 65"/>
                  <a:gd name="T38" fmla="*/ 6 w 85"/>
                  <a:gd name="T39" fmla="*/ 39 h 65"/>
                  <a:gd name="T40" fmla="*/ 0 w 85"/>
                  <a:gd name="T41" fmla="*/ 45 h 65"/>
                  <a:gd name="T42" fmla="*/ 0 w 85"/>
                  <a:gd name="T43" fmla="*/ 46 h 65"/>
                  <a:gd name="T44" fmla="*/ 4 w 85"/>
                  <a:gd name="T45" fmla="*/ 47 h 65"/>
                  <a:gd name="T46" fmla="*/ 12 w 85"/>
                  <a:gd name="T47" fmla="*/ 46 h 65"/>
                  <a:gd name="T48" fmla="*/ 17 w 85"/>
                  <a:gd name="T49" fmla="*/ 45 h 65"/>
                  <a:gd name="T50" fmla="*/ 19 w 85"/>
                  <a:gd name="T51" fmla="*/ 47 h 65"/>
                  <a:gd name="T52" fmla="*/ 14 w 85"/>
                  <a:gd name="T53" fmla="*/ 50 h 65"/>
                  <a:gd name="T54" fmla="*/ 4 w 85"/>
                  <a:gd name="T55" fmla="*/ 56 h 65"/>
                  <a:gd name="T56" fmla="*/ 2 w 85"/>
                  <a:gd name="T57" fmla="*/ 65 h 65"/>
                  <a:gd name="T58" fmla="*/ 33 w 85"/>
                  <a:gd name="T59" fmla="*/ 42 h 65"/>
                  <a:gd name="T60" fmla="*/ 46 w 85"/>
                  <a:gd name="T61" fmla="*/ 33 h 65"/>
                  <a:gd name="T62" fmla="*/ 62 w 85"/>
                  <a:gd name="T63" fmla="*/ 31 h 65"/>
                  <a:gd name="T64" fmla="*/ 66 w 85"/>
                  <a:gd name="T65" fmla="*/ 31 h 65"/>
                  <a:gd name="T66" fmla="*/ 74 w 85"/>
                  <a:gd name="T67" fmla="*/ 34 h 65"/>
                  <a:gd name="T68" fmla="*/ 74 w 85"/>
                  <a:gd name="T69" fmla="*/ 32 h 65"/>
                  <a:gd name="T70" fmla="*/ 81 w 85"/>
                  <a:gd name="T71" fmla="*/ 25 h 65"/>
                  <a:gd name="T72" fmla="*/ 85 w 85"/>
                  <a:gd name="T73" fmla="*/ 26 h 65"/>
                  <a:gd name="T74" fmla="*/ 85 w 85"/>
                  <a:gd name="T75" fmla="*/ 25 h 65"/>
                  <a:gd name="T76" fmla="*/ 78 w 85"/>
                  <a:gd name="T77" fmla="*/ 23 h 65"/>
                  <a:gd name="T78" fmla="*/ 60 w 85"/>
                  <a:gd name="T79" fmla="*/ 14 h 65"/>
                  <a:gd name="T80" fmla="*/ 55 w 85"/>
                  <a:gd name="T81" fmla="*/ 3 h 65"/>
                  <a:gd name="T82" fmla="*/ 43 w 85"/>
                  <a:gd name="T83" fmla="*/ 5 h 65"/>
                  <a:gd name="T84" fmla="*/ 42 w 85"/>
                  <a:gd name="T85" fmla="*/ 5 h 65"/>
                  <a:gd name="T86" fmla="*/ 35 w 85"/>
                  <a:gd name="T87" fmla="*/ 1 h 65"/>
                  <a:gd name="T88" fmla="*/ 34 w 85"/>
                  <a:gd name="T89" fmla="*/ 0 h 65"/>
                  <a:gd name="T90" fmla="*/ 34 w 85"/>
                  <a:gd name="T9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 h="65">
                    <a:moveTo>
                      <a:pt x="34" y="0"/>
                    </a:moveTo>
                    <a:cubicBezTo>
                      <a:pt x="32" y="1"/>
                      <a:pt x="32" y="1"/>
                      <a:pt x="32" y="1"/>
                    </a:cubicBezTo>
                    <a:cubicBezTo>
                      <a:pt x="29" y="1"/>
                      <a:pt x="26" y="2"/>
                      <a:pt x="23" y="3"/>
                    </a:cubicBezTo>
                    <a:cubicBezTo>
                      <a:pt x="16" y="5"/>
                      <a:pt x="16" y="5"/>
                      <a:pt x="16" y="5"/>
                    </a:cubicBezTo>
                    <a:cubicBezTo>
                      <a:pt x="16" y="6"/>
                      <a:pt x="16" y="6"/>
                      <a:pt x="16" y="6"/>
                    </a:cubicBezTo>
                    <a:cubicBezTo>
                      <a:pt x="14" y="7"/>
                      <a:pt x="14" y="7"/>
                      <a:pt x="14" y="7"/>
                    </a:cubicBezTo>
                    <a:cubicBezTo>
                      <a:pt x="14" y="8"/>
                      <a:pt x="14" y="8"/>
                      <a:pt x="14" y="8"/>
                    </a:cubicBezTo>
                    <a:cubicBezTo>
                      <a:pt x="16" y="9"/>
                      <a:pt x="16" y="9"/>
                      <a:pt x="16" y="9"/>
                    </a:cubicBezTo>
                    <a:cubicBezTo>
                      <a:pt x="15" y="9"/>
                      <a:pt x="15" y="9"/>
                      <a:pt x="15" y="9"/>
                    </a:cubicBezTo>
                    <a:cubicBezTo>
                      <a:pt x="16" y="10"/>
                      <a:pt x="16" y="11"/>
                      <a:pt x="17" y="12"/>
                    </a:cubicBezTo>
                    <a:cubicBezTo>
                      <a:pt x="19" y="14"/>
                      <a:pt x="19" y="17"/>
                      <a:pt x="18" y="20"/>
                    </a:cubicBezTo>
                    <a:cubicBezTo>
                      <a:pt x="17" y="23"/>
                      <a:pt x="14" y="24"/>
                      <a:pt x="12" y="25"/>
                    </a:cubicBezTo>
                    <a:cubicBezTo>
                      <a:pt x="11" y="26"/>
                      <a:pt x="11" y="26"/>
                      <a:pt x="11" y="26"/>
                    </a:cubicBezTo>
                    <a:cubicBezTo>
                      <a:pt x="10" y="27"/>
                      <a:pt x="10" y="27"/>
                      <a:pt x="10" y="27"/>
                    </a:cubicBezTo>
                    <a:cubicBezTo>
                      <a:pt x="10" y="27"/>
                      <a:pt x="10" y="27"/>
                      <a:pt x="10" y="27"/>
                    </a:cubicBezTo>
                    <a:cubicBezTo>
                      <a:pt x="10" y="29"/>
                      <a:pt x="10" y="29"/>
                      <a:pt x="10" y="29"/>
                    </a:cubicBezTo>
                    <a:cubicBezTo>
                      <a:pt x="10" y="30"/>
                      <a:pt x="11" y="32"/>
                      <a:pt x="9" y="34"/>
                    </a:cubicBezTo>
                    <a:cubicBezTo>
                      <a:pt x="9" y="35"/>
                      <a:pt x="9" y="35"/>
                      <a:pt x="9" y="35"/>
                    </a:cubicBezTo>
                    <a:cubicBezTo>
                      <a:pt x="9" y="36"/>
                      <a:pt x="8" y="36"/>
                      <a:pt x="7" y="38"/>
                    </a:cubicBezTo>
                    <a:cubicBezTo>
                      <a:pt x="6" y="39"/>
                      <a:pt x="6" y="39"/>
                      <a:pt x="6" y="39"/>
                    </a:cubicBezTo>
                    <a:cubicBezTo>
                      <a:pt x="6" y="40"/>
                      <a:pt x="2" y="44"/>
                      <a:pt x="0" y="45"/>
                    </a:cubicBezTo>
                    <a:cubicBezTo>
                      <a:pt x="0" y="46"/>
                      <a:pt x="0" y="46"/>
                      <a:pt x="0" y="46"/>
                    </a:cubicBezTo>
                    <a:cubicBezTo>
                      <a:pt x="1" y="46"/>
                      <a:pt x="2" y="47"/>
                      <a:pt x="4" y="47"/>
                    </a:cubicBezTo>
                    <a:cubicBezTo>
                      <a:pt x="7" y="47"/>
                      <a:pt x="11" y="46"/>
                      <a:pt x="12" y="46"/>
                    </a:cubicBezTo>
                    <a:cubicBezTo>
                      <a:pt x="14" y="45"/>
                      <a:pt x="15" y="45"/>
                      <a:pt x="17" y="45"/>
                    </a:cubicBezTo>
                    <a:cubicBezTo>
                      <a:pt x="18" y="45"/>
                      <a:pt x="18" y="45"/>
                      <a:pt x="19" y="47"/>
                    </a:cubicBezTo>
                    <a:cubicBezTo>
                      <a:pt x="19" y="48"/>
                      <a:pt x="15" y="49"/>
                      <a:pt x="14" y="50"/>
                    </a:cubicBezTo>
                    <a:cubicBezTo>
                      <a:pt x="12" y="51"/>
                      <a:pt x="5" y="53"/>
                      <a:pt x="4" y="56"/>
                    </a:cubicBezTo>
                    <a:cubicBezTo>
                      <a:pt x="2" y="58"/>
                      <a:pt x="2" y="62"/>
                      <a:pt x="2" y="65"/>
                    </a:cubicBezTo>
                    <a:cubicBezTo>
                      <a:pt x="12" y="57"/>
                      <a:pt x="22" y="50"/>
                      <a:pt x="33" y="42"/>
                    </a:cubicBezTo>
                    <a:cubicBezTo>
                      <a:pt x="36" y="40"/>
                      <a:pt x="42" y="33"/>
                      <a:pt x="46" y="33"/>
                    </a:cubicBezTo>
                    <a:cubicBezTo>
                      <a:pt x="51" y="32"/>
                      <a:pt x="56" y="31"/>
                      <a:pt x="62" y="31"/>
                    </a:cubicBezTo>
                    <a:cubicBezTo>
                      <a:pt x="63" y="31"/>
                      <a:pt x="64" y="31"/>
                      <a:pt x="66" y="31"/>
                    </a:cubicBezTo>
                    <a:cubicBezTo>
                      <a:pt x="68" y="32"/>
                      <a:pt x="71" y="33"/>
                      <a:pt x="74" y="34"/>
                    </a:cubicBezTo>
                    <a:cubicBezTo>
                      <a:pt x="74" y="33"/>
                      <a:pt x="74" y="33"/>
                      <a:pt x="74" y="32"/>
                    </a:cubicBezTo>
                    <a:cubicBezTo>
                      <a:pt x="74" y="28"/>
                      <a:pt x="77" y="25"/>
                      <a:pt x="81" y="25"/>
                    </a:cubicBezTo>
                    <a:cubicBezTo>
                      <a:pt x="83" y="25"/>
                      <a:pt x="84" y="25"/>
                      <a:pt x="85" y="26"/>
                    </a:cubicBezTo>
                    <a:cubicBezTo>
                      <a:pt x="85" y="25"/>
                      <a:pt x="85" y="25"/>
                      <a:pt x="85" y="25"/>
                    </a:cubicBezTo>
                    <a:cubicBezTo>
                      <a:pt x="85" y="25"/>
                      <a:pt x="79" y="24"/>
                      <a:pt x="78" y="23"/>
                    </a:cubicBezTo>
                    <a:cubicBezTo>
                      <a:pt x="72" y="21"/>
                      <a:pt x="66" y="17"/>
                      <a:pt x="60" y="14"/>
                    </a:cubicBezTo>
                    <a:cubicBezTo>
                      <a:pt x="55" y="12"/>
                      <a:pt x="55" y="7"/>
                      <a:pt x="55" y="3"/>
                    </a:cubicBezTo>
                    <a:cubicBezTo>
                      <a:pt x="43" y="5"/>
                      <a:pt x="43" y="5"/>
                      <a:pt x="43" y="5"/>
                    </a:cubicBezTo>
                    <a:cubicBezTo>
                      <a:pt x="43" y="5"/>
                      <a:pt x="42" y="5"/>
                      <a:pt x="42" y="5"/>
                    </a:cubicBezTo>
                    <a:cubicBezTo>
                      <a:pt x="39" y="5"/>
                      <a:pt x="37" y="3"/>
                      <a:pt x="35" y="1"/>
                    </a:cubicBezTo>
                    <a:cubicBezTo>
                      <a:pt x="35" y="1"/>
                      <a:pt x="34" y="0"/>
                      <a:pt x="34" y="0"/>
                    </a:cubicBez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3" name="Freeform 301">
                <a:extLst>
                  <a:ext uri="{FF2B5EF4-FFF2-40B4-BE49-F238E27FC236}">
                    <a16:creationId xmlns:a16="http://schemas.microsoft.com/office/drawing/2014/main" id="{9C46DE6C-D279-498C-90C9-C806D964B30C}"/>
                  </a:ext>
                </a:extLst>
              </p:cNvPr>
              <p:cNvSpPr>
                <a:spLocks/>
              </p:cNvSpPr>
              <p:nvPr/>
            </p:nvSpPr>
            <p:spPr bwMode="auto">
              <a:xfrm>
                <a:off x="6069386" y="4444250"/>
                <a:ext cx="342716" cy="412733"/>
              </a:xfrm>
              <a:custGeom>
                <a:avLst/>
                <a:gdLst>
                  <a:gd name="T0" fmla="*/ 21 w 108"/>
                  <a:gd name="T1" fmla="*/ 0 h 130"/>
                  <a:gd name="T2" fmla="*/ 2 w 108"/>
                  <a:gd name="T3" fmla="*/ 11 h 130"/>
                  <a:gd name="T4" fmla="*/ 2 w 108"/>
                  <a:gd name="T5" fmla="*/ 17 h 130"/>
                  <a:gd name="T6" fmla="*/ 6 w 108"/>
                  <a:gd name="T7" fmla="*/ 22 h 130"/>
                  <a:gd name="T8" fmla="*/ 10 w 108"/>
                  <a:gd name="T9" fmla="*/ 34 h 130"/>
                  <a:gd name="T10" fmla="*/ 6 w 108"/>
                  <a:gd name="T11" fmla="*/ 39 h 130"/>
                  <a:gd name="T12" fmla="*/ 13 w 108"/>
                  <a:gd name="T13" fmla="*/ 45 h 130"/>
                  <a:gd name="T14" fmla="*/ 11 w 108"/>
                  <a:gd name="T15" fmla="*/ 50 h 130"/>
                  <a:gd name="T16" fmla="*/ 7 w 108"/>
                  <a:gd name="T17" fmla="*/ 57 h 130"/>
                  <a:gd name="T18" fmla="*/ 9 w 108"/>
                  <a:gd name="T19" fmla="*/ 60 h 130"/>
                  <a:gd name="T20" fmla="*/ 15 w 108"/>
                  <a:gd name="T21" fmla="*/ 65 h 130"/>
                  <a:gd name="T22" fmla="*/ 17 w 108"/>
                  <a:gd name="T23" fmla="*/ 66 h 130"/>
                  <a:gd name="T24" fmla="*/ 20 w 108"/>
                  <a:gd name="T25" fmla="*/ 75 h 130"/>
                  <a:gd name="T26" fmla="*/ 17 w 108"/>
                  <a:gd name="T27" fmla="*/ 77 h 130"/>
                  <a:gd name="T28" fmla="*/ 15 w 108"/>
                  <a:gd name="T29" fmla="*/ 77 h 130"/>
                  <a:gd name="T30" fmla="*/ 18 w 108"/>
                  <a:gd name="T31" fmla="*/ 83 h 130"/>
                  <a:gd name="T32" fmla="*/ 17 w 108"/>
                  <a:gd name="T33" fmla="*/ 87 h 130"/>
                  <a:gd name="T34" fmla="*/ 13 w 108"/>
                  <a:gd name="T35" fmla="*/ 90 h 130"/>
                  <a:gd name="T36" fmla="*/ 44 w 108"/>
                  <a:gd name="T37" fmla="*/ 104 h 130"/>
                  <a:gd name="T38" fmla="*/ 46 w 108"/>
                  <a:gd name="T39" fmla="*/ 96 h 130"/>
                  <a:gd name="T40" fmla="*/ 49 w 108"/>
                  <a:gd name="T41" fmla="*/ 95 h 130"/>
                  <a:gd name="T42" fmla="*/ 54 w 108"/>
                  <a:gd name="T43" fmla="*/ 95 h 130"/>
                  <a:gd name="T44" fmla="*/ 66 w 108"/>
                  <a:gd name="T45" fmla="*/ 105 h 130"/>
                  <a:gd name="T46" fmla="*/ 77 w 108"/>
                  <a:gd name="T47" fmla="*/ 116 h 130"/>
                  <a:gd name="T48" fmla="*/ 79 w 108"/>
                  <a:gd name="T49" fmla="*/ 130 h 130"/>
                  <a:gd name="T50" fmla="*/ 93 w 108"/>
                  <a:gd name="T51" fmla="*/ 128 h 130"/>
                  <a:gd name="T52" fmla="*/ 95 w 108"/>
                  <a:gd name="T53" fmla="*/ 127 h 130"/>
                  <a:gd name="T54" fmla="*/ 95 w 108"/>
                  <a:gd name="T55" fmla="*/ 118 h 130"/>
                  <a:gd name="T56" fmla="*/ 99 w 108"/>
                  <a:gd name="T57" fmla="*/ 109 h 130"/>
                  <a:gd name="T58" fmla="*/ 108 w 108"/>
                  <a:gd name="T59" fmla="*/ 101 h 130"/>
                  <a:gd name="T60" fmla="*/ 104 w 108"/>
                  <a:gd name="T61" fmla="*/ 99 h 130"/>
                  <a:gd name="T62" fmla="*/ 94 w 108"/>
                  <a:gd name="T63" fmla="*/ 86 h 130"/>
                  <a:gd name="T64" fmla="*/ 93 w 108"/>
                  <a:gd name="T65" fmla="*/ 79 h 130"/>
                  <a:gd name="T66" fmla="*/ 100 w 108"/>
                  <a:gd name="T67" fmla="*/ 66 h 130"/>
                  <a:gd name="T68" fmla="*/ 98 w 108"/>
                  <a:gd name="T69" fmla="*/ 54 h 130"/>
                  <a:gd name="T70" fmla="*/ 94 w 108"/>
                  <a:gd name="T71" fmla="*/ 58 h 130"/>
                  <a:gd name="T72" fmla="*/ 93 w 108"/>
                  <a:gd name="T73" fmla="*/ 58 h 130"/>
                  <a:gd name="T74" fmla="*/ 90 w 108"/>
                  <a:gd name="T75" fmla="*/ 60 h 130"/>
                  <a:gd name="T76" fmla="*/ 88 w 108"/>
                  <a:gd name="T77" fmla="*/ 59 h 130"/>
                  <a:gd name="T78" fmla="*/ 59 w 108"/>
                  <a:gd name="T79" fmla="*/ 45 h 130"/>
                  <a:gd name="T80" fmla="*/ 69 w 108"/>
                  <a:gd name="T81" fmla="*/ 39 h 130"/>
                  <a:gd name="T82" fmla="*/ 59 w 108"/>
                  <a:gd name="T83" fmla="*/ 30 h 130"/>
                  <a:gd name="T84" fmla="*/ 54 w 108"/>
                  <a:gd name="T85" fmla="*/ 27 h 130"/>
                  <a:gd name="T86" fmla="*/ 51 w 108"/>
                  <a:gd name="T87" fmla="*/ 26 h 130"/>
                  <a:gd name="T88" fmla="*/ 49 w 108"/>
                  <a:gd name="T89" fmla="*/ 24 h 130"/>
                  <a:gd name="T90" fmla="*/ 47 w 108"/>
                  <a:gd name="T91" fmla="*/ 21 h 130"/>
                  <a:gd name="T92" fmla="*/ 46 w 108"/>
                  <a:gd name="T93" fmla="*/ 17 h 130"/>
                  <a:gd name="T94" fmla="*/ 30 w 108"/>
                  <a:gd name="T95" fmla="*/ 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30">
                    <a:moveTo>
                      <a:pt x="27" y="0"/>
                    </a:moveTo>
                    <a:cubicBezTo>
                      <a:pt x="21" y="0"/>
                      <a:pt x="21" y="0"/>
                      <a:pt x="21" y="0"/>
                    </a:cubicBezTo>
                    <a:cubicBezTo>
                      <a:pt x="21" y="0"/>
                      <a:pt x="21" y="0"/>
                      <a:pt x="21" y="0"/>
                    </a:cubicBezTo>
                    <a:cubicBezTo>
                      <a:pt x="19" y="1"/>
                      <a:pt x="19" y="1"/>
                      <a:pt x="19" y="1"/>
                    </a:cubicBezTo>
                    <a:cubicBezTo>
                      <a:pt x="0" y="8"/>
                      <a:pt x="0" y="8"/>
                      <a:pt x="0" y="8"/>
                    </a:cubicBezTo>
                    <a:cubicBezTo>
                      <a:pt x="1" y="9"/>
                      <a:pt x="2" y="9"/>
                      <a:pt x="2" y="11"/>
                    </a:cubicBezTo>
                    <a:cubicBezTo>
                      <a:pt x="2" y="11"/>
                      <a:pt x="2" y="11"/>
                      <a:pt x="2" y="11"/>
                    </a:cubicBezTo>
                    <a:cubicBezTo>
                      <a:pt x="1" y="16"/>
                      <a:pt x="1" y="16"/>
                      <a:pt x="1" y="16"/>
                    </a:cubicBezTo>
                    <a:cubicBezTo>
                      <a:pt x="2" y="17"/>
                      <a:pt x="2" y="17"/>
                      <a:pt x="2" y="17"/>
                    </a:cubicBezTo>
                    <a:cubicBezTo>
                      <a:pt x="3" y="17"/>
                      <a:pt x="3" y="17"/>
                      <a:pt x="3" y="17"/>
                    </a:cubicBezTo>
                    <a:cubicBezTo>
                      <a:pt x="4" y="18"/>
                      <a:pt x="6" y="19"/>
                      <a:pt x="6" y="22"/>
                    </a:cubicBezTo>
                    <a:cubicBezTo>
                      <a:pt x="6" y="22"/>
                      <a:pt x="6" y="22"/>
                      <a:pt x="6" y="22"/>
                    </a:cubicBezTo>
                    <a:cubicBezTo>
                      <a:pt x="21" y="32"/>
                      <a:pt x="21" y="32"/>
                      <a:pt x="21" y="32"/>
                    </a:cubicBezTo>
                    <a:cubicBezTo>
                      <a:pt x="12" y="33"/>
                      <a:pt x="12" y="33"/>
                      <a:pt x="12" y="33"/>
                    </a:cubicBezTo>
                    <a:cubicBezTo>
                      <a:pt x="12" y="33"/>
                      <a:pt x="11" y="33"/>
                      <a:pt x="10" y="34"/>
                    </a:cubicBezTo>
                    <a:cubicBezTo>
                      <a:pt x="8" y="34"/>
                      <a:pt x="7" y="34"/>
                      <a:pt x="6" y="34"/>
                    </a:cubicBezTo>
                    <a:cubicBezTo>
                      <a:pt x="6" y="34"/>
                      <a:pt x="6" y="35"/>
                      <a:pt x="6" y="35"/>
                    </a:cubicBezTo>
                    <a:cubicBezTo>
                      <a:pt x="6" y="36"/>
                      <a:pt x="6" y="38"/>
                      <a:pt x="6" y="39"/>
                    </a:cubicBezTo>
                    <a:cubicBezTo>
                      <a:pt x="7" y="39"/>
                      <a:pt x="8" y="39"/>
                      <a:pt x="9" y="39"/>
                    </a:cubicBezTo>
                    <a:cubicBezTo>
                      <a:pt x="16" y="38"/>
                      <a:pt x="16" y="38"/>
                      <a:pt x="16" y="38"/>
                    </a:cubicBezTo>
                    <a:cubicBezTo>
                      <a:pt x="13" y="45"/>
                      <a:pt x="13" y="45"/>
                      <a:pt x="13" y="45"/>
                    </a:cubicBezTo>
                    <a:cubicBezTo>
                      <a:pt x="13" y="46"/>
                      <a:pt x="12" y="47"/>
                      <a:pt x="12" y="48"/>
                    </a:cubicBezTo>
                    <a:cubicBezTo>
                      <a:pt x="12" y="50"/>
                      <a:pt x="12" y="50"/>
                      <a:pt x="12" y="50"/>
                    </a:cubicBezTo>
                    <a:cubicBezTo>
                      <a:pt x="11" y="50"/>
                      <a:pt x="11" y="50"/>
                      <a:pt x="11" y="50"/>
                    </a:cubicBezTo>
                    <a:cubicBezTo>
                      <a:pt x="10" y="52"/>
                      <a:pt x="9" y="53"/>
                      <a:pt x="9" y="55"/>
                    </a:cubicBezTo>
                    <a:cubicBezTo>
                      <a:pt x="8" y="56"/>
                      <a:pt x="8" y="56"/>
                      <a:pt x="8" y="56"/>
                    </a:cubicBezTo>
                    <a:cubicBezTo>
                      <a:pt x="8" y="56"/>
                      <a:pt x="7" y="57"/>
                      <a:pt x="7" y="57"/>
                    </a:cubicBezTo>
                    <a:cubicBezTo>
                      <a:pt x="7" y="59"/>
                      <a:pt x="7" y="59"/>
                      <a:pt x="8" y="60"/>
                    </a:cubicBezTo>
                    <a:cubicBezTo>
                      <a:pt x="8" y="60"/>
                      <a:pt x="8" y="60"/>
                      <a:pt x="8" y="60"/>
                    </a:cubicBezTo>
                    <a:cubicBezTo>
                      <a:pt x="8" y="60"/>
                      <a:pt x="8" y="60"/>
                      <a:pt x="9" y="60"/>
                    </a:cubicBezTo>
                    <a:cubicBezTo>
                      <a:pt x="9" y="60"/>
                      <a:pt x="9" y="60"/>
                      <a:pt x="9" y="60"/>
                    </a:cubicBezTo>
                    <a:cubicBezTo>
                      <a:pt x="10" y="60"/>
                      <a:pt x="11" y="61"/>
                      <a:pt x="12" y="61"/>
                    </a:cubicBezTo>
                    <a:cubicBezTo>
                      <a:pt x="13" y="62"/>
                      <a:pt x="14" y="63"/>
                      <a:pt x="15" y="65"/>
                    </a:cubicBezTo>
                    <a:cubicBezTo>
                      <a:pt x="15" y="65"/>
                      <a:pt x="15" y="66"/>
                      <a:pt x="16" y="66"/>
                    </a:cubicBezTo>
                    <a:cubicBezTo>
                      <a:pt x="16" y="67"/>
                      <a:pt x="16" y="67"/>
                      <a:pt x="16" y="67"/>
                    </a:cubicBezTo>
                    <a:cubicBezTo>
                      <a:pt x="17" y="66"/>
                      <a:pt x="17" y="66"/>
                      <a:pt x="17" y="66"/>
                    </a:cubicBezTo>
                    <a:cubicBezTo>
                      <a:pt x="19" y="68"/>
                      <a:pt x="19" y="68"/>
                      <a:pt x="19" y="68"/>
                    </a:cubicBezTo>
                    <a:cubicBezTo>
                      <a:pt x="21" y="69"/>
                      <a:pt x="21" y="71"/>
                      <a:pt x="21" y="73"/>
                    </a:cubicBezTo>
                    <a:cubicBezTo>
                      <a:pt x="20" y="75"/>
                      <a:pt x="20" y="75"/>
                      <a:pt x="20" y="75"/>
                    </a:cubicBezTo>
                    <a:cubicBezTo>
                      <a:pt x="20" y="75"/>
                      <a:pt x="20" y="75"/>
                      <a:pt x="20" y="75"/>
                    </a:cubicBezTo>
                    <a:cubicBezTo>
                      <a:pt x="19" y="75"/>
                      <a:pt x="19" y="75"/>
                      <a:pt x="18" y="76"/>
                    </a:cubicBezTo>
                    <a:cubicBezTo>
                      <a:pt x="18" y="76"/>
                      <a:pt x="18" y="76"/>
                      <a:pt x="17" y="77"/>
                    </a:cubicBezTo>
                    <a:cubicBezTo>
                      <a:pt x="17" y="77"/>
                      <a:pt x="17" y="77"/>
                      <a:pt x="17" y="77"/>
                    </a:cubicBezTo>
                    <a:cubicBezTo>
                      <a:pt x="16" y="77"/>
                      <a:pt x="16" y="77"/>
                      <a:pt x="16" y="77"/>
                    </a:cubicBezTo>
                    <a:cubicBezTo>
                      <a:pt x="15" y="77"/>
                      <a:pt x="15" y="77"/>
                      <a:pt x="15" y="77"/>
                    </a:cubicBezTo>
                    <a:cubicBezTo>
                      <a:pt x="16" y="78"/>
                      <a:pt x="17" y="79"/>
                      <a:pt x="17" y="80"/>
                    </a:cubicBezTo>
                    <a:cubicBezTo>
                      <a:pt x="18" y="81"/>
                      <a:pt x="18" y="81"/>
                      <a:pt x="18" y="81"/>
                    </a:cubicBezTo>
                    <a:cubicBezTo>
                      <a:pt x="18" y="82"/>
                      <a:pt x="18" y="83"/>
                      <a:pt x="18" y="83"/>
                    </a:cubicBezTo>
                    <a:cubicBezTo>
                      <a:pt x="18" y="84"/>
                      <a:pt x="18" y="84"/>
                      <a:pt x="18" y="84"/>
                    </a:cubicBezTo>
                    <a:cubicBezTo>
                      <a:pt x="18" y="85"/>
                      <a:pt x="18" y="86"/>
                      <a:pt x="17" y="87"/>
                    </a:cubicBezTo>
                    <a:cubicBezTo>
                      <a:pt x="17" y="87"/>
                      <a:pt x="17" y="87"/>
                      <a:pt x="17" y="87"/>
                    </a:cubicBezTo>
                    <a:cubicBezTo>
                      <a:pt x="16" y="88"/>
                      <a:pt x="15" y="89"/>
                      <a:pt x="14" y="89"/>
                    </a:cubicBezTo>
                    <a:cubicBezTo>
                      <a:pt x="14" y="90"/>
                      <a:pt x="14" y="90"/>
                      <a:pt x="14" y="90"/>
                    </a:cubicBezTo>
                    <a:cubicBezTo>
                      <a:pt x="13" y="90"/>
                      <a:pt x="13" y="90"/>
                      <a:pt x="13" y="90"/>
                    </a:cubicBezTo>
                    <a:cubicBezTo>
                      <a:pt x="38" y="109"/>
                      <a:pt x="38" y="109"/>
                      <a:pt x="38" y="109"/>
                    </a:cubicBezTo>
                    <a:cubicBezTo>
                      <a:pt x="38" y="107"/>
                      <a:pt x="40" y="104"/>
                      <a:pt x="44" y="104"/>
                    </a:cubicBezTo>
                    <a:cubicBezTo>
                      <a:pt x="44" y="104"/>
                      <a:pt x="44" y="104"/>
                      <a:pt x="44" y="104"/>
                    </a:cubicBezTo>
                    <a:cubicBezTo>
                      <a:pt x="44" y="104"/>
                      <a:pt x="44" y="104"/>
                      <a:pt x="44" y="104"/>
                    </a:cubicBezTo>
                    <a:cubicBezTo>
                      <a:pt x="43" y="102"/>
                      <a:pt x="43" y="101"/>
                      <a:pt x="43" y="99"/>
                    </a:cubicBezTo>
                    <a:cubicBezTo>
                      <a:pt x="44" y="97"/>
                      <a:pt x="45" y="97"/>
                      <a:pt x="46" y="96"/>
                    </a:cubicBezTo>
                    <a:cubicBezTo>
                      <a:pt x="46" y="96"/>
                      <a:pt x="46" y="96"/>
                      <a:pt x="46" y="96"/>
                    </a:cubicBezTo>
                    <a:cubicBezTo>
                      <a:pt x="47" y="95"/>
                      <a:pt x="47" y="95"/>
                      <a:pt x="48" y="95"/>
                    </a:cubicBezTo>
                    <a:cubicBezTo>
                      <a:pt x="48" y="95"/>
                      <a:pt x="49" y="95"/>
                      <a:pt x="49" y="95"/>
                    </a:cubicBezTo>
                    <a:cubicBezTo>
                      <a:pt x="50" y="95"/>
                      <a:pt x="50" y="95"/>
                      <a:pt x="50" y="95"/>
                    </a:cubicBezTo>
                    <a:cubicBezTo>
                      <a:pt x="51" y="95"/>
                      <a:pt x="51" y="95"/>
                      <a:pt x="51" y="95"/>
                    </a:cubicBezTo>
                    <a:cubicBezTo>
                      <a:pt x="52" y="95"/>
                      <a:pt x="53" y="95"/>
                      <a:pt x="54" y="95"/>
                    </a:cubicBezTo>
                    <a:cubicBezTo>
                      <a:pt x="55" y="95"/>
                      <a:pt x="55" y="95"/>
                      <a:pt x="56" y="95"/>
                    </a:cubicBezTo>
                    <a:cubicBezTo>
                      <a:pt x="64" y="96"/>
                      <a:pt x="65" y="100"/>
                      <a:pt x="65" y="102"/>
                    </a:cubicBezTo>
                    <a:cubicBezTo>
                      <a:pt x="65" y="105"/>
                      <a:pt x="66" y="105"/>
                      <a:pt x="66" y="105"/>
                    </a:cubicBezTo>
                    <a:cubicBezTo>
                      <a:pt x="72" y="106"/>
                      <a:pt x="73" y="110"/>
                      <a:pt x="73" y="112"/>
                    </a:cubicBezTo>
                    <a:cubicBezTo>
                      <a:pt x="73" y="113"/>
                      <a:pt x="74" y="114"/>
                      <a:pt x="74" y="114"/>
                    </a:cubicBezTo>
                    <a:cubicBezTo>
                      <a:pt x="74" y="115"/>
                      <a:pt x="75" y="115"/>
                      <a:pt x="77" y="116"/>
                    </a:cubicBezTo>
                    <a:cubicBezTo>
                      <a:pt x="78" y="116"/>
                      <a:pt x="79" y="116"/>
                      <a:pt x="80" y="117"/>
                    </a:cubicBezTo>
                    <a:cubicBezTo>
                      <a:pt x="81" y="117"/>
                      <a:pt x="82" y="119"/>
                      <a:pt x="82" y="120"/>
                    </a:cubicBezTo>
                    <a:cubicBezTo>
                      <a:pt x="83" y="123"/>
                      <a:pt x="81" y="127"/>
                      <a:pt x="79" y="130"/>
                    </a:cubicBezTo>
                    <a:cubicBezTo>
                      <a:pt x="79" y="130"/>
                      <a:pt x="79" y="130"/>
                      <a:pt x="79" y="130"/>
                    </a:cubicBezTo>
                    <a:cubicBezTo>
                      <a:pt x="84" y="129"/>
                      <a:pt x="88" y="128"/>
                      <a:pt x="92" y="128"/>
                    </a:cubicBezTo>
                    <a:cubicBezTo>
                      <a:pt x="93" y="128"/>
                      <a:pt x="93" y="128"/>
                      <a:pt x="93" y="128"/>
                    </a:cubicBezTo>
                    <a:cubicBezTo>
                      <a:pt x="94" y="128"/>
                      <a:pt x="94" y="128"/>
                      <a:pt x="94" y="128"/>
                    </a:cubicBezTo>
                    <a:cubicBezTo>
                      <a:pt x="94" y="128"/>
                      <a:pt x="94" y="128"/>
                      <a:pt x="94" y="128"/>
                    </a:cubicBezTo>
                    <a:cubicBezTo>
                      <a:pt x="95" y="127"/>
                      <a:pt x="95" y="127"/>
                      <a:pt x="95" y="127"/>
                    </a:cubicBezTo>
                    <a:cubicBezTo>
                      <a:pt x="96" y="126"/>
                      <a:pt x="97" y="125"/>
                      <a:pt x="97" y="125"/>
                    </a:cubicBezTo>
                    <a:cubicBezTo>
                      <a:pt x="96" y="123"/>
                      <a:pt x="96" y="123"/>
                      <a:pt x="96" y="123"/>
                    </a:cubicBezTo>
                    <a:cubicBezTo>
                      <a:pt x="95" y="121"/>
                      <a:pt x="95" y="120"/>
                      <a:pt x="95" y="118"/>
                    </a:cubicBezTo>
                    <a:cubicBezTo>
                      <a:pt x="94" y="116"/>
                      <a:pt x="95" y="114"/>
                      <a:pt x="95" y="112"/>
                    </a:cubicBezTo>
                    <a:cubicBezTo>
                      <a:pt x="96" y="112"/>
                      <a:pt x="96" y="111"/>
                      <a:pt x="97" y="111"/>
                    </a:cubicBezTo>
                    <a:cubicBezTo>
                      <a:pt x="98" y="110"/>
                      <a:pt x="99" y="109"/>
                      <a:pt x="99" y="109"/>
                    </a:cubicBezTo>
                    <a:cubicBezTo>
                      <a:pt x="100" y="108"/>
                      <a:pt x="100" y="108"/>
                      <a:pt x="100" y="108"/>
                    </a:cubicBezTo>
                    <a:cubicBezTo>
                      <a:pt x="103" y="106"/>
                      <a:pt x="105" y="104"/>
                      <a:pt x="108" y="102"/>
                    </a:cubicBezTo>
                    <a:cubicBezTo>
                      <a:pt x="108" y="101"/>
                      <a:pt x="108" y="101"/>
                      <a:pt x="108" y="101"/>
                    </a:cubicBezTo>
                    <a:cubicBezTo>
                      <a:pt x="107" y="101"/>
                      <a:pt x="107" y="101"/>
                      <a:pt x="107" y="101"/>
                    </a:cubicBezTo>
                    <a:cubicBezTo>
                      <a:pt x="106" y="100"/>
                      <a:pt x="105" y="100"/>
                      <a:pt x="105" y="99"/>
                    </a:cubicBezTo>
                    <a:cubicBezTo>
                      <a:pt x="104" y="99"/>
                      <a:pt x="104" y="99"/>
                      <a:pt x="104" y="99"/>
                    </a:cubicBezTo>
                    <a:cubicBezTo>
                      <a:pt x="103" y="98"/>
                      <a:pt x="102" y="97"/>
                      <a:pt x="101" y="96"/>
                    </a:cubicBezTo>
                    <a:cubicBezTo>
                      <a:pt x="99" y="95"/>
                      <a:pt x="98" y="93"/>
                      <a:pt x="97" y="92"/>
                    </a:cubicBezTo>
                    <a:cubicBezTo>
                      <a:pt x="96" y="90"/>
                      <a:pt x="95" y="88"/>
                      <a:pt x="94" y="86"/>
                    </a:cubicBezTo>
                    <a:cubicBezTo>
                      <a:pt x="94" y="85"/>
                      <a:pt x="94" y="85"/>
                      <a:pt x="94" y="85"/>
                    </a:cubicBezTo>
                    <a:cubicBezTo>
                      <a:pt x="94" y="84"/>
                      <a:pt x="94" y="84"/>
                      <a:pt x="94" y="83"/>
                    </a:cubicBezTo>
                    <a:cubicBezTo>
                      <a:pt x="93" y="82"/>
                      <a:pt x="93" y="80"/>
                      <a:pt x="93" y="79"/>
                    </a:cubicBezTo>
                    <a:cubicBezTo>
                      <a:pt x="94" y="78"/>
                      <a:pt x="94" y="78"/>
                      <a:pt x="94" y="78"/>
                    </a:cubicBezTo>
                    <a:cubicBezTo>
                      <a:pt x="100" y="67"/>
                      <a:pt x="100" y="67"/>
                      <a:pt x="100" y="67"/>
                    </a:cubicBezTo>
                    <a:cubicBezTo>
                      <a:pt x="100" y="67"/>
                      <a:pt x="100" y="66"/>
                      <a:pt x="100" y="66"/>
                    </a:cubicBezTo>
                    <a:cubicBezTo>
                      <a:pt x="98" y="64"/>
                      <a:pt x="97" y="61"/>
                      <a:pt x="97" y="59"/>
                    </a:cubicBezTo>
                    <a:cubicBezTo>
                      <a:pt x="96" y="58"/>
                      <a:pt x="97" y="56"/>
                      <a:pt x="98" y="54"/>
                    </a:cubicBezTo>
                    <a:cubicBezTo>
                      <a:pt x="98" y="54"/>
                      <a:pt x="98" y="54"/>
                      <a:pt x="98" y="54"/>
                    </a:cubicBezTo>
                    <a:cubicBezTo>
                      <a:pt x="97" y="55"/>
                      <a:pt x="97" y="55"/>
                      <a:pt x="97" y="55"/>
                    </a:cubicBezTo>
                    <a:cubicBezTo>
                      <a:pt x="97" y="55"/>
                      <a:pt x="96" y="56"/>
                      <a:pt x="95" y="57"/>
                    </a:cubicBezTo>
                    <a:cubicBezTo>
                      <a:pt x="94" y="58"/>
                      <a:pt x="94" y="58"/>
                      <a:pt x="94" y="58"/>
                    </a:cubicBezTo>
                    <a:cubicBezTo>
                      <a:pt x="93" y="57"/>
                      <a:pt x="93" y="57"/>
                      <a:pt x="93" y="57"/>
                    </a:cubicBezTo>
                    <a:cubicBezTo>
                      <a:pt x="94" y="58"/>
                      <a:pt x="94" y="58"/>
                      <a:pt x="94" y="58"/>
                    </a:cubicBezTo>
                    <a:cubicBezTo>
                      <a:pt x="93" y="58"/>
                      <a:pt x="93" y="58"/>
                      <a:pt x="93" y="58"/>
                    </a:cubicBezTo>
                    <a:cubicBezTo>
                      <a:pt x="93" y="59"/>
                      <a:pt x="92" y="59"/>
                      <a:pt x="92" y="59"/>
                    </a:cubicBezTo>
                    <a:cubicBezTo>
                      <a:pt x="92" y="60"/>
                      <a:pt x="92" y="60"/>
                      <a:pt x="92" y="60"/>
                    </a:cubicBezTo>
                    <a:cubicBezTo>
                      <a:pt x="90" y="60"/>
                      <a:pt x="90" y="60"/>
                      <a:pt x="90" y="60"/>
                    </a:cubicBezTo>
                    <a:cubicBezTo>
                      <a:pt x="90" y="60"/>
                      <a:pt x="90" y="60"/>
                      <a:pt x="90" y="60"/>
                    </a:cubicBezTo>
                    <a:cubicBezTo>
                      <a:pt x="89" y="60"/>
                      <a:pt x="89" y="59"/>
                      <a:pt x="88" y="59"/>
                    </a:cubicBezTo>
                    <a:cubicBezTo>
                      <a:pt x="88" y="59"/>
                      <a:pt x="88" y="59"/>
                      <a:pt x="88" y="59"/>
                    </a:cubicBezTo>
                    <a:cubicBezTo>
                      <a:pt x="87" y="58"/>
                      <a:pt x="87" y="58"/>
                      <a:pt x="87" y="58"/>
                    </a:cubicBezTo>
                    <a:cubicBezTo>
                      <a:pt x="86" y="57"/>
                      <a:pt x="84" y="56"/>
                      <a:pt x="82" y="54"/>
                    </a:cubicBezTo>
                    <a:cubicBezTo>
                      <a:pt x="59" y="45"/>
                      <a:pt x="59" y="45"/>
                      <a:pt x="59" y="45"/>
                    </a:cubicBezTo>
                    <a:cubicBezTo>
                      <a:pt x="66" y="41"/>
                      <a:pt x="66" y="41"/>
                      <a:pt x="66" y="41"/>
                    </a:cubicBezTo>
                    <a:cubicBezTo>
                      <a:pt x="67" y="41"/>
                      <a:pt x="68" y="40"/>
                      <a:pt x="69" y="40"/>
                    </a:cubicBezTo>
                    <a:cubicBezTo>
                      <a:pt x="69" y="39"/>
                      <a:pt x="69" y="39"/>
                      <a:pt x="69" y="39"/>
                    </a:cubicBezTo>
                    <a:cubicBezTo>
                      <a:pt x="69" y="38"/>
                      <a:pt x="68" y="37"/>
                      <a:pt x="68" y="35"/>
                    </a:cubicBezTo>
                    <a:cubicBezTo>
                      <a:pt x="68" y="35"/>
                      <a:pt x="68" y="35"/>
                      <a:pt x="68" y="35"/>
                    </a:cubicBezTo>
                    <a:cubicBezTo>
                      <a:pt x="59" y="30"/>
                      <a:pt x="59" y="30"/>
                      <a:pt x="59" y="30"/>
                    </a:cubicBezTo>
                    <a:cubicBezTo>
                      <a:pt x="59" y="30"/>
                      <a:pt x="58" y="29"/>
                      <a:pt x="57" y="29"/>
                    </a:cubicBezTo>
                    <a:cubicBezTo>
                      <a:pt x="56" y="29"/>
                      <a:pt x="56" y="29"/>
                      <a:pt x="56" y="29"/>
                    </a:cubicBezTo>
                    <a:cubicBezTo>
                      <a:pt x="55" y="28"/>
                      <a:pt x="54" y="28"/>
                      <a:pt x="54" y="27"/>
                    </a:cubicBezTo>
                    <a:cubicBezTo>
                      <a:pt x="53" y="27"/>
                      <a:pt x="53" y="27"/>
                      <a:pt x="53" y="27"/>
                    </a:cubicBezTo>
                    <a:cubicBezTo>
                      <a:pt x="52" y="27"/>
                      <a:pt x="52" y="27"/>
                      <a:pt x="52" y="27"/>
                    </a:cubicBezTo>
                    <a:cubicBezTo>
                      <a:pt x="52" y="26"/>
                      <a:pt x="51" y="26"/>
                      <a:pt x="51" y="26"/>
                    </a:cubicBezTo>
                    <a:cubicBezTo>
                      <a:pt x="50" y="25"/>
                      <a:pt x="50" y="25"/>
                      <a:pt x="50" y="25"/>
                    </a:cubicBezTo>
                    <a:cubicBezTo>
                      <a:pt x="50" y="25"/>
                      <a:pt x="50" y="25"/>
                      <a:pt x="50" y="25"/>
                    </a:cubicBezTo>
                    <a:cubicBezTo>
                      <a:pt x="49" y="24"/>
                      <a:pt x="49" y="24"/>
                      <a:pt x="49" y="24"/>
                    </a:cubicBezTo>
                    <a:cubicBezTo>
                      <a:pt x="49" y="24"/>
                      <a:pt x="49" y="24"/>
                      <a:pt x="49" y="24"/>
                    </a:cubicBezTo>
                    <a:cubicBezTo>
                      <a:pt x="48" y="23"/>
                      <a:pt x="48" y="23"/>
                      <a:pt x="48" y="23"/>
                    </a:cubicBezTo>
                    <a:cubicBezTo>
                      <a:pt x="47" y="21"/>
                      <a:pt x="47" y="21"/>
                      <a:pt x="47" y="21"/>
                    </a:cubicBezTo>
                    <a:cubicBezTo>
                      <a:pt x="47" y="21"/>
                      <a:pt x="47" y="21"/>
                      <a:pt x="47" y="21"/>
                    </a:cubicBezTo>
                    <a:cubicBezTo>
                      <a:pt x="48" y="19"/>
                      <a:pt x="48" y="19"/>
                      <a:pt x="48" y="19"/>
                    </a:cubicBezTo>
                    <a:cubicBezTo>
                      <a:pt x="47" y="18"/>
                      <a:pt x="47" y="17"/>
                      <a:pt x="46" y="17"/>
                    </a:cubicBezTo>
                    <a:cubicBezTo>
                      <a:pt x="45" y="16"/>
                      <a:pt x="45" y="15"/>
                      <a:pt x="44" y="15"/>
                    </a:cubicBezTo>
                    <a:cubicBezTo>
                      <a:pt x="34" y="2"/>
                      <a:pt x="34" y="2"/>
                      <a:pt x="34" y="2"/>
                    </a:cubicBezTo>
                    <a:cubicBezTo>
                      <a:pt x="32" y="1"/>
                      <a:pt x="31" y="1"/>
                      <a:pt x="30" y="1"/>
                    </a:cubicBezTo>
                    <a:cubicBezTo>
                      <a:pt x="29" y="0"/>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4" name="Rectangle 302">
                <a:extLst>
                  <a:ext uri="{FF2B5EF4-FFF2-40B4-BE49-F238E27FC236}">
                    <a16:creationId xmlns:a16="http://schemas.microsoft.com/office/drawing/2014/main" id="{90C0808D-B435-407E-BF2B-F1B242F0996A}"/>
                  </a:ext>
                </a:extLst>
              </p:cNvPr>
              <p:cNvSpPr>
                <a:spLocks noChangeArrowheads="1"/>
              </p:cNvSpPr>
              <p:nvPr/>
            </p:nvSpPr>
            <p:spPr bwMode="auto">
              <a:xfrm>
                <a:off x="6065701" y="4466361"/>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5" name="Freeform 303">
                <a:extLst>
                  <a:ext uri="{FF2B5EF4-FFF2-40B4-BE49-F238E27FC236}">
                    <a16:creationId xmlns:a16="http://schemas.microsoft.com/office/drawing/2014/main" id="{86449003-1B1C-410B-8A54-E8980EABA461}"/>
                  </a:ext>
                </a:extLst>
              </p:cNvPr>
              <p:cNvSpPr>
                <a:spLocks/>
              </p:cNvSpPr>
              <p:nvPr/>
            </p:nvSpPr>
            <p:spPr bwMode="auto">
              <a:xfrm>
                <a:off x="6065701" y="446636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6" name="Freeform 304">
                <a:extLst>
                  <a:ext uri="{FF2B5EF4-FFF2-40B4-BE49-F238E27FC236}">
                    <a16:creationId xmlns:a16="http://schemas.microsoft.com/office/drawing/2014/main" id="{13F37369-FCC6-4BB2-8718-4269F701FDA3}"/>
                  </a:ext>
                </a:extLst>
              </p:cNvPr>
              <p:cNvSpPr>
                <a:spLocks/>
              </p:cNvSpPr>
              <p:nvPr/>
            </p:nvSpPr>
            <p:spPr bwMode="auto">
              <a:xfrm>
                <a:off x="6205735" y="4208403"/>
                <a:ext cx="825466" cy="497491"/>
              </a:xfrm>
              <a:custGeom>
                <a:avLst/>
                <a:gdLst>
                  <a:gd name="T0" fmla="*/ 160 w 260"/>
                  <a:gd name="T1" fmla="*/ 9 h 156"/>
                  <a:gd name="T2" fmla="*/ 141 w 260"/>
                  <a:gd name="T3" fmla="*/ 11 h 156"/>
                  <a:gd name="T4" fmla="*/ 131 w 260"/>
                  <a:gd name="T5" fmla="*/ 17 h 156"/>
                  <a:gd name="T6" fmla="*/ 119 w 260"/>
                  <a:gd name="T7" fmla="*/ 15 h 156"/>
                  <a:gd name="T8" fmla="*/ 108 w 260"/>
                  <a:gd name="T9" fmla="*/ 10 h 156"/>
                  <a:gd name="T10" fmla="*/ 106 w 260"/>
                  <a:gd name="T11" fmla="*/ 10 h 156"/>
                  <a:gd name="T12" fmla="*/ 93 w 260"/>
                  <a:gd name="T13" fmla="*/ 9 h 156"/>
                  <a:gd name="T14" fmla="*/ 88 w 260"/>
                  <a:gd name="T15" fmla="*/ 8 h 156"/>
                  <a:gd name="T16" fmla="*/ 77 w 260"/>
                  <a:gd name="T17" fmla="*/ 5 h 156"/>
                  <a:gd name="T18" fmla="*/ 74 w 260"/>
                  <a:gd name="T19" fmla="*/ 7 h 156"/>
                  <a:gd name="T20" fmla="*/ 71 w 260"/>
                  <a:gd name="T21" fmla="*/ 9 h 156"/>
                  <a:gd name="T22" fmla="*/ 53 w 260"/>
                  <a:gd name="T23" fmla="*/ 20 h 156"/>
                  <a:gd name="T24" fmla="*/ 48 w 260"/>
                  <a:gd name="T25" fmla="*/ 23 h 156"/>
                  <a:gd name="T26" fmla="*/ 37 w 260"/>
                  <a:gd name="T27" fmla="*/ 40 h 156"/>
                  <a:gd name="T28" fmla="*/ 33 w 260"/>
                  <a:gd name="T29" fmla="*/ 49 h 156"/>
                  <a:gd name="T30" fmla="*/ 25 w 260"/>
                  <a:gd name="T31" fmla="*/ 64 h 156"/>
                  <a:gd name="T32" fmla="*/ 11 w 260"/>
                  <a:gd name="T33" fmla="*/ 70 h 156"/>
                  <a:gd name="T34" fmla="*/ 0 w 260"/>
                  <a:gd name="T35" fmla="*/ 75 h 156"/>
                  <a:gd name="T36" fmla="*/ 11 w 260"/>
                  <a:gd name="T37" fmla="*/ 90 h 156"/>
                  <a:gd name="T38" fmla="*/ 19 w 260"/>
                  <a:gd name="T39" fmla="*/ 97 h 156"/>
                  <a:gd name="T40" fmla="*/ 32 w 260"/>
                  <a:gd name="T41" fmla="*/ 109 h 156"/>
                  <a:gd name="T42" fmla="*/ 32 w 260"/>
                  <a:gd name="T43" fmla="*/ 118 h 156"/>
                  <a:gd name="T44" fmla="*/ 50 w 260"/>
                  <a:gd name="T45" fmla="*/ 124 h 156"/>
                  <a:gd name="T46" fmla="*/ 58 w 260"/>
                  <a:gd name="T47" fmla="*/ 120 h 156"/>
                  <a:gd name="T48" fmla="*/ 66 w 260"/>
                  <a:gd name="T49" fmla="*/ 125 h 156"/>
                  <a:gd name="T50" fmla="*/ 67 w 260"/>
                  <a:gd name="T51" fmla="*/ 129 h 156"/>
                  <a:gd name="T52" fmla="*/ 66 w 260"/>
                  <a:gd name="T53" fmla="*/ 132 h 156"/>
                  <a:gd name="T54" fmla="*/ 61 w 260"/>
                  <a:gd name="T55" fmla="*/ 132 h 156"/>
                  <a:gd name="T56" fmla="*/ 61 w 260"/>
                  <a:gd name="T57" fmla="*/ 133 h 156"/>
                  <a:gd name="T58" fmla="*/ 63 w 260"/>
                  <a:gd name="T59" fmla="*/ 136 h 156"/>
                  <a:gd name="T60" fmla="*/ 73 w 260"/>
                  <a:gd name="T61" fmla="*/ 147 h 156"/>
                  <a:gd name="T62" fmla="*/ 73 w 260"/>
                  <a:gd name="T63" fmla="*/ 150 h 156"/>
                  <a:gd name="T64" fmla="*/ 80 w 260"/>
                  <a:gd name="T65" fmla="*/ 149 h 156"/>
                  <a:gd name="T66" fmla="*/ 103 w 260"/>
                  <a:gd name="T67" fmla="*/ 154 h 156"/>
                  <a:gd name="T68" fmla="*/ 123 w 260"/>
                  <a:gd name="T69" fmla="*/ 153 h 156"/>
                  <a:gd name="T70" fmla="*/ 130 w 260"/>
                  <a:gd name="T71" fmla="*/ 156 h 156"/>
                  <a:gd name="T72" fmla="*/ 140 w 260"/>
                  <a:gd name="T73" fmla="*/ 156 h 156"/>
                  <a:gd name="T74" fmla="*/ 157 w 260"/>
                  <a:gd name="T75" fmla="*/ 149 h 156"/>
                  <a:gd name="T76" fmla="*/ 169 w 260"/>
                  <a:gd name="T77" fmla="*/ 142 h 156"/>
                  <a:gd name="T78" fmla="*/ 192 w 260"/>
                  <a:gd name="T79" fmla="*/ 139 h 156"/>
                  <a:gd name="T80" fmla="*/ 199 w 260"/>
                  <a:gd name="T81" fmla="*/ 142 h 156"/>
                  <a:gd name="T82" fmla="*/ 232 w 260"/>
                  <a:gd name="T83" fmla="*/ 135 h 156"/>
                  <a:gd name="T84" fmla="*/ 235 w 260"/>
                  <a:gd name="T85" fmla="*/ 125 h 156"/>
                  <a:gd name="T86" fmla="*/ 240 w 260"/>
                  <a:gd name="T87" fmla="*/ 123 h 156"/>
                  <a:gd name="T88" fmla="*/ 235 w 260"/>
                  <a:gd name="T89" fmla="*/ 123 h 156"/>
                  <a:gd name="T90" fmla="*/ 246 w 260"/>
                  <a:gd name="T91" fmla="*/ 117 h 156"/>
                  <a:gd name="T92" fmla="*/ 260 w 260"/>
                  <a:gd name="T93" fmla="*/ 113 h 156"/>
                  <a:gd name="T94" fmla="*/ 258 w 260"/>
                  <a:gd name="T95" fmla="*/ 105 h 156"/>
                  <a:gd name="T96" fmla="*/ 244 w 260"/>
                  <a:gd name="T97" fmla="*/ 104 h 156"/>
                  <a:gd name="T98" fmla="*/ 237 w 260"/>
                  <a:gd name="T99" fmla="*/ 107 h 156"/>
                  <a:gd name="T100" fmla="*/ 231 w 260"/>
                  <a:gd name="T101" fmla="*/ 107 h 156"/>
                  <a:gd name="T102" fmla="*/ 220 w 260"/>
                  <a:gd name="T103" fmla="*/ 101 h 156"/>
                  <a:gd name="T104" fmla="*/ 214 w 260"/>
                  <a:gd name="T105" fmla="*/ 96 h 156"/>
                  <a:gd name="T106" fmla="*/ 212 w 260"/>
                  <a:gd name="T107" fmla="*/ 94 h 156"/>
                  <a:gd name="T108" fmla="*/ 212 w 260"/>
                  <a:gd name="T109" fmla="*/ 80 h 156"/>
                  <a:gd name="T110" fmla="*/ 214 w 260"/>
                  <a:gd name="T111" fmla="*/ 50 h 156"/>
                  <a:gd name="T112" fmla="*/ 211 w 260"/>
                  <a:gd name="T113" fmla="*/ 43 h 156"/>
                  <a:gd name="T114" fmla="*/ 194 w 260"/>
                  <a:gd name="T115" fmla="*/ 23 h 156"/>
                  <a:gd name="T116" fmla="*/ 187 w 260"/>
                  <a:gd name="T117" fmla="*/ 10 h 156"/>
                  <a:gd name="T118" fmla="*/ 183 w 260"/>
                  <a:gd name="T119" fmla="*/ 4 h 156"/>
                  <a:gd name="T120" fmla="*/ 175 w 260"/>
                  <a:gd name="T1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56">
                    <a:moveTo>
                      <a:pt x="175" y="0"/>
                    </a:moveTo>
                    <a:cubicBezTo>
                      <a:pt x="162" y="8"/>
                      <a:pt x="162" y="8"/>
                      <a:pt x="162" y="8"/>
                    </a:cubicBezTo>
                    <a:cubicBezTo>
                      <a:pt x="161" y="8"/>
                      <a:pt x="160" y="9"/>
                      <a:pt x="160" y="9"/>
                    </a:cubicBezTo>
                    <a:cubicBezTo>
                      <a:pt x="155" y="10"/>
                      <a:pt x="151" y="11"/>
                      <a:pt x="147" y="11"/>
                    </a:cubicBezTo>
                    <a:cubicBezTo>
                      <a:pt x="145" y="11"/>
                      <a:pt x="143" y="11"/>
                      <a:pt x="142" y="11"/>
                    </a:cubicBezTo>
                    <a:cubicBezTo>
                      <a:pt x="141" y="11"/>
                      <a:pt x="141" y="11"/>
                      <a:pt x="141" y="11"/>
                    </a:cubicBezTo>
                    <a:cubicBezTo>
                      <a:pt x="140" y="11"/>
                      <a:pt x="139" y="11"/>
                      <a:pt x="139" y="12"/>
                    </a:cubicBezTo>
                    <a:cubicBezTo>
                      <a:pt x="138" y="12"/>
                      <a:pt x="136" y="13"/>
                      <a:pt x="135" y="14"/>
                    </a:cubicBezTo>
                    <a:cubicBezTo>
                      <a:pt x="131" y="17"/>
                      <a:pt x="131" y="17"/>
                      <a:pt x="131" y="17"/>
                    </a:cubicBezTo>
                    <a:cubicBezTo>
                      <a:pt x="129" y="18"/>
                      <a:pt x="127" y="18"/>
                      <a:pt x="126" y="18"/>
                    </a:cubicBezTo>
                    <a:cubicBezTo>
                      <a:pt x="125" y="18"/>
                      <a:pt x="125" y="18"/>
                      <a:pt x="124" y="18"/>
                    </a:cubicBezTo>
                    <a:cubicBezTo>
                      <a:pt x="122" y="17"/>
                      <a:pt x="121" y="16"/>
                      <a:pt x="119" y="15"/>
                    </a:cubicBezTo>
                    <a:cubicBezTo>
                      <a:pt x="118" y="14"/>
                      <a:pt x="118" y="14"/>
                      <a:pt x="118" y="14"/>
                    </a:cubicBezTo>
                    <a:cubicBezTo>
                      <a:pt x="117" y="12"/>
                      <a:pt x="116" y="11"/>
                      <a:pt x="114" y="10"/>
                    </a:cubicBezTo>
                    <a:cubicBezTo>
                      <a:pt x="113" y="10"/>
                      <a:pt x="111" y="10"/>
                      <a:pt x="108" y="10"/>
                    </a:cubicBezTo>
                    <a:cubicBezTo>
                      <a:pt x="108" y="10"/>
                      <a:pt x="108" y="10"/>
                      <a:pt x="108" y="10"/>
                    </a:cubicBezTo>
                    <a:cubicBezTo>
                      <a:pt x="107" y="10"/>
                      <a:pt x="107" y="10"/>
                      <a:pt x="107" y="10"/>
                    </a:cubicBezTo>
                    <a:cubicBezTo>
                      <a:pt x="107" y="10"/>
                      <a:pt x="106" y="10"/>
                      <a:pt x="106" y="10"/>
                    </a:cubicBezTo>
                    <a:cubicBezTo>
                      <a:pt x="105" y="10"/>
                      <a:pt x="104" y="10"/>
                      <a:pt x="103" y="9"/>
                    </a:cubicBezTo>
                    <a:cubicBezTo>
                      <a:pt x="95" y="9"/>
                      <a:pt x="95" y="9"/>
                      <a:pt x="95" y="9"/>
                    </a:cubicBezTo>
                    <a:cubicBezTo>
                      <a:pt x="95" y="9"/>
                      <a:pt x="94" y="9"/>
                      <a:pt x="93" y="9"/>
                    </a:cubicBezTo>
                    <a:cubicBezTo>
                      <a:pt x="92" y="8"/>
                      <a:pt x="92" y="8"/>
                      <a:pt x="92" y="8"/>
                    </a:cubicBezTo>
                    <a:cubicBezTo>
                      <a:pt x="92" y="8"/>
                      <a:pt x="89" y="8"/>
                      <a:pt x="88" y="8"/>
                    </a:cubicBezTo>
                    <a:cubicBezTo>
                      <a:pt x="88" y="8"/>
                      <a:pt x="88" y="8"/>
                      <a:pt x="88" y="8"/>
                    </a:cubicBezTo>
                    <a:cubicBezTo>
                      <a:pt x="87" y="9"/>
                      <a:pt x="86" y="9"/>
                      <a:pt x="85" y="9"/>
                    </a:cubicBezTo>
                    <a:cubicBezTo>
                      <a:pt x="82" y="9"/>
                      <a:pt x="80" y="7"/>
                      <a:pt x="79" y="7"/>
                    </a:cubicBezTo>
                    <a:cubicBezTo>
                      <a:pt x="78" y="6"/>
                      <a:pt x="78" y="6"/>
                      <a:pt x="77" y="5"/>
                    </a:cubicBezTo>
                    <a:cubicBezTo>
                      <a:pt x="76" y="5"/>
                      <a:pt x="76" y="5"/>
                      <a:pt x="76" y="5"/>
                    </a:cubicBezTo>
                    <a:cubicBezTo>
                      <a:pt x="76" y="5"/>
                      <a:pt x="76" y="5"/>
                      <a:pt x="76" y="5"/>
                    </a:cubicBezTo>
                    <a:cubicBezTo>
                      <a:pt x="75" y="6"/>
                      <a:pt x="74" y="6"/>
                      <a:pt x="74" y="7"/>
                    </a:cubicBezTo>
                    <a:cubicBezTo>
                      <a:pt x="73" y="7"/>
                      <a:pt x="73" y="7"/>
                      <a:pt x="73" y="7"/>
                    </a:cubicBezTo>
                    <a:cubicBezTo>
                      <a:pt x="75" y="8"/>
                      <a:pt x="75" y="8"/>
                      <a:pt x="75" y="8"/>
                    </a:cubicBezTo>
                    <a:cubicBezTo>
                      <a:pt x="71" y="9"/>
                      <a:pt x="71" y="9"/>
                      <a:pt x="71" y="9"/>
                    </a:cubicBezTo>
                    <a:cubicBezTo>
                      <a:pt x="70" y="9"/>
                      <a:pt x="70" y="9"/>
                      <a:pt x="70" y="9"/>
                    </a:cubicBezTo>
                    <a:cubicBezTo>
                      <a:pt x="69" y="10"/>
                      <a:pt x="69" y="10"/>
                      <a:pt x="68" y="11"/>
                    </a:cubicBezTo>
                    <a:cubicBezTo>
                      <a:pt x="53" y="20"/>
                      <a:pt x="53" y="20"/>
                      <a:pt x="53" y="20"/>
                    </a:cubicBezTo>
                    <a:cubicBezTo>
                      <a:pt x="53" y="20"/>
                      <a:pt x="53" y="21"/>
                      <a:pt x="52" y="21"/>
                    </a:cubicBezTo>
                    <a:cubicBezTo>
                      <a:pt x="51" y="21"/>
                      <a:pt x="51" y="21"/>
                      <a:pt x="51" y="21"/>
                    </a:cubicBezTo>
                    <a:cubicBezTo>
                      <a:pt x="50" y="22"/>
                      <a:pt x="49" y="23"/>
                      <a:pt x="48" y="23"/>
                    </a:cubicBezTo>
                    <a:cubicBezTo>
                      <a:pt x="47" y="24"/>
                      <a:pt x="45" y="27"/>
                      <a:pt x="44" y="28"/>
                    </a:cubicBezTo>
                    <a:cubicBezTo>
                      <a:pt x="44" y="29"/>
                      <a:pt x="44" y="29"/>
                      <a:pt x="44" y="29"/>
                    </a:cubicBezTo>
                    <a:cubicBezTo>
                      <a:pt x="42" y="33"/>
                      <a:pt x="39" y="36"/>
                      <a:pt x="37" y="40"/>
                    </a:cubicBezTo>
                    <a:cubicBezTo>
                      <a:pt x="36" y="41"/>
                      <a:pt x="36" y="41"/>
                      <a:pt x="36" y="41"/>
                    </a:cubicBezTo>
                    <a:cubicBezTo>
                      <a:pt x="36" y="42"/>
                      <a:pt x="36" y="42"/>
                      <a:pt x="36" y="42"/>
                    </a:cubicBezTo>
                    <a:cubicBezTo>
                      <a:pt x="35" y="44"/>
                      <a:pt x="34" y="46"/>
                      <a:pt x="33" y="49"/>
                    </a:cubicBezTo>
                    <a:cubicBezTo>
                      <a:pt x="32" y="50"/>
                      <a:pt x="32" y="50"/>
                      <a:pt x="32" y="50"/>
                    </a:cubicBezTo>
                    <a:cubicBezTo>
                      <a:pt x="32" y="52"/>
                      <a:pt x="31" y="54"/>
                      <a:pt x="30" y="55"/>
                    </a:cubicBezTo>
                    <a:cubicBezTo>
                      <a:pt x="28" y="59"/>
                      <a:pt x="27" y="62"/>
                      <a:pt x="25" y="64"/>
                    </a:cubicBezTo>
                    <a:cubicBezTo>
                      <a:pt x="23" y="66"/>
                      <a:pt x="21" y="70"/>
                      <a:pt x="16" y="70"/>
                    </a:cubicBezTo>
                    <a:cubicBezTo>
                      <a:pt x="15" y="70"/>
                      <a:pt x="14" y="70"/>
                      <a:pt x="12" y="70"/>
                    </a:cubicBezTo>
                    <a:cubicBezTo>
                      <a:pt x="11" y="70"/>
                      <a:pt x="11" y="70"/>
                      <a:pt x="11" y="70"/>
                    </a:cubicBezTo>
                    <a:cubicBezTo>
                      <a:pt x="10" y="71"/>
                      <a:pt x="10" y="71"/>
                      <a:pt x="10" y="71"/>
                    </a:cubicBezTo>
                    <a:cubicBezTo>
                      <a:pt x="9" y="73"/>
                      <a:pt x="7" y="74"/>
                      <a:pt x="5" y="75"/>
                    </a:cubicBezTo>
                    <a:cubicBezTo>
                      <a:pt x="3" y="75"/>
                      <a:pt x="1" y="75"/>
                      <a:pt x="0" y="75"/>
                    </a:cubicBezTo>
                    <a:cubicBezTo>
                      <a:pt x="7" y="84"/>
                      <a:pt x="7" y="84"/>
                      <a:pt x="7" y="84"/>
                    </a:cubicBezTo>
                    <a:cubicBezTo>
                      <a:pt x="7" y="85"/>
                      <a:pt x="7" y="85"/>
                      <a:pt x="8" y="86"/>
                    </a:cubicBezTo>
                    <a:cubicBezTo>
                      <a:pt x="9" y="87"/>
                      <a:pt x="10" y="88"/>
                      <a:pt x="11" y="90"/>
                    </a:cubicBezTo>
                    <a:cubicBezTo>
                      <a:pt x="11" y="90"/>
                      <a:pt x="11" y="91"/>
                      <a:pt x="12" y="91"/>
                    </a:cubicBezTo>
                    <a:cubicBezTo>
                      <a:pt x="12" y="92"/>
                      <a:pt x="12" y="93"/>
                      <a:pt x="12" y="94"/>
                    </a:cubicBezTo>
                    <a:cubicBezTo>
                      <a:pt x="13" y="95"/>
                      <a:pt x="16" y="96"/>
                      <a:pt x="19" y="97"/>
                    </a:cubicBezTo>
                    <a:cubicBezTo>
                      <a:pt x="20" y="98"/>
                      <a:pt x="20" y="98"/>
                      <a:pt x="20" y="98"/>
                    </a:cubicBezTo>
                    <a:cubicBezTo>
                      <a:pt x="30" y="104"/>
                      <a:pt x="30" y="104"/>
                      <a:pt x="30" y="104"/>
                    </a:cubicBezTo>
                    <a:cubicBezTo>
                      <a:pt x="31" y="105"/>
                      <a:pt x="32" y="107"/>
                      <a:pt x="32" y="109"/>
                    </a:cubicBezTo>
                    <a:cubicBezTo>
                      <a:pt x="32" y="110"/>
                      <a:pt x="32" y="111"/>
                      <a:pt x="32" y="111"/>
                    </a:cubicBezTo>
                    <a:cubicBezTo>
                      <a:pt x="33" y="112"/>
                      <a:pt x="33" y="112"/>
                      <a:pt x="33" y="112"/>
                    </a:cubicBezTo>
                    <a:cubicBezTo>
                      <a:pt x="33" y="114"/>
                      <a:pt x="33" y="116"/>
                      <a:pt x="32" y="118"/>
                    </a:cubicBezTo>
                    <a:cubicBezTo>
                      <a:pt x="42" y="122"/>
                      <a:pt x="42" y="122"/>
                      <a:pt x="42" y="122"/>
                    </a:cubicBezTo>
                    <a:cubicBezTo>
                      <a:pt x="44" y="123"/>
                      <a:pt x="46" y="124"/>
                      <a:pt x="47" y="126"/>
                    </a:cubicBezTo>
                    <a:cubicBezTo>
                      <a:pt x="48" y="125"/>
                      <a:pt x="49" y="124"/>
                      <a:pt x="50" y="124"/>
                    </a:cubicBezTo>
                    <a:cubicBezTo>
                      <a:pt x="52" y="122"/>
                      <a:pt x="54" y="120"/>
                      <a:pt x="57" y="120"/>
                    </a:cubicBezTo>
                    <a:cubicBezTo>
                      <a:pt x="57" y="120"/>
                      <a:pt x="57" y="120"/>
                      <a:pt x="57" y="120"/>
                    </a:cubicBezTo>
                    <a:cubicBezTo>
                      <a:pt x="58" y="120"/>
                      <a:pt x="58" y="120"/>
                      <a:pt x="58" y="120"/>
                    </a:cubicBezTo>
                    <a:cubicBezTo>
                      <a:pt x="60" y="120"/>
                      <a:pt x="63" y="122"/>
                      <a:pt x="65" y="123"/>
                    </a:cubicBezTo>
                    <a:cubicBezTo>
                      <a:pt x="65" y="124"/>
                      <a:pt x="66" y="124"/>
                      <a:pt x="66" y="124"/>
                    </a:cubicBezTo>
                    <a:cubicBezTo>
                      <a:pt x="66" y="125"/>
                      <a:pt x="66" y="125"/>
                      <a:pt x="66" y="125"/>
                    </a:cubicBezTo>
                    <a:cubicBezTo>
                      <a:pt x="67" y="126"/>
                      <a:pt x="67" y="126"/>
                      <a:pt x="67" y="126"/>
                    </a:cubicBezTo>
                    <a:cubicBezTo>
                      <a:pt x="67" y="127"/>
                      <a:pt x="67" y="127"/>
                      <a:pt x="67" y="128"/>
                    </a:cubicBezTo>
                    <a:cubicBezTo>
                      <a:pt x="67" y="128"/>
                      <a:pt x="67" y="129"/>
                      <a:pt x="67" y="129"/>
                    </a:cubicBezTo>
                    <a:cubicBezTo>
                      <a:pt x="67" y="130"/>
                      <a:pt x="67" y="130"/>
                      <a:pt x="67" y="130"/>
                    </a:cubicBezTo>
                    <a:cubicBezTo>
                      <a:pt x="67" y="130"/>
                      <a:pt x="67" y="130"/>
                      <a:pt x="67" y="130"/>
                    </a:cubicBezTo>
                    <a:cubicBezTo>
                      <a:pt x="66" y="132"/>
                      <a:pt x="66" y="132"/>
                      <a:pt x="66" y="132"/>
                    </a:cubicBezTo>
                    <a:cubicBezTo>
                      <a:pt x="63" y="132"/>
                      <a:pt x="63" y="132"/>
                      <a:pt x="63" y="132"/>
                    </a:cubicBezTo>
                    <a:cubicBezTo>
                      <a:pt x="63" y="132"/>
                      <a:pt x="63" y="132"/>
                      <a:pt x="63" y="132"/>
                    </a:cubicBezTo>
                    <a:cubicBezTo>
                      <a:pt x="62" y="132"/>
                      <a:pt x="62" y="132"/>
                      <a:pt x="61" y="132"/>
                    </a:cubicBezTo>
                    <a:cubicBezTo>
                      <a:pt x="61" y="132"/>
                      <a:pt x="61" y="132"/>
                      <a:pt x="61" y="132"/>
                    </a:cubicBezTo>
                    <a:cubicBezTo>
                      <a:pt x="61" y="132"/>
                      <a:pt x="61" y="132"/>
                      <a:pt x="61" y="132"/>
                    </a:cubicBezTo>
                    <a:cubicBezTo>
                      <a:pt x="61" y="132"/>
                      <a:pt x="61" y="133"/>
                      <a:pt x="61" y="133"/>
                    </a:cubicBezTo>
                    <a:cubicBezTo>
                      <a:pt x="61" y="133"/>
                      <a:pt x="61" y="134"/>
                      <a:pt x="62" y="135"/>
                    </a:cubicBezTo>
                    <a:cubicBezTo>
                      <a:pt x="63" y="136"/>
                      <a:pt x="63" y="136"/>
                      <a:pt x="63" y="136"/>
                    </a:cubicBezTo>
                    <a:cubicBezTo>
                      <a:pt x="63" y="136"/>
                      <a:pt x="63" y="136"/>
                      <a:pt x="63" y="136"/>
                    </a:cubicBezTo>
                    <a:cubicBezTo>
                      <a:pt x="65" y="137"/>
                      <a:pt x="65" y="137"/>
                      <a:pt x="65" y="137"/>
                    </a:cubicBezTo>
                    <a:cubicBezTo>
                      <a:pt x="72" y="140"/>
                      <a:pt x="76" y="142"/>
                      <a:pt x="74" y="145"/>
                    </a:cubicBezTo>
                    <a:cubicBezTo>
                      <a:pt x="74" y="146"/>
                      <a:pt x="74" y="146"/>
                      <a:pt x="73" y="147"/>
                    </a:cubicBezTo>
                    <a:cubicBezTo>
                      <a:pt x="73" y="148"/>
                      <a:pt x="73" y="148"/>
                      <a:pt x="73" y="148"/>
                    </a:cubicBezTo>
                    <a:cubicBezTo>
                      <a:pt x="73" y="149"/>
                      <a:pt x="72" y="150"/>
                      <a:pt x="72" y="150"/>
                    </a:cubicBezTo>
                    <a:cubicBezTo>
                      <a:pt x="72" y="150"/>
                      <a:pt x="73" y="150"/>
                      <a:pt x="73" y="150"/>
                    </a:cubicBezTo>
                    <a:cubicBezTo>
                      <a:pt x="73" y="150"/>
                      <a:pt x="74" y="150"/>
                      <a:pt x="74" y="150"/>
                    </a:cubicBezTo>
                    <a:cubicBezTo>
                      <a:pt x="78" y="149"/>
                      <a:pt x="78" y="149"/>
                      <a:pt x="78" y="149"/>
                    </a:cubicBezTo>
                    <a:cubicBezTo>
                      <a:pt x="79" y="149"/>
                      <a:pt x="79" y="149"/>
                      <a:pt x="80" y="149"/>
                    </a:cubicBezTo>
                    <a:cubicBezTo>
                      <a:pt x="83" y="149"/>
                      <a:pt x="87" y="150"/>
                      <a:pt x="90" y="151"/>
                    </a:cubicBezTo>
                    <a:cubicBezTo>
                      <a:pt x="93" y="152"/>
                      <a:pt x="93" y="152"/>
                      <a:pt x="93" y="152"/>
                    </a:cubicBezTo>
                    <a:cubicBezTo>
                      <a:pt x="96" y="153"/>
                      <a:pt x="100" y="154"/>
                      <a:pt x="103" y="154"/>
                    </a:cubicBezTo>
                    <a:cubicBezTo>
                      <a:pt x="107" y="154"/>
                      <a:pt x="110" y="154"/>
                      <a:pt x="114" y="152"/>
                    </a:cubicBezTo>
                    <a:cubicBezTo>
                      <a:pt x="115" y="152"/>
                      <a:pt x="115" y="152"/>
                      <a:pt x="116" y="152"/>
                    </a:cubicBezTo>
                    <a:cubicBezTo>
                      <a:pt x="118" y="152"/>
                      <a:pt x="120" y="153"/>
                      <a:pt x="123" y="153"/>
                    </a:cubicBezTo>
                    <a:cubicBezTo>
                      <a:pt x="124" y="154"/>
                      <a:pt x="125" y="154"/>
                      <a:pt x="125" y="154"/>
                    </a:cubicBezTo>
                    <a:cubicBezTo>
                      <a:pt x="127" y="154"/>
                      <a:pt x="128" y="155"/>
                      <a:pt x="130" y="155"/>
                    </a:cubicBezTo>
                    <a:cubicBezTo>
                      <a:pt x="130" y="156"/>
                      <a:pt x="130" y="156"/>
                      <a:pt x="130" y="156"/>
                    </a:cubicBezTo>
                    <a:cubicBezTo>
                      <a:pt x="131" y="155"/>
                      <a:pt x="131" y="155"/>
                      <a:pt x="131" y="155"/>
                    </a:cubicBezTo>
                    <a:cubicBezTo>
                      <a:pt x="133" y="156"/>
                      <a:pt x="137" y="156"/>
                      <a:pt x="139" y="156"/>
                    </a:cubicBezTo>
                    <a:cubicBezTo>
                      <a:pt x="139" y="156"/>
                      <a:pt x="140" y="156"/>
                      <a:pt x="140" y="156"/>
                    </a:cubicBezTo>
                    <a:cubicBezTo>
                      <a:pt x="141" y="156"/>
                      <a:pt x="141" y="156"/>
                      <a:pt x="141" y="156"/>
                    </a:cubicBezTo>
                    <a:cubicBezTo>
                      <a:pt x="146" y="156"/>
                      <a:pt x="151" y="152"/>
                      <a:pt x="156" y="149"/>
                    </a:cubicBezTo>
                    <a:cubicBezTo>
                      <a:pt x="157" y="149"/>
                      <a:pt x="157" y="149"/>
                      <a:pt x="157" y="149"/>
                    </a:cubicBezTo>
                    <a:cubicBezTo>
                      <a:pt x="158" y="148"/>
                      <a:pt x="159" y="147"/>
                      <a:pt x="160" y="147"/>
                    </a:cubicBezTo>
                    <a:cubicBezTo>
                      <a:pt x="160" y="146"/>
                      <a:pt x="161" y="146"/>
                      <a:pt x="161" y="146"/>
                    </a:cubicBezTo>
                    <a:cubicBezTo>
                      <a:pt x="164" y="144"/>
                      <a:pt x="166" y="142"/>
                      <a:pt x="169" y="142"/>
                    </a:cubicBezTo>
                    <a:cubicBezTo>
                      <a:pt x="188" y="140"/>
                      <a:pt x="188" y="140"/>
                      <a:pt x="188" y="140"/>
                    </a:cubicBezTo>
                    <a:cubicBezTo>
                      <a:pt x="189" y="139"/>
                      <a:pt x="189" y="139"/>
                      <a:pt x="190" y="139"/>
                    </a:cubicBezTo>
                    <a:cubicBezTo>
                      <a:pt x="191" y="139"/>
                      <a:pt x="191" y="139"/>
                      <a:pt x="192" y="139"/>
                    </a:cubicBezTo>
                    <a:cubicBezTo>
                      <a:pt x="192" y="139"/>
                      <a:pt x="192" y="140"/>
                      <a:pt x="193" y="140"/>
                    </a:cubicBezTo>
                    <a:cubicBezTo>
                      <a:pt x="194" y="140"/>
                      <a:pt x="195" y="140"/>
                      <a:pt x="196" y="140"/>
                    </a:cubicBezTo>
                    <a:cubicBezTo>
                      <a:pt x="199" y="142"/>
                      <a:pt x="199" y="142"/>
                      <a:pt x="199" y="142"/>
                    </a:cubicBezTo>
                    <a:cubicBezTo>
                      <a:pt x="201" y="143"/>
                      <a:pt x="204" y="143"/>
                      <a:pt x="206" y="144"/>
                    </a:cubicBezTo>
                    <a:cubicBezTo>
                      <a:pt x="230" y="152"/>
                      <a:pt x="230" y="152"/>
                      <a:pt x="230" y="152"/>
                    </a:cubicBezTo>
                    <a:cubicBezTo>
                      <a:pt x="230" y="146"/>
                      <a:pt x="230" y="139"/>
                      <a:pt x="232" y="135"/>
                    </a:cubicBezTo>
                    <a:cubicBezTo>
                      <a:pt x="233" y="133"/>
                      <a:pt x="237" y="129"/>
                      <a:pt x="238" y="127"/>
                    </a:cubicBezTo>
                    <a:cubicBezTo>
                      <a:pt x="238" y="128"/>
                      <a:pt x="237" y="128"/>
                      <a:pt x="236" y="128"/>
                    </a:cubicBezTo>
                    <a:cubicBezTo>
                      <a:pt x="234" y="128"/>
                      <a:pt x="233" y="127"/>
                      <a:pt x="235" y="125"/>
                    </a:cubicBezTo>
                    <a:cubicBezTo>
                      <a:pt x="235" y="126"/>
                      <a:pt x="235" y="126"/>
                      <a:pt x="235" y="126"/>
                    </a:cubicBezTo>
                    <a:cubicBezTo>
                      <a:pt x="237" y="125"/>
                      <a:pt x="239" y="124"/>
                      <a:pt x="241" y="123"/>
                    </a:cubicBezTo>
                    <a:cubicBezTo>
                      <a:pt x="241" y="123"/>
                      <a:pt x="240" y="123"/>
                      <a:pt x="240" y="123"/>
                    </a:cubicBezTo>
                    <a:cubicBezTo>
                      <a:pt x="239" y="123"/>
                      <a:pt x="239" y="123"/>
                      <a:pt x="239" y="123"/>
                    </a:cubicBezTo>
                    <a:cubicBezTo>
                      <a:pt x="238" y="123"/>
                      <a:pt x="238" y="123"/>
                      <a:pt x="237" y="123"/>
                    </a:cubicBezTo>
                    <a:cubicBezTo>
                      <a:pt x="237" y="123"/>
                      <a:pt x="236" y="123"/>
                      <a:pt x="235" y="123"/>
                    </a:cubicBezTo>
                    <a:cubicBezTo>
                      <a:pt x="235" y="123"/>
                      <a:pt x="240" y="112"/>
                      <a:pt x="243" y="112"/>
                    </a:cubicBezTo>
                    <a:cubicBezTo>
                      <a:pt x="244" y="112"/>
                      <a:pt x="244" y="112"/>
                      <a:pt x="244" y="113"/>
                    </a:cubicBezTo>
                    <a:cubicBezTo>
                      <a:pt x="245" y="115"/>
                      <a:pt x="239" y="116"/>
                      <a:pt x="246" y="117"/>
                    </a:cubicBezTo>
                    <a:cubicBezTo>
                      <a:pt x="248" y="117"/>
                      <a:pt x="251" y="118"/>
                      <a:pt x="253" y="118"/>
                    </a:cubicBezTo>
                    <a:cubicBezTo>
                      <a:pt x="256" y="118"/>
                      <a:pt x="258" y="117"/>
                      <a:pt x="259" y="116"/>
                    </a:cubicBezTo>
                    <a:cubicBezTo>
                      <a:pt x="259" y="115"/>
                      <a:pt x="260" y="114"/>
                      <a:pt x="260" y="113"/>
                    </a:cubicBezTo>
                    <a:cubicBezTo>
                      <a:pt x="260" y="111"/>
                      <a:pt x="260" y="108"/>
                      <a:pt x="260" y="106"/>
                    </a:cubicBezTo>
                    <a:cubicBezTo>
                      <a:pt x="259" y="106"/>
                      <a:pt x="259" y="106"/>
                      <a:pt x="259" y="106"/>
                    </a:cubicBezTo>
                    <a:cubicBezTo>
                      <a:pt x="258" y="105"/>
                      <a:pt x="258" y="105"/>
                      <a:pt x="258" y="105"/>
                    </a:cubicBezTo>
                    <a:cubicBezTo>
                      <a:pt x="258" y="104"/>
                      <a:pt x="257" y="102"/>
                      <a:pt x="257" y="102"/>
                    </a:cubicBezTo>
                    <a:cubicBezTo>
                      <a:pt x="256" y="101"/>
                      <a:pt x="254" y="101"/>
                      <a:pt x="253" y="100"/>
                    </a:cubicBezTo>
                    <a:cubicBezTo>
                      <a:pt x="251" y="100"/>
                      <a:pt x="246" y="103"/>
                      <a:pt x="244" y="104"/>
                    </a:cubicBezTo>
                    <a:cubicBezTo>
                      <a:pt x="243" y="104"/>
                      <a:pt x="243" y="104"/>
                      <a:pt x="243" y="104"/>
                    </a:cubicBezTo>
                    <a:cubicBezTo>
                      <a:pt x="242" y="105"/>
                      <a:pt x="241" y="105"/>
                      <a:pt x="240" y="105"/>
                    </a:cubicBezTo>
                    <a:cubicBezTo>
                      <a:pt x="237" y="107"/>
                      <a:pt x="237" y="107"/>
                      <a:pt x="237" y="107"/>
                    </a:cubicBezTo>
                    <a:cubicBezTo>
                      <a:pt x="236" y="107"/>
                      <a:pt x="235" y="108"/>
                      <a:pt x="234" y="108"/>
                    </a:cubicBezTo>
                    <a:cubicBezTo>
                      <a:pt x="234" y="108"/>
                      <a:pt x="234" y="108"/>
                      <a:pt x="234" y="108"/>
                    </a:cubicBezTo>
                    <a:cubicBezTo>
                      <a:pt x="233" y="108"/>
                      <a:pt x="232" y="107"/>
                      <a:pt x="231" y="107"/>
                    </a:cubicBezTo>
                    <a:cubicBezTo>
                      <a:pt x="229" y="107"/>
                      <a:pt x="227" y="106"/>
                      <a:pt x="225" y="105"/>
                    </a:cubicBezTo>
                    <a:cubicBezTo>
                      <a:pt x="223" y="104"/>
                      <a:pt x="222" y="103"/>
                      <a:pt x="221" y="102"/>
                    </a:cubicBezTo>
                    <a:cubicBezTo>
                      <a:pt x="220" y="101"/>
                      <a:pt x="220" y="101"/>
                      <a:pt x="220" y="101"/>
                    </a:cubicBezTo>
                    <a:cubicBezTo>
                      <a:pt x="219" y="100"/>
                      <a:pt x="218" y="100"/>
                      <a:pt x="217" y="99"/>
                    </a:cubicBezTo>
                    <a:cubicBezTo>
                      <a:pt x="213" y="97"/>
                      <a:pt x="213" y="97"/>
                      <a:pt x="213" y="97"/>
                    </a:cubicBezTo>
                    <a:cubicBezTo>
                      <a:pt x="214" y="96"/>
                      <a:pt x="214" y="96"/>
                      <a:pt x="214" y="96"/>
                    </a:cubicBezTo>
                    <a:cubicBezTo>
                      <a:pt x="214" y="96"/>
                      <a:pt x="214" y="96"/>
                      <a:pt x="214" y="96"/>
                    </a:cubicBezTo>
                    <a:cubicBezTo>
                      <a:pt x="213" y="96"/>
                      <a:pt x="213" y="96"/>
                      <a:pt x="213" y="96"/>
                    </a:cubicBezTo>
                    <a:cubicBezTo>
                      <a:pt x="213" y="95"/>
                      <a:pt x="213" y="94"/>
                      <a:pt x="212" y="94"/>
                    </a:cubicBezTo>
                    <a:cubicBezTo>
                      <a:pt x="212" y="92"/>
                      <a:pt x="212" y="91"/>
                      <a:pt x="212" y="90"/>
                    </a:cubicBezTo>
                    <a:cubicBezTo>
                      <a:pt x="211" y="88"/>
                      <a:pt x="212" y="85"/>
                      <a:pt x="212" y="83"/>
                    </a:cubicBezTo>
                    <a:cubicBezTo>
                      <a:pt x="212" y="82"/>
                      <a:pt x="212" y="81"/>
                      <a:pt x="212" y="80"/>
                    </a:cubicBezTo>
                    <a:cubicBezTo>
                      <a:pt x="212" y="73"/>
                      <a:pt x="214" y="69"/>
                      <a:pt x="216" y="63"/>
                    </a:cubicBezTo>
                    <a:cubicBezTo>
                      <a:pt x="217" y="60"/>
                      <a:pt x="217" y="58"/>
                      <a:pt x="216" y="55"/>
                    </a:cubicBezTo>
                    <a:cubicBezTo>
                      <a:pt x="216" y="54"/>
                      <a:pt x="215" y="52"/>
                      <a:pt x="214" y="50"/>
                    </a:cubicBezTo>
                    <a:cubicBezTo>
                      <a:pt x="213" y="49"/>
                      <a:pt x="213" y="48"/>
                      <a:pt x="213" y="47"/>
                    </a:cubicBezTo>
                    <a:cubicBezTo>
                      <a:pt x="213" y="46"/>
                      <a:pt x="213" y="46"/>
                      <a:pt x="213" y="46"/>
                    </a:cubicBezTo>
                    <a:cubicBezTo>
                      <a:pt x="212" y="45"/>
                      <a:pt x="212" y="44"/>
                      <a:pt x="211" y="43"/>
                    </a:cubicBezTo>
                    <a:cubicBezTo>
                      <a:pt x="209" y="40"/>
                      <a:pt x="207" y="38"/>
                      <a:pt x="205" y="36"/>
                    </a:cubicBezTo>
                    <a:cubicBezTo>
                      <a:pt x="203" y="35"/>
                      <a:pt x="203" y="35"/>
                      <a:pt x="203" y="35"/>
                    </a:cubicBezTo>
                    <a:cubicBezTo>
                      <a:pt x="199" y="31"/>
                      <a:pt x="197" y="27"/>
                      <a:pt x="194" y="23"/>
                    </a:cubicBezTo>
                    <a:cubicBezTo>
                      <a:pt x="192" y="20"/>
                      <a:pt x="190" y="17"/>
                      <a:pt x="189" y="14"/>
                    </a:cubicBezTo>
                    <a:cubicBezTo>
                      <a:pt x="188" y="11"/>
                      <a:pt x="188" y="11"/>
                      <a:pt x="188" y="11"/>
                    </a:cubicBezTo>
                    <a:cubicBezTo>
                      <a:pt x="187" y="10"/>
                      <a:pt x="187" y="10"/>
                      <a:pt x="187" y="10"/>
                    </a:cubicBezTo>
                    <a:cubicBezTo>
                      <a:pt x="187" y="9"/>
                      <a:pt x="186" y="8"/>
                      <a:pt x="186" y="7"/>
                    </a:cubicBezTo>
                    <a:cubicBezTo>
                      <a:pt x="185" y="7"/>
                      <a:pt x="185" y="7"/>
                      <a:pt x="185" y="7"/>
                    </a:cubicBezTo>
                    <a:cubicBezTo>
                      <a:pt x="185" y="6"/>
                      <a:pt x="184" y="4"/>
                      <a:pt x="183" y="4"/>
                    </a:cubicBezTo>
                    <a:cubicBezTo>
                      <a:pt x="183" y="3"/>
                      <a:pt x="183" y="3"/>
                      <a:pt x="183" y="3"/>
                    </a:cubicBezTo>
                    <a:cubicBezTo>
                      <a:pt x="180" y="2"/>
                      <a:pt x="177" y="1"/>
                      <a:pt x="175" y="0"/>
                    </a:cubicBezTo>
                    <a:cubicBezTo>
                      <a:pt x="175" y="0"/>
                      <a:pt x="175" y="0"/>
                      <a:pt x="1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7" name="Freeform 305">
                <a:extLst>
                  <a:ext uri="{FF2B5EF4-FFF2-40B4-BE49-F238E27FC236}">
                    <a16:creationId xmlns:a16="http://schemas.microsoft.com/office/drawing/2014/main" id="{F946203B-2C00-4ACD-A330-78D444F05361}"/>
                  </a:ext>
                </a:extLst>
              </p:cNvPr>
              <p:cNvSpPr>
                <a:spLocks/>
              </p:cNvSpPr>
              <p:nvPr/>
            </p:nvSpPr>
            <p:spPr bwMode="auto">
              <a:xfrm>
                <a:off x="5833538" y="4171552"/>
                <a:ext cx="567508" cy="298494"/>
              </a:xfrm>
              <a:custGeom>
                <a:avLst/>
                <a:gdLst>
                  <a:gd name="T0" fmla="*/ 125 w 178"/>
                  <a:gd name="T1" fmla="*/ 0 h 94"/>
                  <a:gd name="T2" fmla="*/ 111 w 178"/>
                  <a:gd name="T3" fmla="*/ 9 h 94"/>
                  <a:gd name="T4" fmla="*/ 101 w 178"/>
                  <a:gd name="T5" fmla="*/ 15 h 94"/>
                  <a:gd name="T6" fmla="*/ 94 w 178"/>
                  <a:gd name="T7" fmla="*/ 14 h 94"/>
                  <a:gd name="T8" fmla="*/ 83 w 178"/>
                  <a:gd name="T9" fmla="*/ 15 h 94"/>
                  <a:gd name="T10" fmla="*/ 77 w 178"/>
                  <a:gd name="T11" fmla="*/ 17 h 94"/>
                  <a:gd name="T12" fmla="*/ 73 w 178"/>
                  <a:gd name="T13" fmla="*/ 22 h 94"/>
                  <a:gd name="T14" fmla="*/ 71 w 178"/>
                  <a:gd name="T15" fmla="*/ 27 h 94"/>
                  <a:gd name="T16" fmla="*/ 55 w 178"/>
                  <a:gd name="T17" fmla="*/ 29 h 94"/>
                  <a:gd name="T18" fmla="*/ 51 w 178"/>
                  <a:gd name="T19" fmla="*/ 30 h 94"/>
                  <a:gd name="T20" fmla="*/ 43 w 178"/>
                  <a:gd name="T21" fmla="*/ 30 h 94"/>
                  <a:gd name="T22" fmla="*/ 25 w 178"/>
                  <a:gd name="T23" fmla="*/ 20 h 94"/>
                  <a:gd name="T24" fmla="*/ 24 w 178"/>
                  <a:gd name="T25" fmla="*/ 23 h 94"/>
                  <a:gd name="T26" fmla="*/ 23 w 178"/>
                  <a:gd name="T27" fmla="*/ 26 h 94"/>
                  <a:gd name="T28" fmla="*/ 21 w 178"/>
                  <a:gd name="T29" fmla="*/ 31 h 94"/>
                  <a:gd name="T30" fmla="*/ 10 w 178"/>
                  <a:gd name="T31" fmla="*/ 32 h 94"/>
                  <a:gd name="T32" fmla="*/ 11 w 178"/>
                  <a:gd name="T33" fmla="*/ 36 h 94"/>
                  <a:gd name="T34" fmla="*/ 5 w 178"/>
                  <a:gd name="T35" fmla="*/ 43 h 94"/>
                  <a:gd name="T36" fmla="*/ 6 w 178"/>
                  <a:gd name="T37" fmla="*/ 47 h 94"/>
                  <a:gd name="T38" fmla="*/ 7 w 178"/>
                  <a:gd name="T39" fmla="*/ 56 h 94"/>
                  <a:gd name="T40" fmla="*/ 1 w 178"/>
                  <a:gd name="T41" fmla="*/ 56 h 94"/>
                  <a:gd name="T42" fmla="*/ 0 w 178"/>
                  <a:gd name="T43" fmla="*/ 56 h 94"/>
                  <a:gd name="T44" fmla="*/ 0 w 178"/>
                  <a:gd name="T45" fmla="*/ 57 h 94"/>
                  <a:gd name="T46" fmla="*/ 3 w 178"/>
                  <a:gd name="T47" fmla="*/ 63 h 94"/>
                  <a:gd name="T48" fmla="*/ 3 w 178"/>
                  <a:gd name="T49" fmla="*/ 65 h 94"/>
                  <a:gd name="T50" fmla="*/ 8 w 178"/>
                  <a:gd name="T51" fmla="*/ 69 h 94"/>
                  <a:gd name="T52" fmla="*/ 12 w 178"/>
                  <a:gd name="T53" fmla="*/ 72 h 94"/>
                  <a:gd name="T54" fmla="*/ 14 w 178"/>
                  <a:gd name="T55" fmla="*/ 73 h 94"/>
                  <a:gd name="T56" fmla="*/ 17 w 178"/>
                  <a:gd name="T57" fmla="*/ 77 h 94"/>
                  <a:gd name="T58" fmla="*/ 32 w 178"/>
                  <a:gd name="T59" fmla="*/ 88 h 94"/>
                  <a:gd name="T60" fmla="*/ 44 w 178"/>
                  <a:gd name="T61" fmla="*/ 93 h 94"/>
                  <a:gd name="T62" fmla="*/ 47 w 178"/>
                  <a:gd name="T63" fmla="*/ 93 h 94"/>
                  <a:gd name="T64" fmla="*/ 52 w 178"/>
                  <a:gd name="T65" fmla="*/ 94 h 94"/>
                  <a:gd name="T66" fmla="*/ 54 w 178"/>
                  <a:gd name="T67" fmla="*/ 94 h 94"/>
                  <a:gd name="T68" fmla="*/ 58 w 178"/>
                  <a:gd name="T69" fmla="*/ 93 h 94"/>
                  <a:gd name="T70" fmla="*/ 61 w 178"/>
                  <a:gd name="T71" fmla="*/ 92 h 94"/>
                  <a:gd name="T72" fmla="*/ 65 w 178"/>
                  <a:gd name="T73" fmla="*/ 90 h 94"/>
                  <a:gd name="T74" fmla="*/ 87 w 178"/>
                  <a:gd name="T75" fmla="*/ 75 h 94"/>
                  <a:gd name="T76" fmla="*/ 94 w 178"/>
                  <a:gd name="T77" fmla="*/ 79 h 94"/>
                  <a:gd name="T78" fmla="*/ 100 w 178"/>
                  <a:gd name="T79" fmla="*/ 79 h 94"/>
                  <a:gd name="T80" fmla="*/ 105 w 178"/>
                  <a:gd name="T81" fmla="*/ 80 h 94"/>
                  <a:gd name="T82" fmla="*/ 110 w 178"/>
                  <a:gd name="T83" fmla="*/ 81 h 94"/>
                  <a:gd name="T84" fmla="*/ 117 w 178"/>
                  <a:gd name="T85" fmla="*/ 80 h 94"/>
                  <a:gd name="T86" fmla="*/ 122 w 178"/>
                  <a:gd name="T87" fmla="*/ 79 h 94"/>
                  <a:gd name="T88" fmla="*/ 124 w 178"/>
                  <a:gd name="T89" fmla="*/ 76 h 94"/>
                  <a:gd name="T90" fmla="*/ 133 w 178"/>
                  <a:gd name="T91" fmla="*/ 75 h 94"/>
                  <a:gd name="T92" fmla="*/ 141 w 178"/>
                  <a:gd name="T93" fmla="*/ 64 h 94"/>
                  <a:gd name="T94" fmla="*/ 147 w 178"/>
                  <a:gd name="T95" fmla="*/ 51 h 94"/>
                  <a:gd name="T96" fmla="*/ 148 w 178"/>
                  <a:gd name="T97" fmla="*/ 49 h 94"/>
                  <a:gd name="T98" fmla="*/ 162 w 178"/>
                  <a:gd name="T99" fmla="*/ 29 h 94"/>
                  <a:gd name="T100" fmla="*/ 167 w 178"/>
                  <a:gd name="T101" fmla="*/ 26 h 94"/>
                  <a:gd name="T102" fmla="*/ 177 w 178"/>
                  <a:gd name="T103" fmla="*/ 18 h 94"/>
                  <a:gd name="T104" fmla="*/ 174 w 178"/>
                  <a:gd name="T105" fmla="*/ 15 h 94"/>
                  <a:gd name="T106" fmla="*/ 171 w 178"/>
                  <a:gd name="T107" fmla="*/ 12 h 94"/>
                  <a:gd name="T108" fmla="*/ 170 w 178"/>
                  <a:gd name="T109" fmla="*/ 9 h 94"/>
                  <a:gd name="T110" fmla="*/ 163 w 178"/>
                  <a:gd name="T111" fmla="*/ 6 h 94"/>
                  <a:gd name="T112" fmla="*/ 162 w 178"/>
                  <a:gd name="T113" fmla="*/ 6 h 94"/>
                  <a:gd name="T114" fmla="*/ 155 w 178"/>
                  <a:gd name="T115" fmla="*/ 8 h 94"/>
                  <a:gd name="T116" fmla="*/ 153 w 178"/>
                  <a:gd name="T117" fmla="*/ 8 h 94"/>
                  <a:gd name="T118" fmla="*/ 145 w 178"/>
                  <a:gd name="T119" fmla="*/ 2 h 94"/>
                  <a:gd name="T120" fmla="*/ 143 w 178"/>
                  <a:gd name="T121" fmla="*/ 0 h 94"/>
                  <a:gd name="T122" fmla="*/ 139 w 178"/>
                  <a:gd name="T123" fmla="*/ 0 h 94"/>
                  <a:gd name="T124" fmla="*/ 134 w 178"/>
                  <a:gd name="T1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94">
                    <a:moveTo>
                      <a:pt x="129" y="0"/>
                    </a:moveTo>
                    <a:cubicBezTo>
                      <a:pt x="127" y="0"/>
                      <a:pt x="126" y="0"/>
                      <a:pt x="125" y="0"/>
                    </a:cubicBezTo>
                    <a:cubicBezTo>
                      <a:pt x="120" y="2"/>
                      <a:pt x="117" y="5"/>
                      <a:pt x="113" y="8"/>
                    </a:cubicBezTo>
                    <a:cubicBezTo>
                      <a:pt x="111" y="9"/>
                      <a:pt x="111" y="9"/>
                      <a:pt x="111" y="9"/>
                    </a:cubicBezTo>
                    <a:cubicBezTo>
                      <a:pt x="109" y="11"/>
                      <a:pt x="107" y="13"/>
                      <a:pt x="105" y="13"/>
                    </a:cubicBezTo>
                    <a:cubicBezTo>
                      <a:pt x="104" y="14"/>
                      <a:pt x="102" y="14"/>
                      <a:pt x="101" y="15"/>
                    </a:cubicBezTo>
                    <a:cubicBezTo>
                      <a:pt x="100" y="15"/>
                      <a:pt x="100" y="15"/>
                      <a:pt x="99" y="15"/>
                    </a:cubicBezTo>
                    <a:cubicBezTo>
                      <a:pt x="97" y="15"/>
                      <a:pt x="95" y="14"/>
                      <a:pt x="94" y="14"/>
                    </a:cubicBezTo>
                    <a:cubicBezTo>
                      <a:pt x="93" y="14"/>
                      <a:pt x="92" y="14"/>
                      <a:pt x="91" y="14"/>
                    </a:cubicBezTo>
                    <a:cubicBezTo>
                      <a:pt x="89" y="14"/>
                      <a:pt x="86" y="14"/>
                      <a:pt x="83" y="15"/>
                    </a:cubicBezTo>
                    <a:cubicBezTo>
                      <a:pt x="82" y="16"/>
                      <a:pt x="82" y="16"/>
                      <a:pt x="82" y="16"/>
                    </a:cubicBezTo>
                    <a:cubicBezTo>
                      <a:pt x="77" y="17"/>
                      <a:pt x="77" y="17"/>
                      <a:pt x="77" y="17"/>
                    </a:cubicBezTo>
                    <a:cubicBezTo>
                      <a:pt x="75" y="18"/>
                      <a:pt x="74" y="19"/>
                      <a:pt x="72" y="20"/>
                    </a:cubicBezTo>
                    <a:cubicBezTo>
                      <a:pt x="72" y="21"/>
                      <a:pt x="73" y="21"/>
                      <a:pt x="73" y="22"/>
                    </a:cubicBezTo>
                    <a:cubicBezTo>
                      <a:pt x="75" y="26"/>
                      <a:pt x="75" y="26"/>
                      <a:pt x="75" y="26"/>
                    </a:cubicBezTo>
                    <a:cubicBezTo>
                      <a:pt x="71" y="27"/>
                      <a:pt x="71" y="27"/>
                      <a:pt x="71" y="27"/>
                    </a:cubicBezTo>
                    <a:cubicBezTo>
                      <a:pt x="69" y="28"/>
                      <a:pt x="67" y="28"/>
                      <a:pt x="65" y="28"/>
                    </a:cubicBezTo>
                    <a:cubicBezTo>
                      <a:pt x="62" y="29"/>
                      <a:pt x="58" y="29"/>
                      <a:pt x="55" y="29"/>
                    </a:cubicBezTo>
                    <a:cubicBezTo>
                      <a:pt x="54" y="29"/>
                      <a:pt x="53" y="30"/>
                      <a:pt x="53" y="30"/>
                    </a:cubicBezTo>
                    <a:cubicBezTo>
                      <a:pt x="51" y="30"/>
                      <a:pt x="51" y="30"/>
                      <a:pt x="51" y="30"/>
                    </a:cubicBezTo>
                    <a:cubicBezTo>
                      <a:pt x="49" y="30"/>
                      <a:pt x="47" y="30"/>
                      <a:pt x="45" y="30"/>
                    </a:cubicBezTo>
                    <a:cubicBezTo>
                      <a:pt x="44" y="30"/>
                      <a:pt x="43" y="30"/>
                      <a:pt x="43" y="30"/>
                    </a:cubicBezTo>
                    <a:cubicBezTo>
                      <a:pt x="36" y="30"/>
                      <a:pt x="31" y="26"/>
                      <a:pt x="27" y="22"/>
                    </a:cubicBezTo>
                    <a:cubicBezTo>
                      <a:pt x="26" y="21"/>
                      <a:pt x="25" y="21"/>
                      <a:pt x="25" y="20"/>
                    </a:cubicBezTo>
                    <a:cubicBezTo>
                      <a:pt x="24" y="21"/>
                      <a:pt x="24" y="22"/>
                      <a:pt x="24" y="22"/>
                    </a:cubicBezTo>
                    <a:cubicBezTo>
                      <a:pt x="24" y="23"/>
                      <a:pt x="24" y="23"/>
                      <a:pt x="24" y="23"/>
                    </a:cubicBezTo>
                    <a:cubicBezTo>
                      <a:pt x="24" y="23"/>
                      <a:pt x="23" y="24"/>
                      <a:pt x="23" y="25"/>
                    </a:cubicBezTo>
                    <a:cubicBezTo>
                      <a:pt x="23" y="26"/>
                      <a:pt x="23" y="26"/>
                      <a:pt x="23" y="26"/>
                    </a:cubicBezTo>
                    <a:cubicBezTo>
                      <a:pt x="26" y="29"/>
                      <a:pt x="26" y="29"/>
                      <a:pt x="26" y="29"/>
                    </a:cubicBezTo>
                    <a:cubicBezTo>
                      <a:pt x="21" y="31"/>
                      <a:pt x="21" y="31"/>
                      <a:pt x="21" y="31"/>
                    </a:cubicBezTo>
                    <a:cubicBezTo>
                      <a:pt x="18" y="31"/>
                      <a:pt x="15" y="32"/>
                      <a:pt x="12" y="32"/>
                    </a:cubicBezTo>
                    <a:cubicBezTo>
                      <a:pt x="12" y="32"/>
                      <a:pt x="11" y="32"/>
                      <a:pt x="10" y="32"/>
                    </a:cubicBezTo>
                    <a:cubicBezTo>
                      <a:pt x="11" y="33"/>
                      <a:pt x="11" y="34"/>
                      <a:pt x="11" y="35"/>
                    </a:cubicBezTo>
                    <a:cubicBezTo>
                      <a:pt x="11" y="36"/>
                      <a:pt x="11" y="36"/>
                      <a:pt x="11" y="36"/>
                    </a:cubicBezTo>
                    <a:cubicBezTo>
                      <a:pt x="11" y="40"/>
                      <a:pt x="8" y="41"/>
                      <a:pt x="6" y="42"/>
                    </a:cubicBezTo>
                    <a:cubicBezTo>
                      <a:pt x="6" y="42"/>
                      <a:pt x="5" y="42"/>
                      <a:pt x="5" y="43"/>
                    </a:cubicBezTo>
                    <a:cubicBezTo>
                      <a:pt x="5" y="44"/>
                      <a:pt x="6" y="45"/>
                      <a:pt x="6" y="47"/>
                    </a:cubicBezTo>
                    <a:cubicBezTo>
                      <a:pt x="6" y="47"/>
                      <a:pt x="6" y="47"/>
                      <a:pt x="6" y="47"/>
                    </a:cubicBezTo>
                    <a:cubicBezTo>
                      <a:pt x="6" y="49"/>
                      <a:pt x="7" y="51"/>
                      <a:pt x="7" y="53"/>
                    </a:cubicBezTo>
                    <a:cubicBezTo>
                      <a:pt x="7" y="56"/>
                      <a:pt x="7" y="56"/>
                      <a:pt x="7" y="56"/>
                    </a:cubicBezTo>
                    <a:cubicBezTo>
                      <a:pt x="4" y="56"/>
                      <a:pt x="4" y="56"/>
                      <a:pt x="4" y="56"/>
                    </a:cubicBezTo>
                    <a:cubicBezTo>
                      <a:pt x="2" y="56"/>
                      <a:pt x="2" y="56"/>
                      <a:pt x="1" y="56"/>
                    </a:cubicBezTo>
                    <a:cubicBezTo>
                      <a:pt x="0" y="56"/>
                      <a:pt x="0" y="56"/>
                      <a:pt x="0" y="56"/>
                    </a:cubicBezTo>
                    <a:cubicBezTo>
                      <a:pt x="0" y="56"/>
                      <a:pt x="0" y="56"/>
                      <a:pt x="0" y="56"/>
                    </a:cubicBezTo>
                    <a:cubicBezTo>
                      <a:pt x="0" y="56"/>
                      <a:pt x="0" y="56"/>
                      <a:pt x="0" y="56"/>
                    </a:cubicBezTo>
                    <a:cubicBezTo>
                      <a:pt x="0" y="57"/>
                      <a:pt x="0" y="57"/>
                      <a:pt x="0" y="57"/>
                    </a:cubicBezTo>
                    <a:cubicBezTo>
                      <a:pt x="1" y="57"/>
                      <a:pt x="1" y="58"/>
                      <a:pt x="1" y="59"/>
                    </a:cubicBezTo>
                    <a:cubicBezTo>
                      <a:pt x="2" y="61"/>
                      <a:pt x="2" y="62"/>
                      <a:pt x="3" y="63"/>
                    </a:cubicBezTo>
                    <a:cubicBezTo>
                      <a:pt x="3" y="64"/>
                      <a:pt x="3" y="64"/>
                      <a:pt x="3" y="64"/>
                    </a:cubicBezTo>
                    <a:cubicBezTo>
                      <a:pt x="3" y="65"/>
                      <a:pt x="3" y="65"/>
                      <a:pt x="3" y="65"/>
                    </a:cubicBezTo>
                    <a:cubicBezTo>
                      <a:pt x="4" y="65"/>
                      <a:pt x="4" y="65"/>
                      <a:pt x="4" y="66"/>
                    </a:cubicBezTo>
                    <a:cubicBezTo>
                      <a:pt x="4" y="66"/>
                      <a:pt x="5" y="67"/>
                      <a:pt x="8" y="69"/>
                    </a:cubicBezTo>
                    <a:cubicBezTo>
                      <a:pt x="9" y="69"/>
                      <a:pt x="9" y="69"/>
                      <a:pt x="9" y="69"/>
                    </a:cubicBezTo>
                    <a:cubicBezTo>
                      <a:pt x="10" y="70"/>
                      <a:pt x="11" y="71"/>
                      <a:pt x="12" y="72"/>
                    </a:cubicBezTo>
                    <a:cubicBezTo>
                      <a:pt x="13" y="72"/>
                      <a:pt x="13" y="72"/>
                      <a:pt x="13" y="72"/>
                    </a:cubicBezTo>
                    <a:cubicBezTo>
                      <a:pt x="13" y="72"/>
                      <a:pt x="14" y="73"/>
                      <a:pt x="14" y="73"/>
                    </a:cubicBezTo>
                    <a:cubicBezTo>
                      <a:pt x="15" y="74"/>
                      <a:pt x="15" y="74"/>
                      <a:pt x="15" y="74"/>
                    </a:cubicBezTo>
                    <a:cubicBezTo>
                      <a:pt x="16" y="75"/>
                      <a:pt x="16" y="75"/>
                      <a:pt x="17" y="77"/>
                    </a:cubicBezTo>
                    <a:cubicBezTo>
                      <a:pt x="20" y="80"/>
                      <a:pt x="25" y="85"/>
                      <a:pt x="29" y="87"/>
                    </a:cubicBezTo>
                    <a:cubicBezTo>
                      <a:pt x="30" y="87"/>
                      <a:pt x="31" y="88"/>
                      <a:pt x="32" y="88"/>
                    </a:cubicBezTo>
                    <a:cubicBezTo>
                      <a:pt x="34" y="89"/>
                      <a:pt x="34" y="89"/>
                      <a:pt x="34" y="89"/>
                    </a:cubicBezTo>
                    <a:cubicBezTo>
                      <a:pt x="37" y="91"/>
                      <a:pt x="41" y="92"/>
                      <a:pt x="44" y="93"/>
                    </a:cubicBezTo>
                    <a:cubicBezTo>
                      <a:pt x="45" y="93"/>
                      <a:pt x="45" y="93"/>
                      <a:pt x="45" y="93"/>
                    </a:cubicBezTo>
                    <a:cubicBezTo>
                      <a:pt x="46" y="93"/>
                      <a:pt x="46" y="93"/>
                      <a:pt x="47" y="93"/>
                    </a:cubicBezTo>
                    <a:cubicBezTo>
                      <a:pt x="48" y="93"/>
                      <a:pt x="48" y="93"/>
                      <a:pt x="48" y="93"/>
                    </a:cubicBezTo>
                    <a:cubicBezTo>
                      <a:pt x="49" y="93"/>
                      <a:pt x="50" y="94"/>
                      <a:pt x="52" y="94"/>
                    </a:cubicBezTo>
                    <a:cubicBezTo>
                      <a:pt x="52" y="94"/>
                      <a:pt x="52" y="94"/>
                      <a:pt x="53" y="94"/>
                    </a:cubicBezTo>
                    <a:cubicBezTo>
                      <a:pt x="53" y="94"/>
                      <a:pt x="54" y="94"/>
                      <a:pt x="54" y="94"/>
                    </a:cubicBezTo>
                    <a:cubicBezTo>
                      <a:pt x="56" y="93"/>
                      <a:pt x="57" y="93"/>
                      <a:pt x="57" y="93"/>
                    </a:cubicBezTo>
                    <a:cubicBezTo>
                      <a:pt x="58" y="93"/>
                      <a:pt x="58" y="93"/>
                      <a:pt x="58" y="93"/>
                    </a:cubicBezTo>
                    <a:cubicBezTo>
                      <a:pt x="58" y="93"/>
                      <a:pt x="58" y="93"/>
                      <a:pt x="58" y="93"/>
                    </a:cubicBezTo>
                    <a:cubicBezTo>
                      <a:pt x="59" y="92"/>
                      <a:pt x="60" y="92"/>
                      <a:pt x="61" y="92"/>
                    </a:cubicBezTo>
                    <a:cubicBezTo>
                      <a:pt x="62" y="91"/>
                      <a:pt x="63" y="91"/>
                      <a:pt x="64" y="90"/>
                    </a:cubicBezTo>
                    <a:cubicBezTo>
                      <a:pt x="65" y="90"/>
                      <a:pt x="65" y="90"/>
                      <a:pt x="65" y="90"/>
                    </a:cubicBezTo>
                    <a:cubicBezTo>
                      <a:pt x="67" y="89"/>
                      <a:pt x="68" y="88"/>
                      <a:pt x="70" y="88"/>
                    </a:cubicBezTo>
                    <a:cubicBezTo>
                      <a:pt x="87" y="75"/>
                      <a:pt x="87" y="75"/>
                      <a:pt x="87" y="75"/>
                    </a:cubicBezTo>
                    <a:cubicBezTo>
                      <a:pt x="80" y="84"/>
                      <a:pt x="80" y="84"/>
                      <a:pt x="80" y="84"/>
                    </a:cubicBezTo>
                    <a:cubicBezTo>
                      <a:pt x="94" y="79"/>
                      <a:pt x="94" y="79"/>
                      <a:pt x="94" y="79"/>
                    </a:cubicBezTo>
                    <a:cubicBezTo>
                      <a:pt x="95" y="79"/>
                      <a:pt x="95" y="79"/>
                      <a:pt x="95" y="79"/>
                    </a:cubicBezTo>
                    <a:cubicBezTo>
                      <a:pt x="100" y="79"/>
                      <a:pt x="100" y="79"/>
                      <a:pt x="100" y="79"/>
                    </a:cubicBezTo>
                    <a:cubicBezTo>
                      <a:pt x="102" y="79"/>
                      <a:pt x="102" y="79"/>
                      <a:pt x="102" y="79"/>
                    </a:cubicBezTo>
                    <a:cubicBezTo>
                      <a:pt x="103" y="79"/>
                      <a:pt x="104" y="80"/>
                      <a:pt x="105" y="80"/>
                    </a:cubicBezTo>
                    <a:cubicBezTo>
                      <a:pt x="106" y="80"/>
                      <a:pt x="106" y="80"/>
                      <a:pt x="106" y="80"/>
                    </a:cubicBezTo>
                    <a:cubicBezTo>
                      <a:pt x="107" y="80"/>
                      <a:pt x="108" y="81"/>
                      <a:pt x="110" y="81"/>
                    </a:cubicBezTo>
                    <a:cubicBezTo>
                      <a:pt x="111" y="81"/>
                      <a:pt x="111" y="81"/>
                      <a:pt x="111" y="81"/>
                    </a:cubicBezTo>
                    <a:cubicBezTo>
                      <a:pt x="117" y="80"/>
                      <a:pt x="117" y="80"/>
                      <a:pt x="117" y="80"/>
                    </a:cubicBezTo>
                    <a:cubicBezTo>
                      <a:pt x="118" y="80"/>
                      <a:pt x="119" y="80"/>
                      <a:pt x="120" y="80"/>
                    </a:cubicBezTo>
                    <a:cubicBezTo>
                      <a:pt x="120" y="80"/>
                      <a:pt x="121" y="80"/>
                      <a:pt x="122" y="79"/>
                    </a:cubicBezTo>
                    <a:cubicBezTo>
                      <a:pt x="122" y="78"/>
                      <a:pt x="122" y="77"/>
                      <a:pt x="123" y="76"/>
                    </a:cubicBezTo>
                    <a:cubicBezTo>
                      <a:pt x="124" y="76"/>
                      <a:pt x="124" y="76"/>
                      <a:pt x="124" y="76"/>
                    </a:cubicBezTo>
                    <a:cubicBezTo>
                      <a:pt x="126" y="75"/>
                      <a:pt x="127" y="75"/>
                      <a:pt x="129" y="75"/>
                    </a:cubicBezTo>
                    <a:cubicBezTo>
                      <a:pt x="130" y="75"/>
                      <a:pt x="132" y="75"/>
                      <a:pt x="133" y="75"/>
                    </a:cubicBezTo>
                    <a:cubicBezTo>
                      <a:pt x="134" y="75"/>
                      <a:pt x="135" y="74"/>
                      <a:pt x="137" y="72"/>
                    </a:cubicBezTo>
                    <a:cubicBezTo>
                      <a:pt x="138" y="70"/>
                      <a:pt x="139" y="67"/>
                      <a:pt x="141" y="64"/>
                    </a:cubicBezTo>
                    <a:cubicBezTo>
                      <a:pt x="142" y="63"/>
                      <a:pt x="142" y="61"/>
                      <a:pt x="143" y="59"/>
                    </a:cubicBezTo>
                    <a:cubicBezTo>
                      <a:pt x="144" y="56"/>
                      <a:pt x="145" y="53"/>
                      <a:pt x="147" y="51"/>
                    </a:cubicBezTo>
                    <a:cubicBezTo>
                      <a:pt x="147" y="50"/>
                      <a:pt x="147" y="50"/>
                      <a:pt x="147" y="49"/>
                    </a:cubicBezTo>
                    <a:cubicBezTo>
                      <a:pt x="148" y="49"/>
                      <a:pt x="148" y="49"/>
                      <a:pt x="148" y="49"/>
                    </a:cubicBezTo>
                    <a:cubicBezTo>
                      <a:pt x="150" y="45"/>
                      <a:pt x="153" y="41"/>
                      <a:pt x="155" y="37"/>
                    </a:cubicBezTo>
                    <a:cubicBezTo>
                      <a:pt x="157" y="34"/>
                      <a:pt x="159" y="31"/>
                      <a:pt x="162" y="29"/>
                    </a:cubicBezTo>
                    <a:cubicBezTo>
                      <a:pt x="162" y="29"/>
                      <a:pt x="163" y="28"/>
                      <a:pt x="165" y="27"/>
                    </a:cubicBezTo>
                    <a:cubicBezTo>
                      <a:pt x="166" y="27"/>
                      <a:pt x="166" y="27"/>
                      <a:pt x="167" y="26"/>
                    </a:cubicBezTo>
                    <a:cubicBezTo>
                      <a:pt x="178" y="19"/>
                      <a:pt x="178" y="19"/>
                      <a:pt x="178" y="19"/>
                    </a:cubicBezTo>
                    <a:cubicBezTo>
                      <a:pt x="178" y="18"/>
                      <a:pt x="177" y="18"/>
                      <a:pt x="177" y="18"/>
                    </a:cubicBezTo>
                    <a:cubicBezTo>
                      <a:pt x="177" y="17"/>
                      <a:pt x="176" y="17"/>
                      <a:pt x="176" y="17"/>
                    </a:cubicBezTo>
                    <a:cubicBezTo>
                      <a:pt x="175" y="16"/>
                      <a:pt x="175" y="15"/>
                      <a:pt x="174" y="15"/>
                    </a:cubicBezTo>
                    <a:cubicBezTo>
                      <a:pt x="173" y="14"/>
                      <a:pt x="173" y="14"/>
                      <a:pt x="173" y="14"/>
                    </a:cubicBezTo>
                    <a:cubicBezTo>
                      <a:pt x="172" y="13"/>
                      <a:pt x="172" y="13"/>
                      <a:pt x="171" y="12"/>
                    </a:cubicBezTo>
                    <a:cubicBezTo>
                      <a:pt x="171" y="12"/>
                      <a:pt x="170" y="11"/>
                      <a:pt x="169" y="11"/>
                    </a:cubicBezTo>
                    <a:cubicBezTo>
                      <a:pt x="170" y="9"/>
                      <a:pt x="170" y="9"/>
                      <a:pt x="170" y="9"/>
                    </a:cubicBezTo>
                    <a:cubicBezTo>
                      <a:pt x="169" y="11"/>
                      <a:pt x="169" y="11"/>
                      <a:pt x="169" y="11"/>
                    </a:cubicBezTo>
                    <a:cubicBezTo>
                      <a:pt x="167" y="9"/>
                      <a:pt x="165" y="8"/>
                      <a:pt x="163" y="6"/>
                    </a:cubicBezTo>
                    <a:cubicBezTo>
                      <a:pt x="162" y="6"/>
                      <a:pt x="162" y="6"/>
                      <a:pt x="162" y="6"/>
                    </a:cubicBezTo>
                    <a:cubicBezTo>
                      <a:pt x="162" y="6"/>
                      <a:pt x="162" y="6"/>
                      <a:pt x="162" y="6"/>
                    </a:cubicBezTo>
                    <a:cubicBezTo>
                      <a:pt x="160" y="7"/>
                      <a:pt x="158" y="8"/>
                      <a:pt x="155" y="8"/>
                    </a:cubicBezTo>
                    <a:cubicBezTo>
                      <a:pt x="155" y="8"/>
                      <a:pt x="155" y="8"/>
                      <a:pt x="155" y="8"/>
                    </a:cubicBezTo>
                    <a:cubicBezTo>
                      <a:pt x="155" y="8"/>
                      <a:pt x="154" y="8"/>
                      <a:pt x="154" y="8"/>
                    </a:cubicBezTo>
                    <a:cubicBezTo>
                      <a:pt x="153" y="8"/>
                      <a:pt x="153" y="8"/>
                      <a:pt x="153" y="8"/>
                    </a:cubicBezTo>
                    <a:cubicBezTo>
                      <a:pt x="152" y="8"/>
                      <a:pt x="151" y="8"/>
                      <a:pt x="150" y="7"/>
                    </a:cubicBezTo>
                    <a:cubicBezTo>
                      <a:pt x="148" y="6"/>
                      <a:pt x="147" y="4"/>
                      <a:pt x="145" y="2"/>
                    </a:cubicBezTo>
                    <a:cubicBezTo>
                      <a:pt x="144" y="1"/>
                      <a:pt x="144" y="1"/>
                      <a:pt x="144" y="1"/>
                    </a:cubicBezTo>
                    <a:cubicBezTo>
                      <a:pt x="144" y="1"/>
                      <a:pt x="143" y="1"/>
                      <a:pt x="143" y="0"/>
                    </a:cubicBezTo>
                    <a:cubicBezTo>
                      <a:pt x="142" y="0"/>
                      <a:pt x="142" y="0"/>
                      <a:pt x="142" y="0"/>
                    </a:cubicBezTo>
                    <a:cubicBezTo>
                      <a:pt x="141" y="0"/>
                      <a:pt x="140" y="0"/>
                      <a:pt x="139" y="0"/>
                    </a:cubicBezTo>
                    <a:cubicBezTo>
                      <a:pt x="137" y="0"/>
                      <a:pt x="137" y="0"/>
                      <a:pt x="137" y="0"/>
                    </a:cubicBezTo>
                    <a:cubicBezTo>
                      <a:pt x="134" y="0"/>
                      <a:pt x="134" y="0"/>
                      <a:pt x="134" y="0"/>
                    </a:cubicBezTo>
                    <a:cubicBezTo>
                      <a:pt x="132" y="0"/>
                      <a:pt x="131" y="0"/>
                      <a:pt x="1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8" name="Freeform 306">
                <a:extLst>
                  <a:ext uri="{FF2B5EF4-FFF2-40B4-BE49-F238E27FC236}">
                    <a16:creationId xmlns:a16="http://schemas.microsoft.com/office/drawing/2014/main" id="{8080569C-5949-461F-9764-2E5FC6D7D698}"/>
                  </a:ext>
                </a:extLst>
              </p:cNvPr>
              <p:cNvSpPr>
                <a:spLocks/>
              </p:cNvSpPr>
              <p:nvPr/>
            </p:nvSpPr>
            <p:spPr bwMode="auto">
              <a:xfrm>
                <a:off x="5888815" y="4060998"/>
                <a:ext cx="482750" cy="184256"/>
              </a:xfrm>
              <a:custGeom>
                <a:avLst/>
                <a:gdLst>
                  <a:gd name="T0" fmla="*/ 62 w 152"/>
                  <a:gd name="T1" fmla="*/ 4 h 58"/>
                  <a:gd name="T2" fmla="*/ 60 w 152"/>
                  <a:gd name="T3" fmla="*/ 4 h 58"/>
                  <a:gd name="T4" fmla="*/ 57 w 152"/>
                  <a:gd name="T5" fmla="*/ 3 h 58"/>
                  <a:gd name="T6" fmla="*/ 53 w 152"/>
                  <a:gd name="T7" fmla="*/ 1 h 58"/>
                  <a:gd name="T8" fmla="*/ 53 w 152"/>
                  <a:gd name="T9" fmla="*/ 1 h 58"/>
                  <a:gd name="T10" fmla="*/ 47 w 152"/>
                  <a:gd name="T11" fmla="*/ 3 h 58"/>
                  <a:gd name="T12" fmla="*/ 37 w 152"/>
                  <a:gd name="T13" fmla="*/ 9 h 58"/>
                  <a:gd name="T14" fmla="*/ 35 w 152"/>
                  <a:gd name="T15" fmla="*/ 12 h 58"/>
                  <a:gd name="T16" fmla="*/ 26 w 152"/>
                  <a:gd name="T17" fmla="*/ 22 h 58"/>
                  <a:gd name="T18" fmla="*/ 13 w 152"/>
                  <a:gd name="T19" fmla="*/ 25 h 58"/>
                  <a:gd name="T20" fmla="*/ 8 w 152"/>
                  <a:gd name="T21" fmla="*/ 24 h 58"/>
                  <a:gd name="T22" fmla="*/ 7 w 152"/>
                  <a:gd name="T23" fmla="*/ 24 h 58"/>
                  <a:gd name="T24" fmla="*/ 3 w 152"/>
                  <a:gd name="T25" fmla="*/ 30 h 58"/>
                  <a:gd name="T26" fmla="*/ 3 w 152"/>
                  <a:gd name="T27" fmla="*/ 39 h 58"/>
                  <a:gd name="T28" fmla="*/ 0 w 152"/>
                  <a:gd name="T29" fmla="*/ 38 h 58"/>
                  <a:gd name="T30" fmla="*/ 0 w 152"/>
                  <a:gd name="T31" fmla="*/ 38 h 58"/>
                  <a:gd name="T32" fmla="*/ 3 w 152"/>
                  <a:gd name="T33" fmla="*/ 43 h 58"/>
                  <a:gd name="T34" fmla="*/ 6 w 152"/>
                  <a:gd name="T35" fmla="*/ 47 h 58"/>
                  <a:gd name="T36" fmla="*/ 6 w 152"/>
                  <a:gd name="T37" fmla="*/ 48 h 58"/>
                  <a:gd name="T38" fmla="*/ 9 w 152"/>
                  <a:gd name="T39" fmla="*/ 48 h 58"/>
                  <a:gd name="T40" fmla="*/ 13 w 152"/>
                  <a:gd name="T41" fmla="*/ 51 h 58"/>
                  <a:gd name="T42" fmla="*/ 23 w 152"/>
                  <a:gd name="T43" fmla="*/ 57 h 58"/>
                  <a:gd name="T44" fmla="*/ 29 w 152"/>
                  <a:gd name="T45" fmla="*/ 58 h 58"/>
                  <a:gd name="T46" fmla="*/ 48 w 152"/>
                  <a:gd name="T47" fmla="*/ 56 h 58"/>
                  <a:gd name="T48" fmla="*/ 51 w 152"/>
                  <a:gd name="T49" fmla="*/ 50 h 58"/>
                  <a:gd name="T50" fmla="*/ 63 w 152"/>
                  <a:gd name="T51" fmla="*/ 44 h 58"/>
                  <a:gd name="T52" fmla="*/ 76 w 152"/>
                  <a:gd name="T53" fmla="*/ 42 h 58"/>
                  <a:gd name="T54" fmla="*/ 78 w 152"/>
                  <a:gd name="T55" fmla="*/ 42 h 58"/>
                  <a:gd name="T56" fmla="*/ 82 w 152"/>
                  <a:gd name="T57" fmla="*/ 43 h 58"/>
                  <a:gd name="T58" fmla="*/ 85 w 152"/>
                  <a:gd name="T59" fmla="*/ 42 h 58"/>
                  <a:gd name="T60" fmla="*/ 91 w 152"/>
                  <a:gd name="T61" fmla="*/ 38 h 58"/>
                  <a:gd name="T62" fmla="*/ 106 w 152"/>
                  <a:gd name="T63" fmla="*/ 29 h 58"/>
                  <a:gd name="T64" fmla="*/ 118 w 152"/>
                  <a:gd name="T65" fmla="*/ 28 h 58"/>
                  <a:gd name="T66" fmla="*/ 121 w 152"/>
                  <a:gd name="T67" fmla="*/ 28 h 58"/>
                  <a:gd name="T68" fmla="*/ 127 w 152"/>
                  <a:gd name="T69" fmla="*/ 29 h 58"/>
                  <a:gd name="T70" fmla="*/ 134 w 152"/>
                  <a:gd name="T71" fmla="*/ 33 h 58"/>
                  <a:gd name="T72" fmla="*/ 138 w 152"/>
                  <a:gd name="T73" fmla="*/ 36 h 58"/>
                  <a:gd name="T74" fmla="*/ 143 w 152"/>
                  <a:gd name="T75" fmla="*/ 34 h 58"/>
                  <a:gd name="T76" fmla="*/ 144 w 152"/>
                  <a:gd name="T77" fmla="*/ 30 h 58"/>
                  <a:gd name="T78" fmla="*/ 136 w 152"/>
                  <a:gd name="T79" fmla="*/ 35 h 58"/>
                  <a:gd name="T80" fmla="*/ 150 w 152"/>
                  <a:gd name="T81" fmla="*/ 14 h 58"/>
                  <a:gd name="T82" fmla="*/ 148 w 152"/>
                  <a:gd name="T83" fmla="*/ 14 h 58"/>
                  <a:gd name="T84" fmla="*/ 138 w 152"/>
                  <a:gd name="T85" fmla="*/ 8 h 58"/>
                  <a:gd name="T86" fmla="*/ 120 w 152"/>
                  <a:gd name="T87" fmla="*/ 6 h 58"/>
                  <a:gd name="T88" fmla="*/ 112 w 152"/>
                  <a:gd name="T89" fmla="*/ 8 h 58"/>
                  <a:gd name="T90" fmla="*/ 103 w 152"/>
                  <a:gd name="T91" fmla="*/ 6 h 58"/>
                  <a:gd name="T92" fmla="*/ 99 w 152"/>
                  <a:gd name="T93" fmla="*/ 5 h 58"/>
                  <a:gd name="T94" fmla="*/ 96 w 152"/>
                  <a:gd name="T95" fmla="*/ 6 h 58"/>
                  <a:gd name="T96" fmla="*/ 90 w 152"/>
                  <a:gd name="T97" fmla="*/ 8 h 58"/>
                  <a:gd name="T98" fmla="*/ 82 w 152"/>
                  <a:gd name="T99" fmla="*/ 12 h 58"/>
                  <a:gd name="T100" fmla="*/ 81 w 152"/>
                  <a:gd name="T101" fmla="*/ 12 h 58"/>
                  <a:gd name="T102" fmla="*/ 79 w 152"/>
                  <a:gd name="T103" fmla="*/ 12 h 58"/>
                  <a:gd name="T104" fmla="*/ 77 w 152"/>
                  <a:gd name="T105" fmla="*/ 11 h 58"/>
                  <a:gd name="T106" fmla="*/ 76 w 152"/>
                  <a:gd name="T107" fmla="*/ 9 h 58"/>
                  <a:gd name="T108" fmla="*/ 76 w 152"/>
                  <a:gd name="T10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58">
                    <a:moveTo>
                      <a:pt x="71" y="0"/>
                    </a:moveTo>
                    <a:cubicBezTo>
                      <a:pt x="68" y="1"/>
                      <a:pt x="65" y="3"/>
                      <a:pt x="62" y="4"/>
                    </a:cubicBezTo>
                    <a:cubicBezTo>
                      <a:pt x="62" y="4"/>
                      <a:pt x="61" y="4"/>
                      <a:pt x="61" y="4"/>
                    </a:cubicBezTo>
                    <a:cubicBezTo>
                      <a:pt x="60" y="4"/>
                      <a:pt x="60" y="4"/>
                      <a:pt x="60" y="4"/>
                    </a:cubicBezTo>
                    <a:cubicBezTo>
                      <a:pt x="59" y="4"/>
                      <a:pt x="58" y="4"/>
                      <a:pt x="57" y="3"/>
                    </a:cubicBezTo>
                    <a:cubicBezTo>
                      <a:pt x="57" y="3"/>
                      <a:pt x="57" y="3"/>
                      <a:pt x="57" y="3"/>
                    </a:cubicBezTo>
                    <a:cubicBezTo>
                      <a:pt x="56" y="3"/>
                      <a:pt x="55" y="2"/>
                      <a:pt x="55" y="2"/>
                    </a:cubicBezTo>
                    <a:cubicBezTo>
                      <a:pt x="54" y="1"/>
                      <a:pt x="54" y="1"/>
                      <a:pt x="53" y="1"/>
                    </a:cubicBezTo>
                    <a:cubicBezTo>
                      <a:pt x="53" y="1"/>
                      <a:pt x="53" y="1"/>
                      <a:pt x="53" y="1"/>
                    </a:cubicBezTo>
                    <a:cubicBezTo>
                      <a:pt x="53" y="1"/>
                      <a:pt x="53" y="1"/>
                      <a:pt x="53" y="1"/>
                    </a:cubicBezTo>
                    <a:cubicBezTo>
                      <a:pt x="51" y="1"/>
                      <a:pt x="49" y="2"/>
                      <a:pt x="48" y="3"/>
                    </a:cubicBezTo>
                    <a:cubicBezTo>
                      <a:pt x="47" y="3"/>
                      <a:pt x="47" y="3"/>
                      <a:pt x="47" y="3"/>
                    </a:cubicBezTo>
                    <a:cubicBezTo>
                      <a:pt x="44" y="4"/>
                      <a:pt x="39" y="6"/>
                      <a:pt x="38" y="8"/>
                    </a:cubicBezTo>
                    <a:cubicBezTo>
                      <a:pt x="37" y="9"/>
                      <a:pt x="37" y="9"/>
                      <a:pt x="37" y="9"/>
                    </a:cubicBezTo>
                    <a:cubicBezTo>
                      <a:pt x="36" y="10"/>
                      <a:pt x="36" y="10"/>
                      <a:pt x="35" y="11"/>
                    </a:cubicBezTo>
                    <a:cubicBezTo>
                      <a:pt x="35" y="12"/>
                      <a:pt x="35" y="12"/>
                      <a:pt x="35" y="12"/>
                    </a:cubicBezTo>
                    <a:cubicBezTo>
                      <a:pt x="35" y="13"/>
                      <a:pt x="35" y="14"/>
                      <a:pt x="34" y="15"/>
                    </a:cubicBezTo>
                    <a:cubicBezTo>
                      <a:pt x="33" y="18"/>
                      <a:pt x="29" y="20"/>
                      <a:pt x="26" y="22"/>
                    </a:cubicBezTo>
                    <a:cubicBezTo>
                      <a:pt x="22" y="24"/>
                      <a:pt x="18" y="25"/>
                      <a:pt x="14" y="25"/>
                    </a:cubicBezTo>
                    <a:cubicBezTo>
                      <a:pt x="13" y="25"/>
                      <a:pt x="13" y="25"/>
                      <a:pt x="13" y="25"/>
                    </a:cubicBezTo>
                    <a:cubicBezTo>
                      <a:pt x="13" y="25"/>
                      <a:pt x="13" y="25"/>
                      <a:pt x="13" y="25"/>
                    </a:cubicBezTo>
                    <a:cubicBezTo>
                      <a:pt x="11" y="25"/>
                      <a:pt x="10" y="25"/>
                      <a:pt x="8" y="24"/>
                    </a:cubicBezTo>
                    <a:cubicBezTo>
                      <a:pt x="8" y="24"/>
                      <a:pt x="8" y="24"/>
                      <a:pt x="8" y="24"/>
                    </a:cubicBezTo>
                    <a:cubicBezTo>
                      <a:pt x="7" y="24"/>
                      <a:pt x="7" y="24"/>
                      <a:pt x="7" y="24"/>
                    </a:cubicBezTo>
                    <a:cubicBezTo>
                      <a:pt x="6" y="25"/>
                      <a:pt x="6" y="25"/>
                      <a:pt x="6" y="25"/>
                    </a:cubicBezTo>
                    <a:cubicBezTo>
                      <a:pt x="4" y="27"/>
                      <a:pt x="3" y="29"/>
                      <a:pt x="3" y="30"/>
                    </a:cubicBezTo>
                    <a:cubicBezTo>
                      <a:pt x="2" y="30"/>
                      <a:pt x="2" y="30"/>
                      <a:pt x="2" y="30"/>
                    </a:cubicBezTo>
                    <a:cubicBezTo>
                      <a:pt x="3" y="39"/>
                      <a:pt x="3" y="39"/>
                      <a:pt x="3" y="39"/>
                    </a:cubicBezTo>
                    <a:cubicBezTo>
                      <a:pt x="1" y="36"/>
                      <a:pt x="1" y="36"/>
                      <a:pt x="1" y="36"/>
                    </a:cubicBezTo>
                    <a:cubicBezTo>
                      <a:pt x="0" y="37"/>
                      <a:pt x="0" y="37"/>
                      <a:pt x="0" y="38"/>
                    </a:cubicBezTo>
                    <a:cubicBezTo>
                      <a:pt x="0" y="38"/>
                      <a:pt x="0" y="38"/>
                      <a:pt x="0" y="38"/>
                    </a:cubicBezTo>
                    <a:cubicBezTo>
                      <a:pt x="0" y="38"/>
                      <a:pt x="0" y="38"/>
                      <a:pt x="0" y="38"/>
                    </a:cubicBezTo>
                    <a:cubicBezTo>
                      <a:pt x="0" y="39"/>
                      <a:pt x="1" y="39"/>
                      <a:pt x="1" y="40"/>
                    </a:cubicBezTo>
                    <a:cubicBezTo>
                      <a:pt x="2" y="41"/>
                      <a:pt x="3" y="42"/>
                      <a:pt x="3" y="43"/>
                    </a:cubicBezTo>
                    <a:cubicBezTo>
                      <a:pt x="4" y="44"/>
                      <a:pt x="5" y="45"/>
                      <a:pt x="5" y="46"/>
                    </a:cubicBezTo>
                    <a:cubicBezTo>
                      <a:pt x="6" y="47"/>
                      <a:pt x="6" y="47"/>
                      <a:pt x="6" y="47"/>
                    </a:cubicBezTo>
                    <a:cubicBezTo>
                      <a:pt x="6" y="48"/>
                      <a:pt x="6" y="48"/>
                      <a:pt x="6" y="48"/>
                    </a:cubicBezTo>
                    <a:cubicBezTo>
                      <a:pt x="6" y="48"/>
                      <a:pt x="6" y="48"/>
                      <a:pt x="6" y="48"/>
                    </a:cubicBezTo>
                    <a:cubicBezTo>
                      <a:pt x="8" y="48"/>
                      <a:pt x="8" y="48"/>
                      <a:pt x="8" y="48"/>
                    </a:cubicBezTo>
                    <a:cubicBezTo>
                      <a:pt x="8" y="48"/>
                      <a:pt x="9" y="48"/>
                      <a:pt x="9" y="48"/>
                    </a:cubicBezTo>
                    <a:cubicBezTo>
                      <a:pt x="10" y="48"/>
                      <a:pt x="10" y="48"/>
                      <a:pt x="10" y="48"/>
                    </a:cubicBezTo>
                    <a:cubicBezTo>
                      <a:pt x="11" y="49"/>
                      <a:pt x="12" y="50"/>
                      <a:pt x="13" y="51"/>
                    </a:cubicBezTo>
                    <a:cubicBezTo>
                      <a:pt x="14" y="51"/>
                      <a:pt x="14" y="51"/>
                      <a:pt x="14" y="51"/>
                    </a:cubicBezTo>
                    <a:cubicBezTo>
                      <a:pt x="17" y="54"/>
                      <a:pt x="20" y="56"/>
                      <a:pt x="23" y="57"/>
                    </a:cubicBezTo>
                    <a:cubicBezTo>
                      <a:pt x="24" y="58"/>
                      <a:pt x="25" y="58"/>
                      <a:pt x="26" y="58"/>
                    </a:cubicBezTo>
                    <a:cubicBezTo>
                      <a:pt x="27" y="58"/>
                      <a:pt x="28" y="58"/>
                      <a:pt x="29" y="58"/>
                    </a:cubicBezTo>
                    <a:cubicBezTo>
                      <a:pt x="35" y="58"/>
                      <a:pt x="41" y="57"/>
                      <a:pt x="46" y="56"/>
                    </a:cubicBezTo>
                    <a:cubicBezTo>
                      <a:pt x="47" y="56"/>
                      <a:pt x="48" y="56"/>
                      <a:pt x="48" y="56"/>
                    </a:cubicBezTo>
                    <a:cubicBezTo>
                      <a:pt x="48" y="55"/>
                      <a:pt x="48" y="53"/>
                      <a:pt x="49" y="52"/>
                    </a:cubicBezTo>
                    <a:cubicBezTo>
                      <a:pt x="49" y="51"/>
                      <a:pt x="50" y="50"/>
                      <a:pt x="51" y="50"/>
                    </a:cubicBezTo>
                    <a:cubicBezTo>
                      <a:pt x="53" y="48"/>
                      <a:pt x="55" y="47"/>
                      <a:pt x="58" y="46"/>
                    </a:cubicBezTo>
                    <a:cubicBezTo>
                      <a:pt x="63" y="44"/>
                      <a:pt x="63" y="44"/>
                      <a:pt x="63" y="44"/>
                    </a:cubicBezTo>
                    <a:cubicBezTo>
                      <a:pt x="66" y="43"/>
                      <a:pt x="70" y="42"/>
                      <a:pt x="74" y="42"/>
                    </a:cubicBezTo>
                    <a:cubicBezTo>
                      <a:pt x="74" y="42"/>
                      <a:pt x="75" y="42"/>
                      <a:pt x="76" y="42"/>
                    </a:cubicBezTo>
                    <a:cubicBezTo>
                      <a:pt x="77" y="42"/>
                      <a:pt x="77" y="42"/>
                      <a:pt x="77" y="42"/>
                    </a:cubicBezTo>
                    <a:cubicBezTo>
                      <a:pt x="77" y="42"/>
                      <a:pt x="78" y="42"/>
                      <a:pt x="78" y="42"/>
                    </a:cubicBezTo>
                    <a:cubicBezTo>
                      <a:pt x="79" y="42"/>
                      <a:pt x="80" y="42"/>
                      <a:pt x="80" y="42"/>
                    </a:cubicBezTo>
                    <a:cubicBezTo>
                      <a:pt x="81" y="43"/>
                      <a:pt x="82" y="43"/>
                      <a:pt x="82" y="43"/>
                    </a:cubicBezTo>
                    <a:cubicBezTo>
                      <a:pt x="82" y="43"/>
                      <a:pt x="83" y="43"/>
                      <a:pt x="83" y="43"/>
                    </a:cubicBezTo>
                    <a:cubicBezTo>
                      <a:pt x="84" y="43"/>
                      <a:pt x="84" y="42"/>
                      <a:pt x="85" y="42"/>
                    </a:cubicBezTo>
                    <a:cubicBezTo>
                      <a:pt x="87" y="41"/>
                      <a:pt x="88" y="41"/>
                      <a:pt x="90" y="39"/>
                    </a:cubicBezTo>
                    <a:cubicBezTo>
                      <a:pt x="91" y="38"/>
                      <a:pt x="91" y="38"/>
                      <a:pt x="91" y="38"/>
                    </a:cubicBezTo>
                    <a:cubicBezTo>
                      <a:pt x="96" y="34"/>
                      <a:pt x="100" y="31"/>
                      <a:pt x="105" y="29"/>
                    </a:cubicBezTo>
                    <a:cubicBezTo>
                      <a:pt x="106" y="29"/>
                      <a:pt x="106" y="29"/>
                      <a:pt x="106" y="29"/>
                    </a:cubicBezTo>
                    <a:cubicBezTo>
                      <a:pt x="108" y="28"/>
                      <a:pt x="110" y="28"/>
                      <a:pt x="112" y="28"/>
                    </a:cubicBezTo>
                    <a:cubicBezTo>
                      <a:pt x="114" y="28"/>
                      <a:pt x="116" y="28"/>
                      <a:pt x="118" y="28"/>
                    </a:cubicBezTo>
                    <a:cubicBezTo>
                      <a:pt x="120" y="28"/>
                      <a:pt x="120" y="28"/>
                      <a:pt x="120" y="28"/>
                    </a:cubicBezTo>
                    <a:cubicBezTo>
                      <a:pt x="121" y="28"/>
                      <a:pt x="121" y="28"/>
                      <a:pt x="121" y="28"/>
                    </a:cubicBezTo>
                    <a:cubicBezTo>
                      <a:pt x="122" y="28"/>
                      <a:pt x="123" y="28"/>
                      <a:pt x="124" y="28"/>
                    </a:cubicBezTo>
                    <a:cubicBezTo>
                      <a:pt x="125" y="28"/>
                      <a:pt x="126" y="28"/>
                      <a:pt x="127" y="29"/>
                    </a:cubicBezTo>
                    <a:cubicBezTo>
                      <a:pt x="130" y="29"/>
                      <a:pt x="131" y="30"/>
                      <a:pt x="132" y="31"/>
                    </a:cubicBezTo>
                    <a:cubicBezTo>
                      <a:pt x="134" y="33"/>
                      <a:pt x="134" y="33"/>
                      <a:pt x="134" y="33"/>
                    </a:cubicBezTo>
                    <a:cubicBezTo>
                      <a:pt x="135" y="35"/>
                      <a:pt x="136" y="36"/>
                      <a:pt x="136" y="36"/>
                    </a:cubicBezTo>
                    <a:cubicBezTo>
                      <a:pt x="138" y="36"/>
                      <a:pt x="138" y="36"/>
                      <a:pt x="138" y="36"/>
                    </a:cubicBezTo>
                    <a:cubicBezTo>
                      <a:pt x="139" y="36"/>
                      <a:pt x="141" y="35"/>
                      <a:pt x="142" y="35"/>
                    </a:cubicBezTo>
                    <a:cubicBezTo>
                      <a:pt x="143" y="34"/>
                      <a:pt x="143" y="34"/>
                      <a:pt x="143" y="34"/>
                    </a:cubicBezTo>
                    <a:cubicBezTo>
                      <a:pt x="144" y="34"/>
                      <a:pt x="144" y="34"/>
                      <a:pt x="144" y="34"/>
                    </a:cubicBezTo>
                    <a:cubicBezTo>
                      <a:pt x="144" y="32"/>
                      <a:pt x="144" y="31"/>
                      <a:pt x="144" y="30"/>
                    </a:cubicBezTo>
                    <a:cubicBezTo>
                      <a:pt x="145" y="29"/>
                      <a:pt x="145" y="29"/>
                      <a:pt x="145" y="28"/>
                    </a:cubicBezTo>
                    <a:cubicBezTo>
                      <a:pt x="136" y="35"/>
                      <a:pt x="136" y="35"/>
                      <a:pt x="136" y="35"/>
                    </a:cubicBezTo>
                    <a:cubicBezTo>
                      <a:pt x="152" y="15"/>
                      <a:pt x="152" y="15"/>
                      <a:pt x="152" y="15"/>
                    </a:cubicBezTo>
                    <a:cubicBezTo>
                      <a:pt x="152" y="15"/>
                      <a:pt x="151" y="14"/>
                      <a:pt x="150" y="14"/>
                    </a:cubicBezTo>
                    <a:cubicBezTo>
                      <a:pt x="150" y="14"/>
                      <a:pt x="150" y="14"/>
                      <a:pt x="150" y="14"/>
                    </a:cubicBezTo>
                    <a:cubicBezTo>
                      <a:pt x="149" y="14"/>
                      <a:pt x="149" y="14"/>
                      <a:pt x="148" y="14"/>
                    </a:cubicBezTo>
                    <a:cubicBezTo>
                      <a:pt x="146" y="13"/>
                      <a:pt x="144" y="12"/>
                      <a:pt x="143" y="11"/>
                    </a:cubicBezTo>
                    <a:cubicBezTo>
                      <a:pt x="141" y="10"/>
                      <a:pt x="140" y="9"/>
                      <a:pt x="138" y="8"/>
                    </a:cubicBezTo>
                    <a:cubicBezTo>
                      <a:pt x="135" y="6"/>
                      <a:pt x="131" y="4"/>
                      <a:pt x="127" y="4"/>
                    </a:cubicBezTo>
                    <a:cubicBezTo>
                      <a:pt x="125" y="4"/>
                      <a:pt x="123" y="5"/>
                      <a:pt x="120" y="6"/>
                    </a:cubicBezTo>
                    <a:cubicBezTo>
                      <a:pt x="116" y="7"/>
                      <a:pt x="116" y="7"/>
                      <a:pt x="116" y="7"/>
                    </a:cubicBezTo>
                    <a:cubicBezTo>
                      <a:pt x="115" y="8"/>
                      <a:pt x="113" y="8"/>
                      <a:pt x="112" y="8"/>
                    </a:cubicBezTo>
                    <a:cubicBezTo>
                      <a:pt x="110" y="8"/>
                      <a:pt x="107" y="7"/>
                      <a:pt x="104" y="6"/>
                    </a:cubicBezTo>
                    <a:cubicBezTo>
                      <a:pt x="103" y="6"/>
                      <a:pt x="103" y="6"/>
                      <a:pt x="103" y="6"/>
                    </a:cubicBezTo>
                    <a:cubicBezTo>
                      <a:pt x="102" y="6"/>
                      <a:pt x="101" y="6"/>
                      <a:pt x="101" y="5"/>
                    </a:cubicBezTo>
                    <a:cubicBezTo>
                      <a:pt x="100" y="5"/>
                      <a:pt x="100" y="5"/>
                      <a:pt x="99" y="5"/>
                    </a:cubicBezTo>
                    <a:cubicBezTo>
                      <a:pt x="99" y="5"/>
                      <a:pt x="98" y="5"/>
                      <a:pt x="98" y="5"/>
                    </a:cubicBezTo>
                    <a:cubicBezTo>
                      <a:pt x="97" y="5"/>
                      <a:pt x="97" y="6"/>
                      <a:pt x="96" y="6"/>
                    </a:cubicBezTo>
                    <a:cubicBezTo>
                      <a:pt x="94" y="7"/>
                      <a:pt x="92" y="7"/>
                      <a:pt x="91" y="8"/>
                    </a:cubicBezTo>
                    <a:cubicBezTo>
                      <a:pt x="90" y="8"/>
                      <a:pt x="90" y="8"/>
                      <a:pt x="90" y="8"/>
                    </a:cubicBezTo>
                    <a:cubicBezTo>
                      <a:pt x="88" y="10"/>
                      <a:pt x="86" y="11"/>
                      <a:pt x="84" y="11"/>
                    </a:cubicBezTo>
                    <a:cubicBezTo>
                      <a:pt x="83" y="12"/>
                      <a:pt x="83" y="12"/>
                      <a:pt x="82" y="12"/>
                    </a:cubicBezTo>
                    <a:cubicBezTo>
                      <a:pt x="82" y="12"/>
                      <a:pt x="82" y="12"/>
                      <a:pt x="82" y="12"/>
                    </a:cubicBezTo>
                    <a:cubicBezTo>
                      <a:pt x="81" y="12"/>
                      <a:pt x="81" y="12"/>
                      <a:pt x="81" y="12"/>
                    </a:cubicBezTo>
                    <a:cubicBezTo>
                      <a:pt x="80" y="12"/>
                      <a:pt x="80" y="12"/>
                      <a:pt x="79" y="12"/>
                    </a:cubicBezTo>
                    <a:cubicBezTo>
                      <a:pt x="79" y="12"/>
                      <a:pt x="79" y="12"/>
                      <a:pt x="79" y="12"/>
                    </a:cubicBezTo>
                    <a:cubicBezTo>
                      <a:pt x="78" y="11"/>
                      <a:pt x="78" y="11"/>
                      <a:pt x="78" y="11"/>
                    </a:cubicBezTo>
                    <a:cubicBezTo>
                      <a:pt x="77" y="11"/>
                      <a:pt x="77" y="11"/>
                      <a:pt x="77" y="11"/>
                    </a:cubicBezTo>
                    <a:cubicBezTo>
                      <a:pt x="74" y="12"/>
                      <a:pt x="74" y="12"/>
                      <a:pt x="74" y="12"/>
                    </a:cubicBezTo>
                    <a:cubicBezTo>
                      <a:pt x="76" y="9"/>
                      <a:pt x="76" y="9"/>
                      <a:pt x="76" y="9"/>
                    </a:cubicBezTo>
                    <a:cubicBezTo>
                      <a:pt x="76" y="9"/>
                      <a:pt x="76" y="8"/>
                      <a:pt x="76" y="8"/>
                    </a:cubicBezTo>
                    <a:cubicBezTo>
                      <a:pt x="75" y="7"/>
                      <a:pt x="75" y="5"/>
                      <a:pt x="76" y="4"/>
                    </a:cubicBezTo>
                    <a:cubicBezTo>
                      <a:pt x="73" y="3"/>
                      <a:pt x="72" y="1"/>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9" name="Freeform 307">
                <a:extLst>
                  <a:ext uri="{FF2B5EF4-FFF2-40B4-BE49-F238E27FC236}">
                    <a16:creationId xmlns:a16="http://schemas.microsoft.com/office/drawing/2014/main" id="{9EC19B43-A188-4C5D-97FA-BC43F3BEB7CB}"/>
                  </a:ext>
                </a:extLst>
              </p:cNvPr>
              <p:cNvSpPr>
                <a:spLocks/>
              </p:cNvSpPr>
              <p:nvPr/>
            </p:nvSpPr>
            <p:spPr bwMode="auto">
              <a:xfrm>
                <a:off x="5601376" y="3405048"/>
                <a:ext cx="917594" cy="685432"/>
              </a:xfrm>
              <a:custGeom>
                <a:avLst/>
                <a:gdLst>
                  <a:gd name="T0" fmla="*/ 69 w 290"/>
                  <a:gd name="T1" fmla="*/ 22 h 215"/>
                  <a:gd name="T2" fmla="*/ 6 w 290"/>
                  <a:gd name="T3" fmla="*/ 31 h 215"/>
                  <a:gd name="T4" fmla="*/ 6 w 290"/>
                  <a:gd name="T5" fmla="*/ 39 h 215"/>
                  <a:gd name="T6" fmla="*/ 11 w 290"/>
                  <a:gd name="T7" fmla="*/ 38 h 215"/>
                  <a:gd name="T8" fmla="*/ 23 w 290"/>
                  <a:gd name="T9" fmla="*/ 48 h 215"/>
                  <a:gd name="T10" fmla="*/ 19 w 290"/>
                  <a:gd name="T11" fmla="*/ 51 h 215"/>
                  <a:gd name="T12" fmla="*/ 15 w 290"/>
                  <a:gd name="T13" fmla="*/ 74 h 215"/>
                  <a:gd name="T14" fmla="*/ 23 w 290"/>
                  <a:gd name="T15" fmla="*/ 82 h 215"/>
                  <a:gd name="T16" fmla="*/ 25 w 290"/>
                  <a:gd name="T17" fmla="*/ 95 h 215"/>
                  <a:gd name="T18" fmla="*/ 30 w 290"/>
                  <a:gd name="T19" fmla="*/ 103 h 215"/>
                  <a:gd name="T20" fmla="*/ 29 w 290"/>
                  <a:gd name="T21" fmla="*/ 121 h 215"/>
                  <a:gd name="T22" fmla="*/ 31 w 290"/>
                  <a:gd name="T23" fmla="*/ 126 h 215"/>
                  <a:gd name="T24" fmla="*/ 39 w 290"/>
                  <a:gd name="T25" fmla="*/ 138 h 215"/>
                  <a:gd name="T26" fmla="*/ 39 w 290"/>
                  <a:gd name="T27" fmla="*/ 144 h 215"/>
                  <a:gd name="T28" fmla="*/ 48 w 290"/>
                  <a:gd name="T29" fmla="*/ 152 h 215"/>
                  <a:gd name="T30" fmla="*/ 66 w 290"/>
                  <a:gd name="T31" fmla="*/ 157 h 215"/>
                  <a:gd name="T32" fmla="*/ 74 w 290"/>
                  <a:gd name="T33" fmla="*/ 157 h 215"/>
                  <a:gd name="T34" fmla="*/ 75 w 290"/>
                  <a:gd name="T35" fmla="*/ 170 h 215"/>
                  <a:gd name="T36" fmla="*/ 82 w 290"/>
                  <a:gd name="T37" fmla="*/ 176 h 215"/>
                  <a:gd name="T38" fmla="*/ 87 w 290"/>
                  <a:gd name="T39" fmla="*/ 173 h 215"/>
                  <a:gd name="T40" fmla="*/ 96 w 290"/>
                  <a:gd name="T41" fmla="*/ 167 h 215"/>
                  <a:gd name="T42" fmla="*/ 101 w 290"/>
                  <a:gd name="T43" fmla="*/ 168 h 215"/>
                  <a:gd name="T44" fmla="*/ 114 w 290"/>
                  <a:gd name="T45" fmla="*/ 161 h 215"/>
                  <a:gd name="T46" fmla="*/ 116 w 290"/>
                  <a:gd name="T47" fmla="*/ 182 h 215"/>
                  <a:gd name="T48" fmla="*/ 126 w 290"/>
                  <a:gd name="T49" fmla="*/ 181 h 215"/>
                  <a:gd name="T50" fmla="*/ 141 w 290"/>
                  <a:gd name="T51" fmla="*/ 192 h 215"/>
                  <a:gd name="T52" fmla="*/ 152 w 290"/>
                  <a:gd name="T53" fmla="*/ 202 h 215"/>
                  <a:gd name="T54" fmla="*/ 152 w 290"/>
                  <a:gd name="T55" fmla="*/ 203 h 215"/>
                  <a:gd name="T56" fmla="*/ 165 w 290"/>
                  <a:gd name="T57" fmla="*/ 196 h 215"/>
                  <a:gd name="T58" fmla="*/ 170 w 290"/>
                  <a:gd name="T59" fmla="*/ 203 h 215"/>
                  <a:gd name="T60" fmla="*/ 174 w 290"/>
                  <a:gd name="T61" fmla="*/ 210 h 215"/>
                  <a:gd name="T62" fmla="*/ 184 w 290"/>
                  <a:gd name="T63" fmla="*/ 205 h 215"/>
                  <a:gd name="T64" fmla="*/ 193 w 290"/>
                  <a:gd name="T65" fmla="*/ 205 h 215"/>
                  <a:gd name="T66" fmla="*/ 209 w 290"/>
                  <a:gd name="T67" fmla="*/ 205 h 215"/>
                  <a:gd name="T68" fmla="*/ 243 w 290"/>
                  <a:gd name="T69" fmla="*/ 214 h 215"/>
                  <a:gd name="T70" fmla="*/ 250 w 290"/>
                  <a:gd name="T71" fmla="*/ 213 h 215"/>
                  <a:gd name="T72" fmla="*/ 266 w 290"/>
                  <a:gd name="T73" fmla="*/ 182 h 215"/>
                  <a:gd name="T74" fmla="*/ 280 w 290"/>
                  <a:gd name="T75" fmla="*/ 171 h 215"/>
                  <a:gd name="T76" fmla="*/ 287 w 290"/>
                  <a:gd name="T77" fmla="*/ 158 h 215"/>
                  <a:gd name="T78" fmla="*/ 287 w 290"/>
                  <a:gd name="T79" fmla="*/ 151 h 215"/>
                  <a:gd name="T80" fmla="*/ 276 w 290"/>
                  <a:gd name="T81" fmla="*/ 128 h 215"/>
                  <a:gd name="T82" fmla="*/ 273 w 290"/>
                  <a:gd name="T83" fmla="*/ 126 h 215"/>
                  <a:gd name="T84" fmla="*/ 274 w 290"/>
                  <a:gd name="T85" fmla="*/ 118 h 215"/>
                  <a:gd name="T86" fmla="*/ 274 w 290"/>
                  <a:gd name="T87" fmla="*/ 106 h 215"/>
                  <a:gd name="T88" fmla="*/ 265 w 290"/>
                  <a:gd name="T89" fmla="*/ 102 h 215"/>
                  <a:gd name="T90" fmla="*/ 285 w 290"/>
                  <a:gd name="T91" fmla="*/ 79 h 215"/>
                  <a:gd name="T92" fmla="*/ 280 w 290"/>
                  <a:gd name="T93" fmla="*/ 55 h 215"/>
                  <a:gd name="T94" fmla="*/ 272 w 290"/>
                  <a:gd name="T95" fmla="*/ 34 h 215"/>
                  <a:gd name="T96" fmla="*/ 262 w 290"/>
                  <a:gd name="T97" fmla="*/ 23 h 215"/>
                  <a:gd name="T98" fmla="*/ 256 w 290"/>
                  <a:gd name="T99" fmla="*/ 22 h 215"/>
                  <a:gd name="T100" fmla="*/ 169 w 290"/>
                  <a:gd name="T101" fmla="*/ 19 h 215"/>
                  <a:gd name="T102" fmla="*/ 158 w 290"/>
                  <a:gd name="T103" fmla="*/ 23 h 215"/>
                  <a:gd name="T104" fmla="*/ 164 w 290"/>
                  <a:gd name="T105" fmla="*/ 15 h 215"/>
                  <a:gd name="T106" fmla="*/ 133 w 290"/>
                  <a:gd name="T107" fmla="*/ 7 h 215"/>
                  <a:gd name="T108" fmla="*/ 124 w 290"/>
                  <a:gd name="T10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 h="215">
                    <a:moveTo>
                      <a:pt x="124" y="0"/>
                    </a:moveTo>
                    <a:cubicBezTo>
                      <a:pt x="119" y="0"/>
                      <a:pt x="115" y="1"/>
                      <a:pt x="111" y="2"/>
                    </a:cubicBezTo>
                    <a:cubicBezTo>
                      <a:pt x="100" y="5"/>
                      <a:pt x="88" y="9"/>
                      <a:pt x="77" y="12"/>
                    </a:cubicBezTo>
                    <a:cubicBezTo>
                      <a:pt x="75" y="13"/>
                      <a:pt x="72" y="20"/>
                      <a:pt x="69" y="22"/>
                    </a:cubicBezTo>
                    <a:cubicBezTo>
                      <a:pt x="62" y="26"/>
                      <a:pt x="52" y="25"/>
                      <a:pt x="44" y="27"/>
                    </a:cubicBezTo>
                    <a:cubicBezTo>
                      <a:pt x="37" y="29"/>
                      <a:pt x="30" y="31"/>
                      <a:pt x="23" y="32"/>
                    </a:cubicBezTo>
                    <a:cubicBezTo>
                      <a:pt x="21" y="33"/>
                      <a:pt x="14" y="34"/>
                      <a:pt x="13" y="36"/>
                    </a:cubicBezTo>
                    <a:cubicBezTo>
                      <a:pt x="12" y="34"/>
                      <a:pt x="7" y="32"/>
                      <a:pt x="6" y="31"/>
                    </a:cubicBezTo>
                    <a:cubicBezTo>
                      <a:pt x="7" y="32"/>
                      <a:pt x="6" y="32"/>
                      <a:pt x="7" y="32"/>
                    </a:cubicBezTo>
                    <a:cubicBezTo>
                      <a:pt x="7" y="32"/>
                      <a:pt x="7" y="32"/>
                      <a:pt x="7" y="32"/>
                    </a:cubicBezTo>
                    <a:cubicBezTo>
                      <a:pt x="2" y="34"/>
                      <a:pt x="0" y="39"/>
                      <a:pt x="5" y="39"/>
                    </a:cubicBezTo>
                    <a:cubicBezTo>
                      <a:pt x="5" y="39"/>
                      <a:pt x="6" y="39"/>
                      <a:pt x="6" y="39"/>
                    </a:cubicBezTo>
                    <a:cubicBezTo>
                      <a:pt x="7" y="38"/>
                      <a:pt x="7" y="38"/>
                      <a:pt x="8" y="38"/>
                    </a:cubicBezTo>
                    <a:cubicBezTo>
                      <a:pt x="8" y="38"/>
                      <a:pt x="8" y="38"/>
                      <a:pt x="9" y="38"/>
                    </a:cubicBezTo>
                    <a:cubicBezTo>
                      <a:pt x="9" y="38"/>
                      <a:pt x="9" y="38"/>
                      <a:pt x="10" y="38"/>
                    </a:cubicBezTo>
                    <a:cubicBezTo>
                      <a:pt x="10" y="38"/>
                      <a:pt x="11" y="38"/>
                      <a:pt x="11" y="38"/>
                    </a:cubicBezTo>
                    <a:cubicBezTo>
                      <a:pt x="12" y="38"/>
                      <a:pt x="12" y="38"/>
                      <a:pt x="12" y="38"/>
                    </a:cubicBezTo>
                    <a:cubicBezTo>
                      <a:pt x="16" y="38"/>
                      <a:pt x="20" y="38"/>
                      <a:pt x="24" y="39"/>
                    </a:cubicBezTo>
                    <a:cubicBezTo>
                      <a:pt x="24" y="40"/>
                      <a:pt x="23" y="42"/>
                      <a:pt x="23" y="42"/>
                    </a:cubicBezTo>
                    <a:cubicBezTo>
                      <a:pt x="23" y="44"/>
                      <a:pt x="24" y="46"/>
                      <a:pt x="23" y="48"/>
                    </a:cubicBezTo>
                    <a:cubicBezTo>
                      <a:pt x="22" y="47"/>
                      <a:pt x="20" y="45"/>
                      <a:pt x="17" y="45"/>
                    </a:cubicBezTo>
                    <a:cubicBezTo>
                      <a:pt x="18" y="49"/>
                      <a:pt x="18" y="49"/>
                      <a:pt x="18" y="49"/>
                    </a:cubicBezTo>
                    <a:cubicBezTo>
                      <a:pt x="19" y="49"/>
                      <a:pt x="19" y="50"/>
                      <a:pt x="19" y="50"/>
                    </a:cubicBezTo>
                    <a:cubicBezTo>
                      <a:pt x="19" y="51"/>
                      <a:pt x="19" y="51"/>
                      <a:pt x="19" y="51"/>
                    </a:cubicBezTo>
                    <a:cubicBezTo>
                      <a:pt x="20" y="55"/>
                      <a:pt x="21" y="59"/>
                      <a:pt x="21" y="65"/>
                    </a:cubicBezTo>
                    <a:cubicBezTo>
                      <a:pt x="20" y="67"/>
                      <a:pt x="20" y="70"/>
                      <a:pt x="18" y="72"/>
                    </a:cubicBezTo>
                    <a:cubicBezTo>
                      <a:pt x="17" y="73"/>
                      <a:pt x="17" y="73"/>
                      <a:pt x="17" y="73"/>
                    </a:cubicBezTo>
                    <a:cubicBezTo>
                      <a:pt x="16" y="74"/>
                      <a:pt x="15" y="74"/>
                      <a:pt x="15" y="74"/>
                    </a:cubicBezTo>
                    <a:cubicBezTo>
                      <a:pt x="15" y="75"/>
                      <a:pt x="15" y="75"/>
                      <a:pt x="15" y="75"/>
                    </a:cubicBezTo>
                    <a:cubicBezTo>
                      <a:pt x="16" y="76"/>
                      <a:pt x="16" y="76"/>
                      <a:pt x="16" y="76"/>
                    </a:cubicBezTo>
                    <a:cubicBezTo>
                      <a:pt x="18" y="78"/>
                      <a:pt x="18" y="78"/>
                      <a:pt x="18" y="78"/>
                    </a:cubicBezTo>
                    <a:cubicBezTo>
                      <a:pt x="20" y="80"/>
                      <a:pt x="21" y="81"/>
                      <a:pt x="23" y="82"/>
                    </a:cubicBezTo>
                    <a:cubicBezTo>
                      <a:pt x="24" y="83"/>
                      <a:pt x="26" y="84"/>
                      <a:pt x="26" y="85"/>
                    </a:cubicBezTo>
                    <a:cubicBezTo>
                      <a:pt x="27" y="85"/>
                      <a:pt x="27" y="85"/>
                      <a:pt x="27" y="85"/>
                    </a:cubicBezTo>
                    <a:cubicBezTo>
                      <a:pt x="28" y="89"/>
                      <a:pt x="27" y="92"/>
                      <a:pt x="26" y="93"/>
                    </a:cubicBezTo>
                    <a:cubicBezTo>
                      <a:pt x="25" y="94"/>
                      <a:pt x="25" y="94"/>
                      <a:pt x="25" y="95"/>
                    </a:cubicBezTo>
                    <a:cubicBezTo>
                      <a:pt x="25" y="95"/>
                      <a:pt x="26" y="96"/>
                      <a:pt x="26" y="96"/>
                    </a:cubicBezTo>
                    <a:cubicBezTo>
                      <a:pt x="27" y="98"/>
                      <a:pt x="27" y="98"/>
                      <a:pt x="27" y="98"/>
                    </a:cubicBezTo>
                    <a:cubicBezTo>
                      <a:pt x="29" y="100"/>
                      <a:pt x="29" y="100"/>
                      <a:pt x="29" y="100"/>
                    </a:cubicBezTo>
                    <a:cubicBezTo>
                      <a:pt x="29" y="101"/>
                      <a:pt x="29" y="102"/>
                      <a:pt x="30" y="103"/>
                    </a:cubicBezTo>
                    <a:cubicBezTo>
                      <a:pt x="30" y="105"/>
                      <a:pt x="30" y="106"/>
                      <a:pt x="30" y="107"/>
                    </a:cubicBezTo>
                    <a:cubicBezTo>
                      <a:pt x="30" y="111"/>
                      <a:pt x="29" y="113"/>
                      <a:pt x="27" y="117"/>
                    </a:cubicBezTo>
                    <a:cubicBezTo>
                      <a:pt x="27" y="117"/>
                      <a:pt x="28" y="118"/>
                      <a:pt x="29" y="120"/>
                    </a:cubicBezTo>
                    <a:cubicBezTo>
                      <a:pt x="29" y="121"/>
                      <a:pt x="29" y="121"/>
                      <a:pt x="29" y="121"/>
                    </a:cubicBezTo>
                    <a:cubicBezTo>
                      <a:pt x="30" y="122"/>
                      <a:pt x="30" y="124"/>
                      <a:pt x="30" y="124"/>
                    </a:cubicBezTo>
                    <a:cubicBezTo>
                      <a:pt x="31" y="125"/>
                      <a:pt x="31" y="125"/>
                      <a:pt x="31" y="126"/>
                    </a:cubicBezTo>
                    <a:cubicBezTo>
                      <a:pt x="31" y="126"/>
                      <a:pt x="31" y="126"/>
                      <a:pt x="31" y="126"/>
                    </a:cubicBezTo>
                    <a:cubicBezTo>
                      <a:pt x="31" y="126"/>
                      <a:pt x="31" y="126"/>
                      <a:pt x="31" y="126"/>
                    </a:cubicBezTo>
                    <a:cubicBezTo>
                      <a:pt x="32" y="127"/>
                      <a:pt x="32" y="127"/>
                      <a:pt x="32" y="127"/>
                    </a:cubicBezTo>
                    <a:cubicBezTo>
                      <a:pt x="34" y="128"/>
                      <a:pt x="36" y="130"/>
                      <a:pt x="38" y="133"/>
                    </a:cubicBezTo>
                    <a:cubicBezTo>
                      <a:pt x="38" y="135"/>
                      <a:pt x="38" y="136"/>
                      <a:pt x="38" y="137"/>
                    </a:cubicBezTo>
                    <a:cubicBezTo>
                      <a:pt x="39" y="138"/>
                      <a:pt x="39" y="138"/>
                      <a:pt x="39" y="138"/>
                    </a:cubicBezTo>
                    <a:cubicBezTo>
                      <a:pt x="39" y="139"/>
                      <a:pt x="38" y="139"/>
                      <a:pt x="38" y="140"/>
                    </a:cubicBezTo>
                    <a:cubicBezTo>
                      <a:pt x="38" y="141"/>
                      <a:pt x="38" y="141"/>
                      <a:pt x="38" y="141"/>
                    </a:cubicBezTo>
                    <a:cubicBezTo>
                      <a:pt x="38" y="142"/>
                      <a:pt x="38" y="143"/>
                      <a:pt x="38" y="143"/>
                    </a:cubicBezTo>
                    <a:cubicBezTo>
                      <a:pt x="39" y="144"/>
                      <a:pt x="39" y="144"/>
                      <a:pt x="39" y="144"/>
                    </a:cubicBezTo>
                    <a:cubicBezTo>
                      <a:pt x="42" y="145"/>
                      <a:pt x="43" y="146"/>
                      <a:pt x="44" y="148"/>
                    </a:cubicBezTo>
                    <a:cubicBezTo>
                      <a:pt x="45" y="149"/>
                      <a:pt x="45" y="149"/>
                      <a:pt x="45" y="149"/>
                    </a:cubicBezTo>
                    <a:cubicBezTo>
                      <a:pt x="46" y="150"/>
                      <a:pt x="47" y="152"/>
                      <a:pt x="47" y="152"/>
                    </a:cubicBezTo>
                    <a:cubicBezTo>
                      <a:pt x="48" y="152"/>
                      <a:pt x="48" y="152"/>
                      <a:pt x="48" y="152"/>
                    </a:cubicBezTo>
                    <a:cubicBezTo>
                      <a:pt x="48" y="153"/>
                      <a:pt x="48" y="153"/>
                      <a:pt x="48" y="153"/>
                    </a:cubicBezTo>
                    <a:cubicBezTo>
                      <a:pt x="49" y="153"/>
                      <a:pt x="49" y="153"/>
                      <a:pt x="49" y="153"/>
                    </a:cubicBezTo>
                    <a:cubicBezTo>
                      <a:pt x="51" y="153"/>
                      <a:pt x="51" y="153"/>
                      <a:pt x="51" y="153"/>
                    </a:cubicBezTo>
                    <a:cubicBezTo>
                      <a:pt x="66" y="157"/>
                      <a:pt x="66" y="157"/>
                      <a:pt x="66" y="157"/>
                    </a:cubicBezTo>
                    <a:cubicBezTo>
                      <a:pt x="66" y="157"/>
                      <a:pt x="66" y="157"/>
                      <a:pt x="66" y="157"/>
                    </a:cubicBezTo>
                    <a:cubicBezTo>
                      <a:pt x="66" y="157"/>
                      <a:pt x="67" y="157"/>
                      <a:pt x="68" y="156"/>
                    </a:cubicBezTo>
                    <a:cubicBezTo>
                      <a:pt x="69" y="156"/>
                      <a:pt x="70" y="156"/>
                      <a:pt x="71" y="156"/>
                    </a:cubicBezTo>
                    <a:cubicBezTo>
                      <a:pt x="72" y="156"/>
                      <a:pt x="73" y="157"/>
                      <a:pt x="74" y="157"/>
                    </a:cubicBezTo>
                    <a:cubicBezTo>
                      <a:pt x="75" y="158"/>
                      <a:pt x="77" y="160"/>
                      <a:pt x="77" y="162"/>
                    </a:cubicBezTo>
                    <a:cubicBezTo>
                      <a:pt x="77" y="163"/>
                      <a:pt x="77" y="163"/>
                      <a:pt x="77" y="163"/>
                    </a:cubicBezTo>
                    <a:cubicBezTo>
                      <a:pt x="77" y="165"/>
                      <a:pt x="77" y="167"/>
                      <a:pt x="76" y="168"/>
                    </a:cubicBezTo>
                    <a:cubicBezTo>
                      <a:pt x="75" y="170"/>
                      <a:pt x="75" y="170"/>
                      <a:pt x="75" y="170"/>
                    </a:cubicBezTo>
                    <a:cubicBezTo>
                      <a:pt x="75" y="170"/>
                      <a:pt x="75" y="170"/>
                      <a:pt x="75" y="170"/>
                    </a:cubicBezTo>
                    <a:cubicBezTo>
                      <a:pt x="76" y="171"/>
                      <a:pt x="76" y="171"/>
                      <a:pt x="76" y="171"/>
                    </a:cubicBezTo>
                    <a:cubicBezTo>
                      <a:pt x="77" y="172"/>
                      <a:pt x="78" y="172"/>
                      <a:pt x="79" y="173"/>
                    </a:cubicBezTo>
                    <a:cubicBezTo>
                      <a:pt x="80" y="174"/>
                      <a:pt x="81" y="176"/>
                      <a:pt x="82" y="176"/>
                    </a:cubicBezTo>
                    <a:cubicBezTo>
                      <a:pt x="82" y="176"/>
                      <a:pt x="82" y="176"/>
                      <a:pt x="82" y="176"/>
                    </a:cubicBezTo>
                    <a:cubicBezTo>
                      <a:pt x="82" y="176"/>
                      <a:pt x="84" y="176"/>
                      <a:pt x="84" y="175"/>
                    </a:cubicBezTo>
                    <a:cubicBezTo>
                      <a:pt x="85" y="175"/>
                      <a:pt x="85" y="175"/>
                      <a:pt x="85" y="175"/>
                    </a:cubicBezTo>
                    <a:cubicBezTo>
                      <a:pt x="86" y="174"/>
                      <a:pt x="87" y="174"/>
                      <a:pt x="87" y="173"/>
                    </a:cubicBezTo>
                    <a:cubicBezTo>
                      <a:pt x="87" y="173"/>
                      <a:pt x="87" y="173"/>
                      <a:pt x="87" y="172"/>
                    </a:cubicBezTo>
                    <a:cubicBezTo>
                      <a:pt x="83" y="163"/>
                      <a:pt x="83" y="163"/>
                      <a:pt x="83" y="163"/>
                    </a:cubicBezTo>
                    <a:cubicBezTo>
                      <a:pt x="93" y="166"/>
                      <a:pt x="93" y="166"/>
                      <a:pt x="93" y="166"/>
                    </a:cubicBezTo>
                    <a:cubicBezTo>
                      <a:pt x="94" y="166"/>
                      <a:pt x="95" y="167"/>
                      <a:pt x="96" y="167"/>
                    </a:cubicBezTo>
                    <a:cubicBezTo>
                      <a:pt x="96" y="167"/>
                      <a:pt x="96" y="167"/>
                      <a:pt x="96" y="167"/>
                    </a:cubicBezTo>
                    <a:cubicBezTo>
                      <a:pt x="97" y="167"/>
                      <a:pt x="97" y="167"/>
                      <a:pt x="98" y="168"/>
                    </a:cubicBezTo>
                    <a:cubicBezTo>
                      <a:pt x="99" y="168"/>
                      <a:pt x="99" y="168"/>
                      <a:pt x="99" y="168"/>
                    </a:cubicBezTo>
                    <a:cubicBezTo>
                      <a:pt x="99" y="168"/>
                      <a:pt x="100" y="168"/>
                      <a:pt x="101" y="168"/>
                    </a:cubicBezTo>
                    <a:cubicBezTo>
                      <a:pt x="102" y="169"/>
                      <a:pt x="102" y="169"/>
                      <a:pt x="102" y="169"/>
                    </a:cubicBezTo>
                    <a:cubicBezTo>
                      <a:pt x="104" y="169"/>
                      <a:pt x="107" y="170"/>
                      <a:pt x="109" y="170"/>
                    </a:cubicBezTo>
                    <a:cubicBezTo>
                      <a:pt x="109" y="170"/>
                      <a:pt x="109" y="170"/>
                      <a:pt x="109" y="170"/>
                    </a:cubicBezTo>
                    <a:cubicBezTo>
                      <a:pt x="114" y="161"/>
                      <a:pt x="114" y="161"/>
                      <a:pt x="114" y="161"/>
                    </a:cubicBezTo>
                    <a:cubicBezTo>
                      <a:pt x="115" y="172"/>
                      <a:pt x="115" y="172"/>
                      <a:pt x="115" y="172"/>
                    </a:cubicBezTo>
                    <a:cubicBezTo>
                      <a:pt x="116" y="175"/>
                      <a:pt x="115" y="178"/>
                      <a:pt x="114" y="180"/>
                    </a:cubicBezTo>
                    <a:cubicBezTo>
                      <a:pt x="114" y="180"/>
                      <a:pt x="114" y="180"/>
                      <a:pt x="114" y="180"/>
                    </a:cubicBezTo>
                    <a:cubicBezTo>
                      <a:pt x="115" y="181"/>
                      <a:pt x="116" y="182"/>
                      <a:pt x="116" y="182"/>
                    </a:cubicBezTo>
                    <a:cubicBezTo>
                      <a:pt x="117" y="182"/>
                      <a:pt x="117" y="182"/>
                      <a:pt x="117" y="182"/>
                    </a:cubicBezTo>
                    <a:cubicBezTo>
                      <a:pt x="117" y="182"/>
                      <a:pt x="117" y="182"/>
                      <a:pt x="117" y="182"/>
                    </a:cubicBezTo>
                    <a:cubicBezTo>
                      <a:pt x="119" y="181"/>
                      <a:pt x="120" y="180"/>
                      <a:pt x="122" y="180"/>
                    </a:cubicBezTo>
                    <a:cubicBezTo>
                      <a:pt x="123" y="180"/>
                      <a:pt x="124" y="180"/>
                      <a:pt x="126" y="181"/>
                    </a:cubicBezTo>
                    <a:cubicBezTo>
                      <a:pt x="128" y="178"/>
                      <a:pt x="128" y="178"/>
                      <a:pt x="128" y="178"/>
                    </a:cubicBezTo>
                    <a:cubicBezTo>
                      <a:pt x="127" y="182"/>
                      <a:pt x="127" y="182"/>
                      <a:pt x="127" y="182"/>
                    </a:cubicBezTo>
                    <a:cubicBezTo>
                      <a:pt x="128" y="183"/>
                      <a:pt x="129" y="183"/>
                      <a:pt x="130" y="184"/>
                    </a:cubicBezTo>
                    <a:cubicBezTo>
                      <a:pt x="134" y="186"/>
                      <a:pt x="138" y="188"/>
                      <a:pt x="141" y="192"/>
                    </a:cubicBezTo>
                    <a:cubicBezTo>
                      <a:pt x="142" y="194"/>
                      <a:pt x="143" y="195"/>
                      <a:pt x="144" y="197"/>
                    </a:cubicBezTo>
                    <a:cubicBezTo>
                      <a:pt x="145" y="198"/>
                      <a:pt x="145" y="198"/>
                      <a:pt x="145" y="198"/>
                    </a:cubicBezTo>
                    <a:cubicBezTo>
                      <a:pt x="145" y="198"/>
                      <a:pt x="146" y="199"/>
                      <a:pt x="146" y="200"/>
                    </a:cubicBezTo>
                    <a:cubicBezTo>
                      <a:pt x="152" y="202"/>
                      <a:pt x="152" y="202"/>
                      <a:pt x="152" y="202"/>
                    </a:cubicBezTo>
                    <a:cubicBezTo>
                      <a:pt x="151" y="203"/>
                      <a:pt x="151" y="203"/>
                      <a:pt x="151" y="203"/>
                    </a:cubicBezTo>
                    <a:cubicBezTo>
                      <a:pt x="152" y="203"/>
                      <a:pt x="152" y="203"/>
                      <a:pt x="152" y="203"/>
                    </a:cubicBezTo>
                    <a:cubicBezTo>
                      <a:pt x="152" y="203"/>
                      <a:pt x="152" y="203"/>
                      <a:pt x="152" y="203"/>
                    </a:cubicBezTo>
                    <a:cubicBezTo>
                      <a:pt x="152" y="203"/>
                      <a:pt x="152" y="203"/>
                      <a:pt x="152" y="203"/>
                    </a:cubicBezTo>
                    <a:cubicBezTo>
                      <a:pt x="154" y="202"/>
                      <a:pt x="156" y="201"/>
                      <a:pt x="158" y="200"/>
                    </a:cubicBezTo>
                    <a:cubicBezTo>
                      <a:pt x="159" y="199"/>
                      <a:pt x="159" y="199"/>
                      <a:pt x="159" y="199"/>
                    </a:cubicBezTo>
                    <a:cubicBezTo>
                      <a:pt x="160" y="199"/>
                      <a:pt x="161" y="198"/>
                      <a:pt x="161" y="198"/>
                    </a:cubicBezTo>
                    <a:cubicBezTo>
                      <a:pt x="165" y="196"/>
                      <a:pt x="165" y="196"/>
                      <a:pt x="165" y="196"/>
                    </a:cubicBezTo>
                    <a:cubicBezTo>
                      <a:pt x="166" y="199"/>
                      <a:pt x="166" y="199"/>
                      <a:pt x="166" y="199"/>
                    </a:cubicBezTo>
                    <a:cubicBezTo>
                      <a:pt x="167" y="201"/>
                      <a:pt x="168" y="202"/>
                      <a:pt x="169" y="203"/>
                    </a:cubicBezTo>
                    <a:cubicBezTo>
                      <a:pt x="169" y="203"/>
                      <a:pt x="169" y="203"/>
                      <a:pt x="169" y="203"/>
                    </a:cubicBezTo>
                    <a:cubicBezTo>
                      <a:pt x="170" y="203"/>
                      <a:pt x="170" y="203"/>
                      <a:pt x="170" y="203"/>
                    </a:cubicBezTo>
                    <a:cubicBezTo>
                      <a:pt x="174" y="203"/>
                      <a:pt x="174" y="203"/>
                      <a:pt x="174" y="203"/>
                    </a:cubicBezTo>
                    <a:cubicBezTo>
                      <a:pt x="174" y="206"/>
                      <a:pt x="174" y="206"/>
                      <a:pt x="174" y="206"/>
                    </a:cubicBezTo>
                    <a:cubicBezTo>
                      <a:pt x="174" y="207"/>
                      <a:pt x="174" y="208"/>
                      <a:pt x="174" y="209"/>
                    </a:cubicBezTo>
                    <a:cubicBezTo>
                      <a:pt x="174" y="210"/>
                      <a:pt x="174" y="210"/>
                      <a:pt x="174" y="210"/>
                    </a:cubicBezTo>
                    <a:cubicBezTo>
                      <a:pt x="174" y="210"/>
                      <a:pt x="174" y="210"/>
                      <a:pt x="174" y="210"/>
                    </a:cubicBezTo>
                    <a:cubicBezTo>
                      <a:pt x="175" y="210"/>
                      <a:pt x="176" y="209"/>
                      <a:pt x="177" y="209"/>
                    </a:cubicBezTo>
                    <a:cubicBezTo>
                      <a:pt x="178" y="208"/>
                      <a:pt x="178" y="208"/>
                      <a:pt x="178" y="208"/>
                    </a:cubicBezTo>
                    <a:cubicBezTo>
                      <a:pt x="181" y="207"/>
                      <a:pt x="182" y="206"/>
                      <a:pt x="184" y="205"/>
                    </a:cubicBezTo>
                    <a:cubicBezTo>
                      <a:pt x="185" y="205"/>
                      <a:pt x="187" y="205"/>
                      <a:pt x="188" y="204"/>
                    </a:cubicBezTo>
                    <a:cubicBezTo>
                      <a:pt x="189" y="204"/>
                      <a:pt x="189" y="204"/>
                      <a:pt x="189" y="204"/>
                    </a:cubicBezTo>
                    <a:cubicBezTo>
                      <a:pt x="189" y="204"/>
                      <a:pt x="190" y="204"/>
                      <a:pt x="190" y="204"/>
                    </a:cubicBezTo>
                    <a:cubicBezTo>
                      <a:pt x="191" y="204"/>
                      <a:pt x="192" y="204"/>
                      <a:pt x="193" y="205"/>
                    </a:cubicBezTo>
                    <a:cubicBezTo>
                      <a:pt x="194" y="205"/>
                      <a:pt x="195" y="205"/>
                      <a:pt x="196" y="205"/>
                    </a:cubicBezTo>
                    <a:cubicBezTo>
                      <a:pt x="200" y="206"/>
                      <a:pt x="202" y="207"/>
                      <a:pt x="203" y="207"/>
                    </a:cubicBezTo>
                    <a:cubicBezTo>
                      <a:pt x="204" y="207"/>
                      <a:pt x="204" y="207"/>
                      <a:pt x="204" y="207"/>
                    </a:cubicBezTo>
                    <a:cubicBezTo>
                      <a:pt x="209" y="205"/>
                      <a:pt x="209" y="205"/>
                      <a:pt x="209" y="205"/>
                    </a:cubicBezTo>
                    <a:cubicBezTo>
                      <a:pt x="212" y="204"/>
                      <a:pt x="214" y="203"/>
                      <a:pt x="217" y="203"/>
                    </a:cubicBezTo>
                    <a:cubicBezTo>
                      <a:pt x="217" y="203"/>
                      <a:pt x="217" y="203"/>
                      <a:pt x="217" y="203"/>
                    </a:cubicBezTo>
                    <a:cubicBezTo>
                      <a:pt x="225" y="203"/>
                      <a:pt x="231" y="207"/>
                      <a:pt x="238" y="211"/>
                    </a:cubicBezTo>
                    <a:cubicBezTo>
                      <a:pt x="239" y="212"/>
                      <a:pt x="241" y="213"/>
                      <a:pt x="243" y="214"/>
                    </a:cubicBezTo>
                    <a:cubicBezTo>
                      <a:pt x="244" y="214"/>
                      <a:pt x="245" y="214"/>
                      <a:pt x="246" y="214"/>
                    </a:cubicBezTo>
                    <a:cubicBezTo>
                      <a:pt x="247" y="215"/>
                      <a:pt x="248" y="215"/>
                      <a:pt x="249" y="215"/>
                    </a:cubicBezTo>
                    <a:cubicBezTo>
                      <a:pt x="250" y="215"/>
                      <a:pt x="250" y="215"/>
                      <a:pt x="250" y="215"/>
                    </a:cubicBezTo>
                    <a:cubicBezTo>
                      <a:pt x="250" y="214"/>
                      <a:pt x="250" y="214"/>
                      <a:pt x="250" y="213"/>
                    </a:cubicBezTo>
                    <a:cubicBezTo>
                      <a:pt x="250" y="212"/>
                      <a:pt x="250" y="211"/>
                      <a:pt x="250" y="211"/>
                    </a:cubicBezTo>
                    <a:cubicBezTo>
                      <a:pt x="250" y="210"/>
                      <a:pt x="250" y="210"/>
                      <a:pt x="250" y="210"/>
                    </a:cubicBezTo>
                    <a:cubicBezTo>
                      <a:pt x="249" y="204"/>
                      <a:pt x="249" y="200"/>
                      <a:pt x="251" y="197"/>
                    </a:cubicBezTo>
                    <a:cubicBezTo>
                      <a:pt x="266" y="182"/>
                      <a:pt x="266" y="182"/>
                      <a:pt x="266" y="182"/>
                    </a:cubicBezTo>
                    <a:cubicBezTo>
                      <a:pt x="267" y="182"/>
                      <a:pt x="267" y="181"/>
                      <a:pt x="268" y="180"/>
                    </a:cubicBezTo>
                    <a:cubicBezTo>
                      <a:pt x="271" y="177"/>
                      <a:pt x="273" y="174"/>
                      <a:pt x="276" y="172"/>
                    </a:cubicBezTo>
                    <a:cubicBezTo>
                      <a:pt x="277" y="172"/>
                      <a:pt x="278" y="172"/>
                      <a:pt x="279" y="171"/>
                    </a:cubicBezTo>
                    <a:cubicBezTo>
                      <a:pt x="280" y="171"/>
                      <a:pt x="280" y="171"/>
                      <a:pt x="280" y="171"/>
                    </a:cubicBezTo>
                    <a:cubicBezTo>
                      <a:pt x="283" y="170"/>
                      <a:pt x="287" y="168"/>
                      <a:pt x="288" y="167"/>
                    </a:cubicBezTo>
                    <a:cubicBezTo>
                      <a:pt x="288" y="166"/>
                      <a:pt x="289" y="163"/>
                      <a:pt x="290" y="162"/>
                    </a:cubicBezTo>
                    <a:cubicBezTo>
                      <a:pt x="289" y="161"/>
                      <a:pt x="289" y="161"/>
                      <a:pt x="289" y="161"/>
                    </a:cubicBezTo>
                    <a:cubicBezTo>
                      <a:pt x="288" y="160"/>
                      <a:pt x="287" y="159"/>
                      <a:pt x="287" y="158"/>
                    </a:cubicBezTo>
                    <a:cubicBezTo>
                      <a:pt x="286" y="156"/>
                      <a:pt x="286" y="154"/>
                      <a:pt x="287" y="152"/>
                    </a:cubicBezTo>
                    <a:cubicBezTo>
                      <a:pt x="287" y="151"/>
                      <a:pt x="287" y="151"/>
                      <a:pt x="287" y="151"/>
                    </a:cubicBezTo>
                    <a:cubicBezTo>
                      <a:pt x="287" y="151"/>
                      <a:pt x="287" y="151"/>
                      <a:pt x="287" y="151"/>
                    </a:cubicBezTo>
                    <a:cubicBezTo>
                      <a:pt x="287" y="151"/>
                      <a:pt x="287" y="151"/>
                      <a:pt x="287" y="151"/>
                    </a:cubicBezTo>
                    <a:cubicBezTo>
                      <a:pt x="283" y="146"/>
                      <a:pt x="281" y="141"/>
                      <a:pt x="279" y="137"/>
                    </a:cubicBezTo>
                    <a:cubicBezTo>
                      <a:pt x="279" y="135"/>
                      <a:pt x="278" y="133"/>
                      <a:pt x="277" y="132"/>
                    </a:cubicBezTo>
                    <a:cubicBezTo>
                      <a:pt x="277" y="131"/>
                      <a:pt x="276" y="130"/>
                      <a:pt x="276" y="130"/>
                    </a:cubicBezTo>
                    <a:cubicBezTo>
                      <a:pt x="276" y="128"/>
                      <a:pt x="276" y="128"/>
                      <a:pt x="276" y="128"/>
                    </a:cubicBezTo>
                    <a:cubicBezTo>
                      <a:pt x="275" y="128"/>
                      <a:pt x="275" y="128"/>
                      <a:pt x="275" y="128"/>
                    </a:cubicBezTo>
                    <a:cubicBezTo>
                      <a:pt x="269" y="130"/>
                      <a:pt x="269" y="130"/>
                      <a:pt x="269" y="130"/>
                    </a:cubicBezTo>
                    <a:cubicBezTo>
                      <a:pt x="274" y="126"/>
                      <a:pt x="274" y="126"/>
                      <a:pt x="274" y="126"/>
                    </a:cubicBezTo>
                    <a:cubicBezTo>
                      <a:pt x="273" y="126"/>
                      <a:pt x="273" y="126"/>
                      <a:pt x="273" y="126"/>
                    </a:cubicBezTo>
                    <a:cubicBezTo>
                      <a:pt x="275" y="125"/>
                      <a:pt x="275" y="125"/>
                      <a:pt x="275" y="125"/>
                    </a:cubicBezTo>
                    <a:cubicBezTo>
                      <a:pt x="274" y="124"/>
                      <a:pt x="274" y="124"/>
                      <a:pt x="274" y="123"/>
                    </a:cubicBezTo>
                    <a:cubicBezTo>
                      <a:pt x="274" y="122"/>
                      <a:pt x="274" y="122"/>
                      <a:pt x="274" y="122"/>
                    </a:cubicBezTo>
                    <a:cubicBezTo>
                      <a:pt x="274" y="121"/>
                      <a:pt x="274" y="120"/>
                      <a:pt x="274" y="118"/>
                    </a:cubicBezTo>
                    <a:cubicBezTo>
                      <a:pt x="274" y="118"/>
                      <a:pt x="275" y="117"/>
                      <a:pt x="275" y="116"/>
                    </a:cubicBezTo>
                    <a:cubicBezTo>
                      <a:pt x="275" y="115"/>
                      <a:pt x="275" y="115"/>
                      <a:pt x="275" y="115"/>
                    </a:cubicBezTo>
                    <a:cubicBezTo>
                      <a:pt x="276" y="111"/>
                      <a:pt x="277" y="109"/>
                      <a:pt x="276" y="108"/>
                    </a:cubicBezTo>
                    <a:cubicBezTo>
                      <a:pt x="276" y="108"/>
                      <a:pt x="274" y="107"/>
                      <a:pt x="274" y="106"/>
                    </a:cubicBezTo>
                    <a:cubicBezTo>
                      <a:pt x="273" y="106"/>
                      <a:pt x="273" y="106"/>
                      <a:pt x="273" y="106"/>
                    </a:cubicBezTo>
                    <a:cubicBezTo>
                      <a:pt x="272" y="105"/>
                      <a:pt x="271" y="105"/>
                      <a:pt x="270" y="104"/>
                    </a:cubicBezTo>
                    <a:cubicBezTo>
                      <a:pt x="269" y="104"/>
                      <a:pt x="269" y="104"/>
                      <a:pt x="269" y="104"/>
                    </a:cubicBezTo>
                    <a:cubicBezTo>
                      <a:pt x="268" y="103"/>
                      <a:pt x="266" y="103"/>
                      <a:pt x="265" y="102"/>
                    </a:cubicBezTo>
                    <a:cubicBezTo>
                      <a:pt x="261" y="99"/>
                      <a:pt x="261" y="99"/>
                      <a:pt x="261" y="99"/>
                    </a:cubicBezTo>
                    <a:cubicBezTo>
                      <a:pt x="281" y="82"/>
                      <a:pt x="281" y="82"/>
                      <a:pt x="281" y="82"/>
                    </a:cubicBezTo>
                    <a:cubicBezTo>
                      <a:pt x="281" y="82"/>
                      <a:pt x="282" y="81"/>
                      <a:pt x="282" y="81"/>
                    </a:cubicBezTo>
                    <a:cubicBezTo>
                      <a:pt x="283" y="80"/>
                      <a:pt x="284" y="79"/>
                      <a:pt x="285" y="79"/>
                    </a:cubicBezTo>
                    <a:cubicBezTo>
                      <a:pt x="285" y="78"/>
                      <a:pt x="285" y="78"/>
                      <a:pt x="285" y="78"/>
                    </a:cubicBezTo>
                    <a:cubicBezTo>
                      <a:pt x="285" y="78"/>
                      <a:pt x="285" y="78"/>
                      <a:pt x="285" y="78"/>
                    </a:cubicBezTo>
                    <a:cubicBezTo>
                      <a:pt x="286" y="75"/>
                      <a:pt x="285" y="69"/>
                      <a:pt x="284" y="66"/>
                    </a:cubicBezTo>
                    <a:cubicBezTo>
                      <a:pt x="283" y="62"/>
                      <a:pt x="281" y="59"/>
                      <a:pt x="280" y="55"/>
                    </a:cubicBezTo>
                    <a:cubicBezTo>
                      <a:pt x="279" y="54"/>
                      <a:pt x="279" y="54"/>
                      <a:pt x="279" y="54"/>
                    </a:cubicBezTo>
                    <a:cubicBezTo>
                      <a:pt x="276" y="48"/>
                      <a:pt x="275" y="42"/>
                      <a:pt x="273" y="37"/>
                    </a:cubicBezTo>
                    <a:cubicBezTo>
                      <a:pt x="273" y="34"/>
                      <a:pt x="273" y="34"/>
                      <a:pt x="273" y="34"/>
                    </a:cubicBezTo>
                    <a:cubicBezTo>
                      <a:pt x="272" y="34"/>
                      <a:pt x="272" y="34"/>
                      <a:pt x="272" y="34"/>
                    </a:cubicBezTo>
                    <a:cubicBezTo>
                      <a:pt x="272" y="32"/>
                      <a:pt x="271" y="31"/>
                      <a:pt x="270" y="29"/>
                    </a:cubicBezTo>
                    <a:cubicBezTo>
                      <a:pt x="270" y="29"/>
                      <a:pt x="270" y="29"/>
                      <a:pt x="270" y="29"/>
                    </a:cubicBezTo>
                    <a:cubicBezTo>
                      <a:pt x="269" y="27"/>
                      <a:pt x="267" y="26"/>
                      <a:pt x="266" y="25"/>
                    </a:cubicBezTo>
                    <a:cubicBezTo>
                      <a:pt x="265" y="24"/>
                      <a:pt x="264" y="24"/>
                      <a:pt x="262" y="23"/>
                    </a:cubicBezTo>
                    <a:cubicBezTo>
                      <a:pt x="262" y="23"/>
                      <a:pt x="262" y="23"/>
                      <a:pt x="262" y="23"/>
                    </a:cubicBezTo>
                    <a:cubicBezTo>
                      <a:pt x="261" y="22"/>
                      <a:pt x="259" y="22"/>
                      <a:pt x="257" y="22"/>
                    </a:cubicBezTo>
                    <a:cubicBezTo>
                      <a:pt x="257" y="22"/>
                      <a:pt x="257" y="22"/>
                      <a:pt x="257" y="22"/>
                    </a:cubicBezTo>
                    <a:cubicBezTo>
                      <a:pt x="256" y="22"/>
                      <a:pt x="256" y="22"/>
                      <a:pt x="256" y="22"/>
                    </a:cubicBezTo>
                    <a:cubicBezTo>
                      <a:pt x="255" y="22"/>
                      <a:pt x="254" y="22"/>
                      <a:pt x="253" y="22"/>
                    </a:cubicBezTo>
                    <a:cubicBezTo>
                      <a:pt x="245" y="23"/>
                      <a:pt x="237" y="23"/>
                      <a:pt x="228" y="23"/>
                    </a:cubicBezTo>
                    <a:cubicBezTo>
                      <a:pt x="210" y="23"/>
                      <a:pt x="190" y="22"/>
                      <a:pt x="170" y="19"/>
                    </a:cubicBezTo>
                    <a:cubicBezTo>
                      <a:pt x="169" y="19"/>
                      <a:pt x="169" y="19"/>
                      <a:pt x="169" y="19"/>
                    </a:cubicBezTo>
                    <a:cubicBezTo>
                      <a:pt x="169" y="18"/>
                      <a:pt x="169" y="18"/>
                      <a:pt x="169" y="18"/>
                    </a:cubicBezTo>
                    <a:cubicBezTo>
                      <a:pt x="167" y="17"/>
                      <a:pt x="167" y="17"/>
                      <a:pt x="167" y="17"/>
                    </a:cubicBezTo>
                    <a:cubicBezTo>
                      <a:pt x="165" y="19"/>
                      <a:pt x="162" y="20"/>
                      <a:pt x="160" y="21"/>
                    </a:cubicBezTo>
                    <a:cubicBezTo>
                      <a:pt x="159" y="22"/>
                      <a:pt x="160" y="23"/>
                      <a:pt x="158" y="23"/>
                    </a:cubicBezTo>
                    <a:cubicBezTo>
                      <a:pt x="158" y="23"/>
                      <a:pt x="158" y="23"/>
                      <a:pt x="158" y="23"/>
                    </a:cubicBezTo>
                    <a:cubicBezTo>
                      <a:pt x="156" y="23"/>
                      <a:pt x="155" y="21"/>
                      <a:pt x="155" y="20"/>
                    </a:cubicBezTo>
                    <a:cubicBezTo>
                      <a:pt x="159" y="18"/>
                      <a:pt x="163" y="16"/>
                      <a:pt x="167" y="15"/>
                    </a:cubicBezTo>
                    <a:cubicBezTo>
                      <a:pt x="166" y="15"/>
                      <a:pt x="165" y="15"/>
                      <a:pt x="164" y="15"/>
                    </a:cubicBezTo>
                    <a:cubicBezTo>
                      <a:pt x="159" y="15"/>
                      <a:pt x="152" y="18"/>
                      <a:pt x="147" y="19"/>
                    </a:cubicBezTo>
                    <a:cubicBezTo>
                      <a:pt x="147" y="19"/>
                      <a:pt x="147" y="19"/>
                      <a:pt x="146" y="19"/>
                    </a:cubicBezTo>
                    <a:cubicBezTo>
                      <a:pt x="144" y="19"/>
                      <a:pt x="137" y="17"/>
                      <a:pt x="136" y="15"/>
                    </a:cubicBezTo>
                    <a:cubicBezTo>
                      <a:pt x="135" y="14"/>
                      <a:pt x="134" y="9"/>
                      <a:pt x="133" y="7"/>
                    </a:cubicBezTo>
                    <a:cubicBezTo>
                      <a:pt x="132" y="6"/>
                      <a:pt x="131" y="4"/>
                      <a:pt x="132" y="3"/>
                    </a:cubicBezTo>
                    <a:cubicBezTo>
                      <a:pt x="132" y="2"/>
                      <a:pt x="132" y="2"/>
                      <a:pt x="133" y="2"/>
                    </a:cubicBezTo>
                    <a:cubicBezTo>
                      <a:pt x="135" y="2"/>
                      <a:pt x="142" y="7"/>
                      <a:pt x="143" y="8"/>
                    </a:cubicBezTo>
                    <a:cubicBezTo>
                      <a:pt x="138" y="2"/>
                      <a:pt x="131" y="0"/>
                      <a:pt x="1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0" name="Freeform 308">
                <a:extLst>
                  <a:ext uri="{FF2B5EF4-FFF2-40B4-BE49-F238E27FC236}">
                    <a16:creationId xmlns:a16="http://schemas.microsoft.com/office/drawing/2014/main" id="{09A97119-F1CC-4A0B-BAB8-1BDBFEA3800E}"/>
                  </a:ext>
                </a:extLst>
              </p:cNvPr>
              <p:cNvSpPr>
                <a:spLocks/>
              </p:cNvSpPr>
              <p:nvPr/>
            </p:nvSpPr>
            <p:spPr bwMode="auto">
              <a:xfrm>
                <a:off x="5693504" y="38104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1" name="Freeform 309">
                <a:extLst>
                  <a:ext uri="{FF2B5EF4-FFF2-40B4-BE49-F238E27FC236}">
                    <a16:creationId xmlns:a16="http://schemas.microsoft.com/office/drawing/2014/main" id="{3B4E4997-FF04-44FE-8F48-7D1F8B9C2AFA}"/>
                  </a:ext>
                </a:extLst>
              </p:cNvPr>
              <p:cNvSpPr>
                <a:spLocks/>
              </p:cNvSpPr>
              <p:nvPr/>
            </p:nvSpPr>
            <p:spPr bwMode="auto">
              <a:xfrm>
                <a:off x="5693504" y="3810410"/>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2" name="Rectangle 310">
                <a:extLst>
                  <a:ext uri="{FF2B5EF4-FFF2-40B4-BE49-F238E27FC236}">
                    <a16:creationId xmlns:a16="http://schemas.microsoft.com/office/drawing/2014/main" id="{1B6C1092-A993-4E1B-938E-EB1422A56326}"/>
                  </a:ext>
                </a:extLst>
              </p:cNvPr>
              <p:cNvSpPr>
                <a:spLocks noChangeArrowheads="1"/>
              </p:cNvSpPr>
              <p:nvPr/>
            </p:nvSpPr>
            <p:spPr bwMode="auto">
              <a:xfrm>
                <a:off x="6194680" y="406099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3" name="Freeform 311">
                <a:extLst>
                  <a:ext uri="{FF2B5EF4-FFF2-40B4-BE49-F238E27FC236}">
                    <a16:creationId xmlns:a16="http://schemas.microsoft.com/office/drawing/2014/main" id="{8393C694-22AB-4E02-B4F8-34538B3036F5}"/>
                  </a:ext>
                </a:extLst>
              </p:cNvPr>
              <p:cNvSpPr>
                <a:spLocks/>
              </p:cNvSpPr>
              <p:nvPr/>
            </p:nvSpPr>
            <p:spPr bwMode="auto">
              <a:xfrm>
                <a:off x="6194680" y="406099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4" name="Freeform 312">
                <a:extLst>
                  <a:ext uri="{FF2B5EF4-FFF2-40B4-BE49-F238E27FC236}">
                    <a16:creationId xmlns:a16="http://schemas.microsoft.com/office/drawing/2014/main" id="{DE71EFDF-540B-4399-B272-70B0F66927D9}"/>
                  </a:ext>
                </a:extLst>
              </p:cNvPr>
              <p:cNvSpPr>
                <a:spLocks/>
              </p:cNvSpPr>
              <p:nvPr/>
            </p:nvSpPr>
            <p:spPr bwMode="auto">
              <a:xfrm>
                <a:off x="6994350" y="44037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5" name="Freeform 313">
                <a:extLst>
                  <a:ext uri="{FF2B5EF4-FFF2-40B4-BE49-F238E27FC236}">
                    <a16:creationId xmlns:a16="http://schemas.microsoft.com/office/drawing/2014/main" id="{6A559905-681F-41B4-80D9-E4AADFC455BD}"/>
                  </a:ext>
                </a:extLst>
              </p:cNvPr>
              <p:cNvSpPr>
                <a:spLocks/>
              </p:cNvSpPr>
              <p:nvPr/>
            </p:nvSpPr>
            <p:spPr bwMode="auto">
              <a:xfrm>
                <a:off x="6994350" y="4403714"/>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6" name="Freeform 314">
                <a:extLst>
                  <a:ext uri="{FF2B5EF4-FFF2-40B4-BE49-F238E27FC236}">
                    <a16:creationId xmlns:a16="http://schemas.microsoft.com/office/drawing/2014/main" id="{29D5D52B-CBEA-4F06-88C6-1505CBF547F2}"/>
                  </a:ext>
                </a:extLst>
              </p:cNvPr>
              <p:cNvSpPr>
                <a:spLocks/>
              </p:cNvSpPr>
              <p:nvPr/>
            </p:nvSpPr>
            <p:spPr bwMode="auto">
              <a:xfrm>
                <a:off x="6784298" y="4182607"/>
                <a:ext cx="261643" cy="320605"/>
              </a:xfrm>
              <a:custGeom>
                <a:avLst/>
                <a:gdLst>
                  <a:gd name="T0" fmla="*/ 7 w 83"/>
                  <a:gd name="T1" fmla="*/ 3 h 100"/>
                  <a:gd name="T2" fmla="*/ 5 w 83"/>
                  <a:gd name="T3" fmla="*/ 3 h 100"/>
                  <a:gd name="T4" fmla="*/ 0 w 83"/>
                  <a:gd name="T5" fmla="*/ 3 h 100"/>
                  <a:gd name="T6" fmla="*/ 1 w 83"/>
                  <a:gd name="T7" fmla="*/ 3 h 100"/>
                  <a:gd name="T8" fmla="*/ 7 w 83"/>
                  <a:gd name="T9" fmla="*/ 7 h 100"/>
                  <a:gd name="T10" fmla="*/ 11 w 83"/>
                  <a:gd name="T11" fmla="*/ 14 h 100"/>
                  <a:gd name="T12" fmla="*/ 13 w 83"/>
                  <a:gd name="T13" fmla="*/ 19 h 100"/>
                  <a:gd name="T14" fmla="*/ 26 w 83"/>
                  <a:gd name="T15" fmla="*/ 38 h 100"/>
                  <a:gd name="T16" fmla="*/ 35 w 83"/>
                  <a:gd name="T17" fmla="*/ 46 h 100"/>
                  <a:gd name="T18" fmla="*/ 38 w 83"/>
                  <a:gd name="T19" fmla="*/ 55 h 100"/>
                  <a:gd name="T20" fmla="*/ 41 w 83"/>
                  <a:gd name="T21" fmla="*/ 73 h 100"/>
                  <a:gd name="T22" fmla="*/ 37 w 83"/>
                  <a:gd name="T23" fmla="*/ 91 h 100"/>
                  <a:gd name="T24" fmla="*/ 36 w 83"/>
                  <a:gd name="T25" fmla="*/ 97 h 100"/>
                  <a:gd name="T26" fmla="*/ 37 w 83"/>
                  <a:gd name="T27" fmla="*/ 100 h 100"/>
                  <a:gd name="T28" fmla="*/ 40 w 83"/>
                  <a:gd name="T29" fmla="*/ 98 h 100"/>
                  <a:gd name="T30" fmla="*/ 43 w 83"/>
                  <a:gd name="T31" fmla="*/ 94 h 100"/>
                  <a:gd name="T32" fmla="*/ 47 w 83"/>
                  <a:gd name="T33" fmla="*/ 90 h 100"/>
                  <a:gd name="T34" fmla="*/ 49 w 83"/>
                  <a:gd name="T35" fmla="*/ 88 h 100"/>
                  <a:gd name="T36" fmla="*/ 50 w 83"/>
                  <a:gd name="T37" fmla="*/ 85 h 100"/>
                  <a:gd name="T38" fmla="*/ 54 w 83"/>
                  <a:gd name="T39" fmla="*/ 82 h 100"/>
                  <a:gd name="T40" fmla="*/ 54 w 83"/>
                  <a:gd name="T41" fmla="*/ 81 h 100"/>
                  <a:gd name="T42" fmla="*/ 56 w 83"/>
                  <a:gd name="T43" fmla="*/ 78 h 100"/>
                  <a:gd name="T44" fmla="*/ 55 w 83"/>
                  <a:gd name="T45" fmla="*/ 76 h 100"/>
                  <a:gd name="T46" fmla="*/ 56 w 83"/>
                  <a:gd name="T47" fmla="*/ 71 h 100"/>
                  <a:gd name="T48" fmla="*/ 61 w 83"/>
                  <a:gd name="T49" fmla="*/ 64 h 100"/>
                  <a:gd name="T50" fmla="*/ 65 w 83"/>
                  <a:gd name="T51" fmla="*/ 66 h 100"/>
                  <a:gd name="T52" fmla="*/ 66 w 83"/>
                  <a:gd name="T53" fmla="*/ 67 h 100"/>
                  <a:gd name="T54" fmla="*/ 69 w 83"/>
                  <a:gd name="T55" fmla="*/ 66 h 100"/>
                  <a:gd name="T56" fmla="*/ 73 w 83"/>
                  <a:gd name="T57" fmla="*/ 65 h 100"/>
                  <a:gd name="T58" fmla="*/ 75 w 83"/>
                  <a:gd name="T59" fmla="*/ 65 h 100"/>
                  <a:gd name="T60" fmla="*/ 77 w 83"/>
                  <a:gd name="T61" fmla="*/ 67 h 100"/>
                  <a:gd name="T62" fmla="*/ 79 w 83"/>
                  <a:gd name="T63" fmla="*/ 68 h 100"/>
                  <a:gd name="T64" fmla="*/ 80 w 83"/>
                  <a:gd name="T65" fmla="*/ 68 h 100"/>
                  <a:gd name="T66" fmla="*/ 83 w 83"/>
                  <a:gd name="T67" fmla="*/ 68 h 100"/>
                  <a:gd name="T68" fmla="*/ 83 w 83"/>
                  <a:gd name="T69" fmla="*/ 61 h 100"/>
                  <a:gd name="T70" fmla="*/ 83 w 83"/>
                  <a:gd name="T71" fmla="*/ 57 h 100"/>
                  <a:gd name="T72" fmla="*/ 77 w 83"/>
                  <a:gd name="T73" fmla="*/ 61 h 100"/>
                  <a:gd name="T74" fmla="*/ 79 w 83"/>
                  <a:gd name="T75" fmla="*/ 56 h 100"/>
                  <a:gd name="T76" fmla="*/ 67 w 83"/>
                  <a:gd name="T77" fmla="*/ 42 h 100"/>
                  <a:gd name="T78" fmla="*/ 71 w 83"/>
                  <a:gd name="T79" fmla="*/ 42 h 100"/>
                  <a:gd name="T80" fmla="*/ 70 w 83"/>
                  <a:gd name="T81" fmla="*/ 41 h 100"/>
                  <a:gd name="T82" fmla="*/ 60 w 83"/>
                  <a:gd name="T83" fmla="*/ 29 h 100"/>
                  <a:gd name="T84" fmla="*/ 61 w 83"/>
                  <a:gd name="T85" fmla="*/ 27 h 100"/>
                  <a:gd name="T86" fmla="*/ 62 w 83"/>
                  <a:gd name="T87" fmla="*/ 25 h 100"/>
                  <a:gd name="T88" fmla="*/ 63 w 83"/>
                  <a:gd name="T89" fmla="*/ 18 h 100"/>
                  <a:gd name="T90" fmla="*/ 61 w 83"/>
                  <a:gd name="T91" fmla="*/ 18 h 100"/>
                  <a:gd name="T92" fmla="*/ 51 w 83"/>
                  <a:gd name="T93" fmla="*/ 15 h 100"/>
                  <a:gd name="T94" fmla="*/ 41 w 83"/>
                  <a:gd name="T95" fmla="*/ 10 h 100"/>
                  <a:gd name="T96" fmla="*/ 22 w 83"/>
                  <a:gd name="T97" fmla="*/ 1 h 100"/>
                  <a:gd name="T98" fmla="*/ 18 w 83"/>
                  <a:gd name="T9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100">
                    <a:moveTo>
                      <a:pt x="18" y="0"/>
                    </a:moveTo>
                    <a:cubicBezTo>
                      <a:pt x="14" y="2"/>
                      <a:pt x="11" y="3"/>
                      <a:pt x="7" y="3"/>
                    </a:cubicBezTo>
                    <a:cubicBezTo>
                      <a:pt x="6" y="3"/>
                      <a:pt x="6" y="3"/>
                      <a:pt x="5" y="3"/>
                    </a:cubicBezTo>
                    <a:cubicBezTo>
                      <a:pt x="5" y="3"/>
                      <a:pt x="5" y="3"/>
                      <a:pt x="5" y="3"/>
                    </a:cubicBezTo>
                    <a:cubicBezTo>
                      <a:pt x="4" y="3"/>
                      <a:pt x="3" y="3"/>
                      <a:pt x="2" y="3"/>
                    </a:cubicBezTo>
                    <a:cubicBezTo>
                      <a:pt x="1" y="3"/>
                      <a:pt x="1" y="3"/>
                      <a:pt x="0" y="3"/>
                    </a:cubicBezTo>
                    <a:cubicBezTo>
                      <a:pt x="0" y="3"/>
                      <a:pt x="0" y="3"/>
                      <a:pt x="0" y="3"/>
                    </a:cubicBezTo>
                    <a:cubicBezTo>
                      <a:pt x="1" y="3"/>
                      <a:pt x="1" y="3"/>
                      <a:pt x="1" y="3"/>
                    </a:cubicBezTo>
                    <a:cubicBezTo>
                      <a:pt x="2" y="4"/>
                      <a:pt x="3" y="4"/>
                      <a:pt x="4" y="5"/>
                    </a:cubicBezTo>
                    <a:cubicBezTo>
                      <a:pt x="5" y="5"/>
                      <a:pt x="6" y="6"/>
                      <a:pt x="7" y="7"/>
                    </a:cubicBezTo>
                    <a:cubicBezTo>
                      <a:pt x="8" y="9"/>
                      <a:pt x="9" y="11"/>
                      <a:pt x="10" y="12"/>
                    </a:cubicBezTo>
                    <a:cubicBezTo>
                      <a:pt x="10" y="13"/>
                      <a:pt x="11" y="14"/>
                      <a:pt x="11" y="14"/>
                    </a:cubicBezTo>
                    <a:cubicBezTo>
                      <a:pt x="11" y="15"/>
                      <a:pt x="12" y="15"/>
                      <a:pt x="12" y="16"/>
                    </a:cubicBezTo>
                    <a:cubicBezTo>
                      <a:pt x="13" y="19"/>
                      <a:pt x="13" y="19"/>
                      <a:pt x="13" y="19"/>
                    </a:cubicBezTo>
                    <a:cubicBezTo>
                      <a:pt x="14" y="21"/>
                      <a:pt x="16" y="24"/>
                      <a:pt x="17" y="26"/>
                    </a:cubicBezTo>
                    <a:cubicBezTo>
                      <a:pt x="20" y="31"/>
                      <a:pt x="23" y="34"/>
                      <a:pt x="26" y="38"/>
                    </a:cubicBezTo>
                    <a:cubicBezTo>
                      <a:pt x="27" y="39"/>
                      <a:pt x="27" y="39"/>
                      <a:pt x="27" y="39"/>
                    </a:cubicBezTo>
                    <a:cubicBezTo>
                      <a:pt x="30" y="41"/>
                      <a:pt x="33" y="43"/>
                      <a:pt x="35" y="46"/>
                    </a:cubicBezTo>
                    <a:cubicBezTo>
                      <a:pt x="36" y="48"/>
                      <a:pt x="37" y="51"/>
                      <a:pt x="37" y="52"/>
                    </a:cubicBezTo>
                    <a:cubicBezTo>
                      <a:pt x="38" y="54"/>
                      <a:pt x="38" y="55"/>
                      <a:pt x="38" y="55"/>
                    </a:cubicBezTo>
                    <a:cubicBezTo>
                      <a:pt x="39" y="58"/>
                      <a:pt x="40" y="60"/>
                      <a:pt x="41" y="62"/>
                    </a:cubicBezTo>
                    <a:cubicBezTo>
                      <a:pt x="42" y="66"/>
                      <a:pt x="42" y="69"/>
                      <a:pt x="41" y="73"/>
                    </a:cubicBezTo>
                    <a:cubicBezTo>
                      <a:pt x="38" y="79"/>
                      <a:pt x="37" y="83"/>
                      <a:pt x="37" y="88"/>
                    </a:cubicBezTo>
                    <a:cubicBezTo>
                      <a:pt x="37" y="89"/>
                      <a:pt x="37" y="90"/>
                      <a:pt x="37" y="91"/>
                    </a:cubicBezTo>
                    <a:cubicBezTo>
                      <a:pt x="37" y="92"/>
                      <a:pt x="37" y="92"/>
                      <a:pt x="37" y="92"/>
                    </a:cubicBezTo>
                    <a:cubicBezTo>
                      <a:pt x="37" y="94"/>
                      <a:pt x="36" y="96"/>
                      <a:pt x="36" y="97"/>
                    </a:cubicBezTo>
                    <a:cubicBezTo>
                      <a:pt x="37" y="98"/>
                      <a:pt x="37" y="99"/>
                      <a:pt x="37" y="99"/>
                    </a:cubicBezTo>
                    <a:cubicBezTo>
                      <a:pt x="37" y="99"/>
                      <a:pt x="37" y="99"/>
                      <a:pt x="37" y="100"/>
                    </a:cubicBezTo>
                    <a:cubicBezTo>
                      <a:pt x="38" y="99"/>
                      <a:pt x="39" y="99"/>
                      <a:pt x="39" y="98"/>
                    </a:cubicBezTo>
                    <a:cubicBezTo>
                      <a:pt x="40" y="98"/>
                      <a:pt x="40" y="98"/>
                      <a:pt x="40" y="98"/>
                    </a:cubicBezTo>
                    <a:cubicBezTo>
                      <a:pt x="40" y="98"/>
                      <a:pt x="41" y="97"/>
                      <a:pt x="42" y="97"/>
                    </a:cubicBezTo>
                    <a:cubicBezTo>
                      <a:pt x="42" y="96"/>
                      <a:pt x="42" y="95"/>
                      <a:pt x="43" y="94"/>
                    </a:cubicBezTo>
                    <a:cubicBezTo>
                      <a:pt x="44" y="92"/>
                      <a:pt x="45" y="91"/>
                      <a:pt x="46" y="90"/>
                    </a:cubicBezTo>
                    <a:cubicBezTo>
                      <a:pt x="47" y="90"/>
                      <a:pt x="47" y="90"/>
                      <a:pt x="47" y="90"/>
                    </a:cubicBezTo>
                    <a:cubicBezTo>
                      <a:pt x="47" y="90"/>
                      <a:pt x="48" y="89"/>
                      <a:pt x="48" y="89"/>
                    </a:cubicBezTo>
                    <a:cubicBezTo>
                      <a:pt x="49" y="88"/>
                      <a:pt x="49" y="88"/>
                      <a:pt x="49" y="88"/>
                    </a:cubicBezTo>
                    <a:cubicBezTo>
                      <a:pt x="49" y="88"/>
                      <a:pt x="49" y="88"/>
                      <a:pt x="49" y="88"/>
                    </a:cubicBezTo>
                    <a:cubicBezTo>
                      <a:pt x="50" y="87"/>
                      <a:pt x="50" y="86"/>
                      <a:pt x="50" y="85"/>
                    </a:cubicBezTo>
                    <a:cubicBezTo>
                      <a:pt x="51" y="84"/>
                      <a:pt x="52" y="83"/>
                      <a:pt x="54" y="82"/>
                    </a:cubicBezTo>
                    <a:cubicBezTo>
                      <a:pt x="54" y="82"/>
                      <a:pt x="54" y="82"/>
                      <a:pt x="54" y="82"/>
                    </a:cubicBezTo>
                    <a:cubicBezTo>
                      <a:pt x="54" y="82"/>
                      <a:pt x="54" y="82"/>
                      <a:pt x="54" y="82"/>
                    </a:cubicBezTo>
                    <a:cubicBezTo>
                      <a:pt x="54" y="81"/>
                      <a:pt x="54" y="81"/>
                      <a:pt x="54" y="81"/>
                    </a:cubicBezTo>
                    <a:cubicBezTo>
                      <a:pt x="55" y="79"/>
                      <a:pt x="55" y="79"/>
                      <a:pt x="55" y="79"/>
                    </a:cubicBezTo>
                    <a:cubicBezTo>
                      <a:pt x="55" y="79"/>
                      <a:pt x="55" y="78"/>
                      <a:pt x="56" y="78"/>
                    </a:cubicBezTo>
                    <a:cubicBezTo>
                      <a:pt x="55" y="77"/>
                      <a:pt x="55" y="77"/>
                      <a:pt x="55" y="77"/>
                    </a:cubicBezTo>
                    <a:cubicBezTo>
                      <a:pt x="55" y="76"/>
                      <a:pt x="55" y="76"/>
                      <a:pt x="55" y="76"/>
                    </a:cubicBezTo>
                    <a:cubicBezTo>
                      <a:pt x="55" y="74"/>
                      <a:pt x="55" y="73"/>
                      <a:pt x="56" y="71"/>
                    </a:cubicBezTo>
                    <a:cubicBezTo>
                      <a:pt x="56" y="71"/>
                      <a:pt x="56" y="71"/>
                      <a:pt x="56" y="71"/>
                    </a:cubicBezTo>
                    <a:cubicBezTo>
                      <a:pt x="56" y="69"/>
                      <a:pt x="56" y="65"/>
                      <a:pt x="60" y="64"/>
                    </a:cubicBezTo>
                    <a:cubicBezTo>
                      <a:pt x="61" y="64"/>
                      <a:pt x="61" y="64"/>
                      <a:pt x="61" y="64"/>
                    </a:cubicBezTo>
                    <a:cubicBezTo>
                      <a:pt x="61" y="64"/>
                      <a:pt x="61" y="64"/>
                      <a:pt x="61" y="64"/>
                    </a:cubicBezTo>
                    <a:cubicBezTo>
                      <a:pt x="63" y="64"/>
                      <a:pt x="64" y="65"/>
                      <a:pt x="65" y="66"/>
                    </a:cubicBezTo>
                    <a:cubicBezTo>
                      <a:pt x="65" y="66"/>
                      <a:pt x="66" y="66"/>
                      <a:pt x="66" y="67"/>
                    </a:cubicBezTo>
                    <a:cubicBezTo>
                      <a:pt x="66" y="67"/>
                      <a:pt x="66" y="67"/>
                      <a:pt x="66" y="67"/>
                    </a:cubicBezTo>
                    <a:cubicBezTo>
                      <a:pt x="67" y="67"/>
                      <a:pt x="67" y="67"/>
                      <a:pt x="67" y="67"/>
                    </a:cubicBezTo>
                    <a:cubicBezTo>
                      <a:pt x="67" y="67"/>
                      <a:pt x="68" y="66"/>
                      <a:pt x="69" y="66"/>
                    </a:cubicBezTo>
                    <a:cubicBezTo>
                      <a:pt x="70" y="65"/>
                      <a:pt x="71" y="65"/>
                      <a:pt x="72" y="65"/>
                    </a:cubicBezTo>
                    <a:cubicBezTo>
                      <a:pt x="73" y="65"/>
                      <a:pt x="73" y="65"/>
                      <a:pt x="73" y="65"/>
                    </a:cubicBezTo>
                    <a:cubicBezTo>
                      <a:pt x="74" y="65"/>
                      <a:pt x="74" y="65"/>
                      <a:pt x="74" y="65"/>
                    </a:cubicBezTo>
                    <a:cubicBezTo>
                      <a:pt x="75" y="65"/>
                      <a:pt x="75" y="65"/>
                      <a:pt x="75" y="65"/>
                    </a:cubicBezTo>
                    <a:cubicBezTo>
                      <a:pt x="75" y="66"/>
                      <a:pt x="76" y="66"/>
                      <a:pt x="76" y="66"/>
                    </a:cubicBezTo>
                    <a:cubicBezTo>
                      <a:pt x="77" y="67"/>
                      <a:pt x="77" y="67"/>
                      <a:pt x="77" y="67"/>
                    </a:cubicBezTo>
                    <a:cubicBezTo>
                      <a:pt x="78" y="68"/>
                      <a:pt x="78" y="68"/>
                      <a:pt x="78" y="68"/>
                    </a:cubicBezTo>
                    <a:cubicBezTo>
                      <a:pt x="79" y="68"/>
                      <a:pt x="79" y="68"/>
                      <a:pt x="79" y="68"/>
                    </a:cubicBezTo>
                    <a:cubicBezTo>
                      <a:pt x="79" y="68"/>
                      <a:pt x="79" y="68"/>
                      <a:pt x="79" y="68"/>
                    </a:cubicBezTo>
                    <a:cubicBezTo>
                      <a:pt x="79" y="68"/>
                      <a:pt x="80" y="68"/>
                      <a:pt x="80" y="68"/>
                    </a:cubicBezTo>
                    <a:cubicBezTo>
                      <a:pt x="81" y="68"/>
                      <a:pt x="81" y="68"/>
                      <a:pt x="81" y="68"/>
                    </a:cubicBezTo>
                    <a:cubicBezTo>
                      <a:pt x="81" y="68"/>
                      <a:pt x="82" y="68"/>
                      <a:pt x="83" y="68"/>
                    </a:cubicBezTo>
                    <a:cubicBezTo>
                      <a:pt x="83" y="68"/>
                      <a:pt x="83" y="68"/>
                      <a:pt x="83" y="68"/>
                    </a:cubicBezTo>
                    <a:cubicBezTo>
                      <a:pt x="82" y="65"/>
                      <a:pt x="82" y="63"/>
                      <a:pt x="83" y="61"/>
                    </a:cubicBezTo>
                    <a:cubicBezTo>
                      <a:pt x="83" y="60"/>
                      <a:pt x="83" y="59"/>
                      <a:pt x="83" y="58"/>
                    </a:cubicBezTo>
                    <a:cubicBezTo>
                      <a:pt x="83" y="57"/>
                      <a:pt x="83" y="57"/>
                      <a:pt x="83" y="57"/>
                    </a:cubicBezTo>
                    <a:cubicBezTo>
                      <a:pt x="82" y="57"/>
                      <a:pt x="81" y="57"/>
                      <a:pt x="81" y="57"/>
                    </a:cubicBezTo>
                    <a:cubicBezTo>
                      <a:pt x="77" y="61"/>
                      <a:pt x="77" y="61"/>
                      <a:pt x="77" y="61"/>
                    </a:cubicBezTo>
                    <a:cubicBezTo>
                      <a:pt x="79" y="56"/>
                      <a:pt x="79" y="56"/>
                      <a:pt x="79" y="56"/>
                    </a:cubicBezTo>
                    <a:cubicBezTo>
                      <a:pt x="79" y="56"/>
                      <a:pt x="79" y="56"/>
                      <a:pt x="79" y="56"/>
                    </a:cubicBezTo>
                    <a:cubicBezTo>
                      <a:pt x="76" y="53"/>
                      <a:pt x="73" y="50"/>
                      <a:pt x="71" y="47"/>
                    </a:cubicBezTo>
                    <a:cubicBezTo>
                      <a:pt x="67" y="42"/>
                      <a:pt x="67" y="42"/>
                      <a:pt x="67" y="42"/>
                    </a:cubicBezTo>
                    <a:cubicBezTo>
                      <a:pt x="72" y="42"/>
                      <a:pt x="72" y="42"/>
                      <a:pt x="72" y="42"/>
                    </a:cubicBezTo>
                    <a:cubicBezTo>
                      <a:pt x="71" y="42"/>
                      <a:pt x="71" y="42"/>
                      <a:pt x="71" y="42"/>
                    </a:cubicBezTo>
                    <a:cubicBezTo>
                      <a:pt x="71" y="41"/>
                      <a:pt x="71" y="41"/>
                      <a:pt x="71" y="41"/>
                    </a:cubicBezTo>
                    <a:cubicBezTo>
                      <a:pt x="70" y="41"/>
                      <a:pt x="70" y="41"/>
                      <a:pt x="70" y="41"/>
                    </a:cubicBezTo>
                    <a:cubicBezTo>
                      <a:pt x="68" y="40"/>
                      <a:pt x="66" y="38"/>
                      <a:pt x="64" y="37"/>
                    </a:cubicBezTo>
                    <a:cubicBezTo>
                      <a:pt x="61" y="33"/>
                      <a:pt x="60" y="31"/>
                      <a:pt x="60" y="29"/>
                    </a:cubicBezTo>
                    <a:cubicBezTo>
                      <a:pt x="60" y="28"/>
                      <a:pt x="60" y="28"/>
                      <a:pt x="60" y="28"/>
                    </a:cubicBezTo>
                    <a:cubicBezTo>
                      <a:pt x="61" y="27"/>
                      <a:pt x="61" y="27"/>
                      <a:pt x="61" y="27"/>
                    </a:cubicBezTo>
                    <a:cubicBezTo>
                      <a:pt x="61" y="26"/>
                      <a:pt x="61" y="26"/>
                      <a:pt x="62" y="26"/>
                    </a:cubicBezTo>
                    <a:cubicBezTo>
                      <a:pt x="62" y="25"/>
                      <a:pt x="62" y="25"/>
                      <a:pt x="62" y="25"/>
                    </a:cubicBezTo>
                    <a:cubicBezTo>
                      <a:pt x="63" y="23"/>
                      <a:pt x="63" y="20"/>
                      <a:pt x="63" y="18"/>
                    </a:cubicBezTo>
                    <a:cubicBezTo>
                      <a:pt x="63" y="18"/>
                      <a:pt x="63" y="18"/>
                      <a:pt x="63" y="18"/>
                    </a:cubicBezTo>
                    <a:cubicBezTo>
                      <a:pt x="61" y="18"/>
                      <a:pt x="61" y="18"/>
                      <a:pt x="61" y="18"/>
                    </a:cubicBezTo>
                    <a:cubicBezTo>
                      <a:pt x="61" y="18"/>
                      <a:pt x="61" y="18"/>
                      <a:pt x="61" y="18"/>
                    </a:cubicBezTo>
                    <a:cubicBezTo>
                      <a:pt x="59" y="18"/>
                      <a:pt x="56" y="17"/>
                      <a:pt x="52" y="15"/>
                    </a:cubicBezTo>
                    <a:cubicBezTo>
                      <a:pt x="51" y="15"/>
                      <a:pt x="51" y="15"/>
                      <a:pt x="51" y="15"/>
                    </a:cubicBezTo>
                    <a:cubicBezTo>
                      <a:pt x="50" y="14"/>
                      <a:pt x="49" y="14"/>
                      <a:pt x="48" y="13"/>
                    </a:cubicBezTo>
                    <a:cubicBezTo>
                      <a:pt x="46" y="12"/>
                      <a:pt x="43" y="11"/>
                      <a:pt x="41" y="10"/>
                    </a:cubicBezTo>
                    <a:cubicBezTo>
                      <a:pt x="39" y="9"/>
                      <a:pt x="38" y="9"/>
                      <a:pt x="37" y="8"/>
                    </a:cubicBezTo>
                    <a:cubicBezTo>
                      <a:pt x="32" y="5"/>
                      <a:pt x="27" y="3"/>
                      <a:pt x="22" y="1"/>
                    </a:cubicBezTo>
                    <a:cubicBezTo>
                      <a:pt x="21" y="1"/>
                      <a:pt x="20" y="1"/>
                      <a:pt x="19" y="1"/>
                    </a:cubicBezTo>
                    <a:cubicBezTo>
                      <a:pt x="18" y="0"/>
                      <a:pt x="18" y="0"/>
                      <a:pt x="18"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7" name="Rectangle 315">
                <a:extLst>
                  <a:ext uri="{FF2B5EF4-FFF2-40B4-BE49-F238E27FC236}">
                    <a16:creationId xmlns:a16="http://schemas.microsoft.com/office/drawing/2014/main" id="{D0DCB6A8-1A77-4B8B-A030-6D666A133A9D}"/>
                  </a:ext>
                </a:extLst>
              </p:cNvPr>
              <p:cNvSpPr>
                <a:spLocks noChangeArrowheads="1"/>
              </p:cNvSpPr>
              <p:nvPr/>
            </p:nvSpPr>
            <p:spPr bwMode="auto">
              <a:xfrm>
                <a:off x="7171235" y="374039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8" name="Rectangle 316">
                <a:extLst>
                  <a:ext uri="{FF2B5EF4-FFF2-40B4-BE49-F238E27FC236}">
                    <a16:creationId xmlns:a16="http://schemas.microsoft.com/office/drawing/2014/main" id="{D6059777-9C5F-4496-9807-35F9B8E903A0}"/>
                  </a:ext>
                </a:extLst>
              </p:cNvPr>
              <p:cNvSpPr>
                <a:spLocks noChangeArrowheads="1"/>
              </p:cNvSpPr>
              <p:nvPr/>
            </p:nvSpPr>
            <p:spPr bwMode="auto">
              <a:xfrm>
                <a:off x="7171235" y="374039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9" name="Freeform 317">
                <a:extLst>
                  <a:ext uri="{FF2B5EF4-FFF2-40B4-BE49-F238E27FC236}">
                    <a16:creationId xmlns:a16="http://schemas.microsoft.com/office/drawing/2014/main" id="{1629EB4B-EEBC-45FF-B75C-AF4A5CD19BB2}"/>
                  </a:ext>
                </a:extLst>
              </p:cNvPr>
              <p:cNvSpPr>
                <a:spLocks/>
              </p:cNvSpPr>
              <p:nvPr/>
            </p:nvSpPr>
            <p:spPr bwMode="auto">
              <a:xfrm>
                <a:off x="6467378" y="3250273"/>
                <a:ext cx="829151" cy="567508"/>
              </a:xfrm>
              <a:custGeom>
                <a:avLst/>
                <a:gdLst>
                  <a:gd name="T0" fmla="*/ 132 w 262"/>
                  <a:gd name="T1" fmla="*/ 1 h 179"/>
                  <a:gd name="T2" fmla="*/ 120 w 262"/>
                  <a:gd name="T3" fmla="*/ 13 h 179"/>
                  <a:gd name="T4" fmla="*/ 109 w 262"/>
                  <a:gd name="T5" fmla="*/ 13 h 179"/>
                  <a:gd name="T6" fmla="*/ 99 w 262"/>
                  <a:gd name="T7" fmla="*/ 17 h 179"/>
                  <a:gd name="T8" fmla="*/ 95 w 262"/>
                  <a:gd name="T9" fmla="*/ 19 h 179"/>
                  <a:gd name="T10" fmla="*/ 92 w 262"/>
                  <a:gd name="T11" fmla="*/ 26 h 179"/>
                  <a:gd name="T12" fmla="*/ 95 w 262"/>
                  <a:gd name="T13" fmla="*/ 28 h 179"/>
                  <a:gd name="T14" fmla="*/ 91 w 262"/>
                  <a:gd name="T15" fmla="*/ 40 h 179"/>
                  <a:gd name="T16" fmla="*/ 70 w 262"/>
                  <a:gd name="T17" fmla="*/ 53 h 179"/>
                  <a:gd name="T18" fmla="*/ 67 w 262"/>
                  <a:gd name="T19" fmla="*/ 69 h 179"/>
                  <a:gd name="T20" fmla="*/ 65 w 262"/>
                  <a:gd name="T21" fmla="*/ 80 h 179"/>
                  <a:gd name="T22" fmla="*/ 57 w 262"/>
                  <a:gd name="T23" fmla="*/ 76 h 179"/>
                  <a:gd name="T24" fmla="*/ 48 w 262"/>
                  <a:gd name="T25" fmla="*/ 80 h 179"/>
                  <a:gd name="T26" fmla="*/ 42 w 262"/>
                  <a:gd name="T27" fmla="*/ 85 h 179"/>
                  <a:gd name="T28" fmla="*/ 29 w 262"/>
                  <a:gd name="T29" fmla="*/ 89 h 179"/>
                  <a:gd name="T30" fmla="*/ 24 w 262"/>
                  <a:gd name="T31" fmla="*/ 88 h 179"/>
                  <a:gd name="T32" fmla="*/ 8 w 262"/>
                  <a:gd name="T33" fmla="*/ 87 h 179"/>
                  <a:gd name="T34" fmla="*/ 13 w 262"/>
                  <a:gd name="T35" fmla="*/ 101 h 179"/>
                  <a:gd name="T36" fmla="*/ 14 w 262"/>
                  <a:gd name="T37" fmla="*/ 135 h 179"/>
                  <a:gd name="T38" fmla="*/ 8 w 262"/>
                  <a:gd name="T39" fmla="*/ 152 h 179"/>
                  <a:gd name="T40" fmla="*/ 8 w 262"/>
                  <a:gd name="T41" fmla="*/ 169 h 179"/>
                  <a:gd name="T42" fmla="*/ 16 w 262"/>
                  <a:gd name="T43" fmla="*/ 171 h 179"/>
                  <a:gd name="T44" fmla="*/ 34 w 262"/>
                  <a:gd name="T45" fmla="*/ 159 h 179"/>
                  <a:gd name="T46" fmla="*/ 45 w 262"/>
                  <a:gd name="T47" fmla="*/ 158 h 179"/>
                  <a:gd name="T48" fmla="*/ 75 w 262"/>
                  <a:gd name="T49" fmla="*/ 161 h 179"/>
                  <a:gd name="T50" fmla="*/ 133 w 262"/>
                  <a:gd name="T51" fmla="*/ 169 h 179"/>
                  <a:gd name="T52" fmla="*/ 140 w 262"/>
                  <a:gd name="T53" fmla="*/ 169 h 179"/>
                  <a:gd name="T54" fmla="*/ 155 w 262"/>
                  <a:gd name="T55" fmla="*/ 172 h 179"/>
                  <a:gd name="T56" fmla="*/ 160 w 262"/>
                  <a:gd name="T57" fmla="*/ 170 h 179"/>
                  <a:gd name="T58" fmla="*/ 170 w 262"/>
                  <a:gd name="T59" fmla="*/ 178 h 179"/>
                  <a:gd name="T60" fmla="*/ 181 w 262"/>
                  <a:gd name="T61" fmla="*/ 177 h 179"/>
                  <a:gd name="T62" fmla="*/ 192 w 262"/>
                  <a:gd name="T63" fmla="*/ 175 h 179"/>
                  <a:gd name="T64" fmla="*/ 201 w 262"/>
                  <a:gd name="T65" fmla="*/ 168 h 179"/>
                  <a:gd name="T66" fmla="*/ 215 w 262"/>
                  <a:gd name="T67" fmla="*/ 153 h 179"/>
                  <a:gd name="T68" fmla="*/ 223 w 262"/>
                  <a:gd name="T69" fmla="*/ 153 h 179"/>
                  <a:gd name="T70" fmla="*/ 229 w 262"/>
                  <a:gd name="T71" fmla="*/ 141 h 179"/>
                  <a:gd name="T72" fmla="*/ 221 w 262"/>
                  <a:gd name="T73" fmla="*/ 119 h 179"/>
                  <a:gd name="T74" fmla="*/ 224 w 262"/>
                  <a:gd name="T75" fmla="*/ 114 h 179"/>
                  <a:gd name="T76" fmla="*/ 233 w 262"/>
                  <a:gd name="T77" fmla="*/ 112 h 179"/>
                  <a:gd name="T78" fmla="*/ 262 w 262"/>
                  <a:gd name="T79" fmla="*/ 105 h 179"/>
                  <a:gd name="T80" fmla="*/ 233 w 262"/>
                  <a:gd name="T81" fmla="*/ 88 h 179"/>
                  <a:gd name="T82" fmla="*/ 209 w 262"/>
                  <a:gd name="T83" fmla="*/ 54 h 179"/>
                  <a:gd name="T84" fmla="*/ 208 w 262"/>
                  <a:gd name="T85" fmla="*/ 32 h 179"/>
                  <a:gd name="T86" fmla="*/ 195 w 262"/>
                  <a:gd name="T87" fmla="*/ 13 h 179"/>
                  <a:gd name="T88" fmla="*/ 180 w 262"/>
                  <a:gd name="T89" fmla="*/ 15 h 179"/>
                  <a:gd name="T90" fmla="*/ 172 w 262"/>
                  <a:gd name="T91" fmla="*/ 18 h 179"/>
                  <a:gd name="T92" fmla="*/ 168 w 262"/>
                  <a:gd name="T93" fmla="*/ 15 h 179"/>
                  <a:gd name="T94" fmla="*/ 167 w 262"/>
                  <a:gd name="T95" fmla="*/ 9 h 179"/>
                  <a:gd name="T96" fmla="*/ 160 w 262"/>
                  <a:gd name="T97" fmla="*/ 8 h 179"/>
                  <a:gd name="T98" fmla="*/ 148 w 262"/>
                  <a:gd name="T99" fmla="*/ 7 h 179"/>
                  <a:gd name="T100" fmla="*/ 145 w 262"/>
                  <a:gd name="T101" fmla="*/ 5 h 179"/>
                  <a:gd name="T102" fmla="*/ 139 w 262"/>
                  <a:gd name="T103" fmla="*/ 2 h 179"/>
                  <a:gd name="T104" fmla="*/ 136 w 262"/>
                  <a:gd name="T10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2" h="179">
                    <a:moveTo>
                      <a:pt x="136" y="0"/>
                    </a:moveTo>
                    <a:cubicBezTo>
                      <a:pt x="135" y="0"/>
                      <a:pt x="135" y="0"/>
                      <a:pt x="135" y="0"/>
                    </a:cubicBezTo>
                    <a:cubicBezTo>
                      <a:pt x="135" y="1"/>
                      <a:pt x="135" y="1"/>
                      <a:pt x="135" y="1"/>
                    </a:cubicBezTo>
                    <a:cubicBezTo>
                      <a:pt x="134" y="1"/>
                      <a:pt x="134" y="1"/>
                      <a:pt x="134" y="1"/>
                    </a:cubicBezTo>
                    <a:cubicBezTo>
                      <a:pt x="134" y="1"/>
                      <a:pt x="133" y="1"/>
                      <a:pt x="132" y="1"/>
                    </a:cubicBezTo>
                    <a:cubicBezTo>
                      <a:pt x="132" y="1"/>
                      <a:pt x="130" y="2"/>
                      <a:pt x="129" y="4"/>
                    </a:cubicBezTo>
                    <a:cubicBezTo>
                      <a:pt x="128" y="5"/>
                      <a:pt x="127" y="5"/>
                      <a:pt x="126" y="6"/>
                    </a:cubicBezTo>
                    <a:cubicBezTo>
                      <a:pt x="126" y="7"/>
                      <a:pt x="125" y="7"/>
                      <a:pt x="124" y="8"/>
                    </a:cubicBezTo>
                    <a:cubicBezTo>
                      <a:pt x="124" y="8"/>
                      <a:pt x="124" y="8"/>
                      <a:pt x="124" y="8"/>
                    </a:cubicBezTo>
                    <a:cubicBezTo>
                      <a:pt x="124" y="12"/>
                      <a:pt x="122" y="13"/>
                      <a:pt x="120" y="13"/>
                    </a:cubicBezTo>
                    <a:cubicBezTo>
                      <a:pt x="117" y="13"/>
                      <a:pt x="117" y="13"/>
                      <a:pt x="117" y="13"/>
                    </a:cubicBezTo>
                    <a:cubicBezTo>
                      <a:pt x="116" y="13"/>
                      <a:pt x="114" y="13"/>
                      <a:pt x="113" y="13"/>
                    </a:cubicBezTo>
                    <a:cubicBezTo>
                      <a:pt x="113" y="13"/>
                      <a:pt x="113" y="13"/>
                      <a:pt x="113" y="13"/>
                    </a:cubicBezTo>
                    <a:cubicBezTo>
                      <a:pt x="112" y="13"/>
                      <a:pt x="111" y="13"/>
                      <a:pt x="111" y="13"/>
                    </a:cubicBezTo>
                    <a:cubicBezTo>
                      <a:pt x="109" y="13"/>
                      <a:pt x="109" y="13"/>
                      <a:pt x="109" y="13"/>
                    </a:cubicBezTo>
                    <a:cubicBezTo>
                      <a:pt x="107" y="13"/>
                      <a:pt x="106" y="13"/>
                      <a:pt x="105" y="13"/>
                    </a:cubicBezTo>
                    <a:cubicBezTo>
                      <a:pt x="104" y="13"/>
                      <a:pt x="104" y="13"/>
                      <a:pt x="103" y="14"/>
                    </a:cubicBezTo>
                    <a:cubicBezTo>
                      <a:pt x="102" y="14"/>
                      <a:pt x="102" y="14"/>
                      <a:pt x="102" y="14"/>
                    </a:cubicBezTo>
                    <a:cubicBezTo>
                      <a:pt x="109" y="14"/>
                      <a:pt x="109" y="14"/>
                      <a:pt x="109" y="14"/>
                    </a:cubicBezTo>
                    <a:cubicBezTo>
                      <a:pt x="99" y="17"/>
                      <a:pt x="99" y="17"/>
                      <a:pt x="99" y="17"/>
                    </a:cubicBezTo>
                    <a:cubicBezTo>
                      <a:pt x="99" y="17"/>
                      <a:pt x="98" y="18"/>
                      <a:pt x="98" y="18"/>
                    </a:cubicBezTo>
                    <a:cubicBezTo>
                      <a:pt x="97" y="18"/>
                      <a:pt x="97" y="18"/>
                      <a:pt x="97" y="18"/>
                    </a:cubicBezTo>
                    <a:cubicBezTo>
                      <a:pt x="96" y="19"/>
                      <a:pt x="96" y="19"/>
                      <a:pt x="95" y="19"/>
                    </a:cubicBezTo>
                    <a:cubicBezTo>
                      <a:pt x="95" y="19"/>
                      <a:pt x="95" y="19"/>
                      <a:pt x="95" y="19"/>
                    </a:cubicBezTo>
                    <a:cubicBezTo>
                      <a:pt x="95" y="19"/>
                      <a:pt x="95" y="19"/>
                      <a:pt x="95" y="19"/>
                    </a:cubicBezTo>
                    <a:cubicBezTo>
                      <a:pt x="95" y="20"/>
                      <a:pt x="95" y="20"/>
                      <a:pt x="95" y="20"/>
                    </a:cubicBezTo>
                    <a:cubicBezTo>
                      <a:pt x="94" y="20"/>
                      <a:pt x="94" y="20"/>
                      <a:pt x="94" y="20"/>
                    </a:cubicBezTo>
                    <a:cubicBezTo>
                      <a:pt x="94" y="21"/>
                      <a:pt x="94" y="22"/>
                      <a:pt x="93" y="23"/>
                    </a:cubicBezTo>
                    <a:cubicBezTo>
                      <a:pt x="92" y="26"/>
                      <a:pt x="92" y="26"/>
                      <a:pt x="92" y="26"/>
                    </a:cubicBezTo>
                    <a:cubicBezTo>
                      <a:pt x="92" y="26"/>
                      <a:pt x="92" y="26"/>
                      <a:pt x="92" y="26"/>
                    </a:cubicBezTo>
                    <a:cubicBezTo>
                      <a:pt x="92" y="27"/>
                      <a:pt x="92" y="27"/>
                      <a:pt x="92" y="27"/>
                    </a:cubicBezTo>
                    <a:cubicBezTo>
                      <a:pt x="92" y="27"/>
                      <a:pt x="92" y="27"/>
                      <a:pt x="92" y="27"/>
                    </a:cubicBezTo>
                    <a:cubicBezTo>
                      <a:pt x="92" y="27"/>
                      <a:pt x="92" y="27"/>
                      <a:pt x="92" y="27"/>
                    </a:cubicBezTo>
                    <a:cubicBezTo>
                      <a:pt x="92" y="27"/>
                      <a:pt x="93" y="27"/>
                      <a:pt x="93" y="28"/>
                    </a:cubicBezTo>
                    <a:cubicBezTo>
                      <a:pt x="95" y="28"/>
                      <a:pt x="95" y="28"/>
                      <a:pt x="95" y="28"/>
                    </a:cubicBezTo>
                    <a:cubicBezTo>
                      <a:pt x="95" y="29"/>
                      <a:pt x="96" y="29"/>
                      <a:pt x="97" y="30"/>
                    </a:cubicBezTo>
                    <a:cubicBezTo>
                      <a:pt x="101" y="33"/>
                      <a:pt x="101" y="33"/>
                      <a:pt x="101" y="33"/>
                    </a:cubicBezTo>
                    <a:cubicBezTo>
                      <a:pt x="97" y="36"/>
                      <a:pt x="97" y="36"/>
                      <a:pt x="97" y="36"/>
                    </a:cubicBezTo>
                    <a:cubicBezTo>
                      <a:pt x="96" y="36"/>
                      <a:pt x="94" y="37"/>
                      <a:pt x="93" y="38"/>
                    </a:cubicBezTo>
                    <a:cubicBezTo>
                      <a:pt x="91" y="40"/>
                      <a:pt x="91" y="40"/>
                      <a:pt x="91" y="40"/>
                    </a:cubicBezTo>
                    <a:cubicBezTo>
                      <a:pt x="88" y="41"/>
                      <a:pt x="85" y="43"/>
                      <a:pt x="82" y="45"/>
                    </a:cubicBezTo>
                    <a:cubicBezTo>
                      <a:pt x="81" y="46"/>
                      <a:pt x="81" y="46"/>
                      <a:pt x="81" y="46"/>
                    </a:cubicBezTo>
                    <a:cubicBezTo>
                      <a:pt x="79" y="46"/>
                      <a:pt x="78" y="47"/>
                      <a:pt x="77" y="48"/>
                    </a:cubicBezTo>
                    <a:cubicBezTo>
                      <a:pt x="72" y="50"/>
                      <a:pt x="72" y="50"/>
                      <a:pt x="72" y="50"/>
                    </a:cubicBezTo>
                    <a:cubicBezTo>
                      <a:pt x="72" y="50"/>
                      <a:pt x="71" y="51"/>
                      <a:pt x="70" y="53"/>
                    </a:cubicBezTo>
                    <a:cubicBezTo>
                      <a:pt x="70" y="54"/>
                      <a:pt x="70" y="54"/>
                      <a:pt x="70" y="54"/>
                    </a:cubicBezTo>
                    <a:cubicBezTo>
                      <a:pt x="70" y="54"/>
                      <a:pt x="70" y="55"/>
                      <a:pt x="70" y="56"/>
                    </a:cubicBezTo>
                    <a:cubicBezTo>
                      <a:pt x="69" y="57"/>
                      <a:pt x="69" y="58"/>
                      <a:pt x="68" y="59"/>
                    </a:cubicBezTo>
                    <a:cubicBezTo>
                      <a:pt x="67" y="62"/>
                      <a:pt x="66" y="65"/>
                      <a:pt x="65" y="68"/>
                    </a:cubicBezTo>
                    <a:cubicBezTo>
                      <a:pt x="66" y="69"/>
                      <a:pt x="66" y="69"/>
                      <a:pt x="67" y="69"/>
                    </a:cubicBezTo>
                    <a:cubicBezTo>
                      <a:pt x="69" y="72"/>
                      <a:pt x="69" y="72"/>
                      <a:pt x="69" y="72"/>
                    </a:cubicBezTo>
                    <a:cubicBezTo>
                      <a:pt x="70" y="73"/>
                      <a:pt x="70" y="73"/>
                      <a:pt x="71" y="74"/>
                    </a:cubicBezTo>
                    <a:cubicBezTo>
                      <a:pt x="73" y="78"/>
                      <a:pt x="73" y="78"/>
                      <a:pt x="73" y="78"/>
                    </a:cubicBezTo>
                    <a:cubicBezTo>
                      <a:pt x="69" y="79"/>
                      <a:pt x="69" y="79"/>
                      <a:pt x="69" y="79"/>
                    </a:cubicBezTo>
                    <a:cubicBezTo>
                      <a:pt x="67" y="79"/>
                      <a:pt x="66" y="80"/>
                      <a:pt x="65" y="80"/>
                    </a:cubicBezTo>
                    <a:cubicBezTo>
                      <a:pt x="65" y="80"/>
                      <a:pt x="65" y="80"/>
                      <a:pt x="65" y="80"/>
                    </a:cubicBezTo>
                    <a:cubicBezTo>
                      <a:pt x="63" y="80"/>
                      <a:pt x="63" y="80"/>
                      <a:pt x="63" y="80"/>
                    </a:cubicBezTo>
                    <a:cubicBezTo>
                      <a:pt x="63" y="80"/>
                      <a:pt x="63" y="80"/>
                      <a:pt x="63" y="80"/>
                    </a:cubicBezTo>
                    <a:cubicBezTo>
                      <a:pt x="62" y="80"/>
                      <a:pt x="61" y="80"/>
                      <a:pt x="60" y="79"/>
                    </a:cubicBezTo>
                    <a:cubicBezTo>
                      <a:pt x="59" y="79"/>
                      <a:pt x="57" y="78"/>
                      <a:pt x="57" y="76"/>
                    </a:cubicBezTo>
                    <a:cubicBezTo>
                      <a:pt x="57" y="75"/>
                      <a:pt x="57" y="75"/>
                      <a:pt x="57" y="75"/>
                    </a:cubicBezTo>
                    <a:cubicBezTo>
                      <a:pt x="56" y="76"/>
                      <a:pt x="55" y="76"/>
                      <a:pt x="54" y="77"/>
                    </a:cubicBezTo>
                    <a:cubicBezTo>
                      <a:pt x="54" y="77"/>
                      <a:pt x="54" y="77"/>
                      <a:pt x="54" y="77"/>
                    </a:cubicBezTo>
                    <a:cubicBezTo>
                      <a:pt x="52" y="78"/>
                      <a:pt x="51" y="79"/>
                      <a:pt x="50" y="79"/>
                    </a:cubicBezTo>
                    <a:cubicBezTo>
                      <a:pt x="49" y="80"/>
                      <a:pt x="49" y="80"/>
                      <a:pt x="48" y="80"/>
                    </a:cubicBezTo>
                    <a:cubicBezTo>
                      <a:pt x="47" y="80"/>
                      <a:pt x="47" y="80"/>
                      <a:pt x="47" y="80"/>
                    </a:cubicBezTo>
                    <a:cubicBezTo>
                      <a:pt x="46" y="80"/>
                      <a:pt x="45" y="80"/>
                      <a:pt x="45" y="80"/>
                    </a:cubicBezTo>
                    <a:cubicBezTo>
                      <a:pt x="44" y="80"/>
                      <a:pt x="44" y="80"/>
                      <a:pt x="44" y="80"/>
                    </a:cubicBezTo>
                    <a:cubicBezTo>
                      <a:pt x="45" y="81"/>
                      <a:pt x="44" y="83"/>
                      <a:pt x="44" y="83"/>
                    </a:cubicBezTo>
                    <a:cubicBezTo>
                      <a:pt x="43" y="84"/>
                      <a:pt x="43" y="85"/>
                      <a:pt x="42" y="85"/>
                    </a:cubicBezTo>
                    <a:cubicBezTo>
                      <a:pt x="41" y="86"/>
                      <a:pt x="41" y="86"/>
                      <a:pt x="41" y="86"/>
                    </a:cubicBezTo>
                    <a:cubicBezTo>
                      <a:pt x="41" y="86"/>
                      <a:pt x="40" y="86"/>
                      <a:pt x="39" y="87"/>
                    </a:cubicBezTo>
                    <a:cubicBezTo>
                      <a:pt x="38" y="87"/>
                      <a:pt x="37" y="87"/>
                      <a:pt x="37" y="88"/>
                    </a:cubicBezTo>
                    <a:cubicBezTo>
                      <a:pt x="34" y="88"/>
                      <a:pt x="31" y="89"/>
                      <a:pt x="30" y="89"/>
                    </a:cubicBezTo>
                    <a:cubicBezTo>
                      <a:pt x="29" y="89"/>
                      <a:pt x="29" y="89"/>
                      <a:pt x="29" y="89"/>
                    </a:cubicBezTo>
                    <a:cubicBezTo>
                      <a:pt x="28" y="89"/>
                      <a:pt x="28" y="89"/>
                      <a:pt x="27" y="89"/>
                    </a:cubicBezTo>
                    <a:cubicBezTo>
                      <a:pt x="27" y="89"/>
                      <a:pt x="27" y="89"/>
                      <a:pt x="27" y="89"/>
                    </a:cubicBezTo>
                    <a:cubicBezTo>
                      <a:pt x="27" y="88"/>
                      <a:pt x="27" y="88"/>
                      <a:pt x="27" y="88"/>
                    </a:cubicBezTo>
                    <a:cubicBezTo>
                      <a:pt x="27" y="89"/>
                      <a:pt x="27" y="89"/>
                      <a:pt x="27" y="89"/>
                    </a:cubicBezTo>
                    <a:cubicBezTo>
                      <a:pt x="25" y="89"/>
                      <a:pt x="25" y="89"/>
                      <a:pt x="24" y="88"/>
                    </a:cubicBezTo>
                    <a:cubicBezTo>
                      <a:pt x="22" y="88"/>
                      <a:pt x="22" y="88"/>
                      <a:pt x="22" y="88"/>
                    </a:cubicBezTo>
                    <a:cubicBezTo>
                      <a:pt x="20" y="87"/>
                      <a:pt x="17" y="87"/>
                      <a:pt x="13" y="87"/>
                    </a:cubicBezTo>
                    <a:cubicBezTo>
                      <a:pt x="12" y="87"/>
                      <a:pt x="11" y="87"/>
                      <a:pt x="10" y="87"/>
                    </a:cubicBezTo>
                    <a:cubicBezTo>
                      <a:pt x="9" y="87"/>
                      <a:pt x="9" y="87"/>
                      <a:pt x="9" y="87"/>
                    </a:cubicBezTo>
                    <a:cubicBezTo>
                      <a:pt x="9" y="87"/>
                      <a:pt x="8" y="87"/>
                      <a:pt x="8" y="87"/>
                    </a:cubicBezTo>
                    <a:cubicBezTo>
                      <a:pt x="8" y="89"/>
                      <a:pt x="9" y="90"/>
                      <a:pt x="9" y="91"/>
                    </a:cubicBezTo>
                    <a:cubicBezTo>
                      <a:pt x="9" y="92"/>
                      <a:pt x="9" y="92"/>
                      <a:pt x="9" y="92"/>
                    </a:cubicBezTo>
                    <a:cubicBezTo>
                      <a:pt x="10" y="93"/>
                      <a:pt x="10" y="93"/>
                      <a:pt x="10" y="93"/>
                    </a:cubicBezTo>
                    <a:cubicBezTo>
                      <a:pt x="10" y="95"/>
                      <a:pt x="11" y="98"/>
                      <a:pt x="12" y="100"/>
                    </a:cubicBezTo>
                    <a:cubicBezTo>
                      <a:pt x="13" y="101"/>
                      <a:pt x="13" y="101"/>
                      <a:pt x="13" y="101"/>
                    </a:cubicBezTo>
                    <a:cubicBezTo>
                      <a:pt x="15" y="105"/>
                      <a:pt x="17" y="109"/>
                      <a:pt x="18" y="113"/>
                    </a:cubicBezTo>
                    <a:cubicBezTo>
                      <a:pt x="18" y="115"/>
                      <a:pt x="20" y="122"/>
                      <a:pt x="19" y="128"/>
                    </a:cubicBezTo>
                    <a:cubicBezTo>
                      <a:pt x="19" y="129"/>
                      <a:pt x="19" y="129"/>
                      <a:pt x="19" y="129"/>
                    </a:cubicBezTo>
                    <a:cubicBezTo>
                      <a:pt x="19" y="131"/>
                      <a:pt x="18" y="132"/>
                      <a:pt x="16" y="134"/>
                    </a:cubicBezTo>
                    <a:cubicBezTo>
                      <a:pt x="15" y="134"/>
                      <a:pt x="15" y="135"/>
                      <a:pt x="14" y="135"/>
                    </a:cubicBezTo>
                    <a:cubicBezTo>
                      <a:pt x="13" y="136"/>
                      <a:pt x="13" y="136"/>
                      <a:pt x="13" y="136"/>
                    </a:cubicBezTo>
                    <a:cubicBezTo>
                      <a:pt x="0" y="147"/>
                      <a:pt x="0" y="147"/>
                      <a:pt x="0" y="147"/>
                    </a:cubicBezTo>
                    <a:cubicBezTo>
                      <a:pt x="1" y="148"/>
                      <a:pt x="3" y="148"/>
                      <a:pt x="3" y="149"/>
                    </a:cubicBezTo>
                    <a:cubicBezTo>
                      <a:pt x="4" y="149"/>
                      <a:pt x="4" y="149"/>
                      <a:pt x="4" y="149"/>
                    </a:cubicBezTo>
                    <a:cubicBezTo>
                      <a:pt x="5" y="150"/>
                      <a:pt x="7" y="151"/>
                      <a:pt x="8" y="152"/>
                    </a:cubicBezTo>
                    <a:cubicBezTo>
                      <a:pt x="9" y="153"/>
                      <a:pt x="9" y="153"/>
                      <a:pt x="9" y="153"/>
                    </a:cubicBezTo>
                    <a:cubicBezTo>
                      <a:pt x="10" y="154"/>
                      <a:pt x="10" y="154"/>
                      <a:pt x="10" y="154"/>
                    </a:cubicBezTo>
                    <a:cubicBezTo>
                      <a:pt x="10" y="155"/>
                      <a:pt x="10" y="155"/>
                      <a:pt x="10" y="156"/>
                    </a:cubicBezTo>
                    <a:cubicBezTo>
                      <a:pt x="11" y="159"/>
                      <a:pt x="10" y="162"/>
                      <a:pt x="9" y="166"/>
                    </a:cubicBezTo>
                    <a:cubicBezTo>
                      <a:pt x="9" y="167"/>
                      <a:pt x="8" y="168"/>
                      <a:pt x="8" y="169"/>
                    </a:cubicBezTo>
                    <a:cubicBezTo>
                      <a:pt x="8" y="169"/>
                      <a:pt x="8" y="170"/>
                      <a:pt x="8" y="171"/>
                    </a:cubicBezTo>
                    <a:cubicBezTo>
                      <a:pt x="8" y="172"/>
                      <a:pt x="8" y="172"/>
                      <a:pt x="8" y="173"/>
                    </a:cubicBezTo>
                    <a:cubicBezTo>
                      <a:pt x="8" y="173"/>
                      <a:pt x="8" y="173"/>
                      <a:pt x="8" y="173"/>
                    </a:cubicBezTo>
                    <a:cubicBezTo>
                      <a:pt x="10" y="172"/>
                      <a:pt x="13" y="172"/>
                      <a:pt x="15" y="171"/>
                    </a:cubicBezTo>
                    <a:cubicBezTo>
                      <a:pt x="16" y="171"/>
                      <a:pt x="16" y="171"/>
                      <a:pt x="16" y="171"/>
                    </a:cubicBezTo>
                    <a:cubicBezTo>
                      <a:pt x="17" y="170"/>
                      <a:pt x="18" y="170"/>
                      <a:pt x="18" y="170"/>
                    </a:cubicBezTo>
                    <a:cubicBezTo>
                      <a:pt x="19" y="169"/>
                      <a:pt x="20" y="168"/>
                      <a:pt x="21" y="166"/>
                    </a:cubicBezTo>
                    <a:cubicBezTo>
                      <a:pt x="23" y="164"/>
                      <a:pt x="26" y="161"/>
                      <a:pt x="30" y="160"/>
                    </a:cubicBezTo>
                    <a:cubicBezTo>
                      <a:pt x="31" y="159"/>
                      <a:pt x="32" y="159"/>
                      <a:pt x="33" y="159"/>
                    </a:cubicBezTo>
                    <a:cubicBezTo>
                      <a:pt x="34" y="159"/>
                      <a:pt x="34" y="159"/>
                      <a:pt x="34" y="159"/>
                    </a:cubicBezTo>
                    <a:cubicBezTo>
                      <a:pt x="35" y="159"/>
                      <a:pt x="36" y="159"/>
                      <a:pt x="37" y="159"/>
                    </a:cubicBezTo>
                    <a:cubicBezTo>
                      <a:pt x="37" y="159"/>
                      <a:pt x="38" y="159"/>
                      <a:pt x="39" y="159"/>
                    </a:cubicBezTo>
                    <a:cubicBezTo>
                      <a:pt x="39" y="159"/>
                      <a:pt x="40" y="159"/>
                      <a:pt x="40" y="159"/>
                    </a:cubicBezTo>
                    <a:cubicBezTo>
                      <a:pt x="42" y="159"/>
                      <a:pt x="43" y="159"/>
                      <a:pt x="45" y="158"/>
                    </a:cubicBezTo>
                    <a:cubicBezTo>
                      <a:pt x="45" y="158"/>
                      <a:pt x="45" y="158"/>
                      <a:pt x="45" y="158"/>
                    </a:cubicBezTo>
                    <a:cubicBezTo>
                      <a:pt x="47" y="158"/>
                      <a:pt x="49" y="157"/>
                      <a:pt x="51" y="157"/>
                    </a:cubicBezTo>
                    <a:cubicBezTo>
                      <a:pt x="52" y="157"/>
                      <a:pt x="52" y="157"/>
                      <a:pt x="53" y="157"/>
                    </a:cubicBezTo>
                    <a:cubicBezTo>
                      <a:pt x="54" y="157"/>
                      <a:pt x="55" y="157"/>
                      <a:pt x="56" y="157"/>
                    </a:cubicBezTo>
                    <a:cubicBezTo>
                      <a:pt x="62" y="158"/>
                      <a:pt x="68" y="159"/>
                      <a:pt x="74" y="161"/>
                    </a:cubicBezTo>
                    <a:cubicBezTo>
                      <a:pt x="75" y="161"/>
                      <a:pt x="75" y="161"/>
                      <a:pt x="75" y="161"/>
                    </a:cubicBezTo>
                    <a:cubicBezTo>
                      <a:pt x="111" y="168"/>
                      <a:pt x="111" y="168"/>
                      <a:pt x="111" y="168"/>
                    </a:cubicBezTo>
                    <a:cubicBezTo>
                      <a:pt x="112" y="168"/>
                      <a:pt x="113" y="168"/>
                      <a:pt x="113" y="168"/>
                    </a:cubicBezTo>
                    <a:cubicBezTo>
                      <a:pt x="117" y="169"/>
                      <a:pt x="122" y="169"/>
                      <a:pt x="124" y="172"/>
                    </a:cubicBezTo>
                    <a:cubicBezTo>
                      <a:pt x="127" y="170"/>
                      <a:pt x="129" y="170"/>
                      <a:pt x="133" y="169"/>
                    </a:cubicBezTo>
                    <a:cubicBezTo>
                      <a:pt x="133" y="169"/>
                      <a:pt x="133" y="169"/>
                      <a:pt x="133" y="169"/>
                    </a:cubicBezTo>
                    <a:cubicBezTo>
                      <a:pt x="134" y="169"/>
                      <a:pt x="134" y="169"/>
                      <a:pt x="135" y="169"/>
                    </a:cubicBezTo>
                    <a:cubicBezTo>
                      <a:pt x="136" y="169"/>
                      <a:pt x="136" y="169"/>
                      <a:pt x="136" y="169"/>
                    </a:cubicBezTo>
                    <a:cubicBezTo>
                      <a:pt x="138" y="168"/>
                      <a:pt x="138" y="168"/>
                      <a:pt x="138" y="168"/>
                    </a:cubicBezTo>
                    <a:cubicBezTo>
                      <a:pt x="139" y="169"/>
                      <a:pt x="139" y="169"/>
                      <a:pt x="139" y="169"/>
                    </a:cubicBezTo>
                    <a:cubicBezTo>
                      <a:pt x="139" y="169"/>
                      <a:pt x="140" y="169"/>
                      <a:pt x="140" y="169"/>
                    </a:cubicBezTo>
                    <a:cubicBezTo>
                      <a:pt x="141" y="170"/>
                      <a:pt x="141" y="170"/>
                      <a:pt x="141" y="170"/>
                    </a:cubicBezTo>
                    <a:cubicBezTo>
                      <a:pt x="141" y="170"/>
                      <a:pt x="142" y="171"/>
                      <a:pt x="142" y="171"/>
                    </a:cubicBezTo>
                    <a:cubicBezTo>
                      <a:pt x="144" y="173"/>
                      <a:pt x="146" y="174"/>
                      <a:pt x="148" y="175"/>
                    </a:cubicBezTo>
                    <a:cubicBezTo>
                      <a:pt x="149" y="175"/>
                      <a:pt x="150" y="176"/>
                      <a:pt x="151" y="176"/>
                    </a:cubicBezTo>
                    <a:cubicBezTo>
                      <a:pt x="152" y="174"/>
                      <a:pt x="153" y="174"/>
                      <a:pt x="155" y="172"/>
                    </a:cubicBezTo>
                    <a:cubicBezTo>
                      <a:pt x="156" y="172"/>
                      <a:pt x="156" y="172"/>
                      <a:pt x="156" y="172"/>
                    </a:cubicBezTo>
                    <a:cubicBezTo>
                      <a:pt x="156" y="172"/>
                      <a:pt x="156" y="172"/>
                      <a:pt x="157" y="172"/>
                    </a:cubicBezTo>
                    <a:cubicBezTo>
                      <a:pt x="157" y="171"/>
                      <a:pt x="157" y="171"/>
                      <a:pt x="157" y="171"/>
                    </a:cubicBezTo>
                    <a:cubicBezTo>
                      <a:pt x="159" y="170"/>
                      <a:pt x="159" y="170"/>
                      <a:pt x="159" y="170"/>
                    </a:cubicBezTo>
                    <a:cubicBezTo>
                      <a:pt x="160" y="170"/>
                      <a:pt x="160" y="170"/>
                      <a:pt x="160" y="170"/>
                    </a:cubicBezTo>
                    <a:cubicBezTo>
                      <a:pt x="160" y="169"/>
                      <a:pt x="161" y="169"/>
                      <a:pt x="161" y="169"/>
                    </a:cubicBezTo>
                    <a:cubicBezTo>
                      <a:pt x="165" y="169"/>
                      <a:pt x="168" y="173"/>
                      <a:pt x="169" y="175"/>
                    </a:cubicBezTo>
                    <a:cubicBezTo>
                      <a:pt x="170" y="176"/>
                      <a:pt x="170" y="176"/>
                      <a:pt x="170" y="176"/>
                    </a:cubicBezTo>
                    <a:cubicBezTo>
                      <a:pt x="173" y="174"/>
                      <a:pt x="173" y="174"/>
                      <a:pt x="173" y="174"/>
                    </a:cubicBezTo>
                    <a:cubicBezTo>
                      <a:pt x="170" y="178"/>
                      <a:pt x="170" y="178"/>
                      <a:pt x="170" y="178"/>
                    </a:cubicBezTo>
                    <a:cubicBezTo>
                      <a:pt x="171" y="179"/>
                      <a:pt x="171" y="179"/>
                      <a:pt x="171" y="179"/>
                    </a:cubicBezTo>
                    <a:cubicBezTo>
                      <a:pt x="172" y="179"/>
                      <a:pt x="172" y="179"/>
                      <a:pt x="173" y="179"/>
                    </a:cubicBezTo>
                    <a:cubicBezTo>
                      <a:pt x="174" y="179"/>
                      <a:pt x="175" y="179"/>
                      <a:pt x="176" y="178"/>
                    </a:cubicBezTo>
                    <a:cubicBezTo>
                      <a:pt x="176" y="178"/>
                      <a:pt x="177" y="178"/>
                      <a:pt x="177" y="178"/>
                    </a:cubicBezTo>
                    <a:cubicBezTo>
                      <a:pt x="178" y="178"/>
                      <a:pt x="180" y="177"/>
                      <a:pt x="181" y="177"/>
                    </a:cubicBezTo>
                    <a:cubicBezTo>
                      <a:pt x="182" y="177"/>
                      <a:pt x="184" y="176"/>
                      <a:pt x="185" y="176"/>
                    </a:cubicBezTo>
                    <a:cubicBezTo>
                      <a:pt x="186" y="176"/>
                      <a:pt x="186" y="176"/>
                      <a:pt x="187" y="176"/>
                    </a:cubicBezTo>
                    <a:cubicBezTo>
                      <a:pt x="188" y="175"/>
                      <a:pt x="189" y="175"/>
                      <a:pt x="190" y="175"/>
                    </a:cubicBezTo>
                    <a:cubicBezTo>
                      <a:pt x="191" y="175"/>
                      <a:pt x="191" y="175"/>
                      <a:pt x="191" y="175"/>
                    </a:cubicBezTo>
                    <a:cubicBezTo>
                      <a:pt x="192" y="175"/>
                      <a:pt x="192" y="175"/>
                      <a:pt x="192" y="175"/>
                    </a:cubicBezTo>
                    <a:cubicBezTo>
                      <a:pt x="193" y="175"/>
                      <a:pt x="193" y="175"/>
                      <a:pt x="193" y="175"/>
                    </a:cubicBezTo>
                    <a:cubicBezTo>
                      <a:pt x="194" y="175"/>
                      <a:pt x="195" y="176"/>
                      <a:pt x="196" y="176"/>
                    </a:cubicBezTo>
                    <a:cubicBezTo>
                      <a:pt x="198" y="177"/>
                      <a:pt x="199" y="178"/>
                      <a:pt x="201" y="179"/>
                    </a:cubicBezTo>
                    <a:cubicBezTo>
                      <a:pt x="200" y="178"/>
                      <a:pt x="200" y="178"/>
                      <a:pt x="200" y="177"/>
                    </a:cubicBezTo>
                    <a:cubicBezTo>
                      <a:pt x="199" y="173"/>
                      <a:pt x="200" y="171"/>
                      <a:pt x="201" y="168"/>
                    </a:cubicBezTo>
                    <a:cubicBezTo>
                      <a:pt x="202" y="167"/>
                      <a:pt x="202" y="166"/>
                      <a:pt x="203" y="166"/>
                    </a:cubicBezTo>
                    <a:cubicBezTo>
                      <a:pt x="203" y="165"/>
                      <a:pt x="203" y="165"/>
                      <a:pt x="203" y="165"/>
                    </a:cubicBezTo>
                    <a:cubicBezTo>
                      <a:pt x="203" y="165"/>
                      <a:pt x="203" y="164"/>
                      <a:pt x="204" y="164"/>
                    </a:cubicBezTo>
                    <a:cubicBezTo>
                      <a:pt x="207" y="160"/>
                      <a:pt x="207" y="160"/>
                      <a:pt x="207" y="160"/>
                    </a:cubicBezTo>
                    <a:cubicBezTo>
                      <a:pt x="210" y="156"/>
                      <a:pt x="212" y="154"/>
                      <a:pt x="215" y="153"/>
                    </a:cubicBezTo>
                    <a:cubicBezTo>
                      <a:pt x="217" y="152"/>
                      <a:pt x="218" y="152"/>
                      <a:pt x="220" y="152"/>
                    </a:cubicBezTo>
                    <a:cubicBezTo>
                      <a:pt x="220" y="152"/>
                      <a:pt x="220" y="152"/>
                      <a:pt x="220" y="152"/>
                    </a:cubicBezTo>
                    <a:cubicBezTo>
                      <a:pt x="221" y="152"/>
                      <a:pt x="221" y="152"/>
                      <a:pt x="221" y="152"/>
                    </a:cubicBezTo>
                    <a:cubicBezTo>
                      <a:pt x="221" y="152"/>
                      <a:pt x="222" y="153"/>
                      <a:pt x="222" y="153"/>
                    </a:cubicBezTo>
                    <a:cubicBezTo>
                      <a:pt x="223" y="153"/>
                      <a:pt x="223" y="153"/>
                      <a:pt x="223" y="153"/>
                    </a:cubicBezTo>
                    <a:cubicBezTo>
                      <a:pt x="223" y="152"/>
                      <a:pt x="223" y="152"/>
                      <a:pt x="224" y="152"/>
                    </a:cubicBezTo>
                    <a:cubicBezTo>
                      <a:pt x="224" y="152"/>
                      <a:pt x="224" y="152"/>
                      <a:pt x="224" y="152"/>
                    </a:cubicBezTo>
                    <a:cubicBezTo>
                      <a:pt x="226" y="151"/>
                      <a:pt x="227" y="151"/>
                      <a:pt x="229" y="151"/>
                    </a:cubicBezTo>
                    <a:cubicBezTo>
                      <a:pt x="230" y="151"/>
                      <a:pt x="231" y="151"/>
                      <a:pt x="232" y="151"/>
                    </a:cubicBezTo>
                    <a:cubicBezTo>
                      <a:pt x="230" y="149"/>
                      <a:pt x="229" y="146"/>
                      <a:pt x="229" y="141"/>
                    </a:cubicBezTo>
                    <a:cubicBezTo>
                      <a:pt x="230" y="131"/>
                      <a:pt x="229" y="129"/>
                      <a:pt x="228" y="129"/>
                    </a:cubicBezTo>
                    <a:cubicBezTo>
                      <a:pt x="226" y="128"/>
                      <a:pt x="224" y="125"/>
                      <a:pt x="223" y="123"/>
                    </a:cubicBezTo>
                    <a:cubicBezTo>
                      <a:pt x="222" y="123"/>
                      <a:pt x="222" y="122"/>
                      <a:pt x="222" y="122"/>
                    </a:cubicBezTo>
                    <a:cubicBezTo>
                      <a:pt x="220" y="121"/>
                      <a:pt x="220" y="121"/>
                      <a:pt x="220" y="121"/>
                    </a:cubicBezTo>
                    <a:cubicBezTo>
                      <a:pt x="221" y="119"/>
                      <a:pt x="221" y="119"/>
                      <a:pt x="221" y="119"/>
                    </a:cubicBezTo>
                    <a:cubicBezTo>
                      <a:pt x="221" y="118"/>
                      <a:pt x="221" y="117"/>
                      <a:pt x="222" y="116"/>
                    </a:cubicBezTo>
                    <a:cubicBezTo>
                      <a:pt x="222" y="115"/>
                      <a:pt x="222" y="115"/>
                      <a:pt x="222" y="115"/>
                    </a:cubicBezTo>
                    <a:cubicBezTo>
                      <a:pt x="224" y="116"/>
                      <a:pt x="224" y="116"/>
                      <a:pt x="224" y="116"/>
                    </a:cubicBezTo>
                    <a:cubicBezTo>
                      <a:pt x="223" y="115"/>
                      <a:pt x="223" y="115"/>
                      <a:pt x="223" y="115"/>
                    </a:cubicBezTo>
                    <a:cubicBezTo>
                      <a:pt x="223" y="115"/>
                      <a:pt x="223" y="114"/>
                      <a:pt x="224" y="114"/>
                    </a:cubicBezTo>
                    <a:cubicBezTo>
                      <a:pt x="224" y="114"/>
                      <a:pt x="224" y="114"/>
                      <a:pt x="224" y="114"/>
                    </a:cubicBezTo>
                    <a:cubicBezTo>
                      <a:pt x="225" y="113"/>
                      <a:pt x="226" y="113"/>
                      <a:pt x="227" y="113"/>
                    </a:cubicBezTo>
                    <a:cubicBezTo>
                      <a:pt x="227" y="113"/>
                      <a:pt x="228" y="112"/>
                      <a:pt x="228" y="112"/>
                    </a:cubicBezTo>
                    <a:cubicBezTo>
                      <a:pt x="229" y="112"/>
                      <a:pt x="230" y="112"/>
                      <a:pt x="232" y="112"/>
                    </a:cubicBezTo>
                    <a:cubicBezTo>
                      <a:pt x="232" y="112"/>
                      <a:pt x="233" y="112"/>
                      <a:pt x="233" y="112"/>
                    </a:cubicBezTo>
                    <a:cubicBezTo>
                      <a:pt x="235" y="112"/>
                      <a:pt x="236" y="112"/>
                      <a:pt x="238" y="112"/>
                    </a:cubicBezTo>
                    <a:cubicBezTo>
                      <a:pt x="239" y="112"/>
                      <a:pt x="241" y="113"/>
                      <a:pt x="243" y="113"/>
                    </a:cubicBezTo>
                    <a:cubicBezTo>
                      <a:pt x="244" y="113"/>
                      <a:pt x="245" y="113"/>
                      <a:pt x="245" y="113"/>
                    </a:cubicBezTo>
                    <a:cubicBezTo>
                      <a:pt x="250" y="113"/>
                      <a:pt x="255" y="110"/>
                      <a:pt x="258" y="108"/>
                    </a:cubicBezTo>
                    <a:cubicBezTo>
                      <a:pt x="260" y="107"/>
                      <a:pt x="261" y="106"/>
                      <a:pt x="262" y="105"/>
                    </a:cubicBezTo>
                    <a:cubicBezTo>
                      <a:pt x="261" y="105"/>
                      <a:pt x="260" y="104"/>
                      <a:pt x="260" y="104"/>
                    </a:cubicBezTo>
                    <a:cubicBezTo>
                      <a:pt x="256" y="102"/>
                      <a:pt x="254" y="99"/>
                      <a:pt x="253" y="96"/>
                    </a:cubicBezTo>
                    <a:cubicBezTo>
                      <a:pt x="253" y="96"/>
                      <a:pt x="253" y="96"/>
                      <a:pt x="253" y="96"/>
                    </a:cubicBezTo>
                    <a:cubicBezTo>
                      <a:pt x="243" y="95"/>
                      <a:pt x="237" y="93"/>
                      <a:pt x="235" y="91"/>
                    </a:cubicBezTo>
                    <a:cubicBezTo>
                      <a:pt x="233" y="88"/>
                      <a:pt x="233" y="88"/>
                      <a:pt x="233" y="88"/>
                    </a:cubicBezTo>
                    <a:cubicBezTo>
                      <a:pt x="236" y="86"/>
                      <a:pt x="236" y="86"/>
                      <a:pt x="236" y="86"/>
                    </a:cubicBezTo>
                    <a:cubicBezTo>
                      <a:pt x="236" y="86"/>
                      <a:pt x="237" y="84"/>
                      <a:pt x="236" y="83"/>
                    </a:cubicBezTo>
                    <a:cubicBezTo>
                      <a:pt x="236" y="80"/>
                      <a:pt x="234" y="79"/>
                      <a:pt x="232" y="78"/>
                    </a:cubicBezTo>
                    <a:cubicBezTo>
                      <a:pt x="222" y="73"/>
                      <a:pt x="218" y="64"/>
                      <a:pt x="218" y="59"/>
                    </a:cubicBezTo>
                    <a:cubicBezTo>
                      <a:pt x="218" y="58"/>
                      <a:pt x="214" y="55"/>
                      <a:pt x="209" y="54"/>
                    </a:cubicBezTo>
                    <a:cubicBezTo>
                      <a:pt x="206" y="53"/>
                      <a:pt x="206" y="53"/>
                      <a:pt x="206" y="53"/>
                    </a:cubicBezTo>
                    <a:cubicBezTo>
                      <a:pt x="207" y="50"/>
                      <a:pt x="207" y="50"/>
                      <a:pt x="207" y="50"/>
                    </a:cubicBezTo>
                    <a:cubicBezTo>
                      <a:pt x="207" y="48"/>
                      <a:pt x="211" y="43"/>
                      <a:pt x="213" y="40"/>
                    </a:cubicBezTo>
                    <a:cubicBezTo>
                      <a:pt x="213" y="39"/>
                      <a:pt x="212" y="38"/>
                      <a:pt x="211" y="37"/>
                    </a:cubicBezTo>
                    <a:cubicBezTo>
                      <a:pt x="210" y="36"/>
                      <a:pt x="209" y="34"/>
                      <a:pt x="208" y="32"/>
                    </a:cubicBezTo>
                    <a:cubicBezTo>
                      <a:pt x="207" y="29"/>
                      <a:pt x="207" y="29"/>
                      <a:pt x="207" y="29"/>
                    </a:cubicBezTo>
                    <a:cubicBezTo>
                      <a:pt x="211" y="26"/>
                      <a:pt x="211" y="26"/>
                      <a:pt x="211" y="26"/>
                    </a:cubicBezTo>
                    <a:cubicBezTo>
                      <a:pt x="211" y="20"/>
                      <a:pt x="211" y="20"/>
                      <a:pt x="211" y="20"/>
                    </a:cubicBezTo>
                    <a:cubicBezTo>
                      <a:pt x="209" y="19"/>
                      <a:pt x="206" y="17"/>
                      <a:pt x="200" y="14"/>
                    </a:cubicBezTo>
                    <a:cubicBezTo>
                      <a:pt x="198" y="14"/>
                      <a:pt x="197" y="13"/>
                      <a:pt x="195" y="13"/>
                    </a:cubicBezTo>
                    <a:cubicBezTo>
                      <a:pt x="194" y="12"/>
                      <a:pt x="194" y="12"/>
                      <a:pt x="194" y="12"/>
                    </a:cubicBezTo>
                    <a:cubicBezTo>
                      <a:pt x="193" y="12"/>
                      <a:pt x="191" y="12"/>
                      <a:pt x="189" y="12"/>
                    </a:cubicBezTo>
                    <a:cubicBezTo>
                      <a:pt x="187" y="12"/>
                      <a:pt x="185" y="12"/>
                      <a:pt x="184" y="13"/>
                    </a:cubicBezTo>
                    <a:cubicBezTo>
                      <a:pt x="183" y="14"/>
                      <a:pt x="181" y="15"/>
                      <a:pt x="180" y="15"/>
                    </a:cubicBezTo>
                    <a:cubicBezTo>
                      <a:pt x="180" y="15"/>
                      <a:pt x="180" y="15"/>
                      <a:pt x="180" y="15"/>
                    </a:cubicBezTo>
                    <a:cubicBezTo>
                      <a:pt x="179" y="16"/>
                      <a:pt x="178" y="16"/>
                      <a:pt x="177" y="17"/>
                    </a:cubicBezTo>
                    <a:cubicBezTo>
                      <a:pt x="176" y="17"/>
                      <a:pt x="176" y="18"/>
                      <a:pt x="175" y="18"/>
                    </a:cubicBezTo>
                    <a:cubicBezTo>
                      <a:pt x="174" y="18"/>
                      <a:pt x="174" y="18"/>
                      <a:pt x="174" y="18"/>
                    </a:cubicBezTo>
                    <a:cubicBezTo>
                      <a:pt x="174" y="18"/>
                      <a:pt x="174" y="18"/>
                      <a:pt x="174" y="18"/>
                    </a:cubicBezTo>
                    <a:cubicBezTo>
                      <a:pt x="173" y="18"/>
                      <a:pt x="173" y="18"/>
                      <a:pt x="172" y="18"/>
                    </a:cubicBezTo>
                    <a:cubicBezTo>
                      <a:pt x="172" y="18"/>
                      <a:pt x="172" y="18"/>
                      <a:pt x="172" y="18"/>
                    </a:cubicBezTo>
                    <a:cubicBezTo>
                      <a:pt x="171" y="17"/>
                      <a:pt x="170" y="17"/>
                      <a:pt x="170" y="17"/>
                    </a:cubicBezTo>
                    <a:cubicBezTo>
                      <a:pt x="169" y="16"/>
                      <a:pt x="169" y="16"/>
                      <a:pt x="169" y="16"/>
                    </a:cubicBezTo>
                    <a:cubicBezTo>
                      <a:pt x="169" y="16"/>
                      <a:pt x="169" y="16"/>
                      <a:pt x="169" y="16"/>
                    </a:cubicBezTo>
                    <a:cubicBezTo>
                      <a:pt x="168" y="15"/>
                      <a:pt x="168" y="15"/>
                      <a:pt x="168" y="15"/>
                    </a:cubicBezTo>
                    <a:cubicBezTo>
                      <a:pt x="168" y="15"/>
                      <a:pt x="168" y="15"/>
                      <a:pt x="168" y="15"/>
                    </a:cubicBezTo>
                    <a:cubicBezTo>
                      <a:pt x="168" y="14"/>
                      <a:pt x="168" y="14"/>
                      <a:pt x="168" y="14"/>
                    </a:cubicBezTo>
                    <a:cubicBezTo>
                      <a:pt x="167" y="13"/>
                      <a:pt x="167" y="12"/>
                      <a:pt x="167" y="12"/>
                    </a:cubicBezTo>
                    <a:cubicBezTo>
                      <a:pt x="167" y="11"/>
                      <a:pt x="167" y="11"/>
                      <a:pt x="167" y="11"/>
                    </a:cubicBezTo>
                    <a:cubicBezTo>
                      <a:pt x="167" y="11"/>
                      <a:pt x="167" y="10"/>
                      <a:pt x="167" y="9"/>
                    </a:cubicBezTo>
                    <a:cubicBezTo>
                      <a:pt x="167" y="9"/>
                      <a:pt x="167" y="8"/>
                      <a:pt x="166" y="7"/>
                    </a:cubicBezTo>
                    <a:cubicBezTo>
                      <a:pt x="166" y="7"/>
                      <a:pt x="165" y="7"/>
                      <a:pt x="165" y="6"/>
                    </a:cubicBezTo>
                    <a:cubicBezTo>
                      <a:pt x="164" y="7"/>
                      <a:pt x="163" y="7"/>
                      <a:pt x="161" y="7"/>
                    </a:cubicBezTo>
                    <a:cubicBezTo>
                      <a:pt x="161" y="8"/>
                      <a:pt x="161" y="8"/>
                      <a:pt x="161" y="8"/>
                    </a:cubicBezTo>
                    <a:cubicBezTo>
                      <a:pt x="160" y="8"/>
                      <a:pt x="160" y="8"/>
                      <a:pt x="160" y="8"/>
                    </a:cubicBezTo>
                    <a:cubicBezTo>
                      <a:pt x="159" y="8"/>
                      <a:pt x="158" y="8"/>
                      <a:pt x="156" y="8"/>
                    </a:cubicBezTo>
                    <a:cubicBezTo>
                      <a:pt x="156" y="8"/>
                      <a:pt x="156" y="8"/>
                      <a:pt x="156" y="8"/>
                    </a:cubicBezTo>
                    <a:cubicBezTo>
                      <a:pt x="155" y="8"/>
                      <a:pt x="154" y="8"/>
                      <a:pt x="153" y="8"/>
                    </a:cubicBezTo>
                    <a:cubicBezTo>
                      <a:pt x="152" y="8"/>
                      <a:pt x="152" y="8"/>
                      <a:pt x="152" y="8"/>
                    </a:cubicBezTo>
                    <a:cubicBezTo>
                      <a:pt x="150" y="7"/>
                      <a:pt x="149" y="7"/>
                      <a:pt x="148" y="7"/>
                    </a:cubicBezTo>
                    <a:cubicBezTo>
                      <a:pt x="147" y="6"/>
                      <a:pt x="147" y="6"/>
                      <a:pt x="147" y="6"/>
                    </a:cubicBezTo>
                    <a:cubicBezTo>
                      <a:pt x="147" y="6"/>
                      <a:pt x="147" y="6"/>
                      <a:pt x="147" y="6"/>
                    </a:cubicBezTo>
                    <a:cubicBezTo>
                      <a:pt x="147" y="6"/>
                      <a:pt x="147" y="6"/>
                      <a:pt x="147" y="6"/>
                    </a:cubicBezTo>
                    <a:cubicBezTo>
                      <a:pt x="146" y="6"/>
                      <a:pt x="146" y="6"/>
                      <a:pt x="146" y="6"/>
                    </a:cubicBezTo>
                    <a:cubicBezTo>
                      <a:pt x="145" y="5"/>
                      <a:pt x="145" y="5"/>
                      <a:pt x="145" y="5"/>
                    </a:cubicBezTo>
                    <a:cubicBezTo>
                      <a:pt x="145" y="5"/>
                      <a:pt x="144" y="5"/>
                      <a:pt x="143" y="4"/>
                    </a:cubicBezTo>
                    <a:cubicBezTo>
                      <a:pt x="142" y="4"/>
                      <a:pt x="142" y="4"/>
                      <a:pt x="142" y="4"/>
                    </a:cubicBezTo>
                    <a:cubicBezTo>
                      <a:pt x="141" y="3"/>
                      <a:pt x="141" y="3"/>
                      <a:pt x="141" y="3"/>
                    </a:cubicBezTo>
                    <a:cubicBezTo>
                      <a:pt x="139" y="2"/>
                      <a:pt x="139" y="2"/>
                      <a:pt x="139" y="2"/>
                    </a:cubicBezTo>
                    <a:cubicBezTo>
                      <a:pt x="139" y="2"/>
                      <a:pt x="139" y="2"/>
                      <a:pt x="139" y="2"/>
                    </a:cubicBezTo>
                    <a:cubicBezTo>
                      <a:pt x="138" y="2"/>
                      <a:pt x="138" y="2"/>
                      <a:pt x="138" y="2"/>
                    </a:cubicBezTo>
                    <a:cubicBezTo>
                      <a:pt x="138" y="1"/>
                      <a:pt x="137" y="1"/>
                      <a:pt x="137" y="1"/>
                    </a:cubicBezTo>
                    <a:cubicBezTo>
                      <a:pt x="137" y="1"/>
                      <a:pt x="137" y="1"/>
                      <a:pt x="137" y="1"/>
                    </a:cubicBezTo>
                    <a:cubicBezTo>
                      <a:pt x="136" y="1"/>
                      <a:pt x="136" y="1"/>
                      <a:pt x="136" y="1"/>
                    </a:cubicBezTo>
                    <a:cubicBezTo>
                      <a:pt x="136" y="0"/>
                      <a:pt x="136" y="0"/>
                      <a:pt x="1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0" name="Freeform 318">
                <a:extLst>
                  <a:ext uri="{FF2B5EF4-FFF2-40B4-BE49-F238E27FC236}">
                    <a16:creationId xmlns:a16="http://schemas.microsoft.com/office/drawing/2014/main" id="{0F149882-7D10-474E-815A-F4C76EBA945C}"/>
                  </a:ext>
                </a:extLst>
              </p:cNvPr>
              <p:cNvSpPr>
                <a:spLocks/>
              </p:cNvSpPr>
              <p:nvPr/>
            </p:nvSpPr>
            <p:spPr bwMode="auto">
              <a:xfrm>
                <a:off x="6253642" y="3217107"/>
                <a:ext cx="493805" cy="294809"/>
              </a:xfrm>
              <a:custGeom>
                <a:avLst/>
                <a:gdLst>
                  <a:gd name="T0" fmla="*/ 105 w 155"/>
                  <a:gd name="T1" fmla="*/ 2 h 93"/>
                  <a:gd name="T2" fmla="*/ 101 w 155"/>
                  <a:gd name="T3" fmla="*/ 5 h 93"/>
                  <a:gd name="T4" fmla="*/ 96 w 155"/>
                  <a:gd name="T5" fmla="*/ 5 h 93"/>
                  <a:gd name="T6" fmla="*/ 90 w 155"/>
                  <a:gd name="T7" fmla="*/ 6 h 93"/>
                  <a:gd name="T8" fmla="*/ 80 w 155"/>
                  <a:gd name="T9" fmla="*/ 3 h 93"/>
                  <a:gd name="T10" fmla="*/ 78 w 155"/>
                  <a:gd name="T11" fmla="*/ 3 h 93"/>
                  <a:gd name="T12" fmla="*/ 71 w 155"/>
                  <a:gd name="T13" fmla="*/ 3 h 93"/>
                  <a:gd name="T14" fmla="*/ 62 w 155"/>
                  <a:gd name="T15" fmla="*/ 2 h 93"/>
                  <a:gd name="T16" fmla="*/ 58 w 155"/>
                  <a:gd name="T17" fmla="*/ 4 h 93"/>
                  <a:gd name="T18" fmla="*/ 53 w 155"/>
                  <a:gd name="T19" fmla="*/ 1 h 93"/>
                  <a:gd name="T20" fmla="*/ 45 w 155"/>
                  <a:gd name="T21" fmla="*/ 2 h 93"/>
                  <a:gd name="T22" fmla="*/ 36 w 155"/>
                  <a:gd name="T23" fmla="*/ 1 h 93"/>
                  <a:gd name="T24" fmla="*/ 15 w 155"/>
                  <a:gd name="T25" fmla="*/ 6 h 93"/>
                  <a:gd name="T26" fmla="*/ 8 w 155"/>
                  <a:gd name="T27" fmla="*/ 10 h 93"/>
                  <a:gd name="T28" fmla="*/ 1 w 155"/>
                  <a:gd name="T29" fmla="*/ 15 h 93"/>
                  <a:gd name="T30" fmla="*/ 5 w 155"/>
                  <a:gd name="T31" fmla="*/ 32 h 93"/>
                  <a:gd name="T32" fmla="*/ 9 w 155"/>
                  <a:gd name="T33" fmla="*/ 41 h 93"/>
                  <a:gd name="T34" fmla="*/ 30 w 155"/>
                  <a:gd name="T35" fmla="*/ 48 h 93"/>
                  <a:gd name="T36" fmla="*/ 31 w 155"/>
                  <a:gd name="T37" fmla="*/ 48 h 93"/>
                  <a:gd name="T38" fmla="*/ 40 w 155"/>
                  <a:gd name="T39" fmla="*/ 47 h 93"/>
                  <a:gd name="T40" fmla="*/ 46 w 155"/>
                  <a:gd name="T41" fmla="*/ 49 h 93"/>
                  <a:gd name="T42" fmla="*/ 55 w 155"/>
                  <a:gd name="T43" fmla="*/ 61 h 93"/>
                  <a:gd name="T44" fmla="*/ 53 w 155"/>
                  <a:gd name="T45" fmla="*/ 64 h 93"/>
                  <a:gd name="T46" fmla="*/ 52 w 155"/>
                  <a:gd name="T47" fmla="*/ 66 h 93"/>
                  <a:gd name="T48" fmla="*/ 57 w 155"/>
                  <a:gd name="T49" fmla="*/ 76 h 93"/>
                  <a:gd name="T50" fmla="*/ 61 w 155"/>
                  <a:gd name="T51" fmla="*/ 77 h 93"/>
                  <a:gd name="T52" fmla="*/ 65 w 155"/>
                  <a:gd name="T53" fmla="*/ 80 h 93"/>
                  <a:gd name="T54" fmla="*/ 70 w 155"/>
                  <a:gd name="T55" fmla="*/ 86 h 93"/>
                  <a:gd name="T56" fmla="*/ 72 w 155"/>
                  <a:gd name="T57" fmla="*/ 89 h 93"/>
                  <a:gd name="T58" fmla="*/ 73 w 155"/>
                  <a:gd name="T59" fmla="*/ 91 h 93"/>
                  <a:gd name="T60" fmla="*/ 80 w 155"/>
                  <a:gd name="T61" fmla="*/ 91 h 93"/>
                  <a:gd name="T62" fmla="*/ 92 w 155"/>
                  <a:gd name="T63" fmla="*/ 93 h 93"/>
                  <a:gd name="T64" fmla="*/ 102 w 155"/>
                  <a:gd name="T65" fmla="*/ 92 h 93"/>
                  <a:gd name="T66" fmla="*/ 105 w 155"/>
                  <a:gd name="T67" fmla="*/ 91 h 93"/>
                  <a:gd name="T68" fmla="*/ 105 w 155"/>
                  <a:gd name="T69" fmla="*/ 87 h 93"/>
                  <a:gd name="T70" fmla="*/ 108 w 155"/>
                  <a:gd name="T71" fmla="*/ 85 h 93"/>
                  <a:gd name="T72" fmla="*/ 109 w 155"/>
                  <a:gd name="T73" fmla="*/ 84 h 93"/>
                  <a:gd name="T74" fmla="*/ 113 w 155"/>
                  <a:gd name="T75" fmla="*/ 84 h 93"/>
                  <a:gd name="T76" fmla="*/ 117 w 155"/>
                  <a:gd name="T77" fmla="*/ 82 h 93"/>
                  <a:gd name="T78" fmla="*/ 124 w 155"/>
                  <a:gd name="T79" fmla="*/ 79 h 93"/>
                  <a:gd name="T80" fmla="*/ 131 w 155"/>
                  <a:gd name="T81" fmla="*/ 62 h 93"/>
                  <a:gd name="T82" fmla="*/ 141 w 155"/>
                  <a:gd name="T83" fmla="*/ 52 h 93"/>
                  <a:gd name="T84" fmla="*/ 145 w 155"/>
                  <a:gd name="T85" fmla="*/ 50 h 93"/>
                  <a:gd name="T86" fmla="*/ 152 w 155"/>
                  <a:gd name="T87" fmla="*/ 43 h 93"/>
                  <a:gd name="T88" fmla="*/ 155 w 155"/>
                  <a:gd name="T89" fmla="*/ 29 h 93"/>
                  <a:gd name="T90" fmla="*/ 148 w 155"/>
                  <a:gd name="T91" fmla="*/ 25 h 93"/>
                  <a:gd name="T92" fmla="*/ 138 w 155"/>
                  <a:gd name="T93" fmla="*/ 18 h 93"/>
                  <a:gd name="T94" fmla="*/ 129 w 155"/>
                  <a:gd name="T95" fmla="*/ 11 h 93"/>
                  <a:gd name="T96" fmla="*/ 125 w 155"/>
                  <a:gd name="T97" fmla="*/ 10 h 93"/>
                  <a:gd name="T98" fmla="*/ 111 w 155"/>
                  <a:gd name="T99" fmla="*/ 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5" h="93">
                    <a:moveTo>
                      <a:pt x="108" y="0"/>
                    </a:moveTo>
                    <a:cubicBezTo>
                      <a:pt x="108" y="0"/>
                      <a:pt x="107" y="0"/>
                      <a:pt x="106" y="1"/>
                    </a:cubicBezTo>
                    <a:cubicBezTo>
                      <a:pt x="106" y="1"/>
                      <a:pt x="105" y="2"/>
                      <a:pt x="105" y="2"/>
                    </a:cubicBezTo>
                    <a:cubicBezTo>
                      <a:pt x="104" y="3"/>
                      <a:pt x="104" y="3"/>
                      <a:pt x="104" y="3"/>
                    </a:cubicBezTo>
                    <a:cubicBezTo>
                      <a:pt x="103" y="3"/>
                      <a:pt x="103" y="4"/>
                      <a:pt x="102" y="4"/>
                    </a:cubicBezTo>
                    <a:cubicBezTo>
                      <a:pt x="102" y="4"/>
                      <a:pt x="101" y="5"/>
                      <a:pt x="101" y="5"/>
                    </a:cubicBezTo>
                    <a:cubicBezTo>
                      <a:pt x="101" y="5"/>
                      <a:pt x="100" y="5"/>
                      <a:pt x="100" y="5"/>
                    </a:cubicBezTo>
                    <a:cubicBezTo>
                      <a:pt x="99" y="5"/>
                      <a:pt x="98" y="5"/>
                      <a:pt x="98" y="5"/>
                    </a:cubicBezTo>
                    <a:cubicBezTo>
                      <a:pt x="97" y="5"/>
                      <a:pt x="96" y="5"/>
                      <a:pt x="96" y="5"/>
                    </a:cubicBezTo>
                    <a:cubicBezTo>
                      <a:pt x="95" y="5"/>
                      <a:pt x="95" y="5"/>
                      <a:pt x="94" y="5"/>
                    </a:cubicBezTo>
                    <a:cubicBezTo>
                      <a:pt x="94" y="5"/>
                      <a:pt x="93" y="5"/>
                      <a:pt x="93" y="5"/>
                    </a:cubicBezTo>
                    <a:cubicBezTo>
                      <a:pt x="92" y="5"/>
                      <a:pt x="91" y="6"/>
                      <a:pt x="90" y="6"/>
                    </a:cubicBezTo>
                    <a:cubicBezTo>
                      <a:pt x="90" y="6"/>
                      <a:pt x="89" y="6"/>
                      <a:pt x="88" y="6"/>
                    </a:cubicBezTo>
                    <a:cubicBezTo>
                      <a:pt x="87" y="6"/>
                      <a:pt x="86" y="5"/>
                      <a:pt x="83" y="4"/>
                    </a:cubicBezTo>
                    <a:cubicBezTo>
                      <a:pt x="82" y="4"/>
                      <a:pt x="81" y="4"/>
                      <a:pt x="80" y="3"/>
                    </a:cubicBezTo>
                    <a:cubicBezTo>
                      <a:pt x="79" y="3"/>
                      <a:pt x="79" y="3"/>
                      <a:pt x="79" y="3"/>
                    </a:cubicBezTo>
                    <a:cubicBezTo>
                      <a:pt x="79" y="9"/>
                      <a:pt x="79" y="9"/>
                      <a:pt x="79" y="9"/>
                    </a:cubicBezTo>
                    <a:cubicBezTo>
                      <a:pt x="78" y="3"/>
                      <a:pt x="78" y="3"/>
                      <a:pt x="78" y="3"/>
                    </a:cubicBezTo>
                    <a:cubicBezTo>
                      <a:pt x="77" y="3"/>
                      <a:pt x="77" y="3"/>
                      <a:pt x="77" y="3"/>
                    </a:cubicBezTo>
                    <a:cubicBezTo>
                      <a:pt x="76" y="3"/>
                      <a:pt x="75" y="3"/>
                      <a:pt x="74" y="3"/>
                    </a:cubicBezTo>
                    <a:cubicBezTo>
                      <a:pt x="71" y="3"/>
                      <a:pt x="71" y="3"/>
                      <a:pt x="71" y="3"/>
                    </a:cubicBezTo>
                    <a:cubicBezTo>
                      <a:pt x="69" y="3"/>
                      <a:pt x="66" y="3"/>
                      <a:pt x="63" y="2"/>
                    </a:cubicBezTo>
                    <a:cubicBezTo>
                      <a:pt x="63" y="2"/>
                      <a:pt x="63" y="2"/>
                      <a:pt x="63" y="2"/>
                    </a:cubicBezTo>
                    <a:cubicBezTo>
                      <a:pt x="63" y="2"/>
                      <a:pt x="63" y="2"/>
                      <a:pt x="62" y="2"/>
                    </a:cubicBezTo>
                    <a:cubicBezTo>
                      <a:pt x="62" y="3"/>
                      <a:pt x="61" y="3"/>
                      <a:pt x="61" y="3"/>
                    </a:cubicBezTo>
                    <a:cubicBezTo>
                      <a:pt x="61" y="3"/>
                      <a:pt x="61" y="3"/>
                      <a:pt x="61" y="3"/>
                    </a:cubicBezTo>
                    <a:cubicBezTo>
                      <a:pt x="60" y="4"/>
                      <a:pt x="59" y="4"/>
                      <a:pt x="58" y="4"/>
                    </a:cubicBezTo>
                    <a:cubicBezTo>
                      <a:pt x="56" y="4"/>
                      <a:pt x="54" y="2"/>
                      <a:pt x="53" y="1"/>
                    </a:cubicBezTo>
                    <a:cubicBezTo>
                      <a:pt x="53" y="1"/>
                      <a:pt x="53" y="1"/>
                      <a:pt x="53" y="1"/>
                    </a:cubicBezTo>
                    <a:cubicBezTo>
                      <a:pt x="53" y="1"/>
                      <a:pt x="53" y="1"/>
                      <a:pt x="53" y="1"/>
                    </a:cubicBezTo>
                    <a:cubicBezTo>
                      <a:pt x="52" y="1"/>
                      <a:pt x="51" y="2"/>
                      <a:pt x="51" y="2"/>
                    </a:cubicBezTo>
                    <a:cubicBezTo>
                      <a:pt x="49" y="2"/>
                      <a:pt x="48" y="2"/>
                      <a:pt x="48" y="2"/>
                    </a:cubicBezTo>
                    <a:cubicBezTo>
                      <a:pt x="46" y="2"/>
                      <a:pt x="46" y="2"/>
                      <a:pt x="45" y="2"/>
                    </a:cubicBezTo>
                    <a:cubicBezTo>
                      <a:pt x="44" y="1"/>
                      <a:pt x="44" y="1"/>
                      <a:pt x="44" y="1"/>
                    </a:cubicBezTo>
                    <a:cubicBezTo>
                      <a:pt x="42" y="1"/>
                      <a:pt x="42" y="1"/>
                      <a:pt x="42" y="1"/>
                    </a:cubicBezTo>
                    <a:cubicBezTo>
                      <a:pt x="40" y="1"/>
                      <a:pt x="38" y="1"/>
                      <a:pt x="36" y="1"/>
                    </a:cubicBezTo>
                    <a:cubicBezTo>
                      <a:pt x="34" y="1"/>
                      <a:pt x="34" y="1"/>
                      <a:pt x="34" y="1"/>
                    </a:cubicBezTo>
                    <a:cubicBezTo>
                      <a:pt x="34" y="1"/>
                      <a:pt x="34" y="1"/>
                      <a:pt x="34" y="1"/>
                    </a:cubicBezTo>
                    <a:cubicBezTo>
                      <a:pt x="28" y="1"/>
                      <a:pt x="21" y="3"/>
                      <a:pt x="15" y="6"/>
                    </a:cubicBezTo>
                    <a:cubicBezTo>
                      <a:pt x="14" y="6"/>
                      <a:pt x="12" y="7"/>
                      <a:pt x="11" y="8"/>
                    </a:cubicBezTo>
                    <a:cubicBezTo>
                      <a:pt x="10" y="8"/>
                      <a:pt x="10" y="9"/>
                      <a:pt x="9" y="9"/>
                    </a:cubicBezTo>
                    <a:cubicBezTo>
                      <a:pt x="8" y="10"/>
                      <a:pt x="8" y="10"/>
                      <a:pt x="8" y="10"/>
                    </a:cubicBezTo>
                    <a:cubicBezTo>
                      <a:pt x="8" y="10"/>
                      <a:pt x="7" y="11"/>
                      <a:pt x="7" y="11"/>
                    </a:cubicBezTo>
                    <a:cubicBezTo>
                      <a:pt x="5" y="12"/>
                      <a:pt x="4" y="13"/>
                      <a:pt x="2" y="14"/>
                    </a:cubicBezTo>
                    <a:cubicBezTo>
                      <a:pt x="1" y="15"/>
                      <a:pt x="1" y="15"/>
                      <a:pt x="1" y="15"/>
                    </a:cubicBezTo>
                    <a:cubicBezTo>
                      <a:pt x="0" y="14"/>
                      <a:pt x="0" y="14"/>
                      <a:pt x="0" y="14"/>
                    </a:cubicBezTo>
                    <a:cubicBezTo>
                      <a:pt x="0" y="15"/>
                      <a:pt x="1" y="17"/>
                      <a:pt x="0" y="19"/>
                    </a:cubicBezTo>
                    <a:cubicBezTo>
                      <a:pt x="0" y="23"/>
                      <a:pt x="4" y="28"/>
                      <a:pt x="5" y="32"/>
                    </a:cubicBezTo>
                    <a:cubicBezTo>
                      <a:pt x="6" y="35"/>
                      <a:pt x="6" y="37"/>
                      <a:pt x="6" y="40"/>
                    </a:cubicBezTo>
                    <a:cubicBezTo>
                      <a:pt x="7" y="39"/>
                      <a:pt x="7" y="39"/>
                      <a:pt x="7" y="39"/>
                    </a:cubicBezTo>
                    <a:cubicBezTo>
                      <a:pt x="9" y="41"/>
                      <a:pt x="9" y="41"/>
                      <a:pt x="9" y="41"/>
                    </a:cubicBezTo>
                    <a:cubicBezTo>
                      <a:pt x="10" y="41"/>
                      <a:pt x="10" y="41"/>
                      <a:pt x="10" y="41"/>
                    </a:cubicBezTo>
                    <a:cubicBezTo>
                      <a:pt x="14" y="43"/>
                      <a:pt x="23" y="46"/>
                      <a:pt x="28" y="48"/>
                    </a:cubicBezTo>
                    <a:cubicBezTo>
                      <a:pt x="29" y="48"/>
                      <a:pt x="29" y="48"/>
                      <a:pt x="30" y="48"/>
                    </a:cubicBezTo>
                    <a:cubicBezTo>
                      <a:pt x="30" y="48"/>
                      <a:pt x="30" y="48"/>
                      <a:pt x="30" y="48"/>
                    </a:cubicBezTo>
                    <a:cubicBezTo>
                      <a:pt x="31" y="48"/>
                      <a:pt x="31" y="48"/>
                      <a:pt x="31" y="48"/>
                    </a:cubicBezTo>
                    <a:cubicBezTo>
                      <a:pt x="31" y="48"/>
                      <a:pt x="31" y="48"/>
                      <a:pt x="31" y="48"/>
                    </a:cubicBezTo>
                    <a:cubicBezTo>
                      <a:pt x="33" y="48"/>
                      <a:pt x="34" y="48"/>
                      <a:pt x="35" y="48"/>
                    </a:cubicBezTo>
                    <a:cubicBezTo>
                      <a:pt x="35" y="48"/>
                      <a:pt x="35" y="48"/>
                      <a:pt x="35" y="48"/>
                    </a:cubicBezTo>
                    <a:cubicBezTo>
                      <a:pt x="37" y="47"/>
                      <a:pt x="38" y="47"/>
                      <a:pt x="40" y="47"/>
                    </a:cubicBezTo>
                    <a:cubicBezTo>
                      <a:pt x="40" y="47"/>
                      <a:pt x="40" y="47"/>
                      <a:pt x="40" y="47"/>
                    </a:cubicBezTo>
                    <a:cubicBezTo>
                      <a:pt x="42" y="47"/>
                      <a:pt x="44" y="47"/>
                      <a:pt x="46" y="49"/>
                    </a:cubicBezTo>
                    <a:cubicBezTo>
                      <a:pt x="46" y="49"/>
                      <a:pt x="46" y="49"/>
                      <a:pt x="46" y="49"/>
                    </a:cubicBezTo>
                    <a:cubicBezTo>
                      <a:pt x="47" y="50"/>
                      <a:pt x="47" y="50"/>
                      <a:pt x="47" y="50"/>
                    </a:cubicBezTo>
                    <a:cubicBezTo>
                      <a:pt x="48" y="50"/>
                      <a:pt x="48" y="51"/>
                      <a:pt x="48" y="52"/>
                    </a:cubicBezTo>
                    <a:cubicBezTo>
                      <a:pt x="55" y="61"/>
                      <a:pt x="55" y="61"/>
                      <a:pt x="55" y="61"/>
                    </a:cubicBezTo>
                    <a:cubicBezTo>
                      <a:pt x="53" y="63"/>
                      <a:pt x="53" y="63"/>
                      <a:pt x="53" y="63"/>
                    </a:cubicBezTo>
                    <a:cubicBezTo>
                      <a:pt x="53" y="63"/>
                      <a:pt x="53" y="63"/>
                      <a:pt x="53" y="63"/>
                    </a:cubicBezTo>
                    <a:cubicBezTo>
                      <a:pt x="53" y="64"/>
                      <a:pt x="53" y="64"/>
                      <a:pt x="53" y="64"/>
                    </a:cubicBezTo>
                    <a:cubicBezTo>
                      <a:pt x="53" y="64"/>
                      <a:pt x="53" y="64"/>
                      <a:pt x="53" y="65"/>
                    </a:cubicBezTo>
                    <a:cubicBezTo>
                      <a:pt x="53" y="66"/>
                      <a:pt x="53" y="66"/>
                      <a:pt x="53" y="66"/>
                    </a:cubicBezTo>
                    <a:cubicBezTo>
                      <a:pt x="52" y="66"/>
                      <a:pt x="52" y="66"/>
                      <a:pt x="52" y="66"/>
                    </a:cubicBezTo>
                    <a:cubicBezTo>
                      <a:pt x="53" y="75"/>
                      <a:pt x="53" y="75"/>
                      <a:pt x="53" y="75"/>
                    </a:cubicBezTo>
                    <a:cubicBezTo>
                      <a:pt x="54" y="75"/>
                      <a:pt x="54" y="75"/>
                      <a:pt x="55" y="75"/>
                    </a:cubicBezTo>
                    <a:cubicBezTo>
                      <a:pt x="55" y="75"/>
                      <a:pt x="56" y="76"/>
                      <a:pt x="57" y="76"/>
                    </a:cubicBezTo>
                    <a:cubicBezTo>
                      <a:pt x="58" y="76"/>
                      <a:pt x="58" y="76"/>
                      <a:pt x="58" y="76"/>
                    </a:cubicBezTo>
                    <a:cubicBezTo>
                      <a:pt x="59" y="76"/>
                      <a:pt x="60" y="77"/>
                      <a:pt x="60" y="77"/>
                    </a:cubicBezTo>
                    <a:cubicBezTo>
                      <a:pt x="61" y="77"/>
                      <a:pt x="61" y="77"/>
                      <a:pt x="61" y="77"/>
                    </a:cubicBezTo>
                    <a:cubicBezTo>
                      <a:pt x="62" y="78"/>
                      <a:pt x="62" y="78"/>
                      <a:pt x="62" y="78"/>
                    </a:cubicBezTo>
                    <a:cubicBezTo>
                      <a:pt x="63" y="78"/>
                      <a:pt x="63" y="79"/>
                      <a:pt x="64" y="79"/>
                    </a:cubicBezTo>
                    <a:cubicBezTo>
                      <a:pt x="65" y="80"/>
                      <a:pt x="65" y="80"/>
                      <a:pt x="65" y="80"/>
                    </a:cubicBezTo>
                    <a:cubicBezTo>
                      <a:pt x="66" y="81"/>
                      <a:pt x="67" y="82"/>
                      <a:pt x="68" y="83"/>
                    </a:cubicBezTo>
                    <a:cubicBezTo>
                      <a:pt x="68" y="83"/>
                      <a:pt x="68" y="83"/>
                      <a:pt x="68" y="83"/>
                    </a:cubicBezTo>
                    <a:cubicBezTo>
                      <a:pt x="68" y="83"/>
                      <a:pt x="69" y="84"/>
                      <a:pt x="70" y="86"/>
                    </a:cubicBezTo>
                    <a:cubicBezTo>
                      <a:pt x="70" y="86"/>
                      <a:pt x="70" y="86"/>
                      <a:pt x="70" y="86"/>
                    </a:cubicBezTo>
                    <a:cubicBezTo>
                      <a:pt x="71" y="87"/>
                      <a:pt x="71" y="87"/>
                      <a:pt x="71" y="87"/>
                    </a:cubicBezTo>
                    <a:cubicBezTo>
                      <a:pt x="71" y="88"/>
                      <a:pt x="72" y="88"/>
                      <a:pt x="72" y="89"/>
                    </a:cubicBezTo>
                    <a:cubicBezTo>
                      <a:pt x="72" y="90"/>
                      <a:pt x="72" y="90"/>
                      <a:pt x="73" y="91"/>
                    </a:cubicBezTo>
                    <a:cubicBezTo>
                      <a:pt x="73" y="91"/>
                      <a:pt x="73" y="91"/>
                      <a:pt x="73" y="91"/>
                    </a:cubicBezTo>
                    <a:cubicBezTo>
                      <a:pt x="73" y="91"/>
                      <a:pt x="73" y="91"/>
                      <a:pt x="73" y="91"/>
                    </a:cubicBezTo>
                    <a:cubicBezTo>
                      <a:pt x="74" y="91"/>
                      <a:pt x="75" y="91"/>
                      <a:pt x="77" y="91"/>
                    </a:cubicBezTo>
                    <a:cubicBezTo>
                      <a:pt x="77" y="91"/>
                      <a:pt x="77" y="91"/>
                      <a:pt x="77" y="91"/>
                    </a:cubicBezTo>
                    <a:cubicBezTo>
                      <a:pt x="78" y="91"/>
                      <a:pt x="79" y="91"/>
                      <a:pt x="80" y="91"/>
                    </a:cubicBezTo>
                    <a:cubicBezTo>
                      <a:pt x="84" y="91"/>
                      <a:pt x="88" y="92"/>
                      <a:pt x="91" y="92"/>
                    </a:cubicBezTo>
                    <a:cubicBezTo>
                      <a:pt x="91" y="92"/>
                      <a:pt x="91" y="92"/>
                      <a:pt x="91" y="92"/>
                    </a:cubicBezTo>
                    <a:cubicBezTo>
                      <a:pt x="92" y="92"/>
                      <a:pt x="92" y="93"/>
                      <a:pt x="92" y="93"/>
                    </a:cubicBezTo>
                    <a:cubicBezTo>
                      <a:pt x="94" y="93"/>
                      <a:pt x="95" y="93"/>
                      <a:pt x="95" y="93"/>
                    </a:cubicBezTo>
                    <a:cubicBezTo>
                      <a:pt x="95" y="93"/>
                      <a:pt x="96" y="93"/>
                      <a:pt x="96" y="93"/>
                    </a:cubicBezTo>
                    <a:cubicBezTo>
                      <a:pt x="97" y="93"/>
                      <a:pt x="99" y="93"/>
                      <a:pt x="102" y="92"/>
                    </a:cubicBezTo>
                    <a:cubicBezTo>
                      <a:pt x="102" y="92"/>
                      <a:pt x="103" y="92"/>
                      <a:pt x="103" y="91"/>
                    </a:cubicBezTo>
                    <a:cubicBezTo>
                      <a:pt x="104" y="91"/>
                      <a:pt x="104" y="91"/>
                      <a:pt x="104" y="91"/>
                    </a:cubicBezTo>
                    <a:cubicBezTo>
                      <a:pt x="105" y="91"/>
                      <a:pt x="105" y="91"/>
                      <a:pt x="105" y="91"/>
                    </a:cubicBezTo>
                    <a:cubicBezTo>
                      <a:pt x="105" y="91"/>
                      <a:pt x="105" y="91"/>
                      <a:pt x="105" y="91"/>
                    </a:cubicBezTo>
                    <a:cubicBezTo>
                      <a:pt x="105" y="90"/>
                      <a:pt x="105" y="89"/>
                      <a:pt x="105" y="89"/>
                    </a:cubicBezTo>
                    <a:cubicBezTo>
                      <a:pt x="105" y="87"/>
                      <a:pt x="105" y="87"/>
                      <a:pt x="105" y="87"/>
                    </a:cubicBezTo>
                    <a:cubicBezTo>
                      <a:pt x="105" y="86"/>
                      <a:pt x="105" y="85"/>
                      <a:pt x="106" y="85"/>
                    </a:cubicBezTo>
                    <a:cubicBezTo>
                      <a:pt x="107" y="84"/>
                      <a:pt x="107" y="84"/>
                      <a:pt x="107" y="84"/>
                    </a:cubicBezTo>
                    <a:cubicBezTo>
                      <a:pt x="108" y="85"/>
                      <a:pt x="108" y="85"/>
                      <a:pt x="108" y="85"/>
                    </a:cubicBezTo>
                    <a:cubicBezTo>
                      <a:pt x="107" y="84"/>
                      <a:pt x="107" y="84"/>
                      <a:pt x="107" y="84"/>
                    </a:cubicBezTo>
                    <a:cubicBezTo>
                      <a:pt x="108" y="84"/>
                      <a:pt x="108" y="84"/>
                      <a:pt x="108" y="84"/>
                    </a:cubicBezTo>
                    <a:cubicBezTo>
                      <a:pt x="109" y="84"/>
                      <a:pt x="109" y="84"/>
                      <a:pt x="109" y="84"/>
                    </a:cubicBezTo>
                    <a:cubicBezTo>
                      <a:pt x="109" y="84"/>
                      <a:pt x="110" y="83"/>
                      <a:pt x="110" y="83"/>
                    </a:cubicBezTo>
                    <a:cubicBezTo>
                      <a:pt x="111" y="83"/>
                      <a:pt x="112" y="84"/>
                      <a:pt x="112" y="84"/>
                    </a:cubicBezTo>
                    <a:cubicBezTo>
                      <a:pt x="113" y="84"/>
                      <a:pt x="113" y="84"/>
                      <a:pt x="113" y="84"/>
                    </a:cubicBezTo>
                    <a:cubicBezTo>
                      <a:pt x="114" y="84"/>
                      <a:pt x="114" y="84"/>
                      <a:pt x="114" y="84"/>
                    </a:cubicBezTo>
                    <a:cubicBezTo>
                      <a:pt x="115" y="84"/>
                      <a:pt x="115" y="84"/>
                      <a:pt x="115" y="84"/>
                    </a:cubicBezTo>
                    <a:cubicBezTo>
                      <a:pt x="115" y="84"/>
                      <a:pt x="116" y="83"/>
                      <a:pt x="117" y="82"/>
                    </a:cubicBezTo>
                    <a:cubicBezTo>
                      <a:pt x="118" y="82"/>
                      <a:pt x="118" y="82"/>
                      <a:pt x="118" y="82"/>
                    </a:cubicBezTo>
                    <a:cubicBezTo>
                      <a:pt x="119" y="81"/>
                      <a:pt x="121" y="80"/>
                      <a:pt x="123" y="79"/>
                    </a:cubicBezTo>
                    <a:cubicBezTo>
                      <a:pt x="124" y="79"/>
                      <a:pt x="124" y="79"/>
                      <a:pt x="124" y="79"/>
                    </a:cubicBezTo>
                    <a:cubicBezTo>
                      <a:pt x="124" y="78"/>
                      <a:pt x="125" y="78"/>
                      <a:pt x="125" y="78"/>
                    </a:cubicBezTo>
                    <a:cubicBezTo>
                      <a:pt x="126" y="75"/>
                      <a:pt x="127" y="72"/>
                      <a:pt x="128" y="69"/>
                    </a:cubicBezTo>
                    <a:cubicBezTo>
                      <a:pt x="131" y="62"/>
                      <a:pt x="131" y="62"/>
                      <a:pt x="131" y="62"/>
                    </a:cubicBezTo>
                    <a:cubicBezTo>
                      <a:pt x="132" y="59"/>
                      <a:pt x="133" y="57"/>
                      <a:pt x="136" y="55"/>
                    </a:cubicBezTo>
                    <a:cubicBezTo>
                      <a:pt x="137" y="54"/>
                      <a:pt x="138" y="54"/>
                      <a:pt x="139" y="53"/>
                    </a:cubicBezTo>
                    <a:cubicBezTo>
                      <a:pt x="141" y="52"/>
                      <a:pt x="141" y="52"/>
                      <a:pt x="141" y="52"/>
                    </a:cubicBezTo>
                    <a:cubicBezTo>
                      <a:pt x="142" y="52"/>
                      <a:pt x="143" y="51"/>
                      <a:pt x="144" y="51"/>
                    </a:cubicBezTo>
                    <a:cubicBezTo>
                      <a:pt x="142" y="47"/>
                      <a:pt x="142" y="47"/>
                      <a:pt x="142" y="47"/>
                    </a:cubicBezTo>
                    <a:cubicBezTo>
                      <a:pt x="145" y="50"/>
                      <a:pt x="145" y="50"/>
                      <a:pt x="145" y="50"/>
                    </a:cubicBezTo>
                    <a:cubicBezTo>
                      <a:pt x="148" y="48"/>
                      <a:pt x="151" y="46"/>
                      <a:pt x="154" y="45"/>
                    </a:cubicBezTo>
                    <a:cubicBezTo>
                      <a:pt x="155" y="44"/>
                      <a:pt x="155" y="44"/>
                      <a:pt x="155" y="44"/>
                    </a:cubicBezTo>
                    <a:cubicBezTo>
                      <a:pt x="154" y="44"/>
                      <a:pt x="153" y="44"/>
                      <a:pt x="152" y="43"/>
                    </a:cubicBezTo>
                    <a:cubicBezTo>
                      <a:pt x="150" y="40"/>
                      <a:pt x="152" y="36"/>
                      <a:pt x="153" y="34"/>
                    </a:cubicBezTo>
                    <a:cubicBezTo>
                      <a:pt x="154" y="32"/>
                      <a:pt x="154" y="32"/>
                      <a:pt x="154" y="32"/>
                    </a:cubicBezTo>
                    <a:cubicBezTo>
                      <a:pt x="154" y="31"/>
                      <a:pt x="154" y="30"/>
                      <a:pt x="155" y="29"/>
                    </a:cubicBezTo>
                    <a:cubicBezTo>
                      <a:pt x="154" y="29"/>
                      <a:pt x="154" y="29"/>
                      <a:pt x="154" y="29"/>
                    </a:cubicBezTo>
                    <a:cubicBezTo>
                      <a:pt x="152" y="28"/>
                      <a:pt x="150" y="27"/>
                      <a:pt x="148" y="26"/>
                    </a:cubicBezTo>
                    <a:cubicBezTo>
                      <a:pt x="148" y="25"/>
                      <a:pt x="148" y="25"/>
                      <a:pt x="148" y="25"/>
                    </a:cubicBezTo>
                    <a:cubicBezTo>
                      <a:pt x="147" y="24"/>
                      <a:pt x="146" y="23"/>
                      <a:pt x="145" y="23"/>
                    </a:cubicBezTo>
                    <a:cubicBezTo>
                      <a:pt x="142" y="20"/>
                      <a:pt x="142" y="20"/>
                      <a:pt x="142" y="20"/>
                    </a:cubicBezTo>
                    <a:cubicBezTo>
                      <a:pt x="140" y="19"/>
                      <a:pt x="139" y="18"/>
                      <a:pt x="138" y="18"/>
                    </a:cubicBezTo>
                    <a:cubicBezTo>
                      <a:pt x="137" y="17"/>
                      <a:pt x="136" y="16"/>
                      <a:pt x="135" y="15"/>
                    </a:cubicBezTo>
                    <a:cubicBezTo>
                      <a:pt x="134" y="15"/>
                      <a:pt x="133" y="14"/>
                      <a:pt x="133" y="13"/>
                    </a:cubicBezTo>
                    <a:cubicBezTo>
                      <a:pt x="131" y="12"/>
                      <a:pt x="130" y="11"/>
                      <a:pt x="129" y="11"/>
                    </a:cubicBezTo>
                    <a:cubicBezTo>
                      <a:pt x="128" y="11"/>
                      <a:pt x="128" y="10"/>
                      <a:pt x="127" y="10"/>
                    </a:cubicBezTo>
                    <a:cubicBezTo>
                      <a:pt x="125" y="10"/>
                      <a:pt x="125" y="10"/>
                      <a:pt x="125" y="10"/>
                    </a:cubicBezTo>
                    <a:cubicBezTo>
                      <a:pt x="125" y="10"/>
                      <a:pt x="125" y="10"/>
                      <a:pt x="125" y="10"/>
                    </a:cubicBezTo>
                    <a:cubicBezTo>
                      <a:pt x="124" y="10"/>
                      <a:pt x="122" y="10"/>
                      <a:pt x="120" y="10"/>
                    </a:cubicBezTo>
                    <a:cubicBezTo>
                      <a:pt x="119" y="10"/>
                      <a:pt x="119" y="10"/>
                      <a:pt x="119" y="10"/>
                    </a:cubicBezTo>
                    <a:cubicBezTo>
                      <a:pt x="116" y="9"/>
                      <a:pt x="113" y="8"/>
                      <a:pt x="111" y="4"/>
                    </a:cubicBezTo>
                    <a:cubicBezTo>
                      <a:pt x="109" y="1"/>
                      <a:pt x="109" y="1"/>
                      <a:pt x="109" y="1"/>
                    </a:cubicBezTo>
                    <a:cubicBezTo>
                      <a:pt x="109" y="1"/>
                      <a:pt x="109"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1" name="Freeform 319">
                <a:extLst>
                  <a:ext uri="{FF2B5EF4-FFF2-40B4-BE49-F238E27FC236}">
                    <a16:creationId xmlns:a16="http://schemas.microsoft.com/office/drawing/2014/main" id="{88C946E0-6855-4207-909E-C5C6192F7B7A}"/>
                  </a:ext>
                </a:extLst>
              </p:cNvPr>
              <p:cNvSpPr>
                <a:spLocks/>
              </p:cNvSpPr>
              <p:nvPr/>
            </p:nvSpPr>
            <p:spPr bwMode="auto">
              <a:xfrm>
                <a:off x="6132033" y="3338716"/>
                <a:ext cx="269013" cy="117924"/>
              </a:xfrm>
              <a:custGeom>
                <a:avLst/>
                <a:gdLst>
                  <a:gd name="T0" fmla="*/ 37 w 85"/>
                  <a:gd name="T1" fmla="*/ 0 h 37"/>
                  <a:gd name="T2" fmla="*/ 35 w 85"/>
                  <a:gd name="T3" fmla="*/ 3 h 37"/>
                  <a:gd name="T4" fmla="*/ 11 w 85"/>
                  <a:gd name="T5" fmla="*/ 16 h 37"/>
                  <a:gd name="T6" fmla="*/ 7 w 85"/>
                  <a:gd name="T7" fmla="*/ 25 h 37"/>
                  <a:gd name="T8" fmla="*/ 0 w 85"/>
                  <a:gd name="T9" fmla="*/ 34 h 37"/>
                  <a:gd name="T10" fmla="*/ 1 w 85"/>
                  <a:gd name="T11" fmla="*/ 34 h 37"/>
                  <a:gd name="T12" fmla="*/ 8 w 85"/>
                  <a:gd name="T13" fmla="*/ 26 h 37"/>
                  <a:gd name="T14" fmla="*/ 9 w 85"/>
                  <a:gd name="T15" fmla="*/ 26 h 37"/>
                  <a:gd name="T16" fmla="*/ 10 w 85"/>
                  <a:gd name="T17" fmla="*/ 26 h 37"/>
                  <a:gd name="T18" fmla="*/ 10 w 85"/>
                  <a:gd name="T19" fmla="*/ 27 h 37"/>
                  <a:gd name="T20" fmla="*/ 10 w 85"/>
                  <a:gd name="T21" fmla="*/ 27 h 37"/>
                  <a:gd name="T22" fmla="*/ 13 w 85"/>
                  <a:gd name="T23" fmla="*/ 26 h 37"/>
                  <a:gd name="T24" fmla="*/ 14 w 85"/>
                  <a:gd name="T25" fmla="*/ 26 h 37"/>
                  <a:gd name="T26" fmla="*/ 20 w 85"/>
                  <a:gd name="T27" fmla="*/ 27 h 37"/>
                  <a:gd name="T28" fmla="*/ 8 w 85"/>
                  <a:gd name="T29" fmla="*/ 34 h 37"/>
                  <a:gd name="T30" fmla="*/ 61 w 85"/>
                  <a:gd name="T31" fmla="*/ 37 h 37"/>
                  <a:gd name="T32" fmla="*/ 84 w 85"/>
                  <a:gd name="T33" fmla="*/ 36 h 37"/>
                  <a:gd name="T34" fmla="*/ 83 w 85"/>
                  <a:gd name="T35" fmla="*/ 27 h 37"/>
                  <a:gd name="T36" fmla="*/ 85 w 85"/>
                  <a:gd name="T37" fmla="*/ 22 h 37"/>
                  <a:gd name="T38" fmla="*/ 83 w 85"/>
                  <a:gd name="T39" fmla="*/ 20 h 37"/>
                  <a:gd name="T40" fmla="*/ 82 w 85"/>
                  <a:gd name="T41" fmla="*/ 19 h 37"/>
                  <a:gd name="T42" fmla="*/ 82 w 85"/>
                  <a:gd name="T43" fmla="*/ 18 h 37"/>
                  <a:gd name="T44" fmla="*/ 81 w 85"/>
                  <a:gd name="T45" fmla="*/ 17 h 37"/>
                  <a:gd name="T46" fmla="*/ 80 w 85"/>
                  <a:gd name="T47" fmla="*/ 15 h 37"/>
                  <a:gd name="T48" fmla="*/ 79 w 85"/>
                  <a:gd name="T49" fmla="*/ 15 h 37"/>
                  <a:gd name="T50" fmla="*/ 78 w 85"/>
                  <a:gd name="T51" fmla="*/ 15 h 37"/>
                  <a:gd name="T52" fmla="*/ 74 w 85"/>
                  <a:gd name="T53" fmla="*/ 16 h 37"/>
                  <a:gd name="T54" fmla="*/ 72 w 85"/>
                  <a:gd name="T55" fmla="*/ 16 h 37"/>
                  <a:gd name="T56" fmla="*/ 73 w 85"/>
                  <a:gd name="T57" fmla="*/ 23 h 37"/>
                  <a:gd name="T58" fmla="*/ 70 w 85"/>
                  <a:gd name="T59" fmla="*/ 16 h 37"/>
                  <a:gd name="T60" fmla="*/ 68 w 85"/>
                  <a:gd name="T61" fmla="*/ 16 h 37"/>
                  <a:gd name="T62" fmla="*/ 64 w 85"/>
                  <a:gd name="T63" fmla="*/ 15 h 37"/>
                  <a:gd name="T64" fmla="*/ 45 w 85"/>
                  <a:gd name="T65" fmla="*/ 8 h 37"/>
                  <a:gd name="T66" fmla="*/ 44 w 85"/>
                  <a:gd name="T67" fmla="*/ 8 h 37"/>
                  <a:gd name="T68" fmla="*/ 43 w 85"/>
                  <a:gd name="T69" fmla="*/ 13 h 37"/>
                  <a:gd name="T70" fmla="*/ 36 w 85"/>
                  <a:gd name="T71" fmla="*/ 17 h 37"/>
                  <a:gd name="T72" fmla="*/ 32 w 85"/>
                  <a:gd name="T73" fmla="*/ 18 h 37"/>
                  <a:gd name="T74" fmla="*/ 24 w 85"/>
                  <a:gd name="T75" fmla="*/ 16 h 37"/>
                  <a:gd name="T76" fmla="*/ 37 w 85"/>
                  <a:gd name="T77" fmla="*/ 3 h 37"/>
                  <a:gd name="T78" fmla="*/ 37 w 85"/>
                  <a:gd name="T7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37">
                    <a:moveTo>
                      <a:pt x="37" y="0"/>
                    </a:moveTo>
                    <a:cubicBezTo>
                      <a:pt x="37" y="1"/>
                      <a:pt x="36" y="2"/>
                      <a:pt x="35" y="3"/>
                    </a:cubicBezTo>
                    <a:cubicBezTo>
                      <a:pt x="28" y="8"/>
                      <a:pt x="20" y="16"/>
                      <a:pt x="11" y="16"/>
                    </a:cubicBezTo>
                    <a:cubicBezTo>
                      <a:pt x="4" y="17"/>
                      <a:pt x="8" y="21"/>
                      <a:pt x="7" y="25"/>
                    </a:cubicBezTo>
                    <a:cubicBezTo>
                      <a:pt x="6" y="28"/>
                      <a:pt x="2" y="31"/>
                      <a:pt x="0" y="34"/>
                    </a:cubicBezTo>
                    <a:cubicBezTo>
                      <a:pt x="1" y="34"/>
                      <a:pt x="1" y="34"/>
                      <a:pt x="1" y="34"/>
                    </a:cubicBezTo>
                    <a:cubicBezTo>
                      <a:pt x="4" y="31"/>
                      <a:pt x="6" y="27"/>
                      <a:pt x="8" y="26"/>
                    </a:cubicBezTo>
                    <a:cubicBezTo>
                      <a:pt x="8" y="26"/>
                      <a:pt x="9" y="26"/>
                      <a:pt x="9" y="26"/>
                    </a:cubicBezTo>
                    <a:cubicBezTo>
                      <a:pt x="9" y="26"/>
                      <a:pt x="9" y="26"/>
                      <a:pt x="10" y="26"/>
                    </a:cubicBezTo>
                    <a:cubicBezTo>
                      <a:pt x="10" y="27"/>
                      <a:pt x="10" y="27"/>
                      <a:pt x="10" y="27"/>
                    </a:cubicBezTo>
                    <a:cubicBezTo>
                      <a:pt x="10" y="27"/>
                      <a:pt x="10" y="27"/>
                      <a:pt x="10" y="27"/>
                    </a:cubicBezTo>
                    <a:cubicBezTo>
                      <a:pt x="11" y="27"/>
                      <a:pt x="12" y="26"/>
                      <a:pt x="13" y="26"/>
                    </a:cubicBezTo>
                    <a:cubicBezTo>
                      <a:pt x="14" y="26"/>
                      <a:pt x="14" y="26"/>
                      <a:pt x="14" y="26"/>
                    </a:cubicBezTo>
                    <a:cubicBezTo>
                      <a:pt x="16" y="27"/>
                      <a:pt x="18" y="27"/>
                      <a:pt x="20" y="27"/>
                    </a:cubicBezTo>
                    <a:cubicBezTo>
                      <a:pt x="16" y="29"/>
                      <a:pt x="12" y="32"/>
                      <a:pt x="8" y="34"/>
                    </a:cubicBezTo>
                    <a:cubicBezTo>
                      <a:pt x="26" y="36"/>
                      <a:pt x="44" y="37"/>
                      <a:pt x="61" y="37"/>
                    </a:cubicBezTo>
                    <a:cubicBezTo>
                      <a:pt x="69" y="37"/>
                      <a:pt x="77" y="37"/>
                      <a:pt x="84" y="36"/>
                    </a:cubicBezTo>
                    <a:cubicBezTo>
                      <a:pt x="83" y="27"/>
                      <a:pt x="83" y="27"/>
                      <a:pt x="83" y="27"/>
                    </a:cubicBezTo>
                    <a:cubicBezTo>
                      <a:pt x="83" y="25"/>
                      <a:pt x="84" y="24"/>
                      <a:pt x="85" y="22"/>
                    </a:cubicBezTo>
                    <a:cubicBezTo>
                      <a:pt x="83" y="20"/>
                      <a:pt x="83" y="20"/>
                      <a:pt x="83" y="20"/>
                    </a:cubicBezTo>
                    <a:cubicBezTo>
                      <a:pt x="82" y="19"/>
                      <a:pt x="82" y="19"/>
                      <a:pt x="82" y="19"/>
                    </a:cubicBezTo>
                    <a:cubicBezTo>
                      <a:pt x="82" y="18"/>
                      <a:pt x="82" y="18"/>
                      <a:pt x="82" y="18"/>
                    </a:cubicBezTo>
                    <a:cubicBezTo>
                      <a:pt x="81" y="17"/>
                      <a:pt x="81" y="17"/>
                      <a:pt x="81" y="17"/>
                    </a:cubicBezTo>
                    <a:cubicBezTo>
                      <a:pt x="80" y="16"/>
                      <a:pt x="80" y="16"/>
                      <a:pt x="80" y="15"/>
                    </a:cubicBezTo>
                    <a:cubicBezTo>
                      <a:pt x="79" y="15"/>
                      <a:pt x="79" y="15"/>
                      <a:pt x="79" y="15"/>
                    </a:cubicBezTo>
                    <a:cubicBezTo>
                      <a:pt x="78" y="15"/>
                      <a:pt x="78" y="15"/>
                      <a:pt x="78" y="15"/>
                    </a:cubicBezTo>
                    <a:cubicBezTo>
                      <a:pt x="77" y="15"/>
                      <a:pt x="75" y="15"/>
                      <a:pt x="74" y="16"/>
                    </a:cubicBezTo>
                    <a:cubicBezTo>
                      <a:pt x="73" y="16"/>
                      <a:pt x="72" y="16"/>
                      <a:pt x="72" y="16"/>
                    </a:cubicBezTo>
                    <a:cubicBezTo>
                      <a:pt x="73" y="23"/>
                      <a:pt x="73" y="23"/>
                      <a:pt x="73" y="23"/>
                    </a:cubicBezTo>
                    <a:cubicBezTo>
                      <a:pt x="70" y="16"/>
                      <a:pt x="70" y="16"/>
                      <a:pt x="70" y="16"/>
                    </a:cubicBezTo>
                    <a:cubicBezTo>
                      <a:pt x="69" y="16"/>
                      <a:pt x="69" y="16"/>
                      <a:pt x="68" y="16"/>
                    </a:cubicBezTo>
                    <a:cubicBezTo>
                      <a:pt x="66" y="16"/>
                      <a:pt x="65" y="16"/>
                      <a:pt x="64" y="15"/>
                    </a:cubicBezTo>
                    <a:cubicBezTo>
                      <a:pt x="59" y="14"/>
                      <a:pt x="50" y="11"/>
                      <a:pt x="45" y="8"/>
                    </a:cubicBezTo>
                    <a:cubicBezTo>
                      <a:pt x="45" y="8"/>
                      <a:pt x="45" y="8"/>
                      <a:pt x="44" y="8"/>
                    </a:cubicBezTo>
                    <a:cubicBezTo>
                      <a:pt x="44" y="10"/>
                      <a:pt x="43" y="11"/>
                      <a:pt x="43" y="13"/>
                    </a:cubicBezTo>
                    <a:cubicBezTo>
                      <a:pt x="43" y="14"/>
                      <a:pt x="38" y="16"/>
                      <a:pt x="36" y="17"/>
                    </a:cubicBezTo>
                    <a:cubicBezTo>
                      <a:pt x="35" y="18"/>
                      <a:pt x="34" y="18"/>
                      <a:pt x="32" y="18"/>
                    </a:cubicBezTo>
                    <a:cubicBezTo>
                      <a:pt x="30" y="18"/>
                      <a:pt x="27" y="17"/>
                      <a:pt x="24" y="16"/>
                    </a:cubicBezTo>
                    <a:cubicBezTo>
                      <a:pt x="27" y="11"/>
                      <a:pt x="33" y="7"/>
                      <a:pt x="37" y="3"/>
                    </a:cubicBezTo>
                    <a:cubicBezTo>
                      <a:pt x="37" y="2"/>
                      <a:pt x="37" y="1"/>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2" name="Rectangle 320">
                <a:extLst>
                  <a:ext uri="{FF2B5EF4-FFF2-40B4-BE49-F238E27FC236}">
                    <a16:creationId xmlns:a16="http://schemas.microsoft.com/office/drawing/2014/main" id="{FED3901E-1E2A-4338-AA6D-62BCFB9898BB}"/>
                  </a:ext>
                </a:extLst>
              </p:cNvPr>
              <p:cNvSpPr>
                <a:spLocks noChangeArrowheads="1"/>
              </p:cNvSpPr>
              <p:nvPr/>
            </p:nvSpPr>
            <p:spPr bwMode="auto">
              <a:xfrm>
                <a:off x="6401046" y="3456639"/>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3" name="Freeform 321">
                <a:extLst>
                  <a:ext uri="{FF2B5EF4-FFF2-40B4-BE49-F238E27FC236}">
                    <a16:creationId xmlns:a16="http://schemas.microsoft.com/office/drawing/2014/main" id="{69318DD3-096F-4D4C-8B00-991837DDFBE7}"/>
                  </a:ext>
                </a:extLst>
              </p:cNvPr>
              <p:cNvSpPr>
                <a:spLocks/>
              </p:cNvSpPr>
              <p:nvPr/>
            </p:nvSpPr>
            <p:spPr bwMode="auto">
              <a:xfrm>
                <a:off x="6401046" y="345663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4" name="Freeform 322">
                <a:extLst>
                  <a:ext uri="{FF2B5EF4-FFF2-40B4-BE49-F238E27FC236}">
                    <a16:creationId xmlns:a16="http://schemas.microsoft.com/office/drawing/2014/main" id="{4F1854D7-1B70-4BA3-B596-4B79277BE9F9}"/>
                  </a:ext>
                </a:extLst>
              </p:cNvPr>
              <p:cNvSpPr>
                <a:spLocks/>
              </p:cNvSpPr>
              <p:nvPr/>
            </p:nvSpPr>
            <p:spPr bwMode="auto">
              <a:xfrm>
                <a:off x="6128348" y="3449269"/>
                <a:ext cx="0" cy="3685"/>
              </a:xfrm>
              <a:custGeom>
                <a:avLst/>
                <a:gdLst>
                  <a:gd name="T0" fmla="*/ 1 w 1"/>
                  <a:gd name="T1" fmla="*/ 0 h 2"/>
                  <a:gd name="T2" fmla="*/ 0 w 1"/>
                  <a:gd name="T3" fmla="*/ 2 h 2"/>
                  <a:gd name="T4" fmla="*/ 1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0" y="1"/>
                      <a:pt x="0" y="2"/>
                    </a:cubicBezTo>
                    <a:cubicBezTo>
                      <a:pt x="1" y="1"/>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5" name="Freeform 323">
                <a:extLst>
                  <a:ext uri="{FF2B5EF4-FFF2-40B4-BE49-F238E27FC236}">
                    <a16:creationId xmlns:a16="http://schemas.microsoft.com/office/drawing/2014/main" id="{B1BB7993-3009-481D-87A3-209426B89BA4}"/>
                  </a:ext>
                </a:extLst>
              </p:cNvPr>
              <p:cNvSpPr>
                <a:spLocks/>
              </p:cNvSpPr>
              <p:nvPr/>
            </p:nvSpPr>
            <p:spPr bwMode="auto">
              <a:xfrm>
                <a:off x="6242586" y="3007055"/>
                <a:ext cx="648580" cy="280069"/>
              </a:xfrm>
              <a:custGeom>
                <a:avLst/>
                <a:gdLst>
                  <a:gd name="T0" fmla="*/ 115 w 204"/>
                  <a:gd name="T1" fmla="*/ 1 h 89"/>
                  <a:gd name="T2" fmla="*/ 96 w 204"/>
                  <a:gd name="T3" fmla="*/ 7 h 89"/>
                  <a:gd name="T4" fmla="*/ 91 w 204"/>
                  <a:gd name="T5" fmla="*/ 35 h 89"/>
                  <a:gd name="T6" fmla="*/ 64 w 204"/>
                  <a:gd name="T7" fmla="*/ 27 h 89"/>
                  <a:gd name="T8" fmla="*/ 44 w 204"/>
                  <a:gd name="T9" fmla="*/ 11 h 89"/>
                  <a:gd name="T10" fmla="*/ 16 w 204"/>
                  <a:gd name="T11" fmla="*/ 24 h 89"/>
                  <a:gd name="T12" fmla="*/ 3 w 204"/>
                  <a:gd name="T13" fmla="*/ 64 h 89"/>
                  <a:gd name="T14" fmla="*/ 3 w 204"/>
                  <a:gd name="T15" fmla="*/ 73 h 89"/>
                  <a:gd name="T16" fmla="*/ 9 w 204"/>
                  <a:gd name="T17" fmla="*/ 69 h 89"/>
                  <a:gd name="T18" fmla="*/ 37 w 204"/>
                  <a:gd name="T19" fmla="*/ 60 h 89"/>
                  <a:gd name="T20" fmla="*/ 46 w 204"/>
                  <a:gd name="T21" fmla="*/ 60 h 89"/>
                  <a:gd name="T22" fmla="*/ 51 w 204"/>
                  <a:gd name="T23" fmla="*/ 61 h 89"/>
                  <a:gd name="T24" fmla="*/ 57 w 204"/>
                  <a:gd name="T25" fmla="*/ 60 h 89"/>
                  <a:gd name="T26" fmla="*/ 62 w 204"/>
                  <a:gd name="T27" fmla="*/ 62 h 89"/>
                  <a:gd name="T28" fmla="*/ 66 w 204"/>
                  <a:gd name="T29" fmla="*/ 61 h 89"/>
                  <a:gd name="T30" fmla="*/ 77 w 204"/>
                  <a:gd name="T31" fmla="*/ 62 h 89"/>
                  <a:gd name="T32" fmla="*/ 82 w 204"/>
                  <a:gd name="T33" fmla="*/ 62 h 89"/>
                  <a:gd name="T34" fmla="*/ 92 w 204"/>
                  <a:gd name="T35" fmla="*/ 65 h 89"/>
                  <a:gd name="T36" fmla="*/ 97 w 204"/>
                  <a:gd name="T37" fmla="*/ 64 h 89"/>
                  <a:gd name="T38" fmla="*/ 101 w 204"/>
                  <a:gd name="T39" fmla="*/ 64 h 89"/>
                  <a:gd name="T40" fmla="*/ 102 w 204"/>
                  <a:gd name="T41" fmla="*/ 64 h 89"/>
                  <a:gd name="T42" fmla="*/ 110 w 204"/>
                  <a:gd name="T43" fmla="*/ 59 h 89"/>
                  <a:gd name="T44" fmla="*/ 114 w 204"/>
                  <a:gd name="T45" fmla="*/ 57 h 89"/>
                  <a:gd name="T46" fmla="*/ 118 w 204"/>
                  <a:gd name="T47" fmla="*/ 64 h 89"/>
                  <a:gd name="T48" fmla="*/ 125 w 204"/>
                  <a:gd name="T49" fmla="*/ 69 h 89"/>
                  <a:gd name="T50" fmla="*/ 134 w 204"/>
                  <a:gd name="T51" fmla="*/ 70 h 89"/>
                  <a:gd name="T52" fmla="*/ 142 w 204"/>
                  <a:gd name="T53" fmla="*/ 76 h 89"/>
                  <a:gd name="T54" fmla="*/ 151 w 204"/>
                  <a:gd name="T55" fmla="*/ 82 h 89"/>
                  <a:gd name="T56" fmla="*/ 156 w 204"/>
                  <a:gd name="T57" fmla="*/ 86 h 89"/>
                  <a:gd name="T58" fmla="*/ 161 w 204"/>
                  <a:gd name="T59" fmla="*/ 89 h 89"/>
                  <a:gd name="T60" fmla="*/ 162 w 204"/>
                  <a:gd name="T61" fmla="*/ 89 h 89"/>
                  <a:gd name="T62" fmla="*/ 165 w 204"/>
                  <a:gd name="T63" fmla="*/ 89 h 89"/>
                  <a:gd name="T64" fmla="*/ 178 w 204"/>
                  <a:gd name="T65" fmla="*/ 83 h 89"/>
                  <a:gd name="T66" fmla="*/ 187 w 204"/>
                  <a:gd name="T67" fmla="*/ 83 h 89"/>
                  <a:gd name="T68" fmla="*/ 192 w 204"/>
                  <a:gd name="T69" fmla="*/ 78 h 89"/>
                  <a:gd name="T70" fmla="*/ 201 w 204"/>
                  <a:gd name="T71" fmla="*/ 71 h 89"/>
                  <a:gd name="T72" fmla="*/ 203 w 204"/>
                  <a:gd name="T73" fmla="*/ 68 h 89"/>
                  <a:gd name="T74" fmla="*/ 203 w 204"/>
                  <a:gd name="T75" fmla="*/ 66 h 89"/>
                  <a:gd name="T76" fmla="*/ 202 w 204"/>
                  <a:gd name="T77" fmla="*/ 63 h 89"/>
                  <a:gd name="T78" fmla="*/ 194 w 204"/>
                  <a:gd name="T79" fmla="*/ 48 h 89"/>
                  <a:gd name="T80" fmla="*/ 183 w 204"/>
                  <a:gd name="T81" fmla="*/ 55 h 89"/>
                  <a:gd name="T82" fmla="*/ 190 w 204"/>
                  <a:gd name="T83" fmla="*/ 38 h 89"/>
                  <a:gd name="T84" fmla="*/ 193 w 204"/>
                  <a:gd name="T85" fmla="*/ 28 h 89"/>
                  <a:gd name="T86" fmla="*/ 188 w 204"/>
                  <a:gd name="T87" fmla="*/ 26 h 89"/>
                  <a:gd name="T88" fmla="*/ 185 w 204"/>
                  <a:gd name="T89" fmla="*/ 24 h 89"/>
                  <a:gd name="T90" fmla="*/ 183 w 204"/>
                  <a:gd name="T91" fmla="*/ 22 h 89"/>
                  <a:gd name="T92" fmla="*/ 176 w 204"/>
                  <a:gd name="T93" fmla="*/ 20 h 89"/>
                  <a:gd name="T94" fmla="*/ 171 w 204"/>
                  <a:gd name="T95" fmla="*/ 18 h 89"/>
                  <a:gd name="T96" fmla="*/ 166 w 204"/>
                  <a:gd name="T97" fmla="*/ 19 h 89"/>
                  <a:gd name="T98" fmla="*/ 156 w 204"/>
                  <a:gd name="T99" fmla="*/ 20 h 89"/>
                  <a:gd name="T100" fmla="*/ 143 w 204"/>
                  <a:gd name="T101" fmla="*/ 9 h 89"/>
                  <a:gd name="T102" fmla="*/ 135 w 204"/>
                  <a:gd name="T103" fmla="*/ 5 h 89"/>
                  <a:gd name="T104" fmla="*/ 130 w 204"/>
                  <a:gd name="T105" fmla="*/ 3 h 89"/>
                  <a:gd name="T106" fmla="*/ 126 w 204"/>
                  <a:gd name="T107" fmla="*/ 1 h 89"/>
                  <a:gd name="T108" fmla="*/ 118 w 204"/>
                  <a:gd name="T10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4" h="89">
                    <a:moveTo>
                      <a:pt x="118" y="0"/>
                    </a:moveTo>
                    <a:cubicBezTo>
                      <a:pt x="118" y="0"/>
                      <a:pt x="118" y="0"/>
                      <a:pt x="118" y="0"/>
                    </a:cubicBezTo>
                    <a:cubicBezTo>
                      <a:pt x="117" y="0"/>
                      <a:pt x="116" y="1"/>
                      <a:pt x="115" y="1"/>
                    </a:cubicBezTo>
                    <a:cubicBezTo>
                      <a:pt x="114" y="1"/>
                      <a:pt x="114" y="1"/>
                      <a:pt x="114" y="1"/>
                    </a:cubicBezTo>
                    <a:cubicBezTo>
                      <a:pt x="112" y="3"/>
                      <a:pt x="110" y="3"/>
                      <a:pt x="107" y="4"/>
                    </a:cubicBezTo>
                    <a:cubicBezTo>
                      <a:pt x="96" y="7"/>
                      <a:pt x="96" y="7"/>
                      <a:pt x="96" y="7"/>
                    </a:cubicBezTo>
                    <a:cubicBezTo>
                      <a:pt x="96" y="9"/>
                      <a:pt x="97" y="11"/>
                      <a:pt x="97" y="14"/>
                    </a:cubicBezTo>
                    <a:cubicBezTo>
                      <a:pt x="98" y="17"/>
                      <a:pt x="100" y="23"/>
                      <a:pt x="99" y="25"/>
                    </a:cubicBezTo>
                    <a:cubicBezTo>
                      <a:pt x="98" y="28"/>
                      <a:pt x="93" y="33"/>
                      <a:pt x="91" y="35"/>
                    </a:cubicBezTo>
                    <a:cubicBezTo>
                      <a:pt x="88" y="39"/>
                      <a:pt x="84" y="40"/>
                      <a:pt x="80" y="40"/>
                    </a:cubicBezTo>
                    <a:cubicBezTo>
                      <a:pt x="76" y="40"/>
                      <a:pt x="73" y="39"/>
                      <a:pt x="71" y="38"/>
                    </a:cubicBezTo>
                    <a:cubicBezTo>
                      <a:pt x="67" y="36"/>
                      <a:pt x="66" y="30"/>
                      <a:pt x="64" y="27"/>
                    </a:cubicBezTo>
                    <a:cubicBezTo>
                      <a:pt x="63" y="25"/>
                      <a:pt x="59" y="23"/>
                      <a:pt x="57" y="21"/>
                    </a:cubicBezTo>
                    <a:cubicBezTo>
                      <a:pt x="55" y="19"/>
                      <a:pt x="51" y="13"/>
                      <a:pt x="47" y="12"/>
                    </a:cubicBezTo>
                    <a:cubicBezTo>
                      <a:pt x="46" y="12"/>
                      <a:pt x="45" y="11"/>
                      <a:pt x="44" y="11"/>
                    </a:cubicBezTo>
                    <a:cubicBezTo>
                      <a:pt x="41" y="11"/>
                      <a:pt x="38" y="12"/>
                      <a:pt x="36" y="12"/>
                    </a:cubicBezTo>
                    <a:cubicBezTo>
                      <a:pt x="32" y="13"/>
                      <a:pt x="26" y="14"/>
                      <a:pt x="23" y="16"/>
                    </a:cubicBezTo>
                    <a:cubicBezTo>
                      <a:pt x="21" y="17"/>
                      <a:pt x="18" y="22"/>
                      <a:pt x="16" y="24"/>
                    </a:cubicBezTo>
                    <a:cubicBezTo>
                      <a:pt x="13" y="29"/>
                      <a:pt x="15" y="32"/>
                      <a:pt x="14" y="37"/>
                    </a:cubicBezTo>
                    <a:cubicBezTo>
                      <a:pt x="13" y="40"/>
                      <a:pt x="9" y="42"/>
                      <a:pt x="7" y="44"/>
                    </a:cubicBezTo>
                    <a:cubicBezTo>
                      <a:pt x="0" y="50"/>
                      <a:pt x="5" y="57"/>
                      <a:pt x="3" y="64"/>
                    </a:cubicBezTo>
                    <a:cubicBezTo>
                      <a:pt x="3" y="63"/>
                      <a:pt x="3" y="61"/>
                      <a:pt x="3" y="61"/>
                    </a:cubicBezTo>
                    <a:cubicBezTo>
                      <a:pt x="2" y="61"/>
                      <a:pt x="2" y="61"/>
                      <a:pt x="2" y="61"/>
                    </a:cubicBezTo>
                    <a:cubicBezTo>
                      <a:pt x="2" y="66"/>
                      <a:pt x="2" y="69"/>
                      <a:pt x="3" y="73"/>
                    </a:cubicBezTo>
                    <a:cubicBezTo>
                      <a:pt x="4" y="73"/>
                      <a:pt x="5" y="72"/>
                      <a:pt x="5" y="72"/>
                    </a:cubicBezTo>
                    <a:cubicBezTo>
                      <a:pt x="6" y="71"/>
                      <a:pt x="6" y="71"/>
                      <a:pt x="7" y="71"/>
                    </a:cubicBezTo>
                    <a:cubicBezTo>
                      <a:pt x="7" y="70"/>
                      <a:pt x="8" y="69"/>
                      <a:pt x="9" y="69"/>
                    </a:cubicBezTo>
                    <a:cubicBezTo>
                      <a:pt x="11" y="68"/>
                      <a:pt x="11" y="68"/>
                      <a:pt x="11" y="68"/>
                    </a:cubicBezTo>
                    <a:cubicBezTo>
                      <a:pt x="12" y="67"/>
                      <a:pt x="14" y="66"/>
                      <a:pt x="15" y="65"/>
                    </a:cubicBezTo>
                    <a:cubicBezTo>
                      <a:pt x="22" y="63"/>
                      <a:pt x="29" y="60"/>
                      <a:pt x="37" y="60"/>
                    </a:cubicBezTo>
                    <a:cubicBezTo>
                      <a:pt x="38" y="60"/>
                      <a:pt x="38" y="60"/>
                      <a:pt x="38" y="60"/>
                    </a:cubicBezTo>
                    <a:cubicBezTo>
                      <a:pt x="39" y="60"/>
                      <a:pt x="39" y="60"/>
                      <a:pt x="39" y="60"/>
                    </a:cubicBezTo>
                    <a:cubicBezTo>
                      <a:pt x="42" y="60"/>
                      <a:pt x="44" y="60"/>
                      <a:pt x="46" y="60"/>
                    </a:cubicBezTo>
                    <a:cubicBezTo>
                      <a:pt x="47" y="60"/>
                      <a:pt x="47" y="60"/>
                      <a:pt x="47" y="60"/>
                    </a:cubicBezTo>
                    <a:cubicBezTo>
                      <a:pt x="49" y="60"/>
                      <a:pt x="50" y="61"/>
                      <a:pt x="51" y="61"/>
                    </a:cubicBezTo>
                    <a:cubicBezTo>
                      <a:pt x="51" y="61"/>
                      <a:pt x="51" y="61"/>
                      <a:pt x="51" y="61"/>
                    </a:cubicBezTo>
                    <a:cubicBezTo>
                      <a:pt x="51" y="61"/>
                      <a:pt x="51" y="61"/>
                      <a:pt x="51" y="61"/>
                    </a:cubicBezTo>
                    <a:cubicBezTo>
                      <a:pt x="52" y="61"/>
                      <a:pt x="53" y="61"/>
                      <a:pt x="54" y="61"/>
                    </a:cubicBezTo>
                    <a:cubicBezTo>
                      <a:pt x="55" y="60"/>
                      <a:pt x="56" y="60"/>
                      <a:pt x="57" y="60"/>
                    </a:cubicBezTo>
                    <a:cubicBezTo>
                      <a:pt x="57" y="60"/>
                      <a:pt x="57" y="60"/>
                      <a:pt x="58" y="60"/>
                    </a:cubicBezTo>
                    <a:cubicBezTo>
                      <a:pt x="58" y="60"/>
                      <a:pt x="58" y="60"/>
                      <a:pt x="58" y="60"/>
                    </a:cubicBezTo>
                    <a:cubicBezTo>
                      <a:pt x="59" y="60"/>
                      <a:pt x="61" y="61"/>
                      <a:pt x="62" y="62"/>
                    </a:cubicBezTo>
                    <a:cubicBezTo>
                      <a:pt x="62" y="62"/>
                      <a:pt x="62" y="62"/>
                      <a:pt x="62" y="62"/>
                    </a:cubicBezTo>
                    <a:cubicBezTo>
                      <a:pt x="63" y="62"/>
                      <a:pt x="63" y="62"/>
                      <a:pt x="63" y="62"/>
                    </a:cubicBezTo>
                    <a:cubicBezTo>
                      <a:pt x="64" y="62"/>
                      <a:pt x="65" y="61"/>
                      <a:pt x="66" y="61"/>
                    </a:cubicBezTo>
                    <a:cubicBezTo>
                      <a:pt x="66" y="61"/>
                      <a:pt x="67" y="61"/>
                      <a:pt x="67" y="61"/>
                    </a:cubicBezTo>
                    <a:cubicBezTo>
                      <a:pt x="69" y="62"/>
                      <a:pt x="72" y="62"/>
                      <a:pt x="74" y="62"/>
                    </a:cubicBezTo>
                    <a:cubicBezTo>
                      <a:pt x="77" y="62"/>
                      <a:pt x="77" y="62"/>
                      <a:pt x="77" y="62"/>
                    </a:cubicBezTo>
                    <a:cubicBezTo>
                      <a:pt x="77" y="62"/>
                      <a:pt x="77" y="62"/>
                      <a:pt x="77" y="62"/>
                    </a:cubicBezTo>
                    <a:cubicBezTo>
                      <a:pt x="78" y="62"/>
                      <a:pt x="80" y="62"/>
                      <a:pt x="81" y="62"/>
                    </a:cubicBezTo>
                    <a:cubicBezTo>
                      <a:pt x="82" y="62"/>
                      <a:pt x="82" y="62"/>
                      <a:pt x="82" y="62"/>
                    </a:cubicBezTo>
                    <a:cubicBezTo>
                      <a:pt x="83" y="62"/>
                      <a:pt x="84" y="62"/>
                      <a:pt x="84" y="63"/>
                    </a:cubicBezTo>
                    <a:cubicBezTo>
                      <a:pt x="86" y="63"/>
                      <a:pt x="87" y="63"/>
                      <a:pt x="89" y="64"/>
                    </a:cubicBezTo>
                    <a:cubicBezTo>
                      <a:pt x="91" y="65"/>
                      <a:pt x="91" y="65"/>
                      <a:pt x="92" y="65"/>
                    </a:cubicBezTo>
                    <a:cubicBezTo>
                      <a:pt x="92" y="65"/>
                      <a:pt x="92" y="65"/>
                      <a:pt x="92" y="65"/>
                    </a:cubicBezTo>
                    <a:cubicBezTo>
                      <a:pt x="93" y="65"/>
                      <a:pt x="94" y="64"/>
                      <a:pt x="95" y="64"/>
                    </a:cubicBezTo>
                    <a:cubicBezTo>
                      <a:pt x="96" y="64"/>
                      <a:pt x="96" y="64"/>
                      <a:pt x="97" y="64"/>
                    </a:cubicBezTo>
                    <a:cubicBezTo>
                      <a:pt x="98" y="64"/>
                      <a:pt x="99" y="64"/>
                      <a:pt x="99" y="64"/>
                    </a:cubicBezTo>
                    <a:cubicBezTo>
                      <a:pt x="100" y="64"/>
                      <a:pt x="100" y="64"/>
                      <a:pt x="100" y="64"/>
                    </a:cubicBezTo>
                    <a:cubicBezTo>
                      <a:pt x="100" y="64"/>
                      <a:pt x="100" y="64"/>
                      <a:pt x="101" y="64"/>
                    </a:cubicBezTo>
                    <a:cubicBezTo>
                      <a:pt x="101" y="64"/>
                      <a:pt x="101" y="64"/>
                      <a:pt x="101" y="64"/>
                    </a:cubicBezTo>
                    <a:cubicBezTo>
                      <a:pt x="101" y="64"/>
                      <a:pt x="101" y="64"/>
                      <a:pt x="101" y="64"/>
                    </a:cubicBezTo>
                    <a:cubicBezTo>
                      <a:pt x="101" y="64"/>
                      <a:pt x="102" y="64"/>
                      <a:pt x="102" y="64"/>
                    </a:cubicBezTo>
                    <a:cubicBezTo>
                      <a:pt x="102" y="64"/>
                      <a:pt x="102" y="64"/>
                      <a:pt x="103" y="63"/>
                    </a:cubicBezTo>
                    <a:cubicBezTo>
                      <a:pt x="104" y="62"/>
                      <a:pt x="105" y="62"/>
                      <a:pt x="106" y="61"/>
                    </a:cubicBezTo>
                    <a:cubicBezTo>
                      <a:pt x="107" y="60"/>
                      <a:pt x="109" y="59"/>
                      <a:pt x="110" y="59"/>
                    </a:cubicBezTo>
                    <a:cubicBezTo>
                      <a:pt x="110" y="59"/>
                      <a:pt x="110" y="59"/>
                      <a:pt x="110" y="59"/>
                    </a:cubicBezTo>
                    <a:cubicBezTo>
                      <a:pt x="111" y="59"/>
                      <a:pt x="111" y="59"/>
                      <a:pt x="111" y="58"/>
                    </a:cubicBezTo>
                    <a:cubicBezTo>
                      <a:pt x="114" y="57"/>
                      <a:pt x="114" y="57"/>
                      <a:pt x="114" y="57"/>
                    </a:cubicBezTo>
                    <a:cubicBezTo>
                      <a:pt x="116" y="60"/>
                      <a:pt x="116" y="60"/>
                      <a:pt x="116" y="60"/>
                    </a:cubicBezTo>
                    <a:cubicBezTo>
                      <a:pt x="116" y="60"/>
                      <a:pt x="116" y="60"/>
                      <a:pt x="116" y="61"/>
                    </a:cubicBezTo>
                    <a:cubicBezTo>
                      <a:pt x="117" y="62"/>
                      <a:pt x="118" y="63"/>
                      <a:pt x="118" y="64"/>
                    </a:cubicBezTo>
                    <a:cubicBezTo>
                      <a:pt x="119" y="66"/>
                      <a:pt x="119" y="66"/>
                      <a:pt x="119" y="66"/>
                    </a:cubicBezTo>
                    <a:cubicBezTo>
                      <a:pt x="121" y="68"/>
                      <a:pt x="121" y="68"/>
                      <a:pt x="124" y="69"/>
                    </a:cubicBezTo>
                    <a:cubicBezTo>
                      <a:pt x="125" y="69"/>
                      <a:pt x="125" y="69"/>
                      <a:pt x="125" y="69"/>
                    </a:cubicBezTo>
                    <a:cubicBezTo>
                      <a:pt x="126" y="69"/>
                      <a:pt x="127" y="69"/>
                      <a:pt x="128" y="69"/>
                    </a:cubicBezTo>
                    <a:cubicBezTo>
                      <a:pt x="130" y="69"/>
                      <a:pt x="130" y="69"/>
                      <a:pt x="130" y="69"/>
                    </a:cubicBezTo>
                    <a:cubicBezTo>
                      <a:pt x="132" y="69"/>
                      <a:pt x="133" y="70"/>
                      <a:pt x="134" y="70"/>
                    </a:cubicBezTo>
                    <a:cubicBezTo>
                      <a:pt x="137" y="71"/>
                      <a:pt x="139" y="73"/>
                      <a:pt x="140" y="74"/>
                    </a:cubicBezTo>
                    <a:cubicBezTo>
                      <a:pt x="141" y="75"/>
                      <a:pt x="141" y="75"/>
                      <a:pt x="141" y="75"/>
                    </a:cubicBezTo>
                    <a:cubicBezTo>
                      <a:pt x="142" y="76"/>
                      <a:pt x="142" y="76"/>
                      <a:pt x="142" y="76"/>
                    </a:cubicBezTo>
                    <a:cubicBezTo>
                      <a:pt x="143" y="76"/>
                      <a:pt x="144" y="77"/>
                      <a:pt x="144" y="78"/>
                    </a:cubicBezTo>
                    <a:cubicBezTo>
                      <a:pt x="146" y="78"/>
                      <a:pt x="148" y="80"/>
                      <a:pt x="149" y="81"/>
                    </a:cubicBezTo>
                    <a:cubicBezTo>
                      <a:pt x="150" y="81"/>
                      <a:pt x="150" y="82"/>
                      <a:pt x="151" y="82"/>
                    </a:cubicBezTo>
                    <a:cubicBezTo>
                      <a:pt x="152" y="84"/>
                      <a:pt x="152" y="84"/>
                      <a:pt x="152" y="84"/>
                    </a:cubicBezTo>
                    <a:cubicBezTo>
                      <a:pt x="153" y="84"/>
                      <a:pt x="154" y="85"/>
                      <a:pt x="155" y="86"/>
                    </a:cubicBezTo>
                    <a:cubicBezTo>
                      <a:pt x="156" y="86"/>
                      <a:pt x="156" y="86"/>
                      <a:pt x="156" y="86"/>
                    </a:cubicBezTo>
                    <a:cubicBezTo>
                      <a:pt x="157" y="87"/>
                      <a:pt x="158" y="88"/>
                      <a:pt x="160" y="89"/>
                    </a:cubicBezTo>
                    <a:cubicBezTo>
                      <a:pt x="160" y="89"/>
                      <a:pt x="160" y="89"/>
                      <a:pt x="160" y="89"/>
                    </a:cubicBezTo>
                    <a:cubicBezTo>
                      <a:pt x="161" y="89"/>
                      <a:pt x="161" y="89"/>
                      <a:pt x="161" y="89"/>
                    </a:cubicBezTo>
                    <a:cubicBezTo>
                      <a:pt x="162" y="89"/>
                      <a:pt x="162" y="89"/>
                      <a:pt x="162" y="89"/>
                    </a:cubicBezTo>
                    <a:cubicBezTo>
                      <a:pt x="162" y="89"/>
                      <a:pt x="162" y="89"/>
                      <a:pt x="162" y="89"/>
                    </a:cubicBezTo>
                    <a:cubicBezTo>
                      <a:pt x="162" y="89"/>
                      <a:pt x="162" y="89"/>
                      <a:pt x="162" y="89"/>
                    </a:cubicBezTo>
                    <a:cubicBezTo>
                      <a:pt x="162" y="89"/>
                      <a:pt x="162" y="89"/>
                      <a:pt x="162" y="89"/>
                    </a:cubicBezTo>
                    <a:cubicBezTo>
                      <a:pt x="163" y="89"/>
                      <a:pt x="164" y="89"/>
                      <a:pt x="164" y="89"/>
                    </a:cubicBezTo>
                    <a:cubicBezTo>
                      <a:pt x="165" y="89"/>
                      <a:pt x="165" y="89"/>
                      <a:pt x="165" y="89"/>
                    </a:cubicBezTo>
                    <a:cubicBezTo>
                      <a:pt x="166" y="88"/>
                      <a:pt x="167" y="87"/>
                      <a:pt x="168" y="86"/>
                    </a:cubicBezTo>
                    <a:cubicBezTo>
                      <a:pt x="169" y="85"/>
                      <a:pt x="171" y="83"/>
                      <a:pt x="175" y="83"/>
                    </a:cubicBezTo>
                    <a:cubicBezTo>
                      <a:pt x="176" y="83"/>
                      <a:pt x="177" y="83"/>
                      <a:pt x="178" y="83"/>
                    </a:cubicBezTo>
                    <a:cubicBezTo>
                      <a:pt x="181" y="83"/>
                      <a:pt x="181" y="83"/>
                      <a:pt x="181" y="83"/>
                    </a:cubicBezTo>
                    <a:cubicBezTo>
                      <a:pt x="183" y="83"/>
                      <a:pt x="183" y="83"/>
                      <a:pt x="183" y="83"/>
                    </a:cubicBezTo>
                    <a:cubicBezTo>
                      <a:pt x="184" y="83"/>
                      <a:pt x="186" y="83"/>
                      <a:pt x="187" y="83"/>
                    </a:cubicBezTo>
                    <a:cubicBezTo>
                      <a:pt x="187" y="83"/>
                      <a:pt x="187" y="83"/>
                      <a:pt x="187" y="83"/>
                    </a:cubicBezTo>
                    <a:cubicBezTo>
                      <a:pt x="188" y="82"/>
                      <a:pt x="188" y="81"/>
                      <a:pt x="189" y="80"/>
                    </a:cubicBezTo>
                    <a:cubicBezTo>
                      <a:pt x="190" y="79"/>
                      <a:pt x="191" y="78"/>
                      <a:pt x="192" y="78"/>
                    </a:cubicBezTo>
                    <a:cubicBezTo>
                      <a:pt x="192" y="77"/>
                      <a:pt x="192" y="77"/>
                      <a:pt x="192" y="77"/>
                    </a:cubicBezTo>
                    <a:cubicBezTo>
                      <a:pt x="193" y="77"/>
                      <a:pt x="193" y="76"/>
                      <a:pt x="193" y="76"/>
                    </a:cubicBezTo>
                    <a:cubicBezTo>
                      <a:pt x="196" y="74"/>
                      <a:pt x="198" y="72"/>
                      <a:pt x="201" y="71"/>
                    </a:cubicBezTo>
                    <a:cubicBezTo>
                      <a:pt x="202" y="71"/>
                      <a:pt x="202" y="71"/>
                      <a:pt x="203" y="71"/>
                    </a:cubicBezTo>
                    <a:cubicBezTo>
                      <a:pt x="203" y="71"/>
                      <a:pt x="203" y="71"/>
                      <a:pt x="203" y="71"/>
                    </a:cubicBezTo>
                    <a:cubicBezTo>
                      <a:pt x="203" y="68"/>
                      <a:pt x="203" y="68"/>
                      <a:pt x="203" y="68"/>
                    </a:cubicBezTo>
                    <a:cubicBezTo>
                      <a:pt x="203" y="67"/>
                      <a:pt x="203" y="67"/>
                      <a:pt x="203" y="66"/>
                    </a:cubicBezTo>
                    <a:cubicBezTo>
                      <a:pt x="204" y="66"/>
                      <a:pt x="204" y="66"/>
                      <a:pt x="204" y="66"/>
                    </a:cubicBezTo>
                    <a:cubicBezTo>
                      <a:pt x="203" y="66"/>
                      <a:pt x="203" y="66"/>
                      <a:pt x="203" y="66"/>
                    </a:cubicBezTo>
                    <a:cubicBezTo>
                      <a:pt x="202" y="65"/>
                      <a:pt x="202" y="65"/>
                      <a:pt x="202" y="65"/>
                    </a:cubicBezTo>
                    <a:cubicBezTo>
                      <a:pt x="202" y="64"/>
                      <a:pt x="202" y="64"/>
                      <a:pt x="202" y="64"/>
                    </a:cubicBezTo>
                    <a:cubicBezTo>
                      <a:pt x="202" y="63"/>
                      <a:pt x="202" y="63"/>
                      <a:pt x="202" y="63"/>
                    </a:cubicBezTo>
                    <a:cubicBezTo>
                      <a:pt x="202" y="62"/>
                      <a:pt x="202" y="62"/>
                      <a:pt x="202" y="62"/>
                    </a:cubicBezTo>
                    <a:cubicBezTo>
                      <a:pt x="200" y="61"/>
                      <a:pt x="200" y="60"/>
                      <a:pt x="198" y="53"/>
                    </a:cubicBezTo>
                    <a:cubicBezTo>
                      <a:pt x="197" y="51"/>
                      <a:pt x="196" y="49"/>
                      <a:pt x="194" y="48"/>
                    </a:cubicBezTo>
                    <a:cubicBezTo>
                      <a:pt x="194" y="48"/>
                      <a:pt x="194" y="48"/>
                      <a:pt x="194" y="48"/>
                    </a:cubicBezTo>
                    <a:cubicBezTo>
                      <a:pt x="193" y="48"/>
                      <a:pt x="193" y="48"/>
                      <a:pt x="193" y="48"/>
                    </a:cubicBezTo>
                    <a:cubicBezTo>
                      <a:pt x="183" y="55"/>
                      <a:pt x="183" y="55"/>
                      <a:pt x="183" y="55"/>
                    </a:cubicBezTo>
                    <a:cubicBezTo>
                      <a:pt x="188" y="44"/>
                      <a:pt x="188" y="44"/>
                      <a:pt x="188" y="44"/>
                    </a:cubicBezTo>
                    <a:cubicBezTo>
                      <a:pt x="188" y="44"/>
                      <a:pt x="189" y="41"/>
                      <a:pt x="190" y="38"/>
                    </a:cubicBezTo>
                    <a:cubicBezTo>
                      <a:pt x="190" y="38"/>
                      <a:pt x="190" y="38"/>
                      <a:pt x="190" y="38"/>
                    </a:cubicBezTo>
                    <a:cubicBezTo>
                      <a:pt x="190" y="37"/>
                      <a:pt x="190" y="37"/>
                      <a:pt x="190" y="37"/>
                    </a:cubicBezTo>
                    <a:cubicBezTo>
                      <a:pt x="190" y="36"/>
                      <a:pt x="189" y="33"/>
                      <a:pt x="192" y="31"/>
                    </a:cubicBezTo>
                    <a:cubicBezTo>
                      <a:pt x="192" y="30"/>
                      <a:pt x="192" y="29"/>
                      <a:pt x="193" y="28"/>
                    </a:cubicBezTo>
                    <a:cubicBezTo>
                      <a:pt x="192" y="28"/>
                      <a:pt x="192" y="28"/>
                      <a:pt x="191" y="28"/>
                    </a:cubicBezTo>
                    <a:cubicBezTo>
                      <a:pt x="191" y="27"/>
                      <a:pt x="190" y="27"/>
                      <a:pt x="189" y="27"/>
                    </a:cubicBezTo>
                    <a:cubicBezTo>
                      <a:pt x="189" y="26"/>
                      <a:pt x="188" y="26"/>
                      <a:pt x="188" y="26"/>
                    </a:cubicBezTo>
                    <a:cubicBezTo>
                      <a:pt x="187" y="25"/>
                      <a:pt x="187" y="25"/>
                      <a:pt x="187" y="25"/>
                    </a:cubicBezTo>
                    <a:cubicBezTo>
                      <a:pt x="186" y="25"/>
                      <a:pt x="186" y="25"/>
                      <a:pt x="186" y="25"/>
                    </a:cubicBezTo>
                    <a:cubicBezTo>
                      <a:pt x="186" y="24"/>
                      <a:pt x="185" y="24"/>
                      <a:pt x="185" y="24"/>
                    </a:cubicBezTo>
                    <a:cubicBezTo>
                      <a:pt x="184" y="23"/>
                      <a:pt x="184" y="23"/>
                      <a:pt x="184" y="23"/>
                    </a:cubicBezTo>
                    <a:cubicBezTo>
                      <a:pt x="183" y="22"/>
                      <a:pt x="183" y="22"/>
                      <a:pt x="183" y="22"/>
                    </a:cubicBezTo>
                    <a:cubicBezTo>
                      <a:pt x="183" y="22"/>
                      <a:pt x="183" y="22"/>
                      <a:pt x="183" y="22"/>
                    </a:cubicBezTo>
                    <a:cubicBezTo>
                      <a:pt x="179" y="26"/>
                      <a:pt x="179" y="26"/>
                      <a:pt x="179" y="26"/>
                    </a:cubicBezTo>
                    <a:cubicBezTo>
                      <a:pt x="179" y="21"/>
                      <a:pt x="179" y="21"/>
                      <a:pt x="179" y="21"/>
                    </a:cubicBezTo>
                    <a:cubicBezTo>
                      <a:pt x="176" y="20"/>
                      <a:pt x="176" y="20"/>
                      <a:pt x="176" y="20"/>
                    </a:cubicBezTo>
                    <a:cubicBezTo>
                      <a:pt x="175" y="20"/>
                      <a:pt x="174" y="19"/>
                      <a:pt x="172" y="18"/>
                    </a:cubicBezTo>
                    <a:cubicBezTo>
                      <a:pt x="172" y="18"/>
                      <a:pt x="172" y="18"/>
                      <a:pt x="172" y="18"/>
                    </a:cubicBezTo>
                    <a:cubicBezTo>
                      <a:pt x="171" y="18"/>
                      <a:pt x="171" y="18"/>
                      <a:pt x="171" y="18"/>
                    </a:cubicBezTo>
                    <a:cubicBezTo>
                      <a:pt x="170" y="18"/>
                      <a:pt x="170" y="18"/>
                      <a:pt x="169" y="19"/>
                    </a:cubicBezTo>
                    <a:cubicBezTo>
                      <a:pt x="168" y="19"/>
                      <a:pt x="168" y="19"/>
                      <a:pt x="167" y="19"/>
                    </a:cubicBezTo>
                    <a:cubicBezTo>
                      <a:pt x="167" y="19"/>
                      <a:pt x="166" y="19"/>
                      <a:pt x="166" y="19"/>
                    </a:cubicBezTo>
                    <a:cubicBezTo>
                      <a:pt x="166" y="19"/>
                      <a:pt x="166" y="19"/>
                      <a:pt x="166" y="19"/>
                    </a:cubicBezTo>
                    <a:cubicBezTo>
                      <a:pt x="164" y="20"/>
                      <a:pt x="162" y="21"/>
                      <a:pt x="159" y="21"/>
                    </a:cubicBezTo>
                    <a:cubicBezTo>
                      <a:pt x="158" y="21"/>
                      <a:pt x="157" y="21"/>
                      <a:pt x="156" y="20"/>
                    </a:cubicBezTo>
                    <a:cubicBezTo>
                      <a:pt x="154" y="19"/>
                      <a:pt x="153" y="18"/>
                      <a:pt x="151" y="17"/>
                    </a:cubicBezTo>
                    <a:cubicBezTo>
                      <a:pt x="149" y="15"/>
                      <a:pt x="149" y="15"/>
                      <a:pt x="149" y="15"/>
                    </a:cubicBezTo>
                    <a:cubicBezTo>
                      <a:pt x="147" y="14"/>
                      <a:pt x="145" y="11"/>
                      <a:pt x="143" y="9"/>
                    </a:cubicBezTo>
                    <a:cubicBezTo>
                      <a:pt x="143" y="8"/>
                      <a:pt x="143" y="8"/>
                      <a:pt x="143" y="8"/>
                    </a:cubicBezTo>
                    <a:cubicBezTo>
                      <a:pt x="143" y="8"/>
                      <a:pt x="143" y="8"/>
                      <a:pt x="143" y="8"/>
                    </a:cubicBezTo>
                    <a:cubicBezTo>
                      <a:pt x="140" y="7"/>
                      <a:pt x="137" y="6"/>
                      <a:pt x="135" y="5"/>
                    </a:cubicBezTo>
                    <a:cubicBezTo>
                      <a:pt x="134" y="5"/>
                      <a:pt x="134" y="5"/>
                      <a:pt x="134" y="5"/>
                    </a:cubicBezTo>
                    <a:cubicBezTo>
                      <a:pt x="133" y="4"/>
                      <a:pt x="133" y="4"/>
                      <a:pt x="132" y="3"/>
                    </a:cubicBezTo>
                    <a:cubicBezTo>
                      <a:pt x="130" y="3"/>
                      <a:pt x="130" y="3"/>
                      <a:pt x="130" y="3"/>
                    </a:cubicBezTo>
                    <a:cubicBezTo>
                      <a:pt x="129" y="2"/>
                      <a:pt x="128" y="1"/>
                      <a:pt x="128" y="1"/>
                    </a:cubicBezTo>
                    <a:cubicBezTo>
                      <a:pt x="127" y="1"/>
                      <a:pt x="127" y="1"/>
                      <a:pt x="127" y="1"/>
                    </a:cubicBezTo>
                    <a:cubicBezTo>
                      <a:pt x="126" y="1"/>
                      <a:pt x="126" y="1"/>
                      <a:pt x="126" y="1"/>
                    </a:cubicBezTo>
                    <a:cubicBezTo>
                      <a:pt x="125" y="1"/>
                      <a:pt x="125" y="1"/>
                      <a:pt x="125" y="1"/>
                    </a:cubicBezTo>
                    <a:cubicBezTo>
                      <a:pt x="124" y="1"/>
                      <a:pt x="124" y="1"/>
                      <a:pt x="124" y="1"/>
                    </a:cubicBezTo>
                    <a:cubicBezTo>
                      <a:pt x="121" y="1"/>
                      <a:pt x="120" y="1"/>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6" name="Freeform 324">
                <a:extLst>
                  <a:ext uri="{FF2B5EF4-FFF2-40B4-BE49-F238E27FC236}">
                    <a16:creationId xmlns:a16="http://schemas.microsoft.com/office/drawing/2014/main" id="{D33C1E8F-9149-4CEA-9560-E0140EC30230}"/>
                  </a:ext>
                </a:extLst>
              </p:cNvPr>
              <p:cNvSpPr>
                <a:spLocks/>
              </p:cNvSpPr>
              <p:nvPr/>
            </p:nvSpPr>
            <p:spPr bwMode="auto">
              <a:xfrm>
                <a:off x="6471063" y="2782263"/>
                <a:ext cx="405363" cy="269013"/>
              </a:xfrm>
              <a:custGeom>
                <a:avLst/>
                <a:gdLst>
                  <a:gd name="T0" fmla="*/ 60 w 128"/>
                  <a:gd name="T1" fmla="*/ 5 h 85"/>
                  <a:gd name="T2" fmla="*/ 26 w 128"/>
                  <a:gd name="T3" fmla="*/ 10 h 85"/>
                  <a:gd name="T4" fmla="*/ 19 w 128"/>
                  <a:gd name="T5" fmla="*/ 15 h 85"/>
                  <a:gd name="T6" fmla="*/ 0 w 128"/>
                  <a:gd name="T7" fmla="*/ 27 h 85"/>
                  <a:gd name="T8" fmla="*/ 4 w 128"/>
                  <a:gd name="T9" fmla="*/ 27 h 85"/>
                  <a:gd name="T10" fmla="*/ 3 w 128"/>
                  <a:gd name="T11" fmla="*/ 29 h 85"/>
                  <a:gd name="T12" fmla="*/ 6 w 128"/>
                  <a:gd name="T13" fmla="*/ 29 h 85"/>
                  <a:gd name="T14" fmla="*/ 0 w 128"/>
                  <a:gd name="T15" fmla="*/ 37 h 85"/>
                  <a:gd name="T16" fmla="*/ 6 w 128"/>
                  <a:gd name="T17" fmla="*/ 37 h 85"/>
                  <a:gd name="T18" fmla="*/ 13 w 128"/>
                  <a:gd name="T19" fmla="*/ 38 h 85"/>
                  <a:gd name="T20" fmla="*/ 2 w 128"/>
                  <a:gd name="T21" fmla="*/ 45 h 85"/>
                  <a:gd name="T22" fmla="*/ 18 w 128"/>
                  <a:gd name="T23" fmla="*/ 57 h 85"/>
                  <a:gd name="T24" fmla="*/ 27 w 128"/>
                  <a:gd name="T25" fmla="*/ 55 h 85"/>
                  <a:gd name="T26" fmla="*/ 31 w 128"/>
                  <a:gd name="T27" fmla="*/ 57 h 85"/>
                  <a:gd name="T28" fmla="*/ 35 w 128"/>
                  <a:gd name="T29" fmla="*/ 68 h 85"/>
                  <a:gd name="T30" fmla="*/ 40 w 128"/>
                  <a:gd name="T31" fmla="*/ 66 h 85"/>
                  <a:gd name="T32" fmla="*/ 45 w 128"/>
                  <a:gd name="T33" fmla="*/ 64 h 85"/>
                  <a:gd name="T34" fmla="*/ 48 w 128"/>
                  <a:gd name="T35" fmla="*/ 62 h 85"/>
                  <a:gd name="T36" fmla="*/ 53 w 128"/>
                  <a:gd name="T37" fmla="*/ 65 h 85"/>
                  <a:gd name="T38" fmla="*/ 54 w 128"/>
                  <a:gd name="T39" fmla="*/ 65 h 85"/>
                  <a:gd name="T40" fmla="*/ 57 w 128"/>
                  <a:gd name="T41" fmla="*/ 65 h 85"/>
                  <a:gd name="T42" fmla="*/ 62 w 128"/>
                  <a:gd name="T43" fmla="*/ 67 h 85"/>
                  <a:gd name="T44" fmla="*/ 66 w 128"/>
                  <a:gd name="T45" fmla="*/ 69 h 85"/>
                  <a:gd name="T46" fmla="*/ 75 w 128"/>
                  <a:gd name="T47" fmla="*/ 72 h 85"/>
                  <a:gd name="T48" fmla="*/ 78 w 128"/>
                  <a:gd name="T49" fmla="*/ 76 h 85"/>
                  <a:gd name="T50" fmla="*/ 84 w 128"/>
                  <a:gd name="T51" fmla="*/ 82 h 85"/>
                  <a:gd name="T52" fmla="*/ 88 w 128"/>
                  <a:gd name="T53" fmla="*/ 85 h 85"/>
                  <a:gd name="T54" fmla="*/ 92 w 128"/>
                  <a:gd name="T55" fmla="*/ 83 h 85"/>
                  <a:gd name="T56" fmla="*/ 95 w 128"/>
                  <a:gd name="T57" fmla="*/ 83 h 85"/>
                  <a:gd name="T58" fmla="*/ 98 w 128"/>
                  <a:gd name="T59" fmla="*/ 81 h 85"/>
                  <a:gd name="T60" fmla="*/ 104 w 128"/>
                  <a:gd name="T61" fmla="*/ 83 h 85"/>
                  <a:gd name="T62" fmla="*/ 109 w 128"/>
                  <a:gd name="T63" fmla="*/ 85 h 85"/>
                  <a:gd name="T64" fmla="*/ 110 w 128"/>
                  <a:gd name="T65" fmla="*/ 84 h 85"/>
                  <a:gd name="T66" fmla="*/ 111 w 128"/>
                  <a:gd name="T67" fmla="*/ 81 h 85"/>
                  <a:gd name="T68" fmla="*/ 112 w 128"/>
                  <a:gd name="T69" fmla="*/ 78 h 85"/>
                  <a:gd name="T70" fmla="*/ 115 w 128"/>
                  <a:gd name="T71" fmla="*/ 75 h 85"/>
                  <a:gd name="T72" fmla="*/ 116 w 128"/>
                  <a:gd name="T73" fmla="*/ 74 h 85"/>
                  <a:gd name="T74" fmla="*/ 120 w 128"/>
                  <a:gd name="T75" fmla="*/ 73 h 85"/>
                  <a:gd name="T76" fmla="*/ 117 w 128"/>
                  <a:gd name="T77" fmla="*/ 69 h 85"/>
                  <a:gd name="T78" fmla="*/ 111 w 128"/>
                  <a:gd name="T79" fmla="*/ 53 h 85"/>
                  <a:gd name="T80" fmla="*/ 111 w 128"/>
                  <a:gd name="T81" fmla="*/ 43 h 85"/>
                  <a:gd name="T82" fmla="*/ 121 w 128"/>
                  <a:gd name="T83" fmla="*/ 21 h 85"/>
                  <a:gd name="T84" fmla="*/ 124 w 128"/>
                  <a:gd name="T85" fmla="*/ 14 h 85"/>
                  <a:gd name="T86" fmla="*/ 127 w 128"/>
                  <a:gd name="T87" fmla="*/ 10 h 85"/>
                  <a:gd name="T88" fmla="*/ 112 w 128"/>
                  <a:gd name="T89" fmla="*/ 9 h 85"/>
                  <a:gd name="T90" fmla="*/ 101 w 128"/>
                  <a:gd name="T91" fmla="*/ 9 h 85"/>
                  <a:gd name="T92" fmla="*/ 70 w 128"/>
                  <a:gd name="T93" fmla="*/ 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5">
                    <a:moveTo>
                      <a:pt x="59" y="0"/>
                    </a:moveTo>
                    <a:cubicBezTo>
                      <a:pt x="59" y="2"/>
                      <a:pt x="60" y="4"/>
                      <a:pt x="60" y="5"/>
                    </a:cubicBezTo>
                    <a:cubicBezTo>
                      <a:pt x="53" y="8"/>
                      <a:pt x="46" y="6"/>
                      <a:pt x="38" y="7"/>
                    </a:cubicBezTo>
                    <a:cubicBezTo>
                      <a:pt x="34" y="8"/>
                      <a:pt x="30" y="9"/>
                      <a:pt x="26" y="10"/>
                    </a:cubicBezTo>
                    <a:cubicBezTo>
                      <a:pt x="23" y="11"/>
                      <a:pt x="22" y="14"/>
                      <a:pt x="19" y="15"/>
                    </a:cubicBezTo>
                    <a:cubicBezTo>
                      <a:pt x="19" y="15"/>
                      <a:pt x="19" y="15"/>
                      <a:pt x="19" y="15"/>
                    </a:cubicBezTo>
                    <a:cubicBezTo>
                      <a:pt x="16" y="16"/>
                      <a:pt x="1" y="18"/>
                      <a:pt x="1" y="20"/>
                    </a:cubicBezTo>
                    <a:cubicBezTo>
                      <a:pt x="1" y="21"/>
                      <a:pt x="0" y="26"/>
                      <a:pt x="0" y="27"/>
                    </a:cubicBezTo>
                    <a:cubicBezTo>
                      <a:pt x="0" y="27"/>
                      <a:pt x="1" y="27"/>
                      <a:pt x="2" y="27"/>
                    </a:cubicBezTo>
                    <a:cubicBezTo>
                      <a:pt x="2" y="27"/>
                      <a:pt x="3" y="27"/>
                      <a:pt x="4" y="27"/>
                    </a:cubicBezTo>
                    <a:cubicBezTo>
                      <a:pt x="3" y="28"/>
                      <a:pt x="3" y="28"/>
                      <a:pt x="3" y="28"/>
                    </a:cubicBezTo>
                    <a:cubicBezTo>
                      <a:pt x="3" y="29"/>
                      <a:pt x="3" y="29"/>
                      <a:pt x="3" y="29"/>
                    </a:cubicBezTo>
                    <a:cubicBezTo>
                      <a:pt x="5" y="27"/>
                      <a:pt x="5" y="27"/>
                      <a:pt x="5" y="27"/>
                    </a:cubicBezTo>
                    <a:cubicBezTo>
                      <a:pt x="5" y="27"/>
                      <a:pt x="6" y="28"/>
                      <a:pt x="6" y="29"/>
                    </a:cubicBezTo>
                    <a:cubicBezTo>
                      <a:pt x="2" y="31"/>
                      <a:pt x="2" y="30"/>
                      <a:pt x="1" y="35"/>
                    </a:cubicBezTo>
                    <a:cubicBezTo>
                      <a:pt x="1" y="35"/>
                      <a:pt x="1" y="37"/>
                      <a:pt x="0" y="37"/>
                    </a:cubicBezTo>
                    <a:cubicBezTo>
                      <a:pt x="1" y="37"/>
                      <a:pt x="2" y="37"/>
                      <a:pt x="3" y="37"/>
                    </a:cubicBezTo>
                    <a:cubicBezTo>
                      <a:pt x="4" y="37"/>
                      <a:pt x="5" y="37"/>
                      <a:pt x="6" y="37"/>
                    </a:cubicBezTo>
                    <a:cubicBezTo>
                      <a:pt x="7" y="37"/>
                      <a:pt x="8" y="37"/>
                      <a:pt x="9" y="37"/>
                    </a:cubicBezTo>
                    <a:cubicBezTo>
                      <a:pt x="10" y="37"/>
                      <a:pt x="11" y="37"/>
                      <a:pt x="13" y="38"/>
                    </a:cubicBezTo>
                    <a:cubicBezTo>
                      <a:pt x="11" y="38"/>
                      <a:pt x="5" y="38"/>
                      <a:pt x="3" y="40"/>
                    </a:cubicBezTo>
                    <a:cubicBezTo>
                      <a:pt x="2" y="41"/>
                      <a:pt x="2" y="44"/>
                      <a:pt x="2" y="45"/>
                    </a:cubicBezTo>
                    <a:cubicBezTo>
                      <a:pt x="2" y="47"/>
                      <a:pt x="4" y="46"/>
                      <a:pt x="5" y="47"/>
                    </a:cubicBezTo>
                    <a:cubicBezTo>
                      <a:pt x="9" y="53"/>
                      <a:pt x="11" y="55"/>
                      <a:pt x="18" y="57"/>
                    </a:cubicBezTo>
                    <a:cubicBezTo>
                      <a:pt x="20" y="58"/>
                      <a:pt x="21" y="58"/>
                      <a:pt x="22" y="58"/>
                    </a:cubicBezTo>
                    <a:cubicBezTo>
                      <a:pt x="24" y="58"/>
                      <a:pt x="24" y="57"/>
                      <a:pt x="27" y="55"/>
                    </a:cubicBezTo>
                    <a:cubicBezTo>
                      <a:pt x="28" y="55"/>
                      <a:pt x="29" y="54"/>
                      <a:pt x="30" y="54"/>
                    </a:cubicBezTo>
                    <a:cubicBezTo>
                      <a:pt x="31" y="54"/>
                      <a:pt x="32" y="55"/>
                      <a:pt x="31" y="57"/>
                    </a:cubicBezTo>
                    <a:cubicBezTo>
                      <a:pt x="30" y="61"/>
                      <a:pt x="29" y="66"/>
                      <a:pt x="27" y="70"/>
                    </a:cubicBezTo>
                    <a:cubicBezTo>
                      <a:pt x="35" y="68"/>
                      <a:pt x="35" y="68"/>
                      <a:pt x="35" y="68"/>
                    </a:cubicBezTo>
                    <a:cubicBezTo>
                      <a:pt x="37" y="67"/>
                      <a:pt x="38" y="67"/>
                      <a:pt x="40" y="66"/>
                    </a:cubicBezTo>
                    <a:cubicBezTo>
                      <a:pt x="40" y="66"/>
                      <a:pt x="40" y="66"/>
                      <a:pt x="40" y="66"/>
                    </a:cubicBezTo>
                    <a:cubicBezTo>
                      <a:pt x="42" y="65"/>
                      <a:pt x="43" y="65"/>
                      <a:pt x="44" y="64"/>
                    </a:cubicBezTo>
                    <a:cubicBezTo>
                      <a:pt x="45" y="64"/>
                      <a:pt x="45" y="64"/>
                      <a:pt x="45" y="64"/>
                    </a:cubicBezTo>
                    <a:cubicBezTo>
                      <a:pt x="46" y="63"/>
                      <a:pt x="46" y="63"/>
                      <a:pt x="46" y="63"/>
                    </a:cubicBezTo>
                    <a:cubicBezTo>
                      <a:pt x="48" y="62"/>
                      <a:pt x="48" y="62"/>
                      <a:pt x="48" y="62"/>
                    </a:cubicBezTo>
                    <a:cubicBezTo>
                      <a:pt x="50" y="64"/>
                      <a:pt x="50" y="64"/>
                      <a:pt x="50" y="64"/>
                    </a:cubicBezTo>
                    <a:cubicBezTo>
                      <a:pt x="51" y="65"/>
                      <a:pt x="52" y="65"/>
                      <a:pt x="53" y="65"/>
                    </a:cubicBezTo>
                    <a:cubicBezTo>
                      <a:pt x="53" y="65"/>
                      <a:pt x="53" y="65"/>
                      <a:pt x="54" y="65"/>
                    </a:cubicBezTo>
                    <a:cubicBezTo>
                      <a:pt x="54" y="65"/>
                      <a:pt x="54" y="65"/>
                      <a:pt x="54" y="65"/>
                    </a:cubicBezTo>
                    <a:cubicBezTo>
                      <a:pt x="54" y="65"/>
                      <a:pt x="54" y="65"/>
                      <a:pt x="55" y="65"/>
                    </a:cubicBezTo>
                    <a:cubicBezTo>
                      <a:pt x="55" y="65"/>
                      <a:pt x="56" y="65"/>
                      <a:pt x="57" y="65"/>
                    </a:cubicBezTo>
                    <a:cubicBezTo>
                      <a:pt x="57" y="65"/>
                      <a:pt x="58" y="65"/>
                      <a:pt x="58" y="65"/>
                    </a:cubicBezTo>
                    <a:cubicBezTo>
                      <a:pt x="59" y="66"/>
                      <a:pt x="59" y="66"/>
                      <a:pt x="62" y="67"/>
                    </a:cubicBezTo>
                    <a:cubicBezTo>
                      <a:pt x="63" y="68"/>
                      <a:pt x="63" y="68"/>
                      <a:pt x="63" y="68"/>
                    </a:cubicBezTo>
                    <a:cubicBezTo>
                      <a:pt x="64" y="68"/>
                      <a:pt x="65" y="69"/>
                      <a:pt x="66" y="69"/>
                    </a:cubicBezTo>
                    <a:cubicBezTo>
                      <a:pt x="67" y="70"/>
                      <a:pt x="67" y="70"/>
                      <a:pt x="67" y="70"/>
                    </a:cubicBezTo>
                    <a:cubicBezTo>
                      <a:pt x="70" y="71"/>
                      <a:pt x="72" y="72"/>
                      <a:pt x="75" y="72"/>
                    </a:cubicBezTo>
                    <a:cubicBezTo>
                      <a:pt x="80" y="73"/>
                      <a:pt x="80" y="73"/>
                      <a:pt x="80" y="73"/>
                    </a:cubicBezTo>
                    <a:cubicBezTo>
                      <a:pt x="78" y="76"/>
                      <a:pt x="78" y="76"/>
                      <a:pt x="78" y="76"/>
                    </a:cubicBezTo>
                    <a:cubicBezTo>
                      <a:pt x="79" y="78"/>
                      <a:pt x="81" y="80"/>
                      <a:pt x="83" y="81"/>
                    </a:cubicBezTo>
                    <a:cubicBezTo>
                      <a:pt x="84" y="82"/>
                      <a:pt x="84" y="82"/>
                      <a:pt x="84" y="82"/>
                    </a:cubicBezTo>
                    <a:cubicBezTo>
                      <a:pt x="86" y="83"/>
                      <a:pt x="87" y="84"/>
                      <a:pt x="88" y="85"/>
                    </a:cubicBezTo>
                    <a:cubicBezTo>
                      <a:pt x="88" y="85"/>
                      <a:pt x="88" y="85"/>
                      <a:pt x="88" y="85"/>
                    </a:cubicBezTo>
                    <a:cubicBezTo>
                      <a:pt x="89" y="85"/>
                      <a:pt x="90" y="85"/>
                      <a:pt x="92" y="84"/>
                    </a:cubicBezTo>
                    <a:cubicBezTo>
                      <a:pt x="92" y="83"/>
                      <a:pt x="92" y="83"/>
                      <a:pt x="92" y="83"/>
                    </a:cubicBezTo>
                    <a:cubicBezTo>
                      <a:pt x="93" y="83"/>
                      <a:pt x="94" y="83"/>
                      <a:pt x="95" y="83"/>
                    </a:cubicBezTo>
                    <a:cubicBezTo>
                      <a:pt x="95" y="83"/>
                      <a:pt x="95" y="83"/>
                      <a:pt x="95" y="83"/>
                    </a:cubicBezTo>
                    <a:cubicBezTo>
                      <a:pt x="95" y="82"/>
                      <a:pt x="96" y="81"/>
                      <a:pt x="98" y="81"/>
                    </a:cubicBezTo>
                    <a:cubicBezTo>
                      <a:pt x="98" y="81"/>
                      <a:pt x="98" y="81"/>
                      <a:pt x="98" y="81"/>
                    </a:cubicBezTo>
                    <a:cubicBezTo>
                      <a:pt x="99" y="81"/>
                      <a:pt x="100" y="81"/>
                      <a:pt x="101" y="81"/>
                    </a:cubicBezTo>
                    <a:cubicBezTo>
                      <a:pt x="102" y="82"/>
                      <a:pt x="103" y="82"/>
                      <a:pt x="104" y="83"/>
                    </a:cubicBezTo>
                    <a:cubicBezTo>
                      <a:pt x="105" y="84"/>
                      <a:pt x="106" y="84"/>
                      <a:pt x="107" y="84"/>
                    </a:cubicBezTo>
                    <a:cubicBezTo>
                      <a:pt x="109" y="85"/>
                      <a:pt x="109" y="85"/>
                      <a:pt x="109" y="85"/>
                    </a:cubicBezTo>
                    <a:cubicBezTo>
                      <a:pt x="110" y="84"/>
                      <a:pt x="110" y="84"/>
                      <a:pt x="110" y="84"/>
                    </a:cubicBezTo>
                    <a:cubicBezTo>
                      <a:pt x="110" y="84"/>
                      <a:pt x="110" y="84"/>
                      <a:pt x="110" y="84"/>
                    </a:cubicBezTo>
                    <a:cubicBezTo>
                      <a:pt x="110" y="83"/>
                      <a:pt x="110" y="83"/>
                      <a:pt x="110" y="83"/>
                    </a:cubicBezTo>
                    <a:cubicBezTo>
                      <a:pt x="110" y="82"/>
                      <a:pt x="110" y="82"/>
                      <a:pt x="111" y="81"/>
                    </a:cubicBezTo>
                    <a:cubicBezTo>
                      <a:pt x="111" y="80"/>
                      <a:pt x="112" y="79"/>
                      <a:pt x="112" y="79"/>
                    </a:cubicBezTo>
                    <a:cubicBezTo>
                      <a:pt x="112" y="78"/>
                      <a:pt x="112" y="78"/>
                      <a:pt x="112" y="78"/>
                    </a:cubicBezTo>
                    <a:cubicBezTo>
                      <a:pt x="113" y="78"/>
                      <a:pt x="113" y="77"/>
                      <a:pt x="113" y="77"/>
                    </a:cubicBezTo>
                    <a:cubicBezTo>
                      <a:pt x="114" y="76"/>
                      <a:pt x="115" y="75"/>
                      <a:pt x="115" y="75"/>
                    </a:cubicBezTo>
                    <a:cubicBezTo>
                      <a:pt x="116" y="75"/>
                      <a:pt x="116" y="75"/>
                      <a:pt x="116" y="75"/>
                    </a:cubicBezTo>
                    <a:cubicBezTo>
                      <a:pt x="116" y="74"/>
                      <a:pt x="116" y="74"/>
                      <a:pt x="116" y="74"/>
                    </a:cubicBezTo>
                    <a:cubicBezTo>
                      <a:pt x="116" y="74"/>
                      <a:pt x="117" y="74"/>
                      <a:pt x="117" y="74"/>
                    </a:cubicBezTo>
                    <a:cubicBezTo>
                      <a:pt x="118" y="73"/>
                      <a:pt x="119" y="73"/>
                      <a:pt x="120" y="73"/>
                    </a:cubicBezTo>
                    <a:cubicBezTo>
                      <a:pt x="120" y="72"/>
                      <a:pt x="119" y="71"/>
                      <a:pt x="118" y="71"/>
                    </a:cubicBezTo>
                    <a:cubicBezTo>
                      <a:pt x="118" y="70"/>
                      <a:pt x="117" y="70"/>
                      <a:pt x="117" y="69"/>
                    </a:cubicBezTo>
                    <a:cubicBezTo>
                      <a:pt x="111" y="64"/>
                      <a:pt x="111" y="56"/>
                      <a:pt x="111" y="54"/>
                    </a:cubicBezTo>
                    <a:cubicBezTo>
                      <a:pt x="111" y="54"/>
                      <a:pt x="111" y="53"/>
                      <a:pt x="111" y="53"/>
                    </a:cubicBezTo>
                    <a:cubicBezTo>
                      <a:pt x="111" y="52"/>
                      <a:pt x="111" y="52"/>
                      <a:pt x="111" y="52"/>
                    </a:cubicBezTo>
                    <a:cubicBezTo>
                      <a:pt x="111" y="50"/>
                      <a:pt x="112" y="45"/>
                      <a:pt x="111" y="43"/>
                    </a:cubicBezTo>
                    <a:cubicBezTo>
                      <a:pt x="110" y="38"/>
                      <a:pt x="111" y="33"/>
                      <a:pt x="114" y="31"/>
                    </a:cubicBezTo>
                    <a:cubicBezTo>
                      <a:pt x="115" y="31"/>
                      <a:pt x="120" y="26"/>
                      <a:pt x="121" y="21"/>
                    </a:cubicBezTo>
                    <a:cubicBezTo>
                      <a:pt x="122" y="19"/>
                      <a:pt x="124" y="17"/>
                      <a:pt x="126" y="15"/>
                    </a:cubicBezTo>
                    <a:cubicBezTo>
                      <a:pt x="124" y="14"/>
                      <a:pt x="124" y="14"/>
                      <a:pt x="124" y="14"/>
                    </a:cubicBezTo>
                    <a:cubicBezTo>
                      <a:pt x="128" y="11"/>
                      <a:pt x="128" y="11"/>
                      <a:pt x="128" y="11"/>
                    </a:cubicBezTo>
                    <a:cubicBezTo>
                      <a:pt x="127" y="10"/>
                      <a:pt x="127" y="10"/>
                      <a:pt x="127" y="10"/>
                    </a:cubicBezTo>
                    <a:cubicBezTo>
                      <a:pt x="126" y="10"/>
                      <a:pt x="125" y="10"/>
                      <a:pt x="124" y="10"/>
                    </a:cubicBezTo>
                    <a:cubicBezTo>
                      <a:pt x="120" y="10"/>
                      <a:pt x="115" y="9"/>
                      <a:pt x="112" y="9"/>
                    </a:cubicBezTo>
                    <a:cubicBezTo>
                      <a:pt x="109" y="9"/>
                      <a:pt x="105" y="9"/>
                      <a:pt x="101" y="9"/>
                    </a:cubicBezTo>
                    <a:cubicBezTo>
                      <a:pt x="101" y="9"/>
                      <a:pt x="101" y="9"/>
                      <a:pt x="101" y="9"/>
                    </a:cubicBezTo>
                    <a:cubicBezTo>
                      <a:pt x="99" y="9"/>
                      <a:pt x="96" y="7"/>
                      <a:pt x="93" y="6"/>
                    </a:cubicBezTo>
                    <a:cubicBezTo>
                      <a:pt x="85" y="5"/>
                      <a:pt x="78" y="5"/>
                      <a:pt x="70" y="4"/>
                    </a:cubicBezTo>
                    <a:cubicBezTo>
                      <a:pt x="65" y="4"/>
                      <a:pt x="62" y="4"/>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7" name="Rectangle 325">
                <a:extLst>
                  <a:ext uri="{FF2B5EF4-FFF2-40B4-BE49-F238E27FC236}">
                    <a16:creationId xmlns:a16="http://schemas.microsoft.com/office/drawing/2014/main" id="{FFC526BB-1FEE-42B6-9CDE-24B997494EFF}"/>
                  </a:ext>
                </a:extLst>
              </p:cNvPr>
              <p:cNvSpPr>
                <a:spLocks noChangeArrowheads="1"/>
              </p:cNvSpPr>
              <p:nvPr/>
            </p:nvSpPr>
            <p:spPr bwMode="auto">
              <a:xfrm>
                <a:off x="12024532" y="401309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8" name="Freeform 326">
                <a:extLst>
                  <a:ext uri="{FF2B5EF4-FFF2-40B4-BE49-F238E27FC236}">
                    <a16:creationId xmlns:a16="http://schemas.microsoft.com/office/drawing/2014/main" id="{AAACB40A-737A-424F-86BE-4E0F69531352}"/>
                  </a:ext>
                </a:extLst>
              </p:cNvPr>
              <p:cNvSpPr>
                <a:spLocks/>
              </p:cNvSpPr>
              <p:nvPr/>
            </p:nvSpPr>
            <p:spPr bwMode="auto">
              <a:xfrm>
                <a:off x="12024532" y="401309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9" name="Rectangle 327">
                <a:extLst>
                  <a:ext uri="{FF2B5EF4-FFF2-40B4-BE49-F238E27FC236}">
                    <a16:creationId xmlns:a16="http://schemas.microsoft.com/office/drawing/2014/main" id="{85656C4E-FCEC-48F4-89E6-71D750D91F7D}"/>
                  </a:ext>
                </a:extLst>
              </p:cNvPr>
              <p:cNvSpPr>
                <a:spLocks noChangeArrowheads="1"/>
              </p:cNvSpPr>
              <p:nvPr/>
            </p:nvSpPr>
            <p:spPr bwMode="auto">
              <a:xfrm>
                <a:off x="10484154" y="3397677"/>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0" name="Freeform 328">
                <a:extLst>
                  <a:ext uri="{FF2B5EF4-FFF2-40B4-BE49-F238E27FC236}">
                    <a16:creationId xmlns:a16="http://schemas.microsoft.com/office/drawing/2014/main" id="{1BCE4140-8311-4463-A87E-83571CDA7934}"/>
                  </a:ext>
                </a:extLst>
              </p:cNvPr>
              <p:cNvSpPr>
                <a:spLocks/>
              </p:cNvSpPr>
              <p:nvPr/>
            </p:nvSpPr>
            <p:spPr bwMode="auto">
              <a:xfrm>
                <a:off x="10484154" y="339767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1" name="Freeform 329">
                <a:extLst>
                  <a:ext uri="{FF2B5EF4-FFF2-40B4-BE49-F238E27FC236}">
                    <a16:creationId xmlns:a16="http://schemas.microsoft.com/office/drawing/2014/main" id="{F30EB6DA-B312-4536-AFFC-229F31E450E7}"/>
                  </a:ext>
                </a:extLst>
              </p:cNvPr>
              <p:cNvSpPr>
                <a:spLocks/>
              </p:cNvSpPr>
              <p:nvPr/>
            </p:nvSpPr>
            <p:spPr bwMode="auto">
              <a:xfrm>
                <a:off x="8564209" y="3353456"/>
                <a:ext cx="3615098" cy="1680413"/>
              </a:xfrm>
              <a:custGeom>
                <a:avLst/>
                <a:gdLst>
                  <a:gd name="T0" fmla="*/ 617 w 1138"/>
                  <a:gd name="T1" fmla="*/ 12 h 530"/>
                  <a:gd name="T2" fmla="*/ 573 w 1138"/>
                  <a:gd name="T3" fmla="*/ 24 h 530"/>
                  <a:gd name="T4" fmla="*/ 546 w 1138"/>
                  <a:gd name="T5" fmla="*/ 28 h 530"/>
                  <a:gd name="T6" fmla="*/ 510 w 1138"/>
                  <a:gd name="T7" fmla="*/ 38 h 530"/>
                  <a:gd name="T8" fmla="*/ 461 w 1138"/>
                  <a:gd name="T9" fmla="*/ 49 h 530"/>
                  <a:gd name="T10" fmla="*/ 441 w 1138"/>
                  <a:gd name="T11" fmla="*/ 52 h 530"/>
                  <a:gd name="T12" fmla="*/ 416 w 1138"/>
                  <a:gd name="T13" fmla="*/ 60 h 530"/>
                  <a:gd name="T14" fmla="*/ 423 w 1138"/>
                  <a:gd name="T15" fmla="*/ 75 h 530"/>
                  <a:gd name="T16" fmla="*/ 439 w 1138"/>
                  <a:gd name="T17" fmla="*/ 93 h 530"/>
                  <a:gd name="T18" fmla="*/ 423 w 1138"/>
                  <a:gd name="T19" fmla="*/ 93 h 530"/>
                  <a:gd name="T20" fmla="*/ 411 w 1138"/>
                  <a:gd name="T21" fmla="*/ 116 h 530"/>
                  <a:gd name="T22" fmla="*/ 390 w 1138"/>
                  <a:gd name="T23" fmla="*/ 132 h 530"/>
                  <a:gd name="T24" fmla="*/ 429 w 1138"/>
                  <a:gd name="T25" fmla="*/ 158 h 530"/>
                  <a:gd name="T26" fmla="*/ 380 w 1138"/>
                  <a:gd name="T27" fmla="*/ 178 h 530"/>
                  <a:gd name="T28" fmla="*/ 338 w 1138"/>
                  <a:gd name="T29" fmla="*/ 168 h 530"/>
                  <a:gd name="T30" fmla="*/ 281 w 1138"/>
                  <a:gd name="T31" fmla="*/ 166 h 530"/>
                  <a:gd name="T32" fmla="*/ 232 w 1138"/>
                  <a:gd name="T33" fmla="*/ 173 h 530"/>
                  <a:gd name="T34" fmla="*/ 169 w 1138"/>
                  <a:gd name="T35" fmla="*/ 151 h 530"/>
                  <a:gd name="T36" fmla="*/ 138 w 1138"/>
                  <a:gd name="T37" fmla="*/ 150 h 530"/>
                  <a:gd name="T38" fmla="*/ 101 w 1138"/>
                  <a:gd name="T39" fmla="*/ 158 h 530"/>
                  <a:gd name="T40" fmla="*/ 63 w 1138"/>
                  <a:gd name="T41" fmla="*/ 191 h 530"/>
                  <a:gd name="T42" fmla="*/ 28 w 1138"/>
                  <a:gd name="T43" fmla="*/ 191 h 530"/>
                  <a:gd name="T44" fmla="*/ 11 w 1138"/>
                  <a:gd name="T45" fmla="*/ 226 h 530"/>
                  <a:gd name="T46" fmla="*/ 39 w 1138"/>
                  <a:gd name="T47" fmla="*/ 280 h 530"/>
                  <a:gd name="T48" fmla="*/ 66 w 1138"/>
                  <a:gd name="T49" fmla="*/ 325 h 530"/>
                  <a:gd name="T50" fmla="*/ 93 w 1138"/>
                  <a:gd name="T51" fmla="*/ 326 h 530"/>
                  <a:gd name="T52" fmla="*/ 182 w 1138"/>
                  <a:gd name="T53" fmla="*/ 319 h 530"/>
                  <a:gd name="T54" fmla="*/ 203 w 1138"/>
                  <a:gd name="T55" fmla="*/ 384 h 530"/>
                  <a:gd name="T56" fmla="*/ 136 w 1138"/>
                  <a:gd name="T57" fmla="*/ 369 h 530"/>
                  <a:gd name="T58" fmla="*/ 130 w 1138"/>
                  <a:gd name="T59" fmla="*/ 400 h 530"/>
                  <a:gd name="T60" fmla="*/ 141 w 1138"/>
                  <a:gd name="T61" fmla="*/ 446 h 530"/>
                  <a:gd name="T62" fmla="*/ 169 w 1138"/>
                  <a:gd name="T63" fmla="*/ 462 h 530"/>
                  <a:gd name="T64" fmla="*/ 245 w 1138"/>
                  <a:gd name="T65" fmla="*/ 499 h 530"/>
                  <a:gd name="T66" fmla="*/ 342 w 1138"/>
                  <a:gd name="T67" fmla="*/ 354 h 530"/>
                  <a:gd name="T68" fmla="*/ 359 w 1138"/>
                  <a:gd name="T69" fmla="*/ 359 h 530"/>
                  <a:gd name="T70" fmla="*/ 374 w 1138"/>
                  <a:gd name="T71" fmla="*/ 344 h 530"/>
                  <a:gd name="T72" fmla="*/ 374 w 1138"/>
                  <a:gd name="T73" fmla="*/ 350 h 530"/>
                  <a:gd name="T74" fmla="*/ 434 w 1138"/>
                  <a:gd name="T75" fmla="*/ 428 h 530"/>
                  <a:gd name="T76" fmla="*/ 530 w 1138"/>
                  <a:gd name="T77" fmla="*/ 431 h 530"/>
                  <a:gd name="T78" fmla="*/ 555 w 1138"/>
                  <a:gd name="T79" fmla="*/ 482 h 530"/>
                  <a:gd name="T80" fmla="*/ 602 w 1138"/>
                  <a:gd name="T81" fmla="*/ 510 h 530"/>
                  <a:gd name="T82" fmla="*/ 632 w 1138"/>
                  <a:gd name="T83" fmla="*/ 511 h 530"/>
                  <a:gd name="T84" fmla="*/ 707 w 1138"/>
                  <a:gd name="T85" fmla="*/ 457 h 530"/>
                  <a:gd name="T86" fmla="*/ 799 w 1138"/>
                  <a:gd name="T87" fmla="*/ 448 h 530"/>
                  <a:gd name="T88" fmla="*/ 853 w 1138"/>
                  <a:gd name="T89" fmla="*/ 451 h 530"/>
                  <a:gd name="T90" fmla="*/ 924 w 1138"/>
                  <a:gd name="T91" fmla="*/ 455 h 530"/>
                  <a:gd name="T92" fmla="*/ 967 w 1138"/>
                  <a:gd name="T93" fmla="*/ 444 h 530"/>
                  <a:gd name="T94" fmla="*/ 952 w 1138"/>
                  <a:gd name="T95" fmla="*/ 378 h 530"/>
                  <a:gd name="T96" fmla="*/ 1017 w 1138"/>
                  <a:gd name="T97" fmla="*/ 368 h 530"/>
                  <a:gd name="T98" fmla="*/ 1112 w 1138"/>
                  <a:gd name="T99" fmla="*/ 257 h 530"/>
                  <a:gd name="T100" fmla="*/ 1120 w 1138"/>
                  <a:gd name="T101" fmla="*/ 224 h 530"/>
                  <a:gd name="T102" fmla="*/ 1086 w 1138"/>
                  <a:gd name="T103" fmla="*/ 207 h 530"/>
                  <a:gd name="T104" fmla="*/ 1038 w 1138"/>
                  <a:gd name="T105" fmla="*/ 168 h 530"/>
                  <a:gd name="T106" fmla="*/ 989 w 1138"/>
                  <a:gd name="T107" fmla="*/ 177 h 530"/>
                  <a:gd name="T108" fmla="*/ 965 w 1138"/>
                  <a:gd name="T109" fmla="*/ 166 h 530"/>
                  <a:gd name="T110" fmla="*/ 923 w 1138"/>
                  <a:gd name="T111" fmla="*/ 137 h 530"/>
                  <a:gd name="T112" fmla="*/ 783 w 1138"/>
                  <a:gd name="T113" fmla="*/ 71 h 530"/>
                  <a:gd name="T114" fmla="*/ 733 w 1138"/>
                  <a:gd name="T115" fmla="*/ 55 h 530"/>
                  <a:gd name="T116" fmla="*/ 693 w 1138"/>
                  <a:gd name="T117" fmla="*/ 46 h 530"/>
                  <a:gd name="T118" fmla="*/ 685 w 1138"/>
                  <a:gd name="T119" fmla="*/ 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530">
                    <a:moveTo>
                      <a:pt x="644" y="0"/>
                    </a:moveTo>
                    <a:cubicBezTo>
                      <a:pt x="644" y="0"/>
                      <a:pt x="644" y="0"/>
                      <a:pt x="644" y="0"/>
                    </a:cubicBezTo>
                    <a:cubicBezTo>
                      <a:pt x="644" y="0"/>
                      <a:pt x="643" y="0"/>
                      <a:pt x="643" y="0"/>
                    </a:cubicBezTo>
                    <a:cubicBezTo>
                      <a:pt x="642" y="0"/>
                      <a:pt x="642" y="0"/>
                      <a:pt x="642" y="0"/>
                    </a:cubicBezTo>
                    <a:cubicBezTo>
                      <a:pt x="642" y="0"/>
                      <a:pt x="642" y="0"/>
                      <a:pt x="642" y="0"/>
                    </a:cubicBezTo>
                    <a:cubicBezTo>
                      <a:pt x="641" y="0"/>
                      <a:pt x="641" y="0"/>
                      <a:pt x="641" y="0"/>
                    </a:cubicBezTo>
                    <a:cubicBezTo>
                      <a:pt x="640" y="1"/>
                      <a:pt x="640" y="1"/>
                      <a:pt x="640" y="1"/>
                    </a:cubicBezTo>
                    <a:cubicBezTo>
                      <a:pt x="639" y="1"/>
                      <a:pt x="639" y="1"/>
                      <a:pt x="638" y="1"/>
                    </a:cubicBezTo>
                    <a:cubicBezTo>
                      <a:pt x="638" y="1"/>
                      <a:pt x="638" y="1"/>
                      <a:pt x="638" y="1"/>
                    </a:cubicBezTo>
                    <a:cubicBezTo>
                      <a:pt x="637" y="1"/>
                      <a:pt x="637" y="1"/>
                      <a:pt x="637" y="1"/>
                    </a:cubicBezTo>
                    <a:cubicBezTo>
                      <a:pt x="637" y="2"/>
                      <a:pt x="636" y="2"/>
                      <a:pt x="635" y="2"/>
                    </a:cubicBezTo>
                    <a:cubicBezTo>
                      <a:pt x="634" y="2"/>
                      <a:pt x="632" y="1"/>
                      <a:pt x="631" y="1"/>
                    </a:cubicBezTo>
                    <a:cubicBezTo>
                      <a:pt x="631" y="0"/>
                      <a:pt x="631" y="0"/>
                      <a:pt x="631" y="0"/>
                    </a:cubicBezTo>
                    <a:cubicBezTo>
                      <a:pt x="631" y="0"/>
                      <a:pt x="630" y="0"/>
                      <a:pt x="630" y="0"/>
                    </a:cubicBezTo>
                    <a:cubicBezTo>
                      <a:pt x="629" y="1"/>
                      <a:pt x="629" y="2"/>
                      <a:pt x="628" y="3"/>
                    </a:cubicBezTo>
                    <a:cubicBezTo>
                      <a:pt x="627" y="6"/>
                      <a:pt x="624" y="8"/>
                      <a:pt x="620" y="9"/>
                    </a:cubicBezTo>
                    <a:cubicBezTo>
                      <a:pt x="619" y="10"/>
                      <a:pt x="618" y="11"/>
                      <a:pt x="618" y="11"/>
                    </a:cubicBezTo>
                    <a:cubicBezTo>
                      <a:pt x="617" y="12"/>
                      <a:pt x="617" y="12"/>
                      <a:pt x="617" y="12"/>
                    </a:cubicBezTo>
                    <a:cubicBezTo>
                      <a:pt x="615" y="13"/>
                      <a:pt x="614" y="13"/>
                      <a:pt x="613" y="14"/>
                    </a:cubicBezTo>
                    <a:cubicBezTo>
                      <a:pt x="612" y="15"/>
                      <a:pt x="611" y="15"/>
                      <a:pt x="609" y="16"/>
                    </a:cubicBezTo>
                    <a:cubicBezTo>
                      <a:pt x="609" y="16"/>
                      <a:pt x="609" y="16"/>
                      <a:pt x="609" y="16"/>
                    </a:cubicBezTo>
                    <a:cubicBezTo>
                      <a:pt x="608" y="16"/>
                      <a:pt x="607" y="16"/>
                      <a:pt x="606" y="15"/>
                    </a:cubicBezTo>
                    <a:cubicBezTo>
                      <a:pt x="605" y="15"/>
                      <a:pt x="605" y="15"/>
                      <a:pt x="605" y="15"/>
                    </a:cubicBezTo>
                    <a:cubicBezTo>
                      <a:pt x="604" y="15"/>
                      <a:pt x="604" y="15"/>
                      <a:pt x="604" y="15"/>
                    </a:cubicBezTo>
                    <a:cubicBezTo>
                      <a:pt x="604" y="15"/>
                      <a:pt x="604" y="15"/>
                      <a:pt x="604" y="15"/>
                    </a:cubicBezTo>
                    <a:cubicBezTo>
                      <a:pt x="604" y="15"/>
                      <a:pt x="604" y="15"/>
                      <a:pt x="604" y="15"/>
                    </a:cubicBezTo>
                    <a:cubicBezTo>
                      <a:pt x="603" y="17"/>
                      <a:pt x="603" y="17"/>
                      <a:pt x="603" y="17"/>
                    </a:cubicBezTo>
                    <a:cubicBezTo>
                      <a:pt x="586" y="20"/>
                      <a:pt x="586" y="20"/>
                      <a:pt x="586" y="20"/>
                    </a:cubicBezTo>
                    <a:cubicBezTo>
                      <a:pt x="585" y="20"/>
                      <a:pt x="584" y="20"/>
                      <a:pt x="583" y="21"/>
                    </a:cubicBezTo>
                    <a:cubicBezTo>
                      <a:pt x="590" y="25"/>
                      <a:pt x="590" y="25"/>
                      <a:pt x="590" y="25"/>
                    </a:cubicBezTo>
                    <a:cubicBezTo>
                      <a:pt x="576" y="23"/>
                      <a:pt x="576" y="23"/>
                      <a:pt x="576" y="23"/>
                    </a:cubicBezTo>
                    <a:cubicBezTo>
                      <a:pt x="575" y="23"/>
                      <a:pt x="575" y="23"/>
                      <a:pt x="575" y="23"/>
                    </a:cubicBezTo>
                    <a:cubicBezTo>
                      <a:pt x="574" y="23"/>
                      <a:pt x="574" y="23"/>
                      <a:pt x="574" y="23"/>
                    </a:cubicBezTo>
                    <a:cubicBezTo>
                      <a:pt x="574" y="23"/>
                      <a:pt x="574" y="23"/>
                      <a:pt x="574" y="23"/>
                    </a:cubicBezTo>
                    <a:cubicBezTo>
                      <a:pt x="574" y="23"/>
                      <a:pt x="574" y="23"/>
                      <a:pt x="574" y="23"/>
                    </a:cubicBezTo>
                    <a:cubicBezTo>
                      <a:pt x="573" y="24"/>
                      <a:pt x="573" y="24"/>
                      <a:pt x="573" y="24"/>
                    </a:cubicBezTo>
                    <a:cubicBezTo>
                      <a:pt x="572" y="25"/>
                      <a:pt x="571" y="25"/>
                      <a:pt x="571" y="25"/>
                    </a:cubicBezTo>
                    <a:cubicBezTo>
                      <a:pt x="570" y="25"/>
                      <a:pt x="570" y="25"/>
                      <a:pt x="570" y="25"/>
                    </a:cubicBezTo>
                    <a:cubicBezTo>
                      <a:pt x="570" y="25"/>
                      <a:pt x="570" y="25"/>
                      <a:pt x="570" y="25"/>
                    </a:cubicBezTo>
                    <a:cubicBezTo>
                      <a:pt x="569" y="25"/>
                      <a:pt x="569" y="25"/>
                      <a:pt x="569" y="25"/>
                    </a:cubicBezTo>
                    <a:cubicBezTo>
                      <a:pt x="569" y="25"/>
                      <a:pt x="569" y="25"/>
                      <a:pt x="569" y="25"/>
                    </a:cubicBezTo>
                    <a:cubicBezTo>
                      <a:pt x="569" y="25"/>
                      <a:pt x="569" y="25"/>
                      <a:pt x="569" y="25"/>
                    </a:cubicBezTo>
                    <a:cubicBezTo>
                      <a:pt x="569" y="25"/>
                      <a:pt x="569" y="25"/>
                      <a:pt x="569" y="25"/>
                    </a:cubicBezTo>
                    <a:cubicBezTo>
                      <a:pt x="568" y="25"/>
                      <a:pt x="568" y="25"/>
                      <a:pt x="568" y="25"/>
                    </a:cubicBezTo>
                    <a:cubicBezTo>
                      <a:pt x="567" y="25"/>
                      <a:pt x="566" y="25"/>
                      <a:pt x="565" y="25"/>
                    </a:cubicBezTo>
                    <a:cubicBezTo>
                      <a:pt x="564" y="25"/>
                      <a:pt x="564" y="25"/>
                      <a:pt x="564" y="25"/>
                    </a:cubicBezTo>
                    <a:cubicBezTo>
                      <a:pt x="562" y="26"/>
                      <a:pt x="562" y="26"/>
                      <a:pt x="562" y="26"/>
                    </a:cubicBezTo>
                    <a:cubicBezTo>
                      <a:pt x="561" y="26"/>
                      <a:pt x="559" y="26"/>
                      <a:pt x="558" y="27"/>
                    </a:cubicBezTo>
                    <a:cubicBezTo>
                      <a:pt x="553" y="28"/>
                      <a:pt x="553" y="28"/>
                      <a:pt x="553" y="28"/>
                    </a:cubicBezTo>
                    <a:cubicBezTo>
                      <a:pt x="553" y="28"/>
                      <a:pt x="553" y="28"/>
                      <a:pt x="552" y="28"/>
                    </a:cubicBezTo>
                    <a:cubicBezTo>
                      <a:pt x="552" y="28"/>
                      <a:pt x="552" y="28"/>
                      <a:pt x="551" y="28"/>
                    </a:cubicBezTo>
                    <a:cubicBezTo>
                      <a:pt x="546" y="28"/>
                      <a:pt x="546" y="28"/>
                      <a:pt x="546" y="28"/>
                    </a:cubicBezTo>
                    <a:cubicBezTo>
                      <a:pt x="546" y="28"/>
                      <a:pt x="546" y="28"/>
                      <a:pt x="546" y="28"/>
                    </a:cubicBezTo>
                    <a:cubicBezTo>
                      <a:pt x="546" y="28"/>
                      <a:pt x="546" y="28"/>
                      <a:pt x="546" y="28"/>
                    </a:cubicBezTo>
                    <a:cubicBezTo>
                      <a:pt x="538" y="28"/>
                      <a:pt x="538" y="28"/>
                      <a:pt x="538" y="28"/>
                    </a:cubicBezTo>
                    <a:cubicBezTo>
                      <a:pt x="536" y="28"/>
                      <a:pt x="536" y="28"/>
                      <a:pt x="536" y="28"/>
                    </a:cubicBezTo>
                    <a:cubicBezTo>
                      <a:pt x="536" y="28"/>
                      <a:pt x="536" y="29"/>
                      <a:pt x="535" y="29"/>
                    </a:cubicBezTo>
                    <a:cubicBezTo>
                      <a:pt x="531" y="32"/>
                      <a:pt x="531" y="32"/>
                      <a:pt x="531" y="32"/>
                    </a:cubicBezTo>
                    <a:cubicBezTo>
                      <a:pt x="536" y="36"/>
                      <a:pt x="536" y="36"/>
                      <a:pt x="536" y="36"/>
                    </a:cubicBezTo>
                    <a:cubicBezTo>
                      <a:pt x="529" y="33"/>
                      <a:pt x="529" y="33"/>
                      <a:pt x="529" y="33"/>
                    </a:cubicBezTo>
                    <a:cubicBezTo>
                      <a:pt x="529" y="33"/>
                      <a:pt x="529" y="33"/>
                      <a:pt x="529" y="33"/>
                    </a:cubicBezTo>
                    <a:cubicBezTo>
                      <a:pt x="528" y="34"/>
                      <a:pt x="528" y="35"/>
                      <a:pt x="527" y="36"/>
                    </a:cubicBezTo>
                    <a:cubicBezTo>
                      <a:pt x="524" y="40"/>
                      <a:pt x="524" y="40"/>
                      <a:pt x="524" y="40"/>
                    </a:cubicBezTo>
                    <a:cubicBezTo>
                      <a:pt x="521" y="39"/>
                      <a:pt x="521" y="39"/>
                      <a:pt x="521" y="39"/>
                    </a:cubicBezTo>
                    <a:cubicBezTo>
                      <a:pt x="520" y="37"/>
                      <a:pt x="520" y="37"/>
                      <a:pt x="520" y="37"/>
                    </a:cubicBezTo>
                    <a:cubicBezTo>
                      <a:pt x="519" y="38"/>
                      <a:pt x="519" y="38"/>
                      <a:pt x="519" y="38"/>
                    </a:cubicBezTo>
                    <a:cubicBezTo>
                      <a:pt x="518" y="39"/>
                      <a:pt x="518" y="39"/>
                      <a:pt x="518" y="39"/>
                    </a:cubicBezTo>
                    <a:cubicBezTo>
                      <a:pt x="516" y="39"/>
                      <a:pt x="516" y="39"/>
                      <a:pt x="516" y="39"/>
                    </a:cubicBezTo>
                    <a:cubicBezTo>
                      <a:pt x="515" y="39"/>
                      <a:pt x="514" y="39"/>
                      <a:pt x="513" y="39"/>
                    </a:cubicBezTo>
                    <a:cubicBezTo>
                      <a:pt x="511" y="39"/>
                      <a:pt x="511" y="39"/>
                      <a:pt x="511" y="39"/>
                    </a:cubicBezTo>
                    <a:cubicBezTo>
                      <a:pt x="511" y="39"/>
                      <a:pt x="511" y="39"/>
                      <a:pt x="511" y="39"/>
                    </a:cubicBezTo>
                    <a:cubicBezTo>
                      <a:pt x="511" y="39"/>
                      <a:pt x="510" y="39"/>
                      <a:pt x="510" y="38"/>
                    </a:cubicBezTo>
                    <a:cubicBezTo>
                      <a:pt x="509" y="38"/>
                      <a:pt x="509" y="38"/>
                      <a:pt x="509" y="38"/>
                    </a:cubicBezTo>
                    <a:cubicBezTo>
                      <a:pt x="509" y="38"/>
                      <a:pt x="509" y="39"/>
                      <a:pt x="508" y="39"/>
                    </a:cubicBezTo>
                    <a:cubicBezTo>
                      <a:pt x="506" y="39"/>
                      <a:pt x="506" y="39"/>
                      <a:pt x="506" y="39"/>
                    </a:cubicBezTo>
                    <a:cubicBezTo>
                      <a:pt x="504" y="40"/>
                      <a:pt x="504" y="40"/>
                      <a:pt x="504" y="40"/>
                    </a:cubicBezTo>
                    <a:cubicBezTo>
                      <a:pt x="504" y="40"/>
                      <a:pt x="503" y="40"/>
                      <a:pt x="503" y="40"/>
                    </a:cubicBezTo>
                    <a:cubicBezTo>
                      <a:pt x="502" y="40"/>
                      <a:pt x="502" y="40"/>
                      <a:pt x="502" y="40"/>
                    </a:cubicBezTo>
                    <a:cubicBezTo>
                      <a:pt x="502" y="40"/>
                      <a:pt x="502" y="40"/>
                      <a:pt x="502" y="40"/>
                    </a:cubicBezTo>
                    <a:cubicBezTo>
                      <a:pt x="486" y="43"/>
                      <a:pt x="486" y="43"/>
                      <a:pt x="486" y="43"/>
                    </a:cubicBezTo>
                    <a:cubicBezTo>
                      <a:pt x="486" y="43"/>
                      <a:pt x="486" y="43"/>
                      <a:pt x="486" y="43"/>
                    </a:cubicBezTo>
                    <a:cubicBezTo>
                      <a:pt x="486" y="43"/>
                      <a:pt x="486" y="43"/>
                      <a:pt x="486" y="43"/>
                    </a:cubicBezTo>
                    <a:cubicBezTo>
                      <a:pt x="485" y="44"/>
                      <a:pt x="485" y="44"/>
                      <a:pt x="485" y="44"/>
                    </a:cubicBezTo>
                    <a:cubicBezTo>
                      <a:pt x="474" y="46"/>
                      <a:pt x="474" y="46"/>
                      <a:pt x="474" y="46"/>
                    </a:cubicBezTo>
                    <a:cubicBezTo>
                      <a:pt x="472" y="46"/>
                      <a:pt x="472" y="46"/>
                      <a:pt x="472" y="46"/>
                    </a:cubicBezTo>
                    <a:cubicBezTo>
                      <a:pt x="471" y="46"/>
                      <a:pt x="471" y="46"/>
                      <a:pt x="471" y="46"/>
                    </a:cubicBezTo>
                    <a:cubicBezTo>
                      <a:pt x="470" y="46"/>
                      <a:pt x="470" y="46"/>
                      <a:pt x="470" y="46"/>
                    </a:cubicBezTo>
                    <a:cubicBezTo>
                      <a:pt x="470" y="47"/>
                      <a:pt x="470" y="47"/>
                      <a:pt x="470" y="47"/>
                    </a:cubicBezTo>
                    <a:cubicBezTo>
                      <a:pt x="468" y="47"/>
                      <a:pt x="468" y="47"/>
                      <a:pt x="468" y="47"/>
                    </a:cubicBezTo>
                    <a:cubicBezTo>
                      <a:pt x="461" y="49"/>
                      <a:pt x="461" y="49"/>
                      <a:pt x="461" y="49"/>
                    </a:cubicBezTo>
                    <a:cubicBezTo>
                      <a:pt x="461" y="49"/>
                      <a:pt x="461" y="49"/>
                      <a:pt x="461" y="49"/>
                    </a:cubicBezTo>
                    <a:cubicBezTo>
                      <a:pt x="460" y="49"/>
                      <a:pt x="460" y="49"/>
                      <a:pt x="460" y="49"/>
                    </a:cubicBezTo>
                    <a:cubicBezTo>
                      <a:pt x="459" y="49"/>
                      <a:pt x="458" y="50"/>
                      <a:pt x="457" y="50"/>
                    </a:cubicBezTo>
                    <a:cubicBezTo>
                      <a:pt x="457" y="50"/>
                      <a:pt x="457" y="50"/>
                      <a:pt x="457" y="50"/>
                    </a:cubicBezTo>
                    <a:cubicBezTo>
                      <a:pt x="457" y="50"/>
                      <a:pt x="457" y="50"/>
                      <a:pt x="457" y="50"/>
                    </a:cubicBezTo>
                    <a:cubicBezTo>
                      <a:pt x="455" y="51"/>
                      <a:pt x="455" y="51"/>
                      <a:pt x="455" y="51"/>
                    </a:cubicBezTo>
                    <a:cubicBezTo>
                      <a:pt x="453" y="54"/>
                      <a:pt x="453" y="54"/>
                      <a:pt x="453" y="54"/>
                    </a:cubicBezTo>
                    <a:cubicBezTo>
                      <a:pt x="452" y="55"/>
                      <a:pt x="452" y="55"/>
                      <a:pt x="452" y="55"/>
                    </a:cubicBezTo>
                    <a:cubicBezTo>
                      <a:pt x="449" y="57"/>
                      <a:pt x="449" y="57"/>
                      <a:pt x="449" y="57"/>
                    </a:cubicBezTo>
                    <a:cubicBezTo>
                      <a:pt x="449" y="56"/>
                      <a:pt x="449" y="56"/>
                      <a:pt x="449" y="56"/>
                    </a:cubicBezTo>
                    <a:cubicBezTo>
                      <a:pt x="442" y="62"/>
                      <a:pt x="442" y="62"/>
                      <a:pt x="442" y="62"/>
                    </a:cubicBezTo>
                    <a:cubicBezTo>
                      <a:pt x="446" y="54"/>
                      <a:pt x="446" y="54"/>
                      <a:pt x="446" y="54"/>
                    </a:cubicBezTo>
                    <a:cubicBezTo>
                      <a:pt x="446" y="54"/>
                      <a:pt x="446" y="54"/>
                      <a:pt x="446" y="54"/>
                    </a:cubicBezTo>
                    <a:cubicBezTo>
                      <a:pt x="445" y="53"/>
                      <a:pt x="445" y="53"/>
                      <a:pt x="445" y="53"/>
                    </a:cubicBezTo>
                    <a:cubicBezTo>
                      <a:pt x="444" y="52"/>
                      <a:pt x="444" y="52"/>
                      <a:pt x="444" y="52"/>
                    </a:cubicBezTo>
                    <a:cubicBezTo>
                      <a:pt x="444" y="52"/>
                      <a:pt x="444" y="52"/>
                      <a:pt x="444" y="52"/>
                    </a:cubicBezTo>
                    <a:cubicBezTo>
                      <a:pt x="443" y="52"/>
                      <a:pt x="443" y="52"/>
                      <a:pt x="443" y="52"/>
                    </a:cubicBezTo>
                    <a:cubicBezTo>
                      <a:pt x="442" y="52"/>
                      <a:pt x="441" y="52"/>
                      <a:pt x="441" y="52"/>
                    </a:cubicBezTo>
                    <a:cubicBezTo>
                      <a:pt x="439" y="60"/>
                      <a:pt x="439" y="60"/>
                      <a:pt x="439" y="60"/>
                    </a:cubicBezTo>
                    <a:cubicBezTo>
                      <a:pt x="439" y="52"/>
                      <a:pt x="439" y="52"/>
                      <a:pt x="439" y="52"/>
                    </a:cubicBezTo>
                    <a:cubicBezTo>
                      <a:pt x="438" y="52"/>
                      <a:pt x="438" y="52"/>
                      <a:pt x="438" y="52"/>
                    </a:cubicBezTo>
                    <a:cubicBezTo>
                      <a:pt x="437" y="53"/>
                      <a:pt x="437" y="53"/>
                      <a:pt x="437" y="53"/>
                    </a:cubicBezTo>
                    <a:cubicBezTo>
                      <a:pt x="431" y="53"/>
                      <a:pt x="431" y="53"/>
                      <a:pt x="431" y="53"/>
                    </a:cubicBezTo>
                    <a:cubicBezTo>
                      <a:pt x="431" y="53"/>
                      <a:pt x="430" y="53"/>
                      <a:pt x="430" y="53"/>
                    </a:cubicBezTo>
                    <a:cubicBezTo>
                      <a:pt x="426" y="53"/>
                      <a:pt x="424" y="52"/>
                      <a:pt x="420" y="51"/>
                    </a:cubicBezTo>
                    <a:cubicBezTo>
                      <a:pt x="419" y="51"/>
                      <a:pt x="419" y="51"/>
                      <a:pt x="419" y="51"/>
                    </a:cubicBezTo>
                    <a:cubicBezTo>
                      <a:pt x="419" y="51"/>
                      <a:pt x="419" y="51"/>
                      <a:pt x="419" y="51"/>
                    </a:cubicBezTo>
                    <a:cubicBezTo>
                      <a:pt x="419" y="51"/>
                      <a:pt x="418" y="51"/>
                      <a:pt x="418" y="51"/>
                    </a:cubicBezTo>
                    <a:cubicBezTo>
                      <a:pt x="417" y="51"/>
                      <a:pt x="415" y="53"/>
                      <a:pt x="415" y="53"/>
                    </a:cubicBezTo>
                    <a:cubicBezTo>
                      <a:pt x="414" y="53"/>
                      <a:pt x="414" y="53"/>
                      <a:pt x="414" y="53"/>
                    </a:cubicBezTo>
                    <a:cubicBezTo>
                      <a:pt x="417" y="55"/>
                      <a:pt x="417" y="55"/>
                      <a:pt x="417" y="55"/>
                    </a:cubicBezTo>
                    <a:cubicBezTo>
                      <a:pt x="417" y="56"/>
                      <a:pt x="417" y="56"/>
                      <a:pt x="417" y="57"/>
                    </a:cubicBezTo>
                    <a:cubicBezTo>
                      <a:pt x="417" y="58"/>
                      <a:pt x="417" y="58"/>
                      <a:pt x="417" y="58"/>
                    </a:cubicBezTo>
                    <a:cubicBezTo>
                      <a:pt x="417" y="59"/>
                      <a:pt x="417" y="59"/>
                      <a:pt x="417" y="59"/>
                    </a:cubicBezTo>
                    <a:cubicBezTo>
                      <a:pt x="417" y="60"/>
                      <a:pt x="417" y="60"/>
                      <a:pt x="417" y="60"/>
                    </a:cubicBezTo>
                    <a:cubicBezTo>
                      <a:pt x="416" y="60"/>
                      <a:pt x="416" y="60"/>
                      <a:pt x="416" y="60"/>
                    </a:cubicBezTo>
                    <a:cubicBezTo>
                      <a:pt x="414" y="63"/>
                      <a:pt x="414" y="63"/>
                      <a:pt x="414" y="63"/>
                    </a:cubicBezTo>
                    <a:cubicBezTo>
                      <a:pt x="416" y="63"/>
                      <a:pt x="416" y="63"/>
                      <a:pt x="416" y="63"/>
                    </a:cubicBezTo>
                    <a:cubicBezTo>
                      <a:pt x="417" y="63"/>
                      <a:pt x="418" y="62"/>
                      <a:pt x="419" y="62"/>
                    </a:cubicBezTo>
                    <a:cubicBezTo>
                      <a:pt x="419" y="62"/>
                      <a:pt x="419" y="62"/>
                      <a:pt x="419" y="62"/>
                    </a:cubicBezTo>
                    <a:cubicBezTo>
                      <a:pt x="420" y="62"/>
                      <a:pt x="420" y="62"/>
                      <a:pt x="421" y="62"/>
                    </a:cubicBezTo>
                    <a:cubicBezTo>
                      <a:pt x="421" y="62"/>
                      <a:pt x="421" y="62"/>
                      <a:pt x="421" y="62"/>
                    </a:cubicBezTo>
                    <a:cubicBezTo>
                      <a:pt x="422" y="62"/>
                      <a:pt x="423" y="62"/>
                      <a:pt x="423" y="63"/>
                    </a:cubicBezTo>
                    <a:cubicBezTo>
                      <a:pt x="424" y="63"/>
                      <a:pt x="424" y="63"/>
                      <a:pt x="424" y="63"/>
                    </a:cubicBezTo>
                    <a:cubicBezTo>
                      <a:pt x="424" y="63"/>
                      <a:pt x="424" y="63"/>
                      <a:pt x="424" y="63"/>
                    </a:cubicBezTo>
                    <a:cubicBezTo>
                      <a:pt x="427" y="64"/>
                      <a:pt x="427" y="64"/>
                      <a:pt x="427" y="64"/>
                    </a:cubicBezTo>
                    <a:cubicBezTo>
                      <a:pt x="427" y="65"/>
                      <a:pt x="427" y="65"/>
                      <a:pt x="427" y="65"/>
                    </a:cubicBezTo>
                    <a:cubicBezTo>
                      <a:pt x="433" y="64"/>
                      <a:pt x="433" y="64"/>
                      <a:pt x="433" y="64"/>
                    </a:cubicBezTo>
                    <a:cubicBezTo>
                      <a:pt x="427" y="70"/>
                      <a:pt x="427" y="70"/>
                      <a:pt x="427" y="70"/>
                    </a:cubicBezTo>
                    <a:cubicBezTo>
                      <a:pt x="427" y="70"/>
                      <a:pt x="427" y="70"/>
                      <a:pt x="427" y="70"/>
                    </a:cubicBezTo>
                    <a:cubicBezTo>
                      <a:pt x="426" y="71"/>
                      <a:pt x="426" y="71"/>
                      <a:pt x="426" y="71"/>
                    </a:cubicBezTo>
                    <a:cubicBezTo>
                      <a:pt x="425" y="72"/>
                      <a:pt x="425" y="72"/>
                      <a:pt x="424" y="73"/>
                    </a:cubicBezTo>
                    <a:cubicBezTo>
                      <a:pt x="424" y="73"/>
                      <a:pt x="424" y="73"/>
                      <a:pt x="424" y="73"/>
                    </a:cubicBezTo>
                    <a:cubicBezTo>
                      <a:pt x="423" y="75"/>
                      <a:pt x="423" y="75"/>
                      <a:pt x="423" y="75"/>
                    </a:cubicBezTo>
                    <a:cubicBezTo>
                      <a:pt x="421" y="75"/>
                      <a:pt x="421" y="75"/>
                      <a:pt x="421" y="75"/>
                    </a:cubicBezTo>
                    <a:cubicBezTo>
                      <a:pt x="420" y="75"/>
                      <a:pt x="420" y="75"/>
                      <a:pt x="420" y="75"/>
                    </a:cubicBezTo>
                    <a:cubicBezTo>
                      <a:pt x="420" y="75"/>
                      <a:pt x="420" y="75"/>
                      <a:pt x="420" y="75"/>
                    </a:cubicBezTo>
                    <a:cubicBezTo>
                      <a:pt x="420" y="75"/>
                      <a:pt x="421" y="75"/>
                      <a:pt x="421" y="75"/>
                    </a:cubicBezTo>
                    <a:cubicBezTo>
                      <a:pt x="424" y="77"/>
                      <a:pt x="424" y="77"/>
                      <a:pt x="424" y="77"/>
                    </a:cubicBezTo>
                    <a:cubicBezTo>
                      <a:pt x="424" y="76"/>
                      <a:pt x="424" y="76"/>
                      <a:pt x="424" y="76"/>
                    </a:cubicBezTo>
                    <a:cubicBezTo>
                      <a:pt x="425" y="77"/>
                      <a:pt x="425" y="77"/>
                      <a:pt x="425" y="77"/>
                    </a:cubicBezTo>
                    <a:cubicBezTo>
                      <a:pt x="427" y="77"/>
                      <a:pt x="428" y="78"/>
                      <a:pt x="430" y="78"/>
                    </a:cubicBezTo>
                    <a:cubicBezTo>
                      <a:pt x="436" y="80"/>
                      <a:pt x="436" y="80"/>
                      <a:pt x="436" y="80"/>
                    </a:cubicBezTo>
                    <a:cubicBezTo>
                      <a:pt x="438" y="81"/>
                      <a:pt x="440" y="82"/>
                      <a:pt x="442" y="82"/>
                    </a:cubicBezTo>
                    <a:cubicBezTo>
                      <a:pt x="444" y="84"/>
                      <a:pt x="444" y="84"/>
                      <a:pt x="444" y="84"/>
                    </a:cubicBezTo>
                    <a:cubicBezTo>
                      <a:pt x="443" y="87"/>
                      <a:pt x="443" y="87"/>
                      <a:pt x="443" y="87"/>
                    </a:cubicBezTo>
                    <a:cubicBezTo>
                      <a:pt x="443" y="87"/>
                      <a:pt x="443" y="88"/>
                      <a:pt x="442" y="89"/>
                    </a:cubicBezTo>
                    <a:cubicBezTo>
                      <a:pt x="442" y="89"/>
                      <a:pt x="442" y="90"/>
                      <a:pt x="442" y="90"/>
                    </a:cubicBezTo>
                    <a:cubicBezTo>
                      <a:pt x="441" y="90"/>
                      <a:pt x="441" y="90"/>
                      <a:pt x="441" y="90"/>
                    </a:cubicBezTo>
                    <a:cubicBezTo>
                      <a:pt x="441" y="91"/>
                      <a:pt x="440" y="92"/>
                      <a:pt x="440" y="92"/>
                    </a:cubicBezTo>
                    <a:cubicBezTo>
                      <a:pt x="439" y="93"/>
                      <a:pt x="439" y="93"/>
                      <a:pt x="439" y="93"/>
                    </a:cubicBezTo>
                    <a:cubicBezTo>
                      <a:pt x="439" y="93"/>
                      <a:pt x="439" y="93"/>
                      <a:pt x="439" y="93"/>
                    </a:cubicBezTo>
                    <a:cubicBezTo>
                      <a:pt x="438" y="94"/>
                      <a:pt x="438" y="94"/>
                      <a:pt x="438" y="94"/>
                    </a:cubicBezTo>
                    <a:cubicBezTo>
                      <a:pt x="438" y="94"/>
                      <a:pt x="438" y="94"/>
                      <a:pt x="438" y="94"/>
                    </a:cubicBezTo>
                    <a:cubicBezTo>
                      <a:pt x="437" y="94"/>
                      <a:pt x="437" y="94"/>
                      <a:pt x="437" y="94"/>
                    </a:cubicBezTo>
                    <a:cubicBezTo>
                      <a:pt x="437" y="94"/>
                      <a:pt x="436" y="94"/>
                      <a:pt x="436" y="94"/>
                    </a:cubicBezTo>
                    <a:cubicBezTo>
                      <a:pt x="435" y="94"/>
                      <a:pt x="434" y="94"/>
                      <a:pt x="434" y="93"/>
                    </a:cubicBezTo>
                    <a:cubicBezTo>
                      <a:pt x="434" y="92"/>
                      <a:pt x="434" y="92"/>
                      <a:pt x="434" y="92"/>
                    </a:cubicBezTo>
                    <a:cubicBezTo>
                      <a:pt x="434" y="92"/>
                      <a:pt x="434" y="92"/>
                      <a:pt x="434" y="92"/>
                    </a:cubicBezTo>
                    <a:cubicBezTo>
                      <a:pt x="433" y="93"/>
                      <a:pt x="433" y="93"/>
                      <a:pt x="433" y="93"/>
                    </a:cubicBezTo>
                    <a:cubicBezTo>
                      <a:pt x="433" y="93"/>
                      <a:pt x="433" y="93"/>
                      <a:pt x="433" y="93"/>
                    </a:cubicBezTo>
                    <a:cubicBezTo>
                      <a:pt x="434" y="100"/>
                      <a:pt x="434" y="100"/>
                      <a:pt x="434" y="100"/>
                    </a:cubicBezTo>
                    <a:cubicBezTo>
                      <a:pt x="431" y="93"/>
                      <a:pt x="431" y="93"/>
                      <a:pt x="431" y="93"/>
                    </a:cubicBezTo>
                    <a:cubicBezTo>
                      <a:pt x="430" y="93"/>
                      <a:pt x="430" y="93"/>
                      <a:pt x="429" y="93"/>
                    </a:cubicBezTo>
                    <a:cubicBezTo>
                      <a:pt x="429" y="93"/>
                      <a:pt x="428" y="93"/>
                      <a:pt x="428" y="93"/>
                    </a:cubicBezTo>
                    <a:cubicBezTo>
                      <a:pt x="428" y="93"/>
                      <a:pt x="428" y="93"/>
                      <a:pt x="428" y="93"/>
                    </a:cubicBezTo>
                    <a:cubicBezTo>
                      <a:pt x="428" y="93"/>
                      <a:pt x="428" y="93"/>
                      <a:pt x="428" y="93"/>
                    </a:cubicBezTo>
                    <a:cubicBezTo>
                      <a:pt x="427" y="93"/>
                      <a:pt x="426" y="93"/>
                      <a:pt x="425" y="93"/>
                    </a:cubicBezTo>
                    <a:cubicBezTo>
                      <a:pt x="425" y="93"/>
                      <a:pt x="425" y="93"/>
                      <a:pt x="424" y="93"/>
                    </a:cubicBezTo>
                    <a:cubicBezTo>
                      <a:pt x="423" y="93"/>
                      <a:pt x="423" y="93"/>
                      <a:pt x="423" y="93"/>
                    </a:cubicBezTo>
                    <a:cubicBezTo>
                      <a:pt x="423" y="93"/>
                      <a:pt x="422" y="92"/>
                      <a:pt x="422" y="92"/>
                    </a:cubicBezTo>
                    <a:cubicBezTo>
                      <a:pt x="422" y="92"/>
                      <a:pt x="422" y="92"/>
                      <a:pt x="422" y="92"/>
                    </a:cubicBezTo>
                    <a:cubicBezTo>
                      <a:pt x="420" y="98"/>
                      <a:pt x="420" y="98"/>
                      <a:pt x="420" y="98"/>
                    </a:cubicBezTo>
                    <a:cubicBezTo>
                      <a:pt x="420" y="92"/>
                      <a:pt x="420" y="92"/>
                      <a:pt x="420" y="92"/>
                    </a:cubicBezTo>
                    <a:cubicBezTo>
                      <a:pt x="419" y="92"/>
                      <a:pt x="419" y="92"/>
                      <a:pt x="419" y="92"/>
                    </a:cubicBezTo>
                    <a:cubicBezTo>
                      <a:pt x="418" y="92"/>
                      <a:pt x="417" y="92"/>
                      <a:pt x="416" y="92"/>
                    </a:cubicBezTo>
                    <a:cubicBezTo>
                      <a:pt x="414" y="91"/>
                      <a:pt x="414" y="91"/>
                      <a:pt x="414" y="91"/>
                    </a:cubicBezTo>
                    <a:cubicBezTo>
                      <a:pt x="413" y="91"/>
                      <a:pt x="413" y="91"/>
                      <a:pt x="413" y="91"/>
                    </a:cubicBezTo>
                    <a:cubicBezTo>
                      <a:pt x="412" y="92"/>
                      <a:pt x="412" y="92"/>
                      <a:pt x="412" y="92"/>
                    </a:cubicBezTo>
                    <a:cubicBezTo>
                      <a:pt x="409" y="95"/>
                      <a:pt x="409" y="95"/>
                      <a:pt x="409" y="95"/>
                    </a:cubicBezTo>
                    <a:cubicBezTo>
                      <a:pt x="407" y="97"/>
                      <a:pt x="406" y="98"/>
                      <a:pt x="404" y="100"/>
                    </a:cubicBezTo>
                    <a:cubicBezTo>
                      <a:pt x="404" y="100"/>
                      <a:pt x="404" y="100"/>
                      <a:pt x="404" y="100"/>
                    </a:cubicBezTo>
                    <a:cubicBezTo>
                      <a:pt x="409" y="108"/>
                      <a:pt x="409" y="108"/>
                      <a:pt x="409" y="108"/>
                    </a:cubicBezTo>
                    <a:cubicBezTo>
                      <a:pt x="410" y="109"/>
                      <a:pt x="411" y="110"/>
                      <a:pt x="411" y="110"/>
                    </a:cubicBezTo>
                    <a:cubicBezTo>
                      <a:pt x="412" y="112"/>
                      <a:pt x="412" y="112"/>
                      <a:pt x="412" y="112"/>
                    </a:cubicBezTo>
                    <a:cubicBezTo>
                      <a:pt x="413" y="114"/>
                      <a:pt x="412" y="115"/>
                      <a:pt x="411" y="116"/>
                    </a:cubicBezTo>
                    <a:cubicBezTo>
                      <a:pt x="411" y="116"/>
                      <a:pt x="411" y="116"/>
                      <a:pt x="411" y="116"/>
                    </a:cubicBezTo>
                    <a:cubicBezTo>
                      <a:pt x="411" y="116"/>
                      <a:pt x="411" y="116"/>
                      <a:pt x="411" y="116"/>
                    </a:cubicBezTo>
                    <a:cubicBezTo>
                      <a:pt x="409" y="118"/>
                      <a:pt x="409" y="118"/>
                      <a:pt x="409" y="118"/>
                    </a:cubicBezTo>
                    <a:cubicBezTo>
                      <a:pt x="408" y="119"/>
                      <a:pt x="407" y="119"/>
                      <a:pt x="406" y="120"/>
                    </a:cubicBezTo>
                    <a:cubicBezTo>
                      <a:pt x="406" y="120"/>
                      <a:pt x="406" y="120"/>
                      <a:pt x="406" y="120"/>
                    </a:cubicBezTo>
                    <a:cubicBezTo>
                      <a:pt x="404" y="121"/>
                      <a:pt x="404" y="121"/>
                      <a:pt x="404" y="121"/>
                    </a:cubicBezTo>
                    <a:cubicBezTo>
                      <a:pt x="404" y="121"/>
                      <a:pt x="404" y="121"/>
                      <a:pt x="404" y="121"/>
                    </a:cubicBezTo>
                    <a:cubicBezTo>
                      <a:pt x="403" y="122"/>
                      <a:pt x="403" y="122"/>
                      <a:pt x="403" y="122"/>
                    </a:cubicBezTo>
                    <a:cubicBezTo>
                      <a:pt x="401" y="124"/>
                      <a:pt x="400" y="124"/>
                      <a:pt x="396" y="124"/>
                    </a:cubicBezTo>
                    <a:cubicBezTo>
                      <a:pt x="395" y="124"/>
                      <a:pt x="395" y="124"/>
                      <a:pt x="395" y="124"/>
                    </a:cubicBezTo>
                    <a:cubicBezTo>
                      <a:pt x="395" y="124"/>
                      <a:pt x="395" y="124"/>
                      <a:pt x="395" y="124"/>
                    </a:cubicBezTo>
                    <a:cubicBezTo>
                      <a:pt x="394" y="124"/>
                      <a:pt x="394" y="124"/>
                      <a:pt x="394" y="124"/>
                    </a:cubicBezTo>
                    <a:cubicBezTo>
                      <a:pt x="393" y="125"/>
                      <a:pt x="393" y="125"/>
                      <a:pt x="393" y="125"/>
                    </a:cubicBezTo>
                    <a:cubicBezTo>
                      <a:pt x="392" y="126"/>
                      <a:pt x="392" y="126"/>
                      <a:pt x="391" y="127"/>
                    </a:cubicBezTo>
                    <a:cubicBezTo>
                      <a:pt x="400" y="131"/>
                      <a:pt x="400" y="131"/>
                      <a:pt x="400" y="131"/>
                    </a:cubicBezTo>
                    <a:cubicBezTo>
                      <a:pt x="394" y="131"/>
                      <a:pt x="394" y="131"/>
                      <a:pt x="394" y="131"/>
                    </a:cubicBezTo>
                    <a:cubicBezTo>
                      <a:pt x="394" y="131"/>
                      <a:pt x="394" y="131"/>
                      <a:pt x="394" y="131"/>
                    </a:cubicBezTo>
                    <a:cubicBezTo>
                      <a:pt x="393" y="131"/>
                      <a:pt x="393" y="131"/>
                      <a:pt x="393" y="131"/>
                    </a:cubicBezTo>
                    <a:cubicBezTo>
                      <a:pt x="387" y="130"/>
                      <a:pt x="387" y="130"/>
                      <a:pt x="387" y="130"/>
                    </a:cubicBezTo>
                    <a:cubicBezTo>
                      <a:pt x="388" y="131"/>
                      <a:pt x="389" y="132"/>
                      <a:pt x="390" y="132"/>
                    </a:cubicBezTo>
                    <a:cubicBezTo>
                      <a:pt x="391" y="133"/>
                      <a:pt x="391" y="133"/>
                      <a:pt x="391" y="133"/>
                    </a:cubicBezTo>
                    <a:cubicBezTo>
                      <a:pt x="392" y="133"/>
                      <a:pt x="393" y="133"/>
                      <a:pt x="393" y="134"/>
                    </a:cubicBezTo>
                    <a:cubicBezTo>
                      <a:pt x="396" y="135"/>
                      <a:pt x="396" y="135"/>
                      <a:pt x="396" y="135"/>
                    </a:cubicBezTo>
                    <a:cubicBezTo>
                      <a:pt x="396" y="137"/>
                      <a:pt x="396" y="137"/>
                      <a:pt x="396" y="137"/>
                    </a:cubicBezTo>
                    <a:cubicBezTo>
                      <a:pt x="396" y="137"/>
                      <a:pt x="396" y="137"/>
                      <a:pt x="396" y="137"/>
                    </a:cubicBezTo>
                    <a:cubicBezTo>
                      <a:pt x="397" y="137"/>
                      <a:pt x="397" y="137"/>
                      <a:pt x="397" y="137"/>
                    </a:cubicBezTo>
                    <a:cubicBezTo>
                      <a:pt x="397" y="137"/>
                      <a:pt x="397" y="137"/>
                      <a:pt x="397" y="137"/>
                    </a:cubicBezTo>
                    <a:cubicBezTo>
                      <a:pt x="401" y="138"/>
                      <a:pt x="401" y="138"/>
                      <a:pt x="401" y="138"/>
                    </a:cubicBezTo>
                    <a:cubicBezTo>
                      <a:pt x="411" y="143"/>
                      <a:pt x="411" y="143"/>
                      <a:pt x="411" y="143"/>
                    </a:cubicBezTo>
                    <a:cubicBezTo>
                      <a:pt x="414" y="143"/>
                      <a:pt x="414" y="143"/>
                      <a:pt x="414" y="143"/>
                    </a:cubicBezTo>
                    <a:cubicBezTo>
                      <a:pt x="414" y="144"/>
                      <a:pt x="414" y="144"/>
                      <a:pt x="414" y="144"/>
                    </a:cubicBezTo>
                    <a:cubicBezTo>
                      <a:pt x="426" y="150"/>
                      <a:pt x="426" y="150"/>
                      <a:pt x="426" y="150"/>
                    </a:cubicBezTo>
                    <a:cubicBezTo>
                      <a:pt x="428" y="145"/>
                      <a:pt x="428" y="145"/>
                      <a:pt x="428" y="145"/>
                    </a:cubicBezTo>
                    <a:cubicBezTo>
                      <a:pt x="428" y="151"/>
                      <a:pt x="428" y="151"/>
                      <a:pt x="428" y="151"/>
                    </a:cubicBezTo>
                    <a:cubicBezTo>
                      <a:pt x="434" y="153"/>
                      <a:pt x="434" y="153"/>
                      <a:pt x="434" y="153"/>
                    </a:cubicBezTo>
                    <a:cubicBezTo>
                      <a:pt x="432" y="154"/>
                      <a:pt x="432" y="154"/>
                      <a:pt x="432" y="154"/>
                    </a:cubicBezTo>
                    <a:cubicBezTo>
                      <a:pt x="440" y="160"/>
                      <a:pt x="440" y="160"/>
                      <a:pt x="440" y="160"/>
                    </a:cubicBezTo>
                    <a:cubicBezTo>
                      <a:pt x="429" y="158"/>
                      <a:pt x="429" y="158"/>
                      <a:pt x="429" y="158"/>
                    </a:cubicBezTo>
                    <a:cubicBezTo>
                      <a:pt x="429" y="159"/>
                      <a:pt x="429" y="159"/>
                      <a:pt x="429" y="159"/>
                    </a:cubicBezTo>
                    <a:cubicBezTo>
                      <a:pt x="427" y="160"/>
                      <a:pt x="426" y="162"/>
                      <a:pt x="425" y="164"/>
                    </a:cubicBezTo>
                    <a:cubicBezTo>
                      <a:pt x="425" y="165"/>
                      <a:pt x="425" y="165"/>
                      <a:pt x="425" y="165"/>
                    </a:cubicBezTo>
                    <a:cubicBezTo>
                      <a:pt x="425" y="166"/>
                      <a:pt x="425" y="166"/>
                      <a:pt x="425" y="166"/>
                    </a:cubicBezTo>
                    <a:cubicBezTo>
                      <a:pt x="425" y="167"/>
                      <a:pt x="425" y="167"/>
                      <a:pt x="425" y="167"/>
                    </a:cubicBezTo>
                    <a:cubicBezTo>
                      <a:pt x="425" y="167"/>
                      <a:pt x="425" y="167"/>
                      <a:pt x="425" y="167"/>
                    </a:cubicBezTo>
                    <a:cubicBezTo>
                      <a:pt x="425" y="169"/>
                      <a:pt x="425" y="169"/>
                      <a:pt x="425" y="169"/>
                    </a:cubicBezTo>
                    <a:cubicBezTo>
                      <a:pt x="424" y="170"/>
                      <a:pt x="424" y="171"/>
                      <a:pt x="424" y="172"/>
                    </a:cubicBezTo>
                    <a:cubicBezTo>
                      <a:pt x="422" y="175"/>
                      <a:pt x="422" y="175"/>
                      <a:pt x="422" y="175"/>
                    </a:cubicBezTo>
                    <a:cubicBezTo>
                      <a:pt x="419" y="176"/>
                      <a:pt x="419" y="176"/>
                      <a:pt x="419" y="176"/>
                    </a:cubicBezTo>
                    <a:cubicBezTo>
                      <a:pt x="415" y="178"/>
                      <a:pt x="407" y="180"/>
                      <a:pt x="403" y="180"/>
                    </a:cubicBezTo>
                    <a:cubicBezTo>
                      <a:pt x="402" y="180"/>
                      <a:pt x="402" y="181"/>
                      <a:pt x="402" y="181"/>
                    </a:cubicBezTo>
                    <a:cubicBezTo>
                      <a:pt x="401" y="181"/>
                      <a:pt x="401" y="181"/>
                      <a:pt x="401" y="181"/>
                    </a:cubicBezTo>
                    <a:cubicBezTo>
                      <a:pt x="399" y="180"/>
                      <a:pt x="399" y="180"/>
                      <a:pt x="399" y="180"/>
                    </a:cubicBezTo>
                    <a:cubicBezTo>
                      <a:pt x="395" y="180"/>
                      <a:pt x="391" y="179"/>
                      <a:pt x="386" y="177"/>
                    </a:cubicBezTo>
                    <a:cubicBezTo>
                      <a:pt x="383" y="176"/>
                      <a:pt x="383" y="176"/>
                      <a:pt x="383" y="176"/>
                    </a:cubicBezTo>
                    <a:cubicBezTo>
                      <a:pt x="381" y="175"/>
                      <a:pt x="381" y="175"/>
                      <a:pt x="381" y="175"/>
                    </a:cubicBezTo>
                    <a:cubicBezTo>
                      <a:pt x="381" y="176"/>
                      <a:pt x="381" y="177"/>
                      <a:pt x="380" y="178"/>
                    </a:cubicBezTo>
                    <a:cubicBezTo>
                      <a:pt x="380" y="180"/>
                      <a:pt x="379" y="181"/>
                      <a:pt x="377" y="183"/>
                    </a:cubicBezTo>
                    <a:cubicBezTo>
                      <a:pt x="377" y="183"/>
                      <a:pt x="377" y="183"/>
                      <a:pt x="377" y="183"/>
                    </a:cubicBezTo>
                    <a:cubicBezTo>
                      <a:pt x="376" y="184"/>
                      <a:pt x="374" y="185"/>
                      <a:pt x="373" y="185"/>
                    </a:cubicBezTo>
                    <a:cubicBezTo>
                      <a:pt x="372" y="185"/>
                      <a:pt x="371" y="186"/>
                      <a:pt x="371" y="186"/>
                    </a:cubicBezTo>
                    <a:cubicBezTo>
                      <a:pt x="370" y="186"/>
                      <a:pt x="370" y="186"/>
                      <a:pt x="370" y="186"/>
                    </a:cubicBezTo>
                    <a:cubicBezTo>
                      <a:pt x="369" y="186"/>
                      <a:pt x="369" y="186"/>
                      <a:pt x="369" y="186"/>
                    </a:cubicBezTo>
                    <a:cubicBezTo>
                      <a:pt x="363" y="193"/>
                      <a:pt x="363" y="193"/>
                      <a:pt x="363" y="193"/>
                    </a:cubicBezTo>
                    <a:cubicBezTo>
                      <a:pt x="363" y="184"/>
                      <a:pt x="363" y="184"/>
                      <a:pt x="363" y="184"/>
                    </a:cubicBezTo>
                    <a:cubicBezTo>
                      <a:pt x="363" y="183"/>
                      <a:pt x="363" y="183"/>
                      <a:pt x="364" y="182"/>
                    </a:cubicBezTo>
                    <a:cubicBezTo>
                      <a:pt x="361" y="182"/>
                      <a:pt x="358" y="181"/>
                      <a:pt x="355" y="181"/>
                    </a:cubicBezTo>
                    <a:cubicBezTo>
                      <a:pt x="355" y="180"/>
                      <a:pt x="354" y="180"/>
                      <a:pt x="353" y="180"/>
                    </a:cubicBezTo>
                    <a:cubicBezTo>
                      <a:pt x="352" y="180"/>
                      <a:pt x="351" y="180"/>
                      <a:pt x="349" y="180"/>
                    </a:cubicBezTo>
                    <a:cubicBezTo>
                      <a:pt x="347" y="185"/>
                      <a:pt x="347" y="185"/>
                      <a:pt x="347" y="185"/>
                    </a:cubicBezTo>
                    <a:cubicBezTo>
                      <a:pt x="348" y="179"/>
                      <a:pt x="348" y="179"/>
                      <a:pt x="348" y="179"/>
                    </a:cubicBezTo>
                    <a:cubicBezTo>
                      <a:pt x="348" y="179"/>
                      <a:pt x="348" y="179"/>
                      <a:pt x="348" y="179"/>
                    </a:cubicBezTo>
                    <a:cubicBezTo>
                      <a:pt x="346" y="179"/>
                      <a:pt x="345" y="178"/>
                      <a:pt x="343" y="177"/>
                    </a:cubicBezTo>
                    <a:cubicBezTo>
                      <a:pt x="340" y="176"/>
                      <a:pt x="340" y="175"/>
                      <a:pt x="339" y="174"/>
                    </a:cubicBezTo>
                    <a:cubicBezTo>
                      <a:pt x="338" y="172"/>
                      <a:pt x="338" y="170"/>
                      <a:pt x="338" y="168"/>
                    </a:cubicBezTo>
                    <a:cubicBezTo>
                      <a:pt x="337" y="167"/>
                      <a:pt x="336" y="165"/>
                      <a:pt x="335" y="164"/>
                    </a:cubicBezTo>
                    <a:cubicBezTo>
                      <a:pt x="332" y="163"/>
                      <a:pt x="330" y="163"/>
                      <a:pt x="326" y="163"/>
                    </a:cubicBezTo>
                    <a:cubicBezTo>
                      <a:pt x="325" y="163"/>
                      <a:pt x="323" y="163"/>
                      <a:pt x="322" y="163"/>
                    </a:cubicBezTo>
                    <a:cubicBezTo>
                      <a:pt x="321" y="163"/>
                      <a:pt x="321" y="163"/>
                      <a:pt x="321" y="163"/>
                    </a:cubicBezTo>
                    <a:cubicBezTo>
                      <a:pt x="320" y="163"/>
                      <a:pt x="320" y="163"/>
                      <a:pt x="320" y="163"/>
                    </a:cubicBezTo>
                    <a:cubicBezTo>
                      <a:pt x="320" y="165"/>
                      <a:pt x="320" y="166"/>
                      <a:pt x="319" y="168"/>
                    </a:cubicBezTo>
                    <a:cubicBezTo>
                      <a:pt x="318" y="169"/>
                      <a:pt x="318" y="169"/>
                      <a:pt x="318" y="169"/>
                    </a:cubicBezTo>
                    <a:cubicBezTo>
                      <a:pt x="318" y="170"/>
                      <a:pt x="317" y="170"/>
                      <a:pt x="316" y="171"/>
                    </a:cubicBezTo>
                    <a:cubicBezTo>
                      <a:pt x="315" y="172"/>
                      <a:pt x="313" y="173"/>
                      <a:pt x="311" y="173"/>
                    </a:cubicBezTo>
                    <a:cubicBezTo>
                      <a:pt x="310" y="173"/>
                      <a:pt x="309" y="173"/>
                      <a:pt x="309" y="173"/>
                    </a:cubicBezTo>
                    <a:cubicBezTo>
                      <a:pt x="308" y="173"/>
                      <a:pt x="308" y="173"/>
                      <a:pt x="308" y="173"/>
                    </a:cubicBezTo>
                    <a:cubicBezTo>
                      <a:pt x="304" y="172"/>
                      <a:pt x="302" y="170"/>
                      <a:pt x="300" y="167"/>
                    </a:cubicBezTo>
                    <a:cubicBezTo>
                      <a:pt x="299" y="166"/>
                      <a:pt x="298" y="165"/>
                      <a:pt x="298" y="165"/>
                    </a:cubicBezTo>
                    <a:cubicBezTo>
                      <a:pt x="297" y="164"/>
                      <a:pt x="297" y="164"/>
                      <a:pt x="297" y="164"/>
                    </a:cubicBezTo>
                    <a:cubicBezTo>
                      <a:pt x="296" y="164"/>
                      <a:pt x="296" y="164"/>
                      <a:pt x="296" y="164"/>
                    </a:cubicBezTo>
                    <a:cubicBezTo>
                      <a:pt x="292" y="165"/>
                      <a:pt x="292" y="165"/>
                      <a:pt x="292" y="165"/>
                    </a:cubicBezTo>
                    <a:cubicBezTo>
                      <a:pt x="289" y="165"/>
                      <a:pt x="286" y="166"/>
                      <a:pt x="282" y="166"/>
                    </a:cubicBezTo>
                    <a:cubicBezTo>
                      <a:pt x="282" y="166"/>
                      <a:pt x="281" y="166"/>
                      <a:pt x="281" y="166"/>
                    </a:cubicBezTo>
                    <a:cubicBezTo>
                      <a:pt x="281" y="167"/>
                      <a:pt x="280" y="169"/>
                      <a:pt x="279" y="170"/>
                    </a:cubicBezTo>
                    <a:cubicBezTo>
                      <a:pt x="277" y="172"/>
                      <a:pt x="275" y="172"/>
                      <a:pt x="274" y="173"/>
                    </a:cubicBezTo>
                    <a:cubicBezTo>
                      <a:pt x="273" y="173"/>
                      <a:pt x="273" y="173"/>
                      <a:pt x="273" y="173"/>
                    </a:cubicBezTo>
                    <a:cubicBezTo>
                      <a:pt x="272" y="174"/>
                      <a:pt x="272" y="175"/>
                      <a:pt x="271" y="176"/>
                    </a:cubicBezTo>
                    <a:cubicBezTo>
                      <a:pt x="270" y="179"/>
                      <a:pt x="268" y="180"/>
                      <a:pt x="266" y="180"/>
                    </a:cubicBezTo>
                    <a:cubicBezTo>
                      <a:pt x="266" y="181"/>
                      <a:pt x="265" y="181"/>
                      <a:pt x="264" y="182"/>
                    </a:cubicBezTo>
                    <a:cubicBezTo>
                      <a:pt x="263" y="182"/>
                      <a:pt x="263" y="182"/>
                      <a:pt x="263" y="182"/>
                    </a:cubicBezTo>
                    <a:cubicBezTo>
                      <a:pt x="263" y="182"/>
                      <a:pt x="263" y="182"/>
                      <a:pt x="263" y="182"/>
                    </a:cubicBezTo>
                    <a:cubicBezTo>
                      <a:pt x="261" y="184"/>
                      <a:pt x="260" y="184"/>
                      <a:pt x="259" y="184"/>
                    </a:cubicBezTo>
                    <a:cubicBezTo>
                      <a:pt x="258" y="185"/>
                      <a:pt x="258" y="185"/>
                      <a:pt x="257" y="185"/>
                    </a:cubicBezTo>
                    <a:cubicBezTo>
                      <a:pt x="255" y="185"/>
                      <a:pt x="252" y="183"/>
                      <a:pt x="247" y="180"/>
                    </a:cubicBezTo>
                    <a:cubicBezTo>
                      <a:pt x="243" y="178"/>
                      <a:pt x="240" y="175"/>
                      <a:pt x="236" y="173"/>
                    </a:cubicBezTo>
                    <a:cubicBezTo>
                      <a:pt x="234" y="171"/>
                      <a:pt x="234" y="171"/>
                      <a:pt x="234" y="171"/>
                    </a:cubicBezTo>
                    <a:cubicBezTo>
                      <a:pt x="233" y="171"/>
                      <a:pt x="233" y="170"/>
                      <a:pt x="232" y="170"/>
                    </a:cubicBezTo>
                    <a:cubicBezTo>
                      <a:pt x="232" y="169"/>
                      <a:pt x="231" y="169"/>
                      <a:pt x="231" y="168"/>
                    </a:cubicBezTo>
                    <a:cubicBezTo>
                      <a:pt x="231" y="169"/>
                      <a:pt x="231" y="170"/>
                      <a:pt x="231" y="170"/>
                    </a:cubicBezTo>
                    <a:cubicBezTo>
                      <a:pt x="231" y="171"/>
                      <a:pt x="231" y="171"/>
                      <a:pt x="231" y="171"/>
                    </a:cubicBezTo>
                    <a:cubicBezTo>
                      <a:pt x="231" y="172"/>
                      <a:pt x="232" y="173"/>
                      <a:pt x="232" y="173"/>
                    </a:cubicBezTo>
                    <a:cubicBezTo>
                      <a:pt x="232" y="175"/>
                      <a:pt x="232" y="175"/>
                      <a:pt x="232" y="175"/>
                    </a:cubicBezTo>
                    <a:cubicBezTo>
                      <a:pt x="232" y="177"/>
                      <a:pt x="232" y="179"/>
                      <a:pt x="231" y="180"/>
                    </a:cubicBezTo>
                    <a:cubicBezTo>
                      <a:pt x="231" y="182"/>
                      <a:pt x="229" y="183"/>
                      <a:pt x="226" y="185"/>
                    </a:cubicBezTo>
                    <a:cubicBezTo>
                      <a:pt x="222" y="188"/>
                      <a:pt x="222" y="188"/>
                      <a:pt x="222" y="188"/>
                    </a:cubicBezTo>
                    <a:cubicBezTo>
                      <a:pt x="220" y="183"/>
                      <a:pt x="220" y="183"/>
                      <a:pt x="220" y="183"/>
                    </a:cubicBezTo>
                    <a:cubicBezTo>
                      <a:pt x="220" y="180"/>
                      <a:pt x="219" y="176"/>
                      <a:pt x="219" y="172"/>
                    </a:cubicBezTo>
                    <a:cubicBezTo>
                      <a:pt x="219" y="171"/>
                      <a:pt x="219" y="171"/>
                      <a:pt x="219" y="171"/>
                    </a:cubicBezTo>
                    <a:cubicBezTo>
                      <a:pt x="218" y="170"/>
                      <a:pt x="217" y="170"/>
                      <a:pt x="217" y="169"/>
                    </a:cubicBezTo>
                    <a:cubicBezTo>
                      <a:pt x="215" y="168"/>
                      <a:pt x="213" y="166"/>
                      <a:pt x="211" y="164"/>
                    </a:cubicBezTo>
                    <a:cubicBezTo>
                      <a:pt x="210" y="164"/>
                      <a:pt x="210" y="164"/>
                      <a:pt x="210" y="164"/>
                    </a:cubicBezTo>
                    <a:cubicBezTo>
                      <a:pt x="204" y="158"/>
                      <a:pt x="198" y="153"/>
                      <a:pt x="192" y="150"/>
                    </a:cubicBezTo>
                    <a:cubicBezTo>
                      <a:pt x="190" y="149"/>
                      <a:pt x="187" y="149"/>
                      <a:pt x="184" y="149"/>
                    </a:cubicBezTo>
                    <a:cubicBezTo>
                      <a:pt x="183" y="149"/>
                      <a:pt x="183" y="149"/>
                      <a:pt x="182" y="149"/>
                    </a:cubicBezTo>
                    <a:cubicBezTo>
                      <a:pt x="179" y="149"/>
                      <a:pt x="176" y="149"/>
                      <a:pt x="174" y="150"/>
                    </a:cubicBezTo>
                    <a:cubicBezTo>
                      <a:pt x="174" y="150"/>
                      <a:pt x="174" y="150"/>
                      <a:pt x="174" y="150"/>
                    </a:cubicBezTo>
                    <a:cubicBezTo>
                      <a:pt x="173" y="150"/>
                      <a:pt x="173" y="150"/>
                      <a:pt x="173" y="150"/>
                    </a:cubicBezTo>
                    <a:cubicBezTo>
                      <a:pt x="172" y="150"/>
                      <a:pt x="171" y="151"/>
                      <a:pt x="170" y="151"/>
                    </a:cubicBezTo>
                    <a:cubicBezTo>
                      <a:pt x="169" y="151"/>
                      <a:pt x="169" y="151"/>
                      <a:pt x="169" y="151"/>
                    </a:cubicBezTo>
                    <a:cubicBezTo>
                      <a:pt x="168" y="151"/>
                      <a:pt x="168" y="150"/>
                      <a:pt x="167" y="150"/>
                    </a:cubicBezTo>
                    <a:cubicBezTo>
                      <a:pt x="167" y="150"/>
                      <a:pt x="167" y="150"/>
                      <a:pt x="167" y="150"/>
                    </a:cubicBezTo>
                    <a:cubicBezTo>
                      <a:pt x="166" y="149"/>
                      <a:pt x="166" y="149"/>
                      <a:pt x="166" y="149"/>
                    </a:cubicBezTo>
                    <a:cubicBezTo>
                      <a:pt x="166" y="149"/>
                      <a:pt x="165" y="149"/>
                      <a:pt x="165" y="149"/>
                    </a:cubicBezTo>
                    <a:cubicBezTo>
                      <a:pt x="165" y="148"/>
                      <a:pt x="164" y="148"/>
                      <a:pt x="164" y="147"/>
                    </a:cubicBezTo>
                    <a:cubicBezTo>
                      <a:pt x="163" y="146"/>
                      <a:pt x="163" y="146"/>
                      <a:pt x="163" y="145"/>
                    </a:cubicBezTo>
                    <a:cubicBezTo>
                      <a:pt x="162" y="144"/>
                      <a:pt x="162" y="144"/>
                      <a:pt x="162" y="144"/>
                    </a:cubicBezTo>
                    <a:cubicBezTo>
                      <a:pt x="161" y="143"/>
                      <a:pt x="161" y="141"/>
                      <a:pt x="160" y="140"/>
                    </a:cubicBezTo>
                    <a:cubicBezTo>
                      <a:pt x="157" y="142"/>
                      <a:pt x="155" y="143"/>
                      <a:pt x="150" y="143"/>
                    </a:cubicBezTo>
                    <a:cubicBezTo>
                      <a:pt x="150" y="144"/>
                      <a:pt x="150" y="144"/>
                      <a:pt x="150" y="144"/>
                    </a:cubicBezTo>
                    <a:cubicBezTo>
                      <a:pt x="149" y="144"/>
                      <a:pt x="149" y="144"/>
                      <a:pt x="149" y="144"/>
                    </a:cubicBezTo>
                    <a:cubicBezTo>
                      <a:pt x="150" y="144"/>
                      <a:pt x="150" y="145"/>
                      <a:pt x="150" y="145"/>
                    </a:cubicBezTo>
                    <a:cubicBezTo>
                      <a:pt x="150" y="146"/>
                      <a:pt x="149" y="147"/>
                      <a:pt x="148" y="148"/>
                    </a:cubicBezTo>
                    <a:cubicBezTo>
                      <a:pt x="147" y="149"/>
                      <a:pt x="147" y="149"/>
                      <a:pt x="147" y="149"/>
                    </a:cubicBezTo>
                    <a:cubicBezTo>
                      <a:pt x="146" y="150"/>
                      <a:pt x="145" y="151"/>
                      <a:pt x="143" y="151"/>
                    </a:cubicBezTo>
                    <a:cubicBezTo>
                      <a:pt x="142" y="151"/>
                      <a:pt x="142" y="151"/>
                      <a:pt x="142" y="151"/>
                    </a:cubicBezTo>
                    <a:cubicBezTo>
                      <a:pt x="141" y="151"/>
                      <a:pt x="141" y="151"/>
                      <a:pt x="140" y="151"/>
                    </a:cubicBezTo>
                    <a:cubicBezTo>
                      <a:pt x="140" y="151"/>
                      <a:pt x="139" y="150"/>
                      <a:pt x="138" y="150"/>
                    </a:cubicBezTo>
                    <a:cubicBezTo>
                      <a:pt x="136" y="157"/>
                      <a:pt x="136" y="157"/>
                      <a:pt x="136" y="157"/>
                    </a:cubicBezTo>
                    <a:cubicBezTo>
                      <a:pt x="136" y="150"/>
                      <a:pt x="136" y="150"/>
                      <a:pt x="136" y="150"/>
                    </a:cubicBezTo>
                    <a:cubicBezTo>
                      <a:pt x="136" y="150"/>
                      <a:pt x="136" y="150"/>
                      <a:pt x="136" y="150"/>
                    </a:cubicBezTo>
                    <a:cubicBezTo>
                      <a:pt x="133" y="148"/>
                      <a:pt x="132" y="147"/>
                      <a:pt x="131" y="145"/>
                    </a:cubicBezTo>
                    <a:cubicBezTo>
                      <a:pt x="130" y="142"/>
                      <a:pt x="130" y="142"/>
                      <a:pt x="130" y="142"/>
                    </a:cubicBezTo>
                    <a:cubicBezTo>
                      <a:pt x="130" y="142"/>
                      <a:pt x="130" y="142"/>
                      <a:pt x="130" y="142"/>
                    </a:cubicBezTo>
                    <a:cubicBezTo>
                      <a:pt x="129" y="142"/>
                      <a:pt x="128" y="142"/>
                      <a:pt x="126" y="141"/>
                    </a:cubicBezTo>
                    <a:cubicBezTo>
                      <a:pt x="126" y="141"/>
                      <a:pt x="125" y="141"/>
                      <a:pt x="124" y="141"/>
                    </a:cubicBezTo>
                    <a:cubicBezTo>
                      <a:pt x="123" y="140"/>
                      <a:pt x="123" y="140"/>
                      <a:pt x="122" y="140"/>
                    </a:cubicBezTo>
                    <a:cubicBezTo>
                      <a:pt x="122" y="141"/>
                      <a:pt x="122" y="141"/>
                      <a:pt x="122" y="141"/>
                    </a:cubicBezTo>
                    <a:cubicBezTo>
                      <a:pt x="122" y="142"/>
                      <a:pt x="122" y="142"/>
                      <a:pt x="122" y="142"/>
                    </a:cubicBezTo>
                    <a:cubicBezTo>
                      <a:pt x="121" y="144"/>
                      <a:pt x="120" y="145"/>
                      <a:pt x="117" y="146"/>
                    </a:cubicBezTo>
                    <a:cubicBezTo>
                      <a:pt x="116" y="146"/>
                      <a:pt x="116" y="146"/>
                      <a:pt x="116" y="146"/>
                    </a:cubicBezTo>
                    <a:cubicBezTo>
                      <a:pt x="115" y="146"/>
                      <a:pt x="115" y="146"/>
                      <a:pt x="115" y="146"/>
                    </a:cubicBezTo>
                    <a:cubicBezTo>
                      <a:pt x="113" y="146"/>
                      <a:pt x="113" y="146"/>
                      <a:pt x="111" y="149"/>
                    </a:cubicBezTo>
                    <a:cubicBezTo>
                      <a:pt x="109" y="152"/>
                      <a:pt x="109" y="152"/>
                      <a:pt x="109" y="152"/>
                    </a:cubicBezTo>
                    <a:cubicBezTo>
                      <a:pt x="109" y="152"/>
                      <a:pt x="109" y="154"/>
                      <a:pt x="108" y="155"/>
                    </a:cubicBezTo>
                    <a:cubicBezTo>
                      <a:pt x="107" y="157"/>
                      <a:pt x="104" y="158"/>
                      <a:pt x="101" y="158"/>
                    </a:cubicBezTo>
                    <a:cubicBezTo>
                      <a:pt x="101" y="159"/>
                      <a:pt x="101" y="159"/>
                      <a:pt x="101" y="159"/>
                    </a:cubicBezTo>
                    <a:cubicBezTo>
                      <a:pt x="100" y="159"/>
                      <a:pt x="100" y="159"/>
                      <a:pt x="100" y="159"/>
                    </a:cubicBezTo>
                    <a:cubicBezTo>
                      <a:pt x="82" y="166"/>
                      <a:pt x="82" y="166"/>
                      <a:pt x="82" y="166"/>
                    </a:cubicBezTo>
                    <a:cubicBezTo>
                      <a:pt x="83" y="168"/>
                      <a:pt x="83" y="170"/>
                      <a:pt x="82" y="171"/>
                    </a:cubicBezTo>
                    <a:cubicBezTo>
                      <a:pt x="82" y="172"/>
                      <a:pt x="82" y="172"/>
                      <a:pt x="82" y="172"/>
                    </a:cubicBezTo>
                    <a:cubicBezTo>
                      <a:pt x="80" y="173"/>
                      <a:pt x="78" y="174"/>
                      <a:pt x="73" y="176"/>
                    </a:cubicBezTo>
                    <a:cubicBezTo>
                      <a:pt x="72" y="176"/>
                      <a:pt x="72" y="176"/>
                      <a:pt x="72" y="176"/>
                    </a:cubicBezTo>
                    <a:cubicBezTo>
                      <a:pt x="72" y="177"/>
                      <a:pt x="71" y="177"/>
                      <a:pt x="71" y="177"/>
                    </a:cubicBezTo>
                    <a:cubicBezTo>
                      <a:pt x="70" y="177"/>
                      <a:pt x="70" y="177"/>
                      <a:pt x="70" y="177"/>
                    </a:cubicBezTo>
                    <a:cubicBezTo>
                      <a:pt x="69" y="176"/>
                      <a:pt x="69" y="176"/>
                      <a:pt x="69" y="176"/>
                    </a:cubicBezTo>
                    <a:cubicBezTo>
                      <a:pt x="70" y="177"/>
                      <a:pt x="70" y="177"/>
                      <a:pt x="70" y="177"/>
                    </a:cubicBezTo>
                    <a:cubicBezTo>
                      <a:pt x="69" y="178"/>
                      <a:pt x="69" y="178"/>
                      <a:pt x="69" y="178"/>
                    </a:cubicBezTo>
                    <a:cubicBezTo>
                      <a:pt x="68" y="178"/>
                      <a:pt x="68" y="178"/>
                      <a:pt x="68" y="179"/>
                    </a:cubicBezTo>
                    <a:cubicBezTo>
                      <a:pt x="66" y="180"/>
                      <a:pt x="63" y="181"/>
                      <a:pt x="61" y="182"/>
                    </a:cubicBezTo>
                    <a:cubicBezTo>
                      <a:pt x="61" y="183"/>
                      <a:pt x="61" y="183"/>
                      <a:pt x="61" y="183"/>
                    </a:cubicBezTo>
                    <a:cubicBezTo>
                      <a:pt x="62" y="184"/>
                      <a:pt x="62" y="186"/>
                      <a:pt x="62" y="187"/>
                    </a:cubicBezTo>
                    <a:cubicBezTo>
                      <a:pt x="63" y="189"/>
                      <a:pt x="63" y="189"/>
                      <a:pt x="63" y="189"/>
                    </a:cubicBezTo>
                    <a:cubicBezTo>
                      <a:pt x="63" y="189"/>
                      <a:pt x="63" y="190"/>
                      <a:pt x="63" y="191"/>
                    </a:cubicBezTo>
                    <a:cubicBezTo>
                      <a:pt x="64" y="192"/>
                      <a:pt x="64" y="192"/>
                      <a:pt x="64" y="192"/>
                    </a:cubicBezTo>
                    <a:cubicBezTo>
                      <a:pt x="64" y="192"/>
                      <a:pt x="64" y="193"/>
                      <a:pt x="65" y="193"/>
                    </a:cubicBezTo>
                    <a:cubicBezTo>
                      <a:pt x="65" y="194"/>
                      <a:pt x="65" y="194"/>
                      <a:pt x="65" y="194"/>
                    </a:cubicBezTo>
                    <a:cubicBezTo>
                      <a:pt x="65" y="195"/>
                      <a:pt x="65" y="195"/>
                      <a:pt x="65" y="195"/>
                    </a:cubicBezTo>
                    <a:cubicBezTo>
                      <a:pt x="65" y="195"/>
                      <a:pt x="65" y="195"/>
                      <a:pt x="65" y="195"/>
                    </a:cubicBezTo>
                    <a:cubicBezTo>
                      <a:pt x="66" y="196"/>
                      <a:pt x="66" y="196"/>
                      <a:pt x="66" y="196"/>
                    </a:cubicBezTo>
                    <a:cubicBezTo>
                      <a:pt x="67" y="197"/>
                      <a:pt x="68" y="199"/>
                      <a:pt x="68" y="201"/>
                    </a:cubicBezTo>
                    <a:cubicBezTo>
                      <a:pt x="68" y="203"/>
                      <a:pt x="67" y="204"/>
                      <a:pt x="64" y="206"/>
                    </a:cubicBezTo>
                    <a:cubicBezTo>
                      <a:pt x="63" y="207"/>
                      <a:pt x="61" y="208"/>
                      <a:pt x="57" y="210"/>
                    </a:cubicBezTo>
                    <a:cubicBezTo>
                      <a:pt x="56" y="210"/>
                      <a:pt x="55" y="210"/>
                      <a:pt x="54" y="211"/>
                    </a:cubicBezTo>
                    <a:cubicBezTo>
                      <a:pt x="53" y="211"/>
                      <a:pt x="52" y="212"/>
                      <a:pt x="51" y="212"/>
                    </a:cubicBezTo>
                    <a:cubicBezTo>
                      <a:pt x="49" y="212"/>
                      <a:pt x="47" y="210"/>
                      <a:pt x="46" y="209"/>
                    </a:cubicBezTo>
                    <a:cubicBezTo>
                      <a:pt x="44" y="207"/>
                      <a:pt x="42" y="205"/>
                      <a:pt x="40" y="202"/>
                    </a:cubicBezTo>
                    <a:cubicBezTo>
                      <a:pt x="39" y="201"/>
                      <a:pt x="39" y="201"/>
                      <a:pt x="39" y="201"/>
                    </a:cubicBezTo>
                    <a:cubicBezTo>
                      <a:pt x="38" y="201"/>
                      <a:pt x="38" y="200"/>
                      <a:pt x="37" y="200"/>
                    </a:cubicBezTo>
                    <a:cubicBezTo>
                      <a:pt x="36" y="198"/>
                      <a:pt x="36" y="198"/>
                      <a:pt x="36" y="198"/>
                    </a:cubicBezTo>
                    <a:cubicBezTo>
                      <a:pt x="34" y="196"/>
                      <a:pt x="31" y="192"/>
                      <a:pt x="28" y="191"/>
                    </a:cubicBezTo>
                    <a:cubicBezTo>
                      <a:pt x="28" y="191"/>
                      <a:pt x="28" y="191"/>
                      <a:pt x="28" y="191"/>
                    </a:cubicBezTo>
                    <a:cubicBezTo>
                      <a:pt x="26" y="191"/>
                      <a:pt x="25" y="191"/>
                      <a:pt x="25" y="191"/>
                    </a:cubicBezTo>
                    <a:cubicBezTo>
                      <a:pt x="25" y="192"/>
                      <a:pt x="25" y="192"/>
                      <a:pt x="25" y="192"/>
                    </a:cubicBezTo>
                    <a:cubicBezTo>
                      <a:pt x="25" y="192"/>
                      <a:pt x="25" y="193"/>
                      <a:pt x="24" y="194"/>
                    </a:cubicBezTo>
                    <a:cubicBezTo>
                      <a:pt x="24" y="196"/>
                      <a:pt x="23" y="199"/>
                      <a:pt x="22" y="201"/>
                    </a:cubicBezTo>
                    <a:cubicBezTo>
                      <a:pt x="21" y="203"/>
                      <a:pt x="21" y="203"/>
                      <a:pt x="21" y="203"/>
                    </a:cubicBezTo>
                    <a:cubicBezTo>
                      <a:pt x="21" y="204"/>
                      <a:pt x="20" y="204"/>
                      <a:pt x="20" y="204"/>
                    </a:cubicBezTo>
                    <a:cubicBezTo>
                      <a:pt x="20" y="205"/>
                      <a:pt x="19" y="205"/>
                      <a:pt x="19" y="205"/>
                    </a:cubicBezTo>
                    <a:cubicBezTo>
                      <a:pt x="18" y="206"/>
                      <a:pt x="18" y="206"/>
                      <a:pt x="18" y="206"/>
                    </a:cubicBezTo>
                    <a:cubicBezTo>
                      <a:pt x="17" y="207"/>
                      <a:pt x="15" y="208"/>
                      <a:pt x="14" y="208"/>
                    </a:cubicBezTo>
                    <a:cubicBezTo>
                      <a:pt x="12" y="209"/>
                      <a:pt x="11" y="209"/>
                      <a:pt x="11" y="210"/>
                    </a:cubicBezTo>
                    <a:cubicBezTo>
                      <a:pt x="10" y="212"/>
                      <a:pt x="10" y="212"/>
                      <a:pt x="10" y="212"/>
                    </a:cubicBezTo>
                    <a:cubicBezTo>
                      <a:pt x="10" y="213"/>
                      <a:pt x="10" y="214"/>
                      <a:pt x="10" y="214"/>
                    </a:cubicBezTo>
                    <a:cubicBezTo>
                      <a:pt x="9" y="220"/>
                      <a:pt x="9" y="220"/>
                      <a:pt x="9" y="220"/>
                    </a:cubicBezTo>
                    <a:cubicBezTo>
                      <a:pt x="9" y="221"/>
                      <a:pt x="9" y="222"/>
                      <a:pt x="8" y="223"/>
                    </a:cubicBezTo>
                    <a:cubicBezTo>
                      <a:pt x="8" y="224"/>
                      <a:pt x="8" y="224"/>
                      <a:pt x="8" y="224"/>
                    </a:cubicBezTo>
                    <a:cubicBezTo>
                      <a:pt x="9" y="224"/>
                      <a:pt x="9" y="224"/>
                      <a:pt x="9" y="225"/>
                    </a:cubicBezTo>
                    <a:cubicBezTo>
                      <a:pt x="10" y="225"/>
                      <a:pt x="10" y="225"/>
                      <a:pt x="10" y="225"/>
                    </a:cubicBezTo>
                    <a:cubicBezTo>
                      <a:pt x="10" y="225"/>
                      <a:pt x="11" y="225"/>
                      <a:pt x="11" y="226"/>
                    </a:cubicBezTo>
                    <a:cubicBezTo>
                      <a:pt x="18" y="232"/>
                      <a:pt x="14" y="237"/>
                      <a:pt x="12" y="239"/>
                    </a:cubicBezTo>
                    <a:cubicBezTo>
                      <a:pt x="12" y="239"/>
                      <a:pt x="12" y="240"/>
                      <a:pt x="11" y="241"/>
                    </a:cubicBezTo>
                    <a:cubicBezTo>
                      <a:pt x="8" y="244"/>
                      <a:pt x="5" y="248"/>
                      <a:pt x="3" y="253"/>
                    </a:cubicBezTo>
                    <a:cubicBezTo>
                      <a:pt x="2" y="254"/>
                      <a:pt x="1" y="256"/>
                      <a:pt x="0" y="258"/>
                    </a:cubicBezTo>
                    <a:cubicBezTo>
                      <a:pt x="1" y="258"/>
                      <a:pt x="1" y="258"/>
                      <a:pt x="1" y="258"/>
                    </a:cubicBezTo>
                    <a:cubicBezTo>
                      <a:pt x="3" y="259"/>
                      <a:pt x="3" y="259"/>
                      <a:pt x="3" y="259"/>
                    </a:cubicBezTo>
                    <a:cubicBezTo>
                      <a:pt x="5" y="259"/>
                      <a:pt x="7" y="260"/>
                      <a:pt x="9" y="261"/>
                    </a:cubicBezTo>
                    <a:cubicBezTo>
                      <a:pt x="13" y="262"/>
                      <a:pt x="13" y="262"/>
                      <a:pt x="13" y="262"/>
                    </a:cubicBezTo>
                    <a:cubicBezTo>
                      <a:pt x="13" y="262"/>
                      <a:pt x="14" y="262"/>
                      <a:pt x="14" y="263"/>
                    </a:cubicBezTo>
                    <a:cubicBezTo>
                      <a:pt x="18" y="265"/>
                      <a:pt x="18" y="270"/>
                      <a:pt x="18" y="273"/>
                    </a:cubicBezTo>
                    <a:cubicBezTo>
                      <a:pt x="18" y="274"/>
                      <a:pt x="18" y="275"/>
                      <a:pt x="18" y="276"/>
                    </a:cubicBezTo>
                    <a:cubicBezTo>
                      <a:pt x="18" y="280"/>
                      <a:pt x="18" y="280"/>
                      <a:pt x="19" y="281"/>
                    </a:cubicBezTo>
                    <a:cubicBezTo>
                      <a:pt x="21" y="282"/>
                      <a:pt x="22" y="282"/>
                      <a:pt x="23" y="282"/>
                    </a:cubicBezTo>
                    <a:cubicBezTo>
                      <a:pt x="24" y="282"/>
                      <a:pt x="25" y="282"/>
                      <a:pt x="26" y="282"/>
                    </a:cubicBezTo>
                    <a:cubicBezTo>
                      <a:pt x="27" y="282"/>
                      <a:pt x="28" y="282"/>
                      <a:pt x="28" y="281"/>
                    </a:cubicBezTo>
                    <a:cubicBezTo>
                      <a:pt x="30" y="281"/>
                      <a:pt x="30" y="281"/>
                      <a:pt x="30" y="281"/>
                    </a:cubicBezTo>
                    <a:cubicBezTo>
                      <a:pt x="31" y="281"/>
                      <a:pt x="33" y="280"/>
                      <a:pt x="35" y="280"/>
                    </a:cubicBezTo>
                    <a:cubicBezTo>
                      <a:pt x="36" y="280"/>
                      <a:pt x="38" y="280"/>
                      <a:pt x="39" y="280"/>
                    </a:cubicBezTo>
                    <a:cubicBezTo>
                      <a:pt x="40" y="280"/>
                      <a:pt x="41" y="280"/>
                      <a:pt x="42" y="280"/>
                    </a:cubicBezTo>
                    <a:cubicBezTo>
                      <a:pt x="43" y="280"/>
                      <a:pt x="44" y="281"/>
                      <a:pt x="45" y="281"/>
                    </a:cubicBezTo>
                    <a:cubicBezTo>
                      <a:pt x="47" y="283"/>
                      <a:pt x="49" y="285"/>
                      <a:pt x="50" y="287"/>
                    </a:cubicBezTo>
                    <a:cubicBezTo>
                      <a:pt x="51" y="289"/>
                      <a:pt x="52" y="290"/>
                      <a:pt x="53" y="292"/>
                    </a:cubicBezTo>
                    <a:cubicBezTo>
                      <a:pt x="57" y="298"/>
                      <a:pt x="57" y="298"/>
                      <a:pt x="57" y="298"/>
                    </a:cubicBezTo>
                    <a:cubicBezTo>
                      <a:pt x="59" y="301"/>
                      <a:pt x="61" y="303"/>
                      <a:pt x="63" y="306"/>
                    </a:cubicBezTo>
                    <a:cubicBezTo>
                      <a:pt x="63" y="306"/>
                      <a:pt x="63" y="307"/>
                      <a:pt x="64" y="308"/>
                    </a:cubicBezTo>
                    <a:cubicBezTo>
                      <a:pt x="65" y="308"/>
                      <a:pt x="65" y="308"/>
                      <a:pt x="65" y="308"/>
                    </a:cubicBezTo>
                    <a:cubicBezTo>
                      <a:pt x="67" y="311"/>
                      <a:pt x="70" y="315"/>
                      <a:pt x="70" y="318"/>
                    </a:cubicBezTo>
                    <a:cubicBezTo>
                      <a:pt x="72" y="319"/>
                      <a:pt x="72" y="319"/>
                      <a:pt x="72" y="319"/>
                    </a:cubicBezTo>
                    <a:cubicBezTo>
                      <a:pt x="71" y="320"/>
                      <a:pt x="71" y="320"/>
                      <a:pt x="71" y="320"/>
                    </a:cubicBezTo>
                    <a:cubicBezTo>
                      <a:pt x="71" y="320"/>
                      <a:pt x="71" y="320"/>
                      <a:pt x="71" y="320"/>
                    </a:cubicBezTo>
                    <a:cubicBezTo>
                      <a:pt x="70" y="321"/>
                      <a:pt x="70" y="321"/>
                      <a:pt x="70" y="321"/>
                    </a:cubicBezTo>
                    <a:cubicBezTo>
                      <a:pt x="69" y="323"/>
                      <a:pt x="69" y="323"/>
                      <a:pt x="69" y="323"/>
                    </a:cubicBezTo>
                    <a:cubicBezTo>
                      <a:pt x="67" y="325"/>
                      <a:pt x="67" y="325"/>
                      <a:pt x="67" y="325"/>
                    </a:cubicBezTo>
                    <a:cubicBezTo>
                      <a:pt x="66" y="325"/>
                      <a:pt x="66" y="325"/>
                      <a:pt x="66" y="325"/>
                    </a:cubicBezTo>
                    <a:cubicBezTo>
                      <a:pt x="66" y="325"/>
                      <a:pt x="66" y="325"/>
                      <a:pt x="66" y="325"/>
                    </a:cubicBezTo>
                    <a:cubicBezTo>
                      <a:pt x="66" y="325"/>
                      <a:pt x="66" y="325"/>
                      <a:pt x="66" y="325"/>
                    </a:cubicBezTo>
                    <a:cubicBezTo>
                      <a:pt x="65" y="325"/>
                      <a:pt x="64" y="326"/>
                      <a:pt x="63" y="326"/>
                    </a:cubicBezTo>
                    <a:cubicBezTo>
                      <a:pt x="64" y="326"/>
                      <a:pt x="64" y="326"/>
                      <a:pt x="64" y="326"/>
                    </a:cubicBezTo>
                    <a:cubicBezTo>
                      <a:pt x="65" y="327"/>
                      <a:pt x="65" y="327"/>
                      <a:pt x="65" y="327"/>
                    </a:cubicBezTo>
                    <a:cubicBezTo>
                      <a:pt x="67" y="328"/>
                      <a:pt x="69" y="329"/>
                      <a:pt x="72" y="330"/>
                    </a:cubicBezTo>
                    <a:cubicBezTo>
                      <a:pt x="72" y="330"/>
                      <a:pt x="73" y="330"/>
                      <a:pt x="73" y="331"/>
                    </a:cubicBezTo>
                    <a:cubicBezTo>
                      <a:pt x="73" y="331"/>
                      <a:pt x="73" y="331"/>
                      <a:pt x="73" y="331"/>
                    </a:cubicBezTo>
                    <a:cubicBezTo>
                      <a:pt x="73" y="330"/>
                      <a:pt x="73" y="330"/>
                      <a:pt x="73" y="330"/>
                    </a:cubicBezTo>
                    <a:cubicBezTo>
                      <a:pt x="73" y="330"/>
                      <a:pt x="74" y="330"/>
                      <a:pt x="74" y="330"/>
                    </a:cubicBezTo>
                    <a:cubicBezTo>
                      <a:pt x="75" y="330"/>
                      <a:pt x="76" y="330"/>
                      <a:pt x="75" y="328"/>
                    </a:cubicBezTo>
                    <a:cubicBezTo>
                      <a:pt x="75" y="328"/>
                      <a:pt x="75" y="328"/>
                      <a:pt x="75" y="328"/>
                    </a:cubicBezTo>
                    <a:cubicBezTo>
                      <a:pt x="75" y="328"/>
                      <a:pt x="75" y="328"/>
                      <a:pt x="76" y="328"/>
                    </a:cubicBezTo>
                    <a:cubicBezTo>
                      <a:pt x="76" y="328"/>
                      <a:pt x="76" y="328"/>
                      <a:pt x="77" y="328"/>
                    </a:cubicBezTo>
                    <a:cubicBezTo>
                      <a:pt x="77" y="328"/>
                      <a:pt x="77" y="328"/>
                      <a:pt x="77" y="328"/>
                    </a:cubicBezTo>
                    <a:cubicBezTo>
                      <a:pt x="76" y="328"/>
                      <a:pt x="76" y="327"/>
                      <a:pt x="75" y="326"/>
                    </a:cubicBezTo>
                    <a:cubicBezTo>
                      <a:pt x="77" y="326"/>
                      <a:pt x="78" y="326"/>
                      <a:pt x="79" y="326"/>
                    </a:cubicBezTo>
                    <a:cubicBezTo>
                      <a:pt x="81" y="326"/>
                      <a:pt x="82" y="326"/>
                      <a:pt x="83" y="326"/>
                    </a:cubicBezTo>
                    <a:cubicBezTo>
                      <a:pt x="85" y="326"/>
                      <a:pt x="86" y="326"/>
                      <a:pt x="87" y="326"/>
                    </a:cubicBezTo>
                    <a:cubicBezTo>
                      <a:pt x="89" y="326"/>
                      <a:pt x="91" y="326"/>
                      <a:pt x="93" y="326"/>
                    </a:cubicBezTo>
                    <a:cubicBezTo>
                      <a:pt x="95" y="325"/>
                      <a:pt x="96" y="324"/>
                      <a:pt x="98" y="322"/>
                    </a:cubicBezTo>
                    <a:cubicBezTo>
                      <a:pt x="100" y="321"/>
                      <a:pt x="102" y="320"/>
                      <a:pt x="104" y="318"/>
                    </a:cubicBezTo>
                    <a:cubicBezTo>
                      <a:pt x="105" y="318"/>
                      <a:pt x="105" y="317"/>
                      <a:pt x="107" y="316"/>
                    </a:cubicBezTo>
                    <a:cubicBezTo>
                      <a:pt x="109" y="315"/>
                      <a:pt x="110" y="315"/>
                      <a:pt x="113" y="315"/>
                    </a:cubicBezTo>
                    <a:cubicBezTo>
                      <a:pt x="113" y="314"/>
                      <a:pt x="118" y="312"/>
                      <a:pt x="119" y="311"/>
                    </a:cubicBezTo>
                    <a:cubicBezTo>
                      <a:pt x="119" y="311"/>
                      <a:pt x="119" y="310"/>
                      <a:pt x="119" y="310"/>
                    </a:cubicBezTo>
                    <a:cubicBezTo>
                      <a:pt x="120" y="310"/>
                      <a:pt x="122" y="310"/>
                      <a:pt x="122" y="309"/>
                    </a:cubicBezTo>
                    <a:cubicBezTo>
                      <a:pt x="124" y="309"/>
                      <a:pt x="125" y="309"/>
                      <a:pt x="126" y="309"/>
                    </a:cubicBezTo>
                    <a:cubicBezTo>
                      <a:pt x="127" y="308"/>
                      <a:pt x="128" y="307"/>
                      <a:pt x="129" y="307"/>
                    </a:cubicBezTo>
                    <a:cubicBezTo>
                      <a:pt x="129" y="307"/>
                      <a:pt x="130" y="307"/>
                      <a:pt x="130" y="307"/>
                    </a:cubicBezTo>
                    <a:cubicBezTo>
                      <a:pt x="133" y="307"/>
                      <a:pt x="139" y="309"/>
                      <a:pt x="142" y="310"/>
                    </a:cubicBezTo>
                    <a:cubicBezTo>
                      <a:pt x="147" y="311"/>
                      <a:pt x="153" y="315"/>
                      <a:pt x="159" y="317"/>
                    </a:cubicBezTo>
                    <a:cubicBezTo>
                      <a:pt x="158" y="317"/>
                      <a:pt x="158" y="316"/>
                      <a:pt x="157" y="316"/>
                    </a:cubicBezTo>
                    <a:cubicBezTo>
                      <a:pt x="158" y="316"/>
                      <a:pt x="159" y="316"/>
                      <a:pt x="159" y="316"/>
                    </a:cubicBezTo>
                    <a:cubicBezTo>
                      <a:pt x="163" y="316"/>
                      <a:pt x="163" y="312"/>
                      <a:pt x="165" y="311"/>
                    </a:cubicBezTo>
                    <a:cubicBezTo>
                      <a:pt x="165" y="311"/>
                      <a:pt x="166" y="311"/>
                      <a:pt x="166" y="311"/>
                    </a:cubicBezTo>
                    <a:cubicBezTo>
                      <a:pt x="168" y="311"/>
                      <a:pt x="170" y="313"/>
                      <a:pt x="172" y="313"/>
                    </a:cubicBezTo>
                    <a:cubicBezTo>
                      <a:pt x="177" y="314"/>
                      <a:pt x="179" y="314"/>
                      <a:pt x="182" y="319"/>
                    </a:cubicBezTo>
                    <a:cubicBezTo>
                      <a:pt x="185" y="326"/>
                      <a:pt x="189" y="333"/>
                      <a:pt x="188" y="342"/>
                    </a:cubicBezTo>
                    <a:cubicBezTo>
                      <a:pt x="187" y="348"/>
                      <a:pt x="182" y="353"/>
                      <a:pt x="182" y="359"/>
                    </a:cubicBezTo>
                    <a:cubicBezTo>
                      <a:pt x="181" y="361"/>
                      <a:pt x="182" y="362"/>
                      <a:pt x="183" y="365"/>
                    </a:cubicBezTo>
                    <a:cubicBezTo>
                      <a:pt x="185" y="369"/>
                      <a:pt x="185" y="368"/>
                      <a:pt x="188" y="369"/>
                    </a:cubicBezTo>
                    <a:cubicBezTo>
                      <a:pt x="191" y="370"/>
                      <a:pt x="194" y="371"/>
                      <a:pt x="197" y="371"/>
                    </a:cubicBezTo>
                    <a:cubicBezTo>
                      <a:pt x="197" y="371"/>
                      <a:pt x="198" y="371"/>
                      <a:pt x="199" y="370"/>
                    </a:cubicBezTo>
                    <a:cubicBezTo>
                      <a:pt x="202" y="370"/>
                      <a:pt x="205" y="369"/>
                      <a:pt x="207" y="368"/>
                    </a:cubicBezTo>
                    <a:cubicBezTo>
                      <a:pt x="208" y="366"/>
                      <a:pt x="207" y="364"/>
                      <a:pt x="210" y="364"/>
                    </a:cubicBezTo>
                    <a:cubicBezTo>
                      <a:pt x="210" y="364"/>
                      <a:pt x="210" y="364"/>
                      <a:pt x="210" y="364"/>
                    </a:cubicBezTo>
                    <a:cubicBezTo>
                      <a:pt x="217" y="364"/>
                      <a:pt x="214" y="372"/>
                      <a:pt x="216" y="376"/>
                    </a:cubicBezTo>
                    <a:cubicBezTo>
                      <a:pt x="217" y="377"/>
                      <a:pt x="219" y="378"/>
                      <a:pt x="219" y="380"/>
                    </a:cubicBezTo>
                    <a:cubicBezTo>
                      <a:pt x="219" y="381"/>
                      <a:pt x="215" y="382"/>
                      <a:pt x="213" y="382"/>
                    </a:cubicBezTo>
                    <a:cubicBezTo>
                      <a:pt x="213" y="382"/>
                      <a:pt x="212" y="382"/>
                      <a:pt x="212" y="382"/>
                    </a:cubicBezTo>
                    <a:cubicBezTo>
                      <a:pt x="212" y="382"/>
                      <a:pt x="212" y="382"/>
                      <a:pt x="212" y="382"/>
                    </a:cubicBezTo>
                    <a:cubicBezTo>
                      <a:pt x="210" y="382"/>
                      <a:pt x="209" y="383"/>
                      <a:pt x="208" y="383"/>
                    </a:cubicBezTo>
                    <a:cubicBezTo>
                      <a:pt x="207" y="384"/>
                      <a:pt x="206" y="384"/>
                      <a:pt x="205" y="384"/>
                    </a:cubicBezTo>
                    <a:cubicBezTo>
                      <a:pt x="205" y="384"/>
                      <a:pt x="205" y="384"/>
                      <a:pt x="204" y="384"/>
                    </a:cubicBezTo>
                    <a:cubicBezTo>
                      <a:pt x="204" y="384"/>
                      <a:pt x="204" y="384"/>
                      <a:pt x="203" y="384"/>
                    </a:cubicBezTo>
                    <a:cubicBezTo>
                      <a:pt x="203" y="384"/>
                      <a:pt x="202" y="384"/>
                      <a:pt x="202" y="384"/>
                    </a:cubicBezTo>
                    <a:cubicBezTo>
                      <a:pt x="198" y="385"/>
                      <a:pt x="195" y="389"/>
                      <a:pt x="193" y="393"/>
                    </a:cubicBezTo>
                    <a:cubicBezTo>
                      <a:pt x="193" y="394"/>
                      <a:pt x="189" y="402"/>
                      <a:pt x="187" y="402"/>
                    </a:cubicBezTo>
                    <a:cubicBezTo>
                      <a:pt x="184" y="402"/>
                      <a:pt x="186" y="399"/>
                      <a:pt x="187" y="398"/>
                    </a:cubicBezTo>
                    <a:cubicBezTo>
                      <a:pt x="189" y="393"/>
                      <a:pt x="192" y="388"/>
                      <a:pt x="196" y="384"/>
                    </a:cubicBezTo>
                    <a:cubicBezTo>
                      <a:pt x="199" y="381"/>
                      <a:pt x="202" y="382"/>
                      <a:pt x="206" y="381"/>
                    </a:cubicBezTo>
                    <a:cubicBezTo>
                      <a:pt x="211" y="379"/>
                      <a:pt x="210" y="373"/>
                      <a:pt x="206" y="373"/>
                    </a:cubicBezTo>
                    <a:cubicBezTo>
                      <a:pt x="206" y="373"/>
                      <a:pt x="205" y="374"/>
                      <a:pt x="204" y="374"/>
                    </a:cubicBezTo>
                    <a:cubicBezTo>
                      <a:pt x="202" y="375"/>
                      <a:pt x="201" y="375"/>
                      <a:pt x="199" y="375"/>
                    </a:cubicBezTo>
                    <a:cubicBezTo>
                      <a:pt x="198" y="375"/>
                      <a:pt x="197" y="375"/>
                      <a:pt x="195" y="374"/>
                    </a:cubicBezTo>
                    <a:cubicBezTo>
                      <a:pt x="191" y="373"/>
                      <a:pt x="187" y="374"/>
                      <a:pt x="183" y="373"/>
                    </a:cubicBezTo>
                    <a:cubicBezTo>
                      <a:pt x="178" y="373"/>
                      <a:pt x="173" y="372"/>
                      <a:pt x="167" y="371"/>
                    </a:cubicBezTo>
                    <a:cubicBezTo>
                      <a:pt x="161" y="370"/>
                      <a:pt x="153" y="371"/>
                      <a:pt x="148" y="368"/>
                    </a:cubicBezTo>
                    <a:cubicBezTo>
                      <a:pt x="147" y="368"/>
                      <a:pt x="146" y="367"/>
                      <a:pt x="145" y="367"/>
                    </a:cubicBezTo>
                    <a:cubicBezTo>
                      <a:pt x="145" y="367"/>
                      <a:pt x="144" y="367"/>
                      <a:pt x="144" y="368"/>
                    </a:cubicBezTo>
                    <a:cubicBezTo>
                      <a:pt x="144" y="368"/>
                      <a:pt x="141" y="370"/>
                      <a:pt x="140" y="370"/>
                    </a:cubicBezTo>
                    <a:cubicBezTo>
                      <a:pt x="140" y="370"/>
                      <a:pt x="140" y="370"/>
                      <a:pt x="140" y="370"/>
                    </a:cubicBezTo>
                    <a:cubicBezTo>
                      <a:pt x="138" y="370"/>
                      <a:pt x="136" y="369"/>
                      <a:pt x="136" y="369"/>
                    </a:cubicBezTo>
                    <a:cubicBezTo>
                      <a:pt x="136" y="369"/>
                      <a:pt x="133" y="372"/>
                      <a:pt x="133" y="373"/>
                    </a:cubicBezTo>
                    <a:cubicBezTo>
                      <a:pt x="131" y="375"/>
                      <a:pt x="131" y="379"/>
                      <a:pt x="129" y="380"/>
                    </a:cubicBezTo>
                    <a:cubicBezTo>
                      <a:pt x="126" y="382"/>
                      <a:pt x="126" y="382"/>
                      <a:pt x="126" y="382"/>
                    </a:cubicBezTo>
                    <a:cubicBezTo>
                      <a:pt x="124" y="383"/>
                      <a:pt x="121" y="382"/>
                      <a:pt x="123" y="385"/>
                    </a:cubicBezTo>
                    <a:cubicBezTo>
                      <a:pt x="125" y="388"/>
                      <a:pt x="128" y="390"/>
                      <a:pt x="130" y="392"/>
                    </a:cubicBezTo>
                    <a:cubicBezTo>
                      <a:pt x="131" y="393"/>
                      <a:pt x="131" y="396"/>
                      <a:pt x="132" y="396"/>
                    </a:cubicBezTo>
                    <a:cubicBezTo>
                      <a:pt x="133" y="396"/>
                      <a:pt x="133" y="396"/>
                      <a:pt x="133" y="396"/>
                    </a:cubicBezTo>
                    <a:cubicBezTo>
                      <a:pt x="133" y="396"/>
                      <a:pt x="134" y="396"/>
                      <a:pt x="134" y="396"/>
                    </a:cubicBezTo>
                    <a:cubicBezTo>
                      <a:pt x="134" y="396"/>
                      <a:pt x="134" y="396"/>
                      <a:pt x="135" y="396"/>
                    </a:cubicBezTo>
                    <a:cubicBezTo>
                      <a:pt x="135" y="396"/>
                      <a:pt x="135" y="396"/>
                      <a:pt x="135" y="396"/>
                    </a:cubicBezTo>
                    <a:cubicBezTo>
                      <a:pt x="136" y="396"/>
                      <a:pt x="139" y="397"/>
                      <a:pt x="139" y="398"/>
                    </a:cubicBezTo>
                    <a:cubicBezTo>
                      <a:pt x="140" y="398"/>
                      <a:pt x="140" y="398"/>
                      <a:pt x="140" y="398"/>
                    </a:cubicBezTo>
                    <a:cubicBezTo>
                      <a:pt x="140" y="398"/>
                      <a:pt x="140" y="398"/>
                      <a:pt x="140" y="398"/>
                    </a:cubicBezTo>
                    <a:cubicBezTo>
                      <a:pt x="139" y="398"/>
                      <a:pt x="138" y="399"/>
                      <a:pt x="138" y="399"/>
                    </a:cubicBezTo>
                    <a:cubicBezTo>
                      <a:pt x="137" y="399"/>
                      <a:pt x="136" y="399"/>
                      <a:pt x="135" y="399"/>
                    </a:cubicBezTo>
                    <a:cubicBezTo>
                      <a:pt x="135" y="399"/>
                      <a:pt x="134" y="399"/>
                      <a:pt x="134" y="398"/>
                    </a:cubicBezTo>
                    <a:cubicBezTo>
                      <a:pt x="134" y="398"/>
                      <a:pt x="133" y="398"/>
                      <a:pt x="133" y="398"/>
                    </a:cubicBezTo>
                    <a:cubicBezTo>
                      <a:pt x="132" y="398"/>
                      <a:pt x="131" y="400"/>
                      <a:pt x="130" y="400"/>
                    </a:cubicBezTo>
                    <a:cubicBezTo>
                      <a:pt x="129" y="400"/>
                      <a:pt x="129" y="400"/>
                      <a:pt x="128" y="400"/>
                    </a:cubicBezTo>
                    <a:cubicBezTo>
                      <a:pt x="126" y="400"/>
                      <a:pt x="124" y="399"/>
                      <a:pt x="122" y="397"/>
                    </a:cubicBezTo>
                    <a:cubicBezTo>
                      <a:pt x="120" y="396"/>
                      <a:pt x="119" y="395"/>
                      <a:pt x="118" y="395"/>
                    </a:cubicBezTo>
                    <a:cubicBezTo>
                      <a:pt x="117" y="395"/>
                      <a:pt x="116" y="396"/>
                      <a:pt x="114" y="396"/>
                    </a:cubicBezTo>
                    <a:cubicBezTo>
                      <a:pt x="112" y="396"/>
                      <a:pt x="108" y="394"/>
                      <a:pt x="106" y="394"/>
                    </a:cubicBezTo>
                    <a:cubicBezTo>
                      <a:pt x="105" y="394"/>
                      <a:pt x="105" y="394"/>
                      <a:pt x="105" y="394"/>
                    </a:cubicBezTo>
                    <a:cubicBezTo>
                      <a:pt x="103" y="395"/>
                      <a:pt x="103" y="396"/>
                      <a:pt x="102" y="398"/>
                    </a:cubicBezTo>
                    <a:cubicBezTo>
                      <a:pt x="102" y="397"/>
                      <a:pt x="102" y="397"/>
                      <a:pt x="102" y="397"/>
                    </a:cubicBezTo>
                    <a:cubicBezTo>
                      <a:pt x="101" y="403"/>
                      <a:pt x="102" y="406"/>
                      <a:pt x="108" y="407"/>
                    </a:cubicBezTo>
                    <a:cubicBezTo>
                      <a:pt x="110" y="407"/>
                      <a:pt x="112" y="407"/>
                      <a:pt x="113" y="408"/>
                    </a:cubicBezTo>
                    <a:cubicBezTo>
                      <a:pt x="122" y="410"/>
                      <a:pt x="124" y="421"/>
                      <a:pt x="127" y="429"/>
                    </a:cubicBezTo>
                    <a:cubicBezTo>
                      <a:pt x="129" y="433"/>
                      <a:pt x="130" y="437"/>
                      <a:pt x="132" y="441"/>
                    </a:cubicBezTo>
                    <a:cubicBezTo>
                      <a:pt x="133" y="442"/>
                      <a:pt x="132" y="443"/>
                      <a:pt x="132" y="444"/>
                    </a:cubicBezTo>
                    <a:cubicBezTo>
                      <a:pt x="132" y="444"/>
                      <a:pt x="131" y="445"/>
                      <a:pt x="131" y="446"/>
                    </a:cubicBezTo>
                    <a:cubicBezTo>
                      <a:pt x="131" y="446"/>
                      <a:pt x="132" y="446"/>
                      <a:pt x="133" y="446"/>
                    </a:cubicBezTo>
                    <a:cubicBezTo>
                      <a:pt x="134" y="446"/>
                      <a:pt x="135" y="446"/>
                      <a:pt x="136" y="446"/>
                    </a:cubicBezTo>
                    <a:cubicBezTo>
                      <a:pt x="137" y="446"/>
                      <a:pt x="139" y="446"/>
                      <a:pt x="140" y="446"/>
                    </a:cubicBezTo>
                    <a:cubicBezTo>
                      <a:pt x="140" y="446"/>
                      <a:pt x="140" y="446"/>
                      <a:pt x="141" y="446"/>
                    </a:cubicBezTo>
                    <a:cubicBezTo>
                      <a:pt x="146" y="447"/>
                      <a:pt x="146" y="454"/>
                      <a:pt x="150" y="456"/>
                    </a:cubicBezTo>
                    <a:cubicBezTo>
                      <a:pt x="150" y="457"/>
                      <a:pt x="151" y="457"/>
                      <a:pt x="151" y="457"/>
                    </a:cubicBezTo>
                    <a:cubicBezTo>
                      <a:pt x="152" y="457"/>
                      <a:pt x="152" y="457"/>
                      <a:pt x="153" y="456"/>
                    </a:cubicBezTo>
                    <a:cubicBezTo>
                      <a:pt x="154" y="456"/>
                      <a:pt x="154" y="456"/>
                      <a:pt x="155" y="456"/>
                    </a:cubicBezTo>
                    <a:cubicBezTo>
                      <a:pt x="155" y="456"/>
                      <a:pt x="155" y="456"/>
                      <a:pt x="156" y="456"/>
                    </a:cubicBezTo>
                    <a:cubicBezTo>
                      <a:pt x="157" y="456"/>
                      <a:pt x="157" y="456"/>
                      <a:pt x="158" y="457"/>
                    </a:cubicBezTo>
                    <a:cubicBezTo>
                      <a:pt x="159" y="457"/>
                      <a:pt x="159" y="458"/>
                      <a:pt x="160" y="458"/>
                    </a:cubicBezTo>
                    <a:cubicBezTo>
                      <a:pt x="160" y="459"/>
                      <a:pt x="160" y="459"/>
                      <a:pt x="160" y="459"/>
                    </a:cubicBezTo>
                    <a:cubicBezTo>
                      <a:pt x="161" y="459"/>
                      <a:pt x="161" y="459"/>
                      <a:pt x="161" y="459"/>
                    </a:cubicBezTo>
                    <a:cubicBezTo>
                      <a:pt x="161" y="458"/>
                      <a:pt x="161" y="458"/>
                      <a:pt x="161" y="458"/>
                    </a:cubicBezTo>
                    <a:cubicBezTo>
                      <a:pt x="161" y="458"/>
                      <a:pt x="161" y="458"/>
                      <a:pt x="161" y="458"/>
                    </a:cubicBezTo>
                    <a:cubicBezTo>
                      <a:pt x="161" y="458"/>
                      <a:pt x="161" y="458"/>
                      <a:pt x="162" y="458"/>
                    </a:cubicBezTo>
                    <a:cubicBezTo>
                      <a:pt x="162" y="458"/>
                      <a:pt x="163" y="458"/>
                      <a:pt x="163" y="458"/>
                    </a:cubicBezTo>
                    <a:cubicBezTo>
                      <a:pt x="164" y="458"/>
                      <a:pt x="164" y="458"/>
                      <a:pt x="165" y="458"/>
                    </a:cubicBezTo>
                    <a:cubicBezTo>
                      <a:pt x="166" y="458"/>
                      <a:pt x="166" y="458"/>
                      <a:pt x="167" y="458"/>
                    </a:cubicBezTo>
                    <a:cubicBezTo>
                      <a:pt x="169" y="459"/>
                      <a:pt x="171" y="460"/>
                      <a:pt x="173" y="461"/>
                    </a:cubicBezTo>
                    <a:cubicBezTo>
                      <a:pt x="172" y="462"/>
                      <a:pt x="171" y="462"/>
                      <a:pt x="170" y="462"/>
                    </a:cubicBezTo>
                    <a:cubicBezTo>
                      <a:pt x="170" y="462"/>
                      <a:pt x="170" y="462"/>
                      <a:pt x="169" y="462"/>
                    </a:cubicBezTo>
                    <a:cubicBezTo>
                      <a:pt x="173" y="467"/>
                      <a:pt x="171" y="469"/>
                      <a:pt x="168" y="474"/>
                    </a:cubicBezTo>
                    <a:cubicBezTo>
                      <a:pt x="167" y="476"/>
                      <a:pt x="164" y="479"/>
                      <a:pt x="164" y="481"/>
                    </a:cubicBezTo>
                    <a:cubicBezTo>
                      <a:pt x="164" y="484"/>
                      <a:pt x="164" y="487"/>
                      <a:pt x="164" y="490"/>
                    </a:cubicBezTo>
                    <a:cubicBezTo>
                      <a:pt x="165" y="490"/>
                      <a:pt x="166" y="489"/>
                      <a:pt x="167" y="488"/>
                    </a:cubicBezTo>
                    <a:cubicBezTo>
                      <a:pt x="168" y="487"/>
                      <a:pt x="170" y="485"/>
                      <a:pt x="172" y="484"/>
                    </a:cubicBezTo>
                    <a:cubicBezTo>
                      <a:pt x="173" y="482"/>
                      <a:pt x="175" y="481"/>
                      <a:pt x="178" y="479"/>
                    </a:cubicBezTo>
                    <a:cubicBezTo>
                      <a:pt x="183" y="476"/>
                      <a:pt x="190" y="474"/>
                      <a:pt x="196" y="473"/>
                    </a:cubicBezTo>
                    <a:cubicBezTo>
                      <a:pt x="199" y="472"/>
                      <a:pt x="202" y="472"/>
                      <a:pt x="205" y="471"/>
                    </a:cubicBezTo>
                    <a:cubicBezTo>
                      <a:pt x="207" y="471"/>
                      <a:pt x="207" y="471"/>
                      <a:pt x="207" y="471"/>
                    </a:cubicBezTo>
                    <a:cubicBezTo>
                      <a:pt x="208" y="471"/>
                      <a:pt x="210" y="471"/>
                      <a:pt x="211" y="471"/>
                    </a:cubicBezTo>
                    <a:cubicBezTo>
                      <a:pt x="212" y="471"/>
                      <a:pt x="213" y="471"/>
                      <a:pt x="213" y="471"/>
                    </a:cubicBezTo>
                    <a:cubicBezTo>
                      <a:pt x="216" y="471"/>
                      <a:pt x="217" y="473"/>
                      <a:pt x="219" y="474"/>
                    </a:cubicBezTo>
                    <a:cubicBezTo>
                      <a:pt x="222" y="476"/>
                      <a:pt x="226" y="479"/>
                      <a:pt x="229" y="482"/>
                    </a:cubicBezTo>
                    <a:cubicBezTo>
                      <a:pt x="230" y="483"/>
                      <a:pt x="230" y="483"/>
                      <a:pt x="230" y="483"/>
                    </a:cubicBezTo>
                    <a:cubicBezTo>
                      <a:pt x="231" y="484"/>
                      <a:pt x="233" y="486"/>
                      <a:pt x="234" y="487"/>
                    </a:cubicBezTo>
                    <a:cubicBezTo>
                      <a:pt x="236" y="488"/>
                      <a:pt x="236" y="488"/>
                      <a:pt x="236" y="488"/>
                    </a:cubicBezTo>
                    <a:cubicBezTo>
                      <a:pt x="239" y="490"/>
                      <a:pt x="241" y="492"/>
                      <a:pt x="243" y="494"/>
                    </a:cubicBezTo>
                    <a:cubicBezTo>
                      <a:pt x="244" y="496"/>
                      <a:pt x="244" y="497"/>
                      <a:pt x="245" y="499"/>
                    </a:cubicBezTo>
                    <a:cubicBezTo>
                      <a:pt x="246" y="500"/>
                      <a:pt x="246" y="500"/>
                      <a:pt x="246" y="500"/>
                    </a:cubicBezTo>
                    <a:cubicBezTo>
                      <a:pt x="248" y="502"/>
                      <a:pt x="249" y="503"/>
                      <a:pt x="251" y="505"/>
                    </a:cubicBezTo>
                    <a:cubicBezTo>
                      <a:pt x="252" y="505"/>
                      <a:pt x="252" y="506"/>
                      <a:pt x="252" y="506"/>
                    </a:cubicBezTo>
                    <a:cubicBezTo>
                      <a:pt x="254" y="506"/>
                      <a:pt x="255" y="506"/>
                      <a:pt x="257" y="506"/>
                    </a:cubicBezTo>
                    <a:cubicBezTo>
                      <a:pt x="259" y="506"/>
                      <a:pt x="260" y="506"/>
                      <a:pt x="262" y="505"/>
                    </a:cubicBezTo>
                    <a:cubicBezTo>
                      <a:pt x="262" y="442"/>
                      <a:pt x="262" y="442"/>
                      <a:pt x="262" y="442"/>
                    </a:cubicBezTo>
                    <a:cubicBezTo>
                      <a:pt x="262" y="423"/>
                      <a:pt x="262" y="404"/>
                      <a:pt x="262" y="384"/>
                    </a:cubicBezTo>
                    <a:cubicBezTo>
                      <a:pt x="262" y="383"/>
                      <a:pt x="262" y="383"/>
                      <a:pt x="262" y="383"/>
                    </a:cubicBezTo>
                    <a:cubicBezTo>
                      <a:pt x="262" y="380"/>
                      <a:pt x="264" y="379"/>
                      <a:pt x="267" y="378"/>
                    </a:cubicBezTo>
                    <a:cubicBezTo>
                      <a:pt x="269" y="377"/>
                      <a:pt x="272" y="376"/>
                      <a:pt x="274" y="376"/>
                    </a:cubicBezTo>
                    <a:cubicBezTo>
                      <a:pt x="275" y="376"/>
                      <a:pt x="276" y="375"/>
                      <a:pt x="277" y="375"/>
                    </a:cubicBezTo>
                    <a:cubicBezTo>
                      <a:pt x="289" y="372"/>
                      <a:pt x="302" y="368"/>
                      <a:pt x="314" y="365"/>
                    </a:cubicBezTo>
                    <a:cubicBezTo>
                      <a:pt x="326" y="362"/>
                      <a:pt x="326" y="362"/>
                      <a:pt x="326" y="362"/>
                    </a:cubicBezTo>
                    <a:cubicBezTo>
                      <a:pt x="329" y="361"/>
                      <a:pt x="332" y="360"/>
                      <a:pt x="334" y="360"/>
                    </a:cubicBezTo>
                    <a:cubicBezTo>
                      <a:pt x="337" y="359"/>
                      <a:pt x="337" y="359"/>
                      <a:pt x="337" y="359"/>
                    </a:cubicBezTo>
                    <a:cubicBezTo>
                      <a:pt x="337" y="359"/>
                      <a:pt x="337" y="359"/>
                      <a:pt x="338" y="359"/>
                    </a:cubicBezTo>
                    <a:cubicBezTo>
                      <a:pt x="339" y="359"/>
                      <a:pt x="340" y="359"/>
                      <a:pt x="341" y="360"/>
                    </a:cubicBezTo>
                    <a:cubicBezTo>
                      <a:pt x="341" y="358"/>
                      <a:pt x="341" y="356"/>
                      <a:pt x="342" y="354"/>
                    </a:cubicBezTo>
                    <a:cubicBezTo>
                      <a:pt x="343" y="353"/>
                      <a:pt x="345" y="351"/>
                      <a:pt x="347" y="351"/>
                    </a:cubicBezTo>
                    <a:cubicBezTo>
                      <a:pt x="347" y="351"/>
                      <a:pt x="347" y="351"/>
                      <a:pt x="348" y="351"/>
                    </a:cubicBezTo>
                    <a:cubicBezTo>
                      <a:pt x="348" y="351"/>
                      <a:pt x="349" y="351"/>
                      <a:pt x="350" y="351"/>
                    </a:cubicBezTo>
                    <a:cubicBezTo>
                      <a:pt x="350" y="351"/>
                      <a:pt x="350" y="351"/>
                      <a:pt x="350" y="351"/>
                    </a:cubicBezTo>
                    <a:cubicBezTo>
                      <a:pt x="350" y="351"/>
                      <a:pt x="350" y="351"/>
                      <a:pt x="350" y="351"/>
                    </a:cubicBezTo>
                    <a:cubicBezTo>
                      <a:pt x="351" y="351"/>
                      <a:pt x="351" y="351"/>
                      <a:pt x="351" y="351"/>
                    </a:cubicBezTo>
                    <a:cubicBezTo>
                      <a:pt x="351" y="351"/>
                      <a:pt x="351" y="350"/>
                      <a:pt x="351" y="350"/>
                    </a:cubicBezTo>
                    <a:cubicBezTo>
                      <a:pt x="351" y="350"/>
                      <a:pt x="351" y="350"/>
                      <a:pt x="351" y="350"/>
                    </a:cubicBezTo>
                    <a:cubicBezTo>
                      <a:pt x="351" y="350"/>
                      <a:pt x="352" y="350"/>
                      <a:pt x="353" y="350"/>
                    </a:cubicBezTo>
                    <a:cubicBezTo>
                      <a:pt x="353" y="350"/>
                      <a:pt x="353" y="350"/>
                      <a:pt x="353" y="350"/>
                    </a:cubicBezTo>
                    <a:cubicBezTo>
                      <a:pt x="353" y="350"/>
                      <a:pt x="353" y="350"/>
                      <a:pt x="353" y="350"/>
                    </a:cubicBezTo>
                    <a:cubicBezTo>
                      <a:pt x="354" y="350"/>
                      <a:pt x="354" y="350"/>
                      <a:pt x="354" y="350"/>
                    </a:cubicBezTo>
                    <a:cubicBezTo>
                      <a:pt x="355" y="350"/>
                      <a:pt x="355" y="350"/>
                      <a:pt x="355" y="350"/>
                    </a:cubicBezTo>
                    <a:cubicBezTo>
                      <a:pt x="356" y="350"/>
                      <a:pt x="356" y="350"/>
                      <a:pt x="356" y="350"/>
                    </a:cubicBezTo>
                    <a:cubicBezTo>
                      <a:pt x="357" y="350"/>
                      <a:pt x="358" y="348"/>
                      <a:pt x="359" y="348"/>
                    </a:cubicBezTo>
                    <a:cubicBezTo>
                      <a:pt x="359" y="348"/>
                      <a:pt x="359" y="348"/>
                      <a:pt x="359" y="348"/>
                    </a:cubicBezTo>
                    <a:cubicBezTo>
                      <a:pt x="363" y="348"/>
                      <a:pt x="359" y="351"/>
                      <a:pt x="358" y="353"/>
                    </a:cubicBezTo>
                    <a:cubicBezTo>
                      <a:pt x="357" y="355"/>
                      <a:pt x="356" y="358"/>
                      <a:pt x="359" y="359"/>
                    </a:cubicBezTo>
                    <a:cubicBezTo>
                      <a:pt x="359" y="359"/>
                      <a:pt x="359" y="359"/>
                      <a:pt x="359" y="359"/>
                    </a:cubicBezTo>
                    <a:cubicBezTo>
                      <a:pt x="359" y="359"/>
                      <a:pt x="360" y="358"/>
                      <a:pt x="361" y="358"/>
                    </a:cubicBezTo>
                    <a:cubicBezTo>
                      <a:pt x="361" y="358"/>
                      <a:pt x="362" y="358"/>
                      <a:pt x="362" y="358"/>
                    </a:cubicBezTo>
                    <a:cubicBezTo>
                      <a:pt x="363" y="358"/>
                      <a:pt x="363" y="358"/>
                      <a:pt x="363" y="360"/>
                    </a:cubicBezTo>
                    <a:cubicBezTo>
                      <a:pt x="364" y="359"/>
                      <a:pt x="365" y="357"/>
                      <a:pt x="366" y="357"/>
                    </a:cubicBezTo>
                    <a:cubicBezTo>
                      <a:pt x="366" y="357"/>
                      <a:pt x="366" y="357"/>
                      <a:pt x="366" y="357"/>
                    </a:cubicBezTo>
                    <a:cubicBezTo>
                      <a:pt x="367" y="357"/>
                      <a:pt x="369" y="357"/>
                      <a:pt x="369" y="358"/>
                    </a:cubicBezTo>
                    <a:cubicBezTo>
                      <a:pt x="370" y="357"/>
                      <a:pt x="369" y="355"/>
                      <a:pt x="369" y="354"/>
                    </a:cubicBezTo>
                    <a:cubicBezTo>
                      <a:pt x="369" y="353"/>
                      <a:pt x="370" y="351"/>
                      <a:pt x="370" y="350"/>
                    </a:cubicBezTo>
                    <a:cubicBezTo>
                      <a:pt x="372" y="346"/>
                      <a:pt x="372" y="345"/>
                      <a:pt x="369" y="342"/>
                    </a:cubicBezTo>
                    <a:cubicBezTo>
                      <a:pt x="368" y="341"/>
                      <a:pt x="367" y="340"/>
                      <a:pt x="367" y="339"/>
                    </a:cubicBezTo>
                    <a:cubicBezTo>
                      <a:pt x="366" y="337"/>
                      <a:pt x="366" y="337"/>
                      <a:pt x="366" y="337"/>
                    </a:cubicBezTo>
                    <a:cubicBezTo>
                      <a:pt x="366" y="337"/>
                      <a:pt x="366" y="337"/>
                      <a:pt x="367" y="337"/>
                    </a:cubicBezTo>
                    <a:cubicBezTo>
                      <a:pt x="367" y="337"/>
                      <a:pt x="367" y="337"/>
                      <a:pt x="367" y="337"/>
                    </a:cubicBezTo>
                    <a:cubicBezTo>
                      <a:pt x="367" y="337"/>
                      <a:pt x="368" y="337"/>
                      <a:pt x="368" y="337"/>
                    </a:cubicBezTo>
                    <a:cubicBezTo>
                      <a:pt x="369" y="337"/>
                      <a:pt x="369" y="337"/>
                      <a:pt x="370" y="337"/>
                    </a:cubicBezTo>
                    <a:cubicBezTo>
                      <a:pt x="372" y="337"/>
                      <a:pt x="373" y="338"/>
                      <a:pt x="374" y="340"/>
                    </a:cubicBezTo>
                    <a:cubicBezTo>
                      <a:pt x="374" y="341"/>
                      <a:pt x="374" y="343"/>
                      <a:pt x="374" y="344"/>
                    </a:cubicBezTo>
                    <a:cubicBezTo>
                      <a:pt x="374" y="345"/>
                      <a:pt x="370" y="346"/>
                      <a:pt x="373" y="347"/>
                    </a:cubicBezTo>
                    <a:cubicBezTo>
                      <a:pt x="373" y="347"/>
                      <a:pt x="373" y="347"/>
                      <a:pt x="373" y="347"/>
                    </a:cubicBezTo>
                    <a:cubicBezTo>
                      <a:pt x="374" y="347"/>
                      <a:pt x="377" y="346"/>
                      <a:pt x="378" y="346"/>
                    </a:cubicBezTo>
                    <a:cubicBezTo>
                      <a:pt x="378" y="346"/>
                      <a:pt x="379" y="346"/>
                      <a:pt x="379" y="346"/>
                    </a:cubicBezTo>
                    <a:cubicBezTo>
                      <a:pt x="380" y="346"/>
                      <a:pt x="380" y="346"/>
                      <a:pt x="380" y="346"/>
                    </a:cubicBezTo>
                    <a:cubicBezTo>
                      <a:pt x="381" y="346"/>
                      <a:pt x="381" y="346"/>
                      <a:pt x="381" y="346"/>
                    </a:cubicBezTo>
                    <a:cubicBezTo>
                      <a:pt x="382" y="346"/>
                      <a:pt x="382" y="346"/>
                      <a:pt x="382" y="346"/>
                    </a:cubicBezTo>
                    <a:cubicBezTo>
                      <a:pt x="384" y="346"/>
                      <a:pt x="386" y="345"/>
                      <a:pt x="388" y="345"/>
                    </a:cubicBezTo>
                    <a:cubicBezTo>
                      <a:pt x="389" y="345"/>
                      <a:pt x="389" y="345"/>
                      <a:pt x="390" y="345"/>
                    </a:cubicBezTo>
                    <a:cubicBezTo>
                      <a:pt x="393" y="346"/>
                      <a:pt x="397" y="345"/>
                      <a:pt x="400" y="347"/>
                    </a:cubicBezTo>
                    <a:cubicBezTo>
                      <a:pt x="399" y="349"/>
                      <a:pt x="396" y="348"/>
                      <a:pt x="395" y="350"/>
                    </a:cubicBezTo>
                    <a:cubicBezTo>
                      <a:pt x="393" y="352"/>
                      <a:pt x="393" y="353"/>
                      <a:pt x="391" y="353"/>
                    </a:cubicBezTo>
                    <a:cubicBezTo>
                      <a:pt x="391" y="353"/>
                      <a:pt x="390" y="353"/>
                      <a:pt x="389" y="353"/>
                    </a:cubicBezTo>
                    <a:cubicBezTo>
                      <a:pt x="387" y="353"/>
                      <a:pt x="385" y="352"/>
                      <a:pt x="382" y="352"/>
                    </a:cubicBezTo>
                    <a:cubicBezTo>
                      <a:pt x="381" y="352"/>
                      <a:pt x="379" y="351"/>
                      <a:pt x="377" y="351"/>
                    </a:cubicBezTo>
                    <a:cubicBezTo>
                      <a:pt x="377" y="351"/>
                      <a:pt x="376" y="351"/>
                      <a:pt x="376" y="352"/>
                    </a:cubicBezTo>
                    <a:cubicBezTo>
                      <a:pt x="376" y="351"/>
                      <a:pt x="376" y="351"/>
                      <a:pt x="377" y="350"/>
                    </a:cubicBezTo>
                    <a:cubicBezTo>
                      <a:pt x="376" y="350"/>
                      <a:pt x="375" y="350"/>
                      <a:pt x="374" y="350"/>
                    </a:cubicBezTo>
                    <a:cubicBezTo>
                      <a:pt x="374" y="350"/>
                      <a:pt x="373" y="350"/>
                      <a:pt x="373" y="350"/>
                    </a:cubicBezTo>
                    <a:cubicBezTo>
                      <a:pt x="375" y="351"/>
                      <a:pt x="375" y="352"/>
                      <a:pt x="373" y="352"/>
                    </a:cubicBezTo>
                    <a:cubicBezTo>
                      <a:pt x="374" y="353"/>
                      <a:pt x="375" y="353"/>
                      <a:pt x="375" y="354"/>
                    </a:cubicBezTo>
                    <a:cubicBezTo>
                      <a:pt x="375" y="354"/>
                      <a:pt x="373" y="354"/>
                      <a:pt x="372" y="354"/>
                    </a:cubicBezTo>
                    <a:cubicBezTo>
                      <a:pt x="372" y="355"/>
                      <a:pt x="376" y="356"/>
                      <a:pt x="373" y="356"/>
                    </a:cubicBezTo>
                    <a:cubicBezTo>
                      <a:pt x="375" y="358"/>
                      <a:pt x="369" y="361"/>
                      <a:pt x="373" y="363"/>
                    </a:cubicBezTo>
                    <a:cubicBezTo>
                      <a:pt x="373" y="364"/>
                      <a:pt x="374" y="364"/>
                      <a:pt x="374" y="364"/>
                    </a:cubicBezTo>
                    <a:cubicBezTo>
                      <a:pt x="375" y="364"/>
                      <a:pt x="376" y="364"/>
                      <a:pt x="377" y="363"/>
                    </a:cubicBezTo>
                    <a:cubicBezTo>
                      <a:pt x="378" y="363"/>
                      <a:pt x="378" y="363"/>
                      <a:pt x="379" y="363"/>
                    </a:cubicBezTo>
                    <a:cubicBezTo>
                      <a:pt x="380" y="363"/>
                      <a:pt x="381" y="363"/>
                      <a:pt x="382" y="365"/>
                    </a:cubicBezTo>
                    <a:cubicBezTo>
                      <a:pt x="385" y="370"/>
                      <a:pt x="383" y="378"/>
                      <a:pt x="383" y="383"/>
                    </a:cubicBezTo>
                    <a:cubicBezTo>
                      <a:pt x="385" y="385"/>
                      <a:pt x="385" y="385"/>
                      <a:pt x="385" y="385"/>
                    </a:cubicBezTo>
                    <a:cubicBezTo>
                      <a:pt x="386" y="385"/>
                      <a:pt x="387" y="386"/>
                      <a:pt x="389" y="387"/>
                    </a:cubicBezTo>
                    <a:cubicBezTo>
                      <a:pt x="401" y="394"/>
                      <a:pt x="411" y="400"/>
                      <a:pt x="414" y="404"/>
                    </a:cubicBezTo>
                    <a:cubicBezTo>
                      <a:pt x="417" y="409"/>
                      <a:pt x="421" y="414"/>
                      <a:pt x="422" y="415"/>
                    </a:cubicBezTo>
                    <a:cubicBezTo>
                      <a:pt x="425" y="418"/>
                      <a:pt x="429" y="421"/>
                      <a:pt x="432" y="425"/>
                    </a:cubicBezTo>
                    <a:cubicBezTo>
                      <a:pt x="433" y="426"/>
                      <a:pt x="433" y="426"/>
                      <a:pt x="434" y="427"/>
                    </a:cubicBezTo>
                    <a:cubicBezTo>
                      <a:pt x="434" y="428"/>
                      <a:pt x="434" y="428"/>
                      <a:pt x="434" y="428"/>
                    </a:cubicBezTo>
                    <a:cubicBezTo>
                      <a:pt x="435" y="428"/>
                      <a:pt x="436" y="429"/>
                      <a:pt x="437" y="430"/>
                    </a:cubicBezTo>
                    <a:cubicBezTo>
                      <a:pt x="437" y="430"/>
                      <a:pt x="438" y="431"/>
                      <a:pt x="438" y="431"/>
                    </a:cubicBezTo>
                    <a:cubicBezTo>
                      <a:pt x="439" y="431"/>
                      <a:pt x="439" y="431"/>
                      <a:pt x="440" y="431"/>
                    </a:cubicBezTo>
                    <a:cubicBezTo>
                      <a:pt x="440" y="431"/>
                      <a:pt x="440" y="431"/>
                      <a:pt x="440" y="431"/>
                    </a:cubicBezTo>
                    <a:cubicBezTo>
                      <a:pt x="444" y="430"/>
                      <a:pt x="449" y="430"/>
                      <a:pt x="453" y="429"/>
                    </a:cubicBezTo>
                    <a:cubicBezTo>
                      <a:pt x="458" y="428"/>
                      <a:pt x="464" y="427"/>
                      <a:pt x="470" y="426"/>
                    </a:cubicBezTo>
                    <a:cubicBezTo>
                      <a:pt x="472" y="426"/>
                      <a:pt x="473" y="426"/>
                      <a:pt x="474" y="426"/>
                    </a:cubicBezTo>
                    <a:cubicBezTo>
                      <a:pt x="479" y="426"/>
                      <a:pt x="483" y="427"/>
                      <a:pt x="487" y="427"/>
                    </a:cubicBezTo>
                    <a:cubicBezTo>
                      <a:pt x="489" y="427"/>
                      <a:pt x="489" y="427"/>
                      <a:pt x="489" y="427"/>
                    </a:cubicBezTo>
                    <a:cubicBezTo>
                      <a:pt x="492" y="427"/>
                      <a:pt x="494" y="427"/>
                      <a:pt x="497" y="428"/>
                    </a:cubicBezTo>
                    <a:cubicBezTo>
                      <a:pt x="505" y="428"/>
                      <a:pt x="505" y="428"/>
                      <a:pt x="505" y="428"/>
                    </a:cubicBezTo>
                    <a:cubicBezTo>
                      <a:pt x="507" y="428"/>
                      <a:pt x="509" y="428"/>
                      <a:pt x="510" y="427"/>
                    </a:cubicBezTo>
                    <a:cubicBezTo>
                      <a:pt x="511" y="427"/>
                      <a:pt x="511" y="427"/>
                      <a:pt x="511" y="427"/>
                    </a:cubicBezTo>
                    <a:cubicBezTo>
                      <a:pt x="511" y="426"/>
                      <a:pt x="512" y="426"/>
                      <a:pt x="512" y="426"/>
                    </a:cubicBezTo>
                    <a:cubicBezTo>
                      <a:pt x="515" y="424"/>
                      <a:pt x="517" y="423"/>
                      <a:pt x="519" y="423"/>
                    </a:cubicBezTo>
                    <a:cubicBezTo>
                      <a:pt x="520" y="423"/>
                      <a:pt x="520" y="423"/>
                      <a:pt x="520" y="423"/>
                    </a:cubicBezTo>
                    <a:cubicBezTo>
                      <a:pt x="522" y="423"/>
                      <a:pt x="523" y="424"/>
                      <a:pt x="525" y="426"/>
                    </a:cubicBezTo>
                    <a:cubicBezTo>
                      <a:pt x="526" y="427"/>
                      <a:pt x="528" y="429"/>
                      <a:pt x="530" y="431"/>
                    </a:cubicBezTo>
                    <a:cubicBezTo>
                      <a:pt x="532" y="433"/>
                      <a:pt x="532" y="433"/>
                      <a:pt x="532" y="433"/>
                    </a:cubicBezTo>
                    <a:cubicBezTo>
                      <a:pt x="533" y="434"/>
                      <a:pt x="533" y="434"/>
                      <a:pt x="533" y="434"/>
                    </a:cubicBezTo>
                    <a:cubicBezTo>
                      <a:pt x="535" y="436"/>
                      <a:pt x="535" y="436"/>
                      <a:pt x="535" y="436"/>
                    </a:cubicBezTo>
                    <a:cubicBezTo>
                      <a:pt x="538" y="439"/>
                      <a:pt x="541" y="441"/>
                      <a:pt x="544" y="445"/>
                    </a:cubicBezTo>
                    <a:cubicBezTo>
                      <a:pt x="546" y="447"/>
                      <a:pt x="546" y="447"/>
                      <a:pt x="546" y="447"/>
                    </a:cubicBezTo>
                    <a:cubicBezTo>
                      <a:pt x="546" y="448"/>
                      <a:pt x="547" y="448"/>
                      <a:pt x="547" y="449"/>
                    </a:cubicBezTo>
                    <a:cubicBezTo>
                      <a:pt x="548" y="449"/>
                      <a:pt x="548" y="450"/>
                      <a:pt x="549" y="450"/>
                    </a:cubicBezTo>
                    <a:cubicBezTo>
                      <a:pt x="552" y="449"/>
                      <a:pt x="552" y="449"/>
                      <a:pt x="552" y="449"/>
                    </a:cubicBezTo>
                    <a:cubicBezTo>
                      <a:pt x="552" y="449"/>
                      <a:pt x="553" y="449"/>
                      <a:pt x="553" y="449"/>
                    </a:cubicBezTo>
                    <a:cubicBezTo>
                      <a:pt x="554" y="449"/>
                      <a:pt x="556" y="449"/>
                      <a:pt x="556" y="450"/>
                    </a:cubicBezTo>
                    <a:cubicBezTo>
                      <a:pt x="558" y="452"/>
                      <a:pt x="558" y="456"/>
                      <a:pt x="557" y="462"/>
                    </a:cubicBezTo>
                    <a:cubicBezTo>
                      <a:pt x="557" y="462"/>
                      <a:pt x="557" y="462"/>
                      <a:pt x="557" y="462"/>
                    </a:cubicBezTo>
                    <a:cubicBezTo>
                      <a:pt x="556" y="464"/>
                      <a:pt x="556" y="466"/>
                      <a:pt x="556" y="468"/>
                    </a:cubicBezTo>
                    <a:cubicBezTo>
                      <a:pt x="556" y="470"/>
                      <a:pt x="555" y="473"/>
                      <a:pt x="555" y="475"/>
                    </a:cubicBezTo>
                    <a:cubicBezTo>
                      <a:pt x="555" y="475"/>
                      <a:pt x="555" y="476"/>
                      <a:pt x="555" y="477"/>
                    </a:cubicBezTo>
                    <a:cubicBezTo>
                      <a:pt x="555" y="478"/>
                      <a:pt x="555" y="478"/>
                      <a:pt x="555" y="478"/>
                    </a:cubicBezTo>
                    <a:cubicBezTo>
                      <a:pt x="555" y="478"/>
                      <a:pt x="555" y="479"/>
                      <a:pt x="555" y="480"/>
                    </a:cubicBezTo>
                    <a:cubicBezTo>
                      <a:pt x="555" y="481"/>
                      <a:pt x="555" y="482"/>
                      <a:pt x="555" y="482"/>
                    </a:cubicBezTo>
                    <a:cubicBezTo>
                      <a:pt x="555" y="482"/>
                      <a:pt x="555" y="482"/>
                      <a:pt x="555" y="482"/>
                    </a:cubicBezTo>
                    <a:cubicBezTo>
                      <a:pt x="555" y="482"/>
                      <a:pt x="555" y="482"/>
                      <a:pt x="556" y="482"/>
                    </a:cubicBezTo>
                    <a:cubicBezTo>
                      <a:pt x="556" y="482"/>
                      <a:pt x="556" y="482"/>
                      <a:pt x="556" y="482"/>
                    </a:cubicBezTo>
                    <a:cubicBezTo>
                      <a:pt x="556" y="482"/>
                      <a:pt x="557" y="482"/>
                      <a:pt x="557" y="482"/>
                    </a:cubicBezTo>
                    <a:cubicBezTo>
                      <a:pt x="558" y="482"/>
                      <a:pt x="558" y="482"/>
                      <a:pt x="558" y="482"/>
                    </a:cubicBezTo>
                    <a:cubicBezTo>
                      <a:pt x="559" y="482"/>
                      <a:pt x="561" y="482"/>
                      <a:pt x="562" y="482"/>
                    </a:cubicBezTo>
                    <a:cubicBezTo>
                      <a:pt x="564" y="482"/>
                      <a:pt x="566" y="482"/>
                      <a:pt x="567" y="483"/>
                    </a:cubicBezTo>
                    <a:cubicBezTo>
                      <a:pt x="568" y="485"/>
                      <a:pt x="569" y="486"/>
                      <a:pt x="569" y="487"/>
                    </a:cubicBezTo>
                    <a:cubicBezTo>
                      <a:pt x="569" y="488"/>
                      <a:pt x="569" y="489"/>
                      <a:pt x="569" y="491"/>
                    </a:cubicBezTo>
                    <a:cubicBezTo>
                      <a:pt x="569" y="491"/>
                      <a:pt x="569" y="491"/>
                      <a:pt x="569" y="491"/>
                    </a:cubicBezTo>
                    <a:cubicBezTo>
                      <a:pt x="569" y="492"/>
                      <a:pt x="569" y="492"/>
                      <a:pt x="569" y="492"/>
                    </a:cubicBezTo>
                    <a:cubicBezTo>
                      <a:pt x="570" y="495"/>
                      <a:pt x="571" y="499"/>
                      <a:pt x="572" y="502"/>
                    </a:cubicBezTo>
                    <a:cubicBezTo>
                      <a:pt x="573" y="506"/>
                      <a:pt x="573" y="506"/>
                      <a:pt x="573" y="506"/>
                    </a:cubicBezTo>
                    <a:cubicBezTo>
                      <a:pt x="573" y="508"/>
                      <a:pt x="573" y="508"/>
                      <a:pt x="573" y="508"/>
                    </a:cubicBezTo>
                    <a:cubicBezTo>
                      <a:pt x="574" y="511"/>
                      <a:pt x="574" y="511"/>
                      <a:pt x="574" y="511"/>
                    </a:cubicBezTo>
                    <a:cubicBezTo>
                      <a:pt x="596" y="510"/>
                      <a:pt x="596" y="510"/>
                      <a:pt x="596" y="510"/>
                    </a:cubicBezTo>
                    <a:cubicBezTo>
                      <a:pt x="597" y="510"/>
                      <a:pt x="597" y="510"/>
                      <a:pt x="598" y="510"/>
                    </a:cubicBezTo>
                    <a:cubicBezTo>
                      <a:pt x="599" y="510"/>
                      <a:pt x="601" y="510"/>
                      <a:pt x="602" y="510"/>
                    </a:cubicBezTo>
                    <a:cubicBezTo>
                      <a:pt x="603" y="510"/>
                      <a:pt x="604" y="510"/>
                      <a:pt x="605" y="510"/>
                    </a:cubicBezTo>
                    <a:cubicBezTo>
                      <a:pt x="605" y="510"/>
                      <a:pt x="605" y="510"/>
                      <a:pt x="605" y="510"/>
                    </a:cubicBezTo>
                    <a:cubicBezTo>
                      <a:pt x="605" y="510"/>
                      <a:pt x="606" y="510"/>
                      <a:pt x="607" y="510"/>
                    </a:cubicBezTo>
                    <a:cubicBezTo>
                      <a:pt x="607" y="511"/>
                      <a:pt x="607" y="511"/>
                      <a:pt x="607" y="511"/>
                    </a:cubicBezTo>
                    <a:cubicBezTo>
                      <a:pt x="608" y="512"/>
                      <a:pt x="608" y="512"/>
                      <a:pt x="608" y="512"/>
                    </a:cubicBezTo>
                    <a:cubicBezTo>
                      <a:pt x="608" y="512"/>
                      <a:pt x="608" y="512"/>
                      <a:pt x="608" y="512"/>
                    </a:cubicBezTo>
                    <a:cubicBezTo>
                      <a:pt x="609" y="513"/>
                      <a:pt x="609" y="513"/>
                      <a:pt x="609" y="513"/>
                    </a:cubicBezTo>
                    <a:cubicBezTo>
                      <a:pt x="609" y="513"/>
                      <a:pt x="609" y="513"/>
                      <a:pt x="609" y="513"/>
                    </a:cubicBezTo>
                    <a:cubicBezTo>
                      <a:pt x="610" y="514"/>
                      <a:pt x="611" y="514"/>
                      <a:pt x="612" y="515"/>
                    </a:cubicBezTo>
                    <a:cubicBezTo>
                      <a:pt x="613" y="515"/>
                      <a:pt x="614" y="517"/>
                      <a:pt x="614" y="518"/>
                    </a:cubicBezTo>
                    <a:cubicBezTo>
                      <a:pt x="614" y="518"/>
                      <a:pt x="614" y="519"/>
                      <a:pt x="614" y="519"/>
                    </a:cubicBezTo>
                    <a:cubicBezTo>
                      <a:pt x="615" y="521"/>
                      <a:pt x="614" y="523"/>
                      <a:pt x="613" y="525"/>
                    </a:cubicBezTo>
                    <a:cubicBezTo>
                      <a:pt x="615" y="527"/>
                      <a:pt x="618" y="528"/>
                      <a:pt x="621" y="529"/>
                    </a:cubicBezTo>
                    <a:cubicBezTo>
                      <a:pt x="622" y="530"/>
                      <a:pt x="622" y="530"/>
                      <a:pt x="622" y="530"/>
                    </a:cubicBezTo>
                    <a:cubicBezTo>
                      <a:pt x="622" y="529"/>
                      <a:pt x="622" y="528"/>
                      <a:pt x="622" y="527"/>
                    </a:cubicBezTo>
                    <a:cubicBezTo>
                      <a:pt x="622" y="524"/>
                      <a:pt x="622" y="524"/>
                      <a:pt x="622" y="524"/>
                    </a:cubicBezTo>
                    <a:cubicBezTo>
                      <a:pt x="622" y="519"/>
                      <a:pt x="626" y="515"/>
                      <a:pt x="630" y="513"/>
                    </a:cubicBezTo>
                    <a:cubicBezTo>
                      <a:pt x="631" y="512"/>
                      <a:pt x="632" y="512"/>
                      <a:pt x="632" y="511"/>
                    </a:cubicBezTo>
                    <a:cubicBezTo>
                      <a:pt x="633" y="511"/>
                      <a:pt x="633" y="511"/>
                      <a:pt x="633" y="511"/>
                    </a:cubicBezTo>
                    <a:cubicBezTo>
                      <a:pt x="634" y="510"/>
                      <a:pt x="634" y="510"/>
                      <a:pt x="634" y="510"/>
                    </a:cubicBezTo>
                    <a:cubicBezTo>
                      <a:pt x="634" y="509"/>
                      <a:pt x="634" y="509"/>
                      <a:pt x="634" y="509"/>
                    </a:cubicBezTo>
                    <a:cubicBezTo>
                      <a:pt x="636" y="508"/>
                      <a:pt x="638" y="506"/>
                      <a:pt x="640" y="505"/>
                    </a:cubicBezTo>
                    <a:cubicBezTo>
                      <a:pt x="640" y="504"/>
                      <a:pt x="640" y="504"/>
                      <a:pt x="640" y="504"/>
                    </a:cubicBezTo>
                    <a:cubicBezTo>
                      <a:pt x="641" y="504"/>
                      <a:pt x="641" y="504"/>
                      <a:pt x="641" y="504"/>
                    </a:cubicBezTo>
                    <a:cubicBezTo>
                      <a:pt x="643" y="502"/>
                      <a:pt x="646" y="500"/>
                      <a:pt x="648" y="498"/>
                    </a:cubicBezTo>
                    <a:cubicBezTo>
                      <a:pt x="653" y="495"/>
                      <a:pt x="657" y="492"/>
                      <a:pt x="661" y="490"/>
                    </a:cubicBezTo>
                    <a:cubicBezTo>
                      <a:pt x="686" y="476"/>
                      <a:pt x="686" y="476"/>
                      <a:pt x="686" y="476"/>
                    </a:cubicBezTo>
                    <a:cubicBezTo>
                      <a:pt x="686" y="475"/>
                      <a:pt x="686" y="474"/>
                      <a:pt x="686" y="474"/>
                    </a:cubicBezTo>
                    <a:cubicBezTo>
                      <a:pt x="686" y="472"/>
                      <a:pt x="687" y="471"/>
                      <a:pt x="688" y="470"/>
                    </a:cubicBezTo>
                    <a:cubicBezTo>
                      <a:pt x="689" y="469"/>
                      <a:pt x="691" y="467"/>
                      <a:pt x="692" y="466"/>
                    </a:cubicBezTo>
                    <a:cubicBezTo>
                      <a:pt x="694" y="464"/>
                      <a:pt x="694" y="464"/>
                      <a:pt x="694" y="464"/>
                    </a:cubicBezTo>
                    <a:cubicBezTo>
                      <a:pt x="694" y="464"/>
                      <a:pt x="695" y="464"/>
                      <a:pt x="695" y="463"/>
                    </a:cubicBezTo>
                    <a:cubicBezTo>
                      <a:pt x="696" y="461"/>
                      <a:pt x="698" y="460"/>
                      <a:pt x="699" y="458"/>
                    </a:cubicBezTo>
                    <a:cubicBezTo>
                      <a:pt x="700" y="458"/>
                      <a:pt x="701" y="458"/>
                      <a:pt x="701" y="457"/>
                    </a:cubicBezTo>
                    <a:cubicBezTo>
                      <a:pt x="703" y="457"/>
                      <a:pt x="704" y="457"/>
                      <a:pt x="705" y="457"/>
                    </a:cubicBezTo>
                    <a:cubicBezTo>
                      <a:pt x="706" y="457"/>
                      <a:pt x="707" y="457"/>
                      <a:pt x="707" y="457"/>
                    </a:cubicBezTo>
                    <a:cubicBezTo>
                      <a:pt x="708" y="457"/>
                      <a:pt x="708" y="457"/>
                      <a:pt x="708" y="457"/>
                    </a:cubicBezTo>
                    <a:cubicBezTo>
                      <a:pt x="709" y="457"/>
                      <a:pt x="709" y="457"/>
                      <a:pt x="710" y="457"/>
                    </a:cubicBezTo>
                    <a:cubicBezTo>
                      <a:pt x="724" y="457"/>
                      <a:pt x="724" y="457"/>
                      <a:pt x="724" y="457"/>
                    </a:cubicBezTo>
                    <a:cubicBezTo>
                      <a:pt x="724" y="457"/>
                      <a:pt x="724" y="457"/>
                      <a:pt x="724" y="457"/>
                    </a:cubicBezTo>
                    <a:cubicBezTo>
                      <a:pt x="727" y="457"/>
                      <a:pt x="730" y="458"/>
                      <a:pt x="733" y="458"/>
                    </a:cubicBezTo>
                    <a:cubicBezTo>
                      <a:pt x="740" y="460"/>
                      <a:pt x="747" y="462"/>
                      <a:pt x="753" y="465"/>
                    </a:cubicBezTo>
                    <a:cubicBezTo>
                      <a:pt x="757" y="466"/>
                      <a:pt x="757" y="466"/>
                      <a:pt x="757" y="466"/>
                    </a:cubicBezTo>
                    <a:cubicBezTo>
                      <a:pt x="757" y="466"/>
                      <a:pt x="758" y="466"/>
                      <a:pt x="759" y="466"/>
                    </a:cubicBezTo>
                    <a:cubicBezTo>
                      <a:pt x="757" y="458"/>
                      <a:pt x="761" y="449"/>
                      <a:pt x="769" y="445"/>
                    </a:cubicBezTo>
                    <a:cubicBezTo>
                      <a:pt x="767" y="438"/>
                      <a:pt x="767" y="438"/>
                      <a:pt x="767" y="438"/>
                    </a:cubicBezTo>
                    <a:cubicBezTo>
                      <a:pt x="771" y="444"/>
                      <a:pt x="771" y="444"/>
                      <a:pt x="771" y="444"/>
                    </a:cubicBezTo>
                    <a:cubicBezTo>
                      <a:pt x="774" y="443"/>
                      <a:pt x="777" y="442"/>
                      <a:pt x="781" y="441"/>
                    </a:cubicBezTo>
                    <a:cubicBezTo>
                      <a:pt x="782" y="442"/>
                      <a:pt x="782" y="442"/>
                      <a:pt x="782" y="442"/>
                    </a:cubicBezTo>
                    <a:cubicBezTo>
                      <a:pt x="783" y="442"/>
                      <a:pt x="783" y="442"/>
                      <a:pt x="784" y="442"/>
                    </a:cubicBezTo>
                    <a:cubicBezTo>
                      <a:pt x="787" y="442"/>
                      <a:pt x="790" y="442"/>
                      <a:pt x="793" y="444"/>
                    </a:cubicBezTo>
                    <a:cubicBezTo>
                      <a:pt x="795" y="445"/>
                      <a:pt x="796" y="446"/>
                      <a:pt x="797" y="447"/>
                    </a:cubicBezTo>
                    <a:cubicBezTo>
                      <a:pt x="798" y="447"/>
                      <a:pt x="798" y="447"/>
                      <a:pt x="798" y="447"/>
                    </a:cubicBezTo>
                    <a:cubicBezTo>
                      <a:pt x="799" y="448"/>
                      <a:pt x="799" y="448"/>
                      <a:pt x="799" y="448"/>
                    </a:cubicBezTo>
                    <a:cubicBezTo>
                      <a:pt x="801" y="449"/>
                      <a:pt x="802" y="449"/>
                      <a:pt x="804" y="450"/>
                    </a:cubicBezTo>
                    <a:cubicBezTo>
                      <a:pt x="805" y="450"/>
                      <a:pt x="805" y="450"/>
                      <a:pt x="805" y="450"/>
                    </a:cubicBezTo>
                    <a:cubicBezTo>
                      <a:pt x="807" y="451"/>
                      <a:pt x="808" y="451"/>
                      <a:pt x="809" y="452"/>
                    </a:cubicBezTo>
                    <a:cubicBezTo>
                      <a:pt x="810" y="452"/>
                      <a:pt x="810" y="452"/>
                      <a:pt x="810" y="452"/>
                    </a:cubicBezTo>
                    <a:cubicBezTo>
                      <a:pt x="811" y="452"/>
                      <a:pt x="812" y="453"/>
                      <a:pt x="813" y="453"/>
                    </a:cubicBezTo>
                    <a:cubicBezTo>
                      <a:pt x="815" y="453"/>
                      <a:pt x="815" y="453"/>
                      <a:pt x="815" y="453"/>
                    </a:cubicBezTo>
                    <a:cubicBezTo>
                      <a:pt x="816" y="453"/>
                      <a:pt x="816" y="453"/>
                      <a:pt x="817" y="453"/>
                    </a:cubicBezTo>
                    <a:cubicBezTo>
                      <a:pt x="817" y="453"/>
                      <a:pt x="817" y="453"/>
                      <a:pt x="817" y="453"/>
                    </a:cubicBezTo>
                    <a:cubicBezTo>
                      <a:pt x="818" y="453"/>
                      <a:pt x="819" y="453"/>
                      <a:pt x="820" y="453"/>
                    </a:cubicBezTo>
                    <a:cubicBezTo>
                      <a:pt x="821" y="453"/>
                      <a:pt x="821" y="453"/>
                      <a:pt x="821" y="453"/>
                    </a:cubicBezTo>
                    <a:cubicBezTo>
                      <a:pt x="822" y="452"/>
                      <a:pt x="823" y="452"/>
                      <a:pt x="824" y="452"/>
                    </a:cubicBezTo>
                    <a:cubicBezTo>
                      <a:pt x="825" y="451"/>
                      <a:pt x="826" y="451"/>
                      <a:pt x="828" y="450"/>
                    </a:cubicBezTo>
                    <a:cubicBezTo>
                      <a:pt x="828" y="450"/>
                      <a:pt x="828" y="450"/>
                      <a:pt x="828" y="450"/>
                    </a:cubicBezTo>
                    <a:cubicBezTo>
                      <a:pt x="829" y="450"/>
                      <a:pt x="830" y="450"/>
                      <a:pt x="831" y="450"/>
                    </a:cubicBezTo>
                    <a:cubicBezTo>
                      <a:pt x="832" y="450"/>
                      <a:pt x="834" y="450"/>
                      <a:pt x="836" y="450"/>
                    </a:cubicBezTo>
                    <a:cubicBezTo>
                      <a:pt x="839" y="450"/>
                      <a:pt x="843" y="450"/>
                      <a:pt x="846" y="450"/>
                    </a:cubicBezTo>
                    <a:cubicBezTo>
                      <a:pt x="846" y="450"/>
                      <a:pt x="846" y="450"/>
                      <a:pt x="846" y="450"/>
                    </a:cubicBezTo>
                    <a:cubicBezTo>
                      <a:pt x="849" y="451"/>
                      <a:pt x="851" y="451"/>
                      <a:pt x="853" y="451"/>
                    </a:cubicBezTo>
                    <a:cubicBezTo>
                      <a:pt x="856" y="451"/>
                      <a:pt x="856" y="451"/>
                      <a:pt x="856" y="451"/>
                    </a:cubicBezTo>
                    <a:cubicBezTo>
                      <a:pt x="862" y="451"/>
                      <a:pt x="868" y="451"/>
                      <a:pt x="874" y="451"/>
                    </a:cubicBezTo>
                    <a:cubicBezTo>
                      <a:pt x="874" y="446"/>
                      <a:pt x="874" y="446"/>
                      <a:pt x="874" y="446"/>
                    </a:cubicBezTo>
                    <a:cubicBezTo>
                      <a:pt x="875" y="451"/>
                      <a:pt x="875" y="451"/>
                      <a:pt x="875" y="451"/>
                    </a:cubicBezTo>
                    <a:cubicBezTo>
                      <a:pt x="876" y="451"/>
                      <a:pt x="876" y="451"/>
                      <a:pt x="876" y="451"/>
                    </a:cubicBezTo>
                    <a:cubicBezTo>
                      <a:pt x="878" y="452"/>
                      <a:pt x="880" y="452"/>
                      <a:pt x="882" y="452"/>
                    </a:cubicBezTo>
                    <a:cubicBezTo>
                      <a:pt x="886" y="452"/>
                      <a:pt x="891" y="453"/>
                      <a:pt x="896" y="453"/>
                    </a:cubicBezTo>
                    <a:cubicBezTo>
                      <a:pt x="898" y="453"/>
                      <a:pt x="899" y="452"/>
                      <a:pt x="900" y="452"/>
                    </a:cubicBezTo>
                    <a:cubicBezTo>
                      <a:pt x="901" y="452"/>
                      <a:pt x="901" y="452"/>
                      <a:pt x="901" y="452"/>
                    </a:cubicBezTo>
                    <a:cubicBezTo>
                      <a:pt x="902" y="452"/>
                      <a:pt x="902" y="452"/>
                      <a:pt x="903" y="452"/>
                    </a:cubicBezTo>
                    <a:cubicBezTo>
                      <a:pt x="904" y="452"/>
                      <a:pt x="904" y="452"/>
                      <a:pt x="905" y="452"/>
                    </a:cubicBezTo>
                    <a:cubicBezTo>
                      <a:pt x="906" y="453"/>
                      <a:pt x="908" y="453"/>
                      <a:pt x="909" y="453"/>
                    </a:cubicBezTo>
                    <a:cubicBezTo>
                      <a:pt x="910" y="453"/>
                      <a:pt x="911" y="454"/>
                      <a:pt x="913" y="454"/>
                    </a:cubicBezTo>
                    <a:cubicBezTo>
                      <a:pt x="915" y="455"/>
                      <a:pt x="915" y="455"/>
                      <a:pt x="915" y="455"/>
                    </a:cubicBezTo>
                    <a:cubicBezTo>
                      <a:pt x="916" y="455"/>
                      <a:pt x="918" y="456"/>
                      <a:pt x="919" y="456"/>
                    </a:cubicBezTo>
                    <a:cubicBezTo>
                      <a:pt x="920" y="456"/>
                      <a:pt x="920" y="456"/>
                      <a:pt x="920" y="456"/>
                    </a:cubicBezTo>
                    <a:cubicBezTo>
                      <a:pt x="921" y="455"/>
                      <a:pt x="922" y="455"/>
                      <a:pt x="923" y="455"/>
                    </a:cubicBezTo>
                    <a:cubicBezTo>
                      <a:pt x="923" y="455"/>
                      <a:pt x="924" y="455"/>
                      <a:pt x="924" y="455"/>
                    </a:cubicBezTo>
                    <a:cubicBezTo>
                      <a:pt x="925" y="455"/>
                      <a:pt x="925" y="455"/>
                      <a:pt x="925" y="455"/>
                    </a:cubicBezTo>
                    <a:cubicBezTo>
                      <a:pt x="928" y="456"/>
                      <a:pt x="930" y="459"/>
                      <a:pt x="932" y="463"/>
                    </a:cubicBezTo>
                    <a:cubicBezTo>
                      <a:pt x="932" y="464"/>
                      <a:pt x="932" y="464"/>
                      <a:pt x="932" y="464"/>
                    </a:cubicBezTo>
                    <a:cubicBezTo>
                      <a:pt x="934" y="466"/>
                      <a:pt x="935" y="467"/>
                      <a:pt x="938" y="467"/>
                    </a:cubicBezTo>
                    <a:cubicBezTo>
                      <a:pt x="939" y="467"/>
                      <a:pt x="939" y="467"/>
                      <a:pt x="939" y="467"/>
                    </a:cubicBezTo>
                    <a:cubicBezTo>
                      <a:pt x="940" y="467"/>
                      <a:pt x="941" y="467"/>
                      <a:pt x="941" y="467"/>
                    </a:cubicBezTo>
                    <a:cubicBezTo>
                      <a:pt x="942" y="467"/>
                      <a:pt x="942" y="467"/>
                      <a:pt x="942" y="467"/>
                    </a:cubicBezTo>
                    <a:cubicBezTo>
                      <a:pt x="944" y="467"/>
                      <a:pt x="945" y="468"/>
                      <a:pt x="947" y="468"/>
                    </a:cubicBezTo>
                    <a:cubicBezTo>
                      <a:pt x="948" y="469"/>
                      <a:pt x="949" y="470"/>
                      <a:pt x="950" y="470"/>
                    </a:cubicBezTo>
                    <a:cubicBezTo>
                      <a:pt x="951" y="471"/>
                      <a:pt x="951" y="471"/>
                      <a:pt x="951" y="471"/>
                    </a:cubicBezTo>
                    <a:cubicBezTo>
                      <a:pt x="951" y="470"/>
                      <a:pt x="951" y="470"/>
                      <a:pt x="951" y="470"/>
                    </a:cubicBezTo>
                    <a:cubicBezTo>
                      <a:pt x="950" y="468"/>
                      <a:pt x="950" y="468"/>
                      <a:pt x="950" y="468"/>
                    </a:cubicBezTo>
                    <a:cubicBezTo>
                      <a:pt x="949" y="464"/>
                      <a:pt x="950" y="461"/>
                      <a:pt x="951" y="458"/>
                    </a:cubicBezTo>
                    <a:cubicBezTo>
                      <a:pt x="953" y="455"/>
                      <a:pt x="955" y="454"/>
                      <a:pt x="956" y="454"/>
                    </a:cubicBezTo>
                    <a:cubicBezTo>
                      <a:pt x="957" y="454"/>
                      <a:pt x="957" y="454"/>
                      <a:pt x="957" y="454"/>
                    </a:cubicBezTo>
                    <a:cubicBezTo>
                      <a:pt x="955" y="452"/>
                      <a:pt x="955" y="450"/>
                      <a:pt x="956" y="449"/>
                    </a:cubicBezTo>
                    <a:cubicBezTo>
                      <a:pt x="957" y="446"/>
                      <a:pt x="961" y="445"/>
                      <a:pt x="965" y="444"/>
                    </a:cubicBezTo>
                    <a:cubicBezTo>
                      <a:pt x="966" y="444"/>
                      <a:pt x="966" y="444"/>
                      <a:pt x="967" y="444"/>
                    </a:cubicBezTo>
                    <a:cubicBezTo>
                      <a:pt x="967" y="442"/>
                      <a:pt x="966" y="440"/>
                      <a:pt x="966" y="439"/>
                    </a:cubicBezTo>
                    <a:cubicBezTo>
                      <a:pt x="966" y="438"/>
                      <a:pt x="966" y="438"/>
                      <a:pt x="966" y="438"/>
                    </a:cubicBezTo>
                    <a:cubicBezTo>
                      <a:pt x="965" y="437"/>
                      <a:pt x="965" y="437"/>
                      <a:pt x="965" y="437"/>
                    </a:cubicBezTo>
                    <a:cubicBezTo>
                      <a:pt x="965" y="436"/>
                      <a:pt x="965" y="435"/>
                      <a:pt x="964" y="434"/>
                    </a:cubicBezTo>
                    <a:cubicBezTo>
                      <a:pt x="964" y="434"/>
                      <a:pt x="964" y="434"/>
                      <a:pt x="964" y="434"/>
                    </a:cubicBezTo>
                    <a:cubicBezTo>
                      <a:pt x="963" y="431"/>
                      <a:pt x="962" y="428"/>
                      <a:pt x="961" y="426"/>
                    </a:cubicBezTo>
                    <a:cubicBezTo>
                      <a:pt x="960" y="424"/>
                      <a:pt x="959" y="423"/>
                      <a:pt x="959" y="421"/>
                    </a:cubicBezTo>
                    <a:cubicBezTo>
                      <a:pt x="957" y="417"/>
                      <a:pt x="956" y="413"/>
                      <a:pt x="956" y="409"/>
                    </a:cubicBezTo>
                    <a:cubicBezTo>
                      <a:pt x="955" y="407"/>
                      <a:pt x="955" y="407"/>
                      <a:pt x="955" y="407"/>
                    </a:cubicBezTo>
                    <a:cubicBezTo>
                      <a:pt x="954" y="403"/>
                      <a:pt x="954" y="399"/>
                      <a:pt x="955" y="395"/>
                    </a:cubicBezTo>
                    <a:cubicBezTo>
                      <a:pt x="955" y="394"/>
                      <a:pt x="956" y="393"/>
                      <a:pt x="956" y="393"/>
                    </a:cubicBezTo>
                    <a:cubicBezTo>
                      <a:pt x="955" y="392"/>
                      <a:pt x="954" y="392"/>
                      <a:pt x="953" y="392"/>
                    </a:cubicBezTo>
                    <a:cubicBezTo>
                      <a:pt x="953" y="392"/>
                      <a:pt x="952" y="392"/>
                      <a:pt x="952" y="392"/>
                    </a:cubicBezTo>
                    <a:cubicBezTo>
                      <a:pt x="951" y="392"/>
                      <a:pt x="950" y="393"/>
                      <a:pt x="949" y="393"/>
                    </a:cubicBezTo>
                    <a:cubicBezTo>
                      <a:pt x="948" y="393"/>
                      <a:pt x="946" y="392"/>
                      <a:pt x="944" y="391"/>
                    </a:cubicBezTo>
                    <a:cubicBezTo>
                      <a:pt x="943" y="390"/>
                      <a:pt x="943" y="390"/>
                      <a:pt x="943" y="390"/>
                    </a:cubicBezTo>
                    <a:cubicBezTo>
                      <a:pt x="942" y="389"/>
                      <a:pt x="940" y="387"/>
                      <a:pt x="942" y="384"/>
                    </a:cubicBezTo>
                    <a:cubicBezTo>
                      <a:pt x="945" y="379"/>
                      <a:pt x="949" y="378"/>
                      <a:pt x="952" y="378"/>
                    </a:cubicBezTo>
                    <a:cubicBezTo>
                      <a:pt x="953" y="378"/>
                      <a:pt x="953" y="378"/>
                      <a:pt x="953" y="378"/>
                    </a:cubicBezTo>
                    <a:cubicBezTo>
                      <a:pt x="959" y="376"/>
                      <a:pt x="965" y="374"/>
                      <a:pt x="970" y="373"/>
                    </a:cubicBezTo>
                    <a:cubicBezTo>
                      <a:pt x="988" y="368"/>
                      <a:pt x="988" y="368"/>
                      <a:pt x="988" y="368"/>
                    </a:cubicBezTo>
                    <a:cubicBezTo>
                      <a:pt x="988" y="368"/>
                      <a:pt x="988" y="368"/>
                      <a:pt x="989" y="368"/>
                    </a:cubicBezTo>
                    <a:cubicBezTo>
                      <a:pt x="989" y="368"/>
                      <a:pt x="989" y="368"/>
                      <a:pt x="989" y="368"/>
                    </a:cubicBezTo>
                    <a:cubicBezTo>
                      <a:pt x="992" y="367"/>
                      <a:pt x="994" y="366"/>
                      <a:pt x="996" y="366"/>
                    </a:cubicBezTo>
                    <a:cubicBezTo>
                      <a:pt x="997" y="366"/>
                      <a:pt x="997" y="366"/>
                      <a:pt x="998" y="367"/>
                    </a:cubicBezTo>
                    <a:cubicBezTo>
                      <a:pt x="1002" y="368"/>
                      <a:pt x="1002" y="370"/>
                      <a:pt x="1002" y="372"/>
                    </a:cubicBezTo>
                    <a:cubicBezTo>
                      <a:pt x="1002" y="372"/>
                      <a:pt x="1002" y="372"/>
                      <a:pt x="1002" y="372"/>
                    </a:cubicBezTo>
                    <a:cubicBezTo>
                      <a:pt x="1003" y="372"/>
                      <a:pt x="1003" y="372"/>
                      <a:pt x="1004" y="372"/>
                    </a:cubicBezTo>
                    <a:cubicBezTo>
                      <a:pt x="1005" y="372"/>
                      <a:pt x="1007" y="372"/>
                      <a:pt x="1007" y="372"/>
                    </a:cubicBezTo>
                    <a:cubicBezTo>
                      <a:pt x="1009" y="372"/>
                      <a:pt x="1010" y="372"/>
                      <a:pt x="1011" y="372"/>
                    </a:cubicBezTo>
                    <a:cubicBezTo>
                      <a:pt x="1012" y="372"/>
                      <a:pt x="1012" y="372"/>
                      <a:pt x="1012" y="372"/>
                    </a:cubicBezTo>
                    <a:cubicBezTo>
                      <a:pt x="1013" y="372"/>
                      <a:pt x="1015" y="372"/>
                      <a:pt x="1016" y="372"/>
                    </a:cubicBezTo>
                    <a:cubicBezTo>
                      <a:pt x="1017" y="372"/>
                      <a:pt x="1018" y="372"/>
                      <a:pt x="1019" y="372"/>
                    </a:cubicBezTo>
                    <a:cubicBezTo>
                      <a:pt x="1019" y="370"/>
                      <a:pt x="1019" y="369"/>
                      <a:pt x="1019" y="369"/>
                    </a:cubicBezTo>
                    <a:cubicBezTo>
                      <a:pt x="1019" y="369"/>
                      <a:pt x="1019" y="368"/>
                      <a:pt x="1018" y="368"/>
                    </a:cubicBezTo>
                    <a:cubicBezTo>
                      <a:pt x="1017" y="368"/>
                      <a:pt x="1017" y="368"/>
                      <a:pt x="1017" y="368"/>
                    </a:cubicBezTo>
                    <a:cubicBezTo>
                      <a:pt x="1015" y="368"/>
                      <a:pt x="1012" y="367"/>
                      <a:pt x="1011" y="365"/>
                    </a:cubicBezTo>
                    <a:cubicBezTo>
                      <a:pt x="1010" y="364"/>
                      <a:pt x="1010" y="363"/>
                      <a:pt x="1010" y="361"/>
                    </a:cubicBezTo>
                    <a:cubicBezTo>
                      <a:pt x="1030" y="306"/>
                      <a:pt x="1030" y="306"/>
                      <a:pt x="1030" y="306"/>
                    </a:cubicBezTo>
                    <a:cubicBezTo>
                      <a:pt x="1031" y="303"/>
                      <a:pt x="1032" y="300"/>
                      <a:pt x="1037" y="300"/>
                    </a:cubicBezTo>
                    <a:cubicBezTo>
                      <a:pt x="1037" y="300"/>
                      <a:pt x="1038" y="300"/>
                      <a:pt x="1039" y="300"/>
                    </a:cubicBezTo>
                    <a:cubicBezTo>
                      <a:pt x="1041" y="300"/>
                      <a:pt x="1044" y="302"/>
                      <a:pt x="1047" y="304"/>
                    </a:cubicBezTo>
                    <a:cubicBezTo>
                      <a:pt x="1048" y="305"/>
                      <a:pt x="1048" y="305"/>
                      <a:pt x="1048" y="305"/>
                    </a:cubicBezTo>
                    <a:cubicBezTo>
                      <a:pt x="1053" y="307"/>
                      <a:pt x="1059" y="309"/>
                      <a:pt x="1062" y="309"/>
                    </a:cubicBezTo>
                    <a:cubicBezTo>
                      <a:pt x="1063" y="309"/>
                      <a:pt x="1064" y="309"/>
                      <a:pt x="1064" y="309"/>
                    </a:cubicBezTo>
                    <a:cubicBezTo>
                      <a:pt x="1066" y="308"/>
                      <a:pt x="1068" y="307"/>
                      <a:pt x="1071" y="307"/>
                    </a:cubicBezTo>
                    <a:cubicBezTo>
                      <a:pt x="1076" y="307"/>
                      <a:pt x="1082" y="309"/>
                      <a:pt x="1084" y="310"/>
                    </a:cubicBezTo>
                    <a:cubicBezTo>
                      <a:pt x="1086" y="310"/>
                      <a:pt x="1087" y="310"/>
                      <a:pt x="1088" y="310"/>
                    </a:cubicBezTo>
                    <a:cubicBezTo>
                      <a:pt x="1090" y="310"/>
                      <a:pt x="1092" y="310"/>
                      <a:pt x="1095" y="308"/>
                    </a:cubicBezTo>
                    <a:cubicBezTo>
                      <a:pt x="1097" y="307"/>
                      <a:pt x="1097" y="307"/>
                      <a:pt x="1097" y="307"/>
                    </a:cubicBezTo>
                    <a:cubicBezTo>
                      <a:pt x="1104" y="304"/>
                      <a:pt x="1107" y="302"/>
                      <a:pt x="1106" y="297"/>
                    </a:cubicBezTo>
                    <a:cubicBezTo>
                      <a:pt x="1106" y="294"/>
                      <a:pt x="1105" y="290"/>
                      <a:pt x="1104" y="286"/>
                    </a:cubicBezTo>
                    <a:cubicBezTo>
                      <a:pt x="1104" y="283"/>
                      <a:pt x="1103" y="279"/>
                      <a:pt x="1103" y="276"/>
                    </a:cubicBezTo>
                    <a:cubicBezTo>
                      <a:pt x="1102" y="272"/>
                      <a:pt x="1107" y="259"/>
                      <a:pt x="1112" y="257"/>
                    </a:cubicBezTo>
                    <a:cubicBezTo>
                      <a:pt x="1114" y="256"/>
                      <a:pt x="1116" y="256"/>
                      <a:pt x="1118" y="256"/>
                    </a:cubicBezTo>
                    <a:cubicBezTo>
                      <a:pt x="1119" y="256"/>
                      <a:pt x="1119" y="256"/>
                      <a:pt x="1120" y="256"/>
                    </a:cubicBezTo>
                    <a:cubicBezTo>
                      <a:pt x="1124" y="256"/>
                      <a:pt x="1128" y="254"/>
                      <a:pt x="1132" y="253"/>
                    </a:cubicBezTo>
                    <a:cubicBezTo>
                      <a:pt x="1134" y="252"/>
                      <a:pt x="1136" y="250"/>
                      <a:pt x="1137" y="247"/>
                    </a:cubicBezTo>
                    <a:cubicBezTo>
                      <a:pt x="1137" y="247"/>
                      <a:pt x="1137" y="247"/>
                      <a:pt x="1137" y="247"/>
                    </a:cubicBezTo>
                    <a:cubicBezTo>
                      <a:pt x="1137" y="247"/>
                      <a:pt x="1138" y="246"/>
                      <a:pt x="1138" y="246"/>
                    </a:cubicBezTo>
                    <a:cubicBezTo>
                      <a:pt x="1138" y="245"/>
                      <a:pt x="1138" y="245"/>
                      <a:pt x="1138" y="245"/>
                    </a:cubicBezTo>
                    <a:cubicBezTo>
                      <a:pt x="1137" y="244"/>
                      <a:pt x="1137" y="243"/>
                      <a:pt x="1137" y="242"/>
                    </a:cubicBezTo>
                    <a:cubicBezTo>
                      <a:pt x="1137" y="241"/>
                      <a:pt x="1137" y="240"/>
                      <a:pt x="1138" y="240"/>
                    </a:cubicBezTo>
                    <a:cubicBezTo>
                      <a:pt x="1138" y="239"/>
                      <a:pt x="1138" y="239"/>
                      <a:pt x="1138" y="239"/>
                    </a:cubicBezTo>
                    <a:cubicBezTo>
                      <a:pt x="1138" y="223"/>
                      <a:pt x="1138" y="223"/>
                      <a:pt x="1138" y="223"/>
                    </a:cubicBezTo>
                    <a:cubicBezTo>
                      <a:pt x="1137" y="223"/>
                      <a:pt x="1137" y="222"/>
                      <a:pt x="1136" y="222"/>
                    </a:cubicBezTo>
                    <a:cubicBezTo>
                      <a:pt x="1135" y="221"/>
                      <a:pt x="1135" y="221"/>
                      <a:pt x="1134" y="220"/>
                    </a:cubicBezTo>
                    <a:cubicBezTo>
                      <a:pt x="1133" y="219"/>
                      <a:pt x="1133" y="218"/>
                      <a:pt x="1132" y="218"/>
                    </a:cubicBezTo>
                    <a:cubicBezTo>
                      <a:pt x="1132" y="218"/>
                      <a:pt x="1131" y="219"/>
                      <a:pt x="1130" y="220"/>
                    </a:cubicBezTo>
                    <a:cubicBezTo>
                      <a:pt x="1123" y="226"/>
                      <a:pt x="1123" y="226"/>
                      <a:pt x="1123" y="226"/>
                    </a:cubicBezTo>
                    <a:cubicBezTo>
                      <a:pt x="1121" y="224"/>
                      <a:pt x="1121" y="224"/>
                      <a:pt x="1121" y="224"/>
                    </a:cubicBezTo>
                    <a:cubicBezTo>
                      <a:pt x="1120" y="224"/>
                      <a:pt x="1120" y="224"/>
                      <a:pt x="1120" y="224"/>
                    </a:cubicBezTo>
                    <a:cubicBezTo>
                      <a:pt x="1117" y="224"/>
                      <a:pt x="1117" y="224"/>
                      <a:pt x="1117" y="224"/>
                    </a:cubicBezTo>
                    <a:cubicBezTo>
                      <a:pt x="1116" y="224"/>
                      <a:pt x="1116" y="224"/>
                      <a:pt x="1116" y="224"/>
                    </a:cubicBezTo>
                    <a:cubicBezTo>
                      <a:pt x="1114" y="222"/>
                      <a:pt x="1114" y="222"/>
                      <a:pt x="1114" y="222"/>
                    </a:cubicBezTo>
                    <a:cubicBezTo>
                      <a:pt x="1114" y="222"/>
                      <a:pt x="1114" y="222"/>
                      <a:pt x="1114" y="222"/>
                    </a:cubicBezTo>
                    <a:cubicBezTo>
                      <a:pt x="1112" y="222"/>
                      <a:pt x="1112" y="222"/>
                      <a:pt x="1112" y="222"/>
                    </a:cubicBezTo>
                    <a:cubicBezTo>
                      <a:pt x="1112" y="222"/>
                      <a:pt x="1112" y="222"/>
                      <a:pt x="1112" y="222"/>
                    </a:cubicBezTo>
                    <a:cubicBezTo>
                      <a:pt x="1096" y="220"/>
                      <a:pt x="1096" y="220"/>
                      <a:pt x="1096" y="220"/>
                    </a:cubicBezTo>
                    <a:cubicBezTo>
                      <a:pt x="1093" y="217"/>
                      <a:pt x="1093" y="217"/>
                      <a:pt x="1093" y="217"/>
                    </a:cubicBezTo>
                    <a:cubicBezTo>
                      <a:pt x="1093" y="217"/>
                      <a:pt x="1093" y="217"/>
                      <a:pt x="1093" y="217"/>
                    </a:cubicBezTo>
                    <a:cubicBezTo>
                      <a:pt x="1093" y="216"/>
                      <a:pt x="1093" y="216"/>
                      <a:pt x="1093" y="216"/>
                    </a:cubicBezTo>
                    <a:cubicBezTo>
                      <a:pt x="1092" y="215"/>
                      <a:pt x="1092" y="215"/>
                      <a:pt x="1092" y="215"/>
                    </a:cubicBezTo>
                    <a:cubicBezTo>
                      <a:pt x="1092" y="214"/>
                      <a:pt x="1092" y="214"/>
                      <a:pt x="1092" y="214"/>
                    </a:cubicBezTo>
                    <a:cubicBezTo>
                      <a:pt x="1092" y="213"/>
                      <a:pt x="1092" y="213"/>
                      <a:pt x="1092" y="213"/>
                    </a:cubicBezTo>
                    <a:cubicBezTo>
                      <a:pt x="1091" y="213"/>
                      <a:pt x="1091" y="212"/>
                      <a:pt x="1090" y="211"/>
                    </a:cubicBezTo>
                    <a:cubicBezTo>
                      <a:pt x="1090" y="211"/>
                      <a:pt x="1089" y="210"/>
                      <a:pt x="1089" y="209"/>
                    </a:cubicBezTo>
                    <a:cubicBezTo>
                      <a:pt x="1089" y="209"/>
                      <a:pt x="1089" y="209"/>
                      <a:pt x="1089" y="209"/>
                    </a:cubicBezTo>
                    <a:cubicBezTo>
                      <a:pt x="1089" y="209"/>
                      <a:pt x="1088" y="208"/>
                      <a:pt x="1087" y="208"/>
                    </a:cubicBezTo>
                    <a:cubicBezTo>
                      <a:pt x="1086" y="207"/>
                      <a:pt x="1086" y="207"/>
                      <a:pt x="1086" y="207"/>
                    </a:cubicBezTo>
                    <a:cubicBezTo>
                      <a:pt x="1086" y="205"/>
                      <a:pt x="1086" y="205"/>
                      <a:pt x="1086" y="205"/>
                    </a:cubicBezTo>
                    <a:cubicBezTo>
                      <a:pt x="1086" y="202"/>
                      <a:pt x="1086" y="202"/>
                      <a:pt x="1086" y="202"/>
                    </a:cubicBezTo>
                    <a:cubicBezTo>
                      <a:pt x="1074" y="196"/>
                      <a:pt x="1074" y="196"/>
                      <a:pt x="1074" y="196"/>
                    </a:cubicBezTo>
                    <a:cubicBezTo>
                      <a:pt x="1072" y="195"/>
                      <a:pt x="1072" y="195"/>
                      <a:pt x="1072" y="195"/>
                    </a:cubicBezTo>
                    <a:cubicBezTo>
                      <a:pt x="1072" y="195"/>
                      <a:pt x="1072" y="195"/>
                      <a:pt x="1072" y="195"/>
                    </a:cubicBezTo>
                    <a:cubicBezTo>
                      <a:pt x="1071" y="195"/>
                      <a:pt x="1071" y="195"/>
                      <a:pt x="1071" y="195"/>
                    </a:cubicBezTo>
                    <a:cubicBezTo>
                      <a:pt x="1066" y="194"/>
                      <a:pt x="1066" y="194"/>
                      <a:pt x="1066" y="194"/>
                    </a:cubicBezTo>
                    <a:cubicBezTo>
                      <a:pt x="1066" y="192"/>
                      <a:pt x="1066" y="192"/>
                      <a:pt x="1066" y="192"/>
                    </a:cubicBezTo>
                    <a:cubicBezTo>
                      <a:pt x="1065" y="191"/>
                      <a:pt x="1065" y="190"/>
                      <a:pt x="1064" y="188"/>
                    </a:cubicBezTo>
                    <a:cubicBezTo>
                      <a:pt x="1064" y="187"/>
                      <a:pt x="1064" y="187"/>
                      <a:pt x="1064" y="187"/>
                    </a:cubicBezTo>
                    <a:cubicBezTo>
                      <a:pt x="1064" y="187"/>
                      <a:pt x="1064" y="186"/>
                      <a:pt x="1064" y="186"/>
                    </a:cubicBezTo>
                    <a:cubicBezTo>
                      <a:pt x="1063" y="184"/>
                      <a:pt x="1063" y="184"/>
                      <a:pt x="1063" y="184"/>
                    </a:cubicBezTo>
                    <a:cubicBezTo>
                      <a:pt x="1063" y="183"/>
                      <a:pt x="1062" y="180"/>
                      <a:pt x="1061" y="178"/>
                    </a:cubicBezTo>
                    <a:cubicBezTo>
                      <a:pt x="1058" y="174"/>
                      <a:pt x="1058" y="174"/>
                      <a:pt x="1058" y="174"/>
                    </a:cubicBezTo>
                    <a:cubicBezTo>
                      <a:pt x="1055" y="172"/>
                      <a:pt x="1055" y="172"/>
                      <a:pt x="1055" y="172"/>
                    </a:cubicBezTo>
                    <a:cubicBezTo>
                      <a:pt x="1055" y="172"/>
                      <a:pt x="1054" y="172"/>
                      <a:pt x="1054" y="172"/>
                    </a:cubicBezTo>
                    <a:cubicBezTo>
                      <a:pt x="1053" y="172"/>
                      <a:pt x="1052" y="171"/>
                      <a:pt x="1051" y="171"/>
                    </a:cubicBezTo>
                    <a:cubicBezTo>
                      <a:pt x="1038" y="168"/>
                      <a:pt x="1038" y="168"/>
                      <a:pt x="1038" y="168"/>
                    </a:cubicBezTo>
                    <a:cubicBezTo>
                      <a:pt x="1029" y="171"/>
                      <a:pt x="1029" y="171"/>
                      <a:pt x="1029" y="171"/>
                    </a:cubicBezTo>
                    <a:cubicBezTo>
                      <a:pt x="1029" y="171"/>
                      <a:pt x="1029" y="171"/>
                      <a:pt x="1029" y="171"/>
                    </a:cubicBezTo>
                    <a:cubicBezTo>
                      <a:pt x="1027" y="175"/>
                      <a:pt x="1027" y="175"/>
                      <a:pt x="1027" y="175"/>
                    </a:cubicBezTo>
                    <a:cubicBezTo>
                      <a:pt x="1026" y="175"/>
                      <a:pt x="1026" y="175"/>
                      <a:pt x="1026" y="175"/>
                    </a:cubicBezTo>
                    <a:cubicBezTo>
                      <a:pt x="1026" y="175"/>
                      <a:pt x="1025" y="176"/>
                      <a:pt x="1024" y="176"/>
                    </a:cubicBezTo>
                    <a:cubicBezTo>
                      <a:pt x="1024" y="176"/>
                      <a:pt x="1023" y="177"/>
                      <a:pt x="1022" y="177"/>
                    </a:cubicBezTo>
                    <a:cubicBezTo>
                      <a:pt x="1022" y="177"/>
                      <a:pt x="1022" y="177"/>
                      <a:pt x="1022" y="177"/>
                    </a:cubicBezTo>
                    <a:cubicBezTo>
                      <a:pt x="1020" y="178"/>
                      <a:pt x="1020" y="178"/>
                      <a:pt x="1020" y="178"/>
                    </a:cubicBezTo>
                    <a:cubicBezTo>
                      <a:pt x="1019" y="178"/>
                      <a:pt x="1019" y="178"/>
                      <a:pt x="1019" y="178"/>
                    </a:cubicBezTo>
                    <a:cubicBezTo>
                      <a:pt x="1015" y="178"/>
                      <a:pt x="1015" y="178"/>
                      <a:pt x="1015" y="178"/>
                    </a:cubicBezTo>
                    <a:cubicBezTo>
                      <a:pt x="1002" y="177"/>
                      <a:pt x="1002" y="177"/>
                      <a:pt x="1002" y="177"/>
                    </a:cubicBezTo>
                    <a:cubicBezTo>
                      <a:pt x="1002" y="177"/>
                      <a:pt x="1002" y="177"/>
                      <a:pt x="1001" y="177"/>
                    </a:cubicBezTo>
                    <a:cubicBezTo>
                      <a:pt x="1000" y="177"/>
                      <a:pt x="999" y="177"/>
                      <a:pt x="998" y="177"/>
                    </a:cubicBezTo>
                    <a:cubicBezTo>
                      <a:pt x="998" y="177"/>
                      <a:pt x="997" y="177"/>
                      <a:pt x="996" y="178"/>
                    </a:cubicBezTo>
                    <a:cubicBezTo>
                      <a:pt x="995" y="178"/>
                      <a:pt x="995" y="178"/>
                      <a:pt x="995" y="178"/>
                    </a:cubicBezTo>
                    <a:cubicBezTo>
                      <a:pt x="995" y="178"/>
                      <a:pt x="994" y="178"/>
                      <a:pt x="993" y="178"/>
                    </a:cubicBezTo>
                    <a:cubicBezTo>
                      <a:pt x="993" y="178"/>
                      <a:pt x="993" y="178"/>
                      <a:pt x="992" y="178"/>
                    </a:cubicBezTo>
                    <a:cubicBezTo>
                      <a:pt x="989" y="177"/>
                      <a:pt x="989" y="177"/>
                      <a:pt x="989" y="177"/>
                    </a:cubicBezTo>
                    <a:cubicBezTo>
                      <a:pt x="988" y="177"/>
                      <a:pt x="988" y="177"/>
                      <a:pt x="988" y="177"/>
                    </a:cubicBezTo>
                    <a:cubicBezTo>
                      <a:pt x="987" y="176"/>
                      <a:pt x="987" y="176"/>
                      <a:pt x="987" y="176"/>
                    </a:cubicBezTo>
                    <a:cubicBezTo>
                      <a:pt x="985" y="175"/>
                      <a:pt x="984" y="174"/>
                      <a:pt x="982" y="172"/>
                    </a:cubicBezTo>
                    <a:cubicBezTo>
                      <a:pt x="981" y="171"/>
                      <a:pt x="981" y="171"/>
                      <a:pt x="980" y="170"/>
                    </a:cubicBezTo>
                    <a:cubicBezTo>
                      <a:pt x="976" y="170"/>
                      <a:pt x="976" y="170"/>
                      <a:pt x="976" y="170"/>
                    </a:cubicBezTo>
                    <a:cubicBezTo>
                      <a:pt x="975" y="166"/>
                      <a:pt x="975" y="166"/>
                      <a:pt x="975" y="166"/>
                    </a:cubicBezTo>
                    <a:cubicBezTo>
                      <a:pt x="975" y="165"/>
                      <a:pt x="975" y="165"/>
                      <a:pt x="975" y="165"/>
                    </a:cubicBezTo>
                    <a:cubicBezTo>
                      <a:pt x="975" y="165"/>
                      <a:pt x="975" y="164"/>
                      <a:pt x="975" y="163"/>
                    </a:cubicBezTo>
                    <a:cubicBezTo>
                      <a:pt x="975" y="162"/>
                      <a:pt x="976" y="160"/>
                      <a:pt x="976" y="159"/>
                    </a:cubicBezTo>
                    <a:cubicBezTo>
                      <a:pt x="969" y="157"/>
                      <a:pt x="969" y="157"/>
                      <a:pt x="969" y="157"/>
                    </a:cubicBezTo>
                    <a:cubicBezTo>
                      <a:pt x="968" y="159"/>
                      <a:pt x="968" y="159"/>
                      <a:pt x="968" y="159"/>
                    </a:cubicBezTo>
                    <a:cubicBezTo>
                      <a:pt x="966" y="160"/>
                      <a:pt x="966" y="160"/>
                      <a:pt x="966" y="160"/>
                    </a:cubicBezTo>
                    <a:cubicBezTo>
                      <a:pt x="966" y="160"/>
                      <a:pt x="965" y="160"/>
                      <a:pt x="965" y="160"/>
                    </a:cubicBezTo>
                    <a:cubicBezTo>
                      <a:pt x="965" y="160"/>
                      <a:pt x="965" y="160"/>
                      <a:pt x="965" y="160"/>
                    </a:cubicBezTo>
                    <a:cubicBezTo>
                      <a:pt x="965" y="160"/>
                      <a:pt x="965" y="160"/>
                      <a:pt x="965" y="160"/>
                    </a:cubicBezTo>
                    <a:cubicBezTo>
                      <a:pt x="965" y="161"/>
                      <a:pt x="965" y="163"/>
                      <a:pt x="965" y="164"/>
                    </a:cubicBezTo>
                    <a:cubicBezTo>
                      <a:pt x="965" y="166"/>
                      <a:pt x="965" y="166"/>
                      <a:pt x="965" y="166"/>
                    </a:cubicBezTo>
                    <a:cubicBezTo>
                      <a:pt x="965" y="166"/>
                      <a:pt x="965" y="166"/>
                      <a:pt x="965" y="166"/>
                    </a:cubicBezTo>
                    <a:cubicBezTo>
                      <a:pt x="973" y="172"/>
                      <a:pt x="973" y="172"/>
                      <a:pt x="973" y="172"/>
                    </a:cubicBezTo>
                    <a:cubicBezTo>
                      <a:pt x="963" y="168"/>
                      <a:pt x="963" y="168"/>
                      <a:pt x="963" y="168"/>
                    </a:cubicBezTo>
                    <a:cubicBezTo>
                      <a:pt x="963" y="169"/>
                      <a:pt x="963" y="169"/>
                      <a:pt x="962" y="169"/>
                    </a:cubicBezTo>
                    <a:cubicBezTo>
                      <a:pt x="959" y="171"/>
                      <a:pt x="959" y="171"/>
                      <a:pt x="959" y="171"/>
                    </a:cubicBezTo>
                    <a:cubicBezTo>
                      <a:pt x="958" y="171"/>
                      <a:pt x="958" y="171"/>
                      <a:pt x="958" y="171"/>
                    </a:cubicBezTo>
                    <a:cubicBezTo>
                      <a:pt x="958" y="171"/>
                      <a:pt x="957" y="171"/>
                      <a:pt x="957" y="171"/>
                    </a:cubicBezTo>
                    <a:cubicBezTo>
                      <a:pt x="957" y="171"/>
                      <a:pt x="957" y="171"/>
                      <a:pt x="957" y="171"/>
                    </a:cubicBezTo>
                    <a:cubicBezTo>
                      <a:pt x="956" y="171"/>
                      <a:pt x="956" y="171"/>
                      <a:pt x="956" y="171"/>
                    </a:cubicBezTo>
                    <a:cubicBezTo>
                      <a:pt x="956" y="173"/>
                      <a:pt x="955" y="173"/>
                      <a:pt x="954" y="174"/>
                    </a:cubicBezTo>
                    <a:cubicBezTo>
                      <a:pt x="954" y="175"/>
                      <a:pt x="954" y="175"/>
                      <a:pt x="954" y="175"/>
                    </a:cubicBezTo>
                    <a:cubicBezTo>
                      <a:pt x="951" y="177"/>
                      <a:pt x="951" y="177"/>
                      <a:pt x="951" y="177"/>
                    </a:cubicBezTo>
                    <a:cubicBezTo>
                      <a:pt x="949" y="177"/>
                      <a:pt x="949" y="177"/>
                      <a:pt x="949" y="177"/>
                    </a:cubicBezTo>
                    <a:cubicBezTo>
                      <a:pt x="948" y="176"/>
                      <a:pt x="948" y="176"/>
                      <a:pt x="948" y="176"/>
                    </a:cubicBezTo>
                    <a:cubicBezTo>
                      <a:pt x="946" y="173"/>
                      <a:pt x="946" y="173"/>
                      <a:pt x="946" y="173"/>
                    </a:cubicBezTo>
                    <a:cubicBezTo>
                      <a:pt x="942" y="169"/>
                      <a:pt x="942" y="169"/>
                      <a:pt x="942" y="169"/>
                    </a:cubicBezTo>
                    <a:cubicBezTo>
                      <a:pt x="943" y="169"/>
                      <a:pt x="943" y="169"/>
                      <a:pt x="943" y="169"/>
                    </a:cubicBezTo>
                    <a:cubicBezTo>
                      <a:pt x="937" y="160"/>
                      <a:pt x="932" y="151"/>
                      <a:pt x="926" y="142"/>
                    </a:cubicBezTo>
                    <a:cubicBezTo>
                      <a:pt x="923" y="137"/>
                      <a:pt x="923" y="137"/>
                      <a:pt x="923" y="137"/>
                    </a:cubicBezTo>
                    <a:cubicBezTo>
                      <a:pt x="917" y="127"/>
                      <a:pt x="911" y="117"/>
                      <a:pt x="904" y="107"/>
                    </a:cubicBezTo>
                    <a:cubicBezTo>
                      <a:pt x="898" y="97"/>
                      <a:pt x="898" y="97"/>
                      <a:pt x="898" y="97"/>
                    </a:cubicBezTo>
                    <a:cubicBezTo>
                      <a:pt x="887" y="83"/>
                      <a:pt x="887" y="83"/>
                      <a:pt x="887" y="83"/>
                    </a:cubicBezTo>
                    <a:cubicBezTo>
                      <a:pt x="883" y="78"/>
                      <a:pt x="880" y="75"/>
                      <a:pt x="877" y="73"/>
                    </a:cubicBezTo>
                    <a:cubicBezTo>
                      <a:pt x="860" y="62"/>
                      <a:pt x="860" y="62"/>
                      <a:pt x="860" y="62"/>
                    </a:cubicBezTo>
                    <a:cubicBezTo>
                      <a:pt x="854" y="56"/>
                      <a:pt x="854" y="56"/>
                      <a:pt x="854" y="56"/>
                    </a:cubicBezTo>
                    <a:cubicBezTo>
                      <a:pt x="852" y="54"/>
                      <a:pt x="850" y="53"/>
                      <a:pt x="848" y="51"/>
                    </a:cubicBezTo>
                    <a:cubicBezTo>
                      <a:pt x="841" y="43"/>
                      <a:pt x="841" y="43"/>
                      <a:pt x="841" y="43"/>
                    </a:cubicBezTo>
                    <a:cubicBezTo>
                      <a:pt x="829" y="48"/>
                      <a:pt x="829" y="48"/>
                      <a:pt x="829" y="48"/>
                    </a:cubicBezTo>
                    <a:cubicBezTo>
                      <a:pt x="825" y="49"/>
                      <a:pt x="821" y="51"/>
                      <a:pt x="818" y="53"/>
                    </a:cubicBezTo>
                    <a:cubicBezTo>
                      <a:pt x="817" y="54"/>
                      <a:pt x="817" y="54"/>
                      <a:pt x="817" y="54"/>
                    </a:cubicBezTo>
                    <a:cubicBezTo>
                      <a:pt x="813" y="56"/>
                      <a:pt x="810" y="58"/>
                      <a:pt x="806" y="59"/>
                    </a:cubicBezTo>
                    <a:cubicBezTo>
                      <a:pt x="794" y="64"/>
                      <a:pt x="794" y="64"/>
                      <a:pt x="794" y="64"/>
                    </a:cubicBezTo>
                    <a:cubicBezTo>
                      <a:pt x="794" y="65"/>
                      <a:pt x="794" y="65"/>
                      <a:pt x="794" y="65"/>
                    </a:cubicBezTo>
                    <a:cubicBezTo>
                      <a:pt x="793" y="66"/>
                      <a:pt x="793" y="66"/>
                      <a:pt x="793" y="67"/>
                    </a:cubicBezTo>
                    <a:cubicBezTo>
                      <a:pt x="792" y="71"/>
                      <a:pt x="792" y="71"/>
                      <a:pt x="792" y="71"/>
                    </a:cubicBezTo>
                    <a:cubicBezTo>
                      <a:pt x="788" y="74"/>
                      <a:pt x="788" y="74"/>
                      <a:pt x="788" y="74"/>
                    </a:cubicBezTo>
                    <a:cubicBezTo>
                      <a:pt x="783" y="71"/>
                      <a:pt x="783" y="71"/>
                      <a:pt x="783" y="71"/>
                    </a:cubicBezTo>
                    <a:cubicBezTo>
                      <a:pt x="783" y="71"/>
                      <a:pt x="783" y="70"/>
                      <a:pt x="782" y="70"/>
                    </a:cubicBezTo>
                    <a:cubicBezTo>
                      <a:pt x="780" y="70"/>
                      <a:pt x="780" y="70"/>
                      <a:pt x="780" y="70"/>
                    </a:cubicBezTo>
                    <a:cubicBezTo>
                      <a:pt x="773" y="69"/>
                      <a:pt x="773" y="69"/>
                      <a:pt x="773" y="69"/>
                    </a:cubicBezTo>
                    <a:cubicBezTo>
                      <a:pt x="773" y="69"/>
                      <a:pt x="773" y="69"/>
                      <a:pt x="772" y="69"/>
                    </a:cubicBezTo>
                    <a:cubicBezTo>
                      <a:pt x="771" y="69"/>
                      <a:pt x="770" y="70"/>
                      <a:pt x="769" y="71"/>
                    </a:cubicBezTo>
                    <a:cubicBezTo>
                      <a:pt x="760" y="77"/>
                      <a:pt x="760" y="77"/>
                      <a:pt x="760" y="77"/>
                    </a:cubicBezTo>
                    <a:cubicBezTo>
                      <a:pt x="752" y="63"/>
                      <a:pt x="752" y="63"/>
                      <a:pt x="752" y="63"/>
                    </a:cubicBezTo>
                    <a:cubicBezTo>
                      <a:pt x="754" y="59"/>
                      <a:pt x="754" y="59"/>
                      <a:pt x="754" y="59"/>
                    </a:cubicBezTo>
                    <a:cubicBezTo>
                      <a:pt x="755" y="57"/>
                      <a:pt x="757" y="55"/>
                      <a:pt x="758" y="54"/>
                    </a:cubicBezTo>
                    <a:cubicBezTo>
                      <a:pt x="759" y="53"/>
                      <a:pt x="759" y="53"/>
                      <a:pt x="759" y="53"/>
                    </a:cubicBezTo>
                    <a:cubicBezTo>
                      <a:pt x="752" y="54"/>
                      <a:pt x="752" y="54"/>
                      <a:pt x="752" y="54"/>
                    </a:cubicBezTo>
                    <a:cubicBezTo>
                      <a:pt x="751" y="53"/>
                      <a:pt x="751" y="53"/>
                      <a:pt x="751" y="53"/>
                    </a:cubicBezTo>
                    <a:cubicBezTo>
                      <a:pt x="748" y="53"/>
                      <a:pt x="745" y="51"/>
                      <a:pt x="742" y="50"/>
                    </a:cubicBezTo>
                    <a:cubicBezTo>
                      <a:pt x="742" y="50"/>
                      <a:pt x="742" y="50"/>
                      <a:pt x="742" y="50"/>
                    </a:cubicBezTo>
                    <a:cubicBezTo>
                      <a:pt x="741" y="50"/>
                      <a:pt x="741" y="50"/>
                      <a:pt x="741" y="50"/>
                    </a:cubicBezTo>
                    <a:cubicBezTo>
                      <a:pt x="739" y="52"/>
                      <a:pt x="739" y="52"/>
                      <a:pt x="739" y="52"/>
                    </a:cubicBezTo>
                    <a:cubicBezTo>
                      <a:pt x="738" y="53"/>
                      <a:pt x="737" y="53"/>
                      <a:pt x="736" y="54"/>
                    </a:cubicBezTo>
                    <a:cubicBezTo>
                      <a:pt x="733" y="55"/>
                      <a:pt x="733" y="55"/>
                      <a:pt x="733" y="55"/>
                    </a:cubicBezTo>
                    <a:cubicBezTo>
                      <a:pt x="726" y="58"/>
                      <a:pt x="726" y="58"/>
                      <a:pt x="726" y="58"/>
                    </a:cubicBezTo>
                    <a:cubicBezTo>
                      <a:pt x="728" y="51"/>
                      <a:pt x="728" y="51"/>
                      <a:pt x="728" y="51"/>
                    </a:cubicBezTo>
                    <a:cubicBezTo>
                      <a:pt x="728" y="51"/>
                      <a:pt x="729" y="50"/>
                      <a:pt x="729" y="49"/>
                    </a:cubicBezTo>
                    <a:cubicBezTo>
                      <a:pt x="728" y="49"/>
                      <a:pt x="728" y="49"/>
                      <a:pt x="728" y="49"/>
                    </a:cubicBezTo>
                    <a:cubicBezTo>
                      <a:pt x="728" y="48"/>
                      <a:pt x="728" y="48"/>
                      <a:pt x="728" y="48"/>
                    </a:cubicBezTo>
                    <a:cubicBezTo>
                      <a:pt x="728" y="47"/>
                      <a:pt x="728" y="46"/>
                      <a:pt x="728" y="46"/>
                    </a:cubicBezTo>
                    <a:cubicBezTo>
                      <a:pt x="725" y="49"/>
                      <a:pt x="725" y="49"/>
                      <a:pt x="725" y="49"/>
                    </a:cubicBezTo>
                    <a:cubicBezTo>
                      <a:pt x="721" y="46"/>
                      <a:pt x="721" y="46"/>
                      <a:pt x="721" y="46"/>
                    </a:cubicBezTo>
                    <a:cubicBezTo>
                      <a:pt x="720" y="46"/>
                      <a:pt x="720" y="46"/>
                      <a:pt x="720" y="46"/>
                    </a:cubicBezTo>
                    <a:cubicBezTo>
                      <a:pt x="719" y="46"/>
                      <a:pt x="719" y="46"/>
                      <a:pt x="719" y="46"/>
                    </a:cubicBezTo>
                    <a:cubicBezTo>
                      <a:pt x="713" y="48"/>
                      <a:pt x="713" y="48"/>
                      <a:pt x="713" y="48"/>
                    </a:cubicBezTo>
                    <a:cubicBezTo>
                      <a:pt x="708" y="48"/>
                      <a:pt x="708" y="48"/>
                      <a:pt x="708" y="48"/>
                    </a:cubicBezTo>
                    <a:cubicBezTo>
                      <a:pt x="707" y="49"/>
                      <a:pt x="705" y="49"/>
                      <a:pt x="703" y="49"/>
                    </a:cubicBezTo>
                    <a:cubicBezTo>
                      <a:pt x="703" y="49"/>
                      <a:pt x="702" y="49"/>
                      <a:pt x="701" y="49"/>
                    </a:cubicBezTo>
                    <a:cubicBezTo>
                      <a:pt x="701" y="49"/>
                      <a:pt x="701" y="49"/>
                      <a:pt x="701" y="49"/>
                    </a:cubicBezTo>
                    <a:cubicBezTo>
                      <a:pt x="698" y="48"/>
                      <a:pt x="698" y="48"/>
                      <a:pt x="698" y="48"/>
                    </a:cubicBezTo>
                    <a:cubicBezTo>
                      <a:pt x="694" y="47"/>
                      <a:pt x="694" y="47"/>
                      <a:pt x="694" y="47"/>
                    </a:cubicBezTo>
                    <a:cubicBezTo>
                      <a:pt x="693" y="46"/>
                      <a:pt x="693" y="46"/>
                      <a:pt x="693" y="46"/>
                    </a:cubicBezTo>
                    <a:cubicBezTo>
                      <a:pt x="692" y="45"/>
                      <a:pt x="692" y="45"/>
                      <a:pt x="692" y="45"/>
                    </a:cubicBezTo>
                    <a:cubicBezTo>
                      <a:pt x="691" y="44"/>
                      <a:pt x="691" y="44"/>
                      <a:pt x="691" y="44"/>
                    </a:cubicBezTo>
                    <a:cubicBezTo>
                      <a:pt x="691" y="43"/>
                      <a:pt x="691" y="43"/>
                      <a:pt x="691" y="43"/>
                    </a:cubicBezTo>
                    <a:cubicBezTo>
                      <a:pt x="690" y="42"/>
                      <a:pt x="690" y="41"/>
                      <a:pt x="689" y="41"/>
                    </a:cubicBezTo>
                    <a:cubicBezTo>
                      <a:pt x="689" y="40"/>
                      <a:pt x="689" y="39"/>
                      <a:pt x="689" y="38"/>
                    </a:cubicBezTo>
                    <a:cubicBezTo>
                      <a:pt x="688" y="38"/>
                      <a:pt x="688" y="38"/>
                      <a:pt x="688" y="38"/>
                    </a:cubicBezTo>
                    <a:cubicBezTo>
                      <a:pt x="689" y="35"/>
                      <a:pt x="689" y="35"/>
                      <a:pt x="689" y="35"/>
                    </a:cubicBezTo>
                    <a:cubicBezTo>
                      <a:pt x="690" y="33"/>
                      <a:pt x="690" y="33"/>
                      <a:pt x="690" y="33"/>
                    </a:cubicBezTo>
                    <a:cubicBezTo>
                      <a:pt x="692" y="33"/>
                      <a:pt x="692" y="33"/>
                      <a:pt x="692" y="33"/>
                    </a:cubicBezTo>
                    <a:cubicBezTo>
                      <a:pt x="693" y="33"/>
                      <a:pt x="693" y="33"/>
                      <a:pt x="693" y="33"/>
                    </a:cubicBezTo>
                    <a:cubicBezTo>
                      <a:pt x="693" y="33"/>
                      <a:pt x="693" y="33"/>
                      <a:pt x="693" y="33"/>
                    </a:cubicBezTo>
                    <a:cubicBezTo>
                      <a:pt x="694" y="33"/>
                      <a:pt x="694" y="33"/>
                      <a:pt x="694" y="33"/>
                    </a:cubicBezTo>
                    <a:cubicBezTo>
                      <a:pt x="693" y="31"/>
                      <a:pt x="693" y="31"/>
                      <a:pt x="693" y="31"/>
                    </a:cubicBezTo>
                    <a:cubicBezTo>
                      <a:pt x="693" y="26"/>
                      <a:pt x="693" y="26"/>
                      <a:pt x="693" y="26"/>
                    </a:cubicBezTo>
                    <a:cubicBezTo>
                      <a:pt x="695" y="22"/>
                      <a:pt x="695" y="22"/>
                      <a:pt x="695" y="22"/>
                    </a:cubicBezTo>
                    <a:cubicBezTo>
                      <a:pt x="694" y="20"/>
                      <a:pt x="694" y="20"/>
                      <a:pt x="694" y="20"/>
                    </a:cubicBezTo>
                    <a:cubicBezTo>
                      <a:pt x="691" y="13"/>
                      <a:pt x="691" y="13"/>
                      <a:pt x="691" y="13"/>
                    </a:cubicBezTo>
                    <a:cubicBezTo>
                      <a:pt x="689" y="9"/>
                      <a:pt x="687" y="6"/>
                      <a:pt x="685" y="2"/>
                    </a:cubicBezTo>
                    <a:cubicBezTo>
                      <a:pt x="684" y="2"/>
                      <a:pt x="684" y="2"/>
                      <a:pt x="684" y="2"/>
                    </a:cubicBezTo>
                    <a:cubicBezTo>
                      <a:pt x="680" y="2"/>
                      <a:pt x="680" y="2"/>
                      <a:pt x="680" y="2"/>
                    </a:cubicBezTo>
                    <a:cubicBezTo>
                      <a:pt x="677" y="3"/>
                      <a:pt x="675" y="5"/>
                      <a:pt x="674" y="6"/>
                    </a:cubicBezTo>
                    <a:cubicBezTo>
                      <a:pt x="673" y="7"/>
                      <a:pt x="673" y="7"/>
                      <a:pt x="673" y="7"/>
                    </a:cubicBezTo>
                    <a:cubicBezTo>
                      <a:pt x="670" y="8"/>
                      <a:pt x="670" y="8"/>
                      <a:pt x="670" y="8"/>
                    </a:cubicBezTo>
                    <a:cubicBezTo>
                      <a:pt x="667" y="7"/>
                      <a:pt x="667" y="7"/>
                      <a:pt x="667" y="7"/>
                    </a:cubicBezTo>
                    <a:cubicBezTo>
                      <a:pt x="665" y="7"/>
                      <a:pt x="663" y="6"/>
                      <a:pt x="661" y="5"/>
                    </a:cubicBezTo>
                    <a:cubicBezTo>
                      <a:pt x="661" y="5"/>
                      <a:pt x="661" y="5"/>
                      <a:pt x="661" y="5"/>
                    </a:cubicBezTo>
                    <a:cubicBezTo>
                      <a:pt x="658" y="4"/>
                      <a:pt x="657" y="3"/>
                      <a:pt x="655" y="2"/>
                    </a:cubicBezTo>
                    <a:cubicBezTo>
                      <a:pt x="654" y="0"/>
                      <a:pt x="654" y="0"/>
                      <a:pt x="654" y="0"/>
                    </a:cubicBezTo>
                    <a:cubicBezTo>
                      <a:pt x="653" y="0"/>
                      <a:pt x="653" y="0"/>
                      <a:pt x="653" y="0"/>
                    </a:cubicBezTo>
                    <a:cubicBezTo>
                      <a:pt x="644" y="0"/>
                      <a:pt x="644" y="0"/>
                      <a:pt x="6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2" name="Freeform 330">
                <a:extLst>
                  <a:ext uri="{FF2B5EF4-FFF2-40B4-BE49-F238E27FC236}">
                    <a16:creationId xmlns:a16="http://schemas.microsoft.com/office/drawing/2014/main" id="{B3A74979-64B5-4BF6-B049-BC37F8C64E13}"/>
                  </a:ext>
                </a:extLst>
              </p:cNvPr>
              <p:cNvSpPr>
                <a:spLocks/>
              </p:cNvSpPr>
              <p:nvPr/>
            </p:nvSpPr>
            <p:spPr bwMode="auto">
              <a:xfrm>
                <a:off x="11261713" y="3471380"/>
                <a:ext cx="11055" cy="11055"/>
              </a:xfrm>
              <a:custGeom>
                <a:avLst/>
                <a:gdLst>
                  <a:gd name="T0" fmla="*/ 4 w 4"/>
                  <a:gd name="T1" fmla="*/ 0 h 3"/>
                  <a:gd name="T2" fmla="*/ 0 w 4"/>
                  <a:gd name="T3" fmla="*/ 2 h 3"/>
                  <a:gd name="T4" fmla="*/ 3 w 4"/>
                  <a:gd name="T5" fmla="*/ 3 h 3"/>
                  <a:gd name="T6" fmla="*/ 4 w 4"/>
                  <a:gd name="T7" fmla="*/ 2 h 3"/>
                  <a:gd name="T8" fmla="*/ 4 w 4"/>
                  <a:gd name="T9" fmla="*/ 1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cubicBezTo>
                      <a:pt x="0" y="2"/>
                      <a:pt x="0" y="2"/>
                      <a:pt x="0" y="2"/>
                    </a:cubicBezTo>
                    <a:cubicBezTo>
                      <a:pt x="2" y="2"/>
                      <a:pt x="3" y="2"/>
                      <a:pt x="3" y="3"/>
                    </a:cubicBezTo>
                    <a:cubicBezTo>
                      <a:pt x="4" y="2"/>
                      <a:pt x="4" y="2"/>
                      <a:pt x="4" y="2"/>
                    </a:cubicBezTo>
                    <a:cubicBezTo>
                      <a:pt x="4" y="1"/>
                      <a:pt x="4" y="1"/>
                      <a:pt x="4" y="1"/>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3" name="Rectangle 331">
                <a:extLst>
                  <a:ext uri="{FF2B5EF4-FFF2-40B4-BE49-F238E27FC236}">
                    <a16:creationId xmlns:a16="http://schemas.microsoft.com/office/drawing/2014/main" id="{2B243776-F048-4D6A-9329-9F9F15466CD4}"/>
                  </a:ext>
                </a:extLst>
              </p:cNvPr>
              <p:cNvSpPr>
                <a:spLocks noChangeArrowheads="1"/>
              </p:cNvSpPr>
              <p:nvPr/>
            </p:nvSpPr>
            <p:spPr bwMode="auto">
              <a:xfrm>
                <a:off x="8947461" y="3799355"/>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4" name="Freeform 332">
                <a:extLst>
                  <a:ext uri="{FF2B5EF4-FFF2-40B4-BE49-F238E27FC236}">
                    <a16:creationId xmlns:a16="http://schemas.microsoft.com/office/drawing/2014/main" id="{80E38031-32E6-49BC-8EA5-94CCE6F72E7C}"/>
                  </a:ext>
                </a:extLst>
              </p:cNvPr>
              <p:cNvSpPr>
                <a:spLocks/>
              </p:cNvSpPr>
              <p:nvPr/>
            </p:nvSpPr>
            <p:spPr bwMode="auto">
              <a:xfrm>
                <a:off x="8947461" y="379935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5" name="Freeform 333">
                <a:extLst>
                  <a:ext uri="{FF2B5EF4-FFF2-40B4-BE49-F238E27FC236}">
                    <a16:creationId xmlns:a16="http://schemas.microsoft.com/office/drawing/2014/main" id="{CF8C6FA6-188C-41E0-8B30-01698314B552}"/>
                  </a:ext>
                </a:extLst>
              </p:cNvPr>
              <p:cNvSpPr>
                <a:spLocks noEditPoints="1"/>
              </p:cNvSpPr>
              <p:nvPr/>
            </p:nvSpPr>
            <p:spPr bwMode="auto">
              <a:xfrm>
                <a:off x="11011125" y="4171552"/>
                <a:ext cx="1168182" cy="2148422"/>
              </a:xfrm>
              <a:custGeom>
                <a:avLst/>
                <a:gdLst>
                  <a:gd name="T0" fmla="*/ 152 w 368"/>
                  <a:gd name="T1" fmla="*/ 491 h 677"/>
                  <a:gd name="T2" fmla="*/ 148 w 368"/>
                  <a:gd name="T3" fmla="*/ 491 h 677"/>
                  <a:gd name="T4" fmla="*/ 166 w 368"/>
                  <a:gd name="T5" fmla="*/ 484 h 677"/>
                  <a:gd name="T6" fmla="*/ 166 w 368"/>
                  <a:gd name="T7" fmla="*/ 478 h 677"/>
                  <a:gd name="T8" fmla="*/ 169 w 368"/>
                  <a:gd name="T9" fmla="*/ 478 h 677"/>
                  <a:gd name="T10" fmla="*/ 168 w 368"/>
                  <a:gd name="T11" fmla="*/ 478 h 677"/>
                  <a:gd name="T12" fmla="*/ 168 w 368"/>
                  <a:gd name="T13" fmla="*/ 478 h 677"/>
                  <a:gd name="T14" fmla="*/ 182 w 368"/>
                  <a:gd name="T15" fmla="*/ 462 h 677"/>
                  <a:gd name="T16" fmla="*/ 185 w 368"/>
                  <a:gd name="T17" fmla="*/ 455 h 677"/>
                  <a:gd name="T18" fmla="*/ 368 w 368"/>
                  <a:gd name="T19" fmla="*/ 0 h 677"/>
                  <a:gd name="T20" fmla="*/ 343 w 368"/>
                  <a:gd name="T21" fmla="*/ 39 h 677"/>
                  <a:gd name="T22" fmla="*/ 275 w 368"/>
                  <a:gd name="T23" fmla="*/ 53 h 677"/>
                  <a:gd name="T24" fmla="*/ 256 w 368"/>
                  <a:gd name="T25" fmla="*/ 115 h 677"/>
                  <a:gd name="T26" fmla="*/ 225 w 368"/>
                  <a:gd name="T27" fmla="*/ 115 h 677"/>
                  <a:gd name="T28" fmla="*/ 183 w 368"/>
                  <a:gd name="T29" fmla="*/ 127 h 677"/>
                  <a:gd name="T30" fmla="*/ 195 w 368"/>
                  <a:gd name="T31" fmla="*/ 160 h 677"/>
                  <a:gd name="T32" fmla="*/ 197 w 368"/>
                  <a:gd name="T33" fmla="*/ 193 h 677"/>
                  <a:gd name="T34" fmla="*/ 188 w 368"/>
                  <a:gd name="T35" fmla="*/ 221 h 677"/>
                  <a:gd name="T36" fmla="*/ 160 w 368"/>
                  <a:gd name="T37" fmla="*/ 239 h 677"/>
                  <a:gd name="T38" fmla="*/ 135 w 368"/>
                  <a:gd name="T39" fmla="*/ 254 h 677"/>
                  <a:gd name="T40" fmla="*/ 104 w 368"/>
                  <a:gd name="T41" fmla="*/ 262 h 677"/>
                  <a:gd name="T42" fmla="*/ 86 w 368"/>
                  <a:gd name="T43" fmla="*/ 273 h 677"/>
                  <a:gd name="T44" fmla="*/ 72 w 368"/>
                  <a:gd name="T45" fmla="*/ 286 h 677"/>
                  <a:gd name="T46" fmla="*/ 65 w 368"/>
                  <a:gd name="T47" fmla="*/ 286 h 677"/>
                  <a:gd name="T48" fmla="*/ 50 w 368"/>
                  <a:gd name="T49" fmla="*/ 280 h 677"/>
                  <a:gd name="T50" fmla="*/ 19 w 368"/>
                  <a:gd name="T51" fmla="*/ 293 h 677"/>
                  <a:gd name="T52" fmla="*/ 5 w 368"/>
                  <a:gd name="T53" fmla="*/ 314 h 677"/>
                  <a:gd name="T54" fmla="*/ 2 w 368"/>
                  <a:gd name="T55" fmla="*/ 323 h 677"/>
                  <a:gd name="T56" fmla="*/ 5 w 368"/>
                  <a:gd name="T57" fmla="*/ 334 h 677"/>
                  <a:gd name="T58" fmla="*/ 14 w 368"/>
                  <a:gd name="T59" fmla="*/ 336 h 677"/>
                  <a:gd name="T60" fmla="*/ 36 w 368"/>
                  <a:gd name="T61" fmla="*/ 352 h 677"/>
                  <a:gd name="T62" fmla="*/ 39 w 368"/>
                  <a:gd name="T63" fmla="*/ 387 h 677"/>
                  <a:gd name="T64" fmla="*/ 58 w 368"/>
                  <a:gd name="T65" fmla="*/ 400 h 677"/>
                  <a:gd name="T66" fmla="*/ 71 w 368"/>
                  <a:gd name="T67" fmla="*/ 429 h 677"/>
                  <a:gd name="T68" fmla="*/ 84 w 368"/>
                  <a:gd name="T69" fmla="*/ 432 h 677"/>
                  <a:gd name="T70" fmla="*/ 124 w 368"/>
                  <a:gd name="T71" fmla="*/ 437 h 677"/>
                  <a:gd name="T72" fmla="*/ 121 w 368"/>
                  <a:gd name="T73" fmla="*/ 443 h 677"/>
                  <a:gd name="T74" fmla="*/ 129 w 368"/>
                  <a:gd name="T75" fmla="*/ 468 h 677"/>
                  <a:gd name="T76" fmla="*/ 142 w 368"/>
                  <a:gd name="T77" fmla="*/ 492 h 677"/>
                  <a:gd name="T78" fmla="*/ 151 w 368"/>
                  <a:gd name="T79" fmla="*/ 508 h 677"/>
                  <a:gd name="T80" fmla="*/ 166 w 368"/>
                  <a:gd name="T81" fmla="*/ 527 h 677"/>
                  <a:gd name="T82" fmla="*/ 148 w 368"/>
                  <a:gd name="T83" fmla="*/ 547 h 677"/>
                  <a:gd name="T84" fmla="*/ 145 w 368"/>
                  <a:gd name="T85" fmla="*/ 561 h 677"/>
                  <a:gd name="T86" fmla="*/ 157 w 368"/>
                  <a:gd name="T87" fmla="*/ 572 h 677"/>
                  <a:gd name="T88" fmla="*/ 166 w 368"/>
                  <a:gd name="T89" fmla="*/ 583 h 677"/>
                  <a:gd name="T90" fmla="*/ 207 w 368"/>
                  <a:gd name="T91" fmla="*/ 607 h 677"/>
                  <a:gd name="T92" fmla="*/ 223 w 368"/>
                  <a:gd name="T93" fmla="*/ 601 h 677"/>
                  <a:gd name="T94" fmla="*/ 250 w 368"/>
                  <a:gd name="T95" fmla="*/ 616 h 677"/>
                  <a:gd name="T96" fmla="*/ 268 w 368"/>
                  <a:gd name="T97" fmla="*/ 626 h 677"/>
                  <a:gd name="T98" fmla="*/ 276 w 368"/>
                  <a:gd name="T99" fmla="*/ 631 h 677"/>
                  <a:gd name="T100" fmla="*/ 294 w 368"/>
                  <a:gd name="T101" fmla="*/ 638 h 677"/>
                  <a:gd name="T102" fmla="*/ 306 w 368"/>
                  <a:gd name="T103" fmla="*/ 653 h 677"/>
                  <a:gd name="T104" fmla="*/ 322 w 368"/>
                  <a:gd name="T105" fmla="*/ 659 h 677"/>
                  <a:gd name="T106" fmla="*/ 329 w 368"/>
                  <a:gd name="T107" fmla="*/ 667 h 677"/>
                  <a:gd name="T108" fmla="*/ 351 w 368"/>
                  <a:gd name="T109" fmla="*/ 673 h 677"/>
                  <a:gd name="T110" fmla="*/ 368 w 368"/>
                  <a:gd name="T111" fmla="*/ 674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8" h="677">
                    <a:moveTo>
                      <a:pt x="154" y="491"/>
                    </a:moveTo>
                    <a:cubicBezTo>
                      <a:pt x="155" y="491"/>
                      <a:pt x="155" y="491"/>
                      <a:pt x="155" y="491"/>
                    </a:cubicBezTo>
                    <a:cubicBezTo>
                      <a:pt x="154" y="491"/>
                      <a:pt x="154" y="491"/>
                      <a:pt x="154" y="491"/>
                    </a:cubicBezTo>
                    <a:moveTo>
                      <a:pt x="147" y="495"/>
                    </a:moveTo>
                    <a:cubicBezTo>
                      <a:pt x="147" y="494"/>
                      <a:pt x="147" y="493"/>
                      <a:pt x="147" y="493"/>
                    </a:cubicBezTo>
                    <a:cubicBezTo>
                      <a:pt x="148" y="492"/>
                      <a:pt x="148" y="492"/>
                      <a:pt x="148" y="492"/>
                    </a:cubicBezTo>
                    <a:cubicBezTo>
                      <a:pt x="152" y="491"/>
                      <a:pt x="152" y="491"/>
                      <a:pt x="152" y="491"/>
                    </a:cubicBezTo>
                    <a:cubicBezTo>
                      <a:pt x="152" y="491"/>
                      <a:pt x="152" y="491"/>
                      <a:pt x="152" y="491"/>
                    </a:cubicBezTo>
                    <a:cubicBezTo>
                      <a:pt x="152" y="491"/>
                      <a:pt x="152" y="491"/>
                      <a:pt x="153" y="491"/>
                    </a:cubicBezTo>
                    <a:cubicBezTo>
                      <a:pt x="147" y="494"/>
                      <a:pt x="147" y="494"/>
                      <a:pt x="147" y="494"/>
                    </a:cubicBezTo>
                    <a:cubicBezTo>
                      <a:pt x="147" y="495"/>
                      <a:pt x="147" y="495"/>
                      <a:pt x="147" y="495"/>
                    </a:cubicBezTo>
                    <a:moveTo>
                      <a:pt x="151" y="491"/>
                    </a:moveTo>
                    <a:cubicBezTo>
                      <a:pt x="151" y="491"/>
                      <a:pt x="151" y="491"/>
                      <a:pt x="151" y="491"/>
                    </a:cubicBezTo>
                    <a:cubicBezTo>
                      <a:pt x="151" y="491"/>
                      <a:pt x="151" y="491"/>
                      <a:pt x="151" y="491"/>
                    </a:cubicBezTo>
                    <a:moveTo>
                      <a:pt x="148" y="492"/>
                    </a:moveTo>
                    <a:cubicBezTo>
                      <a:pt x="148" y="491"/>
                      <a:pt x="148" y="491"/>
                      <a:pt x="148" y="491"/>
                    </a:cubicBezTo>
                    <a:cubicBezTo>
                      <a:pt x="149" y="491"/>
                      <a:pt x="149" y="491"/>
                      <a:pt x="150" y="491"/>
                    </a:cubicBezTo>
                    <a:cubicBezTo>
                      <a:pt x="150" y="491"/>
                      <a:pt x="150" y="491"/>
                      <a:pt x="150" y="491"/>
                    </a:cubicBezTo>
                    <a:cubicBezTo>
                      <a:pt x="150" y="491"/>
                      <a:pt x="150" y="491"/>
                      <a:pt x="150" y="491"/>
                    </a:cubicBezTo>
                    <a:cubicBezTo>
                      <a:pt x="150" y="491"/>
                      <a:pt x="150" y="491"/>
                      <a:pt x="150" y="491"/>
                    </a:cubicBezTo>
                    <a:cubicBezTo>
                      <a:pt x="149" y="491"/>
                      <a:pt x="149" y="491"/>
                      <a:pt x="148" y="491"/>
                    </a:cubicBezTo>
                    <a:cubicBezTo>
                      <a:pt x="148" y="492"/>
                      <a:pt x="148" y="492"/>
                      <a:pt x="148" y="492"/>
                    </a:cubicBezTo>
                    <a:moveTo>
                      <a:pt x="164" y="487"/>
                    </a:moveTo>
                    <a:cubicBezTo>
                      <a:pt x="165" y="486"/>
                      <a:pt x="165" y="485"/>
                      <a:pt x="166" y="484"/>
                    </a:cubicBezTo>
                    <a:cubicBezTo>
                      <a:pt x="165" y="485"/>
                      <a:pt x="165" y="486"/>
                      <a:pt x="164" y="487"/>
                    </a:cubicBezTo>
                    <a:moveTo>
                      <a:pt x="167" y="478"/>
                    </a:moveTo>
                    <a:cubicBezTo>
                      <a:pt x="167" y="478"/>
                      <a:pt x="167" y="478"/>
                      <a:pt x="167" y="478"/>
                    </a:cubicBezTo>
                    <a:cubicBezTo>
                      <a:pt x="167" y="478"/>
                      <a:pt x="167" y="478"/>
                      <a:pt x="167" y="478"/>
                    </a:cubicBezTo>
                    <a:cubicBezTo>
                      <a:pt x="167" y="478"/>
                      <a:pt x="167" y="478"/>
                      <a:pt x="167" y="478"/>
                    </a:cubicBezTo>
                    <a:cubicBezTo>
                      <a:pt x="167" y="478"/>
                      <a:pt x="167" y="478"/>
                      <a:pt x="167" y="478"/>
                    </a:cubicBezTo>
                    <a:moveTo>
                      <a:pt x="166" y="478"/>
                    </a:moveTo>
                    <a:cubicBezTo>
                      <a:pt x="166" y="478"/>
                      <a:pt x="166" y="478"/>
                      <a:pt x="166" y="478"/>
                    </a:cubicBezTo>
                    <a:cubicBezTo>
                      <a:pt x="166" y="478"/>
                      <a:pt x="166" y="478"/>
                      <a:pt x="166" y="478"/>
                    </a:cubicBezTo>
                    <a:moveTo>
                      <a:pt x="169" y="478"/>
                    </a:moveTo>
                    <a:cubicBezTo>
                      <a:pt x="169" y="478"/>
                      <a:pt x="169" y="478"/>
                      <a:pt x="169" y="478"/>
                    </a:cubicBezTo>
                    <a:cubicBezTo>
                      <a:pt x="169" y="478"/>
                      <a:pt x="169" y="478"/>
                      <a:pt x="169" y="478"/>
                    </a:cubicBezTo>
                    <a:moveTo>
                      <a:pt x="169" y="478"/>
                    </a:moveTo>
                    <a:cubicBezTo>
                      <a:pt x="169" y="478"/>
                      <a:pt x="169" y="478"/>
                      <a:pt x="169" y="478"/>
                    </a:cubicBezTo>
                    <a:cubicBezTo>
                      <a:pt x="169" y="478"/>
                      <a:pt x="169" y="478"/>
                      <a:pt x="169" y="478"/>
                    </a:cubicBezTo>
                    <a:cubicBezTo>
                      <a:pt x="169" y="478"/>
                      <a:pt x="169" y="478"/>
                      <a:pt x="169" y="478"/>
                    </a:cubicBezTo>
                    <a:moveTo>
                      <a:pt x="166" y="478"/>
                    </a:moveTo>
                    <a:cubicBezTo>
                      <a:pt x="166" y="478"/>
                      <a:pt x="166" y="478"/>
                      <a:pt x="166" y="478"/>
                    </a:cubicBezTo>
                    <a:cubicBezTo>
                      <a:pt x="166" y="478"/>
                      <a:pt x="166" y="478"/>
                      <a:pt x="166" y="478"/>
                    </a:cubicBezTo>
                    <a:cubicBezTo>
                      <a:pt x="166" y="478"/>
                      <a:pt x="166" y="478"/>
                      <a:pt x="166" y="478"/>
                    </a:cubicBezTo>
                    <a:moveTo>
                      <a:pt x="169" y="478"/>
                    </a:moveTo>
                    <a:cubicBezTo>
                      <a:pt x="169" y="478"/>
                      <a:pt x="168" y="478"/>
                      <a:pt x="168" y="478"/>
                    </a:cubicBezTo>
                    <a:cubicBezTo>
                      <a:pt x="168" y="478"/>
                      <a:pt x="168" y="478"/>
                      <a:pt x="168" y="478"/>
                    </a:cubicBezTo>
                    <a:cubicBezTo>
                      <a:pt x="168" y="478"/>
                      <a:pt x="168" y="478"/>
                      <a:pt x="168" y="478"/>
                    </a:cubicBezTo>
                    <a:cubicBezTo>
                      <a:pt x="168" y="478"/>
                      <a:pt x="169" y="478"/>
                      <a:pt x="169" y="478"/>
                    </a:cubicBezTo>
                    <a:moveTo>
                      <a:pt x="168" y="478"/>
                    </a:moveTo>
                    <a:cubicBezTo>
                      <a:pt x="168" y="478"/>
                      <a:pt x="168" y="478"/>
                      <a:pt x="168" y="478"/>
                    </a:cubicBezTo>
                    <a:cubicBezTo>
                      <a:pt x="168" y="478"/>
                      <a:pt x="168" y="478"/>
                      <a:pt x="168" y="478"/>
                    </a:cubicBezTo>
                    <a:moveTo>
                      <a:pt x="168" y="478"/>
                    </a:moveTo>
                    <a:cubicBezTo>
                      <a:pt x="168" y="478"/>
                      <a:pt x="168" y="478"/>
                      <a:pt x="168" y="478"/>
                    </a:cubicBezTo>
                    <a:cubicBezTo>
                      <a:pt x="168" y="478"/>
                      <a:pt x="168" y="478"/>
                      <a:pt x="168" y="478"/>
                    </a:cubicBezTo>
                    <a:cubicBezTo>
                      <a:pt x="168" y="478"/>
                      <a:pt x="168" y="478"/>
                      <a:pt x="168" y="478"/>
                    </a:cubicBezTo>
                    <a:moveTo>
                      <a:pt x="170" y="477"/>
                    </a:moveTo>
                    <a:cubicBezTo>
                      <a:pt x="170" y="477"/>
                      <a:pt x="170" y="477"/>
                      <a:pt x="170" y="477"/>
                    </a:cubicBezTo>
                    <a:cubicBezTo>
                      <a:pt x="172" y="476"/>
                      <a:pt x="173" y="474"/>
                      <a:pt x="174" y="472"/>
                    </a:cubicBezTo>
                    <a:cubicBezTo>
                      <a:pt x="177" y="469"/>
                      <a:pt x="179" y="466"/>
                      <a:pt x="182" y="462"/>
                    </a:cubicBezTo>
                    <a:cubicBezTo>
                      <a:pt x="182" y="461"/>
                      <a:pt x="183" y="460"/>
                      <a:pt x="184" y="459"/>
                    </a:cubicBezTo>
                    <a:cubicBezTo>
                      <a:pt x="184" y="458"/>
                      <a:pt x="185" y="457"/>
                      <a:pt x="185" y="455"/>
                    </a:cubicBezTo>
                    <a:cubicBezTo>
                      <a:pt x="185" y="457"/>
                      <a:pt x="184" y="458"/>
                      <a:pt x="184" y="459"/>
                    </a:cubicBezTo>
                    <a:cubicBezTo>
                      <a:pt x="183" y="460"/>
                      <a:pt x="182" y="461"/>
                      <a:pt x="182" y="462"/>
                    </a:cubicBezTo>
                    <a:cubicBezTo>
                      <a:pt x="179" y="466"/>
                      <a:pt x="177" y="469"/>
                      <a:pt x="174" y="472"/>
                    </a:cubicBezTo>
                    <a:cubicBezTo>
                      <a:pt x="173" y="474"/>
                      <a:pt x="172" y="476"/>
                      <a:pt x="170" y="477"/>
                    </a:cubicBezTo>
                    <a:cubicBezTo>
                      <a:pt x="170" y="477"/>
                      <a:pt x="170" y="477"/>
                      <a:pt x="170" y="477"/>
                    </a:cubicBezTo>
                    <a:moveTo>
                      <a:pt x="185" y="455"/>
                    </a:moveTo>
                    <a:cubicBezTo>
                      <a:pt x="186" y="452"/>
                      <a:pt x="187" y="450"/>
                      <a:pt x="188" y="447"/>
                    </a:cubicBezTo>
                    <a:cubicBezTo>
                      <a:pt x="188" y="447"/>
                      <a:pt x="188" y="446"/>
                      <a:pt x="188" y="445"/>
                    </a:cubicBezTo>
                    <a:cubicBezTo>
                      <a:pt x="188" y="446"/>
                      <a:pt x="188" y="447"/>
                      <a:pt x="188" y="447"/>
                    </a:cubicBezTo>
                    <a:cubicBezTo>
                      <a:pt x="187" y="450"/>
                      <a:pt x="186" y="452"/>
                      <a:pt x="185" y="455"/>
                    </a:cubicBezTo>
                    <a:moveTo>
                      <a:pt x="154" y="429"/>
                    </a:moveTo>
                    <a:cubicBezTo>
                      <a:pt x="154" y="429"/>
                      <a:pt x="154" y="429"/>
                      <a:pt x="154" y="429"/>
                    </a:cubicBezTo>
                    <a:cubicBezTo>
                      <a:pt x="154" y="429"/>
                      <a:pt x="154" y="429"/>
                      <a:pt x="154" y="429"/>
                    </a:cubicBezTo>
                    <a:cubicBezTo>
                      <a:pt x="154" y="429"/>
                      <a:pt x="154" y="429"/>
                      <a:pt x="154" y="429"/>
                    </a:cubicBezTo>
                    <a:moveTo>
                      <a:pt x="154" y="429"/>
                    </a:moveTo>
                    <a:cubicBezTo>
                      <a:pt x="153" y="429"/>
                      <a:pt x="153" y="429"/>
                      <a:pt x="153" y="429"/>
                    </a:cubicBezTo>
                    <a:cubicBezTo>
                      <a:pt x="153" y="429"/>
                      <a:pt x="153" y="429"/>
                      <a:pt x="154" y="429"/>
                    </a:cubicBezTo>
                    <a:moveTo>
                      <a:pt x="368" y="0"/>
                    </a:moveTo>
                    <a:cubicBezTo>
                      <a:pt x="367" y="0"/>
                      <a:pt x="366" y="1"/>
                      <a:pt x="365" y="1"/>
                    </a:cubicBezTo>
                    <a:cubicBezTo>
                      <a:pt x="360" y="3"/>
                      <a:pt x="355" y="4"/>
                      <a:pt x="350" y="5"/>
                    </a:cubicBezTo>
                    <a:cubicBezTo>
                      <a:pt x="350" y="5"/>
                      <a:pt x="349" y="5"/>
                      <a:pt x="348" y="5"/>
                    </a:cubicBezTo>
                    <a:cubicBezTo>
                      <a:pt x="348" y="5"/>
                      <a:pt x="346" y="5"/>
                      <a:pt x="345" y="5"/>
                    </a:cubicBezTo>
                    <a:cubicBezTo>
                      <a:pt x="344" y="6"/>
                      <a:pt x="339" y="15"/>
                      <a:pt x="340" y="17"/>
                    </a:cubicBezTo>
                    <a:cubicBezTo>
                      <a:pt x="340" y="20"/>
                      <a:pt x="341" y="24"/>
                      <a:pt x="341" y="27"/>
                    </a:cubicBezTo>
                    <a:cubicBezTo>
                      <a:pt x="341" y="27"/>
                      <a:pt x="341" y="27"/>
                      <a:pt x="341" y="27"/>
                    </a:cubicBezTo>
                    <a:cubicBezTo>
                      <a:pt x="342" y="31"/>
                      <a:pt x="343" y="35"/>
                      <a:pt x="343" y="39"/>
                    </a:cubicBezTo>
                    <a:cubicBezTo>
                      <a:pt x="344" y="48"/>
                      <a:pt x="336" y="52"/>
                      <a:pt x="331" y="55"/>
                    </a:cubicBezTo>
                    <a:cubicBezTo>
                      <a:pt x="329" y="56"/>
                      <a:pt x="329" y="56"/>
                      <a:pt x="329" y="56"/>
                    </a:cubicBezTo>
                    <a:cubicBezTo>
                      <a:pt x="325" y="58"/>
                      <a:pt x="322" y="60"/>
                      <a:pt x="318" y="60"/>
                    </a:cubicBezTo>
                    <a:cubicBezTo>
                      <a:pt x="316" y="60"/>
                      <a:pt x="314" y="59"/>
                      <a:pt x="311" y="58"/>
                    </a:cubicBezTo>
                    <a:cubicBezTo>
                      <a:pt x="309" y="57"/>
                      <a:pt x="304" y="56"/>
                      <a:pt x="301" y="56"/>
                    </a:cubicBezTo>
                    <a:cubicBezTo>
                      <a:pt x="299" y="56"/>
                      <a:pt x="298" y="56"/>
                      <a:pt x="297" y="57"/>
                    </a:cubicBezTo>
                    <a:cubicBezTo>
                      <a:pt x="296" y="58"/>
                      <a:pt x="294" y="58"/>
                      <a:pt x="292" y="58"/>
                    </a:cubicBezTo>
                    <a:cubicBezTo>
                      <a:pt x="285" y="58"/>
                      <a:pt x="275" y="53"/>
                      <a:pt x="275" y="53"/>
                    </a:cubicBezTo>
                    <a:cubicBezTo>
                      <a:pt x="274" y="52"/>
                      <a:pt x="274" y="52"/>
                      <a:pt x="274" y="52"/>
                    </a:cubicBezTo>
                    <a:cubicBezTo>
                      <a:pt x="272" y="51"/>
                      <a:pt x="269" y="49"/>
                      <a:pt x="267" y="49"/>
                    </a:cubicBezTo>
                    <a:cubicBezTo>
                      <a:pt x="267" y="49"/>
                      <a:pt x="267" y="49"/>
                      <a:pt x="267" y="49"/>
                    </a:cubicBezTo>
                    <a:cubicBezTo>
                      <a:pt x="267" y="49"/>
                      <a:pt x="267" y="49"/>
                      <a:pt x="266" y="50"/>
                    </a:cubicBezTo>
                    <a:cubicBezTo>
                      <a:pt x="248" y="103"/>
                      <a:pt x="248" y="103"/>
                      <a:pt x="248" y="103"/>
                    </a:cubicBezTo>
                    <a:cubicBezTo>
                      <a:pt x="249" y="103"/>
                      <a:pt x="249" y="103"/>
                      <a:pt x="249" y="103"/>
                    </a:cubicBezTo>
                    <a:cubicBezTo>
                      <a:pt x="252" y="104"/>
                      <a:pt x="253" y="104"/>
                      <a:pt x="255" y="106"/>
                    </a:cubicBezTo>
                    <a:cubicBezTo>
                      <a:pt x="257" y="108"/>
                      <a:pt x="256" y="112"/>
                      <a:pt x="256" y="115"/>
                    </a:cubicBezTo>
                    <a:cubicBezTo>
                      <a:pt x="256" y="116"/>
                      <a:pt x="256" y="116"/>
                      <a:pt x="256" y="117"/>
                    </a:cubicBezTo>
                    <a:cubicBezTo>
                      <a:pt x="256" y="120"/>
                      <a:pt x="253" y="121"/>
                      <a:pt x="246" y="121"/>
                    </a:cubicBezTo>
                    <a:cubicBezTo>
                      <a:pt x="245" y="121"/>
                      <a:pt x="244" y="121"/>
                      <a:pt x="242" y="121"/>
                    </a:cubicBezTo>
                    <a:cubicBezTo>
                      <a:pt x="241" y="121"/>
                      <a:pt x="241" y="121"/>
                      <a:pt x="241" y="121"/>
                    </a:cubicBezTo>
                    <a:cubicBezTo>
                      <a:pt x="240" y="121"/>
                      <a:pt x="239" y="121"/>
                      <a:pt x="238" y="121"/>
                    </a:cubicBezTo>
                    <a:cubicBezTo>
                      <a:pt x="237" y="121"/>
                      <a:pt x="236" y="121"/>
                      <a:pt x="234" y="121"/>
                    </a:cubicBezTo>
                    <a:cubicBezTo>
                      <a:pt x="231" y="121"/>
                      <a:pt x="228" y="120"/>
                      <a:pt x="227" y="118"/>
                    </a:cubicBezTo>
                    <a:cubicBezTo>
                      <a:pt x="226" y="117"/>
                      <a:pt x="226" y="116"/>
                      <a:pt x="225" y="115"/>
                    </a:cubicBezTo>
                    <a:cubicBezTo>
                      <a:pt x="225" y="115"/>
                      <a:pt x="224" y="116"/>
                      <a:pt x="222" y="116"/>
                    </a:cubicBezTo>
                    <a:cubicBezTo>
                      <a:pt x="221" y="117"/>
                      <a:pt x="220" y="117"/>
                      <a:pt x="219" y="117"/>
                    </a:cubicBezTo>
                    <a:cubicBezTo>
                      <a:pt x="202" y="122"/>
                      <a:pt x="202" y="122"/>
                      <a:pt x="202" y="122"/>
                    </a:cubicBezTo>
                    <a:cubicBezTo>
                      <a:pt x="196" y="123"/>
                      <a:pt x="191" y="125"/>
                      <a:pt x="185" y="126"/>
                    </a:cubicBezTo>
                    <a:cubicBezTo>
                      <a:pt x="183" y="127"/>
                      <a:pt x="183" y="127"/>
                      <a:pt x="183" y="127"/>
                    </a:cubicBezTo>
                    <a:cubicBezTo>
                      <a:pt x="182" y="127"/>
                      <a:pt x="181" y="127"/>
                      <a:pt x="180" y="128"/>
                    </a:cubicBezTo>
                    <a:cubicBezTo>
                      <a:pt x="180" y="128"/>
                      <a:pt x="180" y="128"/>
                      <a:pt x="180" y="128"/>
                    </a:cubicBezTo>
                    <a:cubicBezTo>
                      <a:pt x="181" y="127"/>
                      <a:pt x="182" y="127"/>
                      <a:pt x="183" y="127"/>
                    </a:cubicBezTo>
                    <a:cubicBezTo>
                      <a:pt x="187" y="127"/>
                      <a:pt x="191" y="129"/>
                      <a:pt x="194" y="130"/>
                    </a:cubicBezTo>
                    <a:cubicBezTo>
                      <a:pt x="198" y="133"/>
                      <a:pt x="198" y="133"/>
                      <a:pt x="198" y="133"/>
                    </a:cubicBezTo>
                    <a:cubicBezTo>
                      <a:pt x="195" y="136"/>
                      <a:pt x="195" y="136"/>
                      <a:pt x="195" y="136"/>
                    </a:cubicBezTo>
                    <a:cubicBezTo>
                      <a:pt x="194" y="137"/>
                      <a:pt x="193" y="137"/>
                      <a:pt x="193" y="138"/>
                    </a:cubicBezTo>
                    <a:cubicBezTo>
                      <a:pt x="192" y="138"/>
                      <a:pt x="192" y="138"/>
                      <a:pt x="192" y="139"/>
                    </a:cubicBezTo>
                    <a:cubicBezTo>
                      <a:pt x="191" y="141"/>
                      <a:pt x="192" y="145"/>
                      <a:pt x="192" y="147"/>
                    </a:cubicBezTo>
                    <a:cubicBezTo>
                      <a:pt x="192" y="150"/>
                      <a:pt x="192" y="150"/>
                      <a:pt x="192" y="150"/>
                    </a:cubicBezTo>
                    <a:cubicBezTo>
                      <a:pt x="193" y="154"/>
                      <a:pt x="194" y="157"/>
                      <a:pt x="195" y="160"/>
                    </a:cubicBezTo>
                    <a:cubicBezTo>
                      <a:pt x="196" y="162"/>
                      <a:pt x="196" y="163"/>
                      <a:pt x="197" y="165"/>
                    </a:cubicBezTo>
                    <a:cubicBezTo>
                      <a:pt x="197" y="166"/>
                      <a:pt x="197" y="166"/>
                      <a:pt x="197" y="166"/>
                    </a:cubicBezTo>
                    <a:cubicBezTo>
                      <a:pt x="198" y="168"/>
                      <a:pt x="199" y="170"/>
                      <a:pt x="200" y="172"/>
                    </a:cubicBezTo>
                    <a:cubicBezTo>
                      <a:pt x="201" y="174"/>
                      <a:pt x="202" y="175"/>
                      <a:pt x="202" y="177"/>
                    </a:cubicBezTo>
                    <a:cubicBezTo>
                      <a:pt x="202" y="178"/>
                      <a:pt x="202" y="178"/>
                      <a:pt x="202" y="178"/>
                    </a:cubicBezTo>
                    <a:cubicBezTo>
                      <a:pt x="202" y="178"/>
                      <a:pt x="203" y="178"/>
                      <a:pt x="203" y="179"/>
                    </a:cubicBezTo>
                    <a:cubicBezTo>
                      <a:pt x="205" y="188"/>
                      <a:pt x="205" y="189"/>
                      <a:pt x="204" y="190"/>
                    </a:cubicBezTo>
                    <a:cubicBezTo>
                      <a:pt x="203" y="192"/>
                      <a:pt x="200" y="192"/>
                      <a:pt x="197" y="193"/>
                    </a:cubicBezTo>
                    <a:cubicBezTo>
                      <a:pt x="196" y="193"/>
                      <a:pt x="195" y="193"/>
                      <a:pt x="195" y="193"/>
                    </a:cubicBezTo>
                    <a:cubicBezTo>
                      <a:pt x="196" y="194"/>
                      <a:pt x="197" y="196"/>
                      <a:pt x="197" y="198"/>
                    </a:cubicBezTo>
                    <a:cubicBezTo>
                      <a:pt x="197" y="201"/>
                      <a:pt x="194" y="202"/>
                      <a:pt x="190" y="203"/>
                    </a:cubicBezTo>
                    <a:cubicBezTo>
                      <a:pt x="189" y="203"/>
                      <a:pt x="188" y="203"/>
                      <a:pt x="188" y="203"/>
                    </a:cubicBezTo>
                    <a:cubicBezTo>
                      <a:pt x="187" y="205"/>
                      <a:pt x="187" y="206"/>
                      <a:pt x="187" y="208"/>
                    </a:cubicBezTo>
                    <a:cubicBezTo>
                      <a:pt x="188" y="210"/>
                      <a:pt x="188" y="210"/>
                      <a:pt x="188" y="210"/>
                    </a:cubicBezTo>
                    <a:cubicBezTo>
                      <a:pt x="188" y="213"/>
                      <a:pt x="189" y="217"/>
                      <a:pt x="188" y="220"/>
                    </a:cubicBezTo>
                    <a:cubicBezTo>
                      <a:pt x="188" y="221"/>
                      <a:pt x="188" y="221"/>
                      <a:pt x="188" y="221"/>
                    </a:cubicBezTo>
                    <a:cubicBezTo>
                      <a:pt x="188" y="222"/>
                      <a:pt x="188" y="222"/>
                      <a:pt x="188" y="222"/>
                    </a:cubicBezTo>
                    <a:cubicBezTo>
                      <a:pt x="189" y="224"/>
                      <a:pt x="189" y="224"/>
                      <a:pt x="189" y="224"/>
                    </a:cubicBezTo>
                    <a:cubicBezTo>
                      <a:pt x="189" y="225"/>
                      <a:pt x="189" y="227"/>
                      <a:pt x="187" y="228"/>
                    </a:cubicBezTo>
                    <a:cubicBezTo>
                      <a:pt x="187" y="232"/>
                      <a:pt x="187" y="232"/>
                      <a:pt x="187" y="232"/>
                    </a:cubicBezTo>
                    <a:cubicBezTo>
                      <a:pt x="186" y="230"/>
                      <a:pt x="186" y="230"/>
                      <a:pt x="186" y="230"/>
                    </a:cubicBezTo>
                    <a:cubicBezTo>
                      <a:pt x="184" y="231"/>
                      <a:pt x="183" y="231"/>
                      <a:pt x="182" y="231"/>
                    </a:cubicBezTo>
                    <a:cubicBezTo>
                      <a:pt x="178" y="233"/>
                      <a:pt x="178" y="233"/>
                      <a:pt x="178" y="233"/>
                    </a:cubicBezTo>
                    <a:cubicBezTo>
                      <a:pt x="172" y="235"/>
                      <a:pt x="166" y="237"/>
                      <a:pt x="160" y="239"/>
                    </a:cubicBezTo>
                    <a:cubicBezTo>
                      <a:pt x="159" y="240"/>
                      <a:pt x="157" y="240"/>
                      <a:pt x="155" y="241"/>
                    </a:cubicBezTo>
                    <a:cubicBezTo>
                      <a:pt x="155" y="241"/>
                      <a:pt x="155" y="241"/>
                      <a:pt x="155" y="241"/>
                    </a:cubicBezTo>
                    <a:cubicBezTo>
                      <a:pt x="151" y="243"/>
                      <a:pt x="147" y="244"/>
                      <a:pt x="144" y="246"/>
                    </a:cubicBezTo>
                    <a:cubicBezTo>
                      <a:pt x="143" y="247"/>
                      <a:pt x="143" y="247"/>
                      <a:pt x="143" y="247"/>
                    </a:cubicBezTo>
                    <a:cubicBezTo>
                      <a:pt x="141" y="247"/>
                      <a:pt x="139" y="249"/>
                      <a:pt x="138" y="251"/>
                    </a:cubicBezTo>
                    <a:cubicBezTo>
                      <a:pt x="137" y="251"/>
                      <a:pt x="137" y="251"/>
                      <a:pt x="137" y="251"/>
                    </a:cubicBezTo>
                    <a:cubicBezTo>
                      <a:pt x="137" y="252"/>
                      <a:pt x="136" y="253"/>
                      <a:pt x="136" y="253"/>
                    </a:cubicBezTo>
                    <a:cubicBezTo>
                      <a:pt x="136" y="253"/>
                      <a:pt x="135" y="254"/>
                      <a:pt x="135" y="254"/>
                    </a:cubicBezTo>
                    <a:cubicBezTo>
                      <a:pt x="134" y="256"/>
                      <a:pt x="134" y="256"/>
                      <a:pt x="134" y="256"/>
                    </a:cubicBezTo>
                    <a:cubicBezTo>
                      <a:pt x="133" y="256"/>
                      <a:pt x="132" y="257"/>
                      <a:pt x="132" y="258"/>
                    </a:cubicBezTo>
                    <a:cubicBezTo>
                      <a:pt x="131" y="258"/>
                      <a:pt x="130" y="259"/>
                      <a:pt x="129" y="259"/>
                    </a:cubicBezTo>
                    <a:cubicBezTo>
                      <a:pt x="128" y="260"/>
                      <a:pt x="128" y="260"/>
                      <a:pt x="127" y="260"/>
                    </a:cubicBezTo>
                    <a:cubicBezTo>
                      <a:pt x="120" y="261"/>
                      <a:pt x="120" y="261"/>
                      <a:pt x="120" y="261"/>
                    </a:cubicBezTo>
                    <a:cubicBezTo>
                      <a:pt x="117" y="261"/>
                      <a:pt x="114" y="262"/>
                      <a:pt x="111" y="262"/>
                    </a:cubicBezTo>
                    <a:cubicBezTo>
                      <a:pt x="109" y="262"/>
                      <a:pt x="109" y="262"/>
                      <a:pt x="109" y="262"/>
                    </a:cubicBezTo>
                    <a:cubicBezTo>
                      <a:pt x="108" y="262"/>
                      <a:pt x="106" y="262"/>
                      <a:pt x="104" y="262"/>
                    </a:cubicBezTo>
                    <a:cubicBezTo>
                      <a:pt x="100" y="262"/>
                      <a:pt x="97" y="263"/>
                      <a:pt x="95" y="264"/>
                    </a:cubicBezTo>
                    <a:cubicBezTo>
                      <a:pt x="93" y="264"/>
                      <a:pt x="92" y="266"/>
                      <a:pt x="90" y="268"/>
                    </a:cubicBezTo>
                    <a:cubicBezTo>
                      <a:pt x="90" y="268"/>
                      <a:pt x="90" y="268"/>
                      <a:pt x="90" y="268"/>
                    </a:cubicBezTo>
                    <a:cubicBezTo>
                      <a:pt x="89" y="269"/>
                      <a:pt x="89" y="269"/>
                      <a:pt x="88" y="270"/>
                    </a:cubicBezTo>
                    <a:cubicBezTo>
                      <a:pt x="87" y="271"/>
                      <a:pt x="87" y="271"/>
                      <a:pt x="87" y="271"/>
                    </a:cubicBezTo>
                    <a:cubicBezTo>
                      <a:pt x="86" y="271"/>
                      <a:pt x="86" y="272"/>
                      <a:pt x="86" y="272"/>
                    </a:cubicBezTo>
                    <a:cubicBezTo>
                      <a:pt x="86" y="272"/>
                      <a:pt x="86" y="272"/>
                      <a:pt x="86" y="272"/>
                    </a:cubicBezTo>
                    <a:cubicBezTo>
                      <a:pt x="86" y="273"/>
                      <a:pt x="86" y="273"/>
                      <a:pt x="86" y="273"/>
                    </a:cubicBezTo>
                    <a:cubicBezTo>
                      <a:pt x="86" y="274"/>
                      <a:pt x="86" y="275"/>
                      <a:pt x="86" y="276"/>
                    </a:cubicBezTo>
                    <a:cubicBezTo>
                      <a:pt x="85" y="277"/>
                      <a:pt x="84" y="279"/>
                      <a:pt x="83" y="281"/>
                    </a:cubicBezTo>
                    <a:cubicBezTo>
                      <a:pt x="82" y="282"/>
                      <a:pt x="81" y="283"/>
                      <a:pt x="80" y="284"/>
                    </a:cubicBezTo>
                    <a:cubicBezTo>
                      <a:pt x="79" y="285"/>
                      <a:pt x="78" y="286"/>
                      <a:pt x="77" y="286"/>
                    </a:cubicBezTo>
                    <a:cubicBezTo>
                      <a:pt x="76" y="287"/>
                      <a:pt x="76" y="287"/>
                      <a:pt x="76" y="287"/>
                    </a:cubicBezTo>
                    <a:cubicBezTo>
                      <a:pt x="75" y="287"/>
                      <a:pt x="75" y="287"/>
                      <a:pt x="75" y="287"/>
                    </a:cubicBezTo>
                    <a:cubicBezTo>
                      <a:pt x="75" y="287"/>
                      <a:pt x="75" y="287"/>
                      <a:pt x="75" y="287"/>
                    </a:cubicBezTo>
                    <a:cubicBezTo>
                      <a:pt x="74" y="287"/>
                      <a:pt x="73" y="286"/>
                      <a:pt x="72" y="286"/>
                    </a:cubicBezTo>
                    <a:cubicBezTo>
                      <a:pt x="71" y="286"/>
                      <a:pt x="71" y="286"/>
                      <a:pt x="70" y="286"/>
                    </a:cubicBezTo>
                    <a:cubicBezTo>
                      <a:pt x="70" y="286"/>
                      <a:pt x="70" y="286"/>
                      <a:pt x="70" y="286"/>
                    </a:cubicBezTo>
                    <a:cubicBezTo>
                      <a:pt x="69" y="286"/>
                      <a:pt x="69" y="286"/>
                      <a:pt x="68" y="286"/>
                    </a:cubicBezTo>
                    <a:cubicBezTo>
                      <a:pt x="67" y="286"/>
                      <a:pt x="67" y="286"/>
                      <a:pt x="67" y="286"/>
                    </a:cubicBezTo>
                    <a:cubicBezTo>
                      <a:pt x="67" y="286"/>
                      <a:pt x="66" y="286"/>
                      <a:pt x="66" y="287"/>
                    </a:cubicBezTo>
                    <a:cubicBezTo>
                      <a:pt x="65" y="286"/>
                      <a:pt x="65" y="286"/>
                      <a:pt x="65" y="286"/>
                    </a:cubicBezTo>
                    <a:cubicBezTo>
                      <a:pt x="65" y="286"/>
                      <a:pt x="65" y="286"/>
                      <a:pt x="65" y="286"/>
                    </a:cubicBezTo>
                    <a:cubicBezTo>
                      <a:pt x="65" y="286"/>
                      <a:pt x="65" y="286"/>
                      <a:pt x="65" y="286"/>
                    </a:cubicBezTo>
                    <a:cubicBezTo>
                      <a:pt x="66" y="287"/>
                      <a:pt x="66" y="287"/>
                      <a:pt x="66" y="287"/>
                    </a:cubicBezTo>
                    <a:cubicBezTo>
                      <a:pt x="64" y="288"/>
                      <a:pt x="64" y="288"/>
                      <a:pt x="64" y="288"/>
                    </a:cubicBezTo>
                    <a:cubicBezTo>
                      <a:pt x="64" y="288"/>
                      <a:pt x="63" y="289"/>
                      <a:pt x="62" y="289"/>
                    </a:cubicBezTo>
                    <a:cubicBezTo>
                      <a:pt x="61" y="289"/>
                      <a:pt x="60" y="289"/>
                      <a:pt x="60" y="289"/>
                    </a:cubicBezTo>
                    <a:cubicBezTo>
                      <a:pt x="56" y="289"/>
                      <a:pt x="54" y="287"/>
                      <a:pt x="52" y="284"/>
                    </a:cubicBezTo>
                    <a:cubicBezTo>
                      <a:pt x="52" y="283"/>
                      <a:pt x="52" y="282"/>
                      <a:pt x="51" y="282"/>
                    </a:cubicBezTo>
                    <a:cubicBezTo>
                      <a:pt x="51" y="281"/>
                      <a:pt x="51" y="280"/>
                      <a:pt x="51" y="279"/>
                    </a:cubicBezTo>
                    <a:cubicBezTo>
                      <a:pt x="50" y="280"/>
                      <a:pt x="50" y="280"/>
                      <a:pt x="50" y="280"/>
                    </a:cubicBezTo>
                    <a:cubicBezTo>
                      <a:pt x="49" y="280"/>
                      <a:pt x="49" y="280"/>
                      <a:pt x="48" y="281"/>
                    </a:cubicBezTo>
                    <a:cubicBezTo>
                      <a:pt x="45" y="283"/>
                      <a:pt x="43" y="283"/>
                      <a:pt x="40" y="283"/>
                    </a:cubicBezTo>
                    <a:cubicBezTo>
                      <a:pt x="38" y="283"/>
                      <a:pt x="37" y="283"/>
                      <a:pt x="36" y="283"/>
                    </a:cubicBezTo>
                    <a:cubicBezTo>
                      <a:pt x="36" y="284"/>
                      <a:pt x="36" y="285"/>
                      <a:pt x="35" y="286"/>
                    </a:cubicBezTo>
                    <a:cubicBezTo>
                      <a:pt x="35" y="287"/>
                      <a:pt x="34" y="288"/>
                      <a:pt x="34" y="288"/>
                    </a:cubicBezTo>
                    <a:cubicBezTo>
                      <a:pt x="31" y="290"/>
                      <a:pt x="26" y="291"/>
                      <a:pt x="21" y="293"/>
                    </a:cubicBezTo>
                    <a:cubicBezTo>
                      <a:pt x="20" y="293"/>
                      <a:pt x="20" y="293"/>
                      <a:pt x="20" y="293"/>
                    </a:cubicBezTo>
                    <a:cubicBezTo>
                      <a:pt x="20" y="293"/>
                      <a:pt x="19" y="293"/>
                      <a:pt x="19" y="293"/>
                    </a:cubicBezTo>
                    <a:cubicBezTo>
                      <a:pt x="11" y="296"/>
                      <a:pt x="11" y="296"/>
                      <a:pt x="11" y="296"/>
                    </a:cubicBezTo>
                    <a:cubicBezTo>
                      <a:pt x="11" y="296"/>
                      <a:pt x="11" y="297"/>
                      <a:pt x="11" y="298"/>
                    </a:cubicBezTo>
                    <a:cubicBezTo>
                      <a:pt x="11" y="299"/>
                      <a:pt x="10" y="300"/>
                      <a:pt x="10" y="300"/>
                    </a:cubicBezTo>
                    <a:cubicBezTo>
                      <a:pt x="10" y="302"/>
                      <a:pt x="10" y="302"/>
                      <a:pt x="10" y="302"/>
                    </a:cubicBezTo>
                    <a:cubicBezTo>
                      <a:pt x="10" y="302"/>
                      <a:pt x="10" y="302"/>
                      <a:pt x="10" y="302"/>
                    </a:cubicBezTo>
                    <a:cubicBezTo>
                      <a:pt x="9" y="308"/>
                      <a:pt x="9" y="308"/>
                      <a:pt x="9" y="308"/>
                    </a:cubicBezTo>
                    <a:cubicBezTo>
                      <a:pt x="9" y="310"/>
                      <a:pt x="8" y="311"/>
                      <a:pt x="7" y="312"/>
                    </a:cubicBezTo>
                    <a:cubicBezTo>
                      <a:pt x="6" y="313"/>
                      <a:pt x="6" y="313"/>
                      <a:pt x="5" y="314"/>
                    </a:cubicBezTo>
                    <a:cubicBezTo>
                      <a:pt x="4" y="315"/>
                      <a:pt x="4" y="315"/>
                      <a:pt x="4" y="315"/>
                    </a:cubicBezTo>
                    <a:cubicBezTo>
                      <a:pt x="3" y="315"/>
                      <a:pt x="3" y="315"/>
                      <a:pt x="2" y="315"/>
                    </a:cubicBezTo>
                    <a:cubicBezTo>
                      <a:pt x="1" y="316"/>
                      <a:pt x="1" y="316"/>
                      <a:pt x="1" y="316"/>
                    </a:cubicBezTo>
                    <a:cubicBezTo>
                      <a:pt x="1" y="316"/>
                      <a:pt x="1" y="316"/>
                      <a:pt x="1" y="316"/>
                    </a:cubicBezTo>
                    <a:cubicBezTo>
                      <a:pt x="0" y="321"/>
                      <a:pt x="0" y="321"/>
                      <a:pt x="0" y="321"/>
                    </a:cubicBezTo>
                    <a:cubicBezTo>
                      <a:pt x="1" y="322"/>
                      <a:pt x="1" y="322"/>
                      <a:pt x="1" y="322"/>
                    </a:cubicBezTo>
                    <a:cubicBezTo>
                      <a:pt x="1" y="322"/>
                      <a:pt x="1" y="322"/>
                      <a:pt x="1" y="322"/>
                    </a:cubicBezTo>
                    <a:cubicBezTo>
                      <a:pt x="2" y="323"/>
                      <a:pt x="2" y="323"/>
                      <a:pt x="2" y="323"/>
                    </a:cubicBezTo>
                    <a:cubicBezTo>
                      <a:pt x="3" y="324"/>
                      <a:pt x="3" y="324"/>
                      <a:pt x="3" y="324"/>
                    </a:cubicBezTo>
                    <a:cubicBezTo>
                      <a:pt x="2" y="324"/>
                      <a:pt x="2" y="324"/>
                      <a:pt x="2" y="324"/>
                    </a:cubicBezTo>
                    <a:cubicBezTo>
                      <a:pt x="3" y="325"/>
                      <a:pt x="3" y="325"/>
                      <a:pt x="3" y="325"/>
                    </a:cubicBezTo>
                    <a:cubicBezTo>
                      <a:pt x="4" y="325"/>
                      <a:pt x="4" y="325"/>
                      <a:pt x="4" y="325"/>
                    </a:cubicBezTo>
                    <a:cubicBezTo>
                      <a:pt x="4" y="326"/>
                      <a:pt x="5" y="327"/>
                      <a:pt x="5" y="327"/>
                    </a:cubicBezTo>
                    <a:cubicBezTo>
                      <a:pt x="6" y="328"/>
                      <a:pt x="6" y="328"/>
                      <a:pt x="6" y="328"/>
                    </a:cubicBezTo>
                    <a:cubicBezTo>
                      <a:pt x="6" y="329"/>
                      <a:pt x="6" y="331"/>
                      <a:pt x="5" y="333"/>
                    </a:cubicBezTo>
                    <a:cubicBezTo>
                      <a:pt x="5" y="334"/>
                      <a:pt x="5" y="334"/>
                      <a:pt x="5" y="334"/>
                    </a:cubicBezTo>
                    <a:cubicBezTo>
                      <a:pt x="3" y="334"/>
                      <a:pt x="3" y="334"/>
                      <a:pt x="3" y="334"/>
                    </a:cubicBezTo>
                    <a:cubicBezTo>
                      <a:pt x="3" y="335"/>
                      <a:pt x="3" y="335"/>
                      <a:pt x="3" y="335"/>
                    </a:cubicBezTo>
                    <a:cubicBezTo>
                      <a:pt x="4" y="335"/>
                      <a:pt x="4" y="335"/>
                      <a:pt x="4" y="335"/>
                    </a:cubicBezTo>
                    <a:cubicBezTo>
                      <a:pt x="4" y="337"/>
                      <a:pt x="4" y="338"/>
                      <a:pt x="4" y="338"/>
                    </a:cubicBezTo>
                    <a:cubicBezTo>
                      <a:pt x="5" y="338"/>
                      <a:pt x="5" y="338"/>
                      <a:pt x="6" y="338"/>
                    </a:cubicBezTo>
                    <a:cubicBezTo>
                      <a:pt x="7" y="337"/>
                      <a:pt x="7" y="337"/>
                      <a:pt x="7" y="337"/>
                    </a:cubicBezTo>
                    <a:cubicBezTo>
                      <a:pt x="9" y="337"/>
                      <a:pt x="11" y="337"/>
                      <a:pt x="13" y="336"/>
                    </a:cubicBezTo>
                    <a:cubicBezTo>
                      <a:pt x="14" y="336"/>
                      <a:pt x="14" y="336"/>
                      <a:pt x="14" y="336"/>
                    </a:cubicBezTo>
                    <a:cubicBezTo>
                      <a:pt x="14" y="336"/>
                      <a:pt x="14" y="336"/>
                      <a:pt x="14" y="336"/>
                    </a:cubicBezTo>
                    <a:cubicBezTo>
                      <a:pt x="15" y="336"/>
                      <a:pt x="16" y="336"/>
                      <a:pt x="17" y="337"/>
                    </a:cubicBezTo>
                    <a:cubicBezTo>
                      <a:pt x="19" y="337"/>
                      <a:pt x="21" y="338"/>
                      <a:pt x="22" y="338"/>
                    </a:cubicBezTo>
                    <a:cubicBezTo>
                      <a:pt x="24" y="339"/>
                      <a:pt x="25" y="340"/>
                      <a:pt x="26" y="341"/>
                    </a:cubicBezTo>
                    <a:cubicBezTo>
                      <a:pt x="27" y="341"/>
                      <a:pt x="27" y="341"/>
                      <a:pt x="27" y="341"/>
                    </a:cubicBezTo>
                    <a:cubicBezTo>
                      <a:pt x="27" y="342"/>
                      <a:pt x="28" y="342"/>
                      <a:pt x="28" y="343"/>
                    </a:cubicBezTo>
                    <a:cubicBezTo>
                      <a:pt x="30" y="344"/>
                      <a:pt x="30" y="344"/>
                      <a:pt x="30" y="344"/>
                    </a:cubicBezTo>
                    <a:cubicBezTo>
                      <a:pt x="33" y="346"/>
                      <a:pt x="35" y="347"/>
                      <a:pt x="36" y="352"/>
                    </a:cubicBezTo>
                    <a:cubicBezTo>
                      <a:pt x="36" y="357"/>
                      <a:pt x="37" y="362"/>
                      <a:pt x="38" y="366"/>
                    </a:cubicBezTo>
                    <a:cubicBezTo>
                      <a:pt x="38" y="368"/>
                      <a:pt x="38" y="368"/>
                      <a:pt x="38" y="368"/>
                    </a:cubicBezTo>
                    <a:cubicBezTo>
                      <a:pt x="38" y="370"/>
                      <a:pt x="39" y="371"/>
                      <a:pt x="39" y="372"/>
                    </a:cubicBezTo>
                    <a:cubicBezTo>
                      <a:pt x="39" y="375"/>
                      <a:pt x="39" y="375"/>
                      <a:pt x="39" y="375"/>
                    </a:cubicBezTo>
                    <a:cubicBezTo>
                      <a:pt x="39" y="375"/>
                      <a:pt x="41" y="377"/>
                      <a:pt x="43" y="378"/>
                    </a:cubicBezTo>
                    <a:cubicBezTo>
                      <a:pt x="46" y="381"/>
                      <a:pt x="46" y="381"/>
                      <a:pt x="46" y="381"/>
                    </a:cubicBezTo>
                    <a:cubicBezTo>
                      <a:pt x="43" y="384"/>
                      <a:pt x="43" y="384"/>
                      <a:pt x="43" y="384"/>
                    </a:cubicBezTo>
                    <a:cubicBezTo>
                      <a:pt x="42" y="385"/>
                      <a:pt x="41" y="386"/>
                      <a:pt x="39" y="387"/>
                    </a:cubicBezTo>
                    <a:cubicBezTo>
                      <a:pt x="52" y="385"/>
                      <a:pt x="52" y="385"/>
                      <a:pt x="52" y="385"/>
                    </a:cubicBezTo>
                    <a:cubicBezTo>
                      <a:pt x="36" y="392"/>
                      <a:pt x="36" y="392"/>
                      <a:pt x="36" y="392"/>
                    </a:cubicBezTo>
                    <a:cubicBezTo>
                      <a:pt x="37" y="392"/>
                      <a:pt x="37" y="392"/>
                      <a:pt x="37" y="392"/>
                    </a:cubicBezTo>
                    <a:cubicBezTo>
                      <a:pt x="40" y="392"/>
                      <a:pt x="42" y="392"/>
                      <a:pt x="46" y="394"/>
                    </a:cubicBezTo>
                    <a:cubicBezTo>
                      <a:pt x="48" y="395"/>
                      <a:pt x="50" y="396"/>
                      <a:pt x="52" y="397"/>
                    </a:cubicBezTo>
                    <a:cubicBezTo>
                      <a:pt x="53" y="398"/>
                      <a:pt x="54" y="399"/>
                      <a:pt x="55" y="399"/>
                    </a:cubicBezTo>
                    <a:cubicBezTo>
                      <a:pt x="56" y="400"/>
                      <a:pt x="56" y="400"/>
                      <a:pt x="57" y="400"/>
                    </a:cubicBezTo>
                    <a:cubicBezTo>
                      <a:pt x="58" y="400"/>
                      <a:pt x="58" y="400"/>
                      <a:pt x="58" y="400"/>
                    </a:cubicBezTo>
                    <a:cubicBezTo>
                      <a:pt x="61" y="402"/>
                      <a:pt x="64" y="405"/>
                      <a:pt x="66" y="409"/>
                    </a:cubicBezTo>
                    <a:cubicBezTo>
                      <a:pt x="67" y="411"/>
                      <a:pt x="68" y="412"/>
                      <a:pt x="68" y="414"/>
                    </a:cubicBezTo>
                    <a:cubicBezTo>
                      <a:pt x="68" y="416"/>
                      <a:pt x="69" y="417"/>
                      <a:pt x="68" y="419"/>
                    </a:cubicBezTo>
                    <a:cubicBezTo>
                      <a:pt x="68" y="421"/>
                      <a:pt x="68" y="422"/>
                      <a:pt x="67" y="423"/>
                    </a:cubicBezTo>
                    <a:cubicBezTo>
                      <a:pt x="66" y="424"/>
                      <a:pt x="66" y="424"/>
                      <a:pt x="66" y="424"/>
                    </a:cubicBezTo>
                    <a:cubicBezTo>
                      <a:pt x="67" y="425"/>
                      <a:pt x="67" y="425"/>
                      <a:pt x="67" y="425"/>
                    </a:cubicBezTo>
                    <a:cubicBezTo>
                      <a:pt x="69" y="426"/>
                      <a:pt x="69" y="427"/>
                      <a:pt x="70" y="428"/>
                    </a:cubicBezTo>
                    <a:cubicBezTo>
                      <a:pt x="70" y="429"/>
                      <a:pt x="71" y="429"/>
                      <a:pt x="71" y="429"/>
                    </a:cubicBezTo>
                    <a:cubicBezTo>
                      <a:pt x="71" y="429"/>
                      <a:pt x="71" y="429"/>
                      <a:pt x="71" y="429"/>
                    </a:cubicBezTo>
                    <a:cubicBezTo>
                      <a:pt x="71" y="430"/>
                      <a:pt x="71" y="430"/>
                      <a:pt x="71" y="430"/>
                    </a:cubicBezTo>
                    <a:cubicBezTo>
                      <a:pt x="72" y="430"/>
                      <a:pt x="72" y="430"/>
                      <a:pt x="72" y="430"/>
                    </a:cubicBezTo>
                    <a:cubicBezTo>
                      <a:pt x="75" y="429"/>
                      <a:pt x="77" y="429"/>
                      <a:pt x="77" y="428"/>
                    </a:cubicBezTo>
                    <a:cubicBezTo>
                      <a:pt x="81" y="423"/>
                      <a:pt x="81" y="423"/>
                      <a:pt x="81" y="423"/>
                    </a:cubicBezTo>
                    <a:cubicBezTo>
                      <a:pt x="83" y="430"/>
                      <a:pt x="83" y="430"/>
                      <a:pt x="83" y="430"/>
                    </a:cubicBezTo>
                    <a:cubicBezTo>
                      <a:pt x="83" y="430"/>
                      <a:pt x="84" y="431"/>
                      <a:pt x="84" y="431"/>
                    </a:cubicBezTo>
                    <a:cubicBezTo>
                      <a:pt x="84" y="432"/>
                      <a:pt x="84" y="432"/>
                      <a:pt x="84" y="432"/>
                    </a:cubicBezTo>
                    <a:cubicBezTo>
                      <a:pt x="84" y="432"/>
                      <a:pt x="84" y="432"/>
                      <a:pt x="84" y="432"/>
                    </a:cubicBezTo>
                    <a:cubicBezTo>
                      <a:pt x="84" y="433"/>
                      <a:pt x="84" y="433"/>
                      <a:pt x="84" y="433"/>
                    </a:cubicBezTo>
                    <a:cubicBezTo>
                      <a:pt x="85" y="434"/>
                      <a:pt x="86" y="435"/>
                      <a:pt x="88" y="436"/>
                    </a:cubicBezTo>
                    <a:cubicBezTo>
                      <a:pt x="93" y="439"/>
                      <a:pt x="100" y="439"/>
                      <a:pt x="107" y="439"/>
                    </a:cubicBezTo>
                    <a:cubicBezTo>
                      <a:pt x="110" y="440"/>
                      <a:pt x="113" y="440"/>
                      <a:pt x="115" y="440"/>
                    </a:cubicBezTo>
                    <a:cubicBezTo>
                      <a:pt x="116" y="440"/>
                      <a:pt x="116" y="440"/>
                      <a:pt x="116" y="440"/>
                    </a:cubicBezTo>
                    <a:cubicBezTo>
                      <a:pt x="117" y="440"/>
                      <a:pt x="117" y="440"/>
                      <a:pt x="117" y="440"/>
                    </a:cubicBezTo>
                    <a:cubicBezTo>
                      <a:pt x="119" y="439"/>
                      <a:pt x="121" y="438"/>
                      <a:pt x="124" y="437"/>
                    </a:cubicBezTo>
                    <a:cubicBezTo>
                      <a:pt x="125" y="436"/>
                      <a:pt x="125" y="436"/>
                      <a:pt x="125" y="436"/>
                    </a:cubicBezTo>
                    <a:cubicBezTo>
                      <a:pt x="126" y="440"/>
                      <a:pt x="126" y="440"/>
                      <a:pt x="126" y="440"/>
                    </a:cubicBezTo>
                    <a:cubicBezTo>
                      <a:pt x="125" y="440"/>
                      <a:pt x="125" y="440"/>
                      <a:pt x="125" y="440"/>
                    </a:cubicBezTo>
                    <a:cubicBezTo>
                      <a:pt x="123" y="441"/>
                      <a:pt x="121" y="442"/>
                      <a:pt x="118" y="443"/>
                    </a:cubicBezTo>
                    <a:cubicBezTo>
                      <a:pt x="118" y="443"/>
                      <a:pt x="117" y="443"/>
                      <a:pt x="117" y="443"/>
                    </a:cubicBezTo>
                    <a:cubicBezTo>
                      <a:pt x="116" y="444"/>
                      <a:pt x="116" y="444"/>
                      <a:pt x="116" y="444"/>
                    </a:cubicBezTo>
                    <a:cubicBezTo>
                      <a:pt x="116" y="444"/>
                      <a:pt x="116" y="444"/>
                      <a:pt x="116" y="444"/>
                    </a:cubicBezTo>
                    <a:cubicBezTo>
                      <a:pt x="116" y="444"/>
                      <a:pt x="119" y="443"/>
                      <a:pt x="121" y="443"/>
                    </a:cubicBezTo>
                    <a:cubicBezTo>
                      <a:pt x="121" y="443"/>
                      <a:pt x="122" y="443"/>
                      <a:pt x="122" y="443"/>
                    </a:cubicBezTo>
                    <a:cubicBezTo>
                      <a:pt x="122" y="443"/>
                      <a:pt x="123" y="444"/>
                      <a:pt x="123" y="444"/>
                    </a:cubicBezTo>
                    <a:cubicBezTo>
                      <a:pt x="123" y="444"/>
                      <a:pt x="123" y="445"/>
                      <a:pt x="123" y="445"/>
                    </a:cubicBezTo>
                    <a:cubicBezTo>
                      <a:pt x="123" y="447"/>
                      <a:pt x="122" y="449"/>
                      <a:pt x="122" y="450"/>
                    </a:cubicBezTo>
                    <a:cubicBezTo>
                      <a:pt x="122" y="451"/>
                      <a:pt x="122" y="453"/>
                      <a:pt x="123" y="454"/>
                    </a:cubicBezTo>
                    <a:cubicBezTo>
                      <a:pt x="124" y="456"/>
                      <a:pt x="125" y="457"/>
                      <a:pt x="126" y="459"/>
                    </a:cubicBezTo>
                    <a:cubicBezTo>
                      <a:pt x="126" y="460"/>
                      <a:pt x="126" y="460"/>
                      <a:pt x="126" y="461"/>
                    </a:cubicBezTo>
                    <a:cubicBezTo>
                      <a:pt x="127" y="463"/>
                      <a:pt x="128" y="466"/>
                      <a:pt x="129" y="468"/>
                    </a:cubicBezTo>
                    <a:cubicBezTo>
                      <a:pt x="129" y="469"/>
                      <a:pt x="129" y="469"/>
                      <a:pt x="129" y="469"/>
                    </a:cubicBezTo>
                    <a:cubicBezTo>
                      <a:pt x="130" y="471"/>
                      <a:pt x="132" y="473"/>
                      <a:pt x="135" y="475"/>
                    </a:cubicBezTo>
                    <a:cubicBezTo>
                      <a:pt x="137" y="476"/>
                      <a:pt x="140" y="477"/>
                      <a:pt x="142" y="478"/>
                    </a:cubicBezTo>
                    <a:cubicBezTo>
                      <a:pt x="145" y="479"/>
                      <a:pt x="147" y="480"/>
                      <a:pt x="149" y="481"/>
                    </a:cubicBezTo>
                    <a:cubicBezTo>
                      <a:pt x="149" y="482"/>
                      <a:pt x="148" y="483"/>
                      <a:pt x="148" y="484"/>
                    </a:cubicBezTo>
                    <a:cubicBezTo>
                      <a:pt x="143" y="488"/>
                      <a:pt x="143" y="488"/>
                      <a:pt x="143" y="488"/>
                    </a:cubicBezTo>
                    <a:cubicBezTo>
                      <a:pt x="143" y="489"/>
                      <a:pt x="143" y="489"/>
                      <a:pt x="143" y="489"/>
                    </a:cubicBezTo>
                    <a:cubicBezTo>
                      <a:pt x="142" y="490"/>
                      <a:pt x="142" y="491"/>
                      <a:pt x="142" y="492"/>
                    </a:cubicBezTo>
                    <a:cubicBezTo>
                      <a:pt x="142" y="493"/>
                      <a:pt x="143" y="494"/>
                      <a:pt x="143" y="495"/>
                    </a:cubicBezTo>
                    <a:cubicBezTo>
                      <a:pt x="143" y="496"/>
                      <a:pt x="143" y="496"/>
                      <a:pt x="143" y="496"/>
                    </a:cubicBezTo>
                    <a:cubicBezTo>
                      <a:pt x="144" y="497"/>
                      <a:pt x="144" y="498"/>
                      <a:pt x="144" y="499"/>
                    </a:cubicBezTo>
                    <a:cubicBezTo>
                      <a:pt x="147" y="496"/>
                      <a:pt x="147" y="496"/>
                      <a:pt x="147" y="496"/>
                    </a:cubicBezTo>
                    <a:cubicBezTo>
                      <a:pt x="148" y="501"/>
                      <a:pt x="148" y="501"/>
                      <a:pt x="148" y="501"/>
                    </a:cubicBezTo>
                    <a:cubicBezTo>
                      <a:pt x="148" y="501"/>
                      <a:pt x="148" y="501"/>
                      <a:pt x="148" y="501"/>
                    </a:cubicBezTo>
                    <a:cubicBezTo>
                      <a:pt x="150" y="506"/>
                      <a:pt x="150" y="506"/>
                      <a:pt x="150" y="506"/>
                    </a:cubicBezTo>
                    <a:cubicBezTo>
                      <a:pt x="151" y="508"/>
                      <a:pt x="151" y="508"/>
                      <a:pt x="151" y="508"/>
                    </a:cubicBezTo>
                    <a:cubicBezTo>
                      <a:pt x="151" y="509"/>
                      <a:pt x="151" y="509"/>
                      <a:pt x="151" y="509"/>
                    </a:cubicBezTo>
                    <a:cubicBezTo>
                      <a:pt x="152" y="510"/>
                      <a:pt x="152" y="510"/>
                      <a:pt x="152" y="510"/>
                    </a:cubicBezTo>
                    <a:cubicBezTo>
                      <a:pt x="154" y="511"/>
                      <a:pt x="156" y="513"/>
                      <a:pt x="158" y="514"/>
                    </a:cubicBezTo>
                    <a:cubicBezTo>
                      <a:pt x="159" y="514"/>
                      <a:pt x="159" y="514"/>
                      <a:pt x="159" y="514"/>
                    </a:cubicBezTo>
                    <a:cubicBezTo>
                      <a:pt x="160" y="514"/>
                      <a:pt x="163" y="515"/>
                      <a:pt x="164" y="518"/>
                    </a:cubicBezTo>
                    <a:cubicBezTo>
                      <a:pt x="164" y="518"/>
                      <a:pt x="165" y="519"/>
                      <a:pt x="165" y="521"/>
                    </a:cubicBezTo>
                    <a:cubicBezTo>
                      <a:pt x="165" y="524"/>
                      <a:pt x="165" y="524"/>
                      <a:pt x="165" y="524"/>
                    </a:cubicBezTo>
                    <a:cubicBezTo>
                      <a:pt x="165" y="525"/>
                      <a:pt x="165" y="526"/>
                      <a:pt x="166" y="527"/>
                    </a:cubicBezTo>
                    <a:cubicBezTo>
                      <a:pt x="166" y="528"/>
                      <a:pt x="166" y="528"/>
                      <a:pt x="166" y="528"/>
                    </a:cubicBezTo>
                    <a:cubicBezTo>
                      <a:pt x="166" y="528"/>
                      <a:pt x="166" y="528"/>
                      <a:pt x="166" y="528"/>
                    </a:cubicBezTo>
                    <a:cubicBezTo>
                      <a:pt x="166" y="528"/>
                      <a:pt x="166" y="528"/>
                      <a:pt x="166" y="528"/>
                    </a:cubicBezTo>
                    <a:cubicBezTo>
                      <a:pt x="170" y="530"/>
                      <a:pt x="170" y="530"/>
                      <a:pt x="170" y="530"/>
                    </a:cubicBezTo>
                    <a:cubicBezTo>
                      <a:pt x="167" y="533"/>
                      <a:pt x="167" y="533"/>
                      <a:pt x="167" y="533"/>
                    </a:cubicBezTo>
                    <a:cubicBezTo>
                      <a:pt x="162" y="540"/>
                      <a:pt x="156" y="547"/>
                      <a:pt x="150" y="547"/>
                    </a:cubicBezTo>
                    <a:cubicBezTo>
                      <a:pt x="149" y="547"/>
                      <a:pt x="149" y="547"/>
                      <a:pt x="149" y="547"/>
                    </a:cubicBezTo>
                    <a:cubicBezTo>
                      <a:pt x="148" y="547"/>
                      <a:pt x="148" y="547"/>
                      <a:pt x="148" y="547"/>
                    </a:cubicBezTo>
                    <a:cubicBezTo>
                      <a:pt x="144" y="546"/>
                      <a:pt x="141" y="542"/>
                      <a:pt x="140" y="540"/>
                    </a:cubicBezTo>
                    <a:cubicBezTo>
                      <a:pt x="140" y="540"/>
                      <a:pt x="140" y="540"/>
                      <a:pt x="140" y="540"/>
                    </a:cubicBezTo>
                    <a:cubicBezTo>
                      <a:pt x="138" y="540"/>
                      <a:pt x="138" y="540"/>
                      <a:pt x="138" y="540"/>
                    </a:cubicBezTo>
                    <a:cubicBezTo>
                      <a:pt x="138" y="540"/>
                      <a:pt x="137" y="541"/>
                      <a:pt x="136" y="541"/>
                    </a:cubicBezTo>
                    <a:cubicBezTo>
                      <a:pt x="137" y="544"/>
                      <a:pt x="138" y="546"/>
                      <a:pt x="140" y="549"/>
                    </a:cubicBezTo>
                    <a:cubicBezTo>
                      <a:pt x="141" y="550"/>
                      <a:pt x="143" y="553"/>
                      <a:pt x="144" y="554"/>
                    </a:cubicBezTo>
                    <a:cubicBezTo>
                      <a:pt x="145" y="556"/>
                      <a:pt x="146" y="557"/>
                      <a:pt x="146" y="559"/>
                    </a:cubicBezTo>
                    <a:cubicBezTo>
                      <a:pt x="146" y="559"/>
                      <a:pt x="146" y="560"/>
                      <a:pt x="145" y="561"/>
                    </a:cubicBezTo>
                    <a:cubicBezTo>
                      <a:pt x="146" y="563"/>
                      <a:pt x="145" y="566"/>
                      <a:pt x="145" y="569"/>
                    </a:cubicBezTo>
                    <a:cubicBezTo>
                      <a:pt x="145" y="570"/>
                      <a:pt x="145" y="570"/>
                      <a:pt x="145" y="570"/>
                    </a:cubicBezTo>
                    <a:cubicBezTo>
                      <a:pt x="145" y="570"/>
                      <a:pt x="145" y="570"/>
                      <a:pt x="145" y="570"/>
                    </a:cubicBezTo>
                    <a:cubicBezTo>
                      <a:pt x="145" y="570"/>
                      <a:pt x="146" y="571"/>
                      <a:pt x="146" y="573"/>
                    </a:cubicBezTo>
                    <a:cubicBezTo>
                      <a:pt x="146" y="573"/>
                      <a:pt x="146" y="573"/>
                      <a:pt x="146" y="573"/>
                    </a:cubicBezTo>
                    <a:cubicBezTo>
                      <a:pt x="148" y="571"/>
                      <a:pt x="150" y="570"/>
                      <a:pt x="152" y="570"/>
                    </a:cubicBezTo>
                    <a:cubicBezTo>
                      <a:pt x="153" y="570"/>
                      <a:pt x="153" y="570"/>
                      <a:pt x="154" y="570"/>
                    </a:cubicBezTo>
                    <a:cubicBezTo>
                      <a:pt x="155" y="570"/>
                      <a:pt x="156" y="571"/>
                      <a:pt x="157" y="572"/>
                    </a:cubicBezTo>
                    <a:cubicBezTo>
                      <a:pt x="157" y="573"/>
                      <a:pt x="158" y="573"/>
                      <a:pt x="158" y="574"/>
                    </a:cubicBezTo>
                    <a:cubicBezTo>
                      <a:pt x="164" y="571"/>
                      <a:pt x="164" y="571"/>
                      <a:pt x="164" y="571"/>
                    </a:cubicBezTo>
                    <a:cubicBezTo>
                      <a:pt x="159" y="575"/>
                      <a:pt x="159" y="575"/>
                      <a:pt x="159" y="575"/>
                    </a:cubicBezTo>
                    <a:cubicBezTo>
                      <a:pt x="160" y="576"/>
                      <a:pt x="161" y="578"/>
                      <a:pt x="162" y="579"/>
                    </a:cubicBezTo>
                    <a:cubicBezTo>
                      <a:pt x="162" y="579"/>
                      <a:pt x="162" y="579"/>
                      <a:pt x="162" y="579"/>
                    </a:cubicBezTo>
                    <a:cubicBezTo>
                      <a:pt x="162" y="580"/>
                      <a:pt x="163" y="581"/>
                      <a:pt x="163" y="581"/>
                    </a:cubicBezTo>
                    <a:cubicBezTo>
                      <a:pt x="164" y="581"/>
                      <a:pt x="164" y="582"/>
                      <a:pt x="164" y="583"/>
                    </a:cubicBezTo>
                    <a:cubicBezTo>
                      <a:pt x="165" y="583"/>
                      <a:pt x="165" y="583"/>
                      <a:pt x="166" y="583"/>
                    </a:cubicBezTo>
                    <a:cubicBezTo>
                      <a:pt x="167" y="584"/>
                      <a:pt x="168" y="584"/>
                      <a:pt x="169" y="584"/>
                    </a:cubicBezTo>
                    <a:cubicBezTo>
                      <a:pt x="173" y="585"/>
                      <a:pt x="179" y="587"/>
                      <a:pt x="183" y="589"/>
                    </a:cubicBezTo>
                    <a:cubicBezTo>
                      <a:pt x="185" y="590"/>
                      <a:pt x="186" y="591"/>
                      <a:pt x="187" y="592"/>
                    </a:cubicBezTo>
                    <a:cubicBezTo>
                      <a:pt x="188" y="591"/>
                      <a:pt x="188" y="591"/>
                      <a:pt x="188" y="591"/>
                    </a:cubicBezTo>
                    <a:cubicBezTo>
                      <a:pt x="187" y="592"/>
                      <a:pt x="187" y="592"/>
                      <a:pt x="187" y="592"/>
                    </a:cubicBezTo>
                    <a:cubicBezTo>
                      <a:pt x="188" y="593"/>
                      <a:pt x="188" y="593"/>
                      <a:pt x="188" y="594"/>
                    </a:cubicBezTo>
                    <a:cubicBezTo>
                      <a:pt x="189" y="595"/>
                      <a:pt x="189" y="596"/>
                      <a:pt x="188" y="598"/>
                    </a:cubicBezTo>
                    <a:cubicBezTo>
                      <a:pt x="207" y="607"/>
                      <a:pt x="207" y="607"/>
                      <a:pt x="207" y="607"/>
                    </a:cubicBezTo>
                    <a:cubicBezTo>
                      <a:pt x="207" y="607"/>
                      <a:pt x="207" y="607"/>
                      <a:pt x="207" y="607"/>
                    </a:cubicBezTo>
                    <a:cubicBezTo>
                      <a:pt x="212" y="612"/>
                      <a:pt x="212" y="612"/>
                      <a:pt x="212" y="612"/>
                    </a:cubicBezTo>
                    <a:cubicBezTo>
                      <a:pt x="213" y="610"/>
                      <a:pt x="214" y="608"/>
                      <a:pt x="215" y="607"/>
                    </a:cubicBezTo>
                    <a:cubicBezTo>
                      <a:pt x="215" y="606"/>
                      <a:pt x="215" y="606"/>
                      <a:pt x="215" y="606"/>
                    </a:cubicBezTo>
                    <a:cubicBezTo>
                      <a:pt x="215" y="606"/>
                      <a:pt x="216" y="605"/>
                      <a:pt x="216" y="605"/>
                    </a:cubicBezTo>
                    <a:cubicBezTo>
                      <a:pt x="216" y="604"/>
                      <a:pt x="217" y="604"/>
                      <a:pt x="217" y="603"/>
                    </a:cubicBezTo>
                    <a:cubicBezTo>
                      <a:pt x="218" y="603"/>
                      <a:pt x="218" y="603"/>
                      <a:pt x="218" y="603"/>
                    </a:cubicBezTo>
                    <a:cubicBezTo>
                      <a:pt x="219" y="602"/>
                      <a:pt x="221" y="601"/>
                      <a:pt x="223" y="601"/>
                    </a:cubicBezTo>
                    <a:cubicBezTo>
                      <a:pt x="224" y="601"/>
                      <a:pt x="225" y="602"/>
                      <a:pt x="226" y="602"/>
                    </a:cubicBezTo>
                    <a:cubicBezTo>
                      <a:pt x="230" y="602"/>
                      <a:pt x="235" y="603"/>
                      <a:pt x="238" y="604"/>
                    </a:cubicBezTo>
                    <a:cubicBezTo>
                      <a:pt x="240" y="606"/>
                      <a:pt x="241" y="609"/>
                      <a:pt x="241" y="610"/>
                    </a:cubicBezTo>
                    <a:cubicBezTo>
                      <a:pt x="242" y="611"/>
                      <a:pt x="242" y="612"/>
                      <a:pt x="242" y="612"/>
                    </a:cubicBezTo>
                    <a:cubicBezTo>
                      <a:pt x="243" y="613"/>
                      <a:pt x="244" y="614"/>
                      <a:pt x="245" y="614"/>
                    </a:cubicBezTo>
                    <a:cubicBezTo>
                      <a:pt x="246" y="614"/>
                      <a:pt x="246" y="614"/>
                      <a:pt x="246" y="614"/>
                    </a:cubicBezTo>
                    <a:cubicBezTo>
                      <a:pt x="247" y="615"/>
                      <a:pt x="248" y="615"/>
                      <a:pt x="248" y="616"/>
                    </a:cubicBezTo>
                    <a:cubicBezTo>
                      <a:pt x="250" y="616"/>
                      <a:pt x="250" y="616"/>
                      <a:pt x="250" y="616"/>
                    </a:cubicBezTo>
                    <a:cubicBezTo>
                      <a:pt x="252" y="617"/>
                      <a:pt x="253" y="618"/>
                      <a:pt x="255" y="619"/>
                    </a:cubicBezTo>
                    <a:cubicBezTo>
                      <a:pt x="256" y="620"/>
                      <a:pt x="257" y="621"/>
                      <a:pt x="258" y="622"/>
                    </a:cubicBezTo>
                    <a:cubicBezTo>
                      <a:pt x="260" y="624"/>
                      <a:pt x="260" y="624"/>
                      <a:pt x="260" y="624"/>
                    </a:cubicBezTo>
                    <a:cubicBezTo>
                      <a:pt x="261" y="625"/>
                      <a:pt x="262" y="625"/>
                      <a:pt x="264" y="625"/>
                    </a:cubicBezTo>
                    <a:cubicBezTo>
                      <a:pt x="265" y="626"/>
                      <a:pt x="266" y="626"/>
                      <a:pt x="266" y="626"/>
                    </a:cubicBezTo>
                    <a:cubicBezTo>
                      <a:pt x="266" y="626"/>
                      <a:pt x="266" y="626"/>
                      <a:pt x="266" y="626"/>
                    </a:cubicBezTo>
                    <a:cubicBezTo>
                      <a:pt x="266" y="626"/>
                      <a:pt x="267" y="626"/>
                      <a:pt x="267" y="626"/>
                    </a:cubicBezTo>
                    <a:cubicBezTo>
                      <a:pt x="268" y="626"/>
                      <a:pt x="268" y="626"/>
                      <a:pt x="268" y="626"/>
                    </a:cubicBezTo>
                    <a:cubicBezTo>
                      <a:pt x="268" y="626"/>
                      <a:pt x="269" y="626"/>
                      <a:pt x="270" y="627"/>
                    </a:cubicBezTo>
                    <a:cubicBezTo>
                      <a:pt x="270" y="627"/>
                      <a:pt x="271" y="627"/>
                      <a:pt x="271" y="627"/>
                    </a:cubicBezTo>
                    <a:cubicBezTo>
                      <a:pt x="271" y="628"/>
                      <a:pt x="271" y="628"/>
                      <a:pt x="271" y="628"/>
                    </a:cubicBezTo>
                    <a:cubicBezTo>
                      <a:pt x="272" y="628"/>
                      <a:pt x="272" y="628"/>
                      <a:pt x="273" y="629"/>
                    </a:cubicBezTo>
                    <a:cubicBezTo>
                      <a:pt x="273" y="629"/>
                      <a:pt x="274" y="629"/>
                      <a:pt x="274" y="630"/>
                    </a:cubicBezTo>
                    <a:cubicBezTo>
                      <a:pt x="278" y="627"/>
                      <a:pt x="278" y="627"/>
                      <a:pt x="278" y="627"/>
                    </a:cubicBezTo>
                    <a:cubicBezTo>
                      <a:pt x="275" y="631"/>
                      <a:pt x="275" y="631"/>
                      <a:pt x="275" y="631"/>
                    </a:cubicBezTo>
                    <a:cubicBezTo>
                      <a:pt x="276" y="631"/>
                      <a:pt x="276" y="631"/>
                      <a:pt x="276" y="631"/>
                    </a:cubicBezTo>
                    <a:cubicBezTo>
                      <a:pt x="277" y="633"/>
                      <a:pt x="278" y="635"/>
                      <a:pt x="280" y="636"/>
                    </a:cubicBezTo>
                    <a:cubicBezTo>
                      <a:pt x="280" y="637"/>
                      <a:pt x="281" y="637"/>
                      <a:pt x="281" y="638"/>
                    </a:cubicBezTo>
                    <a:cubicBezTo>
                      <a:pt x="281" y="638"/>
                      <a:pt x="281" y="638"/>
                      <a:pt x="281" y="638"/>
                    </a:cubicBezTo>
                    <a:cubicBezTo>
                      <a:pt x="282" y="639"/>
                      <a:pt x="283" y="640"/>
                      <a:pt x="283" y="640"/>
                    </a:cubicBezTo>
                    <a:cubicBezTo>
                      <a:pt x="283" y="640"/>
                      <a:pt x="283" y="640"/>
                      <a:pt x="283" y="640"/>
                    </a:cubicBezTo>
                    <a:cubicBezTo>
                      <a:pt x="284" y="640"/>
                      <a:pt x="284" y="640"/>
                      <a:pt x="284" y="640"/>
                    </a:cubicBezTo>
                    <a:cubicBezTo>
                      <a:pt x="287" y="639"/>
                      <a:pt x="290" y="638"/>
                      <a:pt x="292" y="638"/>
                    </a:cubicBezTo>
                    <a:cubicBezTo>
                      <a:pt x="293" y="638"/>
                      <a:pt x="293" y="638"/>
                      <a:pt x="294" y="638"/>
                    </a:cubicBezTo>
                    <a:cubicBezTo>
                      <a:pt x="295" y="638"/>
                      <a:pt x="297" y="638"/>
                      <a:pt x="298" y="639"/>
                    </a:cubicBezTo>
                    <a:cubicBezTo>
                      <a:pt x="300" y="641"/>
                      <a:pt x="300" y="643"/>
                      <a:pt x="300" y="644"/>
                    </a:cubicBezTo>
                    <a:cubicBezTo>
                      <a:pt x="300" y="644"/>
                      <a:pt x="300" y="644"/>
                      <a:pt x="300" y="644"/>
                    </a:cubicBezTo>
                    <a:cubicBezTo>
                      <a:pt x="301" y="645"/>
                      <a:pt x="301" y="645"/>
                      <a:pt x="301" y="645"/>
                    </a:cubicBezTo>
                    <a:cubicBezTo>
                      <a:pt x="302" y="646"/>
                      <a:pt x="302" y="648"/>
                      <a:pt x="302" y="650"/>
                    </a:cubicBezTo>
                    <a:cubicBezTo>
                      <a:pt x="302" y="650"/>
                      <a:pt x="303" y="651"/>
                      <a:pt x="304" y="652"/>
                    </a:cubicBezTo>
                    <a:cubicBezTo>
                      <a:pt x="304" y="652"/>
                      <a:pt x="304" y="652"/>
                      <a:pt x="304" y="652"/>
                    </a:cubicBezTo>
                    <a:cubicBezTo>
                      <a:pt x="305" y="653"/>
                      <a:pt x="306" y="653"/>
                      <a:pt x="306" y="653"/>
                    </a:cubicBezTo>
                    <a:cubicBezTo>
                      <a:pt x="308" y="654"/>
                      <a:pt x="308" y="654"/>
                      <a:pt x="308" y="654"/>
                    </a:cubicBezTo>
                    <a:cubicBezTo>
                      <a:pt x="308" y="655"/>
                      <a:pt x="309" y="655"/>
                      <a:pt x="309" y="655"/>
                    </a:cubicBezTo>
                    <a:cubicBezTo>
                      <a:pt x="311" y="656"/>
                      <a:pt x="311" y="656"/>
                      <a:pt x="311" y="656"/>
                    </a:cubicBezTo>
                    <a:cubicBezTo>
                      <a:pt x="312" y="657"/>
                      <a:pt x="313" y="657"/>
                      <a:pt x="314" y="658"/>
                    </a:cubicBezTo>
                    <a:cubicBezTo>
                      <a:pt x="315" y="658"/>
                      <a:pt x="316" y="659"/>
                      <a:pt x="317" y="659"/>
                    </a:cubicBezTo>
                    <a:cubicBezTo>
                      <a:pt x="317" y="659"/>
                      <a:pt x="318" y="659"/>
                      <a:pt x="318" y="659"/>
                    </a:cubicBezTo>
                    <a:cubicBezTo>
                      <a:pt x="319" y="659"/>
                      <a:pt x="319" y="659"/>
                      <a:pt x="320" y="659"/>
                    </a:cubicBezTo>
                    <a:cubicBezTo>
                      <a:pt x="322" y="659"/>
                      <a:pt x="322" y="659"/>
                      <a:pt x="322" y="659"/>
                    </a:cubicBezTo>
                    <a:cubicBezTo>
                      <a:pt x="322" y="658"/>
                      <a:pt x="323" y="658"/>
                      <a:pt x="324" y="658"/>
                    </a:cubicBezTo>
                    <a:cubicBezTo>
                      <a:pt x="325" y="658"/>
                      <a:pt x="325" y="658"/>
                      <a:pt x="326" y="658"/>
                    </a:cubicBezTo>
                    <a:cubicBezTo>
                      <a:pt x="331" y="659"/>
                      <a:pt x="331" y="659"/>
                      <a:pt x="331" y="659"/>
                    </a:cubicBezTo>
                    <a:cubicBezTo>
                      <a:pt x="328" y="665"/>
                      <a:pt x="328" y="665"/>
                      <a:pt x="328" y="665"/>
                    </a:cubicBezTo>
                    <a:cubicBezTo>
                      <a:pt x="328" y="665"/>
                      <a:pt x="327" y="666"/>
                      <a:pt x="327" y="667"/>
                    </a:cubicBezTo>
                    <a:cubicBezTo>
                      <a:pt x="327" y="667"/>
                      <a:pt x="327" y="667"/>
                      <a:pt x="327" y="667"/>
                    </a:cubicBezTo>
                    <a:cubicBezTo>
                      <a:pt x="328" y="667"/>
                      <a:pt x="328" y="667"/>
                      <a:pt x="328" y="667"/>
                    </a:cubicBezTo>
                    <a:cubicBezTo>
                      <a:pt x="329" y="667"/>
                      <a:pt x="329" y="667"/>
                      <a:pt x="329" y="667"/>
                    </a:cubicBezTo>
                    <a:cubicBezTo>
                      <a:pt x="330" y="667"/>
                      <a:pt x="330" y="666"/>
                      <a:pt x="331" y="666"/>
                    </a:cubicBezTo>
                    <a:cubicBezTo>
                      <a:pt x="333" y="666"/>
                      <a:pt x="334" y="666"/>
                      <a:pt x="336" y="666"/>
                    </a:cubicBezTo>
                    <a:cubicBezTo>
                      <a:pt x="336" y="666"/>
                      <a:pt x="336" y="666"/>
                      <a:pt x="337" y="666"/>
                    </a:cubicBezTo>
                    <a:cubicBezTo>
                      <a:pt x="339" y="666"/>
                      <a:pt x="341" y="667"/>
                      <a:pt x="343" y="668"/>
                    </a:cubicBezTo>
                    <a:cubicBezTo>
                      <a:pt x="344" y="669"/>
                      <a:pt x="344" y="670"/>
                      <a:pt x="345" y="670"/>
                    </a:cubicBezTo>
                    <a:cubicBezTo>
                      <a:pt x="346" y="672"/>
                      <a:pt x="346" y="672"/>
                      <a:pt x="346" y="672"/>
                    </a:cubicBezTo>
                    <a:cubicBezTo>
                      <a:pt x="347" y="673"/>
                      <a:pt x="348" y="675"/>
                      <a:pt x="349" y="676"/>
                    </a:cubicBezTo>
                    <a:cubicBezTo>
                      <a:pt x="350" y="675"/>
                      <a:pt x="350" y="674"/>
                      <a:pt x="351" y="673"/>
                    </a:cubicBezTo>
                    <a:cubicBezTo>
                      <a:pt x="358" y="665"/>
                      <a:pt x="358" y="665"/>
                      <a:pt x="358" y="665"/>
                    </a:cubicBezTo>
                    <a:cubicBezTo>
                      <a:pt x="357" y="675"/>
                      <a:pt x="357" y="675"/>
                      <a:pt x="357" y="675"/>
                    </a:cubicBezTo>
                    <a:cubicBezTo>
                      <a:pt x="357" y="676"/>
                      <a:pt x="357" y="676"/>
                      <a:pt x="357" y="676"/>
                    </a:cubicBezTo>
                    <a:cubicBezTo>
                      <a:pt x="358" y="676"/>
                      <a:pt x="359" y="676"/>
                      <a:pt x="360" y="677"/>
                    </a:cubicBezTo>
                    <a:cubicBezTo>
                      <a:pt x="362" y="677"/>
                      <a:pt x="362" y="677"/>
                      <a:pt x="362" y="677"/>
                    </a:cubicBezTo>
                    <a:cubicBezTo>
                      <a:pt x="362" y="677"/>
                      <a:pt x="362" y="677"/>
                      <a:pt x="362" y="677"/>
                    </a:cubicBezTo>
                    <a:cubicBezTo>
                      <a:pt x="363" y="676"/>
                      <a:pt x="364" y="675"/>
                      <a:pt x="366" y="674"/>
                    </a:cubicBezTo>
                    <a:cubicBezTo>
                      <a:pt x="367" y="674"/>
                      <a:pt x="367" y="674"/>
                      <a:pt x="368" y="674"/>
                    </a:cubicBezTo>
                    <a:cubicBezTo>
                      <a:pt x="368" y="0"/>
                      <a:pt x="368" y="0"/>
                      <a:pt x="3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6" name="Freeform 334">
                <a:extLst>
                  <a:ext uri="{FF2B5EF4-FFF2-40B4-BE49-F238E27FC236}">
                    <a16:creationId xmlns:a16="http://schemas.microsoft.com/office/drawing/2014/main" id="{F70B99CF-AD6E-4421-91BA-B677C216863D}"/>
                  </a:ext>
                </a:extLst>
              </p:cNvPr>
              <p:cNvSpPr>
                <a:spLocks/>
              </p:cNvSpPr>
              <p:nvPr/>
            </p:nvSpPr>
            <p:spPr bwMode="auto">
              <a:xfrm>
                <a:off x="10506265" y="5590321"/>
                <a:ext cx="1673042" cy="1267680"/>
              </a:xfrm>
              <a:custGeom>
                <a:avLst/>
                <a:gdLst>
                  <a:gd name="T0" fmla="*/ 249 w 526"/>
                  <a:gd name="T1" fmla="*/ 17 h 399"/>
                  <a:gd name="T2" fmla="*/ 231 w 526"/>
                  <a:gd name="T3" fmla="*/ 26 h 399"/>
                  <a:gd name="T4" fmla="*/ 204 w 526"/>
                  <a:gd name="T5" fmla="*/ 30 h 399"/>
                  <a:gd name="T6" fmla="*/ 183 w 526"/>
                  <a:gd name="T7" fmla="*/ 25 h 399"/>
                  <a:gd name="T8" fmla="*/ 164 w 526"/>
                  <a:gd name="T9" fmla="*/ 32 h 399"/>
                  <a:gd name="T10" fmla="*/ 174 w 526"/>
                  <a:gd name="T11" fmla="*/ 51 h 399"/>
                  <a:gd name="T12" fmla="*/ 172 w 526"/>
                  <a:gd name="T13" fmla="*/ 56 h 399"/>
                  <a:gd name="T14" fmla="*/ 178 w 526"/>
                  <a:gd name="T15" fmla="*/ 81 h 399"/>
                  <a:gd name="T16" fmla="*/ 188 w 526"/>
                  <a:gd name="T17" fmla="*/ 87 h 399"/>
                  <a:gd name="T18" fmla="*/ 201 w 526"/>
                  <a:gd name="T19" fmla="*/ 93 h 399"/>
                  <a:gd name="T20" fmla="*/ 190 w 526"/>
                  <a:gd name="T21" fmla="*/ 112 h 399"/>
                  <a:gd name="T22" fmla="*/ 184 w 526"/>
                  <a:gd name="T23" fmla="*/ 120 h 399"/>
                  <a:gd name="T24" fmla="*/ 175 w 526"/>
                  <a:gd name="T25" fmla="*/ 150 h 399"/>
                  <a:gd name="T26" fmla="*/ 166 w 526"/>
                  <a:gd name="T27" fmla="*/ 161 h 399"/>
                  <a:gd name="T28" fmla="*/ 153 w 526"/>
                  <a:gd name="T29" fmla="*/ 174 h 399"/>
                  <a:gd name="T30" fmla="*/ 144 w 526"/>
                  <a:gd name="T31" fmla="*/ 194 h 399"/>
                  <a:gd name="T32" fmla="*/ 122 w 526"/>
                  <a:gd name="T33" fmla="*/ 214 h 399"/>
                  <a:gd name="T34" fmla="*/ 87 w 526"/>
                  <a:gd name="T35" fmla="*/ 242 h 399"/>
                  <a:gd name="T36" fmla="*/ 70 w 526"/>
                  <a:gd name="T37" fmla="*/ 242 h 399"/>
                  <a:gd name="T38" fmla="*/ 64 w 526"/>
                  <a:gd name="T39" fmla="*/ 236 h 399"/>
                  <a:gd name="T40" fmla="*/ 58 w 526"/>
                  <a:gd name="T41" fmla="*/ 242 h 399"/>
                  <a:gd name="T42" fmla="*/ 47 w 526"/>
                  <a:gd name="T43" fmla="*/ 272 h 399"/>
                  <a:gd name="T44" fmla="*/ 60 w 526"/>
                  <a:gd name="T45" fmla="*/ 293 h 399"/>
                  <a:gd name="T46" fmla="*/ 65 w 526"/>
                  <a:gd name="T47" fmla="*/ 300 h 399"/>
                  <a:gd name="T48" fmla="*/ 75 w 526"/>
                  <a:gd name="T49" fmla="*/ 307 h 399"/>
                  <a:gd name="T50" fmla="*/ 84 w 526"/>
                  <a:gd name="T51" fmla="*/ 337 h 399"/>
                  <a:gd name="T52" fmla="*/ 81 w 526"/>
                  <a:gd name="T53" fmla="*/ 347 h 399"/>
                  <a:gd name="T54" fmla="*/ 73 w 526"/>
                  <a:gd name="T55" fmla="*/ 350 h 399"/>
                  <a:gd name="T56" fmla="*/ 57 w 526"/>
                  <a:gd name="T57" fmla="*/ 349 h 399"/>
                  <a:gd name="T58" fmla="*/ 33 w 526"/>
                  <a:gd name="T59" fmla="*/ 350 h 399"/>
                  <a:gd name="T60" fmla="*/ 13 w 526"/>
                  <a:gd name="T61" fmla="*/ 359 h 399"/>
                  <a:gd name="T62" fmla="*/ 17 w 526"/>
                  <a:gd name="T63" fmla="*/ 359 h 399"/>
                  <a:gd name="T64" fmla="*/ 8 w 526"/>
                  <a:gd name="T65" fmla="*/ 368 h 399"/>
                  <a:gd name="T66" fmla="*/ 39 w 526"/>
                  <a:gd name="T67" fmla="*/ 392 h 399"/>
                  <a:gd name="T68" fmla="*/ 62 w 526"/>
                  <a:gd name="T69" fmla="*/ 386 h 399"/>
                  <a:gd name="T70" fmla="*/ 524 w 526"/>
                  <a:gd name="T71" fmla="*/ 283 h 399"/>
                  <a:gd name="T72" fmla="*/ 511 w 526"/>
                  <a:gd name="T73" fmla="*/ 279 h 399"/>
                  <a:gd name="T74" fmla="*/ 499 w 526"/>
                  <a:gd name="T75" fmla="*/ 277 h 399"/>
                  <a:gd name="T76" fmla="*/ 487 w 526"/>
                  <a:gd name="T77" fmla="*/ 274 h 399"/>
                  <a:gd name="T78" fmla="*/ 473 w 526"/>
                  <a:gd name="T79" fmla="*/ 267 h 399"/>
                  <a:gd name="T80" fmla="*/ 463 w 526"/>
                  <a:gd name="T81" fmla="*/ 255 h 399"/>
                  <a:gd name="T82" fmla="*/ 452 w 526"/>
                  <a:gd name="T83" fmla="*/ 259 h 399"/>
                  <a:gd name="T84" fmla="*/ 437 w 526"/>
                  <a:gd name="T85" fmla="*/ 253 h 399"/>
                  <a:gd name="T86" fmla="*/ 430 w 526"/>
                  <a:gd name="T87" fmla="*/ 256 h 399"/>
                  <a:gd name="T88" fmla="*/ 410 w 526"/>
                  <a:gd name="T89" fmla="*/ 246 h 399"/>
                  <a:gd name="T90" fmla="*/ 394 w 526"/>
                  <a:gd name="T91" fmla="*/ 239 h 399"/>
                  <a:gd name="T92" fmla="*/ 380 w 526"/>
                  <a:gd name="T93" fmla="*/ 236 h 399"/>
                  <a:gd name="T94" fmla="*/ 357 w 526"/>
                  <a:gd name="T95" fmla="*/ 219 h 399"/>
                  <a:gd name="T96" fmla="*/ 339 w 526"/>
                  <a:gd name="T97" fmla="*/ 195 h 399"/>
                  <a:gd name="T98" fmla="*/ 344 w 526"/>
                  <a:gd name="T99" fmla="*/ 182 h 399"/>
                  <a:gd name="T100" fmla="*/ 339 w 526"/>
                  <a:gd name="T101" fmla="*/ 150 h 399"/>
                  <a:gd name="T102" fmla="*/ 316 w 526"/>
                  <a:gd name="T103" fmla="*/ 139 h 399"/>
                  <a:gd name="T104" fmla="*/ 310 w 526"/>
                  <a:gd name="T105" fmla="*/ 131 h 399"/>
                  <a:gd name="T106" fmla="*/ 301 w 526"/>
                  <a:gd name="T107" fmla="*/ 133 h 399"/>
                  <a:gd name="T108" fmla="*/ 296 w 526"/>
                  <a:gd name="T109" fmla="*/ 114 h 399"/>
                  <a:gd name="T110" fmla="*/ 288 w 526"/>
                  <a:gd name="T111" fmla="*/ 89 h 399"/>
                  <a:gd name="T112" fmla="*/ 305 w 526"/>
                  <a:gd name="T113" fmla="*/ 90 h 399"/>
                  <a:gd name="T114" fmla="*/ 316 w 526"/>
                  <a:gd name="T115" fmla="*/ 78 h 399"/>
                  <a:gd name="T116" fmla="*/ 303 w 526"/>
                  <a:gd name="T117" fmla="*/ 65 h 399"/>
                  <a:gd name="T118" fmla="*/ 298 w 526"/>
                  <a:gd name="T119" fmla="*/ 49 h 399"/>
                  <a:gd name="T120" fmla="*/ 300 w 526"/>
                  <a:gd name="T121" fmla="*/ 35 h 399"/>
                  <a:gd name="T122" fmla="*/ 278 w 526"/>
                  <a:gd name="T123"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6" h="399">
                    <a:moveTo>
                      <a:pt x="277" y="0"/>
                    </a:moveTo>
                    <a:cubicBezTo>
                      <a:pt x="276" y="0"/>
                      <a:pt x="275" y="0"/>
                      <a:pt x="275" y="0"/>
                    </a:cubicBezTo>
                    <a:cubicBezTo>
                      <a:pt x="273" y="1"/>
                      <a:pt x="271" y="2"/>
                      <a:pt x="270" y="3"/>
                    </a:cubicBezTo>
                    <a:cubicBezTo>
                      <a:pt x="268" y="4"/>
                      <a:pt x="266" y="5"/>
                      <a:pt x="264" y="6"/>
                    </a:cubicBezTo>
                    <a:cubicBezTo>
                      <a:pt x="262" y="7"/>
                      <a:pt x="261" y="8"/>
                      <a:pt x="260" y="9"/>
                    </a:cubicBezTo>
                    <a:cubicBezTo>
                      <a:pt x="254" y="13"/>
                      <a:pt x="254" y="13"/>
                      <a:pt x="254" y="13"/>
                    </a:cubicBezTo>
                    <a:cubicBezTo>
                      <a:pt x="252" y="13"/>
                      <a:pt x="251" y="15"/>
                      <a:pt x="249" y="17"/>
                    </a:cubicBezTo>
                    <a:cubicBezTo>
                      <a:pt x="248" y="19"/>
                      <a:pt x="248" y="19"/>
                      <a:pt x="248" y="19"/>
                    </a:cubicBezTo>
                    <a:cubicBezTo>
                      <a:pt x="246" y="22"/>
                      <a:pt x="244" y="24"/>
                      <a:pt x="240" y="25"/>
                    </a:cubicBezTo>
                    <a:cubicBezTo>
                      <a:pt x="238" y="25"/>
                      <a:pt x="238" y="25"/>
                      <a:pt x="238" y="25"/>
                    </a:cubicBezTo>
                    <a:cubicBezTo>
                      <a:pt x="237" y="25"/>
                      <a:pt x="237" y="25"/>
                      <a:pt x="236" y="25"/>
                    </a:cubicBezTo>
                    <a:cubicBezTo>
                      <a:pt x="235" y="25"/>
                      <a:pt x="235" y="25"/>
                      <a:pt x="235" y="25"/>
                    </a:cubicBezTo>
                    <a:cubicBezTo>
                      <a:pt x="234" y="25"/>
                      <a:pt x="233" y="25"/>
                      <a:pt x="233" y="26"/>
                    </a:cubicBezTo>
                    <a:cubicBezTo>
                      <a:pt x="232" y="26"/>
                      <a:pt x="231" y="26"/>
                      <a:pt x="231" y="26"/>
                    </a:cubicBezTo>
                    <a:cubicBezTo>
                      <a:pt x="230" y="26"/>
                      <a:pt x="230" y="27"/>
                      <a:pt x="229" y="27"/>
                    </a:cubicBezTo>
                    <a:cubicBezTo>
                      <a:pt x="229" y="27"/>
                      <a:pt x="229" y="27"/>
                      <a:pt x="229" y="27"/>
                    </a:cubicBezTo>
                    <a:cubicBezTo>
                      <a:pt x="228" y="28"/>
                      <a:pt x="227" y="28"/>
                      <a:pt x="226" y="28"/>
                    </a:cubicBezTo>
                    <a:cubicBezTo>
                      <a:pt x="221" y="30"/>
                      <a:pt x="217" y="32"/>
                      <a:pt x="213" y="32"/>
                    </a:cubicBezTo>
                    <a:cubicBezTo>
                      <a:pt x="212" y="32"/>
                      <a:pt x="211" y="32"/>
                      <a:pt x="211" y="31"/>
                    </a:cubicBezTo>
                    <a:cubicBezTo>
                      <a:pt x="208" y="31"/>
                      <a:pt x="208" y="31"/>
                      <a:pt x="208" y="31"/>
                    </a:cubicBezTo>
                    <a:cubicBezTo>
                      <a:pt x="207" y="31"/>
                      <a:pt x="205" y="30"/>
                      <a:pt x="204" y="30"/>
                    </a:cubicBezTo>
                    <a:cubicBezTo>
                      <a:pt x="203" y="29"/>
                      <a:pt x="203" y="29"/>
                      <a:pt x="202" y="29"/>
                    </a:cubicBezTo>
                    <a:cubicBezTo>
                      <a:pt x="202" y="29"/>
                      <a:pt x="202" y="29"/>
                      <a:pt x="202" y="29"/>
                    </a:cubicBezTo>
                    <a:cubicBezTo>
                      <a:pt x="201" y="28"/>
                      <a:pt x="200" y="28"/>
                      <a:pt x="199" y="27"/>
                    </a:cubicBezTo>
                    <a:cubicBezTo>
                      <a:pt x="195" y="27"/>
                      <a:pt x="195" y="27"/>
                      <a:pt x="195" y="27"/>
                    </a:cubicBezTo>
                    <a:cubicBezTo>
                      <a:pt x="194" y="27"/>
                      <a:pt x="192" y="26"/>
                      <a:pt x="191" y="26"/>
                    </a:cubicBezTo>
                    <a:cubicBezTo>
                      <a:pt x="189" y="26"/>
                      <a:pt x="186" y="25"/>
                      <a:pt x="184" y="25"/>
                    </a:cubicBezTo>
                    <a:cubicBezTo>
                      <a:pt x="183" y="25"/>
                      <a:pt x="183" y="25"/>
                      <a:pt x="183" y="25"/>
                    </a:cubicBezTo>
                    <a:cubicBezTo>
                      <a:pt x="181" y="25"/>
                      <a:pt x="180" y="26"/>
                      <a:pt x="178" y="26"/>
                    </a:cubicBezTo>
                    <a:cubicBezTo>
                      <a:pt x="177" y="26"/>
                      <a:pt x="177" y="26"/>
                      <a:pt x="177" y="26"/>
                    </a:cubicBezTo>
                    <a:cubicBezTo>
                      <a:pt x="174" y="26"/>
                      <a:pt x="170" y="26"/>
                      <a:pt x="168" y="27"/>
                    </a:cubicBezTo>
                    <a:cubicBezTo>
                      <a:pt x="167" y="27"/>
                      <a:pt x="167" y="27"/>
                      <a:pt x="166" y="27"/>
                    </a:cubicBezTo>
                    <a:cubicBezTo>
                      <a:pt x="166" y="28"/>
                      <a:pt x="166" y="28"/>
                      <a:pt x="166" y="28"/>
                    </a:cubicBezTo>
                    <a:cubicBezTo>
                      <a:pt x="165" y="29"/>
                      <a:pt x="164" y="30"/>
                      <a:pt x="164" y="31"/>
                    </a:cubicBezTo>
                    <a:cubicBezTo>
                      <a:pt x="164" y="32"/>
                      <a:pt x="164" y="32"/>
                      <a:pt x="164" y="32"/>
                    </a:cubicBezTo>
                    <a:cubicBezTo>
                      <a:pt x="164" y="32"/>
                      <a:pt x="164" y="32"/>
                      <a:pt x="164" y="32"/>
                    </a:cubicBezTo>
                    <a:cubicBezTo>
                      <a:pt x="165" y="32"/>
                      <a:pt x="165" y="32"/>
                      <a:pt x="165" y="32"/>
                    </a:cubicBezTo>
                    <a:cubicBezTo>
                      <a:pt x="166" y="32"/>
                      <a:pt x="166" y="32"/>
                      <a:pt x="166" y="32"/>
                    </a:cubicBezTo>
                    <a:cubicBezTo>
                      <a:pt x="168" y="34"/>
                      <a:pt x="168" y="34"/>
                      <a:pt x="168" y="34"/>
                    </a:cubicBezTo>
                    <a:cubicBezTo>
                      <a:pt x="169" y="36"/>
                      <a:pt x="168" y="38"/>
                      <a:pt x="168" y="40"/>
                    </a:cubicBezTo>
                    <a:cubicBezTo>
                      <a:pt x="172" y="41"/>
                      <a:pt x="175" y="42"/>
                      <a:pt x="176" y="45"/>
                    </a:cubicBezTo>
                    <a:cubicBezTo>
                      <a:pt x="177" y="46"/>
                      <a:pt x="177" y="49"/>
                      <a:pt x="174" y="51"/>
                    </a:cubicBezTo>
                    <a:cubicBezTo>
                      <a:pt x="174" y="51"/>
                      <a:pt x="174" y="52"/>
                      <a:pt x="174" y="52"/>
                    </a:cubicBezTo>
                    <a:cubicBezTo>
                      <a:pt x="173" y="52"/>
                      <a:pt x="173" y="52"/>
                      <a:pt x="173" y="52"/>
                    </a:cubicBezTo>
                    <a:cubicBezTo>
                      <a:pt x="172" y="53"/>
                      <a:pt x="171" y="53"/>
                      <a:pt x="171" y="53"/>
                    </a:cubicBezTo>
                    <a:cubicBezTo>
                      <a:pt x="170" y="53"/>
                      <a:pt x="170" y="53"/>
                      <a:pt x="170" y="53"/>
                    </a:cubicBezTo>
                    <a:cubicBezTo>
                      <a:pt x="170" y="53"/>
                      <a:pt x="170" y="53"/>
                      <a:pt x="170" y="53"/>
                    </a:cubicBezTo>
                    <a:cubicBezTo>
                      <a:pt x="170" y="54"/>
                      <a:pt x="170" y="54"/>
                      <a:pt x="171" y="55"/>
                    </a:cubicBezTo>
                    <a:cubicBezTo>
                      <a:pt x="172" y="56"/>
                      <a:pt x="172" y="56"/>
                      <a:pt x="172" y="56"/>
                    </a:cubicBezTo>
                    <a:cubicBezTo>
                      <a:pt x="175" y="60"/>
                      <a:pt x="173" y="65"/>
                      <a:pt x="171" y="68"/>
                    </a:cubicBezTo>
                    <a:cubicBezTo>
                      <a:pt x="171" y="68"/>
                      <a:pt x="171" y="69"/>
                      <a:pt x="170" y="70"/>
                    </a:cubicBezTo>
                    <a:cubicBezTo>
                      <a:pt x="170" y="71"/>
                      <a:pt x="170" y="71"/>
                      <a:pt x="170" y="71"/>
                    </a:cubicBezTo>
                    <a:cubicBezTo>
                      <a:pt x="171" y="72"/>
                      <a:pt x="173" y="74"/>
                      <a:pt x="173" y="75"/>
                    </a:cubicBezTo>
                    <a:cubicBezTo>
                      <a:pt x="177" y="79"/>
                      <a:pt x="177" y="79"/>
                      <a:pt x="177" y="79"/>
                    </a:cubicBezTo>
                    <a:cubicBezTo>
                      <a:pt x="177" y="80"/>
                      <a:pt x="177" y="80"/>
                      <a:pt x="177" y="80"/>
                    </a:cubicBezTo>
                    <a:cubicBezTo>
                      <a:pt x="178" y="81"/>
                      <a:pt x="178" y="81"/>
                      <a:pt x="178" y="81"/>
                    </a:cubicBezTo>
                    <a:cubicBezTo>
                      <a:pt x="179" y="81"/>
                      <a:pt x="179" y="81"/>
                      <a:pt x="181" y="80"/>
                    </a:cubicBezTo>
                    <a:cubicBezTo>
                      <a:pt x="182" y="79"/>
                      <a:pt x="184" y="79"/>
                      <a:pt x="185" y="79"/>
                    </a:cubicBezTo>
                    <a:cubicBezTo>
                      <a:pt x="191" y="78"/>
                      <a:pt x="191" y="78"/>
                      <a:pt x="191" y="78"/>
                    </a:cubicBezTo>
                    <a:cubicBezTo>
                      <a:pt x="188" y="85"/>
                      <a:pt x="188" y="85"/>
                      <a:pt x="188" y="85"/>
                    </a:cubicBezTo>
                    <a:cubicBezTo>
                      <a:pt x="188" y="85"/>
                      <a:pt x="188" y="85"/>
                      <a:pt x="188" y="85"/>
                    </a:cubicBezTo>
                    <a:cubicBezTo>
                      <a:pt x="188" y="87"/>
                      <a:pt x="188" y="87"/>
                      <a:pt x="188" y="87"/>
                    </a:cubicBezTo>
                    <a:cubicBezTo>
                      <a:pt x="188" y="87"/>
                      <a:pt x="188" y="87"/>
                      <a:pt x="188" y="87"/>
                    </a:cubicBezTo>
                    <a:cubicBezTo>
                      <a:pt x="188" y="88"/>
                      <a:pt x="188" y="89"/>
                      <a:pt x="188" y="90"/>
                    </a:cubicBezTo>
                    <a:cubicBezTo>
                      <a:pt x="189" y="90"/>
                      <a:pt x="189" y="90"/>
                      <a:pt x="189" y="90"/>
                    </a:cubicBezTo>
                    <a:cubicBezTo>
                      <a:pt x="189" y="90"/>
                      <a:pt x="189" y="90"/>
                      <a:pt x="191" y="90"/>
                    </a:cubicBezTo>
                    <a:cubicBezTo>
                      <a:pt x="194" y="91"/>
                      <a:pt x="194" y="91"/>
                      <a:pt x="194" y="91"/>
                    </a:cubicBezTo>
                    <a:cubicBezTo>
                      <a:pt x="196" y="91"/>
                      <a:pt x="197" y="91"/>
                      <a:pt x="198" y="92"/>
                    </a:cubicBezTo>
                    <a:cubicBezTo>
                      <a:pt x="199" y="92"/>
                      <a:pt x="200" y="92"/>
                      <a:pt x="200" y="92"/>
                    </a:cubicBezTo>
                    <a:cubicBezTo>
                      <a:pt x="201" y="92"/>
                      <a:pt x="201" y="93"/>
                      <a:pt x="201" y="93"/>
                    </a:cubicBezTo>
                    <a:cubicBezTo>
                      <a:pt x="202" y="93"/>
                      <a:pt x="203" y="94"/>
                      <a:pt x="204" y="94"/>
                    </a:cubicBezTo>
                    <a:cubicBezTo>
                      <a:pt x="206" y="96"/>
                      <a:pt x="207" y="100"/>
                      <a:pt x="206" y="104"/>
                    </a:cubicBezTo>
                    <a:cubicBezTo>
                      <a:pt x="204" y="107"/>
                      <a:pt x="201" y="109"/>
                      <a:pt x="198" y="110"/>
                    </a:cubicBezTo>
                    <a:cubicBezTo>
                      <a:pt x="196" y="110"/>
                      <a:pt x="196" y="110"/>
                      <a:pt x="196" y="110"/>
                    </a:cubicBezTo>
                    <a:cubicBezTo>
                      <a:pt x="195" y="111"/>
                      <a:pt x="195" y="111"/>
                      <a:pt x="194" y="111"/>
                    </a:cubicBezTo>
                    <a:cubicBezTo>
                      <a:pt x="192" y="112"/>
                      <a:pt x="192" y="112"/>
                      <a:pt x="192" y="112"/>
                    </a:cubicBezTo>
                    <a:cubicBezTo>
                      <a:pt x="192" y="112"/>
                      <a:pt x="191" y="112"/>
                      <a:pt x="190" y="112"/>
                    </a:cubicBezTo>
                    <a:cubicBezTo>
                      <a:pt x="190" y="113"/>
                      <a:pt x="189" y="113"/>
                      <a:pt x="189" y="113"/>
                    </a:cubicBezTo>
                    <a:cubicBezTo>
                      <a:pt x="188" y="113"/>
                      <a:pt x="188" y="113"/>
                      <a:pt x="188" y="113"/>
                    </a:cubicBezTo>
                    <a:cubicBezTo>
                      <a:pt x="188" y="114"/>
                      <a:pt x="187" y="114"/>
                      <a:pt x="187" y="114"/>
                    </a:cubicBezTo>
                    <a:cubicBezTo>
                      <a:pt x="186" y="114"/>
                      <a:pt x="186" y="114"/>
                      <a:pt x="186" y="114"/>
                    </a:cubicBezTo>
                    <a:cubicBezTo>
                      <a:pt x="185" y="115"/>
                      <a:pt x="184" y="116"/>
                      <a:pt x="184" y="117"/>
                    </a:cubicBezTo>
                    <a:cubicBezTo>
                      <a:pt x="184" y="117"/>
                      <a:pt x="184" y="117"/>
                      <a:pt x="184" y="117"/>
                    </a:cubicBezTo>
                    <a:cubicBezTo>
                      <a:pt x="184" y="120"/>
                      <a:pt x="184" y="120"/>
                      <a:pt x="184" y="120"/>
                    </a:cubicBezTo>
                    <a:cubicBezTo>
                      <a:pt x="184" y="122"/>
                      <a:pt x="184" y="125"/>
                      <a:pt x="185" y="127"/>
                    </a:cubicBezTo>
                    <a:cubicBezTo>
                      <a:pt x="185" y="128"/>
                      <a:pt x="185" y="128"/>
                      <a:pt x="185" y="128"/>
                    </a:cubicBezTo>
                    <a:cubicBezTo>
                      <a:pt x="185" y="128"/>
                      <a:pt x="185" y="129"/>
                      <a:pt x="185" y="130"/>
                    </a:cubicBezTo>
                    <a:cubicBezTo>
                      <a:pt x="186" y="133"/>
                      <a:pt x="186" y="133"/>
                      <a:pt x="186" y="133"/>
                    </a:cubicBezTo>
                    <a:cubicBezTo>
                      <a:pt x="186" y="135"/>
                      <a:pt x="186" y="136"/>
                      <a:pt x="186" y="137"/>
                    </a:cubicBezTo>
                    <a:cubicBezTo>
                      <a:pt x="187" y="140"/>
                      <a:pt x="185" y="143"/>
                      <a:pt x="182" y="145"/>
                    </a:cubicBezTo>
                    <a:cubicBezTo>
                      <a:pt x="180" y="147"/>
                      <a:pt x="177" y="149"/>
                      <a:pt x="175" y="150"/>
                    </a:cubicBezTo>
                    <a:cubicBezTo>
                      <a:pt x="174" y="151"/>
                      <a:pt x="174" y="151"/>
                      <a:pt x="174" y="151"/>
                    </a:cubicBezTo>
                    <a:cubicBezTo>
                      <a:pt x="173" y="151"/>
                      <a:pt x="171" y="153"/>
                      <a:pt x="171" y="153"/>
                    </a:cubicBezTo>
                    <a:cubicBezTo>
                      <a:pt x="171" y="154"/>
                      <a:pt x="171" y="154"/>
                      <a:pt x="171" y="154"/>
                    </a:cubicBezTo>
                    <a:cubicBezTo>
                      <a:pt x="169" y="155"/>
                      <a:pt x="168" y="156"/>
                      <a:pt x="167" y="158"/>
                    </a:cubicBezTo>
                    <a:cubicBezTo>
                      <a:pt x="167" y="158"/>
                      <a:pt x="167" y="158"/>
                      <a:pt x="167" y="158"/>
                    </a:cubicBezTo>
                    <a:cubicBezTo>
                      <a:pt x="166" y="159"/>
                      <a:pt x="166" y="159"/>
                      <a:pt x="165" y="160"/>
                    </a:cubicBezTo>
                    <a:cubicBezTo>
                      <a:pt x="166" y="161"/>
                      <a:pt x="166" y="161"/>
                      <a:pt x="166" y="161"/>
                    </a:cubicBezTo>
                    <a:cubicBezTo>
                      <a:pt x="167" y="162"/>
                      <a:pt x="167" y="162"/>
                      <a:pt x="167" y="162"/>
                    </a:cubicBezTo>
                    <a:cubicBezTo>
                      <a:pt x="167" y="163"/>
                      <a:pt x="167" y="163"/>
                      <a:pt x="167" y="163"/>
                    </a:cubicBezTo>
                    <a:cubicBezTo>
                      <a:pt x="169" y="166"/>
                      <a:pt x="169" y="166"/>
                      <a:pt x="169" y="166"/>
                    </a:cubicBezTo>
                    <a:cubicBezTo>
                      <a:pt x="166" y="168"/>
                      <a:pt x="166" y="168"/>
                      <a:pt x="166" y="168"/>
                    </a:cubicBezTo>
                    <a:cubicBezTo>
                      <a:pt x="164" y="169"/>
                      <a:pt x="163" y="170"/>
                      <a:pt x="161" y="170"/>
                    </a:cubicBezTo>
                    <a:cubicBezTo>
                      <a:pt x="160" y="171"/>
                      <a:pt x="160" y="171"/>
                      <a:pt x="160" y="171"/>
                    </a:cubicBezTo>
                    <a:cubicBezTo>
                      <a:pt x="157" y="172"/>
                      <a:pt x="155" y="173"/>
                      <a:pt x="153" y="174"/>
                    </a:cubicBezTo>
                    <a:cubicBezTo>
                      <a:pt x="152" y="175"/>
                      <a:pt x="151" y="175"/>
                      <a:pt x="151" y="176"/>
                    </a:cubicBezTo>
                    <a:cubicBezTo>
                      <a:pt x="150" y="177"/>
                      <a:pt x="149" y="179"/>
                      <a:pt x="149" y="181"/>
                    </a:cubicBezTo>
                    <a:cubicBezTo>
                      <a:pt x="149" y="182"/>
                      <a:pt x="149" y="182"/>
                      <a:pt x="149" y="183"/>
                    </a:cubicBezTo>
                    <a:cubicBezTo>
                      <a:pt x="148" y="185"/>
                      <a:pt x="148" y="185"/>
                      <a:pt x="148" y="185"/>
                    </a:cubicBezTo>
                    <a:cubicBezTo>
                      <a:pt x="148" y="186"/>
                      <a:pt x="147" y="187"/>
                      <a:pt x="147" y="187"/>
                    </a:cubicBezTo>
                    <a:cubicBezTo>
                      <a:pt x="146" y="189"/>
                      <a:pt x="145" y="191"/>
                      <a:pt x="144" y="193"/>
                    </a:cubicBezTo>
                    <a:cubicBezTo>
                      <a:pt x="144" y="194"/>
                      <a:pt x="144" y="194"/>
                      <a:pt x="144" y="194"/>
                    </a:cubicBezTo>
                    <a:cubicBezTo>
                      <a:pt x="143" y="195"/>
                      <a:pt x="142" y="197"/>
                      <a:pt x="141" y="198"/>
                    </a:cubicBezTo>
                    <a:cubicBezTo>
                      <a:pt x="138" y="203"/>
                      <a:pt x="136" y="204"/>
                      <a:pt x="131" y="207"/>
                    </a:cubicBezTo>
                    <a:cubicBezTo>
                      <a:pt x="131" y="207"/>
                      <a:pt x="131" y="207"/>
                      <a:pt x="131" y="207"/>
                    </a:cubicBezTo>
                    <a:cubicBezTo>
                      <a:pt x="130" y="208"/>
                      <a:pt x="129" y="208"/>
                      <a:pt x="128" y="209"/>
                    </a:cubicBezTo>
                    <a:cubicBezTo>
                      <a:pt x="126" y="210"/>
                      <a:pt x="124" y="211"/>
                      <a:pt x="123" y="213"/>
                    </a:cubicBezTo>
                    <a:cubicBezTo>
                      <a:pt x="126" y="215"/>
                      <a:pt x="126" y="215"/>
                      <a:pt x="126" y="215"/>
                    </a:cubicBezTo>
                    <a:cubicBezTo>
                      <a:pt x="122" y="214"/>
                      <a:pt x="122" y="214"/>
                      <a:pt x="122" y="214"/>
                    </a:cubicBezTo>
                    <a:cubicBezTo>
                      <a:pt x="104" y="238"/>
                      <a:pt x="104" y="238"/>
                      <a:pt x="104" y="238"/>
                    </a:cubicBezTo>
                    <a:cubicBezTo>
                      <a:pt x="102" y="239"/>
                      <a:pt x="101" y="239"/>
                      <a:pt x="100" y="240"/>
                    </a:cubicBezTo>
                    <a:cubicBezTo>
                      <a:pt x="98" y="240"/>
                      <a:pt x="96" y="240"/>
                      <a:pt x="93" y="241"/>
                    </a:cubicBezTo>
                    <a:cubicBezTo>
                      <a:pt x="92" y="241"/>
                      <a:pt x="92" y="241"/>
                      <a:pt x="92" y="241"/>
                    </a:cubicBezTo>
                    <a:cubicBezTo>
                      <a:pt x="91" y="241"/>
                      <a:pt x="91" y="241"/>
                      <a:pt x="91" y="241"/>
                    </a:cubicBezTo>
                    <a:cubicBezTo>
                      <a:pt x="90" y="241"/>
                      <a:pt x="89" y="241"/>
                      <a:pt x="89" y="241"/>
                    </a:cubicBezTo>
                    <a:cubicBezTo>
                      <a:pt x="87" y="242"/>
                      <a:pt x="87" y="242"/>
                      <a:pt x="87" y="242"/>
                    </a:cubicBezTo>
                    <a:cubicBezTo>
                      <a:pt x="87" y="242"/>
                      <a:pt x="87" y="242"/>
                      <a:pt x="87" y="242"/>
                    </a:cubicBezTo>
                    <a:cubicBezTo>
                      <a:pt x="85" y="242"/>
                      <a:pt x="83" y="243"/>
                      <a:pt x="81" y="244"/>
                    </a:cubicBezTo>
                    <a:cubicBezTo>
                      <a:pt x="80" y="244"/>
                      <a:pt x="80" y="244"/>
                      <a:pt x="80" y="244"/>
                    </a:cubicBezTo>
                    <a:cubicBezTo>
                      <a:pt x="79" y="245"/>
                      <a:pt x="77" y="245"/>
                      <a:pt x="76" y="245"/>
                    </a:cubicBezTo>
                    <a:cubicBezTo>
                      <a:pt x="75" y="245"/>
                      <a:pt x="73" y="244"/>
                      <a:pt x="72" y="243"/>
                    </a:cubicBezTo>
                    <a:cubicBezTo>
                      <a:pt x="72" y="243"/>
                      <a:pt x="72" y="243"/>
                      <a:pt x="72" y="243"/>
                    </a:cubicBezTo>
                    <a:cubicBezTo>
                      <a:pt x="71" y="243"/>
                      <a:pt x="71" y="242"/>
                      <a:pt x="70" y="242"/>
                    </a:cubicBezTo>
                    <a:cubicBezTo>
                      <a:pt x="70" y="241"/>
                      <a:pt x="69" y="240"/>
                      <a:pt x="68" y="239"/>
                    </a:cubicBezTo>
                    <a:cubicBezTo>
                      <a:pt x="68" y="238"/>
                      <a:pt x="67" y="237"/>
                      <a:pt x="67" y="236"/>
                    </a:cubicBezTo>
                    <a:cubicBezTo>
                      <a:pt x="67" y="236"/>
                      <a:pt x="67" y="236"/>
                      <a:pt x="67" y="236"/>
                    </a:cubicBezTo>
                    <a:cubicBezTo>
                      <a:pt x="66" y="236"/>
                      <a:pt x="66" y="236"/>
                      <a:pt x="66" y="236"/>
                    </a:cubicBezTo>
                    <a:cubicBezTo>
                      <a:pt x="66" y="235"/>
                      <a:pt x="66" y="235"/>
                      <a:pt x="66" y="235"/>
                    </a:cubicBezTo>
                    <a:cubicBezTo>
                      <a:pt x="65" y="235"/>
                      <a:pt x="65" y="235"/>
                      <a:pt x="65" y="235"/>
                    </a:cubicBezTo>
                    <a:cubicBezTo>
                      <a:pt x="64" y="236"/>
                      <a:pt x="64" y="236"/>
                      <a:pt x="64" y="236"/>
                    </a:cubicBezTo>
                    <a:cubicBezTo>
                      <a:pt x="64" y="236"/>
                      <a:pt x="64" y="236"/>
                      <a:pt x="63" y="236"/>
                    </a:cubicBezTo>
                    <a:cubicBezTo>
                      <a:pt x="62" y="237"/>
                      <a:pt x="62" y="237"/>
                      <a:pt x="62" y="237"/>
                    </a:cubicBezTo>
                    <a:cubicBezTo>
                      <a:pt x="62" y="238"/>
                      <a:pt x="62" y="238"/>
                      <a:pt x="62" y="238"/>
                    </a:cubicBezTo>
                    <a:cubicBezTo>
                      <a:pt x="61" y="238"/>
                      <a:pt x="61" y="238"/>
                      <a:pt x="61" y="238"/>
                    </a:cubicBezTo>
                    <a:cubicBezTo>
                      <a:pt x="59" y="241"/>
                      <a:pt x="59" y="241"/>
                      <a:pt x="59" y="241"/>
                    </a:cubicBezTo>
                    <a:cubicBezTo>
                      <a:pt x="58" y="241"/>
                      <a:pt x="58" y="241"/>
                      <a:pt x="58" y="241"/>
                    </a:cubicBezTo>
                    <a:cubicBezTo>
                      <a:pt x="58" y="242"/>
                      <a:pt x="58" y="242"/>
                      <a:pt x="58" y="242"/>
                    </a:cubicBezTo>
                    <a:cubicBezTo>
                      <a:pt x="57" y="243"/>
                      <a:pt x="56" y="244"/>
                      <a:pt x="56" y="244"/>
                    </a:cubicBezTo>
                    <a:cubicBezTo>
                      <a:pt x="55" y="246"/>
                      <a:pt x="53" y="248"/>
                      <a:pt x="51" y="249"/>
                    </a:cubicBezTo>
                    <a:cubicBezTo>
                      <a:pt x="49" y="253"/>
                      <a:pt x="45" y="256"/>
                      <a:pt x="43" y="260"/>
                    </a:cubicBezTo>
                    <a:cubicBezTo>
                      <a:pt x="41" y="264"/>
                      <a:pt x="40" y="267"/>
                      <a:pt x="40" y="268"/>
                    </a:cubicBezTo>
                    <a:cubicBezTo>
                      <a:pt x="40" y="269"/>
                      <a:pt x="41" y="269"/>
                      <a:pt x="41" y="269"/>
                    </a:cubicBezTo>
                    <a:cubicBezTo>
                      <a:pt x="42" y="270"/>
                      <a:pt x="43" y="271"/>
                      <a:pt x="46" y="272"/>
                    </a:cubicBezTo>
                    <a:cubicBezTo>
                      <a:pt x="47" y="272"/>
                      <a:pt x="47" y="272"/>
                      <a:pt x="47" y="272"/>
                    </a:cubicBezTo>
                    <a:cubicBezTo>
                      <a:pt x="48" y="272"/>
                      <a:pt x="50" y="272"/>
                      <a:pt x="52" y="272"/>
                    </a:cubicBezTo>
                    <a:cubicBezTo>
                      <a:pt x="52" y="272"/>
                      <a:pt x="53" y="272"/>
                      <a:pt x="53" y="273"/>
                    </a:cubicBezTo>
                    <a:cubicBezTo>
                      <a:pt x="55" y="273"/>
                      <a:pt x="56" y="273"/>
                      <a:pt x="57" y="274"/>
                    </a:cubicBezTo>
                    <a:cubicBezTo>
                      <a:pt x="59" y="275"/>
                      <a:pt x="60" y="277"/>
                      <a:pt x="60" y="279"/>
                    </a:cubicBezTo>
                    <a:cubicBezTo>
                      <a:pt x="60" y="281"/>
                      <a:pt x="60" y="283"/>
                      <a:pt x="60" y="285"/>
                    </a:cubicBezTo>
                    <a:cubicBezTo>
                      <a:pt x="59" y="288"/>
                      <a:pt x="59" y="290"/>
                      <a:pt x="59" y="291"/>
                    </a:cubicBezTo>
                    <a:cubicBezTo>
                      <a:pt x="60" y="292"/>
                      <a:pt x="60" y="292"/>
                      <a:pt x="60" y="293"/>
                    </a:cubicBezTo>
                    <a:cubicBezTo>
                      <a:pt x="60" y="294"/>
                      <a:pt x="60" y="294"/>
                      <a:pt x="60" y="294"/>
                    </a:cubicBezTo>
                    <a:cubicBezTo>
                      <a:pt x="61" y="296"/>
                      <a:pt x="61" y="298"/>
                      <a:pt x="62" y="299"/>
                    </a:cubicBezTo>
                    <a:cubicBezTo>
                      <a:pt x="63" y="300"/>
                      <a:pt x="63" y="300"/>
                      <a:pt x="63" y="300"/>
                    </a:cubicBezTo>
                    <a:cubicBezTo>
                      <a:pt x="64" y="300"/>
                      <a:pt x="64" y="300"/>
                      <a:pt x="64" y="300"/>
                    </a:cubicBezTo>
                    <a:cubicBezTo>
                      <a:pt x="64" y="300"/>
                      <a:pt x="65" y="300"/>
                      <a:pt x="65" y="300"/>
                    </a:cubicBezTo>
                    <a:cubicBezTo>
                      <a:pt x="65" y="300"/>
                      <a:pt x="65" y="300"/>
                      <a:pt x="65" y="300"/>
                    </a:cubicBezTo>
                    <a:cubicBezTo>
                      <a:pt x="65" y="300"/>
                      <a:pt x="65" y="300"/>
                      <a:pt x="65" y="300"/>
                    </a:cubicBezTo>
                    <a:cubicBezTo>
                      <a:pt x="66" y="300"/>
                      <a:pt x="66" y="300"/>
                      <a:pt x="66" y="300"/>
                    </a:cubicBezTo>
                    <a:cubicBezTo>
                      <a:pt x="66" y="300"/>
                      <a:pt x="66" y="300"/>
                      <a:pt x="66" y="300"/>
                    </a:cubicBezTo>
                    <a:cubicBezTo>
                      <a:pt x="67" y="300"/>
                      <a:pt x="67" y="299"/>
                      <a:pt x="67" y="299"/>
                    </a:cubicBezTo>
                    <a:cubicBezTo>
                      <a:pt x="68" y="299"/>
                      <a:pt x="68" y="299"/>
                      <a:pt x="69" y="299"/>
                    </a:cubicBezTo>
                    <a:cubicBezTo>
                      <a:pt x="69" y="299"/>
                      <a:pt x="70" y="299"/>
                      <a:pt x="70" y="299"/>
                    </a:cubicBezTo>
                    <a:cubicBezTo>
                      <a:pt x="72" y="300"/>
                      <a:pt x="74" y="302"/>
                      <a:pt x="74" y="304"/>
                    </a:cubicBezTo>
                    <a:cubicBezTo>
                      <a:pt x="75" y="305"/>
                      <a:pt x="75" y="306"/>
                      <a:pt x="75" y="307"/>
                    </a:cubicBezTo>
                    <a:cubicBezTo>
                      <a:pt x="75" y="309"/>
                      <a:pt x="76" y="310"/>
                      <a:pt x="76" y="312"/>
                    </a:cubicBezTo>
                    <a:cubicBezTo>
                      <a:pt x="77" y="313"/>
                      <a:pt x="77" y="314"/>
                      <a:pt x="77" y="315"/>
                    </a:cubicBezTo>
                    <a:cubicBezTo>
                      <a:pt x="78" y="315"/>
                      <a:pt x="78" y="315"/>
                      <a:pt x="78" y="315"/>
                    </a:cubicBezTo>
                    <a:cubicBezTo>
                      <a:pt x="78" y="315"/>
                      <a:pt x="78" y="315"/>
                      <a:pt x="78" y="315"/>
                    </a:cubicBezTo>
                    <a:cubicBezTo>
                      <a:pt x="84" y="329"/>
                      <a:pt x="84" y="329"/>
                      <a:pt x="84" y="329"/>
                    </a:cubicBezTo>
                    <a:cubicBezTo>
                      <a:pt x="85" y="331"/>
                      <a:pt x="85" y="332"/>
                      <a:pt x="85" y="333"/>
                    </a:cubicBezTo>
                    <a:cubicBezTo>
                      <a:pt x="85" y="335"/>
                      <a:pt x="84" y="336"/>
                      <a:pt x="84" y="337"/>
                    </a:cubicBezTo>
                    <a:cubicBezTo>
                      <a:pt x="83" y="338"/>
                      <a:pt x="83" y="338"/>
                      <a:pt x="83" y="338"/>
                    </a:cubicBezTo>
                    <a:cubicBezTo>
                      <a:pt x="84" y="338"/>
                      <a:pt x="84" y="338"/>
                      <a:pt x="84" y="338"/>
                    </a:cubicBezTo>
                    <a:cubicBezTo>
                      <a:pt x="85" y="339"/>
                      <a:pt x="85" y="339"/>
                      <a:pt x="85" y="339"/>
                    </a:cubicBezTo>
                    <a:cubicBezTo>
                      <a:pt x="86" y="340"/>
                      <a:pt x="86" y="340"/>
                      <a:pt x="86" y="340"/>
                    </a:cubicBezTo>
                    <a:cubicBezTo>
                      <a:pt x="86" y="341"/>
                      <a:pt x="86" y="341"/>
                      <a:pt x="86" y="341"/>
                    </a:cubicBezTo>
                    <a:cubicBezTo>
                      <a:pt x="86" y="343"/>
                      <a:pt x="84" y="345"/>
                      <a:pt x="84" y="345"/>
                    </a:cubicBezTo>
                    <a:cubicBezTo>
                      <a:pt x="83" y="346"/>
                      <a:pt x="82" y="347"/>
                      <a:pt x="81" y="347"/>
                    </a:cubicBezTo>
                    <a:cubicBezTo>
                      <a:pt x="80" y="347"/>
                      <a:pt x="80" y="347"/>
                      <a:pt x="80" y="347"/>
                    </a:cubicBezTo>
                    <a:cubicBezTo>
                      <a:pt x="80" y="347"/>
                      <a:pt x="80" y="347"/>
                      <a:pt x="80" y="347"/>
                    </a:cubicBezTo>
                    <a:cubicBezTo>
                      <a:pt x="79" y="348"/>
                      <a:pt x="79" y="348"/>
                      <a:pt x="79" y="348"/>
                    </a:cubicBezTo>
                    <a:cubicBezTo>
                      <a:pt x="79" y="349"/>
                      <a:pt x="79" y="349"/>
                      <a:pt x="79" y="349"/>
                    </a:cubicBezTo>
                    <a:cubicBezTo>
                      <a:pt x="78" y="349"/>
                      <a:pt x="78" y="349"/>
                      <a:pt x="78" y="349"/>
                    </a:cubicBezTo>
                    <a:cubicBezTo>
                      <a:pt x="76" y="350"/>
                      <a:pt x="75" y="350"/>
                      <a:pt x="74" y="350"/>
                    </a:cubicBezTo>
                    <a:cubicBezTo>
                      <a:pt x="74" y="350"/>
                      <a:pt x="73" y="350"/>
                      <a:pt x="73" y="350"/>
                    </a:cubicBezTo>
                    <a:cubicBezTo>
                      <a:pt x="71" y="350"/>
                      <a:pt x="69" y="349"/>
                      <a:pt x="67" y="348"/>
                    </a:cubicBezTo>
                    <a:cubicBezTo>
                      <a:pt x="67" y="347"/>
                      <a:pt x="66" y="347"/>
                      <a:pt x="66" y="347"/>
                    </a:cubicBezTo>
                    <a:cubicBezTo>
                      <a:pt x="66" y="346"/>
                      <a:pt x="66" y="346"/>
                      <a:pt x="66" y="346"/>
                    </a:cubicBezTo>
                    <a:cubicBezTo>
                      <a:pt x="65" y="346"/>
                      <a:pt x="65" y="346"/>
                      <a:pt x="65" y="346"/>
                    </a:cubicBezTo>
                    <a:cubicBezTo>
                      <a:pt x="63" y="346"/>
                      <a:pt x="63" y="346"/>
                      <a:pt x="63" y="346"/>
                    </a:cubicBezTo>
                    <a:cubicBezTo>
                      <a:pt x="61" y="347"/>
                      <a:pt x="59" y="348"/>
                      <a:pt x="57" y="348"/>
                    </a:cubicBezTo>
                    <a:cubicBezTo>
                      <a:pt x="57" y="349"/>
                      <a:pt x="57" y="349"/>
                      <a:pt x="57" y="349"/>
                    </a:cubicBezTo>
                    <a:cubicBezTo>
                      <a:pt x="56" y="351"/>
                      <a:pt x="56" y="351"/>
                      <a:pt x="56" y="351"/>
                    </a:cubicBezTo>
                    <a:cubicBezTo>
                      <a:pt x="55" y="352"/>
                      <a:pt x="55" y="352"/>
                      <a:pt x="55" y="352"/>
                    </a:cubicBezTo>
                    <a:cubicBezTo>
                      <a:pt x="53" y="352"/>
                      <a:pt x="52" y="353"/>
                      <a:pt x="50" y="353"/>
                    </a:cubicBezTo>
                    <a:cubicBezTo>
                      <a:pt x="50" y="353"/>
                      <a:pt x="49" y="353"/>
                      <a:pt x="48" y="352"/>
                    </a:cubicBezTo>
                    <a:cubicBezTo>
                      <a:pt x="47" y="352"/>
                      <a:pt x="46" y="352"/>
                      <a:pt x="44" y="352"/>
                    </a:cubicBezTo>
                    <a:cubicBezTo>
                      <a:pt x="44" y="352"/>
                      <a:pt x="43" y="352"/>
                      <a:pt x="42" y="351"/>
                    </a:cubicBezTo>
                    <a:cubicBezTo>
                      <a:pt x="33" y="350"/>
                      <a:pt x="33" y="350"/>
                      <a:pt x="33" y="350"/>
                    </a:cubicBezTo>
                    <a:cubicBezTo>
                      <a:pt x="29" y="350"/>
                      <a:pt x="24" y="349"/>
                      <a:pt x="20" y="349"/>
                    </a:cubicBezTo>
                    <a:cubicBezTo>
                      <a:pt x="20" y="350"/>
                      <a:pt x="20" y="352"/>
                      <a:pt x="19" y="353"/>
                    </a:cubicBezTo>
                    <a:cubicBezTo>
                      <a:pt x="19" y="354"/>
                      <a:pt x="19" y="354"/>
                      <a:pt x="19" y="354"/>
                    </a:cubicBezTo>
                    <a:cubicBezTo>
                      <a:pt x="19" y="355"/>
                      <a:pt x="19" y="355"/>
                      <a:pt x="19" y="356"/>
                    </a:cubicBezTo>
                    <a:cubicBezTo>
                      <a:pt x="18" y="357"/>
                      <a:pt x="18" y="357"/>
                      <a:pt x="18" y="357"/>
                    </a:cubicBezTo>
                    <a:cubicBezTo>
                      <a:pt x="18" y="358"/>
                      <a:pt x="17" y="358"/>
                      <a:pt x="16" y="358"/>
                    </a:cubicBezTo>
                    <a:cubicBezTo>
                      <a:pt x="15" y="359"/>
                      <a:pt x="14" y="359"/>
                      <a:pt x="13" y="359"/>
                    </a:cubicBezTo>
                    <a:cubicBezTo>
                      <a:pt x="13" y="359"/>
                      <a:pt x="13" y="359"/>
                      <a:pt x="13" y="359"/>
                    </a:cubicBezTo>
                    <a:cubicBezTo>
                      <a:pt x="12" y="359"/>
                      <a:pt x="12" y="359"/>
                      <a:pt x="11" y="359"/>
                    </a:cubicBezTo>
                    <a:cubicBezTo>
                      <a:pt x="10" y="359"/>
                      <a:pt x="10" y="359"/>
                      <a:pt x="10" y="359"/>
                    </a:cubicBezTo>
                    <a:cubicBezTo>
                      <a:pt x="0" y="367"/>
                      <a:pt x="0" y="367"/>
                      <a:pt x="0" y="367"/>
                    </a:cubicBezTo>
                    <a:cubicBezTo>
                      <a:pt x="1" y="367"/>
                      <a:pt x="1" y="367"/>
                      <a:pt x="1" y="367"/>
                    </a:cubicBezTo>
                    <a:cubicBezTo>
                      <a:pt x="3" y="367"/>
                      <a:pt x="4" y="366"/>
                      <a:pt x="5" y="365"/>
                    </a:cubicBezTo>
                    <a:cubicBezTo>
                      <a:pt x="9" y="363"/>
                      <a:pt x="13" y="361"/>
                      <a:pt x="17" y="359"/>
                    </a:cubicBezTo>
                    <a:cubicBezTo>
                      <a:pt x="17" y="359"/>
                      <a:pt x="17" y="359"/>
                      <a:pt x="17" y="359"/>
                    </a:cubicBezTo>
                    <a:cubicBezTo>
                      <a:pt x="17" y="359"/>
                      <a:pt x="17" y="359"/>
                      <a:pt x="17" y="359"/>
                    </a:cubicBezTo>
                    <a:cubicBezTo>
                      <a:pt x="15" y="360"/>
                      <a:pt x="13" y="361"/>
                      <a:pt x="12" y="362"/>
                    </a:cubicBezTo>
                    <a:cubicBezTo>
                      <a:pt x="10" y="363"/>
                      <a:pt x="9" y="366"/>
                      <a:pt x="8" y="366"/>
                    </a:cubicBezTo>
                    <a:cubicBezTo>
                      <a:pt x="8" y="366"/>
                      <a:pt x="7" y="366"/>
                      <a:pt x="7" y="365"/>
                    </a:cubicBezTo>
                    <a:cubicBezTo>
                      <a:pt x="7" y="366"/>
                      <a:pt x="7" y="366"/>
                      <a:pt x="7" y="366"/>
                    </a:cubicBezTo>
                    <a:cubicBezTo>
                      <a:pt x="8" y="367"/>
                      <a:pt x="8" y="367"/>
                      <a:pt x="8" y="368"/>
                    </a:cubicBezTo>
                    <a:cubicBezTo>
                      <a:pt x="9" y="370"/>
                      <a:pt x="10" y="373"/>
                      <a:pt x="11" y="375"/>
                    </a:cubicBezTo>
                    <a:cubicBezTo>
                      <a:pt x="13" y="378"/>
                      <a:pt x="14" y="380"/>
                      <a:pt x="16" y="381"/>
                    </a:cubicBezTo>
                    <a:cubicBezTo>
                      <a:pt x="17" y="382"/>
                      <a:pt x="18" y="383"/>
                      <a:pt x="19" y="383"/>
                    </a:cubicBezTo>
                    <a:cubicBezTo>
                      <a:pt x="20" y="384"/>
                      <a:pt x="22" y="385"/>
                      <a:pt x="23" y="386"/>
                    </a:cubicBezTo>
                    <a:cubicBezTo>
                      <a:pt x="25" y="387"/>
                      <a:pt x="28" y="388"/>
                      <a:pt x="31" y="389"/>
                    </a:cubicBezTo>
                    <a:cubicBezTo>
                      <a:pt x="31" y="389"/>
                      <a:pt x="32" y="390"/>
                      <a:pt x="33" y="390"/>
                    </a:cubicBezTo>
                    <a:cubicBezTo>
                      <a:pt x="34" y="390"/>
                      <a:pt x="37" y="391"/>
                      <a:pt x="39" y="392"/>
                    </a:cubicBezTo>
                    <a:cubicBezTo>
                      <a:pt x="40" y="392"/>
                      <a:pt x="41" y="392"/>
                      <a:pt x="42" y="392"/>
                    </a:cubicBezTo>
                    <a:cubicBezTo>
                      <a:pt x="43" y="392"/>
                      <a:pt x="43" y="392"/>
                      <a:pt x="43" y="392"/>
                    </a:cubicBezTo>
                    <a:cubicBezTo>
                      <a:pt x="45" y="391"/>
                      <a:pt x="47" y="389"/>
                      <a:pt x="49" y="388"/>
                    </a:cubicBezTo>
                    <a:cubicBezTo>
                      <a:pt x="51" y="388"/>
                      <a:pt x="56" y="387"/>
                      <a:pt x="55" y="386"/>
                    </a:cubicBezTo>
                    <a:cubicBezTo>
                      <a:pt x="56" y="386"/>
                      <a:pt x="56" y="386"/>
                      <a:pt x="56" y="386"/>
                    </a:cubicBezTo>
                    <a:cubicBezTo>
                      <a:pt x="57" y="386"/>
                      <a:pt x="59" y="387"/>
                      <a:pt x="61" y="387"/>
                    </a:cubicBezTo>
                    <a:cubicBezTo>
                      <a:pt x="62" y="387"/>
                      <a:pt x="62" y="387"/>
                      <a:pt x="62" y="386"/>
                    </a:cubicBezTo>
                    <a:cubicBezTo>
                      <a:pt x="64" y="386"/>
                      <a:pt x="64" y="382"/>
                      <a:pt x="66" y="381"/>
                    </a:cubicBezTo>
                    <a:cubicBezTo>
                      <a:pt x="64" y="384"/>
                      <a:pt x="62" y="389"/>
                      <a:pt x="60" y="393"/>
                    </a:cubicBezTo>
                    <a:cubicBezTo>
                      <a:pt x="59" y="395"/>
                      <a:pt x="57" y="397"/>
                      <a:pt x="56" y="398"/>
                    </a:cubicBezTo>
                    <a:cubicBezTo>
                      <a:pt x="55" y="398"/>
                      <a:pt x="54" y="399"/>
                      <a:pt x="54" y="399"/>
                    </a:cubicBezTo>
                    <a:cubicBezTo>
                      <a:pt x="526" y="399"/>
                      <a:pt x="526" y="399"/>
                      <a:pt x="526" y="399"/>
                    </a:cubicBezTo>
                    <a:cubicBezTo>
                      <a:pt x="526" y="284"/>
                      <a:pt x="526" y="284"/>
                      <a:pt x="526" y="284"/>
                    </a:cubicBezTo>
                    <a:cubicBezTo>
                      <a:pt x="525" y="284"/>
                      <a:pt x="525" y="283"/>
                      <a:pt x="524" y="283"/>
                    </a:cubicBezTo>
                    <a:cubicBezTo>
                      <a:pt x="524" y="283"/>
                      <a:pt x="524" y="283"/>
                      <a:pt x="524" y="283"/>
                    </a:cubicBezTo>
                    <a:cubicBezTo>
                      <a:pt x="524" y="283"/>
                      <a:pt x="523" y="283"/>
                      <a:pt x="523" y="283"/>
                    </a:cubicBezTo>
                    <a:cubicBezTo>
                      <a:pt x="519" y="281"/>
                      <a:pt x="519" y="281"/>
                      <a:pt x="519" y="281"/>
                    </a:cubicBezTo>
                    <a:cubicBezTo>
                      <a:pt x="519" y="281"/>
                      <a:pt x="518" y="280"/>
                      <a:pt x="517" y="280"/>
                    </a:cubicBezTo>
                    <a:cubicBezTo>
                      <a:pt x="516" y="280"/>
                      <a:pt x="515" y="279"/>
                      <a:pt x="514" y="279"/>
                    </a:cubicBezTo>
                    <a:cubicBezTo>
                      <a:pt x="513" y="279"/>
                      <a:pt x="513" y="279"/>
                      <a:pt x="513" y="279"/>
                    </a:cubicBezTo>
                    <a:cubicBezTo>
                      <a:pt x="512" y="279"/>
                      <a:pt x="512" y="279"/>
                      <a:pt x="511" y="279"/>
                    </a:cubicBezTo>
                    <a:cubicBezTo>
                      <a:pt x="511" y="279"/>
                      <a:pt x="511" y="279"/>
                      <a:pt x="511" y="279"/>
                    </a:cubicBezTo>
                    <a:cubicBezTo>
                      <a:pt x="510" y="279"/>
                      <a:pt x="510" y="279"/>
                      <a:pt x="509" y="279"/>
                    </a:cubicBezTo>
                    <a:cubicBezTo>
                      <a:pt x="508" y="280"/>
                      <a:pt x="508" y="280"/>
                      <a:pt x="508" y="280"/>
                    </a:cubicBezTo>
                    <a:cubicBezTo>
                      <a:pt x="507" y="280"/>
                      <a:pt x="506" y="280"/>
                      <a:pt x="505" y="280"/>
                    </a:cubicBezTo>
                    <a:cubicBezTo>
                      <a:pt x="504" y="280"/>
                      <a:pt x="504" y="280"/>
                      <a:pt x="503" y="280"/>
                    </a:cubicBezTo>
                    <a:cubicBezTo>
                      <a:pt x="502" y="279"/>
                      <a:pt x="501" y="279"/>
                      <a:pt x="501" y="279"/>
                    </a:cubicBezTo>
                    <a:cubicBezTo>
                      <a:pt x="500" y="278"/>
                      <a:pt x="499" y="278"/>
                      <a:pt x="499" y="277"/>
                    </a:cubicBezTo>
                    <a:cubicBezTo>
                      <a:pt x="498" y="276"/>
                      <a:pt x="497" y="275"/>
                      <a:pt x="497" y="274"/>
                    </a:cubicBezTo>
                    <a:cubicBezTo>
                      <a:pt x="497" y="274"/>
                      <a:pt x="496" y="273"/>
                      <a:pt x="496" y="272"/>
                    </a:cubicBezTo>
                    <a:cubicBezTo>
                      <a:pt x="495" y="272"/>
                      <a:pt x="495" y="272"/>
                      <a:pt x="495" y="272"/>
                    </a:cubicBezTo>
                    <a:cubicBezTo>
                      <a:pt x="495" y="272"/>
                      <a:pt x="494" y="273"/>
                      <a:pt x="493" y="273"/>
                    </a:cubicBezTo>
                    <a:cubicBezTo>
                      <a:pt x="491" y="274"/>
                      <a:pt x="491" y="274"/>
                      <a:pt x="491" y="274"/>
                    </a:cubicBezTo>
                    <a:cubicBezTo>
                      <a:pt x="490" y="274"/>
                      <a:pt x="489" y="274"/>
                      <a:pt x="488" y="274"/>
                    </a:cubicBezTo>
                    <a:cubicBezTo>
                      <a:pt x="487" y="274"/>
                      <a:pt x="487" y="274"/>
                      <a:pt x="487" y="274"/>
                    </a:cubicBezTo>
                    <a:cubicBezTo>
                      <a:pt x="486" y="274"/>
                      <a:pt x="485" y="274"/>
                      <a:pt x="484" y="273"/>
                    </a:cubicBezTo>
                    <a:cubicBezTo>
                      <a:pt x="483" y="273"/>
                      <a:pt x="483" y="272"/>
                      <a:pt x="483" y="272"/>
                    </a:cubicBezTo>
                    <a:cubicBezTo>
                      <a:pt x="482" y="272"/>
                      <a:pt x="482" y="272"/>
                      <a:pt x="482" y="272"/>
                    </a:cubicBezTo>
                    <a:cubicBezTo>
                      <a:pt x="482" y="271"/>
                      <a:pt x="481" y="271"/>
                      <a:pt x="481" y="271"/>
                    </a:cubicBezTo>
                    <a:cubicBezTo>
                      <a:pt x="480" y="270"/>
                      <a:pt x="480" y="270"/>
                      <a:pt x="480" y="270"/>
                    </a:cubicBezTo>
                    <a:cubicBezTo>
                      <a:pt x="478" y="269"/>
                      <a:pt x="476" y="268"/>
                      <a:pt x="474" y="268"/>
                    </a:cubicBezTo>
                    <a:cubicBezTo>
                      <a:pt x="473" y="267"/>
                      <a:pt x="473" y="267"/>
                      <a:pt x="473" y="267"/>
                    </a:cubicBezTo>
                    <a:cubicBezTo>
                      <a:pt x="472" y="267"/>
                      <a:pt x="471" y="267"/>
                      <a:pt x="470" y="266"/>
                    </a:cubicBezTo>
                    <a:cubicBezTo>
                      <a:pt x="467" y="265"/>
                      <a:pt x="466" y="264"/>
                      <a:pt x="465" y="262"/>
                    </a:cubicBezTo>
                    <a:cubicBezTo>
                      <a:pt x="465" y="261"/>
                      <a:pt x="464" y="260"/>
                      <a:pt x="464" y="259"/>
                    </a:cubicBezTo>
                    <a:cubicBezTo>
                      <a:pt x="464" y="258"/>
                      <a:pt x="464" y="258"/>
                      <a:pt x="464" y="257"/>
                    </a:cubicBezTo>
                    <a:cubicBezTo>
                      <a:pt x="464" y="256"/>
                      <a:pt x="464" y="256"/>
                      <a:pt x="464" y="256"/>
                    </a:cubicBezTo>
                    <a:cubicBezTo>
                      <a:pt x="464" y="256"/>
                      <a:pt x="464" y="256"/>
                      <a:pt x="464" y="255"/>
                    </a:cubicBezTo>
                    <a:cubicBezTo>
                      <a:pt x="463" y="255"/>
                      <a:pt x="463" y="255"/>
                      <a:pt x="463" y="255"/>
                    </a:cubicBezTo>
                    <a:cubicBezTo>
                      <a:pt x="462" y="254"/>
                      <a:pt x="459" y="253"/>
                      <a:pt x="457" y="253"/>
                    </a:cubicBezTo>
                    <a:cubicBezTo>
                      <a:pt x="456" y="252"/>
                      <a:pt x="456" y="252"/>
                      <a:pt x="456" y="252"/>
                    </a:cubicBezTo>
                    <a:cubicBezTo>
                      <a:pt x="456" y="252"/>
                      <a:pt x="455" y="252"/>
                      <a:pt x="455" y="252"/>
                    </a:cubicBezTo>
                    <a:cubicBezTo>
                      <a:pt x="454" y="252"/>
                      <a:pt x="454" y="251"/>
                      <a:pt x="454" y="251"/>
                    </a:cubicBezTo>
                    <a:cubicBezTo>
                      <a:pt x="453" y="251"/>
                      <a:pt x="453" y="251"/>
                      <a:pt x="453" y="251"/>
                    </a:cubicBezTo>
                    <a:cubicBezTo>
                      <a:pt x="453" y="252"/>
                      <a:pt x="452" y="252"/>
                      <a:pt x="451" y="252"/>
                    </a:cubicBezTo>
                    <a:cubicBezTo>
                      <a:pt x="452" y="259"/>
                      <a:pt x="452" y="259"/>
                      <a:pt x="452" y="259"/>
                    </a:cubicBezTo>
                    <a:cubicBezTo>
                      <a:pt x="450" y="253"/>
                      <a:pt x="450" y="253"/>
                      <a:pt x="450" y="253"/>
                    </a:cubicBezTo>
                    <a:cubicBezTo>
                      <a:pt x="448" y="254"/>
                      <a:pt x="448" y="254"/>
                      <a:pt x="448" y="254"/>
                    </a:cubicBezTo>
                    <a:cubicBezTo>
                      <a:pt x="447" y="255"/>
                      <a:pt x="447" y="255"/>
                      <a:pt x="447" y="255"/>
                    </a:cubicBezTo>
                    <a:cubicBezTo>
                      <a:pt x="446" y="254"/>
                      <a:pt x="446" y="254"/>
                      <a:pt x="446" y="254"/>
                    </a:cubicBezTo>
                    <a:cubicBezTo>
                      <a:pt x="445" y="256"/>
                      <a:pt x="445" y="256"/>
                      <a:pt x="445" y="256"/>
                    </a:cubicBezTo>
                    <a:cubicBezTo>
                      <a:pt x="444" y="256"/>
                      <a:pt x="444" y="256"/>
                      <a:pt x="444" y="256"/>
                    </a:cubicBezTo>
                    <a:cubicBezTo>
                      <a:pt x="437" y="253"/>
                      <a:pt x="437" y="253"/>
                      <a:pt x="437" y="253"/>
                    </a:cubicBezTo>
                    <a:cubicBezTo>
                      <a:pt x="436" y="253"/>
                      <a:pt x="436" y="253"/>
                      <a:pt x="436" y="254"/>
                    </a:cubicBezTo>
                    <a:cubicBezTo>
                      <a:pt x="434" y="255"/>
                      <a:pt x="434" y="255"/>
                      <a:pt x="434" y="255"/>
                    </a:cubicBezTo>
                    <a:cubicBezTo>
                      <a:pt x="434" y="255"/>
                      <a:pt x="434" y="255"/>
                      <a:pt x="434" y="255"/>
                    </a:cubicBezTo>
                    <a:cubicBezTo>
                      <a:pt x="434" y="255"/>
                      <a:pt x="433" y="256"/>
                      <a:pt x="432" y="256"/>
                    </a:cubicBezTo>
                    <a:cubicBezTo>
                      <a:pt x="432" y="256"/>
                      <a:pt x="432" y="256"/>
                      <a:pt x="432" y="256"/>
                    </a:cubicBezTo>
                    <a:cubicBezTo>
                      <a:pt x="432" y="256"/>
                      <a:pt x="431" y="256"/>
                      <a:pt x="431" y="256"/>
                    </a:cubicBezTo>
                    <a:cubicBezTo>
                      <a:pt x="430" y="256"/>
                      <a:pt x="430" y="256"/>
                      <a:pt x="430" y="256"/>
                    </a:cubicBezTo>
                    <a:cubicBezTo>
                      <a:pt x="430" y="256"/>
                      <a:pt x="429" y="256"/>
                      <a:pt x="429" y="256"/>
                    </a:cubicBezTo>
                    <a:cubicBezTo>
                      <a:pt x="428" y="256"/>
                      <a:pt x="428" y="256"/>
                      <a:pt x="427" y="255"/>
                    </a:cubicBezTo>
                    <a:cubicBezTo>
                      <a:pt x="426" y="254"/>
                      <a:pt x="425" y="254"/>
                      <a:pt x="423" y="253"/>
                    </a:cubicBezTo>
                    <a:cubicBezTo>
                      <a:pt x="421" y="253"/>
                      <a:pt x="420" y="253"/>
                      <a:pt x="419" y="252"/>
                    </a:cubicBezTo>
                    <a:cubicBezTo>
                      <a:pt x="416" y="252"/>
                      <a:pt x="416" y="252"/>
                      <a:pt x="416" y="252"/>
                    </a:cubicBezTo>
                    <a:cubicBezTo>
                      <a:pt x="414" y="252"/>
                      <a:pt x="413" y="251"/>
                      <a:pt x="412" y="250"/>
                    </a:cubicBezTo>
                    <a:cubicBezTo>
                      <a:pt x="411" y="249"/>
                      <a:pt x="410" y="247"/>
                      <a:pt x="410" y="246"/>
                    </a:cubicBezTo>
                    <a:cubicBezTo>
                      <a:pt x="410" y="245"/>
                      <a:pt x="410" y="245"/>
                      <a:pt x="410" y="245"/>
                    </a:cubicBezTo>
                    <a:cubicBezTo>
                      <a:pt x="410" y="245"/>
                      <a:pt x="410" y="245"/>
                      <a:pt x="410" y="245"/>
                    </a:cubicBezTo>
                    <a:cubicBezTo>
                      <a:pt x="402" y="242"/>
                      <a:pt x="402" y="242"/>
                      <a:pt x="402" y="242"/>
                    </a:cubicBezTo>
                    <a:cubicBezTo>
                      <a:pt x="400" y="248"/>
                      <a:pt x="400" y="248"/>
                      <a:pt x="400" y="248"/>
                    </a:cubicBezTo>
                    <a:cubicBezTo>
                      <a:pt x="400" y="242"/>
                      <a:pt x="400" y="242"/>
                      <a:pt x="400" y="242"/>
                    </a:cubicBezTo>
                    <a:cubicBezTo>
                      <a:pt x="400" y="242"/>
                      <a:pt x="400" y="242"/>
                      <a:pt x="400" y="242"/>
                    </a:cubicBezTo>
                    <a:cubicBezTo>
                      <a:pt x="398" y="241"/>
                      <a:pt x="396" y="240"/>
                      <a:pt x="394" y="239"/>
                    </a:cubicBezTo>
                    <a:cubicBezTo>
                      <a:pt x="393" y="239"/>
                      <a:pt x="393" y="239"/>
                      <a:pt x="393" y="239"/>
                    </a:cubicBezTo>
                    <a:cubicBezTo>
                      <a:pt x="392" y="240"/>
                      <a:pt x="391" y="240"/>
                      <a:pt x="391" y="240"/>
                    </a:cubicBezTo>
                    <a:cubicBezTo>
                      <a:pt x="390" y="241"/>
                      <a:pt x="390" y="241"/>
                      <a:pt x="390" y="241"/>
                    </a:cubicBezTo>
                    <a:cubicBezTo>
                      <a:pt x="390" y="241"/>
                      <a:pt x="390" y="241"/>
                      <a:pt x="389" y="241"/>
                    </a:cubicBezTo>
                    <a:cubicBezTo>
                      <a:pt x="389" y="241"/>
                      <a:pt x="389" y="241"/>
                      <a:pt x="389" y="241"/>
                    </a:cubicBezTo>
                    <a:cubicBezTo>
                      <a:pt x="387" y="240"/>
                      <a:pt x="385" y="239"/>
                      <a:pt x="382" y="237"/>
                    </a:cubicBezTo>
                    <a:cubicBezTo>
                      <a:pt x="380" y="236"/>
                      <a:pt x="380" y="236"/>
                      <a:pt x="380" y="236"/>
                    </a:cubicBezTo>
                    <a:cubicBezTo>
                      <a:pt x="379" y="235"/>
                      <a:pt x="379" y="235"/>
                      <a:pt x="378" y="235"/>
                    </a:cubicBezTo>
                    <a:cubicBezTo>
                      <a:pt x="377" y="234"/>
                      <a:pt x="377" y="233"/>
                      <a:pt x="376" y="233"/>
                    </a:cubicBezTo>
                    <a:cubicBezTo>
                      <a:pt x="375" y="232"/>
                      <a:pt x="375" y="232"/>
                      <a:pt x="375" y="232"/>
                    </a:cubicBezTo>
                    <a:cubicBezTo>
                      <a:pt x="373" y="231"/>
                      <a:pt x="371" y="229"/>
                      <a:pt x="369" y="227"/>
                    </a:cubicBezTo>
                    <a:cubicBezTo>
                      <a:pt x="369" y="226"/>
                      <a:pt x="369" y="226"/>
                      <a:pt x="369" y="226"/>
                    </a:cubicBezTo>
                    <a:cubicBezTo>
                      <a:pt x="367" y="225"/>
                      <a:pt x="365" y="223"/>
                      <a:pt x="364" y="223"/>
                    </a:cubicBezTo>
                    <a:cubicBezTo>
                      <a:pt x="361" y="221"/>
                      <a:pt x="359" y="220"/>
                      <a:pt x="357" y="219"/>
                    </a:cubicBezTo>
                    <a:cubicBezTo>
                      <a:pt x="353" y="217"/>
                      <a:pt x="353" y="217"/>
                      <a:pt x="353" y="217"/>
                    </a:cubicBezTo>
                    <a:cubicBezTo>
                      <a:pt x="352" y="220"/>
                      <a:pt x="352" y="220"/>
                      <a:pt x="352" y="220"/>
                    </a:cubicBezTo>
                    <a:cubicBezTo>
                      <a:pt x="349" y="218"/>
                      <a:pt x="349" y="218"/>
                      <a:pt x="349" y="218"/>
                    </a:cubicBezTo>
                    <a:cubicBezTo>
                      <a:pt x="346" y="217"/>
                      <a:pt x="342" y="215"/>
                      <a:pt x="340" y="214"/>
                    </a:cubicBezTo>
                    <a:cubicBezTo>
                      <a:pt x="336" y="211"/>
                      <a:pt x="334" y="207"/>
                      <a:pt x="335" y="204"/>
                    </a:cubicBezTo>
                    <a:cubicBezTo>
                      <a:pt x="335" y="203"/>
                      <a:pt x="336" y="201"/>
                      <a:pt x="336" y="200"/>
                    </a:cubicBezTo>
                    <a:cubicBezTo>
                      <a:pt x="337" y="198"/>
                      <a:pt x="338" y="197"/>
                      <a:pt x="339" y="195"/>
                    </a:cubicBezTo>
                    <a:cubicBezTo>
                      <a:pt x="340" y="193"/>
                      <a:pt x="340" y="193"/>
                      <a:pt x="340" y="193"/>
                    </a:cubicBezTo>
                    <a:cubicBezTo>
                      <a:pt x="340" y="193"/>
                      <a:pt x="341" y="192"/>
                      <a:pt x="341" y="192"/>
                    </a:cubicBezTo>
                    <a:cubicBezTo>
                      <a:pt x="340" y="191"/>
                      <a:pt x="340" y="191"/>
                      <a:pt x="340" y="190"/>
                    </a:cubicBezTo>
                    <a:cubicBezTo>
                      <a:pt x="340" y="189"/>
                      <a:pt x="340" y="188"/>
                      <a:pt x="340" y="187"/>
                    </a:cubicBezTo>
                    <a:cubicBezTo>
                      <a:pt x="340" y="186"/>
                      <a:pt x="341" y="185"/>
                      <a:pt x="342" y="184"/>
                    </a:cubicBezTo>
                    <a:cubicBezTo>
                      <a:pt x="344" y="182"/>
                      <a:pt x="344" y="182"/>
                      <a:pt x="344" y="182"/>
                    </a:cubicBezTo>
                    <a:cubicBezTo>
                      <a:pt x="344" y="182"/>
                      <a:pt x="344" y="182"/>
                      <a:pt x="344" y="182"/>
                    </a:cubicBezTo>
                    <a:cubicBezTo>
                      <a:pt x="344" y="181"/>
                      <a:pt x="344" y="181"/>
                      <a:pt x="344" y="181"/>
                    </a:cubicBezTo>
                    <a:cubicBezTo>
                      <a:pt x="345" y="180"/>
                      <a:pt x="345" y="180"/>
                      <a:pt x="345" y="180"/>
                    </a:cubicBezTo>
                    <a:cubicBezTo>
                      <a:pt x="359" y="166"/>
                      <a:pt x="359" y="166"/>
                      <a:pt x="359" y="166"/>
                    </a:cubicBezTo>
                    <a:cubicBezTo>
                      <a:pt x="341" y="156"/>
                      <a:pt x="341" y="156"/>
                      <a:pt x="341" y="156"/>
                    </a:cubicBezTo>
                    <a:cubicBezTo>
                      <a:pt x="339" y="156"/>
                      <a:pt x="339" y="154"/>
                      <a:pt x="338" y="154"/>
                    </a:cubicBezTo>
                    <a:cubicBezTo>
                      <a:pt x="338" y="153"/>
                      <a:pt x="338" y="153"/>
                      <a:pt x="338" y="153"/>
                    </a:cubicBezTo>
                    <a:cubicBezTo>
                      <a:pt x="339" y="150"/>
                      <a:pt x="339" y="150"/>
                      <a:pt x="339" y="150"/>
                    </a:cubicBezTo>
                    <a:cubicBezTo>
                      <a:pt x="339" y="150"/>
                      <a:pt x="339" y="150"/>
                      <a:pt x="339" y="149"/>
                    </a:cubicBezTo>
                    <a:cubicBezTo>
                      <a:pt x="339" y="149"/>
                      <a:pt x="338" y="149"/>
                      <a:pt x="337" y="148"/>
                    </a:cubicBezTo>
                    <a:cubicBezTo>
                      <a:pt x="334" y="147"/>
                      <a:pt x="329" y="145"/>
                      <a:pt x="325" y="144"/>
                    </a:cubicBezTo>
                    <a:cubicBezTo>
                      <a:pt x="324" y="144"/>
                      <a:pt x="324" y="144"/>
                      <a:pt x="324" y="144"/>
                    </a:cubicBezTo>
                    <a:cubicBezTo>
                      <a:pt x="323" y="144"/>
                      <a:pt x="323" y="143"/>
                      <a:pt x="322" y="143"/>
                    </a:cubicBezTo>
                    <a:cubicBezTo>
                      <a:pt x="320" y="143"/>
                      <a:pt x="319" y="142"/>
                      <a:pt x="317" y="140"/>
                    </a:cubicBezTo>
                    <a:cubicBezTo>
                      <a:pt x="316" y="139"/>
                      <a:pt x="316" y="139"/>
                      <a:pt x="316" y="139"/>
                    </a:cubicBezTo>
                    <a:cubicBezTo>
                      <a:pt x="315" y="138"/>
                      <a:pt x="315" y="137"/>
                      <a:pt x="314" y="136"/>
                    </a:cubicBezTo>
                    <a:cubicBezTo>
                      <a:pt x="313" y="135"/>
                      <a:pt x="313" y="135"/>
                      <a:pt x="313" y="135"/>
                    </a:cubicBezTo>
                    <a:cubicBezTo>
                      <a:pt x="313" y="134"/>
                      <a:pt x="312" y="133"/>
                      <a:pt x="312" y="132"/>
                    </a:cubicBezTo>
                    <a:cubicBezTo>
                      <a:pt x="311" y="132"/>
                      <a:pt x="311" y="132"/>
                      <a:pt x="311" y="132"/>
                    </a:cubicBezTo>
                    <a:cubicBezTo>
                      <a:pt x="311" y="132"/>
                      <a:pt x="311" y="132"/>
                      <a:pt x="311" y="132"/>
                    </a:cubicBezTo>
                    <a:cubicBezTo>
                      <a:pt x="310" y="131"/>
                      <a:pt x="310" y="131"/>
                      <a:pt x="310" y="131"/>
                    </a:cubicBezTo>
                    <a:cubicBezTo>
                      <a:pt x="310" y="131"/>
                      <a:pt x="310" y="131"/>
                      <a:pt x="310" y="131"/>
                    </a:cubicBezTo>
                    <a:cubicBezTo>
                      <a:pt x="310" y="130"/>
                      <a:pt x="310" y="130"/>
                      <a:pt x="310" y="130"/>
                    </a:cubicBezTo>
                    <a:cubicBezTo>
                      <a:pt x="310" y="130"/>
                      <a:pt x="310" y="130"/>
                      <a:pt x="310" y="130"/>
                    </a:cubicBezTo>
                    <a:cubicBezTo>
                      <a:pt x="309" y="131"/>
                      <a:pt x="308" y="131"/>
                      <a:pt x="308" y="132"/>
                    </a:cubicBezTo>
                    <a:cubicBezTo>
                      <a:pt x="307" y="133"/>
                      <a:pt x="307" y="133"/>
                      <a:pt x="307" y="133"/>
                    </a:cubicBezTo>
                    <a:cubicBezTo>
                      <a:pt x="306" y="133"/>
                      <a:pt x="306" y="133"/>
                      <a:pt x="306" y="133"/>
                    </a:cubicBezTo>
                    <a:cubicBezTo>
                      <a:pt x="303" y="136"/>
                      <a:pt x="303" y="136"/>
                      <a:pt x="303" y="136"/>
                    </a:cubicBezTo>
                    <a:cubicBezTo>
                      <a:pt x="301" y="133"/>
                      <a:pt x="301" y="133"/>
                      <a:pt x="301" y="133"/>
                    </a:cubicBezTo>
                    <a:cubicBezTo>
                      <a:pt x="301" y="132"/>
                      <a:pt x="300" y="132"/>
                      <a:pt x="300" y="131"/>
                    </a:cubicBezTo>
                    <a:cubicBezTo>
                      <a:pt x="299" y="131"/>
                      <a:pt x="299" y="130"/>
                      <a:pt x="299" y="129"/>
                    </a:cubicBezTo>
                    <a:cubicBezTo>
                      <a:pt x="298" y="128"/>
                      <a:pt x="297" y="127"/>
                      <a:pt x="297" y="126"/>
                    </a:cubicBezTo>
                    <a:cubicBezTo>
                      <a:pt x="296" y="125"/>
                      <a:pt x="296" y="125"/>
                      <a:pt x="296" y="125"/>
                    </a:cubicBezTo>
                    <a:cubicBezTo>
                      <a:pt x="296" y="124"/>
                      <a:pt x="296" y="124"/>
                      <a:pt x="296" y="122"/>
                    </a:cubicBezTo>
                    <a:cubicBezTo>
                      <a:pt x="296" y="121"/>
                      <a:pt x="296" y="121"/>
                      <a:pt x="296" y="121"/>
                    </a:cubicBezTo>
                    <a:cubicBezTo>
                      <a:pt x="296" y="118"/>
                      <a:pt x="297" y="116"/>
                      <a:pt x="296" y="114"/>
                    </a:cubicBezTo>
                    <a:cubicBezTo>
                      <a:pt x="297" y="113"/>
                      <a:pt x="297" y="113"/>
                      <a:pt x="297" y="113"/>
                    </a:cubicBezTo>
                    <a:cubicBezTo>
                      <a:pt x="297" y="112"/>
                      <a:pt x="297" y="112"/>
                      <a:pt x="297" y="112"/>
                    </a:cubicBezTo>
                    <a:cubicBezTo>
                      <a:pt x="296" y="111"/>
                      <a:pt x="296" y="111"/>
                      <a:pt x="296" y="111"/>
                    </a:cubicBezTo>
                    <a:cubicBezTo>
                      <a:pt x="295" y="110"/>
                      <a:pt x="294" y="108"/>
                      <a:pt x="293" y="106"/>
                    </a:cubicBezTo>
                    <a:cubicBezTo>
                      <a:pt x="292" y="106"/>
                      <a:pt x="292" y="106"/>
                      <a:pt x="292" y="106"/>
                    </a:cubicBezTo>
                    <a:cubicBezTo>
                      <a:pt x="290" y="102"/>
                      <a:pt x="289" y="99"/>
                      <a:pt x="287" y="94"/>
                    </a:cubicBezTo>
                    <a:cubicBezTo>
                      <a:pt x="287" y="93"/>
                      <a:pt x="287" y="91"/>
                      <a:pt x="288" y="89"/>
                    </a:cubicBezTo>
                    <a:cubicBezTo>
                      <a:pt x="289" y="88"/>
                      <a:pt x="291" y="87"/>
                      <a:pt x="293" y="87"/>
                    </a:cubicBezTo>
                    <a:cubicBezTo>
                      <a:pt x="293" y="87"/>
                      <a:pt x="294" y="87"/>
                      <a:pt x="294" y="87"/>
                    </a:cubicBezTo>
                    <a:cubicBezTo>
                      <a:pt x="295" y="86"/>
                      <a:pt x="295" y="86"/>
                      <a:pt x="295" y="86"/>
                    </a:cubicBezTo>
                    <a:cubicBezTo>
                      <a:pt x="295" y="86"/>
                      <a:pt x="296" y="86"/>
                      <a:pt x="297" y="86"/>
                    </a:cubicBezTo>
                    <a:cubicBezTo>
                      <a:pt x="307" y="84"/>
                      <a:pt x="307" y="84"/>
                      <a:pt x="307" y="84"/>
                    </a:cubicBezTo>
                    <a:cubicBezTo>
                      <a:pt x="304" y="89"/>
                      <a:pt x="304" y="89"/>
                      <a:pt x="304" y="89"/>
                    </a:cubicBezTo>
                    <a:cubicBezTo>
                      <a:pt x="305" y="90"/>
                      <a:pt x="305" y="90"/>
                      <a:pt x="305" y="90"/>
                    </a:cubicBezTo>
                    <a:cubicBezTo>
                      <a:pt x="304" y="90"/>
                      <a:pt x="304" y="90"/>
                      <a:pt x="304" y="90"/>
                    </a:cubicBezTo>
                    <a:cubicBezTo>
                      <a:pt x="306" y="92"/>
                      <a:pt x="307" y="93"/>
                      <a:pt x="308" y="93"/>
                    </a:cubicBezTo>
                    <a:cubicBezTo>
                      <a:pt x="308" y="93"/>
                      <a:pt x="308" y="93"/>
                      <a:pt x="308" y="93"/>
                    </a:cubicBezTo>
                    <a:cubicBezTo>
                      <a:pt x="309" y="93"/>
                      <a:pt x="313" y="90"/>
                      <a:pt x="318" y="84"/>
                    </a:cubicBezTo>
                    <a:cubicBezTo>
                      <a:pt x="318" y="84"/>
                      <a:pt x="317" y="83"/>
                      <a:pt x="317" y="83"/>
                    </a:cubicBezTo>
                    <a:cubicBezTo>
                      <a:pt x="317" y="82"/>
                      <a:pt x="317" y="82"/>
                      <a:pt x="317" y="81"/>
                    </a:cubicBezTo>
                    <a:cubicBezTo>
                      <a:pt x="316" y="80"/>
                      <a:pt x="316" y="79"/>
                      <a:pt x="316" y="78"/>
                    </a:cubicBezTo>
                    <a:cubicBezTo>
                      <a:pt x="316" y="75"/>
                      <a:pt x="316" y="75"/>
                      <a:pt x="316" y="75"/>
                    </a:cubicBezTo>
                    <a:cubicBezTo>
                      <a:pt x="316" y="74"/>
                      <a:pt x="316" y="74"/>
                      <a:pt x="316" y="74"/>
                    </a:cubicBezTo>
                    <a:cubicBezTo>
                      <a:pt x="315" y="74"/>
                      <a:pt x="315" y="74"/>
                      <a:pt x="315" y="74"/>
                    </a:cubicBezTo>
                    <a:cubicBezTo>
                      <a:pt x="314" y="74"/>
                      <a:pt x="314" y="74"/>
                      <a:pt x="314" y="74"/>
                    </a:cubicBezTo>
                    <a:cubicBezTo>
                      <a:pt x="310" y="72"/>
                      <a:pt x="308" y="70"/>
                      <a:pt x="306" y="68"/>
                    </a:cubicBezTo>
                    <a:cubicBezTo>
                      <a:pt x="304" y="67"/>
                      <a:pt x="304" y="67"/>
                      <a:pt x="304" y="67"/>
                    </a:cubicBezTo>
                    <a:cubicBezTo>
                      <a:pt x="303" y="67"/>
                      <a:pt x="303" y="66"/>
                      <a:pt x="303" y="65"/>
                    </a:cubicBezTo>
                    <a:cubicBezTo>
                      <a:pt x="302" y="64"/>
                      <a:pt x="302" y="64"/>
                      <a:pt x="302" y="64"/>
                    </a:cubicBezTo>
                    <a:cubicBezTo>
                      <a:pt x="302" y="62"/>
                      <a:pt x="302" y="62"/>
                      <a:pt x="302" y="62"/>
                    </a:cubicBezTo>
                    <a:cubicBezTo>
                      <a:pt x="301" y="61"/>
                      <a:pt x="301" y="61"/>
                      <a:pt x="301" y="61"/>
                    </a:cubicBezTo>
                    <a:cubicBezTo>
                      <a:pt x="300" y="57"/>
                      <a:pt x="300" y="57"/>
                      <a:pt x="300" y="57"/>
                    </a:cubicBezTo>
                    <a:cubicBezTo>
                      <a:pt x="293" y="59"/>
                      <a:pt x="293" y="59"/>
                      <a:pt x="293" y="59"/>
                    </a:cubicBezTo>
                    <a:cubicBezTo>
                      <a:pt x="299" y="55"/>
                      <a:pt x="299" y="55"/>
                      <a:pt x="299" y="55"/>
                    </a:cubicBezTo>
                    <a:cubicBezTo>
                      <a:pt x="298" y="49"/>
                      <a:pt x="298" y="49"/>
                      <a:pt x="298" y="49"/>
                    </a:cubicBezTo>
                    <a:cubicBezTo>
                      <a:pt x="297" y="48"/>
                      <a:pt x="297" y="48"/>
                      <a:pt x="297" y="48"/>
                    </a:cubicBezTo>
                    <a:cubicBezTo>
                      <a:pt x="297" y="48"/>
                      <a:pt x="297" y="48"/>
                      <a:pt x="297" y="48"/>
                    </a:cubicBezTo>
                    <a:cubicBezTo>
                      <a:pt x="297" y="47"/>
                      <a:pt x="297" y="47"/>
                      <a:pt x="297" y="46"/>
                    </a:cubicBezTo>
                    <a:cubicBezTo>
                      <a:pt x="296" y="43"/>
                      <a:pt x="297" y="41"/>
                      <a:pt x="298" y="40"/>
                    </a:cubicBezTo>
                    <a:cubicBezTo>
                      <a:pt x="299" y="39"/>
                      <a:pt x="299" y="39"/>
                      <a:pt x="299" y="39"/>
                    </a:cubicBezTo>
                    <a:cubicBezTo>
                      <a:pt x="302" y="35"/>
                      <a:pt x="302" y="35"/>
                      <a:pt x="302" y="35"/>
                    </a:cubicBezTo>
                    <a:cubicBezTo>
                      <a:pt x="301" y="35"/>
                      <a:pt x="301" y="35"/>
                      <a:pt x="300" y="35"/>
                    </a:cubicBezTo>
                    <a:cubicBezTo>
                      <a:pt x="299" y="34"/>
                      <a:pt x="299" y="34"/>
                      <a:pt x="299" y="34"/>
                    </a:cubicBezTo>
                    <a:cubicBezTo>
                      <a:pt x="297" y="33"/>
                      <a:pt x="294" y="32"/>
                      <a:pt x="291" y="31"/>
                    </a:cubicBezTo>
                    <a:cubicBezTo>
                      <a:pt x="288" y="29"/>
                      <a:pt x="285" y="26"/>
                      <a:pt x="284" y="24"/>
                    </a:cubicBezTo>
                    <a:cubicBezTo>
                      <a:pt x="284" y="23"/>
                      <a:pt x="284" y="23"/>
                      <a:pt x="284" y="22"/>
                    </a:cubicBezTo>
                    <a:cubicBezTo>
                      <a:pt x="280" y="13"/>
                      <a:pt x="280" y="13"/>
                      <a:pt x="280" y="13"/>
                    </a:cubicBezTo>
                    <a:cubicBezTo>
                      <a:pt x="280" y="12"/>
                      <a:pt x="279" y="11"/>
                      <a:pt x="279" y="10"/>
                    </a:cubicBezTo>
                    <a:cubicBezTo>
                      <a:pt x="278" y="9"/>
                      <a:pt x="278" y="9"/>
                      <a:pt x="278" y="8"/>
                    </a:cubicBezTo>
                    <a:cubicBezTo>
                      <a:pt x="277" y="7"/>
                      <a:pt x="276" y="5"/>
                      <a:pt x="276" y="3"/>
                    </a:cubicBezTo>
                    <a:cubicBezTo>
                      <a:pt x="276" y="2"/>
                      <a:pt x="276" y="1"/>
                      <a:pt x="2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7" name="Rectangle 335">
                <a:extLst>
                  <a:ext uri="{FF2B5EF4-FFF2-40B4-BE49-F238E27FC236}">
                    <a16:creationId xmlns:a16="http://schemas.microsoft.com/office/drawing/2014/main" id="{1CD5CAA1-AA1C-4BD1-AEE4-C0ED5B6FC38F}"/>
                  </a:ext>
                </a:extLst>
              </p:cNvPr>
              <p:cNvSpPr>
                <a:spLocks noChangeArrowheads="1"/>
              </p:cNvSpPr>
              <p:nvPr/>
            </p:nvSpPr>
            <p:spPr bwMode="auto">
              <a:xfrm>
                <a:off x="10506265" y="6754818"/>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8" name="Freeform 336">
                <a:extLst>
                  <a:ext uri="{FF2B5EF4-FFF2-40B4-BE49-F238E27FC236}">
                    <a16:creationId xmlns:a16="http://schemas.microsoft.com/office/drawing/2014/main" id="{EE05E028-3AB1-42E1-B61F-B56CE639CFD4}"/>
                  </a:ext>
                </a:extLst>
              </p:cNvPr>
              <p:cNvSpPr>
                <a:spLocks/>
              </p:cNvSpPr>
              <p:nvPr/>
            </p:nvSpPr>
            <p:spPr bwMode="auto">
              <a:xfrm>
                <a:off x="10506265" y="675481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9" name="Freeform 337">
                <a:extLst>
                  <a:ext uri="{FF2B5EF4-FFF2-40B4-BE49-F238E27FC236}">
                    <a16:creationId xmlns:a16="http://schemas.microsoft.com/office/drawing/2014/main" id="{F16A6CB7-9E92-49BE-AD61-33FABAFA8933}"/>
                  </a:ext>
                </a:extLst>
              </p:cNvPr>
              <p:cNvSpPr>
                <a:spLocks/>
              </p:cNvSpPr>
              <p:nvPr/>
            </p:nvSpPr>
            <p:spPr bwMode="auto">
              <a:xfrm>
                <a:off x="10565226" y="59735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0" name="Freeform 338">
                <a:extLst>
                  <a:ext uri="{FF2B5EF4-FFF2-40B4-BE49-F238E27FC236}">
                    <a16:creationId xmlns:a16="http://schemas.microsoft.com/office/drawing/2014/main" id="{2DAD5BF6-79B1-411C-9B65-C7525DF9D417}"/>
                  </a:ext>
                </a:extLst>
              </p:cNvPr>
              <p:cNvSpPr>
                <a:spLocks/>
              </p:cNvSpPr>
              <p:nvPr/>
            </p:nvSpPr>
            <p:spPr bwMode="auto">
              <a:xfrm>
                <a:off x="10565226" y="5973573"/>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1" name="Freeform 339">
                <a:extLst>
                  <a:ext uri="{FF2B5EF4-FFF2-40B4-BE49-F238E27FC236}">
                    <a16:creationId xmlns:a16="http://schemas.microsoft.com/office/drawing/2014/main" id="{C210C8DC-DF01-4C04-A20B-2C163E9E8BD3}"/>
                  </a:ext>
                </a:extLst>
              </p:cNvPr>
              <p:cNvSpPr>
                <a:spLocks noEditPoints="1"/>
              </p:cNvSpPr>
              <p:nvPr/>
            </p:nvSpPr>
            <p:spPr bwMode="auto">
              <a:xfrm>
                <a:off x="9876110" y="5431861"/>
                <a:ext cx="1455621" cy="1308216"/>
              </a:xfrm>
              <a:custGeom>
                <a:avLst/>
                <a:gdLst>
                  <a:gd name="T0" fmla="*/ 369 w 458"/>
                  <a:gd name="T1" fmla="*/ 6 h 412"/>
                  <a:gd name="T2" fmla="*/ 345 w 458"/>
                  <a:gd name="T3" fmla="*/ 6 h 412"/>
                  <a:gd name="T4" fmla="*/ 302 w 458"/>
                  <a:gd name="T5" fmla="*/ 20 h 412"/>
                  <a:gd name="T6" fmla="*/ 297 w 458"/>
                  <a:gd name="T7" fmla="*/ 40 h 412"/>
                  <a:gd name="T8" fmla="*/ 301 w 458"/>
                  <a:gd name="T9" fmla="*/ 57 h 412"/>
                  <a:gd name="T10" fmla="*/ 285 w 458"/>
                  <a:gd name="T11" fmla="*/ 76 h 412"/>
                  <a:gd name="T12" fmla="*/ 285 w 458"/>
                  <a:gd name="T13" fmla="*/ 90 h 412"/>
                  <a:gd name="T14" fmla="*/ 251 w 458"/>
                  <a:gd name="T15" fmla="*/ 97 h 412"/>
                  <a:gd name="T16" fmla="*/ 250 w 458"/>
                  <a:gd name="T17" fmla="*/ 127 h 412"/>
                  <a:gd name="T18" fmla="*/ 243 w 458"/>
                  <a:gd name="T19" fmla="*/ 128 h 412"/>
                  <a:gd name="T20" fmla="*/ 238 w 458"/>
                  <a:gd name="T21" fmla="*/ 139 h 412"/>
                  <a:gd name="T22" fmla="*/ 222 w 458"/>
                  <a:gd name="T23" fmla="*/ 172 h 412"/>
                  <a:gd name="T24" fmla="*/ 213 w 458"/>
                  <a:gd name="T25" fmla="*/ 170 h 412"/>
                  <a:gd name="T26" fmla="*/ 200 w 458"/>
                  <a:gd name="T27" fmla="*/ 169 h 412"/>
                  <a:gd name="T28" fmla="*/ 179 w 458"/>
                  <a:gd name="T29" fmla="*/ 186 h 412"/>
                  <a:gd name="T30" fmla="*/ 161 w 458"/>
                  <a:gd name="T31" fmla="*/ 186 h 412"/>
                  <a:gd name="T32" fmla="*/ 149 w 458"/>
                  <a:gd name="T33" fmla="*/ 207 h 412"/>
                  <a:gd name="T34" fmla="*/ 139 w 458"/>
                  <a:gd name="T35" fmla="*/ 231 h 412"/>
                  <a:gd name="T36" fmla="*/ 89 w 458"/>
                  <a:gd name="T37" fmla="*/ 241 h 412"/>
                  <a:gd name="T38" fmla="*/ 78 w 458"/>
                  <a:gd name="T39" fmla="*/ 242 h 412"/>
                  <a:gd name="T40" fmla="*/ 55 w 458"/>
                  <a:gd name="T41" fmla="*/ 242 h 412"/>
                  <a:gd name="T42" fmla="*/ 2 w 458"/>
                  <a:gd name="T43" fmla="*/ 235 h 412"/>
                  <a:gd name="T44" fmla="*/ 35 w 458"/>
                  <a:gd name="T45" fmla="*/ 268 h 412"/>
                  <a:gd name="T46" fmla="*/ 49 w 458"/>
                  <a:gd name="T47" fmla="*/ 287 h 412"/>
                  <a:gd name="T48" fmla="*/ 64 w 458"/>
                  <a:gd name="T49" fmla="*/ 304 h 412"/>
                  <a:gd name="T50" fmla="*/ 36 w 458"/>
                  <a:gd name="T51" fmla="*/ 331 h 412"/>
                  <a:gd name="T52" fmla="*/ 18 w 458"/>
                  <a:gd name="T53" fmla="*/ 361 h 412"/>
                  <a:gd name="T54" fmla="*/ 33 w 458"/>
                  <a:gd name="T55" fmla="*/ 371 h 412"/>
                  <a:gd name="T56" fmla="*/ 83 w 458"/>
                  <a:gd name="T57" fmla="*/ 360 h 412"/>
                  <a:gd name="T58" fmla="*/ 140 w 458"/>
                  <a:gd name="T59" fmla="*/ 362 h 412"/>
                  <a:gd name="T60" fmla="*/ 148 w 458"/>
                  <a:gd name="T61" fmla="*/ 358 h 412"/>
                  <a:gd name="T62" fmla="*/ 166 w 458"/>
                  <a:gd name="T63" fmla="*/ 377 h 412"/>
                  <a:gd name="T64" fmla="*/ 197 w 458"/>
                  <a:gd name="T65" fmla="*/ 411 h 412"/>
                  <a:gd name="T66" fmla="*/ 212 w 458"/>
                  <a:gd name="T67" fmla="*/ 402 h 412"/>
                  <a:gd name="T68" fmla="*/ 242 w 458"/>
                  <a:gd name="T69" fmla="*/ 395 h 412"/>
                  <a:gd name="T70" fmla="*/ 261 w 458"/>
                  <a:gd name="T71" fmla="*/ 389 h 412"/>
                  <a:gd name="T72" fmla="*/ 274 w 458"/>
                  <a:gd name="T73" fmla="*/ 392 h 412"/>
                  <a:gd name="T74" fmla="*/ 266 w 458"/>
                  <a:gd name="T75" fmla="*/ 371 h 412"/>
                  <a:gd name="T76" fmla="*/ 261 w 458"/>
                  <a:gd name="T77" fmla="*/ 357 h 412"/>
                  <a:gd name="T78" fmla="*/ 252 w 458"/>
                  <a:gd name="T79" fmla="*/ 343 h 412"/>
                  <a:gd name="T80" fmla="*/ 244 w 458"/>
                  <a:gd name="T81" fmla="*/ 334 h 412"/>
                  <a:gd name="T82" fmla="*/ 249 w 458"/>
                  <a:gd name="T83" fmla="*/ 290 h 412"/>
                  <a:gd name="T84" fmla="*/ 258 w 458"/>
                  <a:gd name="T85" fmla="*/ 281 h 412"/>
                  <a:gd name="T86" fmla="*/ 268 w 458"/>
                  <a:gd name="T87" fmla="*/ 279 h 412"/>
                  <a:gd name="T88" fmla="*/ 277 w 458"/>
                  <a:gd name="T89" fmla="*/ 287 h 412"/>
                  <a:gd name="T90" fmla="*/ 298 w 458"/>
                  <a:gd name="T91" fmla="*/ 283 h 412"/>
                  <a:gd name="T92" fmla="*/ 337 w 458"/>
                  <a:gd name="T93" fmla="*/ 240 h 412"/>
                  <a:gd name="T94" fmla="*/ 358 w 458"/>
                  <a:gd name="T95" fmla="*/ 213 h 412"/>
                  <a:gd name="T96" fmla="*/ 377 w 458"/>
                  <a:gd name="T97" fmla="*/ 190 h 412"/>
                  <a:gd name="T98" fmla="*/ 375 w 458"/>
                  <a:gd name="T99" fmla="*/ 167 h 412"/>
                  <a:gd name="T100" fmla="*/ 392 w 458"/>
                  <a:gd name="T101" fmla="*/ 154 h 412"/>
                  <a:gd name="T102" fmla="*/ 392 w 458"/>
                  <a:gd name="T103" fmla="*/ 148 h 412"/>
                  <a:gd name="T104" fmla="*/ 368 w 458"/>
                  <a:gd name="T105" fmla="*/ 131 h 412"/>
                  <a:gd name="T106" fmla="*/ 365 w 458"/>
                  <a:gd name="T107" fmla="*/ 110 h 412"/>
                  <a:gd name="T108" fmla="*/ 365 w 458"/>
                  <a:gd name="T109" fmla="*/ 97 h 412"/>
                  <a:gd name="T110" fmla="*/ 360 w 458"/>
                  <a:gd name="T111" fmla="*/ 88 h 412"/>
                  <a:gd name="T112" fmla="*/ 376 w 458"/>
                  <a:gd name="T113" fmla="*/ 69 h 412"/>
                  <a:gd name="T114" fmla="*/ 405 w 458"/>
                  <a:gd name="T115" fmla="*/ 73 h 412"/>
                  <a:gd name="T116" fmla="*/ 431 w 458"/>
                  <a:gd name="T117" fmla="*/ 69 h 412"/>
                  <a:gd name="T118" fmla="*/ 455 w 458"/>
                  <a:gd name="T119" fmla="*/ 53 h 412"/>
                  <a:gd name="T120" fmla="*/ 429 w 458"/>
                  <a:gd name="T121" fmla="*/ 39 h 412"/>
                  <a:gd name="T122" fmla="*/ 418 w 458"/>
                  <a:gd name="T123" fmla="*/ 23 h 412"/>
                  <a:gd name="T124" fmla="*/ 394 w 458"/>
                  <a:gd name="T125" fmla="*/ 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8" h="412">
                    <a:moveTo>
                      <a:pt x="151" y="362"/>
                    </a:moveTo>
                    <a:cubicBezTo>
                      <a:pt x="151" y="362"/>
                      <a:pt x="151" y="362"/>
                      <a:pt x="151" y="362"/>
                    </a:cubicBezTo>
                    <a:cubicBezTo>
                      <a:pt x="151" y="362"/>
                      <a:pt x="151" y="362"/>
                      <a:pt x="151" y="362"/>
                    </a:cubicBezTo>
                    <a:moveTo>
                      <a:pt x="383" y="0"/>
                    </a:moveTo>
                    <a:cubicBezTo>
                      <a:pt x="382" y="0"/>
                      <a:pt x="382" y="0"/>
                      <a:pt x="381" y="0"/>
                    </a:cubicBezTo>
                    <a:cubicBezTo>
                      <a:pt x="380" y="1"/>
                      <a:pt x="379" y="2"/>
                      <a:pt x="377" y="2"/>
                    </a:cubicBezTo>
                    <a:cubicBezTo>
                      <a:pt x="377" y="3"/>
                      <a:pt x="377" y="3"/>
                      <a:pt x="377" y="3"/>
                    </a:cubicBezTo>
                    <a:cubicBezTo>
                      <a:pt x="374" y="4"/>
                      <a:pt x="372" y="6"/>
                      <a:pt x="369" y="6"/>
                    </a:cubicBezTo>
                    <a:cubicBezTo>
                      <a:pt x="369" y="7"/>
                      <a:pt x="368" y="7"/>
                      <a:pt x="368" y="7"/>
                    </a:cubicBezTo>
                    <a:cubicBezTo>
                      <a:pt x="367" y="7"/>
                      <a:pt x="366" y="7"/>
                      <a:pt x="365" y="7"/>
                    </a:cubicBezTo>
                    <a:cubicBezTo>
                      <a:pt x="363" y="7"/>
                      <a:pt x="361" y="6"/>
                      <a:pt x="359" y="6"/>
                    </a:cubicBezTo>
                    <a:cubicBezTo>
                      <a:pt x="359" y="6"/>
                      <a:pt x="359" y="6"/>
                      <a:pt x="359" y="6"/>
                    </a:cubicBezTo>
                    <a:cubicBezTo>
                      <a:pt x="358" y="5"/>
                      <a:pt x="358" y="5"/>
                      <a:pt x="357" y="5"/>
                    </a:cubicBezTo>
                    <a:cubicBezTo>
                      <a:pt x="357" y="5"/>
                      <a:pt x="356" y="5"/>
                      <a:pt x="355" y="5"/>
                    </a:cubicBezTo>
                    <a:cubicBezTo>
                      <a:pt x="353" y="5"/>
                      <a:pt x="351" y="5"/>
                      <a:pt x="349" y="5"/>
                    </a:cubicBezTo>
                    <a:cubicBezTo>
                      <a:pt x="345" y="6"/>
                      <a:pt x="345" y="6"/>
                      <a:pt x="345" y="6"/>
                    </a:cubicBezTo>
                    <a:cubicBezTo>
                      <a:pt x="342" y="6"/>
                      <a:pt x="339" y="6"/>
                      <a:pt x="336" y="6"/>
                    </a:cubicBezTo>
                    <a:cubicBezTo>
                      <a:pt x="330" y="7"/>
                      <a:pt x="330" y="7"/>
                      <a:pt x="330" y="7"/>
                    </a:cubicBezTo>
                    <a:cubicBezTo>
                      <a:pt x="328" y="7"/>
                      <a:pt x="325" y="8"/>
                      <a:pt x="323" y="9"/>
                    </a:cubicBezTo>
                    <a:cubicBezTo>
                      <a:pt x="320" y="10"/>
                      <a:pt x="317" y="12"/>
                      <a:pt x="314" y="14"/>
                    </a:cubicBezTo>
                    <a:cubicBezTo>
                      <a:pt x="312" y="15"/>
                      <a:pt x="312" y="15"/>
                      <a:pt x="312" y="15"/>
                    </a:cubicBezTo>
                    <a:cubicBezTo>
                      <a:pt x="310" y="16"/>
                      <a:pt x="308" y="18"/>
                      <a:pt x="306" y="19"/>
                    </a:cubicBezTo>
                    <a:cubicBezTo>
                      <a:pt x="305" y="20"/>
                      <a:pt x="304" y="20"/>
                      <a:pt x="303" y="20"/>
                    </a:cubicBezTo>
                    <a:cubicBezTo>
                      <a:pt x="302" y="20"/>
                      <a:pt x="302" y="20"/>
                      <a:pt x="302" y="20"/>
                    </a:cubicBezTo>
                    <a:cubicBezTo>
                      <a:pt x="301" y="20"/>
                      <a:pt x="300" y="20"/>
                      <a:pt x="299" y="19"/>
                    </a:cubicBezTo>
                    <a:cubicBezTo>
                      <a:pt x="298" y="19"/>
                      <a:pt x="298" y="19"/>
                      <a:pt x="298" y="19"/>
                    </a:cubicBezTo>
                    <a:cubicBezTo>
                      <a:pt x="295" y="23"/>
                      <a:pt x="292" y="26"/>
                      <a:pt x="289" y="29"/>
                    </a:cubicBezTo>
                    <a:cubicBezTo>
                      <a:pt x="291" y="31"/>
                      <a:pt x="292" y="33"/>
                      <a:pt x="293" y="35"/>
                    </a:cubicBezTo>
                    <a:cubicBezTo>
                      <a:pt x="294" y="35"/>
                      <a:pt x="294" y="36"/>
                      <a:pt x="294" y="36"/>
                    </a:cubicBezTo>
                    <a:cubicBezTo>
                      <a:pt x="294" y="37"/>
                      <a:pt x="295" y="37"/>
                      <a:pt x="295" y="38"/>
                    </a:cubicBezTo>
                    <a:cubicBezTo>
                      <a:pt x="296" y="38"/>
                      <a:pt x="296" y="39"/>
                      <a:pt x="297" y="40"/>
                    </a:cubicBezTo>
                    <a:cubicBezTo>
                      <a:pt x="297" y="40"/>
                      <a:pt x="297" y="40"/>
                      <a:pt x="297" y="40"/>
                    </a:cubicBezTo>
                    <a:cubicBezTo>
                      <a:pt x="301" y="38"/>
                      <a:pt x="301" y="38"/>
                      <a:pt x="301" y="38"/>
                    </a:cubicBezTo>
                    <a:cubicBezTo>
                      <a:pt x="298" y="42"/>
                      <a:pt x="298" y="42"/>
                      <a:pt x="298" y="42"/>
                    </a:cubicBezTo>
                    <a:cubicBezTo>
                      <a:pt x="299" y="44"/>
                      <a:pt x="299" y="44"/>
                      <a:pt x="299" y="44"/>
                    </a:cubicBezTo>
                    <a:cubicBezTo>
                      <a:pt x="300" y="46"/>
                      <a:pt x="299" y="48"/>
                      <a:pt x="299" y="50"/>
                    </a:cubicBezTo>
                    <a:cubicBezTo>
                      <a:pt x="299" y="51"/>
                      <a:pt x="299" y="52"/>
                      <a:pt x="299" y="52"/>
                    </a:cubicBezTo>
                    <a:cubicBezTo>
                      <a:pt x="299" y="53"/>
                      <a:pt x="299" y="53"/>
                      <a:pt x="299" y="53"/>
                    </a:cubicBezTo>
                    <a:cubicBezTo>
                      <a:pt x="300" y="54"/>
                      <a:pt x="300" y="54"/>
                      <a:pt x="300" y="54"/>
                    </a:cubicBezTo>
                    <a:cubicBezTo>
                      <a:pt x="301" y="55"/>
                      <a:pt x="301" y="56"/>
                      <a:pt x="301" y="57"/>
                    </a:cubicBezTo>
                    <a:cubicBezTo>
                      <a:pt x="300" y="57"/>
                      <a:pt x="300" y="57"/>
                      <a:pt x="300" y="57"/>
                    </a:cubicBezTo>
                    <a:cubicBezTo>
                      <a:pt x="300" y="58"/>
                      <a:pt x="300" y="59"/>
                      <a:pt x="299" y="59"/>
                    </a:cubicBezTo>
                    <a:cubicBezTo>
                      <a:pt x="298" y="61"/>
                      <a:pt x="298" y="61"/>
                      <a:pt x="298" y="61"/>
                    </a:cubicBezTo>
                    <a:cubicBezTo>
                      <a:pt x="297" y="62"/>
                      <a:pt x="297" y="62"/>
                      <a:pt x="297" y="62"/>
                    </a:cubicBezTo>
                    <a:cubicBezTo>
                      <a:pt x="297" y="66"/>
                      <a:pt x="294" y="67"/>
                      <a:pt x="292" y="68"/>
                    </a:cubicBezTo>
                    <a:cubicBezTo>
                      <a:pt x="291" y="68"/>
                      <a:pt x="291" y="69"/>
                      <a:pt x="290" y="69"/>
                    </a:cubicBezTo>
                    <a:cubicBezTo>
                      <a:pt x="290" y="70"/>
                      <a:pt x="289" y="70"/>
                      <a:pt x="289" y="71"/>
                    </a:cubicBezTo>
                    <a:cubicBezTo>
                      <a:pt x="288" y="72"/>
                      <a:pt x="287" y="74"/>
                      <a:pt x="285" y="76"/>
                    </a:cubicBezTo>
                    <a:cubicBezTo>
                      <a:pt x="284" y="76"/>
                      <a:pt x="284" y="77"/>
                      <a:pt x="283" y="77"/>
                    </a:cubicBezTo>
                    <a:cubicBezTo>
                      <a:pt x="282" y="78"/>
                      <a:pt x="282" y="78"/>
                      <a:pt x="283" y="79"/>
                    </a:cubicBezTo>
                    <a:cubicBezTo>
                      <a:pt x="283" y="80"/>
                      <a:pt x="284" y="80"/>
                      <a:pt x="284" y="81"/>
                    </a:cubicBezTo>
                    <a:cubicBezTo>
                      <a:pt x="284" y="81"/>
                      <a:pt x="284" y="81"/>
                      <a:pt x="284" y="81"/>
                    </a:cubicBezTo>
                    <a:cubicBezTo>
                      <a:pt x="285" y="82"/>
                      <a:pt x="285" y="82"/>
                      <a:pt x="286" y="83"/>
                    </a:cubicBezTo>
                    <a:cubicBezTo>
                      <a:pt x="286" y="85"/>
                      <a:pt x="286" y="85"/>
                      <a:pt x="286" y="86"/>
                    </a:cubicBezTo>
                    <a:cubicBezTo>
                      <a:pt x="286" y="87"/>
                      <a:pt x="286" y="88"/>
                      <a:pt x="286" y="89"/>
                    </a:cubicBezTo>
                    <a:cubicBezTo>
                      <a:pt x="286" y="90"/>
                      <a:pt x="286" y="90"/>
                      <a:pt x="285" y="90"/>
                    </a:cubicBezTo>
                    <a:cubicBezTo>
                      <a:pt x="285" y="91"/>
                      <a:pt x="285" y="91"/>
                      <a:pt x="285" y="91"/>
                    </a:cubicBezTo>
                    <a:cubicBezTo>
                      <a:pt x="285" y="91"/>
                      <a:pt x="285" y="92"/>
                      <a:pt x="284" y="92"/>
                    </a:cubicBezTo>
                    <a:cubicBezTo>
                      <a:pt x="283" y="94"/>
                      <a:pt x="282" y="95"/>
                      <a:pt x="280" y="96"/>
                    </a:cubicBezTo>
                    <a:cubicBezTo>
                      <a:pt x="276" y="99"/>
                      <a:pt x="272" y="100"/>
                      <a:pt x="267" y="100"/>
                    </a:cubicBezTo>
                    <a:cubicBezTo>
                      <a:pt x="266" y="100"/>
                      <a:pt x="265" y="100"/>
                      <a:pt x="263" y="100"/>
                    </a:cubicBezTo>
                    <a:cubicBezTo>
                      <a:pt x="263" y="100"/>
                      <a:pt x="263" y="100"/>
                      <a:pt x="262" y="100"/>
                    </a:cubicBezTo>
                    <a:cubicBezTo>
                      <a:pt x="261" y="100"/>
                      <a:pt x="260" y="99"/>
                      <a:pt x="259" y="99"/>
                    </a:cubicBezTo>
                    <a:cubicBezTo>
                      <a:pt x="256" y="98"/>
                      <a:pt x="253" y="97"/>
                      <a:pt x="251" y="97"/>
                    </a:cubicBezTo>
                    <a:cubicBezTo>
                      <a:pt x="253" y="100"/>
                      <a:pt x="253" y="100"/>
                      <a:pt x="253" y="100"/>
                    </a:cubicBezTo>
                    <a:cubicBezTo>
                      <a:pt x="254" y="100"/>
                      <a:pt x="255" y="101"/>
                      <a:pt x="255" y="102"/>
                    </a:cubicBezTo>
                    <a:cubicBezTo>
                      <a:pt x="258" y="106"/>
                      <a:pt x="258" y="106"/>
                      <a:pt x="258" y="106"/>
                    </a:cubicBezTo>
                    <a:cubicBezTo>
                      <a:pt x="263" y="113"/>
                      <a:pt x="265" y="117"/>
                      <a:pt x="262" y="119"/>
                    </a:cubicBezTo>
                    <a:cubicBezTo>
                      <a:pt x="261" y="120"/>
                      <a:pt x="261" y="120"/>
                      <a:pt x="261" y="120"/>
                    </a:cubicBezTo>
                    <a:cubicBezTo>
                      <a:pt x="261" y="120"/>
                      <a:pt x="261" y="120"/>
                      <a:pt x="261" y="120"/>
                    </a:cubicBezTo>
                    <a:cubicBezTo>
                      <a:pt x="260" y="121"/>
                      <a:pt x="260" y="121"/>
                      <a:pt x="260" y="121"/>
                    </a:cubicBezTo>
                    <a:cubicBezTo>
                      <a:pt x="258" y="122"/>
                      <a:pt x="254" y="125"/>
                      <a:pt x="250" y="127"/>
                    </a:cubicBezTo>
                    <a:cubicBezTo>
                      <a:pt x="252" y="132"/>
                      <a:pt x="252" y="132"/>
                      <a:pt x="252" y="132"/>
                    </a:cubicBezTo>
                    <a:cubicBezTo>
                      <a:pt x="249" y="127"/>
                      <a:pt x="249" y="127"/>
                      <a:pt x="249" y="127"/>
                    </a:cubicBezTo>
                    <a:cubicBezTo>
                      <a:pt x="248" y="127"/>
                      <a:pt x="248" y="127"/>
                      <a:pt x="248" y="127"/>
                    </a:cubicBezTo>
                    <a:cubicBezTo>
                      <a:pt x="247" y="127"/>
                      <a:pt x="246" y="127"/>
                      <a:pt x="246" y="128"/>
                    </a:cubicBezTo>
                    <a:cubicBezTo>
                      <a:pt x="245" y="128"/>
                      <a:pt x="245" y="128"/>
                      <a:pt x="245" y="128"/>
                    </a:cubicBezTo>
                    <a:cubicBezTo>
                      <a:pt x="244" y="128"/>
                      <a:pt x="244" y="128"/>
                      <a:pt x="244" y="128"/>
                    </a:cubicBezTo>
                    <a:cubicBezTo>
                      <a:pt x="243" y="128"/>
                      <a:pt x="243" y="128"/>
                      <a:pt x="243" y="128"/>
                    </a:cubicBezTo>
                    <a:cubicBezTo>
                      <a:pt x="243" y="128"/>
                      <a:pt x="243" y="128"/>
                      <a:pt x="243" y="128"/>
                    </a:cubicBezTo>
                    <a:cubicBezTo>
                      <a:pt x="243" y="128"/>
                      <a:pt x="242" y="128"/>
                      <a:pt x="242" y="128"/>
                    </a:cubicBezTo>
                    <a:cubicBezTo>
                      <a:pt x="241" y="126"/>
                      <a:pt x="241" y="126"/>
                      <a:pt x="241" y="126"/>
                    </a:cubicBezTo>
                    <a:cubicBezTo>
                      <a:pt x="241" y="128"/>
                      <a:pt x="241" y="128"/>
                      <a:pt x="241" y="128"/>
                    </a:cubicBezTo>
                    <a:cubicBezTo>
                      <a:pt x="240" y="128"/>
                      <a:pt x="240" y="128"/>
                      <a:pt x="240" y="128"/>
                    </a:cubicBezTo>
                    <a:cubicBezTo>
                      <a:pt x="240" y="129"/>
                      <a:pt x="239" y="131"/>
                      <a:pt x="239" y="133"/>
                    </a:cubicBezTo>
                    <a:cubicBezTo>
                      <a:pt x="239" y="134"/>
                      <a:pt x="238" y="136"/>
                      <a:pt x="238" y="137"/>
                    </a:cubicBezTo>
                    <a:cubicBezTo>
                      <a:pt x="238" y="137"/>
                      <a:pt x="238" y="137"/>
                      <a:pt x="238" y="137"/>
                    </a:cubicBezTo>
                    <a:cubicBezTo>
                      <a:pt x="238" y="138"/>
                      <a:pt x="238" y="139"/>
                      <a:pt x="238" y="139"/>
                    </a:cubicBezTo>
                    <a:cubicBezTo>
                      <a:pt x="237" y="141"/>
                      <a:pt x="235" y="142"/>
                      <a:pt x="234" y="144"/>
                    </a:cubicBezTo>
                    <a:cubicBezTo>
                      <a:pt x="233" y="144"/>
                      <a:pt x="233" y="144"/>
                      <a:pt x="233" y="144"/>
                    </a:cubicBezTo>
                    <a:cubicBezTo>
                      <a:pt x="234" y="153"/>
                      <a:pt x="234" y="153"/>
                      <a:pt x="234" y="153"/>
                    </a:cubicBezTo>
                    <a:cubicBezTo>
                      <a:pt x="234" y="153"/>
                      <a:pt x="234" y="153"/>
                      <a:pt x="234" y="153"/>
                    </a:cubicBezTo>
                    <a:cubicBezTo>
                      <a:pt x="235" y="158"/>
                      <a:pt x="235" y="158"/>
                      <a:pt x="235" y="158"/>
                    </a:cubicBezTo>
                    <a:cubicBezTo>
                      <a:pt x="235" y="161"/>
                      <a:pt x="234" y="163"/>
                      <a:pt x="232" y="164"/>
                    </a:cubicBezTo>
                    <a:cubicBezTo>
                      <a:pt x="229" y="167"/>
                      <a:pt x="226" y="169"/>
                      <a:pt x="223" y="172"/>
                    </a:cubicBezTo>
                    <a:cubicBezTo>
                      <a:pt x="222" y="172"/>
                      <a:pt x="222" y="172"/>
                      <a:pt x="222" y="172"/>
                    </a:cubicBezTo>
                    <a:cubicBezTo>
                      <a:pt x="221" y="173"/>
                      <a:pt x="220" y="173"/>
                      <a:pt x="220" y="173"/>
                    </a:cubicBezTo>
                    <a:cubicBezTo>
                      <a:pt x="219" y="173"/>
                      <a:pt x="219" y="173"/>
                      <a:pt x="219" y="173"/>
                    </a:cubicBezTo>
                    <a:cubicBezTo>
                      <a:pt x="219" y="173"/>
                      <a:pt x="219" y="173"/>
                      <a:pt x="219" y="173"/>
                    </a:cubicBezTo>
                    <a:cubicBezTo>
                      <a:pt x="219" y="173"/>
                      <a:pt x="218" y="173"/>
                      <a:pt x="217" y="173"/>
                    </a:cubicBezTo>
                    <a:cubicBezTo>
                      <a:pt x="217" y="173"/>
                      <a:pt x="217" y="173"/>
                      <a:pt x="217" y="173"/>
                    </a:cubicBezTo>
                    <a:cubicBezTo>
                      <a:pt x="216" y="172"/>
                      <a:pt x="216" y="172"/>
                      <a:pt x="216" y="172"/>
                    </a:cubicBezTo>
                    <a:cubicBezTo>
                      <a:pt x="215" y="172"/>
                      <a:pt x="214" y="171"/>
                      <a:pt x="213" y="171"/>
                    </a:cubicBezTo>
                    <a:cubicBezTo>
                      <a:pt x="213" y="170"/>
                      <a:pt x="213" y="170"/>
                      <a:pt x="213" y="170"/>
                    </a:cubicBezTo>
                    <a:cubicBezTo>
                      <a:pt x="212" y="169"/>
                      <a:pt x="211" y="169"/>
                      <a:pt x="210" y="168"/>
                    </a:cubicBezTo>
                    <a:cubicBezTo>
                      <a:pt x="209" y="168"/>
                      <a:pt x="209" y="168"/>
                      <a:pt x="209" y="168"/>
                    </a:cubicBezTo>
                    <a:cubicBezTo>
                      <a:pt x="209" y="168"/>
                      <a:pt x="208" y="167"/>
                      <a:pt x="208" y="167"/>
                    </a:cubicBezTo>
                    <a:cubicBezTo>
                      <a:pt x="208" y="167"/>
                      <a:pt x="207" y="167"/>
                      <a:pt x="207" y="168"/>
                    </a:cubicBezTo>
                    <a:cubicBezTo>
                      <a:pt x="206" y="168"/>
                      <a:pt x="205" y="168"/>
                      <a:pt x="204" y="168"/>
                    </a:cubicBezTo>
                    <a:cubicBezTo>
                      <a:pt x="204" y="168"/>
                      <a:pt x="204" y="168"/>
                      <a:pt x="204" y="168"/>
                    </a:cubicBezTo>
                    <a:cubicBezTo>
                      <a:pt x="203" y="168"/>
                      <a:pt x="202" y="169"/>
                      <a:pt x="202" y="169"/>
                    </a:cubicBezTo>
                    <a:cubicBezTo>
                      <a:pt x="201" y="169"/>
                      <a:pt x="201" y="169"/>
                      <a:pt x="200" y="169"/>
                    </a:cubicBezTo>
                    <a:cubicBezTo>
                      <a:pt x="199" y="169"/>
                      <a:pt x="199" y="169"/>
                      <a:pt x="199" y="170"/>
                    </a:cubicBezTo>
                    <a:cubicBezTo>
                      <a:pt x="198" y="170"/>
                      <a:pt x="197" y="170"/>
                      <a:pt x="196" y="171"/>
                    </a:cubicBezTo>
                    <a:cubicBezTo>
                      <a:pt x="195" y="172"/>
                      <a:pt x="195" y="172"/>
                      <a:pt x="195" y="172"/>
                    </a:cubicBezTo>
                    <a:cubicBezTo>
                      <a:pt x="193" y="173"/>
                      <a:pt x="191" y="174"/>
                      <a:pt x="190" y="175"/>
                    </a:cubicBezTo>
                    <a:cubicBezTo>
                      <a:pt x="195" y="179"/>
                      <a:pt x="195" y="179"/>
                      <a:pt x="195" y="179"/>
                    </a:cubicBezTo>
                    <a:cubicBezTo>
                      <a:pt x="189" y="181"/>
                      <a:pt x="189" y="181"/>
                      <a:pt x="189" y="181"/>
                    </a:cubicBezTo>
                    <a:cubicBezTo>
                      <a:pt x="188" y="182"/>
                      <a:pt x="187" y="182"/>
                      <a:pt x="186" y="183"/>
                    </a:cubicBezTo>
                    <a:cubicBezTo>
                      <a:pt x="184" y="184"/>
                      <a:pt x="182" y="185"/>
                      <a:pt x="179" y="186"/>
                    </a:cubicBezTo>
                    <a:cubicBezTo>
                      <a:pt x="178" y="186"/>
                      <a:pt x="178" y="186"/>
                      <a:pt x="178" y="186"/>
                    </a:cubicBezTo>
                    <a:cubicBezTo>
                      <a:pt x="177" y="186"/>
                      <a:pt x="177" y="186"/>
                      <a:pt x="176" y="186"/>
                    </a:cubicBezTo>
                    <a:cubicBezTo>
                      <a:pt x="173" y="186"/>
                      <a:pt x="170" y="185"/>
                      <a:pt x="167" y="184"/>
                    </a:cubicBezTo>
                    <a:cubicBezTo>
                      <a:pt x="166" y="184"/>
                      <a:pt x="166" y="184"/>
                      <a:pt x="166" y="184"/>
                    </a:cubicBezTo>
                    <a:cubicBezTo>
                      <a:pt x="166" y="184"/>
                      <a:pt x="166" y="184"/>
                      <a:pt x="166" y="184"/>
                    </a:cubicBezTo>
                    <a:cubicBezTo>
                      <a:pt x="165" y="184"/>
                      <a:pt x="164" y="184"/>
                      <a:pt x="164" y="184"/>
                    </a:cubicBezTo>
                    <a:cubicBezTo>
                      <a:pt x="163" y="184"/>
                      <a:pt x="163" y="184"/>
                      <a:pt x="162" y="185"/>
                    </a:cubicBezTo>
                    <a:cubicBezTo>
                      <a:pt x="162" y="185"/>
                      <a:pt x="161" y="185"/>
                      <a:pt x="161" y="186"/>
                    </a:cubicBezTo>
                    <a:cubicBezTo>
                      <a:pt x="160" y="186"/>
                      <a:pt x="160" y="186"/>
                      <a:pt x="160" y="186"/>
                    </a:cubicBezTo>
                    <a:cubicBezTo>
                      <a:pt x="159" y="187"/>
                      <a:pt x="158" y="188"/>
                      <a:pt x="157" y="189"/>
                    </a:cubicBezTo>
                    <a:cubicBezTo>
                      <a:pt x="155" y="190"/>
                      <a:pt x="154" y="192"/>
                      <a:pt x="153" y="193"/>
                    </a:cubicBezTo>
                    <a:cubicBezTo>
                      <a:pt x="152" y="193"/>
                      <a:pt x="152" y="193"/>
                      <a:pt x="152" y="193"/>
                    </a:cubicBezTo>
                    <a:cubicBezTo>
                      <a:pt x="152" y="194"/>
                      <a:pt x="152" y="194"/>
                      <a:pt x="151" y="195"/>
                    </a:cubicBezTo>
                    <a:cubicBezTo>
                      <a:pt x="151" y="196"/>
                      <a:pt x="151" y="196"/>
                      <a:pt x="151" y="196"/>
                    </a:cubicBezTo>
                    <a:cubicBezTo>
                      <a:pt x="151" y="198"/>
                      <a:pt x="151" y="198"/>
                      <a:pt x="151" y="198"/>
                    </a:cubicBezTo>
                    <a:cubicBezTo>
                      <a:pt x="150" y="201"/>
                      <a:pt x="149" y="205"/>
                      <a:pt x="149" y="207"/>
                    </a:cubicBezTo>
                    <a:cubicBezTo>
                      <a:pt x="149" y="209"/>
                      <a:pt x="149" y="210"/>
                      <a:pt x="149" y="211"/>
                    </a:cubicBezTo>
                    <a:cubicBezTo>
                      <a:pt x="149" y="213"/>
                      <a:pt x="149" y="214"/>
                      <a:pt x="148" y="216"/>
                    </a:cubicBezTo>
                    <a:cubicBezTo>
                      <a:pt x="148" y="217"/>
                      <a:pt x="148" y="217"/>
                      <a:pt x="148" y="217"/>
                    </a:cubicBezTo>
                    <a:cubicBezTo>
                      <a:pt x="148" y="217"/>
                      <a:pt x="148" y="217"/>
                      <a:pt x="148" y="217"/>
                    </a:cubicBezTo>
                    <a:cubicBezTo>
                      <a:pt x="149" y="218"/>
                      <a:pt x="149" y="219"/>
                      <a:pt x="149" y="221"/>
                    </a:cubicBezTo>
                    <a:cubicBezTo>
                      <a:pt x="149" y="222"/>
                      <a:pt x="149" y="225"/>
                      <a:pt x="148" y="227"/>
                    </a:cubicBezTo>
                    <a:cubicBezTo>
                      <a:pt x="147" y="229"/>
                      <a:pt x="144" y="229"/>
                      <a:pt x="142" y="230"/>
                    </a:cubicBezTo>
                    <a:cubicBezTo>
                      <a:pt x="139" y="231"/>
                      <a:pt x="139" y="231"/>
                      <a:pt x="139" y="231"/>
                    </a:cubicBezTo>
                    <a:cubicBezTo>
                      <a:pt x="137" y="231"/>
                      <a:pt x="134" y="232"/>
                      <a:pt x="132" y="233"/>
                    </a:cubicBezTo>
                    <a:cubicBezTo>
                      <a:pt x="129" y="234"/>
                      <a:pt x="125" y="235"/>
                      <a:pt x="122" y="235"/>
                    </a:cubicBezTo>
                    <a:cubicBezTo>
                      <a:pt x="114" y="235"/>
                      <a:pt x="114" y="235"/>
                      <a:pt x="114" y="235"/>
                    </a:cubicBezTo>
                    <a:cubicBezTo>
                      <a:pt x="111" y="236"/>
                      <a:pt x="109" y="236"/>
                      <a:pt x="106" y="236"/>
                    </a:cubicBezTo>
                    <a:cubicBezTo>
                      <a:pt x="103" y="236"/>
                      <a:pt x="99" y="237"/>
                      <a:pt x="95" y="237"/>
                    </a:cubicBezTo>
                    <a:cubicBezTo>
                      <a:pt x="95" y="238"/>
                      <a:pt x="94" y="238"/>
                      <a:pt x="93" y="238"/>
                    </a:cubicBezTo>
                    <a:cubicBezTo>
                      <a:pt x="92" y="239"/>
                      <a:pt x="91" y="239"/>
                      <a:pt x="91" y="240"/>
                    </a:cubicBezTo>
                    <a:cubicBezTo>
                      <a:pt x="89" y="241"/>
                      <a:pt x="89" y="241"/>
                      <a:pt x="89" y="241"/>
                    </a:cubicBezTo>
                    <a:cubicBezTo>
                      <a:pt x="88" y="241"/>
                      <a:pt x="88" y="241"/>
                      <a:pt x="88" y="241"/>
                    </a:cubicBezTo>
                    <a:cubicBezTo>
                      <a:pt x="87" y="242"/>
                      <a:pt x="87" y="242"/>
                      <a:pt x="86" y="242"/>
                    </a:cubicBezTo>
                    <a:cubicBezTo>
                      <a:pt x="86" y="242"/>
                      <a:pt x="86" y="242"/>
                      <a:pt x="85" y="242"/>
                    </a:cubicBezTo>
                    <a:cubicBezTo>
                      <a:pt x="85" y="242"/>
                      <a:pt x="84" y="243"/>
                      <a:pt x="84" y="243"/>
                    </a:cubicBezTo>
                    <a:cubicBezTo>
                      <a:pt x="83" y="243"/>
                      <a:pt x="83" y="243"/>
                      <a:pt x="82" y="243"/>
                    </a:cubicBezTo>
                    <a:cubicBezTo>
                      <a:pt x="82" y="243"/>
                      <a:pt x="82" y="243"/>
                      <a:pt x="82" y="243"/>
                    </a:cubicBezTo>
                    <a:cubicBezTo>
                      <a:pt x="81" y="243"/>
                      <a:pt x="80" y="243"/>
                      <a:pt x="80" y="243"/>
                    </a:cubicBezTo>
                    <a:cubicBezTo>
                      <a:pt x="79" y="242"/>
                      <a:pt x="79" y="242"/>
                      <a:pt x="78" y="242"/>
                    </a:cubicBezTo>
                    <a:cubicBezTo>
                      <a:pt x="75" y="242"/>
                      <a:pt x="75" y="242"/>
                      <a:pt x="75" y="242"/>
                    </a:cubicBezTo>
                    <a:cubicBezTo>
                      <a:pt x="74" y="241"/>
                      <a:pt x="73" y="241"/>
                      <a:pt x="71" y="241"/>
                    </a:cubicBezTo>
                    <a:cubicBezTo>
                      <a:pt x="71" y="241"/>
                      <a:pt x="71" y="241"/>
                      <a:pt x="71" y="241"/>
                    </a:cubicBezTo>
                    <a:cubicBezTo>
                      <a:pt x="70" y="241"/>
                      <a:pt x="69" y="241"/>
                      <a:pt x="68" y="241"/>
                    </a:cubicBezTo>
                    <a:cubicBezTo>
                      <a:pt x="68" y="241"/>
                      <a:pt x="68" y="241"/>
                      <a:pt x="68" y="241"/>
                    </a:cubicBezTo>
                    <a:cubicBezTo>
                      <a:pt x="56" y="241"/>
                      <a:pt x="56" y="241"/>
                      <a:pt x="56" y="241"/>
                    </a:cubicBezTo>
                    <a:cubicBezTo>
                      <a:pt x="57" y="247"/>
                      <a:pt x="57" y="247"/>
                      <a:pt x="57" y="247"/>
                    </a:cubicBezTo>
                    <a:cubicBezTo>
                      <a:pt x="55" y="242"/>
                      <a:pt x="55" y="242"/>
                      <a:pt x="55" y="242"/>
                    </a:cubicBezTo>
                    <a:cubicBezTo>
                      <a:pt x="50" y="242"/>
                      <a:pt x="50" y="242"/>
                      <a:pt x="50" y="242"/>
                    </a:cubicBezTo>
                    <a:cubicBezTo>
                      <a:pt x="49" y="242"/>
                      <a:pt x="48" y="242"/>
                      <a:pt x="47" y="242"/>
                    </a:cubicBezTo>
                    <a:cubicBezTo>
                      <a:pt x="47" y="242"/>
                      <a:pt x="47" y="242"/>
                      <a:pt x="47" y="242"/>
                    </a:cubicBezTo>
                    <a:cubicBezTo>
                      <a:pt x="46" y="242"/>
                      <a:pt x="45" y="243"/>
                      <a:pt x="44" y="243"/>
                    </a:cubicBezTo>
                    <a:cubicBezTo>
                      <a:pt x="43" y="243"/>
                      <a:pt x="43" y="243"/>
                      <a:pt x="43" y="243"/>
                    </a:cubicBezTo>
                    <a:cubicBezTo>
                      <a:pt x="41" y="243"/>
                      <a:pt x="40" y="243"/>
                      <a:pt x="39" y="242"/>
                    </a:cubicBezTo>
                    <a:cubicBezTo>
                      <a:pt x="0" y="231"/>
                      <a:pt x="0" y="231"/>
                      <a:pt x="0" y="231"/>
                    </a:cubicBezTo>
                    <a:cubicBezTo>
                      <a:pt x="0" y="232"/>
                      <a:pt x="1" y="234"/>
                      <a:pt x="2" y="235"/>
                    </a:cubicBezTo>
                    <a:cubicBezTo>
                      <a:pt x="3" y="235"/>
                      <a:pt x="3" y="236"/>
                      <a:pt x="3" y="237"/>
                    </a:cubicBezTo>
                    <a:cubicBezTo>
                      <a:pt x="4" y="237"/>
                      <a:pt x="4" y="238"/>
                      <a:pt x="5" y="239"/>
                    </a:cubicBezTo>
                    <a:cubicBezTo>
                      <a:pt x="8" y="242"/>
                      <a:pt x="10" y="246"/>
                      <a:pt x="13" y="250"/>
                    </a:cubicBezTo>
                    <a:cubicBezTo>
                      <a:pt x="16" y="254"/>
                      <a:pt x="19" y="258"/>
                      <a:pt x="22" y="262"/>
                    </a:cubicBezTo>
                    <a:cubicBezTo>
                      <a:pt x="24" y="264"/>
                      <a:pt x="26" y="265"/>
                      <a:pt x="28" y="266"/>
                    </a:cubicBezTo>
                    <a:cubicBezTo>
                      <a:pt x="29" y="266"/>
                      <a:pt x="30" y="267"/>
                      <a:pt x="31" y="267"/>
                    </a:cubicBezTo>
                    <a:cubicBezTo>
                      <a:pt x="32" y="267"/>
                      <a:pt x="32" y="267"/>
                      <a:pt x="32" y="267"/>
                    </a:cubicBezTo>
                    <a:cubicBezTo>
                      <a:pt x="33" y="268"/>
                      <a:pt x="34" y="268"/>
                      <a:pt x="35" y="268"/>
                    </a:cubicBezTo>
                    <a:cubicBezTo>
                      <a:pt x="35" y="268"/>
                      <a:pt x="35" y="268"/>
                      <a:pt x="35" y="268"/>
                    </a:cubicBezTo>
                    <a:cubicBezTo>
                      <a:pt x="36" y="269"/>
                      <a:pt x="37" y="269"/>
                      <a:pt x="38" y="270"/>
                    </a:cubicBezTo>
                    <a:cubicBezTo>
                      <a:pt x="40" y="270"/>
                      <a:pt x="41" y="271"/>
                      <a:pt x="43" y="271"/>
                    </a:cubicBezTo>
                    <a:cubicBezTo>
                      <a:pt x="46" y="273"/>
                      <a:pt x="48" y="274"/>
                      <a:pt x="48" y="275"/>
                    </a:cubicBezTo>
                    <a:cubicBezTo>
                      <a:pt x="50" y="277"/>
                      <a:pt x="50" y="280"/>
                      <a:pt x="49" y="284"/>
                    </a:cubicBezTo>
                    <a:cubicBezTo>
                      <a:pt x="49" y="285"/>
                      <a:pt x="49" y="285"/>
                      <a:pt x="49" y="285"/>
                    </a:cubicBezTo>
                    <a:cubicBezTo>
                      <a:pt x="55" y="285"/>
                      <a:pt x="55" y="285"/>
                      <a:pt x="55" y="285"/>
                    </a:cubicBezTo>
                    <a:cubicBezTo>
                      <a:pt x="49" y="287"/>
                      <a:pt x="49" y="287"/>
                      <a:pt x="49" y="287"/>
                    </a:cubicBezTo>
                    <a:cubicBezTo>
                      <a:pt x="49" y="297"/>
                      <a:pt x="49" y="297"/>
                      <a:pt x="49" y="297"/>
                    </a:cubicBezTo>
                    <a:cubicBezTo>
                      <a:pt x="49" y="297"/>
                      <a:pt x="49" y="298"/>
                      <a:pt x="49" y="299"/>
                    </a:cubicBezTo>
                    <a:cubicBezTo>
                      <a:pt x="49" y="300"/>
                      <a:pt x="48" y="302"/>
                      <a:pt x="49" y="303"/>
                    </a:cubicBezTo>
                    <a:cubicBezTo>
                      <a:pt x="49" y="303"/>
                      <a:pt x="49" y="303"/>
                      <a:pt x="49" y="303"/>
                    </a:cubicBezTo>
                    <a:cubicBezTo>
                      <a:pt x="49" y="303"/>
                      <a:pt x="50" y="303"/>
                      <a:pt x="50" y="303"/>
                    </a:cubicBezTo>
                    <a:cubicBezTo>
                      <a:pt x="54" y="303"/>
                      <a:pt x="54" y="303"/>
                      <a:pt x="54" y="303"/>
                    </a:cubicBezTo>
                    <a:cubicBezTo>
                      <a:pt x="56" y="303"/>
                      <a:pt x="58" y="303"/>
                      <a:pt x="61" y="304"/>
                    </a:cubicBezTo>
                    <a:cubicBezTo>
                      <a:pt x="64" y="304"/>
                      <a:pt x="64" y="304"/>
                      <a:pt x="64" y="304"/>
                    </a:cubicBezTo>
                    <a:cubicBezTo>
                      <a:pt x="63" y="308"/>
                      <a:pt x="63" y="308"/>
                      <a:pt x="63" y="308"/>
                    </a:cubicBezTo>
                    <a:cubicBezTo>
                      <a:pt x="62" y="312"/>
                      <a:pt x="61" y="317"/>
                      <a:pt x="60" y="321"/>
                    </a:cubicBezTo>
                    <a:cubicBezTo>
                      <a:pt x="59" y="324"/>
                      <a:pt x="59" y="324"/>
                      <a:pt x="59" y="324"/>
                    </a:cubicBezTo>
                    <a:cubicBezTo>
                      <a:pt x="59" y="325"/>
                      <a:pt x="59" y="326"/>
                      <a:pt x="57" y="327"/>
                    </a:cubicBezTo>
                    <a:cubicBezTo>
                      <a:pt x="55" y="329"/>
                      <a:pt x="52" y="329"/>
                      <a:pt x="50" y="329"/>
                    </a:cubicBezTo>
                    <a:cubicBezTo>
                      <a:pt x="49" y="329"/>
                      <a:pt x="49" y="329"/>
                      <a:pt x="49" y="329"/>
                    </a:cubicBezTo>
                    <a:cubicBezTo>
                      <a:pt x="49" y="329"/>
                      <a:pt x="48" y="329"/>
                      <a:pt x="47" y="329"/>
                    </a:cubicBezTo>
                    <a:cubicBezTo>
                      <a:pt x="36" y="331"/>
                      <a:pt x="36" y="331"/>
                      <a:pt x="36" y="331"/>
                    </a:cubicBezTo>
                    <a:cubicBezTo>
                      <a:pt x="34" y="331"/>
                      <a:pt x="33" y="332"/>
                      <a:pt x="32" y="333"/>
                    </a:cubicBezTo>
                    <a:cubicBezTo>
                      <a:pt x="31" y="333"/>
                      <a:pt x="30" y="334"/>
                      <a:pt x="29" y="335"/>
                    </a:cubicBezTo>
                    <a:cubicBezTo>
                      <a:pt x="29" y="335"/>
                      <a:pt x="29" y="335"/>
                      <a:pt x="29" y="335"/>
                    </a:cubicBezTo>
                    <a:cubicBezTo>
                      <a:pt x="27" y="337"/>
                      <a:pt x="26" y="337"/>
                      <a:pt x="25" y="338"/>
                    </a:cubicBezTo>
                    <a:cubicBezTo>
                      <a:pt x="24" y="339"/>
                      <a:pt x="24" y="339"/>
                      <a:pt x="24" y="339"/>
                    </a:cubicBezTo>
                    <a:cubicBezTo>
                      <a:pt x="22" y="340"/>
                      <a:pt x="22" y="340"/>
                      <a:pt x="22" y="343"/>
                    </a:cubicBezTo>
                    <a:cubicBezTo>
                      <a:pt x="20" y="349"/>
                      <a:pt x="19" y="354"/>
                      <a:pt x="18" y="359"/>
                    </a:cubicBezTo>
                    <a:cubicBezTo>
                      <a:pt x="18" y="361"/>
                      <a:pt x="18" y="361"/>
                      <a:pt x="18" y="361"/>
                    </a:cubicBezTo>
                    <a:cubicBezTo>
                      <a:pt x="18" y="361"/>
                      <a:pt x="17" y="362"/>
                      <a:pt x="17" y="363"/>
                    </a:cubicBezTo>
                    <a:cubicBezTo>
                      <a:pt x="17" y="364"/>
                      <a:pt x="17" y="366"/>
                      <a:pt x="16" y="368"/>
                    </a:cubicBezTo>
                    <a:cubicBezTo>
                      <a:pt x="16" y="369"/>
                      <a:pt x="16" y="369"/>
                      <a:pt x="16" y="369"/>
                    </a:cubicBezTo>
                    <a:cubicBezTo>
                      <a:pt x="17" y="369"/>
                      <a:pt x="16" y="370"/>
                      <a:pt x="17" y="373"/>
                    </a:cubicBezTo>
                    <a:cubicBezTo>
                      <a:pt x="17" y="373"/>
                      <a:pt x="17" y="373"/>
                      <a:pt x="17" y="373"/>
                    </a:cubicBezTo>
                    <a:cubicBezTo>
                      <a:pt x="19" y="373"/>
                      <a:pt x="21" y="371"/>
                      <a:pt x="24" y="371"/>
                    </a:cubicBezTo>
                    <a:cubicBezTo>
                      <a:pt x="27" y="371"/>
                      <a:pt x="29" y="368"/>
                      <a:pt x="31" y="368"/>
                    </a:cubicBezTo>
                    <a:cubicBezTo>
                      <a:pt x="31" y="368"/>
                      <a:pt x="32" y="369"/>
                      <a:pt x="33" y="371"/>
                    </a:cubicBezTo>
                    <a:cubicBezTo>
                      <a:pt x="37" y="368"/>
                      <a:pt x="40" y="367"/>
                      <a:pt x="44" y="367"/>
                    </a:cubicBezTo>
                    <a:cubicBezTo>
                      <a:pt x="45" y="367"/>
                      <a:pt x="46" y="367"/>
                      <a:pt x="47" y="367"/>
                    </a:cubicBezTo>
                    <a:cubicBezTo>
                      <a:pt x="51" y="367"/>
                      <a:pt x="56" y="368"/>
                      <a:pt x="60" y="368"/>
                    </a:cubicBezTo>
                    <a:cubicBezTo>
                      <a:pt x="61" y="368"/>
                      <a:pt x="63" y="368"/>
                      <a:pt x="64" y="368"/>
                    </a:cubicBezTo>
                    <a:cubicBezTo>
                      <a:pt x="66" y="368"/>
                      <a:pt x="67" y="368"/>
                      <a:pt x="66" y="367"/>
                    </a:cubicBezTo>
                    <a:cubicBezTo>
                      <a:pt x="70" y="364"/>
                      <a:pt x="75" y="364"/>
                      <a:pt x="80" y="364"/>
                    </a:cubicBezTo>
                    <a:cubicBezTo>
                      <a:pt x="81" y="364"/>
                      <a:pt x="81" y="364"/>
                      <a:pt x="82" y="364"/>
                    </a:cubicBezTo>
                    <a:cubicBezTo>
                      <a:pt x="81" y="362"/>
                      <a:pt x="82" y="360"/>
                      <a:pt x="83" y="360"/>
                    </a:cubicBezTo>
                    <a:cubicBezTo>
                      <a:pt x="84" y="360"/>
                      <a:pt x="84" y="361"/>
                      <a:pt x="84" y="361"/>
                    </a:cubicBezTo>
                    <a:cubicBezTo>
                      <a:pt x="82" y="361"/>
                      <a:pt x="82" y="362"/>
                      <a:pt x="83" y="363"/>
                    </a:cubicBezTo>
                    <a:cubicBezTo>
                      <a:pt x="84" y="365"/>
                      <a:pt x="86" y="365"/>
                      <a:pt x="88" y="365"/>
                    </a:cubicBezTo>
                    <a:cubicBezTo>
                      <a:pt x="90" y="366"/>
                      <a:pt x="92" y="365"/>
                      <a:pt x="94" y="366"/>
                    </a:cubicBezTo>
                    <a:cubicBezTo>
                      <a:pt x="96" y="367"/>
                      <a:pt x="98" y="369"/>
                      <a:pt x="99" y="369"/>
                    </a:cubicBezTo>
                    <a:cubicBezTo>
                      <a:pt x="100" y="369"/>
                      <a:pt x="100" y="369"/>
                      <a:pt x="100" y="369"/>
                    </a:cubicBezTo>
                    <a:cubicBezTo>
                      <a:pt x="99" y="368"/>
                      <a:pt x="99" y="368"/>
                      <a:pt x="99" y="368"/>
                    </a:cubicBezTo>
                    <a:cubicBezTo>
                      <a:pt x="113" y="363"/>
                      <a:pt x="125" y="363"/>
                      <a:pt x="140" y="362"/>
                    </a:cubicBezTo>
                    <a:cubicBezTo>
                      <a:pt x="140" y="362"/>
                      <a:pt x="140" y="362"/>
                      <a:pt x="140" y="362"/>
                    </a:cubicBezTo>
                    <a:cubicBezTo>
                      <a:pt x="140" y="362"/>
                      <a:pt x="141" y="362"/>
                      <a:pt x="143" y="363"/>
                    </a:cubicBezTo>
                    <a:cubicBezTo>
                      <a:pt x="144" y="363"/>
                      <a:pt x="145" y="363"/>
                      <a:pt x="146" y="363"/>
                    </a:cubicBezTo>
                    <a:cubicBezTo>
                      <a:pt x="149" y="363"/>
                      <a:pt x="151" y="362"/>
                      <a:pt x="151" y="362"/>
                    </a:cubicBezTo>
                    <a:cubicBezTo>
                      <a:pt x="151" y="362"/>
                      <a:pt x="151" y="362"/>
                      <a:pt x="151" y="362"/>
                    </a:cubicBezTo>
                    <a:cubicBezTo>
                      <a:pt x="151" y="362"/>
                      <a:pt x="151" y="360"/>
                      <a:pt x="151" y="360"/>
                    </a:cubicBezTo>
                    <a:cubicBezTo>
                      <a:pt x="150" y="360"/>
                      <a:pt x="150" y="360"/>
                      <a:pt x="150" y="360"/>
                    </a:cubicBezTo>
                    <a:cubicBezTo>
                      <a:pt x="149" y="360"/>
                      <a:pt x="148" y="359"/>
                      <a:pt x="148" y="358"/>
                    </a:cubicBezTo>
                    <a:cubicBezTo>
                      <a:pt x="148" y="357"/>
                      <a:pt x="148" y="357"/>
                      <a:pt x="149" y="357"/>
                    </a:cubicBezTo>
                    <a:cubicBezTo>
                      <a:pt x="150" y="357"/>
                      <a:pt x="150" y="357"/>
                      <a:pt x="150" y="357"/>
                    </a:cubicBezTo>
                    <a:cubicBezTo>
                      <a:pt x="150" y="357"/>
                      <a:pt x="152" y="359"/>
                      <a:pt x="152" y="360"/>
                    </a:cubicBezTo>
                    <a:cubicBezTo>
                      <a:pt x="154" y="363"/>
                      <a:pt x="152" y="362"/>
                      <a:pt x="154" y="365"/>
                    </a:cubicBezTo>
                    <a:cubicBezTo>
                      <a:pt x="156" y="368"/>
                      <a:pt x="157" y="367"/>
                      <a:pt x="157" y="371"/>
                    </a:cubicBezTo>
                    <a:cubicBezTo>
                      <a:pt x="157" y="372"/>
                      <a:pt x="156" y="377"/>
                      <a:pt x="157" y="378"/>
                    </a:cubicBezTo>
                    <a:cubicBezTo>
                      <a:pt x="158" y="378"/>
                      <a:pt x="158" y="378"/>
                      <a:pt x="159" y="378"/>
                    </a:cubicBezTo>
                    <a:cubicBezTo>
                      <a:pt x="166" y="377"/>
                      <a:pt x="166" y="377"/>
                      <a:pt x="166" y="377"/>
                    </a:cubicBezTo>
                    <a:cubicBezTo>
                      <a:pt x="168" y="382"/>
                      <a:pt x="168" y="382"/>
                      <a:pt x="168" y="382"/>
                    </a:cubicBezTo>
                    <a:cubicBezTo>
                      <a:pt x="171" y="384"/>
                      <a:pt x="171" y="384"/>
                      <a:pt x="171" y="384"/>
                    </a:cubicBezTo>
                    <a:cubicBezTo>
                      <a:pt x="172" y="387"/>
                      <a:pt x="172" y="390"/>
                      <a:pt x="173" y="392"/>
                    </a:cubicBezTo>
                    <a:cubicBezTo>
                      <a:pt x="174" y="398"/>
                      <a:pt x="174" y="403"/>
                      <a:pt x="179" y="403"/>
                    </a:cubicBezTo>
                    <a:cubicBezTo>
                      <a:pt x="180" y="403"/>
                      <a:pt x="181" y="402"/>
                      <a:pt x="182" y="402"/>
                    </a:cubicBezTo>
                    <a:cubicBezTo>
                      <a:pt x="183" y="402"/>
                      <a:pt x="184" y="402"/>
                      <a:pt x="186" y="402"/>
                    </a:cubicBezTo>
                    <a:cubicBezTo>
                      <a:pt x="192" y="402"/>
                      <a:pt x="198" y="405"/>
                      <a:pt x="195" y="412"/>
                    </a:cubicBezTo>
                    <a:cubicBezTo>
                      <a:pt x="196" y="412"/>
                      <a:pt x="196" y="411"/>
                      <a:pt x="197" y="411"/>
                    </a:cubicBezTo>
                    <a:cubicBezTo>
                      <a:pt x="196" y="410"/>
                      <a:pt x="196" y="410"/>
                      <a:pt x="196" y="410"/>
                    </a:cubicBezTo>
                    <a:cubicBezTo>
                      <a:pt x="198" y="409"/>
                      <a:pt x="198" y="409"/>
                      <a:pt x="198" y="409"/>
                    </a:cubicBezTo>
                    <a:cubicBezTo>
                      <a:pt x="198" y="408"/>
                      <a:pt x="198" y="408"/>
                      <a:pt x="198" y="408"/>
                    </a:cubicBezTo>
                    <a:cubicBezTo>
                      <a:pt x="198" y="408"/>
                      <a:pt x="198" y="408"/>
                      <a:pt x="198" y="408"/>
                    </a:cubicBezTo>
                    <a:cubicBezTo>
                      <a:pt x="207" y="402"/>
                      <a:pt x="207" y="402"/>
                      <a:pt x="207" y="402"/>
                    </a:cubicBezTo>
                    <a:cubicBezTo>
                      <a:pt x="208" y="402"/>
                      <a:pt x="208" y="402"/>
                      <a:pt x="208" y="402"/>
                    </a:cubicBezTo>
                    <a:cubicBezTo>
                      <a:pt x="209" y="402"/>
                      <a:pt x="210" y="402"/>
                      <a:pt x="210" y="402"/>
                    </a:cubicBezTo>
                    <a:cubicBezTo>
                      <a:pt x="212" y="402"/>
                      <a:pt x="212" y="402"/>
                      <a:pt x="212" y="402"/>
                    </a:cubicBezTo>
                    <a:cubicBezTo>
                      <a:pt x="212" y="401"/>
                      <a:pt x="212" y="400"/>
                      <a:pt x="212" y="398"/>
                    </a:cubicBezTo>
                    <a:cubicBezTo>
                      <a:pt x="212" y="396"/>
                      <a:pt x="212" y="395"/>
                      <a:pt x="212" y="394"/>
                    </a:cubicBezTo>
                    <a:cubicBezTo>
                      <a:pt x="212" y="391"/>
                      <a:pt x="212" y="391"/>
                      <a:pt x="212" y="391"/>
                    </a:cubicBezTo>
                    <a:cubicBezTo>
                      <a:pt x="216" y="391"/>
                      <a:pt x="216" y="391"/>
                      <a:pt x="216" y="391"/>
                    </a:cubicBezTo>
                    <a:cubicBezTo>
                      <a:pt x="221" y="392"/>
                      <a:pt x="227" y="392"/>
                      <a:pt x="232" y="393"/>
                    </a:cubicBezTo>
                    <a:cubicBezTo>
                      <a:pt x="233" y="388"/>
                      <a:pt x="233" y="388"/>
                      <a:pt x="233" y="388"/>
                    </a:cubicBezTo>
                    <a:cubicBezTo>
                      <a:pt x="234" y="393"/>
                      <a:pt x="234" y="393"/>
                      <a:pt x="234" y="393"/>
                    </a:cubicBezTo>
                    <a:cubicBezTo>
                      <a:pt x="242" y="395"/>
                      <a:pt x="242" y="395"/>
                      <a:pt x="242" y="395"/>
                    </a:cubicBezTo>
                    <a:cubicBezTo>
                      <a:pt x="243" y="395"/>
                      <a:pt x="244" y="395"/>
                      <a:pt x="245" y="395"/>
                    </a:cubicBezTo>
                    <a:cubicBezTo>
                      <a:pt x="246" y="395"/>
                      <a:pt x="247" y="395"/>
                      <a:pt x="248" y="396"/>
                    </a:cubicBezTo>
                    <a:cubicBezTo>
                      <a:pt x="248" y="396"/>
                      <a:pt x="249" y="396"/>
                      <a:pt x="249" y="396"/>
                    </a:cubicBezTo>
                    <a:cubicBezTo>
                      <a:pt x="249" y="396"/>
                      <a:pt x="250" y="396"/>
                      <a:pt x="250" y="396"/>
                    </a:cubicBezTo>
                    <a:cubicBezTo>
                      <a:pt x="250" y="395"/>
                      <a:pt x="250" y="395"/>
                      <a:pt x="250" y="395"/>
                    </a:cubicBezTo>
                    <a:cubicBezTo>
                      <a:pt x="250" y="395"/>
                      <a:pt x="251" y="394"/>
                      <a:pt x="251" y="393"/>
                    </a:cubicBezTo>
                    <a:cubicBezTo>
                      <a:pt x="254" y="391"/>
                      <a:pt x="257" y="390"/>
                      <a:pt x="261" y="390"/>
                    </a:cubicBezTo>
                    <a:cubicBezTo>
                      <a:pt x="261" y="389"/>
                      <a:pt x="261" y="389"/>
                      <a:pt x="261" y="389"/>
                    </a:cubicBezTo>
                    <a:cubicBezTo>
                      <a:pt x="262" y="389"/>
                      <a:pt x="262" y="389"/>
                      <a:pt x="263" y="389"/>
                    </a:cubicBezTo>
                    <a:cubicBezTo>
                      <a:pt x="264" y="389"/>
                      <a:pt x="264" y="389"/>
                      <a:pt x="264" y="389"/>
                    </a:cubicBezTo>
                    <a:cubicBezTo>
                      <a:pt x="265" y="388"/>
                      <a:pt x="266" y="388"/>
                      <a:pt x="267" y="388"/>
                    </a:cubicBezTo>
                    <a:cubicBezTo>
                      <a:pt x="268" y="388"/>
                      <a:pt x="269" y="388"/>
                      <a:pt x="270" y="390"/>
                    </a:cubicBezTo>
                    <a:cubicBezTo>
                      <a:pt x="271" y="390"/>
                      <a:pt x="271" y="391"/>
                      <a:pt x="271" y="392"/>
                    </a:cubicBezTo>
                    <a:cubicBezTo>
                      <a:pt x="271" y="392"/>
                      <a:pt x="272" y="393"/>
                      <a:pt x="272" y="393"/>
                    </a:cubicBezTo>
                    <a:cubicBezTo>
                      <a:pt x="273" y="392"/>
                      <a:pt x="273" y="392"/>
                      <a:pt x="273" y="392"/>
                    </a:cubicBezTo>
                    <a:cubicBezTo>
                      <a:pt x="274" y="392"/>
                      <a:pt x="274" y="392"/>
                      <a:pt x="274" y="392"/>
                    </a:cubicBezTo>
                    <a:cubicBezTo>
                      <a:pt x="274" y="391"/>
                      <a:pt x="275" y="391"/>
                      <a:pt x="276" y="391"/>
                    </a:cubicBezTo>
                    <a:cubicBezTo>
                      <a:pt x="275" y="390"/>
                      <a:pt x="275" y="389"/>
                      <a:pt x="275" y="387"/>
                    </a:cubicBezTo>
                    <a:cubicBezTo>
                      <a:pt x="275" y="387"/>
                      <a:pt x="276" y="386"/>
                      <a:pt x="276" y="386"/>
                    </a:cubicBezTo>
                    <a:cubicBezTo>
                      <a:pt x="276" y="385"/>
                      <a:pt x="277" y="384"/>
                      <a:pt x="277" y="383"/>
                    </a:cubicBezTo>
                    <a:cubicBezTo>
                      <a:pt x="277" y="383"/>
                      <a:pt x="277" y="382"/>
                      <a:pt x="277" y="382"/>
                    </a:cubicBezTo>
                    <a:cubicBezTo>
                      <a:pt x="272" y="372"/>
                      <a:pt x="272" y="372"/>
                      <a:pt x="272" y="372"/>
                    </a:cubicBezTo>
                    <a:cubicBezTo>
                      <a:pt x="272" y="371"/>
                      <a:pt x="271" y="370"/>
                      <a:pt x="271" y="369"/>
                    </a:cubicBezTo>
                    <a:cubicBezTo>
                      <a:pt x="266" y="371"/>
                      <a:pt x="266" y="371"/>
                      <a:pt x="266" y="371"/>
                    </a:cubicBezTo>
                    <a:cubicBezTo>
                      <a:pt x="270" y="368"/>
                      <a:pt x="270" y="368"/>
                      <a:pt x="270" y="368"/>
                    </a:cubicBezTo>
                    <a:cubicBezTo>
                      <a:pt x="270" y="367"/>
                      <a:pt x="270" y="367"/>
                      <a:pt x="270" y="367"/>
                    </a:cubicBezTo>
                    <a:cubicBezTo>
                      <a:pt x="269" y="366"/>
                      <a:pt x="269" y="365"/>
                      <a:pt x="269" y="365"/>
                    </a:cubicBezTo>
                    <a:cubicBezTo>
                      <a:pt x="268" y="362"/>
                      <a:pt x="268" y="360"/>
                      <a:pt x="267" y="358"/>
                    </a:cubicBezTo>
                    <a:cubicBezTo>
                      <a:pt x="267" y="358"/>
                      <a:pt x="267" y="357"/>
                      <a:pt x="267" y="357"/>
                    </a:cubicBezTo>
                    <a:cubicBezTo>
                      <a:pt x="266" y="357"/>
                      <a:pt x="266" y="357"/>
                      <a:pt x="265" y="357"/>
                    </a:cubicBezTo>
                    <a:cubicBezTo>
                      <a:pt x="264" y="357"/>
                      <a:pt x="264" y="357"/>
                      <a:pt x="264" y="357"/>
                    </a:cubicBezTo>
                    <a:cubicBezTo>
                      <a:pt x="263" y="357"/>
                      <a:pt x="262" y="357"/>
                      <a:pt x="261" y="357"/>
                    </a:cubicBezTo>
                    <a:cubicBezTo>
                      <a:pt x="261" y="357"/>
                      <a:pt x="261" y="357"/>
                      <a:pt x="261" y="357"/>
                    </a:cubicBezTo>
                    <a:cubicBezTo>
                      <a:pt x="260" y="357"/>
                      <a:pt x="260" y="356"/>
                      <a:pt x="259" y="356"/>
                    </a:cubicBezTo>
                    <a:cubicBezTo>
                      <a:pt x="259" y="356"/>
                      <a:pt x="259" y="356"/>
                      <a:pt x="259" y="356"/>
                    </a:cubicBezTo>
                    <a:cubicBezTo>
                      <a:pt x="258" y="356"/>
                      <a:pt x="258" y="356"/>
                      <a:pt x="258" y="356"/>
                    </a:cubicBezTo>
                    <a:cubicBezTo>
                      <a:pt x="258" y="355"/>
                      <a:pt x="258" y="355"/>
                      <a:pt x="258" y="355"/>
                    </a:cubicBezTo>
                    <a:cubicBezTo>
                      <a:pt x="257" y="355"/>
                      <a:pt x="257" y="355"/>
                      <a:pt x="256" y="354"/>
                    </a:cubicBezTo>
                    <a:cubicBezTo>
                      <a:pt x="254" y="352"/>
                      <a:pt x="253" y="349"/>
                      <a:pt x="252" y="346"/>
                    </a:cubicBezTo>
                    <a:cubicBezTo>
                      <a:pt x="252" y="345"/>
                      <a:pt x="252" y="344"/>
                      <a:pt x="252" y="343"/>
                    </a:cubicBezTo>
                    <a:cubicBezTo>
                      <a:pt x="251" y="340"/>
                      <a:pt x="251" y="337"/>
                      <a:pt x="252" y="334"/>
                    </a:cubicBezTo>
                    <a:cubicBezTo>
                      <a:pt x="252" y="334"/>
                      <a:pt x="252" y="334"/>
                      <a:pt x="252" y="334"/>
                    </a:cubicBezTo>
                    <a:cubicBezTo>
                      <a:pt x="252" y="332"/>
                      <a:pt x="252" y="331"/>
                      <a:pt x="252" y="330"/>
                    </a:cubicBezTo>
                    <a:cubicBezTo>
                      <a:pt x="252" y="330"/>
                      <a:pt x="252" y="330"/>
                      <a:pt x="252" y="330"/>
                    </a:cubicBezTo>
                    <a:cubicBezTo>
                      <a:pt x="252" y="330"/>
                      <a:pt x="252" y="330"/>
                      <a:pt x="251" y="330"/>
                    </a:cubicBezTo>
                    <a:cubicBezTo>
                      <a:pt x="251" y="329"/>
                      <a:pt x="251" y="329"/>
                      <a:pt x="251" y="329"/>
                    </a:cubicBezTo>
                    <a:cubicBezTo>
                      <a:pt x="249" y="329"/>
                      <a:pt x="247" y="329"/>
                      <a:pt x="245" y="329"/>
                    </a:cubicBezTo>
                    <a:cubicBezTo>
                      <a:pt x="244" y="334"/>
                      <a:pt x="244" y="334"/>
                      <a:pt x="244" y="334"/>
                    </a:cubicBezTo>
                    <a:cubicBezTo>
                      <a:pt x="244" y="328"/>
                      <a:pt x="244" y="328"/>
                      <a:pt x="244" y="328"/>
                    </a:cubicBezTo>
                    <a:cubicBezTo>
                      <a:pt x="243" y="328"/>
                      <a:pt x="243" y="328"/>
                      <a:pt x="243" y="328"/>
                    </a:cubicBezTo>
                    <a:cubicBezTo>
                      <a:pt x="239" y="327"/>
                      <a:pt x="236" y="326"/>
                      <a:pt x="234" y="324"/>
                    </a:cubicBezTo>
                    <a:cubicBezTo>
                      <a:pt x="234" y="322"/>
                      <a:pt x="233" y="321"/>
                      <a:pt x="233" y="320"/>
                    </a:cubicBezTo>
                    <a:cubicBezTo>
                      <a:pt x="232" y="316"/>
                      <a:pt x="233" y="312"/>
                      <a:pt x="236" y="306"/>
                    </a:cubicBezTo>
                    <a:cubicBezTo>
                      <a:pt x="239" y="302"/>
                      <a:pt x="242" y="298"/>
                      <a:pt x="245" y="295"/>
                    </a:cubicBezTo>
                    <a:cubicBezTo>
                      <a:pt x="246" y="294"/>
                      <a:pt x="246" y="294"/>
                      <a:pt x="246" y="294"/>
                    </a:cubicBezTo>
                    <a:cubicBezTo>
                      <a:pt x="247" y="292"/>
                      <a:pt x="248" y="291"/>
                      <a:pt x="249" y="290"/>
                    </a:cubicBezTo>
                    <a:cubicBezTo>
                      <a:pt x="250" y="290"/>
                      <a:pt x="250" y="289"/>
                      <a:pt x="251" y="288"/>
                    </a:cubicBezTo>
                    <a:cubicBezTo>
                      <a:pt x="251" y="287"/>
                      <a:pt x="251" y="287"/>
                      <a:pt x="251" y="287"/>
                    </a:cubicBezTo>
                    <a:cubicBezTo>
                      <a:pt x="252" y="287"/>
                      <a:pt x="252" y="286"/>
                      <a:pt x="253" y="286"/>
                    </a:cubicBezTo>
                    <a:cubicBezTo>
                      <a:pt x="255" y="283"/>
                      <a:pt x="255" y="283"/>
                      <a:pt x="255" y="283"/>
                    </a:cubicBezTo>
                    <a:cubicBezTo>
                      <a:pt x="255" y="283"/>
                      <a:pt x="256" y="283"/>
                      <a:pt x="256" y="282"/>
                    </a:cubicBezTo>
                    <a:cubicBezTo>
                      <a:pt x="256" y="282"/>
                      <a:pt x="256" y="282"/>
                      <a:pt x="256" y="282"/>
                    </a:cubicBezTo>
                    <a:cubicBezTo>
                      <a:pt x="253" y="278"/>
                      <a:pt x="253" y="278"/>
                      <a:pt x="253" y="278"/>
                    </a:cubicBezTo>
                    <a:cubicBezTo>
                      <a:pt x="258" y="281"/>
                      <a:pt x="258" y="281"/>
                      <a:pt x="258" y="281"/>
                    </a:cubicBezTo>
                    <a:cubicBezTo>
                      <a:pt x="258" y="281"/>
                      <a:pt x="258" y="281"/>
                      <a:pt x="258" y="281"/>
                    </a:cubicBezTo>
                    <a:cubicBezTo>
                      <a:pt x="259" y="280"/>
                      <a:pt x="260" y="280"/>
                      <a:pt x="260" y="279"/>
                    </a:cubicBezTo>
                    <a:cubicBezTo>
                      <a:pt x="261" y="279"/>
                      <a:pt x="261" y="279"/>
                      <a:pt x="261" y="279"/>
                    </a:cubicBezTo>
                    <a:cubicBezTo>
                      <a:pt x="262" y="279"/>
                      <a:pt x="263" y="278"/>
                      <a:pt x="264" y="278"/>
                    </a:cubicBezTo>
                    <a:cubicBezTo>
                      <a:pt x="264" y="275"/>
                      <a:pt x="264" y="275"/>
                      <a:pt x="264" y="275"/>
                    </a:cubicBezTo>
                    <a:cubicBezTo>
                      <a:pt x="265" y="278"/>
                      <a:pt x="265" y="278"/>
                      <a:pt x="265" y="278"/>
                    </a:cubicBezTo>
                    <a:cubicBezTo>
                      <a:pt x="265" y="278"/>
                      <a:pt x="266" y="278"/>
                      <a:pt x="266" y="279"/>
                    </a:cubicBezTo>
                    <a:cubicBezTo>
                      <a:pt x="267" y="279"/>
                      <a:pt x="267" y="279"/>
                      <a:pt x="268" y="279"/>
                    </a:cubicBezTo>
                    <a:cubicBezTo>
                      <a:pt x="268" y="279"/>
                      <a:pt x="269" y="280"/>
                      <a:pt x="269" y="280"/>
                    </a:cubicBezTo>
                    <a:cubicBezTo>
                      <a:pt x="270" y="281"/>
                      <a:pt x="270" y="281"/>
                      <a:pt x="271" y="281"/>
                    </a:cubicBezTo>
                    <a:cubicBezTo>
                      <a:pt x="272" y="283"/>
                      <a:pt x="273" y="284"/>
                      <a:pt x="273" y="285"/>
                    </a:cubicBezTo>
                    <a:cubicBezTo>
                      <a:pt x="273" y="285"/>
                      <a:pt x="273" y="285"/>
                      <a:pt x="273" y="285"/>
                    </a:cubicBezTo>
                    <a:cubicBezTo>
                      <a:pt x="274" y="286"/>
                      <a:pt x="274" y="287"/>
                      <a:pt x="275" y="287"/>
                    </a:cubicBezTo>
                    <a:cubicBezTo>
                      <a:pt x="275" y="288"/>
                      <a:pt x="275" y="288"/>
                      <a:pt x="276" y="288"/>
                    </a:cubicBezTo>
                    <a:cubicBezTo>
                      <a:pt x="276" y="288"/>
                      <a:pt x="276" y="288"/>
                      <a:pt x="277" y="288"/>
                    </a:cubicBezTo>
                    <a:cubicBezTo>
                      <a:pt x="277" y="287"/>
                      <a:pt x="277" y="287"/>
                      <a:pt x="277" y="287"/>
                    </a:cubicBezTo>
                    <a:cubicBezTo>
                      <a:pt x="280" y="286"/>
                      <a:pt x="282" y="285"/>
                      <a:pt x="285" y="285"/>
                    </a:cubicBezTo>
                    <a:cubicBezTo>
                      <a:pt x="285" y="285"/>
                      <a:pt x="285" y="285"/>
                      <a:pt x="285" y="285"/>
                    </a:cubicBezTo>
                    <a:cubicBezTo>
                      <a:pt x="285" y="279"/>
                      <a:pt x="285" y="279"/>
                      <a:pt x="285" y="279"/>
                    </a:cubicBezTo>
                    <a:cubicBezTo>
                      <a:pt x="287" y="284"/>
                      <a:pt x="287" y="284"/>
                      <a:pt x="287" y="284"/>
                    </a:cubicBezTo>
                    <a:cubicBezTo>
                      <a:pt x="288" y="284"/>
                      <a:pt x="288" y="284"/>
                      <a:pt x="288" y="284"/>
                    </a:cubicBezTo>
                    <a:cubicBezTo>
                      <a:pt x="289" y="284"/>
                      <a:pt x="289" y="284"/>
                      <a:pt x="290" y="284"/>
                    </a:cubicBezTo>
                    <a:cubicBezTo>
                      <a:pt x="291" y="284"/>
                      <a:pt x="291" y="284"/>
                      <a:pt x="291" y="284"/>
                    </a:cubicBezTo>
                    <a:cubicBezTo>
                      <a:pt x="293" y="284"/>
                      <a:pt x="296" y="283"/>
                      <a:pt x="298" y="283"/>
                    </a:cubicBezTo>
                    <a:cubicBezTo>
                      <a:pt x="298" y="283"/>
                      <a:pt x="298" y="283"/>
                      <a:pt x="298" y="283"/>
                    </a:cubicBezTo>
                    <a:cubicBezTo>
                      <a:pt x="315" y="260"/>
                      <a:pt x="315" y="260"/>
                      <a:pt x="315" y="260"/>
                    </a:cubicBezTo>
                    <a:cubicBezTo>
                      <a:pt x="316" y="259"/>
                      <a:pt x="316" y="259"/>
                      <a:pt x="316" y="259"/>
                    </a:cubicBezTo>
                    <a:cubicBezTo>
                      <a:pt x="318" y="256"/>
                      <a:pt x="320" y="254"/>
                      <a:pt x="323" y="252"/>
                    </a:cubicBezTo>
                    <a:cubicBezTo>
                      <a:pt x="324" y="252"/>
                      <a:pt x="325" y="251"/>
                      <a:pt x="327" y="251"/>
                    </a:cubicBezTo>
                    <a:cubicBezTo>
                      <a:pt x="331" y="249"/>
                      <a:pt x="332" y="248"/>
                      <a:pt x="334" y="244"/>
                    </a:cubicBezTo>
                    <a:cubicBezTo>
                      <a:pt x="335" y="243"/>
                      <a:pt x="336" y="242"/>
                      <a:pt x="336" y="240"/>
                    </a:cubicBezTo>
                    <a:cubicBezTo>
                      <a:pt x="337" y="240"/>
                      <a:pt x="337" y="240"/>
                      <a:pt x="337" y="240"/>
                    </a:cubicBezTo>
                    <a:cubicBezTo>
                      <a:pt x="338" y="238"/>
                      <a:pt x="339" y="236"/>
                      <a:pt x="340" y="235"/>
                    </a:cubicBezTo>
                    <a:cubicBezTo>
                      <a:pt x="340" y="234"/>
                      <a:pt x="340" y="233"/>
                      <a:pt x="340" y="232"/>
                    </a:cubicBezTo>
                    <a:cubicBezTo>
                      <a:pt x="340" y="232"/>
                      <a:pt x="340" y="232"/>
                      <a:pt x="340" y="232"/>
                    </a:cubicBezTo>
                    <a:cubicBezTo>
                      <a:pt x="341" y="231"/>
                      <a:pt x="341" y="231"/>
                      <a:pt x="341" y="230"/>
                    </a:cubicBezTo>
                    <a:cubicBezTo>
                      <a:pt x="342" y="227"/>
                      <a:pt x="343" y="224"/>
                      <a:pt x="344" y="221"/>
                    </a:cubicBezTo>
                    <a:cubicBezTo>
                      <a:pt x="346" y="220"/>
                      <a:pt x="347" y="219"/>
                      <a:pt x="348" y="218"/>
                    </a:cubicBezTo>
                    <a:cubicBezTo>
                      <a:pt x="350" y="217"/>
                      <a:pt x="353" y="216"/>
                      <a:pt x="356" y="215"/>
                    </a:cubicBezTo>
                    <a:cubicBezTo>
                      <a:pt x="357" y="214"/>
                      <a:pt x="358" y="214"/>
                      <a:pt x="358" y="213"/>
                    </a:cubicBezTo>
                    <a:cubicBezTo>
                      <a:pt x="358" y="213"/>
                      <a:pt x="358" y="213"/>
                      <a:pt x="358" y="213"/>
                    </a:cubicBezTo>
                    <a:cubicBezTo>
                      <a:pt x="356" y="210"/>
                      <a:pt x="357" y="208"/>
                      <a:pt x="358" y="207"/>
                    </a:cubicBezTo>
                    <a:cubicBezTo>
                      <a:pt x="358" y="206"/>
                      <a:pt x="358" y="206"/>
                      <a:pt x="358" y="206"/>
                    </a:cubicBezTo>
                    <a:cubicBezTo>
                      <a:pt x="359" y="205"/>
                      <a:pt x="360" y="204"/>
                      <a:pt x="360" y="204"/>
                    </a:cubicBezTo>
                    <a:cubicBezTo>
                      <a:pt x="362" y="202"/>
                      <a:pt x="363" y="200"/>
                      <a:pt x="365" y="198"/>
                    </a:cubicBezTo>
                    <a:cubicBezTo>
                      <a:pt x="366" y="198"/>
                      <a:pt x="367" y="196"/>
                      <a:pt x="370" y="195"/>
                    </a:cubicBezTo>
                    <a:cubicBezTo>
                      <a:pt x="371" y="194"/>
                      <a:pt x="371" y="194"/>
                      <a:pt x="371" y="194"/>
                    </a:cubicBezTo>
                    <a:cubicBezTo>
                      <a:pt x="373" y="193"/>
                      <a:pt x="375" y="191"/>
                      <a:pt x="377" y="190"/>
                    </a:cubicBezTo>
                    <a:cubicBezTo>
                      <a:pt x="378" y="189"/>
                      <a:pt x="378" y="188"/>
                      <a:pt x="378" y="188"/>
                    </a:cubicBezTo>
                    <a:cubicBezTo>
                      <a:pt x="378" y="187"/>
                      <a:pt x="378" y="186"/>
                      <a:pt x="378" y="185"/>
                    </a:cubicBezTo>
                    <a:cubicBezTo>
                      <a:pt x="377" y="178"/>
                      <a:pt x="377" y="178"/>
                      <a:pt x="377" y="178"/>
                    </a:cubicBezTo>
                    <a:cubicBezTo>
                      <a:pt x="377" y="177"/>
                      <a:pt x="376" y="175"/>
                      <a:pt x="376" y="173"/>
                    </a:cubicBezTo>
                    <a:cubicBezTo>
                      <a:pt x="376" y="170"/>
                      <a:pt x="376" y="170"/>
                      <a:pt x="376" y="170"/>
                    </a:cubicBezTo>
                    <a:cubicBezTo>
                      <a:pt x="372" y="171"/>
                      <a:pt x="372" y="171"/>
                      <a:pt x="372" y="171"/>
                    </a:cubicBezTo>
                    <a:cubicBezTo>
                      <a:pt x="376" y="168"/>
                      <a:pt x="376" y="168"/>
                      <a:pt x="376" y="168"/>
                    </a:cubicBezTo>
                    <a:cubicBezTo>
                      <a:pt x="375" y="167"/>
                      <a:pt x="375" y="167"/>
                      <a:pt x="375" y="167"/>
                    </a:cubicBezTo>
                    <a:cubicBezTo>
                      <a:pt x="375" y="167"/>
                      <a:pt x="376" y="166"/>
                      <a:pt x="376" y="165"/>
                    </a:cubicBezTo>
                    <a:cubicBezTo>
                      <a:pt x="376" y="163"/>
                      <a:pt x="378" y="161"/>
                      <a:pt x="381" y="159"/>
                    </a:cubicBezTo>
                    <a:cubicBezTo>
                      <a:pt x="382" y="158"/>
                      <a:pt x="383" y="157"/>
                      <a:pt x="384" y="157"/>
                    </a:cubicBezTo>
                    <a:cubicBezTo>
                      <a:pt x="384" y="157"/>
                      <a:pt x="384" y="157"/>
                      <a:pt x="384" y="157"/>
                    </a:cubicBezTo>
                    <a:cubicBezTo>
                      <a:pt x="385" y="157"/>
                      <a:pt x="385" y="157"/>
                      <a:pt x="386" y="157"/>
                    </a:cubicBezTo>
                    <a:cubicBezTo>
                      <a:pt x="386" y="156"/>
                      <a:pt x="386" y="156"/>
                      <a:pt x="387" y="156"/>
                    </a:cubicBezTo>
                    <a:cubicBezTo>
                      <a:pt x="388" y="156"/>
                      <a:pt x="389" y="155"/>
                      <a:pt x="390" y="155"/>
                    </a:cubicBezTo>
                    <a:cubicBezTo>
                      <a:pt x="391" y="155"/>
                      <a:pt x="392" y="154"/>
                      <a:pt x="392" y="154"/>
                    </a:cubicBezTo>
                    <a:cubicBezTo>
                      <a:pt x="394" y="153"/>
                      <a:pt x="394" y="153"/>
                      <a:pt x="394" y="153"/>
                    </a:cubicBezTo>
                    <a:cubicBezTo>
                      <a:pt x="396" y="153"/>
                      <a:pt x="398" y="152"/>
                      <a:pt x="398" y="151"/>
                    </a:cubicBezTo>
                    <a:cubicBezTo>
                      <a:pt x="399" y="150"/>
                      <a:pt x="398" y="149"/>
                      <a:pt x="398" y="149"/>
                    </a:cubicBezTo>
                    <a:cubicBezTo>
                      <a:pt x="397" y="149"/>
                      <a:pt x="397" y="149"/>
                      <a:pt x="397" y="149"/>
                    </a:cubicBezTo>
                    <a:cubicBezTo>
                      <a:pt x="397" y="149"/>
                      <a:pt x="397" y="149"/>
                      <a:pt x="397" y="149"/>
                    </a:cubicBezTo>
                    <a:cubicBezTo>
                      <a:pt x="396" y="149"/>
                      <a:pt x="396" y="149"/>
                      <a:pt x="396" y="148"/>
                    </a:cubicBezTo>
                    <a:cubicBezTo>
                      <a:pt x="395" y="148"/>
                      <a:pt x="394" y="148"/>
                      <a:pt x="392" y="148"/>
                    </a:cubicBezTo>
                    <a:cubicBezTo>
                      <a:pt x="392" y="148"/>
                      <a:pt x="392" y="148"/>
                      <a:pt x="392" y="148"/>
                    </a:cubicBezTo>
                    <a:cubicBezTo>
                      <a:pt x="391" y="148"/>
                      <a:pt x="390" y="148"/>
                      <a:pt x="390" y="147"/>
                    </a:cubicBezTo>
                    <a:cubicBezTo>
                      <a:pt x="386" y="147"/>
                      <a:pt x="384" y="146"/>
                      <a:pt x="382" y="144"/>
                    </a:cubicBezTo>
                    <a:cubicBezTo>
                      <a:pt x="382" y="144"/>
                      <a:pt x="381" y="143"/>
                      <a:pt x="381" y="143"/>
                    </a:cubicBezTo>
                    <a:cubicBezTo>
                      <a:pt x="380" y="141"/>
                      <a:pt x="380" y="140"/>
                      <a:pt x="380" y="137"/>
                    </a:cubicBezTo>
                    <a:cubicBezTo>
                      <a:pt x="379" y="138"/>
                      <a:pt x="378" y="138"/>
                      <a:pt x="377" y="138"/>
                    </a:cubicBezTo>
                    <a:cubicBezTo>
                      <a:pt x="375" y="138"/>
                      <a:pt x="372" y="137"/>
                      <a:pt x="371" y="134"/>
                    </a:cubicBezTo>
                    <a:cubicBezTo>
                      <a:pt x="370" y="133"/>
                      <a:pt x="370" y="133"/>
                      <a:pt x="370" y="133"/>
                    </a:cubicBezTo>
                    <a:cubicBezTo>
                      <a:pt x="369" y="132"/>
                      <a:pt x="369" y="132"/>
                      <a:pt x="368" y="131"/>
                    </a:cubicBezTo>
                    <a:cubicBezTo>
                      <a:pt x="367" y="129"/>
                      <a:pt x="367" y="129"/>
                      <a:pt x="367" y="129"/>
                    </a:cubicBezTo>
                    <a:cubicBezTo>
                      <a:pt x="365" y="127"/>
                      <a:pt x="364" y="125"/>
                      <a:pt x="363" y="123"/>
                    </a:cubicBezTo>
                    <a:cubicBezTo>
                      <a:pt x="355" y="125"/>
                      <a:pt x="355" y="125"/>
                      <a:pt x="355" y="125"/>
                    </a:cubicBezTo>
                    <a:cubicBezTo>
                      <a:pt x="362" y="121"/>
                      <a:pt x="362" y="121"/>
                      <a:pt x="362" y="121"/>
                    </a:cubicBezTo>
                    <a:cubicBezTo>
                      <a:pt x="362" y="121"/>
                      <a:pt x="362" y="121"/>
                      <a:pt x="362" y="121"/>
                    </a:cubicBezTo>
                    <a:cubicBezTo>
                      <a:pt x="362" y="120"/>
                      <a:pt x="362" y="119"/>
                      <a:pt x="363" y="118"/>
                    </a:cubicBezTo>
                    <a:cubicBezTo>
                      <a:pt x="363" y="117"/>
                      <a:pt x="364" y="116"/>
                      <a:pt x="364" y="115"/>
                    </a:cubicBezTo>
                    <a:cubicBezTo>
                      <a:pt x="366" y="112"/>
                      <a:pt x="366" y="111"/>
                      <a:pt x="365" y="110"/>
                    </a:cubicBezTo>
                    <a:cubicBezTo>
                      <a:pt x="365" y="110"/>
                      <a:pt x="365" y="110"/>
                      <a:pt x="365" y="110"/>
                    </a:cubicBezTo>
                    <a:cubicBezTo>
                      <a:pt x="364" y="108"/>
                      <a:pt x="363" y="108"/>
                      <a:pt x="362" y="107"/>
                    </a:cubicBezTo>
                    <a:cubicBezTo>
                      <a:pt x="362" y="106"/>
                      <a:pt x="361" y="105"/>
                      <a:pt x="361" y="104"/>
                    </a:cubicBezTo>
                    <a:cubicBezTo>
                      <a:pt x="361" y="103"/>
                      <a:pt x="361" y="103"/>
                      <a:pt x="361" y="103"/>
                    </a:cubicBezTo>
                    <a:cubicBezTo>
                      <a:pt x="361" y="103"/>
                      <a:pt x="361" y="103"/>
                      <a:pt x="361" y="103"/>
                    </a:cubicBezTo>
                    <a:cubicBezTo>
                      <a:pt x="361" y="102"/>
                      <a:pt x="362" y="102"/>
                      <a:pt x="362" y="101"/>
                    </a:cubicBezTo>
                    <a:cubicBezTo>
                      <a:pt x="362" y="101"/>
                      <a:pt x="362" y="101"/>
                      <a:pt x="362" y="101"/>
                    </a:cubicBezTo>
                    <a:cubicBezTo>
                      <a:pt x="362" y="100"/>
                      <a:pt x="364" y="98"/>
                      <a:pt x="365" y="97"/>
                    </a:cubicBezTo>
                    <a:cubicBezTo>
                      <a:pt x="365" y="97"/>
                      <a:pt x="365" y="97"/>
                      <a:pt x="365" y="97"/>
                    </a:cubicBezTo>
                    <a:cubicBezTo>
                      <a:pt x="364" y="97"/>
                      <a:pt x="364" y="97"/>
                      <a:pt x="364" y="97"/>
                    </a:cubicBezTo>
                    <a:cubicBezTo>
                      <a:pt x="363" y="97"/>
                      <a:pt x="362" y="97"/>
                      <a:pt x="361" y="96"/>
                    </a:cubicBezTo>
                    <a:cubicBezTo>
                      <a:pt x="358" y="96"/>
                      <a:pt x="358" y="96"/>
                      <a:pt x="358" y="96"/>
                    </a:cubicBezTo>
                    <a:cubicBezTo>
                      <a:pt x="359" y="92"/>
                      <a:pt x="359" y="92"/>
                      <a:pt x="359" y="92"/>
                    </a:cubicBezTo>
                    <a:cubicBezTo>
                      <a:pt x="359" y="92"/>
                      <a:pt x="359" y="91"/>
                      <a:pt x="359" y="91"/>
                    </a:cubicBezTo>
                    <a:cubicBezTo>
                      <a:pt x="359" y="90"/>
                      <a:pt x="359" y="90"/>
                      <a:pt x="359" y="90"/>
                    </a:cubicBezTo>
                    <a:cubicBezTo>
                      <a:pt x="360" y="89"/>
                      <a:pt x="360" y="89"/>
                      <a:pt x="360" y="88"/>
                    </a:cubicBezTo>
                    <a:cubicBezTo>
                      <a:pt x="359" y="88"/>
                      <a:pt x="359" y="88"/>
                      <a:pt x="358" y="88"/>
                    </a:cubicBezTo>
                    <a:cubicBezTo>
                      <a:pt x="358" y="87"/>
                      <a:pt x="358" y="87"/>
                      <a:pt x="358" y="87"/>
                    </a:cubicBezTo>
                    <a:cubicBezTo>
                      <a:pt x="356" y="86"/>
                      <a:pt x="355" y="85"/>
                      <a:pt x="355" y="83"/>
                    </a:cubicBezTo>
                    <a:cubicBezTo>
                      <a:pt x="355" y="82"/>
                      <a:pt x="356" y="80"/>
                      <a:pt x="356" y="79"/>
                    </a:cubicBezTo>
                    <a:cubicBezTo>
                      <a:pt x="357" y="77"/>
                      <a:pt x="358" y="75"/>
                      <a:pt x="359" y="74"/>
                    </a:cubicBezTo>
                    <a:cubicBezTo>
                      <a:pt x="359" y="73"/>
                      <a:pt x="359" y="73"/>
                      <a:pt x="360" y="72"/>
                    </a:cubicBezTo>
                    <a:cubicBezTo>
                      <a:pt x="362" y="71"/>
                      <a:pt x="363" y="70"/>
                      <a:pt x="365" y="70"/>
                    </a:cubicBezTo>
                    <a:cubicBezTo>
                      <a:pt x="368" y="69"/>
                      <a:pt x="372" y="69"/>
                      <a:pt x="376" y="69"/>
                    </a:cubicBezTo>
                    <a:cubicBezTo>
                      <a:pt x="377" y="69"/>
                      <a:pt x="377" y="69"/>
                      <a:pt x="377" y="69"/>
                    </a:cubicBezTo>
                    <a:cubicBezTo>
                      <a:pt x="378" y="69"/>
                      <a:pt x="380" y="69"/>
                      <a:pt x="381" y="68"/>
                    </a:cubicBezTo>
                    <a:cubicBezTo>
                      <a:pt x="381" y="68"/>
                      <a:pt x="382" y="68"/>
                      <a:pt x="383" y="68"/>
                    </a:cubicBezTo>
                    <a:cubicBezTo>
                      <a:pt x="386" y="68"/>
                      <a:pt x="388" y="69"/>
                      <a:pt x="391" y="69"/>
                    </a:cubicBezTo>
                    <a:cubicBezTo>
                      <a:pt x="392" y="70"/>
                      <a:pt x="392" y="70"/>
                      <a:pt x="392" y="70"/>
                    </a:cubicBezTo>
                    <a:cubicBezTo>
                      <a:pt x="393" y="70"/>
                      <a:pt x="394" y="70"/>
                      <a:pt x="395" y="70"/>
                    </a:cubicBezTo>
                    <a:cubicBezTo>
                      <a:pt x="399" y="71"/>
                      <a:pt x="399" y="71"/>
                      <a:pt x="399" y="71"/>
                    </a:cubicBezTo>
                    <a:cubicBezTo>
                      <a:pt x="401" y="71"/>
                      <a:pt x="403" y="72"/>
                      <a:pt x="405" y="73"/>
                    </a:cubicBezTo>
                    <a:cubicBezTo>
                      <a:pt x="405" y="73"/>
                      <a:pt x="406" y="73"/>
                      <a:pt x="406" y="73"/>
                    </a:cubicBezTo>
                    <a:cubicBezTo>
                      <a:pt x="407" y="74"/>
                      <a:pt x="407" y="74"/>
                      <a:pt x="408" y="74"/>
                    </a:cubicBezTo>
                    <a:cubicBezTo>
                      <a:pt x="410" y="74"/>
                      <a:pt x="410" y="74"/>
                      <a:pt x="410" y="74"/>
                    </a:cubicBezTo>
                    <a:cubicBezTo>
                      <a:pt x="411" y="75"/>
                      <a:pt x="412" y="75"/>
                      <a:pt x="413" y="75"/>
                    </a:cubicBezTo>
                    <a:cubicBezTo>
                      <a:pt x="415" y="75"/>
                      <a:pt x="418" y="74"/>
                      <a:pt x="422" y="72"/>
                    </a:cubicBezTo>
                    <a:cubicBezTo>
                      <a:pt x="423" y="71"/>
                      <a:pt x="424" y="71"/>
                      <a:pt x="425" y="71"/>
                    </a:cubicBezTo>
                    <a:cubicBezTo>
                      <a:pt x="425" y="70"/>
                      <a:pt x="426" y="70"/>
                      <a:pt x="427" y="70"/>
                    </a:cubicBezTo>
                    <a:cubicBezTo>
                      <a:pt x="428" y="69"/>
                      <a:pt x="429" y="69"/>
                      <a:pt x="431" y="69"/>
                    </a:cubicBezTo>
                    <a:cubicBezTo>
                      <a:pt x="432" y="69"/>
                      <a:pt x="433" y="68"/>
                      <a:pt x="434" y="68"/>
                    </a:cubicBezTo>
                    <a:cubicBezTo>
                      <a:pt x="434" y="68"/>
                      <a:pt x="434" y="68"/>
                      <a:pt x="434" y="68"/>
                    </a:cubicBezTo>
                    <a:cubicBezTo>
                      <a:pt x="435" y="68"/>
                      <a:pt x="435" y="68"/>
                      <a:pt x="436" y="68"/>
                    </a:cubicBezTo>
                    <a:cubicBezTo>
                      <a:pt x="437" y="68"/>
                      <a:pt x="437" y="68"/>
                      <a:pt x="437" y="68"/>
                    </a:cubicBezTo>
                    <a:cubicBezTo>
                      <a:pt x="439" y="67"/>
                      <a:pt x="440" y="66"/>
                      <a:pt x="442" y="64"/>
                    </a:cubicBezTo>
                    <a:cubicBezTo>
                      <a:pt x="443" y="63"/>
                      <a:pt x="443" y="63"/>
                      <a:pt x="443" y="63"/>
                    </a:cubicBezTo>
                    <a:cubicBezTo>
                      <a:pt x="445" y="61"/>
                      <a:pt x="446" y="58"/>
                      <a:pt x="449" y="57"/>
                    </a:cubicBezTo>
                    <a:cubicBezTo>
                      <a:pt x="455" y="53"/>
                      <a:pt x="455" y="53"/>
                      <a:pt x="455" y="53"/>
                    </a:cubicBezTo>
                    <a:cubicBezTo>
                      <a:pt x="456" y="52"/>
                      <a:pt x="457" y="52"/>
                      <a:pt x="458" y="51"/>
                    </a:cubicBezTo>
                    <a:cubicBezTo>
                      <a:pt x="449" y="52"/>
                      <a:pt x="449" y="52"/>
                      <a:pt x="449" y="52"/>
                    </a:cubicBezTo>
                    <a:cubicBezTo>
                      <a:pt x="457" y="49"/>
                      <a:pt x="457" y="49"/>
                      <a:pt x="457" y="49"/>
                    </a:cubicBezTo>
                    <a:cubicBezTo>
                      <a:pt x="452" y="48"/>
                      <a:pt x="446" y="47"/>
                      <a:pt x="442" y="45"/>
                    </a:cubicBezTo>
                    <a:cubicBezTo>
                      <a:pt x="440" y="43"/>
                      <a:pt x="438" y="42"/>
                      <a:pt x="436" y="41"/>
                    </a:cubicBezTo>
                    <a:cubicBezTo>
                      <a:pt x="436" y="40"/>
                      <a:pt x="435" y="40"/>
                      <a:pt x="435" y="39"/>
                    </a:cubicBezTo>
                    <a:cubicBezTo>
                      <a:pt x="433" y="39"/>
                      <a:pt x="431" y="39"/>
                      <a:pt x="429" y="39"/>
                    </a:cubicBezTo>
                    <a:cubicBezTo>
                      <a:pt x="429" y="39"/>
                      <a:pt x="429" y="39"/>
                      <a:pt x="429" y="39"/>
                    </a:cubicBezTo>
                    <a:cubicBezTo>
                      <a:pt x="428" y="39"/>
                      <a:pt x="428" y="39"/>
                      <a:pt x="428" y="39"/>
                    </a:cubicBezTo>
                    <a:cubicBezTo>
                      <a:pt x="426" y="39"/>
                      <a:pt x="425" y="39"/>
                      <a:pt x="424" y="38"/>
                    </a:cubicBezTo>
                    <a:cubicBezTo>
                      <a:pt x="423" y="38"/>
                      <a:pt x="422" y="37"/>
                      <a:pt x="422" y="36"/>
                    </a:cubicBezTo>
                    <a:cubicBezTo>
                      <a:pt x="422" y="36"/>
                      <a:pt x="422" y="36"/>
                      <a:pt x="422" y="36"/>
                    </a:cubicBezTo>
                    <a:cubicBezTo>
                      <a:pt x="422" y="35"/>
                      <a:pt x="422" y="35"/>
                      <a:pt x="422" y="35"/>
                    </a:cubicBezTo>
                    <a:cubicBezTo>
                      <a:pt x="421" y="34"/>
                      <a:pt x="420" y="34"/>
                      <a:pt x="419" y="33"/>
                    </a:cubicBezTo>
                    <a:cubicBezTo>
                      <a:pt x="417" y="31"/>
                      <a:pt x="417" y="31"/>
                      <a:pt x="417" y="31"/>
                    </a:cubicBezTo>
                    <a:cubicBezTo>
                      <a:pt x="414" y="28"/>
                      <a:pt x="417" y="25"/>
                      <a:pt x="418" y="23"/>
                    </a:cubicBezTo>
                    <a:cubicBezTo>
                      <a:pt x="418" y="22"/>
                      <a:pt x="418" y="22"/>
                      <a:pt x="418" y="21"/>
                    </a:cubicBezTo>
                    <a:cubicBezTo>
                      <a:pt x="419" y="21"/>
                      <a:pt x="418" y="20"/>
                      <a:pt x="418" y="18"/>
                    </a:cubicBezTo>
                    <a:cubicBezTo>
                      <a:pt x="418" y="18"/>
                      <a:pt x="418" y="16"/>
                      <a:pt x="417" y="15"/>
                    </a:cubicBezTo>
                    <a:cubicBezTo>
                      <a:pt x="415" y="12"/>
                      <a:pt x="413" y="11"/>
                      <a:pt x="412" y="10"/>
                    </a:cubicBezTo>
                    <a:cubicBezTo>
                      <a:pt x="411" y="9"/>
                      <a:pt x="410" y="9"/>
                      <a:pt x="409" y="9"/>
                    </a:cubicBezTo>
                    <a:cubicBezTo>
                      <a:pt x="407" y="8"/>
                      <a:pt x="406" y="7"/>
                      <a:pt x="405" y="6"/>
                    </a:cubicBezTo>
                    <a:cubicBezTo>
                      <a:pt x="403" y="5"/>
                      <a:pt x="402" y="4"/>
                      <a:pt x="400" y="3"/>
                    </a:cubicBezTo>
                    <a:cubicBezTo>
                      <a:pt x="398" y="2"/>
                      <a:pt x="396" y="2"/>
                      <a:pt x="394" y="2"/>
                    </a:cubicBezTo>
                    <a:cubicBezTo>
                      <a:pt x="393" y="2"/>
                      <a:pt x="393" y="2"/>
                      <a:pt x="393" y="2"/>
                    </a:cubicBezTo>
                    <a:cubicBezTo>
                      <a:pt x="392" y="2"/>
                      <a:pt x="391" y="2"/>
                      <a:pt x="390" y="2"/>
                    </a:cubicBezTo>
                    <a:cubicBezTo>
                      <a:pt x="390" y="2"/>
                      <a:pt x="390" y="2"/>
                      <a:pt x="389" y="2"/>
                    </a:cubicBezTo>
                    <a:cubicBezTo>
                      <a:pt x="387" y="2"/>
                      <a:pt x="386" y="1"/>
                      <a:pt x="385" y="0"/>
                    </a:cubicBezTo>
                    <a:cubicBezTo>
                      <a:pt x="384" y="0"/>
                      <a:pt x="384" y="0"/>
                      <a:pt x="384" y="0"/>
                    </a:cubicBezTo>
                    <a:cubicBezTo>
                      <a:pt x="384" y="0"/>
                      <a:pt x="384" y="0"/>
                      <a:pt x="384" y="0"/>
                    </a:cubicBezTo>
                    <a:cubicBezTo>
                      <a:pt x="384" y="0"/>
                      <a:pt x="383" y="0"/>
                      <a:pt x="38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2" name="Freeform 340">
                <a:extLst>
                  <a:ext uri="{FF2B5EF4-FFF2-40B4-BE49-F238E27FC236}">
                    <a16:creationId xmlns:a16="http://schemas.microsoft.com/office/drawing/2014/main" id="{DF25D8EE-61B2-43A8-8E15-24BB376B1225}"/>
                  </a:ext>
                </a:extLst>
              </p:cNvPr>
              <p:cNvSpPr>
                <a:spLocks/>
              </p:cNvSpPr>
              <p:nvPr/>
            </p:nvSpPr>
            <p:spPr bwMode="auto">
              <a:xfrm>
                <a:off x="10918998" y="5387640"/>
                <a:ext cx="154775" cy="44221"/>
              </a:xfrm>
              <a:custGeom>
                <a:avLst/>
                <a:gdLst>
                  <a:gd name="T0" fmla="*/ 19 w 49"/>
                  <a:gd name="T1" fmla="*/ 0 h 14"/>
                  <a:gd name="T2" fmla="*/ 16 w 49"/>
                  <a:gd name="T3" fmla="*/ 1 h 14"/>
                  <a:gd name="T4" fmla="*/ 14 w 49"/>
                  <a:gd name="T5" fmla="*/ 2 h 14"/>
                  <a:gd name="T6" fmla="*/ 2 w 49"/>
                  <a:gd name="T7" fmla="*/ 12 h 14"/>
                  <a:gd name="T8" fmla="*/ 0 w 49"/>
                  <a:gd name="T9" fmla="*/ 14 h 14"/>
                  <a:gd name="T10" fmla="*/ 1 w 49"/>
                  <a:gd name="T11" fmla="*/ 14 h 14"/>
                  <a:gd name="T12" fmla="*/ 7 w 49"/>
                  <a:gd name="T13" fmla="*/ 13 h 14"/>
                  <a:gd name="T14" fmla="*/ 19 w 49"/>
                  <a:gd name="T15" fmla="*/ 12 h 14"/>
                  <a:gd name="T16" fmla="*/ 21 w 49"/>
                  <a:gd name="T17" fmla="*/ 12 h 14"/>
                  <a:gd name="T18" fmla="*/ 26 w 49"/>
                  <a:gd name="T19" fmla="*/ 12 h 14"/>
                  <a:gd name="T20" fmla="*/ 27 w 49"/>
                  <a:gd name="T21" fmla="*/ 12 h 14"/>
                  <a:gd name="T22" fmla="*/ 29 w 49"/>
                  <a:gd name="T23" fmla="*/ 12 h 14"/>
                  <a:gd name="T24" fmla="*/ 31 w 49"/>
                  <a:gd name="T25" fmla="*/ 13 h 14"/>
                  <a:gd name="T26" fmla="*/ 32 w 49"/>
                  <a:gd name="T27" fmla="*/ 13 h 14"/>
                  <a:gd name="T28" fmla="*/ 34 w 49"/>
                  <a:gd name="T29" fmla="*/ 13 h 14"/>
                  <a:gd name="T30" fmla="*/ 38 w 49"/>
                  <a:gd name="T31" fmla="*/ 14 h 14"/>
                  <a:gd name="T32" fmla="*/ 38 w 49"/>
                  <a:gd name="T33" fmla="*/ 14 h 14"/>
                  <a:gd name="T34" fmla="*/ 39 w 49"/>
                  <a:gd name="T35" fmla="*/ 14 h 14"/>
                  <a:gd name="T36" fmla="*/ 46 w 49"/>
                  <a:gd name="T37" fmla="*/ 10 h 14"/>
                  <a:gd name="T38" fmla="*/ 44 w 49"/>
                  <a:gd name="T39" fmla="*/ 7 h 14"/>
                  <a:gd name="T40" fmla="*/ 46 w 49"/>
                  <a:gd name="T41" fmla="*/ 3 h 14"/>
                  <a:gd name="T42" fmla="*/ 49 w 49"/>
                  <a:gd name="T43" fmla="*/ 2 h 14"/>
                  <a:gd name="T44" fmla="*/ 49 w 49"/>
                  <a:gd name="T45" fmla="*/ 2 h 14"/>
                  <a:gd name="T46" fmla="*/ 47 w 49"/>
                  <a:gd name="T47" fmla="*/ 2 h 14"/>
                  <a:gd name="T48" fmla="*/ 46 w 49"/>
                  <a:gd name="T49" fmla="*/ 2 h 14"/>
                  <a:gd name="T50" fmla="*/ 45 w 49"/>
                  <a:gd name="T51" fmla="*/ 2 h 14"/>
                  <a:gd name="T52" fmla="*/ 44 w 49"/>
                  <a:gd name="T53" fmla="*/ 4 h 14"/>
                  <a:gd name="T54" fmla="*/ 43 w 49"/>
                  <a:gd name="T55" fmla="*/ 4 h 14"/>
                  <a:gd name="T56" fmla="*/ 42 w 49"/>
                  <a:gd name="T57" fmla="*/ 4 h 14"/>
                  <a:gd name="T58" fmla="*/ 41 w 49"/>
                  <a:gd name="T59" fmla="*/ 4 h 14"/>
                  <a:gd name="T60" fmla="*/ 35 w 49"/>
                  <a:gd name="T61" fmla="*/ 6 h 14"/>
                  <a:gd name="T62" fmla="*/ 32 w 49"/>
                  <a:gd name="T63" fmla="*/ 7 h 14"/>
                  <a:gd name="T64" fmla="*/ 28 w 49"/>
                  <a:gd name="T65" fmla="*/ 8 h 14"/>
                  <a:gd name="T66" fmla="*/ 26 w 49"/>
                  <a:gd name="T67" fmla="*/ 8 h 14"/>
                  <a:gd name="T68" fmla="*/ 25 w 49"/>
                  <a:gd name="T69" fmla="*/ 7 h 14"/>
                  <a:gd name="T70" fmla="*/ 24 w 49"/>
                  <a:gd name="T71" fmla="*/ 7 h 14"/>
                  <a:gd name="T72" fmla="*/ 22 w 49"/>
                  <a:gd name="T73" fmla="*/ 3 h 14"/>
                  <a:gd name="T74" fmla="*/ 23 w 49"/>
                  <a:gd name="T75" fmla="*/ 1 h 14"/>
                  <a:gd name="T76" fmla="*/ 19 w 49"/>
                  <a:gd name="T7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 h="14">
                    <a:moveTo>
                      <a:pt x="19" y="0"/>
                    </a:moveTo>
                    <a:cubicBezTo>
                      <a:pt x="18" y="0"/>
                      <a:pt x="17" y="1"/>
                      <a:pt x="16" y="1"/>
                    </a:cubicBezTo>
                    <a:cubicBezTo>
                      <a:pt x="16" y="1"/>
                      <a:pt x="15" y="1"/>
                      <a:pt x="14" y="2"/>
                    </a:cubicBezTo>
                    <a:cubicBezTo>
                      <a:pt x="10" y="4"/>
                      <a:pt x="6" y="8"/>
                      <a:pt x="2" y="12"/>
                    </a:cubicBezTo>
                    <a:cubicBezTo>
                      <a:pt x="2" y="13"/>
                      <a:pt x="1" y="13"/>
                      <a:pt x="0" y="14"/>
                    </a:cubicBezTo>
                    <a:cubicBezTo>
                      <a:pt x="0" y="14"/>
                      <a:pt x="1" y="14"/>
                      <a:pt x="1" y="14"/>
                    </a:cubicBezTo>
                    <a:cubicBezTo>
                      <a:pt x="7" y="13"/>
                      <a:pt x="7" y="13"/>
                      <a:pt x="7" y="13"/>
                    </a:cubicBezTo>
                    <a:cubicBezTo>
                      <a:pt x="11" y="13"/>
                      <a:pt x="15" y="13"/>
                      <a:pt x="19" y="12"/>
                    </a:cubicBezTo>
                    <a:cubicBezTo>
                      <a:pt x="21" y="12"/>
                      <a:pt x="21" y="12"/>
                      <a:pt x="21" y="12"/>
                    </a:cubicBezTo>
                    <a:cubicBezTo>
                      <a:pt x="23" y="12"/>
                      <a:pt x="25" y="12"/>
                      <a:pt x="26" y="12"/>
                    </a:cubicBezTo>
                    <a:cubicBezTo>
                      <a:pt x="27" y="12"/>
                      <a:pt x="27" y="12"/>
                      <a:pt x="27" y="12"/>
                    </a:cubicBezTo>
                    <a:cubicBezTo>
                      <a:pt x="28" y="12"/>
                      <a:pt x="28" y="12"/>
                      <a:pt x="29" y="12"/>
                    </a:cubicBezTo>
                    <a:cubicBezTo>
                      <a:pt x="30" y="12"/>
                      <a:pt x="31" y="12"/>
                      <a:pt x="31" y="13"/>
                    </a:cubicBezTo>
                    <a:cubicBezTo>
                      <a:pt x="32" y="13"/>
                      <a:pt x="32" y="13"/>
                      <a:pt x="32" y="13"/>
                    </a:cubicBezTo>
                    <a:cubicBezTo>
                      <a:pt x="34" y="13"/>
                      <a:pt x="34" y="13"/>
                      <a:pt x="34" y="13"/>
                    </a:cubicBezTo>
                    <a:cubicBezTo>
                      <a:pt x="35" y="14"/>
                      <a:pt x="36" y="14"/>
                      <a:pt x="38" y="14"/>
                    </a:cubicBezTo>
                    <a:cubicBezTo>
                      <a:pt x="38" y="14"/>
                      <a:pt x="38" y="14"/>
                      <a:pt x="38" y="14"/>
                    </a:cubicBezTo>
                    <a:cubicBezTo>
                      <a:pt x="39" y="14"/>
                      <a:pt x="39" y="14"/>
                      <a:pt x="39" y="14"/>
                    </a:cubicBezTo>
                    <a:cubicBezTo>
                      <a:pt x="41" y="13"/>
                      <a:pt x="44" y="12"/>
                      <a:pt x="46" y="10"/>
                    </a:cubicBezTo>
                    <a:cubicBezTo>
                      <a:pt x="45" y="10"/>
                      <a:pt x="44" y="9"/>
                      <a:pt x="44" y="7"/>
                    </a:cubicBezTo>
                    <a:cubicBezTo>
                      <a:pt x="44" y="6"/>
                      <a:pt x="45" y="4"/>
                      <a:pt x="46" y="3"/>
                    </a:cubicBezTo>
                    <a:cubicBezTo>
                      <a:pt x="47" y="3"/>
                      <a:pt x="48" y="3"/>
                      <a:pt x="49" y="2"/>
                    </a:cubicBezTo>
                    <a:cubicBezTo>
                      <a:pt x="49" y="2"/>
                      <a:pt x="49" y="2"/>
                      <a:pt x="49" y="2"/>
                    </a:cubicBezTo>
                    <a:cubicBezTo>
                      <a:pt x="48" y="2"/>
                      <a:pt x="48" y="2"/>
                      <a:pt x="47" y="2"/>
                    </a:cubicBezTo>
                    <a:cubicBezTo>
                      <a:pt x="47" y="2"/>
                      <a:pt x="46" y="2"/>
                      <a:pt x="46" y="2"/>
                    </a:cubicBezTo>
                    <a:cubicBezTo>
                      <a:pt x="45" y="2"/>
                      <a:pt x="45" y="2"/>
                      <a:pt x="45" y="2"/>
                    </a:cubicBezTo>
                    <a:cubicBezTo>
                      <a:pt x="45" y="3"/>
                      <a:pt x="44" y="3"/>
                      <a:pt x="44" y="4"/>
                    </a:cubicBezTo>
                    <a:cubicBezTo>
                      <a:pt x="43" y="4"/>
                      <a:pt x="43" y="4"/>
                      <a:pt x="43" y="4"/>
                    </a:cubicBezTo>
                    <a:cubicBezTo>
                      <a:pt x="42" y="4"/>
                      <a:pt x="42" y="4"/>
                      <a:pt x="42" y="4"/>
                    </a:cubicBezTo>
                    <a:cubicBezTo>
                      <a:pt x="41" y="4"/>
                      <a:pt x="41" y="4"/>
                      <a:pt x="41" y="4"/>
                    </a:cubicBezTo>
                    <a:cubicBezTo>
                      <a:pt x="40" y="5"/>
                      <a:pt x="38" y="6"/>
                      <a:pt x="35" y="6"/>
                    </a:cubicBezTo>
                    <a:cubicBezTo>
                      <a:pt x="34" y="7"/>
                      <a:pt x="33" y="7"/>
                      <a:pt x="32" y="7"/>
                    </a:cubicBezTo>
                    <a:cubicBezTo>
                      <a:pt x="30" y="8"/>
                      <a:pt x="29" y="8"/>
                      <a:pt x="28" y="8"/>
                    </a:cubicBezTo>
                    <a:cubicBezTo>
                      <a:pt x="27" y="8"/>
                      <a:pt x="26" y="8"/>
                      <a:pt x="26" y="8"/>
                    </a:cubicBezTo>
                    <a:cubicBezTo>
                      <a:pt x="25" y="7"/>
                      <a:pt x="25" y="7"/>
                      <a:pt x="25" y="7"/>
                    </a:cubicBezTo>
                    <a:cubicBezTo>
                      <a:pt x="24" y="7"/>
                      <a:pt x="24" y="7"/>
                      <a:pt x="24" y="7"/>
                    </a:cubicBezTo>
                    <a:cubicBezTo>
                      <a:pt x="22" y="5"/>
                      <a:pt x="22" y="4"/>
                      <a:pt x="22" y="3"/>
                    </a:cubicBezTo>
                    <a:cubicBezTo>
                      <a:pt x="22" y="2"/>
                      <a:pt x="22" y="2"/>
                      <a:pt x="23" y="1"/>
                    </a:cubicBezTo>
                    <a:cubicBezTo>
                      <a:pt x="21" y="1"/>
                      <a:pt x="20"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3" name="Freeform 341">
                <a:extLst>
                  <a:ext uri="{FF2B5EF4-FFF2-40B4-BE49-F238E27FC236}">
                    <a16:creationId xmlns:a16="http://schemas.microsoft.com/office/drawing/2014/main" id="{9DACF0E1-00B6-4C03-896F-EC21E20BD73A}"/>
                  </a:ext>
                </a:extLst>
              </p:cNvPr>
              <p:cNvSpPr>
                <a:spLocks/>
              </p:cNvSpPr>
              <p:nvPr/>
            </p:nvSpPr>
            <p:spPr bwMode="auto">
              <a:xfrm>
                <a:off x="9824518" y="5284457"/>
                <a:ext cx="1050258" cy="899168"/>
              </a:xfrm>
              <a:custGeom>
                <a:avLst/>
                <a:gdLst>
                  <a:gd name="T0" fmla="*/ 279 w 331"/>
                  <a:gd name="T1" fmla="*/ 14 h 283"/>
                  <a:gd name="T2" fmla="*/ 276 w 331"/>
                  <a:gd name="T3" fmla="*/ 27 h 283"/>
                  <a:gd name="T4" fmla="*/ 269 w 331"/>
                  <a:gd name="T5" fmla="*/ 31 h 283"/>
                  <a:gd name="T6" fmla="*/ 255 w 331"/>
                  <a:gd name="T7" fmla="*/ 33 h 283"/>
                  <a:gd name="T8" fmla="*/ 251 w 331"/>
                  <a:gd name="T9" fmla="*/ 43 h 283"/>
                  <a:gd name="T10" fmla="*/ 236 w 331"/>
                  <a:gd name="T11" fmla="*/ 38 h 283"/>
                  <a:gd name="T12" fmla="*/ 223 w 331"/>
                  <a:gd name="T13" fmla="*/ 44 h 283"/>
                  <a:gd name="T14" fmla="*/ 211 w 331"/>
                  <a:gd name="T15" fmla="*/ 50 h 283"/>
                  <a:gd name="T16" fmla="*/ 200 w 331"/>
                  <a:gd name="T17" fmla="*/ 42 h 283"/>
                  <a:gd name="T18" fmla="*/ 190 w 331"/>
                  <a:gd name="T19" fmla="*/ 42 h 283"/>
                  <a:gd name="T20" fmla="*/ 172 w 331"/>
                  <a:gd name="T21" fmla="*/ 37 h 283"/>
                  <a:gd name="T22" fmla="*/ 166 w 331"/>
                  <a:gd name="T23" fmla="*/ 37 h 283"/>
                  <a:gd name="T24" fmla="*/ 152 w 331"/>
                  <a:gd name="T25" fmla="*/ 34 h 283"/>
                  <a:gd name="T26" fmla="*/ 134 w 331"/>
                  <a:gd name="T27" fmla="*/ 41 h 283"/>
                  <a:gd name="T28" fmla="*/ 112 w 331"/>
                  <a:gd name="T29" fmla="*/ 70 h 283"/>
                  <a:gd name="T30" fmla="*/ 77 w 331"/>
                  <a:gd name="T31" fmla="*/ 86 h 283"/>
                  <a:gd name="T32" fmla="*/ 66 w 331"/>
                  <a:gd name="T33" fmla="*/ 102 h 283"/>
                  <a:gd name="T34" fmla="*/ 49 w 331"/>
                  <a:gd name="T35" fmla="*/ 108 h 283"/>
                  <a:gd name="T36" fmla="*/ 39 w 331"/>
                  <a:gd name="T37" fmla="*/ 101 h 283"/>
                  <a:gd name="T38" fmla="*/ 25 w 331"/>
                  <a:gd name="T39" fmla="*/ 96 h 283"/>
                  <a:gd name="T40" fmla="*/ 16 w 331"/>
                  <a:gd name="T41" fmla="*/ 114 h 283"/>
                  <a:gd name="T42" fmla="*/ 12 w 331"/>
                  <a:gd name="T43" fmla="*/ 130 h 283"/>
                  <a:gd name="T44" fmla="*/ 3 w 331"/>
                  <a:gd name="T45" fmla="*/ 153 h 283"/>
                  <a:gd name="T46" fmla="*/ 12 w 331"/>
                  <a:gd name="T47" fmla="*/ 160 h 283"/>
                  <a:gd name="T48" fmla="*/ 9 w 331"/>
                  <a:gd name="T49" fmla="*/ 193 h 283"/>
                  <a:gd name="T50" fmla="*/ 9 w 331"/>
                  <a:gd name="T51" fmla="*/ 211 h 283"/>
                  <a:gd name="T52" fmla="*/ 11 w 331"/>
                  <a:gd name="T53" fmla="*/ 218 h 283"/>
                  <a:gd name="T54" fmla="*/ 35 w 331"/>
                  <a:gd name="T55" fmla="*/ 244 h 283"/>
                  <a:gd name="T56" fmla="*/ 57 w 331"/>
                  <a:gd name="T57" fmla="*/ 283 h 283"/>
                  <a:gd name="T58" fmla="*/ 71 w 331"/>
                  <a:gd name="T59" fmla="*/ 281 h 283"/>
                  <a:gd name="T60" fmla="*/ 88 w 331"/>
                  <a:gd name="T61" fmla="*/ 281 h 283"/>
                  <a:gd name="T62" fmla="*/ 98 w 331"/>
                  <a:gd name="T63" fmla="*/ 283 h 283"/>
                  <a:gd name="T64" fmla="*/ 136 w 331"/>
                  <a:gd name="T65" fmla="*/ 275 h 283"/>
                  <a:gd name="T66" fmla="*/ 158 w 331"/>
                  <a:gd name="T67" fmla="*/ 269 h 283"/>
                  <a:gd name="T68" fmla="*/ 160 w 331"/>
                  <a:gd name="T69" fmla="*/ 241 h 283"/>
                  <a:gd name="T70" fmla="*/ 173 w 331"/>
                  <a:gd name="T71" fmla="*/ 227 h 283"/>
                  <a:gd name="T72" fmla="*/ 181 w 331"/>
                  <a:gd name="T73" fmla="*/ 224 h 283"/>
                  <a:gd name="T74" fmla="*/ 191 w 331"/>
                  <a:gd name="T75" fmla="*/ 226 h 283"/>
                  <a:gd name="T76" fmla="*/ 207 w 331"/>
                  <a:gd name="T77" fmla="*/ 213 h 283"/>
                  <a:gd name="T78" fmla="*/ 218 w 331"/>
                  <a:gd name="T79" fmla="*/ 208 h 283"/>
                  <a:gd name="T80" fmla="*/ 229 w 331"/>
                  <a:gd name="T81" fmla="*/ 209 h 283"/>
                  <a:gd name="T82" fmla="*/ 237 w 331"/>
                  <a:gd name="T83" fmla="*/ 211 h 283"/>
                  <a:gd name="T84" fmla="*/ 243 w 331"/>
                  <a:gd name="T85" fmla="*/ 188 h 283"/>
                  <a:gd name="T86" fmla="*/ 248 w 331"/>
                  <a:gd name="T87" fmla="*/ 179 h 283"/>
                  <a:gd name="T88" fmla="*/ 259 w 331"/>
                  <a:gd name="T89" fmla="*/ 168 h 283"/>
                  <a:gd name="T90" fmla="*/ 265 w 331"/>
                  <a:gd name="T91" fmla="*/ 153 h 283"/>
                  <a:gd name="T92" fmla="*/ 262 w 331"/>
                  <a:gd name="T93" fmla="*/ 138 h 283"/>
                  <a:gd name="T94" fmla="*/ 283 w 331"/>
                  <a:gd name="T95" fmla="*/ 140 h 283"/>
                  <a:gd name="T96" fmla="*/ 295 w 331"/>
                  <a:gd name="T97" fmla="*/ 133 h 283"/>
                  <a:gd name="T98" fmla="*/ 302 w 331"/>
                  <a:gd name="T99" fmla="*/ 111 h 283"/>
                  <a:gd name="T100" fmla="*/ 308 w 331"/>
                  <a:gd name="T101" fmla="*/ 101 h 283"/>
                  <a:gd name="T102" fmla="*/ 306 w 331"/>
                  <a:gd name="T103" fmla="*/ 89 h 283"/>
                  <a:gd name="T104" fmla="*/ 299 w 331"/>
                  <a:gd name="T105" fmla="*/ 79 h 283"/>
                  <a:gd name="T106" fmla="*/ 314 w 331"/>
                  <a:gd name="T107" fmla="*/ 59 h 283"/>
                  <a:gd name="T108" fmla="*/ 331 w 331"/>
                  <a:gd name="T109" fmla="*/ 52 h 283"/>
                  <a:gd name="T110" fmla="*/ 312 w 331"/>
                  <a:gd name="T111" fmla="*/ 58 h 283"/>
                  <a:gd name="T112" fmla="*/ 305 w 331"/>
                  <a:gd name="T113" fmla="*/ 37 h 283"/>
                  <a:gd name="T114" fmla="*/ 302 w 331"/>
                  <a:gd name="T115" fmla="*/ 16 h 283"/>
                  <a:gd name="T116" fmla="*/ 299 w 331"/>
                  <a:gd name="T117" fmla="*/ 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1" h="283">
                    <a:moveTo>
                      <a:pt x="294" y="0"/>
                    </a:moveTo>
                    <a:cubicBezTo>
                      <a:pt x="294" y="0"/>
                      <a:pt x="294" y="0"/>
                      <a:pt x="294" y="0"/>
                    </a:cubicBezTo>
                    <a:cubicBezTo>
                      <a:pt x="292" y="1"/>
                      <a:pt x="291" y="1"/>
                      <a:pt x="290" y="1"/>
                    </a:cubicBezTo>
                    <a:cubicBezTo>
                      <a:pt x="288" y="3"/>
                      <a:pt x="286" y="6"/>
                      <a:pt x="284" y="8"/>
                    </a:cubicBezTo>
                    <a:cubicBezTo>
                      <a:pt x="283" y="9"/>
                      <a:pt x="281" y="11"/>
                      <a:pt x="280" y="13"/>
                    </a:cubicBezTo>
                    <a:cubicBezTo>
                      <a:pt x="279" y="14"/>
                      <a:pt x="279" y="14"/>
                      <a:pt x="279" y="14"/>
                    </a:cubicBezTo>
                    <a:cubicBezTo>
                      <a:pt x="277" y="14"/>
                      <a:pt x="276" y="15"/>
                      <a:pt x="275" y="16"/>
                    </a:cubicBezTo>
                    <a:cubicBezTo>
                      <a:pt x="275" y="16"/>
                      <a:pt x="275" y="16"/>
                      <a:pt x="275" y="16"/>
                    </a:cubicBezTo>
                    <a:cubicBezTo>
                      <a:pt x="275" y="17"/>
                      <a:pt x="275" y="17"/>
                      <a:pt x="275" y="17"/>
                    </a:cubicBezTo>
                    <a:cubicBezTo>
                      <a:pt x="276" y="18"/>
                      <a:pt x="277" y="19"/>
                      <a:pt x="278" y="20"/>
                    </a:cubicBezTo>
                    <a:cubicBezTo>
                      <a:pt x="278" y="21"/>
                      <a:pt x="278" y="22"/>
                      <a:pt x="278" y="23"/>
                    </a:cubicBezTo>
                    <a:cubicBezTo>
                      <a:pt x="278" y="24"/>
                      <a:pt x="277" y="25"/>
                      <a:pt x="276" y="27"/>
                    </a:cubicBezTo>
                    <a:cubicBezTo>
                      <a:pt x="276" y="28"/>
                      <a:pt x="275" y="29"/>
                      <a:pt x="273" y="30"/>
                    </a:cubicBezTo>
                    <a:cubicBezTo>
                      <a:pt x="273" y="30"/>
                      <a:pt x="273" y="30"/>
                      <a:pt x="273" y="30"/>
                    </a:cubicBezTo>
                    <a:cubicBezTo>
                      <a:pt x="274" y="36"/>
                      <a:pt x="274" y="36"/>
                      <a:pt x="274" y="36"/>
                    </a:cubicBezTo>
                    <a:cubicBezTo>
                      <a:pt x="271" y="30"/>
                      <a:pt x="271" y="30"/>
                      <a:pt x="271" y="30"/>
                    </a:cubicBezTo>
                    <a:cubicBezTo>
                      <a:pt x="271" y="30"/>
                      <a:pt x="271" y="30"/>
                      <a:pt x="271" y="30"/>
                    </a:cubicBezTo>
                    <a:cubicBezTo>
                      <a:pt x="271" y="31"/>
                      <a:pt x="270" y="31"/>
                      <a:pt x="269" y="31"/>
                    </a:cubicBezTo>
                    <a:cubicBezTo>
                      <a:pt x="269" y="31"/>
                      <a:pt x="269" y="31"/>
                      <a:pt x="269" y="31"/>
                    </a:cubicBezTo>
                    <a:cubicBezTo>
                      <a:pt x="267" y="31"/>
                      <a:pt x="265" y="30"/>
                      <a:pt x="264" y="30"/>
                    </a:cubicBezTo>
                    <a:cubicBezTo>
                      <a:pt x="263" y="30"/>
                      <a:pt x="262" y="30"/>
                      <a:pt x="262" y="30"/>
                    </a:cubicBezTo>
                    <a:cubicBezTo>
                      <a:pt x="261" y="29"/>
                      <a:pt x="257" y="29"/>
                      <a:pt x="256" y="29"/>
                    </a:cubicBezTo>
                    <a:cubicBezTo>
                      <a:pt x="256" y="29"/>
                      <a:pt x="256" y="29"/>
                      <a:pt x="256" y="29"/>
                    </a:cubicBezTo>
                    <a:cubicBezTo>
                      <a:pt x="255" y="30"/>
                      <a:pt x="255" y="31"/>
                      <a:pt x="255" y="33"/>
                    </a:cubicBezTo>
                    <a:cubicBezTo>
                      <a:pt x="254" y="35"/>
                      <a:pt x="254" y="35"/>
                      <a:pt x="254" y="35"/>
                    </a:cubicBezTo>
                    <a:cubicBezTo>
                      <a:pt x="254" y="36"/>
                      <a:pt x="254" y="37"/>
                      <a:pt x="254" y="37"/>
                    </a:cubicBezTo>
                    <a:cubicBezTo>
                      <a:pt x="254" y="38"/>
                      <a:pt x="253" y="38"/>
                      <a:pt x="253" y="39"/>
                    </a:cubicBezTo>
                    <a:cubicBezTo>
                      <a:pt x="253" y="40"/>
                      <a:pt x="252" y="41"/>
                      <a:pt x="252" y="42"/>
                    </a:cubicBezTo>
                    <a:cubicBezTo>
                      <a:pt x="257" y="46"/>
                      <a:pt x="257" y="46"/>
                      <a:pt x="257" y="46"/>
                    </a:cubicBezTo>
                    <a:cubicBezTo>
                      <a:pt x="251" y="43"/>
                      <a:pt x="251" y="43"/>
                      <a:pt x="251" y="43"/>
                    </a:cubicBezTo>
                    <a:cubicBezTo>
                      <a:pt x="250" y="44"/>
                      <a:pt x="249" y="44"/>
                      <a:pt x="248" y="45"/>
                    </a:cubicBezTo>
                    <a:cubicBezTo>
                      <a:pt x="247" y="45"/>
                      <a:pt x="247" y="45"/>
                      <a:pt x="246" y="45"/>
                    </a:cubicBezTo>
                    <a:cubicBezTo>
                      <a:pt x="246" y="45"/>
                      <a:pt x="245" y="45"/>
                      <a:pt x="244" y="45"/>
                    </a:cubicBezTo>
                    <a:cubicBezTo>
                      <a:pt x="242" y="44"/>
                      <a:pt x="241" y="42"/>
                      <a:pt x="240" y="41"/>
                    </a:cubicBezTo>
                    <a:cubicBezTo>
                      <a:pt x="236" y="39"/>
                      <a:pt x="236" y="39"/>
                      <a:pt x="236" y="39"/>
                    </a:cubicBezTo>
                    <a:cubicBezTo>
                      <a:pt x="236" y="38"/>
                      <a:pt x="236" y="38"/>
                      <a:pt x="236" y="38"/>
                    </a:cubicBezTo>
                    <a:cubicBezTo>
                      <a:pt x="236" y="38"/>
                      <a:pt x="236" y="38"/>
                      <a:pt x="235" y="38"/>
                    </a:cubicBezTo>
                    <a:cubicBezTo>
                      <a:pt x="235" y="39"/>
                      <a:pt x="234" y="39"/>
                      <a:pt x="234" y="39"/>
                    </a:cubicBezTo>
                    <a:cubicBezTo>
                      <a:pt x="233" y="39"/>
                      <a:pt x="233" y="39"/>
                      <a:pt x="233" y="39"/>
                    </a:cubicBezTo>
                    <a:cubicBezTo>
                      <a:pt x="233" y="40"/>
                      <a:pt x="232" y="40"/>
                      <a:pt x="231" y="40"/>
                    </a:cubicBezTo>
                    <a:cubicBezTo>
                      <a:pt x="228" y="42"/>
                      <a:pt x="226" y="42"/>
                      <a:pt x="223" y="43"/>
                    </a:cubicBezTo>
                    <a:cubicBezTo>
                      <a:pt x="223" y="44"/>
                      <a:pt x="223" y="44"/>
                      <a:pt x="223" y="44"/>
                    </a:cubicBezTo>
                    <a:cubicBezTo>
                      <a:pt x="222" y="44"/>
                      <a:pt x="221" y="44"/>
                      <a:pt x="221" y="44"/>
                    </a:cubicBezTo>
                    <a:cubicBezTo>
                      <a:pt x="219" y="46"/>
                      <a:pt x="218" y="46"/>
                      <a:pt x="217" y="47"/>
                    </a:cubicBezTo>
                    <a:cubicBezTo>
                      <a:pt x="216" y="48"/>
                      <a:pt x="216" y="48"/>
                      <a:pt x="216" y="48"/>
                    </a:cubicBezTo>
                    <a:cubicBezTo>
                      <a:pt x="217" y="49"/>
                      <a:pt x="217" y="49"/>
                      <a:pt x="217" y="49"/>
                    </a:cubicBezTo>
                    <a:cubicBezTo>
                      <a:pt x="216" y="48"/>
                      <a:pt x="216" y="48"/>
                      <a:pt x="216" y="48"/>
                    </a:cubicBezTo>
                    <a:cubicBezTo>
                      <a:pt x="214" y="49"/>
                      <a:pt x="213" y="50"/>
                      <a:pt x="211" y="50"/>
                    </a:cubicBezTo>
                    <a:cubicBezTo>
                      <a:pt x="210" y="50"/>
                      <a:pt x="210" y="50"/>
                      <a:pt x="210" y="50"/>
                    </a:cubicBezTo>
                    <a:cubicBezTo>
                      <a:pt x="209" y="50"/>
                      <a:pt x="208" y="49"/>
                      <a:pt x="206" y="48"/>
                    </a:cubicBezTo>
                    <a:cubicBezTo>
                      <a:pt x="202" y="45"/>
                      <a:pt x="202" y="45"/>
                      <a:pt x="202" y="45"/>
                    </a:cubicBezTo>
                    <a:cubicBezTo>
                      <a:pt x="201" y="45"/>
                      <a:pt x="201" y="44"/>
                      <a:pt x="201" y="43"/>
                    </a:cubicBezTo>
                    <a:cubicBezTo>
                      <a:pt x="201" y="42"/>
                      <a:pt x="201" y="42"/>
                      <a:pt x="201" y="42"/>
                    </a:cubicBezTo>
                    <a:cubicBezTo>
                      <a:pt x="200" y="42"/>
                      <a:pt x="200" y="42"/>
                      <a:pt x="200" y="42"/>
                    </a:cubicBezTo>
                    <a:cubicBezTo>
                      <a:pt x="200" y="42"/>
                      <a:pt x="200" y="42"/>
                      <a:pt x="200" y="42"/>
                    </a:cubicBezTo>
                    <a:cubicBezTo>
                      <a:pt x="199" y="42"/>
                      <a:pt x="198" y="42"/>
                      <a:pt x="197" y="42"/>
                    </a:cubicBezTo>
                    <a:cubicBezTo>
                      <a:pt x="196" y="42"/>
                      <a:pt x="195" y="43"/>
                      <a:pt x="194" y="43"/>
                    </a:cubicBezTo>
                    <a:cubicBezTo>
                      <a:pt x="194" y="43"/>
                      <a:pt x="194" y="43"/>
                      <a:pt x="194" y="43"/>
                    </a:cubicBezTo>
                    <a:cubicBezTo>
                      <a:pt x="193" y="43"/>
                      <a:pt x="191" y="42"/>
                      <a:pt x="190" y="42"/>
                    </a:cubicBezTo>
                    <a:cubicBezTo>
                      <a:pt x="190" y="42"/>
                      <a:pt x="190" y="42"/>
                      <a:pt x="190" y="42"/>
                    </a:cubicBezTo>
                    <a:cubicBezTo>
                      <a:pt x="187" y="42"/>
                      <a:pt x="186" y="41"/>
                      <a:pt x="185" y="40"/>
                    </a:cubicBezTo>
                    <a:cubicBezTo>
                      <a:pt x="184" y="39"/>
                      <a:pt x="184" y="39"/>
                      <a:pt x="183" y="38"/>
                    </a:cubicBezTo>
                    <a:cubicBezTo>
                      <a:pt x="182" y="37"/>
                      <a:pt x="181" y="37"/>
                      <a:pt x="180" y="37"/>
                    </a:cubicBezTo>
                    <a:cubicBezTo>
                      <a:pt x="179" y="37"/>
                      <a:pt x="178" y="37"/>
                      <a:pt x="177" y="37"/>
                    </a:cubicBezTo>
                    <a:cubicBezTo>
                      <a:pt x="172" y="36"/>
                      <a:pt x="172" y="36"/>
                      <a:pt x="172" y="36"/>
                    </a:cubicBezTo>
                    <a:cubicBezTo>
                      <a:pt x="172" y="37"/>
                      <a:pt x="172" y="37"/>
                      <a:pt x="172" y="37"/>
                    </a:cubicBezTo>
                    <a:cubicBezTo>
                      <a:pt x="169" y="37"/>
                      <a:pt x="169" y="37"/>
                      <a:pt x="169" y="37"/>
                    </a:cubicBezTo>
                    <a:cubicBezTo>
                      <a:pt x="169" y="37"/>
                      <a:pt x="169" y="37"/>
                      <a:pt x="169" y="37"/>
                    </a:cubicBezTo>
                    <a:cubicBezTo>
                      <a:pt x="168" y="37"/>
                      <a:pt x="168" y="37"/>
                      <a:pt x="168" y="37"/>
                    </a:cubicBezTo>
                    <a:cubicBezTo>
                      <a:pt x="167" y="37"/>
                      <a:pt x="167" y="37"/>
                      <a:pt x="167" y="37"/>
                    </a:cubicBezTo>
                    <a:cubicBezTo>
                      <a:pt x="166" y="37"/>
                      <a:pt x="166" y="37"/>
                      <a:pt x="166" y="37"/>
                    </a:cubicBezTo>
                    <a:cubicBezTo>
                      <a:pt x="166" y="37"/>
                      <a:pt x="166" y="37"/>
                      <a:pt x="166" y="37"/>
                    </a:cubicBezTo>
                    <a:cubicBezTo>
                      <a:pt x="164" y="37"/>
                      <a:pt x="163" y="37"/>
                      <a:pt x="162" y="37"/>
                    </a:cubicBezTo>
                    <a:cubicBezTo>
                      <a:pt x="162" y="37"/>
                      <a:pt x="162" y="37"/>
                      <a:pt x="162" y="37"/>
                    </a:cubicBezTo>
                    <a:cubicBezTo>
                      <a:pt x="161" y="37"/>
                      <a:pt x="159" y="37"/>
                      <a:pt x="158" y="36"/>
                    </a:cubicBezTo>
                    <a:cubicBezTo>
                      <a:pt x="157" y="36"/>
                      <a:pt x="157" y="36"/>
                      <a:pt x="157" y="36"/>
                    </a:cubicBezTo>
                    <a:cubicBezTo>
                      <a:pt x="157" y="36"/>
                      <a:pt x="155" y="35"/>
                      <a:pt x="154" y="35"/>
                    </a:cubicBezTo>
                    <a:cubicBezTo>
                      <a:pt x="152" y="34"/>
                      <a:pt x="152" y="34"/>
                      <a:pt x="152" y="34"/>
                    </a:cubicBezTo>
                    <a:cubicBezTo>
                      <a:pt x="151" y="33"/>
                      <a:pt x="150" y="33"/>
                      <a:pt x="150" y="33"/>
                    </a:cubicBezTo>
                    <a:cubicBezTo>
                      <a:pt x="148" y="32"/>
                      <a:pt x="148" y="32"/>
                      <a:pt x="148" y="32"/>
                    </a:cubicBezTo>
                    <a:cubicBezTo>
                      <a:pt x="147" y="32"/>
                      <a:pt x="147" y="32"/>
                      <a:pt x="147" y="32"/>
                    </a:cubicBezTo>
                    <a:cubicBezTo>
                      <a:pt x="145" y="36"/>
                      <a:pt x="143" y="39"/>
                      <a:pt x="140" y="40"/>
                    </a:cubicBezTo>
                    <a:cubicBezTo>
                      <a:pt x="139" y="41"/>
                      <a:pt x="138" y="41"/>
                      <a:pt x="136" y="41"/>
                    </a:cubicBezTo>
                    <a:cubicBezTo>
                      <a:pt x="135" y="41"/>
                      <a:pt x="135" y="41"/>
                      <a:pt x="134" y="41"/>
                    </a:cubicBezTo>
                    <a:cubicBezTo>
                      <a:pt x="134" y="41"/>
                      <a:pt x="133" y="41"/>
                      <a:pt x="133" y="41"/>
                    </a:cubicBezTo>
                    <a:cubicBezTo>
                      <a:pt x="117" y="57"/>
                      <a:pt x="117" y="57"/>
                      <a:pt x="117" y="57"/>
                    </a:cubicBezTo>
                    <a:cubicBezTo>
                      <a:pt x="117" y="57"/>
                      <a:pt x="117" y="57"/>
                      <a:pt x="117" y="57"/>
                    </a:cubicBezTo>
                    <a:cubicBezTo>
                      <a:pt x="117" y="58"/>
                      <a:pt x="117" y="59"/>
                      <a:pt x="117" y="59"/>
                    </a:cubicBezTo>
                    <a:cubicBezTo>
                      <a:pt x="117" y="63"/>
                      <a:pt x="117" y="67"/>
                      <a:pt x="113" y="70"/>
                    </a:cubicBezTo>
                    <a:cubicBezTo>
                      <a:pt x="112" y="70"/>
                      <a:pt x="112" y="70"/>
                      <a:pt x="112" y="70"/>
                    </a:cubicBezTo>
                    <a:cubicBezTo>
                      <a:pt x="109" y="73"/>
                      <a:pt x="107" y="75"/>
                      <a:pt x="102" y="77"/>
                    </a:cubicBezTo>
                    <a:cubicBezTo>
                      <a:pt x="100" y="78"/>
                      <a:pt x="97" y="79"/>
                      <a:pt x="94" y="80"/>
                    </a:cubicBezTo>
                    <a:cubicBezTo>
                      <a:pt x="91" y="81"/>
                      <a:pt x="91" y="81"/>
                      <a:pt x="91" y="81"/>
                    </a:cubicBezTo>
                    <a:cubicBezTo>
                      <a:pt x="88" y="82"/>
                      <a:pt x="86" y="83"/>
                      <a:pt x="84" y="84"/>
                    </a:cubicBezTo>
                    <a:cubicBezTo>
                      <a:pt x="82" y="84"/>
                      <a:pt x="80" y="85"/>
                      <a:pt x="78" y="85"/>
                    </a:cubicBezTo>
                    <a:cubicBezTo>
                      <a:pt x="77" y="86"/>
                      <a:pt x="77" y="86"/>
                      <a:pt x="77" y="86"/>
                    </a:cubicBezTo>
                    <a:cubicBezTo>
                      <a:pt x="77" y="86"/>
                      <a:pt x="77" y="86"/>
                      <a:pt x="77" y="86"/>
                    </a:cubicBezTo>
                    <a:cubicBezTo>
                      <a:pt x="78" y="89"/>
                      <a:pt x="76" y="92"/>
                      <a:pt x="74" y="94"/>
                    </a:cubicBezTo>
                    <a:cubicBezTo>
                      <a:pt x="73" y="95"/>
                      <a:pt x="73" y="95"/>
                      <a:pt x="73" y="95"/>
                    </a:cubicBezTo>
                    <a:cubicBezTo>
                      <a:pt x="72" y="97"/>
                      <a:pt x="69" y="100"/>
                      <a:pt x="66" y="102"/>
                    </a:cubicBezTo>
                    <a:cubicBezTo>
                      <a:pt x="66" y="102"/>
                      <a:pt x="66" y="102"/>
                      <a:pt x="66" y="102"/>
                    </a:cubicBezTo>
                    <a:cubicBezTo>
                      <a:pt x="66" y="102"/>
                      <a:pt x="66" y="102"/>
                      <a:pt x="66" y="102"/>
                    </a:cubicBezTo>
                    <a:cubicBezTo>
                      <a:pt x="65" y="102"/>
                      <a:pt x="64" y="103"/>
                      <a:pt x="63" y="103"/>
                    </a:cubicBezTo>
                    <a:cubicBezTo>
                      <a:pt x="62" y="103"/>
                      <a:pt x="61" y="103"/>
                      <a:pt x="60" y="103"/>
                    </a:cubicBezTo>
                    <a:cubicBezTo>
                      <a:pt x="58" y="103"/>
                      <a:pt x="58" y="103"/>
                      <a:pt x="58" y="103"/>
                    </a:cubicBezTo>
                    <a:cubicBezTo>
                      <a:pt x="56" y="104"/>
                      <a:pt x="54" y="104"/>
                      <a:pt x="53" y="105"/>
                    </a:cubicBezTo>
                    <a:cubicBezTo>
                      <a:pt x="52" y="106"/>
                      <a:pt x="52" y="106"/>
                      <a:pt x="52" y="106"/>
                    </a:cubicBezTo>
                    <a:cubicBezTo>
                      <a:pt x="52" y="107"/>
                      <a:pt x="51" y="108"/>
                      <a:pt x="49" y="108"/>
                    </a:cubicBezTo>
                    <a:cubicBezTo>
                      <a:pt x="48" y="108"/>
                      <a:pt x="48" y="108"/>
                      <a:pt x="48" y="108"/>
                    </a:cubicBezTo>
                    <a:cubicBezTo>
                      <a:pt x="47" y="108"/>
                      <a:pt x="45" y="107"/>
                      <a:pt x="43" y="105"/>
                    </a:cubicBezTo>
                    <a:cubicBezTo>
                      <a:pt x="42" y="104"/>
                      <a:pt x="42" y="104"/>
                      <a:pt x="41" y="103"/>
                    </a:cubicBezTo>
                    <a:cubicBezTo>
                      <a:pt x="41" y="103"/>
                      <a:pt x="40" y="102"/>
                      <a:pt x="40" y="102"/>
                    </a:cubicBezTo>
                    <a:cubicBezTo>
                      <a:pt x="39" y="101"/>
                      <a:pt x="39" y="101"/>
                      <a:pt x="39" y="101"/>
                    </a:cubicBezTo>
                    <a:cubicBezTo>
                      <a:pt x="39" y="101"/>
                      <a:pt x="39" y="101"/>
                      <a:pt x="39" y="101"/>
                    </a:cubicBezTo>
                    <a:cubicBezTo>
                      <a:pt x="38" y="100"/>
                      <a:pt x="38" y="100"/>
                      <a:pt x="38" y="100"/>
                    </a:cubicBezTo>
                    <a:cubicBezTo>
                      <a:pt x="36" y="99"/>
                      <a:pt x="35" y="98"/>
                      <a:pt x="34" y="98"/>
                    </a:cubicBezTo>
                    <a:cubicBezTo>
                      <a:pt x="33" y="98"/>
                      <a:pt x="33" y="98"/>
                      <a:pt x="33" y="98"/>
                    </a:cubicBezTo>
                    <a:cubicBezTo>
                      <a:pt x="33" y="97"/>
                      <a:pt x="32" y="97"/>
                      <a:pt x="31" y="97"/>
                    </a:cubicBezTo>
                    <a:cubicBezTo>
                      <a:pt x="29" y="97"/>
                      <a:pt x="28" y="97"/>
                      <a:pt x="27" y="96"/>
                    </a:cubicBezTo>
                    <a:cubicBezTo>
                      <a:pt x="25" y="96"/>
                      <a:pt x="25" y="96"/>
                      <a:pt x="25" y="96"/>
                    </a:cubicBezTo>
                    <a:cubicBezTo>
                      <a:pt x="24" y="96"/>
                      <a:pt x="24" y="96"/>
                      <a:pt x="24" y="96"/>
                    </a:cubicBezTo>
                    <a:cubicBezTo>
                      <a:pt x="20" y="100"/>
                      <a:pt x="20" y="100"/>
                      <a:pt x="20" y="100"/>
                    </a:cubicBezTo>
                    <a:cubicBezTo>
                      <a:pt x="18" y="107"/>
                      <a:pt x="18" y="107"/>
                      <a:pt x="18" y="107"/>
                    </a:cubicBezTo>
                    <a:cubicBezTo>
                      <a:pt x="18" y="108"/>
                      <a:pt x="17" y="109"/>
                      <a:pt x="17" y="111"/>
                    </a:cubicBezTo>
                    <a:cubicBezTo>
                      <a:pt x="17" y="114"/>
                      <a:pt x="17" y="114"/>
                      <a:pt x="17" y="114"/>
                    </a:cubicBezTo>
                    <a:cubicBezTo>
                      <a:pt x="16" y="114"/>
                      <a:pt x="16" y="114"/>
                      <a:pt x="16" y="114"/>
                    </a:cubicBezTo>
                    <a:cubicBezTo>
                      <a:pt x="16" y="115"/>
                      <a:pt x="16" y="115"/>
                      <a:pt x="16" y="115"/>
                    </a:cubicBezTo>
                    <a:cubicBezTo>
                      <a:pt x="15" y="118"/>
                      <a:pt x="15" y="119"/>
                      <a:pt x="12" y="122"/>
                    </a:cubicBezTo>
                    <a:cubicBezTo>
                      <a:pt x="10" y="123"/>
                      <a:pt x="10" y="123"/>
                      <a:pt x="10" y="123"/>
                    </a:cubicBezTo>
                    <a:cubicBezTo>
                      <a:pt x="9" y="124"/>
                      <a:pt x="8" y="125"/>
                      <a:pt x="8" y="125"/>
                    </a:cubicBezTo>
                    <a:cubicBezTo>
                      <a:pt x="8" y="126"/>
                      <a:pt x="9" y="127"/>
                      <a:pt x="10" y="128"/>
                    </a:cubicBezTo>
                    <a:cubicBezTo>
                      <a:pt x="12" y="130"/>
                      <a:pt x="12" y="130"/>
                      <a:pt x="12" y="130"/>
                    </a:cubicBezTo>
                    <a:cubicBezTo>
                      <a:pt x="0" y="141"/>
                      <a:pt x="0" y="141"/>
                      <a:pt x="0" y="141"/>
                    </a:cubicBezTo>
                    <a:cubicBezTo>
                      <a:pt x="0" y="142"/>
                      <a:pt x="0" y="144"/>
                      <a:pt x="0" y="146"/>
                    </a:cubicBezTo>
                    <a:cubicBezTo>
                      <a:pt x="0" y="147"/>
                      <a:pt x="0" y="149"/>
                      <a:pt x="0" y="150"/>
                    </a:cubicBezTo>
                    <a:cubicBezTo>
                      <a:pt x="1" y="151"/>
                      <a:pt x="1" y="151"/>
                      <a:pt x="1" y="151"/>
                    </a:cubicBezTo>
                    <a:cubicBezTo>
                      <a:pt x="1" y="151"/>
                      <a:pt x="1" y="152"/>
                      <a:pt x="1" y="152"/>
                    </a:cubicBezTo>
                    <a:cubicBezTo>
                      <a:pt x="1" y="152"/>
                      <a:pt x="1" y="152"/>
                      <a:pt x="3" y="153"/>
                    </a:cubicBezTo>
                    <a:cubicBezTo>
                      <a:pt x="4" y="153"/>
                      <a:pt x="4" y="153"/>
                      <a:pt x="4" y="153"/>
                    </a:cubicBezTo>
                    <a:cubicBezTo>
                      <a:pt x="5" y="153"/>
                      <a:pt x="6" y="153"/>
                      <a:pt x="6" y="153"/>
                    </a:cubicBezTo>
                    <a:cubicBezTo>
                      <a:pt x="7" y="153"/>
                      <a:pt x="7" y="153"/>
                      <a:pt x="7" y="153"/>
                    </a:cubicBezTo>
                    <a:cubicBezTo>
                      <a:pt x="8" y="154"/>
                      <a:pt x="9" y="154"/>
                      <a:pt x="10" y="154"/>
                    </a:cubicBezTo>
                    <a:cubicBezTo>
                      <a:pt x="15" y="156"/>
                      <a:pt x="15" y="156"/>
                      <a:pt x="15" y="156"/>
                    </a:cubicBezTo>
                    <a:cubicBezTo>
                      <a:pt x="12" y="160"/>
                      <a:pt x="12" y="160"/>
                      <a:pt x="12" y="160"/>
                    </a:cubicBezTo>
                    <a:cubicBezTo>
                      <a:pt x="11" y="160"/>
                      <a:pt x="10" y="161"/>
                      <a:pt x="9" y="162"/>
                    </a:cubicBezTo>
                    <a:cubicBezTo>
                      <a:pt x="9" y="163"/>
                      <a:pt x="9" y="163"/>
                      <a:pt x="9" y="163"/>
                    </a:cubicBezTo>
                    <a:cubicBezTo>
                      <a:pt x="5" y="166"/>
                      <a:pt x="3" y="168"/>
                      <a:pt x="3" y="169"/>
                    </a:cubicBezTo>
                    <a:cubicBezTo>
                      <a:pt x="8" y="188"/>
                      <a:pt x="8" y="188"/>
                      <a:pt x="8" y="188"/>
                    </a:cubicBezTo>
                    <a:cubicBezTo>
                      <a:pt x="8" y="189"/>
                      <a:pt x="8" y="189"/>
                      <a:pt x="8" y="190"/>
                    </a:cubicBezTo>
                    <a:cubicBezTo>
                      <a:pt x="9" y="193"/>
                      <a:pt x="9" y="193"/>
                      <a:pt x="9" y="193"/>
                    </a:cubicBezTo>
                    <a:cubicBezTo>
                      <a:pt x="10" y="194"/>
                      <a:pt x="10" y="195"/>
                      <a:pt x="10" y="196"/>
                    </a:cubicBezTo>
                    <a:cubicBezTo>
                      <a:pt x="10" y="199"/>
                      <a:pt x="10" y="201"/>
                      <a:pt x="9" y="203"/>
                    </a:cubicBezTo>
                    <a:cubicBezTo>
                      <a:pt x="9" y="204"/>
                      <a:pt x="9" y="206"/>
                      <a:pt x="9" y="208"/>
                    </a:cubicBezTo>
                    <a:cubicBezTo>
                      <a:pt x="9" y="208"/>
                      <a:pt x="9" y="208"/>
                      <a:pt x="9" y="208"/>
                    </a:cubicBezTo>
                    <a:cubicBezTo>
                      <a:pt x="9" y="209"/>
                      <a:pt x="9" y="210"/>
                      <a:pt x="9" y="210"/>
                    </a:cubicBezTo>
                    <a:cubicBezTo>
                      <a:pt x="9" y="211"/>
                      <a:pt x="9" y="211"/>
                      <a:pt x="9" y="211"/>
                    </a:cubicBezTo>
                    <a:cubicBezTo>
                      <a:pt x="15" y="211"/>
                      <a:pt x="15" y="211"/>
                      <a:pt x="15" y="211"/>
                    </a:cubicBezTo>
                    <a:cubicBezTo>
                      <a:pt x="10" y="213"/>
                      <a:pt x="10" y="213"/>
                      <a:pt x="10" y="213"/>
                    </a:cubicBezTo>
                    <a:cubicBezTo>
                      <a:pt x="10" y="213"/>
                      <a:pt x="10" y="213"/>
                      <a:pt x="10" y="213"/>
                    </a:cubicBezTo>
                    <a:cubicBezTo>
                      <a:pt x="10" y="214"/>
                      <a:pt x="10" y="215"/>
                      <a:pt x="10" y="216"/>
                    </a:cubicBezTo>
                    <a:cubicBezTo>
                      <a:pt x="9" y="217"/>
                      <a:pt x="9" y="218"/>
                      <a:pt x="9" y="218"/>
                    </a:cubicBezTo>
                    <a:cubicBezTo>
                      <a:pt x="10" y="218"/>
                      <a:pt x="10" y="218"/>
                      <a:pt x="11" y="218"/>
                    </a:cubicBezTo>
                    <a:cubicBezTo>
                      <a:pt x="26" y="220"/>
                      <a:pt x="26" y="220"/>
                      <a:pt x="26" y="220"/>
                    </a:cubicBezTo>
                    <a:cubicBezTo>
                      <a:pt x="29" y="221"/>
                      <a:pt x="31" y="223"/>
                      <a:pt x="32" y="224"/>
                    </a:cubicBezTo>
                    <a:cubicBezTo>
                      <a:pt x="35" y="228"/>
                      <a:pt x="35" y="228"/>
                      <a:pt x="35" y="228"/>
                    </a:cubicBezTo>
                    <a:cubicBezTo>
                      <a:pt x="35" y="229"/>
                      <a:pt x="35" y="229"/>
                      <a:pt x="36" y="230"/>
                    </a:cubicBezTo>
                    <a:cubicBezTo>
                      <a:pt x="37" y="231"/>
                      <a:pt x="37" y="233"/>
                      <a:pt x="38" y="234"/>
                    </a:cubicBezTo>
                    <a:cubicBezTo>
                      <a:pt x="38" y="237"/>
                      <a:pt x="38" y="241"/>
                      <a:pt x="35" y="244"/>
                    </a:cubicBezTo>
                    <a:cubicBezTo>
                      <a:pt x="34" y="247"/>
                      <a:pt x="31" y="250"/>
                      <a:pt x="30" y="252"/>
                    </a:cubicBezTo>
                    <a:cubicBezTo>
                      <a:pt x="29" y="252"/>
                      <a:pt x="28" y="253"/>
                      <a:pt x="27" y="254"/>
                    </a:cubicBezTo>
                    <a:cubicBezTo>
                      <a:pt x="24" y="258"/>
                      <a:pt x="24" y="258"/>
                      <a:pt x="24" y="258"/>
                    </a:cubicBezTo>
                    <a:cubicBezTo>
                      <a:pt x="23" y="260"/>
                      <a:pt x="21" y="261"/>
                      <a:pt x="19" y="263"/>
                    </a:cubicBezTo>
                    <a:cubicBezTo>
                      <a:pt x="13" y="270"/>
                      <a:pt x="13" y="270"/>
                      <a:pt x="13" y="270"/>
                    </a:cubicBezTo>
                    <a:cubicBezTo>
                      <a:pt x="57" y="283"/>
                      <a:pt x="57" y="283"/>
                      <a:pt x="57" y="283"/>
                    </a:cubicBezTo>
                    <a:cubicBezTo>
                      <a:pt x="57" y="283"/>
                      <a:pt x="58" y="283"/>
                      <a:pt x="58" y="283"/>
                    </a:cubicBezTo>
                    <a:cubicBezTo>
                      <a:pt x="59" y="283"/>
                      <a:pt x="59" y="283"/>
                      <a:pt x="59" y="283"/>
                    </a:cubicBezTo>
                    <a:cubicBezTo>
                      <a:pt x="60" y="283"/>
                      <a:pt x="61" y="282"/>
                      <a:pt x="62" y="282"/>
                    </a:cubicBezTo>
                    <a:cubicBezTo>
                      <a:pt x="62" y="282"/>
                      <a:pt x="62" y="282"/>
                      <a:pt x="62" y="282"/>
                    </a:cubicBezTo>
                    <a:cubicBezTo>
                      <a:pt x="63" y="282"/>
                      <a:pt x="65" y="282"/>
                      <a:pt x="65" y="282"/>
                    </a:cubicBezTo>
                    <a:cubicBezTo>
                      <a:pt x="71" y="281"/>
                      <a:pt x="71" y="281"/>
                      <a:pt x="71" y="281"/>
                    </a:cubicBezTo>
                    <a:cubicBezTo>
                      <a:pt x="71" y="281"/>
                      <a:pt x="71" y="281"/>
                      <a:pt x="71" y="281"/>
                    </a:cubicBezTo>
                    <a:cubicBezTo>
                      <a:pt x="83" y="281"/>
                      <a:pt x="83" y="281"/>
                      <a:pt x="83" y="281"/>
                    </a:cubicBezTo>
                    <a:cubicBezTo>
                      <a:pt x="84" y="281"/>
                      <a:pt x="84" y="281"/>
                      <a:pt x="85" y="281"/>
                    </a:cubicBezTo>
                    <a:cubicBezTo>
                      <a:pt x="85" y="281"/>
                      <a:pt x="86" y="281"/>
                      <a:pt x="87" y="281"/>
                    </a:cubicBezTo>
                    <a:cubicBezTo>
                      <a:pt x="87" y="281"/>
                      <a:pt x="87" y="281"/>
                      <a:pt x="87" y="281"/>
                    </a:cubicBezTo>
                    <a:cubicBezTo>
                      <a:pt x="88" y="281"/>
                      <a:pt x="88" y="281"/>
                      <a:pt x="88" y="281"/>
                    </a:cubicBezTo>
                    <a:cubicBezTo>
                      <a:pt x="89" y="281"/>
                      <a:pt x="89" y="281"/>
                      <a:pt x="89" y="281"/>
                    </a:cubicBezTo>
                    <a:cubicBezTo>
                      <a:pt x="90" y="281"/>
                      <a:pt x="91" y="282"/>
                      <a:pt x="93" y="282"/>
                    </a:cubicBezTo>
                    <a:cubicBezTo>
                      <a:pt x="93" y="282"/>
                      <a:pt x="93" y="282"/>
                      <a:pt x="94" y="282"/>
                    </a:cubicBezTo>
                    <a:cubicBezTo>
                      <a:pt x="95" y="282"/>
                      <a:pt x="95" y="282"/>
                      <a:pt x="95" y="282"/>
                    </a:cubicBezTo>
                    <a:cubicBezTo>
                      <a:pt x="96" y="282"/>
                      <a:pt x="97" y="283"/>
                      <a:pt x="97" y="283"/>
                    </a:cubicBezTo>
                    <a:cubicBezTo>
                      <a:pt x="98" y="283"/>
                      <a:pt x="98" y="283"/>
                      <a:pt x="98" y="283"/>
                    </a:cubicBezTo>
                    <a:cubicBezTo>
                      <a:pt x="99" y="283"/>
                      <a:pt x="101" y="282"/>
                      <a:pt x="103" y="281"/>
                    </a:cubicBezTo>
                    <a:cubicBezTo>
                      <a:pt x="104" y="280"/>
                      <a:pt x="105" y="279"/>
                      <a:pt x="106" y="279"/>
                    </a:cubicBezTo>
                    <a:cubicBezTo>
                      <a:pt x="107" y="278"/>
                      <a:pt x="108" y="278"/>
                      <a:pt x="109" y="278"/>
                    </a:cubicBezTo>
                    <a:cubicBezTo>
                      <a:pt x="114" y="277"/>
                      <a:pt x="118" y="276"/>
                      <a:pt x="121" y="276"/>
                    </a:cubicBezTo>
                    <a:cubicBezTo>
                      <a:pt x="124" y="276"/>
                      <a:pt x="127" y="276"/>
                      <a:pt x="130" y="275"/>
                    </a:cubicBezTo>
                    <a:cubicBezTo>
                      <a:pt x="136" y="275"/>
                      <a:pt x="136" y="275"/>
                      <a:pt x="136" y="275"/>
                    </a:cubicBezTo>
                    <a:cubicBezTo>
                      <a:pt x="136" y="275"/>
                      <a:pt x="137" y="275"/>
                      <a:pt x="137" y="275"/>
                    </a:cubicBezTo>
                    <a:cubicBezTo>
                      <a:pt x="140" y="275"/>
                      <a:pt x="143" y="274"/>
                      <a:pt x="146" y="273"/>
                    </a:cubicBezTo>
                    <a:cubicBezTo>
                      <a:pt x="148" y="272"/>
                      <a:pt x="151" y="272"/>
                      <a:pt x="153" y="271"/>
                    </a:cubicBezTo>
                    <a:cubicBezTo>
                      <a:pt x="156" y="270"/>
                      <a:pt x="156" y="270"/>
                      <a:pt x="156" y="270"/>
                    </a:cubicBezTo>
                    <a:cubicBezTo>
                      <a:pt x="157" y="270"/>
                      <a:pt x="157" y="270"/>
                      <a:pt x="158" y="270"/>
                    </a:cubicBezTo>
                    <a:cubicBezTo>
                      <a:pt x="158" y="269"/>
                      <a:pt x="158" y="269"/>
                      <a:pt x="158" y="269"/>
                    </a:cubicBezTo>
                    <a:cubicBezTo>
                      <a:pt x="156" y="267"/>
                      <a:pt x="157" y="264"/>
                      <a:pt x="157" y="262"/>
                    </a:cubicBezTo>
                    <a:cubicBezTo>
                      <a:pt x="157" y="262"/>
                      <a:pt x="157" y="262"/>
                      <a:pt x="157" y="262"/>
                    </a:cubicBezTo>
                    <a:cubicBezTo>
                      <a:pt x="158" y="260"/>
                      <a:pt x="158" y="259"/>
                      <a:pt x="158" y="257"/>
                    </a:cubicBezTo>
                    <a:cubicBezTo>
                      <a:pt x="158" y="256"/>
                      <a:pt x="158" y="255"/>
                      <a:pt x="158" y="255"/>
                    </a:cubicBezTo>
                    <a:cubicBezTo>
                      <a:pt x="158" y="251"/>
                      <a:pt x="159" y="247"/>
                      <a:pt x="160" y="244"/>
                    </a:cubicBezTo>
                    <a:cubicBezTo>
                      <a:pt x="160" y="241"/>
                      <a:pt x="160" y="241"/>
                      <a:pt x="160" y="241"/>
                    </a:cubicBezTo>
                    <a:cubicBezTo>
                      <a:pt x="161" y="240"/>
                      <a:pt x="161" y="240"/>
                      <a:pt x="161" y="239"/>
                    </a:cubicBezTo>
                    <a:cubicBezTo>
                      <a:pt x="162" y="238"/>
                      <a:pt x="162" y="236"/>
                      <a:pt x="163" y="236"/>
                    </a:cubicBezTo>
                    <a:cubicBezTo>
                      <a:pt x="164" y="235"/>
                      <a:pt x="164" y="235"/>
                      <a:pt x="164" y="235"/>
                    </a:cubicBezTo>
                    <a:cubicBezTo>
                      <a:pt x="165" y="234"/>
                      <a:pt x="166" y="232"/>
                      <a:pt x="168" y="231"/>
                    </a:cubicBezTo>
                    <a:cubicBezTo>
                      <a:pt x="170" y="229"/>
                      <a:pt x="171" y="229"/>
                      <a:pt x="172" y="228"/>
                    </a:cubicBezTo>
                    <a:cubicBezTo>
                      <a:pt x="173" y="227"/>
                      <a:pt x="173" y="227"/>
                      <a:pt x="173" y="227"/>
                    </a:cubicBezTo>
                    <a:cubicBezTo>
                      <a:pt x="173" y="227"/>
                      <a:pt x="174" y="227"/>
                      <a:pt x="174" y="226"/>
                    </a:cubicBezTo>
                    <a:cubicBezTo>
                      <a:pt x="170" y="224"/>
                      <a:pt x="170" y="224"/>
                      <a:pt x="170" y="224"/>
                    </a:cubicBezTo>
                    <a:cubicBezTo>
                      <a:pt x="175" y="226"/>
                      <a:pt x="175" y="226"/>
                      <a:pt x="175" y="226"/>
                    </a:cubicBezTo>
                    <a:cubicBezTo>
                      <a:pt x="175" y="225"/>
                      <a:pt x="175" y="225"/>
                      <a:pt x="175" y="225"/>
                    </a:cubicBezTo>
                    <a:cubicBezTo>
                      <a:pt x="177" y="225"/>
                      <a:pt x="179" y="224"/>
                      <a:pt x="180" y="224"/>
                    </a:cubicBezTo>
                    <a:cubicBezTo>
                      <a:pt x="181" y="224"/>
                      <a:pt x="181" y="224"/>
                      <a:pt x="181" y="224"/>
                    </a:cubicBezTo>
                    <a:cubicBezTo>
                      <a:pt x="182" y="224"/>
                      <a:pt x="182" y="224"/>
                      <a:pt x="183" y="224"/>
                    </a:cubicBezTo>
                    <a:cubicBezTo>
                      <a:pt x="185" y="225"/>
                      <a:pt x="185" y="225"/>
                      <a:pt x="185" y="225"/>
                    </a:cubicBezTo>
                    <a:cubicBezTo>
                      <a:pt x="186" y="225"/>
                      <a:pt x="187" y="225"/>
                      <a:pt x="188" y="225"/>
                    </a:cubicBezTo>
                    <a:cubicBezTo>
                      <a:pt x="188" y="226"/>
                      <a:pt x="188" y="226"/>
                      <a:pt x="188" y="226"/>
                    </a:cubicBezTo>
                    <a:cubicBezTo>
                      <a:pt x="189" y="226"/>
                      <a:pt x="189" y="226"/>
                      <a:pt x="189" y="226"/>
                    </a:cubicBezTo>
                    <a:cubicBezTo>
                      <a:pt x="190" y="226"/>
                      <a:pt x="191" y="226"/>
                      <a:pt x="191" y="226"/>
                    </a:cubicBezTo>
                    <a:cubicBezTo>
                      <a:pt x="192" y="226"/>
                      <a:pt x="192" y="226"/>
                      <a:pt x="192" y="226"/>
                    </a:cubicBezTo>
                    <a:cubicBezTo>
                      <a:pt x="193" y="226"/>
                      <a:pt x="193" y="226"/>
                      <a:pt x="193" y="226"/>
                    </a:cubicBezTo>
                    <a:cubicBezTo>
                      <a:pt x="195" y="226"/>
                      <a:pt x="196" y="225"/>
                      <a:pt x="198" y="224"/>
                    </a:cubicBezTo>
                    <a:cubicBezTo>
                      <a:pt x="189" y="217"/>
                      <a:pt x="189" y="217"/>
                      <a:pt x="189" y="217"/>
                    </a:cubicBezTo>
                    <a:cubicBezTo>
                      <a:pt x="198" y="217"/>
                      <a:pt x="198" y="217"/>
                      <a:pt x="198" y="217"/>
                    </a:cubicBezTo>
                    <a:cubicBezTo>
                      <a:pt x="202" y="216"/>
                      <a:pt x="203" y="216"/>
                      <a:pt x="207" y="213"/>
                    </a:cubicBezTo>
                    <a:cubicBezTo>
                      <a:pt x="207" y="213"/>
                      <a:pt x="207" y="213"/>
                      <a:pt x="207" y="213"/>
                    </a:cubicBezTo>
                    <a:cubicBezTo>
                      <a:pt x="208" y="212"/>
                      <a:pt x="208" y="212"/>
                      <a:pt x="208" y="212"/>
                    </a:cubicBezTo>
                    <a:cubicBezTo>
                      <a:pt x="210" y="211"/>
                      <a:pt x="211" y="211"/>
                      <a:pt x="212" y="210"/>
                    </a:cubicBezTo>
                    <a:cubicBezTo>
                      <a:pt x="213" y="210"/>
                      <a:pt x="213" y="210"/>
                      <a:pt x="214" y="210"/>
                    </a:cubicBezTo>
                    <a:cubicBezTo>
                      <a:pt x="215" y="209"/>
                      <a:pt x="216" y="209"/>
                      <a:pt x="216" y="209"/>
                    </a:cubicBezTo>
                    <a:cubicBezTo>
                      <a:pt x="217" y="209"/>
                      <a:pt x="218" y="209"/>
                      <a:pt x="218" y="208"/>
                    </a:cubicBezTo>
                    <a:cubicBezTo>
                      <a:pt x="219" y="208"/>
                      <a:pt x="219" y="208"/>
                      <a:pt x="219" y="208"/>
                    </a:cubicBezTo>
                    <a:cubicBezTo>
                      <a:pt x="220" y="208"/>
                      <a:pt x="221" y="208"/>
                      <a:pt x="223" y="208"/>
                    </a:cubicBezTo>
                    <a:cubicBezTo>
                      <a:pt x="223" y="208"/>
                      <a:pt x="223" y="207"/>
                      <a:pt x="224" y="207"/>
                    </a:cubicBezTo>
                    <a:cubicBezTo>
                      <a:pt x="224" y="207"/>
                      <a:pt x="225" y="208"/>
                      <a:pt x="226" y="208"/>
                    </a:cubicBezTo>
                    <a:cubicBezTo>
                      <a:pt x="226" y="208"/>
                      <a:pt x="226" y="208"/>
                      <a:pt x="226" y="208"/>
                    </a:cubicBezTo>
                    <a:cubicBezTo>
                      <a:pt x="227" y="208"/>
                      <a:pt x="228" y="208"/>
                      <a:pt x="229" y="209"/>
                    </a:cubicBezTo>
                    <a:cubicBezTo>
                      <a:pt x="230" y="209"/>
                      <a:pt x="230" y="209"/>
                      <a:pt x="230" y="209"/>
                    </a:cubicBezTo>
                    <a:cubicBezTo>
                      <a:pt x="230" y="210"/>
                      <a:pt x="231" y="211"/>
                      <a:pt x="233" y="212"/>
                    </a:cubicBezTo>
                    <a:cubicBezTo>
                      <a:pt x="233" y="212"/>
                      <a:pt x="233" y="212"/>
                      <a:pt x="233" y="212"/>
                    </a:cubicBezTo>
                    <a:cubicBezTo>
                      <a:pt x="234" y="213"/>
                      <a:pt x="235" y="213"/>
                      <a:pt x="235" y="213"/>
                    </a:cubicBezTo>
                    <a:cubicBezTo>
                      <a:pt x="235" y="213"/>
                      <a:pt x="235" y="213"/>
                      <a:pt x="235" y="213"/>
                    </a:cubicBezTo>
                    <a:cubicBezTo>
                      <a:pt x="237" y="211"/>
                      <a:pt x="237" y="211"/>
                      <a:pt x="237" y="211"/>
                    </a:cubicBezTo>
                    <a:cubicBezTo>
                      <a:pt x="239" y="209"/>
                      <a:pt x="241" y="208"/>
                      <a:pt x="243" y="206"/>
                    </a:cubicBezTo>
                    <a:cubicBezTo>
                      <a:pt x="244" y="205"/>
                      <a:pt x="244" y="205"/>
                      <a:pt x="244" y="205"/>
                    </a:cubicBezTo>
                    <a:cubicBezTo>
                      <a:pt x="243" y="196"/>
                      <a:pt x="243" y="196"/>
                      <a:pt x="243" y="196"/>
                    </a:cubicBezTo>
                    <a:cubicBezTo>
                      <a:pt x="243" y="196"/>
                      <a:pt x="243" y="196"/>
                      <a:pt x="243" y="196"/>
                    </a:cubicBezTo>
                    <a:cubicBezTo>
                      <a:pt x="242" y="191"/>
                      <a:pt x="242" y="191"/>
                      <a:pt x="242" y="191"/>
                    </a:cubicBezTo>
                    <a:cubicBezTo>
                      <a:pt x="242" y="189"/>
                      <a:pt x="243" y="188"/>
                      <a:pt x="243" y="188"/>
                    </a:cubicBezTo>
                    <a:cubicBezTo>
                      <a:pt x="243" y="188"/>
                      <a:pt x="243" y="187"/>
                      <a:pt x="244" y="187"/>
                    </a:cubicBezTo>
                    <a:cubicBezTo>
                      <a:pt x="245" y="186"/>
                      <a:pt x="245" y="186"/>
                      <a:pt x="246" y="185"/>
                    </a:cubicBezTo>
                    <a:cubicBezTo>
                      <a:pt x="247" y="184"/>
                      <a:pt x="247" y="184"/>
                      <a:pt x="247" y="184"/>
                    </a:cubicBezTo>
                    <a:cubicBezTo>
                      <a:pt x="247" y="184"/>
                      <a:pt x="247" y="183"/>
                      <a:pt x="247" y="183"/>
                    </a:cubicBezTo>
                    <a:cubicBezTo>
                      <a:pt x="247" y="182"/>
                      <a:pt x="247" y="182"/>
                      <a:pt x="247" y="182"/>
                    </a:cubicBezTo>
                    <a:cubicBezTo>
                      <a:pt x="248" y="181"/>
                      <a:pt x="248" y="180"/>
                      <a:pt x="248" y="179"/>
                    </a:cubicBezTo>
                    <a:cubicBezTo>
                      <a:pt x="249" y="176"/>
                      <a:pt x="249" y="172"/>
                      <a:pt x="251" y="170"/>
                    </a:cubicBezTo>
                    <a:cubicBezTo>
                      <a:pt x="252" y="169"/>
                      <a:pt x="252" y="169"/>
                      <a:pt x="252" y="169"/>
                    </a:cubicBezTo>
                    <a:cubicBezTo>
                      <a:pt x="253" y="168"/>
                      <a:pt x="254" y="168"/>
                      <a:pt x="255" y="168"/>
                    </a:cubicBezTo>
                    <a:cubicBezTo>
                      <a:pt x="255" y="168"/>
                      <a:pt x="255" y="168"/>
                      <a:pt x="255" y="168"/>
                    </a:cubicBezTo>
                    <a:cubicBezTo>
                      <a:pt x="256" y="168"/>
                      <a:pt x="257" y="168"/>
                      <a:pt x="258" y="168"/>
                    </a:cubicBezTo>
                    <a:cubicBezTo>
                      <a:pt x="259" y="168"/>
                      <a:pt x="259" y="168"/>
                      <a:pt x="259" y="168"/>
                    </a:cubicBezTo>
                    <a:cubicBezTo>
                      <a:pt x="260" y="168"/>
                      <a:pt x="261" y="168"/>
                      <a:pt x="262" y="167"/>
                    </a:cubicBezTo>
                    <a:cubicBezTo>
                      <a:pt x="263" y="167"/>
                      <a:pt x="263" y="167"/>
                      <a:pt x="263" y="167"/>
                    </a:cubicBezTo>
                    <a:cubicBezTo>
                      <a:pt x="265" y="167"/>
                      <a:pt x="270" y="164"/>
                      <a:pt x="271" y="162"/>
                    </a:cubicBezTo>
                    <a:cubicBezTo>
                      <a:pt x="271" y="162"/>
                      <a:pt x="271" y="162"/>
                      <a:pt x="271" y="162"/>
                    </a:cubicBezTo>
                    <a:cubicBezTo>
                      <a:pt x="271" y="161"/>
                      <a:pt x="270" y="160"/>
                      <a:pt x="268" y="157"/>
                    </a:cubicBezTo>
                    <a:cubicBezTo>
                      <a:pt x="265" y="153"/>
                      <a:pt x="265" y="153"/>
                      <a:pt x="265" y="153"/>
                    </a:cubicBezTo>
                    <a:cubicBezTo>
                      <a:pt x="265" y="152"/>
                      <a:pt x="265" y="152"/>
                      <a:pt x="265" y="152"/>
                    </a:cubicBezTo>
                    <a:cubicBezTo>
                      <a:pt x="265" y="152"/>
                      <a:pt x="265" y="152"/>
                      <a:pt x="265" y="152"/>
                    </a:cubicBezTo>
                    <a:cubicBezTo>
                      <a:pt x="264" y="151"/>
                      <a:pt x="264" y="151"/>
                      <a:pt x="264" y="151"/>
                    </a:cubicBezTo>
                    <a:cubicBezTo>
                      <a:pt x="261" y="147"/>
                      <a:pt x="261" y="147"/>
                      <a:pt x="261" y="147"/>
                    </a:cubicBezTo>
                    <a:cubicBezTo>
                      <a:pt x="259" y="143"/>
                      <a:pt x="260" y="140"/>
                      <a:pt x="262" y="139"/>
                    </a:cubicBezTo>
                    <a:cubicBezTo>
                      <a:pt x="262" y="138"/>
                      <a:pt x="262" y="138"/>
                      <a:pt x="262" y="138"/>
                    </a:cubicBezTo>
                    <a:cubicBezTo>
                      <a:pt x="264" y="138"/>
                      <a:pt x="265" y="137"/>
                      <a:pt x="267" y="137"/>
                    </a:cubicBezTo>
                    <a:cubicBezTo>
                      <a:pt x="269" y="137"/>
                      <a:pt x="273" y="138"/>
                      <a:pt x="277" y="139"/>
                    </a:cubicBezTo>
                    <a:cubicBezTo>
                      <a:pt x="278" y="139"/>
                      <a:pt x="278" y="139"/>
                      <a:pt x="278" y="139"/>
                    </a:cubicBezTo>
                    <a:cubicBezTo>
                      <a:pt x="278" y="139"/>
                      <a:pt x="279" y="140"/>
                      <a:pt x="280" y="140"/>
                    </a:cubicBezTo>
                    <a:cubicBezTo>
                      <a:pt x="281" y="140"/>
                      <a:pt x="281" y="140"/>
                      <a:pt x="281" y="140"/>
                    </a:cubicBezTo>
                    <a:cubicBezTo>
                      <a:pt x="281" y="140"/>
                      <a:pt x="282" y="140"/>
                      <a:pt x="283" y="140"/>
                    </a:cubicBezTo>
                    <a:cubicBezTo>
                      <a:pt x="283" y="140"/>
                      <a:pt x="284" y="140"/>
                      <a:pt x="285" y="140"/>
                    </a:cubicBezTo>
                    <a:cubicBezTo>
                      <a:pt x="287" y="140"/>
                      <a:pt x="290" y="139"/>
                      <a:pt x="292" y="138"/>
                    </a:cubicBezTo>
                    <a:cubicBezTo>
                      <a:pt x="293" y="137"/>
                      <a:pt x="294" y="136"/>
                      <a:pt x="294" y="135"/>
                    </a:cubicBezTo>
                    <a:cubicBezTo>
                      <a:pt x="295" y="135"/>
                      <a:pt x="295" y="135"/>
                      <a:pt x="295" y="135"/>
                    </a:cubicBezTo>
                    <a:cubicBezTo>
                      <a:pt x="295" y="134"/>
                      <a:pt x="295" y="134"/>
                      <a:pt x="295" y="134"/>
                    </a:cubicBezTo>
                    <a:cubicBezTo>
                      <a:pt x="295" y="134"/>
                      <a:pt x="295" y="133"/>
                      <a:pt x="295" y="133"/>
                    </a:cubicBezTo>
                    <a:cubicBezTo>
                      <a:pt x="295" y="133"/>
                      <a:pt x="295" y="133"/>
                      <a:pt x="295" y="133"/>
                    </a:cubicBezTo>
                    <a:cubicBezTo>
                      <a:pt x="294" y="132"/>
                      <a:pt x="293" y="131"/>
                      <a:pt x="293" y="129"/>
                    </a:cubicBezTo>
                    <a:cubicBezTo>
                      <a:pt x="291" y="126"/>
                      <a:pt x="291" y="122"/>
                      <a:pt x="294" y="120"/>
                    </a:cubicBezTo>
                    <a:cubicBezTo>
                      <a:pt x="294" y="119"/>
                      <a:pt x="295" y="118"/>
                      <a:pt x="297" y="117"/>
                    </a:cubicBezTo>
                    <a:cubicBezTo>
                      <a:pt x="298" y="116"/>
                      <a:pt x="298" y="116"/>
                      <a:pt x="299" y="115"/>
                    </a:cubicBezTo>
                    <a:cubicBezTo>
                      <a:pt x="299" y="114"/>
                      <a:pt x="300" y="112"/>
                      <a:pt x="302" y="111"/>
                    </a:cubicBezTo>
                    <a:cubicBezTo>
                      <a:pt x="303" y="110"/>
                      <a:pt x="304" y="109"/>
                      <a:pt x="306" y="109"/>
                    </a:cubicBezTo>
                    <a:cubicBezTo>
                      <a:pt x="306" y="108"/>
                      <a:pt x="306" y="108"/>
                      <a:pt x="306" y="108"/>
                    </a:cubicBezTo>
                    <a:cubicBezTo>
                      <a:pt x="306" y="108"/>
                      <a:pt x="306" y="108"/>
                      <a:pt x="307" y="107"/>
                    </a:cubicBezTo>
                    <a:cubicBezTo>
                      <a:pt x="307" y="105"/>
                      <a:pt x="308" y="104"/>
                      <a:pt x="309" y="103"/>
                    </a:cubicBezTo>
                    <a:cubicBezTo>
                      <a:pt x="309" y="103"/>
                      <a:pt x="309" y="102"/>
                      <a:pt x="308" y="101"/>
                    </a:cubicBezTo>
                    <a:cubicBezTo>
                      <a:pt x="308" y="101"/>
                      <a:pt x="308" y="101"/>
                      <a:pt x="308" y="101"/>
                    </a:cubicBezTo>
                    <a:cubicBezTo>
                      <a:pt x="308" y="99"/>
                      <a:pt x="308" y="98"/>
                      <a:pt x="308" y="97"/>
                    </a:cubicBezTo>
                    <a:cubicBezTo>
                      <a:pt x="308" y="96"/>
                      <a:pt x="308" y="94"/>
                      <a:pt x="308" y="94"/>
                    </a:cubicBezTo>
                    <a:cubicBezTo>
                      <a:pt x="307" y="91"/>
                      <a:pt x="307" y="91"/>
                      <a:pt x="307" y="91"/>
                    </a:cubicBezTo>
                    <a:cubicBezTo>
                      <a:pt x="307" y="91"/>
                      <a:pt x="307" y="91"/>
                      <a:pt x="307" y="91"/>
                    </a:cubicBezTo>
                    <a:cubicBezTo>
                      <a:pt x="307" y="91"/>
                      <a:pt x="307" y="91"/>
                      <a:pt x="307" y="91"/>
                    </a:cubicBezTo>
                    <a:cubicBezTo>
                      <a:pt x="306" y="89"/>
                      <a:pt x="306" y="89"/>
                      <a:pt x="306" y="89"/>
                    </a:cubicBezTo>
                    <a:cubicBezTo>
                      <a:pt x="305" y="88"/>
                      <a:pt x="305" y="88"/>
                      <a:pt x="304" y="87"/>
                    </a:cubicBezTo>
                    <a:cubicBezTo>
                      <a:pt x="304" y="87"/>
                      <a:pt x="304" y="86"/>
                      <a:pt x="304" y="86"/>
                    </a:cubicBezTo>
                    <a:cubicBezTo>
                      <a:pt x="303" y="85"/>
                      <a:pt x="303" y="85"/>
                      <a:pt x="303" y="85"/>
                    </a:cubicBezTo>
                    <a:cubicBezTo>
                      <a:pt x="302" y="83"/>
                      <a:pt x="301" y="81"/>
                      <a:pt x="300" y="80"/>
                    </a:cubicBezTo>
                    <a:cubicBezTo>
                      <a:pt x="299" y="80"/>
                      <a:pt x="299" y="80"/>
                      <a:pt x="299" y="80"/>
                    </a:cubicBezTo>
                    <a:cubicBezTo>
                      <a:pt x="299" y="79"/>
                      <a:pt x="299" y="79"/>
                      <a:pt x="299" y="79"/>
                    </a:cubicBezTo>
                    <a:cubicBezTo>
                      <a:pt x="295" y="77"/>
                      <a:pt x="295" y="77"/>
                      <a:pt x="295" y="77"/>
                    </a:cubicBezTo>
                    <a:cubicBezTo>
                      <a:pt x="298" y="74"/>
                      <a:pt x="298" y="74"/>
                      <a:pt x="298" y="74"/>
                    </a:cubicBezTo>
                    <a:cubicBezTo>
                      <a:pt x="302" y="69"/>
                      <a:pt x="306" y="64"/>
                      <a:pt x="311" y="60"/>
                    </a:cubicBezTo>
                    <a:cubicBezTo>
                      <a:pt x="312" y="59"/>
                      <a:pt x="312" y="59"/>
                      <a:pt x="312" y="59"/>
                    </a:cubicBezTo>
                    <a:cubicBezTo>
                      <a:pt x="314" y="59"/>
                      <a:pt x="314" y="59"/>
                      <a:pt x="314" y="59"/>
                    </a:cubicBezTo>
                    <a:cubicBezTo>
                      <a:pt x="314" y="59"/>
                      <a:pt x="314" y="59"/>
                      <a:pt x="314" y="59"/>
                    </a:cubicBezTo>
                    <a:cubicBezTo>
                      <a:pt x="315" y="59"/>
                      <a:pt x="315" y="59"/>
                      <a:pt x="316" y="59"/>
                    </a:cubicBezTo>
                    <a:cubicBezTo>
                      <a:pt x="317" y="60"/>
                      <a:pt x="317" y="60"/>
                      <a:pt x="317" y="60"/>
                    </a:cubicBezTo>
                    <a:cubicBezTo>
                      <a:pt x="318" y="60"/>
                      <a:pt x="318" y="60"/>
                      <a:pt x="318" y="60"/>
                    </a:cubicBezTo>
                    <a:cubicBezTo>
                      <a:pt x="320" y="59"/>
                      <a:pt x="321" y="58"/>
                      <a:pt x="323" y="57"/>
                    </a:cubicBezTo>
                    <a:cubicBezTo>
                      <a:pt x="327" y="55"/>
                      <a:pt x="327" y="55"/>
                      <a:pt x="327" y="55"/>
                    </a:cubicBezTo>
                    <a:cubicBezTo>
                      <a:pt x="328" y="54"/>
                      <a:pt x="329" y="53"/>
                      <a:pt x="331" y="52"/>
                    </a:cubicBezTo>
                    <a:cubicBezTo>
                      <a:pt x="330" y="52"/>
                      <a:pt x="330" y="52"/>
                      <a:pt x="330" y="52"/>
                    </a:cubicBezTo>
                    <a:cubicBezTo>
                      <a:pt x="327" y="54"/>
                      <a:pt x="323" y="55"/>
                      <a:pt x="319" y="57"/>
                    </a:cubicBezTo>
                    <a:cubicBezTo>
                      <a:pt x="316" y="58"/>
                      <a:pt x="316" y="58"/>
                      <a:pt x="316" y="58"/>
                    </a:cubicBezTo>
                    <a:cubicBezTo>
                      <a:pt x="316" y="58"/>
                      <a:pt x="315" y="58"/>
                      <a:pt x="314" y="58"/>
                    </a:cubicBezTo>
                    <a:cubicBezTo>
                      <a:pt x="314" y="58"/>
                      <a:pt x="314" y="58"/>
                      <a:pt x="314" y="58"/>
                    </a:cubicBezTo>
                    <a:cubicBezTo>
                      <a:pt x="313" y="58"/>
                      <a:pt x="313" y="58"/>
                      <a:pt x="312" y="58"/>
                    </a:cubicBezTo>
                    <a:cubicBezTo>
                      <a:pt x="309" y="56"/>
                      <a:pt x="308" y="54"/>
                      <a:pt x="307" y="52"/>
                    </a:cubicBezTo>
                    <a:cubicBezTo>
                      <a:pt x="307" y="51"/>
                      <a:pt x="306" y="51"/>
                      <a:pt x="306" y="50"/>
                    </a:cubicBezTo>
                    <a:cubicBezTo>
                      <a:pt x="306" y="50"/>
                      <a:pt x="306" y="50"/>
                      <a:pt x="306" y="50"/>
                    </a:cubicBezTo>
                    <a:cubicBezTo>
                      <a:pt x="305" y="48"/>
                      <a:pt x="304" y="45"/>
                      <a:pt x="304" y="43"/>
                    </a:cubicBezTo>
                    <a:cubicBezTo>
                      <a:pt x="304" y="42"/>
                      <a:pt x="304" y="41"/>
                      <a:pt x="304" y="40"/>
                    </a:cubicBezTo>
                    <a:cubicBezTo>
                      <a:pt x="305" y="39"/>
                      <a:pt x="305" y="38"/>
                      <a:pt x="305" y="37"/>
                    </a:cubicBezTo>
                    <a:cubicBezTo>
                      <a:pt x="305" y="36"/>
                      <a:pt x="305" y="36"/>
                      <a:pt x="305" y="36"/>
                    </a:cubicBezTo>
                    <a:cubicBezTo>
                      <a:pt x="306" y="33"/>
                      <a:pt x="307" y="29"/>
                      <a:pt x="307" y="24"/>
                    </a:cubicBezTo>
                    <a:cubicBezTo>
                      <a:pt x="307" y="22"/>
                      <a:pt x="307" y="19"/>
                      <a:pt x="308" y="17"/>
                    </a:cubicBezTo>
                    <a:cubicBezTo>
                      <a:pt x="307" y="16"/>
                      <a:pt x="305" y="16"/>
                      <a:pt x="305" y="16"/>
                    </a:cubicBezTo>
                    <a:cubicBezTo>
                      <a:pt x="304" y="16"/>
                      <a:pt x="304" y="16"/>
                      <a:pt x="304" y="16"/>
                    </a:cubicBezTo>
                    <a:cubicBezTo>
                      <a:pt x="303" y="16"/>
                      <a:pt x="303" y="16"/>
                      <a:pt x="302" y="16"/>
                    </a:cubicBezTo>
                    <a:cubicBezTo>
                      <a:pt x="298" y="15"/>
                      <a:pt x="298" y="15"/>
                      <a:pt x="298" y="15"/>
                    </a:cubicBezTo>
                    <a:cubicBezTo>
                      <a:pt x="300" y="10"/>
                      <a:pt x="300" y="10"/>
                      <a:pt x="300" y="10"/>
                    </a:cubicBezTo>
                    <a:cubicBezTo>
                      <a:pt x="300" y="9"/>
                      <a:pt x="301" y="9"/>
                      <a:pt x="301" y="8"/>
                    </a:cubicBezTo>
                    <a:cubicBezTo>
                      <a:pt x="300" y="8"/>
                      <a:pt x="300" y="8"/>
                      <a:pt x="300" y="8"/>
                    </a:cubicBezTo>
                    <a:cubicBezTo>
                      <a:pt x="300" y="7"/>
                      <a:pt x="300" y="6"/>
                      <a:pt x="299" y="6"/>
                    </a:cubicBezTo>
                    <a:cubicBezTo>
                      <a:pt x="299" y="5"/>
                      <a:pt x="299" y="5"/>
                      <a:pt x="299" y="5"/>
                    </a:cubicBezTo>
                    <a:cubicBezTo>
                      <a:pt x="292" y="11"/>
                      <a:pt x="292" y="11"/>
                      <a:pt x="292" y="11"/>
                    </a:cubicBezTo>
                    <a:cubicBezTo>
                      <a:pt x="297" y="3"/>
                      <a:pt x="297" y="3"/>
                      <a:pt x="297" y="3"/>
                    </a:cubicBezTo>
                    <a:cubicBezTo>
                      <a:pt x="297" y="3"/>
                      <a:pt x="296" y="2"/>
                      <a:pt x="296" y="2"/>
                    </a:cubicBezTo>
                    <a:cubicBezTo>
                      <a:pt x="295" y="1"/>
                      <a:pt x="294" y="1"/>
                      <a:pt x="29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4" name="Freeform 342">
                <a:extLst>
                  <a:ext uri="{FF2B5EF4-FFF2-40B4-BE49-F238E27FC236}">
                    <a16:creationId xmlns:a16="http://schemas.microsoft.com/office/drawing/2014/main" id="{F27CD6C6-19E2-4B91-BE0A-3AEF95ADDFA4}"/>
                  </a:ext>
                </a:extLst>
              </p:cNvPr>
              <p:cNvSpPr>
                <a:spLocks noEditPoints="1"/>
              </p:cNvSpPr>
              <p:nvPr/>
            </p:nvSpPr>
            <p:spPr bwMode="auto">
              <a:xfrm>
                <a:off x="8343102" y="5148107"/>
                <a:ext cx="1709894" cy="1459306"/>
              </a:xfrm>
              <a:custGeom>
                <a:avLst/>
                <a:gdLst>
                  <a:gd name="T0" fmla="*/ 136 w 539"/>
                  <a:gd name="T1" fmla="*/ 298 h 459"/>
                  <a:gd name="T2" fmla="*/ 8 w 539"/>
                  <a:gd name="T3" fmla="*/ 38 h 459"/>
                  <a:gd name="T4" fmla="*/ 15 w 539"/>
                  <a:gd name="T5" fmla="*/ 61 h 459"/>
                  <a:gd name="T6" fmla="*/ 21 w 539"/>
                  <a:gd name="T7" fmla="*/ 82 h 459"/>
                  <a:gd name="T8" fmla="*/ 26 w 539"/>
                  <a:gd name="T9" fmla="*/ 93 h 459"/>
                  <a:gd name="T10" fmla="*/ 33 w 539"/>
                  <a:gd name="T11" fmla="*/ 105 h 459"/>
                  <a:gd name="T12" fmla="*/ 47 w 539"/>
                  <a:gd name="T13" fmla="*/ 122 h 459"/>
                  <a:gd name="T14" fmla="*/ 63 w 539"/>
                  <a:gd name="T15" fmla="*/ 129 h 459"/>
                  <a:gd name="T16" fmla="*/ 60 w 539"/>
                  <a:gd name="T17" fmla="*/ 145 h 459"/>
                  <a:gd name="T18" fmla="*/ 47 w 539"/>
                  <a:gd name="T19" fmla="*/ 167 h 459"/>
                  <a:gd name="T20" fmla="*/ 39 w 539"/>
                  <a:gd name="T21" fmla="*/ 184 h 459"/>
                  <a:gd name="T22" fmla="*/ 48 w 539"/>
                  <a:gd name="T23" fmla="*/ 193 h 459"/>
                  <a:gd name="T24" fmla="*/ 58 w 539"/>
                  <a:gd name="T25" fmla="*/ 213 h 459"/>
                  <a:gd name="T26" fmla="*/ 94 w 539"/>
                  <a:gd name="T27" fmla="*/ 232 h 459"/>
                  <a:gd name="T28" fmla="*/ 107 w 539"/>
                  <a:gd name="T29" fmla="*/ 259 h 459"/>
                  <a:gd name="T30" fmla="*/ 112 w 539"/>
                  <a:gd name="T31" fmla="*/ 277 h 459"/>
                  <a:gd name="T32" fmla="*/ 123 w 539"/>
                  <a:gd name="T33" fmla="*/ 303 h 459"/>
                  <a:gd name="T34" fmla="*/ 143 w 539"/>
                  <a:gd name="T35" fmla="*/ 301 h 459"/>
                  <a:gd name="T36" fmla="*/ 166 w 539"/>
                  <a:gd name="T37" fmla="*/ 305 h 459"/>
                  <a:gd name="T38" fmla="*/ 192 w 539"/>
                  <a:gd name="T39" fmla="*/ 343 h 459"/>
                  <a:gd name="T40" fmla="*/ 216 w 539"/>
                  <a:gd name="T41" fmla="*/ 376 h 459"/>
                  <a:gd name="T42" fmla="*/ 242 w 539"/>
                  <a:gd name="T43" fmla="*/ 392 h 459"/>
                  <a:gd name="T44" fmla="*/ 277 w 539"/>
                  <a:gd name="T45" fmla="*/ 413 h 459"/>
                  <a:gd name="T46" fmla="*/ 334 w 539"/>
                  <a:gd name="T47" fmla="*/ 399 h 459"/>
                  <a:gd name="T48" fmla="*/ 368 w 539"/>
                  <a:gd name="T49" fmla="*/ 424 h 459"/>
                  <a:gd name="T50" fmla="*/ 414 w 539"/>
                  <a:gd name="T51" fmla="*/ 446 h 459"/>
                  <a:gd name="T52" fmla="*/ 449 w 539"/>
                  <a:gd name="T53" fmla="*/ 450 h 459"/>
                  <a:gd name="T54" fmla="*/ 485 w 539"/>
                  <a:gd name="T55" fmla="*/ 459 h 459"/>
                  <a:gd name="T56" fmla="*/ 498 w 539"/>
                  <a:gd name="T57" fmla="*/ 431 h 459"/>
                  <a:gd name="T58" fmla="*/ 536 w 539"/>
                  <a:gd name="T59" fmla="*/ 411 h 459"/>
                  <a:gd name="T60" fmla="*/ 525 w 539"/>
                  <a:gd name="T61" fmla="*/ 393 h 459"/>
                  <a:gd name="T62" fmla="*/ 515 w 539"/>
                  <a:gd name="T63" fmla="*/ 364 h 459"/>
                  <a:gd name="T64" fmla="*/ 466 w 539"/>
                  <a:gd name="T65" fmla="*/ 316 h 459"/>
                  <a:gd name="T66" fmla="*/ 491 w 539"/>
                  <a:gd name="T67" fmla="*/ 289 h 459"/>
                  <a:gd name="T68" fmla="*/ 470 w 539"/>
                  <a:gd name="T69" fmla="*/ 263 h 459"/>
                  <a:gd name="T70" fmla="*/ 469 w 539"/>
                  <a:gd name="T71" fmla="*/ 234 h 459"/>
                  <a:gd name="T72" fmla="*/ 461 w 539"/>
                  <a:gd name="T73" fmla="*/ 192 h 459"/>
                  <a:gd name="T74" fmla="*/ 472 w 539"/>
                  <a:gd name="T75" fmla="*/ 160 h 459"/>
                  <a:gd name="T76" fmla="*/ 484 w 539"/>
                  <a:gd name="T77" fmla="*/ 134 h 459"/>
                  <a:gd name="T78" fmla="*/ 479 w 539"/>
                  <a:gd name="T79" fmla="*/ 109 h 459"/>
                  <a:gd name="T80" fmla="*/ 463 w 539"/>
                  <a:gd name="T81" fmla="*/ 102 h 459"/>
                  <a:gd name="T82" fmla="*/ 448 w 539"/>
                  <a:gd name="T83" fmla="*/ 89 h 459"/>
                  <a:gd name="T84" fmla="*/ 430 w 539"/>
                  <a:gd name="T85" fmla="*/ 74 h 459"/>
                  <a:gd name="T86" fmla="*/ 403 w 539"/>
                  <a:gd name="T87" fmla="*/ 69 h 459"/>
                  <a:gd name="T88" fmla="*/ 377 w 539"/>
                  <a:gd name="T89" fmla="*/ 59 h 459"/>
                  <a:gd name="T90" fmla="*/ 359 w 539"/>
                  <a:gd name="T91" fmla="*/ 48 h 459"/>
                  <a:gd name="T92" fmla="*/ 339 w 539"/>
                  <a:gd name="T93" fmla="*/ 60 h 459"/>
                  <a:gd name="T94" fmla="*/ 268 w 539"/>
                  <a:gd name="T95" fmla="*/ 91 h 459"/>
                  <a:gd name="T96" fmla="*/ 215 w 539"/>
                  <a:gd name="T97" fmla="*/ 99 h 459"/>
                  <a:gd name="T98" fmla="*/ 171 w 539"/>
                  <a:gd name="T99" fmla="*/ 77 h 459"/>
                  <a:gd name="T100" fmla="*/ 134 w 539"/>
                  <a:gd name="T101" fmla="*/ 43 h 459"/>
                  <a:gd name="T102" fmla="*/ 125 w 539"/>
                  <a:gd name="T103" fmla="*/ 44 h 459"/>
                  <a:gd name="T104" fmla="*/ 103 w 539"/>
                  <a:gd name="T105" fmla="*/ 25 h 459"/>
                  <a:gd name="T106" fmla="*/ 101 w 539"/>
                  <a:gd name="T107" fmla="*/ 4 h 459"/>
                  <a:gd name="T108" fmla="*/ 69 w 539"/>
                  <a:gd name="T109" fmla="*/ 28 h 459"/>
                  <a:gd name="T110" fmla="*/ 60 w 539"/>
                  <a:gd name="T111" fmla="*/ 29 h 459"/>
                  <a:gd name="T112" fmla="*/ 16 w 539"/>
                  <a:gd name="T113" fmla="*/ 4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9" h="459">
                    <a:moveTo>
                      <a:pt x="136" y="298"/>
                    </a:moveTo>
                    <a:cubicBezTo>
                      <a:pt x="138" y="297"/>
                      <a:pt x="137" y="295"/>
                      <a:pt x="136" y="294"/>
                    </a:cubicBezTo>
                    <a:cubicBezTo>
                      <a:pt x="136" y="294"/>
                      <a:pt x="138" y="294"/>
                      <a:pt x="139" y="294"/>
                    </a:cubicBezTo>
                    <a:cubicBezTo>
                      <a:pt x="140" y="294"/>
                      <a:pt x="141" y="294"/>
                      <a:pt x="142" y="294"/>
                    </a:cubicBezTo>
                    <a:cubicBezTo>
                      <a:pt x="143" y="295"/>
                      <a:pt x="144" y="295"/>
                      <a:pt x="144" y="297"/>
                    </a:cubicBezTo>
                    <a:cubicBezTo>
                      <a:pt x="144" y="298"/>
                      <a:pt x="143" y="298"/>
                      <a:pt x="142" y="298"/>
                    </a:cubicBezTo>
                    <a:cubicBezTo>
                      <a:pt x="141" y="298"/>
                      <a:pt x="139" y="298"/>
                      <a:pt x="138" y="298"/>
                    </a:cubicBezTo>
                    <a:cubicBezTo>
                      <a:pt x="138" y="298"/>
                      <a:pt x="137" y="298"/>
                      <a:pt x="137" y="298"/>
                    </a:cubicBezTo>
                    <a:cubicBezTo>
                      <a:pt x="137" y="298"/>
                      <a:pt x="137" y="298"/>
                      <a:pt x="136" y="298"/>
                    </a:cubicBezTo>
                    <a:moveTo>
                      <a:pt x="12" y="0"/>
                    </a:moveTo>
                    <a:cubicBezTo>
                      <a:pt x="11" y="0"/>
                      <a:pt x="11" y="0"/>
                      <a:pt x="11" y="0"/>
                    </a:cubicBezTo>
                    <a:cubicBezTo>
                      <a:pt x="11" y="0"/>
                      <a:pt x="11" y="0"/>
                      <a:pt x="11" y="0"/>
                    </a:cubicBezTo>
                    <a:cubicBezTo>
                      <a:pt x="12" y="7"/>
                      <a:pt x="9" y="10"/>
                      <a:pt x="7" y="10"/>
                    </a:cubicBezTo>
                    <a:cubicBezTo>
                      <a:pt x="5" y="11"/>
                      <a:pt x="3" y="11"/>
                      <a:pt x="0" y="12"/>
                    </a:cubicBezTo>
                    <a:cubicBezTo>
                      <a:pt x="1" y="13"/>
                      <a:pt x="1" y="13"/>
                      <a:pt x="1" y="13"/>
                    </a:cubicBezTo>
                    <a:cubicBezTo>
                      <a:pt x="1" y="15"/>
                      <a:pt x="1" y="16"/>
                      <a:pt x="2" y="17"/>
                    </a:cubicBezTo>
                    <a:cubicBezTo>
                      <a:pt x="3" y="20"/>
                      <a:pt x="4" y="22"/>
                      <a:pt x="5" y="24"/>
                    </a:cubicBezTo>
                    <a:cubicBezTo>
                      <a:pt x="8" y="26"/>
                      <a:pt x="8" y="33"/>
                      <a:pt x="8" y="38"/>
                    </a:cubicBezTo>
                    <a:cubicBezTo>
                      <a:pt x="9" y="38"/>
                      <a:pt x="10" y="39"/>
                      <a:pt x="11" y="40"/>
                    </a:cubicBezTo>
                    <a:cubicBezTo>
                      <a:pt x="13" y="43"/>
                      <a:pt x="11" y="48"/>
                      <a:pt x="10" y="50"/>
                    </a:cubicBezTo>
                    <a:cubicBezTo>
                      <a:pt x="8" y="51"/>
                      <a:pt x="6" y="54"/>
                      <a:pt x="6" y="54"/>
                    </a:cubicBezTo>
                    <a:cubicBezTo>
                      <a:pt x="6" y="54"/>
                      <a:pt x="6" y="54"/>
                      <a:pt x="6" y="54"/>
                    </a:cubicBezTo>
                    <a:cubicBezTo>
                      <a:pt x="6" y="54"/>
                      <a:pt x="6" y="54"/>
                      <a:pt x="6" y="54"/>
                    </a:cubicBezTo>
                    <a:cubicBezTo>
                      <a:pt x="7" y="55"/>
                      <a:pt x="8" y="56"/>
                      <a:pt x="9" y="57"/>
                    </a:cubicBezTo>
                    <a:cubicBezTo>
                      <a:pt x="10" y="57"/>
                      <a:pt x="12" y="58"/>
                      <a:pt x="13" y="59"/>
                    </a:cubicBezTo>
                    <a:cubicBezTo>
                      <a:pt x="13" y="59"/>
                      <a:pt x="14" y="60"/>
                      <a:pt x="14" y="60"/>
                    </a:cubicBezTo>
                    <a:cubicBezTo>
                      <a:pt x="14" y="60"/>
                      <a:pt x="15" y="60"/>
                      <a:pt x="15" y="61"/>
                    </a:cubicBezTo>
                    <a:cubicBezTo>
                      <a:pt x="16" y="62"/>
                      <a:pt x="16" y="64"/>
                      <a:pt x="16" y="65"/>
                    </a:cubicBezTo>
                    <a:cubicBezTo>
                      <a:pt x="16" y="66"/>
                      <a:pt x="16" y="66"/>
                      <a:pt x="15" y="67"/>
                    </a:cubicBezTo>
                    <a:cubicBezTo>
                      <a:pt x="15" y="68"/>
                      <a:pt x="15" y="68"/>
                      <a:pt x="15" y="68"/>
                    </a:cubicBezTo>
                    <a:cubicBezTo>
                      <a:pt x="15" y="68"/>
                      <a:pt x="15" y="69"/>
                      <a:pt x="15" y="70"/>
                    </a:cubicBezTo>
                    <a:cubicBezTo>
                      <a:pt x="15" y="70"/>
                      <a:pt x="16" y="71"/>
                      <a:pt x="16" y="71"/>
                    </a:cubicBezTo>
                    <a:cubicBezTo>
                      <a:pt x="18" y="72"/>
                      <a:pt x="20" y="73"/>
                      <a:pt x="21" y="75"/>
                    </a:cubicBezTo>
                    <a:cubicBezTo>
                      <a:pt x="21" y="76"/>
                      <a:pt x="21" y="76"/>
                      <a:pt x="21" y="76"/>
                    </a:cubicBezTo>
                    <a:cubicBezTo>
                      <a:pt x="22" y="78"/>
                      <a:pt x="21" y="80"/>
                      <a:pt x="21" y="81"/>
                    </a:cubicBezTo>
                    <a:cubicBezTo>
                      <a:pt x="21" y="82"/>
                      <a:pt x="21" y="82"/>
                      <a:pt x="21" y="82"/>
                    </a:cubicBezTo>
                    <a:cubicBezTo>
                      <a:pt x="21" y="82"/>
                      <a:pt x="22" y="83"/>
                      <a:pt x="22" y="85"/>
                    </a:cubicBezTo>
                    <a:cubicBezTo>
                      <a:pt x="24" y="87"/>
                      <a:pt x="24" y="88"/>
                      <a:pt x="24" y="89"/>
                    </a:cubicBezTo>
                    <a:cubicBezTo>
                      <a:pt x="24" y="89"/>
                      <a:pt x="24" y="90"/>
                      <a:pt x="23" y="91"/>
                    </a:cubicBezTo>
                    <a:cubicBezTo>
                      <a:pt x="23" y="91"/>
                      <a:pt x="23" y="91"/>
                      <a:pt x="23" y="91"/>
                    </a:cubicBezTo>
                    <a:cubicBezTo>
                      <a:pt x="24" y="91"/>
                      <a:pt x="24" y="91"/>
                      <a:pt x="24" y="91"/>
                    </a:cubicBezTo>
                    <a:cubicBezTo>
                      <a:pt x="24" y="90"/>
                      <a:pt x="24" y="90"/>
                      <a:pt x="24" y="90"/>
                    </a:cubicBezTo>
                    <a:cubicBezTo>
                      <a:pt x="24" y="92"/>
                      <a:pt x="24" y="92"/>
                      <a:pt x="24" y="92"/>
                    </a:cubicBezTo>
                    <a:cubicBezTo>
                      <a:pt x="25" y="92"/>
                      <a:pt x="25" y="92"/>
                      <a:pt x="25" y="92"/>
                    </a:cubicBezTo>
                    <a:cubicBezTo>
                      <a:pt x="26" y="93"/>
                      <a:pt x="26" y="93"/>
                      <a:pt x="26" y="93"/>
                    </a:cubicBezTo>
                    <a:cubicBezTo>
                      <a:pt x="28" y="94"/>
                      <a:pt x="28" y="96"/>
                      <a:pt x="28" y="97"/>
                    </a:cubicBezTo>
                    <a:cubicBezTo>
                      <a:pt x="28" y="98"/>
                      <a:pt x="28" y="99"/>
                      <a:pt x="28" y="100"/>
                    </a:cubicBezTo>
                    <a:cubicBezTo>
                      <a:pt x="28" y="100"/>
                      <a:pt x="28" y="100"/>
                      <a:pt x="28" y="100"/>
                    </a:cubicBezTo>
                    <a:cubicBezTo>
                      <a:pt x="28" y="100"/>
                      <a:pt x="28" y="100"/>
                      <a:pt x="28" y="100"/>
                    </a:cubicBezTo>
                    <a:cubicBezTo>
                      <a:pt x="29" y="101"/>
                      <a:pt x="29" y="101"/>
                      <a:pt x="29" y="101"/>
                    </a:cubicBezTo>
                    <a:cubicBezTo>
                      <a:pt x="29" y="101"/>
                      <a:pt x="31" y="102"/>
                      <a:pt x="32" y="103"/>
                    </a:cubicBezTo>
                    <a:cubicBezTo>
                      <a:pt x="38" y="102"/>
                      <a:pt x="38" y="102"/>
                      <a:pt x="38" y="102"/>
                    </a:cubicBezTo>
                    <a:cubicBezTo>
                      <a:pt x="33" y="105"/>
                      <a:pt x="33" y="105"/>
                      <a:pt x="33" y="105"/>
                    </a:cubicBezTo>
                    <a:cubicBezTo>
                      <a:pt x="33" y="105"/>
                      <a:pt x="33" y="105"/>
                      <a:pt x="33" y="105"/>
                    </a:cubicBezTo>
                    <a:cubicBezTo>
                      <a:pt x="33" y="105"/>
                      <a:pt x="34" y="106"/>
                      <a:pt x="34" y="106"/>
                    </a:cubicBezTo>
                    <a:cubicBezTo>
                      <a:pt x="35" y="109"/>
                      <a:pt x="35" y="111"/>
                      <a:pt x="36" y="114"/>
                    </a:cubicBezTo>
                    <a:cubicBezTo>
                      <a:pt x="36" y="116"/>
                      <a:pt x="36" y="116"/>
                      <a:pt x="36" y="116"/>
                    </a:cubicBezTo>
                    <a:cubicBezTo>
                      <a:pt x="36" y="116"/>
                      <a:pt x="37" y="115"/>
                      <a:pt x="37" y="115"/>
                    </a:cubicBezTo>
                    <a:cubicBezTo>
                      <a:pt x="37" y="115"/>
                      <a:pt x="38" y="116"/>
                      <a:pt x="39" y="116"/>
                    </a:cubicBezTo>
                    <a:cubicBezTo>
                      <a:pt x="40" y="116"/>
                      <a:pt x="41" y="117"/>
                      <a:pt x="42" y="118"/>
                    </a:cubicBezTo>
                    <a:cubicBezTo>
                      <a:pt x="44" y="119"/>
                      <a:pt x="45" y="120"/>
                      <a:pt x="46" y="121"/>
                    </a:cubicBezTo>
                    <a:cubicBezTo>
                      <a:pt x="46" y="121"/>
                      <a:pt x="46" y="122"/>
                      <a:pt x="47" y="122"/>
                    </a:cubicBezTo>
                    <a:cubicBezTo>
                      <a:pt x="47" y="122"/>
                      <a:pt x="47" y="122"/>
                      <a:pt x="47" y="122"/>
                    </a:cubicBezTo>
                    <a:cubicBezTo>
                      <a:pt x="48" y="122"/>
                      <a:pt x="49" y="121"/>
                      <a:pt x="50" y="121"/>
                    </a:cubicBezTo>
                    <a:cubicBezTo>
                      <a:pt x="51" y="121"/>
                      <a:pt x="51" y="121"/>
                      <a:pt x="51" y="121"/>
                    </a:cubicBezTo>
                    <a:cubicBezTo>
                      <a:pt x="52" y="121"/>
                      <a:pt x="52" y="121"/>
                      <a:pt x="52" y="121"/>
                    </a:cubicBezTo>
                    <a:cubicBezTo>
                      <a:pt x="53" y="121"/>
                      <a:pt x="53" y="121"/>
                      <a:pt x="53" y="121"/>
                    </a:cubicBezTo>
                    <a:cubicBezTo>
                      <a:pt x="53" y="121"/>
                      <a:pt x="54" y="121"/>
                      <a:pt x="54" y="121"/>
                    </a:cubicBezTo>
                    <a:cubicBezTo>
                      <a:pt x="56" y="121"/>
                      <a:pt x="57" y="121"/>
                      <a:pt x="59" y="122"/>
                    </a:cubicBezTo>
                    <a:cubicBezTo>
                      <a:pt x="59" y="122"/>
                      <a:pt x="60" y="122"/>
                      <a:pt x="60" y="122"/>
                    </a:cubicBezTo>
                    <a:cubicBezTo>
                      <a:pt x="71" y="125"/>
                      <a:pt x="71" y="125"/>
                      <a:pt x="71" y="125"/>
                    </a:cubicBezTo>
                    <a:cubicBezTo>
                      <a:pt x="63" y="129"/>
                      <a:pt x="63" y="129"/>
                      <a:pt x="63" y="129"/>
                    </a:cubicBezTo>
                    <a:cubicBezTo>
                      <a:pt x="62" y="130"/>
                      <a:pt x="61" y="130"/>
                      <a:pt x="60" y="130"/>
                    </a:cubicBezTo>
                    <a:cubicBezTo>
                      <a:pt x="57" y="131"/>
                      <a:pt x="56" y="132"/>
                      <a:pt x="56" y="132"/>
                    </a:cubicBezTo>
                    <a:cubicBezTo>
                      <a:pt x="56" y="132"/>
                      <a:pt x="56" y="132"/>
                      <a:pt x="56" y="132"/>
                    </a:cubicBezTo>
                    <a:cubicBezTo>
                      <a:pt x="56" y="133"/>
                      <a:pt x="56" y="133"/>
                      <a:pt x="56" y="134"/>
                    </a:cubicBezTo>
                    <a:cubicBezTo>
                      <a:pt x="56" y="135"/>
                      <a:pt x="56" y="135"/>
                      <a:pt x="56" y="135"/>
                    </a:cubicBezTo>
                    <a:cubicBezTo>
                      <a:pt x="56" y="135"/>
                      <a:pt x="56" y="135"/>
                      <a:pt x="56" y="136"/>
                    </a:cubicBezTo>
                    <a:cubicBezTo>
                      <a:pt x="56" y="137"/>
                      <a:pt x="56" y="137"/>
                      <a:pt x="57" y="137"/>
                    </a:cubicBezTo>
                    <a:cubicBezTo>
                      <a:pt x="57" y="138"/>
                      <a:pt x="57" y="138"/>
                      <a:pt x="57" y="138"/>
                    </a:cubicBezTo>
                    <a:cubicBezTo>
                      <a:pt x="58" y="140"/>
                      <a:pt x="60" y="142"/>
                      <a:pt x="60" y="145"/>
                    </a:cubicBezTo>
                    <a:cubicBezTo>
                      <a:pt x="60" y="146"/>
                      <a:pt x="60" y="147"/>
                      <a:pt x="60" y="147"/>
                    </a:cubicBezTo>
                    <a:cubicBezTo>
                      <a:pt x="60" y="148"/>
                      <a:pt x="60" y="148"/>
                      <a:pt x="60" y="148"/>
                    </a:cubicBezTo>
                    <a:cubicBezTo>
                      <a:pt x="60" y="151"/>
                      <a:pt x="60" y="151"/>
                      <a:pt x="60" y="151"/>
                    </a:cubicBezTo>
                    <a:cubicBezTo>
                      <a:pt x="57" y="151"/>
                      <a:pt x="57" y="151"/>
                      <a:pt x="57" y="151"/>
                    </a:cubicBezTo>
                    <a:cubicBezTo>
                      <a:pt x="56" y="152"/>
                      <a:pt x="55" y="152"/>
                      <a:pt x="54" y="152"/>
                    </a:cubicBezTo>
                    <a:cubicBezTo>
                      <a:pt x="53" y="153"/>
                      <a:pt x="52" y="153"/>
                      <a:pt x="51" y="153"/>
                    </a:cubicBezTo>
                    <a:cubicBezTo>
                      <a:pt x="49" y="156"/>
                      <a:pt x="48" y="158"/>
                      <a:pt x="48" y="161"/>
                    </a:cubicBezTo>
                    <a:cubicBezTo>
                      <a:pt x="48" y="163"/>
                      <a:pt x="48" y="163"/>
                      <a:pt x="48" y="163"/>
                    </a:cubicBezTo>
                    <a:cubicBezTo>
                      <a:pt x="47" y="165"/>
                      <a:pt x="47" y="166"/>
                      <a:pt x="47" y="167"/>
                    </a:cubicBezTo>
                    <a:cubicBezTo>
                      <a:pt x="46" y="168"/>
                      <a:pt x="45" y="169"/>
                      <a:pt x="43" y="169"/>
                    </a:cubicBezTo>
                    <a:cubicBezTo>
                      <a:pt x="42" y="169"/>
                      <a:pt x="42" y="169"/>
                      <a:pt x="41" y="169"/>
                    </a:cubicBezTo>
                    <a:cubicBezTo>
                      <a:pt x="41" y="169"/>
                      <a:pt x="41" y="169"/>
                      <a:pt x="41" y="169"/>
                    </a:cubicBezTo>
                    <a:cubicBezTo>
                      <a:pt x="41" y="169"/>
                      <a:pt x="41" y="169"/>
                      <a:pt x="41" y="169"/>
                    </a:cubicBezTo>
                    <a:cubicBezTo>
                      <a:pt x="41" y="170"/>
                      <a:pt x="42" y="170"/>
                      <a:pt x="42" y="171"/>
                    </a:cubicBezTo>
                    <a:cubicBezTo>
                      <a:pt x="43" y="172"/>
                      <a:pt x="43" y="174"/>
                      <a:pt x="43" y="176"/>
                    </a:cubicBezTo>
                    <a:cubicBezTo>
                      <a:pt x="42" y="176"/>
                      <a:pt x="42" y="177"/>
                      <a:pt x="42" y="177"/>
                    </a:cubicBezTo>
                    <a:cubicBezTo>
                      <a:pt x="41" y="179"/>
                      <a:pt x="41" y="179"/>
                      <a:pt x="41" y="179"/>
                    </a:cubicBezTo>
                    <a:cubicBezTo>
                      <a:pt x="41" y="180"/>
                      <a:pt x="40" y="182"/>
                      <a:pt x="39" y="184"/>
                    </a:cubicBezTo>
                    <a:cubicBezTo>
                      <a:pt x="39" y="184"/>
                      <a:pt x="39" y="184"/>
                      <a:pt x="39" y="184"/>
                    </a:cubicBezTo>
                    <a:cubicBezTo>
                      <a:pt x="47" y="184"/>
                      <a:pt x="47" y="184"/>
                      <a:pt x="47" y="184"/>
                    </a:cubicBezTo>
                    <a:cubicBezTo>
                      <a:pt x="43" y="189"/>
                      <a:pt x="43" y="189"/>
                      <a:pt x="43" y="189"/>
                    </a:cubicBezTo>
                    <a:cubicBezTo>
                      <a:pt x="45" y="191"/>
                      <a:pt x="45" y="191"/>
                      <a:pt x="45" y="191"/>
                    </a:cubicBezTo>
                    <a:cubicBezTo>
                      <a:pt x="50" y="186"/>
                      <a:pt x="50" y="186"/>
                      <a:pt x="50" y="186"/>
                    </a:cubicBezTo>
                    <a:cubicBezTo>
                      <a:pt x="46" y="192"/>
                      <a:pt x="46" y="192"/>
                      <a:pt x="46" y="192"/>
                    </a:cubicBezTo>
                    <a:cubicBezTo>
                      <a:pt x="46" y="192"/>
                      <a:pt x="46" y="192"/>
                      <a:pt x="46" y="192"/>
                    </a:cubicBezTo>
                    <a:cubicBezTo>
                      <a:pt x="47" y="193"/>
                      <a:pt x="47" y="193"/>
                      <a:pt x="47" y="193"/>
                    </a:cubicBezTo>
                    <a:cubicBezTo>
                      <a:pt x="48" y="193"/>
                      <a:pt x="48" y="193"/>
                      <a:pt x="48" y="193"/>
                    </a:cubicBezTo>
                    <a:cubicBezTo>
                      <a:pt x="49" y="193"/>
                      <a:pt x="51" y="194"/>
                      <a:pt x="53" y="196"/>
                    </a:cubicBezTo>
                    <a:cubicBezTo>
                      <a:pt x="53" y="196"/>
                      <a:pt x="53" y="197"/>
                      <a:pt x="54" y="197"/>
                    </a:cubicBezTo>
                    <a:cubicBezTo>
                      <a:pt x="54" y="199"/>
                      <a:pt x="54" y="200"/>
                      <a:pt x="54" y="201"/>
                    </a:cubicBezTo>
                    <a:cubicBezTo>
                      <a:pt x="54" y="202"/>
                      <a:pt x="54" y="203"/>
                      <a:pt x="54" y="203"/>
                    </a:cubicBezTo>
                    <a:cubicBezTo>
                      <a:pt x="54" y="204"/>
                      <a:pt x="55" y="205"/>
                      <a:pt x="55" y="206"/>
                    </a:cubicBezTo>
                    <a:cubicBezTo>
                      <a:pt x="55" y="207"/>
                      <a:pt x="55" y="207"/>
                      <a:pt x="55" y="207"/>
                    </a:cubicBezTo>
                    <a:cubicBezTo>
                      <a:pt x="55" y="209"/>
                      <a:pt x="56" y="211"/>
                      <a:pt x="56" y="212"/>
                    </a:cubicBezTo>
                    <a:cubicBezTo>
                      <a:pt x="57" y="213"/>
                      <a:pt x="57" y="213"/>
                      <a:pt x="57" y="213"/>
                    </a:cubicBezTo>
                    <a:cubicBezTo>
                      <a:pt x="58" y="213"/>
                      <a:pt x="58" y="213"/>
                      <a:pt x="58" y="213"/>
                    </a:cubicBezTo>
                    <a:cubicBezTo>
                      <a:pt x="59" y="213"/>
                      <a:pt x="59" y="213"/>
                      <a:pt x="60" y="213"/>
                    </a:cubicBezTo>
                    <a:cubicBezTo>
                      <a:pt x="62" y="214"/>
                      <a:pt x="63" y="214"/>
                      <a:pt x="65" y="215"/>
                    </a:cubicBezTo>
                    <a:cubicBezTo>
                      <a:pt x="67" y="216"/>
                      <a:pt x="69" y="217"/>
                      <a:pt x="71" y="218"/>
                    </a:cubicBezTo>
                    <a:cubicBezTo>
                      <a:pt x="84" y="228"/>
                      <a:pt x="84" y="228"/>
                      <a:pt x="84" y="228"/>
                    </a:cubicBezTo>
                    <a:cubicBezTo>
                      <a:pt x="84" y="228"/>
                      <a:pt x="84" y="228"/>
                      <a:pt x="84" y="229"/>
                    </a:cubicBezTo>
                    <a:cubicBezTo>
                      <a:pt x="85" y="228"/>
                      <a:pt x="85" y="228"/>
                      <a:pt x="85" y="228"/>
                    </a:cubicBezTo>
                    <a:cubicBezTo>
                      <a:pt x="85" y="228"/>
                      <a:pt x="86" y="228"/>
                      <a:pt x="87" y="228"/>
                    </a:cubicBezTo>
                    <a:cubicBezTo>
                      <a:pt x="87" y="228"/>
                      <a:pt x="88" y="228"/>
                      <a:pt x="89" y="229"/>
                    </a:cubicBezTo>
                    <a:cubicBezTo>
                      <a:pt x="91" y="229"/>
                      <a:pt x="92" y="230"/>
                      <a:pt x="94" y="232"/>
                    </a:cubicBezTo>
                    <a:cubicBezTo>
                      <a:pt x="96" y="234"/>
                      <a:pt x="98" y="237"/>
                      <a:pt x="99" y="239"/>
                    </a:cubicBezTo>
                    <a:cubicBezTo>
                      <a:pt x="100" y="241"/>
                      <a:pt x="100" y="241"/>
                      <a:pt x="100" y="241"/>
                    </a:cubicBezTo>
                    <a:cubicBezTo>
                      <a:pt x="101" y="242"/>
                      <a:pt x="102" y="244"/>
                      <a:pt x="103" y="245"/>
                    </a:cubicBezTo>
                    <a:cubicBezTo>
                      <a:pt x="106" y="249"/>
                      <a:pt x="107" y="252"/>
                      <a:pt x="108" y="254"/>
                    </a:cubicBezTo>
                    <a:cubicBezTo>
                      <a:pt x="108" y="254"/>
                      <a:pt x="108" y="254"/>
                      <a:pt x="108" y="254"/>
                    </a:cubicBezTo>
                    <a:cubicBezTo>
                      <a:pt x="108" y="255"/>
                      <a:pt x="108" y="255"/>
                      <a:pt x="108" y="255"/>
                    </a:cubicBezTo>
                    <a:cubicBezTo>
                      <a:pt x="108" y="255"/>
                      <a:pt x="108" y="256"/>
                      <a:pt x="107" y="257"/>
                    </a:cubicBezTo>
                    <a:cubicBezTo>
                      <a:pt x="107" y="257"/>
                      <a:pt x="107" y="257"/>
                      <a:pt x="107" y="257"/>
                    </a:cubicBezTo>
                    <a:cubicBezTo>
                      <a:pt x="107" y="259"/>
                      <a:pt x="107" y="259"/>
                      <a:pt x="107" y="259"/>
                    </a:cubicBezTo>
                    <a:cubicBezTo>
                      <a:pt x="106" y="260"/>
                      <a:pt x="106" y="261"/>
                      <a:pt x="105" y="263"/>
                    </a:cubicBezTo>
                    <a:cubicBezTo>
                      <a:pt x="105" y="263"/>
                      <a:pt x="105" y="263"/>
                      <a:pt x="105" y="263"/>
                    </a:cubicBezTo>
                    <a:cubicBezTo>
                      <a:pt x="104" y="264"/>
                      <a:pt x="104" y="264"/>
                      <a:pt x="104" y="264"/>
                    </a:cubicBezTo>
                    <a:cubicBezTo>
                      <a:pt x="104" y="266"/>
                      <a:pt x="104" y="268"/>
                      <a:pt x="104" y="270"/>
                    </a:cubicBezTo>
                    <a:cubicBezTo>
                      <a:pt x="103" y="272"/>
                      <a:pt x="103" y="273"/>
                      <a:pt x="103" y="275"/>
                    </a:cubicBezTo>
                    <a:cubicBezTo>
                      <a:pt x="104" y="275"/>
                      <a:pt x="105" y="275"/>
                      <a:pt x="106" y="275"/>
                    </a:cubicBezTo>
                    <a:cubicBezTo>
                      <a:pt x="108" y="275"/>
                      <a:pt x="109" y="275"/>
                      <a:pt x="110" y="276"/>
                    </a:cubicBezTo>
                    <a:cubicBezTo>
                      <a:pt x="111" y="276"/>
                      <a:pt x="111" y="276"/>
                      <a:pt x="111" y="276"/>
                    </a:cubicBezTo>
                    <a:cubicBezTo>
                      <a:pt x="112" y="277"/>
                      <a:pt x="112" y="277"/>
                      <a:pt x="112" y="277"/>
                    </a:cubicBezTo>
                    <a:cubicBezTo>
                      <a:pt x="112" y="278"/>
                      <a:pt x="113" y="279"/>
                      <a:pt x="113" y="279"/>
                    </a:cubicBezTo>
                    <a:cubicBezTo>
                      <a:pt x="113" y="280"/>
                      <a:pt x="113" y="281"/>
                      <a:pt x="113" y="282"/>
                    </a:cubicBezTo>
                    <a:cubicBezTo>
                      <a:pt x="114" y="284"/>
                      <a:pt x="113" y="287"/>
                      <a:pt x="113" y="290"/>
                    </a:cubicBezTo>
                    <a:cubicBezTo>
                      <a:pt x="113" y="291"/>
                      <a:pt x="113" y="292"/>
                      <a:pt x="113" y="292"/>
                    </a:cubicBezTo>
                    <a:cubicBezTo>
                      <a:pt x="113" y="293"/>
                      <a:pt x="113" y="293"/>
                      <a:pt x="114" y="293"/>
                    </a:cubicBezTo>
                    <a:cubicBezTo>
                      <a:pt x="115" y="294"/>
                      <a:pt x="116" y="295"/>
                      <a:pt x="117" y="296"/>
                    </a:cubicBezTo>
                    <a:cubicBezTo>
                      <a:pt x="119" y="297"/>
                      <a:pt x="120" y="299"/>
                      <a:pt x="121" y="300"/>
                    </a:cubicBezTo>
                    <a:cubicBezTo>
                      <a:pt x="122" y="301"/>
                      <a:pt x="122" y="302"/>
                      <a:pt x="123" y="303"/>
                    </a:cubicBezTo>
                    <a:cubicBezTo>
                      <a:pt x="123" y="303"/>
                      <a:pt x="123" y="303"/>
                      <a:pt x="123" y="303"/>
                    </a:cubicBezTo>
                    <a:cubicBezTo>
                      <a:pt x="124" y="304"/>
                      <a:pt x="125" y="306"/>
                      <a:pt x="128" y="308"/>
                    </a:cubicBezTo>
                    <a:cubicBezTo>
                      <a:pt x="131" y="310"/>
                      <a:pt x="131" y="310"/>
                      <a:pt x="131" y="310"/>
                    </a:cubicBezTo>
                    <a:cubicBezTo>
                      <a:pt x="133" y="309"/>
                      <a:pt x="134" y="309"/>
                      <a:pt x="135" y="308"/>
                    </a:cubicBezTo>
                    <a:cubicBezTo>
                      <a:pt x="135" y="308"/>
                      <a:pt x="135" y="305"/>
                      <a:pt x="135" y="304"/>
                    </a:cubicBezTo>
                    <a:cubicBezTo>
                      <a:pt x="135" y="303"/>
                      <a:pt x="134" y="303"/>
                      <a:pt x="134" y="302"/>
                    </a:cubicBezTo>
                    <a:cubicBezTo>
                      <a:pt x="133" y="301"/>
                      <a:pt x="133" y="300"/>
                      <a:pt x="133" y="300"/>
                    </a:cubicBezTo>
                    <a:cubicBezTo>
                      <a:pt x="135" y="299"/>
                      <a:pt x="136" y="298"/>
                      <a:pt x="136" y="298"/>
                    </a:cubicBezTo>
                    <a:cubicBezTo>
                      <a:pt x="137" y="298"/>
                      <a:pt x="137" y="299"/>
                      <a:pt x="137" y="299"/>
                    </a:cubicBezTo>
                    <a:cubicBezTo>
                      <a:pt x="139" y="299"/>
                      <a:pt x="141" y="300"/>
                      <a:pt x="143" y="301"/>
                    </a:cubicBezTo>
                    <a:cubicBezTo>
                      <a:pt x="143" y="302"/>
                      <a:pt x="144" y="302"/>
                      <a:pt x="145" y="302"/>
                    </a:cubicBezTo>
                    <a:cubicBezTo>
                      <a:pt x="147" y="303"/>
                      <a:pt x="150" y="305"/>
                      <a:pt x="151" y="307"/>
                    </a:cubicBezTo>
                    <a:cubicBezTo>
                      <a:pt x="151" y="307"/>
                      <a:pt x="152" y="308"/>
                      <a:pt x="152" y="308"/>
                    </a:cubicBezTo>
                    <a:cubicBezTo>
                      <a:pt x="152" y="309"/>
                      <a:pt x="153" y="309"/>
                      <a:pt x="153" y="309"/>
                    </a:cubicBezTo>
                    <a:cubicBezTo>
                      <a:pt x="153" y="309"/>
                      <a:pt x="153" y="309"/>
                      <a:pt x="154" y="309"/>
                    </a:cubicBezTo>
                    <a:cubicBezTo>
                      <a:pt x="155" y="309"/>
                      <a:pt x="156" y="307"/>
                      <a:pt x="157" y="307"/>
                    </a:cubicBezTo>
                    <a:cubicBezTo>
                      <a:pt x="159" y="306"/>
                      <a:pt x="162" y="306"/>
                      <a:pt x="164" y="305"/>
                    </a:cubicBezTo>
                    <a:cubicBezTo>
                      <a:pt x="164" y="305"/>
                      <a:pt x="165" y="305"/>
                      <a:pt x="165" y="305"/>
                    </a:cubicBezTo>
                    <a:cubicBezTo>
                      <a:pt x="165" y="305"/>
                      <a:pt x="166" y="305"/>
                      <a:pt x="166" y="305"/>
                    </a:cubicBezTo>
                    <a:cubicBezTo>
                      <a:pt x="168" y="305"/>
                      <a:pt x="170" y="307"/>
                      <a:pt x="170" y="309"/>
                    </a:cubicBezTo>
                    <a:cubicBezTo>
                      <a:pt x="171" y="311"/>
                      <a:pt x="172" y="313"/>
                      <a:pt x="172" y="314"/>
                    </a:cubicBezTo>
                    <a:cubicBezTo>
                      <a:pt x="173" y="315"/>
                      <a:pt x="174" y="316"/>
                      <a:pt x="174" y="317"/>
                    </a:cubicBezTo>
                    <a:cubicBezTo>
                      <a:pt x="176" y="319"/>
                      <a:pt x="178" y="320"/>
                      <a:pt x="180" y="322"/>
                    </a:cubicBezTo>
                    <a:cubicBezTo>
                      <a:pt x="182" y="324"/>
                      <a:pt x="183" y="327"/>
                      <a:pt x="184" y="329"/>
                    </a:cubicBezTo>
                    <a:cubicBezTo>
                      <a:pt x="185" y="331"/>
                      <a:pt x="185" y="333"/>
                      <a:pt x="183" y="336"/>
                    </a:cubicBezTo>
                    <a:cubicBezTo>
                      <a:pt x="185" y="336"/>
                      <a:pt x="186" y="337"/>
                      <a:pt x="187" y="337"/>
                    </a:cubicBezTo>
                    <a:cubicBezTo>
                      <a:pt x="190" y="338"/>
                      <a:pt x="191" y="339"/>
                      <a:pt x="192" y="342"/>
                    </a:cubicBezTo>
                    <a:cubicBezTo>
                      <a:pt x="192" y="343"/>
                      <a:pt x="192" y="343"/>
                      <a:pt x="192" y="343"/>
                    </a:cubicBezTo>
                    <a:cubicBezTo>
                      <a:pt x="192" y="346"/>
                      <a:pt x="193" y="349"/>
                      <a:pt x="194" y="352"/>
                    </a:cubicBezTo>
                    <a:cubicBezTo>
                      <a:pt x="195" y="354"/>
                      <a:pt x="197" y="357"/>
                      <a:pt x="198" y="360"/>
                    </a:cubicBezTo>
                    <a:cubicBezTo>
                      <a:pt x="199" y="362"/>
                      <a:pt x="200" y="364"/>
                      <a:pt x="201" y="367"/>
                    </a:cubicBezTo>
                    <a:cubicBezTo>
                      <a:pt x="201" y="367"/>
                      <a:pt x="201" y="367"/>
                      <a:pt x="201" y="367"/>
                    </a:cubicBezTo>
                    <a:cubicBezTo>
                      <a:pt x="203" y="370"/>
                      <a:pt x="204" y="372"/>
                      <a:pt x="206" y="373"/>
                    </a:cubicBezTo>
                    <a:cubicBezTo>
                      <a:pt x="207" y="374"/>
                      <a:pt x="209" y="375"/>
                      <a:pt x="211" y="376"/>
                    </a:cubicBezTo>
                    <a:cubicBezTo>
                      <a:pt x="212" y="376"/>
                      <a:pt x="213" y="376"/>
                      <a:pt x="214" y="376"/>
                    </a:cubicBezTo>
                    <a:cubicBezTo>
                      <a:pt x="214" y="376"/>
                      <a:pt x="215" y="376"/>
                      <a:pt x="215" y="376"/>
                    </a:cubicBezTo>
                    <a:cubicBezTo>
                      <a:pt x="216" y="376"/>
                      <a:pt x="216" y="376"/>
                      <a:pt x="216" y="376"/>
                    </a:cubicBezTo>
                    <a:cubicBezTo>
                      <a:pt x="216" y="376"/>
                      <a:pt x="217" y="376"/>
                      <a:pt x="217" y="376"/>
                    </a:cubicBezTo>
                    <a:cubicBezTo>
                      <a:pt x="219" y="376"/>
                      <a:pt x="221" y="376"/>
                      <a:pt x="222" y="377"/>
                    </a:cubicBezTo>
                    <a:cubicBezTo>
                      <a:pt x="223" y="377"/>
                      <a:pt x="223" y="378"/>
                      <a:pt x="224" y="378"/>
                    </a:cubicBezTo>
                    <a:cubicBezTo>
                      <a:pt x="226" y="379"/>
                      <a:pt x="229" y="380"/>
                      <a:pt x="231" y="381"/>
                    </a:cubicBezTo>
                    <a:cubicBezTo>
                      <a:pt x="232" y="381"/>
                      <a:pt x="232" y="382"/>
                      <a:pt x="232" y="382"/>
                    </a:cubicBezTo>
                    <a:cubicBezTo>
                      <a:pt x="233" y="382"/>
                      <a:pt x="233" y="382"/>
                      <a:pt x="234" y="382"/>
                    </a:cubicBezTo>
                    <a:cubicBezTo>
                      <a:pt x="234" y="383"/>
                      <a:pt x="235" y="383"/>
                      <a:pt x="236" y="384"/>
                    </a:cubicBezTo>
                    <a:cubicBezTo>
                      <a:pt x="236" y="385"/>
                      <a:pt x="237" y="385"/>
                      <a:pt x="238" y="386"/>
                    </a:cubicBezTo>
                    <a:cubicBezTo>
                      <a:pt x="239" y="388"/>
                      <a:pt x="241" y="390"/>
                      <a:pt x="242" y="392"/>
                    </a:cubicBezTo>
                    <a:cubicBezTo>
                      <a:pt x="244" y="394"/>
                      <a:pt x="246" y="396"/>
                      <a:pt x="248" y="397"/>
                    </a:cubicBezTo>
                    <a:cubicBezTo>
                      <a:pt x="248" y="397"/>
                      <a:pt x="248" y="397"/>
                      <a:pt x="248" y="397"/>
                    </a:cubicBezTo>
                    <a:cubicBezTo>
                      <a:pt x="251" y="399"/>
                      <a:pt x="253" y="400"/>
                      <a:pt x="256" y="401"/>
                    </a:cubicBezTo>
                    <a:cubicBezTo>
                      <a:pt x="256" y="401"/>
                      <a:pt x="256" y="401"/>
                      <a:pt x="256" y="401"/>
                    </a:cubicBezTo>
                    <a:cubicBezTo>
                      <a:pt x="259" y="402"/>
                      <a:pt x="261" y="403"/>
                      <a:pt x="263" y="404"/>
                    </a:cubicBezTo>
                    <a:cubicBezTo>
                      <a:pt x="264" y="405"/>
                      <a:pt x="264" y="405"/>
                      <a:pt x="264" y="405"/>
                    </a:cubicBezTo>
                    <a:cubicBezTo>
                      <a:pt x="265" y="407"/>
                      <a:pt x="266" y="408"/>
                      <a:pt x="269" y="410"/>
                    </a:cubicBezTo>
                    <a:cubicBezTo>
                      <a:pt x="269" y="410"/>
                      <a:pt x="269" y="410"/>
                      <a:pt x="269" y="410"/>
                    </a:cubicBezTo>
                    <a:cubicBezTo>
                      <a:pt x="272" y="411"/>
                      <a:pt x="274" y="412"/>
                      <a:pt x="277" y="413"/>
                    </a:cubicBezTo>
                    <a:cubicBezTo>
                      <a:pt x="280" y="413"/>
                      <a:pt x="283" y="413"/>
                      <a:pt x="287" y="414"/>
                    </a:cubicBezTo>
                    <a:cubicBezTo>
                      <a:pt x="287" y="414"/>
                      <a:pt x="288" y="414"/>
                      <a:pt x="289" y="414"/>
                    </a:cubicBezTo>
                    <a:cubicBezTo>
                      <a:pt x="291" y="415"/>
                      <a:pt x="294" y="415"/>
                      <a:pt x="296" y="416"/>
                    </a:cubicBezTo>
                    <a:cubicBezTo>
                      <a:pt x="296" y="417"/>
                      <a:pt x="296" y="417"/>
                      <a:pt x="296" y="418"/>
                    </a:cubicBezTo>
                    <a:cubicBezTo>
                      <a:pt x="301" y="416"/>
                      <a:pt x="305" y="415"/>
                      <a:pt x="309" y="414"/>
                    </a:cubicBezTo>
                    <a:cubicBezTo>
                      <a:pt x="310" y="413"/>
                      <a:pt x="311" y="413"/>
                      <a:pt x="312" y="413"/>
                    </a:cubicBezTo>
                    <a:cubicBezTo>
                      <a:pt x="315" y="412"/>
                      <a:pt x="318" y="411"/>
                      <a:pt x="321" y="410"/>
                    </a:cubicBezTo>
                    <a:cubicBezTo>
                      <a:pt x="323" y="409"/>
                      <a:pt x="323" y="406"/>
                      <a:pt x="324" y="405"/>
                    </a:cubicBezTo>
                    <a:cubicBezTo>
                      <a:pt x="326" y="402"/>
                      <a:pt x="330" y="400"/>
                      <a:pt x="334" y="399"/>
                    </a:cubicBezTo>
                    <a:cubicBezTo>
                      <a:pt x="338" y="398"/>
                      <a:pt x="342" y="398"/>
                      <a:pt x="345" y="398"/>
                    </a:cubicBezTo>
                    <a:cubicBezTo>
                      <a:pt x="345" y="398"/>
                      <a:pt x="346" y="398"/>
                      <a:pt x="346" y="398"/>
                    </a:cubicBezTo>
                    <a:cubicBezTo>
                      <a:pt x="347" y="398"/>
                      <a:pt x="347" y="398"/>
                      <a:pt x="347" y="398"/>
                    </a:cubicBezTo>
                    <a:cubicBezTo>
                      <a:pt x="350" y="398"/>
                      <a:pt x="354" y="398"/>
                      <a:pt x="357" y="399"/>
                    </a:cubicBezTo>
                    <a:cubicBezTo>
                      <a:pt x="359" y="399"/>
                      <a:pt x="361" y="400"/>
                      <a:pt x="363" y="403"/>
                    </a:cubicBezTo>
                    <a:cubicBezTo>
                      <a:pt x="363" y="403"/>
                      <a:pt x="363" y="403"/>
                      <a:pt x="363" y="403"/>
                    </a:cubicBezTo>
                    <a:cubicBezTo>
                      <a:pt x="364" y="406"/>
                      <a:pt x="365" y="409"/>
                      <a:pt x="366" y="412"/>
                    </a:cubicBezTo>
                    <a:cubicBezTo>
                      <a:pt x="366" y="415"/>
                      <a:pt x="367" y="419"/>
                      <a:pt x="367" y="421"/>
                    </a:cubicBezTo>
                    <a:cubicBezTo>
                      <a:pt x="367" y="422"/>
                      <a:pt x="367" y="423"/>
                      <a:pt x="368" y="424"/>
                    </a:cubicBezTo>
                    <a:cubicBezTo>
                      <a:pt x="368" y="426"/>
                      <a:pt x="369" y="428"/>
                      <a:pt x="369" y="430"/>
                    </a:cubicBezTo>
                    <a:cubicBezTo>
                      <a:pt x="370" y="433"/>
                      <a:pt x="371" y="436"/>
                      <a:pt x="373" y="438"/>
                    </a:cubicBezTo>
                    <a:cubicBezTo>
                      <a:pt x="373" y="438"/>
                      <a:pt x="373" y="438"/>
                      <a:pt x="373" y="438"/>
                    </a:cubicBezTo>
                    <a:cubicBezTo>
                      <a:pt x="374" y="441"/>
                      <a:pt x="377" y="441"/>
                      <a:pt x="381" y="441"/>
                    </a:cubicBezTo>
                    <a:cubicBezTo>
                      <a:pt x="381" y="441"/>
                      <a:pt x="382" y="441"/>
                      <a:pt x="382" y="441"/>
                    </a:cubicBezTo>
                    <a:cubicBezTo>
                      <a:pt x="385" y="442"/>
                      <a:pt x="387" y="442"/>
                      <a:pt x="390" y="442"/>
                    </a:cubicBezTo>
                    <a:cubicBezTo>
                      <a:pt x="394" y="443"/>
                      <a:pt x="397" y="443"/>
                      <a:pt x="400" y="444"/>
                    </a:cubicBezTo>
                    <a:cubicBezTo>
                      <a:pt x="403" y="444"/>
                      <a:pt x="406" y="445"/>
                      <a:pt x="409" y="445"/>
                    </a:cubicBezTo>
                    <a:cubicBezTo>
                      <a:pt x="411" y="446"/>
                      <a:pt x="412" y="446"/>
                      <a:pt x="414" y="446"/>
                    </a:cubicBezTo>
                    <a:cubicBezTo>
                      <a:pt x="415" y="446"/>
                      <a:pt x="416" y="446"/>
                      <a:pt x="417" y="447"/>
                    </a:cubicBezTo>
                    <a:cubicBezTo>
                      <a:pt x="418" y="448"/>
                      <a:pt x="418" y="448"/>
                      <a:pt x="418" y="448"/>
                    </a:cubicBezTo>
                    <a:cubicBezTo>
                      <a:pt x="421" y="450"/>
                      <a:pt x="422" y="451"/>
                      <a:pt x="424" y="451"/>
                    </a:cubicBezTo>
                    <a:cubicBezTo>
                      <a:pt x="425" y="451"/>
                      <a:pt x="426" y="450"/>
                      <a:pt x="426" y="450"/>
                    </a:cubicBezTo>
                    <a:cubicBezTo>
                      <a:pt x="427" y="450"/>
                      <a:pt x="427" y="450"/>
                      <a:pt x="428" y="450"/>
                    </a:cubicBezTo>
                    <a:cubicBezTo>
                      <a:pt x="431" y="449"/>
                      <a:pt x="434" y="449"/>
                      <a:pt x="436" y="449"/>
                    </a:cubicBezTo>
                    <a:cubicBezTo>
                      <a:pt x="437" y="449"/>
                      <a:pt x="438" y="449"/>
                      <a:pt x="439" y="449"/>
                    </a:cubicBezTo>
                    <a:cubicBezTo>
                      <a:pt x="441" y="449"/>
                      <a:pt x="442" y="449"/>
                      <a:pt x="444" y="450"/>
                    </a:cubicBezTo>
                    <a:cubicBezTo>
                      <a:pt x="446" y="450"/>
                      <a:pt x="447" y="450"/>
                      <a:pt x="449" y="450"/>
                    </a:cubicBezTo>
                    <a:cubicBezTo>
                      <a:pt x="453" y="450"/>
                      <a:pt x="457" y="450"/>
                      <a:pt x="460" y="450"/>
                    </a:cubicBezTo>
                    <a:cubicBezTo>
                      <a:pt x="461" y="450"/>
                      <a:pt x="462" y="450"/>
                      <a:pt x="462" y="450"/>
                    </a:cubicBezTo>
                    <a:cubicBezTo>
                      <a:pt x="463" y="450"/>
                      <a:pt x="463" y="450"/>
                      <a:pt x="463" y="450"/>
                    </a:cubicBezTo>
                    <a:cubicBezTo>
                      <a:pt x="465" y="451"/>
                      <a:pt x="465" y="452"/>
                      <a:pt x="467" y="454"/>
                    </a:cubicBezTo>
                    <a:cubicBezTo>
                      <a:pt x="467" y="454"/>
                      <a:pt x="467" y="454"/>
                      <a:pt x="467" y="454"/>
                    </a:cubicBezTo>
                    <a:cubicBezTo>
                      <a:pt x="469" y="456"/>
                      <a:pt x="472" y="457"/>
                      <a:pt x="475" y="457"/>
                    </a:cubicBezTo>
                    <a:cubicBezTo>
                      <a:pt x="478" y="458"/>
                      <a:pt x="481" y="459"/>
                      <a:pt x="483" y="459"/>
                    </a:cubicBezTo>
                    <a:cubicBezTo>
                      <a:pt x="484" y="459"/>
                      <a:pt x="484" y="459"/>
                      <a:pt x="484" y="459"/>
                    </a:cubicBezTo>
                    <a:cubicBezTo>
                      <a:pt x="484" y="459"/>
                      <a:pt x="485" y="459"/>
                      <a:pt x="485" y="459"/>
                    </a:cubicBezTo>
                    <a:cubicBezTo>
                      <a:pt x="487" y="459"/>
                      <a:pt x="490" y="459"/>
                      <a:pt x="492" y="458"/>
                    </a:cubicBezTo>
                    <a:cubicBezTo>
                      <a:pt x="492" y="457"/>
                      <a:pt x="492" y="457"/>
                      <a:pt x="492" y="456"/>
                    </a:cubicBezTo>
                    <a:cubicBezTo>
                      <a:pt x="492" y="456"/>
                      <a:pt x="492" y="455"/>
                      <a:pt x="492" y="455"/>
                    </a:cubicBezTo>
                    <a:cubicBezTo>
                      <a:pt x="492" y="454"/>
                      <a:pt x="492" y="454"/>
                      <a:pt x="492" y="454"/>
                    </a:cubicBezTo>
                    <a:cubicBezTo>
                      <a:pt x="493" y="453"/>
                      <a:pt x="493" y="452"/>
                      <a:pt x="493" y="451"/>
                    </a:cubicBezTo>
                    <a:cubicBezTo>
                      <a:pt x="493" y="450"/>
                      <a:pt x="493" y="450"/>
                      <a:pt x="493" y="450"/>
                    </a:cubicBezTo>
                    <a:cubicBezTo>
                      <a:pt x="494" y="449"/>
                      <a:pt x="494" y="449"/>
                      <a:pt x="494" y="448"/>
                    </a:cubicBezTo>
                    <a:cubicBezTo>
                      <a:pt x="494" y="446"/>
                      <a:pt x="494" y="446"/>
                      <a:pt x="494" y="446"/>
                    </a:cubicBezTo>
                    <a:cubicBezTo>
                      <a:pt x="496" y="441"/>
                      <a:pt x="497" y="436"/>
                      <a:pt x="498" y="431"/>
                    </a:cubicBezTo>
                    <a:cubicBezTo>
                      <a:pt x="499" y="425"/>
                      <a:pt x="500" y="424"/>
                      <a:pt x="504" y="422"/>
                    </a:cubicBezTo>
                    <a:cubicBezTo>
                      <a:pt x="505" y="421"/>
                      <a:pt x="505" y="421"/>
                      <a:pt x="505" y="421"/>
                    </a:cubicBezTo>
                    <a:cubicBezTo>
                      <a:pt x="506" y="421"/>
                      <a:pt x="506" y="420"/>
                      <a:pt x="507" y="419"/>
                    </a:cubicBezTo>
                    <a:cubicBezTo>
                      <a:pt x="508" y="419"/>
                      <a:pt x="508" y="419"/>
                      <a:pt x="508" y="419"/>
                    </a:cubicBezTo>
                    <a:cubicBezTo>
                      <a:pt x="509" y="418"/>
                      <a:pt x="510" y="417"/>
                      <a:pt x="511" y="416"/>
                    </a:cubicBezTo>
                    <a:cubicBezTo>
                      <a:pt x="513" y="414"/>
                      <a:pt x="515" y="414"/>
                      <a:pt x="518" y="413"/>
                    </a:cubicBezTo>
                    <a:cubicBezTo>
                      <a:pt x="529" y="411"/>
                      <a:pt x="529" y="411"/>
                      <a:pt x="529" y="411"/>
                    </a:cubicBezTo>
                    <a:cubicBezTo>
                      <a:pt x="530" y="411"/>
                      <a:pt x="531" y="411"/>
                      <a:pt x="532" y="411"/>
                    </a:cubicBezTo>
                    <a:cubicBezTo>
                      <a:pt x="534" y="411"/>
                      <a:pt x="535" y="411"/>
                      <a:pt x="536" y="411"/>
                    </a:cubicBezTo>
                    <a:cubicBezTo>
                      <a:pt x="537" y="404"/>
                      <a:pt x="537" y="404"/>
                      <a:pt x="537" y="404"/>
                    </a:cubicBezTo>
                    <a:cubicBezTo>
                      <a:pt x="538" y="402"/>
                      <a:pt x="538" y="401"/>
                      <a:pt x="539" y="399"/>
                    </a:cubicBezTo>
                    <a:cubicBezTo>
                      <a:pt x="538" y="399"/>
                      <a:pt x="538" y="399"/>
                      <a:pt x="538" y="399"/>
                    </a:cubicBezTo>
                    <a:cubicBezTo>
                      <a:pt x="537" y="399"/>
                      <a:pt x="537" y="399"/>
                      <a:pt x="537" y="399"/>
                    </a:cubicBezTo>
                    <a:cubicBezTo>
                      <a:pt x="536" y="399"/>
                      <a:pt x="536" y="399"/>
                      <a:pt x="535" y="399"/>
                    </a:cubicBezTo>
                    <a:cubicBezTo>
                      <a:pt x="534" y="399"/>
                      <a:pt x="534" y="399"/>
                      <a:pt x="534" y="399"/>
                    </a:cubicBezTo>
                    <a:cubicBezTo>
                      <a:pt x="533" y="399"/>
                      <a:pt x="533" y="399"/>
                      <a:pt x="532" y="399"/>
                    </a:cubicBezTo>
                    <a:cubicBezTo>
                      <a:pt x="532" y="399"/>
                      <a:pt x="532" y="399"/>
                      <a:pt x="532" y="399"/>
                    </a:cubicBezTo>
                    <a:cubicBezTo>
                      <a:pt x="528" y="399"/>
                      <a:pt x="526" y="397"/>
                      <a:pt x="525" y="393"/>
                    </a:cubicBezTo>
                    <a:cubicBezTo>
                      <a:pt x="524" y="391"/>
                      <a:pt x="525" y="389"/>
                      <a:pt x="525" y="387"/>
                    </a:cubicBezTo>
                    <a:cubicBezTo>
                      <a:pt x="525" y="386"/>
                      <a:pt x="525" y="386"/>
                      <a:pt x="525" y="386"/>
                    </a:cubicBezTo>
                    <a:cubicBezTo>
                      <a:pt x="525" y="375"/>
                      <a:pt x="525" y="375"/>
                      <a:pt x="525" y="375"/>
                    </a:cubicBezTo>
                    <a:cubicBezTo>
                      <a:pt x="525" y="374"/>
                      <a:pt x="525" y="373"/>
                      <a:pt x="525" y="372"/>
                    </a:cubicBezTo>
                    <a:cubicBezTo>
                      <a:pt x="525" y="370"/>
                      <a:pt x="526" y="369"/>
                      <a:pt x="526" y="368"/>
                    </a:cubicBezTo>
                    <a:cubicBezTo>
                      <a:pt x="525" y="368"/>
                      <a:pt x="524" y="367"/>
                      <a:pt x="524" y="367"/>
                    </a:cubicBezTo>
                    <a:cubicBezTo>
                      <a:pt x="523" y="367"/>
                      <a:pt x="523" y="367"/>
                      <a:pt x="523" y="367"/>
                    </a:cubicBezTo>
                    <a:cubicBezTo>
                      <a:pt x="522" y="366"/>
                      <a:pt x="520" y="366"/>
                      <a:pt x="519" y="365"/>
                    </a:cubicBezTo>
                    <a:cubicBezTo>
                      <a:pt x="518" y="365"/>
                      <a:pt x="516" y="364"/>
                      <a:pt x="515" y="364"/>
                    </a:cubicBezTo>
                    <a:cubicBezTo>
                      <a:pt x="515" y="364"/>
                      <a:pt x="514" y="363"/>
                      <a:pt x="513" y="363"/>
                    </a:cubicBezTo>
                    <a:cubicBezTo>
                      <a:pt x="512" y="363"/>
                      <a:pt x="512" y="363"/>
                      <a:pt x="512" y="363"/>
                    </a:cubicBezTo>
                    <a:cubicBezTo>
                      <a:pt x="511" y="362"/>
                      <a:pt x="510" y="362"/>
                      <a:pt x="509" y="361"/>
                    </a:cubicBezTo>
                    <a:cubicBezTo>
                      <a:pt x="506" y="360"/>
                      <a:pt x="502" y="358"/>
                      <a:pt x="500" y="355"/>
                    </a:cubicBezTo>
                    <a:cubicBezTo>
                      <a:pt x="497" y="351"/>
                      <a:pt x="494" y="348"/>
                      <a:pt x="491" y="344"/>
                    </a:cubicBezTo>
                    <a:cubicBezTo>
                      <a:pt x="491" y="343"/>
                      <a:pt x="491" y="343"/>
                      <a:pt x="491" y="343"/>
                    </a:cubicBezTo>
                    <a:cubicBezTo>
                      <a:pt x="485" y="335"/>
                      <a:pt x="478" y="327"/>
                      <a:pt x="472" y="318"/>
                    </a:cubicBezTo>
                    <a:cubicBezTo>
                      <a:pt x="472" y="317"/>
                      <a:pt x="472" y="317"/>
                      <a:pt x="472" y="317"/>
                    </a:cubicBezTo>
                    <a:cubicBezTo>
                      <a:pt x="466" y="316"/>
                      <a:pt x="466" y="316"/>
                      <a:pt x="466" y="316"/>
                    </a:cubicBezTo>
                    <a:cubicBezTo>
                      <a:pt x="471" y="313"/>
                      <a:pt x="471" y="313"/>
                      <a:pt x="471" y="313"/>
                    </a:cubicBezTo>
                    <a:cubicBezTo>
                      <a:pt x="471" y="312"/>
                      <a:pt x="471" y="312"/>
                      <a:pt x="471" y="312"/>
                    </a:cubicBezTo>
                    <a:cubicBezTo>
                      <a:pt x="472" y="311"/>
                      <a:pt x="472" y="311"/>
                      <a:pt x="472" y="311"/>
                    </a:cubicBezTo>
                    <a:cubicBezTo>
                      <a:pt x="473" y="310"/>
                      <a:pt x="475" y="308"/>
                      <a:pt x="476" y="306"/>
                    </a:cubicBezTo>
                    <a:cubicBezTo>
                      <a:pt x="482" y="299"/>
                      <a:pt x="482" y="299"/>
                      <a:pt x="482" y="299"/>
                    </a:cubicBezTo>
                    <a:cubicBezTo>
                      <a:pt x="484" y="298"/>
                      <a:pt x="485" y="297"/>
                      <a:pt x="486" y="295"/>
                    </a:cubicBezTo>
                    <a:cubicBezTo>
                      <a:pt x="487" y="294"/>
                      <a:pt x="487" y="294"/>
                      <a:pt x="487" y="294"/>
                    </a:cubicBezTo>
                    <a:cubicBezTo>
                      <a:pt x="488" y="293"/>
                      <a:pt x="488" y="292"/>
                      <a:pt x="489" y="292"/>
                    </a:cubicBezTo>
                    <a:cubicBezTo>
                      <a:pt x="489" y="291"/>
                      <a:pt x="490" y="290"/>
                      <a:pt x="491" y="289"/>
                    </a:cubicBezTo>
                    <a:cubicBezTo>
                      <a:pt x="493" y="287"/>
                      <a:pt x="495" y="285"/>
                      <a:pt x="496" y="283"/>
                    </a:cubicBezTo>
                    <a:cubicBezTo>
                      <a:pt x="498" y="280"/>
                      <a:pt x="498" y="279"/>
                      <a:pt x="498" y="277"/>
                    </a:cubicBezTo>
                    <a:cubicBezTo>
                      <a:pt x="498" y="277"/>
                      <a:pt x="497" y="276"/>
                      <a:pt x="497" y="276"/>
                    </a:cubicBezTo>
                    <a:cubicBezTo>
                      <a:pt x="497" y="275"/>
                      <a:pt x="496" y="274"/>
                      <a:pt x="496" y="274"/>
                    </a:cubicBezTo>
                    <a:cubicBezTo>
                      <a:pt x="493" y="270"/>
                      <a:pt x="493" y="270"/>
                      <a:pt x="493" y="270"/>
                    </a:cubicBezTo>
                    <a:cubicBezTo>
                      <a:pt x="493" y="270"/>
                      <a:pt x="493" y="269"/>
                      <a:pt x="492" y="269"/>
                    </a:cubicBezTo>
                    <a:cubicBezTo>
                      <a:pt x="477" y="267"/>
                      <a:pt x="477" y="267"/>
                      <a:pt x="477" y="267"/>
                    </a:cubicBezTo>
                    <a:cubicBezTo>
                      <a:pt x="477" y="267"/>
                      <a:pt x="476" y="267"/>
                      <a:pt x="476" y="267"/>
                    </a:cubicBezTo>
                    <a:cubicBezTo>
                      <a:pt x="475" y="267"/>
                      <a:pt x="471" y="267"/>
                      <a:pt x="470" y="263"/>
                    </a:cubicBezTo>
                    <a:cubicBezTo>
                      <a:pt x="470" y="263"/>
                      <a:pt x="470" y="262"/>
                      <a:pt x="470" y="261"/>
                    </a:cubicBezTo>
                    <a:cubicBezTo>
                      <a:pt x="469" y="260"/>
                      <a:pt x="469" y="259"/>
                      <a:pt x="470" y="258"/>
                    </a:cubicBezTo>
                    <a:cubicBezTo>
                      <a:pt x="470" y="257"/>
                      <a:pt x="470" y="257"/>
                      <a:pt x="470" y="257"/>
                    </a:cubicBezTo>
                    <a:cubicBezTo>
                      <a:pt x="470" y="257"/>
                      <a:pt x="470" y="256"/>
                      <a:pt x="470" y="256"/>
                    </a:cubicBezTo>
                    <a:cubicBezTo>
                      <a:pt x="469" y="250"/>
                      <a:pt x="469" y="250"/>
                      <a:pt x="469" y="250"/>
                    </a:cubicBezTo>
                    <a:cubicBezTo>
                      <a:pt x="469" y="248"/>
                      <a:pt x="469" y="246"/>
                      <a:pt x="470" y="243"/>
                    </a:cubicBezTo>
                    <a:cubicBezTo>
                      <a:pt x="470" y="242"/>
                      <a:pt x="470" y="241"/>
                      <a:pt x="470" y="239"/>
                    </a:cubicBezTo>
                    <a:cubicBezTo>
                      <a:pt x="470" y="238"/>
                      <a:pt x="470" y="237"/>
                      <a:pt x="469" y="237"/>
                    </a:cubicBezTo>
                    <a:cubicBezTo>
                      <a:pt x="469" y="234"/>
                      <a:pt x="469" y="234"/>
                      <a:pt x="469" y="234"/>
                    </a:cubicBezTo>
                    <a:cubicBezTo>
                      <a:pt x="468" y="234"/>
                      <a:pt x="468" y="233"/>
                      <a:pt x="468" y="232"/>
                    </a:cubicBezTo>
                    <a:cubicBezTo>
                      <a:pt x="465" y="222"/>
                      <a:pt x="465" y="222"/>
                      <a:pt x="465" y="222"/>
                    </a:cubicBezTo>
                    <a:cubicBezTo>
                      <a:pt x="465" y="221"/>
                      <a:pt x="465" y="220"/>
                      <a:pt x="465" y="220"/>
                    </a:cubicBezTo>
                    <a:cubicBezTo>
                      <a:pt x="463" y="212"/>
                      <a:pt x="463" y="212"/>
                      <a:pt x="463" y="212"/>
                    </a:cubicBezTo>
                    <a:cubicBezTo>
                      <a:pt x="463" y="208"/>
                      <a:pt x="466" y="205"/>
                      <a:pt x="469" y="201"/>
                    </a:cubicBezTo>
                    <a:cubicBezTo>
                      <a:pt x="469" y="201"/>
                      <a:pt x="469" y="201"/>
                      <a:pt x="469" y="201"/>
                    </a:cubicBezTo>
                    <a:cubicBezTo>
                      <a:pt x="466" y="201"/>
                      <a:pt x="464" y="200"/>
                      <a:pt x="463" y="198"/>
                    </a:cubicBezTo>
                    <a:cubicBezTo>
                      <a:pt x="462" y="197"/>
                      <a:pt x="461" y="195"/>
                      <a:pt x="461" y="193"/>
                    </a:cubicBezTo>
                    <a:cubicBezTo>
                      <a:pt x="461" y="192"/>
                      <a:pt x="461" y="192"/>
                      <a:pt x="461" y="192"/>
                    </a:cubicBezTo>
                    <a:cubicBezTo>
                      <a:pt x="460" y="191"/>
                      <a:pt x="460" y="189"/>
                      <a:pt x="460" y="188"/>
                    </a:cubicBezTo>
                    <a:cubicBezTo>
                      <a:pt x="460" y="184"/>
                      <a:pt x="461" y="182"/>
                      <a:pt x="461" y="181"/>
                    </a:cubicBezTo>
                    <a:cubicBezTo>
                      <a:pt x="461" y="180"/>
                      <a:pt x="461" y="180"/>
                      <a:pt x="461" y="180"/>
                    </a:cubicBezTo>
                    <a:cubicBezTo>
                      <a:pt x="459" y="181"/>
                      <a:pt x="459" y="181"/>
                      <a:pt x="459" y="181"/>
                    </a:cubicBezTo>
                    <a:cubicBezTo>
                      <a:pt x="469" y="171"/>
                      <a:pt x="469" y="171"/>
                      <a:pt x="469" y="171"/>
                    </a:cubicBezTo>
                    <a:cubicBezTo>
                      <a:pt x="469" y="171"/>
                      <a:pt x="468" y="170"/>
                      <a:pt x="468" y="170"/>
                    </a:cubicBezTo>
                    <a:cubicBezTo>
                      <a:pt x="465" y="167"/>
                      <a:pt x="465" y="167"/>
                      <a:pt x="465" y="167"/>
                    </a:cubicBezTo>
                    <a:cubicBezTo>
                      <a:pt x="467" y="165"/>
                      <a:pt x="467" y="165"/>
                      <a:pt x="467" y="165"/>
                    </a:cubicBezTo>
                    <a:cubicBezTo>
                      <a:pt x="469" y="163"/>
                      <a:pt x="470" y="162"/>
                      <a:pt x="472" y="160"/>
                    </a:cubicBezTo>
                    <a:cubicBezTo>
                      <a:pt x="474" y="159"/>
                      <a:pt x="474" y="159"/>
                      <a:pt x="474" y="159"/>
                    </a:cubicBezTo>
                    <a:cubicBezTo>
                      <a:pt x="476" y="157"/>
                      <a:pt x="476" y="157"/>
                      <a:pt x="476" y="155"/>
                    </a:cubicBezTo>
                    <a:cubicBezTo>
                      <a:pt x="477" y="153"/>
                      <a:pt x="477" y="153"/>
                      <a:pt x="477" y="153"/>
                    </a:cubicBezTo>
                    <a:cubicBezTo>
                      <a:pt x="477" y="152"/>
                      <a:pt x="477" y="152"/>
                      <a:pt x="477" y="152"/>
                    </a:cubicBezTo>
                    <a:cubicBezTo>
                      <a:pt x="477" y="151"/>
                      <a:pt x="477" y="151"/>
                      <a:pt x="477" y="151"/>
                    </a:cubicBezTo>
                    <a:cubicBezTo>
                      <a:pt x="478" y="150"/>
                      <a:pt x="478" y="149"/>
                      <a:pt x="478" y="148"/>
                    </a:cubicBezTo>
                    <a:cubicBezTo>
                      <a:pt x="481" y="138"/>
                      <a:pt x="481" y="138"/>
                      <a:pt x="481" y="138"/>
                    </a:cubicBezTo>
                    <a:cubicBezTo>
                      <a:pt x="484" y="134"/>
                      <a:pt x="484" y="134"/>
                      <a:pt x="484" y="134"/>
                    </a:cubicBezTo>
                    <a:cubicBezTo>
                      <a:pt x="484" y="134"/>
                      <a:pt x="484" y="134"/>
                      <a:pt x="484" y="134"/>
                    </a:cubicBezTo>
                    <a:cubicBezTo>
                      <a:pt x="483" y="134"/>
                      <a:pt x="483" y="133"/>
                      <a:pt x="483" y="133"/>
                    </a:cubicBezTo>
                    <a:cubicBezTo>
                      <a:pt x="482" y="131"/>
                      <a:pt x="482" y="131"/>
                      <a:pt x="482" y="131"/>
                    </a:cubicBezTo>
                    <a:cubicBezTo>
                      <a:pt x="482" y="130"/>
                      <a:pt x="482" y="129"/>
                      <a:pt x="482" y="128"/>
                    </a:cubicBezTo>
                    <a:cubicBezTo>
                      <a:pt x="481" y="128"/>
                      <a:pt x="481" y="127"/>
                      <a:pt x="481" y="127"/>
                    </a:cubicBezTo>
                    <a:cubicBezTo>
                      <a:pt x="480" y="124"/>
                      <a:pt x="480" y="124"/>
                      <a:pt x="480" y="124"/>
                    </a:cubicBezTo>
                    <a:cubicBezTo>
                      <a:pt x="479" y="120"/>
                      <a:pt x="479" y="117"/>
                      <a:pt x="479" y="114"/>
                    </a:cubicBezTo>
                    <a:cubicBezTo>
                      <a:pt x="479" y="113"/>
                      <a:pt x="479" y="113"/>
                      <a:pt x="479" y="113"/>
                    </a:cubicBezTo>
                    <a:cubicBezTo>
                      <a:pt x="479" y="112"/>
                      <a:pt x="479" y="111"/>
                      <a:pt x="479" y="110"/>
                    </a:cubicBezTo>
                    <a:cubicBezTo>
                      <a:pt x="479" y="109"/>
                      <a:pt x="479" y="109"/>
                      <a:pt x="479" y="109"/>
                    </a:cubicBezTo>
                    <a:cubicBezTo>
                      <a:pt x="480" y="107"/>
                      <a:pt x="480" y="104"/>
                      <a:pt x="479" y="102"/>
                    </a:cubicBezTo>
                    <a:cubicBezTo>
                      <a:pt x="479" y="102"/>
                      <a:pt x="479" y="102"/>
                      <a:pt x="479" y="102"/>
                    </a:cubicBezTo>
                    <a:cubicBezTo>
                      <a:pt x="478" y="101"/>
                      <a:pt x="477" y="101"/>
                      <a:pt x="475" y="101"/>
                    </a:cubicBezTo>
                    <a:cubicBezTo>
                      <a:pt x="474" y="101"/>
                      <a:pt x="474" y="101"/>
                      <a:pt x="473" y="101"/>
                    </a:cubicBezTo>
                    <a:cubicBezTo>
                      <a:pt x="470" y="102"/>
                      <a:pt x="470" y="102"/>
                      <a:pt x="470" y="102"/>
                    </a:cubicBezTo>
                    <a:cubicBezTo>
                      <a:pt x="468" y="102"/>
                      <a:pt x="467" y="102"/>
                      <a:pt x="465" y="102"/>
                    </a:cubicBezTo>
                    <a:cubicBezTo>
                      <a:pt x="465" y="106"/>
                      <a:pt x="465" y="106"/>
                      <a:pt x="465" y="106"/>
                    </a:cubicBezTo>
                    <a:cubicBezTo>
                      <a:pt x="464" y="102"/>
                      <a:pt x="464" y="102"/>
                      <a:pt x="464" y="102"/>
                    </a:cubicBezTo>
                    <a:cubicBezTo>
                      <a:pt x="463" y="102"/>
                      <a:pt x="463" y="102"/>
                      <a:pt x="463" y="102"/>
                    </a:cubicBezTo>
                    <a:cubicBezTo>
                      <a:pt x="461" y="102"/>
                      <a:pt x="460" y="101"/>
                      <a:pt x="458" y="101"/>
                    </a:cubicBezTo>
                    <a:cubicBezTo>
                      <a:pt x="457" y="101"/>
                      <a:pt x="457" y="100"/>
                      <a:pt x="456" y="100"/>
                    </a:cubicBezTo>
                    <a:cubicBezTo>
                      <a:pt x="456" y="99"/>
                      <a:pt x="456" y="99"/>
                      <a:pt x="456" y="99"/>
                    </a:cubicBezTo>
                    <a:cubicBezTo>
                      <a:pt x="455" y="98"/>
                      <a:pt x="454" y="97"/>
                      <a:pt x="453" y="96"/>
                    </a:cubicBezTo>
                    <a:cubicBezTo>
                      <a:pt x="452" y="94"/>
                      <a:pt x="452" y="94"/>
                      <a:pt x="452" y="94"/>
                    </a:cubicBezTo>
                    <a:cubicBezTo>
                      <a:pt x="451" y="93"/>
                      <a:pt x="450" y="92"/>
                      <a:pt x="450" y="91"/>
                    </a:cubicBezTo>
                    <a:cubicBezTo>
                      <a:pt x="449" y="91"/>
                      <a:pt x="449" y="91"/>
                      <a:pt x="449" y="91"/>
                    </a:cubicBezTo>
                    <a:cubicBezTo>
                      <a:pt x="449" y="90"/>
                      <a:pt x="449" y="90"/>
                      <a:pt x="448" y="89"/>
                    </a:cubicBezTo>
                    <a:cubicBezTo>
                      <a:pt x="448" y="89"/>
                      <a:pt x="448" y="89"/>
                      <a:pt x="448" y="89"/>
                    </a:cubicBezTo>
                    <a:cubicBezTo>
                      <a:pt x="446" y="88"/>
                      <a:pt x="444" y="87"/>
                      <a:pt x="441" y="87"/>
                    </a:cubicBezTo>
                    <a:cubicBezTo>
                      <a:pt x="441" y="87"/>
                      <a:pt x="441" y="87"/>
                      <a:pt x="441" y="87"/>
                    </a:cubicBezTo>
                    <a:cubicBezTo>
                      <a:pt x="440" y="86"/>
                      <a:pt x="439" y="86"/>
                      <a:pt x="438" y="86"/>
                    </a:cubicBezTo>
                    <a:cubicBezTo>
                      <a:pt x="437" y="86"/>
                      <a:pt x="437" y="86"/>
                      <a:pt x="437" y="86"/>
                    </a:cubicBezTo>
                    <a:cubicBezTo>
                      <a:pt x="436" y="85"/>
                      <a:pt x="436" y="85"/>
                      <a:pt x="436" y="85"/>
                    </a:cubicBezTo>
                    <a:cubicBezTo>
                      <a:pt x="436" y="84"/>
                      <a:pt x="436" y="84"/>
                      <a:pt x="436" y="84"/>
                    </a:cubicBezTo>
                    <a:cubicBezTo>
                      <a:pt x="435" y="83"/>
                      <a:pt x="434" y="83"/>
                      <a:pt x="434" y="82"/>
                    </a:cubicBezTo>
                    <a:cubicBezTo>
                      <a:pt x="433" y="79"/>
                      <a:pt x="433" y="79"/>
                      <a:pt x="433" y="79"/>
                    </a:cubicBezTo>
                    <a:cubicBezTo>
                      <a:pt x="432" y="78"/>
                      <a:pt x="431" y="76"/>
                      <a:pt x="430" y="74"/>
                    </a:cubicBezTo>
                    <a:cubicBezTo>
                      <a:pt x="429" y="74"/>
                      <a:pt x="429" y="74"/>
                      <a:pt x="429" y="74"/>
                    </a:cubicBezTo>
                    <a:cubicBezTo>
                      <a:pt x="427" y="71"/>
                      <a:pt x="424" y="70"/>
                      <a:pt x="419" y="69"/>
                    </a:cubicBezTo>
                    <a:cubicBezTo>
                      <a:pt x="419" y="69"/>
                      <a:pt x="418" y="69"/>
                      <a:pt x="418" y="69"/>
                    </a:cubicBezTo>
                    <a:cubicBezTo>
                      <a:pt x="417" y="69"/>
                      <a:pt x="416" y="69"/>
                      <a:pt x="414" y="69"/>
                    </a:cubicBezTo>
                    <a:cubicBezTo>
                      <a:pt x="407" y="69"/>
                      <a:pt x="407" y="69"/>
                      <a:pt x="407" y="69"/>
                    </a:cubicBezTo>
                    <a:cubicBezTo>
                      <a:pt x="407" y="69"/>
                      <a:pt x="407" y="69"/>
                      <a:pt x="407" y="69"/>
                    </a:cubicBezTo>
                    <a:cubicBezTo>
                      <a:pt x="407" y="69"/>
                      <a:pt x="406" y="69"/>
                      <a:pt x="406" y="69"/>
                    </a:cubicBezTo>
                    <a:cubicBezTo>
                      <a:pt x="403" y="69"/>
                      <a:pt x="403" y="69"/>
                      <a:pt x="403" y="69"/>
                    </a:cubicBezTo>
                    <a:cubicBezTo>
                      <a:pt x="403" y="69"/>
                      <a:pt x="403" y="69"/>
                      <a:pt x="403" y="69"/>
                    </a:cubicBezTo>
                    <a:cubicBezTo>
                      <a:pt x="403" y="69"/>
                      <a:pt x="402" y="69"/>
                      <a:pt x="402" y="69"/>
                    </a:cubicBezTo>
                    <a:cubicBezTo>
                      <a:pt x="400" y="69"/>
                      <a:pt x="400" y="69"/>
                      <a:pt x="399" y="68"/>
                    </a:cubicBezTo>
                    <a:cubicBezTo>
                      <a:pt x="398" y="68"/>
                      <a:pt x="397" y="68"/>
                      <a:pt x="397" y="67"/>
                    </a:cubicBezTo>
                    <a:cubicBezTo>
                      <a:pt x="392" y="64"/>
                      <a:pt x="392" y="64"/>
                      <a:pt x="392" y="64"/>
                    </a:cubicBezTo>
                    <a:cubicBezTo>
                      <a:pt x="391" y="63"/>
                      <a:pt x="390" y="62"/>
                      <a:pt x="389" y="62"/>
                    </a:cubicBezTo>
                    <a:cubicBezTo>
                      <a:pt x="387" y="61"/>
                      <a:pt x="387" y="61"/>
                      <a:pt x="387" y="61"/>
                    </a:cubicBezTo>
                    <a:cubicBezTo>
                      <a:pt x="386" y="61"/>
                      <a:pt x="385" y="61"/>
                      <a:pt x="384" y="61"/>
                    </a:cubicBezTo>
                    <a:cubicBezTo>
                      <a:pt x="382" y="60"/>
                      <a:pt x="381" y="60"/>
                      <a:pt x="378" y="60"/>
                    </a:cubicBezTo>
                    <a:cubicBezTo>
                      <a:pt x="377" y="59"/>
                      <a:pt x="377" y="59"/>
                      <a:pt x="377" y="59"/>
                    </a:cubicBezTo>
                    <a:cubicBezTo>
                      <a:pt x="374" y="59"/>
                      <a:pt x="373" y="57"/>
                      <a:pt x="371" y="55"/>
                    </a:cubicBezTo>
                    <a:cubicBezTo>
                      <a:pt x="371" y="54"/>
                      <a:pt x="371" y="54"/>
                      <a:pt x="371" y="54"/>
                    </a:cubicBezTo>
                    <a:cubicBezTo>
                      <a:pt x="364" y="57"/>
                      <a:pt x="364" y="57"/>
                      <a:pt x="364" y="57"/>
                    </a:cubicBezTo>
                    <a:cubicBezTo>
                      <a:pt x="370" y="53"/>
                      <a:pt x="370" y="53"/>
                      <a:pt x="370" y="53"/>
                    </a:cubicBezTo>
                    <a:cubicBezTo>
                      <a:pt x="370" y="52"/>
                      <a:pt x="370" y="52"/>
                      <a:pt x="370" y="52"/>
                    </a:cubicBezTo>
                    <a:cubicBezTo>
                      <a:pt x="369" y="49"/>
                      <a:pt x="369" y="49"/>
                      <a:pt x="368" y="49"/>
                    </a:cubicBezTo>
                    <a:cubicBezTo>
                      <a:pt x="367" y="49"/>
                      <a:pt x="365" y="49"/>
                      <a:pt x="364" y="49"/>
                    </a:cubicBezTo>
                    <a:cubicBezTo>
                      <a:pt x="363" y="49"/>
                      <a:pt x="363" y="49"/>
                      <a:pt x="363" y="49"/>
                    </a:cubicBezTo>
                    <a:cubicBezTo>
                      <a:pt x="361" y="49"/>
                      <a:pt x="360" y="48"/>
                      <a:pt x="359" y="48"/>
                    </a:cubicBezTo>
                    <a:cubicBezTo>
                      <a:pt x="358" y="48"/>
                      <a:pt x="358" y="48"/>
                      <a:pt x="358" y="48"/>
                    </a:cubicBezTo>
                    <a:cubicBezTo>
                      <a:pt x="357" y="48"/>
                      <a:pt x="357" y="48"/>
                      <a:pt x="356" y="48"/>
                    </a:cubicBezTo>
                    <a:cubicBezTo>
                      <a:pt x="355" y="48"/>
                      <a:pt x="353" y="48"/>
                      <a:pt x="351" y="49"/>
                    </a:cubicBezTo>
                    <a:cubicBezTo>
                      <a:pt x="350" y="49"/>
                      <a:pt x="350" y="49"/>
                      <a:pt x="350" y="49"/>
                    </a:cubicBezTo>
                    <a:cubicBezTo>
                      <a:pt x="350" y="49"/>
                      <a:pt x="350" y="49"/>
                      <a:pt x="350" y="49"/>
                    </a:cubicBezTo>
                    <a:cubicBezTo>
                      <a:pt x="350" y="49"/>
                      <a:pt x="350" y="49"/>
                      <a:pt x="350" y="49"/>
                    </a:cubicBezTo>
                    <a:cubicBezTo>
                      <a:pt x="346" y="53"/>
                      <a:pt x="345" y="55"/>
                      <a:pt x="341" y="55"/>
                    </a:cubicBezTo>
                    <a:cubicBezTo>
                      <a:pt x="340" y="55"/>
                      <a:pt x="340" y="55"/>
                      <a:pt x="340" y="55"/>
                    </a:cubicBezTo>
                    <a:cubicBezTo>
                      <a:pt x="339" y="60"/>
                      <a:pt x="339" y="60"/>
                      <a:pt x="339" y="60"/>
                    </a:cubicBezTo>
                    <a:cubicBezTo>
                      <a:pt x="338" y="55"/>
                      <a:pt x="338" y="55"/>
                      <a:pt x="338" y="55"/>
                    </a:cubicBezTo>
                    <a:cubicBezTo>
                      <a:pt x="336" y="55"/>
                      <a:pt x="334" y="54"/>
                      <a:pt x="333" y="54"/>
                    </a:cubicBezTo>
                    <a:cubicBezTo>
                      <a:pt x="332" y="54"/>
                      <a:pt x="331" y="54"/>
                      <a:pt x="330" y="55"/>
                    </a:cubicBezTo>
                    <a:cubicBezTo>
                      <a:pt x="325" y="55"/>
                      <a:pt x="321" y="56"/>
                      <a:pt x="317" y="57"/>
                    </a:cubicBezTo>
                    <a:cubicBezTo>
                      <a:pt x="281" y="94"/>
                      <a:pt x="281" y="94"/>
                      <a:pt x="281" y="94"/>
                    </a:cubicBezTo>
                    <a:cubicBezTo>
                      <a:pt x="280" y="93"/>
                      <a:pt x="280" y="93"/>
                      <a:pt x="280" y="93"/>
                    </a:cubicBezTo>
                    <a:cubicBezTo>
                      <a:pt x="279" y="93"/>
                      <a:pt x="278" y="93"/>
                      <a:pt x="277" y="93"/>
                    </a:cubicBezTo>
                    <a:cubicBezTo>
                      <a:pt x="276" y="93"/>
                      <a:pt x="276" y="93"/>
                      <a:pt x="275" y="93"/>
                    </a:cubicBezTo>
                    <a:cubicBezTo>
                      <a:pt x="273" y="93"/>
                      <a:pt x="271" y="92"/>
                      <a:pt x="268" y="91"/>
                    </a:cubicBezTo>
                    <a:cubicBezTo>
                      <a:pt x="269" y="91"/>
                      <a:pt x="269" y="91"/>
                      <a:pt x="270" y="91"/>
                    </a:cubicBezTo>
                    <a:cubicBezTo>
                      <a:pt x="271" y="91"/>
                      <a:pt x="273" y="91"/>
                      <a:pt x="275" y="90"/>
                    </a:cubicBezTo>
                    <a:cubicBezTo>
                      <a:pt x="273" y="90"/>
                      <a:pt x="271" y="90"/>
                      <a:pt x="268" y="91"/>
                    </a:cubicBezTo>
                    <a:cubicBezTo>
                      <a:pt x="264" y="91"/>
                      <a:pt x="260" y="92"/>
                      <a:pt x="255" y="93"/>
                    </a:cubicBezTo>
                    <a:cubicBezTo>
                      <a:pt x="250" y="93"/>
                      <a:pt x="246" y="94"/>
                      <a:pt x="241" y="96"/>
                    </a:cubicBezTo>
                    <a:cubicBezTo>
                      <a:pt x="239" y="96"/>
                      <a:pt x="237" y="97"/>
                      <a:pt x="234" y="97"/>
                    </a:cubicBezTo>
                    <a:cubicBezTo>
                      <a:pt x="232" y="98"/>
                      <a:pt x="229" y="98"/>
                      <a:pt x="227" y="99"/>
                    </a:cubicBezTo>
                    <a:cubicBezTo>
                      <a:pt x="224" y="99"/>
                      <a:pt x="222" y="100"/>
                      <a:pt x="219" y="100"/>
                    </a:cubicBezTo>
                    <a:cubicBezTo>
                      <a:pt x="218" y="100"/>
                      <a:pt x="217" y="100"/>
                      <a:pt x="215" y="99"/>
                    </a:cubicBezTo>
                    <a:cubicBezTo>
                      <a:pt x="214" y="99"/>
                      <a:pt x="213" y="99"/>
                      <a:pt x="211" y="99"/>
                    </a:cubicBezTo>
                    <a:cubicBezTo>
                      <a:pt x="210" y="98"/>
                      <a:pt x="208" y="98"/>
                      <a:pt x="206" y="97"/>
                    </a:cubicBezTo>
                    <a:cubicBezTo>
                      <a:pt x="203" y="97"/>
                      <a:pt x="201" y="96"/>
                      <a:pt x="198" y="95"/>
                    </a:cubicBezTo>
                    <a:cubicBezTo>
                      <a:pt x="195" y="94"/>
                      <a:pt x="193" y="93"/>
                      <a:pt x="190" y="92"/>
                    </a:cubicBezTo>
                    <a:cubicBezTo>
                      <a:pt x="190" y="92"/>
                      <a:pt x="190" y="92"/>
                      <a:pt x="190" y="92"/>
                    </a:cubicBezTo>
                    <a:cubicBezTo>
                      <a:pt x="188" y="91"/>
                      <a:pt x="185" y="90"/>
                      <a:pt x="183" y="88"/>
                    </a:cubicBezTo>
                    <a:cubicBezTo>
                      <a:pt x="180" y="87"/>
                      <a:pt x="178" y="85"/>
                      <a:pt x="176" y="83"/>
                    </a:cubicBezTo>
                    <a:cubicBezTo>
                      <a:pt x="175" y="82"/>
                      <a:pt x="174" y="81"/>
                      <a:pt x="173" y="80"/>
                    </a:cubicBezTo>
                    <a:cubicBezTo>
                      <a:pt x="173" y="79"/>
                      <a:pt x="172" y="78"/>
                      <a:pt x="171" y="77"/>
                    </a:cubicBezTo>
                    <a:cubicBezTo>
                      <a:pt x="169" y="76"/>
                      <a:pt x="167" y="74"/>
                      <a:pt x="164" y="74"/>
                    </a:cubicBezTo>
                    <a:cubicBezTo>
                      <a:pt x="161" y="73"/>
                      <a:pt x="158" y="72"/>
                      <a:pt x="155" y="71"/>
                    </a:cubicBezTo>
                    <a:cubicBezTo>
                      <a:pt x="155" y="71"/>
                      <a:pt x="155" y="71"/>
                      <a:pt x="155" y="71"/>
                    </a:cubicBezTo>
                    <a:cubicBezTo>
                      <a:pt x="152" y="71"/>
                      <a:pt x="149" y="70"/>
                      <a:pt x="146" y="69"/>
                    </a:cubicBezTo>
                    <a:cubicBezTo>
                      <a:pt x="144" y="68"/>
                      <a:pt x="141" y="67"/>
                      <a:pt x="140" y="65"/>
                    </a:cubicBezTo>
                    <a:cubicBezTo>
                      <a:pt x="139" y="64"/>
                      <a:pt x="138" y="63"/>
                      <a:pt x="138" y="62"/>
                    </a:cubicBezTo>
                    <a:cubicBezTo>
                      <a:pt x="137" y="60"/>
                      <a:pt x="137" y="59"/>
                      <a:pt x="136" y="57"/>
                    </a:cubicBezTo>
                    <a:cubicBezTo>
                      <a:pt x="136" y="54"/>
                      <a:pt x="135" y="51"/>
                      <a:pt x="134" y="48"/>
                    </a:cubicBezTo>
                    <a:cubicBezTo>
                      <a:pt x="134" y="46"/>
                      <a:pt x="134" y="45"/>
                      <a:pt x="134" y="43"/>
                    </a:cubicBezTo>
                    <a:cubicBezTo>
                      <a:pt x="132" y="43"/>
                      <a:pt x="132" y="43"/>
                      <a:pt x="132" y="43"/>
                    </a:cubicBezTo>
                    <a:cubicBezTo>
                      <a:pt x="132" y="43"/>
                      <a:pt x="131" y="43"/>
                      <a:pt x="130" y="43"/>
                    </a:cubicBezTo>
                    <a:cubicBezTo>
                      <a:pt x="130" y="44"/>
                      <a:pt x="130" y="44"/>
                      <a:pt x="130" y="44"/>
                    </a:cubicBezTo>
                    <a:cubicBezTo>
                      <a:pt x="129" y="44"/>
                      <a:pt x="128" y="44"/>
                      <a:pt x="128" y="44"/>
                    </a:cubicBezTo>
                    <a:cubicBezTo>
                      <a:pt x="128" y="44"/>
                      <a:pt x="128" y="44"/>
                      <a:pt x="128" y="44"/>
                    </a:cubicBezTo>
                    <a:cubicBezTo>
                      <a:pt x="127" y="44"/>
                      <a:pt x="127" y="44"/>
                      <a:pt x="127" y="44"/>
                    </a:cubicBezTo>
                    <a:cubicBezTo>
                      <a:pt x="127" y="44"/>
                      <a:pt x="126" y="44"/>
                      <a:pt x="126" y="44"/>
                    </a:cubicBezTo>
                    <a:cubicBezTo>
                      <a:pt x="126" y="44"/>
                      <a:pt x="126" y="44"/>
                      <a:pt x="126" y="44"/>
                    </a:cubicBezTo>
                    <a:cubicBezTo>
                      <a:pt x="125" y="44"/>
                      <a:pt x="125" y="44"/>
                      <a:pt x="125" y="44"/>
                    </a:cubicBezTo>
                    <a:cubicBezTo>
                      <a:pt x="125" y="44"/>
                      <a:pt x="124" y="44"/>
                      <a:pt x="124" y="43"/>
                    </a:cubicBezTo>
                    <a:cubicBezTo>
                      <a:pt x="122" y="43"/>
                      <a:pt x="121" y="41"/>
                      <a:pt x="121" y="40"/>
                    </a:cubicBezTo>
                    <a:cubicBezTo>
                      <a:pt x="120" y="39"/>
                      <a:pt x="120" y="39"/>
                      <a:pt x="120" y="38"/>
                    </a:cubicBezTo>
                    <a:cubicBezTo>
                      <a:pt x="120" y="38"/>
                      <a:pt x="119" y="38"/>
                      <a:pt x="118" y="38"/>
                    </a:cubicBezTo>
                    <a:cubicBezTo>
                      <a:pt x="117" y="36"/>
                      <a:pt x="116" y="36"/>
                      <a:pt x="115" y="35"/>
                    </a:cubicBezTo>
                    <a:cubicBezTo>
                      <a:pt x="114" y="35"/>
                      <a:pt x="114" y="34"/>
                      <a:pt x="113" y="34"/>
                    </a:cubicBezTo>
                    <a:cubicBezTo>
                      <a:pt x="112" y="33"/>
                      <a:pt x="112" y="33"/>
                      <a:pt x="112" y="33"/>
                    </a:cubicBezTo>
                    <a:cubicBezTo>
                      <a:pt x="112" y="32"/>
                      <a:pt x="112" y="32"/>
                      <a:pt x="112" y="32"/>
                    </a:cubicBezTo>
                    <a:cubicBezTo>
                      <a:pt x="103" y="25"/>
                      <a:pt x="103" y="25"/>
                      <a:pt x="103" y="25"/>
                    </a:cubicBezTo>
                    <a:cubicBezTo>
                      <a:pt x="112" y="19"/>
                      <a:pt x="112" y="19"/>
                      <a:pt x="112" y="19"/>
                    </a:cubicBezTo>
                    <a:cubicBezTo>
                      <a:pt x="110" y="17"/>
                      <a:pt x="109" y="15"/>
                      <a:pt x="111" y="12"/>
                    </a:cubicBezTo>
                    <a:cubicBezTo>
                      <a:pt x="111" y="11"/>
                      <a:pt x="112" y="10"/>
                      <a:pt x="112" y="9"/>
                    </a:cubicBezTo>
                    <a:cubicBezTo>
                      <a:pt x="113" y="8"/>
                      <a:pt x="113" y="8"/>
                      <a:pt x="113" y="8"/>
                    </a:cubicBezTo>
                    <a:cubicBezTo>
                      <a:pt x="112" y="7"/>
                      <a:pt x="112" y="7"/>
                      <a:pt x="112" y="7"/>
                    </a:cubicBezTo>
                    <a:cubicBezTo>
                      <a:pt x="111" y="5"/>
                      <a:pt x="111" y="5"/>
                      <a:pt x="111" y="5"/>
                    </a:cubicBezTo>
                    <a:cubicBezTo>
                      <a:pt x="108" y="2"/>
                      <a:pt x="107" y="1"/>
                      <a:pt x="107" y="1"/>
                    </a:cubicBezTo>
                    <a:cubicBezTo>
                      <a:pt x="107" y="1"/>
                      <a:pt x="105" y="1"/>
                      <a:pt x="102" y="4"/>
                    </a:cubicBezTo>
                    <a:cubicBezTo>
                      <a:pt x="101" y="4"/>
                      <a:pt x="101" y="4"/>
                      <a:pt x="101" y="4"/>
                    </a:cubicBezTo>
                    <a:cubicBezTo>
                      <a:pt x="97" y="7"/>
                      <a:pt x="94" y="9"/>
                      <a:pt x="90" y="11"/>
                    </a:cubicBezTo>
                    <a:cubicBezTo>
                      <a:pt x="88" y="13"/>
                      <a:pt x="88" y="13"/>
                      <a:pt x="88" y="13"/>
                    </a:cubicBezTo>
                    <a:cubicBezTo>
                      <a:pt x="86" y="14"/>
                      <a:pt x="85" y="14"/>
                      <a:pt x="84" y="15"/>
                    </a:cubicBezTo>
                    <a:cubicBezTo>
                      <a:pt x="81" y="17"/>
                      <a:pt x="79" y="18"/>
                      <a:pt x="78" y="20"/>
                    </a:cubicBezTo>
                    <a:cubicBezTo>
                      <a:pt x="77" y="20"/>
                      <a:pt x="76" y="21"/>
                      <a:pt x="76" y="22"/>
                    </a:cubicBezTo>
                    <a:cubicBezTo>
                      <a:pt x="75" y="23"/>
                      <a:pt x="75" y="23"/>
                      <a:pt x="75" y="23"/>
                    </a:cubicBezTo>
                    <a:cubicBezTo>
                      <a:pt x="73" y="24"/>
                      <a:pt x="73" y="24"/>
                      <a:pt x="73" y="24"/>
                    </a:cubicBezTo>
                    <a:cubicBezTo>
                      <a:pt x="72" y="25"/>
                      <a:pt x="71" y="26"/>
                      <a:pt x="70" y="27"/>
                    </a:cubicBezTo>
                    <a:cubicBezTo>
                      <a:pt x="69" y="28"/>
                      <a:pt x="69" y="28"/>
                      <a:pt x="69" y="28"/>
                    </a:cubicBezTo>
                    <a:cubicBezTo>
                      <a:pt x="65" y="35"/>
                      <a:pt x="65" y="35"/>
                      <a:pt x="65" y="35"/>
                    </a:cubicBezTo>
                    <a:cubicBezTo>
                      <a:pt x="65" y="32"/>
                      <a:pt x="65" y="32"/>
                      <a:pt x="65" y="32"/>
                    </a:cubicBezTo>
                    <a:cubicBezTo>
                      <a:pt x="65" y="32"/>
                      <a:pt x="65" y="32"/>
                      <a:pt x="65" y="32"/>
                    </a:cubicBezTo>
                    <a:cubicBezTo>
                      <a:pt x="64" y="28"/>
                      <a:pt x="64" y="28"/>
                      <a:pt x="64" y="28"/>
                    </a:cubicBezTo>
                    <a:cubicBezTo>
                      <a:pt x="64" y="28"/>
                      <a:pt x="64" y="28"/>
                      <a:pt x="64" y="28"/>
                    </a:cubicBezTo>
                    <a:cubicBezTo>
                      <a:pt x="64" y="28"/>
                      <a:pt x="64" y="28"/>
                      <a:pt x="64" y="28"/>
                    </a:cubicBezTo>
                    <a:cubicBezTo>
                      <a:pt x="64" y="28"/>
                      <a:pt x="64" y="28"/>
                      <a:pt x="64" y="28"/>
                    </a:cubicBezTo>
                    <a:cubicBezTo>
                      <a:pt x="63" y="28"/>
                      <a:pt x="62" y="28"/>
                      <a:pt x="61" y="29"/>
                    </a:cubicBezTo>
                    <a:cubicBezTo>
                      <a:pt x="60" y="29"/>
                      <a:pt x="60" y="29"/>
                      <a:pt x="60" y="29"/>
                    </a:cubicBezTo>
                    <a:cubicBezTo>
                      <a:pt x="60" y="30"/>
                      <a:pt x="60" y="30"/>
                      <a:pt x="60" y="30"/>
                    </a:cubicBezTo>
                    <a:cubicBezTo>
                      <a:pt x="57" y="30"/>
                      <a:pt x="57" y="30"/>
                      <a:pt x="57" y="30"/>
                    </a:cubicBezTo>
                    <a:cubicBezTo>
                      <a:pt x="57" y="30"/>
                      <a:pt x="52" y="29"/>
                      <a:pt x="49" y="29"/>
                    </a:cubicBezTo>
                    <a:cubicBezTo>
                      <a:pt x="44" y="28"/>
                      <a:pt x="34" y="25"/>
                      <a:pt x="32" y="22"/>
                    </a:cubicBezTo>
                    <a:cubicBezTo>
                      <a:pt x="31" y="21"/>
                      <a:pt x="29" y="19"/>
                      <a:pt x="28" y="18"/>
                    </a:cubicBezTo>
                    <a:cubicBezTo>
                      <a:pt x="27" y="17"/>
                      <a:pt x="27" y="17"/>
                      <a:pt x="27" y="17"/>
                    </a:cubicBezTo>
                    <a:cubicBezTo>
                      <a:pt x="27" y="16"/>
                      <a:pt x="26" y="16"/>
                      <a:pt x="25" y="15"/>
                    </a:cubicBezTo>
                    <a:cubicBezTo>
                      <a:pt x="20" y="10"/>
                      <a:pt x="17" y="7"/>
                      <a:pt x="16" y="5"/>
                    </a:cubicBezTo>
                    <a:cubicBezTo>
                      <a:pt x="16" y="4"/>
                      <a:pt x="16" y="4"/>
                      <a:pt x="16" y="4"/>
                    </a:cubicBezTo>
                    <a:cubicBezTo>
                      <a:pt x="15" y="4"/>
                      <a:pt x="15" y="4"/>
                      <a:pt x="15" y="4"/>
                    </a:cubicBezTo>
                    <a:cubicBezTo>
                      <a:pt x="15" y="3"/>
                      <a:pt x="15" y="3"/>
                      <a:pt x="15" y="3"/>
                    </a:cubicBezTo>
                    <a:cubicBezTo>
                      <a:pt x="14" y="2"/>
                      <a:pt x="14" y="2"/>
                      <a:pt x="14" y="2"/>
                    </a:cubicBezTo>
                    <a:cubicBezTo>
                      <a:pt x="14" y="2"/>
                      <a:pt x="14" y="2"/>
                      <a:pt x="14" y="2"/>
                    </a:cubicBezTo>
                    <a:cubicBezTo>
                      <a:pt x="14" y="1"/>
                      <a:pt x="14" y="1"/>
                      <a:pt x="14" y="1"/>
                    </a:cubicBezTo>
                    <a:cubicBezTo>
                      <a:pt x="12" y="0"/>
                      <a:pt x="12"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5" name="Freeform 343">
                <a:extLst>
                  <a:ext uri="{FF2B5EF4-FFF2-40B4-BE49-F238E27FC236}">
                    <a16:creationId xmlns:a16="http://schemas.microsoft.com/office/drawing/2014/main" id="{D4E2D5FA-8BA5-43E6-92C7-323CA201F5D2}"/>
                  </a:ext>
                </a:extLst>
              </p:cNvPr>
              <p:cNvSpPr>
                <a:spLocks/>
              </p:cNvSpPr>
              <p:nvPr/>
            </p:nvSpPr>
            <p:spPr bwMode="auto">
              <a:xfrm>
                <a:off x="9091180" y="4893834"/>
                <a:ext cx="51592" cy="103183"/>
              </a:xfrm>
              <a:custGeom>
                <a:avLst/>
                <a:gdLst>
                  <a:gd name="T0" fmla="*/ 16 w 16"/>
                  <a:gd name="T1" fmla="*/ 0 h 33"/>
                  <a:gd name="T2" fmla="*/ 15 w 16"/>
                  <a:gd name="T3" fmla="*/ 0 h 33"/>
                  <a:gd name="T4" fmla="*/ 10 w 16"/>
                  <a:gd name="T5" fmla="*/ 4 h 33"/>
                  <a:gd name="T6" fmla="*/ 5 w 16"/>
                  <a:gd name="T7" fmla="*/ 8 h 33"/>
                  <a:gd name="T8" fmla="*/ 2 w 16"/>
                  <a:gd name="T9" fmla="*/ 12 h 33"/>
                  <a:gd name="T10" fmla="*/ 0 w 16"/>
                  <a:gd name="T11" fmla="*/ 13 h 33"/>
                  <a:gd name="T12" fmla="*/ 11 w 16"/>
                  <a:gd name="T13" fmla="*/ 33 h 33"/>
                  <a:gd name="T14" fmla="*/ 9 w 16"/>
                  <a:gd name="T15" fmla="*/ 23 h 33"/>
                  <a:gd name="T16" fmla="*/ 12 w 16"/>
                  <a:gd name="T17" fmla="*/ 15 h 33"/>
                  <a:gd name="T18" fmla="*/ 11 w 16"/>
                  <a:gd name="T19" fmla="*/ 12 h 33"/>
                  <a:gd name="T20" fmla="*/ 9 w 16"/>
                  <a:gd name="T21" fmla="*/ 12 h 33"/>
                  <a:gd name="T22" fmla="*/ 8 w 16"/>
                  <a:gd name="T23" fmla="*/ 12 h 33"/>
                  <a:gd name="T24" fmla="*/ 10 w 16"/>
                  <a:gd name="T25" fmla="*/ 8 h 33"/>
                  <a:gd name="T26" fmla="*/ 15 w 16"/>
                  <a:gd name="T27" fmla="*/ 1 h 33"/>
                  <a:gd name="T28" fmla="*/ 16 w 16"/>
                  <a:gd name="T2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33">
                    <a:moveTo>
                      <a:pt x="16" y="0"/>
                    </a:moveTo>
                    <a:cubicBezTo>
                      <a:pt x="15" y="0"/>
                      <a:pt x="15" y="0"/>
                      <a:pt x="15" y="0"/>
                    </a:cubicBezTo>
                    <a:cubicBezTo>
                      <a:pt x="13" y="1"/>
                      <a:pt x="12" y="3"/>
                      <a:pt x="10" y="4"/>
                    </a:cubicBezTo>
                    <a:cubicBezTo>
                      <a:pt x="8" y="6"/>
                      <a:pt x="7" y="7"/>
                      <a:pt x="5" y="8"/>
                    </a:cubicBezTo>
                    <a:cubicBezTo>
                      <a:pt x="2" y="11"/>
                      <a:pt x="2" y="12"/>
                      <a:pt x="2" y="12"/>
                    </a:cubicBezTo>
                    <a:cubicBezTo>
                      <a:pt x="1" y="12"/>
                      <a:pt x="1" y="12"/>
                      <a:pt x="0" y="13"/>
                    </a:cubicBezTo>
                    <a:cubicBezTo>
                      <a:pt x="4" y="20"/>
                      <a:pt x="8" y="26"/>
                      <a:pt x="11" y="33"/>
                    </a:cubicBezTo>
                    <a:cubicBezTo>
                      <a:pt x="11" y="30"/>
                      <a:pt x="10" y="27"/>
                      <a:pt x="9" y="23"/>
                    </a:cubicBezTo>
                    <a:cubicBezTo>
                      <a:pt x="9" y="20"/>
                      <a:pt x="11" y="18"/>
                      <a:pt x="12" y="15"/>
                    </a:cubicBezTo>
                    <a:cubicBezTo>
                      <a:pt x="12" y="13"/>
                      <a:pt x="12" y="12"/>
                      <a:pt x="11" y="12"/>
                    </a:cubicBezTo>
                    <a:cubicBezTo>
                      <a:pt x="11" y="12"/>
                      <a:pt x="10" y="12"/>
                      <a:pt x="9" y="12"/>
                    </a:cubicBezTo>
                    <a:cubicBezTo>
                      <a:pt x="9" y="12"/>
                      <a:pt x="9" y="12"/>
                      <a:pt x="8" y="12"/>
                    </a:cubicBezTo>
                    <a:cubicBezTo>
                      <a:pt x="7" y="12"/>
                      <a:pt x="10" y="9"/>
                      <a:pt x="10" y="8"/>
                    </a:cubicBezTo>
                    <a:cubicBezTo>
                      <a:pt x="12" y="5"/>
                      <a:pt x="13" y="3"/>
                      <a:pt x="15" y="1"/>
                    </a:cubicBezTo>
                    <a:cubicBezTo>
                      <a:pt x="15"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6" name="Freeform 344">
                <a:extLst>
                  <a:ext uri="{FF2B5EF4-FFF2-40B4-BE49-F238E27FC236}">
                    <a16:creationId xmlns:a16="http://schemas.microsoft.com/office/drawing/2014/main" id="{5982D5C2-D232-401D-BF91-D0E036052608}"/>
                  </a:ext>
                </a:extLst>
              </p:cNvPr>
              <p:cNvSpPr>
                <a:spLocks/>
              </p:cNvSpPr>
              <p:nvPr/>
            </p:nvSpPr>
            <p:spPr bwMode="auto">
              <a:xfrm>
                <a:off x="9109606" y="4827502"/>
                <a:ext cx="1249254" cy="773874"/>
              </a:xfrm>
              <a:custGeom>
                <a:avLst/>
                <a:gdLst>
                  <a:gd name="T0" fmla="*/ 163 w 393"/>
                  <a:gd name="T1" fmla="*/ 14 h 244"/>
                  <a:gd name="T2" fmla="*/ 153 w 393"/>
                  <a:gd name="T3" fmla="*/ 9 h 244"/>
                  <a:gd name="T4" fmla="*/ 130 w 393"/>
                  <a:gd name="T5" fmla="*/ 23 h 244"/>
                  <a:gd name="T6" fmla="*/ 126 w 393"/>
                  <a:gd name="T7" fmla="*/ 36 h 244"/>
                  <a:gd name="T8" fmla="*/ 107 w 393"/>
                  <a:gd name="T9" fmla="*/ 49 h 244"/>
                  <a:gd name="T10" fmla="*/ 86 w 393"/>
                  <a:gd name="T11" fmla="*/ 49 h 244"/>
                  <a:gd name="T12" fmla="*/ 74 w 393"/>
                  <a:gd name="T13" fmla="*/ 46 h 244"/>
                  <a:gd name="T14" fmla="*/ 53 w 393"/>
                  <a:gd name="T15" fmla="*/ 24 h 244"/>
                  <a:gd name="T16" fmla="*/ 36 w 393"/>
                  <a:gd name="T17" fmla="*/ 14 h 244"/>
                  <a:gd name="T18" fmla="*/ 30 w 393"/>
                  <a:gd name="T19" fmla="*/ 18 h 244"/>
                  <a:gd name="T20" fmla="*/ 53 w 393"/>
                  <a:gd name="T21" fmla="*/ 60 h 244"/>
                  <a:gd name="T22" fmla="*/ 47 w 393"/>
                  <a:gd name="T23" fmla="*/ 66 h 244"/>
                  <a:gd name="T24" fmla="*/ 31 w 393"/>
                  <a:gd name="T25" fmla="*/ 69 h 244"/>
                  <a:gd name="T26" fmla="*/ 21 w 393"/>
                  <a:gd name="T27" fmla="*/ 65 h 244"/>
                  <a:gd name="T28" fmla="*/ 7 w 393"/>
                  <a:gd name="T29" fmla="*/ 89 h 244"/>
                  <a:gd name="T30" fmla="*/ 17 w 393"/>
                  <a:gd name="T31" fmla="*/ 91 h 244"/>
                  <a:gd name="T32" fmla="*/ 20 w 393"/>
                  <a:gd name="T33" fmla="*/ 90 h 244"/>
                  <a:gd name="T34" fmla="*/ 17 w 393"/>
                  <a:gd name="T35" fmla="*/ 105 h 244"/>
                  <a:gd name="T36" fmla="*/ 14 w 393"/>
                  <a:gd name="T37" fmla="*/ 111 h 244"/>
                  <a:gd name="T38" fmla="*/ 35 w 393"/>
                  <a:gd name="T39" fmla="*/ 183 h 244"/>
                  <a:gd name="T40" fmla="*/ 97 w 393"/>
                  <a:gd name="T41" fmla="*/ 150 h 244"/>
                  <a:gd name="T42" fmla="*/ 104 w 393"/>
                  <a:gd name="T43" fmla="*/ 145 h 244"/>
                  <a:gd name="T44" fmla="*/ 116 w 393"/>
                  <a:gd name="T45" fmla="*/ 143 h 244"/>
                  <a:gd name="T46" fmla="*/ 137 w 393"/>
                  <a:gd name="T47" fmla="*/ 155 h 244"/>
                  <a:gd name="T48" fmla="*/ 156 w 393"/>
                  <a:gd name="T49" fmla="*/ 161 h 244"/>
                  <a:gd name="T50" fmla="*/ 163 w 393"/>
                  <a:gd name="T51" fmla="*/ 164 h 244"/>
                  <a:gd name="T52" fmla="*/ 186 w 393"/>
                  <a:gd name="T53" fmla="*/ 166 h 244"/>
                  <a:gd name="T54" fmla="*/ 197 w 393"/>
                  <a:gd name="T55" fmla="*/ 178 h 244"/>
                  <a:gd name="T56" fmla="*/ 213 w 393"/>
                  <a:gd name="T57" fmla="*/ 188 h 244"/>
                  <a:gd name="T58" fmla="*/ 222 w 393"/>
                  <a:gd name="T59" fmla="*/ 197 h 244"/>
                  <a:gd name="T60" fmla="*/ 239 w 393"/>
                  <a:gd name="T61" fmla="*/ 197 h 244"/>
                  <a:gd name="T62" fmla="*/ 244 w 393"/>
                  <a:gd name="T63" fmla="*/ 216 h 244"/>
                  <a:gd name="T64" fmla="*/ 251 w 393"/>
                  <a:gd name="T65" fmla="*/ 233 h 244"/>
                  <a:gd name="T66" fmla="*/ 269 w 393"/>
                  <a:gd name="T67" fmla="*/ 240 h 244"/>
                  <a:gd name="T68" fmla="*/ 285 w 393"/>
                  <a:gd name="T69" fmla="*/ 241 h 244"/>
                  <a:gd name="T70" fmla="*/ 294 w 393"/>
                  <a:gd name="T71" fmla="*/ 229 h 244"/>
                  <a:gd name="T72" fmla="*/ 325 w 393"/>
                  <a:gd name="T73" fmla="*/ 214 h 244"/>
                  <a:gd name="T74" fmla="*/ 336 w 393"/>
                  <a:gd name="T75" fmla="*/ 198 h 244"/>
                  <a:gd name="T76" fmla="*/ 362 w 393"/>
                  <a:gd name="T77" fmla="*/ 178 h 244"/>
                  <a:gd name="T78" fmla="*/ 371 w 393"/>
                  <a:gd name="T79" fmla="*/ 168 h 244"/>
                  <a:gd name="T80" fmla="*/ 383 w 393"/>
                  <a:gd name="T81" fmla="*/ 173 h 244"/>
                  <a:gd name="T82" fmla="*/ 390 w 393"/>
                  <a:gd name="T83" fmla="*/ 174 h 244"/>
                  <a:gd name="T84" fmla="*/ 393 w 393"/>
                  <a:gd name="T85" fmla="*/ 162 h 244"/>
                  <a:gd name="T86" fmla="*/ 376 w 393"/>
                  <a:gd name="T87" fmla="*/ 150 h 244"/>
                  <a:gd name="T88" fmla="*/ 357 w 393"/>
                  <a:gd name="T89" fmla="*/ 145 h 244"/>
                  <a:gd name="T90" fmla="*/ 313 w 393"/>
                  <a:gd name="T91" fmla="*/ 118 h 244"/>
                  <a:gd name="T92" fmla="*/ 283 w 393"/>
                  <a:gd name="T93" fmla="*/ 98 h 244"/>
                  <a:gd name="T94" fmla="*/ 273 w 393"/>
                  <a:gd name="T95" fmla="*/ 85 h 244"/>
                  <a:gd name="T96" fmla="*/ 255 w 393"/>
                  <a:gd name="T97" fmla="*/ 52 h 244"/>
                  <a:gd name="T98" fmla="*/ 227 w 393"/>
                  <a:gd name="T99" fmla="*/ 51 h 244"/>
                  <a:gd name="T100" fmla="*/ 212 w 393"/>
                  <a:gd name="T101" fmla="*/ 47 h 244"/>
                  <a:gd name="T102" fmla="*/ 207 w 393"/>
                  <a:gd name="T103" fmla="*/ 34 h 244"/>
                  <a:gd name="T104" fmla="*/ 204 w 393"/>
                  <a:gd name="T105" fmla="*/ 20 h 244"/>
                  <a:gd name="T106" fmla="*/ 189 w 393"/>
                  <a:gd name="T107" fmla="*/ 14 h 244"/>
                  <a:gd name="T108" fmla="*/ 181 w 393"/>
                  <a:gd name="T109" fmla="*/ 7 h 244"/>
                  <a:gd name="T110" fmla="*/ 174 w 393"/>
                  <a:gd name="T111" fmla="*/ 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3" h="244">
                    <a:moveTo>
                      <a:pt x="168" y="0"/>
                    </a:moveTo>
                    <a:cubicBezTo>
                      <a:pt x="168" y="0"/>
                      <a:pt x="168" y="0"/>
                      <a:pt x="168" y="0"/>
                    </a:cubicBezTo>
                    <a:cubicBezTo>
                      <a:pt x="165" y="3"/>
                      <a:pt x="164" y="4"/>
                      <a:pt x="165" y="5"/>
                    </a:cubicBezTo>
                    <a:cubicBezTo>
                      <a:pt x="165" y="6"/>
                      <a:pt x="167" y="8"/>
                      <a:pt x="167" y="9"/>
                    </a:cubicBezTo>
                    <a:cubicBezTo>
                      <a:pt x="182" y="26"/>
                      <a:pt x="182" y="26"/>
                      <a:pt x="182" y="26"/>
                    </a:cubicBezTo>
                    <a:cubicBezTo>
                      <a:pt x="163" y="14"/>
                      <a:pt x="163" y="14"/>
                      <a:pt x="163" y="14"/>
                    </a:cubicBezTo>
                    <a:cubicBezTo>
                      <a:pt x="162" y="14"/>
                      <a:pt x="161" y="13"/>
                      <a:pt x="161" y="12"/>
                    </a:cubicBezTo>
                    <a:cubicBezTo>
                      <a:pt x="160" y="11"/>
                      <a:pt x="160" y="11"/>
                      <a:pt x="160" y="11"/>
                    </a:cubicBezTo>
                    <a:cubicBezTo>
                      <a:pt x="159" y="10"/>
                      <a:pt x="158" y="10"/>
                      <a:pt x="157" y="9"/>
                    </a:cubicBezTo>
                    <a:cubicBezTo>
                      <a:pt x="156" y="9"/>
                      <a:pt x="156" y="9"/>
                      <a:pt x="156" y="9"/>
                    </a:cubicBezTo>
                    <a:cubicBezTo>
                      <a:pt x="155" y="9"/>
                      <a:pt x="155" y="9"/>
                      <a:pt x="154" y="9"/>
                    </a:cubicBezTo>
                    <a:cubicBezTo>
                      <a:pt x="153" y="9"/>
                      <a:pt x="153" y="9"/>
                      <a:pt x="153" y="9"/>
                    </a:cubicBezTo>
                    <a:cubicBezTo>
                      <a:pt x="153" y="9"/>
                      <a:pt x="153" y="10"/>
                      <a:pt x="152" y="11"/>
                    </a:cubicBezTo>
                    <a:cubicBezTo>
                      <a:pt x="152" y="12"/>
                      <a:pt x="152" y="13"/>
                      <a:pt x="151" y="14"/>
                    </a:cubicBezTo>
                    <a:cubicBezTo>
                      <a:pt x="149" y="18"/>
                      <a:pt x="146" y="19"/>
                      <a:pt x="142" y="20"/>
                    </a:cubicBezTo>
                    <a:cubicBezTo>
                      <a:pt x="141" y="21"/>
                      <a:pt x="140" y="21"/>
                      <a:pt x="138" y="21"/>
                    </a:cubicBezTo>
                    <a:cubicBezTo>
                      <a:pt x="136" y="22"/>
                      <a:pt x="133" y="22"/>
                      <a:pt x="131" y="23"/>
                    </a:cubicBezTo>
                    <a:cubicBezTo>
                      <a:pt x="131" y="23"/>
                      <a:pt x="130" y="23"/>
                      <a:pt x="130" y="23"/>
                    </a:cubicBezTo>
                    <a:cubicBezTo>
                      <a:pt x="130" y="23"/>
                      <a:pt x="130" y="23"/>
                      <a:pt x="130" y="23"/>
                    </a:cubicBezTo>
                    <a:cubicBezTo>
                      <a:pt x="129" y="24"/>
                      <a:pt x="128" y="28"/>
                      <a:pt x="127" y="29"/>
                    </a:cubicBezTo>
                    <a:cubicBezTo>
                      <a:pt x="127" y="31"/>
                      <a:pt x="126" y="32"/>
                      <a:pt x="126" y="33"/>
                    </a:cubicBezTo>
                    <a:cubicBezTo>
                      <a:pt x="126" y="34"/>
                      <a:pt x="126" y="34"/>
                      <a:pt x="126" y="34"/>
                    </a:cubicBezTo>
                    <a:cubicBezTo>
                      <a:pt x="126" y="35"/>
                      <a:pt x="126" y="35"/>
                      <a:pt x="126" y="35"/>
                    </a:cubicBezTo>
                    <a:cubicBezTo>
                      <a:pt x="126" y="36"/>
                      <a:pt x="126" y="36"/>
                      <a:pt x="126" y="36"/>
                    </a:cubicBezTo>
                    <a:cubicBezTo>
                      <a:pt x="126" y="36"/>
                      <a:pt x="126" y="37"/>
                      <a:pt x="127" y="38"/>
                    </a:cubicBezTo>
                    <a:cubicBezTo>
                      <a:pt x="127" y="39"/>
                      <a:pt x="127" y="40"/>
                      <a:pt x="127" y="40"/>
                    </a:cubicBezTo>
                    <a:cubicBezTo>
                      <a:pt x="128" y="40"/>
                      <a:pt x="128" y="40"/>
                      <a:pt x="128" y="40"/>
                    </a:cubicBezTo>
                    <a:cubicBezTo>
                      <a:pt x="148" y="42"/>
                      <a:pt x="148" y="42"/>
                      <a:pt x="148" y="42"/>
                    </a:cubicBezTo>
                    <a:cubicBezTo>
                      <a:pt x="128" y="47"/>
                      <a:pt x="128" y="47"/>
                      <a:pt x="128" y="47"/>
                    </a:cubicBezTo>
                    <a:cubicBezTo>
                      <a:pt x="121" y="48"/>
                      <a:pt x="114" y="49"/>
                      <a:pt x="107" y="49"/>
                    </a:cubicBezTo>
                    <a:cubicBezTo>
                      <a:pt x="102" y="49"/>
                      <a:pt x="98" y="49"/>
                      <a:pt x="94" y="48"/>
                    </a:cubicBezTo>
                    <a:cubicBezTo>
                      <a:pt x="93" y="48"/>
                      <a:pt x="93" y="48"/>
                      <a:pt x="93" y="48"/>
                    </a:cubicBezTo>
                    <a:cubicBezTo>
                      <a:pt x="93" y="49"/>
                      <a:pt x="92" y="49"/>
                      <a:pt x="92" y="49"/>
                    </a:cubicBezTo>
                    <a:cubicBezTo>
                      <a:pt x="90" y="49"/>
                      <a:pt x="90" y="49"/>
                      <a:pt x="90" y="49"/>
                    </a:cubicBezTo>
                    <a:cubicBezTo>
                      <a:pt x="90" y="48"/>
                      <a:pt x="90" y="48"/>
                      <a:pt x="90" y="48"/>
                    </a:cubicBezTo>
                    <a:cubicBezTo>
                      <a:pt x="89" y="49"/>
                      <a:pt x="87" y="49"/>
                      <a:pt x="86" y="49"/>
                    </a:cubicBezTo>
                    <a:cubicBezTo>
                      <a:pt x="84" y="49"/>
                      <a:pt x="81" y="49"/>
                      <a:pt x="79" y="49"/>
                    </a:cubicBezTo>
                    <a:cubicBezTo>
                      <a:pt x="79" y="50"/>
                      <a:pt x="79" y="50"/>
                      <a:pt x="79" y="50"/>
                    </a:cubicBezTo>
                    <a:cubicBezTo>
                      <a:pt x="78" y="49"/>
                      <a:pt x="78" y="49"/>
                      <a:pt x="78" y="49"/>
                    </a:cubicBezTo>
                    <a:cubicBezTo>
                      <a:pt x="78" y="49"/>
                      <a:pt x="77" y="49"/>
                      <a:pt x="76" y="49"/>
                    </a:cubicBezTo>
                    <a:cubicBezTo>
                      <a:pt x="76" y="48"/>
                      <a:pt x="76" y="48"/>
                      <a:pt x="76" y="48"/>
                    </a:cubicBezTo>
                    <a:cubicBezTo>
                      <a:pt x="75" y="48"/>
                      <a:pt x="74" y="47"/>
                      <a:pt x="74" y="46"/>
                    </a:cubicBezTo>
                    <a:cubicBezTo>
                      <a:pt x="72" y="44"/>
                      <a:pt x="70" y="42"/>
                      <a:pt x="68" y="40"/>
                    </a:cubicBezTo>
                    <a:cubicBezTo>
                      <a:pt x="67" y="38"/>
                      <a:pt x="67" y="38"/>
                      <a:pt x="67" y="38"/>
                    </a:cubicBezTo>
                    <a:cubicBezTo>
                      <a:pt x="67" y="37"/>
                      <a:pt x="66" y="36"/>
                      <a:pt x="65" y="35"/>
                    </a:cubicBezTo>
                    <a:cubicBezTo>
                      <a:pt x="64" y="33"/>
                      <a:pt x="62" y="31"/>
                      <a:pt x="60" y="30"/>
                    </a:cubicBezTo>
                    <a:cubicBezTo>
                      <a:pt x="58" y="28"/>
                      <a:pt x="58" y="28"/>
                      <a:pt x="58" y="28"/>
                    </a:cubicBezTo>
                    <a:cubicBezTo>
                      <a:pt x="56" y="27"/>
                      <a:pt x="54" y="25"/>
                      <a:pt x="53" y="24"/>
                    </a:cubicBezTo>
                    <a:cubicBezTo>
                      <a:pt x="50" y="21"/>
                      <a:pt x="46" y="18"/>
                      <a:pt x="43" y="16"/>
                    </a:cubicBezTo>
                    <a:cubicBezTo>
                      <a:pt x="42" y="15"/>
                      <a:pt x="42" y="15"/>
                      <a:pt x="42" y="15"/>
                    </a:cubicBezTo>
                    <a:cubicBezTo>
                      <a:pt x="42" y="15"/>
                      <a:pt x="41" y="14"/>
                      <a:pt x="41" y="14"/>
                    </a:cubicBezTo>
                    <a:cubicBezTo>
                      <a:pt x="40" y="14"/>
                      <a:pt x="40" y="14"/>
                      <a:pt x="39" y="14"/>
                    </a:cubicBezTo>
                    <a:cubicBezTo>
                      <a:pt x="39" y="14"/>
                      <a:pt x="39" y="14"/>
                      <a:pt x="38" y="14"/>
                    </a:cubicBezTo>
                    <a:cubicBezTo>
                      <a:pt x="38" y="14"/>
                      <a:pt x="37" y="14"/>
                      <a:pt x="36" y="14"/>
                    </a:cubicBezTo>
                    <a:cubicBezTo>
                      <a:pt x="35" y="14"/>
                      <a:pt x="35" y="14"/>
                      <a:pt x="35" y="14"/>
                    </a:cubicBezTo>
                    <a:cubicBezTo>
                      <a:pt x="32" y="15"/>
                      <a:pt x="29" y="15"/>
                      <a:pt x="25" y="16"/>
                    </a:cubicBezTo>
                    <a:cubicBezTo>
                      <a:pt x="21" y="16"/>
                      <a:pt x="16" y="18"/>
                      <a:pt x="12" y="20"/>
                    </a:cubicBezTo>
                    <a:cubicBezTo>
                      <a:pt x="14" y="19"/>
                      <a:pt x="16" y="19"/>
                      <a:pt x="19" y="18"/>
                    </a:cubicBezTo>
                    <a:cubicBezTo>
                      <a:pt x="21" y="18"/>
                      <a:pt x="24" y="17"/>
                      <a:pt x="27" y="17"/>
                    </a:cubicBezTo>
                    <a:cubicBezTo>
                      <a:pt x="28" y="17"/>
                      <a:pt x="29" y="17"/>
                      <a:pt x="30" y="18"/>
                    </a:cubicBezTo>
                    <a:cubicBezTo>
                      <a:pt x="37" y="19"/>
                      <a:pt x="33" y="21"/>
                      <a:pt x="34" y="25"/>
                    </a:cubicBezTo>
                    <a:cubicBezTo>
                      <a:pt x="35" y="28"/>
                      <a:pt x="37" y="30"/>
                      <a:pt x="38" y="33"/>
                    </a:cubicBezTo>
                    <a:cubicBezTo>
                      <a:pt x="38" y="36"/>
                      <a:pt x="38" y="38"/>
                      <a:pt x="40" y="40"/>
                    </a:cubicBezTo>
                    <a:cubicBezTo>
                      <a:pt x="44" y="44"/>
                      <a:pt x="50" y="47"/>
                      <a:pt x="55" y="50"/>
                    </a:cubicBezTo>
                    <a:cubicBezTo>
                      <a:pt x="57" y="52"/>
                      <a:pt x="60" y="55"/>
                      <a:pt x="58" y="58"/>
                    </a:cubicBezTo>
                    <a:cubicBezTo>
                      <a:pt x="57" y="60"/>
                      <a:pt x="55" y="60"/>
                      <a:pt x="53" y="60"/>
                    </a:cubicBezTo>
                    <a:cubicBezTo>
                      <a:pt x="53" y="60"/>
                      <a:pt x="52" y="60"/>
                      <a:pt x="51" y="60"/>
                    </a:cubicBezTo>
                    <a:cubicBezTo>
                      <a:pt x="50" y="60"/>
                      <a:pt x="49" y="60"/>
                      <a:pt x="48" y="60"/>
                    </a:cubicBezTo>
                    <a:cubicBezTo>
                      <a:pt x="46" y="60"/>
                      <a:pt x="45" y="61"/>
                      <a:pt x="45" y="63"/>
                    </a:cubicBezTo>
                    <a:cubicBezTo>
                      <a:pt x="45" y="64"/>
                      <a:pt x="46" y="66"/>
                      <a:pt x="48" y="66"/>
                    </a:cubicBezTo>
                    <a:cubicBezTo>
                      <a:pt x="48" y="66"/>
                      <a:pt x="48" y="66"/>
                      <a:pt x="48" y="66"/>
                    </a:cubicBezTo>
                    <a:cubicBezTo>
                      <a:pt x="47" y="66"/>
                      <a:pt x="47" y="66"/>
                      <a:pt x="47" y="66"/>
                    </a:cubicBezTo>
                    <a:cubicBezTo>
                      <a:pt x="48" y="67"/>
                      <a:pt x="48" y="67"/>
                      <a:pt x="48" y="67"/>
                    </a:cubicBezTo>
                    <a:cubicBezTo>
                      <a:pt x="47" y="67"/>
                      <a:pt x="45" y="67"/>
                      <a:pt x="43" y="67"/>
                    </a:cubicBezTo>
                    <a:cubicBezTo>
                      <a:pt x="43" y="67"/>
                      <a:pt x="42" y="67"/>
                      <a:pt x="42" y="67"/>
                    </a:cubicBezTo>
                    <a:cubicBezTo>
                      <a:pt x="41" y="67"/>
                      <a:pt x="41" y="67"/>
                      <a:pt x="40" y="67"/>
                    </a:cubicBezTo>
                    <a:cubicBezTo>
                      <a:pt x="38" y="67"/>
                      <a:pt x="36" y="67"/>
                      <a:pt x="34" y="68"/>
                    </a:cubicBezTo>
                    <a:cubicBezTo>
                      <a:pt x="33" y="68"/>
                      <a:pt x="32" y="69"/>
                      <a:pt x="31" y="69"/>
                    </a:cubicBezTo>
                    <a:cubicBezTo>
                      <a:pt x="30" y="69"/>
                      <a:pt x="30" y="69"/>
                      <a:pt x="30" y="69"/>
                    </a:cubicBezTo>
                    <a:cubicBezTo>
                      <a:pt x="27" y="68"/>
                      <a:pt x="28" y="63"/>
                      <a:pt x="27" y="62"/>
                    </a:cubicBezTo>
                    <a:cubicBezTo>
                      <a:pt x="26" y="61"/>
                      <a:pt x="26" y="61"/>
                      <a:pt x="26" y="61"/>
                    </a:cubicBezTo>
                    <a:cubicBezTo>
                      <a:pt x="26" y="61"/>
                      <a:pt x="26" y="62"/>
                      <a:pt x="24" y="64"/>
                    </a:cubicBezTo>
                    <a:cubicBezTo>
                      <a:pt x="23" y="64"/>
                      <a:pt x="23" y="65"/>
                      <a:pt x="21" y="65"/>
                    </a:cubicBezTo>
                    <a:cubicBezTo>
                      <a:pt x="21" y="65"/>
                      <a:pt x="21" y="65"/>
                      <a:pt x="21" y="65"/>
                    </a:cubicBezTo>
                    <a:cubicBezTo>
                      <a:pt x="20" y="65"/>
                      <a:pt x="15" y="64"/>
                      <a:pt x="14" y="64"/>
                    </a:cubicBezTo>
                    <a:cubicBezTo>
                      <a:pt x="10" y="63"/>
                      <a:pt x="8" y="58"/>
                      <a:pt x="6" y="54"/>
                    </a:cubicBezTo>
                    <a:cubicBezTo>
                      <a:pt x="5" y="60"/>
                      <a:pt x="5" y="66"/>
                      <a:pt x="2" y="71"/>
                    </a:cubicBezTo>
                    <a:cubicBezTo>
                      <a:pt x="1" y="73"/>
                      <a:pt x="0" y="76"/>
                      <a:pt x="0" y="79"/>
                    </a:cubicBezTo>
                    <a:cubicBezTo>
                      <a:pt x="0" y="81"/>
                      <a:pt x="1" y="83"/>
                      <a:pt x="2" y="85"/>
                    </a:cubicBezTo>
                    <a:cubicBezTo>
                      <a:pt x="2" y="90"/>
                      <a:pt x="1" y="89"/>
                      <a:pt x="7" y="89"/>
                    </a:cubicBezTo>
                    <a:cubicBezTo>
                      <a:pt x="8" y="89"/>
                      <a:pt x="8" y="89"/>
                      <a:pt x="9" y="89"/>
                    </a:cubicBezTo>
                    <a:cubicBezTo>
                      <a:pt x="9" y="89"/>
                      <a:pt x="10" y="89"/>
                      <a:pt x="10" y="89"/>
                    </a:cubicBezTo>
                    <a:cubicBezTo>
                      <a:pt x="11" y="89"/>
                      <a:pt x="11" y="89"/>
                      <a:pt x="12" y="89"/>
                    </a:cubicBezTo>
                    <a:cubicBezTo>
                      <a:pt x="12" y="89"/>
                      <a:pt x="12" y="89"/>
                      <a:pt x="12" y="89"/>
                    </a:cubicBezTo>
                    <a:cubicBezTo>
                      <a:pt x="14" y="90"/>
                      <a:pt x="15" y="90"/>
                      <a:pt x="16" y="91"/>
                    </a:cubicBezTo>
                    <a:cubicBezTo>
                      <a:pt x="16" y="91"/>
                      <a:pt x="17" y="91"/>
                      <a:pt x="17" y="91"/>
                    </a:cubicBezTo>
                    <a:cubicBezTo>
                      <a:pt x="17" y="91"/>
                      <a:pt x="17" y="91"/>
                      <a:pt x="18" y="91"/>
                    </a:cubicBezTo>
                    <a:cubicBezTo>
                      <a:pt x="18" y="90"/>
                      <a:pt x="18" y="90"/>
                      <a:pt x="18" y="90"/>
                    </a:cubicBezTo>
                    <a:cubicBezTo>
                      <a:pt x="19" y="90"/>
                      <a:pt x="19" y="90"/>
                      <a:pt x="19" y="90"/>
                    </a:cubicBezTo>
                    <a:cubicBezTo>
                      <a:pt x="19" y="90"/>
                      <a:pt x="19" y="90"/>
                      <a:pt x="19" y="90"/>
                    </a:cubicBezTo>
                    <a:cubicBezTo>
                      <a:pt x="19" y="90"/>
                      <a:pt x="19" y="90"/>
                      <a:pt x="20" y="90"/>
                    </a:cubicBezTo>
                    <a:cubicBezTo>
                      <a:pt x="20" y="90"/>
                      <a:pt x="20" y="90"/>
                      <a:pt x="20" y="90"/>
                    </a:cubicBezTo>
                    <a:cubicBezTo>
                      <a:pt x="20" y="90"/>
                      <a:pt x="21" y="90"/>
                      <a:pt x="21" y="90"/>
                    </a:cubicBezTo>
                    <a:cubicBezTo>
                      <a:pt x="22" y="91"/>
                      <a:pt x="20" y="95"/>
                      <a:pt x="20" y="96"/>
                    </a:cubicBezTo>
                    <a:cubicBezTo>
                      <a:pt x="21" y="100"/>
                      <a:pt x="25" y="102"/>
                      <a:pt x="29" y="104"/>
                    </a:cubicBezTo>
                    <a:cubicBezTo>
                      <a:pt x="27" y="105"/>
                      <a:pt x="25" y="105"/>
                      <a:pt x="23" y="106"/>
                    </a:cubicBezTo>
                    <a:cubicBezTo>
                      <a:pt x="23" y="105"/>
                      <a:pt x="23" y="103"/>
                      <a:pt x="23" y="102"/>
                    </a:cubicBezTo>
                    <a:cubicBezTo>
                      <a:pt x="22" y="103"/>
                      <a:pt x="19" y="105"/>
                      <a:pt x="17" y="105"/>
                    </a:cubicBezTo>
                    <a:cubicBezTo>
                      <a:pt x="16" y="105"/>
                      <a:pt x="16" y="105"/>
                      <a:pt x="15" y="105"/>
                    </a:cubicBezTo>
                    <a:cubicBezTo>
                      <a:pt x="15" y="104"/>
                      <a:pt x="17" y="101"/>
                      <a:pt x="17" y="100"/>
                    </a:cubicBezTo>
                    <a:cubicBezTo>
                      <a:pt x="16" y="100"/>
                      <a:pt x="12" y="105"/>
                      <a:pt x="12" y="107"/>
                    </a:cubicBezTo>
                    <a:cubicBezTo>
                      <a:pt x="11" y="110"/>
                      <a:pt x="13" y="113"/>
                      <a:pt x="13" y="116"/>
                    </a:cubicBezTo>
                    <a:cubicBezTo>
                      <a:pt x="14" y="114"/>
                      <a:pt x="15" y="112"/>
                      <a:pt x="13" y="111"/>
                    </a:cubicBezTo>
                    <a:cubicBezTo>
                      <a:pt x="14" y="111"/>
                      <a:pt x="14" y="111"/>
                      <a:pt x="14" y="111"/>
                    </a:cubicBezTo>
                    <a:cubicBezTo>
                      <a:pt x="21" y="111"/>
                      <a:pt x="26" y="117"/>
                      <a:pt x="32" y="122"/>
                    </a:cubicBezTo>
                    <a:cubicBezTo>
                      <a:pt x="35" y="124"/>
                      <a:pt x="36" y="124"/>
                      <a:pt x="35" y="128"/>
                    </a:cubicBezTo>
                    <a:cubicBezTo>
                      <a:pt x="34" y="131"/>
                      <a:pt x="33" y="133"/>
                      <a:pt x="32" y="136"/>
                    </a:cubicBezTo>
                    <a:cubicBezTo>
                      <a:pt x="31" y="145"/>
                      <a:pt x="31" y="156"/>
                      <a:pt x="32" y="165"/>
                    </a:cubicBezTo>
                    <a:cubicBezTo>
                      <a:pt x="33" y="167"/>
                      <a:pt x="33" y="176"/>
                      <a:pt x="34" y="177"/>
                    </a:cubicBezTo>
                    <a:cubicBezTo>
                      <a:pt x="35" y="179"/>
                      <a:pt x="35" y="181"/>
                      <a:pt x="35" y="183"/>
                    </a:cubicBezTo>
                    <a:cubicBezTo>
                      <a:pt x="36" y="185"/>
                      <a:pt x="36" y="187"/>
                      <a:pt x="36" y="188"/>
                    </a:cubicBezTo>
                    <a:cubicBezTo>
                      <a:pt x="72" y="153"/>
                      <a:pt x="72" y="153"/>
                      <a:pt x="72" y="153"/>
                    </a:cubicBezTo>
                    <a:cubicBezTo>
                      <a:pt x="76" y="151"/>
                      <a:pt x="82" y="150"/>
                      <a:pt x="88" y="150"/>
                    </a:cubicBezTo>
                    <a:cubicBezTo>
                      <a:pt x="89" y="150"/>
                      <a:pt x="90" y="149"/>
                      <a:pt x="90" y="149"/>
                    </a:cubicBezTo>
                    <a:cubicBezTo>
                      <a:pt x="92" y="149"/>
                      <a:pt x="94" y="150"/>
                      <a:pt x="96" y="150"/>
                    </a:cubicBezTo>
                    <a:cubicBezTo>
                      <a:pt x="97" y="150"/>
                      <a:pt x="97" y="150"/>
                      <a:pt x="97" y="150"/>
                    </a:cubicBezTo>
                    <a:cubicBezTo>
                      <a:pt x="97" y="150"/>
                      <a:pt x="97" y="150"/>
                      <a:pt x="98" y="150"/>
                    </a:cubicBezTo>
                    <a:cubicBezTo>
                      <a:pt x="98" y="150"/>
                      <a:pt x="98" y="150"/>
                      <a:pt x="98" y="150"/>
                    </a:cubicBezTo>
                    <a:cubicBezTo>
                      <a:pt x="98" y="150"/>
                      <a:pt x="98" y="150"/>
                      <a:pt x="98" y="150"/>
                    </a:cubicBezTo>
                    <a:cubicBezTo>
                      <a:pt x="98" y="150"/>
                      <a:pt x="98" y="150"/>
                      <a:pt x="98" y="150"/>
                    </a:cubicBezTo>
                    <a:cubicBezTo>
                      <a:pt x="100" y="150"/>
                      <a:pt x="100" y="150"/>
                      <a:pt x="102" y="147"/>
                    </a:cubicBezTo>
                    <a:cubicBezTo>
                      <a:pt x="103" y="146"/>
                      <a:pt x="103" y="146"/>
                      <a:pt x="104" y="145"/>
                    </a:cubicBezTo>
                    <a:cubicBezTo>
                      <a:pt x="104" y="145"/>
                      <a:pt x="104" y="145"/>
                      <a:pt x="104" y="145"/>
                    </a:cubicBezTo>
                    <a:cubicBezTo>
                      <a:pt x="105" y="145"/>
                      <a:pt x="106" y="144"/>
                      <a:pt x="107" y="144"/>
                    </a:cubicBezTo>
                    <a:cubicBezTo>
                      <a:pt x="107" y="144"/>
                      <a:pt x="107" y="144"/>
                      <a:pt x="107" y="144"/>
                    </a:cubicBezTo>
                    <a:cubicBezTo>
                      <a:pt x="109" y="144"/>
                      <a:pt x="111" y="143"/>
                      <a:pt x="114" y="143"/>
                    </a:cubicBezTo>
                    <a:cubicBezTo>
                      <a:pt x="114" y="143"/>
                      <a:pt x="115" y="143"/>
                      <a:pt x="115" y="143"/>
                    </a:cubicBezTo>
                    <a:cubicBezTo>
                      <a:pt x="116" y="143"/>
                      <a:pt x="116" y="143"/>
                      <a:pt x="116" y="143"/>
                    </a:cubicBezTo>
                    <a:cubicBezTo>
                      <a:pt x="118" y="143"/>
                      <a:pt x="120" y="144"/>
                      <a:pt x="122" y="144"/>
                    </a:cubicBezTo>
                    <a:cubicBezTo>
                      <a:pt x="123" y="144"/>
                      <a:pt x="123" y="144"/>
                      <a:pt x="123" y="144"/>
                    </a:cubicBezTo>
                    <a:cubicBezTo>
                      <a:pt x="124" y="144"/>
                      <a:pt x="125" y="144"/>
                      <a:pt x="126" y="144"/>
                    </a:cubicBezTo>
                    <a:cubicBezTo>
                      <a:pt x="132" y="145"/>
                      <a:pt x="134" y="149"/>
                      <a:pt x="135" y="152"/>
                    </a:cubicBezTo>
                    <a:cubicBezTo>
                      <a:pt x="135" y="152"/>
                      <a:pt x="135" y="152"/>
                      <a:pt x="135" y="152"/>
                    </a:cubicBezTo>
                    <a:cubicBezTo>
                      <a:pt x="136" y="154"/>
                      <a:pt x="136" y="154"/>
                      <a:pt x="137" y="155"/>
                    </a:cubicBezTo>
                    <a:cubicBezTo>
                      <a:pt x="140" y="155"/>
                      <a:pt x="142" y="155"/>
                      <a:pt x="144" y="156"/>
                    </a:cubicBezTo>
                    <a:cubicBezTo>
                      <a:pt x="144" y="156"/>
                      <a:pt x="146" y="156"/>
                      <a:pt x="147" y="157"/>
                    </a:cubicBezTo>
                    <a:cubicBezTo>
                      <a:pt x="148" y="157"/>
                      <a:pt x="148" y="157"/>
                      <a:pt x="148" y="157"/>
                    </a:cubicBezTo>
                    <a:cubicBezTo>
                      <a:pt x="149" y="157"/>
                      <a:pt x="149" y="157"/>
                      <a:pt x="150" y="157"/>
                    </a:cubicBezTo>
                    <a:cubicBezTo>
                      <a:pt x="152" y="158"/>
                      <a:pt x="153" y="159"/>
                      <a:pt x="155" y="160"/>
                    </a:cubicBezTo>
                    <a:cubicBezTo>
                      <a:pt x="156" y="161"/>
                      <a:pt x="156" y="161"/>
                      <a:pt x="156" y="161"/>
                    </a:cubicBezTo>
                    <a:cubicBezTo>
                      <a:pt x="156" y="162"/>
                      <a:pt x="157" y="162"/>
                      <a:pt x="158" y="163"/>
                    </a:cubicBezTo>
                    <a:cubicBezTo>
                      <a:pt x="159" y="164"/>
                      <a:pt x="159" y="164"/>
                      <a:pt x="159" y="164"/>
                    </a:cubicBezTo>
                    <a:cubicBezTo>
                      <a:pt x="159" y="164"/>
                      <a:pt x="159" y="164"/>
                      <a:pt x="159" y="164"/>
                    </a:cubicBezTo>
                    <a:cubicBezTo>
                      <a:pt x="160" y="164"/>
                      <a:pt x="160" y="164"/>
                      <a:pt x="161" y="164"/>
                    </a:cubicBezTo>
                    <a:cubicBezTo>
                      <a:pt x="162" y="164"/>
                      <a:pt x="162" y="164"/>
                      <a:pt x="162" y="164"/>
                    </a:cubicBezTo>
                    <a:cubicBezTo>
                      <a:pt x="162" y="164"/>
                      <a:pt x="163" y="164"/>
                      <a:pt x="163" y="164"/>
                    </a:cubicBezTo>
                    <a:cubicBezTo>
                      <a:pt x="164" y="164"/>
                      <a:pt x="164" y="164"/>
                      <a:pt x="164" y="164"/>
                    </a:cubicBezTo>
                    <a:cubicBezTo>
                      <a:pt x="164" y="164"/>
                      <a:pt x="165" y="164"/>
                      <a:pt x="165" y="164"/>
                    </a:cubicBezTo>
                    <a:cubicBezTo>
                      <a:pt x="165" y="164"/>
                      <a:pt x="165" y="164"/>
                      <a:pt x="166" y="164"/>
                    </a:cubicBezTo>
                    <a:cubicBezTo>
                      <a:pt x="172" y="164"/>
                      <a:pt x="172" y="164"/>
                      <a:pt x="172" y="164"/>
                    </a:cubicBezTo>
                    <a:cubicBezTo>
                      <a:pt x="173" y="164"/>
                      <a:pt x="174" y="164"/>
                      <a:pt x="175" y="164"/>
                    </a:cubicBezTo>
                    <a:cubicBezTo>
                      <a:pt x="179" y="164"/>
                      <a:pt x="182" y="165"/>
                      <a:pt x="186" y="166"/>
                    </a:cubicBezTo>
                    <a:cubicBezTo>
                      <a:pt x="186" y="166"/>
                      <a:pt x="186" y="166"/>
                      <a:pt x="187" y="166"/>
                    </a:cubicBezTo>
                    <a:cubicBezTo>
                      <a:pt x="187" y="167"/>
                      <a:pt x="187" y="167"/>
                      <a:pt x="187" y="167"/>
                    </a:cubicBezTo>
                    <a:cubicBezTo>
                      <a:pt x="188" y="167"/>
                      <a:pt x="188" y="167"/>
                      <a:pt x="188" y="167"/>
                    </a:cubicBezTo>
                    <a:cubicBezTo>
                      <a:pt x="190" y="168"/>
                      <a:pt x="192" y="170"/>
                      <a:pt x="193" y="171"/>
                    </a:cubicBezTo>
                    <a:cubicBezTo>
                      <a:pt x="193" y="172"/>
                      <a:pt x="193" y="172"/>
                      <a:pt x="193" y="172"/>
                    </a:cubicBezTo>
                    <a:cubicBezTo>
                      <a:pt x="195" y="174"/>
                      <a:pt x="196" y="176"/>
                      <a:pt x="197" y="178"/>
                    </a:cubicBezTo>
                    <a:cubicBezTo>
                      <a:pt x="198" y="179"/>
                      <a:pt x="198" y="179"/>
                      <a:pt x="198" y="179"/>
                    </a:cubicBezTo>
                    <a:cubicBezTo>
                      <a:pt x="198" y="180"/>
                      <a:pt x="198" y="181"/>
                      <a:pt x="199" y="181"/>
                    </a:cubicBezTo>
                    <a:cubicBezTo>
                      <a:pt x="201" y="182"/>
                      <a:pt x="201" y="182"/>
                      <a:pt x="201" y="182"/>
                    </a:cubicBezTo>
                    <a:cubicBezTo>
                      <a:pt x="204" y="182"/>
                      <a:pt x="207" y="183"/>
                      <a:pt x="209" y="184"/>
                    </a:cubicBezTo>
                    <a:cubicBezTo>
                      <a:pt x="211" y="185"/>
                      <a:pt x="212" y="186"/>
                      <a:pt x="212" y="187"/>
                    </a:cubicBezTo>
                    <a:cubicBezTo>
                      <a:pt x="213" y="188"/>
                      <a:pt x="213" y="188"/>
                      <a:pt x="213" y="188"/>
                    </a:cubicBezTo>
                    <a:cubicBezTo>
                      <a:pt x="214" y="189"/>
                      <a:pt x="215" y="191"/>
                      <a:pt x="215" y="192"/>
                    </a:cubicBezTo>
                    <a:cubicBezTo>
                      <a:pt x="217" y="194"/>
                      <a:pt x="217" y="194"/>
                      <a:pt x="217" y="194"/>
                    </a:cubicBezTo>
                    <a:cubicBezTo>
                      <a:pt x="218" y="195"/>
                      <a:pt x="218" y="196"/>
                      <a:pt x="219" y="196"/>
                    </a:cubicBezTo>
                    <a:cubicBezTo>
                      <a:pt x="219" y="196"/>
                      <a:pt x="219" y="196"/>
                      <a:pt x="219" y="196"/>
                    </a:cubicBezTo>
                    <a:cubicBezTo>
                      <a:pt x="219" y="196"/>
                      <a:pt x="220" y="197"/>
                      <a:pt x="221" y="197"/>
                    </a:cubicBezTo>
                    <a:cubicBezTo>
                      <a:pt x="222" y="197"/>
                      <a:pt x="222" y="197"/>
                      <a:pt x="222" y="197"/>
                    </a:cubicBezTo>
                    <a:cubicBezTo>
                      <a:pt x="224" y="197"/>
                      <a:pt x="225" y="197"/>
                      <a:pt x="227" y="197"/>
                    </a:cubicBezTo>
                    <a:cubicBezTo>
                      <a:pt x="228" y="197"/>
                      <a:pt x="228" y="197"/>
                      <a:pt x="228" y="197"/>
                    </a:cubicBezTo>
                    <a:cubicBezTo>
                      <a:pt x="229" y="196"/>
                      <a:pt x="230" y="196"/>
                      <a:pt x="230" y="196"/>
                    </a:cubicBezTo>
                    <a:cubicBezTo>
                      <a:pt x="231" y="196"/>
                      <a:pt x="232" y="196"/>
                      <a:pt x="233" y="196"/>
                    </a:cubicBezTo>
                    <a:cubicBezTo>
                      <a:pt x="235" y="196"/>
                      <a:pt x="237" y="196"/>
                      <a:pt x="239" y="197"/>
                    </a:cubicBezTo>
                    <a:cubicBezTo>
                      <a:pt x="239" y="197"/>
                      <a:pt x="239" y="197"/>
                      <a:pt x="239" y="197"/>
                    </a:cubicBezTo>
                    <a:cubicBezTo>
                      <a:pt x="240" y="197"/>
                      <a:pt x="241" y="197"/>
                      <a:pt x="242" y="198"/>
                    </a:cubicBezTo>
                    <a:cubicBezTo>
                      <a:pt x="243" y="199"/>
                      <a:pt x="244" y="200"/>
                      <a:pt x="244" y="201"/>
                    </a:cubicBezTo>
                    <a:cubicBezTo>
                      <a:pt x="244" y="202"/>
                      <a:pt x="244" y="202"/>
                      <a:pt x="244" y="202"/>
                    </a:cubicBezTo>
                    <a:cubicBezTo>
                      <a:pt x="245" y="205"/>
                      <a:pt x="245" y="208"/>
                      <a:pt x="244" y="211"/>
                    </a:cubicBezTo>
                    <a:cubicBezTo>
                      <a:pt x="244" y="212"/>
                      <a:pt x="244" y="213"/>
                      <a:pt x="244" y="214"/>
                    </a:cubicBezTo>
                    <a:cubicBezTo>
                      <a:pt x="244" y="216"/>
                      <a:pt x="244" y="216"/>
                      <a:pt x="244" y="216"/>
                    </a:cubicBezTo>
                    <a:cubicBezTo>
                      <a:pt x="244" y="219"/>
                      <a:pt x="244" y="222"/>
                      <a:pt x="245" y="224"/>
                    </a:cubicBezTo>
                    <a:cubicBezTo>
                      <a:pt x="246" y="228"/>
                      <a:pt x="246" y="228"/>
                      <a:pt x="246" y="228"/>
                    </a:cubicBezTo>
                    <a:cubicBezTo>
                      <a:pt x="247" y="229"/>
                      <a:pt x="247" y="230"/>
                      <a:pt x="247" y="231"/>
                    </a:cubicBezTo>
                    <a:cubicBezTo>
                      <a:pt x="247" y="232"/>
                      <a:pt x="247" y="232"/>
                      <a:pt x="247" y="232"/>
                    </a:cubicBezTo>
                    <a:cubicBezTo>
                      <a:pt x="248" y="232"/>
                      <a:pt x="248" y="232"/>
                      <a:pt x="248" y="232"/>
                    </a:cubicBezTo>
                    <a:cubicBezTo>
                      <a:pt x="251" y="233"/>
                      <a:pt x="251" y="233"/>
                      <a:pt x="251" y="233"/>
                    </a:cubicBezTo>
                    <a:cubicBezTo>
                      <a:pt x="251" y="233"/>
                      <a:pt x="251" y="233"/>
                      <a:pt x="251" y="233"/>
                    </a:cubicBezTo>
                    <a:cubicBezTo>
                      <a:pt x="253" y="234"/>
                      <a:pt x="255" y="234"/>
                      <a:pt x="257" y="234"/>
                    </a:cubicBezTo>
                    <a:cubicBezTo>
                      <a:pt x="257" y="234"/>
                      <a:pt x="257" y="234"/>
                      <a:pt x="257" y="234"/>
                    </a:cubicBezTo>
                    <a:cubicBezTo>
                      <a:pt x="259" y="235"/>
                      <a:pt x="260" y="235"/>
                      <a:pt x="261" y="235"/>
                    </a:cubicBezTo>
                    <a:cubicBezTo>
                      <a:pt x="263" y="236"/>
                      <a:pt x="265" y="237"/>
                      <a:pt x="267" y="238"/>
                    </a:cubicBezTo>
                    <a:cubicBezTo>
                      <a:pt x="268" y="239"/>
                      <a:pt x="268" y="239"/>
                      <a:pt x="269" y="240"/>
                    </a:cubicBezTo>
                    <a:cubicBezTo>
                      <a:pt x="271" y="242"/>
                      <a:pt x="271" y="242"/>
                      <a:pt x="271" y="242"/>
                    </a:cubicBezTo>
                    <a:cubicBezTo>
                      <a:pt x="271" y="243"/>
                      <a:pt x="272" y="243"/>
                      <a:pt x="272" y="244"/>
                    </a:cubicBezTo>
                    <a:cubicBezTo>
                      <a:pt x="273" y="244"/>
                      <a:pt x="273" y="244"/>
                      <a:pt x="273" y="244"/>
                    </a:cubicBezTo>
                    <a:cubicBezTo>
                      <a:pt x="273" y="244"/>
                      <a:pt x="273" y="244"/>
                      <a:pt x="273" y="244"/>
                    </a:cubicBezTo>
                    <a:cubicBezTo>
                      <a:pt x="277" y="241"/>
                      <a:pt x="280" y="241"/>
                      <a:pt x="282" y="241"/>
                    </a:cubicBezTo>
                    <a:cubicBezTo>
                      <a:pt x="285" y="241"/>
                      <a:pt x="285" y="241"/>
                      <a:pt x="285" y="241"/>
                    </a:cubicBezTo>
                    <a:cubicBezTo>
                      <a:pt x="286" y="240"/>
                      <a:pt x="286" y="240"/>
                      <a:pt x="286" y="240"/>
                    </a:cubicBezTo>
                    <a:cubicBezTo>
                      <a:pt x="287" y="240"/>
                      <a:pt x="287" y="240"/>
                      <a:pt x="287" y="240"/>
                    </a:cubicBezTo>
                    <a:cubicBezTo>
                      <a:pt x="288" y="240"/>
                      <a:pt x="290" y="238"/>
                      <a:pt x="293" y="235"/>
                    </a:cubicBezTo>
                    <a:cubicBezTo>
                      <a:pt x="294" y="234"/>
                      <a:pt x="294" y="234"/>
                      <a:pt x="294" y="234"/>
                    </a:cubicBezTo>
                    <a:cubicBezTo>
                      <a:pt x="294" y="233"/>
                      <a:pt x="295" y="232"/>
                      <a:pt x="295" y="231"/>
                    </a:cubicBezTo>
                    <a:cubicBezTo>
                      <a:pt x="294" y="229"/>
                      <a:pt x="294" y="229"/>
                      <a:pt x="294" y="229"/>
                    </a:cubicBezTo>
                    <a:cubicBezTo>
                      <a:pt x="300" y="222"/>
                      <a:pt x="300" y="222"/>
                      <a:pt x="300" y="222"/>
                    </a:cubicBezTo>
                    <a:cubicBezTo>
                      <a:pt x="302" y="222"/>
                      <a:pt x="302" y="222"/>
                      <a:pt x="302" y="222"/>
                    </a:cubicBezTo>
                    <a:cubicBezTo>
                      <a:pt x="303" y="222"/>
                      <a:pt x="305" y="222"/>
                      <a:pt x="306" y="221"/>
                    </a:cubicBezTo>
                    <a:cubicBezTo>
                      <a:pt x="308" y="221"/>
                      <a:pt x="309" y="220"/>
                      <a:pt x="311" y="220"/>
                    </a:cubicBezTo>
                    <a:cubicBezTo>
                      <a:pt x="316" y="217"/>
                      <a:pt x="316" y="217"/>
                      <a:pt x="316" y="217"/>
                    </a:cubicBezTo>
                    <a:cubicBezTo>
                      <a:pt x="319" y="216"/>
                      <a:pt x="322" y="215"/>
                      <a:pt x="325" y="214"/>
                    </a:cubicBezTo>
                    <a:cubicBezTo>
                      <a:pt x="328" y="213"/>
                      <a:pt x="330" y="211"/>
                      <a:pt x="333" y="209"/>
                    </a:cubicBezTo>
                    <a:cubicBezTo>
                      <a:pt x="334" y="208"/>
                      <a:pt x="334" y="208"/>
                      <a:pt x="334" y="208"/>
                    </a:cubicBezTo>
                    <a:cubicBezTo>
                      <a:pt x="335" y="207"/>
                      <a:pt x="335" y="206"/>
                      <a:pt x="335" y="203"/>
                    </a:cubicBezTo>
                    <a:cubicBezTo>
                      <a:pt x="335" y="202"/>
                      <a:pt x="335" y="202"/>
                      <a:pt x="335" y="201"/>
                    </a:cubicBezTo>
                    <a:cubicBezTo>
                      <a:pt x="335" y="200"/>
                      <a:pt x="335" y="200"/>
                      <a:pt x="335" y="200"/>
                    </a:cubicBezTo>
                    <a:cubicBezTo>
                      <a:pt x="336" y="199"/>
                      <a:pt x="336" y="198"/>
                      <a:pt x="336" y="198"/>
                    </a:cubicBezTo>
                    <a:cubicBezTo>
                      <a:pt x="337" y="197"/>
                      <a:pt x="337" y="197"/>
                      <a:pt x="337" y="197"/>
                    </a:cubicBezTo>
                    <a:cubicBezTo>
                      <a:pt x="355" y="178"/>
                      <a:pt x="355" y="178"/>
                      <a:pt x="355" y="178"/>
                    </a:cubicBezTo>
                    <a:cubicBezTo>
                      <a:pt x="357" y="178"/>
                      <a:pt x="357" y="178"/>
                      <a:pt x="357" y="178"/>
                    </a:cubicBezTo>
                    <a:cubicBezTo>
                      <a:pt x="358" y="178"/>
                      <a:pt x="359" y="178"/>
                      <a:pt x="360" y="178"/>
                    </a:cubicBezTo>
                    <a:cubicBezTo>
                      <a:pt x="360" y="178"/>
                      <a:pt x="360" y="178"/>
                      <a:pt x="360" y="178"/>
                    </a:cubicBezTo>
                    <a:cubicBezTo>
                      <a:pt x="361" y="178"/>
                      <a:pt x="362" y="178"/>
                      <a:pt x="362" y="178"/>
                    </a:cubicBezTo>
                    <a:cubicBezTo>
                      <a:pt x="363" y="177"/>
                      <a:pt x="365" y="174"/>
                      <a:pt x="366" y="172"/>
                    </a:cubicBezTo>
                    <a:cubicBezTo>
                      <a:pt x="368" y="170"/>
                      <a:pt x="368" y="170"/>
                      <a:pt x="368" y="170"/>
                    </a:cubicBezTo>
                    <a:cubicBezTo>
                      <a:pt x="368" y="170"/>
                      <a:pt x="369" y="169"/>
                      <a:pt x="370" y="169"/>
                    </a:cubicBezTo>
                    <a:cubicBezTo>
                      <a:pt x="370" y="169"/>
                      <a:pt x="370" y="169"/>
                      <a:pt x="370" y="169"/>
                    </a:cubicBezTo>
                    <a:cubicBezTo>
                      <a:pt x="371" y="168"/>
                      <a:pt x="371" y="168"/>
                      <a:pt x="371" y="168"/>
                    </a:cubicBezTo>
                    <a:cubicBezTo>
                      <a:pt x="371" y="168"/>
                      <a:pt x="371" y="168"/>
                      <a:pt x="371" y="168"/>
                    </a:cubicBezTo>
                    <a:cubicBezTo>
                      <a:pt x="374" y="168"/>
                      <a:pt x="374" y="168"/>
                      <a:pt x="374" y="168"/>
                    </a:cubicBezTo>
                    <a:cubicBezTo>
                      <a:pt x="375" y="169"/>
                      <a:pt x="376" y="169"/>
                      <a:pt x="377" y="170"/>
                    </a:cubicBezTo>
                    <a:cubicBezTo>
                      <a:pt x="378" y="170"/>
                      <a:pt x="378" y="170"/>
                      <a:pt x="378" y="170"/>
                    </a:cubicBezTo>
                    <a:cubicBezTo>
                      <a:pt x="379" y="171"/>
                      <a:pt x="379" y="171"/>
                      <a:pt x="379" y="171"/>
                    </a:cubicBezTo>
                    <a:cubicBezTo>
                      <a:pt x="380" y="171"/>
                      <a:pt x="381" y="172"/>
                      <a:pt x="382" y="172"/>
                    </a:cubicBezTo>
                    <a:cubicBezTo>
                      <a:pt x="383" y="173"/>
                      <a:pt x="383" y="173"/>
                      <a:pt x="383" y="173"/>
                    </a:cubicBezTo>
                    <a:cubicBezTo>
                      <a:pt x="384" y="173"/>
                      <a:pt x="385" y="173"/>
                      <a:pt x="385" y="173"/>
                    </a:cubicBezTo>
                    <a:cubicBezTo>
                      <a:pt x="385" y="174"/>
                      <a:pt x="386" y="174"/>
                      <a:pt x="386" y="174"/>
                    </a:cubicBezTo>
                    <a:cubicBezTo>
                      <a:pt x="387" y="174"/>
                      <a:pt x="387" y="174"/>
                      <a:pt x="387" y="174"/>
                    </a:cubicBezTo>
                    <a:cubicBezTo>
                      <a:pt x="387" y="174"/>
                      <a:pt x="387" y="174"/>
                      <a:pt x="388" y="174"/>
                    </a:cubicBezTo>
                    <a:cubicBezTo>
                      <a:pt x="390" y="174"/>
                      <a:pt x="390" y="174"/>
                      <a:pt x="390" y="174"/>
                    </a:cubicBezTo>
                    <a:cubicBezTo>
                      <a:pt x="390" y="174"/>
                      <a:pt x="390" y="174"/>
                      <a:pt x="390" y="174"/>
                    </a:cubicBezTo>
                    <a:cubicBezTo>
                      <a:pt x="390" y="174"/>
                      <a:pt x="390" y="174"/>
                      <a:pt x="390" y="174"/>
                    </a:cubicBezTo>
                    <a:cubicBezTo>
                      <a:pt x="391" y="173"/>
                      <a:pt x="391" y="172"/>
                      <a:pt x="391" y="171"/>
                    </a:cubicBezTo>
                    <a:cubicBezTo>
                      <a:pt x="391" y="170"/>
                      <a:pt x="391" y="170"/>
                      <a:pt x="391" y="170"/>
                    </a:cubicBezTo>
                    <a:cubicBezTo>
                      <a:pt x="391" y="170"/>
                      <a:pt x="391" y="169"/>
                      <a:pt x="391" y="169"/>
                    </a:cubicBezTo>
                    <a:cubicBezTo>
                      <a:pt x="392" y="165"/>
                      <a:pt x="392" y="165"/>
                      <a:pt x="392" y="165"/>
                    </a:cubicBezTo>
                    <a:cubicBezTo>
                      <a:pt x="392" y="164"/>
                      <a:pt x="392" y="163"/>
                      <a:pt x="393" y="162"/>
                    </a:cubicBezTo>
                    <a:cubicBezTo>
                      <a:pt x="393" y="161"/>
                      <a:pt x="393" y="161"/>
                      <a:pt x="393" y="161"/>
                    </a:cubicBezTo>
                    <a:cubicBezTo>
                      <a:pt x="393" y="160"/>
                      <a:pt x="393" y="159"/>
                      <a:pt x="393" y="159"/>
                    </a:cubicBezTo>
                    <a:cubicBezTo>
                      <a:pt x="389" y="157"/>
                      <a:pt x="389" y="157"/>
                      <a:pt x="389" y="157"/>
                    </a:cubicBezTo>
                    <a:cubicBezTo>
                      <a:pt x="387" y="156"/>
                      <a:pt x="385" y="155"/>
                      <a:pt x="383" y="154"/>
                    </a:cubicBezTo>
                    <a:cubicBezTo>
                      <a:pt x="381" y="153"/>
                      <a:pt x="381" y="153"/>
                      <a:pt x="381" y="153"/>
                    </a:cubicBezTo>
                    <a:cubicBezTo>
                      <a:pt x="377" y="150"/>
                      <a:pt x="376" y="150"/>
                      <a:pt x="376" y="150"/>
                    </a:cubicBezTo>
                    <a:cubicBezTo>
                      <a:pt x="375" y="151"/>
                      <a:pt x="375" y="151"/>
                      <a:pt x="375" y="151"/>
                    </a:cubicBezTo>
                    <a:cubicBezTo>
                      <a:pt x="374" y="151"/>
                      <a:pt x="373" y="151"/>
                      <a:pt x="372" y="152"/>
                    </a:cubicBezTo>
                    <a:cubicBezTo>
                      <a:pt x="371" y="152"/>
                      <a:pt x="371" y="152"/>
                      <a:pt x="370" y="152"/>
                    </a:cubicBezTo>
                    <a:cubicBezTo>
                      <a:pt x="366" y="152"/>
                      <a:pt x="364" y="150"/>
                      <a:pt x="361" y="148"/>
                    </a:cubicBezTo>
                    <a:cubicBezTo>
                      <a:pt x="360" y="148"/>
                      <a:pt x="360" y="148"/>
                      <a:pt x="360" y="148"/>
                    </a:cubicBezTo>
                    <a:cubicBezTo>
                      <a:pt x="359" y="147"/>
                      <a:pt x="358" y="146"/>
                      <a:pt x="357" y="145"/>
                    </a:cubicBezTo>
                    <a:cubicBezTo>
                      <a:pt x="355" y="144"/>
                      <a:pt x="352" y="142"/>
                      <a:pt x="350" y="140"/>
                    </a:cubicBezTo>
                    <a:cubicBezTo>
                      <a:pt x="349" y="140"/>
                      <a:pt x="348" y="139"/>
                      <a:pt x="347" y="139"/>
                    </a:cubicBezTo>
                    <a:cubicBezTo>
                      <a:pt x="346" y="138"/>
                      <a:pt x="345" y="137"/>
                      <a:pt x="343" y="137"/>
                    </a:cubicBezTo>
                    <a:cubicBezTo>
                      <a:pt x="339" y="135"/>
                      <a:pt x="335" y="132"/>
                      <a:pt x="332" y="129"/>
                    </a:cubicBezTo>
                    <a:cubicBezTo>
                      <a:pt x="328" y="125"/>
                      <a:pt x="322" y="122"/>
                      <a:pt x="316" y="120"/>
                    </a:cubicBezTo>
                    <a:cubicBezTo>
                      <a:pt x="313" y="118"/>
                      <a:pt x="313" y="118"/>
                      <a:pt x="313" y="118"/>
                    </a:cubicBezTo>
                    <a:cubicBezTo>
                      <a:pt x="312" y="118"/>
                      <a:pt x="311" y="117"/>
                      <a:pt x="309" y="116"/>
                    </a:cubicBezTo>
                    <a:cubicBezTo>
                      <a:pt x="304" y="114"/>
                      <a:pt x="300" y="110"/>
                      <a:pt x="295" y="107"/>
                    </a:cubicBezTo>
                    <a:cubicBezTo>
                      <a:pt x="294" y="106"/>
                      <a:pt x="294" y="106"/>
                      <a:pt x="294" y="106"/>
                    </a:cubicBezTo>
                    <a:cubicBezTo>
                      <a:pt x="293" y="105"/>
                      <a:pt x="292" y="104"/>
                      <a:pt x="290" y="103"/>
                    </a:cubicBezTo>
                    <a:cubicBezTo>
                      <a:pt x="286" y="100"/>
                      <a:pt x="286" y="100"/>
                      <a:pt x="286" y="100"/>
                    </a:cubicBezTo>
                    <a:cubicBezTo>
                      <a:pt x="285" y="99"/>
                      <a:pt x="284" y="99"/>
                      <a:pt x="283" y="98"/>
                    </a:cubicBezTo>
                    <a:cubicBezTo>
                      <a:pt x="283" y="98"/>
                      <a:pt x="283" y="98"/>
                      <a:pt x="283" y="98"/>
                    </a:cubicBezTo>
                    <a:cubicBezTo>
                      <a:pt x="281" y="97"/>
                      <a:pt x="278" y="95"/>
                      <a:pt x="276" y="93"/>
                    </a:cubicBezTo>
                    <a:cubicBezTo>
                      <a:pt x="276" y="93"/>
                      <a:pt x="276" y="92"/>
                      <a:pt x="276" y="92"/>
                    </a:cubicBezTo>
                    <a:cubicBezTo>
                      <a:pt x="275" y="91"/>
                      <a:pt x="275" y="91"/>
                      <a:pt x="275" y="91"/>
                    </a:cubicBezTo>
                    <a:cubicBezTo>
                      <a:pt x="275" y="91"/>
                      <a:pt x="275" y="91"/>
                      <a:pt x="275" y="91"/>
                    </a:cubicBezTo>
                    <a:cubicBezTo>
                      <a:pt x="274" y="89"/>
                      <a:pt x="274" y="86"/>
                      <a:pt x="273" y="85"/>
                    </a:cubicBezTo>
                    <a:cubicBezTo>
                      <a:pt x="273" y="84"/>
                      <a:pt x="273" y="83"/>
                      <a:pt x="272" y="82"/>
                    </a:cubicBezTo>
                    <a:cubicBezTo>
                      <a:pt x="272" y="81"/>
                      <a:pt x="272" y="81"/>
                      <a:pt x="272" y="81"/>
                    </a:cubicBezTo>
                    <a:cubicBezTo>
                      <a:pt x="272" y="80"/>
                      <a:pt x="271" y="79"/>
                      <a:pt x="270" y="78"/>
                    </a:cubicBezTo>
                    <a:cubicBezTo>
                      <a:pt x="268" y="77"/>
                      <a:pt x="267" y="75"/>
                      <a:pt x="266" y="73"/>
                    </a:cubicBezTo>
                    <a:cubicBezTo>
                      <a:pt x="265" y="71"/>
                      <a:pt x="264" y="70"/>
                      <a:pt x="264" y="68"/>
                    </a:cubicBezTo>
                    <a:cubicBezTo>
                      <a:pt x="261" y="62"/>
                      <a:pt x="259" y="55"/>
                      <a:pt x="255" y="52"/>
                    </a:cubicBezTo>
                    <a:cubicBezTo>
                      <a:pt x="252" y="50"/>
                      <a:pt x="251" y="49"/>
                      <a:pt x="250" y="49"/>
                    </a:cubicBezTo>
                    <a:cubicBezTo>
                      <a:pt x="250" y="50"/>
                      <a:pt x="250" y="50"/>
                      <a:pt x="249" y="51"/>
                    </a:cubicBezTo>
                    <a:cubicBezTo>
                      <a:pt x="248" y="52"/>
                      <a:pt x="245" y="53"/>
                      <a:pt x="242" y="54"/>
                    </a:cubicBezTo>
                    <a:cubicBezTo>
                      <a:pt x="239" y="53"/>
                      <a:pt x="239" y="53"/>
                      <a:pt x="239" y="53"/>
                    </a:cubicBezTo>
                    <a:cubicBezTo>
                      <a:pt x="238" y="53"/>
                      <a:pt x="237" y="53"/>
                      <a:pt x="235" y="52"/>
                    </a:cubicBezTo>
                    <a:cubicBezTo>
                      <a:pt x="232" y="52"/>
                      <a:pt x="230" y="51"/>
                      <a:pt x="227" y="51"/>
                    </a:cubicBezTo>
                    <a:cubicBezTo>
                      <a:pt x="227" y="51"/>
                      <a:pt x="226" y="51"/>
                      <a:pt x="226" y="51"/>
                    </a:cubicBezTo>
                    <a:cubicBezTo>
                      <a:pt x="225" y="51"/>
                      <a:pt x="225" y="51"/>
                      <a:pt x="224" y="51"/>
                    </a:cubicBezTo>
                    <a:cubicBezTo>
                      <a:pt x="223" y="51"/>
                      <a:pt x="223" y="51"/>
                      <a:pt x="222" y="51"/>
                    </a:cubicBezTo>
                    <a:cubicBezTo>
                      <a:pt x="220" y="51"/>
                      <a:pt x="218" y="51"/>
                      <a:pt x="215" y="49"/>
                    </a:cubicBezTo>
                    <a:cubicBezTo>
                      <a:pt x="214" y="48"/>
                      <a:pt x="214" y="48"/>
                      <a:pt x="214" y="48"/>
                    </a:cubicBezTo>
                    <a:cubicBezTo>
                      <a:pt x="213" y="48"/>
                      <a:pt x="213" y="48"/>
                      <a:pt x="212" y="47"/>
                    </a:cubicBezTo>
                    <a:cubicBezTo>
                      <a:pt x="210" y="46"/>
                      <a:pt x="210" y="46"/>
                      <a:pt x="210" y="46"/>
                    </a:cubicBezTo>
                    <a:cubicBezTo>
                      <a:pt x="210" y="46"/>
                      <a:pt x="210" y="46"/>
                      <a:pt x="210" y="46"/>
                    </a:cubicBezTo>
                    <a:cubicBezTo>
                      <a:pt x="208" y="45"/>
                      <a:pt x="205" y="42"/>
                      <a:pt x="207" y="38"/>
                    </a:cubicBezTo>
                    <a:cubicBezTo>
                      <a:pt x="208" y="36"/>
                      <a:pt x="208" y="36"/>
                      <a:pt x="208" y="36"/>
                    </a:cubicBezTo>
                    <a:cubicBezTo>
                      <a:pt x="208" y="35"/>
                      <a:pt x="208" y="35"/>
                      <a:pt x="208" y="35"/>
                    </a:cubicBezTo>
                    <a:cubicBezTo>
                      <a:pt x="208" y="35"/>
                      <a:pt x="208" y="35"/>
                      <a:pt x="207" y="34"/>
                    </a:cubicBezTo>
                    <a:cubicBezTo>
                      <a:pt x="204" y="30"/>
                      <a:pt x="204" y="30"/>
                      <a:pt x="204" y="30"/>
                    </a:cubicBezTo>
                    <a:cubicBezTo>
                      <a:pt x="208" y="28"/>
                      <a:pt x="208" y="28"/>
                      <a:pt x="208" y="28"/>
                    </a:cubicBezTo>
                    <a:cubicBezTo>
                      <a:pt x="207" y="28"/>
                      <a:pt x="206" y="27"/>
                      <a:pt x="204" y="26"/>
                    </a:cubicBezTo>
                    <a:cubicBezTo>
                      <a:pt x="196" y="23"/>
                      <a:pt x="196" y="23"/>
                      <a:pt x="196" y="23"/>
                    </a:cubicBezTo>
                    <a:cubicBezTo>
                      <a:pt x="204" y="20"/>
                      <a:pt x="204" y="20"/>
                      <a:pt x="204" y="20"/>
                    </a:cubicBezTo>
                    <a:cubicBezTo>
                      <a:pt x="204" y="20"/>
                      <a:pt x="204" y="20"/>
                      <a:pt x="204" y="20"/>
                    </a:cubicBezTo>
                    <a:cubicBezTo>
                      <a:pt x="204" y="20"/>
                      <a:pt x="204" y="20"/>
                      <a:pt x="204" y="20"/>
                    </a:cubicBezTo>
                    <a:cubicBezTo>
                      <a:pt x="204" y="19"/>
                      <a:pt x="204" y="18"/>
                      <a:pt x="204" y="17"/>
                    </a:cubicBezTo>
                    <a:cubicBezTo>
                      <a:pt x="202" y="16"/>
                      <a:pt x="199" y="15"/>
                      <a:pt x="198" y="15"/>
                    </a:cubicBezTo>
                    <a:cubicBezTo>
                      <a:pt x="197" y="15"/>
                      <a:pt x="197" y="15"/>
                      <a:pt x="197" y="15"/>
                    </a:cubicBezTo>
                    <a:cubicBezTo>
                      <a:pt x="196" y="14"/>
                      <a:pt x="192" y="15"/>
                      <a:pt x="189" y="14"/>
                    </a:cubicBezTo>
                    <a:cubicBezTo>
                      <a:pt x="189" y="14"/>
                      <a:pt x="189" y="14"/>
                      <a:pt x="189" y="14"/>
                    </a:cubicBezTo>
                    <a:cubicBezTo>
                      <a:pt x="188" y="14"/>
                      <a:pt x="188" y="14"/>
                      <a:pt x="188" y="14"/>
                    </a:cubicBezTo>
                    <a:cubicBezTo>
                      <a:pt x="187" y="14"/>
                      <a:pt x="186" y="13"/>
                      <a:pt x="185" y="12"/>
                    </a:cubicBezTo>
                    <a:cubicBezTo>
                      <a:pt x="184" y="11"/>
                      <a:pt x="183" y="11"/>
                      <a:pt x="183" y="10"/>
                    </a:cubicBezTo>
                    <a:cubicBezTo>
                      <a:pt x="182" y="9"/>
                      <a:pt x="182" y="9"/>
                      <a:pt x="182" y="9"/>
                    </a:cubicBezTo>
                    <a:cubicBezTo>
                      <a:pt x="182" y="9"/>
                      <a:pt x="182" y="8"/>
                      <a:pt x="181" y="8"/>
                    </a:cubicBezTo>
                    <a:cubicBezTo>
                      <a:pt x="181" y="7"/>
                      <a:pt x="181" y="7"/>
                      <a:pt x="181" y="7"/>
                    </a:cubicBezTo>
                    <a:cubicBezTo>
                      <a:pt x="180" y="7"/>
                      <a:pt x="180" y="7"/>
                      <a:pt x="180" y="7"/>
                    </a:cubicBezTo>
                    <a:cubicBezTo>
                      <a:pt x="180" y="7"/>
                      <a:pt x="180" y="7"/>
                      <a:pt x="180" y="7"/>
                    </a:cubicBezTo>
                    <a:cubicBezTo>
                      <a:pt x="180" y="7"/>
                      <a:pt x="180" y="7"/>
                      <a:pt x="179" y="7"/>
                    </a:cubicBezTo>
                    <a:cubicBezTo>
                      <a:pt x="179" y="7"/>
                      <a:pt x="179" y="7"/>
                      <a:pt x="179" y="7"/>
                    </a:cubicBezTo>
                    <a:cubicBezTo>
                      <a:pt x="178" y="7"/>
                      <a:pt x="177" y="7"/>
                      <a:pt x="177" y="7"/>
                    </a:cubicBezTo>
                    <a:cubicBezTo>
                      <a:pt x="176" y="7"/>
                      <a:pt x="175" y="6"/>
                      <a:pt x="174" y="5"/>
                    </a:cubicBezTo>
                    <a:cubicBezTo>
                      <a:pt x="172" y="4"/>
                      <a:pt x="170" y="2"/>
                      <a:pt x="169" y="0"/>
                    </a:cubicBezTo>
                    <a:cubicBezTo>
                      <a:pt x="168" y="0"/>
                      <a:pt x="168" y="0"/>
                      <a:pt x="1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7" name="Rectangle 345">
                <a:extLst>
                  <a:ext uri="{FF2B5EF4-FFF2-40B4-BE49-F238E27FC236}">
                    <a16:creationId xmlns:a16="http://schemas.microsoft.com/office/drawing/2014/main" id="{C2E3E104-A3AB-4F44-9304-4984DFC7D6B0}"/>
                  </a:ext>
                </a:extLst>
              </p:cNvPr>
              <p:cNvSpPr>
                <a:spLocks noChangeArrowheads="1"/>
              </p:cNvSpPr>
              <p:nvPr/>
            </p:nvSpPr>
            <p:spPr bwMode="auto">
              <a:xfrm>
                <a:off x="10616818" y="5100201"/>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8" name="Freeform 346">
                <a:extLst>
                  <a:ext uri="{FF2B5EF4-FFF2-40B4-BE49-F238E27FC236}">
                    <a16:creationId xmlns:a16="http://schemas.microsoft.com/office/drawing/2014/main" id="{95F76EC0-C9D5-41AA-A75A-9FBD80884E5B}"/>
                  </a:ext>
                </a:extLst>
              </p:cNvPr>
              <p:cNvSpPr>
                <a:spLocks/>
              </p:cNvSpPr>
              <p:nvPr/>
            </p:nvSpPr>
            <p:spPr bwMode="auto">
              <a:xfrm>
                <a:off x="10616818" y="510020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9" name="Freeform 347">
                <a:extLst>
                  <a:ext uri="{FF2B5EF4-FFF2-40B4-BE49-F238E27FC236}">
                    <a16:creationId xmlns:a16="http://schemas.microsoft.com/office/drawing/2014/main" id="{2B58B712-6B2E-4475-8C8C-34E3CC4D00EF}"/>
                  </a:ext>
                </a:extLst>
              </p:cNvPr>
              <p:cNvSpPr>
                <a:spLocks/>
              </p:cNvSpPr>
              <p:nvPr/>
            </p:nvSpPr>
            <p:spPr bwMode="auto">
              <a:xfrm>
                <a:off x="10447303" y="5100201"/>
                <a:ext cx="674376" cy="346401"/>
              </a:xfrm>
              <a:custGeom>
                <a:avLst/>
                <a:gdLst>
                  <a:gd name="T0" fmla="*/ 44 w 212"/>
                  <a:gd name="T1" fmla="*/ 5 h 109"/>
                  <a:gd name="T2" fmla="*/ 41 w 212"/>
                  <a:gd name="T3" fmla="*/ 5 h 109"/>
                  <a:gd name="T4" fmla="*/ 40 w 212"/>
                  <a:gd name="T5" fmla="*/ 23 h 109"/>
                  <a:gd name="T6" fmla="*/ 35 w 212"/>
                  <a:gd name="T7" fmla="*/ 12 h 109"/>
                  <a:gd name="T8" fmla="*/ 27 w 212"/>
                  <a:gd name="T9" fmla="*/ 22 h 109"/>
                  <a:gd name="T10" fmla="*/ 19 w 212"/>
                  <a:gd name="T11" fmla="*/ 22 h 109"/>
                  <a:gd name="T12" fmla="*/ 6 w 212"/>
                  <a:gd name="T13" fmla="*/ 20 h 109"/>
                  <a:gd name="T14" fmla="*/ 4 w 212"/>
                  <a:gd name="T15" fmla="*/ 21 h 109"/>
                  <a:gd name="T16" fmla="*/ 0 w 212"/>
                  <a:gd name="T17" fmla="*/ 27 h 109"/>
                  <a:gd name="T18" fmla="*/ 4 w 212"/>
                  <a:gd name="T19" fmla="*/ 31 h 109"/>
                  <a:gd name="T20" fmla="*/ 22 w 212"/>
                  <a:gd name="T21" fmla="*/ 39 h 109"/>
                  <a:gd name="T22" fmla="*/ 21 w 212"/>
                  <a:gd name="T23" fmla="*/ 53 h 109"/>
                  <a:gd name="T24" fmla="*/ 24 w 212"/>
                  <a:gd name="T25" fmla="*/ 57 h 109"/>
                  <a:gd name="T26" fmla="*/ 17 w 212"/>
                  <a:gd name="T27" fmla="*/ 82 h 109"/>
                  <a:gd name="T28" fmla="*/ 13 w 212"/>
                  <a:gd name="T29" fmla="*/ 92 h 109"/>
                  <a:gd name="T30" fmla="*/ 15 w 212"/>
                  <a:gd name="T31" fmla="*/ 101 h 109"/>
                  <a:gd name="T32" fmla="*/ 21 w 212"/>
                  <a:gd name="T33" fmla="*/ 97 h 109"/>
                  <a:gd name="T34" fmla="*/ 34 w 212"/>
                  <a:gd name="T35" fmla="*/ 91 h 109"/>
                  <a:gd name="T36" fmla="*/ 36 w 212"/>
                  <a:gd name="T37" fmla="*/ 90 h 109"/>
                  <a:gd name="T38" fmla="*/ 46 w 212"/>
                  <a:gd name="T39" fmla="*/ 92 h 109"/>
                  <a:gd name="T40" fmla="*/ 51 w 212"/>
                  <a:gd name="T41" fmla="*/ 95 h 109"/>
                  <a:gd name="T42" fmla="*/ 51 w 212"/>
                  <a:gd name="T43" fmla="*/ 91 h 109"/>
                  <a:gd name="T44" fmla="*/ 54 w 212"/>
                  <a:gd name="T45" fmla="*/ 84 h 109"/>
                  <a:gd name="T46" fmla="*/ 69 w 212"/>
                  <a:gd name="T47" fmla="*/ 81 h 109"/>
                  <a:gd name="T48" fmla="*/ 74 w 212"/>
                  <a:gd name="T49" fmla="*/ 82 h 109"/>
                  <a:gd name="T50" fmla="*/ 74 w 212"/>
                  <a:gd name="T51" fmla="*/ 79 h 109"/>
                  <a:gd name="T52" fmla="*/ 74 w 212"/>
                  <a:gd name="T53" fmla="*/ 69 h 109"/>
                  <a:gd name="T54" fmla="*/ 84 w 212"/>
                  <a:gd name="T55" fmla="*/ 62 h 109"/>
                  <a:gd name="T56" fmla="*/ 97 w 212"/>
                  <a:gd name="T57" fmla="*/ 51 h 109"/>
                  <a:gd name="T58" fmla="*/ 104 w 212"/>
                  <a:gd name="T59" fmla="*/ 54 h 109"/>
                  <a:gd name="T60" fmla="*/ 110 w 212"/>
                  <a:gd name="T61" fmla="*/ 54 h 109"/>
                  <a:gd name="T62" fmla="*/ 109 w 212"/>
                  <a:gd name="T63" fmla="*/ 60 h 109"/>
                  <a:gd name="T64" fmla="*/ 116 w 212"/>
                  <a:gd name="T65" fmla="*/ 69 h 109"/>
                  <a:gd name="T66" fmla="*/ 116 w 212"/>
                  <a:gd name="T67" fmla="*/ 95 h 109"/>
                  <a:gd name="T68" fmla="*/ 116 w 212"/>
                  <a:gd name="T69" fmla="*/ 97 h 109"/>
                  <a:gd name="T70" fmla="*/ 116 w 212"/>
                  <a:gd name="T71" fmla="*/ 104 h 109"/>
                  <a:gd name="T72" fmla="*/ 119 w 212"/>
                  <a:gd name="T73" fmla="*/ 109 h 109"/>
                  <a:gd name="T74" fmla="*/ 136 w 212"/>
                  <a:gd name="T75" fmla="*/ 102 h 109"/>
                  <a:gd name="T76" fmla="*/ 162 w 212"/>
                  <a:gd name="T77" fmla="*/ 85 h 109"/>
                  <a:gd name="T78" fmla="*/ 179 w 212"/>
                  <a:gd name="T79" fmla="*/ 90 h 109"/>
                  <a:gd name="T80" fmla="*/ 188 w 212"/>
                  <a:gd name="T81" fmla="*/ 88 h 109"/>
                  <a:gd name="T82" fmla="*/ 194 w 212"/>
                  <a:gd name="T83" fmla="*/ 86 h 109"/>
                  <a:gd name="T84" fmla="*/ 210 w 212"/>
                  <a:gd name="T85" fmla="*/ 91 h 109"/>
                  <a:gd name="T86" fmla="*/ 209 w 212"/>
                  <a:gd name="T87" fmla="*/ 81 h 109"/>
                  <a:gd name="T88" fmla="*/ 206 w 212"/>
                  <a:gd name="T89" fmla="*/ 61 h 109"/>
                  <a:gd name="T90" fmla="*/ 199 w 212"/>
                  <a:gd name="T91" fmla="*/ 55 h 109"/>
                  <a:gd name="T92" fmla="*/ 193 w 212"/>
                  <a:gd name="T93" fmla="*/ 51 h 109"/>
                  <a:gd name="T94" fmla="*/ 186 w 212"/>
                  <a:gd name="T95" fmla="*/ 52 h 109"/>
                  <a:gd name="T96" fmla="*/ 180 w 212"/>
                  <a:gd name="T97" fmla="*/ 53 h 109"/>
                  <a:gd name="T98" fmla="*/ 173 w 212"/>
                  <a:gd name="T99" fmla="*/ 38 h 109"/>
                  <a:gd name="T100" fmla="*/ 167 w 212"/>
                  <a:gd name="T101" fmla="*/ 40 h 109"/>
                  <a:gd name="T102" fmla="*/ 170 w 212"/>
                  <a:gd name="T103" fmla="*/ 30 h 109"/>
                  <a:gd name="T104" fmla="*/ 164 w 212"/>
                  <a:gd name="T105" fmla="*/ 27 h 109"/>
                  <a:gd name="T106" fmla="*/ 144 w 212"/>
                  <a:gd name="T107" fmla="*/ 28 h 109"/>
                  <a:gd name="T108" fmla="*/ 132 w 212"/>
                  <a:gd name="T109" fmla="*/ 33 h 109"/>
                  <a:gd name="T110" fmla="*/ 120 w 212"/>
                  <a:gd name="T111" fmla="*/ 31 h 109"/>
                  <a:gd name="T112" fmla="*/ 117 w 212"/>
                  <a:gd name="T113" fmla="*/ 25 h 109"/>
                  <a:gd name="T114" fmla="*/ 114 w 212"/>
                  <a:gd name="T115" fmla="*/ 25 h 109"/>
                  <a:gd name="T116" fmla="*/ 101 w 212"/>
                  <a:gd name="T117" fmla="*/ 27 h 109"/>
                  <a:gd name="T118" fmla="*/ 99 w 212"/>
                  <a:gd name="T119" fmla="*/ 26 h 109"/>
                  <a:gd name="T120" fmla="*/ 83 w 212"/>
                  <a:gd name="T121" fmla="*/ 23 h 109"/>
                  <a:gd name="T122" fmla="*/ 47 w 212"/>
                  <a:gd name="T123" fmla="*/ 23 h 109"/>
                  <a:gd name="T124" fmla="*/ 48 w 212"/>
                  <a:gd name="T125"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 h="109">
                    <a:moveTo>
                      <a:pt x="46" y="0"/>
                    </a:moveTo>
                    <a:cubicBezTo>
                      <a:pt x="46" y="1"/>
                      <a:pt x="46" y="3"/>
                      <a:pt x="45" y="4"/>
                    </a:cubicBezTo>
                    <a:cubicBezTo>
                      <a:pt x="44" y="5"/>
                      <a:pt x="44" y="5"/>
                      <a:pt x="44" y="5"/>
                    </a:cubicBezTo>
                    <a:cubicBezTo>
                      <a:pt x="42" y="5"/>
                      <a:pt x="42" y="5"/>
                      <a:pt x="42" y="5"/>
                    </a:cubicBezTo>
                    <a:cubicBezTo>
                      <a:pt x="42" y="5"/>
                      <a:pt x="42" y="5"/>
                      <a:pt x="42" y="5"/>
                    </a:cubicBezTo>
                    <a:cubicBezTo>
                      <a:pt x="41" y="5"/>
                      <a:pt x="41" y="5"/>
                      <a:pt x="41" y="5"/>
                    </a:cubicBezTo>
                    <a:cubicBezTo>
                      <a:pt x="41" y="6"/>
                      <a:pt x="41" y="6"/>
                      <a:pt x="41" y="6"/>
                    </a:cubicBezTo>
                    <a:cubicBezTo>
                      <a:pt x="41" y="7"/>
                      <a:pt x="41" y="7"/>
                      <a:pt x="41" y="8"/>
                    </a:cubicBezTo>
                    <a:cubicBezTo>
                      <a:pt x="40" y="23"/>
                      <a:pt x="40" y="23"/>
                      <a:pt x="40" y="23"/>
                    </a:cubicBezTo>
                    <a:cubicBezTo>
                      <a:pt x="35" y="10"/>
                      <a:pt x="35" y="10"/>
                      <a:pt x="35" y="10"/>
                    </a:cubicBezTo>
                    <a:cubicBezTo>
                      <a:pt x="35" y="11"/>
                      <a:pt x="35" y="11"/>
                      <a:pt x="35" y="11"/>
                    </a:cubicBezTo>
                    <a:cubicBezTo>
                      <a:pt x="35" y="12"/>
                      <a:pt x="35" y="12"/>
                      <a:pt x="35" y="12"/>
                    </a:cubicBezTo>
                    <a:cubicBezTo>
                      <a:pt x="33" y="18"/>
                      <a:pt x="32" y="21"/>
                      <a:pt x="30" y="22"/>
                    </a:cubicBezTo>
                    <a:cubicBezTo>
                      <a:pt x="30" y="22"/>
                      <a:pt x="29" y="22"/>
                      <a:pt x="29" y="22"/>
                    </a:cubicBezTo>
                    <a:cubicBezTo>
                      <a:pt x="28" y="22"/>
                      <a:pt x="27" y="22"/>
                      <a:pt x="27" y="22"/>
                    </a:cubicBezTo>
                    <a:cubicBezTo>
                      <a:pt x="26" y="22"/>
                      <a:pt x="25" y="22"/>
                      <a:pt x="25" y="22"/>
                    </a:cubicBezTo>
                    <a:cubicBezTo>
                      <a:pt x="24" y="22"/>
                      <a:pt x="24" y="22"/>
                      <a:pt x="24" y="22"/>
                    </a:cubicBezTo>
                    <a:cubicBezTo>
                      <a:pt x="22" y="22"/>
                      <a:pt x="21" y="22"/>
                      <a:pt x="19" y="22"/>
                    </a:cubicBezTo>
                    <a:cubicBezTo>
                      <a:pt x="16" y="21"/>
                      <a:pt x="13" y="21"/>
                      <a:pt x="9" y="20"/>
                    </a:cubicBezTo>
                    <a:cubicBezTo>
                      <a:pt x="8" y="20"/>
                      <a:pt x="7" y="20"/>
                      <a:pt x="7" y="20"/>
                    </a:cubicBezTo>
                    <a:cubicBezTo>
                      <a:pt x="7" y="20"/>
                      <a:pt x="6" y="20"/>
                      <a:pt x="6" y="20"/>
                    </a:cubicBezTo>
                    <a:cubicBezTo>
                      <a:pt x="6" y="20"/>
                      <a:pt x="6" y="20"/>
                      <a:pt x="6" y="20"/>
                    </a:cubicBezTo>
                    <a:cubicBezTo>
                      <a:pt x="5" y="20"/>
                      <a:pt x="5" y="20"/>
                      <a:pt x="5" y="20"/>
                    </a:cubicBezTo>
                    <a:cubicBezTo>
                      <a:pt x="5" y="21"/>
                      <a:pt x="4" y="21"/>
                      <a:pt x="4" y="21"/>
                    </a:cubicBezTo>
                    <a:cubicBezTo>
                      <a:pt x="3" y="22"/>
                      <a:pt x="3" y="22"/>
                      <a:pt x="3" y="22"/>
                    </a:cubicBezTo>
                    <a:cubicBezTo>
                      <a:pt x="1" y="23"/>
                      <a:pt x="1" y="24"/>
                      <a:pt x="0" y="26"/>
                    </a:cubicBezTo>
                    <a:cubicBezTo>
                      <a:pt x="0" y="27"/>
                      <a:pt x="0" y="27"/>
                      <a:pt x="0" y="27"/>
                    </a:cubicBezTo>
                    <a:cubicBezTo>
                      <a:pt x="1" y="27"/>
                      <a:pt x="1" y="28"/>
                      <a:pt x="2" y="29"/>
                    </a:cubicBezTo>
                    <a:cubicBezTo>
                      <a:pt x="2" y="29"/>
                      <a:pt x="2" y="29"/>
                      <a:pt x="2" y="29"/>
                    </a:cubicBezTo>
                    <a:cubicBezTo>
                      <a:pt x="3" y="30"/>
                      <a:pt x="4" y="30"/>
                      <a:pt x="4" y="31"/>
                    </a:cubicBezTo>
                    <a:cubicBezTo>
                      <a:pt x="7" y="33"/>
                      <a:pt x="7" y="33"/>
                      <a:pt x="11" y="33"/>
                    </a:cubicBezTo>
                    <a:cubicBezTo>
                      <a:pt x="11" y="33"/>
                      <a:pt x="13" y="33"/>
                      <a:pt x="14" y="34"/>
                    </a:cubicBezTo>
                    <a:cubicBezTo>
                      <a:pt x="17" y="34"/>
                      <a:pt x="21" y="36"/>
                      <a:pt x="22" y="39"/>
                    </a:cubicBezTo>
                    <a:cubicBezTo>
                      <a:pt x="22" y="39"/>
                      <a:pt x="23" y="40"/>
                      <a:pt x="23" y="41"/>
                    </a:cubicBezTo>
                    <a:cubicBezTo>
                      <a:pt x="23" y="43"/>
                      <a:pt x="22" y="46"/>
                      <a:pt x="22" y="49"/>
                    </a:cubicBezTo>
                    <a:cubicBezTo>
                      <a:pt x="21" y="53"/>
                      <a:pt x="21" y="53"/>
                      <a:pt x="21" y="53"/>
                    </a:cubicBezTo>
                    <a:cubicBezTo>
                      <a:pt x="21" y="53"/>
                      <a:pt x="21" y="54"/>
                      <a:pt x="21" y="54"/>
                    </a:cubicBezTo>
                    <a:cubicBezTo>
                      <a:pt x="22" y="55"/>
                      <a:pt x="22" y="55"/>
                      <a:pt x="22" y="55"/>
                    </a:cubicBezTo>
                    <a:cubicBezTo>
                      <a:pt x="24" y="57"/>
                      <a:pt x="24" y="57"/>
                      <a:pt x="24" y="57"/>
                    </a:cubicBezTo>
                    <a:cubicBezTo>
                      <a:pt x="25" y="58"/>
                      <a:pt x="26" y="59"/>
                      <a:pt x="26" y="60"/>
                    </a:cubicBezTo>
                    <a:cubicBezTo>
                      <a:pt x="31" y="65"/>
                      <a:pt x="24" y="74"/>
                      <a:pt x="19" y="80"/>
                    </a:cubicBezTo>
                    <a:cubicBezTo>
                      <a:pt x="18" y="81"/>
                      <a:pt x="17" y="82"/>
                      <a:pt x="17" y="82"/>
                    </a:cubicBezTo>
                    <a:cubicBezTo>
                      <a:pt x="16" y="84"/>
                      <a:pt x="16" y="84"/>
                      <a:pt x="16" y="84"/>
                    </a:cubicBezTo>
                    <a:cubicBezTo>
                      <a:pt x="15" y="86"/>
                      <a:pt x="14" y="87"/>
                      <a:pt x="13" y="89"/>
                    </a:cubicBezTo>
                    <a:cubicBezTo>
                      <a:pt x="13" y="89"/>
                      <a:pt x="13" y="90"/>
                      <a:pt x="13" y="92"/>
                    </a:cubicBezTo>
                    <a:cubicBezTo>
                      <a:pt x="12" y="94"/>
                      <a:pt x="12" y="95"/>
                      <a:pt x="11" y="97"/>
                    </a:cubicBezTo>
                    <a:cubicBezTo>
                      <a:pt x="11" y="97"/>
                      <a:pt x="11" y="98"/>
                      <a:pt x="11" y="98"/>
                    </a:cubicBezTo>
                    <a:cubicBezTo>
                      <a:pt x="15" y="101"/>
                      <a:pt x="15" y="101"/>
                      <a:pt x="15" y="101"/>
                    </a:cubicBezTo>
                    <a:cubicBezTo>
                      <a:pt x="15" y="101"/>
                      <a:pt x="15" y="101"/>
                      <a:pt x="15" y="101"/>
                    </a:cubicBezTo>
                    <a:cubicBezTo>
                      <a:pt x="15" y="101"/>
                      <a:pt x="16" y="100"/>
                      <a:pt x="16" y="100"/>
                    </a:cubicBezTo>
                    <a:cubicBezTo>
                      <a:pt x="18" y="98"/>
                      <a:pt x="20" y="97"/>
                      <a:pt x="21" y="97"/>
                    </a:cubicBezTo>
                    <a:cubicBezTo>
                      <a:pt x="22" y="96"/>
                      <a:pt x="23" y="95"/>
                      <a:pt x="24" y="95"/>
                    </a:cubicBezTo>
                    <a:cubicBezTo>
                      <a:pt x="27" y="94"/>
                      <a:pt x="30" y="93"/>
                      <a:pt x="32" y="92"/>
                    </a:cubicBezTo>
                    <a:cubicBezTo>
                      <a:pt x="33" y="92"/>
                      <a:pt x="33" y="92"/>
                      <a:pt x="34" y="91"/>
                    </a:cubicBezTo>
                    <a:cubicBezTo>
                      <a:pt x="35" y="92"/>
                      <a:pt x="35" y="92"/>
                      <a:pt x="35" y="92"/>
                    </a:cubicBezTo>
                    <a:cubicBezTo>
                      <a:pt x="34" y="91"/>
                      <a:pt x="34" y="91"/>
                      <a:pt x="34" y="91"/>
                    </a:cubicBezTo>
                    <a:cubicBezTo>
                      <a:pt x="35" y="91"/>
                      <a:pt x="35" y="90"/>
                      <a:pt x="36" y="90"/>
                    </a:cubicBezTo>
                    <a:cubicBezTo>
                      <a:pt x="38" y="89"/>
                      <a:pt x="39" y="89"/>
                      <a:pt x="40" y="89"/>
                    </a:cubicBezTo>
                    <a:cubicBezTo>
                      <a:pt x="42" y="89"/>
                      <a:pt x="43" y="90"/>
                      <a:pt x="44" y="91"/>
                    </a:cubicBezTo>
                    <a:cubicBezTo>
                      <a:pt x="45" y="91"/>
                      <a:pt x="45" y="92"/>
                      <a:pt x="46" y="92"/>
                    </a:cubicBezTo>
                    <a:cubicBezTo>
                      <a:pt x="48" y="94"/>
                      <a:pt x="48" y="94"/>
                      <a:pt x="48" y="94"/>
                    </a:cubicBezTo>
                    <a:cubicBezTo>
                      <a:pt x="49" y="95"/>
                      <a:pt x="50" y="95"/>
                      <a:pt x="50" y="96"/>
                    </a:cubicBezTo>
                    <a:cubicBezTo>
                      <a:pt x="50" y="96"/>
                      <a:pt x="50" y="96"/>
                      <a:pt x="51" y="95"/>
                    </a:cubicBezTo>
                    <a:cubicBezTo>
                      <a:pt x="51" y="95"/>
                      <a:pt x="51" y="95"/>
                      <a:pt x="51" y="94"/>
                    </a:cubicBezTo>
                    <a:cubicBezTo>
                      <a:pt x="51" y="94"/>
                      <a:pt x="51" y="94"/>
                      <a:pt x="51" y="94"/>
                    </a:cubicBezTo>
                    <a:cubicBezTo>
                      <a:pt x="51" y="93"/>
                      <a:pt x="51" y="92"/>
                      <a:pt x="51" y="91"/>
                    </a:cubicBezTo>
                    <a:cubicBezTo>
                      <a:pt x="52" y="89"/>
                      <a:pt x="52" y="89"/>
                      <a:pt x="52" y="89"/>
                    </a:cubicBezTo>
                    <a:cubicBezTo>
                      <a:pt x="52" y="88"/>
                      <a:pt x="52" y="86"/>
                      <a:pt x="54" y="84"/>
                    </a:cubicBezTo>
                    <a:cubicBezTo>
                      <a:pt x="54" y="84"/>
                      <a:pt x="54" y="84"/>
                      <a:pt x="54" y="84"/>
                    </a:cubicBezTo>
                    <a:cubicBezTo>
                      <a:pt x="55" y="81"/>
                      <a:pt x="57" y="80"/>
                      <a:pt x="61" y="80"/>
                    </a:cubicBezTo>
                    <a:cubicBezTo>
                      <a:pt x="63" y="80"/>
                      <a:pt x="66" y="80"/>
                      <a:pt x="67" y="81"/>
                    </a:cubicBezTo>
                    <a:cubicBezTo>
                      <a:pt x="68" y="81"/>
                      <a:pt x="68" y="81"/>
                      <a:pt x="69" y="81"/>
                    </a:cubicBezTo>
                    <a:cubicBezTo>
                      <a:pt x="71" y="81"/>
                      <a:pt x="72" y="82"/>
                      <a:pt x="73" y="82"/>
                    </a:cubicBezTo>
                    <a:cubicBezTo>
                      <a:pt x="74" y="82"/>
                      <a:pt x="74" y="82"/>
                      <a:pt x="74" y="82"/>
                    </a:cubicBezTo>
                    <a:cubicBezTo>
                      <a:pt x="74" y="82"/>
                      <a:pt x="74" y="82"/>
                      <a:pt x="74" y="82"/>
                    </a:cubicBezTo>
                    <a:cubicBezTo>
                      <a:pt x="74" y="81"/>
                      <a:pt x="74" y="81"/>
                      <a:pt x="75" y="81"/>
                    </a:cubicBezTo>
                    <a:cubicBezTo>
                      <a:pt x="75" y="80"/>
                      <a:pt x="75" y="80"/>
                      <a:pt x="75" y="80"/>
                    </a:cubicBezTo>
                    <a:cubicBezTo>
                      <a:pt x="75" y="80"/>
                      <a:pt x="74" y="80"/>
                      <a:pt x="74" y="79"/>
                    </a:cubicBezTo>
                    <a:cubicBezTo>
                      <a:pt x="74" y="79"/>
                      <a:pt x="74" y="79"/>
                      <a:pt x="74" y="79"/>
                    </a:cubicBezTo>
                    <a:cubicBezTo>
                      <a:pt x="73" y="78"/>
                      <a:pt x="72" y="76"/>
                      <a:pt x="72" y="75"/>
                    </a:cubicBezTo>
                    <a:cubicBezTo>
                      <a:pt x="71" y="74"/>
                      <a:pt x="71" y="71"/>
                      <a:pt x="74" y="69"/>
                    </a:cubicBezTo>
                    <a:cubicBezTo>
                      <a:pt x="75" y="68"/>
                      <a:pt x="77" y="67"/>
                      <a:pt x="79" y="65"/>
                    </a:cubicBezTo>
                    <a:cubicBezTo>
                      <a:pt x="80" y="65"/>
                      <a:pt x="81" y="63"/>
                      <a:pt x="82" y="62"/>
                    </a:cubicBezTo>
                    <a:cubicBezTo>
                      <a:pt x="84" y="62"/>
                      <a:pt x="84" y="62"/>
                      <a:pt x="84" y="62"/>
                    </a:cubicBezTo>
                    <a:cubicBezTo>
                      <a:pt x="83" y="61"/>
                      <a:pt x="83" y="61"/>
                      <a:pt x="83" y="61"/>
                    </a:cubicBezTo>
                    <a:cubicBezTo>
                      <a:pt x="85" y="58"/>
                      <a:pt x="87" y="55"/>
                      <a:pt x="90" y="54"/>
                    </a:cubicBezTo>
                    <a:cubicBezTo>
                      <a:pt x="92" y="52"/>
                      <a:pt x="94" y="52"/>
                      <a:pt x="97" y="51"/>
                    </a:cubicBezTo>
                    <a:cubicBezTo>
                      <a:pt x="99" y="51"/>
                      <a:pt x="99" y="51"/>
                      <a:pt x="99" y="51"/>
                    </a:cubicBezTo>
                    <a:cubicBezTo>
                      <a:pt x="101" y="52"/>
                      <a:pt x="101" y="52"/>
                      <a:pt x="101" y="52"/>
                    </a:cubicBezTo>
                    <a:cubicBezTo>
                      <a:pt x="102" y="53"/>
                      <a:pt x="103" y="53"/>
                      <a:pt x="104" y="54"/>
                    </a:cubicBezTo>
                    <a:cubicBezTo>
                      <a:pt x="105" y="55"/>
                      <a:pt x="105" y="56"/>
                      <a:pt x="106" y="56"/>
                    </a:cubicBezTo>
                    <a:cubicBezTo>
                      <a:pt x="111" y="52"/>
                      <a:pt x="111" y="52"/>
                      <a:pt x="111" y="52"/>
                    </a:cubicBezTo>
                    <a:cubicBezTo>
                      <a:pt x="110" y="54"/>
                      <a:pt x="110" y="54"/>
                      <a:pt x="110" y="54"/>
                    </a:cubicBezTo>
                    <a:cubicBezTo>
                      <a:pt x="111" y="53"/>
                      <a:pt x="111" y="53"/>
                      <a:pt x="111" y="53"/>
                    </a:cubicBezTo>
                    <a:cubicBezTo>
                      <a:pt x="107" y="58"/>
                      <a:pt x="107" y="58"/>
                      <a:pt x="107" y="58"/>
                    </a:cubicBezTo>
                    <a:cubicBezTo>
                      <a:pt x="109" y="60"/>
                      <a:pt x="109" y="60"/>
                      <a:pt x="109" y="60"/>
                    </a:cubicBezTo>
                    <a:cubicBezTo>
                      <a:pt x="109" y="61"/>
                      <a:pt x="110" y="61"/>
                      <a:pt x="110" y="62"/>
                    </a:cubicBezTo>
                    <a:cubicBezTo>
                      <a:pt x="111" y="63"/>
                      <a:pt x="112" y="65"/>
                      <a:pt x="112" y="67"/>
                    </a:cubicBezTo>
                    <a:cubicBezTo>
                      <a:pt x="113" y="68"/>
                      <a:pt x="115" y="68"/>
                      <a:pt x="116" y="69"/>
                    </a:cubicBezTo>
                    <a:cubicBezTo>
                      <a:pt x="118" y="70"/>
                      <a:pt x="119" y="72"/>
                      <a:pt x="119" y="74"/>
                    </a:cubicBezTo>
                    <a:cubicBezTo>
                      <a:pt x="118" y="77"/>
                      <a:pt x="118" y="80"/>
                      <a:pt x="118" y="83"/>
                    </a:cubicBezTo>
                    <a:cubicBezTo>
                      <a:pt x="118" y="87"/>
                      <a:pt x="117" y="91"/>
                      <a:pt x="116" y="95"/>
                    </a:cubicBezTo>
                    <a:cubicBezTo>
                      <a:pt x="124" y="97"/>
                      <a:pt x="124" y="97"/>
                      <a:pt x="124" y="97"/>
                    </a:cubicBezTo>
                    <a:cubicBezTo>
                      <a:pt x="116" y="97"/>
                      <a:pt x="116" y="97"/>
                      <a:pt x="116" y="97"/>
                    </a:cubicBezTo>
                    <a:cubicBezTo>
                      <a:pt x="116" y="97"/>
                      <a:pt x="116" y="97"/>
                      <a:pt x="116" y="97"/>
                    </a:cubicBezTo>
                    <a:cubicBezTo>
                      <a:pt x="116" y="98"/>
                      <a:pt x="115" y="98"/>
                      <a:pt x="115" y="99"/>
                    </a:cubicBezTo>
                    <a:cubicBezTo>
                      <a:pt x="115" y="100"/>
                      <a:pt x="115" y="100"/>
                      <a:pt x="115" y="101"/>
                    </a:cubicBezTo>
                    <a:cubicBezTo>
                      <a:pt x="115" y="102"/>
                      <a:pt x="115" y="103"/>
                      <a:pt x="116" y="104"/>
                    </a:cubicBezTo>
                    <a:cubicBezTo>
                      <a:pt x="116" y="105"/>
                      <a:pt x="117" y="106"/>
                      <a:pt x="117" y="107"/>
                    </a:cubicBezTo>
                    <a:cubicBezTo>
                      <a:pt x="117" y="107"/>
                      <a:pt x="117" y="107"/>
                      <a:pt x="117" y="107"/>
                    </a:cubicBezTo>
                    <a:cubicBezTo>
                      <a:pt x="118" y="107"/>
                      <a:pt x="118" y="108"/>
                      <a:pt x="119" y="109"/>
                    </a:cubicBezTo>
                    <a:cubicBezTo>
                      <a:pt x="132" y="104"/>
                      <a:pt x="132" y="104"/>
                      <a:pt x="132" y="104"/>
                    </a:cubicBezTo>
                    <a:cubicBezTo>
                      <a:pt x="132" y="104"/>
                      <a:pt x="132" y="104"/>
                      <a:pt x="133" y="103"/>
                    </a:cubicBezTo>
                    <a:cubicBezTo>
                      <a:pt x="136" y="102"/>
                      <a:pt x="136" y="102"/>
                      <a:pt x="136" y="102"/>
                    </a:cubicBezTo>
                    <a:cubicBezTo>
                      <a:pt x="139" y="101"/>
                      <a:pt x="143" y="100"/>
                      <a:pt x="145" y="98"/>
                    </a:cubicBezTo>
                    <a:cubicBezTo>
                      <a:pt x="149" y="94"/>
                      <a:pt x="153" y="90"/>
                      <a:pt x="159" y="87"/>
                    </a:cubicBezTo>
                    <a:cubicBezTo>
                      <a:pt x="160" y="86"/>
                      <a:pt x="161" y="86"/>
                      <a:pt x="162" y="85"/>
                    </a:cubicBezTo>
                    <a:cubicBezTo>
                      <a:pt x="164" y="85"/>
                      <a:pt x="165" y="84"/>
                      <a:pt x="167" y="84"/>
                    </a:cubicBezTo>
                    <a:cubicBezTo>
                      <a:pt x="170" y="84"/>
                      <a:pt x="172" y="85"/>
                      <a:pt x="175" y="87"/>
                    </a:cubicBezTo>
                    <a:cubicBezTo>
                      <a:pt x="176" y="88"/>
                      <a:pt x="178" y="89"/>
                      <a:pt x="179" y="90"/>
                    </a:cubicBezTo>
                    <a:cubicBezTo>
                      <a:pt x="180" y="91"/>
                      <a:pt x="180" y="91"/>
                      <a:pt x="180" y="91"/>
                    </a:cubicBezTo>
                    <a:cubicBezTo>
                      <a:pt x="183" y="90"/>
                      <a:pt x="186" y="89"/>
                      <a:pt x="187" y="89"/>
                    </a:cubicBezTo>
                    <a:cubicBezTo>
                      <a:pt x="188" y="88"/>
                      <a:pt x="188" y="88"/>
                      <a:pt x="188" y="88"/>
                    </a:cubicBezTo>
                    <a:cubicBezTo>
                      <a:pt x="188" y="87"/>
                      <a:pt x="189" y="87"/>
                      <a:pt x="190" y="86"/>
                    </a:cubicBezTo>
                    <a:cubicBezTo>
                      <a:pt x="191" y="86"/>
                      <a:pt x="192" y="86"/>
                      <a:pt x="193" y="86"/>
                    </a:cubicBezTo>
                    <a:cubicBezTo>
                      <a:pt x="194" y="86"/>
                      <a:pt x="194" y="86"/>
                      <a:pt x="194" y="86"/>
                    </a:cubicBezTo>
                    <a:cubicBezTo>
                      <a:pt x="195" y="86"/>
                      <a:pt x="196" y="86"/>
                      <a:pt x="196" y="86"/>
                    </a:cubicBezTo>
                    <a:cubicBezTo>
                      <a:pt x="199" y="87"/>
                      <a:pt x="202" y="88"/>
                      <a:pt x="205" y="89"/>
                    </a:cubicBezTo>
                    <a:cubicBezTo>
                      <a:pt x="210" y="91"/>
                      <a:pt x="210" y="91"/>
                      <a:pt x="210" y="91"/>
                    </a:cubicBezTo>
                    <a:cubicBezTo>
                      <a:pt x="211" y="91"/>
                      <a:pt x="212" y="90"/>
                      <a:pt x="212" y="89"/>
                    </a:cubicBezTo>
                    <a:cubicBezTo>
                      <a:pt x="211" y="88"/>
                      <a:pt x="210" y="86"/>
                      <a:pt x="209" y="84"/>
                    </a:cubicBezTo>
                    <a:cubicBezTo>
                      <a:pt x="209" y="81"/>
                      <a:pt x="209" y="81"/>
                      <a:pt x="209" y="81"/>
                    </a:cubicBezTo>
                    <a:cubicBezTo>
                      <a:pt x="209" y="80"/>
                      <a:pt x="208" y="79"/>
                      <a:pt x="208" y="77"/>
                    </a:cubicBezTo>
                    <a:cubicBezTo>
                      <a:pt x="208" y="75"/>
                      <a:pt x="208" y="75"/>
                      <a:pt x="208" y="75"/>
                    </a:cubicBezTo>
                    <a:cubicBezTo>
                      <a:pt x="207" y="70"/>
                      <a:pt x="207" y="66"/>
                      <a:pt x="206" y="61"/>
                    </a:cubicBezTo>
                    <a:cubicBezTo>
                      <a:pt x="206" y="59"/>
                      <a:pt x="206" y="59"/>
                      <a:pt x="203" y="58"/>
                    </a:cubicBezTo>
                    <a:cubicBezTo>
                      <a:pt x="202" y="57"/>
                      <a:pt x="202" y="57"/>
                      <a:pt x="202" y="57"/>
                    </a:cubicBezTo>
                    <a:cubicBezTo>
                      <a:pt x="201" y="56"/>
                      <a:pt x="200" y="55"/>
                      <a:pt x="199" y="55"/>
                    </a:cubicBezTo>
                    <a:cubicBezTo>
                      <a:pt x="198" y="54"/>
                      <a:pt x="198" y="54"/>
                      <a:pt x="198" y="54"/>
                    </a:cubicBezTo>
                    <a:cubicBezTo>
                      <a:pt x="197" y="54"/>
                      <a:pt x="196" y="53"/>
                      <a:pt x="196" y="53"/>
                    </a:cubicBezTo>
                    <a:cubicBezTo>
                      <a:pt x="194" y="52"/>
                      <a:pt x="193" y="52"/>
                      <a:pt x="193" y="51"/>
                    </a:cubicBezTo>
                    <a:cubicBezTo>
                      <a:pt x="192" y="51"/>
                      <a:pt x="192" y="51"/>
                      <a:pt x="191" y="51"/>
                    </a:cubicBezTo>
                    <a:cubicBezTo>
                      <a:pt x="190" y="51"/>
                      <a:pt x="190" y="51"/>
                      <a:pt x="190" y="51"/>
                    </a:cubicBezTo>
                    <a:cubicBezTo>
                      <a:pt x="189" y="51"/>
                      <a:pt x="188" y="52"/>
                      <a:pt x="186" y="52"/>
                    </a:cubicBezTo>
                    <a:cubicBezTo>
                      <a:pt x="185" y="52"/>
                      <a:pt x="185" y="52"/>
                      <a:pt x="185" y="52"/>
                    </a:cubicBezTo>
                    <a:cubicBezTo>
                      <a:pt x="184" y="53"/>
                      <a:pt x="182" y="53"/>
                      <a:pt x="181" y="53"/>
                    </a:cubicBezTo>
                    <a:cubicBezTo>
                      <a:pt x="181" y="53"/>
                      <a:pt x="180" y="53"/>
                      <a:pt x="180" y="53"/>
                    </a:cubicBezTo>
                    <a:cubicBezTo>
                      <a:pt x="178" y="53"/>
                      <a:pt x="176" y="52"/>
                      <a:pt x="176" y="50"/>
                    </a:cubicBezTo>
                    <a:cubicBezTo>
                      <a:pt x="175" y="49"/>
                      <a:pt x="174" y="48"/>
                      <a:pt x="174" y="45"/>
                    </a:cubicBezTo>
                    <a:cubicBezTo>
                      <a:pt x="173" y="44"/>
                      <a:pt x="172" y="41"/>
                      <a:pt x="173" y="38"/>
                    </a:cubicBezTo>
                    <a:cubicBezTo>
                      <a:pt x="174" y="38"/>
                      <a:pt x="174" y="37"/>
                      <a:pt x="174" y="37"/>
                    </a:cubicBezTo>
                    <a:cubicBezTo>
                      <a:pt x="174" y="36"/>
                      <a:pt x="174" y="36"/>
                      <a:pt x="174" y="36"/>
                    </a:cubicBezTo>
                    <a:cubicBezTo>
                      <a:pt x="167" y="40"/>
                      <a:pt x="167" y="40"/>
                      <a:pt x="167" y="40"/>
                    </a:cubicBezTo>
                    <a:cubicBezTo>
                      <a:pt x="173" y="35"/>
                      <a:pt x="173" y="35"/>
                      <a:pt x="173" y="35"/>
                    </a:cubicBezTo>
                    <a:cubicBezTo>
                      <a:pt x="172" y="34"/>
                      <a:pt x="171" y="32"/>
                      <a:pt x="170" y="30"/>
                    </a:cubicBezTo>
                    <a:cubicBezTo>
                      <a:pt x="170" y="30"/>
                      <a:pt x="170" y="30"/>
                      <a:pt x="170" y="30"/>
                    </a:cubicBezTo>
                    <a:cubicBezTo>
                      <a:pt x="171" y="26"/>
                      <a:pt x="171" y="26"/>
                      <a:pt x="171" y="26"/>
                    </a:cubicBezTo>
                    <a:cubicBezTo>
                      <a:pt x="170" y="26"/>
                      <a:pt x="169" y="26"/>
                      <a:pt x="167" y="27"/>
                    </a:cubicBezTo>
                    <a:cubicBezTo>
                      <a:pt x="164" y="27"/>
                      <a:pt x="164" y="27"/>
                      <a:pt x="164" y="27"/>
                    </a:cubicBezTo>
                    <a:cubicBezTo>
                      <a:pt x="163" y="27"/>
                      <a:pt x="161" y="27"/>
                      <a:pt x="160" y="27"/>
                    </a:cubicBezTo>
                    <a:cubicBezTo>
                      <a:pt x="156" y="28"/>
                      <a:pt x="154" y="28"/>
                      <a:pt x="151" y="28"/>
                    </a:cubicBezTo>
                    <a:cubicBezTo>
                      <a:pt x="144" y="28"/>
                      <a:pt x="144" y="28"/>
                      <a:pt x="144" y="28"/>
                    </a:cubicBezTo>
                    <a:cubicBezTo>
                      <a:pt x="141" y="28"/>
                      <a:pt x="141" y="29"/>
                      <a:pt x="139" y="32"/>
                    </a:cubicBezTo>
                    <a:cubicBezTo>
                      <a:pt x="135" y="36"/>
                      <a:pt x="135" y="36"/>
                      <a:pt x="135" y="36"/>
                    </a:cubicBezTo>
                    <a:cubicBezTo>
                      <a:pt x="132" y="33"/>
                      <a:pt x="132" y="33"/>
                      <a:pt x="132" y="33"/>
                    </a:cubicBezTo>
                    <a:cubicBezTo>
                      <a:pt x="131" y="32"/>
                      <a:pt x="128" y="32"/>
                      <a:pt x="125" y="31"/>
                    </a:cubicBezTo>
                    <a:cubicBezTo>
                      <a:pt x="124" y="31"/>
                      <a:pt x="124" y="31"/>
                      <a:pt x="124" y="31"/>
                    </a:cubicBezTo>
                    <a:cubicBezTo>
                      <a:pt x="120" y="31"/>
                      <a:pt x="120" y="31"/>
                      <a:pt x="120" y="31"/>
                    </a:cubicBezTo>
                    <a:cubicBezTo>
                      <a:pt x="120" y="31"/>
                      <a:pt x="120" y="31"/>
                      <a:pt x="120" y="31"/>
                    </a:cubicBezTo>
                    <a:cubicBezTo>
                      <a:pt x="117" y="29"/>
                      <a:pt x="117" y="27"/>
                      <a:pt x="117" y="25"/>
                    </a:cubicBezTo>
                    <a:cubicBezTo>
                      <a:pt x="117" y="25"/>
                      <a:pt x="117" y="25"/>
                      <a:pt x="117" y="25"/>
                    </a:cubicBezTo>
                    <a:cubicBezTo>
                      <a:pt x="117" y="25"/>
                      <a:pt x="116" y="25"/>
                      <a:pt x="116" y="25"/>
                    </a:cubicBezTo>
                    <a:cubicBezTo>
                      <a:pt x="116" y="25"/>
                      <a:pt x="115" y="25"/>
                      <a:pt x="115" y="25"/>
                    </a:cubicBezTo>
                    <a:cubicBezTo>
                      <a:pt x="114" y="25"/>
                      <a:pt x="114" y="25"/>
                      <a:pt x="114" y="25"/>
                    </a:cubicBezTo>
                    <a:cubicBezTo>
                      <a:pt x="113" y="24"/>
                      <a:pt x="112" y="24"/>
                      <a:pt x="112" y="23"/>
                    </a:cubicBezTo>
                    <a:cubicBezTo>
                      <a:pt x="111" y="22"/>
                      <a:pt x="111" y="22"/>
                      <a:pt x="111" y="22"/>
                    </a:cubicBezTo>
                    <a:cubicBezTo>
                      <a:pt x="107" y="25"/>
                      <a:pt x="104" y="27"/>
                      <a:pt x="101" y="27"/>
                    </a:cubicBezTo>
                    <a:cubicBezTo>
                      <a:pt x="100" y="27"/>
                      <a:pt x="100" y="27"/>
                      <a:pt x="100" y="26"/>
                    </a:cubicBezTo>
                    <a:cubicBezTo>
                      <a:pt x="100" y="26"/>
                      <a:pt x="100" y="26"/>
                      <a:pt x="100" y="26"/>
                    </a:cubicBezTo>
                    <a:cubicBezTo>
                      <a:pt x="99" y="26"/>
                      <a:pt x="99" y="26"/>
                      <a:pt x="99" y="26"/>
                    </a:cubicBezTo>
                    <a:cubicBezTo>
                      <a:pt x="99" y="26"/>
                      <a:pt x="99" y="26"/>
                      <a:pt x="99" y="26"/>
                    </a:cubicBezTo>
                    <a:cubicBezTo>
                      <a:pt x="98" y="26"/>
                      <a:pt x="98" y="26"/>
                      <a:pt x="98" y="26"/>
                    </a:cubicBezTo>
                    <a:cubicBezTo>
                      <a:pt x="93" y="25"/>
                      <a:pt x="89" y="24"/>
                      <a:pt x="83" y="23"/>
                    </a:cubicBezTo>
                    <a:cubicBezTo>
                      <a:pt x="79" y="22"/>
                      <a:pt x="75" y="22"/>
                      <a:pt x="70" y="22"/>
                    </a:cubicBezTo>
                    <a:cubicBezTo>
                      <a:pt x="65" y="22"/>
                      <a:pt x="59" y="22"/>
                      <a:pt x="52" y="23"/>
                    </a:cubicBezTo>
                    <a:cubicBezTo>
                      <a:pt x="47" y="23"/>
                      <a:pt x="47" y="23"/>
                      <a:pt x="47" y="23"/>
                    </a:cubicBezTo>
                    <a:cubicBezTo>
                      <a:pt x="47" y="19"/>
                      <a:pt x="47" y="19"/>
                      <a:pt x="47" y="19"/>
                    </a:cubicBezTo>
                    <a:cubicBezTo>
                      <a:pt x="48" y="16"/>
                      <a:pt x="48" y="12"/>
                      <a:pt x="48" y="9"/>
                    </a:cubicBezTo>
                    <a:cubicBezTo>
                      <a:pt x="48" y="1"/>
                      <a:pt x="48" y="1"/>
                      <a:pt x="48" y="1"/>
                    </a:cubicBezTo>
                    <a:cubicBezTo>
                      <a:pt x="48" y="0"/>
                      <a:pt x="48" y="0"/>
                      <a:pt x="48" y="0"/>
                    </a:cubicBezTo>
                    <a:cubicBezTo>
                      <a:pt x="47" y="0"/>
                      <a:pt x="47"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0" name="Freeform 348">
                <a:extLst>
                  <a:ext uri="{FF2B5EF4-FFF2-40B4-BE49-F238E27FC236}">
                    <a16:creationId xmlns:a16="http://schemas.microsoft.com/office/drawing/2014/main" id="{DD90F676-E1E7-4DCF-BF28-C9C5C8AF18BF}"/>
                  </a:ext>
                </a:extLst>
              </p:cNvPr>
              <p:cNvSpPr>
                <a:spLocks/>
              </p:cNvSpPr>
              <p:nvPr/>
            </p:nvSpPr>
            <p:spPr bwMode="auto">
              <a:xfrm>
                <a:off x="10613133" y="5011758"/>
                <a:ext cx="117924" cy="88443"/>
              </a:xfrm>
              <a:custGeom>
                <a:avLst/>
                <a:gdLst>
                  <a:gd name="T0" fmla="*/ 31 w 37"/>
                  <a:gd name="T1" fmla="*/ 0 h 27"/>
                  <a:gd name="T2" fmla="*/ 31 w 37"/>
                  <a:gd name="T3" fmla="*/ 0 h 27"/>
                  <a:gd name="T4" fmla="*/ 30 w 37"/>
                  <a:gd name="T5" fmla="*/ 1 h 27"/>
                  <a:gd name="T6" fmla="*/ 29 w 37"/>
                  <a:gd name="T7" fmla="*/ 2 h 27"/>
                  <a:gd name="T8" fmla="*/ 27 w 37"/>
                  <a:gd name="T9" fmla="*/ 3 h 27"/>
                  <a:gd name="T10" fmla="*/ 26 w 37"/>
                  <a:gd name="T11" fmla="*/ 4 h 27"/>
                  <a:gd name="T12" fmla="*/ 21 w 37"/>
                  <a:gd name="T13" fmla="*/ 8 h 27"/>
                  <a:gd name="T14" fmla="*/ 21 w 37"/>
                  <a:gd name="T15" fmla="*/ 8 h 27"/>
                  <a:gd name="T16" fmla="*/ 19 w 37"/>
                  <a:gd name="T17" fmla="*/ 9 h 27"/>
                  <a:gd name="T18" fmla="*/ 16 w 37"/>
                  <a:gd name="T19" fmla="*/ 10 h 27"/>
                  <a:gd name="T20" fmla="*/ 10 w 37"/>
                  <a:gd name="T21" fmla="*/ 12 h 27"/>
                  <a:gd name="T22" fmla="*/ 6 w 37"/>
                  <a:gd name="T23" fmla="*/ 11 h 27"/>
                  <a:gd name="T24" fmla="*/ 6 w 37"/>
                  <a:gd name="T25" fmla="*/ 11 h 27"/>
                  <a:gd name="T26" fmla="*/ 5 w 37"/>
                  <a:gd name="T27" fmla="*/ 11 h 27"/>
                  <a:gd name="T28" fmla="*/ 2 w 37"/>
                  <a:gd name="T29" fmla="*/ 9 h 27"/>
                  <a:gd name="T30" fmla="*/ 2 w 37"/>
                  <a:gd name="T31" fmla="*/ 9 h 27"/>
                  <a:gd name="T32" fmla="*/ 0 w 37"/>
                  <a:gd name="T33" fmla="*/ 12 h 27"/>
                  <a:gd name="T34" fmla="*/ 1 w 37"/>
                  <a:gd name="T35" fmla="*/ 20 h 27"/>
                  <a:gd name="T36" fmla="*/ 1 w 37"/>
                  <a:gd name="T37" fmla="*/ 20 h 27"/>
                  <a:gd name="T38" fmla="*/ 2 w 37"/>
                  <a:gd name="T39" fmla="*/ 23 h 27"/>
                  <a:gd name="T40" fmla="*/ 2 w 37"/>
                  <a:gd name="T41" fmla="*/ 25 h 27"/>
                  <a:gd name="T42" fmla="*/ 6 w 37"/>
                  <a:gd name="T43" fmla="*/ 23 h 27"/>
                  <a:gd name="T44" fmla="*/ 8 w 37"/>
                  <a:gd name="T45" fmla="*/ 22 h 27"/>
                  <a:gd name="T46" fmla="*/ 9 w 37"/>
                  <a:gd name="T47" fmla="*/ 22 h 27"/>
                  <a:gd name="T48" fmla="*/ 17 w 37"/>
                  <a:gd name="T49" fmla="*/ 20 h 27"/>
                  <a:gd name="T50" fmla="*/ 35 w 37"/>
                  <a:gd name="T51" fmla="*/ 27 h 27"/>
                  <a:gd name="T52" fmla="*/ 37 w 37"/>
                  <a:gd name="T53" fmla="*/ 25 h 27"/>
                  <a:gd name="T54" fmla="*/ 36 w 37"/>
                  <a:gd name="T55" fmla="*/ 25 h 27"/>
                  <a:gd name="T56" fmla="*/ 36 w 37"/>
                  <a:gd name="T57" fmla="*/ 25 h 27"/>
                  <a:gd name="T58" fmla="*/ 28 w 37"/>
                  <a:gd name="T59" fmla="*/ 20 h 27"/>
                  <a:gd name="T60" fmla="*/ 23 w 37"/>
                  <a:gd name="T61" fmla="*/ 17 h 27"/>
                  <a:gd name="T62" fmla="*/ 27 w 37"/>
                  <a:gd name="T63" fmla="*/ 14 h 27"/>
                  <a:gd name="T64" fmla="*/ 36 w 37"/>
                  <a:gd name="T65" fmla="*/ 6 h 27"/>
                  <a:gd name="T66" fmla="*/ 31 w 37"/>
                  <a:gd name="T6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27">
                    <a:moveTo>
                      <a:pt x="31" y="0"/>
                    </a:moveTo>
                    <a:cubicBezTo>
                      <a:pt x="31" y="0"/>
                      <a:pt x="31" y="0"/>
                      <a:pt x="31" y="0"/>
                    </a:cubicBezTo>
                    <a:cubicBezTo>
                      <a:pt x="30" y="1"/>
                      <a:pt x="30" y="1"/>
                      <a:pt x="30" y="1"/>
                    </a:cubicBezTo>
                    <a:cubicBezTo>
                      <a:pt x="30" y="1"/>
                      <a:pt x="30" y="2"/>
                      <a:pt x="29" y="2"/>
                    </a:cubicBezTo>
                    <a:cubicBezTo>
                      <a:pt x="28" y="2"/>
                      <a:pt x="28" y="3"/>
                      <a:pt x="27" y="3"/>
                    </a:cubicBezTo>
                    <a:cubicBezTo>
                      <a:pt x="26" y="4"/>
                      <a:pt x="26" y="4"/>
                      <a:pt x="26" y="4"/>
                    </a:cubicBezTo>
                    <a:cubicBezTo>
                      <a:pt x="25" y="5"/>
                      <a:pt x="23" y="7"/>
                      <a:pt x="21" y="8"/>
                    </a:cubicBezTo>
                    <a:cubicBezTo>
                      <a:pt x="21" y="8"/>
                      <a:pt x="21" y="8"/>
                      <a:pt x="21" y="8"/>
                    </a:cubicBezTo>
                    <a:cubicBezTo>
                      <a:pt x="20" y="8"/>
                      <a:pt x="19" y="9"/>
                      <a:pt x="19" y="9"/>
                    </a:cubicBezTo>
                    <a:cubicBezTo>
                      <a:pt x="18" y="9"/>
                      <a:pt x="17" y="10"/>
                      <a:pt x="16" y="10"/>
                    </a:cubicBezTo>
                    <a:cubicBezTo>
                      <a:pt x="15" y="11"/>
                      <a:pt x="13" y="12"/>
                      <a:pt x="10" y="12"/>
                    </a:cubicBezTo>
                    <a:cubicBezTo>
                      <a:pt x="9" y="12"/>
                      <a:pt x="8" y="12"/>
                      <a:pt x="6" y="11"/>
                    </a:cubicBezTo>
                    <a:cubicBezTo>
                      <a:pt x="6" y="11"/>
                      <a:pt x="6" y="11"/>
                      <a:pt x="6" y="11"/>
                    </a:cubicBezTo>
                    <a:cubicBezTo>
                      <a:pt x="5" y="11"/>
                      <a:pt x="5" y="11"/>
                      <a:pt x="5" y="11"/>
                    </a:cubicBezTo>
                    <a:cubicBezTo>
                      <a:pt x="4" y="10"/>
                      <a:pt x="3" y="9"/>
                      <a:pt x="2" y="9"/>
                    </a:cubicBezTo>
                    <a:cubicBezTo>
                      <a:pt x="2" y="9"/>
                      <a:pt x="2" y="9"/>
                      <a:pt x="2" y="9"/>
                    </a:cubicBezTo>
                    <a:cubicBezTo>
                      <a:pt x="0" y="11"/>
                      <a:pt x="0" y="12"/>
                      <a:pt x="0" y="12"/>
                    </a:cubicBezTo>
                    <a:cubicBezTo>
                      <a:pt x="0" y="14"/>
                      <a:pt x="0" y="17"/>
                      <a:pt x="1" y="20"/>
                    </a:cubicBezTo>
                    <a:cubicBezTo>
                      <a:pt x="1" y="20"/>
                      <a:pt x="1" y="20"/>
                      <a:pt x="1" y="20"/>
                    </a:cubicBezTo>
                    <a:cubicBezTo>
                      <a:pt x="2" y="21"/>
                      <a:pt x="2" y="22"/>
                      <a:pt x="2" y="23"/>
                    </a:cubicBezTo>
                    <a:cubicBezTo>
                      <a:pt x="2" y="25"/>
                      <a:pt x="2" y="25"/>
                      <a:pt x="2" y="25"/>
                    </a:cubicBezTo>
                    <a:cubicBezTo>
                      <a:pt x="3" y="24"/>
                      <a:pt x="5" y="23"/>
                      <a:pt x="6" y="23"/>
                    </a:cubicBezTo>
                    <a:cubicBezTo>
                      <a:pt x="7" y="23"/>
                      <a:pt x="7" y="23"/>
                      <a:pt x="8" y="22"/>
                    </a:cubicBezTo>
                    <a:cubicBezTo>
                      <a:pt x="9" y="22"/>
                      <a:pt x="9" y="22"/>
                      <a:pt x="9" y="22"/>
                    </a:cubicBezTo>
                    <a:cubicBezTo>
                      <a:pt x="12" y="21"/>
                      <a:pt x="15" y="20"/>
                      <a:pt x="17" y="20"/>
                    </a:cubicBezTo>
                    <a:cubicBezTo>
                      <a:pt x="23" y="20"/>
                      <a:pt x="31" y="24"/>
                      <a:pt x="35" y="27"/>
                    </a:cubicBezTo>
                    <a:cubicBezTo>
                      <a:pt x="37" y="25"/>
                      <a:pt x="37" y="25"/>
                      <a:pt x="37" y="25"/>
                    </a:cubicBezTo>
                    <a:cubicBezTo>
                      <a:pt x="36" y="25"/>
                      <a:pt x="36" y="25"/>
                      <a:pt x="36" y="25"/>
                    </a:cubicBezTo>
                    <a:cubicBezTo>
                      <a:pt x="36" y="25"/>
                      <a:pt x="36" y="25"/>
                      <a:pt x="36" y="25"/>
                    </a:cubicBezTo>
                    <a:cubicBezTo>
                      <a:pt x="33" y="23"/>
                      <a:pt x="31" y="22"/>
                      <a:pt x="28" y="20"/>
                    </a:cubicBezTo>
                    <a:cubicBezTo>
                      <a:pt x="23" y="17"/>
                      <a:pt x="23" y="17"/>
                      <a:pt x="23" y="17"/>
                    </a:cubicBezTo>
                    <a:cubicBezTo>
                      <a:pt x="27" y="14"/>
                      <a:pt x="27" y="14"/>
                      <a:pt x="27" y="14"/>
                    </a:cubicBezTo>
                    <a:cubicBezTo>
                      <a:pt x="30" y="11"/>
                      <a:pt x="33" y="9"/>
                      <a:pt x="36" y="6"/>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1" name="Freeform 349">
                <a:extLst>
                  <a:ext uri="{FF2B5EF4-FFF2-40B4-BE49-F238E27FC236}">
                    <a16:creationId xmlns:a16="http://schemas.microsoft.com/office/drawing/2014/main" id="{9CB72206-520C-4671-A327-EE90F2CBC101}"/>
                  </a:ext>
                </a:extLst>
              </p:cNvPr>
              <p:cNvSpPr>
                <a:spLocks/>
              </p:cNvSpPr>
              <p:nvPr/>
            </p:nvSpPr>
            <p:spPr bwMode="auto">
              <a:xfrm>
                <a:off x="11593374" y="6102552"/>
                <a:ext cx="585933" cy="364826"/>
              </a:xfrm>
              <a:custGeom>
                <a:avLst/>
                <a:gdLst>
                  <a:gd name="T0" fmla="*/ 38 w 184"/>
                  <a:gd name="T1" fmla="*/ 1 h 115"/>
                  <a:gd name="T2" fmla="*/ 37 w 184"/>
                  <a:gd name="T3" fmla="*/ 2 h 115"/>
                  <a:gd name="T4" fmla="*/ 31 w 184"/>
                  <a:gd name="T5" fmla="*/ 11 h 115"/>
                  <a:gd name="T6" fmla="*/ 22 w 184"/>
                  <a:gd name="T7" fmla="*/ 10 h 115"/>
                  <a:gd name="T8" fmla="*/ 8 w 184"/>
                  <a:gd name="T9" fmla="*/ 25 h 115"/>
                  <a:gd name="T10" fmla="*/ 5 w 184"/>
                  <a:gd name="T11" fmla="*/ 28 h 115"/>
                  <a:gd name="T12" fmla="*/ 3 w 184"/>
                  <a:gd name="T13" fmla="*/ 37 h 115"/>
                  <a:gd name="T14" fmla="*/ 0 w 184"/>
                  <a:gd name="T15" fmla="*/ 44 h 115"/>
                  <a:gd name="T16" fmla="*/ 6 w 184"/>
                  <a:gd name="T17" fmla="*/ 43 h 115"/>
                  <a:gd name="T18" fmla="*/ 18 w 184"/>
                  <a:gd name="T19" fmla="*/ 52 h 115"/>
                  <a:gd name="T20" fmla="*/ 33 w 184"/>
                  <a:gd name="T21" fmla="*/ 56 h 115"/>
                  <a:gd name="T22" fmla="*/ 38 w 184"/>
                  <a:gd name="T23" fmla="*/ 66 h 115"/>
                  <a:gd name="T24" fmla="*/ 42 w 184"/>
                  <a:gd name="T25" fmla="*/ 69 h 115"/>
                  <a:gd name="T26" fmla="*/ 47 w 184"/>
                  <a:gd name="T27" fmla="*/ 72 h 115"/>
                  <a:gd name="T28" fmla="*/ 52 w 184"/>
                  <a:gd name="T29" fmla="*/ 71 h 115"/>
                  <a:gd name="T30" fmla="*/ 60 w 184"/>
                  <a:gd name="T31" fmla="*/ 74 h 115"/>
                  <a:gd name="T32" fmla="*/ 73 w 184"/>
                  <a:gd name="T33" fmla="*/ 79 h 115"/>
                  <a:gd name="T34" fmla="*/ 75 w 184"/>
                  <a:gd name="T35" fmla="*/ 84 h 115"/>
                  <a:gd name="T36" fmla="*/ 88 w 184"/>
                  <a:gd name="T37" fmla="*/ 88 h 115"/>
                  <a:gd name="T38" fmla="*/ 92 w 184"/>
                  <a:gd name="T39" fmla="*/ 85 h 115"/>
                  <a:gd name="T40" fmla="*/ 95 w 184"/>
                  <a:gd name="T41" fmla="*/ 85 h 115"/>
                  <a:gd name="T42" fmla="*/ 102 w 184"/>
                  <a:gd name="T43" fmla="*/ 87 h 115"/>
                  <a:gd name="T44" fmla="*/ 104 w 184"/>
                  <a:gd name="T45" fmla="*/ 79 h 115"/>
                  <a:gd name="T46" fmla="*/ 115 w 184"/>
                  <a:gd name="T47" fmla="*/ 84 h 115"/>
                  <a:gd name="T48" fmla="*/ 118 w 184"/>
                  <a:gd name="T49" fmla="*/ 85 h 115"/>
                  <a:gd name="T50" fmla="*/ 129 w 184"/>
                  <a:gd name="T51" fmla="*/ 95 h 115"/>
                  <a:gd name="T52" fmla="*/ 130 w 184"/>
                  <a:gd name="T53" fmla="*/ 99 h 115"/>
                  <a:gd name="T54" fmla="*/ 141 w 184"/>
                  <a:gd name="T55" fmla="*/ 103 h 115"/>
                  <a:gd name="T56" fmla="*/ 143 w 184"/>
                  <a:gd name="T57" fmla="*/ 104 h 115"/>
                  <a:gd name="T58" fmla="*/ 146 w 184"/>
                  <a:gd name="T59" fmla="*/ 106 h 115"/>
                  <a:gd name="T60" fmla="*/ 148 w 184"/>
                  <a:gd name="T61" fmla="*/ 106 h 115"/>
                  <a:gd name="T62" fmla="*/ 154 w 184"/>
                  <a:gd name="T63" fmla="*/ 104 h 115"/>
                  <a:gd name="T64" fmla="*/ 157 w 184"/>
                  <a:gd name="T65" fmla="*/ 105 h 115"/>
                  <a:gd name="T66" fmla="*/ 159 w 184"/>
                  <a:gd name="T67" fmla="*/ 107 h 115"/>
                  <a:gd name="T68" fmla="*/ 163 w 184"/>
                  <a:gd name="T69" fmla="*/ 112 h 115"/>
                  <a:gd name="T70" fmla="*/ 168 w 184"/>
                  <a:gd name="T71" fmla="*/ 111 h 115"/>
                  <a:gd name="T72" fmla="*/ 173 w 184"/>
                  <a:gd name="T73" fmla="*/ 111 h 115"/>
                  <a:gd name="T74" fmla="*/ 184 w 184"/>
                  <a:gd name="T75" fmla="*/ 115 h 115"/>
                  <a:gd name="T76" fmla="*/ 176 w 184"/>
                  <a:gd name="T77" fmla="*/ 76 h 115"/>
                  <a:gd name="T78" fmla="*/ 170 w 184"/>
                  <a:gd name="T79" fmla="*/ 74 h 115"/>
                  <a:gd name="T80" fmla="*/ 156 w 184"/>
                  <a:gd name="T81" fmla="*/ 68 h 115"/>
                  <a:gd name="T82" fmla="*/ 155 w 184"/>
                  <a:gd name="T83" fmla="*/ 66 h 115"/>
                  <a:gd name="T84" fmla="*/ 148 w 184"/>
                  <a:gd name="T85" fmla="*/ 65 h 115"/>
                  <a:gd name="T86" fmla="*/ 143 w 184"/>
                  <a:gd name="T87" fmla="*/ 66 h 115"/>
                  <a:gd name="T88" fmla="*/ 136 w 184"/>
                  <a:gd name="T89" fmla="*/ 58 h 115"/>
                  <a:gd name="T90" fmla="*/ 127 w 184"/>
                  <a:gd name="T91" fmla="*/ 56 h 115"/>
                  <a:gd name="T92" fmla="*/ 120 w 184"/>
                  <a:gd name="T93" fmla="*/ 52 h 115"/>
                  <a:gd name="T94" fmla="*/ 116 w 184"/>
                  <a:gd name="T95" fmla="*/ 49 h 115"/>
                  <a:gd name="T96" fmla="*/ 109 w 184"/>
                  <a:gd name="T97" fmla="*/ 37 h 115"/>
                  <a:gd name="T98" fmla="*/ 101 w 184"/>
                  <a:gd name="T99" fmla="*/ 39 h 115"/>
                  <a:gd name="T100" fmla="*/ 91 w 184"/>
                  <a:gd name="T101" fmla="*/ 34 h 115"/>
                  <a:gd name="T102" fmla="*/ 87 w 184"/>
                  <a:gd name="T103" fmla="*/ 28 h 115"/>
                  <a:gd name="T104" fmla="*/ 86 w 184"/>
                  <a:gd name="T105" fmla="*/ 27 h 115"/>
                  <a:gd name="T106" fmla="*/ 82 w 184"/>
                  <a:gd name="T107" fmla="*/ 32 h 115"/>
                  <a:gd name="T108" fmla="*/ 79 w 184"/>
                  <a:gd name="T109" fmla="*/ 24 h 115"/>
                  <a:gd name="T110" fmla="*/ 70 w 184"/>
                  <a:gd name="T111" fmla="*/ 20 h 115"/>
                  <a:gd name="T112" fmla="*/ 62 w 184"/>
                  <a:gd name="T113" fmla="*/ 14 h 115"/>
                  <a:gd name="T114" fmla="*/ 53 w 184"/>
                  <a:gd name="T115" fmla="*/ 9 h 115"/>
                  <a:gd name="T116" fmla="*/ 41 w 184"/>
                  <a:gd name="T117" fmla="*/ 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15">
                    <a:moveTo>
                      <a:pt x="39" y="0"/>
                    </a:moveTo>
                    <a:cubicBezTo>
                      <a:pt x="39" y="0"/>
                      <a:pt x="38" y="1"/>
                      <a:pt x="38" y="1"/>
                    </a:cubicBezTo>
                    <a:cubicBezTo>
                      <a:pt x="38" y="1"/>
                      <a:pt x="38" y="1"/>
                      <a:pt x="38" y="1"/>
                    </a:cubicBezTo>
                    <a:cubicBezTo>
                      <a:pt x="37" y="1"/>
                      <a:pt x="37" y="1"/>
                      <a:pt x="37" y="1"/>
                    </a:cubicBezTo>
                    <a:cubicBezTo>
                      <a:pt x="37" y="2"/>
                      <a:pt x="37" y="2"/>
                      <a:pt x="37" y="2"/>
                    </a:cubicBezTo>
                    <a:cubicBezTo>
                      <a:pt x="37" y="2"/>
                      <a:pt x="37" y="2"/>
                      <a:pt x="37" y="2"/>
                    </a:cubicBezTo>
                    <a:cubicBezTo>
                      <a:pt x="35" y="4"/>
                      <a:pt x="35" y="6"/>
                      <a:pt x="34" y="8"/>
                    </a:cubicBezTo>
                    <a:cubicBezTo>
                      <a:pt x="33" y="11"/>
                      <a:pt x="33" y="11"/>
                      <a:pt x="33" y="11"/>
                    </a:cubicBezTo>
                    <a:cubicBezTo>
                      <a:pt x="31" y="11"/>
                      <a:pt x="31" y="11"/>
                      <a:pt x="31" y="11"/>
                    </a:cubicBezTo>
                    <a:cubicBezTo>
                      <a:pt x="29" y="12"/>
                      <a:pt x="28" y="12"/>
                      <a:pt x="27" y="12"/>
                    </a:cubicBezTo>
                    <a:cubicBezTo>
                      <a:pt x="25" y="12"/>
                      <a:pt x="24" y="12"/>
                      <a:pt x="24" y="11"/>
                    </a:cubicBezTo>
                    <a:cubicBezTo>
                      <a:pt x="22" y="10"/>
                      <a:pt x="22" y="10"/>
                      <a:pt x="22" y="10"/>
                    </a:cubicBezTo>
                    <a:cubicBezTo>
                      <a:pt x="22" y="10"/>
                      <a:pt x="22" y="10"/>
                      <a:pt x="22" y="10"/>
                    </a:cubicBezTo>
                    <a:cubicBezTo>
                      <a:pt x="8" y="24"/>
                      <a:pt x="8" y="24"/>
                      <a:pt x="8" y="24"/>
                    </a:cubicBezTo>
                    <a:cubicBezTo>
                      <a:pt x="8" y="24"/>
                      <a:pt x="8" y="24"/>
                      <a:pt x="8" y="25"/>
                    </a:cubicBezTo>
                    <a:cubicBezTo>
                      <a:pt x="7" y="25"/>
                      <a:pt x="7" y="26"/>
                      <a:pt x="6" y="26"/>
                    </a:cubicBezTo>
                    <a:cubicBezTo>
                      <a:pt x="5" y="27"/>
                      <a:pt x="5" y="27"/>
                      <a:pt x="5" y="27"/>
                    </a:cubicBezTo>
                    <a:cubicBezTo>
                      <a:pt x="5" y="28"/>
                      <a:pt x="5" y="28"/>
                      <a:pt x="5" y="28"/>
                    </a:cubicBezTo>
                    <a:cubicBezTo>
                      <a:pt x="5" y="28"/>
                      <a:pt x="5" y="28"/>
                      <a:pt x="5" y="28"/>
                    </a:cubicBezTo>
                    <a:cubicBezTo>
                      <a:pt x="5" y="29"/>
                      <a:pt x="6" y="30"/>
                      <a:pt x="6" y="32"/>
                    </a:cubicBezTo>
                    <a:cubicBezTo>
                      <a:pt x="6" y="33"/>
                      <a:pt x="5" y="35"/>
                      <a:pt x="3" y="37"/>
                    </a:cubicBezTo>
                    <a:cubicBezTo>
                      <a:pt x="3" y="38"/>
                      <a:pt x="3" y="38"/>
                      <a:pt x="3" y="38"/>
                    </a:cubicBezTo>
                    <a:cubicBezTo>
                      <a:pt x="2" y="39"/>
                      <a:pt x="1" y="40"/>
                      <a:pt x="1" y="42"/>
                    </a:cubicBezTo>
                    <a:cubicBezTo>
                      <a:pt x="0" y="42"/>
                      <a:pt x="0" y="43"/>
                      <a:pt x="0" y="44"/>
                    </a:cubicBezTo>
                    <a:cubicBezTo>
                      <a:pt x="0" y="45"/>
                      <a:pt x="1" y="46"/>
                      <a:pt x="2" y="47"/>
                    </a:cubicBezTo>
                    <a:cubicBezTo>
                      <a:pt x="2" y="47"/>
                      <a:pt x="4" y="48"/>
                      <a:pt x="6" y="49"/>
                    </a:cubicBezTo>
                    <a:cubicBezTo>
                      <a:pt x="6" y="43"/>
                      <a:pt x="6" y="43"/>
                      <a:pt x="6" y="43"/>
                    </a:cubicBezTo>
                    <a:cubicBezTo>
                      <a:pt x="11" y="48"/>
                      <a:pt x="11" y="48"/>
                      <a:pt x="11" y="48"/>
                    </a:cubicBezTo>
                    <a:cubicBezTo>
                      <a:pt x="13" y="49"/>
                      <a:pt x="15" y="50"/>
                      <a:pt x="17" y="51"/>
                    </a:cubicBezTo>
                    <a:cubicBezTo>
                      <a:pt x="18" y="52"/>
                      <a:pt x="18" y="52"/>
                      <a:pt x="18" y="52"/>
                    </a:cubicBezTo>
                    <a:cubicBezTo>
                      <a:pt x="20" y="53"/>
                      <a:pt x="23" y="54"/>
                      <a:pt x="25" y="56"/>
                    </a:cubicBezTo>
                    <a:cubicBezTo>
                      <a:pt x="27" y="57"/>
                      <a:pt x="29" y="58"/>
                      <a:pt x="31" y="59"/>
                    </a:cubicBezTo>
                    <a:cubicBezTo>
                      <a:pt x="33" y="56"/>
                      <a:pt x="33" y="56"/>
                      <a:pt x="33" y="56"/>
                    </a:cubicBezTo>
                    <a:cubicBezTo>
                      <a:pt x="32" y="60"/>
                      <a:pt x="32" y="60"/>
                      <a:pt x="32" y="60"/>
                    </a:cubicBezTo>
                    <a:cubicBezTo>
                      <a:pt x="32" y="61"/>
                      <a:pt x="32" y="61"/>
                      <a:pt x="32" y="61"/>
                    </a:cubicBezTo>
                    <a:cubicBezTo>
                      <a:pt x="34" y="63"/>
                      <a:pt x="36" y="64"/>
                      <a:pt x="38" y="66"/>
                    </a:cubicBezTo>
                    <a:cubicBezTo>
                      <a:pt x="38" y="66"/>
                      <a:pt x="38" y="66"/>
                      <a:pt x="38" y="66"/>
                    </a:cubicBezTo>
                    <a:cubicBezTo>
                      <a:pt x="39" y="67"/>
                      <a:pt x="39" y="67"/>
                      <a:pt x="40" y="67"/>
                    </a:cubicBezTo>
                    <a:cubicBezTo>
                      <a:pt x="40" y="68"/>
                      <a:pt x="41" y="68"/>
                      <a:pt x="42" y="69"/>
                    </a:cubicBezTo>
                    <a:cubicBezTo>
                      <a:pt x="44" y="71"/>
                      <a:pt x="44" y="71"/>
                      <a:pt x="44" y="71"/>
                    </a:cubicBezTo>
                    <a:cubicBezTo>
                      <a:pt x="46" y="72"/>
                      <a:pt x="47" y="72"/>
                      <a:pt x="47" y="72"/>
                    </a:cubicBezTo>
                    <a:cubicBezTo>
                      <a:pt x="47" y="72"/>
                      <a:pt x="47" y="72"/>
                      <a:pt x="47" y="72"/>
                    </a:cubicBezTo>
                    <a:cubicBezTo>
                      <a:pt x="48" y="72"/>
                      <a:pt x="48" y="72"/>
                      <a:pt x="48" y="72"/>
                    </a:cubicBezTo>
                    <a:cubicBezTo>
                      <a:pt x="49" y="72"/>
                      <a:pt x="50" y="71"/>
                      <a:pt x="51" y="71"/>
                    </a:cubicBezTo>
                    <a:cubicBezTo>
                      <a:pt x="52" y="71"/>
                      <a:pt x="52" y="71"/>
                      <a:pt x="52" y="71"/>
                    </a:cubicBezTo>
                    <a:cubicBezTo>
                      <a:pt x="53" y="71"/>
                      <a:pt x="53" y="71"/>
                      <a:pt x="53" y="71"/>
                    </a:cubicBezTo>
                    <a:cubicBezTo>
                      <a:pt x="53" y="71"/>
                      <a:pt x="54" y="71"/>
                      <a:pt x="54" y="72"/>
                    </a:cubicBezTo>
                    <a:cubicBezTo>
                      <a:pt x="56" y="73"/>
                      <a:pt x="58" y="73"/>
                      <a:pt x="60" y="74"/>
                    </a:cubicBezTo>
                    <a:cubicBezTo>
                      <a:pt x="72" y="78"/>
                      <a:pt x="72" y="78"/>
                      <a:pt x="72" y="78"/>
                    </a:cubicBezTo>
                    <a:cubicBezTo>
                      <a:pt x="73" y="79"/>
                      <a:pt x="73" y="79"/>
                      <a:pt x="73" y="79"/>
                    </a:cubicBezTo>
                    <a:cubicBezTo>
                      <a:pt x="73" y="79"/>
                      <a:pt x="73" y="79"/>
                      <a:pt x="73" y="79"/>
                    </a:cubicBezTo>
                    <a:cubicBezTo>
                      <a:pt x="74" y="80"/>
                      <a:pt x="74" y="80"/>
                      <a:pt x="74" y="80"/>
                    </a:cubicBezTo>
                    <a:cubicBezTo>
                      <a:pt x="74" y="81"/>
                      <a:pt x="74" y="82"/>
                      <a:pt x="75" y="83"/>
                    </a:cubicBezTo>
                    <a:cubicBezTo>
                      <a:pt x="75" y="83"/>
                      <a:pt x="75" y="84"/>
                      <a:pt x="75" y="84"/>
                    </a:cubicBezTo>
                    <a:cubicBezTo>
                      <a:pt x="76" y="84"/>
                      <a:pt x="77" y="84"/>
                      <a:pt x="77" y="84"/>
                    </a:cubicBezTo>
                    <a:cubicBezTo>
                      <a:pt x="79" y="85"/>
                      <a:pt x="81" y="85"/>
                      <a:pt x="82" y="85"/>
                    </a:cubicBezTo>
                    <a:cubicBezTo>
                      <a:pt x="84" y="86"/>
                      <a:pt x="86" y="87"/>
                      <a:pt x="88" y="88"/>
                    </a:cubicBezTo>
                    <a:cubicBezTo>
                      <a:pt x="91" y="86"/>
                      <a:pt x="91" y="86"/>
                      <a:pt x="91" y="86"/>
                    </a:cubicBezTo>
                    <a:cubicBezTo>
                      <a:pt x="91" y="86"/>
                      <a:pt x="91" y="86"/>
                      <a:pt x="92" y="85"/>
                    </a:cubicBezTo>
                    <a:cubicBezTo>
                      <a:pt x="92" y="85"/>
                      <a:pt x="92" y="85"/>
                      <a:pt x="92" y="85"/>
                    </a:cubicBezTo>
                    <a:cubicBezTo>
                      <a:pt x="93" y="85"/>
                      <a:pt x="93" y="85"/>
                      <a:pt x="94" y="85"/>
                    </a:cubicBezTo>
                    <a:cubicBezTo>
                      <a:pt x="94" y="85"/>
                      <a:pt x="94" y="85"/>
                      <a:pt x="94" y="85"/>
                    </a:cubicBezTo>
                    <a:cubicBezTo>
                      <a:pt x="95" y="85"/>
                      <a:pt x="95" y="85"/>
                      <a:pt x="95" y="85"/>
                    </a:cubicBezTo>
                    <a:cubicBezTo>
                      <a:pt x="95" y="85"/>
                      <a:pt x="95" y="85"/>
                      <a:pt x="95" y="85"/>
                    </a:cubicBezTo>
                    <a:cubicBezTo>
                      <a:pt x="96" y="85"/>
                      <a:pt x="96" y="85"/>
                      <a:pt x="96" y="85"/>
                    </a:cubicBezTo>
                    <a:cubicBezTo>
                      <a:pt x="102" y="87"/>
                      <a:pt x="102" y="87"/>
                      <a:pt x="102" y="87"/>
                    </a:cubicBezTo>
                    <a:cubicBezTo>
                      <a:pt x="103" y="87"/>
                      <a:pt x="103" y="87"/>
                      <a:pt x="103" y="87"/>
                    </a:cubicBezTo>
                    <a:cubicBezTo>
                      <a:pt x="103" y="86"/>
                      <a:pt x="104" y="85"/>
                      <a:pt x="105" y="85"/>
                    </a:cubicBezTo>
                    <a:cubicBezTo>
                      <a:pt x="104" y="79"/>
                      <a:pt x="104" y="79"/>
                      <a:pt x="104" y="79"/>
                    </a:cubicBezTo>
                    <a:cubicBezTo>
                      <a:pt x="107" y="84"/>
                      <a:pt x="107" y="84"/>
                      <a:pt x="107" y="84"/>
                    </a:cubicBezTo>
                    <a:cubicBezTo>
                      <a:pt x="108" y="84"/>
                      <a:pt x="110" y="83"/>
                      <a:pt x="111" y="83"/>
                    </a:cubicBezTo>
                    <a:cubicBezTo>
                      <a:pt x="113" y="83"/>
                      <a:pt x="114" y="84"/>
                      <a:pt x="115" y="84"/>
                    </a:cubicBezTo>
                    <a:cubicBezTo>
                      <a:pt x="116" y="84"/>
                      <a:pt x="116" y="84"/>
                      <a:pt x="116" y="84"/>
                    </a:cubicBezTo>
                    <a:cubicBezTo>
                      <a:pt x="117" y="85"/>
                      <a:pt x="117" y="85"/>
                      <a:pt x="117" y="85"/>
                    </a:cubicBezTo>
                    <a:cubicBezTo>
                      <a:pt x="118" y="85"/>
                      <a:pt x="118" y="85"/>
                      <a:pt x="118" y="85"/>
                    </a:cubicBezTo>
                    <a:cubicBezTo>
                      <a:pt x="120" y="86"/>
                      <a:pt x="123" y="87"/>
                      <a:pt x="125" y="88"/>
                    </a:cubicBezTo>
                    <a:cubicBezTo>
                      <a:pt x="126" y="89"/>
                      <a:pt x="128" y="90"/>
                      <a:pt x="128" y="93"/>
                    </a:cubicBezTo>
                    <a:cubicBezTo>
                      <a:pt x="129" y="94"/>
                      <a:pt x="129" y="94"/>
                      <a:pt x="129" y="95"/>
                    </a:cubicBezTo>
                    <a:cubicBezTo>
                      <a:pt x="129" y="95"/>
                      <a:pt x="129" y="96"/>
                      <a:pt x="129" y="97"/>
                    </a:cubicBezTo>
                    <a:cubicBezTo>
                      <a:pt x="129" y="98"/>
                      <a:pt x="129" y="98"/>
                      <a:pt x="129" y="98"/>
                    </a:cubicBezTo>
                    <a:cubicBezTo>
                      <a:pt x="129" y="98"/>
                      <a:pt x="130" y="98"/>
                      <a:pt x="130" y="99"/>
                    </a:cubicBezTo>
                    <a:cubicBezTo>
                      <a:pt x="131" y="99"/>
                      <a:pt x="132" y="99"/>
                      <a:pt x="133" y="100"/>
                    </a:cubicBezTo>
                    <a:cubicBezTo>
                      <a:pt x="134" y="100"/>
                      <a:pt x="134" y="100"/>
                      <a:pt x="134" y="100"/>
                    </a:cubicBezTo>
                    <a:cubicBezTo>
                      <a:pt x="136" y="101"/>
                      <a:pt x="139" y="101"/>
                      <a:pt x="141" y="103"/>
                    </a:cubicBezTo>
                    <a:cubicBezTo>
                      <a:pt x="145" y="96"/>
                      <a:pt x="145" y="96"/>
                      <a:pt x="145" y="96"/>
                    </a:cubicBezTo>
                    <a:cubicBezTo>
                      <a:pt x="143" y="104"/>
                      <a:pt x="143" y="104"/>
                      <a:pt x="143" y="104"/>
                    </a:cubicBezTo>
                    <a:cubicBezTo>
                      <a:pt x="143" y="104"/>
                      <a:pt x="143" y="104"/>
                      <a:pt x="143" y="104"/>
                    </a:cubicBezTo>
                    <a:cubicBezTo>
                      <a:pt x="144" y="104"/>
                      <a:pt x="144" y="105"/>
                      <a:pt x="145" y="105"/>
                    </a:cubicBezTo>
                    <a:cubicBezTo>
                      <a:pt x="145" y="106"/>
                      <a:pt x="145" y="106"/>
                      <a:pt x="145" y="106"/>
                    </a:cubicBezTo>
                    <a:cubicBezTo>
                      <a:pt x="146" y="106"/>
                      <a:pt x="146" y="106"/>
                      <a:pt x="146" y="106"/>
                    </a:cubicBezTo>
                    <a:cubicBezTo>
                      <a:pt x="146" y="106"/>
                      <a:pt x="146" y="106"/>
                      <a:pt x="146" y="106"/>
                    </a:cubicBezTo>
                    <a:cubicBezTo>
                      <a:pt x="146" y="106"/>
                      <a:pt x="146" y="106"/>
                      <a:pt x="147" y="106"/>
                    </a:cubicBezTo>
                    <a:cubicBezTo>
                      <a:pt x="148" y="106"/>
                      <a:pt x="148" y="106"/>
                      <a:pt x="148" y="106"/>
                    </a:cubicBezTo>
                    <a:cubicBezTo>
                      <a:pt x="149" y="105"/>
                      <a:pt x="150" y="105"/>
                      <a:pt x="151" y="104"/>
                    </a:cubicBezTo>
                    <a:cubicBezTo>
                      <a:pt x="152" y="104"/>
                      <a:pt x="152" y="104"/>
                      <a:pt x="152" y="104"/>
                    </a:cubicBezTo>
                    <a:cubicBezTo>
                      <a:pt x="153" y="104"/>
                      <a:pt x="153" y="104"/>
                      <a:pt x="154" y="104"/>
                    </a:cubicBezTo>
                    <a:cubicBezTo>
                      <a:pt x="154" y="104"/>
                      <a:pt x="154" y="104"/>
                      <a:pt x="154" y="104"/>
                    </a:cubicBezTo>
                    <a:cubicBezTo>
                      <a:pt x="156" y="104"/>
                      <a:pt x="156" y="104"/>
                      <a:pt x="156" y="104"/>
                    </a:cubicBezTo>
                    <a:cubicBezTo>
                      <a:pt x="157" y="105"/>
                      <a:pt x="157" y="105"/>
                      <a:pt x="157" y="105"/>
                    </a:cubicBezTo>
                    <a:cubicBezTo>
                      <a:pt x="157" y="105"/>
                      <a:pt x="158" y="105"/>
                      <a:pt x="158" y="106"/>
                    </a:cubicBezTo>
                    <a:cubicBezTo>
                      <a:pt x="158" y="106"/>
                      <a:pt x="158" y="106"/>
                      <a:pt x="158" y="106"/>
                    </a:cubicBezTo>
                    <a:cubicBezTo>
                      <a:pt x="159" y="107"/>
                      <a:pt x="159" y="107"/>
                      <a:pt x="159" y="107"/>
                    </a:cubicBezTo>
                    <a:cubicBezTo>
                      <a:pt x="160" y="108"/>
                      <a:pt x="160" y="109"/>
                      <a:pt x="161" y="110"/>
                    </a:cubicBezTo>
                    <a:cubicBezTo>
                      <a:pt x="161" y="110"/>
                      <a:pt x="162" y="111"/>
                      <a:pt x="162" y="112"/>
                    </a:cubicBezTo>
                    <a:cubicBezTo>
                      <a:pt x="162" y="112"/>
                      <a:pt x="163" y="112"/>
                      <a:pt x="163" y="112"/>
                    </a:cubicBezTo>
                    <a:cubicBezTo>
                      <a:pt x="164" y="112"/>
                      <a:pt x="164" y="112"/>
                      <a:pt x="165" y="112"/>
                    </a:cubicBezTo>
                    <a:cubicBezTo>
                      <a:pt x="166" y="111"/>
                      <a:pt x="166" y="111"/>
                      <a:pt x="166" y="111"/>
                    </a:cubicBezTo>
                    <a:cubicBezTo>
                      <a:pt x="167" y="111"/>
                      <a:pt x="167" y="111"/>
                      <a:pt x="168" y="111"/>
                    </a:cubicBezTo>
                    <a:cubicBezTo>
                      <a:pt x="168" y="111"/>
                      <a:pt x="169" y="111"/>
                      <a:pt x="169" y="111"/>
                    </a:cubicBezTo>
                    <a:cubicBezTo>
                      <a:pt x="170" y="111"/>
                      <a:pt x="171" y="111"/>
                      <a:pt x="172" y="111"/>
                    </a:cubicBezTo>
                    <a:cubicBezTo>
                      <a:pt x="173" y="111"/>
                      <a:pt x="173" y="111"/>
                      <a:pt x="173" y="111"/>
                    </a:cubicBezTo>
                    <a:cubicBezTo>
                      <a:pt x="174" y="112"/>
                      <a:pt x="176" y="112"/>
                      <a:pt x="177" y="112"/>
                    </a:cubicBezTo>
                    <a:cubicBezTo>
                      <a:pt x="178" y="113"/>
                      <a:pt x="179" y="113"/>
                      <a:pt x="180" y="114"/>
                    </a:cubicBezTo>
                    <a:cubicBezTo>
                      <a:pt x="184" y="115"/>
                      <a:pt x="184" y="115"/>
                      <a:pt x="184" y="115"/>
                    </a:cubicBezTo>
                    <a:cubicBezTo>
                      <a:pt x="184" y="73"/>
                      <a:pt x="184" y="73"/>
                      <a:pt x="184" y="73"/>
                    </a:cubicBezTo>
                    <a:cubicBezTo>
                      <a:pt x="183" y="74"/>
                      <a:pt x="181" y="76"/>
                      <a:pt x="178" y="76"/>
                    </a:cubicBezTo>
                    <a:cubicBezTo>
                      <a:pt x="178" y="76"/>
                      <a:pt x="177" y="76"/>
                      <a:pt x="176" y="76"/>
                    </a:cubicBezTo>
                    <a:cubicBezTo>
                      <a:pt x="175" y="76"/>
                      <a:pt x="175" y="76"/>
                      <a:pt x="175" y="76"/>
                    </a:cubicBezTo>
                    <a:cubicBezTo>
                      <a:pt x="173" y="75"/>
                      <a:pt x="172" y="75"/>
                      <a:pt x="170" y="74"/>
                    </a:cubicBezTo>
                    <a:cubicBezTo>
                      <a:pt x="170" y="74"/>
                      <a:pt x="170" y="74"/>
                      <a:pt x="170" y="74"/>
                    </a:cubicBezTo>
                    <a:cubicBezTo>
                      <a:pt x="167" y="82"/>
                      <a:pt x="167" y="82"/>
                      <a:pt x="167" y="82"/>
                    </a:cubicBezTo>
                    <a:cubicBezTo>
                      <a:pt x="161" y="75"/>
                      <a:pt x="161" y="75"/>
                      <a:pt x="161" y="75"/>
                    </a:cubicBezTo>
                    <a:cubicBezTo>
                      <a:pt x="160" y="72"/>
                      <a:pt x="158" y="70"/>
                      <a:pt x="156" y="68"/>
                    </a:cubicBezTo>
                    <a:cubicBezTo>
                      <a:pt x="156" y="67"/>
                      <a:pt x="156" y="67"/>
                      <a:pt x="156" y="67"/>
                    </a:cubicBezTo>
                    <a:cubicBezTo>
                      <a:pt x="156" y="67"/>
                      <a:pt x="155" y="67"/>
                      <a:pt x="155" y="66"/>
                    </a:cubicBezTo>
                    <a:cubicBezTo>
                      <a:pt x="155" y="66"/>
                      <a:pt x="155" y="66"/>
                      <a:pt x="155" y="66"/>
                    </a:cubicBezTo>
                    <a:cubicBezTo>
                      <a:pt x="154" y="65"/>
                      <a:pt x="153" y="65"/>
                      <a:pt x="152" y="65"/>
                    </a:cubicBezTo>
                    <a:cubicBezTo>
                      <a:pt x="152" y="65"/>
                      <a:pt x="152" y="65"/>
                      <a:pt x="152" y="65"/>
                    </a:cubicBezTo>
                    <a:cubicBezTo>
                      <a:pt x="151" y="65"/>
                      <a:pt x="150" y="65"/>
                      <a:pt x="148" y="65"/>
                    </a:cubicBezTo>
                    <a:cubicBezTo>
                      <a:pt x="148" y="65"/>
                      <a:pt x="148" y="65"/>
                      <a:pt x="148" y="65"/>
                    </a:cubicBezTo>
                    <a:cubicBezTo>
                      <a:pt x="147" y="65"/>
                      <a:pt x="146" y="66"/>
                      <a:pt x="145" y="66"/>
                    </a:cubicBezTo>
                    <a:cubicBezTo>
                      <a:pt x="144" y="66"/>
                      <a:pt x="143" y="66"/>
                      <a:pt x="143" y="66"/>
                    </a:cubicBezTo>
                    <a:cubicBezTo>
                      <a:pt x="142" y="66"/>
                      <a:pt x="141" y="66"/>
                      <a:pt x="141" y="66"/>
                    </a:cubicBezTo>
                    <a:cubicBezTo>
                      <a:pt x="139" y="65"/>
                      <a:pt x="137" y="64"/>
                      <a:pt x="137" y="63"/>
                    </a:cubicBezTo>
                    <a:cubicBezTo>
                      <a:pt x="135" y="61"/>
                      <a:pt x="136" y="59"/>
                      <a:pt x="136" y="58"/>
                    </a:cubicBezTo>
                    <a:cubicBezTo>
                      <a:pt x="135" y="58"/>
                      <a:pt x="135" y="58"/>
                      <a:pt x="134" y="58"/>
                    </a:cubicBezTo>
                    <a:cubicBezTo>
                      <a:pt x="133" y="58"/>
                      <a:pt x="132" y="58"/>
                      <a:pt x="132" y="58"/>
                    </a:cubicBezTo>
                    <a:cubicBezTo>
                      <a:pt x="130" y="58"/>
                      <a:pt x="128" y="57"/>
                      <a:pt x="127" y="56"/>
                    </a:cubicBezTo>
                    <a:cubicBezTo>
                      <a:pt x="125" y="56"/>
                      <a:pt x="124" y="55"/>
                      <a:pt x="123" y="54"/>
                    </a:cubicBezTo>
                    <a:cubicBezTo>
                      <a:pt x="122" y="54"/>
                      <a:pt x="122" y="54"/>
                      <a:pt x="122" y="54"/>
                    </a:cubicBezTo>
                    <a:cubicBezTo>
                      <a:pt x="122" y="53"/>
                      <a:pt x="121" y="53"/>
                      <a:pt x="120" y="52"/>
                    </a:cubicBezTo>
                    <a:cubicBezTo>
                      <a:pt x="119" y="51"/>
                      <a:pt x="119" y="51"/>
                      <a:pt x="119" y="51"/>
                    </a:cubicBezTo>
                    <a:cubicBezTo>
                      <a:pt x="118" y="51"/>
                      <a:pt x="117" y="50"/>
                      <a:pt x="116" y="50"/>
                    </a:cubicBezTo>
                    <a:cubicBezTo>
                      <a:pt x="116" y="49"/>
                      <a:pt x="116" y="49"/>
                      <a:pt x="116" y="49"/>
                    </a:cubicBezTo>
                    <a:cubicBezTo>
                      <a:pt x="114" y="49"/>
                      <a:pt x="111" y="46"/>
                      <a:pt x="111" y="41"/>
                    </a:cubicBezTo>
                    <a:cubicBezTo>
                      <a:pt x="110" y="40"/>
                      <a:pt x="110" y="40"/>
                      <a:pt x="110" y="40"/>
                    </a:cubicBezTo>
                    <a:cubicBezTo>
                      <a:pt x="109" y="39"/>
                      <a:pt x="109" y="38"/>
                      <a:pt x="109" y="37"/>
                    </a:cubicBezTo>
                    <a:cubicBezTo>
                      <a:pt x="109" y="37"/>
                      <a:pt x="109" y="37"/>
                      <a:pt x="109" y="37"/>
                    </a:cubicBezTo>
                    <a:cubicBezTo>
                      <a:pt x="107" y="37"/>
                      <a:pt x="104" y="38"/>
                      <a:pt x="102" y="38"/>
                    </a:cubicBezTo>
                    <a:cubicBezTo>
                      <a:pt x="101" y="39"/>
                      <a:pt x="101" y="39"/>
                      <a:pt x="101" y="39"/>
                    </a:cubicBezTo>
                    <a:cubicBezTo>
                      <a:pt x="100" y="39"/>
                      <a:pt x="99" y="39"/>
                      <a:pt x="99" y="39"/>
                    </a:cubicBezTo>
                    <a:cubicBezTo>
                      <a:pt x="95" y="39"/>
                      <a:pt x="94" y="37"/>
                      <a:pt x="92" y="34"/>
                    </a:cubicBezTo>
                    <a:cubicBezTo>
                      <a:pt x="91" y="34"/>
                      <a:pt x="91" y="34"/>
                      <a:pt x="91" y="34"/>
                    </a:cubicBezTo>
                    <a:cubicBezTo>
                      <a:pt x="91" y="34"/>
                      <a:pt x="91" y="33"/>
                      <a:pt x="91" y="33"/>
                    </a:cubicBezTo>
                    <a:cubicBezTo>
                      <a:pt x="90" y="33"/>
                      <a:pt x="90" y="33"/>
                      <a:pt x="90" y="33"/>
                    </a:cubicBezTo>
                    <a:cubicBezTo>
                      <a:pt x="89" y="31"/>
                      <a:pt x="88" y="30"/>
                      <a:pt x="87" y="28"/>
                    </a:cubicBezTo>
                    <a:cubicBezTo>
                      <a:pt x="87" y="28"/>
                      <a:pt x="87" y="28"/>
                      <a:pt x="87" y="28"/>
                    </a:cubicBezTo>
                    <a:cubicBezTo>
                      <a:pt x="87" y="28"/>
                      <a:pt x="87" y="28"/>
                      <a:pt x="87" y="28"/>
                    </a:cubicBezTo>
                    <a:cubicBezTo>
                      <a:pt x="86" y="27"/>
                      <a:pt x="86" y="27"/>
                      <a:pt x="86" y="27"/>
                    </a:cubicBezTo>
                    <a:cubicBezTo>
                      <a:pt x="85" y="27"/>
                      <a:pt x="85" y="26"/>
                      <a:pt x="84" y="26"/>
                    </a:cubicBezTo>
                    <a:cubicBezTo>
                      <a:pt x="84" y="25"/>
                      <a:pt x="84" y="25"/>
                      <a:pt x="84" y="25"/>
                    </a:cubicBezTo>
                    <a:cubicBezTo>
                      <a:pt x="82" y="32"/>
                      <a:pt x="82" y="32"/>
                      <a:pt x="82" y="32"/>
                    </a:cubicBezTo>
                    <a:cubicBezTo>
                      <a:pt x="82" y="25"/>
                      <a:pt x="82" y="25"/>
                      <a:pt x="82" y="25"/>
                    </a:cubicBezTo>
                    <a:cubicBezTo>
                      <a:pt x="81" y="25"/>
                      <a:pt x="81" y="25"/>
                      <a:pt x="81" y="25"/>
                    </a:cubicBezTo>
                    <a:cubicBezTo>
                      <a:pt x="80" y="25"/>
                      <a:pt x="80" y="24"/>
                      <a:pt x="79" y="24"/>
                    </a:cubicBezTo>
                    <a:cubicBezTo>
                      <a:pt x="79" y="24"/>
                      <a:pt x="79" y="24"/>
                      <a:pt x="79" y="24"/>
                    </a:cubicBezTo>
                    <a:cubicBezTo>
                      <a:pt x="76" y="24"/>
                      <a:pt x="74" y="23"/>
                      <a:pt x="71" y="21"/>
                    </a:cubicBezTo>
                    <a:cubicBezTo>
                      <a:pt x="70" y="20"/>
                      <a:pt x="70" y="20"/>
                      <a:pt x="70" y="20"/>
                    </a:cubicBezTo>
                    <a:cubicBezTo>
                      <a:pt x="68" y="19"/>
                      <a:pt x="67" y="17"/>
                      <a:pt x="66" y="16"/>
                    </a:cubicBezTo>
                    <a:cubicBezTo>
                      <a:pt x="65" y="15"/>
                      <a:pt x="64" y="15"/>
                      <a:pt x="64" y="15"/>
                    </a:cubicBezTo>
                    <a:cubicBezTo>
                      <a:pt x="62" y="14"/>
                      <a:pt x="62" y="14"/>
                      <a:pt x="62" y="14"/>
                    </a:cubicBezTo>
                    <a:cubicBezTo>
                      <a:pt x="61" y="13"/>
                      <a:pt x="60" y="13"/>
                      <a:pt x="59" y="13"/>
                    </a:cubicBezTo>
                    <a:cubicBezTo>
                      <a:pt x="56" y="12"/>
                      <a:pt x="55" y="11"/>
                      <a:pt x="53" y="10"/>
                    </a:cubicBezTo>
                    <a:cubicBezTo>
                      <a:pt x="53" y="9"/>
                      <a:pt x="53" y="9"/>
                      <a:pt x="53" y="9"/>
                    </a:cubicBezTo>
                    <a:cubicBezTo>
                      <a:pt x="52" y="7"/>
                      <a:pt x="51" y="6"/>
                      <a:pt x="51" y="5"/>
                    </a:cubicBezTo>
                    <a:cubicBezTo>
                      <a:pt x="50" y="4"/>
                      <a:pt x="50" y="2"/>
                      <a:pt x="49" y="2"/>
                    </a:cubicBezTo>
                    <a:cubicBezTo>
                      <a:pt x="49" y="2"/>
                      <a:pt x="45" y="1"/>
                      <a:pt x="41" y="1"/>
                    </a:cubicBezTo>
                    <a:cubicBezTo>
                      <a:pt x="40" y="1"/>
                      <a:pt x="40" y="1"/>
                      <a:pt x="40" y="1"/>
                    </a:cubicBezTo>
                    <a:cubicBezTo>
                      <a:pt x="40"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2" name="Rectangle 350">
                <a:extLst>
                  <a:ext uri="{FF2B5EF4-FFF2-40B4-BE49-F238E27FC236}">
                    <a16:creationId xmlns:a16="http://schemas.microsoft.com/office/drawing/2014/main" id="{2D43028F-2419-4867-8588-4992ACEEBD0C}"/>
                  </a:ext>
                </a:extLst>
              </p:cNvPr>
              <p:cNvSpPr>
                <a:spLocks noChangeArrowheads="1"/>
              </p:cNvSpPr>
              <p:nvPr/>
            </p:nvSpPr>
            <p:spPr bwMode="auto">
              <a:xfrm>
                <a:off x="11707612" y="6102552"/>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3" name="Freeform 351">
                <a:extLst>
                  <a:ext uri="{FF2B5EF4-FFF2-40B4-BE49-F238E27FC236}">
                    <a16:creationId xmlns:a16="http://schemas.microsoft.com/office/drawing/2014/main" id="{D6CD6AF1-7D68-4DF5-A6CA-A0A287AA272B}"/>
                  </a:ext>
                </a:extLst>
              </p:cNvPr>
              <p:cNvSpPr>
                <a:spLocks/>
              </p:cNvSpPr>
              <p:nvPr/>
            </p:nvSpPr>
            <p:spPr bwMode="auto">
              <a:xfrm>
                <a:off x="11707612" y="610255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4" name="Freeform 352">
                <a:extLst>
                  <a:ext uri="{FF2B5EF4-FFF2-40B4-BE49-F238E27FC236}">
                    <a16:creationId xmlns:a16="http://schemas.microsoft.com/office/drawing/2014/main" id="{09928A97-A56F-4E8C-8E28-0499F1FFBBEE}"/>
                  </a:ext>
                </a:extLst>
              </p:cNvPr>
              <p:cNvSpPr>
                <a:spLocks/>
              </p:cNvSpPr>
              <p:nvPr/>
            </p:nvSpPr>
            <p:spPr bwMode="auto">
              <a:xfrm>
                <a:off x="10620503" y="4775911"/>
                <a:ext cx="961815" cy="405363"/>
              </a:xfrm>
              <a:custGeom>
                <a:avLst/>
                <a:gdLst>
                  <a:gd name="T0" fmla="*/ 124 w 303"/>
                  <a:gd name="T1" fmla="*/ 4 h 128"/>
                  <a:gd name="T2" fmla="*/ 115 w 303"/>
                  <a:gd name="T3" fmla="*/ 27 h 128"/>
                  <a:gd name="T4" fmla="*/ 78 w 303"/>
                  <a:gd name="T5" fmla="*/ 16 h 128"/>
                  <a:gd name="T6" fmla="*/ 57 w 303"/>
                  <a:gd name="T7" fmla="*/ 16 h 128"/>
                  <a:gd name="T8" fmla="*/ 51 w 303"/>
                  <a:gd name="T9" fmla="*/ 19 h 128"/>
                  <a:gd name="T10" fmla="*/ 47 w 303"/>
                  <a:gd name="T11" fmla="*/ 26 h 128"/>
                  <a:gd name="T12" fmla="*/ 50 w 303"/>
                  <a:gd name="T13" fmla="*/ 37 h 128"/>
                  <a:gd name="T14" fmla="*/ 30 w 303"/>
                  <a:gd name="T15" fmla="*/ 54 h 128"/>
                  <a:gd name="T16" fmla="*/ 42 w 303"/>
                  <a:gd name="T17" fmla="*/ 61 h 128"/>
                  <a:gd name="T18" fmla="*/ 58 w 303"/>
                  <a:gd name="T19" fmla="*/ 51 h 128"/>
                  <a:gd name="T20" fmla="*/ 76 w 303"/>
                  <a:gd name="T21" fmla="*/ 61 h 128"/>
                  <a:gd name="T22" fmla="*/ 85 w 303"/>
                  <a:gd name="T23" fmla="*/ 68 h 128"/>
                  <a:gd name="T24" fmla="*/ 106 w 303"/>
                  <a:gd name="T25" fmla="*/ 74 h 128"/>
                  <a:gd name="T26" fmla="*/ 104 w 303"/>
                  <a:gd name="T27" fmla="*/ 84 h 128"/>
                  <a:gd name="T28" fmla="*/ 97 w 303"/>
                  <a:gd name="T29" fmla="*/ 87 h 128"/>
                  <a:gd name="T30" fmla="*/ 88 w 303"/>
                  <a:gd name="T31" fmla="*/ 92 h 128"/>
                  <a:gd name="T32" fmla="*/ 78 w 303"/>
                  <a:gd name="T33" fmla="*/ 95 h 128"/>
                  <a:gd name="T34" fmla="*/ 57 w 303"/>
                  <a:gd name="T35" fmla="*/ 100 h 128"/>
                  <a:gd name="T36" fmla="*/ 52 w 303"/>
                  <a:gd name="T37" fmla="*/ 99 h 128"/>
                  <a:gd name="T38" fmla="*/ 44 w 303"/>
                  <a:gd name="T39" fmla="*/ 101 h 128"/>
                  <a:gd name="T40" fmla="*/ 38 w 303"/>
                  <a:gd name="T41" fmla="*/ 106 h 128"/>
                  <a:gd name="T42" fmla="*/ 34 w 303"/>
                  <a:gd name="T43" fmla="*/ 109 h 128"/>
                  <a:gd name="T44" fmla="*/ 29 w 303"/>
                  <a:gd name="T45" fmla="*/ 111 h 128"/>
                  <a:gd name="T46" fmla="*/ 8 w 303"/>
                  <a:gd name="T47" fmla="*/ 104 h 128"/>
                  <a:gd name="T48" fmla="*/ 2 w 303"/>
                  <a:gd name="T49" fmla="*/ 110 h 128"/>
                  <a:gd name="T50" fmla="*/ 44 w 303"/>
                  <a:gd name="T51" fmla="*/ 121 h 128"/>
                  <a:gd name="T52" fmla="*/ 57 w 303"/>
                  <a:gd name="T53" fmla="*/ 116 h 128"/>
                  <a:gd name="T54" fmla="*/ 70 w 303"/>
                  <a:gd name="T55" fmla="*/ 126 h 128"/>
                  <a:gd name="T56" fmla="*/ 96 w 303"/>
                  <a:gd name="T57" fmla="*/ 123 h 128"/>
                  <a:gd name="T58" fmla="*/ 117 w 303"/>
                  <a:gd name="T59" fmla="*/ 120 h 128"/>
                  <a:gd name="T60" fmla="*/ 124 w 303"/>
                  <a:gd name="T61" fmla="*/ 117 h 128"/>
                  <a:gd name="T62" fmla="*/ 126 w 303"/>
                  <a:gd name="T63" fmla="*/ 107 h 128"/>
                  <a:gd name="T64" fmla="*/ 151 w 303"/>
                  <a:gd name="T65" fmla="*/ 93 h 128"/>
                  <a:gd name="T66" fmla="*/ 155 w 303"/>
                  <a:gd name="T67" fmla="*/ 85 h 128"/>
                  <a:gd name="T68" fmla="*/ 167 w 303"/>
                  <a:gd name="T69" fmla="*/ 84 h 128"/>
                  <a:gd name="T70" fmla="*/ 175 w 303"/>
                  <a:gd name="T71" fmla="*/ 81 h 128"/>
                  <a:gd name="T72" fmla="*/ 181 w 303"/>
                  <a:gd name="T73" fmla="*/ 92 h 128"/>
                  <a:gd name="T74" fmla="*/ 188 w 303"/>
                  <a:gd name="T75" fmla="*/ 89 h 128"/>
                  <a:gd name="T76" fmla="*/ 197 w 303"/>
                  <a:gd name="T77" fmla="*/ 89 h 128"/>
                  <a:gd name="T78" fmla="*/ 202 w 303"/>
                  <a:gd name="T79" fmla="*/ 78 h 128"/>
                  <a:gd name="T80" fmla="*/ 230 w 303"/>
                  <a:gd name="T81" fmla="*/ 65 h 128"/>
                  <a:gd name="T82" fmla="*/ 251 w 303"/>
                  <a:gd name="T83" fmla="*/ 61 h 128"/>
                  <a:gd name="T84" fmla="*/ 263 w 303"/>
                  <a:gd name="T85" fmla="*/ 50 h 128"/>
                  <a:gd name="T86" fmla="*/ 302 w 303"/>
                  <a:gd name="T87" fmla="*/ 35 h 128"/>
                  <a:gd name="T88" fmla="*/ 302 w 303"/>
                  <a:gd name="T89" fmla="*/ 32 h 128"/>
                  <a:gd name="T90" fmla="*/ 290 w 303"/>
                  <a:gd name="T91" fmla="*/ 26 h 128"/>
                  <a:gd name="T92" fmla="*/ 275 w 303"/>
                  <a:gd name="T93" fmla="*/ 14 h 128"/>
                  <a:gd name="T94" fmla="*/ 259 w 303"/>
                  <a:gd name="T95" fmla="*/ 12 h 128"/>
                  <a:gd name="T96" fmla="*/ 248 w 303"/>
                  <a:gd name="T97" fmla="*/ 12 h 128"/>
                  <a:gd name="T98" fmla="*/ 227 w 303"/>
                  <a:gd name="T99" fmla="*/ 10 h 128"/>
                  <a:gd name="T100" fmla="*/ 197 w 303"/>
                  <a:gd name="T101" fmla="*/ 9 h 128"/>
                  <a:gd name="T102" fmla="*/ 169 w 303"/>
                  <a:gd name="T103" fmla="*/ 12 h 128"/>
                  <a:gd name="T104" fmla="*/ 155 w 303"/>
                  <a:gd name="T105" fmla="*/ 9 h 128"/>
                  <a:gd name="T106" fmla="*/ 142 w 303"/>
                  <a:gd name="T107"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3" h="128">
                    <a:moveTo>
                      <a:pt x="133" y="0"/>
                    </a:moveTo>
                    <a:cubicBezTo>
                      <a:pt x="131" y="1"/>
                      <a:pt x="128" y="1"/>
                      <a:pt x="126" y="3"/>
                    </a:cubicBezTo>
                    <a:cubicBezTo>
                      <a:pt x="126" y="3"/>
                      <a:pt x="126" y="3"/>
                      <a:pt x="126" y="3"/>
                    </a:cubicBezTo>
                    <a:cubicBezTo>
                      <a:pt x="124" y="4"/>
                      <a:pt x="124" y="4"/>
                      <a:pt x="124" y="4"/>
                    </a:cubicBezTo>
                    <a:cubicBezTo>
                      <a:pt x="124" y="4"/>
                      <a:pt x="124" y="4"/>
                      <a:pt x="124" y="4"/>
                    </a:cubicBezTo>
                    <a:cubicBezTo>
                      <a:pt x="118" y="6"/>
                      <a:pt x="117" y="13"/>
                      <a:pt x="118" y="18"/>
                    </a:cubicBezTo>
                    <a:cubicBezTo>
                      <a:pt x="118" y="18"/>
                      <a:pt x="118" y="19"/>
                      <a:pt x="118" y="19"/>
                    </a:cubicBezTo>
                    <a:cubicBezTo>
                      <a:pt x="118" y="20"/>
                      <a:pt x="119" y="21"/>
                      <a:pt x="119" y="22"/>
                    </a:cubicBezTo>
                    <a:cubicBezTo>
                      <a:pt x="124" y="30"/>
                      <a:pt x="124" y="30"/>
                      <a:pt x="124" y="30"/>
                    </a:cubicBezTo>
                    <a:cubicBezTo>
                      <a:pt x="115" y="27"/>
                      <a:pt x="115" y="27"/>
                      <a:pt x="115" y="27"/>
                    </a:cubicBezTo>
                    <a:cubicBezTo>
                      <a:pt x="111" y="26"/>
                      <a:pt x="107" y="24"/>
                      <a:pt x="103" y="23"/>
                    </a:cubicBezTo>
                    <a:cubicBezTo>
                      <a:pt x="96" y="21"/>
                      <a:pt x="90" y="19"/>
                      <a:pt x="83" y="17"/>
                    </a:cubicBezTo>
                    <a:cubicBezTo>
                      <a:pt x="82" y="17"/>
                      <a:pt x="81" y="16"/>
                      <a:pt x="80" y="16"/>
                    </a:cubicBezTo>
                    <a:cubicBezTo>
                      <a:pt x="79" y="16"/>
                      <a:pt x="79" y="16"/>
                      <a:pt x="79" y="16"/>
                    </a:cubicBezTo>
                    <a:cubicBezTo>
                      <a:pt x="78" y="16"/>
                      <a:pt x="78" y="16"/>
                      <a:pt x="78" y="16"/>
                    </a:cubicBezTo>
                    <a:cubicBezTo>
                      <a:pt x="77" y="16"/>
                      <a:pt x="77" y="16"/>
                      <a:pt x="76" y="16"/>
                    </a:cubicBezTo>
                    <a:cubicBezTo>
                      <a:pt x="62" y="16"/>
                      <a:pt x="62" y="16"/>
                      <a:pt x="62" y="16"/>
                    </a:cubicBezTo>
                    <a:cubicBezTo>
                      <a:pt x="62" y="16"/>
                      <a:pt x="62" y="16"/>
                      <a:pt x="62" y="16"/>
                    </a:cubicBezTo>
                    <a:cubicBezTo>
                      <a:pt x="61" y="16"/>
                      <a:pt x="61" y="16"/>
                      <a:pt x="60" y="16"/>
                    </a:cubicBezTo>
                    <a:cubicBezTo>
                      <a:pt x="59" y="16"/>
                      <a:pt x="58" y="16"/>
                      <a:pt x="57" y="16"/>
                    </a:cubicBezTo>
                    <a:cubicBezTo>
                      <a:pt x="56" y="16"/>
                      <a:pt x="56" y="16"/>
                      <a:pt x="56" y="16"/>
                    </a:cubicBezTo>
                    <a:cubicBezTo>
                      <a:pt x="56" y="16"/>
                      <a:pt x="56" y="16"/>
                      <a:pt x="56" y="16"/>
                    </a:cubicBezTo>
                    <a:cubicBezTo>
                      <a:pt x="56" y="16"/>
                      <a:pt x="56" y="16"/>
                      <a:pt x="56" y="16"/>
                    </a:cubicBezTo>
                    <a:cubicBezTo>
                      <a:pt x="55" y="17"/>
                      <a:pt x="53" y="18"/>
                      <a:pt x="53" y="19"/>
                    </a:cubicBezTo>
                    <a:cubicBezTo>
                      <a:pt x="51" y="19"/>
                      <a:pt x="51" y="19"/>
                      <a:pt x="51" y="19"/>
                    </a:cubicBezTo>
                    <a:cubicBezTo>
                      <a:pt x="52" y="19"/>
                      <a:pt x="52" y="19"/>
                      <a:pt x="52" y="19"/>
                    </a:cubicBezTo>
                    <a:cubicBezTo>
                      <a:pt x="52" y="20"/>
                      <a:pt x="51" y="21"/>
                      <a:pt x="51" y="21"/>
                    </a:cubicBezTo>
                    <a:cubicBezTo>
                      <a:pt x="49" y="23"/>
                      <a:pt x="49" y="23"/>
                      <a:pt x="49" y="23"/>
                    </a:cubicBezTo>
                    <a:cubicBezTo>
                      <a:pt x="48" y="24"/>
                      <a:pt x="47" y="25"/>
                      <a:pt x="46" y="26"/>
                    </a:cubicBezTo>
                    <a:cubicBezTo>
                      <a:pt x="47" y="26"/>
                      <a:pt x="47" y="26"/>
                      <a:pt x="47" y="26"/>
                    </a:cubicBezTo>
                    <a:cubicBezTo>
                      <a:pt x="47" y="26"/>
                      <a:pt x="47" y="26"/>
                      <a:pt x="47" y="26"/>
                    </a:cubicBezTo>
                    <a:cubicBezTo>
                      <a:pt x="47" y="26"/>
                      <a:pt x="48" y="27"/>
                      <a:pt x="50" y="27"/>
                    </a:cubicBezTo>
                    <a:cubicBezTo>
                      <a:pt x="51" y="27"/>
                      <a:pt x="52" y="27"/>
                      <a:pt x="53" y="28"/>
                    </a:cubicBezTo>
                    <a:cubicBezTo>
                      <a:pt x="61" y="29"/>
                      <a:pt x="61" y="29"/>
                      <a:pt x="61" y="29"/>
                    </a:cubicBezTo>
                    <a:cubicBezTo>
                      <a:pt x="50" y="37"/>
                      <a:pt x="50" y="37"/>
                      <a:pt x="50" y="37"/>
                    </a:cubicBezTo>
                    <a:cubicBezTo>
                      <a:pt x="45" y="39"/>
                      <a:pt x="33" y="47"/>
                      <a:pt x="27" y="52"/>
                    </a:cubicBezTo>
                    <a:cubicBezTo>
                      <a:pt x="27" y="52"/>
                      <a:pt x="27" y="52"/>
                      <a:pt x="27" y="52"/>
                    </a:cubicBezTo>
                    <a:cubicBezTo>
                      <a:pt x="27" y="52"/>
                      <a:pt x="28" y="52"/>
                      <a:pt x="28" y="52"/>
                    </a:cubicBezTo>
                    <a:cubicBezTo>
                      <a:pt x="29" y="53"/>
                      <a:pt x="29" y="53"/>
                      <a:pt x="29" y="53"/>
                    </a:cubicBezTo>
                    <a:cubicBezTo>
                      <a:pt x="29" y="53"/>
                      <a:pt x="30" y="53"/>
                      <a:pt x="30" y="54"/>
                    </a:cubicBezTo>
                    <a:cubicBezTo>
                      <a:pt x="38" y="51"/>
                      <a:pt x="38" y="51"/>
                      <a:pt x="38" y="51"/>
                    </a:cubicBezTo>
                    <a:cubicBezTo>
                      <a:pt x="39" y="55"/>
                      <a:pt x="39" y="55"/>
                      <a:pt x="39" y="55"/>
                    </a:cubicBezTo>
                    <a:cubicBezTo>
                      <a:pt x="39" y="56"/>
                      <a:pt x="39" y="56"/>
                      <a:pt x="39" y="57"/>
                    </a:cubicBezTo>
                    <a:cubicBezTo>
                      <a:pt x="40" y="59"/>
                      <a:pt x="40" y="60"/>
                      <a:pt x="41" y="60"/>
                    </a:cubicBezTo>
                    <a:cubicBezTo>
                      <a:pt x="41" y="60"/>
                      <a:pt x="41" y="61"/>
                      <a:pt x="42" y="61"/>
                    </a:cubicBezTo>
                    <a:cubicBezTo>
                      <a:pt x="45" y="62"/>
                      <a:pt x="49" y="63"/>
                      <a:pt x="53" y="63"/>
                    </a:cubicBezTo>
                    <a:cubicBezTo>
                      <a:pt x="53" y="62"/>
                      <a:pt x="53" y="61"/>
                      <a:pt x="54" y="59"/>
                    </a:cubicBezTo>
                    <a:cubicBezTo>
                      <a:pt x="55" y="55"/>
                      <a:pt x="55" y="55"/>
                      <a:pt x="55" y="55"/>
                    </a:cubicBezTo>
                    <a:cubicBezTo>
                      <a:pt x="58" y="57"/>
                      <a:pt x="58" y="57"/>
                      <a:pt x="58" y="57"/>
                    </a:cubicBezTo>
                    <a:cubicBezTo>
                      <a:pt x="58" y="51"/>
                      <a:pt x="58" y="51"/>
                      <a:pt x="58" y="51"/>
                    </a:cubicBezTo>
                    <a:cubicBezTo>
                      <a:pt x="63" y="52"/>
                      <a:pt x="63" y="52"/>
                      <a:pt x="63" y="52"/>
                    </a:cubicBezTo>
                    <a:cubicBezTo>
                      <a:pt x="69" y="54"/>
                      <a:pt x="71" y="57"/>
                      <a:pt x="73" y="61"/>
                    </a:cubicBezTo>
                    <a:cubicBezTo>
                      <a:pt x="74" y="62"/>
                      <a:pt x="74" y="62"/>
                      <a:pt x="74" y="62"/>
                    </a:cubicBezTo>
                    <a:cubicBezTo>
                      <a:pt x="74" y="62"/>
                      <a:pt x="74" y="62"/>
                      <a:pt x="74" y="62"/>
                    </a:cubicBezTo>
                    <a:cubicBezTo>
                      <a:pt x="74" y="62"/>
                      <a:pt x="75" y="61"/>
                      <a:pt x="76" y="61"/>
                    </a:cubicBezTo>
                    <a:cubicBezTo>
                      <a:pt x="77" y="61"/>
                      <a:pt x="78" y="62"/>
                      <a:pt x="80" y="62"/>
                    </a:cubicBezTo>
                    <a:cubicBezTo>
                      <a:pt x="81" y="64"/>
                      <a:pt x="81" y="65"/>
                      <a:pt x="81" y="68"/>
                    </a:cubicBezTo>
                    <a:cubicBezTo>
                      <a:pt x="82" y="68"/>
                      <a:pt x="82" y="68"/>
                      <a:pt x="83" y="68"/>
                    </a:cubicBezTo>
                    <a:cubicBezTo>
                      <a:pt x="85" y="61"/>
                      <a:pt x="85" y="61"/>
                      <a:pt x="85" y="61"/>
                    </a:cubicBezTo>
                    <a:cubicBezTo>
                      <a:pt x="85" y="68"/>
                      <a:pt x="85" y="68"/>
                      <a:pt x="85" y="68"/>
                    </a:cubicBezTo>
                    <a:cubicBezTo>
                      <a:pt x="87" y="69"/>
                      <a:pt x="87" y="69"/>
                      <a:pt x="87" y="69"/>
                    </a:cubicBezTo>
                    <a:cubicBezTo>
                      <a:pt x="88" y="69"/>
                      <a:pt x="89" y="70"/>
                      <a:pt x="90" y="70"/>
                    </a:cubicBezTo>
                    <a:cubicBezTo>
                      <a:pt x="91" y="71"/>
                      <a:pt x="92" y="72"/>
                      <a:pt x="92" y="73"/>
                    </a:cubicBezTo>
                    <a:cubicBezTo>
                      <a:pt x="94" y="73"/>
                      <a:pt x="98" y="73"/>
                      <a:pt x="101" y="73"/>
                    </a:cubicBezTo>
                    <a:cubicBezTo>
                      <a:pt x="103" y="73"/>
                      <a:pt x="104" y="74"/>
                      <a:pt x="106" y="74"/>
                    </a:cubicBezTo>
                    <a:cubicBezTo>
                      <a:pt x="110" y="74"/>
                      <a:pt x="110" y="74"/>
                      <a:pt x="110" y="74"/>
                    </a:cubicBezTo>
                    <a:cubicBezTo>
                      <a:pt x="109" y="78"/>
                      <a:pt x="109" y="78"/>
                      <a:pt x="109" y="78"/>
                    </a:cubicBezTo>
                    <a:cubicBezTo>
                      <a:pt x="108" y="80"/>
                      <a:pt x="107" y="81"/>
                      <a:pt x="106" y="82"/>
                    </a:cubicBezTo>
                    <a:cubicBezTo>
                      <a:pt x="105" y="82"/>
                      <a:pt x="105" y="82"/>
                      <a:pt x="105" y="82"/>
                    </a:cubicBezTo>
                    <a:cubicBezTo>
                      <a:pt x="105" y="83"/>
                      <a:pt x="104" y="83"/>
                      <a:pt x="104" y="84"/>
                    </a:cubicBezTo>
                    <a:cubicBezTo>
                      <a:pt x="102" y="84"/>
                      <a:pt x="101" y="85"/>
                      <a:pt x="100" y="85"/>
                    </a:cubicBezTo>
                    <a:cubicBezTo>
                      <a:pt x="99" y="85"/>
                      <a:pt x="99" y="85"/>
                      <a:pt x="99" y="85"/>
                    </a:cubicBezTo>
                    <a:cubicBezTo>
                      <a:pt x="98" y="86"/>
                      <a:pt x="98" y="86"/>
                      <a:pt x="98" y="86"/>
                    </a:cubicBezTo>
                    <a:cubicBezTo>
                      <a:pt x="98" y="86"/>
                      <a:pt x="98" y="86"/>
                      <a:pt x="98" y="86"/>
                    </a:cubicBezTo>
                    <a:cubicBezTo>
                      <a:pt x="98" y="86"/>
                      <a:pt x="97" y="87"/>
                      <a:pt x="97" y="87"/>
                    </a:cubicBezTo>
                    <a:cubicBezTo>
                      <a:pt x="96" y="89"/>
                      <a:pt x="95" y="91"/>
                      <a:pt x="92" y="92"/>
                    </a:cubicBezTo>
                    <a:cubicBezTo>
                      <a:pt x="92" y="92"/>
                      <a:pt x="92" y="92"/>
                      <a:pt x="92" y="92"/>
                    </a:cubicBezTo>
                    <a:cubicBezTo>
                      <a:pt x="91" y="92"/>
                      <a:pt x="91" y="92"/>
                      <a:pt x="90" y="92"/>
                    </a:cubicBezTo>
                    <a:cubicBezTo>
                      <a:pt x="89" y="92"/>
                      <a:pt x="88" y="91"/>
                      <a:pt x="88" y="91"/>
                    </a:cubicBezTo>
                    <a:cubicBezTo>
                      <a:pt x="88" y="92"/>
                      <a:pt x="88" y="92"/>
                      <a:pt x="88" y="92"/>
                    </a:cubicBezTo>
                    <a:cubicBezTo>
                      <a:pt x="89" y="98"/>
                      <a:pt x="89" y="98"/>
                      <a:pt x="89" y="98"/>
                    </a:cubicBezTo>
                    <a:cubicBezTo>
                      <a:pt x="82" y="96"/>
                      <a:pt x="82" y="96"/>
                      <a:pt x="82" y="96"/>
                    </a:cubicBezTo>
                    <a:cubicBezTo>
                      <a:pt x="81" y="95"/>
                      <a:pt x="79" y="94"/>
                      <a:pt x="78" y="94"/>
                    </a:cubicBezTo>
                    <a:cubicBezTo>
                      <a:pt x="78" y="95"/>
                      <a:pt x="78" y="95"/>
                      <a:pt x="78" y="95"/>
                    </a:cubicBezTo>
                    <a:cubicBezTo>
                      <a:pt x="78" y="95"/>
                      <a:pt x="78" y="95"/>
                      <a:pt x="78" y="95"/>
                    </a:cubicBezTo>
                    <a:cubicBezTo>
                      <a:pt x="77" y="98"/>
                      <a:pt x="76" y="99"/>
                      <a:pt x="74" y="101"/>
                    </a:cubicBezTo>
                    <a:cubicBezTo>
                      <a:pt x="72" y="101"/>
                      <a:pt x="72" y="101"/>
                      <a:pt x="72" y="101"/>
                    </a:cubicBezTo>
                    <a:cubicBezTo>
                      <a:pt x="70" y="102"/>
                      <a:pt x="68" y="103"/>
                      <a:pt x="65" y="103"/>
                    </a:cubicBezTo>
                    <a:cubicBezTo>
                      <a:pt x="63" y="103"/>
                      <a:pt x="62" y="103"/>
                      <a:pt x="59" y="102"/>
                    </a:cubicBezTo>
                    <a:cubicBezTo>
                      <a:pt x="59" y="101"/>
                      <a:pt x="58" y="101"/>
                      <a:pt x="57" y="100"/>
                    </a:cubicBezTo>
                    <a:cubicBezTo>
                      <a:pt x="56" y="100"/>
                      <a:pt x="56" y="100"/>
                      <a:pt x="56" y="100"/>
                    </a:cubicBezTo>
                    <a:cubicBezTo>
                      <a:pt x="55" y="100"/>
                      <a:pt x="54" y="99"/>
                      <a:pt x="54" y="99"/>
                    </a:cubicBezTo>
                    <a:cubicBezTo>
                      <a:pt x="54" y="99"/>
                      <a:pt x="54" y="99"/>
                      <a:pt x="54" y="99"/>
                    </a:cubicBezTo>
                    <a:cubicBezTo>
                      <a:pt x="54" y="99"/>
                      <a:pt x="53" y="99"/>
                      <a:pt x="53" y="99"/>
                    </a:cubicBezTo>
                    <a:cubicBezTo>
                      <a:pt x="53" y="99"/>
                      <a:pt x="52" y="99"/>
                      <a:pt x="52" y="99"/>
                    </a:cubicBezTo>
                    <a:cubicBezTo>
                      <a:pt x="51" y="99"/>
                      <a:pt x="51" y="99"/>
                      <a:pt x="50" y="99"/>
                    </a:cubicBezTo>
                    <a:cubicBezTo>
                      <a:pt x="49" y="99"/>
                      <a:pt x="48" y="99"/>
                      <a:pt x="48" y="100"/>
                    </a:cubicBezTo>
                    <a:cubicBezTo>
                      <a:pt x="47" y="100"/>
                      <a:pt x="47" y="100"/>
                      <a:pt x="47" y="100"/>
                    </a:cubicBezTo>
                    <a:cubicBezTo>
                      <a:pt x="46" y="100"/>
                      <a:pt x="46" y="100"/>
                      <a:pt x="46" y="100"/>
                    </a:cubicBezTo>
                    <a:cubicBezTo>
                      <a:pt x="44" y="101"/>
                      <a:pt x="44" y="101"/>
                      <a:pt x="44" y="101"/>
                    </a:cubicBezTo>
                    <a:cubicBezTo>
                      <a:pt x="42" y="103"/>
                      <a:pt x="42" y="103"/>
                      <a:pt x="42" y="103"/>
                    </a:cubicBezTo>
                    <a:cubicBezTo>
                      <a:pt x="41" y="104"/>
                      <a:pt x="41" y="104"/>
                      <a:pt x="41" y="104"/>
                    </a:cubicBezTo>
                    <a:cubicBezTo>
                      <a:pt x="40" y="104"/>
                      <a:pt x="40" y="104"/>
                      <a:pt x="40" y="104"/>
                    </a:cubicBezTo>
                    <a:cubicBezTo>
                      <a:pt x="40" y="105"/>
                      <a:pt x="39" y="105"/>
                      <a:pt x="38" y="106"/>
                    </a:cubicBezTo>
                    <a:cubicBezTo>
                      <a:pt x="38" y="106"/>
                      <a:pt x="38" y="106"/>
                      <a:pt x="38" y="106"/>
                    </a:cubicBezTo>
                    <a:cubicBezTo>
                      <a:pt x="38" y="106"/>
                      <a:pt x="38" y="106"/>
                      <a:pt x="38" y="106"/>
                    </a:cubicBezTo>
                    <a:cubicBezTo>
                      <a:pt x="37" y="107"/>
                      <a:pt x="37" y="107"/>
                      <a:pt x="36" y="107"/>
                    </a:cubicBezTo>
                    <a:cubicBezTo>
                      <a:pt x="35" y="108"/>
                      <a:pt x="35" y="108"/>
                      <a:pt x="35" y="108"/>
                    </a:cubicBezTo>
                    <a:cubicBezTo>
                      <a:pt x="35" y="109"/>
                      <a:pt x="34" y="109"/>
                      <a:pt x="34" y="109"/>
                    </a:cubicBezTo>
                    <a:cubicBezTo>
                      <a:pt x="34" y="109"/>
                      <a:pt x="34" y="109"/>
                      <a:pt x="34" y="109"/>
                    </a:cubicBezTo>
                    <a:cubicBezTo>
                      <a:pt x="33" y="110"/>
                      <a:pt x="33" y="110"/>
                      <a:pt x="33" y="110"/>
                    </a:cubicBezTo>
                    <a:cubicBezTo>
                      <a:pt x="33" y="110"/>
                      <a:pt x="33" y="110"/>
                      <a:pt x="33" y="110"/>
                    </a:cubicBezTo>
                    <a:cubicBezTo>
                      <a:pt x="33" y="110"/>
                      <a:pt x="33" y="110"/>
                      <a:pt x="33" y="110"/>
                    </a:cubicBezTo>
                    <a:cubicBezTo>
                      <a:pt x="32" y="111"/>
                      <a:pt x="32" y="111"/>
                      <a:pt x="32" y="111"/>
                    </a:cubicBezTo>
                    <a:cubicBezTo>
                      <a:pt x="30" y="111"/>
                      <a:pt x="30" y="111"/>
                      <a:pt x="29" y="111"/>
                    </a:cubicBezTo>
                    <a:cubicBezTo>
                      <a:pt x="26" y="111"/>
                      <a:pt x="26" y="111"/>
                      <a:pt x="26" y="111"/>
                    </a:cubicBezTo>
                    <a:cubicBezTo>
                      <a:pt x="25" y="108"/>
                      <a:pt x="25" y="108"/>
                      <a:pt x="25" y="108"/>
                    </a:cubicBezTo>
                    <a:cubicBezTo>
                      <a:pt x="25" y="107"/>
                      <a:pt x="26" y="107"/>
                      <a:pt x="26" y="106"/>
                    </a:cubicBezTo>
                    <a:cubicBezTo>
                      <a:pt x="22" y="104"/>
                      <a:pt x="17" y="102"/>
                      <a:pt x="14" y="102"/>
                    </a:cubicBezTo>
                    <a:cubicBezTo>
                      <a:pt x="13" y="102"/>
                      <a:pt x="11" y="103"/>
                      <a:pt x="8" y="104"/>
                    </a:cubicBezTo>
                    <a:cubicBezTo>
                      <a:pt x="8" y="104"/>
                      <a:pt x="8" y="104"/>
                      <a:pt x="8" y="104"/>
                    </a:cubicBezTo>
                    <a:cubicBezTo>
                      <a:pt x="7" y="104"/>
                      <a:pt x="6" y="105"/>
                      <a:pt x="5" y="105"/>
                    </a:cubicBezTo>
                    <a:cubicBezTo>
                      <a:pt x="5" y="105"/>
                      <a:pt x="5" y="105"/>
                      <a:pt x="5" y="105"/>
                    </a:cubicBezTo>
                    <a:cubicBezTo>
                      <a:pt x="5" y="105"/>
                      <a:pt x="4" y="105"/>
                      <a:pt x="3" y="108"/>
                    </a:cubicBezTo>
                    <a:cubicBezTo>
                      <a:pt x="2" y="109"/>
                      <a:pt x="2" y="109"/>
                      <a:pt x="2" y="110"/>
                    </a:cubicBezTo>
                    <a:cubicBezTo>
                      <a:pt x="0" y="112"/>
                      <a:pt x="0" y="112"/>
                      <a:pt x="0" y="112"/>
                    </a:cubicBezTo>
                    <a:cubicBezTo>
                      <a:pt x="0" y="118"/>
                      <a:pt x="0" y="118"/>
                      <a:pt x="0" y="118"/>
                    </a:cubicBezTo>
                    <a:cubicBezTo>
                      <a:pt x="5" y="117"/>
                      <a:pt x="10" y="117"/>
                      <a:pt x="15" y="117"/>
                    </a:cubicBezTo>
                    <a:cubicBezTo>
                      <a:pt x="20" y="117"/>
                      <a:pt x="25" y="117"/>
                      <a:pt x="29" y="118"/>
                    </a:cubicBezTo>
                    <a:cubicBezTo>
                      <a:pt x="35" y="119"/>
                      <a:pt x="39" y="120"/>
                      <a:pt x="44" y="121"/>
                    </a:cubicBezTo>
                    <a:cubicBezTo>
                      <a:pt x="45" y="116"/>
                      <a:pt x="45" y="116"/>
                      <a:pt x="45" y="116"/>
                    </a:cubicBezTo>
                    <a:cubicBezTo>
                      <a:pt x="46" y="122"/>
                      <a:pt x="46" y="122"/>
                      <a:pt x="46" y="122"/>
                    </a:cubicBezTo>
                    <a:cubicBezTo>
                      <a:pt x="47" y="121"/>
                      <a:pt x="51" y="119"/>
                      <a:pt x="53" y="118"/>
                    </a:cubicBezTo>
                    <a:cubicBezTo>
                      <a:pt x="54" y="118"/>
                      <a:pt x="54" y="118"/>
                      <a:pt x="54" y="118"/>
                    </a:cubicBezTo>
                    <a:cubicBezTo>
                      <a:pt x="56" y="117"/>
                      <a:pt x="57" y="116"/>
                      <a:pt x="57" y="116"/>
                    </a:cubicBezTo>
                    <a:cubicBezTo>
                      <a:pt x="62" y="114"/>
                      <a:pt x="62" y="114"/>
                      <a:pt x="62" y="114"/>
                    </a:cubicBezTo>
                    <a:cubicBezTo>
                      <a:pt x="62" y="120"/>
                      <a:pt x="62" y="120"/>
                      <a:pt x="62" y="120"/>
                    </a:cubicBezTo>
                    <a:cubicBezTo>
                      <a:pt x="62" y="120"/>
                      <a:pt x="62" y="120"/>
                      <a:pt x="62" y="120"/>
                    </a:cubicBezTo>
                    <a:cubicBezTo>
                      <a:pt x="68" y="120"/>
                      <a:pt x="69" y="125"/>
                      <a:pt x="69" y="126"/>
                    </a:cubicBezTo>
                    <a:cubicBezTo>
                      <a:pt x="70" y="126"/>
                      <a:pt x="70" y="126"/>
                      <a:pt x="70" y="126"/>
                    </a:cubicBezTo>
                    <a:cubicBezTo>
                      <a:pt x="71" y="126"/>
                      <a:pt x="71" y="126"/>
                      <a:pt x="71" y="126"/>
                    </a:cubicBezTo>
                    <a:cubicBezTo>
                      <a:pt x="74" y="127"/>
                      <a:pt x="77" y="127"/>
                      <a:pt x="79" y="128"/>
                    </a:cubicBezTo>
                    <a:cubicBezTo>
                      <a:pt x="81" y="125"/>
                      <a:pt x="84" y="123"/>
                      <a:pt x="89" y="123"/>
                    </a:cubicBezTo>
                    <a:cubicBezTo>
                      <a:pt x="90" y="123"/>
                      <a:pt x="90" y="123"/>
                      <a:pt x="90" y="123"/>
                    </a:cubicBezTo>
                    <a:cubicBezTo>
                      <a:pt x="96" y="123"/>
                      <a:pt x="96" y="123"/>
                      <a:pt x="96" y="123"/>
                    </a:cubicBezTo>
                    <a:cubicBezTo>
                      <a:pt x="98" y="123"/>
                      <a:pt x="101" y="123"/>
                      <a:pt x="104" y="123"/>
                    </a:cubicBezTo>
                    <a:cubicBezTo>
                      <a:pt x="105" y="122"/>
                      <a:pt x="106" y="122"/>
                      <a:pt x="108" y="122"/>
                    </a:cubicBezTo>
                    <a:cubicBezTo>
                      <a:pt x="111" y="122"/>
                      <a:pt x="111" y="122"/>
                      <a:pt x="111" y="122"/>
                    </a:cubicBezTo>
                    <a:cubicBezTo>
                      <a:pt x="113" y="121"/>
                      <a:pt x="115" y="121"/>
                      <a:pt x="117" y="121"/>
                    </a:cubicBezTo>
                    <a:cubicBezTo>
                      <a:pt x="117" y="120"/>
                      <a:pt x="117" y="120"/>
                      <a:pt x="117" y="120"/>
                    </a:cubicBezTo>
                    <a:cubicBezTo>
                      <a:pt x="119" y="120"/>
                      <a:pt x="119" y="120"/>
                      <a:pt x="119" y="120"/>
                    </a:cubicBezTo>
                    <a:cubicBezTo>
                      <a:pt x="121" y="119"/>
                      <a:pt x="121" y="119"/>
                      <a:pt x="121" y="119"/>
                    </a:cubicBezTo>
                    <a:cubicBezTo>
                      <a:pt x="121" y="119"/>
                      <a:pt x="122" y="119"/>
                      <a:pt x="122" y="118"/>
                    </a:cubicBezTo>
                    <a:cubicBezTo>
                      <a:pt x="124" y="118"/>
                      <a:pt x="124" y="118"/>
                      <a:pt x="124" y="118"/>
                    </a:cubicBezTo>
                    <a:cubicBezTo>
                      <a:pt x="124" y="117"/>
                      <a:pt x="124" y="117"/>
                      <a:pt x="124" y="117"/>
                    </a:cubicBezTo>
                    <a:cubicBezTo>
                      <a:pt x="124" y="116"/>
                      <a:pt x="124" y="115"/>
                      <a:pt x="124" y="114"/>
                    </a:cubicBezTo>
                    <a:cubicBezTo>
                      <a:pt x="125" y="112"/>
                      <a:pt x="125" y="112"/>
                      <a:pt x="125" y="112"/>
                    </a:cubicBezTo>
                    <a:cubicBezTo>
                      <a:pt x="125" y="111"/>
                      <a:pt x="125" y="110"/>
                      <a:pt x="125" y="110"/>
                    </a:cubicBezTo>
                    <a:cubicBezTo>
                      <a:pt x="125" y="109"/>
                      <a:pt x="125" y="109"/>
                      <a:pt x="125" y="109"/>
                    </a:cubicBezTo>
                    <a:cubicBezTo>
                      <a:pt x="126" y="108"/>
                      <a:pt x="126" y="108"/>
                      <a:pt x="126" y="107"/>
                    </a:cubicBezTo>
                    <a:cubicBezTo>
                      <a:pt x="126" y="105"/>
                      <a:pt x="127" y="101"/>
                      <a:pt x="130" y="100"/>
                    </a:cubicBezTo>
                    <a:cubicBezTo>
                      <a:pt x="139" y="97"/>
                      <a:pt x="139" y="97"/>
                      <a:pt x="139" y="97"/>
                    </a:cubicBezTo>
                    <a:cubicBezTo>
                      <a:pt x="139" y="97"/>
                      <a:pt x="140" y="96"/>
                      <a:pt x="140" y="96"/>
                    </a:cubicBezTo>
                    <a:cubicBezTo>
                      <a:pt x="141" y="96"/>
                      <a:pt x="141" y="96"/>
                      <a:pt x="141" y="96"/>
                    </a:cubicBezTo>
                    <a:cubicBezTo>
                      <a:pt x="144" y="95"/>
                      <a:pt x="148" y="94"/>
                      <a:pt x="151" y="93"/>
                    </a:cubicBezTo>
                    <a:cubicBezTo>
                      <a:pt x="151" y="93"/>
                      <a:pt x="151" y="93"/>
                      <a:pt x="151" y="93"/>
                    </a:cubicBezTo>
                    <a:cubicBezTo>
                      <a:pt x="151" y="92"/>
                      <a:pt x="151" y="92"/>
                      <a:pt x="151" y="92"/>
                    </a:cubicBezTo>
                    <a:cubicBezTo>
                      <a:pt x="150" y="90"/>
                      <a:pt x="150" y="89"/>
                      <a:pt x="150" y="89"/>
                    </a:cubicBezTo>
                    <a:cubicBezTo>
                      <a:pt x="150" y="85"/>
                      <a:pt x="150" y="85"/>
                      <a:pt x="150" y="85"/>
                    </a:cubicBezTo>
                    <a:cubicBezTo>
                      <a:pt x="155" y="85"/>
                      <a:pt x="155" y="85"/>
                      <a:pt x="155" y="85"/>
                    </a:cubicBezTo>
                    <a:cubicBezTo>
                      <a:pt x="155" y="86"/>
                      <a:pt x="156" y="86"/>
                      <a:pt x="157" y="86"/>
                    </a:cubicBezTo>
                    <a:cubicBezTo>
                      <a:pt x="157" y="86"/>
                      <a:pt x="158" y="86"/>
                      <a:pt x="159" y="86"/>
                    </a:cubicBezTo>
                    <a:cubicBezTo>
                      <a:pt x="160" y="86"/>
                      <a:pt x="161" y="87"/>
                      <a:pt x="162" y="87"/>
                    </a:cubicBezTo>
                    <a:cubicBezTo>
                      <a:pt x="163" y="87"/>
                      <a:pt x="164" y="86"/>
                      <a:pt x="167" y="85"/>
                    </a:cubicBezTo>
                    <a:cubicBezTo>
                      <a:pt x="167" y="84"/>
                      <a:pt x="167" y="84"/>
                      <a:pt x="167" y="84"/>
                    </a:cubicBezTo>
                    <a:cubicBezTo>
                      <a:pt x="168" y="84"/>
                      <a:pt x="168" y="84"/>
                      <a:pt x="168" y="84"/>
                    </a:cubicBezTo>
                    <a:cubicBezTo>
                      <a:pt x="169" y="83"/>
                      <a:pt x="171" y="81"/>
                      <a:pt x="173" y="81"/>
                    </a:cubicBezTo>
                    <a:cubicBezTo>
                      <a:pt x="174" y="81"/>
                      <a:pt x="174" y="81"/>
                      <a:pt x="174" y="81"/>
                    </a:cubicBezTo>
                    <a:cubicBezTo>
                      <a:pt x="174" y="81"/>
                      <a:pt x="174" y="81"/>
                      <a:pt x="174" y="81"/>
                    </a:cubicBezTo>
                    <a:cubicBezTo>
                      <a:pt x="175" y="81"/>
                      <a:pt x="175" y="81"/>
                      <a:pt x="175" y="81"/>
                    </a:cubicBezTo>
                    <a:cubicBezTo>
                      <a:pt x="176" y="81"/>
                      <a:pt x="176" y="81"/>
                      <a:pt x="176" y="81"/>
                    </a:cubicBezTo>
                    <a:cubicBezTo>
                      <a:pt x="177" y="82"/>
                      <a:pt x="177" y="82"/>
                      <a:pt x="177" y="82"/>
                    </a:cubicBezTo>
                    <a:cubicBezTo>
                      <a:pt x="179" y="83"/>
                      <a:pt x="179" y="85"/>
                      <a:pt x="179" y="86"/>
                    </a:cubicBezTo>
                    <a:cubicBezTo>
                      <a:pt x="180" y="87"/>
                      <a:pt x="180" y="89"/>
                      <a:pt x="180" y="90"/>
                    </a:cubicBezTo>
                    <a:cubicBezTo>
                      <a:pt x="180" y="91"/>
                      <a:pt x="181" y="91"/>
                      <a:pt x="181" y="92"/>
                    </a:cubicBezTo>
                    <a:cubicBezTo>
                      <a:pt x="181" y="92"/>
                      <a:pt x="181" y="92"/>
                      <a:pt x="181" y="92"/>
                    </a:cubicBezTo>
                    <a:cubicBezTo>
                      <a:pt x="182" y="92"/>
                      <a:pt x="182" y="92"/>
                      <a:pt x="182" y="92"/>
                    </a:cubicBezTo>
                    <a:cubicBezTo>
                      <a:pt x="183" y="92"/>
                      <a:pt x="183" y="92"/>
                      <a:pt x="183" y="92"/>
                    </a:cubicBezTo>
                    <a:cubicBezTo>
                      <a:pt x="183" y="91"/>
                      <a:pt x="184" y="91"/>
                      <a:pt x="185" y="90"/>
                    </a:cubicBezTo>
                    <a:cubicBezTo>
                      <a:pt x="186" y="90"/>
                      <a:pt x="187" y="89"/>
                      <a:pt x="188" y="89"/>
                    </a:cubicBezTo>
                    <a:cubicBezTo>
                      <a:pt x="189" y="89"/>
                      <a:pt x="191" y="89"/>
                      <a:pt x="192" y="89"/>
                    </a:cubicBezTo>
                    <a:cubicBezTo>
                      <a:pt x="192" y="89"/>
                      <a:pt x="192" y="89"/>
                      <a:pt x="193" y="89"/>
                    </a:cubicBezTo>
                    <a:cubicBezTo>
                      <a:pt x="194" y="89"/>
                      <a:pt x="195" y="89"/>
                      <a:pt x="196" y="89"/>
                    </a:cubicBezTo>
                    <a:cubicBezTo>
                      <a:pt x="196" y="90"/>
                      <a:pt x="196" y="90"/>
                      <a:pt x="196" y="90"/>
                    </a:cubicBezTo>
                    <a:cubicBezTo>
                      <a:pt x="197" y="89"/>
                      <a:pt x="197" y="89"/>
                      <a:pt x="197" y="89"/>
                    </a:cubicBezTo>
                    <a:cubicBezTo>
                      <a:pt x="197" y="89"/>
                      <a:pt x="198" y="88"/>
                      <a:pt x="199" y="87"/>
                    </a:cubicBezTo>
                    <a:cubicBezTo>
                      <a:pt x="200" y="86"/>
                      <a:pt x="201" y="84"/>
                      <a:pt x="201" y="84"/>
                    </a:cubicBezTo>
                    <a:cubicBezTo>
                      <a:pt x="201" y="83"/>
                      <a:pt x="201" y="83"/>
                      <a:pt x="201" y="83"/>
                    </a:cubicBezTo>
                    <a:cubicBezTo>
                      <a:pt x="201" y="82"/>
                      <a:pt x="201" y="81"/>
                      <a:pt x="201" y="80"/>
                    </a:cubicBezTo>
                    <a:cubicBezTo>
                      <a:pt x="202" y="78"/>
                      <a:pt x="202" y="78"/>
                      <a:pt x="202" y="78"/>
                    </a:cubicBezTo>
                    <a:cubicBezTo>
                      <a:pt x="203" y="77"/>
                      <a:pt x="204" y="76"/>
                      <a:pt x="205" y="75"/>
                    </a:cubicBezTo>
                    <a:cubicBezTo>
                      <a:pt x="206" y="75"/>
                      <a:pt x="206" y="74"/>
                      <a:pt x="207" y="73"/>
                    </a:cubicBezTo>
                    <a:cubicBezTo>
                      <a:pt x="209" y="71"/>
                      <a:pt x="211" y="68"/>
                      <a:pt x="214" y="67"/>
                    </a:cubicBezTo>
                    <a:cubicBezTo>
                      <a:pt x="217" y="66"/>
                      <a:pt x="222" y="66"/>
                      <a:pt x="225" y="65"/>
                    </a:cubicBezTo>
                    <a:cubicBezTo>
                      <a:pt x="227" y="65"/>
                      <a:pt x="228" y="65"/>
                      <a:pt x="230" y="65"/>
                    </a:cubicBezTo>
                    <a:cubicBezTo>
                      <a:pt x="232" y="65"/>
                      <a:pt x="232" y="65"/>
                      <a:pt x="232" y="65"/>
                    </a:cubicBezTo>
                    <a:cubicBezTo>
                      <a:pt x="235" y="65"/>
                      <a:pt x="238" y="64"/>
                      <a:pt x="241" y="64"/>
                    </a:cubicBezTo>
                    <a:cubicBezTo>
                      <a:pt x="248" y="63"/>
                      <a:pt x="248" y="63"/>
                      <a:pt x="248" y="63"/>
                    </a:cubicBezTo>
                    <a:cubicBezTo>
                      <a:pt x="249" y="63"/>
                      <a:pt x="249" y="63"/>
                      <a:pt x="249" y="63"/>
                    </a:cubicBezTo>
                    <a:cubicBezTo>
                      <a:pt x="249" y="62"/>
                      <a:pt x="250" y="61"/>
                      <a:pt x="251" y="61"/>
                    </a:cubicBezTo>
                    <a:cubicBezTo>
                      <a:pt x="252" y="60"/>
                      <a:pt x="252" y="60"/>
                      <a:pt x="252" y="60"/>
                    </a:cubicBezTo>
                    <a:cubicBezTo>
                      <a:pt x="252" y="59"/>
                      <a:pt x="252" y="59"/>
                      <a:pt x="253" y="58"/>
                    </a:cubicBezTo>
                    <a:cubicBezTo>
                      <a:pt x="253" y="58"/>
                      <a:pt x="254" y="57"/>
                      <a:pt x="255" y="56"/>
                    </a:cubicBezTo>
                    <a:cubicBezTo>
                      <a:pt x="257" y="54"/>
                      <a:pt x="259" y="51"/>
                      <a:pt x="262" y="50"/>
                    </a:cubicBezTo>
                    <a:cubicBezTo>
                      <a:pt x="263" y="50"/>
                      <a:pt x="263" y="50"/>
                      <a:pt x="263" y="50"/>
                    </a:cubicBezTo>
                    <a:cubicBezTo>
                      <a:pt x="266" y="48"/>
                      <a:pt x="270" y="46"/>
                      <a:pt x="274" y="45"/>
                    </a:cubicBezTo>
                    <a:cubicBezTo>
                      <a:pt x="275" y="44"/>
                      <a:pt x="275" y="44"/>
                      <a:pt x="275" y="44"/>
                    </a:cubicBezTo>
                    <a:cubicBezTo>
                      <a:pt x="277" y="44"/>
                      <a:pt x="278" y="43"/>
                      <a:pt x="280" y="43"/>
                    </a:cubicBezTo>
                    <a:cubicBezTo>
                      <a:pt x="285" y="40"/>
                      <a:pt x="291" y="38"/>
                      <a:pt x="297" y="36"/>
                    </a:cubicBezTo>
                    <a:cubicBezTo>
                      <a:pt x="302" y="35"/>
                      <a:pt x="302" y="35"/>
                      <a:pt x="302" y="35"/>
                    </a:cubicBezTo>
                    <a:cubicBezTo>
                      <a:pt x="303" y="34"/>
                      <a:pt x="303" y="34"/>
                      <a:pt x="303" y="34"/>
                    </a:cubicBezTo>
                    <a:cubicBezTo>
                      <a:pt x="303" y="33"/>
                      <a:pt x="303" y="33"/>
                      <a:pt x="303" y="33"/>
                    </a:cubicBezTo>
                    <a:cubicBezTo>
                      <a:pt x="303" y="33"/>
                      <a:pt x="303" y="33"/>
                      <a:pt x="303" y="33"/>
                    </a:cubicBezTo>
                    <a:cubicBezTo>
                      <a:pt x="303" y="33"/>
                      <a:pt x="303" y="33"/>
                      <a:pt x="303" y="33"/>
                    </a:cubicBezTo>
                    <a:cubicBezTo>
                      <a:pt x="302" y="32"/>
                      <a:pt x="302" y="32"/>
                      <a:pt x="302" y="32"/>
                    </a:cubicBezTo>
                    <a:cubicBezTo>
                      <a:pt x="302" y="32"/>
                      <a:pt x="301" y="31"/>
                      <a:pt x="301" y="30"/>
                    </a:cubicBezTo>
                    <a:cubicBezTo>
                      <a:pt x="300" y="29"/>
                      <a:pt x="299" y="29"/>
                      <a:pt x="298" y="28"/>
                    </a:cubicBezTo>
                    <a:cubicBezTo>
                      <a:pt x="297" y="27"/>
                      <a:pt x="297" y="27"/>
                      <a:pt x="296" y="27"/>
                    </a:cubicBezTo>
                    <a:cubicBezTo>
                      <a:pt x="295" y="26"/>
                      <a:pt x="294" y="26"/>
                      <a:pt x="293" y="26"/>
                    </a:cubicBezTo>
                    <a:cubicBezTo>
                      <a:pt x="292" y="26"/>
                      <a:pt x="291" y="26"/>
                      <a:pt x="290" y="26"/>
                    </a:cubicBezTo>
                    <a:cubicBezTo>
                      <a:pt x="285" y="26"/>
                      <a:pt x="282" y="25"/>
                      <a:pt x="278" y="20"/>
                    </a:cubicBezTo>
                    <a:cubicBezTo>
                      <a:pt x="278" y="19"/>
                      <a:pt x="278" y="19"/>
                      <a:pt x="278" y="19"/>
                    </a:cubicBezTo>
                    <a:cubicBezTo>
                      <a:pt x="278" y="18"/>
                      <a:pt x="277" y="16"/>
                      <a:pt x="276" y="15"/>
                    </a:cubicBezTo>
                    <a:cubicBezTo>
                      <a:pt x="275" y="14"/>
                      <a:pt x="275" y="14"/>
                      <a:pt x="275" y="14"/>
                    </a:cubicBezTo>
                    <a:cubicBezTo>
                      <a:pt x="275" y="14"/>
                      <a:pt x="275" y="14"/>
                      <a:pt x="275" y="14"/>
                    </a:cubicBezTo>
                    <a:cubicBezTo>
                      <a:pt x="274" y="14"/>
                      <a:pt x="274" y="14"/>
                      <a:pt x="273" y="14"/>
                    </a:cubicBezTo>
                    <a:cubicBezTo>
                      <a:pt x="273" y="15"/>
                      <a:pt x="272" y="15"/>
                      <a:pt x="271" y="15"/>
                    </a:cubicBezTo>
                    <a:cubicBezTo>
                      <a:pt x="269" y="15"/>
                      <a:pt x="267" y="14"/>
                      <a:pt x="265" y="14"/>
                    </a:cubicBezTo>
                    <a:cubicBezTo>
                      <a:pt x="262" y="13"/>
                      <a:pt x="262" y="13"/>
                      <a:pt x="262" y="13"/>
                    </a:cubicBezTo>
                    <a:cubicBezTo>
                      <a:pt x="261" y="12"/>
                      <a:pt x="260" y="12"/>
                      <a:pt x="259" y="12"/>
                    </a:cubicBezTo>
                    <a:cubicBezTo>
                      <a:pt x="258" y="12"/>
                      <a:pt x="257" y="11"/>
                      <a:pt x="256" y="11"/>
                    </a:cubicBezTo>
                    <a:cubicBezTo>
                      <a:pt x="256" y="11"/>
                      <a:pt x="256" y="11"/>
                      <a:pt x="255" y="11"/>
                    </a:cubicBezTo>
                    <a:cubicBezTo>
                      <a:pt x="255" y="11"/>
                      <a:pt x="254" y="11"/>
                      <a:pt x="254" y="11"/>
                    </a:cubicBezTo>
                    <a:cubicBezTo>
                      <a:pt x="253" y="11"/>
                      <a:pt x="253" y="11"/>
                      <a:pt x="253" y="11"/>
                    </a:cubicBezTo>
                    <a:cubicBezTo>
                      <a:pt x="251" y="11"/>
                      <a:pt x="250" y="12"/>
                      <a:pt x="248" y="12"/>
                    </a:cubicBezTo>
                    <a:cubicBezTo>
                      <a:pt x="243" y="12"/>
                      <a:pt x="238" y="11"/>
                      <a:pt x="233" y="11"/>
                    </a:cubicBezTo>
                    <a:cubicBezTo>
                      <a:pt x="232" y="11"/>
                      <a:pt x="232" y="11"/>
                      <a:pt x="232" y="11"/>
                    </a:cubicBezTo>
                    <a:cubicBezTo>
                      <a:pt x="231" y="11"/>
                      <a:pt x="230" y="11"/>
                      <a:pt x="229" y="11"/>
                    </a:cubicBezTo>
                    <a:cubicBezTo>
                      <a:pt x="228" y="16"/>
                      <a:pt x="228" y="16"/>
                      <a:pt x="228" y="16"/>
                    </a:cubicBezTo>
                    <a:cubicBezTo>
                      <a:pt x="227" y="10"/>
                      <a:pt x="227" y="10"/>
                      <a:pt x="227" y="10"/>
                    </a:cubicBezTo>
                    <a:cubicBezTo>
                      <a:pt x="226" y="10"/>
                      <a:pt x="226" y="10"/>
                      <a:pt x="226" y="10"/>
                    </a:cubicBezTo>
                    <a:cubicBezTo>
                      <a:pt x="220" y="10"/>
                      <a:pt x="213" y="10"/>
                      <a:pt x="206" y="10"/>
                    </a:cubicBezTo>
                    <a:cubicBezTo>
                      <a:pt x="205" y="10"/>
                      <a:pt x="205" y="10"/>
                      <a:pt x="205" y="10"/>
                    </a:cubicBezTo>
                    <a:cubicBezTo>
                      <a:pt x="203" y="10"/>
                      <a:pt x="200" y="10"/>
                      <a:pt x="198" y="9"/>
                    </a:cubicBezTo>
                    <a:cubicBezTo>
                      <a:pt x="197" y="9"/>
                      <a:pt x="197" y="9"/>
                      <a:pt x="197" y="9"/>
                    </a:cubicBezTo>
                    <a:cubicBezTo>
                      <a:pt x="194" y="9"/>
                      <a:pt x="191" y="9"/>
                      <a:pt x="188" y="9"/>
                    </a:cubicBezTo>
                    <a:cubicBezTo>
                      <a:pt x="186" y="9"/>
                      <a:pt x="184" y="9"/>
                      <a:pt x="182" y="9"/>
                    </a:cubicBezTo>
                    <a:cubicBezTo>
                      <a:pt x="181" y="9"/>
                      <a:pt x="181" y="9"/>
                      <a:pt x="181" y="9"/>
                    </a:cubicBezTo>
                    <a:cubicBezTo>
                      <a:pt x="180" y="10"/>
                      <a:pt x="179" y="10"/>
                      <a:pt x="178" y="10"/>
                    </a:cubicBezTo>
                    <a:cubicBezTo>
                      <a:pt x="175" y="11"/>
                      <a:pt x="172" y="12"/>
                      <a:pt x="169" y="12"/>
                    </a:cubicBezTo>
                    <a:cubicBezTo>
                      <a:pt x="168" y="12"/>
                      <a:pt x="167" y="12"/>
                      <a:pt x="166" y="12"/>
                    </a:cubicBezTo>
                    <a:cubicBezTo>
                      <a:pt x="164" y="12"/>
                      <a:pt x="164" y="12"/>
                      <a:pt x="164" y="12"/>
                    </a:cubicBezTo>
                    <a:cubicBezTo>
                      <a:pt x="163" y="11"/>
                      <a:pt x="162" y="11"/>
                      <a:pt x="162" y="11"/>
                    </a:cubicBezTo>
                    <a:cubicBezTo>
                      <a:pt x="159" y="10"/>
                      <a:pt x="159" y="10"/>
                      <a:pt x="159" y="10"/>
                    </a:cubicBezTo>
                    <a:cubicBezTo>
                      <a:pt x="158" y="10"/>
                      <a:pt x="157" y="10"/>
                      <a:pt x="155" y="9"/>
                    </a:cubicBezTo>
                    <a:cubicBezTo>
                      <a:pt x="153" y="9"/>
                      <a:pt x="153" y="9"/>
                      <a:pt x="153" y="9"/>
                    </a:cubicBezTo>
                    <a:cubicBezTo>
                      <a:pt x="152" y="8"/>
                      <a:pt x="150" y="7"/>
                      <a:pt x="148" y="6"/>
                    </a:cubicBezTo>
                    <a:cubicBezTo>
                      <a:pt x="147" y="6"/>
                      <a:pt x="147" y="6"/>
                      <a:pt x="147" y="6"/>
                    </a:cubicBezTo>
                    <a:cubicBezTo>
                      <a:pt x="147" y="5"/>
                      <a:pt x="146" y="5"/>
                      <a:pt x="146" y="5"/>
                    </a:cubicBezTo>
                    <a:cubicBezTo>
                      <a:pt x="145" y="4"/>
                      <a:pt x="143" y="3"/>
                      <a:pt x="142" y="2"/>
                    </a:cubicBezTo>
                    <a:cubicBezTo>
                      <a:pt x="140" y="1"/>
                      <a:pt x="138" y="1"/>
                      <a:pt x="135" y="1"/>
                    </a:cubicBezTo>
                    <a:cubicBezTo>
                      <a:pt x="134" y="1"/>
                      <a:pt x="133" y="1"/>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5" name="Freeform 353">
                <a:extLst>
                  <a:ext uri="{FF2B5EF4-FFF2-40B4-BE49-F238E27FC236}">
                    <a16:creationId xmlns:a16="http://schemas.microsoft.com/office/drawing/2014/main" id="{6A37BA3A-F6A5-4993-8809-C9D2F05B2977}"/>
                  </a:ext>
                </a:extLst>
              </p:cNvPr>
              <p:cNvSpPr>
                <a:spLocks/>
              </p:cNvSpPr>
              <p:nvPr/>
            </p:nvSpPr>
            <p:spPr bwMode="auto">
              <a:xfrm>
                <a:off x="10797389" y="4820132"/>
                <a:ext cx="3685" cy="3685"/>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1"/>
                    </a:lnTo>
                    <a:lnTo>
                      <a:pt x="1"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6" name="Freeform 354">
                <a:extLst>
                  <a:ext uri="{FF2B5EF4-FFF2-40B4-BE49-F238E27FC236}">
                    <a16:creationId xmlns:a16="http://schemas.microsoft.com/office/drawing/2014/main" id="{CCBEFE51-16B1-4849-B06E-E33F0A872500}"/>
                  </a:ext>
                </a:extLst>
              </p:cNvPr>
              <p:cNvSpPr>
                <a:spLocks/>
              </p:cNvSpPr>
              <p:nvPr/>
            </p:nvSpPr>
            <p:spPr bwMode="auto">
              <a:xfrm>
                <a:off x="10797389" y="4820132"/>
                <a:ext cx="3685" cy="3685"/>
              </a:xfrm>
              <a:custGeom>
                <a:avLst/>
                <a:gdLst>
                  <a:gd name="T0" fmla="*/ 0 w 1"/>
                  <a:gd name="T1" fmla="*/ 0 h 1"/>
                  <a:gd name="T2" fmla="*/ 0 w 1"/>
                  <a:gd name="T3" fmla="*/ 0 h 1"/>
                  <a:gd name="T4" fmla="*/ 0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1"/>
                    </a:lnTo>
                    <a:lnTo>
                      <a:pt x="1" y="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7" name="Freeform 355">
                <a:extLst>
                  <a:ext uri="{FF2B5EF4-FFF2-40B4-BE49-F238E27FC236}">
                    <a16:creationId xmlns:a16="http://schemas.microsoft.com/office/drawing/2014/main" id="{F6E9E5EA-D04F-47D4-8C8D-1E6881D06D41}"/>
                  </a:ext>
                </a:extLst>
              </p:cNvPr>
              <p:cNvSpPr>
                <a:spLocks noEditPoints="1"/>
              </p:cNvSpPr>
              <p:nvPr/>
            </p:nvSpPr>
            <p:spPr bwMode="auto">
              <a:xfrm>
                <a:off x="9419156" y="4477416"/>
                <a:ext cx="1499842" cy="921279"/>
              </a:xfrm>
              <a:custGeom>
                <a:avLst/>
                <a:gdLst>
                  <a:gd name="T0" fmla="*/ 91 w 473"/>
                  <a:gd name="T1" fmla="*/ 13 h 290"/>
                  <a:gd name="T2" fmla="*/ 82 w 473"/>
                  <a:gd name="T3" fmla="*/ 1 h 290"/>
                  <a:gd name="T4" fmla="*/ 75 w 473"/>
                  <a:gd name="T5" fmla="*/ 11 h 290"/>
                  <a:gd name="T6" fmla="*/ 73 w 473"/>
                  <a:gd name="T7" fmla="*/ 30 h 290"/>
                  <a:gd name="T8" fmla="*/ 74 w 473"/>
                  <a:gd name="T9" fmla="*/ 39 h 290"/>
                  <a:gd name="T10" fmla="*/ 63 w 473"/>
                  <a:gd name="T11" fmla="*/ 50 h 290"/>
                  <a:gd name="T12" fmla="*/ 70 w 473"/>
                  <a:gd name="T13" fmla="*/ 12 h 290"/>
                  <a:gd name="T14" fmla="*/ 1 w 473"/>
                  <a:gd name="T15" fmla="*/ 30 h 290"/>
                  <a:gd name="T16" fmla="*/ 11 w 473"/>
                  <a:gd name="T17" fmla="*/ 152 h 290"/>
                  <a:gd name="T18" fmla="*/ 23 w 473"/>
                  <a:gd name="T19" fmla="*/ 151 h 290"/>
                  <a:gd name="T20" fmla="*/ 41 w 473"/>
                  <a:gd name="T21" fmla="*/ 124 h 290"/>
                  <a:gd name="T22" fmla="*/ 61 w 473"/>
                  <a:gd name="T23" fmla="*/ 112 h 290"/>
                  <a:gd name="T24" fmla="*/ 82 w 473"/>
                  <a:gd name="T25" fmla="*/ 110 h 290"/>
                  <a:gd name="T26" fmla="*/ 101 w 473"/>
                  <a:gd name="T27" fmla="*/ 118 h 290"/>
                  <a:gd name="T28" fmla="*/ 120 w 473"/>
                  <a:gd name="T29" fmla="*/ 142 h 290"/>
                  <a:gd name="T30" fmla="*/ 120 w 473"/>
                  <a:gd name="T31" fmla="*/ 152 h 290"/>
                  <a:gd name="T32" fmla="*/ 146 w 473"/>
                  <a:gd name="T33" fmla="*/ 157 h 290"/>
                  <a:gd name="T34" fmla="*/ 175 w 473"/>
                  <a:gd name="T35" fmla="*/ 180 h 290"/>
                  <a:gd name="T36" fmla="*/ 190 w 473"/>
                  <a:gd name="T37" fmla="*/ 202 h 290"/>
                  <a:gd name="T38" fmla="*/ 250 w 473"/>
                  <a:gd name="T39" fmla="*/ 241 h 290"/>
                  <a:gd name="T40" fmla="*/ 274 w 473"/>
                  <a:gd name="T41" fmla="*/ 255 h 290"/>
                  <a:gd name="T42" fmla="*/ 303 w 473"/>
                  <a:gd name="T43" fmla="*/ 268 h 290"/>
                  <a:gd name="T44" fmla="*/ 309 w 473"/>
                  <a:gd name="T45" fmla="*/ 284 h 290"/>
                  <a:gd name="T46" fmla="*/ 324 w 473"/>
                  <a:gd name="T47" fmla="*/ 289 h 290"/>
                  <a:gd name="T48" fmla="*/ 330 w 473"/>
                  <a:gd name="T49" fmla="*/ 282 h 290"/>
                  <a:gd name="T50" fmla="*/ 343 w 473"/>
                  <a:gd name="T51" fmla="*/ 258 h 290"/>
                  <a:gd name="T52" fmla="*/ 334 w 473"/>
                  <a:gd name="T53" fmla="*/ 236 h 290"/>
                  <a:gd name="T54" fmla="*/ 324 w 473"/>
                  <a:gd name="T55" fmla="*/ 212 h 290"/>
                  <a:gd name="T56" fmla="*/ 350 w 473"/>
                  <a:gd name="T57" fmla="*/ 211 h 290"/>
                  <a:gd name="T58" fmla="*/ 366 w 473"/>
                  <a:gd name="T59" fmla="*/ 189 h 290"/>
                  <a:gd name="T60" fmla="*/ 376 w 473"/>
                  <a:gd name="T61" fmla="*/ 170 h 290"/>
                  <a:gd name="T62" fmla="*/ 385 w 473"/>
                  <a:gd name="T63" fmla="*/ 174 h 290"/>
                  <a:gd name="T64" fmla="*/ 398 w 473"/>
                  <a:gd name="T65" fmla="*/ 168 h 290"/>
                  <a:gd name="T66" fmla="*/ 419 w 473"/>
                  <a:gd name="T67" fmla="*/ 178 h 290"/>
                  <a:gd name="T68" fmla="*/ 425 w 473"/>
                  <a:gd name="T69" fmla="*/ 187 h 290"/>
                  <a:gd name="T70" fmla="*/ 448 w 473"/>
                  <a:gd name="T71" fmla="*/ 189 h 290"/>
                  <a:gd name="T72" fmla="*/ 456 w 473"/>
                  <a:gd name="T73" fmla="*/ 181 h 290"/>
                  <a:gd name="T74" fmla="*/ 461 w 473"/>
                  <a:gd name="T75" fmla="*/ 176 h 290"/>
                  <a:gd name="T76" fmla="*/ 470 w 473"/>
                  <a:gd name="T77" fmla="*/ 177 h 290"/>
                  <a:gd name="T78" fmla="*/ 464 w 473"/>
                  <a:gd name="T79" fmla="*/ 170 h 290"/>
                  <a:gd name="T80" fmla="*/ 454 w 473"/>
                  <a:gd name="T81" fmla="*/ 171 h 290"/>
                  <a:gd name="T82" fmla="*/ 446 w 473"/>
                  <a:gd name="T83" fmla="*/ 158 h 290"/>
                  <a:gd name="T84" fmla="*/ 439 w 473"/>
                  <a:gd name="T85" fmla="*/ 162 h 290"/>
                  <a:gd name="T86" fmla="*/ 412 w 473"/>
                  <a:gd name="T87" fmla="*/ 155 h 290"/>
                  <a:gd name="T88" fmla="*/ 402 w 473"/>
                  <a:gd name="T89" fmla="*/ 152 h 290"/>
                  <a:gd name="T90" fmla="*/ 383 w 473"/>
                  <a:gd name="T91" fmla="*/ 151 h 290"/>
                  <a:gd name="T92" fmla="*/ 360 w 473"/>
                  <a:gd name="T93" fmla="*/ 171 h 290"/>
                  <a:gd name="T94" fmla="*/ 353 w 473"/>
                  <a:gd name="T95" fmla="*/ 183 h 290"/>
                  <a:gd name="T96" fmla="*/ 333 w 473"/>
                  <a:gd name="T97" fmla="*/ 172 h 290"/>
                  <a:gd name="T98" fmla="*/ 333 w 473"/>
                  <a:gd name="T99" fmla="*/ 163 h 290"/>
                  <a:gd name="T100" fmla="*/ 297 w 473"/>
                  <a:gd name="T101" fmla="*/ 155 h 290"/>
                  <a:gd name="T102" fmla="*/ 290 w 473"/>
                  <a:gd name="T103" fmla="*/ 135 h 290"/>
                  <a:gd name="T104" fmla="*/ 279 w 473"/>
                  <a:gd name="T105" fmla="*/ 120 h 290"/>
                  <a:gd name="T106" fmla="*/ 272 w 473"/>
                  <a:gd name="T107" fmla="*/ 98 h 290"/>
                  <a:gd name="T108" fmla="*/ 250 w 473"/>
                  <a:gd name="T109" fmla="*/ 76 h 290"/>
                  <a:gd name="T110" fmla="*/ 228 w 473"/>
                  <a:gd name="T111" fmla="*/ 81 h 290"/>
                  <a:gd name="T112" fmla="*/ 167 w 473"/>
                  <a:gd name="T113" fmla="*/ 83 h 290"/>
                  <a:gd name="T114" fmla="*/ 117 w 473"/>
                  <a:gd name="T115" fmla="*/ 39 h 290"/>
                  <a:gd name="T116" fmla="*/ 104 w 473"/>
                  <a:gd name="T117" fmla="*/ 60 h 290"/>
                  <a:gd name="T118" fmla="*/ 95 w 473"/>
                  <a:gd name="T119" fmla="*/ 23 h 290"/>
                  <a:gd name="T120" fmla="*/ 95 w 473"/>
                  <a:gd name="T121" fmla="*/ 1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3" h="290">
                    <a:moveTo>
                      <a:pt x="91" y="13"/>
                    </a:moveTo>
                    <a:cubicBezTo>
                      <a:pt x="91" y="13"/>
                      <a:pt x="91" y="13"/>
                      <a:pt x="91" y="13"/>
                    </a:cubicBezTo>
                    <a:cubicBezTo>
                      <a:pt x="91" y="13"/>
                      <a:pt x="91" y="13"/>
                      <a:pt x="91" y="13"/>
                    </a:cubicBezTo>
                    <a:cubicBezTo>
                      <a:pt x="91" y="13"/>
                      <a:pt x="91" y="13"/>
                      <a:pt x="91" y="13"/>
                    </a:cubicBezTo>
                    <a:moveTo>
                      <a:pt x="91" y="16"/>
                    </a:moveTo>
                    <a:cubicBezTo>
                      <a:pt x="91" y="16"/>
                      <a:pt x="91" y="16"/>
                      <a:pt x="91" y="15"/>
                    </a:cubicBezTo>
                    <a:cubicBezTo>
                      <a:pt x="91" y="14"/>
                      <a:pt x="91" y="12"/>
                      <a:pt x="91" y="10"/>
                    </a:cubicBezTo>
                    <a:cubicBezTo>
                      <a:pt x="93" y="11"/>
                      <a:pt x="91" y="11"/>
                      <a:pt x="91" y="13"/>
                    </a:cubicBezTo>
                    <a:cubicBezTo>
                      <a:pt x="91" y="13"/>
                      <a:pt x="91" y="14"/>
                      <a:pt x="91" y="14"/>
                    </a:cubicBezTo>
                    <a:cubicBezTo>
                      <a:pt x="91" y="15"/>
                      <a:pt x="91" y="16"/>
                      <a:pt x="91" y="16"/>
                    </a:cubicBezTo>
                    <a:moveTo>
                      <a:pt x="85" y="0"/>
                    </a:moveTo>
                    <a:cubicBezTo>
                      <a:pt x="84" y="0"/>
                      <a:pt x="84" y="1"/>
                      <a:pt x="84" y="3"/>
                    </a:cubicBezTo>
                    <a:cubicBezTo>
                      <a:pt x="84" y="4"/>
                      <a:pt x="84" y="5"/>
                      <a:pt x="83" y="5"/>
                    </a:cubicBezTo>
                    <a:cubicBezTo>
                      <a:pt x="83" y="5"/>
                      <a:pt x="83" y="5"/>
                      <a:pt x="83" y="5"/>
                    </a:cubicBezTo>
                    <a:cubicBezTo>
                      <a:pt x="82" y="4"/>
                      <a:pt x="84" y="2"/>
                      <a:pt x="82" y="2"/>
                    </a:cubicBezTo>
                    <a:cubicBezTo>
                      <a:pt x="82" y="1"/>
                      <a:pt x="82" y="1"/>
                      <a:pt x="82" y="1"/>
                    </a:cubicBezTo>
                    <a:cubicBezTo>
                      <a:pt x="81" y="1"/>
                      <a:pt x="81" y="4"/>
                      <a:pt x="81" y="5"/>
                    </a:cubicBezTo>
                    <a:cubicBezTo>
                      <a:pt x="81" y="7"/>
                      <a:pt x="79" y="9"/>
                      <a:pt x="77" y="10"/>
                    </a:cubicBezTo>
                    <a:cubicBezTo>
                      <a:pt x="77" y="10"/>
                      <a:pt x="77" y="10"/>
                      <a:pt x="77" y="10"/>
                    </a:cubicBezTo>
                    <a:cubicBezTo>
                      <a:pt x="76" y="11"/>
                      <a:pt x="76" y="11"/>
                      <a:pt x="76" y="11"/>
                    </a:cubicBezTo>
                    <a:cubicBezTo>
                      <a:pt x="75" y="11"/>
                      <a:pt x="75" y="11"/>
                      <a:pt x="75" y="11"/>
                    </a:cubicBezTo>
                    <a:cubicBezTo>
                      <a:pt x="75" y="11"/>
                      <a:pt x="75" y="11"/>
                      <a:pt x="75" y="11"/>
                    </a:cubicBezTo>
                    <a:cubicBezTo>
                      <a:pt x="75" y="11"/>
                      <a:pt x="75" y="11"/>
                      <a:pt x="75" y="11"/>
                    </a:cubicBezTo>
                    <a:cubicBezTo>
                      <a:pt x="75" y="11"/>
                      <a:pt x="75" y="11"/>
                      <a:pt x="75" y="11"/>
                    </a:cubicBezTo>
                    <a:cubicBezTo>
                      <a:pt x="76" y="11"/>
                      <a:pt x="76" y="11"/>
                      <a:pt x="76" y="11"/>
                    </a:cubicBezTo>
                    <a:cubicBezTo>
                      <a:pt x="74" y="13"/>
                      <a:pt x="74" y="13"/>
                      <a:pt x="74" y="13"/>
                    </a:cubicBezTo>
                    <a:cubicBezTo>
                      <a:pt x="74" y="13"/>
                      <a:pt x="74" y="13"/>
                      <a:pt x="74" y="13"/>
                    </a:cubicBezTo>
                    <a:cubicBezTo>
                      <a:pt x="73" y="15"/>
                      <a:pt x="72" y="17"/>
                      <a:pt x="73" y="20"/>
                    </a:cubicBezTo>
                    <a:cubicBezTo>
                      <a:pt x="74" y="21"/>
                      <a:pt x="76" y="22"/>
                      <a:pt x="75" y="23"/>
                    </a:cubicBezTo>
                    <a:cubicBezTo>
                      <a:pt x="75" y="24"/>
                      <a:pt x="73" y="26"/>
                      <a:pt x="72" y="27"/>
                    </a:cubicBezTo>
                    <a:cubicBezTo>
                      <a:pt x="72" y="28"/>
                      <a:pt x="71" y="30"/>
                      <a:pt x="72" y="30"/>
                    </a:cubicBezTo>
                    <a:cubicBezTo>
                      <a:pt x="72" y="30"/>
                      <a:pt x="73" y="30"/>
                      <a:pt x="73" y="30"/>
                    </a:cubicBezTo>
                    <a:cubicBezTo>
                      <a:pt x="74" y="29"/>
                      <a:pt x="76" y="28"/>
                      <a:pt x="76" y="28"/>
                    </a:cubicBezTo>
                    <a:cubicBezTo>
                      <a:pt x="76" y="28"/>
                      <a:pt x="76" y="28"/>
                      <a:pt x="76" y="29"/>
                    </a:cubicBezTo>
                    <a:cubicBezTo>
                      <a:pt x="77" y="31"/>
                      <a:pt x="75" y="31"/>
                      <a:pt x="75" y="31"/>
                    </a:cubicBezTo>
                    <a:cubicBezTo>
                      <a:pt x="75" y="32"/>
                      <a:pt x="75" y="33"/>
                      <a:pt x="75" y="34"/>
                    </a:cubicBezTo>
                    <a:cubicBezTo>
                      <a:pt x="75" y="38"/>
                      <a:pt x="77" y="37"/>
                      <a:pt x="77" y="39"/>
                    </a:cubicBezTo>
                    <a:cubicBezTo>
                      <a:pt x="76" y="39"/>
                      <a:pt x="76" y="38"/>
                      <a:pt x="76" y="38"/>
                    </a:cubicBezTo>
                    <a:cubicBezTo>
                      <a:pt x="76" y="38"/>
                      <a:pt x="75" y="39"/>
                      <a:pt x="75" y="39"/>
                    </a:cubicBezTo>
                    <a:cubicBezTo>
                      <a:pt x="75" y="39"/>
                      <a:pt x="74" y="39"/>
                      <a:pt x="74" y="39"/>
                    </a:cubicBezTo>
                    <a:cubicBezTo>
                      <a:pt x="74" y="39"/>
                      <a:pt x="74" y="39"/>
                      <a:pt x="73" y="39"/>
                    </a:cubicBezTo>
                    <a:cubicBezTo>
                      <a:pt x="73" y="39"/>
                      <a:pt x="72" y="37"/>
                      <a:pt x="71" y="37"/>
                    </a:cubicBezTo>
                    <a:cubicBezTo>
                      <a:pt x="71" y="37"/>
                      <a:pt x="71" y="38"/>
                      <a:pt x="70" y="39"/>
                    </a:cubicBezTo>
                    <a:cubicBezTo>
                      <a:pt x="70" y="40"/>
                      <a:pt x="70" y="41"/>
                      <a:pt x="71" y="41"/>
                    </a:cubicBezTo>
                    <a:cubicBezTo>
                      <a:pt x="71" y="41"/>
                      <a:pt x="71" y="40"/>
                      <a:pt x="71" y="40"/>
                    </a:cubicBezTo>
                    <a:cubicBezTo>
                      <a:pt x="72" y="40"/>
                      <a:pt x="72" y="40"/>
                      <a:pt x="72" y="40"/>
                    </a:cubicBezTo>
                    <a:cubicBezTo>
                      <a:pt x="72" y="40"/>
                      <a:pt x="73" y="41"/>
                      <a:pt x="72" y="43"/>
                    </a:cubicBezTo>
                    <a:cubicBezTo>
                      <a:pt x="71" y="47"/>
                      <a:pt x="66" y="50"/>
                      <a:pt x="63" y="50"/>
                    </a:cubicBezTo>
                    <a:cubicBezTo>
                      <a:pt x="61" y="50"/>
                      <a:pt x="59" y="48"/>
                      <a:pt x="60" y="45"/>
                    </a:cubicBezTo>
                    <a:cubicBezTo>
                      <a:pt x="61" y="43"/>
                      <a:pt x="62" y="43"/>
                      <a:pt x="62" y="42"/>
                    </a:cubicBezTo>
                    <a:cubicBezTo>
                      <a:pt x="62" y="40"/>
                      <a:pt x="61" y="39"/>
                      <a:pt x="60" y="37"/>
                    </a:cubicBezTo>
                    <a:cubicBezTo>
                      <a:pt x="59" y="33"/>
                      <a:pt x="61" y="32"/>
                      <a:pt x="62" y="29"/>
                    </a:cubicBezTo>
                    <a:cubicBezTo>
                      <a:pt x="62" y="27"/>
                      <a:pt x="63" y="23"/>
                      <a:pt x="64" y="21"/>
                    </a:cubicBezTo>
                    <a:cubicBezTo>
                      <a:pt x="65" y="20"/>
                      <a:pt x="65" y="19"/>
                      <a:pt x="66" y="18"/>
                    </a:cubicBezTo>
                    <a:cubicBezTo>
                      <a:pt x="67" y="16"/>
                      <a:pt x="68" y="16"/>
                      <a:pt x="69" y="14"/>
                    </a:cubicBezTo>
                    <a:cubicBezTo>
                      <a:pt x="69" y="14"/>
                      <a:pt x="69" y="13"/>
                      <a:pt x="70" y="12"/>
                    </a:cubicBezTo>
                    <a:cubicBezTo>
                      <a:pt x="69" y="12"/>
                      <a:pt x="69" y="12"/>
                      <a:pt x="69" y="12"/>
                    </a:cubicBezTo>
                    <a:cubicBezTo>
                      <a:pt x="66" y="13"/>
                      <a:pt x="66" y="13"/>
                      <a:pt x="66" y="13"/>
                    </a:cubicBezTo>
                    <a:cubicBezTo>
                      <a:pt x="64" y="13"/>
                      <a:pt x="62" y="14"/>
                      <a:pt x="60" y="14"/>
                    </a:cubicBezTo>
                    <a:cubicBezTo>
                      <a:pt x="58" y="15"/>
                      <a:pt x="58" y="15"/>
                      <a:pt x="58" y="15"/>
                    </a:cubicBezTo>
                    <a:cubicBezTo>
                      <a:pt x="50" y="17"/>
                      <a:pt x="50" y="17"/>
                      <a:pt x="50" y="17"/>
                    </a:cubicBezTo>
                    <a:cubicBezTo>
                      <a:pt x="36" y="21"/>
                      <a:pt x="23" y="24"/>
                      <a:pt x="10" y="28"/>
                    </a:cubicBezTo>
                    <a:cubicBezTo>
                      <a:pt x="9" y="28"/>
                      <a:pt x="8" y="28"/>
                      <a:pt x="7" y="29"/>
                    </a:cubicBezTo>
                    <a:cubicBezTo>
                      <a:pt x="5" y="29"/>
                      <a:pt x="2" y="30"/>
                      <a:pt x="1" y="30"/>
                    </a:cubicBezTo>
                    <a:cubicBezTo>
                      <a:pt x="0" y="31"/>
                      <a:pt x="0" y="31"/>
                      <a:pt x="0" y="31"/>
                    </a:cubicBezTo>
                    <a:cubicBezTo>
                      <a:pt x="0" y="31"/>
                      <a:pt x="0" y="31"/>
                      <a:pt x="0" y="31"/>
                    </a:cubicBezTo>
                    <a:cubicBezTo>
                      <a:pt x="0" y="50"/>
                      <a:pt x="0" y="69"/>
                      <a:pt x="0" y="88"/>
                    </a:cubicBezTo>
                    <a:cubicBezTo>
                      <a:pt x="0" y="151"/>
                      <a:pt x="0" y="151"/>
                      <a:pt x="0" y="151"/>
                    </a:cubicBezTo>
                    <a:cubicBezTo>
                      <a:pt x="8" y="151"/>
                      <a:pt x="8" y="151"/>
                      <a:pt x="8" y="151"/>
                    </a:cubicBezTo>
                    <a:cubicBezTo>
                      <a:pt x="7" y="152"/>
                      <a:pt x="7" y="152"/>
                      <a:pt x="7" y="152"/>
                    </a:cubicBezTo>
                    <a:cubicBezTo>
                      <a:pt x="7" y="152"/>
                      <a:pt x="7" y="152"/>
                      <a:pt x="7" y="152"/>
                    </a:cubicBezTo>
                    <a:cubicBezTo>
                      <a:pt x="8" y="152"/>
                      <a:pt x="10" y="152"/>
                      <a:pt x="11" y="152"/>
                    </a:cubicBezTo>
                    <a:cubicBezTo>
                      <a:pt x="11" y="152"/>
                      <a:pt x="12" y="152"/>
                      <a:pt x="12" y="152"/>
                    </a:cubicBezTo>
                    <a:cubicBezTo>
                      <a:pt x="12" y="152"/>
                      <a:pt x="12" y="152"/>
                      <a:pt x="12" y="152"/>
                    </a:cubicBezTo>
                    <a:cubicBezTo>
                      <a:pt x="12" y="152"/>
                      <a:pt x="13" y="152"/>
                      <a:pt x="13" y="152"/>
                    </a:cubicBezTo>
                    <a:cubicBezTo>
                      <a:pt x="13" y="152"/>
                      <a:pt x="13" y="152"/>
                      <a:pt x="13" y="152"/>
                    </a:cubicBezTo>
                    <a:cubicBezTo>
                      <a:pt x="14" y="152"/>
                      <a:pt x="15" y="152"/>
                      <a:pt x="17" y="152"/>
                    </a:cubicBezTo>
                    <a:cubicBezTo>
                      <a:pt x="19" y="152"/>
                      <a:pt x="19" y="152"/>
                      <a:pt x="19" y="152"/>
                    </a:cubicBezTo>
                    <a:cubicBezTo>
                      <a:pt x="21" y="151"/>
                      <a:pt x="22" y="151"/>
                      <a:pt x="23" y="151"/>
                    </a:cubicBezTo>
                    <a:cubicBezTo>
                      <a:pt x="23" y="151"/>
                      <a:pt x="23" y="151"/>
                      <a:pt x="23" y="151"/>
                    </a:cubicBezTo>
                    <a:cubicBezTo>
                      <a:pt x="23" y="150"/>
                      <a:pt x="22" y="148"/>
                      <a:pt x="22" y="146"/>
                    </a:cubicBezTo>
                    <a:cubicBezTo>
                      <a:pt x="21" y="144"/>
                      <a:pt x="22" y="143"/>
                      <a:pt x="23" y="140"/>
                    </a:cubicBezTo>
                    <a:cubicBezTo>
                      <a:pt x="23" y="139"/>
                      <a:pt x="23" y="138"/>
                      <a:pt x="24" y="137"/>
                    </a:cubicBezTo>
                    <a:cubicBezTo>
                      <a:pt x="25" y="134"/>
                      <a:pt x="26" y="130"/>
                      <a:pt x="28" y="128"/>
                    </a:cubicBezTo>
                    <a:cubicBezTo>
                      <a:pt x="30" y="127"/>
                      <a:pt x="30" y="127"/>
                      <a:pt x="30" y="127"/>
                    </a:cubicBezTo>
                    <a:cubicBezTo>
                      <a:pt x="30" y="127"/>
                      <a:pt x="31" y="126"/>
                      <a:pt x="32" y="126"/>
                    </a:cubicBezTo>
                    <a:cubicBezTo>
                      <a:pt x="34" y="125"/>
                      <a:pt x="37" y="125"/>
                      <a:pt x="40" y="124"/>
                    </a:cubicBezTo>
                    <a:cubicBezTo>
                      <a:pt x="41" y="124"/>
                      <a:pt x="41" y="124"/>
                      <a:pt x="41" y="124"/>
                    </a:cubicBezTo>
                    <a:cubicBezTo>
                      <a:pt x="42" y="124"/>
                      <a:pt x="43" y="124"/>
                      <a:pt x="44" y="124"/>
                    </a:cubicBezTo>
                    <a:cubicBezTo>
                      <a:pt x="47" y="123"/>
                      <a:pt x="47" y="122"/>
                      <a:pt x="48" y="121"/>
                    </a:cubicBezTo>
                    <a:cubicBezTo>
                      <a:pt x="48" y="120"/>
                      <a:pt x="49" y="119"/>
                      <a:pt x="49" y="119"/>
                    </a:cubicBezTo>
                    <a:cubicBezTo>
                      <a:pt x="50" y="116"/>
                      <a:pt x="51" y="112"/>
                      <a:pt x="55" y="111"/>
                    </a:cubicBezTo>
                    <a:cubicBezTo>
                      <a:pt x="55" y="111"/>
                      <a:pt x="56" y="111"/>
                      <a:pt x="56" y="111"/>
                    </a:cubicBezTo>
                    <a:cubicBezTo>
                      <a:pt x="57" y="111"/>
                      <a:pt x="58" y="111"/>
                      <a:pt x="58" y="112"/>
                    </a:cubicBezTo>
                    <a:cubicBezTo>
                      <a:pt x="59" y="112"/>
                      <a:pt x="60" y="112"/>
                      <a:pt x="60" y="112"/>
                    </a:cubicBezTo>
                    <a:cubicBezTo>
                      <a:pt x="61" y="112"/>
                      <a:pt x="61" y="112"/>
                      <a:pt x="61" y="112"/>
                    </a:cubicBezTo>
                    <a:cubicBezTo>
                      <a:pt x="62" y="109"/>
                      <a:pt x="64" y="107"/>
                      <a:pt x="66" y="105"/>
                    </a:cubicBezTo>
                    <a:cubicBezTo>
                      <a:pt x="67" y="104"/>
                      <a:pt x="68" y="103"/>
                      <a:pt x="69" y="103"/>
                    </a:cubicBezTo>
                    <a:cubicBezTo>
                      <a:pt x="71" y="100"/>
                      <a:pt x="71" y="100"/>
                      <a:pt x="71" y="100"/>
                    </a:cubicBezTo>
                    <a:cubicBezTo>
                      <a:pt x="74" y="102"/>
                      <a:pt x="74" y="102"/>
                      <a:pt x="74" y="102"/>
                    </a:cubicBezTo>
                    <a:cubicBezTo>
                      <a:pt x="74" y="103"/>
                      <a:pt x="75" y="103"/>
                      <a:pt x="75" y="104"/>
                    </a:cubicBezTo>
                    <a:cubicBezTo>
                      <a:pt x="77" y="105"/>
                      <a:pt x="77" y="105"/>
                      <a:pt x="77" y="105"/>
                    </a:cubicBezTo>
                    <a:cubicBezTo>
                      <a:pt x="78" y="107"/>
                      <a:pt x="80" y="109"/>
                      <a:pt x="81" y="110"/>
                    </a:cubicBezTo>
                    <a:cubicBezTo>
                      <a:pt x="82" y="110"/>
                      <a:pt x="82" y="110"/>
                      <a:pt x="82" y="110"/>
                    </a:cubicBezTo>
                    <a:cubicBezTo>
                      <a:pt x="82" y="110"/>
                      <a:pt x="83" y="110"/>
                      <a:pt x="83" y="110"/>
                    </a:cubicBezTo>
                    <a:cubicBezTo>
                      <a:pt x="84" y="110"/>
                      <a:pt x="84" y="110"/>
                      <a:pt x="85" y="110"/>
                    </a:cubicBezTo>
                    <a:cubicBezTo>
                      <a:pt x="87" y="110"/>
                      <a:pt x="88" y="111"/>
                      <a:pt x="89" y="113"/>
                    </a:cubicBezTo>
                    <a:cubicBezTo>
                      <a:pt x="92" y="116"/>
                      <a:pt x="92" y="116"/>
                      <a:pt x="92" y="116"/>
                    </a:cubicBezTo>
                    <a:cubicBezTo>
                      <a:pt x="92" y="116"/>
                      <a:pt x="92" y="117"/>
                      <a:pt x="93" y="117"/>
                    </a:cubicBezTo>
                    <a:cubicBezTo>
                      <a:pt x="93" y="117"/>
                      <a:pt x="93" y="117"/>
                      <a:pt x="93" y="117"/>
                    </a:cubicBezTo>
                    <a:cubicBezTo>
                      <a:pt x="94" y="118"/>
                      <a:pt x="94" y="118"/>
                      <a:pt x="94" y="118"/>
                    </a:cubicBezTo>
                    <a:cubicBezTo>
                      <a:pt x="96" y="118"/>
                      <a:pt x="99" y="118"/>
                      <a:pt x="101" y="118"/>
                    </a:cubicBezTo>
                    <a:cubicBezTo>
                      <a:pt x="102" y="118"/>
                      <a:pt x="102" y="118"/>
                      <a:pt x="102" y="118"/>
                    </a:cubicBezTo>
                    <a:cubicBezTo>
                      <a:pt x="106" y="118"/>
                      <a:pt x="110" y="121"/>
                      <a:pt x="114" y="122"/>
                    </a:cubicBezTo>
                    <a:cubicBezTo>
                      <a:pt x="120" y="126"/>
                      <a:pt x="120" y="126"/>
                      <a:pt x="120" y="126"/>
                    </a:cubicBezTo>
                    <a:cubicBezTo>
                      <a:pt x="114" y="129"/>
                      <a:pt x="114" y="129"/>
                      <a:pt x="114" y="129"/>
                    </a:cubicBezTo>
                    <a:cubicBezTo>
                      <a:pt x="114" y="129"/>
                      <a:pt x="115" y="131"/>
                      <a:pt x="114" y="132"/>
                    </a:cubicBezTo>
                    <a:cubicBezTo>
                      <a:pt x="117" y="133"/>
                      <a:pt x="119" y="135"/>
                      <a:pt x="121" y="137"/>
                    </a:cubicBezTo>
                    <a:cubicBezTo>
                      <a:pt x="124" y="140"/>
                      <a:pt x="124" y="140"/>
                      <a:pt x="124" y="140"/>
                    </a:cubicBezTo>
                    <a:cubicBezTo>
                      <a:pt x="120" y="142"/>
                      <a:pt x="120" y="142"/>
                      <a:pt x="120" y="142"/>
                    </a:cubicBezTo>
                    <a:cubicBezTo>
                      <a:pt x="119" y="143"/>
                      <a:pt x="119" y="143"/>
                      <a:pt x="118" y="143"/>
                    </a:cubicBezTo>
                    <a:cubicBezTo>
                      <a:pt x="118" y="144"/>
                      <a:pt x="118" y="145"/>
                      <a:pt x="118" y="146"/>
                    </a:cubicBezTo>
                    <a:cubicBezTo>
                      <a:pt x="118" y="147"/>
                      <a:pt x="118" y="147"/>
                      <a:pt x="118" y="147"/>
                    </a:cubicBezTo>
                    <a:cubicBezTo>
                      <a:pt x="118" y="148"/>
                      <a:pt x="118" y="148"/>
                      <a:pt x="117" y="149"/>
                    </a:cubicBezTo>
                    <a:cubicBezTo>
                      <a:pt x="117" y="149"/>
                      <a:pt x="117" y="149"/>
                      <a:pt x="117" y="149"/>
                    </a:cubicBezTo>
                    <a:cubicBezTo>
                      <a:pt x="117" y="150"/>
                      <a:pt x="117" y="150"/>
                      <a:pt x="117" y="150"/>
                    </a:cubicBezTo>
                    <a:cubicBezTo>
                      <a:pt x="119" y="151"/>
                      <a:pt x="119" y="151"/>
                      <a:pt x="119" y="151"/>
                    </a:cubicBezTo>
                    <a:cubicBezTo>
                      <a:pt x="119" y="152"/>
                      <a:pt x="120" y="152"/>
                      <a:pt x="120" y="152"/>
                    </a:cubicBezTo>
                    <a:cubicBezTo>
                      <a:pt x="121" y="153"/>
                      <a:pt x="121" y="153"/>
                      <a:pt x="121" y="153"/>
                    </a:cubicBezTo>
                    <a:cubicBezTo>
                      <a:pt x="123" y="154"/>
                      <a:pt x="124" y="154"/>
                      <a:pt x="125" y="154"/>
                    </a:cubicBezTo>
                    <a:cubicBezTo>
                      <a:pt x="125" y="154"/>
                      <a:pt x="126" y="154"/>
                      <a:pt x="127" y="154"/>
                    </a:cubicBezTo>
                    <a:cubicBezTo>
                      <a:pt x="127" y="154"/>
                      <a:pt x="128" y="154"/>
                      <a:pt x="129" y="154"/>
                    </a:cubicBezTo>
                    <a:cubicBezTo>
                      <a:pt x="130" y="154"/>
                      <a:pt x="130" y="154"/>
                      <a:pt x="131" y="154"/>
                    </a:cubicBezTo>
                    <a:cubicBezTo>
                      <a:pt x="134" y="154"/>
                      <a:pt x="137" y="155"/>
                      <a:pt x="140" y="155"/>
                    </a:cubicBezTo>
                    <a:cubicBezTo>
                      <a:pt x="141" y="156"/>
                      <a:pt x="142" y="156"/>
                      <a:pt x="144" y="156"/>
                    </a:cubicBezTo>
                    <a:cubicBezTo>
                      <a:pt x="146" y="157"/>
                      <a:pt x="146" y="157"/>
                      <a:pt x="146" y="157"/>
                    </a:cubicBezTo>
                    <a:cubicBezTo>
                      <a:pt x="146" y="157"/>
                      <a:pt x="147" y="156"/>
                      <a:pt x="147" y="156"/>
                    </a:cubicBezTo>
                    <a:cubicBezTo>
                      <a:pt x="147" y="155"/>
                      <a:pt x="148" y="155"/>
                      <a:pt x="148" y="154"/>
                    </a:cubicBezTo>
                    <a:cubicBezTo>
                      <a:pt x="149" y="153"/>
                      <a:pt x="150" y="153"/>
                      <a:pt x="151" y="152"/>
                    </a:cubicBezTo>
                    <a:cubicBezTo>
                      <a:pt x="152" y="152"/>
                      <a:pt x="152" y="152"/>
                      <a:pt x="153" y="152"/>
                    </a:cubicBezTo>
                    <a:cubicBezTo>
                      <a:pt x="156" y="152"/>
                      <a:pt x="159" y="154"/>
                      <a:pt x="162" y="157"/>
                    </a:cubicBezTo>
                    <a:cubicBezTo>
                      <a:pt x="167" y="161"/>
                      <a:pt x="170" y="169"/>
                      <a:pt x="173" y="175"/>
                    </a:cubicBezTo>
                    <a:cubicBezTo>
                      <a:pt x="174" y="176"/>
                      <a:pt x="174" y="176"/>
                      <a:pt x="174" y="176"/>
                    </a:cubicBezTo>
                    <a:cubicBezTo>
                      <a:pt x="174" y="178"/>
                      <a:pt x="175" y="179"/>
                      <a:pt x="175" y="180"/>
                    </a:cubicBezTo>
                    <a:cubicBezTo>
                      <a:pt x="176" y="181"/>
                      <a:pt x="176" y="182"/>
                      <a:pt x="177" y="183"/>
                    </a:cubicBezTo>
                    <a:cubicBezTo>
                      <a:pt x="179" y="184"/>
                      <a:pt x="181" y="186"/>
                      <a:pt x="182" y="189"/>
                    </a:cubicBezTo>
                    <a:cubicBezTo>
                      <a:pt x="182" y="189"/>
                      <a:pt x="182" y="189"/>
                      <a:pt x="182" y="190"/>
                    </a:cubicBezTo>
                    <a:cubicBezTo>
                      <a:pt x="182" y="191"/>
                      <a:pt x="183" y="192"/>
                      <a:pt x="183" y="193"/>
                    </a:cubicBezTo>
                    <a:cubicBezTo>
                      <a:pt x="183" y="193"/>
                      <a:pt x="183" y="193"/>
                      <a:pt x="183" y="193"/>
                    </a:cubicBezTo>
                    <a:cubicBezTo>
                      <a:pt x="183" y="195"/>
                      <a:pt x="184" y="196"/>
                      <a:pt x="184" y="198"/>
                    </a:cubicBezTo>
                    <a:cubicBezTo>
                      <a:pt x="185" y="199"/>
                      <a:pt x="185" y="199"/>
                      <a:pt x="185" y="199"/>
                    </a:cubicBezTo>
                    <a:cubicBezTo>
                      <a:pt x="186" y="200"/>
                      <a:pt x="188" y="201"/>
                      <a:pt x="190" y="202"/>
                    </a:cubicBezTo>
                    <a:cubicBezTo>
                      <a:pt x="191" y="203"/>
                      <a:pt x="192" y="203"/>
                      <a:pt x="193" y="204"/>
                    </a:cubicBezTo>
                    <a:cubicBezTo>
                      <a:pt x="197" y="207"/>
                      <a:pt x="197" y="207"/>
                      <a:pt x="197" y="207"/>
                    </a:cubicBezTo>
                    <a:cubicBezTo>
                      <a:pt x="199" y="209"/>
                      <a:pt x="201" y="210"/>
                      <a:pt x="202" y="211"/>
                    </a:cubicBezTo>
                    <a:cubicBezTo>
                      <a:pt x="206" y="214"/>
                      <a:pt x="211" y="218"/>
                      <a:pt x="216" y="220"/>
                    </a:cubicBezTo>
                    <a:cubicBezTo>
                      <a:pt x="217" y="221"/>
                      <a:pt x="218" y="222"/>
                      <a:pt x="220" y="222"/>
                    </a:cubicBezTo>
                    <a:cubicBezTo>
                      <a:pt x="223" y="224"/>
                      <a:pt x="223" y="224"/>
                      <a:pt x="223" y="224"/>
                    </a:cubicBezTo>
                    <a:cubicBezTo>
                      <a:pt x="228" y="226"/>
                      <a:pt x="235" y="229"/>
                      <a:pt x="239" y="234"/>
                    </a:cubicBezTo>
                    <a:cubicBezTo>
                      <a:pt x="242" y="237"/>
                      <a:pt x="246" y="239"/>
                      <a:pt x="250" y="241"/>
                    </a:cubicBezTo>
                    <a:cubicBezTo>
                      <a:pt x="253" y="243"/>
                      <a:pt x="253" y="243"/>
                      <a:pt x="253" y="243"/>
                    </a:cubicBezTo>
                    <a:cubicBezTo>
                      <a:pt x="254" y="243"/>
                      <a:pt x="256" y="244"/>
                      <a:pt x="257" y="245"/>
                    </a:cubicBezTo>
                    <a:cubicBezTo>
                      <a:pt x="259" y="246"/>
                      <a:pt x="261" y="248"/>
                      <a:pt x="264" y="249"/>
                    </a:cubicBezTo>
                    <a:cubicBezTo>
                      <a:pt x="265" y="250"/>
                      <a:pt x="265" y="250"/>
                      <a:pt x="265" y="250"/>
                    </a:cubicBezTo>
                    <a:cubicBezTo>
                      <a:pt x="266" y="251"/>
                      <a:pt x="266" y="251"/>
                      <a:pt x="267" y="252"/>
                    </a:cubicBezTo>
                    <a:cubicBezTo>
                      <a:pt x="268" y="253"/>
                      <a:pt x="268" y="253"/>
                      <a:pt x="268" y="253"/>
                    </a:cubicBezTo>
                    <a:cubicBezTo>
                      <a:pt x="271" y="254"/>
                      <a:pt x="272" y="255"/>
                      <a:pt x="273" y="255"/>
                    </a:cubicBezTo>
                    <a:cubicBezTo>
                      <a:pt x="273" y="255"/>
                      <a:pt x="273" y="255"/>
                      <a:pt x="274" y="255"/>
                    </a:cubicBezTo>
                    <a:cubicBezTo>
                      <a:pt x="274" y="255"/>
                      <a:pt x="274" y="255"/>
                      <a:pt x="274" y="255"/>
                    </a:cubicBezTo>
                    <a:cubicBezTo>
                      <a:pt x="276" y="254"/>
                      <a:pt x="276" y="254"/>
                      <a:pt x="276" y="254"/>
                    </a:cubicBezTo>
                    <a:cubicBezTo>
                      <a:pt x="277" y="254"/>
                      <a:pt x="278" y="253"/>
                      <a:pt x="279" y="253"/>
                    </a:cubicBezTo>
                    <a:cubicBezTo>
                      <a:pt x="282" y="253"/>
                      <a:pt x="285" y="255"/>
                      <a:pt x="288" y="257"/>
                    </a:cubicBezTo>
                    <a:cubicBezTo>
                      <a:pt x="289" y="257"/>
                      <a:pt x="289" y="257"/>
                      <a:pt x="289" y="257"/>
                    </a:cubicBezTo>
                    <a:cubicBezTo>
                      <a:pt x="291" y="258"/>
                      <a:pt x="292" y="259"/>
                      <a:pt x="294" y="260"/>
                    </a:cubicBezTo>
                    <a:cubicBezTo>
                      <a:pt x="301" y="263"/>
                      <a:pt x="301" y="263"/>
                      <a:pt x="301" y="263"/>
                    </a:cubicBezTo>
                    <a:cubicBezTo>
                      <a:pt x="304" y="265"/>
                      <a:pt x="303" y="267"/>
                      <a:pt x="303" y="268"/>
                    </a:cubicBezTo>
                    <a:cubicBezTo>
                      <a:pt x="303" y="269"/>
                      <a:pt x="303" y="269"/>
                      <a:pt x="303" y="270"/>
                    </a:cubicBezTo>
                    <a:cubicBezTo>
                      <a:pt x="303" y="270"/>
                      <a:pt x="303" y="271"/>
                      <a:pt x="303" y="272"/>
                    </a:cubicBezTo>
                    <a:cubicBezTo>
                      <a:pt x="303" y="273"/>
                      <a:pt x="303" y="273"/>
                      <a:pt x="303" y="273"/>
                    </a:cubicBezTo>
                    <a:cubicBezTo>
                      <a:pt x="302" y="274"/>
                      <a:pt x="302" y="275"/>
                      <a:pt x="302" y="276"/>
                    </a:cubicBezTo>
                    <a:cubicBezTo>
                      <a:pt x="301" y="282"/>
                      <a:pt x="301" y="282"/>
                      <a:pt x="301" y="282"/>
                    </a:cubicBezTo>
                    <a:cubicBezTo>
                      <a:pt x="301" y="282"/>
                      <a:pt x="301" y="283"/>
                      <a:pt x="301" y="284"/>
                    </a:cubicBezTo>
                    <a:cubicBezTo>
                      <a:pt x="305" y="284"/>
                      <a:pt x="305" y="284"/>
                      <a:pt x="305" y="284"/>
                    </a:cubicBezTo>
                    <a:cubicBezTo>
                      <a:pt x="306" y="284"/>
                      <a:pt x="308" y="284"/>
                      <a:pt x="309" y="284"/>
                    </a:cubicBezTo>
                    <a:cubicBezTo>
                      <a:pt x="312" y="284"/>
                      <a:pt x="314" y="285"/>
                      <a:pt x="316" y="288"/>
                    </a:cubicBezTo>
                    <a:cubicBezTo>
                      <a:pt x="317" y="288"/>
                      <a:pt x="317" y="288"/>
                      <a:pt x="317" y="288"/>
                    </a:cubicBezTo>
                    <a:cubicBezTo>
                      <a:pt x="318" y="289"/>
                      <a:pt x="318" y="289"/>
                      <a:pt x="318" y="289"/>
                    </a:cubicBezTo>
                    <a:cubicBezTo>
                      <a:pt x="318" y="289"/>
                      <a:pt x="318" y="289"/>
                      <a:pt x="318" y="289"/>
                    </a:cubicBezTo>
                    <a:cubicBezTo>
                      <a:pt x="318" y="289"/>
                      <a:pt x="318" y="289"/>
                      <a:pt x="318" y="289"/>
                    </a:cubicBezTo>
                    <a:cubicBezTo>
                      <a:pt x="319" y="289"/>
                      <a:pt x="319" y="289"/>
                      <a:pt x="319" y="289"/>
                    </a:cubicBezTo>
                    <a:cubicBezTo>
                      <a:pt x="320" y="289"/>
                      <a:pt x="321" y="290"/>
                      <a:pt x="322" y="290"/>
                    </a:cubicBezTo>
                    <a:cubicBezTo>
                      <a:pt x="323" y="290"/>
                      <a:pt x="324" y="289"/>
                      <a:pt x="324" y="289"/>
                    </a:cubicBezTo>
                    <a:cubicBezTo>
                      <a:pt x="326" y="289"/>
                      <a:pt x="327" y="289"/>
                      <a:pt x="328" y="289"/>
                    </a:cubicBezTo>
                    <a:cubicBezTo>
                      <a:pt x="328" y="287"/>
                      <a:pt x="328" y="287"/>
                      <a:pt x="328" y="287"/>
                    </a:cubicBezTo>
                    <a:cubicBezTo>
                      <a:pt x="329" y="288"/>
                      <a:pt x="329" y="288"/>
                      <a:pt x="329" y="288"/>
                    </a:cubicBezTo>
                    <a:cubicBezTo>
                      <a:pt x="330" y="287"/>
                      <a:pt x="330" y="287"/>
                      <a:pt x="330" y="287"/>
                    </a:cubicBezTo>
                    <a:cubicBezTo>
                      <a:pt x="330" y="286"/>
                      <a:pt x="330" y="286"/>
                      <a:pt x="330" y="286"/>
                    </a:cubicBezTo>
                    <a:cubicBezTo>
                      <a:pt x="330" y="286"/>
                      <a:pt x="330" y="285"/>
                      <a:pt x="330" y="285"/>
                    </a:cubicBezTo>
                    <a:cubicBezTo>
                      <a:pt x="330" y="284"/>
                      <a:pt x="330" y="283"/>
                      <a:pt x="330" y="283"/>
                    </a:cubicBezTo>
                    <a:cubicBezTo>
                      <a:pt x="330" y="282"/>
                      <a:pt x="330" y="282"/>
                      <a:pt x="330" y="282"/>
                    </a:cubicBezTo>
                    <a:cubicBezTo>
                      <a:pt x="330" y="282"/>
                      <a:pt x="330" y="281"/>
                      <a:pt x="331" y="281"/>
                    </a:cubicBezTo>
                    <a:cubicBezTo>
                      <a:pt x="332" y="279"/>
                      <a:pt x="333" y="278"/>
                      <a:pt x="334" y="276"/>
                    </a:cubicBezTo>
                    <a:cubicBezTo>
                      <a:pt x="335" y="274"/>
                      <a:pt x="335" y="274"/>
                      <a:pt x="335" y="274"/>
                    </a:cubicBezTo>
                    <a:cubicBezTo>
                      <a:pt x="336" y="274"/>
                      <a:pt x="336" y="273"/>
                      <a:pt x="336" y="273"/>
                    </a:cubicBezTo>
                    <a:cubicBezTo>
                      <a:pt x="337" y="272"/>
                      <a:pt x="337" y="272"/>
                      <a:pt x="337" y="272"/>
                    </a:cubicBezTo>
                    <a:cubicBezTo>
                      <a:pt x="344" y="263"/>
                      <a:pt x="345" y="261"/>
                      <a:pt x="345" y="260"/>
                    </a:cubicBezTo>
                    <a:cubicBezTo>
                      <a:pt x="345" y="260"/>
                      <a:pt x="345" y="260"/>
                      <a:pt x="345" y="260"/>
                    </a:cubicBezTo>
                    <a:cubicBezTo>
                      <a:pt x="344" y="259"/>
                      <a:pt x="344" y="259"/>
                      <a:pt x="343" y="258"/>
                    </a:cubicBezTo>
                    <a:cubicBezTo>
                      <a:pt x="343" y="258"/>
                      <a:pt x="342" y="257"/>
                      <a:pt x="342" y="257"/>
                    </a:cubicBezTo>
                    <a:cubicBezTo>
                      <a:pt x="341" y="256"/>
                      <a:pt x="341" y="256"/>
                      <a:pt x="341" y="256"/>
                    </a:cubicBezTo>
                    <a:cubicBezTo>
                      <a:pt x="341" y="256"/>
                      <a:pt x="340" y="255"/>
                      <a:pt x="340" y="255"/>
                    </a:cubicBezTo>
                    <a:cubicBezTo>
                      <a:pt x="339" y="254"/>
                      <a:pt x="338" y="252"/>
                      <a:pt x="338" y="250"/>
                    </a:cubicBezTo>
                    <a:cubicBezTo>
                      <a:pt x="338" y="250"/>
                      <a:pt x="338" y="249"/>
                      <a:pt x="338" y="248"/>
                    </a:cubicBezTo>
                    <a:cubicBezTo>
                      <a:pt x="339" y="244"/>
                      <a:pt x="339" y="244"/>
                      <a:pt x="339" y="244"/>
                    </a:cubicBezTo>
                    <a:cubicBezTo>
                      <a:pt x="340" y="239"/>
                      <a:pt x="340" y="238"/>
                      <a:pt x="340" y="238"/>
                    </a:cubicBezTo>
                    <a:cubicBezTo>
                      <a:pt x="339" y="237"/>
                      <a:pt x="336" y="236"/>
                      <a:pt x="334" y="236"/>
                    </a:cubicBezTo>
                    <a:cubicBezTo>
                      <a:pt x="329" y="236"/>
                      <a:pt x="327" y="236"/>
                      <a:pt x="323" y="232"/>
                    </a:cubicBezTo>
                    <a:cubicBezTo>
                      <a:pt x="322" y="231"/>
                      <a:pt x="322" y="231"/>
                      <a:pt x="322" y="231"/>
                    </a:cubicBezTo>
                    <a:cubicBezTo>
                      <a:pt x="321" y="230"/>
                      <a:pt x="321" y="230"/>
                      <a:pt x="321" y="230"/>
                    </a:cubicBezTo>
                    <a:cubicBezTo>
                      <a:pt x="320" y="229"/>
                      <a:pt x="320" y="228"/>
                      <a:pt x="319" y="228"/>
                    </a:cubicBezTo>
                    <a:cubicBezTo>
                      <a:pt x="318" y="226"/>
                      <a:pt x="317" y="224"/>
                      <a:pt x="317" y="222"/>
                    </a:cubicBezTo>
                    <a:cubicBezTo>
                      <a:pt x="317" y="221"/>
                      <a:pt x="317" y="221"/>
                      <a:pt x="317" y="221"/>
                    </a:cubicBezTo>
                    <a:cubicBezTo>
                      <a:pt x="318" y="217"/>
                      <a:pt x="319" y="215"/>
                      <a:pt x="323" y="212"/>
                    </a:cubicBezTo>
                    <a:cubicBezTo>
                      <a:pt x="324" y="212"/>
                      <a:pt x="324" y="212"/>
                      <a:pt x="324" y="212"/>
                    </a:cubicBezTo>
                    <a:cubicBezTo>
                      <a:pt x="325" y="211"/>
                      <a:pt x="326" y="210"/>
                      <a:pt x="328" y="209"/>
                    </a:cubicBezTo>
                    <a:cubicBezTo>
                      <a:pt x="328" y="209"/>
                      <a:pt x="328" y="209"/>
                      <a:pt x="328" y="209"/>
                    </a:cubicBezTo>
                    <a:cubicBezTo>
                      <a:pt x="329" y="209"/>
                      <a:pt x="330" y="209"/>
                      <a:pt x="331" y="209"/>
                    </a:cubicBezTo>
                    <a:cubicBezTo>
                      <a:pt x="332" y="209"/>
                      <a:pt x="333" y="209"/>
                      <a:pt x="334" y="209"/>
                    </a:cubicBezTo>
                    <a:cubicBezTo>
                      <a:pt x="337" y="210"/>
                      <a:pt x="341" y="210"/>
                      <a:pt x="344" y="211"/>
                    </a:cubicBezTo>
                    <a:cubicBezTo>
                      <a:pt x="345" y="211"/>
                      <a:pt x="347" y="211"/>
                      <a:pt x="348" y="211"/>
                    </a:cubicBezTo>
                    <a:cubicBezTo>
                      <a:pt x="348" y="211"/>
                      <a:pt x="349" y="211"/>
                      <a:pt x="349" y="211"/>
                    </a:cubicBezTo>
                    <a:cubicBezTo>
                      <a:pt x="350" y="211"/>
                      <a:pt x="350" y="211"/>
                      <a:pt x="350" y="211"/>
                    </a:cubicBezTo>
                    <a:cubicBezTo>
                      <a:pt x="350" y="211"/>
                      <a:pt x="350" y="211"/>
                      <a:pt x="350" y="211"/>
                    </a:cubicBezTo>
                    <a:cubicBezTo>
                      <a:pt x="351" y="210"/>
                      <a:pt x="351" y="209"/>
                      <a:pt x="352" y="206"/>
                    </a:cubicBezTo>
                    <a:cubicBezTo>
                      <a:pt x="352" y="205"/>
                      <a:pt x="352" y="205"/>
                      <a:pt x="352" y="205"/>
                    </a:cubicBezTo>
                    <a:cubicBezTo>
                      <a:pt x="353" y="203"/>
                      <a:pt x="354" y="201"/>
                      <a:pt x="356" y="200"/>
                    </a:cubicBezTo>
                    <a:cubicBezTo>
                      <a:pt x="356" y="199"/>
                      <a:pt x="356" y="199"/>
                      <a:pt x="357" y="198"/>
                    </a:cubicBezTo>
                    <a:cubicBezTo>
                      <a:pt x="355" y="198"/>
                      <a:pt x="354" y="197"/>
                      <a:pt x="353" y="195"/>
                    </a:cubicBezTo>
                    <a:cubicBezTo>
                      <a:pt x="351" y="191"/>
                      <a:pt x="351" y="191"/>
                      <a:pt x="351" y="191"/>
                    </a:cubicBezTo>
                    <a:cubicBezTo>
                      <a:pt x="366" y="189"/>
                      <a:pt x="366" y="189"/>
                      <a:pt x="366" y="189"/>
                    </a:cubicBezTo>
                    <a:cubicBezTo>
                      <a:pt x="367" y="189"/>
                      <a:pt x="367" y="189"/>
                      <a:pt x="367" y="189"/>
                    </a:cubicBezTo>
                    <a:cubicBezTo>
                      <a:pt x="368" y="189"/>
                      <a:pt x="369" y="189"/>
                      <a:pt x="370" y="189"/>
                    </a:cubicBezTo>
                    <a:cubicBezTo>
                      <a:pt x="369" y="186"/>
                      <a:pt x="369" y="182"/>
                      <a:pt x="369" y="180"/>
                    </a:cubicBezTo>
                    <a:cubicBezTo>
                      <a:pt x="370" y="178"/>
                      <a:pt x="371" y="176"/>
                      <a:pt x="372" y="174"/>
                    </a:cubicBezTo>
                    <a:cubicBezTo>
                      <a:pt x="372" y="173"/>
                      <a:pt x="372" y="173"/>
                      <a:pt x="372" y="173"/>
                    </a:cubicBezTo>
                    <a:cubicBezTo>
                      <a:pt x="373" y="172"/>
                      <a:pt x="373" y="172"/>
                      <a:pt x="373" y="172"/>
                    </a:cubicBezTo>
                    <a:cubicBezTo>
                      <a:pt x="374" y="171"/>
                      <a:pt x="374" y="171"/>
                      <a:pt x="374" y="171"/>
                    </a:cubicBezTo>
                    <a:cubicBezTo>
                      <a:pt x="376" y="170"/>
                      <a:pt x="376" y="170"/>
                      <a:pt x="376" y="170"/>
                    </a:cubicBezTo>
                    <a:cubicBezTo>
                      <a:pt x="376" y="170"/>
                      <a:pt x="376" y="170"/>
                      <a:pt x="376" y="170"/>
                    </a:cubicBezTo>
                    <a:cubicBezTo>
                      <a:pt x="377" y="170"/>
                      <a:pt x="377" y="170"/>
                      <a:pt x="378" y="171"/>
                    </a:cubicBezTo>
                    <a:cubicBezTo>
                      <a:pt x="378" y="171"/>
                      <a:pt x="378" y="171"/>
                      <a:pt x="378" y="171"/>
                    </a:cubicBezTo>
                    <a:cubicBezTo>
                      <a:pt x="379" y="171"/>
                      <a:pt x="380" y="171"/>
                      <a:pt x="380" y="171"/>
                    </a:cubicBezTo>
                    <a:cubicBezTo>
                      <a:pt x="381" y="172"/>
                      <a:pt x="381" y="172"/>
                      <a:pt x="381" y="172"/>
                    </a:cubicBezTo>
                    <a:cubicBezTo>
                      <a:pt x="382" y="172"/>
                      <a:pt x="382" y="172"/>
                      <a:pt x="382" y="172"/>
                    </a:cubicBezTo>
                    <a:cubicBezTo>
                      <a:pt x="383" y="172"/>
                      <a:pt x="383" y="173"/>
                      <a:pt x="384" y="173"/>
                    </a:cubicBezTo>
                    <a:cubicBezTo>
                      <a:pt x="385" y="174"/>
                      <a:pt x="385" y="174"/>
                      <a:pt x="385" y="174"/>
                    </a:cubicBezTo>
                    <a:cubicBezTo>
                      <a:pt x="386" y="174"/>
                      <a:pt x="386" y="174"/>
                      <a:pt x="386" y="174"/>
                    </a:cubicBezTo>
                    <a:cubicBezTo>
                      <a:pt x="386" y="174"/>
                      <a:pt x="386" y="174"/>
                      <a:pt x="386" y="174"/>
                    </a:cubicBezTo>
                    <a:cubicBezTo>
                      <a:pt x="387" y="174"/>
                      <a:pt x="387" y="174"/>
                      <a:pt x="387" y="174"/>
                    </a:cubicBezTo>
                    <a:cubicBezTo>
                      <a:pt x="387" y="174"/>
                      <a:pt x="388" y="174"/>
                      <a:pt x="388" y="173"/>
                    </a:cubicBezTo>
                    <a:cubicBezTo>
                      <a:pt x="390" y="172"/>
                      <a:pt x="391" y="172"/>
                      <a:pt x="393" y="171"/>
                    </a:cubicBezTo>
                    <a:cubicBezTo>
                      <a:pt x="393" y="171"/>
                      <a:pt x="393" y="171"/>
                      <a:pt x="393" y="171"/>
                    </a:cubicBezTo>
                    <a:cubicBezTo>
                      <a:pt x="394" y="170"/>
                      <a:pt x="394" y="170"/>
                      <a:pt x="394" y="170"/>
                    </a:cubicBezTo>
                    <a:cubicBezTo>
                      <a:pt x="395" y="170"/>
                      <a:pt x="397" y="168"/>
                      <a:pt x="398" y="168"/>
                    </a:cubicBezTo>
                    <a:cubicBezTo>
                      <a:pt x="399" y="167"/>
                      <a:pt x="399" y="167"/>
                      <a:pt x="399" y="167"/>
                    </a:cubicBezTo>
                    <a:cubicBezTo>
                      <a:pt x="400" y="166"/>
                      <a:pt x="400" y="166"/>
                      <a:pt x="401" y="165"/>
                    </a:cubicBezTo>
                    <a:cubicBezTo>
                      <a:pt x="402" y="165"/>
                      <a:pt x="402" y="164"/>
                      <a:pt x="403" y="164"/>
                    </a:cubicBezTo>
                    <a:cubicBezTo>
                      <a:pt x="403" y="163"/>
                      <a:pt x="404" y="163"/>
                      <a:pt x="405" y="162"/>
                    </a:cubicBezTo>
                    <a:cubicBezTo>
                      <a:pt x="406" y="162"/>
                      <a:pt x="406" y="162"/>
                      <a:pt x="406" y="162"/>
                    </a:cubicBezTo>
                    <a:cubicBezTo>
                      <a:pt x="408" y="160"/>
                      <a:pt x="408" y="160"/>
                      <a:pt x="408" y="160"/>
                    </a:cubicBezTo>
                    <a:cubicBezTo>
                      <a:pt x="422" y="176"/>
                      <a:pt x="422" y="176"/>
                      <a:pt x="422" y="176"/>
                    </a:cubicBezTo>
                    <a:cubicBezTo>
                      <a:pt x="419" y="178"/>
                      <a:pt x="419" y="178"/>
                      <a:pt x="419" y="178"/>
                    </a:cubicBezTo>
                    <a:cubicBezTo>
                      <a:pt x="417" y="180"/>
                      <a:pt x="414" y="182"/>
                      <a:pt x="411" y="185"/>
                    </a:cubicBezTo>
                    <a:cubicBezTo>
                      <a:pt x="412" y="186"/>
                      <a:pt x="414" y="187"/>
                      <a:pt x="415" y="188"/>
                    </a:cubicBezTo>
                    <a:cubicBezTo>
                      <a:pt x="416" y="188"/>
                      <a:pt x="417" y="188"/>
                      <a:pt x="418" y="188"/>
                    </a:cubicBezTo>
                    <a:cubicBezTo>
                      <a:pt x="419" y="188"/>
                      <a:pt x="419" y="188"/>
                      <a:pt x="419" y="188"/>
                    </a:cubicBezTo>
                    <a:cubicBezTo>
                      <a:pt x="419" y="188"/>
                      <a:pt x="420" y="188"/>
                      <a:pt x="420" y="188"/>
                    </a:cubicBezTo>
                    <a:cubicBezTo>
                      <a:pt x="422" y="187"/>
                      <a:pt x="422" y="187"/>
                      <a:pt x="422" y="187"/>
                    </a:cubicBezTo>
                    <a:cubicBezTo>
                      <a:pt x="423" y="187"/>
                      <a:pt x="423" y="187"/>
                      <a:pt x="423" y="187"/>
                    </a:cubicBezTo>
                    <a:cubicBezTo>
                      <a:pt x="423" y="187"/>
                      <a:pt x="424" y="187"/>
                      <a:pt x="425" y="187"/>
                    </a:cubicBezTo>
                    <a:cubicBezTo>
                      <a:pt x="425" y="187"/>
                      <a:pt x="425" y="187"/>
                      <a:pt x="425" y="187"/>
                    </a:cubicBezTo>
                    <a:cubicBezTo>
                      <a:pt x="427" y="186"/>
                      <a:pt x="429" y="186"/>
                      <a:pt x="431" y="186"/>
                    </a:cubicBezTo>
                    <a:cubicBezTo>
                      <a:pt x="433" y="186"/>
                      <a:pt x="433" y="186"/>
                      <a:pt x="433" y="186"/>
                    </a:cubicBezTo>
                    <a:cubicBezTo>
                      <a:pt x="434" y="186"/>
                      <a:pt x="435" y="186"/>
                      <a:pt x="435" y="186"/>
                    </a:cubicBezTo>
                    <a:cubicBezTo>
                      <a:pt x="436" y="187"/>
                      <a:pt x="437" y="187"/>
                      <a:pt x="439" y="188"/>
                    </a:cubicBezTo>
                    <a:cubicBezTo>
                      <a:pt x="440" y="188"/>
                      <a:pt x="441" y="189"/>
                      <a:pt x="442" y="190"/>
                    </a:cubicBezTo>
                    <a:cubicBezTo>
                      <a:pt x="443" y="190"/>
                      <a:pt x="443" y="190"/>
                      <a:pt x="444" y="190"/>
                    </a:cubicBezTo>
                    <a:cubicBezTo>
                      <a:pt x="445" y="190"/>
                      <a:pt x="446" y="190"/>
                      <a:pt x="448" y="189"/>
                    </a:cubicBezTo>
                    <a:cubicBezTo>
                      <a:pt x="448" y="189"/>
                      <a:pt x="448" y="189"/>
                      <a:pt x="448" y="189"/>
                    </a:cubicBezTo>
                    <a:cubicBezTo>
                      <a:pt x="449" y="189"/>
                      <a:pt x="449" y="189"/>
                      <a:pt x="449" y="189"/>
                    </a:cubicBezTo>
                    <a:cubicBezTo>
                      <a:pt x="449" y="188"/>
                      <a:pt x="450" y="188"/>
                      <a:pt x="450" y="188"/>
                    </a:cubicBezTo>
                    <a:cubicBezTo>
                      <a:pt x="450" y="187"/>
                      <a:pt x="450" y="186"/>
                      <a:pt x="450" y="186"/>
                    </a:cubicBezTo>
                    <a:cubicBezTo>
                      <a:pt x="451" y="184"/>
                      <a:pt x="452" y="183"/>
                      <a:pt x="453" y="183"/>
                    </a:cubicBezTo>
                    <a:cubicBezTo>
                      <a:pt x="453" y="182"/>
                      <a:pt x="454" y="182"/>
                      <a:pt x="454" y="182"/>
                    </a:cubicBezTo>
                    <a:cubicBezTo>
                      <a:pt x="455" y="182"/>
                      <a:pt x="455" y="182"/>
                      <a:pt x="455" y="182"/>
                    </a:cubicBezTo>
                    <a:cubicBezTo>
                      <a:pt x="456" y="181"/>
                      <a:pt x="456" y="181"/>
                      <a:pt x="456" y="181"/>
                    </a:cubicBezTo>
                    <a:cubicBezTo>
                      <a:pt x="456" y="183"/>
                      <a:pt x="456" y="183"/>
                      <a:pt x="456" y="183"/>
                    </a:cubicBezTo>
                    <a:cubicBezTo>
                      <a:pt x="456" y="181"/>
                      <a:pt x="456" y="181"/>
                      <a:pt x="456" y="181"/>
                    </a:cubicBezTo>
                    <a:cubicBezTo>
                      <a:pt x="456" y="181"/>
                      <a:pt x="457" y="181"/>
                      <a:pt x="457" y="181"/>
                    </a:cubicBezTo>
                    <a:cubicBezTo>
                      <a:pt x="457" y="181"/>
                      <a:pt x="457" y="181"/>
                      <a:pt x="457" y="181"/>
                    </a:cubicBezTo>
                    <a:cubicBezTo>
                      <a:pt x="458" y="181"/>
                      <a:pt x="458" y="181"/>
                      <a:pt x="459" y="181"/>
                    </a:cubicBezTo>
                    <a:cubicBezTo>
                      <a:pt x="459" y="180"/>
                      <a:pt x="459" y="180"/>
                      <a:pt x="459" y="180"/>
                    </a:cubicBezTo>
                    <a:cubicBezTo>
                      <a:pt x="459" y="180"/>
                      <a:pt x="459" y="180"/>
                      <a:pt x="459" y="180"/>
                    </a:cubicBezTo>
                    <a:cubicBezTo>
                      <a:pt x="459" y="178"/>
                      <a:pt x="460" y="177"/>
                      <a:pt x="461" y="176"/>
                    </a:cubicBezTo>
                    <a:cubicBezTo>
                      <a:pt x="462" y="176"/>
                      <a:pt x="462" y="176"/>
                      <a:pt x="462" y="176"/>
                    </a:cubicBezTo>
                    <a:cubicBezTo>
                      <a:pt x="463" y="176"/>
                      <a:pt x="463" y="176"/>
                      <a:pt x="463" y="176"/>
                    </a:cubicBezTo>
                    <a:cubicBezTo>
                      <a:pt x="464" y="176"/>
                      <a:pt x="465" y="176"/>
                      <a:pt x="466" y="176"/>
                    </a:cubicBezTo>
                    <a:cubicBezTo>
                      <a:pt x="466" y="176"/>
                      <a:pt x="466" y="176"/>
                      <a:pt x="466" y="176"/>
                    </a:cubicBezTo>
                    <a:cubicBezTo>
                      <a:pt x="467" y="177"/>
                      <a:pt x="468" y="177"/>
                      <a:pt x="468" y="178"/>
                    </a:cubicBezTo>
                    <a:cubicBezTo>
                      <a:pt x="469" y="178"/>
                      <a:pt x="469" y="178"/>
                      <a:pt x="469" y="179"/>
                    </a:cubicBezTo>
                    <a:cubicBezTo>
                      <a:pt x="470" y="178"/>
                      <a:pt x="470" y="178"/>
                      <a:pt x="470" y="178"/>
                    </a:cubicBezTo>
                    <a:cubicBezTo>
                      <a:pt x="470" y="177"/>
                      <a:pt x="470" y="177"/>
                      <a:pt x="470" y="177"/>
                    </a:cubicBezTo>
                    <a:cubicBezTo>
                      <a:pt x="471" y="177"/>
                      <a:pt x="471" y="176"/>
                      <a:pt x="471" y="176"/>
                    </a:cubicBezTo>
                    <a:cubicBezTo>
                      <a:pt x="473" y="174"/>
                      <a:pt x="473" y="174"/>
                      <a:pt x="473" y="174"/>
                    </a:cubicBezTo>
                    <a:cubicBezTo>
                      <a:pt x="473" y="174"/>
                      <a:pt x="473" y="174"/>
                      <a:pt x="473" y="174"/>
                    </a:cubicBezTo>
                    <a:cubicBezTo>
                      <a:pt x="471" y="174"/>
                      <a:pt x="469" y="173"/>
                      <a:pt x="467" y="173"/>
                    </a:cubicBezTo>
                    <a:cubicBezTo>
                      <a:pt x="467" y="172"/>
                      <a:pt x="467" y="172"/>
                      <a:pt x="467" y="172"/>
                    </a:cubicBezTo>
                    <a:cubicBezTo>
                      <a:pt x="466" y="171"/>
                      <a:pt x="466" y="171"/>
                      <a:pt x="466" y="171"/>
                    </a:cubicBezTo>
                    <a:cubicBezTo>
                      <a:pt x="466" y="171"/>
                      <a:pt x="465" y="170"/>
                      <a:pt x="465" y="170"/>
                    </a:cubicBezTo>
                    <a:cubicBezTo>
                      <a:pt x="465" y="170"/>
                      <a:pt x="465" y="170"/>
                      <a:pt x="464" y="170"/>
                    </a:cubicBezTo>
                    <a:cubicBezTo>
                      <a:pt x="463" y="169"/>
                      <a:pt x="463" y="169"/>
                      <a:pt x="463" y="169"/>
                    </a:cubicBezTo>
                    <a:cubicBezTo>
                      <a:pt x="462" y="173"/>
                      <a:pt x="462" y="173"/>
                      <a:pt x="462" y="173"/>
                    </a:cubicBezTo>
                    <a:cubicBezTo>
                      <a:pt x="462" y="169"/>
                      <a:pt x="462" y="169"/>
                      <a:pt x="462" y="169"/>
                    </a:cubicBezTo>
                    <a:cubicBezTo>
                      <a:pt x="461" y="169"/>
                      <a:pt x="461" y="169"/>
                      <a:pt x="461" y="169"/>
                    </a:cubicBezTo>
                    <a:cubicBezTo>
                      <a:pt x="461" y="169"/>
                      <a:pt x="460" y="169"/>
                      <a:pt x="460" y="169"/>
                    </a:cubicBezTo>
                    <a:cubicBezTo>
                      <a:pt x="460" y="169"/>
                      <a:pt x="460" y="169"/>
                      <a:pt x="460" y="169"/>
                    </a:cubicBezTo>
                    <a:cubicBezTo>
                      <a:pt x="459" y="169"/>
                      <a:pt x="459" y="169"/>
                      <a:pt x="458" y="169"/>
                    </a:cubicBezTo>
                    <a:cubicBezTo>
                      <a:pt x="454" y="171"/>
                      <a:pt x="454" y="171"/>
                      <a:pt x="454" y="171"/>
                    </a:cubicBezTo>
                    <a:cubicBezTo>
                      <a:pt x="454" y="166"/>
                      <a:pt x="454" y="166"/>
                      <a:pt x="454" y="166"/>
                    </a:cubicBezTo>
                    <a:cubicBezTo>
                      <a:pt x="454" y="166"/>
                      <a:pt x="453" y="165"/>
                      <a:pt x="453" y="164"/>
                    </a:cubicBezTo>
                    <a:cubicBezTo>
                      <a:pt x="453" y="164"/>
                      <a:pt x="453" y="163"/>
                      <a:pt x="453" y="163"/>
                    </a:cubicBezTo>
                    <a:cubicBezTo>
                      <a:pt x="453" y="163"/>
                      <a:pt x="453" y="163"/>
                      <a:pt x="453" y="163"/>
                    </a:cubicBezTo>
                    <a:cubicBezTo>
                      <a:pt x="452" y="163"/>
                      <a:pt x="452" y="163"/>
                      <a:pt x="452" y="163"/>
                    </a:cubicBezTo>
                    <a:cubicBezTo>
                      <a:pt x="451" y="163"/>
                      <a:pt x="451" y="163"/>
                      <a:pt x="451" y="163"/>
                    </a:cubicBezTo>
                    <a:cubicBezTo>
                      <a:pt x="450" y="163"/>
                      <a:pt x="448" y="162"/>
                      <a:pt x="448" y="161"/>
                    </a:cubicBezTo>
                    <a:cubicBezTo>
                      <a:pt x="447" y="160"/>
                      <a:pt x="447" y="159"/>
                      <a:pt x="446" y="158"/>
                    </a:cubicBezTo>
                    <a:cubicBezTo>
                      <a:pt x="445" y="157"/>
                      <a:pt x="445" y="156"/>
                      <a:pt x="444" y="155"/>
                    </a:cubicBezTo>
                    <a:cubicBezTo>
                      <a:pt x="444" y="158"/>
                      <a:pt x="444" y="158"/>
                      <a:pt x="444" y="158"/>
                    </a:cubicBezTo>
                    <a:cubicBezTo>
                      <a:pt x="440" y="158"/>
                      <a:pt x="440" y="158"/>
                      <a:pt x="440" y="158"/>
                    </a:cubicBezTo>
                    <a:cubicBezTo>
                      <a:pt x="440" y="158"/>
                      <a:pt x="440" y="158"/>
                      <a:pt x="440" y="158"/>
                    </a:cubicBezTo>
                    <a:cubicBezTo>
                      <a:pt x="440" y="158"/>
                      <a:pt x="440" y="158"/>
                      <a:pt x="440" y="158"/>
                    </a:cubicBezTo>
                    <a:cubicBezTo>
                      <a:pt x="440" y="158"/>
                      <a:pt x="439" y="158"/>
                      <a:pt x="439" y="158"/>
                    </a:cubicBezTo>
                    <a:cubicBezTo>
                      <a:pt x="439" y="159"/>
                      <a:pt x="439" y="159"/>
                      <a:pt x="439" y="159"/>
                    </a:cubicBezTo>
                    <a:cubicBezTo>
                      <a:pt x="439" y="160"/>
                      <a:pt x="439" y="161"/>
                      <a:pt x="439" y="162"/>
                    </a:cubicBezTo>
                    <a:cubicBezTo>
                      <a:pt x="439" y="165"/>
                      <a:pt x="439" y="165"/>
                      <a:pt x="439" y="165"/>
                    </a:cubicBezTo>
                    <a:cubicBezTo>
                      <a:pt x="435" y="165"/>
                      <a:pt x="435" y="165"/>
                      <a:pt x="435" y="165"/>
                    </a:cubicBezTo>
                    <a:cubicBezTo>
                      <a:pt x="434" y="165"/>
                      <a:pt x="434" y="165"/>
                      <a:pt x="433" y="165"/>
                    </a:cubicBezTo>
                    <a:cubicBezTo>
                      <a:pt x="433" y="165"/>
                      <a:pt x="432" y="165"/>
                      <a:pt x="432" y="164"/>
                    </a:cubicBezTo>
                    <a:cubicBezTo>
                      <a:pt x="430" y="164"/>
                      <a:pt x="430" y="164"/>
                      <a:pt x="430" y="164"/>
                    </a:cubicBezTo>
                    <a:cubicBezTo>
                      <a:pt x="430" y="164"/>
                      <a:pt x="429" y="164"/>
                      <a:pt x="428" y="164"/>
                    </a:cubicBezTo>
                    <a:cubicBezTo>
                      <a:pt x="425" y="163"/>
                      <a:pt x="421" y="163"/>
                      <a:pt x="418" y="161"/>
                    </a:cubicBezTo>
                    <a:cubicBezTo>
                      <a:pt x="414" y="159"/>
                      <a:pt x="413" y="157"/>
                      <a:pt x="412" y="155"/>
                    </a:cubicBezTo>
                    <a:cubicBezTo>
                      <a:pt x="412" y="154"/>
                      <a:pt x="412" y="154"/>
                      <a:pt x="412" y="154"/>
                    </a:cubicBezTo>
                    <a:cubicBezTo>
                      <a:pt x="410" y="155"/>
                      <a:pt x="410" y="155"/>
                      <a:pt x="410" y="155"/>
                    </a:cubicBezTo>
                    <a:cubicBezTo>
                      <a:pt x="410" y="155"/>
                      <a:pt x="409" y="155"/>
                      <a:pt x="408" y="155"/>
                    </a:cubicBezTo>
                    <a:cubicBezTo>
                      <a:pt x="407" y="155"/>
                      <a:pt x="406" y="155"/>
                      <a:pt x="404" y="153"/>
                    </a:cubicBezTo>
                    <a:cubicBezTo>
                      <a:pt x="404" y="153"/>
                      <a:pt x="404" y="153"/>
                      <a:pt x="404" y="153"/>
                    </a:cubicBezTo>
                    <a:cubicBezTo>
                      <a:pt x="403" y="152"/>
                      <a:pt x="403" y="152"/>
                      <a:pt x="403" y="152"/>
                    </a:cubicBezTo>
                    <a:cubicBezTo>
                      <a:pt x="403" y="152"/>
                      <a:pt x="403" y="152"/>
                      <a:pt x="403" y="152"/>
                    </a:cubicBezTo>
                    <a:cubicBezTo>
                      <a:pt x="402" y="152"/>
                      <a:pt x="402" y="152"/>
                      <a:pt x="402" y="152"/>
                    </a:cubicBezTo>
                    <a:cubicBezTo>
                      <a:pt x="401" y="152"/>
                      <a:pt x="400" y="152"/>
                      <a:pt x="399" y="152"/>
                    </a:cubicBezTo>
                    <a:cubicBezTo>
                      <a:pt x="399" y="151"/>
                      <a:pt x="399" y="151"/>
                      <a:pt x="399" y="151"/>
                    </a:cubicBezTo>
                    <a:cubicBezTo>
                      <a:pt x="398" y="151"/>
                      <a:pt x="397" y="150"/>
                      <a:pt x="397" y="150"/>
                    </a:cubicBezTo>
                    <a:cubicBezTo>
                      <a:pt x="395" y="146"/>
                      <a:pt x="398" y="143"/>
                      <a:pt x="401" y="141"/>
                    </a:cubicBezTo>
                    <a:cubicBezTo>
                      <a:pt x="403" y="139"/>
                      <a:pt x="407" y="136"/>
                      <a:pt x="411" y="133"/>
                    </a:cubicBezTo>
                    <a:cubicBezTo>
                      <a:pt x="395" y="142"/>
                      <a:pt x="395" y="142"/>
                      <a:pt x="395" y="142"/>
                    </a:cubicBezTo>
                    <a:cubicBezTo>
                      <a:pt x="391" y="144"/>
                      <a:pt x="388" y="147"/>
                      <a:pt x="384" y="150"/>
                    </a:cubicBezTo>
                    <a:cubicBezTo>
                      <a:pt x="383" y="151"/>
                      <a:pt x="383" y="151"/>
                      <a:pt x="383" y="151"/>
                    </a:cubicBezTo>
                    <a:cubicBezTo>
                      <a:pt x="381" y="152"/>
                      <a:pt x="379" y="153"/>
                      <a:pt x="377" y="155"/>
                    </a:cubicBezTo>
                    <a:cubicBezTo>
                      <a:pt x="381" y="161"/>
                      <a:pt x="381" y="161"/>
                      <a:pt x="381" y="161"/>
                    </a:cubicBezTo>
                    <a:cubicBezTo>
                      <a:pt x="375" y="156"/>
                      <a:pt x="375" y="156"/>
                      <a:pt x="375" y="156"/>
                    </a:cubicBezTo>
                    <a:cubicBezTo>
                      <a:pt x="375" y="156"/>
                      <a:pt x="375" y="156"/>
                      <a:pt x="375" y="156"/>
                    </a:cubicBezTo>
                    <a:cubicBezTo>
                      <a:pt x="373" y="157"/>
                      <a:pt x="372" y="158"/>
                      <a:pt x="371" y="160"/>
                    </a:cubicBezTo>
                    <a:cubicBezTo>
                      <a:pt x="370" y="161"/>
                      <a:pt x="370" y="162"/>
                      <a:pt x="368" y="163"/>
                    </a:cubicBezTo>
                    <a:cubicBezTo>
                      <a:pt x="365" y="165"/>
                      <a:pt x="365" y="165"/>
                      <a:pt x="365" y="165"/>
                    </a:cubicBezTo>
                    <a:cubicBezTo>
                      <a:pt x="361" y="167"/>
                      <a:pt x="360" y="169"/>
                      <a:pt x="360" y="171"/>
                    </a:cubicBezTo>
                    <a:cubicBezTo>
                      <a:pt x="360" y="172"/>
                      <a:pt x="360" y="172"/>
                      <a:pt x="360" y="172"/>
                    </a:cubicBezTo>
                    <a:cubicBezTo>
                      <a:pt x="360" y="173"/>
                      <a:pt x="360" y="173"/>
                      <a:pt x="360" y="173"/>
                    </a:cubicBezTo>
                    <a:cubicBezTo>
                      <a:pt x="360" y="176"/>
                      <a:pt x="360" y="179"/>
                      <a:pt x="357" y="182"/>
                    </a:cubicBezTo>
                    <a:cubicBezTo>
                      <a:pt x="357" y="182"/>
                      <a:pt x="356" y="182"/>
                      <a:pt x="355" y="182"/>
                    </a:cubicBezTo>
                    <a:cubicBezTo>
                      <a:pt x="355" y="183"/>
                      <a:pt x="355" y="183"/>
                      <a:pt x="355" y="183"/>
                    </a:cubicBezTo>
                    <a:cubicBezTo>
                      <a:pt x="354" y="181"/>
                      <a:pt x="354" y="181"/>
                      <a:pt x="354" y="181"/>
                    </a:cubicBezTo>
                    <a:cubicBezTo>
                      <a:pt x="354" y="183"/>
                      <a:pt x="354" y="183"/>
                      <a:pt x="354" y="183"/>
                    </a:cubicBezTo>
                    <a:cubicBezTo>
                      <a:pt x="353" y="183"/>
                      <a:pt x="353" y="183"/>
                      <a:pt x="353" y="183"/>
                    </a:cubicBezTo>
                    <a:cubicBezTo>
                      <a:pt x="353" y="183"/>
                      <a:pt x="353" y="183"/>
                      <a:pt x="353" y="183"/>
                    </a:cubicBezTo>
                    <a:cubicBezTo>
                      <a:pt x="353" y="183"/>
                      <a:pt x="352" y="183"/>
                      <a:pt x="352" y="183"/>
                    </a:cubicBezTo>
                    <a:cubicBezTo>
                      <a:pt x="352" y="181"/>
                      <a:pt x="352" y="181"/>
                      <a:pt x="352" y="181"/>
                    </a:cubicBezTo>
                    <a:cubicBezTo>
                      <a:pt x="352" y="181"/>
                      <a:pt x="352" y="181"/>
                      <a:pt x="352" y="181"/>
                    </a:cubicBezTo>
                    <a:cubicBezTo>
                      <a:pt x="351" y="182"/>
                      <a:pt x="351" y="182"/>
                      <a:pt x="351" y="182"/>
                    </a:cubicBezTo>
                    <a:cubicBezTo>
                      <a:pt x="351" y="182"/>
                      <a:pt x="350" y="182"/>
                      <a:pt x="350" y="182"/>
                    </a:cubicBezTo>
                    <a:cubicBezTo>
                      <a:pt x="344" y="180"/>
                      <a:pt x="341" y="178"/>
                      <a:pt x="336" y="175"/>
                    </a:cubicBezTo>
                    <a:cubicBezTo>
                      <a:pt x="333" y="172"/>
                      <a:pt x="333" y="172"/>
                      <a:pt x="333" y="172"/>
                    </a:cubicBezTo>
                    <a:cubicBezTo>
                      <a:pt x="336" y="169"/>
                      <a:pt x="336" y="169"/>
                      <a:pt x="336" y="169"/>
                    </a:cubicBezTo>
                    <a:cubicBezTo>
                      <a:pt x="336" y="169"/>
                      <a:pt x="338" y="168"/>
                      <a:pt x="338" y="167"/>
                    </a:cubicBezTo>
                    <a:cubicBezTo>
                      <a:pt x="337" y="166"/>
                      <a:pt x="337" y="166"/>
                      <a:pt x="337" y="166"/>
                    </a:cubicBezTo>
                    <a:cubicBezTo>
                      <a:pt x="337" y="165"/>
                      <a:pt x="337" y="165"/>
                      <a:pt x="337" y="165"/>
                    </a:cubicBezTo>
                    <a:cubicBezTo>
                      <a:pt x="337" y="165"/>
                      <a:pt x="337" y="165"/>
                      <a:pt x="337" y="165"/>
                    </a:cubicBezTo>
                    <a:cubicBezTo>
                      <a:pt x="336" y="165"/>
                      <a:pt x="336" y="165"/>
                      <a:pt x="335" y="164"/>
                    </a:cubicBezTo>
                    <a:cubicBezTo>
                      <a:pt x="335" y="164"/>
                      <a:pt x="334" y="163"/>
                      <a:pt x="334" y="163"/>
                    </a:cubicBezTo>
                    <a:cubicBezTo>
                      <a:pt x="334" y="163"/>
                      <a:pt x="333" y="163"/>
                      <a:pt x="333" y="163"/>
                    </a:cubicBezTo>
                    <a:cubicBezTo>
                      <a:pt x="332" y="163"/>
                      <a:pt x="330" y="163"/>
                      <a:pt x="330" y="163"/>
                    </a:cubicBezTo>
                    <a:cubicBezTo>
                      <a:pt x="329" y="163"/>
                      <a:pt x="329" y="163"/>
                      <a:pt x="329" y="163"/>
                    </a:cubicBezTo>
                    <a:cubicBezTo>
                      <a:pt x="328" y="163"/>
                      <a:pt x="328" y="163"/>
                      <a:pt x="327" y="163"/>
                    </a:cubicBezTo>
                    <a:cubicBezTo>
                      <a:pt x="303" y="164"/>
                      <a:pt x="303" y="164"/>
                      <a:pt x="303" y="164"/>
                    </a:cubicBezTo>
                    <a:cubicBezTo>
                      <a:pt x="303" y="164"/>
                      <a:pt x="303" y="164"/>
                      <a:pt x="303" y="164"/>
                    </a:cubicBezTo>
                    <a:cubicBezTo>
                      <a:pt x="301" y="163"/>
                      <a:pt x="299" y="162"/>
                      <a:pt x="299" y="161"/>
                    </a:cubicBezTo>
                    <a:cubicBezTo>
                      <a:pt x="299" y="159"/>
                      <a:pt x="298" y="158"/>
                      <a:pt x="298" y="157"/>
                    </a:cubicBezTo>
                    <a:cubicBezTo>
                      <a:pt x="297" y="155"/>
                      <a:pt x="297" y="155"/>
                      <a:pt x="297" y="155"/>
                    </a:cubicBezTo>
                    <a:cubicBezTo>
                      <a:pt x="297" y="154"/>
                      <a:pt x="297" y="154"/>
                      <a:pt x="297" y="154"/>
                    </a:cubicBezTo>
                    <a:cubicBezTo>
                      <a:pt x="296" y="150"/>
                      <a:pt x="296" y="150"/>
                      <a:pt x="296" y="150"/>
                    </a:cubicBezTo>
                    <a:cubicBezTo>
                      <a:pt x="295" y="146"/>
                      <a:pt x="294" y="143"/>
                      <a:pt x="293" y="139"/>
                    </a:cubicBezTo>
                    <a:cubicBezTo>
                      <a:pt x="293" y="138"/>
                      <a:pt x="293" y="138"/>
                      <a:pt x="293" y="137"/>
                    </a:cubicBezTo>
                    <a:cubicBezTo>
                      <a:pt x="293" y="137"/>
                      <a:pt x="293" y="137"/>
                      <a:pt x="293" y="137"/>
                    </a:cubicBezTo>
                    <a:cubicBezTo>
                      <a:pt x="293" y="136"/>
                      <a:pt x="293" y="135"/>
                      <a:pt x="293" y="135"/>
                    </a:cubicBezTo>
                    <a:cubicBezTo>
                      <a:pt x="292" y="135"/>
                      <a:pt x="292" y="135"/>
                      <a:pt x="292" y="135"/>
                    </a:cubicBezTo>
                    <a:cubicBezTo>
                      <a:pt x="291" y="135"/>
                      <a:pt x="290" y="135"/>
                      <a:pt x="290" y="135"/>
                    </a:cubicBezTo>
                    <a:cubicBezTo>
                      <a:pt x="289" y="135"/>
                      <a:pt x="288" y="135"/>
                      <a:pt x="287" y="135"/>
                    </a:cubicBezTo>
                    <a:cubicBezTo>
                      <a:pt x="287" y="135"/>
                      <a:pt x="286" y="135"/>
                      <a:pt x="286" y="135"/>
                    </a:cubicBezTo>
                    <a:cubicBezTo>
                      <a:pt x="286" y="135"/>
                      <a:pt x="286" y="135"/>
                      <a:pt x="286" y="135"/>
                    </a:cubicBezTo>
                    <a:cubicBezTo>
                      <a:pt x="285" y="136"/>
                      <a:pt x="285" y="136"/>
                      <a:pt x="285" y="136"/>
                    </a:cubicBezTo>
                    <a:cubicBezTo>
                      <a:pt x="282" y="135"/>
                      <a:pt x="280" y="134"/>
                      <a:pt x="279" y="132"/>
                    </a:cubicBezTo>
                    <a:cubicBezTo>
                      <a:pt x="279" y="130"/>
                      <a:pt x="279" y="128"/>
                      <a:pt x="279" y="126"/>
                    </a:cubicBezTo>
                    <a:cubicBezTo>
                      <a:pt x="279" y="124"/>
                      <a:pt x="279" y="123"/>
                      <a:pt x="279" y="122"/>
                    </a:cubicBezTo>
                    <a:cubicBezTo>
                      <a:pt x="279" y="121"/>
                      <a:pt x="279" y="121"/>
                      <a:pt x="279" y="120"/>
                    </a:cubicBezTo>
                    <a:cubicBezTo>
                      <a:pt x="279" y="118"/>
                      <a:pt x="280" y="116"/>
                      <a:pt x="280" y="113"/>
                    </a:cubicBezTo>
                    <a:cubicBezTo>
                      <a:pt x="280" y="111"/>
                      <a:pt x="281" y="109"/>
                      <a:pt x="281" y="107"/>
                    </a:cubicBezTo>
                    <a:cubicBezTo>
                      <a:pt x="281" y="106"/>
                      <a:pt x="281" y="106"/>
                      <a:pt x="281" y="106"/>
                    </a:cubicBezTo>
                    <a:cubicBezTo>
                      <a:pt x="281" y="105"/>
                      <a:pt x="281" y="104"/>
                      <a:pt x="282" y="103"/>
                    </a:cubicBezTo>
                    <a:cubicBezTo>
                      <a:pt x="281" y="103"/>
                      <a:pt x="280" y="103"/>
                      <a:pt x="280" y="103"/>
                    </a:cubicBezTo>
                    <a:cubicBezTo>
                      <a:pt x="276" y="103"/>
                      <a:pt x="274" y="100"/>
                      <a:pt x="273" y="99"/>
                    </a:cubicBezTo>
                    <a:cubicBezTo>
                      <a:pt x="272" y="98"/>
                      <a:pt x="272" y="98"/>
                      <a:pt x="272" y="98"/>
                    </a:cubicBezTo>
                    <a:cubicBezTo>
                      <a:pt x="272" y="98"/>
                      <a:pt x="272" y="98"/>
                      <a:pt x="272" y="98"/>
                    </a:cubicBezTo>
                    <a:cubicBezTo>
                      <a:pt x="271" y="97"/>
                      <a:pt x="271" y="97"/>
                      <a:pt x="271" y="97"/>
                    </a:cubicBezTo>
                    <a:cubicBezTo>
                      <a:pt x="270" y="95"/>
                      <a:pt x="270" y="95"/>
                      <a:pt x="270" y="95"/>
                    </a:cubicBezTo>
                    <a:cubicBezTo>
                      <a:pt x="267" y="92"/>
                      <a:pt x="265" y="90"/>
                      <a:pt x="262" y="87"/>
                    </a:cubicBezTo>
                    <a:cubicBezTo>
                      <a:pt x="260" y="86"/>
                      <a:pt x="260" y="86"/>
                      <a:pt x="260" y="86"/>
                    </a:cubicBezTo>
                    <a:cubicBezTo>
                      <a:pt x="259" y="85"/>
                      <a:pt x="258" y="84"/>
                      <a:pt x="258" y="84"/>
                    </a:cubicBezTo>
                    <a:cubicBezTo>
                      <a:pt x="255" y="81"/>
                      <a:pt x="255" y="81"/>
                      <a:pt x="255" y="81"/>
                    </a:cubicBezTo>
                    <a:cubicBezTo>
                      <a:pt x="254" y="80"/>
                      <a:pt x="253" y="78"/>
                      <a:pt x="251" y="78"/>
                    </a:cubicBezTo>
                    <a:cubicBezTo>
                      <a:pt x="251" y="77"/>
                      <a:pt x="250" y="76"/>
                      <a:pt x="250" y="76"/>
                    </a:cubicBezTo>
                    <a:cubicBezTo>
                      <a:pt x="249" y="77"/>
                      <a:pt x="247" y="77"/>
                      <a:pt x="247" y="78"/>
                    </a:cubicBezTo>
                    <a:cubicBezTo>
                      <a:pt x="246" y="78"/>
                      <a:pt x="246" y="78"/>
                      <a:pt x="246" y="78"/>
                    </a:cubicBezTo>
                    <a:cubicBezTo>
                      <a:pt x="249" y="84"/>
                      <a:pt x="249" y="84"/>
                      <a:pt x="249" y="84"/>
                    </a:cubicBezTo>
                    <a:cubicBezTo>
                      <a:pt x="244" y="79"/>
                      <a:pt x="244" y="79"/>
                      <a:pt x="244" y="79"/>
                    </a:cubicBezTo>
                    <a:cubicBezTo>
                      <a:pt x="244" y="79"/>
                      <a:pt x="244" y="79"/>
                      <a:pt x="244" y="79"/>
                    </a:cubicBezTo>
                    <a:cubicBezTo>
                      <a:pt x="242" y="80"/>
                      <a:pt x="239" y="81"/>
                      <a:pt x="237" y="81"/>
                    </a:cubicBezTo>
                    <a:cubicBezTo>
                      <a:pt x="236" y="81"/>
                      <a:pt x="236" y="81"/>
                      <a:pt x="236" y="81"/>
                    </a:cubicBezTo>
                    <a:cubicBezTo>
                      <a:pt x="228" y="81"/>
                      <a:pt x="228" y="81"/>
                      <a:pt x="228" y="81"/>
                    </a:cubicBezTo>
                    <a:cubicBezTo>
                      <a:pt x="225" y="80"/>
                      <a:pt x="222" y="80"/>
                      <a:pt x="219" y="80"/>
                    </a:cubicBezTo>
                    <a:cubicBezTo>
                      <a:pt x="214" y="80"/>
                      <a:pt x="210" y="79"/>
                      <a:pt x="206" y="79"/>
                    </a:cubicBezTo>
                    <a:cubicBezTo>
                      <a:pt x="204" y="79"/>
                      <a:pt x="203" y="79"/>
                      <a:pt x="202" y="79"/>
                    </a:cubicBezTo>
                    <a:cubicBezTo>
                      <a:pt x="196" y="80"/>
                      <a:pt x="191" y="81"/>
                      <a:pt x="185" y="82"/>
                    </a:cubicBezTo>
                    <a:cubicBezTo>
                      <a:pt x="181" y="82"/>
                      <a:pt x="176" y="83"/>
                      <a:pt x="172" y="84"/>
                    </a:cubicBezTo>
                    <a:cubicBezTo>
                      <a:pt x="172" y="84"/>
                      <a:pt x="171" y="84"/>
                      <a:pt x="171" y="84"/>
                    </a:cubicBezTo>
                    <a:cubicBezTo>
                      <a:pt x="170" y="84"/>
                      <a:pt x="169" y="84"/>
                      <a:pt x="168" y="83"/>
                    </a:cubicBezTo>
                    <a:cubicBezTo>
                      <a:pt x="167" y="83"/>
                      <a:pt x="167" y="83"/>
                      <a:pt x="167" y="83"/>
                    </a:cubicBezTo>
                    <a:cubicBezTo>
                      <a:pt x="166" y="83"/>
                      <a:pt x="164" y="82"/>
                      <a:pt x="163" y="81"/>
                    </a:cubicBezTo>
                    <a:cubicBezTo>
                      <a:pt x="163" y="81"/>
                      <a:pt x="163" y="81"/>
                      <a:pt x="163" y="81"/>
                    </a:cubicBezTo>
                    <a:cubicBezTo>
                      <a:pt x="162" y="80"/>
                      <a:pt x="161" y="79"/>
                      <a:pt x="161" y="79"/>
                    </a:cubicBezTo>
                    <a:cubicBezTo>
                      <a:pt x="159" y="77"/>
                      <a:pt x="159" y="77"/>
                      <a:pt x="159" y="77"/>
                    </a:cubicBezTo>
                    <a:cubicBezTo>
                      <a:pt x="159" y="77"/>
                      <a:pt x="158" y="76"/>
                      <a:pt x="158" y="76"/>
                    </a:cubicBezTo>
                    <a:cubicBezTo>
                      <a:pt x="155" y="72"/>
                      <a:pt x="151" y="69"/>
                      <a:pt x="148" y="66"/>
                    </a:cubicBezTo>
                    <a:cubicBezTo>
                      <a:pt x="148" y="65"/>
                      <a:pt x="142" y="59"/>
                      <a:pt x="139" y="54"/>
                    </a:cubicBezTo>
                    <a:cubicBezTo>
                      <a:pt x="137" y="51"/>
                      <a:pt x="122" y="42"/>
                      <a:pt x="117" y="39"/>
                    </a:cubicBezTo>
                    <a:cubicBezTo>
                      <a:pt x="114" y="38"/>
                      <a:pt x="114" y="38"/>
                      <a:pt x="114" y="38"/>
                    </a:cubicBezTo>
                    <a:cubicBezTo>
                      <a:pt x="114" y="42"/>
                      <a:pt x="114" y="47"/>
                      <a:pt x="113" y="51"/>
                    </a:cubicBezTo>
                    <a:cubicBezTo>
                      <a:pt x="113" y="52"/>
                      <a:pt x="113" y="54"/>
                      <a:pt x="112" y="55"/>
                    </a:cubicBezTo>
                    <a:cubicBezTo>
                      <a:pt x="111" y="56"/>
                      <a:pt x="107" y="57"/>
                      <a:pt x="107" y="58"/>
                    </a:cubicBezTo>
                    <a:cubicBezTo>
                      <a:pt x="106" y="59"/>
                      <a:pt x="108" y="61"/>
                      <a:pt x="107" y="62"/>
                    </a:cubicBezTo>
                    <a:cubicBezTo>
                      <a:pt x="107" y="62"/>
                      <a:pt x="107" y="62"/>
                      <a:pt x="107" y="62"/>
                    </a:cubicBezTo>
                    <a:cubicBezTo>
                      <a:pt x="106" y="62"/>
                      <a:pt x="106" y="60"/>
                      <a:pt x="105" y="60"/>
                    </a:cubicBezTo>
                    <a:cubicBezTo>
                      <a:pt x="104" y="60"/>
                      <a:pt x="104" y="60"/>
                      <a:pt x="104" y="60"/>
                    </a:cubicBezTo>
                    <a:cubicBezTo>
                      <a:pt x="103" y="60"/>
                      <a:pt x="103" y="60"/>
                      <a:pt x="102" y="60"/>
                    </a:cubicBezTo>
                    <a:cubicBezTo>
                      <a:pt x="101" y="61"/>
                      <a:pt x="100" y="61"/>
                      <a:pt x="99" y="61"/>
                    </a:cubicBezTo>
                    <a:cubicBezTo>
                      <a:pt x="99" y="61"/>
                      <a:pt x="99" y="61"/>
                      <a:pt x="99" y="61"/>
                    </a:cubicBezTo>
                    <a:cubicBezTo>
                      <a:pt x="95" y="60"/>
                      <a:pt x="97" y="58"/>
                      <a:pt x="95" y="56"/>
                    </a:cubicBezTo>
                    <a:cubicBezTo>
                      <a:pt x="91" y="52"/>
                      <a:pt x="89" y="48"/>
                      <a:pt x="87" y="43"/>
                    </a:cubicBezTo>
                    <a:cubicBezTo>
                      <a:pt x="86" y="37"/>
                      <a:pt x="91" y="31"/>
                      <a:pt x="94" y="25"/>
                    </a:cubicBezTo>
                    <a:cubicBezTo>
                      <a:pt x="94" y="25"/>
                      <a:pt x="94" y="25"/>
                      <a:pt x="94" y="25"/>
                    </a:cubicBezTo>
                    <a:cubicBezTo>
                      <a:pt x="95" y="23"/>
                      <a:pt x="95" y="23"/>
                      <a:pt x="95" y="23"/>
                    </a:cubicBezTo>
                    <a:cubicBezTo>
                      <a:pt x="95" y="23"/>
                      <a:pt x="95" y="23"/>
                      <a:pt x="95" y="23"/>
                    </a:cubicBezTo>
                    <a:cubicBezTo>
                      <a:pt x="100" y="26"/>
                      <a:pt x="105" y="29"/>
                      <a:pt x="110" y="32"/>
                    </a:cubicBezTo>
                    <a:cubicBezTo>
                      <a:pt x="105" y="29"/>
                      <a:pt x="100" y="26"/>
                      <a:pt x="95" y="23"/>
                    </a:cubicBezTo>
                    <a:cubicBezTo>
                      <a:pt x="96" y="22"/>
                      <a:pt x="96" y="22"/>
                      <a:pt x="96" y="21"/>
                    </a:cubicBezTo>
                    <a:cubicBezTo>
                      <a:pt x="96" y="21"/>
                      <a:pt x="96" y="21"/>
                      <a:pt x="96" y="21"/>
                    </a:cubicBezTo>
                    <a:cubicBezTo>
                      <a:pt x="95" y="20"/>
                      <a:pt x="95" y="20"/>
                      <a:pt x="95" y="20"/>
                    </a:cubicBezTo>
                    <a:cubicBezTo>
                      <a:pt x="95" y="20"/>
                      <a:pt x="96" y="19"/>
                      <a:pt x="95" y="18"/>
                    </a:cubicBezTo>
                    <a:cubicBezTo>
                      <a:pt x="95" y="19"/>
                      <a:pt x="95" y="19"/>
                      <a:pt x="95" y="19"/>
                    </a:cubicBezTo>
                    <a:cubicBezTo>
                      <a:pt x="93" y="18"/>
                      <a:pt x="93" y="15"/>
                      <a:pt x="93" y="13"/>
                    </a:cubicBezTo>
                    <a:cubicBezTo>
                      <a:pt x="93" y="11"/>
                      <a:pt x="94" y="9"/>
                      <a:pt x="93" y="9"/>
                    </a:cubicBezTo>
                    <a:cubicBezTo>
                      <a:pt x="92" y="9"/>
                      <a:pt x="92" y="9"/>
                      <a:pt x="91" y="10"/>
                    </a:cubicBezTo>
                    <a:cubicBezTo>
                      <a:pt x="91" y="8"/>
                      <a:pt x="91" y="7"/>
                      <a:pt x="91" y="7"/>
                    </a:cubicBezTo>
                    <a:cubicBezTo>
                      <a:pt x="90" y="6"/>
                      <a:pt x="89" y="6"/>
                      <a:pt x="88" y="5"/>
                    </a:cubicBezTo>
                    <a:cubicBezTo>
                      <a:pt x="87" y="4"/>
                      <a:pt x="88" y="2"/>
                      <a:pt x="86" y="1"/>
                    </a:cubicBezTo>
                    <a:cubicBezTo>
                      <a:pt x="86" y="0"/>
                      <a:pt x="85" y="0"/>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8" name="Freeform 356">
                <a:extLst>
                  <a:ext uri="{FF2B5EF4-FFF2-40B4-BE49-F238E27FC236}">
                    <a16:creationId xmlns:a16="http://schemas.microsoft.com/office/drawing/2014/main" id="{CDEA4871-48A8-4DA9-9300-4253FDA5EF1D}"/>
                  </a:ext>
                </a:extLst>
              </p:cNvPr>
              <p:cNvSpPr>
                <a:spLocks/>
              </p:cNvSpPr>
              <p:nvPr/>
            </p:nvSpPr>
            <p:spPr bwMode="auto">
              <a:xfrm>
                <a:off x="9349138" y="6636894"/>
                <a:ext cx="401678" cy="221107"/>
              </a:xfrm>
              <a:custGeom>
                <a:avLst/>
                <a:gdLst>
                  <a:gd name="T0" fmla="*/ 31 w 127"/>
                  <a:gd name="T1" fmla="*/ 0 h 70"/>
                  <a:gd name="T2" fmla="*/ 27 w 127"/>
                  <a:gd name="T3" fmla="*/ 3 h 70"/>
                  <a:gd name="T4" fmla="*/ 24 w 127"/>
                  <a:gd name="T5" fmla="*/ 5 h 70"/>
                  <a:gd name="T6" fmla="*/ 19 w 127"/>
                  <a:gd name="T7" fmla="*/ 9 h 70"/>
                  <a:gd name="T8" fmla="*/ 18 w 127"/>
                  <a:gd name="T9" fmla="*/ 6 h 70"/>
                  <a:gd name="T10" fmla="*/ 18 w 127"/>
                  <a:gd name="T11" fmla="*/ 6 h 70"/>
                  <a:gd name="T12" fmla="*/ 16 w 127"/>
                  <a:gd name="T13" fmla="*/ 16 h 70"/>
                  <a:gd name="T14" fmla="*/ 17 w 127"/>
                  <a:gd name="T15" fmla="*/ 17 h 70"/>
                  <a:gd name="T16" fmla="*/ 17 w 127"/>
                  <a:gd name="T17" fmla="*/ 17 h 70"/>
                  <a:gd name="T18" fmla="*/ 22 w 127"/>
                  <a:gd name="T19" fmla="*/ 21 h 70"/>
                  <a:gd name="T20" fmla="*/ 25 w 127"/>
                  <a:gd name="T21" fmla="*/ 26 h 70"/>
                  <a:gd name="T22" fmla="*/ 18 w 127"/>
                  <a:gd name="T23" fmla="*/ 27 h 70"/>
                  <a:gd name="T24" fmla="*/ 12 w 127"/>
                  <a:gd name="T25" fmla="*/ 28 h 70"/>
                  <a:gd name="T26" fmla="*/ 11 w 127"/>
                  <a:gd name="T27" fmla="*/ 28 h 70"/>
                  <a:gd name="T28" fmla="*/ 12 w 127"/>
                  <a:gd name="T29" fmla="*/ 34 h 70"/>
                  <a:gd name="T30" fmla="*/ 9 w 127"/>
                  <a:gd name="T31" fmla="*/ 28 h 70"/>
                  <a:gd name="T32" fmla="*/ 9 w 127"/>
                  <a:gd name="T33" fmla="*/ 28 h 70"/>
                  <a:gd name="T34" fmla="*/ 6 w 127"/>
                  <a:gd name="T35" fmla="*/ 33 h 70"/>
                  <a:gd name="T36" fmla="*/ 6 w 127"/>
                  <a:gd name="T37" fmla="*/ 34 h 70"/>
                  <a:gd name="T38" fmla="*/ 5 w 127"/>
                  <a:gd name="T39" fmla="*/ 38 h 70"/>
                  <a:gd name="T40" fmla="*/ 3 w 127"/>
                  <a:gd name="T41" fmla="*/ 49 h 70"/>
                  <a:gd name="T42" fmla="*/ 1 w 127"/>
                  <a:gd name="T43" fmla="*/ 57 h 70"/>
                  <a:gd name="T44" fmla="*/ 1 w 127"/>
                  <a:gd name="T45" fmla="*/ 59 h 70"/>
                  <a:gd name="T46" fmla="*/ 1 w 127"/>
                  <a:gd name="T47" fmla="*/ 60 h 70"/>
                  <a:gd name="T48" fmla="*/ 0 w 127"/>
                  <a:gd name="T49" fmla="*/ 63 h 70"/>
                  <a:gd name="T50" fmla="*/ 2 w 127"/>
                  <a:gd name="T51" fmla="*/ 68 h 70"/>
                  <a:gd name="T52" fmla="*/ 3 w 127"/>
                  <a:gd name="T53" fmla="*/ 68 h 70"/>
                  <a:gd name="T54" fmla="*/ 4 w 127"/>
                  <a:gd name="T55" fmla="*/ 70 h 70"/>
                  <a:gd name="T56" fmla="*/ 127 w 127"/>
                  <a:gd name="T57" fmla="*/ 70 h 70"/>
                  <a:gd name="T58" fmla="*/ 123 w 127"/>
                  <a:gd name="T59" fmla="*/ 69 h 70"/>
                  <a:gd name="T60" fmla="*/ 116 w 127"/>
                  <a:gd name="T61" fmla="*/ 66 h 70"/>
                  <a:gd name="T62" fmla="*/ 112 w 127"/>
                  <a:gd name="T63" fmla="*/ 60 h 70"/>
                  <a:gd name="T64" fmla="*/ 106 w 127"/>
                  <a:gd name="T65" fmla="*/ 53 h 70"/>
                  <a:gd name="T66" fmla="*/ 98 w 127"/>
                  <a:gd name="T67" fmla="*/ 43 h 70"/>
                  <a:gd name="T68" fmla="*/ 92 w 127"/>
                  <a:gd name="T69" fmla="*/ 36 h 70"/>
                  <a:gd name="T70" fmla="*/ 91 w 127"/>
                  <a:gd name="T71" fmla="*/ 36 h 70"/>
                  <a:gd name="T72" fmla="*/ 88 w 127"/>
                  <a:gd name="T73" fmla="*/ 37 h 70"/>
                  <a:gd name="T74" fmla="*/ 87 w 127"/>
                  <a:gd name="T75" fmla="*/ 37 h 70"/>
                  <a:gd name="T76" fmla="*/ 81 w 127"/>
                  <a:gd name="T77" fmla="*/ 35 h 70"/>
                  <a:gd name="T78" fmla="*/ 70 w 127"/>
                  <a:gd name="T79" fmla="*/ 32 h 70"/>
                  <a:gd name="T80" fmla="*/ 48 w 127"/>
                  <a:gd name="T81" fmla="*/ 24 h 70"/>
                  <a:gd name="T82" fmla="*/ 42 w 127"/>
                  <a:gd name="T83" fmla="*/ 17 h 70"/>
                  <a:gd name="T84" fmla="*/ 36 w 127"/>
                  <a:gd name="T85" fmla="*/ 10 h 70"/>
                  <a:gd name="T86" fmla="*/ 33 w 127"/>
                  <a:gd name="T87" fmla="*/ 5 h 70"/>
                  <a:gd name="T88" fmla="*/ 32 w 127"/>
                  <a:gd name="T89" fmla="*/ 1 h 70"/>
                  <a:gd name="T90" fmla="*/ 31 w 127"/>
                  <a:gd name="T9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70">
                    <a:moveTo>
                      <a:pt x="31" y="0"/>
                    </a:moveTo>
                    <a:cubicBezTo>
                      <a:pt x="30" y="2"/>
                      <a:pt x="28" y="3"/>
                      <a:pt x="27" y="3"/>
                    </a:cubicBezTo>
                    <a:cubicBezTo>
                      <a:pt x="26" y="4"/>
                      <a:pt x="25" y="4"/>
                      <a:pt x="24" y="5"/>
                    </a:cubicBezTo>
                    <a:cubicBezTo>
                      <a:pt x="19" y="9"/>
                      <a:pt x="19" y="9"/>
                      <a:pt x="19" y="9"/>
                    </a:cubicBezTo>
                    <a:cubicBezTo>
                      <a:pt x="18" y="6"/>
                      <a:pt x="18" y="6"/>
                      <a:pt x="18" y="6"/>
                    </a:cubicBezTo>
                    <a:cubicBezTo>
                      <a:pt x="18" y="6"/>
                      <a:pt x="18" y="6"/>
                      <a:pt x="18" y="6"/>
                    </a:cubicBezTo>
                    <a:cubicBezTo>
                      <a:pt x="17" y="9"/>
                      <a:pt x="16" y="12"/>
                      <a:pt x="16" y="16"/>
                    </a:cubicBezTo>
                    <a:cubicBezTo>
                      <a:pt x="17" y="17"/>
                      <a:pt x="17" y="17"/>
                      <a:pt x="17" y="17"/>
                    </a:cubicBezTo>
                    <a:cubicBezTo>
                      <a:pt x="17" y="17"/>
                      <a:pt x="17" y="17"/>
                      <a:pt x="17" y="17"/>
                    </a:cubicBezTo>
                    <a:cubicBezTo>
                      <a:pt x="20" y="19"/>
                      <a:pt x="21" y="20"/>
                      <a:pt x="22" y="21"/>
                    </a:cubicBezTo>
                    <a:cubicBezTo>
                      <a:pt x="25" y="26"/>
                      <a:pt x="25" y="26"/>
                      <a:pt x="25" y="26"/>
                    </a:cubicBezTo>
                    <a:cubicBezTo>
                      <a:pt x="18" y="27"/>
                      <a:pt x="18" y="27"/>
                      <a:pt x="18" y="27"/>
                    </a:cubicBezTo>
                    <a:cubicBezTo>
                      <a:pt x="16" y="28"/>
                      <a:pt x="14" y="28"/>
                      <a:pt x="12" y="28"/>
                    </a:cubicBezTo>
                    <a:cubicBezTo>
                      <a:pt x="11" y="28"/>
                      <a:pt x="11" y="28"/>
                      <a:pt x="11" y="28"/>
                    </a:cubicBezTo>
                    <a:cubicBezTo>
                      <a:pt x="12" y="34"/>
                      <a:pt x="12" y="34"/>
                      <a:pt x="12" y="34"/>
                    </a:cubicBezTo>
                    <a:cubicBezTo>
                      <a:pt x="9" y="28"/>
                      <a:pt x="9" y="28"/>
                      <a:pt x="9" y="28"/>
                    </a:cubicBezTo>
                    <a:cubicBezTo>
                      <a:pt x="9" y="28"/>
                      <a:pt x="9" y="28"/>
                      <a:pt x="9" y="28"/>
                    </a:cubicBezTo>
                    <a:cubicBezTo>
                      <a:pt x="7" y="29"/>
                      <a:pt x="7" y="30"/>
                      <a:pt x="6" y="33"/>
                    </a:cubicBezTo>
                    <a:cubicBezTo>
                      <a:pt x="6" y="34"/>
                      <a:pt x="6" y="34"/>
                      <a:pt x="6" y="34"/>
                    </a:cubicBezTo>
                    <a:cubicBezTo>
                      <a:pt x="6" y="36"/>
                      <a:pt x="6" y="37"/>
                      <a:pt x="5" y="38"/>
                    </a:cubicBezTo>
                    <a:cubicBezTo>
                      <a:pt x="5" y="41"/>
                      <a:pt x="4" y="45"/>
                      <a:pt x="3" y="49"/>
                    </a:cubicBezTo>
                    <a:cubicBezTo>
                      <a:pt x="1" y="57"/>
                      <a:pt x="1" y="57"/>
                      <a:pt x="1" y="57"/>
                    </a:cubicBezTo>
                    <a:cubicBezTo>
                      <a:pt x="1" y="58"/>
                      <a:pt x="1" y="59"/>
                      <a:pt x="1" y="59"/>
                    </a:cubicBezTo>
                    <a:cubicBezTo>
                      <a:pt x="1" y="60"/>
                      <a:pt x="1" y="60"/>
                      <a:pt x="1" y="60"/>
                    </a:cubicBezTo>
                    <a:cubicBezTo>
                      <a:pt x="0" y="61"/>
                      <a:pt x="0" y="63"/>
                      <a:pt x="0" y="63"/>
                    </a:cubicBezTo>
                    <a:cubicBezTo>
                      <a:pt x="1" y="65"/>
                      <a:pt x="2" y="66"/>
                      <a:pt x="2" y="68"/>
                    </a:cubicBezTo>
                    <a:cubicBezTo>
                      <a:pt x="3" y="68"/>
                      <a:pt x="3" y="68"/>
                      <a:pt x="3" y="68"/>
                    </a:cubicBezTo>
                    <a:cubicBezTo>
                      <a:pt x="3" y="69"/>
                      <a:pt x="3" y="70"/>
                      <a:pt x="4" y="70"/>
                    </a:cubicBezTo>
                    <a:cubicBezTo>
                      <a:pt x="127" y="70"/>
                      <a:pt x="127" y="70"/>
                      <a:pt x="127" y="70"/>
                    </a:cubicBezTo>
                    <a:cubicBezTo>
                      <a:pt x="126" y="69"/>
                      <a:pt x="125" y="69"/>
                      <a:pt x="123" y="69"/>
                    </a:cubicBezTo>
                    <a:cubicBezTo>
                      <a:pt x="119" y="69"/>
                      <a:pt x="118" y="68"/>
                      <a:pt x="116" y="66"/>
                    </a:cubicBezTo>
                    <a:cubicBezTo>
                      <a:pt x="115" y="64"/>
                      <a:pt x="113" y="62"/>
                      <a:pt x="112" y="60"/>
                    </a:cubicBezTo>
                    <a:cubicBezTo>
                      <a:pt x="110" y="58"/>
                      <a:pt x="108" y="56"/>
                      <a:pt x="106" y="53"/>
                    </a:cubicBezTo>
                    <a:cubicBezTo>
                      <a:pt x="103" y="50"/>
                      <a:pt x="101" y="47"/>
                      <a:pt x="98" y="43"/>
                    </a:cubicBezTo>
                    <a:cubicBezTo>
                      <a:pt x="97" y="41"/>
                      <a:pt x="94" y="37"/>
                      <a:pt x="92" y="36"/>
                    </a:cubicBezTo>
                    <a:cubicBezTo>
                      <a:pt x="92" y="36"/>
                      <a:pt x="91" y="36"/>
                      <a:pt x="91" y="36"/>
                    </a:cubicBezTo>
                    <a:cubicBezTo>
                      <a:pt x="90" y="36"/>
                      <a:pt x="90" y="37"/>
                      <a:pt x="88" y="37"/>
                    </a:cubicBezTo>
                    <a:cubicBezTo>
                      <a:pt x="88" y="37"/>
                      <a:pt x="88" y="37"/>
                      <a:pt x="87" y="37"/>
                    </a:cubicBezTo>
                    <a:cubicBezTo>
                      <a:pt x="85" y="37"/>
                      <a:pt x="84" y="36"/>
                      <a:pt x="81" y="35"/>
                    </a:cubicBezTo>
                    <a:cubicBezTo>
                      <a:pt x="77" y="33"/>
                      <a:pt x="74" y="34"/>
                      <a:pt x="70" y="32"/>
                    </a:cubicBezTo>
                    <a:cubicBezTo>
                      <a:pt x="63" y="29"/>
                      <a:pt x="54" y="29"/>
                      <a:pt x="48" y="24"/>
                    </a:cubicBezTo>
                    <a:cubicBezTo>
                      <a:pt x="45" y="22"/>
                      <a:pt x="44" y="20"/>
                      <a:pt x="42" y="17"/>
                    </a:cubicBezTo>
                    <a:cubicBezTo>
                      <a:pt x="40" y="15"/>
                      <a:pt x="38" y="13"/>
                      <a:pt x="36" y="10"/>
                    </a:cubicBezTo>
                    <a:cubicBezTo>
                      <a:pt x="35" y="8"/>
                      <a:pt x="34" y="7"/>
                      <a:pt x="33" y="5"/>
                    </a:cubicBezTo>
                    <a:cubicBezTo>
                      <a:pt x="32" y="3"/>
                      <a:pt x="32" y="2"/>
                      <a:pt x="32" y="1"/>
                    </a:cubicBezTo>
                    <a:cubicBezTo>
                      <a:pt x="31" y="1"/>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9" name="Freeform 357">
                <a:extLst>
                  <a:ext uri="{FF2B5EF4-FFF2-40B4-BE49-F238E27FC236}">
                    <a16:creationId xmlns:a16="http://schemas.microsoft.com/office/drawing/2014/main" id="{BAB915E9-F3A7-4945-9E3E-70280D2BD94E}"/>
                  </a:ext>
                </a:extLst>
              </p:cNvPr>
              <p:cNvSpPr>
                <a:spLocks/>
              </p:cNvSpPr>
              <p:nvPr/>
            </p:nvSpPr>
            <p:spPr bwMode="auto">
              <a:xfrm>
                <a:off x="9032218" y="6526341"/>
                <a:ext cx="412733" cy="298494"/>
              </a:xfrm>
              <a:custGeom>
                <a:avLst/>
                <a:gdLst>
                  <a:gd name="T0" fmla="*/ 118 w 130"/>
                  <a:gd name="T1" fmla="*/ 0 h 94"/>
                  <a:gd name="T2" fmla="*/ 112 w 130"/>
                  <a:gd name="T3" fmla="*/ 9 h 94"/>
                  <a:gd name="T4" fmla="*/ 104 w 130"/>
                  <a:gd name="T5" fmla="*/ 16 h 94"/>
                  <a:gd name="T6" fmla="*/ 85 w 130"/>
                  <a:gd name="T7" fmla="*/ 34 h 94"/>
                  <a:gd name="T8" fmla="*/ 79 w 130"/>
                  <a:gd name="T9" fmla="*/ 42 h 94"/>
                  <a:gd name="T10" fmla="*/ 73 w 130"/>
                  <a:gd name="T11" fmla="*/ 52 h 94"/>
                  <a:gd name="T12" fmla="*/ 70 w 130"/>
                  <a:gd name="T13" fmla="*/ 53 h 94"/>
                  <a:gd name="T14" fmla="*/ 64 w 130"/>
                  <a:gd name="T15" fmla="*/ 51 h 94"/>
                  <a:gd name="T16" fmla="*/ 55 w 130"/>
                  <a:gd name="T17" fmla="*/ 58 h 94"/>
                  <a:gd name="T18" fmla="*/ 54 w 130"/>
                  <a:gd name="T19" fmla="*/ 58 h 94"/>
                  <a:gd name="T20" fmla="*/ 48 w 130"/>
                  <a:gd name="T21" fmla="*/ 57 h 94"/>
                  <a:gd name="T22" fmla="*/ 37 w 130"/>
                  <a:gd name="T23" fmla="*/ 56 h 94"/>
                  <a:gd name="T24" fmla="*/ 26 w 130"/>
                  <a:gd name="T25" fmla="*/ 57 h 94"/>
                  <a:gd name="T26" fmla="*/ 6 w 130"/>
                  <a:gd name="T27" fmla="*/ 61 h 94"/>
                  <a:gd name="T28" fmla="*/ 0 w 130"/>
                  <a:gd name="T29" fmla="*/ 60 h 94"/>
                  <a:gd name="T30" fmla="*/ 4 w 130"/>
                  <a:gd name="T31" fmla="*/ 63 h 94"/>
                  <a:gd name="T32" fmla="*/ 5 w 130"/>
                  <a:gd name="T33" fmla="*/ 65 h 94"/>
                  <a:gd name="T34" fmla="*/ 9 w 130"/>
                  <a:gd name="T35" fmla="*/ 70 h 94"/>
                  <a:gd name="T36" fmla="*/ 13 w 130"/>
                  <a:gd name="T37" fmla="*/ 75 h 94"/>
                  <a:gd name="T38" fmla="*/ 23 w 130"/>
                  <a:gd name="T39" fmla="*/ 88 h 94"/>
                  <a:gd name="T40" fmla="*/ 93 w 130"/>
                  <a:gd name="T41" fmla="*/ 94 h 94"/>
                  <a:gd name="T42" fmla="*/ 94 w 130"/>
                  <a:gd name="T43" fmla="*/ 91 h 94"/>
                  <a:gd name="T44" fmla="*/ 94 w 130"/>
                  <a:gd name="T45" fmla="*/ 90 h 94"/>
                  <a:gd name="T46" fmla="*/ 96 w 130"/>
                  <a:gd name="T47" fmla="*/ 83 h 94"/>
                  <a:gd name="T48" fmla="*/ 98 w 130"/>
                  <a:gd name="T49" fmla="*/ 70 h 94"/>
                  <a:gd name="T50" fmla="*/ 99 w 130"/>
                  <a:gd name="T51" fmla="*/ 68 h 94"/>
                  <a:gd name="T52" fmla="*/ 99 w 130"/>
                  <a:gd name="T53" fmla="*/ 67 h 94"/>
                  <a:gd name="T54" fmla="*/ 99 w 130"/>
                  <a:gd name="T55" fmla="*/ 65 h 94"/>
                  <a:gd name="T56" fmla="*/ 106 w 130"/>
                  <a:gd name="T57" fmla="*/ 56 h 94"/>
                  <a:gd name="T58" fmla="*/ 108 w 130"/>
                  <a:gd name="T59" fmla="*/ 55 h 94"/>
                  <a:gd name="T60" fmla="*/ 109 w 130"/>
                  <a:gd name="T61" fmla="*/ 55 h 94"/>
                  <a:gd name="T62" fmla="*/ 110 w 130"/>
                  <a:gd name="T63" fmla="*/ 55 h 94"/>
                  <a:gd name="T64" fmla="*/ 110 w 130"/>
                  <a:gd name="T65" fmla="*/ 55 h 94"/>
                  <a:gd name="T66" fmla="*/ 111 w 130"/>
                  <a:gd name="T67" fmla="*/ 55 h 94"/>
                  <a:gd name="T68" fmla="*/ 109 w 130"/>
                  <a:gd name="T69" fmla="*/ 52 h 94"/>
                  <a:gd name="T70" fmla="*/ 112 w 130"/>
                  <a:gd name="T71" fmla="*/ 35 h 94"/>
                  <a:gd name="T72" fmla="*/ 113 w 130"/>
                  <a:gd name="T73" fmla="*/ 33 h 94"/>
                  <a:gd name="T74" fmla="*/ 121 w 130"/>
                  <a:gd name="T75" fmla="*/ 33 h 94"/>
                  <a:gd name="T76" fmla="*/ 125 w 130"/>
                  <a:gd name="T77" fmla="*/ 31 h 94"/>
                  <a:gd name="T78" fmla="*/ 126 w 130"/>
                  <a:gd name="T79" fmla="*/ 27 h 94"/>
                  <a:gd name="T80" fmla="*/ 127 w 130"/>
                  <a:gd name="T81" fmla="*/ 26 h 94"/>
                  <a:gd name="T82" fmla="*/ 128 w 130"/>
                  <a:gd name="T83" fmla="*/ 27 h 94"/>
                  <a:gd name="T84" fmla="*/ 128 w 130"/>
                  <a:gd name="T85" fmla="*/ 25 h 94"/>
                  <a:gd name="T86" fmla="*/ 129 w 130"/>
                  <a:gd name="T87" fmla="*/ 25 h 94"/>
                  <a:gd name="T88" fmla="*/ 130 w 130"/>
                  <a:gd name="T89" fmla="*/ 19 h 94"/>
                  <a:gd name="T90" fmla="*/ 128 w 130"/>
                  <a:gd name="T91" fmla="*/ 13 h 94"/>
                  <a:gd name="T92" fmla="*/ 125 w 130"/>
                  <a:gd name="T93" fmla="*/ 14 h 94"/>
                  <a:gd name="T94" fmla="*/ 122 w 130"/>
                  <a:gd name="T95" fmla="*/ 13 h 94"/>
                  <a:gd name="T96" fmla="*/ 118 w 130"/>
                  <a:gd name="T97" fmla="*/ 1 h 94"/>
                  <a:gd name="T98" fmla="*/ 118 w 130"/>
                  <a:gd name="T9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0" h="94">
                    <a:moveTo>
                      <a:pt x="118" y="0"/>
                    </a:moveTo>
                    <a:cubicBezTo>
                      <a:pt x="116" y="3"/>
                      <a:pt x="114" y="6"/>
                      <a:pt x="112" y="9"/>
                    </a:cubicBezTo>
                    <a:cubicBezTo>
                      <a:pt x="110" y="11"/>
                      <a:pt x="106" y="13"/>
                      <a:pt x="104" y="16"/>
                    </a:cubicBezTo>
                    <a:cubicBezTo>
                      <a:pt x="98" y="22"/>
                      <a:pt x="92" y="29"/>
                      <a:pt x="85" y="34"/>
                    </a:cubicBezTo>
                    <a:cubicBezTo>
                      <a:pt x="81" y="37"/>
                      <a:pt x="80" y="38"/>
                      <a:pt x="79" y="42"/>
                    </a:cubicBezTo>
                    <a:cubicBezTo>
                      <a:pt x="77" y="44"/>
                      <a:pt x="76" y="50"/>
                      <a:pt x="73" y="52"/>
                    </a:cubicBezTo>
                    <a:cubicBezTo>
                      <a:pt x="72" y="52"/>
                      <a:pt x="71" y="53"/>
                      <a:pt x="70" y="53"/>
                    </a:cubicBezTo>
                    <a:cubicBezTo>
                      <a:pt x="68" y="53"/>
                      <a:pt x="66" y="51"/>
                      <a:pt x="64" y="51"/>
                    </a:cubicBezTo>
                    <a:cubicBezTo>
                      <a:pt x="68" y="54"/>
                      <a:pt x="58" y="57"/>
                      <a:pt x="55" y="58"/>
                    </a:cubicBezTo>
                    <a:cubicBezTo>
                      <a:pt x="55" y="58"/>
                      <a:pt x="54" y="58"/>
                      <a:pt x="54" y="58"/>
                    </a:cubicBezTo>
                    <a:cubicBezTo>
                      <a:pt x="52" y="58"/>
                      <a:pt x="50" y="57"/>
                      <a:pt x="48" y="57"/>
                    </a:cubicBezTo>
                    <a:cubicBezTo>
                      <a:pt x="45" y="56"/>
                      <a:pt x="41" y="56"/>
                      <a:pt x="37" y="56"/>
                    </a:cubicBezTo>
                    <a:cubicBezTo>
                      <a:pt x="34" y="56"/>
                      <a:pt x="30" y="56"/>
                      <a:pt x="26" y="57"/>
                    </a:cubicBezTo>
                    <a:cubicBezTo>
                      <a:pt x="23" y="58"/>
                      <a:pt x="13" y="61"/>
                      <a:pt x="6" y="61"/>
                    </a:cubicBezTo>
                    <a:cubicBezTo>
                      <a:pt x="4" y="61"/>
                      <a:pt x="2" y="61"/>
                      <a:pt x="0" y="60"/>
                    </a:cubicBezTo>
                    <a:cubicBezTo>
                      <a:pt x="1" y="61"/>
                      <a:pt x="3" y="62"/>
                      <a:pt x="4" y="63"/>
                    </a:cubicBezTo>
                    <a:cubicBezTo>
                      <a:pt x="5" y="65"/>
                      <a:pt x="5" y="65"/>
                      <a:pt x="5" y="65"/>
                    </a:cubicBezTo>
                    <a:cubicBezTo>
                      <a:pt x="6" y="66"/>
                      <a:pt x="9" y="70"/>
                      <a:pt x="9" y="70"/>
                    </a:cubicBezTo>
                    <a:cubicBezTo>
                      <a:pt x="13" y="75"/>
                      <a:pt x="13" y="75"/>
                      <a:pt x="13" y="75"/>
                    </a:cubicBezTo>
                    <a:cubicBezTo>
                      <a:pt x="17" y="79"/>
                      <a:pt x="20" y="84"/>
                      <a:pt x="23" y="88"/>
                    </a:cubicBezTo>
                    <a:cubicBezTo>
                      <a:pt x="93" y="94"/>
                      <a:pt x="93" y="94"/>
                      <a:pt x="93" y="94"/>
                    </a:cubicBezTo>
                    <a:cubicBezTo>
                      <a:pt x="93" y="93"/>
                      <a:pt x="94" y="92"/>
                      <a:pt x="94" y="91"/>
                    </a:cubicBezTo>
                    <a:cubicBezTo>
                      <a:pt x="94" y="91"/>
                      <a:pt x="94" y="90"/>
                      <a:pt x="94" y="90"/>
                    </a:cubicBezTo>
                    <a:cubicBezTo>
                      <a:pt x="96" y="83"/>
                      <a:pt x="96" y="83"/>
                      <a:pt x="96" y="83"/>
                    </a:cubicBezTo>
                    <a:cubicBezTo>
                      <a:pt x="97" y="79"/>
                      <a:pt x="98" y="74"/>
                      <a:pt x="98" y="70"/>
                    </a:cubicBezTo>
                    <a:cubicBezTo>
                      <a:pt x="99" y="70"/>
                      <a:pt x="99" y="69"/>
                      <a:pt x="99" y="68"/>
                    </a:cubicBezTo>
                    <a:cubicBezTo>
                      <a:pt x="99" y="67"/>
                      <a:pt x="99" y="67"/>
                      <a:pt x="99" y="67"/>
                    </a:cubicBezTo>
                    <a:cubicBezTo>
                      <a:pt x="99" y="66"/>
                      <a:pt x="99" y="66"/>
                      <a:pt x="99" y="65"/>
                    </a:cubicBezTo>
                    <a:cubicBezTo>
                      <a:pt x="100" y="62"/>
                      <a:pt x="101" y="58"/>
                      <a:pt x="106" y="56"/>
                    </a:cubicBezTo>
                    <a:cubicBezTo>
                      <a:pt x="107" y="55"/>
                      <a:pt x="108" y="55"/>
                      <a:pt x="108" y="55"/>
                    </a:cubicBezTo>
                    <a:cubicBezTo>
                      <a:pt x="109" y="55"/>
                      <a:pt x="109" y="55"/>
                      <a:pt x="109" y="55"/>
                    </a:cubicBezTo>
                    <a:cubicBezTo>
                      <a:pt x="110" y="55"/>
                      <a:pt x="110" y="55"/>
                      <a:pt x="110" y="55"/>
                    </a:cubicBezTo>
                    <a:cubicBezTo>
                      <a:pt x="110" y="55"/>
                      <a:pt x="110" y="55"/>
                      <a:pt x="110" y="55"/>
                    </a:cubicBezTo>
                    <a:cubicBezTo>
                      <a:pt x="111" y="55"/>
                      <a:pt x="111" y="55"/>
                      <a:pt x="111" y="55"/>
                    </a:cubicBezTo>
                    <a:cubicBezTo>
                      <a:pt x="110" y="54"/>
                      <a:pt x="109" y="53"/>
                      <a:pt x="109" y="52"/>
                    </a:cubicBezTo>
                    <a:cubicBezTo>
                      <a:pt x="109" y="46"/>
                      <a:pt x="110" y="41"/>
                      <a:pt x="112" y="35"/>
                    </a:cubicBezTo>
                    <a:cubicBezTo>
                      <a:pt x="113" y="33"/>
                      <a:pt x="113" y="33"/>
                      <a:pt x="113" y="33"/>
                    </a:cubicBezTo>
                    <a:cubicBezTo>
                      <a:pt x="121" y="33"/>
                      <a:pt x="121" y="33"/>
                      <a:pt x="121" y="33"/>
                    </a:cubicBezTo>
                    <a:cubicBezTo>
                      <a:pt x="122" y="32"/>
                      <a:pt x="124" y="31"/>
                      <a:pt x="125" y="31"/>
                    </a:cubicBezTo>
                    <a:cubicBezTo>
                      <a:pt x="125" y="30"/>
                      <a:pt x="126" y="29"/>
                      <a:pt x="126" y="27"/>
                    </a:cubicBezTo>
                    <a:cubicBezTo>
                      <a:pt x="127" y="26"/>
                      <a:pt x="127" y="26"/>
                      <a:pt x="127" y="26"/>
                    </a:cubicBezTo>
                    <a:cubicBezTo>
                      <a:pt x="128" y="27"/>
                      <a:pt x="128" y="27"/>
                      <a:pt x="128" y="27"/>
                    </a:cubicBezTo>
                    <a:cubicBezTo>
                      <a:pt x="128" y="25"/>
                      <a:pt x="128" y="25"/>
                      <a:pt x="128" y="25"/>
                    </a:cubicBezTo>
                    <a:cubicBezTo>
                      <a:pt x="129" y="25"/>
                      <a:pt x="129" y="25"/>
                      <a:pt x="129" y="25"/>
                    </a:cubicBezTo>
                    <a:cubicBezTo>
                      <a:pt x="130" y="23"/>
                      <a:pt x="130" y="20"/>
                      <a:pt x="130" y="19"/>
                    </a:cubicBezTo>
                    <a:cubicBezTo>
                      <a:pt x="129" y="17"/>
                      <a:pt x="128" y="15"/>
                      <a:pt x="128" y="13"/>
                    </a:cubicBezTo>
                    <a:cubicBezTo>
                      <a:pt x="127" y="13"/>
                      <a:pt x="126" y="14"/>
                      <a:pt x="125" y="14"/>
                    </a:cubicBezTo>
                    <a:cubicBezTo>
                      <a:pt x="124" y="14"/>
                      <a:pt x="123" y="13"/>
                      <a:pt x="122" y="13"/>
                    </a:cubicBezTo>
                    <a:cubicBezTo>
                      <a:pt x="119" y="11"/>
                      <a:pt x="119" y="6"/>
                      <a:pt x="118" y="1"/>
                    </a:cubicBezTo>
                    <a:cubicBezTo>
                      <a:pt x="118" y="0"/>
                      <a:pt x="118" y="0"/>
                      <a:pt x="1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0" name="Freeform 358">
                <a:extLst>
                  <a:ext uri="{FF2B5EF4-FFF2-40B4-BE49-F238E27FC236}">
                    <a16:creationId xmlns:a16="http://schemas.microsoft.com/office/drawing/2014/main" id="{30887203-258F-474B-9BB4-D0C5C0315962}"/>
                  </a:ext>
                </a:extLst>
              </p:cNvPr>
              <p:cNvSpPr>
                <a:spLocks/>
              </p:cNvSpPr>
              <p:nvPr/>
            </p:nvSpPr>
            <p:spPr bwMode="auto">
              <a:xfrm>
                <a:off x="7469730" y="5933037"/>
                <a:ext cx="1868353" cy="924964"/>
              </a:xfrm>
              <a:custGeom>
                <a:avLst/>
                <a:gdLst>
                  <a:gd name="T0" fmla="*/ 117 w 588"/>
                  <a:gd name="T1" fmla="*/ 6 h 291"/>
                  <a:gd name="T2" fmla="*/ 80 w 588"/>
                  <a:gd name="T3" fmla="*/ 17 h 291"/>
                  <a:gd name="T4" fmla="*/ 97 w 588"/>
                  <a:gd name="T5" fmla="*/ 39 h 291"/>
                  <a:gd name="T6" fmla="*/ 100 w 588"/>
                  <a:gd name="T7" fmla="*/ 43 h 291"/>
                  <a:gd name="T8" fmla="*/ 87 w 588"/>
                  <a:gd name="T9" fmla="*/ 66 h 291"/>
                  <a:gd name="T10" fmla="*/ 74 w 588"/>
                  <a:gd name="T11" fmla="*/ 69 h 291"/>
                  <a:gd name="T12" fmla="*/ 67 w 588"/>
                  <a:gd name="T13" fmla="*/ 70 h 291"/>
                  <a:gd name="T14" fmla="*/ 53 w 588"/>
                  <a:gd name="T15" fmla="*/ 84 h 291"/>
                  <a:gd name="T16" fmla="*/ 36 w 588"/>
                  <a:gd name="T17" fmla="*/ 90 h 291"/>
                  <a:gd name="T18" fmla="*/ 16 w 588"/>
                  <a:gd name="T19" fmla="*/ 87 h 291"/>
                  <a:gd name="T20" fmla="*/ 13 w 588"/>
                  <a:gd name="T21" fmla="*/ 88 h 291"/>
                  <a:gd name="T22" fmla="*/ 3 w 588"/>
                  <a:gd name="T23" fmla="*/ 124 h 291"/>
                  <a:gd name="T24" fmla="*/ 5 w 588"/>
                  <a:gd name="T25" fmla="*/ 121 h 291"/>
                  <a:gd name="T26" fmla="*/ 9 w 588"/>
                  <a:gd name="T27" fmla="*/ 122 h 291"/>
                  <a:gd name="T28" fmla="*/ 14 w 588"/>
                  <a:gd name="T29" fmla="*/ 121 h 291"/>
                  <a:gd name="T30" fmla="*/ 39 w 588"/>
                  <a:gd name="T31" fmla="*/ 155 h 291"/>
                  <a:gd name="T32" fmla="*/ 67 w 588"/>
                  <a:gd name="T33" fmla="*/ 198 h 291"/>
                  <a:gd name="T34" fmla="*/ 86 w 588"/>
                  <a:gd name="T35" fmla="*/ 236 h 291"/>
                  <a:gd name="T36" fmla="*/ 113 w 588"/>
                  <a:gd name="T37" fmla="*/ 255 h 291"/>
                  <a:gd name="T38" fmla="*/ 130 w 588"/>
                  <a:gd name="T39" fmla="*/ 291 h 291"/>
                  <a:gd name="T40" fmla="*/ 585 w 588"/>
                  <a:gd name="T41" fmla="*/ 288 h 291"/>
                  <a:gd name="T42" fmla="*/ 499 w 588"/>
                  <a:gd name="T43" fmla="*/ 266 h 291"/>
                  <a:gd name="T44" fmla="*/ 482 w 588"/>
                  <a:gd name="T45" fmla="*/ 242 h 291"/>
                  <a:gd name="T46" fmla="*/ 478 w 588"/>
                  <a:gd name="T47" fmla="*/ 234 h 291"/>
                  <a:gd name="T48" fmla="*/ 482 w 588"/>
                  <a:gd name="T49" fmla="*/ 227 h 291"/>
                  <a:gd name="T50" fmla="*/ 478 w 588"/>
                  <a:gd name="T51" fmla="*/ 228 h 291"/>
                  <a:gd name="T52" fmla="*/ 472 w 588"/>
                  <a:gd name="T53" fmla="*/ 228 h 291"/>
                  <a:gd name="T54" fmla="*/ 469 w 588"/>
                  <a:gd name="T55" fmla="*/ 229 h 291"/>
                  <a:gd name="T56" fmla="*/ 468 w 588"/>
                  <a:gd name="T57" fmla="*/ 228 h 291"/>
                  <a:gd name="T58" fmla="*/ 463 w 588"/>
                  <a:gd name="T59" fmla="*/ 222 h 291"/>
                  <a:gd name="T60" fmla="*/ 440 w 588"/>
                  <a:gd name="T61" fmla="*/ 181 h 291"/>
                  <a:gd name="T62" fmla="*/ 446 w 588"/>
                  <a:gd name="T63" fmla="*/ 174 h 291"/>
                  <a:gd name="T64" fmla="*/ 445 w 588"/>
                  <a:gd name="T65" fmla="*/ 166 h 291"/>
                  <a:gd name="T66" fmla="*/ 426 w 588"/>
                  <a:gd name="T67" fmla="*/ 150 h 291"/>
                  <a:gd name="T68" fmla="*/ 415 w 588"/>
                  <a:gd name="T69" fmla="*/ 142 h 291"/>
                  <a:gd name="T70" fmla="*/ 417 w 588"/>
                  <a:gd name="T71" fmla="*/ 139 h 291"/>
                  <a:gd name="T72" fmla="*/ 412 w 588"/>
                  <a:gd name="T73" fmla="*/ 137 h 291"/>
                  <a:gd name="T74" fmla="*/ 397 w 588"/>
                  <a:gd name="T75" fmla="*/ 111 h 291"/>
                  <a:gd name="T76" fmla="*/ 394 w 588"/>
                  <a:gd name="T77" fmla="*/ 111 h 291"/>
                  <a:gd name="T78" fmla="*/ 389 w 588"/>
                  <a:gd name="T79" fmla="*/ 112 h 291"/>
                  <a:gd name="T80" fmla="*/ 369 w 588"/>
                  <a:gd name="T81" fmla="*/ 106 h 291"/>
                  <a:gd name="T82" fmla="*/ 368 w 588"/>
                  <a:gd name="T83" fmla="*/ 104 h 291"/>
                  <a:gd name="T84" fmla="*/ 368 w 588"/>
                  <a:gd name="T85" fmla="*/ 101 h 291"/>
                  <a:gd name="T86" fmla="*/ 367 w 588"/>
                  <a:gd name="T87" fmla="*/ 100 h 291"/>
                  <a:gd name="T88" fmla="*/ 342 w 588"/>
                  <a:gd name="T89" fmla="*/ 94 h 291"/>
                  <a:gd name="T90" fmla="*/ 338 w 588"/>
                  <a:gd name="T91" fmla="*/ 96 h 291"/>
                  <a:gd name="T92" fmla="*/ 333 w 588"/>
                  <a:gd name="T93" fmla="*/ 95 h 291"/>
                  <a:gd name="T94" fmla="*/ 274 w 588"/>
                  <a:gd name="T95" fmla="*/ 79 h 291"/>
                  <a:gd name="T96" fmla="*/ 232 w 588"/>
                  <a:gd name="T97" fmla="*/ 47 h 291"/>
                  <a:gd name="T98" fmla="*/ 199 w 588"/>
                  <a:gd name="T99" fmla="*/ 24 h 291"/>
                  <a:gd name="T100" fmla="*/ 167 w 588"/>
                  <a:gd name="T101" fmla="*/ 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8" h="291">
                    <a:moveTo>
                      <a:pt x="133" y="0"/>
                    </a:moveTo>
                    <a:cubicBezTo>
                      <a:pt x="131" y="0"/>
                      <a:pt x="131" y="0"/>
                      <a:pt x="131" y="0"/>
                    </a:cubicBezTo>
                    <a:cubicBezTo>
                      <a:pt x="127" y="3"/>
                      <a:pt x="122" y="4"/>
                      <a:pt x="117" y="6"/>
                    </a:cubicBezTo>
                    <a:cubicBezTo>
                      <a:pt x="115" y="6"/>
                      <a:pt x="115" y="6"/>
                      <a:pt x="115" y="6"/>
                    </a:cubicBezTo>
                    <a:cubicBezTo>
                      <a:pt x="113" y="7"/>
                      <a:pt x="111" y="7"/>
                      <a:pt x="109" y="8"/>
                    </a:cubicBezTo>
                    <a:cubicBezTo>
                      <a:pt x="100" y="11"/>
                      <a:pt x="90" y="14"/>
                      <a:pt x="80" y="17"/>
                    </a:cubicBezTo>
                    <a:cubicBezTo>
                      <a:pt x="77" y="18"/>
                      <a:pt x="77" y="18"/>
                      <a:pt x="77" y="18"/>
                    </a:cubicBezTo>
                    <a:cubicBezTo>
                      <a:pt x="83" y="24"/>
                      <a:pt x="89" y="30"/>
                      <a:pt x="95" y="37"/>
                    </a:cubicBezTo>
                    <a:cubicBezTo>
                      <a:pt x="95" y="38"/>
                      <a:pt x="96" y="38"/>
                      <a:pt x="97" y="39"/>
                    </a:cubicBezTo>
                    <a:cubicBezTo>
                      <a:pt x="97" y="39"/>
                      <a:pt x="97" y="39"/>
                      <a:pt x="97" y="39"/>
                    </a:cubicBezTo>
                    <a:cubicBezTo>
                      <a:pt x="98" y="40"/>
                      <a:pt x="98" y="41"/>
                      <a:pt x="99" y="41"/>
                    </a:cubicBezTo>
                    <a:cubicBezTo>
                      <a:pt x="99" y="42"/>
                      <a:pt x="100" y="42"/>
                      <a:pt x="100" y="43"/>
                    </a:cubicBezTo>
                    <a:cubicBezTo>
                      <a:pt x="102" y="44"/>
                      <a:pt x="102" y="45"/>
                      <a:pt x="102" y="47"/>
                    </a:cubicBezTo>
                    <a:cubicBezTo>
                      <a:pt x="103" y="48"/>
                      <a:pt x="103" y="51"/>
                      <a:pt x="89" y="63"/>
                    </a:cubicBezTo>
                    <a:cubicBezTo>
                      <a:pt x="88" y="64"/>
                      <a:pt x="88" y="65"/>
                      <a:pt x="87" y="66"/>
                    </a:cubicBezTo>
                    <a:cubicBezTo>
                      <a:pt x="84" y="67"/>
                      <a:pt x="81" y="68"/>
                      <a:pt x="78" y="68"/>
                    </a:cubicBezTo>
                    <a:cubicBezTo>
                      <a:pt x="77" y="68"/>
                      <a:pt x="77" y="68"/>
                      <a:pt x="77" y="68"/>
                    </a:cubicBezTo>
                    <a:cubicBezTo>
                      <a:pt x="76" y="68"/>
                      <a:pt x="75" y="68"/>
                      <a:pt x="74" y="69"/>
                    </a:cubicBezTo>
                    <a:cubicBezTo>
                      <a:pt x="73" y="69"/>
                      <a:pt x="73" y="69"/>
                      <a:pt x="72" y="69"/>
                    </a:cubicBezTo>
                    <a:cubicBezTo>
                      <a:pt x="70" y="69"/>
                      <a:pt x="70" y="69"/>
                      <a:pt x="70" y="69"/>
                    </a:cubicBezTo>
                    <a:cubicBezTo>
                      <a:pt x="69" y="69"/>
                      <a:pt x="68" y="70"/>
                      <a:pt x="67" y="70"/>
                    </a:cubicBezTo>
                    <a:cubicBezTo>
                      <a:pt x="64" y="71"/>
                      <a:pt x="62" y="74"/>
                      <a:pt x="59" y="77"/>
                    </a:cubicBezTo>
                    <a:cubicBezTo>
                      <a:pt x="59" y="78"/>
                      <a:pt x="58" y="79"/>
                      <a:pt x="57" y="80"/>
                    </a:cubicBezTo>
                    <a:cubicBezTo>
                      <a:pt x="53" y="84"/>
                      <a:pt x="53" y="84"/>
                      <a:pt x="53" y="84"/>
                    </a:cubicBezTo>
                    <a:cubicBezTo>
                      <a:pt x="50" y="88"/>
                      <a:pt x="48" y="90"/>
                      <a:pt x="46" y="91"/>
                    </a:cubicBezTo>
                    <a:cubicBezTo>
                      <a:pt x="46" y="91"/>
                      <a:pt x="45" y="92"/>
                      <a:pt x="44" y="92"/>
                    </a:cubicBezTo>
                    <a:cubicBezTo>
                      <a:pt x="42" y="92"/>
                      <a:pt x="39" y="91"/>
                      <a:pt x="36" y="90"/>
                    </a:cubicBezTo>
                    <a:cubicBezTo>
                      <a:pt x="35" y="90"/>
                      <a:pt x="35" y="90"/>
                      <a:pt x="35" y="90"/>
                    </a:cubicBezTo>
                    <a:cubicBezTo>
                      <a:pt x="35" y="90"/>
                      <a:pt x="34" y="90"/>
                      <a:pt x="34" y="90"/>
                    </a:cubicBezTo>
                    <a:cubicBezTo>
                      <a:pt x="16" y="87"/>
                      <a:pt x="16" y="87"/>
                      <a:pt x="16" y="87"/>
                    </a:cubicBezTo>
                    <a:cubicBezTo>
                      <a:pt x="16" y="87"/>
                      <a:pt x="15" y="87"/>
                      <a:pt x="15" y="87"/>
                    </a:cubicBezTo>
                    <a:cubicBezTo>
                      <a:pt x="15" y="87"/>
                      <a:pt x="14" y="87"/>
                      <a:pt x="14" y="87"/>
                    </a:cubicBezTo>
                    <a:cubicBezTo>
                      <a:pt x="13" y="88"/>
                      <a:pt x="13" y="88"/>
                      <a:pt x="13" y="88"/>
                    </a:cubicBezTo>
                    <a:cubicBezTo>
                      <a:pt x="12" y="88"/>
                      <a:pt x="12" y="88"/>
                      <a:pt x="12" y="88"/>
                    </a:cubicBezTo>
                    <a:cubicBezTo>
                      <a:pt x="10" y="96"/>
                      <a:pt x="8" y="103"/>
                      <a:pt x="5" y="111"/>
                    </a:cubicBezTo>
                    <a:cubicBezTo>
                      <a:pt x="5" y="113"/>
                      <a:pt x="0" y="124"/>
                      <a:pt x="3" y="124"/>
                    </a:cubicBezTo>
                    <a:cubicBezTo>
                      <a:pt x="3" y="124"/>
                      <a:pt x="3" y="124"/>
                      <a:pt x="3" y="124"/>
                    </a:cubicBezTo>
                    <a:cubicBezTo>
                      <a:pt x="4" y="124"/>
                      <a:pt x="4" y="122"/>
                      <a:pt x="4" y="122"/>
                    </a:cubicBezTo>
                    <a:cubicBezTo>
                      <a:pt x="5" y="121"/>
                      <a:pt x="5" y="121"/>
                      <a:pt x="5" y="121"/>
                    </a:cubicBezTo>
                    <a:cubicBezTo>
                      <a:pt x="6" y="121"/>
                      <a:pt x="6" y="122"/>
                      <a:pt x="7" y="122"/>
                    </a:cubicBezTo>
                    <a:cubicBezTo>
                      <a:pt x="7" y="122"/>
                      <a:pt x="8" y="122"/>
                      <a:pt x="8" y="122"/>
                    </a:cubicBezTo>
                    <a:cubicBezTo>
                      <a:pt x="8" y="122"/>
                      <a:pt x="9" y="122"/>
                      <a:pt x="9" y="122"/>
                    </a:cubicBezTo>
                    <a:cubicBezTo>
                      <a:pt x="9" y="122"/>
                      <a:pt x="10" y="122"/>
                      <a:pt x="10" y="122"/>
                    </a:cubicBezTo>
                    <a:cubicBezTo>
                      <a:pt x="11" y="122"/>
                      <a:pt x="11" y="122"/>
                      <a:pt x="12" y="122"/>
                    </a:cubicBezTo>
                    <a:cubicBezTo>
                      <a:pt x="12" y="122"/>
                      <a:pt x="13" y="121"/>
                      <a:pt x="14" y="121"/>
                    </a:cubicBezTo>
                    <a:cubicBezTo>
                      <a:pt x="14" y="121"/>
                      <a:pt x="14" y="121"/>
                      <a:pt x="14" y="121"/>
                    </a:cubicBezTo>
                    <a:cubicBezTo>
                      <a:pt x="16" y="121"/>
                      <a:pt x="18" y="123"/>
                      <a:pt x="20" y="125"/>
                    </a:cubicBezTo>
                    <a:cubicBezTo>
                      <a:pt x="27" y="135"/>
                      <a:pt x="32" y="146"/>
                      <a:pt x="39" y="155"/>
                    </a:cubicBezTo>
                    <a:cubicBezTo>
                      <a:pt x="47" y="165"/>
                      <a:pt x="51" y="179"/>
                      <a:pt x="61" y="185"/>
                    </a:cubicBezTo>
                    <a:cubicBezTo>
                      <a:pt x="63" y="186"/>
                      <a:pt x="62" y="187"/>
                      <a:pt x="62" y="189"/>
                    </a:cubicBezTo>
                    <a:cubicBezTo>
                      <a:pt x="62" y="193"/>
                      <a:pt x="64" y="195"/>
                      <a:pt x="67" y="198"/>
                    </a:cubicBezTo>
                    <a:cubicBezTo>
                      <a:pt x="71" y="202"/>
                      <a:pt x="76" y="208"/>
                      <a:pt x="78" y="213"/>
                    </a:cubicBezTo>
                    <a:cubicBezTo>
                      <a:pt x="79" y="216"/>
                      <a:pt x="79" y="221"/>
                      <a:pt x="80" y="224"/>
                    </a:cubicBezTo>
                    <a:cubicBezTo>
                      <a:pt x="81" y="229"/>
                      <a:pt x="83" y="232"/>
                      <a:pt x="86" y="236"/>
                    </a:cubicBezTo>
                    <a:cubicBezTo>
                      <a:pt x="88" y="240"/>
                      <a:pt x="91" y="239"/>
                      <a:pt x="95" y="240"/>
                    </a:cubicBezTo>
                    <a:cubicBezTo>
                      <a:pt x="100" y="240"/>
                      <a:pt x="105" y="247"/>
                      <a:pt x="109" y="250"/>
                    </a:cubicBezTo>
                    <a:cubicBezTo>
                      <a:pt x="111" y="252"/>
                      <a:pt x="111" y="253"/>
                      <a:pt x="113" y="255"/>
                    </a:cubicBezTo>
                    <a:cubicBezTo>
                      <a:pt x="116" y="261"/>
                      <a:pt x="120" y="266"/>
                      <a:pt x="122" y="273"/>
                    </a:cubicBezTo>
                    <a:cubicBezTo>
                      <a:pt x="125" y="279"/>
                      <a:pt x="127" y="284"/>
                      <a:pt x="130" y="290"/>
                    </a:cubicBezTo>
                    <a:cubicBezTo>
                      <a:pt x="130" y="290"/>
                      <a:pt x="130" y="291"/>
                      <a:pt x="130" y="291"/>
                    </a:cubicBezTo>
                    <a:cubicBezTo>
                      <a:pt x="588" y="291"/>
                      <a:pt x="588" y="291"/>
                      <a:pt x="588" y="291"/>
                    </a:cubicBezTo>
                    <a:cubicBezTo>
                      <a:pt x="587" y="290"/>
                      <a:pt x="587" y="289"/>
                      <a:pt x="586" y="289"/>
                    </a:cubicBezTo>
                    <a:cubicBezTo>
                      <a:pt x="585" y="288"/>
                      <a:pt x="585" y="288"/>
                      <a:pt x="585" y="288"/>
                    </a:cubicBezTo>
                    <a:cubicBezTo>
                      <a:pt x="513" y="281"/>
                      <a:pt x="513" y="281"/>
                      <a:pt x="513" y="281"/>
                    </a:cubicBezTo>
                    <a:cubicBezTo>
                      <a:pt x="512" y="281"/>
                      <a:pt x="511" y="280"/>
                      <a:pt x="510" y="280"/>
                    </a:cubicBezTo>
                    <a:cubicBezTo>
                      <a:pt x="506" y="275"/>
                      <a:pt x="503" y="270"/>
                      <a:pt x="499" y="266"/>
                    </a:cubicBezTo>
                    <a:cubicBezTo>
                      <a:pt x="492" y="257"/>
                      <a:pt x="492" y="257"/>
                      <a:pt x="492" y="257"/>
                    </a:cubicBezTo>
                    <a:cubicBezTo>
                      <a:pt x="491" y="255"/>
                      <a:pt x="491" y="255"/>
                      <a:pt x="491" y="255"/>
                    </a:cubicBezTo>
                    <a:cubicBezTo>
                      <a:pt x="487" y="251"/>
                      <a:pt x="483" y="247"/>
                      <a:pt x="482" y="242"/>
                    </a:cubicBezTo>
                    <a:cubicBezTo>
                      <a:pt x="481" y="238"/>
                      <a:pt x="481" y="238"/>
                      <a:pt x="481" y="238"/>
                    </a:cubicBezTo>
                    <a:cubicBezTo>
                      <a:pt x="480" y="238"/>
                      <a:pt x="478" y="238"/>
                      <a:pt x="477" y="237"/>
                    </a:cubicBezTo>
                    <a:cubicBezTo>
                      <a:pt x="476" y="237"/>
                      <a:pt x="477" y="234"/>
                      <a:pt x="478" y="234"/>
                    </a:cubicBezTo>
                    <a:cubicBezTo>
                      <a:pt x="479" y="232"/>
                      <a:pt x="481" y="231"/>
                      <a:pt x="481" y="230"/>
                    </a:cubicBezTo>
                    <a:cubicBezTo>
                      <a:pt x="482" y="230"/>
                      <a:pt x="482" y="230"/>
                      <a:pt x="482" y="230"/>
                    </a:cubicBezTo>
                    <a:cubicBezTo>
                      <a:pt x="482" y="227"/>
                      <a:pt x="482" y="227"/>
                      <a:pt x="482" y="227"/>
                    </a:cubicBezTo>
                    <a:cubicBezTo>
                      <a:pt x="482" y="227"/>
                      <a:pt x="482" y="227"/>
                      <a:pt x="482" y="227"/>
                    </a:cubicBezTo>
                    <a:cubicBezTo>
                      <a:pt x="480" y="228"/>
                      <a:pt x="479" y="228"/>
                      <a:pt x="479" y="228"/>
                    </a:cubicBezTo>
                    <a:cubicBezTo>
                      <a:pt x="479" y="228"/>
                      <a:pt x="478" y="228"/>
                      <a:pt x="478" y="228"/>
                    </a:cubicBezTo>
                    <a:cubicBezTo>
                      <a:pt x="478" y="228"/>
                      <a:pt x="477" y="228"/>
                      <a:pt x="476" y="228"/>
                    </a:cubicBezTo>
                    <a:cubicBezTo>
                      <a:pt x="476" y="228"/>
                      <a:pt x="476" y="228"/>
                      <a:pt x="476" y="228"/>
                    </a:cubicBezTo>
                    <a:cubicBezTo>
                      <a:pt x="475" y="228"/>
                      <a:pt x="473" y="228"/>
                      <a:pt x="472" y="228"/>
                    </a:cubicBezTo>
                    <a:cubicBezTo>
                      <a:pt x="471" y="228"/>
                      <a:pt x="471" y="228"/>
                      <a:pt x="470" y="229"/>
                    </a:cubicBezTo>
                    <a:cubicBezTo>
                      <a:pt x="469" y="229"/>
                      <a:pt x="469" y="229"/>
                      <a:pt x="469" y="229"/>
                    </a:cubicBezTo>
                    <a:cubicBezTo>
                      <a:pt x="469" y="229"/>
                      <a:pt x="469" y="229"/>
                      <a:pt x="469" y="229"/>
                    </a:cubicBezTo>
                    <a:cubicBezTo>
                      <a:pt x="469" y="229"/>
                      <a:pt x="469" y="229"/>
                      <a:pt x="469" y="229"/>
                    </a:cubicBezTo>
                    <a:cubicBezTo>
                      <a:pt x="468" y="229"/>
                      <a:pt x="468" y="229"/>
                      <a:pt x="468" y="229"/>
                    </a:cubicBezTo>
                    <a:cubicBezTo>
                      <a:pt x="468" y="228"/>
                      <a:pt x="468" y="228"/>
                      <a:pt x="468" y="228"/>
                    </a:cubicBezTo>
                    <a:cubicBezTo>
                      <a:pt x="466" y="228"/>
                      <a:pt x="465" y="226"/>
                      <a:pt x="464" y="224"/>
                    </a:cubicBezTo>
                    <a:cubicBezTo>
                      <a:pt x="463" y="222"/>
                      <a:pt x="463" y="222"/>
                      <a:pt x="463" y="222"/>
                    </a:cubicBezTo>
                    <a:cubicBezTo>
                      <a:pt x="463" y="222"/>
                      <a:pt x="463" y="222"/>
                      <a:pt x="463" y="222"/>
                    </a:cubicBezTo>
                    <a:cubicBezTo>
                      <a:pt x="459" y="216"/>
                      <a:pt x="455" y="210"/>
                      <a:pt x="451" y="204"/>
                    </a:cubicBezTo>
                    <a:cubicBezTo>
                      <a:pt x="448" y="198"/>
                      <a:pt x="442" y="192"/>
                      <a:pt x="440" y="186"/>
                    </a:cubicBezTo>
                    <a:cubicBezTo>
                      <a:pt x="440" y="185"/>
                      <a:pt x="439" y="182"/>
                      <a:pt x="440" y="181"/>
                    </a:cubicBezTo>
                    <a:cubicBezTo>
                      <a:pt x="441" y="181"/>
                      <a:pt x="441" y="180"/>
                      <a:pt x="441" y="180"/>
                    </a:cubicBezTo>
                    <a:cubicBezTo>
                      <a:pt x="442" y="180"/>
                      <a:pt x="443" y="183"/>
                      <a:pt x="444" y="185"/>
                    </a:cubicBezTo>
                    <a:cubicBezTo>
                      <a:pt x="445" y="182"/>
                      <a:pt x="447" y="176"/>
                      <a:pt x="446" y="174"/>
                    </a:cubicBezTo>
                    <a:cubicBezTo>
                      <a:pt x="444" y="170"/>
                      <a:pt x="438" y="169"/>
                      <a:pt x="440" y="164"/>
                    </a:cubicBezTo>
                    <a:cubicBezTo>
                      <a:pt x="441" y="165"/>
                      <a:pt x="442" y="166"/>
                      <a:pt x="444" y="166"/>
                    </a:cubicBezTo>
                    <a:cubicBezTo>
                      <a:pt x="444" y="166"/>
                      <a:pt x="444" y="166"/>
                      <a:pt x="445" y="166"/>
                    </a:cubicBezTo>
                    <a:cubicBezTo>
                      <a:pt x="442" y="164"/>
                      <a:pt x="441" y="161"/>
                      <a:pt x="438" y="160"/>
                    </a:cubicBezTo>
                    <a:cubicBezTo>
                      <a:pt x="437" y="159"/>
                      <a:pt x="435" y="159"/>
                      <a:pt x="434" y="158"/>
                    </a:cubicBezTo>
                    <a:cubicBezTo>
                      <a:pt x="431" y="156"/>
                      <a:pt x="430" y="150"/>
                      <a:pt x="426" y="150"/>
                    </a:cubicBezTo>
                    <a:cubicBezTo>
                      <a:pt x="426" y="150"/>
                      <a:pt x="426" y="150"/>
                      <a:pt x="426" y="150"/>
                    </a:cubicBezTo>
                    <a:cubicBezTo>
                      <a:pt x="426" y="150"/>
                      <a:pt x="426" y="151"/>
                      <a:pt x="426" y="151"/>
                    </a:cubicBezTo>
                    <a:cubicBezTo>
                      <a:pt x="422" y="151"/>
                      <a:pt x="420" y="144"/>
                      <a:pt x="415" y="142"/>
                    </a:cubicBezTo>
                    <a:cubicBezTo>
                      <a:pt x="417" y="142"/>
                      <a:pt x="418" y="141"/>
                      <a:pt x="420" y="140"/>
                    </a:cubicBezTo>
                    <a:cubicBezTo>
                      <a:pt x="419" y="139"/>
                      <a:pt x="418" y="139"/>
                      <a:pt x="417" y="139"/>
                    </a:cubicBezTo>
                    <a:cubicBezTo>
                      <a:pt x="417" y="139"/>
                      <a:pt x="417" y="139"/>
                      <a:pt x="417" y="139"/>
                    </a:cubicBezTo>
                    <a:cubicBezTo>
                      <a:pt x="416" y="139"/>
                      <a:pt x="416" y="139"/>
                      <a:pt x="416" y="139"/>
                    </a:cubicBezTo>
                    <a:cubicBezTo>
                      <a:pt x="415" y="139"/>
                      <a:pt x="415" y="139"/>
                      <a:pt x="414" y="139"/>
                    </a:cubicBezTo>
                    <a:cubicBezTo>
                      <a:pt x="413" y="138"/>
                      <a:pt x="412" y="137"/>
                      <a:pt x="412" y="137"/>
                    </a:cubicBezTo>
                    <a:cubicBezTo>
                      <a:pt x="409" y="136"/>
                      <a:pt x="408" y="137"/>
                      <a:pt x="406" y="134"/>
                    </a:cubicBezTo>
                    <a:cubicBezTo>
                      <a:pt x="404" y="132"/>
                      <a:pt x="404" y="127"/>
                      <a:pt x="402" y="124"/>
                    </a:cubicBezTo>
                    <a:cubicBezTo>
                      <a:pt x="401" y="120"/>
                      <a:pt x="399" y="116"/>
                      <a:pt x="397" y="111"/>
                    </a:cubicBezTo>
                    <a:cubicBezTo>
                      <a:pt x="396" y="112"/>
                      <a:pt x="396" y="112"/>
                      <a:pt x="396" y="112"/>
                    </a:cubicBezTo>
                    <a:cubicBezTo>
                      <a:pt x="395" y="112"/>
                      <a:pt x="395" y="112"/>
                      <a:pt x="395" y="112"/>
                    </a:cubicBezTo>
                    <a:cubicBezTo>
                      <a:pt x="394" y="111"/>
                      <a:pt x="394" y="111"/>
                      <a:pt x="394" y="111"/>
                    </a:cubicBezTo>
                    <a:cubicBezTo>
                      <a:pt x="393" y="112"/>
                      <a:pt x="393" y="112"/>
                      <a:pt x="393" y="112"/>
                    </a:cubicBezTo>
                    <a:cubicBezTo>
                      <a:pt x="392" y="112"/>
                      <a:pt x="391" y="112"/>
                      <a:pt x="390" y="112"/>
                    </a:cubicBezTo>
                    <a:cubicBezTo>
                      <a:pt x="389" y="112"/>
                      <a:pt x="389" y="112"/>
                      <a:pt x="389" y="112"/>
                    </a:cubicBezTo>
                    <a:cubicBezTo>
                      <a:pt x="387" y="112"/>
                      <a:pt x="385" y="112"/>
                      <a:pt x="383" y="112"/>
                    </a:cubicBezTo>
                    <a:cubicBezTo>
                      <a:pt x="379" y="112"/>
                      <a:pt x="376" y="112"/>
                      <a:pt x="374" y="111"/>
                    </a:cubicBezTo>
                    <a:cubicBezTo>
                      <a:pt x="372" y="110"/>
                      <a:pt x="370" y="108"/>
                      <a:pt x="369" y="106"/>
                    </a:cubicBezTo>
                    <a:cubicBezTo>
                      <a:pt x="368" y="105"/>
                      <a:pt x="368" y="105"/>
                      <a:pt x="368" y="104"/>
                    </a:cubicBezTo>
                    <a:cubicBezTo>
                      <a:pt x="368" y="104"/>
                      <a:pt x="368" y="104"/>
                      <a:pt x="368" y="104"/>
                    </a:cubicBezTo>
                    <a:cubicBezTo>
                      <a:pt x="368" y="104"/>
                      <a:pt x="368" y="104"/>
                      <a:pt x="368" y="104"/>
                    </a:cubicBezTo>
                    <a:cubicBezTo>
                      <a:pt x="368" y="103"/>
                      <a:pt x="368" y="103"/>
                      <a:pt x="368" y="103"/>
                    </a:cubicBezTo>
                    <a:cubicBezTo>
                      <a:pt x="368" y="103"/>
                      <a:pt x="368" y="103"/>
                      <a:pt x="368" y="103"/>
                    </a:cubicBezTo>
                    <a:cubicBezTo>
                      <a:pt x="368" y="102"/>
                      <a:pt x="368" y="102"/>
                      <a:pt x="368" y="101"/>
                    </a:cubicBezTo>
                    <a:cubicBezTo>
                      <a:pt x="367" y="101"/>
                      <a:pt x="367" y="101"/>
                      <a:pt x="367" y="101"/>
                    </a:cubicBezTo>
                    <a:cubicBezTo>
                      <a:pt x="367" y="101"/>
                      <a:pt x="367" y="100"/>
                      <a:pt x="367" y="100"/>
                    </a:cubicBezTo>
                    <a:cubicBezTo>
                      <a:pt x="367" y="100"/>
                      <a:pt x="367" y="100"/>
                      <a:pt x="367" y="100"/>
                    </a:cubicBezTo>
                    <a:cubicBezTo>
                      <a:pt x="343" y="94"/>
                      <a:pt x="343" y="94"/>
                      <a:pt x="343" y="94"/>
                    </a:cubicBezTo>
                    <a:cubicBezTo>
                      <a:pt x="343" y="94"/>
                      <a:pt x="343" y="94"/>
                      <a:pt x="343" y="94"/>
                    </a:cubicBezTo>
                    <a:cubicBezTo>
                      <a:pt x="342" y="94"/>
                      <a:pt x="342" y="94"/>
                      <a:pt x="342" y="94"/>
                    </a:cubicBezTo>
                    <a:cubicBezTo>
                      <a:pt x="341" y="95"/>
                      <a:pt x="341" y="95"/>
                      <a:pt x="341" y="95"/>
                    </a:cubicBezTo>
                    <a:cubicBezTo>
                      <a:pt x="341" y="95"/>
                      <a:pt x="340" y="95"/>
                      <a:pt x="339" y="95"/>
                    </a:cubicBezTo>
                    <a:cubicBezTo>
                      <a:pt x="338" y="96"/>
                      <a:pt x="338" y="96"/>
                      <a:pt x="338" y="96"/>
                    </a:cubicBezTo>
                    <a:cubicBezTo>
                      <a:pt x="337" y="96"/>
                      <a:pt x="336" y="95"/>
                      <a:pt x="335" y="95"/>
                    </a:cubicBezTo>
                    <a:cubicBezTo>
                      <a:pt x="334" y="95"/>
                      <a:pt x="334" y="95"/>
                      <a:pt x="334" y="95"/>
                    </a:cubicBezTo>
                    <a:cubicBezTo>
                      <a:pt x="333" y="95"/>
                      <a:pt x="333" y="95"/>
                      <a:pt x="333" y="95"/>
                    </a:cubicBezTo>
                    <a:cubicBezTo>
                      <a:pt x="294" y="91"/>
                      <a:pt x="294" y="91"/>
                      <a:pt x="294" y="91"/>
                    </a:cubicBezTo>
                    <a:cubicBezTo>
                      <a:pt x="292" y="91"/>
                      <a:pt x="289" y="91"/>
                      <a:pt x="287" y="89"/>
                    </a:cubicBezTo>
                    <a:cubicBezTo>
                      <a:pt x="282" y="86"/>
                      <a:pt x="278" y="83"/>
                      <a:pt x="274" y="79"/>
                    </a:cubicBezTo>
                    <a:cubicBezTo>
                      <a:pt x="270" y="76"/>
                      <a:pt x="266" y="74"/>
                      <a:pt x="263" y="71"/>
                    </a:cubicBezTo>
                    <a:cubicBezTo>
                      <a:pt x="244" y="56"/>
                      <a:pt x="244" y="56"/>
                      <a:pt x="244" y="56"/>
                    </a:cubicBezTo>
                    <a:cubicBezTo>
                      <a:pt x="240" y="53"/>
                      <a:pt x="236" y="50"/>
                      <a:pt x="232" y="47"/>
                    </a:cubicBezTo>
                    <a:cubicBezTo>
                      <a:pt x="226" y="42"/>
                      <a:pt x="220" y="36"/>
                      <a:pt x="213" y="32"/>
                    </a:cubicBezTo>
                    <a:cubicBezTo>
                      <a:pt x="207" y="28"/>
                      <a:pt x="207" y="28"/>
                      <a:pt x="207" y="28"/>
                    </a:cubicBezTo>
                    <a:cubicBezTo>
                      <a:pt x="204" y="27"/>
                      <a:pt x="202" y="26"/>
                      <a:pt x="199" y="24"/>
                    </a:cubicBezTo>
                    <a:cubicBezTo>
                      <a:pt x="192" y="21"/>
                      <a:pt x="183" y="16"/>
                      <a:pt x="175" y="11"/>
                    </a:cubicBezTo>
                    <a:cubicBezTo>
                      <a:pt x="174" y="10"/>
                      <a:pt x="174" y="10"/>
                      <a:pt x="173" y="9"/>
                    </a:cubicBezTo>
                    <a:cubicBezTo>
                      <a:pt x="171" y="8"/>
                      <a:pt x="168" y="6"/>
                      <a:pt x="167" y="5"/>
                    </a:cubicBezTo>
                    <a:cubicBezTo>
                      <a:pt x="133" y="0"/>
                      <a:pt x="133" y="0"/>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1" name="Freeform 359">
                <a:extLst>
                  <a:ext uri="{FF2B5EF4-FFF2-40B4-BE49-F238E27FC236}">
                    <a16:creationId xmlns:a16="http://schemas.microsoft.com/office/drawing/2014/main" id="{4A57B66A-771A-4F22-ABD3-A0393D319197}"/>
                  </a:ext>
                </a:extLst>
              </p:cNvPr>
              <p:cNvSpPr>
                <a:spLocks/>
              </p:cNvSpPr>
              <p:nvPr/>
            </p:nvSpPr>
            <p:spPr bwMode="auto">
              <a:xfrm>
                <a:off x="3637210" y="3357141"/>
                <a:ext cx="228477" cy="151090"/>
              </a:xfrm>
              <a:custGeom>
                <a:avLst/>
                <a:gdLst>
                  <a:gd name="T0" fmla="*/ 47 w 72"/>
                  <a:gd name="T1" fmla="*/ 0 h 47"/>
                  <a:gd name="T2" fmla="*/ 44 w 72"/>
                  <a:gd name="T3" fmla="*/ 0 h 47"/>
                  <a:gd name="T4" fmla="*/ 42 w 72"/>
                  <a:gd name="T5" fmla="*/ 0 h 47"/>
                  <a:gd name="T6" fmla="*/ 40 w 72"/>
                  <a:gd name="T7" fmla="*/ 0 h 47"/>
                  <a:gd name="T8" fmla="*/ 25 w 72"/>
                  <a:gd name="T9" fmla="*/ 6 h 47"/>
                  <a:gd name="T10" fmla="*/ 23 w 72"/>
                  <a:gd name="T11" fmla="*/ 6 h 47"/>
                  <a:gd name="T12" fmla="*/ 22 w 72"/>
                  <a:gd name="T13" fmla="*/ 6 h 47"/>
                  <a:gd name="T14" fmla="*/ 23 w 72"/>
                  <a:gd name="T15" fmla="*/ 7 h 47"/>
                  <a:gd name="T16" fmla="*/ 22 w 72"/>
                  <a:gd name="T17" fmla="*/ 8 h 47"/>
                  <a:gd name="T18" fmla="*/ 22 w 72"/>
                  <a:gd name="T19" fmla="*/ 9 h 47"/>
                  <a:gd name="T20" fmla="*/ 21 w 72"/>
                  <a:gd name="T21" fmla="*/ 10 h 47"/>
                  <a:gd name="T22" fmla="*/ 20 w 72"/>
                  <a:gd name="T23" fmla="*/ 11 h 47"/>
                  <a:gd name="T24" fmla="*/ 16 w 72"/>
                  <a:gd name="T25" fmla="*/ 18 h 47"/>
                  <a:gd name="T26" fmla="*/ 11 w 72"/>
                  <a:gd name="T27" fmla="*/ 22 h 47"/>
                  <a:gd name="T28" fmla="*/ 14 w 72"/>
                  <a:gd name="T29" fmla="*/ 25 h 47"/>
                  <a:gd name="T30" fmla="*/ 0 w 72"/>
                  <a:gd name="T31" fmla="*/ 31 h 47"/>
                  <a:gd name="T32" fmla="*/ 5 w 72"/>
                  <a:gd name="T33" fmla="*/ 34 h 47"/>
                  <a:gd name="T34" fmla="*/ 16 w 72"/>
                  <a:gd name="T35" fmla="*/ 39 h 47"/>
                  <a:gd name="T36" fmla="*/ 19 w 72"/>
                  <a:gd name="T37" fmla="*/ 34 h 47"/>
                  <a:gd name="T38" fmla="*/ 23 w 72"/>
                  <a:gd name="T39" fmla="*/ 31 h 47"/>
                  <a:gd name="T40" fmla="*/ 25 w 72"/>
                  <a:gd name="T41" fmla="*/ 31 h 47"/>
                  <a:gd name="T42" fmla="*/ 26 w 72"/>
                  <a:gd name="T43" fmla="*/ 31 h 47"/>
                  <a:gd name="T44" fmla="*/ 29 w 72"/>
                  <a:gd name="T45" fmla="*/ 32 h 47"/>
                  <a:gd name="T46" fmla="*/ 40 w 72"/>
                  <a:gd name="T47" fmla="*/ 39 h 47"/>
                  <a:gd name="T48" fmla="*/ 40 w 72"/>
                  <a:gd name="T49" fmla="*/ 39 h 47"/>
                  <a:gd name="T50" fmla="*/ 41 w 72"/>
                  <a:gd name="T51" fmla="*/ 42 h 47"/>
                  <a:gd name="T52" fmla="*/ 42 w 72"/>
                  <a:gd name="T53" fmla="*/ 42 h 47"/>
                  <a:gd name="T54" fmla="*/ 47 w 72"/>
                  <a:gd name="T55" fmla="*/ 41 h 47"/>
                  <a:gd name="T56" fmla="*/ 50 w 72"/>
                  <a:gd name="T57" fmla="*/ 41 h 47"/>
                  <a:gd name="T58" fmla="*/ 49 w 72"/>
                  <a:gd name="T59" fmla="*/ 45 h 47"/>
                  <a:gd name="T60" fmla="*/ 53 w 72"/>
                  <a:gd name="T61" fmla="*/ 47 h 47"/>
                  <a:gd name="T62" fmla="*/ 54 w 72"/>
                  <a:gd name="T63" fmla="*/ 46 h 47"/>
                  <a:gd name="T64" fmla="*/ 63 w 72"/>
                  <a:gd name="T65" fmla="*/ 39 h 47"/>
                  <a:gd name="T66" fmla="*/ 65 w 72"/>
                  <a:gd name="T67" fmla="*/ 39 h 47"/>
                  <a:gd name="T68" fmla="*/ 65 w 72"/>
                  <a:gd name="T69" fmla="*/ 39 h 47"/>
                  <a:gd name="T70" fmla="*/ 65 w 72"/>
                  <a:gd name="T71" fmla="*/ 39 h 47"/>
                  <a:gd name="T72" fmla="*/ 66 w 72"/>
                  <a:gd name="T73" fmla="*/ 38 h 47"/>
                  <a:gd name="T74" fmla="*/ 64 w 72"/>
                  <a:gd name="T75" fmla="*/ 34 h 47"/>
                  <a:gd name="T76" fmla="*/ 66 w 72"/>
                  <a:gd name="T77" fmla="*/ 30 h 47"/>
                  <a:gd name="T78" fmla="*/ 70 w 72"/>
                  <a:gd name="T79" fmla="*/ 34 h 47"/>
                  <a:gd name="T80" fmla="*/ 70 w 72"/>
                  <a:gd name="T81" fmla="*/ 34 h 47"/>
                  <a:gd name="T82" fmla="*/ 69 w 72"/>
                  <a:gd name="T83" fmla="*/ 25 h 47"/>
                  <a:gd name="T84" fmla="*/ 67 w 72"/>
                  <a:gd name="T85" fmla="*/ 22 h 47"/>
                  <a:gd name="T86" fmla="*/ 66 w 72"/>
                  <a:gd name="T87" fmla="*/ 22 h 47"/>
                  <a:gd name="T88" fmla="*/ 60 w 72"/>
                  <a:gd name="T89" fmla="*/ 23 h 47"/>
                  <a:gd name="T90" fmla="*/ 59 w 72"/>
                  <a:gd name="T91" fmla="*/ 23 h 47"/>
                  <a:gd name="T92" fmla="*/ 64 w 72"/>
                  <a:gd name="T93" fmla="*/ 16 h 47"/>
                  <a:gd name="T94" fmla="*/ 56 w 72"/>
                  <a:gd name="T95" fmla="*/ 5 h 47"/>
                  <a:gd name="T96" fmla="*/ 47 w 72"/>
                  <a:gd name="T9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47">
                    <a:moveTo>
                      <a:pt x="47" y="0"/>
                    </a:moveTo>
                    <a:cubicBezTo>
                      <a:pt x="46" y="0"/>
                      <a:pt x="45" y="0"/>
                      <a:pt x="44" y="0"/>
                    </a:cubicBezTo>
                    <a:cubicBezTo>
                      <a:pt x="44" y="0"/>
                      <a:pt x="43" y="0"/>
                      <a:pt x="42" y="0"/>
                    </a:cubicBezTo>
                    <a:cubicBezTo>
                      <a:pt x="41" y="0"/>
                      <a:pt x="41" y="0"/>
                      <a:pt x="40" y="0"/>
                    </a:cubicBezTo>
                    <a:cubicBezTo>
                      <a:pt x="34" y="1"/>
                      <a:pt x="30" y="3"/>
                      <a:pt x="25" y="6"/>
                    </a:cubicBezTo>
                    <a:cubicBezTo>
                      <a:pt x="24" y="6"/>
                      <a:pt x="24" y="6"/>
                      <a:pt x="23" y="6"/>
                    </a:cubicBezTo>
                    <a:cubicBezTo>
                      <a:pt x="23" y="6"/>
                      <a:pt x="22" y="6"/>
                      <a:pt x="22" y="6"/>
                    </a:cubicBezTo>
                    <a:cubicBezTo>
                      <a:pt x="23" y="7"/>
                      <a:pt x="23" y="7"/>
                      <a:pt x="23" y="7"/>
                    </a:cubicBezTo>
                    <a:cubicBezTo>
                      <a:pt x="22" y="8"/>
                      <a:pt x="22" y="8"/>
                      <a:pt x="22" y="8"/>
                    </a:cubicBezTo>
                    <a:cubicBezTo>
                      <a:pt x="22" y="9"/>
                      <a:pt x="22" y="9"/>
                      <a:pt x="22" y="9"/>
                    </a:cubicBezTo>
                    <a:cubicBezTo>
                      <a:pt x="21" y="10"/>
                      <a:pt x="21" y="10"/>
                      <a:pt x="21" y="10"/>
                    </a:cubicBezTo>
                    <a:cubicBezTo>
                      <a:pt x="20" y="10"/>
                      <a:pt x="20" y="11"/>
                      <a:pt x="20" y="11"/>
                    </a:cubicBezTo>
                    <a:cubicBezTo>
                      <a:pt x="19" y="13"/>
                      <a:pt x="17" y="15"/>
                      <a:pt x="16" y="18"/>
                    </a:cubicBezTo>
                    <a:cubicBezTo>
                      <a:pt x="15" y="21"/>
                      <a:pt x="12" y="22"/>
                      <a:pt x="11" y="22"/>
                    </a:cubicBezTo>
                    <a:cubicBezTo>
                      <a:pt x="14" y="25"/>
                      <a:pt x="14" y="25"/>
                      <a:pt x="14" y="25"/>
                    </a:cubicBezTo>
                    <a:cubicBezTo>
                      <a:pt x="0" y="31"/>
                      <a:pt x="0" y="31"/>
                      <a:pt x="0" y="31"/>
                    </a:cubicBezTo>
                    <a:cubicBezTo>
                      <a:pt x="1" y="32"/>
                      <a:pt x="3" y="33"/>
                      <a:pt x="5" y="34"/>
                    </a:cubicBezTo>
                    <a:cubicBezTo>
                      <a:pt x="16" y="39"/>
                      <a:pt x="16" y="39"/>
                      <a:pt x="16" y="39"/>
                    </a:cubicBezTo>
                    <a:cubicBezTo>
                      <a:pt x="17" y="37"/>
                      <a:pt x="17" y="35"/>
                      <a:pt x="19" y="34"/>
                    </a:cubicBezTo>
                    <a:cubicBezTo>
                      <a:pt x="20" y="32"/>
                      <a:pt x="22" y="31"/>
                      <a:pt x="23" y="31"/>
                    </a:cubicBezTo>
                    <a:cubicBezTo>
                      <a:pt x="24" y="31"/>
                      <a:pt x="24" y="31"/>
                      <a:pt x="25" y="31"/>
                    </a:cubicBezTo>
                    <a:cubicBezTo>
                      <a:pt x="26" y="31"/>
                      <a:pt x="26" y="31"/>
                      <a:pt x="26" y="31"/>
                    </a:cubicBezTo>
                    <a:cubicBezTo>
                      <a:pt x="27" y="31"/>
                      <a:pt x="28" y="31"/>
                      <a:pt x="29" y="32"/>
                    </a:cubicBezTo>
                    <a:cubicBezTo>
                      <a:pt x="34" y="32"/>
                      <a:pt x="38" y="35"/>
                      <a:pt x="40" y="39"/>
                    </a:cubicBezTo>
                    <a:cubicBezTo>
                      <a:pt x="40" y="39"/>
                      <a:pt x="40" y="39"/>
                      <a:pt x="40" y="39"/>
                    </a:cubicBezTo>
                    <a:cubicBezTo>
                      <a:pt x="41" y="40"/>
                      <a:pt x="41" y="41"/>
                      <a:pt x="41" y="42"/>
                    </a:cubicBezTo>
                    <a:cubicBezTo>
                      <a:pt x="42" y="42"/>
                      <a:pt x="42" y="42"/>
                      <a:pt x="42" y="42"/>
                    </a:cubicBezTo>
                    <a:cubicBezTo>
                      <a:pt x="47" y="41"/>
                      <a:pt x="47" y="41"/>
                      <a:pt x="47" y="41"/>
                    </a:cubicBezTo>
                    <a:cubicBezTo>
                      <a:pt x="50" y="41"/>
                      <a:pt x="50" y="41"/>
                      <a:pt x="50" y="41"/>
                    </a:cubicBezTo>
                    <a:cubicBezTo>
                      <a:pt x="49" y="45"/>
                      <a:pt x="49" y="45"/>
                      <a:pt x="49" y="45"/>
                    </a:cubicBezTo>
                    <a:cubicBezTo>
                      <a:pt x="51" y="45"/>
                      <a:pt x="52" y="47"/>
                      <a:pt x="53" y="47"/>
                    </a:cubicBezTo>
                    <a:cubicBezTo>
                      <a:pt x="54" y="47"/>
                      <a:pt x="54" y="46"/>
                      <a:pt x="54" y="46"/>
                    </a:cubicBezTo>
                    <a:cubicBezTo>
                      <a:pt x="58" y="44"/>
                      <a:pt x="59" y="41"/>
                      <a:pt x="63" y="39"/>
                    </a:cubicBezTo>
                    <a:cubicBezTo>
                      <a:pt x="64" y="39"/>
                      <a:pt x="64" y="39"/>
                      <a:pt x="65" y="39"/>
                    </a:cubicBezTo>
                    <a:cubicBezTo>
                      <a:pt x="65" y="39"/>
                      <a:pt x="65" y="39"/>
                      <a:pt x="65" y="39"/>
                    </a:cubicBezTo>
                    <a:cubicBezTo>
                      <a:pt x="65" y="39"/>
                      <a:pt x="65" y="39"/>
                      <a:pt x="65" y="39"/>
                    </a:cubicBezTo>
                    <a:cubicBezTo>
                      <a:pt x="65" y="39"/>
                      <a:pt x="66" y="39"/>
                      <a:pt x="66" y="38"/>
                    </a:cubicBezTo>
                    <a:cubicBezTo>
                      <a:pt x="69" y="36"/>
                      <a:pt x="68" y="34"/>
                      <a:pt x="64" y="34"/>
                    </a:cubicBezTo>
                    <a:cubicBezTo>
                      <a:pt x="65" y="33"/>
                      <a:pt x="65" y="31"/>
                      <a:pt x="66" y="30"/>
                    </a:cubicBezTo>
                    <a:cubicBezTo>
                      <a:pt x="67" y="31"/>
                      <a:pt x="69" y="34"/>
                      <a:pt x="70" y="34"/>
                    </a:cubicBezTo>
                    <a:cubicBezTo>
                      <a:pt x="70" y="34"/>
                      <a:pt x="70" y="34"/>
                      <a:pt x="70" y="34"/>
                    </a:cubicBezTo>
                    <a:cubicBezTo>
                      <a:pt x="72" y="33"/>
                      <a:pt x="69" y="26"/>
                      <a:pt x="69" y="25"/>
                    </a:cubicBezTo>
                    <a:cubicBezTo>
                      <a:pt x="68" y="23"/>
                      <a:pt x="69" y="22"/>
                      <a:pt x="67" y="22"/>
                    </a:cubicBezTo>
                    <a:cubicBezTo>
                      <a:pt x="67" y="22"/>
                      <a:pt x="67" y="22"/>
                      <a:pt x="66" y="22"/>
                    </a:cubicBezTo>
                    <a:cubicBezTo>
                      <a:pt x="65" y="22"/>
                      <a:pt x="61" y="23"/>
                      <a:pt x="60" y="23"/>
                    </a:cubicBezTo>
                    <a:cubicBezTo>
                      <a:pt x="60" y="23"/>
                      <a:pt x="60" y="23"/>
                      <a:pt x="59" y="23"/>
                    </a:cubicBezTo>
                    <a:cubicBezTo>
                      <a:pt x="55" y="20"/>
                      <a:pt x="67" y="19"/>
                      <a:pt x="64" y="16"/>
                    </a:cubicBezTo>
                    <a:cubicBezTo>
                      <a:pt x="62" y="12"/>
                      <a:pt x="57" y="9"/>
                      <a:pt x="56" y="5"/>
                    </a:cubicBezTo>
                    <a:cubicBezTo>
                      <a:pt x="54" y="0"/>
                      <a:pt x="51"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2" name="Freeform 360">
                <a:extLst>
                  <a:ext uri="{FF2B5EF4-FFF2-40B4-BE49-F238E27FC236}">
                    <a16:creationId xmlns:a16="http://schemas.microsoft.com/office/drawing/2014/main" id="{8AC77FEB-894F-48AA-B8EB-BF65F864E463}"/>
                  </a:ext>
                </a:extLst>
              </p:cNvPr>
              <p:cNvSpPr>
                <a:spLocks/>
              </p:cNvSpPr>
              <p:nvPr/>
            </p:nvSpPr>
            <p:spPr bwMode="auto">
              <a:xfrm>
                <a:off x="3559822" y="3338716"/>
                <a:ext cx="169515" cy="103183"/>
              </a:xfrm>
              <a:custGeom>
                <a:avLst/>
                <a:gdLst>
                  <a:gd name="T0" fmla="*/ 41 w 53"/>
                  <a:gd name="T1" fmla="*/ 0 h 32"/>
                  <a:gd name="T2" fmla="*/ 44 w 53"/>
                  <a:gd name="T3" fmla="*/ 3 h 32"/>
                  <a:gd name="T4" fmla="*/ 42 w 53"/>
                  <a:gd name="T5" fmla="*/ 3 h 32"/>
                  <a:gd name="T6" fmla="*/ 37 w 53"/>
                  <a:gd name="T7" fmla="*/ 3 h 32"/>
                  <a:gd name="T8" fmla="*/ 38 w 53"/>
                  <a:gd name="T9" fmla="*/ 12 h 32"/>
                  <a:gd name="T10" fmla="*/ 35 w 53"/>
                  <a:gd name="T11" fmla="*/ 13 h 32"/>
                  <a:gd name="T12" fmla="*/ 34 w 53"/>
                  <a:gd name="T13" fmla="*/ 12 h 32"/>
                  <a:gd name="T14" fmla="*/ 35 w 53"/>
                  <a:gd name="T15" fmla="*/ 9 h 32"/>
                  <a:gd name="T16" fmla="*/ 34 w 53"/>
                  <a:gd name="T17" fmla="*/ 5 h 32"/>
                  <a:gd name="T18" fmla="*/ 32 w 53"/>
                  <a:gd name="T19" fmla="*/ 4 h 32"/>
                  <a:gd name="T20" fmla="*/ 30 w 53"/>
                  <a:gd name="T21" fmla="*/ 4 h 32"/>
                  <a:gd name="T22" fmla="*/ 32 w 53"/>
                  <a:gd name="T23" fmla="*/ 10 h 32"/>
                  <a:gd name="T24" fmla="*/ 29 w 53"/>
                  <a:gd name="T25" fmla="*/ 5 h 32"/>
                  <a:gd name="T26" fmla="*/ 23 w 53"/>
                  <a:gd name="T27" fmla="*/ 8 h 32"/>
                  <a:gd name="T28" fmla="*/ 24 w 53"/>
                  <a:gd name="T29" fmla="*/ 6 h 32"/>
                  <a:gd name="T30" fmla="*/ 18 w 53"/>
                  <a:gd name="T31" fmla="*/ 9 h 32"/>
                  <a:gd name="T32" fmla="*/ 19 w 53"/>
                  <a:gd name="T33" fmla="*/ 8 h 32"/>
                  <a:gd name="T34" fmla="*/ 16 w 53"/>
                  <a:gd name="T35" fmla="*/ 9 h 32"/>
                  <a:gd name="T36" fmla="*/ 16 w 53"/>
                  <a:gd name="T37" fmla="*/ 9 h 32"/>
                  <a:gd name="T38" fmla="*/ 13 w 53"/>
                  <a:gd name="T39" fmla="*/ 11 h 32"/>
                  <a:gd name="T40" fmla="*/ 9 w 53"/>
                  <a:gd name="T41" fmla="*/ 20 h 32"/>
                  <a:gd name="T42" fmla="*/ 0 w 53"/>
                  <a:gd name="T43" fmla="*/ 26 h 32"/>
                  <a:gd name="T44" fmla="*/ 14 w 53"/>
                  <a:gd name="T45" fmla="*/ 29 h 32"/>
                  <a:gd name="T46" fmla="*/ 19 w 53"/>
                  <a:gd name="T47" fmla="*/ 28 h 32"/>
                  <a:gd name="T48" fmla="*/ 17 w 53"/>
                  <a:gd name="T49" fmla="*/ 32 h 32"/>
                  <a:gd name="T50" fmla="*/ 23 w 53"/>
                  <a:gd name="T51" fmla="*/ 30 h 32"/>
                  <a:gd name="T52" fmla="*/ 22 w 53"/>
                  <a:gd name="T53" fmla="*/ 28 h 32"/>
                  <a:gd name="T54" fmla="*/ 20 w 53"/>
                  <a:gd name="T55" fmla="*/ 24 h 32"/>
                  <a:gd name="T56" fmla="*/ 24 w 53"/>
                  <a:gd name="T57" fmla="*/ 23 h 32"/>
                  <a:gd name="T58" fmla="*/ 29 w 53"/>
                  <a:gd name="T59" fmla="*/ 22 h 32"/>
                  <a:gd name="T60" fmla="*/ 32 w 53"/>
                  <a:gd name="T61" fmla="*/ 22 h 32"/>
                  <a:gd name="T62" fmla="*/ 34 w 53"/>
                  <a:gd name="T63" fmla="*/ 21 h 32"/>
                  <a:gd name="T64" fmla="*/ 38 w 53"/>
                  <a:gd name="T65" fmla="*/ 13 h 32"/>
                  <a:gd name="T66" fmla="*/ 40 w 53"/>
                  <a:gd name="T67" fmla="*/ 11 h 32"/>
                  <a:gd name="T68" fmla="*/ 41 w 53"/>
                  <a:gd name="T69" fmla="*/ 9 h 32"/>
                  <a:gd name="T70" fmla="*/ 42 w 53"/>
                  <a:gd name="T71" fmla="*/ 8 h 32"/>
                  <a:gd name="T72" fmla="*/ 45 w 53"/>
                  <a:gd name="T73" fmla="*/ 11 h 32"/>
                  <a:gd name="T74" fmla="*/ 48 w 53"/>
                  <a:gd name="T75" fmla="*/ 8 h 32"/>
                  <a:gd name="T76" fmla="*/ 52 w 53"/>
                  <a:gd name="T77" fmla="*/ 6 h 32"/>
                  <a:gd name="T78" fmla="*/ 52 w 53"/>
                  <a:gd name="T79" fmla="*/ 5 h 32"/>
                  <a:gd name="T80" fmla="*/ 41 w 53"/>
                  <a:gd name="T8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 h="32">
                    <a:moveTo>
                      <a:pt x="41" y="0"/>
                    </a:moveTo>
                    <a:cubicBezTo>
                      <a:pt x="41" y="1"/>
                      <a:pt x="43" y="2"/>
                      <a:pt x="44" y="3"/>
                    </a:cubicBezTo>
                    <a:cubicBezTo>
                      <a:pt x="43" y="3"/>
                      <a:pt x="42" y="3"/>
                      <a:pt x="42" y="3"/>
                    </a:cubicBezTo>
                    <a:cubicBezTo>
                      <a:pt x="40" y="3"/>
                      <a:pt x="39" y="3"/>
                      <a:pt x="37" y="3"/>
                    </a:cubicBezTo>
                    <a:cubicBezTo>
                      <a:pt x="37" y="5"/>
                      <a:pt x="39" y="11"/>
                      <a:pt x="38" y="12"/>
                    </a:cubicBezTo>
                    <a:cubicBezTo>
                      <a:pt x="38" y="12"/>
                      <a:pt x="36" y="13"/>
                      <a:pt x="35" y="13"/>
                    </a:cubicBezTo>
                    <a:cubicBezTo>
                      <a:pt x="34" y="13"/>
                      <a:pt x="34" y="13"/>
                      <a:pt x="34" y="12"/>
                    </a:cubicBezTo>
                    <a:cubicBezTo>
                      <a:pt x="34" y="10"/>
                      <a:pt x="36" y="10"/>
                      <a:pt x="35" y="9"/>
                    </a:cubicBezTo>
                    <a:cubicBezTo>
                      <a:pt x="34" y="5"/>
                      <a:pt x="34" y="5"/>
                      <a:pt x="34" y="5"/>
                    </a:cubicBezTo>
                    <a:cubicBezTo>
                      <a:pt x="33" y="4"/>
                      <a:pt x="33" y="4"/>
                      <a:pt x="32" y="4"/>
                    </a:cubicBezTo>
                    <a:cubicBezTo>
                      <a:pt x="32" y="4"/>
                      <a:pt x="31" y="4"/>
                      <a:pt x="30" y="4"/>
                    </a:cubicBezTo>
                    <a:cubicBezTo>
                      <a:pt x="31" y="6"/>
                      <a:pt x="33" y="8"/>
                      <a:pt x="32" y="10"/>
                    </a:cubicBezTo>
                    <a:cubicBezTo>
                      <a:pt x="30" y="8"/>
                      <a:pt x="27" y="7"/>
                      <a:pt x="29" y="5"/>
                    </a:cubicBezTo>
                    <a:cubicBezTo>
                      <a:pt x="26" y="6"/>
                      <a:pt x="25" y="8"/>
                      <a:pt x="23" y="8"/>
                    </a:cubicBezTo>
                    <a:cubicBezTo>
                      <a:pt x="23" y="7"/>
                      <a:pt x="23" y="6"/>
                      <a:pt x="24" y="6"/>
                    </a:cubicBezTo>
                    <a:cubicBezTo>
                      <a:pt x="22" y="6"/>
                      <a:pt x="20" y="8"/>
                      <a:pt x="18" y="9"/>
                    </a:cubicBezTo>
                    <a:cubicBezTo>
                      <a:pt x="19" y="8"/>
                      <a:pt x="19" y="8"/>
                      <a:pt x="19" y="8"/>
                    </a:cubicBezTo>
                    <a:cubicBezTo>
                      <a:pt x="17" y="9"/>
                      <a:pt x="17" y="9"/>
                      <a:pt x="16" y="9"/>
                    </a:cubicBezTo>
                    <a:cubicBezTo>
                      <a:pt x="16" y="9"/>
                      <a:pt x="16" y="9"/>
                      <a:pt x="16" y="9"/>
                    </a:cubicBezTo>
                    <a:cubicBezTo>
                      <a:pt x="15" y="9"/>
                      <a:pt x="14" y="9"/>
                      <a:pt x="13" y="11"/>
                    </a:cubicBezTo>
                    <a:cubicBezTo>
                      <a:pt x="11" y="15"/>
                      <a:pt x="10" y="15"/>
                      <a:pt x="9" y="20"/>
                    </a:cubicBezTo>
                    <a:cubicBezTo>
                      <a:pt x="8" y="24"/>
                      <a:pt x="4" y="24"/>
                      <a:pt x="0" y="26"/>
                    </a:cubicBezTo>
                    <a:cubicBezTo>
                      <a:pt x="4" y="27"/>
                      <a:pt x="10" y="29"/>
                      <a:pt x="14" y="29"/>
                    </a:cubicBezTo>
                    <a:cubicBezTo>
                      <a:pt x="16" y="29"/>
                      <a:pt x="18" y="29"/>
                      <a:pt x="19" y="28"/>
                    </a:cubicBezTo>
                    <a:cubicBezTo>
                      <a:pt x="18" y="30"/>
                      <a:pt x="17" y="31"/>
                      <a:pt x="17" y="32"/>
                    </a:cubicBezTo>
                    <a:cubicBezTo>
                      <a:pt x="23" y="30"/>
                      <a:pt x="23" y="30"/>
                      <a:pt x="23" y="30"/>
                    </a:cubicBezTo>
                    <a:cubicBezTo>
                      <a:pt x="22" y="29"/>
                      <a:pt x="22" y="29"/>
                      <a:pt x="22" y="28"/>
                    </a:cubicBezTo>
                    <a:cubicBezTo>
                      <a:pt x="20" y="24"/>
                      <a:pt x="20" y="24"/>
                      <a:pt x="20" y="24"/>
                    </a:cubicBezTo>
                    <a:cubicBezTo>
                      <a:pt x="24" y="23"/>
                      <a:pt x="24" y="23"/>
                      <a:pt x="24" y="23"/>
                    </a:cubicBezTo>
                    <a:cubicBezTo>
                      <a:pt x="25" y="23"/>
                      <a:pt x="27" y="23"/>
                      <a:pt x="29" y="22"/>
                    </a:cubicBezTo>
                    <a:cubicBezTo>
                      <a:pt x="32" y="22"/>
                      <a:pt x="32" y="22"/>
                      <a:pt x="32" y="22"/>
                    </a:cubicBezTo>
                    <a:cubicBezTo>
                      <a:pt x="32" y="22"/>
                      <a:pt x="34" y="21"/>
                      <a:pt x="34" y="21"/>
                    </a:cubicBezTo>
                    <a:cubicBezTo>
                      <a:pt x="35" y="18"/>
                      <a:pt x="37" y="15"/>
                      <a:pt x="38" y="13"/>
                    </a:cubicBezTo>
                    <a:cubicBezTo>
                      <a:pt x="39" y="12"/>
                      <a:pt x="39" y="11"/>
                      <a:pt x="40" y="11"/>
                    </a:cubicBezTo>
                    <a:cubicBezTo>
                      <a:pt x="40" y="10"/>
                      <a:pt x="41" y="10"/>
                      <a:pt x="41" y="9"/>
                    </a:cubicBezTo>
                    <a:cubicBezTo>
                      <a:pt x="42" y="8"/>
                      <a:pt x="42" y="8"/>
                      <a:pt x="42" y="8"/>
                    </a:cubicBezTo>
                    <a:cubicBezTo>
                      <a:pt x="45" y="11"/>
                      <a:pt x="45" y="11"/>
                      <a:pt x="45" y="11"/>
                    </a:cubicBezTo>
                    <a:cubicBezTo>
                      <a:pt x="46" y="10"/>
                      <a:pt x="47" y="9"/>
                      <a:pt x="48" y="8"/>
                    </a:cubicBezTo>
                    <a:cubicBezTo>
                      <a:pt x="49" y="8"/>
                      <a:pt x="51" y="7"/>
                      <a:pt x="52" y="6"/>
                    </a:cubicBezTo>
                    <a:cubicBezTo>
                      <a:pt x="53" y="5"/>
                      <a:pt x="53" y="7"/>
                      <a:pt x="52" y="5"/>
                    </a:cubicBezTo>
                    <a:cubicBezTo>
                      <a:pt x="50" y="2"/>
                      <a:pt x="44" y="1"/>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3" name="Freeform 361">
                <a:extLst>
                  <a:ext uri="{FF2B5EF4-FFF2-40B4-BE49-F238E27FC236}">
                    <a16:creationId xmlns:a16="http://schemas.microsoft.com/office/drawing/2014/main" id="{1DE41ABD-0BD2-4BC1-8AD1-7E5845251CE9}"/>
                  </a:ext>
                </a:extLst>
              </p:cNvPr>
              <p:cNvSpPr>
                <a:spLocks/>
              </p:cNvSpPr>
              <p:nvPr/>
            </p:nvSpPr>
            <p:spPr bwMode="auto">
              <a:xfrm>
                <a:off x="3412418" y="3449269"/>
                <a:ext cx="397992" cy="372197"/>
              </a:xfrm>
              <a:custGeom>
                <a:avLst/>
                <a:gdLst>
                  <a:gd name="T0" fmla="*/ 57 w 126"/>
                  <a:gd name="T1" fmla="*/ 4 h 117"/>
                  <a:gd name="T2" fmla="*/ 55 w 126"/>
                  <a:gd name="T3" fmla="*/ 10 h 117"/>
                  <a:gd name="T4" fmla="*/ 38 w 126"/>
                  <a:gd name="T5" fmla="*/ 12 h 117"/>
                  <a:gd name="T6" fmla="*/ 18 w 126"/>
                  <a:gd name="T7" fmla="*/ 6 h 117"/>
                  <a:gd name="T8" fmla="*/ 14 w 126"/>
                  <a:gd name="T9" fmla="*/ 8 h 117"/>
                  <a:gd name="T10" fmla="*/ 17 w 126"/>
                  <a:gd name="T11" fmla="*/ 14 h 117"/>
                  <a:gd name="T12" fmla="*/ 25 w 126"/>
                  <a:gd name="T13" fmla="*/ 23 h 117"/>
                  <a:gd name="T14" fmla="*/ 17 w 126"/>
                  <a:gd name="T15" fmla="*/ 34 h 117"/>
                  <a:gd name="T16" fmla="*/ 7 w 126"/>
                  <a:gd name="T17" fmla="*/ 36 h 117"/>
                  <a:gd name="T18" fmla="*/ 8 w 126"/>
                  <a:gd name="T19" fmla="*/ 41 h 117"/>
                  <a:gd name="T20" fmla="*/ 25 w 126"/>
                  <a:gd name="T21" fmla="*/ 48 h 117"/>
                  <a:gd name="T22" fmla="*/ 43 w 126"/>
                  <a:gd name="T23" fmla="*/ 47 h 117"/>
                  <a:gd name="T24" fmla="*/ 39 w 126"/>
                  <a:gd name="T25" fmla="*/ 52 h 117"/>
                  <a:gd name="T26" fmla="*/ 38 w 126"/>
                  <a:gd name="T27" fmla="*/ 53 h 117"/>
                  <a:gd name="T28" fmla="*/ 35 w 126"/>
                  <a:gd name="T29" fmla="*/ 52 h 117"/>
                  <a:gd name="T30" fmla="*/ 33 w 126"/>
                  <a:gd name="T31" fmla="*/ 54 h 117"/>
                  <a:gd name="T32" fmla="*/ 24 w 126"/>
                  <a:gd name="T33" fmla="*/ 68 h 117"/>
                  <a:gd name="T34" fmla="*/ 39 w 126"/>
                  <a:gd name="T35" fmla="*/ 68 h 117"/>
                  <a:gd name="T36" fmla="*/ 27 w 126"/>
                  <a:gd name="T37" fmla="*/ 74 h 117"/>
                  <a:gd name="T38" fmla="*/ 24 w 126"/>
                  <a:gd name="T39" fmla="*/ 74 h 117"/>
                  <a:gd name="T40" fmla="*/ 15 w 126"/>
                  <a:gd name="T41" fmla="*/ 80 h 117"/>
                  <a:gd name="T42" fmla="*/ 13 w 126"/>
                  <a:gd name="T43" fmla="*/ 84 h 117"/>
                  <a:gd name="T44" fmla="*/ 8 w 126"/>
                  <a:gd name="T45" fmla="*/ 85 h 117"/>
                  <a:gd name="T46" fmla="*/ 1 w 126"/>
                  <a:gd name="T47" fmla="*/ 89 h 117"/>
                  <a:gd name="T48" fmla="*/ 10 w 126"/>
                  <a:gd name="T49" fmla="*/ 91 h 117"/>
                  <a:gd name="T50" fmla="*/ 17 w 126"/>
                  <a:gd name="T51" fmla="*/ 90 h 117"/>
                  <a:gd name="T52" fmla="*/ 16 w 126"/>
                  <a:gd name="T53" fmla="*/ 91 h 117"/>
                  <a:gd name="T54" fmla="*/ 8 w 126"/>
                  <a:gd name="T55" fmla="*/ 95 h 117"/>
                  <a:gd name="T56" fmla="*/ 17 w 126"/>
                  <a:gd name="T57" fmla="*/ 102 h 117"/>
                  <a:gd name="T58" fmla="*/ 9 w 126"/>
                  <a:gd name="T59" fmla="*/ 111 h 117"/>
                  <a:gd name="T60" fmla="*/ 17 w 126"/>
                  <a:gd name="T61" fmla="*/ 113 h 117"/>
                  <a:gd name="T62" fmla="*/ 23 w 126"/>
                  <a:gd name="T63" fmla="*/ 113 h 117"/>
                  <a:gd name="T64" fmla="*/ 21 w 126"/>
                  <a:gd name="T65" fmla="*/ 117 h 117"/>
                  <a:gd name="T66" fmla="*/ 49 w 126"/>
                  <a:gd name="T67" fmla="*/ 112 h 117"/>
                  <a:gd name="T68" fmla="*/ 65 w 126"/>
                  <a:gd name="T69" fmla="*/ 103 h 117"/>
                  <a:gd name="T70" fmla="*/ 98 w 126"/>
                  <a:gd name="T71" fmla="*/ 85 h 117"/>
                  <a:gd name="T72" fmla="*/ 116 w 126"/>
                  <a:gd name="T73" fmla="*/ 89 h 117"/>
                  <a:gd name="T74" fmla="*/ 119 w 126"/>
                  <a:gd name="T75" fmla="*/ 76 h 117"/>
                  <a:gd name="T76" fmla="*/ 124 w 126"/>
                  <a:gd name="T77" fmla="*/ 50 h 117"/>
                  <a:gd name="T78" fmla="*/ 120 w 126"/>
                  <a:gd name="T79" fmla="*/ 29 h 117"/>
                  <a:gd name="T80" fmla="*/ 120 w 126"/>
                  <a:gd name="T81" fmla="*/ 16 h 117"/>
                  <a:gd name="T82" fmla="*/ 115 w 126"/>
                  <a:gd name="T83" fmla="*/ 19 h 117"/>
                  <a:gd name="T84" fmla="*/ 106 w 126"/>
                  <a:gd name="T85" fmla="*/ 16 h 117"/>
                  <a:gd name="T86" fmla="*/ 99 w 126"/>
                  <a:gd name="T87" fmla="*/ 10 h 117"/>
                  <a:gd name="T88" fmla="*/ 95 w 126"/>
                  <a:gd name="T89" fmla="*/ 9 h 117"/>
                  <a:gd name="T90" fmla="*/ 93 w 126"/>
                  <a:gd name="T91" fmla="*/ 16 h 117"/>
                  <a:gd name="T92" fmla="*/ 64 w 126"/>
                  <a:gd name="T93"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17">
                    <a:moveTo>
                      <a:pt x="59" y="0"/>
                    </a:moveTo>
                    <a:cubicBezTo>
                      <a:pt x="59" y="0"/>
                      <a:pt x="59" y="0"/>
                      <a:pt x="59" y="0"/>
                    </a:cubicBezTo>
                    <a:cubicBezTo>
                      <a:pt x="58" y="1"/>
                      <a:pt x="58" y="3"/>
                      <a:pt x="57" y="4"/>
                    </a:cubicBezTo>
                    <a:cubicBezTo>
                      <a:pt x="56" y="5"/>
                      <a:pt x="54" y="7"/>
                      <a:pt x="56" y="8"/>
                    </a:cubicBezTo>
                    <a:cubicBezTo>
                      <a:pt x="55" y="8"/>
                      <a:pt x="55" y="9"/>
                      <a:pt x="54" y="10"/>
                    </a:cubicBezTo>
                    <a:cubicBezTo>
                      <a:pt x="54" y="10"/>
                      <a:pt x="55" y="10"/>
                      <a:pt x="55" y="10"/>
                    </a:cubicBezTo>
                    <a:cubicBezTo>
                      <a:pt x="52" y="10"/>
                      <a:pt x="47" y="8"/>
                      <a:pt x="44" y="8"/>
                    </a:cubicBezTo>
                    <a:cubicBezTo>
                      <a:pt x="43" y="8"/>
                      <a:pt x="43" y="8"/>
                      <a:pt x="43" y="8"/>
                    </a:cubicBezTo>
                    <a:cubicBezTo>
                      <a:pt x="40" y="8"/>
                      <a:pt x="39" y="9"/>
                      <a:pt x="38" y="12"/>
                    </a:cubicBezTo>
                    <a:cubicBezTo>
                      <a:pt x="36" y="11"/>
                      <a:pt x="36" y="10"/>
                      <a:pt x="35" y="9"/>
                    </a:cubicBezTo>
                    <a:cubicBezTo>
                      <a:pt x="33" y="6"/>
                      <a:pt x="26" y="6"/>
                      <a:pt x="21" y="6"/>
                    </a:cubicBezTo>
                    <a:cubicBezTo>
                      <a:pt x="20" y="6"/>
                      <a:pt x="19" y="6"/>
                      <a:pt x="18" y="6"/>
                    </a:cubicBezTo>
                    <a:cubicBezTo>
                      <a:pt x="18" y="6"/>
                      <a:pt x="17" y="6"/>
                      <a:pt x="17" y="8"/>
                    </a:cubicBezTo>
                    <a:cubicBezTo>
                      <a:pt x="15" y="10"/>
                      <a:pt x="15" y="11"/>
                      <a:pt x="15" y="11"/>
                    </a:cubicBezTo>
                    <a:cubicBezTo>
                      <a:pt x="14" y="11"/>
                      <a:pt x="14" y="8"/>
                      <a:pt x="14" y="8"/>
                    </a:cubicBezTo>
                    <a:cubicBezTo>
                      <a:pt x="13" y="8"/>
                      <a:pt x="13" y="7"/>
                      <a:pt x="13" y="7"/>
                    </a:cubicBezTo>
                    <a:cubicBezTo>
                      <a:pt x="12" y="7"/>
                      <a:pt x="11" y="8"/>
                      <a:pt x="11" y="9"/>
                    </a:cubicBezTo>
                    <a:cubicBezTo>
                      <a:pt x="17" y="14"/>
                      <a:pt x="17" y="14"/>
                      <a:pt x="17" y="14"/>
                    </a:cubicBezTo>
                    <a:cubicBezTo>
                      <a:pt x="17" y="18"/>
                      <a:pt x="15" y="20"/>
                      <a:pt x="15" y="24"/>
                    </a:cubicBezTo>
                    <a:cubicBezTo>
                      <a:pt x="15" y="24"/>
                      <a:pt x="16" y="24"/>
                      <a:pt x="17" y="24"/>
                    </a:cubicBezTo>
                    <a:cubicBezTo>
                      <a:pt x="19" y="24"/>
                      <a:pt x="22" y="23"/>
                      <a:pt x="25" y="23"/>
                    </a:cubicBezTo>
                    <a:cubicBezTo>
                      <a:pt x="22" y="27"/>
                      <a:pt x="20" y="27"/>
                      <a:pt x="16" y="28"/>
                    </a:cubicBezTo>
                    <a:cubicBezTo>
                      <a:pt x="18" y="30"/>
                      <a:pt x="20" y="32"/>
                      <a:pt x="22" y="34"/>
                    </a:cubicBezTo>
                    <a:cubicBezTo>
                      <a:pt x="21" y="34"/>
                      <a:pt x="19" y="34"/>
                      <a:pt x="17" y="34"/>
                    </a:cubicBezTo>
                    <a:cubicBezTo>
                      <a:pt x="14" y="34"/>
                      <a:pt x="11" y="34"/>
                      <a:pt x="13" y="36"/>
                    </a:cubicBezTo>
                    <a:cubicBezTo>
                      <a:pt x="12" y="36"/>
                      <a:pt x="12" y="36"/>
                      <a:pt x="11" y="36"/>
                    </a:cubicBezTo>
                    <a:cubicBezTo>
                      <a:pt x="10" y="36"/>
                      <a:pt x="9" y="36"/>
                      <a:pt x="7" y="36"/>
                    </a:cubicBezTo>
                    <a:cubicBezTo>
                      <a:pt x="9" y="38"/>
                      <a:pt x="10" y="39"/>
                      <a:pt x="11" y="40"/>
                    </a:cubicBezTo>
                    <a:cubicBezTo>
                      <a:pt x="11" y="40"/>
                      <a:pt x="10" y="40"/>
                      <a:pt x="10" y="40"/>
                    </a:cubicBezTo>
                    <a:cubicBezTo>
                      <a:pt x="9" y="40"/>
                      <a:pt x="8" y="41"/>
                      <a:pt x="8" y="41"/>
                    </a:cubicBezTo>
                    <a:cubicBezTo>
                      <a:pt x="11" y="42"/>
                      <a:pt x="24" y="41"/>
                      <a:pt x="25" y="43"/>
                    </a:cubicBezTo>
                    <a:cubicBezTo>
                      <a:pt x="26" y="44"/>
                      <a:pt x="24" y="47"/>
                      <a:pt x="24" y="48"/>
                    </a:cubicBezTo>
                    <a:cubicBezTo>
                      <a:pt x="24" y="48"/>
                      <a:pt x="24" y="48"/>
                      <a:pt x="25" y="48"/>
                    </a:cubicBezTo>
                    <a:cubicBezTo>
                      <a:pt x="27" y="48"/>
                      <a:pt x="30" y="48"/>
                      <a:pt x="32" y="48"/>
                    </a:cubicBezTo>
                    <a:cubicBezTo>
                      <a:pt x="35" y="47"/>
                      <a:pt x="37" y="47"/>
                      <a:pt x="40" y="47"/>
                    </a:cubicBezTo>
                    <a:cubicBezTo>
                      <a:pt x="41" y="47"/>
                      <a:pt x="42" y="47"/>
                      <a:pt x="43" y="47"/>
                    </a:cubicBezTo>
                    <a:cubicBezTo>
                      <a:pt x="43" y="50"/>
                      <a:pt x="42" y="52"/>
                      <a:pt x="40" y="52"/>
                    </a:cubicBezTo>
                    <a:cubicBezTo>
                      <a:pt x="40" y="52"/>
                      <a:pt x="39" y="52"/>
                      <a:pt x="39" y="52"/>
                    </a:cubicBezTo>
                    <a:cubicBezTo>
                      <a:pt x="39" y="52"/>
                      <a:pt x="39" y="52"/>
                      <a:pt x="39" y="52"/>
                    </a:cubicBezTo>
                    <a:cubicBezTo>
                      <a:pt x="38" y="52"/>
                      <a:pt x="38" y="52"/>
                      <a:pt x="38" y="52"/>
                    </a:cubicBezTo>
                    <a:cubicBezTo>
                      <a:pt x="38" y="53"/>
                      <a:pt x="38" y="53"/>
                      <a:pt x="38" y="53"/>
                    </a:cubicBezTo>
                    <a:cubicBezTo>
                      <a:pt x="38" y="53"/>
                      <a:pt x="38" y="53"/>
                      <a:pt x="38" y="53"/>
                    </a:cubicBezTo>
                    <a:cubicBezTo>
                      <a:pt x="36" y="53"/>
                      <a:pt x="36" y="53"/>
                      <a:pt x="36" y="53"/>
                    </a:cubicBezTo>
                    <a:cubicBezTo>
                      <a:pt x="36" y="53"/>
                      <a:pt x="36" y="53"/>
                      <a:pt x="36" y="53"/>
                    </a:cubicBezTo>
                    <a:cubicBezTo>
                      <a:pt x="36" y="53"/>
                      <a:pt x="35" y="52"/>
                      <a:pt x="35" y="52"/>
                    </a:cubicBezTo>
                    <a:cubicBezTo>
                      <a:pt x="35" y="52"/>
                      <a:pt x="34" y="52"/>
                      <a:pt x="34" y="52"/>
                    </a:cubicBezTo>
                    <a:cubicBezTo>
                      <a:pt x="34" y="52"/>
                      <a:pt x="34" y="52"/>
                      <a:pt x="34" y="52"/>
                    </a:cubicBezTo>
                    <a:cubicBezTo>
                      <a:pt x="33" y="52"/>
                      <a:pt x="33" y="53"/>
                      <a:pt x="33" y="54"/>
                    </a:cubicBezTo>
                    <a:cubicBezTo>
                      <a:pt x="31" y="55"/>
                      <a:pt x="30" y="57"/>
                      <a:pt x="29" y="59"/>
                    </a:cubicBezTo>
                    <a:cubicBezTo>
                      <a:pt x="28" y="61"/>
                      <a:pt x="29" y="65"/>
                      <a:pt x="27" y="67"/>
                    </a:cubicBezTo>
                    <a:cubicBezTo>
                      <a:pt x="26" y="68"/>
                      <a:pt x="25" y="68"/>
                      <a:pt x="24" y="68"/>
                    </a:cubicBezTo>
                    <a:cubicBezTo>
                      <a:pt x="23" y="69"/>
                      <a:pt x="22" y="70"/>
                      <a:pt x="21" y="71"/>
                    </a:cubicBezTo>
                    <a:cubicBezTo>
                      <a:pt x="19" y="72"/>
                      <a:pt x="17" y="73"/>
                      <a:pt x="15" y="74"/>
                    </a:cubicBezTo>
                    <a:cubicBezTo>
                      <a:pt x="23" y="72"/>
                      <a:pt x="31" y="70"/>
                      <a:pt x="39" y="68"/>
                    </a:cubicBezTo>
                    <a:cubicBezTo>
                      <a:pt x="41" y="67"/>
                      <a:pt x="42" y="67"/>
                      <a:pt x="43" y="67"/>
                    </a:cubicBezTo>
                    <a:cubicBezTo>
                      <a:pt x="44" y="67"/>
                      <a:pt x="45" y="68"/>
                      <a:pt x="49" y="70"/>
                    </a:cubicBezTo>
                    <a:cubicBezTo>
                      <a:pt x="42" y="72"/>
                      <a:pt x="34" y="74"/>
                      <a:pt x="27" y="74"/>
                    </a:cubicBezTo>
                    <a:cubicBezTo>
                      <a:pt x="27" y="74"/>
                      <a:pt x="27" y="74"/>
                      <a:pt x="27" y="74"/>
                    </a:cubicBezTo>
                    <a:cubicBezTo>
                      <a:pt x="26" y="74"/>
                      <a:pt x="26" y="74"/>
                      <a:pt x="26" y="74"/>
                    </a:cubicBezTo>
                    <a:cubicBezTo>
                      <a:pt x="25" y="74"/>
                      <a:pt x="25" y="74"/>
                      <a:pt x="24" y="74"/>
                    </a:cubicBezTo>
                    <a:cubicBezTo>
                      <a:pt x="24" y="74"/>
                      <a:pt x="23" y="74"/>
                      <a:pt x="23" y="74"/>
                    </a:cubicBezTo>
                    <a:cubicBezTo>
                      <a:pt x="21" y="75"/>
                      <a:pt x="21" y="78"/>
                      <a:pt x="19" y="79"/>
                    </a:cubicBezTo>
                    <a:cubicBezTo>
                      <a:pt x="17" y="80"/>
                      <a:pt x="16" y="79"/>
                      <a:pt x="15" y="80"/>
                    </a:cubicBezTo>
                    <a:cubicBezTo>
                      <a:pt x="19" y="81"/>
                      <a:pt x="17" y="85"/>
                      <a:pt x="20" y="86"/>
                    </a:cubicBezTo>
                    <a:cubicBezTo>
                      <a:pt x="19" y="86"/>
                      <a:pt x="17" y="87"/>
                      <a:pt x="15" y="87"/>
                    </a:cubicBezTo>
                    <a:cubicBezTo>
                      <a:pt x="13" y="87"/>
                      <a:pt x="12" y="86"/>
                      <a:pt x="13" y="84"/>
                    </a:cubicBezTo>
                    <a:cubicBezTo>
                      <a:pt x="11" y="84"/>
                      <a:pt x="11" y="86"/>
                      <a:pt x="9" y="87"/>
                    </a:cubicBezTo>
                    <a:cubicBezTo>
                      <a:pt x="9" y="87"/>
                      <a:pt x="9" y="87"/>
                      <a:pt x="9" y="87"/>
                    </a:cubicBezTo>
                    <a:cubicBezTo>
                      <a:pt x="8" y="87"/>
                      <a:pt x="9" y="85"/>
                      <a:pt x="8" y="85"/>
                    </a:cubicBezTo>
                    <a:cubicBezTo>
                      <a:pt x="8" y="85"/>
                      <a:pt x="8" y="85"/>
                      <a:pt x="8" y="85"/>
                    </a:cubicBezTo>
                    <a:cubicBezTo>
                      <a:pt x="6" y="85"/>
                      <a:pt x="2" y="87"/>
                      <a:pt x="1" y="89"/>
                    </a:cubicBezTo>
                    <a:cubicBezTo>
                      <a:pt x="1" y="89"/>
                      <a:pt x="1" y="89"/>
                      <a:pt x="1" y="89"/>
                    </a:cubicBezTo>
                    <a:cubicBezTo>
                      <a:pt x="1" y="89"/>
                      <a:pt x="1" y="89"/>
                      <a:pt x="0" y="89"/>
                    </a:cubicBezTo>
                    <a:cubicBezTo>
                      <a:pt x="3" y="90"/>
                      <a:pt x="6" y="91"/>
                      <a:pt x="10" y="91"/>
                    </a:cubicBezTo>
                    <a:cubicBezTo>
                      <a:pt x="10" y="91"/>
                      <a:pt x="10" y="91"/>
                      <a:pt x="10" y="91"/>
                    </a:cubicBezTo>
                    <a:cubicBezTo>
                      <a:pt x="11" y="91"/>
                      <a:pt x="12" y="91"/>
                      <a:pt x="13" y="91"/>
                    </a:cubicBezTo>
                    <a:cubicBezTo>
                      <a:pt x="13" y="91"/>
                      <a:pt x="14" y="91"/>
                      <a:pt x="15" y="91"/>
                    </a:cubicBezTo>
                    <a:cubicBezTo>
                      <a:pt x="14" y="90"/>
                      <a:pt x="16" y="90"/>
                      <a:pt x="17" y="90"/>
                    </a:cubicBezTo>
                    <a:cubicBezTo>
                      <a:pt x="18" y="90"/>
                      <a:pt x="19" y="90"/>
                      <a:pt x="20" y="90"/>
                    </a:cubicBezTo>
                    <a:cubicBezTo>
                      <a:pt x="19" y="91"/>
                      <a:pt x="18" y="91"/>
                      <a:pt x="17" y="91"/>
                    </a:cubicBezTo>
                    <a:cubicBezTo>
                      <a:pt x="16" y="91"/>
                      <a:pt x="16" y="91"/>
                      <a:pt x="16" y="91"/>
                    </a:cubicBezTo>
                    <a:cubicBezTo>
                      <a:pt x="15" y="92"/>
                      <a:pt x="15" y="93"/>
                      <a:pt x="14" y="93"/>
                    </a:cubicBezTo>
                    <a:cubicBezTo>
                      <a:pt x="14" y="92"/>
                      <a:pt x="14" y="92"/>
                      <a:pt x="14" y="92"/>
                    </a:cubicBezTo>
                    <a:cubicBezTo>
                      <a:pt x="13" y="95"/>
                      <a:pt x="10" y="94"/>
                      <a:pt x="8" y="95"/>
                    </a:cubicBezTo>
                    <a:cubicBezTo>
                      <a:pt x="7" y="96"/>
                      <a:pt x="6" y="96"/>
                      <a:pt x="5" y="96"/>
                    </a:cubicBezTo>
                    <a:cubicBezTo>
                      <a:pt x="4" y="98"/>
                      <a:pt x="4" y="100"/>
                      <a:pt x="2" y="100"/>
                    </a:cubicBezTo>
                    <a:cubicBezTo>
                      <a:pt x="7" y="101"/>
                      <a:pt x="12" y="102"/>
                      <a:pt x="17" y="102"/>
                    </a:cubicBezTo>
                    <a:cubicBezTo>
                      <a:pt x="18" y="102"/>
                      <a:pt x="19" y="102"/>
                      <a:pt x="21" y="101"/>
                    </a:cubicBezTo>
                    <a:cubicBezTo>
                      <a:pt x="22" y="101"/>
                      <a:pt x="23" y="101"/>
                      <a:pt x="25" y="100"/>
                    </a:cubicBezTo>
                    <a:cubicBezTo>
                      <a:pt x="20" y="104"/>
                      <a:pt x="13" y="107"/>
                      <a:pt x="9" y="111"/>
                    </a:cubicBezTo>
                    <a:cubicBezTo>
                      <a:pt x="9" y="111"/>
                      <a:pt x="9" y="111"/>
                      <a:pt x="9" y="111"/>
                    </a:cubicBezTo>
                    <a:cubicBezTo>
                      <a:pt x="14" y="111"/>
                      <a:pt x="19" y="110"/>
                      <a:pt x="24" y="109"/>
                    </a:cubicBezTo>
                    <a:cubicBezTo>
                      <a:pt x="21" y="110"/>
                      <a:pt x="20" y="112"/>
                      <a:pt x="17" y="113"/>
                    </a:cubicBezTo>
                    <a:cubicBezTo>
                      <a:pt x="18" y="113"/>
                      <a:pt x="18" y="113"/>
                      <a:pt x="18" y="113"/>
                    </a:cubicBezTo>
                    <a:cubicBezTo>
                      <a:pt x="19" y="113"/>
                      <a:pt x="20" y="113"/>
                      <a:pt x="21" y="113"/>
                    </a:cubicBezTo>
                    <a:cubicBezTo>
                      <a:pt x="21" y="113"/>
                      <a:pt x="22" y="113"/>
                      <a:pt x="23" y="113"/>
                    </a:cubicBezTo>
                    <a:cubicBezTo>
                      <a:pt x="23" y="113"/>
                      <a:pt x="23" y="113"/>
                      <a:pt x="23" y="113"/>
                    </a:cubicBezTo>
                    <a:cubicBezTo>
                      <a:pt x="21" y="114"/>
                      <a:pt x="19" y="114"/>
                      <a:pt x="18" y="115"/>
                    </a:cubicBezTo>
                    <a:cubicBezTo>
                      <a:pt x="18" y="116"/>
                      <a:pt x="19" y="117"/>
                      <a:pt x="21" y="117"/>
                    </a:cubicBezTo>
                    <a:cubicBezTo>
                      <a:pt x="24" y="117"/>
                      <a:pt x="29" y="115"/>
                      <a:pt x="31" y="115"/>
                    </a:cubicBezTo>
                    <a:cubicBezTo>
                      <a:pt x="31" y="116"/>
                      <a:pt x="31" y="116"/>
                      <a:pt x="31" y="116"/>
                    </a:cubicBezTo>
                    <a:cubicBezTo>
                      <a:pt x="37" y="116"/>
                      <a:pt x="43" y="113"/>
                      <a:pt x="49" y="112"/>
                    </a:cubicBezTo>
                    <a:cubicBezTo>
                      <a:pt x="55" y="110"/>
                      <a:pt x="57" y="107"/>
                      <a:pt x="60" y="102"/>
                    </a:cubicBezTo>
                    <a:cubicBezTo>
                      <a:pt x="61" y="102"/>
                      <a:pt x="63" y="103"/>
                      <a:pt x="64" y="103"/>
                    </a:cubicBezTo>
                    <a:cubicBezTo>
                      <a:pt x="65" y="103"/>
                      <a:pt x="65" y="103"/>
                      <a:pt x="65" y="103"/>
                    </a:cubicBezTo>
                    <a:cubicBezTo>
                      <a:pt x="70" y="100"/>
                      <a:pt x="74" y="96"/>
                      <a:pt x="80" y="94"/>
                    </a:cubicBezTo>
                    <a:cubicBezTo>
                      <a:pt x="85" y="91"/>
                      <a:pt x="91" y="93"/>
                      <a:pt x="96" y="91"/>
                    </a:cubicBezTo>
                    <a:cubicBezTo>
                      <a:pt x="99" y="89"/>
                      <a:pt x="98" y="89"/>
                      <a:pt x="98" y="85"/>
                    </a:cubicBezTo>
                    <a:cubicBezTo>
                      <a:pt x="99" y="87"/>
                      <a:pt x="100" y="88"/>
                      <a:pt x="101" y="90"/>
                    </a:cubicBezTo>
                    <a:cubicBezTo>
                      <a:pt x="102" y="87"/>
                      <a:pt x="104" y="86"/>
                      <a:pt x="106" y="86"/>
                    </a:cubicBezTo>
                    <a:cubicBezTo>
                      <a:pt x="109" y="86"/>
                      <a:pt x="113" y="88"/>
                      <a:pt x="116" y="89"/>
                    </a:cubicBezTo>
                    <a:cubicBezTo>
                      <a:pt x="115" y="87"/>
                      <a:pt x="115" y="84"/>
                      <a:pt x="113" y="82"/>
                    </a:cubicBezTo>
                    <a:cubicBezTo>
                      <a:pt x="113" y="82"/>
                      <a:pt x="114" y="83"/>
                      <a:pt x="114" y="83"/>
                    </a:cubicBezTo>
                    <a:cubicBezTo>
                      <a:pt x="117" y="83"/>
                      <a:pt x="118" y="79"/>
                      <a:pt x="119" y="76"/>
                    </a:cubicBezTo>
                    <a:cubicBezTo>
                      <a:pt x="121" y="71"/>
                      <a:pt x="124" y="66"/>
                      <a:pt x="125" y="61"/>
                    </a:cubicBezTo>
                    <a:cubicBezTo>
                      <a:pt x="126" y="59"/>
                      <a:pt x="126" y="59"/>
                      <a:pt x="126" y="57"/>
                    </a:cubicBezTo>
                    <a:cubicBezTo>
                      <a:pt x="126" y="55"/>
                      <a:pt x="125" y="52"/>
                      <a:pt x="124" y="50"/>
                    </a:cubicBezTo>
                    <a:cubicBezTo>
                      <a:pt x="124" y="47"/>
                      <a:pt x="124" y="45"/>
                      <a:pt x="124" y="43"/>
                    </a:cubicBezTo>
                    <a:cubicBezTo>
                      <a:pt x="124" y="41"/>
                      <a:pt x="125" y="36"/>
                      <a:pt x="124" y="35"/>
                    </a:cubicBezTo>
                    <a:cubicBezTo>
                      <a:pt x="121" y="33"/>
                      <a:pt x="121" y="32"/>
                      <a:pt x="120" y="29"/>
                    </a:cubicBezTo>
                    <a:cubicBezTo>
                      <a:pt x="119" y="28"/>
                      <a:pt x="116" y="24"/>
                      <a:pt x="116" y="22"/>
                    </a:cubicBezTo>
                    <a:cubicBezTo>
                      <a:pt x="117" y="19"/>
                      <a:pt x="122" y="20"/>
                      <a:pt x="124" y="19"/>
                    </a:cubicBezTo>
                    <a:cubicBezTo>
                      <a:pt x="122" y="17"/>
                      <a:pt x="121" y="17"/>
                      <a:pt x="120" y="16"/>
                    </a:cubicBezTo>
                    <a:cubicBezTo>
                      <a:pt x="120" y="19"/>
                      <a:pt x="120" y="19"/>
                      <a:pt x="120" y="19"/>
                    </a:cubicBezTo>
                    <a:cubicBezTo>
                      <a:pt x="118" y="19"/>
                      <a:pt x="118" y="19"/>
                      <a:pt x="118" y="19"/>
                    </a:cubicBezTo>
                    <a:cubicBezTo>
                      <a:pt x="115" y="19"/>
                      <a:pt x="115" y="19"/>
                      <a:pt x="115" y="19"/>
                    </a:cubicBezTo>
                    <a:cubicBezTo>
                      <a:pt x="113" y="20"/>
                      <a:pt x="112" y="20"/>
                      <a:pt x="111" y="20"/>
                    </a:cubicBezTo>
                    <a:cubicBezTo>
                      <a:pt x="110" y="20"/>
                      <a:pt x="109" y="20"/>
                      <a:pt x="108" y="19"/>
                    </a:cubicBezTo>
                    <a:cubicBezTo>
                      <a:pt x="106" y="18"/>
                      <a:pt x="106" y="17"/>
                      <a:pt x="106" y="16"/>
                    </a:cubicBezTo>
                    <a:cubicBezTo>
                      <a:pt x="106" y="15"/>
                      <a:pt x="106" y="15"/>
                      <a:pt x="105" y="14"/>
                    </a:cubicBezTo>
                    <a:cubicBezTo>
                      <a:pt x="105" y="13"/>
                      <a:pt x="105" y="13"/>
                      <a:pt x="105" y="13"/>
                    </a:cubicBezTo>
                    <a:cubicBezTo>
                      <a:pt x="104" y="11"/>
                      <a:pt x="102" y="10"/>
                      <a:pt x="99" y="10"/>
                    </a:cubicBezTo>
                    <a:cubicBezTo>
                      <a:pt x="98" y="9"/>
                      <a:pt x="97" y="9"/>
                      <a:pt x="97" y="9"/>
                    </a:cubicBezTo>
                    <a:cubicBezTo>
                      <a:pt x="95" y="9"/>
                      <a:pt x="95" y="9"/>
                      <a:pt x="95" y="9"/>
                    </a:cubicBezTo>
                    <a:cubicBezTo>
                      <a:pt x="95" y="9"/>
                      <a:pt x="95" y="9"/>
                      <a:pt x="95" y="9"/>
                    </a:cubicBezTo>
                    <a:cubicBezTo>
                      <a:pt x="95" y="9"/>
                      <a:pt x="95" y="9"/>
                      <a:pt x="95" y="9"/>
                    </a:cubicBezTo>
                    <a:cubicBezTo>
                      <a:pt x="94" y="10"/>
                      <a:pt x="94" y="12"/>
                      <a:pt x="94" y="13"/>
                    </a:cubicBezTo>
                    <a:cubicBezTo>
                      <a:pt x="93" y="14"/>
                      <a:pt x="93" y="15"/>
                      <a:pt x="93" y="16"/>
                    </a:cubicBezTo>
                    <a:cubicBezTo>
                      <a:pt x="91" y="19"/>
                      <a:pt x="91" y="19"/>
                      <a:pt x="91" y="19"/>
                    </a:cubicBezTo>
                    <a:cubicBezTo>
                      <a:pt x="73" y="12"/>
                      <a:pt x="73" y="12"/>
                      <a:pt x="73" y="12"/>
                    </a:cubicBezTo>
                    <a:cubicBezTo>
                      <a:pt x="69" y="10"/>
                      <a:pt x="67" y="7"/>
                      <a:pt x="64" y="5"/>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4" name="Freeform 362">
                <a:extLst>
                  <a:ext uri="{FF2B5EF4-FFF2-40B4-BE49-F238E27FC236}">
                    <a16:creationId xmlns:a16="http://schemas.microsoft.com/office/drawing/2014/main" id="{B102B2C0-1533-4B9B-B6CF-22ECEA3DCE91}"/>
                  </a:ext>
                </a:extLst>
              </p:cNvPr>
              <p:cNvSpPr>
                <a:spLocks/>
              </p:cNvSpPr>
              <p:nvPr/>
            </p:nvSpPr>
            <p:spPr bwMode="auto">
              <a:xfrm>
                <a:off x="5103886" y="3379252"/>
                <a:ext cx="29481" cy="36851"/>
              </a:xfrm>
              <a:custGeom>
                <a:avLst/>
                <a:gdLst>
                  <a:gd name="T0" fmla="*/ 4 w 9"/>
                  <a:gd name="T1" fmla="*/ 0 h 11"/>
                  <a:gd name="T2" fmla="*/ 0 w 9"/>
                  <a:gd name="T3" fmla="*/ 11 h 11"/>
                  <a:gd name="T4" fmla="*/ 1 w 9"/>
                  <a:gd name="T5" fmla="*/ 7 h 11"/>
                  <a:gd name="T6" fmla="*/ 1 w 9"/>
                  <a:gd name="T7" fmla="*/ 6 h 11"/>
                  <a:gd name="T8" fmla="*/ 2 w 9"/>
                  <a:gd name="T9" fmla="*/ 7 h 11"/>
                  <a:gd name="T10" fmla="*/ 3 w 9"/>
                  <a:gd name="T11" fmla="*/ 7 h 11"/>
                  <a:gd name="T12" fmla="*/ 3 w 9"/>
                  <a:gd name="T13" fmla="*/ 7 h 11"/>
                  <a:gd name="T14" fmla="*/ 8 w 9"/>
                  <a:gd name="T15" fmla="*/ 6 h 11"/>
                  <a:gd name="T16" fmla="*/ 9 w 9"/>
                  <a:gd name="T17" fmla="*/ 6 h 11"/>
                  <a:gd name="T18" fmla="*/ 9 w 9"/>
                  <a:gd name="T19" fmla="*/ 6 h 11"/>
                  <a:gd name="T20" fmla="*/ 7 w 9"/>
                  <a:gd name="T21" fmla="*/ 6 h 11"/>
                  <a:gd name="T22" fmla="*/ 5 w 9"/>
                  <a:gd name="T23" fmla="*/ 6 h 11"/>
                  <a:gd name="T24" fmla="*/ 4 w 9"/>
                  <a:gd name="T25" fmla="*/ 6 h 11"/>
                  <a:gd name="T26" fmla="*/ 4 w 9"/>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4" y="0"/>
                    </a:moveTo>
                    <a:cubicBezTo>
                      <a:pt x="0" y="1"/>
                      <a:pt x="0" y="8"/>
                      <a:pt x="0" y="11"/>
                    </a:cubicBezTo>
                    <a:cubicBezTo>
                      <a:pt x="0" y="10"/>
                      <a:pt x="0" y="7"/>
                      <a:pt x="1" y="7"/>
                    </a:cubicBezTo>
                    <a:cubicBezTo>
                      <a:pt x="1" y="6"/>
                      <a:pt x="1" y="6"/>
                      <a:pt x="1" y="6"/>
                    </a:cubicBezTo>
                    <a:cubicBezTo>
                      <a:pt x="2" y="6"/>
                      <a:pt x="2" y="7"/>
                      <a:pt x="2" y="7"/>
                    </a:cubicBezTo>
                    <a:cubicBezTo>
                      <a:pt x="2" y="7"/>
                      <a:pt x="3" y="7"/>
                      <a:pt x="3" y="7"/>
                    </a:cubicBezTo>
                    <a:cubicBezTo>
                      <a:pt x="3" y="7"/>
                      <a:pt x="3" y="7"/>
                      <a:pt x="3" y="7"/>
                    </a:cubicBezTo>
                    <a:cubicBezTo>
                      <a:pt x="5" y="7"/>
                      <a:pt x="6" y="6"/>
                      <a:pt x="8" y="6"/>
                    </a:cubicBezTo>
                    <a:cubicBezTo>
                      <a:pt x="8" y="6"/>
                      <a:pt x="9" y="6"/>
                      <a:pt x="9" y="6"/>
                    </a:cubicBezTo>
                    <a:cubicBezTo>
                      <a:pt x="9" y="6"/>
                      <a:pt x="9" y="6"/>
                      <a:pt x="9" y="6"/>
                    </a:cubicBezTo>
                    <a:cubicBezTo>
                      <a:pt x="8" y="6"/>
                      <a:pt x="8" y="6"/>
                      <a:pt x="7" y="6"/>
                    </a:cubicBezTo>
                    <a:cubicBezTo>
                      <a:pt x="7" y="6"/>
                      <a:pt x="6" y="6"/>
                      <a:pt x="5" y="6"/>
                    </a:cubicBezTo>
                    <a:cubicBezTo>
                      <a:pt x="5" y="6"/>
                      <a:pt x="5" y="6"/>
                      <a:pt x="4" y="6"/>
                    </a:cubicBezTo>
                    <a:cubicBezTo>
                      <a:pt x="0" y="5"/>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5" name="Freeform 363">
                <a:extLst>
                  <a:ext uri="{FF2B5EF4-FFF2-40B4-BE49-F238E27FC236}">
                    <a16:creationId xmlns:a16="http://schemas.microsoft.com/office/drawing/2014/main" id="{4F9BAF3E-1CB2-4B1B-8236-CD354A098BFC}"/>
                  </a:ext>
                </a:extLst>
              </p:cNvPr>
              <p:cNvSpPr>
                <a:spLocks/>
              </p:cNvSpPr>
              <p:nvPr/>
            </p:nvSpPr>
            <p:spPr bwMode="auto">
              <a:xfrm>
                <a:off x="4904889" y="3405048"/>
                <a:ext cx="795985" cy="884428"/>
              </a:xfrm>
              <a:custGeom>
                <a:avLst/>
                <a:gdLst>
                  <a:gd name="T0" fmla="*/ 83 w 251"/>
                  <a:gd name="T1" fmla="*/ 2 h 278"/>
                  <a:gd name="T2" fmla="*/ 74 w 251"/>
                  <a:gd name="T3" fmla="*/ 17 h 278"/>
                  <a:gd name="T4" fmla="*/ 89 w 251"/>
                  <a:gd name="T5" fmla="*/ 38 h 278"/>
                  <a:gd name="T6" fmla="*/ 70 w 251"/>
                  <a:gd name="T7" fmla="*/ 40 h 278"/>
                  <a:gd name="T8" fmla="*/ 63 w 251"/>
                  <a:gd name="T9" fmla="*/ 48 h 278"/>
                  <a:gd name="T10" fmla="*/ 49 w 251"/>
                  <a:gd name="T11" fmla="*/ 44 h 278"/>
                  <a:gd name="T12" fmla="*/ 34 w 251"/>
                  <a:gd name="T13" fmla="*/ 59 h 278"/>
                  <a:gd name="T14" fmla="*/ 34 w 251"/>
                  <a:gd name="T15" fmla="*/ 75 h 278"/>
                  <a:gd name="T16" fmla="*/ 24 w 251"/>
                  <a:gd name="T17" fmla="*/ 89 h 278"/>
                  <a:gd name="T18" fmla="*/ 26 w 251"/>
                  <a:gd name="T19" fmla="*/ 110 h 278"/>
                  <a:gd name="T20" fmla="*/ 14 w 251"/>
                  <a:gd name="T21" fmla="*/ 118 h 278"/>
                  <a:gd name="T22" fmla="*/ 3 w 251"/>
                  <a:gd name="T23" fmla="*/ 117 h 278"/>
                  <a:gd name="T24" fmla="*/ 5 w 251"/>
                  <a:gd name="T25" fmla="*/ 137 h 278"/>
                  <a:gd name="T26" fmla="*/ 1 w 251"/>
                  <a:gd name="T27" fmla="*/ 147 h 278"/>
                  <a:gd name="T28" fmla="*/ 2 w 251"/>
                  <a:gd name="T29" fmla="*/ 155 h 278"/>
                  <a:gd name="T30" fmla="*/ 9 w 251"/>
                  <a:gd name="T31" fmla="*/ 178 h 278"/>
                  <a:gd name="T32" fmla="*/ 6 w 251"/>
                  <a:gd name="T33" fmla="*/ 184 h 278"/>
                  <a:gd name="T34" fmla="*/ 12 w 251"/>
                  <a:gd name="T35" fmla="*/ 201 h 278"/>
                  <a:gd name="T36" fmla="*/ 26 w 251"/>
                  <a:gd name="T37" fmla="*/ 212 h 278"/>
                  <a:gd name="T38" fmla="*/ 44 w 251"/>
                  <a:gd name="T39" fmla="*/ 215 h 278"/>
                  <a:gd name="T40" fmla="*/ 50 w 251"/>
                  <a:gd name="T41" fmla="*/ 216 h 278"/>
                  <a:gd name="T42" fmla="*/ 64 w 251"/>
                  <a:gd name="T43" fmla="*/ 225 h 278"/>
                  <a:gd name="T44" fmla="*/ 45 w 251"/>
                  <a:gd name="T45" fmla="*/ 259 h 278"/>
                  <a:gd name="T46" fmla="*/ 46 w 251"/>
                  <a:gd name="T47" fmla="*/ 271 h 278"/>
                  <a:gd name="T48" fmla="*/ 51 w 251"/>
                  <a:gd name="T49" fmla="*/ 270 h 278"/>
                  <a:gd name="T50" fmla="*/ 63 w 251"/>
                  <a:gd name="T51" fmla="*/ 270 h 278"/>
                  <a:gd name="T52" fmla="*/ 74 w 251"/>
                  <a:gd name="T53" fmla="*/ 261 h 278"/>
                  <a:gd name="T54" fmla="*/ 82 w 251"/>
                  <a:gd name="T55" fmla="*/ 267 h 278"/>
                  <a:gd name="T56" fmla="*/ 101 w 251"/>
                  <a:gd name="T57" fmla="*/ 271 h 278"/>
                  <a:gd name="T58" fmla="*/ 110 w 251"/>
                  <a:gd name="T59" fmla="*/ 271 h 278"/>
                  <a:gd name="T60" fmla="*/ 120 w 251"/>
                  <a:gd name="T61" fmla="*/ 278 h 278"/>
                  <a:gd name="T62" fmla="*/ 143 w 251"/>
                  <a:gd name="T63" fmla="*/ 276 h 278"/>
                  <a:gd name="T64" fmla="*/ 166 w 251"/>
                  <a:gd name="T65" fmla="*/ 269 h 278"/>
                  <a:gd name="T66" fmla="*/ 181 w 251"/>
                  <a:gd name="T67" fmla="*/ 266 h 278"/>
                  <a:gd name="T68" fmla="*/ 188 w 251"/>
                  <a:gd name="T69" fmla="*/ 266 h 278"/>
                  <a:gd name="T70" fmla="*/ 193 w 251"/>
                  <a:gd name="T71" fmla="*/ 264 h 278"/>
                  <a:gd name="T72" fmla="*/ 201 w 251"/>
                  <a:gd name="T73" fmla="*/ 244 h 278"/>
                  <a:gd name="T74" fmla="*/ 211 w 251"/>
                  <a:gd name="T75" fmla="*/ 233 h 278"/>
                  <a:gd name="T76" fmla="*/ 215 w 251"/>
                  <a:gd name="T77" fmla="*/ 233 h 278"/>
                  <a:gd name="T78" fmla="*/ 211 w 251"/>
                  <a:gd name="T79" fmla="*/ 226 h 278"/>
                  <a:gd name="T80" fmla="*/ 189 w 251"/>
                  <a:gd name="T81" fmla="*/ 210 h 278"/>
                  <a:gd name="T82" fmla="*/ 178 w 251"/>
                  <a:gd name="T83" fmla="*/ 189 h 278"/>
                  <a:gd name="T84" fmla="*/ 168 w 251"/>
                  <a:gd name="T85" fmla="*/ 174 h 278"/>
                  <a:gd name="T86" fmla="*/ 176 w 251"/>
                  <a:gd name="T87" fmla="*/ 173 h 278"/>
                  <a:gd name="T88" fmla="*/ 192 w 251"/>
                  <a:gd name="T89" fmla="*/ 166 h 278"/>
                  <a:gd name="T90" fmla="*/ 221 w 251"/>
                  <a:gd name="T91" fmla="*/ 152 h 278"/>
                  <a:gd name="T92" fmla="*/ 235 w 251"/>
                  <a:gd name="T93" fmla="*/ 143 h 278"/>
                  <a:gd name="T94" fmla="*/ 250 w 251"/>
                  <a:gd name="T95" fmla="*/ 136 h 278"/>
                  <a:gd name="T96" fmla="*/ 242 w 251"/>
                  <a:gd name="T97" fmla="*/ 124 h 278"/>
                  <a:gd name="T98" fmla="*/ 237 w 251"/>
                  <a:gd name="T99" fmla="*/ 95 h 278"/>
                  <a:gd name="T100" fmla="*/ 229 w 251"/>
                  <a:gd name="T101" fmla="*/ 80 h 278"/>
                  <a:gd name="T102" fmla="*/ 231 w 251"/>
                  <a:gd name="T103" fmla="*/ 51 h 278"/>
                  <a:gd name="T104" fmla="*/ 214 w 251"/>
                  <a:gd name="T105" fmla="*/ 27 h 278"/>
                  <a:gd name="T106" fmla="*/ 180 w 251"/>
                  <a:gd name="T107" fmla="*/ 19 h 278"/>
                  <a:gd name="T108" fmla="*/ 171 w 251"/>
                  <a:gd name="T109" fmla="*/ 28 h 278"/>
                  <a:gd name="T110" fmla="*/ 136 w 251"/>
                  <a:gd name="T111" fmla="*/ 31 h 278"/>
                  <a:gd name="T112" fmla="*/ 121 w 251"/>
                  <a:gd name="T113" fmla="*/ 16 h 278"/>
                  <a:gd name="T114" fmla="*/ 97 w 251"/>
                  <a:gd name="T11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278">
                    <a:moveTo>
                      <a:pt x="97" y="0"/>
                    </a:moveTo>
                    <a:cubicBezTo>
                      <a:pt x="98" y="4"/>
                      <a:pt x="98" y="4"/>
                      <a:pt x="98" y="4"/>
                    </a:cubicBezTo>
                    <a:cubicBezTo>
                      <a:pt x="96" y="4"/>
                      <a:pt x="96" y="4"/>
                      <a:pt x="96" y="4"/>
                    </a:cubicBezTo>
                    <a:cubicBezTo>
                      <a:pt x="96" y="4"/>
                      <a:pt x="95" y="4"/>
                      <a:pt x="95" y="4"/>
                    </a:cubicBezTo>
                    <a:cubicBezTo>
                      <a:pt x="91" y="4"/>
                      <a:pt x="87" y="3"/>
                      <a:pt x="84" y="2"/>
                    </a:cubicBezTo>
                    <a:cubicBezTo>
                      <a:pt x="83" y="2"/>
                      <a:pt x="83" y="2"/>
                      <a:pt x="83" y="2"/>
                    </a:cubicBezTo>
                    <a:cubicBezTo>
                      <a:pt x="80" y="2"/>
                      <a:pt x="78" y="1"/>
                      <a:pt x="75" y="1"/>
                    </a:cubicBezTo>
                    <a:cubicBezTo>
                      <a:pt x="75" y="1"/>
                      <a:pt x="75" y="1"/>
                      <a:pt x="75" y="1"/>
                    </a:cubicBezTo>
                    <a:cubicBezTo>
                      <a:pt x="77" y="3"/>
                      <a:pt x="79" y="7"/>
                      <a:pt x="80" y="9"/>
                    </a:cubicBezTo>
                    <a:cubicBezTo>
                      <a:pt x="80" y="10"/>
                      <a:pt x="82" y="11"/>
                      <a:pt x="82" y="12"/>
                    </a:cubicBezTo>
                    <a:cubicBezTo>
                      <a:pt x="83" y="14"/>
                      <a:pt x="84" y="14"/>
                      <a:pt x="81" y="16"/>
                    </a:cubicBezTo>
                    <a:cubicBezTo>
                      <a:pt x="78" y="17"/>
                      <a:pt x="76" y="16"/>
                      <a:pt x="74" y="17"/>
                    </a:cubicBezTo>
                    <a:cubicBezTo>
                      <a:pt x="73" y="18"/>
                      <a:pt x="72" y="18"/>
                      <a:pt x="72" y="19"/>
                    </a:cubicBezTo>
                    <a:cubicBezTo>
                      <a:pt x="72" y="21"/>
                      <a:pt x="79" y="21"/>
                      <a:pt x="82" y="21"/>
                    </a:cubicBezTo>
                    <a:cubicBezTo>
                      <a:pt x="80" y="22"/>
                      <a:pt x="78" y="23"/>
                      <a:pt x="78" y="25"/>
                    </a:cubicBezTo>
                    <a:cubicBezTo>
                      <a:pt x="77" y="27"/>
                      <a:pt x="81" y="30"/>
                      <a:pt x="78" y="31"/>
                    </a:cubicBezTo>
                    <a:cubicBezTo>
                      <a:pt x="82" y="34"/>
                      <a:pt x="87" y="35"/>
                      <a:pt x="90" y="38"/>
                    </a:cubicBezTo>
                    <a:cubicBezTo>
                      <a:pt x="90" y="38"/>
                      <a:pt x="89" y="38"/>
                      <a:pt x="89" y="38"/>
                    </a:cubicBezTo>
                    <a:cubicBezTo>
                      <a:pt x="88" y="38"/>
                      <a:pt x="87" y="38"/>
                      <a:pt x="86" y="38"/>
                    </a:cubicBezTo>
                    <a:cubicBezTo>
                      <a:pt x="86" y="38"/>
                      <a:pt x="85" y="38"/>
                      <a:pt x="85" y="38"/>
                    </a:cubicBezTo>
                    <a:cubicBezTo>
                      <a:pt x="83" y="38"/>
                      <a:pt x="82" y="38"/>
                      <a:pt x="80" y="38"/>
                    </a:cubicBezTo>
                    <a:cubicBezTo>
                      <a:pt x="78" y="38"/>
                      <a:pt x="77" y="37"/>
                      <a:pt x="75" y="37"/>
                    </a:cubicBezTo>
                    <a:cubicBezTo>
                      <a:pt x="75" y="37"/>
                      <a:pt x="74" y="38"/>
                      <a:pt x="73" y="38"/>
                    </a:cubicBezTo>
                    <a:cubicBezTo>
                      <a:pt x="71" y="38"/>
                      <a:pt x="72" y="38"/>
                      <a:pt x="70" y="40"/>
                    </a:cubicBezTo>
                    <a:cubicBezTo>
                      <a:pt x="70" y="40"/>
                      <a:pt x="70" y="42"/>
                      <a:pt x="69" y="42"/>
                    </a:cubicBezTo>
                    <a:cubicBezTo>
                      <a:pt x="69" y="44"/>
                      <a:pt x="69" y="45"/>
                      <a:pt x="69" y="47"/>
                    </a:cubicBezTo>
                    <a:cubicBezTo>
                      <a:pt x="69" y="49"/>
                      <a:pt x="71" y="50"/>
                      <a:pt x="70" y="52"/>
                    </a:cubicBezTo>
                    <a:cubicBezTo>
                      <a:pt x="70" y="54"/>
                      <a:pt x="69" y="56"/>
                      <a:pt x="69" y="58"/>
                    </a:cubicBezTo>
                    <a:cubicBezTo>
                      <a:pt x="70" y="52"/>
                      <a:pt x="71" y="52"/>
                      <a:pt x="67" y="49"/>
                    </a:cubicBezTo>
                    <a:cubicBezTo>
                      <a:pt x="66" y="49"/>
                      <a:pt x="65" y="48"/>
                      <a:pt x="63" y="48"/>
                    </a:cubicBezTo>
                    <a:cubicBezTo>
                      <a:pt x="63" y="48"/>
                      <a:pt x="62" y="48"/>
                      <a:pt x="62" y="48"/>
                    </a:cubicBezTo>
                    <a:cubicBezTo>
                      <a:pt x="60" y="51"/>
                      <a:pt x="64" y="50"/>
                      <a:pt x="64" y="51"/>
                    </a:cubicBezTo>
                    <a:cubicBezTo>
                      <a:pt x="64" y="52"/>
                      <a:pt x="64" y="52"/>
                      <a:pt x="63" y="52"/>
                    </a:cubicBezTo>
                    <a:cubicBezTo>
                      <a:pt x="62" y="54"/>
                      <a:pt x="61" y="55"/>
                      <a:pt x="60" y="55"/>
                    </a:cubicBezTo>
                    <a:cubicBezTo>
                      <a:pt x="59" y="55"/>
                      <a:pt x="58" y="54"/>
                      <a:pt x="56" y="52"/>
                    </a:cubicBezTo>
                    <a:cubicBezTo>
                      <a:pt x="64" y="51"/>
                      <a:pt x="52" y="44"/>
                      <a:pt x="49" y="44"/>
                    </a:cubicBezTo>
                    <a:cubicBezTo>
                      <a:pt x="49" y="44"/>
                      <a:pt x="48" y="44"/>
                      <a:pt x="48" y="44"/>
                    </a:cubicBezTo>
                    <a:cubicBezTo>
                      <a:pt x="43" y="45"/>
                      <a:pt x="33" y="45"/>
                      <a:pt x="29" y="49"/>
                    </a:cubicBezTo>
                    <a:cubicBezTo>
                      <a:pt x="29" y="49"/>
                      <a:pt x="29" y="49"/>
                      <a:pt x="29" y="49"/>
                    </a:cubicBezTo>
                    <a:cubicBezTo>
                      <a:pt x="29" y="49"/>
                      <a:pt x="28" y="52"/>
                      <a:pt x="27" y="52"/>
                    </a:cubicBezTo>
                    <a:cubicBezTo>
                      <a:pt x="27" y="53"/>
                      <a:pt x="27" y="53"/>
                      <a:pt x="27" y="54"/>
                    </a:cubicBezTo>
                    <a:cubicBezTo>
                      <a:pt x="26" y="59"/>
                      <a:pt x="30" y="58"/>
                      <a:pt x="34" y="59"/>
                    </a:cubicBezTo>
                    <a:cubicBezTo>
                      <a:pt x="33" y="60"/>
                      <a:pt x="33" y="60"/>
                      <a:pt x="33" y="60"/>
                    </a:cubicBezTo>
                    <a:cubicBezTo>
                      <a:pt x="35" y="59"/>
                      <a:pt x="35" y="59"/>
                      <a:pt x="35" y="59"/>
                    </a:cubicBezTo>
                    <a:cubicBezTo>
                      <a:pt x="35" y="61"/>
                      <a:pt x="35" y="61"/>
                      <a:pt x="35" y="61"/>
                    </a:cubicBezTo>
                    <a:cubicBezTo>
                      <a:pt x="35" y="62"/>
                      <a:pt x="36" y="65"/>
                      <a:pt x="35" y="68"/>
                    </a:cubicBezTo>
                    <a:cubicBezTo>
                      <a:pt x="35" y="69"/>
                      <a:pt x="35" y="71"/>
                      <a:pt x="35" y="72"/>
                    </a:cubicBezTo>
                    <a:cubicBezTo>
                      <a:pt x="34" y="73"/>
                      <a:pt x="34" y="74"/>
                      <a:pt x="34" y="75"/>
                    </a:cubicBezTo>
                    <a:cubicBezTo>
                      <a:pt x="33" y="77"/>
                      <a:pt x="32" y="79"/>
                      <a:pt x="32" y="81"/>
                    </a:cubicBezTo>
                    <a:cubicBezTo>
                      <a:pt x="32" y="81"/>
                      <a:pt x="32" y="81"/>
                      <a:pt x="32" y="81"/>
                    </a:cubicBezTo>
                    <a:cubicBezTo>
                      <a:pt x="32" y="83"/>
                      <a:pt x="31" y="86"/>
                      <a:pt x="28" y="88"/>
                    </a:cubicBezTo>
                    <a:cubicBezTo>
                      <a:pt x="26" y="89"/>
                      <a:pt x="24" y="89"/>
                      <a:pt x="23" y="89"/>
                    </a:cubicBezTo>
                    <a:cubicBezTo>
                      <a:pt x="23" y="89"/>
                      <a:pt x="23" y="89"/>
                      <a:pt x="23" y="89"/>
                    </a:cubicBezTo>
                    <a:cubicBezTo>
                      <a:pt x="24" y="89"/>
                      <a:pt x="24" y="89"/>
                      <a:pt x="24" y="89"/>
                    </a:cubicBezTo>
                    <a:cubicBezTo>
                      <a:pt x="26" y="90"/>
                      <a:pt x="32" y="92"/>
                      <a:pt x="31" y="99"/>
                    </a:cubicBezTo>
                    <a:cubicBezTo>
                      <a:pt x="31" y="103"/>
                      <a:pt x="27" y="105"/>
                      <a:pt x="24" y="107"/>
                    </a:cubicBezTo>
                    <a:cubicBezTo>
                      <a:pt x="23" y="108"/>
                      <a:pt x="23" y="108"/>
                      <a:pt x="23" y="108"/>
                    </a:cubicBezTo>
                    <a:cubicBezTo>
                      <a:pt x="23" y="108"/>
                      <a:pt x="23" y="108"/>
                      <a:pt x="23" y="108"/>
                    </a:cubicBezTo>
                    <a:cubicBezTo>
                      <a:pt x="24" y="108"/>
                      <a:pt x="24" y="108"/>
                      <a:pt x="24" y="108"/>
                    </a:cubicBezTo>
                    <a:cubicBezTo>
                      <a:pt x="26" y="110"/>
                      <a:pt x="26" y="110"/>
                      <a:pt x="26" y="110"/>
                    </a:cubicBezTo>
                    <a:cubicBezTo>
                      <a:pt x="24" y="113"/>
                      <a:pt x="24" y="113"/>
                      <a:pt x="24" y="113"/>
                    </a:cubicBezTo>
                    <a:cubicBezTo>
                      <a:pt x="24" y="114"/>
                      <a:pt x="23" y="115"/>
                      <a:pt x="22" y="115"/>
                    </a:cubicBezTo>
                    <a:cubicBezTo>
                      <a:pt x="21" y="116"/>
                      <a:pt x="21" y="116"/>
                      <a:pt x="21" y="116"/>
                    </a:cubicBezTo>
                    <a:cubicBezTo>
                      <a:pt x="22" y="121"/>
                      <a:pt x="22" y="121"/>
                      <a:pt x="22" y="121"/>
                    </a:cubicBezTo>
                    <a:cubicBezTo>
                      <a:pt x="19" y="117"/>
                      <a:pt x="19" y="117"/>
                      <a:pt x="19" y="117"/>
                    </a:cubicBezTo>
                    <a:cubicBezTo>
                      <a:pt x="18" y="117"/>
                      <a:pt x="16" y="118"/>
                      <a:pt x="14" y="118"/>
                    </a:cubicBezTo>
                    <a:cubicBezTo>
                      <a:pt x="13" y="118"/>
                      <a:pt x="12" y="119"/>
                      <a:pt x="12" y="119"/>
                    </a:cubicBezTo>
                    <a:cubicBezTo>
                      <a:pt x="11" y="119"/>
                      <a:pt x="11" y="119"/>
                      <a:pt x="11" y="119"/>
                    </a:cubicBezTo>
                    <a:cubicBezTo>
                      <a:pt x="10" y="119"/>
                      <a:pt x="10" y="119"/>
                      <a:pt x="10" y="119"/>
                    </a:cubicBezTo>
                    <a:cubicBezTo>
                      <a:pt x="10" y="119"/>
                      <a:pt x="10" y="119"/>
                      <a:pt x="10" y="119"/>
                    </a:cubicBezTo>
                    <a:cubicBezTo>
                      <a:pt x="8" y="119"/>
                      <a:pt x="6" y="118"/>
                      <a:pt x="4" y="117"/>
                    </a:cubicBezTo>
                    <a:cubicBezTo>
                      <a:pt x="3" y="117"/>
                      <a:pt x="3" y="117"/>
                      <a:pt x="3" y="117"/>
                    </a:cubicBezTo>
                    <a:cubicBezTo>
                      <a:pt x="3" y="117"/>
                      <a:pt x="3" y="117"/>
                      <a:pt x="3" y="117"/>
                    </a:cubicBezTo>
                    <a:cubicBezTo>
                      <a:pt x="2" y="117"/>
                      <a:pt x="2" y="117"/>
                      <a:pt x="2" y="117"/>
                    </a:cubicBezTo>
                    <a:cubicBezTo>
                      <a:pt x="1" y="117"/>
                      <a:pt x="1" y="117"/>
                      <a:pt x="1" y="117"/>
                    </a:cubicBezTo>
                    <a:cubicBezTo>
                      <a:pt x="1" y="118"/>
                      <a:pt x="0" y="118"/>
                      <a:pt x="0" y="118"/>
                    </a:cubicBezTo>
                    <a:cubicBezTo>
                      <a:pt x="2" y="121"/>
                      <a:pt x="4" y="123"/>
                      <a:pt x="6" y="126"/>
                    </a:cubicBezTo>
                    <a:cubicBezTo>
                      <a:pt x="8" y="129"/>
                      <a:pt x="8" y="133"/>
                      <a:pt x="5" y="137"/>
                    </a:cubicBezTo>
                    <a:cubicBezTo>
                      <a:pt x="5" y="138"/>
                      <a:pt x="5" y="138"/>
                      <a:pt x="5" y="138"/>
                    </a:cubicBezTo>
                    <a:cubicBezTo>
                      <a:pt x="17" y="139"/>
                      <a:pt x="17" y="139"/>
                      <a:pt x="17" y="139"/>
                    </a:cubicBezTo>
                    <a:cubicBezTo>
                      <a:pt x="4" y="145"/>
                      <a:pt x="4" y="145"/>
                      <a:pt x="4" y="145"/>
                    </a:cubicBezTo>
                    <a:cubicBezTo>
                      <a:pt x="3" y="145"/>
                      <a:pt x="3" y="145"/>
                      <a:pt x="2" y="146"/>
                    </a:cubicBezTo>
                    <a:cubicBezTo>
                      <a:pt x="2" y="146"/>
                      <a:pt x="2" y="146"/>
                      <a:pt x="2" y="146"/>
                    </a:cubicBezTo>
                    <a:cubicBezTo>
                      <a:pt x="1" y="146"/>
                      <a:pt x="1" y="146"/>
                      <a:pt x="1" y="147"/>
                    </a:cubicBezTo>
                    <a:cubicBezTo>
                      <a:pt x="1" y="147"/>
                      <a:pt x="1" y="147"/>
                      <a:pt x="1" y="147"/>
                    </a:cubicBezTo>
                    <a:cubicBezTo>
                      <a:pt x="2" y="148"/>
                      <a:pt x="2" y="148"/>
                      <a:pt x="3" y="149"/>
                    </a:cubicBezTo>
                    <a:cubicBezTo>
                      <a:pt x="3" y="150"/>
                      <a:pt x="3" y="150"/>
                      <a:pt x="3" y="150"/>
                    </a:cubicBezTo>
                    <a:cubicBezTo>
                      <a:pt x="3" y="151"/>
                      <a:pt x="3" y="151"/>
                      <a:pt x="3" y="151"/>
                    </a:cubicBezTo>
                    <a:cubicBezTo>
                      <a:pt x="3" y="152"/>
                      <a:pt x="3" y="153"/>
                      <a:pt x="2" y="154"/>
                    </a:cubicBezTo>
                    <a:cubicBezTo>
                      <a:pt x="2" y="155"/>
                      <a:pt x="2" y="155"/>
                      <a:pt x="2" y="155"/>
                    </a:cubicBezTo>
                    <a:cubicBezTo>
                      <a:pt x="2" y="155"/>
                      <a:pt x="2" y="155"/>
                      <a:pt x="2" y="155"/>
                    </a:cubicBezTo>
                    <a:cubicBezTo>
                      <a:pt x="2" y="155"/>
                      <a:pt x="2" y="155"/>
                      <a:pt x="2" y="155"/>
                    </a:cubicBezTo>
                    <a:cubicBezTo>
                      <a:pt x="4" y="159"/>
                      <a:pt x="4" y="159"/>
                      <a:pt x="4" y="159"/>
                    </a:cubicBezTo>
                    <a:cubicBezTo>
                      <a:pt x="7" y="162"/>
                      <a:pt x="9" y="165"/>
                      <a:pt x="11" y="168"/>
                    </a:cubicBezTo>
                    <a:cubicBezTo>
                      <a:pt x="13" y="174"/>
                      <a:pt x="11" y="176"/>
                      <a:pt x="9" y="178"/>
                    </a:cubicBezTo>
                    <a:cubicBezTo>
                      <a:pt x="9" y="178"/>
                      <a:pt x="9" y="178"/>
                      <a:pt x="9" y="178"/>
                    </a:cubicBezTo>
                    <a:cubicBezTo>
                      <a:pt x="8" y="178"/>
                      <a:pt x="8" y="179"/>
                      <a:pt x="8" y="179"/>
                    </a:cubicBezTo>
                    <a:cubicBezTo>
                      <a:pt x="7" y="180"/>
                      <a:pt x="6" y="180"/>
                      <a:pt x="6" y="180"/>
                    </a:cubicBezTo>
                    <a:cubicBezTo>
                      <a:pt x="6" y="181"/>
                      <a:pt x="6" y="181"/>
                      <a:pt x="6" y="181"/>
                    </a:cubicBezTo>
                    <a:cubicBezTo>
                      <a:pt x="9" y="185"/>
                      <a:pt x="9" y="185"/>
                      <a:pt x="9" y="185"/>
                    </a:cubicBezTo>
                    <a:cubicBezTo>
                      <a:pt x="6" y="184"/>
                      <a:pt x="6" y="184"/>
                      <a:pt x="6" y="184"/>
                    </a:cubicBezTo>
                    <a:cubicBezTo>
                      <a:pt x="6" y="184"/>
                      <a:pt x="6" y="184"/>
                      <a:pt x="6" y="184"/>
                    </a:cubicBezTo>
                    <a:cubicBezTo>
                      <a:pt x="6" y="185"/>
                      <a:pt x="6" y="185"/>
                      <a:pt x="6" y="185"/>
                    </a:cubicBezTo>
                    <a:cubicBezTo>
                      <a:pt x="6" y="185"/>
                      <a:pt x="6" y="186"/>
                      <a:pt x="8" y="187"/>
                    </a:cubicBezTo>
                    <a:cubicBezTo>
                      <a:pt x="9" y="187"/>
                      <a:pt x="9" y="188"/>
                      <a:pt x="10" y="188"/>
                    </a:cubicBezTo>
                    <a:cubicBezTo>
                      <a:pt x="11" y="188"/>
                      <a:pt x="12" y="189"/>
                      <a:pt x="12" y="189"/>
                    </a:cubicBezTo>
                    <a:cubicBezTo>
                      <a:pt x="13" y="190"/>
                      <a:pt x="13" y="190"/>
                      <a:pt x="13" y="191"/>
                    </a:cubicBezTo>
                    <a:cubicBezTo>
                      <a:pt x="16" y="194"/>
                      <a:pt x="14" y="198"/>
                      <a:pt x="12" y="201"/>
                    </a:cubicBezTo>
                    <a:cubicBezTo>
                      <a:pt x="12" y="201"/>
                      <a:pt x="12" y="201"/>
                      <a:pt x="12" y="201"/>
                    </a:cubicBezTo>
                    <a:cubicBezTo>
                      <a:pt x="12" y="201"/>
                      <a:pt x="12" y="202"/>
                      <a:pt x="11" y="202"/>
                    </a:cubicBezTo>
                    <a:cubicBezTo>
                      <a:pt x="15" y="204"/>
                      <a:pt x="17" y="206"/>
                      <a:pt x="19" y="209"/>
                    </a:cubicBezTo>
                    <a:cubicBezTo>
                      <a:pt x="20" y="210"/>
                      <a:pt x="20" y="210"/>
                      <a:pt x="20" y="210"/>
                    </a:cubicBezTo>
                    <a:cubicBezTo>
                      <a:pt x="21" y="211"/>
                      <a:pt x="22" y="211"/>
                      <a:pt x="24" y="212"/>
                    </a:cubicBezTo>
                    <a:cubicBezTo>
                      <a:pt x="25" y="212"/>
                      <a:pt x="26" y="212"/>
                      <a:pt x="26" y="212"/>
                    </a:cubicBezTo>
                    <a:cubicBezTo>
                      <a:pt x="28" y="212"/>
                      <a:pt x="29" y="213"/>
                      <a:pt x="30" y="213"/>
                    </a:cubicBezTo>
                    <a:cubicBezTo>
                      <a:pt x="31" y="213"/>
                      <a:pt x="31" y="213"/>
                      <a:pt x="31" y="213"/>
                    </a:cubicBezTo>
                    <a:cubicBezTo>
                      <a:pt x="31" y="212"/>
                      <a:pt x="32" y="212"/>
                      <a:pt x="32" y="212"/>
                    </a:cubicBezTo>
                    <a:cubicBezTo>
                      <a:pt x="35" y="212"/>
                      <a:pt x="35" y="212"/>
                      <a:pt x="35" y="212"/>
                    </a:cubicBezTo>
                    <a:cubicBezTo>
                      <a:pt x="35" y="212"/>
                      <a:pt x="36" y="212"/>
                      <a:pt x="36" y="212"/>
                    </a:cubicBezTo>
                    <a:cubicBezTo>
                      <a:pt x="39" y="212"/>
                      <a:pt x="42" y="214"/>
                      <a:pt x="44" y="215"/>
                    </a:cubicBezTo>
                    <a:cubicBezTo>
                      <a:pt x="44" y="216"/>
                      <a:pt x="44" y="216"/>
                      <a:pt x="44" y="216"/>
                    </a:cubicBezTo>
                    <a:cubicBezTo>
                      <a:pt x="45" y="216"/>
                      <a:pt x="45" y="216"/>
                      <a:pt x="45" y="216"/>
                    </a:cubicBezTo>
                    <a:cubicBezTo>
                      <a:pt x="46" y="216"/>
                      <a:pt x="46" y="216"/>
                      <a:pt x="46" y="216"/>
                    </a:cubicBezTo>
                    <a:cubicBezTo>
                      <a:pt x="46" y="217"/>
                      <a:pt x="47" y="217"/>
                      <a:pt x="47" y="217"/>
                    </a:cubicBezTo>
                    <a:cubicBezTo>
                      <a:pt x="48" y="217"/>
                      <a:pt x="48" y="217"/>
                      <a:pt x="48" y="217"/>
                    </a:cubicBezTo>
                    <a:cubicBezTo>
                      <a:pt x="49" y="217"/>
                      <a:pt x="49" y="216"/>
                      <a:pt x="50" y="216"/>
                    </a:cubicBezTo>
                    <a:cubicBezTo>
                      <a:pt x="51" y="216"/>
                      <a:pt x="52" y="217"/>
                      <a:pt x="53" y="217"/>
                    </a:cubicBezTo>
                    <a:cubicBezTo>
                      <a:pt x="54" y="217"/>
                      <a:pt x="54" y="217"/>
                      <a:pt x="55" y="218"/>
                    </a:cubicBezTo>
                    <a:cubicBezTo>
                      <a:pt x="58" y="218"/>
                      <a:pt x="58" y="218"/>
                      <a:pt x="58" y="218"/>
                    </a:cubicBezTo>
                    <a:cubicBezTo>
                      <a:pt x="59" y="219"/>
                      <a:pt x="60" y="219"/>
                      <a:pt x="61" y="219"/>
                    </a:cubicBezTo>
                    <a:cubicBezTo>
                      <a:pt x="67" y="221"/>
                      <a:pt x="67" y="221"/>
                      <a:pt x="67" y="221"/>
                    </a:cubicBezTo>
                    <a:cubicBezTo>
                      <a:pt x="64" y="225"/>
                      <a:pt x="64" y="225"/>
                      <a:pt x="64" y="225"/>
                    </a:cubicBezTo>
                    <a:cubicBezTo>
                      <a:pt x="58" y="232"/>
                      <a:pt x="54" y="238"/>
                      <a:pt x="51" y="246"/>
                    </a:cubicBezTo>
                    <a:cubicBezTo>
                      <a:pt x="51" y="247"/>
                      <a:pt x="50" y="247"/>
                      <a:pt x="50" y="248"/>
                    </a:cubicBezTo>
                    <a:cubicBezTo>
                      <a:pt x="48" y="251"/>
                      <a:pt x="47" y="253"/>
                      <a:pt x="46" y="255"/>
                    </a:cubicBezTo>
                    <a:cubicBezTo>
                      <a:pt x="46" y="256"/>
                      <a:pt x="46" y="256"/>
                      <a:pt x="46" y="256"/>
                    </a:cubicBezTo>
                    <a:cubicBezTo>
                      <a:pt x="46" y="256"/>
                      <a:pt x="45" y="257"/>
                      <a:pt x="45" y="257"/>
                    </a:cubicBezTo>
                    <a:cubicBezTo>
                      <a:pt x="45" y="259"/>
                      <a:pt x="45" y="259"/>
                      <a:pt x="45" y="259"/>
                    </a:cubicBezTo>
                    <a:cubicBezTo>
                      <a:pt x="45" y="260"/>
                      <a:pt x="45" y="260"/>
                      <a:pt x="45" y="261"/>
                    </a:cubicBezTo>
                    <a:cubicBezTo>
                      <a:pt x="45" y="261"/>
                      <a:pt x="45" y="261"/>
                      <a:pt x="45" y="261"/>
                    </a:cubicBezTo>
                    <a:cubicBezTo>
                      <a:pt x="45" y="263"/>
                      <a:pt x="45" y="264"/>
                      <a:pt x="45" y="265"/>
                    </a:cubicBezTo>
                    <a:cubicBezTo>
                      <a:pt x="45" y="265"/>
                      <a:pt x="45" y="267"/>
                      <a:pt x="45" y="268"/>
                    </a:cubicBezTo>
                    <a:cubicBezTo>
                      <a:pt x="45" y="268"/>
                      <a:pt x="45" y="269"/>
                      <a:pt x="46" y="270"/>
                    </a:cubicBezTo>
                    <a:cubicBezTo>
                      <a:pt x="46" y="271"/>
                      <a:pt x="46" y="271"/>
                      <a:pt x="46" y="271"/>
                    </a:cubicBezTo>
                    <a:cubicBezTo>
                      <a:pt x="47" y="271"/>
                      <a:pt x="47" y="271"/>
                      <a:pt x="47" y="271"/>
                    </a:cubicBezTo>
                    <a:cubicBezTo>
                      <a:pt x="47" y="270"/>
                      <a:pt x="48" y="270"/>
                      <a:pt x="48" y="270"/>
                    </a:cubicBezTo>
                    <a:cubicBezTo>
                      <a:pt x="49" y="270"/>
                      <a:pt x="49" y="270"/>
                      <a:pt x="49" y="270"/>
                    </a:cubicBezTo>
                    <a:cubicBezTo>
                      <a:pt x="49" y="270"/>
                      <a:pt x="50" y="270"/>
                      <a:pt x="50" y="270"/>
                    </a:cubicBezTo>
                    <a:cubicBezTo>
                      <a:pt x="51" y="270"/>
                      <a:pt x="51" y="270"/>
                      <a:pt x="51" y="270"/>
                    </a:cubicBezTo>
                    <a:cubicBezTo>
                      <a:pt x="51" y="270"/>
                      <a:pt x="51" y="270"/>
                      <a:pt x="51" y="270"/>
                    </a:cubicBezTo>
                    <a:cubicBezTo>
                      <a:pt x="52" y="270"/>
                      <a:pt x="52" y="270"/>
                      <a:pt x="53" y="270"/>
                    </a:cubicBezTo>
                    <a:cubicBezTo>
                      <a:pt x="53" y="270"/>
                      <a:pt x="54" y="270"/>
                      <a:pt x="54" y="270"/>
                    </a:cubicBezTo>
                    <a:cubicBezTo>
                      <a:pt x="55" y="270"/>
                      <a:pt x="55" y="270"/>
                      <a:pt x="55" y="270"/>
                    </a:cubicBezTo>
                    <a:cubicBezTo>
                      <a:pt x="57" y="270"/>
                      <a:pt x="59" y="270"/>
                      <a:pt x="61" y="270"/>
                    </a:cubicBezTo>
                    <a:cubicBezTo>
                      <a:pt x="61" y="270"/>
                      <a:pt x="62" y="270"/>
                      <a:pt x="63" y="270"/>
                    </a:cubicBezTo>
                    <a:cubicBezTo>
                      <a:pt x="63" y="270"/>
                      <a:pt x="63" y="270"/>
                      <a:pt x="63" y="270"/>
                    </a:cubicBezTo>
                    <a:cubicBezTo>
                      <a:pt x="63" y="270"/>
                      <a:pt x="63" y="270"/>
                      <a:pt x="64" y="270"/>
                    </a:cubicBezTo>
                    <a:cubicBezTo>
                      <a:pt x="64" y="270"/>
                      <a:pt x="64" y="270"/>
                      <a:pt x="65" y="270"/>
                    </a:cubicBezTo>
                    <a:cubicBezTo>
                      <a:pt x="65" y="270"/>
                      <a:pt x="65" y="270"/>
                      <a:pt x="65" y="270"/>
                    </a:cubicBezTo>
                    <a:cubicBezTo>
                      <a:pt x="64" y="268"/>
                      <a:pt x="64" y="267"/>
                      <a:pt x="65" y="266"/>
                    </a:cubicBezTo>
                    <a:cubicBezTo>
                      <a:pt x="66" y="264"/>
                      <a:pt x="68" y="263"/>
                      <a:pt x="70" y="262"/>
                    </a:cubicBezTo>
                    <a:cubicBezTo>
                      <a:pt x="74" y="261"/>
                      <a:pt x="74" y="261"/>
                      <a:pt x="74" y="261"/>
                    </a:cubicBezTo>
                    <a:cubicBezTo>
                      <a:pt x="75" y="264"/>
                      <a:pt x="75" y="264"/>
                      <a:pt x="75" y="264"/>
                    </a:cubicBezTo>
                    <a:cubicBezTo>
                      <a:pt x="75" y="264"/>
                      <a:pt x="75" y="264"/>
                      <a:pt x="75" y="264"/>
                    </a:cubicBezTo>
                    <a:cubicBezTo>
                      <a:pt x="76" y="265"/>
                      <a:pt x="76" y="265"/>
                      <a:pt x="76" y="265"/>
                    </a:cubicBezTo>
                    <a:cubicBezTo>
                      <a:pt x="77" y="266"/>
                      <a:pt x="77" y="266"/>
                      <a:pt x="77" y="266"/>
                    </a:cubicBezTo>
                    <a:cubicBezTo>
                      <a:pt x="78" y="266"/>
                      <a:pt x="79" y="267"/>
                      <a:pt x="80" y="267"/>
                    </a:cubicBezTo>
                    <a:cubicBezTo>
                      <a:pt x="81" y="267"/>
                      <a:pt x="82" y="267"/>
                      <a:pt x="82" y="267"/>
                    </a:cubicBezTo>
                    <a:cubicBezTo>
                      <a:pt x="83" y="267"/>
                      <a:pt x="83" y="267"/>
                      <a:pt x="83" y="267"/>
                    </a:cubicBezTo>
                    <a:cubicBezTo>
                      <a:pt x="84" y="267"/>
                      <a:pt x="84" y="267"/>
                      <a:pt x="85" y="267"/>
                    </a:cubicBezTo>
                    <a:cubicBezTo>
                      <a:pt x="85" y="267"/>
                      <a:pt x="86" y="267"/>
                      <a:pt x="87" y="267"/>
                    </a:cubicBezTo>
                    <a:cubicBezTo>
                      <a:pt x="88" y="267"/>
                      <a:pt x="89" y="267"/>
                      <a:pt x="90" y="267"/>
                    </a:cubicBezTo>
                    <a:cubicBezTo>
                      <a:pt x="93" y="268"/>
                      <a:pt x="97" y="269"/>
                      <a:pt x="100" y="271"/>
                    </a:cubicBezTo>
                    <a:cubicBezTo>
                      <a:pt x="100" y="271"/>
                      <a:pt x="101" y="271"/>
                      <a:pt x="101" y="271"/>
                    </a:cubicBezTo>
                    <a:cubicBezTo>
                      <a:pt x="102" y="271"/>
                      <a:pt x="102" y="271"/>
                      <a:pt x="102" y="271"/>
                    </a:cubicBezTo>
                    <a:cubicBezTo>
                      <a:pt x="102" y="271"/>
                      <a:pt x="102" y="271"/>
                      <a:pt x="102" y="271"/>
                    </a:cubicBezTo>
                    <a:cubicBezTo>
                      <a:pt x="106" y="271"/>
                      <a:pt x="106" y="271"/>
                      <a:pt x="106" y="271"/>
                    </a:cubicBezTo>
                    <a:cubicBezTo>
                      <a:pt x="107" y="271"/>
                      <a:pt x="108" y="271"/>
                      <a:pt x="108" y="271"/>
                    </a:cubicBezTo>
                    <a:cubicBezTo>
                      <a:pt x="109" y="271"/>
                      <a:pt x="109" y="271"/>
                      <a:pt x="109" y="271"/>
                    </a:cubicBezTo>
                    <a:cubicBezTo>
                      <a:pt x="109" y="271"/>
                      <a:pt x="110" y="271"/>
                      <a:pt x="110" y="271"/>
                    </a:cubicBezTo>
                    <a:cubicBezTo>
                      <a:pt x="111" y="271"/>
                      <a:pt x="111" y="272"/>
                      <a:pt x="111" y="272"/>
                    </a:cubicBezTo>
                    <a:cubicBezTo>
                      <a:pt x="112" y="272"/>
                      <a:pt x="112" y="272"/>
                      <a:pt x="113" y="273"/>
                    </a:cubicBezTo>
                    <a:cubicBezTo>
                      <a:pt x="114" y="273"/>
                      <a:pt x="115" y="274"/>
                      <a:pt x="115" y="274"/>
                    </a:cubicBezTo>
                    <a:cubicBezTo>
                      <a:pt x="115" y="274"/>
                      <a:pt x="115" y="274"/>
                      <a:pt x="115" y="274"/>
                    </a:cubicBezTo>
                    <a:cubicBezTo>
                      <a:pt x="117" y="275"/>
                      <a:pt x="118" y="276"/>
                      <a:pt x="119" y="277"/>
                    </a:cubicBezTo>
                    <a:cubicBezTo>
                      <a:pt x="120" y="278"/>
                      <a:pt x="120" y="278"/>
                      <a:pt x="120" y="278"/>
                    </a:cubicBezTo>
                    <a:cubicBezTo>
                      <a:pt x="121" y="277"/>
                      <a:pt x="121" y="276"/>
                      <a:pt x="121" y="273"/>
                    </a:cubicBezTo>
                    <a:cubicBezTo>
                      <a:pt x="121" y="269"/>
                      <a:pt x="121" y="269"/>
                      <a:pt x="121" y="269"/>
                    </a:cubicBezTo>
                    <a:cubicBezTo>
                      <a:pt x="137" y="271"/>
                      <a:pt x="137" y="271"/>
                      <a:pt x="137" y="271"/>
                    </a:cubicBezTo>
                    <a:cubicBezTo>
                      <a:pt x="140" y="272"/>
                      <a:pt x="141" y="275"/>
                      <a:pt x="141" y="276"/>
                    </a:cubicBezTo>
                    <a:cubicBezTo>
                      <a:pt x="141" y="276"/>
                      <a:pt x="141" y="276"/>
                      <a:pt x="141" y="276"/>
                    </a:cubicBezTo>
                    <a:cubicBezTo>
                      <a:pt x="142" y="276"/>
                      <a:pt x="142" y="276"/>
                      <a:pt x="143" y="276"/>
                    </a:cubicBezTo>
                    <a:cubicBezTo>
                      <a:pt x="146" y="276"/>
                      <a:pt x="148" y="275"/>
                      <a:pt x="149" y="275"/>
                    </a:cubicBezTo>
                    <a:cubicBezTo>
                      <a:pt x="149" y="274"/>
                      <a:pt x="149" y="274"/>
                      <a:pt x="149" y="274"/>
                    </a:cubicBezTo>
                    <a:cubicBezTo>
                      <a:pt x="151" y="270"/>
                      <a:pt x="158" y="269"/>
                      <a:pt x="160" y="269"/>
                    </a:cubicBezTo>
                    <a:cubicBezTo>
                      <a:pt x="161" y="269"/>
                      <a:pt x="161" y="269"/>
                      <a:pt x="161" y="269"/>
                    </a:cubicBezTo>
                    <a:cubicBezTo>
                      <a:pt x="162" y="269"/>
                      <a:pt x="164" y="269"/>
                      <a:pt x="165" y="269"/>
                    </a:cubicBezTo>
                    <a:cubicBezTo>
                      <a:pt x="166" y="269"/>
                      <a:pt x="166" y="269"/>
                      <a:pt x="166" y="269"/>
                    </a:cubicBezTo>
                    <a:cubicBezTo>
                      <a:pt x="167" y="269"/>
                      <a:pt x="169" y="269"/>
                      <a:pt x="169" y="269"/>
                    </a:cubicBezTo>
                    <a:cubicBezTo>
                      <a:pt x="170" y="268"/>
                      <a:pt x="171" y="268"/>
                      <a:pt x="171" y="268"/>
                    </a:cubicBezTo>
                    <a:cubicBezTo>
                      <a:pt x="172" y="268"/>
                      <a:pt x="172" y="268"/>
                      <a:pt x="172" y="268"/>
                    </a:cubicBezTo>
                    <a:cubicBezTo>
                      <a:pt x="173" y="267"/>
                      <a:pt x="176" y="266"/>
                      <a:pt x="178" y="266"/>
                    </a:cubicBezTo>
                    <a:cubicBezTo>
                      <a:pt x="179" y="266"/>
                      <a:pt x="179" y="266"/>
                      <a:pt x="180" y="266"/>
                    </a:cubicBezTo>
                    <a:cubicBezTo>
                      <a:pt x="181" y="266"/>
                      <a:pt x="181" y="266"/>
                      <a:pt x="181" y="266"/>
                    </a:cubicBezTo>
                    <a:cubicBezTo>
                      <a:pt x="182" y="267"/>
                      <a:pt x="182" y="267"/>
                      <a:pt x="182" y="267"/>
                    </a:cubicBezTo>
                    <a:cubicBezTo>
                      <a:pt x="182" y="267"/>
                      <a:pt x="183" y="267"/>
                      <a:pt x="183" y="267"/>
                    </a:cubicBezTo>
                    <a:cubicBezTo>
                      <a:pt x="184" y="267"/>
                      <a:pt x="184" y="267"/>
                      <a:pt x="184" y="267"/>
                    </a:cubicBezTo>
                    <a:cubicBezTo>
                      <a:pt x="184" y="267"/>
                      <a:pt x="184" y="267"/>
                      <a:pt x="184" y="267"/>
                    </a:cubicBezTo>
                    <a:cubicBezTo>
                      <a:pt x="185" y="267"/>
                      <a:pt x="185" y="267"/>
                      <a:pt x="186" y="267"/>
                    </a:cubicBezTo>
                    <a:cubicBezTo>
                      <a:pt x="186" y="266"/>
                      <a:pt x="187" y="266"/>
                      <a:pt x="188" y="266"/>
                    </a:cubicBezTo>
                    <a:cubicBezTo>
                      <a:pt x="188" y="266"/>
                      <a:pt x="188" y="266"/>
                      <a:pt x="188" y="266"/>
                    </a:cubicBezTo>
                    <a:cubicBezTo>
                      <a:pt x="189" y="266"/>
                      <a:pt x="189" y="266"/>
                      <a:pt x="189" y="266"/>
                    </a:cubicBezTo>
                    <a:cubicBezTo>
                      <a:pt x="191" y="267"/>
                      <a:pt x="191" y="267"/>
                      <a:pt x="191" y="267"/>
                    </a:cubicBezTo>
                    <a:cubicBezTo>
                      <a:pt x="191" y="266"/>
                      <a:pt x="191" y="266"/>
                      <a:pt x="191" y="266"/>
                    </a:cubicBezTo>
                    <a:cubicBezTo>
                      <a:pt x="191" y="266"/>
                      <a:pt x="192" y="265"/>
                      <a:pt x="192" y="264"/>
                    </a:cubicBezTo>
                    <a:cubicBezTo>
                      <a:pt x="193" y="264"/>
                      <a:pt x="193" y="264"/>
                      <a:pt x="193" y="264"/>
                    </a:cubicBezTo>
                    <a:cubicBezTo>
                      <a:pt x="192" y="263"/>
                      <a:pt x="192" y="263"/>
                      <a:pt x="192" y="263"/>
                    </a:cubicBezTo>
                    <a:cubicBezTo>
                      <a:pt x="192" y="263"/>
                      <a:pt x="192" y="263"/>
                      <a:pt x="192" y="263"/>
                    </a:cubicBezTo>
                    <a:cubicBezTo>
                      <a:pt x="188" y="259"/>
                      <a:pt x="186" y="256"/>
                      <a:pt x="186" y="253"/>
                    </a:cubicBezTo>
                    <a:cubicBezTo>
                      <a:pt x="187" y="250"/>
                      <a:pt x="190" y="248"/>
                      <a:pt x="197" y="245"/>
                    </a:cubicBezTo>
                    <a:cubicBezTo>
                      <a:pt x="198" y="245"/>
                      <a:pt x="198" y="245"/>
                      <a:pt x="198" y="245"/>
                    </a:cubicBezTo>
                    <a:cubicBezTo>
                      <a:pt x="199" y="245"/>
                      <a:pt x="200" y="244"/>
                      <a:pt x="201" y="244"/>
                    </a:cubicBezTo>
                    <a:cubicBezTo>
                      <a:pt x="202" y="244"/>
                      <a:pt x="202" y="244"/>
                      <a:pt x="202" y="244"/>
                    </a:cubicBezTo>
                    <a:cubicBezTo>
                      <a:pt x="203" y="243"/>
                      <a:pt x="205" y="243"/>
                      <a:pt x="205" y="242"/>
                    </a:cubicBezTo>
                    <a:cubicBezTo>
                      <a:pt x="205" y="242"/>
                      <a:pt x="205" y="241"/>
                      <a:pt x="205" y="241"/>
                    </a:cubicBezTo>
                    <a:cubicBezTo>
                      <a:pt x="205" y="240"/>
                      <a:pt x="205" y="240"/>
                      <a:pt x="206" y="239"/>
                    </a:cubicBezTo>
                    <a:cubicBezTo>
                      <a:pt x="206" y="235"/>
                      <a:pt x="209" y="234"/>
                      <a:pt x="210" y="234"/>
                    </a:cubicBezTo>
                    <a:cubicBezTo>
                      <a:pt x="211" y="233"/>
                      <a:pt x="211" y="233"/>
                      <a:pt x="211" y="233"/>
                    </a:cubicBezTo>
                    <a:cubicBezTo>
                      <a:pt x="211" y="233"/>
                      <a:pt x="211" y="233"/>
                      <a:pt x="211" y="233"/>
                    </a:cubicBezTo>
                    <a:cubicBezTo>
                      <a:pt x="212" y="233"/>
                      <a:pt x="212" y="234"/>
                      <a:pt x="212" y="234"/>
                    </a:cubicBezTo>
                    <a:cubicBezTo>
                      <a:pt x="213" y="234"/>
                      <a:pt x="213" y="234"/>
                      <a:pt x="213" y="234"/>
                    </a:cubicBezTo>
                    <a:cubicBezTo>
                      <a:pt x="213" y="234"/>
                      <a:pt x="213" y="234"/>
                      <a:pt x="214" y="234"/>
                    </a:cubicBezTo>
                    <a:cubicBezTo>
                      <a:pt x="214" y="234"/>
                      <a:pt x="214" y="234"/>
                      <a:pt x="215" y="234"/>
                    </a:cubicBezTo>
                    <a:cubicBezTo>
                      <a:pt x="215" y="234"/>
                      <a:pt x="215" y="233"/>
                      <a:pt x="215" y="233"/>
                    </a:cubicBezTo>
                    <a:cubicBezTo>
                      <a:pt x="215" y="232"/>
                      <a:pt x="215" y="232"/>
                      <a:pt x="215" y="232"/>
                    </a:cubicBezTo>
                    <a:cubicBezTo>
                      <a:pt x="215" y="232"/>
                      <a:pt x="215" y="232"/>
                      <a:pt x="215" y="232"/>
                    </a:cubicBezTo>
                    <a:cubicBezTo>
                      <a:pt x="216" y="232"/>
                      <a:pt x="216" y="232"/>
                      <a:pt x="216" y="232"/>
                    </a:cubicBezTo>
                    <a:cubicBezTo>
                      <a:pt x="216" y="231"/>
                      <a:pt x="216" y="231"/>
                      <a:pt x="216" y="231"/>
                    </a:cubicBezTo>
                    <a:cubicBezTo>
                      <a:pt x="215" y="230"/>
                      <a:pt x="214" y="229"/>
                      <a:pt x="213" y="228"/>
                    </a:cubicBezTo>
                    <a:cubicBezTo>
                      <a:pt x="211" y="226"/>
                      <a:pt x="211" y="226"/>
                      <a:pt x="211" y="226"/>
                    </a:cubicBezTo>
                    <a:cubicBezTo>
                      <a:pt x="209" y="226"/>
                      <a:pt x="208" y="226"/>
                      <a:pt x="207" y="225"/>
                    </a:cubicBezTo>
                    <a:cubicBezTo>
                      <a:pt x="205" y="224"/>
                      <a:pt x="203" y="222"/>
                      <a:pt x="202" y="221"/>
                    </a:cubicBezTo>
                    <a:cubicBezTo>
                      <a:pt x="201" y="220"/>
                      <a:pt x="201" y="220"/>
                      <a:pt x="201" y="220"/>
                    </a:cubicBezTo>
                    <a:cubicBezTo>
                      <a:pt x="199" y="218"/>
                      <a:pt x="196" y="216"/>
                      <a:pt x="193" y="214"/>
                    </a:cubicBezTo>
                    <a:cubicBezTo>
                      <a:pt x="193" y="213"/>
                      <a:pt x="193" y="213"/>
                      <a:pt x="193" y="213"/>
                    </a:cubicBezTo>
                    <a:cubicBezTo>
                      <a:pt x="192" y="213"/>
                      <a:pt x="190" y="212"/>
                      <a:pt x="189" y="210"/>
                    </a:cubicBezTo>
                    <a:cubicBezTo>
                      <a:pt x="188" y="210"/>
                      <a:pt x="188" y="210"/>
                      <a:pt x="188" y="210"/>
                    </a:cubicBezTo>
                    <a:cubicBezTo>
                      <a:pt x="188" y="210"/>
                      <a:pt x="187" y="209"/>
                      <a:pt x="187" y="209"/>
                    </a:cubicBezTo>
                    <a:cubicBezTo>
                      <a:pt x="186" y="208"/>
                      <a:pt x="186" y="208"/>
                      <a:pt x="186" y="208"/>
                    </a:cubicBezTo>
                    <a:cubicBezTo>
                      <a:pt x="184" y="207"/>
                      <a:pt x="183" y="206"/>
                      <a:pt x="182" y="205"/>
                    </a:cubicBezTo>
                    <a:cubicBezTo>
                      <a:pt x="179" y="201"/>
                      <a:pt x="177" y="198"/>
                      <a:pt x="177" y="196"/>
                    </a:cubicBezTo>
                    <a:cubicBezTo>
                      <a:pt x="175" y="193"/>
                      <a:pt x="177" y="191"/>
                      <a:pt x="178" y="189"/>
                    </a:cubicBezTo>
                    <a:cubicBezTo>
                      <a:pt x="178" y="189"/>
                      <a:pt x="179" y="189"/>
                      <a:pt x="179" y="188"/>
                    </a:cubicBezTo>
                    <a:cubicBezTo>
                      <a:pt x="179" y="188"/>
                      <a:pt x="179" y="188"/>
                      <a:pt x="179" y="188"/>
                    </a:cubicBezTo>
                    <a:cubicBezTo>
                      <a:pt x="178" y="188"/>
                      <a:pt x="178" y="188"/>
                      <a:pt x="178" y="187"/>
                    </a:cubicBezTo>
                    <a:cubicBezTo>
                      <a:pt x="173" y="185"/>
                      <a:pt x="171" y="181"/>
                      <a:pt x="169" y="177"/>
                    </a:cubicBezTo>
                    <a:cubicBezTo>
                      <a:pt x="169" y="176"/>
                      <a:pt x="169" y="176"/>
                      <a:pt x="169" y="176"/>
                    </a:cubicBezTo>
                    <a:cubicBezTo>
                      <a:pt x="168" y="176"/>
                      <a:pt x="168" y="175"/>
                      <a:pt x="168" y="174"/>
                    </a:cubicBezTo>
                    <a:cubicBezTo>
                      <a:pt x="160" y="158"/>
                      <a:pt x="160" y="158"/>
                      <a:pt x="160" y="158"/>
                    </a:cubicBezTo>
                    <a:cubicBezTo>
                      <a:pt x="173" y="170"/>
                      <a:pt x="173" y="170"/>
                      <a:pt x="173" y="170"/>
                    </a:cubicBezTo>
                    <a:cubicBezTo>
                      <a:pt x="174" y="170"/>
                      <a:pt x="174" y="171"/>
                      <a:pt x="175" y="172"/>
                    </a:cubicBezTo>
                    <a:cubicBezTo>
                      <a:pt x="175" y="172"/>
                      <a:pt x="175" y="172"/>
                      <a:pt x="175" y="172"/>
                    </a:cubicBezTo>
                    <a:cubicBezTo>
                      <a:pt x="175" y="172"/>
                      <a:pt x="176" y="173"/>
                      <a:pt x="176" y="173"/>
                    </a:cubicBezTo>
                    <a:cubicBezTo>
                      <a:pt x="176" y="173"/>
                      <a:pt x="176" y="173"/>
                      <a:pt x="176" y="173"/>
                    </a:cubicBezTo>
                    <a:cubicBezTo>
                      <a:pt x="179" y="169"/>
                      <a:pt x="182" y="167"/>
                      <a:pt x="185" y="166"/>
                    </a:cubicBezTo>
                    <a:cubicBezTo>
                      <a:pt x="185" y="166"/>
                      <a:pt x="185" y="166"/>
                      <a:pt x="185" y="166"/>
                    </a:cubicBezTo>
                    <a:cubicBezTo>
                      <a:pt x="186" y="166"/>
                      <a:pt x="186" y="166"/>
                      <a:pt x="186" y="166"/>
                    </a:cubicBezTo>
                    <a:cubicBezTo>
                      <a:pt x="186" y="166"/>
                      <a:pt x="187" y="166"/>
                      <a:pt x="188" y="166"/>
                    </a:cubicBezTo>
                    <a:cubicBezTo>
                      <a:pt x="189" y="166"/>
                      <a:pt x="190" y="166"/>
                      <a:pt x="191" y="166"/>
                    </a:cubicBezTo>
                    <a:cubicBezTo>
                      <a:pt x="191" y="166"/>
                      <a:pt x="192" y="166"/>
                      <a:pt x="192" y="166"/>
                    </a:cubicBezTo>
                    <a:cubicBezTo>
                      <a:pt x="193" y="166"/>
                      <a:pt x="193" y="166"/>
                      <a:pt x="193" y="166"/>
                    </a:cubicBezTo>
                    <a:cubicBezTo>
                      <a:pt x="194" y="166"/>
                      <a:pt x="194" y="166"/>
                      <a:pt x="194" y="166"/>
                    </a:cubicBezTo>
                    <a:cubicBezTo>
                      <a:pt x="198" y="164"/>
                      <a:pt x="202" y="162"/>
                      <a:pt x="205" y="159"/>
                    </a:cubicBezTo>
                    <a:cubicBezTo>
                      <a:pt x="208" y="157"/>
                      <a:pt x="211" y="157"/>
                      <a:pt x="213" y="156"/>
                    </a:cubicBezTo>
                    <a:cubicBezTo>
                      <a:pt x="214" y="155"/>
                      <a:pt x="215" y="155"/>
                      <a:pt x="216" y="155"/>
                    </a:cubicBezTo>
                    <a:cubicBezTo>
                      <a:pt x="218" y="154"/>
                      <a:pt x="219" y="153"/>
                      <a:pt x="221" y="152"/>
                    </a:cubicBezTo>
                    <a:cubicBezTo>
                      <a:pt x="220" y="149"/>
                      <a:pt x="220" y="149"/>
                      <a:pt x="220" y="149"/>
                    </a:cubicBezTo>
                    <a:cubicBezTo>
                      <a:pt x="223" y="152"/>
                      <a:pt x="223" y="152"/>
                      <a:pt x="223" y="152"/>
                    </a:cubicBezTo>
                    <a:cubicBezTo>
                      <a:pt x="231" y="149"/>
                      <a:pt x="231" y="149"/>
                      <a:pt x="231" y="149"/>
                    </a:cubicBezTo>
                    <a:cubicBezTo>
                      <a:pt x="231" y="149"/>
                      <a:pt x="231" y="148"/>
                      <a:pt x="231" y="148"/>
                    </a:cubicBezTo>
                    <a:cubicBezTo>
                      <a:pt x="229" y="139"/>
                      <a:pt x="229" y="139"/>
                      <a:pt x="229" y="139"/>
                    </a:cubicBezTo>
                    <a:cubicBezTo>
                      <a:pt x="235" y="143"/>
                      <a:pt x="235" y="143"/>
                      <a:pt x="235" y="143"/>
                    </a:cubicBezTo>
                    <a:cubicBezTo>
                      <a:pt x="236" y="143"/>
                      <a:pt x="237" y="143"/>
                      <a:pt x="238" y="143"/>
                    </a:cubicBezTo>
                    <a:cubicBezTo>
                      <a:pt x="240" y="143"/>
                      <a:pt x="242" y="144"/>
                      <a:pt x="244" y="145"/>
                    </a:cubicBezTo>
                    <a:cubicBezTo>
                      <a:pt x="244" y="146"/>
                      <a:pt x="245" y="146"/>
                      <a:pt x="245" y="146"/>
                    </a:cubicBezTo>
                    <a:cubicBezTo>
                      <a:pt x="246" y="147"/>
                      <a:pt x="247" y="147"/>
                      <a:pt x="247" y="148"/>
                    </a:cubicBezTo>
                    <a:cubicBezTo>
                      <a:pt x="248" y="146"/>
                      <a:pt x="248" y="146"/>
                      <a:pt x="248" y="146"/>
                    </a:cubicBezTo>
                    <a:cubicBezTo>
                      <a:pt x="250" y="142"/>
                      <a:pt x="251" y="138"/>
                      <a:pt x="250" y="136"/>
                    </a:cubicBezTo>
                    <a:cubicBezTo>
                      <a:pt x="250" y="135"/>
                      <a:pt x="248" y="134"/>
                      <a:pt x="246" y="132"/>
                    </a:cubicBezTo>
                    <a:cubicBezTo>
                      <a:pt x="245" y="131"/>
                      <a:pt x="245" y="131"/>
                      <a:pt x="245" y="131"/>
                    </a:cubicBezTo>
                    <a:cubicBezTo>
                      <a:pt x="245" y="131"/>
                      <a:pt x="243" y="129"/>
                      <a:pt x="243" y="127"/>
                    </a:cubicBezTo>
                    <a:cubicBezTo>
                      <a:pt x="243" y="127"/>
                      <a:pt x="243" y="126"/>
                      <a:pt x="243" y="126"/>
                    </a:cubicBezTo>
                    <a:cubicBezTo>
                      <a:pt x="242" y="125"/>
                      <a:pt x="242" y="125"/>
                      <a:pt x="242" y="124"/>
                    </a:cubicBezTo>
                    <a:cubicBezTo>
                      <a:pt x="242" y="124"/>
                      <a:pt x="242" y="124"/>
                      <a:pt x="242" y="124"/>
                    </a:cubicBezTo>
                    <a:cubicBezTo>
                      <a:pt x="240" y="121"/>
                      <a:pt x="238" y="118"/>
                      <a:pt x="240" y="114"/>
                    </a:cubicBezTo>
                    <a:cubicBezTo>
                      <a:pt x="242" y="109"/>
                      <a:pt x="242" y="108"/>
                      <a:pt x="242" y="104"/>
                    </a:cubicBezTo>
                    <a:cubicBezTo>
                      <a:pt x="241" y="103"/>
                      <a:pt x="241" y="103"/>
                      <a:pt x="241" y="103"/>
                    </a:cubicBezTo>
                    <a:cubicBezTo>
                      <a:pt x="241" y="103"/>
                      <a:pt x="241" y="102"/>
                      <a:pt x="240" y="102"/>
                    </a:cubicBezTo>
                    <a:cubicBezTo>
                      <a:pt x="240" y="101"/>
                      <a:pt x="240" y="101"/>
                      <a:pt x="240" y="101"/>
                    </a:cubicBezTo>
                    <a:cubicBezTo>
                      <a:pt x="238" y="99"/>
                      <a:pt x="237" y="97"/>
                      <a:pt x="237" y="95"/>
                    </a:cubicBezTo>
                    <a:cubicBezTo>
                      <a:pt x="237" y="93"/>
                      <a:pt x="238" y="91"/>
                      <a:pt x="239" y="89"/>
                    </a:cubicBezTo>
                    <a:cubicBezTo>
                      <a:pt x="239" y="89"/>
                      <a:pt x="239" y="89"/>
                      <a:pt x="239" y="89"/>
                    </a:cubicBezTo>
                    <a:cubicBezTo>
                      <a:pt x="238" y="88"/>
                      <a:pt x="238" y="88"/>
                      <a:pt x="238" y="88"/>
                    </a:cubicBezTo>
                    <a:cubicBezTo>
                      <a:pt x="236" y="87"/>
                      <a:pt x="234" y="85"/>
                      <a:pt x="232" y="83"/>
                    </a:cubicBezTo>
                    <a:cubicBezTo>
                      <a:pt x="231" y="81"/>
                      <a:pt x="231" y="81"/>
                      <a:pt x="231" y="81"/>
                    </a:cubicBezTo>
                    <a:cubicBezTo>
                      <a:pt x="230" y="81"/>
                      <a:pt x="230" y="80"/>
                      <a:pt x="229" y="80"/>
                    </a:cubicBezTo>
                    <a:cubicBezTo>
                      <a:pt x="228" y="78"/>
                      <a:pt x="226" y="76"/>
                      <a:pt x="226" y="73"/>
                    </a:cubicBezTo>
                    <a:cubicBezTo>
                      <a:pt x="227" y="71"/>
                      <a:pt x="228" y="69"/>
                      <a:pt x="230" y="68"/>
                    </a:cubicBezTo>
                    <a:cubicBezTo>
                      <a:pt x="231" y="68"/>
                      <a:pt x="231" y="68"/>
                      <a:pt x="231" y="68"/>
                    </a:cubicBezTo>
                    <a:cubicBezTo>
                      <a:pt x="232" y="67"/>
                      <a:pt x="232" y="66"/>
                      <a:pt x="233" y="64"/>
                    </a:cubicBezTo>
                    <a:cubicBezTo>
                      <a:pt x="233" y="60"/>
                      <a:pt x="233" y="57"/>
                      <a:pt x="232" y="53"/>
                    </a:cubicBezTo>
                    <a:cubicBezTo>
                      <a:pt x="231" y="52"/>
                      <a:pt x="231" y="51"/>
                      <a:pt x="231" y="51"/>
                    </a:cubicBezTo>
                    <a:cubicBezTo>
                      <a:pt x="229" y="43"/>
                      <a:pt x="229" y="43"/>
                      <a:pt x="229" y="43"/>
                    </a:cubicBezTo>
                    <a:cubicBezTo>
                      <a:pt x="229" y="43"/>
                      <a:pt x="229" y="43"/>
                      <a:pt x="229" y="43"/>
                    </a:cubicBezTo>
                    <a:cubicBezTo>
                      <a:pt x="228" y="43"/>
                      <a:pt x="228" y="43"/>
                      <a:pt x="227" y="42"/>
                    </a:cubicBezTo>
                    <a:cubicBezTo>
                      <a:pt x="224" y="42"/>
                      <a:pt x="223" y="39"/>
                      <a:pt x="220" y="38"/>
                    </a:cubicBezTo>
                    <a:cubicBezTo>
                      <a:pt x="221" y="36"/>
                      <a:pt x="220" y="34"/>
                      <a:pt x="219" y="32"/>
                    </a:cubicBezTo>
                    <a:cubicBezTo>
                      <a:pt x="218" y="28"/>
                      <a:pt x="218" y="27"/>
                      <a:pt x="214" y="27"/>
                    </a:cubicBezTo>
                    <a:cubicBezTo>
                      <a:pt x="210" y="26"/>
                      <a:pt x="207" y="27"/>
                      <a:pt x="204" y="24"/>
                    </a:cubicBezTo>
                    <a:cubicBezTo>
                      <a:pt x="202" y="22"/>
                      <a:pt x="200" y="20"/>
                      <a:pt x="199" y="17"/>
                    </a:cubicBezTo>
                    <a:cubicBezTo>
                      <a:pt x="198" y="16"/>
                      <a:pt x="197" y="16"/>
                      <a:pt x="197" y="16"/>
                    </a:cubicBezTo>
                    <a:cubicBezTo>
                      <a:pt x="196" y="16"/>
                      <a:pt x="196" y="16"/>
                      <a:pt x="195" y="16"/>
                    </a:cubicBezTo>
                    <a:cubicBezTo>
                      <a:pt x="192" y="19"/>
                      <a:pt x="189" y="20"/>
                      <a:pt x="185" y="20"/>
                    </a:cubicBezTo>
                    <a:cubicBezTo>
                      <a:pt x="183" y="20"/>
                      <a:pt x="182" y="19"/>
                      <a:pt x="180" y="19"/>
                    </a:cubicBezTo>
                    <a:cubicBezTo>
                      <a:pt x="181" y="17"/>
                      <a:pt x="183" y="17"/>
                      <a:pt x="185" y="17"/>
                    </a:cubicBezTo>
                    <a:cubicBezTo>
                      <a:pt x="188" y="16"/>
                      <a:pt x="190" y="16"/>
                      <a:pt x="194" y="15"/>
                    </a:cubicBezTo>
                    <a:cubicBezTo>
                      <a:pt x="191" y="15"/>
                      <a:pt x="188" y="14"/>
                      <a:pt x="186" y="14"/>
                    </a:cubicBezTo>
                    <a:cubicBezTo>
                      <a:pt x="184" y="14"/>
                      <a:pt x="183" y="14"/>
                      <a:pt x="182" y="15"/>
                    </a:cubicBezTo>
                    <a:cubicBezTo>
                      <a:pt x="179" y="18"/>
                      <a:pt x="174" y="28"/>
                      <a:pt x="171" y="28"/>
                    </a:cubicBezTo>
                    <a:cubicBezTo>
                      <a:pt x="171" y="28"/>
                      <a:pt x="171" y="28"/>
                      <a:pt x="171" y="28"/>
                    </a:cubicBezTo>
                    <a:cubicBezTo>
                      <a:pt x="169" y="28"/>
                      <a:pt x="169" y="26"/>
                      <a:pt x="167" y="26"/>
                    </a:cubicBezTo>
                    <a:cubicBezTo>
                      <a:pt x="167" y="26"/>
                      <a:pt x="166" y="27"/>
                      <a:pt x="166" y="27"/>
                    </a:cubicBezTo>
                    <a:cubicBezTo>
                      <a:pt x="163" y="28"/>
                      <a:pt x="160" y="30"/>
                      <a:pt x="157" y="31"/>
                    </a:cubicBezTo>
                    <a:cubicBezTo>
                      <a:pt x="153" y="33"/>
                      <a:pt x="150" y="35"/>
                      <a:pt x="146" y="35"/>
                    </a:cubicBezTo>
                    <a:cubicBezTo>
                      <a:pt x="146" y="35"/>
                      <a:pt x="146" y="35"/>
                      <a:pt x="146" y="35"/>
                    </a:cubicBezTo>
                    <a:cubicBezTo>
                      <a:pt x="142" y="35"/>
                      <a:pt x="134" y="36"/>
                      <a:pt x="136" y="31"/>
                    </a:cubicBezTo>
                    <a:cubicBezTo>
                      <a:pt x="139" y="26"/>
                      <a:pt x="141" y="22"/>
                      <a:pt x="143" y="17"/>
                    </a:cubicBezTo>
                    <a:cubicBezTo>
                      <a:pt x="142" y="18"/>
                      <a:pt x="139" y="18"/>
                      <a:pt x="137" y="18"/>
                    </a:cubicBezTo>
                    <a:cubicBezTo>
                      <a:pt x="136" y="19"/>
                      <a:pt x="135" y="21"/>
                      <a:pt x="132" y="21"/>
                    </a:cubicBezTo>
                    <a:cubicBezTo>
                      <a:pt x="132" y="21"/>
                      <a:pt x="132" y="21"/>
                      <a:pt x="132" y="21"/>
                    </a:cubicBezTo>
                    <a:cubicBezTo>
                      <a:pt x="129" y="21"/>
                      <a:pt x="124" y="17"/>
                      <a:pt x="121" y="16"/>
                    </a:cubicBezTo>
                    <a:cubicBezTo>
                      <a:pt x="121" y="16"/>
                      <a:pt x="121" y="16"/>
                      <a:pt x="121" y="16"/>
                    </a:cubicBezTo>
                    <a:cubicBezTo>
                      <a:pt x="119" y="16"/>
                      <a:pt x="117" y="19"/>
                      <a:pt x="116" y="20"/>
                    </a:cubicBezTo>
                    <a:cubicBezTo>
                      <a:pt x="117" y="18"/>
                      <a:pt x="117" y="16"/>
                      <a:pt x="117" y="15"/>
                    </a:cubicBezTo>
                    <a:cubicBezTo>
                      <a:pt x="114" y="15"/>
                      <a:pt x="110" y="15"/>
                      <a:pt x="107" y="14"/>
                    </a:cubicBezTo>
                    <a:cubicBezTo>
                      <a:pt x="108" y="14"/>
                      <a:pt x="110" y="13"/>
                      <a:pt x="111" y="12"/>
                    </a:cubicBezTo>
                    <a:cubicBezTo>
                      <a:pt x="114" y="9"/>
                      <a:pt x="111" y="2"/>
                      <a:pt x="107" y="2"/>
                    </a:cubicBezTo>
                    <a:cubicBezTo>
                      <a:pt x="104" y="1"/>
                      <a:pt x="100" y="1"/>
                      <a:pt x="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6" name="Freeform 364">
                <a:extLst>
                  <a:ext uri="{FF2B5EF4-FFF2-40B4-BE49-F238E27FC236}">
                    <a16:creationId xmlns:a16="http://schemas.microsoft.com/office/drawing/2014/main" id="{E3A4CC70-4E22-4A26-B5EA-6EC1A501A39C}"/>
                  </a:ext>
                </a:extLst>
              </p:cNvPr>
              <p:cNvSpPr>
                <a:spLocks/>
              </p:cNvSpPr>
              <p:nvPr/>
            </p:nvSpPr>
            <p:spPr bwMode="auto">
              <a:xfrm>
                <a:off x="5085460" y="3124979"/>
                <a:ext cx="257958" cy="276384"/>
              </a:xfrm>
              <a:custGeom>
                <a:avLst/>
                <a:gdLst>
                  <a:gd name="T0" fmla="*/ 45 w 81"/>
                  <a:gd name="T1" fmla="*/ 1 h 87"/>
                  <a:gd name="T2" fmla="*/ 42 w 81"/>
                  <a:gd name="T3" fmla="*/ 1 h 87"/>
                  <a:gd name="T4" fmla="*/ 37 w 81"/>
                  <a:gd name="T5" fmla="*/ 1 h 87"/>
                  <a:gd name="T6" fmla="*/ 31 w 81"/>
                  <a:gd name="T7" fmla="*/ 14 h 87"/>
                  <a:gd name="T8" fmla="*/ 27 w 81"/>
                  <a:gd name="T9" fmla="*/ 17 h 87"/>
                  <a:gd name="T10" fmla="*/ 24 w 81"/>
                  <a:gd name="T11" fmla="*/ 10 h 87"/>
                  <a:gd name="T12" fmla="*/ 18 w 81"/>
                  <a:gd name="T13" fmla="*/ 16 h 87"/>
                  <a:gd name="T14" fmla="*/ 4 w 81"/>
                  <a:gd name="T15" fmla="*/ 14 h 87"/>
                  <a:gd name="T16" fmla="*/ 1 w 81"/>
                  <a:gd name="T17" fmla="*/ 31 h 87"/>
                  <a:gd name="T18" fmla="*/ 4 w 81"/>
                  <a:gd name="T19" fmla="*/ 38 h 87"/>
                  <a:gd name="T20" fmla="*/ 8 w 81"/>
                  <a:gd name="T21" fmla="*/ 45 h 87"/>
                  <a:gd name="T22" fmla="*/ 6 w 81"/>
                  <a:gd name="T23" fmla="*/ 45 h 87"/>
                  <a:gd name="T24" fmla="*/ 1 w 81"/>
                  <a:gd name="T25" fmla="*/ 57 h 87"/>
                  <a:gd name="T26" fmla="*/ 5 w 81"/>
                  <a:gd name="T27" fmla="*/ 59 h 87"/>
                  <a:gd name="T28" fmla="*/ 14 w 81"/>
                  <a:gd name="T29" fmla="*/ 75 h 87"/>
                  <a:gd name="T30" fmla="*/ 13 w 81"/>
                  <a:gd name="T31" fmla="*/ 74 h 87"/>
                  <a:gd name="T32" fmla="*/ 11 w 81"/>
                  <a:gd name="T33" fmla="*/ 75 h 87"/>
                  <a:gd name="T34" fmla="*/ 17 w 81"/>
                  <a:gd name="T35" fmla="*/ 76 h 87"/>
                  <a:gd name="T36" fmla="*/ 17 w 81"/>
                  <a:gd name="T37" fmla="*/ 84 h 87"/>
                  <a:gd name="T38" fmla="*/ 19 w 81"/>
                  <a:gd name="T39" fmla="*/ 82 h 87"/>
                  <a:gd name="T40" fmla="*/ 38 w 81"/>
                  <a:gd name="T41" fmla="*/ 85 h 87"/>
                  <a:gd name="T42" fmla="*/ 40 w 81"/>
                  <a:gd name="T43" fmla="*/ 85 h 87"/>
                  <a:gd name="T44" fmla="*/ 44 w 81"/>
                  <a:gd name="T45" fmla="*/ 85 h 87"/>
                  <a:gd name="T46" fmla="*/ 44 w 81"/>
                  <a:gd name="T47" fmla="*/ 81 h 87"/>
                  <a:gd name="T48" fmla="*/ 42 w 81"/>
                  <a:gd name="T49" fmla="*/ 80 h 87"/>
                  <a:gd name="T50" fmla="*/ 40 w 81"/>
                  <a:gd name="T51" fmla="*/ 79 h 87"/>
                  <a:gd name="T52" fmla="*/ 43 w 81"/>
                  <a:gd name="T53" fmla="*/ 67 h 87"/>
                  <a:gd name="T54" fmla="*/ 43 w 81"/>
                  <a:gd name="T55" fmla="*/ 54 h 87"/>
                  <a:gd name="T56" fmla="*/ 50 w 81"/>
                  <a:gd name="T57" fmla="*/ 54 h 87"/>
                  <a:gd name="T58" fmla="*/ 54 w 81"/>
                  <a:gd name="T59" fmla="*/ 54 h 87"/>
                  <a:gd name="T60" fmla="*/ 56 w 81"/>
                  <a:gd name="T61" fmla="*/ 47 h 87"/>
                  <a:gd name="T62" fmla="*/ 60 w 81"/>
                  <a:gd name="T63" fmla="*/ 47 h 87"/>
                  <a:gd name="T64" fmla="*/ 69 w 81"/>
                  <a:gd name="T65" fmla="*/ 31 h 87"/>
                  <a:gd name="T66" fmla="*/ 69 w 81"/>
                  <a:gd name="T67" fmla="*/ 37 h 87"/>
                  <a:gd name="T68" fmla="*/ 81 w 81"/>
                  <a:gd name="T69" fmla="*/ 23 h 87"/>
                  <a:gd name="T70" fmla="*/ 65 w 81"/>
                  <a:gd name="T71" fmla="*/ 19 h 87"/>
                  <a:gd name="T72" fmla="*/ 64 w 81"/>
                  <a:gd name="T73" fmla="*/ 18 h 87"/>
                  <a:gd name="T74" fmla="*/ 65 w 81"/>
                  <a:gd name="T75" fmla="*/ 15 h 87"/>
                  <a:gd name="T76" fmla="*/ 62 w 81"/>
                  <a:gd name="T77" fmla="*/ 13 h 87"/>
                  <a:gd name="T78" fmla="*/ 63 w 81"/>
                  <a:gd name="T79" fmla="*/ 8 h 87"/>
                  <a:gd name="T80" fmla="*/ 57 w 81"/>
                  <a:gd name="T8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7">
                    <a:moveTo>
                      <a:pt x="57" y="0"/>
                    </a:moveTo>
                    <a:cubicBezTo>
                      <a:pt x="53" y="0"/>
                      <a:pt x="49" y="1"/>
                      <a:pt x="45" y="1"/>
                    </a:cubicBezTo>
                    <a:cubicBezTo>
                      <a:pt x="45" y="1"/>
                      <a:pt x="45" y="1"/>
                      <a:pt x="45" y="1"/>
                    </a:cubicBezTo>
                    <a:cubicBezTo>
                      <a:pt x="44" y="1"/>
                      <a:pt x="43" y="1"/>
                      <a:pt x="42" y="1"/>
                    </a:cubicBezTo>
                    <a:cubicBezTo>
                      <a:pt x="41" y="1"/>
                      <a:pt x="39" y="1"/>
                      <a:pt x="38" y="1"/>
                    </a:cubicBezTo>
                    <a:cubicBezTo>
                      <a:pt x="38" y="1"/>
                      <a:pt x="37" y="1"/>
                      <a:pt x="37" y="1"/>
                    </a:cubicBezTo>
                    <a:cubicBezTo>
                      <a:pt x="35" y="4"/>
                      <a:pt x="32" y="6"/>
                      <a:pt x="32" y="10"/>
                    </a:cubicBezTo>
                    <a:cubicBezTo>
                      <a:pt x="31" y="11"/>
                      <a:pt x="31" y="13"/>
                      <a:pt x="31" y="14"/>
                    </a:cubicBezTo>
                    <a:cubicBezTo>
                      <a:pt x="36" y="14"/>
                      <a:pt x="35" y="14"/>
                      <a:pt x="36" y="20"/>
                    </a:cubicBezTo>
                    <a:cubicBezTo>
                      <a:pt x="33" y="18"/>
                      <a:pt x="31" y="18"/>
                      <a:pt x="27" y="17"/>
                    </a:cubicBezTo>
                    <a:cubicBezTo>
                      <a:pt x="29" y="16"/>
                      <a:pt x="29" y="14"/>
                      <a:pt x="31" y="13"/>
                    </a:cubicBezTo>
                    <a:cubicBezTo>
                      <a:pt x="29" y="12"/>
                      <a:pt x="27" y="11"/>
                      <a:pt x="24" y="10"/>
                    </a:cubicBezTo>
                    <a:cubicBezTo>
                      <a:pt x="24" y="11"/>
                      <a:pt x="23" y="13"/>
                      <a:pt x="22" y="14"/>
                    </a:cubicBezTo>
                    <a:cubicBezTo>
                      <a:pt x="21" y="15"/>
                      <a:pt x="18" y="15"/>
                      <a:pt x="18" y="16"/>
                    </a:cubicBezTo>
                    <a:cubicBezTo>
                      <a:pt x="17" y="19"/>
                      <a:pt x="20" y="19"/>
                      <a:pt x="18" y="22"/>
                    </a:cubicBezTo>
                    <a:cubicBezTo>
                      <a:pt x="15" y="21"/>
                      <a:pt x="3" y="18"/>
                      <a:pt x="4" y="14"/>
                    </a:cubicBezTo>
                    <a:cubicBezTo>
                      <a:pt x="3" y="16"/>
                      <a:pt x="1" y="19"/>
                      <a:pt x="1" y="21"/>
                    </a:cubicBezTo>
                    <a:cubicBezTo>
                      <a:pt x="1" y="25"/>
                      <a:pt x="2" y="28"/>
                      <a:pt x="1" y="31"/>
                    </a:cubicBezTo>
                    <a:cubicBezTo>
                      <a:pt x="1" y="35"/>
                      <a:pt x="0" y="38"/>
                      <a:pt x="1" y="41"/>
                    </a:cubicBezTo>
                    <a:cubicBezTo>
                      <a:pt x="2" y="40"/>
                      <a:pt x="3" y="39"/>
                      <a:pt x="4" y="38"/>
                    </a:cubicBezTo>
                    <a:cubicBezTo>
                      <a:pt x="6" y="40"/>
                      <a:pt x="7" y="42"/>
                      <a:pt x="9" y="45"/>
                    </a:cubicBezTo>
                    <a:cubicBezTo>
                      <a:pt x="8" y="45"/>
                      <a:pt x="8" y="45"/>
                      <a:pt x="8" y="45"/>
                    </a:cubicBezTo>
                    <a:cubicBezTo>
                      <a:pt x="8" y="45"/>
                      <a:pt x="7" y="45"/>
                      <a:pt x="7" y="45"/>
                    </a:cubicBezTo>
                    <a:cubicBezTo>
                      <a:pt x="6" y="45"/>
                      <a:pt x="6" y="45"/>
                      <a:pt x="6" y="45"/>
                    </a:cubicBezTo>
                    <a:cubicBezTo>
                      <a:pt x="4" y="45"/>
                      <a:pt x="2" y="45"/>
                      <a:pt x="1" y="42"/>
                    </a:cubicBezTo>
                    <a:cubicBezTo>
                      <a:pt x="2" y="48"/>
                      <a:pt x="4" y="52"/>
                      <a:pt x="1" y="57"/>
                    </a:cubicBezTo>
                    <a:cubicBezTo>
                      <a:pt x="0" y="61"/>
                      <a:pt x="3" y="62"/>
                      <a:pt x="6" y="63"/>
                    </a:cubicBezTo>
                    <a:cubicBezTo>
                      <a:pt x="6" y="61"/>
                      <a:pt x="5" y="60"/>
                      <a:pt x="5" y="59"/>
                    </a:cubicBezTo>
                    <a:cubicBezTo>
                      <a:pt x="5" y="59"/>
                      <a:pt x="6" y="59"/>
                      <a:pt x="6" y="59"/>
                    </a:cubicBezTo>
                    <a:cubicBezTo>
                      <a:pt x="13" y="59"/>
                      <a:pt x="21" y="73"/>
                      <a:pt x="14" y="75"/>
                    </a:cubicBezTo>
                    <a:cubicBezTo>
                      <a:pt x="14" y="75"/>
                      <a:pt x="14" y="75"/>
                      <a:pt x="14" y="75"/>
                    </a:cubicBezTo>
                    <a:cubicBezTo>
                      <a:pt x="13" y="75"/>
                      <a:pt x="13" y="75"/>
                      <a:pt x="13" y="74"/>
                    </a:cubicBezTo>
                    <a:cubicBezTo>
                      <a:pt x="12" y="74"/>
                      <a:pt x="12" y="74"/>
                      <a:pt x="12" y="74"/>
                    </a:cubicBezTo>
                    <a:cubicBezTo>
                      <a:pt x="12" y="74"/>
                      <a:pt x="11" y="74"/>
                      <a:pt x="11" y="75"/>
                    </a:cubicBezTo>
                    <a:cubicBezTo>
                      <a:pt x="10" y="76"/>
                      <a:pt x="12" y="77"/>
                      <a:pt x="13" y="77"/>
                    </a:cubicBezTo>
                    <a:cubicBezTo>
                      <a:pt x="15" y="77"/>
                      <a:pt x="16" y="76"/>
                      <a:pt x="17" y="76"/>
                    </a:cubicBezTo>
                    <a:cubicBezTo>
                      <a:pt x="16" y="79"/>
                      <a:pt x="15" y="82"/>
                      <a:pt x="16" y="84"/>
                    </a:cubicBezTo>
                    <a:cubicBezTo>
                      <a:pt x="17" y="84"/>
                      <a:pt x="17" y="84"/>
                      <a:pt x="17" y="84"/>
                    </a:cubicBezTo>
                    <a:cubicBezTo>
                      <a:pt x="17" y="82"/>
                      <a:pt x="17" y="82"/>
                      <a:pt x="17" y="82"/>
                    </a:cubicBezTo>
                    <a:cubicBezTo>
                      <a:pt x="19" y="82"/>
                      <a:pt x="19" y="82"/>
                      <a:pt x="19" y="82"/>
                    </a:cubicBezTo>
                    <a:cubicBezTo>
                      <a:pt x="22" y="82"/>
                      <a:pt x="25" y="83"/>
                      <a:pt x="28" y="83"/>
                    </a:cubicBezTo>
                    <a:cubicBezTo>
                      <a:pt x="32" y="84"/>
                      <a:pt x="35" y="85"/>
                      <a:pt x="38" y="85"/>
                    </a:cubicBezTo>
                    <a:cubicBezTo>
                      <a:pt x="38" y="85"/>
                      <a:pt x="38" y="85"/>
                      <a:pt x="39" y="85"/>
                    </a:cubicBezTo>
                    <a:cubicBezTo>
                      <a:pt x="40" y="85"/>
                      <a:pt x="40" y="85"/>
                      <a:pt x="40" y="85"/>
                    </a:cubicBezTo>
                    <a:cubicBezTo>
                      <a:pt x="40" y="87"/>
                      <a:pt x="40" y="87"/>
                      <a:pt x="40" y="87"/>
                    </a:cubicBezTo>
                    <a:cubicBezTo>
                      <a:pt x="42" y="86"/>
                      <a:pt x="42" y="85"/>
                      <a:pt x="44" y="85"/>
                    </a:cubicBezTo>
                    <a:cubicBezTo>
                      <a:pt x="44" y="85"/>
                      <a:pt x="45" y="85"/>
                      <a:pt x="46" y="86"/>
                    </a:cubicBezTo>
                    <a:cubicBezTo>
                      <a:pt x="48" y="83"/>
                      <a:pt x="46" y="82"/>
                      <a:pt x="44" y="81"/>
                    </a:cubicBezTo>
                    <a:cubicBezTo>
                      <a:pt x="43" y="80"/>
                      <a:pt x="43" y="80"/>
                      <a:pt x="42" y="80"/>
                    </a:cubicBezTo>
                    <a:cubicBezTo>
                      <a:pt x="42" y="80"/>
                      <a:pt x="42" y="80"/>
                      <a:pt x="42" y="80"/>
                    </a:cubicBezTo>
                    <a:cubicBezTo>
                      <a:pt x="41" y="80"/>
                      <a:pt x="41" y="80"/>
                      <a:pt x="41" y="80"/>
                    </a:cubicBezTo>
                    <a:cubicBezTo>
                      <a:pt x="40" y="80"/>
                      <a:pt x="40" y="80"/>
                      <a:pt x="40" y="79"/>
                    </a:cubicBezTo>
                    <a:cubicBezTo>
                      <a:pt x="39" y="74"/>
                      <a:pt x="43" y="77"/>
                      <a:pt x="45" y="74"/>
                    </a:cubicBezTo>
                    <a:cubicBezTo>
                      <a:pt x="46" y="72"/>
                      <a:pt x="44" y="69"/>
                      <a:pt x="43" y="67"/>
                    </a:cubicBezTo>
                    <a:cubicBezTo>
                      <a:pt x="42" y="61"/>
                      <a:pt x="43" y="60"/>
                      <a:pt x="47" y="57"/>
                    </a:cubicBezTo>
                    <a:cubicBezTo>
                      <a:pt x="46" y="56"/>
                      <a:pt x="44" y="55"/>
                      <a:pt x="43" y="54"/>
                    </a:cubicBezTo>
                    <a:cubicBezTo>
                      <a:pt x="44" y="53"/>
                      <a:pt x="46" y="53"/>
                      <a:pt x="47" y="53"/>
                    </a:cubicBezTo>
                    <a:cubicBezTo>
                      <a:pt x="48" y="53"/>
                      <a:pt x="49" y="53"/>
                      <a:pt x="50" y="54"/>
                    </a:cubicBezTo>
                    <a:cubicBezTo>
                      <a:pt x="51" y="54"/>
                      <a:pt x="52" y="54"/>
                      <a:pt x="53" y="54"/>
                    </a:cubicBezTo>
                    <a:cubicBezTo>
                      <a:pt x="54" y="54"/>
                      <a:pt x="54" y="54"/>
                      <a:pt x="54" y="54"/>
                    </a:cubicBezTo>
                    <a:cubicBezTo>
                      <a:pt x="54" y="52"/>
                      <a:pt x="52" y="47"/>
                      <a:pt x="54" y="47"/>
                    </a:cubicBezTo>
                    <a:cubicBezTo>
                      <a:pt x="55" y="47"/>
                      <a:pt x="55" y="47"/>
                      <a:pt x="56" y="47"/>
                    </a:cubicBezTo>
                    <a:cubicBezTo>
                      <a:pt x="57" y="48"/>
                      <a:pt x="58" y="48"/>
                      <a:pt x="59" y="48"/>
                    </a:cubicBezTo>
                    <a:cubicBezTo>
                      <a:pt x="59" y="48"/>
                      <a:pt x="59" y="48"/>
                      <a:pt x="60" y="47"/>
                    </a:cubicBezTo>
                    <a:cubicBezTo>
                      <a:pt x="62" y="45"/>
                      <a:pt x="62" y="30"/>
                      <a:pt x="67" y="30"/>
                    </a:cubicBezTo>
                    <a:cubicBezTo>
                      <a:pt x="67" y="30"/>
                      <a:pt x="68" y="30"/>
                      <a:pt x="69" y="31"/>
                    </a:cubicBezTo>
                    <a:cubicBezTo>
                      <a:pt x="66" y="34"/>
                      <a:pt x="64" y="36"/>
                      <a:pt x="69" y="36"/>
                    </a:cubicBezTo>
                    <a:cubicBezTo>
                      <a:pt x="69" y="37"/>
                      <a:pt x="69" y="37"/>
                      <a:pt x="69" y="37"/>
                    </a:cubicBezTo>
                    <a:cubicBezTo>
                      <a:pt x="70" y="37"/>
                      <a:pt x="70" y="37"/>
                      <a:pt x="71" y="37"/>
                    </a:cubicBezTo>
                    <a:cubicBezTo>
                      <a:pt x="77" y="33"/>
                      <a:pt x="79" y="30"/>
                      <a:pt x="81" y="23"/>
                    </a:cubicBezTo>
                    <a:cubicBezTo>
                      <a:pt x="78" y="23"/>
                      <a:pt x="75" y="22"/>
                      <a:pt x="72" y="21"/>
                    </a:cubicBezTo>
                    <a:cubicBezTo>
                      <a:pt x="69" y="21"/>
                      <a:pt x="68" y="19"/>
                      <a:pt x="65" y="19"/>
                    </a:cubicBezTo>
                    <a:cubicBezTo>
                      <a:pt x="65" y="18"/>
                      <a:pt x="64" y="18"/>
                      <a:pt x="64" y="18"/>
                    </a:cubicBezTo>
                    <a:cubicBezTo>
                      <a:pt x="64" y="18"/>
                      <a:pt x="64" y="18"/>
                      <a:pt x="64" y="18"/>
                    </a:cubicBezTo>
                    <a:cubicBezTo>
                      <a:pt x="62" y="20"/>
                      <a:pt x="62" y="23"/>
                      <a:pt x="60" y="23"/>
                    </a:cubicBezTo>
                    <a:cubicBezTo>
                      <a:pt x="61" y="20"/>
                      <a:pt x="63" y="18"/>
                      <a:pt x="65" y="15"/>
                    </a:cubicBezTo>
                    <a:cubicBezTo>
                      <a:pt x="62" y="15"/>
                      <a:pt x="60" y="14"/>
                      <a:pt x="58" y="14"/>
                    </a:cubicBezTo>
                    <a:cubicBezTo>
                      <a:pt x="59" y="13"/>
                      <a:pt x="61" y="13"/>
                      <a:pt x="62" y="13"/>
                    </a:cubicBezTo>
                    <a:cubicBezTo>
                      <a:pt x="63" y="13"/>
                      <a:pt x="63" y="13"/>
                      <a:pt x="64" y="13"/>
                    </a:cubicBezTo>
                    <a:cubicBezTo>
                      <a:pt x="64" y="12"/>
                      <a:pt x="63" y="10"/>
                      <a:pt x="63" y="8"/>
                    </a:cubicBezTo>
                    <a:cubicBezTo>
                      <a:pt x="62" y="7"/>
                      <a:pt x="64" y="4"/>
                      <a:pt x="63" y="3"/>
                    </a:cubicBezTo>
                    <a:cubicBezTo>
                      <a:pt x="62" y="1"/>
                      <a:pt x="59"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7" name="Freeform 365">
                <a:extLst>
                  <a:ext uri="{FF2B5EF4-FFF2-40B4-BE49-F238E27FC236}">
                    <a16:creationId xmlns:a16="http://schemas.microsoft.com/office/drawing/2014/main" id="{D31B244B-78C5-4530-B65C-016E532CA43A}"/>
                  </a:ext>
                </a:extLst>
              </p:cNvPr>
              <p:cNvSpPr>
                <a:spLocks/>
              </p:cNvSpPr>
              <p:nvPr/>
            </p:nvSpPr>
            <p:spPr bwMode="auto">
              <a:xfrm>
                <a:off x="9422841" y="6489489"/>
                <a:ext cx="33166" cy="62647"/>
              </a:xfrm>
              <a:custGeom>
                <a:avLst/>
                <a:gdLst>
                  <a:gd name="T0" fmla="*/ 7 w 11"/>
                  <a:gd name="T1" fmla="*/ 0 h 20"/>
                  <a:gd name="T2" fmla="*/ 0 w 11"/>
                  <a:gd name="T3" fmla="*/ 6 h 20"/>
                  <a:gd name="T4" fmla="*/ 2 w 11"/>
                  <a:gd name="T5" fmla="*/ 6 h 20"/>
                  <a:gd name="T6" fmla="*/ 2 w 11"/>
                  <a:gd name="T7" fmla="*/ 7 h 20"/>
                  <a:gd name="T8" fmla="*/ 2 w 11"/>
                  <a:gd name="T9" fmla="*/ 10 h 20"/>
                  <a:gd name="T10" fmla="*/ 2 w 11"/>
                  <a:gd name="T11" fmla="*/ 12 h 20"/>
                  <a:gd name="T12" fmla="*/ 3 w 11"/>
                  <a:gd name="T13" fmla="*/ 18 h 20"/>
                  <a:gd name="T14" fmla="*/ 3 w 11"/>
                  <a:gd name="T15" fmla="*/ 18 h 20"/>
                  <a:gd name="T16" fmla="*/ 5 w 11"/>
                  <a:gd name="T17" fmla="*/ 20 h 20"/>
                  <a:gd name="T18" fmla="*/ 9 w 11"/>
                  <a:gd name="T19" fmla="*/ 8 h 20"/>
                  <a:gd name="T20" fmla="*/ 5 w 11"/>
                  <a:gd name="T21" fmla="*/ 6 h 20"/>
                  <a:gd name="T22" fmla="*/ 11 w 11"/>
                  <a:gd name="T23" fmla="*/ 1 h 20"/>
                  <a:gd name="T24" fmla="*/ 7 w 11"/>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0">
                    <a:moveTo>
                      <a:pt x="7" y="0"/>
                    </a:moveTo>
                    <a:cubicBezTo>
                      <a:pt x="4" y="0"/>
                      <a:pt x="2" y="3"/>
                      <a:pt x="0" y="6"/>
                    </a:cubicBezTo>
                    <a:cubicBezTo>
                      <a:pt x="2" y="6"/>
                      <a:pt x="2" y="6"/>
                      <a:pt x="2" y="6"/>
                    </a:cubicBezTo>
                    <a:cubicBezTo>
                      <a:pt x="2" y="7"/>
                      <a:pt x="2" y="7"/>
                      <a:pt x="2" y="7"/>
                    </a:cubicBezTo>
                    <a:cubicBezTo>
                      <a:pt x="2" y="8"/>
                      <a:pt x="2" y="9"/>
                      <a:pt x="2" y="10"/>
                    </a:cubicBezTo>
                    <a:cubicBezTo>
                      <a:pt x="2" y="12"/>
                      <a:pt x="2" y="12"/>
                      <a:pt x="2" y="12"/>
                    </a:cubicBezTo>
                    <a:cubicBezTo>
                      <a:pt x="2" y="15"/>
                      <a:pt x="3" y="17"/>
                      <a:pt x="3" y="18"/>
                    </a:cubicBezTo>
                    <a:cubicBezTo>
                      <a:pt x="3" y="18"/>
                      <a:pt x="3" y="18"/>
                      <a:pt x="3" y="18"/>
                    </a:cubicBezTo>
                    <a:cubicBezTo>
                      <a:pt x="5" y="20"/>
                      <a:pt x="5" y="20"/>
                      <a:pt x="5" y="20"/>
                    </a:cubicBezTo>
                    <a:cubicBezTo>
                      <a:pt x="7" y="17"/>
                      <a:pt x="8" y="10"/>
                      <a:pt x="9" y="8"/>
                    </a:cubicBezTo>
                    <a:cubicBezTo>
                      <a:pt x="7" y="8"/>
                      <a:pt x="6" y="7"/>
                      <a:pt x="5" y="6"/>
                    </a:cubicBezTo>
                    <a:cubicBezTo>
                      <a:pt x="7" y="4"/>
                      <a:pt x="9" y="3"/>
                      <a:pt x="11" y="1"/>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8" name="Freeform 366">
                <a:extLst>
                  <a:ext uri="{FF2B5EF4-FFF2-40B4-BE49-F238E27FC236}">
                    <a16:creationId xmlns:a16="http://schemas.microsoft.com/office/drawing/2014/main" id="{FA230EDE-6313-4298-81CD-1809A9FA53E2}"/>
                  </a:ext>
                </a:extLst>
              </p:cNvPr>
              <p:cNvSpPr>
                <a:spLocks/>
              </p:cNvSpPr>
              <p:nvPr/>
            </p:nvSpPr>
            <p:spPr bwMode="auto">
              <a:xfrm>
                <a:off x="6253642" y="1263995"/>
                <a:ext cx="936019" cy="1485102"/>
              </a:xfrm>
              <a:custGeom>
                <a:avLst/>
                <a:gdLst>
                  <a:gd name="T0" fmla="*/ 179 w 295"/>
                  <a:gd name="T1" fmla="*/ 5 h 468"/>
                  <a:gd name="T2" fmla="*/ 166 w 295"/>
                  <a:gd name="T3" fmla="*/ 6 h 468"/>
                  <a:gd name="T4" fmla="*/ 145 w 295"/>
                  <a:gd name="T5" fmla="*/ 19 h 468"/>
                  <a:gd name="T6" fmla="*/ 138 w 295"/>
                  <a:gd name="T7" fmla="*/ 50 h 468"/>
                  <a:gd name="T8" fmla="*/ 127 w 295"/>
                  <a:gd name="T9" fmla="*/ 60 h 468"/>
                  <a:gd name="T10" fmla="*/ 109 w 295"/>
                  <a:gd name="T11" fmla="*/ 75 h 468"/>
                  <a:gd name="T12" fmla="*/ 81 w 295"/>
                  <a:gd name="T13" fmla="*/ 65 h 468"/>
                  <a:gd name="T14" fmla="*/ 35 w 295"/>
                  <a:gd name="T15" fmla="*/ 62 h 468"/>
                  <a:gd name="T16" fmla="*/ 9 w 295"/>
                  <a:gd name="T17" fmla="*/ 40 h 468"/>
                  <a:gd name="T18" fmla="*/ 2 w 295"/>
                  <a:gd name="T19" fmla="*/ 50 h 468"/>
                  <a:gd name="T20" fmla="*/ 75 w 295"/>
                  <a:gd name="T21" fmla="*/ 98 h 468"/>
                  <a:gd name="T22" fmla="*/ 75 w 295"/>
                  <a:gd name="T23" fmla="*/ 108 h 468"/>
                  <a:gd name="T24" fmla="*/ 74 w 295"/>
                  <a:gd name="T25" fmla="*/ 123 h 468"/>
                  <a:gd name="T26" fmla="*/ 80 w 295"/>
                  <a:gd name="T27" fmla="*/ 137 h 468"/>
                  <a:gd name="T28" fmla="*/ 85 w 295"/>
                  <a:gd name="T29" fmla="*/ 152 h 468"/>
                  <a:gd name="T30" fmla="*/ 85 w 295"/>
                  <a:gd name="T31" fmla="*/ 164 h 468"/>
                  <a:gd name="T32" fmla="*/ 79 w 295"/>
                  <a:gd name="T33" fmla="*/ 182 h 468"/>
                  <a:gd name="T34" fmla="*/ 91 w 295"/>
                  <a:gd name="T35" fmla="*/ 206 h 468"/>
                  <a:gd name="T36" fmla="*/ 120 w 295"/>
                  <a:gd name="T37" fmla="*/ 237 h 468"/>
                  <a:gd name="T38" fmla="*/ 120 w 295"/>
                  <a:gd name="T39" fmla="*/ 250 h 468"/>
                  <a:gd name="T40" fmla="*/ 94 w 295"/>
                  <a:gd name="T41" fmla="*/ 265 h 468"/>
                  <a:gd name="T42" fmla="*/ 68 w 295"/>
                  <a:gd name="T43" fmla="*/ 286 h 468"/>
                  <a:gd name="T44" fmla="*/ 36 w 295"/>
                  <a:gd name="T45" fmla="*/ 314 h 468"/>
                  <a:gd name="T46" fmla="*/ 15 w 295"/>
                  <a:gd name="T47" fmla="*/ 326 h 468"/>
                  <a:gd name="T48" fmla="*/ 6 w 295"/>
                  <a:gd name="T49" fmla="*/ 361 h 468"/>
                  <a:gd name="T50" fmla="*/ 14 w 295"/>
                  <a:gd name="T51" fmla="*/ 396 h 468"/>
                  <a:gd name="T52" fmla="*/ 10 w 295"/>
                  <a:gd name="T53" fmla="*/ 421 h 468"/>
                  <a:gd name="T54" fmla="*/ 19 w 295"/>
                  <a:gd name="T55" fmla="*/ 438 h 468"/>
                  <a:gd name="T56" fmla="*/ 58 w 295"/>
                  <a:gd name="T57" fmla="*/ 448 h 468"/>
                  <a:gd name="T58" fmla="*/ 41 w 295"/>
                  <a:gd name="T59" fmla="*/ 456 h 468"/>
                  <a:gd name="T60" fmla="*/ 39 w 295"/>
                  <a:gd name="T61" fmla="*/ 464 h 468"/>
                  <a:gd name="T62" fmla="*/ 61 w 295"/>
                  <a:gd name="T63" fmla="*/ 468 h 468"/>
                  <a:gd name="T64" fmla="*/ 78 w 295"/>
                  <a:gd name="T65" fmla="*/ 464 h 468"/>
                  <a:gd name="T66" fmla="*/ 99 w 295"/>
                  <a:gd name="T67" fmla="*/ 463 h 468"/>
                  <a:gd name="T68" fmla="*/ 140 w 295"/>
                  <a:gd name="T69" fmla="*/ 453 h 468"/>
                  <a:gd name="T70" fmla="*/ 142 w 295"/>
                  <a:gd name="T71" fmla="*/ 444 h 468"/>
                  <a:gd name="T72" fmla="*/ 179 w 295"/>
                  <a:gd name="T73" fmla="*/ 442 h 468"/>
                  <a:gd name="T74" fmla="*/ 227 w 295"/>
                  <a:gd name="T75" fmla="*/ 409 h 468"/>
                  <a:gd name="T76" fmla="*/ 288 w 295"/>
                  <a:gd name="T77" fmla="*/ 352 h 468"/>
                  <a:gd name="T78" fmla="*/ 292 w 295"/>
                  <a:gd name="T79" fmla="*/ 333 h 468"/>
                  <a:gd name="T80" fmla="*/ 253 w 295"/>
                  <a:gd name="T81" fmla="*/ 297 h 468"/>
                  <a:gd name="T82" fmla="*/ 259 w 295"/>
                  <a:gd name="T83" fmla="*/ 276 h 468"/>
                  <a:gd name="T84" fmla="*/ 253 w 295"/>
                  <a:gd name="T85" fmla="*/ 258 h 468"/>
                  <a:gd name="T86" fmla="*/ 241 w 295"/>
                  <a:gd name="T87" fmla="*/ 245 h 468"/>
                  <a:gd name="T88" fmla="*/ 242 w 295"/>
                  <a:gd name="T89" fmla="*/ 225 h 468"/>
                  <a:gd name="T90" fmla="*/ 241 w 295"/>
                  <a:gd name="T91" fmla="*/ 211 h 468"/>
                  <a:gd name="T92" fmla="*/ 231 w 295"/>
                  <a:gd name="T93" fmla="*/ 163 h 468"/>
                  <a:gd name="T94" fmla="*/ 226 w 295"/>
                  <a:gd name="T95" fmla="*/ 148 h 468"/>
                  <a:gd name="T96" fmla="*/ 231 w 295"/>
                  <a:gd name="T97" fmla="*/ 98 h 468"/>
                  <a:gd name="T98" fmla="*/ 211 w 295"/>
                  <a:gd name="T99" fmla="*/ 84 h 468"/>
                  <a:gd name="T100" fmla="*/ 212 w 295"/>
                  <a:gd name="T101" fmla="*/ 67 h 468"/>
                  <a:gd name="T102" fmla="*/ 203 w 295"/>
                  <a:gd name="T103" fmla="*/ 56 h 468"/>
                  <a:gd name="T104" fmla="*/ 222 w 295"/>
                  <a:gd name="T105" fmla="*/ 48 h 468"/>
                  <a:gd name="T106" fmla="*/ 222 w 295"/>
                  <a:gd name="T107" fmla="*/ 46 h 468"/>
                  <a:gd name="T108" fmla="*/ 228 w 295"/>
                  <a:gd name="T109" fmla="*/ 31 h 468"/>
                  <a:gd name="T110" fmla="*/ 216 w 295"/>
                  <a:gd name="T111" fmla="*/ 15 h 468"/>
                  <a:gd name="T112" fmla="*/ 200 w 295"/>
                  <a:gd name="T113" fmla="*/ 5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5" h="468">
                    <a:moveTo>
                      <a:pt x="191" y="0"/>
                    </a:moveTo>
                    <a:cubicBezTo>
                      <a:pt x="190" y="0"/>
                      <a:pt x="189" y="0"/>
                      <a:pt x="188" y="1"/>
                    </a:cubicBezTo>
                    <a:cubicBezTo>
                      <a:pt x="188" y="1"/>
                      <a:pt x="188" y="1"/>
                      <a:pt x="187" y="2"/>
                    </a:cubicBezTo>
                    <a:cubicBezTo>
                      <a:pt x="186" y="2"/>
                      <a:pt x="185" y="3"/>
                      <a:pt x="183" y="4"/>
                    </a:cubicBezTo>
                    <a:cubicBezTo>
                      <a:pt x="182" y="4"/>
                      <a:pt x="181" y="5"/>
                      <a:pt x="179" y="5"/>
                    </a:cubicBezTo>
                    <a:cubicBezTo>
                      <a:pt x="178" y="5"/>
                      <a:pt x="177" y="6"/>
                      <a:pt x="176" y="6"/>
                    </a:cubicBezTo>
                    <a:cubicBezTo>
                      <a:pt x="175" y="6"/>
                      <a:pt x="175" y="6"/>
                      <a:pt x="175" y="6"/>
                    </a:cubicBezTo>
                    <a:cubicBezTo>
                      <a:pt x="174" y="6"/>
                      <a:pt x="173" y="6"/>
                      <a:pt x="172" y="6"/>
                    </a:cubicBezTo>
                    <a:cubicBezTo>
                      <a:pt x="168" y="6"/>
                      <a:pt x="168" y="6"/>
                      <a:pt x="168" y="6"/>
                    </a:cubicBezTo>
                    <a:cubicBezTo>
                      <a:pt x="168" y="6"/>
                      <a:pt x="167" y="6"/>
                      <a:pt x="166" y="6"/>
                    </a:cubicBezTo>
                    <a:cubicBezTo>
                      <a:pt x="160" y="7"/>
                      <a:pt x="158" y="7"/>
                      <a:pt x="155" y="12"/>
                    </a:cubicBezTo>
                    <a:cubicBezTo>
                      <a:pt x="154" y="12"/>
                      <a:pt x="154" y="12"/>
                      <a:pt x="154" y="12"/>
                    </a:cubicBezTo>
                    <a:cubicBezTo>
                      <a:pt x="153" y="14"/>
                      <a:pt x="151" y="15"/>
                      <a:pt x="149" y="16"/>
                    </a:cubicBezTo>
                    <a:cubicBezTo>
                      <a:pt x="149" y="16"/>
                      <a:pt x="149" y="16"/>
                      <a:pt x="149" y="16"/>
                    </a:cubicBezTo>
                    <a:cubicBezTo>
                      <a:pt x="147" y="17"/>
                      <a:pt x="146" y="18"/>
                      <a:pt x="145" y="19"/>
                    </a:cubicBezTo>
                    <a:cubicBezTo>
                      <a:pt x="144" y="19"/>
                      <a:pt x="144" y="19"/>
                      <a:pt x="144" y="19"/>
                    </a:cubicBezTo>
                    <a:cubicBezTo>
                      <a:pt x="143" y="21"/>
                      <a:pt x="143" y="22"/>
                      <a:pt x="142" y="25"/>
                    </a:cubicBezTo>
                    <a:cubicBezTo>
                      <a:pt x="141" y="30"/>
                      <a:pt x="141" y="30"/>
                      <a:pt x="141" y="30"/>
                    </a:cubicBezTo>
                    <a:cubicBezTo>
                      <a:pt x="140" y="33"/>
                      <a:pt x="140" y="36"/>
                      <a:pt x="140" y="39"/>
                    </a:cubicBezTo>
                    <a:cubicBezTo>
                      <a:pt x="139" y="43"/>
                      <a:pt x="139" y="47"/>
                      <a:pt x="138" y="50"/>
                    </a:cubicBezTo>
                    <a:cubicBezTo>
                      <a:pt x="137" y="52"/>
                      <a:pt x="137" y="54"/>
                      <a:pt x="136" y="56"/>
                    </a:cubicBezTo>
                    <a:cubicBezTo>
                      <a:pt x="135" y="57"/>
                      <a:pt x="135" y="57"/>
                      <a:pt x="135" y="57"/>
                    </a:cubicBezTo>
                    <a:cubicBezTo>
                      <a:pt x="134" y="59"/>
                      <a:pt x="132" y="60"/>
                      <a:pt x="130" y="60"/>
                    </a:cubicBezTo>
                    <a:cubicBezTo>
                      <a:pt x="129" y="60"/>
                      <a:pt x="128" y="60"/>
                      <a:pt x="128" y="60"/>
                    </a:cubicBezTo>
                    <a:cubicBezTo>
                      <a:pt x="127" y="60"/>
                      <a:pt x="127" y="60"/>
                      <a:pt x="127" y="60"/>
                    </a:cubicBezTo>
                    <a:cubicBezTo>
                      <a:pt x="119" y="69"/>
                      <a:pt x="119" y="69"/>
                      <a:pt x="119" y="69"/>
                    </a:cubicBezTo>
                    <a:cubicBezTo>
                      <a:pt x="119" y="69"/>
                      <a:pt x="119" y="69"/>
                      <a:pt x="119" y="69"/>
                    </a:cubicBezTo>
                    <a:cubicBezTo>
                      <a:pt x="118" y="70"/>
                      <a:pt x="118" y="70"/>
                      <a:pt x="118" y="70"/>
                    </a:cubicBezTo>
                    <a:cubicBezTo>
                      <a:pt x="116" y="72"/>
                      <a:pt x="114" y="75"/>
                      <a:pt x="111" y="75"/>
                    </a:cubicBezTo>
                    <a:cubicBezTo>
                      <a:pt x="110" y="75"/>
                      <a:pt x="110" y="75"/>
                      <a:pt x="109" y="75"/>
                    </a:cubicBezTo>
                    <a:cubicBezTo>
                      <a:pt x="94" y="68"/>
                      <a:pt x="94" y="68"/>
                      <a:pt x="94" y="68"/>
                    </a:cubicBezTo>
                    <a:cubicBezTo>
                      <a:pt x="93" y="68"/>
                      <a:pt x="92" y="67"/>
                      <a:pt x="90" y="66"/>
                    </a:cubicBezTo>
                    <a:cubicBezTo>
                      <a:pt x="88" y="65"/>
                      <a:pt x="84" y="63"/>
                      <a:pt x="82" y="63"/>
                    </a:cubicBezTo>
                    <a:cubicBezTo>
                      <a:pt x="82" y="63"/>
                      <a:pt x="82" y="63"/>
                      <a:pt x="81" y="63"/>
                    </a:cubicBezTo>
                    <a:cubicBezTo>
                      <a:pt x="81" y="64"/>
                      <a:pt x="81" y="65"/>
                      <a:pt x="81" y="65"/>
                    </a:cubicBezTo>
                    <a:cubicBezTo>
                      <a:pt x="80" y="66"/>
                      <a:pt x="79" y="67"/>
                      <a:pt x="77" y="67"/>
                    </a:cubicBezTo>
                    <a:cubicBezTo>
                      <a:pt x="43" y="68"/>
                      <a:pt x="43" y="68"/>
                      <a:pt x="43" y="68"/>
                    </a:cubicBezTo>
                    <a:cubicBezTo>
                      <a:pt x="43" y="68"/>
                      <a:pt x="42" y="68"/>
                      <a:pt x="42" y="68"/>
                    </a:cubicBezTo>
                    <a:cubicBezTo>
                      <a:pt x="41" y="68"/>
                      <a:pt x="40" y="68"/>
                      <a:pt x="39" y="67"/>
                    </a:cubicBezTo>
                    <a:cubicBezTo>
                      <a:pt x="36" y="67"/>
                      <a:pt x="36" y="65"/>
                      <a:pt x="35" y="62"/>
                    </a:cubicBezTo>
                    <a:cubicBezTo>
                      <a:pt x="35" y="62"/>
                      <a:pt x="35" y="62"/>
                      <a:pt x="35" y="62"/>
                    </a:cubicBezTo>
                    <a:cubicBezTo>
                      <a:pt x="35" y="60"/>
                      <a:pt x="30" y="55"/>
                      <a:pt x="24" y="50"/>
                    </a:cubicBezTo>
                    <a:cubicBezTo>
                      <a:pt x="12" y="42"/>
                      <a:pt x="12" y="42"/>
                      <a:pt x="12" y="42"/>
                    </a:cubicBezTo>
                    <a:cubicBezTo>
                      <a:pt x="11" y="41"/>
                      <a:pt x="10" y="40"/>
                      <a:pt x="9" y="40"/>
                    </a:cubicBezTo>
                    <a:cubicBezTo>
                      <a:pt x="9" y="40"/>
                      <a:pt x="9" y="40"/>
                      <a:pt x="9" y="40"/>
                    </a:cubicBezTo>
                    <a:cubicBezTo>
                      <a:pt x="9" y="40"/>
                      <a:pt x="8" y="40"/>
                      <a:pt x="7" y="40"/>
                    </a:cubicBezTo>
                    <a:cubicBezTo>
                      <a:pt x="6" y="41"/>
                      <a:pt x="6" y="41"/>
                      <a:pt x="5" y="41"/>
                    </a:cubicBezTo>
                    <a:cubicBezTo>
                      <a:pt x="5" y="41"/>
                      <a:pt x="5" y="42"/>
                      <a:pt x="5" y="42"/>
                    </a:cubicBezTo>
                    <a:cubicBezTo>
                      <a:pt x="5" y="43"/>
                      <a:pt x="5" y="44"/>
                      <a:pt x="5" y="46"/>
                    </a:cubicBezTo>
                    <a:cubicBezTo>
                      <a:pt x="5" y="46"/>
                      <a:pt x="5" y="48"/>
                      <a:pt x="2" y="50"/>
                    </a:cubicBezTo>
                    <a:cubicBezTo>
                      <a:pt x="1" y="51"/>
                      <a:pt x="1" y="51"/>
                      <a:pt x="1" y="51"/>
                    </a:cubicBezTo>
                    <a:cubicBezTo>
                      <a:pt x="0" y="51"/>
                      <a:pt x="0" y="51"/>
                      <a:pt x="0" y="51"/>
                    </a:cubicBezTo>
                    <a:cubicBezTo>
                      <a:pt x="63" y="87"/>
                      <a:pt x="63" y="87"/>
                      <a:pt x="63" y="87"/>
                    </a:cubicBezTo>
                    <a:cubicBezTo>
                      <a:pt x="67" y="90"/>
                      <a:pt x="69" y="92"/>
                      <a:pt x="73" y="95"/>
                    </a:cubicBezTo>
                    <a:cubicBezTo>
                      <a:pt x="75" y="98"/>
                      <a:pt x="75" y="98"/>
                      <a:pt x="75" y="98"/>
                    </a:cubicBezTo>
                    <a:cubicBezTo>
                      <a:pt x="76" y="99"/>
                      <a:pt x="76" y="99"/>
                      <a:pt x="77" y="100"/>
                    </a:cubicBezTo>
                    <a:cubicBezTo>
                      <a:pt x="78" y="101"/>
                      <a:pt x="78" y="102"/>
                      <a:pt x="78" y="103"/>
                    </a:cubicBezTo>
                    <a:cubicBezTo>
                      <a:pt x="78" y="104"/>
                      <a:pt x="78" y="104"/>
                      <a:pt x="78" y="104"/>
                    </a:cubicBezTo>
                    <a:cubicBezTo>
                      <a:pt x="78" y="104"/>
                      <a:pt x="78" y="104"/>
                      <a:pt x="78" y="104"/>
                    </a:cubicBezTo>
                    <a:cubicBezTo>
                      <a:pt x="78" y="107"/>
                      <a:pt x="76" y="107"/>
                      <a:pt x="75" y="108"/>
                    </a:cubicBezTo>
                    <a:cubicBezTo>
                      <a:pt x="74" y="109"/>
                      <a:pt x="75" y="111"/>
                      <a:pt x="75" y="113"/>
                    </a:cubicBezTo>
                    <a:cubicBezTo>
                      <a:pt x="75" y="114"/>
                      <a:pt x="75" y="116"/>
                      <a:pt x="75" y="117"/>
                    </a:cubicBezTo>
                    <a:cubicBezTo>
                      <a:pt x="75" y="119"/>
                      <a:pt x="75" y="121"/>
                      <a:pt x="74" y="123"/>
                    </a:cubicBezTo>
                    <a:cubicBezTo>
                      <a:pt x="74" y="123"/>
                      <a:pt x="74" y="123"/>
                      <a:pt x="74" y="123"/>
                    </a:cubicBezTo>
                    <a:cubicBezTo>
                      <a:pt x="74" y="123"/>
                      <a:pt x="74" y="123"/>
                      <a:pt x="74" y="123"/>
                    </a:cubicBezTo>
                    <a:cubicBezTo>
                      <a:pt x="74" y="124"/>
                      <a:pt x="75" y="124"/>
                      <a:pt x="75" y="124"/>
                    </a:cubicBezTo>
                    <a:cubicBezTo>
                      <a:pt x="78" y="125"/>
                      <a:pt x="81" y="128"/>
                      <a:pt x="82" y="130"/>
                    </a:cubicBezTo>
                    <a:cubicBezTo>
                      <a:pt x="82" y="131"/>
                      <a:pt x="82" y="131"/>
                      <a:pt x="82" y="131"/>
                    </a:cubicBezTo>
                    <a:cubicBezTo>
                      <a:pt x="83" y="133"/>
                      <a:pt x="82" y="134"/>
                      <a:pt x="81" y="136"/>
                    </a:cubicBezTo>
                    <a:cubicBezTo>
                      <a:pt x="80" y="137"/>
                      <a:pt x="80" y="137"/>
                      <a:pt x="80" y="137"/>
                    </a:cubicBezTo>
                    <a:cubicBezTo>
                      <a:pt x="79" y="137"/>
                      <a:pt x="78" y="138"/>
                      <a:pt x="78" y="139"/>
                    </a:cubicBezTo>
                    <a:cubicBezTo>
                      <a:pt x="77" y="139"/>
                      <a:pt x="77" y="140"/>
                      <a:pt x="77" y="140"/>
                    </a:cubicBezTo>
                    <a:cubicBezTo>
                      <a:pt x="77" y="142"/>
                      <a:pt x="80" y="145"/>
                      <a:pt x="82" y="148"/>
                    </a:cubicBezTo>
                    <a:cubicBezTo>
                      <a:pt x="83" y="149"/>
                      <a:pt x="84" y="150"/>
                      <a:pt x="85" y="151"/>
                    </a:cubicBezTo>
                    <a:cubicBezTo>
                      <a:pt x="85" y="152"/>
                      <a:pt x="85" y="152"/>
                      <a:pt x="85" y="152"/>
                    </a:cubicBezTo>
                    <a:cubicBezTo>
                      <a:pt x="86" y="153"/>
                      <a:pt x="87" y="154"/>
                      <a:pt x="88" y="156"/>
                    </a:cubicBezTo>
                    <a:cubicBezTo>
                      <a:pt x="88" y="157"/>
                      <a:pt x="88" y="158"/>
                      <a:pt x="88" y="159"/>
                    </a:cubicBezTo>
                    <a:cubicBezTo>
                      <a:pt x="87" y="165"/>
                      <a:pt x="87" y="165"/>
                      <a:pt x="87" y="165"/>
                    </a:cubicBezTo>
                    <a:cubicBezTo>
                      <a:pt x="85" y="163"/>
                      <a:pt x="85" y="163"/>
                      <a:pt x="85" y="163"/>
                    </a:cubicBezTo>
                    <a:cubicBezTo>
                      <a:pt x="85" y="164"/>
                      <a:pt x="85" y="164"/>
                      <a:pt x="85" y="164"/>
                    </a:cubicBezTo>
                    <a:cubicBezTo>
                      <a:pt x="85" y="165"/>
                      <a:pt x="85" y="165"/>
                      <a:pt x="85" y="165"/>
                    </a:cubicBezTo>
                    <a:cubicBezTo>
                      <a:pt x="84" y="167"/>
                      <a:pt x="83" y="169"/>
                      <a:pt x="82" y="171"/>
                    </a:cubicBezTo>
                    <a:cubicBezTo>
                      <a:pt x="81" y="174"/>
                      <a:pt x="79" y="178"/>
                      <a:pt x="79" y="180"/>
                    </a:cubicBezTo>
                    <a:cubicBezTo>
                      <a:pt x="79" y="181"/>
                      <a:pt x="79" y="181"/>
                      <a:pt x="79" y="182"/>
                    </a:cubicBezTo>
                    <a:cubicBezTo>
                      <a:pt x="79" y="182"/>
                      <a:pt x="79" y="182"/>
                      <a:pt x="79" y="182"/>
                    </a:cubicBezTo>
                    <a:cubicBezTo>
                      <a:pt x="80" y="183"/>
                      <a:pt x="80" y="183"/>
                      <a:pt x="80" y="183"/>
                    </a:cubicBezTo>
                    <a:cubicBezTo>
                      <a:pt x="80" y="183"/>
                      <a:pt x="81" y="184"/>
                      <a:pt x="82" y="185"/>
                    </a:cubicBezTo>
                    <a:cubicBezTo>
                      <a:pt x="83" y="186"/>
                      <a:pt x="85" y="187"/>
                      <a:pt x="86" y="190"/>
                    </a:cubicBezTo>
                    <a:cubicBezTo>
                      <a:pt x="92" y="205"/>
                      <a:pt x="92" y="205"/>
                      <a:pt x="92" y="205"/>
                    </a:cubicBezTo>
                    <a:cubicBezTo>
                      <a:pt x="91" y="206"/>
                      <a:pt x="91" y="206"/>
                      <a:pt x="91" y="206"/>
                    </a:cubicBezTo>
                    <a:cubicBezTo>
                      <a:pt x="93" y="206"/>
                      <a:pt x="98" y="207"/>
                      <a:pt x="99" y="208"/>
                    </a:cubicBezTo>
                    <a:cubicBezTo>
                      <a:pt x="103" y="211"/>
                      <a:pt x="105" y="212"/>
                      <a:pt x="109" y="214"/>
                    </a:cubicBezTo>
                    <a:cubicBezTo>
                      <a:pt x="112" y="215"/>
                      <a:pt x="119" y="216"/>
                      <a:pt x="121" y="219"/>
                    </a:cubicBezTo>
                    <a:cubicBezTo>
                      <a:pt x="122" y="221"/>
                      <a:pt x="122" y="228"/>
                      <a:pt x="122" y="231"/>
                    </a:cubicBezTo>
                    <a:cubicBezTo>
                      <a:pt x="121" y="234"/>
                      <a:pt x="118" y="235"/>
                      <a:pt x="120" y="237"/>
                    </a:cubicBezTo>
                    <a:cubicBezTo>
                      <a:pt x="121" y="238"/>
                      <a:pt x="123" y="238"/>
                      <a:pt x="124" y="239"/>
                    </a:cubicBezTo>
                    <a:cubicBezTo>
                      <a:pt x="125" y="241"/>
                      <a:pt x="126" y="243"/>
                      <a:pt x="127" y="245"/>
                    </a:cubicBezTo>
                    <a:cubicBezTo>
                      <a:pt x="124" y="244"/>
                      <a:pt x="122" y="243"/>
                      <a:pt x="121" y="243"/>
                    </a:cubicBezTo>
                    <a:cubicBezTo>
                      <a:pt x="120" y="243"/>
                      <a:pt x="120" y="245"/>
                      <a:pt x="124" y="248"/>
                    </a:cubicBezTo>
                    <a:cubicBezTo>
                      <a:pt x="123" y="250"/>
                      <a:pt x="121" y="250"/>
                      <a:pt x="120" y="250"/>
                    </a:cubicBezTo>
                    <a:cubicBezTo>
                      <a:pt x="119" y="250"/>
                      <a:pt x="117" y="249"/>
                      <a:pt x="115" y="248"/>
                    </a:cubicBezTo>
                    <a:cubicBezTo>
                      <a:pt x="114" y="248"/>
                      <a:pt x="114" y="248"/>
                      <a:pt x="113" y="248"/>
                    </a:cubicBezTo>
                    <a:cubicBezTo>
                      <a:pt x="111" y="248"/>
                      <a:pt x="108" y="250"/>
                      <a:pt x="106" y="251"/>
                    </a:cubicBezTo>
                    <a:cubicBezTo>
                      <a:pt x="102" y="252"/>
                      <a:pt x="101" y="253"/>
                      <a:pt x="99" y="256"/>
                    </a:cubicBezTo>
                    <a:cubicBezTo>
                      <a:pt x="97" y="259"/>
                      <a:pt x="96" y="263"/>
                      <a:pt x="94" y="265"/>
                    </a:cubicBezTo>
                    <a:cubicBezTo>
                      <a:pt x="88" y="269"/>
                      <a:pt x="83" y="274"/>
                      <a:pt x="78" y="280"/>
                    </a:cubicBezTo>
                    <a:cubicBezTo>
                      <a:pt x="77" y="281"/>
                      <a:pt x="75" y="286"/>
                      <a:pt x="74" y="286"/>
                    </a:cubicBezTo>
                    <a:cubicBezTo>
                      <a:pt x="74" y="286"/>
                      <a:pt x="74" y="286"/>
                      <a:pt x="74" y="286"/>
                    </a:cubicBezTo>
                    <a:cubicBezTo>
                      <a:pt x="73" y="286"/>
                      <a:pt x="70" y="285"/>
                      <a:pt x="69" y="285"/>
                    </a:cubicBezTo>
                    <a:cubicBezTo>
                      <a:pt x="68" y="285"/>
                      <a:pt x="68" y="285"/>
                      <a:pt x="68" y="286"/>
                    </a:cubicBezTo>
                    <a:cubicBezTo>
                      <a:pt x="67" y="288"/>
                      <a:pt x="69" y="291"/>
                      <a:pt x="67" y="292"/>
                    </a:cubicBezTo>
                    <a:cubicBezTo>
                      <a:pt x="62" y="293"/>
                      <a:pt x="61" y="295"/>
                      <a:pt x="58" y="298"/>
                    </a:cubicBezTo>
                    <a:cubicBezTo>
                      <a:pt x="56" y="300"/>
                      <a:pt x="54" y="302"/>
                      <a:pt x="51" y="303"/>
                    </a:cubicBezTo>
                    <a:cubicBezTo>
                      <a:pt x="48" y="304"/>
                      <a:pt x="44" y="305"/>
                      <a:pt x="41" y="307"/>
                    </a:cubicBezTo>
                    <a:cubicBezTo>
                      <a:pt x="39" y="308"/>
                      <a:pt x="33" y="311"/>
                      <a:pt x="36" y="314"/>
                    </a:cubicBezTo>
                    <a:cubicBezTo>
                      <a:pt x="39" y="318"/>
                      <a:pt x="40" y="319"/>
                      <a:pt x="35" y="322"/>
                    </a:cubicBezTo>
                    <a:cubicBezTo>
                      <a:pt x="33" y="323"/>
                      <a:pt x="30" y="323"/>
                      <a:pt x="29" y="326"/>
                    </a:cubicBezTo>
                    <a:cubicBezTo>
                      <a:pt x="28" y="323"/>
                      <a:pt x="28" y="321"/>
                      <a:pt x="25" y="321"/>
                    </a:cubicBezTo>
                    <a:cubicBezTo>
                      <a:pt x="25" y="321"/>
                      <a:pt x="24" y="321"/>
                      <a:pt x="24" y="321"/>
                    </a:cubicBezTo>
                    <a:cubicBezTo>
                      <a:pt x="19" y="322"/>
                      <a:pt x="18" y="322"/>
                      <a:pt x="15" y="326"/>
                    </a:cubicBezTo>
                    <a:cubicBezTo>
                      <a:pt x="15" y="326"/>
                      <a:pt x="19" y="330"/>
                      <a:pt x="19" y="330"/>
                    </a:cubicBezTo>
                    <a:cubicBezTo>
                      <a:pt x="20" y="333"/>
                      <a:pt x="16" y="333"/>
                      <a:pt x="14" y="334"/>
                    </a:cubicBezTo>
                    <a:cubicBezTo>
                      <a:pt x="10" y="335"/>
                      <a:pt x="7" y="339"/>
                      <a:pt x="5" y="343"/>
                    </a:cubicBezTo>
                    <a:cubicBezTo>
                      <a:pt x="2" y="348"/>
                      <a:pt x="3" y="350"/>
                      <a:pt x="4" y="356"/>
                    </a:cubicBezTo>
                    <a:cubicBezTo>
                      <a:pt x="4" y="358"/>
                      <a:pt x="5" y="360"/>
                      <a:pt x="6" y="361"/>
                    </a:cubicBezTo>
                    <a:cubicBezTo>
                      <a:pt x="7" y="363"/>
                      <a:pt x="9" y="362"/>
                      <a:pt x="10" y="364"/>
                    </a:cubicBezTo>
                    <a:cubicBezTo>
                      <a:pt x="12" y="369"/>
                      <a:pt x="11" y="371"/>
                      <a:pt x="9" y="376"/>
                    </a:cubicBezTo>
                    <a:cubicBezTo>
                      <a:pt x="8" y="381"/>
                      <a:pt x="12" y="384"/>
                      <a:pt x="15" y="388"/>
                    </a:cubicBezTo>
                    <a:cubicBezTo>
                      <a:pt x="17" y="391"/>
                      <a:pt x="18" y="394"/>
                      <a:pt x="20" y="397"/>
                    </a:cubicBezTo>
                    <a:cubicBezTo>
                      <a:pt x="18" y="397"/>
                      <a:pt x="16" y="396"/>
                      <a:pt x="14" y="396"/>
                    </a:cubicBezTo>
                    <a:cubicBezTo>
                      <a:pt x="14" y="396"/>
                      <a:pt x="13" y="396"/>
                      <a:pt x="13" y="397"/>
                    </a:cubicBezTo>
                    <a:cubicBezTo>
                      <a:pt x="14" y="398"/>
                      <a:pt x="13" y="400"/>
                      <a:pt x="13" y="402"/>
                    </a:cubicBezTo>
                    <a:cubicBezTo>
                      <a:pt x="13" y="404"/>
                      <a:pt x="16" y="406"/>
                      <a:pt x="15" y="408"/>
                    </a:cubicBezTo>
                    <a:cubicBezTo>
                      <a:pt x="15" y="412"/>
                      <a:pt x="15" y="413"/>
                      <a:pt x="12" y="415"/>
                    </a:cubicBezTo>
                    <a:cubicBezTo>
                      <a:pt x="8" y="418"/>
                      <a:pt x="8" y="417"/>
                      <a:pt x="10" y="421"/>
                    </a:cubicBezTo>
                    <a:cubicBezTo>
                      <a:pt x="11" y="424"/>
                      <a:pt x="12" y="426"/>
                      <a:pt x="12" y="429"/>
                    </a:cubicBezTo>
                    <a:cubicBezTo>
                      <a:pt x="12" y="431"/>
                      <a:pt x="11" y="435"/>
                      <a:pt x="12" y="437"/>
                    </a:cubicBezTo>
                    <a:cubicBezTo>
                      <a:pt x="13" y="439"/>
                      <a:pt x="15" y="442"/>
                      <a:pt x="17" y="442"/>
                    </a:cubicBezTo>
                    <a:cubicBezTo>
                      <a:pt x="17" y="442"/>
                      <a:pt x="17" y="442"/>
                      <a:pt x="17" y="442"/>
                    </a:cubicBezTo>
                    <a:cubicBezTo>
                      <a:pt x="19" y="442"/>
                      <a:pt x="20" y="439"/>
                      <a:pt x="19" y="438"/>
                    </a:cubicBezTo>
                    <a:cubicBezTo>
                      <a:pt x="24" y="438"/>
                      <a:pt x="27" y="442"/>
                      <a:pt x="31" y="444"/>
                    </a:cubicBezTo>
                    <a:cubicBezTo>
                      <a:pt x="33" y="445"/>
                      <a:pt x="45" y="448"/>
                      <a:pt x="45" y="449"/>
                    </a:cubicBezTo>
                    <a:cubicBezTo>
                      <a:pt x="44" y="452"/>
                      <a:pt x="43" y="454"/>
                      <a:pt x="45" y="454"/>
                    </a:cubicBezTo>
                    <a:cubicBezTo>
                      <a:pt x="45" y="454"/>
                      <a:pt x="46" y="454"/>
                      <a:pt x="47" y="454"/>
                    </a:cubicBezTo>
                    <a:cubicBezTo>
                      <a:pt x="51" y="453"/>
                      <a:pt x="55" y="450"/>
                      <a:pt x="58" y="448"/>
                    </a:cubicBezTo>
                    <a:cubicBezTo>
                      <a:pt x="58" y="450"/>
                      <a:pt x="56" y="452"/>
                      <a:pt x="54" y="454"/>
                    </a:cubicBezTo>
                    <a:cubicBezTo>
                      <a:pt x="55" y="453"/>
                      <a:pt x="55" y="452"/>
                      <a:pt x="55" y="451"/>
                    </a:cubicBezTo>
                    <a:cubicBezTo>
                      <a:pt x="53" y="451"/>
                      <a:pt x="53" y="453"/>
                      <a:pt x="51" y="454"/>
                    </a:cubicBezTo>
                    <a:cubicBezTo>
                      <a:pt x="50" y="454"/>
                      <a:pt x="47" y="454"/>
                      <a:pt x="45" y="455"/>
                    </a:cubicBezTo>
                    <a:cubicBezTo>
                      <a:pt x="45" y="455"/>
                      <a:pt x="41" y="455"/>
                      <a:pt x="41" y="456"/>
                    </a:cubicBezTo>
                    <a:cubicBezTo>
                      <a:pt x="39" y="458"/>
                      <a:pt x="44" y="457"/>
                      <a:pt x="45" y="458"/>
                    </a:cubicBezTo>
                    <a:cubicBezTo>
                      <a:pt x="45" y="458"/>
                      <a:pt x="44" y="458"/>
                      <a:pt x="44" y="458"/>
                    </a:cubicBezTo>
                    <a:cubicBezTo>
                      <a:pt x="42" y="458"/>
                      <a:pt x="41" y="458"/>
                      <a:pt x="42" y="460"/>
                    </a:cubicBezTo>
                    <a:cubicBezTo>
                      <a:pt x="41" y="460"/>
                      <a:pt x="41" y="460"/>
                      <a:pt x="41" y="460"/>
                    </a:cubicBezTo>
                    <a:cubicBezTo>
                      <a:pt x="39" y="460"/>
                      <a:pt x="40" y="462"/>
                      <a:pt x="39" y="464"/>
                    </a:cubicBezTo>
                    <a:cubicBezTo>
                      <a:pt x="45" y="464"/>
                      <a:pt x="49" y="465"/>
                      <a:pt x="51" y="460"/>
                    </a:cubicBezTo>
                    <a:cubicBezTo>
                      <a:pt x="52" y="459"/>
                      <a:pt x="53" y="458"/>
                      <a:pt x="53" y="457"/>
                    </a:cubicBezTo>
                    <a:cubicBezTo>
                      <a:pt x="53" y="457"/>
                      <a:pt x="53" y="457"/>
                      <a:pt x="53" y="457"/>
                    </a:cubicBezTo>
                    <a:cubicBezTo>
                      <a:pt x="54" y="460"/>
                      <a:pt x="61" y="461"/>
                      <a:pt x="63" y="462"/>
                    </a:cubicBezTo>
                    <a:cubicBezTo>
                      <a:pt x="63" y="463"/>
                      <a:pt x="61" y="466"/>
                      <a:pt x="61" y="468"/>
                    </a:cubicBezTo>
                    <a:cubicBezTo>
                      <a:pt x="62" y="467"/>
                      <a:pt x="63" y="465"/>
                      <a:pt x="65" y="464"/>
                    </a:cubicBezTo>
                    <a:cubicBezTo>
                      <a:pt x="64" y="466"/>
                      <a:pt x="63" y="467"/>
                      <a:pt x="61" y="468"/>
                    </a:cubicBezTo>
                    <a:cubicBezTo>
                      <a:pt x="67" y="465"/>
                      <a:pt x="70" y="464"/>
                      <a:pt x="75" y="464"/>
                    </a:cubicBezTo>
                    <a:cubicBezTo>
                      <a:pt x="76" y="464"/>
                      <a:pt x="77" y="464"/>
                      <a:pt x="78" y="464"/>
                    </a:cubicBezTo>
                    <a:cubicBezTo>
                      <a:pt x="78" y="464"/>
                      <a:pt x="78" y="464"/>
                      <a:pt x="78" y="464"/>
                    </a:cubicBezTo>
                    <a:cubicBezTo>
                      <a:pt x="82" y="464"/>
                      <a:pt x="90" y="463"/>
                      <a:pt x="92" y="461"/>
                    </a:cubicBezTo>
                    <a:cubicBezTo>
                      <a:pt x="93" y="461"/>
                      <a:pt x="93" y="461"/>
                      <a:pt x="94" y="461"/>
                    </a:cubicBezTo>
                    <a:cubicBezTo>
                      <a:pt x="95" y="461"/>
                      <a:pt x="95" y="462"/>
                      <a:pt x="96" y="462"/>
                    </a:cubicBezTo>
                    <a:cubicBezTo>
                      <a:pt x="97" y="463"/>
                      <a:pt x="97" y="464"/>
                      <a:pt x="98" y="464"/>
                    </a:cubicBezTo>
                    <a:cubicBezTo>
                      <a:pt x="98" y="464"/>
                      <a:pt x="99" y="464"/>
                      <a:pt x="99" y="463"/>
                    </a:cubicBezTo>
                    <a:cubicBezTo>
                      <a:pt x="101" y="462"/>
                      <a:pt x="101" y="459"/>
                      <a:pt x="100" y="457"/>
                    </a:cubicBezTo>
                    <a:cubicBezTo>
                      <a:pt x="106" y="455"/>
                      <a:pt x="113" y="456"/>
                      <a:pt x="119" y="455"/>
                    </a:cubicBezTo>
                    <a:cubicBezTo>
                      <a:pt x="121" y="454"/>
                      <a:pt x="126" y="454"/>
                      <a:pt x="128" y="452"/>
                    </a:cubicBezTo>
                    <a:cubicBezTo>
                      <a:pt x="130" y="451"/>
                      <a:pt x="131" y="449"/>
                      <a:pt x="133" y="448"/>
                    </a:cubicBezTo>
                    <a:cubicBezTo>
                      <a:pt x="134" y="450"/>
                      <a:pt x="138" y="452"/>
                      <a:pt x="140" y="453"/>
                    </a:cubicBezTo>
                    <a:cubicBezTo>
                      <a:pt x="139" y="451"/>
                      <a:pt x="140" y="450"/>
                      <a:pt x="140" y="448"/>
                    </a:cubicBezTo>
                    <a:cubicBezTo>
                      <a:pt x="141" y="449"/>
                      <a:pt x="142" y="449"/>
                      <a:pt x="144" y="449"/>
                    </a:cubicBezTo>
                    <a:cubicBezTo>
                      <a:pt x="144" y="449"/>
                      <a:pt x="144" y="449"/>
                      <a:pt x="145" y="449"/>
                    </a:cubicBezTo>
                    <a:cubicBezTo>
                      <a:pt x="143" y="449"/>
                      <a:pt x="143" y="447"/>
                      <a:pt x="142" y="446"/>
                    </a:cubicBezTo>
                    <a:cubicBezTo>
                      <a:pt x="142" y="445"/>
                      <a:pt x="142" y="444"/>
                      <a:pt x="142" y="444"/>
                    </a:cubicBezTo>
                    <a:cubicBezTo>
                      <a:pt x="143" y="444"/>
                      <a:pt x="144" y="445"/>
                      <a:pt x="145" y="445"/>
                    </a:cubicBezTo>
                    <a:cubicBezTo>
                      <a:pt x="146" y="446"/>
                      <a:pt x="148" y="446"/>
                      <a:pt x="149" y="446"/>
                    </a:cubicBezTo>
                    <a:cubicBezTo>
                      <a:pt x="149" y="446"/>
                      <a:pt x="150" y="446"/>
                      <a:pt x="150" y="446"/>
                    </a:cubicBezTo>
                    <a:cubicBezTo>
                      <a:pt x="156" y="443"/>
                      <a:pt x="162" y="442"/>
                      <a:pt x="169" y="442"/>
                    </a:cubicBezTo>
                    <a:cubicBezTo>
                      <a:pt x="172" y="442"/>
                      <a:pt x="176" y="442"/>
                      <a:pt x="179" y="442"/>
                    </a:cubicBezTo>
                    <a:cubicBezTo>
                      <a:pt x="180" y="440"/>
                      <a:pt x="180" y="440"/>
                      <a:pt x="180" y="440"/>
                    </a:cubicBezTo>
                    <a:cubicBezTo>
                      <a:pt x="181" y="440"/>
                      <a:pt x="181" y="440"/>
                      <a:pt x="181" y="440"/>
                    </a:cubicBezTo>
                    <a:cubicBezTo>
                      <a:pt x="181" y="440"/>
                      <a:pt x="182" y="440"/>
                      <a:pt x="182" y="440"/>
                    </a:cubicBezTo>
                    <a:cubicBezTo>
                      <a:pt x="185" y="440"/>
                      <a:pt x="189" y="438"/>
                      <a:pt x="193" y="436"/>
                    </a:cubicBezTo>
                    <a:cubicBezTo>
                      <a:pt x="203" y="426"/>
                      <a:pt x="215" y="417"/>
                      <a:pt x="227" y="409"/>
                    </a:cubicBezTo>
                    <a:cubicBezTo>
                      <a:pt x="236" y="403"/>
                      <a:pt x="244" y="395"/>
                      <a:pt x="252" y="387"/>
                    </a:cubicBezTo>
                    <a:cubicBezTo>
                      <a:pt x="255" y="383"/>
                      <a:pt x="258" y="380"/>
                      <a:pt x="261" y="377"/>
                    </a:cubicBezTo>
                    <a:cubicBezTo>
                      <a:pt x="266" y="372"/>
                      <a:pt x="272" y="367"/>
                      <a:pt x="278" y="362"/>
                    </a:cubicBezTo>
                    <a:cubicBezTo>
                      <a:pt x="279" y="361"/>
                      <a:pt x="280" y="360"/>
                      <a:pt x="281" y="359"/>
                    </a:cubicBezTo>
                    <a:cubicBezTo>
                      <a:pt x="284" y="357"/>
                      <a:pt x="287" y="354"/>
                      <a:pt x="288" y="352"/>
                    </a:cubicBezTo>
                    <a:cubicBezTo>
                      <a:pt x="289" y="350"/>
                      <a:pt x="290" y="348"/>
                      <a:pt x="291" y="346"/>
                    </a:cubicBezTo>
                    <a:cubicBezTo>
                      <a:pt x="291" y="346"/>
                      <a:pt x="291" y="346"/>
                      <a:pt x="291" y="346"/>
                    </a:cubicBezTo>
                    <a:cubicBezTo>
                      <a:pt x="292" y="344"/>
                      <a:pt x="293" y="341"/>
                      <a:pt x="294" y="339"/>
                    </a:cubicBezTo>
                    <a:cubicBezTo>
                      <a:pt x="295" y="337"/>
                      <a:pt x="295" y="337"/>
                      <a:pt x="294" y="335"/>
                    </a:cubicBezTo>
                    <a:cubicBezTo>
                      <a:pt x="293" y="335"/>
                      <a:pt x="293" y="334"/>
                      <a:pt x="292" y="333"/>
                    </a:cubicBezTo>
                    <a:cubicBezTo>
                      <a:pt x="285" y="323"/>
                      <a:pt x="274" y="317"/>
                      <a:pt x="264" y="310"/>
                    </a:cubicBezTo>
                    <a:cubicBezTo>
                      <a:pt x="263" y="310"/>
                      <a:pt x="263" y="310"/>
                      <a:pt x="263" y="310"/>
                    </a:cubicBezTo>
                    <a:cubicBezTo>
                      <a:pt x="259" y="307"/>
                      <a:pt x="256" y="305"/>
                      <a:pt x="253" y="303"/>
                    </a:cubicBezTo>
                    <a:cubicBezTo>
                      <a:pt x="248" y="299"/>
                      <a:pt x="248" y="299"/>
                      <a:pt x="248" y="299"/>
                    </a:cubicBezTo>
                    <a:cubicBezTo>
                      <a:pt x="253" y="297"/>
                      <a:pt x="253" y="297"/>
                      <a:pt x="253" y="297"/>
                    </a:cubicBezTo>
                    <a:cubicBezTo>
                      <a:pt x="258" y="294"/>
                      <a:pt x="261" y="292"/>
                      <a:pt x="265" y="288"/>
                    </a:cubicBezTo>
                    <a:cubicBezTo>
                      <a:pt x="267" y="286"/>
                      <a:pt x="267" y="286"/>
                      <a:pt x="267" y="286"/>
                    </a:cubicBezTo>
                    <a:cubicBezTo>
                      <a:pt x="268" y="285"/>
                      <a:pt x="270" y="282"/>
                      <a:pt x="268" y="280"/>
                    </a:cubicBezTo>
                    <a:cubicBezTo>
                      <a:pt x="268" y="279"/>
                      <a:pt x="264" y="278"/>
                      <a:pt x="262" y="277"/>
                    </a:cubicBezTo>
                    <a:cubicBezTo>
                      <a:pt x="261" y="277"/>
                      <a:pt x="260" y="276"/>
                      <a:pt x="259" y="276"/>
                    </a:cubicBezTo>
                    <a:cubicBezTo>
                      <a:pt x="256" y="274"/>
                      <a:pt x="254" y="269"/>
                      <a:pt x="252" y="266"/>
                    </a:cubicBezTo>
                    <a:cubicBezTo>
                      <a:pt x="252" y="265"/>
                      <a:pt x="252" y="265"/>
                      <a:pt x="252" y="265"/>
                    </a:cubicBezTo>
                    <a:cubicBezTo>
                      <a:pt x="252" y="264"/>
                      <a:pt x="252" y="263"/>
                      <a:pt x="251" y="263"/>
                    </a:cubicBezTo>
                    <a:cubicBezTo>
                      <a:pt x="250" y="260"/>
                      <a:pt x="250" y="260"/>
                      <a:pt x="250" y="260"/>
                    </a:cubicBezTo>
                    <a:cubicBezTo>
                      <a:pt x="253" y="258"/>
                      <a:pt x="253" y="258"/>
                      <a:pt x="253" y="258"/>
                    </a:cubicBezTo>
                    <a:cubicBezTo>
                      <a:pt x="254" y="258"/>
                      <a:pt x="254" y="258"/>
                      <a:pt x="255" y="258"/>
                    </a:cubicBezTo>
                    <a:cubicBezTo>
                      <a:pt x="256" y="257"/>
                      <a:pt x="256" y="257"/>
                      <a:pt x="256" y="257"/>
                    </a:cubicBezTo>
                    <a:cubicBezTo>
                      <a:pt x="256" y="257"/>
                      <a:pt x="256" y="257"/>
                      <a:pt x="256" y="257"/>
                    </a:cubicBezTo>
                    <a:cubicBezTo>
                      <a:pt x="254" y="256"/>
                      <a:pt x="254" y="256"/>
                      <a:pt x="251" y="256"/>
                    </a:cubicBezTo>
                    <a:cubicBezTo>
                      <a:pt x="246" y="255"/>
                      <a:pt x="242" y="250"/>
                      <a:pt x="241" y="245"/>
                    </a:cubicBezTo>
                    <a:cubicBezTo>
                      <a:pt x="240" y="240"/>
                      <a:pt x="244" y="237"/>
                      <a:pt x="246" y="236"/>
                    </a:cubicBezTo>
                    <a:cubicBezTo>
                      <a:pt x="245" y="236"/>
                      <a:pt x="245" y="236"/>
                      <a:pt x="245" y="236"/>
                    </a:cubicBezTo>
                    <a:cubicBezTo>
                      <a:pt x="245" y="235"/>
                      <a:pt x="244" y="235"/>
                      <a:pt x="244" y="235"/>
                    </a:cubicBezTo>
                    <a:cubicBezTo>
                      <a:pt x="239" y="233"/>
                      <a:pt x="241" y="229"/>
                      <a:pt x="241" y="226"/>
                    </a:cubicBezTo>
                    <a:cubicBezTo>
                      <a:pt x="242" y="225"/>
                      <a:pt x="242" y="225"/>
                      <a:pt x="242" y="225"/>
                    </a:cubicBezTo>
                    <a:cubicBezTo>
                      <a:pt x="242" y="224"/>
                      <a:pt x="242" y="224"/>
                      <a:pt x="242" y="224"/>
                    </a:cubicBezTo>
                    <a:cubicBezTo>
                      <a:pt x="242" y="224"/>
                      <a:pt x="242" y="224"/>
                      <a:pt x="242" y="224"/>
                    </a:cubicBezTo>
                    <a:cubicBezTo>
                      <a:pt x="243" y="221"/>
                      <a:pt x="245" y="218"/>
                      <a:pt x="245" y="216"/>
                    </a:cubicBezTo>
                    <a:cubicBezTo>
                      <a:pt x="245" y="216"/>
                      <a:pt x="245" y="215"/>
                      <a:pt x="244" y="215"/>
                    </a:cubicBezTo>
                    <a:cubicBezTo>
                      <a:pt x="241" y="211"/>
                      <a:pt x="241" y="211"/>
                      <a:pt x="241" y="211"/>
                    </a:cubicBezTo>
                    <a:cubicBezTo>
                      <a:pt x="246" y="210"/>
                      <a:pt x="246" y="210"/>
                      <a:pt x="246" y="210"/>
                    </a:cubicBezTo>
                    <a:cubicBezTo>
                      <a:pt x="248" y="209"/>
                      <a:pt x="251" y="209"/>
                      <a:pt x="253" y="209"/>
                    </a:cubicBezTo>
                    <a:cubicBezTo>
                      <a:pt x="239" y="176"/>
                      <a:pt x="239" y="176"/>
                      <a:pt x="239" y="176"/>
                    </a:cubicBezTo>
                    <a:cubicBezTo>
                      <a:pt x="238" y="172"/>
                      <a:pt x="235" y="169"/>
                      <a:pt x="233" y="166"/>
                    </a:cubicBezTo>
                    <a:cubicBezTo>
                      <a:pt x="233" y="165"/>
                      <a:pt x="232" y="164"/>
                      <a:pt x="231" y="163"/>
                    </a:cubicBezTo>
                    <a:cubicBezTo>
                      <a:pt x="231" y="163"/>
                      <a:pt x="231" y="162"/>
                      <a:pt x="230" y="162"/>
                    </a:cubicBezTo>
                    <a:cubicBezTo>
                      <a:pt x="230" y="162"/>
                      <a:pt x="230" y="162"/>
                      <a:pt x="230" y="162"/>
                    </a:cubicBezTo>
                    <a:cubicBezTo>
                      <a:pt x="229" y="161"/>
                      <a:pt x="227" y="159"/>
                      <a:pt x="226" y="157"/>
                    </a:cubicBezTo>
                    <a:cubicBezTo>
                      <a:pt x="225" y="156"/>
                      <a:pt x="225" y="154"/>
                      <a:pt x="225" y="153"/>
                    </a:cubicBezTo>
                    <a:cubicBezTo>
                      <a:pt x="225" y="151"/>
                      <a:pt x="225" y="149"/>
                      <a:pt x="226" y="148"/>
                    </a:cubicBezTo>
                    <a:cubicBezTo>
                      <a:pt x="250" y="116"/>
                      <a:pt x="250" y="116"/>
                      <a:pt x="250" y="116"/>
                    </a:cubicBezTo>
                    <a:cubicBezTo>
                      <a:pt x="249" y="115"/>
                      <a:pt x="247" y="114"/>
                      <a:pt x="246" y="114"/>
                    </a:cubicBezTo>
                    <a:cubicBezTo>
                      <a:pt x="246" y="113"/>
                      <a:pt x="245" y="113"/>
                      <a:pt x="245" y="113"/>
                    </a:cubicBezTo>
                    <a:cubicBezTo>
                      <a:pt x="242" y="110"/>
                      <a:pt x="240" y="107"/>
                      <a:pt x="239" y="105"/>
                    </a:cubicBezTo>
                    <a:cubicBezTo>
                      <a:pt x="237" y="102"/>
                      <a:pt x="235" y="99"/>
                      <a:pt x="231" y="98"/>
                    </a:cubicBezTo>
                    <a:cubicBezTo>
                      <a:pt x="231" y="98"/>
                      <a:pt x="230" y="98"/>
                      <a:pt x="230" y="98"/>
                    </a:cubicBezTo>
                    <a:cubicBezTo>
                      <a:pt x="230" y="98"/>
                      <a:pt x="229" y="98"/>
                      <a:pt x="228" y="98"/>
                    </a:cubicBezTo>
                    <a:cubicBezTo>
                      <a:pt x="228" y="97"/>
                      <a:pt x="228" y="97"/>
                      <a:pt x="228" y="97"/>
                    </a:cubicBezTo>
                    <a:cubicBezTo>
                      <a:pt x="223" y="97"/>
                      <a:pt x="218" y="96"/>
                      <a:pt x="216" y="93"/>
                    </a:cubicBezTo>
                    <a:cubicBezTo>
                      <a:pt x="213" y="91"/>
                      <a:pt x="212" y="87"/>
                      <a:pt x="211" y="84"/>
                    </a:cubicBezTo>
                    <a:cubicBezTo>
                      <a:pt x="211" y="83"/>
                      <a:pt x="211" y="83"/>
                      <a:pt x="211" y="83"/>
                    </a:cubicBezTo>
                    <a:cubicBezTo>
                      <a:pt x="210" y="82"/>
                      <a:pt x="210" y="81"/>
                      <a:pt x="210" y="80"/>
                    </a:cubicBezTo>
                    <a:cubicBezTo>
                      <a:pt x="208" y="76"/>
                      <a:pt x="210" y="72"/>
                      <a:pt x="211" y="69"/>
                    </a:cubicBezTo>
                    <a:cubicBezTo>
                      <a:pt x="212" y="68"/>
                      <a:pt x="212" y="68"/>
                      <a:pt x="212" y="68"/>
                    </a:cubicBezTo>
                    <a:cubicBezTo>
                      <a:pt x="212" y="68"/>
                      <a:pt x="212" y="67"/>
                      <a:pt x="212" y="67"/>
                    </a:cubicBezTo>
                    <a:cubicBezTo>
                      <a:pt x="213" y="65"/>
                      <a:pt x="213" y="65"/>
                      <a:pt x="213" y="65"/>
                    </a:cubicBezTo>
                    <a:cubicBezTo>
                      <a:pt x="213" y="63"/>
                      <a:pt x="214" y="62"/>
                      <a:pt x="214" y="61"/>
                    </a:cubicBezTo>
                    <a:cubicBezTo>
                      <a:pt x="214" y="61"/>
                      <a:pt x="214" y="61"/>
                      <a:pt x="214" y="61"/>
                    </a:cubicBezTo>
                    <a:cubicBezTo>
                      <a:pt x="212" y="61"/>
                      <a:pt x="210" y="61"/>
                      <a:pt x="209" y="60"/>
                    </a:cubicBezTo>
                    <a:cubicBezTo>
                      <a:pt x="203" y="56"/>
                      <a:pt x="203" y="56"/>
                      <a:pt x="203" y="56"/>
                    </a:cubicBezTo>
                    <a:cubicBezTo>
                      <a:pt x="209" y="53"/>
                      <a:pt x="209" y="53"/>
                      <a:pt x="209" y="53"/>
                    </a:cubicBezTo>
                    <a:cubicBezTo>
                      <a:pt x="211" y="52"/>
                      <a:pt x="213" y="52"/>
                      <a:pt x="215" y="51"/>
                    </a:cubicBezTo>
                    <a:cubicBezTo>
                      <a:pt x="220" y="49"/>
                      <a:pt x="220" y="49"/>
                      <a:pt x="220" y="49"/>
                    </a:cubicBezTo>
                    <a:cubicBezTo>
                      <a:pt x="220" y="49"/>
                      <a:pt x="221" y="49"/>
                      <a:pt x="222" y="49"/>
                    </a:cubicBezTo>
                    <a:cubicBezTo>
                      <a:pt x="222" y="48"/>
                      <a:pt x="222" y="48"/>
                      <a:pt x="222" y="48"/>
                    </a:cubicBezTo>
                    <a:cubicBezTo>
                      <a:pt x="223" y="48"/>
                      <a:pt x="223" y="48"/>
                      <a:pt x="223" y="48"/>
                    </a:cubicBezTo>
                    <a:cubicBezTo>
                      <a:pt x="222" y="47"/>
                      <a:pt x="222" y="47"/>
                      <a:pt x="222" y="47"/>
                    </a:cubicBezTo>
                    <a:cubicBezTo>
                      <a:pt x="222" y="47"/>
                      <a:pt x="222" y="47"/>
                      <a:pt x="222" y="47"/>
                    </a:cubicBezTo>
                    <a:cubicBezTo>
                      <a:pt x="222" y="47"/>
                      <a:pt x="222" y="47"/>
                      <a:pt x="222" y="47"/>
                    </a:cubicBezTo>
                    <a:cubicBezTo>
                      <a:pt x="222" y="46"/>
                      <a:pt x="222" y="46"/>
                      <a:pt x="222" y="46"/>
                    </a:cubicBezTo>
                    <a:cubicBezTo>
                      <a:pt x="222" y="45"/>
                      <a:pt x="222" y="44"/>
                      <a:pt x="222" y="43"/>
                    </a:cubicBezTo>
                    <a:cubicBezTo>
                      <a:pt x="221" y="42"/>
                      <a:pt x="222" y="41"/>
                      <a:pt x="222" y="41"/>
                    </a:cubicBezTo>
                    <a:cubicBezTo>
                      <a:pt x="222" y="39"/>
                      <a:pt x="222" y="38"/>
                      <a:pt x="223" y="37"/>
                    </a:cubicBezTo>
                    <a:cubicBezTo>
                      <a:pt x="225" y="34"/>
                      <a:pt x="225" y="34"/>
                      <a:pt x="225" y="34"/>
                    </a:cubicBezTo>
                    <a:cubicBezTo>
                      <a:pt x="226" y="33"/>
                      <a:pt x="227" y="32"/>
                      <a:pt x="228" y="31"/>
                    </a:cubicBezTo>
                    <a:cubicBezTo>
                      <a:pt x="229" y="30"/>
                      <a:pt x="230" y="28"/>
                      <a:pt x="231" y="27"/>
                    </a:cubicBezTo>
                    <a:cubicBezTo>
                      <a:pt x="231" y="27"/>
                      <a:pt x="231" y="27"/>
                      <a:pt x="231" y="27"/>
                    </a:cubicBezTo>
                    <a:cubicBezTo>
                      <a:pt x="232" y="26"/>
                      <a:pt x="232" y="26"/>
                      <a:pt x="232" y="25"/>
                    </a:cubicBezTo>
                    <a:cubicBezTo>
                      <a:pt x="231" y="23"/>
                      <a:pt x="227" y="20"/>
                      <a:pt x="222" y="17"/>
                    </a:cubicBezTo>
                    <a:cubicBezTo>
                      <a:pt x="220" y="16"/>
                      <a:pt x="218" y="15"/>
                      <a:pt x="216" y="15"/>
                    </a:cubicBezTo>
                    <a:cubicBezTo>
                      <a:pt x="211" y="12"/>
                      <a:pt x="211" y="12"/>
                      <a:pt x="211" y="12"/>
                    </a:cubicBezTo>
                    <a:cubicBezTo>
                      <a:pt x="207" y="11"/>
                      <a:pt x="205" y="9"/>
                      <a:pt x="204" y="8"/>
                    </a:cubicBezTo>
                    <a:cubicBezTo>
                      <a:pt x="203" y="8"/>
                      <a:pt x="202" y="7"/>
                      <a:pt x="201" y="6"/>
                    </a:cubicBezTo>
                    <a:cubicBezTo>
                      <a:pt x="201" y="6"/>
                      <a:pt x="201" y="6"/>
                      <a:pt x="201" y="6"/>
                    </a:cubicBezTo>
                    <a:cubicBezTo>
                      <a:pt x="200" y="5"/>
                      <a:pt x="200" y="5"/>
                      <a:pt x="200" y="5"/>
                    </a:cubicBezTo>
                    <a:cubicBezTo>
                      <a:pt x="196" y="2"/>
                      <a:pt x="194" y="0"/>
                      <a:pt x="1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9" name="Freeform 367">
                <a:extLst>
                  <a:ext uri="{FF2B5EF4-FFF2-40B4-BE49-F238E27FC236}">
                    <a16:creationId xmlns:a16="http://schemas.microsoft.com/office/drawing/2014/main" id="{7C050256-E3F5-4F04-9D43-54246A1083C9}"/>
                  </a:ext>
                </a:extLst>
              </p:cNvPr>
              <p:cNvSpPr>
                <a:spLocks/>
              </p:cNvSpPr>
              <p:nvPr/>
            </p:nvSpPr>
            <p:spPr bwMode="auto">
              <a:xfrm>
                <a:off x="7974590" y="4735374"/>
                <a:ext cx="582248" cy="246903"/>
              </a:xfrm>
              <a:custGeom>
                <a:avLst/>
                <a:gdLst>
                  <a:gd name="T0" fmla="*/ 0 w 183"/>
                  <a:gd name="T1" fmla="*/ 5 h 78"/>
                  <a:gd name="T2" fmla="*/ 13 w 183"/>
                  <a:gd name="T3" fmla="*/ 12 h 78"/>
                  <a:gd name="T4" fmla="*/ 40 w 183"/>
                  <a:gd name="T5" fmla="*/ 32 h 78"/>
                  <a:gd name="T6" fmla="*/ 47 w 183"/>
                  <a:gd name="T7" fmla="*/ 56 h 78"/>
                  <a:gd name="T8" fmla="*/ 43 w 183"/>
                  <a:gd name="T9" fmla="*/ 64 h 78"/>
                  <a:gd name="T10" fmla="*/ 49 w 183"/>
                  <a:gd name="T11" fmla="*/ 65 h 78"/>
                  <a:gd name="T12" fmla="*/ 56 w 183"/>
                  <a:gd name="T13" fmla="*/ 65 h 78"/>
                  <a:gd name="T14" fmla="*/ 66 w 183"/>
                  <a:gd name="T15" fmla="*/ 66 h 78"/>
                  <a:gd name="T16" fmla="*/ 74 w 183"/>
                  <a:gd name="T17" fmla="*/ 62 h 78"/>
                  <a:gd name="T18" fmla="*/ 82 w 183"/>
                  <a:gd name="T19" fmla="*/ 68 h 78"/>
                  <a:gd name="T20" fmla="*/ 84 w 183"/>
                  <a:gd name="T21" fmla="*/ 67 h 78"/>
                  <a:gd name="T22" fmla="*/ 86 w 183"/>
                  <a:gd name="T23" fmla="*/ 69 h 78"/>
                  <a:gd name="T24" fmla="*/ 92 w 183"/>
                  <a:gd name="T25" fmla="*/ 73 h 78"/>
                  <a:gd name="T26" fmla="*/ 96 w 183"/>
                  <a:gd name="T27" fmla="*/ 76 h 78"/>
                  <a:gd name="T28" fmla="*/ 97 w 183"/>
                  <a:gd name="T29" fmla="*/ 77 h 78"/>
                  <a:gd name="T30" fmla="*/ 101 w 183"/>
                  <a:gd name="T31" fmla="*/ 77 h 78"/>
                  <a:gd name="T32" fmla="*/ 124 w 183"/>
                  <a:gd name="T33" fmla="*/ 74 h 78"/>
                  <a:gd name="T34" fmla="*/ 128 w 183"/>
                  <a:gd name="T35" fmla="*/ 74 h 78"/>
                  <a:gd name="T36" fmla="*/ 132 w 183"/>
                  <a:gd name="T37" fmla="*/ 74 h 78"/>
                  <a:gd name="T38" fmla="*/ 132 w 183"/>
                  <a:gd name="T39" fmla="*/ 73 h 78"/>
                  <a:gd name="T40" fmla="*/ 142 w 183"/>
                  <a:gd name="T41" fmla="*/ 69 h 78"/>
                  <a:gd name="T42" fmla="*/ 149 w 183"/>
                  <a:gd name="T43" fmla="*/ 66 h 78"/>
                  <a:gd name="T44" fmla="*/ 158 w 183"/>
                  <a:gd name="T45" fmla="*/ 71 h 78"/>
                  <a:gd name="T46" fmla="*/ 162 w 183"/>
                  <a:gd name="T47" fmla="*/ 73 h 78"/>
                  <a:gd name="T48" fmla="*/ 179 w 183"/>
                  <a:gd name="T49" fmla="*/ 77 h 78"/>
                  <a:gd name="T50" fmla="*/ 182 w 183"/>
                  <a:gd name="T51" fmla="*/ 75 h 78"/>
                  <a:gd name="T52" fmla="*/ 172 w 183"/>
                  <a:gd name="T53" fmla="*/ 67 h 78"/>
                  <a:gd name="T54" fmla="*/ 175 w 183"/>
                  <a:gd name="T55" fmla="*/ 56 h 78"/>
                  <a:gd name="T56" fmla="*/ 157 w 183"/>
                  <a:gd name="T57" fmla="*/ 48 h 78"/>
                  <a:gd name="T58" fmla="*/ 155 w 183"/>
                  <a:gd name="T59" fmla="*/ 37 h 78"/>
                  <a:gd name="T60" fmla="*/ 138 w 183"/>
                  <a:gd name="T61" fmla="*/ 29 h 78"/>
                  <a:gd name="T62" fmla="*/ 135 w 183"/>
                  <a:gd name="T63" fmla="*/ 40 h 78"/>
                  <a:gd name="T64" fmla="*/ 127 w 183"/>
                  <a:gd name="T65" fmla="*/ 29 h 78"/>
                  <a:gd name="T66" fmla="*/ 120 w 183"/>
                  <a:gd name="T67" fmla="*/ 31 h 78"/>
                  <a:gd name="T68" fmla="*/ 107 w 183"/>
                  <a:gd name="T69" fmla="*/ 34 h 78"/>
                  <a:gd name="T70" fmla="*/ 100 w 183"/>
                  <a:gd name="T71" fmla="*/ 29 h 78"/>
                  <a:gd name="T72" fmla="*/ 100 w 183"/>
                  <a:gd name="T73" fmla="*/ 27 h 78"/>
                  <a:gd name="T74" fmla="*/ 67 w 183"/>
                  <a:gd name="T75" fmla="*/ 12 h 78"/>
                  <a:gd name="T76" fmla="*/ 56 w 183"/>
                  <a:gd name="T77" fmla="*/ 13 h 78"/>
                  <a:gd name="T78" fmla="*/ 15 w 183"/>
                  <a:gd name="T79" fmla="*/ 2 h 78"/>
                  <a:gd name="T80" fmla="*/ 11 w 183"/>
                  <a:gd name="T81"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3" h="78">
                    <a:moveTo>
                      <a:pt x="2" y="0"/>
                    </a:moveTo>
                    <a:cubicBezTo>
                      <a:pt x="2" y="1"/>
                      <a:pt x="1" y="3"/>
                      <a:pt x="0" y="5"/>
                    </a:cubicBezTo>
                    <a:cubicBezTo>
                      <a:pt x="0" y="6"/>
                      <a:pt x="0" y="6"/>
                      <a:pt x="0" y="6"/>
                    </a:cubicBezTo>
                    <a:cubicBezTo>
                      <a:pt x="4" y="9"/>
                      <a:pt x="8" y="11"/>
                      <a:pt x="13" y="12"/>
                    </a:cubicBezTo>
                    <a:cubicBezTo>
                      <a:pt x="19" y="14"/>
                      <a:pt x="25" y="15"/>
                      <a:pt x="28" y="21"/>
                    </a:cubicBezTo>
                    <a:cubicBezTo>
                      <a:pt x="31" y="27"/>
                      <a:pt x="39" y="26"/>
                      <a:pt x="40" y="32"/>
                    </a:cubicBezTo>
                    <a:cubicBezTo>
                      <a:pt x="41" y="36"/>
                      <a:pt x="42" y="46"/>
                      <a:pt x="47" y="46"/>
                    </a:cubicBezTo>
                    <a:cubicBezTo>
                      <a:pt x="44" y="50"/>
                      <a:pt x="48" y="52"/>
                      <a:pt x="47" y="56"/>
                    </a:cubicBezTo>
                    <a:cubicBezTo>
                      <a:pt x="46" y="60"/>
                      <a:pt x="45" y="62"/>
                      <a:pt x="43" y="64"/>
                    </a:cubicBezTo>
                    <a:cubicBezTo>
                      <a:pt x="43" y="64"/>
                      <a:pt x="43" y="64"/>
                      <a:pt x="43" y="64"/>
                    </a:cubicBezTo>
                    <a:cubicBezTo>
                      <a:pt x="44" y="65"/>
                      <a:pt x="45" y="65"/>
                      <a:pt x="46" y="65"/>
                    </a:cubicBezTo>
                    <a:cubicBezTo>
                      <a:pt x="47" y="65"/>
                      <a:pt x="48" y="65"/>
                      <a:pt x="49" y="65"/>
                    </a:cubicBezTo>
                    <a:cubicBezTo>
                      <a:pt x="51" y="65"/>
                      <a:pt x="52" y="65"/>
                      <a:pt x="53" y="65"/>
                    </a:cubicBezTo>
                    <a:cubicBezTo>
                      <a:pt x="54" y="65"/>
                      <a:pt x="55" y="65"/>
                      <a:pt x="56" y="65"/>
                    </a:cubicBezTo>
                    <a:cubicBezTo>
                      <a:pt x="58" y="65"/>
                      <a:pt x="58" y="65"/>
                      <a:pt x="58" y="65"/>
                    </a:cubicBezTo>
                    <a:cubicBezTo>
                      <a:pt x="61" y="65"/>
                      <a:pt x="63" y="66"/>
                      <a:pt x="66" y="66"/>
                    </a:cubicBezTo>
                    <a:cubicBezTo>
                      <a:pt x="67" y="64"/>
                      <a:pt x="69" y="62"/>
                      <a:pt x="71" y="62"/>
                    </a:cubicBezTo>
                    <a:cubicBezTo>
                      <a:pt x="72" y="62"/>
                      <a:pt x="73" y="62"/>
                      <a:pt x="74" y="62"/>
                    </a:cubicBezTo>
                    <a:cubicBezTo>
                      <a:pt x="77" y="62"/>
                      <a:pt x="80" y="63"/>
                      <a:pt x="83" y="66"/>
                    </a:cubicBezTo>
                    <a:cubicBezTo>
                      <a:pt x="82" y="68"/>
                      <a:pt x="82" y="68"/>
                      <a:pt x="82" y="68"/>
                    </a:cubicBezTo>
                    <a:cubicBezTo>
                      <a:pt x="83" y="67"/>
                      <a:pt x="83" y="67"/>
                      <a:pt x="83" y="67"/>
                    </a:cubicBezTo>
                    <a:cubicBezTo>
                      <a:pt x="84" y="67"/>
                      <a:pt x="84" y="67"/>
                      <a:pt x="84" y="67"/>
                    </a:cubicBezTo>
                    <a:cubicBezTo>
                      <a:pt x="84" y="68"/>
                      <a:pt x="85" y="68"/>
                      <a:pt x="85" y="68"/>
                    </a:cubicBezTo>
                    <a:cubicBezTo>
                      <a:pt x="85" y="69"/>
                      <a:pt x="86" y="69"/>
                      <a:pt x="86" y="69"/>
                    </a:cubicBezTo>
                    <a:cubicBezTo>
                      <a:pt x="87" y="70"/>
                      <a:pt x="87" y="70"/>
                      <a:pt x="87" y="70"/>
                    </a:cubicBezTo>
                    <a:cubicBezTo>
                      <a:pt x="89" y="71"/>
                      <a:pt x="90" y="72"/>
                      <a:pt x="92" y="73"/>
                    </a:cubicBezTo>
                    <a:cubicBezTo>
                      <a:pt x="93" y="74"/>
                      <a:pt x="93" y="74"/>
                      <a:pt x="93" y="74"/>
                    </a:cubicBezTo>
                    <a:cubicBezTo>
                      <a:pt x="94" y="75"/>
                      <a:pt x="95" y="76"/>
                      <a:pt x="96" y="76"/>
                    </a:cubicBezTo>
                    <a:cubicBezTo>
                      <a:pt x="97" y="77"/>
                      <a:pt x="97" y="77"/>
                      <a:pt x="97" y="77"/>
                    </a:cubicBezTo>
                    <a:cubicBezTo>
                      <a:pt x="97" y="77"/>
                      <a:pt x="97" y="77"/>
                      <a:pt x="97" y="77"/>
                    </a:cubicBezTo>
                    <a:cubicBezTo>
                      <a:pt x="98" y="77"/>
                      <a:pt x="98" y="77"/>
                      <a:pt x="98" y="77"/>
                    </a:cubicBezTo>
                    <a:cubicBezTo>
                      <a:pt x="101" y="77"/>
                      <a:pt x="101" y="77"/>
                      <a:pt x="101" y="77"/>
                    </a:cubicBezTo>
                    <a:cubicBezTo>
                      <a:pt x="106" y="76"/>
                      <a:pt x="112" y="76"/>
                      <a:pt x="118" y="75"/>
                    </a:cubicBezTo>
                    <a:cubicBezTo>
                      <a:pt x="120" y="74"/>
                      <a:pt x="122" y="74"/>
                      <a:pt x="124" y="74"/>
                    </a:cubicBezTo>
                    <a:cubicBezTo>
                      <a:pt x="125" y="74"/>
                      <a:pt x="126" y="74"/>
                      <a:pt x="127" y="74"/>
                    </a:cubicBezTo>
                    <a:cubicBezTo>
                      <a:pt x="128" y="74"/>
                      <a:pt x="128" y="74"/>
                      <a:pt x="128" y="74"/>
                    </a:cubicBezTo>
                    <a:cubicBezTo>
                      <a:pt x="129" y="74"/>
                      <a:pt x="130" y="74"/>
                      <a:pt x="131" y="74"/>
                    </a:cubicBezTo>
                    <a:cubicBezTo>
                      <a:pt x="132" y="74"/>
                      <a:pt x="132" y="74"/>
                      <a:pt x="132" y="74"/>
                    </a:cubicBezTo>
                    <a:cubicBezTo>
                      <a:pt x="132" y="74"/>
                      <a:pt x="133" y="74"/>
                      <a:pt x="133" y="74"/>
                    </a:cubicBezTo>
                    <a:cubicBezTo>
                      <a:pt x="132" y="73"/>
                      <a:pt x="132" y="73"/>
                      <a:pt x="132" y="73"/>
                    </a:cubicBezTo>
                    <a:cubicBezTo>
                      <a:pt x="138" y="72"/>
                      <a:pt x="138" y="72"/>
                      <a:pt x="138" y="72"/>
                    </a:cubicBezTo>
                    <a:cubicBezTo>
                      <a:pt x="139" y="71"/>
                      <a:pt x="141" y="70"/>
                      <a:pt x="142" y="69"/>
                    </a:cubicBezTo>
                    <a:cubicBezTo>
                      <a:pt x="144" y="68"/>
                      <a:pt x="144" y="68"/>
                      <a:pt x="144" y="68"/>
                    </a:cubicBezTo>
                    <a:cubicBezTo>
                      <a:pt x="146" y="67"/>
                      <a:pt x="147" y="66"/>
                      <a:pt x="149" y="66"/>
                    </a:cubicBezTo>
                    <a:cubicBezTo>
                      <a:pt x="149" y="66"/>
                      <a:pt x="150" y="66"/>
                      <a:pt x="150" y="66"/>
                    </a:cubicBezTo>
                    <a:cubicBezTo>
                      <a:pt x="154" y="68"/>
                      <a:pt x="156" y="69"/>
                      <a:pt x="158" y="71"/>
                    </a:cubicBezTo>
                    <a:cubicBezTo>
                      <a:pt x="159" y="71"/>
                      <a:pt x="159" y="71"/>
                      <a:pt x="159" y="71"/>
                    </a:cubicBezTo>
                    <a:cubicBezTo>
                      <a:pt x="160" y="72"/>
                      <a:pt x="161" y="73"/>
                      <a:pt x="162" y="73"/>
                    </a:cubicBezTo>
                    <a:cubicBezTo>
                      <a:pt x="163" y="74"/>
                      <a:pt x="164" y="74"/>
                      <a:pt x="165" y="74"/>
                    </a:cubicBezTo>
                    <a:cubicBezTo>
                      <a:pt x="169" y="76"/>
                      <a:pt x="174" y="76"/>
                      <a:pt x="179" y="77"/>
                    </a:cubicBezTo>
                    <a:cubicBezTo>
                      <a:pt x="180" y="77"/>
                      <a:pt x="181" y="77"/>
                      <a:pt x="182" y="78"/>
                    </a:cubicBezTo>
                    <a:cubicBezTo>
                      <a:pt x="183" y="75"/>
                      <a:pt x="183" y="75"/>
                      <a:pt x="182" y="75"/>
                    </a:cubicBezTo>
                    <a:cubicBezTo>
                      <a:pt x="180" y="73"/>
                      <a:pt x="178" y="72"/>
                      <a:pt x="177" y="70"/>
                    </a:cubicBezTo>
                    <a:cubicBezTo>
                      <a:pt x="175" y="69"/>
                      <a:pt x="174" y="68"/>
                      <a:pt x="172" y="67"/>
                    </a:cubicBezTo>
                    <a:cubicBezTo>
                      <a:pt x="168" y="65"/>
                      <a:pt x="168" y="65"/>
                      <a:pt x="168" y="65"/>
                    </a:cubicBezTo>
                    <a:cubicBezTo>
                      <a:pt x="175" y="56"/>
                      <a:pt x="175" y="56"/>
                      <a:pt x="175" y="56"/>
                    </a:cubicBezTo>
                    <a:cubicBezTo>
                      <a:pt x="174" y="55"/>
                      <a:pt x="174" y="55"/>
                      <a:pt x="173" y="55"/>
                    </a:cubicBezTo>
                    <a:cubicBezTo>
                      <a:pt x="168" y="54"/>
                      <a:pt x="157" y="48"/>
                      <a:pt x="157" y="48"/>
                    </a:cubicBezTo>
                    <a:cubicBezTo>
                      <a:pt x="156" y="47"/>
                      <a:pt x="155" y="46"/>
                      <a:pt x="155" y="44"/>
                    </a:cubicBezTo>
                    <a:cubicBezTo>
                      <a:pt x="154" y="42"/>
                      <a:pt x="154" y="40"/>
                      <a:pt x="155" y="37"/>
                    </a:cubicBezTo>
                    <a:cubicBezTo>
                      <a:pt x="150" y="36"/>
                      <a:pt x="142" y="32"/>
                      <a:pt x="138" y="30"/>
                    </a:cubicBezTo>
                    <a:cubicBezTo>
                      <a:pt x="138" y="29"/>
                      <a:pt x="138" y="29"/>
                      <a:pt x="138" y="29"/>
                    </a:cubicBezTo>
                    <a:cubicBezTo>
                      <a:pt x="137" y="30"/>
                      <a:pt x="137" y="30"/>
                      <a:pt x="137" y="31"/>
                    </a:cubicBezTo>
                    <a:cubicBezTo>
                      <a:pt x="135" y="40"/>
                      <a:pt x="135" y="40"/>
                      <a:pt x="135" y="40"/>
                    </a:cubicBezTo>
                    <a:cubicBezTo>
                      <a:pt x="131" y="32"/>
                      <a:pt x="131" y="32"/>
                      <a:pt x="131" y="32"/>
                    </a:cubicBezTo>
                    <a:cubicBezTo>
                      <a:pt x="130" y="30"/>
                      <a:pt x="129" y="30"/>
                      <a:pt x="127" y="29"/>
                    </a:cubicBezTo>
                    <a:cubicBezTo>
                      <a:pt x="127" y="29"/>
                      <a:pt x="127" y="29"/>
                      <a:pt x="127" y="29"/>
                    </a:cubicBezTo>
                    <a:cubicBezTo>
                      <a:pt x="125" y="29"/>
                      <a:pt x="123" y="30"/>
                      <a:pt x="120" y="31"/>
                    </a:cubicBezTo>
                    <a:cubicBezTo>
                      <a:pt x="116" y="34"/>
                      <a:pt x="113" y="35"/>
                      <a:pt x="111" y="35"/>
                    </a:cubicBezTo>
                    <a:cubicBezTo>
                      <a:pt x="109" y="35"/>
                      <a:pt x="108" y="35"/>
                      <a:pt x="107" y="34"/>
                    </a:cubicBezTo>
                    <a:cubicBezTo>
                      <a:pt x="107" y="34"/>
                      <a:pt x="102" y="33"/>
                      <a:pt x="100" y="30"/>
                    </a:cubicBezTo>
                    <a:cubicBezTo>
                      <a:pt x="100" y="29"/>
                      <a:pt x="100" y="29"/>
                      <a:pt x="100" y="29"/>
                    </a:cubicBezTo>
                    <a:cubicBezTo>
                      <a:pt x="100" y="27"/>
                      <a:pt x="100" y="27"/>
                      <a:pt x="100" y="27"/>
                    </a:cubicBezTo>
                    <a:cubicBezTo>
                      <a:pt x="100" y="27"/>
                      <a:pt x="100" y="27"/>
                      <a:pt x="100" y="27"/>
                    </a:cubicBezTo>
                    <a:cubicBezTo>
                      <a:pt x="94" y="26"/>
                      <a:pt x="81" y="19"/>
                      <a:pt x="79" y="16"/>
                    </a:cubicBezTo>
                    <a:cubicBezTo>
                      <a:pt x="77" y="15"/>
                      <a:pt x="72" y="12"/>
                      <a:pt x="67" y="12"/>
                    </a:cubicBezTo>
                    <a:cubicBezTo>
                      <a:pt x="65" y="12"/>
                      <a:pt x="63" y="12"/>
                      <a:pt x="62" y="13"/>
                    </a:cubicBezTo>
                    <a:cubicBezTo>
                      <a:pt x="60" y="13"/>
                      <a:pt x="58" y="13"/>
                      <a:pt x="56" y="13"/>
                    </a:cubicBezTo>
                    <a:cubicBezTo>
                      <a:pt x="44" y="13"/>
                      <a:pt x="25" y="7"/>
                      <a:pt x="22" y="5"/>
                    </a:cubicBezTo>
                    <a:cubicBezTo>
                      <a:pt x="19" y="3"/>
                      <a:pt x="16" y="2"/>
                      <a:pt x="15" y="2"/>
                    </a:cubicBezTo>
                    <a:cubicBezTo>
                      <a:pt x="14" y="2"/>
                      <a:pt x="14" y="2"/>
                      <a:pt x="14" y="2"/>
                    </a:cubicBezTo>
                    <a:cubicBezTo>
                      <a:pt x="13" y="2"/>
                      <a:pt x="12" y="2"/>
                      <a:pt x="11" y="2"/>
                    </a:cubicBezTo>
                    <a:cubicBezTo>
                      <a:pt x="9" y="2"/>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0" name="Freeform 368">
                <a:extLst>
                  <a:ext uri="{FF2B5EF4-FFF2-40B4-BE49-F238E27FC236}">
                    <a16:creationId xmlns:a16="http://schemas.microsoft.com/office/drawing/2014/main" id="{1E49C6F8-BCBA-43B1-BE14-8EA21E346181}"/>
                  </a:ext>
                </a:extLst>
              </p:cNvPr>
              <p:cNvSpPr>
                <a:spLocks/>
              </p:cNvSpPr>
              <p:nvPr/>
            </p:nvSpPr>
            <p:spPr bwMode="auto">
              <a:xfrm>
                <a:off x="9912961" y="3618784"/>
                <a:ext cx="18426" cy="7370"/>
              </a:xfrm>
              <a:custGeom>
                <a:avLst/>
                <a:gdLst>
                  <a:gd name="T0" fmla="*/ 0 w 5"/>
                  <a:gd name="T1" fmla="*/ 0 h 2"/>
                  <a:gd name="T2" fmla="*/ 0 w 5"/>
                  <a:gd name="T3" fmla="*/ 1 h 2"/>
                  <a:gd name="T4" fmla="*/ 1 w 5"/>
                  <a:gd name="T5" fmla="*/ 2 h 2"/>
                  <a:gd name="T6" fmla="*/ 2 w 5"/>
                  <a:gd name="T7" fmla="*/ 2 h 2"/>
                  <a:gd name="T8" fmla="*/ 3 w 5"/>
                  <a:gd name="T9" fmla="*/ 2 h 2"/>
                  <a:gd name="T10" fmla="*/ 4 w 5"/>
                  <a:gd name="T11" fmla="*/ 2 h 2"/>
                  <a:gd name="T12" fmla="*/ 5 w 5"/>
                  <a:gd name="T13" fmla="*/ 2 h 2"/>
                  <a:gd name="T14" fmla="*/ 5 w 5"/>
                  <a:gd name="T15" fmla="*/ 2 h 2"/>
                  <a:gd name="T16" fmla="*/ 3 w 5"/>
                  <a:gd name="T17" fmla="*/ 1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cubicBezTo>
                      <a:pt x="0" y="1"/>
                      <a:pt x="0" y="1"/>
                      <a:pt x="0" y="1"/>
                    </a:cubicBezTo>
                    <a:cubicBezTo>
                      <a:pt x="1" y="2"/>
                      <a:pt x="1" y="2"/>
                      <a:pt x="1" y="2"/>
                    </a:cubicBezTo>
                    <a:cubicBezTo>
                      <a:pt x="1" y="2"/>
                      <a:pt x="1" y="2"/>
                      <a:pt x="2" y="2"/>
                    </a:cubicBezTo>
                    <a:cubicBezTo>
                      <a:pt x="2" y="2"/>
                      <a:pt x="2" y="2"/>
                      <a:pt x="3" y="2"/>
                    </a:cubicBezTo>
                    <a:cubicBezTo>
                      <a:pt x="3" y="2"/>
                      <a:pt x="4" y="2"/>
                      <a:pt x="4" y="2"/>
                    </a:cubicBezTo>
                    <a:cubicBezTo>
                      <a:pt x="5" y="2"/>
                      <a:pt x="5" y="2"/>
                      <a:pt x="5" y="2"/>
                    </a:cubicBezTo>
                    <a:cubicBezTo>
                      <a:pt x="5" y="2"/>
                      <a:pt x="5" y="2"/>
                      <a:pt x="5" y="2"/>
                    </a:cubicBezTo>
                    <a:cubicBezTo>
                      <a:pt x="3"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1" name="Rectangle 369">
                <a:extLst>
                  <a:ext uri="{FF2B5EF4-FFF2-40B4-BE49-F238E27FC236}">
                    <a16:creationId xmlns:a16="http://schemas.microsoft.com/office/drawing/2014/main" id="{2CD39721-173F-420A-9EAC-9C7F86F5475C}"/>
                  </a:ext>
                </a:extLst>
              </p:cNvPr>
              <p:cNvSpPr>
                <a:spLocks noChangeArrowheads="1"/>
              </p:cNvSpPr>
              <p:nvPr/>
            </p:nvSpPr>
            <p:spPr bwMode="auto">
              <a:xfrm>
                <a:off x="10288843" y="342347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2" name="Rectangle 370">
                <a:extLst>
                  <a:ext uri="{FF2B5EF4-FFF2-40B4-BE49-F238E27FC236}">
                    <a16:creationId xmlns:a16="http://schemas.microsoft.com/office/drawing/2014/main" id="{6C0AA1BA-A57E-47A5-B439-C43CC1583B37}"/>
                  </a:ext>
                </a:extLst>
              </p:cNvPr>
              <p:cNvSpPr>
                <a:spLocks noChangeArrowheads="1"/>
              </p:cNvSpPr>
              <p:nvPr/>
            </p:nvSpPr>
            <p:spPr bwMode="auto">
              <a:xfrm>
                <a:off x="10288843" y="342347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3" name="Freeform 371">
                <a:extLst>
                  <a:ext uri="{FF2B5EF4-FFF2-40B4-BE49-F238E27FC236}">
                    <a16:creationId xmlns:a16="http://schemas.microsoft.com/office/drawing/2014/main" id="{8E58F12A-88BF-4E1A-8F96-570997B285C0}"/>
                  </a:ext>
                </a:extLst>
              </p:cNvPr>
              <p:cNvSpPr>
                <a:spLocks/>
              </p:cNvSpPr>
              <p:nvPr/>
            </p:nvSpPr>
            <p:spPr bwMode="auto">
              <a:xfrm>
                <a:off x="8800056" y="4422140"/>
                <a:ext cx="3685" cy="3685"/>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0"/>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4" name="Rectangle 372">
                <a:extLst>
                  <a:ext uri="{FF2B5EF4-FFF2-40B4-BE49-F238E27FC236}">
                    <a16:creationId xmlns:a16="http://schemas.microsoft.com/office/drawing/2014/main" id="{29CF5D17-5DF1-47C2-8B33-E8031F9C87ED}"/>
                  </a:ext>
                </a:extLst>
              </p:cNvPr>
              <p:cNvSpPr>
                <a:spLocks noChangeArrowheads="1"/>
              </p:cNvSpPr>
              <p:nvPr/>
            </p:nvSpPr>
            <p:spPr bwMode="auto">
              <a:xfrm>
                <a:off x="8766890" y="4366863"/>
                <a:ext cx="3685" cy="3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5" name="Freeform 373">
                <a:extLst>
                  <a:ext uri="{FF2B5EF4-FFF2-40B4-BE49-F238E27FC236}">
                    <a16:creationId xmlns:a16="http://schemas.microsoft.com/office/drawing/2014/main" id="{6138266A-A447-4B72-AF08-6A20235593A1}"/>
                  </a:ext>
                </a:extLst>
              </p:cNvPr>
              <p:cNvSpPr>
                <a:spLocks/>
              </p:cNvSpPr>
              <p:nvPr/>
            </p:nvSpPr>
            <p:spPr bwMode="auto">
              <a:xfrm>
                <a:off x="8766890" y="436686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6" name="Freeform 374">
                <a:extLst>
                  <a:ext uri="{FF2B5EF4-FFF2-40B4-BE49-F238E27FC236}">
                    <a16:creationId xmlns:a16="http://schemas.microsoft.com/office/drawing/2014/main" id="{6652DB1F-1355-4C49-B518-432FF6B61E5D}"/>
                  </a:ext>
                </a:extLst>
              </p:cNvPr>
              <p:cNvSpPr>
                <a:spLocks noEditPoints="1"/>
              </p:cNvSpPr>
              <p:nvPr/>
            </p:nvSpPr>
            <p:spPr bwMode="auto">
              <a:xfrm>
                <a:off x="12090864" y="445900"/>
                <a:ext cx="88443" cy="103183"/>
              </a:xfrm>
              <a:custGeom>
                <a:avLst/>
                <a:gdLst>
                  <a:gd name="T0" fmla="*/ 9 w 28"/>
                  <a:gd name="T1" fmla="*/ 22 h 32"/>
                  <a:gd name="T2" fmla="*/ 10 w 28"/>
                  <a:gd name="T3" fmla="*/ 23 h 32"/>
                  <a:gd name="T4" fmla="*/ 7 w 28"/>
                  <a:gd name="T5" fmla="*/ 25 h 32"/>
                  <a:gd name="T6" fmla="*/ 5 w 28"/>
                  <a:gd name="T7" fmla="*/ 26 h 32"/>
                  <a:gd name="T8" fmla="*/ 5 w 28"/>
                  <a:gd name="T9" fmla="*/ 27 h 32"/>
                  <a:gd name="T10" fmla="*/ 6 w 28"/>
                  <a:gd name="T11" fmla="*/ 27 h 32"/>
                  <a:gd name="T12" fmla="*/ 6 w 28"/>
                  <a:gd name="T13" fmla="*/ 28 h 32"/>
                  <a:gd name="T14" fmla="*/ 6 w 28"/>
                  <a:gd name="T15" fmla="*/ 28 h 32"/>
                  <a:gd name="T16" fmla="*/ 6 w 28"/>
                  <a:gd name="T17" fmla="*/ 29 h 32"/>
                  <a:gd name="T18" fmla="*/ 6 w 28"/>
                  <a:gd name="T19" fmla="*/ 30 h 32"/>
                  <a:gd name="T20" fmla="*/ 12 w 28"/>
                  <a:gd name="T21" fmla="*/ 31 h 32"/>
                  <a:gd name="T22" fmla="*/ 17 w 28"/>
                  <a:gd name="T23" fmla="*/ 31 h 32"/>
                  <a:gd name="T24" fmla="*/ 18 w 28"/>
                  <a:gd name="T25" fmla="*/ 31 h 32"/>
                  <a:gd name="T26" fmla="*/ 22 w 28"/>
                  <a:gd name="T27" fmla="*/ 31 h 32"/>
                  <a:gd name="T28" fmla="*/ 22 w 28"/>
                  <a:gd name="T29" fmla="*/ 31 h 32"/>
                  <a:gd name="T30" fmla="*/ 27 w 28"/>
                  <a:gd name="T31" fmla="*/ 24 h 32"/>
                  <a:gd name="T32" fmla="*/ 22 w 28"/>
                  <a:gd name="T33" fmla="*/ 23 h 32"/>
                  <a:gd name="T34" fmla="*/ 11 w 28"/>
                  <a:gd name="T35" fmla="*/ 22 h 32"/>
                  <a:gd name="T36" fmla="*/ 26 w 28"/>
                  <a:gd name="T37" fmla="*/ 15 h 32"/>
                  <a:gd name="T38" fmla="*/ 24 w 28"/>
                  <a:gd name="T39" fmla="*/ 16 h 32"/>
                  <a:gd name="T40" fmla="*/ 23 w 28"/>
                  <a:gd name="T41" fmla="*/ 16 h 32"/>
                  <a:gd name="T42" fmla="*/ 23 w 28"/>
                  <a:gd name="T43" fmla="*/ 17 h 32"/>
                  <a:gd name="T44" fmla="*/ 24 w 28"/>
                  <a:gd name="T45" fmla="*/ 17 h 32"/>
                  <a:gd name="T46" fmla="*/ 25 w 28"/>
                  <a:gd name="T47" fmla="*/ 18 h 32"/>
                  <a:gd name="T48" fmla="*/ 26 w 28"/>
                  <a:gd name="T49" fmla="*/ 18 h 32"/>
                  <a:gd name="T50" fmla="*/ 27 w 28"/>
                  <a:gd name="T51" fmla="*/ 15 h 32"/>
                  <a:gd name="T52" fmla="*/ 9 w 28"/>
                  <a:gd name="T53" fmla="*/ 0 h 32"/>
                  <a:gd name="T54" fmla="*/ 10 w 28"/>
                  <a:gd name="T55" fmla="*/ 1 h 32"/>
                  <a:gd name="T56" fmla="*/ 10 w 28"/>
                  <a:gd name="T57" fmla="*/ 1 h 32"/>
                  <a:gd name="T58" fmla="*/ 10 w 28"/>
                  <a:gd name="T59" fmla="*/ 2 h 32"/>
                  <a:gd name="T60" fmla="*/ 6 w 28"/>
                  <a:gd name="T61" fmla="*/ 4 h 32"/>
                  <a:gd name="T62" fmla="*/ 4 w 28"/>
                  <a:gd name="T63" fmla="*/ 5 h 32"/>
                  <a:gd name="T64" fmla="*/ 3 w 28"/>
                  <a:gd name="T65" fmla="*/ 6 h 32"/>
                  <a:gd name="T66" fmla="*/ 3 w 28"/>
                  <a:gd name="T67" fmla="*/ 7 h 32"/>
                  <a:gd name="T68" fmla="*/ 3 w 28"/>
                  <a:gd name="T69" fmla="*/ 8 h 32"/>
                  <a:gd name="T70" fmla="*/ 3 w 28"/>
                  <a:gd name="T71" fmla="*/ 8 h 32"/>
                  <a:gd name="T72" fmla="*/ 1 w 28"/>
                  <a:gd name="T73" fmla="*/ 9 h 32"/>
                  <a:gd name="T74" fmla="*/ 1 w 28"/>
                  <a:gd name="T75" fmla="*/ 9 h 32"/>
                  <a:gd name="T76" fmla="*/ 0 w 28"/>
                  <a:gd name="T77" fmla="*/ 10 h 32"/>
                  <a:gd name="T78" fmla="*/ 1 w 28"/>
                  <a:gd name="T79" fmla="*/ 10 h 32"/>
                  <a:gd name="T80" fmla="*/ 2 w 28"/>
                  <a:gd name="T81" fmla="*/ 10 h 32"/>
                  <a:gd name="T82" fmla="*/ 5 w 28"/>
                  <a:gd name="T83" fmla="*/ 11 h 32"/>
                  <a:gd name="T84" fmla="*/ 7 w 28"/>
                  <a:gd name="T85" fmla="*/ 11 h 32"/>
                  <a:gd name="T86" fmla="*/ 10 w 28"/>
                  <a:gd name="T87" fmla="*/ 11 h 32"/>
                  <a:gd name="T88" fmla="*/ 10 w 28"/>
                  <a:gd name="T89" fmla="*/ 11 h 32"/>
                  <a:gd name="T90" fmla="*/ 13 w 28"/>
                  <a:gd name="T91" fmla="*/ 11 h 32"/>
                  <a:gd name="T92" fmla="*/ 15 w 28"/>
                  <a:gd name="T93" fmla="*/ 11 h 32"/>
                  <a:gd name="T94" fmla="*/ 19 w 28"/>
                  <a:gd name="T95" fmla="*/ 13 h 32"/>
                  <a:gd name="T96" fmla="*/ 20 w 28"/>
                  <a:gd name="T97" fmla="*/ 13 h 32"/>
                  <a:gd name="T98" fmla="*/ 26 w 28"/>
                  <a:gd name="T99" fmla="*/ 14 h 32"/>
                  <a:gd name="T100" fmla="*/ 27 w 28"/>
                  <a:gd name="T101" fmla="*/ 14 h 32"/>
                  <a:gd name="T102" fmla="*/ 27 w 28"/>
                  <a:gd name="T103" fmla="*/ 10 h 32"/>
                  <a:gd name="T104" fmla="*/ 26 w 28"/>
                  <a:gd name="T105" fmla="*/ 9 h 32"/>
                  <a:gd name="T106" fmla="*/ 25 w 28"/>
                  <a:gd name="T107" fmla="*/ 9 h 32"/>
                  <a:gd name="T108" fmla="*/ 23 w 28"/>
                  <a:gd name="T109" fmla="*/ 6 h 32"/>
                  <a:gd name="T110" fmla="*/ 18 w 28"/>
                  <a:gd name="T111" fmla="*/ 6 h 32"/>
                  <a:gd name="T112" fmla="*/ 9 w 28"/>
                  <a:gd name="T11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32">
                    <a:moveTo>
                      <a:pt x="11" y="22"/>
                    </a:moveTo>
                    <a:cubicBezTo>
                      <a:pt x="9" y="22"/>
                      <a:pt x="9" y="22"/>
                      <a:pt x="9" y="22"/>
                    </a:cubicBezTo>
                    <a:cubicBezTo>
                      <a:pt x="10" y="23"/>
                      <a:pt x="10" y="23"/>
                      <a:pt x="10" y="23"/>
                    </a:cubicBezTo>
                    <a:cubicBezTo>
                      <a:pt x="10" y="23"/>
                      <a:pt x="10" y="23"/>
                      <a:pt x="10" y="23"/>
                    </a:cubicBezTo>
                    <a:cubicBezTo>
                      <a:pt x="9" y="23"/>
                      <a:pt x="9" y="23"/>
                      <a:pt x="9" y="23"/>
                    </a:cubicBezTo>
                    <a:cubicBezTo>
                      <a:pt x="7" y="25"/>
                      <a:pt x="7" y="25"/>
                      <a:pt x="7" y="25"/>
                    </a:cubicBezTo>
                    <a:cubicBezTo>
                      <a:pt x="5" y="25"/>
                      <a:pt x="5" y="25"/>
                      <a:pt x="5" y="25"/>
                    </a:cubicBezTo>
                    <a:cubicBezTo>
                      <a:pt x="5" y="26"/>
                      <a:pt x="5" y="26"/>
                      <a:pt x="5" y="26"/>
                    </a:cubicBezTo>
                    <a:cubicBezTo>
                      <a:pt x="5" y="26"/>
                      <a:pt x="5" y="26"/>
                      <a:pt x="5" y="26"/>
                    </a:cubicBezTo>
                    <a:cubicBezTo>
                      <a:pt x="5" y="27"/>
                      <a:pt x="5" y="27"/>
                      <a:pt x="5" y="27"/>
                    </a:cubicBezTo>
                    <a:cubicBezTo>
                      <a:pt x="5" y="27"/>
                      <a:pt x="5" y="27"/>
                      <a:pt x="5" y="27"/>
                    </a:cubicBezTo>
                    <a:cubicBezTo>
                      <a:pt x="6" y="27"/>
                      <a:pt x="6" y="27"/>
                      <a:pt x="6" y="27"/>
                    </a:cubicBezTo>
                    <a:cubicBezTo>
                      <a:pt x="6" y="27"/>
                      <a:pt x="6" y="27"/>
                      <a:pt x="6" y="27"/>
                    </a:cubicBezTo>
                    <a:cubicBezTo>
                      <a:pt x="6" y="28"/>
                      <a:pt x="6" y="28"/>
                      <a:pt x="6" y="28"/>
                    </a:cubicBezTo>
                    <a:cubicBezTo>
                      <a:pt x="6" y="28"/>
                      <a:pt x="6" y="28"/>
                      <a:pt x="6" y="28"/>
                    </a:cubicBezTo>
                    <a:cubicBezTo>
                      <a:pt x="6" y="28"/>
                      <a:pt x="6" y="28"/>
                      <a:pt x="6" y="28"/>
                    </a:cubicBezTo>
                    <a:cubicBezTo>
                      <a:pt x="6" y="29"/>
                      <a:pt x="6" y="29"/>
                      <a:pt x="6" y="29"/>
                    </a:cubicBezTo>
                    <a:cubicBezTo>
                      <a:pt x="6" y="29"/>
                      <a:pt x="6" y="29"/>
                      <a:pt x="6" y="29"/>
                    </a:cubicBezTo>
                    <a:cubicBezTo>
                      <a:pt x="6" y="30"/>
                      <a:pt x="6" y="30"/>
                      <a:pt x="6" y="30"/>
                    </a:cubicBezTo>
                    <a:cubicBezTo>
                      <a:pt x="6" y="30"/>
                      <a:pt x="6" y="30"/>
                      <a:pt x="6" y="30"/>
                    </a:cubicBezTo>
                    <a:cubicBezTo>
                      <a:pt x="7" y="30"/>
                      <a:pt x="7" y="30"/>
                      <a:pt x="7" y="30"/>
                    </a:cubicBezTo>
                    <a:cubicBezTo>
                      <a:pt x="8" y="31"/>
                      <a:pt x="10" y="31"/>
                      <a:pt x="12" y="31"/>
                    </a:cubicBezTo>
                    <a:cubicBezTo>
                      <a:pt x="14" y="31"/>
                      <a:pt x="15" y="31"/>
                      <a:pt x="16" y="31"/>
                    </a:cubicBezTo>
                    <a:cubicBezTo>
                      <a:pt x="17" y="31"/>
                      <a:pt x="17" y="31"/>
                      <a:pt x="17" y="31"/>
                    </a:cubicBezTo>
                    <a:cubicBezTo>
                      <a:pt x="17" y="31"/>
                      <a:pt x="17" y="31"/>
                      <a:pt x="17" y="31"/>
                    </a:cubicBezTo>
                    <a:cubicBezTo>
                      <a:pt x="18" y="31"/>
                      <a:pt x="18" y="31"/>
                      <a:pt x="18" y="31"/>
                    </a:cubicBezTo>
                    <a:cubicBezTo>
                      <a:pt x="19" y="31"/>
                      <a:pt x="19" y="31"/>
                      <a:pt x="19" y="31"/>
                    </a:cubicBezTo>
                    <a:cubicBezTo>
                      <a:pt x="20" y="31"/>
                      <a:pt x="21" y="31"/>
                      <a:pt x="22" y="31"/>
                    </a:cubicBezTo>
                    <a:cubicBezTo>
                      <a:pt x="22" y="31"/>
                      <a:pt x="22" y="31"/>
                      <a:pt x="22" y="31"/>
                    </a:cubicBezTo>
                    <a:cubicBezTo>
                      <a:pt x="22" y="31"/>
                      <a:pt x="22" y="31"/>
                      <a:pt x="22" y="31"/>
                    </a:cubicBezTo>
                    <a:cubicBezTo>
                      <a:pt x="23" y="31"/>
                      <a:pt x="24" y="31"/>
                      <a:pt x="27" y="32"/>
                    </a:cubicBezTo>
                    <a:cubicBezTo>
                      <a:pt x="27" y="24"/>
                      <a:pt x="27" y="24"/>
                      <a:pt x="27" y="24"/>
                    </a:cubicBezTo>
                    <a:cubicBezTo>
                      <a:pt x="25" y="23"/>
                      <a:pt x="25" y="23"/>
                      <a:pt x="25" y="23"/>
                    </a:cubicBezTo>
                    <a:cubicBezTo>
                      <a:pt x="22" y="23"/>
                      <a:pt x="22" y="23"/>
                      <a:pt x="22" y="23"/>
                    </a:cubicBezTo>
                    <a:cubicBezTo>
                      <a:pt x="14" y="22"/>
                      <a:pt x="14" y="22"/>
                      <a:pt x="14" y="22"/>
                    </a:cubicBezTo>
                    <a:cubicBezTo>
                      <a:pt x="11" y="22"/>
                      <a:pt x="11" y="22"/>
                      <a:pt x="11" y="22"/>
                    </a:cubicBezTo>
                    <a:moveTo>
                      <a:pt x="27" y="15"/>
                    </a:moveTo>
                    <a:cubicBezTo>
                      <a:pt x="26" y="15"/>
                      <a:pt x="26" y="15"/>
                      <a:pt x="26" y="15"/>
                    </a:cubicBezTo>
                    <a:cubicBezTo>
                      <a:pt x="25" y="16"/>
                      <a:pt x="25" y="16"/>
                      <a:pt x="25" y="16"/>
                    </a:cubicBezTo>
                    <a:cubicBezTo>
                      <a:pt x="24" y="16"/>
                      <a:pt x="24" y="16"/>
                      <a:pt x="24" y="16"/>
                    </a:cubicBezTo>
                    <a:cubicBezTo>
                      <a:pt x="23" y="16"/>
                      <a:pt x="23" y="16"/>
                      <a:pt x="23" y="16"/>
                    </a:cubicBezTo>
                    <a:cubicBezTo>
                      <a:pt x="23" y="16"/>
                      <a:pt x="23" y="16"/>
                      <a:pt x="23" y="16"/>
                    </a:cubicBezTo>
                    <a:cubicBezTo>
                      <a:pt x="23" y="17"/>
                      <a:pt x="23" y="17"/>
                      <a:pt x="23" y="17"/>
                    </a:cubicBezTo>
                    <a:cubicBezTo>
                      <a:pt x="23" y="17"/>
                      <a:pt x="23" y="17"/>
                      <a:pt x="23" y="17"/>
                    </a:cubicBezTo>
                    <a:cubicBezTo>
                      <a:pt x="24" y="17"/>
                      <a:pt x="24" y="17"/>
                      <a:pt x="24" y="17"/>
                    </a:cubicBezTo>
                    <a:cubicBezTo>
                      <a:pt x="24" y="17"/>
                      <a:pt x="24" y="17"/>
                      <a:pt x="24" y="17"/>
                    </a:cubicBezTo>
                    <a:cubicBezTo>
                      <a:pt x="25" y="18"/>
                      <a:pt x="25" y="18"/>
                      <a:pt x="25" y="18"/>
                    </a:cubicBezTo>
                    <a:cubicBezTo>
                      <a:pt x="25" y="18"/>
                      <a:pt x="25" y="18"/>
                      <a:pt x="25" y="18"/>
                    </a:cubicBezTo>
                    <a:cubicBezTo>
                      <a:pt x="25" y="18"/>
                      <a:pt x="25" y="18"/>
                      <a:pt x="25" y="18"/>
                    </a:cubicBezTo>
                    <a:cubicBezTo>
                      <a:pt x="26" y="18"/>
                      <a:pt x="26" y="18"/>
                      <a:pt x="26" y="18"/>
                    </a:cubicBezTo>
                    <a:cubicBezTo>
                      <a:pt x="27" y="19"/>
                      <a:pt x="27" y="19"/>
                      <a:pt x="27" y="19"/>
                    </a:cubicBezTo>
                    <a:cubicBezTo>
                      <a:pt x="27" y="15"/>
                      <a:pt x="27" y="15"/>
                      <a:pt x="27" y="15"/>
                    </a:cubicBezTo>
                    <a:moveTo>
                      <a:pt x="9" y="0"/>
                    </a:moveTo>
                    <a:cubicBezTo>
                      <a:pt x="9" y="0"/>
                      <a:pt x="9" y="0"/>
                      <a:pt x="9" y="0"/>
                    </a:cubicBezTo>
                    <a:cubicBezTo>
                      <a:pt x="9" y="1"/>
                      <a:pt x="9" y="1"/>
                      <a:pt x="9" y="1"/>
                    </a:cubicBezTo>
                    <a:cubicBezTo>
                      <a:pt x="10" y="1"/>
                      <a:pt x="10" y="1"/>
                      <a:pt x="10" y="1"/>
                    </a:cubicBezTo>
                    <a:cubicBezTo>
                      <a:pt x="10" y="1"/>
                      <a:pt x="10" y="1"/>
                      <a:pt x="10" y="1"/>
                    </a:cubicBezTo>
                    <a:cubicBezTo>
                      <a:pt x="10" y="1"/>
                      <a:pt x="10" y="1"/>
                      <a:pt x="10" y="1"/>
                    </a:cubicBezTo>
                    <a:cubicBezTo>
                      <a:pt x="11" y="2"/>
                      <a:pt x="11" y="2"/>
                      <a:pt x="11" y="2"/>
                    </a:cubicBezTo>
                    <a:cubicBezTo>
                      <a:pt x="10" y="2"/>
                      <a:pt x="10" y="2"/>
                      <a:pt x="10" y="2"/>
                    </a:cubicBezTo>
                    <a:cubicBezTo>
                      <a:pt x="9" y="3"/>
                      <a:pt x="9" y="3"/>
                      <a:pt x="9" y="3"/>
                    </a:cubicBezTo>
                    <a:cubicBezTo>
                      <a:pt x="6" y="4"/>
                      <a:pt x="6" y="4"/>
                      <a:pt x="6" y="4"/>
                    </a:cubicBezTo>
                    <a:cubicBezTo>
                      <a:pt x="5" y="5"/>
                      <a:pt x="5" y="5"/>
                      <a:pt x="5" y="5"/>
                    </a:cubicBezTo>
                    <a:cubicBezTo>
                      <a:pt x="4" y="5"/>
                      <a:pt x="4" y="5"/>
                      <a:pt x="4" y="5"/>
                    </a:cubicBezTo>
                    <a:cubicBezTo>
                      <a:pt x="3" y="6"/>
                      <a:pt x="3" y="6"/>
                      <a:pt x="3" y="6"/>
                    </a:cubicBezTo>
                    <a:cubicBezTo>
                      <a:pt x="3" y="6"/>
                      <a:pt x="3" y="6"/>
                      <a:pt x="3" y="6"/>
                    </a:cubicBezTo>
                    <a:cubicBezTo>
                      <a:pt x="3" y="6"/>
                      <a:pt x="3" y="6"/>
                      <a:pt x="3" y="6"/>
                    </a:cubicBezTo>
                    <a:cubicBezTo>
                      <a:pt x="3" y="7"/>
                      <a:pt x="3" y="7"/>
                      <a:pt x="3" y="7"/>
                    </a:cubicBezTo>
                    <a:cubicBezTo>
                      <a:pt x="3" y="7"/>
                      <a:pt x="3" y="7"/>
                      <a:pt x="3" y="7"/>
                    </a:cubicBezTo>
                    <a:cubicBezTo>
                      <a:pt x="3" y="8"/>
                      <a:pt x="3" y="8"/>
                      <a:pt x="3" y="8"/>
                    </a:cubicBezTo>
                    <a:cubicBezTo>
                      <a:pt x="3" y="8"/>
                      <a:pt x="3" y="8"/>
                      <a:pt x="3" y="8"/>
                    </a:cubicBezTo>
                    <a:cubicBezTo>
                      <a:pt x="3" y="8"/>
                      <a:pt x="3" y="8"/>
                      <a:pt x="3" y="8"/>
                    </a:cubicBezTo>
                    <a:cubicBezTo>
                      <a:pt x="2" y="8"/>
                      <a:pt x="2" y="8"/>
                      <a:pt x="2" y="8"/>
                    </a:cubicBezTo>
                    <a:cubicBezTo>
                      <a:pt x="1" y="9"/>
                      <a:pt x="1" y="9"/>
                      <a:pt x="1" y="9"/>
                    </a:cubicBezTo>
                    <a:cubicBezTo>
                      <a:pt x="1" y="9"/>
                      <a:pt x="1" y="9"/>
                      <a:pt x="1" y="9"/>
                    </a:cubicBezTo>
                    <a:cubicBezTo>
                      <a:pt x="1" y="9"/>
                      <a:pt x="1" y="9"/>
                      <a:pt x="1" y="9"/>
                    </a:cubicBezTo>
                    <a:cubicBezTo>
                      <a:pt x="0" y="9"/>
                      <a:pt x="0" y="9"/>
                      <a:pt x="0" y="9"/>
                    </a:cubicBezTo>
                    <a:cubicBezTo>
                      <a:pt x="0" y="10"/>
                      <a:pt x="0" y="10"/>
                      <a:pt x="0" y="10"/>
                    </a:cubicBezTo>
                    <a:cubicBezTo>
                      <a:pt x="1" y="10"/>
                      <a:pt x="1" y="10"/>
                      <a:pt x="1" y="10"/>
                    </a:cubicBezTo>
                    <a:cubicBezTo>
                      <a:pt x="1" y="10"/>
                      <a:pt x="1" y="10"/>
                      <a:pt x="1" y="10"/>
                    </a:cubicBezTo>
                    <a:cubicBezTo>
                      <a:pt x="2" y="10"/>
                      <a:pt x="2" y="10"/>
                      <a:pt x="2" y="10"/>
                    </a:cubicBezTo>
                    <a:cubicBezTo>
                      <a:pt x="2" y="10"/>
                      <a:pt x="2" y="10"/>
                      <a:pt x="2" y="10"/>
                    </a:cubicBezTo>
                    <a:cubicBezTo>
                      <a:pt x="3" y="10"/>
                      <a:pt x="3" y="10"/>
                      <a:pt x="4" y="10"/>
                    </a:cubicBezTo>
                    <a:cubicBezTo>
                      <a:pt x="4" y="11"/>
                      <a:pt x="5" y="11"/>
                      <a:pt x="5" y="11"/>
                    </a:cubicBezTo>
                    <a:cubicBezTo>
                      <a:pt x="6" y="11"/>
                      <a:pt x="6" y="11"/>
                      <a:pt x="7" y="11"/>
                    </a:cubicBezTo>
                    <a:cubicBezTo>
                      <a:pt x="7" y="11"/>
                      <a:pt x="7" y="11"/>
                      <a:pt x="7" y="11"/>
                    </a:cubicBezTo>
                    <a:cubicBezTo>
                      <a:pt x="8" y="10"/>
                      <a:pt x="8" y="10"/>
                      <a:pt x="8" y="10"/>
                    </a:cubicBezTo>
                    <a:cubicBezTo>
                      <a:pt x="9" y="11"/>
                      <a:pt x="9" y="11"/>
                      <a:pt x="10" y="11"/>
                    </a:cubicBezTo>
                    <a:cubicBezTo>
                      <a:pt x="10" y="11"/>
                      <a:pt x="10" y="11"/>
                      <a:pt x="10" y="11"/>
                    </a:cubicBezTo>
                    <a:cubicBezTo>
                      <a:pt x="10" y="11"/>
                      <a:pt x="10" y="11"/>
                      <a:pt x="10" y="11"/>
                    </a:cubicBezTo>
                    <a:cubicBezTo>
                      <a:pt x="11" y="11"/>
                      <a:pt x="12" y="11"/>
                      <a:pt x="13" y="11"/>
                    </a:cubicBezTo>
                    <a:cubicBezTo>
                      <a:pt x="13" y="11"/>
                      <a:pt x="13" y="11"/>
                      <a:pt x="13" y="11"/>
                    </a:cubicBezTo>
                    <a:cubicBezTo>
                      <a:pt x="14" y="11"/>
                      <a:pt x="14" y="11"/>
                      <a:pt x="14" y="11"/>
                    </a:cubicBezTo>
                    <a:cubicBezTo>
                      <a:pt x="15" y="11"/>
                      <a:pt x="15" y="11"/>
                      <a:pt x="15" y="11"/>
                    </a:cubicBezTo>
                    <a:cubicBezTo>
                      <a:pt x="16" y="11"/>
                      <a:pt x="16" y="11"/>
                      <a:pt x="16" y="11"/>
                    </a:cubicBezTo>
                    <a:cubicBezTo>
                      <a:pt x="18" y="12"/>
                      <a:pt x="17" y="13"/>
                      <a:pt x="19" y="13"/>
                    </a:cubicBezTo>
                    <a:cubicBezTo>
                      <a:pt x="20" y="13"/>
                      <a:pt x="20" y="13"/>
                      <a:pt x="20" y="13"/>
                    </a:cubicBezTo>
                    <a:cubicBezTo>
                      <a:pt x="20" y="13"/>
                      <a:pt x="20" y="13"/>
                      <a:pt x="20" y="13"/>
                    </a:cubicBezTo>
                    <a:cubicBezTo>
                      <a:pt x="21" y="14"/>
                      <a:pt x="22" y="14"/>
                      <a:pt x="23" y="14"/>
                    </a:cubicBezTo>
                    <a:cubicBezTo>
                      <a:pt x="24" y="14"/>
                      <a:pt x="25" y="14"/>
                      <a:pt x="26" y="14"/>
                    </a:cubicBezTo>
                    <a:cubicBezTo>
                      <a:pt x="27" y="14"/>
                      <a:pt x="27" y="14"/>
                      <a:pt x="27" y="14"/>
                    </a:cubicBezTo>
                    <a:cubicBezTo>
                      <a:pt x="27" y="14"/>
                      <a:pt x="27" y="14"/>
                      <a:pt x="27" y="14"/>
                    </a:cubicBezTo>
                    <a:cubicBezTo>
                      <a:pt x="27" y="10"/>
                      <a:pt x="27" y="10"/>
                      <a:pt x="27" y="10"/>
                    </a:cubicBezTo>
                    <a:cubicBezTo>
                      <a:pt x="27" y="10"/>
                      <a:pt x="27" y="10"/>
                      <a:pt x="27" y="10"/>
                    </a:cubicBezTo>
                    <a:cubicBezTo>
                      <a:pt x="26" y="10"/>
                      <a:pt x="26" y="10"/>
                      <a:pt x="26" y="10"/>
                    </a:cubicBezTo>
                    <a:cubicBezTo>
                      <a:pt x="26" y="9"/>
                      <a:pt x="26" y="9"/>
                      <a:pt x="26" y="9"/>
                    </a:cubicBezTo>
                    <a:cubicBezTo>
                      <a:pt x="26" y="9"/>
                      <a:pt x="26" y="9"/>
                      <a:pt x="26" y="9"/>
                    </a:cubicBezTo>
                    <a:cubicBezTo>
                      <a:pt x="25" y="9"/>
                      <a:pt x="25" y="9"/>
                      <a:pt x="25" y="9"/>
                    </a:cubicBezTo>
                    <a:cubicBezTo>
                      <a:pt x="23" y="8"/>
                      <a:pt x="28" y="6"/>
                      <a:pt x="24" y="6"/>
                    </a:cubicBezTo>
                    <a:cubicBezTo>
                      <a:pt x="23" y="6"/>
                      <a:pt x="23" y="6"/>
                      <a:pt x="23" y="6"/>
                    </a:cubicBezTo>
                    <a:cubicBezTo>
                      <a:pt x="22" y="6"/>
                      <a:pt x="22" y="6"/>
                      <a:pt x="22" y="6"/>
                    </a:cubicBezTo>
                    <a:cubicBezTo>
                      <a:pt x="20" y="6"/>
                      <a:pt x="19" y="6"/>
                      <a:pt x="18" y="6"/>
                    </a:cubicBezTo>
                    <a:cubicBezTo>
                      <a:pt x="15" y="6"/>
                      <a:pt x="17" y="5"/>
                      <a:pt x="10" y="1"/>
                    </a:cubicBezTo>
                    <a:cubicBezTo>
                      <a:pt x="9" y="0"/>
                      <a:pt x="9"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7" name="Freeform 375">
                <a:extLst>
                  <a:ext uri="{FF2B5EF4-FFF2-40B4-BE49-F238E27FC236}">
                    <a16:creationId xmlns:a16="http://schemas.microsoft.com/office/drawing/2014/main" id="{C3E73A44-2DE5-410B-B355-670A0F71A758}"/>
                  </a:ext>
                </a:extLst>
              </p:cNvPr>
              <p:cNvSpPr>
                <a:spLocks noEditPoints="1"/>
              </p:cNvSpPr>
              <p:nvPr/>
            </p:nvSpPr>
            <p:spPr bwMode="auto">
              <a:xfrm>
                <a:off x="6839575" y="615415"/>
                <a:ext cx="5339732" cy="4326326"/>
              </a:xfrm>
              <a:custGeom>
                <a:avLst/>
                <a:gdLst>
                  <a:gd name="T0" fmla="*/ 235 w 1682"/>
                  <a:gd name="T1" fmla="*/ 574 h 1362"/>
                  <a:gd name="T2" fmla="*/ 211 w 1682"/>
                  <a:gd name="T3" fmla="*/ 553 h 1362"/>
                  <a:gd name="T4" fmla="*/ 88 w 1682"/>
                  <a:gd name="T5" fmla="*/ 495 h 1362"/>
                  <a:gd name="T6" fmla="*/ 8 w 1682"/>
                  <a:gd name="T7" fmla="*/ 761 h 1362"/>
                  <a:gd name="T8" fmla="*/ 39 w 1682"/>
                  <a:gd name="T9" fmla="*/ 831 h 1362"/>
                  <a:gd name="T10" fmla="*/ 1149 w 1682"/>
                  <a:gd name="T11" fmla="*/ 870 h 1362"/>
                  <a:gd name="T12" fmla="*/ 1245 w 1682"/>
                  <a:gd name="T13" fmla="*/ 904 h 1362"/>
                  <a:gd name="T14" fmla="*/ 943 w 1682"/>
                  <a:gd name="T15" fmla="*/ 250 h 1362"/>
                  <a:gd name="T16" fmla="*/ 748 w 1682"/>
                  <a:gd name="T17" fmla="*/ 284 h 1362"/>
                  <a:gd name="T18" fmla="*/ 569 w 1682"/>
                  <a:gd name="T19" fmla="*/ 359 h 1362"/>
                  <a:gd name="T20" fmla="*/ 1119 w 1682"/>
                  <a:gd name="T21" fmla="*/ 205 h 1362"/>
                  <a:gd name="T22" fmla="*/ 1116 w 1682"/>
                  <a:gd name="T23" fmla="*/ 150 h 1362"/>
                  <a:gd name="T24" fmla="*/ 142 w 1682"/>
                  <a:gd name="T25" fmla="*/ 946 h 1362"/>
                  <a:gd name="T26" fmla="*/ 229 w 1682"/>
                  <a:gd name="T27" fmla="*/ 1024 h 1362"/>
                  <a:gd name="T28" fmla="*/ 312 w 1682"/>
                  <a:gd name="T29" fmla="*/ 1168 h 1362"/>
                  <a:gd name="T30" fmla="*/ 357 w 1682"/>
                  <a:gd name="T31" fmla="*/ 1291 h 1362"/>
                  <a:gd name="T32" fmla="*/ 552 w 1682"/>
                  <a:gd name="T33" fmla="*/ 1130 h 1362"/>
                  <a:gd name="T34" fmla="*/ 1346 w 1682"/>
                  <a:gd name="T35" fmla="*/ 915 h 1362"/>
                  <a:gd name="T36" fmla="*/ 1562 w 1682"/>
                  <a:gd name="T37" fmla="*/ 1033 h 1362"/>
                  <a:gd name="T38" fmla="*/ 1675 w 1682"/>
                  <a:gd name="T39" fmla="*/ 1072 h 1362"/>
                  <a:gd name="T40" fmla="*/ 1039 w 1682"/>
                  <a:gd name="T41" fmla="*/ 895 h 1362"/>
                  <a:gd name="T42" fmla="*/ 259 w 1682"/>
                  <a:gd name="T43" fmla="*/ 457 h 1362"/>
                  <a:gd name="T44" fmla="*/ 367 w 1682"/>
                  <a:gd name="T45" fmla="*/ 457 h 1362"/>
                  <a:gd name="T46" fmla="*/ 56 w 1682"/>
                  <a:gd name="T47" fmla="*/ 240 h 1362"/>
                  <a:gd name="T48" fmla="*/ 194 w 1682"/>
                  <a:gd name="T49" fmla="*/ 428 h 1362"/>
                  <a:gd name="T50" fmla="*/ 213 w 1682"/>
                  <a:gd name="T51" fmla="*/ 374 h 1362"/>
                  <a:gd name="T52" fmla="*/ 134 w 1682"/>
                  <a:gd name="T53" fmla="*/ 233 h 1362"/>
                  <a:gd name="T54" fmla="*/ 1501 w 1682"/>
                  <a:gd name="T55" fmla="*/ 31 h 1362"/>
                  <a:gd name="T56" fmla="*/ 1510 w 1682"/>
                  <a:gd name="T57" fmla="*/ 63 h 1362"/>
                  <a:gd name="T58" fmla="*/ 1516 w 1682"/>
                  <a:gd name="T59" fmla="*/ 97 h 1362"/>
                  <a:gd name="T60" fmla="*/ 1378 w 1682"/>
                  <a:gd name="T61" fmla="*/ 106 h 1362"/>
                  <a:gd name="T62" fmla="*/ 1431 w 1682"/>
                  <a:gd name="T63" fmla="*/ 136 h 1362"/>
                  <a:gd name="T64" fmla="*/ 1457 w 1682"/>
                  <a:gd name="T65" fmla="*/ 157 h 1362"/>
                  <a:gd name="T66" fmla="*/ 1432 w 1682"/>
                  <a:gd name="T67" fmla="*/ 152 h 1362"/>
                  <a:gd name="T68" fmla="*/ 1386 w 1682"/>
                  <a:gd name="T69" fmla="*/ 142 h 1362"/>
                  <a:gd name="T70" fmla="*/ 1364 w 1682"/>
                  <a:gd name="T71" fmla="*/ 120 h 1362"/>
                  <a:gd name="T72" fmla="*/ 1365 w 1682"/>
                  <a:gd name="T73" fmla="*/ 96 h 1362"/>
                  <a:gd name="T74" fmla="*/ 1366 w 1682"/>
                  <a:gd name="T75" fmla="*/ 74 h 1362"/>
                  <a:gd name="T76" fmla="*/ 1313 w 1682"/>
                  <a:gd name="T77" fmla="*/ 108 h 1362"/>
                  <a:gd name="T78" fmla="*/ 1315 w 1682"/>
                  <a:gd name="T79" fmla="*/ 195 h 1362"/>
                  <a:gd name="T80" fmla="*/ 1317 w 1682"/>
                  <a:gd name="T81" fmla="*/ 249 h 1362"/>
                  <a:gd name="T82" fmla="*/ 1399 w 1682"/>
                  <a:gd name="T83" fmla="*/ 248 h 1362"/>
                  <a:gd name="T84" fmla="*/ 1421 w 1682"/>
                  <a:gd name="T85" fmla="*/ 306 h 1362"/>
                  <a:gd name="T86" fmla="*/ 1445 w 1682"/>
                  <a:gd name="T87" fmla="*/ 321 h 1362"/>
                  <a:gd name="T88" fmla="*/ 1463 w 1682"/>
                  <a:gd name="T89" fmla="*/ 326 h 1362"/>
                  <a:gd name="T90" fmla="*/ 1414 w 1682"/>
                  <a:gd name="T91" fmla="*/ 277 h 1362"/>
                  <a:gd name="T92" fmla="*/ 1331 w 1682"/>
                  <a:gd name="T93" fmla="*/ 286 h 1362"/>
                  <a:gd name="T94" fmla="*/ 1316 w 1682"/>
                  <a:gd name="T95" fmla="*/ 354 h 1362"/>
                  <a:gd name="T96" fmla="*/ 1270 w 1682"/>
                  <a:gd name="T97" fmla="*/ 387 h 1362"/>
                  <a:gd name="T98" fmla="*/ 1204 w 1682"/>
                  <a:gd name="T99" fmla="*/ 359 h 1362"/>
                  <a:gd name="T100" fmla="*/ 1271 w 1682"/>
                  <a:gd name="T101" fmla="*/ 344 h 1362"/>
                  <a:gd name="T102" fmla="*/ 1298 w 1682"/>
                  <a:gd name="T103" fmla="*/ 303 h 1362"/>
                  <a:gd name="T104" fmla="*/ 1281 w 1682"/>
                  <a:gd name="T105" fmla="*/ 226 h 1362"/>
                  <a:gd name="T106" fmla="*/ 1285 w 1682"/>
                  <a:gd name="T107" fmla="*/ 176 h 1362"/>
                  <a:gd name="T108" fmla="*/ 1274 w 1682"/>
                  <a:gd name="T109" fmla="*/ 108 h 1362"/>
                  <a:gd name="T110" fmla="*/ 1260 w 1682"/>
                  <a:gd name="T111" fmla="*/ 57 h 1362"/>
                  <a:gd name="T112" fmla="*/ 1188 w 1682"/>
                  <a:gd name="T113" fmla="*/ 52 h 1362"/>
                  <a:gd name="T114" fmla="*/ 1174 w 1682"/>
                  <a:gd name="T115" fmla="*/ 82 h 1362"/>
                  <a:gd name="T116" fmla="*/ 1143 w 1682"/>
                  <a:gd name="T117" fmla="*/ 129 h 1362"/>
                  <a:gd name="T118" fmla="*/ 1125 w 1682"/>
                  <a:gd name="T119" fmla="*/ 194 h 1362"/>
                  <a:gd name="T120" fmla="*/ 1144 w 1682"/>
                  <a:gd name="T121" fmla="*/ 229 h 1362"/>
                  <a:gd name="T122" fmla="*/ 1163 w 1682"/>
                  <a:gd name="T123" fmla="*/ 255 h 1362"/>
                  <a:gd name="T124" fmla="*/ 1180 w 1682"/>
                  <a:gd name="T125" fmla="*/ 265 h 1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2" h="1362">
                    <a:moveTo>
                      <a:pt x="86" y="603"/>
                    </a:moveTo>
                    <a:cubicBezTo>
                      <a:pt x="86" y="603"/>
                      <a:pt x="87" y="603"/>
                      <a:pt x="87" y="602"/>
                    </a:cubicBezTo>
                    <a:cubicBezTo>
                      <a:pt x="89" y="602"/>
                      <a:pt x="93" y="594"/>
                      <a:pt x="94" y="593"/>
                    </a:cubicBezTo>
                    <a:cubicBezTo>
                      <a:pt x="94" y="592"/>
                      <a:pt x="94" y="592"/>
                      <a:pt x="95" y="592"/>
                    </a:cubicBezTo>
                    <a:cubicBezTo>
                      <a:pt x="96" y="592"/>
                      <a:pt x="98" y="594"/>
                      <a:pt x="99" y="595"/>
                    </a:cubicBezTo>
                    <a:cubicBezTo>
                      <a:pt x="109" y="601"/>
                      <a:pt x="119" y="607"/>
                      <a:pt x="128" y="613"/>
                    </a:cubicBezTo>
                    <a:cubicBezTo>
                      <a:pt x="135" y="617"/>
                      <a:pt x="138" y="620"/>
                      <a:pt x="143" y="626"/>
                    </a:cubicBezTo>
                    <a:cubicBezTo>
                      <a:pt x="146" y="630"/>
                      <a:pt x="149" y="634"/>
                      <a:pt x="152" y="638"/>
                    </a:cubicBezTo>
                    <a:cubicBezTo>
                      <a:pt x="154" y="640"/>
                      <a:pt x="151" y="646"/>
                      <a:pt x="150" y="648"/>
                    </a:cubicBezTo>
                    <a:cubicBezTo>
                      <a:pt x="149" y="647"/>
                      <a:pt x="147" y="646"/>
                      <a:pt x="147" y="646"/>
                    </a:cubicBezTo>
                    <a:cubicBezTo>
                      <a:pt x="146" y="646"/>
                      <a:pt x="146" y="647"/>
                      <a:pt x="146" y="649"/>
                    </a:cubicBezTo>
                    <a:cubicBezTo>
                      <a:pt x="147" y="651"/>
                      <a:pt x="146" y="651"/>
                      <a:pt x="146" y="653"/>
                    </a:cubicBezTo>
                    <a:cubicBezTo>
                      <a:pt x="146" y="654"/>
                      <a:pt x="145" y="655"/>
                      <a:pt x="145" y="656"/>
                    </a:cubicBezTo>
                    <a:cubicBezTo>
                      <a:pt x="145" y="656"/>
                      <a:pt x="146" y="657"/>
                      <a:pt x="145" y="658"/>
                    </a:cubicBezTo>
                    <a:cubicBezTo>
                      <a:pt x="145" y="660"/>
                      <a:pt x="144" y="661"/>
                      <a:pt x="142" y="661"/>
                    </a:cubicBezTo>
                    <a:cubicBezTo>
                      <a:pt x="142" y="661"/>
                      <a:pt x="141" y="661"/>
                      <a:pt x="141" y="661"/>
                    </a:cubicBezTo>
                    <a:cubicBezTo>
                      <a:pt x="136" y="660"/>
                      <a:pt x="131" y="659"/>
                      <a:pt x="126" y="659"/>
                    </a:cubicBezTo>
                    <a:cubicBezTo>
                      <a:pt x="125" y="658"/>
                      <a:pt x="122" y="658"/>
                      <a:pt x="121" y="658"/>
                    </a:cubicBezTo>
                    <a:cubicBezTo>
                      <a:pt x="121" y="658"/>
                      <a:pt x="121" y="658"/>
                      <a:pt x="121" y="658"/>
                    </a:cubicBezTo>
                    <a:cubicBezTo>
                      <a:pt x="118" y="659"/>
                      <a:pt x="116" y="666"/>
                      <a:pt x="115" y="669"/>
                    </a:cubicBezTo>
                    <a:cubicBezTo>
                      <a:pt x="116" y="669"/>
                      <a:pt x="116" y="669"/>
                      <a:pt x="116" y="669"/>
                    </a:cubicBezTo>
                    <a:cubicBezTo>
                      <a:pt x="115" y="669"/>
                      <a:pt x="114" y="672"/>
                      <a:pt x="113" y="672"/>
                    </a:cubicBezTo>
                    <a:cubicBezTo>
                      <a:pt x="112" y="673"/>
                      <a:pt x="111" y="673"/>
                      <a:pt x="110" y="673"/>
                    </a:cubicBezTo>
                    <a:cubicBezTo>
                      <a:pt x="107" y="673"/>
                      <a:pt x="104" y="671"/>
                      <a:pt x="101" y="671"/>
                    </a:cubicBezTo>
                    <a:cubicBezTo>
                      <a:pt x="102" y="670"/>
                      <a:pt x="102" y="669"/>
                      <a:pt x="103" y="669"/>
                    </a:cubicBezTo>
                    <a:cubicBezTo>
                      <a:pt x="99" y="661"/>
                      <a:pt x="95" y="653"/>
                      <a:pt x="91" y="645"/>
                    </a:cubicBezTo>
                    <a:cubicBezTo>
                      <a:pt x="89" y="640"/>
                      <a:pt x="87" y="635"/>
                      <a:pt x="84" y="630"/>
                    </a:cubicBezTo>
                    <a:cubicBezTo>
                      <a:pt x="81" y="626"/>
                      <a:pt x="67" y="620"/>
                      <a:pt x="67" y="617"/>
                    </a:cubicBezTo>
                    <a:cubicBezTo>
                      <a:pt x="68" y="615"/>
                      <a:pt x="68" y="614"/>
                      <a:pt x="69" y="614"/>
                    </a:cubicBezTo>
                    <a:cubicBezTo>
                      <a:pt x="69" y="614"/>
                      <a:pt x="69" y="614"/>
                      <a:pt x="70" y="615"/>
                    </a:cubicBezTo>
                    <a:cubicBezTo>
                      <a:pt x="70" y="615"/>
                      <a:pt x="71" y="616"/>
                      <a:pt x="72" y="616"/>
                    </a:cubicBezTo>
                    <a:cubicBezTo>
                      <a:pt x="72" y="616"/>
                      <a:pt x="72" y="616"/>
                      <a:pt x="72" y="616"/>
                    </a:cubicBezTo>
                    <a:cubicBezTo>
                      <a:pt x="74" y="615"/>
                      <a:pt x="77" y="608"/>
                      <a:pt x="77" y="607"/>
                    </a:cubicBezTo>
                    <a:cubicBezTo>
                      <a:pt x="78" y="606"/>
                      <a:pt x="77" y="604"/>
                      <a:pt x="77" y="604"/>
                    </a:cubicBezTo>
                    <a:cubicBezTo>
                      <a:pt x="77" y="604"/>
                      <a:pt x="77" y="604"/>
                      <a:pt x="77" y="604"/>
                    </a:cubicBezTo>
                    <a:cubicBezTo>
                      <a:pt x="78" y="603"/>
                      <a:pt x="81" y="603"/>
                      <a:pt x="84" y="603"/>
                    </a:cubicBezTo>
                    <a:cubicBezTo>
                      <a:pt x="84" y="603"/>
                      <a:pt x="85" y="603"/>
                      <a:pt x="85" y="603"/>
                    </a:cubicBezTo>
                    <a:cubicBezTo>
                      <a:pt x="85" y="603"/>
                      <a:pt x="85" y="603"/>
                      <a:pt x="86" y="603"/>
                    </a:cubicBezTo>
                    <a:moveTo>
                      <a:pt x="213" y="562"/>
                    </a:moveTo>
                    <a:cubicBezTo>
                      <a:pt x="213" y="561"/>
                      <a:pt x="212" y="560"/>
                      <a:pt x="211" y="558"/>
                    </a:cubicBezTo>
                    <a:cubicBezTo>
                      <a:pt x="211" y="558"/>
                      <a:pt x="211" y="558"/>
                      <a:pt x="211" y="558"/>
                    </a:cubicBezTo>
                    <a:cubicBezTo>
                      <a:pt x="212" y="559"/>
                      <a:pt x="213" y="561"/>
                      <a:pt x="213" y="562"/>
                    </a:cubicBezTo>
                    <a:moveTo>
                      <a:pt x="211" y="558"/>
                    </a:moveTo>
                    <a:cubicBezTo>
                      <a:pt x="210" y="557"/>
                      <a:pt x="209" y="557"/>
                      <a:pt x="208" y="556"/>
                    </a:cubicBezTo>
                    <a:cubicBezTo>
                      <a:pt x="206" y="554"/>
                      <a:pt x="205" y="553"/>
                      <a:pt x="203" y="551"/>
                    </a:cubicBezTo>
                    <a:cubicBezTo>
                      <a:pt x="201" y="549"/>
                      <a:pt x="201" y="547"/>
                      <a:pt x="199" y="544"/>
                    </a:cubicBezTo>
                    <a:cubicBezTo>
                      <a:pt x="199" y="544"/>
                      <a:pt x="196" y="544"/>
                      <a:pt x="198" y="542"/>
                    </a:cubicBezTo>
                    <a:cubicBezTo>
                      <a:pt x="198" y="542"/>
                      <a:pt x="198" y="542"/>
                      <a:pt x="198" y="542"/>
                    </a:cubicBezTo>
                    <a:cubicBezTo>
                      <a:pt x="200" y="542"/>
                      <a:pt x="203" y="544"/>
                      <a:pt x="204" y="545"/>
                    </a:cubicBezTo>
                    <a:cubicBezTo>
                      <a:pt x="214" y="549"/>
                      <a:pt x="223" y="554"/>
                      <a:pt x="233" y="559"/>
                    </a:cubicBezTo>
                    <a:cubicBezTo>
                      <a:pt x="236" y="561"/>
                      <a:pt x="236" y="571"/>
                      <a:pt x="235" y="574"/>
                    </a:cubicBezTo>
                    <a:cubicBezTo>
                      <a:pt x="234" y="576"/>
                      <a:pt x="230" y="578"/>
                      <a:pt x="232" y="581"/>
                    </a:cubicBezTo>
                    <a:cubicBezTo>
                      <a:pt x="239" y="589"/>
                      <a:pt x="245" y="597"/>
                      <a:pt x="252" y="606"/>
                    </a:cubicBezTo>
                    <a:cubicBezTo>
                      <a:pt x="255" y="610"/>
                      <a:pt x="251" y="610"/>
                      <a:pt x="252" y="615"/>
                    </a:cubicBezTo>
                    <a:cubicBezTo>
                      <a:pt x="252" y="616"/>
                      <a:pt x="253" y="617"/>
                      <a:pt x="254" y="618"/>
                    </a:cubicBezTo>
                    <a:cubicBezTo>
                      <a:pt x="249" y="622"/>
                      <a:pt x="243" y="625"/>
                      <a:pt x="238" y="629"/>
                    </a:cubicBezTo>
                    <a:cubicBezTo>
                      <a:pt x="240" y="630"/>
                      <a:pt x="240" y="630"/>
                      <a:pt x="238" y="630"/>
                    </a:cubicBezTo>
                    <a:cubicBezTo>
                      <a:pt x="238" y="630"/>
                      <a:pt x="238" y="630"/>
                      <a:pt x="237" y="630"/>
                    </a:cubicBezTo>
                    <a:cubicBezTo>
                      <a:pt x="235" y="630"/>
                      <a:pt x="228" y="629"/>
                      <a:pt x="228" y="628"/>
                    </a:cubicBezTo>
                    <a:cubicBezTo>
                      <a:pt x="228" y="626"/>
                      <a:pt x="227" y="626"/>
                      <a:pt x="227" y="625"/>
                    </a:cubicBezTo>
                    <a:cubicBezTo>
                      <a:pt x="227" y="625"/>
                      <a:pt x="227" y="625"/>
                      <a:pt x="227" y="625"/>
                    </a:cubicBezTo>
                    <a:cubicBezTo>
                      <a:pt x="228" y="625"/>
                      <a:pt x="229" y="625"/>
                      <a:pt x="230" y="623"/>
                    </a:cubicBezTo>
                    <a:cubicBezTo>
                      <a:pt x="232" y="621"/>
                      <a:pt x="232" y="619"/>
                      <a:pt x="229" y="617"/>
                    </a:cubicBezTo>
                    <a:cubicBezTo>
                      <a:pt x="225" y="613"/>
                      <a:pt x="221" y="610"/>
                      <a:pt x="216" y="606"/>
                    </a:cubicBezTo>
                    <a:cubicBezTo>
                      <a:pt x="213" y="603"/>
                      <a:pt x="209" y="603"/>
                      <a:pt x="206" y="601"/>
                    </a:cubicBezTo>
                    <a:cubicBezTo>
                      <a:pt x="201" y="598"/>
                      <a:pt x="199" y="593"/>
                      <a:pt x="195" y="590"/>
                    </a:cubicBezTo>
                    <a:cubicBezTo>
                      <a:pt x="195" y="590"/>
                      <a:pt x="196" y="590"/>
                      <a:pt x="197" y="590"/>
                    </a:cubicBezTo>
                    <a:cubicBezTo>
                      <a:pt x="198" y="590"/>
                      <a:pt x="199" y="591"/>
                      <a:pt x="200" y="592"/>
                    </a:cubicBezTo>
                    <a:cubicBezTo>
                      <a:pt x="201" y="588"/>
                      <a:pt x="199" y="585"/>
                      <a:pt x="199" y="581"/>
                    </a:cubicBezTo>
                    <a:cubicBezTo>
                      <a:pt x="198" y="579"/>
                      <a:pt x="195" y="579"/>
                      <a:pt x="194" y="578"/>
                    </a:cubicBezTo>
                    <a:cubicBezTo>
                      <a:pt x="191" y="575"/>
                      <a:pt x="193" y="573"/>
                      <a:pt x="192" y="570"/>
                    </a:cubicBezTo>
                    <a:cubicBezTo>
                      <a:pt x="192" y="570"/>
                      <a:pt x="187" y="564"/>
                      <a:pt x="187" y="564"/>
                    </a:cubicBezTo>
                    <a:cubicBezTo>
                      <a:pt x="187" y="564"/>
                      <a:pt x="186" y="564"/>
                      <a:pt x="186" y="564"/>
                    </a:cubicBezTo>
                    <a:cubicBezTo>
                      <a:pt x="186" y="564"/>
                      <a:pt x="185" y="564"/>
                      <a:pt x="185" y="564"/>
                    </a:cubicBezTo>
                    <a:cubicBezTo>
                      <a:pt x="185" y="565"/>
                      <a:pt x="185" y="565"/>
                      <a:pt x="184" y="565"/>
                    </a:cubicBezTo>
                    <a:cubicBezTo>
                      <a:pt x="184" y="565"/>
                      <a:pt x="184" y="565"/>
                      <a:pt x="184" y="565"/>
                    </a:cubicBezTo>
                    <a:cubicBezTo>
                      <a:pt x="183" y="564"/>
                      <a:pt x="183" y="562"/>
                      <a:pt x="182" y="561"/>
                    </a:cubicBezTo>
                    <a:cubicBezTo>
                      <a:pt x="183" y="561"/>
                      <a:pt x="183" y="560"/>
                      <a:pt x="183" y="560"/>
                    </a:cubicBezTo>
                    <a:cubicBezTo>
                      <a:pt x="186" y="562"/>
                      <a:pt x="189" y="566"/>
                      <a:pt x="192" y="568"/>
                    </a:cubicBezTo>
                    <a:cubicBezTo>
                      <a:pt x="193" y="569"/>
                      <a:pt x="195" y="570"/>
                      <a:pt x="195" y="570"/>
                    </a:cubicBezTo>
                    <a:cubicBezTo>
                      <a:pt x="195" y="572"/>
                      <a:pt x="193" y="571"/>
                      <a:pt x="193" y="572"/>
                    </a:cubicBezTo>
                    <a:cubicBezTo>
                      <a:pt x="194" y="577"/>
                      <a:pt x="201" y="578"/>
                      <a:pt x="204" y="581"/>
                    </a:cubicBezTo>
                    <a:cubicBezTo>
                      <a:pt x="204" y="578"/>
                      <a:pt x="203" y="575"/>
                      <a:pt x="201" y="573"/>
                    </a:cubicBezTo>
                    <a:cubicBezTo>
                      <a:pt x="202" y="573"/>
                      <a:pt x="204" y="574"/>
                      <a:pt x="205" y="575"/>
                    </a:cubicBezTo>
                    <a:cubicBezTo>
                      <a:pt x="204" y="572"/>
                      <a:pt x="201" y="565"/>
                      <a:pt x="198" y="563"/>
                    </a:cubicBezTo>
                    <a:cubicBezTo>
                      <a:pt x="201" y="565"/>
                      <a:pt x="203" y="569"/>
                      <a:pt x="207" y="570"/>
                    </a:cubicBezTo>
                    <a:cubicBezTo>
                      <a:pt x="205" y="565"/>
                      <a:pt x="199" y="562"/>
                      <a:pt x="198" y="557"/>
                    </a:cubicBezTo>
                    <a:cubicBezTo>
                      <a:pt x="203" y="559"/>
                      <a:pt x="207" y="564"/>
                      <a:pt x="208" y="569"/>
                    </a:cubicBezTo>
                    <a:cubicBezTo>
                      <a:pt x="209" y="571"/>
                      <a:pt x="209" y="573"/>
                      <a:pt x="211" y="576"/>
                    </a:cubicBezTo>
                    <a:cubicBezTo>
                      <a:pt x="212" y="577"/>
                      <a:pt x="215" y="581"/>
                      <a:pt x="216" y="581"/>
                    </a:cubicBezTo>
                    <a:cubicBezTo>
                      <a:pt x="217" y="581"/>
                      <a:pt x="217" y="581"/>
                      <a:pt x="217" y="580"/>
                    </a:cubicBezTo>
                    <a:cubicBezTo>
                      <a:pt x="220" y="578"/>
                      <a:pt x="213" y="574"/>
                      <a:pt x="214" y="571"/>
                    </a:cubicBezTo>
                    <a:cubicBezTo>
                      <a:pt x="216" y="572"/>
                      <a:pt x="217" y="574"/>
                      <a:pt x="219" y="574"/>
                    </a:cubicBezTo>
                    <a:cubicBezTo>
                      <a:pt x="221" y="574"/>
                      <a:pt x="222" y="575"/>
                      <a:pt x="223" y="577"/>
                    </a:cubicBezTo>
                    <a:cubicBezTo>
                      <a:pt x="225" y="572"/>
                      <a:pt x="228" y="566"/>
                      <a:pt x="225" y="561"/>
                    </a:cubicBezTo>
                    <a:cubicBezTo>
                      <a:pt x="225" y="560"/>
                      <a:pt x="224" y="559"/>
                      <a:pt x="223" y="559"/>
                    </a:cubicBezTo>
                    <a:cubicBezTo>
                      <a:pt x="223" y="558"/>
                      <a:pt x="223" y="557"/>
                      <a:pt x="222" y="557"/>
                    </a:cubicBezTo>
                    <a:cubicBezTo>
                      <a:pt x="222" y="557"/>
                      <a:pt x="222" y="557"/>
                      <a:pt x="222" y="557"/>
                    </a:cubicBezTo>
                    <a:cubicBezTo>
                      <a:pt x="221" y="557"/>
                      <a:pt x="220" y="558"/>
                      <a:pt x="219" y="558"/>
                    </a:cubicBezTo>
                    <a:cubicBezTo>
                      <a:pt x="219" y="558"/>
                      <a:pt x="219" y="558"/>
                      <a:pt x="219" y="558"/>
                    </a:cubicBezTo>
                    <a:cubicBezTo>
                      <a:pt x="217" y="558"/>
                      <a:pt x="216" y="557"/>
                      <a:pt x="215" y="556"/>
                    </a:cubicBezTo>
                    <a:cubicBezTo>
                      <a:pt x="214" y="554"/>
                      <a:pt x="213" y="553"/>
                      <a:pt x="211" y="553"/>
                    </a:cubicBezTo>
                    <a:cubicBezTo>
                      <a:pt x="211" y="553"/>
                      <a:pt x="211" y="553"/>
                      <a:pt x="211" y="553"/>
                    </a:cubicBezTo>
                    <a:cubicBezTo>
                      <a:pt x="209" y="553"/>
                      <a:pt x="210" y="556"/>
                      <a:pt x="211" y="558"/>
                    </a:cubicBezTo>
                    <a:moveTo>
                      <a:pt x="560" y="457"/>
                    </a:moveTo>
                    <a:cubicBezTo>
                      <a:pt x="367" y="457"/>
                      <a:pt x="367" y="457"/>
                      <a:pt x="367" y="457"/>
                    </a:cubicBezTo>
                    <a:cubicBezTo>
                      <a:pt x="367" y="457"/>
                      <a:pt x="368" y="457"/>
                      <a:pt x="368" y="457"/>
                    </a:cubicBezTo>
                    <a:cubicBezTo>
                      <a:pt x="368" y="458"/>
                      <a:pt x="371" y="468"/>
                      <a:pt x="370" y="468"/>
                    </a:cubicBezTo>
                    <a:cubicBezTo>
                      <a:pt x="370" y="468"/>
                      <a:pt x="370" y="468"/>
                      <a:pt x="370" y="468"/>
                    </a:cubicBezTo>
                    <a:cubicBezTo>
                      <a:pt x="367" y="467"/>
                      <a:pt x="365" y="467"/>
                      <a:pt x="362" y="467"/>
                    </a:cubicBezTo>
                    <a:cubicBezTo>
                      <a:pt x="343" y="464"/>
                      <a:pt x="324" y="462"/>
                      <a:pt x="305" y="459"/>
                    </a:cubicBezTo>
                    <a:cubicBezTo>
                      <a:pt x="305" y="459"/>
                      <a:pt x="305" y="459"/>
                      <a:pt x="304" y="459"/>
                    </a:cubicBezTo>
                    <a:cubicBezTo>
                      <a:pt x="303" y="459"/>
                      <a:pt x="304" y="461"/>
                      <a:pt x="302" y="462"/>
                    </a:cubicBezTo>
                    <a:cubicBezTo>
                      <a:pt x="302" y="462"/>
                      <a:pt x="301" y="462"/>
                      <a:pt x="301" y="462"/>
                    </a:cubicBezTo>
                    <a:cubicBezTo>
                      <a:pt x="299" y="462"/>
                      <a:pt x="298" y="461"/>
                      <a:pt x="299" y="458"/>
                    </a:cubicBezTo>
                    <a:cubicBezTo>
                      <a:pt x="300" y="458"/>
                      <a:pt x="300" y="457"/>
                      <a:pt x="301" y="457"/>
                    </a:cubicBezTo>
                    <a:cubicBezTo>
                      <a:pt x="259" y="457"/>
                      <a:pt x="259" y="457"/>
                      <a:pt x="259" y="457"/>
                    </a:cubicBezTo>
                    <a:cubicBezTo>
                      <a:pt x="263" y="462"/>
                      <a:pt x="268" y="467"/>
                      <a:pt x="272" y="471"/>
                    </a:cubicBezTo>
                    <a:cubicBezTo>
                      <a:pt x="274" y="473"/>
                      <a:pt x="276" y="476"/>
                      <a:pt x="280" y="476"/>
                    </a:cubicBezTo>
                    <a:cubicBezTo>
                      <a:pt x="280" y="476"/>
                      <a:pt x="280" y="476"/>
                      <a:pt x="280" y="476"/>
                    </a:cubicBezTo>
                    <a:cubicBezTo>
                      <a:pt x="281" y="476"/>
                      <a:pt x="282" y="475"/>
                      <a:pt x="284" y="475"/>
                    </a:cubicBezTo>
                    <a:cubicBezTo>
                      <a:pt x="284" y="475"/>
                      <a:pt x="284" y="475"/>
                      <a:pt x="284" y="475"/>
                    </a:cubicBezTo>
                    <a:cubicBezTo>
                      <a:pt x="285" y="475"/>
                      <a:pt x="285" y="475"/>
                      <a:pt x="286" y="475"/>
                    </a:cubicBezTo>
                    <a:cubicBezTo>
                      <a:pt x="286" y="475"/>
                      <a:pt x="287" y="475"/>
                      <a:pt x="287" y="475"/>
                    </a:cubicBezTo>
                    <a:cubicBezTo>
                      <a:pt x="288" y="475"/>
                      <a:pt x="288" y="475"/>
                      <a:pt x="288" y="475"/>
                    </a:cubicBezTo>
                    <a:cubicBezTo>
                      <a:pt x="290" y="474"/>
                      <a:pt x="289" y="472"/>
                      <a:pt x="291" y="472"/>
                    </a:cubicBezTo>
                    <a:cubicBezTo>
                      <a:pt x="291" y="472"/>
                      <a:pt x="291" y="472"/>
                      <a:pt x="291" y="472"/>
                    </a:cubicBezTo>
                    <a:cubicBezTo>
                      <a:pt x="293" y="472"/>
                      <a:pt x="293" y="474"/>
                      <a:pt x="294" y="475"/>
                    </a:cubicBezTo>
                    <a:cubicBezTo>
                      <a:pt x="295" y="477"/>
                      <a:pt x="296" y="476"/>
                      <a:pt x="298" y="478"/>
                    </a:cubicBezTo>
                    <a:cubicBezTo>
                      <a:pt x="299" y="480"/>
                      <a:pt x="298" y="481"/>
                      <a:pt x="298" y="484"/>
                    </a:cubicBezTo>
                    <a:cubicBezTo>
                      <a:pt x="299" y="486"/>
                      <a:pt x="301" y="488"/>
                      <a:pt x="300" y="491"/>
                    </a:cubicBezTo>
                    <a:cubicBezTo>
                      <a:pt x="299" y="493"/>
                      <a:pt x="295" y="496"/>
                      <a:pt x="293" y="496"/>
                    </a:cubicBezTo>
                    <a:cubicBezTo>
                      <a:pt x="291" y="497"/>
                      <a:pt x="290" y="497"/>
                      <a:pt x="288" y="497"/>
                    </a:cubicBezTo>
                    <a:cubicBezTo>
                      <a:pt x="286" y="497"/>
                      <a:pt x="287" y="498"/>
                      <a:pt x="286" y="499"/>
                    </a:cubicBezTo>
                    <a:cubicBezTo>
                      <a:pt x="285" y="500"/>
                      <a:pt x="284" y="501"/>
                      <a:pt x="282" y="501"/>
                    </a:cubicBezTo>
                    <a:cubicBezTo>
                      <a:pt x="281" y="501"/>
                      <a:pt x="281" y="501"/>
                      <a:pt x="280" y="501"/>
                    </a:cubicBezTo>
                    <a:cubicBezTo>
                      <a:pt x="274" y="499"/>
                      <a:pt x="269" y="498"/>
                      <a:pt x="264" y="496"/>
                    </a:cubicBezTo>
                    <a:cubicBezTo>
                      <a:pt x="257" y="494"/>
                      <a:pt x="255" y="493"/>
                      <a:pt x="250" y="487"/>
                    </a:cubicBezTo>
                    <a:cubicBezTo>
                      <a:pt x="248" y="485"/>
                      <a:pt x="246" y="483"/>
                      <a:pt x="244" y="481"/>
                    </a:cubicBezTo>
                    <a:cubicBezTo>
                      <a:pt x="235" y="474"/>
                      <a:pt x="223" y="477"/>
                      <a:pt x="213" y="472"/>
                    </a:cubicBezTo>
                    <a:cubicBezTo>
                      <a:pt x="212" y="472"/>
                      <a:pt x="208" y="469"/>
                      <a:pt x="207" y="468"/>
                    </a:cubicBezTo>
                    <a:cubicBezTo>
                      <a:pt x="206" y="466"/>
                      <a:pt x="207" y="466"/>
                      <a:pt x="207" y="464"/>
                    </a:cubicBezTo>
                    <a:cubicBezTo>
                      <a:pt x="208" y="462"/>
                      <a:pt x="207" y="460"/>
                      <a:pt x="209" y="459"/>
                    </a:cubicBezTo>
                    <a:cubicBezTo>
                      <a:pt x="210" y="458"/>
                      <a:pt x="212" y="458"/>
                      <a:pt x="213" y="457"/>
                    </a:cubicBezTo>
                    <a:cubicBezTo>
                      <a:pt x="77" y="457"/>
                      <a:pt x="77" y="457"/>
                      <a:pt x="77" y="457"/>
                    </a:cubicBezTo>
                    <a:cubicBezTo>
                      <a:pt x="78" y="457"/>
                      <a:pt x="78" y="458"/>
                      <a:pt x="78" y="458"/>
                    </a:cubicBezTo>
                    <a:cubicBezTo>
                      <a:pt x="80" y="461"/>
                      <a:pt x="80" y="463"/>
                      <a:pt x="80" y="464"/>
                    </a:cubicBezTo>
                    <a:cubicBezTo>
                      <a:pt x="79" y="466"/>
                      <a:pt x="77" y="467"/>
                      <a:pt x="75" y="468"/>
                    </a:cubicBezTo>
                    <a:cubicBezTo>
                      <a:pt x="77" y="471"/>
                      <a:pt x="77" y="473"/>
                      <a:pt x="78" y="474"/>
                    </a:cubicBezTo>
                    <a:cubicBezTo>
                      <a:pt x="79" y="474"/>
                      <a:pt x="79" y="474"/>
                      <a:pt x="80" y="474"/>
                    </a:cubicBezTo>
                    <a:cubicBezTo>
                      <a:pt x="80" y="474"/>
                      <a:pt x="80" y="474"/>
                      <a:pt x="80" y="474"/>
                    </a:cubicBezTo>
                    <a:cubicBezTo>
                      <a:pt x="84" y="476"/>
                      <a:pt x="88" y="477"/>
                      <a:pt x="90" y="480"/>
                    </a:cubicBezTo>
                    <a:cubicBezTo>
                      <a:pt x="94" y="486"/>
                      <a:pt x="91" y="492"/>
                      <a:pt x="88" y="495"/>
                    </a:cubicBezTo>
                    <a:cubicBezTo>
                      <a:pt x="86" y="497"/>
                      <a:pt x="86" y="497"/>
                      <a:pt x="86" y="497"/>
                    </a:cubicBezTo>
                    <a:cubicBezTo>
                      <a:pt x="83" y="500"/>
                      <a:pt x="81" y="502"/>
                      <a:pt x="77" y="504"/>
                    </a:cubicBezTo>
                    <a:cubicBezTo>
                      <a:pt x="79" y="506"/>
                      <a:pt x="81" y="507"/>
                      <a:pt x="83" y="508"/>
                    </a:cubicBezTo>
                    <a:cubicBezTo>
                      <a:pt x="94" y="515"/>
                      <a:pt x="106" y="522"/>
                      <a:pt x="114" y="533"/>
                    </a:cubicBezTo>
                    <a:cubicBezTo>
                      <a:pt x="114" y="533"/>
                      <a:pt x="115" y="534"/>
                      <a:pt x="115" y="535"/>
                    </a:cubicBezTo>
                    <a:cubicBezTo>
                      <a:pt x="115" y="535"/>
                      <a:pt x="115" y="535"/>
                      <a:pt x="115" y="535"/>
                    </a:cubicBezTo>
                    <a:cubicBezTo>
                      <a:pt x="118" y="538"/>
                      <a:pt x="120" y="541"/>
                      <a:pt x="116" y="547"/>
                    </a:cubicBezTo>
                    <a:cubicBezTo>
                      <a:pt x="115" y="548"/>
                      <a:pt x="114" y="550"/>
                      <a:pt x="114" y="552"/>
                    </a:cubicBezTo>
                    <a:cubicBezTo>
                      <a:pt x="113" y="555"/>
                      <a:pt x="112" y="557"/>
                      <a:pt x="110" y="560"/>
                    </a:cubicBezTo>
                    <a:cubicBezTo>
                      <a:pt x="108" y="563"/>
                      <a:pt x="105" y="566"/>
                      <a:pt x="101" y="568"/>
                    </a:cubicBezTo>
                    <a:cubicBezTo>
                      <a:pt x="100" y="569"/>
                      <a:pt x="99" y="570"/>
                      <a:pt x="98" y="571"/>
                    </a:cubicBezTo>
                    <a:cubicBezTo>
                      <a:pt x="92" y="576"/>
                      <a:pt x="87" y="581"/>
                      <a:pt x="82" y="586"/>
                    </a:cubicBezTo>
                    <a:cubicBezTo>
                      <a:pt x="79" y="589"/>
                      <a:pt x="76" y="592"/>
                      <a:pt x="73" y="595"/>
                    </a:cubicBezTo>
                    <a:cubicBezTo>
                      <a:pt x="65" y="604"/>
                      <a:pt x="57" y="612"/>
                      <a:pt x="47" y="619"/>
                    </a:cubicBezTo>
                    <a:cubicBezTo>
                      <a:pt x="36" y="626"/>
                      <a:pt x="24" y="634"/>
                      <a:pt x="15" y="644"/>
                    </a:cubicBezTo>
                    <a:cubicBezTo>
                      <a:pt x="18" y="643"/>
                      <a:pt x="21" y="643"/>
                      <a:pt x="24" y="642"/>
                    </a:cubicBezTo>
                    <a:cubicBezTo>
                      <a:pt x="24" y="639"/>
                      <a:pt x="30" y="640"/>
                      <a:pt x="33" y="636"/>
                    </a:cubicBezTo>
                    <a:cubicBezTo>
                      <a:pt x="36" y="644"/>
                      <a:pt x="26" y="638"/>
                      <a:pt x="32" y="645"/>
                    </a:cubicBezTo>
                    <a:cubicBezTo>
                      <a:pt x="34" y="647"/>
                      <a:pt x="34" y="648"/>
                      <a:pt x="34" y="648"/>
                    </a:cubicBezTo>
                    <a:cubicBezTo>
                      <a:pt x="33" y="648"/>
                      <a:pt x="28" y="645"/>
                      <a:pt x="27" y="644"/>
                    </a:cubicBezTo>
                    <a:cubicBezTo>
                      <a:pt x="31" y="654"/>
                      <a:pt x="44" y="656"/>
                      <a:pt x="53" y="660"/>
                    </a:cubicBezTo>
                    <a:cubicBezTo>
                      <a:pt x="57" y="661"/>
                      <a:pt x="60" y="662"/>
                      <a:pt x="63" y="663"/>
                    </a:cubicBezTo>
                    <a:cubicBezTo>
                      <a:pt x="66" y="664"/>
                      <a:pt x="69" y="666"/>
                      <a:pt x="73" y="667"/>
                    </a:cubicBezTo>
                    <a:cubicBezTo>
                      <a:pt x="75" y="672"/>
                      <a:pt x="75" y="672"/>
                      <a:pt x="75" y="672"/>
                    </a:cubicBezTo>
                    <a:cubicBezTo>
                      <a:pt x="71" y="672"/>
                      <a:pt x="71" y="672"/>
                      <a:pt x="71" y="672"/>
                    </a:cubicBezTo>
                    <a:cubicBezTo>
                      <a:pt x="68" y="672"/>
                      <a:pt x="65" y="671"/>
                      <a:pt x="62" y="670"/>
                    </a:cubicBezTo>
                    <a:cubicBezTo>
                      <a:pt x="59" y="669"/>
                      <a:pt x="54" y="668"/>
                      <a:pt x="51" y="668"/>
                    </a:cubicBezTo>
                    <a:cubicBezTo>
                      <a:pt x="49" y="668"/>
                      <a:pt x="48" y="668"/>
                      <a:pt x="47" y="668"/>
                    </a:cubicBezTo>
                    <a:cubicBezTo>
                      <a:pt x="44" y="670"/>
                      <a:pt x="40" y="674"/>
                      <a:pt x="38" y="677"/>
                    </a:cubicBezTo>
                    <a:cubicBezTo>
                      <a:pt x="37" y="677"/>
                      <a:pt x="37" y="677"/>
                      <a:pt x="37" y="677"/>
                    </a:cubicBezTo>
                    <a:cubicBezTo>
                      <a:pt x="35" y="677"/>
                      <a:pt x="32" y="675"/>
                      <a:pt x="30" y="675"/>
                    </a:cubicBezTo>
                    <a:cubicBezTo>
                      <a:pt x="30" y="675"/>
                      <a:pt x="30" y="675"/>
                      <a:pt x="29" y="675"/>
                    </a:cubicBezTo>
                    <a:cubicBezTo>
                      <a:pt x="28" y="675"/>
                      <a:pt x="26" y="675"/>
                      <a:pt x="25" y="676"/>
                    </a:cubicBezTo>
                    <a:cubicBezTo>
                      <a:pt x="23" y="677"/>
                      <a:pt x="21" y="678"/>
                      <a:pt x="20" y="678"/>
                    </a:cubicBezTo>
                    <a:cubicBezTo>
                      <a:pt x="19" y="678"/>
                      <a:pt x="18" y="677"/>
                      <a:pt x="17" y="676"/>
                    </a:cubicBezTo>
                    <a:cubicBezTo>
                      <a:pt x="15" y="679"/>
                      <a:pt x="15" y="683"/>
                      <a:pt x="15" y="686"/>
                    </a:cubicBezTo>
                    <a:cubicBezTo>
                      <a:pt x="22" y="691"/>
                      <a:pt x="22" y="691"/>
                      <a:pt x="22" y="691"/>
                    </a:cubicBezTo>
                    <a:cubicBezTo>
                      <a:pt x="21" y="694"/>
                      <a:pt x="21" y="694"/>
                      <a:pt x="21" y="694"/>
                    </a:cubicBezTo>
                    <a:cubicBezTo>
                      <a:pt x="21" y="694"/>
                      <a:pt x="20" y="695"/>
                      <a:pt x="20" y="695"/>
                    </a:cubicBezTo>
                    <a:cubicBezTo>
                      <a:pt x="25" y="698"/>
                      <a:pt x="25" y="698"/>
                      <a:pt x="25" y="698"/>
                    </a:cubicBezTo>
                    <a:cubicBezTo>
                      <a:pt x="18" y="700"/>
                      <a:pt x="18" y="700"/>
                      <a:pt x="18" y="700"/>
                    </a:cubicBezTo>
                    <a:cubicBezTo>
                      <a:pt x="17" y="701"/>
                      <a:pt x="13" y="702"/>
                      <a:pt x="12" y="706"/>
                    </a:cubicBezTo>
                    <a:cubicBezTo>
                      <a:pt x="10" y="712"/>
                      <a:pt x="5" y="718"/>
                      <a:pt x="2" y="719"/>
                    </a:cubicBezTo>
                    <a:cubicBezTo>
                      <a:pt x="2" y="719"/>
                      <a:pt x="1" y="721"/>
                      <a:pt x="2" y="723"/>
                    </a:cubicBezTo>
                    <a:cubicBezTo>
                      <a:pt x="3" y="727"/>
                      <a:pt x="2" y="732"/>
                      <a:pt x="2" y="735"/>
                    </a:cubicBezTo>
                    <a:cubicBezTo>
                      <a:pt x="2" y="736"/>
                      <a:pt x="2" y="736"/>
                      <a:pt x="2" y="737"/>
                    </a:cubicBezTo>
                    <a:cubicBezTo>
                      <a:pt x="2" y="737"/>
                      <a:pt x="2" y="743"/>
                      <a:pt x="5" y="746"/>
                    </a:cubicBezTo>
                    <a:cubicBezTo>
                      <a:pt x="10" y="749"/>
                      <a:pt x="11" y="754"/>
                      <a:pt x="12" y="756"/>
                    </a:cubicBezTo>
                    <a:cubicBezTo>
                      <a:pt x="12" y="758"/>
                      <a:pt x="11" y="759"/>
                      <a:pt x="10" y="760"/>
                    </a:cubicBezTo>
                    <a:cubicBezTo>
                      <a:pt x="9" y="761"/>
                      <a:pt x="9" y="761"/>
                      <a:pt x="9" y="761"/>
                    </a:cubicBezTo>
                    <a:cubicBezTo>
                      <a:pt x="8" y="761"/>
                      <a:pt x="8" y="761"/>
                      <a:pt x="8" y="761"/>
                    </a:cubicBezTo>
                    <a:cubicBezTo>
                      <a:pt x="7" y="761"/>
                      <a:pt x="7" y="761"/>
                      <a:pt x="7" y="761"/>
                    </a:cubicBezTo>
                    <a:cubicBezTo>
                      <a:pt x="7" y="761"/>
                      <a:pt x="7" y="761"/>
                      <a:pt x="6" y="761"/>
                    </a:cubicBezTo>
                    <a:cubicBezTo>
                      <a:pt x="6" y="761"/>
                      <a:pt x="6" y="761"/>
                      <a:pt x="6" y="761"/>
                    </a:cubicBezTo>
                    <a:cubicBezTo>
                      <a:pt x="5" y="762"/>
                      <a:pt x="5" y="762"/>
                      <a:pt x="5" y="762"/>
                    </a:cubicBezTo>
                    <a:cubicBezTo>
                      <a:pt x="4" y="762"/>
                      <a:pt x="4" y="762"/>
                      <a:pt x="4" y="762"/>
                    </a:cubicBezTo>
                    <a:cubicBezTo>
                      <a:pt x="4" y="762"/>
                      <a:pt x="4" y="762"/>
                      <a:pt x="4" y="762"/>
                    </a:cubicBezTo>
                    <a:cubicBezTo>
                      <a:pt x="3" y="763"/>
                      <a:pt x="3" y="763"/>
                      <a:pt x="3" y="763"/>
                    </a:cubicBezTo>
                    <a:cubicBezTo>
                      <a:pt x="3" y="763"/>
                      <a:pt x="3" y="763"/>
                      <a:pt x="3" y="763"/>
                    </a:cubicBezTo>
                    <a:cubicBezTo>
                      <a:pt x="2" y="764"/>
                      <a:pt x="2" y="764"/>
                      <a:pt x="2" y="764"/>
                    </a:cubicBezTo>
                    <a:cubicBezTo>
                      <a:pt x="2" y="764"/>
                      <a:pt x="2" y="765"/>
                      <a:pt x="1" y="765"/>
                    </a:cubicBezTo>
                    <a:cubicBezTo>
                      <a:pt x="1" y="765"/>
                      <a:pt x="1" y="765"/>
                      <a:pt x="1" y="765"/>
                    </a:cubicBezTo>
                    <a:cubicBezTo>
                      <a:pt x="1" y="766"/>
                      <a:pt x="1" y="766"/>
                      <a:pt x="1" y="766"/>
                    </a:cubicBezTo>
                    <a:cubicBezTo>
                      <a:pt x="1" y="766"/>
                      <a:pt x="1" y="766"/>
                      <a:pt x="1" y="766"/>
                    </a:cubicBezTo>
                    <a:cubicBezTo>
                      <a:pt x="1" y="766"/>
                      <a:pt x="1" y="767"/>
                      <a:pt x="1" y="767"/>
                    </a:cubicBezTo>
                    <a:cubicBezTo>
                      <a:pt x="0" y="768"/>
                      <a:pt x="0" y="768"/>
                      <a:pt x="0" y="768"/>
                    </a:cubicBezTo>
                    <a:cubicBezTo>
                      <a:pt x="0" y="768"/>
                      <a:pt x="0" y="768"/>
                      <a:pt x="0" y="768"/>
                    </a:cubicBezTo>
                    <a:cubicBezTo>
                      <a:pt x="0" y="769"/>
                      <a:pt x="0" y="769"/>
                      <a:pt x="0" y="769"/>
                    </a:cubicBezTo>
                    <a:cubicBezTo>
                      <a:pt x="1" y="770"/>
                      <a:pt x="1" y="770"/>
                      <a:pt x="1" y="770"/>
                    </a:cubicBezTo>
                    <a:cubicBezTo>
                      <a:pt x="1" y="771"/>
                      <a:pt x="1" y="771"/>
                      <a:pt x="1" y="771"/>
                    </a:cubicBezTo>
                    <a:cubicBezTo>
                      <a:pt x="1" y="771"/>
                      <a:pt x="1" y="771"/>
                      <a:pt x="1" y="771"/>
                    </a:cubicBezTo>
                    <a:cubicBezTo>
                      <a:pt x="2" y="771"/>
                      <a:pt x="2" y="771"/>
                      <a:pt x="2" y="771"/>
                    </a:cubicBezTo>
                    <a:cubicBezTo>
                      <a:pt x="2" y="771"/>
                      <a:pt x="2" y="771"/>
                      <a:pt x="2" y="771"/>
                    </a:cubicBezTo>
                    <a:cubicBezTo>
                      <a:pt x="5" y="773"/>
                      <a:pt x="9" y="775"/>
                      <a:pt x="9" y="775"/>
                    </a:cubicBezTo>
                    <a:cubicBezTo>
                      <a:pt x="11" y="776"/>
                      <a:pt x="12" y="777"/>
                      <a:pt x="13" y="778"/>
                    </a:cubicBezTo>
                    <a:cubicBezTo>
                      <a:pt x="14" y="781"/>
                      <a:pt x="12" y="786"/>
                      <a:pt x="10" y="788"/>
                    </a:cubicBezTo>
                    <a:cubicBezTo>
                      <a:pt x="10" y="789"/>
                      <a:pt x="10" y="789"/>
                      <a:pt x="10" y="789"/>
                    </a:cubicBezTo>
                    <a:cubicBezTo>
                      <a:pt x="10" y="790"/>
                      <a:pt x="11" y="792"/>
                      <a:pt x="10" y="794"/>
                    </a:cubicBezTo>
                    <a:cubicBezTo>
                      <a:pt x="9" y="794"/>
                      <a:pt x="9" y="794"/>
                      <a:pt x="9" y="794"/>
                    </a:cubicBezTo>
                    <a:cubicBezTo>
                      <a:pt x="10" y="795"/>
                      <a:pt x="10" y="795"/>
                      <a:pt x="10" y="795"/>
                    </a:cubicBezTo>
                    <a:cubicBezTo>
                      <a:pt x="14" y="796"/>
                      <a:pt x="16" y="799"/>
                      <a:pt x="18" y="805"/>
                    </a:cubicBezTo>
                    <a:cubicBezTo>
                      <a:pt x="20" y="810"/>
                      <a:pt x="20" y="811"/>
                      <a:pt x="20" y="812"/>
                    </a:cubicBezTo>
                    <a:cubicBezTo>
                      <a:pt x="21" y="813"/>
                      <a:pt x="21" y="813"/>
                      <a:pt x="21" y="813"/>
                    </a:cubicBezTo>
                    <a:cubicBezTo>
                      <a:pt x="21" y="813"/>
                      <a:pt x="21" y="813"/>
                      <a:pt x="22" y="814"/>
                    </a:cubicBezTo>
                    <a:cubicBezTo>
                      <a:pt x="22" y="814"/>
                      <a:pt x="22" y="814"/>
                      <a:pt x="22" y="814"/>
                    </a:cubicBezTo>
                    <a:cubicBezTo>
                      <a:pt x="22" y="815"/>
                      <a:pt x="22" y="815"/>
                      <a:pt x="22" y="815"/>
                    </a:cubicBezTo>
                    <a:cubicBezTo>
                      <a:pt x="22" y="816"/>
                      <a:pt x="22" y="816"/>
                      <a:pt x="22" y="816"/>
                    </a:cubicBezTo>
                    <a:cubicBezTo>
                      <a:pt x="22" y="818"/>
                      <a:pt x="22" y="818"/>
                      <a:pt x="22" y="818"/>
                    </a:cubicBezTo>
                    <a:cubicBezTo>
                      <a:pt x="23" y="819"/>
                      <a:pt x="23" y="819"/>
                      <a:pt x="23" y="819"/>
                    </a:cubicBezTo>
                    <a:cubicBezTo>
                      <a:pt x="23" y="824"/>
                      <a:pt x="23" y="824"/>
                      <a:pt x="23" y="824"/>
                    </a:cubicBezTo>
                    <a:cubicBezTo>
                      <a:pt x="23" y="825"/>
                      <a:pt x="23" y="825"/>
                      <a:pt x="23" y="825"/>
                    </a:cubicBezTo>
                    <a:cubicBezTo>
                      <a:pt x="24" y="825"/>
                      <a:pt x="24" y="825"/>
                      <a:pt x="24" y="825"/>
                    </a:cubicBezTo>
                    <a:cubicBezTo>
                      <a:pt x="24" y="825"/>
                      <a:pt x="25" y="826"/>
                      <a:pt x="25" y="826"/>
                    </a:cubicBezTo>
                    <a:cubicBezTo>
                      <a:pt x="26" y="827"/>
                      <a:pt x="26" y="827"/>
                      <a:pt x="26" y="827"/>
                    </a:cubicBezTo>
                    <a:cubicBezTo>
                      <a:pt x="27" y="827"/>
                      <a:pt x="28" y="827"/>
                      <a:pt x="29" y="828"/>
                    </a:cubicBezTo>
                    <a:cubicBezTo>
                      <a:pt x="29" y="828"/>
                      <a:pt x="29" y="828"/>
                      <a:pt x="29" y="828"/>
                    </a:cubicBezTo>
                    <a:cubicBezTo>
                      <a:pt x="34" y="830"/>
                      <a:pt x="34" y="830"/>
                      <a:pt x="34" y="830"/>
                    </a:cubicBezTo>
                    <a:cubicBezTo>
                      <a:pt x="35" y="830"/>
                      <a:pt x="35" y="830"/>
                      <a:pt x="35" y="831"/>
                    </a:cubicBezTo>
                    <a:cubicBezTo>
                      <a:pt x="36" y="831"/>
                      <a:pt x="36" y="831"/>
                      <a:pt x="37" y="831"/>
                    </a:cubicBezTo>
                    <a:cubicBezTo>
                      <a:pt x="37" y="831"/>
                      <a:pt x="37" y="831"/>
                      <a:pt x="37" y="831"/>
                    </a:cubicBezTo>
                    <a:cubicBezTo>
                      <a:pt x="38" y="831"/>
                      <a:pt x="38" y="831"/>
                      <a:pt x="39" y="831"/>
                    </a:cubicBezTo>
                    <a:cubicBezTo>
                      <a:pt x="39" y="831"/>
                      <a:pt x="39" y="831"/>
                      <a:pt x="39" y="831"/>
                    </a:cubicBezTo>
                    <a:cubicBezTo>
                      <a:pt x="40" y="831"/>
                      <a:pt x="41" y="831"/>
                      <a:pt x="42" y="831"/>
                    </a:cubicBezTo>
                    <a:cubicBezTo>
                      <a:pt x="43" y="831"/>
                      <a:pt x="43" y="831"/>
                      <a:pt x="43" y="831"/>
                    </a:cubicBezTo>
                    <a:cubicBezTo>
                      <a:pt x="44" y="830"/>
                      <a:pt x="45" y="830"/>
                      <a:pt x="47" y="830"/>
                    </a:cubicBezTo>
                    <a:cubicBezTo>
                      <a:pt x="47" y="829"/>
                      <a:pt x="48" y="829"/>
                      <a:pt x="48" y="829"/>
                    </a:cubicBezTo>
                    <a:cubicBezTo>
                      <a:pt x="48" y="829"/>
                      <a:pt x="49" y="829"/>
                      <a:pt x="49" y="830"/>
                    </a:cubicBezTo>
                    <a:cubicBezTo>
                      <a:pt x="50" y="830"/>
                      <a:pt x="50" y="830"/>
                      <a:pt x="50" y="830"/>
                    </a:cubicBezTo>
                    <a:cubicBezTo>
                      <a:pt x="51" y="830"/>
                      <a:pt x="53" y="831"/>
                      <a:pt x="54" y="833"/>
                    </a:cubicBezTo>
                    <a:cubicBezTo>
                      <a:pt x="54" y="834"/>
                      <a:pt x="54" y="834"/>
                      <a:pt x="54" y="834"/>
                    </a:cubicBezTo>
                    <a:cubicBezTo>
                      <a:pt x="55" y="833"/>
                      <a:pt x="55" y="833"/>
                      <a:pt x="55" y="833"/>
                    </a:cubicBezTo>
                    <a:cubicBezTo>
                      <a:pt x="56" y="835"/>
                      <a:pt x="57" y="837"/>
                      <a:pt x="57" y="838"/>
                    </a:cubicBezTo>
                    <a:cubicBezTo>
                      <a:pt x="57" y="839"/>
                      <a:pt x="57" y="839"/>
                      <a:pt x="57" y="839"/>
                    </a:cubicBezTo>
                    <a:cubicBezTo>
                      <a:pt x="57" y="840"/>
                      <a:pt x="57" y="840"/>
                      <a:pt x="57" y="841"/>
                    </a:cubicBezTo>
                    <a:cubicBezTo>
                      <a:pt x="58" y="840"/>
                      <a:pt x="59" y="840"/>
                      <a:pt x="60" y="839"/>
                    </a:cubicBezTo>
                    <a:cubicBezTo>
                      <a:pt x="61" y="839"/>
                      <a:pt x="62" y="838"/>
                      <a:pt x="63" y="837"/>
                    </a:cubicBezTo>
                    <a:cubicBezTo>
                      <a:pt x="63" y="837"/>
                      <a:pt x="64" y="837"/>
                      <a:pt x="65" y="836"/>
                    </a:cubicBezTo>
                    <a:cubicBezTo>
                      <a:pt x="66" y="836"/>
                      <a:pt x="66" y="836"/>
                      <a:pt x="66" y="836"/>
                    </a:cubicBezTo>
                    <a:cubicBezTo>
                      <a:pt x="66" y="836"/>
                      <a:pt x="66" y="836"/>
                      <a:pt x="67" y="836"/>
                    </a:cubicBezTo>
                    <a:cubicBezTo>
                      <a:pt x="67" y="836"/>
                      <a:pt x="68" y="835"/>
                      <a:pt x="68" y="835"/>
                    </a:cubicBezTo>
                    <a:cubicBezTo>
                      <a:pt x="69" y="835"/>
                      <a:pt x="69" y="835"/>
                      <a:pt x="69" y="835"/>
                    </a:cubicBezTo>
                    <a:cubicBezTo>
                      <a:pt x="70" y="835"/>
                      <a:pt x="71" y="835"/>
                      <a:pt x="72" y="835"/>
                    </a:cubicBezTo>
                    <a:cubicBezTo>
                      <a:pt x="73" y="835"/>
                      <a:pt x="73" y="835"/>
                      <a:pt x="73" y="835"/>
                    </a:cubicBezTo>
                    <a:cubicBezTo>
                      <a:pt x="75" y="835"/>
                      <a:pt x="77" y="835"/>
                      <a:pt x="79" y="836"/>
                    </a:cubicBezTo>
                    <a:cubicBezTo>
                      <a:pt x="79" y="836"/>
                      <a:pt x="79" y="836"/>
                      <a:pt x="79" y="836"/>
                    </a:cubicBezTo>
                    <a:cubicBezTo>
                      <a:pt x="82" y="836"/>
                      <a:pt x="84" y="837"/>
                      <a:pt x="86" y="838"/>
                    </a:cubicBezTo>
                    <a:cubicBezTo>
                      <a:pt x="96" y="842"/>
                      <a:pt x="99" y="845"/>
                      <a:pt x="99" y="846"/>
                    </a:cubicBezTo>
                    <a:cubicBezTo>
                      <a:pt x="100" y="847"/>
                      <a:pt x="100" y="847"/>
                      <a:pt x="100" y="847"/>
                    </a:cubicBezTo>
                    <a:cubicBezTo>
                      <a:pt x="101" y="858"/>
                      <a:pt x="101" y="858"/>
                      <a:pt x="101" y="858"/>
                    </a:cubicBezTo>
                    <a:cubicBezTo>
                      <a:pt x="98" y="861"/>
                      <a:pt x="98" y="861"/>
                      <a:pt x="98" y="861"/>
                    </a:cubicBezTo>
                    <a:cubicBezTo>
                      <a:pt x="99" y="862"/>
                      <a:pt x="99" y="862"/>
                      <a:pt x="99" y="862"/>
                    </a:cubicBezTo>
                    <a:cubicBezTo>
                      <a:pt x="100" y="863"/>
                      <a:pt x="105" y="869"/>
                      <a:pt x="103" y="873"/>
                    </a:cubicBezTo>
                    <a:cubicBezTo>
                      <a:pt x="102" y="874"/>
                      <a:pt x="102" y="874"/>
                      <a:pt x="102" y="874"/>
                    </a:cubicBezTo>
                    <a:cubicBezTo>
                      <a:pt x="101" y="874"/>
                      <a:pt x="100" y="876"/>
                      <a:pt x="98" y="879"/>
                    </a:cubicBezTo>
                    <a:cubicBezTo>
                      <a:pt x="103" y="881"/>
                      <a:pt x="108" y="884"/>
                      <a:pt x="108" y="889"/>
                    </a:cubicBezTo>
                    <a:cubicBezTo>
                      <a:pt x="108" y="891"/>
                      <a:pt x="110" y="898"/>
                      <a:pt x="118" y="902"/>
                    </a:cubicBezTo>
                    <a:cubicBezTo>
                      <a:pt x="124" y="904"/>
                      <a:pt x="126" y="909"/>
                      <a:pt x="126" y="911"/>
                    </a:cubicBezTo>
                    <a:cubicBezTo>
                      <a:pt x="127" y="913"/>
                      <a:pt x="127" y="914"/>
                      <a:pt x="126" y="915"/>
                    </a:cubicBezTo>
                    <a:cubicBezTo>
                      <a:pt x="560" y="915"/>
                      <a:pt x="560" y="915"/>
                      <a:pt x="560" y="915"/>
                    </a:cubicBezTo>
                    <a:cubicBezTo>
                      <a:pt x="560" y="457"/>
                      <a:pt x="560" y="457"/>
                      <a:pt x="560" y="457"/>
                    </a:cubicBezTo>
                    <a:moveTo>
                      <a:pt x="1682" y="457"/>
                    </a:moveTo>
                    <a:cubicBezTo>
                      <a:pt x="1122" y="457"/>
                      <a:pt x="1122" y="457"/>
                      <a:pt x="1122" y="457"/>
                    </a:cubicBezTo>
                    <a:cubicBezTo>
                      <a:pt x="1122" y="877"/>
                      <a:pt x="1122" y="877"/>
                      <a:pt x="1122" y="877"/>
                    </a:cubicBezTo>
                    <a:cubicBezTo>
                      <a:pt x="1122" y="877"/>
                      <a:pt x="1122" y="877"/>
                      <a:pt x="1122" y="877"/>
                    </a:cubicBezTo>
                    <a:cubicBezTo>
                      <a:pt x="1124" y="877"/>
                      <a:pt x="1125" y="876"/>
                      <a:pt x="1127" y="875"/>
                    </a:cubicBezTo>
                    <a:cubicBezTo>
                      <a:pt x="1129" y="875"/>
                      <a:pt x="1129" y="875"/>
                      <a:pt x="1129" y="875"/>
                    </a:cubicBezTo>
                    <a:cubicBezTo>
                      <a:pt x="1131" y="874"/>
                      <a:pt x="1131" y="874"/>
                      <a:pt x="1131" y="874"/>
                    </a:cubicBezTo>
                    <a:cubicBezTo>
                      <a:pt x="1132" y="874"/>
                      <a:pt x="1132" y="874"/>
                      <a:pt x="1132" y="874"/>
                    </a:cubicBezTo>
                    <a:cubicBezTo>
                      <a:pt x="1143" y="872"/>
                      <a:pt x="1143" y="872"/>
                      <a:pt x="1143" y="872"/>
                    </a:cubicBezTo>
                    <a:cubicBezTo>
                      <a:pt x="1143" y="872"/>
                      <a:pt x="1143" y="872"/>
                      <a:pt x="1143" y="872"/>
                    </a:cubicBezTo>
                    <a:cubicBezTo>
                      <a:pt x="1144" y="871"/>
                      <a:pt x="1144" y="871"/>
                      <a:pt x="1144" y="871"/>
                    </a:cubicBezTo>
                    <a:cubicBezTo>
                      <a:pt x="1145" y="870"/>
                      <a:pt x="1146" y="870"/>
                      <a:pt x="1147" y="870"/>
                    </a:cubicBezTo>
                    <a:cubicBezTo>
                      <a:pt x="1148" y="870"/>
                      <a:pt x="1148" y="870"/>
                      <a:pt x="1149" y="870"/>
                    </a:cubicBezTo>
                    <a:cubicBezTo>
                      <a:pt x="1150" y="870"/>
                      <a:pt x="1150" y="870"/>
                      <a:pt x="1151" y="870"/>
                    </a:cubicBezTo>
                    <a:cubicBezTo>
                      <a:pt x="1152" y="871"/>
                      <a:pt x="1152" y="871"/>
                      <a:pt x="1152" y="871"/>
                    </a:cubicBezTo>
                    <a:cubicBezTo>
                      <a:pt x="1152" y="871"/>
                      <a:pt x="1152" y="871"/>
                      <a:pt x="1152" y="871"/>
                    </a:cubicBezTo>
                    <a:cubicBezTo>
                      <a:pt x="1153" y="871"/>
                      <a:pt x="1153" y="870"/>
                      <a:pt x="1154" y="870"/>
                    </a:cubicBezTo>
                    <a:cubicBezTo>
                      <a:pt x="1156" y="868"/>
                      <a:pt x="1156" y="868"/>
                      <a:pt x="1156" y="868"/>
                    </a:cubicBezTo>
                    <a:cubicBezTo>
                      <a:pt x="1157" y="868"/>
                      <a:pt x="1157" y="868"/>
                      <a:pt x="1157" y="868"/>
                    </a:cubicBezTo>
                    <a:cubicBezTo>
                      <a:pt x="1158" y="867"/>
                      <a:pt x="1158" y="867"/>
                      <a:pt x="1158" y="867"/>
                    </a:cubicBezTo>
                    <a:cubicBezTo>
                      <a:pt x="1159" y="867"/>
                      <a:pt x="1160" y="866"/>
                      <a:pt x="1161" y="865"/>
                    </a:cubicBezTo>
                    <a:cubicBezTo>
                      <a:pt x="1162" y="865"/>
                      <a:pt x="1165" y="863"/>
                      <a:pt x="1166" y="862"/>
                    </a:cubicBezTo>
                    <a:cubicBezTo>
                      <a:pt x="1167" y="861"/>
                      <a:pt x="1167" y="860"/>
                      <a:pt x="1167" y="859"/>
                    </a:cubicBezTo>
                    <a:cubicBezTo>
                      <a:pt x="1168" y="857"/>
                      <a:pt x="1168" y="857"/>
                      <a:pt x="1168" y="857"/>
                    </a:cubicBezTo>
                    <a:cubicBezTo>
                      <a:pt x="1169" y="856"/>
                      <a:pt x="1171" y="855"/>
                      <a:pt x="1173" y="855"/>
                    </a:cubicBezTo>
                    <a:cubicBezTo>
                      <a:pt x="1173" y="855"/>
                      <a:pt x="1173" y="855"/>
                      <a:pt x="1173" y="855"/>
                    </a:cubicBezTo>
                    <a:cubicBezTo>
                      <a:pt x="1174" y="855"/>
                      <a:pt x="1174" y="855"/>
                      <a:pt x="1174" y="855"/>
                    </a:cubicBezTo>
                    <a:cubicBezTo>
                      <a:pt x="1174" y="855"/>
                      <a:pt x="1174" y="855"/>
                      <a:pt x="1174" y="855"/>
                    </a:cubicBezTo>
                    <a:cubicBezTo>
                      <a:pt x="1181" y="855"/>
                      <a:pt x="1181" y="855"/>
                      <a:pt x="1181" y="855"/>
                    </a:cubicBezTo>
                    <a:cubicBezTo>
                      <a:pt x="1182" y="855"/>
                      <a:pt x="1182" y="855"/>
                      <a:pt x="1182" y="855"/>
                    </a:cubicBezTo>
                    <a:cubicBezTo>
                      <a:pt x="1182" y="855"/>
                      <a:pt x="1182" y="855"/>
                      <a:pt x="1182" y="855"/>
                    </a:cubicBezTo>
                    <a:cubicBezTo>
                      <a:pt x="1186" y="855"/>
                      <a:pt x="1186" y="855"/>
                      <a:pt x="1186" y="855"/>
                    </a:cubicBezTo>
                    <a:cubicBezTo>
                      <a:pt x="1186" y="855"/>
                      <a:pt x="1186" y="855"/>
                      <a:pt x="1186" y="855"/>
                    </a:cubicBezTo>
                    <a:cubicBezTo>
                      <a:pt x="1187" y="855"/>
                      <a:pt x="1187" y="855"/>
                      <a:pt x="1187" y="855"/>
                    </a:cubicBezTo>
                    <a:cubicBezTo>
                      <a:pt x="1187" y="855"/>
                      <a:pt x="1187" y="855"/>
                      <a:pt x="1187" y="855"/>
                    </a:cubicBezTo>
                    <a:cubicBezTo>
                      <a:pt x="1198" y="855"/>
                      <a:pt x="1198" y="855"/>
                      <a:pt x="1198" y="855"/>
                    </a:cubicBezTo>
                    <a:cubicBezTo>
                      <a:pt x="1200" y="855"/>
                      <a:pt x="1201" y="856"/>
                      <a:pt x="1202" y="857"/>
                    </a:cubicBezTo>
                    <a:cubicBezTo>
                      <a:pt x="1204" y="858"/>
                      <a:pt x="1204" y="858"/>
                      <a:pt x="1204" y="858"/>
                    </a:cubicBezTo>
                    <a:cubicBezTo>
                      <a:pt x="1205" y="859"/>
                      <a:pt x="1206" y="860"/>
                      <a:pt x="1207" y="861"/>
                    </a:cubicBezTo>
                    <a:cubicBezTo>
                      <a:pt x="1208" y="861"/>
                      <a:pt x="1208" y="861"/>
                      <a:pt x="1208" y="861"/>
                    </a:cubicBezTo>
                    <a:cubicBezTo>
                      <a:pt x="1209" y="861"/>
                      <a:pt x="1209" y="861"/>
                      <a:pt x="1209" y="861"/>
                    </a:cubicBezTo>
                    <a:cubicBezTo>
                      <a:pt x="1210" y="862"/>
                      <a:pt x="1211" y="862"/>
                      <a:pt x="1213" y="863"/>
                    </a:cubicBezTo>
                    <a:cubicBezTo>
                      <a:pt x="1214" y="863"/>
                      <a:pt x="1214" y="863"/>
                      <a:pt x="1214" y="863"/>
                    </a:cubicBezTo>
                    <a:cubicBezTo>
                      <a:pt x="1215" y="861"/>
                      <a:pt x="1219" y="859"/>
                      <a:pt x="1222" y="857"/>
                    </a:cubicBezTo>
                    <a:cubicBezTo>
                      <a:pt x="1223" y="857"/>
                      <a:pt x="1223" y="857"/>
                      <a:pt x="1223" y="857"/>
                    </a:cubicBezTo>
                    <a:cubicBezTo>
                      <a:pt x="1229" y="856"/>
                      <a:pt x="1229" y="856"/>
                      <a:pt x="1229" y="856"/>
                    </a:cubicBezTo>
                    <a:cubicBezTo>
                      <a:pt x="1230" y="857"/>
                      <a:pt x="1230" y="857"/>
                      <a:pt x="1230" y="857"/>
                    </a:cubicBezTo>
                    <a:cubicBezTo>
                      <a:pt x="1232" y="857"/>
                      <a:pt x="1234" y="859"/>
                      <a:pt x="1235" y="860"/>
                    </a:cubicBezTo>
                    <a:cubicBezTo>
                      <a:pt x="1237" y="864"/>
                      <a:pt x="1239" y="868"/>
                      <a:pt x="1241" y="872"/>
                    </a:cubicBezTo>
                    <a:cubicBezTo>
                      <a:pt x="1247" y="883"/>
                      <a:pt x="1247" y="883"/>
                      <a:pt x="1247" y="883"/>
                    </a:cubicBezTo>
                    <a:cubicBezTo>
                      <a:pt x="1247" y="885"/>
                      <a:pt x="1247" y="886"/>
                      <a:pt x="1246" y="887"/>
                    </a:cubicBezTo>
                    <a:cubicBezTo>
                      <a:pt x="1246" y="888"/>
                      <a:pt x="1246" y="888"/>
                      <a:pt x="1246" y="888"/>
                    </a:cubicBezTo>
                    <a:cubicBezTo>
                      <a:pt x="1244" y="890"/>
                      <a:pt x="1244" y="890"/>
                      <a:pt x="1244" y="890"/>
                    </a:cubicBezTo>
                    <a:cubicBezTo>
                      <a:pt x="1244" y="892"/>
                      <a:pt x="1244" y="892"/>
                      <a:pt x="1244" y="892"/>
                    </a:cubicBezTo>
                    <a:cubicBezTo>
                      <a:pt x="1245" y="892"/>
                      <a:pt x="1245" y="892"/>
                      <a:pt x="1245" y="892"/>
                    </a:cubicBezTo>
                    <a:cubicBezTo>
                      <a:pt x="1245" y="893"/>
                      <a:pt x="1245" y="893"/>
                      <a:pt x="1245" y="893"/>
                    </a:cubicBezTo>
                    <a:cubicBezTo>
                      <a:pt x="1245" y="894"/>
                      <a:pt x="1245" y="894"/>
                      <a:pt x="1245" y="894"/>
                    </a:cubicBezTo>
                    <a:cubicBezTo>
                      <a:pt x="1245" y="894"/>
                      <a:pt x="1245" y="894"/>
                      <a:pt x="1245" y="894"/>
                    </a:cubicBezTo>
                    <a:cubicBezTo>
                      <a:pt x="1246" y="896"/>
                      <a:pt x="1246" y="896"/>
                      <a:pt x="1246" y="896"/>
                    </a:cubicBezTo>
                    <a:cubicBezTo>
                      <a:pt x="1246" y="899"/>
                      <a:pt x="1245" y="900"/>
                      <a:pt x="1243" y="901"/>
                    </a:cubicBezTo>
                    <a:cubicBezTo>
                      <a:pt x="1243" y="902"/>
                      <a:pt x="1242" y="902"/>
                      <a:pt x="1242" y="902"/>
                    </a:cubicBezTo>
                    <a:cubicBezTo>
                      <a:pt x="1243" y="903"/>
                      <a:pt x="1243" y="903"/>
                      <a:pt x="1243" y="903"/>
                    </a:cubicBezTo>
                    <a:cubicBezTo>
                      <a:pt x="1245" y="904"/>
                      <a:pt x="1245" y="904"/>
                      <a:pt x="1245" y="904"/>
                    </a:cubicBezTo>
                    <a:cubicBezTo>
                      <a:pt x="1245" y="904"/>
                      <a:pt x="1245" y="904"/>
                      <a:pt x="1245" y="904"/>
                    </a:cubicBezTo>
                    <a:cubicBezTo>
                      <a:pt x="1246" y="904"/>
                      <a:pt x="1246" y="904"/>
                      <a:pt x="1247" y="904"/>
                    </a:cubicBezTo>
                    <a:cubicBezTo>
                      <a:pt x="1248" y="904"/>
                      <a:pt x="1250" y="904"/>
                      <a:pt x="1251" y="903"/>
                    </a:cubicBezTo>
                    <a:cubicBezTo>
                      <a:pt x="1256" y="903"/>
                      <a:pt x="1256" y="903"/>
                      <a:pt x="1256" y="903"/>
                    </a:cubicBezTo>
                    <a:cubicBezTo>
                      <a:pt x="1263" y="901"/>
                      <a:pt x="1263" y="901"/>
                      <a:pt x="1263" y="901"/>
                    </a:cubicBezTo>
                    <a:cubicBezTo>
                      <a:pt x="1264" y="901"/>
                      <a:pt x="1264" y="901"/>
                      <a:pt x="1264" y="901"/>
                    </a:cubicBezTo>
                    <a:cubicBezTo>
                      <a:pt x="1263" y="900"/>
                      <a:pt x="1263" y="899"/>
                      <a:pt x="1263" y="898"/>
                    </a:cubicBezTo>
                    <a:cubicBezTo>
                      <a:pt x="1262" y="895"/>
                      <a:pt x="1262" y="895"/>
                      <a:pt x="1262" y="895"/>
                    </a:cubicBezTo>
                    <a:cubicBezTo>
                      <a:pt x="1269" y="893"/>
                      <a:pt x="1269" y="893"/>
                      <a:pt x="1269" y="893"/>
                    </a:cubicBezTo>
                    <a:cubicBezTo>
                      <a:pt x="1271" y="894"/>
                      <a:pt x="1271" y="894"/>
                      <a:pt x="1271" y="894"/>
                    </a:cubicBezTo>
                    <a:cubicBezTo>
                      <a:pt x="1272" y="895"/>
                      <a:pt x="1272" y="895"/>
                      <a:pt x="1272" y="895"/>
                    </a:cubicBezTo>
                    <a:cubicBezTo>
                      <a:pt x="1277" y="900"/>
                      <a:pt x="1277" y="900"/>
                      <a:pt x="1277" y="900"/>
                    </a:cubicBezTo>
                    <a:cubicBezTo>
                      <a:pt x="1278" y="901"/>
                      <a:pt x="1278" y="903"/>
                      <a:pt x="1279" y="904"/>
                    </a:cubicBezTo>
                    <a:cubicBezTo>
                      <a:pt x="1279" y="904"/>
                      <a:pt x="1279" y="904"/>
                      <a:pt x="1279" y="904"/>
                    </a:cubicBezTo>
                    <a:cubicBezTo>
                      <a:pt x="1280" y="903"/>
                      <a:pt x="1280" y="903"/>
                      <a:pt x="1280" y="903"/>
                    </a:cubicBezTo>
                    <a:cubicBezTo>
                      <a:pt x="1280" y="903"/>
                      <a:pt x="1281" y="903"/>
                      <a:pt x="1282" y="903"/>
                    </a:cubicBezTo>
                    <a:cubicBezTo>
                      <a:pt x="1283" y="903"/>
                      <a:pt x="1283" y="903"/>
                      <a:pt x="1284" y="903"/>
                    </a:cubicBezTo>
                    <a:cubicBezTo>
                      <a:pt x="1285" y="903"/>
                      <a:pt x="1285" y="904"/>
                      <a:pt x="1285" y="904"/>
                    </a:cubicBezTo>
                    <a:cubicBezTo>
                      <a:pt x="1286" y="904"/>
                      <a:pt x="1286" y="904"/>
                      <a:pt x="1286" y="904"/>
                    </a:cubicBezTo>
                    <a:cubicBezTo>
                      <a:pt x="1287" y="904"/>
                      <a:pt x="1288" y="905"/>
                      <a:pt x="1289" y="905"/>
                    </a:cubicBezTo>
                    <a:cubicBezTo>
                      <a:pt x="1289" y="906"/>
                      <a:pt x="1289" y="906"/>
                      <a:pt x="1289" y="906"/>
                    </a:cubicBezTo>
                    <a:cubicBezTo>
                      <a:pt x="1292" y="907"/>
                      <a:pt x="1295" y="908"/>
                      <a:pt x="1296" y="909"/>
                    </a:cubicBezTo>
                    <a:cubicBezTo>
                      <a:pt x="1297" y="909"/>
                      <a:pt x="1297" y="909"/>
                      <a:pt x="1297" y="909"/>
                    </a:cubicBezTo>
                    <a:cubicBezTo>
                      <a:pt x="1321" y="904"/>
                      <a:pt x="1321" y="904"/>
                      <a:pt x="1321" y="904"/>
                    </a:cubicBezTo>
                    <a:cubicBezTo>
                      <a:pt x="1318" y="911"/>
                      <a:pt x="1318" y="911"/>
                      <a:pt x="1318" y="911"/>
                    </a:cubicBezTo>
                    <a:cubicBezTo>
                      <a:pt x="1317" y="911"/>
                      <a:pt x="1317" y="912"/>
                      <a:pt x="1316" y="913"/>
                    </a:cubicBezTo>
                    <a:cubicBezTo>
                      <a:pt x="1314" y="915"/>
                      <a:pt x="1314" y="915"/>
                      <a:pt x="1314" y="915"/>
                    </a:cubicBezTo>
                    <a:cubicBezTo>
                      <a:pt x="1346" y="915"/>
                      <a:pt x="1346" y="915"/>
                      <a:pt x="1346" y="915"/>
                    </a:cubicBezTo>
                    <a:cubicBezTo>
                      <a:pt x="1347" y="915"/>
                      <a:pt x="1347" y="915"/>
                      <a:pt x="1347" y="915"/>
                    </a:cubicBezTo>
                    <a:cubicBezTo>
                      <a:pt x="1351" y="913"/>
                      <a:pt x="1355" y="911"/>
                      <a:pt x="1359" y="909"/>
                    </a:cubicBezTo>
                    <a:cubicBezTo>
                      <a:pt x="1362" y="907"/>
                      <a:pt x="1366" y="905"/>
                      <a:pt x="1371" y="903"/>
                    </a:cubicBezTo>
                    <a:cubicBezTo>
                      <a:pt x="1424" y="881"/>
                      <a:pt x="1424" y="881"/>
                      <a:pt x="1424" y="881"/>
                    </a:cubicBezTo>
                    <a:cubicBezTo>
                      <a:pt x="1404" y="898"/>
                      <a:pt x="1404" y="898"/>
                      <a:pt x="1404" y="898"/>
                    </a:cubicBezTo>
                    <a:cubicBezTo>
                      <a:pt x="1404" y="901"/>
                      <a:pt x="1404" y="901"/>
                      <a:pt x="1404" y="901"/>
                    </a:cubicBezTo>
                    <a:cubicBezTo>
                      <a:pt x="1404" y="903"/>
                      <a:pt x="1404" y="904"/>
                      <a:pt x="1403" y="906"/>
                    </a:cubicBezTo>
                    <a:cubicBezTo>
                      <a:pt x="1403" y="907"/>
                      <a:pt x="1403" y="907"/>
                      <a:pt x="1403" y="907"/>
                    </a:cubicBezTo>
                    <a:cubicBezTo>
                      <a:pt x="1402" y="907"/>
                      <a:pt x="1402" y="907"/>
                      <a:pt x="1402" y="907"/>
                    </a:cubicBezTo>
                    <a:cubicBezTo>
                      <a:pt x="1402" y="907"/>
                      <a:pt x="1402" y="907"/>
                      <a:pt x="1402" y="907"/>
                    </a:cubicBezTo>
                    <a:cubicBezTo>
                      <a:pt x="1401" y="908"/>
                      <a:pt x="1401" y="908"/>
                      <a:pt x="1401" y="908"/>
                    </a:cubicBezTo>
                    <a:cubicBezTo>
                      <a:pt x="1401" y="908"/>
                      <a:pt x="1400" y="909"/>
                      <a:pt x="1400" y="909"/>
                    </a:cubicBezTo>
                    <a:cubicBezTo>
                      <a:pt x="1399" y="909"/>
                      <a:pt x="1399" y="909"/>
                      <a:pt x="1399" y="909"/>
                    </a:cubicBezTo>
                    <a:cubicBezTo>
                      <a:pt x="1400" y="911"/>
                      <a:pt x="1402" y="912"/>
                      <a:pt x="1403" y="913"/>
                    </a:cubicBezTo>
                    <a:cubicBezTo>
                      <a:pt x="1405" y="915"/>
                      <a:pt x="1405" y="915"/>
                      <a:pt x="1405" y="915"/>
                    </a:cubicBezTo>
                    <a:cubicBezTo>
                      <a:pt x="1682" y="915"/>
                      <a:pt x="1682" y="915"/>
                      <a:pt x="1682" y="915"/>
                    </a:cubicBezTo>
                    <a:cubicBezTo>
                      <a:pt x="1682" y="457"/>
                      <a:pt x="1682" y="457"/>
                      <a:pt x="1682" y="457"/>
                    </a:cubicBezTo>
                    <a:moveTo>
                      <a:pt x="955" y="212"/>
                    </a:moveTo>
                    <a:cubicBezTo>
                      <a:pt x="955" y="212"/>
                      <a:pt x="955" y="212"/>
                      <a:pt x="955" y="212"/>
                    </a:cubicBezTo>
                    <a:cubicBezTo>
                      <a:pt x="948" y="214"/>
                      <a:pt x="942" y="220"/>
                      <a:pt x="936" y="221"/>
                    </a:cubicBezTo>
                    <a:cubicBezTo>
                      <a:pt x="933" y="222"/>
                      <a:pt x="927" y="220"/>
                      <a:pt x="929" y="225"/>
                    </a:cubicBezTo>
                    <a:cubicBezTo>
                      <a:pt x="931" y="230"/>
                      <a:pt x="932" y="232"/>
                      <a:pt x="935" y="235"/>
                    </a:cubicBezTo>
                    <a:cubicBezTo>
                      <a:pt x="937" y="237"/>
                      <a:pt x="940" y="240"/>
                      <a:pt x="940" y="243"/>
                    </a:cubicBezTo>
                    <a:cubicBezTo>
                      <a:pt x="940" y="243"/>
                      <a:pt x="941" y="250"/>
                      <a:pt x="943" y="250"/>
                    </a:cubicBezTo>
                    <a:cubicBezTo>
                      <a:pt x="943" y="250"/>
                      <a:pt x="944" y="250"/>
                      <a:pt x="945" y="249"/>
                    </a:cubicBezTo>
                    <a:cubicBezTo>
                      <a:pt x="945" y="248"/>
                      <a:pt x="946" y="247"/>
                      <a:pt x="947" y="247"/>
                    </a:cubicBezTo>
                    <a:cubicBezTo>
                      <a:pt x="948" y="247"/>
                      <a:pt x="949" y="250"/>
                      <a:pt x="950" y="252"/>
                    </a:cubicBezTo>
                    <a:cubicBezTo>
                      <a:pt x="951" y="256"/>
                      <a:pt x="951" y="258"/>
                      <a:pt x="948" y="260"/>
                    </a:cubicBezTo>
                    <a:cubicBezTo>
                      <a:pt x="941" y="265"/>
                      <a:pt x="931" y="267"/>
                      <a:pt x="924" y="270"/>
                    </a:cubicBezTo>
                    <a:cubicBezTo>
                      <a:pt x="923" y="270"/>
                      <a:pt x="923" y="270"/>
                      <a:pt x="923" y="270"/>
                    </a:cubicBezTo>
                    <a:cubicBezTo>
                      <a:pt x="923" y="270"/>
                      <a:pt x="923" y="270"/>
                      <a:pt x="923" y="270"/>
                    </a:cubicBezTo>
                    <a:cubicBezTo>
                      <a:pt x="922" y="272"/>
                      <a:pt x="920" y="274"/>
                      <a:pt x="920" y="276"/>
                    </a:cubicBezTo>
                    <a:cubicBezTo>
                      <a:pt x="920" y="277"/>
                      <a:pt x="922" y="278"/>
                      <a:pt x="922" y="279"/>
                    </a:cubicBezTo>
                    <a:cubicBezTo>
                      <a:pt x="922" y="282"/>
                      <a:pt x="921" y="285"/>
                      <a:pt x="919" y="286"/>
                    </a:cubicBezTo>
                    <a:cubicBezTo>
                      <a:pt x="917" y="287"/>
                      <a:pt x="916" y="287"/>
                      <a:pt x="914" y="287"/>
                    </a:cubicBezTo>
                    <a:cubicBezTo>
                      <a:pt x="910" y="287"/>
                      <a:pt x="905" y="285"/>
                      <a:pt x="902" y="285"/>
                    </a:cubicBezTo>
                    <a:cubicBezTo>
                      <a:pt x="895" y="283"/>
                      <a:pt x="899" y="282"/>
                      <a:pt x="898" y="278"/>
                    </a:cubicBezTo>
                    <a:cubicBezTo>
                      <a:pt x="898" y="277"/>
                      <a:pt x="897" y="276"/>
                      <a:pt x="897" y="274"/>
                    </a:cubicBezTo>
                    <a:cubicBezTo>
                      <a:pt x="897" y="274"/>
                      <a:pt x="899" y="271"/>
                      <a:pt x="899" y="271"/>
                    </a:cubicBezTo>
                    <a:cubicBezTo>
                      <a:pt x="902" y="269"/>
                      <a:pt x="908" y="270"/>
                      <a:pt x="907" y="266"/>
                    </a:cubicBezTo>
                    <a:cubicBezTo>
                      <a:pt x="906" y="265"/>
                      <a:pt x="901" y="262"/>
                      <a:pt x="900" y="261"/>
                    </a:cubicBezTo>
                    <a:cubicBezTo>
                      <a:pt x="897" y="259"/>
                      <a:pt x="895" y="259"/>
                      <a:pt x="892" y="258"/>
                    </a:cubicBezTo>
                    <a:cubicBezTo>
                      <a:pt x="895" y="256"/>
                      <a:pt x="898" y="256"/>
                      <a:pt x="901" y="255"/>
                    </a:cubicBezTo>
                    <a:cubicBezTo>
                      <a:pt x="900" y="255"/>
                      <a:pt x="899" y="255"/>
                      <a:pt x="898" y="255"/>
                    </a:cubicBezTo>
                    <a:cubicBezTo>
                      <a:pt x="890" y="255"/>
                      <a:pt x="882" y="259"/>
                      <a:pt x="875" y="265"/>
                    </a:cubicBezTo>
                    <a:cubicBezTo>
                      <a:pt x="877" y="266"/>
                      <a:pt x="879" y="266"/>
                      <a:pt x="879" y="268"/>
                    </a:cubicBezTo>
                    <a:cubicBezTo>
                      <a:pt x="877" y="267"/>
                      <a:pt x="874" y="265"/>
                      <a:pt x="872" y="263"/>
                    </a:cubicBezTo>
                    <a:cubicBezTo>
                      <a:pt x="872" y="262"/>
                      <a:pt x="874" y="261"/>
                      <a:pt x="873" y="261"/>
                    </a:cubicBezTo>
                    <a:cubicBezTo>
                      <a:pt x="873" y="261"/>
                      <a:pt x="872" y="261"/>
                      <a:pt x="870" y="262"/>
                    </a:cubicBezTo>
                    <a:cubicBezTo>
                      <a:pt x="864" y="265"/>
                      <a:pt x="855" y="268"/>
                      <a:pt x="851" y="273"/>
                    </a:cubicBezTo>
                    <a:cubicBezTo>
                      <a:pt x="849" y="275"/>
                      <a:pt x="851" y="276"/>
                      <a:pt x="847" y="276"/>
                    </a:cubicBezTo>
                    <a:cubicBezTo>
                      <a:pt x="846" y="276"/>
                      <a:pt x="846" y="276"/>
                      <a:pt x="845" y="276"/>
                    </a:cubicBezTo>
                    <a:cubicBezTo>
                      <a:pt x="842" y="276"/>
                      <a:pt x="838" y="275"/>
                      <a:pt x="835" y="275"/>
                    </a:cubicBezTo>
                    <a:cubicBezTo>
                      <a:pt x="831" y="274"/>
                      <a:pt x="828" y="273"/>
                      <a:pt x="825" y="273"/>
                    </a:cubicBezTo>
                    <a:cubicBezTo>
                      <a:pt x="824" y="273"/>
                      <a:pt x="822" y="273"/>
                      <a:pt x="821" y="274"/>
                    </a:cubicBezTo>
                    <a:cubicBezTo>
                      <a:pt x="820" y="274"/>
                      <a:pt x="819" y="274"/>
                      <a:pt x="818" y="274"/>
                    </a:cubicBezTo>
                    <a:cubicBezTo>
                      <a:pt x="816" y="274"/>
                      <a:pt x="814" y="273"/>
                      <a:pt x="811" y="272"/>
                    </a:cubicBezTo>
                    <a:cubicBezTo>
                      <a:pt x="810" y="272"/>
                      <a:pt x="810" y="272"/>
                      <a:pt x="810" y="272"/>
                    </a:cubicBezTo>
                    <a:cubicBezTo>
                      <a:pt x="805" y="272"/>
                      <a:pt x="797" y="279"/>
                      <a:pt x="793" y="281"/>
                    </a:cubicBezTo>
                    <a:cubicBezTo>
                      <a:pt x="789" y="284"/>
                      <a:pt x="785" y="287"/>
                      <a:pt x="781" y="289"/>
                    </a:cubicBezTo>
                    <a:cubicBezTo>
                      <a:pt x="779" y="291"/>
                      <a:pt x="780" y="292"/>
                      <a:pt x="779" y="293"/>
                    </a:cubicBezTo>
                    <a:cubicBezTo>
                      <a:pt x="778" y="294"/>
                      <a:pt x="777" y="295"/>
                      <a:pt x="776" y="295"/>
                    </a:cubicBezTo>
                    <a:cubicBezTo>
                      <a:pt x="776" y="295"/>
                      <a:pt x="775" y="294"/>
                      <a:pt x="773" y="293"/>
                    </a:cubicBezTo>
                    <a:cubicBezTo>
                      <a:pt x="771" y="292"/>
                      <a:pt x="770" y="290"/>
                      <a:pt x="767" y="290"/>
                    </a:cubicBezTo>
                    <a:cubicBezTo>
                      <a:pt x="767" y="290"/>
                      <a:pt x="766" y="290"/>
                      <a:pt x="765" y="291"/>
                    </a:cubicBezTo>
                    <a:cubicBezTo>
                      <a:pt x="762" y="292"/>
                      <a:pt x="761" y="294"/>
                      <a:pt x="760" y="294"/>
                    </a:cubicBezTo>
                    <a:cubicBezTo>
                      <a:pt x="759" y="294"/>
                      <a:pt x="758" y="293"/>
                      <a:pt x="758" y="290"/>
                    </a:cubicBezTo>
                    <a:cubicBezTo>
                      <a:pt x="755" y="291"/>
                      <a:pt x="754" y="293"/>
                      <a:pt x="752" y="293"/>
                    </a:cubicBezTo>
                    <a:cubicBezTo>
                      <a:pt x="751" y="293"/>
                      <a:pt x="750" y="293"/>
                      <a:pt x="749" y="292"/>
                    </a:cubicBezTo>
                    <a:cubicBezTo>
                      <a:pt x="744" y="291"/>
                      <a:pt x="739" y="290"/>
                      <a:pt x="735" y="287"/>
                    </a:cubicBezTo>
                    <a:cubicBezTo>
                      <a:pt x="738" y="286"/>
                      <a:pt x="740" y="287"/>
                      <a:pt x="743" y="286"/>
                    </a:cubicBezTo>
                    <a:cubicBezTo>
                      <a:pt x="742" y="286"/>
                      <a:pt x="742" y="285"/>
                      <a:pt x="741" y="285"/>
                    </a:cubicBezTo>
                    <a:cubicBezTo>
                      <a:pt x="742" y="284"/>
                      <a:pt x="743" y="284"/>
                      <a:pt x="744" y="284"/>
                    </a:cubicBezTo>
                    <a:cubicBezTo>
                      <a:pt x="745" y="284"/>
                      <a:pt x="746" y="284"/>
                      <a:pt x="746" y="284"/>
                    </a:cubicBezTo>
                    <a:cubicBezTo>
                      <a:pt x="747" y="284"/>
                      <a:pt x="748" y="284"/>
                      <a:pt x="748" y="284"/>
                    </a:cubicBezTo>
                    <a:cubicBezTo>
                      <a:pt x="749" y="284"/>
                      <a:pt x="750" y="284"/>
                      <a:pt x="751" y="284"/>
                    </a:cubicBezTo>
                    <a:cubicBezTo>
                      <a:pt x="750" y="280"/>
                      <a:pt x="750" y="279"/>
                      <a:pt x="748" y="276"/>
                    </a:cubicBezTo>
                    <a:cubicBezTo>
                      <a:pt x="744" y="272"/>
                      <a:pt x="746" y="272"/>
                      <a:pt x="748" y="268"/>
                    </a:cubicBezTo>
                    <a:cubicBezTo>
                      <a:pt x="749" y="266"/>
                      <a:pt x="749" y="266"/>
                      <a:pt x="751" y="264"/>
                    </a:cubicBezTo>
                    <a:cubicBezTo>
                      <a:pt x="753" y="263"/>
                      <a:pt x="755" y="263"/>
                      <a:pt x="752" y="261"/>
                    </a:cubicBezTo>
                    <a:cubicBezTo>
                      <a:pt x="749" y="260"/>
                      <a:pt x="744" y="261"/>
                      <a:pt x="742" y="259"/>
                    </a:cubicBezTo>
                    <a:cubicBezTo>
                      <a:pt x="743" y="259"/>
                      <a:pt x="744" y="259"/>
                      <a:pt x="745" y="259"/>
                    </a:cubicBezTo>
                    <a:cubicBezTo>
                      <a:pt x="736" y="261"/>
                      <a:pt x="728" y="263"/>
                      <a:pt x="719" y="267"/>
                    </a:cubicBezTo>
                    <a:cubicBezTo>
                      <a:pt x="716" y="268"/>
                      <a:pt x="713" y="270"/>
                      <a:pt x="710" y="271"/>
                    </a:cubicBezTo>
                    <a:cubicBezTo>
                      <a:pt x="707" y="272"/>
                      <a:pt x="702" y="274"/>
                      <a:pt x="706" y="275"/>
                    </a:cubicBezTo>
                    <a:cubicBezTo>
                      <a:pt x="707" y="276"/>
                      <a:pt x="708" y="276"/>
                      <a:pt x="708" y="276"/>
                    </a:cubicBezTo>
                    <a:cubicBezTo>
                      <a:pt x="708" y="276"/>
                      <a:pt x="709" y="276"/>
                      <a:pt x="709" y="276"/>
                    </a:cubicBezTo>
                    <a:cubicBezTo>
                      <a:pt x="709" y="276"/>
                      <a:pt x="709" y="276"/>
                      <a:pt x="709" y="276"/>
                    </a:cubicBezTo>
                    <a:cubicBezTo>
                      <a:pt x="710" y="276"/>
                      <a:pt x="710" y="276"/>
                      <a:pt x="711" y="276"/>
                    </a:cubicBezTo>
                    <a:cubicBezTo>
                      <a:pt x="712" y="276"/>
                      <a:pt x="713" y="278"/>
                      <a:pt x="714" y="279"/>
                    </a:cubicBezTo>
                    <a:cubicBezTo>
                      <a:pt x="716" y="281"/>
                      <a:pt x="718" y="281"/>
                      <a:pt x="714" y="284"/>
                    </a:cubicBezTo>
                    <a:cubicBezTo>
                      <a:pt x="713" y="285"/>
                      <a:pt x="708" y="288"/>
                      <a:pt x="706" y="288"/>
                    </a:cubicBezTo>
                    <a:cubicBezTo>
                      <a:pt x="706" y="288"/>
                      <a:pt x="706" y="288"/>
                      <a:pt x="706" y="288"/>
                    </a:cubicBezTo>
                    <a:cubicBezTo>
                      <a:pt x="703" y="288"/>
                      <a:pt x="704" y="288"/>
                      <a:pt x="704" y="284"/>
                    </a:cubicBezTo>
                    <a:cubicBezTo>
                      <a:pt x="705" y="283"/>
                      <a:pt x="704" y="281"/>
                      <a:pt x="706" y="281"/>
                    </a:cubicBezTo>
                    <a:cubicBezTo>
                      <a:pt x="705" y="279"/>
                      <a:pt x="701" y="279"/>
                      <a:pt x="699" y="279"/>
                    </a:cubicBezTo>
                    <a:cubicBezTo>
                      <a:pt x="700" y="279"/>
                      <a:pt x="701" y="278"/>
                      <a:pt x="702" y="276"/>
                    </a:cubicBezTo>
                    <a:cubicBezTo>
                      <a:pt x="697" y="277"/>
                      <a:pt x="687" y="278"/>
                      <a:pt x="683" y="281"/>
                    </a:cubicBezTo>
                    <a:cubicBezTo>
                      <a:pt x="682" y="282"/>
                      <a:pt x="685" y="282"/>
                      <a:pt x="684" y="283"/>
                    </a:cubicBezTo>
                    <a:cubicBezTo>
                      <a:pt x="683" y="284"/>
                      <a:pt x="682" y="283"/>
                      <a:pt x="681" y="284"/>
                    </a:cubicBezTo>
                    <a:cubicBezTo>
                      <a:pt x="680" y="284"/>
                      <a:pt x="677" y="285"/>
                      <a:pt x="675" y="285"/>
                    </a:cubicBezTo>
                    <a:cubicBezTo>
                      <a:pt x="672" y="286"/>
                      <a:pt x="669" y="287"/>
                      <a:pt x="665" y="287"/>
                    </a:cubicBezTo>
                    <a:cubicBezTo>
                      <a:pt x="660" y="288"/>
                      <a:pt x="658" y="289"/>
                      <a:pt x="654" y="292"/>
                    </a:cubicBezTo>
                    <a:cubicBezTo>
                      <a:pt x="651" y="294"/>
                      <a:pt x="647" y="295"/>
                      <a:pt x="644" y="297"/>
                    </a:cubicBezTo>
                    <a:cubicBezTo>
                      <a:pt x="641" y="298"/>
                      <a:pt x="640" y="301"/>
                      <a:pt x="637" y="303"/>
                    </a:cubicBezTo>
                    <a:cubicBezTo>
                      <a:pt x="634" y="304"/>
                      <a:pt x="631" y="305"/>
                      <a:pt x="628" y="306"/>
                    </a:cubicBezTo>
                    <a:cubicBezTo>
                      <a:pt x="625" y="307"/>
                      <a:pt x="622" y="309"/>
                      <a:pt x="618" y="310"/>
                    </a:cubicBezTo>
                    <a:cubicBezTo>
                      <a:pt x="616" y="311"/>
                      <a:pt x="614" y="311"/>
                      <a:pt x="611" y="311"/>
                    </a:cubicBezTo>
                    <a:cubicBezTo>
                      <a:pt x="610" y="312"/>
                      <a:pt x="609" y="312"/>
                      <a:pt x="608" y="312"/>
                    </a:cubicBezTo>
                    <a:cubicBezTo>
                      <a:pt x="605" y="312"/>
                      <a:pt x="606" y="312"/>
                      <a:pt x="605" y="314"/>
                    </a:cubicBezTo>
                    <a:cubicBezTo>
                      <a:pt x="604" y="318"/>
                      <a:pt x="605" y="317"/>
                      <a:pt x="608" y="318"/>
                    </a:cubicBezTo>
                    <a:cubicBezTo>
                      <a:pt x="611" y="319"/>
                      <a:pt x="612" y="321"/>
                      <a:pt x="614" y="322"/>
                    </a:cubicBezTo>
                    <a:cubicBezTo>
                      <a:pt x="613" y="322"/>
                      <a:pt x="612" y="322"/>
                      <a:pt x="612" y="322"/>
                    </a:cubicBezTo>
                    <a:cubicBezTo>
                      <a:pt x="609" y="322"/>
                      <a:pt x="606" y="322"/>
                      <a:pt x="603" y="321"/>
                    </a:cubicBezTo>
                    <a:cubicBezTo>
                      <a:pt x="600" y="321"/>
                      <a:pt x="597" y="321"/>
                      <a:pt x="594" y="321"/>
                    </a:cubicBezTo>
                    <a:cubicBezTo>
                      <a:pt x="593" y="321"/>
                      <a:pt x="592" y="321"/>
                      <a:pt x="591" y="321"/>
                    </a:cubicBezTo>
                    <a:cubicBezTo>
                      <a:pt x="588" y="321"/>
                      <a:pt x="588" y="322"/>
                      <a:pt x="586" y="323"/>
                    </a:cubicBezTo>
                    <a:cubicBezTo>
                      <a:pt x="584" y="324"/>
                      <a:pt x="578" y="323"/>
                      <a:pt x="577" y="324"/>
                    </a:cubicBezTo>
                    <a:cubicBezTo>
                      <a:pt x="576" y="326"/>
                      <a:pt x="581" y="328"/>
                      <a:pt x="581" y="330"/>
                    </a:cubicBezTo>
                    <a:cubicBezTo>
                      <a:pt x="581" y="333"/>
                      <a:pt x="577" y="335"/>
                      <a:pt x="576" y="338"/>
                    </a:cubicBezTo>
                    <a:cubicBezTo>
                      <a:pt x="576" y="339"/>
                      <a:pt x="576" y="340"/>
                      <a:pt x="576" y="342"/>
                    </a:cubicBezTo>
                    <a:cubicBezTo>
                      <a:pt x="575" y="342"/>
                      <a:pt x="574" y="342"/>
                      <a:pt x="574" y="343"/>
                    </a:cubicBezTo>
                    <a:cubicBezTo>
                      <a:pt x="573" y="344"/>
                      <a:pt x="574" y="344"/>
                      <a:pt x="574" y="345"/>
                    </a:cubicBezTo>
                    <a:cubicBezTo>
                      <a:pt x="575" y="348"/>
                      <a:pt x="576" y="350"/>
                      <a:pt x="574" y="353"/>
                    </a:cubicBezTo>
                    <a:cubicBezTo>
                      <a:pt x="573" y="354"/>
                      <a:pt x="572" y="355"/>
                      <a:pt x="571" y="356"/>
                    </a:cubicBezTo>
                    <a:cubicBezTo>
                      <a:pt x="570" y="357"/>
                      <a:pt x="571" y="359"/>
                      <a:pt x="569" y="359"/>
                    </a:cubicBezTo>
                    <a:cubicBezTo>
                      <a:pt x="569" y="359"/>
                      <a:pt x="568" y="359"/>
                      <a:pt x="567" y="359"/>
                    </a:cubicBezTo>
                    <a:cubicBezTo>
                      <a:pt x="566" y="358"/>
                      <a:pt x="564" y="358"/>
                      <a:pt x="563" y="358"/>
                    </a:cubicBezTo>
                    <a:cubicBezTo>
                      <a:pt x="562" y="358"/>
                      <a:pt x="561" y="358"/>
                      <a:pt x="560" y="358"/>
                    </a:cubicBezTo>
                    <a:cubicBezTo>
                      <a:pt x="560" y="457"/>
                      <a:pt x="560" y="457"/>
                      <a:pt x="560" y="457"/>
                    </a:cubicBezTo>
                    <a:cubicBezTo>
                      <a:pt x="1122" y="457"/>
                      <a:pt x="1122" y="457"/>
                      <a:pt x="1122" y="457"/>
                    </a:cubicBezTo>
                    <a:cubicBezTo>
                      <a:pt x="1122" y="261"/>
                      <a:pt x="1122" y="261"/>
                      <a:pt x="1122" y="261"/>
                    </a:cubicBezTo>
                    <a:cubicBezTo>
                      <a:pt x="1120" y="261"/>
                      <a:pt x="1119" y="261"/>
                      <a:pt x="1118" y="260"/>
                    </a:cubicBezTo>
                    <a:cubicBezTo>
                      <a:pt x="1117" y="260"/>
                      <a:pt x="1117" y="260"/>
                      <a:pt x="1117" y="260"/>
                    </a:cubicBezTo>
                    <a:cubicBezTo>
                      <a:pt x="1117" y="260"/>
                      <a:pt x="1117" y="260"/>
                      <a:pt x="1117" y="260"/>
                    </a:cubicBezTo>
                    <a:cubicBezTo>
                      <a:pt x="1117" y="260"/>
                      <a:pt x="1116" y="260"/>
                      <a:pt x="1116" y="260"/>
                    </a:cubicBezTo>
                    <a:cubicBezTo>
                      <a:pt x="1111" y="260"/>
                      <a:pt x="1108" y="258"/>
                      <a:pt x="1103" y="257"/>
                    </a:cubicBezTo>
                    <a:cubicBezTo>
                      <a:pt x="1092" y="253"/>
                      <a:pt x="1092" y="253"/>
                      <a:pt x="1092" y="253"/>
                    </a:cubicBezTo>
                    <a:cubicBezTo>
                      <a:pt x="1089" y="251"/>
                      <a:pt x="1089" y="251"/>
                      <a:pt x="1089" y="251"/>
                    </a:cubicBezTo>
                    <a:cubicBezTo>
                      <a:pt x="1089" y="249"/>
                      <a:pt x="1089" y="249"/>
                      <a:pt x="1089" y="249"/>
                    </a:cubicBezTo>
                    <a:cubicBezTo>
                      <a:pt x="1089" y="249"/>
                      <a:pt x="1089" y="249"/>
                      <a:pt x="1089" y="249"/>
                    </a:cubicBezTo>
                    <a:cubicBezTo>
                      <a:pt x="1087" y="248"/>
                      <a:pt x="1087" y="248"/>
                      <a:pt x="1087" y="248"/>
                    </a:cubicBezTo>
                    <a:cubicBezTo>
                      <a:pt x="1085" y="247"/>
                      <a:pt x="1085" y="247"/>
                      <a:pt x="1085" y="247"/>
                    </a:cubicBezTo>
                    <a:cubicBezTo>
                      <a:pt x="1067" y="241"/>
                      <a:pt x="1067" y="241"/>
                      <a:pt x="1067" y="241"/>
                    </a:cubicBezTo>
                    <a:cubicBezTo>
                      <a:pt x="1066" y="242"/>
                      <a:pt x="1066" y="242"/>
                      <a:pt x="1066" y="242"/>
                    </a:cubicBezTo>
                    <a:cubicBezTo>
                      <a:pt x="1066" y="243"/>
                      <a:pt x="1066" y="243"/>
                      <a:pt x="1066" y="243"/>
                    </a:cubicBezTo>
                    <a:cubicBezTo>
                      <a:pt x="1066" y="243"/>
                      <a:pt x="1066" y="243"/>
                      <a:pt x="1066" y="243"/>
                    </a:cubicBezTo>
                    <a:cubicBezTo>
                      <a:pt x="1066" y="242"/>
                      <a:pt x="1066" y="242"/>
                      <a:pt x="1066" y="242"/>
                    </a:cubicBezTo>
                    <a:cubicBezTo>
                      <a:pt x="1065" y="243"/>
                      <a:pt x="1063" y="245"/>
                      <a:pt x="1063" y="245"/>
                    </a:cubicBezTo>
                    <a:cubicBezTo>
                      <a:pt x="1063" y="245"/>
                      <a:pt x="1063" y="245"/>
                      <a:pt x="1063" y="245"/>
                    </a:cubicBezTo>
                    <a:cubicBezTo>
                      <a:pt x="1063" y="246"/>
                      <a:pt x="1063" y="246"/>
                      <a:pt x="1063" y="246"/>
                    </a:cubicBezTo>
                    <a:cubicBezTo>
                      <a:pt x="1061" y="247"/>
                      <a:pt x="1061" y="247"/>
                      <a:pt x="1061" y="247"/>
                    </a:cubicBezTo>
                    <a:cubicBezTo>
                      <a:pt x="1061" y="247"/>
                      <a:pt x="1059" y="242"/>
                      <a:pt x="1061" y="241"/>
                    </a:cubicBezTo>
                    <a:cubicBezTo>
                      <a:pt x="1061" y="240"/>
                      <a:pt x="1061" y="240"/>
                      <a:pt x="1062" y="240"/>
                    </a:cubicBezTo>
                    <a:cubicBezTo>
                      <a:pt x="1062" y="240"/>
                      <a:pt x="1063" y="240"/>
                      <a:pt x="1063" y="241"/>
                    </a:cubicBezTo>
                    <a:cubicBezTo>
                      <a:pt x="1064" y="241"/>
                      <a:pt x="1064" y="241"/>
                      <a:pt x="1065" y="241"/>
                    </a:cubicBezTo>
                    <a:cubicBezTo>
                      <a:pt x="1065" y="241"/>
                      <a:pt x="1066" y="241"/>
                      <a:pt x="1066" y="240"/>
                    </a:cubicBezTo>
                    <a:cubicBezTo>
                      <a:pt x="1066" y="239"/>
                      <a:pt x="1060" y="237"/>
                      <a:pt x="1059" y="236"/>
                    </a:cubicBezTo>
                    <a:cubicBezTo>
                      <a:pt x="1054" y="234"/>
                      <a:pt x="1050" y="231"/>
                      <a:pt x="1044" y="229"/>
                    </a:cubicBezTo>
                    <a:cubicBezTo>
                      <a:pt x="1029" y="223"/>
                      <a:pt x="1013" y="220"/>
                      <a:pt x="997" y="218"/>
                    </a:cubicBezTo>
                    <a:cubicBezTo>
                      <a:pt x="986" y="217"/>
                      <a:pt x="975" y="216"/>
                      <a:pt x="964" y="214"/>
                    </a:cubicBezTo>
                    <a:cubicBezTo>
                      <a:pt x="962" y="214"/>
                      <a:pt x="957" y="212"/>
                      <a:pt x="955" y="212"/>
                    </a:cubicBezTo>
                    <a:moveTo>
                      <a:pt x="1121" y="202"/>
                    </a:moveTo>
                    <a:cubicBezTo>
                      <a:pt x="1121" y="202"/>
                      <a:pt x="1121" y="202"/>
                      <a:pt x="1121" y="202"/>
                    </a:cubicBezTo>
                    <a:cubicBezTo>
                      <a:pt x="1121" y="202"/>
                      <a:pt x="1121" y="202"/>
                      <a:pt x="1121" y="202"/>
                    </a:cubicBezTo>
                    <a:cubicBezTo>
                      <a:pt x="1120" y="203"/>
                      <a:pt x="1120" y="203"/>
                      <a:pt x="1120" y="203"/>
                    </a:cubicBezTo>
                    <a:cubicBezTo>
                      <a:pt x="1120" y="203"/>
                      <a:pt x="1120" y="203"/>
                      <a:pt x="1120" y="203"/>
                    </a:cubicBezTo>
                    <a:cubicBezTo>
                      <a:pt x="1120" y="203"/>
                      <a:pt x="1120" y="203"/>
                      <a:pt x="1120" y="203"/>
                    </a:cubicBezTo>
                    <a:cubicBezTo>
                      <a:pt x="1119" y="204"/>
                      <a:pt x="1119" y="204"/>
                      <a:pt x="1119" y="204"/>
                    </a:cubicBezTo>
                    <a:cubicBezTo>
                      <a:pt x="1119" y="204"/>
                      <a:pt x="1119" y="204"/>
                      <a:pt x="1119" y="204"/>
                    </a:cubicBezTo>
                    <a:cubicBezTo>
                      <a:pt x="1119" y="204"/>
                      <a:pt x="1119" y="204"/>
                      <a:pt x="1119" y="204"/>
                    </a:cubicBezTo>
                    <a:cubicBezTo>
                      <a:pt x="1119" y="204"/>
                      <a:pt x="1119" y="204"/>
                      <a:pt x="1119" y="204"/>
                    </a:cubicBezTo>
                    <a:cubicBezTo>
                      <a:pt x="1119" y="204"/>
                      <a:pt x="1119" y="204"/>
                      <a:pt x="1119" y="204"/>
                    </a:cubicBezTo>
                    <a:cubicBezTo>
                      <a:pt x="1119" y="205"/>
                      <a:pt x="1119" y="205"/>
                      <a:pt x="1119" y="205"/>
                    </a:cubicBezTo>
                    <a:cubicBezTo>
                      <a:pt x="1119" y="205"/>
                      <a:pt x="1119" y="205"/>
                      <a:pt x="1119" y="205"/>
                    </a:cubicBezTo>
                    <a:cubicBezTo>
                      <a:pt x="1119" y="205"/>
                      <a:pt x="1119" y="205"/>
                      <a:pt x="1119" y="205"/>
                    </a:cubicBezTo>
                    <a:cubicBezTo>
                      <a:pt x="1119" y="205"/>
                      <a:pt x="1119" y="205"/>
                      <a:pt x="1119" y="205"/>
                    </a:cubicBezTo>
                    <a:cubicBezTo>
                      <a:pt x="1118" y="213"/>
                      <a:pt x="1115" y="214"/>
                      <a:pt x="1116" y="225"/>
                    </a:cubicBezTo>
                    <a:cubicBezTo>
                      <a:pt x="1117" y="226"/>
                      <a:pt x="1117" y="226"/>
                      <a:pt x="1117" y="226"/>
                    </a:cubicBezTo>
                    <a:cubicBezTo>
                      <a:pt x="1117" y="226"/>
                      <a:pt x="1117" y="226"/>
                      <a:pt x="1117" y="226"/>
                    </a:cubicBezTo>
                    <a:cubicBezTo>
                      <a:pt x="1117" y="226"/>
                      <a:pt x="1117" y="226"/>
                      <a:pt x="1117" y="226"/>
                    </a:cubicBezTo>
                    <a:cubicBezTo>
                      <a:pt x="1117" y="227"/>
                      <a:pt x="1117" y="227"/>
                      <a:pt x="1117" y="227"/>
                    </a:cubicBezTo>
                    <a:cubicBezTo>
                      <a:pt x="1118" y="226"/>
                      <a:pt x="1118" y="226"/>
                      <a:pt x="1118" y="226"/>
                    </a:cubicBezTo>
                    <a:cubicBezTo>
                      <a:pt x="1118" y="226"/>
                      <a:pt x="1118" y="226"/>
                      <a:pt x="1118" y="226"/>
                    </a:cubicBezTo>
                    <a:cubicBezTo>
                      <a:pt x="1118" y="224"/>
                      <a:pt x="1118" y="224"/>
                      <a:pt x="1118" y="224"/>
                    </a:cubicBezTo>
                    <a:cubicBezTo>
                      <a:pt x="1118" y="223"/>
                      <a:pt x="1118" y="223"/>
                      <a:pt x="1118" y="223"/>
                    </a:cubicBezTo>
                    <a:cubicBezTo>
                      <a:pt x="1119" y="223"/>
                      <a:pt x="1119" y="223"/>
                      <a:pt x="1119" y="223"/>
                    </a:cubicBezTo>
                    <a:cubicBezTo>
                      <a:pt x="1119" y="223"/>
                      <a:pt x="1119" y="223"/>
                      <a:pt x="1119" y="223"/>
                    </a:cubicBezTo>
                    <a:cubicBezTo>
                      <a:pt x="1119" y="223"/>
                      <a:pt x="1119" y="223"/>
                      <a:pt x="1119" y="223"/>
                    </a:cubicBezTo>
                    <a:cubicBezTo>
                      <a:pt x="1120" y="223"/>
                      <a:pt x="1120" y="223"/>
                      <a:pt x="1120" y="223"/>
                    </a:cubicBezTo>
                    <a:cubicBezTo>
                      <a:pt x="1120" y="223"/>
                      <a:pt x="1120" y="223"/>
                      <a:pt x="1120" y="223"/>
                    </a:cubicBezTo>
                    <a:cubicBezTo>
                      <a:pt x="1120" y="223"/>
                      <a:pt x="1120" y="223"/>
                      <a:pt x="1120" y="223"/>
                    </a:cubicBezTo>
                    <a:cubicBezTo>
                      <a:pt x="1121" y="223"/>
                      <a:pt x="1121" y="223"/>
                      <a:pt x="1121" y="223"/>
                    </a:cubicBezTo>
                    <a:cubicBezTo>
                      <a:pt x="1121" y="222"/>
                      <a:pt x="1121" y="222"/>
                      <a:pt x="1121" y="222"/>
                    </a:cubicBezTo>
                    <a:cubicBezTo>
                      <a:pt x="1122" y="221"/>
                      <a:pt x="1122" y="221"/>
                      <a:pt x="1122" y="221"/>
                    </a:cubicBezTo>
                    <a:cubicBezTo>
                      <a:pt x="1122" y="220"/>
                      <a:pt x="1122" y="220"/>
                      <a:pt x="1122" y="220"/>
                    </a:cubicBezTo>
                    <a:cubicBezTo>
                      <a:pt x="1122" y="202"/>
                      <a:pt x="1122" y="202"/>
                      <a:pt x="1122" y="202"/>
                    </a:cubicBezTo>
                    <a:cubicBezTo>
                      <a:pt x="1122" y="202"/>
                      <a:pt x="1122" y="202"/>
                      <a:pt x="1121" y="202"/>
                    </a:cubicBezTo>
                    <a:moveTo>
                      <a:pt x="1121" y="138"/>
                    </a:moveTo>
                    <a:cubicBezTo>
                      <a:pt x="1119" y="138"/>
                      <a:pt x="1119" y="140"/>
                      <a:pt x="1118" y="142"/>
                    </a:cubicBezTo>
                    <a:cubicBezTo>
                      <a:pt x="1118" y="142"/>
                      <a:pt x="1118" y="142"/>
                      <a:pt x="1118" y="142"/>
                    </a:cubicBezTo>
                    <a:cubicBezTo>
                      <a:pt x="1118" y="143"/>
                      <a:pt x="1118" y="143"/>
                      <a:pt x="1118" y="143"/>
                    </a:cubicBezTo>
                    <a:cubicBezTo>
                      <a:pt x="1118" y="143"/>
                      <a:pt x="1118" y="143"/>
                      <a:pt x="1118" y="143"/>
                    </a:cubicBezTo>
                    <a:cubicBezTo>
                      <a:pt x="1118" y="143"/>
                      <a:pt x="1118" y="143"/>
                      <a:pt x="1118" y="143"/>
                    </a:cubicBezTo>
                    <a:cubicBezTo>
                      <a:pt x="1117" y="144"/>
                      <a:pt x="1117" y="144"/>
                      <a:pt x="1117" y="144"/>
                    </a:cubicBezTo>
                    <a:cubicBezTo>
                      <a:pt x="1117" y="144"/>
                      <a:pt x="1117" y="144"/>
                      <a:pt x="1117" y="144"/>
                    </a:cubicBezTo>
                    <a:cubicBezTo>
                      <a:pt x="1117" y="144"/>
                      <a:pt x="1117" y="144"/>
                      <a:pt x="1117" y="144"/>
                    </a:cubicBezTo>
                    <a:cubicBezTo>
                      <a:pt x="1117" y="145"/>
                      <a:pt x="1117" y="145"/>
                      <a:pt x="1117" y="145"/>
                    </a:cubicBezTo>
                    <a:cubicBezTo>
                      <a:pt x="1117" y="145"/>
                      <a:pt x="1117" y="145"/>
                      <a:pt x="1117" y="145"/>
                    </a:cubicBezTo>
                    <a:cubicBezTo>
                      <a:pt x="1116" y="145"/>
                      <a:pt x="1116" y="145"/>
                      <a:pt x="1116" y="145"/>
                    </a:cubicBezTo>
                    <a:cubicBezTo>
                      <a:pt x="1116" y="146"/>
                      <a:pt x="1116" y="146"/>
                      <a:pt x="1116" y="146"/>
                    </a:cubicBezTo>
                    <a:cubicBezTo>
                      <a:pt x="1116" y="146"/>
                      <a:pt x="1116" y="146"/>
                      <a:pt x="1116" y="146"/>
                    </a:cubicBezTo>
                    <a:cubicBezTo>
                      <a:pt x="1115" y="147"/>
                      <a:pt x="1114" y="147"/>
                      <a:pt x="1113" y="149"/>
                    </a:cubicBezTo>
                    <a:cubicBezTo>
                      <a:pt x="1112" y="151"/>
                      <a:pt x="1112" y="151"/>
                      <a:pt x="1112" y="151"/>
                    </a:cubicBezTo>
                    <a:cubicBezTo>
                      <a:pt x="1112" y="152"/>
                      <a:pt x="1112" y="152"/>
                      <a:pt x="1112" y="152"/>
                    </a:cubicBezTo>
                    <a:cubicBezTo>
                      <a:pt x="1112" y="152"/>
                      <a:pt x="1112" y="152"/>
                      <a:pt x="1112" y="152"/>
                    </a:cubicBezTo>
                    <a:cubicBezTo>
                      <a:pt x="1112" y="153"/>
                      <a:pt x="1112" y="153"/>
                      <a:pt x="1112" y="153"/>
                    </a:cubicBezTo>
                    <a:cubicBezTo>
                      <a:pt x="1113" y="153"/>
                      <a:pt x="1113" y="153"/>
                      <a:pt x="1114" y="153"/>
                    </a:cubicBezTo>
                    <a:cubicBezTo>
                      <a:pt x="1114" y="153"/>
                      <a:pt x="1114" y="153"/>
                      <a:pt x="1114" y="153"/>
                    </a:cubicBezTo>
                    <a:cubicBezTo>
                      <a:pt x="1114" y="153"/>
                      <a:pt x="1114" y="153"/>
                      <a:pt x="1114" y="153"/>
                    </a:cubicBezTo>
                    <a:cubicBezTo>
                      <a:pt x="1114" y="153"/>
                      <a:pt x="1114" y="153"/>
                      <a:pt x="1114" y="153"/>
                    </a:cubicBezTo>
                    <a:cubicBezTo>
                      <a:pt x="1115" y="153"/>
                      <a:pt x="1115" y="153"/>
                      <a:pt x="1115" y="153"/>
                    </a:cubicBezTo>
                    <a:cubicBezTo>
                      <a:pt x="1115" y="153"/>
                      <a:pt x="1115" y="153"/>
                      <a:pt x="1115" y="153"/>
                    </a:cubicBezTo>
                    <a:cubicBezTo>
                      <a:pt x="1115" y="153"/>
                      <a:pt x="1115" y="153"/>
                      <a:pt x="1115" y="153"/>
                    </a:cubicBezTo>
                    <a:cubicBezTo>
                      <a:pt x="1115" y="152"/>
                      <a:pt x="1115" y="152"/>
                      <a:pt x="1115" y="152"/>
                    </a:cubicBezTo>
                    <a:cubicBezTo>
                      <a:pt x="1115" y="151"/>
                      <a:pt x="1115" y="151"/>
                      <a:pt x="1115" y="151"/>
                    </a:cubicBezTo>
                    <a:cubicBezTo>
                      <a:pt x="1115" y="151"/>
                      <a:pt x="1115" y="151"/>
                      <a:pt x="1115" y="151"/>
                    </a:cubicBezTo>
                    <a:cubicBezTo>
                      <a:pt x="1116" y="150"/>
                      <a:pt x="1116" y="150"/>
                      <a:pt x="1116" y="150"/>
                    </a:cubicBezTo>
                    <a:cubicBezTo>
                      <a:pt x="1117" y="150"/>
                      <a:pt x="1117" y="150"/>
                      <a:pt x="1117" y="150"/>
                    </a:cubicBezTo>
                    <a:cubicBezTo>
                      <a:pt x="1118" y="149"/>
                      <a:pt x="1118" y="149"/>
                      <a:pt x="1118" y="149"/>
                    </a:cubicBezTo>
                    <a:cubicBezTo>
                      <a:pt x="1119" y="150"/>
                      <a:pt x="1119" y="150"/>
                      <a:pt x="1119" y="150"/>
                    </a:cubicBezTo>
                    <a:cubicBezTo>
                      <a:pt x="1119" y="150"/>
                      <a:pt x="1119" y="150"/>
                      <a:pt x="1119" y="150"/>
                    </a:cubicBezTo>
                    <a:cubicBezTo>
                      <a:pt x="1118" y="150"/>
                      <a:pt x="1118" y="150"/>
                      <a:pt x="1118" y="150"/>
                    </a:cubicBezTo>
                    <a:cubicBezTo>
                      <a:pt x="1118" y="150"/>
                      <a:pt x="1118" y="150"/>
                      <a:pt x="1118" y="150"/>
                    </a:cubicBezTo>
                    <a:cubicBezTo>
                      <a:pt x="1118" y="151"/>
                      <a:pt x="1118" y="151"/>
                      <a:pt x="1118" y="151"/>
                    </a:cubicBezTo>
                    <a:cubicBezTo>
                      <a:pt x="1118" y="151"/>
                      <a:pt x="1118" y="151"/>
                      <a:pt x="1118" y="151"/>
                    </a:cubicBezTo>
                    <a:cubicBezTo>
                      <a:pt x="1118" y="152"/>
                      <a:pt x="1118" y="153"/>
                      <a:pt x="1117" y="153"/>
                    </a:cubicBezTo>
                    <a:cubicBezTo>
                      <a:pt x="1117" y="154"/>
                      <a:pt x="1117" y="154"/>
                      <a:pt x="1117" y="154"/>
                    </a:cubicBezTo>
                    <a:cubicBezTo>
                      <a:pt x="1117" y="154"/>
                      <a:pt x="1117" y="154"/>
                      <a:pt x="1117" y="154"/>
                    </a:cubicBezTo>
                    <a:cubicBezTo>
                      <a:pt x="1115" y="157"/>
                      <a:pt x="1115" y="157"/>
                      <a:pt x="1112" y="159"/>
                    </a:cubicBezTo>
                    <a:cubicBezTo>
                      <a:pt x="1112" y="160"/>
                      <a:pt x="1112" y="160"/>
                      <a:pt x="1112" y="160"/>
                    </a:cubicBezTo>
                    <a:cubicBezTo>
                      <a:pt x="1112" y="161"/>
                      <a:pt x="1112" y="161"/>
                      <a:pt x="1112" y="161"/>
                    </a:cubicBezTo>
                    <a:cubicBezTo>
                      <a:pt x="1112" y="161"/>
                      <a:pt x="1112" y="161"/>
                      <a:pt x="1112" y="161"/>
                    </a:cubicBezTo>
                    <a:cubicBezTo>
                      <a:pt x="1112" y="161"/>
                      <a:pt x="1112" y="161"/>
                      <a:pt x="1112" y="161"/>
                    </a:cubicBezTo>
                    <a:cubicBezTo>
                      <a:pt x="1112" y="162"/>
                      <a:pt x="1112" y="162"/>
                      <a:pt x="1112" y="162"/>
                    </a:cubicBezTo>
                    <a:cubicBezTo>
                      <a:pt x="1113" y="162"/>
                      <a:pt x="1113" y="162"/>
                      <a:pt x="1113" y="162"/>
                    </a:cubicBezTo>
                    <a:cubicBezTo>
                      <a:pt x="1113" y="162"/>
                      <a:pt x="1113" y="162"/>
                      <a:pt x="1113" y="162"/>
                    </a:cubicBezTo>
                    <a:cubicBezTo>
                      <a:pt x="1113" y="163"/>
                      <a:pt x="1113" y="163"/>
                      <a:pt x="1113" y="163"/>
                    </a:cubicBezTo>
                    <a:cubicBezTo>
                      <a:pt x="1113" y="164"/>
                      <a:pt x="1113" y="164"/>
                      <a:pt x="1113" y="164"/>
                    </a:cubicBezTo>
                    <a:cubicBezTo>
                      <a:pt x="1113" y="165"/>
                      <a:pt x="1113" y="165"/>
                      <a:pt x="1113" y="165"/>
                    </a:cubicBezTo>
                    <a:cubicBezTo>
                      <a:pt x="1113" y="165"/>
                      <a:pt x="1113" y="165"/>
                      <a:pt x="1113" y="165"/>
                    </a:cubicBezTo>
                    <a:cubicBezTo>
                      <a:pt x="1114" y="165"/>
                      <a:pt x="1114" y="165"/>
                      <a:pt x="1114" y="165"/>
                    </a:cubicBezTo>
                    <a:cubicBezTo>
                      <a:pt x="1114" y="165"/>
                      <a:pt x="1114" y="165"/>
                      <a:pt x="1114" y="165"/>
                    </a:cubicBezTo>
                    <a:cubicBezTo>
                      <a:pt x="1114" y="165"/>
                      <a:pt x="1114" y="165"/>
                      <a:pt x="1114" y="165"/>
                    </a:cubicBezTo>
                    <a:cubicBezTo>
                      <a:pt x="1115" y="165"/>
                      <a:pt x="1115" y="165"/>
                      <a:pt x="1115" y="165"/>
                    </a:cubicBezTo>
                    <a:cubicBezTo>
                      <a:pt x="1116" y="164"/>
                      <a:pt x="1118" y="164"/>
                      <a:pt x="1120" y="164"/>
                    </a:cubicBezTo>
                    <a:cubicBezTo>
                      <a:pt x="1121" y="164"/>
                      <a:pt x="1121" y="164"/>
                      <a:pt x="1121" y="164"/>
                    </a:cubicBezTo>
                    <a:cubicBezTo>
                      <a:pt x="1121" y="164"/>
                      <a:pt x="1121" y="164"/>
                      <a:pt x="1121" y="164"/>
                    </a:cubicBezTo>
                    <a:cubicBezTo>
                      <a:pt x="1122" y="164"/>
                      <a:pt x="1122" y="164"/>
                      <a:pt x="1122" y="164"/>
                    </a:cubicBezTo>
                    <a:cubicBezTo>
                      <a:pt x="1122" y="163"/>
                      <a:pt x="1122" y="163"/>
                      <a:pt x="1122" y="163"/>
                    </a:cubicBezTo>
                    <a:cubicBezTo>
                      <a:pt x="1122" y="138"/>
                      <a:pt x="1122" y="138"/>
                      <a:pt x="1122" y="138"/>
                    </a:cubicBezTo>
                    <a:cubicBezTo>
                      <a:pt x="1122" y="138"/>
                      <a:pt x="1122" y="138"/>
                      <a:pt x="1122" y="138"/>
                    </a:cubicBezTo>
                    <a:cubicBezTo>
                      <a:pt x="1121" y="138"/>
                      <a:pt x="1121" y="138"/>
                      <a:pt x="1121" y="138"/>
                    </a:cubicBezTo>
                    <a:moveTo>
                      <a:pt x="560" y="915"/>
                    </a:moveTo>
                    <a:cubicBezTo>
                      <a:pt x="126" y="915"/>
                      <a:pt x="126" y="915"/>
                      <a:pt x="126" y="915"/>
                    </a:cubicBezTo>
                    <a:cubicBezTo>
                      <a:pt x="126" y="916"/>
                      <a:pt x="126" y="916"/>
                      <a:pt x="126" y="917"/>
                    </a:cubicBezTo>
                    <a:cubicBezTo>
                      <a:pt x="128" y="918"/>
                      <a:pt x="133" y="919"/>
                      <a:pt x="142" y="920"/>
                    </a:cubicBezTo>
                    <a:cubicBezTo>
                      <a:pt x="150" y="920"/>
                      <a:pt x="150" y="920"/>
                      <a:pt x="150" y="920"/>
                    </a:cubicBezTo>
                    <a:cubicBezTo>
                      <a:pt x="144" y="926"/>
                      <a:pt x="144" y="926"/>
                      <a:pt x="144" y="926"/>
                    </a:cubicBezTo>
                    <a:cubicBezTo>
                      <a:pt x="143" y="926"/>
                      <a:pt x="143" y="926"/>
                      <a:pt x="143" y="926"/>
                    </a:cubicBezTo>
                    <a:cubicBezTo>
                      <a:pt x="144" y="926"/>
                      <a:pt x="144" y="927"/>
                      <a:pt x="146" y="928"/>
                    </a:cubicBezTo>
                    <a:cubicBezTo>
                      <a:pt x="147" y="928"/>
                      <a:pt x="148" y="929"/>
                      <a:pt x="149" y="930"/>
                    </a:cubicBezTo>
                    <a:cubicBezTo>
                      <a:pt x="151" y="931"/>
                      <a:pt x="153" y="933"/>
                      <a:pt x="153" y="936"/>
                    </a:cubicBezTo>
                    <a:cubicBezTo>
                      <a:pt x="153" y="937"/>
                      <a:pt x="152" y="938"/>
                      <a:pt x="151" y="940"/>
                    </a:cubicBezTo>
                    <a:cubicBezTo>
                      <a:pt x="151" y="940"/>
                      <a:pt x="150" y="941"/>
                      <a:pt x="149" y="941"/>
                    </a:cubicBezTo>
                    <a:cubicBezTo>
                      <a:pt x="148" y="941"/>
                      <a:pt x="147" y="942"/>
                      <a:pt x="145" y="943"/>
                    </a:cubicBezTo>
                    <a:cubicBezTo>
                      <a:pt x="145" y="944"/>
                      <a:pt x="144" y="944"/>
                      <a:pt x="144" y="945"/>
                    </a:cubicBezTo>
                    <a:cubicBezTo>
                      <a:pt x="143" y="945"/>
                      <a:pt x="143" y="945"/>
                      <a:pt x="143" y="945"/>
                    </a:cubicBezTo>
                    <a:cubicBezTo>
                      <a:pt x="142" y="946"/>
                      <a:pt x="142" y="946"/>
                      <a:pt x="142" y="946"/>
                    </a:cubicBezTo>
                    <a:cubicBezTo>
                      <a:pt x="141" y="946"/>
                      <a:pt x="141" y="946"/>
                      <a:pt x="141" y="946"/>
                    </a:cubicBezTo>
                    <a:cubicBezTo>
                      <a:pt x="138" y="948"/>
                      <a:pt x="138" y="948"/>
                      <a:pt x="138" y="948"/>
                    </a:cubicBezTo>
                    <a:cubicBezTo>
                      <a:pt x="137" y="948"/>
                      <a:pt x="137" y="948"/>
                      <a:pt x="137" y="948"/>
                    </a:cubicBezTo>
                    <a:cubicBezTo>
                      <a:pt x="136" y="948"/>
                      <a:pt x="136" y="949"/>
                      <a:pt x="136" y="949"/>
                    </a:cubicBezTo>
                    <a:cubicBezTo>
                      <a:pt x="135" y="949"/>
                      <a:pt x="135" y="949"/>
                      <a:pt x="134" y="949"/>
                    </a:cubicBezTo>
                    <a:cubicBezTo>
                      <a:pt x="134" y="949"/>
                      <a:pt x="134" y="949"/>
                      <a:pt x="134" y="949"/>
                    </a:cubicBezTo>
                    <a:cubicBezTo>
                      <a:pt x="132" y="950"/>
                      <a:pt x="130" y="950"/>
                      <a:pt x="128" y="950"/>
                    </a:cubicBezTo>
                    <a:cubicBezTo>
                      <a:pt x="127" y="950"/>
                      <a:pt x="126" y="950"/>
                      <a:pt x="125" y="950"/>
                    </a:cubicBezTo>
                    <a:cubicBezTo>
                      <a:pt x="123" y="950"/>
                      <a:pt x="121" y="949"/>
                      <a:pt x="119" y="949"/>
                    </a:cubicBezTo>
                    <a:cubicBezTo>
                      <a:pt x="119" y="949"/>
                      <a:pt x="119" y="949"/>
                      <a:pt x="119" y="949"/>
                    </a:cubicBezTo>
                    <a:cubicBezTo>
                      <a:pt x="117" y="949"/>
                      <a:pt x="116" y="949"/>
                      <a:pt x="115" y="949"/>
                    </a:cubicBezTo>
                    <a:cubicBezTo>
                      <a:pt x="114" y="949"/>
                      <a:pt x="114" y="949"/>
                      <a:pt x="114" y="949"/>
                    </a:cubicBezTo>
                    <a:cubicBezTo>
                      <a:pt x="113" y="949"/>
                      <a:pt x="113" y="949"/>
                      <a:pt x="112" y="949"/>
                    </a:cubicBezTo>
                    <a:cubicBezTo>
                      <a:pt x="112" y="949"/>
                      <a:pt x="112" y="949"/>
                      <a:pt x="112" y="949"/>
                    </a:cubicBezTo>
                    <a:cubicBezTo>
                      <a:pt x="112" y="949"/>
                      <a:pt x="112" y="949"/>
                      <a:pt x="112" y="949"/>
                    </a:cubicBezTo>
                    <a:cubicBezTo>
                      <a:pt x="113" y="951"/>
                      <a:pt x="114" y="953"/>
                      <a:pt x="115" y="953"/>
                    </a:cubicBezTo>
                    <a:cubicBezTo>
                      <a:pt x="118" y="955"/>
                      <a:pt x="121" y="959"/>
                      <a:pt x="119" y="972"/>
                    </a:cubicBezTo>
                    <a:cubicBezTo>
                      <a:pt x="119" y="975"/>
                      <a:pt x="120" y="976"/>
                      <a:pt x="121" y="977"/>
                    </a:cubicBezTo>
                    <a:cubicBezTo>
                      <a:pt x="122" y="978"/>
                      <a:pt x="122" y="978"/>
                      <a:pt x="122" y="978"/>
                    </a:cubicBezTo>
                    <a:cubicBezTo>
                      <a:pt x="123" y="979"/>
                      <a:pt x="123" y="979"/>
                      <a:pt x="123" y="979"/>
                    </a:cubicBezTo>
                    <a:cubicBezTo>
                      <a:pt x="123" y="979"/>
                      <a:pt x="123" y="979"/>
                      <a:pt x="123" y="979"/>
                    </a:cubicBezTo>
                    <a:cubicBezTo>
                      <a:pt x="123" y="980"/>
                      <a:pt x="123" y="980"/>
                      <a:pt x="123" y="980"/>
                    </a:cubicBezTo>
                    <a:cubicBezTo>
                      <a:pt x="125" y="983"/>
                      <a:pt x="125" y="983"/>
                      <a:pt x="125" y="983"/>
                    </a:cubicBezTo>
                    <a:cubicBezTo>
                      <a:pt x="126" y="983"/>
                      <a:pt x="128" y="983"/>
                      <a:pt x="129" y="983"/>
                    </a:cubicBezTo>
                    <a:cubicBezTo>
                      <a:pt x="131" y="983"/>
                      <a:pt x="132" y="983"/>
                      <a:pt x="133" y="982"/>
                    </a:cubicBezTo>
                    <a:cubicBezTo>
                      <a:pt x="133" y="982"/>
                      <a:pt x="133" y="982"/>
                      <a:pt x="133" y="982"/>
                    </a:cubicBezTo>
                    <a:cubicBezTo>
                      <a:pt x="136" y="978"/>
                      <a:pt x="139" y="973"/>
                      <a:pt x="145" y="973"/>
                    </a:cubicBezTo>
                    <a:cubicBezTo>
                      <a:pt x="146" y="973"/>
                      <a:pt x="147" y="973"/>
                      <a:pt x="147" y="973"/>
                    </a:cubicBezTo>
                    <a:cubicBezTo>
                      <a:pt x="149" y="974"/>
                      <a:pt x="151" y="974"/>
                      <a:pt x="154" y="974"/>
                    </a:cubicBezTo>
                    <a:cubicBezTo>
                      <a:pt x="157" y="974"/>
                      <a:pt x="161" y="973"/>
                      <a:pt x="165" y="972"/>
                    </a:cubicBezTo>
                    <a:cubicBezTo>
                      <a:pt x="168" y="971"/>
                      <a:pt x="172" y="971"/>
                      <a:pt x="175" y="971"/>
                    </a:cubicBezTo>
                    <a:cubicBezTo>
                      <a:pt x="177" y="971"/>
                      <a:pt x="180" y="971"/>
                      <a:pt x="181" y="973"/>
                    </a:cubicBezTo>
                    <a:cubicBezTo>
                      <a:pt x="182" y="973"/>
                      <a:pt x="182" y="973"/>
                      <a:pt x="182" y="973"/>
                    </a:cubicBezTo>
                    <a:cubicBezTo>
                      <a:pt x="189" y="979"/>
                      <a:pt x="192" y="983"/>
                      <a:pt x="191" y="986"/>
                    </a:cubicBezTo>
                    <a:cubicBezTo>
                      <a:pt x="191" y="987"/>
                      <a:pt x="191" y="987"/>
                      <a:pt x="191" y="987"/>
                    </a:cubicBezTo>
                    <a:cubicBezTo>
                      <a:pt x="191" y="988"/>
                      <a:pt x="191" y="989"/>
                      <a:pt x="192" y="989"/>
                    </a:cubicBezTo>
                    <a:cubicBezTo>
                      <a:pt x="194" y="990"/>
                      <a:pt x="197" y="992"/>
                      <a:pt x="199" y="994"/>
                    </a:cubicBezTo>
                    <a:cubicBezTo>
                      <a:pt x="200" y="996"/>
                      <a:pt x="200" y="996"/>
                      <a:pt x="200" y="997"/>
                    </a:cubicBezTo>
                    <a:cubicBezTo>
                      <a:pt x="201" y="1000"/>
                      <a:pt x="201" y="1000"/>
                      <a:pt x="201" y="1000"/>
                    </a:cubicBezTo>
                    <a:cubicBezTo>
                      <a:pt x="198" y="1001"/>
                      <a:pt x="198" y="1001"/>
                      <a:pt x="198" y="1001"/>
                    </a:cubicBezTo>
                    <a:cubicBezTo>
                      <a:pt x="195" y="1001"/>
                      <a:pt x="194" y="1002"/>
                      <a:pt x="192" y="1002"/>
                    </a:cubicBezTo>
                    <a:cubicBezTo>
                      <a:pt x="194" y="1005"/>
                      <a:pt x="195" y="1009"/>
                      <a:pt x="194" y="1012"/>
                    </a:cubicBezTo>
                    <a:cubicBezTo>
                      <a:pt x="194" y="1013"/>
                      <a:pt x="194" y="1013"/>
                      <a:pt x="194" y="1014"/>
                    </a:cubicBezTo>
                    <a:cubicBezTo>
                      <a:pt x="195" y="1014"/>
                      <a:pt x="196" y="1014"/>
                      <a:pt x="197" y="1014"/>
                    </a:cubicBezTo>
                    <a:cubicBezTo>
                      <a:pt x="199" y="1014"/>
                      <a:pt x="201" y="1014"/>
                      <a:pt x="203" y="1016"/>
                    </a:cubicBezTo>
                    <a:cubicBezTo>
                      <a:pt x="204" y="1016"/>
                      <a:pt x="205" y="1016"/>
                      <a:pt x="206" y="1016"/>
                    </a:cubicBezTo>
                    <a:cubicBezTo>
                      <a:pt x="207" y="1016"/>
                      <a:pt x="207" y="1016"/>
                      <a:pt x="208" y="1016"/>
                    </a:cubicBezTo>
                    <a:cubicBezTo>
                      <a:pt x="209" y="1016"/>
                      <a:pt x="210" y="1015"/>
                      <a:pt x="211" y="1015"/>
                    </a:cubicBezTo>
                    <a:cubicBezTo>
                      <a:pt x="213" y="1015"/>
                      <a:pt x="216" y="1016"/>
                      <a:pt x="219" y="1018"/>
                    </a:cubicBezTo>
                    <a:cubicBezTo>
                      <a:pt x="222" y="1021"/>
                      <a:pt x="225" y="1022"/>
                      <a:pt x="225" y="1022"/>
                    </a:cubicBezTo>
                    <a:cubicBezTo>
                      <a:pt x="229" y="1024"/>
                      <a:pt x="229" y="1024"/>
                      <a:pt x="229" y="1024"/>
                    </a:cubicBezTo>
                    <a:cubicBezTo>
                      <a:pt x="226" y="1028"/>
                      <a:pt x="226" y="1028"/>
                      <a:pt x="226" y="1028"/>
                    </a:cubicBezTo>
                    <a:cubicBezTo>
                      <a:pt x="226" y="1028"/>
                      <a:pt x="225" y="1029"/>
                      <a:pt x="226" y="1030"/>
                    </a:cubicBezTo>
                    <a:cubicBezTo>
                      <a:pt x="228" y="1035"/>
                      <a:pt x="230" y="1040"/>
                      <a:pt x="229" y="1043"/>
                    </a:cubicBezTo>
                    <a:cubicBezTo>
                      <a:pt x="229" y="1044"/>
                      <a:pt x="230" y="1045"/>
                      <a:pt x="231" y="1046"/>
                    </a:cubicBezTo>
                    <a:cubicBezTo>
                      <a:pt x="232" y="1046"/>
                      <a:pt x="233" y="1047"/>
                      <a:pt x="234" y="1047"/>
                    </a:cubicBezTo>
                    <a:cubicBezTo>
                      <a:pt x="235" y="1047"/>
                      <a:pt x="235" y="1047"/>
                      <a:pt x="236" y="1046"/>
                    </a:cubicBezTo>
                    <a:cubicBezTo>
                      <a:pt x="238" y="1045"/>
                      <a:pt x="240" y="1045"/>
                      <a:pt x="243" y="1045"/>
                    </a:cubicBezTo>
                    <a:cubicBezTo>
                      <a:pt x="246" y="1045"/>
                      <a:pt x="249" y="1046"/>
                      <a:pt x="252" y="1048"/>
                    </a:cubicBezTo>
                    <a:cubicBezTo>
                      <a:pt x="254" y="1049"/>
                      <a:pt x="257" y="1050"/>
                      <a:pt x="260" y="1050"/>
                    </a:cubicBezTo>
                    <a:cubicBezTo>
                      <a:pt x="263" y="1050"/>
                      <a:pt x="265" y="1049"/>
                      <a:pt x="267" y="1049"/>
                    </a:cubicBezTo>
                    <a:cubicBezTo>
                      <a:pt x="273" y="1046"/>
                      <a:pt x="281" y="1044"/>
                      <a:pt x="281" y="1044"/>
                    </a:cubicBezTo>
                    <a:cubicBezTo>
                      <a:pt x="282" y="1044"/>
                      <a:pt x="282" y="1044"/>
                      <a:pt x="282" y="1044"/>
                    </a:cubicBezTo>
                    <a:cubicBezTo>
                      <a:pt x="283" y="1044"/>
                      <a:pt x="286" y="1045"/>
                      <a:pt x="291" y="1050"/>
                    </a:cubicBezTo>
                    <a:cubicBezTo>
                      <a:pt x="293" y="1053"/>
                      <a:pt x="297" y="1059"/>
                      <a:pt x="299" y="1062"/>
                    </a:cubicBezTo>
                    <a:cubicBezTo>
                      <a:pt x="302" y="1059"/>
                      <a:pt x="304" y="1058"/>
                      <a:pt x="306" y="1058"/>
                    </a:cubicBezTo>
                    <a:cubicBezTo>
                      <a:pt x="306" y="1058"/>
                      <a:pt x="306" y="1058"/>
                      <a:pt x="307" y="1058"/>
                    </a:cubicBezTo>
                    <a:cubicBezTo>
                      <a:pt x="308" y="1058"/>
                      <a:pt x="310" y="1058"/>
                      <a:pt x="311" y="1059"/>
                    </a:cubicBezTo>
                    <a:cubicBezTo>
                      <a:pt x="312" y="1059"/>
                      <a:pt x="313" y="1059"/>
                      <a:pt x="314" y="1059"/>
                    </a:cubicBezTo>
                    <a:cubicBezTo>
                      <a:pt x="319" y="1060"/>
                      <a:pt x="323" y="1064"/>
                      <a:pt x="324" y="1066"/>
                    </a:cubicBezTo>
                    <a:cubicBezTo>
                      <a:pt x="325" y="1067"/>
                      <a:pt x="325" y="1067"/>
                      <a:pt x="325" y="1067"/>
                    </a:cubicBezTo>
                    <a:cubicBezTo>
                      <a:pt x="326" y="1067"/>
                      <a:pt x="326" y="1067"/>
                      <a:pt x="326" y="1067"/>
                    </a:cubicBezTo>
                    <a:cubicBezTo>
                      <a:pt x="327" y="1066"/>
                      <a:pt x="329" y="1065"/>
                      <a:pt x="332" y="1065"/>
                    </a:cubicBezTo>
                    <a:cubicBezTo>
                      <a:pt x="334" y="1065"/>
                      <a:pt x="338" y="1066"/>
                      <a:pt x="341" y="1070"/>
                    </a:cubicBezTo>
                    <a:cubicBezTo>
                      <a:pt x="342" y="1070"/>
                      <a:pt x="343" y="1071"/>
                      <a:pt x="343" y="1072"/>
                    </a:cubicBezTo>
                    <a:cubicBezTo>
                      <a:pt x="346" y="1075"/>
                      <a:pt x="348" y="1077"/>
                      <a:pt x="352" y="1077"/>
                    </a:cubicBezTo>
                    <a:cubicBezTo>
                      <a:pt x="353" y="1077"/>
                      <a:pt x="355" y="1077"/>
                      <a:pt x="357" y="1075"/>
                    </a:cubicBezTo>
                    <a:cubicBezTo>
                      <a:pt x="361" y="1074"/>
                      <a:pt x="361" y="1074"/>
                      <a:pt x="361" y="1074"/>
                    </a:cubicBezTo>
                    <a:cubicBezTo>
                      <a:pt x="362" y="1078"/>
                      <a:pt x="362" y="1078"/>
                      <a:pt x="362" y="1078"/>
                    </a:cubicBezTo>
                    <a:cubicBezTo>
                      <a:pt x="364" y="1085"/>
                      <a:pt x="363" y="1089"/>
                      <a:pt x="362" y="1092"/>
                    </a:cubicBezTo>
                    <a:cubicBezTo>
                      <a:pt x="362" y="1092"/>
                      <a:pt x="362" y="1092"/>
                      <a:pt x="362" y="1092"/>
                    </a:cubicBezTo>
                    <a:cubicBezTo>
                      <a:pt x="361" y="1095"/>
                      <a:pt x="356" y="1099"/>
                      <a:pt x="352" y="1102"/>
                    </a:cubicBezTo>
                    <a:cubicBezTo>
                      <a:pt x="354" y="1102"/>
                      <a:pt x="357" y="1103"/>
                      <a:pt x="357" y="1103"/>
                    </a:cubicBezTo>
                    <a:cubicBezTo>
                      <a:pt x="378" y="1107"/>
                      <a:pt x="378" y="1107"/>
                      <a:pt x="378" y="1107"/>
                    </a:cubicBezTo>
                    <a:cubicBezTo>
                      <a:pt x="357" y="1110"/>
                      <a:pt x="357" y="1110"/>
                      <a:pt x="357" y="1110"/>
                    </a:cubicBezTo>
                    <a:cubicBezTo>
                      <a:pt x="354" y="1110"/>
                      <a:pt x="351" y="1112"/>
                      <a:pt x="349" y="1113"/>
                    </a:cubicBezTo>
                    <a:cubicBezTo>
                      <a:pt x="353" y="1114"/>
                      <a:pt x="354" y="1117"/>
                      <a:pt x="355" y="1119"/>
                    </a:cubicBezTo>
                    <a:cubicBezTo>
                      <a:pt x="356" y="1121"/>
                      <a:pt x="358" y="1125"/>
                      <a:pt x="357" y="1128"/>
                    </a:cubicBezTo>
                    <a:cubicBezTo>
                      <a:pt x="357" y="1129"/>
                      <a:pt x="357" y="1130"/>
                      <a:pt x="356" y="1131"/>
                    </a:cubicBezTo>
                    <a:cubicBezTo>
                      <a:pt x="355" y="1132"/>
                      <a:pt x="353" y="1138"/>
                      <a:pt x="352" y="1141"/>
                    </a:cubicBezTo>
                    <a:cubicBezTo>
                      <a:pt x="352" y="1142"/>
                      <a:pt x="351" y="1144"/>
                      <a:pt x="350" y="1145"/>
                    </a:cubicBezTo>
                    <a:cubicBezTo>
                      <a:pt x="349" y="1146"/>
                      <a:pt x="346" y="1147"/>
                      <a:pt x="344" y="1147"/>
                    </a:cubicBezTo>
                    <a:cubicBezTo>
                      <a:pt x="343" y="1147"/>
                      <a:pt x="342" y="1147"/>
                      <a:pt x="341" y="1146"/>
                    </a:cubicBezTo>
                    <a:cubicBezTo>
                      <a:pt x="338" y="1146"/>
                      <a:pt x="333" y="1145"/>
                      <a:pt x="330" y="1145"/>
                    </a:cubicBezTo>
                    <a:cubicBezTo>
                      <a:pt x="329" y="1145"/>
                      <a:pt x="328" y="1145"/>
                      <a:pt x="328" y="1146"/>
                    </a:cubicBezTo>
                    <a:cubicBezTo>
                      <a:pt x="326" y="1148"/>
                      <a:pt x="321" y="1151"/>
                      <a:pt x="316" y="1152"/>
                    </a:cubicBezTo>
                    <a:cubicBezTo>
                      <a:pt x="313" y="1152"/>
                      <a:pt x="309" y="1154"/>
                      <a:pt x="309" y="1159"/>
                    </a:cubicBezTo>
                    <a:cubicBezTo>
                      <a:pt x="309" y="1160"/>
                      <a:pt x="309" y="1161"/>
                      <a:pt x="309" y="1162"/>
                    </a:cubicBezTo>
                    <a:cubicBezTo>
                      <a:pt x="309" y="1165"/>
                      <a:pt x="309" y="1165"/>
                      <a:pt x="309" y="1165"/>
                    </a:cubicBezTo>
                    <a:cubicBezTo>
                      <a:pt x="309" y="1166"/>
                      <a:pt x="309" y="1167"/>
                      <a:pt x="308" y="1168"/>
                    </a:cubicBezTo>
                    <a:cubicBezTo>
                      <a:pt x="310" y="1167"/>
                      <a:pt x="312" y="1167"/>
                      <a:pt x="314" y="1166"/>
                    </a:cubicBezTo>
                    <a:cubicBezTo>
                      <a:pt x="313" y="1167"/>
                      <a:pt x="312" y="1167"/>
                      <a:pt x="312" y="1168"/>
                    </a:cubicBezTo>
                    <a:cubicBezTo>
                      <a:pt x="315" y="1168"/>
                      <a:pt x="320" y="1168"/>
                      <a:pt x="323" y="1167"/>
                    </a:cubicBezTo>
                    <a:cubicBezTo>
                      <a:pt x="324" y="1166"/>
                      <a:pt x="324" y="1164"/>
                      <a:pt x="326" y="1164"/>
                    </a:cubicBezTo>
                    <a:cubicBezTo>
                      <a:pt x="326" y="1164"/>
                      <a:pt x="326" y="1164"/>
                      <a:pt x="326" y="1164"/>
                    </a:cubicBezTo>
                    <a:cubicBezTo>
                      <a:pt x="329" y="1165"/>
                      <a:pt x="332" y="1165"/>
                      <a:pt x="334" y="1165"/>
                    </a:cubicBezTo>
                    <a:cubicBezTo>
                      <a:pt x="334" y="1167"/>
                      <a:pt x="333" y="1170"/>
                      <a:pt x="335" y="1170"/>
                    </a:cubicBezTo>
                    <a:cubicBezTo>
                      <a:pt x="336" y="1170"/>
                      <a:pt x="336" y="1169"/>
                      <a:pt x="337" y="1169"/>
                    </a:cubicBezTo>
                    <a:cubicBezTo>
                      <a:pt x="332" y="1172"/>
                      <a:pt x="322" y="1178"/>
                      <a:pt x="316" y="1178"/>
                    </a:cubicBezTo>
                    <a:cubicBezTo>
                      <a:pt x="315" y="1178"/>
                      <a:pt x="315" y="1178"/>
                      <a:pt x="315" y="1178"/>
                    </a:cubicBezTo>
                    <a:cubicBezTo>
                      <a:pt x="314" y="1178"/>
                      <a:pt x="314" y="1178"/>
                      <a:pt x="314" y="1178"/>
                    </a:cubicBezTo>
                    <a:cubicBezTo>
                      <a:pt x="313" y="1178"/>
                      <a:pt x="313" y="1178"/>
                      <a:pt x="313" y="1178"/>
                    </a:cubicBezTo>
                    <a:cubicBezTo>
                      <a:pt x="312" y="1178"/>
                      <a:pt x="311" y="1178"/>
                      <a:pt x="310" y="1179"/>
                    </a:cubicBezTo>
                    <a:cubicBezTo>
                      <a:pt x="311" y="1180"/>
                      <a:pt x="315" y="1184"/>
                      <a:pt x="315" y="1184"/>
                    </a:cubicBezTo>
                    <a:cubicBezTo>
                      <a:pt x="314" y="1186"/>
                      <a:pt x="300" y="1186"/>
                      <a:pt x="298" y="1187"/>
                    </a:cubicBezTo>
                    <a:cubicBezTo>
                      <a:pt x="298" y="1187"/>
                      <a:pt x="298" y="1187"/>
                      <a:pt x="298" y="1187"/>
                    </a:cubicBezTo>
                    <a:cubicBezTo>
                      <a:pt x="297" y="1187"/>
                      <a:pt x="295" y="1186"/>
                      <a:pt x="294" y="1186"/>
                    </a:cubicBezTo>
                    <a:cubicBezTo>
                      <a:pt x="293" y="1186"/>
                      <a:pt x="292" y="1185"/>
                      <a:pt x="292" y="1185"/>
                    </a:cubicBezTo>
                    <a:cubicBezTo>
                      <a:pt x="292" y="1185"/>
                      <a:pt x="292" y="1185"/>
                      <a:pt x="291" y="1185"/>
                    </a:cubicBezTo>
                    <a:cubicBezTo>
                      <a:pt x="291" y="1186"/>
                      <a:pt x="292" y="1188"/>
                      <a:pt x="293" y="1190"/>
                    </a:cubicBezTo>
                    <a:cubicBezTo>
                      <a:pt x="294" y="1192"/>
                      <a:pt x="295" y="1193"/>
                      <a:pt x="297" y="1194"/>
                    </a:cubicBezTo>
                    <a:cubicBezTo>
                      <a:pt x="301" y="1197"/>
                      <a:pt x="315" y="1202"/>
                      <a:pt x="314" y="1208"/>
                    </a:cubicBezTo>
                    <a:cubicBezTo>
                      <a:pt x="312" y="1207"/>
                      <a:pt x="310" y="1207"/>
                      <a:pt x="308" y="1206"/>
                    </a:cubicBezTo>
                    <a:cubicBezTo>
                      <a:pt x="307" y="1206"/>
                      <a:pt x="306" y="1205"/>
                      <a:pt x="306" y="1204"/>
                    </a:cubicBezTo>
                    <a:cubicBezTo>
                      <a:pt x="306" y="1204"/>
                      <a:pt x="306" y="1204"/>
                      <a:pt x="306" y="1204"/>
                    </a:cubicBezTo>
                    <a:cubicBezTo>
                      <a:pt x="302" y="1204"/>
                      <a:pt x="300" y="1212"/>
                      <a:pt x="300" y="1215"/>
                    </a:cubicBezTo>
                    <a:cubicBezTo>
                      <a:pt x="300" y="1213"/>
                      <a:pt x="300" y="1208"/>
                      <a:pt x="299" y="1208"/>
                    </a:cubicBezTo>
                    <a:cubicBezTo>
                      <a:pt x="300" y="1208"/>
                      <a:pt x="300" y="1207"/>
                      <a:pt x="301" y="1207"/>
                    </a:cubicBezTo>
                    <a:cubicBezTo>
                      <a:pt x="300" y="1207"/>
                      <a:pt x="300" y="1207"/>
                      <a:pt x="300" y="1207"/>
                    </a:cubicBezTo>
                    <a:cubicBezTo>
                      <a:pt x="299" y="1207"/>
                      <a:pt x="298" y="1208"/>
                      <a:pt x="297" y="1209"/>
                    </a:cubicBezTo>
                    <a:cubicBezTo>
                      <a:pt x="296" y="1209"/>
                      <a:pt x="290" y="1222"/>
                      <a:pt x="288" y="1222"/>
                    </a:cubicBezTo>
                    <a:cubicBezTo>
                      <a:pt x="288" y="1222"/>
                      <a:pt x="287" y="1221"/>
                      <a:pt x="287" y="1221"/>
                    </a:cubicBezTo>
                    <a:cubicBezTo>
                      <a:pt x="286" y="1223"/>
                      <a:pt x="296" y="1233"/>
                      <a:pt x="287" y="1233"/>
                    </a:cubicBezTo>
                    <a:cubicBezTo>
                      <a:pt x="287" y="1233"/>
                      <a:pt x="287" y="1233"/>
                      <a:pt x="287" y="1233"/>
                    </a:cubicBezTo>
                    <a:cubicBezTo>
                      <a:pt x="281" y="1233"/>
                      <a:pt x="277" y="1232"/>
                      <a:pt x="271" y="1230"/>
                    </a:cubicBezTo>
                    <a:cubicBezTo>
                      <a:pt x="269" y="1230"/>
                      <a:pt x="267" y="1230"/>
                      <a:pt x="266" y="1230"/>
                    </a:cubicBezTo>
                    <a:cubicBezTo>
                      <a:pt x="264" y="1230"/>
                      <a:pt x="263" y="1230"/>
                      <a:pt x="261" y="1232"/>
                    </a:cubicBezTo>
                    <a:cubicBezTo>
                      <a:pt x="262" y="1231"/>
                      <a:pt x="262" y="1231"/>
                      <a:pt x="263" y="1231"/>
                    </a:cubicBezTo>
                    <a:cubicBezTo>
                      <a:pt x="264" y="1231"/>
                      <a:pt x="265" y="1232"/>
                      <a:pt x="265" y="1232"/>
                    </a:cubicBezTo>
                    <a:cubicBezTo>
                      <a:pt x="266" y="1233"/>
                      <a:pt x="267" y="1233"/>
                      <a:pt x="268" y="1233"/>
                    </a:cubicBezTo>
                    <a:cubicBezTo>
                      <a:pt x="268" y="1233"/>
                      <a:pt x="268" y="1233"/>
                      <a:pt x="269" y="1233"/>
                    </a:cubicBezTo>
                    <a:cubicBezTo>
                      <a:pt x="265" y="1237"/>
                      <a:pt x="262" y="1237"/>
                      <a:pt x="258" y="1237"/>
                    </a:cubicBezTo>
                    <a:cubicBezTo>
                      <a:pt x="262" y="1240"/>
                      <a:pt x="266" y="1241"/>
                      <a:pt x="270" y="1243"/>
                    </a:cubicBezTo>
                    <a:cubicBezTo>
                      <a:pt x="275" y="1244"/>
                      <a:pt x="279" y="1252"/>
                      <a:pt x="283" y="1255"/>
                    </a:cubicBezTo>
                    <a:cubicBezTo>
                      <a:pt x="283" y="1255"/>
                      <a:pt x="284" y="1255"/>
                      <a:pt x="285" y="1255"/>
                    </a:cubicBezTo>
                    <a:cubicBezTo>
                      <a:pt x="287" y="1255"/>
                      <a:pt x="290" y="1255"/>
                      <a:pt x="291" y="1255"/>
                    </a:cubicBezTo>
                    <a:cubicBezTo>
                      <a:pt x="291" y="1255"/>
                      <a:pt x="292" y="1255"/>
                      <a:pt x="292" y="1255"/>
                    </a:cubicBezTo>
                    <a:cubicBezTo>
                      <a:pt x="295" y="1255"/>
                      <a:pt x="295" y="1256"/>
                      <a:pt x="298" y="1258"/>
                    </a:cubicBezTo>
                    <a:cubicBezTo>
                      <a:pt x="299" y="1260"/>
                      <a:pt x="301" y="1264"/>
                      <a:pt x="303" y="1265"/>
                    </a:cubicBezTo>
                    <a:cubicBezTo>
                      <a:pt x="306" y="1267"/>
                      <a:pt x="311" y="1267"/>
                      <a:pt x="314" y="1268"/>
                    </a:cubicBezTo>
                    <a:cubicBezTo>
                      <a:pt x="320" y="1269"/>
                      <a:pt x="325" y="1275"/>
                      <a:pt x="329" y="1278"/>
                    </a:cubicBezTo>
                    <a:cubicBezTo>
                      <a:pt x="337" y="1284"/>
                      <a:pt x="345" y="1291"/>
                      <a:pt x="352" y="1298"/>
                    </a:cubicBezTo>
                    <a:cubicBezTo>
                      <a:pt x="354" y="1293"/>
                      <a:pt x="356" y="1292"/>
                      <a:pt x="357" y="1291"/>
                    </a:cubicBezTo>
                    <a:cubicBezTo>
                      <a:pt x="358" y="1290"/>
                      <a:pt x="358" y="1290"/>
                      <a:pt x="359" y="1290"/>
                    </a:cubicBezTo>
                    <a:cubicBezTo>
                      <a:pt x="360" y="1290"/>
                      <a:pt x="360" y="1290"/>
                      <a:pt x="361" y="1290"/>
                    </a:cubicBezTo>
                    <a:cubicBezTo>
                      <a:pt x="361" y="1291"/>
                      <a:pt x="361" y="1291"/>
                      <a:pt x="361" y="1291"/>
                    </a:cubicBezTo>
                    <a:cubicBezTo>
                      <a:pt x="365" y="1292"/>
                      <a:pt x="368" y="1292"/>
                      <a:pt x="369" y="1292"/>
                    </a:cubicBezTo>
                    <a:cubicBezTo>
                      <a:pt x="370" y="1292"/>
                      <a:pt x="370" y="1292"/>
                      <a:pt x="370" y="1292"/>
                    </a:cubicBezTo>
                    <a:cubicBezTo>
                      <a:pt x="371" y="1292"/>
                      <a:pt x="372" y="1292"/>
                      <a:pt x="373" y="1292"/>
                    </a:cubicBezTo>
                    <a:cubicBezTo>
                      <a:pt x="377" y="1292"/>
                      <a:pt x="381" y="1294"/>
                      <a:pt x="384" y="1296"/>
                    </a:cubicBezTo>
                    <a:cubicBezTo>
                      <a:pt x="384" y="1296"/>
                      <a:pt x="385" y="1296"/>
                      <a:pt x="387" y="1297"/>
                    </a:cubicBezTo>
                    <a:cubicBezTo>
                      <a:pt x="394" y="1300"/>
                      <a:pt x="407" y="1304"/>
                      <a:pt x="414" y="1304"/>
                    </a:cubicBezTo>
                    <a:cubicBezTo>
                      <a:pt x="415" y="1304"/>
                      <a:pt x="417" y="1303"/>
                      <a:pt x="418" y="1303"/>
                    </a:cubicBezTo>
                    <a:cubicBezTo>
                      <a:pt x="420" y="1302"/>
                      <a:pt x="422" y="1302"/>
                      <a:pt x="425" y="1302"/>
                    </a:cubicBezTo>
                    <a:cubicBezTo>
                      <a:pt x="432" y="1302"/>
                      <a:pt x="439" y="1306"/>
                      <a:pt x="442" y="1308"/>
                    </a:cubicBezTo>
                    <a:cubicBezTo>
                      <a:pt x="444" y="1311"/>
                      <a:pt x="457" y="1317"/>
                      <a:pt x="459" y="1317"/>
                    </a:cubicBezTo>
                    <a:cubicBezTo>
                      <a:pt x="462" y="1317"/>
                      <a:pt x="463" y="1318"/>
                      <a:pt x="464" y="1319"/>
                    </a:cubicBezTo>
                    <a:cubicBezTo>
                      <a:pt x="465" y="1321"/>
                      <a:pt x="465" y="1323"/>
                      <a:pt x="465" y="1324"/>
                    </a:cubicBezTo>
                    <a:cubicBezTo>
                      <a:pt x="466" y="1324"/>
                      <a:pt x="466" y="1324"/>
                      <a:pt x="467" y="1325"/>
                    </a:cubicBezTo>
                    <a:cubicBezTo>
                      <a:pt x="468" y="1325"/>
                      <a:pt x="468" y="1325"/>
                      <a:pt x="469" y="1325"/>
                    </a:cubicBezTo>
                    <a:cubicBezTo>
                      <a:pt x="470" y="1325"/>
                      <a:pt x="472" y="1324"/>
                      <a:pt x="474" y="1323"/>
                    </a:cubicBezTo>
                    <a:cubicBezTo>
                      <a:pt x="478" y="1320"/>
                      <a:pt x="481" y="1319"/>
                      <a:pt x="484" y="1319"/>
                    </a:cubicBezTo>
                    <a:cubicBezTo>
                      <a:pt x="485" y="1319"/>
                      <a:pt x="486" y="1319"/>
                      <a:pt x="487" y="1319"/>
                    </a:cubicBezTo>
                    <a:cubicBezTo>
                      <a:pt x="489" y="1320"/>
                      <a:pt x="490" y="1320"/>
                      <a:pt x="491" y="1321"/>
                    </a:cubicBezTo>
                    <a:cubicBezTo>
                      <a:pt x="492" y="1320"/>
                      <a:pt x="492" y="1320"/>
                      <a:pt x="493" y="1320"/>
                    </a:cubicBezTo>
                    <a:cubicBezTo>
                      <a:pt x="494" y="1319"/>
                      <a:pt x="494" y="1319"/>
                      <a:pt x="495" y="1319"/>
                    </a:cubicBezTo>
                    <a:cubicBezTo>
                      <a:pt x="497" y="1319"/>
                      <a:pt x="499" y="1320"/>
                      <a:pt x="501" y="1321"/>
                    </a:cubicBezTo>
                    <a:cubicBezTo>
                      <a:pt x="504" y="1324"/>
                      <a:pt x="516" y="1328"/>
                      <a:pt x="518" y="1328"/>
                    </a:cubicBezTo>
                    <a:cubicBezTo>
                      <a:pt x="525" y="1328"/>
                      <a:pt x="525" y="1328"/>
                      <a:pt x="525" y="1328"/>
                    </a:cubicBezTo>
                    <a:cubicBezTo>
                      <a:pt x="521" y="1334"/>
                      <a:pt x="521" y="1334"/>
                      <a:pt x="521" y="1334"/>
                    </a:cubicBezTo>
                    <a:cubicBezTo>
                      <a:pt x="520" y="1336"/>
                      <a:pt x="519" y="1339"/>
                      <a:pt x="519" y="1339"/>
                    </a:cubicBezTo>
                    <a:cubicBezTo>
                      <a:pt x="523" y="1341"/>
                      <a:pt x="530" y="1345"/>
                      <a:pt x="532" y="1345"/>
                    </a:cubicBezTo>
                    <a:cubicBezTo>
                      <a:pt x="533" y="1344"/>
                      <a:pt x="533" y="1344"/>
                      <a:pt x="533" y="1344"/>
                    </a:cubicBezTo>
                    <a:cubicBezTo>
                      <a:pt x="534" y="1345"/>
                      <a:pt x="534" y="1345"/>
                      <a:pt x="534" y="1345"/>
                    </a:cubicBezTo>
                    <a:cubicBezTo>
                      <a:pt x="535" y="1346"/>
                      <a:pt x="536" y="1347"/>
                      <a:pt x="537" y="1348"/>
                    </a:cubicBezTo>
                    <a:cubicBezTo>
                      <a:pt x="537" y="1348"/>
                      <a:pt x="537" y="1348"/>
                      <a:pt x="537" y="1348"/>
                    </a:cubicBezTo>
                    <a:cubicBezTo>
                      <a:pt x="539" y="1348"/>
                      <a:pt x="539" y="1348"/>
                      <a:pt x="539" y="1348"/>
                    </a:cubicBezTo>
                    <a:cubicBezTo>
                      <a:pt x="541" y="1348"/>
                      <a:pt x="542" y="1348"/>
                      <a:pt x="543" y="1348"/>
                    </a:cubicBezTo>
                    <a:cubicBezTo>
                      <a:pt x="543" y="1348"/>
                      <a:pt x="544" y="1348"/>
                      <a:pt x="544" y="1348"/>
                    </a:cubicBezTo>
                    <a:cubicBezTo>
                      <a:pt x="549" y="1349"/>
                      <a:pt x="553" y="1353"/>
                      <a:pt x="555" y="1357"/>
                    </a:cubicBezTo>
                    <a:cubicBezTo>
                      <a:pt x="556" y="1359"/>
                      <a:pt x="558" y="1361"/>
                      <a:pt x="558" y="1361"/>
                    </a:cubicBezTo>
                    <a:cubicBezTo>
                      <a:pt x="559" y="1361"/>
                      <a:pt x="559" y="1361"/>
                      <a:pt x="560" y="1362"/>
                    </a:cubicBezTo>
                    <a:cubicBezTo>
                      <a:pt x="560" y="1272"/>
                      <a:pt x="560" y="1272"/>
                      <a:pt x="560" y="1272"/>
                    </a:cubicBezTo>
                    <a:cubicBezTo>
                      <a:pt x="559" y="1271"/>
                      <a:pt x="557" y="1269"/>
                      <a:pt x="555" y="1268"/>
                    </a:cubicBezTo>
                    <a:cubicBezTo>
                      <a:pt x="552" y="1266"/>
                      <a:pt x="549" y="1266"/>
                      <a:pt x="547" y="1265"/>
                    </a:cubicBezTo>
                    <a:cubicBezTo>
                      <a:pt x="542" y="1262"/>
                      <a:pt x="549" y="1255"/>
                      <a:pt x="552" y="1252"/>
                    </a:cubicBezTo>
                    <a:cubicBezTo>
                      <a:pt x="556" y="1248"/>
                      <a:pt x="558" y="1246"/>
                      <a:pt x="560" y="1243"/>
                    </a:cubicBezTo>
                    <a:cubicBezTo>
                      <a:pt x="560" y="1149"/>
                      <a:pt x="560" y="1149"/>
                      <a:pt x="560" y="1149"/>
                    </a:cubicBezTo>
                    <a:cubicBezTo>
                      <a:pt x="560" y="1149"/>
                      <a:pt x="560" y="1149"/>
                      <a:pt x="559" y="1149"/>
                    </a:cubicBezTo>
                    <a:cubicBezTo>
                      <a:pt x="555" y="1146"/>
                      <a:pt x="555" y="1143"/>
                      <a:pt x="555" y="1138"/>
                    </a:cubicBezTo>
                    <a:cubicBezTo>
                      <a:pt x="555" y="1137"/>
                      <a:pt x="555" y="1136"/>
                      <a:pt x="555" y="1135"/>
                    </a:cubicBezTo>
                    <a:cubicBezTo>
                      <a:pt x="555" y="1133"/>
                      <a:pt x="555" y="1132"/>
                      <a:pt x="555" y="1131"/>
                    </a:cubicBezTo>
                    <a:cubicBezTo>
                      <a:pt x="554" y="1130"/>
                      <a:pt x="554" y="1130"/>
                      <a:pt x="554" y="1130"/>
                    </a:cubicBezTo>
                    <a:cubicBezTo>
                      <a:pt x="554" y="1130"/>
                      <a:pt x="553" y="1130"/>
                      <a:pt x="552" y="1130"/>
                    </a:cubicBezTo>
                    <a:cubicBezTo>
                      <a:pt x="551" y="1129"/>
                      <a:pt x="551" y="1129"/>
                      <a:pt x="551" y="1129"/>
                    </a:cubicBezTo>
                    <a:cubicBezTo>
                      <a:pt x="549" y="1128"/>
                      <a:pt x="547" y="1128"/>
                      <a:pt x="545" y="1127"/>
                    </a:cubicBezTo>
                    <a:cubicBezTo>
                      <a:pt x="543" y="1126"/>
                      <a:pt x="543" y="1126"/>
                      <a:pt x="543" y="1126"/>
                    </a:cubicBezTo>
                    <a:cubicBezTo>
                      <a:pt x="542" y="1126"/>
                      <a:pt x="542" y="1126"/>
                      <a:pt x="542" y="1126"/>
                    </a:cubicBezTo>
                    <a:cubicBezTo>
                      <a:pt x="541" y="1126"/>
                      <a:pt x="541" y="1126"/>
                      <a:pt x="541" y="1126"/>
                    </a:cubicBezTo>
                    <a:cubicBezTo>
                      <a:pt x="539" y="1125"/>
                      <a:pt x="537" y="1123"/>
                      <a:pt x="537" y="1121"/>
                    </a:cubicBezTo>
                    <a:cubicBezTo>
                      <a:pt x="537" y="1120"/>
                      <a:pt x="537" y="1120"/>
                      <a:pt x="537" y="1120"/>
                    </a:cubicBezTo>
                    <a:cubicBezTo>
                      <a:pt x="537" y="1120"/>
                      <a:pt x="537" y="1120"/>
                      <a:pt x="537" y="1120"/>
                    </a:cubicBezTo>
                    <a:cubicBezTo>
                      <a:pt x="538" y="1117"/>
                      <a:pt x="539" y="1113"/>
                      <a:pt x="541" y="1111"/>
                    </a:cubicBezTo>
                    <a:cubicBezTo>
                      <a:pt x="541" y="1110"/>
                      <a:pt x="541" y="1110"/>
                      <a:pt x="541" y="1110"/>
                    </a:cubicBezTo>
                    <a:cubicBezTo>
                      <a:pt x="544" y="1106"/>
                      <a:pt x="547" y="1102"/>
                      <a:pt x="550" y="1098"/>
                    </a:cubicBezTo>
                    <a:cubicBezTo>
                      <a:pt x="550" y="1098"/>
                      <a:pt x="550" y="1098"/>
                      <a:pt x="550" y="1098"/>
                    </a:cubicBezTo>
                    <a:cubicBezTo>
                      <a:pt x="551" y="1097"/>
                      <a:pt x="551" y="1097"/>
                      <a:pt x="551" y="1097"/>
                    </a:cubicBezTo>
                    <a:cubicBezTo>
                      <a:pt x="552" y="1095"/>
                      <a:pt x="552" y="1095"/>
                      <a:pt x="550" y="1093"/>
                    </a:cubicBezTo>
                    <a:cubicBezTo>
                      <a:pt x="550" y="1093"/>
                      <a:pt x="550" y="1093"/>
                      <a:pt x="550" y="1093"/>
                    </a:cubicBezTo>
                    <a:cubicBezTo>
                      <a:pt x="548" y="1091"/>
                      <a:pt x="548" y="1091"/>
                      <a:pt x="548" y="1091"/>
                    </a:cubicBezTo>
                    <a:cubicBezTo>
                      <a:pt x="547" y="1091"/>
                      <a:pt x="546" y="1090"/>
                      <a:pt x="546" y="1090"/>
                    </a:cubicBezTo>
                    <a:cubicBezTo>
                      <a:pt x="545" y="1088"/>
                      <a:pt x="545" y="1087"/>
                      <a:pt x="545" y="1086"/>
                    </a:cubicBezTo>
                    <a:cubicBezTo>
                      <a:pt x="545" y="1085"/>
                      <a:pt x="545" y="1084"/>
                      <a:pt x="546" y="1084"/>
                    </a:cubicBezTo>
                    <a:cubicBezTo>
                      <a:pt x="546" y="1083"/>
                      <a:pt x="546" y="1081"/>
                      <a:pt x="546" y="1080"/>
                    </a:cubicBezTo>
                    <a:cubicBezTo>
                      <a:pt x="547" y="1075"/>
                      <a:pt x="547" y="1075"/>
                      <a:pt x="547" y="1075"/>
                    </a:cubicBezTo>
                    <a:cubicBezTo>
                      <a:pt x="547" y="1074"/>
                      <a:pt x="547" y="1074"/>
                      <a:pt x="548" y="1073"/>
                    </a:cubicBezTo>
                    <a:cubicBezTo>
                      <a:pt x="548" y="1071"/>
                      <a:pt x="548" y="1071"/>
                      <a:pt x="548" y="1071"/>
                    </a:cubicBezTo>
                    <a:cubicBezTo>
                      <a:pt x="548" y="1070"/>
                      <a:pt x="548" y="1070"/>
                      <a:pt x="548" y="1069"/>
                    </a:cubicBezTo>
                    <a:cubicBezTo>
                      <a:pt x="550" y="1066"/>
                      <a:pt x="553" y="1065"/>
                      <a:pt x="555" y="1064"/>
                    </a:cubicBezTo>
                    <a:cubicBezTo>
                      <a:pt x="556" y="1063"/>
                      <a:pt x="557" y="1063"/>
                      <a:pt x="558" y="1063"/>
                    </a:cubicBezTo>
                    <a:cubicBezTo>
                      <a:pt x="558" y="1062"/>
                      <a:pt x="558" y="1062"/>
                      <a:pt x="558" y="1062"/>
                    </a:cubicBezTo>
                    <a:cubicBezTo>
                      <a:pt x="559" y="1062"/>
                      <a:pt x="559" y="1062"/>
                      <a:pt x="559" y="1062"/>
                    </a:cubicBezTo>
                    <a:cubicBezTo>
                      <a:pt x="560" y="1060"/>
                      <a:pt x="560" y="1060"/>
                      <a:pt x="560" y="1060"/>
                    </a:cubicBezTo>
                    <a:cubicBezTo>
                      <a:pt x="560" y="1060"/>
                      <a:pt x="560" y="1060"/>
                      <a:pt x="560" y="1059"/>
                    </a:cubicBezTo>
                    <a:cubicBezTo>
                      <a:pt x="560" y="915"/>
                      <a:pt x="560" y="915"/>
                      <a:pt x="560" y="915"/>
                    </a:cubicBezTo>
                    <a:moveTo>
                      <a:pt x="1346" y="915"/>
                    </a:moveTo>
                    <a:cubicBezTo>
                      <a:pt x="1314" y="915"/>
                      <a:pt x="1314" y="915"/>
                      <a:pt x="1314" y="915"/>
                    </a:cubicBezTo>
                    <a:cubicBezTo>
                      <a:pt x="1314" y="915"/>
                      <a:pt x="1314" y="915"/>
                      <a:pt x="1314" y="915"/>
                    </a:cubicBezTo>
                    <a:cubicBezTo>
                      <a:pt x="1312" y="917"/>
                      <a:pt x="1311" y="918"/>
                      <a:pt x="1310" y="919"/>
                    </a:cubicBezTo>
                    <a:cubicBezTo>
                      <a:pt x="1308" y="920"/>
                      <a:pt x="1308" y="920"/>
                      <a:pt x="1308" y="920"/>
                    </a:cubicBezTo>
                    <a:cubicBezTo>
                      <a:pt x="1307" y="921"/>
                      <a:pt x="1307" y="921"/>
                      <a:pt x="1307" y="921"/>
                    </a:cubicBezTo>
                    <a:cubicBezTo>
                      <a:pt x="1306" y="922"/>
                      <a:pt x="1305" y="923"/>
                      <a:pt x="1304" y="924"/>
                    </a:cubicBezTo>
                    <a:cubicBezTo>
                      <a:pt x="1304" y="925"/>
                      <a:pt x="1304" y="925"/>
                      <a:pt x="1304" y="925"/>
                    </a:cubicBezTo>
                    <a:cubicBezTo>
                      <a:pt x="1306" y="929"/>
                      <a:pt x="1306" y="929"/>
                      <a:pt x="1306" y="929"/>
                    </a:cubicBezTo>
                    <a:cubicBezTo>
                      <a:pt x="1309" y="927"/>
                      <a:pt x="1309" y="927"/>
                      <a:pt x="1309" y="927"/>
                    </a:cubicBezTo>
                    <a:cubicBezTo>
                      <a:pt x="1312" y="925"/>
                      <a:pt x="1314" y="924"/>
                      <a:pt x="1316" y="924"/>
                    </a:cubicBezTo>
                    <a:cubicBezTo>
                      <a:pt x="1317" y="924"/>
                      <a:pt x="1317" y="924"/>
                      <a:pt x="1317" y="924"/>
                    </a:cubicBezTo>
                    <a:cubicBezTo>
                      <a:pt x="1325" y="925"/>
                      <a:pt x="1325" y="925"/>
                      <a:pt x="1325" y="925"/>
                    </a:cubicBezTo>
                    <a:cubicBezTo>
                      <a:pt x="1328" y="925"/>
                      <a:pt x="1328" y="925"/>
                      <a:pt x="1328" y="925"/>
                    </a:cubicBezTo>
                    <a:cubicBezTo>
                      <a:pt x="1329" y="926"/>
                      <a:pt x="1330" y="926"/>
                      <a:pt x="1330" y="926"/>
                    </a:cubicBezTo>
                    <a:cubicBezTo>
                      <a:pt x="1331" y="926"/>
                      <a:pt x="1331" y="926"/>
                      <a:pt x="1331" y="926"/>
                    </a:cubicBezTo>
                    <a:cubicBezTo>
                      <a:pt x="1331" y="924"/>
                      <a:pt x="1331" y="924"/>
                      <a:pt x="1331" y="924"/>
                    </a:cubicBezTo>
                    <a:cubicBezTo>
                      <a:pt x="1331" y="923"/>
                      <a:pt x="1332" y="922"/>
                      <a:pt x="1333" y="921"/>
                    </a:cubicBezTo>
                    <a:cubicBezTo>
                      <a:pt x="1334" y="920"/>
                      <a:pt x="1334" y="920"/>
                      <a:pt x="1334" y="920"/>
                    </a:cubicBezTo>
                    <a:cubicBezTo>
                      <a:pt x="1346" y="915"/>
                      <a:pt x="1346" y="915"/>
                      <a:pt x="1346" y="915"/>
                    </a:cubicBezTo>
                    <a:moveTo>
                      <a:pt x="1682" y="915"/>
                    </a:moveTo>
                    <a:cubicBezTo>
                      <a:pt x="1405" y="915"/>
                      <a:pt x="1405" y="915"/>
                      <a:pt x="1405" y="915"/>
                    </a:cubicBezTo>
                    <a:cubicBezTo>
                      <a:pt x="1409" y="918"/>
                      <a:pt x="1409" y="918"/>
                      <a:pt x="1409" y="918"/>
                    </a:cubicBezTo>
                    <a:cubicBezTo>
                      <a:pt x="1425" y="930"/>
                      <a:pt x="1425" y="930"/>
                      <a:pt x="1425" y="930"/>
                    </a:cubicBezTo>
                    <a:cubicBezTo>
                      <a:pt x="1429" y="933"/>
                      <a:pt x="1433" y="937"/>
                      <a:pt x="1436" y="940"/>
                    </a:cubicBezTo>
                    <a:cubicBezTo>
                      <a:pt x="1449" y="958"/>
                      <a:pt x="1449" y="958"/>
                      <a:pt x="1449" y="958"/>
                    </a:cubicBezTo>
                    <a:cubicBezTo>
                      <a:pt x="1454" y="965"/>
                      <a:pt x="1454" y="965"/>
                      <a:pt x="1454" y="965"/>
                    </a:cubicBezTo>
                    <a:cubicBezTo>
                      <a:pt x="1461" y="976"/>
                      <a:pt x="1468" y="988"/>
                      <a:pt x="1475" y="998"/>
                    </a:cubicBezTo>
                    <a:cubicBezTo>
                      <a:pt x="1481" y="1008"/>
                      <a:pt x="1487" y="1018"/>
                      <a:pt x="1493" y="1027"/>
                    </a:cubicBezTo>
                    <a:cubicBezTo>
                      <a:pt x="1495" y="1029"/>
                      <a:pt x="1495" y="1029"/>
                      <a:pt x="1495" y="1029"/>
                    </a:cubicBezTo>
                    <a:cubicBezTo>
                      <a:pt x="1495" y="1029"/>
                      <a:pt x="1496" y="1028"/>
                      <a:pt x="1497" y="1027"/>
                    </a:cubicBezTo>
                    <a:cubicBezTo>
                      <a:pt x="1497" y="1027"/>
                      <a:pt x="1497" y="1027"/>
                      <a:pt x="1497" y="1027"/>
                    </a:cubicBezTo>
                    <a:cubicBezTo>
                      <a:pt x="1499" y="1027"/>
                      <a:pt x="1500" y="1026"/>
                      <a:pt x="1501" y="1026"/>
                    </a:cubicBezTo>
                    <a:cubicBezTo>
                      <a:pt x="1502" y="1026"/>
                      <a:pt x="1502" y="1026"/>
                      <a:pt x="1502" y="1026"/>
                    </a:cubicBezTo>
                    <a:cubicBezTo>
                      <a:pt x="1502" y="1025"/>
                      <a:pt x="1502" y="1025"/>
                      <a:pt x="1502" y="1025"/>
                    </a:cubicBezTo>
                    <a:cubicBezTo>
                      <a:pt x="1502" y="1025"/>
                      <a:pt x="1502" y="1025"/>
                      <a:pt x="1502" y="1025"/>
                    </a:cubicBezTo>
                    <a:cubicBezTo>
                      <a:pt x="1501" y="1024"/>
                      <a:pt x="1501" y="1024"/>
                      <a:pt x="1501" y="1024"/>
                    </a:cubicBezTo>
                    <a:cubicBezTo>
                      <a:pt x="1501" y="1023"/>
                      <a:pt x="1501" y="1023"/>
                      <a:pt x="1501" y="1022"/>
                    </a:cubicBezTo>
                    <a:cubicBezTo>
                      <a:pt x="1501" y="1021"/>
                      <a:pt x="1501" y="1021"/>
                      <a:pt x="1501" y="1021"/>
                    </a:cubicBezTo>
                    <a:cubicBezTo>
                      <a:pt x="1501" y="1021"/>
                      <a:pt x="1501" y="1021"/>
                      <a:pt x="1501" y="1021"/>
                    </a:cubicBezTo>
                    <a:cubicBezTo>
                      <a:pt x="1501" y="1020"/>
                      <a:pt x="1501" y="1020"/>
                      <a:pt x="1501" y="1020"/>
                    </a:cubicBezTo>
                    <a:cubicBezTo>
                      <a:pt x="1501" y="1019"/>
                      <a:pt x="1501" y="1019"/>
                      <a:pt x="1501" y="1019"/>
                    </a:cubicBezTo>
                    <a:cubicBezTo>
                      <a:pt x="1501" y="1018"/>
                      <a:pt x="1501" y="1018"/>
                      <a:pt x="1501" y="1018"/>
                    </a:cubicBezTo>
                    <a:cubicBezTo>
                      <a:pt x="1502" y="1017"/>
                      <a:pt x="1502" y="1016"/>
                      <a:pt x="1503" y="1016"/>
                    </a:cubicBezTo>
                    <a:cubicBezTo>
                      <a:pt x="1504" y="1015"/>
                      <a:pt x="1505" y="1015"/>
                      <a:pt x="1506" y="1015"/>
                    </a:cubicBezTo>
                    <a:cubicBezTo>
                      <a:pt x="1506" y="1015"/>
                      <a:pt x="1506" y="1015"/>
                      <a:pt x="1506" y="1015"/>
                    </a:cubicBezTo>
                    <a:cubicBezTo>
                      <a:pt x="1506" y="1015"/>
                      <a:pt x="1506" y="1015"/>
                      <a:pt x="1506" y="1015"/>
                    </a:cubicBezTo>
                    <a:cubicBezTo>
                      <a:pt x="1507" y="1015"/>
                      <a:pt x="1507" y="1015"/>
                      <a:pt x="1507" y="1015"/>
                    </a:cubicBezTo>
                    <a:cubicBezTo>
                      <a:pt x="1508" y="1015"/>
                      <a:pt x="1508" y="1015"/>
                      <a:pt x="1508" y="1015"/>
                    </a:cubicBezTo>
                    <a:cubicBezTo>
                      <a:pt x="1508" y="1014"/>
                      <a:pt x="1509" y="1011"/>
                      <a:pt x="1512" y="1011"/>
                    </a:cubicBezTo>
                    <a:cubicBezTo>
                      <a:pt x="1512" y="1011"/>
                      <a:pt x="1513" y="1011"/>
                      <a:pt x="1513" y="1012"/>
                    </a:cubicBezTo>
                    <a:cubicBezTo>
                      <a:pt x="1523" y="1015"/>
                      <a:pt x="1523" y="1015"/>
                      <a:pt x="1523" y="1015"/>
                    </a:cubicBezTo>
                    <a:cubicBezTo>
                      <a:pt x="1527" y="1016"/>
                      <a:pt x="1528" y="1019"/>
                      <a:pt x="1528" y="1020"/>
                    </a:cubicBezTo>
                    <a:cubicBezTo>
                      <a:pt x="1527" y="1022"/>
                      <a:pt x="1527" y="1022"/>
                      <a:pt x="1527" y="1022"/>
                    </a:cubicBezTo>
                    <a:cubicBezTo>
                      <a:pt x="1527" y="1023"/>
                      <a:pt x="1527" y="1023"/>
                      <a:pt x="1527" y="1024"/>
                    </a:cubicBezTo>
                    <a:cubicBezTo>
                      <a:pt x="1527" y="1024"/>
                      <a:pt x="1526" y="1025"/>
                      <a:pt x="1526" y="1025"/>
                    </a:cubicBezTo>
                    <a:cubicBezTo>
                      <a:pt x="1526" y="1025"/>
                      <a:pt x="1526" y="1025"/>
                      <a:pt x="1526" y="1025"/>
                    </a:cubicBezTo>
                    <a:cubicBezTo>
                      <a:pt x="1527" y="1026"/>
                      <a:pt x="1527" y="1026"/>
                      <a:pt x="1527" y="1026"/>
                    </a:cubicBezTo>
                    <a:cubicBezTo>
                      <a:pt x="1528" y="1027"/>
                      <a:pt x="1529" y="1028"/>
                      <a:pt x="1531" y="1029"/>
                    </a:cubicBezTo>
                    <a:cubicBezTo>
                      <a:pt x="1531" y="1029"/>
                      <a:pt x="1531" y="1029"/>
                      <a:pt x="1531" y="1029"/>
                    </a:cubicBezTo>
                    <a:cubicBezTo>
                      <a:pt x="1532" y="1030"/>
                      <a:pt x="1533" y="1032"/>
                      <a:pt x="1535" y="1032"/>
                    </a:cubicBezTo>
                    <a:cubicBezTo>
                      <a:pt x="1535" y="1033"/>
                      <a:pt x="1535" y="1033"/>
                      <a:pt x="1535" y="1033"/>
                    </a:cubicBezTo>
                    <a:cubicBezTo>
                      <a:pt x="1536" y="1033"/>
                      <a:pt x="1536" y="1033"/>
                      <a:pt x="1536" y="1033"/>
                    </a:cubicBezTo>
                    <a:cubicBezTo>
                      <a:pt x="1537" y="1033"/>
                      <a:pt x="1537" y="1033"/>
                      <a:pt x="1537" y="1033"/>
                    </a:cubicBezTo>
                    <a:cubicBezTo>
                      <a:pt x="1537" y="1033"/>
                      <a:pt x="1538" y="1033"/>
                      <a:pt x="1538" y="1033"/>
                    </a:cubicBezTo>
                    <a:cubicBezTo>
                      <a:pt x="1539" y="1033"/>
                      <a:pt x="1539" y="1033"/>
                      <a:pt x="1539" y="1033"/>
                    </a:cubicBezTo>
                    <a:cubicBezTo>
                      <a:pt x="1539" y="1033"/>
                      <a:pt x="1540" y="1032"/>
                      <a:pt x="1540" y="1032"/>
                    </a:cubicBezTo>
                    <a:cubicBezTo>
                      <a:pt x="1541" y="1032"/>
                      <a:pt x="1541" y="1032"/>
                      <a:pt x="1541" y="1032"/>
                    </a:cubicBezTo>
                    <a:cubicBezTo>
                      <a:pt x="1542" y="1032"/>
                      <a:pt x="1543" y="1032"/>
                      <a:pt x="1545" y="1032"/>
                    </a:cubicBezTo>
                    <a:cubicBezTo>
                      <a:pt x="1546" y="1032"/>
                      <a:pt x="1546" y="1032"/>
                      <a:pt x="1547" y="1032"/>
                    </a:cubicBezTo>
                    <a:cubicBezTo>
                      <a:pt x="1562" y="1033"/>
                      <a:pt x="1562" y="1033"/>
                      <a:pt x="1562" y="1033"/>
                    </a:cubicBezTo>
                    <a:cubicBezTo>
                      <a:pt x="1563" y="1033"/>
                      <a:pt x="1563" y="1033"/>
                      <a:pt x="1563" y="1033"/>
                    </a:cubicBezTo>
                    <a:cubicBezTo>
                      <a:pt x="1564" y="1033"/>
                      <a:pt x="1564" y="1032"/>
                      <a:pt x="1565" y="1032"/>
                    </a:cubicBezTo>
                    <a:cubicBezTo>
                      <a:pt x="1566" y="1031"/>
                      <a:pt x="1566" y="1031"/>
                      <a:pt x="1566" y="1031"/>
                    </a:cubicBezTo>
                    <a:cubicBezTo>
                      <a:pt x="1566" y="1031"/>
                      <a:pt x="1566" y="1031"/>
                      <a:pt x="1566" y="1031"/>
                    </a:cubicBezTo>
                    <a:cubicBezTo>
                      <a:pt x="1567" y="1030"/>
                      <a:pt x="1567" y="1030"/>
                      <a:pt x="1567" y="1030"/>
                    </a:cubicBezTo>
                    <a:cubicBezTo>
                      <a:pt x="1567" y="1029"/>
                      <a:pt x="1568" y="1027"/>
                      <a:pt x="1570" y="1026"/>
                    </a:cubicBezTo>
                    <a:cubicBezTo>
                      <a:pt x="1571" y="1026"/>
                      <a:pt x="1571" y="1026"/>
                      <a:pt x="1571" y="1026"/>
                    </a:cubicBezTo>
                    <a:cubicBezTo>
                      <a:pt x="1580" y="1023"/>
                      <a:pt x="1580" y="1023"/>
                      <a:pt x="1580" y="1023"/>
                    </a:cubicBezTo>
                    <a:cubicBezTo>
                      <a:pt x="1581" y="1023"/>
                      <a:pt x="1581" y="1023"/>
                      <a:pt x="1582" y="1023"/>
                    </a:cubicBezTo>
                    <a:cubicBezTo>
                      <a:pt x="1582" y="1023"/>
                      <a:pt x="1582" y="1023"/>
                      <a:pt x="1582" y="1023"/>
                    </a:cubicBezTo>
                    <a:cubicBezTo>
                      <a:pt x="1583" y="1023"/>
                      <a:pt x="1583" y="1023"/>
                      <a:pt x="1583" y="1023"/>
                    </a:cubicBezTo>
                    <a:cubicBezTo>
                      <a:pt x="1596" y="1026"/>
                      <a:pt x="1596" y="1026"/>
                      <a:pt x="1596" y="1026"/>
                    </a:cubicBezTo>
                    <a:cubicBezTo>
                      <a:pt x="1597" y="1026"/>
                      <a:pt x="1598" y="1027"/>
                      <a:pt x="1600" y="1027"/>
                    </a:cubicBezTo>
                    <a:cubicBezTo>
                      <a:pt x="1601" y="1027"/>
                      <a:pt x="1602" y="1028"/>
                      <a:pt x="1603" y="1029"/>
                    </a:cubicBezTo>
                    <a:cubicBezTo>
                      <a:pt x="1604" y="1029"/>
                      <a:pt x="1604" y="1029"/>
                      <a:pt x="1604" y="1029"/>
                    </a:cubicBezTo>
                    <a:cubicBezTo>
                      <a:pt x="1605" y="1030"/>
                      <a:pt x="1605" y="1030"/>
                      <a:pt x="1605" y="1030"/>
                    </a:cubicBezTo>
                    <a:cubicBezTo>
                      <a:pt x="1607" y="1032"/>
                      <a:pt x="1607" y="1032"/>
                      <a:pt x="1607" y="1032"/>
                    </a:cubicBezTo>
                    <a:cubicBezTo>
                      <a:pt x="1611" y="1037"/>
                      <a:pt x="1611" y="1037"/>
                      <a:pt x="1611" y="1037"/>
                    </a:cubicBezTo>
                    <a:cubicBezTo>
                      <a:pt x="1612" y="1039"/>
                      <a:pt x="1613" y="1042"/>
                      <a:pt x="1614" y="1044"/>
                    </a:cubicBezTo>
                    <a:cubicBezTo>
                      <a:pt x="1614" y="1045"/>
                      <a:pt x="1614" y="1045"/>
                      <a:pt x="1614" y="1045"/>
                    </a:cubicBezTo>
                    <a:cubicBezTo>
                      <a:pt x="1615" y="1046"/>
                      <a:pt x="1615" y="1047"/>
                      <a:pt x="1615" y="1048"/>
                    </a:cubicBezTo>
                    <a:cubicBezTo>
                      <a:pt x="1615" y="1049"/>
                      <a:pt x="1615" y="1049"/>
                      <a:pt x="1615" y="1049"/>
                    </a:cubicBezTo>
                    <a:cubicBezTo>
                      <a:pt x="1616" y="1050"/>
                      <a:pt x="1616" y="1050"/>
                      <a:pt x="1616" y="1050"/>
                    </a:cubicBezTo>
                    <a:cubicBezTo>
                      <a:pt x="1616" y="1050"/>
                      <a:pt x="1616" y="1050"/>
                      <a:pt x="1616" y="1050"/>
                    </a:cubicBezTo>
                    <a:cubicBezTo>
                      <a:pt x="1619" y="1051"/>
                      <a:pt x="1619" y="1051"/>
                      <a:pt x="1619" y="1051"/>
                    </a:cubicBezTo>
                    <a:cubicBezTo>
                      <a:pt x="1620" y="1051"/>
                      <a:pt x="1620" y="1051"/>
                      <a:pt x="1621" y="1051"/>
                    </a:cubicBezTo>
                    <a:cubicBezTo>
                      <a:pt x="1638" y="1061"/>
                      <a:pt x="1638" y="1061"/>
                      <a:pt x="1638" y="1061"/>
                    </a:cubicBezTo>
                    <a:cubicBezTo>
                      <a:pt x="1639" y="1062"/>
                      <a:pt x="1639" y="1062"/>
                      <a:pt x="1639" y="1062"/>
                    </a:cubicBezTo>
                    <a:cubicBezTo>
                      <a:pt x="1639" y="1062"/>
                      <a:pt x="1639" y="1063"/>
                      <a:pt x="1639" y="1063"/>
                    </a:cubicBezTo>
                    <a:cubicBezTo>
                      <a:pt x="1644" y="1063"/>
                      <a:pt x="1644" y="1063"/>
                      <a:pt x="1644" y="1063"/>
                    </a:cubicBezTo>
                    <a:cubicBezTo>
                      <a:pt x="1639" y="1065"/>
                      <a:pt x="1639" y="1065"/>
                      <a:pt x="1639" y="1065"/>
                    </a:cubicBezTo>
                    <a:cubicBezTo>
                      <a:pt x="1638" y="1065"/>
                      <a:pt x="1638" y="1065"/>
                      <a:pt x="1638" y="1065"/>
                    </a:cubicBezTo>
                    <a:cubicBezTo>
                      <a:pt x="1638" y="1066"/>
                      <a:pt x="1638" y="1066"/>
                      <a:pt x="1638" y="1066"/>
                    </a:cubicBezTo>
                    <a:cubicBezTo>
                      <a:pt x="1638" y="1066"/>
                      <a:pt x="1639" y="1066"/>
                      <a:pt x="1639" y="1067"/>
                    </a:cubicBezTo>
                    <a:cubicBezTo>
                      <a:pt x="1640" y="1068"/>
                      <a:pt x="1640" y="1068"/>
                      <a:pt x="1640" y="1068"/>
                    </a:cubicBezTo>
                    <a:cubicBezTo>
                      <a:pt x="1640" y="1069"/>
                      <a:pt x="1640" y="1069"/>
                      <a:pt x="1640" y="1069"/>
                    </a:cubicBezTo>
                    <a:cubicBezTo>
                      <a:pt x="1641" y="1070"/>
                      <a:pt x="1641" y="1070"/>
                      <a:pt x="1641" y="1070"/>
                    </a:cubicBezTo>
                    <a:cubicBezTo>
                      <a:pt x="1641" y="1070"/>
                      <a:pt x="1641" y="1070"/>
                      <a:pt x="1641" y="1070"/>
                    </a:cubicBezTo>
                    <a:cubicBezTo>
                      <a:pt x="1641" y="1071"/>
                      <a:pt x="1641" y="1071"/>
                      <a:pt x="1641" y="1071"/>
                    </a:cubicBezTo>
                    <a:cubicBezTo>
                      <a:pt x="1642" y="1071"/>
                      <a:pt x="1643" y="1072"/>
                      <a:pt x="1643" y="1074"/>
                    </a:cubicBezTo>
                    <a:cubicBezTo>
                      <a:pt x="1643" y="1075"/>
                      <a:pt x="1643" y="1075"/>
                      <a:pt x="1643" y="1075"/>
                    </a:cubicBezTo>
                    <a:cubicBezTo>
                      <a:pt x="1644" y="1075"/>
                      <a:pt x="1644" y="1075"/>
                      <a:pt x="1644" y="1075"/>
                    </a:cubicBezTo>
                    <a:cubicBezTo>
                      <a:pt x="1648" y="1073"/>
                      <a:pt x="1648" y="1073"/>
                      <a:pt x="1648" y="1073"/>
                    </a:cubicBezTo>
                    <a:cubicBezTo>
                      <a:pt x="1645" y="1076"/>
                      <a:pt x="1645" y="1076"/>
                      <a:pt x="1645" y="1076"/>
                    </a:cubicBezTo>
                    <a:cubicBezTo>
                      <a:pt x="1658" y="1077"/>
                      <a:pt x="1658" y="1077"/>
                      <a:pt x="1658" y="1077"/>
                    </a:cubicBezTo>
                    <a:cubicBezTo>
                      <a:pt x="1660" y="1077"/>
                      <a:pt x="1660" y="1077"/>
                      <a:pt x="1660" y="1077"/>
                    </a:cubicBezTo>
                    <a:cubicBezTo>
                      <a:pt x="1666" y="1077"/>
                      <a:pt x="1666" y="1077"/>
                      <a:pt x="1666" y="1077"/>
                    </a:cubicBezTo>
                    <a:cubicBezTo>
                      <a:pt x="1666" y="1079"/>
                      <a:pt x="1666" y="1079"/>
                      <a:pt x="1666" y="1079"/>
                    </a:cubicBezTo>
                    <a:cubicBezTo>
                      <a:pt x="1666" y="1079"/>
                      <a:pt x="1666" y="1079"/>
                      <a:pt x="1667" y="1079"/>
                    </a:cubicBezTo>
                    <a:cubicBezTo>
                      <a:pt x="1670" y="1077"/>
                      <a:pt x="1670" y="1077"/>
                      <a:pt x="1670" y="1077"/>
                    </a:cubicBezTo>
                    <a:cubicBezTo>
                      <a:pt x="1671" y="1075"/>
                      <a:pt x="1673" y="1073"/>
                      <a:pt x="1675" y="1072"/>
                    </a:cubicBezTo>
                    <a:cubicBezTo>
                      <a:pt x="1682" y="1065"/>
                      <a:pt x="1682" y="1065"/>
                      <a:pt x="1682" y="1065"/>
                    </a:cubicBezTo>
                    <a:cubicBezTo>
                      <a:pt x="1682" y="915"/>
                      <a:pt x="1682" y="915"/>
                      <a:pt x="1682" y="915"/>
                    </a:cubicBezTo>
                    <a:moveTo>
                      <a:pt x="1122" y="457"/>
                    </a:moveTo>
                    <a:cubicBezTo>
                      <a:pt x="560" y="457"/>
                      <a:pt x="560" y="457"/>
                      <a:pt x="560" y="457"/>
                    </a:cubicBezTo>
                    <a:cubicBezTo>
                      <a:pt x="560" y="915"/>
                      <a:pt x="560" y="915"/>
                      <a:pt x="560" y="915"/>
                    </a:cubicBezTo>
                    <a:cubicBezTo>
                      <a:pt x="946" y="915"/>
                      <a:pt x="946" y="915"/>
                      <a:pt x="946" y="915"/>
                    </a:cubicBezTo>
                    <a:cubicBezTo>
                      <a:pt x="944" y="914"/>
                      <a:pt x="944" y="914"/>
                      <a:pt x="944" y="914"/>
                    </a:cubicBezTo>
                    <a:cubicBezTo>
                      <a:pt x="950" y="912"/>
                      <a:pt x="950" y="912"/>
                      <a:pt x="950" y="912"/>
                    </a:cubicBezTo>
                    <a:cubicBezTo>
                      <a:pt x="951" y="910"/>
                      <a:pt x="951" y="910"/>
                      <a:pt x="951" y="910"/>
                    </a:cubicBezTo>
                    <a:cubicBezTo>
                      <a:pt x="951" y="910"/>
                      <a:pt x="952" y="910"/>
                      <a:pt x="954" y="910"/>
                    </a:cubicBezTo>
                    <a:cubicBezTo>
                      <a:pt x="954" y="910"/>
                      <a:pt x="954" y="910"/>
                      <a:pt x="954" y="910"/>
                    </a:cubicBezTo>
                    <a:cubicBezTo>
                      <a:pt x="956" y="908"/>
                      <a:pt x="958" y="906"/>
                      <a:pt x="961" y="906"/>
                    </a:cubicBezTo>
                    <a:cubicBezTo>
                      <a:pt x="961" y="906"/>
                      <a:pt x="962" y="906"/>
                      <a:pt x="962" y="906"/>
                    </a:cubicBezTo>
                    <a:cubicBezTo>
                      <a:pt x="963" y="906"/>
                      <a:pt x="963" y="906"/>
                      <a:pt x="963" y="906"/>
                    </a:cubicBezTo>
                    <a:cubicBezTo>
                      <a:pt x="964" y="906"/>
                      <a:pt x="964" y="906"/>
                      <a:pt x="964" y="906"/>
                    </a:cubicBezTo>
                    <a:cubicBezTo>
                      <a:pt x="964" y="905"/>
                      <a:pt x="964" y="905"/>
                      <a:pt x="964" y="905"/>
                    </a:cubicBezTo>
                    <a:cubicBezTo>
                      <a:pt x="966" y="906"/>
                      <a:pt x="966" y="906"/>
                      <a:pt x="966" y="906"/>
                    </a:cubicBezTo>
                    <a:cubicBezTo>
                      <a:pt x="969" y="907"/>
                      <a:pt x="971" y="908"/>
                      <a:pt x="974" y="908"/>
                    </a:cubicBezTo>
                    <a:cubicBezTo>
                      <a:pt x="974" y="908"/>
                      <a:pt x="974" y="908"/>
                      <a:pt x="975" y="908"/>
                    </a:cubicBezTo>
                    <a:cubicBezTo>
                      <a:pt x="975" y="908"/>
                      <a:pt x="975" y="908"/>
                      <a:pt x="975" y="908"/>
                    </a:cubicBezTo>
                    <a:cubicBezTo>
                      <a:pt x="976" y="908"/>
                      <a:pt x="976" y="908"/>
                      <a:pt x="976" y="908"/>
                    </a:cubicBezTo>
                    <a:cubicBezTo>
                      <a:pt x="983" y="907"/>
                      <a:pt x="983" y="907"/>
                      <a:pt x="983" y="907"/>
                    </a:cubicBezTo>
                    <a:cubicBezTo>
                      <a:pt x="984" y="903"/>
                      <a:pt x="984" y="903"/>
                      <a:pt x="984" y="903"/>
                    </a:cubicBezTo>
                    <a:cubicBezTo>
                      <a:pt x="985" y="907"/>
                      <a:pt x="985" y="907"/>
                      <a:pt x="985" y="907"/>
                    </a:cubicBezTo>
                    <a:cubicBezTo>
                      <a:pt x="985" y="907"/>
                      <a:pt x="985" y="907"/>
                      <a:pt x="985" y="907"/>
                    </a:cubicBezTo>
                    <a:cubicBezTo>
                      <a:pt x="986" y="907"/>
                      <a:pt x="987" y="907"/>
                      <a:pt x="988" y="907"/>
                    </a:cubicBezTo>
                    <a:cubicBezTo>
                      <a:pt x="989" y="907"/>
                      <a:pt x="989" y="907"/>
                      <a:pt x="989" y="907"/>
                    </a:cubicBezTo>
                    <a:cubicBezTo>
                      <a:pt x="989" y="907"/>
                      <a:pt x="989" y="907"/>
                      <a:pt x="989" y="907"/>
                    </a:cubicBezTo>
                    <a:cubicBezTo>
                      <a:pt x="990" y="907"/>
                      <a:pt x="991" y="907"/>
                      <a:pt x="992" y="907"/>
                    </a:cubicBezTo>
                    <a:cubicBezTo>
                      <a:pt x="993" y="907"/>
                      <a:pt x="993" y="907"/>
                      <a:pt x="993" y="907"/>
                    </a:cubicBezTo>
                    <a:cubicBezTo>
                      <a:pt x="994" y="907"/>
                      <a:pt x="994" y="907"/>
                      <a:pt x="994" y="907"/>
                    </a:cubicBezTo>
                    <a:cubicBezTo>
                      <a:pt x="995" y="905"/>
                      <a:pt x="995" y="905"/>
                      <a:pt x="995" y="905"/>
                    </a:cubicBezTo>
                    <a:cubicBezTo>
                      <a:pt x="997" y="906"/>
                      <a:pt x="997" y="906"/>
                      <a:pt x="997" y="906"/>
                    </a:cubicBezTo>
                    <a:cubicBezTo>
                      <a:pt x="997" y="906"/>
                      <a:pt x="997" y="906"/>
                      <a:pt x="997" y="906"/>
                    </a:cubicBezTo>
                    <a:cubicBezTo>
                      <a:pt x="998" y="905"/>
                      <a:pt x="999" y="905"/>
                      <a:pt x="1000" y="905"/>
                    </a:cubicBezTo>
                    <a:cubicBezTo>
                      <a:pt x="1000" y="905"/>
                      <a:pt x="1000" y="905"/>
                      <a:pt x="1000" y="905"/>
                    </a:cubicBezTo>
                    <a:cubicBezTo>
                      <a:pt x="1001" y="905"/>
                      <a:pt x="1001" y="905"/>
                      <a:pt x="1001" y="905"/>
                    </a:cubicBezTo>
                    <a:cubicBezTo>
                      <a:pt x="1001" y="905"/>
                      <a:pt x="1002" y="904"/>
                      <a:pt x="1002" y="904"/>
                    </a:cubicBezTo>
                    <a:cubicBezTo>
                      <a:pt x="1003" y="904"/>
                      <a:pt x="1003" y="904"/>
                      <a:pt x="1003" y="904"/>
                    </a:cubicBezTo>
                    <a:cubicBezTo>
                      <a:pt x="997" y="904"/>
                      <a:pt x="997" y="904"/>
                      <a:pt x="997" y="904"/>
                    </a:cubicBezTo>
                    <a:cubicBezTo>
                      <a:pt x="1013" y="901"/>
                      <a:pt x="1013" y="901"/>
                      <a:pt x="1013" y="901"/>
                    </a:cubicBezTo>
                    <a:cubicBezTo>
                      <a:pt x="1013" y="894"/>
                      <a:pt x="1013" y="894"/>
                      <a:pt x="1013" y="894"/>
                    </a:cubicBezTo>
                    <a:cubicBezTo>
                      <a:pt x="1014" y="901"/>
                      <a:pt x="1014" y="901"/>
                      <a:pt x="1014" y="901"/>
                    </a:cubicBezTo>
                    <a:cubicBezTo>
                      <a:pt x="1028" y="898"/>
                      <a:pt x="1028" y="898"/>
                      <a:pt x="1028" y="898"/>
                    </a:cubicBezTo>
                    <a:cubicBezTo>
                      <a:pt x="1028" y="898"/>
                      <a:pt x="1028" y="898"/>
                      <a:pt x="1029" y="898"/>
                    </a:cubicBezTo>
                    <a:cubicBezTo>
                      <a:pt x="1031" y="897"/>
                      <a:pt x="1031" y="897"/>
                      <a:pt x="1031" y="897"/>
                    </a:cubicBezTo>
                    <a:cubicBezTo>
                      <a:pt x="1031" y="898"/>
                      <a:pt x="1031" y="898"/>
                      <a:pt x="1031" y="898"/>
                    </a:cubicBezTo>
                    <a:cubicBezTo>
                      <a:pt x="1035" y="897"/>
                      <a:pt x="1035" y="897"/>
                      <a:pt x="1035" y="897"/>
                    </a:cubicBezTo>
                    <a:cubicBezTo>
                      <a:pt x="1036" y="896"/>
                      <a:pt x="1036" y="896"/>
                      <a:pt x="1036" y="896"/>
                    </a:cubicBezTo>
                    <a:cubicBezTo>
                      <a:pt x="1037" y="896"/>
                      <a:pt x="1037" y="896"/>
                      <a:pt x="1037" y="896"/>
                    </a:cubicBezTo>
                    <a:cubicBezTo>
                      <a:pt x="1039" y="895"/>
                      <a:pt x="1039" y="895"/>
                      <a:pt x="1039" y="895"/>
                    </a:cubicBezTo>
                    <a:cubicBezTo>
                      <a:pt x="1039" y="896"/>
                      <a:pt x="1039" y="896"/>
                      <a:pt x="1039" y="896"/>
                    </a:cubicBezTo>
                    <a:cubicBezTo>
                      <a:pt x="1042" y="895"/>
                      <a:pt x="1042" y="895"/>
                      <a:pt x="1042" y="895"/>
                    </a:cubicBezTo>
                    <a:cubicBezTo>
                      <a:pt x="1042" y="895"/>
                      <a:pt x="1042" y="895"/>
                      <a:pt x="1042" y="895"/>
                    </a:cubicBezTo>
                    <a:cubicBezTo>
                      <a:pt x="1046" y="895"/>
                      <a:pt x="1046" y="895"/>
                      <a:pt x="1046" y="895"/>
                    </a:cubicBezTo>
                    <a:cubicBezTo>
                      <a:pt x="1046" y="895"/>
                      <a:pt x="1046" y="895"/>
                      <a:pt x="1046" y="895"/>
                    </a:cubicBezTo>
                    <a:cubicBezTo>
                      <a:pt x="1047" y="895"/>
                      <a:pt x="1047" y="895"/>
                      <a:pt x="1048" y="895"/>
                    </a:cubicBezTo>
                    <a:cubicBezTo>
                      <a:pt x="1048" y="895"/>
                      <a:pt x="1048" y="895"/>
                      <a:pt x="1048" y="895"/>
                    </a:cubicBezTo>
                    <a:cubicBezTo>
                      <a:pt x="1049" y="894"/>
                      <a:pt x="1050" y="894"/>
                      <a:pt x="1051" y="894"/>
                    </a:cubicBezTo>
                    <a:cubicBezTo>
                      <a:pt x="1051" y="894"/>
                      <a:pt x="1051" y="894"/>
                      <a:pt x="1051" y="894"/>
                    </a:cubicBezTo>
                    <a:cubicBezTo>
                      <a:pt x="1051" y="894"/>
                      <a:pt x="1052" y="894"/>
                      <a:pt x="1052" y="894"/>
                    </a:cubicBezTo>
                    <a:cubicBezTo>
                      <a:pt x="1053" y="893"/>
                      <a:pt x="1053" y="893"/>
                      <a:pt x="1054" y="893"/>
                    </a:cubicBezTo>
                    <a:cubicBezTo>
                      <a:pt x="1054" y="893"/>
                      <a:pt x="1054" y="893"/>
                      <a:pt x="1054" y="893"/>
                    </a:cubicBezTo>
                    <a:cubicBezTo>
                      <a:pt x="1054" y="893"/>
                      <a:pt x="1055" y="893"/>
                      <a:pt x="1055" y="893"/>
                    </a:cubicBezTo>
                    <a:cubicBezTo>
                      <a:pt x="1056" y="893"/>
                      <a:pt x="1056" y="893"/>
                      <a:pt x="1056" y="894"/>
                    </a:cubicBezTo>
                    <a:cubicBezTo>
                      <a:pt x="1057" y="894"/>
                      <a:pt x="1057" y="894"/>
                      <a:pt x="1057" y="894"/>
                    </a:cubicBezTo>
                    <a:cubicBezTo>
                      <a:pt x="1058" y="894"/>
                      <a:pt x="1058" y="894"/>
                      <a:pt x="1058" y="894"/>
                    </a:cubicBezTo>
                    <a:cubicBezTo>
                      <a:pt x="1060" y="894"/>
                      <a:pt x="1060" y="894"/>
                      <a:pt x="1060" y="894"/>
                    </a:cubicBezTo>
                    <a:cubicBezTo>
                      <a:pt x="1060" y="893"/>
                      <a:pt x="1062" y="892"/>
                      <a:pt x="1064" y="892"/>
                    </a:cubicBezTo>
                    <a:cubicBezTo>
                      <a:pt x="1065" y="892"/>
                      <a:pt x="1065" y="892"/>
                      <a:pt x="1066" y="893"/>
                    </a:cubicBezTo>
                    <a:cubicBezTo>
                      <a:pt x="1067" y="892"/>
                      <a:pt x="1067" y="892"/>
                      <a:pt x="1067" y="891"/>
                    </a:cubicBezTo>
                    <a:cubicBezTo>
                      <a:pt x="1067" y="891"/>
                      <a:pt x="1067" y="891"/>
                      <a:pt x="1067" y="891"/>
                    </a:cubicBezTo>
                    <a:cubicBezTo>
                      <a:pt x="1069" y="890"/>
                      <a:pt x="1069" y="890"/>
                      <a:pt x="1069" y="890"/>
                    </a:cubicBezTo>
                    <a:cubicBezTo>
                      <a:pt x="1069" y="890"/>
                      <a:pt x="1069" y="890"/>
                      <a:pt x="1069" y="890"/>
                    </a:cubicBezTo>
                    <a:cubicBezTo>
                      <a:pt x="1070" y="888"/>
                      <a:pt x="1070" y="888"/>
                      <a:pt x="1070" y="888"/>
                    </a:cubicBezTo>
                    <a:cubicBezTo>
                      <a:pt x="1060" y="886"/>
                      <a:pt x="1060" y="886"/>
                      <a:pt x="1060" y="886"/>
                    </a:cubicBezTo>
                    <a:cubicBezTo>
                      <a:pt x="1080" y="883"/>
                      <a:pt x="1080" y="883"/>
                      <a:pt x="1080" y="883"/>
                    </a:cubicBezTo>
                    <a:cubicBezTo>
                      <a:pt x="1082" y="883"/>
                      <a:pt x="1082" y="883"/>
                      <a:pt x="1082" y="883"/>
                    </a:cubicBezTo>
                    <a:cubicBezTo>
                      <a:pt x="1087" y="883"/>
                      <a:pt x="1087" y="883"/>
                      <a:pt x="1087" y="883"/>
                    </a:cubicBezTo>
                    <a:cubicBezTo>
                      <a:pt x="1089" y="881"/>
                      <a:pt x="1089" y="881"/>
                      <a:pt x="1089" y="881"/>
                    </a:cubicBezTo>
                    <a:cubicBezTo>
                      <a:pt x="1090" y="881"/>
                      <a:pt x="1091" y="881"/>
                      <a:pt x="1092" y="881"/>
                    </a:cubicBezTo>
                    <a:cubicBezTo>
                      <a:pt x="1092" y="880"/>
                      <a:pt x="1092" y="880"/>
                      <a:pt x="1093" y="880"/>
                    </a:cubicBezTo>
                    <a:cubicBezTo>
                      <a:pt x="1093" y="880"/>
                      <a:pt x="1093" y="880"/>
                      <a:pt x="1093" y="880"/>
                    </a:cubicBezTo>
                    <a:cubicBezTo>
                      <a:pt x="1094" y="880"/>
                      <a:pt x="1094" y="881"/>
                      <a:pt x="1095" y="881"/>
                    </a:cubicBezTo>
                    <a:cubicBezTo>
                      <a:pt x="1096" y="881"/>
                      <a:pt x="1096" y="882"/>
                      <a:pt x="1096" y="883"/>
                    </a:cubicBezTo>
                    <a:cubicBezTo>
                      <a:pt x="1100" y="882"/>
                      <a:pt x="1100" y="882"/>
                      <a:pt x="1100" y="882"/>
                    </a:cubicBezTo>
                    <a:cubicBezTo>
                      <a:pt x="1101" y="882"/>
                      <a:pt x="1103" y="881"/>
                      <a:pt x="1104" y="881"/>
                    </a:cubicBezTo>
                    <a:cubicBezTo>
                      <a:pt x="1106" y="880"/>
                      <a:pt x="1106" y="880"/>
                      <a:pt x="1106" y="880"/>
                    </a:cubicBezTo>
                    <a:cubicBezTo>
                      <a:pt x="1108" y="880"/>
                      <a:pt x="1110" y="880"/>
                      <a:pt x="1111" y="880"/>
                    </a:cubicBezTo>
                    <a:cubicBezTo>
                      <a:pt x="1109" y="878"/>
                      <a:pt x="1109" y="878"/>
                      <a:pt x="1109" y="878"/>
                    </a:cubicBezTo>
                    <a:cubicBezTo>
                      <a:pt x="1120" y="878"/>
                      <a:pt x="1120" y="878"/>
                      <a:pt x="1120" y="878"/>
                    </a:cubicBezTo>
                    <a:cubicBezTo>
                      <a:pt x="1122" y="877"/>
                      <a:pt x="1122" y="877"/>
                      <a:pt x="1122" y="877"/>
                    </a:cubicBezTo>
                    <a:cubicBezTo>
                      <a:pt x="1122" y="457"/>
                      <a:pt x="1122" y="457"/>
                      <a:pt x="1122" y="457"/>
                    </a:cubicBezTo>
                    <a:moveTo>
                      <a:pt x="271" y="437"/>
                    </a:moveTo>
                    <a:cubicBezTo>
                      <a:pt x="271" y="437"/>
                      <a:pt x="271" y="437"/>
                      <a:pt x="271" y="437"/>
                    </a:cubicBezTo>
                    <a:cubicBezTo>
                      <a:pt x="265" y="438"/>
                      <a:pt x="265" y="440"/>
                      <a:pt x="265" y="445"/>
                    </a:cubicBezTo>
                    <a:cubicBezTo>
                      <a:pt x="265" y="447"/>
                      <a:pt x="261" y="450"/>
                      <a:pt x="260" y="450"/>
                    </a:cubicBezTo>
                    <a:cubicBezTo>
                      <a:pt x="260" y="450"/>
                      <a:pt x="259" y="450"/>
                      <a:pt x="259" y="450"/>
                    </a:cubicBezTo>
                    <a:cubicBezTo>
                      <a:pt x="258" y="450"/>
                      <a:pt x="258" y="450"/>
                      <a:pt x="257" y="450"/>
                    </a:cubicBezTo>
                    <a:cubicBezTo>
                      <a:pt x="256" y="449"/>
                      <a:pt x="256" y="449"/>
                      <a:pt x="255" y="449"/>
                    </a:cubicBezTo>
                    <a:cubicBezTo>
                      <a:pt x="255" y="449"/>
                      <a:pt x="254" y="449"/>
                      <a:pt x="254" y="449"/>
                    </a:cubicBezTo>
                    <a:cubicBezTo>
                      <a:pt x="255" y="452"/>
                      <a:pt x="257" y="455"/>
                      <a:pt x="259" y="457"/>
                    </a:cubicBezTo>
                    <a:cubicBezTo>
                      <a:pt x="301" y="457"/>
                      <a:pt x="301" y="457"/>
                      <a:pt x="301" y="457"/>
                    </a:cubicBezTo>
                    <a:cubicBezTo>
                      <a:pt x="302" y="456"/>
                      <a:pt x="305" y="456"/>
                      <a:pt x="307" y="456"/>
                    </a:cubicBezTo>
                    <a:cubicBezTo>
                      <a:pt x="308" y="456"/>
                      <a:pt x="309" y="456"/>
                      <a:pt x="309" y="456"/>
                    </a:cubicBezTo>
                    <a:cubicBezTo>
                      <a:pt x="309" y="455"/>
                      <a:pt x="309" y="455"/>
                      <a:pt x="310" y="454"/>
                    </a:cubicBezTo>
                    <a:cubicBezTo>
                      <a:pt x="303" y="450"/>
                      <a:pt x="296" y="447"/>
                      <a:pt x="289" y="444"/>
                    </a:cubicBezTo>
                    <a:cubicBezTo>
                      <a:pt x="285" y="442"/>
                      <a:pt x="281" y="440"/>
                      <a:pt x="276" y="439"/>
                    </a:cubicBezTo>
                    <a:cubicBezTo>
                      <a:pt x="275" y="438"/>
                      <a:pt x="273" y="437"/>
                      <a:pt x="271" y="437"/>
                    </a:cubicBezTo>
                    <a:moveTo>
                      <a:pt x="448" y="271"/>
                    </a:moveTo>
                    <a:cubicBezTo>
                      <a:pt x="453" y="277"/>
                      <a:pt x="458" y="281"/>
                      <a:pt x="466" y="283"/>
                    </a:cubicBezTo>
                    <a:cubicBezTo>
                      <a:pt x="468" y="284"/>
                      <a:pt x="472" y="286"/>
                      <a:pt x="474" y="289"/>
                    </a:cubicBezTo>
                    <a:cubicBezTo>
                      <a:pt x="476" y="290"/>
                      <a:pt x="476" y="292"/>
                      <a:pt x="477" y="295"/>
                    </a:cubicBezTo>
                    <a:cubicBezTo>
                      <a:pt x="477" y="295"/>
                      <a:pt x="479" y="299"/>
                      <a:pt x="479" y="300"/>
                    </a:cubicBezTo>
                    <a:cubicBezTo>
                      <a:pt x="479" y="302"/>
                      <a:pt x="479" y="301"/>
                      <a:pt x="477" y="302"/>
                    </a:cubicBezTo>
                    <a:cubicBezTo>
                      <a:pt x="476" y="303"/>
                      <a:pt x="473" y="303"/>
                      <a:pt x="473" y="304"/>
                    </a:cubicBezTo>
                    <a:cubicBezTo>
                      <a:pt x="471" y="307"/>
                      <a:pt x="475" y="307"/>
                      <a:pt x="475" y="307"/>
                    </a:cubicBezTo>
                    <a:cubicBezTo>
                      <a:pt x="475" y="309"/>
                      <a:pt x="473" y="309"/>
                      <a:pt x="471" y="310"/>
                    </a:cubicBezTo>
                    <a:cubicBezTo>
                      <a:pt x="470" y="313"/>
                      <a:pt x="471" y="318"/>
                      <a:pt x="470" y="320"/>
                    </a:cubicBezTo>
                    <a:cubicBezTo>
                      <a:pt x="468" y="325"/>
                      <a:pt x="461" y="332"/>
                      <a:pt x="462" y="337"/>
                    </a:cubicBezTo>
                    <a:cubicBezTo>
                      <a:pt x="462" y="342"/>
                      <a:pt x="468" y="343"/>
                      <a:pt x="471" y="344"/>
                    </a:cubicBezTo>
                    <a:cubicBezTo>
                      <a:pt x="473" y="345"/>
                      <a:pt x="474" y="347"/>
                      <a:pt x="477" y="348"/>
                    </a:cubicBezTo>
                    <a:cubicBezTo>
                      <a:pt x="477" y="348"/>
                      <a:pt x="477" y="349"/>
                      <a:pt x="478" y="349"/>
                    </a:cubicBezTo>
                    <a:cubicBezTo>
                      <a:pt x="478" y="349"/>
                      <a:pt x="478" y="348"/>
                      <a:pt x="478" y="348"/>
                    </a:cubicBezTo>
                    <a:cubicBezTo>
                      <a:pt x="478" y="348"/>
                      <a:pt x="479" y="348"/>
                      <a:pt x="479" y="348"/>
                    </a:cubicBezTo>
                    <a:cubicBezTo>
                      <a:pt x="479" y="348"/>
                      <a:pt x="480" y="349"/>
                      <a:pt x="480" y="350"/>
                    </a:cubicBezTo>
                    <a:cubicBezTo>
                      <a:pt x="481" y="352"/>
                      <a:pt x="482" y="354"/>
                      <a:pt x="483" y="356"/>
                    </a:cubicBezTo>
                    <a:cubicBezTo>
                      <a:pt x="484" y="360"/>
                      <a:pt x="485" y="367"/>
                      <a:pt x="483" y="371"/>
                    </a:cubicBezTo>
                    <a:cubicBezTo>
                      <a:pt x="478" y="377"/>
                      <a:pt x="469" y="385"/>
                      <a:pt x="471" y="394"/>
                    </a:cubicBezTo>
                    <a:cubicBezTo>
                      <a:pt x="472" y="395"/>
                      <a:pt x="473" y="395"/>
                      <a:pt x="473" y="397"/>
                    </a:cubicBezTo>
                    <a:cubicBezTo>
                      <a:pt x="473" y="398"/>
                      <a:pt x="472" y="399"/>
                      <a:pt x="472" y="400"/>
                    </a:cubicBezTo>
                    <a:cubicBezTo>
                      <a:pt x="472" y="402"/>
                      <a:pt x="474" y="403"/>
                      <a:pt x="474" y="406"/>
                    </a:cubicBezTo>
                    <a:cubicBezTo>
                      <a:pt x="473" y="405"/>
                      <a:pt x="470" y="402"/>
                      <a:pt x="470" y="400"/>
                    </a:cubicBezTo>
                    <a:cubicBezTo>
                      <a:pt x="469" y="398"/>
                      <a:pt x="470" y="398"/>
                      <a:pt x="469" y="396"/>
                    </a:cubicBezTo>
                    <a:cubicBezTo>
                      <a:pt x="468" y="393"/>
                      <a:pt x="466" y="392"/>
                      <a:pt x="464" y="392"/>
                    </a:cubicBezTo>
                    <a:cubicBezTo>
                      <a:pt x="460" y="392"/>
                      <a:pt x="456" y="395"/>
                      <a:pt x="454" y="397"/>
                    </a:cubicBezTo>
                    <a:cubicBezTo>
                      <a:pt x="455" y="398"/>
                      <a:pt x="456" y="399"/>
                      <a:pt x="455" y="401"/>
                    </a:cubicBezTo>
                    <a:cubicBezTo>
                      <a:pt x="454" y="400"/>
                      <a:pt x="449" y="397"/>
                      <a:pt x="449" y="396"/>
                    </a:cubicBezTo>
                    <a:cubicBezTo>
                      <a:pt x="449" y="396"/>
                      <a:pt x="452" y="394"/>
                      <a:pt x="452" y="394"/>
                    </a:cubicBezTo>
                    <a:cubicBezTo>
                      <a:pt x="454" y="393"/>
                      <a:pt x="460" y="390"/>
                      <a:pt x="460" y="389"/>
                    </a:cubicBezTo>
                    <a:cubicBezTo>
                      <a:pt x="461" y="386"/>
                      <a:pt x="455" y="385"/>
                      <a:pt x="453" y="384"/>
                    </a:cubicBezTo>
                    <a:cubicBezTo>
                      <a:pt x="452" y="384"/>
                      <a:pt x="451" y="384"/>
                      <a:pt x="451" y="383"/>
                    </a:cubicBezTo>
                    <a:cubicBezTo>
                      <a:pt x="450" y="383"/>
                      <a:pt x="450" y="382"/>
                      <a:pt x="450" y="381"/>
                    </a:cubicBezTo>
                    <a:cubicBezTo>
                      <a:pt x="448" y="380"/>
                      <a:pt x="446" y="380"/>
                      <a:pt x="443" y="380"/>
                    </a:cubicBezTo>
                    <a:cubicBezTo>
                      <a:pt x="436" y="380"/>
                      <a:pt x="432" y="379"/>
                      <a:pt x="426" y="377"/>
                    </a:cubicBezTo>
                    <a:cubicBezTo>
                      <a:pt x="424" y="377"/>
                      <a:pt x="422" y="375"/>
                      <a:pt x="420" y="375"/>
                    </a:cubicBezTo>
                    <a:cubicBezTo>
                      <a:pt x="419" y="375"/>
                      <a:pt x="419" y="375"/>
                      <a:pt x="418" y="376"/>
                    </a:cubicBezTo>
                    <a:cubicBezTo>
                      <a:pt x="413" y="379"/>
                      <a:pt x="409" y="385"/>
                      <a:pt x="404" y="389"/>
                    </a:cubicBezTo>
                    <a:cubicBezTo>
                      <a:pt x="400" y="393"/>
                      <a:pt x="396" y="394"/>
                      <a:pt x="390" y="396"/>
                    </a:cubicBezTo>
                    <a:cubicBezTo>
                      <a:pt x="383" y="399"/>
                      <a:pt x="375" y="401"/>
                      <a:pt x="369" y="406"/>
                    </a:cubicBezTo>
                    <a:cubicBezTo>
                      <a:pt x="363" y="410"/>
                      <a:pt x="356" y="414"/>
                      <a:pt x="350" y="419"/>
                    </a:cubicBezTo>
                    <a:cubicBezTo>
                      <a:pt x="341" y="426"/>
                      <a:pt x="354" y="437"/>
                      <a:pt x="360" y="443"/>
                    </a:cubicBezTo>
                    <a:cubicBezTo>
                      <a:pt x="364" y="448"/>
                      <a:pt x="366" y="451"/>
                      <a:pt x="367" y="457"/>
                    </a:cubicBezTo>
                    <a:cubicBezTo>
                      <a:pt x="560" y="457"/>
                      <a:pt x="560" y="457"/>
                      <a:pt x="560" y="457"/>
                    </a:cubicBezTo>
                    <a:cubicBezTo>
                      <a:pt x="560" y="358"/>
                      <a:pt x="560" y="358"/>
                      <a:pt x="560" y="358"/>
                    </a:cubicBezTo>
                    <a:cubicBezTo>
                      <a:pt x="558" y="359"/>
                      <a:pt x="555" y="359"/>
                      <a:pt x="552" y="360"/>
                    </a:cubicBezTo>
                    <a:cubicBezTo>
                      <a:pt x="550" y="360"/>
                      <a:pt x="547" y="360"/>
                      <a:pt x="544" y="361"/>
                    </a:cubicBezTo>
                    <a:cubicBezTo>
                      <a:pt x="541" y="362"/>
                      <a:pt x="540" y="364"/>
                      <a:pt x="537" y="365"/>
                    </a:cubicBezTo>
                    <a:cubicBezTo>
                      <a:pt x="540" y="362"/>
                      <a:pt x="545" y="359"/>
                      <a:pt x="540" y="359"/>
                    </a:cubicBezTo>
                    <a:cubicBezTo>
                      <a:pt x="539" y="359"/>
                      <a:pt x="539" y="359"/>
                      <a:pt x="538" y="360"/>
                    </a:cubicBezTo>
                    <a:cubicBezTo>
                      <a:pt x="535" y="360"/>
                      <a:pt x="532" y="361"/>
                      <a:pt x="529" y="361"/>
                    </a:cubicBezTo>
                    <a:cubicBezTo>
                      <a:pt x="528" y="361"/>
                      <a:pt x="527" y="361"/>
                      <a:pt x="527" y="361"/>
                    </a:cubicBezTo>
                    <a:cubicBezTo>
                      <a:pt x="522" y="360"/>
                      <a:pt x="519" y="355"/>
                      <a:pt x="517" y="352"/>
                    </a:cubicBezTo>
                    <a:cubicBezTo>
                      <a:pt x="513" y="346"/>
                      <a:pt x="508" y="342"/>
                      <a:pt x="502" y="339"/>
                    </a:cubicBezTo>
                    <a:cubicBezTo>
                      <a:pt x="497" y="338"/>
                      <a:pt x="494" y="335"/>
                      <a:pt x="496" y="330"/>
                    </a:cubicBezTo>
                    <a:cubicBezTo>
                      <a:pt x="497" y="327"/>
                      <a:pt x="500" y="325"/>
                      <a:pt x="503" y="324"/>
                    </a:cubicBezTo>
                    <a:cubicBezTo>
                      <a:pt x="506" y="323"/>
                      <a:pt x="508" y="323"/>
                      <a:pt x="507" y="319"/>
                    </a:cubicBezTo>
                    <a:cubicBezTo>
                      <a:pt x="506" y="316"/>
                      <a:pt x="515" y="315"/>
                      <a:pt x="516" y="315"/>
                    </a:cubicBezTo>
                    <a:cubicBezTo>
                      <a:pt x="521" y="315"/>
                      <a:pt x="527" y="315"/>
                      <a:pt x="532" y="313"/>
                    </a:cubicBezTo>
                    <a:cubicBezTo>
                      <a:pt x="534" y="313"/>
                      <a:pt x="535" y="313"/>
                      <a:pt x="537" y="313"/>
                    </a:cubicBezTo>
                    <a:cubicBezTo>
                      <a:pt x="537" y="313"/>
                      <a:pt x="538" y="313"/>
                      <a:pt x="539" y="313"/>
                    </a:cubicBezTo>
                    <a:cubicBezTo>
                      <a:pt x="540" y="313"/>
                      <a:pt x="542" y="314"/>
                      <a:pt x="544" y="314"/>
                    </a:cubicBezTo>
                    <a:cubicBezTo>
                      <a:pt x="544" y="314"/>
                      <a:pt x="545" y="313"/>
                      <a:pt x="546" y="313"/>
                    </a:cubicBezTo>
                    <a:cubicBezTo>
                      <a:pt x="548" y="310"/>
                      <a:pt x="543" y="306"/>
                      <a:pt x="542" y="304"/>
                    </a:cubicBezTo>
                    <a:cubicBezTo>
                      <a:pt x="540" y="300"/>
                      <a:pt x="541" y="298"/>
                      <a:pt x="537" y="295"/>
                    </a:cubicBezTo>
                    <a:cubicBezTo>
                      <a:pt x="533" y="292"/>
                      <a:pt x="528" y="290"/>
                      <a:pt x="526" y="286"/>
                    </a:cubicBezTo>
                    <a:cubicBezTo>
                      <a:pt x="524" y="284"/>
                      <a:pt x="523" y="282"/>
                      <a:pt x="526" y="282"/>
                    </a:cubicBezTo>
                    <a:cubicBezTo>
                      <a:pt x="500" y="278"/>
                      <a:pt x="474" y="275"/>
                      <a:pt x="448" y="271"/>
                    </a:cubicBezTo>
                    <a:moveTo>
                      <a:pt x="128" y="206"/>
                    </a:moveTo>
                    <a:cubicBezTo>
                      <a:pt x="128" y="206"/>
                      <a:pt x="127" y="206"/>
                      <a:pt x="127" y="206"/>
                    </a:cubicBezTo>
                    <a:cubicBezTo>
                      <a:pt x="123" y="207"/>
                      <a:pt x="127" y="210"/>
                      <a:pt x="129" y="212"/>
                    </a:cubicBezTo>
                    <a:cubicBezTo>
                      <a:pt x="129" y="213"/>
                      <a:pt x="131" y="214"/>
                      <a:pt x="130" y="215"/>
                    </a:cubicBezTo>
                    <a:cubicBezTo>
                      <a:pt x="130" y="216"/>
                      <a:pt x="130" y="216"/>
                      <a:pt x="130" y="216"/>
                    </a:cubicBezTo>
                    <a:cubicBezTo>
                      <a:pt x="129" y="216"/>
                      <a:pt x="128" y="215"/>
                      <a:pt x="128" y="215"/>
                    </a:cubicBezTo>
                    <a:cubicBezTo>
                      <a:pt x="126" y="214"/>
                      <a:pt x="124" y="212"/>
                      <a:pt x="122" y="212"/>
                    </a:cubicBezTo>
                    <a:cubicBezTo>
                      <a:pt x="122" y="212"/>
                      <a:pt x="122" y="212"/>
                      <a:pt x="122" y="212"/>
                    </a:cubicBezTo>
                    <a:cubicBezTo>
                      <a:pt x="118" y="213"/>
                      <a:pt x="121" y="215"/>
                      <a:pt x="120" y="216"/>
                    </a:cubicBezTo>
                    <a:cubicBezTo>
                      <a:pt x="119" y="218"/>
                      <a:pt x="117" y="218"/>
                      <a:pt x="114" y="218"/>
                    </a:cubicBezTo>
                    <a:cubicBezTo>
                      <a:pt x="109" y="218"/>
                      <a:pt x="102" y="217"/>
                      <a:pt x="98" y="216"/>
                    </a:cubicBezTo>
                    <a:cubicBezTo>
                      <a:pt x="98" y="217"/>
                      <a:pt x="98" y="217"/>
                      <a:pt x="98" y="217"/>
                    </a:cubicBezTo>
                    <a:cubicBezTo>
                      <a:pt x="99" y="220"/>
                      <a:pt x="100" y="224"/>
                      <a:pt x="98" y="226"/>
                    </a:cubicBezTo>
                    <a:cubicBezTo>
                      <a:pt x="96" y="228"/>
                      <a:pt x="95" y="229"/>
                      <a:pt x="92" y="229"/>
                    </a:cubicBezTo>
                    <a:cubicBezTo>
                      <a:pt x="92" y="229"/>
                      <a:pt x="92" y="229"/>
                      <a:pt x="92" y="229"/>
                    </a:cubicBezTo>
                    <a:cubicBezTo>
                      <a:pt x="91" y="229"/>
                      <a:pt x="91" y="229"/>
                      <a:pt x="91" y="229"/>
                    </a:cubicBezTo>
                    <a:cubicBezTo>
                      <a:pt x="90" y="229"/>
                      <a:pt x="90" y="229"/>
                      <a:pt x="89" y="229"/>
                    </a:cubicBezTo>
                    <a:cubicBezTo>
                      <a:pt x="89" y="229"/>
                      <a:pt x="89" y="229"/>
                      <a:pt x="89" y="229"/>
                    </a:cubicBezTo>
                    <a:cubicBezTo>
                      <a:pt x="88" y="229"/>
                      <a:pt x="88" y="229"/>
                      <a:pt x="88" y="229"/>
                    </a:cubicBezTo>
                    <a:cubicBezTo>
                      <a:pt x="85" y="228"/>
                      <a:pt x="82" y="227"/>
                      <a:pt x="80" y="226"/>
                    </a:cubicBezTo>
                    <a:cubicBezTo>
                      <a:pt x="78" y="225"/>
                      <a:pt x="78" y="225"/>
                      <a:pt x="78" y="225"/>
                    </a:cubicBezTo>
                    <a:cubicBezTo>
                      <a:pt x="78" y="225"/>
                      <a:pt x="78" y="225"/>
                      <a:pt x="78" y="225"/>
                    </a:cubicBezTo>
                    <a:cubicBezTo>
                      <a:pt x="77" y="227"/>
                      <a:pt x="77" y="228"/>
                      <a:pt x="76" y="229"/>
                    </a:cubicBezTo>
                    <a:cubicBezTo>
                      <a:pt x="73" y="234"/>
                      <a:pt x="71" y="237"/>
                      <a:pt x="64" y="238"/>
                    </a:cubicBezTo>
                    <a:cubicBezTo>
                      <a:pt x="62" y="239"/>
                      <a:pt x="62" y="239"/>
                      <a:pt x="62" y="239"/>
                    </a:cubicBezTo>
                    <a:cubicBezTo>
                      <a:pt x="60" y="239"/>
                      <a:pt x="58" y="239"/>
                      <a:pt x="56" y="240"/>
                    </a:cubicBezTo>
                    <a:cubicBezTo>
                      <a:pt x="55" y="240"/>
                      <a:pt x="55" y="240"/>
                      <a:pt x="55" y="240"/>
                    </a:cubicBezTo>
                    <a:cubicBezTo>
                      <a:pt x="55" y="241"/>
                      <a:pt x="55" y="241"/>
                      <a:pt x="55" y="241"/>
                    </a:cubicBezTo>
                    <a:cubicBezTo>
                      <a:pt x="53" y="241"/>
                      <a:pt x="49" y="246"/>
                      <a:pt x="48" y="250"/>
                    </a:cubicBezTo>
                    <a:cubicBezTo>
                      <a:pt x="46" y="252"/>
                      <a:pt x="46" y="252"/>
                      <a:pt x="46" y="252"/>
                    </a:cubicBezTo>
                    <a:cubicBezTo>
                      <a:pt x="46" y="257"/>
                      <a:pt x="42" y="258"/>
                      <a:pt x="40" y="259"/>
                    </a:cubicBezTo>
                    <a:cubicBezTo>
                      <a:pt x="40" y="259"/>
                      <a:pt x="39" y="259"/>
                      <a:pt x="38" y="260"/>
                    </a:cubicBezTo>
                    <a:cubicBezTo>
                      <a:pt x="38" y="261"/>
                      <a:pt x="38" y="261"/>
                      <a:pt x="38" y="261"/>
                    </a:cubicBezTo>
                    <a:cubicBezTo>
                      <a:pt x="38" y="265"/>
                      <a:pt x="36" y="268"/>
                      <a:pt x="35" y="271"/>
                    </a:cubicBezTo>
                    <a:cubicBezTo>
                      <a:pt x="35" y="273"/>
                      <a:pt x="35" y="273"/>
                      <a:pt x="35" y="273"/>
                    </a:cubicBezTo>
                    <a:cubicBezTo>
                      <a:pt x="35" y="274"/>
                      <a:pt x="34" y="275"/>
                      <a:pt x="34" y="276"/>
                    </a:cubicBezTo>
                    <a:cubicBezTo>
                      <a:pt x="33" y="277"/>
                      <a:pt x="32" y="280"/>
                      <a:pt x="32" y="281"/>
                    </a:cubicBezTo>
                    <a:cubicBezTo>
                      <a:pt x="33" y="282"/>
                      <a:pt x="33" y="284"/>
                      <a:pt x="34" y="285"/>
                    </a:cubicBezTo>
                    <a:cubicBezTo>
                      <a:pt x="34" y="288"/>
                      <a:pt x="35" y="291"/>
                      <a:pt x="37" y="292"/>
                    </a:cubicBezTo>
                    <a:cubicBezTo>
                      <a:pt x="38" y="293"/>
                      <a:pt x="43" y="294"/>
                      <a:pt x="45" y="295"/>
                    </a:cubicBezTo>
                    <a:cubicBezTo>
                      <a:pt x="46" y="295"/>
                      <a:pt x="47" y="295"/>
                      <a:pt x="47" y="295"/>
                    </a:cubicBezTo>
                    <a:cubicBezTo>
                      <a:pt x="48" y="295"/>
                      <a:pt x="49" y="295"/>
                      <a:pt x="49" y="295"/>
                    </a:cubicBezTo>
                    <a:cubicBezTo>
                      <a:pt x="55" y="297"/>
                      <a:pt x="58" y="301"/>
                      <a:pt x="60" y="305"/>
                    </a:cubicBezTo>
                    <a:cubicBezTo>
                      <a:pt x="62" y="308"/>
                      <a:pt x="63" y="310"/>
                      <a:pt x="65" y="311"/>
                    </a:cubicBezTo>
                    <a:cubicBezTo>
                      <a:pt x="66" y="312"/>
                      <a:pt x="66" y="312"/>
                      <a:pt x="66" y="312"/>
                    </a:cubicBezTo>
                    <a:cubicBezTo>
                      <a:pt x="71" y="316"/>
                      <a:pt x="73" y="317"/>
                      <a:pt x="74" y="320"/>
                    </a:cubicBezTo>
                    <a:cubicBezTo>
                      <a:pt x="74" y="321"/>
                      <a:pt x="74" y="321"/>
                      <a:pt x="74" y="321"/>
                    </a:cubicBezTo>
                    <a:cubicBezTo>
                      <a:pt x="73" y="323"/>
                      <a:pt x="73" y="323"/>
                      <a:pt x="73" y="323"/>
                    </a:cubicBezTo>
                    <a:cubicBezTo>
                      <a:pt x="48" y="356"/>
                      <a:pt x="48" y="356"/>
                      <a:pt x="48" y="356"/>
                    </a:cubicBezTo>
                    <a:cubicBezTo>
                      <a:pt x="48" y="356"/>
                      <a:pt x="48" y="356"/>
                      <a:pt x="48" y="356"/>
                    </a:cubicBezTo>
                    <a:cubicBezTo>
                      <a:pt x="48" y="357"/>
                      <a:pt x="48" y="358"/>
                      <a:pt x="48" y="358"/>
                    </a:cubicBezTo>
                    <a:cubicBezTo>
                      <a:pt x="49" y="359"/>
                      <a:pt x="49" y="360"/>
                      <a:pt x="50" y="360"/>
                    </a:cubicBezTo>
                    <a:cubicBezTo>
                      <a:pt x="51" y="361"/>
                      <a:pt x="52" y="362"/>
                      <a:pt x="52" y="362"/>
                    </a:cubicBezTo>
                    <a:cubicBezTo>
                      <a:pt x="53" y="363"/>
                      <a:pt x="54" y="364"/>
                      <a:pt x="55" y="366"/>
                    </a:cubicBezTo>
                    <a:cubicBezTo>
                      <a:pt x="57" y="369"/>
                      <a:pt x="60" y="373"/>
                      <a:pt x="62" y="377"/>
                    </a:cubicBezTo>
                    <a:cubicBezTo>
                      <a:pt x="79" y="419"/>
                      <a:pt x="79" y="419"/>
                      <a:pt x="79" y="419"/>
                    </a:cubicBezTo>
                    <a:cubicBezTo>
                      <a:pt x="75" y="419"/>
                      <a:pt x="75" y="419"/>
                      <a:pt x="75" y="419"/>
                    </a:cubicBezTo>
                    <a:cubicBezTo>
                      <a:pt x="74" y="419"/>
                      <a:pt x="73" y="419"/>
                      <a:pt x="71" y="419"/>
                    </a:cubicBezTo>
                    <a:cubicBezTo>
                      <a:pt x="71" y="419"/>
                      <a:pt x="71" y="419"/>
                      <a:pt x="71" y="419"/>
                    </a:cubicBezTo>
                    <a:cubicBezTo>
                      <a:pt x="70" y="419"/>
                      <a:pt x="69" y="420"/>
                      <a:pt x="68" y="420"/>
                    </a:cubicBezTo>
                    <a:cubicBezTo>
                      <a:pt x="68" y="420"/>
                      <a:pt x="68" y="420"/>
                      <a:pt x="68" y="420"/>
                    </a:cubicBezTo>
                    <a:cubicBezTo>
                      <a:pt x="68" y="424"/>
                      <a:pt x="66" y="428"/>
                      <a:pt x="65" y="431"/>
                    </a:cubicBezTo>
                    <a:cubicBezTo>
                      <a:pt x="64" y="432"/>
                      <a:pt x="64" y="432"/>
                      <a:pt x="64" y="432"/>
                    </a:cubicBezTo>
                    <a:cubicBezTo>
                      <a:pt x="64" y="433"/>
                      <a:pt x="64" y="433"/>
                      <a:pt x="64" y="433"/>
                    </a:cubicBezTo>
                    <a:cubicBezTo>
                      <a:pt x="64" y="433"/>
                      <a:pt x="65" y="434"/>
                      <a:pt x="66" y="434"/>
                    </a:cubicBezTo>
                    <a:cubicBezTo>
                      <a:pt x="67" y="436"/>
                      <a:pt x="70" y="438"/>
                      <a:pt x="69" y="441"/>
                    </a:cubicBezTo>
                    <a:cubicBezTo>
                      <a:pt x="69" y="444"/>
                      <a:pt x="67" y="445"/>
                      <a:pt x="66" y="446"/>
                    </a:cubicBezTo>
                    <a:cubicBezTo>
                      <a:pt x="64" y="447"/>
                      <a:pt x="64" y="447"/>
                      <a:pt x="64" y="448"/>
                    </a:cubicBezTo>
                    <a:cubicBezTo>
                      <a:pt x="64" y="450"/>
                      <a:pt x="66" y="452"/>
                      <a:pt x="68" y="453"/>
                    </a:cubicBezTo>
                    <a:cubicBezTo>
                      <a:pt x="72" y="453"/>
                      <a:pt x="74" y="454"/>
                      <a:pt x="77" y="457"/>
                    </a:cubicBezTo>
                    <a:cubicBezTo>
                      <a:pt x="213" y="457"/>
                      <a:pt x="213" y="457"/>
                      <a:pt x="213" y="457"/>
                    </a:cubicBezTo>
                    <a:cubicBezTo>
                      <a:pt x="213" y="457"/>
                      <a:pt x="213" y="457"/>
                      <a:pt x="213" y="457"/>
                    </a:cubicBezTo>
                    <a:cubicBezTo>
                      <a:pt x="212" y="457"/>
                      <a:pt x="211" y="456"/>
                      <a:pt x="210" y="456"/>
                    </a:cubicBezTo>
                    <a:cubicBezTo>
                      <a:pt x="209" y="456"/>
                      <a:pt x="208" y="457"/>
                      <a:pt x="207" y="457"/>
                    </a:cubicBezTo>
                    <a:cubicBezTo>
                      <a:pt x="208" y="456"/>
                      <a:pt x="210" y="455"/>
                      <a:pt x="211" y="454"/>
                    </a:cubicBezTo>
                    <a:cubicBezTo>
                      <a:pt x="207" y="449"/>
                      <a:pt x="205" y="446"/>
                      <a:pt x="203" y="439"/>
                    </a:cubicBezTo>
                    <a:cubicBezTo>
                      <a:pt x="202" y="434"/>
                      <a:pt x="197" y="432"/>
                      <a:pt x="194" y="428"/>
                    </a:cubicBezTo>
                    <a:cubicBezTo>
                      <a:pt x="195" y="428"/>
                      <a:pt x="195" y="428"/>
                      <a:pt x="196" y="427"/>
                    </a:cubicBezTo>
                    <a:cubicBezTo>
                      <a:pt x="197" y="427"/>
                      <a:pt x="198" y="426"/>
                      <a:pt x="199" y="426"/>
                    </a:cubicBezTo>
                    <a:cubicBezTo>
                      <a:pt x="199" y="426"/>
                      <a:pt x="199" y="426"/>
                      <a:pt x="199" y="426"/>
                    </a:cubicBezTo>
                    <a:cubicBezTo>
                      <a:pt x="200" y="426"/>
                      <a:pt x="200" y="426"/>
                      <a:pt x="200" y="426"/>
                    </a:cubicBezTo>
                    <a:cubicBezTo>
                      <a:pt x="201" y="426"/>
                      <a:pt x="201" y="426"/>
                      <a:pt x="201" y="426"/>
                    </a:cubicBezTo>
                    <a:cubicBezTo>
                      <a:pt x="201" y="426"/>
                      <a:pt x="202" y="426"/>
                      <a:pt x="202" y="426"/>
                    </a:cubicBezTo>
                    <a:cubicBezTo>
                      <a:pt x="203" y="425"/>
                      <a:pt x="203" y="420"/>
                      <a:pt x="203" y="419"/>
                    </a:cubicBezTo>
                    <a:cubicBezTo>
                      <a:pt x="203" y="416"/>
                      <a:pt x="204" y="413"/>
                      <a:pt x="204" y="410"/>
                    </a:cubicBezTo>
                    <a:cubicBezTo>
                      <a:pt x="204" y="410"/>
                      <a:pt x="204" y="409"/>
                      <a:pt x="204" y="409"/>
                    </a:cubicBezTo>
                    <a:cubicBezTo>
                      <a:pt x="205" y="409"/>
                      <a:pt x="206" y="410"/>
                      <a:pt x="206" y="411"/>
                    </a:cubicBezTo>
                    <a:cubicBezTo>
                      <a:pt x="207" y="411"/>
                      <a:pt x="209" y="413"/>
                      <a:pt x="211" y="413"/>
                    </a:cubicBezTo>
                    <a:cubicBezTo>
                      <a:pt x="211" y="413"/>
                      <a:pt x="211" y="412"/>
                      <a:pt x="211" y="411"/>
                    </a:cubicBezTo>
                    <a:cubicBezTo>
                      <a:pt x="209" y="405"/>
                      <a:pt x="205" y="401"/>
                      <a:pt x="201" y="396"/>
                    </a:cubicBezTo>
                    <a:cubicBezTo>
                      <a:pt x="198" y="393"/>
                      <a:pt x="187" y="392"/>
                      <a:pt x="183" y="391"/>
                    </a:cubicBezTo>
                    <a:cubicBezTo>
                      <a:pt x="177" y="389"/>
                      <a:pt x="171" y="387"/>
                      <a:pt x="165" y="385"/>
                    </a:cubicBezTo>
                    <a:cubicBezTo>
                      <a:pt x="167" y="384"/>
                      <a:pt x="178" y="383"/>
                      <a:pt x="176" y="379"/>
                    </a:cubicBezTo>
                    <a:cubicBezTo>
                      <a:pt x="173" y="375"/>
                      <a:pt x="160" y="376"/>
                      <a:pt x="156" y="375"/>
                    </a:cubicBezTo>
                    <a:cubicBezTo>
                      <a:pt x="158" y="374"/>
                      <a:pt x="159" y="374"/>
                      <a:pt x="161" y="374"/>
                    </a:cubicBezTo>
                    <a:cubicBezTo>
                      <a:pt x="158" y="373"/>
                      <a:pt x="155" y="373"/>
                      <a:pt x="152" y="372"/>
                    </a:cubicBezTo>
                    <a:cubicBezTo>
                      <a:pt x="156" y="371"/>
                      <a:pt x="161" y="371"/>
                      <a:pt x="164" y="369"/>
                    </a:cubicBezTo>
                    <a:cubicBezTo>
                      <a:pt x="163" y="368"/>
                      <a:pt x="161" y="368"/>
                      <a:pt x="160" y="368"/>
                    </a:cubicBezTo>
                    <a:cubicBezTo>
                      <a:pt x="159" y="368"/>
                      <a:pt x="159" y="368"/>
                      <a:pt x="159" y="368"/>
                    </a:cubicBezTo>
                    <a:cubicBezTo>
                      <a:pt x="158" y="368"/>
                      <a:pt x="158" y="368"/>
                      <a:pt x="158" y="368"/>
                    </a:cubicBezTo>
                    <a:cubicBezTo>
                      <a:pt x="157" y="368"/>
                      <a:pt x="156" y="368"/>
                      <a:pt x="155" y="367"/>
                    </a:cubicBezTo>
                    <a:cubicBezTo>
                      <a:pt x="154" y="367"/>
                      <a:pt x="153" y="366"/>
                      <a:pt x="151" y="366"/>
                    </a:cubicBezTo>
                    <a:cubicBezTo>
                      <a:pt x="149" y="365"/>
                      <a:pt x="153" y="364"/>
                      <a:pt x="152" y="364"/>
                    </a:cubicBezTo>
                    <a:cubicBezTo>
                      <a:pt x="151" y="362"/>
                      <a:pt x="149" y="362"/>
                      <a:pt x="146" y="361"/>
                    </a:cubicBezTo>
                    <a:cubicBezTo>
                      <a:pt x="145" y="361"/>
                      <a:pt x="138" y="358"/>
                      <a:pt x="139" y="355"/>
                    </a:cubicBezTo>
                    <a:cubicBezTo>
                      <a:pt x="142" y="351"/>
                      <a:pt x="142" y="352"/>
                      <a:pt x="139" y="350"/>
                    </a:cubicBezTo>
                    <a:cubicBezTo>
                      <a:pt x="134" y="346"/>
                      <a:pt x="130" y="348"/>
                      <a:pt x="124" y="345"/>
                    </a:cubicBezTo>
                    <a:cubicBezTo>
                      <a:pt x="124" y="345"/>
                      <a:pt x="125" y="345"/>
                      <a:pt x="125" y="345"/>
                    </a:cubicBezTo>
                    <a:cubicBezTo>
                      <a:pt x="127" y="345"/>
                      <a:pt x="128" y="346"/>
                      <a:pt x="130" y="346"/>
                    </a:cubicBezTo>
                    <a:cubicBezTo>
                      <a:pt x="131" y="346"/>
                      <a:pt x="131" y="346"/>
                      <a:pt x="131" y="346"/>
                    </a:cubicBezTo>
                    <a:cubicBezTo>
                      <a:pt x="132" y="346"/>
                      <a:pt x="133" y="346"/>
                      <a:pt x="134" y="346"/>
                    </a:cubicBezTo>
                    <a:cubicBezTo>
                      <a:pt x="135" y="345"/>
                      <a:pt x="137" y="345"/>
                      <a:pt x="138" y="345"/>
                    </a:cubicBezTo>
                    <a:cubicBezTo>
                      <a:pt x="138" y="345"/>
                      <a:pt x="138" y="345"/>
                      <a:pt x="139" y="345"/>
                    </a:cubicBezTo>
                    <a:cubicBezTo>
                      <a:pt x="141" y="345"/>
                      <a:pt x="144" y="346"/>
                      <a:pt x="146" y="347"/>
                    </a:cubicBezTo>
                    <a:cubicBezTo>
                      <a:pt x="149" y="347"/>
                      <a:pt x="153" y="348"/>
                      <a:pt x="155" y="349"/>
                    </a:cubicBezTo>
                    <a:cubicBezTo>
                      <a:pt x="150" y="350"/>
                      <a:pt x="150" y="351"/>
                      <a:pt x="152" y="354"/>
                    </a:cubicBezTo>
                    <a:cubicBezTo>
                      <a:pt x="154" y="356"/>
                      <a:pt x="157" y="358"/>
                      <a:pt x="159" y="359"/>
                    </a:cubicBezTo>
                    <a:cubicBezTo>
                      <a:pt x="162" y="361"/>
                      <a:pt x="167" y="365"/>
                      <a:pt x="171" y="366"/>
                    </a:cubicBezTo>
                    <a:cubicBezTo>
                      <a:pt x="174" y="367"/>
                      <a:pt x="178" y="367"/>
                      <a:pt x="181" y="367"/>
                    </a:cubicBezTo>
                    <a:cubicBezTo>
                      <a:pt x="181" y="367"/>
                      <a:pt x="182" y="367"/>
                      <a:pt x="182" y="367"/>
                    </a:cubicBezTo>
                    <a:cubicBezTo>
                      <a:pt x="185" y="367"/>
                      <a:pt x="184" y="366"/>
                      <a:pt x="188" y="365"/>
                    </a:cubicBezTo>
                    <a:cubicBezTo>
                      <a:pt x="188" y="365"/>
                      <a:pt x="188" y="364"/>
                      <a:pt x="189" y="364"/>
                    </a:cubicBezTo>
                    <a:cubicBezTo>
                      <a:pt x="191" y="364"/>
                      <a:pt x="194" y="367"/>
                      <a:pt x="196" y="368"/>
                    </a:cubicBezTo>
                    <a:cubicBezTo>
                      <a:pt x="200" y="369"/>
                      <a:pt x="198" y="369"/>
                      <a:pt x="198" y="371"/>
                    </a:cubicBezTo>
                    <a:cubicBezTo>
                      <a:pt x="199" y="374"/>
                      <a:pt x="198" y="375"/>
                      <a:pt x="200" y="375"/>
                    </a:cubicBezTo>
                    <a:cubicBezTo>
                      <a:pt x="200" y="375"/>
                      <a:pt x="201" y="375"/>
                      <a:pt x="202" y="375"/>
                    </a:cubicBezTo>
                    <a:cubicBezTo>
                      <a:pt x="204" y="374"/>
                      <a:pt x="208" y="374"/>
                      <a:pt x="211" y="374"/>
                    </a:cubicBezTo>
                    <a:cubicBezTo>
                      <a:pt x="211" y="374"/>
                      <a:pt x="212" y="374"/>
                      <a:pt x="213" y="374"/>
                    </a:cubicBezTo>
                    <a:cubicBezTo>
                      <a:pt x="219" y="375"/>
                      <a:pt x="225" y="377"/>
                      <a:pt x="231" y="378"/>
                    </a:cubicBezTo>
                    <a:cubicBezTo>
                      <a:pt x="253" y="383"/>
                      <a:pt x="276" y="389"/>
                      <a:pt x="299" y="394"/>
                    </a:cubicBezTo>
                    <a:cubicBezTo>
                      <a:pt x="305" y="396"/>
                      <a:pt x="309" y="397"/>
                      <a:pt x="314" y="397"/>
                    </a:cubicBezTo>
                    <a:cubicBezTo>
                      <a:pt x="317" y="397"/>
                      <a:pt x="320" y="396"/>
                      <a:pt x="323" y="396"/>
                    </a:cubicBezTo>
                    <a:cubicBezTo>
                      <a:pt x="327" y="395"/>
                      <a:pt x="330" y="395"/>
                      <a:pt x="334" y="394"/>
                    </a:cubicBezTo>
                    <a:cubicBezTo>
                      <a:pt x="337" y="394"/>
                      <a:pt x="339" y="392"/>
                      <a:pt x="343" y="391"/>
                    </a:cubicBezTo>
                    <a:cubicBezTo>
                      <a:pt x="351" y="389"/>
                      <a:pt x="360" y="387"/>
                      <a:pt x="366" y="381"/>
                    </a:cubicBezTo>
                    <a:cubicBezTo>
                      <a:pt x="373" y="376"/>
                      <a:pt x="379" y="368"/>
                      <a:pt x="385" y="361"/>
                    </a:cubicBezTo>
                    <a:cubicBezTo>
                      <a:pt x="389" y="357"/>
                      <a:pt x="395" y="353"/>
                      <a:pt x="394" y="347"/>
                    </a:cubicBezTo>
                    <a:cubicBezTo>
                      <a:pt x="394" y="343"/>
                      <a:pt x="393" y="343"/>
                      <a:pt x="391" y="342"/>
                    </a:cubicBezTo>
                    <a:cubicBezTo>
                      <a:pt x="388" y="341"/>
                      <a:pt x="387" y="342"/>
                      <a:pt x="387" y="337"/>
                    </a:cubicBezTo>
                    <a:cubicBezTo>
                      <a:pt x="388" y="335"/>
                      <a:pt x="388" y="333"/>
                      <a:pt x="386" y="331"/>
                    </a:cubicBezTo>
                    <a:cubicBezTo>
                      <a:pt x="386" y="330"/>
                      <a:pt x="385" y="330"/>
                      <a:pt x="385" y="330"/>
                    </a:cubicBezTo>
                    <a:cubicBezTo>
                      <a:pt x="385" y="330"/>
                      <a:pt x="384" y="330"/>
                      <a:pt x="384" y="330"/>
                    </a:cubicBezTo>
                    <a:cubicBezTo>
                      <a:pt x="384" y="330"/>
                      <a:pt x="384" y="330"/>
                      <a:pt x="384" y="330"/>
                    </a:cubicBezTo>
                    <a:cubicBezTo>
                      <a:pt x="384" y="330"/>
                      <a:pt x="384" y="329"/>
                      <a:pt x="384" y="326"/>
                    </a:cubicBezTo>
                    <a:cubicBezTo>
                      <a:pt x="383" y="325"/>
                      <a:pt x="384" y="318"/>
                      <a:pt x="383" y="318"/>
                    </a:cubicBezTo>
                    <a:cubicBezTo>
                      <a:pt x="379" y="318"/>
                      <a:pt x="376" y="317"/>
                      <a:pt x="372" y="317"/>
                    </a:cubicBezTo>
                    <a:cubicBezTo>
                      <a:pt x="368" y="316"/>
                      <a:pt x="367" y="315"/>
                      <a:pt x="364" y="312"/>
                    </a:cubicBezTo>
                    <a:cubicBezTo>
                      <a:pt x="360" y="308"/>
                      <a:pt x="356" y="304"/>
                      <a:pt x="352" y="300"/>
                    </a:cubicBezTo>
                    <a:cubicBezTo>
                      <a:pt x="352" y="299"/>
                      <a:pt x="348" y="296"/>
                      <a:pt x="347" y="296"/>
                    </a:cubicBezTo>
                    <a:cubicBezTo>
                      <a:pt x="347" y="296"/>
                      <a:pt x="347" y="296"/>
                      <a:pt x="347" y="297"/>
                    </a:cubicBezTo>
                    <a:cubicBezTo>
                      <a:pt x="347" y="297"/>
                      <a:pt x="349" y="298"/>
                      <a:pt x="349" y="299"/>
                    </a:cubicBezTo>
                    <a:cubicBezTo>
                      <a:pt x="341" y="297"/>
                      <a:pt x="332" y="294"/>
                      <a:pt x="323" y="292"/>
                    </a:cubicBezTo>
                    <a:cubicBezTo>
                      <a:pt x="319" y="290"/>
                      <a:pt x="315" y="289"/>
                      <a:pt x="311" y="288"/>
                    </a:cubicBezTo>
                    <a:cubicBezTo>
                      <a:pt x="308" y="287"/>
                      <a:pt x="307" y="285"/>
                      <a:pt x="305" y="283"/>
                    </a:cubicBezTo>
                    <a:cubicBezTo>
                      <a:pt x="300" y="278"/>
                      <a:pt x="297" y="275"/>
                      <a:pt x="291" y="273"/>
                    </a:cubicBezTo>
                    <a:cubicBezTo>
                      <a:pt x="281" y="268"/>
                      <a:pt x="271" y="264"/>
                      <a:pt x="261" y="259"/>
                    </a:cubicBezTo>
                    <a:cubicBezTo>
                      <a:pt x="251" y="254"/>
                      <a:pt x="241" y="250"/>
                      <a:pt x="230" y="245"/>
                    </a:cubicBezTo>
                    <a:cubicBezTo>
                      <a:pt x="226" y="243"/>
                      <a:pt x="223" y="241"/>
                      <a:pt x="218" y="241"/>
                    </a:cubicBezTo>
                    <a:cubicBezTo>
                      <a:pt x="218" y="241"/>
                      <a:pt x="218" y="241"/>
                      <a:pt x="218" y="241"/>
                    </a:cubicBezTo>
                    <a:cubicBezTo>
                      <a:pt x="217" y="241"/>
                      <a:pt x="217" y="241"/>
                      <a:pt x="217" y="241"/>
                    </a:cubicBezTo>
                    <a:cubicBezTo>
                      <a:pt x="211" y="241"/>
                      <a:pt x="205" y="241"/>
                      <a:pt x="199" y="240"/>
                    </a:cubicBezTo>
                    <a:cubicBezTo>
                      <a:pt x="194" y="239"/>
                      <a:pt x="188" y="238"/>
                      <a:pt x="182" y="238"/>
                    </a:cubicBezTo>
                    <a:cubicBezTo>
                      <a:pt x="181" y="238"/>
                      <a:pt x="181" y="238"/>
                      <a:pt x="180" y="238"/>
                    </a:cubicBezTo>
                    <a:cubicBezTo>
                      <a:pt x="180" y="238"/>
                      <a:pt x="180" y="238"/>
                      <a:pt x="179" y="238"/>
                    </a:cubicBezTo>
                    <a:cubicBezTo>
                      <a:pt x="179" y="238"/>
                      <a:pt x="179" y="238"/>
                      <a:pt x="179" y="238"/>
                    </a:cubicBezTo>
                    <a:cubicBezTo>
                      <a:pt x="178" y="238"/>
                      <a:pt x="178" y="238"/>
                      <a:pt x="178" y="238"/>
                    </a:cubicBezTo>
                    <a:cubicBezTo>
                      <a:pt x="175" y="238"/>
                      <a:pt x="173" y="239"/>
                      <a:pt x="172" y="241"/>
                    </a:cubicBezTo>
                    <a:cubicBezTo>
                      <a:pt x="171" y="245"/>
                      <a:pt x="173" y="245"/>
                      <a:pt x="169" y="248"/>
                    </a:cubicBezTo>
                    <a:cubicBezTo>
                      <a:pt x="168" y="249"/>
                      <a:pt x="168" y="249"/>
                      <a:pt x="167" y="250"/>
                    </a:cubicBezTo>
                    <a:cubicBezTo>
                      <a:pt x="166" y="250"/>
                      <a:pt x="163" y="251"/>
                      <a:pt x="162" y="251"/>
                    </a:cubicBezTo>
                    <a:cubicBezTo>
                      <a:pt x="158" y="252"/>
                      <a:pt x="159" y="253"/>
                      <a:pt x="156" y="257"/>
                    </a:cubicBezTo>
                    <a:cubicBezTo>
                      <a:pt x="156" y="253"/>
                      <a:pt x="157" y="251"/>
                      <a:pt x="161" y="250"/>
                    </a:cubicBezTo>
                    <a:cubicBezTo>
                      <a:pt x="165" y="249"/>
                      <a:pt x="167" y="247"/>
                      <a:pt x="170" y="246"/>
                    </a:cubicBezTo>
                    <a:cubicBezTo>
                      <a:pt x="169" y="245"/>
                      <a:pt x="163" y="243"/>
                      <a:pt x="164" y="241"/>
                    </a:cubicBezTo>
                    <a:cubicBezTo>
                      <a:pt x="164" y="240"/>
                      <a:pt x="166" y="240"/>
                      <a:pt x="167" y="239"/>
                    </a:cubicBezTo>
                    <a:cubicBezTo>
                      <a:pt x="168" y="238"/>
                      <a:pt x="167" y="235"/>
                      <a:pt x="167" y="233"/>
                    </a:cubicBezTo>
                    <a:cubicBezTo>
                      <a:pt x="162" y="235"/>
                      <a:pt x="156" y="238"/>
                      <a:pt x="151" y="239"/>
                    </a:cubicBezTo>
                    <a:cubicBezTo>
                      <a:pt x="153" y="237"/>
                      <a:pt x="149" y="236"/>
                      <a:pt x="147" y="236"/>
                    </a:cubicBezTo>
                    <a:cubicBezTo>
                      <a:pt x="142" y="235"/>
                      <a:pt x="138" y="235"/>
                      <a:pt x="134" y="233"/>
                    </a:cubicBezTo>
                    <a:cubicBezTo>
                      <a:pt x="135" y="231"/>
                      <a:pt x="129" y="229"/>
                      <a:pt x="128" y="227"/>
                    </a:cubicBezTo>
                    <a:cubicBezTo>
                      <a:pt x="127" y="225"/>
                      <a:pt x="130" y="219"/>
                      <a:pt x="132" y="217"/>
                    </a:cubicBezTo>
                    <a:cubicBezTo>
                      <a:pt x="133" y="218"/>
                      <a:pt x="132" y="220"/>
                      <a:pt x="133" y="221"/>
                    </a:cubicBezTo>
                    <a:cubicBezTo>
                      <a:pt x="135" y="223"/>
                      <a:pt x="143" y="223"/>
                      <a:pt x="146" y="224"/>
                    </a:cubicBezTo>
                    <a:cubicBezTo>
                      <a:pt x="147" y="224"/>
                      <a:pt x="150" y="225"/>
                      <a:pt x="153" y="225"/>
                    </a:cubicBezTo>
                    <a:cubicBezTo>
                      <a:pt x="153" y="225"/>
                      <a:pt x="154" y="225"/>
                      <a:pt x="154" y="225"/>
                    </a:cubicBezTo>
                    <a:cubicBezTo>
                      <a:pt x="156" y="224"/>
                      <a:pt x="160" y="219"/>
                      <a:pt x="159" y="218"/>
                    </a:cubicBezTo>
                    <a:cubicBezTo>
                      <a:pt x="159" y="217"/>
                      <a:pt x="152" y="216"/>
                      <a:pt x="151" y="215"/>
                    </a:cubicBezTo>
                    <a:cubicBezTo>
                      <a:pt x="150" y="215"/>
                      <a:pt x="150" y="215"/>
                      <a:pt x="150" y="215"/>
                    </a:cubicBezTo>
                    <a:cubicBezTo>
                      <a:pt x="149" y="215"/>
                      <a:pt x="149" y="215"/>
                      <a:pt x="148" y="216"/>
                    </a:cubicBezTo>
                    <a:cubicBezTo>
                      <a:pt x="147" y="216"/>
                      <a:pt x="147" y="216"/>
                      <a:pt x="146" y="216"/>
                    </a:cubicBezTo>
                    <a:cubicBezTo>
                      <a:pt x="145" y="216"/>
                      <a:pt x="144" y="215"/>
                      <a:pt x="143" y="215"/>
                    </a:cubicBezTo>
                    <a:cubicBezTo>
                      <a:pt x="142" y="214"/>
                      <a:pt x="142" y="213"/>
                      <a:pt x="141" y="212"/>
                    </a:cubicBezTo>
                    <a:cubicBezTo>
                      <a:pt x="139" y="211"/>
                      <a:pt x="138" y="211"/>
                      <a:pt x="137" y="211"/>
                    </a:cubicBezTo>
                    <a:cubicBezTo>
                      <a:pt x="137" y="211"/>
                      <a:pt x="136" y="211"/>
                      <a:pt x="136" y="211"/>
                    </a:cubicBezTo>
                    <a:cubicBezTo>
                      <a:pt x="136" y="211"/>
                      <a:pt x="136" y="211"/>
                      <a:pt x="136" y="211"/>
                    </a:cubicBezTo>
                    <a:cubicBezTo>
                      <a:pt x="134" y="211"/>
                      <a:pt x="133" y="210"/>
                      <a:pt x="132" y="208"/>
                    </a:cubicBezTo>
                    <a:cubicBezTo>
                      <a:pt x="131" y="207"/>
                      <a:pt x="129" y="206"/>
                      <a:pt x="128" y="206"/>
                    </a:cubicBezTo>
                    <a:moveTo>
                      <a:pt x="1682" y="0"/>
                    </a:moveTo>
                    <a:cubicBezTo>
                      <a:pt x="1506" y="16"/>
                      <a:pt x="1506" y="16"/>
                      <a:pt x="1506" y="16"/>
                    </a:cubicBezTo>
                    <a:cubicBezTo>
                      <a:pt x="1506" y="16"/>
                      <a:pt x="1506" y="16"/>
                      <a:pt x="1506" y="16"/>
                    </a:cubicBezTo>
                    <a:cubicBezTo>
                      <a:pt x="1507" y="17"/>
                      <a:pt x="1507" y="17"/>
                      <a:pt x="1507" y="17"/>
                    </a:cubicBezTo>
                    <a:cubicBezTo>
                      <a:pt x="1507" y="18"/>
                      <a:pt x="1507" y="18"/>
                      <a:pt x="1506" y="19"/>
                    </a:cubicBezTo>
                    <a:cubicBezTo>
                      <a:pt x="1506" y="19"/>
                      <a:pt x="1506" y="19"/>
                      <a:pt x="1506" y="19"/>
                    </a:cubicBezTo>
                    <a:cubicBezTo>
                      <a:pt x="1506" y="20"/>
                      <a:pt x="1506" y="20"/>
                      <a:pt x="1506" y="20"/>
                    </a:cubicBezTo>
                    <a:cubicBezTo>
                      <a:pt x="1506" y="20"/>
                      <a:pt x="1506" y="20"/>
                      <a:pt x="1506" y="20"/>
                    </a:cubicBezTo>
                    <a:cubicBezTo>
                      <a:pt x="1507" y="20"/>
                      <a:pt x="1507" y="20"/>
                      <a:pt x="1507" y="20"/>
                    </a:cubicBezTo>
                    <a:cubicBezTo>
                      <a:pt x="1508" y="20"/>
                      <a:pt x="1508" y="20"/>
                      <a:pt x="1508" y="20"/>
                    </a:cubicBezTo>
                    <a:cubicBezTo>
                      <a:pt x="1508" y="20"/>
                      <a:pt x="1508" y="20"/>
                      <a:pt x="1508" y="20"/>
                    </a:cubicBezTo>
                    <a:cubicBezTo>
                      <a:pt x="1509" y="19"/>
                      <a:pt x="1509" y="19"/>
                      <a:pt x="1509" y="19"/>
                    </a:cubicBezTo>
                    <a:cubicBezTo>
                      <a:pt x="1510" y="19"/>
                      <a:pt x="1510" y="19"/>
                      <a:pt x="1510" y="19"/>
                    </a:cubicBezTo>
                    <a:cubicBezTo>
                      <a:pt x="1510" y="19"/>
                      <a:pt x="1510" y="19"/>
                      <a:pt x="1510" y="19"/>
                    </a:cubicBezTo>
                    <a:cubicBezTo>
                      <a:pt x="1511" y="20"/>
                      <a:pt x="1511" y="20"/>
                      <a:pt x="1511" y="20"/>
                    </a:cubicBezTo>
                    <a:cubicBezTo>
                      <a:pt x="1511" y="20"/>
                      <a:pt x="1511" y="20"/>
                      <a:pt x="1511" y="20"/>
                    </a:cubicBezTo>
                    <a:cubicBezTo>
                      <a:pt x="1510" y="20"/>
                      <a:pt x="1510" y="20"/>
                      <a:pt x="1510" y="20"/>
                    </a:cubicBezTo>
                    <a:cubicBezTo>
                      <a:pt x="1510" y="21"/>
                      <a:pt x="1510" y="21"/>
                      <a:pt x="1510" y="21"/>
                    </a:cubicBezTo>
                    <a:cubicBezTo>
                      <a:pt x="1509" y="23"/>
                      <a:pt x="1508" y="23"/>
                      <a:pt x="1506" y="24"/>
                    </a:cubicBezTo>
                    <a:cubicBezTo>
                      <a:pt x="1505" y="25"/>
                      <a:pt x="1505" y="25"/>
                      <a:pt x="1505" y="25"/>
                    </a:cubicBezTo>
                    <a:cubicBezTo>
                      <a:pt x="1503" y="26"/>
                      <a:pt x="1503" y="26"/>
                      <a:pt x="1503" y="26"/>
                    </a:cubicBezTo>
                    <a:cubicBezTo>
                      <a:pt x="1501" y="27"/>
                      <a:pt x="1502" y="27"/>
                      <a:pt x="1500" y="28"/>
                    </a:cubicBezTo>
                    <a:cubicBezTo>
                      <a:pt x="1500" y="28"/>
                      <a:pt x="1500" y="28"/>
                      <a:pt x="1500" y="28"/>
                    </a:cubicBezTo>
                    <a:cubicBezTo>
                      <a:pt x="1500" y="29"/>
                      <a:pt x="1500" y="29"/>
                      <a:pt x="1500" y="29"/>
                    </a:cubicBezTo>
                    <a:cubicBezTo>
                      <a:pt x="1499" y="29"/>
                      <a:pt x="1499" y="29"/>
                      <a:pt x="1499" y="29"/>
                    </a:cubicBezTo>
                    <a:cubicBezTo>
                      <a:pt x="1499" y="29"/>
                      <a:pt x="1499" y="29"/>
                      <a:pt x="1499" y="29"/>
                    </a:cubicBezTo>
                    <a:cubicBezTo>
                      <a:pt x="1499" y="30"/>
                      <a:pt x="1499" y="30"/>
                      <a:pt x="1499" y="30"/>
                    </a:cubicBezTo>
                    <a:cubicBezTo>
                      <a:pt x="1499" y="30"/>
                      <a:pt x="1499" y="30"/>
                      <a:pt x="1499" y="30"/>
                    </a:cubicBezTo>
                    <a:cubicBezTo>
                      <a:pt x="1499" y="30"/>
                      <a:pt x="1499" y="30"/>
                      <a:pt x="1499" y="30"/>
                    </a:cubicBezTo>
                    <a:cubicBezTo>
                      <a:pt x="1500" y="30"/>
                      <a:pt x="1500" y="30"/>
                      <a:pt x="1500" y="30"/>
                    </a:cubicBezTo>
                    <a:cubicBezTo>
                      <a:pt x="1500" y="31"/>
                      <a:pt x="1500" y="31"/>
                      <a:pt x="1500" y="31"/>
                    </a:cubicBezTo>
                    <a:cubicBezTo>
                      <a:pt x="1501" y="31"/>
                      <a:pt x="1501" y="31"/>
                      <a:pt x="1501" y="31"/>
                    </a:cubicBezTo>
                    <a:cubicBezTo>
                      <a:pt x="1501" y="31"/>
                      <a:pt x="1501" y="31"/>
                      <a:pt x="1501" y="31"/>
                    </a:cubicBezTo>
                    <a:cubicBezTo>
                      <a:pt x="1502" y="31"/>
                      <a:pt x="1502" y="31"/>
                      <a:pt x="1502" y="31"/>
                    </a:cubicBezTo>
                    <a:cubicBezTo>
                      <a:pt x="1502" y="31"/>
                      <a:pt x="1502" y="31"/>
                      <a:pt x="1502" y="31"/>
                    </a:cubicBezTo>
                    <a:cubicBezTo>
                      <a:pt x="1503" y="31"/>
                      <a:pt x="1503" y="31"/>
                      <a:pt x="1503" y="31"/>
                    </a:cubicBezTo>
                    <a:cubicBezTo>
                      <a:pt x="1503" y="31"/>
                      <a:pt x="1504" y="31"/>
                      <a:pt x="1504" y="31"/>
                    </a:cubicBezTo>
                    <a:cubicBezTo>
                      <a:pt x="1504" y="31"/>
                      <a:pt x="1505" y="31"/>
                      <a:pt x="1505" y="32"/>
                    </a:cubicBezTo>
                    <a:cubicBezTo>
                      <a:pt x="1506" y="32"/>
                      <a:pt x="1506" y="32"/>
                      <a:pt x="1506" y="32"/>
                    </a:cubicBezTo>
                    <a:cubicBezTo>
                      <a:pt x="1506" y="32"/>
                      <a:pt x="1506" y="32"/>
                      <a:pt x="1506" y="32"/>
                    </a:cubicBezTo>
                    <a:cubicBezTo>
                      <a:pt x="1507" y="32"/>
                      <a:pt x="1507" y="32"/>
                      <a:pt x="1507" y="32"/>
                    </a:cubicBezTo>
                    <a:cubicBezTo>
                      <a:pt x="1506" y="33"/>
                      <a:pt x="1506" y="33"/>
                      <a:pt x="1506" y="33"/>
                    </a:cubicBezTo>
                    <a:cubicBezTo>
                      <a:pt x="1505" y="34"/>
                      <a:pt x="1505" y="34"/>
                      <a:pt x="1505" y="34"/>
                    </a:cubicBezTo>
                    <a:cubicBezTo>
                      <a:pt x="1501" y="36"/>
                      <a:pt x="1501" y="36"/>
                      <a:pt x="1501" y="36"/>
                    </a:cubicBezTo>
                    <a:cubicBezTo>
                      <a:pt x="1500" y="37"/>
                      <a:pt x="1500" y="37"/>
                      <a:pt x="1500" y="37"/>
                    </a:cubicBezTo>
                    <a:cubicBezTo>
                      <a:pt x="1499" y="37"/>
                      <a:pt x="1499" y="37"/>
                      <a:pt x="1499" y="37"/>
                    </a:cubicBezTo>
                    <a:cubicBezTo>
                      <a:pt x="1499" y="37"/>
                      <a:pt x="1499" y="37"/>
                      <a:pt x="1499" y="37"/>
                    </a:cubicBezTo>
                    <a:cubicBezTo>
                      <a:pt x="1500" y="37"/>
                      <a:pt x="1500" y="37"/>
                      <a:pt x="1500" y="37"/>
                    </a:cubicBezTo>
                    <a:cubicBezTo>
                      <a:pt x="1500" y="37"/>
                      <a:pt x="1500" y="37"/>
                      <a:pt x="1500" y="37"/>
                    </a:cubicBezTo>
                    <a:cubicBezTo>
                      <a:pt x="1501" y="38"/>
                      <a:pt x="1501" y="38"/>
                      <a:pt x="1501" y="38"/>
                    </a:cubicBezTo>
                    <a:cubicBezTo>
                      <a:pt x="1501" y="38"/>
                      <a:pt x="1501" y="38"/>
                      <a:pt x="1501" y="38"/>
                    </a:cubicBezTo>
                    <a:cubicBezTo>
                      <a:pt x="1502" y="38"/>
                      <a:pt x="1502" y="38"/>
                      <a:pt x="1502" y="38"/>
                    </a:cubicBezTo>
                    <a:cubicBezTo>
                      <a:pt x="1502" y="38"/>
                      <a:pt x="1502" y="38"/>
                      <a:pt x="1502" y="38"/>
                    </a:cubicBezTo>
                    <a:cubicBezTo>
                      <a:pt x="1503" y="38"/>
                      <a:pt x="1503" y="38"/>
                      <a:pt x="1503" y="38"/>
                    </a:cubicBezTo>
                    <a:cubicBezTo>
                      <a:pt x="1504" y="38"/>
                      <a:pt x="1504" y="38"/>
                      <a:pt x="1504" y="38"/>
                    </a:cubicBezTo>
                    <a:cubicBezTo>
                      <a:pt x="1504" y="38"/>
                      <a:pt x="1504" y="38"/>
                      <a:pt x="1504" y="38"/>
                    </a:cubicBezTo>
                    <a:cubicBezTo>
                      <a:pt x="1505" y="39"/>
                      <a:pt x="1505" y="39"/>
                      <a:pt x="1505" y="39"/>
                    </a:cubicBezTo>
                    <a:cubicBezTo>
                      <a:pt x="1505" y="39"/>
                      <a:pt x="1505" y="39"/>
                      <a:pt x="1505" y="39"/>
                    </a:cubicBezTo>
                    <a:cubicBezTo>
                      <a:pt x="1506" y="39"/>
                      <a:pt x="1506" y="39"/>
                      <a:pt x="1506" y="39"/>
                    </a:cubicBezTo>
                    <a:cubicBezTo>
                      <a:pt x="1507" y="39"/>
                      <a:pt x="1507" y="39"/>
                      <a:pt x="1507" y="39"/>
                    </a:cubicBezTo>
                    <a:cubicBezTo>
                      <a:pt x="1507" y="39"/>
                      <a:pt x="1507" y="39"/>
                      <a:pt x="1507" y="39"/>
                    </a:cubicBezTo>
                    <a:cubicBezTo>
                      <a:pt x="1507" y="40"/>
                      <a:pt x="1507" y="40"/>
                      <a:pt x="1507" y="40"/>
                    </a:cubicBezTo>
                    <a:cubicBezTo>
                      <a:pt x="1507" y="40"/>
                      <a:pt x="1507" y="40"/>
                      <a:pt x="1507" y="40"/>
                    </a:cubicBezTo>
                    <a:cubicBezTo>
                      <a:pt x="1505" y="41"/>
                      <a:pt x="1505" y="41"/>
                      <a:pt x="1505" y="41"/>
                    </a:cubicBezTo>
                    <a:cubicBezTo>
                      <a:pt x="1505" y="42"/>
                      <a:pt x="1505" y="42"/>
                      <a:pt x="1505" y="42"/>
                    </a:cubicBezTo>
                    <a:cubicBezTo>
                      <a:pt x="1505" y="42"/>
                      <a:pt x="1505" y="42"/>
                      <a:pt x="1505" y="42"/>
                    </a:cubicBezTo>
                    <a:cubicBezTo>
                      <a:pt x="1505" y="42"/>
                      <a:pt x="1505" y="42"/>
                      <a:pt x="1505" y="42"/>
                    </a:cubicBezTo>
                    <a:cubicBezTo>
                      <a:pt x="1506" y="43"/>
                      <a:pt x="1506" y="43"/>
                      <a:pt x="1506" y="43"/>
                    </a:cubicBezTo>
                    <a:cubicBezTo>
                      <a:pt x="1506" y="43"/>
                      <a:pt x="1506" y="43"/>
                      <a:pt x="1506" y="43"/>
                    </a:cubicBezTo>
                    <a:cubicBezTo>
                      <a:pt x="1507" y="43"/>
                      <a:pt x="1507" y="43"/>
                      <a:pt x="1507" y="43"/>
                    </a:cubicBezTo>
                    <a:cubicBezTo>
                      <a:pt x="1508" y="44"/>
                      <a:pt x="1511" y="43"/>
                      <a:pt x="1512" y="44"/>
                    </a:cubicBezTo>
                    <a:cubicBezTo>
                      <a:pt x="1512" y="44"/>
                      <a:pt x="1512" y="44"/>
                      <a:pt x="1512" y="44"/>
                    </a:cubicBezTo>
                    <a:cubicBezTo>
                      <a:pt x="1512" y="45"/>
                      <a:pt x="1512" y="45"/>
                      <a:pt x="1512" y="45"/>
                    </a:cubicBezTo>
                    <a:cubicBezTo>
                      <a:pt x="1514" y="46"/>
                      <a:pt x="1513" y="46"/>
                      <a:pt x="1514" y="47"/>
                    </a:cubicBezTo>
                    <a:cubicBezTo>
                      <a:pt x="1514" y="48"/>
                      <a:pt x="1514" y="48"/>
                      <a:pt x="1514" y="48"/>
                    </a:cubicBezTo>
                    <a:cubicBezTo>
                      <a:pt x="1515" y="48"/>
                      <a:pt x="1515" y="48"/>
                      <a:pt x="1515" y="48"/>
                    </a:cubicBezTo>
                    <a:cubicBezTo>
                      <a:pt x="1515" y="49"/>
                      <a:pt x="1515" y="49"/>
                      <a:pt x="1515" y="49"/>
                    </a:cubicBezTo>
                    <a:cubicBezTo>
                      <a:pt x="1516" y="53"/>
                      <a:pt x="1515" y="54"/>
                      <a:pt x="1513" y="58"/>
                    </a:cubicBezTo>
                    <a:cubicBezTo>
                      <a:pt x="1513" y="58"/>
                      <a:pt x="1513" y="58"/>
                      <a:pt x="1513" y="58"/>
                    </a:cubicBezTo>
                    <a:cubicBezTo>
                      <a:pt x="1513" y="59"/>
                      <a:pt x="1513" y="59"/>
                      <a:pt x="1513" y="59"/>
                    </a:cubicBezTo>
                    <a:cubicBezTo>
                      <a:pt x="1513" y="59"/>
                      <a:pt x="1513" y="59"/>
                      <a:pt x="1513" y="59"/>
                    </a:cubicBezTo>
                    <a:cubicBezTo>
                      <a:pt x="1513" y="59"/>
                      <a:pt x="1513" y="59"/>
                      <a:pt x="1513" y="59"/>
                    </a:cubicBezTo>
                    <a:cubicBezTo>
                      <a:pt x="1512" y="60"/>
                      <a:pt x="1512" y="60"/>
                      <a:pt x="1512" y="60"/>
                    </a:cubicBezTo>
                    <a:cubicBezTo>
                      <a:pt x="1511" y="61"/>
                      <a:pt x="1509" y="61"/>
                      <a:pt x="1510" y="63"/>
                    </a:cubicBezTo>
                    <a:cubicBezTo>
                      <a:pt x="1510" y="63"/>
                      <a:pt x="1510" y="63"/>
                      <a:pt x="1510" y="63"/>
                    </a:cubicBezTo>
                    <a:cubicBezTo>
                      <a:pt x="1510" y="63"/>
                      <a:pt x="1510" y="63"/>
                      <a:pt x="1510" y="63"/>
                    </a:cubicBezTo>
                    <a:cubicBezTo>
                      <a:pt x="1511" y="65"/>
                      <a:pt x="1510" y="66"/>
                      <a:pt x="1513" y="67"/>
                    </a:cubicBezTo>
                    <a:cubicBezTo>
                      <a:pt x="1513" y="67"/>
                      <a:pt x="1513" y="67"/>
                      <a:pt x="1513" y="67"/>
                    </a:cubicBezTo>
                    <a:cubicBezTo>
                      <a:pt x="1514" y="67"/>
                      <a:pt x="1514" y="67"/>
                      <a:pt x="1514" y="67"/>
                    </a:cubicBezTo>
                    <a:cubicBezTo>
                      <a:pt x="1514" y="67"/>
                      <a:pt x="1514" y="67"/>
                      <a:pt x="1514" y="67"/>
                    </a:cubicBezTo>
                    <a:cubicBezTo>
                      <a:pt x="1515" y="67"/>
                      <a:pt x="1515" y="67"/>
                      <a:pt x="1515" y="67"/>
                    </a:cubicBezTo>
                    <a:cubicBezTo>
                      <a:pt x="1515" y="67"/>
                      <a:pt x="1515" y="67"/>
                      <a:pt x="1515" y="67"/>
                    </a:cubicBezTo>
                    <a:cubicBezTo>
                      <a:pt x="1515" y="68"/>
                      <a:pt x="1515" y="68"/>
                      <a:pt x="1515" y="68"/>
                    </a:cubicBezTo>
                    <a:cubicBezTo>
                      <a:pt x="1515" y="68"/>
                      <a:pt x="1515" y="68"/>
                      <a:pt x="1515" y="68"/>
                    </a:cubicBezTo>
                    <a:cubicBezTo>
                      <a:pt x="1515" y="68"/>
                      <a:pt x="1515" y="68"/>
                      <a:pt x="1515" y="68"/>
                    </a:cubicBezTo>
                    <a:cubicBezTo>
                      <a:pt x="1515" y="69"/>
                      <a:pt x="1515" y="69"/>
                      <a:pt x="1515" y="69"/>
                    </a:cubicBezTo>
                    <a:cubicBezTo>
                      <a:pt x="1514" y="69"/>
                      <a:pt x="1514" y="69"/>
                      <a:pt x="1514" y="69"/>
                    </a:cubicBezTo>
                    <a:cubicBezTo>
                      <a:pt x="1514" y="69"/>
                      <a:pt x="1514" y="69"/>
                      <a:pt x="1514" y="69"/>
                    </a:cubicBezTo>
                    <a:cubicBezTo>
                      <a:pt x="1514" y="70"/>
                      <a:pt x="1514" y="70"/>
                      <a:pt x="1514" y="70"/>
                    </a:cubicBezTo>
                    <a:cubicBezTo>
                      <a:pt x="1513" y="70"/>
                      <a:pt x="1513" y="70"/>
                      <a:pt x="1513" y="70"/>
                    </a:cubicBezTo>
                    <a:cubicBezTo>
                      <a:pt x="1513" y="71"/>
                      <a:pt x="1513" y="71"/>
                      <a:pt x="1513" y="71"/>
                    </a:cubicBezTo>
                    <a:cubicBezTo>
                      <a:pt x="1512" y="71"/>
                      <a:pt x="1512" y="71"/>
                      <a:pt x="1512" y="71"/>
                    </a:cubicBezTo>
                    <a:cubicBezTo>
                      <a:pt x="1512" y="72"/>
                      <a:pt x="1512" y="72"/>
                      <a:pt x="1512" y="72"/>
                    </a:cubicBezTo>
                    <a:cubicBezTo>
                      <a:pt x="1512" y="73"/>
                      <a:pt x="1514" y="74"/>
                      <a:pt x="1515" y="74"/>
                    </a:cubicBezTo>
                    <a:cubicBezTo>
                      <a:pt x="1516" y="75"/>
                      <a:pt x="1516" y="75"/>
                      <a:pt x="1516" y="75"/>
                    </a:cubicBezTo>
                    <a:cubicBezTo>
                      <a:pt x="1516" y="76"/>
                      <a:pt x="1516" y="76"/>
                      <a:pt x="1516" y="76"/>
                    </a:cubicBezTo>
                    <a:cubicBezTo>
                      <a:pt x="1520" y="79"/>
                      <a:pt x="1520" y="79"/>
                      <a:pt x="1520" y="79"/>
                    </a:cubicBezTo>
                    <a:cubicBezTo>
                      <a:pt x="1554" y="86"/>
                      <a:pt x="1554" y="86"/>
                      <a:pt x="1554" y="86"/>
                    </a:cubicBezTo>
                    <a:cubicBezTo>
                      <a:pt x="1555" y="94"/>
                      <a:pt x="1555" y="94"/>
                      <a:pt x="1555" y="94"/>
                    </a:cubicBezTo>
                    <a:cubicBezTo>
                      <a:pt x="1554" y="94"/>
                      <a:pt x="1554" y="94"/>
                      <a:pt x="1554" y="94"/>
                    </a:cubicBezTo>
                    <a:cubicBezTo>
                      <a:pt x="1556" y="97"/>
                      <a:pt x="1556" y="97"/>
                      <a:pt x="1556" y="97"/>
                    </a:cubicBezTo>
                    <a:cubicBezTo>
                      <a:pt x="1556" y="98"/>
                      <a:pt x="1556" y="98"/>
                      <a:pt x="1556" y="98"/>
                    </a:cubicBezTo>
                    <a:cubicBezTo>
                      <a:pt x="1568" y="107"/>
                      <a:pt x="1568" y="107"/>
                      <a:pt x="1568" y="107"/>
                    </a:cubicBezTo>
                    <a:cubicBezTo>
                      <a:pt x="1568" y="113"/>
                      <a:pt x="1568" y="113"/>
                      <a:pt x="1568" y="113"/>
                    </a:cubicBezTo>
                    <a:cubicBezTo>
                      <a:pt x="1559" y="115"/>
                      <a:pt x="1559" y="115"/>
                      <a:pt x="1559" y="115"/>
                    </a:cubicBezTo>
                    <a:cubicBezTo>
                      <a:pt x="1558" y="115"/>
                      <a:pt x="1558" y="115"/>
                      <a:pt x="1558" y="115"/>
                    </a:cubicBezTo>
                    <a:cubicBezTo>
                      <a:pt x="1555" y="116"/>
                      <a:pt x="1553" y="117"/>
                      <a:pt x="1550" y="117"/>
                    </a:cubicBezTo>
                    <a:cubicBezTo>
                      <a:pt x="1550" y="117"/>
                      <a:pt x="1549" y="117"/>
                      <a:pt x="1549" y="117"/>
                    </a:cubicBezTo>
                    <a:cubicBezTo>
                      <a:pt x="1549" y="117"/>
                      <a:pt x="1549" y="117"/>
                      <a:pt x="1549" y="117"/>
                    </a:cubicBezTo>
                    <a:cubicBezTo>
                      <a:pt x="1548" y="117"/>
                      <a:pt x="1548" y="117"/>
                      <a:pt x="1548" y="117"/>
                    </a:cubicBezTo>
                    <a:cubicBezTo>
                      <a:pt x="1548" y="116"/>
                      <a:pt x="1548" y="116"/>
                      <a:pt x="1548" y="116"/>
                    </a:cubicBezTo>
                    <a:cubicBezTo>
                      <a:pt x="1547" y="116"/>
                      <a:pt x="1546" y="116"/>
                      <a:pt x="1545" y="116"/>
                    </a:cubicBezTo>
                    <a:cubicBezTo>
                      <a:pt x="1545" y="116"/>
                      <a:pt x="1544" y="116"/>
                      <a:pt x="1544" y="116"/>
                    </a:cubicBezTo>
                    <a:cubicBezTo>
                      <a:pt x="1544" y="116"/>
                      <a:pt x="1544" y="116"/>
                      <a:pt x="1544" y="116"/>
                    </a:cubicBezTo>
                    <a:cubicBezTo>
                      <a:pt x="1543" y="116"/>
                      <a:pt x="1543" y="116"/>
                      <a:pt x="1543" y="116"/>
                    </a:cubicBezTo>
                    <a:cubicBezTo>
                      <a:pt x="1543" y="117"/>
                      <a:pt x="1543" y="117"/>
                      <a:pt x="1543" y="117"/>
                    </a:cubicBezTo>
                    <a:cubicBezTo>
                      <a:pt x="1542" y="117"/>
                      <a:pt x="1542" y="117"/>
                      <a:pt x="1542" y="117"/>
                    </a:cubicBezTo>
                    <a:cubicBezTo>
                      <a:pt x="1541" y="117"/>
                      <a:pt x="1541" y="117"/>
                      <a:pt x="1541" y="117"/>
                    </a:cubicBezTo>
                    <a:cubicBezTo>
                      <a:pt x="1541" y="117"/>
                      <a:pt x="1541" y="117"/>
                      <a:pt x="1541" y="117"/>
                    </a:cubicBezTo>
                    <a:cubicBezTo>
                      <a:pt x="1538" y="115"/>
                      <a:pt x="1538" y="115"/>
                      <a:pt x="1538" y="115"/>
                    </a:cubicBezTo>
                    <a:cubicBezTo>
                      <a:pt x="1533" y="111"/>
                      <a:pt x="1533" y="111"/>
                      <a:pt x="1533" y="111"/>
                    </a:cubicBezTo>
                    <a:cubicBezTo>
                      <a:pt x="1521" y="102"/>
                      <a:pt x="1521" y="102"/>
                      <a:pt x="1521" y="102"/>
                    </a:cubicBezTo>
                    <a:cubicBezTo>
                      <a:pt x="1517" y="99"/>
                      <a:pt x="1517" y="99"/>
                      <a:pt x="1517" y="99"/>
                    </a:cubicBezTo>
                    <a:cubicBezTo>
                      <a:pt x="1516" y="97"/>
                      <a:pt x="1516" y="97"/>
                      <a:pt x="1516" y="97"/>
                    </a:cubicBezTo>
                    <a:cubicBezTo>
                      <a:pt x="1516" y="97"/>
                      <a:pt x="1516" y="97"/>
                      <a:pt x="1516" y="97"/>
                    </a:cubicBezTo>
                    <a:cubicBezTo>
                      <a:pt x="1514" y="96"/>
                      <a:pt x="1514" y="96"/>
                      <a:pt x="1514" y="96"/>
                    </a:cubicBezTo>
                    <a:cubicBezTo>
                      <a:pt x="1512" y="95"/>
                      <a:pt x="1512" y="95"/>
                      <a:pt x="1512" y="95"/>
                    </a:cubicBezTo>
                    <a:cubicBezTo>
                      <a:pt x="1492" y="89"/>
                      <a:pt x="1492" y="89"/>
                      <a:pt x="1492" y="89"/>
                    </a:cubicBezTo>
                    <a:cubicBezTo>
                      <a:pt x="1449" y="81"/>
                      <a:pt x="1449" y="81"/>
                      <a:pt x="1449" y="81"/>
                    </a:cubicBezTo>
                    <a:cubicBezTo>
                      <a:pt x="1449" y="81"/>
                      <a:pt x="1449" y="81"/>
                      <a:pt x="1449" y="81"/>
                    </a:cubicBezTo>
                    <a:cubicBezTo>
                      <a:pt x="1419" y="90"/>
                      <a:pt x="1419" y="90"/>
                      <a:pt x="1419" y="90"/>
                    </a:cubicBezTo>
                    <a:cubicBezTo>
                      <a:pt x="1419" y="91"/>
                      <a:pt x="1419" y="91"/>
                      <a:pt x="1419" y="91"/>
                    </a:cubicBezTo>
                    <a:cubicBezTo>
                      <a:pt x="1418" y="94"/>
                      <a:pt x="1418" y="94"/>
                      <a:pt x="1418" y="94"/>
                    </a:cubicBezTo>
                    <a:cubicBezTo>
                      <a:pt x="1417" y="95"/>
                      <a:pt x="1417" y="95"/>
                      <a:pt x="1417" y="95"/>
                    </a:cubicBezTo>
                    <a:cubicBezTo>
                      <a:pt x="1417" y="95"/>
                      <a:pt x="1417" y="95"/>
                      <a:pt x="1417" y="95"/>
                    </a:cubicBezTo>
                    <a:cubicBezTo>
                      <a:pt x="1417" y="96"/>
                      <a:pt x="1417" y="96"/>
                      <a:pt x="1417" y="96"/>
                    </a:cubicBezTo>
                    <a:cubicBezTo>
                      <a:pt x="1417" y="96"/>
                      <a:pt x="1417" y="96"/>
                      <a:pt x="1417" y="96"/>
                    </a:cubicBezTo>
                    <a:cubicBezTo>
                      <a:pt x="1418" y="96"/>
                      <a:pt x="1418" y="96"/>
                      <a:pt x="1418" y="96"/>
                    </a:cubicBezTo>
                    <a:cubicBezTo>
                      <a:pt x="1418" y="97"/>
                      <a:pt x="1418" y="97"/>
                      <a:pt x="1418" y="97"/>
                    </a:cubicBezTo>
                    <a:cubicBezTo>
                      <a:pt x="1419" y="97"/>
                      <a:pt x="1419" y="97"/>
                      <a:pt x="1419" y="97"/>
                    </a:cubicBezTo>
                    <a:cubicBezTo>
                      <a:pt x="1419" y="97"/>
                      <a:pt x="1419" y="97"/>
                      <a:pt x="1419" y="97"/>
                    </a:cubicBezTo>
                    <a:cubicBezTo>
                      <a:pt x="1420" y="97"/>
                      <a:pt x="1420" y="97"/>
                      <a:pt x="1420" y="97"/>
                    </a:cubicBezTo>
                    <a:cubicBezTo>
                      <a:pt x="1420" y="97"/>
                      <a:pt x="1420" y="97"/>
                      <a:pt x="1420" y="97"/>
                    </a:cubicBezTo>
                    <a:cubicBezTo>
                      <a:pt x="1421" y="97"/>
                      <a:pt x="1421" y="97"/>
                      <a:pt x="1421" y="97"/>
                    </a:cubicBezTo>
                    <a:cubicBezTo>
                      <a:pt x="1422" y="97"/>
                      <a:pt x="1422" y="97"/>
                      <a:pt x="1422" y="97"/>
                    </a:cubicBezTo>
                    <a:cubicBezTo>
                      <a:pt x="1424" y="97"/>
                      <a:pt x="1424" y="96"/>
                      <a:pt x="1426" y="95"/>
                    </a:cubicBezTo>
                    <a:cubicBezTo>
                      <a:pt x="1427" y="95"/>
                      <a:pt x="1427" y="95"/>
                      <a:pt x="1427" y="95"/>
                    </a:cubicBezTo>
                    <a:cubicBezTo>
                      <a:pt x="1427" y="95"/>
                      <a:pt x="1427" y="95"/>
                      <a:pt x="1427" y="95"/>
                    </a:cubicBezTo>
                    <a:cubicBezTo>
                      <a:pt x="1428" y="95"/>
                      <a:pt x="1428" y="95"/>
                      <a:pt x="1428" y="95"/>
                    </a:cubicBezTo>
                    <a:cubicBezTo>
                      <a:pt x="1429" y="95"/>
                      <a:pt x="1429" y="95"/>
                      <a:pt x="1429" y="95"/>
                    </a:cubicBezTo>
                    <a:cubicBezTo>
                      <a:pt x="1429" y="95"/>
                      <a:pt x="1431" y="94"/>
                      <a:pt x="1432" y="94"/>
                    </a:cubicBezTo>
                    <a:cubicBezTo>
                      <a:pt x="1432" y="94"/>
                      <a:pt x="1433" y="95"/>
                      <a:pt x="1434" y="95"/>
                    </a:cubicBezTo>
                    <a:cubicBezTo>
                      <a:pt x="1434" y="95"/>
                      <a:pt x="1434" y="95"/>
                      <a:pt x="1434" y="95"/>
                    </a:cubicBezTo>
                    <a:cubicBezTo>
                      <a:pt x="1435" y="95"/>
                      <a:pt x="1435" y="95"/>
                      <a:pt x="1435" y="95"/>
                    </a:cubicBezTo>
                    <a:cubicBezTo>
                      <a:pt x="1436" y="96"/>
                      <a:pt x="1437" y="97"/>
                      <a:pt x="1438" y="98"/>
                    </a:cubicBezTo>
                    <a:cubicBezTo>
                      <a:pt x="1438" y="99"/>
                      <a:pt x="1438" y="99"/>
                      <a:pt x="1438" y="99"/>
                    </a:cubicBezTo>
                    <a:cubicBezTo>
                      <a:pt x="1438" y="100"/>
                      <a:pt x="1438" y="100"/>
                      <a:pt x="1438" y="100"/>
                    </a:cubicBezTo>
                    <a:cubicBezTo>
                      <a:pt x="1438" y="105"/>
                      <a:pt x="1438" y="105"/>
                      <a:pt x="1438" y="105"/>
                    </a:cubicBezTo>
                    <a:cubicBezTo>
                      <a:pt x="1438" y="106"/>
                      <a:pt x="1438" y="106"/>
                      <a:pt x="1438" y="106"/>
                    </a:cubicBezTo>
                    <a:cubicBezTo>
                      <a:pt x="1437" y="107"/>
                      <a:pt x="1437" y="107"/>
                      <a:pt x="1437" y="107"/>
                    </a:cubicBezTo>
                    <a:cubicBezTo>
                      <a:pt x="1434" y="108"/>
                      <a:pt x="1429" y="110"/>
                      <a:pt x="1426" y="110"/>
                    </a:cubicBezTo>
                    <a:cubicBezTo>
                      <a:pt x="1426" y="110"/>
                      <a:pt x="1426" y="110"/>
                      <a:pt x="1426" y="110"/>
                    </a:cubicBezTo>
                    <a:cubicBezTo>
                      <a:pt x="1425" y="110"/>
                      <a:pt x="1425" y="110"/>
                      <a:pt x="1425" y="110"/>
                    </a:cubicBezTo>
                    <a:cubicBezTo>
                      <a:pt x="1425" y="110"/>
                      <a:pt x="1425" y="110"/>
                      <a:pt x="1425" y="110"/>
                    </a:cubicBezTo>
                    <a:cubicBezTo>
                      <a:pt x="1424" y="110"/>
                      <a:pt x="1424" y="110"/>
                      <a:pt x="1424" y="110"/>
                    </a:cubicBezTo>
                    <a:cubicBezTo>
                      <a:pt x="1423" y="110"/>
                      <a:pt x="1421" y="109"/>
                      <a:pt x="1419" y="108"/>
                    </a:cubicBezTo>
                    <a:cubicBezTo>
                      <a:pt x="1419" y="108"/>
                      <a:pt x="1419" y="108"/>
                      <a:pt x="1419" y="108"/>
                    </a:cubicBezTo>
                    <a:cubicBezTo>
                      <a:pt x="1419" y="107"/>
                      <a:pt x="1419" y="107"/>
                      <a:pt x="1419" y="107"/>
                    </a:cubicBezTo>
                    <a:cubicBezTo>
                      <a:pt x="1417" y="105"/>
                      <a:pt x="1418" y="106"/>
                      <a:pt x="1415" y="104"/>
                    </a:cubicBezTo>
                    <a:cubicBezTo>
                      <a:pt x="1414" y="104"/>
                      <a:pt x="1414" y="104"/>
                      <a:pt x="1414" y="104"/>
                    </a:cubicBezTo>
                    <a:cubicBezTo>
                      <a:pt x="1413" y="103"/>
                      <a:pt x="1413" y="103"/>
                      <a:pt x="1413" y="103"/>
                    </a:cubicBezTo>
                    <a:cubicBezTo>
                      <a:pt x="1409" y="101"/>
                      <a:pt x="1409" y="101"/>
                      <a:pt x="1409" y="101"/>
                    </a:cubicBezTo>
                    <a:cubicBezTo>
                      <a:pt x="1378" y="105"/>
                      <a:pt x="1378" y="105"/>
                      <a:pt x="1378" y="105"/>
                    </a:cubicBezTo>
                    <a:cubicBezTo>
                      <a:pt x="1378" y="105"/>
                      <a:pt x="1378" y="105"/>
                      <a:pt x="1378" y="105"/>
                    </a:cubicBezTo>
                    <a:cubicBezTo>
                      <a:pt x="1378" y="106"/>
                      <a:pt x="1378" y="106"/>
                      <a:pt x="1378" y="106"/>
                    </a:cubicBezTo>
                    <a:cubicBezTo>
                      <a:pt x="1378" y="106"/>
                      <a:pt x="1378" y="106"/>
                      <a:pt x="1378" y="106"/>
                    </a:cubicBezTo>
                    <a:cubicBezTo>
                      <a:pt x="1378" y="106"/>
                      <a:pt x="1378" y="106"/>
                      <a:pt x="1378" y="106"/>
                    </a:cubicBezTo>
                    <a:cubicBezTo>
                      <a:pt x="1379" y="106"/>
                      <a:pt x="1379" y="106"/>
                      <a:pt x="1379" y="106"/>
                    </a:cubicBezTo>
                    <a:cubicBezTo>
                      <a:pt x="1379" y="107"/>
                      <a:pt x="1379" y="107"/>
                      <a:pt x="1379" y="107"/>
                    </a:cubicBezTo>
                    <a:cubicBezTo>
                      <a:pt x="1379" y="107"/>
                      <a:pt x="1379" y="107"/>
                      <a:pt x="1379" y="107"/>
                    </a:cubicBezTo>
                    <a:cubicBezTo>
                      <a:pt x="1380" y="107"/>
                      <a:pt x="1380" y="107"/>
                      <a:pt x="1380" y="107"/>
                    </a:cubicBezTo>
                    <a:cubicBezTo>
                      <a:pt x="1380" y="107"/>
                      <a:pt x="1380" y="107"/>
                      <a:pt x="1380" y="107"/>
                    </a:cubicBezTo>
                    <a:cubicBezTo>
                      <a:pt x="1381" y="108"/>
                      <a:pt x="1381" y="108"/>
                      <a:pt x="1381" y="108"/>
                    </a:cubicBezTo>
                    <a:cubicBezTo>
                      <a:pt x="1381" y="109"/>
                      <a:pt x="1381" y="110"/>
                      <a:pt x="1382" y="111"/>
                    </a:cubicBezTo>
                    <a:cubicBezTo>
                      <a:pt x="1382" y="112"/>
                      <a:pt x="1382" y="112"/>
                      <a:pt x="1382" y="112"/>
                    </a:cubicBezTo>
                    <a:cubicBezTo>
                      <a:pt x="1382" y="112"/>
                      <a:pt x="1382" y="112"/>
                      <a:pt x="1382" y="112"/>
                    </a:cubicBezTo>
                    <a:cubicBezTo>
                      <a:pt x="1382" y="112"/>
                      <a:pt x="1382" y="112"/>
                      <a:pt x="1382" y="112"/>
                    </a:cubicBezTo>
                    <a:cubicBezTo>
                      <a:pt x="1382" y="113"/>
                      <a:pt x="1382" y="113"/>
                      <a:pt x="1382" y="113"/>
                    </a:cubicBezTo>
                    <a:cubicBezTo>
                      <a:pt x="1382" y="113"/>
                      <a:pt x="1383" y="114"/>
                      <a:pt x="1383" y="115"/>
                    </a:cubicBezTo>
                    <a:cubicBezTo>
                      <a:pt x="1383" y="116"/>
                      <a:pt x="1383" y="116"/>
                      <a:pt x="1383" y="116"/>
                    </a:cubicBezTo>
                    <a:cubicBezTo>
                      <a:pt x="1383" y="116"/>
                      <a:pt x="1383" y="116"/>
                      <a:pt x="1383" y="116"/>
                    </a:cubicBezTo>
                    <a:cubicBezTo>
                      <a:pt x="1385" y="118"/>
                      <a:pt x="1384" y="122"/>
                      <a:pt x="1386" y="124"/>
                    </a:cubicBezTo>
                    <a:cubicBezTo>
                      <a:pt x="1387" y="124"/>
                      <a:pt x="1387" y="124"/>
                      <a:pt x="1387" y="124"/>
                    </a:cubicBezTo>
                    <a:cubicBezTo>
                      <a:pt x="1388" y="124"/>
                      <a:pt x="1388" y="124"/>
                      <a:pt x="1388" y="124"/>
                    </a:cubicBezTo>
                    <a:cubicBezTo>
                      <a:pt x="1388" y="124"/>
                      <a:pt x="1388" y="124"/>
                      <a:pt x="1388" y="124"/>
                    </a:cubicBezTo>
                    <a:cubicBezTo>
                      <a:pt x="1389" y="124"/>
                      <a:pt x="1389" y="124"/>
                      <a:pt x="1389" y="124"/>
                    </a:cubicBezTo>
                    <a:cubicBezTo>
                      <a:pt x="1389" y="124"/>
                      <a:pt x="1389" y="124"/>
                      <a:pt x="1389" y="124"/>
                    </a:cubicBezTo>
                    <a:cubicBezTo>
                      <a:pt x="1397" y="125"/>
                      <a:pt x="1395" y="129"/>
                      <a:pt x="1403" y="130"/>
                    </a:cubicBezTo>
                    <a:cubicBezTo>
                      <a:pt x="1404" y="131"/>
                      <a:pt x="1404" y="131"/>
                      <a:pt x="1404" y="131"/>
                    </a:cubicBezTo>
                    <a:cubicBezTo>
                      <a:pt x="1405" y="131"/>
                      <a:pt x="1405" y="131"/>
                      <a:pt x="1405" y="131"/>
                    </a:cubicBezTo>
                    <a:cubicBezTo>
                      <a:pt x="1405" y="131"/>
                      <a:pt x="1406" y="131"/>
                      <a:pt x="1406" y="131"/>
                    </a:cubicBezTo>
                    <a:cubicBezTo>
                      <a:pt x="1407" y="131"/>
                      <a:pt x="1407" y="131"/>
                      <a:pt x="1407" y="131"/>
                    </a:cubicBezTo>
                    <a:cubicBezTo>
                      <a:pt x="1407" y="131"/>
                      <a:pt x="1407" y="131"/>
                      <a:pt x="1407" y="131"/>
                    </a:cubicBezTo>
                    <a:cubicBezTo>
                      <a:pt x="1408" y="131"/>
                      <a:pt x="1408" y="131"/>
                      <a:pt x="1409" y="132"/>
                    </a:cubicBezTo>
                    <a:cubicBezTo>
                      <a:pt x="1411" y="133"/>
                      <a:pt x="1411" y="133"/>
                      <a:pt x="1411" y="133"/>
                    </a:cubicBezTo>
                    <a:cubicBezTo>
                      <a:pt x="1412" y="134"/>
                      <a:pt x="1412" y="134"/>
                      <a:pt x="1412" y="134"/>
                    </a:cubicBezTo>
                    <a:cubicBezTo>
                      <a:pt x="1414" y="135"/>
                      <a:pt x="1415" y="136"/>
                      <a:pt x="1417" y="136"/>
                    </a:cubicBezTo>
                    <a:cubicBezTo>
                      <a:pt x="1418" y="137"/>
                      <a:pt x="1418" y="137"/>
                      <a:pt x="1418" y="137"/>
                    </a:cubicBezTo>
                    <a:cubicBezTo>
                      <a:pt x="1418" y="137"/>
                      <a:pt x="1418" y="137"/>
                      <a:pt x="1418" y="137"/>
                    </a:cubicBezTo>
                    <a:cubicBezTo>
                      <a:pt x="1419" y="137"/>
                      <a:pt x="1419" y="137"/>
                      <a:pt x="1419" y="137"/>
                    </a:cubicBezTo>
                    <a:cubicBezTo>
                      <a:pt x="1419" y="137"/>
                      <a:pt x="1419" y="137"/>
                      <a:pt x="1419" y="137"/>
                    </a:cubicBezTo>
                    <a:cubicBezTo>
                      <a:pt x="1419" y="137"/>
                      <a:pt x="1419" y="137"/>
                      <a:pt x="1419" y="137"/>
                    </a:cubicBezTo>
                    <a:cubicBezTo>
                      <a:pt x="1419" y="136"/>
                      <a:pt x="1419" y="136"/>
                      <a:pt x="1419" y="136"/>
                    </a:cubicBezTo>
                    <a:cubicBezTo>
                      <a:pt x="1419" y="136"/>
                      <a:pt x="1419" y="136"/>
                      <a:pt x="1419" y="136"/>
                    </a:cubicBezTo>
                    <a:cubicBezTo>
                      <a:pt x="1420" y="136"/>
                      <a:pt x="1420" y="136"/>
                      <a:pt x="1420" y="136"/>
                    </a:cubicBezTo>
                    <a:cubicBezTo>
                      <a:pt x="1421" y="136"/>
                      <a:pt x="1422" y="137"/>
                      <a:pt x="1423" y="137"/>
                    </a:cubicBezTo>
                    <a:cubicBezTo>
                      <a:pt x="1424" y="138"/>
                      <a:pt x="1425" y="139"/>
                      <a:pt x="1427" y="139"/>
                    </a:cubicBezTo>
                    <a:cubicBezTo>
                      <a:pt x="1427" y="139"/>
                      <a:pt x="1427" y="138"/>
                      <a:pt x="1427" y="138"/>
                    </a:cubicBezTo>
                    <a:cubicBezTo>
                      <a:pt x="1428" y="138"/>
                      <a:pt x="1428" y="138"/>
                      <a:pt x="1428" y="138"/>
                    </a:cubicBezTo>
                    <a:cubicBezTo>
                      <a:pt x="1428" y="138"/>
                      <a:pt x="1428" y="138"/>
                      <a:pt x="1428" y="138"/>
                    </a:cubicBezTo>
                    <a:cubicBezTo>
                      <a:pt x="1428" y="138"/>
                      <a:pt x="1428" y="138"/>
                      <a:pt x="1428" y="138"/>
                    </a:cubicBezTo>
                    <a:cubicBezTo>
                      <a:pt x="1427" y="137"/>
                      <a:pt x="1428" y="136"/>
                      <a:pt x="1429" y="136"/>
                    </a:cubicBezTo>
                    <a:cubicBezTo>
                      <a:pt x="1429" y="136"/>
                      <a:pt x="1429" y="136"/>
                      <a:pt x="1429" y="136"/>
                    </a:cubicBezTo>
                    <a:cubicBezTo>
                      <a:pt x="1430" y="136"/>
                      <a:pt x="1430" y="136"/>
                      <a:pt x="1430" y="136"/>
                    </a:cubicBezTo>
                    <a:cubicBezTo>
                      <a:pt x="1430" y="136"/>
                      <a:pt x="1430" y="136"/>
                      <a:pt x="1430" y="136"/>
                    </a:cubicBezTo>
                    <a:cubicBezTo>
                      <a:pt x="1431" y="136"/>
                      <a:pt x="1431" y="136"/>
                      <a:pt x="1431" y="136"/>
                    </a:cubicBezTo>
                    <a:cubicBezTo>
                      <a:pt x="1431" y="136"/>
                      <a:pt x="1431" y="136"/>
                      <a:pt x="1431" y="136"/>
                    </a:cubicBezTo>
                    <a:cubicBezTo>
                      <a:pt x="1432" y="135"/>
                      <a:pt x="1432" y="135"/>
                      <a:pt x="1432" y="135"/>
                    </a:cubicBezTo>
                    <a:cubicBezTo>
                      <a:pt x="1432" y="135"/>
                      <a:pt x="1432" y="135"/>
                      <a:pt x="1432" y="135"/>
                    </a:cubicBezTo>
                    <a:cubicBezTo>
                      <a:pt x="1434" y="135"/>
                      <a:pt x="1434" y="135"/>
                      <a:pt x="1434" y="135"/>
                    </a:cubicBezTo>
                    <a:cubicBezTo>
                      <a:pt x="1435" y="135"/>
                      <a:pt x="1435" y="135"/>
                      <a:pt x="1435" y="135"/>
                    </a:cubicBezTo>
                    <a:cubicBezTo>
                      <a:pt x="1435" y="135"/>
                      <a:pt x="1435" y="135"/>
                      <a:pt x="1435" y="135"/>
                    </a:cubicBezTo>
                    <a:cubicBezTo>
                      <a:pt x="1435" y="135"/>
                      <a:pt x="1435" y="135"/>
                      <a:pt x="1435" y="135"/>
                    </a:cubicBezTo>
                    <a:cubicBezTo>
                      <a:pt x="1435" y="136"/>
                      <a:pt x="1435" y="136"/>
                      <a:pt x="1435" y="136"/>
                    </a:cubicBezTo>
                    <a:cubicBezTo>
                      <a:pt x="1434" y="137"/>
                      <a:pt x="1434" y="137"/>
                      <a:pt x="1434" y="137"/>
                    </a:cubicBezTo>
                    <a:cubicBezTo>
                      <a:pt x="1434" y="139"/>
                      <a:pt x="1434" y="139"/>
                      <a:pt x="1434" y="139"/>
                    </a:cubicBezTo>
                    <a:cubicBezTo>
                      <a:pt x="1434" y="140"/>
                      <a:pt x="1434" y="140"/>
                      <a:pt x="1434" y="140"/>
                    </a:cubicBezTo>
                    <a:cubicBezTo>
                      <a:pt x="1434" y="140"/>
                      <a:pt x="1434" y="140"/>
                      <a:pt x="1434" y="140"/>
                    </a:cubicBezTo>
                    <a:cubicBezTo>
                      <a:pt x="1434" y="140"/>
                      <a:pt x="1434" y="140"/>
                      <a:pt x="1434" y="140"/>
                    </a:cubicBezTo>
                    <a:cubicBezTo>
                      <a:pt x="1434" y="139"/>
                      <a:pt x="1434" y="139"/>
                      <a:pt x="1434" y="139"/>
                    </a:cubicBezTo>
                    <a:cubicBezTo>
                      <a:pt x="1435" y="139"/>
                      <a:pt x="1435" y="139"/>
                      <a:pt x="1435" y="139"/>
                    </a:cubicBezTo>
                    <a:cubicBezTo>
                      <a:pt x="1435" y="139"/>
                      <a:pt x="1435" y="139"/>
                      <a:pt x="1435" y="139"/>
                    </a:cubicBezTo>
                    <a:cubicBezTo>
                      <a:pt x="1435" y="139"/>
                      <a:pt x="1435" y="139"/>
                      <a:pt x="1435" y="139"/>
                    </a:cubicBezTo>
                    <a:cubicBezTo>
                      <a:pt x="1436" y="139"/>
                      <a:pt x="1436" y="139"/>
                      <a:pt x="1436" y="139"/>
                    </a:cubicBezTo>
                    <a:cubicBezTo>
                      <a:pt x="1437" y="139"/>
                      <a:pt x="1437" y="139"/>
                      <a:pt x="1437" y="139"/>
                    </a:cubicBezTo>
                    <a:cubicBezTo>
                      <a:pt x="1438" y="139"/>
                      <a:pt x="1438" y="139"/>
                      <a:pt x="1438" y="139"/>
                    </a:cubicBezTo>
                    <a:cubicBezTo>
                      <a:pt x="1442" y="140"/>
                      <a:pt x="1442" y="140"/>
                      <a:pt x="1442" y="140"/>
                    </a:cubicBezTo>
                    <a:cubicBezTo>
                      <a:pt x="1443" y="141"/>
                      <a:pt x="1443" y="141"/>
                      <a:pt x="1443" y="141"/>
                    </a:cubicBezTo>
                    <a:cubicBezTo>
                      <a:pt x="1444" y="141"/>
                      <a:pt x="1444" y="141"/>
                      <a:pt x="1444" y="141"/>
                    </a:cubicBezTo>
                    <a:cubicBezTo>
                      <a:pt x="1444" y="141"/>
                      <a:pt x="1444" y="141"/>
                      <a:pt x="1444" y="141"/>
                    </a:cubicBezTo>
                    <a:cubicBezTo>
                      <a:pt x="1444" y="142"/>
                      <a:pt x="1444" y="142"/>
                      <a:pt x="1444" y="142"/>
                    </a:cubicBezTo>
                    <a:cubicBezTo>
                      <a:pt x="1444" y="143"/>
                      <a:pt x="1444" y="143"/>
                      <a:pt x="1444" y="143"/>
                    </a:cubicBezTo>
                    <a:cubicBezTo>
                      <a:pt x="1442" y="149"/>
                      <a:pt x="1442" y="147"/>
                      <a:pt x="1446" y="151"/>
                    </a:cubicBezTo>
                    <a:cubicBezTo>
                      <a:pt x="1446" y="151"/>
                      <a:pt x="1446" y="151"/>
                      <a:pt x="1446" y="151"/>
                    </a:cubicBezTo>
                    <a:cubicBezTo>
                      <a:pt x="1447" y="150"/>
                      <a:pt x="1447" y="150"/>
                      <a:pt x="1447" y="150"/>
                    </a:cubicBezTo>
                    <a:cubicBezTo>
                      <a:pt x="1447" y="149"/>
                      <a:pt x="1447" y="149"/>
                      <a:pt x="1447" y="149"/>
                    </a:cubicBezTo>
                    <a:cubicBezTo>
                      <a:pt x="1449" y="149"/>
                      <a:pt x="1449" y="149"/>
                      <a:pt x="1449" y="149"/>
                    </a:cubicBezTo>
                    <a:cubicBezTo>
                      <a:pt x="1449" y="149"/>
                      <a:pt x="1449" y="149"/>
                      <a:pt x="1449" y="149"/>
                    </a:cubicBezTo>
                    <a:cubicBezTo>
                      <a:pt x="1450" y="149"/>
                      <a:pt x="1450" y="149"/>
                      <a:pt x="1450" y="149"/>
                    </a:cubicBezTo>
                    <a:cubicBezTo>
                      <a:pt x="1450" y="150"/>
                      <a:pt x="1450" y="150"/>
                      <a:pt x="1450" y="150"/>
                    </a:cubicBezTo>
                    <a:cubicBezTo>
                      <a:pt x="1451" y="151"/>
                      <a:pt x="1451" y="151"/>
                      <a:pt x="1451" y="151"/>
                    </a:cubicBezTo>
                    <a:cubicBezTo>
                      <a:pt x="1450" y="151"/>
                      <a:pt x="1450" y="151"/>
                      <a:pt x="1450" y="151"/>
                    </a:cubicBezTo>
                    <a:cubicBezTo>
                      <a:pt x="1450" y="151"/>
                      <a:pt x="1450" y="151"/>
                      <a:pt x="1450" y="151"/>
                    </a:cubicBezTo>
                    <a:cubicBezTo>
                      <a:pt x="1450" y="151"/>
                      <a:pt x="1450" y="151"/>
                      <a:pt x="1450" y="151"/>
                    </a:cubicBezTo>
                    <a:cubicBezTo>
                      <a:pt x="1449" y="152"/>
                      <a:pt x="1449" y="152"/>
                      <a:pt x="1449" y="152"/>
                    </a:cubicBezTo>
                    <a:cubicBezTo>
                      <a:pt x="1449" y="152"/>
                      <a:pt x="1449" y="152"/>
                      <a:pt x="1449" y="152"/>
                    </a:cubicBezTo>
                    <a:cubicBezTo>
                      <a:pt x="1449" y="153"/>
                      <a:pt x="1449" y="153"/>
                      <a:pt x="1449" y="153"/>
                    </a:cubicBezTo>
                    <a:cubicBezTo>
                      <a:pt x="1448" y="154"/>
                      <a:pt x="1448" y="154"/>
                      <a:pt x="1448" y="154"/>
                    </a:cubicBezTo>
                    <a:cubicBezTo>
                      <a:pt x="1448" y="156"/>
                      <a:pt x="1448" y="156"/>
                      <a:pt x="1448" y="156"/>
                    </a:cubicBezTo>
                    <a:cubicBezTo>
                      <a:pt x="1448" y="157"/>
                      <a:pt x="1448" y="157"/>
                      <a:pt x="1448" y="157"/>
                    </a:cubicBezTo>
                    <a:cubicBezTo>
                      <a:pt x="1448" y="157"/>
                      <a:pt x="1448" y="157"/>
                      <a:pt x="1448" y="157"/>
                    </a:cubicBezTo>
                    <a:cubicBezTo>
                      <a:pt x="1449" y="157"/>
                      <a:pt x="1449" y="157"/>
                      <a:pt x="1449" y="157"/>
                    </a:cubicBezTo>
                    <a:cubicBezTo>
                      <a:pt x="1449" y="157"/>
                      <a:pt x="1449" y="157"/>
                      <a:pt x="1449" y="157"/>
                    </a:cubicBezTo>
                    <a:cubicBezTo>
                      <a:pt x="1450" y="156"/>
                      <a:pt x="1451" y="155"/>
                      <a:pt x="1452" y="155"/>
                    </a:cubicBezTo>
                    <a:cubicBezTo>
                      <a:pt x="1452" y="155"/>
                      <a:pt x="1453" y="156"/>
                      <a:pt x="1454" y="156"/>
                    </a:cubicBezTo>
                    <a:cubicBezTo>
                      <a:pt x="1454" y="156"/>
                      <a:pt x="1455" y="157"/>
                      <a:pt x="1456" y="157"/>
                    </a:cubicBezTo>
                    <a:cubicBezTo>
                      <a:pt x="1456" y="157"/>
                      <a:pt x="1456" y="157"/>
                      <a:pt x="1456" y="157"/>
                    </a:cubicBezTo>
                    <a:cubicBezTo>
                      <a:pt x="1457" y="157"/>
                      <a:pt x="1457" y="157"/>
                      <a:pt x="1457" y="157"/>
                    </a:cubicBezTo>
                    <a:cubicBezTo>
                      <a:pt x="1457" y="156"/>
                      <a:pt x="1457" y="156"/>
                      <a:pt x="1457" y="156"/>
                    </a:cubicBezTo>
                    <a:cubicBezTo>
                      <a:pt x="1458" y="156"/>
                      <a:pt x="1458" y="156"/>
                      <a:pt x="1458" y="156"/>
                    </a:cubicBezTo>
                    <a:cubicBezTo>
                      <a:pt x="1458" y="156"/>
                      <a:pt x="1458" y="156"/>
                      <a:pt x="1458" y="156"/>
                    </a:cubicBezTo>
                    <a:cubicBezTo>
                      <a:pt x="1458" y="155"/>
                      <a:pt x="1458" y="155"/>
                      <a:pt x="1458" y="155"/>
                    </a:cubicBezTo>
                    <a:cubicBezTo>
                      <a:pt x="1458" y="154"/>
                      <a:pt x="1458" y="154"/>
                      <a:pt x="1458" y="154"/>
                    </a:cubicBezTo>
                    <a:cubicBezTo>
                      <a:pt x="1458" y="154"/>
                      <a:pt x="1458" y="154"/>
                      <a:pt x="1458" y="154"/>
                    </a:cubicBezTo>
                    <a:cubicBezTo>
                      <a:pt x="1458" y="153"/>
                      <a:pt x="1458" y="153"/>
                      <a:pt x="1458" y="153"/>
                    </a:cubicBezTo>
                    <a:cubicBezTo>
                      <a:pt x="1458" y="153"/>
                      <a:pt x="1458" y="153"/>
                      <a:pt x="1458" y="153"/>
                    </a:cubicBezTo>
                    <a:cubicBezTo>
                      <a:pt x="1459" y="153"/>
                      <a:pt x="1459" y="153"/>
                      <a:pt x="1459" y="153"/>
                    </a:cubicBezTo>
                    <a:cubicBezTo>
                      <a:pt x="1459" y="153"/>
                      <a:pt x="1459" y="153"/>
                      <a:pt x="1459" y="153"/>
                    </a:cubicBezTo>
                    <a:cubicBezTo>
                      <a:pt x="1460" y="153"/>
                      <a:pt x="1460" y="153"/>
                      <a:pt x="1460" y="153"/>
                    </a:cubicBezTo>
                    <a:cubicBezTo>
                      <a:pt x="1460" y="153"/>
                      <a:pt x="1460" y="153"/>
                      <a:pt x="1460" y="153"/>
                    </a:cubicBezTo>
                    <a:cubicBezTo>
                      <a:pt x="1461" y="153"/>
                      <a:pt x="1461" y="153"/>
                      <a:pt x="1461" y="153"/>
                    </a:cubicBezTo>
                    <a:cubicBezTo>
                      <a:pt x="1462" y="153"/>
                      <a:pt x="1462" y="153"/>
                      <a:pt x="1462" y="153"/>
                    </a:cubicBezTo>
                    <a:cubicBezTo>
                      <a:pt x="1465" y="153"/>
                      <a:pt x="1465" y="153"/>
                      <a:pt x="1465" y="153"/>
                    </a:cubicBezTo>
                    <a:cubicBezTo>
                      <a:pt x="1466" y="153"/>
                      <a:pt x="1466" y="153"/>
                      <a:pt x="1466" y="153"/>
                    </a:cubicBezTo>
                    <a:cubicBezTo>
                      <a:pt x="1467" y="153"/>
                      <a:pt x="1467" y="153"/>
                      <a:pt x="1467" y="153"/>
                    </a:cubicBezTo>
                    <a:cubicBezTo>
                      <a:pt x="1466" y="153"/>
                      <a:pt x="1466" y="153"/>
                      <a:pt x="1466" y="153"/>
                    </a:cubicBezTo>
                    <a:cubicBezTo>
                      <a:pt x="1466" y="153"/>
                      <a:pt x="1466" y="153"/>
                      <a:pt x="1466" y="153"/>
                    </a:cubicBezTo>
                    <a:cubicBezTo>
                      <a:pt x="1466" y="154"/>
                      <a:pt x="1466" y="154"/>
                      <a:pt x="1466" y="154"/>
                    </a:cubicBezTo>
                    <a:cubicBezTo>
                      <a:pt x="1466" y="154"/>
                      <a:pt x="1466" y="154"/>
                      <a:pt x="1466" y="154"/>
                    </a:cubicBezTo>
                    <a:cubicBezTo>
                      <a:pt x="1463" y="157"/>
                      <a:pt x="1459" y="158"/>
                      <a:pt x="1456" y="158"/>
                    </a:cubicBezTo>
                    <a:cubicBezTo>
                      <a:pt x="1455" y="158"/>
                      <a:pt x="1455" y="158"/>
                      <a:pt x="1455" y="158"/>
                    </a:cubicBezTo>
                    <a:cubicBezTo>
                      <a:pt x="1454" y="158"/>
                      <a:pt x="1454" y="158"/>
                      <a:pt x="1454" y="158"/>
                    </a:cubicBezTo>
                    <a:cubicBezTo>
                      <a:pt x="1454" y="158"/>
                      <a:pt x="1454" y="158"/>
                      <a:pt x="1453" y="158"/>
                    </a:cubicBezTo>
                    <a:cubicBezTo>
                      <a:pt x="1452" y="158"/>
                      <a:pt x="1451" y="158"/>
                      <a:pt x="1450" y="158"/>
                    </a:cubicBezTo>
                    <a:cubicBezTo>
                      <a:pt x="1449" y="159"/>
                      <a:pt x="1448" y="159"/>
                      <a:pt x="1447" y="159"/>
                    </a:cubicBezTo>
                    <a:cubicBezTo>
                      <a:pt x="1447" y="159"/>
                      <a:pt x="1446" y="159"/>
                      <a:pt x="1445" y="158"/>
                    </a:cubicBezTo>
                    <a:cubicBezTo>
                      <a:pt x="1445" y="158"/>
                      <a:pt x="1445" y="158"/>
                      <a:pt x="1445" y="158"/>
                    </a:cubicBezTo>
                    <a:cubicBezTo>
                      <a:pt x="1444" y="157"/>
                      <a:pt x="1444" y="157"/>
                      <a:pt x="1444" y="157"/>
                    </a:cubicBezTo>
                    <a:cubicBezTo>
                      <a:pt x="1444" y="157"/>
                      <a:pt x="1444" y="157"/>
                      <a:pt x="1444" y="157"/>
                    </a:cubicBezTo>
                    <a:cubicBezTo>
                      <a:pt x="1443" y="157"/>
                      <a:pt x="1443" y="157"/>
                      <a:pt x="1443" y="157"/>
                    </a:cubicBezTo>
                    <a:cubicBezTo>
                      <a:pt x="1443" y="157"/>
                      <a:pt x="1443" y="157"/>
                      <a:pt x="1443" y="157"/>
                    </a:cubicBezTo>
                    <a:cubicBezTo>
                      <a:pt x="1442" y="156"/>
                      <a:pt x="1442" y="156"/>
                      <a:pt x="1442" y="156"/>
                    </a:cubicBezTo>
                    <a:cubicBezTo>
                      <a:pt x="1442" y="156"/>
                      <a:pt x="1442" y="156"/>
                      <a:pt x="1442" y="156"/>
                    </a:cubicBezTo>
                    <a:cubicBezTo>
                      <a:pt x="1441" y="156"/>
                      <a:pt x="1441" y="156"/>
                      <a:pt x="1441" y="156"/>
                    </a:cubicBezTo>
                    <a:cubicBezTo>
                      <a:pt x="1441" y="156"/>
                      <a:pt x="1441" y="156"/>
                      <a:pt x="1441" y="156"/>
                    </a:cubicBezTo>
                    <a:cubicBezTo>
                      <a:pt x="1440" y="156"/>
                      <a:pt x="1440" y="156"/>
                      <a:pt x="1440" y="156"/>
                    </a:cubicBezTo>
                    <a:cubicBezTo>
                      <a:pt x="1440" y="156"/>
                      <a:pt x="1440" y="156"/>
                      <a:pt x="1440" y="156"/>
                    </a:cubicBezTo>
                    <a:cubicBezTo>
                      <a:pt x="1439" y="156"/>
                      <a:pt x="1439" y="156"/>
                      <a:pt x="1439" y="156"/>
                    </a:cubicBezTo>
                    <a:cubicBezTo>
                      <a:pt x="1438" y="156"/>
                      <a:pt x="1438" y="156"/>
                      <a:pt x="1438" y="156"/>
                    </a:cubicBezTo>
                    <a:cubicBezTo>
                      <a:pt x="1438" y="156"/>
                      <a:pt x="1438" y="156"/>
                      <a:pt x="1438" y="156"/>
                    </a:cubicBezTo>
                    <a:cubicBezTo>
                      <a:pt x="1437" y="156"/>
                      <a:pt x="1437" y="156"/>
                      <a:pt x="1437" y="156"/>
                    </a:cubicBezTo>
                    <a:cubicBezTo>
                      <a:pt x="1437" y="156"/>
                      <a:pt x="1437" y="156"/>
                      <a:pt x="1437" y="156"/>
                    </a:cubicBezTo>
                    <a:cubicBezTo>
                      <a:pt x="1437" y="156"/>
                      <a:pt x="1437" y="156"/>
                      <a:pt x="1437" y="156"/>
                    </a:cubicBezTo>
                    <a:cubicBezTo>
                      <a:pt x="1435" y="156"/>
                      <a:pt x="1433" y="155"/>
                      <a:pt x="1432" y="153"/>
                    </a:cubicBezTo>
                    <a:cubicBezTo>
                      <a:pt x="1432" y="153"/>
                      <a:pt x="1432" y="153"/>
                      <a:pt x="1432" y="153"/>
                    </a:cubicBezTo>
                    <a:cubicBezTo>
                      <a:pt x="1432" y="153"/>
                      <a:pt x="1432" y="153"/>
                      <a:pt x="1432" y="153"/>
                    </a:cubicBezTo>
                    <a:cubicBezTo>
                      <a:pt x="1432" y="153"/>
                      <a:pt x="1432" y="153"/>
                      <a:pt x="1432" y="153"/>
                    </a:cubicBezTo>
                    <a:cubicBezTo>
                      <a:pt x="1432" y="152"/>
                      <a:pt x="1432" y="152"/>
                      <a:pt x="1432" y="152"/>
                    </a:cubicBezTo>
                    <a:cubicBezTo>
                      <a:pt x="1432" y="152"/>
                      <a:pt x="1432" y="152"/>
                      <a:pt x="1432" y="152"/>
                    </a:cubicBezTo>
                    <a:cubicBezTo>
                      <a:pt x="1432" y="152"/>
                      <a:pt x="1432" y="152"/>
                      <a:pt x="1432" y="152"/>
                    </a:cubicBezTo>
                    <a:cubicBezTo>
                      <a:pt x="1432" y="151"/>
                      <a:pt x="1432" y="151"/>
                      <a:pt x="1432" y="151"/>
                    </a:cubicBezTo>
                    <a:cubicBezTo>
                      <a:pt x="1432" y="151"/>
                      <a:pt x="1432" y="151"/>
                      <a:pt x="1432" y="151"/>
                    </a:cubicBezTo>
                    <a:cubicBezTo>
                      <a:pt x="1432" y="149"/>
                      <a:pt x="1432" y="149"/>
                      <a:pt x="1432" y="149"/>
                    </a:cubicBezTo>
                    <a:cubicBezTo>
                      <a:pt x="1432" y="149"/>
                      <a:pt x="1432" y="149"/>
                      <a:pt x="1432" y="149"/>
                    </a:cubicBezTo>
                    <a:cubicBezTo>
                      <a:pt x="1432" y="149"/>
                      <a:pt x="1432" y="149"/>
                      <a:pt x="1432" y="149"/>
                    </a:cubicBezTo>
                    <a:cubicBezTo>
                      <a:pt x="1432" y="149"/>
                      <a:pt x="1432" y="149"/>
                      <a:pt x="1432" y="149"/>
                    </a:cubicBezTo>
                    <a:cubicBezTo>
                      <a:pt x="1432" y="148"/>
                      <a:pt x="1432" y="148"/>
                      <a:pt x="1432" y="148"/>
                    </a:cubicBezTo>
                    <a:cubicBezTo>
                      <a:pt x="1431" y="148"/>
                      <a:pt x="1431" y="148"/>
                      <a:pt x="1431" y="148"/>
                    </a:cubicBezTo>
                    <a:cubicBezTo>
                      <a:pt x="1431" y="148"/>
                      <a:pt x="1431" y="148"/>
                      <a:pt x="1431" y="148"/>
                    </a:cubicBezTo>
                    <a:cubicBezTo>
                      <a:pt x="1430" y="146"/>
                      <a:pt x="1427" y="145"/>
                      <a:pt x="1425" y="145"/>
                    </a:cubicBezTo>
                    <a:cubicBezTo>
                      <a:pt x="1424" y="145"/>
                      <a:pt x="1424" y="145"/>
                      <a:pt x="1424" y="145"/>
                    </a:cubicBezTo>
                    <a:cubicBezTo>
                      <a:pt x="1424" y="145"/>
                      <a:pt x="1424" y="145"/>
                      <a:pt x="1424" y="145"/>
                    </a:cubicBezTo>
                    <a:cubicBezTo>
                      <a:pt x="1423" y="145"/>
                      <a:pt x="1423" y="145"/>
                      <a:pt x="1423" y="145"/>
                    </a:cubicBezTo>
                    <a:cubicBezTo>
                      <a:pt x="1422" y="145"/>
                      <a:pt x="1422" y="145"/>
                      <a:pt x="1422" y="145"/>
                    </a:cubicBezTo>
                    <a:cubicBezTo>
                      <a:pt x="1422" y="145"/>
                      <a:pt x="1422" y="145"/>
                      <a:pt x="1422" y="145"/>
                    </a:cubicBezTo>
                    <a:cubicBezTo>
                      <a:pt x="1421" y="145"/>
                      <a:pt x="1420" y="145"/>
                      <a:pt x="1419" y="145"/>
                    </a:cubicBezTo>
                    <a:cubicBezTo>
                      <a:pt x="1418" y="145"/>
                      <a:pt x="1417" y="145"/>
                      <a:pt x="1417" y="145"/>
                    </a:cubicBezTo>
                    <a:cubicBezTo>
                      <a:pt x="1416" y="145"/>
                      <a:pt x="1416" y="145"/>
                      <a:pt x="1416" y="145"/>
                    </a:cubicBezTo>
                    <a:cubicBezTo>
                      <a:pt x="1416" y="144"/>
                      <a:pt x="1416" y="144"/>
                      <a:pt x="1416" y="144"/>
                    </a:cubicBezTo>
                    <a:cubicBezTo>
                      <a:pt x="1415" y="144"/>
                      <a:pt x="1415" y="144"/>
                      <a:pt x="1415" y="144"/>
                    </a:cubicBezTo>
                    <a:cubicBezTo>
                      <a:pt x="1415" y="144"/>
                      <a:pt x="1415" y="144"/>
                      <a:pt x="1415" y="144"/>
                    </a:cubicBezTo>
                    <a:cubicBezTo>
                      <a:pt x="1414" y="144"/>
                      <a:pt x="1414" y="144"/>
                      <a:pt x="1414" y="144"/>
                    </a:cubicBezTo>
                    <a:cubicBezTo>
                      <a:pt x="1414" y="144"/>
                      <a:pt x="1414" y="144"/>
                      <a:pt x="1414" y="144"/>
                    </a:cubicBezTo>
                    <a:cubicBezTo>
                      <a:pt x="1413" y="144"/>
                      <a:pt x="1413" y="144"/>
                      <a:pt x="1413" y="144"/>
                    </a:cubicBezTo>
                    <a:cubicBezTo>
                      <a:pt x="1413" y="144"/>
                      <a:pt x="1413" y="144"/>
                      <a:pt x="1413" y="144"/>
                    </a:cubicBezTo>
                    <a:cubicBezTo>
                      <a:pt x="1412" y="144"/>
                      <a:pt x="1412" y="144"/>
                      <a:pt x="1412" y="144"/>
                    </a:cubicBezTo>
                    <a:cubicBezTo>
                      <a:pt x="1411" y="144"/>
                      <a:pt x="1411" y="144"/>
                      <a:pt x="1411" y="144"/>
                    </a:cubicBezTo>
                    <a:cubicBezTo>
                      <a:pt x="1411" y="144"/>
                      <a:pt x="1411" y="144"/>
                      <a:pt x="1411" y="144"/>
                    </a:cubicBezTo>
                    <a:cubicBezTo>
                      <a:pt x="1410" y="144"/>
                      <a:pt x="1410" y="144"/>
                      <a:pt x="1410" y="144"/>
                    </a:cubicBezTo>
                    <a:cubicBezTo>
                      <a:pt x="1410" y="144"/>
                      <a:pt x="1410" y="144"/>
                      <a:pt x="1410" y="144"/>
                    </a:cubicBezTo>
                    <a:cubicBezTo>
                      <a:pt x="1409" y="144"/>
                      <a:pt x="1409" y="144"/>
                      <a:pt x="1409" y="144"/>
                    </a:cubicBezTo>
                    <a:cubicBezTo>
                      <a:pt x="1408" y="144"/>
                      <a:pt x="1408" y="144"/>
                      <a:pt x="1408" y="144"/>
                    </a:cubicBezTo>
                    <a:cubicBezTo>
                      <a:pt x="1407" y="145"/>
                      <a:pt x="1407" y="145"/>
                      <a:pt x="1407" y="145"/>
                    </a:cubicBezTo>
                    <a:cubicBezTo>
                      <a:pt x="1405" y="148"/>
                      <a:pt x="1405" y="148"/>
                      <a:pt x="1405" y="148"/>
                    </a:cubicBezTo>
                    <a:cubicBezTo>
                      <a:pt x="1405" y="149"/>
                      <a:pt x="1405" y="149"/>
                      <a:pt x="1405" y="149"/>
                    </a:cubicBezTo>
                    <a:cubicBezTo>
                      <a:pt x="1404" y="149"/>
                      <a:pt x="1404" y="149"/>
                      <a:pt x="1404" y="149"/>
                    </a:cubicBezTo>
                    <a:cubicBezTo>
                      <a:pt x="1404" y="149"/>
                      <a:pt x="1404" y="149"/>
                      <a:pt x="1404" y="149"/>
                    </a:cubicBezTo>
                    <a:cubicBezTo>
                      <a:pt x="1405" y="147"/>
                      <a:pt x="1402" y="147"/>
                      <a:pt x="1404" y="144"/>
                    </a:cubicBezTo>
                    <a:cubicBezTo>
                      <a:pt x="1404" y="144"/>
                      <a:pt x="1404" y="144"/>
                      <a:pt x="1404" y="144"/>
                    </a:cubicBezTo>
                    <a:cubicBezTo>
                      <a:pt x="1404" y="144"/>
                      <a:pt x="1404" y="144"/>
                      <a:pt x="1404" y="144"/>
                    </a:cubicBezTo>
                    <a:cubicBezTo>
                      <a:pt x="1403" y="143"/>
                      <a:pt x="1403" y="143"/>
                      <a:pt x="1403" y="143"/>
                    </a:cubicBezTo>
                    <a:cubicBezTo>
                      <a:pt x="1403" y="143"/>
                      <a:pt x="1403" y="143"/>
                      <a:pt x="1403" y="143"/>
                    </a:cubicBezTo>
                    <a:cubicBezTo>
                      <a:pt x="1399" y="143"/>
                      <a:pt x="1397" y="142"/>
                      <a:pt x="1396" y="142"/>
                    </a:cubicBezTo>
                    <a:cubicBezTo>
                      <a:pt x="1395" y="142"/>
                      <a:pt x="1394" y="142"/>
                      <a:pt x="1394" y="142"/>
                    </a:cubicBezTo>
                    <a:cubicBezTo>
                      <a:pt x="1393" y="142"/>
                      <a:pt x="1392" y="143"/>
                      <a:pt x="1391" y="143"/>
                    </a:cubicBezTo>
                    <a:cubicBezTo>
                      <a:pt x="1390" y="143"/>
                      <a:pt x="1389" y="142"/>
                      <a:pt x="1388" y="142"/>
                    </a:cubicBezTo>
                    <a:cubicBezTo>
                      <a:pt x="1387" y="142"/>
                      <a:pt x="1387" y="142"/>
                      <a:pt x="1387" y="142"/>
                    </a:cubicBezTo>
                    <a:cubicBezTo>
                      <a:pt x="1387" y="142"/>
                      <a:pt x="1387" y="142"/>
                      <a:pt x="1387" y="142"/>
                    </a:cubicBezTo>
                    <a:cubicBezTo>
                      <a:pt x="1386" y="142"/>
                      <a:pt x="1386" y="142"/>
                      <a:pt x="1386" y="142"/>
                    </a:cubicBezTo>
                    <a:cubicBezTo>
                      <a:pt x="1386" y="142"/>
                      <a:pt x="1386" y="142"/>
                      <a:pt x="1386" y="142"/>
                    </a:cubicBezTo>
                    <a:cubicBezTo>
                      <a:pt x="1385" y="142"/>
                      <a:pt x="1385" y="142"/>
                      <a:pt x="1385" y="142"/>
                    </a:cubicBezTo>
                    <a:cubicBezTo>
                      <a:pt x="1384" y="142"/>
                      <a:pt x="1384" y="142"/>
                      <a:pt x="1384" y="142"/>
                    </a:cubicBezTo>
                    <a:cubicBezTo>
                      <a:pt x="1382" y="143"/>
                      <a:pt x="1382" y="143"/>
                      <a:pt x="1382" y="143"/>
                    </a:cubicBezTo>
                    <a:cubicBezTo>
                      <a:pt x="1381" y="143"/>
                      <a:pt x="1381" y="143"/>
                      <a:pt x="1381" y="143"/>
                    </a:cubicBezTo>
                    <a:cubicBezTo>
                      <a:pt x="1381" y="143"/>
                      <a:pt x="1381" y="143"/>
                      <a:pt x="1381" y="143"/>
                    </a:cubicBezTo>
                    <a:cubicBezTo>
                      <a:pt x="1381" y="142"/>
                      <a:pt x="1381" y="142"/>
                      <a:pt x="1381" y="142"/>
                    </a:cubicBezTo>
                    <a:cubicBezTo>
                      <a:pt x="1380" y="142"/>
                      <a:pt x="1380" y="142"/>
                      <a:pt x="1380" y="142"/>
                    </a:cubicBezTo>
                    <a:cubicBezTo>
                      <a:pt x="1380" y="142"/>
                      <a:pt x="1380" y="142"/>
                      <a:pt x="1380" y="142"/>
                    </a:cubicBezTo>
                    <a:cubicBezTo>
                      <a:pt x="1380" y="141"/>
                      <a:pt x="1380" y="141"/>
                      <a:pt x="1380" y="141"/>
                    </a:cubicBezTo>
                    <a:cubicBezTo>
                      <a:pt x="1379" y="141"/>
                      <a:pt x="1379" y="141"/>
                      <a:pt x="1379" y="141"/>
                    </a:cubicBezTo>
                    <a:cubicBezTo>
                      <a:pt x="1379" y="141"/>
                      <a:pt x="1379" y="141"/>
                      <a:pt x="1379" y="141"/>
                    </a:cubicBezTo>
                    <a:cubicBezTo>
                      <a:pt x="1378" y="141"/>
                      <a:pt x="1378" y="141"/>
                      <a:pt x="1378" y="141"/>
                    </a:cubicBezTo>
                    <a:cubicBezTo>
                      <a:pt x="1376" y="140"/>
                      <a:pt x="1374" y="140"/>
                      <a:pt x="1372" y="140"/>
                    </a:cubicBezTo>
                    <a:cubicBezTo>
                      <a:pt x="1371" y="139"/>
                      <a:pt x="1371" y="139"/>
                      <a:pt x="1371" y="139"/>
                    </a:cubicBezTo>
                    <a:cubicBezTo>
                      <a:pt x="1370" y="139"/>
                      <a:pt x="1370" y="139"/>
                      <a:pt x="1370" y="139"/>
                    </a:cubicBezTo>
                    <a:cubicBezTo>
                      <a:pt x="1370" y="139"/>
                      <a:pt x="1370" y="139"/>
                      <a:pt x="1370" y="139"/>
                    </a:cubicBezTo>
                    <a:cubicBezTo>
                      <a:pt x="1369" y="139"/>
                      <a:pt x="1369" y="139"/>
                      <a:pt x="1369" y="139"/>
                    </a:cubicBezTo>
                    <a:cubicBezTo>
                      <a:pt x="1369" y="139"/>
                      <a:pt x="1369" y="139"/>
                      <a:pt x="1369" y="139"/>
                    </a:cubicBezTo>
                    <a:cubicBezTo>
                      <a:pt x="1368" y="138"/>
                      <a:pt x="1368" y="138"/>
                      <a:pt x="1368" y="138"/>
                    </a:cubicBezTo>
                    <a:cubicBezTo>
                      <a:pt x="1364" y="137"/>
                      <a:pt x="1364" y="138"/>
                      <a:pt x="1359" y="135"/>
                    </a:cubicBezTo>
                    <a:cubicBezTo>
                      <a:pt x="1358" y="134"/>
                      <a:pt x="1358" y="134"/>
                      <a:pt x="1358" y="134"/>
                    </a:cubicBezTo>
                    <a:cubicBezTo>
                      <a:pt x="1357" y="134"/>
                      <a:pt x="1357" y="134"/>
                      <a:pt x="1357" y="134"/>
                    </a:cubicBezTo>
                    <a:cubicBezTo>
                      <a:pt x="1356" y="133"/>
                      <a:pt x="1357" y="132"/>
                      <a:pt x="1356" y="130"/>
                    </a:cubicBezTo>
                    <a:cubicBezTo>
                      <a:pt x="1357" y="130"/>
                      <a:pt x="1357" y="130"/>
                      <a:pt x="1357" y="130"/>
                    </a:cubicBezTo>
                    <a:cubicBezTo>
                      <a:pt x="1357" y="129"/>
                      <a:pt x="1357" y="129"/>
                      <a:pt x="1357" y="129"/>
                    </a:cubicBezTo>
                    <a:cubicBezTo>
                      <a:pt x="1358" y="129"/>
                      <a:pt x="1358" y="129"/>
                      <a:pt x="1358" y="129"/>
                    </a:cubicBezTo>
                    <a:cubicBezTo>
                      <a:pt x="1358" y="129"/>
                      <a:pt x="1358" y="129"/>
                      <a:pt x="1358" y="129"/>
                    </a:cubicBezTo>
                    <a:cubicBezTo>
                      <a:pt x="1359" y="129"/>
                      <a:pt x="1359" y="129"/>
                      <a:pt x="1359" y="129"/>
                    </a:cubicBezTo>
                    <a:cubicBezTo>
                      <a:pt x="1359" y="129"/>
                      <a:pt x="1359" y="129"/>
                      <a:pt x="1359" y="129"/>
                    </a:cubicBezTo>
                    <a:cubicBezTo>
                      <a:pt x="1360" y="129"/>
                      <a:pt x="1360" y="129"/>
                      <a:pt x="1360" y="129"/>
                    </a:cubicBezTo>
                    <a:cubicBezTo>
                      <a:pt x="1360" y="129"/>
                      <a:pt x="1360" y="129"/>
                      <a:pt x="1360" y="129"/>
                    </a:cubicBezTo>
                    <a:cubicBezTo>
                      <a:pt x="1361" y="130"/>
                      <a:pt x="1361" y="130"/>
                      <a:pt x="1361" y="130"/>
                    </a:cubicBezTo>
                    <a:cubicBezTo>
                      <a:pt x="1361" y="130"/>
                      <a:pt x="1361" y="130"/>
                      <a:pt x="1361" y="130"/>
                    </a:cubicBezTo>
                    <a:cubicBezTo>
                      <a:pt x="1362" y="129"/>
                      <a:pt x="1362" y="129"/>
                      <a:pt x="1362" y="129"/>
                    </a:cubicBezTo>
                    <a:cubicBezTo>
                      <a:pt x="1362" y="129"/>
                      <a:pt x="1362" y="129"/>
                      <a:pt x="1362" y="129"/>
                    </a:cubicBezTo>
                    <a:cubicBezTo>
                      <a:pt x="1362" y="129"/>
                      <a:pt x="1362" y="129"/>
                      <a:pt x="1362" y="129"/>
                    </a:cubicBezTo>
                    <a:cubicBezTo>
                      <a:pt x="1362" y="129"/>
                      <a:pt x="1362" y="129"/>
                      <a:pt x="1362" y="129"/>
                    </a:cubicBezTo>
                    <a:cubicBezTo>
                      <a:pt x="1362" y="128"/>
                      <a:pt x="1362" y="128"/>
                      <a:pt x="1362" y="128"/>
                    </a:cubicBezTo>
                    <a:cubicBezTo>
                      <a:pt x="1362" y="128"/>
                      <a:pt x="1362" y="128"/>
                      <a:pt x="1362" y="128"/>
                    </a:cubicBezTo>
                    <a:cubicBezTo>
                      <a:pt x="1362" y="128"/>
                      <a:pt x="1362" y="128"/>
                      <a:pt x="1362" y="128"/>
                    </a:cubicBezTo>
                    <a:cubicBezTo>
                      <a:pt x="1362" y="126"/>
                      <a:pt x="1367" y="126"/>
                      <a:pt x="1363" y="124"/>
                    </a:cubicBezTo>
                    <a:cubicBezTo>
                      <a:pt x="1361" y="122"/>
                      <a:pt x="1361" y="122"/>
                      <a:pt x="1361" y="122"/>
                    </a:cubicBezTo>
                    <a:cubicBezTo>
                      <a:pt x="1361" y="121"/>
                      <a:pt x="1361" y="121"/>
                      <a:pt x="1361" y="121"/>
                    </a:cubicBezTo>
                    <a:cubicBezTo>
                      <a:pt x="1361" y="121"/>
                      <a:pt x="1361" y="121"/>
                      <a:pt x="1361" y="121"/>
                    </a:cubicBezTo>
                    <a:cubicBezTo>
                      <a:pt x="1361" y="121"/>
                      <a:pt x="1361" y="121"/>
                      <a:pt x="1361" y="121"/>
                    </a:cubicBezTo>
                    <a:cubicBezTo>
                      <a:pt x="1362" y="121"/>
                      <a:pt x="1362" y="121"/>
                      <a:pt x="1362" y="121"/>
                    </a:cubicBezTo>
                    <a:cubicBezTo>
                      <a:pt x="1362" y="121"/>
                      <a:pt x="1362" y="121"/>
                      <a:pt x="1362" y="121"/>
                    </a:cubicBezTo>
                    <a:cubicBezTo>
                      <a:pt x="1363" y="120"/>
                      <a:pt x="1363" y="120"/>
                      <a:pt x="1363" y="120"/>
                    </a:cubicBezTo>
                    <a:cubicBezTo>
                      <a:pt x="1363" y="120"/>
                      <a:pt x="1363" y="120"/>
                      <a:pt x="1363" y="120"/>
                    </a:cubicBezTo>
                    <a:cubicBezTo>
                      <a:pt x="1364" y="120"/>
                      <a:pt x="1364" y="120"/>
                      <a:pt x="1364" y="120"/>
                    </a:cubicBezTo>
                    <a:cubicBezTo>
                      <a:pt x="1364" y="120"/>
                      <a:pt x="1364" y="120"/>
                      <a:pt x="1364" y="120"/>
                    </a:cubicBezTo>
                    <a:cubicBezTo>
                      <a:pt x="1363" y="119"/>
                      <a:pt x="1363" y="119"/>
                      <a:pt x="1363" y="119"/>
                    </a:cubicBezTo>
                    <a:cubicBezTo>
                      <a:pt x="1362" y="118"/>
                      <a:pt x="1362" y="118"/>
                      <a:pt x="1362" y="118"/>
                    </a:cubicBezTo>
                    <a:cubicBezTo>
                      <a:pt x="1359" y="116"/>
                      <a:pt x="1359" y="116"/>
                      <a:pt x="1359" y="116"/>
                    </a:cubicBezTo>
                    <a:cubicBezTo>
                      <a:pt x="1358" y="115"/>
                      <a:pt x="1358" y="115"/>
                      <a:pt x="1358" y="115"/>
                    </a:cubicBezTo>
                    <a:cubicBezTo>
                      <a:pt x="1357" y="114"/>
                      <a:pt x="1357" y="114"/>
                      <a:pt x="1357" y="114"/>
                    </a:cubicBezTo>
                    <a:cubicBezTo>
                      <a:pt x="1357" y="114"/>
                      <a:pt x="1357" y="114"/>
                      <a:pt x="1357" y="114"/>
                    </a:cubicBezTo>
                    <a:cubicBezTo>
                      <a:pt x="1357" y="114"/>
                      <a:pt x="1357" y="114"/>
                      <a:pt x="1357" y="114"/>
                    </a:cubicBezTo>
                    <a:cubicBezTo>
                      <a:pt x="1357" y="113"/>
                      <a:pt x="1357" y="113"/>
                      <a:pt x="1357" y="113"/>
                    </a:cubicBezTo>
                    <a:cubicBezTo>
                      <a:pt x="1357" y="113"/>
                      <a:pt x="1357" y="113"/>
                      <a:pt x="1357" y="113"/>
                    </a:cubicBezTo>
                    <a:cubicBezTo>
                      <a:pt x="1357" y="113"/>
                      <a:pt x="1357" y="113"/>
                      <a:pt x="1357" y="113"/>
                    </a:cubicBezTo>
                    <a:cubicBezTo>
                      <a:pt x="1356" y="113"/>
                      <a:pt x="1356" y="113"/>
                      <a:pt x="1356" y="113"/>
                    </a:cubicBezTo>
                    <a:cubicBezTo>
                      <a:pt x="1356" y="112"/>
                      <a:pt x="1356" y="112"/>
                      <a:pt x="1356" y="112"/>
                    </a:cubicBezTo>
                    <a:cubicBezTo>
                      <a:pt x="1356" y="112"/>
                      <a:pt x="1356" y="112"/>
                      <a:pt x="1356" y="112"/>
                    </a:cubicBezTo>
                    <a:cubicBezTo>
                      <a:pt x="1356" y="112"/>
                      <a:pt x="1356" y="112"/>
                      <a:pt x="1356" y="112"/>
                    </a:cubicBezTo>
                    <a:cubicBezTo>
                      <a:pt x="1356" y="111"/>
                      <a:pt x="1356" y="111"/>
                      <a:pt x="1356" y="111"/>
                    </a:cubicBezTo>
                    <a:cubicBezTo>
                      <a:pt x="1356" y="111"/>
                      <a:pt x="1356" y="111"/>
                      <a:pt x="1356" y="111"/>
                    </a:cubicBezTo>
                    <a:cubicBezTo>
                      <a:pt x="1356" y="111"/>
                      <a:pt x="1356" y="111"/>
                      <a:pt x="1356" y="111"/>
                    </a:cubicBezTo>
                    <a:cubicBezTo>
                      <a:pt x="1356" y="110"/>
                      <a:pt x="1356" y="110"/>
                      <a:pt x="1356" y="110"/>
                    </a:cubicBezTo>
                    <a:cubicBezTo>
                      <a:pt x="1356" y="110"/>
                      <a:pt x="1356" y="110"/>
                      <a:pt x="1356" y="110"/>
                    </a:cubicBezTo>
                    <a:cubicBezTo>
                      <a:pt x="1356" y="108"/>
                      <a:pt x="1358" y="107"/>
                      <a:pt x="1358" y="106"/>
                    </a:cubicBezTo>
                    <a:cubicBezTo>
                      <a:pt x="1357" y="105"/>
                      <a:pt x="1357" y="105"/>
                      <a:pt x="1357" y="105"/>
                    </a:cubicBezTo>
                    <a:cubicBezTo>
                      <a:pt x="1357" y="105"/>
                      <a:pt x="1357" y="105"/>
                      <a:pt x="1357" y="105"/>
                    </a:cubicBezTo>
                    <a:cubicBezTo>
                      <a:pt x="1357" y="104"/>
                      <a:pt x="1357" y="104"/>
                      <a:pt x="1357" y="104"/>
                    </a:cubicBezTo>
                    <a:cubicBezTo>
                      <a:pt x="1357" y="104"/>
                      <a:pt x="1357" y="104"/>
                      <a:pt x="1357" y="104"/>
                    </a:cubicBezTo>
                    <a:cubicBezTo>
                      <a:pt x="1357" y="104"/>
                      <a:pt x="1357" y="104"/>
                      <a:pt x="1357" y="104"/>
                    </a:cubicBezTo>
                    <a:cubicBezTo>
                      <a:pt x="1357" y="103"/>
                      <a:pt x="1357" y="103"/>
                      <a:pt x="1357" y="103"/>
                    </a:cubicBezTo>
                    <a:cubicBezTo>
                      <a:pt x="1358" y="103"/>
                      <a:pt x="1358" y="103"/>
                      <a:pt x="1358" y="103"/>
                    </a:cubicBezTo>
                    <a:cubicBezTo>
                      <a:pt x="1358" y="103"/>
                      <a:pt x="1358" y="103"/>
                      <a:pt x="1358" y="103"/>
                    </a:cubicBezTo>
                    <a:cubicBezTo>
                      <a:pt x="1359" y="103"/>
                      <a:pt x="1359" y="103"/>
                      <a:pt x="1359" y="103"/>
                    </a:cubicBezTo>
                    <a:cubicBezTo>
                      <a:pt x="1359" y="103"/>
                      <a:pt x="1359" y="103"/>
                      <a:pt x="1359" y="103"/>
                    </a:cubicBezTo>
                    <a:cubicBezTo>
                      <a:pt x="1360" y="103"/>
                      <a:pt x="1360" y="103"/>
                      <a:pt x="1360" y="103"/>
                    </a:cubicBezTo>
                    <a:cubicBezTo>
                      <a:pt x="1361" y="103"/>
                      <a:pt x="1361" y="103"/>
                      <a:pt x="1361" y="103"/>
                    </a:cubicBezTo>
                    <a:cubicBezTo>
                      <a:pt x="1361" y="103"/>
                      <a:pt x="1361" y="103"/>
                      <a:pt x="1361" y="103"/>
                    </a:cubicBezTo>
                    <a:cubicBezTo>
                      <a:pt x="1362" y="102"/>
                      <a:pt x="1362" y="102"/>
                      <a:pt x="1362" y="102"/>
                    </a:cubicBezTo>
                    <a:cubicBezTo>
                      <a:pt x="1362" y="102"/>
                      <a:pt x="1362" y="102"/>
                      <a:pt x="1362" y="102"/>
                    </a:cubicBezTo>
                    <a:cubicBezTo>
                      <a:pt x="1362" y="102"/>
                      <a:pt x="1362" y="102"/>
                      <a:pt x="1362" y="102"/>
                    </a:cubicBezTo>
                    <a:cubicBezTo>
                      <a:pt x="1362" y="101"/>
                      <a:pt x="1362" y="101"/>
                      <a:pt x="1362" y="101"/>
                    </a:cubicBezTo>
                    <a:cubicBezTo>
                      <a:pt x="1362" y="101"/>
                      <a:pt x="1362" y="101"/>
                      <a:pt x="1362" y="101"/>
                    </a:cubicBezTo>
                    <a:cubicBezTo>
                      <a:pt x="1362" y="101"/>
                      <a:pt x="1362" y="101"/>
                      <a:pt x="1362" y="101"/>
                    </a:cubicBezTo>
                    <a:cubicBezTo>
                      <a:pt x="1362" y="101"/>
                      <a:pt x="1362" y="101"/>
                      <a:pt x="1362" y="101"/>
                    </a:cubicBezTo>
                    <a:cubicBezTo>
                      <a:pt x="1362" y="101"/>
                      <a:pt x="1362" y="101"/>
                      <a:pt x="1362" y="101"/>
                    </a:cubicBezTo>
                    <a:cubicBezTo>
                      <a:pt x="1362" y="100"/>
                      <a:pt x="1362" y="100"/>
                      <a:pt x="1362" y="100"/>
                    </a:cubicBezTo>
                    <a:cubicBezTo>
                      <a:pt x="1362" y="100"/>
                      <a:pt x="1362" y="100"/>
                      <a:pt x="1362" y="100"/>
                    </a:cubicBezTo>
                    <a:cubicBezTo>
                      <a:pt x="1362" y="100"/>
                      <a:pt x="1362" y="100"/>
                      <a:pt x="1362" y="100"/>
                    </a:cubicBezTo>
                    <a:cubicBezTo>
                      <a:pt x="1362" y="99"/>
                      <a:pt x="1362" y="99"/>
                      <a:pt x="1362" y="99"/>
                    </a:cubicBezTo>
                    <a:cubicBezTo>
                      <a:pt x="1362" y="99"/>
                      <a:pt x="1362" y="99"/>
                      <a:pt x="1362" y="99"/>
                    </a:cubicBezTo>
                    <a:cubicBezTo>
                      <a:pt x="1362" y="98"/>
                      <a:pt x="1363" y="98"/>
                      <a:pt x="1364" y="97"/>
                    </a:cubicBezTo>
                    <a:cubicBezTo>
                      <a:pt x="1364" y="97"/>
                      <a:pt x="1364" y="97"/>
                      <a:pt x="1364" y="97"/>
                    </a:cubicBezTo>
                    <a:cubicBezTo>
                      <a:pt x="1364" y="97"/>
                      <a:pt x="1364" y="97"/>
                      <a:pt x="1364" y="97"/>
                    </a:cubicBezTo>
                    <a:cubicBezTo>
                      <a:pt x="1365" y="96"/>
                      <a:pt x="1365" y="96"/>
                      <a:pt x="1365" y="96"/>
                    </a:cubicBezTo>
                    <a:cubicBezTo>
                      <a:pt x="1365" y="96"/>
                      <a:pt x="1365" y="96"/>
                      <a:pt x="1365" y="96"/>
                    </a:cubicBezTo>
                    <a:cubicBezTo>
                      <a:pt x="1365" y="95"/>
                      <a:pt x="1365" y="95"/>
                      <a:pt x="1365" y="95"/>
                    </a:cubicBezTo>
                    <a:cubicBezTo>
                      <a:pt x="1364" y="95"/>
                      <a:pt x="1364" y="95"/>
                      <a:pt x="1364" y="95"/>
                    </a:cubicBezTo>
                    <a:cubicBezTo>
                      <a:pt x="1364" y="95"/>
                      <a:pt x="1364" y="95"/>
                      <a:pt x="1364" y="95"/>
                    </a:cubicBezTo>
                    <a:cubicBezTo>
                      <a:pt x="1364" y="94"/>
                      <a:pt x="1364" y="94"/>
                      <a:pt x="1364" y="94"/>
                    </a:cubicBezTo>
                    <a:cubicBezTo>
                      <a:pt x="1364" y="94"/>
                      <a:pt x="1364" y="94"/>
                      <a:pt x="1364" y="94"/>
                    </a:cubicBezTo>
                    <a:cubicBezTo>
                      <a:pt x="1364" y="93"/>
                      <a:pt x="1364" y="93"/>
                      <a:pt x="1364" y="93"/>
                    </a:cubicBezTo>
                    <a:cubicBezTo>
                      <a:pt x="1364" y="93"/>
                      <a:pt x="1364" y="93"/>
                      <a:pt x="1364" y="93"/>
                    </a:cubicBezTo>
                    <a:cubicBezTo>
                      <a:pt x="1365" y="93"/>
                      <a:pt x="1365" y="93"/>
                      <a:pt x="1365" y="93"/>
                    </a:cubicBezTo>
                    <a:cubicBezTo>
                      <a:pt x="1365" y="92"/>
                      <a:pt x="1365" y="92"/>
                      <a:pt x="1366" y="91"/>
                    </a:cubicBezTo>
                    <a:cubicBezTo>
                      <a:pt x="1366" y="90"/>
                      <a:pt x="1366" y="90"/>
                      <a:pt x="1366" y="90"/>
                    </a:cubicBezTo>
                    <a:cubicBezTo>
                      <a:pt x="1366" y="90"/>
                      <a:pt x="1366" y="90"/>
                      <a:pt x="1366" y="90"/>
                    </a:cubicBezTo>
                    <a:cubicBezTo>
                      <a:pt x="1367" y="90"/>
                      <a:pt x="1367" y="90"/>
                      <a:pt x="1367" y="90"/>
                    </a:cubicBezTo>
                    <a:cubicBezTo>
                      <a:pt x="1367" y="89"/>
                      <a:pt x="1368" y="88"/>
                      <a:pt x="1369" y="88"/>
                    </a:cubicBezTo>
                    <a:cubicBezTo>
                      <a:pt x="1369" y="88"/>
                      <a:pt x="1369" y="88"/>
                      <a:pt x="1369" y="88"/>
                    </a:cubicBezTo>
                    <a:cubicBezTo>
                      <a:pt x="1370" y="88"/>
                      <a:pt x="1370" y="88"/>
                      <a:pt x="1370" y="88"/>
                    </a:cubicBezTo>
                    <a:cubicBezTo>
                      <a:pt x="1370" y="87"/>
                      <a:pt x="1370" y="87"/>
                      <a:pt x="1370" y="87"/>
                    </a:cubicBezTo>
                    <a:cubicBezTo>
                      <a:pt x="1370" y="87"/>
                      <a:pt x="1370" y="87"/>
                      <a:pt x="1370" y="87"/>
                    </a:cubicBezTo>
                    <a:cubicBezTo>
                      <a:pt x="1371" y="87"/>
                      <a:pt x="1371" y="87"/>
                      <a:pt x="1371" y="87"/>
                    </a:cubicBezTo>
                    <a:cubicBezTo>
                      <a:pt x="1371" y="86"/>
                      <a:pt x="1371" y="86"/>
                      <a:pt x="1371" y="86"/>
                    </a:cubicBezTo>
                    <a:cubicBezTo>
                      <a:pt x="1371" y="86"/>
                      <a:pt x="1371" y="86"/>
                      <a:pt x="1371" y="86"/>
                    </a:cubicBezTo>
                    <a:cubicBezTo>
                      <a:pt x="1370" y="85"/>
                      <a:pt x="1370" y="85"/>
                      <a:pt x="1370" y="85"/>
                    </a:cubicBezTo>
                    <a:cubicBezTo>
                      <a:pt x="1369" y="84"/>
                      <a:pt x="1369" y="84"/>
                      <a:pt x="1369" y="84"/>
                    </a:cubicBezTo>
                    <a:cubicBezTo>
                      <a:pt x="1369" y="84"/>
                      <a:pt x="1369" y="84"/>
                      <a:pt x="1369" y="84"/>
                    </a:cubicBezTo>
                    <a:cubicBezTo>
                      <a:pt x="1369" y="83"/>
                      <a:pt x="1369" y="83"/>
                      <a:pt x="1369" y="83"/>
                    </a:cubicBezTo>
                    <a:cubicBezTo>
                      <a:pt x="1369" y="83"/>
                      <a:pt x="1369" y="83"/>
                      <a:pt x="1369" y="83"/>
                    </a:cubicBezTo>
                    <a:cubicBezTo>
                      <a:pt x="1369" y="83"/>
                      <a:pt x="1369" y="83"/>
                      <a:pt x="1369" y="83"/>
                    </a:cubicBezTo>
                    <a:cubicBezTo>
                      <a:pt x="1369" y="82"/>
                      <a:pt x="1369" y="82"/>
                      <a:pt x="1369" y="82"/>
                    </a:cubicBezTo>
                    <a:cubicBezTo>
                      <a:pt x="1368" y="82"/>
                      <a:pt x="1368" y="82"/>
                      <a:pt x="1368" y="82"/>
                    </a:cubicBezTo>
                    <a:cubicBezTo>
                      <a:pt x="1368" y="81"/>
                      <a:pt x="1368" y="81"/>
                      <a:pt x="1368" y="81"/>
                    </a:cubicBezTo>
                    <a:cubicBezTo>
                      <a:pt x="1368" y="81"/>
                      <a:pt x="1368" y="81"/>
                      <a:pt x="1368" y="81"/>
                    </a:cubicBezTo>
                    <a:cubicBezTo>
                      <a:pt x="1368" y="81"/>
                      <a:pt x="1368" y="81"/>
                      <a:pt x="1368" y="81"/>
                    </a:cubicBezTo>
                    <a:cubicBezTo>
                      <a:pt x="1368" y="80"/>
                      <a:pt x="1368" y="80"/>
                      <a:pt x="1368" y="80"/>
                    </a:cubicBezTo>
                    <a:cubicBezTo>
                      <a:pt x="1368" y="80"/>
                      <a:pt x="1368" y="80"/>
                      <a:pt x="1368" y="80"/>
                    </a:cubicBezTo>
                    <a:cubicBezTo>
                      <a:pt x="1368" y="79"/>
                      <a:pt x="1368" y="79"/>
                      <a:pt x="1368" y="79"/>
                    </a:cubicBezTo>
                    <a:cubicBezTo>
                      <a:pt x="1368" y="79"/>
                      <a:pt x="1368" y="79"/>
                      <a:pt x="1368" y="79"/>
                    </a:cubicBezTo>
                    <a:cubicBezTo>
                      <a:pt x="1367" y="79"/>
                      <a:pt x="1367" y="79"/>
                      <a:pt x="1367" y="79"/>
                    </a:cubicBezTo>
                    <a:cubicBezTo>
                      <a:pt x="1367" y="78"/>
                      <a:pt x="1367" y="78"/>
                      <a:pt x="1367" y="78"/>
                    </a:cubicBezTo>
                    <a:cubicBezTo>
                      <a:pt x="1367" y="78"/>
                      <a:pt x="1367" y="78"/>
                      <a:pt x="1367" y="78"/>
                    </a:cubicBezTo>
                    <a:cubicBezTo>
                      <a:pt x="1367" y="78"/>
                      <a:pt x="1367" y="78"/>
                      <a:pt x="1367" y="78"/>
                    </a:cubicBezTo>
                    <a:cubicBezTo>
                      <a:pt x="1367" y="78"/>
                      <a:pt x="1367" y="78"/>
                      <a:pt x="1367" y="78"/>
                    </a:cubicBezTo>
                    <a:cubicBezTo>
                      <a:pt x="1367" y="77"/>
                      <a:pt x="1367" y="77"/>
                      <a:pt x="1367" y="77"/>
                    </a:cubicBezTo>
                    <a:cubicBezTo>
                      <a:pt x="1366" y="77"/>
                      <a:pt x="1366" y="77"/>
                      <a:pt x="1366" y="77"/>
                    </a:cubicBezTo>
                    <a:cubicBezTo>
                      <a:pt x="1366" y="77"/>
                      <a:pt x="1366" y="77"/>
                      <a:pt x="1366" y="77"/>
                    </a:cubicBezTo>
                    <a:cubicBezTo>
                      <a:pt x="1366" y="76"/>
                      <a:pt x="1366" y="76"/>
                      <a:pt x="1366" y="76"/>
                    </a:cubicBezTo>
                    <a:cubicBezTo>
                      <a:pt x="1366" y="76"/>
                      <a:pt x="1366" y="76"/>
                      <a:pt x="1366" y="76"/>
                    </a:cubicBezTo>
                    <a:cubicBezTo>
                      <a:pt x="1366" y="76"/>
                      <a:pt x="1366" y="76"/>
                      <a:pt x="1366" y="76"/>
                    </a:cubicBezTo>
                    <a:cubicBezTo>
                      <a:pt x="1366" y="75"/>
                      <a:pt x="1366" y="75"/>
                      <a:pt x="1366" y="75"/>
                    </a:cubicBezTo>
                    <a:cubicBezTo>
                      <a:pt x="1365" y="75"/>
                      <a:pt x="1365" y="75"/>
                      <a:pt x="1365" y="75"/>
                    </a:cubicBezTo>
                    <a:cubicBezTo>
                      <a:pt x="1365" y="75"/>
                      <a:pt x="1365" y="75"/>
                      <a:pt x="1365" y="75"/>
                    </a:cubicBezTo>
                    <a:cubicBezTo>
                      <a:pt x="1366" y="74"/>
                      <a:pt x="1366" y="74"/>
                      <a:pt x="1366" y="74"/>
                    </a:cubicBezTo>
                    <a:cubicBezTo>
                      <a:pt x="1366" y="74"/>
                      <a:pt x="1366" y="74"/>
                      <a:pt x="1366" y="74"/>
                    </a:cubicBezTo>
                    <a:cubicBezTo>
                      <a:pt x="1366" y="74"/>
                      <a:pt x="1366" y="74"/>
                      <a:pt x="1366" y="74"/>
                    </a:cubicBezTo>
                    <a:cubicBezTo>
                      <a:pt x="1364" y="71"/>
                      <a:pt x="1364" y="71"/>
                      <a:pt x="1364" y="71"/>
                    </a:cubicBezTo>
                    <a:cubicBezTo>
                      <a:pt x="1361" y="68"/>
                      <a:pt x="1361" y="68"/>
                      <a:pt x="1361" y="68"/>
                    </a:cubicBezTo>
                    <a:cubicBezTo>
                      <a:pt x="1353" y="59"/>
                      <a:pt x="1353" y="59"/>
                      <a:pt x="1353" y="59"/>
                    </a:cubicBezTo>
                    <a:cubicBezTo>
                      <a:pt x="1350" y="56"/>
                      <a:pt x="1350" y="56"/>
                      <a:pt x="1350" y="56"/>
                    </a:cubicBezTo>
                    <a:cubicBezTo>
                      <a:pt x="1348" y="54"/>
                      <a:pt x="1348" y="54"/>
                      <a:pt x="1348" y="54"/>
                    </a:cubicBezTo>
                    <a:cubicBezTo>
                      <a:pt x="1348" y="55"/>
                      <a:pt x="1348" y="55"/>
                      <a:pt x="1348" y="55"/>
                    </a:cubicBezTo>
                    <a:cubicBezTo>
                      <a:pt x="1347" y="55"/>
                      <a:pt x="1347" y="55"/>
                      <a:pt x="1347" y="55"/>
                    </a:cubicBezTo>
                    <a:cubicBezTo>
                      <a:pt x="1347" y="55"/>
                      <a:pt x="1347" y="55"/>
                      <a:pt x="1347" y="55"/>
                    </a:cubicBezTo>
                    <a:cubicBezTo>
                      <a:pt x="1346" y="55"/>
                      <a:pt x="1346" y="55"/>
                      <a:pt x="1346" y="55"/>
                    </a:cubicBezTo>
                    <a:cubicBezTo>
                      <a:pt x="1345" y="56"/>
                      <a:pt x="1345" y="56"/>
                      <a:pt x="1345" y="56"/>
                    </a:cubicBezTo>
                    <a:cubicBezTo>
                      <a:pt x="1344" y="57"/>
                      <a:pt x="1341" y="57"/>
                      <a:pt x="1344" y="59"/>
                    </a:cubicBezTo>
                    <a:cubicBezTo>
                      <a:pt x="1344" y="59"/>
                      <a:pt x="1344" y="59"/>
                      <a:pt x="1344" y="59"/>
                    </a:cubicBezTo>
                    <a:cubicBezTo>
                      <a:pt x="1344" y="59"/>
                      <a:pt x="1344" y="59"/>
                      <a:pt x="1344" y="59"/>
                    </a:cubicBezTo>
                    <a:cubicBezTo>
                      <a:pt x="1346" y="60"/>
                      <a:pt x="1346" y="61"/>
                      <a:pt x="1347" y="62"/>
                    </a:cubicBezTo>
                    <a:cubicBezTo>
                      <a:pt x="1348" y="63"/>
                      <a:pt x="1348" y="63"/>
                      <a:pt x="1348" y="63"/>
                    </a:cubicBezTo>
                    <a:cubicBezTo>
                      <a:pt x="1348" y="63"/>
                      <a:pt x="1348" y="63"/>
                      <a:pt x="1348" y="63"/>
                    </a:cubicBezTo>
                    <a:cubicBezTo>
                      <a:pt x="1348" y="63"/>
                      <a:pt x="1348" y="63"/>
                      <a:pt x="1348" y="63"/>
                    </a:cubicBezTo>
                    <a:cubicBezTo>
                      <a:pt x="1349" y="64"/>
                      <a:pt x="1349" y="64"/>
                      <a:pt x="1349" y="64"/>
                    </a:cubicBezTo>
                    <a:cubicBezTo>
                      <a:pt x="1349" y="65"/>
                      <a:pt x="1350" y="66"/>
                      <a:pt x="1351" y="67"/>
                    </a:cubicBezTo>
                    <a:cubicBezTo>
                      <a:pt x="1351" y="67"/>
                      <a:pt x="1351" y="67"/>
                      <a:pt x="1351" y="67"/>
                    </a:cubicBezTo>
                    <a:cubicBezTo>
                      <a:pt x="1351" y="67"/>
                      <a:pt x="1351" y="67"/>
                      <a:pt x="1351" y="67"/>
                    </a:cubicBezTo>
                    <a:cubicBezTo>
                      <a:pt x="1351" y="69"/>
                      <a:pt x="1352" y="69"/>
                      <a:pt x="1351" y="71"/>
                    </a:cubicBezTo>
                    <a:cubicBezTo>
                      <a:pt x="1351" y="72"/>
                      <a:pt x="1351" y="72"/>
                      <a:pt x="1351" y="72"/>
                    </a:cubicBezTo>
                    <a:cubicBezTo>
                      <a:pt x="1351" y="72"/>
                      <a:pt x="1351" y="72"/>
                      <a:pt x="1351" y="72"/>
                    </a:cubicBezTo>
                    <a:cubicBezTo>
                      <a:pt x="1352" y="75"/>
                      <a:pt x="1353" y="77"/>
                      <a:pt x="1353" y="80"/>
                    </a:cubicBezTo>
                    <a:cubicBezTo>
                      <a:pt x="1353" y="81"/>
                      <a:pt x="1353" y="81"/>
                      <a:pt x="1353" y="81"/>
                    </a:cubicBezTo>
                    <a:cubicBezTo>
                      <a:pt x="1353" y="81"/>
                      <a:pt x="1353" y="81"/>
                      <a:pt x="1353" y="81"/>
                    </a:cubicBezTo>
                    <a:cubicBezTo>
                      <a:pt x="1353" y="82"/>
                      <a:pt x="1353" y="83"/>
                      <a:pt x="1353" y="84"/>
                    </a:cubicBezTo>
                    <a:cubicBezTo>
                      <a:pt x="1353" y="85"/>
                      <a:pt x="1353" y="85"/>
                      <a:pt x="1353" y="85"/>
                    </a:cubicBezTo>
                    <a:cubicBezTo>
                      <a:pt x="1353" y="85"/>
                      <a:pt x="1353" y="85"/>
                      <a:pt x="1353" y="85"/>
                    </a:cubicBezTo>
                    <a:cubicBezTo>
                      <a:pt x="1352" y="86"/>
                      <a:pt x="1352" y="87"/>
                      <a:pt x="1352" y="88"/>
                    </a:cubicBezTo>
                    <a:cubicBezTo>
                      <a:pt x="1352" y="89"/>
                      <a:pt x="1352" y="89"/>
                      <a:pt x="1352" y="89"/>
                    </a:cubicBezTo>
                    <a:cubicBezTo>
                      <a:pt x="1352" y="90"/>
                      <a:pt x="1352" y="90"/>
                      <a:pt x="1352" y="90"/>
                    </a:cubicBezTo>
                    <a:cubicBezTo>
                      <a:pt x="1351" y="90"/>
                      <a:pt x="1351" y="90"/>
                      <a:pt x="1351" y="90"/>
                    </a:cubicBezTo>
                    <a:cubicBezTo>
                      <a:pt x="1351" y="90"/>
                      <a:pt x="1351" y="90"/>
                      <a:pt x="1351" y="90"/>
                    </a:cubicBezTo>
                    <a:cubicBezTo>
                      <a:pt x="1351" y="91"/>
                      <a:pt x="1351" y="91"/>
                      <a:pt x="1351" y="91"/>
                    </a:cubicBezTo>
                    <a:cubicBezTo>
                      <a:pt x="1348" y="96"/>
                      <a:pt x="1349" y="95"/>
                      <a:pt x="1343" y="98"/>
                    </a:cubicBezTo>
                    <a:cubicBezTo>
                      <a:pt x="1342" y="98"/>
                      <a:pt x="1342" y="98"/>
                      <a:pt x="1342" y="98"/>
                    </a:cubicBezTo>
                    <a:cubicBezTo>
                      <a:pt x="1342" y="98"/>
                      <a:pt x="1342" y="98"/>
                      <a:pt x="1342" y="98"/>
                    </a:cubicBezTo>
                    <a:cubicBezTo>
                      <a:pt x="1341" y="98"/>
                      <a:pt x="1341" y="98"/>
                      <a:pt x="1341" y="98"/>
                    </a:cubicBezTo>
                    <a:cubicBezTo>
                      <a:pt x="1339" y="99"/>
                      <a:pt x="1338" y="100"/>
                      <a:pt x="1336" y="101"/>
                    </a:cubicBezTo>
                    <a:cubicBezTo>
                      <a:pt x="1335" y="101"/>
                      <a:pt x="1335" y="101"/>
                      <a:pt x="1335" y="101"/>
                    </a:cubicBezTo>
                    <a:cubicBezTo>
                      <a:pt x="1334" y="101"/>
                      <a:pt x="1334" y="101"/>
                      <a:pt x="1334" y="101"/>
                    </a:cubicBezTo>
                    <a:cubicBezTo>
                      <a:pt x="1328" y="103"/>
                      <a:pt x="1322" y="105"/>
                      <a:pt x="1316" y="107"/>
                    </a:cubicBezTo>
                    <a:cubicBezTo>
                      <a:pt x="1316" y="107"/>
                      <a:pt x="1316" y="107"/>
                      <a:pt x="1316" y="107"/>
                    </a:cubicBezTo>
                    <a:cubicBezTo>
                      <a:pt x="1315" y="107"/>
                      <a:pt x="1315" y="107"/>
                      <a:pt x="1315" y="107"/>
                    </a:cubicBezTo>
                    <a:cubicBezTo>
                      <a:pt x="1315" y="107"/>
                      <a:pt x="1315" y="107"/>
                      <a:pt x="1315" y="107"/>
                    </a:cubicBezTo>
                    <a:cubicBezTo>
                      <a:pt x="1314" y="107"/>
                      <a:pt x="1314" y="107"/>
                      <a:pt x="1314" y="107"/>
                    </a:cubicBezTo>
                    <a:cubicBezTo>
                      <a:pt x="1314" y="108"/>
                      <a:pt x="1314" y="108"/>
                      <a:pt x="1314" y="108"/>
                    </a:cubicBezTo>
                    <a:cubicBezTo>
                      <a:pt x="1313" y="108"/>
                      <a:pt x="1313" y="108"/>
                      <a:pt x="1313" y="108"/>
                    </a:cubicBezTo>
                    <a:cubicBezTo>
                      <a:pt x="1312" y="109"/>
                      <a:pt x="1309" y="109"/>
                      <a:pt x="1308" y="110"/>
                    </a:cubicBezTo>
                    <a:cubicBezTo>
                      <a:pt x="1308" y="111"/>
                      <a:pt x="1308" y="111"/>
                      <a:pt x="1308" y="111"/>
                    </a:cubicBezTo>
                    <a:cubicBezTo>
                      <a:pt x="1307" y="111"/>
                      <a:pt x="1307" y="111"/>
                      <a:pt x="1307" y="111"/>
                    </a:cubicBezTo>
                    <a:cubicBezTo>
                      <a:pt x="1306" y="112"/>
                      <a:pt x="1306" y="113"/>
                      <a:pt x="1307" y="114"/>
                    </a:cubicBezTo>
                    <a:cubicBezTo>
                      <a:pt x="1307" y="115"/>
                      <a:pt x="1307" y="115"/>
                      <a:pt x="1307" y="115"/>
                    </a:cubicBezTo>
                    <a:cubicBezTo>
                      <a:pt x="1308" y="115"/>
                      <a:pt x="1308" y="115"/>
                      <a:pt x="1308" y="115"/>
                    </a:cubicBezTo>
                    <a:cubicBezTo>
                      <a:pt x="1308" y="116"/>
                      <a:pt x="1308" y="116"/>
                      <a:pt x="1308" y="116"/>
                    </a:cubicBezTo>
                    <a:cubicBezTo>
                      <a:pt x="1308" y="116"/>
                      <a:pt x="1308" y="118"/>
                      <a:pt x="1307" y="119"/>
                    </a:cubicBezTo>
                    <a:cubicBezTo>
                      <a:pt x="1307" y="119"/>
                      <a:pt x="1307" y="119"/>
                      <a:pt x="1307" y="119"/>
                    </a:cubicBezTo>
                    <a:cubicBezTo>
                      <a:pt x="1306" y="120"/>
                      <a:pt x="1306" y="120"/>
                      <a:pt x="1306" y="120"/>
                    </a:cubicBezTo>
                    <a:cubicBezTo>
                      <a:pt x="1304" y="121"/>
                      <a:pt x="1304" y="122"/>
                      <a:pt x="1303" y="123"/>
                    </a:cubicBezTo>
                    <a:cubicBezTo>
                      <a:pt x="1302" y="124"/>
                      <a:pt x="1302" y="124"/>
                      <a:pt x="1302" y="124"/>
                    </a:cubicBezTo>
                    <a:cubicBezTo>
                      <a:pt x="1300" y="126"/>
                      <a:pt x="1300" y="126"/>
                      <a:pt x="1300" y="126"/>
                    </a:cubicBezTo>
                    <a:cubicBezTo>
                      <a:pt x="1296" y="130"/>
                      <a:pt x="1296" y="130"/>
                      <a:pt x="1296" y="130"/>
                    </a:cubicBezTo>
                    <a:cubicBezTo>
                      <a:pt x="1294" y="131"/>
                      <a:pt x="1294" y="131"/>
                      <a:pt x="1294" y="131"/>
                    </a:cubicBezTo>
                    <a:cubicBezTo>
                      <a:pt x="1294" y="132"/>
                      <a:pt x="1294" y="132"/>
                      <a:pt x="1294" y="132"/>
                    </a:cubicBezTo>
                    <a:cubicBezTo>
                      <a:pt x="1294" y="132"/>
                      <a:pt x="1294" y="132"/>
                      <a:pt x="1294" y="132"/>
                    </a:cubicBezTo>
                    <a:cubicBezTo>
                      <a:pt x="1295" y="133"/>
                      <a:pt x="1295" y="133"/>
                      <a:pt x="1295" y="133"/>
                    </a:cubicBezTo>
                    <a:cubicBezTo>
                      <a:pt x="1295" y="133"/>
                      <a:pt x="1295" y="133"/>
                      <a:pt x="1295" y="133"/>
                    </a:cubicBezTo>
                    <a:cubicBezTo>
                      <a:pt x="1296" y="133"/>
                      <a:pt x="1296" y="133"/>
                      <a:pt x="1296" y="133"/>
                    </a:cubicBezTo>
                    <a:cubicBezTo>
                      <a:pt x="1307" y="138"/>
                      <a:pt x="1309" y="138"/>
                      <a:pt x="1313" y="150"/>
                    </a:cubicBezTo>
                    <a:cubicBezTo>
                      <a:pt x="1313" y="150"/>
                      <a:pt x="1313" y="150"/>
                      <a:pt x="1313" y="150"/>
                    </a:cubicBezTo>
                    <a:cubicBezTo>
                      <a:pt x="1313" y="150"/>
                      <a:pt x="1313" y="150"/>
                      <a:pt x="1313" y="150"/>
                    </a:cubicBezTo>
                    <a:cubicBezTo>
                      <a:pt x="1313" y="150"/>
                      <a:pt x="1313" y="150"/>
                      <a:pt x="1313" y="150"/>
                    </a:cubicBezTo>
                    <a:cubicBezTo>
                      <a:pt x="1316" y="154"/>
                      <a:pt x="1319" y="153"/>
                      <a:pt x="1319" y="158"/>
                    </a:cubicBezTo>
                    <a:cubicBezTo>
                      <a:pt x="1319" y="159"/>
                      <a:pt x="1319" y="159"/>
                      <a:pt x="1319" y="159"/>
                    </a:cubicBezTo>
                    <a:cubicBezTo>
                      <a:pt x="1319" y="160"/>
                      <a:pt x="1319" y="161"/>
                      <a:pt x="1320" y="162"/>
                    </a:cubicBezTo>
                    <a:cubicBezTo>
                      <a:pt x="1321" y="163"/>
                      <a:pt x="1321" y="163"/>
                      <a:pt x="1321" y="163"/>
                    </a:cubicBezTo>
                    <a:cubicBezTo>
                      <a:pt x="1321" y="163"/>
                      <a:pt x="1321" y="163"/>
                      <a:pt x="1321" y="163"/>
                    </a:cubicBezTo>
                    <a:cubicBezTo>
                      <a:pt x="1323" y="164"/>
                      <a:pt x="1324" y="165"/>
                      <a:pt x="1325" y="166"/>
                    </a:cubicBezTo>
                    <a:cubicBezTo>
                      <a:pt x="1326" y="166"/>
                      <a:pt x="1326" y="166"/>
                      <a:pt x="1326" y="166"/>
                    </a:cubicBezTo>
                    <a:cubicBezTo>
                      <a:pt x="1326" y="166"/>
                      <a:pt x="1326" y="166"/>
                      <a:pt x="1326" y="166"/>
                    </a:cubicBezTo>
                    <a:cubicBezTo>
                      <a:pt x="1327" y="167"/>
                      <a:pt x="1327" y="167"/>
                      <a:pt x="1327" y="167"/>
                    </a:cubicBezTo>
                    <a:cubicBezTo>
                      <a:pt x="1327" y="167"/>
                      <a:pt x="1327" y="167"/>
                      <a:pt x="1327" y="167"/>
                    </a:cubicBezTo>
                    <a:cubicBezTo>
                      <a:pt x="1328" y="167"/>
                      <a:pt x="1328" y="167"/>
                      <a:pt x="1328" y="167"/>
                    </a:cubicBezTo>
                    <a:cubicBezTo>
                      <a:pt x="1328" y="168"/>
                      <a:pt x="1328" y="168"/>
                      <a:pt x="1328" y="168"/>
                    </a:cubicBezTo>
                    <a:cubicBezTo>
                      <a:pt x="1328" y="168"/>
                      <a:pt x="1328" y="168"/>
                      <a:pt x="1328" y="168"/>
                    </a:cubicBezTo>
                    <a:cubicBezTo>
                      <a:pt x="1329" y="168"/>
                      <a:pt x="1329" y="168"/>
                      <a:pt x="1329" y="168"/>
                    </a:cubicBezTo>
                    <a:cubicBezTo>
                      <a:pt x="1330" y="170"/>
                      <a:pt x="1330" y="170"/>
                      <a:pt x="1330" y="172"/>
                    </a:cubicBezTo>
                    <a:cubicBezTo>
                      <a:pt x="1330" y="173"/>
                      <a:pt x="1330" y="173"/>
                      <a:pt x="1330" y="173"/>
                    </a:cubicBezTo>
                    <a:cubicBezTo>
                      <a:pt x="1331" y="173"/>
                      <a:pt x="1331" y="173"/>
                      <a:pt x="1331" y="173"/>
                    </a:cubicBezTo>
                    <a:cubicBezTo>
                      <a:pt x="1331" y="173"/>
                      <a:pt x="1331" y="173"/>
                      <a:pt x="1331" y="173"/>
                    </a:cubicBezTo>
                    <a:cubicBezTo>
                      <a:pt x="1331" y="174"/>
                      <a:pt x="1331" y="174"/>
                      <a:pt x="1331" y="174"/>
                    </a:cubicBezTo>
                    <a:cubicBezTo>
                      <a:pt x="1331" y="174"/>
                      <a:pt x="1331" y="174"/>
                      <a:pt x="1331" y="174"/>
                    </a:cubicBezTo>
                    <a:cubicBezTo>
                      <a:pt x="1331" y="174"/>
                      <a:pt x="1331" y="174"/>
                      <a:pt x="1331" y="174"/>
                    </a:cubicBezTo>
                    <a:cubicBezTo>
                      <a:pt x="1331" y="175"/>
                      <a:pt x="1331" y="175"/>
                      <a:pt x="1331" y="175"/>
                    </a:cubicBezTo>
                    <a:cubicBezTo>
                      <a:pt x="1331" y="175"/>
                      <a:pt x="1331" y="175"/>
                      <a:pt x="1331" y="175"/>
                    </a:cubicBezTo>
                    <a:cubicBezTo>
                      <a:pt x="1329" y="178"/>
                      <a:pt x="1329" y="178"/>
                      <a:pt x="1329" y="178"/>
                    </a:cubicBezTo>
                    <a:cubicBezTo>
                      <a:pt x="1326" y="181"/>
                      <a:pt x="1326" y="181"/>
                      <a:pt x="1326" y="181"/>
                    </a:cubicBezTo>
                    <a:cubicBezTo>
                      <a:pt x="1318" y="191"/>
                      <a:pt x="1318" y="191"/>
                      <a:pt x="1318" y="191"/>
                    </a:cubicBezTo>
                    <a:cubicBezTo>
                      <a:pt x="1315" y="195"/>
                      <a:pt x="1315" y="195"/>
                      <a:pt x="1315" y="195"/>
                    </a:cubicBezTo>
                    <a:cubicBezTo>
                      <a:pt x="1313" y="197"/>
                      <a:pt x="1313" y="197"/>
                      <a:pt x="1313" y="197"/>
                    </a:cubicBezTo>
                    <a:cubicBezTo>
                      <a:pt x="1311" y="199"/>
                      <a:pt x="1315" y="198"/>
                      <a:pt x="1315" y="200"/>
                    </a:cubicBezTo>
                    <a:cubicBezTo>
                      <a:pt x="1315" y="200"/>
                      <a:pt x="1315" y="200"/>
                      <a:pt x="1315" y="200"/>
                    </a:cubicBezTo>
                    <a:cubicBezTo>
                      <a:pt x="1315" y="201"/>
                      <a:pt x="1315" y="201"/>
                      <a:pt x="1315" y="201"/>
                    </a:cubicBezTo>
                    <a:cubicBezTo>
                      <a:pt x="1314" y="202"/>
                      <a:pt x="1313" y="203"/>
                      <a:pt x="1313" y="204"/>
                    </a:cubicBezTo>
                    <a:cubicBezTo>
                      <a:pt x="1313" y="205"/>
                      <a:pt x="1313" y="205"/>
                      <a:pt x="1313" y="205"/>
                    </a:cubicBezTo>
                    <a:cubicBezTo>
                      <a:pt x="1313" y="205"/>
                      <a:pt x="1313" y="205"/>
                      <a:pt x="1313" y="205"/>
                    </a:cubicBezTo>
                    <a:cubicBezTo>
                      <a:pt x="1312" y="206"/>
                      <a:pt x="1312" y="206"/>
                      <a:pt x="1312" y="206"/>
                    </a:cubicBezTo>
                    <a:cubicBezTo>
                      <a:pt x="1312" y="209"/>
                      <a:pt x="1312" y="209"/>
                      <a:pt x="1312" y="209"/>
                    </a:cubicBezTo>
                    <a:cubicBezTo>
                      <a:pt x="1309" y="215"/>
                      <a:pt x="1309" y="215"/>
                      <a:pt x="1309" y="215"/>
                    </a:cubicBezTo>
                    <a:cubicBezTo>
                      <a:pt x="1308" y="217"/>
                      <a:pt x="1308" y="217"/>
                      <a:pt x="1308" y="217"/>
                    </a:cubicBezTo>
                    <a:cubicBezTo>
                      <a:pt x="1308" y="219"/>
                      <a:pt x="1308" y="219"/>
                      <a:pt x="1308" y="219"/>
                    </a:cubicBezTo>
                    <a:cubicBezTo>
                      <a:pt x="1308" y="219"/>
                      <a:pt x="1308" y="219"/>
                      <a:pt x="1308" y="219"/>
                    </a:cubicBezTo>
                    <a:cubicBezTo>
                      <a:pt x="1308" y="219"/>
                      <a:pt x="1308" y="219"/>
                      <a:pt x="1308" y="219"/>
                    </a:cubicBezTo>
                    <a:cubicBezTo>
                      <a:pt x="1308" y="220"/>
                      <a:pt x="1308" y="220"/>
                      <a:pt x="1308" y="220"/>
                    </a:cubicBezTo>
                    <a:cubicBezTo>
                      <a:pt x="1309" y="220"/>
                      <a:pt x="1309" y="220"/>
                      <a:pt x="1309" y="220"/>
                    </a:cubicBezTo>
                    <a:cubicBezTo>
                      <a:pt x="1309" y="220"/>
                      <a:pt x="1309" y="220"/>
                      <a:pt x="1309" y="220"/>
                    </a:cubicBezTo>
                    <a:cubicBezTo>
                      <a:pt x="1309" y="221"/>
                      <a:pt x="1309" y="221"/>
                      <a:pt x="1309" y="221"/>
                    </a:cubicBezTo>
                    <a:cubicBezTo>
                      <a:pt x="1309" y="221"/>
                      <a:pt x="1309" y="221"/>
                      <a:pt x="1309" y="221"/>
                    </a:cubicBezTo>
                    <a:cubicBezTo>
                      <a:pt x="1309" y="221"/>
                      <a:pt x="1309" y="221"/>
                      <a:pt x="1309" y="221"/>
                    </a:cubicBezTo>
                    <a:cubicBezTo>
                      <a:pt x="1310" y="222"/>
                      <a:pt x="1310" y="222"/>
                      <a:pt x="1310" y="222"/>
                    </a:cubicBezTo>
                    <a:cubicBezTo>
                      <a:pt x="1310" y="222"/>
                      <a:pt x="1310" y="222"/>
                      <a:pt x="1310" y="222"/>
                    </a:cubicBezTo>
                    <a:cubicBezTo>
                      <a:pt x="1310" y="222"/>
                      <a:pt x="1310" y="222"/>
                      <a:pt x="1310" y="222"/>
                    </a:cubicBezTo>
                    <a:cubicBezTo>
                      <a:pt x="1311" y="224"/>
                      <a:pt x="1311" y="224"/>
                      <a:pt x="1313" y="225"/>
                    </a:cubicBezTo>
                    <a:cubicBezTo>
                      <a:pt x="1314" y="226"/>
                      <a:pt x="1314" y="226"/>
                      <a:pt x="1314" y="226"/>
                    </a:cubicBezTo>
                    <a:cubicBezTo>
                      <a:pt x="1314" y="226"/>
                      <a:pt x="1314" y="226"/>
                      <a:pt x="1314" y="226"/>
                    </a:cubicBezTo>
                    <a:cubicBezTo>
                      <a:pt x="1314" y="226"/>
                      <a:pt x="1314" y="226"/>
                      <a:pt x="1314" y="226"/>
                    </a:cubicBezTo>
                    <a:cubicBezTo>
                      <a:pt x="1314" y="227"/>
                      <a:pt x="1314" y="227"/>
                      <a:pt x="1314" y="227"/>
                    </a:cubicBezTo>
                    <a:cubicBezTo>
                      <a:pt x="1315" y="228"/>
                      <a:pt x="1316" y="229"/>
                      <a:pt x="1317" y="230"/>
                    </a:cubicBezTo>
                    <a:cubicBezTo>
                      <a:pt x="1317" y="230"/>
                      <a:pt x="1317" y="230"/>
                      <a:pt x="1317" y="230"/>
                    </a:cubicBezTo>
                    <a:cubicBezTo>
                      <a:pt x="1317" y="230"/>
                      <a:pt x="1317" y="230"/>
                      <a:pt x="1317" y="230"/>
                    </a:cubicBezTo>
                    <a:cubicBezTo>
                      <a:pt x="1317" y="231"/>
                      <a:pt x="1317" y="231"/>
                      <a:pt x="1317" y="231"/>
                    </a:cubicBezTo>
                    <a:cubicBezTo>
                      <a:pt x="1317" y="231"/>
                      <a:pt x="1317" y="231"/>
                      <a:pt x="1317" y="231"/>
                    </a:cubicBezTo>
                    <a:cubicBezTo>
                      <a:pt x="1317" y="231"/>
                      <a:pt x="1317" y="231"/>
                      <a:pt x="1317" y="231"/>
                    </a:cubicBezTo>
                    <a:cubicBezTo>
                      <a:pt x="1318" y="232"/>
                      <a:pt x="1318" y="232"/>
                      <a:pt x="1318" y="232"/>
                    </a:cubicBezTo>
                    <a:cubicBezTo>
                      <a:pt x="1318" y="232"/>
                      <a:pt x="1318" y="232"/>
                      <a:pt x="1318" y="232"/>
                    </a:cubicBezTo>
                    <a:cubicBezTo>
                      <a:pt x="1318" y="232"/>
                      <a:pt x="1318" y="232"/>
                      <a:pt x="1318" y="232"/>
                    </a:cubicBezTo>
                    <a:cubicBezTo>
                      <a:pt x="1318" y="233"/>
                      <a:pt x="1318" y="233"/>
                      <a:pt x="1318" y="233"/>
                    </a:cubicBezTo>
                    <a:cubicBezTo>
                      <a:pt x="1318" y="234"/>
                      <a:pt x="1318" y="234"/>
                      <a:pt x="1318" y="234"/>
                    </a:cubicBezTo>
                    <a:cubicBezTo>
                      <a:pt x="1317" y="237"/>
                      <a:pt x="1317" y="237"/>
                      <a:pt x="1317" y="237"/>
                    </a:cubicBezTo>
                    <a:cubicBezTo>
                      <a:pt x="1315" y="243"/>
                      <a:pt x="1315" y="243"/>
                      <a:pt x="1315" y="243"/>
                    </a:cubicBezTo>
                    <a:cubicBezTo>
                      <a:pt x="1315" y="245"/>
                      <a:pt x="1315" y="245"/>
                      <a:pt x="1315" y="245"/>
                    </a:cubicBezTo>
                    <a:cubicBezTo>
                      <a:pt x="1314" y="247"/>
                      <a:pt x="1314" y="247"/>
                      <a:pt x="1314" y="247"/>
                    </a:cubicBezTo>
                    <a:cubicBezTo>
                      <a:pt x="1315" y="247"/>
                      <a:pt x="1315" y="247"/>
                      <a:pt x="1315" y="247"/>
                    </a:cubicBezTo>
                    <a:cubicBezTo>
                      <a:pt x="1315" y="247"/>
                      <a:pt x="1315" y="247"/>
                      <a:pt x="1315" y="247"/>
                    </a:cubicBezTo>
                    <a:cubicBezTo>
                      <a:pt x="1315" y="248"/>
                      <a:pt x="1315" y="248"/>
                      <a:pt x="1315" y="248"/>
                    </a:cubicBezTo>
                    <a:cubicBezTo>
                      <a:pt x="1315" y="248"/>
                      <a:pt x="1315" y="248"/>
                      <a:pt x="1315" y="248"/>
                    </a:cubicBezTo>
                    <a:cubicBezTo>
                      <a:pt x="1316" y="248"/>
                      <a:pt x="1316" y="248"/>
                      <a:pt x="1316" y="248"/>
                    </a:cubicBezTo>
                    <a:cubicBezTo>
                      <a:pt x="1316" y="249"/>
                      <a:pt x="1316" y="249"/>
                      <a:pt x="1316" y="249"/>
                    </a:cubicBezTo>
                    <a:cubicBezTo>
                      <a:pt x="1316" y="249"/>
                      <a:pt x="1316" y="249"/>
                      <a:pt x="1316" y="249"/>
                    </a:cubicBezTo>
                    <a:cubicBezTo>
                      <a:pt x="1317" y="249"/>
                      <a:pt x="1317" y="249"/>
                      <a:pt x="1317" y="249"/>
                    </a:cubicBezTo>
                    <a:cubicBezTo>
                      <a:pt x="1317" y="249"/>
                      <a:pt x="1317" y="249"/>
                      <a:pt x="1317" y="249"/>
                    </a:cubicBezTo>
                    <a:cubicBezTo>
                      <a:pt x="1318" y="250"/>
                      <a:pt x="1319" y="251"/>
                      <a:pt x="1320" y="251"/>
                    </a:cubicBezTo>
                    <a:cubicBezTo>
                      <a:pt x="1320" y="251"/>
                      <a:pt x="1321" y="251"/>
                      <a:pt x="1322" y="251"/>
                    </a:cubicBezTo>
                    <a:cubicBezTo>
                      <a:pt x="1322" y="250"/>
                      <a:pt x="1322" y="250"/>
                      <a:pt x="1322" y="250"/>
                    </a:cubicBezTo>
                    <a:cubicBezTo>
                      <a:pt x="1323" y="250"/>
                      <a:pt x="1323" y="250"/>
                      <a:pt x="1323" y="250"/>
                    </a:cubicBezTo>
                    <a:cubicBezTo>
                      <a:pt x="1325" y="250"/>
                      <a:pt x="1326" y="248"/>
                      <a:pt x="1328" y="248"/>
                    </a:cubicBezTo>
                    <a:cubicBezTo>
                      <a:pt x="1328" y="248"/>
                      <a:pt x="1328" y="248"/>
                      <a:pt x="1328" y="248"/>
                    </a:cubicBezTo>
                    <a:cubicBezTo>
                      <a:pt x="1328" y="248"/>
                      <a:pt x="1328" y="248"/>
                      <a:pt x="1328" y="248"/>
                    </a:cubicBezTo>
                    <a:cubicBezTo>
                      <a:pt x="1329" y="248"/>
                      <a:pt x="1329" y="248"/>
                      <a:pt x="1329" y="248"/>
                    </a:cubicBezTo>
                    <a:cubicBezTo>
                      <a:pt x="1329" y="248"/>
                      <a:pt x="1329" y="248"/>
                      <a:pt x="1329" y="248"/>
                    </a:cubicBezTo>
                    <a:cubicBezTo>
                      <a:pt x="1330" y="248"/>
                      <a:pt x="1330" y="248"/>
                      <a:pt x="1331" y="248"/>
                    </a:cubicBezTo>
                    <a:cubicBezTo>
                      <a:pt x="1335" y="248"/>
                      <a:pt x="1338" y="249"/>
                      <a:pt x="1342" y="251"/>
                    </a:cubicBezTo>
                    <a:cubicBezTo>
                      <a:pt x="1343" y="251"/>
                      <a:pt x="1343" y="251"/>
                      <a:pt x="1343" y="251"/>
                    </a:cubicBezTo>
                    <a:cubicBezTo>
                      <a:pt x="1343" y="251"/>
                      <a:pt x="1343" y="251"/>
                      <a:pt x="1343" y="251"/>
                    </a:cubicBezTo>
                    <a:cubicBezTo>
                      <a:pt x="1344" y="251"/>
                      <a:pt x="1344" y="251"/>
                      <a:pt x="1344" y="251"/>
                    </a:cubicBezTo>
                    <a:cubicBezTo>
                      <a:pt x="1344" y="251"/>
                      <a:pt x="1344" y="251"/>
                      <a:pt x="1344" y="251"/>
                    </a:cubicBezTo>
                    <a:cubicBezTo>
                      <a:pt x="1345" y="251"/>
                      <a:pt x="1345" y="251"/>
                      <a:pt x="1345" y="251"/>
                    </a:cubicBezTo>
                    <a:cubicBezTo>
                      <a:pt x="1347" y="250"/>
                      <a:pt x="1347" y="250"/>
                      <a:pt x="1350" y="250"/>
                    </a:cubicBezTo>
                    <a:cubicBezTo>
                      <a:pt x="1350" y="250"/>
                      <a:pt x="1350" y="250"/>
                      <a:pt x="1350" y="250"/>
                    </a:cubicBezTo>
                    <a:cubicBezTo>
                      <a:pt x="1351" y="250"/>
                      <a:pt x="1351" y="250"/>
                      <a:pt x="1351" y="250"/>
                    </a:cubicBezTo>
                    <a:cubicBezTo>
                      <a:pt x="1354" y="250"/>
                      <a:pt x="1350" y="248"/>
                      <a:pt x="1355" y="246"/>
                    </a:cubicBezTo>
                    <a:cubicBezTo>
                      <a:pt x="1355" y="246"/>
                      <a:pt x="1355" y="246"/>
                      <a:pt x="1355" y="246"/>
                    </a:cubicBezTo>
                    <a:cubicBezTo>
                      <a:pt x="1356" y="246"/>
                      <a:pt x="1356" y="246"/>
                      <a:pt x="1356" y="246"/>
                    </a:cubicBezTo>
                    <a:cubicBezTo>
                      <a:pt x="1356" y="246"/>
                      <a:pt x="1356" y="246"/>
                      <a:pt x="1356" y="246"/>
                    </a:cubicBezTo>
                    <a:cubicBezTo>
                      <a:pt x="1357" y="246"/>
                      <a:pt x="1357" y="246"/>
                      <a:pt x="1357" y="246"/>
                    </a:cubicBezTo>
                    <a:cubicBezTo>
                      <a:pt x="1359" y="245"/>
                      <a:pt x="1359" y="244"/>
                      <a:pt x="1362" y="243"/>
                    </a:cubicBezTo>
                    <a:cubicBezTo>
                      <a:pt x="1362" y="243"/>
                      <a:pt x="1362" y="243"/>
                      <a:pt x="1362" y="243"/>
                    </a:cubicBezTo>
                    <a:cubicBezTo>
                      <a:pt x="1363" y="243"/>
                      <a:pt x="1363" y="243"/>
                      <a:pt x="1363" y="243"/>
                    </a:cubicBezTo>
                    <a:cubicBezTo>
                      <a:pt x="1363" y="242"/>
                      <a:pt x="1364" y="242"/>
                      <a:pt x="1366" y="242"/>
                    </a:cubicBezTo>
                    <a:cubicBezTo>
                      <a:pt x="1366" y="242"/>
                      <a:pt x="1367" y="242"/>
                      <a:pt x="1368" y="242"/>
                    </a:cubicBezTo>
                    <a:cubicBezTo>
                      <a:pt x="1369" y="243"/>
                      <a:pt x="1369" y="243"/>
                      <a:pt x="1369" y="243"/>
                    </a:cubicBezTo>
                    <a:cubicBezTo>
                      <a:pt x="1370" y="243"/>
                      <a:pt x="1370" y="243"/>
                      <a:pt x="1370" y="243"/>
                    </a:cubicBezTo>
                    <a:cubicBezTo>
                      <a:pt x="1370" y="243"/>
                      <a:pt x="1370" y="243"/>
                      <a:pt x="1370" y="243"/>
                    </a:cubicBezTo>
                    <a:cubicBezTo>
                      <a:pt x="1371" y="243"/>
                      <a:pt x="1371" y="243"/>
                      <a:pt x="1371" y="243"/>
                    </a:cubicBezTo>
                    <a:cubicBezTo>
                      <a:pt x="1371" y="243"/>
                      <a:pt x="1371" y="243"/>
                      <a:pt x="1371" y="243"/>
                    </a:cubicBezTo>
                    <a:cubicBezTo>
                      <a:pt x="1372" y="243"/>
                      <a:pt x="1372" y="243"/>
                      <a:pt x="1372" y="243"/>
                    </a:cubicBezTo>
                    <a:cubicBezTo>
                      <a:pt x="1372" y="243"/>
                      <a:pt x="1373" y="243"/>
                      <a:pt x="1373" y="243"/>
                    </a:cubicBezTo>
                    <a:cubicBezTo>
                      <a:pt x="1375" y="243"/>
                      <a:pt x="1376" y="243"/>
                      <a:pt x="1376" y="243"/>
                    </a:cubicBezTo>
                    <a:cubicBezTo>
                      <a:pt x="1377" y="243"/>
                      <a:pt x="1378" y="243"/>
                      <a:pt x="1378" y="243"/>
                    </a:cubicBezTo>
                    <a:cubicBezTo>
                      <a:pt x="1379" y="243"/>
                      <a:pt x="1380" y="243"/>
                      <a:pt x="1384" y="246"/>
                    </a:cubicBezTo>
                    <a:cubicBezTo>
                      <a:pt x="1385" y="246"/>
                      <a:pt x="1385" y="246"/>
                      <a:pt x="1385" y="246"/>
                    </a:cubicBezTo>
                    <a:cubicBezTo>
                      <a:pt x="1385" y="246"/>
                      <a:pt x="1385" y="246"/>
                      <a:pt x="1385" y="246"/>
                    </a:cubicBezTo>
                    <a:cubicBezTo>
                      <a:pt x="1386" y="246"/>
                      <a:pt x="1386" y="246"/>
                      <a:pt x="1386" y="246"/>
                    </a:cubicBezTo>
                    <a:cubicBezTo>
                      <a:pt x="1388" y="247"/>
                      <a:pt x="1388" y="248"/>
                      <a:pt x="1391" y="248"/>
                    </a:cubicBezTo>
                    <a:cubicBezTo>
                      <a:pt x="1392" y="248"/>
                      <a:pt x="1392" y="248"/>
                      <a:pt x="1392" y="248"/>
                    </a:cubicBezTo>
                    <a:cubicBezTo>
                      <a:pt x="1393" y="248"/>
                      <a:pt x="1393" y="248"/>
                      <a:pt x="1393" y="248"/>
                    </a:cubicBezTo>
                    <a:cubicBezTo>
                      <a:pt x="1394" y="248"/>
                      <a:pt x="1394" y="248"/>
                      <a:pt x="1395" y="248"/>
                    </a:cubicBezTo>
                    <a:cubicBezTo>
                      <a:pt x="1395" y="248"/>
                      <a:pt x="1395" y="248"/>
                      <a:pt x="1396" y="248"/>
                    </a:cubicBezTo>
                    <a:cubicBezTo>
                      <a:pt x="1396" y="248"/>
                      <a:pt x="1397" y="248"/>
                      <a:pt x="1398" y="248"/>
                    </a:cubicBezTo>
                    <a:cubicBezTo>
                      <a:pt x="1398" y="248"/>
                      <a:pt x="1398" y="248"/>
                      <a:pt x="1398" y="248"/>
                    </a:cubicBezTo>
                    <a:cubicBezTo>
                      <a:pt x="1399" y="248"/>
                      <a:pt x="1399" y="248"/>
                      <a:pt x="1399" y="248"/>
                    </a:cubicBezTo>
                    <a:cubicBezTo>
                      <a:pt x="1399" y="249"/>
                      <a:pt x="1399" y="249"/>
                      <a:pt x="1399" y="249"/>
                    </a:cubicBezTo>
                    <a:cubicBezTo>
                      <a:pt x="1400" y="249"/>
                      <a:pt x="1400" y="249"/>
                      <a:pt x="1400" y="249"/>
                    </a:cubicBezTo>
                    <a:cubicBezTo>
                      <a:pt x="1400" y="249"/>
                      <a:pt x="1400" y="249"/>
                      <a:pt x="1400" y="249"/>
                    </a:cubicBezTo>
                    <a:cubicBezTo>
                      <a:pt x="1400" y="249"/>
                      <a:pt x="1400" y="249"/>
                      <a:pt x="1400" y="249"/>
                    </a:cubicBezTo>
                    <a:cubicBezTo>
                      <a:pt x="1402" y="250"/>
                      <a:pt x="1401" y="252"/>
                      <a:pt x="1403" y="253"/>
                    </a:cubicBezTo>
                    <a:cubicBezTo>
                      <a:pt x="1403" y="253"/>
                      <a:pt x="1403" y="253"/>
                      <a:pt x="1403" y="253"/>
                    </a:cubicBezTo>
                    <a:cubicBezTo>
                      <a:pt x="1403" y="254"/>
                      <a:pt x="1403" y="254"/>
                      <a:pt x="1403" y="254"/>
                    </a:cubicBezTo>
                    <a:cubicBezTo>
                      <a:pt x="1404" y="255"/>
                      <a:pt x="1406" y="254"/>
                      <a:pt x="1407" y="255"/>
                    </a:cubicBezTo>
                    <a:cubicBezTo>
                      <a:pt x="1407" y="255"/>
                      <a:pt x="1407" y="255"/>
                      <a:pt x="1407" y="255"/>
                    </a:cubicBezTo>
                    <a:cubicBezTo>
                      <a:pt x="1408" y="255"/>
                      <a:pt x="1408" y="255"/>
                      <a:pt x="1408" y="255"/>
                    </a:cubicBezTo>
                    <a:cubicBezTo>
                      <a:pt x="1408" y="255"/>
                      <a:pt x="1408" y="255"/>
                      <a:pt x="1408" y="255"/>
                    </a:cubicBezTo>
                    <a:cubicBezTo>
                      <a:pt x="1417" y="255"/>
                      <a:pt x="1415" y="259"/>
                      <a:pt x="1421" y="259"/>
                    </a:cubicBezTo>
                    <a:cubicBezTo>
                      <a:pt x="1421" y="259"/>
                      <a:pt x="1421" y="259"/>
                      <a:pt x="1421" y="259"/>
                    </a:cubicBezTo>
                    <a:cubicBezTo>
                      <a:pt x="1422" y="259"/>
                      <a:pt x="1422" y="259"/>
                      <a:pt x="1422" y="259"/>
                    </a:cubicBezTo>
                    <a:cubicBezTo>
                      <a:pt x="1422" y="259"/>
                      <a:pt x="1422" y="259"/>
                      <a:pt x="1422" y="259"/>
                    </a:cubicBezTo>
                    <a:cubicBezTo>
                      <a:pt x="1423" y="259"/>
                      <a:pt x="1423" y="259"/>
                      <a:pt x="1423" y="259"/>
                    </a:cubicBezTo>
                    <a:cubicBezTo>
                      <a:pt x="1423" y="259"/>
                      <a:pt x="1423" y="259"/>
                      <a:pt x="1423" y="259"/>
                    </a:cubicBezTo>
                    <a:cubicBezTo>
                      <a:pt x="1424" y="260"/>
                      <a:pt x="1424" y="260"/>
                      <a:pt x="1424" y="260"/>
                    </a:cubicBezTo>
                    <a:cubicBezTo>
                      <a:pt x="1425" y="263"/>
                      <a:pt x="1425" y="263"/>
                      <a:pt x="1425" y="263"/>
                    </a:cubicBezTo>
                    <a:cubicBezTo>
                      <a:pt x="1426" y="270"/>
                      <a:pt x="1426" y="270"/>
                      <a:pt x="1426" y="270"/>
                    </a:cubicBezTo>
                    <a:cubicBezTo>
                      <a:pt x="1427" y="273"/>
                      <a:pt x="1427" y="273"/>
                      <a:pt x="1427" y="273"/>
                    </a:cubicBezTo>
                    <a:cubicBezTo>
                      <a:pt x="1427" y="275"/>
                      <a:pt x="1427" y="275"/>
                      <a:pt x="1427" y="275"/>
                    </a:cubicBezTo>
                    <a:cubicBezTo>
                      <a:pt x="1427" y="275"/>
                      <a:pt x="1427" y="275"/>
                      <a:pt x="1427" y="275"/>
                    </a:cubicBezTo>
                    <a:cubicBezTo>
                      <a:pt x="1428" y="275"/>
                      <a:pt x="1428" y="275"/>
                      <a:pt x="1428" y="275"/>
                    </a:cubicBezTo>
                    <a:cubicBezTo>
                      <a:pt x="1428" y="276"/>
                      <a:pt x="1428" y="276"/>
                      <a:pt x="1428" y="276"/>
                    </a:cubicBezTo>
                    <a:cubicBezTo>
                      <a:pt x="1428" y="278"/>
                      <a:pt x="1428" y="278"/>
                      <a:pt x="1428" y="278"/>
                    </a:cubicBezTo>
                    <a:cubicBezTo>
                      <a:pt x="1429" y="279"/>
                      <a:pt x="1429" y="279"/>
                      <a:pt x="1429" y="279"/>
                    </a:cubicBezTo>
                    <a:cubicBezTo>
                      <a:pt x="1429" y="279"/>
                      <a:pt x="1429" y="279"/>
                      <a:pt x="1429" y="279"/>
                    </a:cubicBezTo>
                    <a:cubicBezTo>
                      <a:pt x="1430" y="279"/>
                      <a:pt x="1430" y="279"/>
                      <a:pt x="1430" y="279"/>
                    </a:cubicBezTo>
                    <a:cubicBezTo>
                      <a:pt x="1430" y="279"/>
                      <a:pt x="1430" y="279"/>
                      <a:pt x="1430" y="279"/>
                    </a:cubicBezTo>
                    <a:cubicBezTo>
                      <a:pt x="1431" y="279"/>
                      <a:pt x="1431" y="279"/>
                      <a:pt x="1431" y="279"/>
                    </a:cubicBezTo>
                    <a:cubicBezTo>
                      <a:pt x="1431" y="279"/>
                      <a:pt x="1431" y="279"/>
                      <a:pt x="1431" y="279"/>
                    </a:cubicBezTo>
                    <a:cubicBezTo>
                      <a:pt x="1432" y="281"/>
                      <a:pt x="1432" y="281"/>
                      <a:pt x="1432" y="281"/>
                    </a:cubicBezTo>
                    <a:cubicBezTo>
                      <a:pt x="1432" y="282"/>
                      <a:pt x="1432" y="282"/>
                      <a:pt x="1432" y="282"/>
                    </a:cubicBezTo>
                    <a:cubicBezTo>
                      <a:pt x="1433" y="282"/>
                      <a:pt x="1433" y="282"/>
                      <a:pt x="1433" y="282"/>
                    </a:cubicBezTo>
                    <a:cubicBezTo>
                      <a:pt x="1433" y="283"/>
                      <a:pt x="1433" y="283"/>
                      <a:pt x="1433" y="283"/>
                    </a:cubicBezTo>
                    <a:cubicBezTo>
                      <a:pt x="1433" y="284"/>
                      <a:pt x="1433" y="284"/>
                      <a:pt x="1433" y="284"/>
                    </a:cubicBezTo>
                    <a:cubicBezTo>
                      <a:pt x="1434" y="285"/>
                      <a:pt x="1434" y="285"/>
                      <a:pt x="1434" y="285"/>
                    </a:cubicBezTo>
                    <a:cubicBezTo>
                      <a:pt x="1434" y="285"/>
                      <a:pt x="1434" y="285"/>
                      <a:pt x="1434" y="285"/>
                    </a:cubicBezTo>
                    <a:cubicBezTo>
                      <a:pt x="1434" y="285"/>
                      <a:pt x="1434" y="285"/>
                      <a:pt x="1434" y="285"/>
                    </a:cubicBezTo>
                    <a:cubicBezTo>
                      <a:pt x="1435" y="286"/>
                      <a:pt x="1436" y="286"/>
                      <a:pt x="1437" y="287"/>
                    </a:cubicBezTo>
                    <a:cubicBezTo>
                      <a:pt x="1439" y="290"/>
                      <a:pt x="1439" y="290"/>
                      <a:pt x="1439" y="290"/>
                    </a:cubicBezTo>
                    <a:cubicBezTo>
                      <a:pt x="1439" y="291"/>
                      <a:pt x="1439" y="291"/>
                      <a:pt x="1439" y="291"/>
                    </a:cubicBezTo>
                    <a:cubicBezTo>
                      <a:pt x="1439" y="292"/>
                      <a:pt x="1439" y="292"/>
                      <a:pt x="1439" y="292"/>
                    </a:cubicBezTo>
                    <a:cubicBezTo>
                      <a:pt x="1439" y="292"/>
                      <a:pt x="1439" y="292"/>
                      <a:pt x="1439" y="292"/>
                    </a:cubicBezTo>
                    <a:cubicBezTo>
                      <a:pt x="1438" y="292"/>
                      <a:pt x="1438" y="292"/>
                      <a:pt x="1438" y="292"/>
                    </a:cubicBezTo>
                    <a:cubicBezTo>
                      <a:pt x="1436" y="292"/>
                      <a:pt x="1433" y="293"/>
                      <a:pt x="1430" y="293"/>
                    </a:cubicBezTo>
                    <a:cubicBezTo>
                      <a:pt x="1430" y="293"/>
                      <a:pt x="1430" y="293"/>
                      <a:pt x="1430" y="293"/>
                    </a:cubicBezTo>
                    <a:cubicBezTo>
                      <a:pt x="1429" y="293"/>
                      <a:pt x="1429" y="293"/>
                      <a:pt x="1429" y="293"/>
                    </a:cubicBezTo>
                    <a:cubicBezTo>
                      <a:pt x="1423" y="294"/>
                      <a:pt x="1420" y="300"/>
                      <a:pt x="1420" y="305"/>
                    </a:cubicBezTo>
                    <a:cubicBezTo>
                      <a:pt x="1421" y="306"/>
                      <a:pt x="1421" y="306"/>
                      <a:pt x="1421" y="306"/>
                    </a:cubicBezTo>
                    <a:cubicBezTo>
                      <a:pt x="1422" y="307"/>
                      <a:pt x="1422" y="307"/>
                      <a:pt x="1422" y="307"/>
                    </a:cubicBezTo>
                    <a:cubicBezTo>
                      <a:pt x="1422" y="308"/>
                      <a:pt x="1422" y="308"/>
                      <a:pt x="1422" y="308"/>
                    </a:cubicBezTo>
                    <a:cubicBezTo>
                      <a:pt x="1422" y="310"/>
                      <a:pt x="1422" y="310"/>
                      <a:pt x="1422" y="310"/>
                    </a:cubicBezTo>
                    <a:cubicBezTo>
                      <a:pt x="1420" y="313"/>
                      <a:pt x="1420" y="313"/>
                      <a:pt x="1420" y="313"/>
                    </a:cubicBezTo>
                    <a:cubicBezTo>
                      <a:pt x="1420" y="315"/>
                      <a:pt x="1420" y="315"/>
                      <a:pt x="1420" y="315"/>
                    </a:cubicBezTo>
                    <a:cubicBezTo>
                      <a:pt x="1420" y="316"/>
                      <a:pt x="1420" y="316"/>
                      <a:pt x="1420" y="316"/>
                    </a:cubicBezTo>
                    <a:cubicBezTo>
                      <a:pt x="1420" y="316"/>
                      <a:pt x="1420" y="316"/>
                      <a:pt x="1420" y="316"/>
                    </a:cubicBezTo>
                    <a:cubicBezTo>
                      <a:pt x="1420" y="316"/>
                      <a:pt x="1420" y="316"/>
                      <a:pt x="1420" y="316"/>
                    </a:cubicBezTo>
                    <a:cubicBezTo>
                      <a:pt x="1421" y="317"/>
                      <a:pt x="1421" y="317"/>
                      <a:pt x="1421" y="317"/>
                    </a:cubicBezTo>
                    <a:cubicBezTo>
                      <a:pt x="1421" y="317"/>
                      <a:pt x="1421" y="317"/>
                      <a:pt x="1421" y="317"/>
                    </a:cubicBezTo>
                    <a:cubicBezTo>
                      <a:pt x="1422" y="317"/>
                      <a:pt x="1422" y="317"/>
                      <a:pt x="1422" y="317"/>
                    </a:cubicBezTo>
                    <a:cubicBezTo>
                      <a:pt x="1422" y="317"/>
                      <a:pt x="1422" y="317"/>
                      <a:pt x="1422" y="317"/>
                    </a:cubicBezTo>
                    <a:cubicBezTo>
                      <a:pt x="1423" y="317"/>
                      <a:pt x="1423" y="317"/>
                      <a:pt x="1423" y="317"/>
                    </a:cubicBezTo>
                    <a:cubicBezTo>
                      <a:pt x="1423" y="317"/>
                      <a:pt x="1423" y="317"/>
                      <a:pt x="1423" y="317"/>
                    </a:cubicBezTo>
                    <a:cubicBezTo>
                      <a:pt x="1424" y="317"/>
                      <a:pt x="1424" y="317"/>
                      <a:pt x="1424" y="317"/>
                    </a:cubicBezTo>
                    <a:cubicBezTo>
                      <a:pt x="1424" y="318"/>
                      <a:pt x="1424" y="318"/>
                      <a:pt x="1424" y="318"/>
                    </a:cubicBezTo>
                    <a:cubicBezTo>
                      <a:pt x="1425" y="318"/>
                      <a:pt x="1425" y="318"/>
                      <a:pt x="1425" y="318"/>
                    </a:cubicBezTo>
                    <a:cubicBezTo>
                      <a:pt x="1425" y="318"/>
                      <a:pt x="1425" y="318"/>
                      <a:pt x="1425" y="318"/>
                    </a:cubicBezTo>
                    <a:cubicBezTo>
                      <a:pt x="1426" y="318"/>
                      <a:pt x="1426" y="318"/>
                      <a:pt x="1426" y="318"/>
                    </a:cubicBezTo>
                    <a:cubicBezTo>
                      <a:pt x="1426" y="317"/>
                      <a:pt x="1426" y="317"/>
                      <a:pt x="1426" y="317"/>
                    </a:cubicBezTo>
                    <a:cubicBezTo>
                      <a:pt x="1427" y="317"/>
                      <a:pt x="1427" y="317"/>
                      <a:pt x="1427" y="317"/>
                    </a:cubicBezTo>
                    <a:cubicBezTo>
                      <a:pt x="1427" y="317"/>
                      <a:pt x="1427" y="317"/>
                      <a:pt x="1427" y="317"/>
                    </a:cubicBezTo>
                    <a:cubicBezTo>
                      <a:pt x="1427" y="317"/>
                      <a:pt x="1427" y="317"/>
                      <a:pt x="1427" y="317"/>
                    </a:cubicBezTo>
                    <a:cubicBezTo>
                      <a:pt x="1428" y="317"/>
                      <a:pt x="1428" y="317"/>
                      <a:pt x="1428" y="317"/>
                    </a:cubicBezTo>
                    <a:cubicBezTo>
                      <a:pt x="1428" y="316"/>
                      <a:pt x="1428" y="316"/>
                      <a:pt x="1428" y="316"/>
                    </a:cubicBezTo>
                    <a:cubicBezTo>
                      <a:pt x="1428" y="316"/>
                      <a:pt x="1428" y="316"/>
                      <a:pt x="1428" y="316"/>
                    </a:cubicBezTo>
                    <a:cubicBezTo>
                      <a:pt x="1428" y="315"/>
                      <a:pt x="1428" y="315"/>
                      <a:pt x="1428" y="315"/>
                    </a:cubicBezTo>
                    <a:cubicBezTo>
                      <a:pt x="1428" y="315"/>
                      <a:pt x="1428" y="315"/>
                      <a:pt x="1428" y="315"/>
                    </a:cubicBezTo>
                    <a:cubicBezTo>
                      <a:pt x="1429" y="315"/>
                      <a:pt x="1429" y="315"/>
                      <a:pt x="1429" y="315"/>
                    </a:cubicBezTo>
                    <a:cubicBezTo>
                      <a:pt x="1429" y="316"/>
                      <a:pt x="1429" y="316"/>
                      <a:pt x="1429" y="316"/>
                    </a:cubicBezTo>
                    <a:cubicBezTo>
                      <a:pt x="1429" y="316"/>
                      <a:pt x="1429" y="316"/>
                      <a:pt x="1429" y="316"/>
                    </a:cubicBezTo>
                    <a:cubicBezTo>
                      <a:pt x="1431" y="319"/>
                      <a:pt x="1431" y="320"/>
                      <a:pt x="1432" y="320"/>
                    </a:cubicBezTo>
                    <a:cubicBezTo>
                      <a:pt x="1432" y="320"/>
                      <a:pt x="1433" y="319"/>
                      <a:pt x="1434" y="319"/>
                    </a:cubicBezTo>
                    <a:cubicBezTo>
                      <a:pt x="1435" y="319"/>
                      <a:pt x="1435" y="319"/>
                      <a:pt x="1435" y="319"/>
                    </a:cubicBezTo>
                    <a:cubicBezTo>
                      <a:pt x="1435" y="319"/>
                      <a:pt x="1435" y="319"/>
                      <a:pt x="1435" y="319"/>
                    </a:cubicBezTo>
                    <a:cubicBezTo>
                      <a:pt x="1435" y="319"/>
                      <a:pt x="1435" y="319"/>
                      <a:pt x="1435" y="319"/>
                    </a:cubicBezTo>
                    <a:cubicBezTo>
                      <a:pt x="1436" y="320"/>
                      <a:pt x="1436" y="320"/>
                      <a:pt x="1437" y="320"/>
                    </a:cubicBezTo>
                    <a:cubicBezTo>
                      <a:pt x="1437" y="321"/>
                      <a:pt x="1437" y="321"/>
                      <a:pt x="1437" y="321"/>
                    </a:cubicBezTo>
                    <a:cubicBezTo>
                      <a:pt x="1438" y="321"/>
                      <a:pt x="1438" y="321"/>
                      <a:pt x="1438" y="321"/>
                    </a:cubicBezTo>
                    <a:cubicBezTo>
                      <a:pt x="1438" y="321"/>
                      <a:pt x="1439" y="321"/>
                      <a:pt x="1439" y="321"/>
                    </a:cubicBezTo>
                    <a:cubicBezTo>
                      <a:pt x="1439" y="321"/>
                      <a:pt x="1440" y="321"/>
                      <a:pt x="1440" y="320"/>
                    </a:cubicBezTo>
                    <a:cubicBezTo>
                      <a:pt x="1440" y="320"/>
                      <a:pt x="1440" y="320"/>
                      <a:pt x="1440" y="320"/>
                    </a:cubicBezTo>
                    <a:cubicBezTo>
                      <a:pt x="1441" y="320"/>
                      <a:pt x="1441" y="320"/>
                      <a:pt x="1441" y="320"/>
                    </a:cubicBezTo>
                    <a:cubicBezTo>
                      <a:pt x="1441" y="321"/>
                      <a:pt x="1441" y="321"/>
                      <a:pt x="1441" y="321"/>
                    </a:cubicBezTo>
                    <a:cubicBezTo>
                      <a:pt x="1442" y="321"/>
                      <a:pt x="1442" y="321"/>
                      <a:pt x="1442" y="321"/>
                    </a:cubicBezTo>
                    <a:cubicBezTo>
                      <a:pt x="1442" y="321"/>
                      <a:pt x="1442" y="321"/>
                      <a:pt x="1442" y="321"/>
                    </a:cubicBezTo>
                    <a:cubicBezTo>
                      <a:pt x="1443" y="321"/>
                      <a:pt x="1443" y="321"/>
                      <a:pt x="1443" y="321"/>
                    </a:cubicBezTo>
                    <a:cubicBezTo>
                      <a:pt x="1443" y="320"/>
                      <a:pt x="1443" y="320"/>
                      <a:pt x="1444" y="320"/>
                    </a:cubicBezTo>
                    <a:cubicBezTo>
                      <a:pt x="1444" y="320"/>
                      <a:pt x="1444" y="320"/>
                      <a:pt x="1445" y="320"/>
                    </a:cubicBezTo>
                    <a:cubicBezTo>
                      <a:pt x="1445" y="321"/>
                      <a:pt x="1445" y="321"/>
                      <a:pt x="1445" y="321"/>
                    </a:cubicBezTo>
                    <a:cubicBezTo>
                      <a:pt x="1445" y="321"/>
                      <a:pt x="1445" y="321"/>
                      <a:pt x="1445" y="321"/>
                    </a:cubicBezTo>
                    <a:cubicBezTo>
                      <a:pt x="1445" y="321"/>
                      <a:pt x="1445" y="321"/>
                      <a:pt x="1445" y="321"/>
                    </a:cubicBezTo>
                    <a:cubicBezTo>
                      <a:pt x="1446" y="322"/>
                      <a:pt x="1446" y="322"/>
                      <a:pt x="1446" y="322"/>
                    </a:cubicBezTo>
                    <a:cubicBezTo>
                      <a:pt x="1446" y="322"/>
                      <a:pt x="1446" y="322"/>
                      <a:pt x="1446" y="322"/>
                    </a:cubicBezTo>
                    <a:cubicBezTo>
                      <a:pt x="1446" y="322"/>
                      <a:pt x="1446" y="322"/>
                      <a:pt x="1446" y="322"/>
                    </a:cubicBezTo>
                    <a:cubicBezTo>
                      <a:pt x="1447" y="321"/>
                      <a:pt x="1447" y="321"/>
                      <a:pt x="1447" y="321"/>
                    </a:cubicBezTo>
                    <a:cubicBezTo>
                      <a:pt x="1447" y="321"/>
                      <a:pt x="1447" y="321"/>
                      <a:pt x="1447" y="321"/>
                    </a:cubicBezTo>
                    <a:cubicBezTo>
                      <a:pt x="1447" y="320"/>
                      <a:pt x="1447" y="320"/>
                      <a:pt x="1447" y="320"/>
                    </a:cubicBezTo>
                    <a:cubicBezTo>
                      <a:pt x="1447" y="320"/>
                      <a:pt x="1447" y="320"/>
                      <a:pt x="1447" y="320"/>
                    </a:cubicBezTo>
                    <a:cubicBezTo>
                      <a:pt x="1447" y="320"/>
                      <a:pt x="1447" y="320"/>
                      <a:pt x="1447" y="320"/>
                    </a:cubicBezTo>
                    <a:cubicBezTo>
                      <a:pt x="1447" y="319"/>
                      <a:pt x="1447" y="319"/>
                      <a:pt x="1447" y="319"/>
                    </a:cubicBezTo>
                    <a:cubicBezTo>
                      <a:pt x="1447" y="319"/>
                      <a:pt x="1447" y="319"/>
                      <a:pt x="1447" y="319"/>
                    </a:cubicBezTo>
                    <a:cubicBezTo>
                      <a:pt x="1447" y="319"/>
                      <a:pt x="1447" y="319"/>
                      <a:pt x="1447" y="319"/>
                    </a:cubicBezTo>
                    <a:cubicBezTo>
                      <a:pt x="1447" y="319"/>
                      <a:pt x="1447" y="319"/>
                      <a:pt x="1447" y="319"/>
                    </a:cubicBezTo>
                    <a:cubicBezTo>
                      <a:pt x="1448" y="319"/>
                      <a:pt x="1448" y="319"/>
                      <a:pt x="1448" y="319"/>
                    </a:cubicBezTo>
                    <a:cubicBezTo>
                      <a:pt x="1448" y="319"/>
                      <a:pt x="1448" y="319"/>
                      <a:pt x="1448" y="319"/>
                    </a:cubicBezTo>
                    <a:cubicBezTo>
                      <a:pt x="1448" y="319"/>
                      <a:pt x="1448" y="319"/>
                      <a:pt x="1448" y="319"/>
                    </a:cubicBezTo>
                    <a:cubicBezTo>
                      <a:pt x="1448" y="320"/>
                      <a:pt x="1448" y="320"/>
                      <a:pt x="1448" y="320"/>
                    </a:cubicBezTo>
                    <a:cubicBezTo>
                      <a:pt x="1448" y="320"/>
                      <a:pt x="1448" y="320"/>
                      <a:pt x="1448" y="320"/>
                    </a:cubicBezTo>
                    <a:cubicBezTo>
                      <a:pt x="1448" y="320"/>
                      <a:pt x="1448" y="320"/>
                      <a:pt x="1448" y="320"/>
                    </a:cubicBezTo>
                    <a:cubicBezTo>
                      <a:pt x="1449" y="321"/>
                      <a:pt x="1449" y="321"/>
                      <a:pt x="1449" y="321"/>
                    </a:cubicBezTo>
                    <a:cubicBezTo>
                      <a:pt x="1450" y="321"/>
                      <a:pt x="1450" y="321"/>
                      <a:pt x="1450" y="321"/>
                    </a:cubicBezTo>
                    <a:cubicBezTo>
                      <a:pt x="1452" y="321"/>
                      <a:pt x="1452" y="321"/>
                      <a:pt x="1452" y="321"/>
                    </a:cubicBezTo>
                    <a:cubicBezTo>
                      <a:pt x="1452" y="322"/>
                      <a:pt x="1452" y="322"/>
                      <a:pt x="1452" y="322"/>
                    </a:cubicBezTo>
                    <a:cubicBezTo>
                      <a:pt x="1452" y="322"/>
                      <a:pt x="1452" y="322"/>
                      <a:pt x="1452" y="322"/>
                    </a:cubicBezTo>
                    <a:cubicBezTo>
                      <a:pt x="1451" y="322"/>
                      <a:pt x="1451" y="322"/>
                      <a:pt x="1451" y="322"/>
                    </a:cubicBezTo>
                    <a:cubicBezTo>
                      <a:pt x="1451" y="322"/>
                      <a:pt x="1451" y="322"/>
                      <a:pt x="1451" y="322"/>
                    </a:cubicBezTo>
                    <a:cubicBezTo>
                      <a:pt x="1449" y="322"/>
                      <a:pt x="1449" y="322"/>
                      <a:pt x="1449" y="322"/>
                    </a:cubicBezTo>
                    <a:cubicBezTo>
                      <a:pt x="1449" y="322"/>
                      <a:pt x="1449" y="322"/>
                      <a:pt x="1449" y="322"/>
                    </a:cubicBezTo>
                    <a:cubicBezTo>
                      <a:pt x="1449" y="323"/>
                      <a:pt x="1449" y="323"/>
                      <a:pt x="1449" y="323"/>
                    </a:cubicBezTo>
                    <a:cubicBezTo>
                      <a:pt x="1449" y="323"/>
                      <a:pt x="1449" y="323"/>
                      <a:pt x="1449" y="323"/>
                    </a:cubicBezTo>
                    <a:cubicBezTo>
                      <a:pt x="1450" y="323"/>
                      <a:pt x="1451" y="323"/>
                      <a:pt x="1452" y="323"/>
                    </a:cubicBezTo>
                    <a:cubicBezTo>
                      <a:pt x="1453" y="323"/>
                      <a:pt x="1454" y="323"/>
                      <a:pt x="1455" y="322"/>
                    </a:cubicBezTo>
                    <a:cubicBezTo>
                      <a:pt x="1455" y="322"/>
                      <a:pt x="1455" y="322"/>
                      <a:pt x="1455" y="322"/>
                    </a:cubicBezTo>
                    <a:cubicBezTo>
                      <a:pt x="1455" y="322"/>
                      <a:pt x="1455" y="322"/>
                      <a:pt x="1455" y="322"/>
                    </a:cubicBezTo>
                    <a:cubicBezTo>
                      <a:pt x="1455" y="321"/>
                      <a:pt x="1455" y="321"/>
                      <a:pt x="1455" y="321"/>
                    </a:cubicBezTo>
                    <a:cubicBezTo>
                      <a:pt x="1456" y="321"/>
                      <a:pt x="1456" y="321"/>
                      <a:pt x="1456" y="321"/>
                    </a:cubicBezTo>
                    <a:cubicBezTo>
                      <a:pt x="1456" y="321"/>
                      <a:pt x="1456" y="321"/>
                      <a:pt x="1456" y="321"/>
                    </a:cubicBezTo>
                    <a:cubicBezTo>
                      <a:pt x="1457" y="321"/>
                      <a:pt x="1457" y="321"/>
                      <a:pt x="1457" y="321"/>
                    </a:cubicBezTo>
                    <a:cubicBezTo>
                      <a:pt x="1457" y="321"/>
                      <a:pt x="1457" y="321"/>
                      <a:pt x="1457" y="321"/>
                    </a:cubicBezTo>
                    <a:cubicBezTo>
                      <a:pt x="1458" y="322"/>
                      <a:pt x="1458" y="322"/>
                      <a:pt x="1458" y="322"/>
                    </a:cubicBezTo>
                    <a:cubicBezTo>
                      <a:pt x="1458" y="323"/>
                      <a:pt x="1458" y="323"/>
                      <a:pt x="1458" y="323"/>
                    </a:cubicBezTo>
                    <a:cubicBezTo>
                      <a:pt x="1459" y="323"/>
                      <a:pt x="1459" y="323"/>
                      <a:pt x="1459" y="323"/>
                    </a:cubicBezTo>
                    <a:cubicBezTo>
                      <a:pt x="1459" y="323"/>
                      <a:pt x="1459" y="323"/>
                      <a:pt x="1459" y="323"/>
                    </a:cubicBezTo>
                    <a:cubicBezTo>
                      <a:pt x="1460" y="323"/>
                      <a:pt x="1460" y="323"/>
                      <a:pt x="1460" y="323"/>
                    </a:cubicBezTo>
                    <a:cubicBezTo>
                      <a:pt x="1461" y="323"/>
                      <a:pt x="1461" y="323"/>
                      <a:pt x="1461" y="323"/>
                    </a:cubicBezTo>
                    <a:cubicBezTo>
                      <a:pt x="1462" y="324"/>
                      <a:pt x="1462" y="324"/>
                      <a:pt x="1462" y="324"/>
                    </a:cubicBezTo>
                    <a:cubicBezTo>
                      <a:pt x="1463" y="325"/>
                      <a:pt x="1463" y="325"/>
                      <a:pt x="1463" y="325"/>
                    </a:cubicBezTo>
                    <a:cubicBezTo>
                      <a:pt x="1464" y="325"/>
                      <a:pt x="1464" y="325"/>
                      <a:pt x="1464" y="325"/>
                    </a:cubicBezTo>
                    <a:cubicBezTo>
                      <a:pt x="1464" y="325"/>
                      <a:pt x="1464" y="325"/>
                      <a:pt x="1464" y="325"/>
                    </a:cubicBezTo>
                    <a:cubicBezTo>
                      <a:pt x="1463" y="325"/>
                      <a:pt x="1463" y="325"/>
                      <a:pt x="1463" y="325"/>
                    </a:cubicBezTo>
                    <a:cubicBezTo>
                      <a:pt x="1463" y="326"/>
                      <a:pt x="1463" y="326"/>
                      <a:pt x="1463" y="326"/>
                    </a:cubicBezTo>
                    <a:cubicBezTo>
                      <a:pt x="1463" y="326"/>
                      <a:pt x="1462" y="326"/>
                      <a:pt x="1462" y="326"/>
                    </a:cubicBezTo>
                    <a:cubicBezTo>
                      <a:pt x="1461" y="326"/>
                      <a:pt x="1460" y="325"/>
                      <a:pt x="1459" y="325"/>
                    </a:cubicBezTo>
                    <a:cubicBezTo>
                      <a:pt x="1458" y="324"/>
                      <a:pt x="1457" y="324"/>
                      <a:pt x="1456" y="324"/>
                    </a:cubicBezTo>
                    <a:cubicBezTo>
                      <a:pt x="1456" y="324"/>
                      <a:pt x="1455" y="324"/>
                      <a:pt x="1455" y="324"/>
                    </a:cubicBezTo>
                    <a:cubicBezTo>
                      <a:pt x="1455" y="324"/>
                      <a:pt x="1455" y="324"/>
                      <a:pt x="1455" y="324"/>
                    </a:cubicBezTo>
                    <a:cubicBezTo>
                      <a:pt x="1454" y="324"/>
                      <a:pt x="1454" y="324"/>
                      <a:pt x="1454" y="324"/>
                    </a:cubicBezTo>
                    <a:cubicBezTo>
                      <a:pt x="1454" y="325"/>
                      <a:pt x="1454" y="325"/>
                      <a:pt x="1454" y="325"/>
                    </a:cubicBezTo>
                    <a:cubicBezTo>
                      <a:pt x="1454" y="325"/>
                      <a:pt x="1453" y="324"/>
                      <a:pt x="1453" y="324"/>
                    </a:cubicBezTo>
                    <a:cubicBezTo>
                      <a:pt x="1452" y="324"/>
                      <a:pt x="1452" y="325"/>
                      <a:pt x="1451" y="325"/>
                    </a:cubicBezTo>
                    <a:cubicBezTo>
                      <a:pt x="1451" y="325"/>
                      <a:pt x="1451" y="325"/>
                      <a:pt x="1451" y="325"/>
                    </a:cubicBezTo>
                    <a:cubicBezTo>
                      <a:pt x="1451" y="325"/>
                      <a:pt x="1451" y="325"/>
                      <a:pt x="1451" y="325"/>
                    </a:cubicBezTo>
                    <a:cubicBezTo>
                      <a:pt x="1450" y="326"/>
                      <a:pt x="1449" y="326"/>
                      <a:pt x="1449" y="326"/>
                    </a:cubicBezTo>
                    <a:cubicBezTo>
                      <a:pt x="1448" y="326"/>
                      <a:pt x="1448" y="326"/>
                      <a:pt x="1447" y="326"/>
                    </a:cubicBezTo>
                    <a:cubicBezTo>
                      <a:pt x="1447" y="326"/>
                      <a:pt x="1447" y="326"/>
                      <a:pt x="1447" y="326"/>
                    </a:cubicBezTo>
                    <a:cubicBezTo>
                      <a:pt x="1444" y="325"/>
                      <a:pt x="1444" y="325"/>
                      <a:pt x="1444" y="325"/>
                    </a:cubicBezTo>
                    <a:cubicBezTo>
                      <a:pt x="1426" y="326"/>
                      <a:pt x="1426" y="326"/>
                      <a:pt x="1426" y="326"/>
                    </a:cubicBezTo>
                    <a:cubicBezTo>
                      <a:pt x="1417" y="319"/>
                      <a:pt x="1417" y="319"/>
                      <a:pt x="1417" y="319"/>
                    </a:cubicBezTo>
                    <a:cubicBezTo>
                      <a:pt x="1410" y="315"/>
                      <a:pt x="1410" y="315"/>
                      <a:pt x="1410" y="315"/>
                    </a:cubicBezTo>
                    <a:cubicBezTo>
                      <a:pt x="1409" y="314"/>
                      <a:pt x="1409" y="314"/>
                      <a:pt x="1409" y="314"/>
                    </a:cubicBezTo>
                    <a:cubicBezTo>
                      <a:pt x="1409" y="313"/>
                      <a:pt x="1409" y="313"/>
                      <a:pt x="1409" y="313"/>
                    </a:cubicBezTo>
                    <a:cubicBezTo>
                      <a:pt x="1409" y="313"/>
                      <a:pt x="1409" y="313"/>
                      <a:pt x="1409" y="313"/>
                    </a:cubicBezTo>
                    <a:cubicBezTo>
                      <a:pt x="1409" y="313"/>
                      <a:pt x="1409" y="313"/>
                      <a:pt x="1409" y="313"/>
                    </a:cubicBezTo>
                    <a:cubicBezTo>
                      <a:pt x="1409" y="312"/>
                      <a:pt x="1409" y="312"/>
                      <a:pt x="1409" y="312"/>
                    </a:cubicBezTo>
                    <a:cubicBezTo>
                      <a:pt x="1409" y="312"/>
                      <a:pt x="1409" y="312"/>
                      <a:pt x="1409" y="312"/>
                    </a:cubicBezTo>
                    <a:cubicBezTo>
                      <a:pt x="1410" y="312"/>
                      <a:pt x="1410" y="312"/>
                      <a:pt x="1410" y="312"/>
                    </a:cubicBezTo>
                    <a:cubicBezTo>
                      <a:pt x="1410" y="312"/>
                      <a:pt x="1410" y="312"/>
                      <a:pt x="1410" y="312"/>
                    </a:cubicBezTo>
                    <a:cubicBezTo>
                      <a:pt x="1411" y="312"/>
                      <a:pt x="1411" y="312"/>
                      <a:pt x="1411" y="312"/>
                    </a:cubicBezTo>
                    <a:cubicBezTo>
                      <a:pt x="1411" y="312"/>
                      <a:pt x="1411" y="312"/>
                      <a:pt x="1411" y="312"/>
                    </a:cubicBezTo>
                    <a:cubicBezTo>
                      <a:pt x="1411" y="312"/>
                      <a:pt x="1411" y="312"/>
                      <a:pt x="1411" y="312"/>
                    </a:cubicBezTo>
                    <a:cubicBezTo>
                      <a:pt x="1412" y="312"/>
                      <a:pt x="1412" y="312"/>
                      <a:pt x="1412" y="312"/>
                    </a:cubicBezTo>
                    <a:cubicBezTo>
                      <a:pt x="1412" y="312"/>
                      <a:pt x="1412" y="312"/>
                      <a:pt x="1412" y="312"/>
                    </a:cubicBezTo>
                    <a:cubicBezTo>
                      <a:pt x="1414" y="310"/>
                      <a:pt x="1414" y="310"/>
                      <a:pt x="1414" y="310"/>
                    </a:cubicBezTo>
                    <a:cubicBezTo>
                      <a:pt x="1413" y="301"/>
                      <a:pt x="1413" y="301"/>
                      <a:pt x="1413" y="301"/>
                    </a:cubicBezTo>
                    <a:cubicBezTo>
                      <a:pt x="1413" y="300"/>
                      <a:pt x="1413" y="300"/>
                      <a:pt x="1413" y="300"/>
                    </a:cubicBezTo>
                    <a:cubicBezTo>
                      <a:pt x="1414" y="297"/>
                      <a:pt x="1414" y="297"/>
                      <a:pt x="1414" y="297"/>
                    </a:cubicBezTo>
                    <a:cubicBezTo>
                      <a:pt x="1416" y="294"/>
                      <a:pt x="1416" y="294"/>
                      <a:pt x="1416" y="294"/>
                    </a:cubicBezTo>
                    <a:cubicBezTo>
                      <a:pt x="1416" y="293"/>
                      <a:pt x="1416" y="293"/>
                      <a:pt x="1416" y="293"/>
                    </a:cubicBezTo>
                    <a:cubicBezTo>
                      <a:pt x="1416" y="292"/>
                      <a:pt x="1416" y="292"/>
                      <a:pt x="1416" y="292"/>
                    </a:cubicBezTo>
                    <a:cubicBezTo>
                      <a:pt x="1415" y="292"/>
                      <a:pt x="1415" y="292"/>
                      <a:pt x="1415" y="292"/>
                    </a:cubicBezTo>
                    <a:cubicBezTo>
                      <a:pt x="1414" y="292"/>
                      <a:pt x="1414" y="292"/>
                      <a:pt x="1414" y="292"/>
                    </a:cubicBezTo>
                    <a:cubicBezTo>
                      <a:pt x="1412" y="290"/>
                      <a:pt x="1412" y="290"/>
                      <a:pt x="1412" y="290"/>
                    </a:cubicBezTo>
                    <a:cubicBezTo>
                      <a:pt x="1412" y="290"/>
                      <a:pt x="1412" y="290"/>
                      <a:pt x="1412" y="290"/>
                    </a:cubicBezTo>
                    <a:cubicBezTo>
                      <a:pt x="1411" y="289"/>
                      <a:pt x="1411" y="289"/>
                      <a:pt x="1411" y="289"/>
                    </a:cubicBezTo>
                    <a:cubicBezTo>
                      <a:pt x="1412" y="289"/>
                      <a:pt x="1412" y="289"/>
                      <a:pt x="1412" y="289"/>
                    </a:cubicBezTo>
                    <a:cubicBezTo>
                      <a:pt x="1412" y="288"/>
                      <a:pt x="1412" y="288"/>
                      <a:pt x="1412" y="288"/>
                    </a:cubicBezTo>
                    <a:cubicBezTo>
                      <a:pt x="1413" y="286"/>
                      <a:pt x="1413" y="286"/>
                      <a:pt x="1413" y="286"/>
                    </a:cubicBezTo>
                    <a:cubicBezTo>
                      <a:pt x="1414" y="281"/>
                      <a:pt x="1414" y="281"/>
                      <a:pt x="1414" y="281"/>
                    </a:cubicBezTo>
                    <a:cubicBezTo>
                      <a:pt x="1415" y="279"/>
                      <a:pt x="1415" y="279"/>
                      <a:pt x="1415" y="279"/>
                    </a:cubicBezTo>
                    <a:cubicBezTo>
                      <a:pt x="1415" y="278"/>
                      <a:pt x="1415" y="278"/>
                      <a:pt x="1415" y="278"/>
                    </a:cubicBezTo>
                    <a:cubicBezTo>
                      <a:pt x="1415" y="278"/>
                      <a:pt x="1415" y="278"/>
                      <a:pt x="1415" y="278"/>
                    </a:cubicBezTo>
                    <a:cubicBezTo>
                      <a:pt x="1414" y="277"/>
                      <a:pt x="1414" y="277"/>
                      <a:pt x="1414" y="277"/>
                    </a:cubicBezTo>
                    <a:cubicBezTo>
                      <a:pt x="1414" y="277"/>
                      <a:pt x="1414" y="277"/>
                      <a:pt x="1414" y="277"/>
                    </a:cubicBezTo>
                    <a:cubicBezTo>
                      <a:pt x="1414" y="277"/>
                      <a:pt x="1414" y="277"/>
                      <a:pt x="1414" y="277"/>
                    </a:cubicBezTo>
                    <a:cubicBezTo>
                      <a:pt x="1413" y="276"/>
                      <a:pt x="1412" y="275"/>
                      <a:pt x="1411" y="275"/>
                    </a:cubicBezTo>
                    <a:cubicBezTo>
                      <a:pt x="1411" y="275"/>
                      <a:pt x="1411" y="275"/>
                      <a:pt x="1411" y="275"/>
                    </a:cubicBezTo>
                    <a:cubicBezTo>
                      <a:pt x="1411" y="275"/>
                      <a:pt x="1411" y="275"/>
                      <a:pt x="1411" y="275"/>
                    </a:cubicBezTo>
                    <a:cubicBezTo>
                      <a:pt x="1411" y="276"/>
                      <a:pt x="1411" y="276"/>
                      <a:pt x="1411" y="276"/>
                    </a:cubicBezTo>
                    <a:cubicBezTo>
                      <a:pt x="1410" y="276"/>
                      <a:pt x="1410" y="276"/>
                      <a:pt x="1410" y="276"/>
                    </a:cubicBezTo>
                    <a:cubicBezTo>
                      <a:pt x="1410" y="276"/>
                      <a:pt x="1410" y="276"/>
                      <a:pt x="1410" y="276"/>
                    </a:cubicBezTo>
                    <a:cubicBezTo>
                      <a:pt x="1410" y="276"/>
                      <a:pt x="1410" y="276"/>
                      <a:pt x="1410" y="276"/>
                    </a:cubicBezTo>
                    <a:cubicBezTo>
                      <a:pt x="1409" y="276"/>
                      <a:pt x="1409" y="276"/>
                      <a:pt x="1409" y="276"/>
                    </a:cubicBezTo>
                    <a:cubicBezTo>
                      <a:pt x="1409" y="275"/>
                      <a:pt x="1409" y="275"/>
                      <a:pt x="1409" y="275"/>
                    </a:cubicBezTo>
                    <a:cubicBezTo>
                      <a:pt x="1408" y="274"/>
                      <a:pt x="1408" y="274"/>
                      <a:pt x="1408" y="274"/>
                    </a:cubicBezTo>
                    <a:cubicBezTo>
                      <a:pt x="1408" y="274"/>
                      <a:pt x="1408" y="274"/>
                      <a:pt x="1408" y="274"/>
                    </a:cubicBezTo>
                    <a:cubicBezTo>
                      <a:pt x="1408" y="273"/>
                      <a:pt x="1406" y="272"/>
                      <a:pt x="1405" y="272"/>
                    </a:cubicBezTo>
                    <a:cubicBezTo>
                      <a:pt x="1405" y="271"/>
                      <a:pt x="1405" y="271"/>
                      <a:pt x="1405" y="271"/>
                    </a:cubicBezTo>
                    <a:cubicBezTo>
                      <a:pt x="1404" y="270"/>
                      <a:pt x="1404" y="270"/>
                      <a:pt x="1404" y="270"/>
                    </a:cubicBezTo>
                    <a:cubicBezTo>
                      <a:pt x="1402" y="267"/>
                      <a:pt x="1402" y="267"/>
                      <a:pt x="1402" y="267"/>
                    </a:cubicBezTo>
                    <a:cubicBezTo>
                      <a:pt x="1398" y="260"/>
                      <a:pt x="1398" y="260"/>
                      <a:pt x="1398" y="260"/>
                    </a:cubicBezTo>
                    <a:cubicBezTo>
                      <a:pt x="1396" y="258"/>
                      <a:pt x="1396" y="258"/>
                      <a:pt x="1396" y="258"/>
                    </a:cubicBezTo>
                    <a:cubicBezTo>
                      <a:pt x="1394" y="256"/>
                      <a:pt x="1394" y="256"/>
                      <a:pt x="1394" y="256"/>
                    </a:cubicBezTo>
                    <a:cubicBezTo>
                      <a:pt x="1394" y="256"/>
                      <a:pt x="1394" y="256"/>
                      <a:pt x="1394" y="256"/>
                    </a:cubicBezTo>
                    <a:cubicBezTo>
                      <a:pt x="1393" y="256"/>
                      <a:pt x="1393" y="256"/>
                      <a:pt x="1393" y="256"/>
                    </a:cubicBezTo>
                    <a:cubicBezTo>
                      <a:pt x="1393" y="256"/>
                      <a:pt x="1393" y="256"/>
                      <a:pt x="1393" y="256"/>
                    </a:cubicBezTo>
                    <a:cubicBezTo>
                      <a:pt x="1392" y="256"/>
                      <a:pt x="1392" y="256"/>
                      <a:pt x="1392" y="256"/>
                    </a:cubicBezTo>
                    <a:cubicBezTo>
                      <a:pt x="1392" y="256"/>
                      <a:pt x="1392" y="256"/>
                      <a:pt x="1392" y="256"/>
                    </a:cubicBezTo>
                    <a:cubicBezTo>
                      <a:pt x="1391" y="256"/>
                      <a:pt x="1391" y="256"/>
                      <a:pt x="1391" y="256"/>
                    </a:cubicBezTo>
                    <a:cubicBezTo>
                      <a:pt x="1391" y="256"/>
                      <a:pt x="1391" y="256"/>
                      <a:pt x="1391" y="256"/>
                    </a:cubicBezTo>
                    <a:cubicBezTo>
                      <a:pt x="1390" y="256"/>
                      <a:pt x="1390" y="256"/>
                      <a:pt x="1390" y="256"/>
                    </a:cubicBezTo>
                    <a:cubicBezTo>
                      <a:pt x="1389" y="256"/>
                      <a:pt x="1388" y="256"/>
                      <a:pt x="1387" y="256"/>
                    </a:cubicBezTo>
                    <a:cubicBezTo>
                      <a:pt x="1384" y="256"/>
                      <a:pt x="1382" y="256"/>
                      <a:pt x="1380" y="257"/>
                    </a:cubicBezTo>
                    <a:cubicBezTo>
                      <a:pt x="1379" y="257"/>
                      <a:pt x="1379" y="257"/>
                      <a:pt x="1379" y="257"/>
                    </a:cubicBezTo>
                    <a:cubicBezTo>
                      <a:pt x="1379" y="257"/>
                      <a:pt x="1379" y="257"/>
                      <a:pt x="1379" y="257"/>
                    </a:cubicBezTo>
                    <a:cubicBezTo>
                      <a:pt x="1378" y="257"/>
                      <a:pt x="1378" y="257"/>
                      <a:pt x="1378" y="257"/>
                    </a:cubicBezTo>
                    <a:cubicBezTo>
                      <a:pt x="1378" y="257"/>
                      <a:pt x="1378" y="257"/>
                      <a:pt x="1378" y="257"/>
                    </a:cubicBezTo>
                    <a:cubicBezTo>
                      <a:pt x="1378" y="257"/>
                      <a:pt x="1378" y="257"/>
                      <a:pt x="1378" y="257"/>
                    </a:cubicBezTo>
                    <a:cubicBezTo>
                      <a:pt x="1377" y="257"/>
                      <a:pt x="1377" y="257"/>
                      <a:pt x="1377" y="257"/>
                    </a:cubicBezTo>
                    <a:cubicBezTo>
                      <a:pt x="1376" y="257"/>
                      <a:pt x="1376" y="257"/>
                      <a:pt x="1376" y="257"/>
                    </a:cubicBezTo>
                    <a:cubicBezTo>
                      <a:pt x="1372" y="258"/>
                      <a:pt x="1372" y="258"/>
                      <a:pt x="1372" y="258"/>
                    </a:cubicBezTo>
                    <a:cubicBezTo>
                      <a:pt x="1335" y="270"/>
                      <a:pt x="1335" y="270"/>
                      <a:pt x="1335" y="270"/>
                    </a:cubicBezTo>
                    <a:cubicBezTo>
                      <a:pt x="1334" y="270"/>
                      <a:pt x="1334" y="270"/>
                      <a:pt x="1334" y="270"/>
                    </a:cubicBezTo>
                    <a:cubicBezTo>
                      <a:pt x="1334" y="270"/>
                      <a:pt x="1334" y="270"/>
                      <a:pt x="1334" y="270"/>
                    </a:cubicBezTo>
                    <a:cubicBezTo>
                      <a:pt x="1334" y="271"/>
                      <a:pt x="1334" y="271"/>
                      <a:pt x="1334" y="271"/>
                    </a:cubicBezTo>
                    <a:cubicBezTo>
                      <a:pt x="1334" y="271"/>
                      <a:pt x="1334" y="271"/>
                      <a:pt x="1334" y="271"/>
                    </a:cubicBezTo>
                    <a:cubicBezTo>
                      <a:pt x="1334" y="271"/>
                      <a:pt x="1334" y="271"/>
                      <a:pt x="1334" y="271"/>
                    </a:cubicBezTo>
                    <a:cubicBezTo>
                      <a:pt x="1334" y="272"/>
                      <a:pt x="1334" y="272"/>
                      <a:pt x="1334" y="272"/>
                    </a:cubicBezTo>
                    <a:cubicBezTo>
                      <a:pt x="1334" y="273"/>
                      <a:pt x="1333" y="274"/>
                      <a:pt x="1333" y="275"/>
                    </a:cubicBezTo>
                    <a:cubicBezTo>
                      <a:pt x="1333" y="275"/>
                      <a:pt x="1333" y="275"/>
                      <a:pt x="1333" y="275"/>
                    </a:cubicBezTo>
                    <a:cubicBezTo>
                      <a:pt x="1334" y="276"/>
                      <a:pt x="1334" y="276"/>
                      <a:pt x="1334" y="276"/>
                    </a:cubicBezTo>
                    <a:cubicBezTo>
                      <a:pt x="1334" y="276"/>
                      <a:pt x="1334" y="276"/>
                      <a:pt x="1334" y="276"/>
                    </a:cubicBezTo>
                    <a:cubicBezTo>
                      <a:pt x="1337" y="280"/>
                      <a:pt x="1330" y="284"/>
                      <a:pt x="1331" y="286"/>
                    </a:cubicBezTo>
                    <a:cubicBezTo>
                      <a:pt x="1331" y="286"/>
                      <a:pt x="1331" y="286"/>
                      <a:pt x="1331" y="286"/>
                    </a:cubicBezTo>
                    <a:cubicBezTo>
                      <a:pt x="1331" y="286"/>
                      <a:pt x="1331" y="286"/>
                      <a:pt x="1331" y="286"/>
                    </a:cubicBezTo>
                    <a:cubicBezTo>
                      <a:pt x="1332" y="287"/>
                      <a:pt x="1332" y="287"/>
                      <a:pt x="1332" y="287"/>
                    </a:cubicBezTo>
                    <a:cubicBezTo>
                      <a:pt x="1332" y="287"/>
                      <a:pt x="1332" y="287"/>
                      <a:pt x="1332" y="287"/>
                    </a:cubicBezTo>
                    <a:cubicBezTo>
                      <a:pt x="1332" y="287"/>
                      <a:pt x="1332" y="287"/>
                      <a:pt x="1332" y="287"/>
                    </a:cubicBezTo>
                    <a:cubicBezTo>
                      <a:pt x="1333" y="287"/>
                      <a:pt x="1333" y="287"/>
                      <a:pt x="1333" y="287"/>
                    </a:cubicBezTo>
                    <a:cubicBezTo>
                      <a:pt x="1335" y="290"/>
                      <a:pt x="1338" y="291"/>
                      <a:pt x="1340" y="294"/>
                    </a:cubicBezTo>
                    <a:cubicBezTo>
                      <a:pt x="1340" y="294"/>
                      <a:pt x="1340" y="294"/>
                      <a:pt x="1340" y="294"/>
                    </a:cubicBezTo>
                    <a:cubicBezTo>
                      <a:pt x="1340" y="294"/>
                      <a:pt x="1340" y="294"/>
                      <a:pt x="1340" y="294"/>
                    </a:cubicBezTo>
                    <a:cubicBezTo>
                      <a:pt x="1343" y="298"/>
                      <a:pt x="1342" y="297"/>
                      <a:pt x="1343" y="301"/>
                    </a:cubicBezTo>
                    <a:cubicBezTo>
                      <a:pt x="1343" y="301"/>
                      <a:pt x="1343" y="301"/>
                      <a:pt x="1343" y="301"/>
                    </a:cubicBezTo>
                    <a:cubicBezTo>
                      <a:pt x="1343" y="302"/>
                      <a:pt x="1343" y="302"/>
                      <a:pt x="1343" y="302"/>
                    </a:cubicBezTo>
                    <a:cubicBezTo>
                      <a:pt x="1343" y="302"/>
                      <a:pt x="1343" y="302"/>
                      <a:pt x="1343" y="302"/>
                    </a:cubicBezTo>
                    <a:cubicBezTo>
                      <a:pt x="1343" y="302"/>
                      <a:pt x="1343" y="302"/>
                      <a:pt x="1343" y="302"/>
                    </a:cubicBezTo>
                    <a:cubicBezTo>
                      <a:pt x="1343" y="303"/>
                      <a:pt x="1343" y="303"/>
                      <a:pt x="1343" y="303"/>
                    </a:cubicBezTo>
                    <a:cubicBezTo>
                      <a:pt x="1343" y="303"/>
                      <a:pt x="1343" y="303"/>
                      <a:pt x="1343" y="303"/>
                    </a:cubicBezTo>
                    <a:cubicBezTo>
                      <a:pt x="1344" y="303"/>
                      <a:pt x="1344" y="303"/>
                      <a:pt x="1344" y="303"/>
                    </a:cubicBezTo>
                    <a:cubicBezTo>
                      <a:pt x="1344" y="304"/>
                      <a:pt x="1344" y="304"/>
                      <a:pt x="1344" y="304"/>
                    </a:cubicBezTo>
                    <a:cubicBezTo>
                      <a:pt x="1344" y="304"/>
                      <a:pt x="1344" y="304"/>
                      <a:pt x="1344" y="304"/>
                    </a:cubicBezTo>
                    <a:cubicBezTo>
                      <a:pt x="1344" y="304"/>
                      <a:pt x="1344" y="304"/>
                      <a:pt x="1344" y="304"/>
                    </a:cubicBezTo>
                    <a:cubicBezTo>
                      <a:pt x="1344" y="304"/>
                      <a:pt x="1344" y="304"/>
                      <a:pt x="1344" y="304"/>
                    </a:cubicBezTo>
                    <a:cubicBezTo>
                      <a:pt x="1344" y="304"/>
                      <a:pt x="1344" y="304"/>
                      <a:pt x="1344" y="304"/>
                    </a:cubicBezTo>
                    <a:cubicBezTo>
                      <a:pt x="1344" y="305"/>
                      <a:pt x="1344" y="305"/>
                      <a:pt x="1344" y="305"/>
                    </a:cubicBezTo>
                    <a:cubicBezTo>
                      <a:pt x="1344" y="305"/>
                      <a:pt x="1344" y="305"/>
                      <a:pt x="1344" y="305"/>
                    </a:cubicBezTo>
                    <a:cubicBezTo>
                      <a:pt x="1344" y="305"/>
                      <a:pt x="1344" y="305"/>
                      <a:pt x="1344" y="305"/>
                    </a:cubicBezTo>
                    <a:cubicBezTo>
                      <a:pt x="1344" y="305"/>
                      <a:pt x="1344" y="305"/>
                      <a:pt x="1344" y="305"/>
                    </a:cubicBezTo>
                    <a:cubicBezTo>
                      <a:pt x="1344" y="306"/>
                      <a:pt x="1344" y="306"/>
                      <a:pt x="1344" y="306"/>
                    </a:cubicBezTo>
                    <a:cubicBezTo>
                      <a:pt x="1344" y="306"/>
                      <a:pt x="1344" y="306"/>
                      <a:pt x="1344" y="306"/>
                    </a:cubicBezTo>
                    <a:cubicBezTo>
                      <a:pt x="1345" y="306"/>
                      <a:pt x="1345" y="306"/>
                      <a:pt x="1345" y="306"/>
                    </a:cubicBezTo>
                    <a:cubicBezTo>
                      <a:pt x="1344" y="308"/>
                      <a:pt x="1344" y="308"/>
                      <a:pt x="1344" y="308"/>
                    </a:cubicBezTo>
                    <a:cubicBezTo>
                      <a:pt x="1344" y="310"/>
                      <a:pt x="1344" y="310"/>
                      <a:pt x="1344" y="310"/>
                    </a:cubicBezTo>
                    <a:cubicBezTo>
                      <a:pt x="1343" y="316"/>
                      <a:pt x="1343" y="316"/>
                      <a:pt x="1343" y="316"/>
                    </a:cubicBezTo>
                    <a:cubicBezTo>
                      <a:pt x="1342" y="318"/>
                      <a:pt x="1342" y="318"/>
                      <a:pt x="1342" y="318"/>
                    </a:cubicBezTo>
                    <a:cubicBezTo>
                      <a:pt x="1342" y="320"/>
                      <a:pt x="1342" y="320"/>
                      <a:pt x="1342" y="320"/>
                    </a:cubicBezTo>
                    <a:cubicBezTo>
                      <a:pt x="1341" y="320"/>
                      <a:pt x="1341" y="320"/>
                      <a:pt x="1341" y="320"/>
                    </a:cubicBezTo>
                    <a:cubicBezTo>
                      <a:pt x="1341" y="320"/>
                      <a:pt x="1341" y="320"/>
                      <a:pt x="1341" y="320"/>
                    </a:cubicBezTo>
                    <a:cubicBezTo>
                      <a:pt x="1340" y="321"/>
                      <a:pt x="1340" y="321"/>
                      <a:pt x="1340" y="321"/>
                    </a:cubicBezTo>
                    <a:cubicBezTo>
                      <a:pt x="1337" y="324"/>
                      <a:pt x="1333" y="326"/>
                      <a:pt x="1330" y="328"/>
                    </a:cubicBezTo>
                    <a:cubicBezTo>
                      <a:pt x="1327" y="331"/>
                      <a:pt x="1327" y="331"/>
                      <a:pt x="1327" y="331"/>
                    </a:cubicBezTo>
                    <a:cubicBezTo>
                      <a:pt x="1322" y="336"/>
                      <a:pt x="1322" y="336"/>
                      <a:pt x="1322" y="336"/>
                    </a:cubicBezTo>
                    <a:cubicBezTo>
                      <a:pt x="1320" y="338"/>
                      <a:pt x="1320" y="338"/>
                      <a:pt x="1320" y="338"/>
                    </a:cubicBezTo>
                    <a:cubicBezTo>
                      <a:pt x="1319" y="339"/>
                      <a:pt x="1319" y="339"/>
                      <a:pt x="1319" y="339"/>
                    </a:cubicBezTo>
                    <a:cubicBezTo>
                      <a:pt x="1319" y="339"/>
                      <a:pt x="1319" y="339"/>
                      <a:pt x="1319" y="339"/>
                    </a:cubicBezTo>
                    <a:cubicBezTo>
                      <a:pt x="1319" y="340"/>
                      <a:pt x="1319" y="340"/>
                      <a:pt x="1319" y="340"/>
                    </a:cubicBezTo>
                    <a:cubicBezTo>
                      <a:pt x="1319" y="340"/>
                      <a:pt x="1319" y="340"/>
                      <a:pt x="1319" y="340"/>
                    </a:cubicBezTo>
                    <a:cubicBezTo>
                      <a:pt x="1319" y="340"/>
                      <a:pt x="1319" y="340"/>
                      <a:pt x="1319" y="340"/>
                    </a:cubicBezTo>
                    <a:cubicBezTo>
                      <a:pt x="1320" y="342"/>
                      <a:pt x="1319" y="343"/>
                      <a:pt x="1319" y="345"/>
                    </a:cubicBezTo>
                    <a:cubicBezTo>
                      <a:pt x="1318" y="350"/>
                      <a:pt x="1318" y="350"/>
                      <a:pt x="1318" y="350"/>
                    </a:cubicBezTo>
                    <a:cubicBezTo>
                      <a:pt x="1317" y="352"/>
                      <a:pt x="1317" y="352"/>
                      <a:pt x="1317" y="352"/>
                    </a:cubicBezTo>
                    <a:cubicBezTo>
                      <a:pt x="1317" y="354"/>
                      <a:pt x="1317" y="354"/>
                      <a:pt x="1317" y="354"/>
                    </a:cubicBezTo>
                    <a:cubicBezTo>
                      <a:pt x="1316" y="354"/>
                      <a:pt x="1316" y="354"/>
                      <a:pt x="1316" y="354"/>
                    </a:cubicBezTo>
                    <a:cubicBezTo>
                      <a:pt x="1316" y="354"/>
                      <a:pt x="1316" y="354"/>
                      <a:pt x="1316" y="354"/>
                    </a:cubicBezTo>
                    <a:cubicBezTo>
                      <a:pt x="1315" y="354"/>
                      <a:pt x="1315" y="354"/>
                      <a:pt x="1315" y="354"/>
                    </a:cubicBezTo>
                    <a:cubicBezTo>
                      <a:pt x="1315" y="355"/>
                      <a:pt x="1315" y="355"/>
                      <a:pt x="1315" y="355"/>
                    </a:cubicBezTo>
                    <a:cubicBezTo>
                      <a:pt x="1314" y="355"/>
                      <a:pt x="1314" y="355"/>
                      <a:pt x="1314" y="355"/>
                    </a:cubicBezTo>
                    <a:cubicBezTo>
                      <a:pt x="1314" y="355"/>
                      <a:pt x="1314" y="355"/>
                      <a:pt x="1314" y="355"/>
                    </a:cubicBezTo>
                    <a:cubicBezTo>
                      <a:pt x="1314" y="355"/>
                      <a:pt x="1314" y="355"/>
                      <a:pt x="1314" y="355"/>
                    </a:cubicBezTo>
                    <a:cubicBezTo>
                      <a:pt x="1313" y="355"/>
                      <a:pt x="1313" y="355"/>
                      <a:pt x="1313" y="355"/>
                    </a:cubicBezTo>
                    <a:cubicBezTo>
                      <a:pt x="1313" y="355"/>
                      <a:pt x="1313" y="355"/>
                      <a:pt x="1313" y="355"/>
                    </a:cubicBezTo>
                    <a:cubicBezTo>
                      <a:pt x="1310" y="357"/>
                      <a:pt x="1309" y="360"/>
                      <a:pt x="1307" y="361"/>
                    </a:cubicBezTo>
                    <a:cubicBezTo>
                      <a:pt x="1306" y="361"/>
                      <a:pt x="1306" y="361"/>
                      <a:pt x="1306" y="361"/>
                    </a:cubicBezTo>
                    <a:cubicBezTo>
                      <a:pt x="1306" y="361"/>
                      <a:pt x="1306" y="361"/>
                      <a:pt x="1306" y="361"/>
                    </a:cubicBezTo>
                    <a:cubicBezTo>
                      <a:pt x="1305" y="361"/>
                      <a:pt x="1304" y="361"/>
                      <a:pt x="1303" y="362"/>
                    </a:cubicBezTo>
                    <a:cubicBezTo>
                      <a:pt x="1303" y="362"/>
                      <a:pt x="1303" y="362"/>
                      <a:pt x="1303" y="362"/>
                    </a:cubicBezTo>
                    <a:cubicBezTo>
                      <a:pt x="1302" y="362"/>
                      <a:pt x="1302" y="362"/>
                      <a:pt x="1302" y="362"/>
                    </a:cubicBezTo>
                    <a:cubicBezTo>
                      <a:pt x="1302" y="362"/>
                      <a:pt x="1302" y="362"/>
                      <a:pt x="1302" y="362"/>
                    </a:cubicBezTo>
                    <a:cubicBezTo>
                      <a:pt x="1301" y="362"/>
                      <a:pt x="1301" y="362"/>
                      <a:pt x="1301" y="362"/>
                    </a:cubicBezTo>
                    <a:cubicBezTo>
                      <a:pt x="1301" y="362"/>
                      <a:pt x="1301" y="362"/>
                      <a:pt x="1301" y="362"/>
                    </a:cubicBezTo>
                    <a:cubicBezTo>
                      <a:pt x="1297" y="363"/>
                      <a:pt x="1294" y="366"/>
                      <a:pt x="1292" y="369"/>
                    </a:cubicBezTo>
                    <a:cubicBezTo>
                      <a:pt x="1291" y="369"/>
                      <a:pt x="1291" y="369"/>
                      <a:pt x="1291" y="369"/>
                    </a:cubicBezTo>
                    <a:cubicBezTo>
                      <a:pt x="1290" y="369"/>
                      <a:pt x="1290" y="369"/>
                      <a:pt x="1290" y="369"/>
                    </a:cubicBezTo>
                    <a:cubicBezTo>
                      <a:pt x="1290" y="369"/>
                      <a:pt x="1290" y="369"/>
                      <a:pt x="1290" y="369"/>
                    </a:cubicBezTo>
                    <a:cubicBezTo>
                      <a:pt x="1290" y="369"/>
                      <a:pt x="1290" y="369"/>
                      <a:pt x="1289" y="369"/>
                    </a:cubicBezTo>
                    <a:cubicBezTo>
                      <a:pt x="1289" y="369"/>
                      <a:pt x="1288" y="369"/>
                      <a:pt x="1287" y="370"/>
                    </a:cubicBezTo>
                    <a:cubicBezTo>
                      <a:pt x="1287" y="370"/>
                      <a:pt x="1287" y="370"/>
                      <a:pt x="1287" y="370"/>
                    </a:cubicBezTo>
                    <a:cubicBezTo>
                      <a:pt x="1286" y="370"/>
                      <a:pt x="1286" y="370"/>
                      <a:pt x="1286" y="370"/>
                    </a:cubicBezTo>
                    <a:cubicBezTo>
                      <a:pt x="1286" y="370"/>
                      <a:pt x="1286" y="370"/>
                      <a:pt x="1286" y="370"/>
                    </a:cubicBezTo>
                    <a:cubicBezTo>
                      <a:pt x="1286" y="370"/>
                      <a:pt x="1286" y="370"/>
                      <a:pt x="1286" y="370"/>
                    </a:cubicBezTo>
                    <a:cubicBezTo>
                      <a:pt x="1285" y="370"/>
                      <a:pt x="1285" y="370"/>
                      <a:pt x="1285" y="370"/>
                    </a:cubicBezTo>
                    <a:cubicBezTo>
                      <a:pt x="1285" y="370"/>
                      <a:pt x="1285" y="370"/>
                      <a:pt x="1285" y="370"/>
                    </a:cubicBezTo>
                    <a:cubicBezTo>
                      <a:pt x="1284" y="370"/>
                      <a:pt x="1284" y="370"/>
                      <a:pt x="1284" y="370"/>
                    </a:cubicBezTo>
                    <a:cubicBezTo>
                      <a:pt x="1283" y="371"/>
                      <a:pt x="1283" y="371"/>
                      <a:pt x="1283" y="371"/>
                    </a:cubicBezTo>
                    <a:cubicBezTo>
                      <a:pt x="1281" y="372"/>
                      <a:pt x="1281" y="372"/>
                      <a:pt x="1281" y="372"/>
                    </a:cubicBezTo>
                    <a:cubicBezTo>
                      <a:pt x="1276" y="375"/>
                      <a:pt x="1276" y="375"/>
                      <a:pt x="1276" y="375"/>
                    </a:cubicBezTo>
                    <a:cubicBezTo>
                      <a:pt x="1274" y="376"/>
                      <a:pt x="1274" y="376"/>
                      <a:pt x="1274" y="376"/>
                    </a:cubicBezTo>
                    <a:cubicBezTo>
                      <a:pt x="1273" y="376"/>
                      <a:pt x="1273" y="376"/>
                      <a:pt x="1273" y="376"/>
                    </a:cubicBezTo>
                    <a:cubicBezTo>
                      <a:pt x="1274" y="376"/>
                      <a:pt x="1274" y="376"/>
                      <a:pt x="1274" y="376"/>
                    </a:cubicBezTo>
                    <a:cubicBezTo>
                      <a:pt x="1274" y="376"/>
                      <a:pt x="1274" y="376"/>
                      <a:pt x="1274" y="376"/>
                    </a:cubicBezTo>
                    <a:cubicBezTo>
                      <a:pt x="1274" y="376"/>
                      <a:pt x="1274" y="376"/>
                      <a:pt x="1274" y="376"/>
                    </a:cubicBezTo>
                    <a:cubicBezTo>
                      <a:pt x="1275" y="376"/>
                      <a:pt x="1275" y="376"/>
                      <a:pt x="1275" y="376"/>
                    </a:cubicBezTo>
                    <a:cubicBezTo>
                      <a:pt x="1275" y="376"/>
                      <a:pt x="1275" y="376"/>
                      <a:pt x="1275" y="376"/>
                    </a:cubicBezTo>
                    <a:cubicBezTo>
                      <a:pt x="1275" y="376"/>
                      <a:pt x="1275" y="376"/>
                      <a:pt x="1275" y="376"/>
                    </a:cubicBezTo>
                    <a:cubicBezTo>
                      <a:pt x="1275" y="377"/>
                      <a:pt x="1275" y="377"/>
                      <a:pt x="1275" y="377"/>
                    </a:cubicBezTo>
                    <a:cubicBezTo>
                      <a:pt x="1275" y="378"/>
                      <a:pt x="1275" y="378"/>
                      <a:pt x="1275" y="378"/>
                    </a:cubicBezTo>
                    <a:cubicBezTo>
                      <a:pt x="1275" y="378"/>
                      <a:pt x="1275" y="378"/>
                      <a:pt x="1275" y="378"/>
                    </a:cubicBezTo>
                    <a:cubicBezTo>
                      <a:pt x="1275" y="379"/>
                      <a:pt x="1275" y="379"/>
                      <a:pt x="1275" y="379"/>
                    </a:cubicBezTo>
                    <a:cubicBezTo>
                      <a:pt x="1275" y="381"/>
                      <a:pt x="1275" y="381"/>
                      <a:pt x="1275" y="381"/>
                    </a:cubicBezTo>
                    <a:cubicBezTo>
                      <a:pt x="1274" y="384"/>
                      <a:pt x="1274" y="384"/>
                      <a:pt x="1274" y="384"/>
                    </a:cubicBezTo>
                    <a:cubicBezTo>
                      <a:pt x="1274" y="386"/>
                      <a:pt x="1274" y="386"/>
                      <a:pt x="1274" y="386"/>
                    </a:cubicBezTo>
                    <a:cubicBezTo>
                      <a:pt x="1273" y="386"/>
                      <a:pt x="1273" y="386"/>
                      <a:pt x="1273" y="386"/>
                    </a:cubicBezTo>
                    <a:cubicBezTo>
                      <a:pt x="1272" y="387"/>
                      <a:pt x="1272" y="387"/>
                      <a:pt x="1272" y="387"/>
                    </a:cubicBezTo>
                    <a:cubicBezTo>
                      <a:pt x="1272" y="387"/>
                      <a:pt x="1272" y="387"/>
                      <a:pt x="1272" y="387"/>
                    </a:cubicBezTo>
                    <a:cubicBezTo>
                      <a:pt x="1270" y="387"/>
                      <a:pt x="1270" y="387"/>
                      <a:pt x="1270" y="387"/>
                    </a:cubicBezTo>
                    <a:cubicBezTo>
                      <a:pt x="1269" y="388"/>
                      <a:pt x="1269" y="388"/>
                      <a:pt x="1269" y="388"/>
                    </a:cubicBezTo>
                    <a:cubicBezTo>
                      <a:pt x="1268" y="388"/>
                      <a:pt x="1268" y="388"/>
                      <a:pt x="1268" y="388"/>
                    </a:cubicBezTo>
                    <a:cubicBezTo>
                      <a:pt x="1267" y="389"/>
                      <a:pt x="1267" y="389"/>
                      <a:pt x="1267" y="389"/>
                    </a:cubicBezTo>
                    <a:cubicBezTo>
                      <a:pt x="1266" y="389"/>
                      <a:pt x="1266" y="389"/>
                      <a:pt x="1266" y="389"/>
                    </a:cubicBezTo>
                    <a:cubicBezTo>
                      <a:pt x="1265" y="389"/>
                      <a:pt x="1265" y="389"/>
                      <a:pt x="1265" y="389"/>
                    </a:cubicBezTo>
                    <a:cubicBezTo>
                      <a:pt x="1264" y="389"/>
                      <a:pt x="1264" y="389"/>
                      <a:pt x="1264" y="389"/>
                    </a:cubicBezTo>
                    <a:cubicBezTo>
                      <a:pt x="1264" y="389"/>
                      <a:pt x="1264" y="389"/>
                      <a:pt x="1264" y="389"/>
                    </a:cubicBezTo>
                    <a:cubicBezTo>
                      <a:pt x="1264" y="389"/>
                      <a:pt x="1264" y="389"/>
                      <a:pt x="1264" y="389"/>
                    </a:cubicBezTo>
                    <a:cubicBezTo>
                      <a:pt x="1264" y="389"/>
                      <a:pt x="1264" y="389"/>
                      <a:pt x="1264" y="389"/>
                    </a:cubicBezTo>
                    <a:cubicBezTo>
                      <a:pt x="1263" y="389"/>
                      <a:pt x="1263" y="389"/>
                      <a:pt x="1263" y="389"/>
                    </a:cubicBezTo>
                    <a:cubicBezTo>
                      <a:pt x="1263" y="388"/>
                      <a:pt x="1263" y="388"/>
                      <a:pt x="1263" y="388"/>
                    </a:cubicBezTo>
                    <a:cubicBezTo>
                      <a:pt x="1263" y="388"/>
                      <a:pt x="1263" y="388"/>
                      <a:pt x="1263" y="388"/>
                    </a:cubicBezTo>
                    <a:cubicBezTo>
                      <a:pt x="1262" y="388"/>
                      <a:pt x="1262" y="389"/>
                      <a:pt x="1261" y="389"/>
                    </a:cubicBezTo>
                    <a:cubicBezTo>
                      <a:pt x="1261" y="389"/>
                      <a:pt x="1261" y="389"/>
                      <a:pt x="1260" y="389"/>
                    </a:cubicBezTo>
                    <a:cubicBezTo>
                      <a:pt x="1260" y="389"/>
                      <a:pt x="1260" y="389"/>
                      <a:pt x="1259" y="389"/>
                    </a:cubicBezTo>
                    <a:cubicBezTo>
                      <a:pt x="1259" y="389"/>
                      <a:pt x="1259" y="389"/>
                      <a:pt x="1259" y="389"/>
                    </a:cubicBezTo>
                    <a:cubicBezTo>
                      <a:pt x="1259" y="388"/>
                      <a:pt x="1259" y="388"/>
                      <a:pt x="1259" y="388"/>
                    </a:cubicBezTo>
                    <a:cubicBezTo>
                      <a:pt x="1258" y="387"/>
                      <a:pt x="1258" y="386"/>
                      <a:pt x="1257" y="386"/>
                    </a:cubicBezTo>
                    <a:cubicBezTo>
                      <a:pt x="1256" y="385"/>
                      <a:pt x="1256" y="385"/>
                      <a:pt x="1256" y="385"/>
                    </a:cubicBezTo>
                    <a:cubicBezTo>
                      <a:pt x="1256" y="385"/>
                      <a:pt x="1256" y="385"/>
                      <a:pt x="1256" y="385"/>
                    </a:cubicBezTo>
                    <a:cubicBezTo>
                      <a:pt x="1255" y="385"/>
                      <a:pt x="1255" y="385"/>
                      <a:pt x="1255" y="385"/>
                    </a:cubicBezTo>
                    <a:cubicBezTo>
                      <a:pt x="1255" y="385"/>
                      <a:pt x="1255" y="385"/>
                      <a:pt x="1255" y="385"/>
                    </a:cubicBezTo>
                    <a:cubicBezTo>
                      <a:pt x="1254" y="385"/>
                      <a:pt x="1254" y="385"/>
                      <a:pt x="1254" y="385"/>
                    </a:cubicBezTo>
                    <a:cubicBezTo>
                      <a:pt x="1250" y="384"/>
                      <a:pt x="1248" y="383"/>
                      <a:pt x="1244" y="383"/>
                    </a:cubicBezTo>
                    <a:cubicBezTo>
                      <a:pt x="1244" y="383"/>
                      <a:pt x="1244" y="383"/>
                      <a:pt x="1244" y="383"/>
                    </a:cubicBezTo>
                    <a:cubicBezTo>
                      <a:pt x="1243" y="383"/>
                      <a:pt x="1243" y="383"/>
                      <a:pt x="1243" y="383"/>
                    </a:cubicBezTo>
                    <a:cubicBezTo>
                      <a:pt x="1243" y="383"/>
                      <a:pt x="1242" y="383"/>
                      <a:pt x="1242" y="383"/>
                    </a:cubicBezTo>
                    <a:cubicBezTo>
                      <a:pt x="1241" y="383"/>
                      <a:pt x="1240" y="383"/>
                      <a:pt x="1239" y="383"/>
                    </a:cubicBezTo>
                    <a:cubicBezTo>
                      <a:pt x="1238" y="383"/>
                      <a:pt x="1237" y="383"/>
                      <a:pt x="1236" y="383"/>
                    </a:cubicBezTo>
                    <a:cubicBezTo>
                      <a:pt x="1235" y="383"/>
                      <a:pt x="1234" y="383"/>
                      <a:pt x="1234" y="383"/>
                    </a:cubicBezTo>
                    <a:cubicBezTo>
                      <a:pt x="1233" y="383"/>
                      <a:pt x="1233" y="383"/>
                      <a:pt x="1233" y="383"/>
                    </a:cubicBezTo>
                    <a:cubicBezTo>
                      <a:pt x="1233" y="383"/>
                      <a:pt x="1233" y="383"/>
                      <a:pt x="1233" y="383"/>
                    </a:cubicBezTo>
                    <a:cubicBezTo>
                      <a:pt x="1232" y="383"/>
                      <a:pt x="1232" y="383"/>
                      <a:pt x="1232" y="383"/>
                    </a:cubicBezTo>
                    <a:cubicBezTo>
                      <a:pt x="1232" y="383"/>
                      <a:pt x="1232" y="383"/>
                      <a:pt x="1232" y="383"/>
                    </a:cubicBezTo>
                    <a:cubicBezTo>
                      <a:pt x="1231" y="383"/>
                      <a:pt x="1231" y="383"/>
                      <a:pt x="1231" y="383"/>
                    </a:cubicBezTo>
                    <a:cubicBezTo>
                      <a:pt x="1226" y="384"/>
                      <a:pt x="1223" y="384"/>
                      <a:pt x="1221" y="384"/>
                    </a:cubicBezTo>
                    <a:cubicBezTo>
                      <a:pt x="1218" y="384"/>
                      <a:pt x="1216" y="384"/>
                      <a:pt x="1209" y="381"/>
                    </a:cubicBezTo>
                    <a:cubicBezTo>
                      <a:pt x="1209" y="381"/>
                      <a:pt x="1209" y="381"/>
                      <a:pt x="1209" y="381"/>
                    </a:cubicBezTo>
                    <a:cubicBezTo>
                      <a:pt x="1208" y="381"/>
                      <a:pt x="1208" y="381"/>
                      <a:pt x="1208" y="381"/>
                    </a:cubicBezTo>
                    <a:cubicBezTo>
                      <a:pt x="1208" y="381"/>
                      <a:pt x="1208" y="381"/>
                      <a:pt x="1208" y="381"/>
                    </a:cubicBezTo>
                    <a:cubicBezTo>
                      <a:pt x="1202" y="380"/>
                      <a:pt x="1204" y="378"/>
                      <a:pt x="1199" y="377"/>
                    </a:cubicBezTo>
                    <a:cubicBezTo>
                      <a:pt x="1198" y="377"/>
                      <a:pt x="1198" y="377"/>
                      <a:pt x="1198" y="377"/>
                    </a:cubicBezTo>
                    <a:cubicBezTo>
                      <a:pt x="1198" y="377"/>
                      <a:pt x="1198" y="377"/>
                      <a:pt x="1198" y="377"/>
                    </a:cubicBezTo>
                    <a:cubicBezTo>
                      <a:pt x="1193" y="376"/>
                      <a:pt x="1191" y="377"/>
                      <a:pt x="1187" y="374"/>
                    </a:cubicBezTo>
                    <a:cubicBezTo>
                      <a:pt x="1186" y="374"/>
                      <a:pt x="1186" y="374"/>
                      <a:pt x="1186" y="374"/>
                    </a:cubicBezTo>
                    <a:cubicBezTo>
                      <a:pt x="1183" y="371"/>
                      <a:pt x="1183" y="371"/>
                      <a:pt x="1183" y="371"/>
                    </a:cubicBezTo>
                    <a:cubicBezTo>
                      <a:pt x="1179" y="363"/>
                      <a:pt x="1179" y="363"/>
                      <a:pt x="1179" y="363"/>
                    </a:cubicBezTo>
                    <a:cubicBezTo>
                      <a:pt x="1178" y="362"/>
                      <a:pt x="1178" y="362"/>
                      <a:pt x="1178" y="362"/>
                    </a:cubicBezTo>
                    <a:cubicBezTo>
                      <a:pt x="1187" y="361"/>
                      <a:pt x="1187" y="361"/>
                      <a:pt x="1187" y="361"/>
                    </a:cubicBezTo>
                    <a:cubicBezTo>
                      <a:pt x="1202" y="359"/>
                      <a:pt x="1202" y="359"/>
                      <a:pt x="1202" y="359"/>
                    </a:cubicBezTo>
                    <a:cubicBezTo>
                      <a:pt x="1204" y="359"/>
                      <a:pt x="1204" y="359"/>
                      <a:pt x="1204" y="359"/>
                    </a:cubicBezTo>
                    <a:cubicBezTo>
                      <a:pt x="1206" y="359"/>
                      <a:pt x="1206" y="359"/>
                      <a:pt x="1206" y="359"/>
                    </a:cubicBezTo>
                    <a:cubicBezTo>
                      <a:pt x="1206" y="360"/>
                      <a:pt x="1206" y="360"/>
                      <a:pt x="1206" y="360"/>
                    </a:cubicBezTo>
                    <a:cubicBezTo>
                      <a:pt x="1206" y="360"/>
                      <a:pt x="1206" y="360"/>
                      <a:pt x="1206" y="360"/>
                    </a:cubicBezTo>
                    <a:cubicBezTo>
                      <a:pt x="1207" y="360"/>
                      <a:pt x="1207" y="360"/>
                      <a:pt x="1207" y="360"/>
                    </a:cubicBezTo>
                    <a:cubicBezTo>
                      <a:pt x="1208" y="361"/>
                      <a:pt x="1208" y="361"/>
                      <a:pt x="1208" y="361"/>
                    </a:cubicBezTo>
                    <a:cubicBezTo>
                      <a:pt x="1209" y="363"/>
                      <a:pt x="1209" y="363"/>
                      <a:pt x="1209" y="363"/>
                    </a:cubicBezTo>
                    <a:cubicBezTo>
                      <a:pt x="1215" y="366"/>
                      <a:pt x="1215" y="366"/>
                      <a:pt x="1215" y="366"/>
                    </a:cubicBezTo>
                    <a:cubicBezTo>
                      <a:pt x="1217" y="367"/>
                      <a:pt x="1217" y="367"/>
                      <a:pt x="1217" y="367"/>
                    </a:cubicBezTo>
                    <a:cubicBezTo>
                      <a:pt x="1218" y="368"/>
                      <a:pt x="1218" y="368"/>
                      <a:pt x="1218" y="368"/>
                    </a:cubicBezTo>
                    <a:cubicBezTo>
                      <a:pt x="1219" y="368"/>
                      <a:pt x="1219" y="368"/>
                      <a:pt x="1219" y="368"/>
                    </a:cubicBezTo>
                    <a:cubicBezTo>
                      <a:pt x="1219" y="367"/>
                      <a:pt x="1219" y="367"/>
                      <a:pt x="1219" y="367"/>
                    </a:cubicBezTo>
                    <a:cubicBezTo>
                      <a:pt x="1220" y="367"/>
                      <a:pt x="1220" y="367"/>
                      <a:pt x="1220" y="367"/>
                    </a:cubicBezTo>
                    <a:cubicBezTo>
                      <a:pt x="1222" y="367"/>
                      <a:pt x="1222" y="367"/>
                      <a:pt x="1222" y="367"/>
                    </a:cubicBezTo>
                    <a:cubicBezTo>
                      <a:pt x="1222" y="367"/>
                      <a:pt x="1222" y="367"/>
                      <a:pt x="1222" y="367"/>
                    </a:cubicBezTo>
                    <a:cubicBezTo>
                      <a:pt x="1223" y="367"/>
                      <a:pt x="1223" y="367"/>
                      <a:pt x="1223" y="367"/>
                    </a:cubicBezTo>
                    <a:cubicBezTo>
                      <a:pt x="1223" y="367"/>
                      <a:pt x="1223" y="367"/>
                      <a:pt x="1223" y="367"/>
                    </a:cubicBezTo>
                    <a:cubicBezTo>
                      <a:pt x="1223" y="367"/>
                      <a:pt x="1223" y="367"/>
                      <a:pt x="1223" y="367"/>
                    </a:cubicBezTo>
                    <a:cubicBezTo>
                      <a:pt x="1222" y="366"/>
                      <a:pt x="1222" y="366"/>
                      <a:pt x="1222" y="366"/>
                    </a:cubicBezTo>
                    <a:cubicBezTo>
                      <a:pt x="1222" y="366"/>
                      <a:pt x="1222" y="366"/>
                      <a:pt x="1222" y="366"/>
                    </a:cubicBezTo>
                    <a:cubicBezTo>
                      <a:pt x="1221" y="366"/>
                      <a:pt x="1221" y="366"/>
                      <a:pt x="1221" y="366"/>
                    </a:cubicBezTo>
                    <a:cubicBezTo>
                      <a:pt x="1221" y="366"/>
                      <a:pt x="1221" y="366"/>
                      <a:pt x="1221" y="366"/>
                    </a:cubicBezTo>
                    <a:cubicBezTo>
                      <a:pt x="1221" y="366"/>
                      <a:pt x="1221" y="366"/>
                      <a:pt x="1221" y="366"/>
                    </a:cubicBezTo>
                    <a:cubicBezTo>
                      <a:pt x="1223" y="366"/>
                      <a:pt x="1223" y="366"/>
                      <a:pt x="1225" y="365"/>
                    </a:cubicBezTo>
                    <a:cubicBezTo>
                      <a:pt x="1225" y="365"/>
                      <a:pt x="1225" y="365"/>
                      <a:pt x="1225" y="365"/>
                    </a:cubicBezTo>
                    <a:cubicBezTo>
                      <a:pt x="1224" y="365"/>
                      <a:pt x="1224" y="365"/>
                      <a:pt x="1224" y="365"/>
                    </a:cubicBezTo>
                    <a:cubicBezTo>
                      <a:pt x="1224" y="365"/>
                      <a:pt x="1224" y="365"/>
                      <a:pt x="1224" y="365"/>
                    </a:cubicBezTo>
                    <a:cubicBezTo>
                      <a:pt x="1223" y="365"/>
                      <a:pt x="1223" y="365"/>
                      <a:pt x="1223" y="365"/>
                    </a:cubicBezTo>
                    <a:cubicBezTo>
                      <a:pt x="1223" y="365"/>
                      <a:pt x="1223" y="365"/>
                      <a:pt x="1223" y="365"/>
                    </a:cubicBezTo>
                    <a:cubicBezTo>
                      <a:pt x="1224" y="365"/>
                      <a:pt x="1224" y="365"/>
                      <a:pt x="1224" y="365"/>
                    </a:cubicBezTo>
                    <a:cubicBezTo>
                      <a:pt x="1224" y="364"/>
                      <a:pt x="1224" y="364"/>
                      <a:pt x="1224" y="364"/>
                    </a:cubicBezTo>
                    <a:cubicBezTo>
                      <a:pt x="1225" y="364"/>
                      <a:pt x="1225" y="364"/>
                      <a:pt x="1225" y="364"/>
                    </a:cubicBezTo>
                    <a:cubicBezTo>
                      <a:pt x="1226" y="364"/>
                      <a:pt x="1226" y="364"/>
                      <a:pt x="1226" y="364"/>
                    </a:cubicBezTo>
                    <a:cubicBezTo>
                      <a:pt x="1227" y="364"/>
                      <a:pt x="1227" y="364"/>
                      <a:pt x="1227" y="364"/>
                    </a:cubicBezTo>
                    <a:cubicBezTo>
                      <a:pt x="1228" y="364"/>
                      <a:pt x="1228" y="364"/>
                      <a:pt x="1228" y="364"/>
                    </a:cubicBezTo>
                    <a:cubicBezTo>
                      <a:pt x="1228" y="364"/>
                      <a:pt x="1228" y="364"/>
                      <a:pt x="1228" y="364"/>
                    </a:cubicBezTo>
                    <a:cubicBezTo>
                      <a:pt x="1229" y="364"/>
                      <a:pt x="1229" y="364"/>
                      <a:pt x="1229" y="364"/>
                    </a:cubicBezTo>
                    <a:cubicBezTo>
                      <a:pt x="1229" y="363"/>
                      <a:pt x="1229" y="363"/>
                      <a:pt x="1229" y="363"/>
                    </a:cubicBezTo>
                    <a:cubicBezTo>
                      <a:pt x="1258" y="357"/>
                      <a:pt x="1258" y="357"/>
                      <a:pt x="1258" y="357"/>
                    </a:cubicBezTo>
                    <a:cubicBezTo>
                      <a:pt x="1258" y="356"/>
                      <a:pt x="1258" y="356"/>
                      <a:pt x="1258" y="356"/>
                    </a:cubicBezTo>
                    <a:cubicBezTo>
                      <a:pt x="1258" y="356"/>
                      <a:pt x="1258" y="356"/>
                      <a:pt x="1258" y="356"/>
                    </a:cubicBezTo>
                    <a:cubicBezTo>
                      <a:pt x="1258" y="355"/>
                      <a:pt x="1260" y="354"/>
                      <a:pt x="1261" y="353"/>
                    </a:cubicBezTo>
                    <a:cubicBezTo>
                      <a:pt x="1261" y="352"/>
                      <a:pt x="1261" y="352"/>
                      <a:pt x="1261" y="352"/>
                    </a:cubicBezTo>
                    <a:cubicBezTo>
                      <a:pt x="1261" y="352"/>
                      <a:pt x="1261" y="352"/>
                      <a:pt x="1261" y="352"/>
                    </a:cubicBezTo>
                    <a:cubicBezTo>
                      <a:pt x="1261" y="352"/>
                      <a:pt x="1261" y="352"/>
                      <a:pt x="1261" y="352"/>
                    </a:cubicBezTo>
                    <a:cubicBezTo>
                      <a:pt x="1262" y="352"/>
                      <a:pt x="1262" y="352"/>
                      <a:pt x="1262" y="352"/>
                    </a:cubicBezTo>
                    <a:cubicBezTo>
                      <a:pt x="1263" y="351"/>
                      <a:pt x="1265" y="349"/>
                      <a:pt x="1266" y="348"/>
                    </a:cubicBezTo>
                    <a:cubicBezTo>
                      <a:pt x="1269" y="346"/>
                      <a:pt x="1269" y="346"/>
                      <a:pt x="1269" y="346"/>
                    </a:cubicBezTo>
                    <a:cubicBezTo>
                      <a:pt x="1270" y="345"/>
                      <a:pt x="1270" y="345"/>
                      <a:pt x="1270" y="345"/>
                    </a:cubicBezTo>
                    <a:cubicBezTo>
                      <a:pt x="1271" y="344"/>
                      <a:pt x="1271" y="344"/>
                      <a:pt x="1271" y="344"/>
                    </a:cubicBezTo>
                    <a:cubicBezTo>
                      <a:pt x="1271" y="344"/>
                      <a:pt x="1271" y="344"/>
                      <a:pt x="1271" y="344"/>
                    </a:cubicBezTo>
                    <a:cubicBezTo>
                      <a:pt x="1271" y="344"/>
                      <a:pt x="1271" y="344"/>
                      <a:pt x="1271" y="344"/>
                    </a:cubicBezTo>
                    <a:cubicBezTo>
                      <a:pt x="1271" y="343"/>
                      <a:pt x="1271" y="343"/>
                      <a:pt x="1271" y="343"/>
                    </a:cubicBezTo>
                    <a:cubicBezTo>
                      <a:pt x="1271" y="343"/>
                      <a:pt x="1271" y="343"/>
                      <a:pt x="1271" y="343"/>
                    </a:cubicBezTo>
                    <a:cubicBezTo>
                      <a:pt x="1271" y="342"/>
                      <a:pt x="1271" y="342"/>
                      <a:pt x="1271" y="342"/>
                    </a:cubicBezTo>
                    <a:cubicBezTo>
                      <a:pt x="1271" y="342"/>
                      <a:pt x="1271" y="342"/>
                      <a:pt x="1271" y="342"/>
                    </a:cubicBezTo>
                    <a:cubicBezTo>
                      <a:pt x="1270" y="342"/>
                      <a:pt x="1270" y="342"/>
                      <a:pt x="1270" y="342"/>
                    </a:cubicBezTo>
                    <a:cubicBezTo>
                      <a:pt x="1271" y="341"/>
                      <a:pt x="1271" y="341"/>
                      <a:pt x="1271" y="341"/>
                    </a:cubicBezTo>
                    <a:cubicBezTo>
                      <a:pt x="1272" y="340"/>
                      <a:pt x="1272" y="340"/>
                      <a:pt x="1272" y="340"/>
                    </a:cubicBezTo>
                    <a:cubicBezTo>
                      <a:pt x="1274" y="338"/>
                      <a:pt x="1274" y="338"/>
                      <a:pt x="1274" y="338"/>
                    </a:cubicBezTo>
                    <a:cubicBezTo>
                      <a:pt x="1275" y="337"/>
                      <a:pt x="1275" y="337"/>
                      <a:pt x="1275" y="337"/>
                    </a:cubicBezTo>
                    <a:cubicBezTo>
                      <a:pt x="1276" y="337"/>
                      <a:pt x="1276" y="337"/>
                      <a:pt x="1276" y="337"/>
                    </a:cubicBezTo>
                    <a:cubicBezTo>
                      <a:pt x="1276" y="336"/>
                      <a:pt x="1276" y="336"/>
                      <a:pt x="1276" y="336"/>
                    </a:cubicBezTo>
                    <a:cubicBezTo>
                      <a:pt x="1276" y="336"/>
                      <a:pt x="1276" y="336"/>
                      <a:pt x="1276" y="336"/>
                    </a:cubicBezTo>
                    <a:cubicBezTo>
                      <a:pt x="1277" y="336"/>
                      <a:pt x="1277" y="336"/>
                      <a:pt x="1277" y="336"/>
                    </a:cubicBezTo>
                    <a:cubicBezTo>
                      <a:pt x="1277" y="335"/>
                      <a:pt x="1277" y="335"/>
                      <a:pt x="1277" y="335"/>
                    </a:cubicBezTo>
                    <a:cubicBezTo>
                      <a:pt x="1277" y="335"/>
                      <a:pt x="1277" y="335"/>
                      <a:pt x="1277" y="335"/>
                    </a:cubicBezTo>
                    <a:cubicBezTo>
                      <a:pt x="1277" y="334"/>
                      <a:pt x="1277" y="334"/>
                      <a:pt x="1277" y="333"/>
                    </a:cubicBezTo>
                    <a:cubicBezTo>
                      <a:pt x="1277" y="333"/>
                      <a:pt x="1277" y="333"/>
                      <a:pt x="1277" y="333"/>
                    </a:cubicBezTo>
                    <a:cubicBezTo>
                      <a:pt x="1279" y="331"/>
                      <a:pt x="1279" y="331"/>
                      <a:pt x="1279" y="331"/>
                    </a:cubicBezTo>
                    <a:cubicBezTo>
                      <a:pt x="1282" y="329"/>
                      <a:pt x="1282" y="329"/>
                      <a:pt x="1282" y="329"/>
                    </a:cubicBezTo>
                    <a:cubicBezTo>
                      <a:pt x="1291" y="323"/>
                      <a:pt x="1291" y="323"/>
                      <a:pt x="1291" y="323"/>
                    </a:cubicBezTo>
                    <a:cubicBezTo>
                      <a:pt x="1295" y="320"/>
                      <a:pt x="1295" y="320"/>
                      <a:pt x="1295" y="320"/>
                    </a:cubicBezTo>
                    <a:cubicBezTo>
                      <a:pt x="1297" y="319"/>
                      <a:pt x="1297" y="319"/>
                      <a:pt x="1297" y="319"/>
                    </a:cubicBezTo>
                    <a:cubicBezTo>
                      <a:pt x="1297" y="318"/>
                      <a:pt x="1297" y="318"/>
                      <a:pt x="1297" y="318"/>
                    </a:cubicBezTo>
                    <a:cubicBezTo>
                      <a:pt x="1297" y="318"/>
                      <a:pt x="1297" y="317"/>
                      <a:pt x="1297" y="317"/>
                    </a:cubicBezTo>
                    <a:cubicBezTo>
                      <a:pt x="1297" y="316"/>
                      <a:pt x="1297" y="316"/>
                      <a:pt x="1297" y="316"/>
                    </a:cubicBezTo>
                    <a:cubicBezTo>
                      <a:pt x="1297" y="316"/>
                      <a:pt x="1297" y="316"/>
                      <a:pt x="1297" y="316"/>
                    </a:cubicBezTo>
                    <a:cubicBezTo>
                      <a:pt x="1296" y="316"/>
                      <a:pt x="1296" y="316"/>
                      <a:pt x="1295" y="315"/>
                    </a:cubicBezTo>
                    <a:cubicBezTo>
                      <a:pt x="1295" y="314"/>
                      <a:pt x="1295" y="314"/>
                      <a:pt x="1295" y="314"/>
                    </a:cubicBezTo>
                    <a:cubicBezTo>
                      <a:pt x="1296" y="314"/>
                      <a:pt x="1296" y="314"/>
                      <a:pt x="1296" y="314"/>
                    </a:cubicBezTo>
                    <a:cubicBezTo>
                      <a:pt x="1297" y="312"/>
                      <a:pt x="1297" y="312"/>
                      <a:pt x="1297" y="312"/>
                    </a:cubicBezTo>
                    <a:cubicBezTo>
                      <a:pt x="1298" y="312"/>
                      <a:pt x="1298" y="312"/>
                      <a:pt x="1298" y="312"/>
                    </a:cubicBezTo>
                    <a:cubicBezTo>
                      <a:pt x="1299" y="311"/>
                      <a:pt x="1299" y="311"/>
                      <a:pt x="1299" y="310"/>
                    </a:cubicBezTo>
                    <a:cubicBezTo>
                      <a:pt x="1299" y="310"/>
                      <a:pt x="1299" y="310"/>
                      <a:pt x="1299" y="310"/>
                    </a:cubicBezTo>
                    <a:cubicBezTo>
                      <a:pt x="1299" y="309"/>
                      <a:pt x="1299" y="309"/>
                      <a:pt x="1299" y="309"/>
                    </a:cubicBezTo>
                    <a:cubicBezTo>
                      <a:pt x="1299" y="309"/>
                      <a:pt x="1298" y="309"/>
                      <a:pt x="1299" y="308"/>
                    </a:cubicBezTo>
                    <a:cubicBezTo>
                      <a:pt x="1299" y="308"/>
                      <a:pt x="1299" y="308"/>
                      <a:pt x="1299" y="308"/>
                    </a:cubicBezTo>
                    <a:cubicBezTo>
                      <a:pt x="1299" y="307"/>
                      <a:pt x="1299" y="307"/>
                      <a:pt x="1299" y="307"/>
                    </a:cubicBezTo>
                    <a:cubicBezTo>
                      <a:pt x="1299" y="307"/>
                      <a:pt x="1299" y="307"/>
                      <a:pt x="1299" y="307"/>
                    </a:cubicBezTo>
                    <a:cubicBezTo>
                      <a:pt x="1299" y="306"/>
                      <a:pt x="1299" y="306"/>
                      <a:pt x="1299" y="306"/>
                    </a:cubicBezTo>
                    <a:cubicBezTo>
                      <a:pt x="1299" y="306"/>
                      <a:pt x="1299" y="306"/>
                      <a:pt x="1299" y="306"/>
                    </a:cubicBezTo>
                    <a:cubicBezTo>
                      <a:pt x="1299" y="305"/>
                      <a:pt x="1299" y="305"/>
                      <a:pt x="1299" y="305"/>
                    </a:cubicBezTo>
                    <a:cubicBezTo>
                      <a:pt x="1298" y="305"/>
                      <a:pt x="1298" y="305"/>
                      <a:pt x="1298" y="305"/>
                    </a:cubicBezTo>
                    <a:cubicBezTo>
                      <a:pt x="1298" y="305"/>
                      <a:pt x="1298" y="305"/>
                      <a:pt x="1298" y="305"/>
                    </a:cubicBezTo>
                    <a:cubicBezTo>
                      <a:pt x="1298" y="305"/>
                      <a:pt x="1298" y="305"/>
                      <a:pt x="1298" y="305"/>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4"/>
                      <a:pt x="1298" y="304"/>
                      <a:pt x="1298" y="304"/>
                    </a:cubicBezTo>
                    <a:cubicBezTo>
                      <a:pt x="1298" y="303"/>
                      <a:pt x="1298" y="303"/>
                      <a:pt x="1298" y="303"/>
                    </a:cubicBezTo>
                    <a:cubicBezTo>
                      <a:pt x="1297" y="303"/>
                      <a:pt x="1297" y="303"/>
                      <a:pt x="1297" y="303"/>
                    </a:cubicBezTo>
                    <a:cubicBezTo>
                      <a:pt x="1297" y="303"/>
                      <a:pt x="1297" y="303"/>
                      <a:pt x="1297" y="303"/>
                    </a:cubicBezTo>
                    <a:cubicBezTo>
                      <a:pt x="1297" y="302"/>
                      <a:pt x="1297" y="302"/>
                      <a:pt x="1297" y="302"/>
                    </a:cubicBezTo>
                    <a:cubicBezTo>
                      <a:pt x="1296" y="301"/>
                      <a:pt x="1294" y="300"/>
                      <a:pt x="1296" y="298"/>
                    </a:cubicBezTo>
                    <a:cubicBezTo>
                      <a:pt x="1296" y="298"/>
                      <a:pt x="1296" y="298"/>
                      <a:pt x="1296" y="298"/>
                    </a:cubicBezTo>
                    <a:cubicBezTo>
                      <a:pt x="1298" y="296"/>
                      <a:pt x="1298" y="296"/>
                      <a:pt x="1298" y="296"/>
                    </a:cubicBezTo>
                    <a:cubicBezTo>
                      <a:pt x="1300" y="293"/>
                      <a:pt x="1300" y="293"/>
                      <a:pt x="1300" y="293"/>
                    </a:cubicBezTo>
                    <a:cubicBezTo>
                      <a:pt x="1307" y="286"/>
                      <a:pt x="1307" y="286"/>
                      <a:pt x="1307" y="286"/>
                    </a:cubicBezTo>
                    <a:cubicBezTo>
                      <a:pt x="1310" y="283"/>
                      <a:pt x="1310" y="283"/>
                      <a:pt x="1310" y="283"/>
                    </a:cubicBezTo>
                    <a:cubicBezTo>
                      <a:pt x="1311" y="281"/>
                      <a:pt x="1311" y="281"/>
                      <a:pt x="1311" y="281"/>
                    </a:cubicBezTo>
                    <a:cubicBezTo>
                      <a:pt x="1312" y="280"/>
                      <a:pt x="1311" y="278"/>
                      <a:pt x="1310" y="277"/>
                    </a:cubicBezTo>
                    <a:cubicBezTo>
                      <a:pt x="1309" y="277"/>
                      <a:pt x="1309" y="277"/>
                      <a:pt x="1309" y="277"/>
                    </a:cubicBezTo>
                    <a:cubicBezTo>
                      <a:pt x="1309" y="277"/>
                      <a:pt x="1309" y="277"/>
                      <a:pt x="1309" y="277"/>
                    </a:cubicBezTo>
                    <a:cubicBezTo>
                      <a:pt x="1306" y="274"/>
                      <a:pt x="1305" y="275"/>
                      <a:pt x="1303" y="273"/>
                    </a:cubicBezTo>
                    <a:cubicBezTo>
                      <a:pt x="1302" y="273"/>
                      <a:pt x="1302" y="273"/>
                      <a:pt x="1302" y="273"/>
                    </a:cubicBezTo>
                    <a:cubicBezTo>
                      <a:pt x="1302" y="272"/>
                      <a:pt x="1302" y="272"/>
                      <a:pt x="1302" y="272"/>
                    </a:cubicBezTo>
                    <a:cubicBezTo>
                      <a:pt x="1301" y="272"/>
                      <a:pt x="1301" y="272"/>
                      <a:pt x="1301" y="272"/>
                    </a:cubicBezTo>
                    <a:cubicBezTo>
                      <a:pt x="1294" y="266"/>
                      <a:pt x="1293" y="268"/>
                      <a:pt x="1287" y="264"/>
                    </a:cubicBezTo>
                    <a:cubicBezTo>
                      <a:pt x="1286" y="263"/>
                      <a:pt x="1286" y="263"/>
                      <a:pt x="1286" y="263"/>
                    </a:cubicBezTo>
                    <a:cubicBezTo>
                      <a:pt x="1286" y="263"/>
                      <a:pt x="1286" y="263"/>
                      <a:pt x="1286" y="263"/>
                    </a:cubicBezTo>
                    <a:cubicBezTo>
                      <a:pt x="1285" y="263"/>
                      <a:pt x="1285" y="263"/>
                      <a:pt x="1285" y="263"/>
                    </a:cubicBezTo>
                    <a:cubicBezTo>
                      <a:pt x="1285" y="263"/>
                      <a:pt x="1285" y="263"/>
                      <a:pt x="1285" y="263"/>
                    </a:cubicBezTo>
                    <a:cubicBezTo>
                      <a:pt x="1285" y="262"/>
                      <a:pt x="1285" y="262"/>
                      <a:pt x="1285" y="262"/>
                    </a:cubicBezTo>
                    <a:cubicBezTo>
                      <a:pt x="1284" y="262"/>
                      <a:pt x="1284" y="262"/>
                      <a:pt x="1284" y="262"/>
                    </a:cubicBezTo>
                    <a:cubicBezTo>
                      <a:pt x="1284" y="262"/>
                      <a:pt x="1284" y="262"/>
                      <a:pt x="1284" y="262"/>
                    </a:cubicBezTo>
                    <a:cubicBezTo>
                      <a:pt x="1283" y="261"/>
                      <a:pt x="1281" y="258"/>
                      <a:pt x="1281" y="258"/>
                    </a:cubicBezTo>
                    <a:cubicBezTo>
                      <a:pt x="1281" y="257"/>
                      <a:pt x="1281" y="257"/>
                      <a:pt x="1281" y="257"/>
                    </a:cubicBezTo>
                    <a:cubicBezTo>
                      <a:pt x="1281" y="257"/>
                      <a:pt x="1281" y="257"/>
                      <a:pt x="1281" y="257"/>
                    </a:cubicBezTo>
                    <a:cubicBezTo>
                      <a:pt x="1280" y="256"/>
                      <a:pt x="1280" y="255"/>
                      <a:pt x="1280" y="253"/>
                    </a:cubicBezTo>
                    <a:cubicBezTo>
                      <a:pt x="1280" y="253"/>
                      <a:pt x="1280" y="253"/>
                      <a:pt x="1280" y="253"/>
                    </a:cubicBezTo>
                    <a:cubicBezTo>
                      <a:pt x="1280" y="253"/>
                      <a:pt x="1280" y="253"/>
                      <a:pt x="1280" y="253"/>
                    </a:cubicBezTo>
                    <a:cubicBezTo>
                      <a:pt x="1280" y="253"/>
                      <a:pt x="1280" y="253"/>
                      <a:pt x="1280" y="253"/>
                    </a:cubicBezTo>
                    <a:cubicBezTo>
                      <a:pt x="1280" y="252"/>
                      <a:pt x="1280" y="252"/>
                      <a:pt x="1280" y="252"/>
                    </a:cubicBezTo>
                    <a:cubicBezTo>
                      <a:pt x="1280" y="252"/>
                      <a:pt x="1280" y="252"/>
                      <a:pt x="1280" y="252"/>
                    </a:cubicBezTo>
                    <a:cubicBezTo>
                      <a:pt x="1280" y="248"/>
                      <a:pt x="1282" y="244"/>
                      <a:pt x="1283" y="240"/>
                    </a:cubicBezTo>
                    <a:cubicBezTo>
                      <a:pt x="1283" y="240"/>
                      <a:pt x="1283" y="240"/>
                      <a:pt x="1283" y="240"/>
                    </a:cubicBezTo>
                    <a:cubicBezTo>
                      <a:pt x="1282" y="239"/>
                      <a:pt x="1282" y="239"/>
                      <a:pt x="1282" y="239"/>
                    </a:cubicBezTo>
                    <a:cubicBezTo>
                      <a:pt x="1282" y="239"/>
                      <a:pt x="1282" y="238"/>
                      <a:pt x="1282" y="238"/>
                    </a:cubicBezTo>
                    <a:cubicBezTo>
                      <a:pt x="1282" y="237"/>
                      <a:pt x="1282" y="237"/>
                      <a:pt x="1282" y="237"/>
                    </a:cubicBezTo>
                    <a:cubicBezTo>
                      <a:pt x="1282" y="237"/>
                      <a:pt x="1282" y="237"/>
                      <a:pt x="1282" y="237"/>
                    </a:cubicBezTo>
                    <a:cubicBezTo>
                      <a:pt x="1282" y="236"/>
                      <a:pt x="1282" y="236"/>
                      <a:pt x="1282" y="236"/>
                    </a:cubicBezTo>
                    <a:cubicBezTo>
                      <a:pt x="1282" y="234"/>
                      <a:pt x="1283" y="231"/>
                      <a:pt x="1282" y="229"/>
                    </a:cubicBezTo>
                    <a:cubicBezTo>
                      <a:pt x="1282" y="228"/>
                      <a:pt x="1282" y="228"/>
                      <a:pt x="1282" y="228"/>
                    </a:cubicBezTo>
                    <a:cubicBezTo>
                      <a:pt x="1282" y="228"/>
                      <a:pt x="1282" y="228"/>
                      <a:pt x="1282" y="228"/>
                    </a:cubicBezTo>
                    <a:cubicBezTo>
                      <a:pt x="1282" y="228"/>
                      <a:pt x="1282" y="228"/>
                      <a:pt x="1282" y="228"/>
                    </a:cubicBezTo>
                    <a:cubicBezTo>
                      <a:pt x="1282" y="227"/>
                      <a:pt x="1282" y="227"/>
                      <a:pt x="1282" y="227"/>
                    </a:cubicBezTo>
                    <a:cubicBezTo>
                      <a:pt x="1281" y="227"/>
                      <a:pt x="1281" y="227"/>
                      <a:pt x="1281" y="227"/>
                    </a:cubicBezTo>
                    <a:cubicBezTo>
                      <a:pt x="1281" y="227"/>
                      <a:pt x="1281" y="227"/>
                      <a:pt x="1281" y="227"/>
                    </a:cubicBezTo>
                    <a:cubicBezTo>
                      <a:pt x="1281" y="226"/>
                      <a:pt x="1281" y="226"/>
                      <a:pt x="1281" y="226"/>
                    </a:cubicBezTo>
                    <a:cubicBezTo>
                      <a:pt x="1281" y="226"/>
                      <a:pt x="1281" y="226"/>
                      <a:pt x="1281" y="226"/>
                    </a:cubicBezTo>
                    <a:cubicBezTo>
                      <a:pt x="1281" y="226"/>
                      <a:pt x="1281" y="226"/>
                      <a:pt x="1281" y="226"/>
                    </a:cubicBezTo>
                    <a:cubicBezTo>
                      <a:pt x="1281" y="225"/>
                      <a:pt x="1281" y="225"/>
                      <a:pt x="1281" y="225"/>
                    </a:cubicBezTo>
                    <a:cubicBezTo>
                      <a:pt x="1281" y="223"/>
                      <a:pt x="1281" y="223"/>
                      <a:pt x="1281" y="223"/>
                    </a:cubicBezTo>
                    <a:cubicBezTo>
                      <a:pt x="1283" y="219"/>
                      <a:pt x="1283" y="219"/>
                      <a:pt x="1283" y="219"/>
                    </a:cubicBezTo>
                    <a:cubicBezTo>
                      <a:pt x="1283" y="217"/>
                      <a:pt x="1283" y="217"/>
                      <a:pt x="1283" y="217"/>
                    </a:cubicBezTo>
                    <a:cubicBezTo>
                      <a:pt x="1284" y="216"/>
                      <a:pt x="1284" y="216"/>
                      <a:pt x="1284" y="216"/>
                    </a:cubicBezTo>
                    <a:cubicBezTo>
                      <a:pt x="1284" y="215"/>
                      <a:pt x="1284" y="214"/>
                      <a:pt x="1284" y="214"/>
                    </a:cubicBezTo>
                    <a:cubicBezTo>
                      <a:pt x="1284" y="213"/>
                      <a:pt x="1284" y="213"/>
                      <a:pt x="1284" y="213"/>
                    </a:cubicBezTo>
                    <a:cubicBezTo>
                      <a:pt x="1284" y="213"/>
                      <a:pt x="1284" y="213"/>
                      <a:pt x="1284" y="213"/>
                    </a:cubicBezTo>
                    <a:cubicBezTo>
                      <a:pt x="1284" y="213"/>
                      <a:pt x="1284" y="213"/>
                      <a:pt x="1284" y="213"/>
                    </a:cubicBezTo>
                    <a:cubicBezTo>
                      <a:pt x="1284" y="211"/>
                      <a:pt x="1283" y="210"/>
                      <a:pt x="1282" y="208"/>
                    </a:cubicBezTo>
                    <a:cubicBezTo>
                      <a:pt x="1282" y="208"/>
                      <a:pt x="1282" y="208"/>
                      <a:pt x="1282" y="208"/>
                    </a:cubicBezTo>
                    <a:cubicBezTo>
                      <a:pt x="1282" y="208"/>
                      <a:pt x="1282" y="208"/>
                      <a:pt x="1282" y="208"/>
                    </a:cubicBezTo>
                    <a:cubicBezTo>
                      <a:pt x="1281" y="208"/>
                      <a:pt x="1281" y="208"/>
                      <a:pt x="1281" y="208"/>
                    </a:cubicBezTo>
                    <a:cubicBezTo>
                      <a:pt x="1281" y="207"/>
                      <a:pt x="1281" y="207"/>
                      <a:pt x="1281" y="207"/>
                    </a:cubicBezTo>
                    <a:cubicBezTo>
                      <a:pt x="1281" y="207"/>
                      <a:pt x="1281" y="207"/>
                      <a:pt x="1281" y="207"/>
                    </a:cubicBezTo>
                    <a:cubicBezTo>
                      <a:pt x="1280" y="207"/>
                      <a:pt x="1280" y="207"/>
                      <a:pt x="1280" y="207"/>
                    </a:cubicBezTo>
                    <a:cubicBezTo>
                      <a:pt x="1280" y="206"/>
                      <a:pt x="1280" y="206"/>
                      <a:pt x="1280" y="206"/>
                    </a:cubicBezTo>
                    <a:cubicBezTo>
                      <a:pt x="1280" y="206"/>
                      <a:pt x="1280" y="206"/>
                      <a:pt x="1280" y="206"/>
                    </a:cubicBezTo>
                    <a:cubicBezTo>
                      <a:pt x="1280" y="206"/>
                      <a:pt x="1280" y="206"/>
                      <a:pt x="1280" y="206"/>
                    </a:cubicBezTo>
                    <a:cubicBezTo>
                      <a:pt x="1280" y="205"/>
                      <a:pt x="1280" y="205"/>
                      <a:pt x="1280" y="205"/>
                    </a:cubicBezTo>
                    <a:cubicBezTo>
                      <a:pt x="1280" y="203"/>
                      <a:pt x="1280" y="203"/>
                      <a:pt x="1280" y="203"/>
                    </a:cubicBezTo>
                    <a:cubicBezTo>
                      <a:pt x="1281" y="199"/>
                      <a:pt x="1281" y="199"/>
                      <a:pt x="1281" y="199"/>
                    </a:cubicBezTo>
                    <a:cubicBezTo>
                      <a:pt x="1282" y="198"/>
                      <a:pt x="1282" y="197"/>
                      <a:pt x="1282" y="195"/>
                    </a:cubicBezTo>
                    <a:cubicBezTo>
                      <a:pt x="1282" y="195"/>
                      <a:pt x="1282" y="195"/>
                      <a:pt x="1282" y="195"/>
                    </a:cubicBezTo>
                    <a:cubicBezTo>
                      <a:pt x="1281" y="195"/>
                      <a:pt x="1281" y="195"/>
                      <a:pt x="1281" y="195"/>
                    </a:cubicBezTo>
                    <a:cubicBezTo>
                      <a:pt x="1281" y="195"/>
                      <a:pt x="1281" y="195"/>
                      <a:pt x="1281" y="195"/>
                    </a:cubicBezTo>
                    <a:cubicBezTo>
                      <a:pt x="1281" y="194"/>
                      <a:pt x="1281" y="194"/>
                      <a:pt x="1281" y="194"/>
                    </a:cubicBezTo>
                    <a:cubicBezTo>
                      <a:pt x="1280" y="194"/>
                      <a:pt x="1280" y="194"/>
                      <a:pt x="1280" y="194"/>
                    </a:cubicBezTo>
                    <a:cubicBezTo>
                      <a:pt x="1280" y="193"/>
                      <a:pt x="1280" y="193"/>
                      <a:pt x="1280" y="193"/>
                    </a:cubicBezTo>
                    <a:cubicBezTo>
                      <a:pt x="1279" y="193"/>
                      <a:pt x="1279" y="193"/>
                      <a:pt x="1279" y="193"/>
                    </a:cubicBezTo>
                    <a:cubicBezTo>
                      <a:pt x="1278" y="191"/>
                      <a:pt x="1278" y="191"/>
                      <a:pt x="1278" y="191"/>
                    </a:cubicBezTo>
                    <a:cubicBezTo>
                      <a:pt x="1277" y="190"/>
                      <a:pt x="1277" y="190"/>
                      <a:pt x="1277" y="190"/>
                    </a:cubicBezTo>
                    <a:cubicBezTo>
                      <a:pt x="1277" y="189"/>
                      <a:pt x="1277" y="189"/>
                      <a:pt x="1277" y="189"/>
                    </a:cubicBezTo>
                    <a:cubicBezTo>
                      <a:pt x="1278" y="189"/>
                      <a:pt x="1278" y="189"/>
                      <a:pt x="1278" y="189"/>
                    </a:cubicBezTo>
                    <a:cubicBezTo>
                      <a:pt x="1278" y="188"/>
                      <a:pt x="1279" y="187"/>
                      <a:pt x="1280" y="187"/>
                    </a:cubicBezTo>
                    <a:cubicBezTo>
                      <a:pt x="1280" y="186"/>
                      <a:pt x="1280" y="186"/>
                      <a:pt x="1280" y="186"/>
                    </a:cubicBezTo>
                    <a:cubicBezTo>
                      <a:pt x="1281" y="186"/>
                      <a:pt x="1281" y="186"/>
                      <a:pt x="1281" y="186"/>
                    </a:cubicBezTo>
                    <a:cubicBezTo>
                      <a:pt x="1282" y="185"/>
                      <a:pt x="1282" y="185"/>
                      <a:pt x="1282" y="185"/>
                    </a:cubicBezTo>
                    <a:cubicBezTo>
                      <a:pt x="1285" y="184"/>
                      <a:pt x="1285" y="184"/>
                      <a:pt x="1285" y="184"/>
                    </a:cubicBezTo>
                    <a:cubicBezTo>
                      <a:pt x="1286" y="183"/>
                      <a:pt x="1286" y="183"/>
                      <a:pt x="1286" y="183"/>
                    </a:cubicBezTo>
                    <a:cubicBezTo>
                      <a:pt x="1287" y="183"/>
                      <a:pt x="1287" y="183"/>
                      <a:pt x="1287" y="183"/>
                    </a:cubicBezTo>
                    <a:cubicBezTo>
                      <a:pt x="1286" y="182"/>
                      <a:pt x="1286" y="182"/>
                      <a:pt x="1286" y="182"/>
                    </a:cubicBezTo>
                    <a:cubicBezTo>
                      <a:pt x="1286" y="182"/>
                      <a:pt x="1286" y="182"/>
                      <a:pt x="1286" y="182"/>
                    </a:cubicBezTo>
                    <a:cubicBezTo>
                      <a:pt x="1286" y="182"/>
                      <a:pt x="1286" y="182"/>
                      <a:pt x="1286" y="182"/>
                    </a:cubicBezTo>
                    <a:cubicBezTo>
                      <a:pt x="1286" y="181"/>
                      <a:pt x="1286" y="181"/>
                      <a:pt x="1286" y="181"/>
                    </a:cubicBezTo>
                    <a:cubicBezTo>
                      <a:pt x="1286" y="181"/>
                      <a:pt x="1286" y="181"/>
                      <a:pt x="1286" y="181"/>
                    </a:cubicBezTo>
                    <a:cubicBezTo>
                      <a:pt x="1286" y="180"/>
                      <a:pt x="1287" y="178"/>
                      <a:pt x="1286" y="177"/>
                    </a:cubicBezTo>
                    <a:cubicBezTo>
                      <a:pt x="1286" y="176"/>
                      <a:pt x="1286" y="176"/>
                      <a:pt x="1286" y="176"/>
                    </a:cubicBezTo>
                    <a:cubicBezTo>
                      <a:pt x="1286" y="176"/>
                      <a:pt x="1286" y="176"/>
                      <a:pt x="1286" y="176"/>
                    </a:cubicBezTo>
                    <a:cubicBezTo>
                      <a:pt x="1286" y="176"/>
                      <a:pt x="1286" y="176"/>
                      <a:pt x="1286" y="176"/>
                    </a:cubicBezTo>
                    <a:cubicBezTo>
                      <a:pt x="1285" y="176"/>
                      <a:pt x="1285" y="176"/>
                      <a:pt x="1285" y="176"/>
                    </a:cubicBezTo>
                    <a:cubicBezTo>
                      <a:pt x="1285" y="175"/>
                      <a:pt x="1285" y="175"/>
                      <a:pt x="1285" y="175"/>
                    </a:cubicBezTo>
                    <a:cubicBezTo>
                      <a:pt x="1285" y="173"/>
                      <a:pt x="1285" y="173"/>
                      <a:pt x="1285" y="173"/>
                    </a:cubicBezTo>
                    <a:cubicBezTo>
                      <a:pt x="1286" y="171"/>
                      <a:pt x="1286" y="171"/>
                      <a:pt x="1286" y="171"/>
                    </a:cubicBezTo>
                    <a:cubicBezTo>
                      <a:pt x="1286" y="169"/>
                      <a:pt x="1286" y="169"/>
                      <a:pt x="1286" y="169"/>
                    </a:cubicBezTo>
                    <a:cubicBezTo>
                      <a:pt x="1287" y="168"/>
                      <a:pt x="1287" y="168"/>
                      <a:pt x="1287" y="168"/>
                    </a:cubicBezTo>
                    <a:cubicBezTo>
                      <a:pt x="1287" y="167"/>
                      <a:pt x="1287" y="167"/>
                      <a:pt x="1287" y="167"/>
                    </a:cubicBezTo>
                    <a:cubicBezTo>
                      <a:pt x="1287" y="167"/>
                      <a:pt x="1287" y="167"/>
                      <a:pt x="1287" y="167"/>
                    </a:cubicBezTo>
                    <a:cubicBezTo>
                      <a:pt x="1287" y="166"/>
                      <a:pt x="1287" y="166"/>
                      <a:pt x="1287" y="166"/>
                    </a:cubicBezTo>
                    <a:cubicBezTo>
                      <a:pt x="1287" y="165"/>
                      <a:pt x="1287" y="165"/>
                      <a:pt x="1287" y="165"/>
                    </a:cubicBezTo>
                    <a:cubicBezTo>
                      <a:pt x="1288" y="164"/>
                      <a:pt x="1288" y="164"/>
                      <a:pt x="1288" y="164"/>
                    </a:cubicBezTo>
                    <a:cubicBezTo>
                      <a:pt x="1288" y="163"/>
                      <a:pt x="1288" y="163"/>
                      <a:pt x="1288" y="163"/>
                    </a:cubicBezTo>
                    <a:cubicBezTo>
                      <a:pt x="1288" y="161"/>
                      <a:pt x="1289" y="160"/>
                      <a:pt x="1288" y="159"/>
                    </a:cubicBezTo>
                    <a:cubicBezTo>
                      <a:pt x="1287" y="158"/>
                      <a:pt x="1287" y="158"/>
                      <a:pt x="1287" y="158"/>
                    </a:cubicBezTo>
                    <a:cubicBezTo>
                      <a:pt x="1287" y="158"/>
                      <a:pt x="1287" y="158"/>
                      <a:pt x="1287" y="158"/>
                    </a:cubicBezTo>
                    <a:cubicBezTo>
                      <a:pt x="1285" y="156"/>
                      <a:pt x="1285" y="157"/>
                      <a:pt x="1284" y="155"/>
                    </a:cubicBezTo>
                    <a:cubicBezTo>
                      <a:pt x="1284" y="154"/>
                      <a:pt x="1284" y="154"/>
                      <a:pt x="1284" y="154"/>
                    </a:cubicBezTo>
                    <a:cubicBezTo>
                      <a:pt x="1284" y="154"/>
                      <a:pt x="1284" y="154"/>
                      <a:pt x="1284" y="154"/>
                    </a:cubicBezTo>
                    <a:cubicBezTo>
                      <a:pt x="1284" y="154"/>
                      <a:pt x="1284" y="154"/>
                      <a:pt x="1284" y="154"/>
                    </a:cubicBezTo>
                    <a:cubicBezTo>
                      <a:pt x="1283" y="153"/>
                      <a:pt x="1283" y="153"/>
                      <a:pt x="1283" y="153"/>
                    </a:cubicBezTo>
                    <a:cubicBezTo>
                      <a:pt x="1283" y="153"/>
                      <a:pt x="1283" y="153"/>
                      <a:pt x="1283" y="153"/>
                    </a:cubicBezTo>
                    <a:cubicBezTo>
                      <a:pt x="1283" y="153"/>
                      <a:pt x="1283" y="153"/>
                      <a:pt x="1283" y="153"/>
                    </a:cubicBezTo>
                    <a:cubicBezTo>
                      <a:pt x="1282" y="149"/>
                      <a:pt x="1285" y="149"/>
                      <a:pt x="1282" y="146"/>
                    </a:cubicBezTo>
                    <a:cubicBezTo>
                      <a:pt x="1282" y="146"/>
                      <a:pt x="1282" y="146"/>
                      <a:pt x="1282" y="146"/>
                    </a:cubicBezTo>
                    <a:cubicBezTo>
                      <a:pt x="1282" y="145"/>
                      <a:pt x="1282" y="145"/>
                      <a:pt x="1282" y="145"/>
                    </a:cubicBezTo>
                    <a:cubicBezTo>
                      <a:pt x="1280" y="144"/>
                      <a:pt x="1278" y="145"/>
                      <a:pt x="1275" y="143"/>
                    </a:cubicBezTo>
                    <a:cubicBezTo>
                      <a:pt x="1275" y="143"/>
                      <a:pt x="1275" y="143"/>
                      <a:pt x="1275" y="143"/>
                    </a:cubicBezTo>
                    <a:cubicBezTo>
                      <a:pt x="1274" y="142"/>
                      <a:pt x="1274" y="142"/>
                      <a:pt x="1274" y="142"/>
                    </a:cubicBezTo>
                    <a:cubicBezTo>
                      <a:pt x="1274" y="142"/>
                      <a:pt x="1274" y="142"/>
                      <a:pt x="1274" y="142"/>
                    </a:cubicBezTo>
                    <a:cubicBezTo>
                      <a:pt x="1269" y="139"/>
                      <a:pt x="1267" y="139"/>
                      <a:pt x="1264" y="135"/>
                    </a:cubicBezTo>
                    <a:cubicBezTo>
                      <a:pt x="1263" y="134"/>
                      <a:pt x="1263" y="134"/>
                      <a:pt x="1263" y="134"/>
                    </a:cubicBezTo>
                    <a:cubicBezTo>
                      <a:pt x="1263" y="134"/>
                      <a:pt x="1263" y="134"/>
                      <a:pt x="1263" y="134"/>
                    </a:cubicBezTo>
                    <a:cubicBezTo>
                      <a:pt x="1263" y="134"/>
                      <a:pt x="1263" y="134"/>
                      <a:pt x="1263" y="134"/>
                    </a:cubicBezTo>
                    <a:cubicBezTo>
                      <a:pt x="1262" y="133"/>
                      <a:pt x="1262" y="133"/>
                      <a:pt x="1262" y="133"/>
                    </a:cubicBezTo>
                    <a:cubicBezTo>
                      <a:pt x="1262" y="133"/>
                      <a:pt x="1262" y="133"/>
                      <a:pt x="1262" y="133"/>
                    </a:cubicBezTo>
                    <a:cubicBezTo>
                      <a:pt x="1262" y="133"/>
                      <a:pt x="1262" y="133"/>
                      <a:pt x="1262" y="133"/>
                    </a:cubicBezTo>
                    <a:cubicBezTo>
                      <a:pt x="1262" y="133"/>
                      <a:pt x="1262" y="133"/>
                      <a:pt x="1262" y="133"/>
                    </a:cubicBezTo>
                    <a:cubicBezTo>
                      <a:pt x="1260" y="128"/>
                      <a:pt x="1258" y="126"/>
                      <a:pt x="1262" y="125"/>
                    </a:cubicBezTo>
                    <a:cubicBezTo>
                      <a:pt x="1262" y="124"/>
                      <a:pt x="1262" y="124"/>
                      <a:pt x="1262" y="124"/>
                    </a:cubicBezTo>
                    <a:cubicBezTo>
                      <a:pt x="1263" y="124"/>
                      <a:pt x="1263" y="124"/>
                      <a:pt x="1263" y="124"/>
                    </a:cubicBezTo>
                    <a:cubicBezTo>
                      <a:pt x="1263" y="124"/>
                      <a:pt x="1263" y="123"/>
                      <a:pt x="1264" y="123"/>
                    </a:cubicBezTo>
                    <a:cubicBezTo>
                      <a:pt x="1264" y="123"/>
                      <a:pt x="1264" y="123"/>
                      <a:pt x="1264" y="123"/>
                    </a:cubicBezTo>
                    <a:cubicBezTo>
                      <a:pt x="1264" y="124"/>
                      <a:pt x="1264" y="124"/>
                      <a:pt x="1265" y="124"/>
                    </a:cubicBezTo>
                    <a:cubicBezTo>
                      <a:pt x="1265" y="124"/>
                      <a:pt x="1266" y="123"/>
                      <a:pt x="1268" y="122"/>
                    </a:cubicBezTo>
                    <a:cubicBezTo>
                      <a:pt x="1269" y="122"/>
                      <a:pt x="1269" y="122"/>
                      <a:pt x="1269" y="122"/>
                    </a:cubicBezTo>
                    <a:cubicBezTo>
                      <a:pt x="1270" y="120"/>
                      <a:pt x="1270" y="120"/>
                      <a:pt x="1270" y="120"/>
                    </a:cubicBezTo>
                    <a:cubicBezTo>
                      <a:pt x="1273" y="116"/>
                      <a:pt x="1273" y="116"/>
                      <a:pt x="1273" y="116"/>
                    </a:cubicBezTo>
                    <a:cubicBezTo>
                      <a:pt x="1273" y="112"/>
                      <a:pt x="1273" y="112"/>
                      <a:pt x="1273" y="112"/>
                    </a:cubicBezTo>
                    <a:cubicBezTo>
                      <a:pt x="1274" y="110"/>
                      <a:pt x="1274" y="110"/>
                      <a:pt x="1274" y="110"/>
                    </a:cubicBezTo>
                    <a:cubicBezTo>
                      <a:pt x="1274" y="109"/>
                      <a:pt x="1274" y="109"/>
                      <a:pt x="1274" y="109"/>
                    </a:cubicBezTo>
                    <a:cubicBezTo>
                      <a:pt x="1274" y="108"/>
                      <a:pt x="1274" y="108"/>
                      <a:pt x="1274" y="108"/>
                    </a:cubicBezTo>
                    <a:cubicBezTo>
                      <a:pt x="1274" y="108"/>
                      <a:pt x="1274" y="108"/>
                      <a:pt x="1274" y="108"/>
                    </a:cubicBezTo>
                    <a:cubicBezTo>
                      <a:pt x="1275" y="108"/>
                      <a:pt x="1275" y="108"/>
                      <a:pt x="1275" y="108"/>
                    </a:cubicBezTo>
                    <a:cubicBezTo>
                      <a:pt x="1275" y="108"/>
                      <a:pt x="1275" y="108"/>
                      <a:pt x="1275" y="108"/>
                    </a:cubicBezTo>
                    <a:cubicBezTo>
                      <a:pt x="1276" y="107"/>
                      <a:pt x="1276" y="107"/>
                      <a:pt x="1276" y="107"/>
                    </a:cubicBezTo>
                    <a:cubicBezTo>
                      <a:pt x="1276" y="107"/>
                      <a:pt x="1276" y="107"/>
                      <a:pt x="1276" y="107"/>
                    </a:cubicBezTo>
                    <a:cubicBezTo>
                      <a:pt x="1277" y="107"/>
                      <a:pt x="1277" y="107"/>
                      <a:pt x="1277" y="107"/>
                    </a:cubicBezTo>
                    <a:cubicBezTo>
                      <a:pt x="1277" y="106"/>
                      <a:pt x="1277" y="106"/>
                      <a:pt x="1277" y="106"/>
                    </a:cubicBezTo>
                    <a:cubicBezTo>
                      <a:pt x="1278" y="105"/>
                      <a:pt x="1278" y="105"/>
                      <a:pt x="1278" y="105"/>
                    </a:cubicBezTo>
                    <a:cubicBezTo>
                      <a:pt x="1280" y="101"/>
                      <a:pt x="1280" y="101"/>
                      <a:pt x="1280" y="101"/>
                    </a:cubicBezTo>
                    <a:cubicBezTo>
                      <a:pt x="1281" y="99"/>
                      <a:pt x="1281" y="99"/>
                      <a:pt x="1281" y="99"/>
                    </a:cubicBezTo>
                    <a:cubicBezTo>
                      <a:pt x="1281" y="98"/>
                      <a:pt x="1281" y="98"/>
                      <a:pt x="1281" y="98"/>
                    </a:cubicBezTo>
                    <a:cubicBezTo>
                      <a:pt x="1282" y="96"/>
                      <a:pt x="1282" y="96"/>
                      <a:pt x="1282" y="96"/>
                    </a:cubicBezTo>
                    <a:cubicBezTo>
                      <a:pt x="1284" y="94"/>
                      <a:pt x="1284" y="94"/>
                      <a:pt x="1284" y="94"/>
                    </a:cubicBezTo>
                    <a:cubicBezTo>
                      <a:pt x="1288" y="89"/>
                      <a:pt x="1288" y="89"/>
                      <a:pt x="1288" y="89"/>
                    </a:cubicBezTo>
                    <a:cubicBezTo>
                      <a:pt x="1289" y="86"/>
                      <a:pt x="1289" y="86"/>
                      <a:pt x="1289" y="86"/>
                    </a:cubicBezTo>
                    <a:cubicBezTo>
                      <a:pt x="1290" y="85"/>
                      <a:pt x="1290" y="85"/>
                      <a:pt x="1290" y="85"/>
                    </a:cubicBezTo>
                    <a:cubicBezTo>
                      <a:pt x="1289" y="85"/>
                      <a:pt x="1289" y="85"/>
                      <a:pt x="1289" y="85"/>
                    </a:cubicBezTo>
                    <a:cubicBezTo>
                      <a:pt x="1289" y="84"/>
                      <a:pt x="1289" y="84"/>
                      <a:pt x="1289" y="84"/>
                    </a:cubicBezTo>
                    <a:cubicBezTo>
                      <a:pt x="1289" y="84"/>
                      <a:pt x="1289" y="84"/>
                      <a:pt x="1289" y="84"/>
                    </a:cubicBezTo>
                    <a:cubicBezTo>
                      <a:pt x="1289" y="84"/>
                      <a:pt x="1289" y="84"/>
                      <a:pt x="1289" y="84"/>
                    </a:cubicBezTo>
                    <a:cubicBezTo>
                      <a:pt x="1289" y="83"/>
                      <a:pt x="1289" y="83"/>
                      <a:pt x="1289" y="83"/>
                    </a:cubicBezTo>
                    <a:cubicBezTo>
                      <a:pt x="1288" y="83"/>
                      <a:pt x="1288" y="83"/>
                      <a:pt x="1288" y="83"/>
                    </a:cubicBezTo>
                    <a:cubicBezTo>
                      <a:pt x="1288" y="83"/>
                      <a:pt x="1288" y="83"/>
                      <a:pt x="1288" y="83"/>
                    </a:cubicBezTo>
                    <a:cubicBezTo>
                      <a:pt x="1288" y="82"/>
                      <a:pt x="1288" y="82"/>
                      <a:pt x="1288" y="82"/>
                    </a:cubicBezTo>
                    <a:cubicBezTo>
                      <a:pt x="1288" y="82"/>
                      <a:pt x="1288" y="82"/>
                      <a:pt x="1288" y="82"/>
                    </a:cubicBezTo>
                    <a:cubicBezTo>
                      <a:pt x="1288" y="81"/>
                      <a:pt x="1288" y="81"/>
                      <a:pt x="1288" y="81"/>
                    </a:cubicBezTo>
                    <a:cubicBezTo>
                      <a:pt x="1288" y="81"/>
                      <a:pt x="1288" y="81"/>
                      <a:pt x="1288" y="81"/>
                    </a:cubicBezTo>
                    <a:cubicBezTo>
                      <a:pt x="1287" y="80"/>
                      <a:pt x="1287" y="80"/>
                      <a:pt x="1287" y="80"/>
                    </a:cubicBezTo>
                    <a:cubicBezTo>
                      <a:pt x="1287" y="80"/>
                      <a:pt x="1287" y="80"/>
                      <a:pt x="1287" y="80"/>
                    </a:cubicBezTo>
                    <a:cubicBezTo>
                      <a:pt x="1287" y="80"/>
                      <a:pt x="1287" y="80"/>
                      <a:pt x="1287" y="80"/>
                    </a:cubicBezTo>
                    <a:cubicBezTo>
                      <a:pt x="1287" y="79"/>
                      <a:pt x="1287" y="79"/>
                      <a:pt x="1287" y="79"/>
                    </a:cubicBezTo>
                    <a:cubicBezTo>
                      <a:pt x="1288" y="78"/>
                      <a:pt x="1288" y="78"/>
                      <a:pt x="1288" y="78"/>
                    </a:cubicBezTo>
                    <a:cubicBezTo>
                      <a:pt x="1288" y="74"/>
                      <a:pt x="1288" y="74"/>
                      <a:pt x="1288" y="74"/>
                    </a:cubicBezTo>
                    <a:cubicBezTo>
                      <a:pt x="1288" y="71"/>
                      <a:pt x="1288" y="71"/>
                      <a:pt x="1288" y="71"/>
                    </a:cubicBezTo>
                    <a:cubicBezTo>
                      <a:pt x="1288" y="65"/>
                      <a:pt x="1288" y="65"/>
                      <a:pt x="1288" y="65"/>
                    </a:cubicBezTo>
                    <a:cubicBezTo>
                      <a:pt x="1288" y="63"/>
                      <a:pt x="1288" y="63"/>
                      <a:pt x="1288" y="63"/>
                    </a:cubicBezTo>
                    <a:cubicBezTo>
                      <a:pt x="1287" y="62"/>
                      <a:pt x="1287" y="62"/>
                      <a:pt x="1287" y="62"/>
                    </a:cubicBezTo>
                    <a:cubicBezTo>
                      <a:pt x="1284" y="62"/>
                      <a:pt x="1282" y="61"/>
                      <a:pt x="1280" y="60"/>
                    </a:cubicBezTo>
                    <a:cubicBezTo>
                      <a:pt x="1279" y="60"/>
                      <a:pt x="1279" y="60"/>
                      <a:pt x="1279" y="60"/>
                    </a:cubicBezTo>
                    <a:cubicBezTo>
                      <a:pt x="1279" y="60"/>
                      <a:pt x="1279" y="60"/>
                      <a:pt x="1279" y="60"/>
                    </a:cubicBezTo>
                    <a:cubicBezTo>
                      <a:pt x="1278" y="59"/>
                      <a:pt x="1278" y="59"/>
                      <a:pt x="1278" y="59"/>
                    </a:cubicBezTo>
                    <a:cubicBezTo>
                      <a:pt x="1277" y="59"/>
                      <a:pt x="1277" y="59"/>
                      <a:pt x="1277" y="59"/>
                    </a:cubicBezTo>
                    <a:cubicBezTo>
                      <a:pt x="1275" y="59"/>
                      <a:pt x="1273" y="58"/>
                      <a:pt x="1271" y="57"/>
                    </a:cubicBezTo>
                    <a:cubicBezTo>
                      <a:pt x="1270" y="57"/>
                      <a:pt x="1270" y="57"/>
                      <a:pt x="1270" y="57"/>
                    </a:cubicBezTo>
                    <a:cubicBezTo>
                      <a:pt x="1269" y="57"/>
                      <a:pt x="1269" y="57"/>
                      <a:pt x="1269" y="57"/>
                    </a:cubicBezTo>
                    <a:cubicBezTo>
                      <a:pt x="1268" y="56"/>
                      <a:pt x="1268" y="56"/>
                      <a:pt x="1267" y="56"/>
                    </a:cubicBezTo>
                    <a:cubicBezTo>
                      <a:pt x="1266" y="56"/>
                      <a:pt x="1266" y="57"/>
                      <a:pt x="1264" y="58"/>
                    </a:cubicBezTo>
                    <a:cubicBezTo>
                      <a:pt x="1263" y="58"/>
                      <a:pt x="1263" y="58"/>
                      <a:pt x="1263" y="58"/>
                    </a:cubicBezTo>
                    <a:cubicBezTo>
                      <a:pt x="1263" y="58"/>
                      <a:pt x="1263" y="58"/>
                      <a:pt x="1263" y="58"/>
                    </a:cubicBezTo>
                    <a:cubicBezTo>
                      <a:pt x="1262" y="58"/>
                      <a:pt x="1262" y="58"/>
                      <a:pt x="1262" y="58"/>
                    </a:cubicBezTo>
                    <a:cubicBezTo>
                      <a:pt x="1260" y="57"/>
                      <a:pt x="1260" y="57"/>
                      <a:pt x="1260" y="57"/>
                    </a:cubicBezTo>
                    <a:cubicBezTo>
                      <a:pt x="1260" y="57"/>
                      <a:pt x="1260" y="57"/>
                      <a:pt x="1260" y="57"/>
                    </a:cubicBezTo>
                    <a:cubicBezTo>
                      <a:pt x="1261" y="57"/>
                      <a:pt x="1261" y="57"/>
                      <a:pt x="1261" y="57"/>
                    </a:cubicBezTo>
                    <a:cubicBezTo>
                      <a:pt x="1262" y="57"/>
                      <a:pt x="1262" y="57"/>
                      <a:pt x="1262" y="57"/>
                    </a:cubicBezTo>
                    <a:cubicBezTo>
                      <a:pt x="1263" y="56"/>
                      <a:pt x="1263" y="56"/>
                      <a:pt x="1263" y="56"/>
                    </a:cubicBezTo>
                    <a:cubicBezTo>
                      <a:pt x="1264" y="56"/>
                      <a:pt x="1264" y="56"/>
                      <a:pt x="1264" y="56"/>
                    </a:cubicBezTo>
                    <a:cubicBezTo>
                      <a:pt x="1264" y="56"/>
                      <a:pt x="1264" y="56"/>
                      <a:pt x="1264" y="56"/>
                    </a:cubicBezTo>
                    <a:cubicBezTo>
                      <a:pt x="1263" y="55"/>
                      <a:pt x="1263" y="55"/>
                      <a:pt x="1263" y="55"/>
                    </a:cubicBezTo>
                    <a:cubicBezTo>
                      <a:pt x="1263" y="55"/>
                      <a:pt x="1263" y="55"/>
                      <a:pt x="1263" y="55"/>
                    </a:cubicBezTo>
                    <a:cubicBezTo>
                      <a:pt x="1262" y="55"/>
                      <a:pt x="1262" y="55"/>
                      <a:pt x="1262" y="55"/>
                    </a:cubicBezTo>
                    <a:cubicBezTo>
                      <a:pt x="1255" y="55"/>
                      <a:pt x="1255" y="52"/>
                      <a:pt x="1250" y="52"/>
                    </a:cubicBezTo>
                    <a:cubicBezTo>
                      <a:pt x="1249" y="52"/>
                      <a:pt x="1248" y="52"/>
                      <a:pt x="1247" y="52"/>
                    </a:cubicBezTo>
                    <a:cubicBezTo>
                      <a:pt x="1246" y="52"/>
                      <a:pt x="1246" y="52"/>
                      <a:pt x="1246" y="52"/>
                    </a:cubicBezTo>
                    <a:cubicBezTo>
                      <a:pt x="1246" y="52"/>
                      <a:pt x="1246" y="52"/>
                      <a:pt x="1246" y="52"/>
                    </a:cubicBezTo>
                    <a:cubicBezTo>
                      <a:pt x="1245" y="53"/>
                      <a:pt x="1245" y="53"/>
                      <a:pt x="1245" y="53"/>
                    </a:cubicBezTo>
                    <a:cubicBezTo>
                      <a:pt x="1244" y="53"/>
                      <a:pt x="1244" y="53"/>
                      <a:pt x="1243" y="53"/>
                    </a:cubicBezTo>
                    <a:cubicBezTo>
                      <a:pt x="1242" y="53"/>
                      <a:pt x="1242" y="53"/>
                      <a:pt x="1241" y="53"/>
                    </a:cubicBezTo>
                    <a:cubicBezTo>
                      <a:pt x="1241" y="52"/>
                      <a:pt x="1240" y="52"/>
                      <a:pt x="1240" y="52"/>
                    </a:cubicBezTo>
                    <a:cubicBezTo>
                      <a:pt x="1239" y="52"/>
                      <a:pt x="1239" y="52"/>
                      <a:pt x="1239" y="52"/>
                    </a:cubicBezTo>
                    <a:cubicBezTo>
                      <a:pt x="1238" y="52"/>
                      <a:pt x="1238" y="52"/>
                      <a:pt x="1238" y="52"/>
                    </a:cubicBezTo>
                    <a:cubicBezTo>
                      <a:pt x="1237" y="52"/>
                      <a:pt x="1237" y="52"/>
                      <a:pt x="1237" y="52"/>
                    </a:cubicBezTo>
                    <a:cubicBezTo>
                      <a:pt x="1237" y="52"/>
                      <a:pt x="1236" y="52"/>
                      <a:pt x="1235" y="52"/>
                    </a:cubicBezTo>
                    <a:cubicBezTo>
                      <a:pt x="1234" y="52"/>
                      <a:pt x="1233" y="53"/>
                      <a:pt x="1231" y="53"/>
                    </a:cubicBezTo>
                    <a:cubicBezTo>
                      <a:pt x="1231" y="53"/>
                      <a:pt x="1231" y="53"/>
                      <a:pt x="1231" y="53"/>
                    </a:cubicBezTo>
                    <a:cubicBezTo>
                      <a:pt x="1230" y="53"/>
                      <a:pt x="1230" y="53"/>
                      <a:pt x="1230" y="53"/>
                    </a:cubicBezTo>
                    <a:cubicBezTo>
                      <a:pt x="1230" y="53"/>
                      <a:pt x="1230" y="53"/>
                      <a:pt x="1230" y="53"/>
                    </a:cubicBezTo>
                    <a:cubicBezTo>
                      <a:pt x="1229" y="53"/>
                      <a:pt x="1229" y="53"/>
                      <a:pt x="1229" y="53"/>
                    </a:cubicBezTo>
                    <a:cubicBezTo>
                      <a:pt x="1229" y="53"/>
                      <a:pt x="1229" y="53"/>
                      <a:pt x="1229" y="53"/>
                    </a:cubicBezTo>
                    <a:cubicBezTo>
                      <a:pt x="1224" y="53"/>
                      <a:pt x="1220" y="52"/>
                      <a:pt x="1216" y="52"/>
                    </a:cubicBezTo>
                    <a:cubicBezTo>
                      <a:pt x="1215" y="52"/>
                      <a:pt x="1214" y="53"/>
                      <a:pt x="1213" y="53"/>
                    </a:cubicBezTo>
                    <a:cubicBezTo>
                      <a:pt x="1212" y="53"/>
                      <a:pt x="1212" y="53"/>
                      <a:pt x="1212" y="53"/>
                    </a:cubicBezTo>
                    <a:cubicBezTo>
                      <a:pt x="1212" y="53"/>
                      <a:pt x="1212" y="53"/>
                      <a:pt x="1212" y="53"/>
                    </a:cubicBezTo>
                    <a:cubicBezTo>
                      <a:pt x="1211" y="53"/>
                      <a:pt x="1211" y="53"/>
                      <a:pt x="1211" y="53"/>
                    </a:cubicBezTo>
                    <a:cubicBezTo>
                      <a:pt x="1210" y="53"/>
                      <a:pt x="1209" y="53"/>
                      <a:pt x="1207" y="53"/>
                    </a:cubicBezTo>
                    <a:cubicBezTo>
                      <a:pt x="1207" y="53"/>
                      <a:pt x="1206" y="53"/>
                      <a:pt x="1206" y="53"/>
                    </a:cubicBezTo>
                    <a:cubicBezTo>
                      <a:pt x="1205" y="53"/>
                      <a:pt x="1205" y="53"/>
                      <a:pt x="1205" y="53"/>
                    </a:cubicBezTo>
                    <a:cubicBezTo>
                      <a:pt x="1203" y="53"/>
                      <a:pt x="1201" y="54"/>
                      <a:pt x="1199" y="54"/>
                    </a:cubicBezTo>
                    <a:cubicBezTo>
                      <a:pt x="1199" y="54"/>
                      <a:pt x="1198" y="54"/>
                      <a:pt x="1198" y="54"/>
                    </a:cubicBezTo>
                    <a:cubicBezTo>
                      <a:pt x="1197" y="54"/>
                      <a:pt x="1197" y="54"/>
                      <a:pt x="1197" y="54"/>
                    </a:cubicBezTo>
                    <a:cubicBezTo>
                      <a:pt x="1196" y="53"/>
                      <a:pt x="1196" y="53"/>
                      <a:pt x="1196" y="53"/>
                    </a:cubicBezTo>
                    <a:cubicBezTo>
                      <a:pt x="1195" y="52"/>
                      <a:pt x="1195" y="52"/>
                      <a:pt x="1195" y="52"/>
                    </a:cubicBezTo>
                    <a:cubicBezTo>
                      <a:pt x="1195" y="52"/>
                      <a:pt x="1195" y="52"/>
                      <a:pt x="1195" y="52"/>
                    </a:cubicBezTo>
                    <a:cubicBezTo>
                      <a:pt x="1195" y="52"/>
                      <a:pt x="1195" y="52"/>
                      <a:pt x="1195" y="52"/>
                    </a:cubicBezTo>
                    <a:cubicBezTo>
                      <a:pt x="1198" y="51"/>
                      <a:pt x="1199" y="51"/>
                      <a:pt x="1201" y="50"/>
                    </a:cubicBezTo>
                    <a:cubicBezTo>
                      <a:pt x="1201" y="49"/>
                      <a:pt x="1201" y="49"/>
                      <a:pt x="1201" y="49"/>
                    </a:cubicBezTo>
                    <a:cubicBezTo>
                      <a:pt x="1201" y="49"/>
                      <a:pt x="1201" y="49"/>
                      <a:pt x="1201" y="49"/>
                    </a:cubicBezTo>
                    <a:cubicBezTo>
                      <a:pt x="1200" y="49"/>
                      <a:pt x="1200" y="49"/>
                      <a:pt x="1200" y="49"/>
                    </a:cubicBezTo>
                    <a:cubicBezTo>
                      <a:pt x="1200" y="49"/>
                      <a:pt x="1200" y="49"/>
                      <a:pt x="1200" y="49"/>
                    </a:cubicBezTo>
                    <a:cubicBezTo>
                      <a:pt x="1199" y="49"/>
                      <a:pt x="1199" y="49"/>
                      <a:pt x="1199" y="49"/>
                    </a:cubicBezTo>
                    <a:cubicBezTo>
                      <a:pt x="1198" y="49"/>
                      <a:pt x="1197" y="49"/>
                      <a:pt x="1195" y="49"/>
                    </a:cubicBezTo>
                    <a:cubicBezTo>
                      <a:pt x="1192" y="49"/>
                      <a:pt x="1188" y="49"/>
                      <a:pt x="1188" y="52"/>
                    </a:cubicBezTo>
                    <a:cubicBezTo>
                      <a:pt x="1188" y="52"/>
                      <a:pt x="1188" y="52"/>
                      <a:pt x="1188" y="52"/>
                    </a:cubicBezTo>
                    <a:cubicBezTo>
                      <a:pt x="1188" y="52"/>
                      <a:pt x="1188" y="52"/>
                      <a:pt x="1188" y="52"/>
                    </a:cubicBezTo>
                    <a:cubicBezTo>
                      <a:pt x="1188" y="53"/>
                      <a:pt x="1188" y="53"/>
                      <a:pt x="1188" y="53"/>
                    </a:cubicBezTo>
                    <a:cubicBezTo>
                      <a:pt x="1188" y="54"/>
                      <a:pt x="1188" y="55"/>
                      <a:pt x="1187" y="56"/>
                    </a:cubicBezTo>
                    <a:cubicBezTo>
                      <a:pt x="1187" y="56"/>
                      <a:pt x="1187" y="56"/>
                      <a:pt x="1187" y="56"/>
                    </a:cubicBezTo>
                    <a:cubicBezTo>
                      <a:pt x="1187" y="56"/>
                      <a:pt x="1187" y="56"/>
                      <a:pt x="1187" y="56"/>
                    </a:cubicBezTo>
                    <a:cubicBezTo>
                      <a:pt x="1186" y="58"/>
                      <a:pt x="1185" y="59"/>
                      <a:pt x="1184" y="60"/>
                    </a:cubicBezTo>
                    <a:cubicBezTo>
                      <a:pt x="1184" y="60"/>
                      <a:pt x="1184" y="60"/>
                      <a:pt x="1184" y="60"/>
                    </a:cubicBezTo>
                    <a:cubicBezTo>
                      <a:pt x="1183" y="60"/>
                      <a:pt x="1183" y="60"/>
                      <a:pt x="1183" y="60"/>
                    </a:cubicBezTo>
                    <a:cubicBezTo>
                      <a:pt x="1183" y="61"/>
                      <a:pt x="1183" y="61"/>
                      <a:pt x="1183" y="61"/>
                    </a:cubicBezTo>
                    <a:cubicBezTo>
                      <a:pt x="1181" y="61"/>
                      <a:pt x="1181" y="61"/>
                      <a:pt x="1181" y="61"/>
                    </a:cubicBezTo>
                    <a:cubicBezTo>
                      <a:pt x="1181" y="61"/>
                      <a:pt x="1181" y="61"/>
                      <a:pt x="1181" y="61"/>
                    </a:cubicBezTo>
                    <a:cubicBezTo>
                      <a:pt x="1181" y="62"/>
                      <a:pt x="1181" y="62"/>
                      <a:pt x="1181" y="62"/>
                    </a:cubicBezTo>
                    <a:cubicBezTo>
                      <a:pt x="1180" y="63"/>
                      <a:pt x="1180" y="63"/>
                      <a:pt x="1180" y="63"/>
                    </a:cubicBezTo>
                    <a:cubicBezTo>
                      <a:pt x="1180" y="65"/>
                      <a:pt x="1180" y="65"/>
                      <a:pt x="1180" y="65"/>
                    </a:cubicBezTo>
                    <a:cubicBezTo>
                      <a:pt x="1180" y="65"/>
                      <a:pt x="1180" y="65"/>
                      <a:pt x="1180" y="65"/>
                    </a:cubicBezTo>
                    <a:cubicBezTo>
                      <a:pt x="1180" y="66"/>
                      <a:pt x="1180" y="66"/>
                      <a:pt x="1180" y="66"/>
                    </a:cubicBezTo>
                    <a:cubicBezTo>
                      <a:pt x="1179" y="66"/>
                      <a:pt x="1179" y="66"/>
                      <a:pt x="1179" y="66"/>
                    </a:cubicBezTo>
                    <a:cubicBezTo>
                      <a:pt x="1179" y="66"/>
                      <a:pt x="1179" y="66"/>
                      <a:pt x="1179" y="66"/>
                    </a:cubicBezTo>
                    <a:cubicBezTo>
                      <a:pt x="1179" y="66"/>
                      <a:pt x="1179" y="66"/>
                      <a:pt x="1179" y="66"/>
                    </a:cubicBezTo>
                    <a:cubicBezTo>
                      <a:pt x="1179" y="66"/>
                      <a:pt x="1179" y="66"/>
                      <a:pt x="1179" y="66"/>
                    </a:cubicBezTo>
                    <a:cubicBezTo>
                      <a:pt x="1178" y="66"/>
                      <a:pt x="1178" y="66"/>
                      <a:pt x="1178" y="66"/>
                    </a:cubicBezTo>
                    <a:cubicBezTo>
                      <a:pt x="1178" y="67"/>
                      <a:pt x="1178" y="67"/>
                      <a:pt x="1178" y="67"/>
                    </a:cubicBezTo>
                    <a:cubicBezTo>
                      <a:pt x="1178" y="68"/>
                      <a:pt x="1178" y="69"/>
                      <a:pt x="1177" y="70"/>
                    </a:cubicBezTo>
                    <a:cubicBezTo>
                      <a:pt x="1177" y="70"/>
                      <a:pt x="1177" y="70"/>
                      <a:pt x="1177" y="70"/>
                    </a:cubicBezTo>
                    <a:cubicBezTo>
                      <a:pt x="1177" y="70"/>
                      <a:pt x="1177" y="70"/>
                      <a:pt x="1177" y="70"/>
                    </a:cubicBezTo>
                    <a:cubicBezTo>
                      <a:pt x="1177" y="71"/>
                      <a:pt x="1177" y="71"/>
                      <a:pt x="1177" y="71"/>
                    </a:cubicBezTo>
                    <a:cubicBezTo>
                      <a:pt x="1177" y="71"/>
                      <a:pt x="1177" y="71"/>
                      <a:pt x="1177" y="71"/>
                    </a:cubicBezTo>
                    <a:cubicBezTo>
                      <a:pt x="1176" y="72"/>
                      <a:pt x="1176" y="72"/>
                      <a:pt x="1176" y="72"/>
                    </a:cubicBezTo>
                    <a:cubicBezTo>
                      <a:pt x="1176" y="72"/>
                      <a:pt x="1176" y="72"/>
                      <a:pt x="1176" y="72"/>
                    </a:cubicBezTo>
                    <a:cubicBezTo>
                      <a:pt x="1177" y="74"/>
                      <a:pt x="1177" y="74"/>
                      <a:pt x="1177" y="74"/>
                    </a:cubicBezTo>
                    <a:cubicBezTo>
                      <a:pt x="1177" y="75"/>
                      <a:pt x="1177" y="75"/>
                      <a:pt x="1177" y="75"/>
                    </a:cubicBezTo>
                    <a:cubicBezTo>
                      <a:pt x="1176" y="75"/>
                      <a:pt x="1176" y="75"/>
                      <a:pt x="1176" y="75"/>
                    </a:cubicBezTo>
                    <a:cubicBezTo>
                      <a:pt x="1176" y="75"/>
                      <a:pt x="1176" y="75"/>
                      <a:pt x="1176" y="75"/>
                    </a:cubicBezTo>
                    <a:cubicBezTo>
                      <a:pt x="1176" y="76"/>
                      <a:pt x="1176" y="76"/>
                      <a:pt x="1176" y="76"/>
                    </a:cubicBezTo>
                    <a:cubicBezTo>
                      <a:pt x="1175" y="76"/>
                      <a:pt x="1175" y="76"/>
                      <a:pt x="1175" y="76"/>
                    </a:cubicBezTo>
                    <a:cubicBezTo>
                      <a:pt x="1175" y="76"/>
                      <a:pt x="1175" y="76"/>
                      <a:pt x="1175" y="76"/>
                    </a:cubicBezTo>
                    <a:cubicBezTo>
                      <a:pt x="1175" y="77"/>
                      <a:pt x="1175" y="77"/>
                      <a:pt x="1175" y="77"/>
                    </a:cubicBezTo>
                    <a:cubicBezTo>
                      <a:pt x="1175" y="77"/>
                      <a:pt x="1175" y="77"/>
                      <a:pt x="1175" y="77"/>
                    </a:cubicBezTo>
                    <a:cubicBezTo>
                      <a:pt x="1175" y="77"/>
                      <a:pt x="1175" y="77"/>
                      <a:pt x="1175" y="77"/>
                    </a:cubicBezTo>
                    <a:cubicBezTo>
                      <a:pt x="1175" y="78"/>
                      <a:pt x="1175" y="78"/>
                      <a:pt x="1175" y="78"/>
                    </a:cubicBezTo>
                    <a:cubicBezTo>
                      <a:pt x="1175" y="78"/>
                      <a:pt x="1175" y="78"/>
                      <a:pt x="1175" y="78"/>
                    </a:cubicBezTo>
                    <a:cubicBezTo>
                      <a:pt x="1175" y="78"/>
                      <a:pt x="1175" y="78"/>
                      <a:pt x="1175" y="78"/>
                    </a:cubicBezTo>
                    <a:cubicBezTo>
                      <a:pt x="1175" y="79"/>
                      <a:pt x="1175" y="79"/>
                      <a:pt x="1175" y="79"/>
                    </a:cubicBezTo>
                    <a:cubicBezTo>
                      <a:pt x="1174" y="79"/>
                      <a:pt x="1174" y="79"/>
                      <a:pt x="1174" y="79"/>
                    </a:cubicBezTo>
                    <a:cubicBezTo>
                      <a:pt x="1174" y="79"/>
                      <a:pt x="1174" y="79"/>
                      <a:pt x="1174" y="79"/>
                    </a:cubicBezTo>
                    <a:cubicBezTo>
                      <a:pt x="1174" y="80"/>
                      <a:pt x="1174" y="80"/>
                      <a:pt x="1174" y="80"/>
                    </a:cubicBezTo>
                    <a:cubicBezTo>
                      <a:pt x="1174" y="80"/>
                      <a:pt x="1174" y="80"/>
                      <a:pt x="1174" y="80"/>
                    </a:cubicBezTo>
                    <a:cubicBezTo>
                      <a:pt x="1174" y="80"/>
                      <a:pt x="1174" y="80"/>
                      <a:pt x="1174" y="80"/>
                    </a:cubicBezTo>
                    <a:cubicBezTo>
                      <a:pt x="1174" y="81"/>
                      <a:pt x="1174" y="81"/>
                      <a:pt x="1174" y="81"/>
                    </a:cubicBezTo>
                    <a:cubicBezTo>
                      <a:pt x="1174" y="81"/>
                      <a:pt x="1174" y="81"/>
                      <a:pt x="1174" y="81"/>
                    </a:cubicBezTo>
                    <a:cubicBezTo>
                      <a:pt x="1174" y="81"/>
                      <a:pt x="1174" y="81"/>
                      <a:pt x="1174" y="81"/>
                    </a:cubicBezTo>
                    <a:cubicBezTo>
                      <a:pt x="1174" y="82"/>
                      <a:pt x="1174" y="82"/>
                      <a:pt x="1174" y="82"/>
                    </a:cubicBezTo>
                    <a:cubicBezTo>
                      <a:pt x="1174" y="82"/>
                      <a:pt x="1174" y="82"/>
                      <a:pt x="1174" y="82"/>
                    </a:cubicBezTo>
                    <a:cubicBezTo>
                      <a:pt x="1174" y="83"/>
                      <a:pt x="1174" y="83"/>
                      <a:pt x="1174" y="83"/>
                    </a:cubicBezTo>
                    <a:cubicBezTo>
                      <a:pt x="1174" y="83"/>
                      <a:pt x="1174" y="83"/>
                      <a:pt x="1174" y="83"/>
                    </a:cubicBezTo>
                    <a:cubicBezTo>
                      <a:pt x="1174" y="84"/>
                      <a:pt x="1173" y="83"/>
                      <a:pt x="1173" y="86"/>
                    </a:cubicBezTo>
                    <a:cubicBezTo>
                      <a:pt x="1173" y="86"/>
                      <a:pt x="1173" y="86"/>
                      <a:pt x="1173" y="86"/>
                    </a:cubicBezTo>
                    <a:cubicBezTo>
                      <a:pt x="1173" y="86"/>
                      <a:pt x="1173" y="86"/>
                      <a:pt x="1173" y="86"/>
                    </a:cubicBezTo>
                    <a:cubicBezTo>
                      <a:pt x="1172" y="88"/>
                      <a:pt x="1172" y="88"/>
                      <a:pt x="1172" y="89"/>
                    </a:cubicBezTo>
                    <a:cubicBezTo>
                      <a:pt x="1172" y="90"/>
                      <a:pt x="1172" y="90"/>
                      <a:pt x="1172" y="90"/>
                    </a:cubicBezTo>
                    <a:cubicBezTo>
                      <a:pt x="1171" y="90"/>
                      <a:pt x="1171" y="90"/>
                      <a:pt x="1171" y="90"/>
                    </a:cubicBezTo>
                    <a:cubicBezTo>
                      <a:pt x="1171" y="90"/>
                      <a:pt x="1171" y="90"/>
                      <a:pt x="1171" y="90"/>
                    </a:cubicBezTo>
                    <a:cubicBezTo>
                      <a:pt x="1171" y="91"/>
                      <a:pt x="1171" y="91"/>
                      <a:pt x="1171" y="91"/>
                    </a:cubicBezTo>
                    <a:cubicBezTo>
                      <a:pt x="1171" y="92"/>
                      <a:pt x="1170" y="93"/>
                      <a:pt x="1170" y="94"/>
                    </a:cubicBezTo>
                    <a:cubicBezTo>
                      <a:pt x="1170" y="94"/>
                      <a:pt x="1170" y="94"/>
                      <a:pt x="1170" y="94"/>
                    </a:cubicBezTo>
                    <a:cubicBezTo>
                      <a:pt x="1169" y="96"/>
                      <a:pt x="1169" y="96"/>
                      <a:pt x="1169" y="98"/>
                    </a:cubicBezTo>
                    <a:cubicBezTo>
                      <a:pt x="1169" y="98"/>
                      <a:pt x="1169" y="98"/>
                      <a:pt x="1169" y="98"/>
                    </a:cubicBezTo>
                    <a:cubicBezTo>
                      <a:pt x="1169" y="98"/>
                      <a:pt x="1169" y="98"/>
                      <a:pt x="1169" y="98"/>
                    </a:cubicBezTo>
                    <a:cubicBezTo>
                      <a:pt x="1169" y="99"/>
                      <a:pt x="1169" y="99"/>
                      <a:pt x="1169" y="99"/>
                    </a:cubicBezTo>
                    <a:cubicBezTo>
                      <a:pt x="1169" y="99"/>
                      <a:pt x="1169" y="99"/>
                      <a:pt x="1169" y="99"/>
                    </a:cubicBezTo>
                    <a:cubicBezTo>
                      <a:pt x="1168" y="100"/>
                      <a:pt x="1168" y="100"/>
                      <a:pt x="1168" y="100"/>
                    </a:cubicBezTo>
                    <a:cubicBezTo>
                      <a:pt x="1168" y="100"/>
                      <a:pt x="1167" y="101"/>
                      <a:pt x="1167" y="102"/>
                    </a:cubicBezTo>
                    <a:cubicBezTo>
                      <a:pt x="1167" y="102"/>
                      <a:pt x="1167" y="102"/>
                      <a:pt x="1167" y="102"/>
                    </a:cubicBezTo>
                    <a:cubicBezTo>
                      <a:pt x="1167" y="103"/>
                      <a:pt x="1167" y="103"/>
                      <a:pt x="1167" y="103"/>
                    </a:cubicBezTo>
                    <a:cubicBezTo>
                      <a:pt x="1167" y="104"/>
                      <a:pt x="1167" y="104"/>
                      <a:pt x="1166" y="106"/>
                    </a:cubicBezTo>
                    <a:cubicBezTo>
                      <a:pt x="1165" y="106"/>
                      <a:pt x="1165" y="106"/>
                      <a:pt x="1165" y="106"/>
                    </a:cubicBezTo>
                    <a:cubicBezTo>
                      <a:pt x="1165" y="107"/>
                      <a:pt x="1165" y="107"/>
                      <a:pt x="1165" y="107"/>
                    </a:cubicBezTo>
                    <a:cubicBezTo>
                      <a:pt x="1165" y="107"/>
                      <a:pt x="1165" y="107"/>
                      <a:pt x="1165" y="107"/>
                    </a:cubicBezTo>
                    <a:cubicBezTo>
                      <a:pt x="1164" y="112"/>
                      <a:pt x="1164" y="110"/>
                      <a:pt x="1161" y="115"/>
                    </a:cubicBezTo>
                    <a:cubicBezTo>
                      <a:pt x="1160" y="115"/>
                      <a:pt x="1160" y="115"/>
                      <a:pt x="1160" y="115"/>
                    </a:cubicBezTo>
                    <a:cubicBezTo>
                      <a:pt x="1160" y="116"/>
                      <a:pt x="1160" y="116"/>
                      <a:pt x="1160" y="116"/>
                    </a:cubicBezTo>
                    <a:cubicBezTo>
                      <a:pt x="1160" y="117"/>
                      <a:pt x="1160" y="117"/>
                      <a:pt x="1160" y="117"/>
                    </a:cubicBezTo>
                    <a:cubicBezTo>
                      <a:pt x="1160" y="118"/>
                      <a:pt x="1160" y="118"/>
                      <a:pt x="1160" y="118"/>
                    </a:cubicBezTo>
                    <a:cubicBezTo>
                      <a:pt x="1160" y="118"/>
                      <a:pt x="1160" y="118"/>
                      <a:pt x="1160" y="118"/>
                    </a:cubicBezTo>
                    <a:cubicBezTo>
                      <a:pt x="1160" y="117"/>
                      <a:pt x="1160" y="117"/>
                      <a:pt x="1160" y="117"/>
                    </a:cubicBezTo>
                    <a:cubicBezTo>
                      <a:pt x="1160" y="117"/>
                      <a:pt x="1160" y="117"/>
                      <a:pt x="1160" y="117"/>
                    </a:cubicBezTo>
                    <a:cubicBezTo>
                      <a:pt x="1159" y="117"/>
                      <a:pt x="1159" y="117"/>
                      <a:pt x="1159" y="117"/>
                    </a:cubicBezTo>
                    <a:cubicBezTo>
                      <a:pt x="1158" y="117"/>
                      <a:pt x="1158" y="117"/>
                      <a:pt x="1158" y="117"/>
                    </a:cubicBezTo>
                    <a:cubicBezTo>
                      <a:pt x="1157" y="118"/>
                      <a:pt x="1155" y="121"/>
                      <a:pt x="1153" y="122"/>
                    </a:cubicBezTo>
                    <a:cubicBezTo>
                      <a:pt x="1153" y="123"/>
                      <a:pt x="1153" y="123"/>
                      <a:pt x="1153" y="123"/>
                    </a:cubicBezTo>
                    <a:cubicBezTo>
                      <a:pt x="1152" y="123"/>
                      <a:pt x="1152" y="123"/>
                      <a:pt x="1152" y="123"/>
                    </a:cubicBezTo>
                    <a:cubicBezTo>
                      <a:pt x="1152" y="123"/>
                      <a:pt x="1152" y="123"/>
                      <a:pt x="1152" y="123"/>
                    </a:cubicBezTo>
                    <a:cubicBezTo>
                      <a:pt x="1151" y="124"/>
                      <a:pt x="1151" y="124"/>
                      <a:pt x="1150" y="124"/>
                    </a:cubicBezTo>
                    <a:cubicBezTo>
                      <a:pt x="1150" y="125"/>
                      <a:pt x="1150" y="125"/>
                      <a:pt x="1150" y="125"/>
                    </a:cubicBezTo>
                    <a:cubicBezTo>
                      <a:pt x="1150" y="125"/>
                      <a:pt x="1150" y="125"/>
                      <a:pt x="1150" y="125"/>
                    </a:cubicBezTo>
                    <a:cubicBezTo>
                      <a:pt x="1149" y="126"/>
                      <a:pt x="1149" y="126"/>
                      <a:pt x="1148" y="126"/>
                    </a:cubicBezTo>
                    <a:cubicBezTo>
                      <a:pt x="1147" y="126"/>
                      <a:pt x="1147" y="126"/>
                      <a:pt x="1147" y="126"/>
                    </a:cubicBezTo>
                    <a:cubicBezTo>
                      <a:pt x="1147" y="127"/>
                      <a:pt x="1147" y="127"/>
                      <a:pt x="1147" y="127"/>
                    </a:cubicBezTo>
                    <a:cubicBezTo>
                      <a:pt x="1146" y="127"/>
                      <a:pt x="1146" y="127"/>
                      <a:pt x="1146" y="127"/>
                    </a:cubicBezTo>
                    <a:cubicBezTo>
                      <a:pt x="1146" y="127"/>
                      <a:pt x="1146" y="127"/>
                      <a:pt x="1146" y="127"/>
                    </a:cubicBezTo>
                    <a:cubicBezTo>
                      <a:pt x="1145" y="127"/>
                      <a:pt x="1145" y="127"/>
                      <a:pt x="1145" y="127"/>
                    </a:cubicBezTo>
                    <a:cubicBezTo>
                      <a:pt x="1145" y="128"/>
                      <a:pt x="1145" y="128"/>
                      <a:pt x="1145" y="128"/>
                    </a:cubicBezTo>
                    <a:cubicBezTo>
                      <a:pt x="1144" y="128"/>
                      <a:pt x="1144" y="129"/>
                      <a:pt x="1143" y="129"/>
                    </a:cubicBezTo>
                    <a:cubicBezTo>
                      <a:pt x="1142" y="129"/>
                      <a:pt x="1142" y="129"/>
                      <a:pt x="1142" y="129"/>
                    </a:cubicBezTo>
                    <a:cubicBezTo>
                      <a:pt x="1142" y="130"/>
                      <a:pt x="1142" y="130"/>
                      <a:pt x="1142" y="130"/>
                    </a:cubicBezTo>
                    <a:cubicBezTo>
                      <a:pt x="1141" y="130"/>
                      <a:pt x="1140" y="130"/>
                      <a:pt x="1139" y="131"/>
                    </a:cubicBezTo>
                    <a:cubicBezTo>
                      <a:pt x="1139" y="131"/>
                      <a:pt x="1139" y="131"/>
                      <a:pt x="1139" y="131"/>
                    </a:cubicBezTo>
                    <a:cubicBezTo>
                      <a:pt x="1139" y="131"/>
                      <a:pt x="1139" y="131"/>
                      <a:pt x="1139" y="131"/>
                    </a:cubicBezTo>
                    <a:cubicBezTo>
                      <a:pt x="1139" y="132"/>
                      <a:pt x="1139" y="132"/>
                      <a:pt x="1139" y="132"/>
                    </a:cubicBezTo>
                    <a:cubicBezTo>
                      <a:pt x="1139" y="132"/>
                      <a:pt x="1139" y="132"/>
                      <a:pt x="1139" y="132"/>
                    </a:cubicBezTo>
                    <a:cubicBezTo>
                      <a:pt x="1138" y="132"/>
                      <a:pt x="1137" y="132"/>
                      <a:pt x="1136" y="133"/>
                    </a:cubicBezTo>
                    <a:cubicBezTo>
                      <a:pt x="1136" y="133"/>
                      <a:pt x="1136" y="133"/>
                      <a:pt x="1136" y="133"/>
                    </a:cubicBezTo>
                    <a:cubicBezTo>
                      <a:pt x="1135" y="133"/>
                      <a:pt x="1135" y="133"/>
                      <a:pt x="1135" y="133"/>
                    </a:cubicBezTo>
                    <a:cubicBezTo>
                      <a:pt x="1134" y="134"/>
                      <a:pt x="1133" y="134"/>
                      <a:pt x="1132" y="135"/>
                    </a:cubicBezTo>
                    <a:cubicBezTo>
                      <a:pt x="1132" y="135"/>
                      <a:pt x="1132" y="135"/>
                      <a:pt x="1132" y="135"/>
                    </a:cubicBezTo>
                    <a:cubicBezTo>
                      <a:pt x="1131" y="135"/>
                      <a:pt x="1131" y="135"/>
                      <a:pt x="1131" y="135"/>
                    </a:cubicBezTo>
                    <a:cubicBezTo>
                      <a:pt x="1131" y="135"/>
                      <a:pt x="1131" y="135"/>
                      <a:pt x="1131" y="135"/>
                    </a:cubicBezTo>
                    <a:cubicBezTo>
                      <a:pt x="1130" y="135"/>
                      <a:pt x="1130" y="135"/>
                      <a:pt x="1130" y="135"/>
                    </a:cubicBezTo>
                    <a:cubicBezTo>
                      <a:pt x="1130" y="135"/>
                      <a:pt x="1130" y="135"/>
                      <a:pt x="1130" y="135"/>
                    </a:cubicBezTo>
                    <a:cubicBezTo>
                      <a:pt x="1129" y="136"/>
                      <a:pt x="1129" y="136"/>
                      <a:pt x="1129" y="136"/>
                    </a:cubicBezTo>
                    <a:cubicBezTo>
                      <a:pt x="1129" y="136"/>
                      <a:pt x="1129" y="136"/>
                      <a:pt x="1129" y="136"/>
                    </a:cubicBezTo>
                    <a:cubicBezTo>
                      <a:pt x="1126" y="137"/>
                      <a:pt x="1125" y="137"/>
                      <a:pt x="1122" y="138"/>
                    </a:cubicBezTo>
                    <a:cubicBezTo>
                      <a:pt x="1122" y="138"/>
                      <a:pt x="1122" y="138"/>
                      <a:pt x="1122" y="138"/>
                    </a:cubicBezTo>
                    <a:cubicBezTo>
                      <a:pt x="1122" y="138"/>
                      <a:pt x="1122" y="138"/>
                      <a:pt x="1122" y="138"/>
                    </a:cubicBezTo>
                    <a:cubicBezTo>
                      <a:pt x="1122" y="163"/>
                      <a:pt x="1122" y="163"/>
                      <a:pt x="1122" y="163"/>
                    </a:cubicBezTo>
                    <a:cubicBezTo>
                      <a:pt x="1122" y="163"/>
                      <a:pt x="1122" y="163"/>
                      <a:pt x="1122" y="163"/>
                    </a:cubicBezTo>
                    <a:cubicBezTo>
                      <a:pt x="1122" y="163"/>
                      <a:pt x="1122" y="163"/>
                      <a:pt x="1122" y="163"/>
                    </a:cubicBezTo>
                    <a:cubicBezTo>
                      <a:pt x="1122" y="163"/>
                      <a:pt x="1122" y="163"/>
                      <a:pt x="1122" y="163"/>
                    </a:cubicBezTo>
                    <a:cubicBezTo>
                      <a:pt x="1124" y="163"/>
                      <a:pt x="1125" y="162"/>
                      <a:pt x="1126" y="162"/>
                    </a:cubicBezTo>
                    <a:cubicBezTo>
                      <a:pt x="1126" y="162"/>
                      <a:pt x="1126" y="162"/>
                      <a:pt x="1127" y="162"/>
                    </a:cubicBezTo>
                    <a:cubicBezTo>
                      <a:pt x="1127" y="162"/>
                      <a:pt x="1127" y="162"/>
                      <a:pt x="1127" y="162"/>
                    </a:cubicBezTo>
                    <a:cubicBezTo>
                      <a:pt x="1129" y="163"/>
                      <a:pt x="1129" y="163"/>
                      <a:pt x="1129" y="163"/>
                    </a:cubicBezTo>
                    <a:cubicBezTo>
                      <a:pt x="1131" y="164"/>
                      <a:pt x="1133" y="165"/>
                      <a:pt x="1132" y="168"/>
                    </a:cubicBezTo>
                    <a:cubicBezTo>
                      <a:pt x="1131" y="168"/>
                      <a:pt x="1131" y="168"/>
                      <a:pt x="1131" y="168"/>
                    </a:cubicBezTo>
                    <a:cubicBezTo>
                      <a:pt x="1131" y="169"/>
                      <a:pt x="1131" y="169"/>
                      <a:pt x="1131" y="169"/>
                    </a:cubicBezTo>
                    <a:cubicBezTo>
                      <a:pt x="1131" y="169"/>
                      <a:pt x="1131" y="169"/>
                      <a:pt x="1131" y="169"/>
                    </a:cubicBezTo>
                    <a:cubicBezTo>
                      <a:pt x="1131" y="169"/>
                      <a:pt x="1131" y="169"/>
                      <a:pt x="1131" y="169"/>
                    </a:cubicBezTo>
                    <a:cubicBezTo>
                      <a:pt x="1130" y="171"/>
                      <a:pt x="1130" y="171"/>
                      <a:pt x="1130" y="173"/>
                    </a:cubicBezTo>
                    <a:cubicBezTo>
                      <a:pt x="1130" y="173"/>
                      <a:pt x="1130" y="173"/>
                      <a:pt x="1130" y="173"/>
                    </a:cubicBezTo>
                    <a:cubicBezTo>
                      <a:pt x="1130" y="173"/>
                      <a:pt x="1130" y="173"/>
                      <a:pt x="1130" y="173"/>
                    </a:cubicBezTo>
                    <a:cubicBezTo>
                      <a:pt x="1129" y="175"/>
                      <a:pt x="1129" y="175"/>
                      <a:pt x="1129" y="177"/>
                    </a:cubicBezTo>
                    <a:cubicBezTo>
                      <a:pt x="1130" y="179"/>
                      <a:pt x="1130" y="179"/>
                      <a:pt x="1130" y="179"/>
                    </a:cubicBezTo>
                    <a:cubicBezTo>
                      <a:pt x="1130" y="180"/>
                      <a:pt x="1130" y="180"/>
                      <a:pt x="1130" y="180"/>
                    </a:cubicBezTo>
                    <a:cubicBezTo>
                      <a:pt x="1130" y="181"/>
                      <a:pt x="1130" y="181"/>
                      <a:pt x="1130" y="181"/>
                    </a:cubicBezTo>
                    <a:cubicBezTo>
                      <a:pt x="1130" y="181"/>
                      <a:pt x="1130" y="181"/>
                      <a:pt x="1130" y="181"/>
                    </a:cubicBezTo>
                    <a:cubicBezTo>
                      <a:pt x="1130" y="181"/>
                      <a:pt x="1130" y="181"/>
                      <a:pt x="1130" y="181"/>
                    </a:cubicBezTo>
                    <a:cubicBezTo>
                      <a:pt x="1130" y="182"/>
                      <a:pt x="1130" y="182"/>
                      <a:pt x="1130" y="182"/>
                    </a:cubicBezTo>
                    <a:cubicBezTo>
                      <a:pt x="1130" y="182"/>
                      <a:pt x="1130" y="182"/>
                      <a:pt x="1130" y="182"/>
                    </a:cubicBezTo>
                    <a:cubicBezTo>
                      <a:pt x="1130" y="184"/>
                      <a:pt x="1129" y="183"/>
                      <a:pt x="1128" y="185"/>
                    </a:cubicBezTo>
                    <a:cubicBezTo>
                      <a:pt x="1128" y="186"/>
                      <a:pt x="1128" y="186"/>
                      <a:pt x="1128" y="186"/>
                    </a:cubicBezTo>
                    <a:cubicBezTo>
                      <a:pt x="1128" y="186"/>
                      <a:pt x="1128" y="186"/>
                      <a:pt x="1128" y="186"/>
                    </a:cubicBezTo>
                    <a:cubicBezTo>
                      <a:pt x="1127" y="188"/>
                      <a:pt x="1127" y="189"/>
                      <a:pt x="1126" y="190"/>
                    </a:cubicBezTo>
                    <a:cubicBezTo>
                      <a:pt x="1126" y="193"/>
                      <a:pt x="1126" y="193"/>
                      <a:pt x="1126" y="193"/>
                    </a:cubicBezTo>
                    <a:cubicBezTo>
                      <a:pt x="1125" y="194"/>
                      <a:pt x="1125" y="194"/>
                      <a:pt x="1125" y="194"/>
                    </a:cubicBezTo>
                    <a:cubicBezTo>
                      <a:pt x="1125" y="194"/>
                      <a:pt x="1125" y="194"/>
                      <a:pt x="1125" y="194"/>
                    </a:cubicBezTo>
                    <a:cubicBezTo>
                      <a:pt x="1126" y="195"/>
                      <a:pt x="1126" y="195"/>
                      <a:pt x="1126" y="195"/>
                    </a:cubicBezTo>
                    <a:cubicBezTo>
                      <a:pt x="1126" y="195"/>
                      <a:pt x="1126" y="195"/>
                      <a:pt x="1126" y="195"/>
                    </a:cubicBezTo>
                    <a:cubicBezTo>
                      <a:pt x="1127" y="195"/>
                      <a:pt x="1127" y="195"/>
                      <a:pt x="1127" y="195"/>
                    </a:cubicBezTo>
                    <a:cubicBezTo>
                      <a:pt x="1128" y="196"/>
                      <a:pt x="1128" y="196"/>
                      <a:pt x="1128" y="196"/>
                    </a:cubicBezTo>
                    <a:cubicBezTo>
                      <a:pt x="1130" y="196"/>
                      <a:pt x="1130" y="196"/>
                      <a:pt x="1130" y="196"/>
                    </a:cubicBezTo>
                    <a:cubicBezTo>
                      <a:pt x="1131" y="197"/>
                      <a:pt x="1131" y="197"/>
                      <a:pt x="1131" y="197"/>
                    </a:cubicBezTo>
                    <a:cubicBezTo>
                      <a:pt x="1131" y="199"/>
                      <a:pt x="1131" y="199"/>
                      <a:pt x="1131" y="199"/>
                    </a:cubicBezTo>
                    <a:cubicBezTo>
                      <a:pt x="1131" y="199"/>
                      <a:pt x="1131" y="199"/>
                      <a:pt x="1131" y="199"/>
                    </a:cubicBezTo>
                    <a:cubicBezTo>
                      <a:pt x="1131" y="200"/>
                      <a:pt x="1131" y="200"/>
                      <a:pt x="1131" y="200"/>
                    </a:cubicBezTo>
                    <a:cubicBezTo>
                      <a:pt x="1131" y="200"/>
                      <a:pt x="1131" y="200"/>
                      <a:pt x="1131" y="200"/>
                    </a:cubicBezTo>
                    <a:cubicBezTo>
                      <a:pt x="1131" y="201"/>
                      <a:pt x="1131" y="201"/>
                      <a:pt x="1131" y="201"/>
                    </a:cubicBezTo>
                    <a:cubicBezTo>
                      <a:pt x="1131" y="201"/>
                      <a:pt x="1131" y="201"/>
                      <a:pt x="1131" y="201"/>
                    </a:cubicBezTo>
                    <a:cubicBezTo>
                      <a:pt x="1130" y="202"/>
                      <a:pt x="1130" y="203"/>
                      <a:pt x="1129" y="204"/>
                    </a:cubicBezTo>
                    <a:cubicBezTo>
                      <a:pt x="1129" y="204"/>
                      <a:pt x="1129" y="204"/>
                      <a:pt x="1129" y="204"/>
                    </a:cubicBezTo>
                    <a:cubicBezTo>
                      <a:pt x="1129" y="205"/>
                      <a:pt x="1129" y="205"/>
                      <a:pt x="1129" y="205"/>
                    </a:cubicBezTo>
                    <a:cubicBezTo>
                      <a:pt x="1128" y="205"/>
                      <a:pt x="1128" y="205"/>
                      <a:pt x="1128" y="205"/>
                    </a:cubicBezTo>
                    <a:cubicBezTo>
                      <a:pt x="1128" y="205"/>
                      <a:pt x="1128" y="205"/>
                      <a:pt x="1128" y="205"/>
                    </a:cubicBezTo>
                    <a:cubicBezTo>
                      <a:pt x="1128" y="205"/>
                      <a:pt x="1128" y="205"/>
                      <a:pt x="1128" y="205"/>
                    </a:cubicBezTo>
                    <a:cubicBezTo>
                      <a:pt x="1127" y="205"/>
                      <a:pt x="1127" y="205"/>
                      <a:pt x="1127" y="205"/>
                    </a:cubicBezTo>
                    <a:cubicBezTo>
                      <a:pt x="1127" y="205"/>
                      <a:pt x="1126" y="206"/>
                      <a:pt x="1126" y="206"/>
                    </a:cubicBezTo>
                    <a:cubicBezTo>
                      <a:pt x="1124" y="206"/>
                      <a:pt x="1123" y="203"/>
                      <a:pt x="1122" y="202"/>
                    </a:cubicBezTo>
                    <a:cubicBezTo>
                      <a:pt x="1122" y="220"/>
                      <a:pt x="1122" y="220"/>
                      <a:pt x="1122" y="220"/>
                    </a:cubicBezTo>
                    <a:cubicBezTo>
                      <a:pt x="1122" y="220"/>
                      <a:pt x="1122" y="220"/>
                      <a:pt x="1122" y="220"/>
                    </a:cubicBezTo>
                    <a:cubicBezTo>
                      <a:pt x="1122" y="220"/>
                      <a:pt x="1122" y="220"/>
                      <a:pt x="1122" y="220"/>
                    </a:cubicBezTo>
                    <a:cubicBezTo>
                      <a:pt x="1123" y="220"/>
                      <a:pt x="1123" y="220"/>
                      <a:pt x="1123" y="220"/>
                    </a:cubicBezTo>
                    <a:cubicBezTo>
                      <a:pt x="1123" y="220"/>
                      <a:pt x="1123" y="220"/>
                      <a:pt x="1123" y="220"/>
                    </a:cubicBezTo>
                    <a:cubicBezTo>
                      <a:pt x="1124" y="220"/>
                      <a:pt x="1124" y="220"/>
                      <a:pt x="1124" y="220"/>
                    </a:cubicBezTo>
                    <a:cubicBezTo>
                      <a:pt x="1124" y="220"/>
                      <a:pt x="1124" y="220"/>
                      <a:pt x="1124" y="220"/>
                    </a:cubicBezTo>
                    <a:cubicBezTo>
                      <a:pt x="1126" y="221"/>
                      <a:pt x="1127" y="221"/>
                      <a:pt x="1128" y="222"/>
                    </a:cubicBezTo>
                    <a:cubicBezTo>
                      <a:pt x="1129" y="222"/>
                      <a:pt x="1129" y="222"/>
                      <a:pt x="1129" y="222"/>
                    </a:cubicBezTo>
                    <a:cubicBezTo>
                      <a:pt x="1130" y="223"/>
                      <a:pt x="1130" y="223"/>
                      <a:pt x="1130" y="223"/>
                    </a:cubicBezTo>
                    <a:cubicBezTo>
                      <a:pt x="1130" y="223"/>
                      <a:pt x="1130" y="223"/>
                      <a:pt x="1130" y="223"/>
                    </a:cubicBezTo>
                    <a:cubicBezTo>
                      <a:pt x="1131" y="223"/>
                      <a:pt x="1131" y="223"/>
                      <a:pt x="1131" y="223"/>
                    </a:cubicBezTo>
                    <a:cubicBezTo>
                      <a:pt x="1132" y="224"/>
                      <a:pt x="1133" y="224"/>
                      <a:pt x="1133" y="224"/>
                    </a:cubicBezTo>
                    <a:cubicBezTo>
                      <a:pt x="1134" y="224"/>
                      <a:pt x="1134" y="224"/>
                      <a:pt x="1135" y="224"/>
                    </a:cubicBezTo>
                    <a:cubicBezTo>
                      <a:pt x="1135" y="224"/>
                      <a:pt x="1135" y="224"/>
                      <a:pt x="1135" y="224"/>
                    </a:cubicBezTo>
                    <a:cubicBezTo>
                      <a:pt x="1136" y="224"/>
                      <a:pt x="1136" y="224"/>
                      <a:pt x="1136" y="224"/>
                    </a:cubicBezTo>
                    <a:cubicBezTo>
                      <a:pt x="1138" y="225"/>
                      <a:pt x="1138" y="225"/>
                      <a:pt x="1140" y="225"/>
                    </a:cubicBezTo>
                    <a:cubicBezTo>
                      <a:pt x="1141" y="226"/>
                      <a:pt x="1141" y="226"/>
                      <a:pt x="1141" y="226"/>
                    </a:cubicBezTo>
                    <a:cubicBezTo>
                      <a:pt x="1141" y="226"/>
                      <a:pt x="1141" y="226"/>
                      <a:pt x="1141" y="226"/>
                    </a:cubicBezTo>
                    <a:cubicBezTo>
                      <a:pt x="1141" y="226"/>
                      <a:pt x="1141" y="226"/>
                      <a:pt x="1141" y="226"/>
                    </a:cubicBezTo>
                    <a:cubicBezTo>
                      <a:pt x="1141" y="227"/>
                      <a:pt x="1141" y="227"/>
                      <a:pt x="1141" y="227"/>
                    </a:cubicBezTo>
                    <a:cubicBezTo>
                      <a:pt x="1142" y="227"/>
                      <a:pt x="1142" y="227"/>
                      <a:pt x="1142" y="227"/>
                    </a:cubicBezTo>
                    <a:cubicBezTo>
                      <a:pt x="1142" y="227"/>
                      <a:pt x="1142" y="227"/>
                      <a:pt x="1142" y="227"/>
                    </a:cubicBezTo>
                    <a:cubicBezTo>
                      <a:pt x="1142" y="227"/>
                      <a:pt x="1142" y="227"/>
                      <a:pt x="1142" y="227"/>
                    </a:cubicBezTo>
                    <a:cubicBezTo>
                      <a:pt x="1143" y="228"/>
                      <a:pt x="1143" y="228"/>
                      <a:pt x="1143" y="228"/>
                    </a:cubicBezTo>
                    <a:cubicBezTo>
                      <a:pt x="1143" y="228"/>
                      <a:pt x="1143" y="228"/>
                      <a:pt x="1143" y="228"/>
                    </a:cubicBezTo>
                    <a:cubicBezTo>
                      <a:pt x="1144" y="228"/>
                      <a:pt x="1144" y="228"/>
                      <a:pt x="1144" y="228"/>
                    </a:cubicBezTo>
                    <a:cubicBezTo>
                      <a:pt x="1144" y="228"/>
                      <a:pt x="1144" y="228"/>
                      <a:pt x="1144" y="228"/>
                    </a:cubicBezTo>
                    <a:cubicBezTo>
                      <a:pt x="1144" y="229"/>
                      <a:pt x="1144" y="229"/>
                      <a:pt x="1144" y="229"/>
                    </a:cubicBezTo>
                    <a:cubicBezTo>
                      <a:pt x="1145" y="229"/>
                      <a:pt x="1145" y="229"/>
                      <a:pt x="1145" y="229"/>
                    </a:cubicBezTo>
                    <a:cubicBezTo>
                      <a:pt x="1145" y="229"/>
                      <a:pt x="1145" y="229"/>
                      <a:pt x="1145" y="229"/>
                    </a:cubicBezTo>
                    <a:cubicBezTo>
                      <a:pt x="1146" y="229"/>
                      <a:pt x="1146" y="229"/>
                      <a:pt x="1146" y="229"/>
                    </a:cubicBezTo>
                    <a:cubicBezTo>
                      <a:pt x="1146" y="230"/>
                      <a:pt x="1146" y="230"/>
                      <a:pt x="1146" y="230"/>
                    </a:cubicBezTo>
                    <a:cubicBezTo>
                      <a:pt x="1147" y="230"/>
                      <a:pt x="1147" y="230"/>
                      <a:pt x="1147" y="230"/>
                    </a:cubicBezTo>
                    <a:cubicBezTo>
                      <a:pt x="1148" y="230"/>
                      <a:pt x="1148" y="230"/>
                      <a:pt x="1148" y="230"/>
                    </a:cubicBezTo>
                    <a:cubicBezTo>
                      <a:pt x="1148" y="230"/>
                      <a:pt x="1148" y="230"/>
                      <a:pt x="1148" y="230"/>
                    </a:cubicBezTo>
                    <a:cubicBezTo>
                      <a:pt x="1149" y="230"/>
                      <a:pt x="1149" y="230"/>
                      <a:pt x="1149" y="230"/>
                    </a:cubicBezTo>
                    <a:cubicBezTo>
                      <a:pt x="1149" y="230"/>
                      <a:pt x="1149" y="230"/>
                      <a:pt x="1149" y="230"/>
                    </a:cubicBezTo>
                    <a:cubicBezTo>
                      <a:pt x="1150" y="231"/>
                      <a:pt x="1150" y="231"/>
                      <a:pt x="1150" y="231"/>
                    </a:cubicBezTo>
                    <a:cubicBezTo>
                      <a:pt x="1150" y="231"/>
                      <a:pt x="1150" y="231"/>
                      <a:pt x="1150" y="231"/>
                    </a:cubicBezTo>
                    <a:cubicBezTo>
                      <a:pt x="1151" y="231"/>
                      <a:pt x="1151" y="231"/>
                      <a:pt x="1151" y="231"/>
                    </a:cubicBezTo>
                    <a:cubicBezTo>
                      <a:pt x="1151" y="230"/>
                      <a:pt x="1151" y="230"/>
                      <a:pt x="1151" y="230"/>
                    </a:cubicBezTo>
                    <a:cubicBezTo>
                      <a:pt x="1151" y="229"/>
                      <a:pt x="1151" y="229"/>
                      <a:pt x="1151" y="229"/>
                    </a:cubicBezTo>
                    <a:cubicBezTo>
                      <a:pt x="1152" y="229"/>
                      <a:pt x="1152" y="229"/>
                      <a:pt x="1152" y="229"/>
                    </a:cubicBezTo>
                    <a:cubicBezTo>
                      <a:pt x="1153" y="228"/>
                      <a:pt x="1153" y="228"/>
                      <a:pt x="1153" y="228"/>
                    </a:cubicBezTo>
                    <a:cubicBezTo>
                      <a:pt x="1153" y="228"/>
                      <a:pt x="1153" y="228"/>
                      <a:pt x="1153" y="228"/>
                    </a:cubicBezTo>
                    <a:cubicBezTo>
                      <a:pt x="1154" y="229"/>
                      <a:pt x="1154" y="229"/>
                      <a:pt x="1154" y="229"/>
                    </a:cubicBezTo>
                    <a:cubicBezTo>
                      <a:pt x="1154" y="229"/>
                      <a:pt x="1154" y="229"/>
                      <a:pt x="1154" y="229"/>
                    </a:cubicBezTo>
                    <a:cubicBezTo>
                      <a:pt x="1154" y="230"/>
                      <a:pt x="1154" y="230"/>
                      <a:pt x="1154" y="230"/>
                    </a:cubicBezTo>
                    <a:cubicBezTo>
                      <a:pt x="1154" y="231"/>
                      <a:pt x="1154" y="231"/>
                      <a:pt x="1154" y="231"/>
                    </a:cubicBezTo>
                    <a:cubicBezTo>
                      <a:pt x="1154" y="231"/>
                      <a:pt x="1154" y="231"/>
                      <a:pt x="1154" y="231"/>
                    </a:cubicBezTo>
                    <a:cubicBezTo>
                      <a:pt x="1154" y="232"/>
                      <a:pt x="1154" y="232"/>
                      <a:pt x="1154" y="232"/>
                    </a:cubicBezTo>
                    <a:cubicBezTo>
                      <a:pt x="1153" y="232"/>
                      <a:pt x="1153" y="232"/>
                      <a:pt x="1153" y="232"/>
                    </a:cubicBezTo>
                    <a:cubicBezTo>
                      <a:pt x="1153" y="232"/>
                      <a:pt x="1153" y="232"/>
                      <a:pt x="1153" y="232"/>
                    </a:cubicBezTo>
                    <a:cubicBezTo>
                      <a:pt x="1153" y="233"/>
                      <a:pt x="1153" y="233"/>
                      <a:pt x="1153" y="233"/>
                    </a:cubicBezTo>
                    <a:cubicBezTo>
                      <a:pt x="1153" y="233"/>
                      <a:pt x="1153" y="233"/>
                      <a:pt x="1153" y="233"/>
                    </a:cubicBezTo>
                    <a:cubicBezTo>
                      <a:pt x="1154" y="234"/>
                      <a:pt x="1154" y="234"/>
                      <a:pt x="1154" y="234"/>
                    </a:cubicBezTo>
                    <a:cubicBezTo>
                      <a:pt x="1154" y="235"/>
                      <a:pt x="1154" y="235"/>
                      <a:pt x="1154" y="235"/>
                    </a:cubicBezTo>
                    <a:cubicBezTo>
                      <a:pt x="1153" y="236"/>
                      <a:pt x="1153" y="236"/>
                      <a:pt x="1153" y="236"/>
                    </a:cubicBezTo>
                    <a:cubicBezTo>
                      <a:pt x="1152" y="238"/>
                      <a:pt x="1152" y="238"/>
                      <a:pt x="1152" y="238"/>
                    </a:cubicBezTo>
                    <a:cubicBezTo>
                      <a:pt x="1152" y="238"/>
                      <a:pt x="1152" y="238"/>
                      <a:pt x="1152" y="238"/>
                    </a:cubicBezTo>
                    <a:cubicBezTo>
                      <a:pt x="1152" y="239"/>
                      <a:pt x="1152" y="239"/>
                      <a:pt x="1152" y="239"/>
                    </a:cubicBezTo>
                    <a:cubicBezTo>
                      <a:pt x="1152" y="239"/>
                      <a:pt x="1152" y="239"/>
                      <a:pt x="1152" y="239"/>
                    </a:cubicBezTo>
                    <a:cubicBezTo>
                      <a:pt x="1152" y="240"/>
                      <a:pt x="1152" y="240"/>
                      <a:pt x="1152" y="240"/>
                    </a:cubicBezTo>
                    <a:cubicBezTo>
                      <a:pt x="1152" y="240"/>
                      <a:pt x="1152" y="240"/>
                      <a:pt x="1152" y="240"/>
                    </a:cubicBezTo>
                    <a:cubicBezTo>
                      <a:pt x="1152" y="240"/>
                      <a:pt x="1152" y="240"/>
                      <a:pt x="1152" y="240"/>
                    </a:cubicBezTo>
                    <a:cubicBezTo>
                      <a:pt x="1152" y="241"/>
                      <a:pt x="1152" y="241"/>
                      <a:pt x="1152" y="241"/>
                    </a:cubicBezTo>
                    <a:cubicBezTo>
                      <a:pt x="1152" y="241"/>
                      <a:pt x="1152" y="241"/>
                      <a:pt x="1152" y="241"/>
                    </a:cubicBezTo>
                    <a:cubicBezTo>
                      <a:pt x="1152" y="241"/>
                      <a:pt x="1152" y="241"/>
                      <a:pt x="1152" y="241"/>
                    </a:cubicBezTo>
                    <a:cubicBezTo>
                      <a:pt x="1154" y="243"/>
                      <a:pt x="1156" y="245"/>
                      <a:pt x="1157" y="247"/>
                    </a:cubicBezTo>
                    <a:cubicBezTo>
                      <a:pt x="1157" y="247"/>
                      <a:pt x="1157" y="247"/>
                      <a:pt x="1157" y="247"/>
                    </a:cubicBezTo>
                    <a:cubicBezTo>
                      <a:pt x="1158" y="248"/>
                      <a:pt x="1158" y="248"/>
                      <a:pt x="1158" y="248"/>
                    </a:cubicBezTo>
                    <a:cubicBezTo>
                      <a:pt x="1160" y="250"/>
                      <a:pt x="1161" y="250"/>
                      <a:pt x="1163" y="254"/>
                    </a:cubicBezTo>
                    <a:cubicBezTo>
                      <a:pt x="1163" y="254"/>
                      <a:pt x="1163" y="254"/>
                      <a:pt x="1163" y="254"/>
                    </a:cubicBezTo>
                    <a:cubicBezTo>
                      <a:pt x="1163" y="254"/>
                      <a:pt x="1163" y="254"/>
                      <a:pt x="1163" y="254"/>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3" y="255"/>
                      <a:pt x="1163" y="255"/>
                      <a:pt x="1163" y="255"/>
                    </a:cubicBezTo>
                    <a:cubicBezTo>
                      <a:pt x="1164" y="256"/>
                      <a:pt x="1164" y="256"/>
                      <a:pt x="1164" y="256"/>
                    </a:cubicBezTo>
                    <a:cubicBezTo>
                      <a:pt x="1164" y="256"/>
                      <a:pt x="1164" y="256"/>
                      <a:pt x="1164" y="256"/>
                    </a:cubicBezTo>
                    <a:cubicBezTo>
                      <a:pt x="1164" y="256"/>
                      <a:pt x="1164" y="256"/>
                      <a:pt x="1164" y="256"/>
                    </a:cubicBezTo>
                    <a:cubicBezTo>
                      <a:pt x="1165" y="256"/>
                      <a:pt x="1165" y="256"/>
                      <a:pt x="1165" y="256"/>
                    </a:cubicBezTo>
                    <a:cubicBezTo>
                      <a:pt x="1165" y="257"/>
                      <a:pt x="1165" y="257"/>
                      <a:pt x="1165" y="257"/>
                    </a:cubicBezTo>
                    <a:cubicBezTo>
                      <a:pt x="1166" y="257"/>
                      <a:pt x="1166" y="257"/>
                      <a:pt x="1166" y="257"/>
                    </a:cubicBezTo>
                    <a:cubicBezTo>
                      <a:pt x="1166" y="257"/>
                      <a:pt x="1166" y="257"/>
                      <a:pt x="1166" y="257"/>
                    </a:cubicBezTo>
                    <a:cubicBezTo>
                      <a:pt x="1168" y="258"/>
                      <a:pt x="1169" y="259"/>
                      <a:pt x="1171" y="259"/>
                    </a:cubicBezTo>
                    <a:cubicBezTo>
                      <a:pt x="1172" y="259"/>
                      <a:pt x="1172" y="259"/>
                      <a:pt x="1172" y="259"/>
                    </a:cubicBezTo>
                    <a:cubicBezTo>
                      <a:pt x="1172" y="259"/>
                      <a:pt x="1172" y="259"/>
                      <a:pt x="1172" y="259"/>
                    </a:cubicBezTo>
                    <a:cubicBezTo>
                      <a:pt x="1173" y="259"/>
                      <a:pt x="1173" y="259"/>
                      <a:pt x="1173" y="259"/>
                    </a:cubicBezTo>
                    <a:cubicBezTo>
                      <a:pt x="1173" y="259"/>
                      <a:pt x="1173" y="259"/>
                      <a:pt x="1173" y="259"/>
                    </a:cubicBezTo>
                    <a:cubicBezTo>
                      <a:pt x="1173" y="259"/>
                      <a:pt x="1173" y="259"/>
                      <a:pt x="1173" y="259"/>
                    </a:cubicBezTo>
                    <a:cubicBezTo>
                      <a:pt x="1175" y="259"/>
                      <a:pt x="1175" y="258"/>
                      <a:pt x="1177" y="258"/>
                    </a:cubicBezTo>
                    <a:cubicBezTo>
                      <a:pt x="1177" y="257"/>
                      <a:pt x="1177" y="257"/>
                      <a:pt x="1177" y="257"/>
                    </a:cubicBezTo>
                    <a:cubicBezTo>
                      <a:pt x="1178" y="257"/>
                      <a:pt x="1178" y="257"/>
                      <a:pt x="1178" y="257"/>
                    </a:cubicBezTo>
                    <a:cubicBezTo>
                      <a:pt x="1178" y="257"/>
                      <a:pt x="1178" y="257"/>
                      <a:pt x="1178" y="257"/>
                    </a:cubicBezTo>
                    <a:cubicBezTo>
                      <a:pt x="1178" y="257"/>
                      <a:pt x="1178" y="257"/>
                      <a:pt x="1178" y="257"/>
                    </a:cubicBezTo>
                    <a:cubicBezTo>
                      <a:pt x="1179" y="257"/>
                      <a:pt x="1179" y="257"/>
                      <a:pt x="1179" y="257"/>
                    </a:cubicBezTo>
                    <a:cubicBezTo>
                      <a:pt x="1179" y="257"/>
                      <a:pt x="1179" y="257"/>
                      <a:pt x="1179" y="257"/>
                    </a:cubicBezTo>
                    <a:cubicBezTo>
                      <a:pt x="1179" y="257"/>
                      <a:pt x="1179" y="257"/>
                      <a:pt x="1179" y="257"/>
                    </a:cubicBezTo>
                    <a:cubicBezTo>
                      <a:pt x="1180" y="257"/>
                      <a:pt x="1180" y="257"/>
                      <a:pt x="1180" y="257"/>
                    </a:cubicBezTo>
                    <a:cubicBezTo>
                      <a:pt x="1180" y="258"/>
                      <a:pt x="1180" y="258"/>
                      <a:pt x="1180" y="258"/>
                    </a:cubicBezTo>
                    <a:cubicBezTo>
                      <a:pt x="1181" y="258"/>
                      <a:pt x="1181" y="258"/>
                      <a:pt x="1181" y="258"/>
                    </a:cubicBezTo>
                    <a:cubicBezTo>
                      <a:pt x="1181" y="258"/>
                      <a:pt x="1181" y="258"/>
                      <a:pt x="1181" y="258"/>
                    </a:cubicBezTo>
                    <a:cubicBezTo>
                      <a:pt x="1182" y="257"/>
                      <a:pt x="1182" y="257"/>
                      <a:pt x="1182" y="257"/>
                    </a:cubicBezTo>
                    <a:cubicBezTo>
                      <a:pt x="1182" y="257"/>
                      <a:pt x="1182" y="257"/>
                      <a:pt x="1182" y="257"/>
                    </a:cubicBezTo>
                    <a:cubicBezTo>
                      <a:pt x="1183" y="257"/>
                      <a:pt x="1183" y="257"/>
                      <a:pt x="1183" y="257"/>
                    </a:cubicBezTo>
                    <a:cubicBezTo>
                      <a:pt x="1185" y="257"/>
                      <a:pt x="1185" y="257"/>
                      <a:pt x="1185" y="257"/>
                    </a:cubicBezTo>
                    <a:cubicBezTo>
                      <a:pt x="1185" y="257"/>
                      <a:pt x="1185" y="257"/>
                      <a:pt x="1185" y="257"/>
                    </a:cubicBezTo>
                    <a:cubicBezTo>
                      <a:pt x="1185" y="257"/>
                      <a:pt x="1185" y="257"/>
                      <a:pt x="1185" y="257"/>
                    </a:cubicBezTo>
                    <a:cubicBezTo>
                      <a:pt x="1181" y="259"/>
                      <a:pt x="1186" y="258"/>
                      <a:pt x="1179" y="260"/>
                    </a:cubicBezTo>
                    <a:cubicBezTo>
                      <a:pt x="1178" y="260"/>
                      <a:pt x="1178" y="260"/>
                      <a:pt x="1178" y="260"/>
                    </a:cubicBezTo>
                    <a:cubicBezTo>
                      <a:pt x="1178" y="261"/>
                      <a:pt x="1178" y="261"/>
                      <a:pt x="1178" y="261"/>
                    </a:cubicBezTo>
                    <a:cubicBezTo>
                      <a:pt x="1179" y="261"/>
                      <a:pt x="1179" y="261"/>
                      <a:pt x="1179" y="261"/>
                    </a:cubicBezTo>
                    <a:cubicBezTo>
                      <a:pt x="1179" y="261"/>
                      <a:pt x="1179" y="261"/>
                      <a:pt x="1179" y="261"/>
                    </a:cubicBezTo>
                    <a:cubicBezTo>
                      <a:pt x="1180" y="261"/>
                      <a:pt x="1180" y="261"/>
                      <a:pt x="1180" y="261"/>
                    </a:cubicBezTo>
                    <a:cubicBezTo>
                      <a:pt x="1181" y="261"/>
                      <a:pt x="1181" y="261"/>
                      <a:pt x="1181" y="261"/>
                    </a:cubicBezTo>
                    <a:cubicBezTo>
                      <a:pt x="1182" y="262"/>
                      <a:pt x="1182" y="262"/>
                      <a:pt x="1182" y="262"/>
                    </a:cubicBezTo>
                    <a:cubicBezTo>
                      <a:pt x="1182" y="262"/>
                      <a:pt x="1182" y="262"/>
                      <a:pt x="1182" y="262"/>
                    </a:cubicBezTo>
                    <a:cubicBezTo>
                      <a:pt x="1182" y="262"/>
                      <a:pt x="1182" y="262"/>
                      <a:pt x="1182" y="262"/>
                    </a:cubicBezTo>
                    <a:cubicBezTo>
                      <a:pt x="1182" y="263"/>
                      <a:pt x="1182" y="263"/>
                      <a:pt x="1182" y="263"/>
                    </a:cubicBezTo>
                    <a:cubicBezTo>
                      <a:pt x="1182" y="263"/>
                      <a:pt x="1182" y="263"/>
                      <a:pt x="1182" y="263"/>
                    </a:cubicBezTo>
                    <a:cubicBezTo>
                      <a:pt x="1182" y="263"/>
                      <a:pt x="1182" y="263"/>
                      <a:pt x="1182" y="263"/>
                    </a:cubicBezTo>
                    <a:cubicBezTo>
                      <a:pt x="1181" y="264"/>
                      <a:pt x="1181" y="264"/>
                      <a:pt x="1181" y="264"/>
                    </a:cubicBezTo>
                    <a:cubicBezTo>
                      <a:pt x="1181" y="264"/>
                      <a:pt x="1181" y="264"/>
                      <a:pt x="1181" y="264"/>
                    </a:cubicBezTo>
                    <a:cubicBezTo>
                      <a:pt x="1180" y="264"/>
                      <a:pt x="1180" y="264"/>
                      <a:pt x="1180" y="264"/>
                    </a:cubicBezTo>
                    <a:cubicBezTo>
                      <a:pt x="1180" y="264"/>
                      <a:pt x="1180" y="264"/>
                      <a:pt x="1180" y="264"/>
                    </a:cubicBezTo>
                    <a:cubicBezTo>
                      <a:pt x="1180" y="264"/>
                      <a:pt x="1180" y="264"/>
                      <a:pt x="1180" y="264"/>
                    </a:cubicBezTo>
                    <a:cubicBezTo>
                      <a:pt x="1180" y="265"/>
                      <a:pt x="1180" y="265"/>
                      <a:pt x="1180" y="265"/>
                    </a:cubicBezTo>
                    <a:cubicBezTo>
                      <a:pt x="1179" y="265"/>
                      <a:pt x="1179" y="265"/>
                      <a:pt x="1179" y="265"/>
                    </a:cubicBezTo>
                    <a:cubicBezTo>
                      <a:pt x="1179" y="265"/>
                      <a:pt x="1179" y="265"/>
                      <a:pt x="1179" y="265"/>
                    </a:cubicBezTo>
                    <a:cubicBezTo>
                      <a:pt x="1179" y="267"/>
                      <a:pt x="1180" y="266"/>
                      <a:pt x="1179" y="267"/>
                    </a:cubicBezTo>
                    <a:cubicBezTo>
                      <a:pt x="1179" y="268"/>
                      <a:pt x="1179" y="268"/>
                      <a:pt x="1179" y="268"/>
                    </a:cubicBezTo>
                    <a:cubicBezTo>
                      <a:pt x="1179" y="268"/>
                      <a:pt x="1179" y="268"/>
                      <a:pt x="1179" y="268"/>
                    </a:cubicBezTo>
                    <a:cubicBezTo>
                      <a:pt x="1179" y="268"/>
                      <a:pt x="1179" y="268"/>
                      <a:pt x="1179" y="268"/>
                    </a:cubicBezTo>
                    <a:cubicBezTo>
                      <a:pt x="1178" y="270"/>
                      <a:pt x="1177" y="273"/>
                      <a:pt x="1176" y="275"/>
                    </a:cubicBezTo>
                    <a:cubicBezTo>
                      <a:pt x="1176" y="275"/>
                      <a:pt x="1176" y="275"/>
                      <a:pt x="1176" y="275"/>
                    </a:cubicBezTo>
                    <a:cubicBezTo>
                      <a:pt x="1176" y="275"/>
                      <a:pt x="1176" y="275"/>
                      <a:pt x="1176" y="275"/>
                    </a:cubicBezTo>
                    <a:cubicBezTo>
                      <a:pt x="1175" y="276"/>
                      <a:pt x="1175" y="276"/>
                      <a:pt x="1175" y="276"/>
                    </a:cubicBezTo>
                    <a:cubicBezTo>
                      <a:pt x="1175" y="276"/>
                      <a:pt x="1175" y="276"/>
                      <a:pt x="1175" y="276"/>
                    </a:cubicBezTo>
                    <a:cubicBezTo>
                      <a:pt x="1173" y="279"/>
                      <a:pt x="1172" y="280"/>
                      <a:pt x="1170" y="282"/>
                    </a:cubicBezTo>
                    <a:cubicBezTo>
                      <a:pt x="1170" y="283"/>
                      <a:pt x="1170" y="283"/>
                      <a:pt x="1170" y="283"/>
                    </a:cubicBezTo>
                    <a:cubicBezTo>
                      <a:pt x="1169" y="283"/>
                      <a:pt x="1169" y="283"/>
                      <a:pt x="1169" y="283"/>
                    </a:cubicBezTo>
                    <a:cubicBezTo>
                      <a:pt x="1169" y="283"/>
                      <a:pt x="1169" y="283"/>
                      <a:pt x="1169" y="283"/>
                    </a:cubicBezTo>
                    <a:cubicBezTo>
                      <a:pt x="1169" y="284"/>
                      <a:pt x="1169" y="284"/>
                      <a:pt x="1169" y="284"/>
                    </a:cubicBezTo>
                    <a:cubicBezTo>
                      <a:pt x="1169" y="284"/>
                      <a:pt x="1169" y="284"/>
                      <a:pt x="1169" y="284"/>
                    </a:cubicBezTo>
                    <a:cubicBezTo>
                      <a:pt x="1168" y="285"/>
                      <a:pt x="1168" y="285"/>
                      <a:pt x="1168" y="285"/>
                    </a:cubicBezTo>
                    <a:cubicBezTo>
                      <a:pt x="1168" y="286"/>
                      <a:pt x="1168" y="286"/>
                      <a:pt x="1168" y="286"/>
                    </a:cubicBezTo>
                    <a:cubicBezTo>
                      <a:pt x="1169" y="288"/>
                      <a:pt x="1169" y="288"/>
                      <a:pt x="1169" y="288"/>
                    </a:cubicBezTo>
                    <a:cubicBezTo>
                      <a:pt x="1169" y="288"/>
                      <a:pt x="1169" y="288"/>
                      <a:pt x="1169" y="288"/>
                    </a:cubicBezTo>
                    <a:cubicBezTo>
                      <a:pt x="1168" y="289"/>
                      <a:pt x="1168" y="289"/>
                      <a:pt x="1168" y="289"/>
                    </a:cubicBezTo>
                    <a:cubicBezTo>
                      <a:pt x="1168" y="289"/>
                      <a:pt x="1168" y="289"/>
                      <a:pt x="1168" y="289"/>
                    </a:cubicBezTo>
                    <a:cubicBezTo>
                      <a:pt x="1167" y="289"/>
                      <a:pt x="1167" y="289"/>
                      <a:pt x="1167" y="289"/>
                    </a:cubicBezTo>
                    <a:cubicBezTo>
                      <a:pt x="1166" y="289"/>
                      <a:pt x="1166" y="290"/>
                      <a:pt x="1165" y="291"/>
                    </a:cubicBezTo>
                    <a:cubicBezTo>
                      <a:pt x="1165" y="291"/>
                      <a:pt x="1165" y="291"/>
                      <a:pt x="1165" y="291"/>
                    </a:cubicBezTo>
                    <a:cubicBezTo>
                      <a:pt x="1164" y="292"/>
                      <a:pt x="1164" y="292"/>
                      <a:pt x="1164" y="292"/>
                    </a:cubicBezTo>
                    <a:cubicBezTo>
                      <a:pt x="1164" y="292"/>
                      <a:pt x="1164" y="292"/>
                      <a:pt x="1164" y="292"/>
                    </a:cubicBezTo>
                    <a:cubicBezTo>
                      <a:pt x="1161" y="293"/>
                      <a:pt x="1161" y="293"/>
                      <a:pt x="1161" y="293"/>
                    </a:cubicBezTo>
                    <a:cubicBezTo>
                      <a:pt x="1126" y="263"/>
                      <a:pt x="1126" y="263"/>
                      <a:pt x="1126" y="263"/>
                    </a:cubicBezTo>
                    <a:cubicBezTo>
                      <a:pt x="1125" y="262"/>
                      <a:pt x="1125" y="262"/>
                      <a:pt x="1125" y="262"/>
                    </a:cubicBezTo>
                    <a:cubicBezTo>
                      <a:pt x="1124" y="262"/>
                      <a:pt x="1123" y="262"/>
                      <a:pt x="1122" y="261"/>
                    </a:cubicBezTo>
                    <a:cubicBezTo>
                      <a:pt x="1122" y="457"/>
                      <a:pt x="1122" y="457"/>
                      <a:pt x="1122" y="457"/>
                    </a:cubicBezTo>
                    <a:cubicBezTo>
                      <a:pt x="1682" y="457"/>
                      <a:pt x="1682" y="457"/>
                      <a:pt x="1682" y="457"/>
                    </a:cubicBezTo>
                    <a:cubicBezTo>
                      <a:pt x="1682" y="0"/>
                      <a:pt x="1682" y="0"/>
                      <a:pt x="16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8" name="Freeform 376">
                <a:extLst>
                  <a:ext uri="{FF2B5EF4-FFF2-40B4-BE49-F238E27FC236}">
                    <a16:creationId xmlns:a16="http://schemas.microsoft.com/office/drawing/2014/main" id="{A5E9805D-AC9C-41A1-90D6-39821286697D}"/>
                  </a:ext>
                </a:extLst>
              </p:cNvPr>
              <p:cNvSpPr>
                <a:spLocks noEditPoints="1"/>
              </p:cNvSpPr>
              <p:nvPr/>
            </p:nvSpPr>
            <p:spPr bwMode="auto">
              <a:xfrm>
                <a:off x="8615800" y="3519286"/>
                <a:ext cx="1293475" cy="1448250"/>
              </a:xfrm>
              <a:custGeom>
                <a:avLst/>
                <a:gdLst>
                  <a:gd name="T0" fmla="*/ 19 w 408"/>
                  <a:gd name="T1" fmla="*/ 454 h 456"/>
                  <a:gd name="T2" fmla="*/ 36 w 408"/>
                  <a:gd name="T3" fmla="*/ 435 h 456"/>
                  <a:gd name="T4" fmla="*/ 13 w 408"/>
                  <a:gd name="T5" fmla="*/ 369 h 456"/>
                  <a:gd name="T6" fmla="*/ 0 w 408"/>
                  <a:gd name="T7" fmla="*/ 357 h 456"/>
                  <a:gd name="T8" fmla="*/ 0 w 408"/>
                  <a:gd name="T9" fmla="*/ 234 h 456"/>
                  <a:gd name="T10" fmla="*/ 7 w 408"/>
                  <a:gd name="T11" fmla="*/ 308 h 456"/>
                  <a:gd name="T12" fmla="*/ 25 w 408"/>
                  <a:gd name="T13" fmla="*/ 304 h 456"/>
                  <a:gd name="T14" fmla="*/ 43 w 408"/>
                  <a:gd name="T15" fmla="*/ 291 h 456"/>
                  <a:gd name="T16" fmla="*/ 52 w 408"/>
                  <a:gd name="T17" fmla="*/ 283 h 456"/>
                  <a:gd name="T18" fmla="*/ 40 w 408"/>
                  <a:gd name="T19" fmla="*/ 277 h 456"/>
                  <a:gd name="T20" fmla="*/ 34 w 408"/>
                  <a:gd name="T21" fmla="*/ 273 h 456"/>
                  <a:gd name="T22" fmla="*/ 44 w 408"/>
                  <a:gd name="T23" fmla="*/ 265 h 456"/>
                  <a:gd name="T24" fmla="*/ 47 w 408"/>
                  <a:gd name="T25" fmla="*/ 264 h 456"/>
                  <a:gd name="T26" fmla="*/ 41 w 408"/>
                  <a:gd name="T27" fmla="*/ 257 h 456"/>
                  <a:gd name="T28" fmla="*/ 24 w 408"/>
                  <a:gd name="T29" fmla="*/ 234 h 456"/>
                  <a:gd name="T30" fmla="*/ 2 w 408"/>
                  <a:gd name="T31" fmla="*/ 138 h 456"/>
                  <a:gd name="T32" fmla="*/ 14 w 408"/>
                  <a:gd name="T33" fmla="*/ 131 h 456"/>
                  <a:gd name="T34" fmla="*/ 35 w 408"/>
                  <a:gd name="T35" fmla="*/ 151 h 456"/>
                  <a:gd name="T36" fmla="*/ 43 w 408"/>
                  <a:gd name="T37" fmla="*/ 147 h 456"/>
                  <a:gd name="T38" fmla="*/ 40 w 408"/>
                  <a:gd name="T39" fmla="*/ 136 h 456"/>
                  <a:gd name="T40" fmla="*/ 41 w 408"/>
                  <a:gd name="T41" fmla="*/ 121 h 456"/>
                  <a:gd name="T42" fmla="*/ 55 w 408"/>
                  <a:gd name="T43" fmla="*/ 116 h 456"/>
                  <a:gd name="T44" fmla="*/ 83 w 408"/>
                  <a:gd name="T45" fmla="*/ 99 h 456"/>
                  <a:gd name="T46" fmla="*/ 89 w 408"/>
                  <a:gd name="T47" fmla="*/ 93 h 456"/>
                  <a:gd name="T48" fmla="*/ 104 w 408"/>
                  <a:gd name="T49" fmla="*/ 79 h 456"/>
                  <a:gd name="T50" fmla="*/ 123 w 408"/>
                  <a:gd name="T51" fmla="*/ 90 h 456"/>
                  <a:gd name="T52" fmla="*/ 127 w 408"/>
                  <a:gd name="T53" fmla="*/ 89 h 456"/>
                  <a:gd name="T54" fmla="*/ 151 w 408"/>
                  <a:gd name="T55" fmla="*/ 84 h 456"/>
                  <a:gd name="T56" fmla="*/ 154 w 408"/>
                  <a:gd name="T57" fmla="*/ 91 h 456"/>
                  <a:gd name="T58" fmla="*/ 166 w 408"/>
                  <a:gd name="T59" fmla="*/ 89 h 456"/>
                  <a:gd name="T60" fmla="*/ 206 w 408"/>
                  <a:gd name="T61" fmla="*/ 111 h 456"/>
                  <a:gd name="T62" fmla="*/ 214 w 408"/>
                  <a:gd name="T63" fmla="*/ 107 h 456"/>
                  <a:gd name="T64" fmla="*/ 241 w 408"/>
                  <a:gd name="T65" fmla="*/ 125 h 456"/>
                  <a:gd name="T66" fmla="*/ 250 w 408"/>
                  <a:gd name="T67" fmla="*/ 120 h 456"/>
                  <a:gd name="T68" fmla="*/ 259 w 408"/>
                  <a:gd name="T69" fmla="*/ 111 h 456"/>
                  <a:gd name="T70" fmla="*/ 289 w 408"/>
                  <a:gd name="T71" fmla="*/ 110 h 456"/>
                  <a:gd name="T72" fmla="*/ 297 w 408"/>
                  <a:gd name="T73" fmla="*/ 110 h 456"/>
                  <a:gd name="T74" fmla="*/ 329 w 408"/>
                  <a:gd name="T75" fmla="*/ 117 h 456"/>
                  <a:gd name="T76" fmla="*/ 338 w 408"/>
                  <a:gd name="T77" fmla="*/ 120 h 456"/>
                  <a:gd name="T78" fmla="*/ 355 w 408"/>
                  <a:gd name="T79" fmla="*/ 126 h 456"/>
                  <a:gd name="T80" fmla="*/ 360 w 408"/>
                  <a:gd name="T81" fmla="*/ 115 h 456"/>
                  <a:gd name="T82" fmla="*/ 386 w 408"/>
                  <a:gd name="T83" fmla="*/ 120 h 456"/>
                  <a:gd name="T84" fmla="*/ 402 w 408"/>
                  <a:gd name="T85" fmla="*/ 113 h 456"/>
                  <a:gd name="T86" fmla="*/ 377 w 408"/>
                  <a:gd name="T87" fmla="*/ 90 h 456"/>
                  <a:gd name="T88" fmla="*/ 364 w 408"/>
                  <a:gd name="T89" fmla="*/ 81 h 456"/>
                  <a:gd name="T90" fmla="*/ 364 w 408"/>
                  <a:gd name="T91" fmla="*/ 70 h 456"/>
                  <a:gd name="T92" fmla="*/ 378 w 408"/>
                  <a:gd name="T93" fmla="*/ 64 h 456"/>
                  <a:gd name="T94" fmla="*/ 388 w 408"/>
                  <a:gd name="T95" fmla="*/ 59 h 456"/>
                  <a:gd name="T96" fmla="*/ 384 w 408"/>
                  <a:gd name="T97" fmla="*/ 42 h 456"/>
                  <a:gd name="T98" fmla="*/ 395 w 408"/>
                  <a:gd name="T99" fmla="*/ 32 h 456"/>
                  <a:gd name="T100" fmla="*/ 405 w 408"/>
                  <a:gd name="T101" fmla="*/ 31 h 456"/>
                  <a:gd name="T102" fmla="*/ 402 w 408"/>
                  <a:gd name="T103" fmla="*/ 29 h 456"/>
                  <a:gd name="T104" fmla="*/ 388 w 408"/>
                  <a:gd name="T105" fmla="*/ 30 h 456"/>
                  <a:gd name="T106" fmla="*/ 395 w 408"/>
                  <a:gd name="T107" fmla="*/ 17 h 456"/>
                  <a:gd name="T108" fmla="*/ 386 w 408"/>
                  <a:gd name="T109" fmla="*/ 13 h 456"/>
                  <a:gd name="T110" fmla="*/ 391 w 408"/>
                  <a:gd name="T111" fmla="*/ 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8" h="456">
                    <a:moveTo>
                      <a:pt x="0" y="357"/>
                    </a:moveTo>
                    <a:cubicBezTo>
                      <a:pt x="0" y="447"/>
                      <a:pt x="0" y="447"/>
                      <a:pt x="0" y="447"/>
                    </a:cubicBezTo>
                    <a:cubicBezTo>
                      <a:pt x="2" y="448"/>
                      <a:pt x="4" y="451"/>
                      <a:pt x="4" y="451"/>
                    </a:cubicBezTo>
                    <a:cubicBezTo>
                      <a:pt x="5" y="453"/>
                      <a:pt x="6" y="455"/>
                      <a:pt x="11" y="456"/>
                    </a:cubicBezTo>
                    <a:cubicBezTo>
                      <a:pt x="13" y="456"/>
                      <a:pt x="15" y="456"/>
                      <a:pt x="16" y="456"/>
                    </a:cubicBezTo>
                    <a:cubicBezTo>
                      <a:pt x="18" y="456"/>
                      <a:pt x="18" y="456"/>
                      <a:pt x="19" y="454"/>
                    </a:cubicBezTo>
                    <a:cubicBezTo>
                      <a:pt x="21" y="449"/>
                      <a:pt x="23" y="448"/>
                      <a:pt x="25" y="447"/>
                    </a:cubicBezTo>
                    <a:cubicBezTo>
                      <a:pt x="25" y="447"/>
                      <a:pt x="26" y="447"/>
                      <a:pt x="26" y="446"/>
                    </a:cubicBezTo>
                    <a:cubicBezTo>
                      <a:pt x="26" y="446"/>
                      <a:pt x="27" y="445"/>
                      <a:pt x="28" y="444"/>
                    </a:cubicBezTo>
                    <a:cubicBezTo>
                      <a:pt x="31" y="443"/>
                      <a:pt x="35" y="439"/>
                      <a:pt x="36" y="437"/>
                    </a:cubicBezTo>
                    <a:cubicBezTo>
                      <a:pt x="36" y="435"/>
                      <a:pt x="36" y="435"/>
                      <a:pt x="36" y="435"/>
                    </a:cubicBezTo>
                    <a:cubicBezTo>
                      <a:pt x="36" y="435"/>
                      <a:pt x="36" y="435"/>
                      <a:pt x="36" y="435"/>
                    </a:cubicBezTo>
                    <a:cubicBezTo>
                      <a:pt x="29" y="431"/>
                      <a:pt x="27" y="423"/>
                      <a:pt x="22" y="417"/>
                    </a:cubicBezTo>
                    <a:cubicBezTo>
                      <a:pt x="19" y="414"/>
                      <a:pt x="17" y="412"/>
                      <a:pt x="15" y="408"/>
                    </a:cubicBezTo>
                    <a:cubicBezTo>
                      <a:pt x="14" y="406"/>
                      <a:pt x="14" y="404"/>
                      <a:pt x="13" y="403"/>
                    </a:cubicBezTo>
                    <a:cubicBezTo>
                      <a:pt x="12" y="402"/>
                      <a:pt x="9" y="401"/>
                      <a:pt x="9" y="400"/>
                    </a:cubicBezTo>
                    <a:cubicBezTo>
                      <a:pt x="10" y="391"/>
                      <a:pt x="11" y="383"/>
                      <a:pt x="12" y="374"/>
                    </a:cubicBezTo>
                    <a:cubicBezTo>
                      <a:pt x="12" y="372"/>
                      <a:pt x="12" y="370"/>
                      <a:pt x="13" y="369"/>
                    </a:cubicBezTo>
                    <a:cubicBezTo>
                      <a:pt x="13" y="369"/>
                      <a:pt x="12" y="369"/>
                      <a:pt x="12" y="369"/>
                    </a:cubicBezTo>
                    <a:cubicBezTo>
                      <a:pt x="8" y="369"/>
                      <a:pt x="8" y="376"/>
                      <a:pt x="7" y="380"/>
                    </a:cubicBezTo>
                    <a:cubicBezTo>
                      <a:pt x="6" y="380"/>
                      <a:pt x="5" y="379"/>
                      <a:pt x="4" y="378"/>
                    </a:cubicBezTo>
                    <a:cubicBezTo>
                      <a:pt x="5" y="377"/>
                      <a:pt x="8" y="373"/>
                      <a:pt x="8" y="373"/>
                    </a:cubicBezTo>
                    <a:cubicBezTo>
                      <a:pt x="8" y="371"/>
                      <a:pt x="7" y="369"/>
                      <a:pt x="6" y="366"/>
                    </a:cubicBezTo>
                    <a:cubicBezTo>
                      <a:pt x="4" y="362"/>
                      <a:pt x="2" y="359"/>
                      <a:pt x="0" y="357"/>
                    </a:cubicBezTo>
                    <a:moveTo>
                      <a:pt x="23" y="234"/>
                    </a:moveTo>
                    <a:cubicBezTo>
                      <a:pt x="22" y="234"/>
                      <a:pt x="21" y="234"/>
                      <a:pt x="20" y="234"/>
                    </a:cubicBezTo>
                    <a:cubicBezTo>
                      <a:pt x="18" y="234"/>
                      <a:pt x="17" y="235"/>
                      <a:pt x="15" y="235"/>
                    </a:cubicBezTo>
                    <a:cubicBezTo>
                      <a:pt x="14" y="235"/>
                      <a:pt x="12" y="236"/>
                      <a:pt x="11" y="236"/>
                    </a:cubicBezTo>
                    <a:cubicBezTo>
                      <a:pt x="10" y="236"/>
                      <a:pt x="9" y="236"/>
                      <a:pt x="7" y="236"/>
                    </a:cubicBezTo>
                    <a:cubicBezTo>
                      <a:pt x="5" y="236"/>
                      <a:pt x="3" y="236"/>
                      <a:pt x="0" y="234"/>
                    </a:cubicBezTo>
                    <a:cubicBezTo>
                      <a:pt x="0" y="328"/>
                      <a:pt x="0" y="328"/>
                      <a:pt x="0" y="328"/>
                    </a:cubicBezTo>
                    <a:cubicBezTo>
                      <a:pt x="1" y="326"/>
                      <a:pt x="2" y="324"/>
                      <a:pt x="3" y="322"/>
                    </a:cubicBezTo>
                    <a:cubicBezTo>
                      <a:pt x="4" y="318"/>
                      <a:pt x="6" y="314"/>
                      <a:pt x="7" y="310"/>
                    </a:cubicBezTo>
                    <a:cubicBezTo>
                      <a:pt x="8" y="309"/>
                      <a:pt x="8" y="309"/>
                      <a:pt x="7" y="308"/>
                    </a:cubicBezTo>
                    <a:cubicBezTo>
                      <a:pt x="8" y="309"/>
                      <a:pt x="8" y="309"/>
                      <a:pt x="8" y="309"/>
                    </a:cubicBezTo>
                    <a:cubicBezTo>
                      <a:pt x="7" y="308"/>
                      <a:pt x="7" y="308"/>
                      <a:pt x="7" y="308"/>
                    </a:cubicBezTo>
                    <a:cubicBezTo>
                      <a:pt x="8" y="306"/>
                      <a:pt x="8" y="306"/>
                      <a:pt x="8" y="306"/>
                    </a:cubicBezTo>
                    <a:cubicBezTo>
                      <a:pt x="10" y="307"/>
                      <a:pt x="12" y="309"/>
                      <a:pt x="12" y="309"/>
                    </a:cubicBezTo>
                    <a:cubicBezTo>
                      <a:pt x="13" y="307"/>
                      <a:pt x="12" y="305"/>
                      <a:pt x="11" y="302"/>
                    </a:cubicBezTo>
                    <a:cubicBezTo>
                      <a:pt x="13" y="304"/>
                      <a:pt x="15" y="306"/>
                      <a:pt x="18" y="308"/>
                    </a:cubicBezTo>
                    <a:cubicBezTo>
                      <a:pt x="19" y="304"/>
                      <a:pt x="20" y="304"/>
                      <a:pt x="22" y="304"/>
                    </a:cubicBezTo>
                    <a:cubicBezTo>
                      <a:pt x="23" y="304"/>
                      <a:pt x="24" y="304"/>
                      <a:pt x="25" y="304"/>
                    </a:cubicBezTo>
                    <a:cubicBezTo>
                      <a:pt x="26" y="304"/>
                      <a:pt x="26" y="304"/>
                      <a:pt x="27" y="304"/>
                    </a:cubicBezTo>
                    <a:cubicBezTo>
                      <a:pt x="28" y="304"/>
                      <a:pt x="29" y="304"/>
                      <a:pt x="30" y="302"/>
                    </a:cubicBezTo>
                    <a:cubicBezTo>
                      <a:pt x="33" y="300"/>
                      <a:pt x="36" y="298"/>
                      <a:pt x="39" y="295"/>
                    </a:cubicBezTo>
                    <a:cubicBezTo>
                      <a:pt x="39" y="295"/>
                      <a:pt x="39" y="295"/>
                      <a:pt x="39" y="295"/>
                    </a:cubicBezTo>
                    <a:cubicBezTo>
                      <a:pt x="40" y="295"/>
                      <a:pt x="44" y="299"/>
                      <a:pt x="45" y="299"/>
                    </a:cubicBezTo>
                    <a:cubicBezTo>
                      <a:pt x="43" y="298"/>
                      <a:pt x="43" y="294"/>
                      <a:pt x="43" y="291"/>
                    </a:cubicBezTo>
                    <a:cubicBezTo>
                      <a:pt x="43" y="289"/>
                      <a:pt x="44" y="289"/>
                      <a:pt x="46" y="289"/>
                    </a:cubicBezTo>
                    <a:cubicBezTo>
                      <a:pt x="47" y="289"/>
                      <a:pt x="47" y="289"/>
                      <a:pt x="48" y="289"/>
                    </a:cubicBezTo>
                    <a:cubicBezTo>
                      <a:pt x="49" y="289"/>
                      <a:pt x="50" y="289"/>
                      <a:pt x="50" y="289"/>
                    </a:cubicBezTo>
                    <a:cubicBezTo>
                      <a:pt x="51" y="289"/>
                      <a:pt x="53" y="289"/>
                      <a:pt x="53" y="289"/>
                    </a:cubicBezTo>
                    <a:cubicBezTo>
                      <a:pt x="54" y="288"/>
                      <a:pt x="54" y="286"/>
                      <a:pt x="55" y="284"/>
                    </a:cubicBezTo>
                    <a:cubicBezTo>
                      <a:pt x="54" y="284"/>
                      <a:pt x="53" y="283"/>
                      <a:pt x="52" y="283"/>
                    </a:cubicBezTo>
                    <a:cubicBezTo>
                      <a:pt x="51" y="282"/>
                      <a:pt x="49" y="281"/>
                      <a:pt x="47" y="281"/>
                    </a:cubicBezTo>
                    <a:cubicBezTo>
                      <a:pt x="45" y="285"/>
                      <a:pt x="45" y="285"/>
                      <a:pt x="45" y="285"/>
                    </a:cubicBezTo>
                    <a:cubicBezTo>
                      <a:pt x="46" y="280"/>
                      <a:pt x="46" y="280"/>
                      <a:pt x="46" y="280"/>
                    </a:cubicBezTo>
                    <a:cubicBezTo>
                      <a:pt x="45" y="280"/>
                      <a:pt x="45" y="280"/>
                      <a:pt x="45" y="280"/>
                    </a:cubicBezTo>
                    <a:cubicBezTo>
                      <a:pt x="44" y="279"/>
                      <a:pt x="42" y="278"/>
                      <a:pt x="41" y="278"/>
                    </a:cubicBezTo>
                    <a:cubicBezTo>
                      <a:pt x="40" y="277"/>
                      <a:pt x="40" y="277"/>
                      <a:pt x="40" y="277"/>
                    </a:cubicBezTo>
                    <a:cubicBezTo>
                      <a:pt x="40" y="277"/>
                      <a:pt x="40" y="277"/>
                      <a:pt x="40" y="277"/>
                    </a:cubicBezTo>
                    <a:cubicBezTo>
                      <a:pt x="40" y="277"/>
                      <a:pt x="40" y="277"/>
                      <a:pt x="40" y="277"/>
                    </a:cubicBezTo>
                    <a:cubicBezTo>
                      <a:pt x="39" y="277"/>
                      <a:pt x="39" y="277"/>
                      <a:pt x="39" y="277"/>
                    </a:cubicBezTo>
                    <a:cubicBezTo>
                      <a:pt x="37" y="277"/>
                      <a:pt x="37" y="277"/>
                      <a:pt x="37" y="277"/>
                    </a:cubicBezTo>
                    <a:cubicBezTo>
                      <a:pt x="36" y="276"/>
                      <a:pt x="35" y="275"/>
                      <a:pt x="35" y="274"/>
                    </a:cubicBezTo>
                    <a:cubicBezTo>
                      <a:pt x="34" y="273"/>
                      <a:pt x="34" y="273"/>
                      <a:pt x="34" y="273"/>
                    </a:cubicBezTo>
                    <a:cubicBezTo>
                      <a:pt x="32" y="271"/>
                      <a:pt x="32" y="271"/>
                      <a:pt x="32" y="271"/>
                    </a:cubicBezTo>
                    <a:cubicBezTo>
                      <a:pt x="33" y="269"/>
                      <a:pt x="33" y="269"/>
                      <a:pt x="33" y="269"/>
                    </a:cubicBezTo>
                    <a:cubicBezTo>
                      <a:pt x="33" y="268"/>
                      <a:pt x="34" y="267"/>
                      <a:pt x="35" y="266"/>
                    </a:cubicBezTo>
                    <a:cubicBezTo>
                      <a:pt x="35" y="265"/>
                      <a:pt x="36" y="264"/>
                      <a:pt x="37" y="264"/>
                    </a:cubicBezTo>
                    <a:cubicBezTo>
                      <a:pt x="38" y="263"/>
                      <a:pt x="39" y="263"/>
                      <a:pt x="40" y="263"/>
                    </a:cubicBezTo>
                    <a:cubicBezTo>
                      <a:pt x="42" y="263"/>
                      <a:pt x="43" y="264"/>
                      <a:pt x="44" y="265"/>
                    </a:cubicBezTo>
                    <a:cubicBezTo>
                      <a:pt x="45" y="265"/>
                      <a:pt x="45" y="265"/>
                      <a:pt x="46" y="265"/>
                    </a:cubicBezTo>
                    <a:cubicBezTo>
                      <a:pt x="46" y="266"/>
                      <a:pt x="47" y="266"/>
                      <a:pt x="47" y="266"/>
                    </a:cubicBezTo>
                    <a:cubicBezTo>
                      <a:pt x="47" y="266"/>
                      <a:pt x="47" y="266"/>
                      <a:pt x="47" y="266"/>
                    </a:cubicBezTo>
                    <a:cubicBezTo>
                      <a:pt x="47" y="265"/>
                      <a:pt x="47" y="265"/>
                      <a:pt x="47" y="265"/>
                    </a:cubicBezTo>
                    <a:cubicBezTo>
                      <a:pt x="47" y="265"/>
                      <a:pt x="47" y="265"/>
                      <a:pt x="47" y="265"/>
                    </a:cubicBezTo>
                    <a:cubicBezTo>
                      <a:pt x="47" y="264"/>
                      <a:pt x="47" y="264"/>
                      <a:pt x="47" y="264"/>
                    </a:cubicBezTo>
                    <a:cubicBezTo>
                      <a:pt x="46" y="264"/>
                      <a:pt x="46" y="264"/>
                      <a:pt x="46" y="264"/>
                    </a:cubicBezTo>
                    <a:cubicBezTo>
                      <a:pt x="46" y="263"/>
                      <a:pt x="46" y="263"/>
                      <a:pt x="46" y="263"/>
                    </a:cubicBezTo>
                    <a:cubicBezTo>
                      <a:pt x="46" y="263"/>
                      <a:pt x="45" y="262"/>
                      <a:pt x="45" y="262"/>
                    </a:cubicBezTo>
                    <a:cubicBezTo>
                      <a:pt x="45" y="262"/>
                      <a:pt x="45" y="262"/>
                      <a:pt x="45" y="262"/>
                    </a:cubicBezTo>
                    <a:cubicBezTo>
                      <a:pt x="44" y="261"/>
                      <a:pt x="44" y="260"/>
                      <a:pt x="43" y="260"/>
                    </a:cubicBezTo>
                    <a:cubicBezTo>
                      <a:pt x="42" y="259"/>
                      <a:pt x="41" y="258"/>
                      <a:pt x="41" y="257"/>
                    </a:cubicBezTo>
                    <a:cubicBezTo>
                      <a:pt x="39" y="254"/>
                      <a:pt x="37" y="252"/>
                      <a:pt x="36" y="249"/>
                    </a:cubicBezTo>
                    <a:cubicBezTo>
                      <a:pt x="31" y="243"/>
                      <a:pt x="31" y="243"/>
                      <a:pt x="31" y="243"/>
                    </a:cubicBezTo>
                    <a:cubicBezTo>
                      <a:pt x="30" y="241"/>
                      <a:pt x="29" y="240"/>
                      <a:pt x="28" y="238"/>
                    </a:cubicBezTo>
                    <a:cubicBezTo>
                      <a:pt x="27" y="237"/>
                      <a:pt x="26" y="235"/>
                      <a:pt x="25" y="234"/>
                    </a:cubicBezTo>
                    <a:cubicBezTo>
                      <a:pt x="24" y="234"/>
                      <a:pt x="24" y="234"/>
                      <a:pt x="24" y="234"/>
                    </a:cubicBezTo>
                    <a:cubicBezTo>
                      <a:pt x="24" y="234"/>
                      <a:pt x="24" y="234"/>
                      <a:pt x="24" y="234"/>
                    </a:cubicBezTo>
                    <a:cubicBezTo>
                      <a:pt x="24" y="234"/>
                      <a:pt x="23" y="234"/>
                      <a:pt x="23" y="234"/>
                    </a:cubicBezTo>
                    <a:moveTo>
                      <a:pt x="386" y="0"/>
                    </a:moveTo>
                    <a:cubicBezTo>
                      <a:pt x="0" y="0"/>
                      <a:pt x="0" y="0"/>
                      <a:pt x="0" y="0"/>
                    </a:cubicBezTo>
                    <a:cubicBezTo>
                      <a:pt x="0" y="144"/>
                      <a:pt x="0" y="144"/>
                      <a:pt x="0" y="144"/>
                    </a:cubicBezTo>
                    <a:cubicBezTo>
                      <a:pt x="1" y="143"/>
                      <a:pt x="1" y="141"/>
                      <a:pt x="2" y="139"/>
                    </a:cubicBezTo>
                    <a:cubicBezTo>
                      <a:pt x="2" y="138"/>
                      <a:pt x="2" y="138"/>
                      <a:pt x="2" y="138"/>
                    </a:cubicBezTo>
                    <a:cubicBezTo>
                      <a:pt x="2" y="138"/>
                      <a:pt x="2" y="137"/>
                      <a:pt x="2" y="136"/>
                    </a:cubicBezTo>
                    <a:cubicBezTo>
                      <a:pt x="3" y="136"/>
                      <a:pt x="3" y="135"/>
                      <a:pt x="3" y="135"/>
                    </a:cubicBezTo>
                    <a:cubicBezTo>
                      <a:pt x="5" y="132"/>
                      <a:pt x="8" y="131"/>
                      <a:pt x="11" y="131"/>
                    </a:cubicBezTo>
                    <a:cubicBezTo>
                      <a:pt x="12" y="131"/>
                      <a:pt x="12" y="131"/>
                      <a:pt x="12" y="131"/>
                    </a:cubicBezTo>
                    <a:cubicBezTo>
                      <a:pt x="12" y="131"/>
                      <a:pt x="13" y="131"/>
                      <a:pt x="13" y="131"/>
                    </a:cubicBezTo>
                    <a:cubicBezTo>
                      <a:pt x="14" y="131"/>
                      <a:pt x="14" y="131"/>
                      <a:pt x="14" y="131"/>
                    </a:cubicBezTo>
                    <a:cubicBezTo>
                      <a:pt x="19" y="133"/>
                      <a:pt x="23" y="138"/>
                      <a:pt x="25" y="140"/>
                    </a:cubicBezTo>
                    <a:cubicBezTo>
                      <a:pt x="26" y="142"/>
                      <a:pt x="26" y="142"/>
                      <a:pt x="26" y="142"/>
                    </a:cubicBezTo>
                    <a:cubicBezTo>
                      <a:pt x="27" y="142"/>
                      <a:pt x="28" y="143"/>
                      <a:pt x="28" y="144"/>
                    </a:cubicBezTo>
                    <a:cubicBezTo>
                      <a:pt x="29" y="145"/>
                      <a:pt x="29" y="145"/>
                      <a:pt x="29" y="145"/>
                    </a:cubicBezTo>
                    <a:cubicBezTo>
                      <a:pt x="31" y="147"/>
                      <a:pt x="33" y="149"/>
                      <a:pt x="34" y="150"/>
                    </a:cubicBezTo>
                    <a:cubicBezTo>
                      <a:pt x="35" y="151"/>
                      <a:pt x="35" y="151"/>
                      <a:pt x="35" y="151"/>
                    </a:cubicBezTo>
                    <a:cubicBezTo>
                      <a:pt x="36" y="151"/>
                      <a:pt x="36" y="151"/>
                      <a:pt x="36" y="151"/>
                    </a:cubicBezTo>
                    <a:cubicBezTo>
                      <a:pt x="36" y="151"/>
                      <a:pt x="37" y="150"/>
                      <a:pt x="38" y="150"/>
                    </a:cubicBezTo>
                    <a:cubicBezTo>
                      <a:pt x="38" y="150"/>
                      <a:pt x="38" y="150"/>
                      <a:pt x="38" y="150"/>
                    </a:cubicBezTo>
                    <a:cubicBezTo>
                      <a:pt x="40" y="150"/>
                      <a:pt x="42" y="149"/>
                      <a:pt x="44" y="148"/>
                    </a:cubicBezTo>
                    <a:cubicBezTo>
                      <a:pt x="43" y="147"/>
                      <a:pt x="43" y="147"/>
                      <a:pt x="43" y="147"/>
                    </a:cubicBezTo>
                    <a:cubicBezTo>
                      <a:pt x="43" y="147"/>
                      <a:pt x="43" y="147"/>
                      <a:pt x="43" y="147"/>
                    </a:cubicBezTo>
                    <a:cubicBezTo>
                      <a:pt x="42" y="146"/>
                      <a:pt x="42" y="146"/>
                      <a:pt x="42" y="146"/>
                    </a:cubicBezTo>
                    <a:cubicBezTo>
                      <a:pt x="42" y="145"/>
                      <a:pt x="42" y="143"/>
                      <a:pt x="42" y="143"/>
                    </a:cubicBezTo>
                    <a:cubicBezTo>
                      <a:pt x="42" y="143"/>
                      <a:pt x="42" y="143"/>
                      <a:pt x="42" y="143"/>
                    </a:cubicBezTo>
                    <a:cubicBezTo>
                      <a:pt x="42" y="142"/>
                      <a:pt x="42" y="142"/>
                      <a:pt x="42" y="142"/>
                    </a:cubicBezTo>
                    <a:cubicBezTo>
                      <a:pt x="41" y="141"/>
                      <a:pt x="41" y="141"/>
                      <a:pt x="41" y="140"/>
                    </a:cubicBezTo>
                    <a:cubicBezTo>
                      <a:pt x="40" y="138"/>
                      <a:pt x="40" y="137"/>
                      <a:pt x="40" y="136"/>
                    </a:cubicBezTo>
                    <a:cubicBezTo>
                      <a:pt x="39" y="135"/>
                      <a:pt x="39" y="133"/>
                      <a:pt x="39" y="132"/>
                    </a:cubicBezTo>
                    <a:cubicBezTo>
                      <a:pt x="38" y="131"/>
                      <a:pt x="38" y="131"/>
                      <a:pt x="38" y="131"/>
                    </a:cubicBezTo>
                    <a:cubicBezTo>
                      <a:pt x="37" y="129"/>
                      <a:pt x="36" y="127"/>
                      <a:pt x="36" y="124"/>
                    </a:cubicBezTo>
                    <a:cubicBezTo>
                      <a:pt x="36" y="120"/>
                      <a:pt x="36" y="120"/>
                      <a:pt x="36" y="120"/>
                    </a:cubicBezTo>
                    <a:cubicBezTo>
                      <a:pt x="38" y="120"/>
                      <a:pt x="38" y="120"/>
                      <a:pt x="38" y="120"/>
                    </a:cubicBezTo>
                    <a:cubicBezTo>
                      <a:pt x="41" y="121"/>
                      <a:pt x="41" y="121"/>
                      <a:pt x="41" y="121"/>
                    </a:cubicBezTo>
                    <a:cubicBezTo>
                      <a:pt x="42" y="122"/>
                      <a:pt x="43" y="122"/>
                      <a:pt x="43" y="122"/>
                    </a:cubicBezTo>
                    <a:cubicBezTo>
                      <a:pt x="44" y="122"/>
                      <a:pt x="46" y="121"/>
                      <a:pt x="48" y="120"/>
                    </a:cubicBezTo>
                    <a:cubicBezTo>
                      <a:pt x="49" y="119"/>
                      <a:pt x="50" y="119"/>
                      <a:pt x="50" y="118"/>
                    </a:cubicBezTo>
                    <a:cubicBezTo>
                      <a:pt x="51" y="118"/>
                      <a:pt x="51" y="118"/>
                      <a:pt x="52" y="118"/>
                    </a:cubicBezTo>
                    <a:cubicBezTo>
                      <a:pt x="52" y="117"/>
                      <a:pt x="52" y="117"/>
                      <a:pt x="52" y="117"/>
                    </a:cubicBezTo>
                    <a:cubicBezTo>
                      <a:pt x="53" y="117"/>
                      <a:pt x="54" y="117"/>
                      <a:pt x="55" y="116"/>
                    </a:cubicBezTo>
                    <a:cubicBezTo>
                      <a:pt x="55" y="116"/>
                      <a:pt x="55" y="116"/>
                      <a:pt x="55" y="116"/>
                    </a:cubicBezTo>
                    <a:cubicBezTo>
                      <a:pt x="56" y="116"/>
                      <a:pt x="58" y="115"/>
                      <a:pt x="59" y="115"/>
                    </a:cubicBezTo>
                    <a:cubicBezTo>
                      <a:pt x="59" y="114"/>
                      <a:pt x="59" y="114"/>
                      <a:pt x="59" y="114"/>
                    </a:cubicBezTo>
                    <a:cubicBezTo>
                      <a:pt x="56" y="110"/>
                      <a:pt x="56" y="110"/>
                      <a:pt x="56" y="110"/>
                    </a:cubicBezTo>
                    <a:cubicBezTo>
                      <a:pt x="81" y="99"/>
                      <a:pt x="81" y="99"/>
                      <a:pt x="81" y="99"/>
                    </a:cubicBezTo>
                    <a:cubicBezTo>
                      <a:pt x="81" y="99"/>
                      <a:pt x="82" y="99"/>
                      <a:pt x="83" y="99"/>
                    </a:cubicBezTo>
                    <a:cubicBezTo>
                      <a:pt x="83" y="99"/>
                      <a:pt x="83" y="99"/>
                      <a:pt x="83" y="99"/>
                    </a:cubicBezTo>
                    <a:cubicBezTo>
                      <a:pt x="85" y="98"/>
                      <a:pt x="86" y="98"/>
                      <a:pt x="86" y="98"/>
                    </a:cubicBezTo>
                    <a:cubicBezTo>
                      <a:pt x="86" y="97"/>
                      <a:pt x="86" y="97"/>
                      <a:pt x="86" y="97"/>
                    </a:cubicBezTo>
                    <a:cubicBezTo>
                      <a:pt x="87" y="95"/>
                      <a:pt x="87" y="95"/>
                      <a:pt x="87" y="95"/>
                    </a:cubicBezTo>
                    <a:cubicBezTo>
                      <a:pt x="88" y="94"/>
                      <a:pt x="88" y="94"/>
                      <a:pt x="88" y="94"/>
                    </a:cubicBezTo>
                    <a:cubicBezTo>
                      <a:pt x="89" y="93"/>
                      <a:pt x="89" y="93"/>
                      <a:pt x="89" y="93"/>
                    </a:cubicBezTo>
                    <a:cubicBezTo>
                      <a:pt x="92" y="88"/>
                      <a:pt x="93" y="86"/>
                      <a:pt x="98" y="86"/>
                    </a:cubicBezTo>
                    <a:cubicBezTo>
                      <a:pt x="99" y="86"/>
                      <a:pt x="99" y="86"/>
                      <a:pt x="99" y="86"/>
                    </a:cubicBezTo>
                    <a:cubicBezTo>
                      <a:pt x="99" y="86"/>
                      <a:pt x="99" y="86"/>
                      <a:pt x="99" y="86"/>
                    </a:cubicBezTo>
                    <a:cubicBezTo>
                      <a:pt x="99" y="85"/>
                      <a:pt x="99" y="85"/>
                      <a:pt x="99" y="84"/>
                    </a:cubicBezTo>
                    <a:cubicBezTo>
                      <a:pt x="96" y="78"/>
                      <a:pt x="96" y="78"/>
                      <a:pt x="96" y="78"/>
                    </a:cubicBezTo>
                    <a:cubicBezTo>
                      <a:pt x="104" y="79"/>
                      <a:pt x="104" y="79"/>
                      <a:pt x="104" y="79"/>
                    </a:cubicBezTo>
                    <a:cubicBezTo>
                      <a:pt x="105" y="80"/>
                      <a:pt x="107" y="80"/>
                      <a:pt x="110" y="81"/>
                    </a:cubicBezTo>
                    <a:cubicBezTo>
                      <a:pt x="111" y="81"/>
                      <a:pt x="111" y="81"/>
                      <a:pt x="112" y="82"/>
                    </a:cubicBezTo>
                    <a:cubicBezTo>
                      <a:pt x="114" y="82"/>
                      <a:pt x="116" y="83"/>
                      <a:pt x="117" y="83"/>
                    </a:cubicBezTo>
                    <a:cubicBezTo>
                      <a:pt x="118" y="84"/>
                      <a:pt x="121" y="85"/>
                      <a:pt x="122" y="88"/>
                    </a:cubicBezTo>
                    <a:cubicBezTo>
                      <a:pt x="123" y="84"/>
                      <a:pt x="123" y="84"/>
                      <a:pt x="123" y="84"/>
                    </a:cubicBezTo>
                    <a:cubicBezTo>
                      <a:pt x="123" y="90"/>
                      <a:pt x="123" y="90"/>
                      <a:pt x="123" y="90"/>
                    </a:cubicBezTo>
                    <a:cubicBezTo>
                      <a:pt x="123" y="90"/>
                      <a:pt x="123" y="90"/>
                      <a:pt x="123" y="90"/>
                    </a:cubicBezTo>
                    <a:cubicBezTo>
                      <a:pt x="124" y="91"/>
                      <a:pt x="125" y="91"/>
                      <a:pt x="125" y="91"/>
                    </a:cubicBezTo>
                    <a:cubicBezTo>
                      <a:pt x="126" y="91"/>
                      <a:pt x="126" y="91"/>
                      <a:pt x="126" y="91"/>
                    </a:cubicBezTo>
                    <a:cubicBezTo>
                      <a:pt x="126" y="91"/>
                      <a:pt x="126" y="91"/>
                      <a:pt x="126" y="91"/>
                    </a:cubicBezTo>
                    <a:cubicBezTo>
                      <a:pt x="126" y="91"/>
                      <a:pt x="126" y="91"/>
                      <a:pt x="126" y="91"/>
                    </a:cubicBezTo>
                    <a:cubicBezTo>
                      <a:pt x="126" y="90"/>
                      <a:pt x="126" y="90"/>
                      <a:pt x="127" y="89"/>
                    </a:cubicBezTo>
                    <a:cubicBezTo>
                      <a:pt x="127" y="88"/>
                      <a:pt x="127" y="88"/>
                      <a:pt x="127" y="88"/>
                    </a:cubicBezTo>
                    <a:cubicBezTo>
                      <a:pt x="127" y="87"/>
                      <a:pt x="128" y="84"/>
                      <a:pt x="133" y="83"/>
                    </a:cubicBezTo>
                    <a:cubicBezTo>
                      <a:pt x="138" y="83"/>
                      <a:pt x="139" y="82"/>
                      <a:pt x="144" y="79"/>
                    </a:cubicBezTo>
                    <a:cubicBezTo>
                      <a:pt x="147" y="77"/>
                      <a:pt x="147" y="77"/>
                      <a:pt x="147" y="77"/>
                    </a:cubicBezTo>
                    <a:cubicBezTo>
                      <a:pt x="149" y="81"/>
                      <a:pt x="149" y="81"/>
                      <a:pt x="149" y="81"/>
                    </a:cubicBezTo>
                    <a:cubicBezTo>
                      <a:pt x="150" y="81"/>
                      <a:pt x="150" y="82"/>
                      <a:pt x="151" y="84"/>
                    </a:cubicBezTo>
                    <a:cubicBezTo>
                      <a:pt x="151" y="85"/>
                      <a:pt x="152" y="87"/>
                      <a:pt x="152" y="88"/>
                    </a:cubicBezTo>
                    <a:cubicBezTo>
                      <a:pt x="153" y="89"/>
                      <a:pt x="153" y="89"/>
                      <a:pt x="153" y="89"/>
                    </a:cubicBezTo>
                    <a:cubicBezTo>
                      <a:pt x="153" y="89"/>
                      <a:pt x="153" y="90"/>
                      <a:pt x="153" y="90"/>
                    </a:cubicBezTo>
                    <a:cubicBezTo>
                      <a:pt x="154" y="90"/>
                      <a:pt x="154" y="90"/>
                      <a:pt x="154" y="90"/>
                    </a:cubicBezTo>
                    <a:cubicBezTo>
                      <a:pt x="154" y="91"/>
                      <a:pt x="154" y="91"/>
                      <a:pt x="154" y="91"/>
                    </a:cubicBezTo>
                    <a:cubicBezTo>
                      <a:pt x="154" y="91"/>
                      <a:pt x="154" y="91"/>
                      <a:pt x="154" y="91"/>
                    </a:cubicBezTo>
                    <a:cubicBezTo>
                      <a:pt x="154" y="91"/>
                      <a:pt x="154" y="91"/>
                      <a:pt x="154" y="91"/>
                    </a:cubicBezTo>
                    <a:cubicBezTo>
                      <a:pt x="155" y="90"/>
                      <a:pt x="155" y="90"/>
                      <a:pt x="155" y="90"/>
                    </a:cubicBezTo>
                    <a:cubicBezTo>
                      <a:pt x="153" y="83"/>
                      <a:pt x="153" y="83"/>
                      <a:pt x="153" y="83"/>
                    </a:cubicBezTo>
                    <a:cubicBezTo>
                      <a:pt x="157" y="90"/>
                      <a:pt x="157" y="90"/>
                      <a:pt x="157" y="90"/>
                    </a:cubicBezTo>
                    <a:cubicBezTo>
                      <a:pt x="157" y="90"/>
                      <a:pt x="157" y="90"/>
                      <a:pt x="157" y="90"/>
                    </a:cubicBezTo>
                    <a:cubicBezTo>
                      <a:pt x="160" y="89"/>
                      <a:pt x="163" y="89"/>
                      <a:pt x="166" y="89"/>
                    </a:cubicBezTo>
                    <a:cubicBezTo>
                      <a:pt x="166" y="89"/>
                      <a:pt x="167" y="89"/>
                      <a:pt x="167" y="89"/>
                    </a:cubicBezTo>
                    <a:cubicBezTo>
                      <a:pt x="171" y="89"/>
                      <a:pt x="176" y="89"/>
                      <a:pt x="179" y="91"/>
                    </a:cubicBezTo>
                    <a:cubicBezTo>
                      <a:pt x="186" y="94"/>
                      <a:pt x="193" y="100"/>
                      <a:pt x="199" y="105"/>
                    </a:cubicBezTo>
                    <a:cubicBezTo>
                      <a:pt x="200" y="106"/>
                      <a:pt x="200" y="106"/>
                      <a:pt x="200" y="106"/>
                    </a:cubicBezTo>
                    <a:cubicBezTo>
                      <a:pt x="202" y="108"/>
                      <a:pt x="203" y="109"/>
                      <a:pt x="205" y="111"/>
                    </a:cubicBezTo>
                    <a:cubicBezTo>
                      <a:pt x="206" y="111"/>
                      <a:pt x="206" y="111"/>
                      <a:pt x="206" y="111"/>
                    </a:cubicBezTo>
                    <a:cubicBezTo>
                      <a:pt x="205" y="109"/>
                      <a:pt x="205" y="109"/>
                      <a:pt x="205" y="109"/>
                    </a:cubicBezTo>
                    <a:cubicBezTo>
                      <a:pt x="208" y="108"/>
                      <a:pt x="208" y="108"/>
                      <a:pt x="208" y="108"/>
                    </a:cubicBezTo>
                    <a:cubicBezTo>
                      <a:pt x="209" y="107"/>
                      <a:pt x="210" y="107"/>
                      <a:pt x="211" y="107"/>
                    </a:cubicBezTo>
                    <a:cubicBezTo>
                      <a:pt x="211" y="107"/>
                      <a:pt x="211" y="107"/>
                      <a:pt x="211" y="107"/>
                    </a:cubicBezTo>
                    <a:cubicBezTo>
                      <a:pt x="212" y="107"/>
                      <a:pt x="213" y="107"/>
                      <a:pt x="213" y="107"/>
                    </a:cubicBezTo>
                    <a:cubicBezTo>
                      <a:pt x="214" y="107"/>
                      <a:pt x="214" y="107"/>
                      <a:pt x="214" y="107"/>
                    </a:cubicBezTo>
                    <a:cubicBezTo>
                      <a:pt x="215" y="107"/>
                      <a:pt x="215" y="107"/>
                      <a:pt x="215" y="107"/>
                    </a:cubicBezTo>
                    <a:cubicBezTo>
                      <a:pt x="215" y="108"/>
                      <a:pt x="215" y="108"/>
                      <a:pt x="215" y="108"/>
                    </a:cubicBezTo>
                    <a:cubicBezTo>
                      <a:pt x="217" y="108"/>
                      <a:pt x="219" y="110"/>
                      <a:pt x="220" y="111"/>
                    </a:cubicBezTo>
                    <a:cubicBezTo>
                      <a:pt x="224" y="114"/>
                      <a:pt x="224" y="114"/>
                      <a:pt x="224" y="114"/>
                    </a:cubicBezTo>
                    <a:cubicBezTo>
                      <a:pt x="228" y="116"/>
                      <a:pt x="231" y="119"/>
                      <a:pt x="235" y="121"/>
                    </a:cubicBezTo>
                    <a:cubicBezTo>
                      <a:pt x="239" y="124"/>
                      <a:pt x="241" y="125"/>
                      <a:pt x="241" y="125"/>
                    </a:cubicBezTo>
                    <a:cubicBezTo>
                      <a:pt x="242" y="124"/>
                      <a:pt x="242" y="124"/>
                      <a:pt x="242" y="124"/>
                    </a:cubicBezTo>
                    <a:cubicBezTo>
                      <a:pt x="243" y="124"/>
                      <a:pt x="243" y="124"/>
                      <a:pt x="243" y="124"/>
                    </a:cubicBezTo>
                    <a:cubicBezTo>
                      <a:pt x="244" y="123"/>
                      <a:pt x="245" y="123"/>
                      <a:pt x="245" y="122"/>
                    </a:cubicBezTo>
                    <a:cubicBezTo>
                      <a:pt x="246" y="122"/>
                      <a:pt x="246" y="122"/>
                      <a:pt x="247" y="121"/>
                    </a:cubicBezTo>
                    <a:cubicBezTo>
                      <a:pt x="248" y="121"/>
                      <a:pt x="248" y="120"/>
                      <a:pt x="249" y="120"/>
                    </a:cubicBezTo>
                    <a:cubicBezTo>
                      <a:pt x="250" y="120"/>
                      <a:pt x="250" y="120"/>
                      <a:pt x="250" y="120"/>
                    </a:cubicBezTo>
                    <a:cubicBezTo>
                      <a:pt x="250" y="119"/>
                      <a:pt x="250" y="119"/>
                      <a:pt x="250" y="119"/>
                    </a:cubicBezTo>
                    <a:cubicBezTo>
                      <a:pt x="250" y="118"/>
                      <a:pt x="250" y="118"/>
                      <a:pt x="250" y="118"/>
                    </a:cubicBezTo>
                    <a:cubicBezTo>
                      <a:pt x="250" y="117"/>
                      <a:pt x="250" y="117"/>
                      <a:pt x="251" y="117"/>
                    </a:cubicBezTo>
                    <a:cubicBezTo>
                      <a:pt x="252" y="114"/>
                      <a:pt x="255" y="113"/>
                      <a:pt x="256" y="113"/>
                    </a:cubicBezTo>
                    <a:cubicBezTo>
                      <a:pt x="257" y="113"/>
                      <a:pt x="257" y="113"/>
                      <a:pt x="258" y="112"/>
                    </a:cubicBezTo>
                    <a:cubicBezTo>
                      <a:pt x="258" y="112"/>
                      <a:pt x="259" y="111"/>
                      <a:pt x="259" y="111"/>
                    </a:cubicBezTo>
                    <a:cubicBezTo>
                      <a:pt x="260" y="108"/>
                      <a:pt x="262" y="107"/>
                      <a:pt x="265" y="106"/>
                    </a:cubicBezTo>
                    <a:cubicBezTo>
                      <a:pt x="270" y="106"/>
                      <a:pt x="274" y="105"/>
                      <a:pt x="279" y="104"/>
                    </a:cubicBezTo>
                    <a:cubicBezTo>
                      <a:pt x="280" y="104"/>
                      <a:pt x="281" y="104"/>
                      <a:pt x="281" y="104"/>
                    </a:cubicBezTo>
                    <a:cubicBezTo>
                      <a:pt x="284" y="104"/>
                      <a:pt x="286" y="105"/>
                      <a:pt x="287" y="107"/>
                    </a:cubicBezTo>
                    <a:cubicBezTo>
                      <a:pt x="288" y="108"/>
                      <a:pt x="288" y="109"/>
                      <a:pt x="289" y="109"/>
                    </a:cubicBezTo>
                    <a:cubicBezTo>
                      <a:pt x="289" y="110"/>
                      <a:pt x="289" y="110"/>
                      <a:pt x="289" y="110"/>
                    </a:cubicBezTo>
                    <a:cubicBezTo>
                      <a:pt x="290" y="111"/>
                      <a:pt x="292" y="113"/>
                      <a:pt x="293" y="113"/>
                    </a:cubicBezTo>
                    <a:cubicBezTo>
                      <a:pt x="293" y="113"/>
                      <a:pt x="293" y="113"/>
                      <a:pt x="294" y="113"/>
                    </a:cubicBezTo>
                    <a:cubicBezTo>
                      <a:pt x="295" y="113"/>
                      <a:pt x="296" y="113"/>
                      <a:pt x="296" y="112"/>
                    </a:cubicBezTo>
                    <a:cubicBezTo>
                      <a:pt x="297" y="112"/>
                      <a:pt x="297" y="112"/>
                      <a:pt x="297" y="112"/>
                    </a:cubicBezTo>
                    <a:cubicBezTo>
                      <a:pt x="297" y="111"/>
                      <a:pt x="297" y="111"/>
                      <a:pt x="297" y="111"/>
                    </a:cubicBezTo>
                    <a:cubicBezTo>
                      <a:pt x="297" y="110"/>
                      <a:pt x="297" y="110"/>
                      <a:pt x="297" y="110"/>
                    </a:cubicBezTo>
                    <a:cubicBezTo>
                      <a:pt x="297" y="106"/>
                      <a:pt x="299" y="104"/>
                      <a:pt x="305" y="103"/>
                    </a:cubicBezTo>
                    <a:cubicBezTo>
                      <a:pt x="306" y="103"/>
                      <a:pt x="306" y="103"/>
                      <a:pt x="306" y="103"/>
                    </a:cubicBezTo>
                    <a:cubicBezTo>
                      <a:pt x="307" y="103"/>
                      <a:pt x="309" y="103"/>
                      <a:pt x="310" y="103"/>
                    </a:cubicBezTo>
                    <a:cubicBezTo>
                      <a:pt x="317" y="103"/>
                      <a:pt x="327" y="104"/>
                      <a:pt x="328" y="114"/>
                    </a:cubicBezTo>
                    <a:cubicBezTo>
                      <a:pt x="329" y="115"/>
                      <a:pt x="329" y="115"/>
                      <a:pt x="329" y="115"/>
                    </a:cubicBezTo>
                    <a:cubicBezTo>
                      <a:pt x="329" y="115"/>
                      <a:pt x="329" y="117"/>
                      <a:pt x="329" y="117"/>
                    </a:cubicBezTo>
                    <a:cubicBezTo>
                      <a:pt x="329" y="117"/>
                      <a:pt x="329" y="117"/>
                      <a:pt x="331" y="118"/>
                    </a:cubicBezTo>
                    <a:cubicBezTo>
                      <a:pt x="332" y="119"/>
                      <a:pt x="333" y="119"/>
                      <a:pt x="334" y="120"/>
                    </a:cubicBezTo>
                    <a:cubicBezTo>
                      <a:pt x="334" y="120"/>
                      <a:pt x="334" y="120"/>
                      <a:pt x="334" y="120"/>
                    </a:cubicBezTo>
                    <a:cubicBezTo>
                      <a:pt x="334" y="120"/>
                      <a:pt x="334" y="120"/>
                      <a:pt x="334" y="120"/>
                    </a:cubicBezTo>
                    <a:cubicBezTo>
                      <a:pt x="335" y="120"/>
                      <a:pt x="335" y="120"/>
                      <a:pt x="335" y="120"/>
                    </a:cubicBezTo>
                    <a:cubicBezTo>
                      <a:pt x="336" y="120"/>
                      <a:pt x="337" y="120"/>
                      <a:pt x="338" y="120"/>
                    </a:cubicBezTo>
                    <a:cubicBezTo>
                      <a:pt x="338" y="120"/>
                      <a:pt x="338" y="120"/>
                      <a:pt x="338" y="120"/>
                    </a:cubicBezTo>
                    <a:cubicBezTo>
                      <a:pt x="339" y="120"/>
                      <a:pt x="340" y="121"/>
                      <a:pt x="341" y="121"/>
                    </a:cubicBezTo>
                    <a:cubicBezTo>
                      <a:pt x="345" y="121"/>
                      <a:pt x="348" y="122"/>
                      <a:pt x="351" y="123"/>
                    </a:cubicBezTo>
                    <a:cubicBezTo>
                      <a:pt x="352" y="123"/>
                      <a:pt x="353" y="124"/>
                      <a:pt x="354" y="126"/>
                    </a:cubicBezTo>
                    <a:cubicBezTo>
                      <a:pt x="354" y="126"/>
                      <a:pt x="354" y="126"/>
                      <a:pt x="354" y="126"/>
                    </a:cubicBezTo>
                    <a:cubicBezTo>
                      <a:pt x="355" y="126"/>
                      <a:pt x="355" y="126"/>
                      <a:pt x="355" y="126"/>
                    </a:cubicBezTo>
                    <a:cubicBezTo>
                      <a:pt x="355" y="125"/>
                      <a:pt x="356" y="125"/>
                      <a:pt x="356" y="125"/>
                    </a:cubicBezTo>
                    <a:cubicBezTo>
                      <a:pt x="357" y="124"/>
                      <a:pt x="357" y="124"/>
                      <a:pt x="357" y="124"/>
                    </a:cubicBezTo>
                    <a:cubicBezTo>
                      <a:pt x="357" y="124"/>
                      <a:pt x="358" y="123"/>
                      <a:pt x="358" y="122"/>
                    </a:cubicBezTo>
                    <a:cubicBezTo>
                      <a:pt x="359" y="120"/>
                      <a:pt x="359" y="119"/>
                      <a:pt x="360" y="117"/>
                    </a:cubicBezTo>
                    <a:cubicBezTo>
                      <a:pt x="360" y="116"/>
                      <a:pt x="360" y="116"/>
                      <a:pt x="360" y="116"/>
                    </a:cubicBezTo>
                    <a:cubicBezTo>
                      <a:pt x="360" y="115"/>
                      <a:pt x="360" y="115"/>
                      <a:pt x="360" y="115"/>
                    </a:cubicBezTo>
                    <a:cubicBezTo>
                      <a:pt x="362" y="112"/>
                      <a:pt x="362" y="112"/>
                      <a:pt x="362" y="112"/>
                    </a:cubicBezTo>
                    <a:cubicBezTo>
                      <a:pt x="370" y="117"/>
                      <a:pt x="370" y="117"/>
                      <a:pt x="370" y="117"/>
                    </a:cubicBezTo>
                    <a:cubicBezTo>
                      <a:pt x="372" y="118"/>
                      <a:pt x="372" y="118"/>
                      <a:pt x="372" y="118"/>
                    </a:cubicBezTo>
                    <a:cubicBezTo>
                      <a:pt x="376" y="119"/>
                      <a:pt x="380" y="120"/>
                      <a:pt x="383" y="120"/>
                    </a:cubicBezTo>
                    <a:cubicBezTo>
                      <a:pt x="385" y="121"/>
                      <a:pt x="385" y="121"/>
                      <a:pt x="385" y="121"/>
                    </a:cubicBezTo>
                    <a:cubicBezTo>
                      <a:pt x="386" y="120"/>
                      <a:pt x="386" y="120"/>
                      <a:pt x="386" y="120"/>
                    </a:cubicBezTo>
                    <a:cubicBezTo>
                      <a:pt x="387" y="120"/>
                      <a:pt x="388" y="120"/>
                      <a:pt x="389" y="120"/>
                    </a:cubicBezTo>
                    <a:cubicBezTo>
                      <a:pt x="393" y="119"/>
                      <a:pt x="398" y="118"/>
                      <a:pt x="400" y="117"/>
                    </a:cubicBezTo>
                    <a:cubicBezTo>
                      <a:pt x="401" y="116"/>
                      <a:pt x="401" y="116"/>
                      <a:pt x="401" y="116"/>
                    </a:cubicBezTo>
                    <a:cubicBezTo>
                      <a:pt x="401" y="116"/>
                      <a:pt x="401" y="116"/>
                      <a:pt x="401" y="116"/>
                    </a:cubicBezTo>
                    <a:cubicBezTo>
                      <a:pt x="401" y="116"/>
                      <a:pt x="402" y="115"/>
                      <a:pt x="402" y="115"/>
                    </a:cubicBezTo>
                    <a:cubicBezTo>
                      <a:pt x="402" y="113"/>
                      <a:pt x="402" y="113"/>
                      <a:pt x="402" y="113"/>
                    </a:cubicBezTo>
                    <a:cubicBezTo>
                      <a:pt x="402" y="112"/>
                      <a:pt x="402" y="112"/>
                      <a:pt x="402" y="111"/>
                    </a:cubicBezTo>
                    <a:cubicBezTo>
                      <a:pt x="403" y="110"/>
                      <a:pt x="403" y="110"/>
                      <a:pt x="403" y="110"/>
                    </a:cubicBezTo>
                    <a:cubicBezTo>
                      <a:pt x="403" y="107"/>
                      <a:pt x="405" y="105"/>
                      <a:pt x="406" y="103"/>
                    </a:cubicBezTo>
                    <a:cubicBezTo>
                      <a:pt x="391" y="96"/>
                      <a:pt x="391" y="96"/>
                      <a:pt x="391" y="96"/>
                    </a:cubicBezTo>
                    <a:cubicBezTo>
                      <a:pt x="382" y="91"/>
                      <a:pt x="382" y="91"/>
                      <a:pt x="382" y="91"/>
                    </a:cubicBezTo>
                    <a:cubicBezTo>
                      <a:pt x="377" y="90"/>
                      <a:pt x="377" y="90"/>
                      <a:pt x="377" y="90"/>
                    </a:cubicBezTo>
                    <a:cubicBezTo>
                      <a:pt x="377" y="90"/>
                      <a:pt x="376" y="90"/>
                      <a:pt x="375" y="90"/>
                    </a:cubicBezTo>
                    <a:cubicBezTo>
                      <a:pt x="372" y="88"/>
                      <a:pt x="372" y="88"/>
                      <a:pt x="372" y="88"/>
                    </a:cubicBezTo>
                    <a:cubicBezTo>
                      <a:pt x="369" y="86"/>
                      <a:pt x="369" y="86"/>
                      <a:pt x="369" y="86"/>
                    </a:cubicBezTo>
                    <a:cubicBezTo>
                      <a:pt x="370" y="85"/>
                      <a:pt x="370" y="85"/>
                      <a:pt x="370" y="85"/>
                    </a:cubicBezTo>
                    <a:cubicBezTo>
                      <a:pt x="368" y="84"/>
                      <a:pt x="367" y="83"/>
                      <a:pt x="365" y="82"/>
                    </a:cubicBezTo>
                    <a:cubicBezTo>
                      <a:pt x="364" y="81"/>
                      <a:pt x="364" y="81"/>
                      <a:pt x="364" y="81"/>
                    </a:cubicBezTo>
                    <a:cubicBezTo>
                      <a:pt x="363" y="79"/>
                      <a:pt x="363" y="79"/>
                      <a:pt x="363" y="79"/>
                    </a:cubicBezTo>
                    <a:cubicBezTo>
                      <a:pt x="362" y="78"/>
                      <a:pt x="362" y="78"/>
                      <a:pt x="361" y="78"/>
                    </a:cubicBezTo>
                    <a:cubicBezTo>
                      <a:pt x="360" y="76"/>
                      <a:pt x="360" y="76"/>
                      <a:pt x="360" y="76"/>
                    </a:cubicBezTo>
                    <a:cubicBezTo>
                      <a:pt x="361" y="72"/>
                      <a:pt x="361" y="72"/>
                      <a:pt x="361" y="72"/>
                    </a:cubicBezTo>
                    <a:cubicBezTo>
                      <a:pt x="361" y="70"/>
                      <a:pt x="361" y="70"/>
                      <a:pt x="361" y="70"/>
                    </a:cubicBezTo>
                    <a:cubicBezTo>
                      <a:pt x="364" y="70"/>
                      <a:pt x="364" y="70"/>
                      <a:pt x="364" y="70"/>
                    </a:cubicBezTo>
                    <a:cubicBezTo>
                      <a:pt x="368" y="70"/>
                      <a:pt x="368" y="70"/>
                      <a:pt x="368" y="70"/>
                    </a:cubicBezTo>
                    <a:cubicBezTo>
                      <a:pt x="369" y="70"/>
                      <a:pt x="369" y="70"/>
                      <a:pt x="369" y="70"/>
                    </a:cubicBezTo>
                    <a:cubicBezTo>
                      <a:pt x="370" y="69"/>
                      <a:pt x="370" y="69"/>
                      <a:pt x="370" y="69"/>
                    </a:cubicBezTo>
                    <a:cubicBezTo>
                      <a:pt x="371" y="68"/>
                      <a:pt x="372" y="67"/>
                      <a:pt x="373" y="67"/>
                    </a:cubicBezTo>
                    <a:cubicBezTo>
                      <a:pt x="375" y="65"/>
                      <a:pt x="375" y="65"/>
                      <a:pt x="375" y="65"/>
                    </a:cubicBezTo>
                    <a:cubicBezTo>
                      <a:pt x="377" y="64"/>
                      <a:pt x="377" y="64"/>
                      <a:pt x="378" y="64"/>
                    </a:cubicBezTo>
                    <a:cubicBezTo>
                      <a:pt x="379" y="64"/>
                      <a:pt x="379" y="64"/>
                      <a:pt x="380" y="64"/>
                    </a:cubicBezTo>
                    <a:cubicBezTo>
                      <a:pt x="382" y="64"/>
                      <a:pt x="382" y="64"/>
                      <a:pt x="383" y="63"/>
                    </a:cubicBezTo>
                    <a:cubicBezTo>
                      <a:pt x="383" y="63"/>
                      <a:pt x="383" y="63"/>
                      <a:pt x="384" y="62"/>
                    </a:cubicBezTo>
                    <a:cubicBezTo>
                      <a:pt x="384" y="62"/>
                      <a:pt x="385" y="62"/>
                      <a:pt x="385" y="62"/>
                    </a:cubicBezTo>
                    <a:cubicBezTo>
                      <a:pt x="386" y="61"/>
                      <a:pt x="387" y="60"/>
                      <a:pt x="388" y="60"/>
                    </a:cubicBezTo>
                    <a:cubicBezTo>
                      <a:pt x="388" y="59"/>
                      <a:pt x="388" y="59"/>
                      <a:pt x="388" y="59"/>
                    </a:cubicBezTo>
                    <a:cubicBezTo>
                      <a:pt x="381" y="50"/>
                      <a:pt x="381" y="50"/>
                      <a:pt x="381" y="50"/>
                    </a:cubicBezTo>
                    <a:cubicBezTo>
                      <a:pt x="357" y="46"/>
                      <a:pt x="357" y="46"/>
                      <a:pt x="357" y="46"/>
                    </a:cubicBezTo>
                    <a:cubicBezTo>
                      <a:pt x="381" y="44"/>
                      <a:pt x="381" y="44"/>
                      <a:pt x="381" y="44"/>
                    </a:cubicBezTo>
                    <a:cubicBezTo>
                      <a:pt x="381" y="43"/>
                      <a:pt x="381" y="43"/>
                      <a:pt x="381" y="43"/>
                    </a:cubicBezTo>
                    <a:cubicBezTo>
                      <a:pt x="381" y="43"/>
                      <a:pt x="381" y="43"/>
                      <a:pt x="381" y="43"/>
                    </a:cubicBezTo>
                    <a:cubicBezTo>
                      <a:pt x="384" y="42"/>
                      <a:pt x="384" y="42"/>
                      <a:pt x="384" y="42"/>
                    </a:cubicBezTo>
                    <a:cubicBezTo>
                      <a:pt x="385" y="40"/>
                      <a:pt x="386" y="39"/>
                      <a:pt x="388" y="37"/>
                    </a:cubicBezTo>
                    <a:cubicBezTo>
                      <a:pt x="389" y="36"/>
                      <a:pt x="389" y="36"/>
                      <a:pt x="389" y="36"/>
                    </a:cubicBezTo>
                    <a:cubicBezTo>
                      <a:pt x="389" y="35"/>
                      <a:pt x="389" y="35"/>
                      <a:pt x="389" y="35"/>
                    </a:cubicBezTo>
                    <a:cubicBezTo>
                      <a:pt x="391" y="33"/>
                      <a:pt x="391" y="33"/>
                      <a:pt x="391" y="33"/>
                    </a:cubicBezTo>
                    <a:cubicBezTo>
                      <a:pt x="392" y="33"/>
                      <a:pt x="392" y="33"/>
                      <a:pt x="392" y="33"/>
                    </a:cubicBezTo>
                    <a:cubicBezTo>
                      <a:pt x="393" y="32"/>
                      <a:pt x="394" y="32"/>
                      <a:pt x="395" y="32"/>
                    </a:cubicBezTo>
                    <a:cubicBezTo>
                      <a:pt x="396" y="31"/>
                      <a:pt x="396" y="31"/>
                      <a:pt x="396" y="31"/>
                    </a:cubicBezTo>
                    <a:cubicBezTo>
                      <a:pt x="396" y="31"/>
                      <a:pt x="397" y="31"/>
                      <a:pt x="398" y="31"/>
                    </a:cubicBezTo>
                    <a:cubicBezTo>
                      <a:pt x="399" y="31"/>
                      <a:pt x="400" y="31"/>
                      <a:pt x="400" y="32"/>
                    </a:cubicBezTo>
                    <a:cubicBezTo>
                      <a:pt x="401" y="32"/>
                      <a:pt x="401" y="32"/>
                      <a:pt x="402" y="32"/>
                    </a:cubicBezTo>
                    <a:cubicBezTo>
                      <a:pt x="403" y="31"/>
                      <a:pt x="403" y="31"/>
                      <a:pt x="405" y="31"/>
                    </a:cubicBezTo>
                    <a:cubicBezTo>
                      <a:pt x="405" y="31"/>
                      <a:pt x="405" y="31"/>
                      <a:pt x="405" y="31"/>
                    </a:cubicBezTo>
                    <a:cubicBezTo>
                      <a:pt x="407" y="31"/>
                      <a:pt x="407" y="31"/>
                      <a:pt x="407" y="31"/>
                    </a:cubicBezTo>
                    <a:cubicBezTo>
                      <a:pt x="408" y="32"/>
                      <a:pt x="408" y="32"/>
                      <a:pt x="408" y="32"/>
                    </a:cubicBezTo>
                    <a:cubicBezTo>
                      <a:pt x="407" y="31"/>
                      <a:pt x="407" y="31"/>
                      <a:pt x="407" y="31"/>
                    </a:cubicBezTo>
                    <a:cubicBezTo>
                      <a:pt x="407" y="31"/>
                      <a:pt x="407" y="31"/>
                      <a:pt x="407" y="31"/>
                    </a:cubicBezTo>
                    <a:cubicBezTo>
                      <a:pt x="406" y="30"/>
                      <a:pt x="405" y="30"/>
                      <a:pt x="405" y="30"/>
                    </a:cubicBezTo>
                    <a:cubicBezTo>
                      <a:pt x="402" y="29"/>
                      <a:pt x="402" y="29"/>
                      <a:pt x="402" y="29"/>
                    </a:cubicBezTo>
                    <a:cubicBezTo>
                      <a:pt x="402" y="29"/>
                      <a:pt x="401" y="28"/>
                      <a:pt x="400" y="28"/>
                    </a:cubicBezTo>
                    <a:cubicBezTo>
                      <a:pt x="400" y="28"/>
                      <a:pt x="399" y="28"/>
                      <a:pt x="399" y="28"/>
                    </a:cubicBezTo>
                    <a:cubicBezTo>
                      <a:pt x="398" y="28"/>
                      <a:pt x="398" y="28"/>
                      <a:pt x="398" y="28"/>
                    </a:cubicBezTo>
                    <a:cubicBezTo>
                      <a:pt x="396" y="27"/>
                      <a:pt x="396" y="27"/>
                      <a:pt x="396" y="27"/>
                    </a:cubicBezTo>
                    <a:cubicBezTo>
                      <a:pt x="395" y="26"/>
                      <a:pt x="395" y="26"/>
                      <a:pt x="395" y="26"/>
                    </a:cubicBezTo>
                    <a:cubicBezTo>
                      <a:pt x="388" y="30"/>
                      <a:pt x="388" y="30"/>
                      <a:pt x="388" y="30"/>
                    </a:cubicBezTo>
                    <a:cubicBezTo>
                      <a:pt x="392" y="26"/>
                      <a:pt x="392" y="26"/>
                      <a:pt x="392" y="26"/>
                    </a:cubicBezTo>
                    <a:cubicBezTo>
                      <a:pt x="386" y="28"/>
                      <a:pt x="386" y="28"/>
                      <a:pt x="386" y="28"/>
                    </a:cubicBezTo>
                    <a:cubicBezTo>
                      <a:pt x="393" y="23"/>
                      <a:pt x="393" y="23"/>
                      <a:pt x="393" y="23"/>
                    </a:cubicBezTo>
                    <a:cubicBezTo>
                      <a:pt x="392" y="22"/>
                      <a:pt x="392" y="22"/>
                      <a:pt x="392" y="22"/>
                    </a:cubicBezTo>
                    <a:cubicBezTo>
                      <a:pt x="394" y="18"/>
                      <a:pt x="394" y="18"/>
                      <a:pt x="394" y="18"/>
                    </a:cubicBezTo>
                    <a:cubicBezTo>
                      <a:pt x="395" y="17"/>
                      <a:pt x="395" y="17"/>
                      <a:pt x="395" y="17"/>
                    </a:cubicBezTo>
                    <a:cubicBezTo>
                      <a:pt x="395" y="16"/>
                      <a:pt x="395" y="16"/>
                      <a:pt x="395" y="16"/>
                    </a:cubicBezTo>
                    <a:cubicBezTo>
                      <a:pt x="395" y="16"/>
                      <a:pt x="395" y="16"/>
                      <a:pt x="395" y="16"/>
                    </a:cubicBezTo>
                    <a:cubicBezTo>
                      <a:pt x="393" y="16"/>
                      <a:pt x="393" y="16"/>
                      <a:pt x="393" y="16"/>
                    </a:cubicBezTo>
                    <a:cubicBezTo>
                      <a:pt x="392" y="15"/>
                      <a:pt x="392" y="15"/>
                      <a:pt x="390" y="15"/>
                    </a:cubicBezTo>
                    <a:cubicBezTo>
                      <a:pt x="387" y="14"/>
                      <a:pt x="387" y="14"/>
                      <a:pt x="387" y="14"/>
                    </a:cubicBezTo>
                    <a:cubicBezTo>
                      <a:pt x="386" y="13"/>
                      <a:pt x="386" y="13"/>
                      <a:pt x="386" y="13"/>
                    </a:cubicBezTo>
                    <a:cubicBezTo>
                      <a:pt x="385" y="10"/>
                      <a:pt x="385" y="10"/>
                      <a:pt x="385" y="10"/>
                    </a:cubicBezTo>
                    <a:cubicBezTo>
                      <a:pt x="387" y="7"/>
                      <a:pt x="387" y="7"/>
                      <a:pt x="387" y="7"/>
                    </a:cubicBezTo>
                    <a:cubicBezTo>
                      <a:pt x="388" y="7"/>
                      <a:pt x="388" y="7"/>
                      <a:pt x="388" y="7"/>
                    </a:cubicBezTo>
                    <a:cubicBezTo>
                      <a:pt x="389" y="6"/>
                      <a:pt x="390" y="6"/>
                      <a:pt x="390" y="6"/>
                    </a:cubicBezTo>
                    <a:cubicBezTo>
                      <a:pt x="391" y="6"/>
                      <a:pt x="391" y="6"/>
                      <a:pt x="391" y="6"/>
                    </a:cubicBezTo>
                    <a:cubicBezTo>
                      <a:pt x="391" y="6"/>
                      <a:pt x="391" y="6"/>
                      <a:pt x="391" y="6"/>
                    </a:cubicBezTo>
                    <a:cubicBezTo>
                      <a:pt x="393" y="5"/>
                      <a:pt x="393" y="5"/>
                      <a:pt x="393" y="5"/>
                    </a:cubicBezTo>
                    <a:cubicBezTo>
                      <a:pt x="386" y="0"/>
                      <a:pt x="386" y="0"/>
                      <a:pt x="3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9" name="Freeform 377">
                <a:extLst>
                  <a:ext uri="{FF2B5EF4-FFF2-40B4-BE49-F238E27FC236}">
                    <a16:creationId xmlns:a16="http://schemas.microsoft.com/office/drawing/2014/main" id="{BC2390CF-B69F-4994-B53D-42E655B1EA4F}"/>
                  </a:ext>
                </a:extLst>
              </p:cNvPr>
              <p:cNvSpPr>
                <a:spLocks/>
              </p:cNvSpPr>
              <p:nvPr/>
            </p:nvSpPr>
            <p:spPr bwMode="auto">
              <a:xfrm>
                <a:off x="7665041" y="452900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0" name="Freeform 378">
                <a:extLst>
                  <a:ext uri="{FF2B5EF4-FFF2-40B4-BE49-F238E27FC236}">
                    <a16:creationId xmlns:a16="http://schemas.microsoft.com/office/drawing/2014/main" id="{96EA9435-A65D-4354-A5D6-73A9494C7E3C}"/>
                  </a:ext>
                </a:extLst>
              </p:cNvPr>
              <p:cNvSpPr>
                <a:spLocks/>
              </p:cNvSpPr>
              <p:nvPr/>
            </p:nvSpPr>
            <p:spPr bwMode="auto">
              <a:xfrm>
                <a:off x="7034886" y="4536378"/>
                <a:ext cx="7370" cy="3685"/>
              </a:xfrm>
              <a:custGeom>
                <a:avLst/>
                <a:gdLst>
                  <a:gd name="T0" fmla="*/ 2 w 2"/>
                  <a:gd name="T1" fmla="*/ 0 h 1"/>
                  <a:gd name="T2" fmla="*/ 0 w 2"/>
                  <a:gd name="T3" fmla="*/ 0 h 1"/>
                  <a:gd name="T4" fmla="*/ 1 w 2"/>
                  <a:gd name="T5" fmla="*/ 1 h 1"/>
                  <a:gd name="T6" fmla="*/ 2 w 2"/>
                  <a:gd name="T7" fmla="*/ 0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lnTo>
                      <a:pt x="0" y="0"/>
                    </a:lnTo>
                    <a:lnTo>
                      <a:pt x="1" y="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1" name="Freeform 379">
                <a:extLst>
                  <a:ext uri="{FF2B5EF4-FFF2-40B4-BE49-F238E27FC236}">
                    <a16:creationId xmlns:a16="http://schemas.microsoft.com/office/drawing/2014/main" id="{A9E38C65-F0F5-40D5-9CA0-5FB87E8621CC}"/>
                  </a:ext>
                </a:extLst>
              </p:cNvPr>
              <p:cNvSpPr>
                <a:spLocks/>
              </p:cNvSpPr>
              <p:nvPr/>
            </p:nvSpPr>
            <p:spPr bwMode="auto">
              <a:xfrm>
                <a:off x="7034886" y="4536378"/>
                <a:ext cx="7370" cy="3685"/>
              </a:xfrm>
              <a:custGeom>
                <a:avLst/>
                <a:gdLst>
                  <a:gd name="T0" fmla="*/ 2 w 2"/>
                  <a:gd name="T1" fmla="*/ 0 h 1"/>
                  <a:gd name="T2" fmla="*/ 0 w 2"/>
                  <a:gd name="T3" fmla="*/ 0 h 1"/>
                  <a:gd name="T4" fmla="*/ 1 w 2"/>
                  <a:gd name="T5" fmla="*/ 1 h 1"/>
                  <a:gd name="T6" fmla="*/ 2 w 2"/>
                  <a:gd name="T7" fmla="*/ 0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lnTo>
                      <a:pt x="0" y="0"/>
                    </a:lnTo>
                    <a:lnTo>
                      <a:pt x="1" y="1"/>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2" name="Freeform 380">
                <a:extLst>
                  <a:ext uri="{FF2B5EF4-FFF2-40B4-BE49-F238E27FC236}">
                    <a16:creationId xmlns:a16="http://schemas.microsoft.com/office/drawing/2014/main" id="{65BE0AD0-DEC8-414F-BEAA-10873525D576}"/>
                  </a:ext>
                </a:extLst>
              </p:cNvPr>
              <p:cNvSpPr>
                <a:spLocks noEditPoints="1"/>
              </p:cNvSpPr>
              <p:nvPr/>
            </p:nvSpPr>
            <p:spPr bwMode="auto">
              <a:xfrm>
                <a:off x="6360510" y="3714597"/>
                <a:ext cx="1614081" cy="917594"/>
              </a:xfrm>
              <a:custGeom>
                <a:avLst/>
                <a:gdLst>
                  <a:gd name="T0" fmla="*/ 317 w 508"/>
                  <a:gd name="T1" fmla="*/ 1 h 289"/>
                  <a:gd name="T2" fmla="*/ 269 w 508"/>
                  <a:gd name="T3" fmla="*/ 10 h 289"/>
                  <a:gd name="T4" fmla="*/ 256 w 508"/>
                  <a:gd name="T5" fmla="*/ 12 h 289"/>
                  <a:gd name="T6" fmla="*/ 239 w 508"/>
                  <a:gd name="T7" fmla="*/ 29 h 289"/>
                  <a:gd name="T8" fmla="*/ 206 w 508"/>
                  <a:gd name="T9" fmla="*/ 38 h 289"/>
                  <a:gd name="T10" fmla="*/ 196 w 508"/>
                  <a:gd name="T11" fmla="*/ 30 h 289"/>
                  <a:gd name="T12" fmla="*/ 184 w 508"/>
                  <a:gd name="T13" fmla="*/ 36 h 289"/>
                  <a:gd name="T14" fmla="*/ 154 w 508"/>
                  <a:gd name="T15" fmla="*/ 30 h 289"/>
                  <a:gd name="T16" fmla="*/ 72 w 508"/>
                  <a:gd name="T17" fmla="*/ 18 h 289"/>
                  <a:gd name="T18" fmla="*/ 46 w 508"/>
                  <a:gd name="T19" fmla="*/ 31 h 289"/>
                  <a:gd name="T20" fmla="*/ 55 w 508"/>
                  <a:gd name="T21" fmla="*/ 57 h 289"/>
                  <a:gd name="T22" fmla="*/ 39 w 508"/>
                  <a:gd name="T23" fmla="*/ 80 h 289"/>
                  <a:gd name="T24" fmla="*/ 17 w 508"/>
                  <a:gd name="T25" fmla="*/ 118 h 289"/>
                  <a:gd name="T26" fmla="*/ 1 w 508"/>
                  <a:gd name="T27" fmla="*/ 140 h 289"/>
                  <a:gd name="T28" fmla="*/ 6 w 508"/>
                  <a:gd name="T29" fmla="*/ 150 h 289"/>
                  <a:gd name="T30" fmla="*/ 28 w 508"/>
                  <a:gd name="T31" fmla="*/ 155 h 289"/>
                  <a:gd name="T32" fmla="*/ 47 w 508"/>
                  <a:gd name="T33" fmla="*/ 159 h 289"/>
                  <a:gd name="T34" fmla="*/ 83 w 508"/>
                  <a:gd name="T35" fmla="*/ 165 h 289"/>
                  <a:gd name="T36" fmla="*/ 132 w 508"/>
                  <a:gd name="T37" fmla="*/ 145 h 289"/>
                  <a:gd name="T38" fmla="*/ 157 w 508"/>
                  <a:gd name="T39" fmla="*/ 144 h 289"/>
                  <a:gd name="T40" fmla="*/ 197 w 508"/>
                  <a:gd name="T41" fmla="*/ 159 h 289"/>
                  <a:gd name="T42" fmla="*/ 207 w 508"/>
                  <a:gd name="T43" fmla="*/ 182 h 289"/>
                  <a:gd name="T44" fmla="*/ 218 w 508"/>
                  <a:gd name="T45" fmla="*/ 200 h 289"/>
                  <a:gd name="T46" fmla="*/ 226 w 508"/>
                  <a:gd name="T47" fmla="*/ 218 h 289"/>
                  <a:gd name="T48" fmla="*/ 215 w 508"/>
                  <a:gd name="T49" fmla="*/ 221 h 289"/>
                  <a:gd name="T50" fmla="*/ 201 w 508"/>
                  <a:gd name="T51" fmla="*/ 221 h 289"/>
                  <a:gd name="T52" fmla="*/ 194 w 508"/>
                  <a:gd name="T53" fmla="*/ 220 h 289"/>
                  <a:gd name="T54" fmla="*/ 187 w 508"/>
                  <a:gd name="T55" fmla="*/ 239 h 289"/>
                  <a:gd name="T56" fmla="*/ 174 w 508"/>
                  <a:gd name="T57" fmla="*/ 252 h 289"/>
                  <a:gd name="T58" fmla="*/ 212 w 508"/>
                  <a:gd name="T59" fmla="*/ 254 h 289"/>
                  <a:gd name="T60" fmla="*/ 226 w 508"/>
                  <a:gd name="T61" fmla="*/ 238 h 289"/>
                  <a:gd name="T62" fmla="*/ 228 w 508"/>
                  <a:gd name="T63" fmla="*/ 221 h 289"/>
                  <a:gd name="T64" fmla="*/ 239 w 508"/>
                  <a:gd name="T65" fmla="*/ 218 h 289"/>
                  <a:gd name="T66" fmla="*/ 267 w 508"/>
                  <a:gd name="T67" fmla="*/ 204 h 289"/>
                  <a:gd name="T68" fmla="*/ 276 w 508"/>
                  <a:gd name="T69" fmla="*/ 200 h 289"/>
                  <a:gd name="T70" fmla="*/ 274 w 508"/>
                  <a:gd name="T71" fmla="*/ 198 h 289"/>
                  <a:gd name="T72" fmla="*/ 274 w 508"/>
                  <a:gd name="T73" fmla="*/ 196 h 289"/>
                  <a:gd name="T74" fmla="*/ 278 w 508"/>
                  <a:gd name="T75" fmla="*/ 201 h 289"/>
                  <a:gd name="T76" fmla="*/ 274 w 508"/>
                  <a:gd name="T77" fmla="*/ 214 h 289"/>
                  <a:gd name="T78" fmla="*/ 276 w 508"/>
                  <a:gd name="T79" fmla="*/ 221 h 289"/>
                  <a:gd name="T80" fmla="*/ 290 w 508"/>
                  <a:gd name="T81" fmla="*/ 229 h 289"/>
                  <a:gd name="T82" fmla="*/ 318 w 508"/>
                  <a:gd name="T83" fmla="*/ 231 h 289"/>
                  <a:gd name="T84" fmla="*/ 313 w 508"/>
                  <a:gd name="T85" fmla="*/ 242 h 289"/>
                  <a:gd name="T86" fmla="*/ 309 w 508"/>
                  <a:gd name="T87" fmla="*/ 261 h 289"/>
                  <a:gd name="T88" fmla="*/ 318 w 508"/>
                  <a:gd name="T89" fmla="*/ 285 h 289"/>
                  <a:gd name="T90" fmla="*/ 388 w 508"/>
                  <a:gd name="T91" fmla="*/ 268 h 289"/>
                  <a:gd name="T92" fmla="*/ 400 w 508"/>
                  <a:gd name="T93" fmla="*/ 267 h 289"/>
                  <a:gd name="T94" fmla="*/ 393 w 508"/>
                  <a:gd name="T95" fmla="*/ 256 h 289"/>
                  <a:gd name="T96" fmla="*/ 360 w 508"/>
                  <a:gd name="T97" fmla="*/ 236 h 289"/>
                  <a:gd name="T98" fmla="*/ 363 w 508"/>
                  <a:gd name="T99" fmla="*/ 229 h 289"/>
                  <a:gd name="T100" fmla="*/ 406 w 508"/>
                  <a:gd name="T101" fmla="*/ 206 h 289"/>
                  <a:gd name="T102" fmla="*/ 431 w 508"/>
                  <a:gd name="T103" fmla="*/ 199 h 289"/>
                  <a:gd name="T104" fmla="*/ 455 w 508"/>
                  <a:gd name="T105" fmla="*/ 193 h 289"/>
                  <a:gd name="T106" fmla="*/ 494 w 508"/>
                  <a:gd name="T107" fmla="*/ 165 h 289"/>
                  <a:gd name="T108" fmla="*/ 493 w 508"/>
                  <a:gd name="T109" fmla="*/ 136 h 289"/>
                  <a:gd name="T110" fmla="*/ 501 w 508"/>
                  <a:gd name="T111" fmla="*/ 106 h 289"/>
                  <a:gd name="T112" fmla="*/ 469 w 508"/>
                  <a:gd name="T113" fmla="*/ 93 h 289"/>
                  <a:gd name="T114" fmla="*/ 432 w 508"/>
                  <a:gd name="T115" fmla="*/ 73 h 289"/>
                  <a:gd name="T116" fmla="*/ 371 w 508"/>
                  <a:gd name="T117" fmla="*/ 57 h 289"/>
                  <a:gd name="T118" fmla="*/ 342 w 508"/>
                  <a:gd name="T119" fmla="*/ 43 h 289"/>
                  <a:gd name="T120" fmla="*/ 328 w 508"/>
                  <a:gd name="T121" fmla="*/ 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289">
                    <a:moveTo>
                      <a:pt x="275" y="197"/>
                    </a:moveTo>
                    <a:cubicBezTo>
                      <a:pt x="275" y="197"/>
                      <a:pt x="275" y="197"/>
                      <a:pt x="275" y="197"/>
                    </a:cubicBezTo>
                    <a:cubicBezTo>
                      <a:pt x="275" y="197"/>
                      <a:pt x="275" y="197"/>
                      <a:pt x="275" y="197"/>
                    </a:cubicBezTo>
                    <a:cubicBezTo>
                      <a:pt x="275" y="197"/>
                      <a:pt x="275" y="197"/>
                      <a:pt x="275" y="197"/>
                    </a:cubicBezTo>
                    <a:moveTo>
                      <a:pt x="77" y="168"/>
                    </a:moveTo>
                    <a:cubicBezTo>
                      <a:pt x="77" y="168"/>
                      <a:pt x="77" y="168"/>
                      <a:pt x="77" y="168"/>
                    </a:cubicBezTo>
                    <a:cubicBezTo>
                      <a:pt x="77" y="168"/>
                      <a:pt x="77" y="168"/>
                      <a:pt x="77" y="168"/>
                    </a:cubicBezTo>
                    <a:moveTo>
                      <a:pt x="325" y="0"/>
                    </a:moveTo>
                    <a:cubicBezTo>
                      <a:pt x="323" y="0"/>
                      <a:pt x="320" y="0"/>
                      <a:pt x="317" y="1"/>
                    </a:cubicBezTo>
                    <a:cubicBezTo>
                      <a:pt x="312" y="2"/>
                      <a:pt x="308" y="3"/>
                      <a:pt x="304" y="3"/>
                    </a:cubicBezTo>
                    <a:cubicBezTo>
                      <a:pt x="301" y="3"/>
                      <a:pt x="299" y="3"/>
                      <a:pt x="296" y="2"/>
                    </a:cubicBezTo>
                    <a:cubicBezTo>
                      <a:pt x="296" y="2"/>
                      <a:pt x="296" y="2"/>
                      <a:pt x="295" y="2"/>
                    </a:cubicBezTo>
                    <a:cubicBezTo>
                      <a:pt x="292" y="2"/>
                      <a:pt x="290" y="5"/>
                      <a:pt x="288" y="8"/>
                    </a:cubicBezTo>
                    <a:cubicBezTo>
                      <a:pt x="287" y="9"/>
                      <a:pt x="287" y="9"/>
                      <a:pt x="287" y="9"/>
                    </a:cubicBezTo>
                    <a:cubicBezTo>
                      <a:pt x="286" y="12"/>
                      <a:pt x="283" y="12"/>
                      <a:pt x="279" y="12"/>
                    </a:cubicBezTo>
                    <a:cubicBezTo>
                      <a:pt x="276" y="12"/>
                      <a:pt x="273" y="12"/>
                      <a:pt x="271" y="11"/>
                    </a:cubicBezTo>
                    <a:cubicBezTo>
                      <a:pt x="269" y="10"/>
                      <a:pt x="269" y="10"/>
                      <a:pt x="269" y="10"/>
                    </a:cubicBezTo>
                    <a:cubicBezTo>
                      <a:pt x="269" y="10"/>
                      <a:pt x="269" y="10"/>
                      <a:pt x="269" y="10"/>
                    </a:cubicBezTo>
                    <a:cubicBezTo>
                      <a:pt x="267" y="10"/>
                      <a:pt x="267" y="10"/>
                      <a:pt x="267" y="10"/>
                    </a:cubicBezTo>
                    <a:cubicBezTo>
                      <a:pt x="267" y="10"/>
                      <a:pt x="267" y="10"/>
                      <a:pt x="267" y="10"/>
                    </a:cubicBezTo>
                    <a:cubicBezTo>
                      <a:pt x="266" y="10"/>
                      <a:pt x="266" y="10"/>
                      <a:pt x="265" y="10"/>
                    </a:cubicBezTo>
                    <a:cubicBezTo>
                      <a:pt x="264" y="10"/>
                      <a:pt x="263" y="10"/>
                      <a:pt x="263" y="10"/>
                    </a:cubicBezTo>
                    <a:cubicBezTo>
                      <a:pt x="263" y="10"/>
                      <a:pt x="262" y="10"/>
                      <a:pt x="262" y="10"/>
                    </a:cubicBezTo>
                    <a:cubicBezTo>
                      <a:pt x="261" y="10"/>
                      <a:pt x="260" y="10"/>
                      <a:pt x="260" y="10"/>
                    </a:cubicBezTo>
                    <a:cubicBezTo>
                      <a:pt x="259" y="11"/>
                      <a:pt x="259" y="11"/>
                      <a:pt x="259" y="11"/>
                    </a:cubicBezTo>
                    <a:cubicBezTo>
                      <a:pt x="258" y="11"/>
                      <a:pt x="257" y="12"/>
                      <a:pt x="256" y="12"/>
                    </a:cubicBezTo>
                    <a:cubicBezTo>
                      <a:pt x="256" y="12"/>
                      <a:pt x="256" y="12"/>
                      <a:pt x="256" y="12"/>
                    </a:cubicBezTo>
                    <a:cubicBezTo>
                      <a:pt x="255" y="12"/>
                      <a:pt x="254" y="12"/>
                      <a:pt x="253" y="12"/>
                    </a:cubicBezTo>
                    <a:cubicBezTo>
                      <a:pt x="252" y="11"/>
                      <a:pt x="252" y="11"/>
                      <a:pt x="252" y="11"/>
                    </a:cubicBezTo>
                    <a:cubicBezTo>
                      <a:pt x="249" y="11"/>
                      <a:pt x="248" y="13"/>
                      <a:pt x="245" y="17"/>
                    </a:cubicBezTo>
                    <a:cubicBezTo>
                      <a:pt x="243" y="19"/>
                      <a:pt x="243" y="19"/>
                      <a:pt x="243" y="19"/>
                    </a:cubicBezTo>
                    <a:cubicBezTo>
                      <a:pt x="242" y="20"/>
                      <a:pt x="242" y="20"/>
                      <a:pt x="241" y="21"/>
                    </a:cubicBezTo>
                    <a:cubicBezTo>
                      <a:pt x="241" y="21"/>
                      <a:pt x="241" y="21"/>
                      <a:pt x="241" y="22"/>
                    </a:cubicBezTo>
                    <a:cubicBezTo>
                      <a:pt x="241" y="22"/>
                      <a:pt x="241" y="22"/>
                      <a:pt x="241" y="22"/>
                    </a:cubicBezTo>
                    <a:cubicBezTo>
                      <a:pt x="240" y="23"/>
                      <a:pt x="240" y="23"/>
                      <a:pt x="239" y="24"/>
                    </a:cubicBezTo>
                    <a:cubicBezTo>
                      <a:pt x="239" y="26"/>
                      <a:pt x="238" y="27"/>
                      <a:pt x="239" y="29"/>
                    </a:cubicBezTo>
                    <a:cubicBezTo>
                      <a:pt x="239" y="30"/>
                      <a:pt x="239" y="31"/>
                      <a:pt x="239" y="32"/>
                    </a:cubicBezTo>
                    <a:cubicBezTo>
                      <a:pt x="240" y="35"/>
                      <a:pt x="240" y="37"/>
                      <a:pt x="239" y="41"/>
                    </a:cubicBezTo>
                    <a:cubicBezTo>
                      <a:pt x="237" y="44"/>
                      <a:pt x="237" y="44"/>
                      <a:pt x="237" y="44"/>
                    </a:cubicBezTo>
                    <a:cubicBezTo>
                      <a:pt x="235" y="42"/>
                      <a:pt x="235" y="42"/>
                      <a:pt x="235" y="42"/>
                    </a:cubicBezTo>
                    <a:cubicBezTo>
                      <a:pt x="234" y="41"/>
                      <a:pt x="233" y="40"/>
                      <a:pt x="232" y="39"/>
                    </a:cubicBezTo>
                    <a:cubicBezTo>
                      <a:pt x="230" y="37"/>
                      <a:pt x="229" y="36"/>
                      <a:pt x="227" y="35"/>
                    </a:cubicBezTo>
                    <a:cubicBezTo>
                      <a:pt x="226" y="34"/>
                      <a:pt x="226" y="34"/>
                      <a:pt x="225" y="34"/>
                    </a:cubicBezTo>
                    <a:cubicBezTo>
                      <a:pt x="222" y="34"/>
                      <a:pt x="219" y="35"/>
                      <a:pt x="215" y="36"/>
                    </a:cubicBezTo>
                    <a:cubicBezTo>
                      <a:pt x="212" y="37"/>
                      <a:pt x="208" y="38"/>
                      <a:pt x="206" y="38"/>
                    </a:cubicBezTo>
                    <a:cubicBezTo>
                      <a:pt x="205" y="38"/>
                      <a:pt x="204" y="38"/>
                      <a:pt x="203" y="38"/>
                    </a:cubicBezTo>
                    <a:cubicBezTo>
                      <a:pt x="202" y="38"/>
                      <a:pt x="201" y="37"/>
                      <a:pt x="200" y="36"/>
                    </a:cubicBezTo>
                    <a:cubicBezTo>
                      <a:pt x="200" y="36"/>
                      <a:pt x="200" y="36"/>
                      <a:pt x="200" y="36"/>
                    </a:cubicBezTo>
                    <a:cubicBezTo>
                      <a:pt x="199" y="35"/>
                      <a:pt x="199" y="35"/>
                      <a:pt x="199" y="35"/>
                    </a:cubicBezTo>
                    <a:cubicBezTo>
                      <a:pt x="200" y="33"/>
                      <a:pt x="200" y="33"/>
                      <a:pt x="200" y="33"/>
                    </a:cubicBezTo>
                    <a:cubicBezTo>
                      <a:pt x="200" y="33"/>
                      <a:pt x="200" y="33"/>
                      <a:pt x="200" y="33"/>
                    </a:cubicBezTo>
                    <a:cubicBezTo>
                      <a:pt x="199" y="34"/>
                      <a:pt x="199" y="34"/>
                      <a:pt x="199" y="34"/>
                    </a:cubicBezTo>
                    <a:cubicBezTo>
                      <a:pt x="198" y="34"/>
                      <a:pt x="198" y="33"/>
                      <a:pt x="197" y="32"/>
                    </a:cubicBezTo>
                    <a:cubicBezTo>
                      <a:pt x="197" y="31"/>
                      <a:pt x="196" y="30"/>
                      <a:pt x="196" y="30"/>
                    </a:cubicBezTo>
                    <a:cubicBezTo>
                      <a:pt x="195" y="29"/>
                      <a:pt x="195" y="29"/>
                      <a:pt x="195" y="29"/>
                    </a:cubicBezTo>
                    <a:cubicBezTo>
                      <a:pt x="194" y="29"/>
                      <a:pt x="194" y="29"/>
                      <a:pt x="194" y="29"/>
                    </a:cubicBezTo>
                    <a:cubicBezTo>
                      <a:pt x="194" y="29"/>
                      <a:pt x="194" y="29"/>
                      <a:pt x="194" y="29"/>
                    </a:cubicBezTo>
                    <a:cubicBezTo>
                      <a:pt x="194" y="29"/>
                      <a:pt x="194" y="29"/>
                      <a:pt x="194" y="29"/>
                    </a:cubicBezTo>
                    <a:cubicBezTo>
                      <a:pt x="194" y="29"/>
                      <a:pt x="193" y="30"/>
                      <a:pt x="192" y="30"/>
                    </a:cubicBezTo>
                    <a:cubicBezTo>
                      <a:pt x="192" y="31"/>
                      <a:pt x="191" y="31"/>
                      <a:pt x="190" y="31"/>
                    </a:cubicBezTo>
                    <a:cubicBezTo>
                      <a:pt x="189" y="32"/>
                      <a:pt x="189" y="32"/>
                      <a:pt x="187" y="35"/>
                    </a:cubicBezTo>
                    <a:cubicBezTo>
                      <a:pt x="186" y="37"/>
                      <a:pt x="186" y="37"/>
                      <a:pt x="186" y="37"/>
                    </a:cubicBezTo>
                    <a:cubicBezTo>
                      <a:pt x="184" y="36"/>
                      <a:pt x="184" y="36"/>
                      <a:pt x="184" y="36"/>
                    </a:cubicBezTo>
                    <a:cubicBezTo>
                      <a:pt x="182" y="35"/>
                      <a:pt x="181" y="35"/>
                      <a:pt x="179" y="34"/>
                    </a:cubicBezTo>
                    <a:cubicBezTo>
                      <a:pt x="176" y="32"/>
                      <a:pt x="173" y="31"/>
                      <a:pt x="171" y="28"/>
                    </a:cubicBezTo>
                    <a:cubicBezTo>
                      <a:pt x="171" y="28"/>
                      <a:pt x="171" y="28"/>
                      <a:pt x="171" y="28"/>
                    </a:cubicBezTo>
                    <a:cubicBezTo>
                      <a:pt x="170" y="28"/>
                      <a:pt x="170" y="28"/>
                      <a:pt x="169" y="28"/>
                    </a:cubicBezTo>
                    <a:cubicBezTo>
                      <a:pt x="168" y="28"/>
                      <a:pt x="167" y="29"/>
                      <a:pt x="166" y="29"/>
                    </a:cubicBezTo>
                    <a:cubicBezTo>
                      <a:pt x="161" y="29"/>
                      <a:pt x="161" y="29"/>
                      <a:pt x="156" y="33"/>
                    </a:cubicBezTo>
                    <a:cubicBezTo>
                      <a:pt x="144" y="45"/>
                      <a:pt x="144" y="45"/>
                      <a:pt x="144" y="45"/>
                    </a:cubicBezTo>
                    <a:cubicBezTo>
                      <a:pt x="153" y="30"/>
                      <a:pt x="153" y="30"/>
                      <a:pt x="153" y="30"/>
                    </a:cubicBezTo>
                    <a:cubicBezTo>
                      <a:pt x="154" y="30"/>
                      <a:pt x="154" y="30"/>
                      <a:pt x="154" y="30"/>
                    </a:cubicBezTo>
                    <a:cubicBezTo>
                      <a:pt x="153" y="29"/>
                      <a:pt x="151" y="28"/>
                      <a:pt x="146" y="27"/>
                    </a:cubicBezTo>
                    <a:cubicBezTo>
                      <a:pt x="145" y="27"/>
                      <a:pt x="144" y="27"/>
                      <a:pt x="143" y="27"/>
                    </a:cubicBezTo>
                    <a:cubicBezTo>
                      <a:pt x="107" y="20"/>
                      <a:pt x="107" y="20"/>
                      <a:pt x="107" y="20"/>
                    </a:cubicBezTo>
                    <a:cubicBezTo>
                      <a:pt x="100" y="19"/>
                      <a:pt x="94" y="17"/>
                      <a:pt x="88" y="17"/>
                    </a:cubicBezTo>
                    <a:cubicBezTo>
                      <a:pt x="87" y="16"/>
                      <a:pt x="87" y="16"/>
                      <a:pt x="86" y="16"/>
                    </a:cubicBezTo>
                    <a:cubicBezTo>
                      <a:pt x="85" y="16"/>
                      <a:pt x="85" y="16"/>
                      <a:pt x="85" y="16"/>
                    </a:cubicBezTo>
                    <a:cubicBezTo>
                      <a:pt x="83" y="17"/>
                      <a:pt x="81" y="17"/>
                      <a:pt x="79" y="17"/>
                    </a:cubicBezTo>
                    <a:cubicBezTo>
                      <a:pt x="78" y="18"/>
                      <a:pt x="76" y="18"/>
                      <a:pt x="74" y="18"/>
                    </a:cubicBezTo>
                    <a:cubicBezTo>
                      <a:pt x="73" y="18"/>
                      <a:pt x="72" y="18"/>
                      <a:pt x="72" y="18"/>
                    </a:cubicBezTo>
                    <a:cubicBezTo>
                      <a:pt x="71" y="18"/>
                      <a:pt x="70" y="18"/>
                      <a:pt x="70" y="18"/>
                    </a:cubicBezTo>
                    <a:cubicBezTo>
                      <a:pt x="69" y="18"/>
                      <a:pt x="68" y="18"/>
                      <a:pt x="68" y="18"/>
                    </a:cubicBezTo>
                    <a:cubicBezTo>
                      <a:pt x="66" y="18"/>
                      <a:pt x="65" y="18"/>
                      <a:pt x="64" y="19"/>
                    </a:cubicBezTo>
                    <a:cubicBezTo>
                      <a:pt x="62" y="19"/>
                      <a:pt x="60" y="21"/>
                      <a:pt x="59" y="23"/>
                    </a:cubicBezTo>
                    <a:cubicBezTo>
                      <a:pt x="57" y="25"/>
                      <a:pt x="56" y="27"/>
                      <a:pt x="54" y="28"/>
                    </a:cubicBezTo>
                    <a:cubicBezTo>
                      <a:pt x="53" y="28"/>
                      <a:pt x="52" y="29"/>
                      <a:pt x="51" y="29"/>
                    </a:cubicBezTo>
                    <a:cubicBezTo>
                      <a:pt x="50" y="30"/>
                      <a:pt x="50" y="30"/>
                      <a:pt x="50" y="30"/>
                    </a:cubicBezTo>
                    <a:cubicBezTo>
                      <a:pt x="49" y="30"/>
                      <a:pt x="48" y="31"/>
                      <a:pt x="47" y="31"/>
                    </a:cubicBezTo>
                    <a:cubicBezTo>
                      <a:pt x="46" y="31"/>
                      <a:pt x="46" y="31"/>
                      <a:pt x="46" y="31"/>
                    </a:cubicBezTo>
                    <a:cubicBezTo>
                      <a:pt x="45" y="31"/>
                      <a:pt x="44" y="32"/>
                      <a:pt x="43" y="32"/>
                    </a:cubicBezTo>
                    <a:cubicBezTo>
                      <a:pt x="42" y="32"/>
                      <a:pt x="42" y="32"/>
                      <a:pt x="42" y="32"/>
                    </a:cubicBezTo>
                    <a:cubicBezTo>
                      <a:pt x="43" y="34"/>
                      <a:pt x="44" y="35"/>
                      <a:pt x="44" y="37"/>
                    </a:cubicBezTo>
                    <a:cubicBezTo>
                      <a:pt x="46" y="42"/>
                      <a:pt x="48" y="46"/>
                      <a:pt x="51" y="50"/>
                    </a:cubicBezTo>
                    <a:cubicBezTo>
                      <a:pt x="51" y="50"/>
                      <a:pt x="51" y="50"/>
                      <a:pt x="51" y="50"/>
                    </a:cubicBezTo>
                    <a:cubicBezTo>
                      <a:pt x="52" y="51"/>
                      <a:pt x="52" y="51"/>
                      <a:pt x="53" y="52"/>
                    </a:cubicBezTo>
                    <a:cubicBezTo>
                      <a:pt x="54" y="52"/>
                      <a:pt x="54" y="53"/>
                      <a:pt x="55" y="53"/>
                    </a:cubicBezTo>
                    <a:cubicBezTo>
                      <a:pt x="59" y="55"/>
                      <a:pt x="59" y="55"/>
                      <a:pt x="59" y="55"/>
                    </a:cubicBezTo>
                    <a:cubicBezTo>
                      <a:pt x="55" y="57"/>
                      <a:pt x="55" y="57"/>
                      <a:pt x="55" y="57"/>
                    </a:cubicBezTo>
                    <a:cubicBezTo>
                      <a:pt x="55" y="57"/>
                      <a:pt x="54" y="57"/>
                      <a:pt x="54" y="58"/>
                    </a:cubicBezTo>
                    <a:cubicBezTo>
                      <a:pt x="53" y="58"/>
                      <a:pt x="53" y="58"/>
                      <a:pt x="53" y="58"/>
                    </a:cubicBezTo>
                    <a:cubicBezTo>
                      <a:pt x="52" y="58"/>
                      <a:pt x="52" y="58"/>
                      <a:pt x="52" y="58"/>
                    </a:cubicBezTo>
                    <a:cubicBezTo>
                      <a:pt x="52" y="58"/>
                      <a:pt x="52" y="58"/>
                      <a:pt x="52" y="58"/>
                    </a:cubicBezTo>
                    <a:cubicBezTo>
                      <a:pt x="52" y="58"/>
                      <a:pt x="53" y="59"/>
                      <a:pt x="53" y="60"/>
                    </a:cubicBezTo>
                    <a:cubicBezTo>
                      <a:pt x="54" y="61"/>
                      <a:pt x="55" y="62"/>
                      <a:pt x="56" y="64"/>
                    </a:cubicBezTo>
                    <a:cubicBezTo>
                      <a:pt x="56" y="66"/>
                      <a:pt x="54" y="72"/>
                      <a:pt x="52" y="73"/>
                    </a:cubicBezTo>
                    <a:cubicBezTo>
                      <a:pt x="50" y="76"/>
                      <a:pt x="46" y="77"/>
                      <a:pt x="42" y="79"/>
                    </a:cubicBezTo>
                    <a:cubicBezTo>
                      <a:pt x="41" y="79"/>
                      <a:pt x="40" y="80"/>
                      <a:pt x="39" y="80"/>
                    </a:cubicBezTo>
                    <a:cubicBezTo>
                      <a:pt x="37" y="81"/>
                      <a:pt x="34" y="84"/>
                      <a:pt x="33" y="86"/>
                    </a:cubicBezTo>
                    <a:cubicBezTo>
                      <a:pt x="32" y="87"/>
                      <a:pt x="31" y="88"/>
                      <a:pt x="30" y="89"/>
                    </a:cubicBezTo>
                    <a:cubicBezTo>
                      <a:pt x="15" y="104"/>
                      <a:pt x="15" y="104"/>
                      <a:pt x="15" y="104"/>
                    </a:cubicBezTo>
                    <a:cubicBezTo>
                      <a:pt x="14" y="105"/>
                      <a:pt x="15" y="110"/>
                      <a:pt x="15" y="112"/>
                    </a:cubicBezTo>
                    <a:cubicBezTo>
                      <a:pt x="16" y="113"/>
                      <a:pt x="16" y="115"/>
                      <a:pt x="16" y="115"/>
                    </a:cubicBezTo>
                    <a:cubicBezTo>
                      <a:pt x="16" y="116"/>
                      <a:pt x="16" y="116"/>
                      <a:pt x="16" y="116"/>
                    </a:cubicBezTo>
                    <a:cubicBezTo>
                      <a:pt x="16" y="117"/>
                      <a:pt x="16" y="117"/>
                      <a:pt x="16" y="117"/>
                    </a:cubicBezTo>
                    <a:cubicBezTo>
                      <a:pt x="18" y="116"/>
                      <a:pt x="18" y="116"/>
                      <a:pt x="18" y="116"/>
                    </a:cubicBezTo>
                    <a:cubicBezTo>
                      <a:pt x="17" y="118"/>
                      <a:pt x="17" y="118"/>
                      <a:pt x="17" y="118"/>
                    </a:cubicBezTo>
                    <a:cubicBezTo>
                      <a:pt x="17" y="119"/>
                      <a:pt x="18" y="120"/>
                      <a:pt x="19" y="122"/>
                    </a:cubicBezTo>
                    <a:cubicBezTo>
                      <a:pt x="25" y="128"/>
                      <a:pt x="25" y="128"/>
                      <a:pt x="25" y="128"/>
                    </a:cubicBezTo>
                    <a:cubicBezTo>
                      <a:pt x="18" y="126"/>
                      <a:pt x="18" y="126"/>
                      <a:pt x="18" y="126"/>
                    </a:cubicBezTo>
                    <a:cubicBezTo>
                      <a:pt x="16" y="125"/>
                      <a:pt x="14" y="125"/>
                      <a:pt x="12" y="124"/>
                    </a:cubicBezTo>
                    <a:cubicBezTo>
                      <a:pt x="10" y="124"/>
                      <a:pt x="10" y="124"/>
                      <a:pt x="10" y="124"/>
                    </a:cubicBezTo>
                    <a:cubicBezTo>
                      <a:pt x="9" y="125"/>
                      <a:pt x="8" y="128"/>
                      <a:pt x="7" y="129"/>
                    </a:cubicBezTo>
                    <a:cubicBezTo>
                      <a:pt x="7" y="129"/>
                      <a:pt x="7" y="130"/>
                      <a:pt x="7" y="130"/>
                    </a:cubicBezTo>
                    <a:cubicBezTo>
                      <a:pt x="6" y="131"/>
                      <a:pt x="6" y="131"/>
                      <a:pt x="5" y="132"/>
                    </a:cubicBezTo>
                    <a:cubicBezTo>
                      <a:pt x="3" y="135"/>
                      <a:pt x="2" y="137"/>
                      <a:pt x="1" y="140"/>
                    </a:cubicBezTo>
                    <a:cubicBezTo>
                      <a:pt x="0" y="141"/>
                      <a:pt x="0" y="141"/>
                      <a:pt x="0" y="141"/>
                    </a:cubicBezTo>
                    <a:cubicBezTo>
                      <a:pt x="0" y="141"/>
                      <a:pt x="0" y="142"/>
                      <a:pt x="0" y="143"/>
                    </a:cubicBezTo>
                    <a:cubicBezTo>
                      <a:pt x="0" y="144"/>
                      <a:pt x="0" y="144"/>
                      <a:pt x="0" y="144"/>
                    </a:cubicBezTo>
                    <a:cubicBezTo>
                      <a:pt x="0" y="144"/>
                      <a:pt x="0" y="144"/>
                      <a:pt x="0" y="144"/>
                    </a:cubicBezTo>
                    <a:cubicBezTo>
                      <a:pt x="0" y="144"/>
                      <a:pt x="0" y="144"/>
                      <a:pt x="0" y="144"/>
                    </a:cubicBezTo>
                    <a:cubicBezTo>
                      <a:pt x="1" y="144"/>
                      <a:pt x="1" y="144"/>
                      <a:pt x="1" y="144"/>
                    </a:cubicBezTo>
                    <a:cubicBezTo>
                      <a:pt x="0" y="145"/>
                      <a:pt x="0" y="145"/>
                      <a:pt x="0" y="145"/>
                    </a:cubicBezTo>
                    <a:cubicBezTo>
                      <a:pt x="1" y="145"/>
                      <a:pt x="1" y="145"/>
                      <a:pt x="1" y="145"/>
                    </a:cubicBezTo>
                    <a:cubicBezTo>
                      <a:pt x="2" y="147"/>
                      <a:pt x="4" y="148"/>
                      <a:pt x="6" y="150"/>
                    </a:cubicBezTo>
                    <a:cubicBezTo>
                      <a:pt x="7" y="150"/>
                      <a:pt x="8" y="151"/>
                      <a:pt x="9" y="152"/>
                    </a:cubicBezTo>
                    <a:cubicBezTo>
                      <a:pt x="10" y="152"/>
                      <a:pt x="11" y="153"/>
                      <a:pt x="12" y="154"/>
                    </a:cubicBezTo>
                    <a:cubicBezTo>
                      <a:pt x="14" y="156"/>
                      <a:pt x="16" y="159"/>
                      <a:pt x="18" y="159"/>
                    </a:cubicBezTo>
                    <a:cubicBezTo>
                      <a:pt x="19" y="159"/>
                      <a:pt x="19" y="159"/>
                      <a:pt x="19" y="159"/>
                    </a:cubicBezTo>
                    <a:cubicBezTo>
                      <a:pt x="19" y="159"/>
                      <a:pt x="19" y="159"/>
                      <a:pt x="19" y="159"/>
                    </a:cubicBezTo>
                    <a:cubicBezTo>
                      <a:pt x="21" y="158"/>
                      <a:pt x="23" y="157"/>
                      <a:pt x="24" y="156"/>
                    </a:cubicBezTo>
                    <a:cubicBezTo>
                      <a:pt x="25" y="156"/>
                      <a:pt x="26" y="155"/>
                      <a:pt x="27" y="155"/>
                    </a:cubicBezTo>
                    <a:cubicBezTo>
                      <a:pt x="27" y="155"/>
                      <a:pt x="27" y="155"/>
                      <a:pt x="27" y="155"/>
                    </a:cubicBezTo>
                    <a:cubicBezTo>
                      <a:pt x="28" y="155"/>
                      <a:pt x="28" y="155"/>
                      <a:pt x="28" y="155"/>
                    </a:cubicBezTo>
                    <a:cubicBezTo>
                      <a:pt x="28" y="155"/>
                      <a:pt x="28" y="155"/>
                      <a:pt x="29" y="155"/>
                    </a:cubicBezTo>
                    <a:cubicBezTo>
                      <a:pt x="29" y="155"/>
                      <a:pt x="30" y="156"/>
                      <a:pt x="30" y="156"/>
                    </a:cubicBezTo>
                    <a:cubicBezTo>
                      <a:pt x="30" y="156"/>
                      <a:pt x="30" y="156"/>
                      <a:pt x="30" y="156"/>
                    </a:cubicBezTo>
                    <a:cubicBezTo>
                      <a:pt x="32" y="156"/>
                      <a:pt x="33" y="157"/>
                      <a:pt x="34" y="158"/>
                    </a:cubicBezTo>
                    <a:cubicBezTo>
                      <a:pt x="35" y="159"/>
                      <a:pt x="35" y="159"/>
                      <a:pt x="35" y="159"/>
                    </a:cubicBezTo>
                    <a:cubicBezTo>
                      <a:pt x="36" y="159"/>
                      <a:pt x="36" y="159"/>
                      <a:pt x="36" y="159"/>
                    </a:cubicBezTo>
                    <a:cubicBezTo>
                      <a:pt x="37" y="158"/>
                      <a:pt x="38" y="158"/>
                      <a:pt x="39" y="158"/>
                    </a:cubicBezTo>
                    <a:cubicBezTo>
                      <a:pt x="41" y="158"/>
                      <a:pt x="43" y="158"/>
                      <a:pt x="45" y="159"/>
                    </a:cubicBezTo>
                    <a:cubicBezTo>
                      <a:pt x="46" y="159"/>
                      <a:pt x="46" y="159"/>
                      <a:pt x="47" y="159"/>
                    </a:cubicBezTo>
                    <a:cubicBezTo>
                      <a:pt x="54" y="160"/>
                      <a:pt x="54" y="160"/>
                      <a:pt x="54" y="160"/>
                    </a:cubicBezTo>
                    <a:cubicBezTo>
                      <a:pt x="55" y="160"/>
                      <a:pt x="56" y="160"/>
                      <a:pt x="57" y="160"/>
                    </a:cubicBezTo>
                    <a:cubicBezTo>
                      <a:pt x="57" y="160"/>
                      <a:pt x="58" y="160"/>
                      <a:pt x="58" y="160"/>
                    </a:cubicBezTo>
                    <a:cubicBezTo>
                      <a:pt x="59" y="160"/>
                      <a:pt x="59" y="160"/>
                      <a:pt x="59" y="160"/>
                    </a:cubicBezTo>
                    <a:cubicBezTo>
                      <a:pt x="62" y="160"/>
                      <a:pt x="65" y="160"/>
                      <a:pt x="67" y="161"/>
                    </a:cubicBezTo>
                    <a:cubicBezTo>
                      <a:pt x="70" y="162"/>
                      <a:pt x="72" y="164"/>
                      <a:pt x="73" y="165"/>
                    </a:cubicBezTo>
                    <a:cubicBezTo>
                      <a:pt x="75" y="167"/>
                      <a:pt x="76" y="168"/>
                      <a:pt x="77" y="168"/>
                    </a:cubicBezTo>
                    <a:cubicBezTo>
                      <a:pt x="77" y="168"/>
                      <a:pt x="78" y="168"/>
                      <a:pt x="79" y="167"/>
                    </a:cubicBezTo>
                    <a:cubicBezTo>
                      <a:pt x="83" y="165"/>
                      <a:pt x="83" y="165"/>
                      <a:pt x="83" y="165"/>
                    </a:cubicBezTo>
                    <a:cubicBezTo>
                      <a:pt x="84" y="163"/>
                      <a:pt x="87" y="162"/>
                      <a:pt x="89" y="162"/>
                    </a:cubicBezTo>
                    <a:cubicBezTo>
                      <a:pt x="90" y="161"/>
                      <a:pt x="91" y="161"/>
                      <a:pt x="92" y="161"/>
                    </a:cubicBezTo>
                    <a:cubicBezTo>
                      <a:pt x="92" y="161"/>
                      <a:pt x="92" y="161"/>
                      <a:pt x="92" y="161"/>
                    </a:cubicBezTo>
                    <a:cubicBezTo>
                      <a:pt x="94" y="161"/>
                      <a:pt x="96" y="161"/>
                      <a:pt x="98" y="161"/>
                    </a:cubicBezTo>
                    <a:cubicBezTo>
                      <a:pt x="102" y="161"/>
                      <a:pt x="106" y="161"/>
                      <a:pt x="109" y="160"/>
                    </a:cubicBezTo>
                    <a:cubicBezTo>
                      <a:pt x="109" y="159"/>
                      <a:pt x="110" y="159"/>
                      <a:pt x="110" y="159"/>
                    </a:cubicBezTo>
                    <a:cubicBezTo>
                      <a:pt x="123" y="150"/>
                      <a:pt x="123" y="150"/>
                      <a:pt x="123" y="150"/>
                    </a:cubicBezTo>
                    <a:cubicBezTo>
                      <a:pt x="126" y="149"/>
                      <a:pt x="126" y="149"/>
                      <a:pt x="126" y="149"/>
                    </a:cubicBezTo>
                    <a:cubicBezTo>
                      <a:pt x="127" y="147"/>
                      <a:pt x="130" y="145"/>
                      <a:pt x="132" y="145"/>
                    </a:cubicBezTo>
                    <a:cubicBezTo>
                      <a:pt x="133" y="145"/>
                      <a:pt x="134" y="145"/>
                      <a:pt x="135" y="145"/>
                    </a:cubicBezTo>
                    <a:cubicBezTo>
                      <a:pt x="136" y="145"/>
                      <a:pt x="137" y="145"/>
                      <a:pt x="138" y="145"/>
                    </a:cubicBezTo>
                    <a:cubicBezTo>
                      <a:pt x="139" y="145"/>
                      <a:pt x="139" y="145"/>
                      <a:pt x="140" y="145"/>
                    </a:cubicBezTo>
                    <a:cubicBezTo>
                      <a:pt x="143" y="145"/>
                      <a:pt x="145" y="144"/>
                      <a:pt x="150" y="142"/>
                    </a:cubicBezTo>
                    <a:cubicBezTo>
                      <a:pt x="150" y="142"/>
                      <a:pt x="150" y="142"/>
                      <a:pt x="150" y="142"/>
                    </a:cubicBezTo>
                    <a:cubicBezTo>
                      <a:pt x="151" y="142"/>
                      <a:pt x="151" y="142"/>
                      <a:pt x="151" y="142"/>
                    </a:cubicBezTo>
                    <a:cubicBezTo>
                      <a:pt x="152" y="142"/>
                      <a:pt x="152" y="142"/>
                      <a:pt x="153" y="142"/>
                    </a:cubicBezTo>
                    <a:cubicBezTo>
                      <a:pt x="154" y="143"/>
                      <a:pt x="154" y="143"/>
                      <a:pt x="154" y="143"/>
                    </a:cubicBezTo>
                    <a:cubicBezTo>
                      <a:pt x="154" y="143"/>
                      <a:pt x="155" y="143"/>
                      <a:pt x="157" y="144"/>
                    </a:cubicBezTo>
                    <a:cubicBezTo>
                      <a:pt x="162" y="145"/>
                      <a:pt x="167" y="148"/>
                      <a:pt x="172" y="151"/>
                    </a:cubicBezTo>
                    <a:cubicBezTo>
                      <a:pt x="174" y="151"/>
                      <a:pt x="175" y="152"/>
                      <a:pt x="176" y="153"/>
                    </a:cubicBezTo>
                    <a:cubicBezTo>
                      <a:pt x="179" y="154"/>
                      <a:pt x="181" y="155"/>
                      <a:pt x="183" y="156"/>
                    </a:cubicBezTo>
                    <a:cubicBezTo>
                      <a:pt x="184" y="156"/>
                      <a:pt x="185" y="157"/>
                      <a:pt x="187" y="158"/>
                    </a:cubicBezTo>
                    <a:cubicBezTo>
                      <a:pt x="188" y="158"/>
                      <a:pt x="188" y="158"/>
                      <a:pt x="188" y="158"/>
                    </a:cubicBezTo>
                    <a:cubicBezTo>
                      <a:pt x="190" y="159"/>
                      <a:pt x="192" y="160"/>
                      <a:pt x="194" y="160"/>
                    </a:cubicBezTo>
                    <a:cubicBezTo>
                      <a:pt x="194" y="160"/>
                      <a:pt x="194" y="160"/>
                      <a:pt x="194" y="160"/>
                    </a:cubicBezTo>
                    <a:cubicBezTo>
                      <a:pt x="194" y="159"/>
                      <a:pt x="195" y="159"/>
                      <a:pt x="196" y="159"/>
                    </a:cubicBezTo>
                    <a:cubicBezTo>
                      <a:pt x="196" y="159"/>
                      <a:pt x="197" y="159"/>
                      <a:pt x="197" y="159"/>
                    </a:cubicBezTo>
                    <a:cubicBezTo>
                      <a:pt x="199" y="160"/>
                      <a:pt x="200" y="162"/>
                      <a:pt x="200" y="162"/>
                    </a:cubicBezTo>
                    <a:cubicBezTo>
                      <a:pt x="201" y="163"/>
                      <a:pt x="201" y="164"/>
                      <a:pt x="201" y="164"/>
                    </a:cubicBezTo>
                    <a:cubicBezTo>
                      <a:pt x="202" y="168"/>
                      <a:pt x="201" y="174"/>
                      <a:pt x="200" y="175"/>
                    </a:cubicBezTo>
                    <a:cubicBezTo>
                      <a:pt x="200" y="176"/>
                      <a:pt x="199" y="177"/>
                      <a:pt x="199" y="177"/>
                    </a:cubicBezTo>
                    <a:cubicBezTo>
                      <a:pt x="199" y="178"/>
                      <a:pt x="200" y="179"/>
                      <a:pt x="201" y="180"/>
                    </a:cubicBezTo>
                    <a:cubicBezTo>
                      <a:pt x="202" y="181"/>
                      <a:pt x="204" y="183"/>
                      <a:pt x="205" y="183"/>
                    </a:cubicBezTo>
                    <a:cubicBezTo>
                      <a:pt x="205" y="183"/>
                      <a:pt x="205" y="183"/>
                      <a:pt x="206" y="183"/>
                    </a:cubicBezTo>
                    <a:cubicBezTo>
                      <a:pt x="206" y="182"/>
                      <a:pt x="207" y="182"/>
                      <a:pt x="207" y="182"/>
                    </a:cubicBezTo>
                    <a:cubicBezTo>
                      <a:pt x="207" y="182"/>
                      <a:pt x="207" y="182"/>
                      <a:pt x="207" y="182"/>
                    </a:cubicBezTo>
                    <a:cubicBezTo>
                      <a:pt x="208" y="182"/>
                      <a:pt x="208" y="182"/>
                      <a:pt x="209" y="183"/>
                    </a:cubicBezTo>
                    <a:cubicBezTo>
                      <a:pt x="211" y="183"/>
                      <a:pt x="211" y="185"/>
                      <a:pt x="211" y="188"/>
                    </a:cubicBezTo>
                    <a:cubicBezTo>
                      <a:pt x="211" y="189"/>
                      <a:pt x="211" y="191"/>
                      <a:pt x="210" y="193"/>
                    </a:cubicBezTo>
                    <a:cubicBezTo>
                      <a:pt x="210" y="193"/>
                      <a:pt x="210" y="193"/>
                      <a:pt x="210" y="193"/>
                    </a:cubicBezTo>
                    <a:cubicBezTo>
                      <a:pt x="212" y="195"/>
                      <a:pt x="214" y="197"/>
                      <a:pt x="216" y="199"/>
                    </a:cubicBezTo>
                    <a:cubicBezTo>
                      <a:pt x="215" y="201"/>
                      <a:pt x="215" y="201"/>
                      <a:pt x="215" y="201"/>
                    </a:cubicBezTo>
                    <a:cubicBezTo>
                      <a:pt x="216" y="200"/>
                      <a:pt x="216" y="200"/>
                      <a:pt x="216" y="200"/>
                    </a:cubicBezTo>
                    <a:cubicBezTo>
                      <a:pt x="216" y="200"/>
                      <a:pt x="217" y="200"/>
                      <a:pt x="217" y="200"/>
                    </a:cubicBezTo>
                    <a:cubicBezTo>
                      <a:pt x="217" y="200"/>
                      <a:pt x="218" y="200"/>
                      <a:pt x="218" y="200"/>
                    </a:cubicBezTo>
                    <a:cubicBezTo>
                      <a:pt x="218" y="200"/>
                      <a:pt x="218" y="200"/>
                      <a:pt x="218" y="200"/>
                    </a:cubicBezTo>
                    <a:cubicBezTo>
                      <a:pt x="219" y="201"/>
                      <a:pt x="219" y="201"/>
                      <a:pt x="219" y="201"/>
                    </a:cubicBezTo>
                    <a:cubicBezTo>
                      <a:pt x="220" y="202"/>
                      <a:pt x="221" y="202"/>
                      <a:pt x="221" y="204"/>
                    </a:cubicBezTo>
                    <a:cubicBezTo>
                      <a:pt x="222" y="207"/>
                      <a:pt x="221" y="209"/>
                      <a:pt x="221" y="210"/>
                    </a:cubicBezTo>
                    <a:cubicBezTo>
                      <a:pt x="220" y="212"/>
                      <a:pt x="220" y="212"/>
                      <a:pt x="222" y="214"/>
                    </a:cubicBezTo>
                    <a:cubicBezTo>
                      <a:pt x="223" y="214"/>
                      <a:pt x="223" y="214"/>
                      <a:pt x="223" y="214"/>
                    </a:cubicBezTo>
                    <a:cubicBezTo>
                      <a:pt x="224" y="215"/>
                      <a:pt x="225" y="216"/>
                      <a:pt x="226" y="216"/>
                    </a:cubicBezTo>
                    <a:cubicBezTo>
                      <a:pt x="226" y="217"/>
                      <a:pt x="226" y="217"/>
                      <a:pt x="226" y="217"/>
                    </a:cubicBezTo>
                    <a:cubicBezTo>
                      <a:pt x="226" y="218"/>
                      <a:pt x="226" y="218"/>
                      <a:pt x="226" y="218"/>
                    </a:cubicBezTo>
                    <a:cubicBezTo>
                      <a:pt x="226" y="220"/>
                      <a:pt x="225" y="220"/>
                      <a:pt x="223" y="221"/>
                    </a:cubicBezTo>
                    <a:cubicBezTo>
                      <a:pt x="223" y="221"/>
                      <a:pt x="223" y="221"/>
                      <a:pt x="223" y="221"/>
                    </a:cubicBezTo>
                    <a:cubicBezTo>
                      <a:pt x="222" y="221"/>
                      <a:pt x="220" y="222"/>
                      <a:pt x="219" y="222"/>
                    </a:cubicBezTo>
                    <a:cubicBezTo>
                      <a:pt x="218" y="222"/>
                      <a:pt x="218" y="222"/>
                      <a:pt x="218" y="222"/>
                    </a:cubicBezTo>
                    <a:cubicBezTo>
                      <a:pt x="217" y="222"/>
                      <a:pt x="217" y="222"/>
                      <a:pt x="217" y="222"/>
                    </a:cubicBezTo>
                    <a:cubicBezTo>
                      <a:pt x="217" y="222"/>
                      <a:pt x="217" y="222"/>
                      <a:pt x="217" y="222"/>
                    </a:cubicBezTo>
                    <a:cubicBezTo>
                      <a:pt x="216" y="222"/>
                      <a:pt x="215" y="222"/>
                      <a:pt x="215" y="221"/>
                    </a:cubicBezTo>
                    <a:cubicBezTo>
                      <a:pt x="215" y="221"/>
                      <a:pt x="215" y="221"/>
                      <a:pt x="215" y="221"/>
                    </a:cubicBezTo>
                    <a:cubicBezTo>
                      <a:pt x="215" y="221"/>
                      <a:pt x="215" y="221"/>
                      <a:pt x="215" y="221"/>
                    </a:cubicBezTo>
                    <a:cubicBezTo>
                      <a:pt x="215" y="221"/>
                      <a:pt x="215" y="221"/>
                      <a:pt x="215" y="221"/>
                    </a:cubicBezTo>
                    <a:cubicBezTo>
                      <a:pt x="214" y="221"/>
                      <a:pt x="214" y="221"/>
                      <a:pt x="214" y="221"/>
                    </a:cubicBezTo>
                    <a:cubicBezTo>
                      <a:pt x="213" y="221"/>
                      <a:pt x="212" y="221"/>
                      <a:pt x="212" y="221"/>
                    </a:cubicBezTo>
                    <a:cubicBezTo>
                      <a:pt x="211" y="221"/>
                      <a:pt x="209" y="221"/>
                      <a:pt x="208" y="220"/>
                    </a:cubicBezTo>
                    <a:cubicBezTo>
                      <a:pt x="207" y="220"/>
                      <a:pt x="207" y="219"/>
                      <a:pt x="206" y="219"/>
                    </a:cubicBezTo>
                    <a:cubicBezTo>
                      <a:pt x="206" y="218"/>
                      <a:pt x="206" y="218"/>
                      <a:pt x="206" y="218"/>
                    </a:cubicBezTo>
                    <a:cubicBezTo>
                      <a:pt x="205" y="218"/>
                      <a:pt x="205" y="218"/>
                      <a:pt x="205" y="218"/>
                    </a:cubicBezTo>
                    <a:cubicBezTo>
                      <a:pt x="204" y="219"/>
                      <a:pt x="203" y="220"/>
                      <a:pt x="202" y="220"/>
                    </a:cubicBezTo>
                    <a:cubicBezTo>
                      <a:pt x="201" y="220"/>
                      <a:pt x="201" y="221"/>
                      <a:pt x="201" y="221"/>
                    </a:cubicBezTo>
                    <a:cubicBezTo>
                      <a:pt x="200" y="221"/>
                      <a:pt x="200" y="221"/>
                      <a:pt x="199" y="221"/>
                    </a:cubicBezTo>
                    <a:cubicBezTo>
                      <a:pt x="199" y="221"/>
                      <a:pt x="199" y="221"/>
                      <a:pt x="199" y="221"/>
                    </a:cubicBezTo>
                    <a:cubicBezTo>
                      <a:pt x="198" y="221"/>
                      <a:pt x="197" y="221"/>
                      <a:pt x="197" y="220"/>
                    </a:cubicBezTo>
                    <a:cubicBezTo>
                      <a:pt x="196" y="220"/>
                      <a:pt x="196" y="220"/>
                      <a:pt x="196" y="220"/>
                    </a:cubicBezTo>
                    <a:cubicBezTo>
                      <a:pt x="196" y="219"/>
                      <a:pt x="195" y="219"/>
                      <a:pt x="195" y="218"/>
                    </a:cubicBezTo>
                    <a:cubicBezTo>
                      <a:pt x="195" y="218"/>
                      <a:pt x="195" y="218"/>
                      <a:pt x="195" y="218"/>
                    </a:cubicBezTo>
                    <a:cubicBezTo>
                      <a:pt x="194" y="217"/>
                      <a:pt x="194" y="217"/>
                      <a:pt x="194" y="217"/>
                    </a:cubicBezTo>
                    <a:cubicBezTo>
                      <a:pt x="194" y="218"/>
                      <a:pt x="194" y="218"/>
                      <a:pt x="194" y="219"/>
                    </a:cubicBezTo>
                    <a:cubicBezTo>
                      <a:pt x="194" y="219"/>
                      <a:pt x="194" y="219"/>
                      <a:pt x="194" y="220"/>
                    </a:cubicBezTo>
                    <a:cubicBezTo>
                      <a:pt x="194" y="221"/>
                      <a:pt x="194" y="222"/>
                      <a:pt x="194" y="223"/>
                    </a:cubicBezTo>
                    <a:cubicBezTo>
                      <a:pt x="194" y="224"/>
                      <a:pt x="195" y="225"/>
                      <a:pt x="194" y="226"/>
                    </a:cubicBezTo>
                    <a:cubicBezTo>
                      <a:pt x="194" y="227"/>
                      <a:pt x="194" y="228"/>
                      <a:pt x="193" y="229"/>
                    </a:cubicBezTo>
                    <a:cubicBezTo>
                      <a:pt x="193" y="230"/>
                      <a:pt x="193" y="230"/>
                      <a:pt x="193" y="230"/>
                    </a:cubicBezTo>
                    <a:cubicBezTo>
                      <a:pt x="193" y="230"/>
                      <a:pt x="193" y="231"/>
                      <a:pt x="193" y="231"/>
                    </a:cubicBezTo>
                    <a:cubicBezTo>
                      <a:pt x="192" y="232"/>
                      <a:pt x="192" y="232"/>
                      <a:pt x="192" y="232"/>
                    </a:cubicBezTo>
                    <a:cubicBezTo>
                      <a:pt x="192" y="234"/>
                      <a:pt x="190" y="234"/>
                      <a:pt x="190" y="235"/>
                    </a:cubicBezTo>
                    <a:cubicBezTo>
                      <a:pt x="189" y="235"/>
                      <a:pt x="189" y="235"/>
                      <a:pt x="189" y="235"/>
                    </a:cubicBezTo>
                    <a:cubicBezTo>
                      <a:pt x="188" y="236"/>
                      <a:pt x="188" y="237"/>
                      <a:pt x="187" y="239"/>
                    </a:cubicBezTo>
                    <a:cubicBezTo>
                      <a:pt x="186" y="239"/>
                      <a:pt x="186" y="239"/>
                      <a:pt x="186" y="239"/>
                    </a:cubicBezTo>
                    <a:cubicBezTo>
                      <a:pt x="186" y="240"/>
                      <a:pt x="186" y="240"/>
                      <a:pt x="186" y="240"/>
                    </a:cubicBezTo>
                    <a:cubicBezTo>
                      <a:pt x="185" y="240"/>
                      <a:pt x="185" y="240"/>
                      <a:pt x="185" y="240"/>
                    </a:cubicBezTo>
                    <a:cubicBezTo>
                      <a:pt x="185" y="241"/>
                      <a:pt x="184" y="241"/>
                      <a:pt x="183" y="242"/>
                    </a:cubicBezTo>
                    <a:cubicBezTo>
                      <a:pt x="182" y="243"/>
                      <a:pt x="181" y="244"/>
                      <a:pt x="181" y="244"/>
                    </a:cubicBezTo>
                    <a:cubicBezTo>
                      <a:pt x="180" y="245"/>
                      <a:pt x="180" y="245"/>
                      <a:pt x="181" y="245"/>
                    </a:cubicBezTo>
                    <a:cubicBezTo>
                      <a:pt x="184" y="248"/>
                      <a:pt x="184" y="248"/>
                      <a:pt x="184" y="248"/>
                    </a:cubicBezTo>
                    <a:cubicBezTo>
                      <a:pt x="180" y="249"/>
                      <a:pt x="180" y="249"/>
                      <a:pt x="180" y="249"/>
                    </a:cubicBezTo>
                    <a:cubicBezTo>
                      <a:pt x="177" y="250"/>
                      <a:pt x="175" y="251"/>
                      <a:pt x="174" y="252"/>
                    </a:cubicBezTo>
                    <a:cubicBezTo>
                      <a:pt x="174" y="252"/>
                      <a:pt x="174" y="252"/>
                      <a:pt x="174" y="252"/>
                    </a:cubicBezTo>
                    <a:cubicBezTo>
                      <a:pt x="176" y="253"/>
                      <a:pt x="177" y="254"/>
                      <a:pt x="179" y="255"/>
                    </a:cubicBezTo>
                    <a:cubicBezTo>
                      <a:pt x="180" y="256"/>
                      <a:pt x="181" y="256"/>
                      <a:pt x="182" y="257"/>
                    </a:cubicBezTo>
                    <a:cubicBezTo>
                      <a:pt x="185" y="256"/>
                      <a:pt x="185" y="256"/>
                      <a:pt x="185" y="256"/>
                    </a:cubicBezTo>
                    <a:cubicBezTo>
                      <a:pt x="189" y="256"/>
                      <a:pt x="189" y="255"/>
                      <a:pt x="191" y="255"/>
                    </a:cubicBezTo>
                    <a:cubicBezTo>
                      <a:pt x="193" y="254"/>
                      <a:pt x="193" y="254"/>
                      <a:pt x="193" y="254"/>
                    </a:cubicBezTo>
                    <a:cubicBezTo>
                      <a:pt x="196" y="253"/>
                      <a:pt x="201" y="250"/>
                      <a:pt x="204" y="250"/>
                    </a:cubicBezTo>
                    <a:cubicBezTo>
                      <a:pt x="204" y="250"/>
                      <a:pt x="205" y="250"/>
                      <a:pt x="205" y="251"/>
                    </a:cubicBezTo>
                    <a:cubicBezTo>
                      <a:pt x="207" y="251"/>
                      <a:pt x="211" y="252"/>
                      <a:pt x="212" y="254"/>
                    </a:cubicBezTo>
                    <a:cubicBezTo>
                      <a:pt x="213" y="255"/>
                      <a:pt x="213" y="255"/>
                      <a:pt x="213" y="255"/>
                    </a:cubicBezTo>
                    <a:cubicBezTo>
                      <a:pt x="213" y="250"/>
                      <a:pt x="211" y="245"/>
                      <a:pt x="210" y="239"/>
                    </a:cubicBezTo>
                    <a:cubicBezTo>
                      <a:pt x="213" y="241"/>
                      <a:pt x="211" y="244"/>
                      <a:pt x="212" y="244"/>
                    </a:cubicBezTo>
                    <a:cubicBezTo>
                      <a:pt x="213" y="244"/>
                      <a:pt x="214" y="244"/>
                      <a:pt x="215" y="242"/>
                    </a:cubicBezTo>
                    <a:cubicBezTo>
                      <a:pt x="217" y="241"/>
                      <a:pt x="219" y="239"/>
                      <a:pt x="220" y="239"/>
                    </a:cubicBezTo>
                    <a:cubicBezTo>
                      <a:pt x="221" y="238"/>
                      <a:pt x="221" y="238"/>
                      <a:pt x="222" y="238"/>
                    </a:cubicBezTo>
                    <a:cubicBezTo>
                      <a:pt x="222" y="238"/>
                      <a:pt x="222" y="238"/>
                      <a:pt x="223" y="238"/>
                    </a:cubicBezTo>
                    <a:cubicBezTo>
                      <a:pt x="223" y="239"/>
                      <a:pt x="223" y="239"/>
                      <a:pt x="224" y="239"/>
                    </a:cubicBezTo>
                    <a:cubicBezTo>
                      <a:pt x="224" y="239"/>
                      <a:pt x="225" y="238"/>
                      <a:pt x="226" y="238"/>
                    </a:cubicBezTo>
                    <a:cubicBezTo>
                      <a:pt x="227" y="237"/>
                      <a:pt x="233" y="232"/>
                      <a:pt x="232" y="232"/>
                    </a:cubicBezTo>
                    <a:cubicBezTo>
                      <a:pt x="231" y="229"/>
                      <a:pt x="229" y="226"/>
                      <a:pt x="227" y="223"/>
                    </a:cubicBezTo>
                    <a:cubicBezTo>
                      <a:pt x="226" y="222"/>
                      <a:pt x="225" y="221"/>
                      <a:pt x="225" y="220"/>
                    </a:cubicBezTo>
                    <a:cubicBezTo>
                      <a:pt x="226" y="220"/>
                      <a:pt x="226" y="220"/>
                      <a:pt x="226" y="219"/>
                    </a:cubicBezTo>
                    <a:cubicBezTo>
                      <a:pt x="226" y="219"/>
                      <a:pt x="227" y="219"/>
                      <a:pt x="227" y="219"/>
                    </a:cubicBezTo>
                    <a:cubicBezTo>
                      <a:pt x="227" y="219"/>
                      <a:pt x="227" y="219"/>
                      <a:pt x="227" y="219"/>
                    </a:cubicBezTo>
                    <a:cubicBezTo>
                      <a:pt x="228" y="220"/>
                      <a:pt x="228" y="220"/>
                      <a:pt x="228" y="220"/>
                    </a:cubicBezTo>
                    <a:cubicBezTo>
                      <a:pt x="228" y="221"/>
                      <a:pt x="228" y="221"/>
                      <a:pt x="228" y="221"/>
                    </a:cubicBezTo>
                    <a:cubicBezTo>
                      <a:pt x="228" y="221"/>
                      <a:pt x="228" y="221"/>
                      <a:pt x="228" y="221"/>
                    </a:cubicBezTo>
                    <a:cubicBezTo>
                      <a:pt x="228" y="221"/>
                      <a:pt x="228" y="221"/>
                      <a:pt x="228" y="221"/>
                    </a:cubicBezTo>
                    <a:cubicBezTo>
                      <a:pt x="229" y="221"/>
                      <a:pt x="229" y="221"/>
                      <a:pt x="229" y="221"/>
                    </a:cubicBezTo>
                    <a:cubicBezTo>
                      <a:pt x="229" y="221"/>
                      <a:pt x="229" y="220"/>
                      <a:pt x="230" y="220"/>
                    </a:cubicBezTo>
                    <a:cubicBezTo>
                      <a:pt x="230" y="221"/>
                      <a:pt x="230" y="221"/>
                      <a:pt x="230" y="222"/>
                    </a:cubicBezTo>
                    <a:cubicBezTo>
                      <a:pt x="231" y="222"/>
                      <a:pt x="232" y="223"/>
                      <a:pt x="232" y="224"/>
                    </a:cubicBezTo>
                    <a:cubicBezTo>
                      <a:pt x="233" y="224"/>
                      <a:pt x="233" y="225"/>
                      <a:pt x="233" y="225"/>
                    </a:cubicBezTo>
                    <a:cubicBezTo>
                      <a:pt x="233" y="225"/>
                      <a:pt x="233" y="225"/>
                      <a:pt x="233" y="225"/>
                    </a:cubicBezTo>
                    <a:cubicBezTo>
                      <a:pt x="234" y="224"/>
                      <a:pt x="235" y="223"/>
                      <a:pt x="236" y="222"/>
                    </a:cubicBezTo>
                    <a:cubicBezTo>
                      <a:pt x="237" y="220"/>
                      <a:pt x="238" y="219"/>
                      <a:pt x="239" y="218"/>
                    </a:cubicBezTo>
                    <a:cubicBezTo>
                      <a:pt x="241" y="215"/>
                      <a:pt x="244" y="213"/>
                      <a:pt x="247" y="212"/>
                    </a:cubicBezTo>
                    <a:cubicBezTo>
                      <a:pt x="248" y="212"/>
                      <a:pt x="248" y="212"/>
                      <a:pt x="249" y="212"/>
                    </a:cubicBezTo>
                    <a:cubicBezTo>
                      <a:pt x="250" y="212"/>
                      <a:pt x="251" y="211"/>
                      <a:pt x="251" y="211"/>
                    </a:cubicBezTo>
                    <a:cubicBezTo>
                      <a:pt x="252" y="211"/>
                      <a:pt x="253" y="211"/>
                      <a:pt x="253" y="211"/>
                    </a:cubicBezTo>
                    <a:cubicBezTo>
                      <a:pt x="254" y="211"/>
                      <a:pt x="255" y="211"/>
                      <a:pt x="256" y="211"/>
                    </a:cubicBezTo>
                    <a:cubicBezTo>
                      <a:pt x="257" y="211"/>
                      <a:pt x="257" y="211"/>
                      <a:pt x="257" y="211"/>
                    </a:cubicBezTo>
                    <a:cubicBezTo>
                      <a:pt x="258" y="211"/>
                      <a:pt x="258" y="211"/>
                      <a:pt x="259" y="210"/>
                    </a:cubicBezTo>
                    <a:cubicBezTo>
                      <a:pt x="260" y="210"/>
                      <a:pt x="260" y="210"/>
                      <a:pt x="260" y="210"/>
                    </a:cubicBezTo>
                    <a:cubicBezTo>
                      <a:pt x="262" y="208"/>
                      <a:pt x="264" y="205"/>
                      <a:pt x="267" y="204"/>
                    </a:cubicBezTo>
                    <a:cubicBezTo>
                      <a:pt x="267" y="204"/>
                      <a:pt x="267" y="204"/>
                      <a:pt x="267" y="204"/>
                    </a:cubicBezTo>
                    <a:cubicBezTo>
                      <a:pt x="267" y="204"/>
                      <a:pt x="266" y="204"/>
                      <a:pt x="266" y="205"/>
                    </a:cubicBezTo>
                    <a:cubicBezTo>
                      <a:pt x="266" y="205"/>
                      <a:pt x="265" y="206"/>
                      <a:pt x="265" y="206"/>
                    </a:cubicBezTo>
                    <a:cubicBezTo>
                      <a:pt x="265" y="206"/>
                      <a:pt x="265" y="206"/>
                      <a:pt x="265" y="206"/>
                    </a:cubicBezTo>
                    <a:cubicBezTo>
                      <a:pt x="266" y="207"/>
                      <a:pt x="264" y="207"/>
                      <a:pt x="267" y="207"/>
                    </a:cubicBezTo>
                    <a:cubicBezTo>
                      <a:pt x="270" y="208"/>
                      <a:pt x="272" y="209"/>
                      <a:pt x="275" y="209"/>
                    </a:cubicBezTo>
                    <a:cubicBezTo>
                      <a:pt x="275" y="206"/>
                      <a:pt x="275" y="205"/>
                      <a:pt x="276" y="202"/>
                    </a:cubicBezTo>
                    <a:cubicBezTo>
                      <a:pt x="277" y="201"/>
                      <a:pt x="277" y="200"/>
                      <a:pt x="276" y="200"/>
                    </a:cubicBezTo>
                    <a:cubicBezTo>
                      <a:pt x="276" y="200"/>
                      <a:pt x="276" y="200"/>
                      <a:pt x="276" y="200"/>
                    </a:cubicBezTo>
                    <a:cubicBezTo>
                      <a:pt x="276" y="200"/>
                      <a:pt x="276" y="200"/>
                      <a:pt x="276" y="200"/>
                    </a:cubicBezTo>
                    <a:cubicBezTo>
                      <a:pt x="276" y="200"/>
                      <a:pt x="276" y="200"/>
                      <a:pt x="276" y="200"/>
                    </a:cubicBezTo>
                    <a:cubicBezTo>
                      <a:pt x="276" y="200"/>
                      <a:pt x="275" y="199"/>
                      <a:pt x="275" y="199"/>
                    </a:cubicBezTo>
                    <a:cubicBezTo>
                      <a:pt x="275" y="199"/>
                      <a:pt x="275" y="199"/>
                      <a:pt x="275" y="199"/>
                    </a:cubicBezTo>
                    <a:cubicBezTo>
                      <a:pt x="275" y="199"/>
                      <a:pt x="275" y="199"/>
                      <a:pt x="276" y="198"/>
                    </a:cubicBezTo>
                    <a:cubicBezTo>
                      <a:pt x="276" y="198"/>
                      <a:pt x="276" y="197"/>
                      <a:pt x="276" y="197"/>
                    </a:cubicBezTo>
                    <a:cubicBezTo>
                      <a:pt x="276" y="197"/>
                      <a:pt x="276" y="197"/>
                      <a:pt x="276" y="197"/>
                    </a:cubicBezTo>
                    <a:cubicBezTo>
                      <a:pt x="275" y="197"/>
                      <a:pt x="275" y="198"/>
                      <a:pt x="274" y="198"/>
                    </a:cubicBezTo>
                    <a:cubicBezTo>
                      <a:pt x="274" y="198"/>
                      <a:pt x="274" y="198"/>
                      <a:pt x="274" y="198"/>
                    </a:cubicBezTo>
                    <a:cubicBezTo>
                      <a:pt x="273" y="197"/>
                      <a:pt x="274" y="195"/>
                      <a:pt x="274" y="194"/>
                    </a:cubicBezTo>
                    <a:cubicBezTo>
                      <a:pt x="274" y="193"/>
                      <a:pt x="272" y="193"/>
                      <a:pt x="272" y="193"/>
                    </a:cubicBezTo>
                    <a:cubicBezTo>
                      <a:pt x="272" y="192"/>
                      <a:pt x="272" y="192"/>
                      <a:pt x="272" y="191"/>
                    </a:cubicBezTo>
                    <a:cubicBezTo>
                      <a:pt x="272" y="191"/>
                      <a:pt x="272" y="191"/>
                      <a:pt x="272" y="190"/>
                    </a:cubicBezTo>
                    <a:cubicBezTo>
                      <a:pt x="272" y="190"/>
                      <a:pt x="272" y="190"/>
                      <a:pt x="272" y="190"/>
                    </a:cubicBezTo>
                    <a:cubicBezTo>
                      <a:pt x="273" y="190"/>
                      <a:pt x="273" y="190"/>
                      <a:pt x="273" y="191"/>
                    </a:cubicBezTo>
                    <a:cubicBezTo>
                      <a:pt x="274" y="192"/>
                      <a:pt x="274" y="195"/>
                      <a:pt x="274" y="195"/>
                    </a:cubicBezTo>
                    <a:cubicBezTo>
                      <a:pt x="274" y="195"/>
                      <a:pt x="274" y="195"/>
                      <a:pt x="274" y="195"/>
                    </a:cubicBezTo>
                    <a:cubicBezTo>
                      <a:pt x="274" y="195"/>
                      <a:pt x="274" y="196"/>
                      <a:pt x="274" y="196"/>
                    </a:cubicBezTo>
                    <a:cubicBezTo>
                      <a:pt x="275" y="196"/>
                      <a:pt x="275" y="197"/>
                      <a:pt x="275" y="197"/>
                    </a:cubicBezTo>
                    <a:cubicBezTo>
                      <a:pt x="275" y="197"/>
                      <a:pt x="275" y="197"/>
                      <a:pt x="275" y="197"/>
                    </a:cubicBezTo>
                    <a:cubicBezTo>
                      <a:pt x="275" y="197"/>
                      <a:pt x="275" y="197"/>
                      <a:pt x="275" y="197"/>
                    </a:cubicBezTo>
                    <a:cubicBezTo>
                      <a:pt x="276" y="197"/>
                      <a:pt x="276" y="197"/>
                      <a:pt x="276" y="197"/>
                    </a:cubicBezTo>
                    <a:cubicBezTo>
                      <a:pt x="277" y="197"/>
                      <a:pt x="277" y="197"/>
                      <a:pt x="277" y="197"/>
                    </a:cubicBezTo>
                    <a:cubicBezTo>
                      <a:pt x="277" y="197"/>
                      <a:pt x="277" y="197"/>
                      <a:pt x="277" y="197"/>
                    </a:cubicBezTo>
                    <a:cubicBezTo>
                      <a:pt x="277" y="198"/>
                      <a:pt x="276" y="198"/>
                      <a:pt x="276" y="199"/>
                    </a:cubicBezTo>
                    <a:cubicBezTo>
                      <a:pt x="276" y="200"/>
                      <a:pt x="276" y="200"/>
                      <a:pt x="277" y="200"/>
                    </a:cubicBezTo>
                    <a:cubicBezTo>
                      <a:pt x="277" y="200"/>
                      <a:pt x="278" y="200"/>
                      <a:pt x="278" y="201"/>
                    </a:cubicBezTo>
                    <a:cubicBezTo>
                      <a:pt x="278" y="201"/>
                      <a:pt x="278" y="201"/>
                      <a:pt x="278" y="201"/>
                    </a:cubicBezTo>
                    <a:cubicBezTo>
                      <a:pt x="278" y="204"/>
                      <a:pt x="275" y="205"/>
                      <a:pt x="278" y="208"/>
                    </a:cubicBezTo>
                    <a:cubicBezTo>
                      <a:pt x="280" y="211"/>
                      <a:pt x="281" y="213"/>
                      <a:pt x="284" y="213"/>
                    </a:cubicBezTo>
                    <a:cubicBezTo>
                      <a:pt x="285" y="213"/>
                      <a:pt x="285" y="213"/>
                      <a:pt x="286" y="213"/>
                    </a:cubicBezTo>
                    <a:cubicBezTo>
                      <a:pt x="286" y="213"/>
                      <a:pt x="287" y="213"/>
                      <a:pt x="288" y="213"/>
                    </a:cubicBezTo>
                    <a:cubicBezTo>
                      <a:pt x="291" y="213"/>
                      <a:pt x="293" y="210"/>
                      <a:pt x="296" y="210"/>
                    </a:cubicBezTo>
                    <a:cubicBezTo>
                      <a:pt x="292" y="213"/>
                      <a:pt x="290" y="216"/>
                      <a:pt x="286" y="216"/>
                    </a:cubicBezTo>
                    <a:cubicBezTo>
                      <a:pt x="285" y="216"/>
                      <a:pt x="285" y="216"/>
                      <a:pt x="285" y="216"/>
                    </a:cubicBezTo>
                    <a:cubicBezTo>
                      <a:pt x="281" y="216"/>
                      <a:pt x="278" y="215"/>
                      <a:pt x="274" y="214"/>
                    </a:cubicBezTo>
                    <a:cubicBezTo>
                      <a:pt x="271" y="214"/>
                      <a:pt x="267" y="213"/>
                      <a:pt x="264" y="212"/>
                    </a:cubicBezTo>
                    <a:cubicBezTo>
                      <a:pt x="265" y="213"/>
                      <a:pt x="266" y="215"/>
                      <a:pt x="266" y="215"/>
                    </a:cubicBezTo>
                    <a:cubicBezTo>
                      <a:pt x="267" y="215"/>
                      <a:pt x="267" y="216"/>
                      <a:pt x="268" y="216"/>
                    </a:cubicBezTo>
                    <a:cubicBezTo>
                      <a:pt x="268" y="216"/>
                      <a:pt x="269" y="216"/>
                      <a:pt x="269" y="216"/>
                    </a:cubicBezTo>
                    <a:cubicBezTo>
                      <a:pt x="269" y="216"/>
                      <a:pt x="270" y="216"/>
                      <a:pt x="270" y="216"/>
                    </a:cubicBezTo>
                    <a:cubicBezTo>
                      <a:pt x="271" y="216"/>
                      <a:pt x="271" y="216"/>
                      <a:pt x="272" y="216"/>
                    </a:cubicBezTo>
                    <a:cubicBezTo>
                      <a:pt x="272" y="216"/>
                      <a:pt x="273" y="216"/>
                      <a:pt x="273" y="217"/>
                    </a:cubicBezTo>
                    <a:cubicBezTo>
                      <a:pt x="275" y="218"/>
                      <a:pt x="276" y="219"/>
                      <a:pt x="277" y="221"/>
                    </a:cubicBezTo>
                    <a:cubicBezTo>
                      <a:pt x="276" y="221"/>
                      <a:pt x="276" y="221"/>
                      <a:pt x="276" y="221"/>
                    </a:cubicBezTo>
                    <a:cubicBezTo>
                      <a:pt x="276" y="221"/>
                      <a:pt x="275" y="221"/>
                      <a:pt x="275" y="221"/>
                    </a:cubicBezTo>
                    <a:cubicBezTo>
                      <a:pt x="275" y="221"/>
                      <a:pt x="275" y="221"/>
                      <a:pt x="275" y="221"/>
                    </a:cubicBezTo>
                    <a:cubicBezTo>
                      <a:pt x="273" y="221"/>
                      <a:pt x="271" y="221"/>
                      <a:pt x="271" y="222"/>
                    </a:cubicBezTo>
                    <a:cubicBezTo>
                      <a:pt x="271" y="223"/>
                      <a:pt x="273" y="224"/>
                      <a:pt x="276" y="224"/>
                    </a:cubicBezTo>
                    <a:cubicBezTo>
                      <a:pt x="280" y="225"/>
                      <a:pt x="283" y="226"/>
                      <a:pt x="284" y="227"/>
                    </a:cubicBezTo>
                    <a:cubicBezTo>
                      <a:pt x="285" y="227"/>
                      <a:pt x="285" y="228"/>
                      <a:pt x="286" y="228"/>
                    </a:cubicBezTo>
                    <a:cubicBezTo>
                      <a:pt x="286" y="228"/>
                      <a:pt x="286" y="229"/>
                      <a:pt x="287" y="229"/>
                    </a:cubicBezTo>
                    <a:cubicBezTo>
                      <a:pt x="288" y="229"/>
                      <a:pt x="289" y="229"/>
                      <a:pt x="290" y="229"/>
                    </a:cubicBezTo>
                    <a:cubicBezTo>
                      <a:pt x="290" y="229"/>
                      <a:pt x="290" y="229"/>
                      <a:pt x="290" y="229"/>
                    </a:cubicBezTo>
                    <a:cubicBezTo>
                      <a:pt x="291" y="229"/>
                      <a:pt x="292" y="229"/>
                      <a:pt x="293" y="229"/>
                    </a:cubicBezTo>
                    <a:cubicBezTo>
                      <a:pt x="296" y="229"/>
                      <a:pt x="298" y="228"/>
                      <a:pt x="299" y="228"/>
                    </a:cubicBezTo>
                    <a:cubicBezTo>
                      <a:pt x="300" y="228"/>
                      <a:pt x="300" y="228"/>
                      <a:pt x="300" y="228"/>
                    </a:cubicBezTo>
                    <a:cubicBezTo>
                      <a:pt x="303" y="227"/>
                      <a:pt x="307" y="226"/>
                      <a:pt x="310" y="226"/>
                    </a:cubicBezTo>
                    <a:cubicBezTo>
                      <a:pt x="310" y="226"/>
                      <a:pt x="311" y="226"/>
                      <a:pt x="311" y="226"/>
                    </a:cubicBezTo>
                    <a:cubicBezTo>
                      <a:pt x="313" y="226"/>
                      <a:pt x="313" y="227"/>
                      <a:pt x="313" y="227"/>
                    </a:cubicBezTo>
                    <a:cubicBezTo>
                      <a:pt x="313" y="228"/>
                      <a:pt x="314" y="229"/>
                      <a:pt x="314" y="230"/>
                    </a:cubicBezTo>
                    <a:cubicBezTo>
                      <a:pt x="315" y="230"/>
                      <a:pt x="316" y="231"/>
                      <a:pt x="317" y="231"/>
                    </a:cubicBezTo>
                    <a:cubicBezTo>
                      <a:pt x="317" y="231"/>
                      <a:pt x="317" y="231"/>
                      <a:pt x="318" y="231"/>
                    </a:cubicBezTo>
                    <a:cubicBezTo>
                      <a:pt x="319" y="231"/>
                      <a:pt x="320" y="230"/>
                      <a:pt x="321" y="230"/>
                    </a:cubicBezTo>
                    <a:cubicBezTo>
                      <a:pt x="322" y="229"/>
                      <a:pt x="323" y="229"/>
                      <a:pt x="324" y="228"/>
                    </a:cubicBezTo>
                    <a:cubicBezTo>
                      <a:pt x="324" y="229"/>
                      <a:pt x="324" y="230"/>
                      <a:pt x="324" y="231"/>
                    </a:cubicBezTo>
                    <a:cubicBezTo>
                      <a:pt x="324" y="233"/>
                      <a:pt x="324" y="236"/>
                      <a:pt x="326" y="236"/>
                    </a:cubicBezTo>
                    <a:cubicBezTo>
                      <a:pt x="326" y="238"/>
                      <a:pt x="323" y="238"/>
                      <a:pt x="321" y="238"/>
                    </a:cubicBezTo>
                    <a:cubicBezTo>
                      <a:pt x="320" y="238"/>
                      <a:pt x="319" y="239"/>
                      <a:pt x="318" y="239"/>
                    </a:cubicBezTo>
                    <a:cubicBezTo>
                      <a:pt x="317" y="239"/>
                      <a:pt x="316" y="240"/>
                      <a:pt x="315" y="241"/>
                    </a:cubicBezTo>
                    <a:cubicBezTo>
                      <a:pt x="314" y="241"/>
                      <a:pt x="314" y="242"/>
                      <a:pt x="313" y="242"/>
                    </a:cubicBezTo>
                    <a:cubicBezTo>
                      <a:pt x="313" y="242"/>
                      <a:pt x="313" y="242"/>
                      <a:pt x="313" y="242"/>
                    </a:cubicBezTo>
                    <a:cubicBezTo>
                      <a:pt x="312" y="242"/>
                      <a:pt x="312" y="242"/>
                      <a:pt x="311" y="242"/>
                    </a:cubicBezTo>
                    <a:cubicBezTo>
                      <a:pt x="311" y="243"/>
                      <a:pt x="306" y="244"/>
                      <a:pt x="304" y="245"/>
                    </a:cubicBezTo>
                    <a:cubicBezTo>
                      <a:pt x="303" y="245"/>
                      <a:pt x="303" y="246"/>
                      <a:pt x="302" y="247"/>
                    </a:cubicBezTo>
                    <a:cubicBezTo>
                      <a:pt x="301" y="248"/>
                      <a:pt x="301" y="248"/>
                      <a:pt x="300" y="249"/>
                    </a:cubicBezTo>
                    <a:cubicBezTo>
                      <a:pt x="300" y="249"/>
                      <a:pt x="298" y="249"/>
                      <a:pt x="297" y="250"/>
                    </a:cubicBezTo>
                    <a:cubicBezTo>
                      <a:pt x="296" y="250"/>
                      <a:pt x="295" y="250"/>
                      <a:pt x="295" y="251"/>
                    </a:cubicBezTo>
                    <a:cubicBezTo>
                      <a:pt x="293" y="252"/>
                      <a:pt x="292" y="252"/>
                      <a:pt x="292" y="253"/>
                    </a:cubicBezTo>
                    <a:cubicBezTo>
                      <a:pt x="292" y="254"/>
                      <a:pt x="292" y="254"/>
                      <a:pt x="292" y="254"/>
                    </a:cubicBezTo>
                    <a:cubicBezTo>
                      <a:pt x="292" y="258"/>
                      <a:pt x="302" y="260"/>
                      <a:pt x="309" y="261"/>
                    </a:cubicBezTo>
                    <a:cubicBezTo>
                      <a:pt x="310" y="261"/>
                      <a:pt x="312" y="262"/>
                      <a:pt x="313" y="262"/>
                    </a:cubicBezTo>
                    <a:cubicBezTo>
                      <a:pt x="316" y="263"/>
                      <a:pt x="321" y="263"/>
                      <a:pt x="323" y="266"/>
                    </a:cubicBezTo>
                    <a:cubicBezTo>
                      <a:pt x="323" y="267"/>
                      <a:pt x="324" y="269"/>
                      <a:pt x="324" y="270"/>
                    </a:cubicBezTo>
                    <a:cubicBezTo>
                      <a:pt x="324" y="273"/>
                      <a:pt x="322" y="273"/>
                      <a:pt x="322" y="274"/>
                    </a:cubicBezTo>
                    <a:cubicBezTo>
                      <a:pt x="321" y="275"/>
                      <a:pt x="321" y="275"/>
                      <a:pt x="321" y="276"/>
                    </a:cubicBezTo>
                    <a:cubicBezTo>
                      <a:pt x="321" y="277"/>
                      <a:pt x="321" y="278"/>
                      <a:pt x="321" y="279"/>
                    </a:cubicBezTo>
                    <a:cubicBezTo>
                      <a:pt x="321" y="281"/>
                      <a:pt x="322" y="282"/>
                      <a:pt x="322" y="282"/>
                    </a:cubicBezTo>
                    <a:cubicBezTo>
                      <a:pt x="320" y="282"/>
                      <a:pt x="318" y="282"/>
                      <a:pt x="317" y="283"/>
                    </a:cubicBezTo>
                    <a:cubicBezTo>
                      <a:pt x="317" y="284"/>
                      <a:pt x="318" y="284"/>
                      <a:pt x="318" y="285"/>
                    </a:cubicBezTo>
                    <a:cubicBezTo>
                      <a:pt x="319" y="285"/>
                      <a:pt x="320" y="285"/>
                      <a:pt x="321" y="286"/>
                    </a:cubicBezTo>
                    <a:cubicBezTo>
                      <a:pt x="323" y="287"/>
                      <a:pt x="324" y="289"/>
                      <a:pt x="326" y="289"/>
                    </a:cubicBezTo>
                    <a:cubicBezTo>
                      <a:pt x="327" y="289"/>
                      <a:pt x="327" y="289"/>
                      <a:pt x="327" y="289"/>
                    </a:cubicBezTo>
                    <a:cubicBezTo>
                      <a:pt x="328" y="289"/>
                      <a:pt x="329" y="288"/>
                      <a:pt x="330" y="288"/>
                    </a:cubicBezTo>
                    <a:cubicBezTo>
                      <a:pt x="337" y="284"/>
                      <a:pt x="345" y="280"/>
                      <a:pt x="353" y="277"/>
                    </a:cubicBezTo>
                    <a:cubicBezTo>
                      <a:pt x="360" y="273"/>
                      <a:pt x="367" y="269"/>
                      <a:pt x="375" y="266"/>
                    </a:cubicBezTo>
                    <a:cubicBezTo>
                      <a:pt x="376" y="265"/>
                      <a:pt x="377" y="265"/>
                      <a:pt x="379" y="265"/>
                    </a:cubicBezTo>
                    <a:cubicBezTo>
                      <a:pt x="381" y="265"/>
                      <a:pt x="383" y="266"/>
                      <a:pt x="386" y="267"/>
                    </a:cubicBezTo>
                    <a:cubicBezTo>
                      <a:pt x="387" y="268"/>
                      <a:pt x="387" y="268"/>
                      <a:pt x="388" y="268"/>
                    </a:cubicBezTo>
                    <a:cubicBezTo>
                      <a:pt x="388" y="268"/>
                      <a:pt x="388" y="268"/>
                      <a:pt x="388" y="268"/>
                    </a:cubicBezTo>
                    <a:cubicBezTo>
                      <a:pt x="389" y="268"/>
                      <a:pt x="389" y="269"/>
                      <a:pt x="389" y="269"/>
                    </a:cubicBezTo>
                    <a:cubicBezTo>
                      <a:pt x="391" y="269"/>
                      <a:pt x="393" y="268"/>
                      <a:pt x="395" y="267"/>
                    </a:cubicBezTo>
                    <a:cubicBezTo>
                      <a:pt x="395" y="267"/>
                      <a:pt x="395" y="267"/>
                      <a:pt x="395" y="267"/>
                    </a:cubicBezTo>
                    <a:cubicBezTo>
                      <a:pt x="396" y="267"/>
                      <a:pt x="396" y="267"/>
                      <a:pt x="396" y="267"/>
                    </a:cubicBezTo>
                    <a:cubicBezTo>
                      <a:pt x="397" y="268"/>
                      <a:pt x="397" y="268"/>
                      <a:pt x="398" y="268"/>
                    </a:cubicBezTo>
                    <a:cubicBezTo>
                      <a:pt x="398" y="268"/>
                      <a:pt x="398" y="268"/>
                      <a:pt x="398" y="268"/>
                    </a:cubicBezTo>
                    <a:cubicBezTo>
                      <a:pt x="398" y="268"/>
                      <a:pt x="399" y="268"/>
                      <a:pt x="399" y="268"/>
                    </a:cubicBezTo>
                    <a:cubicBezTo>
                      <a:pt x="399" y="268"/>
                      <a:pt x="400" y="267"/>
                      <a:pt x="400" y="267"/>
                    </a:cubicBezTo>
                    <a:cubicBezTo>
                      <a:pt x="403" y="266"/>
                      <a:pt x="402" y="264"/>
                      <a:pt x="403" y="261"/>
                    </a:cubicBezTo>
                    <a:cubicBezTo>
                      <a:pt x="404" y="259"/>
                      <a:pt x="405" y="258"/>
                      <a:pt x="405" y="258"/>
                    </a:cubicBezTo>
                    <a:cubicBezTo>
                      <a:pt x="406" y="257"/>
                      <a:pt x="407" y="257"/>
                      <a:pt x="407" y="257"/>
                    </a:cubicBezTo>
                    <a:cubicBezTo>
                      <a:pt x="408" y="257"/>
                      <a:pt x="409" y="256"/>
                      <a:pt x="409" y="256"/>
                    </a:cubicBezTo>
                    <a:cubicBezTo>
                      <a:pt x="408" y="256"/>
                      <a:pt x="407" y="256"/>
                      <a:pt x="406" y="256"/>
                    </a:cubicBezTo>
                    <a:cubicBezTo>
                      <a:pt x="405" y="256"/>
                      <a:pt x="405" y="256"/>
                      <a:pt x="405" y="256"/>
                    </a:cubicBezTo>
                    <a:cubicBezTo>
                      <a:pt x="404" y="256"/>
                      <a:pt x="402" y="256"/>
                      <a:pt x="400" y="256"/>
                    </a:cubicBezTo>
                    <a:cubicBezTo>
                      <a:pt x="399" y="256"/>
                      <a:pt x="399" y="256"/>
                      <a:pt x="398" y="256"/>
                    </a:cubicBezTo>
                    <a:cubicBezTo>
                      <a:pt x="397" y="256"/>
                      <a:pt x="395" y="256"/>
                      <a:pt x="393" y="256"/>
                    </a:cubicBezTo>
                    <a:cubicBezTo>
                      <a:pt x="393" y="256"/>
                      <a:pt x="392" y="256"/>
                      <a:pt x="391" y="256"/>
                    </a:cubicBezTo>
                    <a:cubicBezTo>
                      <a:pt x="390" y="256"/>
                      <a:pt x="389" y="255"/>
                      <a:pt x="388" y="255"/>
                    </a:cubicBezTo>
                    <a:cubicBezTo>
                      <a:pt x="387" y="255"/>
                      <a:pt x="387" y="255"/>
                      <a:pt x="386" y="255"/>
                    </a:cubicBezTo>
                    <a:cubicBezTo>
                      <a:pt x="386" y="255"/>
                      <a:pt x="386" y="255"/>
                      <a:pt x="386" y="255"/>
                    </a:cubicBezTo>
                    <a:cubicBezTo>
                      <a:pt x="385" y="255"/>
                      <a:pt x="385" y="255"/>
                      <a:pt x="384" y="255"/>
                    </a:cubicBezTo>
                    <a:cubicBezTo>
                      <a:pt x="383" y="255"/>
                      <a:pt x="381" y="258"/>
                      <a:pt x="379" y="258"/>
                    </a:cubicBezTo>
                    <a:cubicBezTo>
                      <a:pt x="379" y="258"/>
                      <a:pt x="379" y="258"/>
                      <a:pt x="379" y="258"/>
                    </a:cubicBezTo>
                    <a:cubicBezTo>
                      <a:pt x="375" y="258"/>
                      <a:pt x="374" y="254"/>
                      <a:pt x="371" y="252"/>
                    </a:cubicBezTo>
                    <a:cubicBezTo>
                      <a:pt x="366" y="246"/>
                      <a:pt x="363" y="242"/>
                      <a:pt x="360" y="236"/>
                    </a:cubicBezTo>
                    <a:cubicBezTo>
                      <a:pt x="360" y="234"/>
                      <a:pt x="359" y="232"/>
                      <a:pt x="358" y="229"/>
                    </a:cubicBezTo>
                    <a:cubicBezTo>
                      <a:pt x="358" y="228"/>
                      <a:pt x="358" y="227"/>
                      <a:pt x="358" y="226"/>
                    </a:cubicBezTo>
                    <a:cubicBezTo>
                      <a:pt x="358" y="226"/>
                      <a:pt x="359" y="225"/>
                      <a:pt x="360" y="225"/>
                    </a:cubicBezTo>
                    <a:cubicBezTo>
                      <a:pt x="360" y="224"/>
                      <a:pt x="361" y="224"/>
                      <a:pt x="362" y="224"/>
                    </a:cubicBezTo>
                    <a:cubicBezTo>
                      <a:pt x="363" y="224"/>
                      <a:pt x="364" y="223"/>
                      <a:pt x="366" y="223"/>
                    </a:cubicBezTo>
                    <a:cubicBezTo>
                      <a:pt x="367" y="222"/>
                      <a:pt x="368" y="217"/>
                      <a:pt x="368" y="215"/>
                    </a:cubicBezTo>
                    <a:cubicBezTo>
                      <a:pt x="369" y="216"/>
                      <a:pt x="370" y="217"/>
                      <a:pt x="371" y="218"/>
                    </a:cubicBezTo>
                    <a:cubicBezTo>
                      <a:pt x="370" y="219"/>
                      <a:pt x="370" y="219"/>
                      <a:pt x="372" y="220"/>
                    </a:cubicBezTo>
                    <a:cubicBezTo>
                      <a:pt x="375" y="221"/>
                      <a:pt x="364" y="229"/>
                      <a:pt x="363" y="229"/>
                    </a:cubicBezTo>
                    <a:cubicBezTo>
                      <a:pt x="367" y="226"/>
                      <a:pt x="372" y="223"/>
                      <a:pt x="376" y="220"/>
                    </a:cubicBezTo>
                    <a:cubicBezTo>
                      <a:pt x="376" y="219"/>
                      <a:pt x="377" y="218"/>
                      <a:pt x="378" y="217"/>
                    </a:cubicBezTo>
                    <a:cubicBezTo>
                      <a:pt x="379" y="216"/>
                      <a:pt x="380" y="215"/>
                      <a:pt x="381" y="215"/>
                    </a:cubicBezTo>
                    <a:cubicBezTo>
                      <a:pt x="383" y="213"/>
                      <a:pt x="384" y="212"/>
                      <a:pt x="386" y="211"/>
                    </a:cubicBezTo>
                    <a:cubicBezTo>
                      <a:pt x="387" y="211"/>
                      <a:pt x="387" y="210"/>
                      <a:pt x="387" y="210"/>
                    </a:cubicBezTo>
                    <a:cubicBezTo>
                      <a:pt x="389" y="210"/>
                      <a:pt x="390" y="210"/>
                      <a:pt x="391" y="210"/>
                    </a:cubicBezTo>
                    <a:cubicBezTo>
                      <a:pt x="392" y="209"/>
                      <a:pt x="393" y="210"/>
                      <a:pt x="394" y="209"/>
                    </a:cubicBezTo>
                    <a:cubicBezTo>
                      <a:pt x="397" y="209"/>
                      <a:pt x="399" y="208"/>
                      <a:pt x="402" y="207"/>
                    </a:cubicBezTo>
                    <a:cubicBezTo>
                      <a:pt x="404" y="206"/>
                      <a:pt x="405" y="206"/>
                      <a:pt x="406" y="206"/>
                    </a:cubicBezTo>
                    <a:cubicBezTo>
                      <a:pt x="407" y="205"/>
                      <a:pt x="408" y="205"/>
                      <a:pt x="409" y="205"/>
                    </a:cubicBezTo>
                    <a:cubicBezTo>
                      <a:pt x="409" y="205"/>
                      <a:pt x="410" y="205"/>
                      <a:pt x="410" y="205"/>
                    </a:cubicBezTo>
                    <a:cubicBezTo>
                      <a:pt x="411" y="206"/>
                      <a:pt x="412" y="206"/>
                      <a:pt x="412" y="206"/>
                    </a:cubicBezTo>
                    <a:cubicBezTo>
                      <a:pt x="413" y="206"/>
                      <a:pt x="413" y="206"/>
                      <a:pt x="413" y="207"/>
                    </a:cubicBezTo>
                    <a:cubicBezTo>
                      <a:pt x="414" y="207"/>
                      <a:pt x="413" y="208"/>
                      <a:pt x="414" y="210"/>
                    </a:cubicBezTo>
                    <a:cubicBezTo>
                      <a:pt x="415" y="208"/>
                      <a:pt x="417" y="206"/>
                      <a:pt x="419" y="203"/>
                    </a:cubicBezTo>
                    <a:cubicBezTo>
                      <a:pt x="420" y="203"/>
                      <a:pt x="421" y="202"/>
                      <a:pt x="422" y="202"/>
                    </a:cubicBezTo>
                    <a:cubicBezTo>
                      <a:pt x="424" y="201"/>
                      <a:pt x="426" y="202"/>
                      <a:pt x="428" y="201"/>
                    </a:cubicBezTo>
                    <a:cubicBezTo>
                      <a:pt x="429" y="201"/>
                      <a:pt x="430" y="200"/>
                      <a:pt x="431" y="199"/>
                    </a:cubicBezTo>
                    <a:cubicBezTo>
                      <a:pt x="434" y="196"/>
                      <a:pt x="435" y="195"/>
                      <a:pt x="438" y="194"/>
                    </a:cubicBezTo>
                    <a:cubicBezTo>
                      <a:pt x="440" y="194"/>
                      <a:pt x="442" y="193"/>
                      <a:pt x="445" y="193"/>
                    </a:cubicBezTo>
                    <a:cubicBezTo>
                      <a:pt x="445" y="193"/>
                      <a:pt x="445" y="193"/>
                      <a:pt x="445" y="193"/>
                    </a:cubicBezTo>
                    <a:cubicBezTo>
                      <a:pt x="446" y="193"/>
                      <a:pt x="446" y="193"/>
                      <a:pt x="447" y="193"/>
                    </a:cubicBezTo>
                    <a:cubicBezTo>
                      <a:pt x="447" y="193"/>
                      <a:pt x="447" y="193"/>
                      <a:pt x="448" y="193"/>
                    </a:cubicBezTo>
                    <a:cubicBezTo>
                      <a:pt x="449" y="193"/>
                      <a:pt x="450" y="193"/>
                      <a:pt x="451" y="193"/>
                    </a:cubicBezTo>
                    <a:cubicBezTo>
                      <a:pt x="451" y="193"/>
                      <a:pt x="451" y="193"/>
                      <a:pt x="451" y="193"/>
                    </a:cubicBezTo>
                    <a:cubicBezTo>
                      <a:pt x="452" y="193"/>
                      <a:pt x="453" y="193"/>
                      <a:pt x="454" y="193"/>
                    </a:cubicBezTo>
                    <a:cubicBezTo>
                      <a:pt x="455" y="193"/>
                      <a:pt x="455" y="193"/>
                      <a:pt x="455" y="193"/>
                    </a:cubicBezTo>
                    <a:cubicBezTo>
                      <a:pt x="455" y="193"/>
                      <a:pt x="455" y="193"/>
                      <a:pt x="455" y="193"/>
                    </a:cubicBezTo>
                    <a:cubicBezTo>
                      <a:pt x="453" y="192"/>
                      <a:pt x="453" y="192"/>
                      <a:pt x="453" y="192"/>
                    </a:cubicBezTo>
                    <a:cubicBezTo>
                      <a:pt x="453" y="192"/>
                      <a:pt x="453" y="190"/>
                      <a:pt x="453" y="188"/>
                    </a:cubicBezTo>
                    <a:cubicBezTo>
                      <a:pt x="453" y="187"/>
                      <a:pt x="453" y="185"/>
                      <a:pt x="453" y="182"/>
                    </a:cubicBezTo>
                    <a:cubicBezTo>
                      <a:pt x="454" y="176"/>
                      <a:pt x="458" y="171"/>
                      <a:pt x="465" y="170"/>
                    </a:cubicBezTo>
                    <a:cubicBezTo>
                      <a:pt x="469" y="169"/>
                      <a:pt x="472" y="167"/>
                      <a:pt x="474" y="165"/>
                    </a:cubicBezTo>
                    <a:cubicBezTo>
                      <a:pt x="476" y="164"/>
                      <a:pt x="478" y="163"/>
                      <a:pt x="481" y="163"/>
                    </a:cubicBezTo>
                    <a:cubicBezTo>
                      <a:pt x="484" y="163"/>
                      <a:pt x="487" y="164"/>
                      <a:pt x="492" y="165"/>
                    </a:cubicBezTo>
                    <a:cubicBezTo>
                      <a:pt x="493" y="165"/>
                      <a:pt x="493" y="165"/>
                      <a:pt x="494" y="165"/>
                    </a:cubicBezTo>
                    <a:cubicBezTo>
                      <a:pt x="496" y="165"/>
                      <a:pt x="496" y="164"/>
                      <a:pt x="496" y="164"/>
                    </a:cubicBezTo>
                    <a:cubicBezTo>
                      <a:pt x="496" y="164"/>
                      <a:pt x="496" y="164"/>
                      <a:pt x="496" y="164"/>
                    </a:cubicBezTo>
                    <a:cubicBezTo>
                      <a:pt x="496" y="163"/>
                      <a:pt x="496" y="163"/>
                      <a:pt x="496" y="163"/>
                    </a:cubicBezTo>
                    <a:cubicBezTo>
                      <a:pt x="497" y="162"/>
                      <a:pt x="500" y="154"/>
                      <a:pt x="502" y="152"/>
                    </a:cubicBezTo>
                    <a:cubicBezTo>
                      <a:pt x="502" y="151"/>
                      <a:pt x="503" y="150"/>
                      <a:pt x="500" y="145"/>
                    </a:cubicBezTo>
                    <a:cubicBezTo>
                      <a:pt x="499" y="143"/>
                      <a:pt x="498" y="142"/>
                      <a:pt x="496" y="142"/>
                    </a:cubicBezTo>
                    <a:cubicBezTo>
                      <a:pt x="495" y="142"/>
                      <a:pt x="495" y="142"/>
                      <a:pt x="495" y="142"/>
                    </a:cubicBezTo>
                    <a:cubicBezTo>
                      <a:pt x="494" y="141"/>
                      <a:pt x="494" y="141"/>
                      <a:pt x="494" y="141"/>
                    </a:cubicBezTo>
                    <a:cubicBezTo>
                      <a:pt x="493" y="140"/>
                      <a:pt x="493" y="138"/>
                      <a:pt x="493" y="136"/>
                    </a:cubicBezTo>
                    <a:cubicBezTo>
                      <a:pt x="494" y="134"/>
                      <a:pt x="496" y="132"/>
                      <a:pt x="499" y="130"/>
                    </a:cubicBezTo>
                    <a:cubicBezTo>
                      <a:pt x="497" y="130"/>
                      <a:pt x="497" y="129"/>
                      <a:pt x="496" y="128"/>
                    </a:cubicBezTo>
                    <a:cubicBezTo>
                      <a:pt x="495" y="127"/>
                      <a:pt x="495" y="127"/>
                      <a:pt x="495" y="127"/>
                    </a:cubicBezTo>
                    <a:cubicBezTo>
                      <a:pt x="492" y="125"/>
                      <a:pt x="492" y="125"/>
                      <a:pt x="492" y="125"/>
                    </a:cubicBezTo>
                    <a:cubicBezTo>
                      <a:pt x="495" y="123"/>
                      <a:pt x="495" y="123"/>
                      <a:pt x="495" y="123"/>
                    </a:cubicBezTo>
                    <a:cubicBezTo>
                      <a:pt x="500" y="120"/>
                      <a:pt x="506" y="115"/>
                      <a:pt x="506" y="114"/>
                    </a:cubicBezTo>
                    <a:cubicBezTo>
                      <a:pt x="506" y="114"/>
                      <a:pt x="506" y="114"/>
                      <a:pt x="506" y="114"/>
                    </a:cubicBezTo>
                    <a:cubicBezTo>
                      <a:pt x="507" y="112"/>
                      <a:pt x="508" y="109"/>
                      <a:pt x="507" y="105"/>
                    </a:cubicBezTo>
                    <a:cubicBezTo>
                      <a:pt x="505" y="106"/>
                      <a:pt x="503" y="106"/>
                      <a:pt x="501" y="106"/>
                    </a:cubicBezTo>
                    <a:cubicBezTo>
                      <a:pt x="496" y="106"/>
                      <a:pt x="492" y="102"/>
                      <a:pt x="489" y="99"/>
                    </a:cubicBezTo>
                    <a:cubicBezTo>
                      <a:pt x="489" y="99"/>
                      <a:pt x="488" y="98"/>
                      <a:pt x="487" y="97"/>
                    </a:cubicBezTo>
                    <a:cubicBezTo>
                      <a:pt x="485" y="95"/>
                      <a:pt x="483" y="94"/>
                      <a:pt x="482" y="94"/>
                    </a:cubicBezTo>
                    <a:cubicBezTo>
                      <a:pt x="481" y="94"/>
                      <a:pt x="480" y="95"/>
                      <a:pt x="479" y="95"/>
                    </a:cubicBezTo>
                    <a:cubicBezTo>
                      <a:pt x="478" y="96"/>
                      <a:pt x="477" y="96"/>
                      <a:pt x="476" y="96"/>
                    </a:cubicBezTo>
                    <a:cubicBezTo>
                      <a:pt x="476" y="96"/>
                      <a:pt x="476" y="96"/>
                      <a:pt x="476" y="96"/>
                    </a:cubicBezTo>
                    <a:cubicBezTo>
                      <a:pt x="475" y="96"/>
                      <a:pt x="475" y="96"/>
                      <a:pt x="475" y="96"/>
                    </a:cubicBezTo>
                    <a:cubicBezTo>
                      <a:pt x="474" y="96"/>
                      <a:pt x="474" y="96"/>
                      <a:pt x="474" y="96"/>
                    </a:cubicBezTo>
                    <a:cubicBezTo>
                      <a:pt x="472" y="96"/>
                      <a:pt x="470" y="94"/>
                      <a:pt x="469" y="93"/>
                    </a:cubicBezTo>
                    <a:cubicBezTo>
                      <a:pt x="469" y="92"/>
                      <a:pt x="467" y="89"/>
                      <a:pt x="464" y="89"/>
                    </a:cubicBezTo>
                    <a:cubicBezTo>
                      <a:pt x="462" y="89"/>
                      <a:pt x="460" y="88"/>
                      <a:pt x="459" y="87"/>
                    </a:cubicBezTo>
                    <a:cubicBezTo>
                      <a:pt x="458" y="87"/>
                      <a:pt x="457" y="87"/>
                      <a:pt x="457" y="87"/>
                    </a:cubicBezTo>
                    <a:cubicBezTo>
                      <a:pt x="457" y="87"/>
                      <a:pt x="457" y="87"/>
                      <a:pt x="457" y="87"/>
                    </a:cubicBezTo>
                    <a:cubicBezTo>
                      <a:pt x="456" y="87"/>
                      <a:pt x="453" y="90"/>
                      <a:pt x="450" y="92"/>
                    </a:cubicBezTo>
                    <a:cubicBezTo>
                      <a:pt x="449" y="94"/>
                      <a:pt x="449" y="94"/>
                      <a:pt x="449" y="94"/>
                    </a:cubicBezTo>
                    <a:cubicBezTo>
                      <a:pt x="447" y="92"/>
                      <a:pt x="447" y="92"/>
                      <a:pt x="447" y="92"/>
                    </a:cubicBezTo>
                    <a:cubicBezTo>
                      <a:pt x="447" y="92"/>
                      <a:pt x="440" y="81"/>
                      <a:pt x="436" y="77"/>
                    </a:cubicBezTo>
                    <a:cubicBezTo>
                      <a:pt x="434" y="74"/>
                      <a:pt x="433" y="74"/>
                      <a:pt x="432" y="73"/>
                    </a:cubicBezTo>
                    <a:cubicBezTo>
                      <a:pt x="430" y="74"/>
                      <a:pt x="424" y="76"/>
                      <a:pt x="419" y="78"/>
                    </a:cubicBezTo>
                    <a:cubicBezTo>
                      <a:pt x="416" y="79"/>
                      <a:pt x="413" y="79"/>
                      <a:pt x="410" y="79"/>
                    </a:cubicBezTo>
                    <a:cubicBezTo>
                      <a:pt x="406" y="79"/>
                      <a:pt x="401" y="78"/>
                      <a:pt x="399" y="76"/>
                    </a:cubicBezTo>
                    <a:cubicBezTo>
                      <a:pt x="397" y="75"/>
                      <a:pt x="395" y="74"/>
                      <a:pt x="393" y="74"/>
                    </a:cubicBezTo>
                    <a:cubicBezTo>
                      <a:pt x="391" y="74"/>
                      <a:pt x="390" y="74"/>
                      <a:pt x="389" y="75"/>
                    </a:cubicBezTo>
                    <a:cubicBezTo>
                      <a:pt x="387" y="76"/>
                      <a:pt x="386" y="76"/>
                      <a:pt x="384" y="76"/>
                    </a:cubicBezTo>
                    <a:cubicBezTo>
                      <a:pt x="382" y="76"/>
                      <a:pt x="380" y="75"/>
                      <a:pt x="378" y="74"/>
                    </a:cubicBezTo>
                    <a:cubicBezTo>
                      <a:pt x="376" y="72"/>
                      <a:pt x="373" y="69"/>
                      <a:pt x="374" y="66"/>
                    </a:cubicBezTo>
                    <a:cubicBezTo>
                      <a:pt x="374" y="65"/>
                      <a:pt x="373" y="61"/>
                      <a:pt x="371" y="57"/>
                    </a:cubicBezTo>
                    <a:cubicBezTo>
                      <a:pt x="369" y="54"/>
                      <a:pt x="370" y="52"/>
                      <a:pt x="370" y="50"/>
                    </a:cubicBezTo>
                    <a:cubicBezTo>
                      <a:pt x="369" y="49"/>
                      <a:pt x="368" y="48"/>
                      <a:pt x="366" y="47"/>
                    </a:cubicBezTo>
                    <a:cubicBezTo>
                      <a:pt x="363" y="45"/>
                      <a:pt x="362" y="45"/>
                      <a:pt x="361" y="45"/>
                    </a:cubicBezTo>
                    <a:cubicBezTo>
                      <a:pt x="361" y="45"/>
                      <a:pt x="361" y="45"/>
                      <a:pt x="360" y="45"/>
                    </a:cubicBezTo>
                    <a:cubicBezTo>
                      <a:pt x="359" y="45"/>
                      <a:pt x="358" y="46"/>
                      <a:pt x="356" y="46"/>
                    </a:cubicBezTo>
                    <a:cubicBezTo>
                      <a:pt x="354" y="46"/>
                      <a:pt x="352" y="45"/>
                      <a:pt x="350" y="44"/>
                    </a:cubicBezTo>
                    <a:cubicBezTo>
                      <a:pt x="349" y="43"/>
                      <a:pt x="348" y="43"/>
                      <a:pt x="347" y="43"/>
                    </a:cubicBezTo>
                    <a:cubicBezTo>
                      <a:pt x="346" y="43"/>
                      <a:pt x="345" y="43"/>
                      <a:pt x="343" y="43"/>
                    </a:cubicBezTo>
                    <a:cubicBezTo>
                      <a:pt x="343" y="43"/>
                      <a:pt x="343" y="43"/>
                      <a:pt x="342" y="43"/>
                    </a:cubicBezTo>
                    <a:cubicBezTo>
                      <a:pt x="341" y="43"/>
                      <a:pt x="340" y="43"/>
                      <a:pt x="340" y="42"/>
                    </a:cubicBezTo>
                    <a:cubicBezTo>
                      <a:pt x="338" y="41"/>
                      <a:pt x="338" y="38"/>
                      <a:pt x="339" y="34"/>
                    </a:cubicBezTo>
                    <a:cubicBezTo>
                      <a:pt x="339" y="32"/>
                      <a:pt x="338" y="28"/>
                      <a:pt x="336" y="27"/>
                    </a:cubicBezTo>
                    <a:cubicBezTo>
                      <a:pt x="334" y="26"/>
                      <a:pt x="334" y="26"/>
                      <a:pt x="334" y="26"/>
                    </a:cubicBezTo>
                    <a:cubicBezTo>
                      <a:pt x="335" y="24"/>
                      <a:pt x="335" y="24"/>
                      <a:pt x="335" y="24"/>
                    </a:cubicBezTo>
                    <a:cubicBezTo>
                      <a:pt x="336" y="24"/>
                      <a:pt x="336" y="22"/>
                      <a:pt x="343" y="20"/>
                    </a:cubicBezTo>
                    <a:cubicBezTo>
                      <a:pt x="342" y="19"/>
                      <a:pt x="341" y="18"/>
                      <a:pt x="340" y="18"/>
                    </a:cubicBezTo>
                    <a:cubicBezTo>
                      <a:pt x="336" y="16"/>
                      <a:pt x="334" y="12"/>
                      <a:pt x="335" y="8"/>
                    </a:cubicBezTo>
                    <a:cubicBezTo>
                      <a:pt x="335" y="8"/>
                      <a:pt x="335" y="6"/>
                      <a:pt x="328" y="1"/>
                    </a:cubicBezTo>
                    <a:cubicBezTo>
                      <a:pt x="328" y="0"/>
                      <a:pt x="328" y="0"/>
                      <a:pt x="328" y="0"/>
                    </a:cubicBezTo>
                    <a:cubicBezTo>
                      <a:pt x="328" y="0"/>
                      <a:pt x="327" y="0"/>
                      <a:pt x="3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367" name="Group 723">
              <a:extLst>
                <a:ext uri="{FF2B5EF4-FFF2-40B4-BE49-F238E27FC236}">
                  <a16:creationId xmlns:a16="http://schemas.microsoft.com/office/drawing/2014/main" id="{FDB22B9F-F423-4F19-8696-164698DE80FB}"/>
                </a:ext>
              </a:extLst>
            </p:cNvPr>
            <p:cNvGrpSpPr>
              <a:grpSpLocks noChangeAspect="1"/>
            </p:cNvGrpSpPr>
            <p:nvPr/>
          </p:nvGrpSpPr>
          <p:grpSpPr bwMode="auto">
            <a:xfrm>
              <a:off x="5156200" y="-232098"/>
              <a:ext cx="2459038" cy="1411288"/>
              <a:chOff x="3248" y="-337"/>
              <a:chExt cx="1549" cy="889"/>
            </a:xfrm>
            <a:grpFill/>
          </p:grpSpPr>
          <p:sp>
            <p:nvSpPr>
              <p:cNvPr id="368" name="Freeform 724">
                <a:extLst>
                  <a:ext uri="{FF2B5EF4-FFF2-40B4-BE49-F238E27FC236}">
                    <a16:creationId xmlns:a16="http://schemas.microsoft.com/office/drawing/2014/main" id="{3CE086F1-999D-4AE6-9609-D3A2E6CF023D}"/>
                  </a:ext>
                </a:extLst>
              </p:cNvPr>
              <p:cNvSpPr>
                <a:spLocks/>
              </p:cNvSpPr>
              <p:nvPr/>
            </p:nvSpPr>
            <p:spPr bwMode="auto">
              <a:xfrm>
                <a:off x="4297" y="-82"/>
                <a:ext cx="54" cy="31"/>
              </a:xfrm>
              <a:custGeom>
                <a:avLst/>
                <a:gdLst>
                  <a:gd name="T0" fmla="*/ 10 w 23"/>
                  <a:gd name="T1" fmla="*/ 2 h 13"/>
                  <a:gd name="T2" fmla="*/ 15 w 23"/>
                  <a:gd name="T3" fmla="*/ 13 h 13"/>
                  <a:gd name="T4" fmla="*/ 21 w 23"/>
                  <a:gd name="T5" fmla="*/ 12 h 13"/>
                  <a:gd name="T6" fmla="*/ 23 w 23"/>
                  <a:gd name="T7" fmla="*/ 9 h 13"/>
                  <a:gd name="T8" fmla="*/ 14 w 23"/>
                  <a:gd name="T9" fmla="*/ 5 h 13"/>
                  <a:gd name="T10" fmla="*/ 10 w 23"/>
                  <a:gd name="T11" fmla="*/ 2 h 13"/>
                </a:gdLst>
                <a:ahLst/>
                <a:cxnLst>
                  <a:cxn ang="0">
                    <a:pos x="T0" y="T1"/>
                  </a:cxn>
                  <a:cxn ang="0">
                    <a:pos x="T2" y="T3"/>
                  </a:cxn>
                  <a:cxn ang="0">
                    <a:pos x="T4" y="T5"/>
                  </a:cxn>
                  <a:cxn ang="0">
                    <a:pos x="T6" y="T7"/>
                  </a:cxn>
                  <a:cxn ang="0">
                    <a:pos x="T8" y="T9"/>
                  </a:cxn>
                  <a:cxn ang="0">
                    <a:pos x="T10" y="T11"/>
                  </a:cxn>
                </a:cxnLst>
                <a:rect l="0" t="0" r="r" b="b"/>
                <a:pathLst>
                  <a:path w="23" h="13">
                    <a:moveTo>
                      <a:pt x="10" y="2"/>
                    </a:moveTo>
                    <a:cubicBezTo>
                      <a:pt x="0" y="0"/>
                      <a:pt x="13" y="12"/>
                      <a:pt x="15" y="13"/>
                    </a:cubicBezTo>
                    <a:cubicBezTo>
                      <a:pt x="17" y="13"/>
                      <a:pt x="19" y="13"/>
                      <a:pt x="21" y="12"/>
                    </a:cubicBezTo>
                    <a:cubicBezTo>
                      <a:pt x="22" y="11"/>
                      <a:pt x="21" y="10"/>
                      <a:pt x="23" y="9"/>
                    </a:cubicBezTo>
                    <a:cubicBezTo>
                      <a:pt x="20" y="8"/>
                      <a:pt x="17" y="7"/>
                      <a:pt x="14" y="5"/>
                    </a:cubicBezTo>
                    <a:cubicBezTo>
                      <a:pt x="13" y="4"/>
                      <a:pt x="12"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9" name="Freeform 725">
                <a:extLst>
                  <a:ext uri="{FF2B5EF4-FFF2-40B4-BE49-F238E27FC236}">
                    <a16:creationId xmlns:a16="http://schemas.microsoft.com/office/drawing/2014/main" id="{34A634B5-44C9-43C4-BFC4-9BEBA5A7DC9D}"/>
                  </a:ext>
                </a:extLst>
              </p:cNvPr>
              <p:cNvSpPr>
                <a:spLocks/>
              </p:cNvSpPr>
              <p:nvPr/>
            </p:nvSpPr>
            <p:spPr bwMode="auto">
              <a:xfrm>
                <a:off x="3789" y="530"/>
                <a:ext cx="38" cy="22"/>
              </a:xfrm>
              <a:custGeom>
                <a:avLst/>
                <a:gdLst>
                  <a:gd name="T0" fmla="*/ 10 w 16"/>
                  <a:gd name="T1" fmla="*/ 9 h 9"/>
                  <a:gd name="T2" fmla="*/ 16 w 16"/>
                  <a:gd name="T3" fmla="*/ 4 h 9"/>
                  <a:gd name="T4" fmla="*/ 10 w 16"/>
                  <a:gd name="T5" fmla="*/ 0 h 9"/>
                  <a:gd name="T6" fmla="*/ 4 w 16"/>
                  <a:gd name="T7" fmla="*/ 0 h 9"/>
                  <a:gd name="T8" fmla="*/ 10 w 16"/>
                  <a:gd name="T9" fmla="*/ 9 h 9"/>
                </a:gdLst>
                <a:ahLst/>
                <a:cxnLst>
                  <a:cxn ang="0">
                    <a:pos x="T0" y="T1"/>
                  </a:cxn>
                  <a:cxn ang="0">
                    <a:pos x="T2" y="T3"/>
                  </a:cxn>
                  <a:cxn ang="0">
                    <a:pos x="T4" y="T5"/>
                  </a:cxn>
                  <a:cxn ang="0">
                    <a:pos x="T6" y="T7"/>
                  </a:cxn>
                  <a:cxn ang="0">
                    <a:pos x="T8" y="T9"/>
                  </a:cxn>
                </a:cxnLst>
                <a:rect l="0" t="0" r="r" b="b"/>
                <a:pathLst>
                  <a:path w="16" h="9">
                    <a:moveTo>
                      <a:pt x="10" y="9"/>
                    </a:moveTo>
                    <a:cubicBezTo>
                      <a:pt x="12" y="9"/>
                      <a:pt x="16" y="6"/>
                      <a:pt x="16" y="4"/>
                    </a:cubicBezTo>
                    <a:cubicBezTo>
                      <a:pt x="16" y="0"/>
                      <a:pt x="12" y="0"/>
                      <a:pt x="10" y="0"/>
                    </a:cubicBezTo>
                    <a:cubicBezTo>
                      <a:pt x="8" y="0"/>
                      <a:pt x="6" y="0"/>
                      <a:pt x="4" y="0"/>
                    </a:cubicBezTo>
                    <a:cubicBezTo>
                      <a:pt x="0" y="1"/>
                      <a:pt x="9" y="8"/>
                      <a:pt x="1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0" name="Freeform 726">
                <a:extLst>
                  <a:ext uri="{FF2B5EF4-FFF2-40B4-BE49-F238E27FC236}">
                    <a16:creationId xmlns:a16="http://schemas.microsoft.com/office/drawing/2014/main" id="{B6FF16BD-D66E-48DB-BF42-DA3117312D57}"/>
                  </a:ext>
                </a:extLst>
              </p:cNvPr>
              <p:cNvSpPr>
                <a:spLocks/>
              </p:cNvSpPr>
              <p:nvPr/>
            </p:nvSpPr>
            <p:spPr bwMode="auto">
              <a:xfrm>
                <a:off x="3248" y="-263"/>
                <a:ext cx="733" cy="512"/>
              </a:xfrm>
              <a:custGeom>
                <a:avLst/>
                <a:gdLst>
                  <a:gd name="T0" fmla="*/ 27 w 309"/>
                  <a:gd name="T1" fmla="*/ 47 h 215"/>
                  <a:gd name="T2" fmla="*/ 34 w 309"/>
                  <a:gd name="T3" fmla="*/ 57 h 215"/>
                  <a:gd name="T4" fmla="*/ 32 w 309"/>
                  <a:gd name="T5" fmla="*/ 69 h 215"/>
                  <a:gd name="T6" fmla="*/ 22 w 309"/>
                  <a:gd name="T7" fmla="*/ 82 h 215"/>
                  <a:gd name="T8" fmla="*/ 65 w 309"/>
                  <a:gd name="T9" fmla="*/ 95 h 215"/>
                  <a:gd name="T10" fmla="*/ 83 w 309"/>
                  <a:gd name="T11" fmla="*/ 116 h 215"/>
                  <a:gd name="T12" fmla="*/ 98 w 309"/>
                  <a:gd name="T13" fmla="*/ 110 h 215"/>
                  <a:gd name="T14" fmla="*/ 103 w 309"/>
                  <a:gd name="T15" fmla="*/ 99 h 215"/>
                  <a:gd name="T16" fmla="*/ 118 w 309"/>
                  <a:gd name="T17" fmla="*/ 91 h 215"/>
                  <a:gd name="T18" fmla="*/ 130 w 309"/>
                  <a:gd name="T19" fmla="*/ 76 h 215"/>
                  <a:gd name="T20" fmla="*/ 150 w 309"/>
                  <a:gd name="T21" fmla="*/ 98 h 215"/>
                  <a:gd name="T22" fmla="*/ 162 w 309"/>
                  <a:gd name="T23" fmla="*/ 87 h 215"/>
                  <a:gd name="T24" fmla="*/ 166 w 309"/>
                  <a:gd name="T25" fmla="*/ 102 h 215"/>
                  <a:gd name="T26" fmla="*/ 138 w 309"/>
                  <a:gd name="T27" fmla="*/ 115 h 215"/>
                  <a:gd name="T28" fmla="*/ 83 w 309"/>
                  <a:gd name="T29" fmla="*/ 124 h 215"/>
                  <a:gd name="T30" fmla="*/ 93 w 309"/>
                  <a:gd name="T31" fmla="*/ 143 h 215"/>
                  <a:gd name="T32" fmla="*/ 128 w 309"/>
                  <a:gd name="T33" fmla="*/ 138 h 215"/>
                  <a:gd name="T34" fmla="*/ 167 w 309"/>
                  <a:gd name="T35" fmla="*/ 137 h 215"/>
                  <a:gd name="T36" fmla="*/ 181 w 309"/>
                  <a:gd name="T37" fmla="*/ 141 h 215"/>
                  <a:gd name="T38" fmla="*/ 129 w 309"/>
                  <a:gd name="T39" fmla="*/ 145 h 215"/>
                  <a:gd name="T40" fmla="*/ 157 w 309"/>
                  <a:gd name="T41" fmla="*/ 160 h 215"/>
                  <a:gd name="T42" fmla="*/ 128 w 309"/>
                  <a:gd name="T43" fmla="*/ 156 h 215"/>
                  <a:gd name="T44" fmla="*/ 106 w 309"/>
                  <a:gd name="T45" fmla="*/ 157 h 215"/>
                  <a:gd name="T46" fmla="*/ 111 w 309"/>
                  <a:gd name="T47" fmla="*/ 179 h 215"/>
                  <a:gd name="T48" fmla="*/ 145 w 309"/>
                  <a:gd name="T49" fmla="*/ 185 h 215"/>
                  <a:gd name="T50" fmla="*/ 158 w 309"/>
                  <a:gd name="T51" fmla="*/ 190 h 215"/>
                  <a:gd name="T52" fmla="*/ 150 w 309"/>
                  <a:gd name="T53" fmla="*/ 203 h 215"/>
                  <a:gd name="T54" fmla="*/ 179 w 309"/>
                  <a:gd name="T55" fmla="*/ 212 h 215"/>
                  <a:gd name="T56" fmla="*/ 180 w 309"/>
                  <a:gd name="T57" fmla="*/ 197 h 215"/>
                  <a:gd name="T58" fmla="*/ 192 w 309"/>
                  <a:gd name="T59" fmla="*/ 175 h 215"/>
                  <a:gd name="T60" fmla="*/ 214 w 309"/>
                  <a:gd name="T61" fmla="*/ 159 h 215"/>
                  <a:gd name="T62" fmla="*/ 238 w 309"/>
                  <a:gd name="T63" fmla="*/ 118 h 215"/>
                  <a:gd name="T64" fmla="*/ 248 w 309"/>
                  <a:gd name="T65" fmla="*/ 97 h 215"/>
                  <a:gd name="T66" fmla="*/ 268 w 309"/>
                  <a:gd name="T67" fmla="*/ 89 h 215"/>
                  <a:gd name="T68" fmla="*/ 288 w 309"/>
                  <a:gd name="T69" fmla="*/ 86 h 215"/>
                  <a:gd name="T70" fmla="*/ 305 w 309"/>
                  <a:gd name="T71" fmla="*/ 84 h 215"/>
                  <a:gd name="T72" fmla="*/ 263 w 309"/>
                  <a:gd name="T73" fmla="*/ 65 h 215"/>
                  <a:gd name="T74" fmla="*/ 236 w 309"/>
                  <a:gd name="T75" fmla="*/ 56 h 215"/>
                  <a:gd name="T76" fmla="*/ 221 w 309"/>
                  <a:gd name="T77" fmla="*/ 31 h 215"/>
                  <a:gd name="T78" fmla="*/ 200 w 309"/>
                  <a:gd name="T79" fmla="*/ 38 h 215"/>
                  <a:gd name="T80" fmla="*/ 180 w 309"/>
                  <a:gd name="T81" fmla="*/ 12 h 215"/>
                  <a:gd name="T82" fmla="*/ 158 w 309"/>
                  <a:gd name="T83" fmla="*/ 3 h 215"/>
                  <a:gd name="T84" fmla="*/ 148 w 309"/>
                  <a:gd name="T85" fmla="*/ 22 h 215"/>
                  <a:gd name="T86" fmla="*/ 161 w 309"/>
                  <a:gd name="T87" fmla="*/ 51 h 215"/>
                  <a:gd name="T88" fmla="*/ 161 w 309"/>
                  <a:gd name="T89" fmla="*/ 66 h 215"/>
                  <a:gd name="T90" fmla="*/ 148 w 309"/>
                  <a:gd name="T91" fmla="*/ 54 h 215"/>
                  <a:gd name="T92" fmla="*/ 138 w 309"/>
                  <a:gd name="T93" fmla="*/ 36 h 215"/>
                  <a:gd name="T94" fmla="*/ 117 w 309"/>
                  <a:gd name="T95" fmla="*/ 15 h 215"/>
                  <a:gd name="T96" fmla="*/ 100 w 309"/>
                  <a:gd name="T97" fmla="*/ 41 h 215"/>
                  <a:gd name="T98" fmla="*/ 86 w 309"/>
                  <a:gd name="T99" fmla="*/ 35 h 215"/>
                  <a:gd name="T100" fmla="*/ 52 w 309"/>
                  <a:gd name="T101" fmla="*/ 30 h 215"/>
                  <a:gd name="T102" fmla="*/ 96 w 309"/>
                  <a:gd name="T103" fmla="*/ 17 h 215"/>
                  <a:gd name="T104" fmla="*/ 53 w 309"/>
                  <a:gd name="T105" fmla="*/ 18 h 215"/>
                  <a:gd name="T106" fmla="*/ 41 w 309"/>
                  <a:gd name="T107" fmla="*/ 23 h 215"/>
                  <a:gd name="T108" fmla="*/ 16 w 309"/>
                  <a:gd name="T109" fmla="*/ 17 h 215"/>
                  <a:gd name="T110" fmla="*/ 12 w 309"/>
                  <a:gd name="T111" fmla="*/ 3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9" h="215">
                    <a:moveTo>
                      <a:pt x="15" y="53"/>
                    </a:moveTo>
                    <a:cubicBezTo>
                      <a:pt x="16" y="56"/>
                      <a:pt x="14" y="58"/>
                      <a:pt x="18" y="59"/>
                    </a:cubicBezTo>
                    <a:cubicBezTo>
                      <a:pt x="21" y="60"/>
                      <a:pt x="31" y="57"/>
                      <a:pt x="30" y="53"/>
                    </a:cubicBezTo>
                    <a:cubicBezTo>
                      <a:pt x="30" y="51"/>
                      <a:pt x="26" y="49"/>
                      <a:pt x="27" y="47"/>
                    </a:cubicBezTo>
                    <a:cubicBezTo>
                      <a:pt x="28" y="43"/>
                      <a:pt x="34" y="49"/>
                      <a:pt x="36" y="50"/>
                    </a:cubicBezTo>
                    <a:cubicBezTo>
                      <a:pt x="33" y="47"/>
                      <a:pt x="34" y="48"/>
                      <a:pt x="37" y="48"/>
                    </a:cubicBezTo>
                    <a:cubicBezTo>
                      <a:pt x="40" y="47"/>
                      <a:pt x="42" y="47"/>
                      <a:pt x="39" y="51"/>
                    </a:cubicBezTo>
                    <a:cubicBezTo>
                      <a:pt x="38" y="53"/>
                      <a:pt x="36" y="54"/>
                      <a:pt x="34" y="57"/>
                    </a:cubicBezTo>
                    <a:cubicBezTo>
                      <a:pt x="33" y="58"/>
                      <a:pt x="32" y="61"/>
                      <a:pt x="30" y="61"/>
                    </a:cubicBezTo>
                    <a:cubicBezTo>
                      <a:pt x="33" y="63"/>
                      <a:pt x="37" y="65"/>
                      <a:pt x="40" y="66"/>
                    </a:cubicBezTo>
                    <a:cubicBezTo>
                      <a:pt x="43" y="66"/>
                      <a:pt x="50" y="66"/>
                      <a:pt x="47" y="70"/>
                    </a:cubicBezTo>
                    <a:cubicBezTo>
                      <a:pt x="44" y="74"/>
                      <a:pt x="36" y="71"/>
                      <a:pt x="32" y="69"/>
                    </a:cubicBezTo>
                    <a:cubicBezTo>
                      <a:pt x="27" y="68"/>
                      <a:pt x="21" y="65"/>
                      <a:pt x="16" y="66"/>
                    </a:cubicBezTo>
                    <a:cubicBezTo>
                      <a:pt x="12" y="67"/>
                      <a:pt x="12" y="67"/>
                      <a:pt x="15" y="70"/>
                    </a:cubicBezTo>
                    <a:cubicBezTo>
                      <a:pt x="17" y="73"/>
                      <a:pt x="20" y="75"/>
                      <a:pt x="22" y="78"/>
                    </a:cubicBezTo>
                    <a:cubicBezTo>
                      <a:pt x="23" y="79"/>
                      <a:pt x="20" y="81"/>
                      <a:pt x="22" y="82"/>
                    </a:cubicBezTo>
                    <a:cubicBezTo>
                      <a:pt x="25" y="83"/>
                      <a:pt x="29" y="84"/>
                      <a:pt x="32" y="86"/>
                    </a:cubicBezTo>
                    <a:cubicBezTo>
                      <a:pt x="38" y="88"/>
                      <a:pt x="44" y="91"/>
                      <a:pt x="49" y="93"/>
                    </a:cubicBezTo>
                    <a:cubicBezTo>
                      <a:pt x="51" y="94"/>
                      <a:pt x="55" y="96"/>
                      <a:pt x="57" y="96"/>
                    </a:cubicBezTo>
                    <a:cubicBezTo>
                      <a:pt x="59" y="95"/>
                      <a:pt x="63" y="94"/>
                      <a:pt x="65" y="95"/>
                    </a:cubicBezTo>
                    <a:cubicBezTo>
                      <a:pt x="59" y="100"/>
                      <a:pt x="50" y="97"/>
                      <a:pt x="42" y="98"/>
                    </a:cubicBezTo>
                    <a:cubicBezTo>
                      <a:pt x="45" y="104"/>
                      <a:pt x="51" y="107"/>
                      <a:pt x="55" y="111"/>
                    </a:cubicBezTo>
                    <a:cubicBezTo>
                      <a:pt x="59" y="115"/>
                      <a:pt x="60" y="116"/>
                      <a:pt x="66" y="116"/>
                    </a:cubicBezTo>
                    <a:cubicBezTo>
                      <a:pt x="71" y="116"/>
                      <a:pt x="79" y="118"/>
                      <a:pt x="83" y="116"/>
                    </a:cubicBezTo>
                    <a:cubicBezTo>
                      <a:pt x="87" y="115"/>
                      <a:pt x="85" y="115"/>
                      <a:pt x="83" y="112"/>
                    </a:cubicBezTo>
                    <a:cubicBezTo>
                      <a:pt x="85" y="112"/>
                      <a:pt x="86" y="113"/>
                      <a:pt x="88" y="113"/>
                    </a:cubicBezTo>
                    <a:cubicBezTo>
                      <a:pt x="89" y="113"/>
                      <a:pt x="89" y="111"/>
                      <a:pt x="90" y="111"/>
                    </a:cubicBezTo>
                    <a:cubicBezTo>
                      <a:pt x="93" y="110"/>
                      <a:pt x="95" y="112"/>
                      <a:pt x="98" y="110"/>
                    </a:cubicBezTo>
                    <a:cubicBezTo>
                      <a:pt x="101" y="108"/>
                      <a:pt x="96" y="107"/>
                      <a:pt x="98" y="105"/>
                    </a:cubicBezTo>
                    <a:cubicBezTo>
                      <a:pt x="99" y="104"/>
                      <a:pt x="104" y="105"/>
                      <a:pt x="106" y="105"/>
                    </a:cubicBezTo>
                    <a:cubicBezTo>
                      <a:pt x="108" y="105"/>
                      <a:pt x="112" y="106"/>
                      <a:pt x="111" y="103"/>
                    </a:cubicBezTo>
                    <a:cubicBezTo>
                      <a:pt x="110" y="99"/>
                      <a:pt x="105" y="101"/>
                      <a:pt x="103" y="99"/>
                    </a:cubicBezTo>
                    <a:cubicBezTo>
                      <a:pt x="99" y="96"/>
                      <a:pt x="108" y="96"/>
                      <a:pt x="107" y="94"/>
                    </a:cubicBezTo>
                    <a:cubicBezTo>
                      <a:pt x="107" y="92"/>
                      <a:pt x="107" y="88"/>
                      <a:pt x="105" y="87"/>
                    </a:cubicBezTo>
                    <a:cubicBezTo>
                      <a:pt x="107" y="86"/>
                      <a:pt x="109" y="83"/>
                      <a:pt x="111" y="83"/>
                    </a:cubicBezTo>
                    <a:cubicBezTo>
                      <a:pt x="116" y="83"/>
                      <a:pt x="114" y="90"/>
                      <a:pt x="118" y="91"/>
                    </a:cubicBezTo>
                    <a:cubicBezTo>
                      <a:pt x="121" y="92"/>
                      <a:pt x="120" y="89"/>
                      <a:pt x="123" y="88"/>
                    </a:cubicBezTo>
                    <a:cubicBezTo>
                      <a:pt x="124" y="88"/>
                      <a:pt x="125" y="88"/>
                      <a:pt x="126" y="88"/>
                    </a:cubicBezTo>
                    <a:cubicBezTo>
                      <a:pt x="128" y="87"/>
                      <a:pt x="126" y="86"/>
                      <a:pt x="126" y="85"/>
                    </a:cubicBezTo>
                    <a:cubicBezTo>
                      <a:pt x="127" y="83"/>
                      <a:pt x="126" y="78"/>
                      <a:pt x="130" y="76"/>
                    </a:cubicBezTo>
                    <a:cubicBezTo>
                      <a:pt x="135" y="75"/>
                      <a:pt x="134" y="85"/>
                      <a:pt x="133" y="88"/>
                    </a:cubicBezTo>
                    <a:cubicBezTo>
                      <a:pt x="131" y="93"/>
                      <a:pt x="125" y="97"/>
                      <a:pt x="132" y="100"/>
                    </a:cubicBezTo>
                    <a:cubicBezTo>
                      <a:pt x="135" y="101"/>
                      <a:pt x="137" y="100"/>
                      <a:pt x="140" y="100"/>
                    </a:cubicBezTo>
                    <a:cubicBezTo>
                      <a:pt x="143" y="99"/>
                      <a:pt x="147" y="100"/>
                      <a:pt x="150" y="98"/>
                    </a:cubicBezTo>
                    <a:cubicBezTo>
                      <a:pt x="151" y="98"/>
                      <a:pt x="152" y="96"/>
                      <a:pt x="154" y="95"/>
                    </a:cubicBezTo>
                    <a:cubicBezTo>
                      <a:pt x="155" y="94"/>
                      <a:pt x="156" y="94"/>
                      <a:pt x="157" y="94"/>
                    </a:cubicBezTo>
                    <a:cubicBezTo>
                      <a:pt x="159" y="93"/>
                      <a:pt x="159" y="91"/>
                      <a:pt x="160" y="89"/>
                    </a:cubicBezTo>
                    <a:cubicBezTo>
                      <a:pt x="161" y="88"/>
                      <a:pt x="161" y="88"/>
                      <a:pt x="162" y="87"/>
                    </a:cubicBezTo>
                    <a:cubicBezTo>
                      <a:pt x="163" y="85"/>
                      <a:pt x="163" y="83"/>
                      <a:pt x="166" y="84"/>
                    </a:cubicBezTo>
                    <a:cubicBezTo>
                      <a:pt x="168" y="85"/>
                      <a:pt x="170" y="87"/>
                      <a:pt x="172" y="86"/>
                    </a:cubicBezTo>
                    <a:cubicBezTo>
                      <a:pt x="169" y="92"/>
                      <a:pt x="164" y="96"/>
                      <a:pt x="161" y="101"/>
                    </a:cubicBezTo>
                    <a:cubicBezTo>
                      <a:pt x="163" y="102"/>
                      <a:pt x="164" y="102"/>
                      <a:pt x="166" y="102"/>
                    </a:cubicBezTo>
                    <a:cubicBezTo>
                      <a:pt x="168" y="103"/>
                      <a:pt x="170" y="104"/>
                      <a:pt x="172" y="104"/>
                    </a:cubicBezTo>
                    <a:cubicBezTo>
                      <a:pt x="166" y="105"/>
                      <a:pt x="159" y="106"/>
                      <a:pt x="152" y="107"/>
                    </a:cubicBezTo>
                    <a:cubicBezTo>
                      <a:pt x="149" y="107"/>
                      <a:pt x="144" y="107"/>
                      <a:pt x="142" y="109"/>
                    </a:cubicBezTo>
                    <a:cubicBezTo>
                      <a:pt x="139" y="112"/>
                      <a:pt x="143" y="114"/>
                      <a:pt x="138" y="115"/>
                    </a:cubicBezTo>
                    <a:cubicBezTo>
                      <a:pt x="134" y="117"/>
                      <a:pt x="129" y="118"/>
                      <a:pt x="124" y="120"/>
                    </a:cubicBezTo>
                    <a:cubicBezTo>
                      <a:pt x="115" y="122"/>
                      <a:pt x="107" y="125"/>
                      <a:pt x="98" y="128"/>
                    </a:cubicBezTo>
                    <a:cubicBezTo>
                      <a:pt x="96" y="129"/>
                      <a:pt x="90" y="124"/>
                      <a:pt x="87" y="123"/>
                    </a:cubicBezTo>
                    <a:cubicBezTo>
                      <a:pt x="86" y="122"/>
                      <a:pt x="85" y="123"/>
                      <a:pt x="83" y="124"/>
                    </a:cubicBezTo>
                    <a:cubicBezTo>
                      <a:pt x="78" y="125"/>
                      <a:pt x="79" y="125"/>
                      <a:pt x="80" y="130"/>
                    </a:cubicBezTo>
                    <a:cubicBezTo>
                      <a:pt x="80" y="133"/>
                      <a:pt x="80" y="136"/>
                      <a:pt x="81" y="139"/>
                    </a:cubicBezTo>
                    <a:cubicBezTo>
                      <a:pt x="82" y="142"/>
                      <a:pt x="83" y="144"/>
                      <a:pt x="86" y="144"/>
                    </a:cubicBezTo>
                    <a:cubicBezTo>
                      <a:pt x="90" y="145"/>
                      <a:pt x="90" y="144"/>
                      <a:pt x="93" y="143"/>
                    </a:cubicBezTo>
                    <a:cubicBezTo>
                      <a:pt x="95" y="142"/>
                      <a:pt x="109" y="144"/>
                      <a:pt x="108" y="142"/>
                    </a:cubicBezTo>
                    <a:cubicBezTo>
                      <a:pt x="108" y="142"/>
                      <a:pt x="110" y="143"/>
                      <a:pt x="111" y="142"/>
                    </a:cubicBezTo>
                    <a:cubicBezTo>
                      <a:pt x="114" y="142"/>
                      <a:pt x="117" y="142"/>
                      <a:pt x="120" y="141"/>
                    </a:cubicBezTo>
                    <a:cubicBezTo>
                      <a:pt x="124" y="141"/>
                      <a:pt x="125" y="139"/>
                      <a:pt x="128" y="138"/>
                    </a:cubicBezTo>
                    <a:cubicBezTo>
                      <a:pt x="130" y="137"/>
                      <a:pt x="135" y="135"/>
                      <a:pt x="137" y="135"/>
                    </a:cubicBezTo>
                    <a:cubicBezTo>
                      <a:pt x="139" y="136"/>
                      <a:pt x="141" y="138"/>
                      <a:pt x="144" y="139"/>
                    </a:cubicBezTo>
                    <a:cubicBezTo>
                      <a:pt x="150" y="139"/>
                      <a:pt x="156" y="138"/>
                      <a:pt x="162" y="137"/>
                    </a:cubicBezTo>
                    <a:cubicBezTo>
                      <a:pt x="164" y="137"/>
                      <a:pt x="165" y="137"/>
                      <a:pt x="167" y="137"/>
                    </a:cubicBezTo>
                    <a:cubicBezTo>
                      <a:pt x="170" y="137"/>
                      <a:pt x="169" y="136"/>
                      <a:pt x="170" y="134"/>
                    </a:cubicBezTo>
                    <a:cubicBezTo>
                      <a:pt x="172" y="133"/>
                      <a:pt x="176" y="132"/>
                      <a:pt x="178" y="132"/>
                    </a:cubicBezTo>
                    <a:cubicBezTo>
                      <a:pt x="177" y="134"/>
                      <a:pt x="175" y="135"/>
                      <a:pt x="173" y="135"/>
                    </a:cubicBezTo>
                    <a:cubicBezTo>
                      <a:pt x="173" y="140"/>
                      <a:pt x="178" y="140"/>
                      <a:pt x="181" y="141"/>
                    </a:cubicBezTo>
                    <a:cubicBezTo>
                      <a:pt x="178" y="141"/>
                      <a:pt x="175" y="140"/>
                      <a:pt x="172" y="140"/>
                    </a:cubicBezTo>
                    <a:cubicBezTo>
                      <a:pt x="169" y="140"/>
                      <a:pt x="166" y="141"/>
                      <a:pt x="163" y="141"/>
                    </a:cubicBezTo>
                    <a:cubicBezTo>
                      <a:pt x="158" y="141"/>
                      <a:pt x="152" y="143"/>
                      <a:pt x="146" y="143"/>
                    </a:cubicBezTo>
                    <a:cubicBezTo>
                      <a:pt x="141" y="143"/>
                      <a:pt x="135" y="145"/>
                      <a:pt x="129" y="145"/>
                    </a:cubicBezTo>
                    <a:cubicBezTo>
                      <a:pt x="124" y="146"/>
                      <a:pt x="118" y="147"/>
                      <a:pt x="113" y="149"/>
                    </a:cubicBezTo>
                    <a:cubicBezTo>
                      <a:pt x="118" y="153"/>
                      <a:pt x="131" y="152"/>
                      <a:pt x="137" y="154"/>
                    </a:cubicBezTo>
                    <a:cubicBezTo>
                      <a:pt x="142" y="154"/>
                      <a:pt x="145" y="154"/>
                      <a:pt x="148" y="157"/>
                    </a:cubicBezTo>
                    <a:cubicBezTo>
                      <a:pt x="151" y="159"/>
                      <a:pt x="154" y="159"/>
                      <a:pt x="157" y="160"/>
                    </a:cubicBezTo>
                    <a:cubicBezTo>
                      <a:pt x="156" y="160"/>
                      <a:pt x="155" y="162"/>
                      <a:pt x="154" y="162"/>
                    </a:cubicBezTo>
                    <a:cubicBezTo>
                      <a:pt x="151" y="162"/>
                      <a:pt x="149" y="159"/>
                      <a:pt x="146" y="158"/>
                    </a:cubicBezTo>
                    <a:cubicBezTo>
                      <a:pt x="143" y="157"/>
                      <a:pt x="140" y="156"/>
                      <a:pt x="137" y="157"/>
                    </a:cubicBezTo>
                    <a:cubicBezTo>
                      <a:pt x="134" y="157"/>
                      <a:pt x="131" y="157"/>
                      <a:pt x="128" y="156"/>
                    </a:cubicBezTo>
                    <a:cubicBezTo>
                      <a:pt x="125" y="156"/>
                      <a:pt x="122" y="155"/>
                      <a:pt x="120" y="155"/>
                    </a:cubicBezTo>
                    <a:cubicBezTo>
                      <a:pt x="118" y="155"/>
                      <a:pt x="117" y="156"/>
                      <a:pt x="115" y="156"/>
                    </a:cubicBezTo>
                    <a:cubicBezTo>
                      <a:pt x="113" y="156"/>
                      <a:pt x="113" y="157"/>
                      <a:pt x="112" y="159"/>
                    </a:cubicBezTo>
                    <a:cubicBezTo>
                      <a:pt x="111" y="161"/>
                      <a:pt x="106" y="160"/>
                      <a:pt x="106" y="157"/>
                    </a:cubicBezTo>
                    <a:cubicBezTo>
                      <a:pt x="107" y="152"/>
                      <a:pt x="94" y="154"/>
                      <a:pt x="91" y="156"/>
                    </a:cubicBezTo>
                    <a:cubicBezTo>
                      <a:pt x="88" y="157"/>
                      <a:pt x="88" y="157"/>
                      <a:pt x="90" y="160"/>
                    </a:cubicBezTo>
                    <a:cubicBezTo>
                      <a:pt x="91" y="163"/>
                      <a:pt x="93" y="167"/>
                      <a:pt x="94" y="170"/>
                    </a:cubicBezTo>
                    <a:cubicBezTo>
                      <a:pt x="98" y="176"/>
                      <a:pt x="105" y="177"/>
                      <a:pt x="111" y="179"/>
                    </a:cubicBezTo>
                    <a:cubicBezTo>
                      <a:pt x="115" y="180"/>
                      <a:pt x="119" y="180"/>
                      <a:pt x="123" y="182"/>
                    </a:cubicBezTo>
                    <a:cubicBezTo>
                      <a:pt x="128" y="185"/>
                      <a:pt x="132" y="188"/>
                      <a:pt x="138" y="189"/>
                    </a:cubicBezTo>
                    <a:cubicBezTo>
                      <a:pt x="140" y="189"/>
                      <a:pt x="142" y="188"/>
                      <a:pt x="144" y="188"/>
                    </a:cubicBezTo>
                    <a:cubicBezTo>
                      <a:pt x="148" y="188"/>
                      <a:pt x="144" y="186"/>
                      <a:pt x="145" y="185"/>
                    </a:cubicBezTo>
                    <a:cubicBezTo>
                      <a:pt x="145" y="186"/>
                      <a:pt x="149" y="184"/>
                      <a:pt x="148" y="184"/>
                    </a:cubicBezTo>
                    <a:cubicBezTo>
                      <a:pt x="152" y="184"/>
                      <a:pt x="154" y="189"/>
                      <a:pt x="157" y="189"/>
                    </a:cubicBezTo>
                    <a:cubicBezTo>
                      <a:pt x="159" y="190"/>
                      <a:pt x="162" y="189"/>
                      <a:pt x="164" y="189"/>
                    </a:cubicBezTo>
                    <a:cubicBezTo>
                      <a:pt x="162" y="190"/>
                      <a:pt x="160" y="189"/>
                      <a:pt x="158" y="190"/>
                    </a:cubicBezTo>
                    <a:cubicBezTo>
                      <a:pt x="158" y="191"/>
                      <a:pt x="156" y="194"/>
                      <a:pt x="156" y="192"/>
                    </a:cubicBezTo>
                    <a:cubicBezTo>
                      <a:pt x="155" y="189"/>
                      <a:pt x="151" y="190"/>
                      <a:pt x="149" y="190"/>
                    </a:cubicBezTo>
                    <a:cubicBezTo>
                      <a:pt x="146" y="191"/>
                      <a:pt x="137" y="192"/>
                      <a:pt x="135" y="195"/>
                    </a:cubicBezTo>
                    <a:cubicBezTo>
                      <a:pt x="140" y="199"/>
                      <a:pt x="145" y="201"/>
                      <a:pt x="150" y="203"/>
                    </a:cubicBezTo>
                    <a:cubicBezTo>
                      <a:pt x="152" y="204"/>
                      <a:pt x="156" y="206"/>
                      <a:pt x="157" y="207"/>
                    </a:cubicBezTo>
                    <a:cubicBezTo>
                      <a:pt x="158" y="209"/>
                      <a:pt x="158" y="212"/>
                      <a:pt x="158" y="214"/>
                    </a:cubicBezTo>
                    <a:cubicBezTo>
                      <a:pt x="164" y="209"/>
                      <a:pt x="166" y="215"/>
                      <a:pt x="173" y="214"/>
                    </a:cubicBezTo>
                    <a:cubicBezTo>
                      <a:pt x="175" y="214"/>
                      <a:pt x="177" y="213"/>
                      <a:pt x="179" y="212"/>
                    </a:cubicBezTo>
                    <a:cubicBezTo>
                      <a:pt x="179" y="211"/>
                      <a:pt x="183" y="208"/>
                      <a:pt x="183" y="207"/>
                    </a:cubicBezTo>
                    <a:cubicBezTo>
                      <a:pt x="184" y="204"/>
                      <a:pt x="180" y="204"/>
                      <a:pt x="178" y="202"/>
                    </a:cubicBezTo>
                    <a:cubicBezTo>
                      <a:pt x="177" y="201"/>
                      <a:pt x="175" y="202"/>
                      <a:pt x="178" y="200"/>
                    </a:cubicBezTo>
                    <a:cubicBezTo>
                      <a:pt x="180" y="199"/>
                      <a:pt x="179" y="198"/>
                      <a:pt x="180" y="197"/>
                    </a:cubicBezTo>
                    <a:cubicBezTo>
                      <a:pt x="182" y="195"/>
                      <a:pt x="186" y="194"/>
                      <a:pt x="186" y="192"/>
                    </a:cubicBezTo>
                    <a:cubicBezTo>
                      <a:pt x="188" y="189"/>
                      <a:pt x="184" y="188"/>
                      <a:pt x="182" y="186"/>
                    </a:cubicBezTo>
                    <a:cubicBezTo>
                      <a:pt x="187" y="185"/>
                      <a:pt x="187" y="187"/>
                      <a:pt x="189" y="182"/>
                    </a:cubicBezTo>
                    <a:cubicBezTo>
                      <a:pt x="190" y="180"/>
                      <a:pt x="191" y="178"/>
                      <a:pt x="192" y="175"/>
                    </a:cubicBezTo>
                    <a:cubicBezTo>
                      <a:pt x="192" y="174"/>
                      <a:pt x="193" y="170"/>
                      <a:pt x="194" y="169"/>
                    </a:cubicBezTo>
                    <a:cubicBezTo>
                      <a:pt x="195" y="166"/>
                      <a:pt x="197" y="162"/>
                      <a:pt x="199" y="161"/>
                    </a:cubicBezTo>
                    <a:cubicBezTo>
                      <a:pt x="201" y="159"/>
                      <a:pt x="203" y="158"/>
                      <a:pt x="206" y="158"/>
                    </a:cubicBezTo>
                    <a:cubicBezTo>
                      <a:pt x="208" y="158"/>
                      <a:pt x="211" y="159"/>
                      <a:pt x="214" y="159"/>
                    </a:cubicBezTo>
                    <a:cubicBezTo>
                      <a:pt x="216" y="159"/>
                      <a:pt x="217" y="153"/>
                      <a:pt x="217" y="150"/>
                    </a:cubicBezTo>
                    <a:cubicBezTo>
                      <a:pt x="219" y="146"/>
                      <a:pt x="220" y="142"/>
                      <a:pt x="220" y="138"/>
                    </a:cubicBezTo>
                    <a:cubicBezTo>
                      <a:pt x="220" y="135"/>
                      <a:pt x="221" y="124"/>
                      <a:pt x="224" y="125"/>
                    </a:cubicBezTo>
                    <a:cubicBezTo>
                      <a:pt x="230" y="126"/>
                      <a:pt x="240" y="127"/>
                      <a:pt x="238" y="118"/>
                    </a:cubicBezTo>
                    <a:cubicBezTo>
                      <a:pt x="237" y="115"/>
                      <a:pt x="235" y="111"/>
                      <a:pt x="236" y="108"/>
                    </a:cubicBezTo>
                    <a:cubicBezTo>
                      <a:pt x="236" y="107"/>
                      <a:pt x="238" y="107"/>
                      <a:pt x="238" y="105"/>
                    </a:cubicBezTo>
                    <a:cubicBezTo>
                      <a:pt x="238" y="100"/>
                      <a:pt x="234" y="100"/>
                      <a:pt x="240" y="99"/>
                    </a:cubicBezTo>
                    <a:cubicBezTo>
                      <a:pt x="243" y="99"/>
                      <a:pt x="246" y="98"/>
                      <a:pt x="248" y="97"/>
                    </a:cubicBezTo>
                    <a:cubicBezTo>
                      <a:pt x="250" y="97"/>
                      <a:pt x="252" y="97"/>
                      <a:pt x="253" y="97"/>
                    </a:cubicBezTo>
                    <a:cubicBezTo>
                      <a:pt x="256" y="97"/>
                      <a:pt x="256" y="93"/>
                      <a:pt x="257" y="91"/>
                    </a:cubicBezTo>
                    <a:cubicBezTo>
                      <a:pt x="259" y="88"/>
                      <a:pt x="262" y="91"/>
                      <a:pt x="265" y="91"/>
                    </a:cubicBezTo>
                    <a:cubicBezTo>
                      <a:pt x="266" y="91"/>
                      <a:pt x="267" y="89"/>
                      <a:pt x="268" y="89"/>
                    </a:cubicBezTo>
                    <a:cubicBezTo>
                      <a:pt x="269" y="88"/>
                      <a:pt x="272" y="88"/>
                      <a:pt x="273" y="88"/>
                    </a:cubicBezTo>
                    <a:cubicBezTo>
                      <a:pt x="276" y="88"/>
                      <a:pt x="279" y="90"/>
                      <a:pt x="282" y="89"/>
                    </a:cubicBezTo>
                    <a:cubicBezTo>
                      <a:pt x="283" y="89"/>
                      <a:pt x="283" y="87"/>
                      <a:pt x="284" y="86"/>
                    </a:cubicBezTo>
                    <a:cubicBezTo>
                      <a:pt x="285" y="85"/>
                      <a:pt x="286" y="86"/>
                      <a:pt x="288" y="86"/>
                    </a:cubicBezTo>
                    <a:cubicBezTo>
                      <a:pt x="290" y="86"/>
                      <a:pt x="293" y="89"/>
                      <a:pt x="296" y="88"/>
                    </a:cubicBezTo>
                    <a:cubicBezTo>
                      <a:pt x="297" y="88"/>
                      <a:pt x="298" y="87"/>
                      <a:pt x="299" y="87"/>
                    </a:cubicBezTo>
                    <a:cubicBezTo>
                      <a:pt x="300" y="86"/>
                      <a:pt x="302" y="88"/>
                      <a:pt x="303" y="87"/>
                    </a:cubicBezTo>
                    <a:cubicBezTo>
                      <a:pt x="305" y="87"/>
                      <a:pt x="304" y="86"/>
                      <a:pt x="305" y="84"/>
                    </a:cubicBezTo>
                    <a:cubicBezTo>
                      <a:pt x="306" y="83"/>
                      <a:pt x="309" y="82"/>
                      <a:pt x="309" y="81"/>
                    </a:cubicBezTo>
                    <a:cubicBezTo>
                      <a:pt x="309" y="78"/>
                      <a:pt x="288" y="73"/>
                      <a:pt x="285" y="72"/>
                    </a:cubicBezTo>
                    <a:cubicBezTo>
                      <a:pt x="280" y="70"/>
                      <a:pt x="276" y="68"/>
                      <a:pt x="271" y="66"/>
                    </a:cubicBezTo>
                    <a:cubicBezTo>
                      <a:pt x="269" y="66"/>
                      <a:pt x="264" y="66"/>
                      <a:pt x="263" y="65"/>
                    </a:cubicBezTo>
                    <a:cubicBezTo>
                      <a:pt x="260" y="62"/>
                      <a:pt x="260" y="58"/>
                      <a:pt x="256" y="57"/>
                    </a:cubicBezTo>
                    <a:cubicBezTo>
                      <a:pt x="252" y="56"/>
                      <a:pt x="248" y="54"/>
                      <a:pt x="244" y="55"/>
                    </a:cubicBezTo>
                    <a:cubicBezTo>
                      <a:pt x="242" y="55"/>
                      <a:pt x="242" y="57"/>
                      <a:pt x="240" y="57"/>
                    </a:cubicBezTo>
                    <a:cubicBezTo>
                      <a:pt x="239" y="57"/>
                      <a:pt x="237" y="57"/>
                      <a:pt x="236" y="56"/>
                    </a:cubicBezTo>
                    <a:cubicBezTo>
                      <a:pt x="233" y="54"/>
                      <a:pt x="231" y="47"/>
                      <a:pt x="231" y="43"/>
                    </a:cubicBezTo>
                    <a:cubicBezTo>
                      <a:pt x="232" y="41"/>
                      <a:pt x="233" y="42"/>
                      <a:pt x="232" y="39"/>
                    </a:cubicBezTo>
                    <a:cubicBezTo>
                      <a:pt x="232" y="37"/>
                      <a:pt x="231" y="36"/>
                      <a:pt x="229" y="34"/>
                    </a:cubicBezTo>
                    <a:cubicBezTo>
                      <a:pt x="227" y="32"/>
                      <a:pt x="225" y="32"/>
                      <a:pt x="221" y="31"/>
                    </a:cubicBezTo>
                    <a:cubicBezTo>
                      <a:pt x="219" y="31"/>
                      <a:pt x="211" y="29"/>
                      <a:pt x="209" y="30"/>
                    </a:cubicBezTo>
                    <a:cubicBezTo>
                      <a:pt x="207" y="32"/>
                      <a:pt x="208" y="36"/>
                      <a:pt x="206" y="38"/>
                    </a:cubicBezTo>
                    <a:cubicBezTo>
                      <a:pt x="206" y="39"/>
                      <a:pt x="199" y="44"/>
                      <a:pt x="198" y="42"/>
                    </a:cubicBezTo>
                    <a:cubicBezTo>
                      <a:pt x="197" y="42"/>
                      <a:pt x="201" y="40"/>
                      <a:pt x="200" y="38"/>
                    </a:cubicBezTo>
                    <a:cubicBezTo>
                      <a:pt x="200" y="37"/>
                      <a:pt x="200" y="34"/>
                      <a:pt x="200" y="33"/>
                    </a:cubicBezTo>
                    <a:cubicBezTo>
                      <a:pt x="200" y="29"/>
                      <a:pt x="200" y="26"/>
                      <a:pt x="204" y="24"/>
                    </a:cubicBezTo>
                    <a:cubicBezTo>
                      <a:pt x="204" y="24"/>
                      <a:pt x="212" y="20"/>
                      <a:pt x="210" y="20"/>
                    </a:cubicBezTo>
                    <a:cubicBezTo>
                      <a:pt x="200" y="17"/>
                      <a:pt x="190" y="15"/>
                      <a:pt x="180" y="12"/>
                    </a:cubicBezTo>
                    <a:cubicBezTo>
                      <a:pt x="179" y="12"/>
                      <a:pt x="174" y="11"/>
                      <a:pt x="173" y="10"/>
                    </a:cubicBezTo>
                    <a:cubicBezTo>
                      <a:pt x="170" y="7"/>
                      <a:pt x="168" y="3"/>
                      <a:pt x="166" y="0"/>
                    </a:cubicBezTo>
                    <a:cubicBezTo>
                      <a:pt x="160" y="1"/>
                      <a:pt x="155" y="1"/>
                      <a:pt x="150" y="2"/>
                    </a:cubicBezTo>
                    <a:cubicBezTo>
                      <a:pt x="152" y="2"/>
                      <a:pt x="157" y="0"/>
                      <a:pt x="158" y="3"/>
                    </a:cubicBezTo>
                    <a:cubicBezTo>
                      <a:pt x="158" y="5"/>
                      <a:pt x="159" y="8"/>
                      <a:pt x="160" y="9"/>
                    </a:cubicBezTo>
                    <a:cubicBezTo>
                      <a:pt x="160" y="10"/>
                      <a:pt x="160" y="10"/>
                      <a:pt x="160" y="10"/>
                    </a:cubicBezTo>
                    <a:cubicBezTo>
                      <a:pt x="158" y="12"/>
                      <a:pt x="151" y="8"/>
                      <a:pt x="148" y="10"/>
                    </a:cubicBezTo>
                    <a:cubicBezTo>
                      <a:pt x="145" y="12"/>
                      <a:pt x="147" y="19"/>
                      <a:pt x="148" y="22"/>
                    </a:cubicBezTo>
                    <a:cubicBezTo>
                      <a:pt x="149" y="24"/>
                      <a:pt x="152" y="27"/>
                      <a:pt x="153" y="30"/>
                    </a:cubicBezTo>
                    <a:cubicBezTo>
                      <a:pt x="153" y="32"/>
                      <a:pt x="154" y="36"/>
                      <a:pt x="155" y="39"/>
                    </a:cubicBezTo>
                    <a:cubicBezTo>
                      <a:pt x="155" y="43"/>
                      <a:pt x="156" y="45"/>
                      <a:pt x="158" y="47"/>
                    </a:cubicBezTo>
                    <a:cubicBezTo>
                      <a:pt x="159" y="49"/>
                      <a:pt x="160" y="49"/>
                      <a:pt x="161" y="51"/>
                    </a:cubicBezTo>
                    <a:cubicBezTo>
                      <a:pt x="162" y="52"/>
                      <a:pt x="161" y="54"/>
                      <a:pt x="162" y="56"/>
                    </a:cubicBezTo>
                    <a:cubicBezTo>
                      <a:pt x="163" y="59"/>
                      <a:pt x="166" y="61"/>
                      <a:pt x="167" y="64"/>
                    </a:cubicBezTo>
                    <a:cubicBezTo>
                      <a:pt x="168" y="66"/>
                      <a:pt x="170" y="68"/>
                      <a:pt x="171" y="70"/>
                    </a:cubicBezTo>
                    <a:cubicBezTo>
                      <a:pt x="168" y="70"/>
                      <a:pt x="162" y="69"/>
                      <a:pt x="161" y="66"/>
                    </a:cubicBezTo>
                    <a:cubicBezTo>
                      <a:pt x="160" y="65"/>
                      <a:pt x="161" y="64"/>
                      <a:pt x="161" y="63"/>
                    </a:cubicBezTo>
                    <a:cubicBezTo>
                      <a:pt x="160" y="61"/>
                      <a:pt x="159" y="61"/>
                      <a:pt x="158" y="60"/>
                    </a:cubicBezTo>
                    <a:cubicBezTo>
                      <a:pt x="156" y="58"/>
                      <a:pt x="155" y="55"/>
                      <a:pt x="152" y="55"/>
                    </a:cubicBezTo>
                    <a:cubicBezTo>
                      <a:pt x="149" y="55"/>
                      <a:pt x="145" y="60"/>
                      <a:pt x="148" y="54"/>
                    </a:cubicBezTo>
                    <a:cubicBezTo>
                      <a:pt x="150" y="51"/>
                      <a:pt x="151" y="52"/>
                      <a:pt x="149" y="50"/>
                    </a:cubicBezTo>
                    <a:cubicBezTo>
                      <a:pt x="149" y="49"/>
                      <a:pt x="146" y="47"/>
                      <a:pt x="146" y="47"/>
                    </a:cubicBezTo>
                    <a:cubicBezTo>
                      <a:pt x="143" y="45"/>
                      <a:pt x="142" y="44"/>
                      <a:pt x="140" y="41"/>
                    </a:cubicBezTo>
                    <a:cubicBezTo>
                      <a:pt x="140" y="39"/>
                      <a:pt x="139" y="38"/>
                      <a:pt x="138" y="36"/>
                    </a:cubicBezTo>
                    <a:cubicBezTo>
                      <a:pt x="138" y="35"/>
                      <a:pt x="137" y="33"/>
                      <a:pt x="136" y="32"/>
                    </a:cubicBezTo>
                    <a:cubicBezTo>
                      <a:pt x="136" y="31"/>
                      <a:pt x="136" y="28"/>
                      <a:pt x="136" y="27"/>
                    </a:cubicBezTo>
                    <a:cubicBezTo>
                      <a:pt x="135" y="26"/>
                      <a:pt x="133" y="26"/>
                      <a:pt x="132" y="25"/>
                    </a:cubicBezTo>
                    <a:cubicBezTo>
                      <a:pt x="127" y="22"/>
                      <a:pt x="124" y="16"/>
                      <a:pt x="117" y="15"/>
                    </a:cubicBezTo>
                    <a:cubicBezTo>
                      <a:pt x="112" y="14"/>
                      <a:pt x="111" y="18"/>
                      <a:pt x="107" y="21"/>
                    </a:cubicBezTo>
                    <a:cubicBezTo>
                      <a:pt x="106" y="23"/>
                      <a:pt x="100" y="25"/>
                      <a:pt x="105" y="27"/>
                    </a:cubicBezTo>
                    <a:cubicBezTo>
                      <a:pt x="102" y="27"/>
                      <a:pt x="98" y="27"/>
                      <a:pt x="96" y="30"/>
                    </a:cubicBezTo>
                    <a:cubicBezTo>
                      <a:pt x="94" y="32"/>
                      <a:pt x="99" y="38"/>
                      <a:pt x="100" y="41"/>
                    </a:cubicBezTo>
                    <a:cubicBezTo>
                      <a:pt x="101" y="44"/>
                      <a:pt x="102" y="44"/>
                      <a:pt x="100" y="47"/>
                    </a:cubicBezTo>
                    <a:cubicBezTo>
                      <a:pt x="99" y="49"/>
                      <a:pt x="98" y="48"/>
                      <a:pt x="96" y="48"/>
                    </a:cubicBezTo>
                    <a:cubicBezTo>
                      <a:pt x="93" y="48"/>
                      <a:pt x="95" y="42"/>
                      <a:pt x="92" y="40"/>
                    </a:cubicBezTo>
                    <a:cubicBezTo>
                      <a:pt x="90" y="39"/>
                      <a:pt x="88" y="36"/>
                      <a:pt x="86" y="35"/>
                    </a:cubicBezTo>
                    <a:cubicBezTo>
                      <a:pt x="83" y="34"/>
                      <a:pt x="78" y="39"/>
                      <a:pt x="76" y="36"/>
                    </a:cubicBezTo>
                    <a:cubicBezTo>
                      <a:pt x="73" y="32"/>
                      <a:pt x="84" y="33"/>
                      <a:pt x="82" y="29"/>
                    </a:cubicBezTo>
                    <a:cubicBezTo>
                      <a:pt x="80" y="27"/>
                      <a:pt x="73" y="28"/>
                      <a:pt x="70" y="28"/>
                    </a:cubicBezTo>
                    <a:cubicBezTo>
                      <a:pt x="66" y="29"/>
                      <a:pt x="55" y="33"/>
                      <a:pt x="52" y="30"/>
                    </a:cubicBezTo>
                    <a:cubicBezTo>
                      <a:pt x="55" y="28"/>
                      <a:pt x="58" y="28"/>
                      <a:pt x="62" y="26"/>
                    </a:cubicBezTo>
                    <a:cubicBezTo>
                      <a:pt x="64" y="25"/>
                      <a:pt x="67" y="23"/>
                      <a:pt x="69" y="22"/>
                    </a:cubicBezTo>
                    <a:cubicBezTo>
                      <a:pt x="71" y="21"/>
                      <a:pt x="75" y="22"/>
                      <a:pt x="78" y="21"/>
                    </a:cubicBezTo>
                    <a:cubicBezTo>
                      <a:pt x="83" y="21"/>
                      <a:pt x="93" y="23"/>
                      <a:pt x="96" y="17"/>
                    </a:cubicBezTo>
                    <a:cubicBezTo>
                      <a:pt x="101" y="8"/>
                      <a:pt x="83" y="11"/>
                      <a:pt x="79" y="11"/>
                    </a:cubicBezTo>
                    <a:cubicBezTo>
                      <a:pt x="76" y="12"/>
                      <a:pt x="74" y="13"/>
                      <a:pt x="70" y="13"/>
                    </a:cubicBezTo>
                    <a:cubicBezTo>
                      <a:pt x="67" y="13"/>
                      <a:pt x="65" y="16"/>
                      <a:pt x="62" y="16"/>
                    </a:cubicBezTo>
                    <a:cubicBezTo>
                      <a:pt x="61" y="17"/>
                      <a:pt x="54" y="18"/>
                      <a:pt x="53" y="18"/>
                    </a:cubicBezTo>
                    <a:cubicBezTo>
                      <a:pt x="52" y="16"/>
                      <a:pt x="53" y="15"/>
                      <a:pt x="51" y="14"/>
                    </a:cubicBezTo>
                    <a:cubicBezTo>
                      <a:pt x="50" y="13"/>
                      <a:pt x="49" y="13"/>
                      <a:pt x="47" y="13"/>
                    </a:cubicBezTo>
                    <a:cubicBezTo>
                      <a:pt x="45" y="13"/>
                      <a:pt x="44" y="13"/>
                      <a:pt x="43" y="15"/>
                    </a:cubicBezTo>
                    <a:cubicBezTo>
                      <a:pt x="42" y="16"/>
                      <a:pt x="42" y="24"/>
                      <a:pt x="41" y="23"/>
                    </a:cubicBezTo>
                    <a:cubicBezTo>
                      <a:pt x="40" y="22"/>
                      <a:pt x="37" y="16"/>
                      <a:pt x="37" y="16"/>
                    </a:cubicBezTo>
                    <a:cubicBezTo>
                      <a:pt x="37" y="13"/>
                      <a:pt x="31" y="12"/>
                      <a:pt x="29" y="13"/>
                    </a:cubicBezTo>
                    <a:cubicBezTo>
                      <a:pt x="26" y="14"/>
                      <a:pt x="24" y="16"/>
                      <a:pt x="21" y="16"/>
                    </a:cubicBezTo>
                    <a:cubicBezTo>
                      <a:pt x="20" y="16"/>
                      <a:pt x="17" y="15"/>
                      <a:pt x="16" y="17"/>
                    </a:cubicBezTo>
                    <a:cubicBezTo>
                      <a:pt x="15" y="19"/>
                      <a:pt x="17" y="24"/>
                      <a:pt x="14" y="25"/>
                    </a:cubicBezTo>
                    <a:cubicBezTo>
                      <a:pt x="13" y="26"/>
                      <a:pt x="11" y="25"/>
                      <a:pt x="10" y="25"/>
                    </a:cubicBezTo>
                    <a:cubicBezTo>
                      <a:pt x="9" y="25"/>
                      <a:pt x="7" y="26"/>
                      <a:pt x="6" y="27"/>
                    </a:cubicBezTo>
                    <a:cubicBezTo>
                      <a:pt x="8" y="29"/>
                      <a:pt x="11" y="29"/>
                      <a:pt x="12" y="30"/>
                    </a:cubicBezTo>
                    <a:cubicBezTo>
                      <a:pt x="11" y="30"/>
                      <a:pt x="3" y="29"/>
                      <a:pt x="2" y="30"/>
                    </a:cubicBezTo>
                    <a:cubicBezTo>
                      <a:pt x="0" y="32"/>
                      <a:pt x="5" y="42"/>
                      <a:pt x="6" y="44"/>
                    </a:cubicBezTo>
                    <a:cubicBezTo>
                      <a:pt x="8" y="47"/>
                      <a:pt x="13" y="50"/>
                      <a:pt x="15"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1" name="Freeform 727">
                <a:extLst>
                  <a:ext uri="{FF2B5EF4-FFF2-40B4-BE49-F238E27FC236}">
                    <a16:creationId xmlns:a16="http://schemas.microsoft.com/office/drawing/2014/main" id="{80ACFBD3-2EE6-438F-BCD6-12A9855FB544}"/>
                  </a:ext>
                </a:extLst>
              </p:cNvPr>
              <p:cNvSpPr>
                <a:spLocks/>
              </p:cNvSpPr>
              <p:nvPr/>
            </p:nvSpPr>
            <p:spPr bwMode="auto">
              <a:xfrm>
                <a:off x="3922" y="4"/>
                <a:ext cx="287" cy="145"/>
              </a:xfrm>
              <a:custGeom>
                <a:avLst/>
                <a:gdLst>
                  <a:gd name="T0" fmla="*/ 121 w 121"/>
                  <a:gd name="T1" fmla="*/ 31 h 61"/>
                  <a:gd name="T2" fmla="*/ 105 w 121"/>
                  <a:gd name="T3" fmla="*/ 24 h 61"/>
                  <a:gd name="T4" fmla="*/ 103 w 121"/>
                  <a:gd name="T5" fmla="*/ 22 h 61"/>
                  <a:gd name="T6" fmla="*/ 102 w 121"/>
                  <a:gd name="T7" fmla="*/ 23 h 61"/>
                  <a:gd name="T8" fmla="*/ 97 w 121"/>
                  <a:gd name="T9" fmla="*/ 23 h 61"/>
                  <a:gd name="T10" fmla="*/ 90 w 121"/>
                  <a:gd name="T11" fmla="*/ 25 h 61"/>
                  <a:gd name="T12" fmla="*/ 81 w 121"/>
                  <a:gd name="T13" fmla="*/ 22 h 61"/>
                  <a:gd name="T14" fmla="*/ 74 w 121"/>
                  <a:gd name="T15" fmla="*/ 18 h 61"/>
                  <a:gd name="T16" fmla="*/ 78 w 121"/>
                  <a:gd name="T17" fmla="*/ 10 h 61"/>
                  <a:gd name="T18" fmla="*/ 77 w 121"/>
                  <a:gd name="T19" fmla="*/ 5 h 61"/>
                  <a:gd name="T20" fmla="*/ 69 w 121"/>
                  <a:gd name="T21" fmla="*/ 2 h 61"/>
                  <a:gd name="T22" fmla="*/ 52 w 121"/>
                  <a:gd name="T23" fmla="*/ 2 h 61"/>
                  <a:gd name="T24" fmla="*/ 48 w 121"/>
                  <a:gd name="T25" fmla="*/ 4 h 61"/>
                  <a:gd name="T26" fmla="*/ 43 w 121"/>
                  <a:gd name="T27" fmla="*/ 4 h 61"/>
                  <a:gd name="T28" fmla="*/ 34 w 121"/>
                  <a:gd name="T29" fmla="*/ 3 h 61"/>
                  <a:gd name="T30" fmla="*/ 18 w 121"/>
                  <a:gd name="T31" fmla="*/ 6 h 61"/>
                  <a:gd name="T32" fmla="*/ 9 w 121"/>
                  <a:gd name="T33" fmla="*/ 13 h 61"/>
                  <a:gd name="T34" fmla="*/ 17 w 121"/>
                  <a:gd name="T35" fmla="*/ 17 h 61"/>
                  <a:gd name="T36" fmla="*/ 28 w 121"/>
                  <a:gd name="T37" fmla="*/ 21 h 61"/>
                  <a:gd name="T38" fmla="*/ 26 w 121"/>
                  <a:gd name="T39" fmla="*/ 24 h 61"/>
                  <a:gd name="T40" fmla="*/ 22 w 121"/>
                  <a:gd name="T41" fmla="*/ 28 h 61"/>
                  <a:gd name="T42" fmla="*/ 17 w 121"/>
                  <a:gd name="T43" fmla="*/ 36 h 61"/>
                  <a:gd name="T44" fmla="*/ 12 w 121"/>
                  <a:gd name="T45" fmla="*/ 41 h 61"/>
                  <a:gd name="T46" fmla="*/ 5 w 121"/>
                  <a:gd name="T47" fmla="*/ 49 h 61"/>
                  <a:gd name="T48" fmla="*/ 28 w 121"/>
                  <a:gd name="T49" fmla="*/ 46 h 61"/>
                  <a:gd name="T50" fmla="*/ 59 w 121"/>
                  <a:gd name="T51" fmla="*/ 43 h 61"/>
                  <a:gd name="T52" fmla="*/ 55 w 121"/>
                  <a:gd name="T53" fmla="*/ 48 h 61"/>
                  <a:gd name="T54" fmla="*/ 53 w 121"/>
                  <a:gd name="T55" fmla="*/ 56 h 61"/>
                  <a:gd name="T56" fmla="*/ 61 w 121"/>
                  <a:gd name="T57" fmla="*/ 60 h 61"/>
                  <a:gd name="T58" fmla="*/ 64 w 121"/>
                  <a:gd name="T59" fmla="*/ 57 h 61"/>
                  <a:gd name="T60" fmla="*/ 75 w 121"/>
                  <a:gd name="T61" fmla="*/ 55 h 61"/>
                  <a:gd name="T62" fmla="*/ 81 w 121"/>
                  <a:gd name="T63" fmla="*/ 52 h 61"/>
                  <a:gd name="T64" fmla="*/ 89 w 121"/>
                  <a:gd name="T65" fmla="*/ 49 h 61"/>
                  <a:gd name="T66" fmla="*/ 98 w 121"/>
                  <a:gd name="T67" fmla="*/ 40 h 61"/>
                  <a:gd name="T68" fmla="*/ 121 w 121"/>
                  <a:gd name="T69"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1" h="61">
                    <a:moveTo>
                      <a:pt x="121" y="31"/>
                    </a:moveTo>
                    <a:cubicBezTo>
                      <a:pt x="115" y="28"/>
                      <a:pt x="111" y="25"/>
                      <a:pt x="105" y="24"/>
                    </a:cubicBezTo>
                    <a:cubicBezTo>
                      <a:pt x="104" y="23"/>
                      <a:pt x="104" y="22"/>
                      <a:pt x="103" y="22"/>
                    </a:cubicBezTo>
                    <a:cubicBezTo>
                      <a:pt x="103" y="22"/>
                      <a:pt x="102" y="23"/>
                      <a:pt x="102" y="23"/>
                    </a:cubicBezTo>
                    <a:cubicBezTo>
                      <a:pt x="100" y="23"/>
                      <a:pt x="98" y="23"/>
                      <a:pt x="97" y="23"/>
                    </a:cubicBezTo>
                    <a:cubicBezTo>
                      <a:pt x="94" y="24"/>
                      <a:pt x="93" y="25"/>
                      <a:pt x="90" y="25"/>
                    </a:cubicBezTo>
                    <a:cubicBezTo>
                      <a:pt x="86" y="25"/>
                      <a:pt x="84" y="23"/>
                      <a:pt x="81" y="22"/>
                    </a:cubicBezTo>
                    <a:cubicBezTo>
                      <a:pt x="81" y="22"/>
                      <a:pt x="74" y="19"/>
                      <a:pt x="74" y="18"/>
                    </a:cubicBezTo>
                    <a:cubicBezTo>
                      <a:pt x="73" y="16"/>
                      <a:pt x="77" y="12"/>
                      <a:pt x="78" y="10"/>
                    </a:cubicBezTo>
                    <a:cubicBezTo>
                      <a:pt x="79" y="7"/>
                      <a:pt x="79" y="7"/>
                      <a:pt x="77" y="5"/>
                    </a:cubicBezTo>
                    <a:cubicBezTo>
                      <a:pt x="75" y="3"/>
                      <a:pt x="72" y="2"/>
                      <a:pt x="69" y="2"/>
                    </a:cubicBezTo>
                    <a:cubicBezTo>
                      <a:pt x="63" y="1"/>
                      <a:pt x="58" y="0"/>
                      <a:pt x="52" y="2"/>
                    </a:cubicBezTo>
                    <a:cubicBezTo>
                      <a:pt x="51" y="3"/>
                      <a:pt x="51" y="4"/>
                      <a:pt x="48" y="4"/>
                    </a:cubicBezTo>
                    <a:cubicBezTo>
                      <a:pt x="47" y="4"/>
                      <a:pt x="45" y="4"/>
                      <a:pt x="43" y="4"/>
                    </a:cubicBezTo>
                    <a:cubicBezTo>
                      <a:pt x="40" y="4"/>
                      <a:pt x="37" y="3"/>
                      <a:pt x="34" y="3"/>
                    </a:cubicBezTo>
                    <a:cubicBezTo>
                      <a:pt x="29" y="3"/>
                      <a:pt x="23" y="4"/>
                      <a:pt x="18" y="6"/>
                    </a:cubicBezTo>
                    <a:cubicBezTo>
                      <a:pt x="14" y="7"/>
                      <a:pt x="0" y="9"/>
                      <a:pt x="9" y="13"/>
                    </a:cubicBezTo>
                    <a:cubicBezTo>
                      <a:pt x="12" y="14"/>
                      <a:pt x="14" y="15"/>
                      <a:pt x="17" y="17"/>
                    </a:cubicBezTo>
                    <a:cubicBezTo>
                      <a:pt x="20" y="18"/>
                      <a:pt x="26" y="19"/>
                      <a:pt x="28" y="21"/>
                    </a:cubicBezTo>
                    <a:cubicBezTo>
                      <a:pt x="25" y="22"/>
                      <a:pt x="26" y="23"/>
                      <a:pt x="26" y="24"/>
                    </a:cubicBezTo>
                    <a:cubicBezTo>
                      <a:pt x="24" y="25"/>
                      <a:pt x="23" y="26"/>
                      <a:pt x="22" y="28"/>
                    </a:cubicBezTo>
                    <a:cubicBezTo>
                      <a:pt x="19" y="30"/>
                      <a:pt x="17" y="32"/>
                      <a:pt x="17" y="36"/>
                    </a:cubicBezTo>
                    <a:cubicBezTo>
                      <a:pt x="16" y="39"/>
                      <a:pt x="16" y="41"/>
                      <a:pt x="12" y="41"/>
                    </a:cubicBezTo>
                    <a:cubicBezTo>
                      <a:pt x="6" y="42"/>
                      <a:pt x="6" y="43"/>
                      <a:pt x="5" y="49"/>
                    </a:cubicBezTo>
                    <a:cubicBezTo>
                      <a:pt x="13" y="48"/>
                      <a:pt x="21" y="47"/>
                      <a:pt x="28" y="46"/>
                    </a:cubicBezTo>
                    <a:cubicBezTo>
                      <a:pt x="38" y="45"/>
                      <a:pt x="48" y="44"/>
                      <a:pt x="59" y="43"/>
                    </a:cubicBezTo>
                    <a:cubicBezTo>
                      <a:pt x="63" y="43"/>
                      <a:pt x="56" y="47"/>
                      <a:pt x="55" y="48"/>
                    </a:cubicBezTo>
                    <a:cubicBezTo>
                      <a:pt x="50" y="51"/>
                      <a:pt x="49" y="51"/>
                      <a:pt x="53" y="56"/>
                    </a:cubicBezTo>
                    <a:cubicBezTo>
                      <a:pt x="55" y="58"/>
                      <a:pt x="58" y="61"/>
                      <a:pt x="61" y="60"/>
                    </a:cubicBezTo>
                    <a:cubicBezTo>
                      <a:pt x="64" y="59"/>
                      <a:pt x="63" y="58"/>
                      <a:pt x="64" y="57"/>
                    </a:cubicBezTo>
                    <a:cubicBezTo>
                      <a:pt x="66" y="55"/>
                      <a:pt x="72" y="55"/>
                      <a:pt x="75" y="55"/>
                    </a:cubicBezTo>
                    <a:cubicBezTo>
                      <a:pt x="77" y="54"/>
                      <a:pt x="79" y="53"/>
                      <a:pt x="81" y="52"/>
                    </a:cubicBezTo>
                    <a:cubicBezTo>
                      <a:pt x="84" y="50"/>
                      <a:pt x="86" y="50"/>
                      <a:pt x="89" y="49"/>
                    </a:cubicBezTo>
                    <a:cubicBezTo>
                      <a:pt x="93" y="46"/>
                      <a:pt x="94" y="42"/>
                      <a:pt x="98" y="40"/>
                    </a:cubicBezTo>
                    <a:cubicBezTo>
                      <a:pt x="106" y="37"/>
                      <a:pt x="114" y="35"/>
                      <a:pt x="12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2" name="Freeform 728">
                <a:extLst>
                  <a:ext uri="{FF2B5EF4-FFF2-40B4-BE49-F238E27FC236}">
                    <a16:creationId xmlns:a16="http://schemas.microsoft.com/office/drawing/2014/main" id="{BB2B8672-6EDD-492B-BFDF-8723A72ADD0B}"/>
                  </a:ext>
                </a:extLst>
              </p:cNvPr>
              <p:cNvSpPr>
                <a:spLocks/>
              </p:cNvSpPr>
              <p:nvPr/>
            </p:nvSpPr>
            <p:spPr bwMode="auto">
              <a:xfrm>
                <a:off x="3725" y="-337"/>
                <a:ext cx="643" cy="212"/>
              </a:xfrm>
              <a:custGeom>
                <a:avLst/>
                <a:gdLst>
                  <a:gd name="T0" fmla="*/ 30 w 271"/>
                  <a:gd name="T1" fmla="*/ 32 h 89"/>
                  <a:gd name="T2" fmla="*/ 27 w 271"/>
                  <a:gd name="T3" fmla="*/ 33 h 89"/>
                  <a:gd name="T4" fmla="*/ 23 w 271"/>
                  <a:gd name="T5" fmla="*/ 36 h 89"/>
                  <a:gd name="T6" fmla="*/ 25 w 271"/>
                  <a:gd name="T7" fmla="*/ 44 h 89"/>
                  <a:gd name="T8" fmla="*/ 35 w 271"/>
                  <a:gd name="T9" fmla="*/ 51 h 89"/>
                  <a:gd name="T10" fmla="*/ 71 w 271"/>
                  <a:gd name="T11" fmla="*/ 47 h 89"/>
                  <a:gd name="T12" fmla="*/ 129 w 271"/>
                  <a:gd name="T13" fmla="*/ 46 h 89"/>
                  <a:gd name="T14" fmla="*/ 117 w 271"/>
                  <a:gd name="T15" fmla="*/ 50 h 89"/>
                  <a:gd name="T16" fmla="*/ 114 w 271"/>
                  <a:gd name="T17" fmla="*/ 52 h 89"/>
                  <a:gd name="T18" fmla="*/ 86 w 271"/>
                  <a:gd name="T19" fmla="*/ 52 h 89"/>
                  <a:gd name="T20" fmla="*/ 83 w 271"/>
                  <a:gd name="T21" fmla="*/ 60 h 89"/>
                  <a:gd name="T22" fmla="*/ 90 w 271"/>
                  <a:gd name="T23" fmla="*/ 74 h 89"/>
                  <a:gd name="T24" fmla="*/ 115 w 271"/>
                  <a:gd name="T25" fmla="*/ 73 h 89"/>
                  <a:gd name="T26" fmla="*/ 147 w 271"/>
                  <a:gd name="T27" fmla="*/ 74 h 89"/>
                  <a:gd name="T28" fmla="*/ 186 w 271"/>
                  <a:gd name="T29" fmla="*/ 80 h 89"/>
                  <a:gd name="T30" fmla="*/ 193 w 271"/>
                  <a:gd name="T31" fmla="*/ 76 h 89"/>
                  <a:gd name="T32" fmla="*/ 220 w 271"/>
                  <a:gd name="T33" fmla="*/ 73 h 89"/>
                  <a:gd name="T34" fmla="*/ 233 w 271"/>
                  <a:gd name="T35" fmla="*/ 66 h 89"/>
                  <a:gd name="T36" fmla="*/ 236 w 271"/>
                  <a:gd name="T37" fmla="*/ 56 h 89"/>
                  <a:gd name="T38" fmla="*/ 264 w 271"/>
                  <a:gd name="T39" fmla="*/ 43 h 89"/>
                  <a:gd name="T40" fmla="*/ 267 w 271"/>
                  <a:gd name="T41" fmla="*/ 35 h 89"/>
                  <a:gd name="T42" fmla="*/ 210 w 271"/>
                  <a:gd name="T43" fmla="*/ 14 h 89"/>
                  <a:gd name="T44" fmla="*/ 183 w 271"/>
                  <a:gd name="T45" fmla="*/ 10 h 89"/>
                  <a:gd name="T46" fmla="*/ 174 w 271"/>
                  <a:gd name="T47" fmla="*/ 13 h 89"/>
                  <a:gd name="T48" fmla="*/ 152 w 271"/>
                  <a:gd name="T49" fmla="*/ 25 h 89"/>
                  <a:gd name="T50" fmla="*/ 157 w 271"/>
                  <a:gd name="T51" fmla="*/ 15 h 89"/>
                  <a:gd name="T52" fmla="*/ 152 w 271"/>
                  <a:gd name="T53" fmla="*/ 6 h 89"/>
                  <a:gd name="T54" fmla="*/ 132 w 271"/>
                  <a:gd name="T55" fmla="*/ 5 h 89"/>
                  <a:gd name="T56" fmla="*/ 136 w 271"/>
                  <a:gd name="T57" fmla="*/ 12 h 89"/>
                  <a:gd name="T58" fmla="*/ 134 w 271"/>
                  <a:gd name="T59" fmla="*/ 19 h 89"/>
                  <a:gd name="T60" fmla="*/ 127 w 271"/>
                  <a:gd name="T61" fmla="*/ 34 h 89"/>
                  <a:gd name="T62" fmla="*/ 110 w 271"/>
                  <a:gd name="T63" fmla="*/ 25 h 89"/>
                  <a:gd name="T64" fmla="*/ 91 w 271"/>
                  <a:gd name="T65" fmla="*/ 19 h 89"/>
                  <a:gd name="T66" fmla="*/ 71 w 271"/>
                  <a:gd name="T67" fmla="*/ 8 h 89"/>
                  <a:gd name="T68" fmla="*/ 49 w 271"/>
                  <a:gd name="T69" fmla="*/ 6 h 89"/>
                  <a:gd name="T70" fmla="*/ 58 w 271"/>
                  <a:gd name="T71" fmla="*/ 10 h 89"/>
                  <a:gd name="T72" fmla="*/ 53 w 271"/>
                  <a:gd name="T73" fmla="*/ 18 h 89"/>
                  <a:gd name="T74" fmla="*/ 35 w 271"/>
                  <a:gd name="T75" fmla="*/ 11 h 89"/>
                  <a:gd name="T76" fmla="*/ 40 w 271"/>
                  <a:gd name="T77" fmla="*/ 18 h 89"/>
                  <a:gd name="T78" fmla="*/ 33 w 271"/>
                  <a:gd name="T79" fmla="*/ 3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89">
                    <a:moveTo>
                      <a:pt x="33" y="30"/>
                    </a:moveTo>
                    <a:cubicBezTo>
                      <a:pt x="32" y="31"/>
                      <a:pt x="32" y="32"/>
                      <a:pt x="30" y="32"/>
                    </a:cubicBezTo>
                    <a:cubicBezTo>
                      <a:pt x="28" y="32"/>
                      <a:pt x="30" y="33"/>
                      <a:pt x="29" y="34"/>
                    </a:cubicBezTo>
                    <a:cubicBezTo>
                      <a:pt x="28" y="34"/>
                      <a:pt x="29" y="35"/>
                      <a:pt x="27" y="33"/>
                    </a:cubicBezTo>
                    <a:cubicBezTo>
                      <a:pt x="26" y="32"/>
                      <a:pt x="24" y="32"/>
                      <a:pt x="25" y="34"/>
                    </a:cubicBezTo>
                    <a:cubicBezTo>
                      <a:pt x="27" y="36"/>
                      <a:pt x="23" y="35"/>
                      <a:pt x="23" y="36"/>
                    </a:cubicBezTo>
                    <a:cubicBezTo>
                      <a:pt x="22" y="37"/>
                      <a:pt x="22" y="37"/>
                      <a:pt x="22" y="39"/>
                    </a:cubicBezTo>
                    <a:cubicBezTo>
                      <a:pt x="23" y="41"/>
                      <a:pt x="24" y="42"/>
                      <a:pt x="25" y="44"/>
                    </a:cubicBezTo>
                    <a:cubicBezTo>
                      <a:pt x="25" y="45"/>
                      <a:pt x="28" y="51"/>
                      <a:pt x="30" y="51"/>
                    </a:cubicBezTo>
                    <a:cubicBezTo>
                      <a:pt x="32" y="50"/>
                      <a:pt x="33" y="50"/>
                      <a:pt x="35" y="51"/>
                    </a:cubicBezTo>
                    <a:cubicBezTo>
                      <a:pt x="43" y="51"/>
                      <a:pt x="50" y="52"/>
                      <a:pt x="57" y="50"/>
                    </a:cubicBezTo>
                    <a:cubicBezTo>
                      <a:pt x="62" y="49"/>
                      <a:pt x="67" y="48"/>
                      <a:pt x="71" y="47"/>
                    </a:cubicBezTo>
                    <a:cubicBezTo>
                      <a:pt x="80" y="45"/>
                      <a:pt x="89" y="46"/>
                      <a:pt x="97" y="46"/>
                    </a:cubicBezTo>
                    <a:cubicBezTo>
                      <a:pt x="108" y="46"/>
                      <a:pt x="118" y="46"/>
                      <a:pt x="129" y="46"/>
                    </a:cubicBezTo>
                    <a:cubicBezTo>
                      <a:pt x="133" y="46"/>
                      <a:pt x="126" y="48"/>
                      <a:pt x="125" y="48"/>
                    </a:cubicBezTo>
                    <a:cubicBezTo>
                      <a:pt x="122" y="49"/>
                      <a:pt x="119" y="49"/>
                      <a:pt x="117" y="50"/>
                    </a:cubicBezTo>
                    <a:cubicBezTo>
                      <a:pt x="117" y="50"/>
                      <a:pt x="117" y="52"/>
                      <a:pt x="116" y="52"/>
                    </a:cubicBezTo>
                    <a:cubicBezTo>
                      <a:pt x="116" y="52"/>
                      <a:pt x="114" y="52"/>
                      <a:pt x="114" y="52"/>
                    </a:cubicBezTo>
                    <a:cubicBezTo>
                      <a:pt x="112" y="52"/>
                      <a:pt x="110" y="52"/>
                      <a:pt x="108" y="52"/>
                    </a:cubicBezTo>
                    <a:cubicBezTo>
                      <a:pt x="100" y="51"/>
                      <a:pt x="93" y="52"/>
                      <a:pt x="86" y="52"/>
                    </a:cubicBezTo>
                    <a:cubicBezTo>
                      <a:pt x="88" y="56"/>
                      <a:pt x="93" y="58"/>
                      <a:pt x="97" y="61"/>
                    </a:cubicBezTo>
                    <a:cubicBezTo>
                      <a:pt x="94" y="62"/>
                      <a:pt x="86" y="60"/>
                      <a:pt x="83" y="60"/>
                    </a:cubicBezTo>
                    <a:cubicBezTo>
                      <a:pt x="76" y="59"/>
                      <a:pt x="71" y="55"/>
                      <a:pt x="64" y="56"/>
                    </a:cubicBezTo>
                    <a:cubicBezTo>
                      <a:pt x="68" y="67"/>
                      <a:pt x="79" y="73"/>
                      <a:pt x="90" y="74"/>
                    </a:cubicBezTo>
                    <a:cubicBezTo>
                      <a:pt x="95" y="74"/>
                      <a:pt x="99" y="72"/>
                      <a:pt x="104" y="72"/>
                    </a:cubicBezTo>
                    <a:cubicBezTo>
                      <a:pt x="107" y="72"/>
                      <a:pt x="111" y="74"/>
                      <a:pt x="115" y="73"/>
                    </a:cubicBezTo>
                    <a:cubicBezTo>
                      <a:pt x="117" y="73"/>
                      <a:pt x="119" y="72"/>
                      <a:pt x="121" y="72"/>
                    </a:cubicBezTo>
                    <a:cubicBezTo>
                      <a:pt x="130" y="70"/>
                      <a:pt x="139" y="73"/>
                      <a:pt x="147" y="74"/>
                    </a:cubicBezTo>
                    <a:cubicBezTo>
                      <a:pt x="159" y="76"/>
                      <a:pt x="168" y="89"/>
                      <a:pt x="181" y="85"/>
                    </a:cubicBezTo>
                    <a:cubicBezTo>
                      <a:pt x="184" y="84"/>
                      <a:pt x="184" y="82"/>
                      <a:pt x="186" y="80"/>
                    </a:cubicBezTo>
                    <a:cubicBezTo>
                      <a:pt x="187" y="78"/>
                      <a:pt x="186" y="77"/>
                      <a:pt x="189" y="77"/>
                    </a:cubicBezTo>
                    <a:cubicBezTo>
                      <a:pt x="190" y="77"/>
                      <a:pt x="192" y="77"/>
                      <a:pt x="193" y="76"/>
                    </a:cubicBezTo>
                    <a:cubicBezTo>
                      <a:pt x="199" y="75"/>
                      <a:pt x="206" y="77"/>
                      <a:pt x="213" y="76"/>
                    </a:cubicBezTo>
                    <a:cubicBezTo>
                      <a:pt x="215" y="75"/>
                      <a:pt x="217" y="74"/>
                      <a:pt x="220" y="73"/>
                    </a:cubicBezTo>
                    <a:cubicBezTo>
                      <a:pt x="222" y="72"/>
                      <a:pt x="225" y="72"/>
                      <a:pt x="227" y="71"/>
                    </a:cubicBezTo>
                    <a:cubicBezTo>
                      <a:pt x="230" y="69"/>
                      <a:pt x="230" y="67"/>
                      <a:pt x="233" y="66"/>
                    </a:cubicBezTo>
                    <a:cubicBezTo>
                      <a:pt x="237" y="63"/>
                      <a:pt x="231" y="61"/>
                      <a:pt x="230" y="59"/>
                    </a:cubicBezTo>
                    <a:cubicBezTo>
                      <a:pt x="230" y="57"/>
                      <a:pt x="233" y="56"/>
                      <a:pt x="236" y="56"/>
                    </a:cubicBezTo>
                    <a:cubicBezTo>
                      <a:pt x="241" y="54"/>
                      <a:pt x="246" y="53"/>
                      <a:pt x="250" y="50"/>
                    </a:cubicBezTo>
                    <a:cubicBezTo>
                      <a:pt x="254" y="48"/>
                      <a:pt x="258" y="44"/>
                      <a:pt x="264" y="43"/>
                    </a:cubicBezTo>
                    <a:cubicBezTo>
                      <a:pt x="266" y="43"/>
                      <a:pt x="271" y="41"/>
                      <a:pt x="270" y="38"/>
                    </a:cubicBezTo>
                    <a:cubicBezTo>
                      <a:pt x="270" y="37"/>
                      <a:pt x="267" y="37"/>
                      <a:pt x="267" y="35"/>
                    </a:cubicBezTo>
                    <a:cubicBezTo>
                      <a:pt x="267" y="33"/>
                      <a:pt x="270" y="28"/>
                      <a:pt x="270" y="27"/>
                    </a:cubicBezTo>
                    <a:cubicBezTo>
                      <a:pt x="250" y="22"/>
                      <a:pt x="230" y="18"/>
                      <a:pt x="210" y="14"/>
                    </a:cubicBezTo>
                    <a:cubicBezTo>
                      <a:pt x="202" y="12"/>
                      <a:pt x="195" y="10"/>
                      <a:pt x="187" y="9"/>
                    </a:cubicBezTo>
                    <a:cubicBezTo>
                      <a:pt x="186" y="9"/>
                      <a:pt x="182" y="9"/>
                      <a:pt x="183" y="10"/>
                    </a:cubicBezTo>
                    <a:cubicBezTo>
                      <a:pt x="183" y="12"/>
                      <a:pt x="188" y="12"/>
                      <a:pt x="189" y="12"/>
                    </a:cubicBezTo>
                    <a:cubicBezTo>
                      <a:pt x="184" y="13"/>
                      <a:pt x="179" y="13"/>
                      <a:pt x="174" y="13"/>
                    </a:cubicBezTo>
                    <a:cubicBezTo>
                      <a:pt x="171" y="13"/>
                      <a:pt x="169" y="16"/>
                      <a:pt x="172" y="17"/>
                    </a:cubicBezTo>
                    <a:cubicBezTo>
                      <a:pt x="168" y="20"/>
                      <a:pt x="158" y="26"/>
                      <a:pt x="152" y="25"/>
                    </a:cubicBezTo>
                    <a:cubicBezTo>
                      <a:pt x="149" y="24"/>
                      <a:pt x="149" y="17"/>
                      <a:pt x="152" y="16"/>
                    </a:cubicBezTo>
                    <a:cubicBezTo>
                      <a:pt x="154" y="16"/>
                      <a:pt x="156" y="16"/>
                      <a:pt x="157" y="15"/>
                    </a:cubicBezTo>
                    <a:cubicBezTo>
                      <a:pt x="158" y="15"/>
                      <a:pt x="159" y="12"/>
                      <a:pt x="159" y="11"/>
                    </a:cubicBezTo>
                    <a:cubicBezTo>
                      <a:pt x="158" y="10"/>
                      <a:pt x="153" y="7"/>
                      <a:pt x="152" y="6"/>
                    </a:cubicBezTo>
                    <a:cubicBezTo>
                      <a:pt x="149" y="4"/>
                      <a:pt x="146" y="1"/>
                      <a:pt x="143" y="0"/>
                    </a:cubicBezTo>
                    <a:cubicBezTo>
                      <a:pt x="146" y="7"/>
                      <a:pt x="136" y="2"/>
                      <a:pt x="132" y="5"/>
                    </a:cubicBezTo>
                    <a:cubicBezTo>
                      <a:pt x="130" y="7"/>
                      <a:pt x="130" y="9"/>
                      <a:pt x="132" y="11"/>
                    </a:cubicBezTo>
                    <a:cubicBezTo>
                      <a:pt x="133" y="12"/>
                      <a:pt x="135" y="11"/>
                      <a:pt x="136" y="12"/>
                    </a:cubicBezTo>
                    <a:cubicBezTo>
                      <a:pt x="139" y="15"/>
                      <a:pt x="135" y="14"/>
                      <a:pt x="134" y="16"/>
                    </a:cubicBezTo>
                    <a:cubicBezTo>
                      <a:pt x="134" y="17"/>
                      <a:pt x="135" y="18"/>
                      <a:pt x="134" y="19"/>
                    </a:cubicBezTo>
                    <a:cubicBezTo>
                      <a:pt x="134" y="20"/>
                      <a:pt x="133" y="21"/>
                      <a:pt x="133" y="21"/>
                    </a:cubicBezTo>
                    <a:cubicBezTo>
                      <a:pt x="132" y="26"/>
                      <a:pt x="133" y="31"/>
                      <a:pt x="127" y="34"/>
                    </a:cubicBezTo>
                    <a:cubicBezTo>
                      <a:pt x="126" y="31"/>
                      <a:pt x="127" y="31"/>
                      <a:pt x="125" y="29"/>
                    </a:cubicBezTo>
                    <a:cubicBezTo>
                      <a:pt x="122" y="25"/>
                      <a:pt x="115" y="27"/>
                      <a:pt x="110" y="25"/>
                    </a:cubicBezTo>
                    <a:cubicBezTo>
                      <a:pt x="110" y="25"/>
                      <a:pt x="111" y="23"/>
                      <a:pt x="112" y="23"/>
                    </a:cubicBezTo>
                    <a:cubicBezTo>
                      <a:pt x="105" y="21"/>
                      <a:pt x="98" y="21"/>
                      <a:pt x="91" y="19"/>
                    </a:cubicBezTo>
                    <a:cubicBezTo>
                      <a:pt x="87" y="19"/>
                      <a:pt x="86" y="16"/>
                      <a:pt x="83" y="14"/>
                    </a:cubicBezTo>
                    <a:cubicBezTo>
                      <a:pt x="79" y="12"/>
                      <a:pt x="76" y="10"/>
                      <a:pt x="71" y="8"/>
                    </a:cubicBezTo>
                    <a:cubicBezTo>
                      <a:pt x="65" y="6"/>
                      <a:pt x="59" y="3"/>
                      <a:pt x="53" y="1"/>
                    </a:cubicBezTo>
                    <a:cubicBezTo>
                      <a:pt x="53" y="1"/>
                      <a:pt x="45" y="4"/>
                      <a:pt x="49" y="6"/>
                    </a:cubicBezTo>
                    <a:cubicBezTo>
                      <a:pt x="52" y="8"/>
                      <a:pt x="57" y="7"/>
                      <a:pt x="61" y="8"/>
                    </a:cubicBezTo>
                    <a:cubicBezTo>
                      <a:pt x="60" y="9"/>
                      <a:pt x="59" y="10"/>
                      <a:pt x="58" y="10"/>
                    </a:cubicBezTo>
                    <a:cubicBezTo>
                      <a:pt x="58" y="11"/>
                      <a:pt x="59" y="11"/>
                      <a:pt x="59" y="11"/>
                    </a:cubicBezTo>
                    <a:cubicBezTo>
                      <a:pt x="56" y="12"/>
                      <a:pt x="56" y="17"/>
                      <a:pt x="53" y="18"/>
                    </a:cubicBezTo>
                    <a:cubicBezTo>
                      <a:pt x="51" y="19"/>
                      <a:pt x="42" y="13"/>
                      <a:pt x="40" y="12"/>
                    </a:cubicBezTo>
                    <a:cubicBezTo>
                      <a:pt x="40" y="12"/>
                      <a:pt x="35" y="10"/>
                      <a:pt x="35" y="11"/>
                    </a:cubicBezTo>
                    <a:cubicBezTo>
                      <a:pt x="35" y="12"/>
                      <a:pt x="37" y="12"/>
                      <a:pt x="37" y="13"/>
                    </a:cubicBezTo>
                    <a:cubicBezTo>
                      <a:pt x="38" y="15"/>
                      <a:pt x="38" y="17"/>
                      <a:pt x="40" y="18"/>
                    </a:cubicBezTo>
                    <a:cubicBezTo>
                      <a:pt x="27" y="20"/>
                      <a:pt x="13" y="23"/>
                      <a:pt x="0" y="25"/>
                    </a:cubicBezTo>
                    <a:cubicBezTo>
                      <a:pt x="11" y="26"/>
                      <a:pt x="22" y="28"/>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3" name="Freeform 729">
                <a:extLst>
                  <a:ext uri="{FF2B5EF4-FFF2-40B4-BE49-F238E27FC236}">
                    <a16:creationId xmlns:a16="http://schemas.microsoft.com/office/drawing/2014/main" id="{97D6C9DB-86CB-405F-AF37-E431D1CFE9BD}"/>
                  </a:ext>
                </a:extLst>
              </p:cNvPr>
              <p:cNvSpPr>
                <a:spLocks/>
              </p:cNvSpPr>
              <p:nvPr/>
            </p:nvSpPr>
            <p:spPr bwMode="auto">
              <a:xfrm>
                <a:off x="4669" y="-291"/>
                <a:ext cx="128" cy="21"/>
              </a:xfrm>
              <a:custGeom>
                <a:avLst/>
                <a:gdLst>
                  <a:gd name="T0" fmla="*/ 41 w 54"/>
                  <a:gd name="T1" fmla="*/ 3 h 9"/>
                  <a:gd name="T2" fmla="*/ 54 w 54"/>
                  <a:gd name="T3" fmla="*/ 0 h 9"/>
                  <a:gd name="T4" fmla="*/ 0 w 54"/>
                  <a:gd name="T5" fmla="*/ 9 h 9"/>
                  <a:gd name="T6" fmla="*/ 28 w 54"/>
                  <a:gd name="T7" fmla="*/ 6 h 9"/>
                  <a:gd name="T8" fmla="*/ 41 w 54"/>
                  <a:gd name="T9" fmla="*/ 3 h 9"/>
                </a:gdLst>
                <a:ahLst/>
                <a:cxnLst>
                  <a:cxn ang="0">
                    <a:pos x="T0" y="T1"/>
                  </a:cxn>
                  <a:cxn ang="0">
                    <a:pos x="T2" y="T3"/>
                  </a:cxn>
                  <a:cxn ang="0">
                    <a:pos x="T4" y="T5"/>
                  </a:cxn>
                  <a:cxn ang="0">
                    <a:pos x="T6" y="T7"/>
                  </a:cxn>
                  <a:cxn ang="0">
                    <a:pos x="T8" y="T9"/>
                  </a:cxn>
                </a:cxnLst>
                <a:rect l="0" t="0" r="r" b="b"/>
                <a:pathLst>
                  <a:path w="54" h="9">
                    <a:moveTo>
                      <a:pt x="41" y="3"/>
                    </a:moveTo>
                    <a:cubicBezTo>
                      <a:pt x="45" y="2"/>
                      <a:pt x="51" y="2"/>
                      <a:pt x="54" y="0"/>
                    </a:cubicBezTo>
                    <a:cubicBezTo>
                      <a:pt x="36" y="3"/>
                      <a:pt x="18" y="6"/>
                      <a:pt x="0" y="9"/>
                    </a:cubicBezTo>
                    <a:cubicBezTo>
                      <a:pt x="9" y="8"/>
                      <a:pt x="19" y="7"/>
                      <a:pt x="28" y="6"/>
                    </a:cubicBezTo>
                    <a:cubicBezTo>
                      <a:pt x="33" y="5"/>
                      <a:pt x="37" y="4"/>
                      <a:pt x="4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4" name="Freeform 730">
                <a:extLst>
                  <a:ext uri="{FF2B5EF4-FFF2-40B4-BE49-F238E27FC236}">
                    <a16:creationId xmlns:a16="http://schemas.microsoft.com/office/drawing/2014/main" id="{C6AF5B87-3978-4E6E-937D-459793147A45}"/>
                  </a:ext>
                </a:extLst>
              </p:cNvPr>
              <p:cNvSpPr>
                <a:spLocks/>
              </p:cNvSpPr>
              <p:nvPr/>
            </p:nvSpPr>
            <p:spPr bwMode="auto">
              <a:xfrm>
                <a:off x="4408" y="-101"/>
                <a:ext cx="121" cy="24"/>
              </a:xfrm>
              <a:custGeom>
                <a:avLst/>
                <a:gdLst>
                  <a:gd name="T0" fmla="*/ 18 w 51"/>
                  <a:gd name="T1" fmla="*/ 5 h 10"/>
                  <a:gd name="T2" fmla="*/ 29 w 51"/>
                  <a:gd name="T3" fmla="*/ 4 h 10"/>
                  <a:gd name="T4" fmla="*/ 41 w 51"/>
                  <a:gd name="T5" fmla="*/ 7 h 10"/>
                  <a:gd name="T6" fmla="*/ 51 w 51"/>
                  <a:gd name="T7" fmla="*/ 5 h 10"/>
                  <a:gd name="T8" fmla="*/ 24 w 51"/>
                  <a:gd name="T9" fmla="*/ 0 h 10"/>
                  <a:gd name="T10" fmla="*/ 0 w 51"/>
                  <a:gd name="T11" fmla="*/ 7 h 10"/>
                  <a:gd name="T12" fmla="*/ 7 w 51"/>
                  <a:gd name="T13" fmla="*/ 10 h 10"/>
                  <a:gd name="T14" fmla="*/ 18 w 51"/>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0">
                    <a:moveTo>
                      <a:pt x="18" y="5"/>
                    </a:moveTo>
                    <a:cubicBezTo>
                      <a:pt x="22" y="5"/>
                      <a:pt x="26" y="3"/>
                      <a:pt x="29" y="4"/>
                    </a:cubicBezTo>
                    <a:cubicBezTo>
                      <a:pt x="33" y="5"/>
                      <a:pt x="36" y="8"/>
                      <a:pt x="41" y="7"/>
                    </a:cubicBezTo>
                    <a:cubicBezTo>
                      <a:pt x="44" y="7"/>
                      <a:pt x="48" y="5"/>
                      <a:pt x="51" y="5"/>
                    </a:cubicBezTo>
                    <a:cubicBezTo>
                      <a:pt x="43" y="2"/>
                      <a:pt x="33" y="1"/>
                      <a:pt x="24" y="0"/>
                    </a:cubicBezTo>
                    <a:cubicBezTo>
                      <a:pt x="15" y="0"/>
                      <a:pt x="9" y="5"/>
                      <a:pt x="0" y="7"/>
                    </a:cubicBezTo>
                    <a:cubicBezTo>
                      <a:pt x="2" y="9"/>
                      <a:pt x="5" y="9"/>
                      <a:pt x="7" y="10"/>
                    </a:cubicBezTo>
                    <a:cubicBezTo>
                      <a:pt x="9" y="8"/>
                      <a:pt x="15" y="5"/>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5" name="Freeform 731">
                <a:extLst>
                  <a:ext uri="{FF2B5EF4-FFF2-40B4-BE49-F238E27FC236}">
                    <a16:creationId xmlns:a16="http://schemas.microsoft.com/office/drawing/2014/main" id="{A5146FF7-2BEE-4C7A-A43B-FEF0ED38E8BD}"/>
                  </a:ext>
                </a:extLst>
              </p:cNvPr>
              <p:cNvSpPr>
                <a:spLocks/>
              </p:cNvSpPr>
              <p:nvPr/>
            </p:nvSpPr>
            <p:spPr bwMode="auto">
              <a:xfrm>
                <a:off x="4213" y="242"/>
                <a:ext cx="27" cy="24"/>
              </a:xfrm>
              <a:custGeom>
                <a:avLst/>
                <a:gdLst>
                  <a:gd name="T0" fmla="*/ 0 w 11"/>
                  <a:gd name="T1" fmla="*/ 10 h 10"/>
                  <a:gd name="T2" fmla="*/ 11 w 11"/>
                  <a:gd name="T3" fmla="*/ 0 h 10"/>
                  <a:gd name="T4" fmla="*/ 0 w 11"/>
                  <a:gd name="T5" fmla="*/ 10 h 10"/>
                </a:gdLst>
                <a:ahLst/>
                <a:cxnLst>
                  <a:cxn ang="0">
                    <a:pos x="T0" y="T1"/>
                  </a:cxn>
                  <a:cxn ang="0">
                    <a:pos x="T2" y="T3"/>
                  </a:cxn>
                  <a:cxn ang="0">
                    <a:pos x="T4" y="T5"/>
                  </a:cxn>
                </a:cxnLst>
                <a:rect l="0" t="0" r="r" b="b"/>
                <a:pathLst>
                  <a:path w="11" h="10">
                    <a:moveTo>
                      <a:pt x="0" y="10"/>
                    </a:moveTo>
                    <a:cubicBezTo>
                      <a:pt x="4" y="7"/>
                      <a:pt x="8" y="3"/>
                      <a:pt x="11" y="0"/>
                    </a:cubicBezTo>
                    <a:cubicBezTo>
                      <a:pt x="7" y="2"/>
                      <a:pt x="3" y="6"/>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6" name="Freeform 732">
                <a:extLst>
                  <a:ext uri="{FF2B5EF4-FFF2-40B4-BE49-F238E27FC236}">
                    <a16:creationId xmlns:a16="http://schemas.microsoft.com/office/drawing/2014/main" id="{2FF05918-C52E-48C1-942C-917B66B708C7}"/>
                  </a:ext>
                </a:extLst>
              </p:cNvPr>
              <p:cNvSpPr>
                <a:spLocks/>
              </p:cNvSpPr>
              <p:nvPr/>
            </p:nvSpPr>
            <p:spPr bwMode="auto">
              <a:xfrm>
                <a:off x="3886" y="-49"/>
                <a:ext cx="142" cy="62"/>
              </a:xfrm>
              <a:custGeom>
                <a:avLst/>
                <a:gdLst>
                  <a:gd name="T0" fmla="*/ 29 w 60"/>
                  <a:gd name="T1" fmla="*/ 25 h 26"/>
                  <a:gd name="T2" fmla="*/ 36 w 60"/>
                  <a:gd name="T3" fmla="*/ 24 h 26"/>
                  <a:gd name="T4" fmla="*/ 54 w 60"/>
                  <a:gd name="T5" fmla="*/ 22 h 26"/>
                  <a:gd name="T6" fmla="*/ 60 w 60"/>
                  <a:gd name="T7" fmla="*/ 18 h 26"/>
                  <a:gd name="T8" fmla="*/ 60 w 60"/>
                  <a:gd name="T9" fmla="*/ 13 h 26"/>
                  <a:gd name="T10" fmla="*/ 60 w 60"/>
                  <a:gd name="T11" fmla="*/ 8 h 26"/>
                  <a:gd name="T12" fmla="*/ 57 w 60"/>
                  <a:gd name="T13" fmla="*/ 6 h 26"/>
                  <a:gd name="T14" fmla="*/ 56 w 60"/>
                  <a:gd name="T15" fmla="*/ 2 h 26"/>
                  <a:gd name="T16" fmla="*/ 52 w 60"/>
                  <a:gd name="T17" fmla="*/ 3 h 26"/>
                  <a:gd name="T18" fmla="*/ 48 w 60"/>
                  <a:gd name="T19" fmla="*/ 2 h 26"/>
                  <a:gd name="T20" fmla="*/ 44 w 60"/>
                  <a:gd name="T21" fmla="*/ 1 h 26"/>
                  <a:gd name="T22" fmla="*/ 40 w 60"/>
                  <a:gd name="T23" fmla="*/ 3 h 26"/>
                  <a:gd name="T24" fmla="*/ 33 w 60"/>
                  <a:gd name="T25" fmla="*/ 0 h 26"/>
                  <a:gd name="T26" fmla="*/ 27 w 60"/>
                  <a:gd name="T27" fmla="*/ 4 h 26"/>
                  <a:gd name="T28" fmla="*/ 18 w 60"/>
                  <a:gd name="T29" fmla="*/ 5 h 26"/>
                  <a:gd name="T30" fmla="*/ 0 w 60"/>
                  <a:gd name="T31" fmla="*/ 9 h 26"/>
                  <a:gd name="T32" fmla="*/ 15 w 60"/>
                  <a:gd name="T33" fmla="*/ 16 h 26"/>
                  <a:gd name="T34" fmla="*/ 18 w 60"/>
                  <a:gd name="T35" fmla="*/ 21 h 26"/>
                  <a:gd name="T36" fmla="*/ 16 w 60"/>
                  <a:gd name="T37" fmla="*/ 26 h 26"/>
                  <a:gd name="T38" fmla="*/ 29 w 60"/>
                  <a:gd name="T3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26">
                    <a:moveTo>
                      <a:pt x="29" y="25"/>
                    </a:moveTo>
                    <a:cubicBezTo>
                      <a:pt x="31" y="25"/>
                      <a:pt x="33" y="24"/>
                      <a:pt x="36" y="24"/>
                    </a:cubicBezTo>
                    <a:cubicBezTo>
                      <a:pt x="42" y="23"/>
                      <a:pt x="48" y="23"/>
                      <a:pt x="54" y="22"/>
                    </a:cubicBezTo>
                    <a:cubicBezTo>
                      <a:pt x="57" y="22"/>
                      <a:pt x="60" y="21"/>
                      <a:pt x="60" y="18"/>
                    </a:cubicBezTo>
                    <a:cubicBezTo>
                      <a:pt x="60" y="16"/>
                      <a:pt x="59" y="15"/>
                      <a:pt x="60" y="13"/>
                    </a:cubicBezTo>
                    <a:cubicBezTo>
                      <a:pt x="60" y="11"/>
                      <a:pt x="60" y="9"/>
                      <a:pt x="60" y="8"/>
                    </a:cubicBezTo>
                    <a:cubicBezTo>
                      <a:pt x="59" y="7"/>
                      <a:pt x="58" y="7"/>
                      <a:pt x="57" y="6"/>
                    </a:cubicBezTo>
                    <a:cubicBezTo>
                      <a:pt x="57" y="6"/>
                      <a:pt x="56" y="2"/>
                      <a:pt x="56" y="2"/>
                    </a:cubicBezTo>
                    <a:cubicBezTo>
                      <a:pt x="54" y="1"/>
                      <a:pt x="53" y="3"/>
                      <a:pt x="52" y="3"/>
                    </a:cubicBezTo>
                    <a:cubicBezTo>
                      <a:pt x="51" y="3"/>
                      <a:pt x="48" y="2"/>
                      <a:pt x="48" y="2"/>
                    </a:cubicBezTo>
                    <a:cubicBezTo>
                      <a:pt x="46" y="2"/>
                      <a:pt x="46" y="1"/>
                      <a:pt x="44" y="1"/>
                    </a:cubicBezTo>
                    <a:cubicBezTo>
                      <a:pt x="42" y="1"/>
                      <a:pt x="41" y="3"/>
                      <a:pt x="40" y="3"/>
                    </a:cubicBezTo>
                    <a:cubicBezTo>
                      <a:pt x="37" y="3"/>
                      <a:pt x="36" y="0"/>
                      <a:pt x="33" y="0"/>
                    </a:cubicBezTo>
                    <a:cubicBezTo>
                      <a:pt x="28" y="0"/>
                      <a:pt x="30" y="2"/>
                      <a:pt x="27" y="4"/>
                    </a:cubicBezTo>
                    <a:cubicBezTo>
                      <a:pt x="24" y="5"/>
                      <a:pt x="21" y="4"/>
                      <a:pt x="18" y="5"/>
                    </a:cubicBezTo>
                    <a:cubicBezTo>
                      <a:pt x="12" y="6"/>
                      <a:pt x="5" y="6"/>
                      <a:pt x="0" y="9"/>
                    </a:cubicBezTo>
                    <a:cubicBezTo>
                      <a:pt x="4" y="11"/>
                      <a:pt x="14" y="12"/>
                      <a:pt x="15" y="16"/>
                    </a:cubicBezTo>
                    <a:cubicBezTo>
                      <a:pt x="16" y="18"/>
                      <a:pt x="18" y="20"/>
                      <a:pt x="18" y="21"/>
                    </a:cubicBezTo>
                    <a:cubicBezTo>
                      <a:pt x="18" y="23"/>
                      <a:pt x="16" y="25"/>
                      <a:pt x="16" y="26"/>
                    </a:cubicBezTo>
                    <a:cubicBezTo>
                      <a:pt x="18" y="23"/>
                      <a:pt x="25" y="26"/>
                      <a:pt x="29"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sp>
        <p:nvSpPr>
          <p:cNvPr id="3" name="TextBox 2">
            <a:extLst>
              <a:ext uri="{FF2B5EF4-FFF2-40B4-BE49-F238E27FC236}">
                <a16:creationId xmlns:a16="http://schemas.microsoft.com/office/drawing/2014/main" id="{57FF76E3-A3A0-4572-A6A8-E70C1E23B7DF}"/>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sp>
        <p:nvSpPr>
          <p:cNvPr id="4" name="Rectangle 3">
            <a:hlinkClick r:id="rId3" action="ppaction://hlinksldjump"/>
            <a:extLst>
              <a:ext uri="{FF2B5EF4-FFF2-40B4-BE49-F238E27FC236}">
                <a16:creationId xmlns:a16="http://schemas.microsoft.com/office/drawing/2014/main" id="{C1AB01F9-A5B0-4DE7-9229-3FBD445F780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959072123"/>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0554FEA-BB28-4FAD-A88B-43CF54ECF73D}"/>
              </a:ext>
            </a:extLst>
          </p:cNvPr>
          <p:cNvGrpSpPr/>
          <p:nvPr/>
        </p:nvGrpSpPr>
        <p:grpSpPr>
          <a:xfrm>
            <a:off x="2" y="939451"/>
            <a:ext cx="8898516" cy="5921261"/>
            <a:chOff x="1" y="2713"/>
            <a:chExt cx="10306255" cy="6858000"/>
          </a:xfrm>
          <a:solidFill>
            <a:srgbClr val="96968C">
              <a:lumMod val="40000"/>
              <a:lumOff val="60000"/>
            </a:srgbClr>
          </a:solidFill>
        </p:grpSpPr>
        <p:grpSp>
          <p:nvGrpSpPr>
            <p:cNvPr id="5" name="Group 205">
              <a:extLst>
                <a:ext uri="{FF2B5EF4-FFF2-40B4-BE49-F238E27FC236}">
                  <a16:creationId xmlns:a16="http://schemas.microsoft.com/office/drawing/2014/main" id="{8F2EE163-F8AE-496B-9BFB-0E6F24F9B1B5}"/>
                </a:ext>
              </a:extLst>
            </p:cNvPr>
            <p:cNvGrpSpPr>
              <a:grpSpLocks/>
            </p:cNvGrpSpPr>
            <p:nvPr/>
          </p:nvGrpSpPr>
          <p:grpSpPr bwMode="auto">
            <a:xfrm>
              <a:off x="1" y="236540"/>
              <a:ext cx="10306255" cy="6624172"/>
              <a:chOff x="3665" y="-1441"/>
              <a:chExt cx="7493" cy="4816"/>
            </a:xfrm>
            <a:grpFill/>
          </p:grpSpPr>
          <p:sp>
            <p:nvSpPr>
              <p:cNvPr id="277" name="Rectangle 5">
                <a:extLst>
                  <a:ext uri="{FF2B5EF4-FFF2-40B4-BE49-F238E27FC236}">
                    <a16:creationId xmlns:a16="http://schemas.microsoft.com/office/drawing/2014/main" id="{EBC5A655-D818-4DEB-B3C5-673662ED56AC}"/>
                  </a:ext>
                </a:extLst>
              </p:cNvPr>
              <p:cNvSpPr>
                <a:spLocks noChangeArrowheads="1"/>
              </p:cNvSpPr>
              <p:nvPr/>
            </p:nvSpPr>
            <p:spPr bwMode="auto">
              <a:xfrm>
                <a:off x="4719" y="10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 name="Rectangle 6">
                <a:extLst>
                  <a:ext uri="{FF2B5EF4-FFF2-40B4-BE49-F238E27FC236}">
                    <a16:creationId xmlns:a16="http://schemas.microsoft.com/office/drawing/2014/main" id="{43BCDD0F-385F-44CA-94FB-B7A73E353A08}"/>
                  </a:ext>
                </a:extLst>
              </p:cNvPr>
              <p:cNvSpPr>
                <a:spLocks noChangeArrowheads="1"/>
              </p:cNvSpPr>
              <p:nvPr/>
            </p:nvSpPr>
            <p:spPr bwMode="auto">
              <a:xfrm>
                <a:off x="4719" y="1039"/>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 name="Freeform 7">
                <a:extLst>
                  <a:ext uri="{FF2B5EF4-FFF2-40B4-BE49-F238E27FC236}">
                    <a16:creationId xmlns:a16="http://schemas.microsoft.com/office/drawing/2014/main" id="{C0A35BCF-04FA-4329-9E36-76DD96E9EC67}"/>
                  </a:ext>
                </a:extLst>
              </p:cNvPr>
              <p:cNvSpPr>
                <a:spLocks/>
              </p:cNvSpPr>
              <p:nvPr/>
            </p:nvSpPr>
            <p:spPr bwMode="auto">
              <a:xfrm>
                <a:off x="6931" y="2817"/>
                <a:ext cx="7" cy="12"/>
              </a:xfrm>
              <a:custGeom>
                <a:avLst/>
                <a:gdLst>
                  <a:gd name="T0" fmla="*/ 1 w 3"/>
                  <a:gd name="T1" fmla="*/ 0 h 5"/>
                  <a:gd name="T2" fmla="*/ 0 w 3"/>
                  <a:gd name="T3" fmla="*/ 1 h 5"/>
                  <a:gd name="T4" fmla="*/ 3 w 3"/>
                  <a:gd name="T5" fmla="*/ 5 h 5"/>
                  <a:gd name="T6" fmla="*/ 2 w 3"/>
                  <a:gd name="T7" fmla="*/ 0 h 5"/>
                  <a:gd name="T8" fmla="*/ 1 w 3"/>
                  <a:gd name="T9" fmla="*/ 0 h 5"/>
                  <a:gd name="T10" fmla="*/ 1 w 3"/>
                  <a:gd name="T11" fmla="*/ 0 h 5"/>
                  <a:gd name="T12" fmla="*/ 1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0"/>
                    </a:moveTo>
                    <a:cubicBezTo>
                      <a:pt x="0" y="0"/>
                      <a:pt x="0" y="0"/>
                      <a:pt x="0" y="1"/>
                    </a:cubicBezTo>
                    <a:cubicBezTo>
                      <a:pt x="0" y="2"/>
                      <a:pt x="3" y="4"/>
                      <a:pt x="3" y="5"/>
                    </a:cubicBezTo>
                    <a:cubicBezTo>
                      <a:pt x="3" y="4"/>
                      <a:pt x="2" y="1"/>
                      <a:pt x="2"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 name="Freeform 8">
                <a:extLst>
                  <a:ext uri="{FF2B5EF4-FFF2-40B4-BE49-F238E27FC236}">
                    <a16:creationId xmlns:a16="http://schemas.microsoft.com/office/drawing/2014/main" id="{DAF05FD5-BB65-435D-8F0C-D5ED02470365}"/>
                  </a:ext>
                </a:extLst>
              </p:cNvPr>
              <p:cNvSpPr>
                <a:spLocks/>
              </p:cNvSpPr>
              <p:nvPr/>
            </p:nvSpPr>
            <p:spPr bwMode="auto">
              <a:xfrm>
                <a:off x="5733" y="2746"/>
                <a:ext cx="12" cy="15"/>
              </a:xfrm>
              <a:custGeom>
                <a:avLst/>
                <a:gdLst>
                  <a:gd name="T0" fmla="*/ 5 w 5"/>
                  <a:gd name="T1" fmla="*/ 0 h 6"/>
                  <a:gd name="T2" fmla="*/ 0 w 5"/>
                  <a:gd name="T3" fmla="*/ 0 h 6"/>
                  <a:gd name="T4" fmla="*/ 0 w 5"/>
                  <a:gd name="T5" fmla="*/ 6 h 6"/>
                  <a:gd name="T6" fmla="*/ 5 w 5"/>
                  <a:gd name="T7" fmla="*/ 0 h 6"/>
                </a:gdLst>
                <a:ahLst/>
                <a:cxnLst>
                  <a:cxn ang="0">
                    <a:pos x="T0" y="T1"/>
                  </a:cxn>
                  <a:cxn ang="0">
                    <a:pos x="T2" y="T3"/>
                  </a:cxn>
                  <a:cxn ang="0">
                    <a:pos x="T4" y="T5"/>
                  </a:cxn>
                  <a:cxn ang="0">
                    <a:pos x="T6" y="T7"/>
                  </a:cxn>
                </a:cxnLst>
                <a:rect l="0" t="0" r="r" b="b"/>
                <a:pathLst>
                  <a:path w="5" h="6">
                    <a:moveTo>
                      <a:pt x="5" y="0"/>
                    </a:moveTo>
                    <a:cubicBezTo>
                      <a:pt x="3" y="0"/>
                      <a:pt x="2" y="0"/>
                      <a:pt x="0" y="0"/>
                    </a:cubicBezTo>
                    <a:cubicBezTo>
                      <a:pt x="0" y="2"/>
                      <a:pt x="0" y="4"/>
                      <a:pt x="0" y="6"/>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 name="Freeform 9">
                <a:extLst>
                  <a:ext uri="{FF2B5EF4-FFF2-40B4-BE49-F238E27FC236}">
                    <a16:creationId xmlns:a16="http://schemas.microsoft.com/office/drawing/2014/main" id="{A237913E-0B0D-421C-8F63-FBB1A5111DC2}"/>
                  </a:ext>
                </a:extLst>
              </p:cNvPr>
              <p:cNvSpPr>
                <a:spLocks/>
              </p:cNvSpPr>
              <p:nvPr/>
            </p:nvSpPr>
            <p:spPr bwMode="auto">
              <a:xfrm>
                <a:off x="6697" y="2396"/>
                <a:ext cx="5" cy="12"/>
              </a:xfrm>
              <a:custGeom>
                <a:avLst/>
                <a:gdLst>
                  <a:gd name="T0" fmla="*/ 0 w 2"/>
                  <a:gd name="T1" fmla="*/ 0 h 5"/>
                  <a:gd name="T2" fmla="*/ 1 w 2"/>
                  <a:gd name="T3" fmla="*/ 3 h 5"/>
                  <a:gd name="T4" fmla="*/ 2 w 2"/>
                  <a:gd name="T5" fmla="*/ 5 h 5"/>
                  <a:gd name="T6" fmla="*/ 1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1" y="2"/>
                      <a:pt x="1" y="3"/>
                    </a:cubicBezTo>
                    <a:cubicBezTo>
                      <a:pt x="1" y="4"/>
                      <a:pt x="2" y="4"/>
                      <a:pt x="2" y="5"/>
                    </a:cubicBezTo>
                    <a:cubicBezTo>
                      <a:pt x="2" y="4"/>
                      <a:pt x="2" y="3"/>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 name="Rectangle 10">
                <a:extLst>
                  <a:ext uri="{FF2B5EF4-FFF2-40B4-BE49-F238E27FC236}">
                    <a16:creationId xmlns:a16="http://schemas.microsoft.com/office/drawing/2014/main" id="{8BE8C455-3582-431C-8D4B-A77D2EABDE41}"/>
                  </a:ext>
                </a:extLst>
              </p:cNvPr>
              <p:cNvSpPr>
                <a:spLocks noChangeArrowheads="1"/>
              </p:cNvSpPr>
              <p:nvPr/>
            </p:nvSpPr>
            <p:spPr bwMode="auto">
              <a:xfrm>
                <a:off x="6099" y="284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 name="Freeform 11">
                <a:extLst>
                  <a:ext uri="{FF2B5EF4-FFF2-40B4-BE49-F238E27FC236}">
                    <a16:creationId xmlns:a16="http://schemas.microsoft.com/office/drawing/2014/main" id="{E91291E4-3C09-4EF9-B5F5-A4D49C297055}"/>
                  </a:ext>
                </a:extLst>
              </p:cNvPr>
              <p:cNvSpPr>
                <a:spLocks/>
              </p:cNvSpPr>
              <p:nvPr/>
            </p:nvSpPr>
            <p:spPr bwMode="auto">
              <a:xfrm>
                <a:off x="6099" y="284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 name="Oval 12">
                <a:extLst>
                  <a:ext uri="{FF2B5EF4-FFF2-40B4-BE49-F238E27FC236}">
                    <a16:creationId xmlns:a16="http://schemas.microsoft.com/office/drawing/2014/main" id="{FA6C052D-CDA7-4195-BB37-B3F3E5707E5E}"/>
                  </a:ext>
                </a:extLst>
              </p:cNvPr>
              <p:cNvSpPr>
                <a:spLocks noChangeArrowheads="1"/>
              </p:cNvSpPr>
              <p:nvPr/>
            </p:nvSpPr>
            <p:spPr bwMode="auto">
              <a:xfrm>
                <a:off x="9336" y="2978"/>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 name="Freeform 13">
                <a:extLst>
                  <a:ext uri="{FF2B5EF4-FFF2-40B4-BE49-F238E27FC236}">
                    <a16:creationId xmlns:a16="http://schemas.microsoft.com/office/drawing/2014/main" id="{4B8D9C1E-11BF-4EFB-A052-D198AFFDBC79}"/>
                  </a:ext>
                </a:extLst>
              </p:cNvPr>
              <p:cNvSpPr>
                <a:spLocks/>
              </p:cNvSpPr>
              <p:nvPr/>
            </p:nvSpPr>
            <p:spPr bwMode="auto">
              <a:xfrm>
                <a:off x="9348" y="2990"/>
                <a:ext cx="3"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0" y="0"/>
                    </a:cubicBezTo>
                    <a:cubicBezTo>
                      <a:pt x="0" y="0"/>
                      <a:pt x="0" y="0"/>
                      <a:pt x="0" y="0"/>
                    </a:cubicBezTo>
                    <a:cubicBezTo>
                      <a:pt x="0"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 name="Freeform 14">
                <a:extLst>
                  <a:ext uri="{FF2B5EF4-FFF2-40B4-BE49-F238E27FC236}">
                    <a16:creationId xmlns:a16="http://schemas.microsoft.com/office/drawing/2014/main" id="{F59D2CE9-D5A4-41F7-A911-207DD5A65270}"/>
                  </a:ext>
                </a:extLst>
              </p:cNvPr>
              <p:cNvSpPr>
                <a:spLocks/>
              </p:cNvSpPr>
              <p:nvPr/>
            </p:nvSpPr>
            <p:spPr bwMode="auto">
              <a:xfrm>
                <a:off x="11078" y="446"/>
                <a:ext cx="12" cy="5"/>
              </a:xfrm>
              <a:custGeom>
                <a:avLst/>
                <a:gdLst>
                  <a:gd name="T0" fmla="*/ 0 w 5"/>
                  <a:gd name="T1" fmla="*/ 0 h 2"/>
                  <a:gd name="T2" fmla="*/ 4 w 5"/>
                  <a:gd name="T3" fmla="*/ 2 h 2"/>
                  <a:gd name="T4" fmla="*/ 5 w 5"/>
                  <a:gd name="T5" fmla="*/ 1 h 2"/>
                  <a:gd name="T6" fmla="*/ 0 w 5"/>
                  <a:gd name="T7" fmla="*/ 0 h 2"/>
                </a:gdLst>
                <a:ahLst/>
                <a:cxnLst>
                  <a:cxn ang="0">
                    <a:pos x="T0" y="T1"/>
                  </a:cxn>
                  <a:cxn ang="0">
                    <a:pos x="T2" y="T3"/>
                  </a:cxn>
                  <a:cxn ang="0">
                    <a:pos x="T4" y="T5"/>
                  </a:cxn>
                  <a:cxn ang="0">
                    <a:pos x="T6" y="T7"/>
                  </a:cxn>
                </a:cxnLst>
                <a:rect l="0" t="0" r="r" b="b"/>
                <a:pathLst>
                  <a:path w="5" h="2">
                    <a:moveTo>
                      <a:pt x="0" y="0"/>
                    </a:moveTo>
                    <a:cubicBezTo>
                      <a:pt x="1" y="1"/>
                      <a:pt x="2" y="2"/>
                      <a:pt x="4" y="2"/>
                    </a:cubicBezTo>
                    <a:cubicBezTo>
                      <a:pt x="4" y="2"/>
                      <a:pt x="5" y="1"/>
                      <a:pt x="5"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 name="Freeform 15">
                <a:extLst>
                  <a:ext uri="{FF2B5EF4-FFF2-40B4-BE49-F238E27FC236}">
                    <a16:creationId xmlns:a16="http://schemas.microsoft.com/office/drawing/2014/main" id="{85181EDA-309B-4769-B421-55B31925082D}"/>
                  </a:ext>
                </a:extLst>
              </p:cNvPr>
              <p:cNvSpPr>
                <a:spLocks noEditPoints="1"/>
              </p:cNvSpPr>
              <p:nvPr/>
            </p:nvSpPr>
            <p:spPr bwMode="auto">
              <a:xfrm>
                <a:off x="10984" y="-39"/>
                <a:ext cx="144" cy="59"/>
              </a:xfrm>
              <a:custGeom>
                <a:avLst/>
                <a:gdLst>
                  <a:gd name="T0" fmla="*/ 37 w 61"/>
                  <a:gd name="T1" fmla="*/ 20 h 25"/>
                  <a:gd name="T2" fmla="*/ 38 w 61"/>
                  <a:gd name="T3" fmla="*/ 20 h 25"/>
                  <a:gd name="T4" fmla="*/ 37 w 61"/>
                  <a:gd name="T5" fmla="*/ 20 h 25"/>
                  <a:gd name="T6" fmla="*/ 3 w 61"/>
                  <a:gd name="T7" fmla="*/ 0 h 25"/>
                  <a:gd name="T8" fmla="*/ 1 w 61"/>
                  <a:gd name="T9" fmla="*/ 4 h 25"/>
                  <a:gd name="T10" fmla="*/ 1 w 61"/>
                  <a:gd name="T11" fmla="*/ 6 h 25"/>
                  <a:gd name="T12" fmla="*/ 1 w 61"/>
                  <a:gd name="T13" fmla="*/ 11 h 25"/>
                  <a:gd name="T14" fmla="*/ 6 w 61"/>
                  <a:gd name="T15" fmla="*/ 13 h 25"/>
                  <a:gd name="T16" fmla="*/ 11 w 61"/>
                  <a:gd name="T17" fmla="*/ 12 h 25"/>
                  <a:gd name="T18" fmla="*/ 15 w 61"/>
                  <a:gd name="T19" fmla="*/ 11 h 25"/>
                  <a:gd name="T20" fmla="*/ 28 w 61"/>
                  <a:gd name="T21" fmla="*/ 15 h 25"/>
                  <a:gd name="T22" fmla="*/ 15 w 61"/>
                  <a:gd name="T23" fmla="*/ 11 h 25"/>
                  <a:gd name="T24" fmla="*/ 19 w 61"/>
                  <a:gd name="T25" fmla="*/ 10 h 25"/>
                  <a:gd name="T26" fmla="*/ 19 w 61"/>
                  <a:gd name="T27" fmla="*/ 10 h 25"/>
                  <a:gd name="T28" fmla="*/ 28 w 61"/>
                  <a:gd name="T29" fmla="*/ 14 h 25"/>
                  <a:gd name="T30" fmla="*/ 31 w 61"/>
                  <a:gd name="T31" fmla="*/ 18 h 25"/>
                  <a:gd name="T32" fmla="*/ 37 w 61"/>
                  <a:gd name="T33" fmla="*/ 20 h 25"/>
                  <a:gd name="T34" fmla="*/ 36 w 61"/>
                  <a:gd name="T35" fmla="*/ 19 h 25"/>
                  <a:gd name="T36" fmla="*/ 41 w 61"/>
                  <a:gd name="T37" fmla="*/ 23 h 25"/>
                  <a:gd name="T38" fmla="*/ 41 w 61"/>
                  <a:gd name="T39" fmla="*/ 23 h 25"/>
                  <a:gd name="T40" fmla="*/ 40 w 61"/>
                  <a:gd name="T41" fmla="*/ 24 h 25"/>
                  <a:gd name="T42" fmla="*/ 41 w 61"/>
                  <a:gd name="T43" fmla="*/ 25 h 25"/>
                  <a:gd name="T44" fmla="*/ 43 w 61"/>
                  <a:gd name="T45" fmla="*/ 24 h 25"/>
                  <a:gd name="T46" fmla="*/ 50 w 61"/>
                  <a:gd name="T47" fmla="*/ 18 h 25"/>
                  <a:gd name="T48" fmla="*/ 52 w 61"/>
                  <a:gd name="T49" fmla="*/ 19 h 25"/>
                  <a:gd name="T50" fmla="*/ 55 w 61"/>
                  <a:gd name="T51" fmla="*/ 19 h 25"/>
                  <a:gd name="T52" fmla="*/ 61 w 61"/>
                  <a:gd name="T53" fmla="*/ 15 h 25"/>
                  <a:gd name="T54" fmla="*/ 38 w 61"/>
                  <a:gd name="T55" fmla="*/ 7 h 25"/>
                  <a:gd name="T56" fmla="*/ 28 w 61"/>
                  <a:gd name="T57" fmla="*/ 3 h 25"/>
                  <a:gd name="T58" fmla="*/ 27 w 61"/>
                  <a:gd name="T59" fmla="*/ 4 h 25"/>
                  <a:gd name="T60" fmla="*/ 17 w 61"/>
                  <a:gd name="T61" fmla="*/ 7 h 25"/>
                  <a:gd name="T62" fmla="*/ 17 w 61"/>
                  <a:gd name="T63" fmla="*/ 7 h 25"/>
                  <a:gd name="T64" fmla="*/ 8 w 61"/>
                  <a:gd name="T65" fmla="*/ 6 h 25"/>
                  <a:gd name="T66" fmla="*/ 3 w 61"/>
                  <a:gd name="T6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25">
                    <a:moveTo>
                      <a:pt x="37" y="20"/>
                    </a:moveTo>
                    <a:cubicBezTo>
                      <a:pt x="37" y="20"/>
                      <a:pt x="38" y="20"/>
                      <a:pt x="38" y="20"/>
                    </a:cubicBezTo>
                    <a:cubicBezTo>
                      <a:pt x="38" y="20"/>
                      <a:pt x="37" y="20"/>
                      <a:pt x="37" y="20"/>
                    </a:cubicBezTo>
                    <a:moveTo>
                      <a:pt x="3" y="0"/>
                    </a:moveTo>
                    <a:cubicBezTo>
                      <a:pt x="2" y="2"/>
                      <a:pt x="2" y="3"/>
                      <a:pt x="1" y="4"/>
                    </a:cubicBezTo>
                    <a:cubicBezTo>
                      <a:pt x="1" y="5"/>
                      <a:pt x="1" y="6"/>
                      <a:pt x="1" y="6"/>
                    </a:cubicBezTo>
                    <a:cubicBezTo>
                      <a:pt x="0" y="8"/>
                      <a:pt x="0" y="10"/>
                      <a:pt x="1" y="11"/>
                    </a:cubicBezTo>
                    <a:cubicBezTo>
                      <a:pt x="2" y="13"/>
                      <a:pt x="4" y="13"/>
                      <a:pt x="6" y="13"/>
                    </a:cubicBezTo>
                    <a:cubicBezTo>
                      <a:pt x="7" y="13"/>
                      <a:pt x="9" y="13"/>
                      <a:pt x="11" y="12"/>
                    </a:cubicBezTo>
                    <a:cubicBezTo>
                      <a:pt x="12" y="12"/>
                      <a:pt x="14" y="11"/>
                      <a:pt x="15" y="11"/>
                    </a:cubicBezTo>
                    <a:cubicBezTo>
                      <a:pt x="19" y="11"/>
                      <a:pt x="24" y="13"/>
                      <a:pt x="28" y="15"/>
                    </a:cubicBezTo>
                    <a:cubicBezTo>
                      <a:pt x="25" y="12"/>
                      <a:pt x="20" y="11"/>
                      <a:pt x="15" y="11"/>
                    </a:cubicBezTo>
                    <a:cubicBezTo>
                      <a:pt x="16" y="11"/>
                      <a:pt x="18" y="10"/>
                      <a:pt x="19" y="10"/>
                    </a:cubicBezTo>
                    <a:cubicBezTo>
                      <a:pt x="19" y="10"/>
                      <a:pt x="19" y="10"/>
                      <a:pt x="19" y="10"/>
                    </a:cubicBezTo>
                    <a:cubicBezTo>
                      <a:pt x="22" y="10"/>
                      <a:pt x="25" y="13"/>
                      <a:pt x="28" y="14"/>
                    </a:cubicBezTo>
                    <a:cubicBezTo>
                      <a:pt x="29" y="14"/>
                      <a:pt x="34" y="16"/>
                      <a:pt x="31" y="18"/>
                    </a:cubicBezTo>
                    <a:cubicBezTo>
                      <a:pt x="33" y="19"/>
                      <a:pt x="35" y="18"/>
                      <a:pt x="37" y="20"/>
                    </a:cubicBezTo>
                    <a:cubicBezTo>
                      <a:pt x="37" y="20"/>
                      <a:pt x="37" y="19"/>
                      <a:pt x="36" y="19"/>
                    </a:cubicBezTo>
                    <a:cubicBezTo>
                      <a:pt x="39" y="20"/>
                      <a:pt x="40" y="21"/>
                      <a:pt x="41" y="23"/>
                    </a:cubicBezTo>
                    <a:cubicBezTo>
                      <a:pt x="41" y="23"/>
                      <a:pt x="41" y="23"/>
                      <a:pt x="41" y="23"/>
                    </a:cubicBezTo>
                    <a:cubicBezTo>
                      <a:pt x="41" y="23"/>
                      <a:pt x="40" y="24"/>
                      <a:pt x="40" y="24"/>
                    </a:cubicBezTo>
                    <a:cubicBezTo>
                      <a:pt x="41" y="25"/>
                      <a:pt x="41" y="25"/>
                      <a:pt x="41" y="25"/>
                    </a:cubicBezTo>
                    <a:cubicBezTo>
                      <a:pt x="42" y="25"/>
                      <a:pt x="42" y="24"/>
                      <a:pt x="43" y="24"/>
                    </a:cubicBezTo>
                    <a:cubicBezTo>
                      <a:pt x="46" y="21"/>
                      <a:pt x="47" y="18"/>
                      <a:pt x="50" y="18"/>
                    </a:cubicBezTo>
                    <a:cubicBezTo>
                      <a:pt x="51" y="18"/>
                      <a:pt x="51" y="18"/>
                      <a:pt x="52" y="19"/>
                    </a:cubicBezTo>
                    <a:cubicBezTo>
                      <a:pt x="53" y="19"/>
                      <a:pt x="54" y="19"/>
                      <a:pt x="55" y="19"/>
                    </a:cubicBezTo>
                    <a:cubicBezTo>
                      <a:pt x="57" y="19"/>
                      <a:pt x="58" y="18"/>
                      <a:pt x="61" y="15"/>
                    </a:cubicBezTo>
                    <a:cubicBezTo>
                      <a:pt x="53" y="12"/>
                      <a:pt x="45" y="9"/>
                      <a:pt x="38" y="7"/>
                    </a:cubicBezTo>
                    <a:cubicBezTo>
                      <a:pt x="35" y="5"/>
                      <a:pt x="32" y="3"/>
                      <a:pt x="28" y="3"/>
                    </a:cubicBezTo>
                    <a:cubicBezTo>
                      <a:pt x="28" y="3"/>
                      <a:pt x="27" y="3"/>
                      <a:pt x="27" y="4"/>
                    </a:cubicBezTo>
                    <a:cubicBezTo>
                      <a:pt x="24" y="4"/>
                      <a:pt x="20" y="7"/>
                      <a:pt x="17" y="7"/>
                    </a:cubicBezTo>
                    <a:cubicBezTo>
                      <a:pt x="17" y="7"/>
                      <a:pt x="17" y="7"/>
                      <a:pt x="17" y="7"/>
                    </a:cubicBezTo>
                    <a:cubicBezTo>
                      <a:pt x="14" y="6"/>
                      <a:pt x="11" y="6"/>
                      <a:pt x="8" y="6"/>
                    </a:cubicBezTo>
                    <a:cubicBezTo>
                      <a:pt x="6" y="6"/>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 name="Freeform 16">
                <a:extLst>
                  <a:ext uri="{FF2B5EF4-FFF2-40B4-BE49-F238E27FC236}">
                    <a16:creationId xmlns:a16="http://schemas.microsoft.com/office/drawing/2014/main" id="{D74129E5-D84D-4315-9250-7F017F3952B1}"/>
                  </a:ext>
                </a:extLst>
              </p:cNvPr>
              <p:cNvSpPr>
                <a:spLocks/>
              </p:cNvSpPr>
              <p:nvPr/>
            </p:nvSpPr>
            <p:spPr bwMode="auto">
              <a:xfrm>
                <a:off x="11066" y="680"/>
                <a:ext cx="17" cy="7"/>
              </a:xfrm>
              <a:custGeom>
                <a:avLst/>
                <a:gdLst>
                  <a:gd name="T0" fmla="*/ 4 w 7"/>
                  <a:gd name="T1" fmla="*/ 0 h 3"/>
                  <a:gd name="T2" fmla="*/ 0 w 7"/>
                  <a:gd name="T3" fmla="*/ 1 h 3"/>
                  <a:gd name="T4" fmla="*/ 6 w 7"/>
                  <a:gd name="T5" fmla="*/ 3 h 3"/>
                  <a:gd name="T6" fmla="*/ 4 w 7"/>
                  <a:gd name="T7" fmla="*/ 0 h 3"/>
                </a:gdLst>
                <a:ahLst/>
                <a:cxnLst>
                  <a:cxn ang="0">
                    <a:pos x="T0" y="T1"/>
                  </a:cxn>
                  <a:cxn ang="0">
                    <a:pos x="T2" y="T3"/>
                  </a:cxn>
                  <a:cxn ang="0">
                    <a:pos x="T4" y="T5"/>
                  </a:cxn>
                  <a:cxn ang="0">
                    <a:pos x="T6" y="T7"/>
                  </a:cxn>
                </a:cxnLst>
                <a:rect l="0" t="0" r="r" b="b"/>
                <a:pathLst>
                  <a:path w="7" h="3">
                    <a:moveTo>
                      <a:pt x="4" y="0"/>
                    </a:moveTo>
                    <a:cubicBezTo>
                      <a:pt x="3" y="0"/>
                      <a:pt x="1" y="0"/>
                      <a:pt x="0" y="1"/>
                    </a:cubicBezTo>
                    <a:cubicBezTo>
                      <a:pt x="2" y="2"/>
                      <a:pt x="4" y="2"/>
                      <a:pt x="6" y="3"/>
                    </a:cubicBezTo>
                    <a:cubicBezTo>
                      <a:pt x="7" y="0"/>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 name="Freeform 17">
                <a:extLst>
                  <a:ext uri="{FF2B5EF4-FFF2-40B4-BE49-F238E27FC236}">
                    <a16:creationId xmlns:a16="http://schemas.microsoft.com/office/drawing/2014/main" id="{B75F38A1-5810-4570-9805-6A208972C227}"/>
                  </a:ext>
                </a:extLst>
              </p:cNvPr>
              <p:cNvSpPr>
                <a:spLocks/>
              </p:cNvSpPr>
              <p:nvPr/>
            </p:nvSpPr>
            <p:spPr bwMode="auto">
              <a:xfrm>
                <a:off x="10794" y="739"/>
                <a:ext cx="5" cy="2"/>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0"/>
                      <a:pt x="0" y="0"/>
                    </a:cubicBezTo>
                    <a:cubicBezTo>
                      <a:pt x="0" y="1"/>
                      <a:pt x="1"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 name="Freeform 18">
                <a:extLst>
                  <a:ext uri="{FF2B5EF4-FFF2-40B4-BE49-F238E27FC236}">
                    <a16:creationId xmlns:a16="http://schemas.microsoft.com/office/drawing/2014/main" id="{F2ED98A0-310B-4C66-8557-5ABBF13F1118}"/>
                  </a:ext>
                </a:extLst>
              </p:cNvPr>
              <p:cNvSpPr>
                <a:spLocks/>
              </p:cNvSpPr>
              <p:nvPr/>
            </p:nvSpPr>
            <p:spPr bwMode="auto">
              <a:xfrm>
                <a:off x="10887" y="725"/>
                <a:ext cx="47" cy="7"/>
              </a:xfrm>
              <a:custGeom>
                <a:avLst/>
                <a:gdLst>
                  <a:gd name="T0" fmla="*/ 8 w 20"/>
                  <a:gd name="T1" fmla="*/ 0 h 3"/>
                  <a:gd name="T2" fmla="*/ 6 w 20"/>
                  <a:gd name="T3" fmla="*/ 0 h 3"/>
                  <a:gd name="T4" fmla="*/ 4 w 20"/>
                  <a:gd name="T5" fmla="*/ 1 h 3"/>
                  <a:gd name="T6" fmla="*/ 3 w 20"/>
                  <a:gd name="T7" fmla="*/ 0 h 3"/>
                  <a:gd name="T8" fmla="*/ 0 w 20"/>
                  <a:gd name="T9" fmla="*/ 0 h 3"/>
                  <a:gd name="T10" fmla="*/ 10 w 20"/>
                  <a:gd name="T11" fmla="*/ 3 h 3"/>
                  <a:gd name="T12" fmla="*/ 11 w 20"/>
                  <a:gd name="T13" fmla="*/ 3 h 3"/>
                  <a:gd name="T14" fmla="*/ 14 w 20"/>
                  <a:gd name="T15" fmla="*/ 2 h 3"/>
                  <a:gd name="T16" fmla="*/ 20 w 20"/>
                  <a:gd name="T17" fmla="*/ 1 h 3"/>
                  <a:gd name="T18" fmla="*/ 9 w 20"/>
                  <a:gd name="T19" fmla="*/ 0 h 3"/>
                  <a:gd name="T20" fmla="*/ 8 w 20"/>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
                    <a:moveTo>
                      <a:pt x="8" y="0"/>
                    </a:moveTo>
                    <a:cubicBezTo>
                      <a:pt x="8" y="0"/>
                      <a:pt x="7" y="0"/>
                      <a:pt x="6" y="0"/>
                    </a:cubicBezTo>
                    <a:cubicBezTo>
                      <a:pt x="5" y="0"/>
                      <a:pt x="4" y="1"/>
                      <a:pt x="4" y="1"/>
                    </a:cubicBezTo>
                    <a:cubicBezTo>
                      <a:pt x="3" y="1"/>
                      <a:pt x="3" y="0"/>
                      <a:pt x="3" y="0"/>
                    </a:cubicBezTo>
                    <a:cubicBezTo>
                      <a:pt x="2" y="0"/>
                      <a:pt x="1" y="0"/>
                      <a:pt x="0" y="0"/>
                    </a:cubicBezTo>
                    <a:cubicBezTo>
                      <a:pt x="3" y="1"/>
                      <a:pt x="7" y="3"/>
                      <a:pt x="10" y="3"/>
                    </a:cubicBezTo>
                    <a:cubicBezTo>
                      <a:pt x="10" y="3"/>
                      <a:pt x="11" y="3"/>
                      <a:pt x="11" y="3"/>
                    </a:cubicBezTo>
                    <a:cubicBezTo>
                      <a:pt x="12" y="2"/>
                      <a:pt x="13" y="2"/>
                      <a:pt x="14" y="2"/>
                    </a:cubicBezTo>
                    <a:cubicBezTo>
                      <a:pt x="16" y="1"/>
                      <a:pt x="18" y="2"/>
                      <a:pt x="20" y="1"/>
                    </a:cubicBezTo>
                    <a:cubicBezTo>
                      <a:pt x="16" y="1"/>
                      <a:pt x="13"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 name="Freeform 19">
                <a:extLst>
                  <a:ext uri="{FF2B5EF4-FFF2-40B4-BE49-F238E27FC236}">
                    <a16:creationId xmlns:a16="http://schemas.microsoft.com/office/drawing/2014/main" id="{40020DF2-4036-47A9-B672-EDB21C5866A4}"/>
                  </a:ext>
                </a:extLst>
              </p:cNvPr>
              <p:cNvSpPr>
                <a:spLocks/>
              </p:cNvSpPr>
              <p:nvPr/>
            </p:nvSpPr>
            <p:spPr bwMode="auto">
              <a:xfrm>
                <a:off x="10830" y="708"/>
                <a:ext cx="59" cy="24"/>
              </a:xfrm>
              <a:custGeom>
                <a:avLst/>
                <a:gdLst>
                  <a:gd name="T0" fmla="*/ 21 w 25"/>
                  <a:gd name="T1" fmla="*/ 0 h 10"/>
                  <a:gd name="T2" fmla="*/ 19 w 25"/>
                  <a:gd name="T3" fmla="*/ 4 h 10"/>
                  <a:gd name="T4" fmla="*/ 14 w 25"/>
                  <a:gd name="T5" fmla="*/ 7 h 10"/>
                  <a:gd name="T6" fmla="*/ 11 w 25"/>
                  <a:gd name="T7" fmla="*/ 8 h 10"/>
                  <a:gd name="T8" fmla="*/ 10 w 25"/>
                  <a:gd name="T9" fmla="*/ 8 h 10"/>
                  <a:gd name="T10" fmla="*/ 10 w 25"/>
                  <a:gd name="T11" fmla="*/ 8 h 10"/>
                  <a:gd name="T12" fmla="*/ 9 w 25"/>
                  <a:gd name="T13" fmla="*/ 8 h 10"/>
                  <a:gd name="T14" fmla="*/ 8 w 25"/>
                  <a:gd name="T15" fmla="*/ 8 h 10"/>
                  <a:gd name="T16" fmla="*/ 7 w 25"/>
                  <a:gd name="T17" fmla="*/ 8 h 10"/>
                  <a:gd name="T18" fmla="*/ 7 w 25"/>
                  <a:gd name="T19" fmla="*/ 8 h 10"/>
                  <a:gd name="T20" fmla="*/ 5 w 25"/>
                  <a:gd name="T21" fmla="*/ 10 h 10"/>
                  <a:gd name="T22" fmla="*/ 4 w 25"/>
                  <a:gd name="T23" fmla="*/ 10 h 10"/>
                  <a:gd name="T24" fmla="*/ 3 w 25"/>
                  <a:gd name="T25" fmla="*/ 10 h 10"/>
                  <a:gd name="T26" fmla="*/ 2 w 25"/>
                  <a:gd name="T27" fmla="*/ 10 h 10"/>
                  <a:gd name="T28" fmla="*/ 0 w 25"/>
                  <a:gd name="T29" fmla="*/ 10 h 10"/>
                  <a:gd name="T30" fmla="*/ 6 w 25"/>
                  <a:gd name="T31" fmla="*/ 10 h 10"/>
                  <a:gd name="T32" fmla="*/ 13 w 25"/>
                  <a:gd name="T33" fmla="*/ 10 h 10"/>
                  <a:gd name="T34" fmla="*/ 19 w 25"/>
                  <a:gd name="T35" fmla="*/ 7 h 10"/>
                  <a:gd name="T36" fmla="*/ 19 w 25"/>
                  <a:gd name="T37" fmla="*/ 7 h 10"/>
                  <a:gd name="T38" fmla="*/ 20 w 25"/>
                  <a:gd name="T39" fmla="*/ 7 h 10"/>
                  <a:gd name="T40" fmla="*/ 20 w 25"/>
                  <a:gd name="T41" fmla="*/ 7 h 10"/>
                  <a:gd name="T42" fmla="*/ 21 w 25"/>
                  <a:gd name="T43" fmla="*/ 7 h 10"/>
                  <a:gd name="T44" fmla="*/ 22 w 25"/>
                  <a:gd name="T45" fmla="*/ 7 h 10"/>
                  <a:gd name="T46" fmla="*/ 22 w 25"/>
                  <a:gd name="T47" fmla="*/ 7 h 10"/>
                  <a:gd name="T48" fmla="*/ 22 w 25"/>
                  <a:gd name="T49" fmla="*/ 8 h 10"/>
                  <a:gd name="T50" fmla="*/ 23 w 25"/>
                  <a:gd name="T51" fmla="*/ 7 h 10"/>
                  <a:gd name="T52" fmla="*/ 21 w 25"/>
                  <a:gd name="T53" fmla="*/ 5 h 10"/>
                  <a:gd name="T54" fmla="*/ 21 w 25"/>
                  <a:gd name="T55" fmla="*/ 5 h 10"/>
                  <a:gd name="T56" fmla="*/ 25 w 25"/>
                  <a:gd name="T57" fmla="*/ 3 h 10"/>
                  <a:gd name="T58" fmla="*/ 21 w 25"/>
                  <a:gd name="T5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10">
                    <a:moveTo>
                      <a:pt x="21" y="0"/>
                    </a:moveTo>
                    <a:cubicBezTo>
                      <a:pt x="21" y="1"/>
                      <a:pt x="20" y="3"/>
                      <a:pt x="19" y="4"/>
                    </a:cubicBezTo>
                    <a:cubicBezTo>
                      <a:pt x="18" y="6"/>
                      <a:pt x="16" y="6"/>
                      <a:pt x="14" y="7"/>
                    </a:cubicBezTo>
                    <a:cubicBezTo>
                      <a:pt x="13" y="8"/>
                      <a:pt x="12" y="7"/>
                      <a:pt x="11" y="8"/>
                    </a:cubicBezTo>
                    <a:cubicBezTo>
                      <a:pt x="10" y="8"/>
                      <a:pt x="10" y="8"/>
                      <a:pt x="10" y="8"/>
                    </a:cubicBezTo>
                    <a:cubicBezTo>
                      <a:pt x="10" y="8"/>
                      <a:pt x="10" y="8"/>
                      <a:pt x="10" y="8"/>
                    </a:cubicBezTo>
                    <a:cubicBezTo>
                      <a:pt x="9" y="8"/>
                      <a:pt x="9" y="8"/>
                      <a:pt x="9" y="8"/>
                    </a:cubicBezTo>
                    <a:cubicBezTo>
                      <a:pt x="9" y="8"/>
                      <a:pt x="9" y="8"/>
                      <a:pt x="8" y="8"/>
                    </a:cubicBezTo>
                    <a:cubicBezTo>
                      <a:pt x="8" y="8"/>
                      <a:pt x="8" y="8"/>
                      <a:pt x="7" y="8"/>
                    </a:cubicBezTo>
                    <a:cubicBezTo>
                      <a:pt x="7" y="8"/>
                      <a:pt x="7" y="8"/>
                      <a:pt x="7" y="8"/>
                    </a:cubicBezTo>
                    <a:cubicBezTo>
                      <a:pt x="6" y="9"/>
                      <a:pt x="5" y="8"/>
                      <a:pt x="5" y="10"/>
                    </a:cubicBezTo>
                    <a:cubicBezTo>
                      <a:pt x="5" y="10"/>
                      <a:pt x="4" y="10"/>
                      <a:pt x="4" y="10"/>
                    </a:cubicBezTo>
                    <a:cubicBezTo>
                      <a:pt x="4" y="10"/>
                      <a:pt x="3" y="10"/>
                      <a:pt x="3" y="10"/>
                    </a:cubicBezTo>
                    <a:cubicBezTo>
                      <a:pt x="3" y="10"/>
                      <a:pt x="2" y="10"/>
                      <a:pt x="2" y="10"/>
                    </a:cubicBezTo>
                    <a:cubicBezTo>
                      <a:pt x="1" y="10"/>
                      <a:pt x="1" y="10"/>
                      <a:pt x="0" y="10"/>
                    </a:cubicBezTo>
                    <a:cubicBezTo>
                      <a:pt x="2" y="10"/>
                      <a:pt x="4" y="10"/>
                      <a:pt x="6" y="10"/>
                    </a:cubicBezTo>
                    <a:cubicBezTo>
                      <a:pt x="8" y="10"/>
                      <a:pt x="11" y="10"/>
                      <a:pt x="13" y="10"/>
                    </a:cubicBezTo>
                    <a:cubicBezTo>
                      <a:pt x="15" y="9"/>
                      <a:pt x="17" y="8"/>
                      <a:pt x="19" y="7"/>
                    </a:cubicBezTo>
                    <a:cubicBezTo>
                      <a:pt x="19" y="7"/>
                      <a:pt x="19" y="7"/>
                      <a:pt x="19" y="7"/>
                    </a:cubicBezTo>
                    <a:cubicBezTo>
                      <a:pt x="20" y="7"/>
                      <a:pt x="20" y="7"/>
                      <a:pt x="20" y="7"/>
                    </a:cubicBezTo>
                    <a:cubicBezTo>
                      <a:pt x="20" y="7"/>
                      <a:pt x="20" y="7"/>
                      <a:pt x="20" y="7"/>
                    </a:cubicBezTo>
                    <a:cubicBezTo>
                      <a:pt x="21" y="7"/>
                      <a:pt x="21" y="7"/>
                      <a:pt x="21" y="7"/>
                    </a:cubicBezTo>
                    <a:cubicBezTo>
                      <a:pt x="21" y="7"/>
                      <a:pt x="22" y="7"/>
                      <a:pt x="22" y="7"/>
                    </a:cubicBezTo>
                    <a:cubicBezTo>
                      <a:pt x="22" y="7"/>
                      <a:pt x="22" y="7"/>
                      <a:pt x="22" y="7"/>
                    </a:cubicBezTo>
                    <a:cubicBezTo>
                      <a:pt x="22" y="7"/>
                      <a:pt x="22" y="8"/>
                      <a:pt x="22" y="8"/>
                    </a:cubicBezTo>
                    <a:cubicBezTo>
                      <a:pt x="23" y="8"/>
                      <a:pt x="23" y="7"/>
                      <a:pt x="23" y="7"/>
                    </a:cubicBezTo>
                    <a:cubicBezTo>
                      <a:pt x="23" y="7"/>
                      <a:pt x="21" y="5"/>
                      <a:pt x="21" y="5"/>
                    </a:cubicBezTo>
                    <a:cubicBezTo>
                      <a:pt x="21" y="5"/>
                      <a:pt x="21" y="5"/>
                      <a:pt x="21" y="5"/>
                    </a:cubicBezTo>
                    <a:cubicBezTo>
                      <a:pt x="23" y="5"/>
                      <a:pt x="25" y="4"/>
                      <a:pt x="25" y="3"/>
                    </a:cubicBezTo>
                    <a:cubicBezTo>
                      <a:pt x="25" y="1"/>
                      <a:pt x="23"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 name="Freeform 20">
                <a:extLst>
                  <a:ext uri="{FF2B5EF4-FFF2-40B4-BE49-F238E27FC236}">
                    <a16:creationId xmlns:a16="http://schemas.microsoft.com/office/drawing/2014/main" id="{C72C594A-FC3C-4F9A-9AF7-F9D602C66BF9}"/>
                  </a:ext>
                </a:extLst>
              </p:cNvPr>
              <p:cNvSpPr>
                <a:spLocks/>
              </p:cNvSpPr>
              <p:nvPr/>
            </p:nvSpPr>
            <p:spPr bwMode="auto">
              <a:xfrm>
                <a:off x="10790" y="739"/>
                <a:ext cx="7" cy="7"/>
              </a:xfrm>
              <a:custGeom>
                <a:avLst/>
                <a:gdLst>
                  <a:gd name="T0" fmla="*/ 0 w 3"/>
                  <a:gd name="T1" fmla="*/ 0 h 3"/>
                  <a:gd name="T2" fmla="*/ 1 w 3"/>
                  <a:gd name="T3" fmla="*/ 3 h 3"/>
                  <a:gd name="T4" fmla="*/ 3 w 3"/>
                  <a:gd name="T5" fmla="*/ 2 h 3"/>
                  <a:gd name="T6" fmla="*/ 0 w 3"/>
                  <a:gd name="T7" fmla="*/ 0 h 3"/>
                </a:gdLst>
                <a:ahLst/>
                <a:cxnLst>
                  <a:cxn ang="0">
                    <a:pos x="T0" y="T1"/>
                  </a:cxn>
                  <a:cxn ang="0">
                    <a:pos x="T2" y="T3"/>
                  </a:cxn>
                  <a:cxn ang="0">
                    <a:pos x="T4" y="T5"/>
                  </a:cxn>
                  <a:cxn ang="0">
                    <a:pos x="T6" y="T7"/>
                  </a:cxn>
                </a:cxnLst>
                <a:rect l="0" t="0" r="r" b="b"/>
                <a:pathLst>
                  <a:path w="3" h="3">
                    <a:moveTo>
                      <a:pt x="0" y="0"/>
                    </a:moveTo>
                    <a:cubicBezTo>
                      <a:pt x="0" y="1"/>
                      <a:pt x="0" y="2"/>
                      <a:pt x="1" y="3"/>
                    </a:cubicBezTo>
                    <a:cubicBezTo>
                      <a:pt x="1" y="3"/>
                      <a:pt x="2"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 name="Freeform 21">
                <a:extLst>
                  <a:ext uri="{FF2B5EF4-FFF2-40B4-BE49-F238E27FC236}">
                    <a16:creationId xmlns:a16="http://schemas.microsoft.com/office/drawing/2014/main" id="{AFAB362B-F718-4CE4-91CE-C568FF98B5C0}"/>
                  </a:ext>
                </a:extLst>
              </p:cNvPr>
              <p:cNvSpPr>
                <a:spLocks/>
              </p:cNvSpPr>
              <p:nvPr/>
            </p:nvSpPr>
            <p:spPr bwMode="auto">
              <a:xfrm>
                <a:off x="11050" y="406"/>
                <a:ext cx="12" cy="9"/>
              </a:xfrm>
              <a:custGeom>
                <a:avLst/>
                <a:gdLst>
                  <a:gd name="T0" fmla="*/ 5 w 5"/>
                  <a:gd name="T1" fmla="*/ 0 h 4"/>
                  <a:gd name="T2" fmla="*/ 0 w 5"/>
                  <a:gd name="T3" fmla="*/ 1 h 4"/>
                  <a:gd name="T4" fmla="*/ 2 w 5"/>
                  <a:gd name="T5" fmla="*/ 4 h 4"/>
                  <a:gd name="T6" fmla="*/ 5 w 5"/>
                  <a:gd name="T7" fmla="*/ 0 h 4"/>
                </a:gdLst>
                <a:ahLst/>
                <a:cxnLst>
                  <a:cxn ang="0">
                    <a:pos x="T0" y="T1"/>
                  </a:cxn>
                  <a:cxn ang="0">
                    <a:pos x="T2" y="T3"/>
                  </a:cxn>
                  <a:cxn ang="0">
                    <a:pos x="T4" y="T5"/>
                  </a:cxn>
                  <a:cxn ang="0">
                    <a:pos x="T6" y="T7"/>
                  </a:cxn>
                </a:cxnLst>
                <a:rect l="0" t="0" r="r" b="b"/>
                <a:pathLst>
                  <a:path w="5" h="4">
                    <a:moveTo>
                      <a:pt x="5" y="0"/>
                    </a:moveTo>
                    <a:cubicBezTo>
                      <a:pt x="4" y="0"/>
                      <a:pt x="2" y="1"/>
                      <a:pt x="0" y="1"/>
                    </a:cubicBezTo>
                    <a:cubicBezTo>
                      <a:pt x="1" y="2"/>
                      <a:pt x="1" y="3"/>
                      <a:pt x="2" y="4"/>
                    </a:cubicBezTo>
                    <a:cubicBezTo>
                      <a:pt x="4" y="2"/>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 name="Freeform 22">
                <a:extLst>
                  <a:ext uri="{FF2B5EF4-FFF2-40B4-BE49-F238E27FC236}">
                    <a16:creationId xmlns:a16="http://schemas.microsoft.com/office/drawing/2014/main" id="{4BF66EE9-9F24-4AFD-8598-F6C31FE38951}"/>
                  </a:ext>
                </a:extLst>
              </p:cNvPr>
              <p:cNvSpPr>
                <a:spLocks/>
              </p:cNvSpPr>
              <p:nvPr/>
            </p:nvSpPr>
            <p:spPr bwMode="auto">
              <a:xfrm>
                <a:off x="10778" y="741"/>
                <a:ext cx="9" cy="8"/>
              </a:xfrm>
              <a:custGeom>
                <a:avLst/>
                <a:gdLst>
                  <a:gd name="T0" fmla="*/ 2 w 4"/>
                  <a:gd name="T1" fmla="*/ 0 h 3"/>
                  <a:gd name="T2" fmla="*/ 2 w 4"/>
                  <a:gd name="T3" fmla="*/ 3 h 3"/>
                  <a:gd name="T4" fmla="*/ 2 w 4"/>
                  <a:gd name="T5" fmla="*/ 1 h 3"/>
                  <a:gd name="T6" fmla="*/ 3 w 4"/>
                  <a:gd name="T7" fmla="*/ 0 h 3"/>
                  <a:gd name="T8" fmla="*/ 2 w 4"/>
                  <a:gd name="T9" fmla="*/ 0 h 3"/>
                </a:gdLst>
                <a:ahLst/>
                <a:cxnLst>
                  <a:cxn ang="0">
                    <a:pos x="T0" y="T1"/>
                  </a:cxn>
                  <a:cxn ang="0">
                    <a:pos x="T2" y="T3"/>
                  </a:cxn>
                  <a:cxn ang="0">
                    <a:pos x="T4" y="T5"/>
                  </a:cxn>
                  <a:cxn ang="0">
                    <a:pos x="T6" y="T7"/>
                  </a:cxn>
                  <a:cxn ang="0">
                    <a:pos x="T8" y="T9"/>
                  </a:cxn>
                </a:cxnLst>
                <a:rect l="0" t="0" r="r" b="b"/>
                <a:pathLst>
                  <a:path w="4" h="3">
                    <a:moveTo>
                      <a:pt x="2" y="0"/>
                    </a:moveTo>
                    <a:cubicBezTo>
                      <a:pt x="0" y="0"/>
                      <a:pt x="1" y="2"/>
                      <a:pt x="2" y="3"/>
                    </a:cubicBezTo>
                    <a:cubicBezTo>
                      <a:pt x="3" y="2"/>
                      <a:pt x="4" y="1"/>
                      <a:pt x="2" y="1"/>
                    </a:cubicBezTo>
                    <a:cubicBezTo>
                      <a:pt x="3" y="0"/>
                      <a:pt x="3"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 name="Freeform 23">
                <a:extLst>
                  <a:ext uri="{FF2B5EF4-FFF2-40B4-BE49-F238E27FC236}">
                    <a16:creationId xmlns:a16="http://schemas.microsoft.com/office/drawing/2014/main" id="{4BD15BEB-D6A1-4E08-ADC4-14E324AEE58B}"/>
                  </a:ext>
                </a:extLst>
              </p:cNvPr>
              <p:cNvSpPr>
                <a:spLocks/>
              </p:cNvSpPr>
              <p:nvPr/>
            </p:nvSpPr>
            <p:spPr bwMode="auto">
              <a:xfrm>
                <a:off x="10754" y="734"/>
                <a:ext cx="29" cy="24"/>
              </a:xfrm>
              <a:custGeom>
                <a:avLst/>
                <a:gdLst>
                  <a:gd name="T0" fmla="*/ 7 w 12"/>
                  <a:gd name="T1" fmla="*/ 0 h 10"/>
                  <a:gd name="T2" fmla="*/ 4 w 12"/>
                  <a:gd name="T3" fmla="*/ 1 h 10"/>
                  <a:gd name="T4" fmla="*/ 5 w 12"/>
                  <a:gd name="T5" fmla="*/ 5 h 10"/>
                  <a:gd name="T6" fmla="*/ 5 w 12"/>
                  <a:gd name="T7" fmla="*/ 5 h 10"/>
                  <a:gd name="T8" fmla="*/ 3 w 12"/>
                  <a:gd name="T9" fmla="*/ 4 h 10"/>
                  <a:gd name="T10" fmla="*/ 2 w 12"/>
                  <a:gd name="T11" fmla="*/ 4 h 10"/>
                  <a:gd name="T12" fmla="*/ 2 w 12"/>
                  <a:gd name="T13" fmla="*/ 4 h 10"/>
                  <a:gd name="T14" fmla="*/ 0 w 12"/>
                  <a:gd name="T15" fmla="*/ 10 h 10"/>
                  <a:gd name="T16" fmla="*/ 2 w 12"/>
                  <a:gd name="T17" fmla="*/ 7 h 10"/>
                  <a:gd name="T18" fmla="*/ 4 w 12"/>
                  <a:gd name="T19" fmla="*/ 9 h 10"/>
                  <a:gd name="T20" fmla="*/ 4 w 12"/>
                  <a:gd name="T21" fmla="*/ 9 h 10"/>
                  <a:gd name="T22" fmla="*/ 5 w 12"/>
                  <a:gd name="T23" fmla="*/ 7 h 10"/>
                  <a:gd name="T24" fmla="*/ 8 w 12"/>
                  <a:gd name="T25" fmla="*/ 7 h 10"/>
                  <a:gd name="T26" fmla="*/ 9 w 12"/>
                  <a:gd name="T27" fmla="*/ 6 h 10"/>
                  <a:gd name="T28" fmla="*/ 9 w 12"/>
                  <a:gd name="T29" fmla="*/ 6 h 10"/>
                  <a:gd name="T30" fmla="*/ 9 w 12"/>
                  <a:gd name="T31" fmla="*/ 6 h 10"/>
                  <a:gd name="T32" fmla="*/ 10 w 12"/>
                  <a:gd name="T33" fmla="*/ 6 h 10"/>
                  <a:gd name="T34" fmla="*/ 10 w 12"/>
                  <a:gd name="T35" fmla="*/ 6 h 10"/>
                  <a:gd name="T36" fmla="*/ 6 w 12"/>
                  <a:gd name="T37" fmla="*/ 3 h 10"/>
                  <a:gd name="T38" fmla="*/ 7 w 12"/>
                  <a:gd name="T3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0">
                    <a:moveTo>
                      <a:pt x="7" y="0"/>
                    </a:moveTo>
                    <a:cubicBezTo>
                      <a:pt x="4" y="1"/>
                      <a:pt x="4" y="1"/>
                      <a:pt x="4" y="1"/>
                    </a:cubicBezTo>
                    <a:cubicBezTo>
                      <a:pt x="4" y="1"/>
                      <a:pt x="5" y="4"/>
                      <a:pt x="5" y="5"/>
                    </a:cubicBezTo>
                    <a:cubicBezTo>
                      <a:pt x="5" y="5"/>
                      <a:pt x="5" y="5"/>
                      <a:pt x="5" y="5"/>
                    </a:cubicBezTo>
                    <a:cubicBezTo>
                      <a:pt x="4" y="5"/>
                      <a:pt x="4" y="5"/>
                      <a:pt x="3" y="4"/>
                    </a:cubicBezTo>
                    <a:cubicBezTo>
                      <a:pt x="3" y="4"/>
                      <a:pt x="2" y="4"/>
                      <a:pt x="2" y="4"/>
                    </a:cubicBezTo>
                    <a:cubicBezTo>
                      <a:pt x="2" y="4"/>
                      <a:pt x="2" y="4"/>
                      <a:pt x="2" y="4"/>
                    </a:cubicBezTo>
                    <a:cubicBezTo>
                      <a:pt x="0" y="5"/>
                      <a:pt x="1" y="9"/>
                      <a:pt x="0" y="10"/>
                    </a:cubicBezTo>
                    <a:cubicBezTo>
                      <a:pt x="1" y="9"/>
                      <a:pt x="2" y="8"/>
                      <a:pt x="2" y="7"/>
                    </a:cubicBezTo>
                    <a:cubicBezTo>
                      <a:pt x="3" y="8"/>
                      <a:pt x="3" y="9"/>
                      <a:pt x="4" y="9"/>
                    </a:cubicBezTo>
                    <a:cubicBezTo>
                      <a:pt x="4" y="9"/>
                      <a:pt x="4" y="9"/>
                      <a:pt x="4" y="9"/>
                    </a:cubicBezTo>
                    <a:cubicBezTo>
                      <a:pt x="5" y="9"/>
                      <a:pt x="4" y="8"/>
                      <a:pt x="5" y="7"/>
                    </a:cubicBezTo>
                    <a:cubicBezTo>
                      <a:pt x="6" y="7"/>
                      <a:pt x="7" y="7"/>
                      <a:pt x="8" y="7"/>
                    </a:cubicBezTo>
                    <a:cubicBezTo>
                      <a:pt x="8" y="7"/>
                      <a:pt x="8" y="6"/>
                      <a:pt x="9" y="6"/>
                    </a:cubicBezTo>
                    <a:cubicBezTo>
                      <a:pt x="9" y="6"/>
                      <a:pt x="9" y="6"/>
                      <a:pt x="9" y="6"/>
                    </a:cubicBezTo>
                    <a:cubicBezTo>
                      <a:pt x="9" y="6"/>
                      <a:pt x="9" y="6"/>
                      <a:pt x="9" y="6"/>
                    </a:cubicBezTo>
                    <a:cubicBezTo>
                      <a:pt x="9" y="6"/>
                      <a:pt x="9" y="6"/>
                      <a:pt x="10" y="6"/>
                    </a:cubicBezTo>
                    <a:cubicBezTo>
                      <a:pt x="10" y="6"/>
                      <a:pt x="10" y="6"/>
                      <a:pt x="10" y="6"/>
                    </a:cubicBezTo>
                    <a:cubicBezTo>
                      <a:pt x="12" y="4"/>
                      <a:pt x="8" y="3"/>
                      <a:pt x="6" y="3"/>
                    </a:cubicBezTo>
                    <a:cubicBezTo>
                      <a:pt x="7" y="1"/>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 name="Freeform 24">
                <a:extLst>
                  <a:ext uri="{FF2B5EF4-FFF2-40B4-BE49-F238E27FC236}">
                    <a16:creationId xmlns:a16="http://schemas.microsoft.com/office/drawing/2014/main" id="{ECEC3E71-3572-47EE-97C7-4B37962A6D94}"/>
                  </a:ext>
                </a:extLst>
              </p:cNvPr>
              <p:cNvSpPr>
                <a:spLocks/>
              </p:cNvSpPr>
              <p:nvPr/>
            </p:nvSpPr>
            <p:spPr bwMode="auto">
              <a:xfrm>
                <a:off x="11113" y="637"/>
                <a:ext cx="45" cy="43"/>
              </a:xfrm>
              <a:custGeom>
                <a:avLst/>
                <a:gdLst>
                  <a:gd name="T0" fmla="*/ 19 w 19"/>
                  <a:gd name="T1" fmla="*/ 0 h 18"/>
                  <a:gd name="T2" fmla="*/ 11 w 19"/>
                  <a:gd name="T3" fmla="*/ 8 h 18"/>
                  <a:gd name="T4" fmla="*/ 7 w 19"/>
                  <a:gd name="T5" fmla="*/ 8 h 18"/>
                  <a:gd name="T6" fmla="*/ 7 w 19"/>
                  <a:gd name="T7" fmla="*/ 8 h 18"/>
                  <a:gd name="T8" fmla="*/ 4 w 19"/>
                  <a:gd name="T9" fmla="*/ 11 h 18"/>
                  <a:gd name="T10" fmla="*/ 4 w 19"/>
                  <a:gd name="T11" fmla="*/ 13 h 18"/>
                  <a:gd name="T12" fmla="*/ 2 w 19"/>
                  <a:gd name="T13" fmla="*/ 15 h 18"/>
                  <a:gd name="T14" fmla="*/ 2 w 19"/>
                  <a:gd name="T15" fmla="*/ 16 h 18"/>
                  <a:gd name="T16" fmla="*/ 1 w 19"/>
                  <a:gd name="T17" fmla="*/ 17 h 18"/>
                  <a:gd name="T18" fmla="*/ 1 w 19"/>
                  <a:gd name="T19" fmla="*/ 17 h 18"/>
                  <a:gd name="T20" fmla="*/ 1 w 19"/>
                  <a:gd name="T21" fmla="*/ 17 h 18"/>
                  <a:gd name="T22" fmla="*/ 0 w 19"/>
                  <a:gd name="T23" fmla="*/ 18 h 18"/>
                  <a:gd name="T24" fmla="*/ 19 w 19"/>
                  <a:gd name="T25" fmla="*/ 5 h 18"/>
                  <a:gd name="T26" fmla="*/ 19 w 1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19" y="0"/>
                    </a:moveTo>
                    <a:cubicBezTo>
                      <a:pt x="14" y="0"/>
                      <a:pt x="10" y="3"/>
                      <a:pt x="11" y="8"/>
                    </a:cubicBezTo>
                    <a:cubicBezTo>
                      <a:pt x="10" y="8"/>
                      <a:pt x="9" y="8"/>
                      <a:pt x="7" y="8"/>
                    </a:cubicBezTo>
                    <a:cubicBezTo>
                      <a:pt x="7" y="8"/>
                      <a:pt x="7" y="8"/>
                      <a:pt x="7" y="8"/>
                    </a:cubicBezTo>
                    <a:cubicBezTo>
                      <a:pt x="6" y="8"/>
                      <a:pt x="4" y="10"/>
                      <a:pt x="4" y="11"/>
                    </a:cubicBezTo>
                    <a:cubicBezTo>
                      <a:pt x="4" y="12"/>
                      <a:pt x="4" y="12"/>
                      <a:pt x="4" y="13"/>
                    </a:cubicBezTo>
                    <a:cubicBezTo>
                      <a:pt x="3" y="14"/>
                      <a:pt x="3" y="14"/>
                      <a:pt x="2" y="15"/>
                    </a:cubicBezTo>
                    <a:cubicBezTo>
                      <a:pt x="2" y="16"/>
                      <a:pt x="2" y="16"/>
                      <a:pt x="2" y="16"/>
                    </a:cubicBezTo>
                    <a:cubicBezTo>
                      <a:pt x="1" y="17"/>
                      <a:pt x="1" y="17"/>
                      <a:pt x="1" y="17"/>
                    </a:cubicBezTo>
                    <a:cubicBezTo>
                      <a:pt x="1" y="17"/>
                      <a:pt x="1" y="17"/>
                      <a:pt x="1" y="17"/>
                    </a:cubicBezTo>
                    <a:cubicBezTo>
                      <a:pt x="1" y="17"/>
                      <a:pt x="1" y="17"/>
                      <a:pt x="1" y="17"/>
                    </a:cubicBezTo>
                    <a:cubicBezTo>
                      <a:pt x="0" y="17"/>
                      <a:pt x="0" y="17"/>
                      <a:pt x="0" y="18"/>
                    </a:cubicBezTo>
                    <a:cubicBezTo>
                      <a:pt x="6" y="13"/>
                      <a:pt x="13" y="9"/>
                      <a:pt x="19" y="5"/>
                    </a:cubicBezTo>
                    <a:cubicBezTo>
                      <a:pt x="19" y="3"/>
                      <a:pt x="19" y="2"/>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 name="Freeform 25">
                <a:extLst>
                  <a:ext uri="{FF2B5EF4-FFF2-40B4-BE49-F238E27FC236}">
                    <a16:creationId xmlns:a16="http://schemas.microsoft.com/office/drawing/2014/main" id="{CBE523CC-6E5F-4F49-8E5F-070E0253B8A1}"/>
                  </a:ext>
                </a:extLst>
              </p:cNvPr>
              <p:cNvSpPr>
                <a:spLocks/>
              </p:cNvSpPr>
              <p:nvPr/>
            </p:nvSpPr>
            <p:spPr bwMode="auto">
              <a:xfrm>
                <a:off x="11151" y="-181"/>
                <a:ext cx="7" cy="10"/>
              </a:xfrm>
              <a:custGeom>
                <a:avLst/>
                <a:gdLst>
                  <a:gd name="T0" fmla="*/ 3 w 3"/>
                  <a:gd name="T1" fmla="*/ 0 h 4"/>
                  <a:gd name="T2" fmla="*/ 3 w 3"/>
                  <a:gd name="T3" fmla="*/ 4 h 4"/>
                  <a:gd name="T4" fmla="*/ 3 w 3"/>
                  <a:gd name="T5" fmla="*/ 3 h 4"/>
                  <a:gd name="T6" fmla="*/ 2 w 3"/>
                  <a:gd name="T7" fmla="*/ 3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0" y="1"/>
                      <a:pt x="0" y="2"/>
                      <a:pt x="3" y="4"/>
                    </a:cubicBezTo>
                    <a:cubicBezTo>
                      <a:pt x="3" y="3"/>
                      <a:pt x="3" y="3"/>
                      <a:pt x="3" y="3"/>
                    </a:cubicBezTo>
                    <a:cubicBezTo>
                      <a:pt x="3" y="3"/>
                      <a:pt x="2" y="3"/>
                      <a:pt x="2" y="3"/>
                    </a:cubicBezTo>
                    <a:cubicBezTo>
                      <a:pt x="1"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 name="Freeform 26">
                <a:extLst>
                  <a:ext uri="{FF2B5EF4-FFF2-40B4-BE49-F238E27FC236}">
                    <a16:creationId xmlns:a16="http://schemas.microsoft.com/office/drawing/2014/main" id="{5C1630EF-AA5B-4C9D-9D1E-C647C17F83F5}"/>
                  </a:ext>
                </a:extLst>
              </p:cNvPr>
              <p:cNvSpPr>
                <a:spLocks/>
              </p:cNvSpPr>
              <p:nvPr/>
            </p:nvSpPr>
            <p:spPr bwMode="auto">
              <a:xfrm>
                <a:off x="10279" y="673"/>
                <a:ext cx="43" cy="14"/>
              </a:xfrm>
              <a:custGeom>
                <a:avLst/>
                <a:gdLst>
                  <a:gd name="T0" fmla="*/ 5 w 18"/>
                  <a:gd name="T1" fmla="*/ 0 h 6"/>
                  <a:gd name="T2" fmla="*/ 0 w 18"/>
                  <a:gd name="T3" fmla="*/ 2 h 6"/>
                  <a:gd name="T4" fmla="*/ 8 w 18"/>
                  <a:gd name="T5" fmla="*/ 6 h 6"/>
                  <a:gd name="T6" fmla="*/ 11 w 18"/>
                  <a:gd name="T7" fmla="*/ 4 h 6"/>
                  <a:gd name="T8" fmla="*/ 11 w 18"/>
                  <a:gd name="T9" fmla="*/ 4 h 6"/>
                  <a:gd name="T10" fmla="*/ 12 w 18"/>
                  <a:gd name="T11" fmla="*/ 5 h 6"/>
                  <a:gd name="T12" fmla="*/ 12 w 18"/>
                  <a:gd name="T13" fmla="*/ 5 h 6"/>
                  <a:gd name="T14" fmla="*/ 13 w 18"/>
                  <a:gd name="T15" fmla="*/ 5 h 6"/>
                  <a:gd name="T16" fmla="*/ 15 w 18"/>
                  <a:gd name="T17" fmla="*/ 4 h 6"/>
                  <a:gd name="T18" fmla="*/ 15 w 18"/>
                  <a:gd name="T19" fmla="*/ 4 h 6"/>
                  <a:gd name="T20" fmla="*/ 16 w 18"/>
                  <a:gd name="T21" fmla="*/ 4 h 6"/>
                  <a:gd name="T22" fmla="*/ 17 w 18"/>
                  <a:gd name="T23" fmla="*/ 4 h 6"/>
                  <a:gd name="T24" fmla="*/ 18 w 18"/>
                  <a:gd name="T25" fmla="*/ 4 h 6"/>
                  <a:gd name="T26" fmla="*/ 13 w 18"/>
                  <a:gd name="T27" fmla="*/ 1 h 6"/>
                  <a:gd name="T28" fmla="*/ 13 w 18"/>
                  <a:gd name="T29" fmla="*/ 1 h 6"/>
                  <a:gd name="T30" fmla="*/ 7 w 18"/>
                  <a:gd name="T31" fmla="*/ 0 h 6"/>
                  <a:gd name="T32" fmla="*/ 5 w 1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6">
                    <a:moveTo>
                      <a:pt x="5" y="0"/>
                    </a:moveTo>
                    <a:cubicBezTo>
                      <a:pt x="3" y="0"/>
                      <a:pt x="2" y="0"/>
                      <a:pt x="0" y="2"/>
                    </a:cubicBezTo>
                    <a:cubicBezTo>
                      <a:pt x="3" y="3"/>
                      <a:pt x="5" y="5"/>
                      <a:pt x="8" y="6"/>
                    </a:cubicBezTo>
                    <a:cubicBezTo>
                      <a:pt x="9" y="6"/>
                      <a:pt x="10" y="4"/>
                      <a:pt x="11" y="4"/>
                    </a:cubicBezTo>
                    <a:cubicBezTo>
                      <a:pt x="11" y="4"/>
                      <a:pt x="11" y="4"/>
                      <a:pt x="11" y="4"/>
                    </a:cubicBezTo>
                    <a:cubicBezTo>
                      <a:pt x="11" y="4"/>
                      <a:pt x="12" y="4"/>
                      <a:pt x="12" y="5"/>
                    </a:cubicBezTo>
                    <a:cubicBezTo>
                      <a:pt x="12" y="5"/>
                      <a:pt x="12" y="5"/>
                      <a:pt x="12" y="5"/>
                    </a:cubicBezTo>
                    <a:cubicBezTo>
                      <a:pt x="12" y="5"/>
                      <a:pt x="12" y="5"/>
                      <a:pt x="13" y="5"/>
                    </a:cubicBezTo>
                    <a:cubicBezTo>
                      <a:pt x="14" y="5"/>
                      <a:pt x="14" y="4"/>
                      <a:pt x="15" y="4"/>
                    </a:cubicBezTo>
                    <a:cubicBezTo>
                      <a:pt x="15" y="4"/>
                      <a:pt x="15" y="4"/>
                      <a:pt x="15" y="4"/>
                    </a:cubicBezTo>
                    <a:cubicBezTo>
                      <a:pt x="15" y="4"/>
                      <a:pt x="15" y="4"/>
                      <a:pt x="16" y="4"/>
                    </a:cubicBezTo>
                    <a:cubicBezTo>
                      <a:pt x="16" y="4"/>
                      <a:pt x="17" y="4"/>
                      <a:pt x="17" y="4"/>
                    </a:cubicBezTo>
                    <a:cubicBezTo>
                      <a:pt x="18" y="4"/>
                      <a:pt x="18" y="4"/>
                      <a:pt x="18" y="4"/>
                    </a:cubicBezTo>
                    <a:cubicBezTo>
                      <a:pt x="18" y="2"/>
                      <a:pt x="15" y="1"/>
                      <a:pt x="13" y="1"/>
                    </a:cubicBezTo>
                    <a:cubicBezTo>
                      <a:pt x="13" y="1"/>
                      <a:pt x="13" y="1"/>
                      <a:pt x="13" y="1"/>
                    </a:cubicBezTo>
                    <a:cubicBezTo>
                      <a:pt x="15" y="0"/>
                      <a:pt x="8" y="0"/>
                      <a:pt x="7" y="0"/>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 name="Freeform 27">
                <a:extLst>
                  <a:ext uri="{FF2B5EF4-FFF2-40B4-BE49-F238E27FC236}">
                    <a16:creationId xmlns:a16="http://schemas.microsoft.com/office/drawing/2014/main" id="{D0DB2AFD-53FC-4906-AA90-34B7CDA51096}"/>
                  </a:ext>
                </a:extLst>
              </p:cNvPr>
              <p:cNvSpPr>
                <a:spLocks/>
              </p:cNvSpPr>
              <p:nvPr/>
            </p:nvSpPr>
            <p:spPr bwMode="auto">
              <a:xfrm>
                <a:off x="10487" y="727"/>
                <a:ext cx="26" cy="17"/>
              </a:xfrm>
              <a:custGeom>
                <a:avLst/>
                <a:gdLst>
                  <a:gd name="T0" fmla="*/ 11 w 11"/>
                  <a:gd name="T1" fmla="*/ 0 h 7"/>
                  <a:gd name="T2" fmla="*/ 4 w 11"/>
                  <a:gd name="T3" fmla="*/ 7 h 7"/>
                  <a:gd name="T4" fmla="*/ 6 w 11"/>
                  <a:gd name="T5" fmla="*/ 4 h 7"/>
                  <a:gd name="T6" fmla="*/ 7 w 11"/>
                  <a:gd name="T7" fmla="*/ 5 h 7"/>
                  <a:gd name="T8" fmla="*/ 8 w 11"/>
                  <a:gd name="T9" fmla="*/ 5 h 7"/>
                  <a:gd name="T10" fmla="*/ 9 w 11"/>
                  <a:gd name="T11" fmla="*/ 4 h 7"/>
                  <a:gd name="T12" fmla="*/ 10 w 11"/>
                  <a:gd name="T13" fmla="*/ 2 h 7"/>
                  <a:gd name="T14" fmla="*/ 11 w 1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11" y="0"/>
                    </a:moveTo>
                    <a:cubicBezTo>
                      <a:pt x="9" y="1"/>
                      <a:pt x="0" y="5"/>
                      <a:pt x="4" y="7"/>
                    </a:cubicBezTo>
                    <a:cubicBezTo>
                      <a:pt x="5" y="5"/>
                      <a:pt x="5" y="4"/>
                      <a:pt x="6" y="4"/>
                    </a:cubicBezTo>
                    <a:cubicBezTo>
                      <a:pt x="6" y="4"/>
                      <a:pt x="7" y="5"/>
                      <a:pt x="7" y="5"/>
                    </a:cubicBezTo>
                    <a:cubicBezTo>
                      <a:pt x="7" y="5"/>
                      <a:pt x="7" y="5"/>
                      <a:pt x="8" y="5"/>
                    </a:cubicBezTo>
                    <a:cubicBezTo>
                      <a:pt x="8" y="5"/>
                      <a:pt x="9" y="5"/>
                      <a:pt x="9" y="4"/>
                    </a:cubicBezTo>
                    <a:cubicBezTo>
                      <a:pt x="10" y="4"/>
                      <a:pt x="9" y="3"/>
                      <a:pt x="10" y="2"/>
                    </a:cubicBezTo>
                    <a:cubicBezTo>
                      <a:pt x="10" y="1"/>
                      <a:pt x="11"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 name="Freeform 28">
                <a:extLst>
                  <a:ext uri="{FF2B5EF4-FFF2-40B4-BE49-F238E27FC236}">
                    <a16:creationId xmlns:a16="http://schemas.microsoft.com/office/drawing/2014/main" id="{6B004006-560E-4F8D-B1F6-8A98F6C04BD8}"/>
                  </a:ext>
                </a:extLst>
              </p:cNvPr>
              <p:cNvSpPr>
                <a:spLocks/>
              </p:cNvSpPr>
              <p:nvPr/>
            </p:nvSpPr>
            <p:spPr bwMode="auto">
              <a:xfrm>
                <a:off x="10319" y="704"/>
                <a:ext cx="19" cy="7"/>
              </a:xfrm>
              <a:custGeom>
                <a:avLst/>
                <a:gdLst>
                  <a:gd name="T0" fmla="*/ 6 w 8"/>
                  <a:gd name="T1" fmla="*/ 0 h 3"/>
                  <a:gd name="T2" fmla="*/ 3 w 8"/>
                  <a:gd name="T3" fmla="*/ 1 h 3"/>
                  <a:gd name="T4" fmla="*/ 2 w 8"/>
                  <a:gd name="T5" fmla="*/ 1 h 3"/>
                  <a:gd name="T6" fmla="*/ 2 w 8"/>
                  <a:gd name="T7" fmla="*/ 1 h 3"/>
                  <a:gd name="T8" fmla="*/ 1 w 8"/>
                  <a:gd name="T9" fmla="*/ 1 h 3"/>
                  <a:gd name="T10" fmla="*/ 0 w 8"/>
                  <a:gd name="T11" fmla="*/ 2 h 3"/>
                  <a:gd name="T12" fmla="*/ 5 w 8"/>
                  <a:gd name="T13" fmla="*/ 3 h 3"/>
                  <a:gd name="T14" fmla="*/ 8 w 8"/>
                  <a:gd name="T15" fmla="*/ 0 h 3"/>
                  <a:gd name="T16" fmla="*/ 6 w 8"/>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
                    <a:moveTo>
                      <a:pt x="6" y="0"/>
                    </a:moveTo>
                    <a:cubicBezTo>
                      <a:pt x="5" y="0"/>
                      <a:pt x="5" y="0"/>
                      <a:pt x="3" y="1"/>
                    </a:cubicBezTo>
                    <a:cubicBezTo>
                      <a:pt x="3" y="1"/>
                      <a:pt x="2" y="1"/>
                      <a:pt x="2" y="1"/>
                    </a:cubicBezTo>
                    <a:cubicBezTo>
                      <a:pt x="2" y="1"/>
                      <a:pt x="2" y="1"/>
                      <a:pt x="2" y="1"/>
                    </a:cubicBezTo>
                    <a:cubicBezTo>
                      <a:pt x="2" y="1"/>
                      <a:pt x="1" y="1"/>
                      <a:pt x="1" y="1"/>
                    </a:cubicBezTo>
                    <a:cubicBezTo>
                      <a:pt x="1" y="1"/>
                      <a:pt x="0" y="1"/>
                      <a:pt x="0" y="2"/>
                    </a:cubicBezTo>
                    <a:cubicBezTo>
                      <a:pt x="2" y="3"/>
                      <a:pt x="4" y="3"/>
                      <a:pt x="5" y="3"/>
                    </a:cubicBezTo>
                    <a:cubicBezTo>
                      <a:pt x="6" y="2"/>
                      <a:pt x="6" y="0"/>
                      <a:pt x="8"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 name="Freeform 29">
                <a:extLst>
                  <a:ext uri="{FF2B5EF4-FFF2-40B4-BE49-F238E27FC236}">
                    <a16:creationId xmlns:a16="http://schemas.microsoft.com/office/drawing/2014/main" id="{F3078EF4-B704-4F23-B213-698BC734B988}"/>
                  </a:ext>
                </a:extLst>
              </p:cNvPr>
              <p:cNvSpPr>
                <a:spLocks/>
              </p:cNvSpPr>
              <p:nvPr/>
            </p:nvSpPr>
            <p:spPr bwMode="auto">
              <a:xfrm>
                <a:off x="10792" y="727"/>
                <a:ext cx="10" cy="7"/>
              </a:xfrm>
              <a:custGeom>
                <a:avLst/>
                <a:gdLst>
                  <a:gd name="T0" fmla="*/ 0 w 4"/>
                  <a:gd name="T1" fmla="*/ 0 h 3"/>
                  <a:gd name="T2" fmla="*/ 0 w 4"/>
                  <a:gd name="T3" fmla="*/ 0 h 3"/>
                  <a:gd name="T4" fmla="*/ 1 w 4"/>
                  <a:gd name="T5" fmla="*/ 3 h 3"/>
                  <a:gd name="T6" fmla="*/ 0 w 4"/>
                  <a:gd name="T7" fmla="*/ 0 h 3"/>
                </a:gdLst>
                <a:ahLst/>
                <a:cxnLst>
                  <a:cxn ang="0">
                    <a:pos x="T0" y="T1"/>
                  </a:cxn>
                  <a:cxn ang="0">
                    <a:pos x="T2" y="T3"/>
                  </a:cxn>
                  <a:cxn ang="0">
                    <a:pos x="T4" y="T5"/>
                  </a:cxn>
                  <a:cxn ang="0">
                    <a:pos x="T6" y="T7"/>
                  </a:cxn>
                </a:cxnLst>
                <a:rect l="0" t="0" r="r" b="b"/>
                <a:pathLst>
                  <a:path w="4" h="3">
                    <a:moveTo>
                      <a:pt x="0" y="0"/>
                    </a:moveTo>
                    <a:cubicBezTo>
                      <a:pt x="0" y="0"/>
                      <a:pt x="0" y="0"/>
                      <a:pt x="0" y="0"/>
                    </a:cubicBezTo>
                    <a:cubicBezTo>
                      <a:pt x="0" y="1"/>
                      <a:pt x="1" y="2"/>
                      <a:pt x="1"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 name="Freeform 30">
                <a:extLst>
                  <a:ext uri="{FF2B5EF4-FFF2-40B4-BE49-F238E27FC236}">
                    <a16:creationId xmlns:a16="http://schemas.microsoft.com/office/drawing/2014/main" id="{E3F6898E-D050-44E4-8B6C-99EC8C9EE828}"/>
                  </a:ext>
                </a:extLst>
              </p:cNvPr>
              <p:cNvSpPr>
                <a:spLocks/>
              </p:cNvSpPr>
              <p:nvPr/>
            </p:nvSpPr>
            <p:spPr bwMode="auto">
              <a:xfrm>
                <a:off x="11036" y="694"/>
                <a:ext cx="7" cy="3"/>
              </a:xfrm>
              <a:custGeom>
                <a:avLst/>
                <a:gdLst>
                  <a:gd name="T0" fmla="*/ 3 w 3"/>
                  <a:gd name="T1" fmla="*/ 0 h 1"/>
                  <a:gd name="T2" fmla="*/ 0 w 3"/>
                  <a:gd name="T3" fmla="*/ 1 h 1"/>
                  <a:gd name="T4" fmla="*/ 1 w 3"/>
                  <a:gd name="T5" fmla="*/ 1 h 1"/>
                  <a:gd name="T6" fmla="*/ 3 w 3"/>
                  <a:gd name="T7" fmla="*/ 0 h 1"/>
                </a:gdLst>
                <a:ahLst/>
                <a:cxnLst>
                  <a:cxn ang="0">
                    <a:pos x="T0" y="T1"/>
                  </a:cxn>
                  <a:cxn ang="0">
                    <a:pos x="T2" y="T3"/>
                  </a:cxn>
                  <a:cxn ang="0">
                    <a:pos x="T4" y="T5"/>
                  </a:cxn>
                  <a:cxn ang="0">
                    <a:pos x="T6" y="T7"/>
                  </a:cxn>
                </a:cxnLst>
                <a:rect l="0" t="0" r="r" b="b"/>
                <a:pathLst>
                  <a:path w="3" h="1">
                    <a:moveTo>
                      <a:pt x="3" y="0"/>
                    </a:moveTo>
                    <a:cubicBezTo>
                      <a:pt x="2" y="0"/>
                      <a:pt x="1" y="1"/>
                      <a:pt x="0" y="1"/>
                    </a:cubicBezTo>
                    <a:cubicBezTo>
                      <a:pt x="0" y="1"/>
                      <a:pt x="1" y="1"/>
                      <a:pt x="1" y="1"/>
                    </a:cubicBezTo>
                    <a:cubicBezTo>
                      <a:pt x="2"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 name="Freeform 31">
                <a:extLst>
                  <a:ext uri="{FF2B5EF4-FFF2-40B4-BE49-F238E27FC236}">
                    <a16:creationId xmlns:a16="http://schemas.microsoft.com/office/drawing/2014/main" id="{8B0486BE-D914-43F7-A174-4AC1BDDD877F}"/>
                  </a:ext>
                </a:extLst>
              </p:cNvPr>
              <p:cNvSpPr>
                <a:spLocks/>
              </p:cNvSpPr>
              <p:nvPr/>
            </p:nvSpPr>
            <p:spPr bwMode="auto">
              <a:xfrm>
                <a:off x="10596" y="732"/>
                <a:ext cx="12" cy="9"/>
              </a:xfrm>
              <a:custGeom>
                <a:avLst/>
                <a:gdLst>
                  <a:gd name="T0" fmla="*/ 2 w 5"/>
                  <a:gd name="T1" fmla="*/ 0 h 4"/>
                  <a:gd name="T2" fmla="*/ 0 w 5"/>
                  <a:gd name="T3" fmla="*/ 1 h 4"/>
                  <a:gd name="T4" fmla="*/ 2 w 5"/>
                  <a:gd name="T5" fmla="*/ 4 h 4"/>
                  <a:gd name="T6" fmla="*/ 3 w 5"/>
                  <a:gd name="T7" fmla="*/ 0 h 4"/>
                  <a:gd name="T8" fmla="*/ 2 w 5"/>
                  <a:gd name="T9" fmla="*/ 0 h 4"/>
                </a:gdLst>
                <a:ahLst/>
                <a:cxnLst>
                  <a:cxn ang="0">
                    <a:pos x="T0" y="T1"/>
                  </a:cxn>
                  <a:cxn ang="0">
                    <a:pos x="T2" y="T3"/>
                  </a:cxn>
                  <a:cxn ang="0">
                    <a:pos x="T4" y="T5"/>
                  </a:cxn>
                  <a:cxn ang="0">
                    <a:pos x="T6" y="T7"/>
                  </a:cxn>
                  <a:cxn ang="0">
                    <a:pos x="T8" y="T9"/>
                  </a:cxn>
                </a:cxnLst>
                <a:rect l="0" t="0" r="r" b="b"/>
                <a:pathLst>
                  <a:path w="5" h="4">
                    <a:moveTo>
                      <a:pt x="2" y="0"/>
                    </a:moveTo>
                    <a:cubicBezTo>
                      <a:pt x="1" y="0"/>
                      <a:pt x="1" y="1"/>
                      <a:pt x="0" y="1"/>
                    </a:cubicBezTo>
                    <a:cubicBezTo>
                      <a:pt x="0" y="2"/>
                      <a:pt x="1" y="3"/>
                      <a:pt x="2" y="4"/>
                    </a:cubicBezTo>
                    <a:cubicBezTo>
                      <a:pt x="4" y="3"/>
                      <a:pt x="5"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 name="Freeform 32">
                <a:extLst>
                  <a:ext uri="{FF2B5EF4-FFF2-40B4-BE49-F238E27FC236}">
                    <a16:creationId xmlns:a16="http://schemas.microsoft.com/office/drawing/2014/main" id="{897EB71E-95CC-47D3-B51B-F8B5FF2A8BDB}"/>
                  </a:ext>
                </a:extLst>
              </p:cNvPr>
              <p:cNvSpPr>
                <a:spLocks/>
              </p:cNvSpPr>
              <p:nvPr/>
            </p:nvSpPr>
            <p:spPr bwMode="auto">
              <a:xfrm>
                <a:off x="10953" y="711"/>
                <a:ext cx="12" cy="7"/>
              </a:xfrm>
              <a:custGeom>
                <a:avLst/>
                <a:gdLst>
                  <a:gd name="T0" fmla="*/ 2 w 5"/>
                  <a:gd name="T1" fmla="*/ 0 h 3"/>
                  <a:gd name="T2" fmla="*/ 1 w 5"/>
                  <a:gd name="T3" fmla="*/ 3 h 3"/>
                  <a:gd name="T4" fmla="*/ 5 w 5"/>
                  <a:gd name="T5" fmla="*/ 1 h 3"/>
                  <a:gd name="T6" fmla="*/ 2 w 5"/>
                  <a:gd name="T7" fmla="*/ 0 h 3"/>
                </a:gdLst>
                <a:ahLst/>
                <a:cxnLst>
                  <a:cxn ang="0">
                    <a:pos x="T0" y="T1"/>
                  </a:cxn>
                  <a:cxn ang="0">
                    <a:pos x="T2" y="T3"/>
                  </a:cxn>
                  <a:cxn ang="0">
                    <a:pos x="T4" y="T5"/>
                  </a:cxn>
                  <a:cxn ang="0">
                    <a:pos x="T6" y="T7"/>
                  </a:cxn>
                </a:cxnLst>
                <a:rect l="0" t="0" r="r" b="b"/>
                <a:pathLst>
                  <a:path w="5" h="3">
                    <a:moveTo>
                      <a:pt x="2" y="0"/>
                    </a:moveTo>
                    <a:cubicBezTo>
                      <a:pt x="1" y="0"/>
                      <a:pt x="0" y="1"/>
                      <a:pt x="1" y="3"/>
                    </a:cubicBezTo>
                    <a:cubicBezTo>
                      <a:pt x="1" y="3"/>
                      <a:pt x="5" y="1"/>
                      <a:pt x="5"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 name="Freeform 33">
                <a:extLst>
                  <a:ext uri="{FF2B5EF4-FFF2-40B4-BE49-F238E27FC236}">
                    <a16:creationId xmlns:a16="http://schemas.microsoft.com/office/drawing/2014/main" id="{CD1EFEC3-8B62-401A-9982-585A9A629401}"/>
                  </a:ext>
                </a:extLst>
              </p:cNvPr>
              <p:cNvSpPr>
                <a:spLocks/>
              </p:cNvSpPr>
              <p:nvPr/>
            </p:nvSpPr>
            <p:spPr bwMode="auto">
              <a:xfrm>
                <a:off x="10953" y="195"/>
                <a:ext cx="12" cy="10"/>
              </a:xfrm>
              <a:custGeom>
                <a:avLst/>
                <a:gdLst>
                  <a:gd name="T0" fmla="*/ 0 w 5"/>
                  <a:gd name="T1" fmla="*/ 1 h 4"/>
                  <a:gd name="T2" fmla="*/ 5 w 5"/>
                  <a:gd name="T3" fmla="*/ 4 h 4"/>
                  <a:gd name="T4" fmla="*/ 0 w 5"/>
                  <a:gd name="T5" fmla="*/ 1 h 4"/>
                </a:gdLst>
                <a:ahLst/>
                <a:cxnLst>
                  <a:cxn ang="0">
                    <a:pos x="T0" y="T1"/>
                  </a:cxn>
                  <a:cxn ang="0">
                    <a:pos x="T2" y="T3"/>
                  </a:cxn>
                  <a:cxn ang="0">
                    <a:pos x="T4" y="T5"/>
                  </a:cxn>
                </a:cxnLst>
                <a:rect l="0" t="0" r="r" b="b"/>
                <a:pathLst>
                  <a:path w="5" h="4">
                    <a:moveTo>
                      <a:pt x="0" y="1"/>
                    </a:moveTo>
                    <a:cubicBezTo>
                      <a:pt x="1" y="2"/>
                      <a:pt x="3" y="3"/>
                      <a:pt x="5" y="4"/>
                    </a:cubicBezTo>
                    <a:cubicBezTo>
                      <a:pt x="3" y="0"/>
                      <a:pt x="3" y="2"/>
                      <a:pt x="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 name="Freeform 34">
                <a:extLst>
                  <a:ext uri="{FF2B5EF4-FFF2-40B4-BE49-F238E27FC236}">
                    <a16:creationId xmlns:a16="http://schemas.microsoft.com/office/drawing/2014/main" id="{F4A48EBE-BEC4-405F-98F7-EFCDB9A80828}"/>
                  </a:ext>
                </a:extLst>
              </p:cNvPr>
              <p:cNvSpPr>
                <a:spLocks noEditPoints="1"/>
              </p:cNvSpPr>
              <p:nvPr/>
            </p:nvSpPr>
            <p:spPr bwMode="auto">
              <a:xfrm>
                <a:off x="10932" y="183"/>
                <a:ext cx="11" cy="10"/>
              </a:xfrm>
              <a:custGeom>
                <a:avLst/>
                <a:gdLst>
                  <a:gd name="T0" fmla="*/ 5 w 5"/>
                  <a:gd name="T1" fmla="*/ 4 h 4"/>
                  <a:gd name="T2" fmla="*/ 5 w 5"/>
                  <a:gd name="T3" fmla="*/ 4 h 4"/>
                  <a:gd name="T4" fmla="*/ 5 w 5"/>
                  <a:gd name="T5" fmla="*/ 4 h 4"/>
                  <a:gd name="T6" fmla="*/ 2 w 5"/>
                  <a:gd name="T7" fmla="*/ 0 h 4"/>
                  <a:gd name="T8" fmla="*/ 1 w 5"/>
                  <a:gd name="T9" fmla="*/ 0 h 4"/>
                  <a:gd name="T10" fmla="*/ 0 w 5"/>
                  <a:gd name="T11" fmla="*/ 1 h 4"/>
                  <a:gd name="T12" fmla="*/ 5 w 5"/>
                  <a:gd name="T13" fmla="*/ 4 h 4"/>
                  <a:gd name="T14" fmla="*/ 2 w 5"/>
                  <a:gd name="T15" fmla="*/ 2 h 4"/>
                  <a:gd name="T16" fmla="*/ 2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5" y="4"/>
                    </a:moveTo>
                    <a:cubicBezTo>
                      <a:pt x="5" y="4"/>
                      <a:pt x="5" y="4"/>
                      <a:pt x="5" y="4"/>
                    </a:cubicBezTo>
                    <a:cubicBezTo>
                      <a:pt x="5" y="4"/>
                      <a:pt x="5" y="4"/>
                      <a:pt x="5" y="4"/>
                    </a:cubicBezTo>
                    <a:moveTo>
                      <a:pt x="2" y="0"/>
                    </a:moveTo>
                    <a:cubicBezTo>
                      <a:pt x="1" y="0"/>
                      <a:pt x="1" y="0"/>
                      <a:pt x="1" y="0"/>
                    </a:cubicBezTo>
                    <a:cubicBezTo>
                      <a:pt x="0" y="1"/>
                      <a:pt x="0" y="1"/>
                      <a:pt x="0" y="1"/>
                    </a:cubicBezTo>
                    <a:cubicBezTo>
                      <a:pt x="2" y="2"/>
                      <a:pt x="3" y="3"/>
                      <a:pt x="5" y="4"/>
                    </a:cubicBezTo>
                    <a:cubicBezTo>
                      <a:pt x="3" y="3"/>
                      <a:pt x="3" y="3"/>
                      <a:pt x="2" y="2"/>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 name="Freeform 35">
                <a:extLst>
                  <a:ext uri="{FF2B5EF4-FFF2-40B4-BE49-F238E27FC236}">
                    <a16:creationId xmlns:a16="http://schemas.microsoft.com/office/drawing/2014/main" id="{0522E97D-660B-4C30-BE64-206864B008D6}"/>
                  </a:ext>
                </a:extLst>
              </p:cNvPr>
              <p:cNvSpPr>
                <a:spLocks/>
              </p:cNvSpPr>
              <p:nvPr/>
            </p:nvSpPr>
            <p:spPr bwMode="auto">
              <a:xfrm>
                <a:off x="10728" y="739"/>
                <a:ext cx="22" cy="12"/>
              </a:xfrm>
              <a:custGeom>
                <a:avLst/>
                <a:gdLst>
                  <a:gd name="T0" fmla="*/ 9 w 9"/>
                  <a:gd name="T1" fmla="*/ 0 h 5"/>
                  <a:gd name="T2" fmla="*/ 0 w 9"/>
                  <a:gd name="T3" fmla="*/ 5 h 5"/>
                  <a:gd name="T4" fmla="*/ 3 w 9"/>
                  <a:gd name="T5" fmla="*/ 4 h 5"/>
                  <a:gd name="T6" fmla="*/ 3 w 9"/>
                  <a:gd name="T7" fmla="*/ 4 h 5"/>
                  <a:gd name="T8" fmla="*/ 5 w 9"/>
                  <a:gd name="T9" fmla="*/ 5 h 5"/>
                  <a:gd name="T10" fmla="*/ 6 w 9"/>
                  <a:gd name="T11" fmla="*/ 5 h 5"/>
                  <a:gd name="T12" fmla="*/ 8 w 9"/>
                  <a:gd name="T13" fmla="*/ 3 h 5"/>
                  <a:gd name="T14" fmla="*/ 9 w 9"/>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9" y="0"/>
                    </a:moveTo>
                    <a:cubicBezTo>
                      <a:pt x="6" y="2"/>
                      <a:pt x="3" y="3"/>
                      <a:pt x="0" y="5"/>
                    </a:cubicBezTo>
                    <a:cubicBezTo>
                      <a:pt x="1" y="5"/>
                      <a:pt x="2" y="4"/>
                      <a:pt x="3" y="4"/>
                    </a:cubicBezTo>
                    <a:cubicBezTo>
                      <a:pt x="3" y="4"/>
                      <a:pt x="3" y="4"/>
                      <a:pt x="3" y="4"/>
                    </a:cubicBezTo>
                    <a:cubicBezTo>
                      <a:pt x="5" y="5"/>
                      <a:pt x="4" y="5"/>
                      <a:pt x="5" y="5"/>
                    </a:cubicBezTo>
                    <a:cubicBezTo>
                      <a:pt x="5" y="5"/>
                      <a:pt x="6" y="5"/>
                      <a:pt x="6" y="5"/>
                    </a:cubicBezTo>
                    <a:cubicBezTo>
                      <a:pt x="8" y="5"/>
                      <a:pt x="7" y="5"/>
                      <a:pt x="8" y="3"/>
                    </a:cubicBezTo>
                    <a:cubicBezTo>
                      <a:pt x="9" y="2"/>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 name="Freeform 36">
                <a:extLst>
                  <a:ext uri="{FF2B5EF4-FFF2-40B4-BE49-F238E27FC236}">
                    <a16:creationId xmlns:a16="http://schemas.microsoft.com/office/drawing/2014/main" id="{1AA8D02E-2A9F-423B-AB8D-594E6DFB5A34}"/>
                  </a:ext>
                </a:extLst>
              </p:cNvPr>
              <p:cNvSpPr>
                <a:spLocks/>
              </p:cNvSpPr>
              <p:nvPr/>
            </p:nvSpPr>
            <p:spPr bwMode="auto">
              <a:xfrm>
                <a:off x="10698" y="737"/>
                <a:ext cx="26" cy="21"/>
              </a:xfrm>
              <a:custGeom>
                <a:avLst/>
                <a:gdLst>
                  <a:gd name="T0" fmla="*/ 4 w 11"/>
                  <a:gd name="T1" fmla="*/ 0 h 9"/>
                  <a:gd name="T2" fmla="*/ 1 w 11"/>
                  <a:gd name="T3" fmla="*/ 1 h 9"/>
                  <a:gd name="T4" fmla="*/ 6 w 11"/>
                  <a:gd name="T5" fmla="*/ 9 h 9"/>
                  <a:gd name="T6" fmla="*/ 8 w 11"/>
                  <a:gd name="T7" fmla="*/ 6 h 9"/>
                  <a:gd name="T8" fmla="*/ 8 w 11"/>
                  <a:gd name="T9" fmla="*/ 4 h 9"/>
                  <a:gd name="T10" fmla="*/ 11 w 11"/>
                  <a:gd name="T11" fmla="*/ 2 h 9"/>
                  <a:gd name="T12" fmla="*/ 10 w 11"/>
                  <a:gd name="T13" fmla="*/ 2 h 9"/>
                  <a:gd name="T14" fmla="*/ 9 w 11"/>
                  <a:gd name="T15" fmla="*/ 2 h 9"/>
                  <a:gd name="T16" fmla="*/ 8 w 11"/>
                  <a:gd name="T17" fmla="*/ 2 h 9"/>
                  <a:gd name="T18" fmla="*/ 7 w 11"/>
                  <a:gd name="T19" fmla="*/ 2 h 9"/>
                  <a:gd name="T20" fmla="*/ 5 w 11"/>
                  <a:gd name="T21" fmla="*/ 0 h 9"/>
                  <a:gd name="T22" fmla="*/ 4 w 1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4" y="0"/>
                    </a:moveTo>
                    <a:cubicBezTo>
                      <a:pt x="3" y="0"/>
                      <a:pt x="1" y="0"/>
                      <a:pt x="1" y="1"/>
                    </a:cubicBezTo>
                    <a:cubicBezTo>
                      <a:pt x="0" y="2"/>
                      <a:pt x="5" y="7"/>
                      <a:pt x="6" y="9"/>
                    </a:cubicBezTo>
                    <a:cubicBezTo>
                      <a:pt x="7" y="8"/>
                      <a:pt x="7" y="7"/>
                      <a:pt x="8" y="6"/>
                    </a:cubicBezTo>
                    <a:cubicBezTo>
                      <a:pt x="8" y="5"/>
                      <a:pt x="8" y="4"/>
                      <a:pt x="8" y="4"/>
                    </a:cubicBezTo>
                    <a:cubicBezTo>
                      <a:pt x="9" y="3"/>
                      <a:pt x="11" y="4"/>
                      <a:pt x="11" y="2"/>
                    </a:cubicBezTo>
                    <a:cubicBezTo>
                      <a:pt x="11" y="2"/>
                      <a:pt x="11" y="2"/>
                      <a:pt x="10" y="2"/>
                    </a:cubicBezTo>
                    <a:cubicBezTo>
                      <a:pt x="10" y="2"/>
                      <a:pt x="10" y="2"/>
                      <a:pt x="9" y="2"/>
                    </a:cubicBezTo>
                    <a:cubicBezTo>
                      <a:pt x="9" y="2"/>
                      <a:pt x="9" y="2"/>
                      <a:pt x="8" y="2"/>
                    </a:cubicBezTo>
                    <a:cubicBezTo>
                      <a:pt x="8" y="2"/>
                      <a:pt x="7" y="2"/>
                      <a:pt x="7" y="2"/>
                    </a:cubicBezTo>
                    <a:cubicBezTo>
                      <a:pt x="6" y="2"/>
                      <a:pt x="6" y="1"/>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 name="Freeform 37">
                <a:extLst>
                  <a:ext uri="{FF2B5EF4-FFF2-40B4-BE49-F238E27FC236}">
                    <a16:creationId xmlns:a16="http://schemas.microsoft.com/office/drawing/2014/main" id="{73FBE71E-6DB6-4707-88EF-84CA6FD5AAF0}"/>
                  </a:ext>
                </a:extLst>
              </p:cNvPr>
              <p:cNvSpPr>
                <a:spLocks/>
              </p:cNvSpPr>
              <p:nvPr/>
            </p:nvSpPr>
            <p:spPr bwMode="auto">
              <a:xfrm>
                <a:off x="10556" y="753"/>
                <a:ext cx="38" cy="19"/>
              </a:xfrm>
              <a:custGeom>
                <a:avLst/>
                <a:gdLst>
                  <a:gd name="T0" fmla="*/ 1 w 16"/>
                  <a:gd name="T1" fmla="*/ 0 h 8"/>
                  <a:gd name="T2" fmla="*/ 0 w 16"/>
                  <a:gd name="T3" fmla="*/ 0 h 8"/>
                  <a:gd name="T4" fmla="*/ 12 w 16"/>
                  <a:gd name="T5" fmla="*/ 8 h 8"/>
                  <a:gd name="T6" fmla="*/ 15 w 16"/>
                  <a:gd name="T7" fmla="*/ 7 h 8"/>
                  <a:gd name="T8" fmla="*/ 16 w 16"/>
                  <a:gd name="T9" fmla="*/ 7 h 8"/>
                  <a:gd name="T10" fmla="*/ 9 w 16"/>
                  <a:gd name="T11" fmla="*/ 4 h 8"/>
                  <a:gd name="T12" fmla="*/ 6 w 16"/>
                  <a:gd name="T13" fmla="*/ 2 h 8"/>
                  <a:gd name="T14" fmla="*/ 1 w 1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8">
                    <a:moveTo>
                      <a:pt x="1" y="0"/>
                    </a:moveTo>
                    <a:cubicBezTo>
                      <a:pt x="1" y="0"/>
                      <a:pt x="1" y="0"/>
                      <a:pt x="0" y="0"/>
                    </a:cubicBezTo>
                    <a:cubicBezTo>
                      <a:pt x="4" y="3"/>
                      <a:pt x="8" y="5"/>
                      <a:pt x="12" y="8"/>
                    </a:cubicBezTo>
                    <a:cubicBezTo>
                      <a:pt x="13" y="8"/>
                      <a:pt x="14" y="7"/>
                      <a:pt x="15" y="7"/>
                    </a:cubicBezTo>
                    <a:cubicBezTo>
                      <a:pt x="15" y="7"/>
                      <a:pt x="16" y="7"/>
                      <a:pt x="16" y="7"/>
                    </a:cubicBezTo>
                    <a:cubicBezTo>
                      <a:pt x="14" y="6"/>
                      <a:pt x="11" y="6"/>
                      <a:pt x="9" y="4"/>
                    </a:cubicBezTo>
                    <a:cubicBezTo>
                      <a:pt x="8" y="3"/>
                      <a:pt x="7" y="3"/>
                      <a:pt x="6" y="2"/>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 name="Freeform 38">
                <a:extLst>
                  <a:ext uri="{FF2B5EF4-FFF2-40B4-BE49-F238E27FC236}">
                    <a16:creationId xmlns:a16="http://schemas.microsoft.com/office/drawing/2014/main" id="{75163394-AD95-4E65-97A6-8C9072666A10}"/>
                  </a:ext>
                </a:extLst>
              </p:cNvPr>
              <p:cNvSpPr>
                <a:spLocks/>
              </p:cNvSpPr>
              <p:nvPr/>
            </p:nvSpPr>
            <p:spPr bwMode="auto">
              <a:xfrm>
                <a:off x="3932" y="1061"/>
                <a:ext cx="26" cy="11"/>
              </a:xfrm>
              <a:custGeom>
                <a:avLst/>
                <a:gdLst>
                  <a:gd name="T0" fmla="*/ 0 w 11"/>
                  <a:gd name="T1" fmla="*/ 0 h 5"/>
                  <a:gd name="T2" fmla="*/ 11 w 11"/>
                  <a:gd name="T3" fmla="*/ 5 h 5"/>
                  <a:gd name="T4" fmla="*/ 0 w 11"/>
                  <a:gd name="T5" fmla="*/ 0 h 5"/>
                </a:gdLst>
                <a:ahLst/>
                <a:cxnLst>
                  <a:cxn ang="0">
                    <a:pos x="T0" y="T1"/>
                  </a:cxn>
                  <a:cxn ang="0">
                    <a:pos x="T2" y="T3"/>
                  </a:cxn>
                  <a:cxn ang="0">
                    <a:pos x="T4" y="T5"/>
                  </a:cxn>
                </a:cxnLst>
                <a:rect l="0" t="0" r="r" b="b"/>
                <a:pathLst>
                  <a:path w="11" h="5">
                    <a:moveTo>
                      <a:pt x="0" y="0"/>
                    </a:moveTo>
                    <a:cubicBezTo>
                      <a:pt x="1" y="4"/>
                      <a:pt x="7" y="4"/>
                      <a:pt x="11" y="5"/>
                    </a:cubicBezTo>
                    <a:cubicBezTo>
                      <a:pt x="7"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 name="Freeform 39">
                <a:extLst>
                  <a:ext uri="{FF2B5EF4-FFF2-40B4-BE49-F238E27FC236}">
                    <a16:creationId xmlns:a16="http://schemas.microsoft.com/office/drawing/2014/main" id="{BE7632C9-5EC0-42F1-AD04-7F1AE8BD02A5}"/>
                  </a:ext>
                </a:extLst>
              </p:cNvPr>
              <p:cNvSpPr>
                <a:spLocks/>
              </p:cNvSpPr>
              <p:nvPr/>
            </p:nvSpPr>
            <p:spPr bwMode="auto">
              <a:xfrm>
                <a:off x="4901" y="1458"/>
                <a:ext cx="2" cy="16"/>
              </a:xfrm>
              <a:custGeom>
                <a:avLst/>
                <a:gdLst>
                  <a:gd name="T0" fmla="*/ 1 w 1"/>
                  <a:gd name="T1" fmla="*/ 0 h 7"/>
                  <a:gd name="T2" fmla="*/ 1 w 1"/>
                  <a:gd name="T3" fmla="*/ 7 h 7"/>
                  <a:gd name="T4" fmla="*/ 1 w 1"/>
                  <a:gd name="T5" fmla="*/ 0 h 7"/>
                </a:gdLst>
                <a:ahLst/>
                <a:cxnLst>
                  <a:cxn ang="0">
                    <a:pos x="T0" y="T1"/>
                  </a:cxn>
                  <a:cxn ang="0">
                    <a:pos x="T2" y="T3"/>
                  </a:cxn>
                  <a:cxn ang="0">
                    <a:pos x="T4" y="T5"/>
                  </a:cxn>
                </a:cxnLst>
                <a:rect l="0" t="0" r="r" b="b"/>
                <a:pathLst>
                  <a:path w="1" h="7">
                    <a:moveTo>
                      <a:pt x="1" y="0"/>
                    </a:moveTo>
                    <a:cubicBezTo>
                      <a:pt x="0" y="2"/>
                      <a:pt x="1" y="6"/>
                      <a:pt x="1" y="7"/>
                    </a:cubicBezTo>
                    <a:cubicBezTo>
                      <a:pt x="1" y="5"/>
                      <a:pt x="1"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 name="Freeform 40">
                <a:extLst>
                  <a:ext uri="{FF2B5EF4-FFF2-40B4-BE49-F238E27FC236}">
                    <a16:creationId xmlns:a16="http://schemas.microsoft.com/office/drawing/2014/main" id="{1217639A-CF35-4379-B135-F47A044FAA20}"/>
                  </a:ext>
                </a:extLst>
              </p:cNvPr>
              <p:cNvSpPr>
                <a:spLocks/>
              </p:cNvSpPr>
              <p:nvPr/>
            </p:nvSpPr>
            <p:spPr bwMode="auto">
              <a:xfrm>
                <a:off x="3670" y="1401"/>
                <a:ext cx="14" cy="2"/>
              </a:xfrm>
              <a:custGeom>
                <a:avLst/>
                <a:gdLst>
                  <a:gd name="T0" fmla="*/ 6 w 6"/>
                  <a:gd name="T1" fmla="*/ 0 h 1"/>
                  <a:gd name="T2" fmla="*/ 0 w 6"/>
                  <a:gd name="T3" fmla="*/ 1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1"/>
                      <a:pt x="0" y="1"/>
                    </a:cubicBezTo>
                    <a:cubicBezTo>
                      <a:pt x="0" y="1"/>
                      <a:pt x="1" y="1"/>
                      <a:pt x="2" y="1"/>
                    </a:cubicBezTo>
                    <a:cubicBezTo>
                      <a:pt x="4" y="1"/>
                      <a:pt x="5"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 name="Freeform 41">
                <a:extLst>
                  <a:ext uri="{FF2B5EF4-FFF2-40B4-BE49-F238E27FC236}">
                    <a16:creationId xmlns:a16="http://schemas.microsoft.com/office/drawing/2014/main" id="{E8016C81-204F-4186-9A6E-4E9897EAAFD2}"/>
                  </a:ext>
                </a:extLst>
              </p:cNvPr>
              <p:cNvSpPr>
                <a:spLocks/>
              </p:cNvSpPr>
              <p:nvPr/>
            </p:nvSpPr>
            <p:spPr bwMode="auto">
              <a:xfrm>
                <a:off x="3696" y="-1297"/>
                <a:ext cx="33" cy="19"/>
              </a:xfrm>
              <a:custGeom>
                <a:avLst/>
                <a:gdLst>
                  <a:gd name="T0" fmla="*/ 5 w 14"/>
                  <a:gd name="T1" fmla="*/ 0 h 8"/>
                  <a:gd name="T2" fmla="*/ 9 w 14"/>
                  <a:gd name="T3" fmla="*/ 8 h 8"/>
                  <a:gd name="T4" fmla="*/ 13 w 14"/>
                  <a:gd name="T5" fmla="*/ 7 h 8"/>
                  <a:gd name="T6" fmla="*/ 14 w 14"/>
                  <a:gd name="T7" fmla="*/ 5 h 8"/>
                  <a:gd name="T8" fmla="*/ 8 w 14"/>
                  <a:gd name="T9" fmla="*/ 2 h 8"/>
                  <a:gd name="T10" fmla="*/ 6 w 14"/>
                  <a:gd name="T11" fmla="*/ 0 h 8"/>
                  <a:gd name="T12" fmla="*/ 5 w 1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4" h="8">
                    <a:moveTo>
                      <a:pt x="5" y="0"/>
                    </a:moveTo>
                    <a:cubicBezTo>
                      <a:pt x="0" y="0"/>
                      <a:pt x="8" y="7"/>
                      <a:pt x="9" y="8"/>
                    </a:cubicBezTo>
                    <a:cubicBezTo>
                      <a:pt x="10" y="8"/>
                      <a:pt x="12" y="8"/>
                      <a:pt x="13" y="7"/>
                    </a:cubicBezTo>
                    <a:cubicBezTo>
                      <a:pt x="13" y="7"/>
                      <a:pt x="13" y="6"/>
                      <a:pt x="14" y="5"/>
                    </a:cubicBezTo>
                    <a:cubicBezTo>
                      <a:pt x="12" y="4"/>
                      <a:pt x="10" y="4"/>
                      <a:pt x="8" y="2"/>
                    </a:cubicBezTo>
                    <a:cubicBezTo>
                      <a:pt x="7" y="2"/>
                      <a:pt x="7" y="0"/>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 name="Freeform 42">
                <a:extLst>
                  <a:ext uri="{FF2B5EF4-FFF2-40B4-BE49-F238E27FC236}">
                    <a16:creationId xmlns:a16="http://schemas.microsoft.com/office/drawing/2014/main" id="{0951C1F5-CF49-4114-B981-21940C2962EC}"/>
                  </a:ext>
                </a:extLst>
              </p:cNvPr>
              <p:cNvSpPr>
                <a:spLocks/>
              </p:cNvSpPr>
              <p:nvPr/>
            </p:nvSpPr>
            <p:spPr bwMode="auto">
              <a:xfrm>
                <a:off x="3665" y="-1441"/>
                <a:ext cx="76" cy="88"/>
              </a:xfrm>
              <a:custGeom>
                <a:avLst/>
                <a:gdLst>
                  <a:gd name="T0" fmla="*/ 0 w 32"/>
                  <a:gd name="T1" fmla="*/ 0 h 37"/>
                  <a:gd name="T2" fmla="*/ 0 w 32"/>
                  <a:gd name="T3" fmla="*/ 37 h 37"/>
                  <a:gd name="T4" fmla="*/ 3 w 32"/>
                  <a:gd name="T5" fmla="*/ 36 h 37"/>
                  <a:gd name="T6" fmla="*/ 6 w 32"/>
                  <a:gd name="T7" fmla="*/ 32 h 37"/>
                  <a:gd name="T8" fmla="*/ 5 w 32"/>
                  <a:gd name="T9" fmla="*/ 28 h 37"/>
                  <a:gd name="T10" fmla="*/ 8 w 32"/>
                  <a:gd name="T11" fmla="*/ 26 h 37"/>
                  <a:gd name="T12" fmla="*/ 18 w 32"/>
                  <a:gd name="T13" fmla="*/ 22 h 37"/>
                  <a:gd name="T14" fmla="*/ 27 w 32"/>
                  <a:gd name="T15" fmla="*/ 17 h 37"/>
                  <a:gd name="T16" fmla="*/ 31 w 32"/>
                  <a:gd name="T17" fmla="*/ 14 h 37"/>
                  <a:gd name="T18" fmla="*/ 29 w 32"/>
                  <a:gd name="T19" fmla="*/ 12 h 37"/>
                  <a:gd name="T20" fmla="*/ 31 w 32"/>
                  <a:gd name="T21" fmla="*/ 6 h 37"/>
                  <a:gd name="T22" fmla="*/ 0 w 32"/>
                  <a:gd name="T2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7">
                    <a:moveTo>
                      <a:pt x="0" y="0"/>
                    </a:moveTo>
                    <a:cubicBezTo>
                      <a:pt x="0" y="37"/>
                      <a:pt x="0" y="37"/>
                      <a:pt x="0" y="37"/>
                    </a:cubicBezTo>
                    <a:cubicBezTo>
                      <a:pt x="1" y="37"/>
                      <a:pt x="2" y="36"/>
                      <a:pt x="3" y="36"/>
                    </a:cubicBezTo>
                    <a:cubicBezTo>
                      <a:pt x="5" y="35"/>
                      <a:pt x="4" y="33"/>
                      <a:pt x="6" y="32"/>
                    </a:cubicBezTo>
                    <a:cubicBezTo>
                      <a:pt x="9" y="31"/>
                      <a:pt x="5" y="29"/>
                      <a:pt x="5" y="28"/>
                    </a:cubicBezTo>
                    <a:cubicBezTo>
                      <a:pt x="4" y="26"/>
                      <a:pt x="7" y="26"/>
                      <a:pt x="8" y="26"/>
                    </a:cubicBezTo>
                    <a:cubicBezTo>
                      <a:pt x="12" y="25"/>
                      <a:pt x="15" y="24"/>
                      <a:pt x="18" y="22"/>
                    </a:cubicBezTo>
                    <a:cubicBezTo>
                      <a:pt x="21" y="20"/>
                      <a:pt x="23" y="18"/>
                      <a:pt x="27" y="17"/>
                    </a:cubicBezTo>
                    <a:cubicBezTo>
                      <a:pt x="29" y="17"/>
                      <a:pt x="32" y="16"/>
                      <a:pt x="31" y="14"/>
                    </a:cubicBezTo>
                    <a:cubicBezTo>
                      <a:pt x="31" y="13"/>
                      <a:pt x="29" y="13"/>
                      <a:pt x="29" y="12"/>
                    </a:cubicBezTo>
                    <a:cubicBezTo>
                      <a:pt x="29" y="10"/>
                      <a:pt x="31" y="7"/>
                      <a:pt x="31" y="6"/>
                    </a:cubicBezTo>
                    <a:cubicBezTo>
                      <a:pt x="21" y="4"/>
                      <a:pt x="1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 name="Freeform 43">
                <a:extLst>
                  <a:ext uri="{FF2B5EF4-FFF2-40B4-BE49-F238E27FC236}">
                    <a16:creationId xmlns:a16="http://schemas.microsoft.com/office/drawing/2014/main" id="{C6367999-2054-4C8D-B4FA-FAADA517453E}"/>
                  </a:ext>
                </a:extLst>
              </p:cNvPr>
              <p:cNvSpPr>
                <a:spLocks/>
              </p:cNvSpPr>
              <p:nvPr/>
            </p:nvSpPr>
            <p:spPr bwMode="auto">
              <a:xfrm>
                <a:off x="3941" y="-1438"/>
                <a:ext cx="86" cy="14"/>
              </a:xfrm>
              <a:custGeom>
                <a:avLst/>
                <a:gdLst>
                  <a:gd name="T0" fmla="*/ 36 w 36"/>
                  <a:gd name="T1" fmla="*/ 0 h 6"/>
                  <a:gd name="T2" fmla="*/ 0 w 36"/>
                  <a:gd name="T3" fmla="*/ 6 h 6"/>
                  <a:gd name="T4" fmla="*/ 19 w 36"/>
                  <a:gd name="T5" fmla="*/ 4 h 6"/>
                  <a:gd name="T6" fmla="*/ 28 w 36"/>
                  <a:gd name="T7" fmla="*/ 2 h 6"/>
                  <a:gd name="T8" fmla="*/ 36 w 36"/>
                  <a:gd name="T9" fmla="*/ 0 h 6"/>
                </a:gdLst>
                <a:ahLst/>
                <a:cxnLst>
                  <a:cxn ang="0">
                    <a:pos x="T0" y="T1"/>
                  </a:cxn>
                  <a:cxn ang="0">
                    <a:pos x="T2" y="T3"/>
                  </a:cxn>
                  <a:cxn ang="0">
                    <a:pos x="T4" y="T5"/>
                  </a:cxn>
                  <a:cxn ang="0">
                    <a:pos x="T6" y="T7"/>
                  </a:cxn>
                  <a:cxn ang="0">
                    <a:pos x="T8" y="T9"/>
                  </a:cxn>
                </a:cxnLst>
                <a:rect l="0" t="0" r="r" b="b"/>
                <a:pathLst>
                  <a:path w="36" h="6">
                    <a:moveTo>
                      <a:pt x="36" y="0"/>
                    </a:moveTo>
                    <a:cubicBezTo>
                      <a:pt x="24" y="2"/>
                      <a:pt x="12" y="4"/>
                      <a:pt x="0" y="6"/>
                    </a:cubicBezTo>
                    <a:cubicBezTo>
                      <a:pt x="6" y="6"/>
                      <a:pt x="13" y="5"/>
                      <a:pt x="19" y="4"/>
                    </a:cubicBezTo>
                    <a:cubicBezTo>
                      <a:pt x="22" y="3"/>
                      <a:pt x="25" y="3"/>
                      <a:pt x="28" y="2"/>
                    </a:cubicBezTo>
                    <a:cubicBezTo>
                      <a:pt x="30" y="2"/>
                      <a:pt x="34" y="2"/>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 name="Freeform 44">
                <a:extLst>
                  <a:ext uri="{FF2B5EF4-FFF2-40B4-BE49-F238E27FC236}">
                    <a16:creationId xmlns:a16="http://schemas.microsoft.com/office/drawing/2014/main" id="{46746A0D-7862-4500-8B98-227CEEE3FB3A}"/>
                  </a:ext>
                </a:extLst>
              </p:cNvPr>
              <p:cNvSpPr>
                <a:spLocks/>
              </p:cNvSpPr>
              <p:nvPr/>
            </p:nvSpPr>
            <p:spPr bwMode="auto">
              <a:xfrm>
                <a:off x="3769" y="-1311"/>
                <a:ext cx="80" cy="14"/>
              </a:xfrm>
              <a:custGeom>
                <a:avLst/>
                <a:gdLst>
                  <a:gd name="T0" fmla="*/ 14 w 34"/>
                  <a:gd name="T1" fmla="*/ 0 h 6"/>
                  <a:gd name="T2" fmla="*/ 0 w 34"/>
                  <a:gd name="T3" fmla="*/ 5 h 6"/>
                  <a:gd name="T4" fmla="*/ 4 w 34"/>
                  <a:gd name="T5" fmla="*/ 6 h 6"/>
                  <a:gd name="T6" fmla="*/ 11 w 34"/>
                  <a:gd name="T7" fmla="*/ 3 h 6"/>
                  <a:gd name="T8" fmla="*/ 12 w 34"/>
                  <a:gd name="T9" fmla="*/ 3 h 6"/>
                  <a:gd name="T10" fmla="*/ 12 w 34"/>
                  <a:gd name="T11" fmla="*/ 3 h 6"/>
                  <a:gd name="T12" fmla="*/ 15 w 34"/>
                  <a:gd name="T13" fmla="*/ 3 h 6"/>
                  <a:gd name="T14" fmla="*/ 18 w 34"/>
                  <a:gd name="T15" fmla="*/ 2 h 6"/>
                  <a:gd name="T16" fmla="*/ 19 w 34"/>
                  <a:gd name="T17" fmla="*/ 2 h 6"/>
                  <a:gd name="T18" fmla="*/ 26 w 34"/>
                  <a:gd name="T19" fmla="*/ 5 h 6"/>
                  <a:gd name="T20" fmla="*/ 27 w 34"/>
                  <a:gd name="T21" fmla="*/ 5 h 6"/>
                  <a:gd name="T22" fmla="*/ 34 w 34"/>
                  <a:gd name="T23" fmla="*/ 3 h 6"/>
                  <a:gd name="T24" fmla="*/ 15 w 34"/>
                  <a:gd name="T25" fmla="*/ 0 h 6"/>
                  <a:gd name="T26" fmla="*/ 14 w 34"/>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6">
                    <a:moveTo>
                      <a:pt x="14" y="0"/>
                    </a:moveTo>
                    <a:cubicBezTo>
                      <a:pt x="9" y="0"/>
                      <a:pt x="5" y="3"/>
                      <a:pt x="0" y="5"/>
                    </a:cubicBezTo>
                    <a:cubicBezTo>
                      <a:pt x="1" y="6"/>
                      <a:pt x="3" y="6"/>
                      <a:pt x="4" y="6"/>
                    </a:cubicBezTo>
                    <a:cubicBezTo>
                      <a:pt x="6" y="5"/>
                      <a:pt x="9" y="3"/>
                      <a:pt x="11" y="3"/>
                    </a:cubicBezTo>
                    <a:cubicBezTo>
                      <a:pt x="11" y="3"/>
                      <a:pt x="12" y="3"/>
                      <a:pt x="12" y="3"/>
                    </a:cubicBezTo>
                    <a:cubicBezTo>
                      <a:pt x="12" y="3"/>
                      <a:pt x="12" y="3"/>
                      <a:pt x="12" y="3"/>
                    </a:cubicBezTo>
                    <a:cubicBezTo>
                      <a:pt x="13" y="3"/>
                      <a:pt x="14" y="3"/>
                      <a:pt x="15" y="3"/>
                    </a:cubicBezTo>
                    <a:cubicBezTo>
                      <a:pt x="16" y="3"/>
                      <a:pt x="17" y="2"/>
                      <a:pt x="18" y="2"/>
                    </a:cubicBezTo>
                    <a:cubicBezTo>
                      <a:pt x="18" y="2"/>
                      <a:pt x="19" y="2"/>
                      <a:pt x="19" y="2"/>
                    </a:cubicBezTo>
                    <a:cubicBezTo>
                      <a:pt x="21" y="3"/>
                      <a:pt x="24" y="5"/>
                      <a:pt x="26" y="5"/>
                    </a:cubicBezTo>
                    <a:cubicBezTo>
                      <a:pt x="26" y="5"/>
                      <a:pt x="26" y="5"/>
                      <a:pt x="27" y="5"/>
                    </a:cubicBezTo>
                    <a:cubicBezTo>
                      <a:pt x="29" y="5"/>
                      <a:pt x="31" y="3"/>
                      <a:pt x="34" y="3"/>
                    </a:cubicBezTo>
                    <a:cubicBezTo>
                      <a:pt x="28" y="1"/>
                      <a:pt x="21" y="1"/>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 name="Freeform 45">
                <a:extLst>
                  <a:ext uri="{FF2B5EF4-FFF2-40B4-BE49-F238E27FC236}">
                    <a16:creationId xmlns:a16="http://schemas.microsoft.com/office/drawing/2014/main" id="{2BAA8479-EC12-4502-8F91-AE6E3084712D}"/>
                  </a:ext>
                </a:extLst>
              </p:cNvPr>
              <p:cNvSpPr>
                <a:spLocks/>
              </p:cNvSpPr>
              <p:nvPr/>
            </p:nvSpPr>
            <p:spPr bwMode="auto">
              <a:xfrm>
                <a:off x="4523" y="2917"/>
                <a:ext cx="23" cy="7"/>
              </a:xfrm>
              <a:custGeom>
                <a:avLst/>
                <a:gdLst>
                  <a:gd name="T0" fmla="*/ 0 w 10"/>
                  <a:gd name="T1" fmla="*/ 0 h 3"/>
                  <a:gd name="T2" fmla="*/ 10 w 10"/>
                  <a:gd name="T3" fmla="*/ 3 h 3"/>
                  <a:gd name="T4" fmla="*/ 0 w 10"/>
                  <a:gd name="T5" fmla="*/ 0 h 3"/>
                  <a:gd name="T6" fmla="*/ 0 w 10"/>
                  <a:gd name="T7" fmla="*/ 0 h 3"/>
                </a:gdLst>
                <a:ahLst/>
                <a:cxnLst>
                  <a:cxn ang="0">
                    <a:pos x="T0" y="T1"/>
                  </a:cxn>
                  <a:cxn ang="0">
                    <a:pos x="T2" y="T3"/>
                  </a:cxn>
                  <a:cxn ang="0">
                    <a:pos x="T4" y="T5"/>
                  </a:cxn>
                  <a:cxn ang="0">
                    <a:pos x="T6" y="T7"/>
                  </a:cxn>
                </a:cxnLst>
                <a:rect l="0" t="0" r="r" b="b"/>
                <a:pathLst>
                  <a:path w="10" h="3">
                    <a:moveTo>
                      <a:pt x="0" y="0"/>
                    </a:moveTo>
                    <a:cubicBezTo>
                      <a:pt x="3" y="1"/>
                      <a:pt x="7" y="2"/>
                      <a:pt x="10" y="3"/>
                    </a:cubicBezTo>
                    <a:cubicBezTo>
                      <a:pt x="7" y="2"/>
                      <a:pt x="4"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 name="Freeform 46">
                <a:extLst>
                  <a:ext uri="{FF2B5EF4-FFF2-40B4-BE49-F238E27FC236}">
                    <a16:creationId xmlns:a16="http://schemas.microsoft.com/office/drawing/2014/main" id="{EC9F9C72-48DF-4B4C-846A-4C1FF750ABE0}"/>
                  </a:ext>
                </a:extLst>
              </p:cNvPr>
              <p:cNvSpPr>
                <a:spLocks/>
              </p:cNvSpPr>
              <p:nvPr/>
            </p:nvSpPr>
            <p:spPr bwMode="auto">
              <a:xfrm>
                <a:off x="7179" y="3250"/>
                <a:ext cx="14" cy="2"/>
              </a:xfrm>
              <a:custGeom>
                <a:avLst/>
                <a:gdLst>
                  <a:gd name="T0" fmla="*/ 5 w 6"/>
                  <a:gd name="T1" fmla="*/ 0 h 1"/>
                  <a:gd name="T2" fmla="*/ 0 w 6"/>
                  <a:gd name="T3" fmla="*/ 1 h 1"/>
                  <a:gd name="T4" fmla="*/ 6 w 6"/>
                  <a:gd name="T5" fmla="*/ 0 h 1"/>
                  <a:gd name="T6" fmla="*/ 5 w 6"/>
                  <a:gd name="T7" fmla="*/ 0 h 1"/>
                </a:gdLst>
                <a:ahLst/>
                <a:cxnLst>
                  <a:cxn ang="0">
                    <a:pos x="T0" y="T1"/>
                  </a:cxn>
                  <a:cxn ang="0">
                    <a:pos x="T2" y="T3"/>
                  </a:cxn>
                  <a:cxn ang="0">
                    <a:pos x="T4" y="T5"/>
                  </a:cxn>
                  <a:cxn ang="0">
                    <a:pos x="T6" y="T7"/>
                  </a:cxn>
                </a:cxnLst>
                <a:rect l="0" t="0" r="r" b="b"/>
                <a:pathLst>
                  <a:path w="6" h="1">
                    <a:moveTo>
                      <a:pt x="5" y="0"/>
                    </a:moveTo>
                    <a:cubicBezTo>
                      <a:pt x="3" y="0"/>
                      <a:pt x="1" y="0"/>
                      <a:pt x="0" y="1"/>
                    </a:cubicBezTo>
                    <a:cubicBezTo>
                      <a:pt x="2" y="1"/>
                      <a:pt x="4" y="1"/>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 name="Freeform 47">
                <a:extLst>
                  <a:ext uri="{FF2B5EF4-FFF2-40B4-BE49-F238E27FC236}">
                    <a16:creationId xmlns:a16="http://schemas.microsoft.com/office/drawing/2014/main" id="{A03846F3-3B08-4F52-BB81-0BA645288959}"/>
                  </a:ext>
                </a:extLst>
              </p:cNvPr>
              <p:cNvSpPr>
                <a:spLocks noEditPoints="1"/>
              </p:cNvSpPr>
              <p:nvPr/>
            </p:nvSpPr>
            <p:spPr bwMode="auto">
              <a:xfrm>
                <a:off x="4395" y="2541"/>
                <a:ext cx="7" cy="12"/>
              </a:xfrm>
              <a:custGeom>
                <a:avLst/>
                <a:gdLst>
                  <a:gd name="T0" fmla="*/ 2 w 3"/>
                  <a:gd name="T1" fmla="*/ 0 h 5"/>
                  <a:gd name="T2" fmla="*/ 1 w 3"/>
                  <a:gd name="T3" fmla="*/ 3 h 5"/>
                  <a:gd name="T4" fmla="*/ 3 w 3"/>
                  <a:gd name="T5" fmla="*/ 5 h 5"/>
                  <a:gd name="T6" fmla="*/ 2 w 3"/>
                  <a:gd name="T7" fmla="*/ 0 h 5"/>
                  <a:gd name="T8" fmla="*/ 1 w 3"/>
                  <a:gd name="T9" fmla="*/ 0 h 5"/>
                  <a:gd name="T10" fmla="*/ 2 w 3"/>
                  <a:gd name="T11" fmla="*/ 0 h 5"/>
                  <a:gd name="T12" fmla="*/ 1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2"/>
                      <a:pt x="0" y="1"/>
                      <a:pt x="1" y="3"/>
                    </a:cubicBezTo>
                    <a:cubicBezTo>
                      <a:pt x="1" y="4"/>
                      <a:pt x="3" y="4"/>
                      <a:pt x="3" y="5"/>
                    </a:cubicBezTo>
                    <a:cubicBezTo>
                      <a:pt x="3" y="3"/>
                      <a:pt x="2" y="2"/>
                      <a:pt x="2" y="0"/>
                    </a:cubicBezTo>
                    <a:moveTo>
                      <a:pt x="1" y="0"/>
                    </a:moveTo>
                    <a:cubicBezTo>
                      <a:pt x="1" y="0"/>
                      <a:pt x="1"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 name="Freeform 48">
                <a:extLst>
                  <a:ext uri="{FF2B5EF4-FFF2-40B4-BE49-F238E27FC236}">
                    <a16:creationId xmlns:a16="http://schemas.microsoft.com/office/drawing/2014/main" id="{73670E5A-B493-4135-AA28-ED4D907F1CE9}"/>
                  </a:ext>
                </a:extLst>
              </p:cNvPr>
              <p:cNvSpPr>
                <a:spLocks/>
              </p:cNvSpPr>
              <p:nvPr/>
            </p:nvSpPr>
            <p:spPr bwMode="auto">
              <a:xfrm>
                <a:off x="4402" y="2550"/>
                <a:ext cx="10" cy="10"/>
              </a:xfrm>
              <a:custGeom>
                <a:avLst/>
                <a:gdLst>
                  <a:gd name="T0" fmla="*/ 2 w 4"/>
                  <a:gd name="T1" fmla="*/ 0 h 4"/>
                  <a:gd name="T2" fmla="*/ 0 w 4"/>
                  <a:gd name="T3" fmla="*/ 1 h 4"/>
                  <a:gd name="T4" fmla="*/ 4 w 4"/>
                  <a:gd name="T5" fmla="*/ 4 h 4"/>
                  <a:gd name="T6" fmla="*/ 2 w 4"/>
                  <a:gd name="T7" fmla="*/ 0 h 4"/>
                </a:gdLst>
                <a:ahLst/>
                <a:cxnLst>
                  <a:cxn ang="0">
                    <a:pos x="T0" y="T1"/>
                  </a:cxn>
                  <a:cxn ang="0">
                    <a:pos x="T2" y="T3"/>
                  </a:cxn>
                  <a:cxn ang="0">
                    <a:pos x="T4" y="T5"/>
                  </a:cxn>
                  <a:cxn ang="0">
                    <a:pos x="T6" y="T7"/>
                  </a:cxn>
                </a:cxnLst>
                <a:rect l="0" t="0" r="r" b="b"/>
                <a:pathLst>
                  <a:path w="4" h="4">
                    <a:moveTo>
                      <a:pt x="2" y="0"/>
                    </a:moveTo>
                    <a:cubicBezTo>
                      <a:pt x="2" y="0"/>
                      <a:pt x="1" y="0"/>
                      <a:pt x="0" y="1"/>
                    </a:cubicBezTo>
                    <a:cubicBezTo>
                      <a:pt x="2" y="2"/>
                      <a:pt x="3" y="3"/>
                      <a:pt x="4" y="4"/>
                    </a:cubicBezTo>
                    <a:cubicBezTo>
                      <a:pt x="4" y="3"/>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 name="Freeform 49">
                <a:extLst>
                  <a:ext uri="{FF2B5EF4-FFF2-40B4-BE49-F238E27FC236}">
                    <a16:creationId xmlns:a16="http://schemas.microsoft.com/office/drawing/2014/main" id="{22837207-5555-4D0D-A275-FF8811AB0820}"/>
                  </a:ext>
                </a:extLst>
              </p:cNvPr>
              <p:cNvSpPr>
                <a:spLocks/>
              </p:cNvSpPr>
              <p:nvPr/>
            </p:nvSpPr>
            <p:spPr bwMode="auto">
              <a:xfrm>
                <a:off x="4393" y="2545"/>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2" y="1"/>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 name="Freeform 50">
                <a:extLst>
                  <a:ext uri="{FF2B5EF4-FFF2-40B4-BE49-F238E27FC236}">
                    <a16:creationId xmlns:a16="http://schemas.microsoft.com/office/drawing/2014/main" id="{6375649D-D717-4CB6-8A7C-C74E946ECCE1}"/>
                  </a:ext>
                </a:extLst>
              </p:cNvPr>
              <p:cNvSpPr>
                <a:spLocks/>
              </p:cNvSpPr>
              <p:nvPr/>
            </p:nvSpPr>
            <p:spPr bwMode="auto">
              <a:xfrm>
                <a:off x="4398" y="2550"/>
                <a:ext cx="4" cy="3"/>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 name="Freeform 51">
                <a:extLst>
                  <a:ext uri="{FF2B5EF4-FFF2-40B4-BE49-F238E27FC236}">
                    <a16:creationId xmlns:a16="http://schemas.microsoft.com/office/drawing/2014/main" id="{3EA77DEB-259C-472E-BA04-53F2289CDB5F}"/>
                  </a:ext>
                </a:extLst>
              </p:cNvPr>
              <p:cNvSpPr>
                <a:spLocks noEditPoints="1"/>
              </p:cNvSpPr>
              <p:nvPr/>
            </p:nvSpPr>
            <p:spPr bwMode="auto">
              <a:xfrm>
                <a:off x="8084" y="2853"/>
                <a:ext cx="40" cy="28"/>
              </a:xfrm>
              <a:custGeom>
                <a:avLst/>
                <a:gdLst>
                  <a:gd name="T0" fmla="*/ 1 w 17"/>
                  <a:gd name="T1" fmla="*/ 8 h 12"/>
                  <a:gd name="T2" fmla="*/ 1 w 17"/>
                  <a:gd name="T3" fmla="*/ 8 h 12"/>
                  <a:gd name="T4" fmla="*/ 1 w 17"/>
                  <a:gd name="T5" fmla="*/ 8 h 12"/>
                  <a:gd name="T6" fmla="*/ 10 w 17"/>
                  <a:gd name="T7" fmla="*/ 0 h 12"/>
                  <a:gd name="T8" fmla="*/ 6 w 17"/>
                  <a:gd name="T9" fmla="*/ 3 h 12"/>
                  <a:gd name="T10" fmla="*/ 1 w 17"/>
                  <a:gd name="T11" fmla="*/ 8 h 12"/>
                  <a:gd name="T12" fmla="*/ 1 w 17"/>
                  <a:gd name="T13" fmla="*/ 8 h 12"/>
                  <a:gd name="T14" fmla="*/ 2 w 17"/>
                  <a:gd name="T15" fmla="*/ 9 h 12"/>
                  <a:gd name="T16" fmla="*/ 2 w 17"/>
                  <a:gd name="T17" fmla="*/ 10 h 12"/>
                  <a:gd name="T18" fmla="*/ 2 w 17"/>
                  <a:gd name="T19" fmla="*/ 10 h 12"/>
                  <a:gd name="T20" fmla="*/ 6 w 17"/>
                  <a:gd name="T21" fmla="*/ 12 h 12"/>
                  <a:gd name="T22" fmla="*/ 15 w 17"/>
                  <a:gd name="T23" fmla="*/ 9 h 12"/>
                  <a:gd name="T24" fmla="*/ 16 w 17"/>
                  <a:gd name="T25" fmla="*/ 7 h 12"/>
                  <a:gd name="T26" fmla="*/ 15 w 17"/>
                  <a:gd name="T27" fmla="*/ 7 h 12"/>
                  <a:gd name="T28" fmla="*/ 16 w 17"/>
                  <a:gd name="T29" fmla="*/ 6 h 12"/>
                  <a:gd name="T30" fmla="*/ 15 w 17"/>
                  <a:gd name="T31" fmla="*/ 3 h 12"/>
                  <a:gd name="T32" fmla="*/ 11 w 17"/>
                  <a:gd name="T33" fmla="*/ 0 h 12"/>
                  <a:gd name="T34" fmla="*/ 10 w 17"/>
                  <a:gd name="T3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2">
                    <a:moveTo>
                      <a:pt x="1" y="8"/>
                    </a:moveTo>
                    <a:cubicBezTo>
                      <a:pt x="1" y="8"/>
                      <a:pt x="1" y="8"/>
                      <a:pt x="1" y="8"/>
                    </a:cubicBezTo>
                    <a:cubicBezTo>
                      <a:pt x="1" y="8"/>
                      <a:pt x="1" y="8"/>
                      <a:pt x="1" y="8"/>
                    </a:cubicBezTo>
                    <a:moveTo>
                      <a:pt x="10" y="0"/>
                    </a:moveTo>
                    <a:cubicBezTo>
                      <a:pt x="8" y="0"/>
                      <a:pt x="7" y="2"/>
                      <a:pt x="6" y="3"/>
                    </a:cubicBezTo>
                    <a:cubicBezTo>
                      <a:pt x="4" y="5"/>
                      <a:pt x="0" y="5"/>
                      <a:pt x="1" y="8"/>
                    </a:cubicBezTo>
                    <a:cubicBezTo>
                      <a:pt x="1" y="8"/>
                      <a:pt x="1" y="8"/>
                      <a:pt x="1" y="8"/>
                    </a:cubicBezTo>
                    <a:cubicBezTo>
                      <a:pt x="1" y="8"/>
                      <a:pt x="1" y="9"/>
                      <a:pt x="2" y="9"/>
                    </a:cubicBezTo>
                    <a:cubicBezTo>
                      <a:pt x="2" y="10"/>
                      <a:pt x="2" y="10"/>
                      <a:pt x="2" y="10"/>
                    </a:cubicBezTo>
                    <a:cubicBezTo>
                      <a:pt x="2" y="10"/>
                      <a:pt x="2" y="10"/>
                      <a:pt x="2" y="10"/>
                    </a:cubicBezTo>
                    <a:cubicBezTo>
                      <a:pt x="3" y="11"/>
                      <a:pt x="4" y="11"/>
                      <a:pt x="6" y="12"/>
                    </a:cubicBezTo>
                    <a:cubicBezTo>
                      <a:pt x="9" y="11"/>
                      <a:pt x="13" y="10"/>
                      <a:pt x="15" y="9"/>
                    </a:cubicBezTo>
                    <a:cubicBezTo>
                      <a:pt x="17" y="8"/>
                      <a:pt x="16" y="8"/>
                      <a:pt x="16" y="7"/>
                    </a:cubicBezTo>
                    <a:cubicBezTo>
                      <a:pt x="15" y="7"/>
                      <a:pt x="15" y="7"/>
                      <a:pt x="15" y="7"/>
                    </a:cubicBezTo>
                    <a:cubicBezTo>
                      <a:pt x="16" y="6"/>
                      <a:pt x="16" y="6"/>
                      <a:pt x="16" y="6"/>
                    </a:cubicBezTo>
                    <a:cubicBezTo>
                      <a:pt x="16" y="5"/>
                      <a:pt x="16" y="4"/>
                      <a:pt x="15" y="3"/>
                    </a:cubicBezTo>
                    <a:cubicBezTo>
                      <a:pt x="15" y="2"/>
                      <a:pt x="12" y="1"/>
                      <a:pt x="11" y="0"/>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 name="Freeform 52">
                <a:extLst>
                  <a:ext uri="{FF2B5EF4-FFF2-40B4-BE49-F238E27FC236}">
                    <a16:creationId xmlns:a16="http://schemas.microsoft.com/office/drawing/2014/main" id="{3EC97661-9965-47C9-A81F-532FA0B4A605}"/>
                  </a:ext>
                </a:extLst>
              </p:cNvPr>
              <p:cNvSpPr>
                <a:spLocks/>
              </p:cNvSpPr>
              <p:nvPr/>
            </p:nvSpPr>
            <p:spPr bwMode="auto">
              <a:xfrm>
                <a:off x="8108" y="2744"/>
                <a:ext cx="63" cy="69"/>
              </a:xfrm>
              <a:custGeom>
                <a:avLst/>
                <a:gdLst>
                  <a:gd name="T0" fmla="*/ 15 w 27"/>
                  <a:gd name="T1" fmla="*/ 0 h 29"/>
                  <a:gd name="T2" fmla="*/ 11 w 27"/>
                  <a:gd name="T3" fmla="*/ 0 h 29"/>
                  <a:gd name="T4" fmla="*/ 0 w 27"/>
                  <a:gd name="T5" fmla="*/ 0 h 29"/>
                  <a:gd name="T6" fmla="*/ 7 w 27"/>
                  <a:gd name="T7" fmla="*/ 9 h 29"/>
                  <a:gd name="T8" fmla="*/ 15 w 27"/>
                  <a:gd name="T9" fmla="*/ 16 h 29"/>
                  <a:gd name="T10" fmla="*/ 14 w 27"/>
                  <a:gd name="T11" fmla="*/ 18 h 29"/>
                  <a:gd name="T12" fmla="*/ 15 w 27"/>
                  <a:gd name="T13" fmla="*/ 24 h 29"/>
                  <a:gd name="T14" fmla="*/ 18 w 27"/>
                  <a:gd name="T15" fmla="*/ 28 h 29"/>
                  <a:gd name="T16" fmla="*/ 19 w 27"/>
                  <a:gd name="T17" fmla="*/ 29 h 29"/>
                  <a:gd name="T18" fmla="*/ 20 w 27"/>
                  <a:gd name="T19" fmla="*/ 28 h 29"/>
                  <a:gd name="T20" fmla="*/ 20 w 27"/>
                  <a:gd name="T21" fmla="*/ 28 h 29"/>
                  <a:gd name="T22" fmla="*/ 21 w 27"/>
                  <a:gd name="T23" fmla="*/ 28 h 29"/>
                  <a:gd name="T24" fmla="*/ 24 w 27"/>
                  <a:gd name="T25" fmla="*/ 29 h 29"/>
                  <a:gd name="T26" fmla="*/ 24 w 27"/>
                  <a:gd name="T27" fmla="*/ 28 h 29"/>
                  <a:gd name="T28" fmla="*/ 25 w 27"/>
                  <a:gd name="T29" fmla="*/ 28 h 29"/>
                  <a:gd name="T30" fmla="*/ 26 w 27"/>
                  <a:gd name="T31" fmla="*/ 28 h 29"/>
                  <a:gd name="T32" fmla="*/ 27 w 27"/>
                  <a:gd name="T33" fmla="*/ 28 h 29"/>
                  <a:gd name="T34" fmla="*/ 24 w 27"/>
                  <a:gd name="T35" fmla="*/ 27 h 29"/>
                  <a:gd name="T36" fmla="*/ 26 w 27"/>
                  <a:gd name="T37" fmla="*/ 24 h 29"/>
                  <a:gd name="T38" fmla="*/ 25 w 27"/>
                  <a:gd name="T39" fmla="*/ 15 h 29"/>
                  <a:gd name="T40" fmla="*/ 24 w 27"/>
                  <a:gd name="T41" fmla="*/ 8 h 29"/>
                  <a:gd name="T42" fmla="*/ 24 w 27"/>
                  <a:gd name="T43" fmla="*/ 7 h 29"/>
                  <a:gd name="T44" fmla="*/ 22 w 27"/>
                  <a:gd name="T45" fmla="*/ 6 h 29"/>
                  <a:gd name="T46" fmla="*/ 20 w 27"/>
                  <a:gd name="T47" fmla="*/ 4 h 29"/>
                  <a:gd name="T48" fmla="*/ 21 w 27"/>
                  <a:gd name="T49" fmla="*/ 3 h 29"/>
                  <a:gd name="T50" fmla="*/ 18 w 27"/>
                  <a:gd name="T51" fmla="*/ 0 h 29"/>
                  <a:gd name="T52" fmla="*/ 15 w 27"/>
                  <a:gd name="T5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9">
                    <a:moveTo>
                      <a:pt x="15" y="0"/>
                    </a:moveTo>
                    <a:cubicBezTo>
                      <a:pt x="14" y="0"/>
                      <a:pt x="12" y="0"/>
                      <a:pt x="11" y="0"/>
                    </a:cubicBezTo>
                    <a:cubicBezTo>
                      <a:pt x="8" y="0"/>
                      <a:pt x="4" y="0"/>
                      <a:pt x="0" y="0"/>
                    </a:cubicBezTo>
                    <a:cubicBezTo>
                      <a:pt x="2" y="5"/>
                      <a:pt x="3" y="6"/>
                      <a:pt x="7" y="9"/>
                    </a:cubicBezTo>
                    <a:cubicBezTo>
                      <a:pt x="9" y="11"/>
                      <a:pt x="13" y="14"/>
                      <a:pt x="15" y="16"/>
                    </a:cubicBezTo>
                    <a:cubicBezTo>
                      <a:pt x="14" y="17"/>
                      <a:pt x="14" y="17"/>
                      <a:pt x="14" y="18"/>
                    </a:cubicBezTo>
                    <a:cubicBezTo>
                      <a:pt x="14" y="20"/>
                      <a:pt x="14" y="22"/>
                      <a:pt x="15" y="24"/>
                    </a:cubicBezTo>
                    <a:cubicBezTo>
                      <a:pt x="16" y="25"/>
                      <a:pt x="17" y="27"/>
                      <a:pt x="18" y="28"/>
                    </a:cubicBezTo>
                    <a:cubicBezTo>
                      <a:pt x="19" y="29"/>
                      <a:pt x="19" y="29"/>
                      <a:pt x="19" y="29"/>
                    </a:cubicBezTo>
                    <a:cubicBezTo>
                      <a:pt x="19" y="29"/>
                      <a:pt x="19" y="29"/>
                      <a:pt x="20" y="28"/>
                    </a:cubicBezTo>
                    <a:cubicBezTo>
                      <a:pt x="20" y="28"/>
                      <a:pt x="20" y="28"/>
                      <a:pt x="20" y="28"/>
                    </a:cubicBezTo>
                    <a:cubicBezTo>
                      <a:pt x="21" y="28"/>
                      <a:pt x="21" y="28"/>
                      <a:pt x="21" y="28"/>
                    </a:cubicBezTo>
                    <a:cubicBezTo>
                      <a:pt x="22" y="28"/>
                      <a:pt x="23" y="28"/>
                      <a:pt x="24" y="29"/>
                    </a:cubicBezTo>
                    <a:cubicBezTo>
                      <a:pt x="24" y="28"/>
                      <a:pt x="24" y="28"/>
                      <a:pt x="24" y="28"/>
                    </a:cubicBezTo>
                    <a:cubicBezTo>
                      <a:pt x="25" y="28"/>
                      <a:pt x="25" y="28"/>
                      <a:pt x="25" y="28"/>
                    </a:cubicBezTo>
                    <a:cubicBezTo>
                      <a:pt x="25" y="28"/>
                      <a:pt x="25" y="28"/>
                      <a:pt x="26" y="28"/>
                    </a:cubicBezTo>
                    <a:cubicBezTo>
                      <a:pt x="26" y="28"/>
                      <a:pt x="26" y="28"/>
                      <a:pt x="27" y="28"/>
                    </a:cubicBezTo>
                    <a:cubicBezTo>
                      <a:pt x="26" y="27"/>
                      <a:pt x="25" y="27"/>
                      <a:pt x="24" y="27"/>
                    </a:cubicBezTo>
                    <a:cubicBezTo>
                      <a:pt x="25" y="26"/>
                      <a:pt x="26" y="25"/>
                      <a:pt x="26" y="24"/>
                    </a:cubicBezTo>
                    <a:cubicBezTo>
                      <a:pt x="27" y="22"/>
                      <a:pt x="25" y="17"/>
                      <a:pt x="25" y="15"/>
                    </a:cubicBezTo>
                    <a:cubicBezTo>
                      <a:pt x="24" y="14"/>
                      <a:pt x="23" y="8"/>
                      <a:pt x="24" y="8"/>
                    </a:cubicBezTo>
                    <a:cubicBezTo>
                      <a:pt x="24" y="7"/>
                      <a:pt x="24" y="7"/>
                      <a:pt x="24" y="7"/>
                    </a:cubicBezTo>
                    <a:cubicBezTo>
                      <a:pt x="23" y="7"/>
                      <a:pt x="23" y="7"/>
                      <a:pt x="22" y="6"/>
                    </a:cubicBezTo>
                    <a:cubicBezTo>
                      <a:pt x="19" y="5"/>
                      <a:pt x="21" y="6"/>
                      <a:pt x="20" y="4"/>
                    </a:cubicBezTo>
                    <a:cubicBezTo>
                      <a:pt x="20" y="3"/>
                      <a:pt x="20" y="3"/>
                      <a:pt x="21" y="3"/>
                    </a:cubicBezTo>
                    <a:cubicBezTo>
                      <a:pt x="20" y="2"/>
                      <a:pt x="19" y="1"/>
                      <a:pt x="18" y="0"/>
                    </a:cubicBezTo>
                    <a:cubicBezTo>
                      <a:pt x="17"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 name="Freeform 53">
                <a:extLst>
                  <a:ext uri="{FF2B5EF4-FFF2-40B4-BE49-F238E27FC236}">
                    <a16:creationId xmlns:a16="http://schemas.microsoft.com/office/drawing/2014/main" id="{2EBD12D9-B1A4-465C-9E1A-800FDBF76617}"/>
                  </a:ext>
                </a:extLst>
              </p:cNvPr>
              <p:cNvSpPr>
                <a:spLocks/>
              </p:cNvSpPr>
              <p:nvPr/>
            </p:nvSpPr>
            <p:spPr bwMode="auto">
              <a:xfrm>
                <a:off x="8110" y="2791"/>
                <a:ext cx="43" cy="69"/>
              </a:xfrm>
              <a:custGeom>
                <a:avLst/>
                <a:gdLst>
                  <a:gd name="T0" fmla="*/ 0 w 18"/>
                  <a:gd name="T1" fmla="*/ 0 h 29"/>
                  <a:gd name="T2" fmla="*/ 1 w 18"/>
                  <a:gd name="T3" fmla="*/ 5 h 29"/>
                  <a:gd name="T4" fmla="*/ 1 w 18"/>
                  <a:gd name="T5" fmla="*/ 9 h 29"/>
                  <a:gd name="T6" fmla="*/ 2 w 18"/>
                  <a:gd name="T7" fmla="*/ 12 h 29"/>
                  <a:gd name="T8" fmla="*/ 2 w 18"/>
                  <a:gd name="T9" fmla="*/ 11 h 29"/>
                  <a:gd name="T10" fmla="*/ 3 w 18"/>
                  <a:gd name="T11" fmla="*/ 13 h 29"/>
                  <a:gd name="T12" fmla="*/ 4 w 18"/>
                  <a:gd name="T13" fmla="*/ 12 h 29"/>
                  <a:gd name="T14" fmla="*/ 6 w 18"/>
                  <a:gd name="T15" fmla="*/ 10 h 29"/>
                  <a:gd name="T16" fmla="*/ 6 w 18"/>
                  <a:gd name="T17" fmla="*/ 10 h 29"/>
                  <a:gd name="T18" fmla="*/ 9 w 18"/>
                  <a:gd name="T19" fmla="*/ 26 h 29"/>
                  <a:gd name="T20" fmla="*/ 14 w 18"/>
                  <a:gd name="T21" fmla="*/ 29 h 29"/>
                  <a:gd name="T22" fmla="*/ 13 w 18"/>
                  <a:gd name="T23" fmla="*/ 22 h 29"/>
                  <a:gd name="T24" fmla="*/ 16 w 18"/>
                  <a:gd name="T25" fmla="*/ 26 h 29"/>
                  <a:gd name="T26" fmla="*/ 18 w 18"/>
                  <a:gd name="T27" fmla="*/ 23 h 29"/>
                  <a:gd name="T28" fmla="*/ 16 w 18"/>
                  <a:gd name="T29" fmla="*/ 17 h 29"/>
                  <a:gd name="T30" fmla="*/ 13 w 18"/>
                  <a:gd name="T31" fmla="*/ 3 h 29"/>
                  <a:gd name="T32" fmla="*/ 7 w 18"/>
                  <a:gd name="T33" fmla="*/ 4 h 29"/>
                  <a:gd name="T34" fmla="*/ 5 w 18"/>
                  <a:gd name="T35" fmla="*/ 4 h 29"/>
                  <a:gd name="T36" fmla="*/ 0 w 18"/>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9">
                    <a:moveTo>
                      <a:pt x="0" y="0"/>
                    </a:moveTo>
                    <a:cubicBezTo>
                      <a:pt x="0" y="2"/>
                      <a:pt x="1" y="4"/>
                      <a:pt x="1" y="5"/>
                    </a:cubicBezTo>
                    <a:cubicBezTo>
                      <a:pt x="2" y="6"/>
                      <a:pt x="1" y="8"/>
                      <a:pt x="1" y="9"/>
                    </a:cubicBezTo>
                    <a:cubicBezTo>
                      <a:pt x="1" y="10"/>
                      <a:pt x="1" y="12"/>
                      <a:pt x="2" y="12"/>
                    </a:cubicBezTo>
                    <a:cubicBezTo>
                      <a:pt x="2" y="12"/>
                      <a:pt x="2" y="12"/>
                      <a:pt x="2" y="11"/>
                    </a:cubicBezTo>
                    <a:cubicBezTo>
                      <a:pt x="2" y="12"/>
                      <a:pt x="3" y="13"/>
                      <a:pt x="3" y="13"/>
                    </a:cubicBezTo>
                    <a:cubicBezTo>
                      <a:pt x="3" y="13"/>
                      <a:pt x="4" y="12"/>
                      <a:pt x="4" y="12"/>
                    </a:cubicBezTo>
                    <a:cubicBezTo>
                      <a:pt x="5" y="11"/>
                      <a:pt x="5" y="10"/>
                      <a:pt x="6" y="10"/>
                    </a:cubicBezTo>
                    <a:cubicBezTo>
                      <a:pt x="6" y="10"/>
                      <a:pt x="6" y="10"/>
                      <a:pt x="6" y="10"/>
                    </a:cubicBezTo>
                    <a:cubicBezTo>
                      <a:pt x="11" y="11"/>
                      <a:pt x="9" y="24"/>
                      <a:pt x="9" y="26"/>
                    </a:cubicBezTo>
                    <a:cubicBezTo>
                      <a:pt x="10" y="27"/>
                      <a:pt x="12" y="28"/>
                      <a:pt x="14" y="29"/>
                    </a:cubicBezTo>
                    <a:cubicBezTo>
                      <a:pt x="14" y="26"/>
                      <a:pt x="12" y="25"/>
                      <a:pt x="13" y="22"/>
                    </a:cubicBezTo>
                    <a:cubicBezTo>
                      <a:pt x="14" y="24"/>
                      <a:pt x="15" y="25"/>
                      <a:pt x="16" y="26"/>
                    </a:cubicBezTo>
                    <a:cubicBezTo>
                      <a:pt x="17" y="25"/>
                      <a:pt x="18" y="24"/>
                      <a:pt x="18" y="23"/>
                    </a:cubicBezTo>
                    <a:cubicBezTo>
                      <a:pt x="18" y="21"/>
                      <a:pt x="17" y="18"/>
                      <a:pt x="16" y="17"/>
                    </a:cubicBezTo>
                    <a:cubicBezTo>
                      <a:pt x="12" y="14"/>
                      <a:pt x="13" y="8"/>
                      <a:pt x="13" y="3"/>
                    </a:cubicBezTo>
                    <a:cubicBezTo>
                      <a:pt x="11" y="3"/>
                      <a:pt x="9" y="4"/>
                      <a:pt x="7" y="4"/>
                    </a:cubicBezTo>
                    <a:cubicBezTo>
                      <a:pt x="6" y="4"/>
                      <a:pt x="5" y="4"/>
                      <a:pt x="5" y="4"/>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 name="Freeform 54">
                <a:extLst>
                  <a:ext uri="{FF2B5EF4-FFF2-40B4-BE49-F238E27FC236}">
                    <a16:creationId xmlns:a16="http://schemas.microsoft.com/office/drawing/2014/main" id="{EA290E19-5E3D-46D5-897F-0645856DACF9}"/>
                  </a:ext>
                </a:extLst>
              </p:cNvPr>
              <p:cNvSpPr>
                <a:spLocks/>
              </p:cNvSpPr>
              <p:nvPr/>
            </p:nvSpPr>
            <p:spPr bwMode="auto">
              <a:xfrm>
                <a:off x="7897" y="2465"/>
                <a:ext cx="208" cy="279"/>
              </a:xfrm>
              <a:custGeom>
                <a:avLst/>
                <a:gdLst>
                  <a:gd name="T0" fmla="*/ 23 w 88"/>
                  <a:gd name="T1" fmla="*/ 2 h 118"/>
                  <a:gd name="T2" fmla="*/ 21 w 88"/>
                  <a:gd name="T3" fmla="*/ 1 h 118"/>
                  <a:gd name="T4" fmla="*/ 20 w 88"/>
                  <a:gd name="T5" fmla="*/ 1 h 118"/>
                  <a:gd name="T6" fmla="*/ 18 w 88"/>
                  <a:gd name="T7" fmla="*/ 7 h 118"/>
                  <a:gd name="T8" fmla="*/ 16 w 88"/>
                  <a:gd name="T9" fmla="*/ 32 h 118"/>
                  <a:gd name="T10" fmla="*/ 15 w 88"/>
                  <a:gd name="T11" fmla="*/ 49 h 118"/>
                  <a:gd name="T12" fmla="*/ 12 w 88"/>
                  <a:gd name="T13" fmla="*/ 51 h 118"/>
                  <a:gd name="T14" fmla="*/ 6 w 88"/>
                  <a:gd name="T15" fmla="*/ 44 h 118"/>
                  <a:gd name="T16" fmla="*/ 6 w 88"/>
                  <a:gd name="T17" fmla="*/ 58 h 118"/>
                  <a:gd name="T18" fmla="*/ 10 w 88"/>
                  <a:gd name="T19" fmla="*/ 75 h 118"/>
                  <a:gd name="T20" fmla="*/ 15 w 88"/>
                  <a:gd name="T21" fmla="*/ 79 h 118"/>
                  <a:gd name="T22" fmla="*/ 16 w 88"/>
                  <a:gd name="T23" fmla="*/ 82 h 118"/>
                  <a:gd name="T24" fmla="*/ 18 w 88"/>
                  <a:gd name="T25" fmla="*/ 74 h 118"/>
                  <a:gd name="T26" fmla="*/ 27 w 88"/>
                  <a:gd name="T27" fmla="*/ 74 h 118"/>
                  <a:gd name="T28" fmla="*/ 27 w 88"/>
                  <a:gd name="T29" fmla="*/ 84 h 118"/>
                  <a:gd name="T30" fmla="*/ 19 w 88"/>
                  <a:gd name="T31" fmla="*/ 87 h 118"/>
                  <a:gd name="T32" fmla="*/ 22 w 88"/>
                  <a:gd name="T33" fmla="*/ 92 h 118"/>
                  <a:gd name="T34" fmla="*/ 25 w 88"/>
                  <a:gd name="T35" fmla="*/ 96 h 118"/>
                  <a:gd name="T36" fmla="*/ 32 w 88"/>
                  <a:gd name="T37" fmla="*/ 98 h 118"/>
                  <a:gd name="T38" fmla="*/ 36 w 88"/>
                  <a:gd name="T39" fmla="*/ 93 h 118"/>
                  <a:gd name="T40" fmla="*/ 45 w 88"/>
                  <a:gd name="T41" fmla="*/ 93 h 118"/>
                  <a:gd name="T42" fmla="*/ 52 w 88"/>
                  <a:gd name="T43" fmla="*/ 98 h 118"/>
                  <a:gd name="T44" fmla="*/ 52 w 88"/>
                  <a:gd name="T45" fmla="*/ 98 h 118"/>
                  <a:gd name="T46" fmla="*/ 56 w 88"/>
                  <a:gd name="T47" fmla="*/ 96 h 118"/>
                  <a:gd name="T48" fmla="*/ 56 w 88"/>
                  <a:gd name="T49" fmla="*/ 91 h 118"/>
                  <a:gd name="T50" fmla="*/ 69 w 88"/>
                  <a:gd name="T51" fmla="*/ 103 h 118"/>
                  <a:gd name="T52" fmla="*/ 75 w 88"/>
                  <a:gd name="T53" fmla="*/ 110 h 118"/>
                  <a:gd name="T54" fmla="*/ 82 w 88"/>
                  <a:gd name="T55" fmla="*/ 111 h 118"/>
                  <a:gd name="T56" fmla="*/ 83 w 88"/>
                  <a:gd name="T57" fmla="*/ 110 h 118"/>
                  <a:gd name="T58" fmla="*/ 84 w 88"/>
                  <a:gd name="T59" fmla="*/ 110 h 118"/>
                  <a:gd name="T60" fmla="*/ 83 w 88"/>
                  <a:gd name="T61" fmla="*/ 113 h 118"/>
                  <a:gd name="T62" fmla="*/ 82 w 88"/>
                  <a:gd name="T63" fmla="*/ 113 h 118"/>
                  <a:gd name="T64" fmla="*/ 81 w 88"/>
                  <a:gd name="T65" fmla="*/ 113 h 118"/>
                  <a:gd name="T66" fmla="*/ 88 w 88"/>
                  <a:gd name="T67" fmla="*/ 109 h 118"/>
                  <a:gd name="T68" fmla="*/ 83 w 88"/>
                  <a:gd name="T69" fmla="*/ 107 h 118"/>
                  <a:gd name="T70" fmla="*/ 82 w 88"/>
                  <a:gd name="T71" fmla="*/ 105 h 118"/>
                  <a:gd name="T72" fmla="*/ 76 w 88"/>
                  <a:gd name="T73" fmla="*/ 96 h 118"/>
                  <a:gd name="T74" fmla="*/ 79 w 88"/>
                  <a:gd name="T75" fmla="*/ 96 h 118"/>
                  <a:gd name="T76" fmla="*/ 81 w 88"/>
                  <a:gd name="T77" fmla="*/ 96 h 118"/>
                  <a:gd name="T78" fmla="*/ 84 w 88"/>
                  <a:gd name="T79" fmla="*/ 96 h 118"/>
                  <a:gd name="T80" fmla="*/ 72 w 88"/>
                  <a:gd name="T81" fmla="*/ 88 h 118"/>
                  <a:gd name="T82" fmla="*/ 71 w 88"/>
                  <a:gd name="T83" fmla="*/ 93 h 118"/>
                  <a:gd name="T84" fmla="*/ 66 w 88"/>
                  <a:gd name="T85" fmla="*/ 89 h 118"/>
                  <a:gd name="T86" fmla="*/ 57 w 88"/>
                  <a:gd name="T87" fmla="*/ 83 h 118"/>
                  <a:gd name="T88" fmla="*/ 51 w 88"/>
                  <a:gd name="T89" fmla="*/ 91 h 118"/>
                  <a:gd name="T90" fmla="*/ 50 w 88"/>
                  <a:gd name="T91" fmla="*/ 92 h 118"/>
                  <a:gd name="T92" fmla="*/ 41 w 88"/>
                  <a:gd name="T93" fmla="*/ 84 h 118"/>
                  <a:gd name="T94" fmla="*/ 38 w 88"/>
                  <a:gd name="T95" fmla="*/ 71 h 118"/>
                  <a:gd name="T96" fmla="*/ 39 w 88"/>
                  <a:gd name="T97" fmla="*/ 56 h 118"/>
                  <a:gd name="T98" fmla="*/ 38 w 88"/>
                  <a:gd name="T99" fmla="*/ 56 h 118"/>
                  <a:gd name="T100" fmla="*/ 38 w 88"/>
                  <a:gd name="T101" fmla="*/ 56 h 118"/>
                  <a:gd name="T102" fmla="*/ 47 w 88"/>
                  <a:gd name="T103" fmla="*/ 50 h 118"/>
                  <a:gd name="T104" fmla="*/ 55 w 88"/>
                  <a:gd name="T105" fmla="*/ 31 h 118"/>
                  <a:gd name="T106" fmla="*/ 50 w 88"/>
                  <a:gd name="T107" fmla="*/ 21 h 118"/>
                  <a:gd name="T108" fmla="*/ 51 w 88"/>
                  <a:gd name="T109" fmla="*/ 2 h 118"/>
                  <a:gd name="T110" fmla="*/ 45 w 88"/>
                  <a:gd name="T111" fmla="*/ 7 h 118"/>
                  <a:gd name="T112" fmla="*/ 42 w 88"/>
                  <a:gd name="T113" fmla="*/ 7 h 118"/>
                  <a:gd name="T114" fmla="*/ 27 w 88"/>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 h="118">
                    <a:moveTo>
                      <a:pt x="27" y="0"/>
                    </a:moveTo>
                    <a:cubicBezTo>
                      <a:pt x="25" y="1"/>
                      <a:pt x="24" y="1"/>
                      <a:pt x="23" y="2"/>
                    </a:cubicBezTo>
                    <a:cubicBezTo>
                      <a:pt x="22" y="2"/>
                      <a:pt x="22" y="2"/>
                      <a:pt x="22" y="2"/>
                    </a:cubicBezTo>
                    <a:cubicBezTo>
                      <a:pt x="22" y="2"/>
                      <a:pt x="22" y="2"/>
                      <a:pt x="21" y="1"/>
                    </a:cubicBezTo>
                    <a:cubicBezTo>
                      <a:pt x="21" y="1"/>
                      <a:pt x="21" y="1"/>
                      <a:pt x="20" y="1"/>
                    </a:cubicBezTo>
                    <a:cubicBezTo>
                      <a:pt x="20" y="1"/>
                      <a:pt x="20" y="1"/>
                      <a:pt x="20" y="1"/>
                    </a:cubicBezTo>
                    <a:cubicBezTo>
                      <a:pt x="19" y="2"/>
                      <a:pt x="19" y="2"/>
                      <a:pt x="19" y="2"/>
                    </a:cubicBezTo>
                    <a:cubicBezTo>
                      <a:pt x="18" y="3"/>
                      <a:pt x="18" y="6"/>
                      <a:pt x="18" y="7"/>
                    </a:cubicBezTo>
                    <a:cubicBezTo>
                      <a:pt x="17" y="9"/>
                      <a:pt x="16" y="12"/>
                      <a:pt x="16" y="14"/>
                    </a:cubicBezTo>
                    <a:cubicBezTo>
                      <a:pt x="16" y="20"/>
                      <a:pt x="16" y="26"/>
                      <a:pt x="16" y="32"/>
                    </a:cubicBezTo>
                    <a:cubicBezTo>
                      <a:pt x="16" y="34"/>
                      <a:pt x="15" y="39"/>
                      <a:pt x="13" y="39"/>
                    </a:cubicBezTo>
                    <a:cubicBezTo>
                      <a:pt x="14" y="42"/>
                      <a:pt x="17" y="47"/>
                      <a:pt x="15" y="49"/>
                    </a:cubicBezTo>
                    <a:cubicBezTo>
                      <a:pt x="15" y="50"/>
                      <a:pt x="13" y="51"/>
                      <a:pt x="12" y="51"/>
                    </a:cubicBezTo>
                    <a:cubicBezTo>
                      <a:pt x="12" y="51"/>
                      <a:pt x="12" y="51"/>
                      <a:pt x="12" y="51"/>
                    </a:cubicBezTo>
                    <a:cubicBezTo>
                      <a:pt x="10" y="50"/>
                      <a:pt x="6" y="47"/>
                      <a:pt x="6" y="45"/>
                    </a:cubicBezTo>
                    <a:cubicBezTo>
                      <a:pt x="7" y="44"/>
                      <a:pt x="7" y="44"/>
                      <a:pt x="6" y="44"/>
                    </a:cubicBezTo>
                    <a:cubicBezTo>
                      <a:pt x="6" y="44"/>
                      <a:pt x="6" y="44"/>
                      <a:pt x="5" y="44"/>
                    </a:cubicBezTo>
                    <a:cubicBezTo>
                      <a:pt x="0" y="44"/>
                      <a:pt x="6" y="56"/>
                      <a:pt x="6" y="58"/>
                    </a:cubicBezTo>
                    <a:cubicBezTo>
                      <a:pt x="8" y="63"/>
                      <a:pt x="9" y="69"/>
                      <a:pt x="10" y="75"/>
                    </a:cubicBezTo>
                    <a:cubicBezTo>
                      <a:pt x="10" y="75"/>
                      <a:pt x="10" y="75"/>
                      <a:pt x="10" y="75"/>
                    </a:cubicBezTo>
                    <a:cubicBezTo>
                      <a:pt x="11" y="75"/>
                      <a:pt x="13" y="75"/>
                      <a:pt x="14" y="75"/>
                    </a:cubicBezTo>
                    <a:cubicBezTo>
                      <a:pt x="11" y="78"/>
                      <a:pt x="14" y="77"/>
                      <a:pt x="15" y="79"/>
                    </a:cubicBezTo>
                    <a:cubicBezTo>
                      <a:pt x="16" y="79"/>
                      <a:pt x="15" y="80"/>
                      <a:pt x="15" y="80"/>
                    </a:cubicBezTo>
                    <a:cubicBezTo>
                      <a:pt x="16" y="81"/>
                      <a:pt x="15" y="81"/>
                      <a:pt x="16" y="82"/>
                    </a:cubicBezTo>
                    <a:cubicBezTo>
                      <a:pt x="17" y="82"/>
                      <a:pt x="17" y="82"/>
                      <a:pt x="17" y="82"/>
                    </a:cubicBezTo>
                    <a:cubicBezTo>
                      <a:pt x="20" y="82"/>
                      <a:pt x="19" y="76"/>
                      <a:pt x="18" y="74"/>
                    </a:cubicBezTo>
                    <a:cubicBezTo>
                      <a:pt x="20" y="75"/>
                      <a:pt x="21" y="76"/>
                      <a:pt x="23" y="76"/>
                    </a:cubicBezTo>
                    <a:cubicBezTo>
                      <a:pt x="24" y="75"/>
                      <a:pt x="25" y="74"/>
                      <a:pt x="27" y="74"/>
                    </a:cubicBezTo>
                    <a:cubicBezTo>
                      <a:pt x="30" y="74"/>
                      <a:pt x="32" y="76"/>
                      <a:pt x="32" y="79"/>
                    </a:cubicBezTo>
                    <a:cubicBezTo>
                      <a:pt x="32" y="82"/>
                      <a:pt x="30" y="84"/>
                      <a:pt x="27" y="84"/>
                    </a:cubicBezTo>
                    <a:cubicBezTo>
                      <a:pt x="26" y="84"/>
                      <a:pt x="25" y="84"/>
                      <a:pt x="24" y="83"/>
                    </a:cubicBezTo>
                    <a:cubicBezTo>
                      <a:pt x="22" y="84"/>
                      <a:pt x="19" y="85"/>
                      <a:pt x="19" y="87"/>
                    </a:cubicBezTo>
                    <a:cubicBezTo>
                      <a:pt x="20" y="89"/>
                      <a:pt x="20" y="92"/>
                      <a:pt x="20" y="95"/>
                    </a:cubicBezTo>
                    <a:cubicBezTo>
                      <a:pt x="22" y="93"/>
                      <a:pt x="22" y="92"/>
                      <a:pt x="22" y="92"/>
                    </a:cubicBezTo>
                    <a:cubicBezTo>
                      <a:pt x="23" y="92"/>
                      <a:pt x="23" y="93"/>
                      <a:pt x="25" y="94"/>
                    </a:cubicBezTo>
                    <a:cubicBezTo>
                      <a:pt x="26" y="95"/>
                      <a:pt x="24" y="95"/>
                      <a:pt x="25" y="96"/>
                    </a:cubicBezTo>
                    <a:cubicBezTo>
                      <a:pt x="25" y="97"/>
                      <a:pt x="28" y="98"/>
                      <a:pt x="29" y="98"/>
                    </a:cubicBezTo>
                    <a:cubicBezTo>
                      <a:pt x="30" y="98"/>
                      <a:pt x="31" y="98"/>
                      <a:pt x="32" y="98"/>
                    </a:cubicBezTo>
                    <a:cubicBezTo>
                      <a:pt x="32" y="98"/>
                      <a:pt x="32" y="98"/>
                      <a:pt x="32" y="98"/>
                    </a:cubicBezTo>
                    <a:cubicBezTo>
                      <a:pt x="34" y="97"/>
                      <a:pt x="35" y="94"/>
                      <a:pt x="36" y="93"/>
                    </a:cubicBezTo>
                    <a:cubicBezTo>
                      <a:pt x="39" y="92"/>
                      <a:pt x="40" y="92"/>
                      <a:pt x="41" y="92"/>
                    </a:cubicBezTo>
                    <a:cubicBezTo>
                      <a:pt x="42" y="92"/>
                      <a:pt x="43" y="92"/>
                      <a:pt x="45" y="93"/>
                    </a:cubicBezTo>
                    <a:cubicBezTo>
                      <a:pt x="46" y="94"/>
                      <a:pt x="47" y="94"/>
                      <a:pt x="48" y="95"/>
                    </a:cubicBezTo>
                    <a:cubicBezTo>
                      <a:pt x="50" y="96"/>
                      <a:pt x="50" y="98"/>
                      <a:pt x="52" y="98"/>
                    </a:cubicBezTo>
                    <a:cubicBezTo>
                      <a:pt x="52" y="98"/>
                      <a:pt x="52" y="98"/>
                      <a:pt x="52" y="98"/>
                    </a:cubicBezTo>
                    <a:cubicBezTo>
                      <a:pt x="52" y="98"/>
                      <a:pt x="52" y="98"/>
                      <a:pt x="52" y="98"/>
                    </a:cubicBezTo>
                    <a:cubicBezTo>
                      <a:pt x="55" y="98"/>
                      <a:pt x="55" y="105"/>
                      <a:pt x="57" y="106"/>
                    </a:cubicBezTo>
                    <a:cubicBezTo>
                      <a:pt x="57" y="103"/>
                      <a:pt x="56" y="100"/>
                      <a:pt x="56" y="96"/>
                    </a:cubicBezTo>
                    <a:cubicBezTo>
                      <a:pt x="55" y="95"/>
                      <a:pt x="55" y="93"/>
                      <a:pt x="54" y="92"/>
                    </a:cubicBezTo>
                    <a:cubicBezTo>
                      <a:pt x="55" y="92"/>
                      <a:pt x="55" y="91"/>
                      <a:pt x="56" y="91"/>
                    </a:cubicBezTo>
                    <a:cubicBezTo>
                      <a:pt x="57" y="91"/>
                      <a:pt x="58" y="93"/>
                      <a:pt x="59" y="94"/>
                    </a:cubicBezTo>
                    <a:cubicBezTo>
                      <a:pt x="62" y="97"/>
                      <a:pt x="66" y="100"/>
                      <a:pt x="69" y="103"/>
                    </a:cubicBezTo>
                    <a:cubicBezTo>
                      <a:pt x="71" y="105"/>
                      <a:pt x="71" y="105"/>
                      <a:pt x="71" y="108"/>
                    </a:cubicBezTo>
                    <a:cubicBezTo>
                      <a:pt x="71" y="109"/>
                      <a:pt x="74" y="110"/>
                      <a:pt x="75" y="110"/>
                    </a:cubicBezTo>
                    <a:cubicBezTo>
                      <a:pt x="77" y="111"/>
                      <a:pt x="79" y="111"/>
                      <a:pt x="80" y="111"/>
                    </a:cubicBezTo>
                    <a:cubicBezTo>
                      <a:pt x="81" y="111"/>
                      <a:pt x="81" y="111"/>
                      <a:pt x="82" y="111"/>
                    </a:cubicBezTo>
                    <a:cubicBezTo>
                      <a:pt x="82" y="111"/>
                      <a:pt x="82" y="110"/>
                      <a:pt x="82" y="110"/>
                    </a:cubicBezTo>
                    <a:cubicBezTo>
                      <a:pt x="82" y="110"/>
                      <a:pt x="83" y="110"/>
                      <a:pt x="83" y="110"/>
                    </a:cubicBezTo>
                    <a:cubicBezTo>
                      <a:pt x="83" y="110"/>
                      <a:pt x="83" y="110"/>
                      <a:pt x="83" y="110"/>
                    </a:cubicBezTo>
                    <a:cubicBezTo>
                      <a:pt x="84" y="110"/>
                      <a:pt x="84" y="110"/>
                      <a:pt x="84" y="110"/>
                    </a:cubicBezTo>
                    <a:cubicBezTo>
                      <a:pt x="84" y="110"/>
                      <a:pt x="84" y="110"/>
                      <a:pt x="84" y="110"/>
                    </a:cubicBezTo>
                    <a:cubicBezTo>
                      <a:pt x="84" y="111"/>
                      <a:pt x="83" y="112"/>
                      <a:pt x="83" y="113"/>
                    </a:cubicBezTo>
                    <a:cubicBezTo>
                      <a:pt x="83" y="113"/>
                      <a:pt x="83" y="113"/>
                      <a:pt x="83" y="113"/>
                    </a:cubicBezTo>
                    <a:cubicBezTo>
                      <a:pt x="82" y="113"/>
                      <a:pt x="82" y="113"/>
                      <a:pt x="82" y="113"/>
                    </a:cubicBezTo>
                    <a:cubicBezTo>
                      <a:pt x="82" y="112"/>
                      <a:pt x="82" y="112"/>
                      <a:pt x="82" y="112"/>
                    </a:cubicBezTo>
                    <a:cubicBezTo>
                      <a:pt x="82" y="112"/>
                      <a:pt x="81" y="112"/>
                      <a:pt x="81" y="113"/>
                    </a:cubicBezTo>
                    <a:cubicBezTo>
                      <a:pt x="80" y="115"/>
                      <a:pt x="85" y="117"/>
                      <a:pt x="86" y="118"/>
                    </a:cubicBezTo>
                    <a:cubicBezTo>
                      <a:pt x="86" y="117"/>
                      <a:pt x="88" y="109"/>
                      <a:pt x="88" y="109"/>
                    </a:cubicBezTo>
                    <a:cubicBezTo>
                      <a:pt x="87" y="108"/>
                      <a:pt x="85" y="107"/>
                      <a:pt x="83" y="107"/>
                    </a:cubicBezTo>
                    <a:cubicBezTo>
                      <a:pt x="83" y="107"/>
                      <a:pt x="83" y="107"/>
                      <a:pt x="83" y="107"/>
                    </a:cubicBezTo>
                    <a:cubicBezTo>
                      <a:pt x="80" y="109"/>
                      <a:pt x="80" y="109"/>
                      <a:pt x="80" y="109"/>
                    </a:cubicBezTo>
                    <a:cubicBezTo>
                      <a:pt x="79" y="108"/>
                      <a:pt x="80" y="105"/>
                      <a:pt x="82" y="105"/>
                    </a:cubicBezTo>
                    <a:cubicBezTo>
                      <a:pt x="82" y="105"/>
                      <a:pt x="82" y="105"/>
                      <a:pt x="82" y="105"/>
                    </a:cubicBezTo>
                    <a:cubicBezTo>
                      <a:pt x="80" y="104"/>
                      <a:pt x="74" y="98"/>
                      <a:pt x="76" y="96"/>
                    </a:cubicBezTo>
                    <a:cubicBezTo>
                      <a:pt x="76" y="96"/>
                      <a:pt x="77" y="96"/>
                      <a:pt x="77" y="96"/>
                    </a:cubicBezTo>
                    <a:cubicBezTo>
                      <a:pt x="77" y="96"/>
                      <a:pt x="78" y="96"/>
                      <a:pt x="79" y="96"/>
                    </a:cubicBezTo>
                    <a:cubicBezTo>
                      <a:pt x="79" y="96"/>
                      <a:pt x="79" y="96"/>
                      <a:pt x="79" y="96"/>
                    </a:cubicBezTo>
                    <a:cubicBezTo>
                      <a:pt x="80" y="96"/>
                      <a:pt x="81" y="96"/>
                      <a:pt x="81" y="96"/>
                    </a:cubicBezTo>
                    <a:cubicBezTo>
                      <a:pt x="82" y="96"/>
                      <a:pt x="82" y="96"/>
                      <a:pt x="83" y="96"/>
                    </a:cubicBezTo>
                    <a:cubicBezTo>
                      <a:pt x="83" y="96"/>
                      <a:pt x="83" y="96"/>
                      <a:pt x="84" y="96"/>
                    </a:cubicBezTo>
                    <a:cubicBezTo>
                      <a:pt x="83" y="91"/>
                      <a:pt x="74" y="91"/>
                      <a:pt x="72" y="90"/>
                    </a:cubicBezTo>
                    <a:cubicBezTo>
                      <a:pt x="72" y="89"/>
                      <a:pt x="72" y="89"/>
                      <a:pt x="72" y="88"/>
                    </a:cubicBezTo>
                    <a:cubicBezTo>
                      <a:pt x="71" y="89"/>
                      <a:pt x="71" y="91"/>
                      <a:pt x="71" y="92"/>
                    </a:cubicBezTo>
                    <a:cubicBezTo>
                      <a:pt x="71" y="93"/>
                      <a:pt x="71" y="93"/>
                      <a:pt x="71" y="93"/>
                    </a:cubicBezTo>
                    <a:cubicBezTo>
                      <a:pt x="70" y="95"/>
                      <a:pt x="68" y="95"/>
                      <a:pt x="67" y="97"/>
                    </a:cubicBezTo>
                    <a:cubicBezTo>
                      <a:pt x="65" y="94"/>
                      <a:pt x="67" y="92"/>
                      <a:pt x="66" y="89"/>
                    </a:cubicBezTo>
                    <a:cubicBezTo>
                      <a:pt x="65" y="89"/>
                      <a:pt x="64" y="86"/>
                      <a:pt x="63" y="86"/>
                    </a:cubicBezTo>
                    <a:cubicBezTo>
                      <a:pt x="62" y="85"/>
                      <a:pt x="59" y="83"/>
                      <a:pt x="57" y="83"/>
                    </a:cubicBezTo>
                    <a:cubicBezTo>
                      <a:pt x="56" y="83"/>
                      <a:pt x="56" y="84"/>
                      <a:pt x="55" y="84"/>
                    </a:cubicBezTo>
                    <a:cubicBezTo>
                      <a:pt x="53" y="85"/>
                      <a:pt x="53" y="91"/>
                      <a:pt x="51" y="91"/>
                    </a:cubicBezTo>
                    <a:cubicBezTo>
                      <a:pt x="50" y="91"/>
                      <a:pt x="50" y="91"/>
                      <a:pt x="50" y="90"/>
                    </a:cubicBezTo>
                    <a:cubicBezTo>
                      <a:pt x="50" y="91"/>
                      <a:pt x="50" y="92"/>
                      <a:pt x="50" y="92"/>
                    </a:cubicBezTo>
                    <a:cubicBezTo>
                      <a:pt x="48" y="92"/>
                      <a:pt x="46" y="91"/>
                      <a:pt x="44" y="90"/>
                    </a:cubicBezTo>
                    <a:cubicBezTo>
                      <a:pt x="42" y="88"/>
                      <a:pt x="41" y="87"/>
                      <a:pt x="41" y="84"/>
                    </a:cubicBezTo>
                    <a:cubicBezTo>
                      <a:pt x="41" y="82"/>
                      <a:pt x="41" y="79"/>
                      <a:pt x="41" y="77"/>
                    </a:cubicBezTo>
                    <a:cubicBezTo>
                      <a:pt x="40" y="75"/>
                      <a:pt x="39" y="73"/>
                      <a:pt x="38" y="71"/>
                    </a:cubicBezTo>
                    <a:cubicBezTo>
                      <a:pt x="35" y="67"/>
                      <a:pt x="33" y="65"/>
                      <a:pt x="36" y="61"/>
                    </a:cubicBezTo>
                    <a:cubicBezTo>
                      <a:pt x="37" y="60"/>
                      <a:pt x="39" y="58"/>
                      <a:pt x="39" y="56"/>
                    </a:cubicBezTo>
                    <a:cubicBezTo>
                      <a:pt x="39" y="56"/>
                      <a:pt x="39" y="56"/>
                      <a:pt x="39" y="56"/>
                    </a:cubicBezTo>
                    <a:cubicBezTo>
                      <a:pt x="39" y="56"/>
                      <a:pt x="39" y="56"/>
                      <a:pt x="38" y="56"/>
                    </a:cubicBezTo>
                    <a:cubicBezTo>
                      <a:pt x="38" y="56"/>
                      <a:pt x="38" y="56"/>
                      <a:pt x="38" y="56"/>
                    </a:cubicBezTo>
                    <a:cubicBezTo>
                      <a:pt x="38" y="56"/>
                      <a:pt x="38" y="56"/>
                      <a:pt x="38" y="56"/>
                    </a:cubicBezTo>
                    <a:cubicBezTo>
                      <a:pt x="37" y="50"/>
                      <a:pt x="46" y="51"/>
                      <a:pt x="48" y="46"/>
                    </a:cubicBezTo>
                    <a:cubicBezTo>
                      <a:pt x="48" y="48"/>
                      <a:pt x="47" y="49"/>
                      <a:pt x="47" y="50"/>
                    </a:cubicBezTo>
                    <a:cubicBezTo>
                      <a:pt x="49" y="45"/>
                      <a:pt x="52" y="41"/>
                      <a:pt x="54" y="36"/>
                    </a:cubicBezTo>
                    <a:cubicBezTo>
                      <a:pt x="55" y="35"/>
                      <a:pt x="55" y="33"/>
                      <a:pt x="55" y="31"/>
                    </a:cubicBezTo>
                    <a:cubicBezTo>
                      <a:pt x="55" y="31"/>
                      <a:pt x="56" y="31"/>
                      <a:pt x="56" y="30"/>
                    </a:cubicBezTo>
                    <a:cubicBezTo>
                      <a:pt x="54" y="27"/>
                      <a:pt x="52" y="24"/>
                      <a:pt x="50" y="21"/>
                    </a:cubicBezTo>
                    <a:cubicBezTo>
                      <a:pt x="49" y="20"/>
                      <a:pt x="51" y="12"/>
                      <a:pt x="52" y="10"/>
                    </a:cubicBezTo>
                    <a:cubicBezTo>
                      <a:pt x="52" y="7"/>
                      <a:pt x="52" y="5"/>
                      <a:pt x="51" y="2"/>
                    </a:cubicBezTo>
                    <a:cubicBezTo>
                      <a:pt x="49" y="3"/>
                      <a:pt x="48" y="6"/>
                      <a:pt x="46" y="6"/>
                    </a:cubicBezTo>
                    <a:cubicBezTo>
                      <a:pt x="46" y="7"/>
                      <a:pt x="45" y="7"/>
                      <a:pt x="45" y="7"/>
                    </a:cubicBezTo>
                    <a:cubicBezTo>
                      <a:pt x="44" y="7"/>
                      <a:pt x="44" y="7"/>
                      <a:pt x="43" y="7"/>
                    </a:cubicBezTo>
                    <a:cubicBezTo>
                      <a:pt x="43" y="7"/>
                      <a:pt x="43" y="7"/>
                      <a:pt x="42" y="7"/>
                    </a:cubicBezTo>
                    <a:cubicBezTo>
                      <a:pt x="41" y="7"/>
                      <a:pt x="40" y="7"/>
                      <a:pt x="40" y="8"/>
                    </a:cubicBezTo>
                    <a:cubicBezTo>
                      <a:pt x="40" y="3"/>
                      <a:pt x="30" y="2"/>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7" name="Freeform 55">
                <a:extLst>
                  <a:ext uri="{FF2B5EF4-FFF2-40B4-BE49-F238E27FC236}">
                    <a16:creationId xmlns:a16="http://schemas.microsoft.com/office/drawing/2014/main" id="{49E0EAD0-10E0-4152-A13F-97F98F64C86F}"/>
                  </a:ext>
                </a:extLst>
              </p:cNvPr>
              <p:cNvSpPr>
                <a:spLocks/>
              </p:cNvSpPr>
              <p:nvPr/>
            </p:nvSpPr>
            <p:spPr bwMode="auto">
              <a:xfrm>
                <a:off x="7789" y="2796"/>
                <a:ext cx="113" cy="142"/>
              </a:xfrm>
              <a:custGeom>
                <a:avLst/>
                <a:gdLst>
                  <a:gd name="T0" fmla="*/ 44 w 48"/>
                  <a:gd name="T1" fmla="*/ 0 h 60"/>
                  <a:gd name="T2" fmla="*/ 41 w 48"/>
                  <a:gd name="T3" fmla="*/ 9 h 60"/>
                  <a:gd name="T4" fmla="*/ 43 w 48"/>
                  <a:gd name="T5" fmla="*/ 14 h 60"/>
                  <a:gd name="T6" fmla="*/ 43 w 48"/>
                  <a:gd name="T7" fmla="*/ 14 h 60"/>
                  <a:gd name="T8" fmla="*/ 41 w 48"/>
                  <a:gd name="T9" fmla="*/ 11 h 60"/>
                  <a:gd name="T10" fmla="*/ 39 w 48"/>
                  <a:gd name="T11" fmla="*/ 10 h 60"/>
                  <a:gd name="T12" fmla="*/ 39 w 48"/>
                  <a:gd name="T13" fmla="*/ 11 h 60"/>
                  <a:gd name="T14" fmla="*/ 40 w 48"/>
                  <a:gd name="T15" fmla="*/ 17 h 60"/>
                  <a:gd name="T16" fmla="*/ 37 w 48"/>
                  <a:gd name="T17" fmla="*/ 20 h 60"/>
                  <a:gd name="T18" fmla="*/ 37 w 48"/>
                  <a:gd name="T19" fmla="*/ 19 h 60"/>
                  <a:gd name="T20" fmla="*/ 32 w 48"/>
                  <a:gd name="T21" fmla="*/ 26 h 60"/>
                  <a:gd name="T22" fmla="*/ 31 w 48"/>
                  <a:gd name="T23" fmla="*/ 27 h 60"/>
                  <a:gd name="T24" fmla="*/ 30 w 48"/>
                  <a:gd name="T25" fmla="*/ 26 h 60"/>
                  <a:gd name="T26" fmla="*/ 21 w 48"/>
                  <a:gd name="T27" fmla="*/ 36 h 60"/>
                  <a:gd name="T28" fmla="*/ 16 w 48"/>
                  <a:gd name="T29" fmla="*/ 42 h 60"/>
                  <a:gd name="T30" fmla="*/ 15 w 48"/>
                  <a:gd name="T31" fmla="*/ 41 h 60"/>
                  <a:gd name="T32" fmla="*/ 8 w 48"/>
                  <a:gd name="T33" fmla="*/ 48 h 60"/>
                  <a:gd name="T34" fmla="*/ 2 w 48"/>
                  <a:gd name="T35" fmla="*/ 54 h 60"/>
                  <a:gd name="T36" fmla="*/ 0 w 48"/>
                  <a:gd name="T37" fmla="*/ 60 h 60"/>
                  <a:gd name="T38" fmla="*/ 13 w 48"/>
                  <a:gd name="T39" fmla="*/ 50 h 60"/>
                  <a:gd name="T40" fmla="*/ 25 w 48"/>
                  <a:gd name="T41" fmla="*/ 41 h 60"/>
                  <a:gd name="T42" fmla="*/ 28 w 48"/>
                  <a:gd name="T43" fmla="*/ 37 h 60"/>
                  <a:gd name="T44" fmla="*/ 30 w 48"/>
                  <a:gd name="T45" fmla="*/ 34 h 60"/>
                  <a:gd name="T46" fmla="*/ 33 w 48"/>
                  <a:gd name="T47" fmla="*/ 28 h 60"/>
                  <a:gd name="T48" fmla="*/ 36 w 48"/>
                  <a:gd name="T49" fmla="*/ 27 h 60"/>
                  <a:gd name="T50" fmla="*/ 42 w 48"/>
                  <a:gd name="T51" fmla="*/ 21 h 60"/>
                  <a:gd name="T52" fmla="*/ 48 w 48"/>
                  <a:gd name="T53" fmla="*/ 17 h 60"/>
                  <a:gd name="T54" fmla="*/ 48 w 48"/>
                  <a:gd name="T55" fmla="*/ 17 h 60"/>
                  <a:gd name="T56" fmla="*/ 47 w 48"/>
                  <a:gd name="T57" fmla="*/ 15 h 60"/>
                  <a:gd name="T58" fmla="*/ 46 w 48"/>
                  <a:gd name="T59" fmla="*/ 15 h 60"/>
                  <a:gd name="T60" fmla="*/ 46 w 48"/>
                  <a:gd name="T61" fmla="*/ 13 h 60"/>
                  <a:gd name="T62" fmla="*/ 45 w 48"/>
                  <a:gd name="T63" fmla="*/ 12 h 60"/>
                  <a:gd name="T64" fmla="*/ 45 w 48"/>
                  <a:gd name="T65" fmla="*/ 12 h 60"/>
                  <a:gd name="T66" fmla="*/ 45 w 48"/>
                  <a:gd name="T67" fmla="*/ 12 h 60"/>
                  <a:gd name="T68" fmla="*/ 45 w 48"/>
                  <a:gd name="T69" fmla="*/ 12 h 60"/>
                  <a:gd name="T70" fmla="*/ 44 w 48"/>
                  <a:gd name="T71" fmla="*/ 11 h 60"/>
                  <a:gd name="T72" fmla="*/ 45 w 48"/>
                  <a:gd name="T73" fmla="*/ 7 h 60"/>
                  <a:gd name="T74" fmla="*/ 45 w 48"/>
                  <a:gd name="T75" fmla="*/ 7 h 60"/>
                  <a:gd name="T76" fmla="*/ 45 w 48"/>
                  <a:gd name="T77" fmla="*/ 4 h 60"/>
                  <a:gd name="T78" fmla="*/ 44 w 48"/>
                  <a:gd name="T7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60">
                    <a:moveTo>
                      <a:pt x="44" y="0"/>
                    </a:moveTo>
                    <a:cubicBezTo>
                      <a:pt x="43" y="3"/>
                      <a:pt x="40" y="7"/>
                      <a:pt x="41" y="9"/>
                    </a:cubicBezTo>
                    <a:cubicBezTo>
                      <a:pt x="41" y="11"/>
                      <a:pt x="43" y="12"/>
                      <a:pt x="43" y="14"/>
                    </a:cubicBezTo>
                    <a:cubicBezTo>
                      <a:pt x="43" y="14"/>
                      <a:pt x="43" y="14"/>
                      <a:pt x="43" y="14"/>
                    </a:cubicBezTo>
                    <a:cubicBezTo>
                      <a:pt x="43" y="13"/>
                      <a:pt x="41" y="11"/>
                      <a:pt x="41" y="11"/>
                    </a:cubicBezTo>
                    <a:cubicBezTo>
                      <a:pt x="40" y="10"/>
                      <a:pt x="39" y="10"/>
                      <a:pt x="39" y="10"/>
                    </a:cubicBezTo>
                    <a:cubicBezTo>
                      <a:pt x="39" y="10"/>
                      <a:pt x="39" y="10"/>
                      <a:pt x="39" y="11"/>
                    </a:cubicBezTo>
                    <a:cubicBezTo>
                      <a:pt x="39" y="12"/>
                      <a:pt x="39" y="15"/>
                      <a:pt x="40" y="17"/>
                    </a:cubicBezTo>
                    <a:cubicBezTo>
                      <a:pt x="40" y="18"/>
                      <a:pt x="38" y="20"/>
                      <a:pt x="37" y="20"/>
                    </a:cubicBezTo>
                    <a:cubicBezTo>
                      <a:pt x="37" y="20"/>
                      <a:pt x="37" y="20"/>
                      <a:pt x="37" y="19"/>
                    </a:cubicBezTo>
                    <a:cubicBezTo>
                      <a:pt x="35" y="21"/>
                      <a:pt x="34" y="25"/>
                      <a:pt x="32" y="26"/>
                    </a:cubicBezTo>
                    <a:cubicBezTo>
                      <a:pt x="31" y="27"/>
                      <a:pt x="31" y="27"/>
                      <a:pt x="31" y="27"/>
                    </a:cubicBezTo>
                    <a:cubicBezTo>
                      <a:pt x="30" y="27"/>
                      <a:pt x="30" y="27"/>
                      <a:pt x="30" y="26"/>
                    </a:cubicBezTo>
                    <a:cubicBezTo>
                      <a:pt x="27" y="30"/>
                      <a:pt x="24" y="33"/>
                      <a:pt x="21" y="36"/>
                    </a:cubicBezTo>
                    <a:cubicBezTo>
                      <a:pt x="21" y="37"/>
                      <a:pt x="17" y="42"/>
                      <a:pt x="16" y="42"/>
                    </a:cubicBezTo>
                    <a:cubicBezTo>
                      <a:pt x="16" y="42"/>
                      <a:pt x="16" y="42"/>
                      <a:pt x="15" y="41"/>
                    </a:cubicBezTo>
                    <a:cubicBezTo>
                      <a:pt x="13" y="42"/>
                      <a:pt x="11" y="46"/>
                      <a:pt x="8" y="48"/>
                    </a:cubicBezTo>
                    <a:cubicBezTo>
                      <a:pt x="7" y="50"/>
                      <a:pt x="4" y="51"/>
                      <a:pt x="2" y="54"/>
                    </a:cubicBezTo>
                    <a:cubicBezTo>
                      <a:pt x="1" y="55"/>
                      <a:pt x="1" y="57"/>
                      <a:pt x="0" y="60"/>
                    </a:cubicBezTo>
                    <a:cubicBezTo>
                      <a:pt x="5" y="56"/>
                      <a:pt x="9" y="53"/>
                      <a:pt x="13" y="50"/>
                    </a:cubicBezTo>
                    <a:cubicBezTo>
                      <a:pt x="17" y="47"/>
                      <a:pt x="23" y="44"/>
                      <a:pt x="25" y="41"/>
                    </a:cubicBezTo>
                    <a:cubicBezTo>
                      <a:pt x="26" y="39"/>
                      <a:pt x="27" y="38"/>
                      <a:pt x="28" y="37"/>
                    </a:cubicBezTo>
                    <a:cubicBezTo>
                      <a:pt x="29" y="36"/>
                      <a:pt x="31" y="34"/>
                      <a:pt x="30" y="34"/>
                    </a:cubicBezTo>
                    <a:cubicBezTo>
                      <a:pt x="32" y="31"/>
                      <a:pt x="29" y="29"/>
                      <a:pt x="33" y="28"/>
                    </a:cubicBezTo>
                    <a:cubicBezTo>
                      <a:pt x="34" y="28"/>
                      <a:pt x="35" y="28"/>
                      <a:pt x="36" y="27"/>
                    </a:cubicBezTo>
                    <a:cubicBezTo>
                      <a:pt x="40" y="26"/>
                      <a:pt x="39" y="22"/>
                      <a:pt x="42" y="21"/>
                    </a:cubicBezTo>
                    <a:cubicBezTo>
                      <a:pt x="44" y="20"/>
                      <a:pt x="48" y="19"/>
                      <a:pt x="48" y="17"/>
                    </a:cubicBezTo>
                    <a:cubicBezTo>
                      <a:pt x="48" y="17"/>
                      <a:pt x="48" y="17"/>
                      <a:pt x="48" y="17"/>
                    </a:cubicBezTo>
                    <a:cubicBezTo>
                      <a:pt x="48" y="16"/>
                      <a:pt x="48" y="15"/>
                      <a:pt x="47" y="15"/>
                    </a:cubicBezTo>
                    <a:cubicBezTo>
                      <a:pt x="47" y="15"/>
                      <a:pt x="46" y="15"/>
                      <a:pt x="46" y="15"/>
                    </a:cubicBezTo>
                    <a:cubicBezTo>
                      <a:pt x="46" y="14"/>
                      <a:pt x="46" y="13"/>
                      <a:pt x="46" y="13"/>
                    </a:cubicBezTo>
                    <a:cubicBezTo>
                      <a:pt x="46" y="12"/>
                      <a:pt x="46" y="12"/>
                      <a:pt x="45" y="12"/>
                    </a:cubicBezTo>
                    <a:cubicBezTo>
                      <a:pt x="45" y="12"/>
                      <a:pt x="45" y="12"/>
                      <a:pt x="45" y="12"/>
                    </a:cubicBezTo>
                    <a:cubicBezTo>
                      <a:pt x="45" y="12"/>
                      <a:pt x="45" y="12"/>
                      <a:pt x="45" y="12"/>
                    </a:cubicBezTo>
                    <a:cubicBezTo>
                      <a:pt x="45" y="12"/>
                      <a:pt x="45" y="12"/>
                      <a:pt x="45" y="12"/>
                    </a:cubicBezTo>
                    <a:cubicBezTo>
                      <a:pt x="45" y="12"/>
                      <a:pt x="44" y="11"/>
                      <a:pt x="44" y="11"/>
                    </a:cubicBezTo>
                    <a:cubicBezTo>
                      <a:pt x="44" y="9"/>
                      <a:pt x="46" y="9"/>
                      <a:pt x="45" y="7"/>
                    </a:cubicBezTo>
                    <a:cubicBezTo>
                      <a:pt x="45" y="7"/>
                      <a:pt x="45" y="7"/>
                      <a:pt x="45" y="7"/>
                    </a:cubicBezTo>
                    <a:cubicBezTo>
                      <a:pt x="44" y="7"/>
                      <a:pt x="45" y="5"/>
                      <a:pt x="45" y="4"/>
                    </a:cubicBezTo>
                    <a:cubicBezTo>
                      <a:pt x="46" y="1"/>
                      <a:pt x="44" y="3"/>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8" name="Freeform 56">
                <a:extLst>
                  <a:ext uri="{FF2B5EF4-FFF2-40B4-BE49-F238E27FC236}">
                    <a16:creationId xmlns:a16="http://schemas.microsoft.com/office/drawing/2014/main" id="{44DFD3F0-9B97-4DA6-8AEA-8C5BC5AF9784}"/>
                  </a:ext>
                </a:extLst>
              </p:cNvPr>
              <p:cNvSpPr>
                <a:spLocks/>
              </p:cNvSpPr>
              <p:nvPr/>
            </p:nvSpPr>
            <p:spPr bwMode="auto">
              <a:xfrm>
                <a:off x="8063" y="2803"/>
                <a:ext cx="35" cy="85"/>
              </a:xfrm>
              <a:custGeom>
                <a:avLst/>
                <a:gdLst>
                  <a:gd name="T0" fmla="*/ 15 w 15"/>
                  <a:gd name="T1" fmla="*/ 0 h 36"/>
                  <a:gd name="T2" fmla="*/ 13 w 15"/>
                  <a:gd name="T3" fmla="*/ 5 h 36"/>
                  <a:gd name="T4" fmla="*/ 10 w 15"/>
                  <a:gd name="T5" fmla="*/ 11 h 36"/>
                  <a:gd name="T6" fmla="*/ 5 w 15"/>
                  <a:gd name="T7" fmla="*/ 21 h 36"/>
                  <a:gd name="T8" fmla="*/ 2 w 15"/>
                  <a:gd name="T9" fmla="*/ 27 h 36"/>
                  <a:gd name="T10" fmla="*/ 1 w 15"/>
                  <a:gd name="T11" fmla="*/ 36 h 36"/>
                  <a:gd name="T12" fmla="*/ 9 w 15"/>
                  <a:gd name="T13" fmla="*/ 21 h 36"/>
                  <a:gd name="T14" fmla="*/ 15 w 15"/>
                  <a:gd name="T15" fmla="*/ 15 h 36"/>
                  <a:gd name="T16" fmla="*/ 14 w 15"/>
                  <a:gd name="T17" fmla="*/ 11 h 36"/>
                  <a:gd name="T18" fmla="*/ 15 w 1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36">
                    <a:moveTo>
                      <a:pt x="15" y="0"/>
                    </a:moveTo>
                    <a:cubicBezTo>
                      <a:pt x="13" y="0"/>
                      <a:pt x="13" y="4"/>
                      <a:pt x="13" y="5"/>
                    </a:cubicBezTo>
                    <a:cubicBezTo>
                      <a:pt x="12" y="7"/>
                      <a:pt x="11" y="9"/>
                      <a:pt x="10" y="11"/>
                    </a:cubicBezTo>
                    <a:cubicBezTo>
                      <a:pt x="8" y="14"/>
                      <a:pt x="7" y="18"/>
                      <a:pt x="5" y="21"/>
                    </a:cubicBezTo>
                    <a:cubicBezTo>
                      <a:pt x="3" y="24"/>
                      <a:pt x="3" y="25"/>
                      <a:pt x="2" y="27"/>
                    </a:cubicBezTo>
                    <a:cubicBezTo>
                      <a:pt x="2" y="30"/>
                      <a:pt x="0" y="33"/>
                      <a:pt x="1" y="36"/>
                    </a:cubicBezTo>
                    <a:cubicBezTo>
                      <a:pt x="4" y="31"/>
                      <a:pt x="5" y="25"/>
                      <a:pt x="9" y="21"/>
                    </a:cubicBezTo>
                    <a:cubicBezTo>
                      <a:pt x="11" y="19"/>
                      <a:pt x="14" y="19"/>
                      <a:pt x="15" y="15"/>
                    </a:cubicBezTo>
                    <a:cubicBezTo>
                      <a:pt x="15" y="14"/>
                      <a:pt x="14" y="13"/>
                      <a:pt x="14" y="11"/>
                    </a:cubicBezTo>
                    <a:cubicBezTo>
                      <a:pt x="15" y="7"/>
                      <a:pt x="15" y="4"/>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9" name="Freeform 57">
                <a:extLst>
                  <a:ext uri="{FF2B5EF4-FFF2-40B4-BE49-F238E27FC236}">
                    <a16:creationId xmlns:a16="http://schemas.microsoft.com/office/drawing/2014/main" id="{04943584-42F4-4C17-91F0-94B04D01D870}"/>
                  </a:ext>
                </a:extLst>
              </p:cNvPr>
              <p:cNvSpPr>
                <a:spLocks/>
              </p:cNvSpPr>
              <p:nvPr/>
            </p:nvSpPr>
            <p:spPr bwMode="auto">
              <a:xfrm>
                <a:off x="8056" y="2742"/>
                <a:ext cx="42" cy="40"/>
              </a:xfrm>
              <a:custGeom>
                <a:avLst/>
                <a:gdLst>
                  <a:gd name="T0" fmla="*/ 3 w 18"/>
                  <a:gd name="T1" fmla="*/ 0 h 17"/>
                  <a:gd name="T2" fmla="*/ 3 w 18"/>
                  <a:gd name="T3" fmla="*/ 5 h 17"/>
                  <a:gd name="T4" fmla="*/ 2 w 18"/>
                  <a:gd name="T5" fmla="*/ 7 h 17"/>
                  <a:gd name="T6" fmla="*/ 3 w 18"/>
                  <a:gd name="T7" fmla="*/ 8 h 17"/>
                  <a:gd name="T8" fmla="*/ 3 w 18"/>
                  <a:gd name="T9" fmla="*/ 8 h 17"/>
                  <a:gd name="T10" fmla="*/ 3 w 18"/>
                  <a:gd name="T11" fmla="*/ 8 h 17"/>
                  <a:gd name="T12" fmla="*/ 3 w 18"/>
                  <a:gd name="T13" fmla="*/ 8 h 17"/>
                  <a:gd name="T14" fmla="*/ 3 w 18"/>
                  <a:gd name="T15" fmla="*/ 8 h 17"/>
                  <a:gd name="T16" fmla="*/ 3 w 18"/>
                  <a:gd name="T17" fmla="*/ 8 h 17"/>
                  <a:gd name="T18" fmla="*/ 3 w 18"/>
                  <a:gd name="T19" fmla="*/ 9 h 17"/>
                  <a:gd name="T20" fmla="*/ 1 w 18"/>
                  <a:gd name="T21" fmla="*/ 13 h 17"/>
                  <a:gd name="T22" fmla="*/ 3 w 18"/>
                  <a:gd name="T23" fmla="*/ 13 h 17"/>
                  <a:gd name="T24" fmla="*/ 7 w 18"/>
                  <a:gd name="T25" fmla="*/ 8 h 17"/>
                  <a:gd name="T26" fmla="*/ 9 w 18"/>
                  <a:gd name="T27" fmla="*/ 9 h 17"/>
                  <a:gd name="T28" fmla="*/ 10 w 18"/>
                  <a:gd name="T29" fmla="*/ 11 h 17"/>
                  <a:gd name="T30" fmla="*/ 12 w 18"/>
                  <a:gd name="T31" fmla="*/ 13 h 17"/>
                  <a:gd name="T32" fmla="*/ 14 w 18"/>
                  <a:gd name="T33" fmla="*/ 14 h 17"/>
                  <a:gd name="T34" fmla="*/ 18 w 18"/>
                  <a:gd name="T35" fmla="*/ 17 h 17"/>
                  <a:gd name="T36" fmla="*/ 15 w 18"/>
                  <a:gd name="T37" fmla="*/ 8 h 17"/>
                  <a:gd name="T38" fmla="*/ 12 w 18"/>
                  <a:gd name="T39" fmla="*/ 6 h 17"/>
                  <a:gd name="T40" fmla="*/ 3 w 18"/>
                  <a:gd name="T4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7">
                    <a:moveTo>
                      <a:pt x="3" y="0"/>
                    </a:moveTo>
                    <a:cubicBezTo>
                      <a:pt x="3" y="2"/>
                      <a:pt x="3" y="3"/>
                      <a:pt x="3" y="5"/>
                    </a:cubicBezTo>
                    <a:cubicBezTo>
                      <a:pt x="3" y="6"/>
                      <a:pt x="2" y="7"/>
                      <a:pt x="2" y="7"/>
                    </a:cubicBezTo>
                    <a:cubicBezTo>
                      <a:pt x="2"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9"/>
                      <a:pt x="3" y="9"/>
                      <a:pt x="3" y="9"/>
                    </a:cubicBezTo>
                    <a:cubicBezTo>
                      <a:pt x="3" y="10"/>
                      <a:pt x="0" y="13"/>
                      <a:pt x="1" y="13"/>
                    </a:cubicBezTo>
                    <a:cubicBezTo>
                      <a:pt x="1" y="13"/>
                      <a:pt x="2" y="13"/>
                      <a:pt x="3" y="13"/>
                    </a:cubicBezTo>
                    <a:cubicBezTo>
                      <a:pt x="4" y="12"/>
                      <a:pt x="6" y="8"/>
                      <a:pt x="7" y="8"/>
                    </a:cubicBezTo>
                    <a:cubicBezTo>
                      <a:pt x="8" y="8"/>
                      <a:pt x="8" y="8"/>
                      <a:pt x="9" y="9"/>
                    </a:cubicBezTo>
                    <a:cubicBezTo>
                      <a:pt x="9" y="9"/>
                      <a:pt x="10" y="11"/>
                      <a:pt x="10" y="11"/>
                    </a:cubicBezTo>
                    <a:cubicBezTo>
                      <a:pt x="11" y="11"/>
                      <a:pt x="12" y="13"/>
                      <a:pt x="12" y="13"/>
                    </a:cubicBezTo>
                    <a:cubicBezTo>
                      <a:pt x="12" y="14"/>
                      <a:pt x="14" y="14"/>
                      <a:pt x="14" y="14"/>
                    </a:cubicBezTo>
                    <a:cubicBezTo>
                      <a:pt x="16" y="15"/>
                      <a:pt x="17" y="16"/>
                      <a:pt x="18" y="17"/>
                    </a:cubicBezTo>
                    <a:cubicBezTo>
                      <a:pt x="18" y="15"/>
                      <a:pt x="17" y="10"/>
                      <a:pt x="15" y="8"/>
                    </a:cubicBezTo>
                    <a:cubicBezTo>
                      <a:pt x="15" y="8"/>
                      <a:pt x="13" y="7"/>
                      <a:pt x="12" y="6"/>
                    </a:cubicBezTo>
                    <a:cubicBezTo>
                      <a:pt x="9" y="4"/>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0" name="Freeform 58">
                <a:extLst>
                  <a:ext uri="{FF2B5EF4-FFF2-40B4-BE49-F238E27FC236}">
                    <a16:creationId xmlns:a16="http://schemas.microsoft.com/office/drawing/2014/main" id="{17E0760D-0F64-4B9D-B17F-6F8ED8F401F8}"/>
                  </a:ext>
                </a:extLst>
              </p:cNvPr>
              <p:cNvSpPr>
                <a:spLocks/>
              </p:cNvSpPr>
              <p:nvPr/>
            </p:nvSpPr>
            <p:spPr bwMode="auto">
              <a:xfrm>
                <a:off x="7911" y="2770"/>
                <a:ext cx="8" cy="17"/>
              </a:xfrm>
              <a:custGeom>
                <a:avLst/>
                <a:gdLst>
                  <a:gd name="T0" fmla="*/ 0 w 3"/>
                  <a:gd name="T1" fmla="*/ 0 h 7"/>
                  <a:gd name="T2" fmla="*/ 1 w 3"/>
                  <a:gd name="T3" fmla="*/ 7 h 7"/>
                  <a:gd name="T4" fmla="*/ 3 w 3"/>
                  <a:gd name="T5" fmla="*/ 3 h 7"/>
                  <a:gd name="T6" fmla="*/ 3 w 3"/>
                  <a:gd name="T7" fmla="*/ 3 h 7"/>
                  <a:gd name="T8" fmla="*/ 2 w 3"/>
                  <a:gd name="T9" fmla="*/ 2 h 7"/>
                  <a:gd name="T10" fmla="*/ 2 w 3"/>
                  <a:gd name="T11" fmla="*/ 2 h 7"/>
                  <a:gd name="T12" fmla="*/ 0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cubicBezTo>
                      <a:pt x="0" y="2"/>
                      <a:pt x="1" y="5"/>
                      <a:pt x="1" y="7"/>
                    </a:cubicBezTo>
                    <a:cubicBezTo>
                      <a:pt x="3" y="6"/>
                      <a:pt x="3" y="4"/>
                      <a:pt x="3" y="3"/>
                    </a:cubicBezTo>
                    <a:cubicBezTo>
                      <a:pt x="3" y="3"/>
                      <a:pt x="3" y="3"/>
                      <a:pt x="3" y="3"/>
                    </a:cubicBezTo>
                    <a:cubicBezTo>
                      <a:pt x="3" y="2"/>
                      <a:pt x="2" y="2"/>
                      <a:pt x="2" y="2"/>
                    </a:cubicBezTo>
                    <a:cubicBezTo>
                      <a:pt x="2" y="2"/>
                      <a:pt x="2" y="2"/>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1" name="Freeform 59">
                <a:extLst>
                  <a:ext uri="{FF2B5EF4-FFF2-40B4-BE49-F238E27FC236}">
                    <a16:creationId xmlns:a16="http://schemas.microsoft.com/office/drawing/2014/main" id="{4C374D4C-8D91-4B49-AD0F-FB16C5879F8E}"/>
                  </a:ext>
                </a:extLst>
              </p:cNvPr>
              <p:cNvSpPr>
                <a:spLocks/>
              </p:cNvSpPr>
              <p:nvPr/>
            </p:nvSpPr>
            <p:spPr bwMode="auto">
              <a:xfrm>
                <a:off x="8127" y="2895"/>
                <a:ext cx="4" cy="7"/>
              </a:xfrm>
              <a:custGeom>
                <a:avLst/>
                <a:gdLst>
                  <a:gd name="T0" fmla="*/ 1 w 2"/>
                  <a:gd name="T1" fmla="*/ 0 h 3"/>
                  <a:gd name="T2" fmla="*/ 2 w 2"/>
                  <a:gd name="T3" fmla="*/ 3 h 3"/>
                  <a:gd name="T4" fmla="*/ 1 w 2"/>
                  <a:gd name="T5" fmla="*/ 0 h 3"/>
                </a:gdLst>
                <a:ahLst/>
                <a:cxnLst>
                  <a:cxn ang="0">
                    <a:pos x="T0" y="T1"/>
                  </a:cxn>
                  <a:cxn ang="0">
                    <a:pos x="T2" y="T3"/>
                  </a:cxn>
                  <a:cxn ang="0">
                    <a:pos x="T4" y="T5"/>
                  </a:cxn>
                </a:cxnLst>
                <a:rect l="0" t="0" r="r" b="b"/>
                <a:pathLst>
                  <a:path w="2" h="3">
                    <a:moveTo>
                      <a:pt x="1" y="0"/>
                    </a:moveTo>
                    <a:cubicBezTo>
                      <a:pt x="0" y="1"/>
                      <a:pt x="1" y="2"/>
                      <a:pt x="2" y="3"/>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2" name="Freeform 60">
                <a:extLst>
                  <a:ext uri="{FF2B5EF4-FFF2-40B4-BE49-F238E27FC236}">
                    <a16:creationId xmlns:a16="http://schemas.microsoft.com/office/drawing/2014/main" id="{0AA39BA3-BF78-4CF0-8C15-957F3966A85A}"/>
                  </a:ext>
                </a:extLst>
              </p:cNvPr>
              <p:cNvSpPr>
                <a:spLocks/>
              </p:cNvSpPr>
              <p:nvPr/>
            </p:nvSpPr>
            <p:spPr bwMode="auto">
              <a:xfrm>
                <a:off x="8020" y="2817"/>
                <a:ext cx="57" cy="88"/>
              </a:xfrm>
              <a:custGeom>
                <a:avLst/>
                <a:gdLst>
                  <a:gd name="T0" fmla="*/ 17 w 24"/>
                  <a:gd name="T1" fmla="*/ 0 h 37"/>
                  <a:gd name="T2" fmla="*/ 16 w 24"/>
                  <a:gd name="T3" fmla="*/ 0 h 37"/>
                  <a:gd name="T4" fmla="*/ 7 w 24"/>
                  <a:gd name="T5" fmla="*/ 15 h 37"/>
                  <a:gd name="T6" fmla="*/ 5 w 24"/>
                  <a:gd name="T7" fmla="*/ 19 h 37"/>
                  <a:gd name="T8" fmla="*/ 4 w 24"/>
                  <a:gd name="T9" fmla="*/ 19 h 37"/>
                  <a:gd name="T10" fmla="*/ 3 w 24"/>
                  <a:gd name="T11" fmla="*/ 19 h 37"/>
                  <a:gd name="T12" fmla="*/ 5 w 24"/>
                  <a:gd name="T13" fmla="*/ 29 h 37"/>
                  <a:gd name="T14" fmla="*/ 9 w 24"/>
                  <a:gd name="T15" fmla="*/ 31 h 37"/>
                  <a:gd name="T16" fmla="*/ 11 w 24"/>
                  <a:gd name="T17" fmla="*/ 33 h 37"/>
                  <a:gd name="T18" fmla="*/ 14 w 24"/>
                  <a:gd name="T19" fmla="*/ 37 h 37"/>
                  <a:gd name="T20" fmla="*/ 14 w 24"/>
                  <a:gd name="T21" fmla="*/ 37 h 37"/>
                  <a:gd name="T22" fmla="*/ 15 w 24"/>
                  <a:gd name="T23" fmla="*/ 27 h 37"/>
                  <a:gd name="T24" fmla="*/ 18 w 24"/>
                  <a:gd name="T25" fmla="*/ 15 h 37"/>
                  <a:gd name="T26" fmla="*/ 24 w 24"/>
                  <a:gd name="T27" fmla="*/ 2 h 37"/>
                  <a:gd name="T28" fmla="*/ 23 w 24"/>
                  <a:gd name="T29" fmla="*/ 1 h 37"/>
                  <a:gd name="T30" fmla="*/ 21 w 24"/>
                  <a:gd name="T31" fmla="*/ 0 h 37"/>
                  <a:gd name="T32" fmla="*/ 17 w 24"/>
                  <a:gd name="T3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7">
                    <a:moveTo>
                      <a:pt x="17" y="0"/>
                    </a:moveTo>
                    <a:cubicBezTo>
                      <a:pt x="17" y="0"/>
                      <a:pt x="16" y="0"/>
                      <a:pt x="16" y="0"/>
                    </a:cubicBezTo>
                    <a:cubicBezTo>
                      <a:pt x="10" y="1"/>
                      <a:pt x="9" y="10"/>
                      <a:pt x="7" y="15"/>
                    </a:cubicBezTo>
                    <a:cubicBezTo>
                      <a:pt x="7" y="16"/>
                      <a:pt x="6" y="19"/>
                      <a:pt x="5" y="19"/>
                    </a:cubicBezTo>
                    <a:cubicBezTo>
                      <a:pt x="4" y="19"/>
                      <a:pt x="4" y="19"/>
                      <a:pt x="4" y="19"/>
                    </a:cubicBezTo>
                    <a:cubicBezTo>
                      <a:pt x="4" y="19"/>
                      <a:pt x="3" y="19"/>
                      <a:pt x="3" y="19"/>
                    </a:cubicBezTo>
                    <a:cubicBezTo>
                      <a:pt x="0" y="22"/>
                      <a:pt x="4" y="27"/>
                      <a:pt x="5" y="29"/>
                    </a:cubicBezTo>
                    <a:cubicBezTo>
                      <a:pt x="7" y="31"/>
                      <a:pt x="8" y="30"/>
                      <a:pt x="9" y="31"/>
                    </a:cubicBezTo>
                    <a:cubicBezTo>
                      <a:pt x="11" y="32"/>
                      <a:pt x="10" y="32"/>
                      <a:pt x="11" y="33"/>
                    </a:cubicBezTo>
                    <a:cubicBezTo>
                      <a:pt x="12" y="35"/>
                      <a:pt x="12" y="37"/>
                      <a:pt x="14" y="37"/>
                    </a:cubicBezTo>
                    <a:cubicBezTo>
                      <a:pt x="14" y="37"/>
                      <a:pt x="14" y="37"/>
                      <a:pt x="14" y="37"/>
                    </a:cubicBezTo>
                    <a:cubicBezTo>
                      <a:pt x="19" y="37"/>
                      <a:pt x="16" y="30"/>
                      <a:pt x="15" y="27"/>
                    </a:cubicBezTo>
                    <a:cubicBezTo>
                      <a:pt x="15" y="23"/>
                      <a:pt x="17" y="18"/>
                      <a:pt x="18" y="15"/>
                    </a:cubicBezTo>
                    <a:cubicBezTo>
                      <a:pt x="20" y="10"/>
                      <a:pt x="22" y="6"/>
                      <a:pt x="24" y="2"/>
                    </a:cubicBezTo>
                    <a:cubicBezTo>
                      <a:pt x="23" y="2"/>
                      <a:pt x="23" y="2"/>
                      <a:pt x="23" y="1"/>
                    </a:cubicBezTo>
                    <a:cubicBezTo>
                      <a:pt x="22" y="1"/>
                      <a:pt x="22" y="1"/>
                      <a:pt x="21" y="0"/>
                    </a:cubicBezTo>
                    <a:cubicBezTo>
                      <a:pt x="19"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3" name="Freeform 61">
                <a:extLst>
                  <a:ext uri="{FF2B5EF4-FFF2-40B4-BE49-F238E27FC236}">
                    <a16:creationId xmlns:a16="http://schemas.microsoft.com/office/drawing/2014/main" id="{EBB9DA71-27CF-4AC7-A95B-A57DB4AAE016}"/>
                  </a:ext>
                </a:extLst>
              </p:cNvPr>
              <p:cNvSpPr>
                <a:spLocks/>
              </p:cNvSpPr>
              <p:nvPr/>
            </p:nvSpPr>
            <p:spPr bwMode="auto">
              <a:xfrm>
                <a:off x="7997" y="2869"/>
                <a:ext cx="217" cy="192"/>
              </a:xfrm>
              <a:custGeom>
                <a:avLst/>
                <a:gdLst>
                  <a:gd name="T0" fmla="*/ 71 w 92"/>
                  <a:gd name="T1" fmla="*/ 12 h 81"/>
                  <a:gd name="T2" fmla="*/ 65 w 92"/>
                  <a:gd name="T3" fmla="*/ 14 h 81"/>
                  <a:gd name="T4" fmla="*/ 61 w 92"/>
                  <a:gd name="T5" fmla="*/ 17 h 81"/>
                  <a:gd name="T6" fmla="*/ 59 w 92"/>
                  <a:gd name="T7" fmla="*/ 16 h 81"/>
                  <a:gd name="T8" fmla="*/ 51 w 92"/>
                  <a:gd name="T9" fmla="*/ 23 h 81"/>
                  <a:gd name="T10" fmla="*/ 45 w 92"/>
                  <a:gd name="T11" fmla="*/ 30 h 81"/>
                  <a:gd name="T12" fmla="*/ 36 w 92"/>
                  <a:gd name="T13" fmla="*/ 35 h 81"/>
                  <a:gd name="T14" fmla="*/ 38 w 92"/>
                  <a:gd name="T15" fmla="*/ 24 h 81"/>
                  <a:gd name="T16" fmla="*/ 30 w 92"/>
                  <a:gd name="T17" fmla="*/ 21 h 81"/>
                  <a:gd name="T18" fmla="*/ 23 w 92"/>
                  <a:gd name="T19" fmla="*/ 28 h 81"/>
                  <a:gd name="T20" fmla="*/ 19 w 92"/>
                  <a:gd name="T21" fmla="*/ 33 h 81"/>
                  <a:gd name="T22" fmla="*/ 6 w 92"/>
                  <a:gd name="T23" fmla="*/ 43 h 81"/>
                  <a:gd name="T24" fmla="*/ 4 w 92"/>
                  <a:gd name="T25" fmla="*/ 55 h 81"/>
                  <a:gd name="T26" fmla="*/ 8 w 92"/>
                  <a:gd name="T27" fmla="*/ 54 h 81"/>
                  <a:gd name="T28" fmla="*/ 12 w 92"/>
                  <a:gd name="T29" fmla="*/ 47 h 81"/>
                  <a:gd name="T30" fmla="*/ 12 w 92"/>
                  <a:gd name="T31" fmla="*/ 43 h 81"/>
                  <a:gd name="T32" fmla="*/ 19 w 92"/>
                  <a:gd name="T33" fmla="*/ 42 h 81"/>
                  <a:gd name="T34" fmla="*/ 25 w 92"/>
                  <a:gd name="T35" fmla="*/ 41 h 81"/>
                  <a:gd name="T36" fmla="*/ 27 w 92"/>
                  <a:gd name="T37" fmla="*/ 43 h 81"/>
                  <a:gd name="T38" fmla="*/ 27 w 92"/>
                  <a:gd name="T39" fmla="*/ 45 h 81"/>
                  <a:gd name="T40" fmla="*/ 31 w 92"/>
                  <a:gd name="T41" fmla="*/ 47 h 81"/>
                  <a:gd name="T42" fmla="*/ 34 w 92"/>
                  <a:gd name="T43" fmla="*/ 38 h 81"/>
                  <a:gd name="T44" fmla="*/ 45 w 92"/>
                  <a:gd name="T45" fmla="*/ 49 h 81"/>
                  <a:gd name="T46" fmla="*/ 43 w 92"/>
                  <a:gd name="T47" fmla="*/ 62 h 81"/>
                  <a:gd name="T48" fmla="*/ 57 w 92"/>
                  <a:gd name="T49" fmla="*/ 74 h 81"/>
                  <a:gd name="T50" fmla="*/ 63 w 92"/>
                  <a:gd name="T51" fmla="*/ 75 h 81"/>
                  <a:gd name="T52" fmla="*/ 66 w 92"/>
                  <a:gd name="T53" fmla="*/ 71 h 81"/>
                  <a:gd name="T54" fmla="*/ 68 w 92"/>
                  <a:gd name="T55" fmla="*/ 81 h 81"/>
                  <a:gd name="T56" fmla="*/ 74 w 92"/>
                  <a:gd name="T57" fmla="*/ 75 h 81"/>
                  <a:gd name="T58" fmla="*/ 69 w 92"/>
                  <a:gd name="T59" fmla="*/ 61 h 81"/>
                  <a:gd name="T60" fmla="*/ 69 w 92"/>
                  <a:gd name="T61" fmla="*/ 58 h 81"/>
                  <a:gd name="T62" fmla="*/ 76 w 92"/>
                  <a:gd name="T63" fmla="*/ 48 h 81"/>
                  <a:gd name="T64" fmla="*/ 82 w 92"/>
                  <a:gd name="T65" fmla="*/ 57 h 81"/>
                  <a:gd name="T66" fmla="*/ 84 w 92"/>
                  <a:gd name="T67" fmla="*/ 68 h 81"/>
                  <a:gd name="T68" fmla="*/ 84 w 92"/>
                  <a:gd name="T69" fmla="*/ 56 h 81"/>
                  <a:gd name="T70" fmla="*/ 86 w 92"/>
                  <a:gd name="T71" fmla="*/ 57 h 81"/>
                  <a:gd name="T72" fmla="*/ 87 w 92"/>
                  <a:gd name="T73" fmla="*/ 56 h 81"/>
                  <a:gd name="T74" fmla="*/ 91 w 92"/>
                  <a:gd name="T75" fmla="*/ 50 h 81"/>
                  <a:gd name="T76" fmla="*/ 87 w 92"/>
                  <a:gd name="T77" fmla="*/ 37 h 81"/>
                  <a:gd name="T78" fmla="*/ 87 w 92"/>
                  <a:gd name="T79" fmla="*/ 31 h 81"/>
                  <a:gd name="T80" fmla="*/ 86 w 92"/>
                  <a:gd name="T81" fmla="*/ 25 h 81"/>
                  <a:gd name="T82" fmla="*/ 84 w 92"/>
                  <a:gd name="T83" fmla="*/ 25 h 81"/>
                  <a:gd name="T84" fmla="*/ 86 w 92"/>
                  <a:gd name="T85" fmla="*/ 20 h 81"/>
                  <a:gd name="T86" fmla="*/ 82 w 92"/>
                  <a:gd name="T87" fmla="*/ 11 h 81"/>
                  <a:gd name="T88" fmla="*/ 70 w 92"/>
                  <a:gd name="T8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2" h="81">
                    <a:moveTo>
                      <a:pt x="70" y="0"/>
                    </a:moveTo>
                    <a:cubicBezTo>
                      <a:pt x="70" y="4"/>
                      <a:pt x="70" y="8"/>
                      <a:pt x="71" y="12"/>
                    </a:cubicBezTo>
                    <a:cubicBezTo>
                      <a:pt x="71" y="13"/>
                      <a:pt x="71" y="15"/>
                      <a:pt x="71" y="16"/>
                    </a:cubicBezTo>
                    <a:cubicBezTo>
                      <a:pt x="69" y="15"/>
                      <a:pt x="67" y="15"/>
                      <a:pt x="65" y="14"/>
                    </a:cubicBezTo>
                    <a:cubicBezTo>
                      <a:pt x="65" y="17"/>
                      <a:pt x="65" y="18"/>
                      <a:pt x="64" y="18"/>
                    </a:cubicBezTo>
                    <a:cubicBezTo>
                      <a:pt x="63" y="18"/>
                      <a:pt x="62" y="18"/>
                      <a:pt x="61" y="17"/>
                    </a:cubicBezTo>
                    <a:cubicBezTo>
                      <a:pt x="61" y="17"/>
                      <a:pt x="59" y="16"/>
                      <a:pt x="59" y="16"/>
                    </a:cubicBezTo>
                    <a:cubicBezTo>
                      <a:pt x="59" y="16"/>
                      <a:pt x="59" y="16"/>
                      <a:pt x="59" y="16"/>
                    </a:cubicBezTo>
                    <a:cubicBezTo>
                      <a:pt x="56" y="16"/>
                      <a:pt x="57" y="23"/>
                      <a:pt x="56" y="25"/>
                    </a:cubicBezTo>
                    <a:cubicBezTo>
                      <a:pt x="55" y="25"/>
                      <a:pt x="51" y="23"/>
                      <a:pt x="51" y="23"/>
                    </a:cubicBezTo>
                    <a:cubicBezTo>
                      <a:pt x="51" y="23"/>
                      <a:pt x="51" y="23"/>
                      <a:pt x="51" y="23"/>
                    </a:cubicBezTo>
                    <a:cubicBezTo>
                      <a:pt x="49" y="26"/>
                      <a:pt x="48" y="28"/>
                      <a:pt x="45" y="30"/>
                    </a:cubicBezTo>
                    <a:cubicBezTo>
                      <a:pt x="44" y="31"/>
                      <a:pt x="38" y="35"/>
                      <a:pt x="36" y="35"/>
                    </a:cubicBezTo>
                    <a:cubicBezTo>
                      <a:pt x="36" y="35"/>
                      <a:pt x="36" y="35"/>
                      <a:pt x="36" y="35"/>
                    </a:cubicBezTo>
                    <a:cubicBezTo>
                      <a:pt x="37" y="34"/>
                      <a:pt x="39" y="33"/>
                      <a:pt x="40" y="31"/>
                    </a:cubicBezTo>
                    <a:cubicBezTo>
                      <a:pt x="40" y="29"/>
                      <a:pt x="39" y="25"/>
                      <a:pt x="38" y="24"/>
                    </a:cubicBezTo>
                    <a:cubicBezTo>
                      <a:pt x="37" y="23"/>
                      <a:pt x="37" y="23"/>
                      <a:pt x="36" y="23"/>
                    </a:cubicBezTo>
                    <a:cubicBezTo>
                      <a:pt x="33" y="23"/>
                      <a:pt x="32" y="22"/>
                      <a:pt x="30" y="21"/>
                    </a:cubicBezTo>
                    <a:cubicBezTo>
                      <a:pt x="31" y="22"/>
                      <a:pt x="31" y="22"/>
                      <a:pt x="31" y="22"/>
                    </a:cubicBezTo>
                    <a:cubicBezTo>
                      <a:pt x="27" y="24"/>
                      <a:pt x="24" y="24"/>
                      <a:pt x="23" y="28"/>
                    </a:cubicBezTo>
                    <a:cubicBezTo>
                      <a:pt x="22" y="29"/>
                      <a:pt x="22" y="31"/>
                      <a:pt x="21" y="32"/>
                    </a:cubicBezTo>
                    <a:cubicBezTo>
                      <a:pt x="21" y="33"/>
                      <a:pt x="19" y="33"/>
                      <a:pt x="19" y="33"/>
                    </a:cubicBezTo>
                    <a:cubicBezTo>
                      <a:pt x="14" y="34"/>
                      <a:pt x="9" y="34"/>
                      <a:pt x="7" y="38"/>
                    </a:cubicBezTo>
                    <a:cubicBezTo>
                      <a:pt x="6" y="40"/>
                      <a:pt x="6" y="42"/>
                      <a:pt x="6" y="43"/>
                    </a:cubicBezTo>
                    <a:cubicBezTo>
                      <a:pt x="6" y="44"/>
                      <a:pt x="6" y="44"/>
                      <a:pt x="6" y="44"/>
                    </a:cubicBezTo>
                    <a:cubicBezTo>
                      <a:pt x="4" y="46"/>
                      <a:pt x="0" y="54"/>
                      <a:pt x="4" y="55"/>
                    </a:cubicBezTo>
                    <a:cubicBezTo>
                      <a:pt x="5" y="56"/>
                      <a:pt x="5" y="56"/>
                      <a:pt x="6" y="56"/>
                    </a:cubicBezTo>
                    <a:cubicBezTo>
                      <a:pt x="6" y="56"/>
                      <a:pt x="7" y="55"/>
                      <a:pt x="8" y="54"/>
                    </a:cubicBezTo>
                    <a:cubicBezTo>
                      <a:pt x="8" y="53"/>
                      <a:pt x="9" y="52"/>
                      <a:pt x="9" y="52"/>
                    </a:cubicBezTo>
                    <a:cubicBezTo>
                      <a:pt x="10" y="50"/>
                      <a:pt x="9" y="48"/>
                      <a:pt x="12" y="47"/>
                    </a:cubicBezTo>
                    <a:cubicBezTo>
                      <a:pt x="9" y="46"/>
                      <a:pt x="13" y="44"/>
                      <a:pt x="14" y="43"/>
                    </a:cubicBezTo>
                    <a:cubicBezTo>
                      <a:pt x="12" y="43"/>
                      <a:pt x="12" y="43"/>
                      <a:pt x="12" y="43"/>
                    </a:cubicBezTo>
                    <a:cubicBezTo>
                      <a:pt x="13" y="42"/>
                      <a:pt x="15" y="40"/>
                      <a:pt x="16" y="40"/>
                    </a:cubicBezTo>
                    <a:cubicBezTo>
                      <a:pt x="17" y="40"/>
                      <a:pt x="18" y="41"/>
                      <a:pt x="19" y="42"/>
                    </a:cubicBezTo>
                    <a:cubicBezTo>
                      <a:pt x="20" y="43"/>
                      <a:pt x="19" y="45"/>
                      <a:pt x="19" y="46"/>
                    </a:cubicBezTo>
                    <a:cubicBezTo>
                      <a:pt x="22" y="45"/>
                      <a:pt x="23" y="42"/>
                      <a:pt x="25" y="41"/>
                    </a:cubicBezTo>
                    <a:cubicBezTo>
                      <a:pt x="25" y="41"/>
                      <a:pt x="25" y="41"/>
                      <a:pt x="25" y="41"/>
                    </a:cubicBezTo>
                    <a:cubicBezTo>
                      <a:pt x="26" y="41"/>
                      <a:pt x="27" y="42"/>
                      <a:pt x="27" y="43"/>
                    </a:cubicBezTo>
                    <a:cubicBezTo>
                      <a:pt x="27" y="44"/>
                      <a:pt x="25" y="43"/>
                      <a:pt x="25" y="44"/>
                    </a:cubicBezTo>
                    <a:cubicBezTo>
                      <a:pt x="26" y="45"/>
                      <a:pt x="26" y="45"/>
                      <a:pt x="27" y="45"/>
                    </a:cubicBezTo>
                    <a:cubicBezTo>
                      <a:pt x="27" y="45"/>
                      <a:pt x="28" y="45"/>
                      <a:pt x="29" y="45"/>
                    </a:cubicBezTo>
                    <a:cubicBezTo>
                      <a:pt x="28" y="46"/>
                      <a:pt x="30" y="46"/>
                      <a:pt x="31" y="47"/>
                    </a:cubicBezTo>
                    <a:cubicBezTo>
                      <a:pt x="31" y="44"/>
                      <a:pt x="28" y="42"/>
                      <a:pt x="31" y="39"/>
                    </a:cubicBezTo>
                    <a:cubicBezTo>
                      <a:pt x="32" y="38"/>
                      <a:pt x="33" y="38"/>
                      <a:pt x="34" y="38"/>
                    </a:cubicBezTo>
                    <a:cubicBezTo>
                      <a:pt x="38" y="38"/>
                      <a:pt x="42" y="43"/>
                      <a:pt x="44" y="45"/>
                    </a:cubicBezTo>
                    <a:cubicBezTo>
                      <a:pt x="46" y="47"/>
                      <a:pt x="48" y="47"/>
                      <a:pt x="45" y="49"/>
                    </a:cubicBezTo>
                    <a:cubicBezTo>
                      <a:pt x="45" y="50"/>
                      <a:pt x="44" y="51"/>
                      <a:pt x="43" y="52"/>
                    </a:cubicBezTo>
                    <a:cubicBezTo>
                      <a:pt x="41" y="55"/>
                      <a:pt x="43" y="59"/>
                      <a:pt x="43" y="62"/>
                    </a:cubicBezTo>
                    <a:cubicBezTo>
                      <a:pt x="43" y="63"/>
                      <a:pt x="42" y="65"/>
                      <a:pt x="43" y="66"/>
                    </a:cubicBezTo>
                    <a:cubicBezTo>
                      <a:pt x="48" y="70"/>
                      <a:pt x="52" y="72"/>
                      <a:pt x="57" y="74"/>
                    </a:cubicBezTo>
                    <a:cubicBezTo>
                      <a:pt x="59" y="75"/>
                      <a:pt x="60" y="76"/>
                      <a:pt x="61" y="76"/>
                    </a:cubicBezTo>
                    <a:cubicBezTo>
                      <a:pt x="62" y="76"/>
                      <a:pt x="63" y="75"/>
                      <a:pt x="63" y="75"/>
                    </a:cubicBezTo>
                    <a:cubicBezTo>
                      <a:pt x="64" y="73"/>
                      <a:pt x="64" y="71"/>
                      <a:pt x="65" y="71"/>
                    </a:cubicBezTo>
                    <a:cubicBezTo>
                      <a:pt x="65" y="71"/>
                      <a:pt x="66" y="71"/>
                      <a:pt x="66" y="71"/>
                    </a:cubicBezTo>
                    <a:cubicBezTo>
                      <a:pt x="66" y="75"/>
                      <a:pt x="64" y="76"/>
                      <a:pt x="66" y="80"/>
                    </a:cubicBezTo>
                    <a:cubicBezTo>
                      <a:pt x="67" y="81"/>
                      <a:pt x="67" y="81"/>
                      <a:pt x="68" y="81"/>
                    </a:cubicBezTo>
                    <a:cubicBezTo>
                      <a:pt x="69" y="81"/>
                      <a:pt x="69" y="80"/>
                      <a:pt x="70" y="79"/>
                    </a:cubicBezTo>
                    <a:cubicBezTo>
                      <a:pt x="71" y="78"/>
                      <a:pt x="73" y="76"/>
                      <a:pt x="74" y="75"/>
                    </a:cubicBezTo>
                    <a:cubicBezTo>
                      <a:pt x="75" y="72"/>
                      <a:pt x="73" y="65"/>
                      <a:pt x="71" y="63"/>
                    </a:cubicBezTo>
                    <a:cubicBezTo>
                      <a:pt x="71" y="63"/>
                      <a:pt x="70" y="62"/>
                      <a:pt x="69" y="61"/>
                    </a:cubicBezTo>
                    <a:cubicBezTo>
                      <a:pt x="69" y="62"/>
                      <a:pt x="69" y="62"/>
                      <a:pt x="69" y="62"/>
                    </a:cubicBezTo>
                    <a:cubicBezTo>
                      <a:pt x="69" y="62"/>
                      <a:pt x="69" y="59"/>
                      <a:pt x="69" y="58"/>
                    </a:cubicBezTo>
                    <a:cubicBezTo>
                      <a:pt x="70" y="56"/>
                      <a:pt x="73" y="48"/>
                      <a:pt x="76" y="48"/>
                    </a:cubicBezTo>
                    <a:cubicBezTo>
                      <a:pt x="76" y="48"/>
                      <a:pt x="76" y="48"/>
                      <a:pt x="76" y="48"/>
                    </a:cubicBezTo>
                    <a:cubicBezTo>
                      <a:pt x="78" y="48"/>
                      <a:pt x="79" y="52"/>
                      <a:pt x="79" y="54"/>
                    </a:cubicBezTo>
                    <a:cubicBezTo>
                      <a:pt x="80" y="56"/>
                      <a:pt x="81" y="56"/>
                      <a:pt x="82" y="57"/>
                    </a:cubicBezTo>
                    <a:cubicBezTo>
                      <a:pt x="83" y="59"/>
                      <a:pt x="81" y="61"/>
                      <a:pt x="82" y="63"/>
                    </a:cubicBezTo>
                    <a:cubicBezTo>
                      <a:pt x="82" y="65"/>
                      <a:pt x="84" y="66"/>
                      <a:pt x="84" y="68"/>
                    </a:cubicBezTo>
                    <a:cubicBezTo>
                      <a:pt x="84" y="65"/>
                      <a:pt x="84" y="62"/>
                      <a:pt x="83" y="59"/>
                    </a:cubicBezTo>
                    <a:cubicBezTo>
                      <a:pt x="83" y="58"/>
                      <a:pt x="83" y="56"/>
                      <a:pt x="84" y="56"/>
                    </a:cubicBezTo>
                    <a:cubicBezTo>
                      <a:pt x="84" y="56"/>
                      <a:pt x="85" y="56"/>
                      <a:pt x="85" y="56"/>
                    </a:cubicBezTo>
                    <a:cubicBezTo>
                      <a:pt x="86" y="56"/>
                      <a:pt x="85" y="56"/>
                      <a:pt x="86" y="57"/>
                    </a:cubicBezTo>
                    <a:cubicBezTo>
                      <a:pt x="86" y="57"/>
                      <a:pt x="86" y="58"/>
                      <a:pt x="87" y="58"/>
                    </a:cubicBezTo>
                    <a:cubicBezTo>
                      <a:pt x="87" y="58"/>
                      <a:pt x="87" y="57"/>
                      <a:pt x="87" y="56"/>
                    </a:cubicBezTo>
                    <a:cubicBezTo>
                      <a:pt x="88" y="54"/>
                      <a:pt x="89" y="54"/>
                      <a:pt x="89" y="54"/>
                    </a:cubicBezTo>
                    <a:cubicBezTo>
                      <a:pt x="90" y="53"/>
                      <a:pt x="91" y="51"/>
                      <a:pt x="91" y="50"/>
                    </a:cubicBezTo>
                    <a:cubicBezTo>
                      <a:pt x="92" y="47"/>
                      <a:pt x="91" y="44"/>
                      <a:pt x="91" y="42"/>
                    </a:cubicBezTo>
                    <a:cubicBezTo>
                      <a:pt x="91" y="39"/>
                      <a:pt x="89" y="38"/>
                      <a:pt x="87" y="37"/>
                    </a:cubicBezTo>
                    <a:cubicBezTo>
                      <a:pt x="90" y="35"/>
                      <a:pt x="88" y="33"/>
                      <a:pt x="89" y="31"/>
                    </a:cubicBezTo>
                    <a:cubicBezTo>
                      <a:pt x="88" y="31"/>
                      <a:pt x="88" y="31"/>
                      <a:pt x="87" y="31"/>
                    </a:cubicBezTo>
                    <a:cubicBezTo>
                      <a:pt x="85" y="31"/>
                      <a:pt x="88" y="28"/>
                      <a:pt x="87" y="26"/>
                    </a:cubicBezTo>
                    <a:cubicBezTo>
                      <a:pt x="87" y="25"/>
                      <a:pt x="86" y="25"/>
                      <a:pt x="86" y="25"/>
                    </a:cubicBezTo>
                    <a:cubicBezTo>
                      <a:pt x="85" y="25"/>
                      <a:pt x="85" y="25"/>
                      <a:pt x="85" y="25"/>
                    </a:cubicBezTo>
                    <a:cubicBezTo>
                      <a:pt x="84" y="25"/>
                      <a:pt x="84" y="25"/>
                      <a:pt x="84" y="25"/>
                    </a:cubicBezTo>
                    <a:cubicBezTo>
                      <a:pt x="83" y="25"/>
                      <a:pt x="83" y="25"/>
                      <a:pt x="83" y="25"/>
                    </a:cubicBezTo>
                    <a:cubicBezTo>
                      <a:pt x="81" y="23"/>
                      <a:pt x="85" y="21"/>
                      <a:pt x="86" y="20"/>
                    </a:cubicBezTo>
                    <a:cubicBezTo>
                      <a:pt x="87" y="17"/>
                      <a:pt x="84" y="14"/>
                      <a:pt x="84" y="10"/>
                    </a:cubicBezTo>
                    <a:cubicBezTo>
                      <a:pt x="83" y="11"/>
                      <a:pt x="82" y="11"/>
                      <a:pt x="82" y="11"/>
                    </a:cubicBezTo>
                    <a:cubicBezTo>
                      <a:pt x="81" y="11"/>
                      <a:pt x="80" y="10"/>
                      <a:pt x="79" y="7"/>
                    </a:cubicBezTo>
                    <a:cubicBezTo>
                      <a:pt x="78" y="4"/>
                      <a:pt x="72" y="2"/>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4" name="Freeform 62">
                <a:extLst>
                  <a:ext uri="{FF2B5EF4-FFF2-40B4-BE49-F238E27FC236}">
                    <a16:creationId xmlns:a16="http://schemas.microsoft.com/office/drawing/2014/main" id="{3AA4647D-37D5-46B3-80CD-0CE8111D9844}"/>
                  </a:ext>
                </a:extLst>
              </p:cNvPr>
              <p:cNvSpPr>
                <a:spLocks/>
              </p:cNvSpPr>
              <p:nvPr/>
            </p:nvSpPr>
            <p:spPr bwMode="auto">
              <a:xfrm>
                <a:off x="8025" y="2746"/>
                <a:ext cx="12" cy="12"/>
              </a:xfrm>
              <a:custGeom>
                <a:avLst/>
                <a:gdLst>
                  <a:gd name="T0" fmla="*/ 3 w 5"/>
                  <a:gd name="T1" fmla="*/ 0 h 5"/>
                  <a:gd name="T2" fmla="*/ 0 w 5"/>
                  <a:gd name="T3" fmla="*/ 1 h 5"/>
                  <a:gd name="T4" fmla="*/ 4 w 5"/>
                  <a:gd name="T5" fmla="*/ 5 h 5"/>
                  <a:gd name="T6" fmla="*/ 4 w 5"/>
                  <a:gd name="T7" fmla="*/ 0 h 5"/>
                  <a:gd name="T8" fmla="*/ 3 w 5"/>
                  <a:gd name="T9" fmla="*/ 0 h 5"/>
                </a:gdLst>
                <a:ahLst/>
                <a:cxnLst>
                  <a:cxn ang="0">
                    <a:pos x="T0" y="T1"/>
                  </a:cxn>
                  <a:cxn ang="0">
                    <a:pos x="T2" y="T3"/>
                  </a:cxn>
                  <a:cxn ang="0">
                    <a:pos x="T4" y="T5"/>
                  </a:cxn>
                  <a:cxn ang="0">
                    <a:pos x="T6" y="T7"/>
                  </a:cxn>
                  <a:cxn ang="0">
                    <a:pos x="T8" y="T9"/>
                  </a:cxn>
                </a:cxnLst>
                <a:rect l="0" t="0" r="r" b="b"/>
                <a:pathLst>
                  <a:path w="5" h="5">
                    <a:moveTo>
                      <a:pt x="3" y="0"/>
                    </a:moveTo>
                    <a:cubicBezTo>
                      <a:pt x="2" y="0"/>
                      <a:pt x="0" y="1"/>
                      <a:pt x="0" y="1"/>
                    </a:cubicBezTo>
                    <a:cubicBezTo>
                      <a:pt x="0" y="2"/>
                      <a:pt x="4" y="5"/>
                      <a:pt x="4" y="5"/>
                    </a:cubicBezTo>
                    <a:cubicBezTo>
                      <a:pt x="4" y="3"/>
                      <a:pt x="5"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5" name="Freeform 63">
                <a:extLst>
                  <a:ext uri="{FF2B5EF4-FFF2-40B4-BE49-F238E27FC236}">
                    <a16:creationId xmlns:a16="http://schemas.microsoft.com/office/drawing/2014/main" id="{5B7C44BA-6E33-4CBC-8D99-A050EE3C1C0B}"/>
                  </a:ext>
                </a:extLst>
              </p:cNvPr>
              <p:cNvSpPr>
                <a:spLocks/>
              </p:cNvSpPr>
              <p:nvPr/>
            </p:nvSpPr>
            <p:spPr bwMode="auto">
              <a:xfrm>
                <a:off x="7992" y="2631"/>
                <a:ext cx="19" cy="18"/>
              </a:xfrm>
              <a:custGeom>
                <a:avLst/>
                <a:gdLst>
                  <a:gd name="T0" fmla="*/ 5 w 8"/>
                  <a:gd name="T1" fmla="*/ 0 h 8"/>
                  <a:gd name="T2" fmla="*/ 5 w 8"/>
                  <a:gd name="T3" fmla="*/ 0 h 8"/>
                  <a:gd name="T4" fmla="*/ 5 w 8"/>
                  <a:gd name="T5" fmla="*/ 8 h 8"/>
                  <a:gd name="T6" fmla="*/ 6 w 8"/>
                  <a:gd name="T7" fmla="*/ 3 h 8"/>
                  <a:gd name="T8" fmla="*/ 6 w 8"/>
                  <a:gd name="T9" fmla="*/ 1 h 8"/>
                  <a:gd name="T10" fmla="*/ 5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5" y="0"/>
                    </a:moveTo>
                    <a:cubicBezTo>
                      <a:pt x="5" y="0"/>
                      <a:pt x="5" y="0"/>
                      <a:pt x="5" y="0"/>
                    </a:cubicBezTo>
                    <a:cubicBezTo>
                      <a:pt x="0" y="0"/>
                      <a:pt x="4" y="6"/>
                      <a:pt x="5" y="8"/>
                    </a:cubicBezTo>
                    <a:cubicBezTo>
                      <a:pt x="8" y="6"/>
                      <a:pt x="6" y="6"/>
                      <a:pt x="6" y="3"/>
                    </a:cubicBezTo>
                    <a:cubicBezTo>
                      <a:pt x="6" y="3"/>
                      <a:pt x="6" y="2"/>
                      <a:pt x="6" y="1"/>
                    </a:cubicBezTo>
                    <a:cubicBezTo>
                      <a:pt x="6" y="1"/>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6" name="Freeform 64">
                <a:extLst>
                  <a:ext uri="{FF2B5EF4-FFF2-40B4-BE49-F238E27FC236}">
                    <a16:creationId xmlns:a16="http://schemas.microsoft.com/office/drawing/2014/main" id="{E7662EBA-CF7D-47AA-999E-F288F61DAD19}"/>
                  </a:ext>
                </a:extLst>
              </p:cNvPr>
              <p:cNvSpPr>
                <a:spLocks/>
              </p:cNvSpPr>
              <p:nvPr/>
            </p:nvSpPr>
            <p:spPr bwMode="auto">
              <a:xfrm>
                <a:off x="8027" y="2827"/>
                <a:ext cx="10" cy="16"/>
              </a:xfrm>
              <a:custGeom>
                <a:avLst/>
                <a:gdLst>
                  <a:gd name="T0" fmla="*/ 4 w 4"/>
                  <a:gd name="T1" fmla="*/ 0 h 7"/>
                  <a:gd name="T2" fmla="*/ 1 w 4"/>
                  <a:gd name="T3" fmla="*/ 4 h 7"/>
                  <a:gd name="T4" fmla="*/ 1 w 4"/>
                  <a:gd name="T5" fmla="*/ 7 h 7"/>
                  <a:gd name="T6" fmla="*/ 4 w 4"/>
                  <a:gd name="T7" fmla="*/ 0 h 7"/>
                </a:gdLst>
                <a:ahLst/>
                <a:cxnLst>
                  <a:cxn ang="0">
                    <a:pos x="T0" y="T1"/>
                  </a:cxn>
                  <a:cxn ang="0">
                    <a:pos x="T2" y="T3"/>
                  </a:cxn>
                  <a:cxn ang="0">
                    <a:pos x="T4" y="T5"/>
                  </a:cxn>
                  <a:cxn ang="0">
                    <a:pos x="T6" y="T7"/>
                  </a:cxn>
                </a:cxnLst>
                <a:rect l="0" t="0" r="r" b="b"/>
                <a:pathLst>
                  <a:path w="4" h="7">
                    <a:moveTo>
                      <a:pt x="4" y="0"/>
                    </a:moveTo>
                    <a:cubicBezTo>
                      <a:pt x="3" y="1"/>
                      <a:pt x="0" y="3"/>
                      <a:pt x="1" y="4"/>
                    </a:cubicBezTo>
                    <a:cubicBezTo>
                      <a:pt x="0" y="5"/>
                      <a:pt x="0" y="6"/>
                      <a:pt x="1" y="7"/>
                    </a:cubicBezTo>
                    <a:cubicBezTo>
                      <a:pt x="3" y="4"/>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7" name="Freeform 65">
                <a:extLst>
                  <a:ext uri="{FF2B5EF4-FFF2-40B4-BE49-F238E27FC236}">
                    <a16:creationId xmlns:a16="http://schemas.microsoft.com/office/drawing/2014/main" id="{4783B388-4D08-4785-977A-28774087C670}"/>
                  </a:ext>
                </a:extLst>
              </p:cNvPr>
              <p:cNvSpPr>
                <a:spLocks/>
              </p:cNvSpPr>
              <p:nvPr/>
            </p:nvSpPr>
            <p:spPr bwMode="auto">
              <a:xfrm>
                <a:off x="8181" y="2860"/>
                <a:ext cx="12" cy="14"/>
              </a:xfrm>
              <a:custGeom>
                <a:avLst/>
                <a:gdLst>
                  <a:gd name="T0" fmla="*/ 3 w 5"/>
                  <a:gd name="T1" fmla="*/ 0 h 6"/>
                  <a:gd name="T2" fmla="*/ 3 w 5"/>
                  <a:gd name="T3" fmla="*/ 6 h 6"/>
                  <a:gd name="T4" fmla="*/ 5 w 5"/>
                  <a:gd name="T5" fmla="*/ 4 h 6"/>
                  <a:gd name="T6" fmla="*/ 3 w 5"/>
                  <a:gd name="T7" fmla="*/ 0 h 6"/>
                </a:gdLst>
                <a:ahLst/>
                <a:cxnLst>
                  <a:cxn ang="0">
                    <a:pos x="T0" y="T1"/>
                  </a:cxn>
                  <a:cxn ang="0">
                    <a:pos x="T2" y="T3"/>
                  </a:cxn>
                  <a:cxn ang="0">
                    <a:pos x="T4" y="T5"/>
                  </a:cxn>
                  <a:cxn ang="0">
                    <a:pos x="T6" y="T7"/>
                  </a:cxn>
                </a:cxnLst>
                <a:rect l="0" t="0" r="r" b="b"/>
                <a:pathLst>
                  <a:path w="5" h="6">
                    <a:moveTo>
                      <a:pt x="3" y="0"/>
                    </a:moveTo>
                    <a:cubicBezTo>
                      <a:pt x="2" y="2"/>
                      <a:pt x="0" y="3"/>
                      <a:pt x="3" y="6"/>
                    </a:cubicBezTo>
                    <a:cubicBezTo>
                      <a:pt x="4" y="5"/>
                      <a:pt x="5" y="5"/>
                      <a:pt x="5" y="4"/>
                    </a:cubicBezTo>
                    <a:cubicBezTo>
                      <a:pt x="4" y="3"/>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8" name="Freeform 66">
                <a:extLst>
                  <a:ext uri="{FF2B5EF4-FFF2-40B4-BE49-F238E27FC236}">
                    <a16:creationId xmlns:a16="http://schemas.microsoft.com/office/drawing/2014/main" id="{1DED43CE-4197-473A-8DA4-F38756434DE1}"/>
                  </a:ext>
                </a:extLst>
              </p:cNvPr>
              <p:cNvSpPr>
                <a:spLocks/>
              </p:cNvSpPr>
              <p:nvPr/>
            </p:nvSpPr>
            <p:spPr bwMode="auto">
              <a:xfrm>
                <a:off x="8072" y="2893"/>
                <a:ext cx="12" cy="9"/>
              </a:xfrm>
              <a:custGeom>
                <a:avLst/>
                <a:gdLst>
                  <a:gd name="T0" fmla="*/ 3 w 5"/>
                  <a:gd name="T1" fmla="*/ 0 h 4"/>
                  <a:gd name="T2" fmla="*/ 0 w 5"/>
                  <a:gd name="T3" fmla="*/ 2 h 4"/>
                  <a:gd name="T4" fmla="*/ 2 w 5"/>
                  <a:gd name="T5" fmla="*/ 4 h 4"/>
                  <a:gd name="T6" fmla="*/ 3 w 5"/>
                  <a:gd name="T7" fmla="*/ 0 h 4"/>
                </a:gdLst>
                <a:ahLst/>
                <a:cxnLst>
                  <a:cxn ang="0">
                    <a:pos x="T0" y="T1"/>
                  </a:cxn>
                  <a:cxn ang="0">
                    <a:pos x="T2" y="T3"/>
                  </a:cxn>
                  <a:cxn ang="0">
                    <a:pos x="T4" y="T5"/>
                  </a:cxn>
                  <a:cxn ang="0">
                    <a:pos x="T6" y="T7"/>
                  </a:cxn>
                </a:cxnLst>
                <a:rect l="0" t="0" r="r" b="b"/>
                <a:pathLst>
                  <a:path w="5" h="4">
                    <a:moveTo>
                      <a:pt x="3" y="0"/>
                    </a:moveTo>
                    <a:cubicBezTo>
                      <a:pt x="2" y="1"/>
                      <a:pt x="0" y="1"/>
                      <a:pt x="0" y="2"/>
                    </a:cubicBezTo>
                    <a:cubicBezTo>
                      <a:pt x="0" y="3"/>
                      <a:pt x="2" y="4"/>
                      <a:pt x="2" y="4"/>
                    </a:cubicBezTo>
                    <a:cubicBezTo>
                      <a:pt x="5"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9" name="Freeform 67">
                <a:extLst>
                  <a:ext uri="{FF2B5EF4-FFF2-40B4-BE49-F238E27FC236}">
                    <a16:creationId xmlns:a16="http://schemas.microsoft.com/office/drawing/2014/main" id="{86E19827-359F-4B81-B924-6B0C2190A206}"/>
                  </a:ext>
                </a:extLst>
              </p:cNvPr>
              <p:cNvSpPr>
                <a:spLocks/>
              </p:cNvSpPr>
              <p:nvPr/>
            </p:nvSpPr>
            <p:spPr bwMode="auto">
              <a:xfrm>
                <a:off x="7779" y="2947"/>
                <a:ext cx="7" cy="15"/>
              </a:xfrm>
              <a:custGeom>
                <a:avLst/>
                <a:gdLst>
                  <a:gd name="T0" fmla="*/ 1 w 3"/>
                  <a:gd name="T1" fmla="*/ 0 h 6"/>
                  <a:gd name="T2" fmla="*/ 1 w 3"/>
                  <a:gd name="T3" fmla="*/ 6 h 6"/>
                  <a:gd name="T4" fmla="*/ 2 w 3"/>
                  <a:gd name="T5" fmla="*/ 2 h 6"/>
                  <a:gd name="T6" fmla="*/ 2 w 3"/>
                  <a:gd name="T7" fmla="*/ 1 h 6"/>
                  <a:gd name="T8" fmla="*/ 1 w 3"/>
                  <a:gd name="T9" fmla="*/ 0 h 6"/>
                </a:gdLst>
                <a:ahLst/>
                <a:cxnLst>
                  <a:cxn ang="0">
                    <a:pos x="T0" y="T1"/>
                  </a:cxn>
                  <a:cxn ang="0">
                    <a:pos x="T2" y="T3"/>
                  </a:cxn>
                  <a:cxn ang="0">
                    <a:pos x="T4" y="T5"/>
                  </a:cxn>
                  <a:cxn ang="0">
                    <a:pos x="T6" y="T7"/>
                  </a:cxn>
                  <a:cxn ang="0">
                    <a:pos x="T8" y="T9"/>
                  </a:cxn>
                </a:cxnLst>
                <a:rect l="0" t="0" r="r" b="b"/>
                <a:pathLst>
                  <a:path w="3" h="6">
                    <a:moveTo>
                      <a:pt x="1" y="0"/>
                    </a:moveTo>
                    <a:cubicBezTo>
                      <a:pt x="0" y="0"/>
                      <a:pt x="1" y="5"/>
                      <a:pt x="1" y="6"/>
                    </a:cubicBezTo>
                    <a:cubicBezTo>
                      <a:pt x="2" y="4"/>
                      <a:pt x="3" y="3"/>
                      <a:pt x="2" y="2"/>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0" name="Freeform 68">
                <a:extLst>
                  <a:ext uri="{FF2B5EF4-FFF2-40B4-BE49-F238E27FC236}">
                    <a16:creationId xmlns:a16="http://schemas.microsoft.com/office/drawing/2014/main" id="{6A07E629-A21F-4C15-A403-D655E5077CDF}"/>
                  </a:ext>
                </a:extLst>
              </p:cNvPr>
              <p:cNvSpPr>
                <a:spLocks/>
              </p:cNvSpPr>
              <p:nvPr/>
            </p:nvSpPr>
            <p:spPr bwMode="auto">
              <a:xfrm>
                <a:off x="7999" y="3009"/>
                <a:ext cx="24" cy="14"/>
              </a:xfrm>
              <a:custGeom>
                <a:avLst/>
                <a:gdLst>
                  <a:gd name="T0" fmla="*/ 4 w 10"/>
                  <a:gd name="T1" fmla="*/ 0 h 6"/>
                  <a:gd name="T2" fmla="*/ 2 w 10"/>
                  <a:gd name="T3" fmla="*/ 1 h 6"/>
                  <a:gd name="T4" fmla="*/ 1 w 10"/>
                  <a:gd name="T5" fmla="*/ 2 h 6"/>
                  <a:gd name="T6" fmla="*/ 0 w 10"/>
                  <a:gd name="T7" fmla="*/ 1 h 6"/>
                  <a:gd name="T8" fmla="*/ 3 w 10"/>
                  <a:gd name="T9" fmla="*/ 6 h 6"/>
                  <a:gd name="T10" fmla="*/ 6 w 10"/>
                  <a:gd name="T11" fmla="*/ 5 h 6"/>
                  <a:gd name="T12" fmla="*/ 7 w 10"/>
                  <a:gd name="T13" fmla="*/ 4 h 6"/>
                  <a:gd name="T14" fmla="*/ 7 w 10"/>
                  <a:gd name="T15" fmla="*/ 2 h 6"/>
                  <a:gd name="T16" fmla="*/ 5 w 10"/>
                  <a:gd name="T17" fmla="*/ 0 h 6"/>
                  <a:gd name="T18" fmla="*/ 4 w 10"/>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6">
                    <a:moveTo>
                      <a:pt x="4" y="0"/>
                    </a:moveTo>
                    <a:cubicBezTo>
                      <a:pt x="3" y="0"/>
                      <a:pt x="3" y="0"/>
                      <a:pt x="2" y="1"/>
                    </a:cubicBezTo>
                    <a:cubicBezTo>
                      <a:pt x="2" y="1"/>
                      <a:pt x="1" y="2"/>
                      <a:pt x="1" y="2"/>
                    </a:cubicBezTo>
                    <a:cubicBezTo>
                      <a:pt x="0" y="2"/>
                      <a:pt x="0" y="1"/>
                      <a:pt x="0" y="1"/>
                    </a:cubicBezTo>
                    <a:cubicBezTo>
                      <a:pt x="0" y="3"/>
                      <a:pt x="2" y="5"/>
                      <a:pt x="3" y="6"/>
                    </a:cubicBezTo>
                    <a:cubicBezTo>
                      <a:pt x="3" y="6"/>
                      <a:pt x="6" y="6"/>
                      <a:pt x="6" y="5"/>
                    </a:cubicBezTo>
                    <a:cubicBezTo>
                      <a:pt x="7" y="5"/>
                      <a:pt x="7" y="4"/>
                      <a:pt x="7" y="4"/>
                    </a:cubicBezTo>
                    <a:cubicBezTo>
                      <a:pt x="8" y="3"/>
                      <a:pt x="10" y="2"/>
                      <a:pt x="7" y="2"/>
                    </a:cubicBezTo>
                    <a:cubicBezTo>
                      <a:pt x="6" y="1"/>
                      <a:pt x="6" y="0"/>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1" name="Freeform 69">
                <a:extLst>
                  <a:ext uri="{FF2B5EF4-FFF2-40B4-BE49-F238E27FC236}">
                    <a16:creationId xmlns:a16="http://schemas.microsoft.com/office/drawing/2014/main" id="{914E3533-49B7-4868-850A-A16C28811D83}"/>
                  </a:ext>
                </a:extLst>
              </p:cNvPr>
              <p:cNvSpPr>
                <a:spLocks/>
              </p:cNvSpPr>
              <p:nvPr/>
            </p:nvSpPr>
            <p:spPr bwMode="auto">
              <a:xfrm>
                <a:off x="8171" y="2990"/>
                <a:ext cx="5" cy="12"/>
              </a:xfrm>
              <a:custGeom>
                <a:avLst/>
                <a:gdLst>
                  <a:gd name="T0" fmla="*/ 0 w 2"/>
                  <a:gd name="T1" fmla="*/ 0 h 5"/>
                  <a:gd name="T2" fmla="*/ 2 w 2"/>
                  <a:gd name="T3" fmla="*/ 5 h 5"/>
                  <a:gd name="T4" fmla="*/ 0 w 2"/>
                  <a:gd name="T5" fmla="*/ 0 h 5"/>
                </a:gdLst>
                <a:ahLst/>
                <a:cxnLst>
                  <a:cxn ang="0">
                    <a:pos x="T0" y="T1"/>
                  </a:cxn>
                  <a:cxn ang="0">
                    <a:pos x="T2" y="T3"/>
                  </a:cxn>
                  <a:cxn ang="0">
                    <a:pos x="T4" y="T5"/>
                  </a:cxn>
                </a:cxnLst>
                <a:rect l="0" t="0" r="r" b="b"/>
                <a:pathLst>
                  <a:path w="2" h="5">
                    <a:moveTo>
                      <a:pt x="0" y="0"/>
                    </a:moveTo>
                    <a:cubicBezTo>
                      <a:pt x="0" y="1"/>
                      <a:pt x="1" y="3"/>
                      <a:pt x="2"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2" name="Freeform 70">
                <a:extLst>
                  <a:ext uri="{FF2B5EF4-FFF2-40B4-BE49-F238E27FC236}">
                    <a16:creationId xmlns:a16="http://schemas.microsoft.com/office/drawing/2014/main" id="{99D39DB9-9538-4D7F-AA67-CE2A1FCB075B}"/>
                  </a:ext>
                </a:extLst>
              </p:cNvPr>
              <p:cNvSpPr>
                <a:spLocks/>
              </p:cNvSpPr>
              <p:nvPr/>
            </p:nvSpPr>
            <p:spPr bwMode="auto">
              <a:xfrm>
                <a:off x="7997" y="2361"/>
                <a:ext cx="2" cy="7"/>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1" y="1"/>
                      <a:pt x="1"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3" name="Freeform 71">
                <a:extLst>
                  <a:ext uri="{FF2B5EF4-FFF2-40B4-BE49-F238E27FC236}">
                    <a16:creationId xmlns:a16="http://schemas.microsoft.com/office/drawing/2014/main" id="{91BDA873-EF9A-4919-81B2-D35772587BA1}"/>
                  </a:ext>
                </a:extLst>
              </p:cNvPr>
              <p:cNvSpPr>
                <a:spLocks/>
              </p:cNvSpPr>
              <p:nvPr/>
            </p:nvSpPr>
            <p:spPr bwMode="auto">
              <a:xfrm>
                <a:off x="8075" y="2739"/>
                <a:ext cx="11" cy="14"/>
              </a:xfrm>
              <a:custGeom>
                <a:avLst/>
                <a:gdLst>
                  <a:gd name="T0" fmla="*/ 2 w 5"/>
                  <a:gd name="T1" fmla="*/ 0 h 6"/>
                  <a:gd name="T2" fmla="*/ 5 w 5"/>
                  <a:gd name="T3" fmla="*/ 6 h 6"/>
                  <a:gd name="T4" fmla="*/ 2 w 5"/>
                  <a:gd name="T5" fmla="*/ 0 h 6"/>
                </a:gdLst>
                <a:ahLst/>
                <a:cxnLst>
                  <a:cxn ang="0">
                    <a:pos x="T0" y="T1"/>
                  </a:cxn>
                  <a:cxn ang="0">
                    <a:pos x="T2" y="T3"/>
                  </a:cxn>
                  <a:cxn ang="0">
                    <a:pos x="T4" y="T5"/>
                  </a:cxn>
                </a:cxnLst>
                <a:rect l="0" t="0" r="r" b="b"/>
                <a:pathLst>
                  <a:path w="5" h="6">
                    <a:moveTo>
                      <a:pt x="2" y="0"/>
                    </a:moveTo>
                    <a:cubicBezTo>
                      <a:pt x="0" y="1"/>
                      <a:pt x="4" y="5"/>
                      <a:pt x="5" y="6"/>
                    </a:cubicBezTo>
                    <a:cubicBezTo>
                      <a:pt x="4"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4" name="Freeform 72">
                <a:extLst>
                  <a:ext uri="{FF2B5EF4-FFF2-40B4-BE49-F238E27FC236}">
                    <a16:creationId xmlns:a16="http://schemas.microsoft.com/office/drawing/2014/main" id="{54EC5EC0-DEDA-497D-BF51-72153995CF63}"/>
                  </a:ext>
                </a:extLst>
              </p:cNvPr>
              <p:cNvSpPr>
                <a:spLocks/>
              </p:cNvSpPr>
              <p:nvPr/>
            </p:nvSpPr>
            <p:spPr bwMode="auto">
              <a:xfrm>
                <a:off x="7999" y="2446"/>
                <a:ext cx="5" cy="10"/>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0" y="0"/>
                      <a:pt x="0" y="3"/>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5" name="Freeform 73">
                <a:extLst>
                  <a:ext uri="{FF2B5EF4-FFF2-40B4-BE49-F238E27FC236}">
                    <a16:creationId xmlns:a16="http://schemas.microsoft.com/office/drawing/2014/main" id="{4DB4E700-BD83-412C-987E-8950828889CA}"/>
                  </a:ext>
                </a:extLst>
              </p:cNvPr>
              <p:cNvSpPr>
                <a:spLocks/>
              </p:cNvSpPr>
              <p:nvPr/>
            </p:nvSpPr>
            <p:spPr bwMode="auto">
              <a:xfrm>
                <a:off x="7999" y="2772"/>
                <a:ext cx="59" cy="69"/>
              </a:xfrm>
              <a:custGeom>
                <a:avLst/>
                <a:gdLst>
                  <a:gd name="T0" fmla="*/ 2 w 25"/>
                  <a:gd name="T1" fmla="*/ 0 h 29"/>
                  <a:gd name="T2" fmla="*/ 0 w 25"/>
                  <a:gd name="T3" fmla="*/ 3 h 29"/>
                  <a:gd name="T4" fmla="*/ 1 w 25"/>
                  <a:gd name="T5" fmla="*/ 4 h 29"/>
                  <a:gd name="T6" fmla="*/ 5 w 25"/>
                  <a:gd name="T7" fmla="*/ 9 h 29"/>
                  <a:gd name="T8" fmla="*/ 4 w 25"/>
                  <a:gd name="T9" fmla="*/ 15 h 29"/>
                  <a:gd name="T10" fmla="*/ 3 w 25"/>
                  <a:gd name="T11" fmla="*/ 21 h 29"/>
                  <a:gd name="T12" fmla="*/ 2 w 25"/>
                  <a:gd name="T13" fmla="*/ 29 h 29"/>
                  <a:gd name="T14" fmla="*/ 4 w 25"/>
                  <a:gd name="T15" fmla="*/ 28 h 29"/>
                  <a:gd name="T16" fmla="*/ 19 w 25"/>
                  <a:gd name="T17" fmla="*/ 21 h 29"/>
                  <a:gd name="T18" fmla="*/ 24 w 25"/>
                  <a:gd name="T19" fmla="*/ 15 h 29"/>
                  <a:gd name="T20" fmla="*/ 24 w 25"/>
                  <a:gd name="T21" fmla="*/ 14 h 29"/>
                  <a:gd name="T22" fmla="*/ 25 w 25"/>
                  <a:gd name="T23" fmla="*/ 10 h 29"/>
                  <a:gd name="T24" fmla="*/ 24 w 25"/>
                  <a:gd name="T25" fmla="*/ 8 h 29"/>
                  <a:gd name="T26" fmla="*/ 20 w 25"/>
                  <a:gd name="T27" fmla="*/ 10 h 29"/>
                  <a:gd name="T28" fmla="*/ 13 w 25"/>
                  <a:gd name="T29" fmla="*/ 7 h 29"/>
                  <a:gd name="T30" fmla="*/ 2 w 25"/>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9">
                    <a:moveTo>
                      <a:pt x="2" y="0"/>
                    </a:moveTo>
                    <a:cubicBezTo>
                      <a:pt x="1" y="1"/>
                      <a:pt x="1" y="2"/>
                      <a:pt x="0" y="3"/>
                    </a:cubicBezTo>
                    <a:cubicBezTo>
                      <a:pt x="1" y="3"/>
                      <a:pt x="1" y="4"/>
                      <a:pt x="1" y="4"/>
                    </a:cubicBezTo>
                    <a:cubicBezTo>
                      <a:pt x="5" y="5"/>
                      <a:pt x="5" y="5"/>
                      <a:pt x="5" y="9"/>
                    </a:cubicBezTo>
                    <a:cubicBezTo>
                      <a:pt x="4" y="11"/>
                      <a:pt x="4" y="13"/>
                      <a:pt x="4" y="15"/>
                    </a:cubicBezTo>
                    <a:cubicBezTo>
                      <a:pt x="4" y="17"/>
                      <a:pt x="3" y="18"/>
                      <a:pt x="3" y="21"/>
                    </a:cubicBezTo>
                    <a:cubicBezTo>
                      <a:pt x="2" y="23"/>
                      <a:pt x="0" y="29"/>
                      <a:pt x="2" y="29"/>
                    </a:cubicBezTo>
                    <a:cubicBezTo>
                      <a:pt x="3" y="29"/>
                      <a:pt x="3" y="29"/>
                      <a:pt x="4" y="28"/>
                    </a:cubicBezTo>
                    <a:cubicBezTo>
                      <a:pt x="9" y="26"/>
                      <a:pt x="15" y="24"/>
                      <a:pt x="19" y="21"/>
                    </a:cubicBezTo>
                    <a:cubicBezTo>
                      <a:pt x="20" y="19"/>
                      <a:pt x="24" y="17"/>
                      <a:pt x="24" y="15"/>
                    </a:cubicBezTo>
                    <a:cubicBezTo>
                      <a:pt x="25" y="14"/>
                      <a:pt x="24" y="14"/>
                      <a:pt x="24" y="14"/>
                    </a:cubicBezTo>
                    <a:cubicBezTo>
                      <a:pt x="24" y="12"/>
                      <a:pt x="25" y="11"/>
                      <a:pt x="25" y="10"/>
                    </a:cubicBezTo>
                    <a:cubicBezTo>
                      <a:pt x="25" y="9"/>
                      <a:pt x="24" y="8"/>
                      <a:pt x="24" y="8"/>
                    </a:cubicBezTo>
                    <a:cubicBezTo>
                      <a:pt x="23" y="8"/>
                      <a:pt x="21" y="9"/>
                      <a:pt x="20" y="10"/>
                    </a:cubicBezTo>
                    <a:cubicBezTo>
                      <a:pt x="18" y="8"/>
                      <a:pt x="15" y="8"/>
                      <a:pt x="13" y="7"/>
                    </a:cubicBezTo>
                    <a:cubicBezTo>
                      <a:pt x="9" y="5"/>
                      <a:pt x="6"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6" name="Freeform 74">
                <a:extLst>
                  <a:ext uri="{FF2B5EF4-FFF2-40B4-BE49-F238E27FC236}">
                    <a16:creationId xmlns:a16="http://schemas.microsoft.com/office/drawing/2014/main" id="{2767B1D8-3FD7-49A0-94EB-457E3A25D8F6}"/>
                  </a:ext>
                </a:extLst>
              </p:cNvPr>
              <p:cNvSpPr>
                <a:spLocks/>
              </p:cNvSpPr>
              <p:nvPr/>
            </p:nvSpPr>
            <p:spPr bwMode="auto">
              <a:xfrm>
                <a:off x="8049" y="2720"/>
                <a:ext cx="4"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2"/>
                      <a:pt x="2"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7" name="Freeform 75">
                <a:extLst>
                  <a:ext uri="{FF2B5EF4-FFF2-40B4-BE49-F238E27FC236}">
                    <a16:creationId xmlns:a16="http://schemas.microsoft.com/office/drawing/2014/main" id="{BCCBC49C-8530-45B7-A05F-09636991E5B0}"/>
                  </a:ext>
                </a:extLst>
              </p:cNvPr>
              <p:cNvSpPr>
                <a:spLocks/>
              </p:cNvSpPr>
              <p:nvPr/>
            </p:nvSpPr>
            <p:spPr bwMode="auto">
              <a:xfrm>
                <a:off x="7909" y="3075"/>
                <a:ext cx="19" cy="9"/>
              </a:xfrm>
              <a:custGeom>
                <a:avLst/>
                <a:gdLst>
                  <a:gd name="T0" fmla="*/ 7 w 8"/>
                  <a:gd name="T1" fmla="*/ 0 h 4"/>
                  <a:gd name="T2" fmla="*/ 0 w 8"/>
                  <a:gd name="T3" fmla="*/ 4 h 4"/>
                  <a:gd name="T4" fmla="*/ 3 w 8"/>
                  <a:gd name="T5" fmla="*/ 3 h 4"/>
                  <a:gd name="T6" fmla="*/ 3 w 8"/>
                  <a:gd name="T7" fmla="*/ 2 h 4"/>
                  <a:gd name="T8" fmla="*/ 4 w 8"/>
                  <a:gd name="T9" fmla="*/ 2 h 4"/>
                  <a:gd name="T10" fmla="*/ 4 w 8"/>
                  <a:gd name="T11" fmla="*/ 2 h 4"/>
                  <a:gd name="T12" fmla="*/ 5 w 8"/>
                  <a:gd name="T13" fmla="*/ 2 h 4"/>
                  <a:gd name="T14" fmla="*/ 5 w 8"/>
                  <a:gd name="T15" fmla="*/ 1 h 4"/>
                  <a:gd name="T16" fmla="*/ 6 w 8"/>
                  <a:gd name="T17" fmla="*/ 2 h 4"/>
                  <a:gd name="T18" fmla="*/ 7 w 8"/>
                  <a:gd name="T19" fmla="*/ 3 h 4"/>
                  <a:gd name="T20" fmla="*/ 8 w 8"/>
                  <a:gd name="T21" fmla="*/ 1 h 4"/>
                  <a:gd name="T22" fmla="*/ 7 w 8"/>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7" y="0"/>
                    </a:moveTo>
                    <a:cubicBezTo>
                      <a:pt x="5" y="0"/>
                      <a:pt x="1" y="3"/>
                      <a:pt x="0" y="4"/>
                    </a:cubicBezTo>
                    <a:cubicBezTo>
                      <a:pt x="1" y="4"/>
                      <a:pt x="2" y="3"/>
                      <a:pt x="3" y="3"/>
                    </a:cubicBezTo>
                    <a:cubicBezTo>
                      <a:pt x="3" y="2"/>
                      <a:pt x="3" y="2"/>
                      <a:pt x="3" y="2"/>
                    </a:cubicBezTo>
                    <a:cubicBezTo>
                      <a:pt x="4" y="2"/>
                      <a:pt x="4" y="2"/>
                      <a:pt x="4" y="2"/>
                    </a:cubicBezTo>
                    <a:cubicBezTo>
                      <a:pt x="4" y="2"/>
                      <a:pt x="4" y="2"/>
                      <a:pt x="4" y="2"/>
                    </a:cubicBezTo>
                    <a:cubicBezTo>
                      <a:pt x="5" y="2"/>
                      <a:pt x="5" y="2"/>
                      <a:pt x="5" y="2"/>
                    </a:cubicBezTo>
                    <a:cubicBezTo>
                      <a:pt x="5" y="2"/>
                      <a:pt x="5" y="2"/>
                      <a:pt x="5" y="1"/>
                    </a:cubicBezTo>
                    <a:cubicBezTo>
                      <a:pt x="6" y="2"/>
                      <a:pt x="6" y="2"/>
                      <a:pt x="6" y="2"/>
                    </a:cubicBezTo>
                    <a:cubicBezTo>
                      <a:pt x="6" y="2"/>
                      <a:pt x="7" y="2"/>
                      <a:pt x="7" y="3"/>
                    </a:cubicBezTo>
                    <a:cubicBezTo>
                      <a:pt x="7" y="2"/>
                      <a:pt x="8" y="1"/>
                      <a:pt x="8" y="1"/>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8" name="Freeform 76">
                <a:extLst>
                  <a:ext uri="{FF2B5EF4-FFF2-40B4-BE49-F238E27FC236}">
                    <a16:creationId xmlns:a16="http://schemas.microsoft.com/office/drawing/2014/main" id="{890916FE-6F01-4F47-B434-0283FAB901DB}"/>
                  </a:ext>
                </a:extLst>
              </p:cNvPr>
              <p:cNvSpPr>
                <a:spLocks/>
              </p:cNvSpPr>
              <p:nvPr/>
            </p:nvSpPr>
            <p:spPr bwMode="auto">
              <a:xfrm>
                <a:off x="7978" y="2430"/>
                <a:ext cx="7" cy="4"/>
              </a:xfrm>
              <a:custGeom>
                <a:avLst/>
                <a:gdLst>
                  <a:gd name="T0" fmla="*/ 3 w 3"/>
                  <a:gd name="T1" fmla="*/ 0 h 2"/>
                  <a:gd name="T2" fmla="*/ 0 w 3"/>
                  <a:gd name="T3" fmla="*/ 0 h 2"/>
                  <a:gd name="T4" fmla="*/ 3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0" y="1"/>
                      <a:pt x="1" y="2"/>
                      <a:pt x="3" y="2"/>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9" name="Freeform 77">
                <a:extLst>
                  <a:ext uri="{FF2B5EF4-FFF2-40B4-BE49-F238E27FC236}">
                    <a16:creationId xmlns:a16="http://schemas.microsoft.com/office/drawing/2014/main" id="{6E55FABD-7C73-4EB0-A488-E268AAFB9875}"/>
                  </a:ext>
                </a:extLst>
              </p:cNvPr>
              <p:cNvSpPr>
                <a:spLocks/>
              </p:cNvSpPr>
              <p:nvPr/>
            </p:nvSpPr>
            <p:spPr bwMode="auto">
              <a:xfrm>
                <a:off x="8112" y="2784"/>
                <a:ext cx="15" cy="10"/>
              </a:xfrm>
              <a:custGeom>
                <a:avLst/>
                <a:gdLst>
                  <a:gd name="T0" fmla="*/ 1 w 6"/>
                  <a:gd name="T1" fmla="*/ 0 h 4"/>
                  <a:gd name="T2" fmla="*/ 0 w 6"/>
                  <a:gd name="T3" fmla="*/ 0 h 4"/>
                  <a:gd name="T4" fmla="*/ 2 w 6"/>
                  <a:gd name="T5" fmla="*/ 4 h 4"/>
                  <a:gd name="T6" fmla="*/ 1 w 6"/>
                  <a:gd name="T7" fmla="*/ 0 h 4"/>
                </a:gdLst>
                <a:ahLst/>
                <a:cxnLst>
                  <a:cxn ang="0">
                    <a:pos x="T0" y="T1"/>
                  </a:cxn>
                  <a:cxn ang="0">
                    <a:pos x="T2" y="T3"/>
                  </a:cxn>
                  <a:cxn ang="0">
                    <a:pos x="T4" y="T5"/>
                  </a:cxn>
                  <a:cxn ang="0">
                    <a:pos x="T6" y="T7"/>
                  </a:cxn>
                </a:cxnLst>
                <a:rect l="0" t="0" r="r" b="b"/>
                <a:pathLst>
                  <a:path w="6" h="4">
                    <a:moveTo>
                      <a:pt x="1" y="0"/>
                    </a:moveTo>
                    <a:cubicBezTo>
                      <a:pt x="0" y="0"/>
                      <a:pt x="0" y="0"/>
                      <a:pt x="0" y="0"/>
                    </a:cubicBezTo>
                    <a:cubicBezTo>
                      <a:pt x="1" y="1"/>
                      <a:pt x="1" y="3"/>
                      <a:pt x="2" y="4"/>
                    </a:cubicBezTo>
                    <a:cubicBezTo>
                      <a:pt x="6" y="3"/>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0" name="Freeform 78">
                <a:extLst>
                  <a:ext uri="{FF2B5EF4-FFF2-40B4-BE49-F238E27FC236}">
                    <a16:creationId xmlns:a16="http://schemas.microsoft.com/office/drawing/2014/main" id="{E6EE2182-A0F0-4A9B-8B92-C26591B81C56}"/>
                  </a:ext>
                </a:extLst>
              </p:cNvPr>
              <p:cNvSpPr>
                <a:spLocks/>
              </p:cNvSpPr>
              <p:nvPr/>
            </p:nvSpPr>
            <p:spPr bwMode="auto">
              <a:xfrm>
                <a:off x="7999" y="2699"/>
                <a:ext cx="14" cy="17"/>
              </a:xfrm>
              <a:custGeom>
                <a:avLst/>
                <a:gdLst>
                  <a:gd name="T0" fmla="*/ 0 w 6"/>
                  <a:gd name="T1" fmla="*/ 0 h 7"/>
                  <a:gd name="T2" fmla="*/ 0 w 6"/>
                  <a:gd name="T3" fmla="*/ 3 h 7"/>
                  <a:gd name="T4" fmla="*/ 4 w 6"/>
                  <a:gd name="T5" fmla="*/ 7 h 7"/>
                  <a:gd name="T6" fmla="*/ 4 w 6"/>
                  <a:gd name="T7" fmla="*/ 0 h 7"/>
                  <a:gd name="T8" fmla="*/ 0 w 6"/>
                  <a:gd name="T9" fmla="*/ 0 h 7"/>
                </a:gdLst>
                <a:ahLst/>
                <a:cxnLst>
                  <a:cxn ang="0">
                    <a:pos x="T0" y="T1"/>
                  </a:cxn>
                  <a:cxn ang="0">
                    <a:pos x="T2" y="T3"/>
                  </a:cxn>
                  <a:cxn ang="0">
                    <a:pos x="T4" y="T5"/>
                  </a:cxn>
                  <a:cxn ang="0">
                    <a:pos x="T6" y="T7"/>
                  </a:cxn>
                  <a:cxn ang="0">
                    <a:pos x="T8" y="T9"/>
                  </a:cxn>
                </a:cxnLst>
                <a:rect l="0" t="0" r="r" b="b"/>
                <a:pathLst>
                  <a:path w="6" h="7">
                    <a:moveTo>
                      <a:pt x="0" y="0"/>
                    </a:moveTo>
                    <a:cubicBezTo>
                      <a:pt x="1" y="1"/>
                      <a:pt x="0" y="2"/>
                      <a:pt x="0" y="3"/>
                    </a:cubicBezTo>
                    <a:cubicBezTo>
                      <a:pt x="0" y="5"/>
                      <a:pt x="2" y="6"/>
                      <a:pt x="4" y="7"/>
                    </a:cubicBezTo>
                    <a:cubicBezTo>
                      <a:pt x="5" y="4"/>
                      <a:pt x="6" y="2"/>
                      <a:pt x="4" y="0"/>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1" name="Freeform 79">
                <a:extLst>
                  <a:ext uri="{FF2B5EF4-FFF2-40B4-BE49-F238E27FC236}">
                    <a16:creationId xmlns:a16="http://schemas.microsoft.com/office/drawing/2014/main" id="{272315FA-B2B4-498D-B80C-8FB2EA4E567D}"/>
                  </a:ext>
                </a:extLst>
              </p:cNvPr>
              <p:cNvSpPr>
                <a:spLocks/>
              </p:cNvSpPr>
              <p:nvPr/>
            </p:nvSpPr>
            <p:spPr bwMode="auto">
              <a:xfrm>
                <a:off x="7909" y="2756"/>
                <a:ext cx="21" cy="16"/>
              </a:xfrm>
              <a:custGeom>
                <a:avLst/>
                <a:gdLst>
                  <a:gd name="T0" fmla="*/ 1 w 9"/>
                  <a:gd name="T1" fmla="*/ 0 h 7"/>
                  <a:gd name="T2" fmla="*/ 1 w 9"/>
                  <a:gd name="T3" fmla="*/ 1 h 7"/>
                  <a:gd name="T4" fmla="*/ 0 w 9"/>
                  <a:gd name="T5" fmla="*/ 2 h 7"/>
                  <a:gd name="T6" fmla="*/ 1 w 9"/>
                  <a:gd name="T7" fmla="*/ 2 h 7"/>
                  <a:gd name="T8" fmla="*/ 2 w 9"/>
                  <a:gd name="T9" fmla="*/ 4 h 7"/>
                  <a:gd name="T10" fmla="*/ 5 w 9"/>
                  <a:gd name="T11" fmla="*/ 7 h 7"/>
                  <a:gd name="T12" fmla="*/ 9 w 9"/>
                  <a:gd name="T13" fmla="*/ 4 h 7"/>
                  <a:gd name="T14" fmla="*/ 7 w 9"/>
                  <a:gd name="T15" fmla="*/ 2 h 7"/>
                  <a:gd name="T16" fmla="*/ 7 w 9"/>
                  <a:gd name="T17" fmla="*/ 4 h 7"/>
                  <a:gd name="T18" fmla="*/ 7 w 9"/>
                  <a:gd name="T19" fmla="*/ 4 h 7"/>
                  <a:gd name="T20" fmla="*/ 4 w 9"/>
                  <a:gd name="T21" fmla="*/ 2 h 7"/>
                  <a:gd name="T22" fmla="*/ 1 w 9"/>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1" y="0"/>
                    </a:moveTo>
                    <a:cubicBezTo>
                      <a:pt x="1" y="0"/>
                      <a:pt x="1" y="0"/>
                      <a:pt x="1" y="1"/>
                    </a:cubicBezTo>
                    <a:cubicBezTo>
                      <a:pt x="0" y="1"/>
                      <a:pt x="0" y="2"/>
                      <a:pt x="0" y="2"/>
                    </a:cubicBezTo>
                    <a:cubicBezTo>
                      <a:pt x="0" y="2"/>
                      <a:pt x="1" y="2"/>
                      <a:pt x="1" y="2"/>
                    </a:cubicBezTo>
                    <a:cubicBezTo>
                      <a:pt x="1" y="2"/>
                      <a:pt x="1" y="4"/>
                      <a:pt x="2" y="4"/>
                    </a:cubicBezTo>
                    <a:cubicBezTo>
                      <a:pt x="2" y="5"/>
                      <a:pt x="3" y="6"/>
                      <a:pt x="5" y="7"/>
                    </a:cubicBezTo>
                    <a:cubicBezTo>
                      <a:pt x="6" y="6"/>
                      <a:pt x="8" y="5"/>
                      <a:pt x="9" y="4"/>
                    </a:cubicBezTo>
                    <a:cubicBezTo>
                      <a:pt x="8" y="3"/>
                      <a:pt x="8" y="2"/>
                      <a:pt x="7" y="2"/>
                    </a:cubicBezTo>
                    <a:cubicBezTo>
                      <a:pt x="7" y="2"/>
                      <a:pt x="7" y="3"/>
                      <a:pt x="7" y="4"/>
                    </a:cubicBezTo>
                    <a:cubicBezTo>
                      <a:pt x="7" y="4"/>
                      <a:pt x="7" y="4"/>
                      <a:pt x="7" y="4"/>
                    </a:cubicBezTo>
                    <a:cubicBezTo>
                      <a:pt x="7" y="4"/>
                      <a:pt x="5" y="3"/>
                      <a:pt x="4"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2" name="Freeform 80">
                <a:extLst>
                  <a:ext uri="{FF2B5EF4-FFF2-40B4-BE49-F238E27FC236}">
                    <a16:creationId xmlns:a16="http://schemas.microsoft.com/office/drawing/2014/main" id="{6FF8DB1C-69CB-4E97-84AB-81DDE2BE025E}"/>
                  </a:ext>
                </a:extLst>
              </p:cNvPr>
              <p:cNvSpPr>
                <a:spLocks/>
              </p:cNvSpPr>
              <p:nvPr/>
            </p:nvSpPr>
            <p:spPr bwMode="auto">
              <a:xfrm>
                <a:off x="8162" y="2841"/>
                <a:ext cx="7" cy="24"/>
              </a:xfrm>
              <a:custGeom>
                <a:avLst/>
                <a:gdLst>
                  <a:gd name="T0" fmla="*/ 3 w 3"/>
                  <a:gd name="T1" fmla="*/ 0 h 10"/>
                  <a:gd name="T2" fmla="*/ 1 w 3"/>
                  <a:gd name="T3" fmla="*/ 5 h 10"/>
                  <a:gd name="T4" fmla="*/ 1 w 3"/>
                  <a:gd name="T5" fmla="*/ 7 h 10"/>
                  <a:gd name="T6" fmla="*/ 2 w 3"/>
                  <a:gd name="T7" fmla="*/ 9 h 10"/>
                  <a:gd name="T8" fmla="*/ 3 w 3"/>
                  <a:gd name="T9" fmla="*/ 9 h 10"/>
                  <a:gd name="T10" fmla="*/ 2 w 3"/>
                  <a:gd name="T11" fmla="*/ 9 h 10"/>
                  <a:gd name="T12" fmla="*/ 3 w 3"/>
                  <a:gd name="T13" fmla="*/ 10 h 10"/>
                  <a:gd name="T14" fmla="*/ 3 w 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3" y="0"/>
                    </a:moveTo>
                    <a:cubicBezTo>
                      <a:pt x="2" y="2"/>
                      <a:pt x="1" y="2"/>
                      <a:pt x="1" y="5"/>
                    </a:cubicBezTo>
                    <a:cubicBezTo>
                      <a:pt x="1" y="6"/>
                      <a:pt x="0" y="6"/>
                      <a:pt x="1" y="7"/>
                    </a:cubicBezTo>
                    <a:cubicBezTo>
                      <a:pt x="1" y="8"/>
                      <a:pt x="3" y="7"/>
                      <a:pt x="2" y="9"/>
                    </a:cubicBezTo>
                    <a:cubicBezTo>
                      <a:pt x="3" y="9"/>
                      <a:pt x="3" y="9"/>
                      <a:pt x="3" y="9"/>
                    </a:cubicBezTo>
                    <a:cubicBezTo>
                      <a:pt x="2" y="9"/>
                      <a:pt x="2" y="9"/>
                      <a:pt x="2" y="9"/>
                    </a:cubicBezTo>
                    <a:cubicBezTo>
                      <a:pt x="3" y="10"/>
                      <a:pt x="3" y="10"/>
                      <a:pt x="3" y="10"/>
                    </a:cubicBezTo>
                    <a:cubicBezTo>
                      <a:pt x="3" y="6"/>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3" name="Freeform 81">
                <a:extLst>
                  <a:ext uri="{FF2B5EF4-FFF2-40B4-BE49-F238E27FC236}">
                    <a16:creationId xmlns:a16="http://schemas.microsoft.com/office/drawing/2014/main" id="{EFCA057E-2CD5-4BB3-BA3A-2203C106C9AE}"/>
                  </a:ext>
                </a:extLst>
              </p:cNvPr>
              <p:cNvSpPr>
                <a:spLocks/>
              </p:cNvSpPr>
              <p:nvPr/>
            </p:nvSpPr>
            <p:spPr bwMode="auto">
              <a:xfrm>
                <a:off x="7930" y="2701"/>
                <a:ext cx="57" cy="60"/>
              </a:xfrm>
              <a:custGeom>
                <a:avLst/>
                <a:gdLst>
                  <a:gd name="T0" fmla="*/ 2 w 24"/>
                  <a:gd name="T1" fmla="*/ 0 h 25"/>
                  <a:gd name="T2" fmla="*/ 0 w 24"/>
                  <a:gd name="T3" fmla="*/ 1 h 25"/>
                  <a:gd name="T4" fmla="*/ 8 w 24"/>
                  <a:gd name="T5" fmla="*/ 12 h 25"/>
                  <a:gd name="T6" fmla="*/ 18 w 24"/>
                  <a:gd name="T7" fmla="*/ 25 h 25"/>
                  <a:gd name="T8" fmla="*/ 20 w 24"/>
                  <a:gd name="T9" fmla="*/ 23 h 25"/>
                  <a:gd name="T10" fmla="*/ 20 w 24"/>
                  <a:gd name="T11" fmla="*/ 23 h 25"/>
                  <a:gd name="T12" fmla="*/ 21 w 24"/>
                  <a:gd name="T13" fmla="*/ 22 h 25"/>
                  <a:gd name="T14" fmla="*/ 21 w 24"/>
                  <a:gd name="T15" fmla="*/ 22 h 25"/>
                  <a:gd name="T16" fmla="*/ 22 w 24"/>
                  <a:gd name="T17" fmla="*/ 19 h 25"/>
                  <a:gd name="T18" fmla="*/ 23 w 24"/>
                  <a:gd name="T19" fmla="*/ 13 h 25"/>
                  <a:gd name="T20" fmla="*/ 22 w 24"/>
                  <a:gd name="T21" fmla="*/ 9 h 25"/>
                  <a:gd name="T22" fmla="*/ 24 w 24"/>
                  <a:gd name="T23" fmla="*/ 8 h 25"/>
                  <a:gd name="T24" fmla="*/ 19 w 24"/>
                  <a:gd name="T25" fmla="*/ 5 h 25"/>
                  <a:gd name="T26" fmla="*/ 11 w 24"/>
                  <a:gd name="T27" fmla="*/ 0 h 25"/>
                  <a:gd name="T28" fmla="*/ 8 w 24"/>
                  <a:gd name="T29" fmla="*/ 0 h 25"/>
                  <a:gd name="T30" fmla="*/ 7 w 24"/>
                  <a:gd name="T31" fmla="*/ 0 h 25"/>
                  <a:gd name="T32" fmla="*/ 4 w 24"/>
                  <a:gd name="T33" fmla="*/ 0 h 25"/>
                  <a:gd name="T34" fmla="*/ 2 w 24"/>
                  <a:gd name="T3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5">
                    <a:moveTo>
                      <a:pt x="2" y="0"/>
                    </a:moveTo>
                    <a:cubicBezTo>
                      <a:pt x="1" y="0"/>
                      <a:pt x="0" y="0"/>
                      <a:pt x="0" y="1"/>
                    </a:cubicBezTo>
                    <a:cubicBezTo>
                      <a:pt x="5" y="2"/>
                      <a:pt x="7" y="8"/>
                      <a:pt x="8" y="12"/>
                    </a:cubicBezTo>
                    <a:cubicBezTo>
                      <a:pt x="10" y="18"/>
                      <a:pt x="14" y="21"/>
                      <a:pt x="18" y="25"/>
                    </a:cubicBezTo>
                    <a:cubicBezTo>
                      <a:pt x="19" y="24"/>
                      <a:pt x="19" y="23"/>
                      <a:pt x="20" y="23"/>
                    </a:cubicBezTo>
                    <a:cubicBezTo>
                      <a:pt x="20" y="23"/>
                      <a:pt x="20" y="23"/>
                      <a:pt x="20" y="23"/>
                    </a:cubicBezTo>
                    <a:cubicBezTo>
                      <a:pt x="20" y="23"/>
                      <a:pt x="20" y="22"/>
                      <a:pt x="21" y="22"/>
                    </a:cubicBezTo>
                    <a:cubicBezTo>
                      <a:pt x="21" y="22"/>
                      <a:pt x="21" y="22"/>
                      <a:pt x="21" y="22"/>
                    </a:cubicBezTo>
                    <a:cubicBezTo>
                      <a:pt x="21" y="20"/>
                      <a:pt x="22" y="20"/>
                      <a:pt x="22" y="19"/>
                    </a:cubicBezTo>
                    <a:cubicBezTo>
                      <a:pt x="24" y="16"/>
                      <a:pt x="23" y="16"/>
                      <a:pt x="23" y="13"/>
                    </a:cubicBezTo>
                    <a:cubicBezTo>
                      <a:pt x="22" y="12"/>
                      <a:pt x="22" y="10"/>
                      <a:pt x="22" y="9"/>
                    </a:cubicBezTo>
                    <a:cubicBezTo>
                      <a:pt x="22" y="9"/>
                      <a:pt x="24" y="8"/>
                      <a:pt x="24" y="8"/>
                    </a:cubicBezTo>
                    <a:cubicBezTo>
                      <a:pt x="23" y="7"/>
                      <a:pt x="20" y="6"/>
                      <a:pt x="19" y="5"/>
                    </a:cubicBezTo>
                    <a:cubicBezTo>
                      <a:pt x="17" y="3"/>
                      <a:pt x="14" y="2"/>
                      <a:pt x="11" y="0"/>
                    </a:cubicBezTo>
                    <a:cubicBezTo>
                      <a:pt x="11" y="0"/>
                      <a:pt x="9" y="0"/>
                      <a:pt x="8" y="0"/>
                    </a:cubicBezTo>
                    <a:cubicBezTo>
                      <a:pt x="7" y="0"/>
                      <a:pt x="7" y="0"/>
                      <a:pt x="7" y="0"/>
                    </a:cubicBezTo>
                    <a:cubicBezTo>
                      <a:pt x="6" y="0"/>
                      <a:pt x="5" y="0"/>
                      <a:pt x="4"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4" name="Freeform 82">
                <a:extLst>
                  <a:ext uri="{FF2B5EF4-FFF2-40B4-BE49-F238E27FC236}">
                    <a16:creationId xmlns:a16="http://schemas.microsoft.com/office/drawing/2014/main" id="{67469D09-B478-4E03-9562-A796A21356FF}"/>
                  </a:ext>
                </a:extLst>
              </p:cNvPr>
              <p:cNvSpPr>
                <a:spLocks/>
              </p:cNvSpPr>
              <p:nvPr/>
            </p:nvSpPr>
            <p:spPr bwMode="auto">
              <a:xfrm>
                <a:off x="7999" y="2739"/>
                <a:ext cx="14" cy="26"/>
              </a:xfrm>
              <a:custGeom>
                <a:avLst/>
                <a:gdLst>
                  <a:gd name="T0" fmla="*/ 5 w 6"/>
                  <a:gd name="T1" fmla="*/ 0 h 11"/>
                  <a:gd name="T2" fmla="*/ 5 w 6"/>
                  <a:gd name="T3" fmla="*/ 0 h 11"/>
                  <a:gd name="T4" fmla="*/ 3 w 6"/>
                  <a:gd name="T5" fmla="*/ 11 h 11"/>
                  <a:gd name="T6" fmla="*/ 6 w 6"/>
                  <a:gd name="T7" fmla="*/ 2 h 11"/>
                  <a:gd name="T8" fmla="*/ 5 w 6"/>
                  <a:gd name="T9" fmla="*/ 0 h 11"/>
                </a:gdLst>
                <a:ahLst/>
                <a:cxnLst>
                  <a:cxn ang="0">
                    <a:pos x="T0" y="T1"/>
                  </a:cxn>
                  <a:cxn ang="0">
                    <a:pos x="T2" y="T3"/>
                  </a:cxn>
                  <a:cxn ang="0">
                    <a:pos x="T4" y="T5"/>
                  </a:cxn>
                  <a:cxn ang="0">
                    <a:pos x="T6" y="T7"/>
                  </a:cxn>
                  <a:cxn ang="0">
                    <a:pos x="T8" y="T9"/>
                  </a:cxn>
                </a:cxnLst>
                <a:rect l="0" t="0" r="r" b="b"/>
                <a:pathLst>
                  <a:path w="6" h="11">
                    <a:moveTo>
                      <a:pt x="5" y="0"/>
                    </a:moveTo>
                    <a:cubicBezTo>
                      <a:pt x="5" y="0"/>
                      <a:pt x="5" y="0"/>
                      <a:pt x="5" y="0"/>
                    </a:cubicBezTo>
                    <a:cubicBezTo>
                      <a:pt x="0" y="2"/>
                      <a:pt x="2" y="8"/>
                      <a:pt x="3" y="11"/>
                    </a:cubicBezTo>
                    <a:cubicBezTo>
                      <a:pt x="5" y="10"/>
                      <a:pt x="5" y="4"/>
                      <a:pt x="6" y="2"/>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5" name="Freeform 83">
                <a:extLst>
                  <a:ext uri="{FF2B5EF4-FFF2-40B4-BE49-F238E27FC236}">
                    <a16:creationId xmlns:a16="http://schemas.microsoft.com/office/drawing/2014/main" id="{0D8FD69A-102D-49D9-AE18-54E3D9FEB268}"/>
                  </a:ext>
                </a:extLst>
              </p:cNvPr>
              <p:cNvSpPr>
                <a:spLocks/>
              </p:cNvSpPr>
              <p:nvPr/>
            </p:nvSpPr>
            <p:spPr bwMode="auto">
              <a:xfrm>
                <a:off x="8096" y="2675"/>
                <a:ext cx="21" cy="26"/>
              </a:xfrm>
              <a:custGeom>
                <a:avLst/>
                <a:gdLst>
                  <a:gd name="T0" fmla="*/ 4 w 9"/>
                  <a:gd name="T1" fmla="*/ 0 h 11"/>
                  <a:gd name="T2" fmla="*/ 3 w 9"/>
                  <a:gd name="T3" fmla="*/ 4 h 11"/>
                  <a:gd name="T4" fmla="*/ 1 w 9"/>
                  <a:gd name="T5" fmla="*/ 8 h 11"/>
                  <a:gd name="T6" fmla="*/ 4 w 9"/>
                  <a:gd name="T7" fmla="*/ 11 h 11"/>
                  <a:gd name="T8" fmla="*/ 8 w 9"/>
                  <a:gd name="T9" fmla="*/ 3 h 11"/>
                  <a:gd name="T10" fmla="*/ 7 w 9"/>
                  <a:gd name="T11" fmla="*/ 3 h 11"/>
                  <a:gd name="T12" fmla="*/ 6 w 9"/>
                  <a:gd name="T13" fmla="*/ 3 h 11"/>
                  <a:gd name="T14" fmla="*/ 4 w 9"/>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4" y="0"/>
                    </a:moveTo>
                    <a:cubicBezTo>
                      <a:pt x="3" y="0"/>
                      <a:pt x="3" y="1"/>
                      <a:pt x="3" y="4"/>
                    </a:cubicBezTo>
                    <a:cubicBezTo>
                      <a:pt x="3" y="6"/>
                      <a:pt x="2" y="6"/>
                      <a:pt x="1" y="8"/>
                    </a:cubicBezTo>
                    <a:cubicBezTo>
                      <a:pt x="0" y="9"/>
                      <a:pt x="3" y="10"/>
                      <a:pt x="4" y="11"/>
                    </a:cubicBezTo>
                    <a:cubicBezTo>
                      <a:pt x="5" y="9"/>
                      <a:pt x="9" y="6"/>
                      <a:pt x="8" y="3"/>
                    </a:cubicBezTo>
                    <a:cubicBezTo>
                      <a:pt x="8" y="3"/>
                      <a:pt x="7" y="3"/>
                      <a:pt x="7" y="3"/>
                    </a:cubicBezTo>
                    <a:cubicBezTo>
                      <a:pt x="7" y="3"/>
                      <a:pt x="6" y="3"/>
                      <a:pt x="6" y="3"/>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6" name="Freeform 84">
                <a:extLst>
                  <a:ext uri="{FF2B5EF4-FFF2-40B4-BE49-F238E27FC236}">
                    <a16:creationId xmlns:a16="http://schemas.microsoft.com/office/drawing/2014/main" id="{798A49C3-A13D-49FD-9866-5DE5519119BD}"/>
                  </a:ext>
                </a:extLst>
              </p:cNvPr>
              <p:cNvSpPr>
                <a:spLocks/>
              </p:cNvSpPr>
              <p:nvPr/>
            </p:nvSpPr>
            <p:spPr bwMode="auto">
              <a:xfrm>
                <a:off x="7956" y="3040"/>
                <a:ext cx="26" cy="9"/>
              </a:xfrm>
              <a:custGeom>
                <a:avLst/>
                <a:gdLst>
                  <a:gd name="T0" fmla="*/ 3 w 11"/>
                  <a:gd name="T1" fmla="*/ 0 h 4"/>
                  <a:gd name="T2" fmla="*/ 1 w 11"/>
                  <a:gd name="T3" fmla="*/ 1 h 4"/>
                  <a:gd name="T4" fmla="*/ 0 w 11"/>
                  <a:gd name="T5" fmla="*/ 1 h 4"/>
                  <a:gd name="T6" fmla="*/ 7 w 11"/>
                  <a:gd name="T7" fmla="*/ 4 h 4"/>
                  <a:gd name="T8" fmla="*/ 8 w 11"/>
                  <a:gd name="T9" fmla="*/ 1 h 4"/>
                  <a:gd name="T10" fmla="*/ 8 w 11"/>
                  <a:gd name="T11" fmla="*/ 1 h 4"/>
                  <a:gd name="T12" fmla="*/ 7 w 11"/>
                  <a:gd name="T13" fmla="*/ 1 h 4"/>
                  <a:gd name="T14" fmla="*/ 6 w 11"/>
                  <a:gd name="T15" fmla="*/ 1 h 4"/>
                  <a:gd name="T16" fmla="*/ 6 w 11"/>
                  <a:gd name="T17" fmla="*/ 1 h 4"/>
                  <a:gd name="T18" fmla="*/ 5 w 11"/>
                  <a:gd name="T19" fmla="*/ 0 h 4"/>
                  <a:gd name="T20" fmla="*/ 3 w 11"/>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4">
                    <a:moveTo>
                      <a:pt x="3" y="0"/>
                    </a:moveTo>
                    <a:cubicBezTo>
                      <a:pt x="3" y="0"/>
                      <a:pt x="2" y="0"/>
                      <a:pt x="1" y="1"/>
                    </a:cubicBezTo>
                    <a:cubicBezTo>
                      <a:pt x="1" y="1"/>
                      <a:pt x="0" y="1"/>
                      <a:pt x="0" y="1"/>
                    </a:cubicBezTo>
                    <a:cubicBezTo>
                      <a:pt x="0" y="3"/>
                      <a:pt x="6" y="4"/>
                      <a:pt x="7" y="4"/>
                    </a:cubicBezTo>
                    <a:cubicBezTo>
                      <a:pt x="10" y="3"/>
                      <a:pt x="11" y="2"/>
                      <a:pt x="8" y="1"/>
                    </a:cubicBezTo>
                    <a:cubicBezTo>
                      <a:pt x="8" y="1"/>
                      <a:pt x="8" y="1"/>
                      <a:pt x="8" y="1"/>
                    </a:cubicBezTo>
                    <a:cubicBezTo>
                      <a:pt x="8" y="1"/>
                      <a:pt x="7" y="1"/>
                      <a:pt x="7" y="1"/>
                    </a:cubicBezTo>
                    <a:cubicBezTo>
                      <a:pt x="7" y="1"/>
                      <a:pt x="6" y="1"/>
                      <a:pt x="6" y="1"/>
                    </a:cubicBezTo>
                    <a:cubicBezTo>
                      <a:pt x="6" y="1"/>
                      <a:pt x="6" y="1"/>
                      <a:pt x="6" y="1"/>
                    </a:cubicBezTo>
                    <a:cubicBezTo>
                      <a:pt x="6" y="1"/>
                      <a:pt x="6"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7" name="Freeform 85">
                <a:extLst>
                  <a:ext uri="{FF2B5EF4-FFF2-40B4-BE49-F238E27FC236}">
                    <a16:creationId xmlns:a16="http://schemas.microsoft.com/office/drawing/2014/main" id="{7EA2D00F-D04E-4F00-A77A-9D42374F073E}"/>
                  </a:ext>
                </a:extLst>
              </p:cNvPr>
              <p:cNvSpPr>
                <a:spLocks/>
              </p:cNvSpPr>
              <p:nvPr/>
            </p:nvSpPr>
            <p:spPr bwMode="auto">
              <a:xfrm>
                <a:off x="8568" y="2966"/>
                <a:ext cx="8" cy="14"/>
              </a:xfrm>
              <a:custGeom>
                <a:avLst/>
                <a:gdLst>
                  <a:gd name="T0" fmla="*/ 3 w 3"/>
                  <a:gd name="T1" fmla="*/ 0 h 6"/>
                  <a:gd name="T2" fmla="*/ 3 w 3"/>
                  <a:gd name="T3" fmla="*/ 0 h 6"/>
                  <a:gd name="T4" fmla="*/ 2 w 3"/>
                  <a:gd name="T5" fmla="*/ 1 h 6"/>
                  <a:gd name="T6" fmla="*/ 0 w 3"/>
                  <a:gd name="T7" fmla="*/ 5 h 6"/>
                  <a:gd name="T8" fmla="*/ 1 w 3"/>
                  <a:gd name="T9" fmla="*/ 6 h 6"/>
                  <a:gd name="T10" fmla="*/ 1 w 3"/>
                  <a:gd name="T11" fmla="*/ 6 h 6"/>
                  <a:gd name="T12" fmla="*/ 3 w 3"/>
                  <a:gd name="T13" fmla="*/ 2 h 6"/>
                  <a:gd name="T14" fmla="*/ 3 w 3"/>
                  <a:gd name="T15" fmla="*/ 0 h 6"/>
                  <a:gd name="T16" fmla="*/ 3 w 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3" y="0"/>
                    </a:moveTo>
                    <a:cubicBezTo>
                      <a:pt x="3" y="0"/>
                      <a:pt x="3" y="0"/>
                      <a:pt x="3" y="0"/>
                    </a:cubicBezTo>
                    <a:cubicBezTo>
                      <a:pt x="3" y="0"/>
                      <a:pt x="2" y="1"/>
                      <a:pt x="2" y="1"/>
                    </a:cubicBezTo>
                    <a:cubicBezTo>
                      <a:pt x="1" y="2"/>
                      <a:pt x="0" y="4"/>
                      <a:pt x="0" y="5"/>
                    </a:cubicBezTo>
                    <a:cubicBezTo>
                      <a:pt x="0" y="5"/>
                      <a:pt x="1" y="6"/>
                      <a:pt x="1" y="6"/>
                    </a:cubicBezTo>
                    <a:cubicBezTo>
                      <a:pt x="1" y="6"/>
                      <a:pt x="1" y="6"/>
                      <a:pt x="1" y="6"/>
                    </a:cubicBezTo>
                    <a:cubicBezTo>
                      <a:pt x="2" y="5"/>
                      <a:pt x="3" y="3"/>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8" name="Freeform 86">
                <a:extLst>
                  <a:ext uri="{FF2B5EF4-FFF2-40B4-BE49-F238E27FC236}">
                    <a16:creationId xmlns:a16="http://schemas.microsoft.com/office/drawing/2014/main" id="{85BEA03B-EDF0-424E-9EEC-DE4A543F170D}"/>
                  </a:ext>
                </a:extLst>
              </p:cNvPr>
              <p:cNvSpPr>
                <a:spLocks/>
              </p:cNvSpPr>
              <p:nvPr/>
            </p:nvSpPr>
            <p:spPr bwMode="auto">
              <a:xfrm>
                <a:off x="8564" y="2983"/>
                <a:ext cx="2" cy="5"/>
              </a:xfrm>
              <a:custGeom>
                <a:avLst/>
                <a:gdLst>
                  <a:gd name="T0" fmla="*/ 1 w 1"/>
                  <a:gd name="T1" fmla="*/ 0 h 2"/>
                  <a:gd name="T2" fmla="*/ 1 w 1"/>
                  <a:gd name="T3" fmla="*/ 1 h 2"/>
                  <a:gd name="T4" fmla="*/ 0 w 1"/>
                  <a:gd name="T5" fmla="*/ 2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1"/>
                      <a:pt x="1" y="1"/>
                      <a:pt x="1" y="1"/>
                    </a:cubicBezTo>
                    <a:cubicBezTo>
                      <a:pt x="0" y="1"/>
                      <a:pt x="0" y="1"/>
                      <a:pt x="0" y="2"/>
                    </a:cubicBezTo>
                    <a:cubicBezTo>
                      <a:pt x="0" y="2"/>
                      <a:pt x="1" y="1"/>
                      <a:pt x="1"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9" name="Freeform 87">
                <a:extLst>
                  <a:ext uri="{FF2B5EF4-FFF2-40B4-BE49-F238E27FC236}">
                    <a16:creationId xmlns:a16="http://schemas.microsoft.com/office/drawing/2014/main" id="{2E90FB42-6977-4453-9B3F-E261234444D9}"/>
                  </a:ext>
                </a:extLst>
              </p:cNvPr>
              <p:cNvSpPr>
                <a:spLocks/>
              </p:cNvSpPr>
              <p:nvPr/>
            </p:nvSpPr>
            <p:spPr bwMode="auto">
              <a:xfrm>
                <a:off x="3665" y="-606"/>
                <a:ext cx="24" cy="19"/>
              </a:xfrm>
              <a:custGeom>
                <a:avLst/>
                <a:gdLst>
                  <a:gd name="T0" fmla="*/ 3 w 10"/>
                  <a:gd name="T1" fmla="*/ 0 h 8"/>
                  <a:gd name="T2" fmla="*/ 2 w 10"/>
                  <a:gd name="T3" fmla="*/ 0 h 8"/>
                  <a:gd name="T4" fmla="*/ 1 w 10"/>
                  <a:gd name="T5" fmla="*/ 1 h 8"/>
                  <a:gd name="T6" fmla="*/ 3 w 10"/>
                  <a:gd name="T7" fmla="*/ 4 h 8"/>
                  <a:gd name="T8" fmla="*/ 3 w 10"/>
                  <a:gd name="T9" fmla="*/ 4 h 8"/>
                  <a:gd name="T10" fmla="*/ 1 w 10"/>
                  <a:gd name="T11" fmla="*/ 4 h 8"/>
                  <a:gd name="T12" fmla="*/ 0 w 10"/>
                  <a:gd name="T13" fmla="*/ 4 h 8"/>
                  <a:gd name="T14" fmla="*/ 0 w 10"/>
                  <a:gd name="T15" fmla="*/ 8 h 8"/>
                  <a:gd name="T16" fmla="*/ 0 w 10"/>
                  <a:gd name="T17" fmla="*/ 8 h 8"/>
                  <a:gd name="T18" fmla="*/ 1 w 10"/>
                  <a:gd name="T19" fmla="*/ 8 h 8"/>
                  <a:gd name="T20" fmla="*/ 10 w 10"/>
                  <a:gd name="T21" fmla="*/ 6 h 8"/>
                  <a:gd name="T22" fmla="*/ 9 w 10"/>
                  <a:gd name="T23" fmla="*/ 6 h 8"/>
                  <a:gd name="T24" fmla="*/ 9 w 10"/>
                  <a:gd name="T25" fmla="*/ 2 h 8"/>
                  <a:gd name="T26" fmla="*/ 7 w 10"/>
                  <a:gd name="T27" fmla="*/ 2 h 8"/>
                  <a:gd name="T28" fmla="*/ 3 w 10"/>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8">
                    <a:moveTo>
                      <a:pt x="3" y="0"/>
                    </a:moveTo>
                    <a:cubicBezTo>
                      <a:pt x="3" y="0"/>
                      <a:pt x="3" y="0"/>
                      <a:pt x="2" y="0"/>
                    </a:cubicBezTo>
                    <a:cubicBezTo>
                      <a:pt x="2" y="0"/>
                      <a:pt x="1" y="1"/>
                      <a:pt x="1" y="1"/>
                    </a:cubicBezTo>
                    <a:cubicBezTo>
                      <a:pt x="1" y="2"/>
                      <a:pt x="2" y="3"/>
                      <a:pt x="3" y="4"/>
                    </a:cubicBezTo>
                    <a:cubicBezTo>
                      <a:pt x="3" y="4"/>
                      <a:pt x="3" y="4"/>
                      <a:pt x="3" y="4"/>
                    </a:cubicBezTo>
                    <a:cubicBezTo>
                      <a:pt x="2" y="4"/>
                      <a:pt x="1" y="4"/>
                      <a:pt x="1" y="4"/>
                    </a:cubicBezTo>
                    <a:cubicBezTo>
                      <a:pt x="1" y="4"/>
                      <a:pt x="0" y="4"/>
                      <a:pt x="0" y="4"/>
                    </a:cubicBezTo>
                    <a:cubicBezTo>
                      <a:pt x="0" y="8"/>
                      <a:pt x="0" y="8"/>
                      <a:pt x="0" y="8"/>
                    </a:cubicBezTo>
                    <a:cubicBezTo>
                      <a:pt x="0" y="8"/>
                      <a:pt x="0" y="8"/>
                      <a:pt x="0" y="8"/>
                    </a:cubicBezTo>
                    <a:cubicBezTo>
                      <a:pt x="1" y="8"/>
                      <a:pt x="1" y="8"/>
                      <a:pt x="1" y="8"/>
                    </a:cubicBezTo>
                    <a:cubicBezTo>
                      <a:pt x="4" y="7"/>
                      <a:pt x="7" y="7"/>
                      <a:pt x="10" y="6"/>
                    </a:cubicBezTo>
                    <a:cubicBezTo>
                      <a:pt x="10" y="6"/>
                      <a:pt x="9" y="6"/>
                      <a:pt x="9" y="6"/>
                    </a:cubicBezTo>
                    <a:cubicBezTo>
                      <a:pt x="8" y="6"/>
                      <a:pt x="10" y="3"/>
                      <a:pt x="9" y="2"/>
                    </a:cubicBezTo>
                    <a:cubicBezTo>
                      <a:pt x="7" y="2"/>
                      <a:pt x="7" y="2"/>
                      <a:pt x="7" y="2"/>
                    </a:cubicBezTo>
                    <a:cubicBezTo>
                      <a:pt x="5"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0" name="Freeform 88">
                <a:extLst>
                  <a:ext uri="{FF2B5EF4-FFF2-40B4-BE49-F238E27FC236}">
                    <a16:creationId xmlns:a16="http://schemas.microsoft.com/office/drawing/2014/main" id="{A714A24F-1F0D-438A-BFB3-29D297273F5F}"/>
                  </a:ext>
                </a:extLst>
              </p:cNvPr>
              <p:cNvSpPr>
                <a:spLocks/>
              </p:cNvSpPr>
              <p:nvPr/>
            </p:nvSpPr>
            <p:spPr bwMode="auto">
              <a:xfrm>
                <a:off x="7006" y="3030"/>
                <a:ext cx="3" cy="5"/>
              </a:xfrm>
              <a:custGeom>
                <a:avLst/>
                <a:gdLst>
                  <a:gd name="T0" fmla="*/ 1 w 1"/>
                  <a:gd name="T1" fmla="*/ 0 h 2"/>
                  <a:gd name="T2" fmla="*/ 0 w 1"/>
                  <a:gd name="T3" fmla="*/ 2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0" y="1"/>
                      <a:pt x="0" y="2"/>
                    </a:cubicBezTo>
                    <a:cubicBezTo>
                      <a:pt x="0" y="2"/>
                      <a:pt x="0" y="2"/>
                      <a:pt x="0" y="2"/>
                    </a:cubicBezTo>
                    <a:cubicBezTo>
                      <a:pt x="0"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1" name="Freeform 89">
                <a:extLst>
                  <a:ext uri="{FF2B5EF4-FFF2-40B4-BE49-F238E27FC236}">
                    <a16:creationId xmlns:a16="http://schemas.microsoft.com/office/drawing/2014/main" id="{B45458A3-8D46-439C-8324-D87E48DB737E}"/>
                  </a:ext>
                </a:extLst>
              </p:cNvPr>
              <p:cNvSpPr>
                <a:spLocks/>
              </p:cNvSpPr>
              <p:nvPr/>
            </p:nvSpPr>
            <p:spPr bwMode="auto">
              <a:xfrm>
                <a:off x="7855" y="3110"/>
                <a:ext cx="4" cy="3"/>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0"/>
                      <a:pt x="1" y="0"/>
                      <a:pt x="2" y="1"/>
                    </a:cubicBezTo>
                    <a:cubicBezTo>
                      <a:pt x="2" y="1"/>
                      <a:pt x="2"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2" name="Freeform 90">
                <a:extLst>
                  <a:ext uri="{FF2B5EF4-FFF2-40B4-BE49-F238E27FC236}">
                    <a16:creationId xmlns:a16="http://schemas.microsoft.com/office/drawing/2014/main" id="{8BACE24A-012E-4A52-9758-2CC31370A72A}"/>
                  </a:ext>
                </a:extLst>
              </p:cNvPr>
              <p:cNvSpPr>
                <a:spLocks/>
              </p:cNvSpPr>
              <p:nvPr/>
            </p:nvSpPr>
            <p:spPr bwMode="auto">
              <a:xfrm>
                <a:off x="7699" y="3070"/>
                <a:ext cx="5" cy="5"/>
              </a:xfrm>
              <a:custGeom>
                <a:avLst/>
                <a:gdLst>
                  <a:gd name="T0" fmla="*/ 1 w 2"/>
                  <a:gd name="T1" fmla="*/ 0 h 2"/>
                  <a:gd name="T2" fmla="*/ 0 w 2"/>
                  <a:gd name="T3" fmla="*/ 2 h 2"/>
                  <a:gd name="T4" fmla="*/ 1 w 2"/>
                  <a:gd name="T5" fmla="*/ 0 h 2"/>
                </a:gdLst>
                <a:ahLst/>
                <a:cxnLst>
                  <a:cxn ang="0">
                    <a:pos x="T0" y="T1"/>
                  </a:cxn>
                  <a:cxn ang="0">
                    <a:pos x="T2" y="T3"/>
                  </a:cxn>
                  <a:cxn ang="0">
                    <a:pos x="T4" y="T5"/>
                  </a:cxn>
                </a:cxnLst>
                <a:rect l="0" t="0" r="r" b="b"/>
                <a:pathLst>
                  <a:path w="2" h="2">
                    <a:moveTo>
                      <a:pt x="1" y="0"/>
                    </a:moveTo>
                    <a:cubicBezTo>
                      <a:pt x="1" y="1"/>
                      <a:pt x="0" y="1"/>
                      <a:pt x="0" y="2"/>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3" name="Freeform 91">
                <a:extLst>
                  <a:ext uri="{FF2B5EF4-FFF2-40B4-BE49-F238E27FC236}">
                    <a16:creationId xmlns:a16="http://schemas.microsoft.com/office/drawing/2014/main" id="{38FDF652-6257-400D-A480-34CDB4A3A2BB}"/>
                  </a:ext>
                </a:extLst>
              </p:cNvPr>
              <p:cNvSpPr>
                <a:spLocks/>
              </p:cNvSpPr>
              <p:nvPr/>
            </p:nvSpPr>
            <p:spPr bwMode="auto">
              <a:xfrm>
                <a:off x="6999" y="3021"/>
                <a:ext cx="15" cy="9"/>
              </a:xfrm>
              <a:custGeom>
                <a:avLst/>
                <a:gdLst>
                  <a:gd name="T0" fmla="*/ 4 w 6"/>
                  <a:gd name="T1" fmla="*/ 0 h 4"/>
                  <a:gd name="T2" fmla="*/ 2 w 6"/>
                  <a:gd name="T3" fmla="*/ 1 h 4"/>
                  <a:gd name="T4" fmla="*/ 0 w 6"/>
                  <a:gd name="T5" fmla="*/ 1 h 4"/>
                  <a:gd name="T6" fmla="*/ 3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cubicBezTo>
                      <a:pt x="3" y="1"/>
                      <a:pt x="2" y="1"/>
                      <a:pt x="2" y="1"/>
                    </a:cubicBezTo>
                    <a:cubicBezTo>
                      <a:pt x="1" y="1"/>
                      <a:pt x="1" y="1"/>
                      <a:pt x="0" y="1"/>
                    </a:cubicBezTo>
                    <a:cubicBezTo>
                      <a:pt x="0" y="3"/>
                      <a:pt x="2" y="4"/>
                      <a:pt x="3" y="4"/>
                    </a:cubicBezTo>
                    <a:cubicBezTo>
                      <a:pt x="4"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4" name="Freeform 92">
                <a:extLst>
                  <a:ext uri="{FF2B5EF4-FFF2-40B4-BE49-F238E27FC236}">
                    <a16:creationId xmlns:a16="http://schemas.microsoft.com/office/drawing/2014/main" id="{C1A075D4-7F1A-408F-96E3-1EF42B16C2F7}"/>
                  </a:ext>
                </a:extLst>
              </p:cNvPr>
              <p:cNvSpPr>
                <a:spLocks/>
              </p:cNvSpPr>
              <p:nvPr/>
            </p:nvSpPr>
            <p:spPr bwMode="auto">
              <a:xfrm>
                <a:off x="7796" y="3011"/>
                <a:ext cx="9" cy="3"/>
              </a:xfrm>
              <a:custGeom>
                <a:avLst/>
                <a:gdLst>
                  <a:gd name="T0" fmla="*/ 3 w 4"/>
                  <a:gd name="T1" fmla="*/ 0 h 1"/>
                  <a:gd name="T2" fmla="*/ 0 w 4"/>
                  <a:gd name="T3" fmla="*/ 0 h 1"/>
                  <a:gd name="T4" fmla="*/ 2 w 4"/>
                  <a:gd name="T5" fmla="*/ 1 h 1"/>
                  <a:gd name="T6" fmla="*/ 4 w 4"/>
                  <a:gd name="T7" fmla="*/ 0 h 1"/>
                  <a:gd name="T8" fmla="*/ 3 w 4"/>
                  <a:gd name="T9" fmla="*/ 0 h 1"/>
                </a:gdLst>
                <a:ahLst/>
                <a:cxnLst>
                  <a:cxn ang="0">
                    <a:pos x="T0" y="T1"/>
                  </a:cxn>
                  <a:cxn ang="0">
                    <a:pos x="T2" y="T3"/>
                  </a:cxn>
                  <a:cxn ang="0">
                    <a:pos x="T4" y="T5"/>
                  </a:cxn>
                  <a:cxn ang="0">
                    <a:pos x="T6" y="T7"/>
                  </a:cxn>
                  <a:cxn ang="0">
                    <a:pos x="T8" y="T9"/>
                  </a:cxn>
                </a:cxnLst>
                <a:rect l="0" t="0" r="r" b="b"/>
                <a:pathLst>
                  <a:path w="4" h="1">
                    <a:moveTo>
                      <a:pt x="3" y="0"/>
                    </a:moveTo>
                    <a:cubicBezTo>
                      <a:pt x="2" y="0"/>
                      <a:pt x="1" y="0"/>
                      <a:pt x="0" y="0"/>
                    </a:cubicBezTo>
                    <a:cubicBezTo>
                      <a:pt x="1" y="1"/>
                      <a:pt x="1" y="1"/>
                      <a:pt x="2" y="1"/>
                    </a:cubicBezTo>
                    <a:cubicBezTo>
                      <a:pt x="3" y="1"/>
                      <a:pt x="3"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5" name="Freeform 93">
                <a:extLst>
                  <a:ext uri="{FF2B5EF4-FFF2-40B4-BE49-F238E27FC236}">
                    <a16:creationId xmlns:a16="http://schemas.microsoft.com/office/drawing/2014/main" id="{5509B2DE-B82E-4625-80E9-CC4E3FE93307}"/>
                  </a:ext>
                </a:extLst>
              </p:cNvPr>
              <p:cNvSpPr>
                <a:spLocks/>
              </p:cNvSpPr>
              <p:nvPr/>
            </p:nvSpPr>
            <p:spPr bwMode="auto">
              <a:xfrm>
                <a:off x="7784" y="2983"/>
                <a:ext cx="9" cy="9"/>
              </a:xfrm>
              <a:custGeom>
                <a:avLst/>
                <a:gdLst>
                  <a:gd name="T0" fmla="*/ 3 w 4"/>
                  <a:gd name="T1" fmla="*/ 0 h 4"/>
                  <a:gd name="T2" fmla="*/ 1 w 4"/>
                  <a:gd name="T3" fmla="*/ 1 h 4"/>
                  <a:gd name="T4" fmla="*/ 0 w 4"/>
                  <a:gd name="T5" fmla="*/ 4 h 4"/>
                  <a:gd name="T6" fmla="*/ 4 w 4"/>
                  <a:gd name="T7" fmla="*/ 2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cubicBezTo>
                      <a:pt x="3" y="0"/>
                      <a:pt x="2" y="0"/>
                      <a:pt x="1" y="1"/>
                    </a:cubicBezTo>
                    <a:cubicBezTo>
                      <a:pt x="0" y="2"/>
                      <a:pt x="0" y="3"/>
                      <a:pt x="0" y="4"/>
                    </a:cubicBezTo>
                    <a:cubicBezTo>
                      <a:pt x="1" y="4"/>
                      <a:pt x="3" y="3"/>
                      <a:pt x="4" y="2"/>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6" name="Freeform 94">
                <a:extLst>
                  <a:ext uri="{FF2B5EF4-FFF2-40B4-BE49-F238E27FC236}">
                    <a16:creationId xmlns:a16="http://schemas.microsoft.com/office/drawing/2014/main" id="{7D8F1C7A-8791-4450-9685-4952D847E29B}"/>
                  </a:ext>
                </a:extLst>
              </p:cNvPr>
              <p:cNvSpPr>
                <a:spLocks/>
              </p:cNvSpPr>
              <p:nvPr/>
            </p:nvSpPr>
            <p:spPr bwMode="auto">
              <a:xfrm>
                <a:off x="7200" y="3184"/>
                <a:ext cx="5" cy="7"/>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1"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7" name="Freeform 95">
                <a:extLst>
                  <a:ext uri="{FF2B5EF4-FFF2-40B4-BE49-F238E27FC236}">
                    <a16:creationId xmlns:a16="http://schemas.microsoft.com/office/drawing/2014/main" id="{6DF45FFC-810D-4CD7-8ED5-65FB3FE1BA87}"/>
                  </a:ext>
                </a:extLst>
              </p:cNvPr>
              <p:cNvSpPr>
                <a:spLocks/>
              </p:cNvSpPr>
              <p:nvPr/>
            </p:nvSpPr>
            <p:spPr bwMode="auto">
              <a:xfrm>
                <a:off x="7524" y="3189"/>
                <a:ext cx="5" cy="16"/>
              </a:xfrm>
              <a:custGeom>
                <a:avLst/>
                <a:gdLst>
                  <a:gd name="T0" fmla="*/ 1 w 2"/>
                  <a:gd name="T1" fmla="*/ 0 h 7"/>
                  <a:gd name="T2" fmla="*/ 0 w 2"/>
                  <a:gd name="T3" fmla="*/ 5 h 7"/>
                  <a:gd name="T4" fmla="*/ 2 w 2"/>
                  <a:gd name="T5" fmla="*/ 7 h 7"/>
                  <a:gd name="T6" fmla="*/ 1 w 2"/>
                  <a:gd name="T7" fmla="*/ 0 h 7"/>
                </a:gdLst>
                <a:ahLst/>
                <a:cxnLst>
                  <a:cxn ang="0">
                    <a:pos x="T0" y="T1"/>
                  </a:cxn>
                  <a:cxn ang="0">
                    <a:pos x="T2" y="T3"/>
                  </a:cxn>
                  <a:cxn ang="0">
                    <a:pos x="T4" y="T5"/>
                  </a:cxn>
                  <a:cxn ang="0">
                    <a:pos x="T6" y="T7"/>
                  </a:cxn>
                </a:cxnLst>
                <a:rect l="0" t="0" r="r" b="b"/>
                <a:pathLst>
                  <a:path w="2" h="7">
                    <a:moveTo>
                      <a:pt x="1" y="0"/>
                    </a:moveTo>
                    <a:cubicBezTo>
                      <a:pt x="0" y="1"/>
                      <a:pt x="1" y="3"/>
                      <a:pt x="0" y="5"/>
                    </a:cubicBezTo>
                    <a:cubicBezTo>
                      <a:pt x="1" y="7"/>
                      <a:pt x="1" y="7"/>
                      <a:pt x="2" y="7"/>
                    </a:cubicBezTo>
                    <a:cubicBezTo>
                      <a:pt x="2" y="7"/>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8" name="Freeform 96">
                <a:extLst>
                  <a:ext uri="{FF2B5EF4-FFF2-40B4-BE49-F238E27FC236}">
                    <a16:creationId xmlns:a16="http://schemas.microsoft.com/office/drawing/2014/main" id="{4F5A9C34-B45E-4DFB-8CEB-99A898352903}"/>
                  </a:ext>
                </a:extLst>
              </p:cNvPr>
              <p:cNvSpPr>
                <a:spLocks/>
              </p:cNvSpPr>
              <p:nvPr/>
            </p:nvSpPr>
            <p:spPr bwMode="auto">
              <a:xfrm>
                <a:off x="7843" y="3103"/>
                <a:ext cx="9" cy="3"/>
              </a:xfrm>
              <a:custGeom>
                <a:avLst/>
                <a:gdLst>
                  <a:gd name="T0" fmla="*/ 0 w 4"/>
                  <a:gd name="T1" fmla="*/ 0 h 1"/>
                  <a:gd name="T2" fmla="*/ 3 w 4"/>
                  <a:gd name="T3" fmla="*/ 1 h 1"/>
                  <a:gd name="T4" fmla="*/ 4 w 4"/>
                  <a:gd name="T5" fmla="*/ 0 h 1"/>
                  <a:gd name="T6" fmla="*/ 0 w 4"/>
                  <a:gd name="T7" fmla="*/ 0 h 1"/>
                </a:gdLst>
                <a:ahLst/>
                <a:cxnLst>
                  <a:cxn ang="0">
                    <a:pos x="T0" y="T1"/>
                  </a:cxn>
                  <a:cxn ang="0">
                    <a:pos x="T2" y="T3"/>
                  </a:cxn>
                  <a:cxn ang="0">
                    <a:pos x="T4" y="T5"/>
                  </a:cxn>
                  <a:cxn ang="0">
                    <a:pos x="T6" y="T7"/>
                  </a:cxn>
                </a:cxnLst>
                <a:rect l="0" t="0" r="r" b="b"/>
                <a:pathLst>
                  <a:path w="4" h="1">
                    <a:moveTo>
                      <a:pt x="0" y="0"/>
                    </a:moveTo>
                    <a:cubicBezTo>
                      <a:pt x="1" y="0"/>
                      <a:pt x="2" y="1"/>
                      <a:pt x="3" y="1"/>
                    </a:cubicBezTo>
                    <a:cubicBezTo>
                      <a:pt x="3" y="1"/>
                      <a:pt x="4" y="1"/>
                      <a:pt x="4" y="0"/>
                    </a:cubicBezTo>
                    <a:cubicBezTo>
                      <a:pt x="3"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9" name="Freeform 97">
                <a:extLst>
                  <a:ext uri="{FF2B5EF4-FFF2-40B4-BE49-F238E27FC236}">
                    <a16:creationId xmlns:a16="http://schemas.microsoft.com/office/drawing/2014/main" id="{C8EE9E42-86F3-42B9-85A3-C88F07AC92C2}"/>
                  </a:ext>
                </a:extLst>
              </p:cNvPr>
              <p:cNvSpPr>
                <a:spLocks/>
              </p:cNvSpPr>
              <p:nvPr/>
            </p:nvSpPr>
            <p:spPr bwMode="auto">
              <a:xfrm>
                <a:off x="5154" y="2368"/>
                <a:ext cx="14" cy="24"/>
              </a:xfrm>
              <a:custGeom>
                <a:avLst/>
                <a:gdLst>
                  <a:gd name="T0" fmla="*/ 5 w 6"/>
                  <a:gd name="T1" fmla="*/ 0 h 10"/>
                  <a:gd name="T2" fmla="*/ 0 w 6"/>
                  <a:gd name="T3" fmla="*/ 10 h 10"/>
                  <a:gd name="T4" fmla="*/ 6 w 6"/>
                  <a:gd name="T5" fmla="*/ 4 h 10"/>
                  <a:gd name="T6" fmla="*/ 5 w 6"/>
                  <a:gd name="T7" fmla="*/ 0 h 10"/>
                </a:gdLst>
                <a:ahLst/>
                <a:cxnLst>
                  <a:cxn ang="0">
                    <a:pos x="T0" y="T1"/>
                  </a:cxn>
                  <a:cxn ang="0">
                    <a:pos x="T2" y="T3"/>
                  </a:cxn>
                  <a:cxn ang="0">
                    <a:pos x="T4" y="T5"/>
                  </a:cxn>
                  <a:cxn ang="0">
                    <a:pos x="T6" y="T7"/>
                  </a:cxn>
                </a:cxnLst>
                <a:rect l="0" t="0" r="r" b="b"/>
                <a:pathLst>
                  <a:path w="6" h="10">
                    <a:moveTo>
                      <a:pt x="5" y="0"/>
                    </a:moveTo>
                    <a:cubicBezTo>
                      <a:pt x="3" y="3"/>
                      <a:pt x="2" y="7"/>
                      <a:pt x="0" y="10"/>
                    </a:cubicBezTo>
                    <a:cubicBezTo>
                      <a:pt x="3" y="8"/>
                      <a:pt x="3" y="5"/>
                      <a:pt x="6" y="4"/>
                    </a:cubicBezTo>
                    <a:cubicBezTo>
                      <a:pt x="6" y="2"/>
                      <a:pt x="4"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0" name="Freeform 98">
                <a:extLst>
                  <a:ext uri="{FF2B5EF4-FFF2-40B4-BE49-F238E27FC236}">
                    <a16:creationId xmlns:a16="http://schemas.microsoft.com/office/drawing/2014/main" id="{48ADCD37-4F86-4259-89A9-5B1F998BDA5C}"/>
                  </a:ext>
                </a:extLst>
              </p:cNvPr>
              <p:cNvSpPr>
                <a:spLocks/>
              </p:cNvSpPr>
              <p:nvPr/>
            </p:nvSpPr>
            <p:spPr bwMode="auto">
              <a:xfrm>
                <a:off x="8299" y="1673"/>
                <a:ext cx="9" cy="9"/>
              </a:xfrm>
              <a:custGeom>
                <a:avLst/>
                <a:gdLst>
                  <a:gd name="T0" fmla="*/ 4 w 4"/>
                  <a:gd name="T1" fmla="*/ 0 h 4"/>
                  <a:gd name="T2" fmla="*/ 0 w 4"/>
                  <a:gd name="T3" fmla="*/ 1 h 4"/>
                  <a:gd name="T4" fmla="*/ 2 w 4"/>
                  <a:gd name="T5" fmla="*/ 4 h 4"/>
                  <a:gd name="T6" fmla="*/ 2 w 4"/>
                  <a:gd name="T7" fmla="*/ 4 h 4"/>
                  <a:gd name="T8" fmla="*/ 4 w 4"/>
                  <a:gd name="T9" fmla="*/ 0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cubicBezTo>
                      <a:pt x="3" y="0"/>
                      <a:pt x="1" y="0"/>
                      <a:pt x="0" y="1"/>
                    </a:cubicBezTo>
                    <a:cubicBezTo>
                      <a:pt x="0" y="2"/>
                      <a:pt x="0" y="4"/>
                      <a:pt x="2" y="4"/>
                    </a:cubicBezTo>
                    <a:cubicBezTo>
                      <a:pt x="2" y="4"/>
                      <a:pt x="2" y="4"/>
                      <a:pt x="2" y="4"/>
                    </a:cubicBezTo>
                    <a:cubicBezTo>
                      <a:pt x="3" y="3"/>
                      <a:pt x="3"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1" name="Freeform 99">
                <a:extLst>
                  <a:ext uri="{FF2B5EF4-FFF2-40B4-BE49-F238E27FC236}">
                    <a16:creationId xmlns:a16="http://schemas.microsoft.com/office/drawing/2014/main" id="{A76E6E52-DC4A-4D80-A7EC-24AF8EB247E1}"/>
                  </a:ext>
                </a:extLst>
              </p:cNvPr>
              <p:cNvSpPr>
                <a:spLocks/>
              </p:cNvSpPr>
              <p:nvPr/>
            </p:nvSpPr>
            <p:spPr bwMode="auto">
              <a:xfrm>
                <a:off x="8330" y="1704"/>
                <a:ext cx="7" cy="12"/>
              </a:xfrm>
              <a:custGeom>
                <a:avLst/>
                <a:gdLst>
                  <a:gd name="T0" fmla="*/ 0 w 3"/>
                  <a:gd name="T1" fmla="*/ 0 h 5"/>
                  <a:gd name="T2" fmla="*/ 0 w 3"/>
                  <a:gd name="T3" fmla="*/ 5 h 5"/>
                  <a:gd name="T4" fmla="*/ 3 w 3"/>
                  <a:gd name="T5" fmla="*/ 2 h 5"/>
                  <a:gd name="T6" fmla="*/ 0 w 3"/>
                  <a:gd name="T7" fmla="*/ 0 h 5"/>
                </a:gdLst>
                <a:ahLst/>
                <a:cxnLst>
                  <a:cxn ang="0">
                    <a:pos x="T0" y="T1"/>
                  </a:cxn>
                  <a:cxn ang="0">
                    <a:pos x="T2" y="T3"/>
                  </a:cxn>
                  <a:cxn ang="0">
                    <a:pos x="T4" y="T5"/>
                  </a:cxn>
                  <a:cxn ang="0">
                    <a:pos x="T6" y="T7"/>
                  </a:cxn>
                </a:cxnLst>
                <a:rect l="0" t="0" r="r" b="b"/>
                <a:pathLst>
                  <a:path w="3" h="5">
                    <a:moveTo>
                      <a:pt x="0" y="0"/>
                    </a:moveTo>
                    <a:cubicBezTo>
                      <a:pt x="0" y="2"/>
                      <a:pt x="0" y="3"/>
                      <a:pt x="0" y="5"/>
                    </a:cubicBezTo>
                    <a:cubicBezTo>
                      <a:pt x="1" y="4"/>
                      <a:pt x="2" y="3"/>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2" name="Freeform 100">
                <a:extLst>
                  <a:ext uri="{FF2B5EF4-FFF2-40B4-BE49-F238E27FC236}">
                    <a16:creationId xmlns:a16="http://schemas.microsoft.com/office/drawing/2014/main" id="{5B213D58-9835-4AB8-BB37-9D2BF9005002}"/>
                  </a:ext>
                </a:extLst>
              </p:cNvPr>
              <p:cNvSpPr>
                <a:spLocks/>
              </p:cNvSpPr>
              <p:nvPr/>
            </p:nvSpPr>
            <p:spPr bwMode="auto">
              <a:xfrm>
                <a:off x="8332" y="1685"/>
                <a:ext cx="10" cy="19"/>
              </a:xfrm>
              <a:custGeom>
                <a:avLst/>
                <a:gdLst>
                  <a:gd name="T0" fmla="*/ 4 w 4"/>
                  <a:gd name="T1" fmla="*/ 0 h 8"/>
                  <a:gd name="T2" fmla="*/ 1 w 4"/>
                  <a:gd name="T3" fmla="*/ 2 h 8"/>
                  <a:gd name="T4" fmla="*/ 1 w 4"/>
                  <a:gd name="T5" fmla="*/ 4 h 8"/>
                  <a:gd name="T6" fmla="*/ 0 w 4"/>
                  <a:gd name="T7" fmla="*/ 7 h 8"/>
                  <a:gd name="T8" fmla="*/ 2 w 4"/>
                  <a:gd name="T9" fmla="*/ 8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cubicBezTo>
                      <a:pt x="3" y="1"/>
                      <a:pt x="2" y="1"/>
                      <a:pt x="1" y="2"/>
                    </a:cubicBezTo>
                    <a:cubicBezTo>
                      <a:pt x="1" y="3"/>
                      <a:pt x="1" y="3"/>
                      <a:pt x="1" y="4"/>
                    </a:cubicBezTo>
                    <a:cubicBezTo>
                      <a:pt x="1" y="5"/>
                      <a:pt x="1" y="7"/>
                      <a:pt x="0" y="7"/>
                    </a:cubicBezTo>
                    <a:cubicBezTo>
                      <a:pt x="0" y="8"/>
                      <a:pt x="1" y="8"/>
                      <a:pt x="2" y="8"/>
                    </a:cubicBezTo>
                    <a:cubicBezTo>
                      <a:pt x="2" y="5"/>
                      <a:pt x="3"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3" name="Freeform 101">
                <a:extLst>
                  <a:ext uri="{FF2B5EF4-FFF2-40B4-BE49-F238E27FC236}">
                    <a16:creationId xmlns:a16="http://schemas.microsoft.com/office/drawing/2014/main" id="{812309F7-76B3-4749-BE0C-FE97B6564A6B}"/>
                  </a:ext>
                </a:extLst>
              </p:cNvPr>
              <p:cNvSpPr>
                <a:spLocks/>
              </p:cNvSpPr>
              <p:nvPr/>
            </p:nvSpPr>
            <p:spPr bwMode="auto">
              <a:xfrm>
                <a:off x="8190" y="1692"/>
                <a:ext cx="15" cy="7"/>
              </a:xfrm>
              <a:custGeom>
                <a:avLst/>
                <a:gdLst>
                  <a:gd name="T0" fmla="*/ 3 w 6"/>
                  <a:gd name="T1" fmla="*/ 0 h 3"/>
                  <a:gd name="T2" fmla="*/ 2 w 6"/>
                  <a:gd name="T3" fmla="*/ 2 h 3"/>
                  <a:gd name="T4" fmla="*/ 0 w 6"/>
                  <a:gd name="T5" fmla="*/ 3 h 3"/>
                  <a:gd name="T6" fmla="*/ 6 w 6"/>
                  <a:gd name="T7" fmla="*/ 2 h 3"/>
                  <a:gd name="T8" fmla="*/ 3 w 6"/>
                  <a:gd name="T9" fmla="*/ 0 h 3"/>
                </a:gdLst>
                <a:ahLst/>
                <a:cxnLst>
                  <a:cxn ang="0">
                    <a:pos x="T0" y="T1"/>
                  </a:cxn>
                  <a:cxn ang="0">
                    <a:pos x="T2" y="T3"/>
                  </a:cxn>
                  <a:cxn ang="0">
                    <a:pos x="T4" y="T5"/>
                  </a:cxn>
                  <a:cxn ang="0">
                    <a:pos x="T6" y="T7"/>
                  </a:cxn>
                  <a:cxn ang="0">
                    <a:pos x="T8" y="T9"/>
                  </a:cxn>
                </a:cxnLst>
                <a:rect l="0" t="0" r="r" b="b"/>
                <a:pathLst>
                  <a:path w="6" h="3">
                    <a:moveTo>
                      <a:pt x="3" y="0"/>
                    </a:moveTo>
                    <a:cubicBezTo>
                      <a:pt x="3" y="0"/>
                      <a:pt x="3" y="1"/>
                      <a:pt x="2" y="2"/>
                    </a:cubicBezTo>
                    <a:cubicBezTo>
                      <a:pt x="1" y="2"/>
                      <a:pt x="1" y="3"/>
                      <a:pt x="0" y="3"/>
                    </a:cubicBezTo>
                    <a:cubicBezTo>
                      <a:pt x="2" y="3"/>
                      <a:pt x="4" y="2"/>
                      <a:pt x="6"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4" name="Freeform 102">
                <a:extLst>
                  <a:ext uri="{FF2B5EF4-FFF2-40B4-BE49-F238E27FC236}">
                    <a16:creationId xmlns:a16="http://schemas.microsoft.com/office/drawing/2014/main" id="{14BFAA9C-54AA-4BA6-A8EA-AE48EA8B78C8}"/>
                  </a:ext>
                </a:extLst>
              </p:cNvPr>
              <p:cNvSpPr>
                <a:spLocks/>
              </p:cNvSpPr>
              <p:nvPr/>
            </p:nvSpPr>
            <p:spPr bwMode="auto">
              <a:xfrm>
                <a:off x="8268" y="1675"/>
                <a:ext cx="10" cy="10"/>
              </a:xfrm>
              <a:custGeom>
                <a:avLst/>
                <a:gdLst>
                  <a:gd name="T0" fmla="*/ 2 w 4"/>
                  <a:gd name="T1" fmla="*/ 0 h 4"/>
                  <a:gd name="T2" fmla="*/ 1 w 4"/>
                  <a:gd name="T3" fmla="*/ 3 h 4"/>
                  <a:gd name="T4" fmla="*/ 4 w 4"/>
                  <a:gd name="T5" fmla="*/ 4 h 4"/>
                  <a:gd name="T6" fmla="*/ 2 w 4"/>
                  <a:gd name="T7" fmla="*/ 0 h 4"/>
                </a:gdLst>
                <a:ahLst/>
                <a:cxnLst>
                  <a:cxn ang="0">
                    <a:pos x="T0" y="T1"/>
                  </a:cxn>
                  <a:cxn ang="0">
                    <a:pos x="T2" y="T3"/>
                  </a:cxn>
                  <a:cxn ang="0">
                    <a:pos x="T4" y="T5"/>
                  </a:cxn>
                  <a:cxn ang="0">
                    <a:pos x="T6" y="T7"/>
                  </a:cxn>
                </a:cxnLst>
                <a:rect l="0" t="0" r="r" b="b"/>
                <a:pathLst>
                  <a:path w="4" h="4">
                    <a:moveTo>
                      <a:pt x="2" y="0"/>
                    </a:moveTo>
                    <a:cubicBezTo>
                      <a:pt x="0" y="0"/>
                      <a:pt x="0" y="1"/>
                      <a:pt x="1" y="3"/>
                    </a:cubicBezTo>
                    <a:cubicBezTo>
                      <a:pt x="1" y="4"/>
                      <a:pt x="3" y="4"/>
                      <a:pt x="4" y="4"/>
                    </a:cubicBezTo>
                    <a:cubicBezTo>
                      <a:pt x="4" y="3"/>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5" name="Freeform 103">
                <a:extLst>
                  <a:ext uri="{FF2B5EF4-FFF2-40B4-BE49-F238E27FC236}">
                    <a16:creationId xmlns:a16="http://schemas.microsoft.com/office/drawing/2014/main" id="{88C408F8-E829-4BAB-B16A-74168D308426}"/>
                  </a:ext>
                </a:extLst>
              </p:cNvPr>
              <p:cNvSpPr>
                <a:spLocks/>
              </p:cNvSpPr>
              <p:nvPr/>
            </p:nvSpPr>
            <p:spPr bwMode="auto">
              <a:xfrm>
                <a:off x="8193" y="1746"/>
                <a:ext cx="35" cy="14"/>
              </a:xfrm>
              <a:custGeom>
                <a:avLst/>
                <a:gdLst>
                  <a:gd name="T0" fmla="*/ 7 w 15"/>
                  <a:gd name="T1" fmla="*/ 0 h 6"/>
                  <a:gd name="T2" fmla="*/ 0 w 15"/>
                  <a:gd name="T3" fmla="*/ 5 h 6"/>
                  <a:gd name="T4" fmla="*/ 4 w 15"/>
                  <a:gd name="T5" fmla="*/ 6 h 6"/>
                  <a:gd name="T6" fmla="*/ 15 w 15"/>
                  <a:gd name="T7" fmla="*/ 0 h 6"/>
                  <a:gd name="T8" fmla="*/ 7 w 15"/>
                  <a:gd name="T9" fmla="*/ 0 h 6"/>
                </a:gdLst>
                <a:ahLst/>
                <a:cxnLst>
                  <a:cxn ang="0">
                    <a:pos x="T0" y="T1"/>
                  </a:cxn>
                  <a:cxn ang="0">
                    <a:pos x="T2" y="T3"/>
                  </a:cxn>
                  <a:cxn ang="0">
                    <a:pos x="T4" y="T5"/>
                  </a:cxn>
                  <a:cxn ang="0">
                    <a:pos x="T6" y="T7"/>
                  </a:cxn>
                  <a:cxn ang="0">
                    <a:pos x="T8" y="T9"/>
                  </a:cxn>
                </a:cxnLst>
                <a:rect l="0" t="0" r="r" b="b"/>
                <a:pathLst>
                  <a:path w="15" h="6">
                    <a:moveTo>
                      <a:pt x="7" y="0"/>
                    </a:moveTo>
                    <a:cubicBezTo>
                      <a:pt x="4" y="1"/>
                      <a:pt x="2" y="3"/>
                      <a:pt x="0" y="5"/>
                    </a:cubicBezTo>
                    <a:cubicBezTo>
                      <a:pt x="1" y="6"/>
                      <a:pt x="3" y="6"/>
                      <a:pt x="4" y="6"/>
                    </a:cubicBezTo>
                    <a:cubicBezTo>
                      <a:pt x="8" y="6"/>
                      <a:pt x="12" y="3"/>
                      <a:pt x="15" y="0"/>
                    </a:cubicBezTo>
                    <a:cubicBezTo>
                      <a:pt x="12" y="0"/>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6" name="Freeform 104">
                <a:extLst>
                  <a:ext uri="{FF2B5EF4-FFF2-40B4-BE49-F238E27FC236}">
                    <a16:creationId xmlns:a16="http://schemas.microsoft.com/office/drawing/2014/main" id="{BC5B559F-DA94-4B70-A7D2-10FB64FBC1ED}"/>
                  </a:ext>
                </a:extLst>
              </p:cNvPr>
              <p:cNvSpPr>
                <a:spLocks/>
              </p:cNvSpPr>
              <p:nvPr/>
            </p:nvSpPr>
            <p:spPr bwMode="auto">
              <a:xfrm>
                <a:off x="8788" y="1680"/>
                <a:ext cx="3" cy="7"/>
              </a:xfrm>
              <a:custGeom>
                <a:avLst/>
                <a:gdLst>
                  <a:gd name="T0" fmla="*/ 1 w 1"/>
                  <a:gd name="T1" fmla="*/ 0 h 3"/>
                  <a:gd name="T2" fmla="*/ 1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7" name="Freeform 105">
                <a:extLst>
                  <a:ext uri="{FF2B5EF4-FFF2-40B4-BE49-F238E27FC236}">
                    <a16:creationId xmlns:a16="http://schemas.microsoft.com/office/drawing/2014/main" id="{81408252-B081-4AD3-BF89-8B1A491C1159}"/>
                  </a:ext>
                </a:extLst>
              </p:cNvPr>
              <p:cNvSpPr>
                <a:spLocks/>
              </p:cNvSpPr>
              <p:nvPr/>
            </p:nvSpPr>
            <p:spPr bwMode="auto">
              <a:xfrm>
                <a:off x="8807" y="1110"/>
                <a:ext cx="272" cy="225"/>
              </a:xfrm>
              <a:custGeom>
                <a:avLst/>
                <a:gdLst>
                  <a:gd name="T0" fmla="*/ 37 w 115"/>
                  <a:gd name="T1" fmla="*/ 2 h 95"/>
                  <a:gd name="T2" fmla="*/ 36 w 115"/>
                  <a:gd name="T3" fmla="*/ 2 h 95"/>
                  <a:gd name="T4" fmla="*/ 35 w 115"/>
                  <a:gd name="T5" fmla="*/ 10 h 95"/>
                  <a:gd name="T6" fmla="*/ 36 w 115"/>
                  <a:gd name="T7" fmla="*/ 34 h 95"/>
                  <a:gd name="T8" fmla="*/ 31 w 115"/>
                  <a:gd name="T9" fmla="*/ 48 h 95"/>
                  <a:gd name="T10" fmla="*/ 26 w 115"/>
                  <a:gd name="T11" fmla="*/ 55 h 95"/>
                  <a:gd name="T12" fmla="*/ 22 w 115"/>
                  <a:gd name="T13" fmla="*/ 53 h 95"/>
                  <a:gd name="T14" fmla="*/ 21 w 115"/>
                  <a:gd name="T15" fmla="*/ 54 h 95"/>
                  <a:gd name="T16" fmla="*/ 19 w 115"/>
                  <a:gd name="T17" fmla="*/ 54 h 95"/>
                  <a:gd name="T18" fmla="*/ 12 w 115"/>
                  <a:gd name="T19" fmla="*/ 50 h 95"/>
                  <a:gd name="T20" fmla="*/ 13 w 115"/>
                  <a:gd name="T21" fmla="*/ 56 h 95"/>
                  <a:gd name="T22" fmla="*/ 10 w 115"/>
                  <a:gd name="T23" fmla="*/ 64 h 95"/>
                  <a:gd name="T24" fmla="*/ 8 w 115"/>
                  <a:gd name="T25" fmla="*/ 63 h 95"/>
                  <a:gd name="T26" fmla="*/ 7 w 115"/>
                  <a:gd name="T27" fmla="*/ 63 h 95"/>
                  <a:gd name="T28" fmla="*/ 4 w 115"/>
                  <a:gd name="T29" fmla="*/ 66 h 95"/>
                  <a:gd name="T30" fmla="*/ 3 w 115"/>
                  <a:gd name="T31" fmla="*/ 66 h 95"/>
                  <a:gd name="T32" fmla="*/ 0 w 115"/>
                  <a:gd name="T33" fmla="*/ 73 h 95"/>
                  <a:gd name="T34" fmla="*/ 4 w 115"/>
                  <a:gd name="T35" fmla="*/ 88 h 95"/>
                  <a:gd name="T36" fmla="*/ 8 w 115"/>
                  <a:gd name="T37" fmla="*/ 95 h 95"/>
                  <a:gd name="T38" fmla="*/ 12 w 115"/>
                  <a:gd name="T39" fmla="*/ 90 h 95"/>
                  <a:gd name="T40" fmla="*/ 16 w 115"/>
                  <a:gd name="T41" fmla="*/ 87 h 95"/>
                  <a:gd name="T42" fmla="*/ 17 w 115"/>
                  <a:gd name="T43" fmla="*/ 86 h 95"/>
                  <a:gd name="T44" fmla="*/ 23 w 115"/>
                  <a:gd name="T45" fmla="*/ 88 h 95"/>
                  <a:gd name="T46" fmla="*/ 23 w 115"/>
                  <a:gd name="T47" fmla="*/ 84 h 95"/>
                  <a:gd name="T48" fmla="*/ 16 w 115"/>
                  <a:gd name="T49" fmla="*/ 79 h 95"/>
                  <a:gd name="T50" fmla="*/ 10 w 115"/>
                  <a:gd name="T51" fmla="*/ 72 h 95"/>
                  <a:gd name="T52" fmla="*/ 19 w 115"/>
                  <a:gd name="T53" fmla="*/ 70 h 95"/>
                  <a:gd name="T54" fmla="*/ 22 w 115"/>
                  <a:gd name="T55" fmla="*/ 74 h 95"/>
                  <a:gd name="T56" fmla="*/ 30 w 115"/>
                  <a:gd name="T57" fmla="*/ 69 h 95"/>
                  <a:gd name="T58" fmla="*/ 40 w 115"/>
                  <a:gd name="T59" fmla="*/ 68 h 95"/>
                  <a:gd name="T60" fmla="*/ 49 w 115"/>
                  <a:gd name="T61" fmla="*/ 74 h 95"/>
                  <a:gd name="T62" fmla="*/ 65 w 115"/>
                  <a:gd name="T63" fmla="*/ 82 h 95"/>
                  <a:gd name="T64" fmla="*/ 67 w 115"/>
                  <a:gd name="T65" fmla="*/ 78 h 95"/>
                  <a:gd name="T66" fmla="*/ 73 w 115"/>
                  <a:gd name="T67" fmla="*/ 66 h 95"/>
                  <a:gd name="T68" fmla="*/ 88 w 115"/>
                  <a:gd name="T69" fmla="*/ 60 h 95"/>
                  <a:gd name="T70" fmla="*/ 93 w 115"/>
                  <a:gd name="T71" fmla="*/ 60 h 95"/>
                  <a:gd name="T72" fmla="*/ 96 w 115"/>
                  <a:gd name="T73" fmla="*/ 58 h 95"/>
                  <a:gd name="T74" fmla="*/ 98 w 115"/>
                  <a:gd name="T75" fmla="*/ 59 h 95"/>
                  <a:gd name="T76" fmla="*/ 101 w 115"/>
                  <a:gd name="T77" fmla="*/ 58 h 95"/>
                  <a:gd name="T78" fmla="*/ 109 w 115"/>
                  <a:gd name="T79" fmla="*/ 53 h 95"/>
                  <a:gd name="T80" fmla="*/ 104 w 115"/>
                  <a:gd name="T81" fmla="*/ 48 h 95"/>
                  <a:gd name="T82" fmla="*/ 106 w 115"/>
                  <a:gd name="T83" fmla="*/ 45 h 95"/>
                  <a:gd name="T84" fmla="*/ 101 w 115"/>
                  <a:gd name="T85" fmla="*/ 38 h 95"/>
                  <a:gd name="T86" fmla="*/ 106 w 115"/>
                  <a:gd name="T87" fmla="*/ 27 h 95"/>
                  <a:gd name="T88" fmla="*/ 93 w 115"/>
                  <a:gd name="T89" fmla="*/ 37 h 95"/>
                  <a:gd name="T90" fmla="*/ 85 w 115"/>
                  <a:gd name="T91" fmla="*/ 35 h 95"/>
                  <a:gd name="T92" fmla="*/ 83 w 115"/>
                  <a:gd name="T93" fmla="*/ 33 h 95"/>
                  <a:gd name="T94" fmla="*/ 79 w 115"/>
                  <a:gd name="T95" fmla="*/ 33 h 95"/>
                  <a:gd name="T96" fmla="*/ 62 w 115"/>
                  <a:gd name="T97" fmla="*/ 2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95">
                    <a:moveTo>
                      <a:pt x="41" y="0"/>
                    </a:moveTo>
                    <a:cubicBezTo>
                      <a:pt x="40" y="0"/>
                      <a:pt x="39" y="2"/>
                      <a:pt x="37" y="2"/>
                    </a:cubicBezTo>
                    <a:cubicBezTo>
                      <a:pt x="37" y="2"/>
                      <a:pt x="37" y="2"/>
                      <a:pt x="37" y="2"/>
                    </a:cubicBezTo>
                    <a:cubicBezTo>
                      <a:pt x="37" y="2"/>
                      <a:pt x="35" y="2"/>
                      <a:pt x="36" y="2"/>
                    </a:cubicBezTo>
                    <a:cubicBezTo>
                      <a:pt x="36" y="2"/>
                      <a:pt x="35" y="1"/>
                      <a:pt x="35" y="3"/>
                    </a:cubicBezTo>
                    <a:cubicBezTo>
                      <a:pt x="35" y="5"/>
                      <a:pt x="35" y="8"/>
                      <a:pt x="35" y="10"/>
                    </a:cubicBezTo>
                    <a:cubicBezTo>
                      <a:pt x="36" y="12"/>
                      <a:pt x="37" y="13"/>
                      <a:pt x="38" y="15"/>
                    </a:cubicBezTo>
                    <a:cubicBezTo>
                      <a:pt x="39" y="21"/>
                      <a:pt x="36" y="28"/>
                      <a:pt x="36" y="34"/>
                    </a:cubicBezTo>
                    <a:cubicBezTo>
                      <a:pt x="35" y="38"/>
                      <a:pt x="29" y="39"/>
                      <a:pt x="30" y="42"/>
                    </a:cubicBezTo>
                    <a:cubicBezTo>
                      <a:pt x="30" y="44"/>
                      <a:pt x="30" y="46"/>
                      <a:pt x="31" y="48"/>
                    </a:cubicBezTo>
                    <a:cubicBezTo>
                      <a:pt x="31" y="49"/>
                      <a:pt x="32" y="50"/>
                      <a:pt x="31" y="51"/>
                    </a:cubicBezTo>
                    <a:cubicBezTo>
                      <a:pt x="29" y="53"/>
                      <a:pt x="28" y="55"/>
                      <a:pt x="26" y="55"/>
                    </a:cubicBezTo>
                    <a:cubicBezTo>
                      <a:pt x="25" y="55"/>
                      <a:pt x="25" y="55"/>
                      <a:pt x="24" y="54"/>
                    </a:cubicBezTo>
                    <a:cubicBezTo>
                      <a:pt x="23" y="54"/>
                      <a:pt x="24" y="53"/>
                      <a:pt x="22" y="53"/>
                    </a:cubicBezTo>
                    <a:cubicBezTo>
                      <a:pt x="22" y="53"/>
                      <a:pt x="22" y="53"/>
                      <a:pt x="22" y="53"/>
                    </a:cubicBezTo>
                    <a:cubicBezTo>
                      <a:pt x="21" y="53"/>
                      <a:pt x="21" y="53"/>
                      <a:pt x="21" y="54"/>
                    </a:cubicBezTo>
                    <a:cubicBezTo>
                      <a:pt x="20" y="54"/>
                      <a:pt x="20" y="54"/>
                      <a:pt x="19" y="54"/>
                    </a:cubicBezTo>
                    <a:cubicBezTo>
                      <a:pt x="19" y="54"/>
                      <a:pt x="19" y="54"/>
                      <a:pt x="19" y="54"/>
                    </a:cubicBezTo>
                    <a:cubicBezTo>
                      <a:pt x="18" y="53"/>
                      <a:pt x="17" y="52"/>
                      <a:pt x="16" y="52"/>
                    </a:cubicBezTo>
                    <a:cubicBezTo>
                      <a:pt x="15" y="51"/>
                      <a:pt x="14" y="50"/>
                      <a:pt x="12" y="50"/>
                    </a:cubicBezTo>
                    <a:cubicBezTo>
                      <a:pt x="12" y="50"/>
                      <a:pt x="11" y="51"/>
                      <a:pt x="10" y="52"/>
                    </a:cubicBezTo>
                    <a:cubicBezTo>
                      <a:pt x="10" y="53"/>
                      <a:pt x="12" y="55"/>
                      <a:pt x="13" y="56"/>
                    </a:cubicBezTo>
                    <a:cubicBezTo>
                      <a:pt x="14" y="59"/>
                      <a:pt x="13" y="58"/>
                      <a:pt x="12" y="60"/>
                    </a:cubicBezTo>
                    <a:cubicBezTo>
                      <a:pt x="11" y="61"/>
                      <a:pt x="10" y="64"/>
                      <a:pt x="10" y="64"/>
                    </a:cubicBezTo>
                    <a:cubicBezTo>
                      <a:pt x="9" y="64"/>
                      <a:pt x="9" y="64"/>
                      <a:pt x="9" y="64"/>
                    </a:cubicBezTo>
                    <a:cubicBezTo>
                      <a:pt x="9" y="64"/>
                      <a:pt x="9" y="64"/>
                      <a:pt x="8" y="63"/>
                    </a:cubicBezTo>
                    <a:cubicBezTo>
                      <a:pt x="8" y="63"/>
                      <a:pt x="8" y="63"/>
                      <a:pt x="8" y="63"/>
                    </a:cubicBezTo>
                    <a:cubicBezTo>
                      <a:pt x="7" y="63"/>
                      <a:pt x="7" y="63"/>
                      <a:pt x="7" y="63"/>
                    </a:cubicBezTo>
                    <a:cubicBezTo>
                      <a:pt x="6" y="64"/>
                      <a:pt x="6" y="65"/>
                      <a:pt x="5" y="66"/>
                    </a:cubicBezTo>
                    <a:cubicBezTo>
                      <a:pt x="5" y="66"/>
                      <a:pt x="4" y="66"/>
                      <a:pt x="4" y="66"/>
                    </a:cubicBezTo>
                    <a:cubicBezTo>
                      <a:pt x="4" y="66"/>
                      <a:pt x="4" y="66"/>
                      <a:pt x="3" y="66"/>
                    </a:cubicBezTo>
                    <a:cubicBezTo>
                      <a:pt x="3" y="66"/>
                      <a:pt x="3" y="66"/>
                      <a:pt x="3" y="66"/>
                    </a:cubicBezTo>
                    <a:cubicBezTo>
                      <a:pt x="2" y="66"/>
                      <a:pt x="2" y="66"/>
                      <a:pt x="2" y="66"/>
                    </a:cubicBezTo>
                    <a:cubicBezTo>
                      <a:pt x="0" y="67"/>
                      <a:pt x="0" y="72"/>
                      <a:pt x="0" y="73"/>
                    </a:cubicBezTo>
                    <a:cubicBezTo>
                      <a:pt x="0" y="76"/>
                      <a:pt x="2" y="77"/>
                      <a:pt x="4" y="79"/>
                    </a:cubicBezTo>
                    <a:cubicBezTo>
                      <a:pt x="7" y="82"/>
                      <a:pt x="6" y="84"/>
                      <a:pt x="4" y="88"/>
                    </a:cubicBezTo>
                    <a:cubicBezTo>
                      <a:pt x="4" y="89"/>
                      <a:pt x="3" y="90"/>
                      <a:pt x="4" y="91"/>
                    </a:cubicBezTo>
                    <a:cubicBezTo>
                      <a:pt x="4" y="92"/>
                      <a:pt x="7" y="95"/>
                      <a:pt x="8" y="95"/>
                    </a:cubicBezTo>
                    <a:cubicBezTo>
                      <a:pt x="8" y="95"/>
                      <a:pt x="8" y="95"/>
                      <a:pt x="8" y="94"/>
                    </a:cubicBezTo>
                    <a:cubicBezTo>
                      <a:pt x="10" y="93"/>
                      <a:pt x="11" y="92"/>
                      <a:pt x="12" y="90"/>
                    </a:cubicBezTo>
                    <a:cubicBezTo>
                      <a:pt x="13" y="90"/>
                      <a:pt x="12" y="89"/>
                      <a:pt x="13" y="88"/>
                    </a:cubicBezTo>
                    <a:cubicBezTo>
                      <a:pt x="13" y="88"/>
                      <a:pt x="15" y="87"/>
                      <a:pt x="16" y="87"/>
                    </a:cubicBezTo>
                    <a:cubicBezTo>
                      <a:pt x="17" y="86"/>
                      <a:pt x="15" y="86"/>
                      <a:pt x="17" y="86"/>
                    </a:cubicBezTo>
                    <a:cubicBezTo>
                      <a:pt x="17" y="86"/>
                      <a:pt x="17" y="86"/>
                      <a:pt x="17" y="86"/>
                    </a:cubicBezTo>
                    <a:cubicBezTo>
                      <a:pt x="18" y="86"/>
                      <a:pt x="20" y="87"/>
                      <a:pt x="21" y="87"/>
                    </a:cubicBezTo>
                    <a:cubicBezTo>
                      <a:pt x="22" y="87"/>
                      <a:pt x="22" y="88"/>
                      <a:pt x="23" y="88"/>
                    </a:cubicBezTo>
                    <a:cubicBezTo>
                      <a:pt x="23" y="88"/>
                      <a:pt x="23" y="88"/>
                      <a:pt x="24" y="87"/>
                    </a:cubicBezTo>
                    <a:cubicBezTo>
                      <a:pt x="26" y="84"/>
                      <a:pt x="25" y="85"/>
                      <a:pt x="23" y="84"/>
                    </a:cubicBezTo>
                    <a:cubicBezTo>
                      <a:pt x="21" y="83"/>
                      <a:pt x="20" y="81"/>
                      <a:pt x="19" y="80"/>
                    </a:cubicBezTo>
                    <a:cubicBezTo>
                      <a:pt x="18" y="78"/>
                      <a:pt x="18" y="79"/>
                      <a:pt x="16" y="79"/>
                    </a:cubicBezTo>
                    <a:cubicBezTo>
                      <a:pt x="14" y="78"/>
                      <a:pt x="14" y="78"/>
                      <a:pt x="13" y="77"/>
                    </a:cubicBezTo>
                    <a:cubicBezTo>
                      <a:pt x="10" y="76"/>
                      <a:pt x="9" y="76"/>
                      <a:pt x="10" y="72"/>
                    </a:cubicBezTo>
                    <a:cubicBezTo>
                      <a:pt x="11" y="70"/>
                      <a:pt x="12" y="68"/>
                      <a:pt x="15" y="68"/>
                    </a:cubicBezTo>
                    <a:cubicBezTo>
                      <a:pt x="16" y="68"/>
                      <a:pt x="18" y="69"/>
                      <a:pt x="19" y="70"/>
                    </a:cubicBezTo>
                    <a:cubicBezTo>
                      <a:pt x="20" y="70"/>
                      <a:pt x="20" y="71"/>
                      <a:pt x="21" y="72"/>
                    </a:cubicBezTo>
                    <a:cubicBezTo>
                      <a:pt x="22" y="73"/>
                      <a:pt x="23" y="74"/>
                      <a:pt x="22" y="74"/>
                    </a:cubicBezTo>
                    <a:cubicBezTo>
                      <a:pt x="22" y="74"/>
                      <a:pt x="22" y="74"/>
                      <a:pt x="22" y="74"/>
                    </a:cubicBezTo>
                    <a:cubicBezTo>
                      <a:pt x="24" y="74"/>
                      <a:pt x="28" y="70"/>
                      <a:pt x="30" y="69"/>
                    </a:cubicBezTo>
                    <a:cubicBezTo>
                      <a:pt x="32" y="68"/>
                      <a:pt x="33" y="68"/>
                      <a:pt x="35" y="68"/>
                    </a:cubicBezTo>
                    <a:cubicBezTo>
                      <a:pt x="37" y="68"/>
                      <a:pt x="38" y="68"/>
                      <a:pt x="40" y="68"/>
                    </a:cubicBezTo>
                    <a:cubicBezTo>
                      <a:pt x="41" y="69"/>
                      <a:pt x="44" y="71"/>
                      <a:pt x="45" y="71"/>
                    </a:cubicBezTo>
                    <a:cubicBezTo>
                      <a:pt x="47" y="72"/>
                      <a:pt x="48" y="73"/>
                      <a:pt x="49" y="74"/>
                    </a:cubicBezTo>
                    <a:cubicBezTo>
                      <a:pt x="54" y="77"/>
                      <a:pt x="59" y="78"/>
                      <a:pt x="63" y="80"/>
                    </a:cubicBezTo>
                    <a:cubicBezTo>
                      <a:pt x="63" y="81"/>
                      <a:pt x="64" y="82"/>
                      <a:pt x="65" y="82"/>
                    </a:cubicBezTo>
                    <a:cubicBezTo>
                      <a:pt x="65" y="82"/>
                      <a:pt x="65" y="82"/>
                      <a:pt x="65" y="82"/>
                    </a:cubicBezTo>
                    <a:cubicBezTo>
                      <a:pt x="67" y="82"/>
                      <a:pt x="67" y="80"/>
                      <a:pt x="67" y="78"/>
                    </a:cubicBezTo>
                    <a:cubicBezTo>
                      <a:pt x="68" y="76"/>
                      <a:pt x="67" y="74"/>
                      <a:pt x="69" y="72"/>
                    </a:cubicBezTo>
                    <a:cubicBezTo>
                      <a:pt x="70" y="70"/>
                      <a:pt x="71" y="68"/>
                      <a:pt x="73" y="66"/>
                    </a:cubicBezTo>
                    <a:cubicBezTo>
                      <a:pt x="75" y="65"/>
                      <a:pt x="77" y="62"/>
                      <a:pt x="80" y="61"/>
                    </a:cubicBezTo>
                    <a:cubicBezTo>
                      <a:pt x="82" y="60"/>
                      <a:pt x="85" y="60"/>
                      <a:pt x="88" y="60"/>
                    </a:cubicBezTo>
                    <a:cubicBezTo>
                      <a:pt x="90" y="60"/>
                      <a:pt x="91" y="60"/>
                      <a:pt x="92" y="60"/>
                    </a:cubicBezTo>
                    <a:cubicBezTo>
                      <a:pt x="92" y="60"/>
                      <a:pt x="93" y="60"/>
                      <a:pt x="93" y="60"/>
                    </a:cubicBezTo>
                    <a:cubicBezTo>
                      <a:pt x="94" y="60"/>
                      <a:pt x="94" y="60"/>
                      <a:pt x="95" y="59"/>
                    </a:cubicBezTo>
                    <a:cubicBezTo>
                      <a:pt x="96" y="59"/>
                      <a:pt x="95" y="58"/>
                      <a:pt x="96" y="58"/>
                    </a:cubicBezTo>
                    <a:cubicBezTo>
                      <a:pt x="96" y="58"/>
                      <a:pt x="96" y="58"/>
                      <a:pt x="96" y="58"/>
                    </a:cubicBezTo>
                    <a:cubicBezTo>
                      <a:pt x="97" y="58"/>
                      <a:pt x="97" y="59"/>
                      <a:pt x="98" y="59"/>
                    </a:cubicBezTo>
                    <a:cubicBezTo>
                      <a:pt x="98" y="59"/>
                      <a:pt x="98" y="59"/>
                      <a:pt x="98" y="59"/>
                    </a:cubicBezTo>
                    <a:cubicBezTo>
                      <a:pt x="99" y="59"/>
                      <a:pt x="100" y="58"/>
                      <a:pt x="101" y="58"/>
                    </a:cubicBezTo>
                    <a:cubicBezTo>
                      <a:pt x="106" y="55"/>
                      <a:pt x="110" y="52"/>
                      <a:pt x="115" y="50"/>
                    </a:cubicBezTo>
                    <a:cubicBezTo>
                      <a:pt x="114" y="50"/>
                      <a:pt x="107" y="50"/>
                      <a:pt x="109" y="53"/>
                    </a:cubicBezTo>
                    <a:cubicBezTo>
                      <a:pt x="108" y="53"/>
                      <a:pt x="107" y="53"/>
                      <a:pt x="106" y="52"/>
                    </a:cubicBezTo>
                    <a:cubicBezTo>
                      <a:pt x="105" y="51"/>
                      <a:pt x="105" y="50"/>
                      <a:pt x="104" y="48"/>
                    </a:cubicBezTo>
                    <a:cubicBezTo>
                      <a:pt x="104" y="47"/>
                      <a:pt x="104" y="46"/>
                      <a:pt x="103" y="44"/>
                    </a:cubicBezTo>
                    <a:cubicBezTo>
                      <a:pt x="104" y="45"/>
                      <a:pt x="105" y="45"/>
                      <a:pt x="106" y="45"/>
                    </a:cubicBezTo>
                    <a:cubicBezTo>
                      <a:pt x="105" y="44"/>
                      <a:pt x="101" y="42"/>
                      <a:pt x="101" y="40"/>
                    </a:cubicBezTo>
                    <a:cubicBezTo>
                      <a:pt x="101" y="38"/>
                      <a:pt x="101" y="38"/>
                      <a:pt x="101" y="38"/>
                    </a:cubicBezTo>
                    <a:cubicBezTo>
                      <a:pt x="102" y="37"/>
                      <a:pt x="102" y="36"/>
                      <a:pt x="103" y="35"/>
                    </a:cubicBezTo>
                    <a:cubicBezTo>
                      <a:pt x="104" y="33"/>
                      <a:pt x="107" y="29"/>
                      <a:pt x="106" y="27"/>
                    </a:cubicBezTo>
                    <a:cubicBezTo>
                      <a:pt x="102" y="30"/>
                      <a:pt x="100" y="33"/>
                      <a:pt x="97" y="36"/>
                    </a:cubicBezTo>
                    <a:cubicBezTo>
                      <a:pt x="96" y="37"/>
                      <a:pt x="94" y="37"/>
                      <a:pt x="93" y="37"/>
                    </a:cubicBezTo>
                    <a:cubicBezTo>
                      <a:pt x="92" y="37"/>
                      <a:pt x="91" y="37"/>
                      <a:pt x="90" y="37"/>
                    </a:cubicBezTo>
                    <a:cubicBezTo>
                      <a:pt x="88" y="36"/>
                      <a:pt x="87" y="36"/>
                      <a:pt x="85" y="35"/>
                    </a:cubicBezTo>
                    <a:cubicBezTo>
                      <a:pt x="84" y="35"/>
                      <a:pt x="83" y="35"/>
                      <a:pt x="83" y="35"/>
                    </a:cubicBezTo>
                    <a:cubicBezTo>
                      <a:pt x="82" y="34"/>
                      <a:pt x="83" y="33"/>
                      <a:pt x="83" y="33"/>
                    </a:cubicBezTo>
                    <a:cubicBezTo>
                      <a:pt x="82" y="33"/>
                      <a:pt x="82" y="33"/>
                      <a:pt x="81" y="33"/>
                    </a:cubicBezTo>
                    <a:cubicBezTo>
                      <a:pt x="81" y="33"/>
                      <a:pt x="80" y="33"/>
                      <a:pt x="79" y="33"/>
                    </a:cubicBezTo>
                    <a:cubicBezTo>
                      <a:pt x="79" y="33"/>
                      <a:pt x="79" y="33"/>
                      <a:pt x="79" y="33"/>
                    </a:cubicBezTo>
                    <a:cubicBezTo>
                      <a:pt x="73" y="33"/>
                      <a:pt x="66" y="26"/>
                      <a:pt x="62" y="22"/>
                    </a:cubicBezTo>
                    <a:cubicBezTo>
                      <a:pt x="54" y="15"/>
                      <a:pt x="48" y="7"/>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8" name="Freeform 106">
                <a:extLst>
                  <a:ext uri="{FF2B5EF4-FFF2-40B4-BE49-F238E27FC236}">
                    <a16:creationId xmlns:a16="http://schemas.microsoft.com/office/drawing/2014/main" id="{07BF2B1F-CB91-42CD-8A80-0C3299849F9B}"/>
                  </a:ext>
                </a:extLst>
              </p:cNvPr>
              <p:cNvSpPr>
                <a:spLocks/>
              </p:cNvSpPr>
              <p:nvPr/>
            </p:nvSpPr>
            <p:spPr bwMode="auto">
              <a:xfrm>
                <a:off x="8346" y="1725"/>
                <a:ext cx="114" cy="147"/>
              </a:xfrm>
              <a:custGeom>
                <a:avLst/>
                <a:gdLst>
                  <a:gd name="T0" fmla="*/ 25 w 48"/>
                  <a:gd name="T1" fmla="*/ 0 h 62"/>
                  <a:gd name="T2" fmla="*/ 23 w 48"/>
                  <a:gd name="T3" fmla="*/ 0 h 62"/>
                  <a:gd name="T4" fmla="*/ 17 w 48"/>
                  <a:gd name="T5" fmla="*/ 3 h 62"/>
                  <a:gd name="T6" fmla="*/ 9 w 48"/>
                  <a:gd name="T7" fmla="*/ 10 h 62"/>
                  <a:gd name="T8" fmla="*/ 5 w 48"/>
                  <a:gd name="T9" fmla="*/ 13 h 62"/>
                  <a:gd name="T10" fmla="*/ 3 w 48"/>
                  <a:gd name="T11" fmla="*/ 18 h 62"/>
                  <a:gd name="T12" fmla="*/ 4 w 48"/>
                  <a:gd name="T13" fmla="*/ 29 h 62"/>
                  <a:gd name="T14" fmla="*/ 12 w 48"/>
                  <a:gd name="T15" fmla="*/ 28 h 62"/>
                  <a:gd name="T16" fmla="*/ 15 w 48"/>
                  <a:gd name="T17" fmla="*/ 27 h 62"/>
                  <a:gd name="T18" fmla="*/ 12 w 48"/>
                  <a:gd name="T19" fmla="*/ 20 h 62"/>
                  <a:gd name="T20" fmla="*/ 13 w 48"/>
                  <a:gd name="T21" fmla="*/ 16 h 62"/>
                  <a:gd name="T22" fmla="*/ 17 w 48"/>
                  <a:gd name="T23" fmla="*/ 21 h 62"/>
                  <a:gd name="T24" fmla="*/ 17 w 48"/>
                  <a:gd name="T25" fmla="*/ 28 h 62"/>
                  <a:gd name="T26" fmla="*/ 21 w 48"/>
                  <a:gd name="T27" fmla="*/ 27 h 62"/>
                  <a:gd name="T28" fmla="*/ 18 w 48"/>
                  <a:gd name="T29" fmla="*/ 33 h 62"/>
                  <a:gd name="T30" fmla="*/ 13 w 48"/>
                  <a:gd name="T31" fmla="*/ 54 h 62"/>
                  <a:gd name="T32" fmla="*/ 11 w 48"/>
                  <a:gd name="T33" fmla="*/ 54 h 62"/>
                  <a:gd name="T34" fmla="*/ 17 w 48"/>
                  <a:gd name="T35" fmla="*/ 57 h 62"/>
                  <a:gd name="T36" fmla="*/ 21 w 48"/>
                  <a:gd name="T37" fmla="*/ 58 h 62"/>
                  <a:gd name="T38" fmla="*/ 20 w 48"/>
                  <a:gd name="T39" fmla="*/ 48 h 62"/>
                  <a:gd name="T40" fmla="*/ 24 w 48"/>
                  <a:gd name="T41" fmla="*/ 48 h 62"/>
                  <a:gd name="T42" fmla="*/ 21 w 48"/>
                  <a:gd name="T43" fmla="*/ 62 h 62"/>
                  <a:gd name="T44" fmla="*/ 30 w 48"/>
                  <a:gd name="T45" fmla="*/ 52 h 62"/>
                  <a:gd name="T46" fmla="*/ 36 w 48"/>
                  <a:gd name="T47" fmla="*/ 49 h 62"/>
                  <a:gd name="T48" fmla="*/ 41 w 48"/>
                  <a:gd name="T49" fmla="*/ 33 h 62"/>
                  <a:gd name="T50" fmla="*/ 48 w 48"/>
                  <a:gd name="T51" fmla="*/ 21 h 62"/>
                  <a:gd name="T52" fmla="*/ 44 w 48"/>
                  <a:gd name="T53" fmla="*/ 14 h 62"/>
                  <a:gd name="T54" fmla="*/ 43 w 48"/>
                  <a:gd name="T55" fmla="*/ 14 h 62"/>
                  <a:gd name="T56" fmla="*/ 42 w 48"/>
                  <a:gd name="T57" fmla="*/ 14 h 62"/>
                  <a:gd name="T58" fmla="*/ 37 w 48"/>
                  <a:gd name="T59" fmla="*/ 12 h 62"/>
                  <a:gd name="T60" fmla="*/ 39 w 48"/>
                  <a:gd name="T61" fmla="*/ 5 h 62"/>
                  <a:gd name="T62" fmla="*/ 37 w 48"/>
                  <a:gd name="T63" fmla="*/ 6 h 62"/>
                  <a:gd name="T64" fmla="*/ 34 w 48"/>
                  <a:gd name="T65" fmla="*/ 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62">
                    <a:moveTo>
                      <a:pt x="27" y="0"/>
                    </a:moveTo>
                    <a:cubicBezTo>
                      <a:pt x="27" y="0"/>
                      <a:pt x="26" y="0"/>
                      <a:pt x="25" y="0"/>
                    </a:cubicBezTo>
                    <a:cubicBezTo>
                      <a:pt x="24" y="0"/>
                      <a:pt x="24" y="0"/>
                      <a:pt x="24" y="0"/>
                    </a:cubicBezTo>
                    <a:cubicBezTo>
                      <a:pt x="24" y="0"/>
                      <a:pt x="24" y="0"/>
                      <a:pt x="23" y="0"/>
                    </a:cubicBezTo>
                    <a:cubicBezTo>
                      <a:pt x="22" y="0"/>
                      <a:pt x="21" y="0"/>
                      <a:pt x="20" y="0"/>
                    </a:cubicBezTo>
                    <a:cubicBezTo>
                      <a:pt x="18" y="1"/>
                      <a:pt x="18" y="1"/>
                      <a:pt x="17" y="3"/>
                    </a:cubicBezTo>
                    <a:cubicBezTo>
                      <a:pt x="16" y="5"/>
                      <a:pt x="16" y="4"/>
                      <a:pt x="13" y="5"/>
                    </a:cubicBezTo>
                    <a:cubicBezTo>
                      <a:pt x="11" y="6"/>
                      <a:pt x="10" y="7"/>
                      <a:pt x="9" y="10"/>
                    </a:cubicBezTo>
                    <a:cubicBezTo>
                      <a:pt x="8" y="9"/>
                      <a:pt x="7" y="9"/>
                      <a:pt x="6" y="8"/>
                    </a:cubicBezTo>
                    <a:cubicBezTo>
                      <a:pt x="5" y="10"/>
                      <a:pt x="5" y="10"/>
                      <a:pt x="5" y="13"/>
                    </a:cubicBezTo>
                    <a:cubicBezTo>
                      <a:pt x="3" y="12"/>
                      <a:pt x="2" y="12"/>
                      <a:pt x="1" y="12"/>
                    </a:cubicBezTo>
                    <a:cubicBezTo>
                      <a:pt x="0" y="15"/>
                      <a:pt x="1" y="15"/>
                      <a:pt x="3" y="18"/>
                    </a:cubicBezTo>
                    <a:cubicBezTo>
                      <a:pt x="1" y="20"/>
                      <a:pt x="2" y="22"/>
                      <a:pt x="3" y="24"/>
                    </a:cubicBezTo>
                    <a:cubicBezTo>
                      <a:pt x="5" y="26"/>
                      <a:pt x="6" y="26"/>
                      <a:pt x="4" y="29"/>
                    </a:cubicBezTo>
                    <a:cubicBezTo>
                      <a:pt x="6" y="27"/>
                      <a:pt x="9" y="25"/>
                      <a:pt x="12" y="24"/>
                    </a:cubicBezTo>
                    <a:cubicBezTo>
                      <a:pt x="13" y="26"/>
                      <a:pt x="10" y="27"/>
                      <a:pt x="12" y="28"/>
                    </a:cubicBezTo>
                    <a:cubicBezTo>
                      <a:pt x="12" y="28"/>
                      <a:pt x="12" y="28"/>
                      <a:pt x="12" y="28"/>
                    </a:cubicBezTo>
                    <a:cubicBezTo>
                      <a:pt x="13" y="28"/>
                      <a:pt x="14" y="27"/>
                      <a:pt x="15" y="27"/>
                    </a:cubicBezTo>
                    <a:cubicBezTo>
                      <a:pt x="14" y="25"/>
                      <a:pt x="12" y="24"/>
                      <a:pt x="10" y="23"/>
                    </a:cubicBezTo>
                    <a:cubicBezTo>
                      <a:pt x="11" y="22"/>
                      <a:pt x="13" y="21"/>
                      <a:pt x="12" y="20"/>
                    </a:cubicBezTo>
                    <a:cubicBezTo>
                      <a:pt x="12" y="19"/>
                      <a:pt x="11" y="18"/>
                      <a:pt x="11" y="17"/>
                    </a:cubicBezTo>
                    <a:cubicBezTo>
                      <a:pt x="12" y="17"/>
                      <a:pt x="12" y="16"/>
                      <a:pt x="13" y="16"/>
                    </a:cubicBezTo>
                    <a:cubicBezTo>
                      <a:pt x="14" y="16"/>
                      <a:pt x="14" y="16"/>
                      <a:pt x="15" y="16"/>
                    </a:cubicBezTo>
                    <a:cubicBezTo>
                      <a:pt x="16" y="17"/>
                      <a:pt x="17" y="20"/>
                      <a:pt x="17" y="21"/>
                    </a:cubicBezTo>
                    <a:cubicBezTo>
                      <a:pt x="18" y="23"/>
                      <a:pt x="19" y="24"/>
                      <a:pt x="20" y="26"/>
                    </a:cubicBezTo>
                    <a:cubicBezTo>
                      <a:pt x="19" y="26"/>
                      <a:pt x="18" y="27"/>
                      <a:pt x="17" y="28"/>
                    </a:cubicBezTo>
                    <a:cubicBezTo>
                      <a:pt x="18" y="27"/>
                      <a:pt x="19" y="27"/>
                      <a:pt x="20" y="27"/>
                    </a:cubicBezTo>
                    <a:cubicBezTo>
                      <a:pt x="20" y="27"/>
                      <a:pt x="21" y="27"/>
                      <a:pt x="21" y="27"/>
                    </a:cubicBezTo>
                    <a:cubicBezTo>
                      <a:pt x="20" y="28"/>
                      <a:pt x="19" y="33"/>
                      <a:pt x="18" y="33"/>
                    </a:cubicBezTo>
                    <a:cubicBezTo>
                      <a:pt x="18" y="33"/>
                      <a:pt x="18" y="33"/>
                      <a:pt x="18" y="33"/>
                    </a:cubicBezTo>
                    <a:cubicBezTo>
                      <a:pt x="15" y="39"/>
                      <a:pt x="10" y="39"/>
                      <a:pt x="12" y="46"/>
                    </a:cubicBezTo>
                    <a:cubicBezTo>
                      <a:pt x="12" y="47"/>
                      <a:pt x="15" y="54"/>
                      <a:pt x="13" y="54"/>
                    </a:cubicBezTo>
                    <a:cubicBezTo>
                      <a:pt x="12" y="54"/>
                      <a:pt x="12" y="54"/>
                      <a:pt x="11" y="53"/>
                    </a:cubicBezTo>
                    <a:cubicBezTo>
                      <a:pt x="11" y="54"/>
                      <a:pt x="11" y="54"/>
                      <a:pt x="11" y="54"/>
                    </a:cubicBezTo>
                    <a:cubicBezTo>
                      <a:pt x="11" y="55"/>
                      <a:pt x="13" y="56"/>
                      <a:pt x="14" y="56"/>
                    </a:cubicBezTo>
                    <a:cubicBezTo>
                      <a:pt x="15" y="57"/>
                      <a:pt x="16" y="57"/>
                      <a:pt x="17" y="57"/>
                    </a:cubicBezTo>
                    <a:cubicBezTo>
                      <a:pt x="18" y="57"/>
                      <a:pt x="19" y="58"/>
                      <a:pt x="20" y="58"/>
                    </a:cubicBezTo>
                    <a:cubicBezTo>
                      <a:pt x="20" y="58"/>
                      <a:pt x="20" y="58"/>
                      <a:pt x="21" y="58"/>
                    </a:cubicBezTo>
                    <a:cubicBezTo>
                      <a:pt x="21" y="57"/>
                      <a:pt x="19" y="55"/>
                      <a:pt x="19" y="54"/>
                    </a:cubicBezTo>
                    <a:cubicBezTo>
                      <a:pt x="18" y="52"/>
                      <a:pt x="19" y="50"/>
                      <a:pt x="20" y="48"/>
                    </a:cubicBezTo>
                    <a:cubicBezTo>
                      <a:pt x="20" y="48"/>
                      <a:pt x="21" y="47"/>
                      <a:pt x="22" y="47"/>
                    </a:cubicBezTo>
                    <a:cubicBezTo>
                      <a:pt x="23" y="47"/>
                      <a:pt x="23" y="47"/>
                      <a:pt x="24" y="48"/>
                    </a:cubicBezTo>
                    <a:cubicBezTo>
                      <a:pt x="24" y="49"/>
                      <a:pt x="23" y="50"/>
                      <a:pt x="22" y="50"/>
                    </a:cubicBezTo>
                    <a:cubicBezTo>
                      <a:pt x="23" y="56"/>
                      <a:pt x="24" y="56"/>
                      <a:pt x="21" y="62"/>
                    </a:cubicBezTo>
                    <a:cubicBezTo>
                      <a:pt x="24" y="60"/>
                      <a:pt x="27" y="58"/>
                      <a:pt x="30" y="56"/>
                    </a:cubicBezTo>
                    <a:cubicBezTo>
                      <a:pt x="29" y="55"/>
                      <a:pt x="30" y="53"/>
                      <a:pt x="30" y="52"/>
                    </a:cubicBezTo>
                    <a:cubicBezTo>
                      <a:pt x="32" y="53"/>
                      <a:pt x="33" y="53"/>
                      <a:pt x="33" y="53"/>
                    </a:cubicBezTo>
                    <a:cubicBezTo>
                      <a:pt x="35" y="53"/>
                      <a:pt x="35" y="52"/>
                      <a:pt x="36" y="49"/>
                    </a:cubicBezTo>
                    <a:cubicBezTo>
                      <a:pt x="36" y="48"/>
                      <a:pt x="37" y="46"/>
                      <a:pt x="37" y="45"/>
                    </a:cubicBezTo>
                    <a:cubicBezTo>
                      <a:pt x="38" y="41"/>
                      <a:pt x="39" y="37"/>
                      <a:pt x="41" y="33"/>
                    </a:cubicBezTo>
                    <a:cubicBezTo>
                      <a:pt x="42" y="31"/>
                      <a:pt x="43" y="28"/>
                      <a:pt x="44" y="25"/>
                    </a:cubicBezTo>
                    <a:cubicBezTo>
                      <a:pt x="45" y="24"/>
                      <a:pt x="47" y="22"/>
                      <a:pt x="48" y="21"/>
                    </a:cubicBezTo>
                    <a:cubicBezTo>
                      <a:pt x="47" y="21"/>
                      <a:pt x="47" y="21"/>
                      <a:pt x="47" y="21"/>
                    </a:cubicBezTo>
                    <a:cubicBezTo>
                      <a:pt x="47" y="19"/>
                      <a:pt x="47" y="15"/>
                      <a:pt x="44" y="14"/>
                    </a:cubicBezTo>
                    <a:cubicBezTo>
                      <a:pt x="44" y="14"/>
                      <a:pt x="44" y="14"/>
                      <a:pt x="44" y="14"/>
                    </a:cubicBezTo>
                    <a:cubicBezTo>
                      <a:pt x="44" y="14"/>
                      <a:pt x="44" y="14"/>
                      <a:pt x="43" y="14"/>
                    </a:cubicBezTo>
                    <a:cubicBezTo>
                      <a:pt x="43" y="14"/>
                      <a:pt x="42" y="14"/>
                      <a:pt x="42" y="14"/>
                    </a:cubicBezTo>
                    <a:cubicBezTo>
                      <a:pt x="42" y="14"/>
                      <a:pt x="42" y="14"/>
                      <a:pt x="42" y="14"/>
                    </a:cubicBezTo>
                    <a:cubicBezTo>
                      <a:pt x="40" y="14"/>
                      <a:pt x="37" y="13"/>
                      <a:pt x="37" y="12"/>
                    </a:cubicBezTo>
                    <a:cubicBezTo>
                      <a:pt x="37" y="12"/>
                      <a:pt x="37" y="12"/>
                      <a:pt x="37" y="12"/>
                    </a:cubicBezTo>
                    <a:cubicBezTo>
                      <a:pt x="38" y="12"/>
                      <a:pt x="39" y="12"/>
                      <a:pt x="39" y="11"/>
                    </a:cubicBezTo>
                    <a:cubicBezTo>
                      <a:pt x="41" y="10"/>
                      <a:pt x="41" y="6"/>
                      <a:pt x="39" y="5"/>
                    </a:cubicBezTo>
                    <a:cubicBezTo>
                      <a:pt x="39" y="5"/>
                      <a:pt x="39" y="5"/>
                      <a:pt x="39" y="5"/>
                    </a:cubicBezTo>
                    <a:cubicBezTo>
                      <a:pt x="38" y="5"/>
                      <a:pt x="37" y="6"/>
                      <a:pt x="37" y="6"/>
                    </a:cubicBezTo>
                    <a:cubicBezTo>
                      <a:pt x="36" y="7"/>
                      <a:pt x="36" y="7"/>
                      <a:pt x="35" y="7"/>
                    </a:cubicBezTo>
                    <a:cubicBezTo>
                      <a:pt x="34" y="7"/>
                      <a:pt x="34" y="7"/>
                      <a:pt x="34" y="7"/>
                    </a:cubicBezTo>
                    <a:cubicBezTo>
                      <a:pt x="31" y="7"/>
                      <a:pt x="26" y="3"/>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9" name="Freeform 107">
                <a:extLst>
                  <a:ext uri="{FF2B5EF4-FFF2-40B4-BE49-F238E27FC236}">
                    <a16:creationId xmlns:a16="http://schemas.microsoft.com/office/drawing/2014/main" id="{6108B28D-8046-43FB-8F4D-280F01087DC2}"/>
                  </a:ext>
                </a:extLst>
              </p:cNvPr>
              <p:cNvSpPr>
                <a:spLocks/>
              </p:cNvSpPr>
              <p:nvPr/>
            </p:nvSpPr>
            <p:spPr bwMode="auto">
              <a:xfrm>
                <a:off x="8351" y="1730"/>
                <a:ext cx="5" cy="4"/>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1"/>
                      <a:pt x="0" y="2"/>
                    </a:cubicBezTo>
                    <a:cubicBezTo>
                      <a:pt x="1" y="1"/>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0" name="Freeform 108">
                <a:extLst>
                  <a:ext uri="{FF2B5EF4-FFF2-40B4-BE49-F238E27FC236}">
                    <a16:creationId xmlns:a16="http://schemas.microsoft.com/office/drawing/2014/main" id="{81C59210-DCE7-490F-BB06-D51A0616D12F}"/>
                  </a:ext>
                </a:extLst>
              </p:cNvPr>
              <p:cNvSpPr>
                <a:spLocks/>
              </p:cNvSpPr>
              <p:nvPr/>
            </p:nvSpPr>
            <p:spPr bwMode="auto">
              <a:xfrm>
                <a:off x="8405" y="1328"/>
                <a:ext cx="508" cy="421"/>
              </a:xfrm>
              <a:custGeom>
                <a:avLst/>
                <a:gdLst>
                  <a:gd name="T0" fmla="*/ 189 w 215"/>
                  <a:gd name="T1" fmla="*/ 8 h 178"/>
                  <a:gd name="T2" fmla="*/ 197 w 215"/>
                  <a:gd name="T3" fmla="*/ 7 h 178"/>
                  <a:gd name="T4" fmla="*/ 196 w 215"/>
                  <a:gd name="T5" fmla="*/ 15 h 178"/>
                  <a:gd name="T6" fmla="*/ 191 w 215"/>
                  <a:gd name="T7" fmla="*/ 15 h 178"/>
                  <a:gd name="T8" fmla="*/ 189 w 215"/>
                  <a:gd name="T9" fmla="*/ 16 h 178"/>
                  <a:gd name="T10" fmla="*/ 180 w 215"/>
                  <a:gd name="T11" fmla="*/ 7 h 178"/>
                  <a:gd name="T12" fmla="*/ 173 w 215"/>
                  <a:gd name="T13" fmla="*/ 25 h 178"/>
                  <a:gd name="T14" fmla="*/ 171 w 215"/>
                  <a:gd name="T15" fmla="*/ 38 h 178"/>
                  <a:gd name="T16" fmla="*/ 172 w 215"/>
                  <a:gd name="T17" fmla="*/ 37 h 178"/>
                  <a:gd name="T18" fmla="*/ 173 w 215"/>
                  <a:gd name="T19" fmla="*/ 48 h 178"/>
                  <a:gd name="T20" fmla="*/ 163 w 215"/>
                  <a:gd name="T21" fmla="*/ 76 h 178"/>
                  <a:gd name="T22" fmla="*/ 145 w 215"/>
                  <a:gd name="T23" fmla="*/ 94 h 178"/>
                  <a:gd name="T24" fmla="*/ 118 w 215"/>
                  <a:gd name="T25" fmla="*/ 106 h 178"/>
                  <a:gd name="T26" fmla="*/ 117 w 215"/>
                  <a:gd name="T27" fmla="*/ 99 h 178"/>
                  <a:gd name="T28" fmla="*/ 117 w 215"/>
                  <a:gd name="T29" fmla="*/ 100 h 178"/>
                  <a:gd name="T30" fmla="*/ 120 w 215"/>
                  <a:gd name="T31" fmla="*/ 95 h 178"/>
                  <a:gd name="T32" fmla="*/ 121 w 215"/>
                  <a:gd name="T33" fmla="*/ 95 h 178"/>
                  <a:gd name="T34" fmla="*/ 122 w 215"/>
                  <a:gd name="T35" fmla="*/ 90 h 178"/>
                  <a:gd name="T36" fmla="*/ 112 w 215"/>
                  <a:gd name="T37" fmla="*/ 103 h 178"/>
                  <a:gd name="T38" fmla="*/ 99 w 215"/>
                  <a:gd name="T39" fmla="*/ 130 h 178"/>
                  <a:gd name="T40" fmla="*/ 92 w 215"/>
                  <a:gd name="T41" fmla="*/ 134 h 178"/>
                  <a:gd name="T42" fmla="*/ 85 w 215"/>
                  <a:gd name="T43" fmla="*/ 135 h 178"/>
                  <a:gd name="T44" fmla="*/ 83 w 215"/>
                  <a:gd name="T45" fmla="*/ 128 h 178"/>
                  <a:gd name="T46" fmla="*/ 34 w 215"/>
                  <a:gd name="T47" fmla="*/ 136 h 178"/>
                  <a:gd name="T48" fmla="*/ 11 w 215"/>
                  <a:gd name="T49" fmla="*/ 155 h 178"/>
                  <a:gd name="T50" fmla="*/ 5 w 215"/>
                  <a:gd name="T51" fmla="*/ 158 h 178"/>
                  <a:gd name="T52" fmla="*/ 1 w 215"/>
                  <a:gd name="T53" fmla="*/ 158 h 178"/>
                  <a:gd name="T54" fmla="*/ 0 w 215"/>
                  <a:gd name="T55" fmla="*/ 164 h 178"/>
                  <a:gd name="T56" fmla="*/ 1 w 215"/>
                  <a:gd name="T57" fmla="*/ 168 h 178"/>
                  <a:gd name="T58" fmla="*/ 2 w 215"/>
                  <a:gd name="T59" fmla="*/ 168 h 178"/>
                  <a:gd name="T60" fmla="*/ 23 w 215"/>
                  <a:gd name="T61" fmla="*/ 169 h 178"/>
                  <a:gd name="T62" fmla="*/ 33 w 215"/>
                  <a:gd name="T63" fmla="*/ 162 h 178"/>
                  <a:gd name="T64" fmla="*/ 50 w 215"/>
                  <a:gd name="T65" fmla="*/ 156 h 178"/>
                  <a:gd name="T66" fmla="*/ 57 w 215"/>
                  <a:gd name="T67" fmla="*/ 157 h 178"/>
                  <a:gd name="T68" fmla="*/ 85 w 215"/>
                  <a:gd name="T69" fmla="*/ 151 h 178"/>
                  <a:gd name="T70" fmla="*/ 81 w 215"/>
                  <a:gd name="T71" fmla="*/ 163 h 178"/>
                  <a:gd name="T72" fmla="*/ 86 w 215"/>
                  <a:gd name="T73" fmla="*/ 173 h 178"/>
                  <a:gd name="T74" fmla="*/ 109 w 215"/>
                  <a:gd name="T75" fmla="*/ 160 h 178"/>
                  <a:gd name="T76" fmla="*/ 111 w 215"/>
                  <a:gd name="T77" fmla="*/ 159 h 178"/>
                  <a:gd name="T78" fmla="*/ 114 w 215"/>
                  <a:gd name="T79" fmla="*/ 161 h 178"/>
                  <a:gd name="T80" fmla="*/ 109 w 215"/>
                  <a:gd name="T81" fmla="*/ 151 h 178"/>
                  <a:gd name="T82" fmla="*/ 115 w 215"/>
                  <a:gd name="T83" fmla="*/ 151 h 178"/>
                  <a:gd name="T84" fmla="*/ 120 w 215"/>
                  <a:gd name="T85" fmla="*/ 152 h 178"/>
                  <a:gd name="T86" fmla="*/ 141 w 215"/>
                  <a:gd name="T87" fmla="*/ 150 h 178"/>
                  <a:gd name="T88" fmla="*/ 146 w 215"/>
                  <a:gd name="T89" fmla="*/ 145 h 178"/>
                  <a:gd name="T90" fmla="*/ 153 w 215"/>
                  <a:gd name="T91" fmla="*/ 144 h 178"/>
                  <a:gd name="T92" fmla="*/ 154 w 215"/>
                  <a:gd name="T93" fmla="*/ 152 h 178"/>
                  <a:gd name="T94" fmla="*/ 163 w 215"/>
                  <a:gd name="T95" fmla="*/ 141 h 178"/>
                  <a:gd name="T96" fmla="*/ 171 w 215"/>
                  <a:gd name="T97" fmla="*/ 147 h 178"/>
                  <a:gd name="T98" fmla="*/ 182 w 215"/>
                  <a:gd name="T99" fmla="*/ 139 h 178"/>
                  <a:gd name="T100" fmla="*/ 186 w 215"/>
                  <a:gd name="T101" fmla="*/ 114 h 178"/>
                  <a:gd name="T102" fmla="*/ 193 w 215"/>
                  <a:gd name="T103" fmla="*/ 96 h 178"/>
                  <a:gd name="T104" fmla="*/ 197 w 215"/>
                  <a:gd name="T105" fmla="*/ 72 h 178"/>
                  <a:gd name="T106" fmla="*/ 203 w 215"/>
                  <a:gd name="T107" fmla="*/ 73 h 178"/>
                  <a:gd name="T108" fmla="*/ 205 w 215"/>
                  <a:gd name="T109" fmla="*/ 58 h 178"/>
                  <a:gd name="T110" fmla="*/ 209 w 215"/>
                  <a:gd name="T111" fmla="*/ 57 h 178"/>
                  <a:gd name="T112" fmla="*/ 201 w 215"/>
                  <a:gd name="T113" fmla="*/ 17 h 178"/>
                  <a:gd name="T114" fmla="*/ 197 w 215"/>
                  <a:gd name="T115" fmla="*/ 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178">
                    <a:moveTo>
                      <a:pt x="192" y="0"/>
                    </a:moveTo>
                    <a:cubicBezTo>
                      <a:pt x="192" y="0"/>
                      <a:pt x="192" y="0"/>
                      <a:pt x="192" y="0"/>
                    </a:cubicBezTo>
                    <a:cubicBezTo>
                      <a:pt x="191" y="0"/>
                      <a:pt x="188" y="6"/>
                      <a:pt x="189" y="8"/>
                    </a:cubicBezTo>
                    <a:cubicBezTo>
                      <a:pt x="189" y="9"/>
                      <a:pt x="189" y="9"/>
                      <a:pt x="190" y="9"/>
                    </a:cubicBezTo>
                    <a:cubicBezTo>
                      <a:pt x="191" y="9"/>
                      <a:pt x="192" y="8"/>
                      <a:pt x="193" y="8"/>
                    </a:cubicBezTo>
                    <a:cubicBezTo>
                      <a:pt x="195" y="7"/>
                      <a:pt x="196" y="7"/>
                      <a:pt x="197" y="7"/>
                    </a:cubicBezTo>
                    <a:cubicBezTo>
                      <a:pt x="197" y="7"/>
                      <a:pt x="197" y="7"/>
                      <a:pt x="197" y="7"/>
                    </a:cubicBezTo>
                    <a:cubicBezTo>
                      <a:pt x="199" y="7"/>
                      <a:pt x="198" y="11"/>
                      <a:pt x="198" y="12"/>
                    </a:cubicBezTo>
                    <a:cubicBezTo>
                      <a:pt x="197" y="13"/>
                      <a:pt x="197" y="14"/>
                      <a:pt x="196" y="15"/>
                    </a:cubicBezTo>
                    <a:cubicBezTo>
                      <a:pt x="196" y="15"/>
                      <a:pt x="195" y="15"/>
                      <a:pt x="195" y="15"/>
                    </a:cubicBezTo>
                    <a:cubicBezTo>
                      <a:pt x="194" y="15"/>
                      <a:pt x="193" y="15"/>
                      <a:pt x="193" y="15"/>
                    </a:cubicBezTo>
                    <a:cubicBezTo>
                      <a:pt x="192" y="15"/>
                      <a:pt x="191" y="15"/>
                      <a:pt x="191" y="15"/>
                    </a:cubicBezTo>
                    <a:cubicBezTo>
                      <a:pt x="191" y="15"/>
                      <a:pt x="191" y="15"/>
                      <a:pt x="190" y="15"/>
                    </a:cubicBezTo>
                    <a:cubicBezTo>
                      <a:pt x="190" y="15"/>
                      <a:pt x="190" y="16"/>
                      <a:pt x="189" y="16"/>
                    </a:cubicBezTo>
                    <a:cubicBezTo>
                      <a:pt x="189" y="16"/>
                      <a:pt x="189" y="16"/>
                      <a:pt x="189" y="16"/>
                    </a:cubicBezTo>
                    <a:cubicBezTo>
                      <a:pt x="187" y="16"/>
                      <a:pt x="187" y="12"/>
                      <a:pt x="186" y="10"/>
                    </a:cubicBezTo>
                    <a:cubicBezTo>
                      <a:pt x="186" y="9"/>
                      <a:pt x="187" y="9"/>
                      <a:pt x="186" y="8"/>
                    </a:cubicBezTo>
                    <a:cubicBezTo>
                      <a:pt x="185" y="7"/>
                      <a:pt x="182" y="7"/>
                      <a:pt x="180" y="7"/>
                    </a:cubicBezTo>
                    <a:cubicBezTo>
                      <a:pt x="181" y="10"/>
                      <a:pt x="182" y="11"/>
                      <a:pt x="180" y="14"/>
                    </a:cubicBezTo>
                    <a:cubicBezTo>
                      <a:pt x="178" y="15"/>
                      <a:pt x="175" y="17"/>
                      <a:pt x="174" y="18"/>
                    </a:cubicBezTo>
                    <a:cubicBezTo>
                      <a:pt x="171" y="21"/>
                      <a:pt x="171" y="21"/>
                      <a:pt x="173" y="25"/>
                    </a:cubicBezTo>
                    <a:cubicBezTo>
                      <a:pt x="174" y="27"/>
                      <a:pt x="171" y="33"/>
                      <a:pt x="170" y="35"/>
                    </a:cubicBezTo>
                    <a:cubicBezTo>
                      <a:pt x="170" y="35"/>
                      <a:pt x="169" y="35"/>
                      <a:pt x="168" y="35"/>
                    </a:cubicBezTo>
                    <a:cubicBezTo>
                      <a:pt x="169" y="36"/>
                      <a:pt x="170" y="37"/>
                      <a:pt x="171" y="38"/>
                    </a:cubicBezTo>
                    <a:cubicBezTo>
                      <a:pt x="171" y="38"/>
                      <a:pt x="171" y="38"/>
                      <a:pt x="171" y="38"/>
                    </a:cubicBezTo>
                    <a:cubicBezTo>
                      <a:pt x="171" y="38"/>
                      <a:pt x="171" y="38"/>
                      <a:pt x="171" y="37"/>
                    </a:cubicBezTo>
                    <a:cubicBezTo>
                      <a:pt x="172" y="37"/>
                      <a:pt x="172" y="37"/>
                      <a:pt x="172" y="37"/>
                    </a:cubicBezTo>
                    <a:cubicBezTo>
                      <a:pt x="172" y="37"/>
                      <a:pt x="172" y="37"/>
                      <a:pt x="172" y="37"/>
                    </a:cubicBezTo>
                    <a:cubicBezTo>
                      <a:pt x="173" y="37"/>
                      <a:pt x="174" y="38"/>
                      <a:pt x="174" y="39"/>
                    </a:cubicBezTo>
                    <a:cubicBezTo>
                      <a:pt x="176" y="41"/>
                      <a:pt x="174" y="45"/>
                      <a:pt x="173" y="48"/>
                    </a:cubicBezTo>
                    <a:cubicBezTo>
                      <a:pt x="172" y="54"/>
                      <a:pt x="170" y="59"/>
                      <a:pt x="167" y="65"/>
                    </a:cubicBezTo>
                    <a:cubicBezTo>
                      <a:pt x="165" y="67"/>
                      <a:pt x="164" y="70"/>
                      <a:pt x="163" y="73"/>
                    </a:cubicBezTo>
                    <a:cubicBezTo>
                      <a:pt x="163" y="74"/>
                      <a:pt x="163" y="75"/>
                      <a:pt x="163" y="76"/>
                    </a:cubicBezTo>
                    <a:cubicBezTo>
                      <a:pt x="162" y="78"/>
                      <a:pt x="159" y="80"/>
                      <a:pt x="158" y="81"/>
                    </a:cubicBezTo>
                    <a:cubicBezTo>
                      <a:pt x="154" y="84"/>
                      <a:pt x="151" y="87"/>
                      <a:pt x="148" y="90"/>
                    </a:cubicBezTo>
                    <a:cubicBezTo>
                      <a:pt x="147" y="92"/>
                      <a:pt x="147" y="93"/>
                      <a:pt x="145" y="94"/>
                    </a:cubicBezTo>
                    <a:cubicBezTo>
                      <a:pt x="140" y="96"/>
                      <a:pt x="134" y="99"/>
                      <a:pt x="129" y="102"/>
                    </a:cubicBezTo>
                    <a:cubicBezTo>
                      <a:pt x="126" y="103"/>
                      <a:pt x="124" y="107"/>
                      <a:pt x="121" y="107"/>
                    </a:cubicBezTo>
                    <a:cubicBezTo>
                      <a:pt x="120" y="107"/>
                      <a:pt x="119" y="107"/>
                      <a:pt x="118" y="106"/>
                    </a:cubicBezTo>
                    <a:cubicBezTo>
                      <a:pt x="117" y="105"/>
                      <a:pt x="117" y="105"/>
                      <a:pt x="117" y="103"/>
                    </a:cubicBezTo>
                    <a:cubicBezTo>
                      <a:pt x="118" y="103"/>
                      <a:pt x="118" y="100"/>
                      <a:pt x="118" y="100"/>
                    </a:cubicBezTo>
                    <a:cubicBezTo>
                      <a:pt x="118" y="99"/>
                      <a:pt x="117" y="99"/>
                      <a:pt x="117" y="99"/>
                    </a:cubicBezTo>
                    <a:cubicBezTo>
                      <a:pt x="117" y="99"/>
                      <a:pt x="117" y="99"/>
                      <a:pt x="117" y="100"/>
                    </a:cubicBezTo>
                    <a:cubicBezTo>
                      <a:pt x="117" y="100"/>
                      <a:pt x="117" y="100"/>
                      <a:pt x="117" y="100"/>
                    </a:cubicBezTo>
                    <a:cubicBezTo>
                      <a:pt x="117" y="100"/>
                      <a:pt x="117" y="100"/>
                      <a:pt x="117" y="100"/>
                    </a:cubicBezTo>
                    <a:cubicBezTo>
                      <a:pt x="116" y="100"/>
                      <a:pt x="114" y="100"/>
                      <a:pt x="114" y="99"/>
                    </a:cubicBezTo>
                    <a:cubicBezTo>
                      <a:pt x="114" y="97"/>
                      <a:pt x="117" y="97"/>
                      <a:pt x="117" y="97"/>
                    </a:cubicBezTo>
                    <a:cubicBezTo>
                      <a:pt x="118" y="97"/>
                      <a:pt x="119" y="96"/>
                      <a:pt x="120" y="95"/>
                    </a:cubicBezTo>
                    <a:cubicBezTo>
                      <a:pt x="120" y="95"/>
                      <a:pt x="120" y="95"/>
                      <a:pt x="120" y="95"/>
                    </a:cubicBezTo>
                    <a:cubicBezTo>
                      <a:pt x="120" y="95"/>
                      <a:pt x="120" y="95"/>
                      <a:pt x="120" y="95"/>
                    </a:cubicBezTo>
                    <a:cubicBezTo>
                      <a:pt x="121" y="95"/>
                      <a:pt x="121" y="95"/>
                      <a:pt x="121" y="95"/>
                    </a:cubicBezTo>
                    <a:cubicBezTo>
                      <a:pt x="121" y="95"/>
                      <a:pt x="121" y="95"/>
                      <a:pt x="121" y="95"/>
                    </a:cubicBezTo>
                    <a:cubicBezTo>
                      <a:pt x="123" y="94"/>
                      <a:pt x="125" y="90"/>
                      <a:pt x="122" y="90"/>
                    </a:cubicBezTo>
                    <a:cubicBezTo>
                      <a:pt x="122" y="90"/>
                      <a:pt x="122" y="90"/>
                      <a:pt x="122" y="90"/>
                    </a:cubicBezTo>
                    <a:cubicBezTo>
                      <a:pt x="121" y="90"/>
                      <a:pt x="119" y="91"/>
                      <a:pt x="119" y="91"/>
                    </a:cubicBezTo>
                    <a:cubicBezTo>
                      <a:pt x="117" y="92"/>
                      <a:pt x="114" y="92"/>
                      <a:pt x="113" y="93"/>
                    </a:cubicBezTo>
                    <a:cubicBezTo>
                      <a:pt x="110" y="95"/>
                      <a:pt x="113" y="100"/>
                      <a:pt x="112" y="103"/>
                    </a:cubicBezTo>
                    <a:cubicBezTo>
                      <a:pt x="112" y="106"/>
                      <a:pt x="109" y="109"/>
                      <a:pt x="107" y="111"/>
                    </a:cubicBezTo>
                    <a:cubicBezTo>
                      <a:pt x="104" y="115"/>
                      <a:pt x="99" y="120"/>
                      <a:pt x="98" y="124"/>
                    </a:cubicBezTo>
                    <a:cubicBezTo>
                      <a:pt x="98" y="127"/>
                      <a:pt x="100" y="128"/>
                      <a:pt x="99" y="130"/>
                    </a:cubicBezTo>
                    <a:cubicBezTo>
                      <a:pt x="99" y="130"/>
                      <a:pt x="99" y="130"/>
                      <a:pt x="99" y="130"/>
                    </a:cubicBezTo>
                    <a:cubicBezTo>
                      <a:pt x="97" y="130"/>
                      <a:pt x="95" y="133"/>
                      <a:pt x="94" y="133"/>
                    </a:cubicBezTo>
                    <a:cubicBezTo>
                      <a:pt x="93" y="134"/>
                      <a:pt x="93" y="134"/>
                      <a:pt x="92" y="134"/>
                    </a:cubicBezTo>
                    <a:cubicBezTo>
                      <a:pt x="91" y="134"/>
                      <a:pt x="91" y="134"/>
                      <a:pt x="90" y="134"/>
                    </a:cubicBezTo>
                    <a:cubicBezTo>
                      <a:pt x="89" y="134"/>
                      <a:pt x="89" y="134"/>
                      <a:pt x="88" y="134"/>
                    </a:cubicBezTo>
                    <a:cubicBezTo>
                      <a:pt x="87" y="134"/>
                      <a:pt x="86" y="134"/>
                      <a:pt x="85" y="135"/>
                    </a:cubicBezTo>
                    <a:cubicBezTo>
                      <a:pt x="84" y="134"/>
                      <a:pt x="83" y="133"/>
                      <a:pt x="84" y="131"/>
                    </a:cubicBezTo>
                    <a:cubicBezTo>
                      <a:pt x="84" y="130"/>
                      <a:pt x="85" y="130"/>
                      <a:pt x="85" y="130"/>
                    </a:cubicBezTo>
                    <a:cubicBezTo>
                      <a:pt x="84" y="129"/>
                      <a:pt x="84" y="128"/>
                      <a:pt x="83" y="128"/>
                    </a:cubicBezTo>
                    <a:cubicBezTo>
                      <a:pt x="81" y="128"/>
                      <a:pt x="77" y="131"/>
                      <a:pt x="76" y="131"/>
                    </a:cubicBezTo>
                    <a:cubicBezTo>
                      <a:pt x="69" y="132"/>
                      <a:pt x="61" y="132"/>
                      <a:pt x="54" y="132"/>
                    </a:cubicBezTo>
                    <a:cubicBezTo>
                      <a:pt x="47" y="133"/>
                      <a:pt x="41" y="134"/>
                      <a:pt x="34" y="136"/>
                    </a:cubicBezTo>
                    <a:cubicBezTo>
                      <a:pt x="35" y="139"/>
                      <a:pt x="32" y="139"/>
                      <a:pt x="30" y="141"/>
                    </a:cubicBezTo>
                    <a:cubicBezTo>
                      <a:pt x="26" y="144"/>
                      <a:pt x="21" y="148"/>
                      <a:pt x="17" y="151"/>
                    </a:cubicBezTo>
                    <a:cubicBezTo>
                      <a:pt x="15" y="152"/>
                      <a:pt x="13" y="153"/>
                      <a:pt x="11" y="155"/>
                    </a:cubicBezTo>
                    <a:cubicBezTo>
                      <a:pt x="10" y="156"/>
                      <a:pt x="10" y="158"/>
                      <a:pt x="8" y="158"/>
                    </a:cubicBezTo>
                    <a:cubicBezTo>
                      <a:pt x="7" y="158"/>
                      <a:pt x="7" y="158"/>
                      <a:pt x="7" y="158"/>
                    </a:cubicBezTo>
                    <a:cubicBezTo>
                      <a:pt x="6" y="158"/>
                      <a:pt x="5" y="158"/>
                      <a:pt x="5" y="158"/>
                    </a:cubicBezTo>
                    <a:cubicBezTo>
                      <a:pt x="4" y="157"/>
                      <a:pt x="3" y="157"/>
                      <a:pt x="3" y="157"/>
                    </a:cubicBezTo>
                    <a:cubicBezTo>
                      <a:pt x="2" y="157"/>
                      <a:pt x="2" y="157"/>
                      <a:pt x="1" y="158"/>
                    </a:cubicBezTo>
                    <a:cubicBezTo>
                      <a:pt x="1" y="158"/>
                      <a:pt x="1" y="158"/>
                      <a:pt x="1" y="158"/>
                    </a:cubicBezTo>
                    <a:cubicBezTo>
                      <a:pt x="1" y="158"/>
                      <a:pt x="0" y="159"/>
                      <a:pt x="0" y="160"/>
                    </a:cubicBezTo>
                    <a:cubicBezTo>
                      <a:pt x="0" y="161"/>
                      <a:pt x="1" y="162"/>
                      <a:pt x="1" y="163"/>
                    </a:cubicBezTo>
                    <a:cubicBezTo>
                      <a:pt x="1" y="163"/>
                      <a:pt x="0" y="163"/>
                      <a:pt x="0" y="164"/>
                    </a:cubicBezTo>
                    <a:cubicBezTo>
                      <a:pt x="0" y="164"/>
                      <a:pt x="0" y="165"/>
                      <a:pt x="0" y="165"/>
                    </a:cubicBezTo>
                    <a:cubicBezTo>
                      <a:pt x="0" y="166"/>
                      <a:pt x="1" y="166"/>
                      <a:pt x="0" y="167"/>
                    </a:cubicBezTo>
                    <a:cubicBezTo>
                      <a:pt x="0" y="168"/>
                      <a:pt x="1" y="168"/>
                      <a:pt x="1" y="168"/>
                    </a:cubicBezTo>
                    <a:cubicBezTo>
                      <a:pt x="1" y="168"/>
                      <a:pt x="1" y="168"/>
                      <a:pt x="2" y="167"/>
                    </a:cubicBezTo>
                    <a:cubicBezTo>
                      <a:pt x="2" y="167"/>
                      <a:pt x="2" y="167"/>
                      <a:pt x="2" y="167"/>
                    </a:cubicBezTo>
                    <a:cubicBezTo>
                      <a:pt x="2" y="167"/>
                      <a:pt x="2" y="167"/>
                      <a:pt x="2" y="168"/>
                    </a:cubicBezTo>
                    <a:cubicBezTo>
                      <a:pt x="8" y="167"/>
                      <a:pt x="13" y="167"/>
                      <a:pt x="18" y="166"/>
                    </a:cubicBezTo>
                    <a:cubicBezTo>
                      <a:pt x="17" y="167"/>
                      <a:pt x="20" y="167"/>
                      <a:pt x="21" y="168"/>
                    </a:cubicBezTo>
                    <a:cubicBezTo>
                      <a:pt x="21" y="168"/>
                      <a:pt x="23" y="168"/>
                      <a:pt x="23" y="169"/>
                    </a:cubicBezTo>
                    <a:cubicBezTo>
                      <a:pt x="24" y="168"/>
                      <a:pt x="26" y="159"/>
                      <a:pt x="29" y="159"/>
                    </a:cubicBezTo>
                    <a:cubicBezTo>
                      <a:pt x="29" y="159"/>
                      <a:pt x="29" y="159"/>
                      <a:pt x="29" y="159"/>
                    </a:cubicBezTo>
                    <a:cubicBezTo>
                      <a:pt x="32" y="160"/>
                      <a:pt x="31" y="162"/>
                      <a:pt x="33" y="162"/>
                    </a:cubicBezTo>
                    <a:cubicBezTo>
                      <a:pt x="34" y="162"/>
                      <a:pt x="35" y="162"/>
                      <a:pt x="35" y="162"/>
                    </a:cubicBezTo>
                    <a:cubicBezTo>
                      <a:pt x="40" y="162"/>
                      <a:pt x="44" y="159"/>
                      <a:pt x="48" y="157"/>
                    </a:cubicBezTo>
                    <a:cubicBezTo>
                      <a:pt x="49" y="156"/>
                      <a:pt x="50" y="156"/>
                      <a:pt x="50" y="156"/>
                    </a:cubicBezTo>
                    <a:cubicBezTo>
                      <a:pt x="51" y="156"/>
                      <a:pt x="52" y="156"/>
                      <a:pt x="53" y="156"/>
                    </a:cubicBezTo>
                    <a:cubicBezTo>
                      <a:pt x="54" y="157"/>
                      <a:pt x="55" y="157"/>
                      <a:pt x="56" y="157"/>
                    </a:cubicBezTo>
                    <a:cubicBezTo>
                      <a:pt x="56" y="157"/>
                      <a:pt x="57" y="157"/>
                      <a:pt x="57" y="157"/>
                    </a:cubicBezTo>
                    <a:cubicBezTo>
                      <a:pt x="59" y="156"/>
                      <a:pt x="58" y="154"/>
                      <a:pt x="60" y="153"/>
                    </a:cubicBezTo>
                    <a:cubicBezTo>
                      <a:pt x="61" y="152"/>
                      <a:pt x="64" y="151"/>
                      <a:pt x="66" y="151"/>
                    </a:cubicBezTo>
                    <a:cubicBezTo>
                      <a:pt x="72" y="151"/>
                      <a:pt x="79" y="151"/>
                      <a:pt x="85" y="151"/>
                    </a:cubicBezTo>
                    <a:cubicBezTo>
                      <a:pt x="90" y="151"/>
                      <a:pt x="87" y="155"/>
                      <a:pt x="85" y="156"/>
                    </a:cubicBezTo>
                    <a:cubicBezTo>
                      <a:pt x="83" y="157"/>
                      <a:pt x="82" y="159"/>
                      <a:pt x="80" y="160"/>
                    </a:cubicBezTo>
                    <a:cubicBezTo>
                      <a:pt x="80" y="160"/>
                      <a:pt x="81" y="162"/>
                      <a:pt x="81" y="163"/>
                    </a:cubicBezTo>
                    <a:cubicBezTo>
                      <a:pt x="81" y="163"/>
                      <a:pt x="81" y="164"/>
                      <a:pt x="81" y="164"/>
                    </a:cubicBezTo>
                    <a:cubicBezTo>
                      <a:pt x="81" y="166"/>
                      <a:pt x="81" y="167"/>
                      <a:pt x="80" y="169"/>
                    </a:cubicBezTo>
                    <a:cubicBezTo>
                      <a:pt x="82" y="170"/>
                      <a:pt x="84" y="171"/>
                      <a:pt x="86" y="173"/>
                    </a:cubicBezTo>
                    <a:cubicBezTo>
                      <a:pt x="82" y="174"/>
                      <a:pt x="93" y="178"/>
                      <a:pt x="93" y="178"/>
                    </a:cubicBezTo>
                    <a:cubicBezTo>
                      <a:pt x="97" y="174"/>
                      <a:pt x="101" y="169"/>
                      <a:pt x="105" y="164"/>
                    </a:cubicBezTo>
                    <a:cubicBezTo>
                      <a:pt x="106" y="162"/>
                      <a:pt x="107" y="161"/>
                      <a:pt x="109" y="160"/>
                    </a:cubicBezTo>
                    <a:cubicBezTo>
                      <a:pt x="109" y="160"/>
                      <a:pt x="110" y="160"/>
                      <a:pt x="110" y="160"/>
                    </a:cubicBezTo>
                    <a:cubicBezTo>
                      <a:pt x="111" y="160"/>
                      <a:pt x="111" y="159"/>
                      <a:pt x="111" y="159"/>
                    </a:cubicBezTo>
                    <a:cubicBezTo>
                      <a:pt x="111" y="159"/>
                      <a:pt x="111" y="159"/>
                      <a:pt x="111" y="159"/>
                    </a:cubicBezTo>
                    <a:cubicBezTo>
                      <a:pt x="112" y="159"/>
                      <a:pt x="112" y="160"/>
                      <a:pt x="111" y="160"/>
                    </a:cubicBezTo>
                    <a:cubicBezTo>
                      <a:pt x="112" y="160"/>
                      <a:pt x="112" y="160"/>
                      <a:pt x="113" y="160"/>
                    </a:cubicBezTo>
                    <a:cubicBezTo>
                      <a:pt x="114" y="160"/>
                      <a:pt x="114" y="160"/>
                      <a:pt x="114" y="161"/>
                    </a:cubicBezTo>
                    <a:cubicBezTo>
                      <a:pt x="115" y="161"/>
                      <a:pt x="115" y="161"/>
                      <a:pt x="115" y="161"/>
                    </a:cubicBezTo>
                    <a:cubicBezTo>
                      <a:pt x="114" y="157"/>
                      <a:pt x="112" y="155"/>
                      <a:pt x="110" y="154"/>
                    </a:cubicBezTo>
                    <a:cubicBezTo>
                      <a:pt x="108" y="153"/>
                      <a:pt x="107" y="154"/>
                      <a:pt x="109" y="151"/>
                    </a:cubicBezTo>
                    <a:cubicBezTo>
                      <a:pt x="109" y="148"/>
                      <a:pt x="111" y="144"/>
                      <a:pt x="115" y="143"/>
                    </a:cubicBezTo>
                    <a:cubicBezTo>
                      <a:pt x="114" y="146"/>
                      <a:pt x="113" y="147"/>
                      <a:pt x="114" y="149"/>
                    </a:cubicBezTo>
                    <a:cubicBezTo>
                      <a:pt x="115" y="150"/>
                      <a:pt x="115" y="151"/>
                      <a:pt x="115" y="151"/>
                    </a:cubicBezTo>
                    <a:cubicBezTo>
                      <a:pt x="115" y="151"/>
                      <a:pt x="115" y="150"/>
                      <a:pt x="115" y="149"/>
                    </a:cubicBezTo>
                    <a:cubicBezTo>
                      <a:pt x="116" y="148"/>
                      <a:pt x="116" y="147"/>
                      <a:pt x="116" y="146"/>
                    </a:cubicBezTo>
                    <a:cubicBezTo>
                      <a:pt x="117" y="150"/>
                      <a:pt x="118" y="149"/>
                      <a:pt x="120" y="152"/>
                    </a:cubicBezTo>
                    <a:cubicBezTo>
                      <a:pt x="119" y="153"/>
                      <a:pt x="118" y="152"/>
                      <a:pt x="117" y="154"/>
                    </a:cubicBezTo>
                    <a:cubicBezTo>
                      <a:pt x="122" y="153"/>
                      <a:pt x="127" y="152"/>
                      <a:pt x="132" y="151"/>
                    </a:cubicBezTo>
                    <a:cubicBezTo>
                      <a:pt x="134" y="151"/>
                      <a:pt x="140" y="152"/>
                      <a:pt x="141" y="150"/>
                    </a:cubicBezTo>
                    <a:cubicBezTo>
                      <a:pt x="143" y="149"/>
                      <a:pt x="142" y="147"/>
                      <a:pt x="144" y="146"/>
                    </a:cubicBezTo>
                    <a:cubicBezTo>
                      <a:pt x="145" y="145"/>
                      <a:pt x="146" y="145"/>
                      <a:pt x="146" y="145"/>
                    </a:cubicBezTo>
                    <a:cubicBezTo>
                      <a:pt x="146" y="145"/>
                      <a:pt x="146" y="145"/>
                      <a:pt x="146" y="145"/>
                    </a:cubicBezTo>
                    <a:cubicBezTo>
                      <a:pt x="146" y="145"/>
                      <a:pt x="146" y="144"/>
                      <a:pt x="146" y="143"/>
                    </a:cubicBezTo>
                    <a:cubicBezTo>
                      <a:pt x="147" y="142"/>
                      <a:pt x="148" y="142"/>
                      <a:pt x="149" y="142"/>
                    </a:cubicBezTo>
                    <a:cubicBezTo>
                      <a:pt x="150" y="142"/>
                      <a:pt x="152" y="143"/>
                      <a:pt x="153" y="144"/>
                    </a:cubicBezTo>
                    <a:cubicBezTo>
                      <a:pt x="152" y="144"/>
                      <a:pt x="151" y="144"/>
                      <a:pt x="151" y="145"/>
                    </a:cubicBezTo>
                    <a:cubicBezTo>
                      <a:pt x="150" y="147"/>
                      <a:pt x="152" y="152"/>
                      <a:pt x="152" y="153"/>
                    </a:cubicBezTo>
                    <a:cubicBezTo>
                      <a:pt x="152" y="153"/>
                      <a:pt x="153" y="153"/>
                      <a:pt x="154" y="152"/>
                    </a:cubicBezTo>
                    <a:cubicBezTo>
                      <a:pt x="156" y="151"/>
                      <a:pt x="158" y="148"/>
                      <a:pt x="157" y="145"/>
                    </a:cubicBezTo>
                    <a:cubicBezTo>
                      <a:pt x="157" y="144"/>
                      <a:pt x="157" y="143"/>
                      <a:pt x="157" y="143"/>
                    </a:cubicBezTo>
                    <a:cubicBezTo>
                      <a:pt x="159" y="142"/>
                      <a:pt x="161" y="141"/>
                      <a:pt x="163" y="141"/>
                    </a:cubicBezTo>
                    <a:cubicBezTo>
                      <a:pt x="166" y="141"/>
                      <a:pt x="169" y="143"/>
                      <a:pt x="170" y="145"/>
                    </a:cubicBezTo>
                    <a:cubicBezTo>
                      <a:pt x="170" y="146"/>
                      <a:pt x="170" y="146"/>
                      <a:pt x="170" y="146"/>
                    </a:cubicBezTo>
                    <a:cubicBezTo>
                      <a:pt x="170" y="146"/>
                      <a:pt x="171" y="147"/>
                      <a:pt x="171" y="147"/>
                    </a:cubicBezTo>
                    <a:cubicBezTo>
                      <a:pt x="171" y="147"/>
                      <a:pt x="171" y="147"/>
                      <a:pt x="171" y="147"/>
                    </a:cubicBezTo>
                    <a:cubicBezTo>
                      <a:pt x="172" y="147"/>
                      <a:pt x="172" y="147"/>
                      <a:pt x="173" y="146"/>
                    </a:cubicBezTo>
                    <a:cubicBezTo>
                      <a:pt x="176" y="146"/>
                      <a:pt x="181" y="142"/>
                      <a:pt x="182" y="139"/>
                    </a:cubicBezTo>
                    <a:cubicBezTo>
                      <a:pt x="182" y="133"/>
                      <a:pt x="185" y="132"/>
                      <a:pt x="190" y="129"/>
                    </a:cubicBezTo>
                    <a:cubicBezTo>
                      <a:pt x="189" y="126"/>
                      <a:pt x="186" y="124"/>
                      <a:pt x="185" y="121"/>
                    </a:cubicBezTo>
                    <a:cubicBezTo>
                      <a:pt x="185" y="119"/>
                      <a:pt x="185" y="116"/>
                      <a:pt x="186" y="114"/>
                    </a:cubicBezTo>
                    <a:cubicBezTo>
                      <a:pt x="187" y="111"/>
                      <a:pt x="188" y="108"/>
                      <a:pt x="189" y="105"/>
                    </a:cubicBezTo>
                    <a:cubicBezTo>
                      <a:pt x="189" y="103"/>
                      <a:pt x="191" y="103"/>
                      <a:pt x="192" y="102"/>
                    </a:cubicBezTo>
                    <a:cubicBezTo>
                      <a:pt x="193" y="101"/>
                      <a:pt x="193" y="98"/>
                      <a:pt x="193" y="96"/>
                    </a:cubicBezTo>
                    <a:cubicBezTo>
                      <a:pt x="193" y="91"/>
                      <a:pt x="191" y="85"/>
                      <a:pt x="192" y="80"/>
                    </a:cubicBezTo>
                    <a:cubicBezTo>
                      <a:pt x="192" y="78"/>
                      <a:pt x="192" y="76"/>
                      <a:pt x="193" y="74"/>
                    </a:cubicBezTo>
                    <a:cubicBezTo>
                      <a:pt x="194" y="72"/>
                      <a:pt x="194" y="73"/>
                      <a:pt x="197" y="72"/>
                    </a:cubicBezTo>
                    <a:cubicBezTo>
                      <a:pt x="198" y="71"/>
                      <a:pt x="198" y="70"/>
                      <a:pt x="199" y="70"/>
                    </a:cubicBezTo>
                    <a:cubicBezTo>
                      <a:pt x="199" y="70"/>
                      <a:pt x="199" y="70"/>
                      <a:pt x="199" y="70"/>
                    </a:cubicBezTo>
                    <a:cubicBezTo>
                      <a:pt x="201" y="70"/>
                      <a:pt x="202" y="72"/>
                      <a:pt x="203" y="73"/>
                    </a:cubicBezTo>
                    <a:cubicBezTo>
                      <a:pt x="202" y="67"/>
                      <a:pt x="202" y="65"/>
                      <a:pt x="204" y="60"/>
                    </a:cubicBezTo>
                    <a:cubicBezTo>
                      <a:pt x="205" y="58"/>
                      <a:pt x="205" y="58"/>
                      <a:pt x="205" y="58"/>
                    </a:cubicBezTo>
                    <a:cubicBezTo>
                      <a:pt x="205" y="58"/>
                      <a:pt x="205" y="58"/>
                      <a:pt x="205" y="58"/>
                    </a:cubicBezTo>
                    <a:cubicBezTo>
                      <a:pt x="206" y="58"/>
                      <a:pt x="206" y="58"/>
                      <a:pt x="207" y="58"/>
                    </a:cubicBezTo>
                    <a:cubicBezTo>
                      <a:pt x="207" y="57"/>
                      <a:pt x="207" y="57"/>
                      <a:pt x="207" y="57"/>
                    </a:cubicBezTo>
                    <a:cubicBezTo>
                      <a:pt x="209" y="57"/>
                      <a:pt x="209" y="57"/>
                      <a:pt x="209" y="57"/>
                    </a:cubicBezTo>
                    <a:cubicBezTo>
                      <a:pt x="210" y="55"/>
                      <a:pt x="213" y="47"/>
                      <a:pt x="212" y="46"/>
                    </a:cubicBezTo>
                    <a:cubicBezTo>
                      <a:pt x="215" y="44"/>
                      <a:pt x="208" y="32"/>
                      <a:pt x="207" y="28"/>
                    </a:cubicBezTo>
                    <a:cubicBezTo>
                      <a:pt x="206" y="24"/>
                      <a:pt x="202" y="21"/>
                      <a:pt x="201" y="17"/>
                    </a:cubicBezTo>
                    <a:cubicBezTo>
                      <a:pt x="200" y="13"/>
                      <a:pt x="201" y="9"/>
                      <a:pt x="201" y="5"/>
                    </a:cubicBezTo>
                    <a:cubicBezTo>
                      <a:pt x="201" y="5"/>
                      <a:pt x="202" y="4"/>
                      <a:pt x="202" y="3"/>
                    </a:cubicBezTo>
                    <a:cubicBezTo>
                      <a:pt x="202" y="2"/>
                      <a:pt x="198" y="2"/>
                      <a:pt x="197" y="2"/>
                    </a:cubicBezTo>
                    <a:cubicBezTo>
                      <a:pt x="196" y="2"/>
                      <a:pt x="193" y="0"/>
                      <a:pt x="1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1" name="Freeform 109">
                <a:extLst>
                  <a:ext uri="{FF2B5EF4-FFF2-40B4-BE49-F238E27FC236}">
                    <a16:creationId xmlns:a16="http://schemas.microsoft.com/office/drawing/2014/main" id="{C27DEB0D-83F5-4EAD-BD8B-D5AED373BF43}"/>
                  </a:ext>
                </a:extLst>
              </p:cNvPr>
              <p:cNvSpPr>
                <a:spLocks noEditPoints="1"/>
              </p:cNvSpPr>
              <p:nvPr/>
            </p:nvSpPr>
            <p:spPr bwMode="auto">
              <a:xfrm>
                <a:off x="8457" y="1704"/>
                <a:ext cx="123" cy="82"/>
              </a:xfrm>
              <a:custGeom>
                <a:avLst/>
                <a:gdLst>
                  <a:gd name="T0" fmla="*/ 0 w 52"/>
                  <a:gd name="T1" fmla="*/ 21 h 35"/>
                  <a:gd name="T2" fmla="*/ 0 w 52"/>
                  <a:gd name="T3" fmla="*/ 21 h 35"/>
                  <a:gd name="T4" fmla="*/ 0 w 52"/>
                  <a:gd name="T5" fmla="*/ 21 h 35"/>
                  <a:gd name="T6" fmla="*/ 37 w 52"/>
                  <a:gd name="T7" fmla="*/ 0 h 35"/>
                  <a:gd name="T8" fmla="*/ 29 w 52"/>
                  <a:gd name="T9" fmla="*/ 2 h 35"/>
                  <a:gd name="T10" fmla="*/ 30 w 52"/>
                  <a:gd name="T11" fmla="*/ 7 h 35"/>
                  <a:gd name="T12" fmla="*/ 22 w 52"/>
                  <a:gd name="T13" fmla="*/ 9 h 35"/>
                  <a:gd name="T14" fmla="*/ 20 w 52"/>
                  <a:gd name="T15" fmla="*/ 8 h 35"/>
                  <a:gd name="T16" fmla="*/ 17 w 52"/>
                  <a:gd name="T17" fmla="*/ 5 h 35"/>
                  <a:gd name="T18" fmla="*/ 17 w 52"/>
                  <a:gd name="T19" fmla="*/ 5 h 35"/>
                  <a:gd name="T20" fmla="*/ 13 w 52"/>
                  <a:gd name="T21" fmla="*/ 10 h 35"/>
                  <a:gd name="T22" fmla="*/ 12 w 52"/>
                  <a:gd name="T23" fmla="*/ 13 h 35"/>
                  <a:gd name="T24" fmla="*/ 0 w 52"/>
                  <a:gd name="T25" fmla="*/ 21 h 35"/>
                  <a:gd name="T26" fmla="*/ 3 w 52"/>
                  <a:gd name="T27" fmla="*/ 21 h 35"/>
                  <a:gd name="T28" fmla="*/ 5 w 52"/>
                  <a:gd name="T29" fmla="*/ 19 h 35"/>
                  <a:gd name="T30" fmla="*/ 6 w 52"/>
                  <a:gd name="T31" fmla="*/ 19 h 35"/>
                  <a:gd name="T32" fmla="*/ 7 w 52"/>
                  <a:gd name="T33" fmla="*/ 21 h 35"/>
                  <a:gd name="T34" fmla="*/ 8 w 52"/>
                  <a:gd name="T35" fmla="*/ 22 h 35"/>
                  <a:gd name="T36" fmla="*/ 9 w 52"/>
                  <a:gd name="T37" fmla="*/ 22 h 35"/>
                  <a:gd name="T38" fmla="*/ 7 w 52"/>
                  <a:gd name="T39" fmla="*/ 25 h 35"/>
                  <a:gd name="T40" fmla="*/ 8 w 52"/>
                  <a:gd name="T41" fmla="*/ 28 h 35"/>
                  <a:gd name="T42" fmla="*/ 9 w 52"/>
                  <a:gd name="T43" fmla="*/ 31 h 35"/>
                  <a:gd name="T44" fmla="*/ 10 w 52"/>
                  <a:gd name="T45" fmla="*/ 30 h 35"/>
                  <a:gd name="T46" fmla="*/ 12 w 52"/>
                  <a:gd name="T47" fmla="*/ 34 h 35"/>
                  <a:gd name="T48" fmla="*/ 13 w 52"/>
                  <a:gd name="T49" fmla="*/ 33 h 35"/>
                  <a:gd name="T50" fmla="*/ 15 w 52"/>
                  <a:gd name="T51" fmla="*/ 34 h 35"/>
                  <a:gd name="T52" fmla="*/ 18 w 52"/>
                  <a:gd name="T53" fmla="*/ 35 h 35"/>
                  <a:gd name="T54" fmla="*/ 19 w 52"/>
                  <a:gd name="T55" fmla="*/ 34 h 35"/>
                  <a:gd name="T56" fmla="*/ 18 w 52"/>
                  <a:gd name="T57" fmla="*/ 33 h 35"/>
                  <a:gd name="T58" fmla="*/ 19 w 52"/>
                  <a:gd name="T59" fmla="*/ 32 h 35"/>
                  <a:gd name="T60" fmla="*/ 26 w 52"/>
                  <a:gd name="T61" fmla="*/ 22 h 35"/>
                  <a:gd name="T62" fmla="*/ 33 w 52"/>
                  <a:gd name="T63" fmla="*/ 18 h 35"/>
                  <a:gd name="T64" fmla="*/ 36 w 52"/>
                  <a:gd name="T65" fmla="*/ 18 h 35"/>
                  <a:gd name="T66" fmla="*/ 41 w 52"/>
                  <a:gd name="T67" fmla="*/ 23 h 35"/>
                  <a:gd name="T68" fmla="*/ 52 w 52"/>
                  <a:gd name="T69" fmla="*/ 11 h 35"/>
                  <a:gd name="T70" fmla="*/ 49 w 52"/>
                  <a:gd name="T71" fmla="*/ 8 h 35"/>
                  <a:gd name="T72" fmla="*/ 50 w 52"/>
                  <a:gd name="T73" fmla="*/ 2 h 35"/>
                  <a:gd name="T74" fmla="*/ 49 w 52"/>
                  <a:gd name="T75" fmla="*/ 3 h 35"/>
                  <a:gd name="T76" fmla="*/ 49 w 52"/>
                  <a:gd name="T77" fmla="*/ 2 h 35"/>
                  <a:gd name="T78" fmla="*/ 49 w 52"/>
                  <a:gd name="T79" fmla="*/ 2 h 35"/>
                  <a:gd name="T80" fmla="*/ 48 w 52"/>
                  <a:gd name="T81" fmla="*/ 3 h 35"/>
                  <a:gd name="T82" fmla="*/ 48 w 52"/>
                  <a:gd name="T83" fmla="*/ 3 h 35"/>
                  <a:gd name="T84" fmla="*/ 38 w 52"/>
                  <a:gd name="T85" fmla="*/ 0 h 35"/>
                  <a:gd name="T86" fmla="*/ 37 w 52"/>
                  <a:gd name="T8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35">
                    <a:moveTo>
                      <a:pt x="0" y="21"/>
                    </a:moveTo>
                    <a:cubicBezTo>
                      <a:pt x="0" y="21"/>
                      <a:pt x="0" y="21"/>
                      <a:pt x="0" y="21"/>
                    </a:cubicBezTo>
                    <a:cubicBezTo>
                      <a:pt x="0" y="21"/>
                      <a:pt x="0" y="21"/>
                      <a:pt x="0" y="21"/>
                    </a:cubicBezTo>
                    <a:moveTo>
                      <a:pt x="37" y="0"/>
                    </a:moveTo>
                    <a:cubicBezTo>
                      <a:pt x="34" y="0"/>
                      <a:pt x="31" y="1"/>
                      <a:pt x="29" y="2"/>
                    </a:cubicBezTo>
                    <a:cubicBezTo>
                      <a:pt x="32" y="3"/>
                      <a:pt x="31" y="5"/>
                      <a:pt x="30" y="7"/>
                    </a:cubicBezTo>
                    <a:cubicBezTo>
                      <a:pt x="28" y="7"/>
                      <a:pt x="25" y="9"/>
                      <a:pt x="22" y="9"/>
                    </a:cubicBezTo>
                    <a:cubicBezTo>
                      <a:pt x="21" y="9"/>
                      <a:pt x="21" y="9"/>
                      <a:pt x="20" y="8"/>
                    </a:cubicBezTo>
                    <a:cubicBezTo>
                      <a:pt x="19" y="7"/>
                      <a:pt x="19" y="5"/>
                      <a:pt x="17" y="5"/>
                    </a:cubicBezTo>
                    <a:cubicBezTo>
                      <a:pt x="17" y="5"/>
                      <a:pt x="17" y="5"/>
                      <a:pt x="17" y="5"/>
                    </a:cubicBezTo>
                    <a:cubicBezTo>
                      <a:pt x="17" y="5"/>
                      <a:pt x="14" y="8"/>
                      <a:pt x="13" y="10"/>
                    </a:cubicBezTo>
                    <a:cubicBezTo>
                      <a:pt x="13" y="11"/>
                      <a:pt x="13" y="12"/>
                      <a:pt x="12" y="13"/>
                    </a:cubicBezTo>
                    <a:cubicBezTo>
                      <a:pt x="8" y="16"/>
                      <a:pt x="4" y="18"/>
                      <a:pt x="0" y="21"/>
                    </a:cubicBezTo>
                    <a:cubicBezTo>
                      <a:pt x="1" y="20"/>
                      <a:pt x="2" y="21"/>
                      <a:pt x="3" y="21"/>
                    </a:cubicBezTo>
                    <a:cubicBezTo>
                      <a:pt x="3" y="20"/>
                      <a:pt x="5" y="19"/>
                      <a:pt x="5" y="19"/>
                    </a:cubicBezTo>
                    <a:cubicBezTo>
                      <a:pt x="6" y="19"/>
                      <a:pt x="6" y="19"/>
                      <a:pt x="6" y="19"/>
                    </a:cubicBezTo>
                    <a:cubicBezTo>
                      <a:pt x="7" y="19"/>
                      <a:pt x="7" y="20"/>
                      <a:pt x="7" y="21"/>
                    </a:cubicBezTo>
                    <a:cubicBezTo>
                      <a:pt x="7" y="21"/>
                      <a:pt x="7" y="22"/>
                      <a:pt x="8" y="22"/>
                    </a:cubicBezTo>
                    <a:cubicBezTo>
                      <a:pt x="8" y="22"/>
                      <a:pt x="8" y="22"/>
                      <a:pt x="9" y="22"/>
                    </a:cubicBezTo>
                    <a:cubicBezTo>
                      <a:pt x="8" y="23"/>
                      <a:pt x="8" y="24"/>
                      <a:pt x="7" y="25"/>
                    </a:cubicBezTo>
                    <a:cubicBezTo>
                      <a:pt x="8" y="25"/>
                      <a:pt x="8" y="27"/>
                      <a:pt x="8" y="28"/>
                    </a:cubicBezTo>
                    <a:cubicBezTo>
                      <a:pt x="9" y="28"/>
                      <a:pt x="9" y="29"/>
                      <a:pt x="9" y="31"/>
                    </a:cubicBezTo>
                    <a:cubicBezTo>
                      <a:pt x="9" y="30"/>
                      <a:pt x="10" y="30"/>
                      <a:pt x="10" y="30"/>
                    </a:cubicBezTo>
                    <a:cubicBezTo>
                      <a:pt x="12" y="30"/>
                      <a:pt x="12" y="32"/>
                      <a:pt x="12" y="34"/>
                    </a:cubicBezTo>
                    <a:cubicBezTo>
                      <a:pt x="12" y="34"/>
                      <a:pt x="13" y="33"/>
                      <a:pt x="13" y="33"/>
                    </a:cubicBezTo>
                    <a:cubicBezTo>
                      <a:pt x="14" y="33"/>
                      <a:pt x="15" y="34"/>
                      <a:pt x="15" y="34"/>
                    </a:cubicBezTo>
                    <a:cubicBezTo>
                      <a:pt x="16" y="34"/>
                      <a:pt x="17" y="35"/>
                      <a:pt x="18" y="35"/>
                    </a:cubicBezTo>
                    <a:cubicBezTo>
                      <a:pt x="18" y="35"/>
                      <a:pt x="19" y="34"/>
                      <a:pt x="19" y="34"/>
                    </a:cubicBezTo>
                    <a:cubicBezTo>
                      <a:pt x="19" y="33"/>
                      <a:pt x="18" y="33"/>
                      <a:pt x="18" y="33"/>
                    </a:cubicBezTo>
                    <a:cubicBezTo>
                      <a:pt x="18" y="32"/>
                      <a:pt x="19" y="32"/>
                      <a:pt x="19" y="32"/>
                    </a:cubicBezTo>
                    <a:cubicBezTo>
                      <a:pt x="19" y="28"/>
                      <a:pt x="23" y="25"/>
                      <a:pt x="26" y="22"/>
                    </a:cubicBezTo>
                    <a:cubicBezTo>
                      <a:pt x="28" y="20"/>
                      <a:pt x="30" y="18"/>
                      <a:pt x="33" y="18"/>
                    </a:cubicBezTo>
                    <a:cubicBezTo>
                      <a:pt x="34" y="18"/>
                      <a:pt x="35" y="18"/>
                      <a:pt x="36" y="18"/>
                    </a:cubicBezTo>
                    <a:cubicBezTo>
                      <a:pt x="38" y="19"/>
                      <a:pt x="39" y="22"/>
                      <a:pt x="41" y="23"/>
                    </a:cubicBezTo>
                    <a:cubicBezTo>
                      <a:pt x="42" y="17"/>
                      <a:pt x="48" y="15"/>
                      <a:pt x="52" y="11"/>
                    </a:cubicBezTo>
                    <a:cubicBezTo>
                      <a:pt x="50" y="11"/>
                      <a:pt x="52" y="8"/>
                      <a:pt x="49" y="8"/>
                    </a:cubicBezTo>
                    <a:cubicBezTo>
                      <a:pt x="49" y="6"/>
                      <a:pt x="50" y="4"/>
                      <a:pt x="50" y="2"/>
                    </a:cubicBezTo>
                    <a:cubicBezTo>
                      <a:pt x="49" y="3"/>
                      <a:pt x="49" y="3"/>
                      <a:pt x="49" y="3"/>
                    </a:cubicBezTo>
                    <a:cubicBezTo>
                      <a:pt x="49" y="2"/>
                      <a:pt x="49" y="2"/>
                      <a:pt x="49" y="2"/>
                    </a:cubicBezTo>
                    <a:cubicBezTo>
                      <a:pt x="49" y="2"/>
                      <a:pt x="49" y="2"/>
                      <a:pt x="49" y="2"/>
                    </a:cubicBezTo>
                    <a:cubicBezTo>
                      <a:pt x="48" y="2"/>
                      <a:pt x="48" y="3"/>
                      <a:pt x="48" y="3"/>
                    </a:cubicBezTo>
                    <a:cubicBezTo>
                      <a:pt x="48" y="3"/>
                      <a:pt x="48" y="3"/>
                      <a:pt x="48" y="3"/>
                    </a:cubicBezTo>
                    <a:cubicBezTo>
                      <a:pt x="44" y="2"/>
                      <a:pt x="42" y="1"/>
                      <a:pt x="38" y="0"/>
                    </a:cubicBezTo>
                    <a:cubicBezTo>
                      <a:pt x="38"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2" name="Freeform 110">
                <a:extLst>
                  <a:ext uri="{FF2B5EF4-FFF2-40B4-BE49-F238E27FC236}">
                    <a16:creationId xmlns:a16="http://schemas.microsoft.com/office/drawing/2014/main" id="{CE96CC86-CF94-44D7-955B-BBC69A4A988A}"/>
                  </a:ext>
                </a:extLst>
              </p:cNvPr>
              <p:cNvSpPr>
                <a:spLocks/>
              </p:cNvSpPr>
              <p:nvPr/>
            </p:nvSpPr>
            <p:spPr bwMode="auto">
              <a:xfrm>
                <a:off x="8153" y="2169"/>
                <a:ext cx="9" cy="8"/>
              </a:xfrm>
              <a:custGeom>
                <a:avLst/>
                <a:gdLst>
                  <a:gd name="T0" fmla="*/ 1 w 4"/>
                  <a:gd name="T1" fmla="*/ 0 h 3"/>
                  <a:gd name="T2" fmla="*/ 1 w 4"/>
                  <a:gd name="T3" fmla="*/ 3 h 3"/>
                  <a:gd name="T4" fmla="*/ 4 w 4"/>
                  <a:gd name="T5" fmla="*/ 3 h 3"/>
                  <a:gd name="T6" fmla="*/ 1 w 4"/>
                  <a:gd name="T7" fmla="*/ 0 h 3"/>
                </a:gdLst>
                <a:ahLst/>
                <a:cxnLst>
                  <a:cxn ang="0">
                    <a:pos x="T0" y="T1"/>
                  </a:cxn>
                  <a:cxn ang="0">
                    <a:pos x="T2" y="T3"/>
                  </a:cxn>
                  <a:cxn ang="0">
                    <a:pos x="T4" y="T5"/>
                  </a:cxn>
                  <a:cxn ang="0">
                    <a:pos x="T6" y="T7"/>
                  </a:cxn>
                </a:cxnLst>
                <a:rect l="0" t="0" r="r" b="b"/>
                <a:pathLst>
                  <a:path w="4" h="3">
                    <a:moveTo>
                      <a:pt x="1" y="0"/>
                    </a:moveTo>
                    <a:cubicBezTo>
                      <a:pt x="0" y="3"/>
                      <a:pt x="0" y="3"/>
                      <a:pt x="1" y="3"/>
                    </a:cubicBezTo>
                    <a:cubicBezTo>
                      <a:pt x="2" y="3"/>
                      <a:pt x="3" y="3"/>
                      <a:pt x="4" y="3"/>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3" name="Freeform 111">
                <a:extLst>
                  <a:ext uri="{FF2B5EF4-FFF2-40B4-BE49-F238E27FC236}">
                    <a16:creationId xmlns:a16="http://schemas.microsoft.com/office/drawing/2014/main" id="{1EA25597-B402-43DC-957B-E213A262D3C6}"/>
                  </a:ext>
                </a:extLst>
              </p:cNvPr>
              <p:cNvSpPr>
                <a:spLocks/>
              </p:cNvSpPr>
              <p:nvPr/>
            </p:nvSpPr>
            <p:spPr bwMode="auto">
              <a:xfrm>
                <a:off x="8861" y="1113"/>
                <a:ext cx="3" cy="7"/>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4" name="Freeform 112">
                <a:extLst>
                  <a:ext uri="{FF2B5EF4-FFF2-40B4-BE49-F238E27FC236}">
                    <a16:creationId xmlns:a16="http://schemas.microsoft.com/office/drawing/2014/main" id="{DEC360FD-C7F5-4F7A-835B-1F75E4969F26}"/>
                  </a:ext>
                </a:extLst>
              </p:cNvPr>
              <p:cNvSpPr>
                <a:spLocks/>
              </p:cNvSpPr>
              <p:nvPr/>
            </p:nvSpPr>
            <p:spPr bwMode="auto">
              <a:xfrm>
                <a:off x="8304" y="1782"/>
                <a:ext cx="12" cy="9"/>
              </a:xfrm>
              <a:custGeom>
                <a:avLst/>
                <a:gdLst>
                  <a:gd name="T0" fmla="*/ 4 w 5"/>
                  <a:gd name="T1" fmla="*/ 0 h 4"/>
                  <a:gd name="T2" fmla="*/ 1 w 5"/>
                  <a:gd name="T3" fmla="*/ 2 h 4"/>
                  <a:gd name="T4" fmla="*/ 2 w 5"/>
                  <a:gd name="T5" fmla="*/ 4 h 4"/>
                  <a:gd name="T6" fmla="*/ 4 w 5"/>
                  <a:gd name="T7" fmla="*/ 4 h 4"/>
                  <a:gd name="T8" fmla="*/ 5 w 5"/>
                  <a:gd name="T9" fmla="*/ 3 h 4"/>
                  <a:gd name="T10" fmla="*/ 5 w 5"/>
                  <a:gd name="T11" fmla="*/ 3 h 4"/>
                  <a:gd name="T12" fmla="*/ 4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4" y="0"/>
                    </a:moveTo>
                    <a:cubicBezTo>
                      <a:pt x="3" y="0"/>
                      <a:pt x="2" y="1"/>
                      <a:pt x="1" y="2"/>
                    </a:cubicBezTo>
                    <a:cubicBezTo>
                      <a:pt x="0" y="4"/>
                      <a:pt x="1" y="4"/>
                      <a:pt x="2" y="4"/>
                    </a:cubicBezTo>
                    <a:cubicBezTo>
                      <a:pt x="2" y="4"/>
                      <a:pt x="3" y="4"/>
                      <a:pt x="4" y="4"/>
                    </a:cubicBezTo>
                    <a:cubicBezTo>
                      <a:pt x="4" y="3"/>
                      <a:pt x="5" y="3"/>
                      <a:pt x="5" y="3"/>
                    </a:cubicBezTo>
                    <a:cubicBezTo>
                      <a:pt x="5" y="3"/>
                      <a:pt x="5" y="3"/>
                      <a:pt x="5" y="3"/>
                    </a:cubicBezTo>
                    <a:cubicBezTo>
                      <a:pt x="5"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5" name="Freeform 113">
                <a:extLst>
                  <a:ext uri="{FF2B5EF4-FFF2-40B4-BE49-F238E27FC236}">
                    <a16:creationId xmlns:a16="http://schemas.microsoft.com/office/drawing/2014/main" id="{F6CB9301-61A5-4A93-949B-4BAC22B5AD14}"/>
                  </a:ext>
                </a:extLst>
              </p:cNvPr>
              <p:cNvSpPr>
                <a:spLocks/>
              </p:cNvSpPr>
              <p:nvPr/>
            </p:nvSpPr>
            <p:spPr bwMode="auto">
              <a:xfrm>
                <a:off x="8403" y="1879"/>
                <a:ext cx="12" cy="23"/>
              </a:xfrm>
              <a:custGeom>
                <a:avLst/>
                <a:gdLst>
                  <a:gd name="T0" fmla="*/ 5 w 5"/>
                  <a:gd name="T1" fmla="*/ 0 h 10"/>
                  <a:gd name="T2" fmla="*/ 2 w 5"/>
                  <a:gd name="T3" fmla="*/ 6 h 10"/>
                  <a:gd name="T4" fmla="*/ 1 w 5"/>
                  <a:gd name="T5" fmla="*/ 10 h 10"/>
                  <a:gd name="T6" fmla="*/ 5 w 5"/>
                  <a:gd name="T7" fmla="*/ 0 h 10"/>
                </a:gdLst>
                <a:ahLst/>
                <a:cxnLst>
                  <a:cxn ang="0">
                    <a:pos x="T0" y="T1"/>
                  </a:cxn>
                  <a:cxn ang="0">
                    <a:pos x="T2" y="T3"/>
                  </a:cxn>
                  <a:cxn ang="0">
                    <a:pos x="T4" y="T5"/>
                  </a:cxn>
                  <a:cxn ang="0">
                    <a:pos x="T6" y="T7"/>
                  </a:cxn>
                </a:cxnLst>
                <a:rect l="0" t="0" r="r" b="b"/>
                <a:pathLst>
                  <a:path w="5" h="10">
                    <a:moveTo>
                      <a:pt x="5" y="0"/>
                    </a:moveTo>
                    <a:cubicBezTo>
                      <a:pt x="2" y="3"/>
                      <a:pt x="3" y="3"/>
                      <a:pt x="2" y="6"/>
                    </a:cubicBezTo>
                    <a:cubicBezTo>
                      <a:pt x="2" y="7"/>
                      <a:pt x="0" y="8"/>
                      <a:pt x="1" y="10"/>
                    </a:cubicBezTo>
                    <a:cubicBezTo>
                      <a:pt x="3" y="7"/>
                      <a:pt x="4"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6" name="Freeform 114">
                <a:extLst>
                  <a:ext uri="{FF2B5EF4-FFF2-40B4-BE49-F238E27FC236}">
                    <a16:creationId xmlns:a16="http://schemas.microsoft.com/office/drawing/2014/main" id="{B33490AF-78E0-4B4A-A510-0CAC5B6EB3BE}"/>
                  </a:ext>
                </a:extLst>
              </p:cNvPr>
              <p:cNvSpPr>
                <a:spLocks/>
              </p:cNvSpPr>
              <p:nvPr/>
            </p:nvSpPr>
            <p:spPr bwMode="auto">
              <a:xfrm>
                <a:off x="8316" y="2023"/>
                <a:ext cx="2" cy="12"/>
              </a:xfrm>
              <a:custGeom>
                <a:avLst/>
                <a:gdLst>
                  <a:gd name="T0" fmla="*/ 1 w 1"/>
                  <a:gd name="T1" fmla="*/ 0 h 5"/>
                  <a:gd name="T2" fmla="*/ 1 w 1"/>
                  <a:gd name="T3" fmla="*/ 5 h 5"/>
                  <a:gd name="T4" fmla="*/ 1 w 1"/>
                  <a:gd name="T5" fmla="*/ 0 h 5"/>
                </a:gdLst>
                <a:ahLst/>
                <a:cxnLst>
                  <a:cxn ang="0">
                    <a:pos x="T0" y="T1"/>
                  </a:cxn>
                  <a:cxn ang="0">
                    <a:pos x="T2" y="T3"/>
                  </a:cxn>
                  <a:cxn ang="0">
                    <a:pos x="T4" y="T5"/>
                  </a:cxn>
                </a:cxnLst>
                <a:rect l="0" t="0" r="r" b="b"/>
                <a:pathLst>
                  <a:path w="1" h="5">
                    <a:moveTo>
                      <a:pt x="1" y="0"/>
                    </a:moveTo>
                    <a:cubicBezTo>
                      <a:pt x="0" y="2"/>
                      <a:pt x="0" y="4"/>
                      <a:pt x="1" y="5"/>
                    </a:cubicBezTo>
                    <a:cubicBezTo>
                      <a:pt x="1"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7" name="Freeform 115">
                <a:extLst>
                  <a:ext uri="{FF2B5EF4-FFF2-40B4-BE49-F238E27FC236}">
                    <a16:creationId xmlns:a16="http://schemas.microsoft.com/office/drawing/2014/main" id="{4B42A636-7854-4EB7-BDE7-0D7503F3E5A7}"/>
                  </a:ext>
                </a:extLst>
              </p:cNvPr>
              <p:cNvSpPr>
                <a:spLocks/>
              </p:cNvSpPr>
              <p:nvPr/>
            </p:nvSpPr>
            <p:spPr bwMode="auto">
              <a:xfrm>
                <a:off x="8330" y="2009"/>
                <a:ext cx="7" cy="4"/>
              </a:xfrm>
              <a:custGeom>
                <a:avLst/>
                <a:gdLst>
                  <a:gd name="T0" fmla="*/ 0 w 3"/>
                  <a:gd name="T1" fmla="*/ 0 h 2"/>
                  <a:gd name="T2" fmla="*/ 2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2"/>
                      <a:pt x="1" y="2"/>
                      <a:pt x="2" y="2"/>
                    </a:cubicBezTo>
                    <a:cubicBezTo>
                      <a:pt x="3" y="2"/>
                      <a:pt x="3"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8" name="Freeform 116">
                <a:extLst>
                  <a:ext uri="{FF2B5EF4-FFF2-40B4-BE49-F238E27FC236}">
                    <a16:creationId xmlns:a16="http://schemas.microsoft.com/office/drawing/2014/main" id="{909386CD-4691-491A-A403-15B2C2DB5DE4}"/>
                  </a:ext>
                </a:extLst>
              </p:cNvPr>
              <p:cNvSpPr>
                <a:spLocks/>
              </p:cNvSpPr>
              <p:nvPr/>
            </p:nvSpPr>
            <p:spPr bwMode="auto">
              <a:xfrm>
                <a:off x="8911" y="2082"/>
                <a:ext cx="2" cy="5"/>
              </a:xfrm>
              <a:custGeom>
                <a:avLst/>
                <a:gdLst>
                  <a:gd name="T0" fmla="*/ 0 w 1"/>
                  <a:gd name="T1" fmla="*/ 0 h 2"/>
                  <a:gd name="T2" fmla="*/ 1 w 1"/>
                  <a:gd name="T3" fmla="*/ 1 h 2"/>
                  <a:gd name="T4" fmla="*/ 1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1" y="0"/>
                      <a:pt x="1" y="1"/>
                      <a:pt x="1" y="1"/>
                    </a:cubicBezTo>
                    <a:cubicBezTo>
                      <a:pt x="1" y="2"/>
                      <a:pt x="1" y="2"/>
                      <a:pt x="1" y="2"/>
                    </a:cubicBezTo>
                    <a:cubicBezTo>
                      <a:pt x="1" y="1"/>
                      <a:pt x="1" y="1"/>
                      <a:pt x="1"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9" name="Freeform 117">
                <a:extLst>
                  <a:ext uri="{FF2B5EF4-FFF2-40B4-BE49-F238E27FC236}">
                    <a16:creationId xmlns:a16="http://schemas.microsoft.com/office/drawing/2014/main" id="{182965B6-FD43-44BA-A063-AA44A0989908}"/>
                  </a:ext>
                </a:extLst>
              </p:cNvPr>
              <p:cNvSpPr>
                <a:spLocks/>
              </p:cNvSpPr>
              <p:nvPr/>
            </p:nvSpPr>
            <p:spPr bwMode="auto">
              <a:xfrm>
                <a:off x="8320" y="1768"/>
                <a:ext cx="7" cy="11"/>
              </a:xfrm>
              <a:custGeom>
                <a:avLst/>
                <a:gdLst>
                  <a:gd name="T0" fmla="*/ 3 w 3"/>
                  <a:gd name="T1" fmla="*/ 0 h 5"/>
                  <a:gd name="T2" fmla="*/ 0 w 3"/>
                  <a:gd name="T3" fmla="*/ 3 h 5"/>
                  <a:gd name="T4" fmla="*/ 1 w 3"/>
                  <a:gd name="T5" fmla="*/ 5 h 5"/>
                  <a:gd name="T6" fmla="*/ 3 w 3"/>
                  <a:gd name="T7" fmla="*/ 0 h 5"/>
                </a:gdLst>
                <a:ahLst/>
                <a:cxnLst>
                  <a:cxn ang="0">
                    <a:pos x="T0" y="T1"/>
                  </a:cxn>
                  <a:cxn ang="0">
                    <a:pos x="T2" y="T3"/>
                  </a:cxn>
                  <a:cxn ang="0">
                    <a:pos x="T4" y="T5"/>
                  </a:cxn>
                  <a:cxn ang="0">
                    <a:pos x="T6" y="T7"/>
                  </a:cxn>
                </a:cxnLst>
                <a:rect l="0" t="0" r="r" b="b"/>
                <a:pathLst>
                  <a:path w="3" h="5">
                    <a:moveTo>
                      <a:pt x="3" y="0"/>
                    </a:moveTo>
                    <a:cubicBezTo>
                      <a:pt x="0" y="3"/>
                      <a:pt x="0" y="3"/>
                      <a:pt x="0" y="3"/>
                    </a:cubicBezTo>
                    <a:cubicBezTo>
                      <a:pt x="0" y="3"/>
                      <a:pt x="2" y="4"/>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0" name="Freeform 118">
                <a:extLst>
                  <a:ext uri="{FF2B5EF4-FFF2-40B4-BE49-F238E27FC236}">
                    <a16:creationId xmlns:a16="http://schemas.microsoft.com/office/drawing/2014/main" id="{1D1959F4-269E-4FAA-A678-61FD0F3E3105}"/>
                  </a:ext>
                </a:extLst>
              </p:cNvPr>
              <p:cNvSpPr>
                <a:spLocks/>
              </p:cNvSpPr>
              <p:nvPr/>
            </p:nvSpPr>
            <p:spPr bwMode="auto">
              <a:xfrm>
                <a:off x="8507" y="1602"/>
                <a:ext cx="12" cy="7"/>
              </a:xfrm>
              <a:custGeom>
                <a:avLst/>
                <a:gdLst>
                  <a:gd name="T0" fmla="*/ 3 w 5"/>
                  <a:gd name="T1" fmla="*/ 0 h 3"/>
                  <a:gd name="T2" fmla="*/ 3 w 5"/>
                  <a:gd name="T3" fmla="*/ 3 h 3"/>
                  <a:gd name="T4" fmla="*/ 3 w 5"/>
                  <a:gd name="T5" fmla="*/ 0 h 3"/>
                </a:gdLst>
                <a:ahLst/>
                <a:cxnLst>
                  <a:cxn ang="0">
                    <a:pos x="T0" y="T1"/>
                  </a:cxn>
                  <a:cxn ang="0">
                    <a:pos x="T2" y="T3"/>
                  </a:cxn>
                  <a:cxn ang="0">
                    <a:pos x="T4" y="T5"/>
                  </a:cxn>
                </a:cxnLst>
                <a:rect l="0" t="0" r="r" b="b"/>
                <a:pathLst>
                  <a:path w="5" h="3">
                    <a:moveTo>
                      <a:pt x="3" y="0"/>
                    </a:moveTo>
                    <a:cubicBezTo>
                      <a:pt x="0" y="1"/>
                      <a:pt x="2" y="3"/>
                      <a:pt x="3" y="3"/>
                    </a:cubicBezTo>
                    <a:cubicBezTo>
                      <a:pt x="4"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1" name="Freeform 119">
                <a:extLst>
                  <a:ext uri="{FF2B5EF4-FFF2-40B4-BE49-F238E27FC236}">
                    <a16:creationId xmlns:a16="http://schemas.microsoft.com/office/drawing/2014/main" id="{298FFE8A-23C0-476F-B128-D4E9281F4C32}"/>
                  </a:ext>
                </a:extLst>
              </p:cNvPr>
              <p:cNvSpPr>
                <a:spLocks/>
              </p:cNvSpPr>
              <p:nvPr/>
            </p:nvSpPr>
            <p:spPr bwMode="auto">
              <a:xfrm>
                <a:off x="8571" y="1694"/>
                <a:ext cx="21" cy="17"/>
              </a:xfrm>
              <a:custGeom>
                <a:avLst/>
                <a:gdLst>
                  <a:gd name="T0" fmla="*/ 9 w 9"/>
                  <a:gd name="T1" fmla="*/ 0 h 7"/>
                  <a:gd name="T2" fmla="*/ 5 w 9"/>
                  <a:gd name="T3" fmla="*/ 7 h 7"/>
                  <a:gd name="T4" fmla="*/ 7 w 9"/>
                  <a:gd name="T5" fmla="*/ 6 h 7"/>
                  <a:gd name="T6" fmla="*/ 7 w 9"/>
                  <a:gd name="T7" fmla="*/ 4 h 7"/>
                  <a:gd name="T8" fmla="*/ 9 w 9"/>
                  <a:gd name="T9" fmla="*/ 0 h 7"/>
                </a:gdLst>
                <a:ahLst/>
                <a:cxnLst>
                  <a:cxn ang="0">
                    <a:pos x="T0" y="T1"/>
                  </a:cxn>
                  <a:cxn ang="0">
                    <a:pos x="T2" y="T3"/>
                  </a:cxn>
                  <a:cxn ang="0">
                    <a:pos x="T4" y="T5"/>
                  </a:cxn>
                  <a:cxn ang="0">
                    <a:pos x="T6" y="T7"/>
                  </a:cxn>
                  <a:cxn ang="0">
                    <a:pos x="T8" y="T9"/>
                  </a:cxn>
                </a:cxnLst>
                <a:rect l="0" t="0" r="r" b="b"/>
                <a:pathLst>
                  <a:path w="9" h="7">
                    <a:moveTo>
                      <a:pt x="9" y="0"/>
                    </a:moveTo>
                    <a:cubicBezTo>
                      <a:pt x="8" y="1"/>
                      <a:pt x="0" y="7"/>
                      <a:pt x="5" y="7"/>
                    </a:cubicBezTo>
                    <a:cubicBezTo>
                      <a:pt x="5" y="7"/>
                      <a:pt x="7" y="6"/>
                      <a:pt x="7" y="6"/>
                    </a:cubicBezTo>
                    <a:cubicBezTo>
                      <a:pt x="8" y="4"/>
                      <a:pt x="7" y="5"/>
                      <a:pt x="7" y="4"/>
                    </a:cubicBezTo>
                    <a:cubicBezTo>
                      <a:pt x="7" y="2"/>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2" name="Freeform 120">
                <a:extLst>
                  <a:ext uri="{FF2B5EF4-FFF2-40B4-BE49-F238E27FC236}">
                    <a16:creationId xmlns:a16="http://schemas.microsoft.com/office/drawing/2014/main" id="{2E866CA7-DD6E-445D-83CE-3C2838A9D95C}"/>
                  </a:ext>
                </a:extLst>
              </p:cNvPr>
              <p:cNvSpPr>
                <a:spLocks/>
              </p:cNvSpPr>
              <p:nvPr/>
            </p:nvSpPr>
            <p:spPr bwMode="auto">
              <a:xfrm>
                <a:off x="8259" y="2077"/>
                <a:ext cx="26" cy="33"/>
              </a:xfrm>
              <a:custGeom>
                <a:avLst/>
                <a:gdLst>
                  <a:gd name="T0" fmla="*/ 11 w 11"/>
                  <a:gd name="T1" fmla="*/ 0 h 14"/>
                  <a:gd name="T2" fmla="*/ 10 w 11"/>
                  <a:gd name="T3" fmla="*/ 2 h 14"/>
                  <a:gd name="T4" fmla="*/ 9 w 11"/>
                  <a:gd name="T5" fmla="*/ 3 h 14"/>
                  <a:gd name="T6" fmla="*/ 9 w 11"/>
                  <a:gd name="T7" fmla="*/ 3 h 14"/>
                  <a:gd name="T8" fmla="*/ 8 w 11"/>
                  <a:gd name="T9" fmla="*/ 2 h 14"/>
                  <a:gd name="T10" fmla="*/ 7 w 11"/>
                  <a:gd name="T11" fmla="*/ 2 h 14"/>
                  <a:gd name="T12" fmla="*/ 7 w 11"/>
                  <a:gd name="T13" fmla="*/ 2 h 14"/>
                  <a:gd name="T14" fmla="*/ 6 w 11"/>
                  <a:gd name="T15" fmla="*/ 3 h 14"/>
                  <a:gd name="T16" fmla="*/ 5 w 11"/>
                  <a:gd name="T17" fmla="*/ 6 h 14"/>
                  <a:gd name="T18" fmla="*/ 4 w 11"/>
                  <a:gd name="T19" fmla="*/ 7 h 14"/>
                  <a:gd name="T20" fmla="*/ 2 w 11"/>
                  <a:gd name="T21" fmla="*/ 8 h 14"/>
                  <a:gd name="T22" fmla="*/ 2 w 11"/>
                  <a:gd name="T23" fmla="*/ 11 h 14"/>
                  <a:gd name="T24" fmla="*/ 1 w 11"/>
                  <a:gd name="T25" fmla="*/ 14 h 14"/>
                  <a:gd name="T26" fmla="*/ 7 w 11"/>
                  <a:gd name="T27" fmla="*/ 6 h 14"/>
                  <a:gd name="T28" fmla="*/ 11 w 11"/>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4">
                    <a:moveTo>
                      <a:pt x="11" y="0"/>
                    </a:moveTo>
                    <a:cubicBezTo>
                      <a:pt x="11" y="1"/>
                      <a:pt x="10" y="1"/>
                      <a:pt x="10" y="2"/>
                    </a:cubicBezTo>
                    <a:cubicBezTo>
                      <a:pt x="9" y="2"/>
                      <a:pt x="9" y="2"/>
                      <a:pt x="9" y="3"/>
                    </a:cubicBezTo>
                    <a:cubicBezTo>
                      <a:pt x="9" y="3"/>
                      <a:pt x="9" y="3"/>
                      <a:pt x="9" y="3"/>
                    </a:cubicBezTo>
                    <a:cubicBezTo>
                      <a:pt x="8" y="3"/>
                      <a:pt x="8" y="2"/>
                      <a:pt x="8" y="2"/>
                    </a:cubicBezTo>
                    <a:cubicBezTo>
                      <a:pt x="7" y="2"/>
                      <a:pt x="7" y="2"/>
                      <a:pt x="7" y="2"/>
                    </a:cubicBezTo>
                    <a:cubicBezTo>
                      <a:pt x="7" y="2"/>
                      <a:pt x="7" y="2"/>
                      <a:pt x="7" y="2"/>
                    </a:cubicBezTo>
                    <a:cubicBezTo>
                      <a:pt x="5" y="2"/>
                      <a:pt x="4" y="2"/>
                      <a:pt x="6" y="3"/>
                    </a:cubicBezTo>
                    <a:cubicBezTo>
                      <a:pt x="7" y="5"/>
                      <a:pt x="6" y="5"/>
                      <a:pt x="5" y="6"/>
                    </a:cubicBezTo>
                    <a:cubicBezTo>
                      <a:pt x="5" y="6"/>
                      <a:pt x="4" y="7"/>
                      <a:pt x="4" y="7"/>
                    </a:cubicBezTo>
                    <a:cubicBezTo>
                      <a:pt x="2" y="8"/>
                      <a:pt x="3" y="7"/>
                      <a:pt x="2" y="8"/>
                    </a:cubicBezTo>
                    <a:cubicBezTo>
                      <a:pt x="2" y="9"/>
                      <a:pt x="2" y="10"/>
                      <a:pt x="2" y="11"/>
                    </a:cubicBezTo>
                    <a:cubicBezTo>
                      <a:pt x="1" y="13"/>
                      <a:pt x="0" y="11"/>
                      <a:pt x="1" y="14"/>
                    </a:cubicBezTo>
                    <a:cubicBezTo>
                      <a:pt x="3" y="12"/>
                      <a:pt x="5" y="9"/>
                      <a:pt x="7" y="6"/>
                    </a:cubicBezTo>
                    <a:cubicBezTo>
                      <a:pt x="9" y="4"/>
                      <a:pt x="11"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3" name="Freeform 121">
                <a:extLst>
                  <a:ext uri="{FF2B5EF4-FFF2-40B4-BE49-F238E27FC236}">
                    <a16:creationId xmlns:a16="http://schemas.microsoft.com/office/drawing/2014/main" id="{92DBDE55-3D6E-4A2A-BFAA-37630DD4D6D9}"/>
                  </a:ext>
                </a:extLst>
              </p:cNvPr>
              <p:cNvSpPr>
                <a:spLocks/>
              </p:cNvSpPr>
              <p:nvPr/>
            </p:nvSpPr>
            <p:spPr bwMode="auto">
              <a:xfrm>
                <a:off x="8301" y="2047"/>
                <a:ext cx="7" cy="0"/>
              </a:xfrm>
              <a:custGeom>
                <a:avLst/>
                <a:gdLst>
                  <a:gd name="T0" fmla="*/ 3 w 3"/>
                  <a:gd name="T1" fmla="*/ 0 w 3"/>
                  <a:gd name="T2" fmla="*/ 1 w 3"/>
                  <a:gd name="T3" fmla="*/ 3 w 3"/>
                </a:gdLst>
                <a:ahLst/>
                <a:cxnLst>
                  <a:cxn ang="0">
                    <a:pos x="T0" y="0"/>
                  </a:cxn>
                  <a:cxn ang="0">
                    <a:pos x="T1" y="0"/>
                  </a:cxn>
                  <a:cxn ang="0">
                    <a:pos x="T2" y="0"/>
                  </a:cxn>
                  <a:cxn ang="0">
                    <a:pos x="T3" y="0"/>
                  </a:cxn>
                </a:cxnLst>
                <a:rect l="0" t="0" r="r" b="b"/>
                <a:pathLst>
                  <a:path w="3">
                    <a:moveTo>
                      <a:pt x="3" y="0"/>
                    </a:moveTo>
                    <a:cubicBezTo>
                      <a:pt x="2" y="0"/>
                      <a:pt x="1" y="0"/>
                      <a:pt x="0" y="0"/>
                    </a:cubicBezTo>
                    <a:cubicBezTo>
                      <a:pt x="0" y="0"/>
                      <a:pt x="1" y="0"/>
                      <a:pt x="1" y="0"/>
                    </a:cubicBezTo>
                    <a:cubicBezTo>
                      <a:pt x="1" y="0"/>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4" name="Freeform 122">
                <a:extLst>
                  <a:ext uri="{FF2B5EF4-FFF2-40B4-BE49-F238E27FC236}">
                    <a16:creationId xmlns:a16="http://schemas.microsoft.com/office/drawing/2014/main" id="{FB019333-DDAA-4219-B863-ABBCC96D616D}"/>
                  </a:ext>
                </a:extLst>
              </p:cNvPr>
              <p:cNvSpPr>
                <a:spLocks/>
              </p:cNvSpPr>
              <p:nvPr/>
            </p:nvSpPr>
            <p:spPr bwMode="auto">
              <a:xfrm>
                <a:off x="8866" y="1124"/>
                <a:ext cx="10" cy="8"/>
              </a:xfrm>
              <a:custGeom>
                <a:avLst/>
                <a:gdLst>
                  <a:gd name="T0" fmla="*/ 1 w 4"/>
                  <a:gd name="T1" fmla="*/ 0 h 3"/>
                  <a:gd name="T2" fmla="*/ 3 w 4"/>
                  <a:gd name="T3" fmla="*/ 3 h 3"/>
                  <a:gd name="T4" fmla="*/ 1 w 4"/>
                  <a:gd name="T5" fmla="*/ 0 h 3"/>
                </a:gdLst>
                <a:ahLst/>
                <a:cxnLst>
                  <a:cxn ang="0">
                    <a:pos x="T0" y="T1"/>
                  </a:cxn>
                  <a:cxn ang="0">
                    <a:pos x="T2" y="T3"/>
                  </a:cxn>
                  <a:cxn ang="0">
                    <a:pos x="T4" y="T5"/>
                  </a:cxn>
                </a:cxnLst>
                <a:rect l="0" t="0" r="r" b="b"/>
                <a:pathLst>
                  <a:path w="4" h="3">
                    <a:moveTo>
                      <a:pt x="1" y="0"/>
                    </a:moveTo>
                    <a:cubicBezTo>
                      <a:pt x="0" y="2"/>
                      <a:pt x="2" y="3"/>
                      <a:pt x="3" y="3"/>
                    </a:cubicBezTo>
                    <a:cubicBezTo>
                      <a:pt x="4" y="3"/>
                      <a:pt x="4"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5" name="Freeform 123">
                <a:extLst>
                  <a:ext uri="{FF2B5EF4-FFF2-40B4-BE49-F238E27FC236}">
                    <a16:creationId xmlns:a16="http://schemas.microsoft.com/office/drawing/2014/main" id="{746B8E7D-8B0C-41B8-8638-362B75EF879E}"/>
                  </a:ext>
                </a:extLst>
              </p:cNvPr>
              <p:cNvSpPr>
                <a:spLocks/>
              </p:cNvSpPr>
              <p:nvPr/>
            </p:nvSpPr>
            <p:spPr bwMode="auto">
              <a:xfrm>
                <a:off x="8736" y="1500"/>
                <a:ext cx="14" cy="24"/>
              </a:xfrm>
              <a:custGeom>
                <a:avLst/>
                <a:gdLst>
                  <a:gd name="T0" fmla="*/ 6 w 6"/>
                  <a:gd name="T1" fmla="*/ 0 h 10"/>
                  <a:gd name="T2" fmla="*/ 0 w 6"/>
                  <a:gd name="T3" fmla="*/ 5 h 10"/>
                  <a:gd name="T4" fmla="*/ 0 w 6"/>
                  <a:gd name="T5" fmla="*/ 10 h 10"/>
                  <a:gd name="T6" fmla="*/ 1 w 6"/>
                  <a:gd name="T7" fmla="*/ 10 h 10"/>
                  <a:gd name="T8" fmla="*/ 6 w 6"/>
                  <a:gd name="T9" fmla="*/ 0 h 10"/>
                </a:gdLst>
                <a:ahLst/>
                <a:cxnLst>
                  <a:cxn ang="0">
                    <a:pos x="T0" y="T1"/>
                  </a:cxn>
                  <a:cxn ang="0">
                    <a:pos x="T2" y="T3"/>
                  </a:cxn>
                  <a:cxn ang="0">
                    <a:pos x="T4" y="T5"/>
                  </a:cxn>
                  <a:cxn ang="0">
                    <a:pos x="T6" y="T7"/>
                  </a:cxn>
                  <a:cxn ang="0">
                    <a:pos x="T8" y="T9"/>
                  </a:cxn>
                </a:cxnLst>
                <a:rect l="0" t="0" r="r" b="b"/>
                <a:pathLst>
                  <a:path w="6" h="10">
                    <a:moveTo>
                      <a:pt x="6" y="0"/>
                    </a:moveTo>
                    <a:cubicBezTo>
                      <a:pt x="4" y="1"/>
                      <a:pt x="0" y="3"/>
                      <a:pt x="0" y="5"/>
                    </a:cubicBezTo>
                    <a:cubicBezTo>
                      <a:pt x="0" y="8"/>
                      <a:pt x="3" y="9"/>
                      <a:pt x="0" y="10"/>
                    </a:cubicBezTo>
                    <a:cubicBezTo>
                      <a:pt x="0" y="10"/>
                      <a:pt x="1" y="10"/>
                      <a:pt x="1" y="10"/>
                    </a:cubicBezTo>
                    <a:cubicBezTo>
                      <a:pt x="6" y="10"/>
                      <a:pt x="6"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6" name="Freeform 124">
                <a:extLst>
                  <a:ext uri="{FF2B5EF4-FFF2-40B4-BE49-F238E27FC236}">
                    <a16:creationId xmlns:a16="http://schemas.microsoft.com/office/drawing/2014/main" id="{60EF5794-5A28-4988-A13F-BA00BF24FE67}"/>
                  </a:ext>
                </a:extLst>
              </p:cNvPr>
              <p:cNvSpPr>
                <a:spLocks/>
              </p:cNvSpPr>
              <p:nvPr/>
            </p:nvSpPr>
            <p:spPr bwMode="auto">
              <a:xfrm>
                <a:off x="8082" y="2191"/>
                <a:ext cx="11" cy="7"/>
              </a:xfrm>
              <a:custGeom>
                <a:avLst/>
                <a:gdLst>
                  <a:gd name="T0" fmla="*/ 2 w 5"/>
                  <a:gd name="T1" fmla="*/ 0 h 3"/>
                  <a:gd name="T2" fmla="*/ 0 w 5"/>
                  <a:gd name="T3" fmla="*/ 3 h 3"/>
                  <a:gd name="T4" fmla="*/ 3 w 5"/>
                  <a:gd name="T5" fmla="*/ 3 h 3"/>
                  <a:gd name="T6" fmla="*/ 3 w 5"/>
                  <a:gd name="T7" fmla="*/ 3 h 3"/>
                  <a:gd name="T8" fmla="*/ 2 w 5"/>
                  <a:gd name="T9" fmla="*/ 0 h 3"/>
                </a:gdLst>
                <a:ahLst/>
                <a:cxnLst>
                  <a:cxn ang="0">
                    <a:pos x="T0" y="T1"/>
                  </a:cxn>
                  <a:cxn ang="0">
                    <a:pos x="T2" y="T3"/>
                  </a:cxn>
                  <a:cxn ang="0">
                    <a:pos x="T4" y="T5"/>
                  </a:cxn>
                  <a:cxn ang="0">
                    <a:pos x="T6" y="T7"/>
                  </a:cxn>
                  <a:cxn ang="0">
                    <a:pos x="T8" y="T9"/>
                  </a:cxn>
                </a:cxnLst>
                <a:rect l="0" t="0" r="r" b="b"/>
                <a:pathLst>
                  <a:path w="5" h="3">
                    <a:moveTo>
                      <a:pt x="2" y="0"/>
                    </a:moveTo>
                    <a:cubicBezTo>
                      <a:pt x="2" y="2"/>
                      <a:pt x="1" y="2"/>
                      <a:pt x="0" y="3"/>
                    </a:cubicBezTo>
                    <a:cubicBezTo>
                      <a:pt x="0" y="3"/>
                      <a:pt x="2" y="3"/>
                      <a:pt x="3" y="3"/>
                    </a:cubicBezTo>
                    <a:cubicBezTo>
                      <a:pt x="3" y="3"/>
                      <a:pt x="3" y="3"/>
                      <a:pt x="3" y="3"/>
                    </a:cubicBezTo>
                    <a:cubicBezTo>
                      <a:pt x="5" y="3"/>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7" name="Freeform 125">
                <a:extLst>
                  <a:ext uri="{FF2B5EF4-FFF2-40B4-BE49-F238E27FC236}">
                    <a16:creationId xmlns:a16="http://schemas.microsoft.com/office/drawing/2014/main" id="{85C6D77E-5278-4D7F-96B1-4D808D53EB46}"/>
                  </a:ext>
                </a:extLst>
              </p:cNvPr>
              <p:cNvSpPr>
                <a:spLocks/>
              </p:cNvSpPr>
              <p:nvPr/>
            </p:nvSpPr>
            <p:spPr bwMode="auto">
              <a:xfrm>
                <a:off x="8788" y="1290"/>
                <a:ext cx="10" cy="9"/>
              </a:xfrm>
              <a:custGeom>
                <a:avLst/>
                <a:gdLst>
                  <a:gd name="T0" fmla="*/ 3 w 4"/>
                  <a:gd name="T1" fmla="*/ 0 h 4"/>
                  <a:gd name="T2" fmla="*/ 2 w 4"/>
                  <a:gd name="T3" fmla="*/ 0 h 4"/>
                  <a:gd name="T4" fmla="*/ 2 w 4"/>
                  <a:gd name="T5" fmla="*/ 0 h 4"/>
                  <a:gd name="T6" fmla="*/ 1 w 4"/>
                  <a:gd name="T7" fmla="*/ 4 h 4"/>
                  <a:gd name="T8" fmla="*/ 1 w 4"/>
                  <a:gd name="T9" fmla="*/ 4 h 4"/>
                  <a:gd name="T10" fmla="*/ 3 w 4"/>
                  <a:gd name="T11" fmla="*/ 2 h 4"/>
                  <a:gd name="T12" fmla="*/ 3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0"/>
                    </a:moveTo>
                    <a:cubicBezTo>
                      <a:pt x="2" y="0"/>
                      <a:pt x="2" y="0"/>
                      <a:pt x="2" y="0"/>
                    </a:cubicBezTo>
                    <a:cubicBezTo>
                      <a:pt x="2" y="0"/>
                      <a:pt x="2" y="0"/>
                      <a:pt x="2" y="0"/>
                    </a:cubicBezTo>
                    <a:cubicBezTo>
                      <a:pt x="2" y="0"/>
                      <a:pt x="0" y="4"/>
                      <a:pt x="1" y="4"/>
                    </a:cubicBezTo>
                    <a:cubicBezTo>
                      <a:pt x="1" y="4"/>
                      <a:pt x="1" y="4"/>
                      <a:pt x="1" y="4"/>
                    </a:cubicBezTo>
                    <a:cubicBezTo>
                      <a:pt x="2" y="4"/>
                      <a:pt x="2" y="3"/>
                      <a:pt x="3" y="2"/>
                    </a:cubicBezTo>
                    <a:cubicBezTo>
                      <a:pt x="3"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8" name="Freeform 126">
                <a:extLst>
                  <a:ext uri="{FF2B5EF4-FFF2-40B4-BE49-F238E27FC236}">
                    <a16:creationId xmlns:a16="http://schemas.microsoft.com/office/drawing/2014/main" id="{77A527B7-9CD1-4098-996B-AC22264A81B2}"/>
                  </a:ext>
                </a:extLst>
              </p:cNvPr>
              <p:cNvSpPr>
                <a:spLocks/>
              </p:cNvSpPr>
              <p:nvPr/>
            </p:nvSpPr>
            <p:spPr bwMode="auto">
              <a:xfrm>
                <a:off x="8365" y="1794"/>
                <a:ext cx="10" cy="18"/>
              </a:xfrm>
              <a:custGeom>
                <a:avLst/>
                <a:gdLst>
                  <a:gd name="T0" fmla="*/ 1 w 4"/>
                  <a:gd name="T1" fmla="*/ 0 h 8"/>
                  <a:gd name="T2" fmla="*/ 0 w 4"/>
                  <a:gd name="T3" fmla="*/ 8 h 8"/>
                  <a:gd name="T4" fmla="*/ 4 w 4"/>
                  <a:gd name="T5" fmla="*/ 4 h 8"/>
                  <a:gd name="T6" fmla="*/ 4 w 4"/>
                  <a:gd name="T7" fmla="*/ 1 h 8"/>
                  <a:gd name="T8" fmla="*/ 3 w 4"/>
                  <a:gd name="T9" fmla="*/ 0 h 8"/>
                  <a:gd name="T10" fmla="*/ 2 w 4"/>
                  <a:gd name="T11" fmla="*/ 0 h 8"/>
                  <a:gd name="T12" fmla="*/ 2 w 4"/>
                  <a:gd name="T13" fmla="*/ 1 h 8"/>
                  <a:gd name="T14" fmla="*/ 1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1" y="0"/>
                    </a:moveTo>
                    <a:cubicBezTo>
                      <a:pt x="0" y="3"/>
                      <a:pt x="1" y="5"/>
                      <a:pt x="0" y="8"/>
                    </a:cubicBezTo>
                    <a:cubicBezTo>
                      <a:pt x="2" y="7"/>
                      <a:pt x="4" y="5"/>
                      <a:pt x="4" y="4"/>
                    </a:cubicBezTo>
                    <a:cubicBezTo>
                      <a:pt x="4" y="1"/>
                      <a:pt x="4" y="1"/>
                      <a:pt x="4" y="1"/>
                    </a:cubicBezTo>
                    <a:cubicBezTo>
                      <a:pt x="4" y="1"/>
                      <a:pt x="3" y="0"/>
                      <a:pt x="3" y="0"/>
                    </a:cubicBezTo>
                    <a:cubicBezTo>
                      <a:pt x="3" y="0"/>
                      <a:pt x="2" y="0"/>
                      <a:pt x="2" y="0"/>
                    </a:cubicBezTo>
                    <a:cubicBezTo>
                      <a:pt x="2" y="1"/>
                      <a:pt x="2" y="1"/>
                      <a:pt x="2" y="1"/>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9" name="Freeform 127">
                <a:extLst>
                  <a:ext uri="{FF2B5EF4-FFF2-40B4-BE49-F238E27FC236}">
                    <a16:creationId xmlns:a16="http://schemas.microsoft.com/office/drawing/2014/main" id="{CAEA012C-F8E6-433B-A50F-E6D4452247FE}"/>
                  </a:ext>
                </a:extLst>
              </p:cNvPr>
              <p:cNvSpPr>
                <a:spLocks/>
              </p:cNvSpPr>
              <p:nvPr/>
            </p:nvSpPr>
            <p:spPr bwMode="auto">
              <a:xfrm>
                <a:off x="8101" y="2184"/>
                <a:ext cx="9" cy="12"/>
              </a:xfrm>
              <a:custGeom>
                <a:avLst/>
                <a:gdLst>
                  <a:gd name="T0" fmla="*/ 4 w 4"/>
                  <a:gd name="T1" fmla="*/ 0 h 5"/>
                  <a:gd name="T2" fmla="*/ 0 w 4"/>
                  <a:gd name="T3" fmla="*/ 3 h 5"/>
                  <a:gd name="T4" fmla="*/ 1 w 4"/>
                  <a:gd name="T5" fmla="*/ 5 h 5"/>
                  <a:gd name="T6" fmla="*/ 3 w 4"/>
                  <a:gd name="T7" fmla="*/ 3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cubicBezTo>
                      <a:pt x="3" y="1"/>
                      <a:pt x="1" y="2"/>
                      <a:pt x="0" y="3"/>
                    </a:cubicBezTo>
                    <a:cubicBezTo>
                      <a:pt x="0" y="4"/>
                      <a:pt x="1" y="5"/>
                      <a:pt x="1" y="5"/>
                    </a:cubicBezTo>
                    <a:cubicBezTo>
                      <a:pt x="2" y="5"/>
                      <a:pt x="3" y="4"/>
                      <a:pt x="3" y="3"/>
                    </a:cubicBezTo>
                    <a:cubicBezTo>
                      <a:pt x="3"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0" name="Freeform 128">
                <a:extLst>
                  <a:ext uri="{FF2B5EF4-FFF2-40B4-BE49-F238E27FC236}">
                    <a16:creationId xmlns:a16="http://schemas.microsoft.com/office/drawing/2014/main" id="{737835BA-7D89-4D1C-919C-EC7030745E88}"/>
                  </a:ext>
                </a:extLst>
              </p:cNvPr>
              <p:cNvSpPr>
                <a:spLocks/>
              </p:cNvSpPr>
              <p:nvPr/>
            </p:nvSpPr>
            <p:spPr bwMode="auto">
              <a:xfrm>
                <a:off x="8382" y="1898"/>
                <a:ext cx="19" cy="11"/>
              </a:xfrm>
              <a:custGeom>
                <a:avLst/>
                <a:gdLst>
                  <a:gd name="T0" fmla="*/ 3 w 8"/>
                  <a:gd name="T1" fmla="*/ 0 h 5"/>
                  <a:gd name="T2" fmla="*/ 1 w 8"/>
                  <a:gd name="T3" fmla="*/ 3 h 5"/>
                  <a:gd name="T4" fmla="*/ 4 w 8"/>
                  <a:gd name="T5" fmla="*/ 5 h 5"/>
                  <a:gd name="T6" fmla="*/ 4 w 8"/>
                  <a:gd name="T7" fmla="*/ 5 h 5"/>
                  <a:gd name="T8" fmla="*/ 3 w 8"/>
                  <a:gd name="T9" fmla="*/ 0 h 5"/>
                </a:gdLst>
                <a:ahLst/>
                <a:cxnLst>
                  <a:cxn ang="0">
                    <a:pos x="T0" y="T1"/>
                  </a:cxn>
                  <a:cxn ang="0">
                    <a:pos x="T2" y="T3"/>
                  </a:cxn>
                  <a:cxn ang="0">
                    <a:pos x="T4" y="T5"/>
                  </a:cxn>
                  <a:cxn ang="0">
                    <a:pos x="T6" y="T7"/>
                  </a:cxn>
                  <a:cxn ang="0">
                    <a:pos x="T8" y="T9"/>
                  </a:cxn>
                </a:cxnLst>
                <a:rect l="0" t="0" r="r" b="b"/>
                <a:pathLst>
                  <a:path w="8" h="5">
                    <a:moveTo>
                      <a:pt x="3" y="0"/>
                    </a:moveTo>
                    <a:cubicBezTo>
                      <a:pt x="1" y="1"/>
                      <a:pt x="0" y="1"/>
                      <a:pt x="1" y="3"/>
                    </a:cubicBezTo>
                    <a:cubicBezTo>
                      <a:pt x="2" y="4"/>
                      <a:pt x="3" y="5"/>
                      <a:pt x="4" y="5"/>
                    </a:cubicBezTo>
                    <a:cubicBezTo>
                      <a:pt x="4" y="5"/>
                      <a:pt x="4" y="5"/>
                      <a:pt x="4" y="5"/>
                    </a:cubicBezTo>
                    <a:cubicBezTo>
                      <a:pt x="8" y="3"/>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1" name="Freeform 129">
                <a:extLst>
                  <a:ext uri="{FF2B5EF4-FFF2-40B4-BE49-F238E27FC236}">
                    <a16:creationId xmlns:a16="http://schemas.microsoft.com/office/drawing/2014/main" id="{410EC911-EE66-482D-BE7E-92B98369047B}"/>
                  </a:ext>
                </a:extLst>
              </p:cNvPr>
              <p:cNvSpPr>
                <a:spLocks/>
              </p:cNvSpPr>
              <p:nvPr/>
            </p:nvSpPr>
            <p:spPr bwMode="auto">
              <a:xfrm>
                <a:off x="8327" y="1997"/>
                <a:ext cx="22" cy="16"/>
              </a:xfrm>
              <a:custGeom>
                <a:avLst/>
                <a:gdLst>
                  <a:gd name="T0" fmla="*/ 8 w 9"/>
                  <a:gd name="T1" fmla="*/ 0 h 7"/>
                  <a:gd name="T2" fmla="*/ 5 w 9"/>
                  <a:gd name="T3" fmla="*/ 2 h 7"/>
                  <a:gd name="T4" fmla="*/ 0 w 9"/>
                  <a:gd name="T5" fmla="*/ 4 h 7"/>
                  <a:gd name="T6" fmla="*/ 0 w 9"/>
                  <a:gd name="T7" fmla="*/ 4 h 7"/>
                  <a:gd name="T8" fmla="*/ 3 w 9"/>
                  <a:gd name="T9" fmla="*/ 6 h 7"/>
                  <a:gd name="T10" fmla="*/ 4 w 9"/>
                  <a:gd name="T11" fmla="*/ 7 h 7"/>
                  <a:gd name="T12" fmla="*/ 4 w 9"/>
                  <a:gd name="T13" fmla="*/ 7 h 7"/>
                  <a:gd name="T14" fmla="*/ 9 w 9"/>
                  <a:gd name="T15" fmla="*/ 0 h 7"/>
                  <a:gd name="T16" fmla="*/ 8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8" y="0"/>
                    </a:moveTo>
                    <a:cubicBezTo>
                      <a:pt x="7" y="0"/>
                      <a:pt x="6" y="1"/>
                      <a:pt x="5" y="2"/>
                    </a:cubicBezTo>
                    <a:cubicBezTo>
                      <a:pt x="3" y="2"/>
                      <a:pt x="2" y="4"/>
                      <a:pt x="0" y="4"/>
                    </a:cubicBezTo>
                    <a:cubicBezTo>
                      <a:pt x="0" y="4"/>
                      <a:pt x="0" y="4"/>
                      <a:pt x="0" y="4"/>
                    </a:cubicBezTo>
                    <a:cubicBezTo>
                      <a:pt x="1" y="4"/>
                      <a:pt x="2" y="5"/>
                      <a:pt x="3" y="6"/>
                    </a:cubicBezTo>
                    <a:cubicBezTo>
                      <a:pt x="3" y="6"/>
                      <a:pt x="3" y="6"/>
                      <a:pt x="4" y="7"/>
                    </a:cubicBezTo>
                    <a:cubicBezTo>
                      <a:pt x="4" y="7"/>
                      <a:pt x="4" y="7"/>
                      <a:pt x="4" y="7"/>
                    </a:cubicBezTo>
                    <a:cubicBezTo>
                      <a:pt x="6" y="7"/>
                      <a:pt x="8" y="2"/>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2" name="Freeform 130">
                <a:extLst>
                  <a:ext uri="{FF2B5EF4-FFF2-40B4-BE49-F238E27FC236}">
                    <a16:creationId xmlns:a16="http://schemas.microsoft.com/office/drawing/2014/main" id="{5A577491-ED72-4353-80E9-FCB5366F7EC2}"/>
                  </a:ext>
                </a:extLst>
              </p:cNvPr>
              <p:cNvSpPr>
                <a:spLocks/>
              </p:cNvSpPr>
              <p:nvPr/>
            </p:nvSpPr>
            <p:spPr bwMode="auto">
              <a:xfrm>
                <a:off x="6477" y="2311"/>
                <a:ext cx="5" cy="12"/>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0" y="3"/>
                      <a:pt x="0" y="5"/>
                    </a:cubicBezTo>
                    <a:cubicBezTo>
                      <a:pt x="1" y="4"/>
                      <a:pt x="1"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3" name="Freeform 131">
                <a:extLst>
                  <a:ext uri="{FF2B5EF4-FFF2-40B4-BE49-F238E27FC236}">
                    <a16:creationId xmlns:a16="http://schemas.microsoft.com/office/drawing/2014/main" id="{CC709427-77E8-4D89-B1AB-484C877A7A3F}"/>
                  </a:ext>
                </a:extLst>
              </p:cNvPr>
              <p:cNvSpPr>
                <a:spLocks/>
              </p:cNvSpPr>
              <p:nvPr/>
            </p:nvSpPr>
            <p:spPr bwMode="auto">
              <a:xfrm>
                <a:off x="6099" y="2848"/>
                <a:ext cx="5" cy="2"/>
              </a:xfrm>
              <a:custGeom>
                <a:avLst/>
                <a:gdLst>
                  <a:gd name="T0" fmla="*/ 0 w 2"/>
                  <a:gd name="T1" fmla="*/ 0 h 1"/>
                  <a:gd name="T2" fmla="*/ 0 w 2"/>
                  <a:gd name="T3" fmla="*/ 0 h 1"/>
                  <a:gd name="T4" fmla="*/ 2 w 2"/>
                  <a:gd name="T5" fmla="*/ 1 h 1"/>
                  <a:gd name="T6" fmla="*/ 0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0"/>
                      <a:pt x="0" y="0"/>
                      <a:pt x="0" y="0"/>
                    </a:cubicBezTo>
                    <a:cubicBezTo>
                      <a:pt x="0" y="0"/>
                      <a:pt x="1" y="0"/>
                      <a:pt x="2" y="1"/>
                    </a:cubicBezTo>
                    <a:cubicBezTo>
                      <a:pt x="1"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4" name="Freeform 132">
                <a:extLst>
                  <a:ext uri="{FF2B5EF4-FFF2-40B4-BE49-F238E27FC236}">
                    <a16:creationId xmlns:a16="http://schemas.microsoft.com/office/drawing/2014/main" id="{E77544EC-D9E9-49C6-9E5A-B9C36A526B50}"/>
                  </a:ext>
                </a:extLst>
              </p:cNvPr>
              <p:cNvSpPr>
                <a:spLocks/>
              </p:cNvSpPr>
              <p:nvPr/>
            </p:nvSpPr>
            <p:spPr bwMode="auto">
              <a:xfrm>
                <a:off x="6479" y="2309"/>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5" name="Freeform 133">
                <a:extLst>
                  <a:ext uri="{FF2B5EF4-FFF2-40B4-BE49-F238E27FC236}">
                    <a16:creationId xmlns:a16="http://schemas.microsoft.com/office/drawing/2014/main" id="{0A2CE983-CEB1-4B9C-AD8B-4CB1B794B129}"/>
                  </a:ext>
                </a:extLst>
              </p:cNvPr>
              <p:cNvSpPr>
                <a:spLocks/>
              </p:cNvSpPr>
              <p:nvPr/>
            </p:nvSpPr>
            <p:spPr bwMode="auto">
              <a:xfrm>
                <a:off x="6791" y="3054"/>
                <a:ext cx="5" cy="2"/>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0"/>
                      <a:pt x="0" y="0"/>
                    </a:cubicBezTo>
                    <a:cubicBezTo>
                      <a:pt x="0" y="1"/>
                      <a:pt x="1"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6" name="Freeform 134">
                <a:extLst>
                  <a:ext uri="{FF2B5EF4-FFF2-40B4-BE49-F238E27FC236}">
                    <a16:creationId xmlns:a16="http://schemas.microsoft.com/office/drawing/2014/main" id="{38CEC367-8D27-47B5-9187-72C88A6864EA}"/>
                  </a:ext>
                </a:extLst>
              </p:cNvPr>
              <p:cNvSpPr>
                <a:spLocks/>
              </p:cNvSpPr>
              <p:nvPr/>
            </p:nvSpPr>
            <p:spPr bwMode="auto">
              <a:xfrm>
                <a:off x="7214" y="3307"/>
                <a:ext cx="3" cy="4"/>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1" y="2"/>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7" name="Freeform 135">
                <a:extLst>
                  <a:ext uri="{FF2B5EF4-FFF2-40B4-BE49-F238E27FC236}">
                    <a16:creationId xmlns:a16="http://schemas.microsoft.com/office/drawing/2014/main" id="{ED577EA8-1F1B-402F-BA7B-3AB3EF1F1A94}"/>
                  </a:ext>
                </a:extLst>
              </p:cNvPr>
              <p:cNvSpPr>
                <a:spLocks/>
              </p:cNvSpPr>
              <p:nvPr/>
            </p:nvSpPr>
            <p:spPr bwMode="auto">
              <a:xfrm>
                <a:off x="8377" y="3314"/>
                <a:ext cx="52" cy="19"/>
              </a:xfrm>
              <a:custGeom>
                <a:avLst/>
                <a:gdLst>
                  <a:gd name="T0" fmla="*/ 11 w 22"/>
                  <a:gd name="T1" fmla="*/ 0 h 8"/>
                  <a:gd name="T2" fmla="*/ 0 w 22"/>
                  <a:gd name="T3" fmla="*/ 4 h 8"/>
                  <a:gd name="T4" fmla="*/ 3 w 22"/>
                  <a:gd name="T5" fmla="*/ 5 h 8"/>
                  <a:gd name="T6" fmla="*/ 5 w 22"/>
                  <a:gd name="T7" fmla="*/ 5 h 8"/>
                  <a:gd name="T8" fmla="*/ 6 w 22"/>
                  <a:gd name="T9" fmla="*/ 8 h 8"/>
                  <a:gd name="T10" fmla="*/ 7 w 22"/>
                  <a:gd name="T11" fmla="*/ 6 h 8"/>
                  <a:gd name="T12" fmla="*/ 7 w 22"/>
                  <a:gd name="T13" fmla="*/ 6 h 8"/>
                  <a:gd name="T14" fmla="*/ 10 w 22"/>
                  <a:gd name="T15" fmla="*/ 8 h 8"/>
                  <a:gd name="T16" fmla="*/ 10 w 22"/>
                  <a:gd name="T17" fmla="*/ 8 h 8"/>
                  <a:gd name="T18" fmla="*/ 13 w 22"/>
                  <a:gd name="T19" fmla="*/ 6 h 8"/>
                  <a:gd name="T20" fmla="*/ 14 w 22"/>
                  <a:gd name="T21" fmla="*/ 7 h 8"/>
                  <a:gd name="T22" fmla="*/ 15 w 22"/>
                  <a:gd name="T23" fmla="*/ 6 h 8"/>
                  <a:gd name="T24" fmla="*/ 16 w 22"/>
                  <a:gd name="T25" fmla="*/ 6 h 8"/>
                  <a:gd name="T26" fmla="*/ 16 w 22"/>
                  <a:gd name="T27" fmla="*/ 6 h 8"/>
                  <a:gd name="T28" fmla="*/ 19 w 22"/>
                  <a:gd name="T29" fmla="*/ 7 h 8"/>
                  <a:gd name="T30" fmla="*/ 19 w 22"/>
                  <a:gd name="T31" fmla="*/ 7 h 8"/>
                  <a:gd name="T32" fmla="*/ 20 w 22"/>
                  <a:gd name="T33" fmla="*/ 3 h 8"/>
                  <a:gd name="T34" fmla="*/ 16 w 22"/>
                  <a:gd name="T35" fmla="*/ 1 h 8"/>
                  <a:gd name="T36" fmla="*/ 15 w 22"/>
                  <a:gd name="T37" fmla="*/ 1 h 8"/>
                  <a:gd name="T38" fmla="*/ 11 w 22"/>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8">
                    <a:moveTo>
                      <a:pt x="11" y="0"/>
                    </a:moveTo>
                    <a:cubicBezTo>
                      <a:pt x="7" y="1"/>
                      <a:pt x="3" y="2"/>
                      <a:pt x="0" y="4"/>
                    </a:cubicBezTo>
                    <a:cubicBezTo>
                      <a:pt x="1" y="4"/>
                      <a:pt x="2" y="5"/>
                      <a:pt x="3" y="5"/>
                    </a:cubicBezTo>
                    <a:cubicBezTo>
                      <a:pt x="5" y="5"/>
                      <a:pt x="5" y="5"/>
                      <a:pt x="5" y="5"/>
                    </a:cubicBezTo>
                    <a:cubicBezTo>
                      <a:pt x="6" y="5"/>
                      <a:pt x="5" y="7"/>
                      <a:pt x="6" y="8"/>
                    </a:cubicBezTo>
                    <a:cubicBezTo>
                      <a:pt x="6" y="7"/>
                      <a:pt x="6" y="6"/>
                      <a:pt x="7" y="6"/>
                    </a:cubicBezTo>
                    <a:cubicBezTo>
                      <a:pt x="7" y="6"/>
                      <a:pt x="7" y="6"/>
                      <a:pt x="7" y="6"/>
                    </a:cubicBezTo>
                    <a:cubicBezTo>
                      <a:pt x="9" y="6"/>
                      <a:pt x="9" y="8"/>
                      <a:pt x="10" y="8"/>
                    </a:cubicBezTo>
                    <a:cubicBezTo>
                      <a:pt x="10" y="8"/>
                      <a:pt x="10" y="8"/>
                      <a:pt x="10" y="8"/>
                    </a:cubicBezTo>
                    <a:cubicBezTo>
                      <a:pt x="12" y="8"/>
                      <a:pt x="14" y="7"/>
                      <a:pt x="13" y="6"/>
                    </a:cubicBezTo>
                    <a:cubicBezTo>
                      <a:pt x="13" y="6"/>
                      <a:pt x="14" y="7"/>
                      <a:pt x="14" y="7"/>
                    </a:cubicBezTo>
                    <a:cubicBezTo>
                      <a:pt x="14" y="7"/>
                      <a:pt x="15" y="7"/>
                      <a:pt x="15" y="6"/>
                    </a:cubicBezTo>
                    <a:cubicBezTo>
                      <a:pt x="15" y="6"/>
                      <a:pt x="15" y="6"/>
                      <a:pt x="16" y="6"/>
                    </a:cubicBezTo>
                    <a:cubicBezTo>
                      <a:pt x="16" y="6"/>
                      <a:pt x="16" y="6"/>
                      <a:pt x="16" y="6"/>
                    </a:cubicBezTo>
                    <a:cubicBezTo>
                      <a:pt x="16" y="6"/>
                      <a:pt x="18" y="7"/>
                      <a:pt x="19" y="7"/>
                    </a:cubicBezTo>
                    <a:cubicBezTo>
                      <a:pt x="19" y="7"/>
                      <a:pt x="19" y="7"/>
                      <a:pt x="19" y="7"/>
                    </a:cubicBezTo>
                    <a:cubicBezTo>
                      <a:pt x="22" y="7"/>
                      <a:pt x="21" y="4"/>
                      <a:pt x="20" y="3"/>
                    </a:cubicBezTo>
                    <a:cubicBezTo>
                      <a:pt x="19" y="2"/>
                      <a:pt x="17" y="1"/>
                      <a:pt x="16" y="1"/>
                    </a:cubicBezTo>
                    <a:cubicBezTo>
                      <a:pt x="15" y="1"/>
                      <a:pt x="15" y="1"/>
                      <a:pt x="15" y="1"/>
                    </a:cubicBezTo>
                    <a:cubicBezTo>
                      <a:pt x="14"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8" name="Freeform 136">
                <a:extLst>
                  <a:ext uri="{FF2B5EF4-FFF2-40B4-BE49-F238E27FC236}">
                    <a16:creationId xmlns:a16="http://schemas.microsoft.com/office/drawing/2014/main" id="{EED33BD9-5DB9-4117-9DD9-B39CDCDD76FF}"/>
                  </a:ext>
                </a:extLst>
              </p:cNvPr>
              <p:cNvSpPr>
                <a:spLocks/>
              </p:cNvSpPr>
              <p:nvPr/>
            </p:nvSpPr>
            <p:spPr bwMode="auto">
              <a:xfrm>
                <a:off x="7207" y="3328"/>
                <a:ext cx="17" cy="14"/>
              </a:xfrm>
              <a:custGeom>
                <a:avLst/>
                <a:gdLst>
                  <a:gd name="T0" fmla="*/ 4 w 7"/>
                  <a:gd name="T1" fmla="*/ 0 h 6"/>
                  <a:gd name="T2" fmla="*/ 2 w 7"/>
                  <a:gd name="T3" fmla="*/ 2 h 6"/>
                  <a:gd name="T4" fmla="*/ 1 w 7"/>
                  <a:gd name="T5" fmla="*/ 1 h 6"/>
                  <a:gd name="T6" fmla="*/ 0 w 7"/>
                  <a:gd name="T7" fmla="*/ 2 h 6"/>
                  <a:gd name="T8" fmla="*/ 2 w 7"/>
                  <a:gd name="T9" fmla="*/ 5 h 6"/>
                  <a:gd name="T10" fmla="*/ 2 w 7"/>
                  <a:gd name="T11" fmla="*/ 6 h 6"/>
                  <a:gd name="T12" fmla="*/ 2 w 7"/>
                  <a:gd name="T13" fmla="*/ 6 h 6"/>
                  <a:gd name="T14" fmla="*/ 5 w 7"/>
                  <a:gd name="T15" fmla="*/ 5 h 6"/>
                  <a:gd name="T16" fmla="*/ 4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4" y="0"/>
                    </a:moveTo>
                    <a:cubicBezTo>
                      <a:pt x="3" y="1"/>
                      <a:pt x="2" y="1"/>
                      <a:pt x="2" y="2"/>
                    </a:cubicBezTo>
                    <a:cubicBezTo>
                      <a:pt x="1" y="1"/>
                      <a:pt x="1" y="1"/>
                      <a:pt x="1" y="1"/>
                    </a:cubicBezTo>
                    <a:cubicBezTo>
                      <a:pt x="1" y="1"/>
                      <a:pt x="0" y="1"/>
                      <a:pt x="0" y="2"/>
                    </a:cubicBezTo>
                    <a:cubicBezTo>
                      <a:pt x="0" y="3"/>
                      <a:pt x="1" y="5"/>
                      <a:pt x="2" y="5"/>
                    </a:cubicBezTo>
                    <a:cubicBezTo>
                      <a:pt x="2" y="5"/>
                      <a:pt x="1" y="6"/>
                      <a:pt x="2" y="6"/>
                    </a:cubicBezTo>
                    <a:cubicBezTo>
                      <a:pt x="2" y="6"/>
                      <a:pt x="2" y="6"/>
                      <a:pt x="2" y="6"/>
                    </a:cubicBezTo>
                    <a:cubicBezTo>
                      <a:pt x="3" y="6"/>
                      <a:pt x="4" y="6"/>
                      <a:pt x="5" y="5"/>
                    </a:cubicBezTo>
                    <a:cubicBezTo>
                      <a:pt x="7" y="4"/>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9" name="Freeform 137">
                <a:extLst>
                  <a:ext uri="{FF2B5EF4-FFF2-40B4-BE49-F238E27FC236}">
                    <a16:creationId xmlns:a16="http://schemas.microsoft.com/office/drawing/2014/main" id="{AA94052E-50D0-40E9-899A-86A8E517D642}"/>
                  </a:ext>
                </a:extLst>
              </p:cNvPr>
              <p:cNvSpPr>
                <a:spLocks/>
              </p:cNvSpPr>
              <p:nvPr/>
            </p:nvSpPr>
            <p:spPr bwMode="auto">
              <a:xfrm>
                <a:off x="7110" y="3250"/>
                <a:ext cx="19" cy="21"/>
              </a:xfrm>
              <a:custGeom>
                <a:avLst/>
                <a:gdLst>
                  <a:gd name="T0" fmla="*/ 3 w 8"/>
                  <a:gd name="T1" fmla="*/ 0 h 9"/>
                  <a:gd name="T2" fmla="*/ 5 w 8"/>
                  <a:gd name="T3" fmla="*/ 9 h 9"/>
                  <a:gd name="T4" fmla="*/ 5 w 8"/>
                  <a:gd name="T5" fmla="*/ 2 h 9"/>
                  <a:gd name="T6" fmla="*/ 3 w 8"/>
                  <a:gd name="T7" fmla="*/ 0 h 9"/>
                </a:gdLst>
                <a:ahLst/>
                <a:cxnLst>
                  <a:cxn ang="0">
                    <a:pos x="T0" y="T1"/>
                  </a:cxn>
                  <a:cxn ang="0">
                    <a:pos x="T2" y="T3"/>
                  </a:cxn>
                  <a:cxn ang="0">
                    <a:pos x="T4" y="T5"/>
                  </a:cxn>
                  <a:cxn ang="0">
                    <a:pos x="T6" y="T7"/>
                  </a:cxn>
                </a:cxnLst>
                <a:rect l="0" t="0" r="r" b="b"/>
                <a:pathLst>
                  <a:path w="8" h="9">
                    <a:moveTo>
                      <a:pt x="3" y="0"/>
                    </a:moveTo>
                    <a:cubicBezTo>
                      <a:pt x="0" y="1"/>
                      <a:pt x="4" y="7"/>
                      <a:pt x="5" y="9"/>
                    </a:cubicBezTo>
                    <a:cubicBezTo>
                      <a:pt x="7" y="6"/>
                      <a:pt x="8" y="4"/>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0" name="Freeform 138">
                <a:extLst>
                  <a:ext uri="{FF2B5EF4-FFF2-40B4-BE49-F238E27FC236}">
                    <a16:creationId xmlns:a16="http://schemas.microsoft.com/office/drawing/2014/main" id="{8F0F19F3-FA77-4D68-B263-5C27C5F7DA11}"/>
                  </a:ext>
                </a:extLst>
              </p:cNvPr>
              <p:cNvSpPr>
                <a:spLocks/>
              </p:cNvSpPr>
              <p:nvPr/>
            </p:nvSpPr>
            <p:spPr bwMode="auto">
              <a:xfrm>
                <a:off x="7808" y="3129"/>
                <a:ext cx="4" cy="5"/>
              </a:xfrm>
              <a:custGeom>
                <a:avLst/>
                <a:gdLst>
                  <a:gd name="T0" fmla="*/ 0 w 2"/>
                  <a:gd name="T1" fmla="*/ 0 h 2"/>
                  <a:gd name="T2" fmla="*/ 1 w 2"/>
                  <a:gd name="T3" fmla="*/ 1 h 2"/>
                  <a:gd name="T4" fmla="*/ 1 w 2"/>
                  <a:gd name="T5" fmla="*/ 1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0"/>
                      <a:pt x="1" y="1"/>
                      <a:pt x="1" y="1"/>
                    </a:cubicBezTo>
                    <a:cubicBezTo>
                      <a:pt x="1" y="1"/>
                      <a:pt x="1" y="1"/>
                      <a:pt x="1" y="1"/>
                    </a:cubicBezTo>
                    <a:cubicBezTo>
                      <a:pt x="1" y="2"/>
                      <a:pt x="2" y="2"/>
                      <a:pt x="2" y="2"/>
                    </a:cubicBezTo>
                    <a:cubicBezTo>
                      <a:pt x="2" y="2"/>
                      <a:pt x="2" y="2"/>
                      <a:pt x="2" y="2"/>
                    </a:cubicBezTo>
                    <a:cubicBezTo>
                      <a:pt x="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1" name="Freeform 139">
                <a:extLst>
                  <a:ext uri="{FF2B5EF4-FFF2-40B4-BE49-F238E27FC236}">
                    <a16:creationId xmlns:a16="http://schemas.microsoft.com/office/drawing/2014/main" id="{DE7B1CC0-9F8E-4365-A0CD-ABEF21EAAAAC}"/>
                  </a:ext>
                </a:extLst>
              </p:cNvPr>
              <p:cNvSpPr>
                <a:spLocks/>
              </p:cNvSpPr>
              <p:nvPr/>
            </p:nvSpPr>
            <p:spPr bwMode="auto">
              <a:xfrm>
                <a:off x="6945" y="3236"/>
                <a:ext cx="7" cy="5"/>
              </a:xfrm>
              <a:custGeom>
                <a:avLst/>
                <a:gdLst>
                  <a:gd name="T0" fmla="*/ 1 w 3"/>
                  <a:gd name="T1" fmla="*/ 0 h 2"/>
                  <a:gd name="T2" fmla="*/ 0 w 3"/>
                  <a:gd name="T3" fmla="*/ 1 h 2"/>
                  <a:gd name="T4" fmla="*/ 3 w 3"/>
                  <a:gd name="T5" fmla="*/ 2 h 2"/>
                  <a:gd name="T6" fmla="*/ 1 w 3"/>
                  <a:gd name="T7" fmla="*/ 0 h 2"/>
                </a:gdLst>
                <a:ahLst/>
                <a:cxnLst>
                  <a:cxn ang="0">
                    <a:pos x="T0" y="T1"/>
                  </a:cxn>
                  <a:cxn ang="0">
                    <a:pos x="T2" y="T3"/>
                  </a:cxn>
                  <a:cxn ang="0">
                    <a:pos x="T4" y="T5"/>
                  </a:cxn>
                  <a:cxn ang="0">
                    <a:pos x="T6" y="T7"/>
                  </a:cxn>
                </a:cxnLst>
                <a:rect l="0" t="0" r="r" b="b"/>
                <a:pathLst>
                  <a:path w="3" h="2">
                    <a:moveTo>
                      <a:pt x="1" y="0"/>
                    </a:moveTo>
                    <a:cubicBezTo>
                      <a:pt x="0" y="0"/>
                      <a:pt x="0" y="0"/>
                      <a:pt x="0" y="1"/>
                    </a:cubicBezTo>
                    <a:cubicBezTo>
                      <a:pt x="1" y="1"/>
                      <a:pt x="2" y="1"/>
                      <a:pt x="3" y="2"/>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2" name="Freeform 140">
                <a:extLst>
                  <a:ext uri="{FF2B5EF4-FFF2-40B4-BE49-F238E27FC236}">
                    <a16:creationId xmlns:a16="http://schemas.microsoft.com/office/drawing/2014/main" id="{A0133189-11E7-4408-8E65-9714C1CCF4EF}"/>
                  </a:ext>
                </a:extLst>
              </p:cNvPr>
              <p:cNvSpPr>
                <a:spLocks/>
              </p:cNvSpPr>
              <p:nvPr/>
            </p:nvSpPr>
            <p:spPr bwMode="auto">
              <a:xfrm>
                <a:off x="7172" y="3323"/>
                <a:ext cx="12" cy="5"/>
              </a:xfrm>
              <a:custGeom>
                <a:avLst/>
                <a:gdLst>
                  <a:gd name="T0" fmla="*/ 2 w 5"/>
                  <a:gd name="T1" fmla="*/ 0 h 2"/>
                  <a:gd name="T2" fmla="*/ 0 w 5"/>
                  <a:gd name="T3" fmla="*/ 2 h 2"/>
                  <a:gd name="T4" fmla="*/ 5 w 5"/>
                  <a:gd name="T5" fmla="*/ 1 h 2"/>
                  <a:gd name="T6" fmla="*/ 2 w 5"/>
                  <a:gd name="T7" fmla="*/ 0 h 2"/>
                </a:gdLst>
                <a:ahLst/>
                <a:cxnLst>
                  <a:cxn ang="0">
                    <a:pos x="T0" y="T1"/>
                  </a:cxn>
                  <a:cxn ang="0">
                    <a:pos x="T2" y="T3"/>
                  </a:cxn>
                  <a:cxn ang="0">
                    <a:pos x="T4" y="T5"/>
                  </a:cxn>
                  <a:cxn ang="0">
                    <a:pos x="T6" y="T7"/>
                  </a:cxn>
                </a:cxnLst>
                <a:rect l="0" t="0" r="r" b="b"/>
                <a:pathLst>
                  <a:path w="5" h="2">
                    <a:moveTo>
                      <a:pt x="2" y="0"/>
                    </a:moveTo>
                    <a:cubicBezTo>
                      <a:pt x="1" y="0"/>
                      <a:pt x="0" y="1"/>
                      <a:pt x="0" y="2"/>
                    </a:cubicBezTo>
                    <a:cubicBezTo>
                      <a:pt x="1" y="2"/>
                      <a:pt x="3" y="1"/>
                      <a:pt x="5"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3" name="Freeform 141">
                <a:extLst>
                  <a:ext uri="{FF2B5EF4-FFF2-40B4-BE49-F238E27FC236}">
                    <a16:creationId xmlns:a16="http://schemas.microsoft.com/office/drawing/2014/main" id="{86594456-8339-4FEB-8632-7084A503F44D}"/>
                  </a:ext>
                </a:extLst>
              </p:cNvPr>
              <p:cNvSpPr>
                <a:spLocks/>
              </p:cNvSpPr>
              <p:nvPr/>
            </p:nvSpPr>
            <p:spPr bwMode="auto">
              <a:xfrm>
                <a:off x="7167" y="3262"/>
                <a:ext cx="2" cy="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1" y="2"/>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4" name="Freeform 142">
                <a:extLst>
                  <a:ext uri="{FF2B5EF4-FFF2-40B4-BE49-F238E27FC236}">
                    <a16:creationId xmlns:a16="http://schemas.microsoft.com/office/drawing/2014/main" id="{7FE7C6D4-24F0-4AB7-BBC7-AB89694123DA}"/>
                  </a:ext>
                </a:extLst>
              </p:cNvPr>
              <p:cNvSpPr>
                <a:spLocks/>
              </p:cNvSpPr>
              <p:nvPr/>
            </p:nvSpPr>
            <p:spPr bwMode="auto">
              <a:xfrm>
                <a:off x="7184" y="3274"/>
                <a:ext cx="4" cy="4"/>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5" name="Freeform 143">
                <a:extLst>
                  <a:ext uri="{FF2B5EF4-FFF2-40B4-BE49-F238E27FC236}">
                    <a16:creationId xmlns:a16="http://schemas.microsoft.com/office/drawing/2014/main" id="{A533754E-2E7B-474C-903A-C3B08D256593}"/>
                  </a:ext>
                </a:extLst>
              </p:cNvPr>
              <p:cNvSpPr>
                <a:spLocks noEditPoints="1"/>
              </p:cNvSpPr>
              <p:nvPr/>
            </p:nvSpPr>
            <p:spPr bwMode="auto">
              <a:xfrm>
                <a:off x="8386" y="3333"/>
                <a:ext cx="10" cy="2"/>
              </a:xfrm>
              <a:custGeom>
                <a:avLst/>
                <a:gdLst>
                  <a:gd name="T0" fmla="*/ 3 w 4"/>
                  <a:gd name="T1" fmla="*/ 0 h 1"/>
                  <a:gd name="T2" fmla="*/ 0 w 4"/>
                  <a:gd name="T3" fmla="*/ 1 h 1"/>
                  <a:gd name="T4" fmla="*/ 0 w 4"/>
                  <a:gd name="T5" fmla="*/ 1 h 1"/>
                  <a:gd name="T6" fmla="*/ 3 w 4"/>
                  <a:gd name="T7" fmla="*/ 0 h 1"/>
                  <a:gd name="T8" fmla="*/ 4 w 4"/>
                  <a:gd name="T9" fmla="*/ 0 h 1"/>
                  <a:gd name="T10" fmla="*/ 3 w 4"/>
                  <a:gd name="T11" fmla="*/ 0 h 1"/>
                  <a:gd name="T12" fmla="*/ 4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3" y="0"/>
                    </a:moveTo>
                    <a:cubicBezTo>
                      <a:pt x="2" y="1"/>
                      <a:pt x="1" y="0"/>
                      <a:pt x="0" y="1"/>
                    </a:cubicBezTo>
                    <a:cubicBezTo>
                      <a:pt x="0" y="1"/>
                      <a:pt x="0" y="1"/>
                      <a:pt x="0" y="1"/>
                    </a:cubicBezTo>
                    <a:cubicBezTo>
                      <a:pt x="1" y="1"/>
                      <a:pt x="2" y="0"/>
                      <a:pt x="3" y="0"/>
                    </a:cubicBezTo>
                    <a:moveTo>
                      <a:pt x="4" y="0"/>
                    </a:moveTo>
                    <a:cubicBezTo>
                      <a:pt x="4" y="0"/>
                      <a:pt x="3" y="0"/>
                      <a:pt x="3" y="0"/>
                    </a:cubicBezTo>
                    <a:cubicBezTo>
                      <a:pt x="3" y="0"/>
                      <a:pt x="3"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6" name="Freeform 144">
                <a:extLst>
                  <a:ext uri="{FF2B5EF4-FFF2-40B4-BE49-F238E27FC236}">
                    <a16:creationId xmlns:a16="http://schemas.microsoft.com/office/drawing/2014/main" id="{509A2F8F-6FE7-465F-94C6-3C7EAAF0FCDD}"/>
                  </a:ext>
                </a:extLst>
              </p:cNvPr>
              <p:cNvSpPr>
                <a:spLocks/>
              </p:cNvSpPr>
              <p:nvPr/>
            </p:nvSpPr>
            <p:spPr bwMode="auto">
              <a:xfrm>
                <a:off x="8041" y="3366"/>
                <a:ext cx="34" cy="9"/>
              </a:xfrm>
              <a:custGeom>
                <a:avLst/>
                <a:gdLst>
                  <a:gd name="T0" fmla="*/ 7 w 14"/>
                  <a:gd name="T1" fmla="*/ 0 h 4"/>
                  <a:gd name="T2" fmla="*/ 6 w 14"/>
                  <a:gd name="T3" fmla="*/ 0 h 4"/>
                  <a:gd name="T4" fmla="*/ 6 w 14"/>
                  <a:gd name="T5" fmla="*/ 0 h 4"/>
                  <a:gd name="T6" fmla="*/ 2 w 14"/>
                  <a:gd name="T7" fmla="*/ 1 h 4"/>
                  <a:gd name="T8" fmla="*/ 0 w 14"/>
                  <a:gd name="T9" fmla="*/ 4 h 4"/>
                  <a:gd name="T10" fmla="*/ 6 w 14"/>
                  <a:gd name="T11" fmla="*/ 4 h 4"/>
                  <a:gd name="T12" fmla="*/ 7 w 14"/>
                  <a:gd name="T13" fmla="*/ 3 h 4"/>
                  <a:gd name="T14" fmla="*/ 7 w 14"/>
                  <a:gd name="T15" fmla="*/ 4 h 4"/>
                  <a:gd name="T16" fmla="*/ 12 w 14"/>
                  <a:gd name="T17" fmla="*/ 4 h 4"/>
                  <a:gd name="T18" fmla="*/ 14 w 14"/>
                  <a:gd name="T19" fmla="*/ 2 h 4"/>
                  <a:gd name="T20" fmla="*/ 12 w 14"/>
                  <a:gd name="T21" fmla="*/ 1 h 4"/>
                  <a:gd name="T22" fmla="*/ 10 w 14"/>
                  <a:gd name="T23" fmla="*/ 2 h 4"/>
                  <a:gd name="T24" fmla="*/ 7 w 1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4">
                    <a:moveTo>
                      <a:pt x="7" y="0"/>
                    </a:moveTo>
                    <a:cubicBezTo>
                      <a:pt x="8" y="0"/>
                      <a:pt x="6" y="0"/>
                      <a:pt x="6" y="0"/>
                    </a:cubicBezTo>
                    <a:cubicBezTo>
                      <a:pt x="6" y="0"/>
                      <a:pt x="6" y="0"/>
                      <a:pt x="6" y="0"/>
                    </a:cubicBezTo>
                    <a:cubicBezTo>
                      <a:pt x="4" y="0"/>
                      <a:pt x="3" y="0"/>
                      <a:pt x="2" y="1"/>
                    </a:cubicBezTo>
                    <a:cubicBezTo>
                      <a:pt x="1" y="2"/>
                      <a:pt x="1" y="3"/>
                      <a:pt x="0" y="4"/>
                    </a:cubicBezTo>
                    <a:cubicBezTo>
                      <a:pt x="6" y="4"/>
                      <a:pt x="6" y="4"/>
                      <a:pt x="6" y="4"/>
                    </a:cubicBezTo>
                    <a:cubicBezTo>
                      <a:pt x="7" y="3"/>
                      <a:pt x="7" y="3"/>
                      <a:pt x="7" y="3"/>
                    </a:cubicBezTo>
                    <a:cubicBezTo>
                      <a:pt x="7" y="3"/>
                      <a:pt x="7" y="3"/>
                      <a:pt x="7" y="4"/>
                    </a:cubicBezTo>
                    <a:cubicBezTo>
                      <a:pt x="12" y="4"/>
                      <a:pt x="12" y="4"/>
                      <a:pt x="12" y="4"/>
                    </a:cubicBezTo>
                    <a:cubicBezTo>
                      <a:pt x="13" y="3"/>
                      <a:pt x="14" y="3"/>
                      <a:pt x="14" y="2"/>
                    </a:cubicBezTo>
                    <a:cubicBezTo>
                      <a:pt x="14" y="2"/>
                      <a:pt x="13" y="1"/>
                      <a:pt x="12" y="1"/>
                    </a:cubicBezTo>
                    <a:cubicBezTo>
                      <a:pt x="11" y="1"/>
                      <a:pt x="10" y="1"/>
                      <a:pt x="10" y="2"/>
                    </a:cubicBezTo>
                    <a:cubicBezTo>
                      <a:pt x="9"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7" name="Freeform 145">
                <a:extLst>
                  <a:ext uri="{FF2B5EF4-FFF2-40B4-BE49-F238E27FC236}">
                    <a16:creationId xmlns:a16="http://schemas.microsoft.com/office/drawing/2014/main" id="{E10B9648-4941-41F8-BE70-5DF57098859E}"/>
                  </a:ext>
                </a:extLst>
              </p:cNvPr>
              <p:cNvSpPr>
                <a:spLocks/>
              </p:cNvSpPr>
              <p:nvPr/>
            </p:nvSpPr>
            <p:spPr bwMode="auto">
              <a:xfrm>
                <a:off x="6884" y="3243"/>
                <a:ext cx="37" cy="45"/>
              </a:xfrm>
              <a:custGeom>
                <a:avLst/>
                <a:gdLst>
                  <a:gd name="T0" fmla="*/ 5 w 16"/>
                  <a:gd name="T1" fmla="*/ 0 h 19"/>
                  <a:gd name="T2" fmla="*/ 0 w 16"/>
                  <a:gd name="T3" fmla="*/ 3 h 19"/>
                  <a:gd name="T4" fmla="*/ 8 w 16"/>
                  <a:gd name="T5" fmla="*/ 12 h 19"/>
                  <a:gd name="T6" fmla="*/ 14 w 16"/>
                  <a:gd name="T7" fmla="*/ 19 h 19"/>
                  <a:gd name="T8" fmla="*/ 16 w 16"/>
                  <a:gd name="T9" fmla="*/ 15 h 19"/>
                  <a:gd name="T10" fmla="*/ 15 w 16"/>
                  <a:gd name="T11" fmla="*/ 11 h 19"/>
                  <a:gd name="T12" fmla="*/ 5 w 16"/>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6" h="19">
                    <a:moveTo>
                      <a:pt x="5" y="0"/>
                    </a:moveTo>
                    <a:cubicBezTo>
                      <a:pt x="5" y="3"/>
                      <a:pt x="2" y="2"/>
                      <a:pt x="0" y="3"/>
                    </a:cubicBezTo>
                    <a:cubicBezTo>
                      <a:pt x="4" y="4"/>
                      <a:pt x="5" y="10"/>
                      <a:pt x="8" y="12"/>
                    </a:cubicBezTo>
                    <a:cubicBezTo>
                      <a:pt x="10" y="15"/>
                      <a:pt x="12" y="17"/>
                      <a:pt x="14" y="19"/>
                    </a:cubicBezTo>
                    <a:cubicBezTo>
                      <a:pt x="16" y="18"/>
                      <a:pt x="15" y="17"/>
                      <a:pt x="16" y="15"/>
                    </a:cubicBezTo>
                    <a:cubicBezTo>
                      <a:pt x="16" y="13"/>
                      <a:pt x="16" y="12"/>
                      <a:pt x="15" y="11"/>
                    </a:cubicBezTo>
                    <a:cubicBezTo>
                      <a:pt x="12" y="7"/>
                      <a:pt x="8"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8" name="Freeform 146">
                <a:extLst>
                  <a:ext uri="{FF2B5EF4-FFF2-40B4-BE49-F238E27FC236}">
                    <a16:creationId xmlns:a16="http://schemas.microsoft.com/office/drawing/2014/main" id="{2AB06376-9F2A-46CC-AB67-2C1B2279ABEB}"/>
                  </a:ext>
                </a:extLst>
              </p:cNvPr>
              <p:cNvSpPr>
                <a:spLocks/>
              </p:cNvSpPr>
              <p:nvPr/>
            </p:nvSpPr>
            <p:spPr bwMode="auto">
              <a:xfrm>
                <a:off x="8242" y="3328"/>
                <a:ext cx="31" cy="26"/>
              </a:xfrm>
              <a:custGeom>
                <a:avLst/>
                <a:gdLst>
                  <a:gd name="T0" fmla="*/ 5 w 13"/>
                  <a:gd name="T1" fmla="*/ 0 h 11"/>
                  <a:gd name="T2" fmla="*/ 4 w 13"/>
                  <a:gd name="T3" fmla="*/ 2 h 11"/>
                  <a:gd name="T4" fmla="*/ 4 w 13"/>
                  <a:gd name="T5" fmla="*/ 2 h 11"/>
                  <a:gd name="T6" fmla="*/ 3 w 13"/>
                  <a:gd name="T7" fmla="*/ 1 h 11"/>
                  <a:gd name="T8" fmla="*/ 2 w 13"/>
                  <a:gd name="T9" fmla="*/ 0 h 11"/>
                  <a:gd name="T10" fmla="*/ 2 w 13"/>
                  <a:gd name="T11" fmla="*/ 0 h 11"/>
                  <a:gd name="T12" fmla="*/ 2 w 13"/>
                  <a:gd name="T13" fmla="*/ 5 h 11"/>
                  <a:gd name="T14" fmla="*/ 4 w 13"/>
                  <a:gd name="T15" fmla="*/ 6 h 11"/>
                  <a:gd name="T16" fmla="*/ 4 w 13"/>
                  <a:gd name="T17" fmla="*/ 7 h 11"/>
                  <a:gd name="T18" fmla="*/ 4 w 13"/>
                  <a:gd name="T19" fmla="*/ 9 h 11"/>
                  <a:gd name="T20" fmla="*/ 5 w 13"/>
                  <a:gd name="T21" fmla="*/ 9 h 11"/>
                  <a:gd name="T22" fmla="*/ 7 w 13"/>
                  <a:gd name="T23" fmla="*/ 9 h 11"/>
                  <a:gd name="T24" fmla="*/ 9 w 13"/>
                  <a:gd name="T25" fmla="*/ 11 h 11"/>
                  <a:gd name="T26" fmla="*/ 10 w 13"/>
                  <a:gd name="T27" fmla="*/ 11 h 11"/>
                  <a:gd name="T28" fmla="*/ 12 w 13"/>
                  <a:gd name="T29" fmla="*/ 9 h 11"/>
                  <a:gd name="T30" fmla="*/ 9 w 13"/>
                  <a:gd name="T31" fmla="*/ 7 h 11"/>
                  <a:gd name="T32" fmla="*/ 8 w 13"/>
                  <a:gd name="T33" fmla="*/ 7 h 11"/>
                  <a:gd name="T34" fmla="*/ 8 w 13"/>
                  <a:gd name="T35" fmla="*/ 7 h 11"/>
                  <a:gd name="T36" fmla="*/ 8 w 13"/>
                  <a:gd name="T37" fmla="*/ 7 h 11"/>
                  <a:gd name="T38" fmla="*/ 8 w 13"/>
                  <a:gd name="T39" fmla="*/ 6 h 11"/>
                  <a:gd name="T40" fmla="*/ 5 w 13"/>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1">
                    <a:moveTo>
                      <a:pt x="5" y="0"/>
                    </a:moveTo>
                    <a:cubicBezTo>
                      <a:pt x="5" y="0"/>
                      <a:pt x="4" y="2"/>
                      <a:pt x="4" y="2"/>
                    </a:cubicBezTo>
                    <a:cubicBezTo>
                      <a:pt x="4" y="2"/>
                      <a:pt x="4" y="2"/>
                      <a:pt x="4" y="2"/>
                    </a:cubicBezTo>
                    <a:cubicBezTo>
                      <a:pt x="3" y="2"/>
                      <a:pt x="3" y="1"/>
                      <a:pt x="3" y="1"/>
                    </a:cubicBezTo>
                    <a:cubicBezTo>
                      <a:pt x="3" y="0"/>
                      <a:pt x="3" y="0"/>
                      <a:pt x="2" y="0"/>
                    </a:cubicBezTo>
                    <a:cubicBezTo>
                      <a:pt x="2" y="0"/>
                      <a:pt x="2" y="0"/>
                      <a:pt x="2" y="0"/>
                    </a:cubicBezTo>
                    <a:cubicBezTo>
                      <a:pt x="0" y="0"/>
                      <a:pt x="1" y="4"/>
                      <a:pt x="2" y="5"/>
                    </a:cubicBezTo>
                    <a:cubicBezTo>
                      <a:pt x="3" y="5"/>
                      <a:pt x="4" y="6"/>
                      <a:pt x="4" y="6"/>
                    </a:cubicBezTo>
                    <a:cubicBezTo>
                      <a:pt x="4" y="7"/>
                      <a:pt x="4" y="7"/>
                      <a:pt x="4" y="7"/>
                    </a:cubicBezTo>
                    <a:cubicBezTo>
                      <a:pt x="4" y="8"/>
                      <a:pt x="4" y="9"/>
                      <a:pt x="4" y="9"/>
                    </a:cubicBezTo>
                    <a:cubicBezTo>
                      <a:pt x="5" y="9"/>
                      <a:pt x="5" y="9"/>
                      <a:pt x="5" y="9"/>
                    </a:cubicBezTo>
                    <a:cubicBezTo>
                      <a:pt x="6" y="9"/>
                      <a:pt x="7" y="9"/>
                      <a:pt x="7" y="9"/>
                    </a:cubicBezTo>
                    <a:cubicBezTo>
                      <a:pt x="8" y="9"/>
                      <a:pt x="7" y="10"/>
                      <a:pt x="9" y="11"/>
                    </a:cubicBezTo>
                    <a:cubicBezTo>
                      <a:pt x="9" y="11"/>
                      <a:pt x="10" y="11"/>
                      <a:pt x="10" y="11"/>
                    </a:cubicBezTo>
                    <a:cubicBezTo>
                      <a:pt x="11" y="11"/>
                      <a:pt x="11" y="10"/>
                      <a:pt x="12" y="9"/>
                    </a:cubicBezTo>
                    <a:cubicBezTo>
                      <a:pt x="13" y="8"/>
                      <a:pt x="9" y="7"/>
                      <a:pt x="9" y="7"/>
                    </a:cubicBezTo>
                    <a:cubicBezTo>
                      <a:pt x="9" y="7"/>
                      <a:pt x="8" y="7"/>
                      <a:pt x="8" y="7"/>
                    </a:cubicBezTo>
                    <a:cubicBezTo>
                      <a:pt x="8" y="7"/>
                      <a:pt x="8" y="7"/>
                      <a:pt x="8" y="7"/>
                    </a:cubicBezTo>
                    <a:cubicBezTo>
                      <a:pt x="8" y="7"/>
                      <a:pt x="8" y="7"/>
                      <a:pt x="8" y="7"/>
                    </a:cubicBezTo>
                    <a:cubicBezTo>
                      <a:pt x="8" y="7"/>
                      <a:pt x="8" y="7"/>
                      <a:pt x="8" y="6"/>
                    </a:cubicBezTo>
                    <a:cubicBezTo>
                      <a:pt x="7" y="3"/>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9" name="Freeform 147">
                <a:extLst>
                  <a:ext uri="{FF2B5EF4-FFF2-40B4-BE49-F238E27FC236}">
                    <a16:creationId xmlns:a16="http://schemas.microsoft.com/office/drawing/2014/main" id="{8E8F1D95-06F7-40DC-8DD0-3E47FA0802DB}"/>
                  </a:ext>
                </a:extLst>
              </p:cNvPr>
              <p:cNvSpPr>
                <a:spLocks/>
              </p:cNvSpPr>
              <p:nvPr/>
            </p:nvSpPr>
            <p:spPr bwMode="auto">
              <a:xfrm>
                <a:off x="6798" y="3058"/>
                <a:ext cx="419" cy="317"/>
              </a:xfrm>
              <a:custGeom>
                <a:avLst/>
                <a:gdLst>
                  <a:gd name="T0" fmla="*/ 2 w 177"/>
                  <a:gd name="T1" fmla="*/ 1 h 134"/>
                  <a:gd name="T2" fmla="*/ 5 w 177"/>
                  <a:gd name="T3" fmla="*/ 13 h 134"/>
                  <a:gd name="T4" fmla="*/ 36 w 177"/>
                  <a:gd name="T5" fmla="*/ 42 h 134"/>
                  <a:gd name="T6" fmla="*/ 46 w 177"/>
                  <a:gd name="T7" fmla="*/ 53 h 134"/>
                  <a:gd name="T8" fmla="*/ 49 w 177"/>
                  <a:gd name="T9" fmla="*/ 64 h 134"/>
                  <a:gd name="T10" fmla="*/ 60 w 177"/>
                  <a:gd name="T11" fmla="*/ 69 h 134"/>
                  <a:gd name="T12" fmla="*/ 67 w 177"/>
                  <a:gd name="T13" fmla="*/ 74 h 134"/>
                  <a:gd name="T14" fmla="*/ 71 w 177"/>
                  <a:gd name="T15" fmla="*/ 86 h 134"/>
                  <a:gd name="T16" fmla="*/ 81 w 177"/>
                  <a:gd name="T17" fmla="*/ 105 h 134"/>
                  <a:gd name="T18" fmla="*/ 99 w 177"/>
                  <a:gd name="T19" fmla="*/ 127 h 134"/>
                  <a:gd name="T20" fmla="*/ 177 w 177"/>
                  <a:gd name="T21" fmla="*/ 134 h 134"/>
                  <a:gd name="T22" fmla="*/ 174 w 177"/>
                  <a:gd name="T23" fmla="*/ 128 h 134"/>
                  <a:gd name="T24" fmla="*/ 172 w 177"/>
                  <a:gd name="T25" fmla="*/ 128 h 134"/>
                  <a:gd name="T26" fmla="*/ 167 w 177"/>
                  <a:gd name="T27" fmla="*/ 126 h 134"/>
                  <a:gd name="T28" fmla="*/ 156 w 177"/>
                  <a:gd name="T29" fmla="*/ 116 h 134"/>
                  <a:gd name="T30" fmla="*/ 160 w 177"/>
                  <a:gd name="T31" fmla="*/ 116 h 134"/>
                  <a:gd name="T32" fmla="*/ 158 w 177"/>
                  <a:gd name="T33" fmla="*/ 112 h 134"/>
                  <a:gd name="T34" fmla="*/ 154 w 177"/>
                  <a:gd name="T35" fmla="*/ 113 h 134"/>
                  <a:gd name="T36" fmla="*/ 160 w 177"/>
                  <a:gd name="T37" fmla="*/ 108 h 134"/>
                  <a:gd name="T38" fmla="*/ 165 w 177"/>
                  <a:gd name="T39" fmla="*/ 108 h 134"/>
                  <a:gd name="T40" fmla="*/ 161 w 177"/>
                  <a:gd name="T41" fmla="*/ 102 h 134"/>
                  <a:gd name="T42" fmla="*/ 156 w 177"/>
                  <a:gd name="T43" fmla="*/ 98 h 134"/>
                  <a:gd name="T44" fmla="*/ 141 w 177"/>
                  <a:gd name="T45" fmla="*/ 104 h 134"/>
                  <a:gd name="T46" fmla="*/ 141 w 177"/>
                  <a:gd name="T47" fmla="*/ 104 h 134"/>
                  <a:gd name="T48" fmla="*/ 147 w 177"/>
                  <a:gd name="T49" fmla="*/ 101 h 134"/>
                  <a:gd name="T50" fmla="*/ 148 w 177"/>
                  <a:gd name="T51" fmla="*/ 95 h 134"/>
                  <a:gd name="T52" fmla="*/ 137 w 177"/>
                  <a:gd name="T53" fmla="*/ 91 h 134"/>
                  <a:gd name="T54" fmla="*/ 127 w 177"/>
                  <a:gd name="T55" fmla="*/ 78 h 134"/>
                  <a:gd name="T56" fmla="*/ 118 w 177"/>
                  <a:gd name="T57" fmla="*/ 73 h 134"/>
                  <a:gd name="T58" fmla="*/ 108 w 177"/>
                  <a:gd name="T59" fmla="*/ 65 h 134"/>
                  <a:gd name="T60" fmla="*/ 107 w 177"/>
                  <a:gd name="T61" fmla="*/ 67 h 134"/>
                  <a:gd name="T62" fmla="*/ 108 w 177"/>
                  <a:gd name="T63" fmla="*/ 70 h 134"/>
                  <a:gd name="T64" fmla="*/ 100 w 177"/>
                  <a:gd name="T65" fmla="*/ 64 h 134"/>
                  <a:gd name="T66" fmla="*/ 94 w 177"/>
                  <a:gd name="T67" fmla="*/ 60 h 134"/>
                  <a:gd name="T68" fmla="*/ 90 w 177"/>
                  <a:gd name="T69" fmla="*/ 52 h 134"/>
                  <a:gd name="T70" fmla="*/ 71 w 177"/>
                  <a:gd name="T71" fmla="*/ 38 h 134"/>
                  <a:gd name="T72" fmla="*/ 66 w 177"/>
                  <a:gd name="T73" fmla="*/ 45 h 134"/>
                  <a:gd name="T74" fmla="*/ 66 w 177"/>
                  <a:gd name="T75" fmla="*/ 34 h 134"/>
                  <a:gd name="T76" fmla="*/ 61 w 177"/>
                  <a:gd name="T77" fmla="*/ 30 h 134"/>
                  <a:gd name="T78" fmla="*/ 57 w 177"/>
                  <a:gd name="T79" fmla="*/ 29 h 134"/>
                  <a:gd name="T80" fmla="*/ 55 w 177"/>
                  <a:gd name="T81" fmla="*/ 21 h 134"/>
                  <a:gd name="T82" fmla="*/ 45 w 177"/>
                  <a:gd name="T83" fmla="*/ 8 h 134"/>
                  <a:gd name="T84" fmla="*/ 40 w 177"/>
                  <a:gd name="T85" fmla="*/ 9 h 134"/>
                  <a:gd name="T86" fmla="*/ 36 w 177"/>
                  <a:gd name="T87" fmla="*/ 8 h 134"/>
                  <a:gd name="T88" fmla="*/ 26 w 177"/>
                  <a:gd name="T89" fmla="*/ 8 h 134"/>
                  <a:gd name="T90" fmla="*/ 8 w 177"/>
                  <a:gd name="T9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7" h="134">
                    <a:moveTo>
                      <a:pt x="8" y="0"/>
                    </a:moveTo>
                    <a:cubicBezTo>
                      <a:pt x="5" y="0"/>
                      <a:pt x="4" y="0"/>
                      <a:pt x="2" y="1"/>
                    </a:cubicBezTo>
                    <a:cubicBezTo>
                      <a:pt x="0" y="2"/>
                      <a:pt x="0" y="2"/>
                      <a:pt x="1" y="4"/>
                    </a:cubicBezTo>
                    <a:cubicBezTo>
                      <a:pt x="2" y="8"/>
                      <a:pt x="3" y="10"/>
                      <a:pt x="5" y="13"/>
                    </a:cubicBezTo>
                    <a:cubicBezTo>
                      <a:pt x="12" y="22"/>
                      <a:pt x="19" y="32"/>
                      <a:pt x="29" y="37"/>
                    </a:cubicBezTo>
                    <a:cubicBezTo>
                      <a:pt x="31" y="39"/>
                      <a:pt x="34" y="40"/>
                      <a:pt x="36" y="42"/>
                    </a:cubicBezTo>
                    <a:cubicBezTo>
                      <a:pt x="38" y="44"/>
                      <a:pt x="40" y="47"/>
                      <a:pt x="43" y="50"/>
                    </a:cubicBezTo>
                    <a:cubicBezTo>
                      <a:pt x="43" y="51"/>
                      <a:pt x="45" y="52"/>
                      <a:pt x="46" y="53"/>
                    </a:cubicBezTo>
                    <a:cubicBezTo>
                      <a:pt x="47" y="54"/>
                      <a:pt x="47" y="56"/>
                      <a:pt x="47" y="57"/>
                    </a:cubicBezTo>
                    <a:cubicBezTo>
                      <a:pt x="47" y="59"/>
                      <a:pt x="47" y="62"/>
                      <a:pt x="49" y="64"/>
                    </a:cubicBezTo>
                    <a:cubicBezTo>
                      <a:pt x="50" y="65"/>
                      <a:pt x="51" y="65"/>
                      <a:pt x="52" y="65"/>
                    </a:cubicBezTo>
                    <a:cubicBezTo>
                      <a:pt x="55" y="66"/>
                      <a:pt x="57" y="67"/>
                      <a:pt x="60" y="69"/>
                    </a:cubicBezTo>
                    <a:cubicBezTo>
                      <a:pt x="63" y="70"/>
                      <a:pt x="65" y="72"/>
                      <a:pt x="68" y="75"/>
                    </a:cubicBezTo>
                    <a:cubicBezTo>
                      <a:pt x="67" y="74"/>
                      <a:pt x="67" y="74"/>
                      <a:pt x="67" y="74"/>
                    </a:cubicBezTo>
                    <a:cubicBezTo>
                      <a:pt x="69" y="74"/>
                      <a:pt x="68" y="76"/>
                      <a:pt x="68" y="77"/>
                    </a:cubicBezTo>
                    <a:cubicBezTo>
                      <a:pt x="69" y="80"/>
                      <a:pt x="70" y="83"/>
                      <a:pt x="71" y="86"/>
                    </a:cubicBezTo>
                    <a:cubicBezTo>
                      <a:pt x="72" y="91"/>
                      <a:pt x="73" y="95"/>
                      <a:pt x="75" y="100"/>
                    </a:cubicBezTo>
                    <a:cubicBezTo>
                      <a:pt x="76" y="104"/>
                      <a:pt x="77" y="103"/>
                      <a:pt x="81" y="105"/>
                    </a:cubicBezTo>
                    <a:cubicBezTo>
                      <a:pt x="84" y="106"/>
                      <a:pt x="85" y="106"/>
                      <a:pt x="86" y="109"/>
                    </a:cubicBezTo>
                    <a:cubicBezTo>
                      <a:pt x="89" y="115"/>
                      <a:pt x="98" y="120"/>
                      <a:pt x="99" y="127"/>
                    </a:cubicBezTo>
                    <a:cubicBezTo>
                      <a:pt x="99" y="129"/>
                      <a:pt x="100" y="131"/>
                      <a:pt x="101" y="134"/>
                    </a:cubicBezTo>
                    <a:cubicBezTo>
                      <a:pt x="177" y="134"/>
                      <a:pt x="177" y="134"/>
                      <a:pt x="177" y="134"/>
                    </a:cubicBezTo>
                    <a:cubicBezTo>
                      <a:pt x="176" y="132"/>
                      <a:pt x="176" y="131"/>
                      <a:pt x="176" y="130"/>
                    </a:cubicBezTo>
                    <a:cubicBezTo>
                      <a:pt x="175" y="128"/>
                      <a:pt x="175" y="128"/>
                      <a:pt x="174" y="128"/>
                    </a:cubicBezTo>
                    <a:cubicBezTo>
                      <a:pt x="174" y="128"/>
                      <a:pt x="173" y="128"/>
                      <a:pt x="173" y="128"/>
                    </a:cubicBezTo>
                    <a:cubicBezTo>
                      <a:pt x="173" y="128"/>
                      <a:pt x="172" y="128"/>
                      <a:pt x="172" y="128"/>
                    </a:cubicBezTo>
                    <a:cubicBezTo>
                      <a:pt x="172" y="128"/>
                      <a:pt x="171" y="128"/>
                      <a:pt x="171" y="128"/>
                    </a:cubicBezTo>
                    <a:cubicBezTo>
                      <a:pt x="170" y="128"/>
                      <a:pt x="168" y="127"/>
                      <a:pt x="167" y="126"/>
                    </a:cubicBezTo>
                    <a:cubicBezTo>
                      <a:pt x="165" y="126"/>
                      <a:pt x="164" y="126"/>
                      <a:pt x="162" y="126"/>
                    </a:cubicBezTo>
                    <a:cubicBezTo>
                      <a:pt x="158" y="124"/>
                      <a:pt x="157" y="121"/>
                      <a:pt x="156" y="116"/>
                    </a:cubicBezTo>
                    <a:cubicBezTo>
                      <a:pt x="156" y="117"/>
                      <a:pt x="157" y="118"/>
                      <a:pt x="157" y="118"/>
                    </a:cubicBezTo>
                    <a:cubicBezTo>
                      <a:pt x="158" y="118"/>
                      <a:pt x="160" y="116"/>
                      <a:pt x="160" y="116"/>
                    </a:cubicBezTo>
                    <a:cubicBezTo>
                      <a:pt x="159" y="115"/>
                      <a:pt x="157" y="115"/>
                      <a:pt x="156" y="115"/>
                    </a:cubicBezTo>
                    <a:cubicBezTo>
                      <a:pt x="157" y="114"/>
                      <a:pt x="158" y="113"/>
                      <a:pt x="158" y="112"/>
                    </a:cubicBezTo>
                    <a:cubicBezTo>
                      <a:pt x="157" y="112"/>
                      <a:pt x="156" y="113"/>
                      <a:pt x="155" y="113"/>
                    </a:cubicBezTo>
                    <a:cubicBezTo>
                      <a:pt x="155" y="113"/>
                      <a:pt x="155" y="113"/>
                      <a:pt x="154" y="113"/>
                    </a:cubicBezTo>
                    <a:cubicBezTo>
                      <a:pt x="157" y="112"/>
                      <a:pt x="157" y="112"/>
                      <a:pt x="159" y="110"/>
                    </a:cubicBezTo>
                    <a:cubicBezTo>
                      <a:pt x="159" y="109"/>
                      <a:pt x="160" y="108"/>
                      <a:pt x="160" y="108"/>
                    </a:cubicBezTo>
                    <a:cubicBezTo>
                      <a:pt x="161" y="109"/>
                      <a:pt x="161" y="109"/>
                      <a:pt x="161" y="109"/>
                    </a:cubicBezTo>
                    <a:cubicBezTo>
                      <a:pt x="162" y="108"/>
                      <a:pt x="163" y="108"/>
                      <a:pt x="165" y="108"/>
                    </a:cubicBezTo>
                    <a:cubicBezTo>
                      <a:pt x="164" y="106"/>
                      <a:pt x="163" y="101"/>
                      <a:pt x="162" y="101"/>
                    </a:cubicBezTo>
                    <a:cubicBezTo>
                      <a:pt x="161" y="101"/>
                      <a:pt x="161" y="101"/>
                      <a:pt x="161" y="102"/>
                    </a:cubicBezTo>
                    <a:cubicBezTo>
                      <a:pt x="160" y="100"/>
                      <a:pt x="159" y="98"/>
                      <a:pt x="157" y="98"/>
                    </a:cubicBezTo>
                    <a:cubicBezTo>
                      <a:pt x="157" y="98"/>
                      <a:pt x="156" y="98"/>
                      <a:pt x="156" y="98"/>
                    </a:cubicBezTo>
                    <a:cubicBezTo>
                      <a:pt x="153" y="98"/>
                      <a:pt x="151" y="99"/>
                      <a:pt x="148" y="101"/>
                    </a:cubicBezTo>
                    <a:cubicBezTo>
                      <a:pt x="146" y="103"/>
                      <a:pt x="144" y="104"/>
                      <a:pt x="141" y="104"/>
                    </a:cubicBezTo>
                    <a:cubicBezTo>
                      <a:pt x="140" y="104"/>
                      <a:pt x="139" y="104"/>
                      <a:pt x="138" y="103"/>
                    </a:cubicBezTo>
                    <a:cubicBezTo>
                      <a:pt x="140" y="103"/>
                      <a:pt x="140" y="104"/>
                      <a:pt x="141" y="104"/>
                    </a:cubicBezTo>
                    <a:cubicBezTo>
                      <a:pt x="142" y="104"/>
                      <a:pt x="142" y="103"/>
                      <a:pt x="144" y="103"/>
                    </a:cubicBezTo>
                    <a:cubicBezTo>
                      <a:pt x="145" y="102"/>
                      <a:pt x="146" y="102"/>
                      <a:pt x="147" y="101"/>
                    </a:cubicBezTo>
                    <a:cubicBezTo>
                      <a:pt x="148" y="101"/>
                      <a:pt x="150" y="100"/>
                      <a:pt x="151" y="99"/>
                    </a:cubicBezTo>
                    <a:cubicBezTo>
                      <a:pt x="151" y="98"/>
                      <a:pt x="149" y="95"/>
                      <a:pt x="148" y="95"/>
                    </a:cubicBezTo>
                    <a:cubicBezTo>
                      <a:pt x="145" y="94"/>
                      <a:pt x="143" y="94"/>
                      <a:pt x="140" y="93"/>
                    </a:cubicBezTo>
                    <a:cubicBezTo>
                      <a:pt x="139" y="93"/>
                      <a:pt x="138" y="92"/>
                      <a:pt x="137" y="91"/>
                    </a:cubicBezTo>
                    <a:cubicBezTo>
                      <a:pt x="135" y="89"/>
                      <a:pt x="134" y="88"/>
                      <a:pt x="133" y="85"/>
                    </a:cubicBezTo>
                    <a:cubicBezTo>
                      <a:pt x="132" y="82"/>
                      <a:pt x="129" y="80"/>
                      <a:pt x="127" y="78"/>
                    </a:cubicBezTo>
                    <a:cubicBezTo>
                      <a:pt x="126" y="76"/>
                      <a:pt x="122" y="76"/>
                      <a:pt x="120" y="75"/>
                    </a:cubicBezTo>
                    <a:cubicBezTo>
                      <a:pt x="118" y="75"/>
                      <a:pt x="119" y="74"/>
                      <a:pt x="118" y="73"/>
                    </a:cubicBezTo>
                    <a:cubicBezTo>
                      <a:pt x="117" y="72"/>
                      <a:pt x="116" y="70"/>
                      <a:pt x="115" y="69"/>
                    </a:cubicBezTo>
                    <a:cubicBezTo>
                      <a:pt x="113" y="66"/>
                      <a:pt x="112" y="66"/>
                      <a:pt x="108" y="65"/>
                    </a:cubicBezTo>
                    <a:cubicBezTo>
                      <a:pt x="108" y="65"/>
                      <a:pt x="108" y="65"/>
                      <a:pt x="108" y="65"/>
                    </a:cubicBezTo>
                    <a:cubicBezTo>
                      <a:pt x="107" y="65"/>
                      <a:pt x="107" y="66"/>
                      <a:pt x="107" y="67"/>
                    </a:cubicBezTo>
                    <a:cubicBezTo>
                      <a:pt x="108" y="70"/>
                      <a:pt x="110" y="70"/>
                      <a:pt x="110" y="73"/>
                    </a:cubicBezTo>
                    <a:cubicBezTo>
                      <a:pt x="109" y="72"/>
                      <a:pt x="109" y="71"/>
                      <a:pt x="108" y="70"/>
                    </a:cubicBezTo>
                    <a:cubicBezTo>
                      <a:pt x="107" y="68"/>
                      <a:pt x="104" y="68"/>
                      <a:pt x="102" y="66"/>
                    </a:cubicBezTo>
                    <a:cubicBezTo>
                      <a:pt x="101" y="66"/>
                      <a:pt x="100" y="65"/>
                      <a:pt x="100" y="64"/>
                    </a:cubicBezTo>
                    <a:cubicBezTo>
                      <a:pt x="98" y="61"/>
                      <a:pt x="99" y="58"/>
                      <a:pt x="94" y="58"/>
                    </a:cubicBezTo>
                    <a:cubicBezTo>
                      <a:pt x="94" y="59"/>
                      <a:pt x="94" y="59"/>
                      <a:pt x="94" y="60"/>
                    </a:cubicBezTo>
                    <a:cubicBezTo>
                      <a:pt x="93" y="59"/>
                      <a:pt x="92" y="58"/>
                      <a:pt x="92" y="57"/>
                    </a:cubicBezTo>
                    <a:cubicBezTo>
                      <a:pt x="91" y="54"/>
                      <a:pt x="92" y="54"/>
                      <a:pt x="90" y="52"/>
                    </a:cubicBezTo>
                    <a:cubicBezTo>
                      <a:pt x="85" y="48"/>
                      <a:pt x="81" y="43"/>
                      <a:pt x="76" y="40"/>
                    </a:cubicBezTo>
                    <a:cubicBezTo>
                      <a:pt x="75" y="40"/>
                      <a:pt x="73" y="39"/>
                      <a:pt x="71" y="38"/>
                    </a:cubicBezTo>
                    <a:cubicBezTo>
                      <a:pt x="72" y="39"/>
                      <a:pt x="72" y="39"/>
                      <a:pt x="72" y="39"/>
                    </a:cubicBezTo>
                    <a:cubicBezTo>
                      <a:pt x="72" y="42"/>
                      <a:pt x="69" y="45"/>
                      <a:pt x="66" y="45"/>
                    </a:cubicBezTo>
                    <a:cubicBezTo>
                      <a:pt x="64" y="45"/>
                      <a:pt x="61" y="42"/>
                      <a:pt x="61" y="39"/>
                    </a:cubicBezTo>
                    <a:cubicBezTo>
                      <a:pt x="61" y="37"/>
                      <a:pt x="64" y="34"/>
                      <a:pt x="66" y="34"/>
                    </a:cubicBezTo>
                    <a:cubicBezTo>
                      <a:pt x="67" y="34"/>
                      <a:pt x="67" y="34"/>
                      <a:pt x="67" y="34"/>
                    </a:cubicBezTo>
                    <a:cubicBezTo>
                      <a:pt x="66" y="32"/>
                      <a:pt x="64" y="32"/>
                      <a:pt x="61" y="30"/>
                    </a:cubicBezTo>
                    <a:cubicBezTo>
                      <a:pt x="61" y="30"/>
                      <a:pt x="59" y="29"/>
                      <a:pt x="58" y="29"/>
                    </a:cubicBezTo>
                    <a:cubicBezTo>
                      <a:pt x="58" y="29"/>
                      <a:pt x="57" y="29"/>
                      <a:pt x="57" y="29"/>
                    </a:cubicBezTo>
                    <a:cubicBezTo>
                      <a:pt x="58" y="28"/>
                      <a:pt x="59" y="27"/>
                      <a:pt x="58" y="25"/>
                    </a:cubicBezTo>
                    <a:cubicBezTo>
                      <a:pt x="58" y="24"/>
                      <a:pt x="56" y="22"/>
                      <a:pt x="55" y="21"/>
                    </a:cubicBezTo>
                    <a:cubicBezTo>
                      <a:pt x="53" y="21"/>
                      <a:pt x="54" y="18"/>
                      <a:pt x="53" y="16"/>
                    </a:cubicBezTo>
                    <a:cubicBezTo>
                      <a:pt x="52" y="13"/>
                      <a:pt x="48" y="11"/>
                      <a:pt x="45" y="8"/>
                    </a:cubicBezTo>
                    <a:cubicBezTo>
                      <a:pt x="45" y="8"/>
                      <a:pt x="44" y="8"/>
                      <a:pt x="44" y="8"/>
                    </a:cubicBezTo>
                    <a:cubicBezTo>
                      <a:pt x="43" y="8"/>
                      <a:pt x="41" y="8"/>
                      <a:pt x="40" y="9"/>
                    </a:cubicBezTo>
                    <a:cubicBezTo>
                      <a:pt x="39" y="9"/>
                      <a:pt x="39" y="9"/>
                      <a:pt x="38" y="9"/>
                    </a:cubicBezTo>
                    <a:cubicBezTo>
                      <a:pt x="38" y="9"/>
                      <a:pt x="37" y="9"/>
                      <a:pt x="36" y="8"/>
                    </a:cubicBezTo>
                    <a:cubicBezTo>
                      <a:pt x="35" y="7"/>
                      <a:pt x="33" y="7"/>
                      <a:pt x="32" y="7"/>
                    </a:cubicBezTo>
                    <a:cubicBezTo>
                      <a:pt x="30" y="7"/>
                      <a:pt x="28" y="8"/>
                      <a:pt x="26" y="8"/>
                    </a:cubicBezTo>
                    <a:cubicBezTo>
                      <a:pt x="25" y="8"/>
                      <a:pt x="25" y="8"/>
                      <a:pt x="25" y="8"/>
                    </a:cubicBezTo>
                    <a:cubicBezTo>
                      <a:pt x="19" y="8"/>
                      <a:pt x="14"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0" name="Freeform 148">
                <a:extLst>
                  <a:ext uri="{FF2B5EF4-FFF2-40B4-BE49-F238E27FC236}">
                    <a16:creationId xmlns:a16="http://schemas.microsoft.com/office/drawing/2014/main" id="{597BF798-0601-4892-9234-5725F021172B}"/>
                  </a:ext>
                </a:extLst>
              </p:cNvPr>
              <p:cNvSpPr>
                <a:spLocks/>
              </p:cNvSpPr>
              <p:nvPr/>
            </p:nvSpPr>
            <p:spPr bwMode="auto">
              <a:xfrm>
                <a:off x="8609" y="3342"/>
                <a:ext cx="21" cy="10"/>
              </a:xfrm>
              <a:custGeom>
                <a:avLst/>
                <a:gdLst>
                  <a:gd name="T0" fmla="*/ 0 w 9"/>
                  <a:gd name="T1" fmla="*/ 0 h 4"/>
                  <a:gd name="T2" fmla="*/ 6 w 9"/>
                  <a:gd name="T3" fmla="*/ 4 h 4"/>
                  <a:gd name="T4" fmla="*/ 0 w 9"/>
                  <a:gd name="T5" fmla="*/ 0 h 4"/>
                </a:gdLst>
                <a:ahLst/>
                <a:cxnLst>
                  <a:cxn ang="0">
                    <a:pos x="T0" y="T1"/>
                  </a:cxn>
                  <a:cxn ang="0">
                    <a:pos x="T2" y="T3"/>
                  </a:cxn>
                  <a:cxn ang="0">
                    <a:pos x="T4" y="T5"/>
                  </a:cxn>
                </a:cxnLst>
                <a:rect l="0" t="0" r="r" b="b"/>
                <a:pathLst>
                  <a:path w="9" h="4">
                    <a:moveTo>
                      <a:pt x="0" y="0"/>
                    </a:moveTo>
                    <a:cubicBezTo>
                      <a:pt x="2" y="1"/>
                      <a:pt x="4" y="2"/>
                      <a:pt x="6" y="4"/>
                    </a:cubicBezTo>
                    <a:cubicBezTo>
                      <a:pt x="9"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1" name="Freeform 149">
                <a:extLst>
                  <a:ext uri="{FF2B5EF4-FFF2-40B4-BE49-F238E27FC236}">
                    <a16:creationId xmlns:a16="http://schemas.microsoft.com/office/drawing/2014/main" id="{15209313-FF28-48F7-A2C8-3CEADFB0C479}"/>
                  </a:ext>
                </a:extLst>
              </p:cNvPr>
              <p:cNvSpPr>
                <a:spLocks/>
              </p:cNvSpPr>
              <p:nvPr/>
            </p:nvSpPr>
            <p:spPr bwMode="auto">
              <a:xfrm>
                <a:off x="8247" y="3215"/>
                <a:ext cx="69" cy="139"/>
              </a:xfrm>
              <a:custGeom>
                <a:avLst/>
                <a:gdLst>
                  <a:gd name="T0" fmla="*/ 13 w 29"/>
                  <a:gd name="T1" fmla="*/ 0 h 59"/>
                  <a:gd name="T2" fmla="*/ 7 w 29"/>
                  <a:gd name="T3" fmla="*/ 5 h 59"/>
                  <a:gd name="T4" fmla="*/ 4 w 29"/>
                  <a:gd name="T5" fmla="*/ 9 h 59"/>
                  <a:gd name="T6" fmla="*/ 2 w 29"/>
                  <a:gd name="T7" fmla="*/ 17 h 59"/>
                  <a:gd name="T8" fmla="*/ 2 w 29"/>
                  <a:gd name="T9" fmla="*/ 22 h 59"/>
                  <a:gd name="T10" fmla="*/ 5 w 29"/>
                  <a:gd name="T11" fmla="*/ 25 h 59"/>
                  <a:gd name="T12" fmla="*/ 4 w 29"/>
                  <a:gd name="T13" fmla="*/ 29 h 59"/>
                  <a:gd name="T14" fmla="*/ 7 w 29"/>
                  <a:gd name="T15" fmla="*/ 37 h 59"/>
                  <a:gd name="T16" fmla="*/ 6 w 29"/>
                  <a:gd name="T17" fmla="*/ 46 h 59"/>
                  <a:gd name="T18" fmla="*/ 12 w 29"/>
                  <a:gd name="T19" fmla="*/ 53 h 59"/>
                  <a:gd name="T20" fmla="*/ 21 w 29"/>
                  <a:gd name="T21" fmla="*/ 59 h 59"/>
                  <a:gd name="T22" fmla="*/ 11 w 29"/>
                  <a:gd name="T23" fmla="*/ 43 h 59"/>
                  <a:gd name="T24" fmla="*/ 11 w 29"/>
                  <a:gd name="T25" fmla="*/ 37 h 59"/>
                  <a:gd name="T26" fmla="*/ 12 w 29"/>
                  <a:gd name="T27" fmla="*/ 33 h 59"/>
                  <a:gd name="T28" fmla="*/ 12 w 29"/>
                  <a:gd name="T29" fmla="*/ 33 h 59"/>
                  <a:gd name="T30" fmla="*/ 24 w 29"/>
                  <a:gd name="T31" fmla="*/ 36 h 59"/>
                  <a:gd name="T32" fmla="*/ 29 w 29"/>
                  <a:gd name="T33" fmla="*/ 38 h 59"/>
                  <a:gd name="T34" fmla="*/ 21 w 29"/>
                  <a:gd name="T35" fmla="*/ 30 h 59"/>
                  <a:gd name="T36" fmla="*/ 19 w 29"/>
                  <a:gd name="T37" fmla="*/ 29 h 59"/>
                  <a:gd name="T38" fmla="*/ 24 w 29"/>
                  <a:gd name="T39" fmla="*/ 22 h 59"/>
                  <a:gd name="T40" fmla="*/ 26 w 29"/>
                  <a:gd name="T41" fmla="*/ 18 h 59"/>
                  <a:gd name="T42" fmla="*/ 27 w 29"/>
                  <a:gd name="T43" fmla="*/ 16 h 59"/>
                  <a:gd name="T44" fmla="*/ 26 w 29"/>
                  <a:gd name="T45" fmla="*/ 12 h 59"/>
                  <a:gd name="T46" fmla="*/ 24 w 29"/>
                  <a:gd name="T47" fmla="*/ 12 h 59"/>
                  <a:gd name="T48" fmla="*/ 20 w 29"/>
                  <a:gd name="T49" fmla="*/ 13 h 59"/>
                  <a:gd name="T50" fmla="*/ 16 w 29"/>
                  <a:gd name="T51" fmla="*/ 16 h 59"/>
                  <a:gd name="T52" fmla="*/ 14 w 29"/>
                  <a:gd name="T53" fmla="*/ 17 h 59"/>
                  <a:gd name="T54" fmla="*/ 15 w 29"/>
                  <a:gd name="T55" fmla="*/ 20 h 59"/>
                  <a:gd name="T56" fmla="*/ 11 w 29"/>
                  <a:gd name="T57" fmla="*/ 22 h 59"/>
                  <a:gd name="T58" fmla="*/ 10 w 29"/>
                  <a:gd name="T59" fmla="*/ 26 h 59"/>
                  <a:gd name="T60" fmla="*/ 9 w 29"/>
                  <a:gd name="T61" fmla="*/ 26 h 59"/>
                  <a:gd name="T62" fmla="*/ 6 w 29"/>
                  <a:gd name="T63" fmla="*/ 24 h 59"/>
                  <a:gd name="T64" fmla="*/ 9 w 29"/>
                  <a:gd name="T65" fmla="*/ 20 h 59"/>
                  <a:gd name="T66" fmla="*/ 9 w 29"/>
                  <a:gd name="T67" fmla="*/ 20 h 59"/>
                  <a:gd name="T68" fmla="*/ 10 w 29"/>
                  <a:gd name="T69" fmla="*/ 20 h 59"/>
                  <a:gd name="T70" fmla="*/ 10 w 29"/>
                  <a:gd name="T71" fmla="*/ 20 h 59"/>
                  <a:gd name="T72" fmla="*/ 10 w 29"/>
                  <a:gd name="T73" fmla="*/ 20 h 59"/>
                  <a:gd name="T74" fmla="*/ 11 w 29"/>
                  <a:gd name="T75" fmla="*/ 19 h 59"/>
                  <a:gd name="T76" fmla="*/ 12 w 29"/>
                  <a:gd name="T77" fmla="*/ 17 h 59"/>
                  <a:gd name="T78" fmla="*/ 11 w 29"/>
                  <a:gd name="T79" fmla="*/ 8 h 59"/>
                  <a:gd name="T80" fmla="*/ 11 w 29"/>
                  <a:gd name="T81" fmla="*/ 4 h 59"/>
                  <a:gd name="T82" fmla="*/ 13 w 29"/>
                  <a:gd name="T8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 h="59">
                    <a:moveTo>
                      <a:pt x="13" y="0"/>
                    </a:moveTo>
                    <a:cubicBezTo>
                      <a:pt x="11" y="1"/>
                      <a:pt x="9" y="3"/>
                      <a:pt x="7" y="5"/>
                    </a:cubicBezTo>
                    <a:cubicBezTo>
                      <a:pt x="6" y="6"/>
                      <a:pt x="5" y="8"/>
                      <a:pt x="4" y="9"/>
                    </a:cubicBezTo>
                    <a:cubicBezTo>
                      <a:pt x="3" y="12"/>
                      <a:pt x="3" y="15"/>
                      <a:pt x="2" y="17"/>
                    </a:cubicBezTo>
                    <a:cubicBezTo>
                      <a:pt x="1" y="19"/>
                      <a:pt x="0" y="20"/>
                      <a:pt x="2" y="22"/>
                    </a:cubicBezTo>
                    <a:cubicBezTo>
                      <a:pt x="2" y="23"/>
                      <a:pt x="4" y="25"/>
                      <a:pt x="5" y="25"/>
                    </a:cubicBezTo>
                    <a:cubicBezTo>
                      <a:pt x="5" y="26"/>
                      <a:pt x="4" y="28"/>
                      <a:pt x="4" y="29"/>
                    </a:cubicBezTo>
                    <a:cubicBezTo>
                      <a:pt x="3" y="32"/>
                      <a:pt x="7" y="34"/>
                      <a:pt x="7" y="37"/>
                    </a:cubicBezTo>
                    <a:cubicBezTo>
                      <a:pt x="7" y="39"/>
                      <a:pt x="5" y="43"/>
                      <a:pt x="6" y="46"/>
                    </a:cubicBezTo>
                    <a:cubicBezTo>
                      <a:pt x="7" y="48"/>
                      <a:pt x="10" y="51"/>
                      <a:pt x="12" y="53"/>
                    </a:cubicBezTo>
                    <a:cubicBezTo>
                      <a:pt x="14" y="56"/>
                      <a:pt x="17" y="57"/>
                      <a:pt x="21" y="59"/>
                    </a:cubicBezTo>
                    <a:cubicBezTo>
                      <a:pt x="17" y="54"/>
                      <a:pt x="14" y="48"/>
                      <a:pt x="11" y="43"/>
                    </a:cubicBezTo>
                    <a:cubicBezTo>
                      <a:pt x="10" y="41"/>
                      <a:pt x="11" y="39"/>
                      <a:pt x="11" y="37"/>
                    </a:cubicBezTo>
                    <a:cubicBezTo>
                      <a:pt x="11" y="36"/>
                      <a:pt x="9" y="33"/>
                      <a:pt x="12" y="33"/>
                    </a:cubicBezTo>
                    <a:cubicBezTo>
                      <a:pt x="12" y="33"/>
                      <a:pt x="12" y="33"/>
                      <a:pt x="12" y="33"/>
                    </a:cubicBezTo>
                    <a:cubicBezTo>
                      <a:pt x="17" y="34"/>
                      <a:pt x="20" y="35"/>
                      <a:pt x="24" y="36"/>
                    </a:cubicBezTo>
                    <a:cubicBezTo>
                      <a:pt x="26" y="36"/>
                      <a:pt x="28" y="37"/>
                      <a:pt x="29" y="38"/>
                    </a:cubicBezTo>
                    <a:cubicBezTo>
                      <a:pt x="27" y="35"/>
                      <a:pt x="25" y="32"/>
                      <a:pt x="21" y="30"/>
                    </a:cubicBezTo>
                    <a:cubicBezTo>
                      <a:pt x="21" y="30"/>
                      <a:pt x="20" y="30"/>
                      <a:pt x="19" y="29"/>
                    </a:cubicBezTo>
                    <a:cubicBezTo>
                      <a:pt x="14" y="26"/>
                      <a:pt x="21" y="24"/>
                      <a:pt x="24" y="22"/>
                    </a:cubicBezTo>
                    <a:cubicBezTo>
                      <a:pt x="26" y="21"/>
                      <a:pt x="25" y="21"/>
                      <a:pt x="26" y="18"/>
                    </a:cubicBezTo>
                    <a:cubicBezTo>
                      <a:pt x="26" y="17"/>
                      <a:pt x="27" y="17"/>
                      <a:pt x="27" y="16"/>
                    </a:cubicBezTo>
                    <a:cubicBezTo>
                      <a:pt x="27" y="14"/>
                      <a:pt x="25" y="13"/>
                      <a:pt x="26" y="12"/>
                    </a:cubicBezTo>
                    <a:cubicBezTo>
                      <a:pt x="26" y="12"/>
                      <a:pt x="25" y="12"/>
                      <a:pt x="24" y="12"/>
                    </a:cubicBezTo>
                    <a:cubicBezTo>
                      <a:pt x="23" y="12"/>
                      <a:pt x="21" y="12"/>
                      <a:pt x="20" y="13"/>
                    </a:cubicBezTo>
                    <a:cubicBezTo>
                      <a:pt x="19" y="13"/>
                      <a:pt x="17" y="15"/>
                      <a:pt x="16" y="16"/>
                    </a:cubicBezTo>
                    <a:cubicBezTo>
                      <a:pt x="14" y="17"/>
                      <a:pt x="14" y="17"/>
                      <a:pt x="14" y="17"/>
                    </a:cubicBezTo>
                    <a:cubicBezTo>
                      <a:pt x="14" y="19"/>
                      <a:pt x="17" y="19"/>
                      <a:pt x="15" y="20"/>
                    </a:cubicBezTo>
                    <a:cubicBezTo>
                      <a:pt x="15" y="21"/>
                      <a:pt x="13" y="20"/>
                      <a:pt x="11" y="22"/>
                    </a:cubicBezTo>
                    <a:cubicBezTo>
                      <a:pt x="11" y="23"/>
                      <a:pt x="11" y="25"/>
                      <a:pt x="10" y="26"/>
                    </a:cubicBezTo>
                    <a:cubicBezTo>
                      <a:pt x="9" y="26"/>
                      <a:pt x="9" y="26"/>
                      <a:pt x="9" y="26"/>
                    </a:cubicBezTo>
                    <a:cubicBezTo>
                      <a:pt x="7" y="26"/>
                      <a:pt x="6" y="25"/>
                      <a:pt x="6" y="24"/>
                    </a:cubicBezTo>
                    <a:cubicBezTo>
                      <a:pt x="6" y="23"/>
                      <a:pt x="8" y="21"/>
                      <a:pt x="9" y="20"/>
                    </a:cubicBezTo>
                    <a:cubicBezTo>
                      <a:pt x="9" y="20"/>
                      <a:pt x="9" y="20"/>
                      <a:pt x="9" y="20"/>
                    </a:cubicBezTo>
                    <a:cubicBezTo>
                      <a:pt x="9" y="20"/>
                      <a:pt x="9" y="20"/>
                      <a:pt x="10" y="20"/>
                    </a:cubicBezTo>
                    <a:cubicBezTo>
                      <a:pt x="10" y="20"/>
                      <a:pt x="10" y="20"/>
                      <a:pt x="10" y="20"/>
                    </a:cubicBezTo>
                    <a:cubicBezTo>
                      <a:pt x="10" y="20"/>
                      <a:pt x="10" y="20"/>
                      <a:pt x="10" y="20"/>
                    </a:cubicBezTo>
                    <a:cubicBezTo>
                      <a:pt x="11" y="19"/>
                      <a:pt x="11" y="19"/>
                      <a:pt x="11" y="19"/>
                    </a:cubicBezTo>
                    <a:cubicBezTo>
                      <a:pt x="11" y="18"/>
                      <a:pt x="12" y="18"/>
                      <a:pt x="12" y="17"/>
                    </a:cubicBezTo>
                    <a:cubicBezTo>
                      <a:pt x="14" y="14"/>
                      <a:pt x="12" y="11"/>
                      <a:pt x="11" y="8"/>
                    </a:cubicBezTo>
                    <a:cubicBezTo>
                      <a:pt x="10" y="5"/>
                      <a:pt x="10" y="6"/>
                      <a:pt x="11" y="4"/>
                    </a:cubicBezTo>
                    <a:cubicBezTo>
                      <a:pt x="12" y="3"/>
                      <a:pt x="13"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2" name="Freeform 150">
                <a:extLst>
                  <a:ext uri="{FF2B5EF4-FFF2-40B4-BE49-F238E27FC236}">
                    <a16:creationId xmlns:a16="http://schemas.microsoft.com/office/drawing/2014/main" id="{FAC59799-999E-4657-9DF5-755430232946}"/>
                  </a:ext>
                </a:extLst>
              </p:cNvPr>
              <p:cNvSpPr>
                <a:spLocks/>
              </p:cNvSpPr>
              <p:nvPr/>
            </p:nvSpPr>
            <p:spPr bwMode="auto">
              <a:xfrm>
                <a:off x="6952" y="3354"/>
                <a:ext cx="24" cy="21"/>
              </a:xfrm>
              <a:custGeom>
                <a:avLst/>
                <a:gdLst>
                  <a:gd name="T0" fmla="*/ 5 w 10"/>
                  <a:gd name="T1" fmla="*/ 0 h 9"/>
                  <a:gd name="T2" fmla="*/ 1 w 10"/>
                  <a:gd name="T3" fmla="*/ 2 h 9"/>
                  <a:gd name="T4" fmla="*/ 2 w 10"/>
                  <a:gd name="T5" fmla="*/ 9 h 9"/>
                  <a:gd name="T6" fmla="*/ 10 w 10"/>
                  <a:gd name="T7" fmla="*/ 9 h 9"/>
                  <a:gd name="T8" fmla="*/ 7 w 10"/>
                  <a:gd name="T9" fmla="*/ 1 h 9"/>
                  <a:gd name="T10" fmla="*/ 5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5" y="0"/>
                    </a:moveTo>
                    <a:cubicBezTo>
                      <a:pt x="3" y="0"/>
                      <a:pt x="2" y="1"/>
                      <a:pt x="1" y="2"/>
                    </a:cubicBezTo>
                    <a:cubicBezTo>
                      <a:pt x="0" y="4"/>
                      <a:pt x="0" y="7"/>
                      <a:pt x="2" y="9"/>
                    </a:cubicBezTo>
                    <a:cubicBezTo>
                      <a:pt x="10" y="9"/>
                      <a:pt x="10" y="9"/>
                      <a:pt x="10" y="9"/>
                    </a:cubicBezTo>
                    <a:cubicBezTo>
                      <a:pt x="9" y="6"/>
                      <a:pt x="8" y="4"/>
                      <a:pt x="7" y="1"/>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3" name="Freeform 151">
                <a:extLst>
                  <a:ext uri="{FF2B5EF4-FFF2-40B4-BE49-F238E27FC236}">
                    <a16:creationId xmlns:a16="http://schemas.microsoft.com/office/drawing/2014/main" id="{86EE3D85-77B9-4443-BDF4-91FB21889780}"/>
                  </a:ext>
                </a:extLst>
              </p:cNvPr>
              <p:cNvSpPr>
                <a:spLocks noEditPoints="1"/>
              </p:cNvSpPr>
              <p:nvPr/>
            </p:nvSpPr>
            <p:spPr bwMode="auto">
              <a:xfrm>
                <a:off x="7885" y="3236"/>
                <a:ext cx="268" cy="139"/>
              </a:xfrm>
              <a:custGeom>
                <a:avLst/>
                <a:gdLst>
                  <a:gd name="T0" fmla="*/ 68 w 113"/>
                  <a:gd name="T1" fmla="*/ 46 h 59"/>
                  <a:gd name="T2" fmla="*/ 64 w 113"/>
                  <a:gd name="T3" fmla="*/ 47 h 59"/>
                  <a:gd name="T4" fmla="*/ 56 w 113"/>
                  <a:gd name="T5" fmla="*/ 47 h 59"/>
                  <a:gd name="T6" fmla="*/ 48 w 113"/>
                  <a:gd name="T7" fmla="*/ 51 h 59"/>
                  <a:gd name="T8" fmla="*/ 44 w 113"/>
                  <a:gd name="T9" fmla="*/ 48 h 59"/>
                  <a:gd name="T10" fmla="*/ 40 w 113"/>
                  <a:gd name="T11" fmla="*/ 51 h 59"/>
                  <a:gd name="T12" fmla="*/ 35 w 113"/>
                  <a:gd name="T13" fmla="*/ 59 h 59"/>
                  <a:gd name="T14" fmla="*/ 63 w 113"/>
                  <a:gd name="T15" fmla="*/ 55 h 59"/>
                  <a:gd name="T16" fmla="*/ 70 w 113"/>
                  <a:gd name="T17" fmla="*/ 49 h 59"/>
                  <a:gd name="T18" fmla="*/ 77 w 113"/>
                  <a:gd name="T19" fmla="*/ 52 h 59"/>
                  <a:gd name="T20" fmla="*/ 73 w 113"/>
                  <a:gd name="T21" fmla="*/ 44 h 59"/>
                  <a:gd name="T22" fmla="*/ 109 w 113"/>
                  <a:gd name="T23" fmla="*/ 0 h 59"/>
                  <a:gd name="T24" fmla="*/ 100 w 113"/>
                  <a:gd name="T25" fmla="*/ 7 h 59"/>
                  <a:gd name="T26" fmla="*/ 92 w 113"/>
                  <a:gd name="T27" fmla="*/ 14 h 59"/>
                  <a:gd name="T28" fmla="*/ 78 w 113"/>
                  <a:gd name="T29" fmla="*/ 16 h 59"/>
                  <a:gd name="T30" fmla="*/ 69 w 113"/>
                  <a:gd name="T31" fmla="*/ 16 h 59"/>
                  <a:gd name="T32" fmla="*/ 55 w 113"/>
                  <a:gd name="T33" fmla="*/ 13 h 59"/>
                  <a:gd name="T34" fmla="*/ 47 w 113"/>
                  <a:gd name="T35" fmla="*/ 13 h 59"/>
                  <a:gd name="T36" fmla="*/ 45 w 113"/>
                  <a:gd name="T37" fmla="*/ 13 h 59"/>
                  <a:gd name="T38" fmla="*/ 40 w 113"/>
                  <a:gd name="T39" fmla="*/ 8 h 59"/>
                  <a:gd name="T40" fmla="*/ 36 w 113"/>
                  <a:gd name="T41" fmla="*/ 8 h 59"/>
                  <a:gd name="T42" fmla="*/ 28 w 113"/>
                  <a:gd name="T43" fmla="*/ 12 h 59"/>
                  <a:gd name="T44" fmla="*/ 23 w 113"/>
                  <a:gd name="T45" fmla="*/ 18 h 59"/>
                  <a:gd name="T46" fmla="*/ 19 w 113"/>
                  <a:gd name="T47" fmla="*/ 15 h 59"/>
                  <a:gd name="T48" fmla="*/ 19 w 113"/>
                  <a:gd name="T49" fmla="*/ 14 h 59"/>
                  <a:gd name="T50" fmla="*/ 15 w 113"/>
                  <a:gd name="T51" fmla="*/ 18 h 59"/>
                  <a:gd name="T52" fmla="*/ 12 w 113"/>
                  <a:gd name="T53" fmla="*/ 23 h 59"/>
                  <a:gd name="T54" fmla="*/ 8 w 113"/>
                  <a:gd name="T55" fmla="*/ 33 h 59"/>
                  <a:gd name="T56" fmla="*/ 6 w 113"/>
                  <a:gd name="T57" fmla="*/ 33 h 59"/>
                  <a:gd name="T58" fmla="*/ 9 w 113"/>
                  <a:gd name="T59" fmla="*/ 48 h 59"/>
                  <a:gd name="T60" fmla="*/ 1 w 113"/>
                  <a:gd name="T61" fmla="*/ 55 h 59"/>
                  <a:gd name="T62" fmla="*/ 0 w 113"/>
                  <a:gd name="T63" fmla="*/ 59 h 59"/>
                  <a:gd name="T64" fmla="*/ 21 w 113"/>
                  <a:gd name="T65" fmla="*/ 51 h 59"/>
                  <a:gd name="T66" fmla="*/ 20 w 113"/>
                  <a:gd name="T67" fmla="*/ 50 h 59"/>
                  <a:gd name="T68" fmla="*/ 19 w 113"/>
                  <a:gd name="T69" fmla="*/ 51 h 59"/>
                  <a:gd name="T70" fmla="*/ 16 w 113"/>
                  <a:gd name="T71" fmla="*/ 47 h 59"/>
                  <a:gd name="T72" fmla="*/ 13 w 113"/>
                  <a:gd name="T73" fmla="*/ 37 h 59"/>
                  <a:gd name="T74" fmla="*/ 25 w 113"/>
                  <a:gd name="T75" fmla="*/ 22 h 59"/>
                  <a:gd name="T76" fmla="*/ 38 w 113"/>
                  <a:gd name="T77" fmla="*/ 24 h 59"/>
                  <a:gd name="T78" fmla="*/ 53 w 113"/>
                  <a:gd name="T79" fmla="*/ 24 h 59"/>
                  <a:gd name="T80" fmla="*/ 55 w 113"/>
                  <a:gd name="T81" fmla="*/ 24 h 59"/>
                  <a:gd name="T82" fmla="*/ 65 w 113"/>
                  <a:gd name="T83" fmla="*/ 23 h 59"/>
                  <a:gd name="T84" fmla="*/ 79 w 113"/>
                  <a:gd name="T85" fmla="*/ 27 h 59"/>
                  <a:gd name="T86" fmla="*/ 87 w 113"/>
                  <a:gd name="T87" fmla="*/ 27 h 59"/>
                  <a:gd name="T88" fmla="*/ 102 w 113"/>
                  <a:gd name="T89" fmla="*/ 18 h 59"/>
                  <a:gd name="T90" fmla="*/ 110 w 113"/>
                  <a:gd name="T91" fmla="*/ 6 h 59"/>
                  <a:gd name="T92" fmla="*/ 109 w 113"/>
                  <a:gd name="T9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3" h="59">
                    <a:moveTo>
                      <a:pt x="73" y="43"/>
                    </a:moveTo>
                    <a:cubicBezTo>
                      <a:pt x="71" y="43"/>
                      <a:pt x="70" y="44"/>
                      <a:pt x="68" y="46"/>
                    </a:cubicBezTo>
                    <a:cubicBezTo>
                      <a:pt x="71" y="47"/>
                      <a:pt x="67" y="47"/>
                      <a:pt x="65" y="47"/>
                    </a:cubicBezTo>
                    <a:cubicBezTo>
                      <a:pt x="64" y="47"/>
                      <a:pt x="64" y="47"/>
                      <a:pt x="64" y="47"/>
                    </a:cubicBezTo>
                    <a:cubicBezTo>
                      <a:pt x="62" y="47"/>
                      <a:pt x="60" y="47"/>
                      <a:pt x="58" y="47"/>
                    </a:cubicBezTo>
                    <a:cubicBezTo>
                      <a:pt x="57" y="47"/>
                      <a:pt x="56" y="47"/>
                      <a:pt x="56" y="47"/>
                    </a:cubicBezTo>
                    <a:cubicBezTo>
                      <a:pt x="53" y="48"/>
                      <a:pt x="51" y="49"/>
                      <a:pt x="49" y="50"/>
                    </a:cubicBezTo>
                    <a:cubicBezTo>
                      <a:pt x="49" y="51"/>
                      <a:pt x="49" y="51"/>
                      <a:pt x="48" y="51"/>
                    </a:cubicBezTo>
                    <a:cubicBezTo>
                      <a:pt x="47" y="51"/>
                      <a:pt x="46" y="49"/>
                      <a:pt x="45" y="49"/>
                    </a:cubicBezTo>
                    <a:cubicBezTo>
                      <a:pt x="44" y="49"/>
                      <a:pt x="45" y="48"/>
                      <a:pt x="44" y="48"/>
                    </a:cubicBezTo>
                    <a:cubicBezTo>
                      <a:pt x="44" y="48"/>
                      <a:pt x="44" y="48"/>
                      <a:pt x="43" y="49"/>
                    </a:cubicBezTo>
                    <a:cubicBezTo>
                      <a:pt x="42" y="49"/>
                      <a:pt x="41" y="50"/>
                      <a:pt x="40" y="51"/>
                    </a:cubicBezTo>
                    <a:cubicBezTo>
                      <a:pt x="39" y="52"/>
                      <a:pt x="38" y="54"/>
                      <a:pt x="37" y="55"/>
                    </a:cubicBezTo>
                    <a:cubicBezTo>
                      <a:pt x="36" y="56"/>
                      <a:pt x="36" y="57"/>
                      <a:pt x="35" y="59"/>
                    </a:cubicBezTo>
                    <a:cubicBezTo>
                      <a:pt x="59" y="59"/>
                      <a:pt x="59" y="59"/>
                      <a:pt x="59" y="59"/>
                    </a:cubicBezTo>
                    <a:cubicBezTo>
                      <a:pt x="61" y="57"/>
                      <a:pt x="62" y="56"/>
                      <a:pt x="63" y="55"/>
                    </a:cubicBezTo>
                    <a:cubicBezTo>
                      <a:pt x="64" y="54"/>
                      <a:pt x="65" y="53"/>
                      <a:pt x="66" y="51"/>
                    </a:cubicBezTo>
                    <a:cubicBezTo>
                      <a:pt x="67" y="50"/>
                      <a:pt x="68" y="50"/>
                      <a:pt x="70" y="49"/>
                    </a:cubicBezTo>
                    <a:cubicBezTo>
                      <a:pt x="71" y="49"/>
                      <a:pt x="71" y="49"/>
                      <a:pt x="71" y="49"/>
                    </a:cubicBezTo>
                    <a:cubicBezTo>
                      <a:pt x="74" y="49"/>
                      <a:pt x="75" y="51"/>
                      <a:pt x="77" y="52"/>
                    </a:cubicBezTo>
                    <a:cubicBezTo>
                      <a:pt x="77" y="49"/>
                      <a:pt x="79" y="45"/>
                      <a:pt x="76" y="44"/>
                    </a:cubicBezTo>
                    <a:cubicBezTo>
                      <a:pt x="75" y="44"/>
                      <a:pt x="74" y="44"/>
                      <a:pt x="73" y="44"/>
                    </a:cubicBezTo>
                    <a:cubicBezTo>
                      <a:pt x="73" y="44"/>
                      <a:pt x="73" y="43"/>
                      <a:pt x="73" y="43"/>
                    </a:cubicBezTo>
                    <a:moveTo>
                      <a:pt x="109" y="0"/>
                    </a:moveTo>
                    <a:cubicBezTo>
                      <a:pt x="107" y="0"/>
                      <a:pt x="106" y="2"/>
                      <a:pt x="105" y="3"/>
                    </a:cubicBezTo>
                    <a:cubicBezTo>
                      <a:pt x="104" y="5"/>
                      <a:pt x="103" y="5"/>
                      <a:pt x="100" y="7"/>
                    </a:cubicBezTo>
                    <a:cubicBezTo>
                      <a:pt x="101" y="9"/>
                      <a:pt x="101" y="9"/>
                      <a:pt x="99" y="10"/>
                    </a:cubicBezTo>
                    <a:cubicBezTo>
                      <a:pt x="98" y="12"/>
                      <a:pt x="95" y="13"/>
                      <a:pt x="92" y="14"/>
                    </a:cubicBezTo>
                    <a:cubicBezTo>
                      <a:pt x="91" y="15"/>
                      <a:pt x="88" y="16"/>
                      <a:pt x="88" y="17"/>
                    </a:cubicBezTo>
                    <a:cubicBezTo>
                      <a:pt x="85" y="17"/>
                      <a:pt x="81" y="16"/>
                      <a:pt x="78" y="16"/>
                    </a:cubicBezTo>
                    <a:cubicBezTo>
                      <a:pt x="76" y="16"/>
                      <a:pt x="75" y="15"/>
                      <a:pt x="74" y="15"/>
                    </a:cubicBezTo>
                    <a:cubicBezTo>
                      <a:pt x="72" y="15"/>
                      <a:pt x="71" y="16"/>
                      <a:pt x="69" y="16"/>
                    </a:cubicBezTo>
                    <a:cubicBezTo>
                      <a:pt x="68" y="17"/>
                      <a:pt x="67" y="17"/>
                      <a:pt x="67" y="17"/>
                    </a:cubicBezTo>
                    <a:cubicBezTo>
                      <a:pt x="63" y="17"/>
                      <a:pt x="58" y="14"/>
                      <a:pt x="55" y="13"/>
                    </a:cubicBezTo>
                    <a:cubicBezTo>
                      <a:pt x="53" y="13"/>
                      <a:pt x="51" y="13"/>
                      <a:pt x="49" y="13"/>
                    </a:cubicBezTo>
                    <a:cubicBezTo>
                      <a:pt x="49" y="13"/>
                      <a:pt x="48" y="13"/>
                      <a:pt x="47" y="13"/>
                    </a:cubicBezTo>
                    <a:cubicBezTo>
                      <a:pt x="47" y="13"/>
                      <a:pt x="46" y="13"/>
                      <a:pt x="46" y="13"/>
                    </a:cubicBezTo>
                    <a:cubicBezTo>
                      <a:pt x="45" y="13"/>
                      <a:pt x="45" y="13"/>
                      <a:pt x="45" y="13"/>
                    </a:cubicBezTo>
                    <a:cubicBezTo>
                      <a:pt x="42" y="13"/>
                      <a:pt x="43" y="10"/>
                      <a:pt x="41" y="9"/>
                    </a:cubicBezTo>
                    <a:cubicBezTo>
                      <a:pt x="40" y="8"/>
                      <a:pt x="40" y="8"/>
                      <a:pt x="40" y="8"/>
                    </a:cubicBezTo>
                    <a:cubicBezTo>
                      <a:pt x="39" y="8"/>
                      <a:pt x="39" y="8"/>
                      <a:pt x="38" y="8"/>
                    </a:cubicBezTo>
                    <a:cubicBezTo>
                      <a:pt x="38" y="8"/>
                      <a:pt x="37" y="8"/>
                      <a:pt x="36" y="8"/>
                    </a:cubicBezTo>
                    <a:cubicBezTo>
                      <a:pt x="34" y="8"/>
                      <a:pt x="31" y="8"/>
                      <a:pt x="29" y="8"/>
                    </a:cubicBezTo>
                    <a:cubicBezTo>
                      <a:pt x="29" y="9"/>
                      <a:pt x="29" y="11"/>
                      <a:pt x="28" y="12"/>
                    </a:cubicBezTo>
                    <a:cubicBezTo>
                      <a:pt x="28" y="14"/>
                      <a:pt x="26" y="14"/>
                      <a:pt x="25" y="16"/>
                    </a:cubicBezTo>
                    <a:cubicBezTo>
                      <a:pt x="24" y="17"/>
                      <a:pt x="24" y="18"/>
                      <a:pt x="23" y="18"/>
                    </a:cubicBezTo>
                    <a:cubicBezTo>
                      <a:pt x="23" y="18"/>
                      <a:pt x="22" y="17"/>
                      <a:pt x="22" y="17"/>
                    </a:cubicBezTo>
                    <a:cubicBezTo>
                      <a:pt x="20" y="16"/>
                      <a:pt x="20" y="16"/>
                      <a:pt x="19" y="15"/>
                    </a:cubicBezTo>
                    <a:cubicBezTo>
                      <a:pt x="19" y="14"/>
                      <a:pt x="19" y="14"/>
                      <a:pt x="19" y="14"/>
                    </a:cubicBezTo>
                    <a:cubicBezTo>
                      <a:pt x="19" y="14"/>
                      <a:pt x="19" y="14"/>
                      <a:pt x="19" y="14"/>
                    </a:cubicBezTo>
                    <a:cubicBezTo>
                      <a:pt x="18" y="14"/>
                      <a:pt x="18" y="15"/>
                      <a:pt x="18" y="15"/>
                    </a:cubicBezTo>
                    <a:cubicBezTo>
                      <a:pt x="17" y="16"/>
                      <a:pt x="16" y="18"/>
                      <a:pt x="15" y="18"/>
                    </a:cubicBezTo>
                    <a:cubicBezTo>
                      <a:pt x="15" y="19"/>
                      <a:pt x="13" y="19"/>
                      <a:pt x="13" y="20"/>
                    </a:cubicBezTo>
                    <a:cubicBezTo>
                      <a:pt x="13" y="21"/>
                      <a:pt x="13" y="22"/>
                      <a:pt x="12" y="23"/>
                    </a:cubicBezTo>
                    <a:cubicBezTo>
                      <a:pt x="11" y="24"/>
                      <a:pt x="11" y="24"/>
                      <a:pt x="11" y="24"/>
                    </a:cubicBezTo>
                    <a:cubicBezTo>
                      <a:pt x="9" y="27"/>
                      <a:pt x="9" y="30"/>
                      <a:pt x="8" y="33"/>
                    </a:cubicBezTo>
                    <a:cubicBezTo>
                      <a:pt x="7" y="33"/>
                      <a:pt x="7" y="32"/>
                      <a:pt x="7" y="32"/>
                    </a:cubicBezTo>
                    <a:cubicBezTo>
                      <a:pt x="6" y="32"/>
                      <a:pt x="6" y="33"/>
                      <a:pt x="6" y="33"/>
                    </a:cubicBezTo>
                    <a:cubicBezTo>
                      <a:pt x="8" y="35"/>
                      <a:pt x="9" y="34"/>
                      <a:pt x="9" y="37"/>
                    </a:cubicBezTo>
                    <a:cubicBezTo>
                      <a:pt x="10" y="39"/>
                      <a:pt x="11" y="46"/>
                      <a:pt x="9" y="48"/>
                    </a:cubicBezTo>
                    <a:cubicBezTo>
                      <a:pt x="9" y="47"/>
                      <a:pt x="8" y="46"/>
                      <a:pt x="8" y="45"/>
                    </a:cubicBezTo>
                    <a:cubicBezTo>
                      <a:pt x="5" y="48"/>
                      <a:pt x="3" y="51"/>
                      <a:pt x="1" y="55"/>
                    </a:cubicBezTo>
                    <a:cubicBezTo>
                      <a:pt x="1" y="55"/>
                      <a:pt x="0" y="56"/>
                      <a:pt x="0" y="56"/>
                    </a:cubicBezTo>
                    <a:cubicBezTo>
                      <a:pt x="0" y="57"/>
                      <a:pt x="0" y="58"/>
                      <a:pt x="0" y="59"/>
                    </a:cubicBezTo>
                    <a:cubicBezTo>
                      <a:pt x="25" y="59"/>
                      <a:pt x="25" y="59"/>
                      <a:pt x="25" y="59"/>
                    </a:cubicBezTo>
                    <a:cubicBezTo>
                      <a:pt x="24" y="56"/>
                      <a:pt x="24" y="52"/>
                      <a:pt x="21" y="51"/>
                    </a:cubicBezTo>
                    <a:cubicBezTo>
                      <a:pt x="21" y="51"/>
                      <a:pt x="21" y="50"/>
                      <a:pt x="20" y="50"/>
                    </a:cubicBezTo>
                    <a:cubicBezTo>
                      <a:pt x="20" y="50"/>
                      <a:pt x="20" y="50"/>
                      <a:pt x="20" y="50"/>
                    </a:cubicBezTo>
                    <a:cubicBezTo>
                      <a:pt x="20" y="50"/>
                      <a:pt x="20" y="50"/>
                      <a:pt x="20" y="50"/>
                    </a:cubicBezTo>
                    <a:cubicBezTo>
                      <a:pt x="19" y="50"/>
                      <a:pt x="19" y="51"/>
                      <a:pt x="19" y="51"/>
                    </a:cubicBezTo>
                    <a:cubicBezTo>
                      <a:pt x="19" y="51"/>
                      <a:pt x="19" y="51"/>
                      <a:pt x="19" y="51"/>
                    </a:cubicBezTo>
                    <a:cubicBezTo>
                      <a:pt x="18" y="50"/>
                      <a:pt x="16" y="48"/>
                      <a:pt x="16" y="47"/>
                    </a:cubicBezTo>
                    <a:cubicBezTo>
                      <a:pt x="14" y="45"/>
                      <a:pt x="14" y="44"/>
                      <a:pt x="14" y="42"/>
                    </a:cubicBezTo>
                    <a:cubicBezTo>
                      <a:pt x="14" y="41"/>
                      <a:pt x="13" y="39"/>
                      <a:pt x="13" y="37"/>
                    </a:cubicBezTo>
                    <a:cubicBezTo>
                      <a:pt x="13" y="33"/>
                      <a:pt x="16" y="26"/>
                      <a:pt x="20" y="24"/>
                    </a:cubicBezTo>
                    <a:cubicBezTo>
                      <a:pt x="21" y="23"/>
                      <a:pt x="23" y="22"/>
                      <a:pt x="25" y="22"/>
                    </a:cubicBezTo>
                    <a:cubicBezTo>
                      <a:pt x="27" y="22"/>
                      <a:pt x="30" y="23"/>
                      <a:pt x="32" y="23"/>
                    </a:cubicBezTo>
                    <a:cubicBezTo>
                      <a:pt x="34" y="24"/>
                      <a:pt x="36" y="24"/>
                      <a:pt x="38" y="24"/>
                    </a:cubicBezTo>
                    <a:cubicBezTo>
                      <a:pt x="38" y="24"/>
                      <a:pt x="38" y="24"/>
                      <a:pt x="38" y="24"/>
                    </a:cubicBezTo>
                    <a:cubicBezTo>
                      <a:pt x="43" y="24"/>
                      <a:pt x="48" y="24"/>
                      <a:pt x="53" y="24"/>
                    </a:cubicBezTo>
                    <a:cubicBezTo>
                      <a:pt x="53" y="24"/>
                      <a:pt x="54" y="24"/>
                      <a:pt x="55" y="24"/>
                    </a:cubicBezTo>
                    <a:cubicBezTo>
                      <a:pt x="55" y="24"/>
                      <a:pt x="55" y="24"/>
                      <a:pt x="55" y="24"/>
                    </a:cubicBezTo>
                    <a:cubicBezTo>
                      <a:pt x="56" y="24"/>
                      <a:pt x="58" y="23"/>
                      <a:pt x="60" y="23"/>
                    </a:cubicBezTo>
                    <a:cubicBezTo>
                      <a:pt x="61" y="23"/>
                      <a:pt x="63" y="23"/>
                      <a:pt x="65" y="23"/>
                    </a:cubicBezTo>
                    <a:cubicBezTo>
                      <a:pt x="67" y="23"/>
                      <a:pt x="70" y="23"/>
                      <a:pt x="72" y="24"/>
                    </a:cubicBezTo>
                    <a:cubicBezTo>
                      <a:pt x="74" y="25"/>
                      <a:pt x="77" y="26"/>
                      <a:pt x="79" y="27"/>
                    </a:cubicBezTo>
                    <a:cubicBezTo>
                      <a:pt x="80" y="27"/>
                      <a:pt x="81" y="27"/>
                      <a:pt x="82" y="27"/>
                    </a:cubicBezTo>
                    <a:cubicBezTo>
                      <a:pt x="84" y="27"/>
                      <a:pt x="85" y="27"/>
                      <a:pt x="87" y="27"/>
                    </a:cubicBezTo>
                    <a:cubicBezTo>
                      <a:pt x="89" y="26"/>
                      <a:pt x="93" y="26"/>
                      <a:pt x="95" y="25"/>
                    </a:cubicBezTo>
                    <a:cubicBezTo>
                      <a:pt x="97" y="23"/>
                      <a:pt x="99" y="20"/>
                      <a:pt x="102" y="18"/>
                    </a:cubicBezTo>
                    <a:cubicBezTo>
                      <a:pt x="103" y="16"/>
                      <a:pt x="106" y="15"/>
                      <a:pt x="107" y="14"/>
                    </a:cubicBezTo>
                    <a:cubicBezTo>
                      <a:pt x="108" y="11"/>
                      <a:pt x="109" y="9"/>
                      <a:pt x="110" y="6"/>
                    </a:cubicBezTo>
                    <a:cubicBezTo>
                      <a:pt x="111" y="3"/>
                      <a:pt x="113" y="1"/>
                      <a:pt x="109" y="0"/>
                    </a:cubicBezTo>
                    <a:cubicBezTo>
                      <a:pt x="109" y="0"/>
                      <a:pt x="109" y="0"/>
                      <a:pt x="10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4" name="Freeform 152">
                <a:extLst>
                  <a:ext uri="{FF2B5EF4-FFF2-40B4-BE49-F238E27FC236}">
                    <a16:creationId xmlns:a16="http://schemas.microsoft.com/office/drawing/2014/main" id="{132CC2C1-4F33-4CF6-AC9B-1576D62BAEF7}"/>
                  </a:ext>
                </a:extLst>
              </p:cNvPr>
              <p:cNvSpPr>
                <a:spLocks/>
              </p:cNvSpPr>
              <p:nvPr/>
            </p:nvSpPr>
            <p:spPr bwMode="auto">
              <a:xfrm>
                <a:off x="8356" y="3366"/>
                <a:ext cx="4" cy="2"/>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0" y="1"/>
                    </a:cubicBezTo>
                    <a:cubicBezTo>
                      <a:pt x="0" y="0"/>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5" name="Freeform 153">
                <a:extLst>
                  <a:ext uri="{FF2B5EF4-FFF2-40B4-BE49-F238E27FC236}">
                    <a16:creationId xmlns:a16="http://schemas.microsoft.com/office/drawing/2014/main" id="{E5809FDA-6A89-4943-B52E-4F0B5A502111}"/>
                  </a:ext>
                </a:extLst>
              </p:cNvPr>
              <p:cNvSpPr>
                <a:spLocks/>
              </p:cNvSpPr>
              <p:nvPr/>
            </p:nvSpPr>
            <p:spPr bwMode="auto">
              <a:xfrm>
                <a:off x="8247" y="3281"/>
                <a:ext cx="5" cy="4"/>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1"/>
                      <a:pt x="0" y="2"/>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6" name="Freeform 154">
                <a:extLst>
                  <a:ext uri="{FF2B5EF4-FFF2-40B4-BE49-F238E27FC236}">
                    <a16:creationId xmlns:a16="http://schemas.microsoft.com/office/drawing/2014/main" id="{24D47825-C8B3-477C-B225-789D82E08108}"/>
                  </a:ext>
                </a:extLst>
              </p:cNvPr>
              <p:cNvSpPr>
                <a:spLocks/>
              </p:cNvSpPr>
              <p:nvPr/>
            </p:nvSpPr>
            <p:spPr bwMode="auto">
              <a:xfrm>
                <a:off x="8219" y="3108"/>
                <a:ext cx="9" cy="26"/>
              </a:xfrm>
              <a:custGeom>
                <a:avLst/>
                <a:gdLst>
                  <a:gd name="T0" fmla="*/ 1 w 4"/>
                  <a:gd name="T1" fmla="*/ 0 h 11"/>
                  <a:gd name="T2" fmla="*/ 1 w 4"/>
                  <a:gd name="T3" fmla="*/ 11 h 11"/>
                  <a:gd name="T4" fmla="*/ 2 w 4"/>
                  <a:gd name="T5" fmla="*/ 7 h 11"/>
                  <a:gd name="T6" fmla="*/ 4 w 4"/>
                  <a:gd name="T7" fmla="*/ 5 h 11"/>
                  <a:gd name="T8" fmla="*/ 3 w 4"/>
                  <a:gd name="T9" fmla="*/ 4 h 11"/>
                  <a:gd name="T10" fmla="*/ 3 w 4"/>
                  <a:gd name="T11" fmla="*/ 2 h 11"/>
                  <a:gd name="T12" fmla="*/ 1 w 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1" y="0"/>
                    </a:moveTo>
                    <a:cubicBezTo>
                      <a:pt x="0" y="4"/>
                      <a:pt x="1" y="7"/>
                      <a:pt x="1" y="11"/>
                    </a:cubicBezTo>
                    <a:cubicBezTo>
                      <a:pt x="2" y="10"/>
                      <a:pt x="2" y="8"/>
                      <a:pt x="2" y="7"/>
                    </a:cubicBezTo>
                    <a:cubicBezTo>
                      <a:pt x="3" y="6"/>
                      <a:pt x="4" y="5"/>
                      <a:pt x="4" y="5"/>
                    </a:cubicBezTo>
                    <a:cubicBezTo>
                      <a:pt x="4" y="4"/>
                      <a:pt x="3" y="4"/>
                      <a:pt x="3" y="4"/>
                    </a:cubicBezTo>
                    <a:cubicBezTo>
                      <a:pt x="3" y="3"/>
                      <a:pt x="3"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7" name="Freeform 155">
                <a:extLst>
                  <a:ext uri="{FF2B5EF4-FFF2-40B4-BE49-F238E27FC236}">
                    <a16:creationId xmlns:a16="http://schemas.microsoft.com/office/drawing/2014/main" id="{ABF764AB-8BE4-4246-90EF-4DB744A1DA4C}"/>
                  </a:ext>
                </a:extLst>
              </p:cNvPr>
              <p:cNvSpPr>
                <a:spLocks/>
              </p:cNvSpPr>
              <p:nvPr/>
            </p:nvSpPr>
            <p:spPr bwMode="auto">
              <a:xfrm>
                <a:off x="7375" y="3122"/>
                <a:ext cx="19" cy="26"/>
              </a:xfrm>
              <a:custGeom>
                <a:avLst/>
                <a:gdLst>
                  <a:gd name="T0" fmla="*/ 5 w 8"/>
                  <a:gd name="T1" fmla="*/ 0 h 11"/>
                  <a:gd name="T2" fmla="*/ 1 w 8"/>
                  <a:gd name="T3" fmla="*/ 3 h 11"/>
                  <a:gd name="T4" fmla="*/ 1 w 8"/>
                  <a:gd name="T5" fmla="*/ 7 h 11"/>
                  <a:gd name="T6" fmla="*/ 6 w 8"/>
                  <a:gd name="T7" fmla="*/ 9 h 11"/>
                  <a:gd name="T8" fmla="*/ 2 w 8"/>
                  <a:gd name="T9" fmla="*/ 10 h 11"/>
                  <a:gd name="T10" fmla="*/ 4 w 8"/>
                  <a:gd name="T11" fmla="*/ 11 h 11"/>
                  <a:gd name="T12" fmla="*/ 5 w 8"/>
                  <a:gd name="T13" fmla="*/ 11 h 11"/>
                  <a:gd name="T14" fmla="*/ 8 w 8"/>
                  <a:gd name="T15" fmla="*/ 7 h 11"/>
                  <a:gd name="T16" fmla="*/ 5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5" y="0"/>
                    </a:moveTo>
                    <a:cubicBezTo>
                      <a:pt x="4" y="1"/>
                      <a:pt x="1" y="2"/>
                      <a:pt x="1" y="3"/>
                    </a:cubicBezTo>
                    <a:cubicBezTo>
                      <a:pt x="0" y="5"/>
                      <a:pt x="0" y="5"/>
                      <a:pt x="1" y="7"/>
                    </a:cubicBezTo>
                    <a:cubicBezTo>
                      <a:pt x="3" y="8"/>
                      <a:pt x="5" y="8"/>
                      <a:pt x="6" y="9"/>
                    </a:cubicBezTo>
                    <a:cubicBezTo>
                      <a:pt x="5" y="10"/>
                      <a:pt x="2" y="10"/>
                      <a:pt x="2" y="10"/>
                    </a:cubicBezTo>
                    <a:cubicBezTo>
                      <a:pt x="2" y="11"/>
                      <a:pt x="3" y="11"/>
                      <a:pt x="4" y="11"/>
                    </a:cubicBezTo>
                    <a:cubicBezTo>
                      <a:pt x="5" y="11"/>
                      <a:pt x="5" y="11"/>
                      <a:pt x="5" y="11"/>
                    </a:cubicBezTo>
                    <a:cubicBezTo>
                      <a:pt x="7" y="10"/>
                      <a:pt x="8" y="9"/>
                      <a:pt x="8" y="7"/>
                    </a:cubicBezTo>
                    <a:cubicBezTo>
                      <a:pt x="8"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8" name="Freeform 156">
                <a:extLst>
                  <a:ext uri="{FF2B5EF4-FFF2-40B4-BE49-F238E27FC236}">
                    <a16:creationId xmlns:a16="http://schemas.microsoft.com/office/drawing/2014/main" id="{BABF9C64-0EBC-4D91-95CC-C6021321221D}"/>
                  </a:ext>
                </a:extLst>
              </p:cNvPr>
              <p:cNvSpPr>
                <a:spLocks/>
              </p:cNvSpPr>
              <p:nvPr/>
            </p:nvSpPr>
            <p:spPr bwMode="auto">
              <a:xfrm>
                <a:off x="7158" y="3283"/>
                <a:ext cx="7" cy="5"/>
              </a:xfrm>
              <a:custGeom>
                <a:avLst/>
                <a:gdLst>
                  <a:gd name="T0" fmla="*/ 1 w 3"/>
                  <a:gd name="T1" fmla="*/ 0 h 2"/>
                  <a:gd name="T2" fmla="*/ 0 w 3"/>
                  <a:gd name="T3" fmla="*/ 2 h 2"/>
                  <a:gd name="T4" fmla="*/ 3 w 3"/>
                  <a:gd name="T5" fmla="*/ 1 h 2"/>
                  <a:gd name="T6" fmla="*/ 1 w 3"/>
                  <a:gd name="T7" fmla="*/ 0 h 2"/>
                </a:gdLst>
                <a:ahLst/>
                <a:cxnLst>
                  <a:cxn ang="0">
                    <a:pos x="T0" y="T1"/>
                  </a:cxn>
                  <a:cxn ang="0">
                    <a:pos x="T2" y="T3"/>
                  </a:cxn>
                  <a:cxn ang="0">
                    <a:pos x="T4" y="T5"/>
                  </a:cxn>
                  <a:cxn ang="0">
                    <a:pos x="T6" y="T7"/>
                  </a:cxn>
                </a:cxnLst>
                <a:rect l="0" t="0" r="r" b="b"/>
                <a:pathLst>
                  <a:path w="3" h="2">
                    <a:moveTo>
                      <a:pt x="1" y="0"/>
                    </a:moveTo>
                    <a:cubicBezTo>
                      <a:pt x="0" y="0"/>
                      <a:pt x="0" y="1"/>
                      <a:pt x="0" y="2"/>
                    </a:cubicBezTo>
                    <a:cubicBezTo>
                      <a:pt x="1" y="2"/>
                      <a:pt x="2" y="2"/>
                      <a:pt x="3" y="1"/>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9" name="Freeform 157">
                <a:extLst>
                  <a:ext uri="{FF2B5EF4-FFF2-40B4-BE49-F238E27FC236}">
                    <a16:creationId xmlns:a16="http://schemas.microsoft.com/office/drawing/2014/main" id="{A1A2FF2F-803F-4297-88A0-9D2FC99EBF91}"/>
                  </a:ext>
                </a:extLst>
              </p:cNvPr>
              <p:cNvSpPr>
                <a:spLocks/>
              </p:cNvSpPr>
              <p:nvPr/>
            </p:nvSpPr>
            <p:spPr bwMode="auto">
              <a:xfrm>
                <a:off x="7125" y="3262"/>
                <a:ext cx="33" cy="16"/>
              </a:xfrm>
              <a:custGeom>
                <a:avLst/>
                <a:gdLst>
                  <a:gd name="T0" fmla="*/ 7 w 14"/>
                  <a:gd name="T1" fmla="*/ 0 h 7"/>
                  <a:gd name="T2" fmla="*/ 7 w 14"/>
                  <a:gd name="T3" fmla="*/ 0 h 7"/>
                  <a:gd name="T4" fmla="*/ 4 w 14"/>
                  <a:gd name="T5" fmla="*/ 2 h 7"/>
                  <a:gd name="T6" fmla="*/ 4 w 14"/>
                  <a:gd name="T7" fmla="*/ 2 h 7"/>
                  <a:gd name="T8" fmla="*/ 2 w 14"/>
                  <a:gd name="T9" fmla="*/ 0 h 7"/>
                  <a:gd name="T10" fmla="*/ 2 w 14"/>
                  <a:gd name="T11" fmla="*/ 0 h 7"/>
                  <a:gd name="T12" fmla="*/ 1 w 14"/>
                  <a:gd name="T13" fmla="*/ 4 h 7"/>
                  <a:gd name="T14" fmla="*/ 0 w 14"/>
                  <a:gd name="T15" fmla="*/ 5 h 7"/>
                  <a:gd name="T16" fmla="*/ 6 w 14"/>
                  <a:gd name="T17" fmla="*/ 7 h 7"/>
                  <a:gd name="T18" fmla="*/ 10 w 14"/>
                  <a:gd name="T19" fmla="*/ 7 h 7"/>
                  <a:gd name="T20" fmla="*/ 12 w 14"/>
                  <a:gd name="T21" fmla="*/ 7 h 7"/>
                  <a:gd name="T22" fmla="*/ 12 w 14"/>
                  <a:gd name="T23" fmla="*/ 7 h 7"/>
                  <a:gd name="T24" fmla="*/ 5 w 14"/>
                  <a:gd name="T25" fmla="*/ 3 h 7"/>
                  <a:gd name="T26" fmla="*/ 4 w 14"/>
                  <a:gd name="T27" fmla="*/ 2 h 7"/>
                  <a:gd name="T28" fmla="*/ 5 w 14"/>
                  <a:gd name="T29" fmla="*/ 3 h 7"/>
                  <a:gd name="T30" fmla="*/ 6 w 14"/>
                  <a:gd name="T31" fmla="*/ 3 h 7"/>
                  <a:gd name="T32" fmla="*/ 14 w 14"/>
                  <a:gd name="T33" fmla="*/ 5 h 7"/>
                  <a:gd name="T34" fmla="*/ 10 w 14"/>
                  <a:gd name="T35" fmla="*/ 1 h 7"/>
                  <a:gd name="T36" fmla="*/ 7 w 14"/>
                  <a:gd name="T3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7">
                    <a:moveTo>
                      <a:pt x="7" y="0"/>
                    </a:moveTo>
                    <a:cubicBezTo>
                      <a:pt x="7" y="0"/>
                      <a:pt x="7" y="0"/>
                      <a:pt x="7" y="0"/>
                    </a:cubicBezTo>
                    <a:cubicBezTo>
                      <a:pt x="5" y="0"/>
                      <a:pt x="5" y="1"/>
                      <a:pt x="4" y="2"/>
                    </a:cubicBezTo>
                    <a:cubicBezTo>
                      <a:pt x="4" y="2"/>
                      <a:pt x="4" y="2"/>
                      <a:pt x="4" y="2"/>
                    </a:cubicBezTo>
                    <a:cubicBezTo>
                      <a:pt x="3" y="1"/>
                      <a:pt x="3" y="0"/>
                      <a:pt x="2" y="0"/>
                    </a:cubicBezTo>
                    <a:cubicBezTo>
                      <a:pt x="2" y="0"/>
                      <a:pt x="2" y="0"/>
                      <a:pt x="2" y="0"/>
                    </a:cubicBezTo>
                    <a:cubicBezTo>
                      <a:pt x="0" y="0"/>
                      <a:pt x="2" y="2"/>
                      <a:pt x="1" y="4"/>
                    </a:cubicBezTo>
                    <a:cubicBezTo>
                      <a:pt x="1" y="4"/>
                      <a:pt x="0" y="4"/>
                      <a:pt x="0" y="5"/>
                    </a:cubicBezTo>
                    <a:cubicBezTo>
                      <a:pt x="0" y="7"/>
                      <a:pt x="3" y="7"/>
                      <a:pt x="6" y="7"/>
                    </a:cubicBezTo>
                    <a:cubicBezTo>
                      <a:pt x="7" y="7"/>
                      <a:pt x="9" y="7"/>
                      <a:pt x="10" y="7"/>
                    </a:cubicBezTo>
                    <a:cubicBezTo>
                      <a:pt x="11" y="7"/>
                      <a:pt x="12" y="7"/>
                      <a:pt x="12" y="7"/>
                    </a:cubicBezTo>
                    <a:cubicBezTo>
                      <a:pt x="12" y="7"/>
                      <a:pt x="12" y="7"/>
                      <a:pt x="12" y="7"/>
                    </a:cubicBezTo>
                    <a:cubicBezTo>
                      <a:pt x="10" y="4"/>
                      <a:pt x="8" y="5"/>
                      <a:pt x="5" y="3"/>
                    </a:cubicBezTo>
                    <a:cubicBezTo>
                      <a:pt x="4" y="3"/>
                      <a:pt x="4" y="2"/>
                      <a:pt x="4" y="2"/>
                    </a:cubicBezTo>
                    <a:cubicBezTo>
                      <a:pt x="5" y="3"/>
                      <a:pt x="5" y="3"/>
                      <a:pt x="5" y="3"/>
                    </a:cubicBezTo>
                    <a:cubicBezTo>
                      <a:pt x="5" y="3"/>
                      <a:pt x="5" y="3"/>
                      <a:pt x="6" y="3"/>
                    </a:cubicBezTo>
                    <a:cubicBezTo>
                      <a:pt x="8" y="3"/>
                      <a:pt x="13" y="5"/>
                      <a:pt x="14" y="5"/>
                    </a:cubicBezTo>
                    <a:cubicBezTo>
                      <a:pt x="13" y="3"/>
                      <a:pt x="12" y="2"/>
                      <a:pt x="10" y="1"/>
                    </a:cubicBezTo>
                    <a:cubicBezTo>
                      <a:pt x="9"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0" name="Freeform 158">
                <a:extLst>
                  <a:ext uri="{FF2B5EF4-FFF2-40B4-BE49-F238E27FC236}">
                    <a16:creationId xmlns:a16="http://schemas.microsoft.com/office/drawing/2014/main" id="{0F1F9820-5F55-4EB2-8A70-3063A09D45F2}"/>
                  </a:ext>
                </a:extLst>
              </p:cNvPr>
              <p:cNvSpPr>
                <a:spLocks/>
              </p:cNvSpPr>
              <p:nvPr/>
            </p:nvSpPr>
            <p:spPr bwMode="auto">
              <a:xfrm>
                <a:off x="7999" y="3328"/>
                <a:ext cx="9" cy="2"/>
              </a:xfrm>
              <a:custGeom>
                <a:avLst/>
                <a:gdLst>
                  <a:gd name="T0" fmla="*/ 2 w 4"/>
                  <a:gd name="T1" fmla="*/ 0 h 1"/>
                  <a:gd name="T2" fmla="*/ 0 w 4"/>
                  <a:gd name="T3" fmla="*/ 1 h 1"/>
                  <a:gd name="T4" fmla="*/ 4 w 4"/>
                  <a:gd name="T5" fmla="*/ 0 h 1"/>
                  <a:gd name="T6" fmla="*/ 2 w 4"/>
                  <a:gd name="T7" fmla="*/ 0 h 1"/>
                </a:gdLst>
                <a:ahLst/>
                <a:cxnLst>
                  <a:cxn ang="0">
                    <a:pos x="T0" y="T1"/>
                  </a:cxn>
                  <a:cxn ang="0">
                    <a:pos x="T2" y="T3"/>
                  </a:cxn>
                  <a:cxn ang="0">
                    <a:pos x="T4" y="T5"/>
                  </a:cxn>
                  <a:cxn ang="0">
                    <a:pos x="T6" y="T7"/>
                  </a:cxn>
                </a:cxnLst>
                <a:rect l="0" t="0" r="r" b="b"/>
                <a:pathLst>
                  <a:path w="4" h="1">
                    <a:moveTo>
                      <a:pt x="2" y="0"/>
                    </a:moveTo>
                    <a:cubicBezTo>
                      <a:pt x="2" y="0"/>
                      <a:pt x="1" y="0"/>
                      <a:pt x="0" y="1"/>
                    </a:cubicBezTo>
                    <a:cubicBezTo>
                      <a:pt x="1" y="1"/>
                      <a:pt x="2" y="0"/>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1" name="Freeform 159">
                <a:extLst>
                  <a:ext uri="{FF2B5EF4-FFF2-40B4-BE49-F238E27FC236}">
                    <a16:creationId xmlns:a16="http://schemas.microsoft.com/office/drawing/2014/main" id="{A6997241-A7C7-48C1-B50B-0C7F25120BB7}"/>
                  </a:ext>
                </a:extLst>
              </p:cNvPr>
              <p:cNvSpPr>
                <a:spLocks/>
              </p:cNvSpPr>
              <p:nvPr/>
            </p:nvSpPr>
            <p:spPr bwMode="auto">
              <a:xfrm>
                <a:off x="7188" y="3274"/>
                <a:ext cx="5" cy="4"/>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2" name="Freeform 160">
                <a:extLst>
                  <a:ext uri="{FF2B5EF4-FFF2-40B4-BE49-F238E27FC236}">
                    <a16:creationId xmlns:a16="http://schemas.microsoft.com/office/drawing/2014/main" id="{0D2BE01A-DAD8-4797-A5F3-A48DD3165C4C}"/>
                  </a:ext>
                </a:extLst>
              </p:cNvPr>
              <p:cNvSpPr>
                <a:spLocks/>
              </p:cNvSpPr>
              <p:nvPr/>
            </p:nvSpPr>
            <p:spPr bwMode="auto">
              <a:xfrm>
                <a:off x="7205" y="3278"/>
                <a:ext cx="2"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3" name="Freeform 161">
                <a:extLst>
                  <a:ext uri="{FF2B5EF4-FFF2-40B4-BE49-F238E27FC236}">
                    <a16:creationId xmlns:a16="http://schemas.microsoft.com/office/drawing/2014/main" id="{38C62EE2-4C0D-4AEF-956E-37B736A1DD3E}"/>
                  </a:ext>
                </a:extLst>
              </p:cNvPr>
              <p:cNvSpPr>
                <a:spLocks/>
              </p:cNvSpPr>
              <p:nvPr/>
            </p:nvSpPr>
            <p:spPr bwMode="auto">
              <a:xfrm>
                <a:off x="7167" y="3274"/>
                <a:ext cx="7" cy="9"/>
              </a:xfrm>
              <a:custGeom>
                <a:avLst/>
                <a:gdLst>
                  <a:gd name="T0" fmla="*/ 0 w 3"/>
                  <a:gd name="T1" fmla="*/ 0 h 4"/>
                  <a:gd name="T2" fmla="*/ 1 w 3"/>
                  <a:gd name="T3" fmla="*/ 4 h 4"/>
                  <a:gd name="T4" fmla="*/ 3 w 3"/>
                  <a:gd name="T5" fmla="*/ 3 h 4"/>
                  <a:gd name="T6" fmla="*/ 0 w 3"/>
                  <a:gd name="T7" fmla="*/ 0 h 4"/>
                </a:gdLst>
                <a:ahLst/>
                <a:cxnLst>
                  <a:cxn ang="0">
                    <a:pos x="T0" y="T1"/>
                  </a:cxn>
                  <a:cxn ang="0">
                    <a:pos x="T2" y="T3"/>
                  </a:cxn>
                  <a:cxn ang="0">
                    <a:pos x="T4" y="T5"/>
                  </a:cxn>
                  <a:cxn ang="0">
                    <a:pos x="T6" y="T7"/>
                  </a:cxn>
                </a:cxnLst>
                <a:rect l="0" t="0" r="r" b="b"/>
                <a:pathLst>
                  <a:path w="3" h="4">
                    <a:moveTo>
                      <a:pt x="0" y="0"/>
                    </a:moveTo>
                    <a:cubicBezTo>
                      <a:pt x="0" y="1"/>
                      <a:pt x="0" y="4"/>
                      <a:pt x="1" y="4"/>
                    </a:cubicBezTo>
                    <a:cubicBezTo>
                      <a:pt x="1" y="4"/>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4" name="Freeform 162">
                <a:extLst>
                  <a:ext uri="{FF2B5EF4-FFF2-40B4-BE49-F238E27FC236}">
                    <a16:creationId xmlns:a16="http://schemas.microsoft.com/office/drawing/2014/main" id="{288AC7E5-EBE9-482C-B2A9-15964007F11E}"/>
                  </a:ext>
                </a:extLst>
              </p:cNvPr>
              <p:cNvSpPr>
                <a:spLocks/>
              </p:cNvSpPr>
              <p:nvPr/>
            </p:nvSpPr>
            <p:spPr bwMode="auto">
              <a:xfrm>
                <a:off x="7221" y="3304"/>
                <a:ext cx="5"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2"/>
                      <a:pt x="1"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5" name="Freeform 163">
                <a:extLst>
                  <a:ext uri="{FF2B5EF4-FFF2-40B4-BE49-F238E27FC236}">
                    <a16:creationId xmlns:a16="http://schemas.microsoft.com/office/drawing/2014/main" id="{47E7B1F6-7612-4F30-BD58-B4AFF73ED2FE}"/>
                  </a:ext>
                </a:extLst>
              </p:cNvPr>
              <p:cNvSpPr>
                <a:spLocks/>
              </p:cNvSpPr>
              <p:nvPr/>
            </p:nvSpPr>
            <p:spPr bwMode="auto">
              <a:xfrm>
                <a:off x="8238" y="3340"/>
                <a:ext cx="9" cy="9"/>
              </a:xfrm>
              <a:custGeom>
                <a:avLst/>
                <a:gdLst>
                  <a:gd name="T0" fmla="*/ 2 w 4"/>
                  <a:gd name="T1" fmla="*/ 0 h 4"/>
                  <a:gd name="T2" fmla="*/ 0 w 4"/>
                  <a:gd name="T3" fmla="*/ 4 h 4"/>
                  <a:gd name="T4" fmla="*/ 2 w 4"/>
                  <a:gd name="T5" fmla="*/ 4 h 4"/>
                  <a:gd name="T6" fmla="*/ 2 w 4"/>
                  <a:gd name="T7" fmla="*/ 0 h 4"/>
                </a:gdLst>
                <a:ahLst/>
                <a:cxnLst>
                  <a:cxn ang="0">
                    <a:pos x="T0" y="T1"/>
                  </a:cxn>
                  <a:cxn ang="0">
                    <a:pos x="T2" y="T3"/>
                  </a:cxn>
                  <a:cxn ang="0">
                    <a:pos x="T4" y="T5"/>
                  </a:cxn>
                  <a:cxn ang="0">
                    <a:pos x="T6" y="T7"/>
                  </a:cxn>
                </a:cxnLst>
                <a:rect l="0" t="0" r="r" b="b"/>
                <a:pathLst>
                  <a:path w="4" h="4">
                    <a:moveTo>
                      <a:pt x="2" y="0"/>
                    </a:moveTo>
                    <a:cubicBezTo>
                      <a:pt x="1" y="1"/>
                      <a:pt x="0" y="3"/>
                      <a:pt x="0" y="4"/>
                    </a:cubicBezTo>
                    <a:cubicBezTo>
                      <a:pt x="2" y="4"/>
                      <a:pt x="2" y="4"/>
                      <a:pt x="2" y="4"/>
                    </a:cubicBezTo>
                    <a:cubicBezTo>
                      <a:pt x="4" y="4"/>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6" name="Freeform 164">
                <a:extLst>
                  <a:ext uri="{FF2B5EF4-FFF2-40B4-BE49-F238E27FC236}">
                    <a16:creationId xmlns:a16="http://schemas.microsoft.com/office/drawing/2014/main" id="{B3BA958C-1788-4E28-8C08-A435B1AFC839}"/>
                  </a:ext>
                </a:extLst>
              </p:cNvPr>
              <p:cNvSpPr>
                <a:spLocks/>
              </p:cNvSpPr>
              <p:nvPr/>
            </p:nvSpPr>
            <p:spPr bwMode="auto">
              <a:xfrm>
                <a:off x="8334" y="3311"/>
                <a:ext cx="12" cy="12"/>
              </a:xfrm>
              <a:custGeom>
                <a:avLst/>
                <a:gdLst>
                  <a:gd name="T0" fmla="*/ 0 w 5"/>
                  <a:gd name="T1" fmla="*/ 0 h 5"/>
                  <a:gd name="T2" fmla="*/ 5 w 5"/>
                  <a:gd name="T3" fmla="*/ 5 h 5"/>
                  <a:gd name="T4" fmla="*/ 0 w 5"/>
                  <a:gd name="T5" fmla="*/ 0 h 5"/>
                </a:gdLst>
                <a:ahLst/>
                <a:cxnLst>
                  <a:cxn ang="0">
                    <a:pos x="T0" y="T1"/>
                  </a:cxn>
                  <a:cxn ang="0">
                    <a:pos x="T2" y="T3"/>
                  </a:cxn>
                  <a:cxn ang="0">
                    <a:pos x="T4" y="T5"/>
                  </a:cxn>
                </a:cxnLst>
                <a:rect l="0" t="0" r="r" b="b"/>
                <a:pathLst>
                  <a:path w="5" h="5">
                    <a:moveTo>
                      <a:pt x="0" y="0"/>
                    </a:moveTo>
                    <a:cubicBezTo>
                      <a:pt x="1" y="2"/>
                      <a:pt x="3" y="3"/>
                      <a:pt x="5" y="5"/>
                    </a:cubicBezTo>
                    <a:cubicBezTo>
                      <a:pt x="5"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7" name="Freeform 165">
                <a:extLst>
                  <a:ext uri="{FF2B5EF4-FFF2-40B4-BE49-F238E27FC236}">
                    <a16:creationId xmlns:a16="http://schemas.microsoft.com/office/drawing/2014/main" id="{4DB6BC41-3FD8-4464-B2E5-C08865151E9D}"/>
                  </a:ext>
                </a:extLst>
              </p:cNvPr>
              <p:cNvSpPr>
                <a:spLocks/>
              </p:cNvSpPr>
              <p:nvPr/>
            </p:nvSpPr>
            <p:spPr bwMode="auto">
              <a:xfrm>
                <a:off x="6803" y="3047"/>
                <a:ext cx="5" cy="2"/>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8" name="Freeform 166">
                <a:extLst>
                  <a:ext uri="{FF2B5EF4-FFF2-40B4-BE49-F238E27FC236}">
                    <a16:creationId xmlns:a16="http://schemas.microsoft.com/office/drawing/2014/main" id="{9B43748D-66FF-43CD-8A3C-60A5A589203E}"/>
                  </a:ext>
                </a:extLst>
              </p:cNvPr>
              <p:cNvSpPr>
                <a:spLocks/>
              </p:cNvSpPr>
              <p:nvPr/>
            </p:nvSpPr>
            <p:spPr bwMode="auto">
              <a:xfrm>
                <a:off x="7077" y="3217"/>
                <a:ext cx="19" cy="19"/>
              </a:xfrm>
              <a:custGeom>
                <a:avLst/>
                <a:gdLst>
                  <a:gd name="T0" fmla="*/ 5 w 8"/>
                  <a:gd name="T1" fmla="*/ 0 h 8"/>
                  <a:gd name="T2" fmla="*/ 4 w 8"/>
                  <a:gd name="T3" fmla="*/ 0 h 8"/>
                  <a:gd name="T4" fmla="*/ 3 w 8"/>
                  <a:gd name="T5" fmla="*/ 1 h 8"/>
                  <a:gd name="T6" fmla="*/ 2 w 8"/>
                  <a:gd name="T7" fmla="*/ 1 h 8"/>
                  <a:gd name="T8" fmla="*/ 2 w 8"/>
                  <a:gd name="T9" fmla="*/ 1 h 8"/>
                  <a:gd name="T10" fmla="*/ 2 w 8"/>
                  <a:gd name="T11" fmla="*/ 1 h 8"/>
                  <a:gd name="T12" fmla="*/ 1 w 8"/>
                  <a:gd name="T13" fmla="*/ 2 h 8"/>
                  <a:gd name="T14" fmla="*/ 2 w 8"/>
                  <a:gd name="T15" fmla="*/ 7 h 8"/>
                  <a:gd name="T16" fmla="*/ 3 w 8"/>
                  <a:gd name="T17" fmla="*/ 8 h 8"/>
                  <a:gd name="T18" fmla="*/ 8 w 8"/>
                  <a:gd name="T19" fmla="*/ 4 h 8"/>
                  <a:gd name="T20" fmla="*/ 5 w 8"/>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5" y="0"/>
                    </a:moveTo>
                    <a:cubicBezTo>
                      <a:pt x="5" y="0"/>
                      <a:pt x="4" y="0"/>
                      <a:pt x="4" y="0"/>
                    </a:cubicBezTo>
                    <a:cubicBezTo>
                      <a:pt x="3" y="1"/>
                      <a:pt x="3" y="1"/>
                      <a:pt x="3" y="1"/>
                    </a:cubicBezTo>
                    <a:cubicBezTo>
                      <a:pt x="2" y="1"/>
                      <a:pt x="2" y="1"/>
                      <a:pt x="2" y="1"/>
                    </a:cubicBezTo>
                    <a:cubicBezTo>
                      <a:pt x="2" y="1"/>
                      <a:pt x="2" y="1"/>
                      <a:pt x="2" y="1"/>
                    </a:cubicBezTo>
                    <a:cubicBezTo>
                      <a:pt x="2" y="1"/>
                      <a:pt x="2" y="1"/>
                      <a:pt x="2" y="1"/>
                    </a:cubicBezTo>
                    <a:cubicBezTo>
                      <a:pt x="1" y="1"/>
                      <a:pt x="1" y="1"/>
                      <a:pt x="1" y="2"/>
                    </a:cubicBezTo>
                    <a:cubicBezTo>
                      <a:pt x="0" y="3"/>
                      <a:pt x="1" y="6"/>
                      <a:pt x="2" y="7"/>
                    </a:cubicBezTo>
                    <a:cubicBezTo>
                      <a:pt x="2" y="8"/>
                      <a:pt x="3" y="8"/>
                      <a:pt x="3" y="8"/>
                    </a:cubicBezTo>
                    <a:cubicBezTo>
                      <a:pt x="5" y="8"/>
                      <a:pt x="7" y="5"/>
                      <a:pt x="8" y="4"/>
                    </a:cubicBezTo>
                    <a:cubicBezTo>
                      <a:pt x="7" y="2"/>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9" name="Freeform 167">
                <a:extLst>
                  <a:ext uri="{FF2B5EF4-FFF2-40B4-BE49-F238E27FC236}">
                    <a16:creationId xmlns:a16="http://schemas.microsoft.com/office/drawing/2014/main" id="{3AD0E347-3B65-400A-A03F-5F649EAE49A1}"/>
                  </a:ext>
                </a:extLst>
              </p:cNvPr>
              <p:cNvSpPr>
                <a:spLocks/>
              </p:cNvSpPr>
              <p:nvPr/>
            </p:nvSpPr>
            <p:spPr bwMode="auto">
              <a:xfrm>
                <a:off x="8157" y="3189"/>
                <a:ext cx="5" cy="4"/>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0" y="1"/>
                      <a:pt x="0" y="2"/>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0" name="Freeform 168">
                <a:extLst>
                  <a:ext uri="{FF2B5EF4-FFF2-40B4-BE49-F238E27FC236}">
                    <a16:creationId xmlns:a16="http://schemas.microsoft.com/office/drawing/2014/main" id="{969A0ADD-99FA-456C-97BD-9DE33103FC11}"/>
                  </a:ext>
                </a:extLst>
              </p:cNvPr>
              <p:cNvSpPr>
                <a:spLocks/>
              </p:cNvSpPr>
              <p:nvPr/>
            </p:nvSpPr>
            <p:spPr bwMode="auto">
              <a:xfrm>
                <a:off x="7420" y="3198"/>
                <a:ext cx="5" cy="2"/>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1"/>
                      <a:pt x="1" y="1"/>
                      <a:pt x="2" y="1"/>
                    </a:cubicBezTo>
                    <a:cubicBezTo>
                      <a:pt x="2" y="1"/>
                      <a:pt x="2" y="1"/>
                      <a:pt x="2"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1" name="Freeform 169">
                <a:extLst>
                  <a:ext uri="{FF2B5EF4-FFF2-40B4-BE49-F238E27FC236}">
                    <a16:creationId xmlns:a16="http://schemas.microsoft.com/office/drawing/2014/main" id="{F588FB6B-8D9C-42B9-AF59-E7E4563709A3}"/>
                  </a:ext>
                </a:extLst>
              </p:cNvPr>
              <p:cNvSpPr>
                <a:spLocks/>
              </p:cNvSpPr>
              <p:nvPr/>
            </p:nvSpPr>
            <p:spPr bwMode="auto">
              <a:xfrm>
                <a:off x="7106" y="3241"/>
                <a:ext cx="23" cy="16"/>
              </a:xfrm>
              <a:custGeom>
                <a:avLst/>
                <a:gdLst>
                  <a:gd name="T0" fmla="*/ 1 w 10"/>
                  <a:gd name="T1" fmla="*/ 0 h 7"/>
                  <a:gd name="T2" fmla="*/ 0 w 10"/>
                  <a:gd name="T3" fmla="*/ 0 h 7"/>
                  <a:gd name="T4" fmla="*/ 5 w 10"/>
                  <a:gd name="T5" fmla="*/ 4 h 7"/>
                  <a:gd name="T6" fmla="*/ 9 w 10"/>
                  <a:gd name="T7" fmla="*/ 7 h 7"/>
                  <a:gd name="T8" fmla="*/ 5 w 10"/>
                  <a:gd name="T9" fmla="*/ 1 h 7"/>
                  <a:gd name="T10" fmla="*/ 1 w 10"/>
                  <a:gd name="T11" fmla="*/ 0 h 7"/>
                </a:gdLst>
                <a:ahLst/>
                <a:cxnLst>
                  <a:cxn ang="0">
                    <a:pos x="T0" y="T1"/>
                  </a:cxn>
                  <a:cxn ang="0">
                    <a:pos x="T2" y="T3"/>
                  </a:cxn>
                  <a:cxn ang="0">
                    <a:pos x="T4" y="T5"/>
                  </a:cxn>
                  <a:cxn ang="0">
                    <a:pos x="T6" y="T7"/>
                  </a:cxn>
                  <a:cxn ang="0">
                    <a:pos x="T8" y="T9"/>
                  </a:cxn>
                  <a:cxn ang="0">
                    <a:pos x="T10" y="T11"/>
                  </a:cxn>
                </a:cxnLst>
                <a:rect l="0" t="0" r="r" b="b"/>
                <a:pathLst>
                  <a:path w="10" h="7">
                    <a:moveTo>
                      <a:pt x="1" y="0"/>
                    </a:moveTo>
                    <a:cubicBezTo>
                      <a:pt x="0" y="0"/>
                      <a:pt x="0" y="0"/>
                      <a:pt x="0" y="0"/>
                    </a:cubicBezTo>
                    <a:cubicBezTo>
                      <a:pt x="1" y="2"/>
                      <a:pt x="2" y="3"/>
                      <a:pt x="5" y="4"/>
                    </a:cubicBezTo>
                    <a:cubicBezTo>
                      <a:pt x="6" y="4"/>
                      <a:pt x="8" y="5"/>
                      <a:pt x="9" y="7"/>
                    </a:cubicBezTo>
                    <a:cubicBezTo>
                      <a:pt x="10" y="2"/>
                      <a:pt x="8" y="2"/>
                      <a:pt x="5"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2" name="Freeform 170">
                <a:extLst>
                  <a:ext uri="{FF2B5EF4-FFF2-40B4-BE49-F238E27FC236}">
                    <a16:creationId xmlns:a16="http://schemas.microsoft.com/office/drawing/2014/main" id="{0FB08240-307C-420C-BC7E-472027816099}"/>
                  </a:ext>
                </a:extLst>
              </p:cNvPr>
              <p:cNvSpPr>
                <a:spLocks/>
              </p:cNvSpPr>
              <p:nvPr/>
            </p:nvSpPr>
            <p:spPr bwMode="auto">
              <a:xfrm>
                <a:off x="8580" y="3356"/>
                <a:ext cx="12" cy="7"/>
              </a:xfrm>
              <a:custGeom>
                <a:avLst/>
                <a:gdLst>
                  <a:gd name="T0" fmla="*/ 3 w 5"/>
                  <a:gd name="T1" fmla="*/ 0 h 3"/>
                  <a:gd name="T2" fmla="*/ 3 w 5"/>
                  <a:gd name="T3" fmla="*/ 3 h 3"/>
                  <a:gd name="T4" fmla="*/ 3 w 5"/>
                  <a:gd name="T5" fmla="*/ 0 h 3"/>
                </a:gdLst>
                <a:ahLst/>
                <a:cxnLst>
                  <a:cxn ang="0">
                    <a:pos x="T0" y="T1"/>
                  </a:cxn>
                  <a:cxn ang="0">
                    <a:pos x="T2" y="T3"/>
                  </a:cxn>
                  <a:cxn ang="0">
                    <a:pos x="T4" y="T5"/>
                  </a:cxn>
                </a:cxnLst>
                <a:rect l="0" t="0" r="r" b="b"/>
                <a:pathLst>
                  <a:path w="5" h="3">
                    <a:moveTo>
                      <a:pt x="3" y="0"/>
                    </a:moveTo>
                    <a:cubicBezTo>
                      <a:pt x="0" y="1"/>
                      <a:pt x="2" y="3"/>
                      <a:pt x="3" y="3"/>
                    </a:cubicBezTo>
                    <a:cubicBezTo>
                      <a:pt x="4"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3" name="Freeform 171">
                <a:extLst>
                  <a:ext uri="{FF2B5EF4-FFF2-40B4-BE49-F238E27FC236}">
                    <a16:creationId xmlns:a16="http://schemas.microsoft.com/office/drawing/2014/main" id="{8966EEDD-1379-4EF4-9033-C0E7C53DAF6B}"/>
                  </a:ext>
                </a:extLst>
              </p:cNvPr>
              <p:cNvSpPr>
                <a:spLocks/>
              </p:cNvSpPr>
              <p:nvPr/>
            </p:nvSpPr>
            <p:spPr bwMode="auto">
              <a:xfrm>
                <a:off x="7191" y="3262"/>
                <a:ext cx="12" cy="7"/>
              </a:xfrm>
              <a:custGeom>
                <a:avLst/>
                <a:gdLst>
                  <a:gd name="T0" fmla="*/ 2 w 5"/>
                  <a:gd name="T1" fmla="*/ 0 h 3"/>
                  <a:gd name="T2" fmla="*/ 1 w 5"/>
                  <a:gd name="T3" fmla="*/ 1 h 3"/>
                  <a:gd name="T4" fmla="*/ 0 w 5"/>
                  <a:gd name="T5" fmla="*/ 1 h 3"/>
                  <a:gd name="T6" fmla="*/ 3 w 5"/>
                  <a:gd name="T7" fmla="*/ 3 h 3"/>
                  <a:gd name="T8" fmla="*/ 5 w 5"/>
                  <a:gd name="T9" fmla="*/ 0 h 3"/>
                  <a:gd name="T10" fmla="*/ 2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2" y="0"/>
                    </a:moveTo>
                    <a:cubicBezTo>
                      <a:pt x="1" y="0"/>
                      <a:pt x="1" y="0"/>
                      <a:pt x="1" y="1"/>
                    </a:cubicBezTo>
                    <a:cubicBezTo>
                      <a:pt x="0" y="1"/>
                      <a:pt x="0" y="1"/>
                      <a:pt x="0" y="1"/>
                    </a:cubicBezTo>
                    <a:cubicBezTo>
                      <a:pt x="1" y="2"/>
                      <a:pt x="2" y="3"/>
                      <a:pt x="3" y="3"/>
                    </a:cubicBezTo>
                    <a:cubicBezTo>
                      <a:pt x="3" y="3"/>
                      <a:pt x="4" y="2"/>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4" name="Freeform 172">
                <a:extLst>
                  <a:ext uri="{FF2B5EF4-FFF2-40B4-BE49-F238E27FC236}">
                    <a16:creationId xmlns:a16="http://schemas.microsoft.com/office/drawing/2014/main" id="{9B94EB65-2E15-4C3E-BE3E-D830110BE47F}"/>
                  </a:ext>
                </a:extLst>
              </p:cNvPr>
              <p:cNvSpPr>
                <a:spLocks/>
              </p:cNvSpPr>
              <p:nvPr/>
            </p:nvSpPr>
            <p:spPr bwMode="auto">
              <a:xfrm>
                <a:off x="7207" y="3259"/>
                <a:ext cx="19" cy="15"/>
              </a:xfrm>
              <a:custGeom>
                <a:avLst/>
                <a:gdLst>
                  <a:gd name="T0" fmla="*/ 5 w 8"/>
                  <a:gd name="T1" fmla="*/ 0 h 6"/>
                  <a:gd name="T2" fmla="*/ 0 w 8"/>
                  <a:gd name="T3" fmla="*/ 2 h 6"/>
                  <a:gd name="T4" fmla="*/ 2 w 8"/>
                  <a:gd name="T5" fmla="*/ 3 h 6"/>
                  <a:gd name="T6" fmla="*/ 5 w 8"/>
                  <a:gd name="T7" fmla="*/ 6 h 6"/>
                  <a:gd name="T8" fmla="*/ 7 w 8"/>
                  <a:gd name="T9" fmla="*/ 6 h 6"/>
                  <a:gd name="T10" fmla="*/ 8 w 8"/>
                  <a:gd name="T11" fmla="*/ 5 h 6"/>
                  <a:gd name="T12" fmla="*/ 8 w 8"/>
                  <a:gd name="T13" fmla="*/ 2 h 6"/>
                  <a:gd name="T14" fmla="*/ 8 w 8"/>
                  <a:gd name="T15" fmla="*/ 2 h 6"/>
                  <a:gd name="T16" fmla="*/ 7 w 8"/>
                  <a:gd name="T17" fmla="*/ 1 h 6"/>
                  <a:gd name="T18" fmla="*/ 6 w 8"/>
                  <a:gd name="T19" fmla="*/ 0 h 6"/>
                  <a:gd name="T20" fmla="*/ 6 w 8"/>
                  <a:gd name="T21" fmla="*/ 0 h 6"/>
                  <a:gd name="T22" fmla="*/ 5 w 8"/>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5" y="0"/>
                    </a:moveTo>
                    <a:cubicBezTo>
                      <a:pt x="3" y="0"/>
                      <a:pt x="1" y="0"/>
                      <a:pt x="0" y="2"/>
                    </a:cubicBezTo>
                    <a:cubicBezTo>
                      <a:pt x="0" y="2"/>
                      <a:pt x="1" y="3"/>
                      <a:pt x="2" y="3"/>
                    </a:cubicBezTo>
                    <a:cubicBezTo>
                      <a:pt x="4" y="4"/>
                      <a:pt x="4" y="6"/>
                      <a:pt x="5" y="6"/>
                    </a:cubicBezTo>
                    <a:cubicBezTo>
                      <a:pt x="5" y="6"/>
                      <a:pt x="6" y="6"/>
                      <a:pt x="7" y="6"/>
                    </a:cubicBezTo>
                    <a:cubicBezTo>
                      <a:pt x="7" y="5"/>
                      <a:pt x="7" y="5"/>
                      <a:pt x="8" y="5"/>
                    </a:cubicBezTo>
                    <a:cubicBezTo>
                      <a:pt x="8" y="4"/>
                      <a:pt x="8" y="3"/>
                      <a:pt x="8" y="2"/>
                    </a:cubicBezTo>
                    <a:cubicBezTo>
                      <a:pt x="8" y="2"/>
                      <a:pt x="8" y="2"/>
                      <a:pt x="8" y="2"/>
                    </a:cubicBezTo>
                    <a:cubicBezTo>
                      <a:pt x="8" y="2"/>
                      <a:pt x="7" y="2"/>
                      <a:pt x="7" y="1"/>
                    </a:cubicBezTo>
                    <a:cubicBezTo>
                      <a:pt x="6" y="0"/>
                      <a:pt x="6" y="0"/>
                      <a:pt x="6" y="0"/>
                    </a:cubicBezTo>
                    <a:cubicBezTo>
                      <a:pt x="6" y="0"/>
                      <a:pt x="6"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5" name="Freeform 173">
                <a:extLst>
                  <a:ext uri="{FF2B5EF4-FFF2-40B4-BE49-F238E27FC236}">
                    <a16:creationId xmlns:a16="http://schemas.microsoft.com/office/drawing/2014/main" id="{14550E71-F3E0-4D93-B5AD-4C84B23DEAEE}"/>
                  </a:ext>
                </a:extLst>
              </p:cNvPr>
              <p:cNvSpPr>
                <a:spLocks/>
              </p:cNvSpPr>
              <p:nvPr/>
            </p:nvSpPr>
            <p:spPr bwMode="auto">
              <a:xfrm>
                <a:off x="6938" y="3314"/>
                <a:ext cx="12" cy="16"/>
              </a:xfrm>
              <a:custGeom>
                <a:avLst/>
                <a:gdLst>
                  <a:gd name="T0" fmla="*/ 0 w 5"/>
                  <a:gd name="T1" fmla="*/ 0 h 7"/>
                  <a:gd name="T2" fmla="*/ 5 w 5"/>
                  <a:gd name="T3" fmla="*/ 7 h 7"/>
                  <a:gd name="T4" fmla="*/ 0 w 5"/>
                  <a:gd name="T5" fmla="*/ 0 h 7"/>
                </a:gdLst>
                <a:ahLst/>
                <a:cxnLst>
                  <a:cxn ang="0">
                    <a:pos x="T0" y="T1"/>
                  </a:cxn>
                  <a:cxn ang="0">
                    <a:pos x="T2" y="T3"/>
                  </a:cxn>
                  <a:cxn ang="0">
                    <a:pos x="T4" y="T5"/>
                  </a:cxn>
                </a:cxnLst>
                <a:rect l="0" t="0" r="r" b="b"/>
                <a:pathLst>
                  <a:path w="5" h="7">
                    <a:moveTo>
                      <a:pt x="0" y="0"/>
                    </a:moveTo>
                    <a:cubicBezTo>
                      <a:pt x="2" y="2"/>
                      <a:pt x="4" y="5"/>
                      <a:pt x="5" y="7"/>
                    </a:cubicBezTo>
                    <a:cubicBezTo>
                      <a:pt x="5" y="6"/>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6" name="Freeform 174">
                <a:extLst>
                  <a:ext uri="{FF2B5EF4-FFF2-40B4-BE49-F238E27FC236}">
                    <a16:creationId xmlns:a16="http://schemas.microsoft.com/office/drawing/2014/main" id="{F030AE1C-9EAA-4FDF-A445-6EFB55DFB1CB}"/>
                  </a:ext>
                </a:extLst>
              </p:cNvPr>
              <p:cNvSpPr>
                <a:spLocks/>
              </p:cNvSpPr>
              <p:nvPr/>
            </p:nvSpPr>
            <p:spPr bwMode="auto">
              <a:xfrm>
                <a:off x="8162" y="3146"/>
                <a:ext cx="12" cy="16"/>
              </a:xfrm>
              <a:custGeom>
                <a:avLst/>
                <a:gdLst>
                  <a:gd name="T0" fmla="*/ 0 w 5"/>
                  <a:gd name="T1" fmla="*/ 0 h 7"/>
                  <a:gd name="T2" fmla="*/ 0 w 5"/>
                  <a:gd name="T3" fmla="*/ 0 h 7"/>
                  <a:gd name="T4" fmla="*/ 4 w 5"/>
                  <a:gd name="T5" fmla="*/ 7 h 7"/>
                  <a:gd name="T6" fmla="*/ 2 w 5"/>
                  <a:gd name="T7" fmla="*/ 3 h 7"/>
                  <a:gd name="T8" fmla="*/ 0 w 5"/>
                  <a:gd name="T9" fmla="*/ 0 h 7"/>
                </a:gdLst>
                <a:ahLst/>
                <a:cxnLst>
                  <a:cxn ang="0">
                    <a:pos x="T0" y="T1"/>
                  </a:cxn>
                  <a:cxn ang="0">
                    <a:pos x="T2" y="T3"/>
                  </a:cxn>
                  <a:cxn ang="0">
                    <a:pos x="T4" y="T5"/>
                  </a:cxn>
                  <a:cxn ang="0">
                    <a:pos x="T6" y="T7"/>
                  </a:cxn>
                  <a:cxn ang="0">
                    <a:pos x="T8" y="T9"/>
                  </a:cxn>
                </a:cxnLst>
                <a:rect l="0" t="0" r="r" b="b"/>
                <a:pathLst>
                  <a:path w="5" h="7">
                    <a:moveTo>
                      <a:pt x="0" y="0"/>
                    </a:moveTo>
                    <a:cubicBezTo>
                      <a:pt x="0" y="0"/>
                      <a:pt x="0" y="0"/>
                      <a:pt x="0" y="0"/>
                    </a:cubicBezTo>
                    <a:cubicBezTo>
                      <a:pt x="1" y="2"/>
                      <a:pt x="2" y="5"/>
                      <a:pt x="4" y="7"/>
                    </a:cubicBezTo>
                    <a:cubicBezTo>
                      <a:pt x="5" y="4"/>
                      <a:pt x="4" y="4"/>
                      <a:pt x="2" y="3"/>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7" name="Freeform 175">
                <a:extLst>
                  <a:ext uri="{FF2B5EF4-FFF2-40B4-BE49-F238E27FC236}">
                    <a16:creationId xmlns:a16="http://schemas.microsoft.com/office/drawing/2014/main" id="{76074D77-DC8D-43A0-BF6C-5DED11A960BF}"/>
                  </a:ext>
                </a:extLst>
              </p:cNvPr>
              <p:cNvSpPr>
                <a:spLocks/>
              </p:cNvSpPr>
              <p:nvPr/>
            </p:nvSpPr>
            <p:spPr bwMode="auto">
              <a:xfrm>
                <a:off x="7989" y="3333"/>
                <a:ext cx="12" cy="4"/>
              </a:xfrm>
              <a:custGeom>
                <a:avLst/>
                <a:gdLst>
                  <a:gd name="T0" fmla="*/ 1 w 5"/>
                  <a:gd name="T1" fmla="*/ 0 h 2"/>
                  <a:gd name="T2" fmla="*/ 0 w 5"/>
                  <a:gd name="T3" fmla="*/ 2 h 2"/>
                  <a:gd name="T4" fmla="*/ 5 w 5"/>
                  <a:gd name="T5" fmla="*/ 1 h 2"/>
                  <a:gd name="T6" fmla="*/ 1 w 5"/>
                  <a:gd name="T7" fmla="*/ 0 h 2"/>
                </a:gdLst>
                <a:ahLst/>
                <a:cxnLst>
                  <a:cxn ang="0">
                    <a:pos x="T0" y="T1"/>
                  </a:cxn>
                  <a:cxn ang="0">
                    <a:pos x="T2" y="T3"/>
                  </a:cxn>
                  <a:cxn ang="0">
                    <a:pos x="T4" y="T5"/>
                  </a:cxn>
                  <a:cxn ang="0">
                    <a:pos x="T6" y="T7"/>
                  </a:cxn>
                </a:cxnLst>
                <a:rect l="0" t="0" r="r" b="b"/>
                <a:pathLst>
                  <a:path w="5" h="2">
                    <a:moveTo>
                      <a:pt x="1" y="0"/>
                    </a:moveTo>
                    <a:cubicBezTo>
                      <a:pt x="1" y="1"/>
                      <a:pt x="1" y="1"/>
                      <a:pt x="0" y="2"/>
                    </a:cubicBezTo>
                    <a:cubicBezTo>
                      <a:pt x="2" y="2"/>
                      <a:pt x="4" y="2"/>
                      <a:pt x="5" y="1"/>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8" name="Freeform 176">
                <a:extLst>
                  <a:ext uri="{FF2B5EF4-FFF2-40B4-BE49-F238E27FC236}">
                    <a16:creationId xmlns:a16="http://schemas.microsoft.com/office/drawing/2014/main" id="{12163CAF-0C13-45AD-BD57-99A6CCA44EE9}"/>
                  </a:ext>
                </a:extLst>
              </p:cNvPr>
              <p:cNvSpPr>
                <a:spLocks/>
              </p:cNvSpPr>
              <p:nvPr/>
            </p:nvSpPr>
            <p:spPr bwMode="auto">
              <a:xfrm>
                <a:off x="7411" y="3179"/>
                <a:ext cx="7" cy="5"/>
              </a:xfrm>
              <a:custGeom>
                <a:avLst/>
                <a:gdLst>
                  <a:gd name="T0" fmla="*/ 2 w 3"/>
                  <a:gd name="T1" fmla="*/ 0 h 2"/>
                  <a:gd name="T2" fmla="*/ 0 w 3"/>
                  <a:gd name="T3" fmla="*/ 1 h 2"/>
                  <a:gd name="T4" fmla="*/ 1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2" y="0"/>
                      <a:pt x="1" y="1"/>
                      <a:pt x="0" y="1"/>
                    </a:cubicBezTo>
                    <a:cubicBezTo>
                      <a:pt x="1" y="2"/>
                      <a:pt x="1" y="2"/>
                      <a:pt x="1" y="2"/>
                    </a:cubicBezTo>
                    <a:cubicBezTo>
                      <a:pt x="2" y="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9" name="Freeform 177">
                <a:extLst>
                  <a:ext uri="{FF2B5EF4-FFF2-40B4-BE49-F238E27FC236}">
                    <a16:creationId xmlns:a16="http://schemas.microsoft.com/office/drawing/2014/main" id="{CAB8ACDA-6C5B-4BC7-8ED5-D7BAF4CEBA87}"/>
                  </a:ext>
                </a:extLst>
              </p:cNvPr>
              <p:cNvSpPr>
                <a:spLocks noEditPoints="1"/>
              </p:cNvSpPr>
              <p:nvPr/>
            </p:nvSpPr>
            <p:spPr bwMode="auto">
              <a:xfrm>
                <a:off x="7852" y="3210"/>
                <a:ext cx="3" cy="5"/>
              </a:xfrm>
              <a:custGeom>
                <a:avLst/>
                <a:gdLst>
                  <a:gd name="T0" fmla="*/ 1 w 1"/>
                  <a:gd name="T1" fmla="*/ 2 h 2"/>
                  <a:gd name="T2" fmla="*/ 1 w 1"/>
                  <a:gd name="T3" fmla="*/ 2 h 2"/>
                  <a:gd name="T4" fmla="*/ 1 w 1"/>
                  <a:gd name="T5" fmla="*/ 2 h 2"/>
                  <a:gd name="T6" fmla="*/ 0 w 1"/>
                  <a:gd name="T7" fmla="*/ 0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2"/>
                      <a:pt x="1" y="2"/>
                      <a:pt x="1" y="2"/>
                    </a:cubicBezTo>
                    <a:cubicBezTo>
                      <a:pt x="1" y="2"/>
                      <a:pt x="1" y="2"/>
                      <a:pt x="1" y="2"/>
                    </a:cubicBezTo>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0" name="Freeform 178">
                <a:extLst>
                  <a:ext uri="{FF2B5EF4-FFF2-40B4-BE49-F238E27FC236}">
                    <a16:creationId xmlns:a16="http://schemas.microsoft.com/office/drawing/2014/main" id="{FA414E8E-36C2-401A-A911-CA209A8954D1}"/>
                  </a:ext>
                </a:extLst>
              </p:cNvPr>
              <p:cNvSpPr>
                <a:spLocks/>
              </p:cNvSpPr>
              <p:nvPr/>
            </p:nvSpPr>
            <p:spPr bwMode="auto">
              <a:xfrm>
                <a:off x="7439" y="3356"/>
                <a:ext cx="16" cy="15"/>
              </a:xfrm>
              <a:custGeom>
                <a:avLst/>
                <a:gdLst>
                  <a:gd name="T0" fmla="*/ 2 w 7"/>
                  <a:gd name="T1" fmla="*/ 0 h 6"/>
                  <a:gd name="T2" fmla="*/ 2 w 7"/>
                  <a:gd name="T3" fmla="*/ 0 h 6"/>
                  <a:gd name="T4" fmla="*/ 2 w 7"/>
                  <a:gd name="T5" fmla="*/ 0 h 6"/>
                  <a:gd name="T6" fmla="*/ 1 w 7"/>
                  <a:gd name="T7" fmla="*/ 0 h 6"/>
                  <a:gd name="T8" fmla="*/ 1 w 7"/>
                  <a:gd name="T9" fmla="*/ 0 h 6"/>
                  <a:gd name="T10" fmla="*/ 1 w 7"/>
                  <a:gd name="T11" fmla="*/ 1 h 6"/>
                  <a:gd name="T12" fmla="*/ 1 w 7"/>
                  <a:gd name="T13" fmla="*/ 1 h 6"/>
                  <a:gd name="T14" fmla="*/ 0 w 7"/>
                  <a:gd name="T15" fmla="*/ 6 h 6"/>
                  <a:gd name="T16" fmla="*/ 7 w 7"/>
                  <a:gd name="T17" fmla="*/ 3 h 6"/>
                  <a:gd name="T18" fmla="*/ 7 w 7"/>
                  <a:gd name="T19" fmla="*/ 3 h 6"/>
                  <a:gd name="T20" fmla="*/ 7 w 7"/>
                  <a:gd name="T21" fmla="*/ 2 h 6"/>
                  <a:gd name="T22" fmla="*/ 7 w 7"/>
                  <a:gd name="T23" fmla="*/ 2 h 6"/>
                  <a:gd name="T24" fmla="*/ 7 w 7"/>
                  <a:gd name="T25" fmla="*/ 1 h 6"/>
                  <a:gd name="T26" fmla="*/ 5 w 7"/>
                  <a:gd name="T27" fmla="*/ 1 h 6"/>
                  <a:gd name="T28" fmla="*/ 4 w 7"/>
                  <a:gd name="T29" fmla="*/ 1 h 6"/>
                  <a:gd name="T30" fmla="*/ 2 w 7"/>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2" y="0"/>
                    </a:moveTo>
                    <a:cubicBezTo>
                      <a:pt x="2" y="0"/>
                      <a:pt x="2" y="0"/>
                      <a:pt x="2" y="0"/>
                    </a:cubicBezTo>
                    <a:cubicBezTo>
                      <a:pt x="2" y="0"/>
                      <a:pt x="2" y="0"/>
                      <a:pt x="2" y="0"/>
                    </a:cubicBezTo>
                    <a:cubicBezTo>
                      <a:pt x="1" y="0"/>
                      <a:pt x="1" y="0"/>
                      <a:pt x="1" y="0"/>
                    </a:cubicBezTo>
                    <a:cubicBezTo>
                      <a:pt x="1" y="0"/>
                      <a:pt x="1" y="0"/>
                      <a:pt x="1" y="0"/>
                    </a:cubicBezTo>
                    <a:cubicBezTo>
                      <a:pt x="1" y="1"/>
                      <a:pt x="1" y="1"/>
                      <a:pt x="1" y="1"/>
                    </a:cubicBezTo>
                    <a:cubicBezTo>
                      <a:pt x="1" y="1"/>
                      <a:pt x="1" y="1"/>
                      <a:pt x="1" y="1"/>
                    </a:cubicBezTo>
                    <a:cubicBezTo>
                      <a:pt x="0" y="2"/>
                      <a:pt x="1" y="4"/>
                      <a:pt x="0" y="6"/>
                    </a:cubicBezTo>
                    <a:cubicBezTo>
                      <a:pt x="2" y="5"/>
                      <a:pt x="6" y="5"/>
                      <a:pt x="7" y="3"/>
                    </a:cubicBezTo>
                    <a:cubicBezTo>
                      <a:pt x="7" y="3"/>
                      <a:pt x="7" y="3"/>
                      <a:pt x="7" y="3"/>
                    </a:cubicBezTo>
                    <a:cubicBezTo>
                      <a:pt x="7" y="2"/>
                      <a:pt x="7" y="2"/>
                      <a:pt x="7" y="2"/>
                    </a:cubicBezTo>
                    <a:cubicBezTo>
                      <a:pt x="7" y="2"/>
                      <a:pt x="7" y="2"/>
                      <a:pt x="7" y="2"/>
                    </a:cubicBezTo>
                    <a:cubicBezTo>
                      <a:pt x="7" y="1"/>
                      <a:pt x="7" y="1"/>
                      <a:pt x="7" y="1"/>
                    </a:cubicBezTo>
                    <a:cubicBezTo>
                      <a:pt x="6" y="1"/>
                      <a:pt x="5" y="1"/>
                      <a:pt x="5" y="1"/>
                    </a:cubicBezTo>
                    <a:cubicBezTo>
                      <a:pt x="4" y="1"/>
                      <a:pt x="4" y="1"/>
                      <a:pt x="4" y="1"/>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1" name="Freeform 179">
                <a:extLst>
                  <a:ext uri="{FF2B5EF4-FFF2-40B4-BE49-F238E27FC236}">
                    <a16:creationId xmlns:a16="http://schemas.microsoft.com/office/drawing/2014/main" id="{996BE7D6-78D5-4DDD-BBA0-822133CE4E0E}"/>
                  </a:ext>
                </a:extLst>
              </p:cNvPr>
              <p:cNvSpPr>
                <a:spLocks/>
              </p:cNvSpPr>
              <p:nvPr/>
            </p:nvSpPr>
            <p:spPr bwMode="auto">
              <a:xfrm>
                <a:off x="8235" y="3326"/>
                <a:ext cx="7" cy="11"/>
              </a:xfrm>
              <a:custGeom>
                <a:avLst/>
                <a:gdLst>
                  <a:gd name="T0" fmla="*/ 2 w 3"/>
                  <a:gd name="T1" fmla="*/ 0 h 5"/>
                  <a:gd name="T2" fmla="*/ 0 w 3"/>
                  <a:gd name="T3" fmla="*/ 3 h 5"/>
                  <a:gd name="T4" fmla="*/ 0 w 3"/>
                  <a:gd name="T5" fmla="*/ 3 h 5"/>
                  <a:gd name="T6" fmla="*/ 0 w 3"/>
                  <a:gd name="T7" fmla="*/ 4 h 5"/>
                  <a:gd name="T8" fmla="*/ 1 w 3"/>
                  <a:gd name="T9" fmla="*/ 4 h 5"/>
                  <a:gd name="T10" fmla="*/ 0 w 3"/>
                  <a:gd name="T11" fmla="*/ 4 h 5"/>
                  <a:gd name="T12" fmla="*/ 1 w 3"/>
                  <a:gd name="T13" fmla="*/ 5 h 5"/>
                  <a:gd name="T14" fmla="*/ 3 w 3"/>
                  <a:gd name="T15" fmla="*/ 0 h 5"/>
                  <a:gd name="T16" fmla="*/ 2 w 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2" y="0"/>
                    </a:moveTo>
                    <a:cubicBezTo>
                      <a:pt x="0" y="0"/>
                      <a:pt x="0" y="1"/>
                      <a:pt x="0" y="3"/>
                    </a:cubicBezTo>
                    <a:cubicBezTo>
                      <a:pt x="0" y="3"/>
                      <a:pt x="0" y="3"/>
                      <a:pt x="0" y="3"/>
                    </a:cubicBezTo>
                    <a:cubicBezTo>
                      <a:pt x="0" y="3"/>
                      <a:pt x="0" y="3"/>
                      <a:pt x="0" y="4"/>
                    </a:cubicBezTo>
                    <a:cubicBezTo>
                      <a:pt x="1" y="4"/>
                      <a:pt x="1" y="4"/>
                      <a:pt x="1" y="4"/>
                    </a:cubicBezTo>
                    <a:cubicBezTo>
                      <a:pt x="0" y="4"/>
                      <a:pt x="0" y="4"/>
                      <a:pt x="0" y="4"/>
                    </a:cubicBezTo>
                    <a:cubicBezTo>
                      <a:pt x="1" y="5"/>
                      <a:pt x="1" y="5"/>
                      <a:pt x="1" y="5"/>
                    </a:cubicBezTo>
                    <a:cubicBezTo>
                      <a:pt x="3" y="5"/>
                      <a:pt x="3" y="1"/>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2" name="Freeform 180">
                <a:extLst>
                  <a:ext uri="{FF2B5EF4-FFF2-40B4-BE49-F238E27FC236}">
                    <a16:creationId xmlns:a16="http://schemas.microsoft.com/office/drawing/2014/main" id="{BEA0AE8D-38BD-45AC-BE12-A045BE1458D6}"/>
                  </a:ext>
                </a:extLst>
              </p:cNvPr>
              <p:cNvSpPr>
                <a:spLocks/>
              </p:cNvSpPr>
              <p:nvPr/>
            </p:nvSpPr>
            <p:spPr bwMode="auto">
              <a:xfrm>
                <a:off x="7188" y="3267"/>
                <a:ext cx="5" cy="4"/>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cubicBezTo>
                      <a:pt x="0" y="0"/>
                      <a:pt x="0" y="0"/>
                      <a:pt x="0" y="0"/>
                    </a:cubicBezTo>
                    <a:cubicBezTo>
                      <a:pt x="1" y="1"/>
                      <a:pt x="1" y="2"/>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3" name="Freeform 181">
                <a:extLst>
                  <a:ext uri="{FF2B5EF4-FFF2-40B4-BE49-F238E27FC236}">
                    <a16:creationId xmlns:a16="http://schemas.microsoft.com/office/drawing/2014/main" id="{D9BE6453-755D-47D2-8944-5F7DE5376BBF}"/>
                  </a:ext>
                </a:extLst>
              </p:cNvPr>
              <p:cNvSpPr>
                <a:spLocks/>
              </p:cNvSpPr>
              <p:nvPr/>
            </p:nvSpPr>
            <p:spPr bwMode="auto">
              <a:xfrm>
                <a:off x="7200" y="3271"/>
                <a:ext cx="7" cy="7"/>
              </a:xfrm>
              <a:custGeom>
                <a:avLst/>
                <a:gdLst>
                  <a:gd name="T0" fmla="*/ 0 w 3"/>
                  <a:gd name="T1" fmla="*/ 0 h 3"/>
                  <a:gd name="T2" fmla="*/ 1 w 3"/>
                  <a:gd name="T3" fmla="*/ 3 h 3"/>
                  <a:gd name="T4" fmla="*/ 3 w 3"/>
                  <a:gd name="T5" fmla="*/ 1 h 3"/>
                  <a:gd name="T6" fmla="*/ 0 w 3"/>
                  <a:gd name="T7" fmla="*/ 0 h 3"/>
                </a:gdLst>
                <a:ahLst/>
                <a:cxnLst>
                  <a:cxn ang="0">
                    <a:pos x="T0" y="T1"/>
                  </a:cxn>
                  <a:cxn ang="0">
                    <a:pos x="T2" y="T3"/>
                  </a:cxn>
                  <a:cxn ang="0">
                    <a:pos x="T4" y="T5"/>
                  </a:cxn>
                  <a:cxn ang="0">
                    <a:pos x="T6" y="T7"/>
                  </a:cxn>
                </a:cxnLst>
                <a:rect l="0" t="0" r="r" b="b"/>
                <a:pathLst>
                  <a:path w="3" h="3">
                    <a:moveTo>
                      <a:pt x="0" y="0"/>
                    </a:moveTo>
                    <a:cubicBezTo>
                      <a:pt x="0" y="1"/>
                      <a:pt x="1" y="2"/>
                      <a:pt x="1" y="3"/>
                    </a:cubicBezTo>
                    <a:cubicBezTo>
                      <a:pt x="2" y="2"/>
                      <a:pt x="3" y="2"/>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4" name="Freeform 182">
                <a:extLst>
                  <a:ext uri="{FF2B5EF4-FFF2-40B4-BE49-F238E27FC236}">
                    <a16:creationId xmlns:a16="http://schemas.microsoft.com/office/drawing/2014/main" id="{2E445590-681E-40C8-B1F8-9C24A7D06A1E}"/>
                  </a:ext>
                </a:extLst>
              </p:cNvPr>
              <p:cNvSpPr>
                <a:spLocks/>
              </p:cNvSpPr>
              <p:nvPr/>
            </p:nvSpPr>
            <p:spPr bwMode="auto">
              <a:xfrm>
                <a:off x="7271" y="3174"/>
                <a:ext cx="7" cy="12"/>
              </a:xfrm>
              <a:custGeom>
                <a:avLst/>
                <a:gdLst>
                  <a:gd name="T0" fmla="*/ 1 w 3"/>
                  <a:gd name="T1" fmla="*/ 0 h 5"/>
                  <a:gd name="T2" fmla="*/ 1 w 3"/>
                  <a:gd name="T3" fmla="*/ 5 h 5"/>
                  <a:gd name="T4" fmla="*/ 3 w 3"/>
                  <a:gd name="T5" fmla="*/ 2 h 5"/>
                  <a:gd name="T6" fmla="*/ 1 w 3"/>
                  <a:gd name="T7" fmla="*/ 0 h 5"/>
                </a:gdLst>
                <a:ahLst/>
                <a:cxnLst>
                  <a:cxn ang="0">
                    <a:pos x="T0" y="T1"/>
                  </a:cxn>
                  <a:cxn ang="0">
                    <a:pos x="T2" y="T3"/>
                  </a:cxn>
                  <a:cxn ang="0">
                    <a:pos x="T4" y="T5"/>
                  </a:cxn>
                  <a:cxn ang="0">
                    <a:pos x="T6" y="T7"/>
                  </a:cxn>
                </a:cxnLst>
                <a:rect l="0" t="0" r="r" b="b"/>
                <a:pathLst>
                  <a:path w="3" h="5">
                    <a:moveTo>
                      <a:pt x="1" y="0"/>
                    </a:moveTo>
                    <a:cubicBezTo>
                      <a:pt x="0" y="2"/>
                      <a:pt x="1" y="3"/>
                      <a:pt x="1" y="5"/>
                    </a:cubicBezTo>
                    <a:cubicBezTo>
                      <a:pt x="2" y="4"/>
                      <a:pt x="3" y="3"/>
                      <a:pt x="3" y="2"/>
                    </a:cubicBezTo>
                    <a:cubicBezTo>
                      <a:pt x="2"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5" name="Freeform 183">
                <a:extLst>
                  <a:ext uri="{FF2B5EF4-FFF2-40B4-BE49-F238E27FC236}">
                    <a16:creationId xmlns:a16="http://schemas.microsoft.com/office/drawing/2014/main" id="{28DF67FD-935A-4CB0-AFB6-F9EC7DE9642A}"/>
                  </a:ext>
                </a:extLst>
              </p:cNvPr>
              <p:cNvSpPr>
                <a:spLocks/>
              </p:cNvSpPr>
              <p:nvPr/>
            </p:nvSpPr>
            <p:spPr bwMode="auto">
              <a:xfrm>
                <a:off x="8252" y="3366"/>
                <a:ext cx="9" cy="5"/>
              </a:xfrm>
              <a:custGeom>
                <a:avLst/>
                <a:gdLst>
                  <a:gd name="T0" fmla="*/ 2 w 4"/>
                  <a:gd name="T1" fmla="*/ 0 h 2"/>
                  <a:gd name="T2" fmla="*/ 0 w 4"/>
                  <a:gd name="T3" fmla="*/ 1 h 2"/>
                  <a:gd name="T4" fmla="*/ 4 w 4"/>
                  <a:gd name="T5" fmla="*/ 2 h 2"/>
                  <a:gd name="T6" fmla="*/ 4 w 4"/>
                  <a:gd name="T7" fmla="*/ 2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cubicBezTo>
                      <a:pt x="1" y="0"/>
                      <a:pt x="1" y="1"/>
                      <a:pt x="0" y="1"/>
                    </a:cubicBezTo>
                    <a:cubicBezTo>
                      <a:pt x="1" y="2"/>
                      <a:pt x="2" y="2"/>
                      <a:pt x="4" y="2"/>
                    </a:cubicBezTo>
                    <a:cubicBezTo>
                      <a:pt x="4" y="2"/>
                      <a:pt x="4" y="2"/>
                      <a:pt x="4" y="2"/>
                    </a:cubicBezTo>
                    <a:cubicBezTo>
                      <a:pt x="4" y="1"/>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6" name="Freeform 184">
                <a:extLst>
                  <a:ext uri="{FF2B5EF4-FFF2-40B4-BE49-F238E27FC236}">
                    <a16:creationId xmlns:a16="http://schemas.microsoft.com/office/drawing/2014/main" id="{4ABD9EBF-781F-41C1-BF84-42195AE2CF54}"/>
                  </a:ext>
                </a:extLst>
              </p:cNvPr>
              <p:cNvSpPr>
                <a:spLocks/>
              </p:cNvSpPr>
              <p:nvPr/>
            </p:nvSpPr>
            <p:spPr bwMode="auto">
              <a:xfrm>
                <a:off x="6938" y="3326"/>
                <a:ext cx="12" cy="11"/>
              </a:xfrm>
              <a:custGeom>
                <a:avLst/>
                <a:gdLst>
                  <a:gd name="T0" fmla="*/ 3 w 5"/>
                  <a:gd name="T1" fmla="*/ 0 h 5"/>
                  <a:gd name="T2" fmla="*/ 2 w 5"/>
                  <a:gd name="T3" fmla="*/ 2 h 5"/>
                  <a:gd name="T4" fmla="*/ 0 w 5"/>
                  <a:gd name="T5" fmla="*/ 5 h 5"/>
                  <a:gd name="T6" fmla="*/ 2 w 5"/>
                  <a:gd name="T7" fmla="*/ 5 h 5"/>
                  <a:gd name="T8" fmla="*/ 4 w 5"/>
                  <a:gd name="T9" fmla="*/ 4 h 5"/>
                  <a:gd name="T10" fmla="*/ 3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3" y="0"/>
                    </a:moveTo>
                    <a:cubicBezTo>
                      <a:pt x="3" y="0"/>
                      <a:pt x="2" y="0"/>
                      <a:pt x="2" y="2"/>
                    </a:cubicBezTo>
                    <a:cubicBezTo>
                      <a:pt x="1" y="3"/>
                      <a:pt x="2" y="5"/>
                      <a:pt x="0" y="5"/>
                    </a:cubicBezTo>
                    <a:cubicBezTo>
                      <a:pt x="1" y="5"/>
                      <a:pt x="1" y="5"/>
                      <a:pt x="2" y="5"/>
                    </a:cubicBezTo>
                    <a:cubicBezTo>
                      <a:pt x="3" y="5"/>
                      <a:pt x="3" y="4"/>
                      <a:pt x="4" y="4"/>
                    </a:cubicBezTo>
                    <a:cubicBezTo>
                      <a:pt x="5"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7" name="Freeform 185">
                <a:extLst>
                  <a:ext uri="{FF2B5EF4-FFF2-40B4-BE49-F238E27FC236}">
                    <a16:creationId xmlns:a16="http://schemas.microsoft.com/office/drawing/2014/main" id="{1020C04E-5D9D-40AC-AD4B-2FDF11ADF2CA}"/>
                  </a:ext>
                </a:extLst>
              </p:cNvPr>
              <p:cNvSpPr>
                <a:spLocks/>
              </p:cNvSpPr>
              <p:nvPr/>
            </p:nvSpPr>
            <p:spPr bwMode="auto">
              <a:xfrm>
                <a:off x="6886" y="3212"/>
                <a:ext cx="9" cy="10"/>
              </a:xfrm>
              <a:custGeom>
                <a:avLst/>
                <a:gdLst>
                  <a:gd name="T0" fmla="*/ 1 w 4"/>
                  <a:gd name="T1" fmla="*/ 0 h 4"/>
                  <a:gd name="T2" fmla="*/ 0 w 4"/>
                  <a:gd name="T3" fmla="*/ 0 h 4"/>
                  <a:gd name="T4" fmla="*/ 4 w 4"/>
                  <a:gd name="T5" fmla="*/ 4 h 4"/>
                  <a:gd name="T6" fmla="*/ 1 w 4"/>
                  <a:gd name="T7" fmla="*/ 0 h 4"/>
                </a:gdLst>
                <a:ahLst/>
                <a:cxnLst>
                  <a:cxn ang="0">
                    <a:pos x="T0" y="T1"/>
                  </a:cxn>
                  <a:cxn ang="0">
                    <a:pos x="T2" y="T3"/>
                  </a:cxn>
                  <a:cxn ang="0">
                    <a:pos x="T4" y="T5"/>
                  </a:cxn>
                  <a:cxn ang="0">
                    <a:pos x="T6" y="T7"/>
                  </a:cxn>
                </a:cxnLst>
                <a:rect l="0" t="0" r="r" b="b"/>
                <a:pathLst>
                  <a:path w="4" h="4">
                    <a:moveTo>
                      <a:pt x="1" y="0"/>
                    </a:moveTo>
                    <a:cubicBezTo>
                      <a:pt x="1" y="0"/>
                      <a:pt x="0" y="0"/>
                      <a:pt x="0" y="0"/>
                    </a:cubicBezTo>
                    <a:cubicBezTo>
                      <a:pt x="1" y="2"/>
                      <a:pt x="3" y="3"/>
                      <a:pt x="4" y="4"/>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8" name="Freeform 186">
                <a:extLst>
                  <a:ext uri="{FF2B5EF4-FFF2-40B4-BE49-F238E27FC236}">
                    <a16:creationId xmlns:a16="http://schemas.microsoft.com/office/drawing/2014/main" id="{D2F5FCA2-68ED-428D-8151-B11F2F14D5F6}"/>
                  </a:ext>
                </a:extLst>
              </p:cNvPr>
              <p:cNvSpPr>
                <a:spLocks/>
              </p:cNvSpPr>
              <p:nvPr/>
            </p:nvSpPr>
            <p:spPr bwMode="auto">
              <a:xfrm>
                <a:off x="8625" y="3347"/>
                <a:ext cx="29" cy="21"/>
              </a:xfrm>
              <a:custGeom>
                <a:avLst/>
                <a:gdLst>
                  <a:gd name="T0" fmla="*/ 1 w 12"/>
                  <a:gd name="T1" fmla="*/ 0 h 9"/>
                  <a:gd name="T2" fmla="*/ 0 w 12"/>
                  <a:gd name="T3" fmla="*/ 0 h 9"/>
                  <a:gd name="T4" fmla="*/ 3 w 12"/>
                  <a:gd name="T5" fmla="*/ 9 h 9"/>
                  <a:gd name="T6" fmla="*/ 4 w 12"/>
                  <a:gd name="T7" fmla="*/ 9 h 9"/>
                  <a:gd name="T8" fmla="*/ 5 w 12"/>
                  <a:gd name="T9" fmla="*/ 9 h 9"/>
                  <a:gd name="T10" fmla="*/ 6 w 12"/>
                  <a:gd name="T11" fmla="*/ 9 h 9"/>
                  <a:gd name="T12" fmla="*/ 6 w 12"/>
                  <a:gd name="T13" fmla="*/ 9 h 9"/>
                  <a:gd name="T14" fmla="*/ 7 w 12"/>
                  <a:gd name="T15" fmla="*/ 9 h 9"/>
                  <a:gd name="T16" fmla="*/ 12 w 12"/>
                  <a:gd name="T17" fmla="*/ 7 h 9"/>
                  <a:gd name="T18" fmla="*/ 12 w 12"/>
                  <a:gd name="T19" fmla="*/ 7 h 9"/>
                  <a:gd name="T20" fmla="*/ 10 w 12"/>
                  <a:gd name="T21" fmla="*/ 6 h 9"/>
                  <a:gd name="T22" fmla="*/ 8 w 12"/>
                  <a:gd name="T23" fmla="*/ 6 h 9"/>
                  <a:gd name="T24" fmla="*/ 6 w 12"/>
                  <a:gd name="T25" fmla="*/ 3 h 9"/>
                  <a:gd name="T26" fmla="*/ 1 w 12"/>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1" y="0"/>
                    </a:moveTo>
                    <a:cubicBezTo>
                      <a:pt x="1" y="0"/>
                      <a:pt x="1" y="0"/>
                      <a:pt x="0" y="0"/>
                    </a:cubicBezTo>
                    <a:cubicBezTo>
                      <a:pt x="1" y="2"/>
                      <a:pt x="1" y="8"/>
                      <a:pt x="3" y="9"/>
                    </a:cubicBezTo>
                    <a:cubicBezTo>
                      <a:pt x="3" y="9"/>
                      <a:pt x="3" y="9"/>
                      <a:pt x="4" y="9"/>
                    </a:cubicBezTo>
                    <a:cubicBezTo>
                      <a:pt x="4" y="9"/>
                      <a:pt x="5" y="9"/>
                      <a:pt x="5" y="9"/>
                    </a:cubicBezTo>
                    <a:cubicBezTo>
                      <a:pt x="5" y="9"/>
                      <a:pt x="6" y="9"/>
                      <a:pt x="6" y="9"/>
                    </a:cubicBezTo>
                    <a:cubicBezTo>
                      <a:pt x="6" y="9"/>
                      <a:pt x="6" y="9"/>
                      <a:pt x="6" y="9"/>
                    </a:cubicBezTo>
                    <a:cubicBezTo>
                      <a:pt x="6" y="9"/>
                      <a:pt x="7" y="9"/>
                      <a:pt x="7" y="9"/>
                    </a:cubicBezTo>
                    <a:cubicBezTo>
                      <a:pt x="9" y="9"/>
                      <a:pt x="10" y="8"/>
                      <a:pt x="12" y="7"/>
                    </a:cubicBezTo>
                    <a:cubicBezTo>
                      <a:pt x="12" y="7"/>
                      <a:pt x="12" y="7"/>
                      <a:pt x="12" y="7"/>
                    </a:cubicBezTo>
                    <a:cubicBezTo>
                      <a:pt x="11" y="7"/>
                      <a:pt x="11" y="7"/>
                      <a:pt x="10" y="6"/>
                    </a:cubicBezTo>
                    <a:cubicBezTo>
                      <a:pt x="8" y="6"/>
                      <a:pt x="8" y="6"/>
                      <a:pt x="8" y="6"/>
                    </a:cubicBezTo>
                    <a:cubicBezTo>
                      <a:pt x="7" y="6"/>
                      <a:pt x="7" y="4"/>
                      <a:pt x="6" y="3"/>
                    </a:cubicBezTo>
                    <a:cubicBezTo>
                      <a:pt x="6"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9" name="Freeform 187">
                <a:extLst>
                  <a:ext uri="{FF2B5EF4-FFF2-40B4-BE49-F238E27FC236}">
                    <a16:creationId xmlns:a16="http://schemas.microsoft.com/office/drawing/2014/main" id="{BE5A4347-BAF5-4E1C-AFCE-1108E46C428D}"/>
                  </a:ext>
                </a:extLst>
              </p:cNvPr>
              <p:cNvSpPr>
                <a:spLocks/>
              </p:cNvSpPr>
              <p:nvPr/>
            </p:nvSpPr>
            <p:spPr bwMode="auto">
              <a:xfrm>
                <a:off x="8396" y="3354"/>
                <a:ext cx="19" cy="19"/>
              </a:xfrm>
              <a:custGeom>
                <a:avLst/>
                <a:gdLst>
                  <a:gd name="T0" fmla="*/ 5 w 8"/>
                  <a:gd name="T1" fmla="*/ 0 h 8"/>
                  <a:gd name="T2" fmla="*/ 4 w 8"/>
                  <a:gd name="T3" fmla="*/ 0 h 8"/>
                  <a:gd name="T4" fmla="*/ 1 w 8"/>
                  <a:gd name="T5" fmla="*/ 4 h 8"/>
                  <a:gd name="T6" fmla="*/ 4 w 8"/>
                  <a:gd name="T7" fmla="*/ 8 h 8"/>
                  <a:gd name="T8" fmla="*/ 4 w 8"/>
                  <a:gd name="T9" fmla="*/ 8 h 8"/>
                  <a:gd name="T10" fmla="*/ 8 w 8"/>
                  <a:gd name="T11" fmla="*/ 2 h 8"/>
                  <a:gd name="T12" fmla="*/ 5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5" y="0"/>
                    </a:moveTo>
                    <a:cubicBezTo>
                      <a:pt x="4" y="0"/>
                      <a:pt x="4" y="0"/>
                      <a:pt x="4" y="0"/>
                    </a:cubicBezTo>
                    <a:cubicBezTo>
                      <a:pt x="1" y="0"/>
                      <a:pt x="0" y="1"/>
                      <a:pt x="1" y="4"/>
                    </a:cubicBezTo>
                    <a:cubicBezTo>
                      <a:pt x="1" y="4"/>
                      <a:pt x="2" y="8"/>
                      <a:pt x="4" y="8"/>
                    </a:cubicBezTo>
                    <a:cubicBezTo>
                      <a:pt x="4" y="8"/>
                      <a:pt x="4" y="8"/>
                      <a:pt x="4" y="8"/>
                    </a:cubicBezTo>
                    <a:cubicBezTo>
                      <a:pt x="7" y="8"/>
                      <a:pt x="8" y="4"/>
                      <a:pt x="8" y="2"/>
                    </a:cubicBezTo>
                    <a:cubicBezTo>
                      <a:pt x="7"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0" name="Freeform 188">
                <a:extLst>
                  <a:ext uri="{FF2B5EF4-FFF2-40B4-BE49-F238E27FC236}">
                    <a16:creationId xmlns:a16="http://schemas.microsoft.com/office/drawing/2014/main" id="{94C7548D-FF1D-41CD-B5D0-09D5D6432D51}"/>
                  </a:ext>
                </a:extLst>
              </p:cNvPr>
              <p:cNvSpPr>
                <a:spLocks/>
              </p:cNvSpPr>
              <p:nvPr/>
            </p:nvSpPr>
            <p:spPr bwMode="auto">
              <a:xfrm>
                <a:off x="8384" y="3349"/>
                <a:ext cx="14" cy="5"/>
              </a:xfrm>
              <a:custGeom>
                <a:avLst/>
                <a:gdLst>
                  <a:gd name="T0" fmla="*/ 3 w 6"/>
                  <a:gd name="T1" fmla="*/ 0 h 2"/>
                  <a:gd name="T2" fmla="*/ 3 w 6"/>
                  <a:gd name="T3" fmla="*/ 1 h 2"/>
                  <a:gd name="T4" fmla="*/ 2 w 6"/>
                  <a:gd name="T5" fmla="*/ 0 h 2"/>
                  <a:gd name="T6" fmla="*/ 1 w 6"/>
                  <a:gd name="T7" fmla="*/ 0 h 2"/>
                  <a:gd name="T8" fmla="*/ 1 w 6"/>
                  <a:gd name="T9" fmla="*/ 0 h 2"/>
                  <a:gd name="T10" fmla="*/ 0 w 6"/>
                  <a:gd name="T11" fmla="*/ 2 h 2"/>
                  <a:gd name="T12" fmla="*/ 6 w 6"/>
                  <a:gd name="T13" fmla="*/ 0 h 2"/>
                  <a:gd name="T14" fmla="*/ 5 w 6"/>
                  <a:gd name="T15" fmla="*/ 0 h 2"/>
                  <a:gd name="T16" fmla="*/ 5 w 6"/>
                  <a:gd name="T17" fmla="*/ 0 h 2"/>
                  <a:gd name="T18" fmla="*/ 4 w 6"/>
                  <a:gd name="T19" fmla="*/ 0 h 2"/>
                  <a:gd name="T20" fmla="*/ 3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3" y="0"/>
                    </a:moveTo>
                    <a:cubicBezTo>
                      <a:pt x="3" y="1"/>
                      <a:pt x="3" y="1"/>
                      <a:pt x="3" y="1"/>
                    </a:cubicBezTo>
                    <a:cubicBezTo>
                      <a:pt x="2" y="1"/>
                      <a:pt x="2" y="1"/>
                      <a:pt x="2" y="0"/>
                    </a:cubicBezTo>
                    <a:cubicBezTo>
                      <a:pt x="2" y="0"/>
                      <a:pt x="2" y="0"/>
                      <a:pt x="1" y="0"/>
                    </a:cubicBezTo>
                    <a:cubicBezTo>
                      <a:pt x="1" y="0"/>
                      <a:pt x="1" y="0"/>
                      <a:pt x="1" y="0"/>
                    </a:cubicBezTo>
                    <a:cubicBezTo>
                      <a:pt x="1" y="1"/>
                      <a:pt x="1" y="2"/>
                      <a:pt x="0" y="2"/>
                    </a:cubicBezTo>
                    <a:cubicBezTo>
                      <a:pt x="2" y="2"/>
                      <a:pt x="4" y="1"/>
                      <a:pt x="6" y="0"/>
                    </a:cubicBezTo>
                    <a:cubicBezTo>
                      <a:pt x="6" y="0"/>
                      <a:pt x="5" y="0"/>
                      <a:pt x="5" y="0"/>
                    </a:cubicBezTo>
                    <a:cubicBezTo>
                      <a:pt x="5" y="0"/>
                      <a:pt x="5" y="0"/>
                      <a:pt x="5" y="0"/>
                    </a:cubicBezTo>
                    <a:cubicBezTo>
                      <a:pt x="4" y="0"/>
                      <a:pt x="4" y="0"/>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1" name="Freeform 189">
                <a:extLst>
                  <a:ext uri="{FF2B5EF4-FFF2-40B4-BE49-F238E27FC236}">
                    <a16:creationId xmlns:a16="http://schemas.microsoft.com/office/drawing/2014/main" id="{F0A64814-03CC-4599-ACD3-0F7814F9782D}"/>
                  </a:ext>
                </a:extLst>
              </p:cNvPr>
              <p:cNvSpPr>
                <a:spLocks/>
              </p:cNvSpPr>
              <p:nvPr/>
            </p:nvSpPr>
            <p:spPr bwMode="auto">
              <a:xfrm>
                <a:off x="7214" y="3314"/>
                <a:ext cx="24" cy="14"/>
              </a:xfrm>
              <a:custGeom>
                <a:avLst/>
                <a:gdLst>
                  <a:gd name="T0" fmla="*/ 2 w 10"/>
                  <a:gd name="T1" fmla="*/ 0 h 6"/>
                  <a:gd name="T2" fmla="*/ 0 w 10"/>
                  <a:gd name="T3" fmla="*/ 4 h 6"/>
                  <a:gd name="T4" fmla="*/ 3 w 10"/>
                  <a:gd name="T5" fmla="*/ 5 h 6"/>
                  <a:gd name="T6" fmla="*/ 3 w 10"/>
                  <a:gd name="T7" fmla="*/ 5 h 6"/>
                  <a:gd name="T8" fmla="*/ 5 w 10"/>
                  <a:gd name="T9" fmla="*/ 4 h 6"/>
                  <a:gd name="T10" fmla="*/ 6 w 10"/>
                  <a:gd name="T11" fmla="*/ 4 h 6"/>
                  <a:gd name="T12" fmla="*/ 10 w 10"/>
                  <a:gd name="T13" fmla="*/ 6 h 6"/>
                  <a:gd name="T14" fmla="*/ 2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0"/>
                    </a:moveTo>
                    <a:cubicBezTo>
                      <a:pt x="2" y="1"/>
                      <a:pt x="0" y="3"/>
                      <a:pt x="0" y="4"/>
                    </a:cubicBezTo>
                    <a:cubicBezTo>
                      <a:pt x="0" y="4"/>
                      <a:pt x="3" y="5"/>
                      <a:pt x="3" y="5"/>
                    </a:cubicBezTo>
                    <a:cubicBezTo>
                      <a:pt x="3" y="5"/>
                      <a:pt x="3" y="5"/>
                      <a:pt x="3" y="5"/>
                    </a:cubicBezTo>
                    <a:cubicBezTo>
                      <a:pt x="4" y="5"/>
                      <a:pt x="5" y="4"/>
                      <a:pt x="5" y="4"/>
                    </a:cubicBezTo>
                    <a:cubicBezTo>
                      <a:pt x="6" y="4"/>
                      <a:pt x="6" y="4"/>
                      <a:pt x="6" y="4"/>
                    </a:cubicBezTo>
                    <a:cubicBezTo>
                      <a:pt x="7" y="4"/>
                      <a:pt x="9" y="6"/>
                      <a:pt x="10" y="6"/>
                    </a:cubicBezTo>
                    <a:cubicBezTo>
                      <a:pt x="7" y="4"/>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2" name="Freeform 190">
                <a:extLst>
                  <a:ext uri="{FF2B5EF4-FFF2-40B4-BE49-F238E27FC236}">
                    <a16:creationId xmlns:a16="http://schemas.microsoft.com/office/drawing/2014/main" id="{32DCA595-8566-4454-93A2-E2F9AAF035B1}"/>
                  </a:ext>
                </a:extLst>
              </p:cNvPr>
              <p:cNvSpPr>
                <a:spLocks/>
              </p:cNvSpPr>
              <p:nvPr/>
            </p:nvSpPr>
            <p:spPr bwMode="auto">
              <a:xfrm>
                <a:off x="8285" y="3196"/>
                <a:ext cx="21" cy="28"/>
              </a:xfrm>
              <a:custGeom>
                <a:avLst/>
                <a:gdLst>
                  <a:gd name="T0" fmla="*/ 7 w 9"/>
                  <a:gd name="T1" fmla="*/ 0 h 12"/>
                  <a:gd name="T2" fmla="*/ 1 w 9"/>
                  <a:gd name="T3" fmla="*/ 6 h 12"/>
                  <a:gd name="T4" fmla="*/ 1 w 9"/>
                  <a:gd name="T5" fmla="*/ 9 h 12"/>
                  <a:gd name="T6" fmla="*/ 1 w 9"/>
                  <a:gd name="T7" fmla="*/ 12 h 12"/>
                  <a:gd name="T8" fmla="*/ 6 w 9"/>
                  <a:gd name="T9" fmla="*/ 10 h 12"/>
                  <a:gd name="T10" fmla="*/ 7 w 9"/>
                  <a:gd name="T11" fmla="*/ 0 h 12"/>
                </a:gdLst>
                <a:ahLst/>
                <a:cxnLst>
                  <a:cxn ang="0">
                    <a:pos x="T0" y="T1"/>
                  </a:cxn>
                  <a:cxn ang="0">
                    <a:pos x="T2" y="T3"/>
                  </a:cxn>
                  <a:cxn ang="0">
                    <a:pos x="T4" y="T5"/>
                  </a:cxn>
                  <a:cxn ang="0">
                    <a:pos x="T6" y="T7"/>
                  </a:cxn>
                  <a:cxn ang="0">
                    <a:pos x="T8" y="T9"/>
                  </a:cxn>
                  <a:cxn ang="0">
                    <a:pos x="T10" y="T11"/>
                  </a:cxn>
                </a:cxnLst>
                <a:rect l="0" t="0" r="r" b="b"/>
                <a:pathLst>
                  <a:path w="9" h="12">
                    <a:moveTo>
                      <a:pt x="7" y="0"/>
                    </a:moveTo>
                    <a:cubicBezTo>
                      <a:pt x="5" y="1"/>
                      <a:pt x="1" y="3"/>
                      <a:pt x="1" y="6"/>
                    </a:cubicBezTo>
                    <a:cubicBezTo>
                      <a:pt x="1" y="7"/>
                      <a:pt x="0" y="7"/>
                      <a:pt x="1" y="9"/>
                    </a:cubicBezTo>
                    <a:cubicBezTo>
                      <a:pt x="1" y="10"/>
                      <a:pt x="2" y="11"/>
                      <a:pt x="1" y="12"/>
                    </a:cubicBezTo>
                    <a:cubicBezTo>
                      <a:pt x="3" y="11"/>
                      <a:pt x="5" y="11"/>
                      <a:pt x="6" y="10"/>
                    </a:cubicBezTo>
                    <a:cubicBezTo>
                      <a:pt x="9" y="8"/>
                      <a:pt x="8"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3" name="Freeform 191">
                <a:extLst>
                  <a:ext uri="{FF2B5EF4-FFF2-40B4-BE49-F238E27FC236}">
                    <a16:creationId xmlns:a16="http://schemas.microsoft.com/office/drawing/2014/main" id="{02F2F9A1-92CC-4881-9639-2161F922F44A}"/>
                  </a:ext>
                </a:extLst>
              </p:cNvPr>
              <p:cNvSpPr>
                <a:spLocks/>
              </p:cNvSpPr>
              <p:nvPr/>
            </p:nvSpPr>
            <p:spPr bwMode="auto">
              <a:xfrm>
                <a:off x="6820" y="3181"/>
                <a:ext cx="35" cy="26"/>
              </a:xfrm>
              <a:custGeom>
                <a:avLst/>
                <a:gdLst>
                  <a:gd name="T0" fmla="*/ 3 w 15"/>
                  <a:gd name="T1" fmla="*/ 0 h 11"/>
                  <a:gd name="T2" fmla="*/ 1 w 15"/>
                  <a:gd name="T3" fmla="*/ 3 h 11"/>
                  <a:gd name="T4" fmla="*/ 2 w 15"/>
                  <a:gd name="T5" fmla="*/ 3 h 11"/>
                  <a:gd name="T6" fmla="*/ 3 w 15"/>
                  <a:gd name="T7" fmla="*/ 5 h 11"/>
                  <a:gd name="T8" fmla="*/ 7 w 15"/>
                  <a:gd name="T9" fmla="*/ 6 h 11"/>
                  <a:gd name="T10" fmla="*/ 14 w 15"/>
                  <a:gd name="T11" fmla="*/ 11 h 11"/>
                  <a:gd name="T12" fmla="*/ 15 w 15"/>
                  <a:gd name="T13" fmla="*/ 11 h 11"/>
                  <a:gd name="T14" fmla="*/ 11 w 15"/>
                  <a:gd name="T15" fmla="*/ 6 h 11"/>
                  <a:gd name="T16" fmla="*/ 3 w 15"/>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1">
                    <a:moveTo>
                      <a:pt x="3" y="0"/>
                    </a:moveTo>
                    <a:cubicBezTo>
                      <a:pt x="2" y="1"/>
                      <a:pt x="0" y="3"/>
                      <a:pt x="1" y="3"/>
                    </a:cubicBezTo>
                    <a:cubicBezTo>
                      <a:pt x="1" y="3"/>
                      <a:pt x="1" y="3"/>
                      <a:pt x="2" y="3"/>
                    </a:cubicBezTo>
                    <a:cubicBezTo>
                      <a:pt x="2" y="4"/>
                      <a:pt x="3" y="5"/>
                      <a:pt x="3" y="5"/>
                    </a:cubicBezTo>
                    <a:cubicBezTo>
                      <a:pt x="4" y="6"/>
                      <a:pt x="6" y="6"/>
                      <a:pt x="7" y="6"/>
                    </a:cubicBezTo>
                    <a:cubicBezTo>
                      <a:pt x="9" y="7"/>
                      <a:pt x="13" y="11"/>
                      <a:pt x="14" y="11"/>
                    </a:cubicBezTo>
                    <a:cubicBezTo>
                      <a:pt x="15" y="11"/>
                      <a:pt x="15" y="11"/>
                      <a:pt x="15" y="11"/>
                    </a:cubicBezTo>
                    <a:cubicBezTo>
                      <a:pt x="15" y="7"/>
                      <a:pt x="14" y="8"/>
                      <a:pt x="11" y="6"/>
                    </a:cubicBezTo>
                    <a:cubicBezTo>
                      <a:pt x="8" y="4"/>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4" name="Freeform 192">
                <a:extLst>
                  <a:ext uri="{FF2B5EF4-FFF2-40B4-BE49-F238E27FC236}">
                    <a16:creationId xmlns:a16="http://schemas.microsoft.com/office/drawing/2014/main" id="{72C69DB4-F952-4CB8-92EF-935BD2165B59}"/>
                  </a:ext>
                </a:extLst>
              </p:cNvPr>
              <p:cNvSpPr>
                <a:spLocks/>
              </p:cNvSpPr>
              <p:nvPr/>
            </p:nvSpPr>
            <p:spPr bwMode="auto">
              <a:xfrm>
                <a:off x="3665" y="1560"/>
                <a:ext cx="2" cy="7"/>
              </a:xfrm>
              <a:custGeom>
                <a:avLst/>
                <a:gdLst>
                  <a:gd name="T0" fmla="*/ 0 w 1"/>
                  <a:gd name="T1" fmla="*/ 0 h 3"/>
                  <a:gd name="T2" fmla="*/ 0 w 1"/>
                  <a:gd name="T3" fmla="*/ 3 h 3"/>
                  <a:gd name="T4" fmla="*/ 0 w 1"/>
                  <a:gd name="T5" fmla="*/ 0 h 3"/>
                  <a:gd name="T6" fmla="*/ 0 w 1"/>
                  <a:gd name="T7" fmla="*/ 0 h 3"/>
                </a:gdLst>
                <a:ahLst/>
                <a:cxnLst>
                  <a:cxn ang="0">
                    <a:pos x="T0" y="T1"/>
                  </a:cxn>
                  <a:cxn ang="0">
                    <a:pos x="T2" y="T3"/>
                  </a:cxn>
                  <a:cxn ang="0">
                    <a:pos x="T4" y="T5"/>
                  </a:cxn>
                  <a:cxn ang="0">
                    <a:pos x="T6" y="T7"/>
                  </a:cxn>
                </a:cxnLst>
                <a:rect l="0" t="0" r="r" b="b"/>
                <a:pathLst>
                  <a:path w="1" h="3">
                    <a:moveTo>
                      <a:pt x="0" y="0"/>
                    </a:moveTo>
                    <a:cubicBezTo>
                      <a:pt x="0" y="3"/>
                      <a:pt x="0" y="3"/>
                      <a:pt x="0" y="3"/>
                    </a:cubicBezTo>
                    <a:cubicBezTo>
                      <a:pt x="0" y="2"/>
                      <a:pt x="1"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5" name="Freeform 193">
                <a:extLst>
                  <a:ext uri="{FF2B5EF4-FFF2-40B4-BE49-F238E27FC236}">
                    <a16:creationId xmlns:a16="http://schemas.microsoft.com/office/drawing/2014/main" id="{FBB4353C-520A-4CE3-BB98-405AC81522C7}"/>
                  </a:ext>
                </a:extLst>
              </p:cNvPr>
              <p:cNvSpPr>
                <a:spLocks/>
              </p:cNvSpPr>
              <p:nvPr/>
            </p:nvSpPr>
            <p:spPr bwMode="auto">
              <a:xfrm>
                <a:off x="3684" y="1531"/>
                <a:ext cx="16" cy="10"/>
              </a:xfrm>
              <a:custGeom>
                <a:avLst/>
                <a:gdLst>
                  <a:gd name="T0" fmla="*/ 7 w 7"/>
                  <a:gd name="T1" fmla="*/ 0 h 4"/>
                  <a:gd name="T2" fmla="*/ 0 w 7"/>
                  <a:gd name="T3" fmla="*/ 4 h 4"/>
                  <a:gd name="T4" fmla="*/ 7 w 7"/>
                  <a:gd name="T5" fmla="*/ 0 h 4"/>
                </a:gdLst>
                <a:ahLst/>
                <a:cxnLst>
                  <a:cxn ang="0">
                    <a:pos x="T0" y="T1"/>
                  </a:cxn>
                  <a:cxn ang="0">
                    <a:pos x="T2" y="T3"/>
                  </a:cxn>
                  <a:cxn ang="0">
                    <a:pos x="T4" y="T5"/>
                  </a:cxn>
                </a:cxnLst>
                <a:rect l="0" t="0" r="r" b="b"/>
                <a:pathLst>
                  <a:path w="7" h="4">
                    <a:moveTo>
                      <a:pt x="7" y="0"/>
                    </a:moveTo>
                    <a:cubicBezTo>
                      <a:pt x="4" y="1"/>
                      <a:pt x="2" y="3"/>
                      <a:pt x="0" y="4"/>
                    </a:cubicBezTo>
                    <a:cubicBezTo>
                      <a:pt x="2" y="4"/>
                      <a:pt x="5"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6" name="Freeform 194">
                <a:extLst>
                  <a:ext uri="{FF2B5EF4-FFF2-40B4-BE49-F238E27FC236}">
                    <a16:creationId xmlns:a16="http://schemas.microsoft.com/office/drawing/2014/main" id="{7B5EAA6B-C6BB-4BA3-B277-FDFF4A3BDB4E}"/>
                  </a:ext>
                </a:extLst>
              </p:cNvPr>
              <p:cNvSpPr>
                <a:spLocks/>
              </p:cNvSpPr>
              <p:nvPr/>
            </p:nvSpPr>
            <p:spPr bwMode="auto">
              <a:xfrm>
                <a:off x="3677" y="1441"/>
                <a:ext cx="35" cy="24"/>
              </a:xfrm>
              <a:custGeom>
                <a:avLst/>
                <a:gdLst>
                  <a:gd name="T0" fmla="*/ 8 w 15"/>
                  <a:gd name="T1" fmla="*/ 0 h 10"/>
                  <a:gd name="T2" fmla="*/ 4 w 15"/>
                  <a:gd name="T3" fmla="*/ 2 h 10"/>
                  <a:gd name="T4" fmla="*/ 3 w 15"/>
                  <a:gd name="T5" fmla="*/ 3 h 10"/>
                  <a:gd name="T6" fmla="*/ 2 w 15"/>
                  <a:gd name="T7" fmla="*/ 3 h 10"/>
                  <a:gd name="T8" fmla="*/ 2 w 15"/>
                  <a:gd name="T9" fmla="*/ 3 h 10"/>
                  <a:gd name="T10" fmla="*/ 0 w 15"/>
                  <a:gd name="T11" fmla="*/ 3 h 10"/>
                  <a:gd name="T12" fmla="*/ 7 w 15"/>
                  <a:gd name="T13" fmla="*/ 4 h 10"/>
                  <a:gd name="T14" fmla="*/ 8 w 15"/>
                  <a:gd name="T15" fmla="*/ 4 h 10"/>
                  <a:gd name="T16" fmla="*/ 5 w 15"/>
                  <a:gd name="T17" fmla="*/ 7 h 10"/>
                  <a:gd name="T18" fmla="*/ 11 w 15"/>
                  <a:gd name="T19" fmla="*/ 10 h 10"/>
                  <a:gd name="T20" fmla="*/ 12 w 15"/>
                  <a:gd name="T21" fmla="*/ 10 h 10"/>
                  <a:gd name="T22" fmla="*/ 12 w 15"/>
                  <a:gd name="T23" fmla="*/ 7 h 10"/>
                  <a:gd name="T24" fmla="*/ 12 w 15"/>
                  <a:gd name="T25" fmla="*/ 6 h 10"/>
                  <a:gd name="T26" fmla="*/ 13 w 15"/>
                  <a:gd name="T27" fmla="*/ 8 h 10"/>
                  <a:gd name="T28" fmla="*/ 14 w 15"/>
                  <a:gd name="T29" fmla="*/ 9 h 10"/>
                  <a:gd name="T30" fmla="*/ 15 w 15"/>
                  <a:gd name="T31" fmla="*/ 8 h 10"/>
                  <a:gd name="T32" fmla="*/ 11 w 15"/>
                  <a:gd name="T33" fmla="*/ 3 h 10"/>
                  <a:gd name="T34" fmla="*/ 10 w 15"/>
                  <a:gd name="T35" fmla="*/ 1 h 10"/>
                  <a:gd name="T36" fmla="*/ 8 w 15"/>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0">
                    <a:moveTo>
                      <a:pt x="8" y="0"/>
                    </a:moveTo>
                    <a:cubicBezTo>
                      <a:pt x="7" y="0"/>
                      <a:pt x="5" y="2"/>
                      <a:pt x="4" y="2"/>
                    </a:cubicBezTo>
                    <a:cubicBezTo>
                      <a:pt x="3" y="3"/>
                      <a:pt x="3" y="3"/>
                      <a:pt x="3" y="3"/>
                    </a:cubicBezTo>
                    <a:cubicBezTo>
                      <a:pt x="2" y="3"/>
                      <a:pt x="2" y="3"/>
                      <a:pt x="2" y="3"/>
                    </a:cubicBezTo>
                    <a:cubicBezTo>
                      <a:pt x="2" y="3"/>
                      <a:pt x="2" y="3"/>
                      <a:pt x="2" y="3"/>
                    </a:cubicBezTo>
                    <a:cubicBezTo>
                      <a:pt x="1" y="3"/>
                      <a:pt x="1" y="3"/>
                      <a:pt x="0" y="3"/>
                    </a:cubicBezTo>
                    <a:cubicBezTo>
                      <a:pt x="2" y="4"/>
                      <a:pt x="4" y="4"/>
                      <a:pt x="7" y="4"/>
                    </a:cubicBezTo>
                    <a:cubicBezTo>
                      <a:pt x="7" y="4"/>
                      <a:pt x="7" y="4"/>
                      <a:pt x="8" y="4"/>
                    </a:cubicBezTo>
                    <a:cubicBezTo>
                      <a:pt x="7" y="6"/>
                      <a:pt x="6" y="7"/>
                      <a:pt x="5" y="7"/>
                    </a:cubicBezTo>
                    <a:cubicBezTo>
                      <a:pt x="7" y="8"/>
                      <a:pt x="9" y="9"/>
                      <a:pt x="11" y="10"/>
                    </a:cubicBezTo>
                    <a:cubicBezTo>
                      <a:pt x="11" y="10"/>
                      <a:pt x="12" y="10"/>
                      <a:pt x="12" y="10"/>
                    </a:cubicBezTo>
                    <a:cubicBezTo>
                      <a:pt x="15" y="10"/>
                      <a:pt x="11" y="7"/>
                      <a:pt x="12" y="7"/>
                    </a:cubicBezTo>
                    <a:cubicBezTo>
                      <a:pt x="12" y="6"/>
                      <a:pt x="12" y="6"/>
                      <a:pt x="12" y="6"/>
                    </a:cubicBezTo>
                    <a:cubicBezTo>
                      <a:pt x="12" y="6"/>
                      <a:pt x="13" y="7"/>
                      <a:pt x="13" y="8"/>
                    </a:cubicBezTo>
                    <a:cubicBezTo>
                      <a:pt x="14" y="8"/>
                      <a:pt x="14" y="9"/>
                      <a:pt x="14" y="9"/>
                    </a:cubicBezTo>
                    <a:cubicBezTo>
                      <a:pt x="15" y="9"/>
                      <a:pt x="15" y="9"/>
                      <a:pt x="15" y="8"/>
                    </a:cubicBezTo>
                    <a:cubicBezTo>
                      <a:pt x="15" y="6"/>
                      <a:pt x="11" y="4"/>
                      <a:pt x="11" y="3"/>
                    </a:cubicBezTo>
                    <a:cubicBezTo>
                      <a:pt x="10" y="2"/>
                      <a:pt x="11" y="1"/>
                      <a:pt x="10" y="1"/>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7" name="Freeform 195">
                <a:extLst>
                  <a:ext uri="{FF2B5EF4-FFF2-40B4-BE49-F238E27FC236}">
                    <a16:creationId xmlns:a16="http://schemas.microsoft.com/office/drawing/2014/main" id="{3460ED30-2D92-422C-BDED-42B799D98394}"/>
                  </a:ext>
                </a:extLst>
              </p:cNvPr>
              <p:cNvSpPr>
                <a:spLocks/>
              </p:cNvSpPr>
              <p:nvPr/>
            </p:nvSpPr>
            <p:spPr bwMode="auto">
              <a:xfrm>
                <a:off x="3665" y="1385"/>
                <a:ext cx="5" cy="4"/>
              </a:xfrm>
              <a:custGeom>
                <a:avLst/>
                <a:gdLst>
                  <a:gd name="T0" fmla="*/ 0 w 2"/>
                  <a:gd name="T1" fmla="*/ 0 h 2"/>
                  <a:gd name="T2" fmla="*/ 0 w 2"/>
                  <a:gd name="T3" fmla="*/ 1 h 2"/>
                  <a:gd name="T4" fmla="*/ 0 w 2"/>
                  <a:gd name="T5" fmla="*/ 2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1"/>
                      <a:pt x="0" y="1"/>
                      <a:pt x="0" y="1"/>
                    </a:cubicBezTo>
                    <a:cubicBezTo>
                      <a:pt x="0" y="2"/>
                      <a:pt x="0" y="2"/>
                      <a:pt x="0" y="2"/>
                    </a:cubicBezTo>
                    <a:cubicBezTo>
                      <a:pt x="1" y="2"/>
                      <a:pt x="1" y="1"/>
                      <a:pt x="2"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8" name="Freeform 196">
                <a:extLst>
                  <a:ext uri="{FF2B5EF4-FFF2-40B4-BE49-F238E27FC236}">
                    <a16:creationId xmlns:a16="http://schemas.microsoft.com/office/drawing/2014/main" id="{5CFDAB5D-A852-4032-A7C0-E0B2BFCFE9AE}"/>
                  </a:ext>
                </a:extLst>
              </p:cNvPr>
              <p:cNvSpPr>
                <a:spLocks noEditPoints="1"/>
              </p:cNvSpPr>
              <p:nvPr/>
            </p:nvSpPr>
            <p:spPr bwMode="auto">
              <a:xfrm>
                <a:off x="3665" y="1654"/>
                <a:ext cx="33" cy="17"/>
              </a:xfrm>
              <a:custGeom>
                <a:avLst/>
                <a:gdLst>
                  <a:gd name="T0" fmla="*/ 14 w 14"/>
                  <a:gd name="T1" fmla="*/ 0 h 7"/>
                  <a:gd name="T2" fmla="*/ 14 w 14"/>
                  <a:gd name="T3" fmla="*/ 0 h 7"/>
                  <a:gd name="T4" fmla="*/ 14 w 14"/>
                  <a:gd name="T5" fmla="*/ 0 h 7"/>
                  <a:gd name="T6" fmla="*/ 3 w 14"/>
                  <a:gd name="T7" fmla="*/ 0 h 7"/>
                  <a:gd name="T8" fmla="*/ 1 w 14"/>
                  <a:gd name="T9" fmla="*/ 0 h 7"/>
                  <a:gd name="T10" fmla="*/ 0 w 14"/>
                  <a:gd name="T11" fmla="*/ 0 h 7"/>
                  <a:gd name="T12" fmla="*/ 0 w 14"/>
                  <a:gd name="T13" fmla="*/ 7 h 7"/>
                  <a:gd name="T14" fmla="*/ 0 w 14"/>
                  <a:gd name="T15" fmla="*/ 7 h 7"/>
                  <a:gd name="T16" fmla="*/ 12 w 14"/>
                  <a:gd name="T17" fmla="*/ 6 h 7"/>
                  <a:gd name="T18" fmla="*/ 13 w 14"/>
                  <a:gd name="T19" fmla="*/ 3 h 7"/>
                  <a:gd name="T20" fmla="*/ 14 w 14"/>
                  <a:gd name="T21" fmla="*/ 3 h 7"/>
                  <a:gd name="T22" fmla="*/ 13 w 14"/>
                  <a:gd name="T23" fmla="*/ 1 h 7"/>
                  <a:gd name="T24" fmla="*/ 14 w 14"/>
                  <a:gd name="T25" fmla="*/ 0 h 7"/>
                  <a:gd name="T26" fmla="*/ 7 w 14"/>
                  <a:gd name="T27" fmla="*/ 3 h 7"/>
                  <a:gd name="T28" fmla="*/ 4 w 14"/>
                  <a:gd name="T29" fmla="*/ 4 h 7"/>
                  <a:gd name="T30" fmla="*/ 4 w 14"/>
                  <a:gd name="T31" fmla="*/ 0 h 7"/>
                  <a:gd name="T32" fmla="*/ 3 w 14"/>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7">
                    <a:moveTo>
                      <a:pt x="14" y="0"/>
                    </a:moveTo>
                    <a:cubicBezTo>
                      <a:pt x="14" y="0"/>
                      <a:pt x="14" y="0"/>
                      <a:pt x="14" y="0"/>
                    </a:cubicBezTo>
                    <a:cubicBezTo>
                      <a:pt x="14" y="0"/>
                      <a:pt x="14" y="0"/>
                      <a:pt x="14" y="0"/>
                    </a:cubicBezTo>
                    <a:moveTo>
                      <a:pt x="3" y="0"/>
                    </a:moveTo>
                    <a:cubicBezTo>
                      <a:pt x="3" y="0"/>
                      <a:pt x="2" y="0"/>
                      <a:pt x="1" y="0"/>
                    </a:cubicBezTo>
                    <a:cubicBezTo>
                      <a:pt x="1" y="0"/>
                      <a:pt x="0" y="0"/>
                      <a:pt x="0" y="0"/>
                    </a:cubicBezTo>
                    <a:cubicBezTo>
                      <a:pt x="0" y="7"/>
                      <a:pt x="0" y="7"/>
                      <a:pt x="0" y="7"/>
                    </a:cubicBezTo>
                    <a:cubicBezTo>
                      <a:pt x="0" y="7"/>
                      <a:pt x="0" y="7"/>
                      <a:pt x="0" y="7"/>
                    </a:cubicBezTo>
                    <a:cubicBezTo>
                      <a:pt x="4" y="6"/>
                      <a:pt x="8" y="6"/>
                      <a:pt x="12" y="6"/>
                    </a:cubicBezTo>
                    <a:cubicBezTo>
                      <a:pt x="13" y="6"/>
                      <a:pt x="13" y="4"/>
                      <a:pt x="13" y="3"/>
                    </a:cubicBezTo>
                    <a:cubicBezTo>
                      <a:pt x="13" y="3"/>
                      <a:pt x="14" y="3"/>
                      <a:pt x="14" y="3"/>
                    </a:cubicBezTo>
                    <a:cubicBezTo>
                      <a:pt x="14" y="2"/>
                      <a:pt x="13" y="2"/>
                      <a:pt x="13" y="1"/>
                    </a:cubicBezTo>
                    <a:cubicBezTo>
                      <a:pt x="13" y="1"/>
                      <a:pt x="14" y="0"/>
                      <a:pt x="14" y="0"/>
                    </a:cubicBezTo>
                    <a:cubicBezTo>
                      <a:pt x="11" y="2"/>
                      <a:pt x="11" y="2"/>
                      <a:pt x="7" y="3"/>
                    </a:cubicBezTo>
                    <a:cubicBezTo>
                      <a:pt x="6" y="3"/>
                      <a:pt x="5" y="3"/>
                      <a:pt x="4" y="4"/>
                    </a:cubicBezTo>
                    <a:cubicBezTo>
                      <a:pt x="4" y="3"/>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9" name="Freeform 197">
                <a:extLst>
                  <a:ext uri="{FF2B5EF4-FFF2-40B4-BE49-F238E27FC236}">
                    <a16:creationId xmlns:a16="http://schemas.microsoft.com/office/drawing/2014/main" id="{45F36E10-AE49-4D36-9F3C-291F4E48C1DE}"/>
                  </a:ext>
                </a:extLst>
              </p:cNvPr>
              <p:cNvSpPr>
                <a:spLocks/>
              </p:cNvSpPr>
              <p:nvPr/>
            </p:nvSpPr>
            <p:spPr bwMode="auto">
              <a:xfrm>
                <a:off x="3760" y="1595"/>
                <a:ext cx="26" cy="28"/>
              </a:xfrm>
              <a:custGeom>
                <a:avLst/>
                <a:gdLst>
                  <a:gd name="T0" fmla="*/ 10 w 11"/>
                  <a:gd name="T1" fmla="*/ 0 h 12"/>
                  <a:gd name="T2" fmla="*/ 5 w 11"/>
                  <a:gd name="T3" fmla="*/ 2 h 12"/>
                  <a:gd name="T4" fmla="*/ 1 w 11"/>
                  <a:gd name="T5" fmla="*/ 6 h 12"/>
                  <a:gd name="T6" fmla="*/ 1 w 11"/>
                  <a:gd name="T7" fmla="*/ 11 h 12"/>
                  <a:gd name="T8" fmla="*/ 1 w 11"/>
                  <a:gd name="T9" fmla="*/ 11 h 12"/>
                  <a:gd name="T10" fmla="*/ 1 w 11"/>
                  <a:gd name="T11" fmla="*/ 12 h 12"/>
                  <a:gd name="T12" fmla="*/ 5 w 11"/>
                  <a:gd name="T13" fmla="*/ 10 h 12"/>
                  <a:gd name="T14" fmla="*/ 7 w 11"/>
                  <a:gd name="T15" fmla="*/ 8 h 12"/>
                  <a:gd name="T16" fmla="*/ 8 w 11"/>
                  <a:gd name="T17" fmla="*/ 9 h 12"/>
                  <a:gd name="T18" fmla="*/ 9 w 11"/>
                  <a:gd name="T19" fmla="*/ 4 h 12"/>
                  <a:gd name="T20" fmla="*/ 10 w 11"/>
                  <a:gd name="T21" fmla="*/ 1 h 12"/>
                  <a:gd name="T22" fmla="*/ 10 w 11"/>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2">
                    <a:moveTo>
                      <a:pt x="10" y="0"/>
                    </a:moveTo>
                    <a:cubicBezTo>
                      <a:pt x="8" y="0"/>
                      <a:pt x="6" y="2"/>
                      <a:pt x="5" y="2"/>
                    </a:cubicBezTo>
                    <a:cubicBezTo>
                      <a:pt x="4" y="3"/>
                      <a:pt x="2" y="4"/>
                      <a:pt x="1" y="6"/>
                    </a:cubicBezTo>
                    <a:cubicBezTo>
                      <a:pt x="0" y="7"/>
                      <a:pt x="0" y="9"/>
                      <a:pt x="1" y="11"/>
                    </a:cubicBezTo>
                    <a:cubicBezTo>
                      <a:pt x="1" y="11"/>
                      <a:pt x="0" y="11"/>
                      <a:pt x="1" y="11"/>
                    </a:cubicBezTo>
                    <a:cubicBezTo>
                      <a:pt x="1" y="12"/>
                      <a:pt x="1" y="12"/>
                      <a:pt x="1" y="12"/>
                    </a:cubicBezTo>
                    <a:cubicBezTo>
                      <a:pt x="2" y="12"/>
                      <a:pt x="4" y="10"/>
                      <a:pt x="5" y="10"/>
                    </a:cubicBezTo>
                    <a:cubicBezTo>
                      <a:pt x="5" y="9"/>
                      <a:pt x="6" y="8"/>
                      <a:pt x="7" y="8"/>
                    </a:cubicBezTo>
                    <a:cubicBezTo>
                      <a:pt x="7" y="8"/>
                      <a:pt x="7" y="9"/>
                      <a:pt x="8" y="9"/>
                    </a:cubicBezTo>
                    <a:cubicBezTo>
                      <a:pt x="8" y="6"/>
                      <a:pt x="8" y="6"/>
                      <a:pt x="9" y="4"/>
                    </a:cubicBezTo>
                    <a:cubicBezTo>
                      <a:pt x="10" y="3"/>
                      <a:pt x="11" y="2"/>
                      <a:pt x="10" y="1"/>
                    </a:cubicBezTo>
                    <a:cubicBezTo>
                      <a:pt x="10"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0" name="Freeform 198">
                <a:extLst>
                  <a:ext uri="{FF2B5EF4-FFF2-40B4-BE49-F238E27FC236}">
                    <a16:creationId xmlns:a16="http://schemas.microsoft.com/office/drawing/2014/main" id="{060B6FB6-5ACB-4A8C-B2E1-DA5D90D60E87}"/>
                  </a:ext>
                </a:extLst>
              </p:cNvPr>
              <p:cNvSpPr>
                <a:spLocks/>
              </p:cNvSpPr>
              <p:nvPr/>
            </p:nvSpPr>
            <p:spPr bwMode="auto">
              <a:xfrm>
                <a:off x="3712" y="1524"/>
                <a:ext cx="22" cy="10"/>
              </a:xfrm>
              <a:custGeom>
                <a:avLst/>
                <a:gdLst>
                  <a:gd name="T0" fmla="*/ 3 w 9"/>
                  <a:gd name="T1" fmla="*/ 0 h 4"/>
                  <a:gd name="T2" fmla="*/ 0 w 9"/>
                  <a:gd name="T3" fmla="*/ 1 h 4"/>
                  <a:gd name="T4" fmla="*/ 4 w 9"/>
                  <a:gd name="T5" fmla="*/ 4 h 4"/>
                  <a:gd name="T6" fmla="*/ 8 w 9"/>
                  <a:gd name="T7" fmla="*/ 1 h 4"/>
                  <a:gd name="T8" fmla="*/ 3 w 9"/>
                  <a:gd name="T9" fmla="*/ 0 h 4"/>
                </a:gdLst>
                <a:ahLst/>
                <a:cxnLst>
                  <a:cxn ang="0">
                    <a:pos x="T0" y="T1"/>
                  </a:cxn>
                  <a:cxn ang="0">
                    <a:pos x="T2" y="T3"/>
                  </a:cxn>
                  <a:cxn ang="0">
                    <a:pos x="T4" y="T5"/>
                  </a:cxn>
                  <a:cxn ang="0">
                    <a:pos x="T6" y="T7"/>
                  </a:cxn>
                  <a:cxn ang="0">
                    <a:pos x="T8" y="T9"/>
                  </a:cxn>
                </a:cxnLst>
                <a:rect l="0" t="0" r="r" b="b"/>
                <a:pathLst>
                  <a:path w="9" h="4">
                    <a:moveTo>
                      <a:pt x="3" y="0"/>
                    </a:moveTo>
                    <a:cubicBezTo>
                      <a:pt x="2" y="0"/>
                      <a:pt x="1" y="1"/>
                      <a:pt x="0" y="1"/>
                    </a:cubicBezTo>
                    <a:cubicBezTo>
                      <a:pt x="1" y="2"/>
                      <a:pt x="2" y="3"/>
                      <a:pt x="4" y="4"/>
                    </a:cubicBezTo>
                    <a:cubicBezTo>
                      <a:pt x="5" y="3"/>
                      <a:pt x="9" y="3"/>
                      <a:pt x="8" y="1"/>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1" name="Freeform 199">
                <a:extLst>
                  <a:ext uri="{FF2B5EF4-FFF2-40B4-BE49-F238E27FC236}">
                    <a16:creationId xmlns:a16="http://schemas.microsoft.com/office/drawing/2014/main" id="{EC40EE86-97C7-440B-B0F3-B67798900BF1}"/>
                  </a:ext>
                </a:extLst>
              </p:cNvPr>
              <p:cNvSpPr>
                <a:spLocks/>
              </p:cNvSpPr>
              <p:nvPr/>
            </p:nvSpPr>
            <p:spPr bwMode="auto">
              <a:xfrm>
                <a:off x="3731" y="1628"/>
                <a:ext cx="10" cy="21"/>
              </a:xfrm>
              <a:custGeom>
                <a:avLst/>
                <a:gdLst>
                  <a:gd name="T0" fmla="*/ 3 w 4"/>
                  <a:gd name="T1" fmla="*/ 0 h 9"/>
                  <a:gd name="T2" fmla="*/ 2 w 4"/>
                  <a:gd name="T3" fmla="*/ 9 h 9"/>
                  <a:gd name="T4" fmla="*/ 3 w 4"/>
                  <a:gd name="T5" fmla="*/ 6 h 9"/>
                  <a:gd name="T6" fmla="*/ 2 w 4"/>
                  <a:gd name="T7" fmla="*/ 4 h 9"/>
                  <a:gd name="T8" fmla="*/ 3 w 4"/>
                  <a:gd name="T9" fmla="*/ 0 h 9"/>
                </a:gdLst>
                <a:ahLst/>
                <a:cxnLst>
                  <a:cxn ang="0">
                    <a:pos x="T0" y="T1"/>
                  </a:cxn>
                  <a:cxn ang="0">
                    <a:pos x="T2" y="T3"/>
                  </a:cxn>
                  <a:cxn ang="0">
                    <a:pos x="T4" y="T5"/>
                  </a:cxn>
                  <a:cxn ang="0">
                    <a:pos x="T6" y="T7"/>
                  </a:cxn>
                  <a:cxn ang="0">
                    <a:pos x="T8" y="T9"/>
                  </a:cxn>
                </a:cxnLst>
                <a:rect l="0" t="0" r="r" b="b"/>
                <a:pathLst>
                  <a:path w="4" h="9">
                    <a:moveTo>
                      <a:pt x="3" y="0"/>
                    </a:moveTo>
                    <a:cubicBezTo>
                      <a:pt x="1" y="4"/>
                      <a:pt x="0" y="4"/>
                      <a:pt x="2" y="9"/>
                    </a:cubicBezTo>
                    <a:cubicBezTo>
                      <a:pt x="3" y="6"/>
                      <a:pt x="4" y="8"/>
                      <a:pt x="3" y="6"/>
                    </a:cubicBezTo>
                    <a:cubicBezTo>
                      <a:pt x="3" y="5"/>
                      <a:pt x="2" y="5"/>
                      <a:pt x="2" y="4"/>
                    </a:cubicBezTo>
                    <a:cubicBezTo>
                      <a:pt x="2"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2" name="Freeform 200">
                <a:extLst>
                  <a:ext uri="{FF2B5EF4-FFF2-40B4-BE49-F238E27FC236}">
                    <a16:creationId xmlns:a16="http://schemas.microsoft.com/office/drawing/2014/main" id="{F33A3FF2-57C0-4927-970C-69A63709EB6D}"/>
                  </a:ext>
                </a:extLst>
              </p:cNvPr>
              <p:cNvSpPr>
                <a:spLocks/>
              </p:cNvSpPr>
              <p:nvPr/>
            </p:nvSpPr>
            <p:spPr bwMode="auto">
              <a:xfrm>
                <a:off x="3724" y="1562"/>
                <a:ext cx="10" cy="9"/>
              </a:xfrm>
              <a:custGeom>
                <a:avLst/>
                <a:gdLst>
                  <a:gd name="T0" fmla="*/ 0 w 4"/>
                  <a:gd name="T1" fmla="*/ 0 h 4"/>
                  <a:gd name="T2" fmla="*/ 2 w 4"/>
                  <a:gd name="T3" fmla="*/ 4 h 4"/>
                  <a:gd name="T4" fmla="*/ 0 w 4"/>
                  <a:gd name="T5" fmla="*/ 0 h 4"/>
                </a:gdLst>
                <a:ahLst/>
                <a:cxnLst>
                  <a:cxn ang="0">
                    <a:pos x="T0" y="T1"/>
                  </a:cxn>
                  <a:cxn ang="0">
                    <a:pos x="T2" y="T3"/>
                  </a:cxn>
                  <a:cxn ang="0">
                    <a:pos x="T4" y="T5"/>
                  </a:cxn>
                </a:cxnLst>
                <a:rect l="0" t="0" r="r" b="b"/>
                <a:pathLst>
                  <a:path w="4" h="4">
                    <a:moveTo>
                      <a:pt x="0" y="0"/>
                    </a:moveTo>
                    <a:cubicBezTo>
                      <a:pt x="1" y="2"/>
                      <a:pt x="1" y="3"/>
                      <a:pt x="2" y="4"/>
                    </a:cubicBezTo>
                    <a:cubicBezTo>
                      <a:pt x="4"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3" name="Freeform 201">
                <a:extLst>
                  <a:ext uri="{FF2B5EF4-FFF2-40B4-BE49-F238E27FC236}">
                    <a16:creationId xmlns:a16="http://schemas.microsoft.com/office/drawing/2014/main" id="{1FE85C7C-3E0C-443F-A2EA-8DD553944CFF}"/>
                  </a:ext>
                </a:extLst>
              </p:cNvPr>
              <p:cNvSpPr>
                <a:spLocks/>
              </p:cNvSpPr>
              <p:nvPr/>
            </p:nvSpPr>
            <p:spPr bwMode="auto">
              <a:xfrm>
                <a:off x="3729" y="1574"/>
                <a:ext cx="16" cy="7"/>
              </a:xfrm>
              <a:custGeom>
                <a:avLst/>
                <a:gdLst>
                  <a:gd name="T0" fmla="*/ 4 w 7"/>
                  <a:gd name="T1" fmla="*/ 0 h 3"/>
                  <a:gd name="T2" fmla="*/ 0 w 7"/>
                  <a:gd name="T3" fmla="*/ 3 h 3"/>
                  <a:gd name="T4" fmla="*/ 7 w 7"/>
                  <a:gd name="T5" fmla="*/ 0 h 3"/>
                  <a:gd name="T6" fmla="*/ 4 w 7"/>
                  <a:gd name="T7" fmla="*/ 0 h 3"/>
                </a:gdLst>
                <a:ahLst/>
                <a:cxnLst>
                  <a:cxn ang="0">
                    <a:pos x="T0" y="T1"/>
                  </a:cxn>
                  <a:cxn ang="0">
                    <a:pos x="T2" y="T3"/>
                  </a:cxn>
                  <a:cxn ang="0">
                    <a:pos x="T4" y="T5"/>
                  </a:cxn>
                  <a:cxn ang="0">
                    <a:pos x="T6" y="T7"/>
                  </a:cxn>
                </a:cxnLst>
                <a:rect l="0" t="0" r="r" b="b"/>
                <a:pathLst>
                  <a:path w="7" h="3">
                    <a:moveTo>
                      <a:pt x="4" y="0"/>
                    </a:moveTo>
                    <a:cubicBezTo>
                      <a:pt x="2" y="0"/>
                      <a:pt x="1" y="1"/>
                      <a:pt x="0" y="3"/>
                    </a:cubicBezTo>
                    <a:cubicBezTo>
                      <a:pt x="1" y="1"/>
                      <a:pt x="5" y="2"/>
                      <a:pt x="7"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4" name="Freeform 202">
                <a:extLst>
                  <a:ext uri="{FF2B5EF4-FFF2-40B4-BE49-F238E27FC236}">
                    <a16:creationId xmlns:a16="http://schemas.microsoft.com/office/drawing/2014/main" id="{235E777D-F887-43AB-8D72-76CDCEB88DAF}"/>
                  </a:ext>
                </a:extLst>
              </p:cNvPr>
              <p:cNvSpPr>
                <a:spLocks/>
              </p:cNvSpPr>
              <p:nvPr/>
            </p:nvSpPr>
            <p:spPr bwMode="auto">
              <a:xfrm>
                <a:off x="3767" y="1586"/>
                <a:ext cx="0" cy="7"/>
              </a:xfrm>
              <a:custGeom>
                <a:avLst/>
                <a:gdLst>
                  <a:gd name="T0" fmla="*/ 0 h 3"/>
                  <a:gd name="T1" fmla="*/ 3 h 3"/>
                  <a:gd name="T2" fmla="*/ 0 h 3"/>
                </a:gdLst>
                <a:ahLst/>
                <a:cxnLst>
                  <a:cxn ang="0">
                    <a:pos x="0" y="T0"/>
                  </a:cxn>
                  <a:cxn ang="0">
                    <a:pos x="0" y="T1"/>
                  </a:cxn>
                  <a:cxn ang="0">
                    <a:pos x="0" y="T2"/>
                  </a:cxn>
                </a:cxnLst>
                <a:rect l="0" t="0" r="r" b="b"/>
                <a:pathLst>
                  <a:path h="3">
                    <a:moveTo>
                      <a:pt x="0" y="0"/>
                    </a:moveTo>
                    <a:cubicBezTo>
                      <a:pt x="0" y="1"/>
                      <a:pt x="0" y="2"/>
                      <a:pt x="0"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5" name="Freeform 203">
                <a:extLst>
                  <a:ext uri="{FF2B5EF4-FFF2-40B4-BE49-F238E27FC236}">
                    <a16:creationId xmlns:a16="http://schemas.microsoft.com/office/drawing/2014/main" id="{23E7D0DF-4861-4040-8F55-B6FA736BFE60}"/>
                  </a:ext>
                </a:extLst>
              </p:cNvPr>
              <p:cNvSpPr>
                <a:spLocks/>
              </p:cNvSpPr>
              <p:nvPr/>
            </p:nvSpPr>
            <p:spPr bwMode="auto">
              <a:xfrm>
                <a:off x="3677" y="1484"/>
                <a:ext cx="16" cy="23"/>
              </a:xfrm>
              <a:custGeom>
                <a:avLst/>
                <a:gdLst>
                  <a:gd name="T0" fmla="*/ 2 w 7"/>
                  <a:gd name="T1" fmla="*/ 0 h 10"/>
                  <a:gd name="T2" fmla="*/ 0 w 7"/>
                  <a:gd name="T3" fmla="*/ 1 h 10"/>
                  <a:gd name="T4" fmla="*/ 3 w 7"/>
                  <a:gd name="T5" fmla="*/ 10 h 10"/>
                  <a:gd name="T6" fmla="*/ 5 w 7"/>
                  <a:gd name="T7" fmla="*/ 2 h 10"/>
                  <a:gd name="T8" fmla="*/ 4 w 7"/>
                  <a:gd name="T9" fmla="*/ 0 h 10"/>
                  <a:gd name="T10" fmla="*/ 2 w 7"/>
                  <a:gd name="T11" fmla="*/ 0 h 10"/>
                </a:gdLst>
                <a:ahLst/>
                <a:cxnLst>
                  <a:cxn ang="0">
                    <a:pos x="T0" y="T1"/>
                  </a:cxn>
                  <a:cxn ang="0">
                    <a:pos x="T2" y="T3"/>
                  </a:cxn>
                  <a:cxn ang="0">
                    <a:pos x="T4" y="T5"/>
                  </a:cxn>
                  <a:cxn ang="0">
                    <a:pos x="T6" y="T7"/>
                  </a:cxn>
                  <a:cxn ang="0">
                    <a:pos x="T8" y="T9"/>
                  </a:cxn>
                  <a:cxn ang="0">
                    <a:pos x="T10" y="T11"/>
                  </a:cxn>
                </a:cxnLst>
                <a:rect l="0" t="0" r="r" b="b"/>
                <a:pathLst>
                  <a:path w="7" h="10">
                    <a:moveTo>
                      <a:pt x="2" y="0"/>
                    </a:moveTo>
                    <a:cubicBezTo>
                      <a:pt x="1" y="0"/>
                      <a:pt x="0" y="0"/>
                      <a:pt x="0" y="1"/>
                    </a:cubicBezTo>
                    <a:cubicBezTo>
                      <a:pt x="0" y="6"/>
                      <a:pt x="0" y="7"/>
                      <a:pt x="3" y="10"/>
                    </a:cubicBezTo>
                    <a:cubicBezTo>
                      <a:pt x="5" y="8"/>
                      <a:pt x="7" y="5"/>
                      <a:pt x="5" y="2"/>
                    </a:cubicBezTo>
                    <a:cubicBezTo>
                      <a:pt x="7" y="1"/>
                      <a:pt x="5" y="0"/>
                      <a:pt x="4" y="0"/>
                    </a:cubicBezTo>
                    <a:cubicBezTo>
                      <a:pt x="3"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6" name="Freeform 204">
                <a:extLst>
                  <a:ext uri="{FF2B5EF4-FFF2-40B4-BE49-F238E27FC236}">
                    <a16:creationId xmlns:a16="http://schemas.microsoft.com/office/drawing/2014/main" id="{0430FEC3-5774-4C72-B35A-F4B1BE7AD3A2}"/>
                  </a:ext>
                </a:extLst>
              </p:cNvPr>
              <p:cNvSpPr>
                <a:spLocks/>
              </p:cNvSpPr>
              <p:nvPr/>
            </p:nvSpPr>
            <p:spPr bwMode="auto">
              <a:xfrm>
                <a:off x="9025" y="2699"/>
                <a:ext cx="14" cy="14"/>
              </a:xfrm>
              <a:custGeom>
                <a:avLst/>
                <a:gdLst>
                  <a:gd name="T0" fmla="*/ 6 w 6"/>
                  <a:gd name="T1" fmla="*/ 0 h 6"/>
                  <a:gd name="T2" fmla="*/ 4 w 6"/>
                  <a:gd name="T3" fmla="*/ 0 h 6"/>
                  <a:gd name="T4" fmla="*/ 0 w 6"/>
                  <a:gd name="T5" fmla="*/ 2 h 6"/>
                  <a:gd name="T6" fmla="*/ 0 w 6"/>
                  <a:gd name="T7" fmla="*/ 2 h 6"/>
                  <a:gd name="T8" fmla="*/ 1 w 6"/>
                  <a:gd name="T9" fmla="*/ 6 h 6"/>
                  <a:gd name="T10" fmla="*/ 1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cubicBezTo>
                      <a:pt x="5" y="0"/>
                      <a:pt x="4" y="0"/>
                      <a:pt x="4" y="0"/>
                    </a:cubicBezTo>
                    <a:cubicBezTo>
                      <a:pt x="2" y="1"/>
                      <a:pt x="1" y="2"/>
                      <a:pt x="0" y="2"/>
                    </a:cubicBezTo>
                    <a:cubicBezTo>
                      <a:pt x="0" y="2"/>
                      <a:pt x="0" y="2"/>
                      <a:pt x="0" y="2"/>
                    </a:cubicBezTo>
                    <a:cubicBezTo>
                      <a:pt x="0" y="3"/>
                      <a:pt x="0" y="5"/>
                      <a:pt x="1" y="6"/>
                    </a:cubicBezTo>
                    <a:cubicBezTo>
                      <a:pt x="1" y="6"/>
                      <a:pt x="1" y="6"/>
                      <a:pt x="1" y="6"/>
                    </a:cubicBezTo>
                    <a:cubicBezTo>
                      <a:pt x="3" y="6"/>
                      <a:pt x="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6" name="Group 406">
              <a:extLst>
                <a:ext uri="{FF2B5EF4-FFF2-40B4-BE49-F238E27FC236}">
                  <a16:creationId xmlns:a16="http://schemas.microsoft.com/office/drawing/2014/main" id="{3A284015-A058-4B9A-8E16-E6053C027EB1}"/>
                </a:ext>
              </a:extLst>
            </p:cNvPr>
            <p:cNvGrpSpPr>
              <a:grpSpLocks/>
            </p:cNvGrpSpPr>
            <p:nvPr/>
          </p:nvGrpSpPr>
          <p:grpSpPr bwMode="auto">
            <a:xfrm>
              <a:off x="1" y="2713"/>
              <a:ext cx="9718937" cy="6857999"/>
              <a:chOff x="3665" y="-1611"/>
              <a:chExt cx="7066" cy="4986"/>
            </a:xfrm>
            <a:grpFill/>
          </p:grpSpPr>
          <p:sp>
            <p:nvSpPr>
              <p:cNvPr id="77" name="Freeform 206">
                <a:extLst>
                  <a:ext uri="{FF2B5EF4-FFF2-40B4-BE49-F238E27FC236}">
                    <a16:creationId xmlns:a16="http://schemas.microsoft.com/office/drawing/2014/main" id="{513E24D3-EE13-4AB7-B26C-1CF92BE3F2DF}"/>
                  </a:ext>
                </a:extLst>
              </p:cNvPr>
              <p:cNvSpPr>
                <a:spLocks/>
              </p:cNvSpPr>
              <p:nvPr/>
            </p:nvSpPr>
            <p:spPr bwMode="auto">
              <a:xfrm>
                <a:off x="8729" y="2884"/>
                <a:ext cx="5" cy="4"/>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1"/>
                      <a:pt x="0" y="2"/>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8" name="Freeform 207">
                <a:extLst>
                  <a:ext uri="{FF2B5EF4-FFF2-40B4-BE49-F238E27FC236}">
                    <a16:creationId xmlns:a16="http://schemas.microsoft.com/office/drawing/2014/main" id="{A4F51D78-3F4B-4AC5-8D03-F7F419A3EA40}"/>
                  </a:ext>
                </a:extLst>
              </p:cNvPr>
              <p:cNvSpPr>
                <a:spLocks/>
              </p:cNvSpPr>
              <p:nvPr/>
            </p:nvSpPr>
            <p:spPr bwMode="auto">
              <a:xfrm>
                <a:off x="9849" y="3070"/>
                <a:ext cx="5" cy="5"/>
              </a:xfrm>
              <a:custGeom>
                <a:avLst/>
                <a:gdLst>
                  <a:gd name="T0" fmla="*/ 2 w 2"/>
                  <a:gd name="T1" fmla="*/ 0 h 2"/>
                  <a:gd name="T2" fmla="*/ 0 w 2"/>
                  <a:gd name="T3" fmla="*/ 1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1"/>
                      <a:pt x="0" y="1"/>
                    </a:cubicBezTo>
                    <a:cubicBezTo>
                      <a:pt x="0" y="2"/>
                      <a:pt x="1" y="2"/>
                      <a:pt x="1"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9" name="Freeform 208">
                <a:extLst>
                  <a:ext uri="{FF2B5EF4-FFF2-40B4-BE49-F238E27FC236}">
                    <a16:creationId xmlns:a16="http://schemas.microsoft.com/office/drawing/2014/main" id="{C4523E50-B2D7-4E63-BC47-7C72049D0850}"/>
                  </a:ext>
                </a:extLst>
              </p:cNvPr>
              <p:cNvSpPr>
                <a:spLocks/>
              </p:cNvSpPr>
              <p:nvPr/>
            </p:nvSpPr>
            <p:spPr bwMode="auto">
              <a:xfrm>
                <a:off x="9637" y="2999"/>
                <a:ext cx="7" cy="7"/>
              </a:xfrm>
              <a:custGeom>
                <a:avLst/>
                <a:gdLst>
                  <a:gd name="T0" fmla="*/ 0 w 3"/>
                  <a:gd name="T1" fmla="*/ 0 h 3"/>
                  <a:gd name="T2" fmla="*/ 0 w 3"/>
                  <a:gd name="T3" fmla="*/ 3 h 3"/>
                  <a:gd name="T4" fmla="*/ 2 w 3"/>
                  <a:gd name="T5" fmla="*/ 2 h 3"/>
                  <a:gd name="T6" fmla="*/ 0 w 3"/>
                  <a:gd name="T7" fmla="*/ 0 h 3"/>
                </a:gdLst>
                <a:ahLst/>
                <a:cxnLst>
                  <a:cxn ang="0">
                    <a:pos x="T0" y="T1"/>
                  </a:cxn>
                  <a:cxn ang="0">
                    <a:pos x="T2" y="T3"/>
                  </a:cxn>
                  <a:cxn ang="0">
                    <a:pos x="T4" y="T5"/>
                  </a:cxn>
                  <a:cxn ang="0">
                    <a:pos x="T6" y="T7"/>
                  </a:cxn>
                </a:cxnLst>
                <a:rect l="0" t="0" r="r" b="b"/>
                <a:pathLst>
                  <a:path w="3" h="3">
                    <a:moveTo>
                      <a:pt x="0" y="0"/>
                    </a:moveTo>
                    <a:cubicBezTo>
                      <a:pt x="0" y="1"/>
                      <a:pt x="0" y="2"/>
                      <a:pt x="0" y="3"/>
                    </a:cubicBezTo>
                    <a:cubicBezTo>
                      <a:pt x="1" y="3"/>
                      <a:pt x="2" y="3"/>
                      <a:pt x="2" y="2"/>
                    </a:cubicBezTo>
                    <a:cubicBezTo>
                      <a:pt x="3"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0" name="Freeform 209">
                <a:extLst>
                  <a:ext uri="{FF2B5EF4-FFF2-40B4-BE49-F238E27FC236}">
                    <a16:creationId xmlns:a16="http://schemas.microsoft.com/office/drawing/2014/main" id="{1CF492F4-D902-4AB2-BC04-5C240A0BE4EC}"/>
                  </a:ext>
                </a:extLst>
              </p:cNvPr>
              <p:cNvSpPr>
                <a:spLocks/>
              </p:cNvSpPr>
              <p:nvPr/>
            </p:nvSpPr>
            <p:spPr bwMode="auto">
              <a:xfrm>
                <a:off x="9069" y="2628"/>
                <a:ext cx="3" cy="10"/>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2"/>
                      <a:pt x="0" y="4"/>
                    </a:cubicBezTo>
                    <a:cubicBezTo>
                      <a:pt x="0"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1" name="Freeform 210">
                <a:extLst>
                  <a:ext uri="{FF2B5EF4-FFF2-40B4-BE49-F238E27FC236}">
                    <a16:creationId xmlns:a16="http://schemas.microsoft.com/office/drawing/2014/main" id="{C54F7F85-93F7-40A2-A84D-BDA5B641C093}"/>
                  </a:ext>
                </a:extLst>
              </p:cNvPr>
              <p:cNvSpPr>
                <a:spLocks/>
              </p:cNvSpPr>
              <p:nvPr/>
            </p:nvSpPr>
            <p:spPr bwMode="auto">
              <a:xfrm>
                <a:off x="9074" y="2621"/>
                <a:ext cx="5" cy="7"/>
              </a:xfrm>
              <a:custGeom>
                <a:avLst/>
                <a:gdLst>
                  <a:gd name="T0" fmla="*/ 2 w 2"/>
                  <a:gd name="T1" fmla="*/ 0 h 3"/>
                  <a:gd name="T2" fmla="*/ 2 w 2"/>
                  <a:gd name="T3" fmla="*/ 0 h 3"/>
                  <a:gd name="T4" fmla="*/ 0 w 2"/>
                  <a:gd name="T5" fmla="*/ 3 h 3"/>
                  <a:gd name="T6" fmla="*/ 2 w 2"/>
                  <a:gd name="T7" fmla="*/ 0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2" y="0"/>
                      <a:pt x="2" y="0"/>
                      <a:pt x="2" y="0"/>
                    </a:cubicBezTo>
                    <a:cubicBezTo>
                      <a:pt x="1" y="1"/>
                      <a:pt x="1" y="2"/>
                      <a:pt x="0" y="3"/>
                    </a:cubicBezTo>
                    <a:cubicBezTo>
                      <a:pt x="1" y="2"/>
                      <a:pt x="1"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2" name="Freeform 211">
                <a:extLst>
                  <a:ext uri="{FF2B5EF4-FFF2-40B4-BE49-F238E27FC236}">
                    <a16:creationId xmlns:a16="http://schemas.microsoft.com/office/drawing/2014/main" id="{F0AFD52C-32AD-471F-9F8D-6F75814D790C}"/>
                  </a:ext>
                </a:extLst>
              </p:cNvPr>
              <p:cNvSpPr>
                <a:spLocks/>
              </p:cNvSpPr>
              <p:nvPr/>
            </p:nvSpPr>
            <p:spPr bwMode="auto">
              <a:xfrm>
                <a:off x="9074" y="2486"/>
                <a:ext cx="5" cy="5"/>
              </a:xfrm>
              <a:custGeom>
                <a:avLst/>
                <a:gdLst>
                  <a:gd name="T0" fmla="*/ 2 w 2"/>
                  <a:gd name="T1" fmla="*/ 0 h 2"/>
                  <a:gd name="T2" fmla="*/ 0 w 2"/>
                  <a:gd name="T3" fmla="*/ 2 h 2"/>
                  <a:gd name="T4" fmla="*/ 0 w 2"/>
                  <a:gd name="T5" fmla="*/ 2 h 2"/>
                  <a:gd name="T6" fmla="*/ 1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1"/>
                      <a:pt x="1" y="1"/>
                      <a:pt x="0" y="2"/>
                    </a:cubicBezTo>
                    <a:cubicBezTo>
                      <a:pt x="0" y="2"/>
                      <a:pt x="0" y="2"/>
                      <a:pt x="0" y="2"/>
                    </a:cubicBezTo>
                    <a:cubicBezTo>
                      <a:pt x="1" y="2"/>
                      <a:pt x="1" y="2"/>
                      <a:pt x="1"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3" name="Freeform 212">
                <a:extLst>
                  <a:ext uri="{FF2B5EF4-FFF2-40B4-BE49-F238E27FC236}">
                    <a16:creationId xmlns:a16="http://schemas.microsoft.com/office/drawing/2014/main" id="{BF5614B5-D48C-4E5E-AC7D-4D373F5A06DB}"/>
                  </a:ext>
                </a:extLst>
              </p:cNvPr>
              <p:cNvSpPr>
                <a:spLocks/>
              </p:cNvSpPr>
              <p:nvPr/>
            </p:nvSpPr>
            <p:spPr bwMode="auto">
              <a:xfrm>
                <a:off x="7148" y="2798"/>
                <a:ext cx="5" cy="7"/>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4" name="Freeform 213">
                <a:extLst>
                  <a:ext uri="{FF2B5EF4-FFF2-40B4-BE49-F238E27FC236}">
                    <a16:creationId xmlns:a16="http://schemas.microsoft.com/office/drawing/2014/main" id="{FF0A4C4D-E208-45E2-A18B-C296F7A8C324}"/>
                  </a:ext>
                </a:extLst>
              </p:cNvPr>
              <p:cNvSpPr>
                <a:spLocks/>
              </p:cNvSpPr>
              <p:nvPr/>
            </p:nvSpPr>
            <p:spPr bwMode="auto">
              <a:xfrm>
                <a:off x="6933" y="2853"/>
                <a:ext cx="3" cy="7"/>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5" name="Freeform 214">
                <a:extLst>
                  <a:ext uri="{FF2B5EF4-FFF2-40B4-BE49-F238E27FC236}">
                    <a16:creationId xmlns:a16="http://schemas.microsoft.com/office/drawing/2014/main" id="{FC8CB07E-C238-4770-B147-1F5E6D51B06C}"/>
                  </a:ext>
                </a:extLst>
              </p:cNvPr>
              <p:cNvSpPr>
                <a:spLocks/>
              </p:cNvSpPr>
              <p:nvPr/>
            </p:nvSpPr>
            <p:spPr bwMode="auto">
              <a:xfrm>
                <a:off x="6936" y="2860"/>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1"/>
                      <a:pt x="0"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6" name="Freeform 215">
                <a:extLst>
                  <a:ext uri="{FF2B5EF4-FFF2-40B4-BE49-F238E27FC236}">
                    <a16:creationId xmlns:a16="http://schemas.microsoft.com/office/drawing/2014/main" id="{57331AA8-6BC0-40C8-B59F-50957E1E4933}"/>
                  </a:ext>
                </a:extLst>
              </p:cNvPr>
              <p:cNvSpPr>
                <a:spLocks/>
              </p:cNvSpPr>
              <p:nvPr/>
            </p:nvSpPr>
            <p:spPr bwMode="auto">
              <a:xfrm>
                <a:off x="6900" y="2562"/>
                <a:ext cx="5" cy="14"/>
              </a:xfrm>
              <a:custGeom>
                <a:avLst/>
                <a:gdLst>
                  <a:gd name="T0" fmla="*/ 2 w 2"/>
                  <a:gd name="T1" fmla="*/ 0 h 6"/>
                  <a:gd name="T2" fmla="*/ 2 w 2"/>
                  <a:gd name="T3" fmla="*/ 6 h 6"/>
                  <a:gd name="T4" fmla="*/ 2 w 2"/>
                  <a:gd name="T5" fmla="*/ 0 h 6"/>
                </a:gdLst>
                <a:ahLst/>
                <a:cxnLst>
                  <a:cxn ang="0">
                    <a:pos x="T0" y="T1"/>
                  </a:cxn>
                  <a:cxn ang="0">
                    <a:pos x="T2" y="T3"/>
                  </a:cxn>
                  <a:cxn ang="0">
                    <a:pos x="T4" y="T5"/>
                  </a:cxn>
                </a:cxnLst>
                <a:rect l="0" t="0" r="r" b="b"/>
                <a:pathLst>
                  <a:path w="2" h="6">
                    <a:moveTo>
                      <a:pt x="2" y="0"/>
                    </a:moveTo>
                    <a:cubicBezTo>
                      <a:pt x="0" y="2"/>
                      <a:pt x="0"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7" name="Freeform 216">
                <a:extLst>
                  <a:ext uri="{FF2B5EF4-FFF2-40B4-BE49-F238E27FC236}">
                    <a16:creationId xmlns:a16="http://schemas.microsoft.com/office/drawing/2014/main" id="{B08B3789-2811-4BA2-9670-3C1221510A45}"/>
                  </a:ext>
                </a:extLst>
              </p:cNvPr>
              <p:cNvSpPr>
                <a:spLocks/>
              </p:cNvSpPr>
              <p:nvPr/>
            </p:nvSpPr>
            <p:spPr bwMode="auto">
              <a:xfrm>
                <a:off x="6926" y="2779"/>
                <a:ext cx="2" cy="8"/>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0" y="1"/>
                      <a:pt x="1" y="2"/>
                      <a:pt x="1" y="3"/>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8" name="Freeform 217">
                <a:extLst>
                  <a:ext uri="{FF2B5EF4-FFF2-40B4-BE49-F238E27FC236}">
                    <a16:creationId xmlns:a16="http://schemas.microsoft.com/office/drawing/2014/main" id="{49C22A2D-F43F-4ED5-922C-12B22D27188D}"/>
                  </a:ext>
                </a:extLst>
              </p:cNvPr>
              <p:cNvSpPr>
                <a:spLocks/>
              </p:cNvSpPr>
              <p:nvPr/>
            </p:nvSpPr>
            <p:spPr bwMode="auto">
              <a:xfrm>
                <a:off x="6938" y="2716"/>
                <a:ext cx="2" cy="9"/>
              </a:xfrm>
              <a:custGeom>
                <a:avLst/>
                <a:gdLst>
                  <a:gd name="T0" fmla="*/ 0 w 1"/>
                  <a:gd name="T1" fmla="*/ 0 h 4"/>
                  <a:gd name="T2" fmla="*/ 0 w 1"/>
                  <a:gd name="T3" fmla="*/ 3 h 4"/>
                  <a:gd name="T4" fmla="*/ 0 w 1"/>
                  <a:gd name="T5" fmla="*/ 4 h 4"/>
                  <a:gd name="T6" fmla="*/ 1 w 1"/>
                  <a:gd name="T7" fmla="*/ 3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1"/>
                      <a:pt x="0" y="2"/>
                      <a:pt x="0" y="3"/>
                    </a:cubicBezTo>
                    <a:cubicBezTo>
                      <a:pt x="0" y="4"/>
                      <a:pt x="0" y="4"/>
                      <a:pt x="0" y="4"/>
                    </a:cubicBezTo>
                    <a:cubicBezTo>
                      <a:pt x="1" y="4"/>
                      <a:pt x="1"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9" name="Freeform 218">
                <a:extLst>
                  <a:ext uri="{FF2B5EF4-FFF2-40B4-BE49-F238E27FC236}">
                    <a16:creationId xmlns:a16="http://schemas.microsoft.com/office/drawing/2014/main" id="{3E653FCA-A801-42F2-89B7-F586064831A8}"/>
                  </a:ext>
                </a:extLst>
              </p:cNvPr>
              <p:cNvSpPr>
                <a:spLocks/>
              </p:cNvSpPr>
              <p:nvPr/>
            </p:nvSpPr>
            <p:spPr bwMode="auto">
              <a:xfrm>
                <a:off x="6938" y="2739"/>
                <a:ext cx="12" cy="14"/>
              </a:xfrm>
              <a:custGeom>
                <a:avLst/>
                <a:gdLst>
                  <a:gd name="T0" fmla="*/ 1 w 5"/>
                  <a:gd name="T1" fmla="*/ 0 h 6"/>
                  <a:gd name="T2" fmla="*/ 1 w 5"/>
                  <a:gd name="T3" fmla="*/ 0 h 6"/>
                  <a:gd name="T4" fmla="*/ 1 w 5"/>
                  <a:gd name="T5" fmla="*/ 6 h 6"/>
                  <a:gd name="T6" fmla="*/ 1 w 5"/>
                  <a:gd name="T7" fmla="*/ 0 h 6"/>
                  <a:gd name="T8" fmla="*/ 1 w 5"/>
                  <a:gd name="T9" fmla="*/ 0 h 6"/>
                </a:gdLst>
                <a:ahLst/>
                <a:cxnLst>
                  <a:cxn ang="0">
                    <a:pos x="T0" y="T1"/>
                  </a:cxn>
                  <a:cxn ang="0">
                    <a:pos x="T2" y="T3"/>
                  </a:cxn>
                  <a:cxn ang="0">
                    <a:pos x="T4" y="T5"/>
                  </a:cxn>
                  <a:cxn ang="0">
                    <a:pos x="T6" y="T7"/>
                  </a:cxn>
                  <a:cxn ang="0">
                    <a:pos x="T8" y="T9"/>
                  </a:cxn>
                </a:cxnLst>
                <a:rect l="0" t="0" r="r" b="b"/>
                <a:pathLst>
                  <a:path w="5" h="6">
                    <a:moveTo>
                      <a:pt x="1" y="0"/>
                    </a:moveTo>
                    <a:cubicBezTo>
                      <a:pt x="1" y="0"/>
                      <a:pt x="1" y="0"/>
                      <a:pt x="1" y="0"/>
                    </a:cubicBezTo>
                    <a:cubicBezTo>
                      <a:pt x="0" y="2"/>
                      <a:pt x="1" y="4"/>
                      <a:pt x="1" y="6"/>
                    </a:cubicBezTo>
                    <a:cubicBezTo>
                      <a:pt x="5" y="6"/>
                      <a:pt x="4"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0" name="Freeform 219">
                <a:extLst>
                  <a:ext uri="{FF2B5EF4-FFF2-40B4-BE49-F238E27FC236}">
                    <a16:creationId xmlns:a16="http://schemas.microsoft.com/office/drawing/2014/main" id="{9FB4C0EC-591F-453E-8D6C-2D4D1C43278B}"/>
                  </a:ext>
                </a:extLst>
              </p:cNvPr>
              <p:cNvSpPr>
                <a:spLocks/>
              </p:cNvSpPr>
              <p:nvPr/>
            </p:nvSpPr>
            <p:spPr bwMode="auto">
              <a:xfrm>
                <a:off x="6933" y="2779"/>
                <a:ext cx="7" cy="17"/>
              </a:xfrm>
              <a:custGeom>
                <a:avLst/>
                <a:gdLst>
                  <a:gd name="T0" fmla="*/ 2 w 3"/>
                  <a:gd name="T1" fmla="*/ 0 h 7"/>
                  <a:gd name="T2" fmla="*/ 0 w 3"/>
                  <a:gd name="T3" fmla="*/ 7 h 7"/>
                  <a:gd name="T4" fmla="*/ 2 w 3"/>
                  <a:gd name="T5" fmla="*/ 3 h 7"/>
                  <a:gd name="T6" fmla="*/ 2 w 3"/>
                  <a:gd name="T7" fmla="*/ 0 h 7"/>
                </a:gdLst>
                <a:ahLst/>
                <a:cxnLst>
                  <a:cxn ang="0">
                    <a:pos x="T0" y="T1"/>
                  </a:cxn>
                  <a:cxn ang="0">
                    <a:pos x="T2" y="T3"/>
                  </a:cxn>
                  <a:cxn ang="0">
                    <a:pos x="T4" y="T5"/>
                  </a:cxn>
                  <a:cxn ang="0">
                    <a:pos x="T6" y="T7"/>
                  </a:cxn>
                </a:cxnLst>
                <a:rect l="0" t="0" r="r" b="b"/>
                <a:pathLst>
                  <a:path w="3" h="7">
                    <a:moveTo>
                      <a:pt x="2" y="0"/>
                    </a:moveTo>
                    <a:cubicBezTo>
                      <a:pt x="1" y="2"/>
                      <a:pt x="1" y="4"/>
                      <a:pt x="0" y="7"/>
                    </a:cubicBezTo>
                    <a:cubicBezTo>
                      <a:pt x="3" y="6"/>
                      <a:pt x="2" y="5"/>
                      <a:pt x="2" y="3"/>
                    </a:cubicBezTo>
                    <a:cubicBezTo>
                      <a:pt x="2" y="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1" name="Freeform 220">
                <a:extLst>
                  <a:ext uri="{FF2B5EF4-FFF2-40B4-BE49-F238E27FC236}">
                    <a16:creationId xmlns:a16="http://schemas.microsoft.com/office/drawing/2014/main" id="{02650A63-5365-4477-97EF-225EAE5C446E}"/>
                  </a:ext>
                </a:extLst>
              </p:cNvPr>
              <p:cNvSpPr>
                <a:spLocks/>
              </p:cNvSpPr>
              <p:nvPr/>
            </p:nvSpPr>
            <p:spPr bwMode="auto">
              <a:xfrm>
                <a:off x="6940" y="2779"/>
                <a:ext cx="12" cy="12"/>
              </a:xfrm>
              <a:custGeom>
                <a:avLst/>
                <a:gdLst>
                  <a:gd name="T0" fmla="*/ 3 w 5"/>
                  <a:gd name="T1" fmla="*/ 0 h 5"/>
                  <a:gd name="T2" fmla="*/ 2 w 5"/>
                  <a:gd name="T3" fmla="*/ 0 h 5"/>
                  <a:gd name="T4" fmla="*/ 2 w 5"/>
                  <a:gd name="T5" fmla="*/ 3 h 5"/>
                  <a:gd name="T6" fmla="*/ 2 w 5"/>
                  <a:gd name="T7" fmla="*/ 4 h 5"/>
                  <a:gd name="T8" fmla="*/ 4 w 5"/>
                  <a:gd name="T9" fmla="*/ 5 h 5"/>
                  <a:gd name="T10" fmla="*/ 4 w 5"/>
                  <a:gd name="T11" fmla="*/ 1 h 5"/>
                  <a:gd name="T12" fmla="*/ 4 w 5"/>
                  <a:gd name="T13" fmla="*/ 0 h 5"/>
                  <a:gd name="T14" fmla="*/ 3 w 5"/>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0"/>
                    </a:moveTo>
                    <a:cubicBezTo>
                      <a:pt x="3" y="0"/>
                      <a:pt x="2" y="0"/>
                      <a:pt x="2" y="0"/>
                    </a:cubicBezTo>
                    <a:cubicBezTo>
                      <a:pt x="0" y="0"/>
                      <a:pt x="1" y="3"/>
                      <a:pt x="2" y="3"/>
                    </a:cubicBezTo>
                    <a:cubicBezTo>
                      <a:pt x="2" y="4"/>
                      <a:pt x="2" y="4"/>
                      <a:pt x="2" y="4"/>
                    </a:cubicBezTo>
                    <a:cubicBezTo>
                      <a:pt x="3" y="4"/>
                      <a:pt x="3" y="4"/>
                      <a:pt x="4" y="5"/>
                    </a:cubicBezTo>
                    <a:cubicBezTo>
                      <a:pt x="4" y="5"/>
                      <a:pt x="5" y="2"/>
                      <a:pt x="4" y="1"/>
                    </a:cubicBezTo>
                    <a:cubicBezTo>
                      <a:pt x="4" y="0"/>
                      <a:pt x="4" y="0"/>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2" name="Freeform 221">
                <a:extLst>
                  <a:ext uri="{FF2B5EF4-FFF2-40B4-BE49-F238E27FC236}">
                    <a16:creationId xmlns:a16="http://schemas.microsoft.com/office/drawing/2014/main" id="{65340B7E-DF8A-474F-99B5-5D6571F4CBFC}"/>
                  </a:ext>
                </a:extLst>
              </p:cNvPr>
              <p:cNvSpPr>
                <a:spLocks/>
              </p:cNvSpPr>
              <p:nvPr/>
            </p:nvSpPr>
            <p:spPr bwMode="auto">
              <a:xfrm>
                <a:off x="6926" y="2751"/>
                <a:ext cx="5" cy="5"/>
              </a:xfrm>
              <a:custGeom>
                <a:avLst/>
                <a:gdLst>
                  <a:gd name="T0" fmla="*/ 1 w 2"/>
                  <a:gd name="T1" fmla="*/ 0 h 2"/>
                  <a:gd name="T2" fmla="*/ 0 w 2"/>
                  <a:gd name="T3" fmla="*/ 2 h 2"/>
                  <a:gd name="T4" fmla="*/ 1 w 2"/>
                  <a:gd name="T5" fmla="*/ 0 h 2"/>
                </a:gdLst>
                <a:ahLst/>
                <a:cxnLst>
                  <a:cxn ang="0">
                    <a:pos x="T0" y="T1"/>
                  </a:cxn>
                  <a:cxn ang="0">
                    <a:pos x="T2" y="T3"/>
                  </a:cxn>
                  <a:cxn ang="0">
                    <a:pos x="T4" y="T5"/>
                  </a:cxn>
                </a:cxnLst>
                <a:rect l="0" t="0" r="r" b="b"/>
                <a:pathLst>
                  <a:path w="2" h="2">
                    <a:moveTo>
                      <a:pt x="1" y="0"/>
                    </a:moveTo>
                    <a:cubicBezTo>
                      <a:pt x="1" y="1"/>
                      <a:pt x="0" y="2"/>
                      <a:pt x="0" y="2"/>
                    </a:cubicBezTo>
                    <a:cubicBezTo>
                      <a:pt x="1"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3" name="Freeform 222">
                <a:extLst>
                  <a:ext uri="{FF2B5EF4-FFF2-40B4-BE49-F238E27FC236}">
                    <a16:creationId xmlns:a16="http://schemas.microsoft.com/office/drawing/2014/main" id="{AE664205-910A-4FF8-B4BC-7AC379EAC388}"/>
                  </a:ext>
                </a:extLst>
              </p:cNvPr>
              <p:cNvSpPr>
                <a:spLocks/>
              </p:cNvSpPr>
              <p:nvPr/>
            </p:nvSpPr>
            <p:spPr bwMode="auto">
              <a:xfrm>
                <a:off x="6586" y="2271"/>
                <a:ext cx="21" cy="36"/>
              </a:xfrm>
              <a:custGeom>
                <a:avLst/>
                <a:gdLst>
                  <a:gd name="T0" fmla="*/ 4 w 9"/>
                  <a:gd name="T1" fmla="*/ 0 h 15"/>
                  <a:gd name="T2" fmla="*/ 4 w 9"/>
                  <a:gd name="T3" fmla="*/ 4 h 15"/>
                  <a:gd name="T4" fmla="*/ 4 w 9"/>
                  <a:gd name="T5" fmla="*/ 9 h 15"/>
                  <a:gd name="T6" fmla="*/ 4 w 9"/>
                  <a:gd name="T7" fmla="*/ 14 h 15"/>
                  <a:gd name="T8" fmla="*/ 4 w 9"/>
                  <a:gd name="T9" fmla="*/ 15 h 15"/>
                  <a:gd name="T10" fmla="*/ 4 w 9"/>
                  <a:gd name="T11" fmla="*/ 15 h 15"/>
                  <a:gd name="T12" fmla="*/ 4 w 9"/>
                  <a:gd name="T13" fmla="*/ 15 h 15"/>
                  <a:gd name="T14" fmla="*/ 5 w 9"/>
                  <a:gd name="T15" fmla="*/ 14 h 15"/>
                  <a:gd name="T16" fmla="*/ 6 w 9"/>
                  <a:gd name="T17" fmla="*/ 13 h 15"/>
                  <a:gd name="T18" fmla="*/ 6 w 9"/>
                  <a:gd name="T19" fmla="*/ 13 h 15"/>
                  <a:gd name="T20" fmla="*/ 5 w 9"/>
                  <a:gd name="T21" fmla="*/ 0 h 15"/>
                  <a:gd name="T22" fmla="*/ 4 w 9"/>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5">
                    <a:moveTo>
                      <a:pt x="4" y="0"/>
                    </a:moveTo>
                    <a:cubicBezTo>
                      <a:pt x="2" y="0"/>
                      <a:pt x="0" y="3"/>
                      <a:pt x="4" y="4"/>
                    </a:cubicBezTo>
                    <a:cubicBezTo>
                      <a:pt x="4" y="6"/>
                      <a:pt x="4" y="7"/>
                      <a:pt x="4" y="9"/>
                    </a:cubicBezTo>
                    <a:cubicBezTo>
                      <a:pt x="4" y="11"/>
                      <a:pt x="3" y="13"/>
                      <a:pt x="4" y="14"/>
                    </a:cubicBezTo>
                    <a:cubicBezTo>
                      <a:pt x="4" y="15"/>
                      <a:pt x="4" y="15"/>
                      <a:pt x="4" y="15"/>
                    </a:cubicBezTo>
                    <a:cubicBezTo>
                      <a:pt x="4" y="15"/>
                      <a:pt x="4" y="15"/>
                      <a:pt x="4" y="15"/>
                    </a:cubicBezTo>
                    <a:cubicBezTo>
                      <a:pt x="4" y="15"/>
                      <a:pt x="4" y="15"/>
                      <a:pt x="4" y="15"/>
                    </a:cubicBezTo>
                    <a:cubicBezTo>
                      <a:pt x="4" y="15"/>
                      <a:pt x="5" y="14"/>
                      <a:pt x="5" y="14"/>
                    </a:cubicBezTo>
                    <a:cubicBezTo>
                      <a:pt x="5" y="14"/>
                      <a:pt x="6" y="13"/>
                      <a:pt x="6" y="13"/>
                    </a:cubicBezTo>
                    <a:cubicBezTo>
                      <a:pt x="6" y="13"/>
                      <a:pt x="6" y="13"/>
                      <a:pt x="6" y="13"/>
                    </a:cubicBezTo>
                    <a:cubicBezTo>
                      <a:pt x="9" y="9"/>
                      <a:pt x="7" y="4"/>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4" name="Freeform 223">
                <a:extLst>
                  <a:ext uri="{FF2B5EF4-FFF2-40B4-BE49-F238E27FC236}">
                    <a16:creationId xmlns:a16="http://schemas.microsoft.com/office/drawing/2014/main" id="{EF2CAF0B-494A-43DC-8D72-A8700FE1E923}"/>
                  </a:ext>
                </a:extLst>
              </p:cNvPr>
              <p:cNvSpPr>
                <a:spLocks/>
              </p:cNvSpPr>
              <p:nvPr/>
            </p:nvSpPr>
            <p:spPr bwMode="auto">
              <a:xfrm>
                <a:off x="6647" y="2311"/>
                <a:ext cx="3" cy="7"/>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1"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5" name="Freeform 224">
                <a:extLst>
                  <a:ext uri="{FF2B5EF4-FFF2-40B4-BE49-F238E27FC236}">
                    <a16:creationId xmlns:a16="http://schemas.microsoft.com/office/drawing/2014/main" id="{28CED63D-D770-40F5-9BF4-EE1403FDB456}"/>
                  </a:ext>
                </a:extLst>
              </p:cNvPr>
              <p:cNvSpPr>
                <a:spLocks/>
              </p:cNvSpPr>
              <p:nvPr/>
            </p:nvSpPr>
            <p:spPr bwMode="auto">
              <a:xfrm>
                <a:off x="6612" y="2281"/>
                <a:ext cx="7" cy="21"/>
              </a:xfrm>
              <a:custGeom>
                <a:avLst/>
                <a:gdLst>
                  <a:gd name="T0" fmla="*/ 1 w 3"/>
                  <a:gd name="T1" fmla="*/ 0 h 9"/>
                  <a:gd name="T2" fmla="*/ 0 w 3"/>
                  <a:gd name="T3" fmla="*/ 9 h 9"/>
                  <a:gd name="T4" fmla="*/ 3 w 3"/>
                  <a:gd name="T5" fmla="*/ 4 h 9"/>
                  <a:gd name="T6" fmla="*/ 1 w 3"/>
                  <a:gd name="T7" fmla="*/ 0 h 9"/>
                </a:gdLst>
                <a:ahLst/>
                <a:cxnLst>
                  <a:cxn ang="0">
                    <a:pos x="T0" y="T1"/>
                  </a:cxn>
                  <a:cxn ang="0">
                    <a:pos x="T2" y="T3"/>
                  </a:cxn>
                  <a:cxn ang="0">
                    <a:pos x="T4" y="T5"/>
                  </a:cxn>
                  <a:cxn ang="0">
                    <a:pos x="T6" y="T7"/>
                  </a:cxn>
                </a:cxnLst>
                <a:rect l="0" t="0" r="r" b="b"/>
                <a:pathLst>
                  <a:path w="3" h="9">
                    <a:moveTo>
                      <a:pt x="1" y="0"/>
                    </a:moveTo>
                    <a:cubicBezTo>
                      <a:pt x="1" y="3"/>
                      <a:pt x="0" y="6"/>
                      <a:pt x="0" y="9"/>
                    </a:cubicBezTo>
                    <a:cubicBezTo>
                      <a:pt x="2" y="7"/>
                      <a:pt x="3" y="7"/>
                      <a:pt x="3" y="4"/>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6" name="Freeform 225">
                <a:extLst>
                  <a:ext uri="{FF2B5EF4-FFF2-40B4-BE49-F238E27FC236}">
                    <a16:creationId xmlns:a16="http://schemas.microsoft.com/office/drawing/2014/main" id="{A9447C98-C124-479A-A1D7-FEDD66AC8BCD}"/>
                  </a:ext>
                </a:extLst>
              </p:cNvPr>
              <p:cNvSpPr>
                <a:spLocks/>
              </p:cNvSpPr>
              <p:nvPr/>
            </p:nvSpPr>
            <p:spPr bwMode="auto">
              <a:xfrm>
                <a:off x="4785" y="2103"/>
                <a:ext cx="7" cy="22"/>
              </a:xfrm>
              <a:custGeom>
                <a:avLst/>
                <a:gdLst>
                  <a:gd name="T0" fmla="*/ 1 w 3"/>
                  <a:gd name="T1" fmla="*/ 0 h 9"/>
                  <a:gd name="T2" fmla="*/ 1 w 3"/>
                  <a:gd name="T3" fmla="*/ 0 h 9"/>
                  <a:gd name="T4" fmla="*/ 2 w 3"/>
                  <a:gd name="T5" fmla="*/ 9 h 9"/>
                  <a:gd name="T6" fmla="*/ 3 w 3"/>
                  <a:gd name="T7" fmla="*/ 4 h 9"/>
                  <a:gd name="T8" fmla="*/ 3 w 3"/>
                  <a:gd name="T9" fmla="*/ 1 h 9"/>
                  <a:gd name="T10" fmla="*/ 1 w 3"/>
                  <a:gd name="T11" fmla="*/ 0 h 9"/>
                </a:gdLst>
                <a:ahLst/>
                <a:cxnLst>
                  <a:cxn ang="0">
                    <a:pos x="T0" y="T1"/>
                  </a:cxn>
                  <a:cxn ang="0">
                    <a:pos x="T2" y="T3"/>
                  </a:cxn>
                  <a:cxn ang="0">
                    <a:pos x="T4" y="T5"/>
                  </a:cxn>
                  <a:cxn ang="0">
                    <a:pos x="T6" y="T7"/>
                  </a:cxn>
                  <a:cxn ang="0">
                    <a:pos x="T8" y="T9"/>
                  </a:cxn>
                  <a:cxn ang="0">
                    <a:pos x="T10" y="T11"/>
                  </a:cxn>
                </a:cxnLst>
                <a:rect l="0" t="0" r="r" b="b"/>
                <a:pathLst>
                  <a:path w="3" h="9">
                    <a:moveTo>
                      <a:pt x="1" y="0"/>
                    </a:moveTo>
                    <a:cubicBezTo>
                      <a:pt x="1" y="0"/>
                      <a:pt x="1" y="0"/>
                      <a:pt x="1" y="0"/>
                    </a:cubicBezTo>
                    <a:cubicBezTo>
                      <a:pt x="0" y="1"/>
                      <a:pt x="2" y="8"/>
                      <a:pt x="2" y="9"/>
                    </a:cubicBezTo>
                    <a:cubicBezTo>
                      <a:pt x="3" y="8"/>
                      <a:pt x="3" y="6"/>
                      <a:pt x="3" y="4"/>
                    </a:cubicBezTo>
                    <a:cubicBezTo>
                      <a:pt x="3" y="3"/>
                      <a:pt x="1" y="1"/>
                      <a:pt x="3" y="1"/>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7" name="Freeform 226">
                <a:extLst>
                  <a:ext uri="{FF2B5EF4-FFF2-40B4-BE49-F238E27FC236}">
                    <a16:creationId xmlns:a16="http://schemas.microsoft.com/office/drawing/2014/main" id="{270D663F-6A0F-4997-9621-71047936FBEB}"/>
                  </a:ext>
                </a:extLst>
              </p:cNvPr>
              <p:cNvSpPr>
                <a:spLocks/>
              </p:cNvSpPr>
              <p:nvPr/>
            </p:nvSpPr>
            <p:spPr bwMode="auto">
              <a:xfrm>
                <a:off x="5003" y="2068"/>
                <a:ext cx="44" cy="21"/>
              </a:xfrm>
              <a:custGeom>
                <a:avLst/>
                <a:gdLst>
                  <a:gd name="T0" fmla="*/ 16 w 19"/>
                  <a:gd name="T1" fmla="*/ 0 h 9"/>
                  <a:gd name="T2" fmla="*/ 13 w 19"/>
                  <a:gd name="T3" fmla="*/ 1 h 9"/>
                  <a:gd name="T4" fmla="*/ 10 w 19"/>
                  <a:gd name="T5" fmla="*/ 1 h 9"/>
                  <a:gd name="T6" fmla="*/ 7 w 19"/>
                  <a:gd name="T7" fmla="*/ 4 h 9"/>
                  <a:gd name="T8" fmla="*/ 5 w 19"/>
                  <a:gd name="T9" fmla="*/ 5 h 9"/>
                  <a:gd name="T10" fmla="*/ 0 w 19"/>
                  <a:gd name="T11" fmla="*/ 9 h 9"/>
                  <a:gd name="T12" fmla="*/ 2 w 19"/>
                  <a:gd name="T13" fmla="*/ 8 h 9"/>
                  <a:gd name="T14" fmla="*/ 11 w 19"/>
                  <a:gd name="T15" fmla="*/ 5 h 9"/>
                  <a:gd name="T16" fmla="*/ 11 w 19"/>
                  <a:gd name="T17" fmla="*/ 5 h 9"/>
                  <a:gd name="T18" fmla="*/ 12 w 19"/>
                  <a:gd name="T19" fmla="*/ 5 h 9"/>
                  <a:gd name="T20" fmla="*/ 13 w 19"/>
                  <a:gd name="T21" fmla="*/ 5 h 9"/>
                  <a:gd name="T22" fmla="*/ 13 w 19"/>
                  <a:gd name="T23" fmla="*/ 5 h 9"/>
                  <a:gd name="T24" fmla="*/ 15 w 19"/>
                  <a:gd name="T25" fmla="*/ 4 h 9"/>
                  <a:gd name="T26" fmla="*/ 19 w 19"/>
                  <a:gd name="T27" fmla="*/ 1 h 9"/>
                  <a:gd name="T28" fmla="*/ 17 w 19"/>
                  <a:gd name="T29" fmla="*/ 0 h 9"/>
                  <a:gd name="T30" fmla="*/ 16 w 19"/>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9">
                    <a:moveTo>
                      <a:pt x="16" y="0"/>
                    </a:moveTo>
                    <a:cubicBezTo>
                      <a:pt x="15" y="0"/>
                      <a:pt x="14" y="0"/>
                      <a:pt x="13" y="1"/>
                    </a:cubicBezTo>
                    <a:cubicBezTo>
                      <a:pt x="10" y="1"/>
                      <a:pt x="10" y="1"/>
                      <a:pt x="10" y="1"/>
                    </a:cubicBezTo>
                    <a:cubicBezTo>
                      <a:pt x="8" y="2"/>
                      <a:pt x="10" y="3"/>
                      <a:pt x="7" y="4"/>
                    </a:cubicBezTo>
                    <a:cubicBezTo>
                      <a:pt x="7" y="5"/>
                      <a:pt x="6" y="5"/>
                      <a:pt x="5" y="5"/>
                    </a:cubicBezTo>
                    <a:cubicBezTo>
                      <a:pt x="3" y="6"/>
                      <a:pt x="1" y="7"/>
                      <a:pt x="0" y="9"/>
                    </a:cubicBezTo>
                    <a:cubicBezTo>
                      <a:pt x="1" y="9"/>
                      <a:pt x="1" y="9"/>
                      <a:pt x="2" y="8"/>
                    </a:cubicBezTo>
                    <a:cubicBezTo>
                      <a:pt x="5" y="7"/>
                      <a:pt x="8" y="6"/>
                      <a:pt x="11" y="5"/>
                    </a:cubicBezTo>
                    <a:cubicBezTo>
                      <a:pt x="11" y="5"/>
                      <a:pt x="11" y="5"/>
                      <a:pt x="11" y="5"/>
                    </a:cubicBezTo>
                    <a:cubicBezTo>
                      <a:pt x="12" y="5"/>
                      <a:pt x="12" y="5"/>
                      <a:pt x="12" y="5"/>
                    </a:cubicBezTo>
                    <a:cubicBezTo>
                      <a:pt x="12" y="5"/>
                      <a:pt x="12" y="5"/>
                      <a:pt x="13" y="5"/>
                    </a:cubicBezTo>
                    <a:cubicBezTo>
                      <a:pt x="13" y="5"/>
                      <a:pt x="13" y="5"/>
                      <a:pt x="13" y="5"/>
                    </a:cubicBezTo>
                    <a:cubicBezTo>
                      <a:pt x="14" y="5"/>
                      <a:pt x="15" y="4"/>
                      <a:pt x="15" y="4"/>
                    </a:cubicBezTo>
                    <a:cubicBezTo>
                      <a:pt x="17" y="3"/>
                      <a:pt x="17" y="1"/>
                      <a:pt x="19" y="1"/>
                    </a:cubicBezTo>
                    <a:cubicBezTo>
                      <a:pt x="18" y="1"/>
                      <a:pt x="18" y="0"/>
                      <a:pt x="17" y="0"/>
                    </a:cubicBezTo>
                    <a:cubicBezTo>
                      <a:pt x="17"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8" name="Freeform 227">
                <a:extLst>
                  <a:ext uri="{FF2B5EF4-FFF2-40B4-BE49-F238E27FC236}">
                    <a16:creationId xmlns:a16="http://schemas.microsoft.com/office/drawing/2014/main" id="{1816B04B-53C3-4F1F-85F1-EACFC4713F8B}"/>
                  </a:ext>
                </a:extLst>
              </p:cNvPr>
              <p:cNvSpPr>
                <a:spLocks/>
              </p:cNvSpPr>
              <p:nvPr/>
            </p:nvSpPr>
            <p:spPr bwMode="auto">
              <a:xfrm>
                <a:off x="4927" y="2198"/>
                <a:ext cx="21" cy="7"/>
              </a:xfrm>
              <a:custGeom>
                <a:avLst/>
                <a:gdLst>
                  <a:gd name="T0" fmla="*/ 4 w 9"/>
                  <a:gd name="T1" fmla="*/ 0 h 3"/>
                  <a:gd name="T2" fmla="*/ 0 w 9"/>
                  <a:gd name="T3" fmla="*/ 2 h 3"/>
                  <a:gd name="T4" fmla="*/ 3 w 9"/>
                  <a:gd name="T5" fmla="*/ 3 h 3"/>
                  <a:gd name="T6" fmla="*/ 5 w 9"/>
                  <a:gd name="T7" fmla="*/ 1 h 3"/>
                  <a:gd name="T8" fmla="*/ 4 w 9"/>
                  <a:gd name="T9" fmla="*/ 0 h 3"/>
                </a:gdLst>
                <a:ahLst/>
                <a:cxnLst>
                  <a:cxn ang="0">
                    <a:pos x="T0" y="T1"/>
                  </a:cxn>
                  <a:cxn ang="0">
                    <a:pos x="T2" y="T3"/>
                  </a:cxn>
                  <a:cxn ang="0">
                    <a:pos x="T4" y="T5"/>
                  </a:cxn>
                  <a:cxn ang="0">
                    <a:pos x="T6" y="T7"/>
                  </a:cxn>
                  <a:cxn ang="0">
                    <a:pos x="T8" y="T9"/>
                  </a:cxn>
                </a:cxnLst>
                <a:rect l="0" t="0" r="r" b="b"/>
                <a:pathLst>
                  <a:path w="9" h="3">
                    <a:moveTo>
                      <a:pt x="4" y="0"/>
                    </a:moveTo>
                    <a:cubicBezTo>
                      <a:pt x="3" y="0"/>
                      <a:pt x="2" y="1"/>
                      <a:pt x="0" y="2"/>
                    </a:cubicBezTo>
                    <a:cubicBezTo>
                      <a:pt x="1" y="3"/>
                      <a:pt x="2" y="3"/>
                      <a:pt x="3" y="3"/>
                    </a:cubicBezTo>
                    <a:cubicBezTo>
                      <a:pt x="5" y="3"/>
                      <a:pt x="9" y="2"/>
                      <a:pt x="5" y="1"/>
                    </a:cubicBezTo>
                    <a:cubicBezTo>
                      <a:pt x="5" y="1"/>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9" name="Freeform 228">
                <a:extLst>
                  <a:ext uri="{FF2B5EF4-FFF2-40B4-BE49-F238E27FC236}">
                    <a16:creationId xmlns:a16="http://schemas.microsoft.com/office/drawing/2014/main" id="{A860FC5B-A98E-42D1-9EBD-161731EB6DA0}"/>
                  </a:ext>
                </a:extLst>
              </p:cNvPr>
              <p:cNvSpPr>
                <a:spLocks/>
              </p:cNvSpPr>
              <p:nvPr/>
            </p:nvSpPr>
            <p:spPr bwMode="auto">
              <a:xfrm>
                <a:off x="9247" y="3373"/>
                <a:ext cx="2" cy="2"/>
              </a:xfrm>
              <a:custGeom>
                <a:avLst/>
                <a:gdLst>
                  <a:gd name="T0" fmla="*/ 0 w 1"/>
                  <a:gd name="T1" fmla="*/ 0 h 1"/>
                  <a:gd name="T2" fmla="*/ 0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0" y="1"/>
                      <a:pt x="0" y="1"/>
                    </a:cubicBezTo>
                    <a:cubicBezTo>
                      <a:pt x="1" y="1"/>
                      <a:pt x="1" y="1"/>
                      <a:pt x="1" y="1"/>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0" name="Freeform 229">
                <a:extLst>
                  <a:ext uri="{FF2B5EF4-FFF2-40B4-BE49-F238E27FC236}">
                    <a16:creationId xmlns:a16="http://schemas.microsoft.com/office/drawing/2014/main" id="{1A4E6BB1-8062-4359-80E6-09F951A3980B}"/>
                  </a:ext>
                </a:extLst>
              </p:cNvPr>
              <p:cNvSpPr>
                <a:spLocks/>
              </p:cNvSpPr>
              <p:nvPr/>
            </p:nvSpPr>
            <p:spPr bwMode="auto">
              <a:xfrm>
                <a:off x="7188" y="2841"/>
                <a:ext cx="12" cy="17"/>
              </a:xfrm>
              <a:custGeom>
                <a:avLst/>
                <a:gdLst>
                  <a:gd name="T0" fmla="*/ 3 w 5"/>
                  <a:gd name="T1" fmla="*/ 0 h 7"/>
                  <a:gd name="T2" fmla="*/ 2 w 5"/>
                  <a:gd name="T3" fmla="*/ 1 h 7"/>
                  <a:gd name="T4" fmla="*/ 0 w 5"/>
                  <a:gd name="T5" fmla="*/ 1 h 7"/>
                  <a:gd name="T6" fmla="*/ 0 w 5"/>
                  <a:gd name="T7" fmla="*/ 1 h 7"/>
                  <a:gd name="T8" fmla="*/ 3 w 5"/>
                  <a:gd name="T9" fmla="*/ 7 h 7"/>
                  <a:gd name="T10" fmla="*/ 5 w 5"/>
                  <a:gd name="T11" fmla="*/ 2 h 7"/>
                  <a:gd name="T12" fmla="*/ 3 w 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3" y="0"/>
                    </a:moveTo>
                    <a:cubicBezTo>
                      <a:pt x="3" y="0"/>
                      <a:pt x="3" y="1"/>
                      <a:pt x="2" y="1"/>
                    </a:cubicBezTo>
                    <a:cubicBezTo>
                      <a:pt x="2" y="1"/>
                      <a:pt x="1" y="1"/>
                      <a:pt x="0" y="1"/>
                    </a:cubicBezTo>
                    <a:cubicBezTo>
                      <a:pt x="0" y="1"/>
                      <a:pt x="0" y="1"/>
                      <a:pt x="0" y="1"/>
                    </a:cubicBezTo>
                    <a:cubicBezTo>
                      <a:pt x="1" y="3"/>
                      <a:pt x="2" y="5"/>
                      <a:pt x="3" y="7"/>
                    </a:cubicBezTo>
                    <a:cubicBezTo>
                      <a:pt x="4" y="6"/>
                      <a:pt x="5" y="3"/>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1" name="Freeform 230">
                <a:extLst>
                  <a:ext uri="{FF2B5EF4-FFF2-40B4-BE49-F238E27FC236}">
                    <a16:creationId xmlns:a16="http://schemas.microsoft.com/office/drawing/2014/main" id="{D63EC3D9-D03C-442B-AE2C-DE0809D86316}"/>
                  </a:ext>
                </a:extLst>
              </p:cNvPr>
              <p:cNvSpPr>
                <a:spLocks noEditPoints="1"/>
              </p:cNvSpPr>
              <p:nvPr/>
            </p:nvSpPr>
            <p:spPr bwMode="auto">
              <a:xfrm>
                <a:off x="7257" y="2839"/>
                <a:ext cx="66" cy="42"/>
              </a:xfrm>
              <a:custGeom>
                <a:avLst/>
                <a:gdLst>
                  <a:gd name="T0" fmla="*/ 0 w 28"/>
                  <a:gd name="T1" fmla="*/ 0 h 18"/>
                  <a:gd name="T2" fmla="*/ 3 w 28"/>
                  <a:gd name="T3" fmla="*/ 3 h 18"/>
                  <a:gd name="T4" fmla="*/ 5 w 28"/>
                  <a:gd name="T5" fmla="*/ 6 h 18"/>
                  <a:gd name="T6" fmla="*/ 5 w 28"/>
                  <a:gd name="T7" fmla="*/ 6 h 18"/>
                  <a:gd name="T8" fmla="*/ 9 w 28"/>
                  <a:gd name="T9" fmla="*/ 9 h 18"/>
                  <a:gd name="T10" fmla="*/ 9 w 28"/>
                  <a:gd name="T11" fmla="*/ 9 h 18"/>
                  <a:gd name="T12" fmla="*/ 16 w 28"/>
                  <a:gd name="T13" fmla="*/ 14 h 18"/>
                  <a:gd name="T14" fmla="*/ 22 w 28"/>
                  <a:gd name="T15" fmla="*/ 18 h 18"/>
                  <a:gd name="T16" fmla="*/ 23 w 28"/>
                  <a:gd name="T17" fmla="*/ 17 h 18"/>
                  <a:gd name="T18" fmla="*/ 0 w 28"/>
                  <a:gd name="T19" fmla="*/ 0 h 18"/>
                  <a:gd name="T20" fmla="*/ 0 w 28"/>
                  <a:gd name="T21" fmla="*/ 0 h 18"/>
                  <a:gd name="T22" fmla="*/ 0 w 28"/>
                  <a:gd name="T23" fmla="*/ 0 h 18"/>
                  <a:gd name="T24" fmla="*/ 0 w 2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8">
                    <a:moveTo>
                      <a:pt x="0" y="0"/>
                    </a:moveTo>
                    <a:cubicBezTo>
                      <a:pt x="0" y="1"/>
                      <a:pt x="2" y="2"/>
                      <a:pt x="3" y="3"/>
                    </a:cubicBezTo>
                    <a:cubicBezTo>
                      <a:pt x="3" y="4"/>
                      <a:pt x="4" y="5"/>
                      <a:pt x="5" y="6"/>
                    </a:cubicBezTo>
                    <a:cubicBezTo>
                      <a:pt x="5" y="6"/>
                      <a:pt x="5" y="6"/>
                      <a:pt x="5" y="6"/>
                    </a:cubicBezTo>
                    <a:cubicBezTo>
                      <a:pt x="7" y="7"/>
                      <a:pt x="8" y="8"/>
                      <a:pt x="9" y="9"/>
                    </a:cubicBezTo>
                    <a:cubicBezTo>
                      <a:pt x="9" y="9"/>
                      <a:pt x="9" y="9"/>
                      <a:pt x="9" y="9"/>
                    </a:cubicBezTo>
                    <a:cubicBezTo>
                      <a:pt x="11" y="11"/>
                      <a:pt x="13" y="12"/>
                      <a:pt x="16" y="14"/>
                    </a:cubicBezTo>
                    <a:cubicBezTo>
                      <a:pt x="17" y="15"/>
                      <a:pt x="20" y="18"/>
                      <a:pt x="22" y="18"/>
                    </a:cubicBezTo>
                    <a:cubicBezTo>
                      <a:pt x="22" y="18"/>
                      <a:pt x="22" y="18"/>
                      <a:pt x="23" y="17"/>
                    </a:cubicBezTo>
                    <a:cubicBezTo>
                      <a:pt x="28" y="12"/>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2" name="Freeform 231">
                <a:extLst>
                  <a:ext uri="{FF2B5EF4-FFF2-40B4-BE49-F238E27FC236}">
                    <a16:creationId xmlns:a16="http://schemas.microsoft.com/office/drawing/2014/main" id="{57B9EBC0-CA35-4DB7-9399-9F50E8CFBE4D}"/>
                  </a:ext>
                </a:extLst>
              </p:cNvPr>
              <p:cNvSpPr>
                <a:spLocks/>
              </p:cNvSpPr>
              <p:nvPr/>
            </p:nvSpPr>
            <p:spPr bwMode="auto">
              <a:xfrm>
                <a:off x="7309" y="2917"/>
                <a:ext cx="7" cy="4"/>
              </a:xfrm>
              <a:custGeom>
                <a:avLst/>
                <a:gdLst>
                  <a:gd name="T0" fmla="*/ 3 w 3"/>
                  <a:gd name="T1" fmla="*/ 0 h 2"/>
                  <a:gd name="T2" fmla="*/ 1 w 3"/>
                  <a:gd name="T3" fmla="*/ 2 h 2"/>
                  <a:gd name="T4" fmla="*/ 3 w 3"/>
                  <a:gd name="T5" fmla="*/ 0 h 2"/>
                </a:gdLst>
                <a:ahLst/>
                <a:cxnLst>
                  <a:cxn ang="0">
                    <a:pos x="T0" y="T1"/>
                  </a:cxn>
                  <a:cxn ang="0">
                    <a:pos x="T2" y="T3"/>
                  </a:cxn>
                  <a:cxn ang="0">
                    <a:pos x="T4" y="T5"/>
                  </a:cxn>
                </a:cxnLst>
                <a:rect l="0" t="0" r="r" b="b"/>
                <a:pathLst>
                  <a:path w="3" h="2">
                    <a:moveTo>
                      <a:pt x="3" y="0"/>
                    </a:moveTo>
                    <a:cubicBezTo>
                      <a:pt x="2" y="1"/>
                      <a:pt x="0" y="1"/>
                      <a:pt x="1" y="2"/>
                    </a:cubicBezTo>
                    <a:cubicBezTo>
                      <a:pt x="2"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3" name="Freeform 232">
                <a:extLst>
                  <a:ext uri="{FF2B5EF4-FFF2-40B4-BE49-F238E27FC236}">
                    <a16:creationId xmlns:a16="http://schemas.microsoft.com/office/drawing/2014/main" id="{126AFA04-9BF2-41A0-AED3-5592A03BC3A6}"/>
                  </a:ext>
                </a:extLst>
              </p:cNvPr>
              <p:cNvSpPr>
                <a:spLocks/>
              </p:cNvSpPr>
              <p:nvPr/>
            </p:nvSpPr>
            <p:spPr bwMode="auto">
              <a:xfrm>
                <a:off x="7288" y="2848"/>
                <a:ext cx="33" cy="21"/>
              </a:xfrm>
              <a:custGeom>
                <a:avLst/>
                <a:gdLst>
                  <a:gd name="T0" fmla="*/ 4 w 14"/>
                  <a:gd name="T1" fmla="*/ 0 h 9"/>
                  <a:gd name="T2" fmla="*/ 3 w 14"/>
                  <a:gd name="T3" fmla="*/ 1 h 9"/>
                  <a:gd name="T4" fmla="*/ 4 w 14"/>
                  <a:gd name="T5" fmla="*/ 1 h 9"/>
                  <a:gd name="T6" fmla="*/ 3 w 14"/>
                  <a:gd name="T7" fmla="*/ 1 h 9"/>
                  <a:gd name="T8" fmla="*/ 3 w 14"/>
                  <a:gd name="T9" fmla="*/ 1 h 9"/>
                  <a:gd name="T10" fmla="*/ 0 w 14"/>
                  <a:gd name="T11" fmla="*/ 0 h 9"/>
                  <a:gd name="T12" fmla="*/ 9 w 14"/>
                  <a:gd name="T13" fmla="*/ 7 h 9"/>
                  <a:gd name="T14" fmla="*/ 12 w 14"/>
                  <a:gd name="T15" fmla="*/ 9 h 9"/>
                  <a:gd name="T16" fmla="*/ 12 w 14"/>
                  <a:gd name="T17" fmla="*/ 8 h 9"/>
                  <a:gd name="T18" fmla="*/ 11 w 14"/>
                  <a:gd name="T19" fmla="*/ 7 h 9"/>
                  <a:gd name="T20" fmla="*/ 8 w 14"/>
                  <a:gd name="T21" fmla="*/ 5 h 9"/>
                  <a:gd name="T22" fmla="*/ 5 w 14"/>
                  <a:gd name="T23" fmla="*/ 1 h 9"/>
                  <a:gd name="T24" fmla="*/ 6 w 14"/>
                  <a:gd name="T25" fmla="*/ 2 h 9"/>
                  <a:gd name="T26" fmla="*/ 12 w 14"/>
                  <a:gd name="T27" fmla="*/ 6 h 9"/>
                  <a:gd name="T28" fmla="*/ 11 w 14"/>
                  <a:gd name="T29" fmla="*/ 3 h 9"/>
                  <a:gd name="T30" fmla="*/ 12 w 14"/>
                  <a:gd name="T31" fmla="*/ 3 h 9"/>
                  <a:gd name="T32" fmla="*/ 14 w 14"/>
                  <a:gd name="T33" fmla="*/ 2 h 9"/>
                  <a:gd name="T34" fmla="*/ 4 w 1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9">
                    <a:moveTo>
                      <a:pt x="4" y="0"/>
                    </a:moveTo>
                    <a:cubicBezTo>
                      <a:pt x="3" y="0"/>
                      <a:pt x="3" y="0"/>
                      <a:pt x="3" y="1"/>
                    </a:cubicBezTo>
                    <a:cubicBezTo>
                      <a:pt x="3" y="1"/>
                      <a:pt x="4" y="1"/>
                      <a:pt x="4" y="1"/>
                    </a:cubicBezTo>
                    <a:cubicBezTo>
                      <a:pt x="4" y="1"/>
                      <a:pt x="4" y="1"/>
                      <a:pt x="3" y="1"/>
                    </a:cubicBezTo>
                    <a:cubicBezTo>
                      <a:pt x="3" y="1"/>
                      <a:pt x="3" y="1"/>
                      <a:pt x="3" y="1"/>
                    </a:cubicBezTo>
                    <a:cubicBezTo>
                      <a:pt x="2" y="1"/>
                      <a:pt x="1" y="0"/>
                      <a:pt x="0" y="0"/>
                    </a:cubicBezTo>
                    <a:cubicBezTo>
                      <a:pt x="2" y="3"/>
                      <a:pt x="6" y="5"/>
                      <a:pt x="9" y="7"/>
                    </a:cubicBezTo>
                    <a:cubicBezTo>
                      <a:pt x="9" y="8"/>
                      <a:pt x="11" y="9"/>
                      <a:pt x="12" y="9"/>
                    </a:cubicBezTo>
                    <a:cubicBezTo>
                      <a:pt x="12" y="9"/>
                      <a:pt x="12" y="9"/>
                      <a:pt x="12" y="8"/>
                    </a:cubicBezTo>
                    <a:cubicBezTo>
                      <a:pt x="12" y="7"/>
                      <a:pt x="11" y="7"/>
                      <a:pt x="11" y="7"/>
                    </a:cubicBezTo>
                    <a:cubicBezTo>
                      <a:pt x="10" y="6"/>
                      <a:pt x="9" y="6"/>
                      <a:pt x="8" y="5"/>
                    </a:cubicBezTo>
                    <a:cubicBezTo>
                      <a:pt x="7" y="4"/>
                      <a:pt x="6" y="2"/>
                      <a:pt x="5" y="1"/>
                    </a:cubicBezTo>
                    <a:cubicBezTo>
                      <a:pt x="5" y="1"/>
                      <a:pt x="6" y="1"/>
                      <a:pt x="6" y="2"/>
                    </a:cubicBezTo>
                    <a:cubicBezTo>
                      <a:pt x="8" y="4"/>
                      <a:pt x="9" y="5"/>
                      <a:pt x="12" y="6"/>
                    </a:cubicBezTo>
                    <a:cubicBezTo>
                      <a:pt x="12" y="5"/>
                      <a:pt x="11" y="4"/>
                      <a:pt x="11" y="3"/>
                    </a:cubicBezTo>
                    <a:cubicBezTo>
                      <a:pt x="12" y="3"/>
                      <a:pt x="12" y="3"/>
                      <a:pt x="12" y="3"/>
                    </a:cubicBezTo>
                    <a:cubicBezTo>
                      <a:pt x="12" y="3"/>
                      <a:pt x="13" y="2"/>
                      <a:pt x="14" y="2"/>
                    </a:cubicBezTo>
                    <a:cubicBezTo>
                      <a:pt x="11" y="0"/>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4" name="Freeform 233">
                <a:extLst>
                  <a:ext uri="{FF2B5EF4-FFF2-40B4-BE49-F238E27FC236}">
                    <a16:creationId xmlns:a16="http://schemas.microsoft.com/office/drawing/2014/main" id="{C375D568-0DAC-4777-B74E-BE0F4AF9FEA7}"/>
                  </a:ext>
                </a:extLst>
              </p:cNvPr>
              <p:cNvSpPr>
                <a:spLocks/>
              </p:cNvSpPr>
              <p:nvPr/>
            </p:nvSpPr>
            <p:spPr bwMode="auto">
              <a:xfrm>
                <a:off x="7323" y="2836"/>
                <a:ext cx="2" cy="7"/>
              </a:xfrm>
              <a:custGeom>
                <a:avLst/>
                <a:gdLst>
                  <a:gd name="T0" fmla="*/ 1 w 1"/>
                  <a:gd name="T1" fmla="*/ 0 h 3"/>
                  <a:gd name="T2" fmla="*/ 0 w 1"/>
                  <a:gd name="T3" fmla="*/ 0 h 3"/>
                  <a:gd name="T4" fmla="*/ 1 w 1"/>
                  <a:gd name="T5" fmla="*/ 3 h 3"/>
                  <a:gd name="T6" fmla="*/ 1 w 1"/>
                  <a:gd name="T7" fmla="*/ 0 h 3"/>
                </a:gdLst>
                <a:ahLst/>
                <a:cxnLst>
                  <a:cxn ang="0">
                    <a:pos x="T0" y="T1"/>
                  </a:cxn>
                  <a:cxn ang="0">
                    <a:pos x="T2" y="T3"/>
                  </a:cxn>
                  <a:cxn ang="0">
                    <a:pos x="T4" y="T5"/>
                  </a:cxn>
                  <a:cxn ang="0">
                    <a:pos x="T6" y="T7"/>
                  </a:cxn>
                </a:cxnLst>
                <a:rect l="0" t="0" r="r" b="b"/>
                <a:pathLst>
                  <a:path w="1" h="3">
                    <a:moveTo>
                      <a:pt x="1" y="0"/>
                    </a:moveTo>
                    <a:cubicBezTo>
                      <a:pt x="0" y="0"/>
                      <a:pt x="0" y="0"/>
                      <a:pt x="0" y="0"/>
                    </a:cubicBez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5" name="Freeform 234">
                <a:extLst>
                  <a:ext uri="{FF2B5EF4-FFF2-40B4-BE49-F238E27FC236}">
                    <a16:creationId xmlns:a16="http://schemas.microsoft.com/office/drawing/2014/main" id="{7F95993B-0B13-4364-920E-F672C68AE04B}"/>
                  </a:ext>
                </a:extLst>
              </p:cNvPr>
              <p:cNvSpPr>
                <a:spLocks/>
              </p:cNvSpPr>
              <p:nvPr/>
            </p:nvSpPr>
            <p:spPr bwMode="auto">
              <a:xfrm>
                <a:off x="7919" y="2155"/>
                <a:ext cx="87" cy="156"/>
              </a:xfrm>
              <a:custGeom>
                <a:avLst/>
                <a:gdLst>
                  <a:gd name="T0" fmla="*/ 30 w 37"/>
                  <a:gd name="T1" fmla="*/ 0 h 66"/>
                  <a:gd name="T2" fmla="*/ 32 w 37"/>
                  <a:gd name="T3" fmla="*/ 3 h 66"/>
                  <a:gd name="T4" fmla="*/ 27 w 37"/>
                  <a:gd name="T5" fmla="*/ 8 h 66"/>
                  <a:gd name="T6" fmla="*/ 21 w 37"/>
                  <a:gd name="T7" fmla="*/ 3 h 66"/>
                  <a:gd name="T8" fmla="*/ 22 w 37"/>
                  <a:gd name="T9" fmla="*/ 2 h 66"/>
                  <a:gd name="T10" fmla="*/ 18 w 37"/>
                  <a:gd name="T11" fmla="*/ 4 h 66"/>
                  <a:gd name="T12" fmla="*/ 16 w 37"/>
                  <a:gd name="T13" fmla="*/ 8 h 66"/>
                  <a:gd name="T14" fmla="*/ 12 w 37"/>
                  <a:gd name="T15" fmla="*/ 12 h 66"/>
                  <a:gd name="T16" fmla="*/ 2 w 37"/>
                  <a:gd name="T17" fmla="*/ 30 h 66"/>
                  <a:gd name="T18" fmla="*/ 1 w 37"/>
                  <a:gd name="T19" fmla="*/ 41 h 66"/>
                  <a:gd name="T20" fmla="*/ 4 w 37"/>
                  <a:gd name="T21" fmla="*/ 50 h 66"/>
                  <a:gd name="T22" fmla="*/ 9 w 37"/>
                  <a:gd name="T23" fmla="*/ 58 h 66"/>
                  <a:gd name="T24" fmla="*/ 15 w 37"/>
                  <a:gd name="T25" fmla="*/ 66 h 66"/>
                  <a:gd name="T26" fmla="*/ 19 w 37"/>
                  <a:gd name="T27" fmla="*/ 52 h 66"/>
                  <a:gd name="T28" fmla="*/ 27 w 37"/>
                  <a:gd name="T29" fmla="*/ 35 h 66"/>
                  <a:gd name="T30" fmla="*/ 32 w 37"/>
                  <a:gd name="T31" fmla="*/ 18 h 66"/>
                  <a:gd name="T32" fmla="*/ 34 w 37"/>
                  <a:gd name="T33" fmla="*/ 10 h 66"/>
                  <a:gd name="T34" fmla="*/ 37 w 37"/>
                  <a:gd name="T35" fmla="*/ 3 h 66"/>
                  <a:gd name="T36" fmla="*/ 30 w 37"/>
                  <a:gd name="T3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66">
                    <a:moveTo>
                      <a:pt x="30" y="0"/>
                    </a:moveTo>
                    <a:cubicBezTo>
                      <a:pt x="31" y="1"/>
                      <a:pt x="32" y="2"/>
                      <a:pt x="32" y="3"/>
                    </a:cubicBezTo>
                    <a:cubicBezTo>
                      <a:pt x="32" y="6"/>
                      <a:pt x="29" y="8"/>
                      <a:pt x="27" y="8"/>
                    </a:cubicBezTo>
                    <a:cubicBezTo>
                      <a:pt x="24" y="8"/>
                      <a:pt x="21" y="6"/>
                      <a:pt x="21" y="3"/>
                    </a:cubicBezTo>
                    <a:cubicBezTo>
                      <a:pt x="21" y="3"/>
                      <a:pt x="22" y="2"/>
                      <a:pt x="22" y="2"/>
                    </a:cubicBezTo>
                    <a:cubicBezTo>
                      <a:pt x="20" y="3"/>
                      <a:pt x="19" y="4"/>
                      <a:pt x="18" y="4"/>
                    </a:cubicBezTo>
                    <a:cubicBezTo>
                      <a:pt x="17" y="5"/>
                      <a:pt x="16" y="7"/>
                      <a:pt x="16" y="8"/>
                    </a:cubicBezTo>
                    <a:cubicBezTo>
                      <a:pt x="15" y="10"/>
                      <a:pt x="13" y="11"/>
                      <a:pt x="12" y="12"/>
                    </a:cubicBezTo>
                    <a:cubicBezTo>
                      <a:pt x="8" y="17"/>
                      <a:pt x="4" y="24"/>
                      <a:pt x="2" y="30"/>
                    </a:cubicBezTo>
                    <a:cubicBezTo>
                      <a:pt x="1" y="34"/>
                      <a:pt x="1" y="37"/>
                      <a:pt x="1" y="41"/>
                    </a:cubicBezTo>
                    <a:cubicBezTo>
                      <a:pt x="0" y="43"/>
                      <a:pt x="2" y="47"/>
                      <a:pt x="4" y="50"/>
                    </a:cubicBezTo>
                    <a:cubicBezTo>
                      <a:pt x="5" y="53"/>
                      <a:pt x="7" y="55"/>
                      <a:pt x="9" y="58"/>
                    </a:cubicBezTo>
                    <a:cubicBezTo>
                      <a:pt x="11" y="61"/>
                      <a:pt x="11" y="65"/>
                      <a:pt x="15" y="66"/>
                    </a:cubicBezTo>
                    <a:cubicBezTo>
                      <a:pt x="16" y="60"/>
                      <a:pt x="17" y="57"/>
                      <a:pt x="19" y="52"/>
                    </a:cubicBezTo>
                    <a:cubicBezTo>
                      <a:pt x="22" y="46"/>
                      <a:pt x="25" y="41"/>
                      <a:pt x="27" y="35"/>
                    </a:cubicBezTo>
                    <a:cubicBezTo>
                      <a:pt x="29" y="30"/>
                      <a:pt x="31" y="24"/>
                      <a:pt x="32" y="18"/>
                    </a:cubicBezTo>
                    <a:cubicBezTo>
                      <a:pt x="33" y="15"/>
                      <a:pt x="34" y="13"/>
                      <a:pt x="34" y="10"/>
                    </a:cubicBezTo>
                    <a:cubicBezTo>
                      <a:pt x="35" y="8"/>
                      <a:pt x="35" y="4"/>
                      <a:pt x="37" y="3"/>
                    </a:cubicBezTo>
                    <a:cubicBezTo>
                      <a:pt x="35" y="2"/>
                      <a:pt x="33"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6" name="Rectangle 235">
                <a:extLst>
                  <a:ext uri="{FF2B5EF4-FFF2-40B4-BE49-F238E27FC236}">
                    <a16:creationId xmlns:a16="http://schemas.microsoft.com/office/drawing/2014/main" id="{07E75793-E3C2-4AC2-BEC0-3EFCD50D962F}"/>
                  </a:ext>
                </a:extLst>
              </p:cNvPr>
              <p:cNvSpPr>
                <a:spLocks noChangeArrowheads="1"/>
              </p:cNvSpPr>
              <p:nvPr/>
            </p:nvSpPr>
            <p:spPr bwMode="auto">
              <a:xfrm>
                <a:off x="7982" y="215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7" name="Freeform 236">
                <a:extLst>
                  <a:ext uri="{FF2B5EF4-FFF2-40B4-BE49-F238E27FC236}">
                    <a16:creationId xmlns:a16="http://schemas.microsoft.com/office/drawing/2014/main" id="{7E8BC7E1-AAA3-4FA5-9DD9-8C574DDAB381}"/>
                  </a:ext>
                </a:extLst>
              </p:cNvPr>
              <p:cNvSpPr>
                <a:spLocks/>
              </p:cNvSpPr>
              <p:nvPr/>
            </p:nvSpPr>
            <p:spPr bwMode="auto">
              <a:xfrm>
                <a:off x="7982" y="215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8" name="Freeform 237">
                <a:extLst>
                  <a:ext uri="{FF2B5EF4-FFF2-40B4-BE49-F238E27FC236}">
                    <a16:creationId xmlns:a16="http://schemas.microsoft.com/office/drawing/2014/main" id="{C87C3A99-BD6A-4BFA-8369-29CE9C05A615}"/>
                  </a:ext>
                </a:extLst>
              </p:cNvPr>
              <p:cNvSpPr>
                <a:spLocks/>
              </p:cNvSpPr>
              <p:nvPr/>
            </p:nvSpPr>
            <p:spPr bwMode="auto">
              <a:xfrm>
                <a:off x="7838" y="2186"/>
                <a:ext cx="10" cy="7"/>
              </a:xfrm>
              <a:custGeom>
                <a:avLst/>
                <a:gdLst>
                  <a:gd name="T0" fmla="*/ 3 w 4"/>
                  <a:gd name="T1" fmla="*/ 0 h 3"/>
                  <a:gd name="T2" fmla="*/ 1 w 4"/>
                  <a:gd name="T3" fmla="*/ 3 h 3"/>
                  <a:gd name="T4" fmla="*/ 2 w 4"/>
                  <a:gd name="T5" fmla="*/ 3 h 3"/>
                  <a:gd name="T6" fmla="*/ 3 w 4"/>
                  <a:gd name="T7" fmla="*/ 0 h 3"/>
                </a:gdLst>
                <a:ahLst/>
                <a:cxnLst>
                  <a:cxn ang="0">
                    <a:pos x="T0" y="T1"/>
                  </a:cxn>
                  <a:cxn ang="0">
                    <a:pos x="T2" y="T3"/>
                  </a:cxn>
                  <a:cxn ang="0">
                    <a:pos x="T4" y="T5"/>
                  </a:cxn>
                  <a:cxn ang="0">
                    <a:pos x="T6" y="T7"/>
                  </a:cxn>
                </a:cxnLst>
                <a:rect l="0" t="0" r="r" b="b"/>
                <a:pathLst>
                  <a:path w="4" h="3">
                    <a:moveTo>
                      <a:pt x="3" y="0"/>
                    </a:moveTo>
                    <a:cubicBezTo>
                      <a:pt x="2" y="1"/>
                      <a:pt x="0" y="1"/>
                      <a:pt x="1" y="3"/>
                    </a:cubicBezTo>
                    <a:cubicBezTo>
                      <a:pt x="1" y="3"/>
                      <a:pt x="2" y="3"/>
                      <a:pt x="2" y="3"/>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9" name="Freeform 238">
                <a:extLst>
                  <a:ext uri="{FF2B5EF4-FFF2-40B4-BE49-F238E27FC236}">
                    <a16:creationId xmlns:a16="http://schemas.microsoft.com/office/drawing/2014/main" id="{B31ADE8E-FBDF-4752-A450-9CB45091DA06}"/>
                  </a:ext>
                </a:extLst>
              </p:cNvPr>
              <p:cNvSpPr>
                <a:spLocks/>
              </p:cNvSpPr>
              <p:nvPr/>
            </p:nvSpPr>
            <p:spPr bwMode="auto">
              <a:xfrm>
                <a:off x="7895" y="2233"/>
                <a:ext cx="7" cy="0"/>
              </a:xfrm>
              <a:custGeom>
                <a:avLst/>
                <a:gdLst>
                  <a:gd name="T0" fmla="*/ 2 w 3"/>
                  <a:gd name="T1" fmla="*/ 0 w 3"/>
                  <a:gd name="T2" fmla="*/ 3 w 3"/>
                  <a:gd name="T3" fmla="*/ 2 w 3"/>
                </a:gdLst>
                <a:ahLst/>
                <a:cxnLst>
                  <a:cxn ang="0">
                    <a:pos x="T0" y="0"/>
                  </a:cxn>
                  <a:cxn ang="0">
                    <a:pos x="T1" y="0"/>
                  </a:cxn>
                  <a:cxn ang="0">
                    <a:pos x="T2" y="0"/>
                  </a:cxn>
                  <a:cxn ang="0">
                    <a:pos x="T3" y="0"/>
                  </a:cxn>
                </a:cxnLst>
                <a:rect l="0" t="0" r="r" b="b"/>
                <a:pathLst>
                  <a:path w="3">
                    <a:moveTo>
                      <a:pt x="2" y="0"/>
                    </a:moveTo>
                    <a:cubicBezTo>
                      <a:pt x="1" y="0"/>
                      <a:pt x="1" y="0"/>
                      <a:pt x="0" y="0"/>
                    </a:cubicBezTo>
                    <a:cubicBezTo>
                      <a:pt x="1" y="0"/>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0" name="Freeform 239">
                <a:extLst>
                  <a:ext uri="{FF2B5EF4-FFF2-40B4-BE49-F238E27FC236}">
                    <a16:creationId xmlns:a16="http://schemas.microsoft.com/office/drawing/2014/main" id="{7082C523-7385-426D-BAAF-FCB63ED96DF4}"/>
                  </a:ext>
                </a:extLst>
              </p:cNvPr>
              <p:cNvSpPr>
                <a:spLocks/>
              </p:cNvSpPr>
              <p:nvPr/>
            </p:nvSpPr>
            <p:spPr bwMode="auto">
              <a:xfrm>
                <a:off x="8202" y="1524"/>
                <a:ext cx="7" cy="12"/>
              </a:xfrm>
              <a:custGeom>
                <a:avLst/>
                <a:gdLst>
                  <a:gd name="T0" fmla="*/ 2 w 3"/>
                  <a:gd name="T1" fmla="*/ 0 h 5"/>
                  <a:gd name="T2" fmla="*/ 2 w 3"/>
                  <a:gd name="T3" fmla="*/ 5 h 5"/>
                  <a:gd name="T4" fmla="*/ 3 w 3"/>
                  <a:gd name="T5" fmla="*/ 5 h 5"/>
                  <a:gd name="T6" fmla="*/ 2 w 3"/>
                  <a:gd name="T7" fmla="*/ 0 h 5"/>
                </a:gdLst>
                <a:ahLst/>
                <a:cxnLst>
                  <a:cxn ang="0">
                    <a:pos x="T0" y="T1"/>
                  </a:cxn>
                  <a:cxn ang="0">
                    <a:pos x="T2" y="T3"/>
                  </a:cxn>
                  <a:cxn ang="0">
                    <a:pos x="T4" y="T5"/>
                  </a:cxn>
                  <a:cxn ang="0">
                    <a:pos x="T6" y="T7"/>
                  </a:cxn>
                </a:cxnLst>
                <a:rect l="0" t="0" r="r" b="b"/>
                <a:pathLst>
                  <a:path w="3" h="5">
                    <a:moveTo>
                      <a:pt x="2" y="0"/>
                    </a:moveTo>
                    <a:cubicBezTo>
                      <a:pt x="0" y="2"/>
                      <a:pt x="0" y="5"/>
                      <a:pt x="2" y="5"/>
                    </a:cubicBezTo>
                    <a:cubicBezTo>
                      <a:pt x="2" y="5"/>
                      <a:pt x="3" y="5"/>
                      <a:pt x="3" y="5"/>
                    </a:cubicBezTo>
                    <a:cubicBezTo>
                      <a:pt x="3"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1" name="Freeform 240">
                <a:extLst>
                  <a:ext uri="{FF2B5EF4-FFF2-40B4-BE49-F238E27FC236}">
                    <a16:creationId xmlns:a16="http://schemas.microsoft.com/office/drawing/2014/main" id="{E3D0F25B-6F8E-4A55-92F3-F8A9265D76AB}"/>
                  </a:ext>
                </a:extLst>
              </p:cNvPr>
              <p:cNvSpPr>
                <a:spLocks noEditPoints="1"/>
              </p:cNvSpPr>
              <p:nvPr/>
            </p:nvSpPr>
            <p:spPr bwMode="auto">
              <a:xfrm>
                <a:off x="7403" y="2394"/>
                <a:ext cx="109" cy="90"/>
              </a:xfrm>
              <a:custGeom>
                <a:avLst/>
                <a:gdLst>
                  <a:gd name="T0" fmla="*/ 13 w 46"/>
                  <a:gd name="T1" fmla="*/ 4 h 38"/>
                  <a:gd name="T2" fmla="*/ 13 w 46"/>
                  <a:gd name="T3" fmla="*/ 5 h 38"/>
                  <a:gd name="T4" fmla="*/ 13 w 46"/>
                  <a:gd name="T5" fmla="*/ 4 h 38"/>
                  <a:gd name="T6" fmla="*/ 39 w 46"/>
                  <a:gd name="T7" fmla="*/ 0 h 38"/>
                  <a:gd name="T8" fmla="*/ 37 w 46"/>
                  <a:gd name="T9" fmla="*/ 4 h 38"/>
                  <a:gd name="T10" fmla="*/ 33 w 46"/>
                  <a:gd name="T11" fmla="*/ 2 h 38"/>
                  <a:gd name="T12" fmla="*/ 30 w 46"/>
                  <a:gd name="T13" fmla="*/ 2 h 38"/>
                  <a:gd name="T14" fmla="*/ 29 w 46"/>
                  <a:gd name="T15" fmla="*/ 3 h 38"/>
                  <a:gd name="T16" fmla="*/ 26 w 46"/>
                  <a:gd name="T17" fmla="*/ 4 h 38"/>
                  <a:gd name="T18" fmla="*/ 24 w 46"/>
                  <a:gd name="T19" fmla="*/ 3 h 38"/>
                  <a:gd name="T20" fmla="*/ 23 w 46"/>
                  <a:gd name="T21" fmla="*/ 3 h 38"/>
                  <a:gd name="T22" fmla="*/ 22 w 46"/>
                  <a:gd name="T23" fmla="*/ 3 h 38"/>
                  <a:gd name="T24" fmla="*/ 22 w 46"/>
                  <a:gd name="T25" fmla="*/ 3 h 38"/>
                  <a:gd name="T26" fmla="*/ 21 w 46"/>
                  <a:gd name="T27" fmla="*/ 3 h 38"/>
                  <a:gd name="T28" fmla="*/ 21 w 46"/>
                  <a:gd name="T29" fmla="*/ 3 h 38"/>
                  <a:gd name="T30" fmla="*/ 18 w 46"/>
                  <a:gd name="T31" fmla="*/ 4 h 38"/>
                  <a:gd name="T32" fmla="*/ 16 w 46"/>
                  <a:gd name="T33" fmla="*/ 5 h 38"/>
                  <a:gd name="T34" fmla="*/ 16 w 46"/>
                  <a:gd name="T35" fmla="*/ 5 h 38"/>
                  <a:gd name="T36" fmla="*/ 15 w 46"/>
                  <a:gd name="T37" fmla="*/ 5 h 38"/>
                  <a:gd name="T38" fmla="*/ 14 w 46"/>
                  <a:gd name="T39" fmla="*/ 5 h 38"/>
                  <a:gd name="T40" fmla="*/ 13 w 46"/>
                  <a:gd name="T41" fmla="*/ 5 h 38"/>
                  <a:gd name="T42" fmla="*/ 13 w 46"/>
                  <a:gd name="T43" fmla="*/ 8 h 38"/>
                  <a:gd name="T44" fmla="*/ 6 w 46"/>
                  <a:gd name="T45" fmla="*/ 13 h 38"/>
                  <a:gd name="T46" fmla="*/ 0 w 46"/>
                  <a:gd name="T47" fmla="*/ 19 h 38"/>
                  <a:gd name="T48" fmla="*/ 0 w 46"/>
                  <a:gd name="T49" fmla="*/ 22 h 38"/>
                  <a:gd name="T50" fmla="*/ 1 w 46"/>
                  <a:gd name="T51" fmla="*/ 30 h 38"/>
                  <a:gd name="T52" fmla="*/ 1 w 46"/>
                  <a:gd name="T53" fmla="*/ 32 h 38"/>
                  <a:gd name="T54" fmla="*/ 14 w 46"/>
                  <a:gd name="T55" fmla="*/ 37 h 38"/>
                  <a:gd name="T56" fmla="*/ 18 w 46"/>
                  <a:gd name="T57" fmla="*/ 38 h 38"/>
                  <a:gd name="T58" fmla="*/ 20 w 46"/>
                  <a:gd name="T59" fmla="*/ 38 h 38"/>
                  <a:gd name="T60" fmla="*/ 22 w 46"/>
                  <a:gd name="T61" fmla="*/ 35 h 38"/>
                  <a:gd name="T62" fmla="*/ 26 w 46"/>
                  <a:gd name="T63" fmla="*/ 34 h 38"/>
                  <a:gd name="T64" fmla="*/ 29 w 46"/>
                  <a:gd name="T65" fmla="*/ 32 h 38"/>
                  <a:gd name="T66" fmla="*/ 29 w 46"/>
                  <a:gd name="T67" fmla="*/ 31 h 38"/>
                  <a:gd name="T68" fmla="*/ 33 w 46"/>
                  <a:gd name="T69" fmla="*/ 28 h 38"/>
                  <a:gd name="T70" fmla="*/ 34 w 46"/>
                  <a:gd name="T71" fmla="*/ 29 h 38"/>
                  <a:gd name="T72" fmla="*/ 35 w 46"/>
                  <a:gd name="T73" fmla="*/ 27 h 38"/>
                  <a:gd name="T74" fmla="*/ 36 w 46"/>
                  <a:gd name="T75" fmla="*/ 27 h 38"/>
                  <a:gd name="T76" fmla="*/ 38 w 46"/>
                  <a:gd name="T77" fmla="*/ 18 h 38"/>
                  <a:gd name="T78" fmla="*/ 42 w 46"/>
                  <a:gd name="T79" fmla="*/ 10 h 38"/>
                  <a:gd name="T80" fmla="*/ 43 w 46"/>
                  <a:gd name="T81" fmla="*/ 12 h 38"/>
                  <a:gd name="T82" fmla="*/ 46 w 46"/>
                  <a:gd name="T83" fmla="*/ 10 h 38"/>
                  <a:gd name="T84" fmla="*/ 46 w 46"/>
                  <a:gd name="T85" fmla="*/ 10 h 38"/>
                  <a:gd name="T86" fmla="*/ 45 w 46"/>
                  <a:gd name="T87" fmla="*/ 4 h 38"/>
                  <a:gd name="T88" fmla="*/ 39 w 46"/>
                  <a:gd name="T8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38">
                    <a:moveTo>
                      <a:pt x="13" y="4"/>
                    </a:moveTo>
                    <a:cubicBezTo>
                      <a:pt x="13" y="5"/>
                      <a:pt x="13" y="5"/>
                      <a:pt x="13" y="5"/>
                    </a:cubicBezTo>
                    <a:cubicBezTo>
                      <a:pt x="13" y="5"/>
                      <a:pt x="13" y="4"/>
                      <a:pt x="13" y="4"/>
                    </a:cubicBezTo>
                    <a:moveTo>
                      <a:pt x="39" y="0"/>
                    </a:moveTo>
                    <a:cubicBezTo>
                      <a:pt x="38" y="2"/>
                      <a:pt x="38" y="4"/>
                      <a:pt x="37" y="4"/>
                    </a:cubicBezTo>
                    <a:cubicBezTo>
                      <a:pt x="37" y="4"/>
                      <a:pt x="36" y="3"/>
                      <a:pt x="33" y="2"/>
                    </a:cubicBezTo>
                    <a:cubicBezTo>
                      <a:pt x="32" y="2"/>
                      <a:pt x="31" y="2"/>
                      <a:pt x="30" y="2"/>
                    </a:cubicBezTo>
                    <a:cubicBezTo>
                      <a:pt x="29" y="2"/>
                      <a:pt x="29" y="2"/>
                      <a:pt x="29" y="3"/>
                    </a:cubicBezTo>
                    <a:cubicBezTo>
                      <a:pt x="28" y="3"/>
                      <a:pt x="27" y="4"/>
                      <a:pt x="26" y="4"/>
                    </a:cubicBezTo>
                    <a:cubicBezTo>
                      <a:pt x="25" y="4"/>
                      <a:pt x="25" y="3"/>
                      <a:pt x="24" y="3"/>
                    </a:cubicBezTo>
                    <a:cubicBezTo>
                      <a:pt x="23" y="3"/>
                      <a:pt x="23" y="3"/>
                      <a:pt x="23" y="3"/>
                    </a:cubicBezTo>
                    <a:cubicBezTo>
                      <a:pt x="23" y="3"/>
                      <a:pt x="23" y="3"/>
                      <a:pt x="22" y="3"/>
                    </a:cubicBezTo>
                    <a:cubicBezTo>
                      <a:pt x="22" y="3"/>
                      <a:pt x="22" y="3"/>
                      <a:pt x="22" y="3"/>
                    </a:cubicBezTo>
                    <a:cubicBezTo>
                      <a:pt x="21" y="3"/>
                      <a:pt x="21" y="3"/>
                      <a:pt x="21" y="3"/>
                    </a:cubicBezTo>
                    <a:cubicBezTo>
                      <a:pt x="21" y="3"/>
                      <a:pt x="21" y="3"/>
                      <a:pt x="21" y="3"/>
                    </a:cubicBezTo>
                    <a:cubicBezTo>
                      <a:pt x="20" y="3"/>
                      <a:pt x="19" y="3"/>
                      <a:pt x="18" y="4"/>
                    </a:cubicBezTo>
                    <a:cubicBezTo>
                      <a:pt x="17" y="4"/>
                      <a:pt x="18" y="5"/>
                      <a:pt x="16" y="5"/>
                    </a:cubicBezTo>
                    <a:cubicBezTo>
                      <a:pt x="16" y="5"/>
                      <a:pt x="16" y="5"/>
                      <a:pt x="16" y="5"/>
                    </a:cubicBezTo>
                    <a:cubicBezTo>
                      <a:pt x="15" y="5"/>
                      <a:pt x="15" y="5"/>
                      <a:pt x="15" y="5"/>
                    </a:cubicBezTo>
                    <a:cubicBezTo>
                      <a:pt x="14" y="5"/>
                      <a:pt x="14" y="5"/>
                      <a:pt x="14" y="5"/>
                    </a:cubicBezTo>
                    <a:cubicBezTo>
                      <a:pt x="14" y="5"/>
                      <a:pt x="13" y="5"/>
                      <a:pt x="13" y="5"/>
                    </a:cubicBezTo>
                    <a:cubicBezTo>
                      <a:pt x="13" y="5"/>
                      <a:pt x="13" y="7"/>
                      <a:pt x="13" y="8"/>
                    </a:cubicBezTo>
                    <a:cubicBezTo>
                      <a:pt x="11" y="10"/>
                      <a:pt x="8" y="11"/>
                      <a:pt x="6" y="13"/>
                    </a:cubicBezTo>
                    <a:cubicBezTo>
                      <a:pt x="3" y="15"/>
                      <a:pt x="1" y="15"/>
                      <a:pt x="0" y="19"/>
                    </a:cubicBezTo>
                    <a:cubicBezTo>
                      <a:pt x="0" y="21"/>
                      <a:pt x="0" y="21"/>
                      <a:pt x="0" y="22"/>
                    </a:cubicBezTo>
                    <a:cubicBezTo>
                      <a:pt x="1" y="25"/>
                      <a:pt x="0" y="27"/>
                      <a:pt x="1" y="30"/>
                    </a:cubicBezTo>
                    <a:cubicBezTo>
                      <a:pt x="2" y="31"/>
                      <a:pt x="1" y="31"/>
                      <a:pt x="1" y="32"/>
                    </a:cubicBezTo>
                    <a:cubicBezTo>
                      <a:pt x="3" y="35"/>
                      <a:pt x="11" y="36"/>
                      <a:pt x="14" y="37"/>
                    </a:cubicBezTo>
                    <a:cubicBezTo>
                      <a:pt x="15" y="38"/>
                      <a:pt x="17" y="38"/>
                      <a:pt x="18" y="38"/>
                    </a:cubicBezTo>
                    <a:cubicBezTo>
                      <a:pt x="19" y="38"/>
                      <a:pt x="20" y="38"/>
                      <a:pt x="20" y="38"/>
                    </a:cubicBezTo>
                    <a:cubicBezTo>
                      <a:pt x="21" y="38"/>
                      <a:pt x="22" y="36"/>
                      <a:pt x="22" y="35"/>
                    </a:cubicBezTo>
                    <a:cubicBezTo>
                      <a:pt x="22" y="34"/>
                      <a:pt x="25" y="34"/>
                      <a:pt x="26" y="34"/>
                    </a:cubicBezTo>
                    <a:cubicBezTo>
                      <a:pt x="27" y="33"/>
                      <a:pt x="28" y="32"/>
                      <a:pt x="29" y="32"/>
                    </a:cubicBezTo>
                    <a:cubicBezTo>
                      <a:pt x="29" y="31"/>
                      <a:pt x="29" y="31"/>
                      <a:pt x="29" y="31"/>
                    </a:cubicBezTo>
                    <a:cubicBezTo>
                      <a:pt x="30" y="30"/>
                      <a:pt x="32" y="28"/>
                      <a:pt x="33" y="28"/>
                    </a:cubicBezTo>
                    <a:cubicBezTo>
                      <a:pt x="34" y="28"/>
                      <a:pt x="34" y="29"/>
                      <a:pt x="34" y="29"/>
                    </a:cubicBezTo>
                    <a:cubicBezTo>
                      <a:pt x="35" y="28"/>
                      <a:pt x="35" y="28"/>
                      <a:pt x="35" y="27"/>
                    </a:cubicBezTo>
                    <a:cubicBezTo>
                      <a:pt x="36" y="27"/>
                      <a:pt x="36" y="27"/>
                      <a:pt x="36" y="27"/>
                    </a:cubicBezTo>
                    <a:cubicBezTo>
                      <a:pt x="38" y="24"/>
                      <a:pt x="37" y="21"/>
                      <a:pt x="38" y="18"/>
                    </a:cubicBezTo>
                    <a:cubicBezTo>
                      <a:pt x="39" y="15"/>
                      <a:pt x="41" y="13"/>
                      <a:pt x="42" y="10"/>
                    </a:cubicBezTo>
                    <a:cubicBezTo>
                      <a:pt x="42" y="10"/>
                      <a:pt x="43" y="11"/>
                      <a:pt x="43" y="12"/>
                    </a:cubicBezTo>
                    <a:cubicBezTo>
                      <a:pt x="44" y="11"/>
                      <a:pt x="45" y="10"/>
                      <a:pt x="46" y="10"/>
                    </a:cubicBezTo>
                    <a:cubicBezTo>
                      <a:pt x="46" y="10"/>
                      <a:pt x="46" y="10"/>
                      <a:pt x="46" y="10"/>
                    </a:cubicBezTo>
                    <a:cubicBezTo>
                      <a:pt x="46" y="8"/>
                      <a:pt x="45" y="6"/>
                      <a:pt x="45" y="4"/>
                    </a:cubicBezTo>
                    <a:cubicBezTo>
                      <a:pt x="44" y="2"/>
                      <a:pt x="40" y="2"/>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2" name="Freeform 241">
                <a:extLst>
                  <a:ext uri="{FF2B5EF4-FFF2-40B4-BE49-F238E27FC236}">
                    <a16:creationId xmlns:a16="http://schemas.microsoft.com/office/drawing/2014/main" id="{2A4E7AE5-8BC9-4B4B-85E8-3ECC02937704}"/>
                  </a:ext>
                </a:extLst>
              </p:cNvPr>
              <p:cNvSpPr>
                <a:spLocks/>
              </p:cNvSpPr>
              <p:nvPr/>
            </p:nvSpPr>
            <p:spPr bwMode="auto">
              <a:xfrm>
                <a:off x="7477" y="2352"/>
                <a:ext cx="11" cy="4"/>
              </a:xfrm>
              <a:custGeom>
                <a:avLst/>
                <a:gdLst>
                  <a:gd name="T0" fmla="*/ 4 w 5"/>
                  <a:gd name="T1" fmla="*/ 0 h 2"/>
                  <a:gd name="T2" fmla="*/ 0 w 5"/>
                  <a:gd name="T3" fmla="*/ 2 h 2"/>
                  <a:gd name="T4" fmla="*/ 2 w 5"/>
                  <a:gd name="T5" fmla="*/ 1 h 2"/>
                  <a:gd name="T6" fmla="*/ 2 w 5"/>
                  <a:gd name="T7" fmla="*/ 1 h 2"/>
                  <a:gd name="T8" fmla="*/ 5 w 5"/>
                  <a:gd name="T9" fmla="*/ 2 h 2"/>
                  <a:gd name="T10" fmla="*/ 4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4" y="0"/>
                    </a:moveTo>
                    <a:cubicBezTo>
                      <a:pt x="3" y="0"/>
                      <a:pt x="1" y="1"/>
                      <a:pt x="0" y="2"/>
                    </a:cubicBezTo>
                    <a:cubicBezTo>
                      <a:pt x="1" y="2"/>
                      <a:pt x="1" y="1"/>
                      <a:pt x="2" y="1"/>
                    </a:cubicBezTo>
                    <a:cubicBezTo>
                      <a:pt x="2" y="1"/>
                      <a:pt x="2" y="1"/>
                      <a:pt x="2" y="1"/>
                    </a:cubicBezTo>
                    <a:cubicBezTo>
                      <a:pt x="3" y="1"/>
                      <a:pt x="4" y="2"/>
                      <a:pt x="5"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3" name="Freeform 242">
                <a:extLst>
                  <a:ext uri="{FF2B5EF4-FFF2-40B4-BE49-F238E27FC236}">
                    <a16:creationId xmlns:a16="http://schemas.microsoft.com/office/drawing/2014/main" id="{010BD9BE-E07E-49B2-A0A7-6CBDFFCA01F2}"/>
                  </a:ext>
                </a:extLst>
              </p:cNvPr>
              <p:cNvSpPr>
                <a:spLocks/>
              </p:cNvSpPr>
              <p:nvPr/>
            </p:nvSpPr>
            <p:spPr bwMode="auto">
              <a:xfrm>
                <a:off x="7831" y="2186"/>
                <a:ext cx="5" cy="5"/>
              </a:xfrm>
              <a:custGeom>
                <a:avLst/>
                <a:gdLst>
                  <a:gd name="T0" fmla="*/ 0 w 2"/>
                  <a:gd name="T1" fmla="*/ 0 h 2"/>
                  <a:gd name="T2" fmla="*/ 1 w 2"/>
                  <a:gd name="T3" fmla="*/ 2 h 2"/>
                  <a:gd name="T4" fmla="*/ 0 w 2"/>
                  <a:gd name="T5" fmla="*/ 0 h 2"/>
                </a:gdLst>
                <a:ahLst/>
                <a:cxnLst>
                  <a:cxn ang="0">
                    <a:pos x="T0" y="T1"/>
                  </a:cxn>
                  <a:cxn ang="0">
                    <a:pos x="T2" y="T3"/>
                  </a:cxn>
                  <a:cxn ang="0">
                    <a:pos x="T4" y="T5"/>
                  </a:cxn>
                </a:cxnLst>
                <a:rect l="0" t="0" r="r" b="b"/>
                <a:pathLst>
                  <a:path w="2" h="2">
                    <a:moveTo>
                      <a:pt x="0" y="0"/>
                    </a:moveTo>
                    <a:cubicBezTo>
                      <a:pt x="0" y="1"/>
                      <a:pt x="0" y="2"/>
                      <a:pt x="1" y="2"/>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4" name="Freeform 243">
                <a:extLst>
                  <a:ext uri="{FF2B5EF4-FFF2-40B4-BE49-F238E27FC236}">
                    <a16:creationId xmlns:a16="http://schemas.microsoft.com/office/drawing/2014/main" id="{2E3ED3C1-0DC2-48A0-AA1A-2BE0D1C03F04}"/>
                  </a:ext>
                </a:extLst>
              </p:cNvPr>
              <p:cNvSpPr>
                <a:spLocks/>
              </p:cNvSpPr>
              <p:nvPr/>
            </p:nvSpPr>
            <p:spPr bwMode="auto">
              <a:xfrm>
                <a:off x="7902" y="2132"/>
                <a:ext cx="7" cy="11"/>
              </a:xfrm>
              <a:custGeom>
                <a:avLst/>
                <a:gdLst>
                  <a:gd name="T0" fmla="*/ 2 w 3"/>
                  <a:gd name="T1" fmla="*/ 0 h 5"/>
                  <a:gd name="T2" fmla="*/ 0 w 3"/>
                  <a:gd name="T3" fmla="*/ 5 h 5"/>
                  <a:gd name="T4" fmla="*/ 3 w 3"/>
                  <a:gd name="T5" fmla="*/ 4 h 5"/>
                  <a:gd name="T6" fmla="*/ 3 w 3"/>
                  <a:gd name="T7" fmla="*/ 4 h 5"/>
                  <a:gd name="T8" fmla="*/ 3 w 3"/>
                  <a:gd name="T9" fmla="*/ 2 h 5"/>
                  <a:gd name="T10" fmla="*/ 3 w 3"/>
                  <a:gd name="T11" fmla="*/ 2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1" y="2"/>
                      <a:pt x="1" y="3"/>
                      <a:pt x="0" y="5"/>
                    </a:cubicBezTo>
                    <a:cubicBezTo>
                      <a:pt x="1" y="4"/>
                      <a:pt x="2" y="4"/>
                      <a:pt x="3" y="4"/>
                    </a:cubicBezTo>
                    <a:cubicBezTo>
                      <a:pt x="3" y="4"/>
                      <a:pt x="3" y="4"/>
                      <a:pt x="3" y="4"/>
                    </a:cubicBezTo>
                    <a:cubicBezTo>
                      <a:pt x="2" y="3"/>
                      <a:pt x="3" y="2"/>
                      <a:pt x="3" y="2"/>
                    </a:cubicBezTo>
                    <a:cubicBezTo>
                      <a:pt x="3" y="2"/>
                      <a:pt x="3" y="2"/>
                      <a:pt x="3" y="2"/>
                    </a:cubicBezTo>
                    <a:cubicBezTo>
                      <a:pt x="3"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5" name="Freeform 244">
                <a:extLst>
                  <a:ext uri="{FF2B5EF4-FFF2-40B4-BE49-F238E27FC236}">
                    <a16:creationId xmlns:a16="http://schemas.microsoft.com/office/drawing/2014/main" id="{185757F2-9684-4D23-91CC-65C88BC70FF5}"/>
                  </a:ext>
                </a:extLst>
              </p:cNvPr>
              <p:cNvSpPr>
                <a:spLocks/>
              </p:cNvSpPr>
              <p:nvPr/>
            </p:nvSpPr>
            <p:spPr bwMode="auto">
              <a:xfrm>
                <a:off x="7484" y="2344"/>
                <a:ext cx="7" cy="3"/>
              </a:xfrm>
              <a:custGeom>
                <a:avLst/>
                <a:gdLst>
                  <a:gd name="T0" fmla="*/ 3 w 3"/>
                  <a:gd name="T1" fmla="*/ 0 h 1"/>
                  <a:gd name="T2" fmla="*/ 0 w 3"/>
                  <a:gd name="T3" fmla="*/ 0 h 1"/>
                  <a:gd name="T4" fmla="*/ 3 w 3"/>
                  <a:gd name="T5" fmla="*/ 1 h 1"/>
                  <a:gd name="T6" fmla="*/ 3 w 3"/>
                  <a:gd name="T7" fmla="*/ 0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cubicBezTo>
                      <a:pt x="2" y="0"/>
                      <a:pt x="1" y="0"/>
                      <a:pt x="0" y="0"/>
                    </a:cubicBezTo>
                    <a:cubicBezTo>
                      <a:pt x="1" y="1"/>
                      <a:pt x="2" y="1"/>
                      <a:pt x="3" y="1"/>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6" name="Freeform 245">
                <a:extLst>
                  <a:ext uri="{FF2B5EF4-FFF2-40B4-BE49-F238E27FC236}">
                    <a16:creationId xmlns:a16="http://schemas.microsoft.com/office/drawing/2014/main" id="{FF9743A5-A599-464D-9BC0-FA45773E67F1}"/>
                  </a:ext>
                </a:extLst>
              </p:cNvPr>
              <p:cNvSpPr>
                <a:spLocks/>
              </p:cNvSpPr>
              <p:nvPr/>
            </p:nvSpPr>
            <p:spPr bwMode="auto">
              <a:xfrm>
                <a:off x="6938" y="2945"/>
                <a:ext cx="7" cy="17"/>
              </a:xfrm>
              <a:custGeom>
                <a:avLst/>
                <a:gdLst>
                  <a:gd name="T0" fmla="*/ 1 w 3"/>
                  <a:gd name="T1" fmla="*/ 0 h 7"/>
                  <a:gd name="T2" fmla="*/ 0 w 3"/>
                  <a:gd name="T3" fmla="*/ 5 h 7"/>
                  <a:gd name="T4" fmla="*/ 0 w 3"/>
                  <a:gd name="T5" fmla="*/ 7 h 7"/>
                  <a:gd name="T6" fmla="*/ 1 w 3"/>
                  <a:gd name="T7" fmla="*/ 7 h 7"/>
                  <a:gd name="T8" fmla="*/ 3 w 3"/>
                  <a:gd name="T9" fmla="*/ 5 h 7"/>
                  <a:gd name="T10" fmla="*/ 1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1" y="0"/>
                    </a:moveTo>
                    <a:cubicBezTo>
                      <a:pt x="0" y="1"/>
                      <a:pt x="0" y="4"/>
                      <a:pt x="0" y="5"/>
                    </a:cubicBezTo>
                    <a:cubicBezTo>
                      <a:pt x="0" y="7"/>
                      <a:pt x="0" y="7"/>
                      <a:pt x="0" y="7"/>
                    </a:cubicBezTo>
                    <a:cubicBezTo>
                      <a:pt x="0" y="7"/>
                      <a:pt x="1" y="7"/>
                      <a:pt x="1" y="7"/>
                    </a:cubicBezTo>
                    <a:cubicBezTo>
                      <a:pt x="1" y="7"/>
                      <a:pt x="3" y="6"/>
                      <a:pt x="3" y="5"/>
                    </a:cubicBezTo>
                    <a:cubicBezTo>
                      <a:pt x="3" y="4"/>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7" name="Freeform 246">
                <a:extLst>
                  <a:ext uri="{FF2B5EF4-FFF2-40B4-BE49-F238E27FC236}">
                    <a16:creationId xmlns:a16="http://schemas.microsoft.com/office/drawing/2014/main" id="{D0800F15-32FD-475F-BB7A-D514260CE40D}"/>
                  </a:ext>
                </a:extLst>
              </p:cNvPr>
              <p:cNvSpPr>
                <a:spLocks/>
              </p:cNvSpPr>
              <p:nvPr/>
            </p:nvSpPr>
            <p:spPr bwMode="auto">
              <a:xfrm>
                <a:off x="6952" y="2945"/>
                <a:ext cx="2" cy="2"/>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1"/>
                      <a:pt x="0" y="1"/>
                    </a:cubicBezTo>
                    <a:cubicBezTo>
                      <a:pt x="0" y="1"/>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8" name="Freeform 247">
                <a:extLst>
                  <a:ext uri="{FF2B5EF4-FFF2-40B4-BE49-F238E27FC236}">
                    <a16:creationId xmlns:a16="http://schemas.microsoft.com/office/drawing/2014/main" id="{954A3261-926A-4202-941E-E62BBBFA75C5}"/>
                  </a:ext>
                </a:extLst>
              </p:cNvPr>
              <p:cNvSpPr>
                <a:spLocks/>
              </p:cNvSpPr>
              <p:nvPr/>
            </p:nvSpPr>
            <p:spPr bwMode="auto">
              <a:xfrm>
                <a:off x="7025" y="3068"/>
                <a:ext cx="7" cy="5"/>
              </a:xfrm>
              <a:custGeom>
                <a:avLst/>
                <a:gdLst>
                  <a:gd name="T0" fmla="*/ 1 w 3"/>
                  <a:gd name="T1" fmla="*/ 0 h 2"/>
                  <a:gd name="T2" fmla="*/ 0 w 3"/>
                  <a:gd name="T3" fmla="*/ 2 h 2"/>
                  <a:gd name="T4" fmla="*/ 1 w 3"/>
                  <a:gd name="T5" fmla="*/ 2 h 2"/>
                  <a:gd name="T6" fmla="*/ 2 w 3"/>
                  <a:gd name="T7" fmla="*/ 0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1" y="0"/>
                      <a:pt x="0" y="1"/>
                      <a:pt x="0" y="2"/>
                    </a:cubicBezTo>
                    <a:cubicBezTo>
                      <a:pt x="0" y="2"/>
                      <a:pt x="0" y="2"/>
                      <a:pt x="1" y="2"/>
                    </a:cubicBezTo>
                    <a:cubicBezTo>
                      <a:pt x="2" y="2"/>
                      <a:pt x="3"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9" name="Freeform 248">
                <a:extLst>
                  <a:ext uri="{FF2B5EF4-FFF2-40B4-BE49-F238E27FC236}">
                    <a16:creationId xmlns:a16="http://schemas.microsoft.com/office/drawing/2014/main" id="{8A7C3981-CC8C-4BD1-A9AA-2D3392BEF355}"/>
                  </a:ext>
                </a:extLst>
              </p:cNvPr>
              <p:cNvSpPr>
                <a:spLocks/>
              </p:cNvSpPr>
              <p:nvPr/>
            </p:nvSpPr>
            <p:spPr bwMode="auto">
              <a:xfrm>
                <a:off x="7117" y="2763"/>
                <a:ext cx="8" cy="9"/>
              </a:xfrm>
              <a:custGeom>
                <a:avLst/>
                <a:gdLst>
                  <a:gd name="T0" fmla="*/ 0 w 3"/>
                  <a:gd name="T1" fmla="*/ 0 h 4"/>
                  <a:gd name="T2" fmla="*/ 1 w 3"/>
                  <a:gd name="T3" fmla="*/ 4 h 4"/>
                  <a:gd name="T4" fmla="*/ 3 w 3"/>
                  <a:gd name="T5" fmla="*/ 3 h 4"/>
                  <a:gd name="T6" fmla="*/ 0 w 3"/>
                  <a:gd name="T7" fmla="*/ 0 h 4"/>
                </a:gdLst>
                <a:ahLst/>
                <a:cxnLst>
                  <a:cxn ang="0">
                    <a:pos x="T0" y="T1"/>
                  </a:cxn>
                  <a:cxn ang="0">
                    <a:pos x="T2" y="T3"/>
                  </a:cxn>
                  <a:cxn ang="0">
                    <a:pos x="T4" y="T5"/>
                  </a:cxn>
                  <a:cxn ang="0">
                    <a:pos x="T6" y="T7"/>
                  </a:cxn>
                </a:cxnLst>
                <a:rect l="0" t="0" r="r" b="b"/>
                <a:pathLst>
                  <a:path w="3" h="4">
                    <a:moveTo>
                      <a:pt x="0" y="0"/>
                    </a:moveTo>
                    <a:cubicBezTo>
                      <a:pt x="0" y="1"/>
                      <a:pt x="0" y="3"/>
                      <a:pt x="1" y="4"/>
                    </a:cubicBezTo>
                    <a:cubicBezTo>
                      <a:pt x="1" y="3"/>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0" name="Freeform 249">
                <a:extLst>
                  <a:ext uri="{FF2B5EF4-FFF2-40B4-BE49-F238E27FC236}">
                    <a16:creationId xmlns:a16="http://schemas.microsoft.com/office/drawing/2014/main" id="{70E5CCA0-8B35-4C44-AE5E-5E578D499CA3}"/>
                  </a:ext>
                </a:extLst>
              </p:cNvPr>
              <p:cNvSpPr>
                <a:spLocks/>
              </p:cNvSpPr>
              <p:nvPr/>
            </p:nvSpPr>
            <p:spPr bwMode="auto">
              <a:xfrm>
                <a:off x="6971" y="2969"/>
                <a:ext cx="5"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1" y="2"/>
                      <a:pt x="2" y="3"/>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1" name="Freeform 250">
                <a:extLst>
                  <a:ext uri="{FF2B5EF4-FFF2-40B4-BE49-F238E27FC236}">
                    <a16:creationId xmlns:a16="http://schemas.microsoft.com/office/drawing/2014/main" id="{CB0A3B21-9C17-47F3-8CBF-017AA2B5BB1E}"/>
                  </a:ext>
                </a:extLst>
              </p:cNvPr>
              <p:cNvSpPr>
                <a:spLocks/>
              </p:cNvSpPr>
              <p:nvPr/>
            </p:nvSpPr>
            <p:spPr bwMode="auto">
              <a:xfrm>
                <a:off x="7016" y="2872"/>
                <a:ext cx="5" cy="4"/>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cubicBezTo>
                      <a:pt x="0" y="0"/>
                      <a:pt x="0" y="0"/>
                      <a:pt x="0" y="0"/>
                    </a:cubicBezTo>
                    <a:cubicBezTo>
                      <a:pt x="0" y="0"/>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2" name="Freeform 251">
                <a:extLst>
                  <a:ext uri="{FF2B5EF4-FFF2-40B4-BE49-F238E27FC236}">
                    <a16:creationId xmlns:a16="http://schemas.microsoft.com/office/drawing/2014/main" id="{3290DF20-0202-4AAA-B87B-4DF96DE9576D}"/>
                  </a:ext>
                </a:extLst>
              </p:cNvPr>
              <p:cNvSpPr>
                <a:spLocks/>
              </p:cNvSpPr>
              <p:nvPr/>
            </p:nvSpPr>
            <p:spPr bwMode="auto">
              <a:xfrm>
                <a:off x="6997" y="3011"/>
                <a:ext cx="2" cy="10"/>
              </a:xfrm>
              <a:custGeom>
                <a:avLst/>
                <a:gdLst>
                  <a:gd name="T0" fmla="*/ 1 w 1"/>
                  <a:gd name="T1" fmla="*/ 0 h 4"/>
                  <a:gd name="T2" fmla="*/ 1 w 1"/>
                  <a:gd name="T3" fmla="*/ 4 h 4"/>
                  <a:gd name="T4" fmla="*/ 1 w 1"/>
                  <a:gd name="T5" fmla="*/ 0 h 4"/>
                </a:gdLst>
                <a:ahLst/>
                <a:cxnLst>
                  <a:cxn ang="0">
                    <a:pos x="T0" y="T1"/>
                  </a:cxn>
                  <a:cxn ang="0">
                    <a:pos x="T2" y="T3"/>
                  </a:cxn>
                  <a:cxn ang="0">
                    <a:pos x="T4" y="T5"/>
                  </a:cxn>
                </a:cxnLst>
                <a:rect l="0" t="0" r="r" b="b"/>
                <a:pathLst>
                  <a:path w="1" h="4">
                    <a:moveTo>
                      <a:pt x="1" y="0"/>
                    </a:moveTo>
                    <a:cubicBezTo>
                      <a:pt x="1" y="2"/>
                      <a:pt x="0" y="2"/>
                      <a:pt x="1"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3" name="Freeform 252">
                <a:extLst>
                  <a:ext uri="{FF2B5EF4-FFF2-40B4-BE49-F238E27FC236}">
                    <a16:creationId xmlns:a16="http://schemas.microsoft.com/office/drawing/2014/main" id="{C694DEF1-D5EE-48D6-BE27-FF72169088C3}"/>
                  </a:ext>
                </a:extLst>
              </p:cNvPr>
              <p:cNvSpPr>
                <a:spLocks/>
              </p:cNvSpPr>
              <p:nvPr/>
            </p:nvSpPr>
            <p:spPr bwMode="auto">
              <a:xfrm>
                <a:off x="6950" y="2952"/>
                <a:ext cx="2" cy="5"/>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1"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4" name="Freeform 253">
                <a:extLst>
                  <a:ext uri="{FF2B5EF4-FFF2-40B4-BE49-F238E27FC236}">
                    <a16:creationId xmlns:a16="http://schemas.microsoft.com/office/drawing/2014/main" id="{7734D321-6DE1-480D-B785-53A6385A1AD6}"/>
                  </a:ext>
                </a:extLst>
              </p:cNvPr>
              <p:cNvSpPr>
                <a:spLocks/>
              </p:cNvSpPr>
              <p:nvPr/>
            </p:nvSpPr>
            <p:spPr bwMode="auto">
              <a:xfrm>
                <a:off x="7011" y="2881"/>
                <a:ext cx="10" cy="7"/>
              </a:xfrm>
              <a:custGeom>
                <a:avLst/>
                <a:gdLst>
                  <a:gd name="T0" fmla="*/ 3 w 4"/>
                  <a:gd name="T1" fmla="*/ 0 h 3"/>
                  <a:gd name="T2" fmla="*/ 1 w 4"/>
                  <a:gd name="T3" fmla="*/ 0 h 3"/>
                  <a:gd name="T4" fmla="*/ 1 w 4"/>
                  <a:gd name="T5" fmla="*/ 3 h 3"/>
                  <a:gd name="T6" fmla="*/ 4 w 4"/>
                  <a:gd name="T7" fmla="*/ 0 h 3"/>
                  <a:gd name="T8" fmla="*/ 3 w 4"/>
                  <a:gd name="T9" fmla="*/ 0 h 3"/>
                </a:gdLst>
                <a:ahLst/>
                <a:cxnLst>
                  <a:cxn ang="0">
                    <a:pos x="T0" y="T1"/>
                  </a:cxn>
                  <a:cxn ang="0">
                    <a:pos x="T2" y="T3"/>
                  </a:cxn>
                  <a:cxn ang="0">
                    <a:pos x="T4" y="T5"/>
                  </a:cxn>
                  <a:cxn ang="0">
                    <a:pos x="T6" y="T7"/>
                  </a:cxn>
                  <a:cxn ang="0">
                    <a:pos x="T8" y="T9"/>
                  </a:cxn>
                </a:cxnLst>
                <a:rect l="0" t="0" r="r" b="b"/>
                <a:pathLst>
                  <a:path w="4" h="3">
                    <a:moveTo>
                      <a:pt x="3" y="0"/>
                    </a:moveTo>
                    <a:cubicBezTo>
                      <a:pt x="2" y="0"/>
                      <a:pt x="2" y="0"/>
                      <a:pt x="1" y="0"/>
                    </a:cubicBezTo>
                    <a:cubicBezTo>
                      <a:pt x="0" y="0"/>
                      <a:pt x="1" y="2"/>
                      <a:pt x="1" y="3"/>
                    </a:cubicBezTo>
                    <a:cubicBezTo>
                      <a:pt x="2" y="3"/>
                      <a:pt x="4" y="1"/>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5" name="Freeform 254">
                <a:extLst>
                  <a:ext uri="{FF2B5EF4-FFF2-40B4-BE49-F238E27FC236}">
                    <a16:creationId xmlns:a16="http://schemas.microsoft.com/office/drawing/2014/main" id="{8CAC6704-89A2-4C39-BDEC-5CE95439E936}"/>
                  </a:ext>
                </a:extLst>
              </p:cNvPr>
              <p:cNvSpPr>
                <a:spLocks/>
              </p:cNvSpPr>
              <p:nvPr/>
            </p:nvSpPr>
            <p:spPr bwMode="auto">
              <a:xfrm>
                <a:off x="7129" y="2782"/>
                <a:ext cx="3" cy="7"/>
              </a:xfrm>
              <a:custGeom>
                <a:avLst/>
                <a:gdLst>
                  <a:gd name="T0" fmla="*/ 1 w 1"/>
                  <a:gd name="T1" fmla="*/ 0 h 3"/>
                  <a:gd name="T2" fmla="*/ 1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3"/>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6" name="Freeform 255">
                <a:extLst>
                  <a:ext uri="{FF2B5EF4-FFF2-40B4-BE49-F238E27FC236}">
                    <a16:creationId xmlns:a16="http://schemas.microsoft.com/office/drawing/2014/main" id="{FF02FFC4-9047-4EA5-B9B6-8FBC44545288}"/>
                  </a:ext>
                </a:extLst>
              </p:cNvPr>
              <p:cNvSpPr>
                <a:spLocks/>
              </p:cNvSpPr>
              <p:nvPr/>
            </p:nvSpPr>
            <p:spPr bwMode="auto">
              <a:xfrm>
                <a:off x="6101" y="2869"/>
                <a:ext cx="100" cy="178"/>
              </a:xfrm>
              <a:custGeom>
                <a:avLst/>
                <a:gdLst>
                  <a:gd name="T0" fmla="*/ 9 w 42"/>
                  <a:gd name="T1" fmla="*/ 0 h 75"/>
                  <a:gd name="T2" fmla="*/ 14 w 42"/>
                  <a:gd name="T3" fmla="*/ 5 h 75"/>
                  <a:gd name="T4" fmla="*/ 10 w 42"/>
                  <a:gd name="T5" fmla="*/ 1 h 75"/>
                  <a:gd name="T6" fmla="*/ 8 w 42"/>
                  <a:gd name="T7" fmla="*/ 3 h 75"/>
                  <a:gd name="T8" fmla="*/ 10 w 42"/>
                  <a:gd name="T9" fmla="*/ 3 h 75"/>
                  <a:gd name="T10" fmla="*/ 14 w 42"/>
                  <a:gd name="T11" fmla="*/ 6 h 75"/>
                  <a:gd name="T12" fmla="*/ 14 w 42"/>
                  <a:gd name="T13" fmla="*/ 6 h 75"/>
                  <a:gd name="T14" fmla="*/ 13 w 42"/>
                  <a:gd name="T15" fmla="*/ 6 h 75"/>
                  <a:gd name="T16" fmla="*/ 11 w 42"/>
                  <a:gd name="T17" fmla="*/ 7 h 75"/>
                  <a:gd name="T18" fmla="*/ 7 w 42"/>
                  <a:gd name="T19" fmla="*/ 4 h 75"/>
                  <a:gd name="T20" fmla="*/ 7 w 42"/>
                  <a:gd name="T21" fmla="*/ 4 h 75"/>
                  <a:gd name="T22" fmla="*/ 8 w 42"/>
                  <a:gd name="T23" fmla="*/ 11 h 75"/>
                  <a:gd name="T24" fmla="*/ 4 w 42"/>
                  <a:gd name="T25" fmla="*/ 17 h 75"/>
                  <a:gd name="T26" fmla="*/ 4 w 42"/>
                  <a:gd name="T27" fmla="*/ 24 h 75"/>
                  <a:gd name="T28" fmla="*/ 3 w 42"/>
                  <a:gd name="T29" fmla="*/ 31 h 75"/>
                  <a:gd name="T30" fmla="*/ 1 w 42"/>
                  <a:gd name="T31" fmla="*/ 33 h 75"/>
                  <a:gd name="T32" fmla="*/ 0 w 42"/>
                  <a:gd name="T33" fmla="*/ 33 h 75"/>
                  <a:gd name="T34" fmla="*/ 1 w 42"/>
                  <a:gd name="T35" fmla="*/ 40 h 75"/>
                  <a:gd name="T36" fmla="*/ 3 w 42"/>
                  <a:gd name="T37" fmla="*/ 48 h 75"/>
                  <a:gd name="T38" fmla="*/ 4 w 42"/>
                  <a:gd name="T39" fmla="*/ 55 h 75"/>
                  <a:gd name="T40" fmla="*/ 6 w 42"/>
                  <a:gd name="T41" fmla="*/ 65 h 75"/>
                  <a:gd name="T42" fmla="*/ 8 w 42"/>
                  <a:gd name="T43" fmla="*/ 70 h 75"/>
                  <a:gd name="T44" fmla="*/ 12 w 42"/>
                  <a:gd name="T45" fmla="*/ 73 h 75"/>
                  <a:gd name="T46" fmla="*/ 17 w 42"/>
                  <a:gd name="T47" fmla="*/ 75 h 75"/>
                  <a:gd name="T48" fmla="*/ 25 w 42"/>
                  <a:gd name="T49" fmla="*/ 71 h 75"/>
                  <a:gd name="T50" fmla="*/ 38 w 42"/>
                  <a:gd name="T51" fmla="*/ 64 h 75"/>
                  <a:gd name="T52" fmla="*/ 41 w 42"/>
                  <a:gd name="T53" fmla="*/ 56 h 75"/>
                  <a:gd name="T54" fmla="*/ 41 w 42"/>
                  <a:gd name="T55" fmla="*/ 46 h 75"/>
                  <a:gd name="T56" fmla="*/ 40 w 42"/>
                  <a:gd name="T57" fmla="*/ 46 h 75"/>
                  <a:gd name="T58" fmla="*/ 35 w 42"/>
                  <a:gd name="T59" fmla="*/ 36 h 75"/>
                  <a:gd name="T60" fmla="*/ 33 w 42"/>
                  <a:gd name="T61" fmla="*/ 31 h 75"/>
                  <a:gd name="T62" fmla="*/ 27 w 42"/>
                  <a:gd name="T63" fmla="*/ 22 h 75"/>
                  <a:gd name="T64" fmla="*/ 24 w 42"/>
                  <a:gd name="T65" fmla="*/ 17 h 75"/>
                  <a:gd name="T66" fmla="*/ 18 w 42"/>
                  <a:gd name="T67" fmla="*/ 8 h 75"/>
                  <a:gd name="T68" fmla="*/ 15 w 42"/>
                  <a:gd name="T69" fmla="*/ 4 h 75"/>
                  <a:gd name="T70" fmla="*/ 9 w 42"/>
                  <a:gd name="T7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75">
                    <a:moveTo>
                      <a:pt x="9" y="0"/>
                    </a:moveTo>
                    <a:cubicBezTo>
                      <a:pt x="9" y="0"/>
                      <a:pt x="9" y="0"/>
                      <a:pt x="9" y="0"/>
                    </a:cubicBezTo>
                    <a:cubicBezTo>
                      <a:pt x="9" y="0"/>
                      <a:pt x="10" y="1"/>
                      <a:pt x="10" y="1"/>
                    </a:cubicBezTo>
                    <a:cubicBezTo>
                      <a:pt x="12" y="2"/>
                      <a:pt x="13" y="4"/>
                      <a:pt x="14" y="5"/>
                    </a:cubicBezTo>
                    <a:cubicBezTo>
                      <a:pt x="12" y="4"/>
                      <a:pt x="11" y="3"/>
                      <a:pt x="10" y="2"/>
                    </a:cubicBezTo>
                    <a:cubicBezTo>
                      <a:pt x="10" y="1"/>
                      <a:pt x="10" y="1"/>
                      <a:pt x="10" y="1"/>
                    </a:cubicBezTo>
                    <a:cubicBezTo>
                      <a:pt x="9" y="0"/>
                      <a:pt x="7" y="0"/>
                      <a:pt x="6" y="0"/>
                    </a:cubicBezTo>
                    <a:cubicBezTo>
                      <a:pt x="6" y="0"/>
                      <a:pt x="7" y="2"/>
                      <a:pt x="8" y="3"/>
                    </a:cubicBezTo>
                    <a:cubicBezTo>
                      <a:pt x="9" y="4"/>
                      <a:pt x="9" y="4"/>
                      <a:pt x="9" y="4"/>
                    </a:cubicBezTo>
                    <a:cubicBezTo>
                      <a:pt x="9" y="4"/>
                      <a:pt x="10" y="4"/>
                      <a:pt x="10" y="3"/>
                    </a:cubicBezTo>
                    <a:cubicBezTo>
                      <a:pt x="11" y="4"/>
                      <a:pt x="12" y="5"/>
                      <a:pt x="13" y="6"/>
                    </a:cubicBezTo>
                    <a:cubicBezTo>
                      <a:pt x="14" y="6"/>
                      <a:pt x="14" y="6"/>
                      <a:pt x="14" y="6"/>
                    </a:cubicBezTo>
                    <a:cubicBezTo>
                      <a:pt x="15" y="6"/>
                      <a:pt x="16" y="6"/>
                      <a:pt x="17" y="7"/>
                    </a:cubicBezTo>
                    <a:cubicBezTo>
                      <a:pt x="16" y="7"/>
                      <a:pt x="15" y="6"/>
                      <a:pt x="14" y="6"/>
                    </a:cubicBezTo>
                    <a:cubicBezTo>
                      <a:pt x="13" y="6"/>
                      <a:pt x="13" y="6"/>
                      <a:pt x="13" y="6"/>
                    </a:cubicBezTo>
                    <a:cubicBezTo>
                      <a:pt x="13" y="6"/>
                      <a:pt x="13" y="6"/>
                      <a:pt x="13" y="6"/>
                    </a:cubicBezTo>
                    <a:cubicBezTo>
                      <a:pt x="12" y="7"/>
                      <a:pt x="12" y="7"/>
                      <a:pt x="11" y="7"/>
                    </a:cubicBezTo>
                    <a:cubicBezTo>
                      <a:pt x="11" y="7"/>
                      <a:pt x="11" y="7"/>
                      <a:pt x="11" y="7"/>
                    </a:cubicBezTo>
                    <a:cubicBezTo>
                      <a:pt x="10" y="7"/>
                      <a:pt x="11" y="6"/>
                      <a:pt x="11" y="6"/>
                    </a:cubicBezTo>
                    <a:cubicBezTo>
                      <a:pt x="10" y="6"/>
                      <a:pt x="8" y="5"/>
                      <a:pt x="7" y="4"/>
                    </a:cubicBezTo>
                    <a:cubicBezTo>
                      <a:pt x="7" y="4"/>
                      <a:pt x="7" y="4"/>
                      <a:pt x="7" y="4"/>
                    </a:cubicBezTo>
                    <a:cubicBezTo>
                      <a:pt x="7" y="4"/>
                      <a:pt x="7" y="4"/>
                      <a:pt x="7" y="4"/>
                    </a:cubicBezTo>
                    <a:cubicBezTo>
                      <a:pt x="8" y="5"/>
                      <a:pt x="10" y="6"/>
                      <a:pt x="9" y="7"/>
                    </a:cubicBezTo>
                    <a:cubicBezTo>
                      <a:pt x="7" y="9"/>
                      <a:pt x="7" y="8"/>
                      <a:pt x="8" y="11"/>
                    </a:cubicBezTo>
                    <a:cubicBezTo>
                      <a:pt x="8" y="12"/>
                      <a:pt x="8" y="12"/>
                      <a:pt x="8" y="12"/>
                    </a:cubicBezTo>
                    <a:cubicBezTo>
                      <a:pt x="7" y="13"/>
                      <a:pt x="5" y="15"/>
                      <a:pt x="4" y="17"/>
                    </a:cubicBezTo>
                    <a:cubicBezTo>
                      <a:pt x="4" y="18"/>
                      <a:pt x="4" y="20"/>
                      <a:pt x="4" y="22"/>
                    </a:cubicBezTo>
                    <a:cubicBezTo>
                      <a:pt x="4" y="23"/>
                      <a:pt x="4" y="23"/>
                      <a:pt x="4" y="24"/>
                    </a:cubicBezTo>
                    <a:cubicBezTo>
                      <a:pt x="4" y="25"/>
                      <a:pt x="4" y="27"/>
                      <a:pt x="4" y="28"/>
                    </a:cubicBezTo>
                    <a:cubicBezTo>
                      <a:pt x="3" y="29"/>
                      <a:pt x="3" y="30"/>
                      <a:pt x="3" y="31"/>
                    </a:cubicBezTo>
                    <a:cubicBezTo>
                      <a:pt x="2" y="33"/>
                      <a:pt x="2" y="34"/>
                      <a:pt x="1" y="35"/>
                    </a:cubicBezTo>
                    <a:cubicBezTo>
                      <a:pt x="1" y="35"/>
                      <a:pt x="1" y="34"/>
                      <a:pt x="1" y="33"/>
                    </a:cubicBezTo>
                    <a:cubicBezTo>
                      <a:pt x="0" y="32"/>
                      <a:pt x="1" y="31"/>
                      <a:pt x="1" y="30"/>
                    </a:cubicBezTo>
                    <a:cubicBezTo>
                      <a:pt x="0" y="31"/>
                      <a:pt x="0" y="32"/>
                      <a:pt x="0" y="33"/>
                    </a:cubicBezTo>
                    <a:cubicBezTo>
                      <a:pt x="0" y="34"/>
                      <a:pt x="1" y="34"/>
                      <a:pt x="1" y="35"/>
                    </a:cubicBezTo>
                    <a:cubicBezTo>
                      <a:pt x="1" y="36"/>
                      <a:pt x="1" y="38"/>
                      <a:pt x="1" y="40"/>
                    </a:cubicBezTo>
                    <a:cubicBezTo>
                      <a:pt x="2" y="42"/>
                      <a:pt x="2" y="44"/>
                      <a:pt x="2" y="46"/>
                    </a:cubicBezTo>
                    <a:cubicBezTo>
                      <a:pt x="2" y="47"/>
                      <a:pt x="2" y="48"/>
                      <a:pt x="3" y="48"/>
                    </a:cubicBezTo>
                    <a:cubicBezTo>
                      <a:pt x="3" y="50"/>
                      <a:pt x="3" y="51"/>
                      <a:pt x="3" y="53"/>
                    </a:cubicBezTo>
                    <a:cubicBezTo>
                      <a:pt x="3" y="54"/>
                      <a:pt x="3" y="54"/>
                      <a:pt x="4" y="55"/>
                    </a:cubicBezTo>
                    <a:cubicBezTo>
                      <a:pt x="4" y="57"/>
                      <a:pt x="4" y="58"/>
                      <a:pt x="4" y="59"/>
                    </a:cubicBezTo>
                    <a:cubicBezTo>
                      <a:pt x="5" y="61"/>
                      <a:pt x="5" y="63"/>
                      <a:pt x="6" y="65"/>
                    </a:cubicBezTo>
                    <a:cubicBezTo>
                      <a:pt x="6" y="66"/>
                      <a:pt x="7" y="67"/>
                      <a:pt x="7" y="68"/>
                    </a:cubicBezTo>
                    <a:cubicBezTo>
                      <a:pt x="7" y="69"/>
                      <a:pt x="8" y="70"/>
                      <a:pt x="8" y="70"/>
                    </a:cubicBezTo>
                    <a:cubicBezTo>
                      <a:pt x="9" y="71"/>
                      <a:pt x="9" y="72"/>
                      <a:pt x="10" y="73"/>
                    </a:cubicBezTo>
                    <a:cubicBezTo>
                      <a:pt x="11" y="73"/>
                      <a:pt x="11" y="73"/>
                      <a:pt x="12" y="73"/>
                    </a:cubicBezTo>
                    <a:cubicBezTo>
                      <a:pt x="14" y="74"/>
                      <a:pt x="15" y="74"/>
                      <a:pt x="17" y="75"/>
                    </a:cubicBezTo>
                    <a:cubicBezTo>
                      <a:pt x="17" y="75"/>
                      <a:pt x="17" y="75"/>
                      <a:pt x="17" y="75"/>
                    </a:cubicBezTo>
                    <a:cubicBezTo>
                      <a:pt x="17" y="75"/>
                      <a:pt x="18" y="75"/>
                      <a:pt x="19" y="74"/>
                    </a:cubicBezTo>
                    <a:cubicBezTo>
                      <a:pt x="21" y="74"/>
                      <a:pt x="24" y="72"/>
                      <a:pt x="25" y="71"/>
                    </a:cubicBezTo>
                    <a:cubicBezTo>
                      <a:pt x="28" y="69"/>
                      <a:pt x="31" y="67"/>
                      <a:pt x="35" y="66"/>
                    </a:cubicBezTo>
                    <a:cubicBezTo>
                      <a:pt x="36" y="65"/>
                      <a:pt x="37" y="65"/>
                      <a:pt x="38" y="64"/>
                    </a:cubicBezTo>
                    <a:cubicBezTo>
                      <a:pt x="39" y="63"/>
                      <a:pt x="39" y="62"/>
                      <a:pt x="40" y="60"/>
                    </a:cubicBezTo>
                    <a:cubicBezTo>
                      <a:pt x="41" y="59"/>
                      <a:pt x="41" y="57"/>
                      <a:pt x="41" y="56"/>
                    </a:cubicBezTo>
                    <a:cubicBezTo>
                      <a:pt x="41" y="55"/>
                      <a:pt x="42" y="53"/>
                      <a:pt x="42" y="52"/>
                    </a:cubicBezTo>
                    <a:cubicBezTo>
                      <a:pt x="42" y="49"/>
                      <a:pt x="41" y="46"/>
                      <a:pt x="41" y="46"/>
                    </a:cubicBezTo>
                    <a:cubicBezTo>
                      <a:pt x="41" y="46"/>
                      <a:pt x="41" y="46"/>
                      <a:pt x="41" y="46"/>
                    </a:cubicBezTo>
                    <a:cubicBezTo>
                      <a:pt x="40" y="46"/>
                      <a:pt x="40" y="46"/>
                      <a:pt x="40" y="46"/>
                    </a:cubicBezTo>
                    <a:cubicBezTo>
                      <a:pt x="39" y="45"/>
                      <a:pt x="38" y="43"/>
                      <a:pt x="37" y="41"/>
                    </a:cubicBezTo>
                    <a:cubicBezTo>
                      <a:pt x="36" y="39"/>
                      <a:pt x="36" y="38"/>
                      <a:pt x="35" y="36"/>
                    </a:cubicBezTo>
                    <a:cubicBezTo>
                      <a:pt x="34" y="34"/>
                      <a:pt x="33" y="32"/>
                      <a:pt x="33" y="31"/>
                    </a:cubicBezTo>
                    <a:cubicBezTo>
                      <a:pt x="33" y="31"/>
                      <a:pt x="33" y="31"/>
                      <a:pt x="33" y="31"/>
                    </a:cubicBezTo>
                    <a:cubicBezTo>
                      <a:pt x="32" y="29"/>
                      <a:pt x="31" y="27"/>
                      <a:pt x="30" y="26"/>
                    </a:cubicBezTo>
                    <a:cubicBezTo>
                      <a:pt x="29" y="24"/>
                      <a:pt x="28" y="23"/>
                      <a:pt x="27" y="22"/>
                    </a:cubicBezTo>
                    <a:cubicBezTo>
                      <a:pt x="26" y="20"/>
                      <a:pt x="25" y="19"/>
                      <a:pt x="24" y="17"/>
                    </a:cubicBezTo>
                    <a:cubicBezTo>
                      <a:pt x="24" y="17"/>
                      <a:pt x="24" y="17"/>
                      <a:pt x="24" y="17"/>
                    </a:cubicBezTo>
                    <a:cubicBezTo>
                      <a:pt x="23" y="15"/>
                      <a:pt x="22" y="14"/>
                      <a:pt x="21" y="13"/>
                    </a:cubicBezTo>
                    <a:cubicBezTo>
                      <a:pt x="20" y="11"/>
                      <a:pt x="19" y="9"/>
                      <a:pt x="18" y="8"/>
                    </a:cubicBezTo>
                    <a:cubicBezTo>
                      <a:pt x="18" y="7"/>
                      <a:pt x="17" y="6"/>
                      <a:pt x="16" y="6"/>
                    </a:cubicBezTo>
                    <a:cubicBezTo>
                      <a:pt x="16" y="5"/>
                      <a:pt x="15" y="5"/>
                      <a:pt x="15" y="4"/>
                    </a:cubicBezTo>
                    <a:cubicBezTo>
                      <a:pt x="14" y="3"/>
                      <a:pt x="12" y="2"/>
                      <a:pt x="11" y="1"/>
                    </a:cubicBezTo>
                    <a:cubicBezTo>
                      <a:pt x="10" y="0"/>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7" name="Freeform 256">
                <a:extLst>
                  <a:ext uri="{FF2B5EF4-FFF2-40B4-BE49-F238E27FC236}">
                    <a16:creationId xmlns:a16="http://schemas.microsoft.com/office/drawing/2014/main" id="{68236C21-6BC2-477F-A918-08C536465AA8}"/>
                  </a:ext>
                </a:extLst>
              </p:cNvPr>
              <p:cNvSpPr>
                <a:spLocks/>
              </p:cNvSpPr>
              <p:nvPr/>
            </p:nvSpPr>
            <p:spPr bwMode="auto">
              <a:xfrm>
                <a:off x="6194" y="2964"/>
                <a:ext cx="4" cy="12"/>
              </a:xfrm>
              <a:custGeom>
                <a:avLst/>
                <a:gdLst>
                  <a:gd name="T0" fmla="*/ 0 w 2"/>
                  <a:gd name="T1" fmla="*/ 0 h 5"/>
                  <a:gd name="T2" fmla="*/ 1 w 2"/>
                  <a:gd name="T3" fmla="*/ 5 h 5"/>
                  <a:gd name="T4" fmla="*/ 0 w 2"/>
                  <a:gd name="T5" fmla="*/ 0 h 5"/>
                </a:gdLst>
                <a:ahLst/>
                <a:cxnLst>
                  <a:cxn ang="0">
                    <a:pos x="T0" y="T1"/>
                  </a:cxn>
                  <a:cxn ang="0">
                    <a:pos x="T2" y="T3"/>
                  </a:cxn>
                  <a:cxn ang="0">
                    <a:pos x="T4" y="T5"/>
                  </a:cxn>
                </a:cxnLst>
                <a:rect l="0" t="0" r="r" b="b"/>
                <a:pathLst>
                  <a:path w="2" h="5">
                    <a:moveTo>
                      <a:pt x="0" y="0"/>
                    </a:moveTo>
                    <a:cubicBezTo>
                      <a:pt x="0" y="2"/>
                      <a:pt x="1" y="3"/>
                      <a:pt x="1" y="5"/>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8" name="Freeform 257">
                <a:extLst>
                  <a:ext uri="{FF2B5EF4-FFF2-40B4-BE49-F238E27FC236}">
                    <a16:creationId xmlns:a16="http://schemas.microsoft.com/office/drawing/2014/main" id="{8AF6F8F5-342D-4648-A0FE-85A8FB9CE398}"/>
                  </a:ext>
                </a:extLst>
              </p:cNvPr>
              <p:cNvSpPr>
                <a:spLocks/>
              </p:cNvSpPr>
              <p:nvPr/>
            </p:nvSpPr>
            <p:spPr bwMode="auto">
              <a:xfrm>
                <a:off x="6104" y="2902"/>
                <a:ext cx="7" cy="5"/>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9" name="Freeform 258">
                <a:extLst>
                  <a:ext uri="{FF2B5EF4-FFF2-40B4-BE49-F238E27FC236}">
                    <a16:creationId xmlns:a16="http://schemas.microsoft.com/office/drawing/2014/main" id="{58925CC5-9D3C-4E5D-A4CC-1235AE69A0A1}"/>
                  </a:ext>
                </a:extLst>
              </p:cNvPr>
              <p:cNvSpPr>
                <a:spLocks/>
              </p:cNvSpPr>
              <p:nvPr/>
            </p:nvSpPr>
            <p:spPr bwMode="auto">
              <a:xfrm>
                <a:off x="8682" y="-635"/>
                <a:ext cx="42" cy="10"/>
              </a:xfrm>
              <a:custGeom>
                <a:avLst/>
                <a:gdLst>
                  <a:gd name="T0" fmla="*/ 6 w 18"/>
                  <a:gd name="T1" fmla="*/ 0 h 4"/>
                  <a:gd name="T2" fmla="*/ 0 w 18"/>
                  <a:gd name="T3" fmla="*/ 0 h 4"/>
                  <a:gd name="T4" fmla="*/ 4 w 18"/>
                  <a:gd name="T5" fmla="*/ 2 h 4"/>
                  <a:gd name="T6" fmla="*/ 4 w 18"/>
                  <a:gd name="T7" fmla="*/ 2 h 4"/>
                  <a:gd name="T8" fmla="*/ 6 w 18"/>
                  <a:gd name="T9" fmla="*/ 1 h 4"/>
                  <a:gd name="T10" fmla="*/ 6 w 18"/>
                  <a:gd name="T11" fmla="*/ 1 h 4"/>
                  <a:gd name="T12" fmla="*/ 8 w 18"/>
                  <a:gd name="T13" fmla="*/ 2 h 4"/>
                  <a:gd name="T14" fmla="*/ 13 w 18"/>
                  <a:gd name="T15" fmla="*/ 4 h 4"/>
                  <a:gd name="T16" fmla="*/ 13 w 18"/>
                  <a:gd name="T17" fmla="*/ 4 h 4"/>
                  <a:gd name="T18" fmla="*/ 18 w 18"/>
                  <a:gd name="T19" fmla="*/ 0 h 4"/>
                  <a:gd name="T20" fmla="*/ 6 w 1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4">
                    <a:moveTo>
                      <a:pt x="6" y="0"/>
                    </a:moveTo>
                    <a:cubicBezTo>
                      <a:pt x="4" y="0"/>
                      <a:pt x="2" y="0"/>
                      <a:pt x="0" y="0"/>
                    </a:cubicBezTo>
                    <a:cubicBezTo>
                      <a:pt x="2" y="1"/>
                      <a:pt x="3" y="2"/>
                      <a:pt x="4" y="2"/>
                    </a:cubicBezTo>
                    <a:cubicBezTo>
                      <a:pt x="4" y="2"/>
                      <a:pt x="4" y="2"/>
                      <a:pt x="4" y="2"/>
                    </a:cubicBezTo>
                    <a:cubicBezTo>
                      <a:pt x="5" y="2"/>
                      <a:pt x="5" y="1"/>
                      <a:pt x="6" y="1"/>
                    </a:cubicBezTo>
                    <a:cubicBezTo>
                      <a:pt x="6" y="1"/>
                      <a:pt x="6" y="1"/>
                      <a:pt x="6" y="1"/>
                    </a:cubicBezTo>
                    <a:cubicBezTo>
                      <a:pt x="7" y="1"/>
                      <a:pt x="8" y="1"/>
                      <a:pt x="8" y="2"/>
                    </a:cubicBezTo>
                    <a:cubicBezTo>
                      <a:pt x="10" y="2"/>
                      <a:pt x="11" y="4"/>
                      <a:pt x="13" y="4"/>
                    </a:cubicBezTo>
                    <a:cubicBezTo>
                      <a:pt x="13" y="4"/>
                      <a:pt x="13" y="4"/>
                      <a:pt x="13" y="4"/>
                    </a:cubicBezTo>
                    <a:cubicBezTo>
                      <a:pt x="15" y="3"/>
                      <a:pt x="17" y="2"/>
                      <a:pt x="18" y="0"/>
                    </a:cubicBezTo>
                    <a:cubicBezTo>
                      <a:pt x="14" y="0"/>
                      <a:pt x="10"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0" name="Freeform 259">
                <a:extLst>
                  <a:ext uri="{FF2B5EF4-FFF2-40B4-BE49-F238E27FC236}">
                    <a16:creationId xmlns:a16="http://schemas.microsoft.com/office/drawing/2014/main" id="{7EC47102-0FB9-44BE-A6E7-F02154EF149E}"/>
                  </a:ext>
                </a:extLst>
              </p:cNvPr>
              <p:cNvSpPr>
                <a:spLocks/>
              </p:cNvSpPr>
              <p:nvPr/>
            </p:nvSpPr>
            <p:spPr bwMode="auto">
              <a:xfrm>
                <a:off x="8670" y="-1046"/>
                <a:ext cx="388" cy="142"/>
              </a:xfrm>
              <a:custGeom>
                <a:avLst/>
                <a:gdLst>
                  <a:gd name="T0" fmla="*/ 32 w 164"/>
                  <a:gd name="T1" fmla="*/ 6 h 60"/>
                  <a:gd name="T2" fmla="*/ 29 w 164"/>
                  <a:gd name="T3" fmla="*/ 3 h 60"/>
                  <a:gd name="T4" fmla="*/ 24 w 164"/>
                  <a:gd name="T5" fmla="*/ 6 h 60"/>
                  <a:gd name="T6" fmla="*/ 23 w 164"/>
                  <a:gd name="T7" fmla="*/ 7 h 60"/>
                  <a:gd name="T8" fmla="*/ 13 w 164"/>
                  <a:gd name="T9" fmla="*/ 11 h 60"/>
                  <a:gd name="T10" fmla="*/ 13 w 164"/>
                  <a:gd name="T11" fmla="*/ 17 h 60"/>
                  <a:gd name="T12" fmla="*/ 10 w 164"/>
                  <a:gd name="T13" fmla="*/ 16 h 60"/>
                  <a:gd name="T14" fmla="*/ 5 w 164"/>
                  <a:gd name="T15" fmla="*/ 23 h 60"/>
                  <a:gd name="T16" fmla="*/ 9 w 164"/>
                  <a:gd name="T17" fmla="*/ 25 h 60"/>
                  <a:gd name="T18" fmla="*/ 10 w 164"/>
                  <a:gd name="T19" fmla="*/ 34 h 60"/>
                  <a:gd name="T20" fmla="*/ 7 w 164"/>
                  <a:gd name="T21" fmla="*/ 33 h 60"/>
                  <a:gd name="T22" fmla="*/ 4 w 164"/>
                  <a:gd name="T23" fmla="*/ 32 h 60"/>
                  <a:gd name="T24" fmla="*/ 19 w 164"/>
                  <a:gd name="T25" fmla="*/ 49 h 60"/>
                  <a:gd name="T26" fmla="*/ 26 w 164"/>
                  <a:gd name="T27" fmla="*/ 54 h 60"/>
                  <a:gd name="T28" fmla="*/ 44 w 164"/>
                  <a:gd name="T29" fmla="*/ 60 h 60"/>
                  <a:gd name="T30" fmla="*/ 51 w 164"/>
                  <a:gd name="T31" fmla="*/ 57 h 60"/>
                  <a:gd name="T32" fmla="*/ 53 w 164"/>
                  <a:gd name="T33" fmla="*/ 52 h 60"/>
                  <a:gd name="T34" fmla="*/ 55 w 164"/>
                  <a:gd name="T35" fmla="*/ 48 h 60"/>
                  <a:gd name="T36" fmla="*/ 62 w 164"/>
                  <a:gd name="T37" fmla="*/ 51 h 60"/>
                  <a:gd name="T38" fmla="*/ 66 w 164"/>
                  <a:gd name="T39" fmla="*/ 53 h 60"/>
                  <a:gd name="T40" fmla="*/ 86 w 164"/>
                  <a:gd name="T41" fmla="*/ 50 h 60"/>
                  <a:gd name="T42" fmla="*/ 101 w 164"/>
                  <a:gd name="T43" fmla="*/ 47 h 60"/>
                  <a:gd name="T44" fmla="*/ 107 w 164"/>
                  <a:gd name="T45" fmla="*/ 49 h 60"/>
                  <a:gd name="T46" fmla="*/ 104 w 164"/>
                  <a:gd name="T47" fmla="*/ 49 h 60"/>
                  <a:gd name="T48" fmla="*/ 100 w 164"/>
                  <a:gd name="T49" fmla="*/ 50 h 60"/>
                  <a:gd name="T50" fmla="*/ 109 w 164"/>
                  <a:gd name="T51" fmla="*/ 54 h 60"/>
                  <a:gd name="T52" fmla="*/ 115 w 164"/>
                  <a:gd name="T53" fmla="*/ 51 h 60"/>
                  <a:gd name="T54" fmla="*/ 117 w 164"/>
                  <a:gd name="T55" fmla="*/ 52 h 60"/>
                  <a:gd name="T56" fmla="*/ 132 w 164"/>
                  <a:gd name="T57" fmla="*/ 49 h 60"/>
                  <a:gd name="T58" fmla="*/ 105 w 164"/>
                  <a:gd name="T59" fmla="*/ 35 h 60"/>
                  <a:gd name="T60" fmla="*/ 104 w 164"/>
                  <a:gd name="T61" fmla="*/ 29 h 60"/>
                  <a:gd name="T62" fmla="*/ 102 w 164"/>
                  <a:gd name="T63" fmla="*/ 23 h 60"/>
                  <a:gd name="T64" fmla="*/ 104 w 164"/>
                  <a:gd name="T65" fmla="*/ 23 h 60"/>
                  <a:gd name="T66" fmla="*/ 104 w 164"/>
                  <a:gd name="T67" fmla="*/ 21 h 60"/>
                  <a:gd name="T68" fmla="*/ 107 w 164"/>
                  <a:gd name="T69" fmla="*/ 19 h 60"/>
                  <a:gd name="T70" fmla="*/ 114 w 164"/>
                  <a:gd name="T71" fmla="*/ 19 h 60"/>
                  <a:gd name="T72" fmla="*/ 116 w 164"/>
                  <a:gd name="T73" fmla="*/ 25 h 60"/>
                  <a:gd name="T74" fmla="*/ 110 w 164"/>
                  <a:gd name="T75" fmla="*/ 32 h 60"/>
                  <a:gd name="T76" fmla="*/ 114 w 164"/>
                  <a:gd name="T77" fmla="*/ 38 h 60"/>
                  <a:gd name="T78" fmla="*/ 119 w 164"/>
                  <a:gd name="T79" fmla="*/ 42 h 60"/>
                  <a:gd name="T80" fmla="*/ 127 w 164"/>
                  <a:gd name="T81" fmla="*/ 44 h 60"/>
                  <a:gd name="T82" fmla="*/ 131 w 164"/>
                  <a:gd name="T83" fmla="*/ 44 h 60"/>
                  <a:gd name="T84" fmla="*/ 138 w 164"/>
                  <a:gd name="T85" fmla="*/ 46 h 60"/>
                  <a:gd name="T86" fmla="*/ 142 w 164"/>
                  <a:gd name="T87" fmla="*/ 45 h 60"/>
                  <a:gd name="T88" fmla="*/ 144 w 164"/>
                  <a:gd name="T89" fmla="*/ 45 h 60"/>
                  <a:gd name="T90" fmla="*/ 151 w 164"/>
                  <a:gd name="T91" fmla="*/ 41 h 60"/>
                  <a:gd name="T92" fmla="*/ 153 w 164"/>
                  <a:gd name="T93" fmla="*/ 30 h 60"/>
                  <a:gd name="T94" fmla="*/ 163 w 164"/>
                  <a:gd name="T95" fmla="*/ 27 h 60"/>
                  <a:gd name="T96" fmla="*/ 143 w 164"/>
                  <a:gd name="T97" fmla="*/ 18 h 60"/>
                  <a:gd name="T98" fmla="*/ 100 w 164"/>
                  <a:gd name="T99" fmla="*/ 6 h 60"/>
                  <a:gd name="T100" fmla="*/ 89 w 164"/>
                  <a:gd name="T101" fmla="*/ 1 h 60"/>
                  <a:gd name="T102" fmla="*/ 90 w 164"/>
                  <a:gd name="T103" fmla="*/ 8 h 60"/>
                  <a:gd name="T104" fmla="*/ 83 w 164"/>
                  <a:gd name="T105" fmla="*/ 8 h 60"/>
                  <a:gd name="T106" fmla="*/ 79 w 164"/>
                  <a:gd name="T107" fmla="*/ 10 h 60"/>
                  <a:gd name="T108" fmla="*/ 81 w 164"/>
                  <a:gd name="T109" fmla="*/ 20 h 60"/>
                  <a:gd name="T110" fmla="*/ 79 w 164"/>
                  <a:gd name="T111" fmla="*/ 23 h 60"/>
                  <a:gd name="T112" fmla="*/ 69 w 164"/>
                  <a:gd name="T113" fmla="*/ 16 h 60"/>
                  <a:gd name="T114" fmla="*/ 57 w 164"/>
                  <a:gd name="T11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60">
                    <a:moveTo>
                      <a:pt x="42" y="0"/>
                    </a:moveTo>
                    <a:cubicBezTo>
                      <a:pt x="39" y="2"/>
                      <a:pt x="36" y="4"/>
                      <a:pt x="32" y="6"/>
                    </a:cubicBezTo>
                    <a:cubicBezTo>
                      <a:pt x="31" y="4"/>
                      <a:pt x="31" y="3"/>
                      <a:pt x="30" y="3"/>
                    </a:cubicBezTo>
                    <a:cubicBezTo>
                      <a:pt x="30" y="3"/>
                      <a:pt x="29" y="3"/>
                      <a:pt x="29" y="3"/>
                    </a:cubicBezTo>
                    <a:cubicBezTo>
                      <a:pt x="28" y="3"/>
                      <a:pt x="27" y="3"/>
                      <a:pt x="27" y="4"/>
                    </a:cubicBezTo>
                    <a:cubicBezTo>
                      <a:pt x="26" y="4"/>
                      <a:pt x="25" y="5"/>
                      <a:pt x="24" y="6"/>
                    </a:cubicBezTo>
                    <a:cubicBezTo>
                      <a:pt x="24" y="6"/>
                      <a:pt x="24" y="5"/>
                      <a:pt x="25" y="5"/>
                    </a:cubicBezTo>
                    <a:cubicBezTo>
                      <a:pt x="26" y="5"/>
                      <a:pt x="24" y="7"/>
                      <a:pt x="23" y="7"/>
                    </a:cubicBezTo>
                    <a:cubicBezTo>
                      <a:pt x="22" y="7"/>
                      <a:pt x="20" y="7"/>
                      <a:pt x="19" y="8"/>
                    </a:cubicBezTo>
                    <a:cubicBezTo>
                      <a:pt x="18" y="8"/>
                      <a:pt x="13" y="9"/>
                      <a:pt x="13" y="11"/>
                    </a:cubicBezTo>
                    <a:cubicBezTo>
                      <a:pt x="12" y="12"/>
                      <a:pt x="15" y="16"/>
                      <a:pt x="13" y="17"/>
                    </a:cubicBezTo>
                    <a:cubicBezTo>
                      <a:pt x="13" y="17"/>
                      <a:pt x="13" y="17"/>
                      <a:pt x="13" y="17"/>
                    </a:cubicBezTo>
                    <a:cubicBezTo>
                      <a:pt x="12" y="17"/>
                      <a:pt x="12" y="17"/>
                      <a:pt x="11" y="17"/>
                    </a:cubicBezTo>
                    <a:cubicBezTo>
                      <a:pt x="11" y="17"/>
                      <a:pt x="10" y="16"/>
                      <a:pt x="10" y="16"/>
                    </a:cubicBezTo>
                    <a:cubicBezTo>
                      <a:pt x="9" y="16"/>
                      <a:pt x="9" y="16"/>
                      <a:pt x="9" y="16"/>
                    </a:cubicBezTo>
                    <a:cubicBezTo>
                      <a:pt x="6" y="17"/>
                      <a:pt x="7" y="22"/>
                      <a:pt x="5" y="23"/>
                    </a:cubicBezTo>
                    <a:cubicBezTo>
                      <a:pt x="6" y="23"/>
                      <a:pt x="7" y="22"/>
                      <a:pt x="7" y="22"/>
                    </a:cubicBezTo>
                    <a:cubicBezTo>
                      <a:pt x="8" y="22"/>
                      <a:pt x="9" y="23"/>
                      <a:pt x="9" y="25"/>
                    </a:cubicBezTo>
                    <a:cubicBezTo>
                      <a:pt x="9" y="28"/>
                      <a:pt x="11" y="28"/>
                      <a:pt x="8" y="29"/>
                    </a:cubicBezTo>
                    <a:cubicBezTo>
                      <a:pt x="4" y="31"/>
                      <a:pt x="14" y="32"/>
                      <a:pt x="10" y="34"/>
                    </a:cubicBezTo>
                    <a:cubicBezTo>
                      <a:pt x="10" y="34"/>
                      <a:pt x="9" y="34"/>
                      <a:pt x="9" y="34"/>
                    </a:cubicBezTo>
                    <a:cubicBezTo>
                      <a:pt x="8" y="34"/>
                      <a:pt x="7" y="34"/>
                      <a:pt x="7" y="33"/>
                    </a:cubicBezTo>
                    <a:cubicBezTo>
                      <a:pt x="6" y="32"/>
                      <a:pt x="5" y="32"/>
                      <a:pt x="5" y="32"/>
                    </a:cubicBezTo>
                    <a:cubicBezTo>
                      <a:pt x="4" y="32"/>
                      <a:pt x="4" y="32"/>
                      <a:pt x="4" y="32"/>
                    </a:cubicBezTo>
                    <a:cubicBezTo>
                      <a:pt x="0" y="33"/>
                      <a:pt x="5" y="39"/>
                      <a:pt x="7" y="41"/>
                    </a:cubicBezTo>
                    <a:cubicBezTo>
                      <a:pt x="10" y="44"/>
                      <a:pt x="15" y="46"/>
                      <a:pt x="19" y="49"/>
                    </a:cubicBezTo>
                    <a:cubicBezTo>
                      <a:pt x="20" y="50"/>
                      <a:pt x="20" y="51"/>
                      <a:pt x="21" y="52"/>
                    </a:cubicBezTo>
                    <a:cubicBezTo>
                      <a:pt x="23" y="53"/>
                      <a:pt x="25" y="54"/>
                      <a:pt x="26" y="54"/>
                    </a:cubicBezTo>
                    <a:cubicBezTo>
                      <a:pt x="30" y="55"/>
                      <a:pt x="34" y="57"/>
                      <a:pt x="38" y="58"/>
                    </a:cubicBezTo>
                    <a:cubicBezTo>
                      <a:pt x="40" y="59"/>
                      <a:pt x="42" y="60"/>
                      <a:pt x="44" y="60"/>
                    </a:cubicBezTo>
                    <a:cubicBezTo>
                      <a:pt x="44" y="60"/>
                      <a:pt x="45" y="60"/>
                      <a:pt x="45" y="60"/>
                    </a:cubicBezTo>
                    <a:cubicBezTo>
                      <a:pt x="47" y="60"/>
                      <a:pt x="49" y="59"/>
                      <a:pt x="51" y="57"/>
                    </a:cubicBezTo>
                    <a:cubicBezTo>
                      <a:pt x="53" y="56"/>
                      <a:pt x="53" y="53"/>
                      <a:pt x="54" y="52"/>
                    </a:cubicBezTo>
                    <a:cubicBezTo>
                      <a:pt x="54" y="52"/>
                      <a:pt x="54" y="52"/>
                      <a:pt x="53" y="52"/>
                    </a:cubicBezTo>
                    <a:cubicBezTo>
                      <a:pt x="51" y="52"/>
                      <a:pt x="53" y="48"/>
                      <a:pt x="55" y="48"/>
                    </a:cubicBezTo>
                    <a:cubicBezTo>
                      <a:pt x="55" y="48"/>
                      <a:pt x="55" y="48"/>
                      <a:pt x="55" y="48"/>
                    </a:cubicBezTo>
                    <a:cubicBezTo>
                      <a:pt x="56" y="48"/>
                      <a:pt x="58" y="48"/>
                      <a:pt x="59" y="48"/>
                    </a:cubicBezTo>
                    <a:cubicBezTo>
                      <a:pt x="59" y="48"/>
                      <a:pt x="61" y="50"/>
                      <a:pt x="62" y="51"/>
                    </a:cubicBezTo>
                    <a:cubicBezTo>
                      <a:pt x="63" y="52"/>
                      <a:pt x="63" y="53"/>
                      <a:pt x="65" y="53"/>
                    </a:cubicBezTo>
                    <a:cubicBezTo>
                      <a:pt x="65" y="53"/>
                      <a:pt x="65" y="53"/>
                      <a:pt x="66" y="53"/>
                    </a:cubicBezTo>
                    <a:cubicBezTo>
                      <a:pt x="69" y="53"/>
                      <a:pt x="73" y="52"/>
                      <a:pt x="76" y="51"/>
                    </a:cubicBezTo>
                    <a:cubicBezTo>
                      <a:pt x="79" y="51"/>
                      <a:pt x="83" y="50"/>
                      <a:pt x="86" y="50"/>
                    </a:cubicBezTo>
                    <a:cubicBezTo>
                      <a:pt x="90" y="49"/>
                      <a:pt x="93" y="48"/>
                      <a:pt x="97" y="47"/>
                    </a:cubicBezTo>
                    <a:cubicBezTo>
                      <a:pt x="98" y="47"/>
                      <a:pt x="100" y="47"/>
                      <a:pt x="101" y="47"/>
                    </a:cubicBezTo>
                    <a:cubicBezTo>
                      <a:pt x="101" y="47"/>
                      <a:pt x="102" y="47"/>
                      <a:pt x="103" y="47"/>
                    </a:cubicBezTo>
                    <a:cubicBezTo>
                      <a:pt x="105" y="47"/>
                      <a:pt x="104" y="48"/>
                      <a:pt x="107" y="49"/>
                    </a:cubicBezTo>
                    <a:cubicBezTo>
                      <a:pt x="106" y="49"/>
                      <a:pt x="106" y="49"/>
                      <a:pt x="106" y="49"/>
                    </a:cubicBezTo>
                    <a:cubicBezTo>
                      <a:pt x="106" y="49"/>
                      <a:pt x="105" y="49"/>
                      <a:pt x="104" y="49"/>
                    </a:cubicBezTo>
                    <a:cubicBezTo>
                      <a:pt x="103" y="49"/>
                      <a:pt x="102" y="49"/>
                      <a:pt x="101" y="49"/>
                    </a:cubicBezTo>
                    <a:cubicBezTo>
                      <a:pt x="100" y="49"/>
                      <a:pt x="99" y="49"/>
                      <a:pt x="100" y="50"/>
                    </a:cubicBezTo>
                    <a:cubicBezTo>
                      <a:pt x="101" y="51"/>
                      <a:pt x="107" y="53"/>
                      <a:pt x="109" y="54"/>
                    </a:cubicBezTo>
                    <a:cubicBezTo>
                      <a:pt x="109" y="54"/>
                      <a:pt x="109" y="54"/>
                      <a:pt x="109" y="54"/>
                    </a:cubicBezTo>
                    <a:cubicBezTo>
                      <a:pt x="110" y="54"/>
                      <a:pt x="112" y="53"/>
                      <a:pt x="113" y="53"/>
                    </a:cubicBezTo>
                    <a:cubicBezTo>
                      <a:pt x="114" y="53"/>
                      <a:pt x="114" y="51"/>
                      <a:pt x="115" y="51"/>
                    </a:cubicBezTo>
                    <a:cubicBezTo>
                      <a:pt x="115" y="51"/>
                      <a:pt x="115" y="51"/>
                      <a:pt x="115" y="51"/>
                    </a:cubicBezTo>
                    <a:cubicBezTo>
                      <a:pt x="116" y="51"/>
                      <a:pt x="116" y="52"/>
                      <a:pt x="117" y="52"/>
                    </a:cubicBezTo>
                    <a:cubicBezTo>
                      <a:pt x="119" y="52"/>
                      <a:pt x="122" y="51"/>
                      <a:pt x="124" y="51"/>
                    </a:cubicBezTo>
                    <a:cubicBezTo>
                      <a:pt x="127" y="50"/>
                      <a:pt x="129" y="50"/>
                      <a:pt x="132" y="49"/>
                    </a:cubicBezTo>
                    <a:cubicBezTo>
                      <a:pt x="127" y="47"/>
                      <a:pt x="121" y="45"/>
                      <a:pt x="115" y="44"/>
                    </a:cubicBezTo>
                    <a:cubicBezTo>
                      <a:pt x="110" y="43"/>
                      <a:pt x="109" y="37"/>
                      <a:pt x="105" y="35"/>
                    </a:cubicBezTo>
                    <a:cubicBezTo>
                      <a:pt x="104" y="34"/>
                      <a:pt x="103" y="33"/>
                      <a:pt x="103" y="32"/>
                    </a:cubicBezTo>
                    <a:cubicBezTo>
                      <a:pt x="103" y="31"/>
                      <a:pt x="104" y="30"/>
                      <a:pt x="104" y="29"/>
                    </a:cubicBezTo>
                    <a:cubicBezTo>
                      <a:pt x="103" y="28"/>
                      <a:pt x="102" y="27"/>
                      <a:pt x="102" y="26"/>
                    </a:cubicBezTo>
                    <a:cubicBezTo>
                      <a:pt x="102" y="25"/>
                      <a:pt x="104" y="24"/>
                      <a:pt x="102" y="23"/>
                    </a:cubicBezTo>
                    <a:cubicBezTo>
                      <a:pt x="102" y="23"/>
                      <a:pt x="103" y="23"/>
                      <a:pt x="104" y="23"/>
                    </a:cubicBezTo>
                    <a:cubicBezTo>
                      <a:pt x="104" y="23"/>
                      <a:pt x="104" y="23"/>
                      <a:pt x="104" y="23"/>
                    </a:cubicBezTo>
                    <a:cubicBezTo>
                      <a:pt x="103" y="22"/>
                      <a:pt x="103" y="22"/>
                      <a:pt x="102" y="21"/>
                    </a:cubicBezTo>
                    <a:cubicBezTo>
                      <a:pt x="103" y="21"/>
                      <a:pt x="103" y="21"/>
                      <a:pt x="104" y="21"/>
                    </a:cubicBezTo>
                    <a:cubicBezTo>
                      <a:pt x="107" y="21"/>
                      <a:pt x="110" y="21"/>
                      <a:pt x="107" y="19"/>
                    </a:cubicBezTo>
                    <a:cubicBezTo>
                      <a:pt x="107" y="19"/>
                      <a:pt x="107" y="19"/>
                      <a:pt x="107" y="19"/>
                    </a:cubicBezTo>
                    <a:cubicBezTo>
                      <a:pt x="108" y="19"/>
                      <a:pt x="109" y="19"/>
                      <a:pt x="111" y="19"/>
                    </a:cubicBezTo>
                    <a:cubicBezTo>
                      <a:pt x="112" y="19"/>
                      <a:pt x="113" y="19"/>
                      <a:pt x="114" y="19"/>
                    </a:cubicBezTo>
                    <a:cubicBezTo>
                      <a:pt x="116" y="19"/>
                      <a:pt x="117" y="19"/>
                      <a:pt x="118" y="20"/>
                    </a:cubicBezTo>
                    <a:cubicBezTo>
                      <a:pt x="121" y="24"/>
                      <a:pt x="118" y="24"/>
                      <a:pt x="116" y="25"/>
                    </a:cubicBezTo>
                    <a:cubicBezTo>
                      <a:pt x="114" y="26"/>
                      <a:pt x="113" y="27"/>
                      <a:pt x="112" y="28"/>
                    </a:cubicBezTo>
                    <a:cubicBezTo>
                      <a:pt x="111" y="29"/>
                      <a:pt x="109" y="30"/>
                      <a:pt x="110" y="32"/>
                    </a:cubicBezTo>
                    <a:cubicBezTo>
                      <a:pt x="110" y="34"/>
                      <a:pt x="112" y="34"/>
                      <a:pt x="113" y="36"/>
                    </a:cubicBezTo>
                    <a:cubicBezTo>
                      <a:pt x="113" y="36"/>
                      <a:pt x="113" y="37"/>
                      <a:pt x="114" y="38"/>
                    </a:cubicBezTo>
                    <a:cubicBezTo>
                      <a:pt x="115" y="39"/>
                      <a:pt x="116" y="39"/>
                      <a:pt x="117" y="40"/>
                    </a:cubicBezTo>
                    <a:cubicBezTo>
                      <a:pt x="118" y="41"/>
                      <a:pt x="117" y="41"/>
                      <a:pt x="119" y="42"/>
                    </a:cubicBezTo>
                    <a:cubicBezTo>
                      <a:pt x="121" y="43"/>
                      <a:pt x="123" y="43"/>
                      <a:pt x="125" y="44"/>
                    </a:cubicBezTo>
                    <a:cubicBezTo>
                      <a:pt x="125" y="44"/>
                      <a:pt x="126" y="44"/>
                      <a:pt x="127" y="44"/>
                    </a:cubicBezTo>
                    <a:cubicBezTo>
                      <a:pt x="128" y="44"/>
                      <a:pt x="128" y="44"/>
                      <a:pt x="129" y="44"/>
                    </a:cubicBezTo>
                    <a:cubicBezTo>
                      <a:pt x="129" y="44"/>
                      <a:pt x="130" y="44"/>
                      <a:pt x="131" y="44"/>
                    </a:cubicBezTo>
                    <a:cubicBezTo>
                      <a:pt x="132" y="44"/>
                      <a:pt x="134" y="44"/>
                      <a:pt x="135" y="45"/>
                    </a:cubicBezTo>
                    <a:cubicBezTo>
                      <a:pt x="136" y="45"/>
                      <a:pt x="137" y="46"/>
                      <a:pt x="138" y="46"/>
                    </a:cubicBezTo>
                    <a:cubicBezTo>
                      <a:pt x="139" y="46"/>
                      <a:pt x="139" y="45"/>
                      <a:pt x="141" y="45"/>
                    </a:cubicBezTo>
                    <a:cubicBezTo>
                      <a:pt x="141" y="45"/>
                      <a:pt x="142" y="45"/>
                      <a:pt x="142" y="45"/>
                    </a:cubicBezTo>
                    <a:cubicBezTo>
                      <a:pt x="142" y="45"/>
                      <a:pt x="143" y="45"/>
                      <a:pt x="143" y="45"/>
                    </a:cubicBezTo>
                    <a:cubicBezTo>
                      <a:pt x="143" y="45"/>
                      <a:pt x="143" y="45"/>
                      <a:pt x="144" y="45"/>
                    </a:cubicBezTo>
                    <a:cubicBezTo>
                      <a:pt x="144" y="45"/>
                      <a:pt x="145" y="45"/>
                      <a:pt x="146" y="44"/>
                    </a:cubicBezTo>
                    <a:cubicBezTo>
                      <a:pt x="147" y="44"/>
                      <a:pt x="150" y="42"/>
                      <a:pt x="151" y="41"/>
                    </a:cubicBezTo>
                    <a:cubicBezTo>
                      <a:pt x="152" y="39"/>
                      <a:pt x="151" y="37"/>
                      <a:pt x="154" y="37"/>
                    </a:cubicBezTo>
                    <a:cubicBezTo>
                      <a:pt x="158" y="36"/>
                      <a:pt x="150" y="32"/>
                      <a:pt x="153" y="30"/>
                    </a:cubicBezTo>
                    <a:cubicBezTo>
                      <a:pt x="154" y="29"/>
                      <a:pt x="157" y="28"/>
                      <a:pt x="159" y="28"/>
                    </a:cubicBezTo>
                    <a:cubicBezTo>
                      <a:pt x="160" y="27"/>
                      <a:pt x="162" y="27"/>
                      <a:pt x="163" y="27"/>
                    </a:cubicBezTo>
                    <a:cubicBezTo>
                      <a:pt x="164" y="27"/>
                      <a:pt x="164" y="27"/>
                      <a:pt x="164" y="27"/>
                    </a:cubicBezTo>
                    <a:cubicBezTo>
                      <a:pt x="158" y="22"/>
                      <a:pt x="150" y="21"/>
                      <a:pt x="143" y="18"/>
                    </a:cubicBezTo>
                    <a:cubicBezTo>
                      <a:pt x="139" y="16"/>
                      <a:pt x="135" y="14"/>
                      <a:pt x="131" y="13"/>
                    </a:cubicBezTo>
                    <a:cubicBezTo>
                      <a:pt x="121" y="11"/>
                      <a:pt x="110" y="9"/>
                      <a:pt x="100" y="6"/>
                    </a:cubicBezTo>
                    <a:cubicBezTo>
                      <a:pt x="98" y="6"/>
                      <a:pt x="97" y="5"/>
                      <a:pt x="96" y="4"/>
                    </a:cubicBezTo>
                    <a:cubicBezTo>
                      <a:pt x="93" y="3"/>
                      <a:pt x="91" y="3"/>
                      <a:pt x="89" y="1"/>
                    </a:cubicBezTo>
                    <a:cubicBezTo>
                      <a:pt x="88" y="2"/>
                      <a:pt x="90" y="5"/>
                      <a:pt x="90" y="6"/>
                    </a:cubicBezTo>
                    <a:cubicBezTo>
                      <a:pt x="92" y="8"/>
                      <a:pt x="93" y="8"/>
                      <a:pt x="90" y="8"/>
                    </a:cubicBezTo>
                    <a:cubicBezTo>
                      <a:pt x="90" y="8"/>
                      <a:pt x="89" y="8"/>
                      <a:pt x="89" y="8"/>
                    </a:cubicBezTo>
                    <a:cubicBezTo>
                      <a:pt x="87" y="8"/>
                      <a:pt x="85" y="8"/>
                      <a:pt x="83" y="8"/>
                    </a:cubicBezTo>
                    <a:cubicBezTo>
                      <a:pt x="82" y="8"/>
                      <a:pt x="81" y="8"/>
                      <a:pt x="81" y="8"/>
                    </a:cubicBezTo>
                    <a:cubicBezTo>
                      <a:pt x="79" y="9"/>
                      <a:pt x="80" y="8"/>
                      <a:pt x="79" y="10"/>
                    </a:cubicBezTo>
                    <a:cubicBezTo>
                      <a:pt x="79" y="12"/>
                      <a:pt x="79" y="14"/>
                      <a:pt x="79" y="16"/>
                    </a:cubicBezTo>
                    <a:cubicBezTo>
                      <a:pt x="79" y="19"/>
                      <a:pt x="79" y="18"/>
                      <a:pt x="81" y="20"/>
                    </a:cubicBezTo>
                    <a:cubicBezTo>
                      <a:pt x="82" y="21"/>
                      <a:pt x="82" y="23"/>
                      <a:pt x="79" y="23"/>
                    </a:cubicBezTo>
                    <a:cubicBezTo>
                      <a:pt x="79" y="23"/>
                      <a:pt x="79" y="23"/>
                      <a:pt x="79" y="23"/>
                    </a:cubicBezTo>
                    <a:cubicBezTo>
                      <a:pt x="77" y="23"/>
                      <a:pt x="75" y="23"/>
                      <a:pt x="74" y="20"/>
                    </a:cubicBezTo>
                    <a:cubicBezTo>
                      <a:pt x="72" y="18"/>
                      <a:pt x="72" y="16"/>
                      <a:pt x="69" y="16"/>
                    </a:cubicBezTo>
                    <a:cubicBezTo>
                      <a:pt x="67" y="15"/>
                      <a:pt x="64" y="15"/>
                      <a:pt x="61" y="15"/>
                    </a:cubicBezTo>
                    <a:cubicBezTo>
                      <a:pt x="60" y="15"/>
                      <a:pt x="58" y="13"/>
                      <a:pt x="57" y="12"/>
                    </a:cubicBezTo>
                    <a:cubicBezTo>
                      <a:pt x="52" y="8"/>
                      <a:pt x="47" y="4"/>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1" name="Freeform 260">
                <a:extLst>
                  <a:ext uri="{FF2B5EF4-FFF2-40B4-BE49-F238E27FC236}">
                    <a16:creationId xmlns:a16="http://schemas.microsoft.com/office/drawing/2014/main" id="{13A8B11B-8DDA-4FA2-ACEB-C37D1B26B79B}"/>
                  </a:ext>
                </a:extLst>
              </p:cNvPr>
              <p:cNvSpPr>
                <a:spLocks/>
              </p:cNvSpPr>
              <p:nvPr/>
            </p:nvSpPr>
            <p:spPr bwMode="auto">
              <a:xfrm>
                <a:off x="4929" y="-1122"/>
                <a:ext cx="693" cy="341"/>
              </a:xfrm>
              <a:custGeom>
                <a:avLst/>
                <a:gdLst>
                  <a:gd name="T0" fmla="*/ 245 w 293"/>
                  <a:gd name="T1" fmla="*/ 6 h 144"/>
                  <a:gd name="T2" fmla="*/ 227 w 293"/>
                  <a:gd name="T3" fmla="*/ 17 h 144"/>
                  <a:gd name="T4" fmla="*/ 206 w 293"/>
                  <a:gd name="T5" fmla="*/ 24 h 144"/>
                  <a:gd name="T6" fmla="*/ 194 w 293"/>
                  <a:gd name="T7" fmla="*/ 27 h 144"/>
                  <a:gd name="T8" fmla="*/ 174 w 293"/>
                  <a:gd name="T9" fmla="*/ 30 h 144"/>
                  <a:gd name="T10" fmla="*/ 166 w 293"/>
                  <a:gd name="T11" fmla="*/ 32 h 144"/>
                  <a:gd name="T12" fmla="*/ 163 w 293"/>
                  <a:gd name="T13" fmla="*/ 30 h 144"/>
                  <a:gd name="T14" fmla="*/ 159 w 293"/>
                  <a:gd name="T15" fmla="*/ 30 h 144"/>
                  <a:gd name="T16" fmla="*/ 155 w 293"/>
                  <a:gd name="T17" fmla="*/ 29 h 144"/>
                  <a:gd name="T18" fmla="*/ 145 w 293"/>
                  <a:gd name="T19" fmla="*/ 29 h 144"/>
                  <a:gd name="T20" fmla="*/ 132 w 293"/>
                  <a:gd name="T21" fmla="*/ 40 h 144"/>
                  <a:gd name="T22" fmla="*/ 130 w 293"/>
                  <a:gd name="T23" fmla="*/ 40 h 144"/>
                  <a:gd name="T24" fmla="*/ 127 w 293"/>
                  <a:gd name="T25" fmla="*/ 40 h 144"/>
                  <a:gd name="T26" fmla="*/ 113 w 293"/>
                  <a:gd name="T27" fmla="*/ 43 h 144"/>
                  <a:gd name="T28" fmla="*/ 98 w 293"/>
                  <a:gd name="T29" fmla="*/ 47 h 144"/>
                  <a:gd name="T30" fmla="*/ 80 w 293"/>
                  <a:gd name="T31" fmla="*/ 57 h 144"/>
                  <a:gd name="T32" fmla="*/ 76 w 293"/>
                  <a:gd name="T33" fmla="*/ 66 h 144"/>
                  <a:gd name="T34" fmla="*/ 62 w 293"/>
                  <a:gd name="T35" fmla="*/ 65 h 144"/>
                  <a:gd name="T36" fmla="*/ 54 w 293"/>
                  <a:gd name="T37" fmla="*/ 76 h 144"/>
                  <a:gd name="T38" fmla="*/ 48 w 293"/>
                  <a:gd name="T39" fmla="*/ 73 h 144"/>
                  <a:gd name="T40" fmla="*/ 43 w 293"/>
                  <a:gd name="T41" fmla="*/ 76 h 144"/>
                  <a:gd name="T42" fmla="*/ 52 w 293"/>
                  <a:gd name="T43" fmla="*/ 78 h 144"/>
                  <a:gd name="T44" fmla="*/ 55 w 293"/>
                  <a:gd name="T45" fmla="*/ 80 h 144"/>
                  <a:gd name="T46" fmla="*/ 45 w 293"/>
                  <a:gd name="T47" fmla="*/ 84 h 144"/>
                  <a:gd name="T48" fmla="*/ 52 w 293"/>
                  <a:gd name="T49" fmla="*/ 86 h 144"/>
                  <a:gd name="T50" fmla="*/ 60 w 293"/>
                  <a:gd name="T51" fmla="*/ 90 h 144"/>
                  <a:gd name="T52" fmla="*/ 55 w 293"/>
                  <a:gd name="T53" fmla="*/ 90 h 144"/>
                  <a:gd name="T54" fmla="*/ 43 w 293"/>
                  <a:gd name="T55" fmla="*/ 92 h 144"/>
                  <a:gd name="T56" fmla="*/ 36 w 293"/>
                  <a:gd name="T57" fmla="*/ 92 h 144"/>
                  <a:gd name="T58" fmla="*/ 43 w 293"/>
                  <a:gd name="T59" fmla="*/ 96 h 144"/>
                  <a:gd name="T60" fmla="*/ 35 w 293"/>
                  <a:gd name="T61" fmla="*/ 100 h 144"/>
                  <a:gd name="T62" fmla="*/ 33 w 293"/>
                  <a:gd name="T63" fmla="*/ 106 h 144"/>
                  <a:gd name="T64" fmla="*/ 39 w 293"/>
                  <a:gd name="T65" fmla="*/ 111 h 144"/>
                  <a:gd name="T66" fmla="*/ 33 w 293"/>
                  <a:gd name="T67" fmla="*/ 111 h 144"/>
                  <a:gd name="T68" fmla="*/ 19 w 293"/>
                  <a:gd name="T69" fmla="*/ 114 h 144"/>
                  <a:gd name="T70" fmla="*/ 5 w 293"/>
                  <a:gd name="T71" fmla="*/ 124 h 144"/>
                  <a:gd name="T72" fmla="*/ 0 w 293"/>
                  <a:gd name="T73" fmla="*/ 124 h 144"/>
                  <a:gd name="T74" fmla="*/ 32 w 293"/>
                  <a:gd name="T75" fmla="*/ 127 h 144"/>
                  <a:gd name="T76" fmla="*/ 12 w 293"/>
                  <a:gd name="T77" fmla="*/ 134 h 144"/>
                  <a:gd name="T78" fmla="*/ 16 w 293"/>
                  <a:gd name="T79" fmla="*/ 140 h 144"/>
                  <a:gd name="T80" fmla="*/ 31 w 293"/>
                  <a:gd name="T81" fmla="*/ 141 h 144"/>
                  <a:gd name="T82" fmla="*/ 41 w 293"/>
                  <a:gd name="T83" fmla="*/ 141 h 144"/>
                  <a:gd name="T84" fmla="*/ 48 w 293"/>
                  <a:gd name="T85" fmla="*/ 143 h 144"/>
                  <a:gd name="T86" fmla="*/ 62 w 293"/>
                  <a:gd name="T87" fmla="*/ 138 h 144"/>
                  <a:gd name="T88" fmla="*/ 58 w 293"/>
                  <a:gd name="T89" fmla="*/ 129 h 144"/>
                  <a:gd name="T90" fmla="*/ 71 w 293"/>
                  <a:gd name="T91" fmla="*/ 124 h 144"/>
                  <a:gd name="T92" fmla="*/ 74 w 293"/>
                  <a:gd name="T93" fmla="*/ 124 h 144"/>
                  <a:gd name="T94" fmla="*/ 80 w 293"/>
                  <a:gd name="T95" fmla="*/ 119 h 144"/>
                  <a:gd name="T96" fmla="*/ 69 w 293"/>
                  <a:gd name="T97" fmla="*/ 114 h 144"/>
                  <a:gd name="T98" fmla="*/ 84 w 293"/>
                  <a:gd name="T99" fmla="*/ 117 h 144"/>
                  <a:gd name="T100" fmla="*/ 89 w 293"/>
                  <a:gd name="T101" fmla="*/ 109 h 144"/>
                  <a:gd name="T102" fmla="*/ 94 w 293"/>
                  <a:gd name="T103" fmla="*/ 102 h 144"/>
                  <a:gd name="T104" fmla="*/ 102 w 293"/>
                  <a:gd name="T105" fmla="*/ 100 h 144"/>
                  <a:gd name="T106" fmla="*/ 105 w 293"/>
                  <a:gd name="T107" fmla="*/ 91 h 144"/>
                  <a:gd name="T108" fmla="*/ 116 w 293"/>
                  <a:gd name="T109" fmla="*/ 89 h 144"/>
                  <a:gd name="T110" fmla="*/ 121 w 293"/>
                  <a:gd name="T111" fmla="*/ 89 h 144"/>
                  <a:gd name="T112" fmla="*/ 120 w 293"/>
                  <a:gd name="T113" fmla="*/ 79 h 144"/>
                  <a:gd name="T114" fmla="*/ 148 w 293"/>
                  <a:gd name="T115" fmla="*/ 70 h 144"/>
                  <a:gd name="T116" fmla="*/ 194 w 293"/>
                  <a:gd name="T117" fmla="*/ 54 h 144"/>
                  <a:gd name="T118" fmla="*/ 252 w 293"/>
                  <a:gd name="T119" fmla="*/ 37 h 144"/>
                  <a:gd name="T120" fmla="*/ 289 w 293"/>
                  <a:gd name="T121" fmla="*/ 17 h 144"/>
                  <a:gd name="T122" fmla="*/ 285 w 293"/>
                  <a:gd name="T123" fmla="*/ 5 h 144"/>
                  <a:gd name="T124" fmla="*/ 280 w 293"/>
                  <a:gd name="T125"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 h="144">
                    <a:moveTo>
                      <a:pt x="267" y="0"/>
                    </a:moveTo>
                    <a:cubicBezTo>
                      <a:pt x="266" y="0"/>
                      <a:pt x="264" y="0"/>
                      <a:pt x="263" y="1"/>
                    </a:cubicBezTo>
                    <a:cubicBezTo>
                      <a:pt x="260" y="2"/>
                      <a:pt x="257" y="2"/>
                      <a:pt x="254" y="3"/>
                    </a:cubicBezTo>
                    <a:cubicBezTo>
                      <a:pt x="251" y="3"/>
                      <a:pt x="248" y="5"/>
                      <a:pt x="245" y="6"/>
                    </a:cubicBezTo>
                    <a:cubicBezTo>
                      <a:pt x="242" y="7"/>
                      <a:pt x="236" y="9"/>
                      <a:pt x="234" y="11"/>
                    </a:cubicBezTo>
                    <a:cubicBezTo>
                      <a:pt x="233" y="13"/>
                      <a:pt x="233" y="17"/>
                      <a:pt x="235" y="18"/>
                    </a:cubicBezTo>
                    <a:cubicBezTo>
                      <a:pt x="235" y="18"/>
                      <a:pt x="234" y="19"/>
                      <a:pt x="234" y="19"/>
                    </a:cubicBezTo>
                    <a:cubicBezTo>
                      <a:pt x="231" y="19"/>
                      <a:pt x="229" y="17"/>
                      <a:pt x="227" y="17"/>
                    </a:cubicBezTo>
                    <a:cubicBezTo>
                      <a:pt x="227" y="17"/>
                      <a:pt x="226" y="17"/>
                      <a:pt x="226" y="17"/>
                    </a:cubicBezTo>
                    <a:cubicBezTo>
                      <a:pt x="223" y="17"/>
                      <a:pt x="220" y="21"/>
                      <a:pt x="217" y="21"/>
                    </a:cubicBezTo>
                    <a:cubicBezTo>
                      <a:pt x="217" y="21"/>
                      <a:pt x="217" y="21"/>
                      <a:pt x="216" y="21"/>
                    </a:cubicBezTo>
                    <a:cubicBezTo>
                      <a:pt x="213" y="21"/>
                      <a:pt x="207" y="24"/>
                      <a:pt x="206" y="24"/>
                    </a:cubicBezTo>
                    <a:cubicBezTo>
                      <a:pt x="205" y="25"/>
                      <a:pt x="200" y="28"/>
                      <a:pt x="198" y="28"/>
                    </a:cubicBezTo>
                    <a:cubicBezTo>
                      <a:pt x="198" y="28"/>
                      <a:pt x="198" y="28"/>
                      <a:pt x="198" y="28"/>
                    </a:cubicBezTo>
                    <a:cubicBezTo>
                      <a:pt x="196" y="27"/>
                      <a:pt x="196" y="27"/>
                      <a:pt x="195" y="27"/>
                    </a:cubicBezTo>
                    <a:cubicBezTo>
                      <a:pt x="195" y="27"/>
                      <a:pt x="195" y="27"/>
                      <a:pt x="194" y="27"/>
                    </a:cubicBezTo>
                    <a:cubicBezTo>
                      <a:pt x="190" y="27"/>
                      <a:pt x="186" y="29"/>
                      <a:pt x="182" y="30"/>
                    </a:cubicBezTo>
                    <a:cubicBezTo>
                      <a:pt x="181" y="30"/>
                      <a:pt x="179" y="32"/>
                      <a:pt x="177" y="32"/>
                    </a:cubicBezTo>
                    <a:cubicBezTo>
                      <a:pt x="177" y="32"/>
                      <a:pt x="177" y="32"/>
                      <a:pt x="177" y="32"/>
                    </a:cubicBezTo>
                    <a:cubicBezTo>
                      <a:pt x="176" y="32"/>
                      <a:pt x="176" y="30"/>
                      <a:pt x="174" y="30"/>
                    </a:cubicBezTo>
                    <a:cubicBezTo>
                      <a:pt x="174" y="30"/>
                      <a:pt x="174" y="30"/>
                      <a:pt x="174" y="30"/>
                    </a:cubicBezTo>
                    <a:cubicBezTo>
                      <a:pt x="173" y="30"/>
                      <a:pt x="172" y="30"/>
                      <a:pt x="171" y="31"/>
                    </a:cubicBezTo>
                    <a:cubicBezTo>
                      <a:pt x="169" y="32"/>
                      <a:pt x="168" y="32"/>
                      <a:pt x="167" y="32"/>
                    </a:cubicBezTo>
                    <a:cubicBezTo>
                      <a:pt x="167" y="32"/>
                      <a:pt x="166" y="32"/>
                      <a:pt x="166" y="32"/>
                    </a:cubicBezTo>
                    <a:cubicBezTo>
                      <a:pt x="165" y="31"/>
                      <a:pt x="167" y="30"/>
                      <a:pt x="166" y="30"/>
                    </a:cubicBezTo>
                    <a:cubicBezTo>
                      <a:pt x="166" y="30"/>
                      <a:pt x="166" y="30"/>
                      <a:pt x="165" y="30"/>
                    </a:cubicBezTo>
                    <a:cubicBezTo>
                      <a:pt x="165" y="30"/>
                      <a:pt x="164" y="30"/>
                      <a:pt x="163" y="30"/>
                    </a:cubicBezTo>
                    <a:cubicBezTo>
                      <a:pt x="163" y="30"/>
                      <a:pt x="163" y="30"/>
                      <a:pt x="163" y="30"/>
                    </a:cubicBezTo>
                    <a:cubicBezTo>
                      <a:pt x="162" y="30"/>
                      <a:pt x="162" y="30"/>
                      <a:pt x="162" y="30"/>
                    </a:cubicBezTo>
                    <a:cubicBezTo>
                      <a:pt x="162" y="30"/>
                      <a:pt x="162" y="30"/>
                      <a:pt x="161" y="30"/>
                    </a:cubicBezTo>
                    <a:cubicBezTo>
                      <a:pt x="161" y="30"/>
                      <a:pt x="161" y="30"/>
                      <a:pt x="160" y="30"/>
                    </a:cubicBezTo>
                    <a:cubicBezTo>
                      <a:pt x="160" y="30"/>
                      <a:pt x="160" y="30"/>
                      <a:pt x="159" y="30"/>
                    </a:cubicBezTo>
                    <a:cubicBezTo>
                      <a:pt x="159" y="30"/>
                      <a:pt x="158" y="29"/>
                      <a:pt x="157" y="29"/>
                    </a:cubicBezTo>
                    <a:cubicBezTo>
                      <a:pt x="157" y="29"/>
                      <a:pt x="157" y="29"/>
                      <a:pt x="157" y="29"/>
                    </a:cubicBezTo>
                    <a:cubicBezTo>
                      <a:pt x="157" y="29"/>
                      <a:pt x="156" y="29"/>
                      <a:pt x="156" y="29"/>
                    </a:cubicBezTo>
                    <a:cubicBezTo>
                      <a:pt x="156" y="29"/>
                      <a:pt x="156" y="29"/>
                      <a:pt x="155" y="29"/>
                    </a:cubicBezTo>
                    <a:cubicBezTo>
                      <a:pt x="155" y="29"/>
                      <a:pt x="155" y="29"/>
                      <a:pt x="155" y="29"/>
                    </a:cubicBezTo>
                    <a:cubicBezTo>
                      <a:pt x="154" y="28"/>
                      <a:pt x="153" y="28"/>
                      <a:pt x="153" y="28"/>
                    </a:cubicBezTo>
                    <a:cubicBezTo>
                      <a:pt x="152" y="28"/>
                      <a:pt x="152" y="28"/>
                      <a:pt x="152" y="28"/>
                    </a:cubicBezTo>
                    <a:cubicBezTo>
                      <a:pt x="150" y="29"/>
                      <a:pt x="147" y="29"/>
                      <a:pt x="145" y="29"/>
                    </a:cubicBezTo>
                    <a:cubicBezTo>
                      <a:pt x="142" y="29"/>
                      <a:pt x="140" y="29"/>
                      <a:pt x="141" y="34"/>
                    </a:cubicBezTo>
                    <a:cubicBezTo>
                      <a:pt x="141" y="35"/>
                      <a:pt x="143" y="34"/>
                      <a:pt x="143" y="35"/>
                    </a:cubicBezTo>
                    <a:cubicBezTo>
                      <a:pt x="143" y="37"/>
                      <a:pt x="139" y="38"/>
                      <a:pt x="138" y="38"/>
                    </a:cubicBezTo>
                    <a:cubicBezTo>
                      <a:pt x="136" y="39"/>
                      <a:pt x="134" y="40"/>
                      <a:pt x="132" y="40"/>
                    </a:cubicBezTo>
                    <a:cubicBezTo>
                      <a:pt x="132" y="40"/>
                      <a:pt x="132" y="40"/>
                      <a:pt x="132" y="40"/>
                    </a:cubicBezTo>
                    <a:cubicBezTo>
                      <a:pt x="132" y="40"/>
                      <a:pt x="131" y="40"/>
                      <a:pt x="131" y="40"/>
                    </a:cubicBezTo>
                    <a:cubicBezTo>
                      <a:pt x="131" y="40"/>
                      <a:pt x="130" y="40"/>
                      <a:pt x="130" y="40"/>
                    </a:cubicBezTo>
                    <a:cubicBezTo>
                      <a:pt x="130" y="40"/>
                      <a:pt x="130" y="40"/>
                      <a:pt x="130" y="40"/>
                    </a:cubicBezTo>
                    <a:cubicBezTo>
                      <a:pt x="131" y="38"/>
                      <a:pt x="134" y="35"/>
                      <a:pt x="131" y="35"/>
                    </a:cubicBezTo>
                    <a:cubicBezTo>
                      <a:pt x="131" y="35"/>
                      <a:pt x="130" y="35"/>
                      <a:pt x="130" y="35"/>
                    </a:cubicBezTo>
                    <a:cubicBezTo>
                      <a:pt x="128" y="36"/>
                      <a:pt x="126" y="36"/>
                      <a:pt x="124" y="38"/>
                    </a:cubicBezTo>
                    <a:cubicBezTo>
                      <a:pt x="125" y="38"/>
                      <a:pt x="126" y="39"/>
                      <a:pt x="127" y="40"/>
                    </a:cubicBezTo>
                    <a:cubicBezTo>
                      <a:pt x="125" y="41"/>
                      <a:pt x="123" y="40"/>
                      <a:pt x="121" y="41"/>
                    </a:cubicBezTo>
                    <a:cubicBezTo>
                      <a:pt x="120" y="41"/>
                      <a:pt x="119" y="42"/>
                      <a:pt x="118" y="42"/>
                    </a:cubicBezTo>
                    <a:cubicBezTo>
                      <a:pt x="117" y="43"/>
                      <a:pt x="116" y="43"/>
                      <a:pt x="115" y="43"/>
                    </a:cubicBezTo>
                    <a:cubicBezTo>
                      <a:pt x="115" y="43"/>
                      <a:pt x="114" y="43"/>
                      <a:pt x="113" y="43"/>
                    </a:cubicBezTo>
                    <a:cubicBezTo>
                      <a:pt x="113" y="43"/>
                      <a:pt x="112" y="42"/>
                      <a:pt x="112" y="42"/>
                    </a:cubicBezTo>
                    <a:cubicBezTo>
                      <a:pt x="111" y="42"/>
                      <a:pt x="111" y="43"/>
                      <a:pt x="110" y="43"/>
                    </a:cubicBezTo>
                    <a:cubicBezTo>
                      <a:pt x="107" y="43"/>
                      <a:pt x="105" y="45"/>
                      <a:pt x="102" y="46"/>
                    </a:cubicBezTo>
                    <a:cubicBezTo>
                      <a:pt x="101" y="46"/>
                      <a:pt x="99" y="46"/>
                      <a:pt x="98" y="47"/>
                    </a:cubicBezTo>
                    <a:cubicBezTo>
                      <a:pt x="94" y="49"/>
                      <a:pt x="91" y="51"/>
                      <a:pt x="86" y="52"/>
                    </a:cubicBezTo>
                    <a:cubicBezTo>
                      <a:pt x="86" y="52"/>
                      <a:pt x="84" y="52"/>
                      <a:pt x="83" y="53"/>
                    </a:cubicBezTo>
                    <a:cubicBezTo>
                      <a:pt x="82" y="54"/>
                      <a:pt x="86" y="54"/>
                      <a:pt x="86" y="55"/>
                    </a:cubicBezTo>
                    <a:cubicBezTo>
                      <a:pt x="87" y="57"/>
                      <a:pt x="82" y="57"/>
                      <a:pt x="80" y="57"/>
                    </a:cubicBezTo>
                    <a:cubicBezTo>
                      <a:pt x="79" y="58"/>
                      <a:pt x="77" y="58"/>
                      <a:pt x="75" y="59"/>
                    </a:cubicBezTo>
                    <a:cubicBezTo>
                      <a:pt x="73" y="60"/>
                      <a:pt x="75" y="62"/>
                      <a:pt x="76" y="64"/>
                    </a:cubicBezTo>
                    <a:cubicBezTo>
                      <a:pt x="77" y="65"/>
                      <a:pt x="78" y="65"/>
                      <a:pt x="77" y="66"/>
                    </a:cubicBezTo>
                    <a:cubicBezTo>
                      <a:pt x="77" y="66"/>
                      <a:pt x="76" y="66"/>
                      <a:pt x="76" y="66"/>
                    </a:cubicBezTo>
                    <a:cubicBezTo>
                      <a:pt x="75" y="66"/>
                      <a:pt x="74" y="66"/>
                      <a:pt x="73" y="65"/>
                    </a:cubicBezTo>
                    <a:cubicBezTo>
                      <a:pt x="71" y="64"/>
                      <a:pt x="70" y="65"/>
                      <a:pt x="68" y="64"/>
                    </a:cubicBezTo>
                    <a:cubicBezTo>
                      <a:pt x="66" y="64"/>
                      <a:pt x="66" y="64"/>
                      <a:pt x="65" y="64"/>
                    </a:cubicBezTo>
                    <a:cubicBezTo>
                      <a:pt x="64" y="64"/>
                      <a:pt x="63" y="64"/>
                      <a:pt x="62" y="65"/>
                    </a:cubicBezTo>
                    <a:cubicBezTo>
                      <a:pt x="60" y="65"/>
                      <a:pt x="58" y="67"/>
                      <a:pt x="61" y="68"/>
                    </a:cubicBezTo>
                    <a:cubicBezTo>
                      <a:pt x="64" y="69"/>
                      <a:pt x="58" y="73"/>
                      <a:pt x="57" y="74"/>
                    </a:cubicBezTo>
                    <a:cubicBezTo>
                      <a:pt x="56" y="75"/>
                      <a:pt x="55" y="75"/>
                      <a:pt x="55" y="76"/>
                    </a:cubicBezTo>
                    <a:cubicBezTo>
                      <a:pt x="54" y="76"/>
                      <a:pt x="54" y="76"/>
                      <a:pt x="54" y="76"/>
                    </a:cubicBezTo>
                    <a:cubicBezTo>
                      <a:pt x="53" y="76"/>
                      <a:pt x="54" y="75"/>
                      <a:pt x="53" y="75"/>
                    </a:cubicBezTo>
                    <a:cubicBezTo>
                      <a:pt x="52" y="73"/>
                      <a:pt x="52" y="72"/>
                      <a:pt x="51" y="72"/>
                    </a:cubicBezTo>
                    <a:cubicBezTo>
                      <a:pt x="51" y="72"/>
                      <a:pt x="50" y="72"/>
                      <a:pt x="50" y="72"/>
                    </a:cubicBezTo>
                    <a:cubicBezTo>
                      <a:pt x="49" y="73"/>
                      <a:pt x="49" y="73"/>
                      <a:pt x="48" y="73"/>
                    </a:cubicBezTo>
                    <a:cubicBezTo>
                      <a:pt x="47" y="73"/>
                      <a:pt x="47" y="71"/>
                      <a:pt x="46" y="70"/>
                    </a:cubicBezTo>
                    <a:cubicBezTo>
                      <a:pt x="46" y="70"/>
                      <a:pt x="46" y="70"/>
                      <a:pt x="46" y="70"/>
                    </a:cubicBezTo>
                    <a:cubicBezTo>
                      <a:pt x="44" y="70"/>
                      <a:pt x="39" y="74"/>
                      <a:pt x="40" y="75"/>
                    </a:cubicBezTo>
                    <a:cubicBezTo>
                      <a:pt x="40" y="76"/>
                      <a:pt x="42" y="75"/>
                      <a:pt x="43" y="76"/>
                    </a:cubicBezTo>
                    <a:cubicBezTo>
                      <a:pt x="44" y="77"/>
                      <a:pt x="43" y="79"/>
                      <a:pt x="45" y="79"/>
                    </a:cubicBezTo>
                    <a:cubicBezTo>
                      <a:pt x="45" y="79"/>
                      <a:pt x="45" y="79"/>
                      <a:pt x="45" y="79"/>
                    </a:cubicBezTo>
                    <a:cubicBezTo>
                      <a:pt x="47" y="79"/>
                      <a:pt x="48" y="78"/>
                      <a:pt x="50" y="78"/>
                    </a:cubicBezTo>
                    <a:cubicBezTo>
                      <a:pt x="51" y="78"/>
                      <a:pt x="52" y="78"/>
                      <a:pt x="52" y="78"/>
                    </a:cubicBezTo>
                    <a:cubicBezTo>
                      <a:pt x="53" y="78"/>
                      <a:pt x="53" y="78"/>
                      <a:pt x="51" y="80"/>
                    </a:cubicBezTo>
                    <a:cubicBezTo>
                      <a:pt x="52" y="80"/>
                      <a:pt x="52" y="81"/>
                      <a:pt x="53" y="81"/>
                    </a:cubicBezTo>
                    <a:cubicBezTo>
                      <a:pt x="53" y="81"/>
                      <a:pt x="53" y="81"/>
                      <a:pt x="53" y="81"/>
                    </a:cubicBezTo>
                    <a:cubicBezTo>
                      <a:pt x="53" y="81"/>
                      <a:pt x="54" y="80"/>
                      <a:pt x="55" y="80"/>
                    </a:cubicBezTo>
                    <a:cubicBezTo>
                      <a:pt x="55" y="80"/>
                      <a:pt x="56" y="80"/>
                      <a:pt x="57" y="80"/>
                    </a:cubicBezTo>
                    <a:cubicBezTo>
                      <a:pt x="57" y="80"/>
                      <a:pt x="57" y="80"/>
                      <a:pt x="57" y="81"/>
                    </a:cubicBezTo>
                    <a:cubicBezTo>
                      <a:pt x="55" y="82"/>
                      <a:pt x="52" y="82"/>
                      <a:pt x="50" y="83"/>
                    </a:cubicBezTo>
                    <a:cubicBezTo>
                      <a:pt x="48" y="83"/>
                      <a:pt x="47" y="83"/>
                      <a:pt x="45" y="84"/>
                    </a:cubicBezTo>
                    <a:cubicBezTo>
                      <a:pt x="44" y="85"/>
                      <a:pt x="39" y="85"/>
                      <a:pt x="43" y="87"/>
                    </a:cubicBezTo>
                    <a:cubicBezTo>
                      <a:pt x="43" y="87"/>
                      <a:pt x="44" y="87"/>
                      <a:pt x="44" y="87"/>
                    </a:cubicBezTo>
                    <a:cubicBezTo>
                      <a:pt x="45" y="87"/>
                      <a:pt x="46" y="87"/>
                      <a:pt x="48" y="87"/>
                    </a:cubicBezTo>
                    <a:cubicBezTo>
                      <a:pt x="49" y="86"/>
                      <a:pt x="51" y="86"/>
                      <a:pt x="52" y="86"/>
                    </a:cubicBezTo>
                    <a:cubicBezTo>
                      <a:pt x="53" y="86"/>
                      <a:pt x="54" y="86"/>
                      <a:pt x="54" y="87"/>
                    </a:cubicBezTo>
                    <a:cubicBezTo>
                      <a:pt x="55" y="89"/>
                      <a:pt x="55" y="90"/>
                      <a:pt x="57" y="90"/>
                    </a:cubicBezTo>
                    <a:cubicBezTo>
                      <a:pt x="58" y="90"/>
                      <a:pt x="58" y="90"/>
                      <a:pt x="58" y="90"/>
                    </a:cubicBezTo>
                    <a:cubicBezTo>
                      <a:pt x="59" y="90"/>
                      <a:pt x="59" y="90"/>
                      <a:pt x="60" y="90"/>
                    </a:cubicBezTo>
                    <a:cubicBezTo>
                      <a:pt x="60" y="90"/>
                      <a:pt x="61" y="90"/>
                      <a:pt x="62" y="90"/>
                    </a:cubicBezTo>
                    <a:cubicBezTo>
                      <a:pt x="62" y="90"/>
                      <a:pt x="62" y="90"/>
                      <a:pt x="63" y="90"/>
                    </a:cubicBezTo>
                    <a:cubicBezTo>
                      <a:pt x="62" y="91"/>
                      <a:pt x="61" y="91"/>
                      <a:pt x="59" y="91"/>
                    </a:cubicBezTo>
                    <a:cubicBezTo>
                      <a:pt x="58" y="91"/>
                      <a:pt x="56" y="91"/>
                      <a:pt x="55" y="90"/>
                    </a:cubicBezTo>
                    <a:cubicBezTo>
                      <a:pt x="53" y="90"/>
                      <a:pt x="52" y="90"/>
                      <a:pt x="51" y="90"/>
                    </a:cubicBezTo>
                    <a:cubicBezTo>
                      <a:pt x="51" y="90"/>
                      <a:pt x="50" y="90"/>
                      <a:pt x="50" y="90"/>
                    </a:cubicBezTo>
                    <a:cubicBezTo>
                      <a:pt x="49" y="90"/>
                      <a:pt x="47" y="90"/>
                      <a:pt x="46" y="91"/>
                    </a:cubicBezTo>
                    <a:cubicBezTo>
                      <a:pt x="45" y="91"/>
                      <a:pt x="44" y="91"/>
                      <a:pt x="43" y="92"/>
                    </a:cubicBezTo>
                    <a:cubicBezTo>
                      <a:pt x="43" y="92"/>
                      <a:pt x="43" y="92"/>
                      <a:pt x="43" y="92"/>
                    </a:cubicBezTo>
                    <a:cubicBezTo>
                      <a:pt x="42" y="92"/>
                      <a:pt x="42" y="91"/>
                      <a:pt x="41" y="91"/>
                    </a:cubicBezTo>
                    <a:cubicBezTo>
                      <a:pt x="41" y="91"/>
                      <a:pt x="41" y="91"/>
                      <a:pt x="40" y="91"/>
                    </a:cubicBezTo>
                    <a:cubicBezTo>
                      <a:pt x="39" y="91"/>
                      <a:pt x="37" y="91"/>
                      <a:pt x="36" y="92"/>
                    </a:cubicBezTo>
                    <a:cubicBezTo>
                      <a:pt x="35" y="93"/>
                      <a:pt x="39" y="96"/>
                      <a:pt x="40" y="96"/>
                    </a:cubicBezTo>
                    <a:cubicBezTo>
                      <a:pt x="40" y="96"/>
                      <a:pt x="41" y="96"/>
                      <a:pt x="41" y="96"/>
                    </a:cubicBezTo>
                    <a:cubicBezTo>
                      <a:pt x="41" y="96"/>
                      <a:pt x="42" y="96"/>
                      <a:pt x="42" y="96"/>
                    </a:cubicBezTo>
                    <a:cubicBezTo>
                      <a:pt x="43" y="96"/>
                      <a:pt x="43" y="96"/>
                      <a:pt x="43" y="96"/>
                    </a:cubicBezTo>
                    <a:cubicBezTo>
                      <a:pt x="44" y="96"/>
                      <a:pt x="45" y="96"/>
                      <a:pt x="46" y="97"/>
                    </a:cubicBezTo>
                    <a:cubicBezTo>
                      <a:pt x="46" y="97"/>
                      <a:pt x="47" y="98"/>
                      <a:pt x="48" y="98"/>
                    </a:cubicBezTo>
                    <a:cubicBezTo>
                      <a:pt x="49" y="98"/>
                      <a:pt x="49" y="98"/>
                      <a:pt x="49" y="98"/>
                    </a:cubicBezTo>
                    <a:cubicBezTo>
                      <a:pt x="45" y="100"/>
                      <a:pt x="39" y="99"/>
                      <a:pt x="35" y="100"/>
                    </a:cubicBezTo>
                    <a:cubicBezTo>
                      <a:pt x="33" y="100"/>
                      <a:pt x="28" y="101"/>
                      <a:pt x="32" y="103"/>
                    </a:cubicBezTo>
                    <a:cubicBezTo>
                      <a:pt x="34" y="104"/>
                      <a:pt x="38" y="103"/>
                      <a:pt x="39" y="105"/>
                    </a:cubicBezTo>
                    <a:cubicBezTo>
                      <a:pt x="37" y="105"/>
                      <a:pt x="35" y="106"/>
                      <a:pt x="33" y="106"/>
                    </a:cubicBezTo>
                    <a:cubicBezTo>
                      <a:pt x="33" y="106"/>
                      <a:pt x="33" y="106"/>
                      <a:pt x="33" y="106"/>
                    </a:cubicBezTo>
                    <a:cubicBezTo>
                      <a:pt x="31" y="106"/>
                      <a:pt x="31" y="105"/>
                      <a:pt x="30" y="105"/>
                    </a:cubicBezTo>
                    <a:cubicBezTo>
                      <a:pt x="29" y="105"/>
                      <a:pt x="28" y="106"/>
                      <a:pt x="28" y="106"/>
                    </a:cubicBezTo>
                    <a:cubicBezTo>
                      <a:pt x="29" y="107"/>
                      <a:pt x="32" y="108"/>
                      <a:pt x="34" y="108"/>
                    </a:cubicBezTo>
                    <a:cubicBezTo>
                      <a:pt x="36" y="109"/>
                      <a:pt x="37" y="110"/>
                      <a:pt x="39" y="111"/>
                    </a:cubicBezTo>
                    <a:cubicBezTo>
                      <a:pt x="39" y="111"/>
                      <a:pt x="41" y="111"/>
                      <a:pt x="41" y="111"/>
                    </a:cubicBezTo>
                    <a:cubicBezTo>
                      <a:pt x="42" y="112"/>
                      <a:pt x="41" y="112"/>
                      <a:pt x="40" y="112"/>
                    </a:cubicBezTo>
                    <a:cubicBezTo>
                      <a:pt x="39" y="112"/>
                      <a:pt x="38" y="112"/>
                      <a:pt x="38" y="112"/>
                    </a:cubicBezTo>
                    <a:cubicBezTo>
                      <a:pt x="36" y="112"/>
                      <a:pt x="34" y="111"/>
                      <a:pt x="33" y="111"/>
                    </a:cubicBezTo>
                    <a:cubicBezTo>
                      <a:pt x="31" y="111"/>
                      <a:pt x="30" y="110"/>
                      <a:pt x="28" y="110"/>
                    </a:cubicBezTo>
                    <a:cubicBezTo>
                      <a:pt x="28" y="110"/>
                      <a:pt x="28" y="110"/>
                      <a:pt x="28" y="110"/>
                    </a:cubicBezTo>
                    <a:cubicBezTo>
                      <a:pt x="26" y="110"/>
                      <a:pt x="25" y="111"/>
                      <a:pt x="23" y="112"/>
                    </a:cubicBezTo>
                    <a:cubicBezTo>
                      <a:pt x="22" y="112"/>
                      <a:pt x="20" y="113"/>
                      <a:pt x="19" y="114"/>
                    </a:cubicBezTo>
                    <a:cubicBezTo>
                      <a:pt x="18" y="116"/>
                      <a:pt x="19" y="115"/>
                      <a:pt x="21" y="117"/>
                    </a:cubicBezTo>
                    <a:cubicBezTo>
                      <a:pt x="22" y="117"/>
                      <a:pt x="19" y="118"/>
                      <a:pt x="18" y="118"/>
                    </a:cubicBezTo>
                    <a:cubicBezTo>
                      <a:pt x="15" y="119"/>
                      <a:pt x="12" y="120"/>
                      <a:pt x="9" y="121"/>
                    </a:cubicBezTo>
                    <a:cubicBezTo>
                      <a:pt x="7" y="122"/>
                      <a:pt x="6" y="124"/>
                      <a:pt x="5" y="124"/>
                    </a:cubicBezTo>
                    <a:cubicBezTo>
                      <a:pt x="4" y="125"/>
                      <a:pt x="4" y="125"/>
                      <a:pt x="4" y="125"/>
                    </a:cubicBezTo>
                    <a:cubicBezTo>
                      <a:pt x="3" y="125"/>
                      <a:pt x="2" y="124"/>
                      <a:pt x="2" y="124"/>
                    </a:cubicBezTo>
                    <a:cubicBezTo>
                      <a:pt x="1" y="124"/>
                      <a:pt x="1" y="124"/>
                      <a:pt x="0" y="124"/>
                    </a:cubicBezTo>
                    <a:cubicBezTo>
                      <a:pt x="0" y="124"/>
                      <a:pt x="0" y="124"/>
                      <a:pt x="0" y="124"/>
                    </a:cubicBezTo>
                    <a:cubicBezTo>
                      <a:pt x="4" y="127"/>
                      <a:pt x="8" y="127"/>
                      <a:pt x="13" y="127"/>
                    </a:cubicBezTo>
                    <a:cubicBezTo>
                      <a:pt x="16" y="127"/>
                      <a:pt x="18" y="127"/>
                      <a:pt x="20" y="127"/>
                    </a:cubicBezTo>
                    <a:cubicBezTo>
                      <a:pt x="23" y="127"/>
                      <a:pt x="26" y="127"/>
                      <a:pt x="28" y="127"/>
                    </a:cubicBezTo>
                    <a:cubicBezTo>
                      <a:pt x="29" y="127"/>
                      <a:pt x="31" y="127"/>
                      <a:pt x="32" y="127"/>
                    </a:cubicBezTo>
                    <a:cubicBezTo>
                      <a:pt x="29" y="127"/>
                      <a:pt x="26" y="128"/>
                      <a:pt x="24" y="129"/>
                    </a:cubicBezTo>
                    <a:cubicBezTo>
                      <a:pt x="23" y="129"/>
                      <a:pt x="22" y="129"/>
                      <a:pt x="21" y="129"/>
                    </a:cubicBezTo>
                    <a:cubicBezTo>
                      <a:pt x="20" y="130"/>
                      <a:pt x="19" y="130"/>
                      <a:pt x="18" y="131"/>
                    </a:cubicBezTo>
                    <a:cubicBezTo>
                      <a:pt x="16" y="131"/>
                      <a:pt x="14" y="132"/>
                      <a:pt x="12" y="134"/>
                    </a:cubicBezTo>
                    <a:cubicBezTo>
                      <a:pt x="11" y="134"/>
                      <a:pt x="10" y="135"/>
                      <a:pt x="10" y="136"/>
                    </a:cubicBezTo>
                    <a:cubicBezTo>
                      <a:pt x="10" y="139"/>
                      <a:pt x="9" y="138"/>
                      <a:pt x="7" y="139"/>
                    </a:cubicBezTo>
                    <a:cubicBezTo>
                      <a:pt x="10" y="139"/>
                      <a:pt x="13" y="140"/>
                      <a:pt x="16" y="140"/>
                    </a:cubicBezTo>
                    <a:cubicBezTo>
                      <a:pt x="16" y="140"/>
                      <a:pt x="16" y="140"/>
                      <a:pt x="16" y="140"/>
                    </a:cubicBezTo>
                    <a:cubicBezTo>
                      <a:pt x="16" y="140"/>
                      <a:pt x="16" y="140"/>
                      <a:pt x="16" y="140"/>
                    </a:cubicBezTo>
                    <a:cubicBezTo>
                      <a:pt x="18" y="139"/>
                      <a:pt x="21" y="138"/>
                      <a:pt x="24" y="138"/>
                    </a:cubicBezTo>
                    <a:cubicBezTo>
                      <a:pt x="24" y="138"/>
                      <a:pt x="24" y="138"/>
                      <a:pt x="25" y="138"/>
                    </a:cubicBezTo>
                    <a:cubicBezTo>
                      <a:pt x="27" y="138"/>
                      <a:pt x="29" y="140"/>
                      <a:pt x="31" y="141"/>
                    </a:cubicBezTo>
                    <a:cubicBezTo>
                      <a:pt x="33" y="141"/>
                      <a:pt x="34" y="141"/>
                      <a:pt x="35" y="141"/>
                    </a:cubicBezTo>
                    <a:cubicBezTo>
                      <a:pt x="36" y="141"/>
                      <a:pt x="37" y="141"/>
                      <a:pt x="37" y="141"/>
                    </a:cubicBezTo>
                    <a:cubicBezTo>
                      <a:pt x="38" y="141"/>
                      <a:pt x="38" y="141"/>
                      <a:pt x="39" y="141"/>
                    </a:cubicBezTo>
                    <a:cubicBezTo>
                      <a:pt x="40" y="141"/>
                      <a:pt x="40" y="141"/>
                      <a:pt x="41" y="141"/>
                    </a:cubicBezTo>
                    <a:cubicBezTo>
                      <a:pt x="42" y="141"/>
                      <a:pt x="42" y="141"/>
                      <a:pt x="42" y="141"/>
                    </a:cubicBezTo>
                    <a:cubicBezTo>
                      <a:pt x="43" y="141"/>
                      <a:pt x="43" y="141"/>
                      <a:pt x="43" y="141"/>
                    </a:cubicBezTo>
                    <a:cubicBezTo>
                      <a:pt x="43" y="140"/>
                      <a:pt x="43" y="139"/>
                      <a:pt x="43" y="138"/>
                    </a:cubicBezTo>
                    <a:cubicBezTo>
                      <a:pt x="45" y="139"/>
                      <a:pt x="45" y="142"/>
                      <a:pt x="48" y="143"/>
                    </a:cubicBezTo>
                    <a:cubicBezTo>
                      <a:pt x="50" y="143"/>
                      <a:pt x="51" y="143"/>
                      <a:pt x="53" y="143"/>
                    </a:cubicBezTo>
                    <a:cubicBezTo>
                      <a:pt x="54" y="143"/>
                      <a:pt x="56" y="144"/>
                      <a:pt x="57" y="144"/>
                    </a:cubicBezTo>
                    <a:cubicBezTo>
                      <a:pt x="58" y="144"/>
                      <a:pt x="59" y="144"/>
                      <a:pt x="59" y="143"/>
                    </a:cubicBezTo>
                    <a:cubicBezTo>
                      <a:pt x="59" y="141"/>
                      <a:pt x="59" y="140"/>
                      <a:pt x="62" y="138"/>
                    </a:cubicBezTo>
                    <a:cubicBezTo>
                      <a:pt x="64" y="137"/>
                      <a:pt x="66" y="136"/>
                      <a:pt x="68" y="134"/>
                    </a:cubicBezTo>
                    <a:cubicBezTo>
                      <a:pt x="66" y="134"/>
                      <a:pt x="64" y="133"/>
                      <a:pt x="63" y="132"/>
                    </a:cubicBezTo>
                    <a:cubicBezTo>
                      <a:pt x="62" y="132"/>
                      <a:pt x="61" y="132"/>
                      <a:pt x="60" y="131"/>
                    </a:cubicBezTo>
                    <a:cubicBezTo>
                      <a:pt x="59" y="131"/>
                      <a:pt x="60" y="130"/>
                      <a:pt x="58" y="129"/>
                    </a:cubicBezTo>
                    <a:cubicBezTo>
                      <a:pt x="62" y="129"/>
                      <a:pt x="65" y="132"/>
                      <a:pt x="68" y="133"/>
                    </a:cubicBezTo>
                    <a:cubicBezTo>
                      <a:pt x="68" y="133"/>
                      <a:pt x="68" y="133"/>
                      <a:pt x="68" y="133"/>
                    </a:cubicBezTo>
                    <a:cubicBezTo>
                      <a:pt x="71" y="133"/>
                      <a:pt x="74" y="129"/>
                      <a:pt x="73" y="127"/>
                    </a:cubicBezTo>
                    <a:cubicBezTo>
                      <a:pt x="73" y="126"/>
                      <a:pt x="71" y="124"/>
                      <a:pt x="71" y="124"/>
                    </a:cubicBezTo>
                    <a:cubicBezTo>
                      <a:pt x="67" y="121"/>
                      <a:pt x="60" y="123"/>
                      <a:pt x="56" y="121"/>
                    </a:cubicBezTo>
                    <a:cubicBezTo>
                      <a:pt x="57" y="121"/>
                      <a:pt x="58" y="121"/>
                      <a:pt x="59" y="121"/>
                    </a:cubicBezTo>
                    <a:cubicBezTo>
                      <a:pt x="62" y="121"/>
                      <a:pt x="66" y="122"/>
                      <a:pt x="70" y="122"/>
                    </a:cubicBezTo>
                    <a:cubicBezTo>
                      <a:pt x="71" y="122"/>
                      <a:pt x="72" y="123"/>
                      <a:pt x="74" y="124"/>
                    </a:cubicBezTo>
                    <a:cubicBezTo>
                      <a:pt x="74" y="124"/>
                      <a:pt x="76" y="127"/>
                      <a:pt x="77" y="127"/>
                    </a:cubicBezTo>
                    <a:cubicBezTo>
                      <a:pt x="77" y="127"/>
                      <a:pt x="77" y="127"/>
                      <a:pt x="77" y="127"/>
                    </a:cubicBezTo>
                    <a:cubicBezTo>
                      <a:pt x="80" y="127"/>
                      <a:pt x="80" y="121"/>
                      <a:pt x="80" y="120"/>
                    </a:cubicBezTo>
                    <a:cubicBezTo>
                      <a:pt x="79" y="119"/>
                      <a:pt x="81" y="119"/>
                      <a:pt x="80" y="119"/>
                    </a:cubicBezTo>
                    <a:cubicBezTo>
                      <a:pt x="79" y="118"/>
                      <a:pt x="79" y="118"/>
                      <a:pt x="79" y="118"/>
                    </a:cubicBezTo>
                    <a:cubicBezTo>
                      <a:pt x="78" y="118"/>
                      <a:pt x="77" y="117"/>
                      <a:pt x="77" y="117"/>
                    </a:cubicBezTo>
                    <a:cubicBezTo>
                      <a:pt x="76" y="116"/>
                      <a:pt x="75" y="114"/>
                      <a:pt x="73" y="114"/>
                    </a:cubicBezTo>
                    <a:cubicBezTo>
                      <a:pt x="72" y="114"/>
                      <a:pt x="70" y="114"/>
                      <a:pt x="69" y="114"/>
                    </a:cubicBezTo>
                    <a:cubicBezTo>
                      <a:pt x="70" y="112"/>
                      <a:pt x="73" y="111"/>
                      <a:pt x="72" y="110"/>
                    </a:cubicBezTo>
                    <a:cubicBezTo>
                      <a:pt x="76" y="111"/>
                      <a:pt x="78" y="116"/>
                      <a:pt x="82" y="116"/>
                    </a:cubicBezTo>
                    <a:cubicBezTo>
                      <a:pt x="82" y="116"/>
                      <a:pt x="82" y="116"/>
                      <a:pt x="82" y="116"/>
                    </a:cubicBezTo>
                    <a:cubicBezTo>
                      <a:pt x="84" y="117"/>
                      <a:pt x="84" y="117"/>
                      <a:pt x="84" y="117"/>
                    </a:cubicBezTo>
                    <a:cubicBezTo>
                      <a:pt x="86" y="116"/>
                      <a:pt x="86" y="114"/>
                      <a:pt x="86" y="112"/>
                    </a:cubicBezTo>
                    <a:cubicBezTo>
                      <a:pt x="86" y="111"/>
                      <a:pt x="86" y="112"/>
                      <a:pt x="87" y="110"/>
                    </a:cubicBezTo>
                    <a:cubicBezTo>
                      <a:pt x="88" y="109"/>
                      <a:pt x="88" y="109"/>
                      <a:pt x="88" y="109"/>
                    </a:cubicBezTo>
                    <a:cubicBezTo>
                      <a:pt x="89" y="109"/>
                      <a:pt x="89" y="109"/>
                      <a:pt x="89" y="109"/>
                    </a:cubicBezTo>
                    <a:cubicBezTo>
                      <a:pt x="91" y="109"/>
                      <a:pt x="91" y="110"/>
                      <a:pt x="92" y="110"/>
                    </a:cubicBezTo>
                    <a:cubicBezTo>
                      <a:pt x="93" y="110"/>
                      <a:pt x="93" y="109"/>
                      <a:pt x="94" y="108"/>
                    </a:cubicBezTo>
                    <a:cubicBezTo>
                      <a:pt x="95" y="107"/>
                      <a:pt x="95" y="105"/>
                      <a:pt x="95" y="104"/>
                    </a:cubicBezTo>
                    <a:cubicBezTo>
                      <a:pt x="95" y="103"/>
                      <a:pt x="94" y="102"/>
                      <a:pt x="94" y="102"/>
                    </a:cubicBezTo>
                    <a:cubicBezTo>
                      <a:pt x="94" y="101"/>
                      <a:pt x="95" y="101"/>
                      <a:pt x="94" y="100"/>
                    </a:cubicBezTo>
                    <a:cubicBezTo>
                      <a:pt x="93" y="99"/>
                      <a:pt x="91" y="97"/>
                      <a:pt x="90" y="97"/>
                    </a:cubicBezTo>
                    <a:cubicBezTo>
                      <a:pt x="89" y="97"/>
                      <a:pt x="87" y="96"/>
                      <a:pt x="86" y="95"/>
                    </a:cubicBezTo>
                    <a:cubicBezTo>
                      <a:pt x="92" y="95"/>
                      <a:pt x="97" y="99"/>
                      <a:pt x="102" y="100"/>
                    </a:cubicBezTo>
                    <a:cubicBezTo>
                      <a:pt x="103" y="100"/>
                      <a:pt x="103" y="100"/>
                      <a:pt x="103" y="100"/>
                    </a:cubicBezTo>
                    <a:cubicBezTo>
                      <a:pt x="105" y="100"/>
                      <a:pt x="104" y="98"/>
                      <a:pt x="104" y="96"/>
                    </a:cubicBezTo>
                    <a:cubicBezTo>
                      <a:pt x="105" y="95"/>
                      <a:pt x="106" y="94"/>
                      <a:pt x="105" y="93"/>
                    </a:cubicBezTo>
                    <a:cubicBezTo>
                      <a:pt x="105" y="92"/>
                      <a:pt x="102" y="93"/>
                      <a:pt x="105" y="91"/>
                    </a:cubicBezTo>
                    <a:cubicBezTo>
                      <a:pt x="106" y="90"/>
                      <a:pt x="104" y="90"/>
                      <a:pt x="104" y="89"/>
                    </a:cubicBezTo>
                    <a:cubicBezTo>
                      <a:pt x="108" y="89"/>
                      <a:pt x="110" y="93"/>
                      <a:pt x="114" y="94"/>
                    </a:cubicBezTo>
                    <a:cubicBezTo>
                      <a:pt x="114" y="94"/>
                      <a:pt x="114" y="94"/>
                      <a:pt x="114" y="94"/>
                    </a:cubicBezTo>
                    <a:cubicBezTo>
                      <a:pt x="117" y="94"/>
                      <a:pt x="117" y="91"/>
                      <a:pt x="116" y="89"/>
                    </a:cubicBezTo>
                    <a:cubicBezTo>
                      <a:pt x="116" y="89"/>
                      <a:pt x="115" y="89"/>
                      <a:pt x="115" y="89"/>
                    </a:cubicBezTo>
                    <a:cubicBezTo>
                      <a:pt x="114" y="89"/>
                      <a:pt x="114" y="89"/>
                      <a:pt x="114" y="89"/>
                    </a:cubicBezTo>
                    <a:cubicBezTo>
                      <a:pt x="113" y="89"/>
                      <a:pt x="112" y="87"/>
                      <a:pt x="112" y="87"/>
                    </a:cubicBezTo>
                    <a:cubicBezTo>
                      <a:pt x="115" y="87"/>
                      <a:pt x="118" y="89"/>
                      <a:pt x="121" y="89"/>
                    </a:cubicBezTo>
                    <a:cubicBezTo>
                      <a:pt x="121" y="89"/>
                      <a:pt x="122" y="89"/>
                      <a:pt x="123" y="89"/>
                    </a:cubicBezTo>
                    <a:cubicBezTo>
                      <a:pt x="126" y="88"/>
                      <a:pt x="125" y="88"/>
                      <a:pt x="125" y="86"/>
                    </a:cubicBezTo>
                    <a:cubicBezTo>
                      <a:pt x="125" y="82"/>
                      <a:pt x="130" y="82"/>
                      <a:pt x="132" y="80"/>
                    </a:cubicBezTo>
                    <a:cubicBezTo>
                      <a:pt x="128" y="80"/>
                      <a:pt x="124" y="80"/>
                      <a:pt x="120" y="79"/>
                    </a:cubicBezTo>
                    <a:cubicBezTo>
                      <a:pt x="123" y="78"/>
                      <a:pt x="127" y="78"/>
                      <a:pt x="130" y="78"/>
                    </a:cubicBezTo>
                    <a:cubicBezTo>
                      <a:pt x="135" y="78"/>
                      <a:pt x="134" y="77"/>
                      <a:pt x="137" y="74"/>
                    </a:cubicBezTo>
                    <a:cubicBezTo>
                      <a:pt x="138" y="73"/>
                      <a:pt x="147" y="69"/>
                      <a:pt x="145" y="67"/>
                    </a:cubicBezTo>
                    <a:cubicBezTo>
                      <a:pt x="146" y="67"/>
                      <a:pt x="147" y="70"/>
                      <a:pt x="148" y="70"/>
                    </a:cubicBezTo>
                    <a:cubicBezTo>
                      <a:pt x="148" y="70"/>
                      <a:pt x="148" y="70"/>
                      <a:pt x="148" y="70"/>
                    </a:cubicBezTo>
                    <a:cubicBezTo>
                      <a:pt x="150" y="70"/>
                      <a:pt x="151" y="67"/>
                      <a:pt x="152" y="66"/>
                    </a:cubicBezTo>
                    <a:cubicBezTo>
                      <a:pt x="155" y="63"/>
                      <a:pt x="159" y="62"/>
                      <a:pt x="163" y="61"/>
                    </a:cubicBezTo>
                    <a:cubicBezTo>
                      <a:pt x="173" y="58"/>
                      <a:pt x="185" y="56"/>
                      <a:pt x="194" y="54"/>
                    </a:cubicBezTo>
                    <a:cubicBezTo>
                      <a:pt x="201" y="52"/>
                      <a:pt x="207" y="49"/>
                      <a:pt x="214" y="48"/>
                    </a:cubicBezTo>
                    <a:cubicBezTo>
                      <a:pt x="220" y="47"/>
                      <a:pt x="226" y="44"/>
                      <a:pt x="233" y="43"/>
                    </a:cubicBezTo>
                    <a:cubicBezTo>
                      <a:pt x="235" y="42"/>
                      <a:pt x="237" y="42"/>
                      <a:pt x="240" y="41"/>
                    </a:cubicBezTo>
                    <a:cubicBezTo>
                      <a:pt x="244" y="40"/>
                      <a:pt x="248" y="38"/>
                      <a:pt x="252" y="37"/>
                    </a:cubicBezTo>
                    <a:cubicBezTo>
                      <a:pt x="259" y="36"/>
                      <a:pt x="266" y="31"/>
                      <a:pt x="274" y="30"/>
                    </a:cubicBezTo>
                    <a:cubicBezTo>
                      <a:pt x="275" y="29"/>
                      <a:pt x="276" y="29"/>
                      <a:pt x="277" y="29"/>
                    </a:cubicBezTo>
                    <a:cubicBezTo>
                      <a:pt x="279" y="29"/>
                      <a:pt x="277" y="29"/>
                      <a:pt x="278" y="27"/>
                    </a:cubicBezTo>
                    <a:cubicBezTo>
                      <a:pt x="280" y="24"/>
                      <a:pt x="290" y="21"/>
                      <a:pt x="289" y="17"/>
                    </a:cubicBezTo>
                    <a:cubicBezTo>
                      <a:pt x="289" y="15"/>
                      <a:pt x="293" y="13"/>
                      <a:pt x="292" y="11"/>
                    </a:cubicBezTo>
                    <a:cubicBezTo>
                      <a:pt x="290" y="9"/>
                      <a:pt x="289" y="9"/>
                      <a:pt x="288" y="8"/>
                    </a:cubicBezTo>
                    <a:cubicBezTo>
                      <a:pt x="287" y="7"/>
                      <a:pt x="288" y="6"/>
                      <a:pt x="288" y="6"/>
                    </a:cubicBezTo>
                    <a:cubicBezTo>
                      <a:pt x="285" y="5"/>
                      <a:pt x="285" y="5"/>
                      <a:pt x="285" y="5"/>
                    </a:cubicBezTo>
                    <a:cubicBezTo>
                      <a:pt x="284" y="4"/>
                      <a:pt x="283" y="4"/>
                      <a:pt x="282" y="3"/>
                    </a:cubicBezTo>
                    <a:cubicBezTo>
                      <a:pt x="282" y="3"/>
                      <a:pt x="283" y="2"/>
                      <a:pt x="281" y="2"/>
                    </a:cubicBezTo>
                    <a:cubicBezTo>
                      <a:pt x="281" y="2"/>
                      <a:pt x="281" y="2"/>
                      <a:pt x="281" y="2"/>
                    </a:cubicBezTo>
                    <a:cubicBezTo>
                      <a:pt x="281" y="2"/>
                      <a:pt x="280" y="2"/>
                      <a:pt x="280" y="2"/>
                    </a:cubicBezTo>
                    <a:cubicBezTo>
                      <a:pt x="278" y="2"/>
                      <a:pt x="277" y="2"/>
                      <a:pt x="275" y="1"/>
                    </a:cubicBezTo>
                    <a:cubicBezTo>
                      <a:pt x="273" y="1"/>
                      <a:pt x="270" y="0"/>
                      <a:pt x="2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2" name="Freeform 261">
                <a:extLst>
                  <a:ext uri="{FF2B5EF4-FFF2-40B4-BE49-F238E27FC236}">
                    <a16:creationId xmlns:a16="http://schemas.microsoft.com/office/drawing/2014/main" id="{994A1875-BE2B-48FC-B253-AD9C2D1651C8}"/>
                  </a:ext>
                </a:extLst>
              </p:cNvPr>
              <p:cNvSpPr>
                <a:spLocks/>
              </p:cNvSpPr>
              <p:nvPr/>
            </p:nvSpPr>
            <p:spPr bwMode="auto">
              <a:xfrm>
                <a:off x="8793" y="-840"/>
                <a:ext cx="184" cy="64"/>
              </a:xfrm>
              <a:custGeom>
                <a:avLst/>
                <a:gdLst>
                  <a:gd name="T0" fmla="*/ 47 w 78"/>
                  <a:gd name="T1" fmla="*/ 0 h 27"/>
                  <a:gd name="T2" fmla="*/ 47 w 78"/>
                  <a:gd name="T3" fmla="*/ 0 h 27"/>
                  <a:gd name="T4" fmla="*/ 35 w 78"/>
                  <a:gd name="T5" fmla="*/ 2 h 27"/>
                  <a:gd name="T6" fmla="*/ 34 w 78"/>
                  <a:gd name="T7" fmla="*/ 2 h 27"/>
                  <a:gd name="T8" fmla="*/ 33 w 78"/>
                  <a:gd name="T9" fmla="*/ 2 h 27"/>
                  <a:gd name="T10" fmla="*/ 24 w 78"/>
                  <a:gd name="T11" fmla="*/ 10 h 27"/>
                  <a:gd name="T12" fmla="*/ 11 w 78"/>
                  <a:gd name="T13" fmla="*/ 18 h 27"/>
                  <a:gd name="T14" fmla="*/ 5 w 78"/>
                  <a:gd name="T15" fmla="*/ 21 h 27"/>
                  <a:gd name="T16" fmla="*/ 7 w 78"/>
                  <a:gd name="T17" fmla="*/ 22 h 27"/>
                  <a:gd name="T18" fmla="*/ 10 w 78"/>
                  <a:gd name="T19" fmla="*/ 21 h 27"/>
                  <a:gd name="T20" fmla="*/ 19 w 78"/>
                  <a:gd name="T21" fmla="*/ 18 h 27"/>
                  <a:gd name="T22" fmla="*/ 23 w 78"/>
                  <a:gd name="T23" fmla="*/ 18 h 27"/>
                  <a:gd name="T24" fmla="*/ 30 w 78"/>
                  <a:gd name="T25" fmla="*/ 19 h 27"/>
                  <a:gd name="T26" fmla="*/ 50 w 78"/>
                  <a:gd name="T27" fmla="*/ 24 h 27"/>
                  <a:gd name="T28" fmla="*/ 55 w 78"/>
                  <a:gd name="T29" fmla="*/ 25 h 27"/>
                  <a:gd name="T30" fmla="*/ 56 w 78"/>
                  <a:gd name="T31" fmla="*/ 25 h 27"/>
                  <a:gd name="T32" fmla="*/ 60 w 78"/>
                  <a:gd name="T33" fmla="*/ 25 h 27"/>
                  <a:gd name="T34" fmla="*/ 60 w 78"/>
                  <a:gd name="T35" fmla="*/ 25 h 27"/>
                  <a:gd name="T36" fmla="*/ 71 w 78"/>
                  <a:gd name="T37" fmla="*/ 27 h 27"/>
                  <a:gd name="T38" fmla="*/ 77 w 78"/>
                  <a:gd name="T39" fmla="*/ 26 h 27"/>
                  <a:gd name="T40" fmla="*/ 77 w 78"/>
                  <a:gd name="T41" fmla="*/ 24 h 27"/>
                  <a:gd name="T42" fmla="*/ 76 w 78"/>
                  <a:gd name="T43" fmla="*/ 22 h 27"/>
                  <a:gd name="T44" fmla="*/ 77 w 78"/>
                  <a:gd name="T45" fmla="*/ 17 h 27"/>
                  <a:gd name="T46" fmla="*/ 70 w 78"/>
                  <a:gd name="T47" fmla="*/ 11 h 27"/>
                  <a:gd name="T48" fmla="*/ 61 w 78"/>
                  <a:gd name="T49" fmla="*/ 5 h 27"/>
                  <a:gd name="T50" fmla="*/ 47 w 78"/>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27">
                    <a:moveTo>
                      <a:pt x="47" y="0"/>
                    </a:moveTo>
                    <a:cubicBezTo>
                      <a:pt x="47" y="0"/>
                      <a:pt x="47" y="0"/>
                      <a:pt x="47" y="0"/>
                    </a:cubicBezTo>
                    <a:cubicBezTo>
                      <a:pt x="43" y="1"/>
                      <a:pt x="39" y="2"/>
                      <a:pt x="35" y="2"/>
                    </a:cubicBezTo>
                    <a:cubicBezTo>
                      <a:pt x="34" y="2"/>
                      <a:pt x="34" y="2"/>
                      <a:pt x="34" y="2"/>
                    </a:cubicBezTo>
                    <a:cubicBezTo>
                      <a:pt x="33" y="2"/>
                      <a:pt x="33" y="2"/>
                      <a:pt x="33" y="2"/>
                    </a:cubicBezTo>
                    <a:cubicBezTo>
                      <a:pt x="28" y="2"/>
                      <a:pt x="26" y="7"/>
                      <a:pt x="24" y="10"/>
                    </a:cubicBezTo>
                    <a:cubicBezTo>
                      <a:pt x="21" y="15"/>
                      <a:pt x="18" y="17"/>
                      <a:pt x="11" y="18"/>
                    </a:cubicBezTo>
                    <a:cubicBezTo>
                      <a:pt x="10" y="18"/>
                      <a:pt x="0" y="18"/>
                      <a:pt x="5" y="21"/>
                    </a:cubicBezTo>
                    <a:cubicBezTo>
                      <a:pt x="5" y="21"/>
                      <a:pt x="6" y="22"/>
                      <a:pt x="7" y="22"/>
                    </a:cubicBezTo>
                    <a:cubicBezTo>
                      <a:pt x="8" y="22"/>
                      <a:pt x="9" y="21"/>
                      <a:pt x="10" y="21"/>
                    </a:cubicBezTo>
                    <a:cubicBezTo>
                      <a:pt x="13" y="21"/>
                      <a:pt x="16" y="19"/>
                      <a:pt x="19" y="18"/>
                    </a:cubicBezTo>
                    <a:cubicBezTo>
                      <a:pt x="21" y="18"/>
                      <a:pt x="22" y="18"/>
                      <a:pt x="23" y="18"/>
                    </a:cubicBezTo>
                    <a:cubicBezTo>
                      <a:pt x="25" y="18"/>
                      <a:pt x="27" y="18"/>
                      <a:pt x="30" y="19"/>
                    </a:cubicBezTo>
                    <a:cubicBezTo>
                      <a:pt x="36" y="22"/>
                      <a:pt x="43" y="23"/>
                      <a:pt x="50" y="24"/>
                    </a:cubicBezTo>
                    <a:cubicBezTo>
                      <a:pt x="51" y="24"/>
                      <a:pt x="53" y="25"/>
                      <a:pt x="55" y="25"/>
                    </a:cubicBezTo>
                    <a:cubicBezTo>
                      <a:pt x="55" y="25"/>
                      <a:pt x="55" y="25"/>
                      <a:pt x="56" y="25"/>
                    </a:cubicBezTo>
                    <a:cubicBezTo>
                      <a:pt x="57" y="25"/>
                      <a:pt x="58" y="25"/>
                      <a:pt x="60" y="25"/>
                    </a:cubicBezTo>
                    <a:cubicBezTo>
                      <a:pt x="60" y="25"/>
                      <a:pt x="60" y="25"/>
                      <a:pt x="60" y="25"/>
                    </a:cubicBezTo>
                    <a:cubicBezTo>
                      <a:pt x="64" y="25"/>
                      <a:pt x="68" y="26"/>
                      <a:pt x="71" y="27"/>
                    </a:cubicBezTo>
                    <a:cubicBezTo>
                      <a:pt x="72" y="26"/>
                      <a:pt x="76" y="27"/>
                      <a:pt x="77" y="26"/>
                    </a:cubicBezTo>
                    <a:cubicBezTo>
                      <a:pt x="78" y="24"/>
                      <a:pt x="77" y="25"/>
                      <a:pt x="77" y="24"/>
                    </a:cubicBezTo>
                    <a:cubicBezTo>
                      <a:pt x="77" y="23"/>
                      <a:pt x="76" y="22"/>
                      <a:pt x="76" y="22"/>
                    </a:cubicBezTo>
                    <a:cubicBezTo>
                      <a:pt x="76" y="20"/>
                      <a:pt x="77" y="19"/>
                      <a:pt x="77" y="17"/>
                    </a:cubicBezTo>
                    <a:cubicBezTo>
                      <a:pt x="76" y="15"/>
                      <a:pt x="72" y="12"/>
                      <a:pt x="70" y="11"/>
                    </a:cubicBezTo>
                    <a:cubicBezTo>
                      <a:pt x="67" y="9"/>
                      <a:pt x="64" y="7"/>
                      <a:pt x="61" y="5"/>
                    </a:cubicBezTo>
                    <a:cubicBezTo>
                      <a:pt x="57" y="3"/>
                      <a:pt x="52"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3" name="Freeform 262">
                <a:extLst>
                  <a:ext uri="{FF2B5EF4-FFF2-40B4-BE49-F238E27FC236}">
                    <a16:creationId xmlns:a16="http://schemas.microsoft.com/office/drawing/2014/main" id="{D120F5BC-1087-413C-8229-97F01B09060B}"/>
                  </a:ext>
                </a:extLst>
              </p:cNvPr>
              <p:cNvSpPr>
                <a:spLocks/>
              </p:cNvSpPr>
              <p:nvPr/>
            </p:nvSpPr>
            <p:spPr bwMode="auto">
              <a:xfrm>
                <a:off x="5012" y="-1490"/>
                <a:ext cx="66" cy="9"/>
              </a:xfrm>
              <a:custGeom>
                <a:avLst/>
                <a:gdLst>
                  <a:gd name="T0" fmla="*/ 0 w 28"/>
                  <a:gd name="T1" fmla="*/ 0 h 4"/>
                  <a:gd name="T2" fmla="*/ 3 w 28"/>
                  <a:gd name="T3" fmla="*/ 0 h 4"/>
                  <a:gd name="T4" fmla="*/ 4 w 28"/>
                  <a:gd name="T5" fmla="*/ 3 h 4"/>
                  <a:gd name="T6" fmla="*/ 8 w 28"/>
                  <a:gd name="T7" fmla="*/ 4 h 4"/>
                  <a:gd name="T8" fmla="*/ 8 w 28"/>
                  <a:gd name="T9" fmla="*/ 4 h 4"/>
                  <a:gd name="T10" fmla="*/ 11 w 28"/>
                  <a:gd name="T11" fmla="*/ 3 h 4"/>
                  <a:gd name="T12" fmla="*/ 14 w 28"/>
                  <a:gd name="T13" fmla="*/ 3 h 4"/>
                  <a:gd name="T14" fmla="*/ 15 w 28"/>
                  <a:gd name="T15" fmla="*/ 3 h 4"/>
                  <a:gd name="T16" fmla="*/ 18 w 28"/>
                  <a:gd name="T17" fmla="*/ 4 h 4"/>
                  <a:gd name="T18" fmla="*/ 19 w 28"/>
                  <a:gd name="T19" fmla="*/ 4 h 4"/>
                  <a:gd name="T20" fmla="*/ 22 w 28"/>
                  <a:gd name="T21" fmla="*/ 4 h 4"/>
                  <a:gd name="T22" fmla="*/ 28 w 28"/>
                  <a:gd name="T23" fmla="*/ 1 h 4"/>
                  <a:gd name="T24" fmla="*/ 0 w 28"/>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
                    <a:moveTo>
                      <a:pt x="0" y="0"/>
                    </a:moveTo>
                    <a:cubicBezTo>
                      <a:pt x="1" y="0"/>
                      <a:pt x="2" y="0"/>
                      <a:pt x="3" y="0"/>
                    </a:cubicBezTo>
                    <a:cubicBezTo>
                      <a:pt x="4" y="1"/>
                      <a:pt x="4" y="2"/>
                      <a:pt x="4" y="3"/>
                    </a:cubicBezTo>
                    <a:cubicBezTo>
                      <a:pt x="6" y="4"/>
                      <a:pt x="6" y="4"/>
                      <a:pt x="8" y="4"/>
                    </a:cubicBezTo>
                    <a:cubicBezTo>
                      <a:pt x="8" y="4"/>
                      <a:pt x="8" y="4"/>
                      <a:pt x="8" y="4"/>
                    </a:cubicBezTo>
                    <a:cubicBezTo>
                      <a:pt x="9" y="4"/>
                      <a:pt x="10" y="4"/>
                      <a:pt x="11" y="3"/>
                    </a:cubicBezTo>
                    <a:cubicBezTo>
                      <a:pt x="12" y="3"/>
                      <a:pt x="13" y="3"/>
                      <a:pt x="14" y="3"/>
                    </a:cubicBezTo>
                    <a:cubicBezTo>
                      <a:pt x="15" y="3"/>
                      <a:pt x="15" y="3"/>
                      <a:pt x="15" y="3"/>
                    </a:cubicBezTo>
                    <a:cubicBezTo>
                      <a:pt x="17" y="3"/>
                      <a:pt x="17" y="4"/>
                      <a:pt x="18" y="4"/>
                    </a:cubicBezTo>
                    <a:cubicBezTo>
                      <a:pt x="19" y="4"/>
                      <a:pt x="19" y="4"/>
                      <a:pt x="19" y="4"/>
                    </a:cubicBezTo>
                    <a:cubicBezTo>
                      <a:pt x="20" y="4"/>
                      <a:pt x="21" y="4"/>
                      <a:pt x="22" y="4"/>
                    </a:cubicBezTo>
                    <a:cubicBezTo>
                      <a:pt x="24" y="3"/>
                      <a:pt x="27" y="3"/>
                      <a:pt x="28" y="1"/>
                    </a:cubicBezTo>
                    <a:cubicBezTo>
                      <a:pt x="18" y="1"/>
                      <a:pt x="9"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4" name="Freeform 263">
                <a:extLst>
                  <a:ext uri="{FF2B5EF4-FFF2-40B4-BE49-F238E27FC236}">
                    <a16:creationId xmlns:a16="http://schemas.microsoft.com/office/drawing/2014/main" id="{1CD3CD5E-CC38-44E3-A55A-CA55C7E93C59}"/>
                  </a:ext>
                </a:extLst>
              </p:cNvPr>
              <p:cNvSpPr>
                <a:spLocks/>
              </p:cNvSpPr>
              <p:nvPr/>
            </p:nvSpPr>
            <p:spPr bwMode="auto">
              <a:xfrm>
                <a:off x="4610" y="-1512"/>
                <a:ext cx="234" cy="85"/>
              </a:xfrm>
              <a:custGeom>
                <a:avLst/>
                <a:gdLst>
                  <a:gd name="T0" fmla="*/ 69 w 99"/>
                  <a:gd name="T1" fmla="*/ 0 h 36"/>
                  <a:gd name="T2" fmla="*/ 56 w 99"/>
                  <a:gd name="T3" fmla="*/ 4 h 36"/>
                  <a:gd name="T4" fmla="*/ 47 w 99"/>
                  <a:gd name="T5" fmla="*/ 9 h 36"/>
                  <a:gd name="T6" fmla="*/ 51 w 99"/>
                  <a:gd name="T7" fmla="*/ 8 h 36"/>
                  <a:gd name="T8" fmla="*/ 50 w 99"/>
                  <a:gd name="T9" fmla="*/ 10 h 36"/>
                  <a:gd name="T10" fmla="*/ 53 w 99"/>
                  <a:gd name="T11" fmla="*/ 10 h 36"/>
                  <a:gd name="T12" fmla="*/ 57 w 99"/>
                  <a:gd name="T13" fmla="*/ 9 h 36"/>
                  <a:gd name="T14" fmla="*/ 57 w 99"/>
                  <a:gd name="T15" fmla="*/ 12 h 36"/>
                  <a:gd name="T16" fmla="*/ 55 w 99"/>
                  <a:gd name="T17" fmla="*/ 12 h 36"/>
                  <a:gd name="T18" fmla="*/ 53 w 99"/>
                  <a:gd name="T19" fmla="*/ 15 h 36"/>
                  <a:gd name="T20" fmla="*/ 49 w 99"/>
                  <a:gd name="T21" fmla="*/ 18 h 36"/>
                  <a:gd name="T22" fmla="*/ 48 w 99"/>
                  <a:gd name="T23" fmla="*/ 18 h 36"/>
                  <a:gd name="T24" fmla="*/ 44 w 99"/>
                  <a:gd name="T25" fmla="*/ 18 h 36"/>
                  <a:gd name="T26" fmla="*/ 42 w 99"/>
                  <a:gd name="T27" fmla="*/ 19 h 36"/>
                  <a:gd name="T28" fmla="*/ 34 w 99"/>
                  <a:gd name="T29" fmla="*/ 16 h 36"/>
                  <a:gd name="T30" fmla="*/ 30 w 99"/>
                  <a:gd name="T31" fmla="*/ 17 h 36"/>
                  <a:gd name="T32" fmla="*/ 28 w 99"/>
                  <a:gd name="T33" fmla="*/ 17 h 36"/>
                  <a:gd name="T34" fmla="*/ 17 w 99"/>
                  <a:gd name="T35" fmla="*/ 21 h 36"/>
                  <a:gd name="T36" fmla="*/ 26 w 99"/>
                  <a:gd name="T37" fmla="*/ 20 h 36"/>
                  <a:gd name="T38" fmla="*/ 20 w 99"/>
                  <a:gd name="T39" fmla="*/ 23 h 36"/>
                  <a:gd name="T40" fmla="*/ 27 w 99"/>
                  <a:gd name="T41" fmla="*/ 27 h 36"/>
                  <a:gd name="T42" fmla="*/ 13 w 99"/>
                  <a:gd name="T43" fmla="*/ 25 h 36"/>
                  <a:gd name="T44" fmla="*/ 5 w 99"/>
                  <a:gd name="T45" fmla="*/ 26 h 36"/>
                  <a:gd name="T46" fmla="*/ 7 w 99"/>
                  <a:gd name="T47" fmla="*/ 33 h 36"/>
                  <a:gd name="T48" fmla="*/ 13 w 99"/>
                  <a:gd name="T49" fmla="*/ 32 h 36"/>
                  <a:gd name="T50" fmla="*/ 28 w 99"/>
                  <a:gd name="T51" fmla="*/ 32 h 36"/>
                  <a:gd name="T52" fmla="*/ 20 w 99"/>
                  <a:gd name="T53" fmla="*/ 36 h 36"/>
                  <a:gd name="T54" fmla="*/ 48 w 99"/>
                  <a:gd name="T55" fmla="*/ 33 h 36"/>
                  <a:gd name="T56" fmla="*/ 47 w 99"/>
                  <a:gd name="T57" fmla="*/ 30 h 36"/>
                  <a:gd name="T58" fmla="*/ 52 w 99"/>
                  <a:gd name="T59" fmla="*/ 22 h 36"/>
                  <a:gd name="T60" fmla="*/ 99 w 99"/>
                  <a:gd name="T61" fmla="*/ 9 h 36"/>
                  <a:gd name="T62" fmla="*/ 89 w 99"/>
                  <a:gd name="T63" fmla="*/ 6 h 36"/>
                  <a:gd name="T64" fmla="*/ 87 w 99"/>
                  <a:gd name="T65" fmla="*/ 7 h 36"/>
                  <a:gd name="T66" fmla="*/ 82 w 99"/>
                  <a:gd name="T67" fmla="*/ 0 h 36"/>
                  <a:gd name="T68" fmla="*/ 79 w 99"/>
                  <a:gd name="T69" fmla="*/ 1 h 36"/>
                  <a:gd name="T70" fmla="*/ 76 w 99"/>
                  <a:gd name="T71"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36">
                    <a:moveTo>
                      <a:pt x="69" y="0"/>
                    </a:moveTo>
                    <a:cubicBezTo>
                      <a:pt x="69" y="0"/>
                      <a:pt x="69" y="0"/>
                      <a:pt x="69" y="0"/>
                    </a:cubicBezTo>
                    <a:cubicBezTo>
                      <a:pt x="66" y="0"/>
                      <a:pt x="64" y="1"/>
                      <a:pt x="62" y="1"/>
                    </a:cubicBezTo>
                    <a:cubicBezTo>
                      <a:pt x="60" y="2"/>
                      <a:pt x="58" y="3"/>
                      <a:pt x="56" y="4"/>
                    </a:cubicBezTo>
                    <a:cubicBezTo>
                      <a:pt x="54" y="4"/>
                      <a:pt x="45" y="5"/>
                      <a:pt x="46" y="8"/>
                    </a:cubicBezTo>
                    <a:cubicBezTo>
                      <a:pt x="46" y="9"/>
                      <a:pt x="46" y="9"/>
                      <a:pt x="47" y="9"/>
                    </a:cubicBezTo>
                    <a:cubicBezTo>
                      <a:pt x="48" y="9"/>
                      <a:pt x="48" y="9"/>
                      <a:pt x="49" y="9"/>
                    </a:cubicBezTo>
                    <a:cubicBezTo>
                      <a:pt x="50" y="9"/>
                      <a:pt x="50" y="8"/>
                      <a:pt x="51" y="8"/>
                    </a:cubicBezTo>
                    <a:cubicBezTo>
                      <a:pt x="51" y="8"/>
                      <a:pt x="51" y="8"/>
                      <a:pt x="51" y="8"/>
                    </a:cubicBezTo>
                    <a:cubicBezTo>
                      <a:pt x="51" y="9"/>
                      <a:pt x="51" y="9"/>
                      <a:pt x="50" y="10"/>
                    </a:cubicBezTo>
                    <a:cubicBezTo>
                      <a:pt x="50" y="10"/>
                      <a:pt x="51" y="10"/>
                      <a:pt x="51" y="10"/>
                    </a:cubicBezTo>
                    <a:cubicBezTo>
                      <a:pt x="52" y="10"/>
                      <a:pt x="52" y="10"/>
                      <a:pt x="53" y="10"/>
                    </a:cubicBezTo>
                    <a:cubicBezTo>
                      <a:pt x="54" y="9"/>
                      <a:pt x="55" y="9"/>
                      <a:pt x="56" y="9"/>
                    </a:cubicBezTo>
                    <a:cubicBezTo>
                      <a:pt x="56" y="9"/>
                      <a:pt x="56" y="9"/>
                      <a:pt x="57" y="9"/>
                    </a:cubicBezTo>
                    <a:cubicBezTo>
                      <a:pt x="58" y="10"/>
                      <a:pt x="60" y="11"/>
                      <a:pt x="58" y="12"/>
                    </a:cubicBezTo>
                    <a:cubicBezTo>
                      <a:pt x="58" y="12"/>
                      <a:pt x="58" y="12"/>
                      <a:pt x="57" y="12"/>
                    </a:cubicBezTo>
                    <a:cubicBezTo>
                      <a:pt x="57" y="12"/>
                      <a:pt x="57" y="12"/>
                      <a:pt x="56" y="12"/>
                    </a:cubicBezTo>
                    <a:cubicBezTo>
                      <a:pt x="56" y="12"/>
                      <a:pt x="56" y="12"/>
                      <a:pt x="55" y="12"/>
                    </a:cubicBezTo>
                    <a:cubicBezTo>
                      <a:pt x="55" y="12"/>
                      <a:pt x="55" y="12"/>
                      <a:pt x="54" y="12"/>
                    </a:cubicBezTo>
                    <a:cubicBezTo>
                      <a:pt x="54" y="13"/>
                      <a:pt x="53" y="14"/>
                      <a:pt x="53" y="15"/>
                    </a:cubicBezTo>
                    <a:cubicBezTo>
                      <a:pt x="52" y="16"/>
                      <a:pt x="51" y="15"/>
                      <a:pt x="51" y="16"/>
                    </a:cubicBezTo>
                    <a:cubicBezTo>
                      <a:pt x="50" y="18"/>
                      <a:pt x="49" y="18"/>
                      <a:pt x="49" y="18"/>
                    </a:cubicBezTo>
                    <a:cubicBezTo>
                      <a:pt x="48" y="18"/>
                      <a:pt x="48" y="18"/>
                      <a:pt x="48" y="18"/>
                    </a:cubicBezTo>
                    <a:cubicBezTo>
                      <a:pt x="48" y="18"/>
                      <a:pt x="48" y="18"/>
                      <a:pt x="48" y="18"/>
                    </a:cubicBezTo>
                    <a:cubicBezTo>
                      <a:pt x="48" y="18"/>
                      <a:pt x="48" y="18"/>
                      <a:pt x="48" y="18"/>
                    </a:cubicBezTo>
                    <a:cubicBezTo>
                      <a:pt x="46" y="18"/>
                      <a:pt x="45" y="18"/>
                      <a:pt x="44" y="18"/>
                    </a:cubicBezTo>
                    <a:cubicBezTo>
                      <a:pt x="43" y="18"/>
                      <a:pt x="43" y="19"/>
                      <a:pt x="42" y="19"/>
                    </a:cubicBezTo>
                    <a:cubicBezTo>
                      <a:pt x="42" y="19"/>
                      <a:pt x="42" y="19"/>
                      <a:pt x="42" y="19"/>
                    </a:cubicBezTo>
                    <a:cubicBezTo>
                      <a:pt x="39" y="19"/>
                      <a:pt x="37" y="16"/>
                      <a:pt x="34" y="16"/>
                    </a:cubicBezTo>
                    <a:cubicBezTo>
                      <a:pt x="34" y="16"/>
                      <a:pt x="34" y="16"/>
                      <a:pt x="34" y="16"/>
                    </a:cubicBezTo>
                    <a:cubicBezTo>
                      <a:pt x="33" y="16"/>
                      <a:pt x="33" y="16"/>
                      <a:pt x="32" y="17"/>
                    </a:cubicBezTo>
                    <a:cubicBezTo>
                      <a:pt x="31" y="17"/>
                      <a:pt x="31" y="17"/>
                      <a:pt x="30" y="17"/>
                    </a:cubicBezTo>
                    <a:cubicBezTo>
                      <a:pt x="30" y="17"/>
                      <a:pt x="29" y="17"/>
                      <a:pt x="28" y="17"/>
                    </a:cubicBezTo>
                    <a:cubicBezTo>
                      <a:pt x="28" y="17"/>
                      <a:pt x="28" y="17"/>
                      <a:pt x="28" y="17"/>
                    </a:cubicBezTo>
                    <a:cubicBezTo>
                      <a:pt x="24" y="17"/>
                      <a:pt x="18" y="19"/>
                      <a:pt x="16" y="21"/>
                    </a:cubicBezTo>
                    <a:cubicBezTo>
                      <a:pt x="16" y="21"/>
                      <a:pt x="17" y="21"/>
                      <a:pt x="17" y="21"/>
                    </a:cubicBezTo>
                    <a:cubicBezTo>
                      <a:pt x="19" y="21"/>
                      <a:pt x="20" y="21"/>
                      <a:pt x="22" y="20"/>
                    </a:cubicBezTo>
                    <a:cubicBezTo>
                      <a:pt x="23" y="20"/>
                      <a:pt x="25" y="20"/>
                      <a:pt x="26" y="20"/>
                    </a:cubicBezTo>
                    <a:cubicBezTo>
                      <a:pt x="28" y="20"/>
                      <a:pt x="30" y="20"/>
                      <a:pt x="31" y="22"/>
                    </a:cubicBezTo>
                    <a:cubicBezTo>
                      <a:pt x="30" y="22"/>
                      <a:pt x="21" y="22"/>
                      <a:pt x="20" y="23"/>
                    </a:cubicBezTo>
                    <a:cubicBezTo>
                      <a:pt x="20" y="24"/>
                      <a:pt x="29" y="25"/>
                      <a:pt x="30" y="26"/>
                    </a:cubicBezTo>
                    <a:cubicBezTo>
                      <a:pt x="29" y="26"/>
                      <a:pt x="28" y="26"/>
                      <a:pt x="27" y="27"/>
                    </a:cubicBezTo>
                    <a:cubicBezTo>
                      <a:pt x="27" y="27"/>
                      <a:pt x="26" y="27"/>
                      <a:pt x="25" y="27"/>
                    </a:cubicBezTo>
                    <a:cubicBezTo>
                      <a:pt x="21" y="27"/>
                      <a:pt x="14" y="26"/>
                      <a:pt x="13" y="25"/>
                    </a:cubicBezTo>
                    <a:cubicBezTo>
                      <a:pt x="12" y="25"/>
                      <a:pt x="10" y="25"/>
                      <a:pt x="9" y="25"/>
                    </a:cubicBezTo>
                    <a:cubicBezTo>
                      <a:pt x="8" y="25"/>
                      <a:pt x="7" y="25"/>
                      <a:pt x="5" y="26"/>
                    </a:cubicBezTo>
                    <a:cubicBezTo>
                      <a:pt x="2" y="27"/>
                      <a:pt x="0" y="28"/>
                      <a:pt x="3" y="29"/>
                    </a:cubicBezTo>
                    <a:cubicBezTo>
                      <a:pt x="5" y="30"/>
                      <a:pt x="6" y="32"/>
                      <a:pt x="7" y="33"/>
                    </a:cubicBezTo>
                    <a:cubicBezTo>
                      <a:pt x="8" y="33"/>
                      <a:pt x="9" y="33"/>
                      <a:pt x="9" y="33"/>
                    </a:cubicBezTo>
                    <a:cubicBezTo>
                      <a:pt x="11" y="33"/>
                      <a:pt x="12" y="32"/>
                      <a:pt x="13" y="32"/>
                    </a:cubicBezTo>
                    <a:cubicBezTo>
                      <a:pt x="16" y="31"/>
                      <a:pt x="19" y="30"/>
                      <a:pt x="22" y="30"/>
                    </a:cubicBezTo>
                    <a:cubicBezTo>
                      <a:pt x="24" y="30"/>
                      <a:pt x="27" y="30"/>
                      <a:pt x="28" y="32"/>
                    </a:cubicBezTo>
                    <a:cubicBezTo>
                      <a:pt x="27" y="32"/>
                      <a:pt x="25" y="32"/>
                      <a:pt x="24" y="33"/>
                    </a:cubicBezTo>
                    <a:cubicBezTo>
                      <a:pt x="22" y="33"/>
                      <a:pt x="22" y="34"/>
                      <a:pt x="20" y="36"/>
                    </a:cubicBezTo>
                    <a:cubicBezTo>
                      <a:pt x="26" y="36"/>
                      <a:pt x="31" y="35"/>
                      <a:pt x="36" y="35"/>
                    </a:cubicBezTo>
                    <a:cubicBezTo>
                      <a:pt x="40" y="35"/>
                      <a:pt x="45" y="35"/>
                      <a:pt x="48" y="33"/>
                    </a:cubicBezTo>
                    <a:cubicBezTo>
                      <a:pt x="49" y="32"/>
                      <a:pt x="47" y="32"/>
                      <a:pt x="46" y="32"/>
                    </a:cubicBezTo>
                    <a:cubicBezTo>
                      <a:pt x="47" y="30"/>
                      <a:pt x="47" y="30"/>
                      <a:pt x="47" y="30"/>
                    </a:cubicBezTo>
                    <a:cubicBezTo>
                      <a:pt x="45" y="28"/>
                      <a:pt x="43" y="27"/>
                      <a:pt x="43" y="24"/>
                    </a:cubicBezTo>
                    <a:cubicBezTo>
                      <a:pt x="43" y="23"/>
                      <a:pt x="50" y="22"/>
                      <a:pt x="52" y="22"/>
                    </a:cubicBezTo>
                    <a:cubicBezTo>
                      <a:pt x="58" y="20"/>
                      <a:pt x="64" y="18"/>
                      <a:pt x="71" y="16"/>
                    </a:cubicBezTo>
                    <a:cubicBezTo>
                      <a:pt x="80" y="14"/>
                      <a:pt x="89" y="12"/>
                      <a:pt x="99" y="9"/>
                    </a:cubicBezTo>
                    <a:cubicBezTo>
                      <a:pt x="97" y="8"/>
                      <a:pt x="94" y="8"/>
                      <a:pt x="92" y="7"/>
                    </a:cubicBezTo>
                    <a:cubicBezTo>
                      <a:pt x="91" y="7"/>
                      <a:pt x="90" y="6"/>
                      <a:pt x="89" y="6"/>
                    </a:cubicBezTo>
                    <a:cubicBezTo>
                      <a:pt x="89" y="6"/>
                      <a:pt x="89" y="6"/>
                      <a:pt x="89" y="6"/>
                    </a:cubicBezTo>
                    <a:cubicBezTo>
                      <a:pt x="88" y="6"/>
                      <a:pt x="87" y="7"/>
                      <a:pt x="87" y="7"/>
                    </a:cubicBezTo>
                    <a:cubicBezTo>
                      <a:pt x="86" y="7"/>
                      <a:pt x="86" y="7"/>
                      <a:pt x="86" y="7"/>
                    </a:cubicBezTo>
                    <a:cubicBezTo>
                      <a:pt x="85" y="5"/>
                      <a:pt x="84" y="1"/>
                      <a:pt x="82" y="0"/>
                    </a:cubicBezTo>
                    <a:cubicBezTo>
                      <a:pt x="82" y="0"/>
                      <a:pt x="81" y="0"/>
                      <a:pt x="81" y="0"/>
                    </a:cubicBezTo>
                    <a:cubicBezTo>
                      <a:pt x="80" y="0"/>
                      <a:pt x="80" y="1"/>
                      <a:pt x="79" y="1"/>
                    </a:cubicBezTo>
                    <a:cubicBezTo>
                      <a:pt x="78" y="1"/>
                      <a:pt x="77" y="2"/>
                      <a:pt x="76" y="2"/>
                    </a:cubicBezTo>
                    <a:cubicBezTo>
                      <a:pt x="76" y="2"/>
                      <a:pt x="76" y="2"/>
                      <a:pt x="76" y="2"/>
                    </a:cubicBezTo>
                    <a:cubicBezTo>
                      <a:pt x="74" y="1"/>
                      <a:pt x="72"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5" name="Freeform 264">
                <a:extLst>
                  <a:ext uri="{FF2B5EF4-FFF2-40B4-BE49-F238E27FC236}">
                    <a16:creationId xmlns:a16="http://schemas.microsoft.com/office/drawing/2014/main" id="{3A924CE8-38E3-411F-8930-A2AE80AC5336}"/>
                  </a:ext>
                </a:extLst>
              </p:cNvPr>
              <p:cNvSpPr>
                <a:spLocks/>
              </p:cNvSpPr>
              <p:nvPr/>
            </p:nvSpPr>
            <p:spPr bwMode="auto">
              <a:xfrm>
                <a:off x="6628" y="-1552"/>
                <a:ext cx="296" cy="137"/>
              </a:xfrm>
              <a:custGeom>
                <a:avLst/>
                <a:gdLst>
                  <a:gd name="T0" fmla="*/ 79 w 125"/>
                  <a:gd name="T1" fmla="*/ 0 h 58"/>
                  <a:gd name="T2" fmla="*/ 70 w 125"/>
                  <a:gd name="T3" fmla="*/ 3 h 58"/>
                  <a:gd name="T4" fmla="*/ 70 w 125"/>
                  <a:gd name="T5" fmla="*/ 5 h 58"/>
                  <a:gd name="T6" fmla="*/ 68 w 125"/>
                  <a:gd name="T7" fmla="*/ 6 h 58"/>
                  <a:gd name="T8" fmla="*/ 56 w 125"/>
                  <a:gd name="T9" fmla="*/ 9 h 58"/>
                  <a:gd name="T10" fmla="*/ 51 w 125"/>
                  <a:gd name="T11" fmla="*/ 10 h 58"/>
                  <a:gd name="T12" fmla="*/ 44 w 125"/>
                  <a:gd name="T13" fmla="*/ 11 h 58"/>
                  <a:gd name="T14" fmla="*/ 42 w 125"/>
                  <a:gd name="T15" fmla="*/ 12 h 58"/>
                  <a:gd name="T16" fmla="*/ 41 w 125"/>
                  <a:gd name="T17" fmla="*/ 12 h 58"/>
                  <a:gd name="T18" fmla="*/ 40 w 125"/>
                  <a:gd name="T19" fmla="*/ 12 h 58"/>
                  <a:gd name="T20" fmla="*/ 38 w 125"/>
                  <a:gd name="T21" fmla="*/ 12 h 58"/>
                  <a:gd name="T22" fmla="*/ 33 w 125"/>
                  <a:gd name="T23" fmla="*/ 13 h 58"/>
                  <a:gd name="T24" fmla="*/ 33 w 125"/>
                  <a:gd name="T25" fmla="*/ 17 h 58"/>
                  <a:gd name="T26" fmla="*/ 26 w 125"/>
                  <a:gd name="T27" fmla="*/ 18 h 58"/>
                  <a:gd name="T28" fmla="*/ 25 w 125"/>
                  <a:gd name="T29" fmla="*/ 20 h 58"/>
                  <a:gd name="T30" fmla="*/ 24 w 125"/>
                  <a:gd name="T31" fmla="*/ 22 h 58"/>
                  <a:gd name="T32" fmla="*/ 21 w 125"/>
                  <a:gd name="T33" fmla="*/ 23 h 58"/>
                  <a:gd name="T34" fmla="*/ 25 w 125"/>
                  <a:gd name="T35" fmla="*/ 27 h 58"/>
                  <a:gd name="T36" fmla="*/ 27 w 125"/>
                  <a:gd name="T37" fmla="*/ 30 h 58"/>
                  <a:gd name="T38" fmla="*/ 27 w 125"/>
                  <a:gd name="T39" fmla="*/ 33 h 58"/>
                  <a:gd name="T40" fmla="*/ 23 w 125"/>
                  <a:gd name="T41" fmla="*/ 35 h 58"/>
                  <a:gd name="T42" fmla="*/ 21 w 125"/>
                  <a:gd name="T43" fmla="*/ 35 h 58"/>
                  <a:gd name="T44" fmla="*/ 20 w 125"/>
                  <a:gd name="T45" fmla="*/ 35 h 58"/>
                  <a:gd name="T46" fmla="*/ 20 w 125"/>
                  <a:gd name="T47" fmla="*/ 35 h 58"/>
                  <a:gd name="T48" fmla="*/ 13 w 125"/>
                  <a:gd name="T49" fmla="*/ 36 h 58"/>
                  <a:gd name="T50" fmla="*/ 10 w 125"/>
                  <a:gd name="T51" fmla="*/ 37 h 58"/>
                  <a:gd name="T52" fmla="*/ 13 w 125"/>
                  <a:gd name="T53" fmla="*/ 40 h 58"/>
                  <a:gd name="T54" fmla="*/ 5 w 125"/>
                  <a:gd name="T55" fmla="*/ 41 h 58"/>
                  <a:gd name="T56" fmla="*/ 2 w 125"/>
                  <a:gd name="T57" fmla="*/ 42 h 58"/>
                  <a:gd name="T58" fmla="*/ 1 w 125"/>
                  <a:gd name="T59" fmla="*/ 44 h 58"/>
                  <a:gd name="T60" fmla="*/ 1 w 125"/>
                  <a:gd name="T61" fmla="*/ 44 h 58"/>
                  <a:gd name="T62" fmla="*/ 24 w 125"/>
                  <a:gd name="T63" fmla="*/ 44 h 58"/>
                  <a:gd name="T64" fmla="*/ 31 w 125"/>
                  <a:gd name="T65" fmla="*/ 44 h 58"/>
                  <a:gd name="T66" fmla="*/ 36 w 125"/>
                  <a:gd name="T67" fmla="*/ 45 h 58"/>
                  <a:gd name="T68" fmla="*/ 35 w 125"/>
                  <a:gd name="T69" fmla="*/ 46 h 58"/>
                  <a:gd name="T70" fmla="*/ 27 w 125"/>
                  <a:gd name="T71" fmla="*/ 45 h 58"/>
                  <a:gd name="T72" fmla="*/ 18 w 125"/>
                  <a:gd name="T73" fmla="*/ 45 h 58"/>
                  <a:gd name="T74" fmla="*/ 16 w 125"/>
                  <a:gd name="T75" fmla="*/ 45 h 58"/>
                  <a:gd name="T76" fmla="*/ 23 w 125"/>
                  <a:gd name="T77" fmla="*/ 49 h 58"/>
                  <a:gd name="T78" fmla="*/ 28 w 125"/>
                  <a:gd name="T79" fmla="*/ 50 h 58"/>
                  <a:gd name="T80" fmla="*/ 27 w 125"/>
                  <a:gd name="T81" fmla="*/ 50 h 58"/>
                  <a:gd name="T82" fmla="*/ 17 w 125"/>
                  <a:gd name="T83" fmla="*/ 49 h 58"/>
                  <a:gd name="T84" fmla="*/ 29 w 125"/>
                  <a:gd name="T85" fmla="*/ 53 h 58"/>
                  <a:gd name="T86" fmla="*/ 36 w 125"/>
                  <a:gd name="T87" fmla="*/ 56 h 58"/>
                  <a:gd name="T88" fmla="*/ 44 w 125"/>
                  <a:gd name="T89" fmla="*/ 58 h 58"/>
                  <a:gd name="T90" fmla="*/ 45 w 125"/>
                  <a:gd name="T91" fmla="*/ 58 h 58"/>
                  <a:gd name="T92" fmla="*/ 68 w 125"/>
                  <a:gd name="T93" fmla="*/ 52 h 58"/>
                  <a:gd name="T94" fmla="*/ 89 w 125"/>
                  <a:gd name="T95" fmla="*/ 48 h 58"/>
                  <a:gd name="T96" fmla="*/ 107 w 125"/>
                  <a:gd name="T97" fmla="*/ 47 h 58"/>
                  <a:gd name="T98" fmla="*/ 110 w 125"/>
                  <a:gd name="T99" fmla="*/ 40 h 58"/>
                  <a:gd name="T100" fmla="*/ 109 w 125"/>
                  <a:gd name="T101" fmla="*/ 35 h 58"/>
                  <a:gd name="T102" fmla="*/ 109 w 125"/>
                  <a:gd name="T103" fmla="*/ 29 h 58"/>
                  <a:gd name="T104" fmla="*/ 125 w 125"/>
                  <a:gd name="T105" fmla="*/ 27 h 58"/>
                  <a:gd name="T106" fmla="*/ 101 w 125"/>
                  <a:gd name="T107" fmla="*/ 12 h 58"/>
                  <a:gd name="T108" fmla="*/ 87 w 125"/>
                  <a:gd name="T109" fmla="*/ 3 h 58"/>
                  <a:gd name="T110" fmla="*/ 79 w 125"/>
                  <a:gd name="T11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58">
                    <a:moveTo>
                      <a:pt x="79" y="0"/>
                    </a:moveTo>
                    <a:cubicBezTo>
                      <a:pt x="76" y="1"/>
                      <a:pt x="70" y="0"/>
                      <a:pt x="70" y="3"/>
                    </a:cubicBezTo>
                    <a:cubicBezTo>
                      <a:pt x="70" y="4"/>
                      <a:pt x="72" y="4"/>
                      <a:pt x="70" y="5"/>
                    </a:cubicBezTo>
                    <a:cubicBezTo>
                      <a:pt x="69" y="5"/>
                      <a:pt x="69" y="6"/>
                      <a:pt x="68" y="6"/>
                    </a:cubicBezTo>
                    <a:cubicBezTo>
                      <a:pt x="64" y="9"/>
                      <a:pt x="60" y="8"/>
                      <a:pt x="56" y="9"/>
                    </a:cubicBezTo>
                    <a:cubicBezTo>
                      <a:pt x="54" y="9"/>
                      <a:pt x="53" y="10"/>
                      <a:pt x="51" y="10"/>
                    </a:cubicBezTo>
                    <a:cubicBezTo>
                      <a:pt x="49" y="11"/>
                      <a:pt x="46" y="11"/>
                      <a:pt x="44" y="11"/>
                    </a:cubicBezTo>
                    <a:cubicBezTo>
                      <a:pt x="43" y="11"/>
                      <a:pt x="43" y="12"/>
                      <a:pt x="42" y="12"/>
                    </a:cubicBezTo>
                    <a:cubicBezTo>
                      <a:pt x="42" y="12"/>
                      <a:pt x="41" y="12"/>
                      <a:pt x="41" y="12"/>
                    </a:cubicBezTo>
                    <a:cubicBezTo>
                      <a:pt x="41" y="12"/>
                      <a:pt x="40" y="12"/>
                      <a:pt x="40" y="12"/>
                    </a:cubicBezTo>
                    <a:cubicBezTo>
                      <a:pt x="39" y="12"/>
                      <a:pt x="39" y="12"/>
                      <a:pt x="38" y="12"/>
                    </a:cubicBezTo>
                    <a:cubicBezTo>
                      <a:pt x="37" y="12"/>
                      <a:pt x="35" y="12"/>
                      <a:pt x="33" y="13"/>
                    </a:cubicBezTo>
                    <a:cubicBezTo>
                      <a:pt x="30" y="15"/>
                      <a:pt x="35" y="15"/>
                      <a:pt x="33" y="17"/>
                    </a:cubicBezTo>
                    <a:cubicBezTo>
                      <a:pt x="33" y="18"/>
                      <a:pt x="28" y="17"/>
                      <a:pt x="26" y="18"/>
                    </a:cubicBezTo>
                    <a:cubicBezTo>
                      <a:pt x="24" y="19"/>
                      <a:pt x="26" y="19"/>
                      <a:pt x="25" y="20"/>
                    </a:cubicBezTo>
                    <a:cubicBezTo>
                      <a:pt x="25" y="21"/>
                      <a:pt x="24" y="21"/>
                      <a:pt x="24" y="22"/>
                    </a:cubicBezTo>
                    <a:cubicBezTo>
                      <a:pt x="23" y="22"/>
                      <a:pt x="22" y="22"/>
                      <a:pt x="21" y="23"/>
                    </a:cubicBezTo>
                    <a:cubicBezTo>
                      <a:pt x="21" y="25"/>
                      <a:pt x="24" y="26"/>
                      <a:pt x="25" y="27"/>
                    </a:cubicBezTo>
                    <a:cubicBezTo>
                      <a:pt x="27" y="28"/>
                      <a:pt x="27" y="28"/>
                      <a:pt x="27" y="30"/>
                    </a:cubicBezTo>
                    <a:cubicBezTo>
                      <a:pt x="27" y="31"/>
                      <a:pt x="27" y="32"/>
                      <a:pt x="27" y="33"/>
                    </a:cubicBezTo>
                    <a:cubicBezTo>
                      <a:pt x="26" y="35"/>
                      <a:pt x="25" y="35"/>
                      <a:pt x="23" y="35"/>
                    </a:cubicBezTo>
                    <a:cubicBezTo>
                      <a:pt x="22" y="35"/>
                      <a:pt x="22" y="35"/>
                      <a:pt x="21" y="35"/>
                    </a:cubicBezTo>
                    <a:cubicBezTo>
                      <a:pt x="21" y="35"/>
                      <a:pt x="20" y="35"/>
                      <a:pt x="20" y="35"/>
                    </a:cubicBezTo>
                    <a:cubicBezTo>
                      <a:pt x="20" y="35"/>
                      <a:pt x="20" y="35"/>
                      <a:pt x="20" y="35"/>
                    </a:cubicBezTo>
                    <a:cubicBezTo>
                      <a:pt x="17" y="35"/>
                      <a:pt x="16" y="36"/>
                      <a:pt x="13" y="36"/>
                    </a:cubicBezTo>
                    <a:cubicBezTo>
                      <a:pt x="12" y="37"/>
                      <a:pt x="11" y="37"/>
                      <a:pt x="10" y="37"/>
                    </a:cubicBezTo>
                    <a:cubicBezTo>
                      <a:pt x="9" y="37"/>
                      <a:pt x="13" y="40"/>
                      <a:pt x="13" y="40"/>
                    </a:cubicBezTo>
                    <a:cubicBezTo>
                      <a:pt x="10" y="40"/>
                      <a:pt x="7" y="40"/>
                      <a:pt x="5" y="41"/>
                    </a:cubicBezTo>
                    <a:cubicBezTo>
                      <a:pt x="5" y="41"/>
                      <a:pt x="3" y="42"/>
                      <a:pt x="2" y="42"/>
                    </a:cubicBezTo>
                    <a:cubicBezTo>
                      <a:pt x="1" y="43"/>
                      <a:pt x="0" y="44"/>
                      <a:pt x="1" y="44"/>
                    </a:cubicBezTo>
                    <a:cubicBezTo>
                      <a:pt x="1" y="44"/>
                      <a:pt x="1" y="44"/>
                      <a:pt x="1" y="44"/>
                    </a:cubicBezTo>
                    <a:cubicBezTo>
                      <a:pt x="8" y="44"/>
                      <a:pt x="16" y="44"/>
                      <a:pt x="24" y="44"/>
                    </a:cubicBezTo>
                    <a:cubicBezTo>
                      <a:pt x="25" y="44"/>
                      <a:pt x="28" y="44"/>
                      <a:pt x="31" y="44"/>
                    </a:cubicBezTo>
                    <a:cubicBezTo>
                      <a:pt x="33" y="44"/>
                      <a:pt x="36" y="44"/>
                      <a:pt x="36" y="45"/>
                    </a:cubicBezTo>
                    <a:cubicBezTo>
                      <a:pt x="36" y="46"/>
                      <a:pt x="36" y="46"/>
                      <a:pt x="35" y="46"/>
                    </a:cubicBezTo>
                    <a:cubicBezTo>
                      <a:pt x="34" y="46"/>
                      <a:pt x="31" y="45"/>
                      <a:pt x="27" y="45"/>
                    </a:cubicBezTo>
                    <a:cubicBezTo>
                      <a:pt x="24" y="45"/>
                      <a:pt x="20" y="45"/>
                      <a:pt x="18" y="45"/>
                    </a:cubicBezTo>
                    <a:cubicBezTo>
                      <a:pt x="16" y="45"/>
                      <a:pt x="16" y="45"/>
                      <a:pt x="16" y="45"/>
                    </a:cubicBezTo>
                    <a:cubicBezTo>
                      <a:pt x="15" y="47"/>
                      <a:pt x="22" y="49"/>
                      <a:pt x="23" y="49"/>
                    </a:cubicBezTo>
                    <a:cubicBezTo>
                      <a:pt x="25" y="49"/>
                      <a:pt x="27" y="49"/>
                      <a:pt x="28" y="50"/>
                    </a:cubicBezTo>
                    <a:cubicBezTo>
                      <a:pt x="28" y="50"/>
                      <a:pt x="27" y="50"/>
                      <a:pt x="27" y="50"/>
                    </a:cubicBezTo>
                    <a:cubicBezTo>
                      <a:pt x="24" y="50"/>
                      <a:pt x="21" y="49"/>
                      <a:pt x="17" y="49"/>
                    </a:cubicBezTo>
                    <a:cubicBezTo>
                      <a:pt x="20" y="51"/>
                      <a:pt x="26" y="52"/>
                      <a:pt x="29" y="53"/>
                    </a:cubicBezTo>
                    <a:cubicBezTo>
                      <a:pt x="32" y="53"/>
                      <a:pt x="34" y="56"/>
                      <a:pt x="36" y="56"/>
                    </a:cubicBezTo>
                    <a:cubicBezTo>
                      <a:pt x="39" y="57"/>
                      <a:pt x="42" y="58"/>
                      <a:pt x="44" y="58"/>
                    </a:cubicBezTo>
                    <a:cubicBezTo>
                      <a:pt x="45" y="58"/>
                      <a:pt x="45" y="58"/>
                      <a:pt x="45" y="58"/>
                    </a:cubicBezTo>
                    <a:cubicBezTo>
                      <a:pt x="52" y="57"/>
                      <a:pt x="60" y="54"/>
                      <a:pt x="68" y="52"/>
                    </a:cubicBezTo>
                    <a:cubicBezTo>
                      <a:pt x="75" y="51"/>
                      <a:pt x="81" y="48"/>
                      <a:pt x="89" y="48"/>
                    </a:cubicBezTo>
                    <a:cubicBezTo>
                      <a:pt x="95" y="48"/>
                      <a:pt x="101" y="48"/>
                      <a:pt x="107" y="47"/>
                    </a:cubicBezTo>
                    <a:cubicBezTo>
                      <a:pt x="111" y="47"/>
                      <a:pt x="111" y="45"/>
                      <a:pt x="110" y="40"/>
                    </a:cubicBezTo>
                    <a:cubicBezTo>
                      <a:pt x="110" y="39"/>
                      <a:pt x="110" y="36"/>
                      <a:pt x="109" y="35"/>
                    </a:cubicBezTo>
                    <a:cubicBezTo>
                      <a:pt x="107" y="34"/>
                      <a:pt x="107" y="31"/>
                      <a:pt x="109" y="29"/>
                    </a:cubicBezTo>
                    <a:cubicBezTo>
                      <a:pt x="114" y="27"/>
                      <a:pt x="120" y="27"/>
                      <a:pt x="125" y="27"/>
                    </a:cubicBezTo>
                    <a:cubicBezTo>
                      <a:pt x="117" y="22"/>
                      <a:pt x="109" y="17"/>
                      <a:pt x="101" y="12"/>
                    </a:cubicBezTo>
                    <a:cubicBezTo>
                      <a:pt x="96" y="9"/>
                      <a:pt x="91" y="6"/>
                      <a:pt x="87" y="3"/>
                    </a:cubicBezTo>
                    <a:cubicBezTo>
                      <a:pt x="84" y="1"/>
                      <a:pt x="82" y="1"/>
                      <a:pt x="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6" name="Freeform 265">
                <a:extLst>
                  <a:ext uri="{FF2B5EF4-FFF2-40B4-BE49-F238E27FC236}">
                    <a16:creationId xmlns:a16="http://schemas.microsoft.com/office/drawing/2014/main" id="{C33AA2C6-9CF4-4419-B424-6310AABA333A}"/>
                  </a:ext>
                </a:extLst>
              </p:cNvPr>
              <p:cNvSpPr>
                <a:spLocks/>
              </p:cNvSpPr>
              <p:nvPr/>
            </p:nvSpPr>
            <p:spPr bwMode="auto">
              <a:xfrm>
                <a:off x="6694" y="-1434"/>
                <a:ext cx="324" cy="142"/>
              </a:xfrm>
              <a:custGeom>
                <a:avLst/>
                <a:gdLst>
                  <a:gd name="T0" fmla="*/ 81 w 137"/>
                  <a:gd name="T1" fmla="*/ 0 h 60"/>
                  <a:gd name="T2" fmla="*/ 74 w 137"/>
                  <a:gd name="T3" fmla="*/ 2 h 60"/>
                  <a:gd name="T4" fmla="*/ 72 w 137"/>
                  <a:gd name="T5" fmla="*/ 2 h 60"/>
                  <a:gd name="T6" fmla="*/ 67 w 137"/>
                  <a:gd name="T7" fmla="*/ 3 h 60"/>
                  <a:gd name="T8" fmla="*/ 66 w 137"/>
                  <a:gd name="T9" fmla="*/ 3 h 60"/>
                  <a:gd name="T10" fmla="*/ 65 w 137"/>
                  <a:gd name="T11" fmla="*/ 3 h 60"/>
                  <a:gd name="T12" fmla="*/ 62 w 137"/>
                  <a:gd name="T13" fmla="*/ 4 h 60"/>
                  <a:gd name="T14" fmla="*/ 60 w 137"/>
                  <a:gd name="T15" fmla="*/ 3 h 60"/>
                  <a:gd name="T16" fmla="*/ 54 w 137"/>
                  <a:gd name="T17" fmla="*/ 3 h 60"/>
                  <a:gd name="T18" fmla="*/ 48 w 137"/>
                  <a:gd name="T19" fmla="*/ 4 h 60"/>
                  <a:gd name="T20" fmla="*/ 44 w 137"/>
                  <a:gd name="T21" fmla="*/ 6 h 60"/>
                  <a:gd name="T22" fmla="*/ 39 w 137"/>
                  <a:gd name="T23" fmla="*/ 3 h 60"/>
                  <a:gd name="T24" fmla="*/ 35 w 137"/>
                  <a:gd name="T25" fmla="*/ 7 h 60"/>
                  <a:gd name="T26" fmla="*/ 26 w 137"/>
                  <a:gd name="T27" fmla="*/ 12 h 60"/>
                  <a:gd name="T28" fmla="*/ 22 w 137"/>
                  <a:gd name="T29" fmla="*/ 19 h 60"/>
                  <a:gd name="T30" fmla="*/ 9 w 137"/>
                  <a:gd name="T31" fmla="*/ 26 h 60"/>
                  <a:gd name="T32" fmla="*/ 4 w 137"/>
                  <a:gd name="T33" fmla="*/ 27 h 60"/>
                  <a:gd name="T34" fmla="*/ 0 w 137"/>
                  <a:gd name="T35" fmla="*/ 26 h 60"/>
                  <a:gd name="T36" fmla="*/ 6 w 137"/>
                  <a:gd name="T37" fmla="*/ 31 h 60"/>
                  <a:gd name="T38" fmla="*/ 16 w 137"/>
                  <a:gd name="T39" fmla="*/ 25 h 60"/>
                  <a:gd name="T40" fmla="*/ 21 w 137"/>
                  <a:gd name="T41" fmla="*/ 29 h 60"/>
                  <a:gd name="T42" fmla="*/ 21 w 137"/>
                  <a:gd name="T43" fmla="*/ 32 h 60"/>
                  <a:gd name="T44" fmla="*/ 24 w 137"/>
                  <a:gd name="T45" fmla="*/ 32 h 60"/>
                  <a:gd name="T46" fmla="*/ 28 w 137"/>
                  <a:gd name="T47" fmla="*/ 33 h 60"/>
                  <a:gd name="T48" fmla="*/ 28 w 137"/>
                  <a:gd name="T49" fmla="*/ 39 h 60"/>
                  <a:gd name="T50" fmla="*/ 34 w 137"/>
                  <a:gd name="T51" fmla="*/ 42 h 60"/>
                  <a:gd name="T52" fmla="*/ 37 w 137"/>
                  <a:gd name="T53" fmla="*/ 47 h 60"/>
                  <a:gd name="T54" fmla="*/ 43 w 137"/>
                  <a:gd name="T55" fmla="*/ 49 h 60"/>
                  <a:gd name="T56" fmla="*/ 52 w 137"/>
                  <a:gd name="T57" fmla="*/ 47 h 60"/>
                  <a:gd name="T58" fmla="*/ 57 w 137"/>
                  <a:gd name="T59" fmla="*/ 51 h 60"/>
                  <a:gd name="T60" fmla="*/ 66 w 137"/>
                  <a:gd name="T61" fmla="*/ 50 h 60"/>
                  <a:gd name="T62" fmla="*/ 65 w 137"/>
                  <a:gd name="T63" fmla="*/ 51 h 60"/>
                  <a:gd name="T64" fmla="*/ 69 w 137"/>
                  <a:gd name="T65" fmla="*/ 51 h 60"/>
                  <a:gd name="T66" fmla="*/ 74 w 137"/>
                  <a:gd name="T67" fmla="*/ 51 h 60"/>
                  <a:gd name="T68" fmla="*/ 79 w 137"/>
                  <a:gd name="T69" fmla="*/ 54 h 60"/>
                  <a:gd name="T70" fmla="*/ 90 w 137"/>
                  <a:gd name="T71" fmla="*/ 57 h 60"/>
                  <a:gd name="T72" fmla="*/ 97 w 137"/>
                  <a:gd name="T73" fmla="*/ 58 h 60"/>
                  <a:gd name="T74" fmla="*/ 105 w 137"/>
                  <a:gd name="T75" fmla="*/ 60 h 60"/>
                  <a:gd name="T76" fmla="*/ 130 w 137"/>
                  <a:gd name="T77" fmla="*/ 55 h 60"/>
                  <a:gd name="T78" fmla="*/ 130 w 137"/>
                  <a:gd name="T79" fmla="*/ 46 h 60"/>
                  <a:gd name="T80" fmla="*/ 121 w 137"/>
                  <a:gd name="T81" fmla="*/ 38 h 60"/>
                  <a:gd name="T82" fmla="*/ 123 w 137"/>
                  <a:gd name="T83" fmla="*/ 39 h 60"/>
                  <a:gd name="T84" fmla="*/ 128 w 137"/>
                  <a:gd name="T85" fmla="*/ 38 h 60"/>
                  <a:gd name="T86" fmla="*/ 130 w 137"/>
                  <a:gd name="T87" fmla="*/ 30 h 60"/>
                  <a:gd name="T88" fmla="*/ 132 w 137"/>
                  <a:gd name="T89" fmla="*/ 24 h 60"/>
                  <a:gd name="T90" fmla="*/ 134 w 137"/>
                  <a:gd name="T91" fmla="*/ 19 h 60"/>
                  <a:gd name="T92" fmla="*/ 136 w 137"/>
                  <a:gd name="T93" fmla="*/ 15 h 60"/>
                  <a:gd name="T94" fmla="*/ 127 w 137"/>
                  <a:gd name="T95" fmla="*/ 9 h 60"/>
                  <a:gd name="T96" fmla="*/ 124 w 137"/>
                  <a:gd name="T97" fmla="*/ 8 h 60"/>
                  <a:gd name="T98" fmla="*/ 120 w 137"/>
                  <a:gd name="T99" fmla="*/ 6 h 60"/>
                  <a:gd name="T100" fmla="*/ 97 w 137"/>
                  <a:gd name="T101" fmla="*/ 12 h 60"/>
                  <a:gd name="T102" fmla="*/ 91 w 137"/>
                  <a:gd name="T103" fmla="*/ 18 h 60"/>
                  <a:gd name="T104" fmla="*/ 94 w 137"/>
                  <a:gd name="T105" fmla="*/ 9 h 60"/>
                  <a:gd name="T106" fmla="*/ 88 w 137"/>
                  <a:gd name="T107" fmla="*/ 0 h 60"/>
                  <a:gd name="T108" fmla="*/ 88 w 137"/>
                  <a:gd name="T109" fmla="*/ 0 h 60"/>
                  <a:gd name="T110" fmla="*/ 84 w 137"/>
                  <a:gd name="T11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 h="60">
                    <a:moveTo>
                      <a:pt x="84" y="0"/>
                    </a:moveTo>
                    <a:cubicBezTo>
                      <a:pt x="83" y="0"/>
                      <a:pt x="82" y="0"/>
                      <a:pt x="81" y="0"/>
                    </a:cubicBezTo>
                    <a:cubicBezTo>
                      <a:pt x="79" y="1"/>
                      <a:pt x="77" y="2"/>
                      <a:pt x="75" y="2"/>
                    </a:cubicBezTo>
                    <a:cubicBezTo>
                      <a:pt x="75" y="2"/>
                      <a:pt x="74" y="2"/>
                      <a:pt x="74" y="2"/>
                    </a:cubicBezTo>
                    <a:cubicBezTo>
                      <a:pt x="74" y="2"/>
                      <a:pt x="73" y="2"/>
                      <a:pt x="73" y="2"/>
                    </a:cubicBezTo>
                    <a:cubicBezTo>
                      <a:pt x="73" y="2"/>
                      <a:pt x="72" y="2"/>
                      <a:pt x="72" y="2"/>
                    </a:cubicBezTo>
                    <a:cubicBezTo>
                      <a:pt x="71" y="2"/>
                      <a:pt x="71" y="2"/>
                      <a:pt x="70" y="2"/>
                    </a:cubicBezTo>
                    <a:cubicBezTo>
                      <a:pt x="69" y="2"/>
                      <a:pt x="68" y="3"/>
                      <a:pt x="67" y="3"/>
                    </a:cubicBezTo>
                    <a:cubicBezTo>
                      <a:pt x="67" y="3"/>
                      <a:pt x="67" y="3"/>
                      <a:pt x="67" y="3"/>
                    </a:cubicBezTo>
                    <a:cubicBezTo>
                      <a:pt x="67" y="3"/>
                      <a:pt x="66" y="3"/>
                      <a:pt x="66" y="3"/>
                    </a:cubicBezTo>
                    <a:cubicBezTo>
                      <a:pt x="66" y="3"/>
                      <a:pt x="65" y="3"/>
                      <a:pt x="65" y="3"/>
                    </a:cubicBezTo>
                    <a:cubicBezTo>
                      <a:pt x="65" y="3"/>
                      <a:pt x="65" y="3"/>
                      <a:pt x="65" y="3"/>
                    </a:cubicBezTo>
                    <a:cubicBezTo>
                      <a:pt x="64" y="3"/>
                      <a:pt x="63" y="4"/>
                      <a:pt x="62" y="4"/>
                    </a:cubicBezTo>
                    <a:cubicBezTo>
                      <a:pt x="62" y="4"/>
                      <a:pt x="62" y="4"/>
                      <a:pt x="62" y="4"/>
                    </a:cubicBezTo>
                    <a:cubicBezTo>
                      <a:pt x="61" y="3"/>
                      <a:pt x="61" y="3"/>
                      <a:pt x="60" y="3"/>
                    </a:cubicBezTo>
                    <a:cubicBezTo>
                      <a:pt x="60" y="3"/>
                      <a:pt x="60" y="3"/>
                      <a:pt x="60" y="3"/>
                    </a:cubicBezTo>
                    <a:cubicBezTo>
                      <a:pt x="59" y="3"/>
                      <a:pt x="58" y="3"/>
                      <a:pt x="56" y="3"/>
                    </a:cubicBezTo>
                    <a:cubicBezTo>
                      <a:pt x="55" y="3"/>
                      <a:pt x="55" y="3"/>
                      <a:pt x="54" y="3"/>
                    </a:cubicBezTo>
                    <a:cubicBezTo>
                      <a:pt x="53" y="3"/>
                      <a:pt x="52" y="3"/>
                      <a:pt x="51" y="3"/>
                    </a:cubicBezTo>
                    <a:cubicBezTo>
                      <a:pt x="50" y="3"/>
                      <a:pt x="49" y="3"/>
                      <a:pt x="48" y="4"/>
                    </a:cubicBezTo>
                    <a:cubicBezTo>
                      <a:pt x="47" y="5"/>
                      <a:pt x="47" y="6"/>
                      <a:pt x="46" y="6"/>
                    </a:cubicBezTo>
                    <a:cubicBezTo>
                      <a:pt x="46" y="6"/>
                      <a:pt x="45" y="6"/>
                      <a:pt x="44" y="6"/>
                    </a:cubicBezTo>
                    <a:cubicBezTo>
                      <a:pt x="43" y="5"/>
                      <a:pt x="42" y="3"/>
                      <a:pt x="40" y="3"/>
                    </a:cubicBezTo>
                    <a:cubicBezTo>
                      <a:pt x="40" y="3"/>
                      <a:pt x="39" y="3"/>
                      <a:pt x="39" y="3"/>
                    </a:cubicBezTo>
                    <a:cubicBezTo>
                      <a:pt x="39" y="4"/>
                      <a:pt x="37" y="6"/>
                      <a:pt x="37" y="6"/>
                    </a:cubicBezTo>
                    <a:cubicBezTo>
                      <a:pt x="36" y="7"/>
                      <a:pt x="36" y="7"/>
                      <a:pt x="35" y="7"/>
                    </a:cubicBezTo>
                    <a:cubicBezTo>
                      <a:pt x="33" y="9"/>
                      <a:pt x="30" y="8"/>
                      <a:pt x="29" y="9"/>
                    </a:cubicBezTo>
                    <a:cubicBezTo>
                      <a:pt x="28" y="9"/>
                      <a:pt x="26" y="11"/>
                      <a:pt x="26" y="12"/>
                    </a:cubicBezTo>
                    <a:cubicBezTo>
                      <a:pt x="27" y="14"/>
                      <a:pt x="30" y="14"/>
                      <a:pt x="31" y="16"/>
                    </a:cubicBezTo>
                    <a:cubicBezTo>
                      <a:pt x="27" y="17"/>
                      <a:pt x="25" y="17"/>
                      <a:pt x="22" y="19"/>
                    </a:cubicBezTo>
                    <a:cubicBezTo>
                      <a:pt x="19" y="20"/>
                      <a:pt x="18" y="21"/>
                      <a:pt x="16" y="23"/>
                    </a:cubicBezTo>
                    <a:cubicBezTo>
                      <a:pt x="14" y="25"/>
                      <a:pt x="11" y="25"/>
                      <a:pt x="9" y="26"/>
                    </a:cubicBezTo>
                    <a:cubicBezTo>
                      <a:pt x="8" y="27"/>
                      <a:pt x="7" y="27"/>
                      <a:pt x="6" y="27"/>
                    </a:cubicBezTo>
                    <a:cubicBezTo>
                      <a:pt x="6" y="27"/>
                      <a:pt x="5" y="27"/>
                      <a:pt x="4" y="27"/>
                    </a:cubicBezTo>
                    <a:cubicBezTo>
                      <a:pt x="3" y="26"/>
                      <a:pt x="2" y="26"/>
                      <a:pt x="1" y="26"/>
                    </a:cubicBezTo>
                    <a:cubicBezTo>
                      <a:pt x="1" y="26"/>
                      <a:pt x="1" y="26"/>
                      <a:pt x="0" y="26"/>
                    </a:cubicBezTo>
                    <a:cubicBezTo>
                      <a:pt x="1" y="27"/>
                      <a:pt x="4" y="31"/>
                      <a:pt x="5" y="31"/>
                    </a:cubicBezTo>
                    <a:cubicBezTo>
                      <a:pt x="5" y="31"/>
                      <a:pt x="6" y="31"/>
                      <a:pt x="6" y="31"/>
                    </a:cubicBezTo>
                    <a:cubicBezTo>
                      <a:pt x="8" y="31"/>
                      <a:pt x="10" y="30"/>
                      <a:pt x="11" y="29"/>
                    </a:cubicBezTo>
                    <a:cubicBezTo>
                      <a:pt x="12" y="28"/>
                      <a:pt x="15" y="25"/>
                      <a:pt x="16" y="25"/>
                    </a:cubicBezTo>
                    <a:cubicBezTo>
                      <a:pt x="17" y="25"/>
                      <a:pt x="17" y="26"/>
                      <a:pt x="18" y="26"/>
                    </a:cubicBezTo>
                    <a:cubicBezTo>
                      <a:pt x="19" y="27"/>
                      <a:pt x="19" y="29"/>
                      <a:pt x="21" y="29"/>
                    </a:cubicBezTo>
                    <a:cubicBezTo>
                      <a:pt x="20" y="30"/>
                      <a:pt x="18" y="30"/>
                      <a:pt x="16" y="31"/>
                    </a:cubicBezTo>
                    <a:cubicBezTo>
                      <a:pt x="18" y="31"/>
                      <a:pt x="20" y="32"/>
                      <a:pt x="21" y="32"/>
                    </a:cubicBezTo>
                    <a:cubicBezTo>
                      <a:pt x="21" y="32"/>
                      <a:pt x="21" y="32"/>
                      <a:pt x="21" y="32"/>
                    </a:cubicBezTo>
                    <a:cubicBezTo>
                      <a:pt x="22" y="32"/>
                      <a:pt x="23" y="32"/>
                      <a:pt x="24" y="32"/>
                    </a:cubicBezTo>
                    <a:cubicBezTo>
                      <a:pt x="25" y="32"/>
                      <a:pt x="26" y="32"/>
                      <a:pt x="26" y="32"/>
                    </a:cubicBezTo>
                    <a:cubicBezTo>
                      <a:pt x="28" y="32"/>
                      <a:pt x="28" y="32"/>
                      <a:pt x="28" y="33"/>
                    </a:cubicBezTo>
                    <a:cubicBezTo>
                      <a:pt x="27" y="34"/>
                      <a:pt x="28" y="35"/>
                      <a:pt x="28" y="36"/>
                    </a:cubicBezTo>
                    <a:cubicBezTo>
                      <a:pt x="28" y="36"/>
                      <a:pt x="28" y="38"/>
                      <a:pt x="28" y="39"/>
                    </a:cubicBezTo>
                    <a:cubicBezTo>
                      <a:pt x="28" y="41"/>
                      <a:pt x="30" y="41"/>
                      <a:pt x="31" y="41"/>
                    </a:cubicBezTo>
                    <a:cubicBezTo>
                      <a:pt x="32" y="42"/>
                      <a:pt x="33" y="42"/>
                      <a:pt x="34" y="42"/>
                    </a:cubicBezTo>
                    <a:cubicBezTo>
                      <a:pt x="34" y="43"/>
                      <a:pt x="33" y="44"/>
                      <a:pt x="34" y="45"/>
                    </a:cubicBezTo>
                    <a:cubicBezTo>
                      <a:pt x="34" y="46"/>
                      <a:pt x="36" y="46"/>
                      <a:pt x="37" y="47"/>
                    </a:cubicBezTo>
                    <a:cubicBezTo>
                      <a:pt x="38" y="48"/>
                      <a:pt x="40" y="48"/>
                      <a:pt x="42" y="49"/>
                    </a:cubicBezTo>
                    <a:cubicBezTo>
                      <a:pt x="42" y="49"/>
                      <a:pt x="43" y="49"/>
                      <a:pt x="43" y="49"/>
                    </a:cubicBezTo>
                    <a:cubicBezTo>
                      <a:pt x="45" y="49"/>
                      <a:pt x="46" y="48"/>
                      <a:pt x="48" y="48"/>
                    </a:cubicBezTo>
                    <a:cubicBezTo>
                      <a:pt x="49" y="48"/>
                      <a:pt x="51" y="47"/>
                      <a:pt x="52" y="47"/>
                    </a:cubicBezTo>
                    <a:cubicBezTo>
                      <a:pt x="53" y="47"/>
                      <a:pt x="53" y="47"/>
                      <a:pt x="53" y="47"/>
                    </a:cubicBezTo>
                    <a:cubicBezTo>
                      <a:pt x="53" y="50"/>
                      <a:pt x="54" y="51"/>
                      <a:pt x="57" y="51"/>
                    </a:cubicBezTo>
                    <a:cubicBezTo>
                      <a:pt x="58" y="51"/>
                      <a:pt x="60" y="50"/>
                      <a:pt x="62" y="50"/>
                    </a:cubicBezTo>
                    <a:cubicBezTo>
                      <a:pt x="64" y="50"/>
                      <a:pt x="65" y="50"/>
                      <a:pt x="66" y="50"/>
                    </a:cubicBezTo>
                    <a:cubicBezTo>
                      <a:pt x="66" y="50"/>
                      <a:pt x="66" y="50"/>
                      <a:pt x="66" y="50"/>
                    </a:cubicBezTo>
                    <a:cubicBezTo>
                      <a:pt x="66" y="50"/>
                      <a:pt x="66" y="50"/>
                      <a:pt x="65" y="51"/>
                    </a:cubicBezTo>
                    <a:cubicBezTo>
                      <a:pt x="66" y="51"/>
                      <a:pt x="66" y="51"/>
                      <a:pt x="67" y="51"/>
                    </a:cubicBezTo>
                    <a:cubicBezTo>
                      <a:pt x="68" y="51"/>
                      <a:pt x="69" y="51"/>
                      <a:pt x="69" y="51"/>
                    </a:cubicBezTo>
                    <a:cubicBezTo>
                      <a:pt x="70" y="50"/>
                      <a:pt x="71" y="50"/>
                      <a:pt x="72" y="50"/>
                    </a:cubicBezTo>
                    <a:cubicBezTo>
                      <a:pt x="73" y="50"/>
                      <a:pt x="74" y="51"/>
                      <a:pt x="74" y="51"/>
                    </a:cubicBezTo>
                    <a:cubicBezTo>
                      <a:pt x="76" y="51"/>
                      <a:pt x="75" y="52"/>
                      <a:pt x="76" y="53"/>
                    </a:cubicBezTo>
                    <a:cubicBezTo>
                      <a:pt x="77" y="53"/>
                      <a:pt x="78" y="53"/>
                      <a:pt x="79" y="54"/>
                    </a:cubicBezTo>
                    <a:cubicBezTo>
                      <a:pt x="80" y="54"/>
                      <a:pt x="82" y="56"/>
                      <a:pt x="83" y="56"/>
                    </a:cubicBezTo>
                    <a:cubicBezTo>
                      <a:pt x="85" y="57"/>
                      <a:pt x="88" y="56"/>
                      <a:pt x="90" y="57"/>
                    </a:cubicBezTo>
                    <a:cubicBezTo>
                      <a:pt x="89" y="57"/>
                      <a:pt x="88" y="57"/>
                      <a:pt x="87" y="58"/>
                    </a:cubicBezTo>
                    <a:cubicBezTo>
                      <a:pt x="90" y="59"/>
                      <a:pt x="94" y="58"/>
                      <a:pt x="97" y="58"/>
                    </a:cubicBezTo>
                    <a:cubicBezTo>
                      <a:pt x="100" y="58"/>
                      <a:pt x="102" y="60"/>
                      <a:pt x="105" y="60"/>
                    </a:cubicBezTo>
                    <a:cubicBezTo>
                      <a:pt x="105" y="60"/>
                      <a:pt x="105" y="60"/>
                      <a:pt x="105" y="60"/>
                    </a:cubicBezTo>
                    <a:cubicBezTo>
                      <a:pt x="110" y="59"/>
                      <a:pt x="116" y="58"/>
                      <a:pt x="122" y="58"/>
                    </a:cubicBezTo>
                    <a:cubicBezTo>
                      <a:pt x="125" y="58"/>
                      <a:pt x="127" y="57"/>
                      <a:pt x="130" y="55"/>
                    </a:cubicBezTo>
                    <a:cubicBezTo>
                      <a:pt x="131" y="54"/>
                      <a:pt x="133" y="54"/>
                      <a:pt x="134" y="53"/>
                    </a:cubicBezTo>
                    <a:cubicBezTo>
                      <a:pt x="136" y="51"/>
                      <a:pt x="132" y="47"/>
                      <a:pt x="130" y="46"/>
                    </a:cubicBezTo>
                    <a:cubicBezTo>
                      <a:pt x="127" y="45"/>
                      <a:pt x="122" y="42"/>
                      <a:pt x="119" y="39"/>
                    </a:cubicBezTo>
                    <a:cubicBezTo>
                      <a:pt x="119" y="38"/>
                      <a:pt x="118" y="38"/>
                      <a:pt x="121" y="38"/>
                    </a:cubicBezTo>
                    <a:cubicBezTo>
                      <a:pt x="121" y="38"/>
                      <a:pt x="121" y="38"/>
                      <a:pt x="121" y="38"/>
                    </a:cubicBezTo>
                    <a:cubicBezTo>
                      <a:pt x="122" y="38"/>
                      <a:pt x="122" y="38"/>
                      <a:pt x="123" y="39"/>
                    </a:cubicBezTo>
                    <a:cubicBezTo>
                      <a:pt x="124" y="39"/>
                      <a:pt x="125" y="39"/>
                      <a:pt x="125" y="39"/>
                    </a:cubicBezTo>
                    <a:cubicBezTo>
                      <a:pt x="126" y="39"/>
                      <a:pt x="127" y="39"/>
                      <a:pt x="128" y="38"/>
                    </a:cubicBezTo>
                    <a:cubicBezTo>
                      <a:pt x="130" y="37"/>
                      <a:pt x="131" y="35"/>
                      <a:pt x="131" y="33"/>
                    </a:cubicBezTo>
                    <a:cubicBezTo>
                      <a:pt x="130" y="32"/>
                      <a:pt x="130" y="31"/>
                      <a:pt x="130" y="30"/>
                    </a:cubicBezTo>
                    <a:cubicBezTo>
                      <a:pt x="130" y="29"/>
                      <a:pt x="132" y="29"/>
                      <a:pt x="132" y="28"/>
                    </a:cubicBezTo>
                    <a:cubicBezTo>
                      <a:pt x="132" y="27"/>
                      <a:pt x="131" y="26"/>
                      <a:pt x="132" y="24"/>
                    </a:cubicBezTo>
                    <a:cubicBezTo>
                      <a:pt x="132" y="23"/>
                      <a:pt x="132" y="23"/>
                      <a:pt x="133" y="22"/>
                    </a:cubicBezTo>
                    <a:cubicBezTo>
                      <a:pt x="134" y="21"/>
                      <a:pt x="133" y="20"/>
                      <a:pt x="134" y="19"/>
                    </a:cubicBezTo>
                    <a:cubicBezTo>
                      <a:pt x="134" y="18"/>
                      <a:pt x="135" y="19"/>
                      <a:pt x="136" y="18"/>
                    </a:cubicBezTo>
                    <a:cubicBezTo>
                      <a:pt x="137" y="17"/>
                      <a:pt x="137" y="17"/>
                      <a:pt x="136" y="15"/>
                    </a:cubicBezTo>
                    <a:cubicBezTo>
                      <a:pt x="134" y="13"/>
                      <a:pt x="131" y="13"/>
                      <a:pt x="129" y="11"/>
                    </a:cubicBezTo>
                    <a:cubicBezTo>
                      <a:pt x="128" y="11"/>
                      <a:pt x="127" y="9"/>
                      <a:pt x="127" y="9"/>
                    </a:cubicBezTo>
                    <a:cubicBezTo>
                      <a:pt x="127" y="9"/>
                      <a:pt x="126" y="9"/>
                      <a:pt x="125" y="9"/>
                    </a:cubicBezTo>
                    <a:cubicBezTo>
                      <a:pt x="124" y="8"/>
                      <a:pt x="124" y="8"/>
                      <a:pt x="124" y="8"/>
                    </a:cubicBezTo>
                    <a:cubicBezTo>
                      <a:pt x="124" y="7"/>
                      <a:pt x="124" y="7"/>
                      <a:pt x="124" y="7"/>
                    </a:cubicBezTo>
                    <a:cubicBezTo>
                      <a:pt x="122" y="6"/>
                      <a:pt x="121" y="6"/>
                      <a:pt x="120" y="6"/>
                    </a:cubicBezTo>
                    <a:cubicBezTo>
                      <a:pt x="118" y="6"/>
                      <a:pt x="117" y="6"/>
                      <a:pt x="116" y="6"/>
                    </a:cubicBezTo>
                    <a:cubicBezTo>
                      <a:pt x="110" y="8"/>
                      <a:pt x="103" y="10"/>
                      <a:pt x="97" y="12"/>
                    </a:cubicBezTo>
                    <a:cubicBezTo>
                      <a:pt x="96" y="14"/>
                      <a:pt x="95" y="14"/>
                      <a:pt x="93" y="16"/>
                    </a:cubicBezTo>
                    <a:cubicBezTo>
                      <a:pt x="92" y="17"/>
                      <a:pt x="92" y="17"/>
                      <a:pt x="91" y="18"/>
                    </a:cubicBezTo>
                    <a:cubicBezTo>
                      <a:pt x="89" y="19"/>
                      <a:pt x="86" y="20"/>
                      <a:pt x="83" y="20"/>
                    </a:cubicBezTo>
                    <a:cubicBezTo>
                      <a:pt x="86" y="16"/>
                      <a:pt x="90" y="13"/>
                      <a:pt x="94" y="9"/>
                    </a:cubicBezTo>
                    <a:cubicBezTo>
                      <a:pt x="94" y="9"/>
                      <a:pt x="101" y="5"/>
                      <a:pt x="99" y="5"/>
                    </a:cubicBezTo>
                    <a:cubicBezTo>
                      <a:pt x="95" y="3"/>
                      <a:pt x="93" y="0"/>
                      <a:pt x="88" y="0"/>
                    </a:cubicBezTo>
                    <a:cubicBezTo>
                      <a:pt x="88" y="0"/>
                      <a:pt x="88" y="0"/>
                      <a:pt x="88" y="0"/>
                    </a:cubicBezTo>
                    <a:cubicBezTo>
                      <a:pt x="88" y="0"/>
                      <a:pt x="88" y="0"/>
                      <a:pt x="88" y="0"/>
                    </a:cubicBezTo>
                    <a:cubicBezTo>
                      <a:pt x="87" y="0"/>
                      <a:pt x="87" y="0"/>
                      <a:pt x="86" y="0"/>
                    </a:cubicBezTo>
                    <a:cubicBezTo>
                      <a:pt x="85" y="0"/>
                      <a:pt x="85" y="0"/>
                      <a:pt x="8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7" name="Freeform 266">
                <a:extLst>
                  <a:ext uri="{FF2B5EF4-FFF2-40B4-BE49-F238E27FC236}">
                    <a16:creationId xmlns:a16="http://schemas.microsoft.com/office/drawing/2014/main" id="{4CEEBBB3-F7A7-45E7-82AC-9D53DB4BD3C0}"/>
                  </a:ext>
                </a:extLst>
              </p:cNvPr>
              <p:cNvSpPr>
                <a:spLocks/>
              </p:cNvSpPr>
              <p:nvPr/>
            </p:nvSpPr>
            <p:spPr bwMode="auto">
              <a:xfrm>
                <a:off x="5069" y="-1580"/>
                <a:ext cx="80" cy="21"/>
              </a:xfrm>
              <a:custGeom>
                <a:avLst/>
                <a:gdLst>
                  <a:gd name="T0" fmla="*/ 18 w 34"/>
                  <a:gd name="T1" fmla="*/ 0 h 9"/>
                  <a:gd name="T2" fmla="*/ 16 w 34"/>
                  <a:gd name="T3" fmla="*/ 0 h 9"/>
                  <a:gd name="T4" fmla="*/ 7 w 34"/>
                  <a:gd name="T5" fmla="*/ 2 h 9"/>
                  <a:gd name="T6" fmla="*/ 7 w 34"/>
                  <a:gd name="T7" fmla="*/ 2 h 9"/>
                  <a:gd name="T8" fmla="*/ 7 w 34"/>
                  <a:gd name="T9" fmla="*/ 2 h 9"/>
                  <a:gd name="T10" fmla="*/ 0 w 34"/>
                  <a:gd name="T11" fmla="*/ 5 h 9"/>
                  <a:gd name="T12" fmla="*/ 25 w 34"/>
                  <a:gd name="T13" fmla="*/ 9 h 9"/>
                  <a:gd name="T14" fmla="*/ 34 w 34"/>
                  <a:gd name="T15" fmla="*/ 7 h 9"/>
                  <a:gd name="T16" fmla="*/ 27 w 34"/>
                  <a:gd name="T17" fmla="*/ 4 h 9"/>
                  <a:gd name="T18" fmla="*/ 25 w 34"/>
                  <a:gd name="T19" fmla="*/ 4 h 9"/>
                  <a:gd name="T20" fmla="*/ 25 w 34"/>
                  <a:gd name="T21" fmla="*/ 4 h 9"/>
                  <a:gd name="T22" fmla="*/ 24 w 34"/>
                  <a:gd name="T23" fmla="*/ 4 h 9"/>
                  <a:gd name="T24" fmla="*/ 21 w 34"/>
                  <a:gd name="T25" fmla="*/ 3 h 9"/>
                  <a:gd name="T26" fmla="*/ 20 w 34"/>
                  <a:gd name="T27" fmla="*/ 1 h 9"/>
                  <a:gd name="T28" fmla="*/ 18 w 34"/>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9">
                    <a:moveTo>
                      <a:pt x="18" y="0"/>
                    </a:moveTo>
                    <a:cubicBezTo>
                      <a:pt x="17" y="0"/>
                      <a:pt x="17" y="0"/>
                      <a:pt x="16" y="0"/>
                    </a:cubicBezTo>
                    <a:cubicBezTo>
                      <a:pt x="13" y="0"/>
                      <a:pt x="10" y="2"/>
                      <a:pt x="7" y="2"/>
                    </a:cubicBezTo>
                    <a:cubicBezTo>
                      <a:pt x="7" y="2"/>
                      <a:pt x="7" y="2"/>
                      <a:pt x="7" y="2"/>
                    </a:cubicBezTo>
                    <a:cubicBezTo>
                      <a:pt x="7" y="2"/>
                      <a:pt x="7" y="2"/>
                      <a:pt x="7" y="2"/>
                    </a:cubicBezTo>
                    <a:cubicBezTo>
                      <a:pt x="4" y="2"/>
                      <a:pt x="1" y="4"/>
                      <a:pt x="0" y="5"/>
                    </a:cubicBezTo>
                    <a:cubicBezTo>
                      <a:pt x="8" y="6"/>
                      <a:pt x="17" y="8"/>
                      <a:pt x="25" y="9"/>
                    </a:cubicBezTo>
                    <a:cubicBezTo>
                      <a:pt x="28" y="9"/>
                      <a:pt x="31" y="8"/>
                      <a:pt x="34" y="7"/>
                    </a:cubicBezTo>
                    <a:cubicBezTo>
                      <a:pt x="33" y="5"/>
                      <a:pt x="29" y="4"/>
                      <a:pt x="27" y="4"/>
                    </a:cubicBezTo>
                    <a:cubicBezTo>
                      <a:pt x="26" y="4"/>
                      <a:pt x="26" y="4"/>
                      <a:pt x="25" y="4"/>
                    </a:cubicBezTo>
                    <a:cubicBezTo>
                      <a:pt x="25" y="4"/>
                      <a:pt x="25" y="4"/>
                      <a:pt x="25" y="4"/>
                    </a:cubicBezTo>
                    <a:cubicBezTo>
                      <a:pt x="24" y="4"/>
                      <a:pt x="24" y="4"/>
                      <a:pt x="24" y="4"/>
                    </a:cubicBezTo>
                    <a:cubicBezTo>
                      <a:pt x="23" y="4"/>
                      <a:pt x="22" y="4"/>
                      <a:pt x="21" y="3"/>
                    </a:cubicBezTo>
                    <a:cubicBezTo>
                      <a:pt x="21" y="3"/>
                      <a:pt x="21" y="1"/>
                      <a:pt x="20" y="1"/>
                    </a:cubicBezTo>
                    <a:cubicBezTo>
                      <a:pt x="20"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8" name="Freeform 267">
                <a:extLst>
                  <a:ext uri="{FF2B5EF4-FFF2-40B4-BE49-F238E27FC236}">
                    <a16:creationId xmlns:a16="http://schemas.microsoft.com/office/drawing/2014/main" id="{96627B35-AEE9-409A-99E7-174299E475C0}"/>
                  </a:ext>
                </a:extLst>
              </p:cNvPr>
              <p:cNvSpPr>
                <a:spLocks/>
              </p:cNvSpPr>
              <p:nvPr/>
            </p:nvSpPr>
            <p:spPr bwMode="auto">
              <a:xfrm>
                <a:off x="10556" y="-637"/>
                <a:ext cx="175" cy="62"/>
              </a:xfrm>
              <a:custGeom>
                <a:avLst/>
                <a:gdLst>
                  <a:gd name="T0" fmla="*/ 56 w 74"/>
                  <a:gd name="T1" fmla="*/ 0 h 26"/>
                  <a:gd name="T2" fmla="*/ 53 w 74"/>
                  <a:gd name="T3" fmla="*/ 0 h 26"/>
                  <a:gd name="T4" fmla="*/ 42 w 74"/>
                  <a:gd name="T5" fmla="*/ 0 h 26"/>
                  <a:gd name="T6" fmla="*/ 26 w 74"/>
                  <a:gd name="T7" fmla="*/ 0 h 26"/>
                  <a:gd name="T8" fmla="*/ 4 w 74"/>
                  <a:gd name="T9" fmla="*/ 12 h 26"/>
                  <a:gd name="T10" fmla="*/ 0 w 74"/>
                  <a:gd name="T11" fmla="*/ 19 h 26"/>
                  <a:gd name="T12" fmla="*/ 2 w 74"/>
                  <a:gd name="T13" fmla="*/ 23 h 26"/>
                  <a:gd name="T14" fmla="*/ 3 w 74"/>
                  <a:gd name="T15" fmla="*/ 26 h 26"/>
                  <a:gd name="T16" fmla="*/ 4 w 74"/>
                  <a:gd name="T17" fmla="*/ 26 h 26"/>
                  <a:gd name="T18" fmla="*/ 10 w 74"/>
                  <a:gd name="T19" fmla="*/ 24 h 26"/>
                  <a:gd name="T20" fmla="*/ 24 w 74"/>
                  <a:gd name="T21" fmla="*/ 20 h 26"/>
                  <a:gd name="T22" fmla="*/ 26 w 74"/>
                  <a:gd name="T23" fmla="*/ 19 h 26"/>
                  <a:gd name="T24" fmla="*/ 26 w 74"/>
                  <a:gd name="T25" fmla="*/ 19 h 26"/>
                  <a:gd name="T26" fmla="*/ 35 w 74"/>
                  <a:gd name="T27" fmla="*/ 22 h 26"/>
                  <a:gd name="T28" fmla="*/ 36 w 74"/>
                  <a:gd name="T29" fmla="*/ 23 h 26"/>
                  <a:gd name="T30" fmla="*/ 38 w 74"/>
                  <a:gd name="T31" fmla="*/ 22 h 26"/>
                  <a:gd name="T32" fmla="*/ 40 w 74"/>
                  <a:gd name="T33" fmla="*/ 22 h 26"/>
                  <a:gd name="T34" fmla="*/ 41 w 74"/>
                  <a:gd name="T35" fmla="*/ 22 h 26"/>
                  <a:gd name="T36" fmla="*/ 42 w 74"/>
                  <a:gd name="T37" fmla="*/ 22 h 26"/>
                  <a:gd name="T38" fmla="*/ 48 w 74"/>
                  <a:gd name="T39" fmla="*/ 21 h 26"/>
                  <a:gd name="T40" fmla="*/ 61 w 74"/>
                  <a:gd name="T41" fmla="*/ 18 h 26"/>
                  <a:gd name="T42" fmla="*/ 74 w 74"/>
                  <a:gd name="T43" fmla="*/ 11 h 26"/>
                  <a:gd name="T44" fmla="*/ 63 w 74"/>
                  <a:gd name="T45" fmla="*/ 4 h 26"/>
                  <a:gd name="T46" fmla="*/ 62 w 74"/>
                  <a:gd name="T47" fmla="*/ 2 h 26"/>
                  <a:gd name="T48" fmla="*/ 58 w 74"/>
                  <a:gd name="T49" fmla="*/ 0 h 26"/>
                  <a:gd name="T50" fmla="*/ 56 w 74"/>
                  <a:gd name="T5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26">
                    <a:moveTo>
                      <a:pt x="56" y="0"/>
                    </a:moveTo>
                    <a:cubicBezTo>
                      <a:pt x="55" y="0"/>
                      <a:pt x="54" y="0"/>
                      <a:pt x="53" y="0"/>
                    </a:cubicBezTo>
                    <a:cubicBezTo>
                      <a:pt x="49" y="0"/>
                      <a:pt x="45" y="0"/>
                      <a:pt x="42" y="0"/>
                    </a:cubicBezTo>
                    <a:cubicBezTo>
                      <a:pt x="36" y="0"/>
                      <a:pt x="31" y="0"/>
                      <a:pt x="26" y="0"/>
                    </a:cubicBezTo>
                    <a:cubicBezTo>
                      <a:pt x="19" y="4"/>
                      <a:pt x="12" y="8"/>
                      <a:pt x="4" y="12"/>
                    </a:cubicBezTo>
                    <a:cubicBezTo>
                      <a:pt x="2" y="13"/>
                      <a:pt x="0" y="17"/>
                      <a:pt x="0" y="19"/>
                    </a:cubicBezTo>
                    <a:cubicBezTo>
                      <a:pt x="0" y="20"/>
                      <a:pt x="1" y="22"/>
                      <a:pt x="2" y="23"/>
                    </a:cubicBezTo>
                    <a:cubicBezTo>
                      <a:pt x="2" y="24"/>
                      <a:pt x="2" y="26"/>
                      <a:pt x="3" y="26"/>
                    </a:cubicBezTo>
                    <a:cubicBezTo>
                      <a:pt x="4" y="26"/>
                      <a:pt x="4" y="26"/>
                      <a:pt x="4" y="26"/>
                    </a:cubicBezTo>
                    <a:cubicBezTo>
                      <a:pt x="6" y="25"/>
                      <a:pt x="8" y="25"/>
                      <a:pt x="10" y="24"/>
                    </a:cubicBezTo>
                    <a:cubicBezTo>
                      <a:pt x="15" y="23"/>
                      <a:pt x="20" y="21"/>
                      <a:pt x="24" y="20"/>
                    </a:cubicBezTo>
                    <a:cubicBezTo>
                      <a:pt x="25" y="20"/>
                      <a:pt x="26" y="19"/>
                      <a:pt x="26" y="19"/>
                    </a:cubicBezTo>
                    <a:cubicBezTo>
                      <a:pt x="26" y="19"/>
                      <a:pt x="26" y="19"/>
                      <a:pt x="26" y="19"/>
                    </a:cubicBezTo>
                    <a:cubicBezTo>
                      <a:pt x="29" y="20"/>
                      <a:pt x="32" y="22"/>
                      <a:pt x="35" y="22"/>
                    </a:cubicBezTo>
                    <a:cubicBezTo>
                      <a:pt x="35" y="22"/>
                      <a:pt x="36" y="23"/>
                      <a:pt x="36" y="23"/>
                    </a:cubicBezTo>
                    <a:cubicBezTo>
                      <a:pt x="37" y="23"/>
                      <a:pt x="37" y="22"/>
                      <a:pt x="38" y="22"/>
                    </a:cubicBezTo>
                    <a:cubicBezTo>
                      <a:pt x="38" y="22"/>
                      <a:pt x="39" y="22"/>
                      <a:pt x="40" y="22"/>
                    </a:cubicBezTo>
                    <a:cubicBezTo>
                      <a:pt x="40" y="22"/>
                      <a:pt x="40" y="22"/>
                      <a:pt x="41" y="22"/>
                    </a:cubicBezTo>
                    <a:cubicBezTo>
                      <a:pt x="41" y="22"/>
                      <a:pt x="41" y="22"/>
                      <a:pt x="42" y="22"/>
                    </a:cubicBezTo>
                    <a:cubicBezTo>
                      <a:pt x="44" y="22"/>
                      <a:pt x="46" y="22"/>
                      <a:pt x="48" y="21"/>
                    </a:cubicBezTo>
                    <a:cubicBezTo>
                      <a:pt x="53" y="20"/>
                      <a:pt x="57" y="19"/>
                      <a:pt x="61" y="18"/>
                    </a:cubicBezTo>
                    <a:cubicBezTo>
                      <a:pt x="67" y="17"/>
                      <a:pt x="70" y="15"/>
                      <a:pt x="74" y="11"/>
                    </a:cubicBezTo>
                    <a:cubicBezTo>
                      <a:pt x="70" y="9"/>
                      <a:pt x="66" y="6"/>
                      <a:pt x="63" y="4"/>
                    </a:cubicBezTo>
                    <a:cubicBezTo>
                      <a:pt x="63" y="4"/>
                      <a:pt x="63" y="3"/>
                      <a:pt x="62" y="2"/>
                    </a:cubicBezTo>
                    <a:cubicBezTo>
                      <a:pt x="60" y="2"/>
                      <a:pt x="59" y="1"/>
                      <a:pt x="58" y="0"/>
                    </a:cubicBezTo>
                    <a:cubicBezTo>
                      <a:pt x="57" y="0"/>
                      <a:pt x="57"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9" name="Freeform 268">
                <a:extLst>
                  <a:ext uri="{FF2B5EF4-FFF2-40B4-BE49-F238E27FC236}">
                    <a16:creationId xmlns:a16="http://schemas.microsoft.com/office/drawing/2014/main" id="{04E54622-9CFE-4416-9F6D-BEFBD7F8E29A}"/>
                  </a:ext>
                </a:extLst>
              </p:cNvPr>
              <p:cNvSpPr>
                <a:spLocks/>
              </p:cNvSpPr>
              <p:nvPr/>
            </p:nvSpPr>
            <p:spPr bwMode="auto">
              <a:xfrm>
                <a:off x="8611" y="-1015"/>
                <a:ext cx="33" cy="45"/>
              </a:xfrm>
              <a:custGeom>
                <a:avLst/>
                <a:gdLst>
                  <a:gd name="T0" fmla="*/ 5 w 14"/>
                  <a:gd name="T1" fmla="*/ 0 h 19"/>
                  <a:gd name="T2" fmla="*/ 2 w 14"/>
                  <a:gd name="T3" fmla="*/ 9 h 19"/>
                  <a:gd name="T4" fmla="*/ 2 w 14"/>
                  <a:gd name="T5" fmla="*/ 13 h 19"/>
                  <a:gd name="T6" fmla="*/ 0 w 14"/>
                  <a:gd name="T7" fmla="*/ 19 h 19"/>
                  <a:gd name="T8" fmla="*/ 12 w 14"/>
                  <a:gd name="T9" fmla="*/ 16 h 19"/>
                  <a:gd name="T10" fmla="*/ 11 w 14"/>
                  <a:gd name="T11" fmla="*/ 9 h 19"/>
                  <a:gd name="T12" fmla="*/ 8 w 14"/>
                  <a:gd name="T13" fmla="*/ 6 h 19"/>
                  <a:gd name="T14" fmla="*/ 5 w 14"/>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9">
                    <a:moveTo>
                      <a:pt x="5" y="0"/>
                    </a:moveTo>
                    <a:cubicBezTo>
                      <a:pt x="5" y="3"/>
                      <a:pt x="2" y="6"/>
                      <a:pt x="2" y="9"/>
                    </a:cubicBezTo>
                    <a:cubicBezTo>
                      <a:pt x="2" y="11"/>
                      <a:pt x="3" y="11"/>
                      <a:pt x="2" y="13"/>
                    </a:cubicBezTo>
                    <a:cubicBezTo>
                      <a:pt x="2" y="15"/>
                      <a:pt x="1" y="17"/>
                      <a:pt x="0" y="19"/>
                    </a:cubicBezTo>
                    <a:cubicBezTo>
                      <a:pt x="4" y="19"/>
                      <a:pt x="9" y="19"/>
                      <a:pt x="12" y="16"/>
                    </a:cubicBezTo>
                    <a:cubicBezTo>
                      <a:pt x="13" y="13"/>
                      <a:pt x="14" y="10"/>
                      <a:pt x="11" y="9"/>
                    </a:cubicBezTo>
                    <a:cubicBezTo>
                      <a:pt x="10" y="8"/>
                      <a:pt x="9" y="8"/>
                      <a:pt x="8" y="6"/>
                    </a:cubicBezTo>
                    <a:cubicBezTo>
                      <a:pt x="7" y="4"/>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0" name="Freeform 269">
                <a:extLst>
                  <a:ext uri="{FF2B5EF4-FFF2-40B4-BE49-F238E27FC236}">
                    <a16:creationId xmlns:a16="http://schemas.microsoft.com/office/drawing/2014/main" id="{CC31ED77-FA39-4377-BFB2-9770519CD5A4}"/>
                  </a:ext>
                </a:extLst>
              </p:cNvPr>
              <p:cNvSpPr>
                <a:spLocks/>
              </p:cNvSpPr>
              <p:nvPr/>
            </p:nvSpPr>
            <p:spPr bwMode="auto">
              <a:xfrm>
                <a:off x="9091" y="-989"/>
                <a:ext cx="217" cy="75"/>
              </a:xfrm>
              <a:custGeom>
                <a:avLst/>
                <a:gdLst>
                  <a:gd name="T0" fmla="*/ 7 w 92"/>
                  <a:gd name="T1" fmla="*/ 0 h 32"/>
                  <a:gd name="T2" fmla="*/ 5 w 92"/>
                  <a:gd name="T3" fmla="*/ 1 h 32"/>
                  <a:gd name="T4" fmla="*/ 4 w 92"/>
                  <a:gd name="T5" fmla="*/ 5 h 32"/>
                  <a:gd name="T6" fmla="*/ 3 w 92"/>
                  <a:gd name="T7" fmla="*/ 7 h 32"/>
                  <a:gd name="T8" fmla="*/ 2 w 92"/>
                  <a:gd name="T9" fmla="*/ 8 h 32"/>
                  <a:gd name="T10" fmla="*/ 1 w 92"/>
                  <a:gd name="T11" fmla="*/ 11 h 32"/>
                  <a:gd name="T12" fmla="*/ 0 w 92"/>
                  <a:gd name="T13" fmla="*/ 14 h 32"/>
                  <a:gd name="T14" fmla="*/ 34 w 92"/>
                  <a:gd name="T15" fmla="*/ 28 h 32"/>
                  <a:gd name="T16" fmla="*/ 59 w 92"/>
                  <a:gd name="T17" fmla="*/ 32 h 32"/>
                  <a:gd name="T18" fmla="*/ 61 w 92"/>
                  <a:gd name="T19" fmla="*/ 32 h 32"/>
                  <a:gd name="T20" fmla="*/ 63 w 92"/>
                  <a:gd name="T21" fmla="*/ 32 h 32"/>
                  <a:gd name="T22" fmla="*/ 66 w 92"/>
                  <a:gd name="T23" fmla="*/ 32 h 32"/>
                  <a:gd name="T24" fmla="*/ 69 w 92"/>
                  <a:gd name="T25" fmla="*/ 32 h 32"/>
                  <a:gd name="T26" fmla="*/ 73 w 92"/>
                  <a:gd name="T27" fmla="*/ 30 h 32"/>
                  <a:gd name="T28" fmla="*/ 77 w 92"/>
                  <a:gd name="T29" fmla="*/ 28 h 32"/>
                  <a:gd name="T30" fmla="*/ 86 w 92"/>
                  <a:gd name="T31" fmla="*/ 27 h 32"/>
                  <a:gd name="T32" fmla="*/ 89 w 92"/>
                  <a:gd name="T33" fmla="*/ 21 h 32"/>
                  <a:gd name="T34" fmla="*/ 92 w 92"/>
                  <a:gd name="T35" fmla="*/ 18 h 32"/>
                  <a:gd name="T36" fmla="*/ 89 w 92"/>
                  <a:gd name="T37" fmla="*/ 17 h 32"/>
                  <a:gd name="T38" fmla="*/ 87 w 92"/>
                  <a:gd name="T39" fmla="*/ 17 h 32"/>
                  <a:gd name="T40" fmla="*/ 85 w 92"/>
                  <a:gd name="T41" fmla="*/ 18 h 32"/>
                  <a:gd name="T42" fmla="*/ 81 w 92"/>
                  <a:gd name="T43" fmla="*/ 17 h 32"/>
                  <a:gd name="T44" fmla="*/ 79 w 92"/>
                  <a:gd name="T45" fmla="*/ 17 h 32"/>
                  <a:gd name="T46" fmla="*/ 78 w 92"/>
                  <a:gd name="T47" fmla="*/ 17 h 32"/>
                  <a:gd name="T48" fmla="*/ 71 w 92"/>
                  <a:gd name="T49" fmla="*/ 14 h 32"/>
                  <a:gd name="T50" fmla="*/ 62 w 92"/>
                  <a:gd name="T51" fmla="*/ 12 h 32"/>
                  <a:gd name="T52" fmla="*/ 60 w 92"/>
                  <a:gd name="T53" fmla="*/ 12 h 32"/>
                  <a:gd name="T54" fmla="*/ 50 w 92"/>
                  <a:gd name="T55" fmla="*/ 14 h 32"/>
                  <a:gd name="T56" fmla="*/ 47 w 92"/>
                  <a:gd name="T57" fmla="*/ 13 h 32"/>
                  <a:gd name="T58" fmla="*/ 47 w 92"/>
                  <a:gd name="T59" fmla="*/ 10 h 32"/>
                  <a:gd name="T60" fmla="*/ 43 w 92"/>
                  <a:gd name="T61" fmla="*/ 7 h 32"/>
                  <a:gd name="T62" fmla="*/ 42 w 92"/>
                  <a:gd name="T63" fmla="*/ 7 h 32"/>
                  <a:gd name="T64" fmla="*/ 39 w 92"/>
                  <a:gd name="T65" fmla="*/ 7 h 32"/>
                  <a:gd name="T66" fmla="*/ 36 w 92"/>
                  <a:gd name="T67" fmla="*/ 7 h 32"/>
                  <a:gd name="T68" fmla="*/ 32 w 92"/>
                  <a:gd name="T69" fmla="*/ 7 h 32"/>
                  <a:gd name="T70" fmla="*/ 28 w 92"/>
                  <a:gd name="T71" fmla="*/ 6 h 32"/>
                  <a:gd name="T72" fmla="*/ 21 w 92"/>
                  <a:gd name="T73" fmla="*/ 8 h 32"/>
                  <a:gd name="T74" fmla="*/ 18 w 92"/>
                  <a:gd name="T75" fmla="*/ 10 h 32"/>
                  <a:gd name="T76" fmla="*/ 16 w 92"/>
                  <a:gd name="T77" fmla="*/ 10 h 32"/>
                  <a:gd name="T78" fmla="*/ 11 w 92"/>
                  <a:gd name="T79" fmla="*/ 7 h 32"/>
                  <a:gd name="T80" fmla="*/ 10 w 92"/>
                  <a:gd name="T81" fmla="*/ 1 h 32"/>
                  <a:gd name="T82" fmla="*/ 7 w 92"/>
                  <a:gd name="T8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 h="32">
                    <a:moveTo>
                      <a:pt x="7" y="0"/>
                    </a:moveTo>
                    <a:cubicBezTo>
                      <a:pt x="6" y="0"/>
                      <a:pt x="6" y="0"/>
                      <a:pt x="5" y="1"/>
                    </a:cubicBezTo>
                    <a:cubicBezTo>
                      <a:pt x="5" y="2"/>
                      <a:pt x="5" y="4"/>
                      <a:pt x="4" y="5"/>
                    </a:cubicBezTo>
                    <a:cubicBezTo>
                      <a:pt x="4" y="6"/>
                      <a:pt x="3" y="6"/>
                      <a:pt x="3" y="7"/>
                    </a:cubicBezTo>
                    <a:cubicBezTo>
                      <a:pt x="2" y="8"/>
                      <a:pt x="2" y="8"/>
                      <a:pt x="2" y="8"/>
                    </a:cubicBezTo>
                    <a:cubicBezTo>
                      <a:pt x="1" y="9"/>
                      <a:pt x="1" y="10"/>
                      <a:pt x="1" y="11"/>
                    </a:cubicBezTo>
                    <a:cubicBezTo>
                      <a:pt x="1" y="12"/>
                      <a:pt x="1" y="13"/>
                      <a:pt x="0" y="14"/>
                    </a:cubicBezTo>
                    <a:cubicBezTo>
                      <a:pt x="11" y="19"/>
                      <a:pt x="22" y="23"/>
                      <a:pt x="34" y="28"/>
                    </a:cubicBezTo>
                    <a:cubicBezTo>
                      <a:pt x="42" y="31"/>
                      <a:pt x="50" y="31"/>
                      <a:pt x="59" y="32"/>
                    </a:cubicBezTo>
                    <a:cubicBezTo>
                      <a:pt x="59" y="32"/>
                      <a:pt x="60" y="32"/>
                      <a:pt x="61" y="32"/>
                    </a:cubicBezTo>
                    <a:cubicBezTo>
                      <a:pt x="61" y="32"/>
                      <a:pt x="62" y="32"/>
                      <a:pt x="63" y="32"/>
                    </a:cubicBezTo>
                    <a:cubicBezTo>
                      <a:pt x="64" y="32"/>
                      <a:pt x="65" y="32"/>
                      <a:pt x="66" y="32"/>
                    </a:cubicBezTo>
                    <a:cubicBezTo>
                      <a:pt x="67" y="32"/>
                      <a:pt x="68" y="32"/>
                      <a:pt x="69" y="32"/>
                    </a:cubicBezTo>
                    <a:cubicBezTo>
                      <a:pt x="70" y="31"/>
                      <a:pt x="71" y="30"/>
                      <a:pt x="73" y="30"/>
                    </a:cubicBezTo>
                    <a:cubicBezTo>
                      <a:pt x="74" y="30"/>
                      <a:pt x="76" y="29"/>
                      <a:pt x="77" y="28"/>
                    </a:cubicBezTo>
                    <a:cubicBezTo>
                      <a:pt x="80" y="28"/>
                      <a:pt x="84" y="28"/>
                      <a:pt x="86" y="27"/>
                    </a:cubicBezTo>
                    <a:cubicBezTo>
                      <a:pt x="88" y="26"/>
                      <a:pt x="88" y="23"/>
                      <a:pt x="89" y="21"/>
                    </a:cubicBezTo>
                    <a:cubicBezTo>
                      <a:pt x="89" y="20"/>
                      <a:pt x="90" y="18"/>
                      <a:pt x="92" y="18"/>
                    </a:cubicBezTo>
                    <a:cubicBezTo>
                      <a:pt x="91" y="17"/>
                      <a:pt x="90" y="17"/>
                      <a:pt x="89" y="17"/>
                    </a:cubicBezTo>
                    <a:cubicBezTo>
                      <a:pt x="88" y="17"/>
                      <a:pt x="87" y="17"/>
                      <a:pt x="87" y="17"/>
                    </a:cubicBezTo>
                    <a:cubicBezTo>
                      <a:pt x="86" y="17"/>
                      <a:pt x="85" y="18"/>
                      <a:pt x="85" y="18"/>
                    </a:cubicBezTo>
                    <a:cubicBezTo>
                      <a:pt x="84" y="18"/>
                      <a:pt x="83" y="17"/>
                      <a:pt x="81" y="17"/>
                    </a:cubicBezTo>
                    <a:cubicBezTo>
                      <a:pt x="80" y="17"/>
                      <a:pt x="80" y="17"/>
                      <a:pt x="79" y="17"/>
                    </a:cubicBezTo>
                    <a:cubicBezTo>
                      <a:pt x="78" y="17"/>
                      <a:pt x="78" y="17"/>
                      <a:pt x="78" y="17"/>
                    </a:cubicBezTo>
                    <a:cubicBezTo>
                      <a:pt x="81" y="14"/>
                      <a:pt x="72" y="14"/>
                      <a:pt x="71" y="14"/>
                    </a:cubicBezTo>
                    <a:cubicBezTo>
                      <a:pt x="68" y="13"/>
                      <a:pt x="65" y="12"/>
                      <a:pt x="62" y="12"/>
                    </a:cubicBezTo>
                    <a:cubicBezTo>
                      <a:pt x="61" y="12"/>
                      <a:pt x="61" y="12"/>
                      <a:pt x="60" y="12"/>
                    </a:cubicBezTo>
                    <a:cubicBezTo>
                      <a:pt x="57" y="13"/>
                      <a:pt x="53" y="14"/>
                      <a:pt x="50" y="14"/>
                    </a:cubicBezTo>
                    <a:cubicBezTo>
                      <a:pt x="49" y="14"/>
                      <a:pt x="48" y="14"/>
                      <a:pt x="47" y="13"/>
                    </a:cubicBezTo>
                    <a:cubicBezTo>
                      <a:pt x="44" y="11"/>
                      <a:pt x="46" y="12"/>
                      <a:pt x="47" y="10"/>
                    </a:cubicBezTo>
                    <a:cubicBezTo>
                      <a:pt x="48" y="8"/>
                      <a:pt x="45" y="7"/>
                      <a:pt x="43" y="7"/>
                    </a:cubicBezTo>
                    <a:cubicBezTo>
                      <a:pt x="43" y="7"/>
                      <a:pt x="43" y="7"/>
                      <a:pt x="42" y="7"/>
                    </a:cubicBezTo>
                    <a:cubicBezTo>
                      <a:pt x="41" y="7"/>
                      <a:pt x="40" y="7"/>
                      <a:pt x="39" y="7"/>
                    </a:cubicBezTo>
                    <a:cubicBezTo>
                      <a:pt x="38" y="7"/>
                      <a:pt x="37" y="7"/>
                      <a:pt x="36" y="7"/>
                    </a:cubicBezTo>
                    <a:cubicBezTo>
                      <a:pt x="35" y="7"/>
                      <a:pt x="33" y="7"/>
                      <a:pt x="32" y="7"/>
                    </a:cubicBezTo>
                    <a:cubicBezTo>
                      <a:pt x="31" y="6"/>
                      <a:pt x="30" y="6"/>
                      <a:pt x="28" y="6"/>
                    </a:cubicBezTo>
                    <a:cubicBezTo>
                      <a:pt x="26" y="6"/>
                      <a:pt x="23" y="7"/>
                      <a:pt x="21" y="8"/>
                    </a:cubicBezTo>
                    <a:cubicBezTo>
                      <a:pt x="20" y="9"/>
                      <a:pt x="19" y="10"/>
                      <a:pt x="18" y="10"/>
                    </a:cubicBezTo>
                    <a:cubicBezTo>
                      <a:pt x="18" y="10"/>
                      <a:pt x="17" y="10"/>
                      <a:pt x="16" y="10"/>
                    </a:cubicBezTo>
                    <a:cubicBezTo>
                      <a:pt x="15" y="9"/>
                      <a:pt x="12" y="8"/>
                      <a:pt x="11" y="7"/>
                    </a:cubicBezTo>
                    <a:cubicBezTo>
                      <a:pt x="10" y="5"/>
                      <a:pt x="13" y="3"/>
                      <a:pt x="10" y="1"/>
                    </a:cubicBezTo>
                    <a:cubicBezTo>
                      <a:pt x="9"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1" name="Freeform 270">
                <a:extLst>
                  <a:ext uri="{FF2B5EF4-FFF2-40B4-BE49-F238E27FC236}">
                    <a16:creationId xmlns:a16="http://schemas.microsoft.com/office/drawing/2014/main" id="{5008CBD4-1E86-4066-8A72-252BCB84CC08}"/>
                  </a:ext>
                </a:extLst>
              </p:cNvPr>
              <p:cNvSpPr>
                <a:spLocks/>
              </p:cNvSpPr>
              <p:nvPr/>
            </p:nvSpPr>
            <p:spPr bwMode="auto">
              <a:xfrm>
                <a:off x="6990" y="-1358"/>
                <a:ext cx="276" cy="147"/>
              </a:xfrm>
              <a:custGeom>
                <a:avLst/>
                <a:gdLst>
                  <a:gd name="T0" fmla="*/ 57 w 117"/>
                  <a:gd name="T1" fmla="*/ 0 h 62"/>
                  <a:gd name="T2" fmla="*/ 48 w 117"/>
                  <a:gd name="T3" fmla="*/ 7 h 62"/>
                  <a:gd name="T4" fmla="*/ 45 w 117"/>
                  <a:gd name="T5" fmla="*/ 3 h 62"/>
                  <a:gd name="T6" fmla="*/ 36 w 117"/>
                  <a:gd name="T7" fmla="*/ 17 h 62"/>
                  <a:gd name="T8" fmla="*/ 33 w 117"/>
                  <a:gd name="T9" fmla="*/ 17 h 62"/>
                  <a:gd name="T10" fmla="*/ 28 w 117"/>
                  <a:gd name="T11" fmla="*/ 24 h 62"/>
                  <a:gd name="T12" fmla="*/ 33 w 117"/>
                  <a:gd name="T13" fmla="*/ 28 h 62"/>
                  <a:gd name="T14" fmla="*/ 27 w 117"/>
                  <a:gd name="T15" fmla="*/ 28 h 62"/>
                  <a:gd name="T16" fmla="*/ 21 w 117"/>
                  <a:gd name="T17" fmla="*/ 28 h 62"/>
                  <a:gd name="T18" fmla="*/ 6 w 117"/>
                  <a:gd name="T19" fmla="*/ 51 h 62"/>
                  <a:gd name="T20" fmla="*/ 7 w 117"/>
                  <a:gd name="T21" fmla="*/ 62 h 62"/>
                  <a:gd name="T22" fmla="*/ 23 w 117"/>
                  <a:gd name="T23" fmla="*/ 57 h 62"/>
                  <a:gd name="T24" fmla="*/ 40 w 117"/>
                  <a:gd name="T25" fmla="*/ 52 h 62"/>
                  <a:gd name="T26" fmla="*/ 43 w 117"/>
                  <a:gd name="T27" fmla="*/ 52 h 62"/>
                  <a:gd name="T28" fmla="*/ 46 w 117"/>
                  <a:gd name="T29" fmla="*/ 52 h 62"/>
                  <a:gd name="T30" fmla="*/ 50 w 117"/>
                  <a:gd name="T31" fmla="*/ 52 h 62"/>
                  <a:gd name="T32" fmla="*/ 55 w 117"/>
                  <a:gd name="T33" fmla="*/ 51 h 62"/>
                  <a:gd name="T34" fmla="*/ 60 w 117"/>
                  <a:gd name="T35" fmla="*/ 51 h 62"/>
                  <a:gd name="T36" fmla="*/ 63 w 117"/>
                  <a:gd name="T37" fmla="*/ 53 h 62"/>
                  <a:gd name="T38" fmla="*/ 70 w 117"/>
                  <a:gd name="T39" fmla="*/ 50 h 62"/>
                  <a:gd name="T40" fmla="*/ 73 w 117"/>
                  <a:gd name="T41" fmla="*/ 50 h 62"/>
                  <a:gd name="T42" fmla="*/ 80 w 117"/>
                  <a:gd name="T43" fmla="*/ 49 h 62"/>
                  <a:gd name="T44" fmla="*/ 83 w 117"/>
                  <a:gd name="T45" fmla="*/ 49 h 62"/>
                  <a:gd name="T46" fmla="*/ 87 w 117"/>
                  <a:gd name="T47" fmla="*/ 49 h 62"/>
                  <a:gd name="T48" fmla="*/ 99 w 117"/>
                  <a:gd name="T49" fmla="*/ 46 h 62"/>
                  <a:gd name="T50" fmla="*/ 102 w 117"/>
                  <a:gd name="T51" fmla="*/ 46 h 62"/>
                  <a:gd name="T52" fmla="*/ 105 w 117"/>
                  <a:gd name="T53" fmla="*/ 46 h 62"/>
                  <a:gd name="T54" fmla="*/ 117 w 117"/>
                  <a:gd name="T55" fmla="*/ 36 h 62"/>
                  <a:gd name="T56" fmla="*/ 113 w 117"/>
                  <a:gd name="T57" fmla="*/ 28 h 62"/>
                  <a:gd name="T58" fmla="*/ 102 w 117"/>
                  <a:gd name="T59" fmla="*/ 24 h 62"/>
                  <a:gd name="T60" fmla="*/ 96 w 117"/>
                  <a:gd name="T61" fmla="*/ 24 h 62"/>
                  <a:gd name="T62" fmla="*/ 95 w 117"/>
                  <a:gd name="T63" fmla="*/ 19 h 62"/>
                  <a:gd name="T64" fmla="*/ 93 w 117"/>
                  <a:gd name="T65" fmla="*/ 18 h 62"/>
                  <a:gd name="T66" fmla="*/ 90 w 117"/>
                  <a:gd name="T67" fmla="*/ 18 h 62"/>
                  <a:gd name="T68" fmla="*/ 90 w 117"/>
                  <a:gd name="T69" fmla="*/ 17 h 62"/>
                  <a:gd name="T70" fmla="*/ 89 w 117"/>
                  <a:gd name="T71" fmla="*/ 16 h 62"/>
                  <a:gd name="T72" fmla="*/ 83 w 117"/>
                  <a:gd name="T73" fmla="*/ 11 h 62"/>
                  <a:gd name="T74" fmla="*/ 62 w 117"/>
                  <a:gd name="T75" fmla="*/ 15 h 62"/>
                  <a:gd name="T76" fmla="*/ 64 w 117"/>
                  <a:gd name="T77" fmla="*/ 11 h 62"/>
                  <a:gd name="T78" fmla="*/ 66 w 117"/>
                  <a:gd name="T79" fmla="*/ 7 h 62"/>
                  <a:gd name="T80" fmla="*/ 65 w 117"/>
                  <a:gd name="T81"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62">
                    <a:moveTo>
                      <a:pt x="58" y="0"/>
                    </a:moveTo>
                    <a:cubicBezTo>
                      <a:pt x="58" y="0"/>
                      <a:pt x="57" y="0"/>
                      <a:pt x="57" y="0"/>
                    </a:cubicBezTo>
                    <a:cubicBezTo>
                      <a:pt x="53" y="1"/>
                      <a:pt x="55" y="8"/>
                      <a:pt x="51" y="8"/>
                    </a:cubicBezTo>
                    <a:cubicBezTo>
                      <a:pt x="51" y="8"/>
                      <a:pt x="50" y="8"/>
                      <a:pt x="48" y="7"/>
                    </a:cubicBezTo>
                    <a:cubicBezTo>
                      <a:pt x="48" y="7"/>
                      <a:pt x="47" y="3"/>
                      <a:pt x="45" y="3"/>
                    </a:cubicBezTo>
                    <a:cubicBezTo>
                      <a:pt x="45" y="3"/>
                      <a:pt x="45" y="3"/>
                      <a:pt x="45" y="3"/>
                    </a:cubicBezTo>
                    <a:cubicBezTo>
                      <a:pt x="41" y="3"/>
                      <a:pt x="38" y="5"/>
                      <a:pt x="36" y="8"/>
                    </a:cubicBezTo>
                    <a:cubicBezTo>
                      <a:pt x="33" y="11"/>
                      <a:pt x="32" y="15"/>
                      <a:pt x="36" y="17"/>
                    </a:cubicBezTo>
                    <a:cubicBezTo>
                      <a:pt x="36" y="18"/>
                      <a:pt x="37" y="18"/>
                      <a:pt x="37" y="18"/>
                    </a:cubicBezTo>
                    <a:cubicBezTo>
                      <a:pt x="36" y="17"/>
                      <a:pt x="34" y="17"/>
                      <a:pt x="33" y="17"/>
                    </a:cubicBezTo>
                    <a:cubicBezTo>
                      <a:pt x="31" y="17"/>
                      <a:pt x="30" y="17"/>
                      <a:pt x="29" y="19"/>
                    </a:cubicBezTo>
                    <a:cubicBezTo>
                      <a:pt x="29" y="21"/>
                      <a:pt x="28" y="23"/>
                      <a:pt x="28" y="24"/>
                    </a:cubicBezTo>
                    <a:cubicBezTo>
                      <a:pt x="27" y="27"/>
                      <a:pt x="27" y="26"/>
                      <a:pt x="29" y="27"/>
                    </a:cubicBezTo>
                    <a:cubicBezTo>
                      <a:pt x="30" y="28"/>
                      <a:pt x="32" y="27"/>
                      <a:pt x="33" y="28"/>
                    </a:cubicBezTo>
                    <a:cubicBezTo>
                      <a:pt x="32" y="28"/>
                      <a:pt x="32" y="28"/>
                      <a:pt x="31" y="28"/>
                    </a:cubicBezTo>
                    <a:cubicBezTo>
                      <a:pt x="30" y="28"/>
                      <a:pt x="29" y="28"/>
                      <a:pt x="27" y="28"/>
                    </a:cubicBezTo>
                    <a:cubicBezTo>
                      <a:pt x="26" y="27"/>
                      <a:pt x="25" y="27"/>
                      <a:pt x="23" y="27"/>
                    </a:cubicBezTo>
                    <a:cubicBezTo>
                      <a:pt x="22" y="27"/>
                      <a:pt x="21" y="27"/>
                      <a:pt x="21" y="28"/>
                    </a:cubicBezTo>
                    <a:cubicBezTo>
                      <a:pt x="16" y="30"/>
                      <a:pt x="13" y="38"/>
                      <a:pt x="11" y="42"/>
                    </a:cubicBezTo>
                    <a:cubicBezTo>
                      <a:pt x="10" y="47"/>
                      <a:pt x="9" y="49"/>
                      <a:pt x="6" y="51"/>
                    </a:cubicBezTo>
                    <a:cubicBezTo>
                      <a:pt x="4" y="52"/>
                      <a:pt x="0" y="56"/>
                      <a:pt x="0" y="58"/>
                    </a:cubicBezTo>
                    <a:cubicBezTo>
                      <a:pt x="0" y="61"/>
                      <a:pt x="3" y="62"/>
                      <a:pt x="7" y="62"/>
                    </a:cubicBezTo>
                    <a:cubicBezTo>
                      <a:pt x="9" y="62"/>
                      <a:pt x="12" y="61"/>
                      <a:pt x="13" y="61"/>
                    </a:cubicBezTo>
                    <a:cubicBezTo>
                      <a:pt x="16" y="60"/>
                      <a:pt x="20" y="58"/>
                      <a:pt x="23" y="57"/>
                    </a:cubicBezTo>
                    <a:cubicBezTo>
                      <a:pt x="26" y="56"/>
                      <a:pt x="29" y="55"/>
                      <a:pt x="32" y="53"/>
                    </a:cubicBezTo>
                    <a:cubicBezTo>
                      <a:pt x="34" y="52"/>
                      <a:pt x="37" y="52"/>
                      <a:pt x="40" y="52"/>
                    </a:cubicBezTo>
                    <a:cubicBezTo>
                      <a:pt x="40" y="52"/>
                      <a:pt x="41" y="52"/>
                      <a:pt x="41" y="52"/>
                    </a:cubicBezTo>
                    <a:cubicBezTo>
                      <a:pt x="42" y="52"/>
                      <a:pt x="42" y="52"/>
                      <a:pt x="43" y="52"/>
                    </a:cubicBezTo>
                    <a:cubicBezTo>
                      <a:pt x="44" y="52"/>
                      <a:pt x="45" y="52"/>
                      <a:pt x="46" y="52"/>
                    </a:cubicBezTo>
                    <a:cubicBezTo>
                      <a:pt x="46" y="52"/>
                      <a:pt x="46" y="52"/>
                      <a:pt x="46" y="52"/>
                    </a:cubicBezTo>
                    <a:cubicBezTo>
                      <a:pt x="46" y="52"/>
                      <a:pt x="47" y="52"/>
                      <a:pt x="48" y="52"/>
                    </a:cubicBezTo>
                    <a:cubicBezTo>
                      <a:pt x="49" y="52"/>
                      <a:pt x="49" y="52"/>
                      <a:pt x="50" y="52"/>
                    </a:cubicBezTo>
                    <a:cubicBezTo>
                      <a:pt x="50" y="52"/>
                      <a:pt x="50" y="52"/>
                      <a:pt x="50" y="52"/>
                    </a:cubicBezTo>
                    <a:cubicBezTo>
                      <a:pt x="52" y="51"/>
                      <a:pt x="53" y="51"/>
                      <a:pt x="55" y="51"/>
                    </a:cubicBezTo>
                    <a:cubicBezTo>
                      <a:pt x="56" y="51"/>
                      <a:pt x="56" y="51"/>
                      <a:pt x="57" y="51"/>
                    </a:cubicBezTo>
                    <a:cubicBezTo>
                      <a:pt x="58" y="51"/>
                      <a:pt x="59" y="51"/>
                      <a:pt x="60" y="51"/>
                    </a:cubicBezTo>
                    <a:cubicBezTo>
                      <a:pt x="61" y="51"/>
                      <a:pt x="62" y="51"/>
                      <a:pt x="63" y="52"/>
                    </a:cubicBezTo>
                    <a:cubicBezTo>
                      <a:pt x="63" y="53"/>
                      <a:pt x="63" y="53"/>
                      <a:pt x="63" y="53"/>
                    </a:cubicBezTo>
                    <a:cubicBezTo>
                      <a:pt x="65" y="53"/>
                      <a:pt x="67" y="51"/>
                      <a:pt x="67" y="50"/>
                    </a:cubicBezTo>
                    <a:cubicBezTo>
                      <a:pt x="68" y="50"/>
                      <a:pt x="69" y="50"/>
                      <a:pt x="70" y="50"/>
                    </a:cubicBezTo>
                    <a:cubicBezTo>
                      <a:pt x="70" y="50"/>
                      <a:pt x="71" y="50"/>
                      <a:pt x="71" y="50"/>
                    </a:cubicBezTo>
                    <a:cubicBezTo>
                      <a:pt x="72" y="50"/>
                      <a:pt x="72" y="50"/>
                      <a:pt x="73" y="50"/>
                    </a:cubicBezTo>
                    <a:cubicBezTo>
                      <a:pt x="73" y="50"/>
                      <a:pt x="73" y="50"/>
                      <a:pt x="73" y="50"/>
                    </a:cubicBezTo>
                    <a:cubicBezTo>
                      <a:pt x="75" y="50"/>
                      <a:pt x="78" y="49"/>
                      <a:pt x="80" y="49"/>
                    </a:cubicBezTo>
                    <a:cubicBezTo>
                      <a:pt x="81" y="49"/>
                      <a:pt x="81" y="49"/>
                      <a:pt x="82" y="49"/>
                    </a:cubicBezTo>
                    <a:cubicBezTo>
                      <a:pt x="82" y="49"/>
                      <a:pt x="83" y="49"/>
                      <a:pt x="83" y="49"/>
                    </a:cubicBezTo>
                    <a:cubicBezTo>
                      <a:pt x="83" y="49"/>
                      <a:pt x="84" y="49"/>
                      <a:pt x="84" y="49"/>
                    </a:cubicBezTo>
                    <a:cubicBezTo>
                      <a:pt x="85" y="49"/>
                      <a:pt x="86" y="49"/>
                      <a:pt x="87" y="49"/>
                    </a:cubicBezTo>
                    <a:cubicBezTo>
                      <a:pt x="89" y="48"/>
                      <a:pt x="91" y="47"/>
                      <a:pt x="92" y="47"/>
                    </a:cubicBezTo>
                    <a:cubicBezTo>
                      <a:pt x="94" y="46"/>
                      <a:pt x="97" y="46"/>
                      <a:pt x="99" y="46"/>
                    </a:cubicBezTo>
                    <a:cubicBezTo>
                      <a:pt x="99" y="46"/>
                      <a:pt x="99" y="46"/>
                      <a:pt x="100" y="46"/>
                    </a:cubicBezTo>
                    <a:cubicBezTo>
                      <a:pt x="100" y="46"/>
                      <a:pt x="101" y="46"/>
                      <a:pt x="102" y="46"/>
                    </a:cubicBezTo>
                    <a:cubicBezTo>
                      <a:pt x="102" y="46"/>
                      <a:pt x="103" y="46"/>
                      <a:pt x="104" y="46"/>
                    </a:cubicBezTo>
                    <a:cubicBezTo>
                      <a:pt x="104" y="46"/>
                      <a:pt x="104" y="46"/>
                      <a:pt x="105" y="46"/>
                    </a:cubicBezTo>
                    <a:cubicBezTo>
                      <a:pt x="108" y="45"/>
                      <a:pt x="110" y="41"/>
                      <a:pt x="113" y="40"/>
                    </a:cubicBezTo>
                    <a:cubicBezTo>
                      <a:pt x="115" y="39"/>
                      <a:pt x="117" y="39"/>
                      <a:pt x="117" y="36"/>
                    </a:cubicBezTo>
                    <a:cubicBezTo>
                      <a:pt x="116" y="34"/>
                      <a:pt x="115" y="32"/>
                      <a:pt x="114" y="31"/>
                    </a:cubicBezTo>
                    <a:cubicBezTo>
                      <a:pt x="114" y="30"/>
                      <a:pt x="114" y="29"/>
                      <a:pt x="113" y="28"/>
                    </a:cubicBezTo>
                    <a:cubicBezTo>
                      <a:pt x="112" y="25"/>
                      <a:pt x="109" y="24"/>
                      <a:pt x="106" y="24"/>
                    </a:cubicBezTo>
                    <a:cubicBezTo>
                      <a:pt x="105" y="24"/>
                      <a:pt x="103" y="24"/>
                      <a:pt x="102" y="24"/>
                    </a:cubicBezTo>
                    <a:cubicBezTo>
                      <a:pt x="101" y="25"/>
                      <a:pt x="100" y="25"/>
                      <a:pt x="99" y="25"/>
                    </a:cubicBezTo>
                    <a:cubicBezTo>
                      <a:pt x="98" y="25"/>
                      <a:pt x="97" y="25"/>
                      <a:pt x="96" y="24"/>
                    </a:cubicBezTo>
                    <a:cubicBezTo>
                      <a:pt x="98" y="24"/>
                      <a:pt x="100" y="24"/>
                      <a:pt x="99" y="21"/>
                    </a:cubicBezTo>
                    <a:cubicBezTo>
                      <a:pt x="98" y="20"/>
                      <a:pt x="97" y="19"/>
                      <a:pt x="95" y="19"/>
                    </a:cubicBezTo>
                    <a:cubicBezTo>
                      <a:pt x="95" y="18"/>
                      <a:pt x="94" y="18"/>
                      <a:pt x="94" y="18"/>
                    </a:cubicBezTo>
                    <a:cubicBezTo>
                      <a:pt x="93" y="18"/>
                      <a:pt x="93" y="18"/>
                      <a:pt x="93" y="18"/>
                    </a:cubicBezTo>
                    <a:cubicBezTo>
                      <a:pt x="93" y="18"/>
                      <a:pt x="93" y="18"/>
                      <a:pt x="92" y="18"/>
                    </a:cubicBezTo>
                    <a:cubicBezTo>
                      <a:pt x="92" y="18"/>
                      <a:pt x="91" y="18"/>
                      <a:pt x="90" y="18"/>
                    </a:cubicBezTo>
                    <a:cubicBezTo>
                      <a:pt x="90" y="18"/>
                      <a:pt x="90" y="18"/>
                      <a:pt x="90" y="18"/>
                    </a:cubicBezTo>
                    <a:cubicBezTo>
                      <a:pt x="91" y="18"/>
                      <a:pt x="90" y="18"/>
                      <a:pt x="90" y="17"/>
                    </a:cubicBezTo>
                    <a:cubicBezTo>
                      <a:pt x="89" y="17"/>
                      <a:pt x="89" y="16"/>
                      <a:pt x="89" y="16"/>
                    </a:cubicBezTo>
                    <a:cubicBezTo>
                      <a:pt x="89" y="16"/>
                      <a:pt x="89" y="16"/>
                      <a:pt x="89" y="16"/>
                    </a:cubicBezTo>
                    <a:cubicBezTo>
                      <a:pt x="89" y="15"/>
                      <a:pt x="90" y="13"/>
                      <a:pt x="88" y="13"/>
                    </a:cubicBezTo>
                    <a:cubicBezTo>
                      <a:pt x="87" y="12"/>
                      <a:pt x="85" y="12"/>
                      <a:pt x="83" y="11"/>
                    </a:cubicBezTo>
                    <a:cubicBezTo>
                      <a:pt x="82" y="11"/>
                      <a:pt x="82" y="11"/>
                      <a:pt x="81" y="11"/>
                    </a:cubicBezTo>
                    <a:cubicBezTo>
                      <a:pt x="75" y="11"/>
                      <a:pt x="68" y="14"/>
                      <a:pt x="62" y="15"/>
                    </a:cubicBezTo>
                    <a:cubicBezTo>
                      <a:pt x="63" y="14"/>
                      <a:pt x="63" y="14"/>
                      <a:pt x="64" y="13"/>
                    </a:cubicBezTo>
                    <a:cubicBezTo>
                      <a:pt x="65" y="12"/>
                      <a:pt x="64" y="12"/>
                      <a:pt x="64" y="11"/>
                    </a:cubicBezTo>
                    <a:cubicBezTo>
                      <a:pt x="64" y="10"/>
                      <a:pt x="65" y="10"/>
                      <a:pt x="66" y="9"/>
                    </a:cubicBezTo>
                    <a:cubicBezTo>
                      <a:pt x="66" y="9"/>
                      <a:pt x="66" y="8"/>
                      <a:pt x="66" y="7"/>
                    </a:cubicBezTo>
                    <a:cubicBezTo>
                      <a:pt x="67" y="7"/>
                      <a:pt x="75" y="4"/>
                      <a:pt x="71" y="4"/>
                    </a:cubicBezTo>
                    <a:cubicBezTo>
                      <a:pt x="68" y="4"/>
                      <a:pt x="67" y="2"/>
                      <a:pt x="65" y="2"/>
                    </a:cubicBezTo>
                    <a:cubicBezTo>
                      <a:pt x="63" y="1"/>
                      <a:pt x="60" y="0"/>
                      <a:pt x="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2" name="Freeform 271">
                <a:extLst>
                  <a:ext uri="{FF2B5EF4-FFF2-40B4-BE49-F238E27FC236}">
                    <a16:creationId xmlns:a16="http://schemas.microsoft.com/office/drawing/2014/main" id="{BCB19711-8599-4F0C-BD1E-3CAF91863506}"/>
                  </a:ext>
                </a:extLst>
              </p:cNvPr>
              <p:cNvSpPr>
                <a:spLocks/>
              </p:cNvSpPr>
              <p:nvPr/>
            </p:nvSpPr>
            <p:spPr bwMode="auto">
              <a:xfrm>
                <a:off x="4683" y="-471"/>
                <a:ext cx="107" cy="63"/>
              </a:xfrm>
              <a:custGeom>
                <a:avLst/>
                <a:gdLst>
                  <a:gd name="T0" fmla="*/ 16 w 45"/>
                  <a:gd name="T1" fmla="*/ 0 h 27"/>
                  <a:gd name="T2" fmla="*/ 11 w 45"/>
                  <a:gd name="T3" fmla="*/ 2 h 27"/>
                  <a:gd name="T4" fmla="*/ 1 w 45"/>
                  <a:gd name="T5" fmla="*/ 12 h 27"/>
                  <a:gd name="T6" fmla="*/ 0 w 45"/>
                  <a:gd name="T7" fmla="*/ 18 h 27"/>
                  <a:gd name="T8" fmla="*/ 11 w 45"/>
                  <a:gd name="T9" fmla="*/ 27 h 27"/>
                  <a:gd name="T10" fmla="*/ 26 w 45"/>
                  <a:gd name="T11" fmla="*/ 22 h 27"/>
                  <a:gd name="T12" fmla="*/ 33 w 45"/>
                  <a:gd name="T13" fmla="*/ 17 h 27"/>
                  <a:gd name="T14" fmla="*/ 34 w 45"/>
                  <a:gd name="T15" fmla="*/ 15 h 27"/>
                  <a:gd name="T16" fmla="*/ 38 w 45"/>
                  <a:gd name="T17" fmla="*/ 12 h 27"/>
                  <a:gd name="T18" fmla="*/ 36 w 45"/>
                  <a:gd name="T19" fmla="*/ 18 h 27"/>
                  <a:gd name="T20" fmla="*/ 32 w 45"/>
                  <a:gd name="T21" fmla="*/ 6 h 27"/>
                  <a:gd name="T22" fmla="*/ 16 w 45"/>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16" y="0"/>
                    </a:moveTo>
                    <a:cubicBezTo>
                      <a:pt x="14" y="0"/>
                      <a:pt x="13" y="1"/>
                      <a:pt x="11" y="2"/>
                    </a:cubicBezTo>
                    <a:cubicBezTo>
                      <a:pt x="6" y="3"/>
                      <a:pt x="2" y="7"/>
                      <a:pt x="1" y="12"/>
                    </a:cubicBezTo>
                    <a:cubicBezTo>
                      <a:pt x="1" y="14"/>
                      <a:pt x="0" y="16"/>
                      <a:pt x="0" y="18"/>
                    </a:cubicBezTo>
                    <a:cubicBezTo>
                      <a:pt x="1" y="23"/>
                      <a:pt x="7" y="24"/>
                      <a:pt x="11" y="27"/>
                    </a:cubicBezTo>
                    <a:cubicBezTo>
                      <a:pt x="16" y="26"/>
                      <a:pt x="22" y="25"/>
                      <a:pt x="26" y="22"/>
                    </a:cubicBezTo>
                    <a:cubicBezTo>
                      <a:pt x="28" y="21"/>
                      <a:pt x="31" y="19"/>
                      <a:pt x="33" y="17"/>
                    </a:cubicBezTo>
                    <a:cubicBezTo>
                      <a:pt x="33" y="16"/>
                      <a:pt x="33" y="16"/>
                      <a:pt x="34" y="15"/>
                    </a:cubicBezTo>
                    <a:cubicBezTo>
                      <a:pt x="35" y="14"/>
                      <a:pt x="37" y="13"/>
                      <a:pt x="38" y="12"/>
                    </a:cubicBezTo>
                    <a:cubicBezTo>
                      <a:pt x="38" y="14"/>
                      <a:pt x="37" y="16"/>
                      <a:pt x="36" y="18"/>
                    </a:cubicBezTo>
                    <a:cubicBezTo>
                      <a:pt x="45" y="14"/>
                      <a:pt x="36" y="8"/>
                      <a:pt x="32" y="6"/>
                    </a:cubicBezTo>
                    <a:cubicBezTo>
                      <a:pt x="27" y="3"/>
                      <a:pt x="22"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3" name="Freeform 272">
                <a:extLst>
                  <a:ext uri="{FF2B5EF4-FFF2-40B4-BE49-F238E27FC236}">
                    <a16:creationId xmlns:a16="http://schemas.microsoft.com/office/drawing/2014/main" id="{63BD604F-B20D-4474-9785-816FEA2E9D3C}"/>
                  </a:ext>
                </a:extLst>
              </p:cNvPr>
              <p:cNvSpPr>
                <a:spLocks/>
              </p:cNvSpPr>
              <p:nvPr/>
            </p:nvSpPr>
            <p:spPr bwMode="auto">
              <a:xfrm>
                <a:off x="8887" y="585"/>
                <a:ext cx="142" cy="504"/>
              </a:xfrm>
              <a:custGeom>
                <a:avLst/>
                <a:gdLst>
                  <a:gd name="T0" fmla="*/ 21 w 60"/>
                  <a:gd name="T1" fmla="*/ 0 h 213"/>
                  <a:gd name="T2" fmla="*/ 19 w 60"/>
                  <a:gd name="T3" fmla="*/ 3 h 213"/>
                  <a:gd name="T4" fmla="*/ 16 w 60"/>
                  <a:gd name="T5" fmla="*/ 3 h 213"/>
                  <a:gd name="T6" fmla="*/ 22 w 60"/>
                  <a:gd name="T7" fmla="*/ 13 h 213"/>
                  <a:gd name="T8" fmla="*/ 21 w 60"/>
                  <a:gd name="T9" fmla="*/ 20 h 213"/>
                  <a:gd name="T10" fmla="*/ 21 w 60"/>
                  <a:gd name="T11" fmla="*/ 20 h 213"/>
                  <a:gd name="T12" fmla="*/ 20 w 60"/>
                  <a:gd name="T13" fmla="*/ 19 h 213"/>
                  <a:gd name="T14" fmla="*/ 18 w 60"/>
                  <a:gd name="T15" fmla="*/ 23 h 213"/>
                  <a:gd name="T16" fmla="*/ 20 w 60"/>
                  <a:gd name="T17" fmla="*/ 23 h 213"/>
                  <a:gd name="T18" fmla="*/ 17 w 60"/>
                  <a:gd name="T19" fmla="*/ 27 h 213"/>
                  <a:gd name="T20" fmla="*/ 13 w 60"/>
                  <a:gd name="T21" fmla="*/ 25 h 213"/>
                  <a:gd name="T22" fmla="*/ 10 w 60"/>
                  <a:gd name="T23" fmla="*/ 24 h 213"/>
                  <a:gd name="T24" fmla="*/ 6 w 60"/>
                  <a:gd name="T25" fmla="*/ 38 h 213"/>
                  <a:gd name="T26" fmla="*/ 4 w 60"/>
                  <a:gd name="T27" fmla="*/ 52 h 213"/>
                  <a:gd name="T28" fmla="*/ 12 w 60"/>
                  <a:gd name="T29" fmla="*/ 83 h 213"/>
                  <a:gd name="T30" fmla="*/ 10 w 60"/>
                  <a:gd name="T31" fmla="*/ 95 h 213"/>
                  <a:gd name="T32" fmla="*/ 9 w 60"/>
                  <a:gd name="T33" fmla="*/ 127 h 213"/>
                  <a:gd name="T34" fmla="*/ 6 w 60"/>
                  <a:gd name="T35" fmla="*/ 146 h 213"/>
                  <a:gd name="T36" fmla="*/ 11 w 60"/>
                  <a:gd name="T37" fmla="*/ 164 h 213"/>
                  <a:gd name="T38" fmla="*/ 9 w 60"/>
                  <a:gd name="T39" fmla="*/ 185 h 213"/>
                  <a:gd name="T40" fmla="*/ 6 w 60"/>
                  <a:gd name="T41" fmla="*/ 203 h 213"/>
                  <a:gd name="T42" fmla="*/ 16 w 60"/>
                  <a:gd name="T43" fmla="*/ 196 h 213"/>
                  <a:gd name="T44" fmla="*/ 24 w 60"/>
                  <a:gd name="T45" fmla="*/ 196 h 213"/>
                  <a:gd name="T46" fmla="*/ 29 w 60"/>
                  <a:gd name="T47" fmla="*/ 196 h 213"/>
                  <a:gd name="T48" fmla="*/ 33 w 60"/>
                  <a:gd name="T49" fmla="*/ 197 h 213"/>
                  <a:gd name="T50" fmla="*/ 35 w 60"/>
                  <a:gd name="T51" fmla="*/ 203 h 213"/>
                  <a:gd name="T52" fmla="*/ 37 w 60"/>
                  <a:gd name="T53" fmla="*/ 205 h 213"/>
                  <a:gd name="T54" fmla="*/ 38 w 60"/>
                  <a:gd name="T55" fmla="*/ 201 h 213"/>
                  <a:gd name="T56" fmla="*/ 33 w 60"/>
                  <a:gd name="T57" fmla="*/ 190 h 213"/>
                  <a:gd name="T58" fmla="*/ 34 w 60"/>
                  <a:gd name="T59" fmla="*/ 193 h 213"/>
                  <a:gd name="T60" fmla="*/ 30 w 60"/>
                  <a:gd name="T61" fmla="*/ 193 h 213"/>
                  <a:gd name="T62" fmla="*/ 29 w 60"/>
                  <a:gd name="T63" fmla="*/ 189 h 213"/>
                  <a:gd name="T64" fmla="*/ 19 w 60"/>
                  <a:gd name="T65" fmla="*/ 163 h 213"/>
                  <a:gd name="T66" fmla="*/ 30 w 60"/>
                  <a:gd name="T67" fmla="*/ 132 h 213"/>
                  <a:gd name="T68" fmla="*/ 35 w 60"/>
                  <a:gd name="T69" fmla="*/ 128 h 213"/>
                  <a:gd name="T70" fmla="*/ 40 w 60"/>
                  <a:gd name="T71" fmla="*/ 130 h 213"/>
                  <a:gd name="T72" fmla="*/ 53 w 60"/>
                  <a:gd name="T73" fmla="*/ 136 h 213"/>
                  <a:gd name="T74" fmla="*/ 59 w 60"/>
                  <a:gd name="T75" fmla="*/ 144 h 213"/>
                  <a:gd name="T76" fmla="*/ 55 w 60"/>
                  <a:gd name="T77" fmla="*/ 138 h 213"/>
                  <a:gd name="T78" fmla="*/ 51 w 60"/>
                  <a:gd name="T79" fmla="*/ 128 h 213"/>
                  <a:gd name="T80" fmla="*/ 49 w 60"/>
                  <a:gd name="T81" fmla="*/ 122 h 213"/>
                  <a:gd name="T82" fmla="*/ 35 w 60"/>
                  <a:gd name="T83" fmla="*/ 79 h 213"/>
                  <a:gd name="T84" fmla="*/ 34 w 60"/>
                  <a:gd name="T85" fmla="*/ 72 h 213"/>
                  <a:gd name="T86" fmla="*/ 33 w 60"/>
                  <a:gd name="T87" fmla="*/ 73 h 213"/>
                  <a:gd name="T88" fmla="*/ 33 w 60"/>
                  <a:gd name="T89" fmla="*/ 75 h 213"/>
                  <a:gd name="T90" fmla="*/ 29 w 60"/>
                  <a:gd name="T91" fmla="*/ 59 h 213"/>
                  <a:gd name="T92" fmla="*/ 30 w 60"/>
                  <a:gd name="T93" fmla="*/ 52 h 213"/>
                  <a:gd name="T94" fmla="*/ 29 w 60"/>
                  <a:gd name="T95" fmla="*/ 31 h 213"/>
                  <a:gd name="T96" fmla="*/ 30 w 60"/>
                  <a:gd name="T97" fmla="*/ 27 h 213"/>
                  <a:gd name="T98" fmla="*/ 32 w 60"/>
                  <a:gd name="T99" fmla="*/ 34 h 213"/>
                  <a:gd name="T100" fmla="*/ 30 w 60"/>
                  <a:gd name="T101" fmla="*/ 24 h 213"/>
                  <a:gd name="T102" fmla="*/ 26 w 60"/>
                  <a:gd name="T103" fmla="*/ 12 h 213"/>
                  <a:gd name="T104" fmla="*/ 24 w 60"/>
                  <a:gd name="T105" fmla="*/ 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213">
                    <a:moveTo>
                      <a:pt x="22" y="0"/>
                    </a:moveTo>
                    <a:cubicBezTo>
                      <a:pt x="21" y="0"/>
                      <a:pt x="21" y="0"/>
                      <a:pt x="21" y="0"/>
                    </a:cubicBezTo>
                    <a:cubicBezTo>
                      <a:pt x="20" y="4"/>
                      <a:pt x="20" y="4"/>
                      <a:pt x="20" y="4"/>
                    </a:cubicBezTo>
                    <a:cubicBezTo>
                      <a:pt x="20" y="3"/>
                      <a:pt x="20" y="3"/>
                      <a:pt x="19" y="3"/>
                    </a:cubicBezTo>
                    <a:cubicBezTo>
                      <a:pt x="19" y="3"/>
                      <a:pt x="19" y="3"/>
                      <a:pt x="18" y="3"/>
                    </a:cubicBezTo>
                    <a:cubicBezTo>
                      <a:pt x="17" y="3"/>
                      <a:pt x="16" y="3"/>
                      <a:pt x="16" y="3"/>
                    </a:cubicBezTo>
                    <a:cubicBezTo>
                      <a:pt x="15" y="3"/>
                      <a:pt x="14" y="3"/>
                      <a:pt x="13" y="3"/>
                    </a:cubicBezTo>
                    <a:cubicBezTo>
                      <a:pt x="15" y="5"/>
                      <a:pt x="21" y="10"/>
                      <a:pt x="22" y="13"/>
                    </a:cubicBezTo>
                    <a:cubicBezTo>
                      <a:pt x="22" y="15"/>
                      <a:pt x="20" y="17"/>
                      <a:pt x="20" y="18"/>
                    </a:cubicBezTo>
                    <a:cubicBezTo>
                      <a:pt x="20" y="18"/>
                      <a:pt x="25" y="19"/>
                      <a:pt x="21" y="20"/>
                    </a:cubicBezTo>
                    <a:cubicBezTo>
                      <a:pt x="21" y="20"/>
                      <a:pt x="21" y="20"/>
                      <a:pt x="21" y="20"/>
                    </a:cubicBezTo>
                    <a:cubicBezTo>
                      <a:pt x="21" y="20"/>
                      <a:pt x="21" y="20"/>
                      <a:pt x="21" y="20"/>
                    </a:cubicBezTo>
                    <a:cubicBezTo>
                      <a:pt x="21" y="20"/>
                      <a:pt x="20" y="19"/>
                      <a:pt x="20" y="19"/>
                    </a:cubicBezTo>
                    <a:cubicBezTo>
                      <a:pt x="20" y="19"/>
                      <a:pt x="20" y="19"/>
                      <a:pt x="20" y="19"/>
                    </a:cubicBezTo>
                    <a:cubicBezTo>
                      <a:pt x="19" y="20"/>
                      <a:pt x="18" y="22"/>
                      <a:pt x="18" y="23"/>
                    </a:cubicBezTo>
                    <a:cubicBezTo>
                      <a:pt x="18" y="23"/>
                      <a:pt x="18" y="23"/>
                      <a:pt x="18" y="23"/>
                    </a:cubicBezTo>
                    <a:cubicBezTo>
                      <a:pt x="19" y="23"/>
                      <a:pt x="20" y="23"/>
                      <a:pt x="20" y="23"/>
                    </a:cubicBezTo>
                    <a:cubicBezTo>
                      <a:pt x="20" y="23"/>
                      <a:pt x="20" y="23"/>
                      <a:pt x="20" y="23"/>
                    </a:cubicBezTo>
                    <a:cubicBezTo>
                      <a:pt x="20" y="23"/>
                      <a:pt x="20" y="23"/>
                      <a:pt x="20" y="23"/>
                    </a:cubicBezTo>
                    <a:cubicBezTo>
                      <a:pt x="20" y="23"/>
                      <a:pt x="17" y="27"/>
                      <a:pt x="17" y="27"/>
                    </a:cubicBezTo>
                    <a:cubicBezTo>
                      <a:pt x="16" y="27"/>
                      <a:pt x="15" y="27"/>
                      <a:pt x="15" y="27"/>
                    </a:cubicBezTo>
                    <a:cubicBezTo>
                      <a:pt x="14" y="27"/>
                      <a:pt x="13" y="27"/>
                      <a:pt x="13" y="25"/>
                    </a:cubicBezTo>
                    <a:cubicBezTo>
                      <a:pt x="12" y="24"/>
                      <a:pt x="12" y="23"/>
                      <a:pt x="12" y="23"/>
                    </a:cubicBezTo>
                    <a:cubicBezTo>
                      <a:pt x="11" y="23"/>
                      <a:pt x="11" y="24"/>
                      <a:pt x="10" y="24"/>
                    </a:cubicBezTo>
                    <a:cubicBezTo>
                      <a:pt x="8" y="25"/>
                      <a:pt x="3" y="27"/>
                      <a:pt x="4" y="28"/>
                    </a:cubicBezTo>
                    <a:cubicBezTo>
                      <a:pt x="5" y="31"/>
                      <a:pt x="7" y="34"/>
                      <a:pt x="6" y="38"/>
                    </a:cubicBezTo>
                    <a:cubicBezTo>
                      <a:pt x="6" y="40"/>
                      <a:pt x="5" y="42"/>
                      <a:pt x="5" y="45"/>
                    </a:cubicBezTo>
                    <a:cubicBezTo>
                      <a:pt x="5" y="47"/>
                      <a:pt x="4" y="50"/>
                      <a:pt x="4" y="52"/>
                    </a:cubicBezTo>
                    <a:cubicBezTo>
                      <a:pt x="3" y="57"/>
                      <a:pt x="0" y="64"/>
                      <a:pt x="2" y="67"/>
                    </a:cubicBezTo>
                    <a:cubicBezTo>
                      <a:pt x="6" y="73"/>
                      <a:pt x="9" y="78"/>
                      <a:pt x="12" y="83"/>
                    </a:cubicBezTo>
                    <a:cubicBezTo>
                      <a:pt x="13" y="85"/>
                      <a:pt x="13" y="86"/>
                      <a:pt x="12" y="88"/>
                    </a:cubicBezTo>
                    <a:cubicBezTo>
                      <a:pt x="11" y="91"/>
                      <a:pt x="10" y="92"/>
                      <a:pt x="10" y="95"/>
                    </a:cubicBezTo>
                    <a:cubicBezTo>
                      <a:pt x="10" y="100"/>
                      <a:pt x="11" y="106"/>
                      <a:pt x="11" y="111"/>
                    </a:cubicBezTo>
                    <a:cubicBezTo>
                      <a:pt x="11" y="117"/>
                      <a:pt x="10" y="121"/>
                      <a:pt x="9" y="127"/>
                    </a:cubicBezTo>
                    <a:cubicBezTo>
                      <a:pt x="8" y="132"/>
                      <a:pt x="5" y="139"/>
                      <a:pt x="5" y="144"/>
                    </a:cubicBezTo>
                    <a:cubicBezTo>
                      <a:pt x="5" y="145"/>
                      <a:pt x="6" y="146"/>
                      <a:pt x="6" y="146"/>
                    </a:cubicBezTo>
                    <a:cubicBezTo>
                      <a:pt x="7" y="148"/>
                      <a:pt x="9" y="150"/>
                      <a:pt x="10" y="152"/>
                    </a:cubicBezTo>
                    <a:cubicBezTo>
                      <a:pt x="11" y="155"/>
                      <a:pt x="12" y="161"/>
                      <a:pt x="11" y="164"/>
                    </a:cubicBezTo>
                    <a:cubicBezTo>
                      <a:pt x="10" y="166"/>
                      <a:pt x="7" y="169"/>
                      <a:pt x="7" y="172"/>
                    </a:cubicBezTo>
                    <a:cubicBezTo>
                      <a:pt x="8" y="176"/>
                      <a:pt x="10" y="181"/>
                      <a:pt x="9" y="185"/>
                    </a:cubicBezTo>
                    <a:cubicBezTo>
                      <a:pt x="8" y="190"/>
                      <a:pt x="5" y="194"/>
                      <a:pt x="5" y="198"/>
                    </a:cubicBezTo>
                    <a:cubicBezTo>
                      <a:pt x="5" y="200"/>
                      <a:pt x="5" y="201"/>
                      <a:pt x="6" y="203"/>
                    </a:cubicBezTo>
                    <a:cubicBezTo>
                      <a:pt x="7" y="208"/>
                      <a:pt x="7" y="209"/>
                      <a:pt x="10" y="213"/>
                    </a:cubicBezTo>
                    <a:cubicBezTo>
                      <a:pt x="12" y="207"/>
                      <a:pt x="14" y="202"/>
                      <a:pt x="16" y="196"/>
                    </a:cubicBezTo>
                    <a:cubicBezTo>
                      <a:pt x="17" y="194"/>
                      <a:pt x="19" y="193"/>
                      <a:pt x="22" y="192"/>
                    </a:cubicBezTo>
                    <a:cubicBezTo>
                      <a:pt x="23" y="194"/>
                      <a:pt x="23" y="195"/>
                      <a:pt x="24" y="196"/>
                    </a:cubicBezTo>
                    <a:cubicBezTo>
                      <a:pt x="25" y="196"/>
                      <a:pt x="26" y="196"/>
                      <a:pt x="27" y="196"/>
                    </a:cubicBezTo>
                    <a:cubicBezTo>
                      <a:pt x="28" y="196"/>
                      <a:pt x="28" y="196"/>
                      <a:pt x="29" y="196"/>
                    </a:cubicBezTo>
                    <a:cubicBezTo>
                      <a:pt x="29" y="196"/>
                      <a:pt x="29" y="196"/>
                      <a:pt x="30" y="196"/>
                    </a:cubicBezTo>
                    <a:cubicBezTo>
                      <a:pt x="31" y="196"/>
                      <a:pt x="32" y="196"/>
                      <a:pt x="33" y="197"/>
                    </a:cubicBezTo>
                    <a:cubicBezTo>
                      <a:pt x="35" y="198"/>
                      <a:pt x="34" y="198"/>
                      <a:pt x="34" y="200"/>
                    </a:cubicBezTo>
                    <a:cubicBezTo>
                      <a:pt x="34" y="201"/>
                      <a:pt x="34" y="202"/>
                      <a:pt x="35" y="203"/>
                    </a:cubicBezTo>
                    <a:cubicBezTo>
                      <a:pt x="35" y="205"/>
                      <a:pt x="35" y="207"/>
                      <a:pt x="36" y="209"/>
                    </a:cubicBezTo>
                    <a:cubicBezTo>
                      <a:pt x="36" y="208"/>
                      <a:pt x="36" y="207"/>
                      <a:pt x="37" y="205"/>
                    </a:cubicBezTo>
                    <a:cubicBezTo>
                      <a:pt x="37" y="204"/>
                      <a:pt x="38" y="203"/>
                      <a:pt x="39" y="201"/>
                    </a:cubicBezTo>
                    <a:cubicBezTo>
                      <a:pt x="39" y="200"/>
                      <a:pt x="38" y="201"/>
                      <a:pt x="38" y="201"/>
                    </a:cubicBezTo>
                    <a:cubicBezTo>
                      <a:pt x="38" y="199"/>
                      <a:pt x="38" y="198"/>
                      <a:pt x="37" y="196"/>
                    </a:cubicBezTo>
                    <a:cubicBezTo>
                      <a:pt x="36" y="192"/>
                      <a:pt x="37" y="190"/>
                      <a:pt x="33" y="190"/>
                    </a:cubicBezTo>
                    <a:cubicBezTo>
                      <a:pt x="32" y="190"/>
                      <a:pt x="32" y="190"/>
                      <a:pt x="31" y="190"/>
                    </a:cubicBezTo>
                    <a:cubicBezTo>
                      <a:pt x="32" y="191"/>
                      <a:pt x="33" y="192"/>
                      <a:pt x="34" y="193"/>
                    </a:cubicBezTo>
                    <a:cubicBezTo>
                      <a:pt x="34" y="193"/>
                      <a:pt x="34" y="193"/>
                      <a:pt x="34" y="193"/>
                    </a:cubicBezTo>
                    <a:cubicBezTo>
                      <a:pt x="33" y="193"/>
                      <a:pt x="31" y="193"/>
                      <a:pt x="30" y="193"/>
                    </a:cubicBezTo>
                    <a:cubicBezTo>
                      <a:pt x="30" y="193"/>
                      <a:pt x="30" y="192"/>
                      <a:pt x="30" y="191"/>
                    </a:cubicBezTo>
                    <a:cubicBezTo>
                      <a:pt x="30" y="189"/>
                      <a:pt x="30" y="190"/>
                      <a:pt x="29" y="189"/>
                    </a:cubicBezTo>
                    <a:cubicBezTo>
                      <a:pt x="29" y="186"/>
                      <a:pt x="28" y="182"/>
                      <a:pt x="26" y="180"/>
                    </a:cubicBezTo>
                    <a:cubicBezTo>
                      <a:pt x="22" y="176"/>
                      <a:pt x="16" y="169"/>
                      <a:pt x="19" y="163"/>
                    </a:cubicBezTo>
                    <a:cubicBezTo>
                      <a:pt x="21" y="157"/>
                      <a:pt x="23" y="150"/>
                      <a:pt x="25" y="144"/>
                    </a:cubicBezTo>
                    <a:cubicBezTo>
                      <a:pt x="26" y="141"/>
                      <a:pt x="27" y="134"/>
                      <a:pt x="30" y="132"/>
                    </a:cubicBezTo>
                    <a:cubicBezTo>
                      <a:pt x="32" y="130"/>
                      <a:pt x="37" y="130"/>
                      <a:pt x="40" y="130"/>
                    </a:cubicBezTo>
                    <a:cubicBezTo>
                      <a:pt x="38" y="129"/>
                      <a:pt x="35" y="130"/>
                      <a:pt x="35" y="128"/>
                    </a:cubicBezTo>
                    <a:cubicBezTo>
                      <a:pt x="37" y="129"/>
                      <a:pt x="39" y="129"/>
                      <a:pt x="41" y="129"/>
                    </a:cubicBezTo>
                    <a:cubicBezTo>
                      <a:pt x="40" y="130"/>
                      <a:pt x="40" y="130"/>
                      <a:pt x="40" y="130"/>
                    </a:cubicBezTo>
                    <a:cubicBezTo>
                      <a:pt x="43" y="131"/>
                      <a:pt x="46" y="130"/>
                      <a:pt x="49" y="133"/>
                    </a:cubicBezTo>
                    <a:cubicBezTo>
                      <a:pt x="51" y="134"/>
                      <a:pt x="51" y="135"/>
                      <a:pt x="53" y="136"/>
                    </a:cubicBezTo>
                    <a:cubicBezTo>
                      <a:pt x="54" y="138"/>
                      <a:pt x="55" y="138"/>
                      <a:pt x="56" y="140"/>
                    </a:cubicBezTo>
                    <a:cubicBezTo>
                      <a:pt x="58" y="141"/>
                      <a:pt x="58" y="143"/>
                      <a:pt x="59" y="144"/>
                    </a:cubicBezTo>
                    <a:cubicBezTo>
                      <a:pt x="59" y="144"/>
                      <a:pt x="60" y="143"/>
                      <a:pt x="60" y="143"/>
                    </a:cubicBezTo>
                    <a:cubicBezTo>
                      <a:pt x="60" y="140"/>
                      <a:pt x="57" y="139"/>
                      <a:pt x="55" y="138"/>
                    </a:cubicBezTo>
                    <a:cubicBezTo>
                      <a:pt x="54" y="137"/>
                      <a:pt x="53" y="135"/>
                      <a:pt x="52" y="133"/>
                    </a:cubicBezTo>
                    <a:cubicBezTo>
                      <a:pt x="52" y="131"/>
                      <a:pt x="51" y="130"/>
                      <a:pt x="51" y="128"/>
                    </a:cubicBezTo>
                    <a:cubicBezTo>
                      <a:pt x="50" y="127"/>
                      <a:pt x="51" y="125"/>
                      <a:pt x="50" y="124"/>
                    </a:cubicBezTo>
                    <a:cubicBezTo>
                      <a:pt x="50" y="124"/>
                      <a:pt x="49" y="123"/>
                      <a:pt x="49" y="122"/>
                    </a:cubicBezTo>
                    <a:cubicBezTo>
                      <a:pt x="45" y="109"/>
                      <a:pt x="41" y="96"/>
                      <a:pt x="38" y="83"/>
                    </a:cubicBezTo>
                    <a:cubicBezTo>
                      <a:pt x="37" y="80"/>
                      <a:pt x="36" y="81"/>
                      <a:pt x="35" y="79"/>
                    </a:cubicBezTo>
                    <a:cubicBezTo>
                      <a:pt x="34" y="78"/>
                      <a:pt x="36" y="76"/>
                      <a:pt x="35" y="75"/>
                    </a:cubicBezTo>
                    <a:cubicBezTo>
                      <a:pt x="35" y="74"/>
                      <a:pt x="34" y="72"/>
                      <a:pt x="34" y="72"/>
                    </a:cubicBezTo>
                    <a:cubicBezTo>
                      <a:pt x="34" y="72"/>
                      <a:pt x="34" y="72"/>
                      <a:pt x="34" y="72"/>
                    </a:cubicBezTo>
                    <a:cubicBezTo>
                      <a:pt x="33" y="72"/>
                      <a:pt x="34" y="73"/>
                      <a:pt x="33" y="73"/>
                    </a:cubicBezTo>
                    <a:cubicBezTo>
                      <a:pt x="33" y="74"/>
                      <a:pt x="34" y="75"/>
                      <a:pt x="33" y="75"/>
                    </a:cubicBezTo>
                    <a:cubicBezTo>
                      <a:pt x="33" y="75"/>
                      <a:pt x="33" y="75"/>
                      <a:pt x="33" y="75"/>
                    </a:cubicBezTo>
                    <a:cubicBezTo>
                      <a:pt x="31" y="74"/>
                      <a:pt x="31" y="72"/>
                      <a:pt x="31" y="70"/>
                    </a:cubicBezTo>
                    <a:cubicBezTo>
                      <a:pt x="30" y="67"/>
                      <a:pt x="28" y="62"/>
                      <a:pt x="29" y="59"/>
                    </a:cubicBezTo>
                    <a:cubicBezTo>
                      <a:pt x="30" y="59"/>
                      <a:pt x="30" y="59"/>
                      <a:pt x="30" y="59"/>
                    </a:cubicBezTo>
                    <a:cubicBezTo>
                      <a:pt x="30" y="57"/>
                      <a:pt x="29" y="54"/>
                      <a:pt x="30" y="52"/>
                    </a:cubicBezTo>
                    <a:cubicBezTo>
                      <a:pt x="32" y="48"/>
                      <a:pt x="32" y="46"/>
                      <a:pt x="32" y="42"/>
                    </a:cubicBezTo>
                    <a:cubicBezTo>
                      <a:pt x="32" y="38"/>
                      <a:pt x="29" y="35"/>
                      <a:pt x="29" y="31"/>
                    </a:cubicBezTo>
                    <a:cubicBezTo>
                      <a:pt x="29" y="30"/>
                      <a:pt x="28" y="27"/>
                      <a:pt x="30" y="27"/>
                    </a:cubicBezTo>
                    <a:cubicBezTo>
                      <a:pt x="30" y="27"/>
                      <a:pt x="30" y="27"/>
                      <a:pt x="30" y="27"/>
                    </a:cubicBezTo>
                    <a:cubicBezTo>
                      <a:pt x="32" y="28"/>
                      <a:pt x="30" y="30"/>
                      <a:pt x="30" y="31"/>
                    </a:cubicBezTo>
                    <a:cubicBezTo>
                      <a:pt x="30" y="32"/>
                      <a:pt x="32" y="32"/>
                      <a:pt x="32" y="34"/>
                    </a:cubicBezTo>
                    <a:cubicBezTo>
                      <a:pt x="33" y="36"/>
                      <a:pt x="33" y="38"/>
                      <a:pt x="34" y="40"/>
                    </a:cubicBezTo>
                    <a:cubicBezTo>
                      <a:pt x="33" y="34"/>
                      <a:pt x="32" y="29"/>
                      <a:pt x="30" y="24"/>
                    </a:cubicBezTo>
                    <a:cubicBezTo>
                      <a:pt x="28" y="21"/>
                      <a:pt x="27" y="18"/>
                      <a:pt x="25" y="15"/>
                    </a:cubicBezTo>
                    <a:cubicBezTo>
                      <a:pt x="24" y="14"/>
                      <a:pt x="25" y="13"/>
                      <a:pt x="26" y="12"/>
                    </a:cubicBezTo>
                    <a:cubicBezTo>
                      <a:pt x="26" y="10"/>
                      <a:pt x="27" y="8"/>
                      <a:pt x="27" y="7"/>
                    </a:cubicBezTo>
                    <a:cubicBezTo>
                      <a:pt x="26" y="6"/>
                      <a:pt x="25" y="4"/>
                      <a:pt x="24" y="3"/>
                    </a:cubicBezTo>
                    <a:cubicBezTo>
                      <a:pt x="23" y="2"/>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4" name="Freeform 273">
                <a:extLst>
                  <a:ext uri="{FF2B5EF4-FFF2-40B4-BE49-F238E27FC236}">
                    <a16:creationId xmlns:a16="http://schemas.microsoft.com/office/drawing/2014/main" id="{5B6D9A70-7C86-4CB6-9670-1BC5B31E9EB5}"/>
                  </a:ext>
                </a:extLst>
              </p:cNvPr>
              <p:cNvSpPr>
                <a:spLocks/>
              </p:cNvSpPr>
              <p:nvPr/>
            </p:nvSpPr>
            <p:spPr bwMode="auto">
              <a:xfrm>
                <a:off x="4965" y="-1524"/>
                <a:ext cx="146" cy="36"/>
              </a:xfrm>
              <a:custGeom>
                <a:avLst/>
                <a:gdLst>
                  <a:gd name="T0" fmla="*/ 27 w 62"/>
                  <a:gd name="T1" fmla="*/ 0 h 15"/>
                  <a:gd name="T2" fmla="*/ 19 w 62"/>
                  <a:gd name="T3" fmla="*/ 0 h 15"/>
                  <a:gd name="T4" fmla="*/ 0 w 62"/>
                  <a:gd name="T5" fmla="*/ 0 h 15"/>
                  <a:gd name="T6" fmla="*/ 3 w 62"/>
                  <a:gd name="T7" fmla="*/ 1 h 15"/>
                  <a:gd name="T8" fmla="*/ 4 w 62"/>
                  <a:gd name="T9" fmla="*/ 1 h 15"/>
                  <a:gd name="T10" fmla="*/ 5 w 62"/>
                  <a:gd name="T11" fmla="*/ 1 h 15"/>
                  <a:gd name="T12" fmla="*/ 6 w 62"/>
                  <a:gd name="T13" fmla="*/ 1 h 15"/>
                  <a:gd name="T14" fmla="*/ 10 w 62"/>
                  <a:gd name="T15" fmla="*/ 3 h 15"/>
                  <a:gd name="T16" fmla="*/ 11 w 62"/>
                  <a:gd name="T17" fmla="*/ 4 h 15"/>
                  <a:gd name="T18" fmla="*/ 14 w 62"/>
                  <a:gd name="T19" fmla="*/ 3 h 15"/>
                  <a:gd name="T20" fmla="*/ 16 w 62"/>
                  <a:gd name="T21" fmla="*/ 3 h 15"/>
                  <a:gd name="T22" fmla="*/ 18 w 62"/>
                  <a:gd name="T23" fmla="*/ 3 h 15"/>
                  <a:gd name="T24" fmla="*/ 22 w 62"/>
                  <a:gd name="T25" fmla="*/ 6 h 15"/>
                  <a:gd name="T26" fmla="*/ 29 w 62"/>
                  <a:gd name="T27" fmla="*/ 8 h 15"/>
                  <a:gd name="T28" fmla="*/ 37 w 62"/>
                  <a:gd name="T29" fmla="*/ 9 h 15"/>
                  <a:gd name="T30" fmla="*/ 45 w 62"/>
                  <a:gd name="T31" fmla="*/ 12 h 15"/>
                  <a:gd name="T32" fmla="*/ 49 w 62"/>
                  <a:gd name="T33" fmla="*/ 15 h 15"/>
                  <a:gd name="T34" fmla="*/ 51 w 62"/>
                  <a:gd name="T35" fmla="*/ 15 h 15"/>
                  <a:gd name="T36" fmla="*/ 62 w 62"/>
                  <a:gd name="T37" fmla="*/ 11 h 15"/>
                  <a:gd name="T38" fmla="*/ 33 w 62"/>
                  <a:gd name="T39" fmla="*/ 0 h 15"/>
                  <a:gd name="T40" fmla="*/ 27 w 62"/>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15">
                    <a:moveTo>
                      <a:pt x="27" y="0"/>
                    </a:moveTo>
                    <a:cubicBezTo>
                      <a:pt x="24" y="0"/>
                      <a:pt x="22" y="0"/>
                      <a:pt x="19" y="0"/>
                    </a:cubicBezTo>
                    <a:cubicBezTo>
                      <a:pt x="12" y="0"/>
                      <a:pt x="6" y="0"/>
                      <a:pt x="0" y="0"/>
                    </a:cubicBezTo>
                    <a:cubicBezTo>
                      <a:pt x="1" y="1"/>
                      <a:pt x="2" y="1"/>
                      <a:pt x="3" y="1"/>
                    </a:cubicBezTo>
                    <a:cubicBezTo>
                      <a:pt x="3" y="1"/>
                      <a:pt x="4" y="1"/>
                      <a:pt x="4" y="1"/>
                    </a:cubicBezTo>
                    <a:cubicBezTo>
                      <a:pt x="4" y="1"/>
                      <a:pt x="5" y="1"/>
                      <a:pt x="5" y="1"/>
                    </a:cubicBezTo>
                    <a:cubicBezTo>
                      <a:pt x="6" y="1"/>
                      <a:pt x="6" y="1"/>
                      <a:pt x="6" y="1"/>
                    </a:cubicBezTo>
                    <a:cubicBezTo>
                      <a:pt x="8" y="2"/>
                      <a:pt x="8" y="3"/>
                      <a:pt x="10" y="3"/>
                    </a:cubicBezTo>
                    <a:cubicBezTo>
                      <a:pt x="10" y="4"/>
                      <a:pt x="11" y="4"/>
                      <a:pt x="11" y="4"/>
                    </a:cubicBezTo>
                    <a:cubicBezTo>
                      <a:pt x="12" y="4"/>
                      <a:pt x="13" y="3"/>
                      <a:pt x="14" y="3"/>
                    </a:cubicBezTo>
                    <a:cubicBezTo>
                      <a:pt x="15" y="3"/>
                      <a:pt x="16" y="3"/>
                      <a:pt x="16" y="3"/>
                    </a:cubicBezTo>
                    <a:cubicBezTo>
                      <a:pt x="17" y="3"/>
                      <a:pt x="17" y="3"/>
                      <a:pt x="18" y="3"/>
                    </a:cubicBezTo>
                    <a:cubicBezTo>
                      <a:pt x="19" y="4"/>
                      <a:pt x="19" y="6"/>
                      <a:pt x="22" y="6"/>
                    </a:cubicBezTo>
                    <a:cubicBezTo>
                      <a:pt x="25" y="7"/>
                      <a:pt x="26" y="8"/>
                      <a:pt x="29" y="8"/>
                    </a:cubicBezTo>
                    <a:cubicBezTo>
                      <a:pt x="31" y="9"/>
                      <a:pt x="34" y="9"/>
                      <a:pt x="37" y="9"/>
                    </a:cubicBezTo>
                    <a:cubicBezTo>
                      <a:pt x="40" y="10"/>
                      <a:pt x="42" y="10"/>
                      <a:pt x="45" y="12"/>
                    </a:cubicBezTo>
                    <a:cubicBezTo>
                      <a:pt x="46" y="13"/>
                      <a:pt x="48" y="15"/>
                      <a:pt x="49" y="15"/>
                    </a:cubicBezTo>
                    <a:cubicBezTo>
                      <a:pt x="50" y="15"/>
                      <a:pt x="50" y="15"/>
                      <a:pt x="51" y="15"/>
                    </a:cubicBezTo>
                    <a:cubicBezTo>
                      <a:pt x="54" y="15"/>
                      <a:pt x="60" y="13"/>
                      <a:pt x="62" y="11"/>
                    </a:cubicBezTo>
                    <a:cubicBezTo>
                      <a:pt x="53" y="7"/>
                      <a:pt x="43" y="3"/>
                      <a:pt x="33" y="0"/>
                    </a:cubicBezTo>
                    <a:cubicBezTo>
                      <a:pt x="31" y="0"/>
                      <a:pt x="29"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5" name="Freeform 274">
                <a:extLst>
                  <a:ext uri="{FF2B5EF4-FFF2-40B4-BE49-F238E27FC236}">
                    <a16:creationId xmlns:a16="http://schemas.microsoft.com/office/drawing/2014/main" id="{D4421D7A-48F2-4DF6-B45A-B45821B4FC57}"/>
                  </a:ext>
                </a:extLst>
              </p:cNvPr>
              <p:cNvSpPr>
                <a:spLocks/>
              </p:cNvSpPr>
              <p:nvPr/>
            </p:nvSpPr>
            <p:spPr bwMode="auto">
              <a:xfrm>
                <a:off x="5026" y="-1455"/>
                <a:ext cx="62" cy="33"/>
              </a:xfrm>
              <a:custGeom>
                <a:avLst/>
                <a:gdLst>
                  <a:gd name="T0" fmla="*/ 17 w 26"/>
                  <a:gd name="T1" fmla="*/ 0 h 14"/>
                  <a:gd name="T2" fmla="*/ 8 w 26"/>
                  <a:gd name="T3" fmla="*/ 2 h 14"/>
                  <a:gd name="T4" fmla="*/ 0 w 26"/>
                  <a:gd name="T5" fmla="*/ 11 h 14"/>
                  <a:gd name="T6" fmla="*/ 7 w 26"/>
                  <a:gd name="T7" fmla="*/ 13 h 14"/>
                  <a:gd name="T8" fmla="*/ 9 w 26"/>
                  <a:gd name="T9" fmla="*/ 13 h 14"/>
                  <a:gd name="T10" fmla="*/ 12 w 26"/>
                  <a:gd name="T11" fmla="*/ 13 h 14"/>
                  <a:gd name="T12" fmla="*/ 14 w 26"/>
                  <a:gd name="T13" fmla="*/ 13 h 14"/>
                  <a:gd name="T14" fmla="*/ 20 w 26"/>
                  <a:gd name="T15" fmla="*/ 14 h 14"/>
                  <a:gd name="T16" fmla="*/ 24 w 26"/>
                  <a:gd name="T17" fmla="*/ 12 h 14"/>
                  <a:gd name="T18" fmla="*/ 25 w 26"/>
                  <a:gd name="T19" fmla="*/ 3 h 14"/>
                  <a:gd name="T20" fmla="*/ 20 w 26"/>
                  <a:gd name="T21" fmla="*/ 0 h 14"/>
                  <a:gd name="T22" fmla="*/ 17 w 2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4">
                    <a:moveTo>
                      <a:pt x="17" y="0"/>
                    </a:moveTo>
                    <a:cubicBezTo>
                      <a:pt x="14" y="0"/>
                      <a:pt x="10" y="1"/>
                      <a:pt x="8" y="2"/>
                    </a:cubicBezTo>
                    <a:cubicBezTo>
                      <a:pt x="5" y="3"/>
                      <a:pt x="2" y="8"/>
                      <a:pt x="0" y="11"/>
                    </a:cubicBezTo>
                    <a:cubicBezTo>
                      <a:pt x="2" y="13"/>
                      <a:pt x="4" y="13"/>
                      <a:pt x="7" y="13"/>
                    </a:cubicBezTo>
                    <a:cubicBezTo>
                      <a:pt x="8" y="13"/>
                      <a:pt x="9" y="13"/>
                      <a:pt x="9" y="13"/>
                    </a:cubicBezTo>
                    <a:cubicBezTo>
                      <a:pt x="10" y="13"/>
                      <a:pt x="11" y="13"/>
                      <a:pt x="12" y="13"/>
                    </a:cubicBezTo>
                    <a:cubicBezTo>
                      <a:pt x="13" y="13"/>
                      <a:pt x="13" y="13"/>
                      <a:pt x="14" y="13"/>
                    </a:cubicBezTo>
                    <a:cubicBezTo>
                      <a:pt x="15" y="13"/>
                      <a:pt x="17" y="14"/>
                      <a:pt x="20" y="14"/>
                    </a:cubicBezTo>
                    <a:cubicBezTo>
                      <a:pt x="21" y="14"/>
                      <a:pt x="23" y="13"/>
                      <a:pt x="24" y="12"/>
                    </a:cubicBezTo>
                    <a:cubicBezTo>
                      <a:pt x="26" y="11"/>
                      <a:pt x="26" y="4"/>
                      <a:pt x="25" y="3"/>
                    </a:cubicBezTo>
                    <a:cubicBezTo>
                      <a:pt x="24" y="1"/>
                      <a:pt x="22" y="1"/>
                      <a:pt x="20" y="0"/>
                    </a:cubicBezTo>
                    <a:cubicBezTo>
                      <a:pt x="19"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6" name="Freeform 275">
                <a:extLst>
                  <a:ext uri="{FF2B5EF4-FFF2-40B4-BE49-F238E27FC236}">
                    <a16:creationId xmlns:a16="http://schemas.microsoft.com/office/drawing/2014/main" id="{47A06ADF-B381-49B1-86EF-88607A99CB34}"/>
                  </a:ext>
                </a:extLst>
              </p:cNvPr>
              <p:cNvSpPr>
                <a:spLocks noEditPoints="1"/>
              </p:cNvSpPr>
              <p:nvPr/>
            </p:nvSpPr>
            <p:spPr bwMode="auto">
              <a:xfrm>
                <a:off x="4828" y="-791"/>
                <a:ext cx="281" cy="234"/>
              </a:xfrm>
              <a:custGeom>
                <a:avLst/>
                <a:gdLst>
                  <a:gd name="T0" fmla="*/ 19 w 119"/>
                  <a:gd name="T1" fmla="*/ 22 h 99"/>
                  <a:gd name="T2" fmla="*/ 45 w 119"/>
                  <a:gd name="T3" fmla="*/ 3 h 99"/>
                  <a:gd name="T4" fmla="*/ 33 w 119"/>
                  <a:gd name="T5" fmla="*/ 13 h 99"/>
                  <a:gd name="T6" fmla="*/ 31 w 119"/>
                  <a:gd name="T7" fmla="*/ 16 h 99"/>
                  <a:gd name="T8" fmla="*/ 21 w 119"/>
                  <a:gd name="T9" fmla="*/ 20 h 99"/>
                  <a:gd name="T10" fmla="*/ 28 w 119"/>
                  <a:gd name="T11" fmla="*/ 25 h 99"/>
                  <a:gd name="T12" fmla="*/ 31 w 119"/>
                  <a:gd name="T13" fmla="*/ 25 h 99"/>
                  <a:gd name="T14" fmla="*/ 25 w 119"/>
                  <a:gd name="T15" fmla="*/ 29 h 99"/>
                  <a:gd name="T16" fmla="*/ 31 w 119"/>
                  <a:gd name="T17" fmla="*/ 28 h 99"/>
                  <a:gd name="T18" fmla="*/ 25 w 119"/>
                  <a:gd name="T19" fmla="*/ 31 h 99"/>
                  <a:gd name="T20" fmla="*/ 21 w 119"/>
                  <a:gd name="T21" fmla="*/ 39 h 99"/>
                  <a:gd name="T22" fmla="*/ 19 w 119"/>
                  <a:gd name="T23" fmla="*/ 41 h 99"/>
                  <a:gd name="T24" fmla="*/ 19 w 119"/>
                  <a:gd name="T25" fmla="*/ 46 h 99"/>
                  <a:gd name="T26" fmla="*/ 9 w 119"/>
                  <a:gd name="T27" fmla="*/ 44 h 99"/>
                  <a:gd name="T28" fmla="*/ 0 w 119"/>
                  <a:gd name="T29" fmla="*/ 55 h 99"/>
                  <a:gd name="T30" fmla="*/ 15 w 119"/>
                  <a:gd name="T31" fmla="*/ 64 h 99"/>
                  <a:gd name="T32" fmla="*/ 19 w 119"/>
                  <a:gd name="T33" fmla="*/ 64 h 99"/>
                  <a:gd name="T34" fmla="*/ 28 w 119"/>
                  <a:gd name="T35" fmla="*/ 70 h 99"/>
                  <a:gd name="T36" fmla="*/ 32 w 119"/>
                  <a:gd name="T37" fmla="*/ 67 h 99"/>
                  <a:gd name="T38" fmla="*/ 36 w 119"/>
                  <a:gd name="T39" fmla="*/ 69 h 99"/>
                  <a:gd name="T40" fmla="*/ 42 w 119"/>
                  <a:gd name="T41" fmla="*/ 71 h 99"/>
                  <a:gd name="T42" fmla="*/ 39 w 119"/>
                  <a:gd name="T43" fmla="*/ 75 h 99"/>
                  <a:gd name="T44" fmla="*/ 48 w 119"/>
                  <a:gd name="T45" fmla="*/ 82 h 99"/>
                  <a:gd name="T46" fmla="*/ 42 w 119"/>
                  <a:gd name="T47" fmla="*/ 82 h 99"/>
                  <a:gd name="T48" fmla="*/ 41 w 119"/>
                  <a:gd name="T49" fmla="*/ 83 h 99"/>
                  <a:gd name="T50" fmla="*/ 43 w 119"/>
                  <a:gd name="T51" fmla="*/ 90 h 99"/>
                  <a:gd name="T52" fmla="*/ 36 w 119"/>
                  <a:gd name="T53" fmla="*/ 89 h 99"/>
                  <a:gd name="T54" fmla="*/ 62 w 119"/>
                  <a:gd name="T55" fmla="*/ 96 h 99"/>
                  <a:gd name="T56" fmla="*/ 66 w 119"/>
                  <a:gd name="T57" fmla="*/ 96 h 99"/>
                  <a:gd name="T58" fmla="*/ 73 w 119"/>
                  <a:gd name="T59" fmla="*/ 97 h 99"/>
                  <a:gd name="T60" fmla="*/ 78 w 119"/>
                  <a:gd name="T61" fmla="*/ 94 h 99"/>
                  <a:gd name="T62" fmla="*/ 87 w 119"/>
                  <a:gd name="T63" fmla="*/ 99 h 99"/>
                  <a:gd name="T64" fmla="*/ 97 w 119"/>
                  <a:gd name="T65" fmla="*/ 99 h 99"/>
                  <a:gd name="T66" fmla="*/ 92 w 119"/>
                  <a:gd name="T67" fmla="*/ 94 h 99"/>
                  <a:gd name="T68" fmla="*/ 102 w 119"/>
                  <a:gd name="T69" fmla="*/ 95 h 99"/>
                  <a:gd name="T70" fmla="*/ 115 w 119"/>
                  <a:gd name="T71" fmla="*/ 95 h 99"/>
                  <a:gd name="T72" fmla="*/ 112 w 119"/>
                  <a:gd name="T73" fmla="*/ 91 h 99"/>
                  <a:gd name="T74" fmla="*/ 79 w 119"/>
                  <a:gd name="T75" fmla="*/ 58 h 99"/>
                  <a:gd name="T76" fmla="*/ 76 w 119"/>
                  <a:gd name="T77" fmla="*/ 46 h 99"/>
                  <a:gd name="T78" fmla="*/ 76 w 119"/>
                  <a:gd name="T79" fmla="*/ 34 h 99"/>
                  <a:gd name="T80" fmla="*/ 77 w 119"/>
                  <a:gd name="T81" fmla="*/ 29 h 99"/>
                  <a:gd name="T82" fmla="*/ 77 w 119"/>
                  <a:gd name="T83" fmla="*/ 29 h 99"/>
                  <a:gd name="T84" fmla="*/ 85 w 119"/>
                  <a:gd name="T85" fmla="*/ 25 h 99"/>
                  <a:gd name="T86" fmla="*/ 77 w 119"/>
                  <a:gd name="T87" fmla="*/ 21 h 99"/>
                  <a:gd name="T88" fmla="*/ 82 w 119"/>
                  <a:gd name="T89" fmla="*/ 21 h 99"/>
                  <a:gd name="T90" fmla="*/ 87 w 119"/>
                  <a:gd name="T91" fmla="*/ 21 h 99"/>
                  <a:gd name="T92" fmla="*/ 92 w 119"/>
                  <a:gd name="T93" fmla="*/ 16 h 99"/>
                  <a:gd name="T94" fmla="*/ 87 w 119"/>
                  <a:gd name="T95" fmla="*/ 15 h 99"/>
                  <a:gd name="T96" fmla="*/ 89 w 119"/>
                  <a:gd name="T97" fmla="*/ 13 h 99"/>
                  <a:gd name="T98" fmla="*/ 93 w 119"/>
                  <a:gd name="T99" fmla="*/ 13 h 99"/>
                  <a:gd name="T100" fmla="*/ 87 w 119"/>
                  <a:gd name="T101" fmla="*/ 11 h 99"/>
                  <a:gd name="T102" fmla="*/ 99 w 119"/>
                  <a:gd name="T103" fmla="*/ 8 h 99"/>
                  <a:gd name="T104" fmla="*/ 59 w 119"/>
                  <a:gd name="T10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 h="99">
                    <a:moveTo>
                      <a:pt x="19" y="22"/>
                    </a:moveTo>
                    <a:cubicBezTo>
                      <a:pt x="19" y="22"/>
                      <a:pt x="19" y="22"/>
                      <a:pt x="19" y="22"/>
                    </a:cubicBezTo>
                    <a:cubicBezTo>
                      <a:pt x="19" y="22"/>
                      <a:pt x="19" y="22"/>
                      <a:pt x="19" y="22"/>
                    </a:cubicBezTo>
                    <a:moveTo>
                      <a:pt x="59" y="0"/>
                    </a:moveTo>
                    <a:cubicBezTo>
                      <a:pt x="59" y="0"/>
                      <a:pt x="59" y="0"/>
                      <a:pt x="59" y="0"/>
                    </a:cubicBezTo>
                    <a:cubicBezTo>
                      <a:pt x="54" y="1"/>
                      <a:pt x="49" y="2"/>
                      <a:pt x="45" y="3"/>
                    </a:cubicBezTo>
                    <a:cubicBezTo>
                      <a:pt x="42" y="4"/>
                      <a:pt x="35" y="4"/>
                      <a:pt x="33" y="8"/>
                    </a:cubicBezTo>
                    <a:cubicBezTo>
                      <a:pt x="33" y="9"/>
                      <a:pt x="33" y="10"/>
                      <a:pt x="34" y="11"/>
                    </a:cubicBezTo>
                    <a:cubicBezTo>
                      <a:pt x="35" y="13"/>
                      <a:pt x="33" y="12"/>
                      <a:pt x="33" y="13"/>
                    </a:cubicBezTo>
                    <a:cubicBezTo>
                      <a:pt x="33" y="15"/>
                      <a:pt x="35" y="17"/>
                      <a:pt x="34" y="17"/>
                    </a:cubicBezTo>
                    <a:cubicBezTo>
                      <a:pt x="34" y="17"/>
                      <a:pt x="33" y="17"/>
                      <a:pt x="33" y="17"/>
                    </a:cubicBezTo>
                    <a:cubicBezTo>
                      <a:pt x="32" y="16"/>
                      <a:pt x="31" y="16"/>
                      <a:pt x="31" y="16"/>
                    </a:cubicBezTo>
                    <a:cubicBezTo>
                      <a:pt x="30" y="16"/>
                      <a:pt x="29" y="16"/>
                      <a:pt x="28" y="17"/>
                    </a:cubicBezTo>
                    <a:cubicBezTo>
                      <a:pt x="27" y="17"/>
                      <a:pt x="25" y="18"/>
                      <a:pt x="24" y="18"/>
                    </a:cubicBezTo>
                    <a:cubicBezTo>
                      <a:pt x="23" y="18"/>
                      <a:pt x="22" y="20"/>
                      <a:pt x="21" y="20"/>
                    </a:cubicBezTo>
                    <a:cubicBezTo>
                      <a:pt x="21" y="20"/>
                      <a:pt x="19" y="22"/>
                      <a:pt x="19" y="22"/>
                    </a:cubicBezTo>
                    <a:cubicBezTo>
                      <a:pt x="19" y="22"/>
                      <a:pt x="19" y="22"/>
                      <a:pt x="19" y="22"/>
                    </a:cubicBezTo>
                    <a:cubicBezTo>
                      <a:pt x="19" y="24"/>
                      <a:pt x="26" y="25"/>
                      <a:pt x="28" y="25"/>
                    </a:cubicBezTo>
                    <a:cubicBezTo>
                      <a:pt x="30" y="25"/>
                      <a:pt x="32" y="25"/>
                      <a:pt x="33" y="26"/>
                    </a:cubicBezTo>
                    <a:cubicBezTo>
                      <a:pt x="33" y="26"/>
                      <a:pt x="33" y="26"/>
                      <a:pt x="33" y="26"/>
                    </a:cubicBezTo>
                    <a:cubicBezTo>
                      <a:pt x="33" y="26"/>
                      <a:pt x="32" y="26"/>
                      <a:pt x="31" y="25"/>
                    </a:cubicBezTo>
                    <a:cubicBezTo>
                      <a:pt x="31" y="25"/>
                      <a:pt x="30" y="25"/>
                      <a:pt x="29" y="25"/>
                    </a:cubicBezTo>
                    <a:cubicBezTo>
                      <a:pt x="29" y="25"/>
                      <a:pt x="28" y="25"/>
                      <a:pt x="27" y="26"/>
                    </a:cubicBezTo>
                    <a:cubicBezTo>
                      <a:pt x="25" y="27"/>
                      <a:pt x="26" y="27"/>
                      <a:pt x="25" y="29"/>
                    </a:cubicBezTo>
                    <a:cubicBezTo>
                      <a:pt x="26" y="29"/>
                      <a:pt x="26" y="29"/>
                      <a:pt x="26" y="29"/>
                    </a:cubicBezTo>
                    <a:cubicBezTo>
                      <a:pt x="27" y="29"/>
                      <a:pt x="28" y="28"/>
                      <a:pt x="29" y="28"/>
                    </a:cubicBezTo>
                    <a:cubicBezTo>
                      <a:pt x="29" y="28"/>
                      <a:pt x="30" y="28"/>
                      <a:pt x="31" y="28"/>
                    </a:cubicBezTo>
                    <a:cubicBezTo>
                      <a:pt x="31" y="28"/>
                      <a:pt x="31" y="28"/>
                      <a:pt x="31" y="28"/>
                    </a:cubicBezTo>
                    <a:cubicBezTo>
                      <a:pt x="31" y="28"/>
                      <a:pt x="29" y="30"/>
                      <a:pt x="28" y="30"/>
                    </a:cubicBezTo>
                    <a:cubicBezTo>
                      <a:pt x="25" y="31"/>
                      <a:pt x="25" y="31"/>
                      <a:pt x="25" y="31"/>
                    </a:cubicBezTo>
                    <a:cubicBezTo>
                      <a:pt x="23" y="33"/>
                      <a:pt x="25" y="34"/>
                      <a:pt x="25" y="37"/>
                    </a:cubicBezTo>
                    <a:cubicBezTo>
                      <a:pt x="24" y="36"/>
                      <a:pt x="23" y="36"/>
                      <a:pt x="23" y="36"/>
                    </a:cubicBezTo>
                    <a:cubicBezTo>
                      <a:pt x="25" y="39"/>
                      <a:pt x="23" y="39"/>
                      <a:pt x="21" y="39"/>
                    </a:cubicBezTo>
                    <a:cubicBezTo>
                      <a:pt x="20" y="39"/>
                      <a:pt x="20" y="39"/>
                      <a:pt x="19" y="39"/>
                    </a:cubicBezTo>
                    <a:cubicBezTo>
                      <a:pt x="19" y="40"/>
                      <a:pt x="20" y="41"/>
                      <a:pt x="20" y="41"/>
                    </a:cubicBezTo>
                    <a:cubicBezTo>
                      <a:pt x="20" y="41"/>
                      <a:pt x="20" y="41"/>
                      <a:pt x="19" y="41"/>
                    </a:cubicBezTo>
                    <a:cubicBezTo>
                      <a:pt x="19" y="41"/>
                      <a:pt x="20" y="43"/>
                      <a:pt x="20" y="44"/>
                    </a:cubicBezTo>
                    <a:cubicBezTo>
                      <a:pt x="20" y="43"/>
                      <a:pt x="19" y="43"/>
                      <a:pt x="19" y="43"/>
                    </a:cubicBezTo>
                    <a:cubicBezTo>
                      <a:pt x="18" y="43"/>
                      <a:pt x="19" y="45"/>
                      <a:pt x="19" y="46"/>
                    </a:cubicBezTo>
                    <a:cubicBezTo>
                      <a:pt x="18" y="47"/>
                      <a:pt x="18" y="47"/>
                      <a:pt x="18" y="47"/>
                    </a:cubicBezTo>
                    <a:cubicBezTo>
                      <a:pt x="17" y="47"/>
                      <a:pt x="16" y="46"/>
                      <a:pt x="15" y="46"/>
                    </a:cubicBezTo>
                    <a:cubicBezTo>
                      <a:pt x="13" y="46"/>
                      <a:pt x="12" y="46"/>
                      <a:pt x="9" y="44"/>
                    </a:cubicBezTo>
                    <a:cubicBezTo>
                      <a:pt x="9" y="44"/>
                      <a:pt x="9" y="44"/>
                      <a:pt x="8" y="44"/>
                    </a:cubicBezTo>
                    <a:cubicBezTo>
                      <a:pt x="7" y="44"/>
                      <a:pt x="5" y="45"/>
                      <a:pt x="4" y="46"/>
                    </a:cubicBezTo>
                    <a:cubicBezTo>
                      <a:pt x="2" y="48"/>
                      <a:pt x="0" y="52"/>
                      <a:pt x="0" y="55"/>
                    </a:cubicBezTo>
                    <a:cubicBezTo>
                      <a:pt x="0" y="58"/>
                      <a:pt x="4" y="62"/>
                      <a:pt x="2" y="64"/>
                    </a:cubicBezTo>
                    <a:cubicBezTo>
                      <a:pt x="4" y="64"/>
                      <a:pt x="5" y="65"/>
                      <a:pt x="7" y="65"/>
                    </a:cubicBezTo>
                    <a:cubicBezTo>
                      <a:pt x="9" y="65"/>
                      <a:pt x="12" y="64"/>
                      <a:pt x="15" y="64"/>
                    </a:cubicBezTo>
                    <a:cubicBezTo>
                      <a:pt x="15" y="64"/>
                      <a:pt x="15" y="64"/>
                      <a:pt x="15" y="64"/>
                    </a:cubicBezTo>
                    <a:cubicBezTo>
                      <a:pt x="16" y="64"/>
                      <a:pt x="16" y="64"/>
                      <a:pt x="17" y="64"/>
                    </a:cubicBezTo>
                    <a:cubicBezTo>
                      <a:pt x="18" y="64"/>
                      <a:pt x="18" y="64"/>
                      <a:pt x="19" y="64"/>
                    </a:cubicBezTo>
                    <a:cubicBezTo>
                      <a:pt x="20" y="64"/>
                      <a:pt x="21" y="64"/>
                      <a:pt x="21" y="62"/>
                    </a:cubicBezTo>
                    <a:cubicBezTo>
                      <a:pt x="23" y="64"/>
                      <a:pt x="22" y="67"/>
                      <a:pt x="23" y="68"/>
                    </a:cubicBezTo>
                    <a:cubicBezTo>
                      <a:pt x="24" y="68"/>
                      <a:pt x="27" y="70"/>
                      <a:pt x="28" y="70"/>
                    </a:cubicBezTo>
                    <a:cubicBezTo>
                      <a:pt x="28" y="70"/>
                      <a:pt x="28" y="70"/>
                      <a:pt x="28" y="70"/>
                    </a:cubicBezTo>
                    <a:cubicBezTo>
                      <a:pt x="30" y="70"/>
                      <a:pt x="30" y="67"/>
                      <a:pt x="32" y="67"/>
                    </a:cubicBezTo>
                    <a:cubicBezTo>
                      <a:pt x="32" y="67"/>
                      <a:pt x="32" y="67"/>
                      <a:pt x="32" y="67"/>
                    </a:cubicBezTo>
                    <a:cubicBezTo>
                      <a:pt x="33" y="67"/>
                      <a:pt x="33" y="67"/>
                      <a:pt x="33" y="67"/>
                    </a:cubicBezTo>
                    <a:cubicBezTo>
                      <a:pt x="34" y="67"/>
                      <a:pt x="35" y="66"/>
                      <a:pt x="37" y="65"/>
                    </a:cubicBezTo>
                    <a:cubicBezTo>
                      <a:pt x="37" y="67"/>
                      <a:pt x="35" y="68"/>
                      <a:pt x="36" y="69"/>
                    </a:cubicBezTo>
                    <a:cubicBezTo>
                      <a:pt x="36" y="70"/>
                      <a:pt x="37" y="72"/>
                      <a:pt x="37" y="72"/>
                    </a:cubicBezTo>
                    <a:cubicBezTo>
                      <a:pt x="38" y="73"/>
                      <a:pt x="38" y="73"/>
                      <a:pt x="39" y="73"/>
                    </a:cubicBezTo>
                    <a:cubicBezTo>
                      <a:pt x="40" y="73"/>
                      <a:pt x="40" y="72"/>
                      <a:pt x="42" y="71"/>
                    </a:cubicBezTo>
                    <a:cubicBezTo>
                      <a:pt x="42" y="70"/>
                      <a:pt x="44" y="70"/>
                      <a:pt x="45" y="70"/>
                    </a:cubicBezTo>
                    <a:cubicBezTo>
                      <a:pt x="43" y="70"/>
                      <a:pt x="43" y="72"/>
                      <a:pt x="42" y="73"/>
                    </a:cubicBezTo>
                    <a:cubicBezTo>
                      <a:pt x="42" y="73"/>
                      <a:pt x="39" y="75"/>
                      <a:pt x="39" y="75"/>
                    </a:cubicBezTo>
                    <a:cubicBezTo>
                      <a:pt x="39" y="77"/>
                      <a:pt x="49" y="80"/>
                      <a:pt x="50" y="81"/>
                    </a:cubicBezTo>
                    <a:cubicBezTo>
                      <a:pt x="49" y="81"/>
                      <a:pt x="48" y="81"/>
                      <a:pt x="46" y="80"/>
                    </a:cubicBezTo>
                    <a:cubicBezTo>
                      <a:pt x="47" y="81"/>
                      <a:pt x="48" y="82"/>
                      <a:pt x="48" y="82"/>
                    </a:cubicBezTo>
                    <a:cubicBezTo>
                      <a:pt x="46" y="82"/>
                      <a:pt x="44" y="82"/>
                      <a:pt x="43" y="82"/>
                    </a:cubicBezTo>
                    <a:cubicBezTo>
                      <a:pt x="43" y="82"/>
                      <a:pt x="43" y="82"/>
                      <a:pt x="43" y="82"/>
                    </a:cubicBezTo>
                    <a:cubicBezTo>
                      <a:pt x="43" y="82"/>
                      <a:pt x="42" y="82"/>
                      <a:pt x="42" y="82"/>
                    </a:cubicBezTo>
                    <a:cubicBezTo>
                      <a:pt x="42" y="82"/>
                      <a:pt x="42" y="82"/>
                      <a:pt x="41" y="82"/>
                    </a:cubicBezTo>
                    <a:cubicBezTo>
                      <a:pt x="41" y="82"/>
                      <a:pt x="41" y="82"/>
                      <a:pt x="41" y="82"/>
                    </a:cubicBezTo>
                    <a:cubicBezTo>
                      <a:pt x="40" y="82"/>
                      <a:pt x="40" y="82"/>
                      <a:pt x="41" y="83"/>
                    </a:cubicBezTo>
                    <a:cubicBezTo>
                      <a:pt x="42" y="84"/>
                      <a:pt x="44" y="84"/>
                      <a:pt x="44" y="86"/>
                    </a:cubicBezTo>
                    <a:cubicBezTo>
                      <a:pt x="45" y="88"/>
                      <a:pt x="42" y="88"/>
                      <a:pt x="44" y="90"/>
                    </a:cubicBezTo>
                    <a:cubicBezTo>
                      <a:pt x="44" y="90"/>
                      <a:pt x="43" y="90"/>
                      <a:pt x="43" y="90"/>
                    </a:cubicBezTo>
                    <a:cubicBezTo>
                      <a:pt x="42" y="90"/>
                      <a:pt x="41" y="90"/>
                      <a:pt x="40" y="89"/>
                    </a:cubicBezTo>
                    <a:cubicBezTo>
                      <a:pt x="39" y="89"/>
                      <a:pt x="38" y="89"/>
                      <a:pt x="37" y="89"/>
                    </a:cubicBezTo>
                    <a:cubicBezTo>
                      <a:pt x="37" y="89"/>
                      <a:pt x="37" y="89"/>
                      <a:pt x="36" y="89"/>
                    </a:cubicBezTo>
                    <a:cubicBezTo>
                      <a:pt x="38" y="89"/>
                      <a:pt x="38" y="90"/>
                      <a:pt x="39" y="91"/>
                    </a:cubicBezTo>
                    <a:cubicBezTo>
                      <a:pt x="42" y="92"/>
                      <a:pt x="44" y="92"/>
                      <a:pt x="47" y="92"/>
                    </a:cubicBezTo>
                    <a:cubicBezTo>
                      <a:pt x="52" y="94"/>
                      <a:pt x="58" y="94"/>
                      <a:pt x="62" y="96"/>
                    </a:cubicBezTo>
                    <a:cubicBezTo>
                      <a:pt x="62" y="95"/>
                      <a:pt x="59" y="94"/>
                      <a:pt x="59" y="92"/>
                    </a:cubicBezTo>
                    <a:cubicBezTo>
                      <a:pt x="59" y="92"/>
                      <a:pt x="59" y="91"/>
                      <a:pt x="59" y="91"/>
                    </a:cubicBezTo>
                    <a:cubicBezTo>
                      <a:pt x="62" y="93"/>
                      <a:pt x="63" y="95"/>
                      <a:pt x="66" y="96"/>
                    </a:cubicBezTo>
                    <a:cubicBezTo>
                      <a:pt x="67" y="97"/>
                      <a:pt x="68" y="98"/>
                      <a:pt x="70" y="99"/>
                    </a:cubicBezTo>
                    <a:cubicBezTo>
                      <a:pt x="70" y="99"/>
                      <a:pt x="71" y="99"/>
                      <a:pt x="71" y="99"/>
                    </a:cubicBezTo>
                    <a:cubicBezTo>
                      <a:pt x="72" y="99"/>
                      <a:pt x="71" y="98"/>
                      <a:pt x="73" y="97"/>
                    </a:cubicBezTo>
                    <a:cubicBezTo>
                      <a:pt x="73" y="96"/>
                      <a:pt x="75" y="95"/>
                      <a:pt x="75" y="94"/>
                    </a:cubicBezTo>
                    <a:cubicBezTo>
                      <a:pt x="76" y="94"/>
                      <a:pt x="76" y="94"/>
                      <a:pt x="77" y="94"/>
                    </a:cubicBezTo>
                    <a:cubicBezTo>
                      <a:pt x="77" y="94"/>
                      <a:pt x="77" y="94"/>
                      <a:pt x="78" y="94"/>
                    </a:cubicBezTo>
                    <a:cubicBezTo>
                      <a:pt x="80" y="94"/>
                      <a:pt x="82" y="96"/>
                      <a:pt x="84" y="97"/>
                    </a:cubicBezTo>
                    <a:cubicBezTo>
                      <a:pt x="83" y="97"/>
                      <a:pt x="82" y="97"/>
                      <a:pt x="82" y="98"/>
                    </a:cubicBezTo>
                    <a:cubicBezTo>
                      <a:pt x="83" y="98"/>
                      <a:pt x="86" y="99"/>
                      <a:pt x="87" y="99"/>
                    </a:cubicBezTo>
                    <a:cubicBezTo>
                      <a:pt x="87" y="98"/>
                      <a:pt x="85" y="97"/>
                      <a:pt x="84" y="95"/>
                    </a:cubicBezTo>
                    <a:cubicBezTo>
                      <a:pt x="86" y="96"/>
                      <a:pt x="88" y="98"/>
                      <a:pt x="90" y="98"/>
                    </a:cubicBezTo>
                    <a:cubicBezTo>
                      <a:pt x="92" y="99"/>
                      <a:pt x="95" y="99"/>
                      <a:pt x="97" y="99"/>
                    </a:cubicBezTo>
                    <a:cubicBezTo>
                      <a:pt x="97" y="96"/>
                      <a:pt x="96" y="95"/>
                      <a:pt x="94" y="95"/>
                    </a:cubicBezTo>
                    <a:cubicBezTo>
                      <a:pt x="94" y="95"/>
                      <a:pt x="93" y="95"/>
                      <a:pt x="93" y="96"/>
                    </a:cubicBezTo>
                    <a:cubicBezTo>
                      <a:pt x="92" y="95"/>
                      <a:pt x="91" y="94"/>
                      <a:pt x="92" y="94"/>
                    </a:cubicBezTo>
                    <a:cubicBezTo>
                      <a:pt x="98" y="95"/>
                      <a:pt x="105" y="99"/>
                      <a:pt x="112" y="99"/>
                    </a:cubicBezTo>
                    <a:cubicBezTo>
                      <a:pt x="109" y="97"/>
                      <a:pt x="109" y="97"/>
                      <a:pt x="107" y="97"/>
                    </a:cubicBezTo>
                    <a:cubicBezTo>
                      <a:pt x="104" y="97"/>
                      <a:pt x="104" y="96"/>
                      <a:pt x="102" y="95"/>
                    </a:cubicBezTo>
                    <a:cubicBezTo>
                      <a:pt x="105" y="95"/>
                      <a:pt x="109" y="97"/>
                      <a:pt x="112" y="97"/>
                    </a:cubicBezTo>
                    <a:cubicBezTo>
                      <a:pt x="112" y="98"/>
                      <a:pt x="113" y="98"/>
                      <a:pt x="113" y="98"/>
                    </a:cubicBezTo>
                    <a:cubicBezTo>
                      <a:pt x="114" y="98"/>
                      <a:pt x="114" y="96"/>
                      <a:pt x="115" y="95"/>
                    </a:cubicBezTo>
                    <a:cubicBezTo>
                      <a:pt x="115" y="94"/>
                      <a:pt x="116" y="94"/>
                      <a:pt x="117" y="94"/>
                    </a:cubicBezTo>
                    <a:cubicBezTo>
                      <a:pt x="117" y="94"/>
                      <a:pt x="118" y="94"/>
                      <a:pt x="119" y="94"/>
                    </a:cubicBezTo>
                    <a:cubicBezTo>
                      <a:pt x="116" y="92"/>
                      <a:pt x="115" y="91"/>
                      <a:pt x="112" y="91"/>
                    </a:cubicBezTo>
                    <a:cubicBezTo>
                      <a:pt x="105" y="89"/>
                      <a:pt x="99" y="83"/>
                      <a:pt x="93" y="79"/>
                    </a:cubicBezTo>
                    <a:cubicBezTo>
                      <a:pt x="89" y="75"/>
                      <a:pt x="87" y="70"/>
                      <a:pt x="84" y="66"/>
                    </a:cubicBezTo>
                    <a:cubicBezTo>
                      <a:pt x="82" y="63"/>
                      <a:pt x="80" y="61"/>
                      <a:pt x="79" y="58"/>
                    </a:cubicBezTo>
                    <a:cubicBezTo>
                      <a:pt x="78" y="55"/>
                      <a:pt x="77" y="52"/>
                      <a:pt x="73" y="52"/>
                    </a:cubicBezTo>
                    <a:cubicBezTo>
                      <a:pt x="75" y="51"/>
                      <a:pt x="76" y="51"/>
                      <a:pt x="76" y="49"/>
                    </a:cubicBezTo>
                    <a:cubicBezTo>
                      <a:pt x="76" y="48"/>
                      <a:pt x="76" y="46"/>
                      <a:pt x="76" y="46"/>
                    </a:cubicBezTo>
                    <a:cubicBezTo>
                      <a:pt x="77" y="43"/>
                      <a:pt x="80" y="44"/>
                      <a:pt x="78" y="40"/>
                    </a:cubicBezTo>
                    <a:cubicBezTo>
                      <a:pt x="77" y="39"/>
                      <a:pt x="75" y="39"/>
                      <a:pt x="76" y="37"/>
                    </a:cubicBezTo>
                    <a:cubicBezTo>
                      <a:pt x="78" y="36"/>
                      <a:pt x="77" y="35"/>
                      <a:pt x="76" y="34"/>
                    </a:cubicBezTo>
                    <a:cubicBezTo>
                      <a:pt x="74" y="33"/>
                      <a:pt x="73" y="33"/>
                      <a:pt x="71" y="33"/>
                    </a:cubicBezTo>
                    <a:cubicBezTo>
                      <a:pt x="73" y="32"/>
                      <a:pt x="76" y="32"/>
                      <a:pt x="78" y="32"/>
                    </a:cubicBezTo>
                    <a:cubicBezTo>
                      <a:pt x="80" y="32"/>
                      <a:pt x="78" y="30"/>
                      <a:pt x="77" y="29"/>
                    </a:cubicBezTo>
                    <a:cubicBezTo>
                      <a:pt x="76" y="29"/>
                      <a:pt x="75" y="28"/>
                      <a:pt x="74" y="28"/>
                    </a:cubicBezTo>
                    <a:cubicBezTo>
                      <a:pt x="74" y="28"/>
                      <a:pt x="74" y="28"/>
                      <a:pt x="75" y="28"/>
                    </a:cubicBezTo>
                    <a:cubicBezTo>
                      <a:pt x="75" y="28"/>
                      <a:pt x="76" y="29"/>
                      <a:pt x="77" y="29"/>
                    </a:cubicBezTo>
                    <a:cubicBezTo>
                      <a:pt x="78" y="29"/>
                      <a:pt x="79" y="30"/>
                      <a:pt x="80" y="30"/>
                    </a:cubicBezTo>
                    <a:cubicBezTo>
                      <a:pt x="80" y="30"/>
                      <a:pt x="81" y="29"/>
                      <a:pt x="81" y="29"/>
                    </a:cubicBezTo>
                    <a:cubicBezTo>
                      <a:pt x="83" y="27"/>
                      <a:pt x="82" y="25"/>
                      <a:pt x="85" y="25"/>
                    </a:cubicBezTo>
                    <a:cubicBezTo>
                      <a:pt x="85" y="25"/>
                      <a:pt x="86" y="25"/>
                      <a:pt x="86" y="25"/>
                    </a:cubicBezTo>
                    <a:cubicBezTo>
                      <a:pt x="84" y="23"/>
                      <a:pt x="81" y="21"/>
                      <a:pt x="77" y="21"/>
                    </a:cubicBezTo>
                    <a:cubicBezTo>
                      <a:pt x="77" y="21"/>
                      <a:pt x="77" y="21"/>
                      <a:pt x="77" y="21"/>
                    </a:cubicBezTo>
                    <a:cubicBezTo>
                      <a:pt x="78" y="21"/>
                      <a:pt x="78" y="20"/>
                      <a:pt x="79" y="20"/>
                    </a:cubicBezTo>
                    <a:cubicBezTo>
                      <a:pt x="80" y="20"/>
                      <a:pt x="81" y="21"/>
                      <a:pt x="81" y="21"/>
                    </a:cubicBezTo>
                    <a:cubicBezTo>
                      <a:pt x="82" y="21"/>
                      <a:pt x="82" y="21"/>
                      <a:pt x="82" y="21"/>
                    </a:cubicBezTo>
                    <a:cubicBezTo>
                      <a:pt x="83" y="21"/>
                      <a:pt x="83" y="21"/>
                      <a:pt x="84" y="21"/>
                    </a:cubicBezTo>
                    <a:cubicBezTo>
                      <a:pt x="84" y="21"/>
                      <a:pt x="84" y="21"/>
                      <a:pt x="85" y="21"/>
                    </a:cubicBezTo>
                    <a:cubicBezTo>
                      <a:pt x="85" y="21"/>
                      <a:pt x="86" y="21"/>
                      <a:pt x="87" y="21"/>
                    </a:cubicBezTo>
                    <a:cubicBezTo>
                      <a:pt x="87" y="21"/>
                      <a:pt x="88" y="21"/>
                      <a:pt x="89" y="21"/>
                    </a:cubicBezTo>
                    <a:cubicBezTo>
                      <a:pt x="89" y="21"/>
                      <a:pt x="90" y="21"/>
                      <a:pt x="91" y="21"/>
                    </a:cubicBezTo>
                    <a:cubicBezTo>
                      <a:pt x="92" y="20"/>
                      <a:pt x="93" y="17"/>
                      <a:pt x="92" y="16"/>
                    </a:cubicBezTo>
                    <a:cubicBezTo>
                      <a:pt x="92" y="15"/>
                      <a:pt x="91" y="15"/>
                      <a:pt x="91" y="15"/>
                    </a:cubicBezTo>
                    <a:cubicBezTo>
                      <a:pt x="90" y="15"/>
                      <a:pt x="89" y="15"/>
                      <a:pt x="89" y="15"/>
                    </a:cubicBezTo>
                    <a:cubicBezTo>
                      <a:pt x="88" y="15"/>
                      <a:pt x="88" y="15"/>
                      <a:pt x="87" y="15"/>
                    </a:cubicBezTo>
                    <a:cubicBezTo>
                      <a:pt x="87" y="15"/>
                      <a:pt x="87" y="15"/>
                      <a:pt x="87" y="15"/>
                    </a:cubicBezTo>
                    <a:cubicBezTo>
                      <a:pt x="85" y="15"/>
                      <a:pt x="82" y="15"/>
                      <a:pt x="81" y="15"/>
                    </a:cubicBezTo>
                    <a:cubicBezTo>
                      <a:pt x="83" y="14"/>
                      <a:pt x="87" y="13"/>
                      <a:pt x="89" y="13"/>
                    </a:cubicBezTo>
                    <a:cubicBezTo>
                      <a:pt x="90" y="13"/>
                      <a:pt x="90" y="13"/>
                      <a:pt x="90" y="13"/>
                    </a:cubicBezTo>
                    <a:cubicBezTo>
                      <a:pt x="91" y="13"/>
                      <a:pt x="91" y="13"/>
                      <a:pt x="92" y="13"/>
                    </a:cubicBezTo>
                    <a:cubicBezTo>
                      <a:pt x="92" y="13"/>
                      <a:pt x="92" y="13"/>
                      <a:pt x="93" y="13"/>
                    </a:cubicBezTo>
                    <a:cubicBezTo>
                      <a:pt x="94" y="13"/>
                      <a:pt x="95" y="13"/>
                      <a:pt x="96" y="12"/>
                    </a:cubicBezTo>
                    <a:cubicBezTo>
                      <a:pt x="94" y="11"/>
                      <a:pt x="91" y="11"/>
                      <a:pt x="89" y="11"/>
                    </a:cubicBezTo>
                    <a:cubicBezTo>
                      <a:pt x="88" y="11"/>
                      <a:pt x="88" y="11"/>
                      <a:pt x="87" y="11"/>
                    </a:cubicBezTo>
                    <a:cubicBezTo>
                      <a:pt x="86" y="11"/>
                      <a:pt x="86" y="11"/>
                      <a:pt x="85" y="11"/>
                    </a:cubicBezTo>
                    <a:cubicBezTo>
                      <a:pt x="85" y="11"/>
                      <a:pt x="85" y="11"/>
                      <a:pt x="85" y="11"/>
                    </a:cubicBezTo>
                    <a:cubicBezTo>
                      <a:pt x="88" y="10"/>
                      <a:pt x="97" y="10"/>
                      <a:pt x="99" y="8"/>
                    </a:cubicBezTo>
                    <a:cubicBezTo>
                      <a:pt x="91" y="6"/>
                      <a:pt x="84" y="4"/>
                      <a:pt x="77" y="1"/>
                    </a:cubicBezTo>
                    <a:cubicBezTo>
                      <a:pt x="71" y="0"/>
                      <a:pt x="65" y="0"/>
                      <a:pt x="59" y="0"/>
                    </a:cubicBezTo>
                    <a:cubicBezTo>
                      <a:pt x="59" y="0"/>
                      <a:pt x="59" y="0"/>
                      <a:pt x="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7" name="Freeform 276">
                <a:extLst>
                  <a:ext uri="{FF2B5EF4-FFF2-40B4-BE49-F238E27FC236}">
                    <a16:creationId xmlns:a16="http://schemas.microsoft.com/office/drawing/2014/main" id="{4A4AEFDB-604E-4149-B8FB-B79F82CE9EB5}"/>
                  </a:ext>
                </a:extLst>
              </p:cNvPr>
              <p:cNvSpPr>
                <a:spLocks/>
              </p:cNvSpPr>
              <p:nvPr/>
            </p:nvSpPr>
            <p:spPr bwMode="auto">
              <a:xfrm>
                <a:off x="6345" y="-918"/>
                <a:ext cx="26" cy="7"/>
              </a:xfrm>
              <a:custGeom>
                <a:avLst/>
                <a:gdLst>
                  <a:gd name="T0" fmla="*/ 7 w 11"/>
                  <a:gd name="T1" fmla="*/ 0 h 3"/>
                  <a:gd name="T2" fmla="*/ 0 w 11"/>
                  <a:gd name="T3" fmla="*/ 2 h 3"/>
                  <a:gd name="T4" fmla="*/ 7 w 11"/>
                  <a:gd name="T5" fmla="*/ 3 h 3"/>
                  <a:gd name="T6" fmla="*/ 11 w 11"/>
                  <a:gd name="T7" fmla="*/ 3 h 3"/>
                  <a:gd name="T8" fmla="*/ 7 w 11"/>
                  <a:gd name="T9" fmla="*/ 0 h 3"/>
                </a:gdLst>
                <a:ahLst/>
                <a:cxnLst>
                  <a:cxn ang="0">
                    <a:pos x="T0" y="T1"/>
                  </a:cxn>
                  <a:cxn ang="0">
                    <a:pos x="T2" y="T3"/>
                  </a:cxn>
                  <a:cxn ang="0">
                    <a:pos x="T4" y="T5"/>
                  </a:cxn>
                  <a:cxn ang="0">
                    <a:pos x="T6" y="T7"/>
                  </a:cxn>
                  <a:cxn ang="0">
                    <a:pos x="T8" y="T9"/>
                  </a:cxn>
                </a:cxnLst>
                <a:rect l="0" t="0" r="r" b="b"/>
                <a:pathLst>
                  <a:path w="11" h="3">
                    <a:moveTo>
                      <a:pt x="7" y="0"/>
                    </a:moveTo>
                    <a:cubicBezTo>
                      <a:pt x="5" y="1"/>
                      <a:pt x="2" y="1"/>
                      <a:pt x="0" y="2"/>
                    </a:cubicBezTo>
                    <a:cubicBezTo>
                      <a:pt x="2" y="3"/>
                      <a:pt x="5" y="3"/>
                      <a:pt x="7" y="3"/>
                    </a:cubicBezTo>
                    <a:cubicBezTo>
                      <a:pt x="8" y="3"/>
                      <a:pt x="10" y="3"/>
                      <a:pt x="11" y="3"/>
                    </a:cubicBezTo>
                    <a:cubicBezTo>
                      <a:pt x="10" y="0"/>
                      <a:pt x="10" y="1"/>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8" name="Freeform 277">
                <a:extLst>
                  <a:ext uri="{FF2B5EF4-FFF2-40B4-BE49-F238E27FC236}">
                    <a16:creationId xmlns:a16="http://schemas.microsoft.com/office/drawing/2014/main" id="{E5F03B30-3D97-4D73-B870-A88A1B5B24B2}"/>
                  </a:ext>
                </a:extLst>
              </p:cNvPr>
              <p:cNvSpPr>
                <a:spLocks/>
              </p:cNvSpPr>
              <p:nvPr/>
            </p:nvSpPr>
            <p:spPr bwMode="auto">
              <a:xfrm>
                <a:off x="9445" y="916"/>
                <a:ext cx="12" cy="10"/>
              </a:xfrm>
              <a:custGeom>
                <a:avLst/>
                <a:gdLst>
                  <a:gd name="T0" fmla="*/ 4 w 5"/>
                  <a:gd name="T1" fmla="*/ 0 h 4"/>
                  <a:gd name="T2" fmla="*/ 0 w 5"/>
                  <a:gd name="T3" fmla="*/ 4 h 4"/>
                  <a:gd name="T4" fmla="*/ 5 w 5"/>
                  <a:gd name="T5" fmla="*/ 0 h 4"/>
                  <a:gd name="T6" fmla="*/ 4 w 5"/>
                  <a:gd name="T7" fmla="*/ 0 h 4"/>
                </a:gdLst>
                <a:ahLst/>
                <a:cxnLst>
                  <a:cxn ang="0">
                    <a:pos x="T0" y="T1"/>
                  </a:cxn>
                  <a:cxn ang="0">
                    <a:pos x="T2" y="T3"/>
                  </a:cxn>
                  <a:cxn ang="0">
                    <a:pos x="T4" y="T5"/>
                  </a:cxn>
                  <a:cxn ang="0">
                    <a:pos x="T6" y="T7"/>
                  </a:cxn>
                </a:cxnLst>
                <a:rect l="0" t="0" r="r" b="b"/>
                <a:pathLst>
                  <a:path w="5" h="4">
                    <a:moveTo>
                      <a:pt x="4" y="0"/>
                    </a:moveTo>
                    <a:cubicBezTo>
                      <a:pt x="3" y="0"/>
                      <a:pt x="1" y="3"/>
                      <a:pt x="0" y="4"/>
                    </a:cubicBezTo>
                    <a:cubicBezTo>
                      <a:pt x="2" y="3"/>
                      <a:pt x="4" y="1"/>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9" name="Freeform 278">
                <a:extLst>
                  <a:ext uri="{FF2B5EF4-FFF2-40B4-BE49-F238E27FC236}">
                    <a16:creationId xmlns:a16="http://schemas.microsoft.com/office/drawing/2014/main" id="{2669FECB-11C2-4B36-9BC4-84E226638FAA}"/>
                  </a:ext>
                </a:extLst>
              </p:cNvPr>
              <p:cNvSpPr>
                <a:spLocks/>
              </p:cNvSpPr>
              <p:nvPr/>
            </p:nvSpPr>
            <p:spPr bwMode="auto">
              <a:xfrm>
                <a:off x="5147" y="-547"/>
                <a:ext cx="89" cy="64"/>
              </a:xfrm>
              <a:custGeom>
                <a:avLst/>
                <a:gdLst>
                  <a:gd name="T0" fmla="*/ 10 w 38"/>
                  <a:gd name="T1" fmla="*/ 0 h 27"/>
                  <a:gd name="T2" fmla="*/ 6 w 38"/>
                  <a:gd name="T3" fmla="*/ 1 h 27"/>
                  <a:gd name="T4" fmla="*/ 5 w 38"/>
                  <a:gd name="T5" fmla="*/ 1 h 27"/>
                  <a:gd name="T6" fmla="*/ 5 w 38"/>
                  <a:gd name="T7" fmla="*/ 2 h 27"/>
                  <a:gd name="T8" fmla="*/ 0 w 38"/>
                  <a:gd name="T9" fmla="*/ 4 h 27"/>
                  <a:gd name="T10" fmla="*/ 6 w 38"/>
                  <a:gd name="T11" fmla="*/ 8 h 27"/>
                  <a:gd name="T12" fmla="*/ 3 w 38"/>
                  <a:gd name="T13" fmla="*/ 7 h 27"/>
                  <a:gd name="T14" fmla="*/ 3 w 38"/>
                  <a:gd name="T15" fmla="*/ 7 h 27"/>
                  <a:gd name="T16" fmla="*/ 1 w 38"/>
                  <a:gd name="T17" fmla="*/ 12 h 27"/>
                  <a:gd name="T18" fmla="*/ 11 w 38"/>
                  <a:gd name="T19" fmla="*/ 21 h 27"/>
                  <a:gd name="T20" fmla="*/ 9 w 38"/>
                  <a:gd name="T21" fmla="*/ 18 h 27"/>
                  <a:gd name="T22" fmla="*/ 16 w 38"/>
                  <a:gd name="T23" fmla="*/ 20 h 27"/>
                  <a:gd name="T24" fmla="*/ 21 w 38"/>
                  <a:gd name="T25" fmla="*/ 24 h 27"/>
                  <a:gd name="T26" fmla="*/ 23 w 38"/>
                  <a:gd name="T27" fmla="*/ 26 h 27"/>
                  <a:gd name="T28" fmla="*/ 25 w 38"/>
                  <a:gd name="T29" fmla="*/ 26 h 27"/>
                  <a:gd name="T30" fmla="*/ 27 w 38"/>
                  <a:gd name="T31" fmla="*/ 27 h 27"/>
                  <a:gd name="T32" fmla="*/ 27 w 38"/>
                  <a:gd name="T33" fmla="*/ 27 h 27"/>
                  <a:gd name="T34" fmla="*/ 28 w 38"/>
                  <a:gd name="T35" fmla="*/ 26 h 27"/>
                  <a:gd name="T36" fmla="*/ 30 w 38"/>
                  <a:gd name="T37" fmla="*/ 26 h 27"/>
                  <a:gd name="T38" fmla="*/ 30 w 38"/>
                  <a:gd name="T39" fmla="*/ 26 h 27"/>
                  <a:gd name="T40" fmla="*/ 33 w 38"/>
                  <a:gd name="T41" fmla="*/ 26 h 27"/>
                  <a:gd name="T42" fmla="*/ 34 w 38"/>
                  <a:gd name="T43" fmla="*/ 26 h 27"/>
                  <a:gd name="T44" fmla="*/ 37 w 38"/>
                  <a:gd name="T45" fmla="*/ 20 h 27"/>
                  <a:gd name="T46" fmla="*/ 35 w 38"/>
                  <a:gd name="T47" fmla="*/ 17 h 27"/>
                  <a:gd name="T48" fmla="*/ 12 w 38"/>
                  <a:gd name="T49" fmla="*/ 1 h 27"/>
                  <a:gd name="T50" fmla="*/ 10 w 38"/>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27">
                    <a:moveTo>
                      <a:pt x="10" y="0"/>
                    </a:moveTo>
                    <a:cubicBezTo>
                      <a:pt x="9" y="0"/>
                      <a:pt x="8" y="0"/>
                      <a:pt x="6" y="1"/>
                    </a:cubicBezTo>
                    <a:cubicBezTo>
                      <a:pt x="6" y="1"/>
                      <a:pt x="6" y="1"/>
                      <a:pt x="5" y="1"/>
                    </a:cubicBezTo>
                    <a:cubicBezTo>
                      <a:pt x="4" y="1"/>
                      <a:pt x="5" y="2"/>
                      <a:pt x="5" y="2"/>
                    </a:cubicBezTo>
                    <a:cubicBezTo>
                      <a:pt x="4" y="3"/>
                      <a:pt x="2" y="4"/>
                      <a:pt x="0" y="4"/>
                    </a:cubicBezTo>
                    <a:cubicBezTo>
                      <a:pt x="2" y="5"/>
                      <a:pt x="4" y="6"/>
                      <a:pt x="6" y="8"/>
                    </a:cubicBezTo>
                    <a:cubicBezTo>
                      <a:pt x="5" y="8"/>
                      <a:pt x="3" y="7"/>
                      <a:pt x="3" y="7"/>
                    </a:cubicBezTo>
                    <a:cubicBezTo>
                      <a:pt x="3" y="7"/>
                      <a:pt x="3" y="7"/>
                      <a:pt x="3" y="7"/>
                    </a:cubicBezTo>
                    <a:cubicBezTo>
                      <a:pt x="0" y="7"/>
                      <a:pt x="0" y="9"/>
                      <a:pt x="1" y="12"/>
                    </a:cubicBezTo>
                    <a:cubicBezTo>
                      <a:pt x="2" y="16"/>
                      <a:pt x="8" y="19"/>
                      <a:pt x="11" y="21"/>
                    </a:cubicBezTo>
                    <a:cubicBezTo>
                      <a:pt x="11" y="19"/>
                      <a:pt x="9" y="19"/>
                      <a:pt x="9" y="18"/>
                    </a:cubicBezTo>
                    <a:cubicBezTo>
                      <a:pt x="11" y="18"/>
                      <a:pt x="14" y="19"/>
                      <a:pt x="16" y="20"/>
                    </a:cubicBezTo>
                    <a:cubicBezTo>
                      <a:pt x="17" y="20"/>
                      <a:pt x="22" y="21"/>
                      <a:pt x="21" y="24"/>
                    </a:cubicBezTo>
                    <a:cubicBezTo>
                      <a:pt x="21" y="25"/>
                      <a:pt x="21" y="25"/>
                      <a:pt x="23" y="26"/>
                    </a:cubicBezTo>
                    <a:cubicBezTo>
                      <a:pt x="23" y="26"/>
                      <a:pt x="24" y="26"/>
                      <a:pt x="25" y="26"/>
                    </a:cubicBezTo>
                    <a:cubicBezTo>
                      <a:pt x="26" y="26"/>
                      <a:pt x="26" y="27"/>
                      <a:pt x="27" y="27"/>
                    </a:cubicBezTo>
                    <a:cubicBezTo>
                      <a:pt x="27" y="27"/>
                      <a:pt x="27" y="27"/>
                      <a:pt x="27" y="27"/>
                    </a:cubicBezTo>
                    <a:cubicBezTo>
                      <a:pt x="28" y="27"/>
                      <a:pt x="27" y="26"/>
                      <a:pt x="28" y="26"/>
                    </a:cubicBezTo>
                    <a:cubicBezTo>
                      <a:pt x="29" y="26"/>
                      <a:pt x="29" y="26"/>
                      <a:pt x="30" y="26"/>
                    </a:cubicBezTo>
                    <a:cubicBezTo>
                      <a:pt x="30" y="26"/>
                      <a:pt x="30" y="26"/>
                      <a:pt x="30" y="26"/>
                    </a:cubicBezTo>
                    <a:cubicBezTo>
                      <a:pt x="32" y="26"/>
                      <a:pt x="32" y="26"/>
                      <a:pt x="33" y="26"/>
                    </a:cubicBezTo>
                    <a:cubicBezTo>
                      <a:pt x="33" y="26"/>
                      <a:pt x="34" y="26"/>
                      <a:pt x="34" y="26"/>
                    </a:cubicBezTo>
                    <a:cubicBezTo>
                      <a:pt x="38" y="26"/>
                      <a:pt x="37" y="24"/>
                      <a:pt x="37" y="20"/>
                    </a:cubicBezTo>
                    <a:cubicBezTo>
                      <a:pt x="37" y="18"/>
                      <a:pt x="37" y="18"/>
                      <a:pt x="35" y="17"/>
                    </a:cubicBezTo>
                    <a:cubicBezTo>
                      <a:pt x="27" y="12"/>
                      <a:pt x="20" y="6"/>
                      <a:pt x="12" y="1"/>
                    </a:cubicBezTo>
                    <a:cubicBezTo>
                      <a:pt x="11" y="0"/>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0" name="Freeform 279">
                <a:extLst>
                  <a:ext uri="{FF2B5EF4-FFF2-40B4-BE49-F238E27FC236}">
                    <a16:creationId xmlns:a16="http://schemas.microsoft.com/office/drawing/2014/main" id="{9B1DC9A0-F87C-475E-BC9E-6BB3AE6B799E}"/>
                  </a:ext>
                </a:extLst>
              </p:cNvPr>
              <p:cNvSpPr>
                <a:spLocks/>
              </p:cNvSpPr>
              <p:nvPr/>
            </p:nvSpPr>
            <p:spPr bwMode="auto">
              <a:xfrm>
                <a:off x="5293" y="-1585"/>
                <a:ext cx="19" cy="7"/>
              </a:xfrm>
              <a:custGeom>
                <a:avLst/>
                <a:gdLst>
                  <a:gd name="T0" fmla="*/ 1 w 8"/>
                  <a:gd name="T1" fmla="*/ 0 h 3"/>
                  <a:gd name="T2" fmla="*/ 0 w 8"/>
                  <a:gd name="T3" fmla="*/ 1 h 3"/>
                  <a:gd name="T4" fmla="*/ 6 w 8"/>
                  <a:gd name="T5" fmla="*/ 3 h 3"/>
                  <a:gd name="T6" fmla="*/ 8 w 8"/>
                  <a:gd name="T7" fmla="*/ 2 h 3"/>
                  <a:gd name="T8" fmla="*/ 1 w 8"/>
                  <a:gd name="T9" fmla="*/ 0 h 3"/>
                </a:gdLst>
                <a:ahLst/>
                <a:cxnLst>
                  <a:cxn ang="0">
                    <a:pos x="T0" y="T1"/>
                  </a:cxn>
                  <a:cxn ang="0">
                    <a:pos x="T2" y="T3"/>
                  </a:cxn>
                  <a:cxn ang="0">
                    <a:pos x="T4" y="T5"/>
                  </a:cxn>
                  <a:cxn ang="0">
                    <a:pos x="T6" y="T7"/>
                  </a:cxn>
                  <a:cxn ang="0">
                    <a:pos x="T8" y="T9"/>
                  </a:cxn>
                </a:cxnLst>
                <a:rect l="0" t="0" r="r" b="b"/>
                <a:pathLst>
                  <a:path w="8" h="3">
                    <a:moveTo>
                      <a:pt x="1" y="0"/>
                    </a:moveTo>
                    <a:cubicBezTo>
                      <a:pt x="0" y="1"/>
                      <a:pt x="0" y="1"/>
                      <a:pt x="0" y="1"/>
                    </a:cubicBezTo>
                    <a:cubicBezTo>
                      <a:pt x="2" y="2"/>
                      <a:pt x="4" y="3"/>
                      <a:pt x="6" y="3"/>
                    </a:cubicBezTo>
                    <a:cubicBezTo>
                      <a:pt x="6" y="3"/>
                      <a:pt x="7" y="3"/>
                      <a:pt x="8" y="2"/>
                    </a:cubicBezTo>
                    <a:cubicBezTo>
                      <a:pt x="6"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1" name="Freeform 280">
                <a:extLst>
                  <a:ext uri="{FF2B5EF4-FFF2-40B4-BE49-F238E27FC236}">
                    <a16:creationId xmlns:a16="http://schemas.microsoft.com/office/drawing/2014/main" id="{B9A6DA72-C6B8-4F70-8036-0BF106A115E2}"/>
                  </a:ext>
                </a:extLst>
              </p:cNvPr>
              <p:cNvSpPr>
                <a:spLocks/>
              </p:cNvSpPr>
              <p:nvPr/>
            </p:nvSpPr>
            <p:spPr bwMode="auto">
              <a:xfrm>
                <a:off x="6560" y="-1545"/>
                <a:ext cx="75" cy="14"/>
              </a:xfrm>
              <a:custGeom>
                <a:avLst/>
                <a:gdLst>
                  <a:gd name="T0" fmla="*/ 18 w 32"/>
                  <a:gd name="T1" fmla="*/ 0 h 6"/>
                  <a:gd name="T2" fmla="*/ 18 w 32"/>
                  <a:gd name="T3" fmla="*/ 0 h 6"/>
                  <a:gd name="T4" fmla="*/ 7 w 32"/>
                  <a:gd name="T5" fmla="*/ 0 h 6"/>
                  <a:gd name="T6" fmla="*/ 2 w 32"/>
                  <a:gd name="T7" fmla="*/ 6 h 6"/>
                  <a:gd name="T8" fmla="*/ 32 w 32"/>
                  <a:gd name="T9" fmla="*/ 4 h 6"/>
                  <a:gd name="T10" fmla="*/ 27 w 32"/>
                  <a:gd name="T11" fmla="*/ 1 h 6"/>
                  <a:gd name="T12" fmla="*/ 18 w 3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2" h="6">
                    <a:moveTo>
                      <a:pt x="18" y="0"/>
                    </a:moveTo>
                    <a:cubicBezTo>
                      <a:pt x="18" y="0"/>
                      <a:pt x="18" y="0"/>
                      <a:pt x="18" y="0"/>
                    </a:cubicBezTo>
                    <a:cubicBezTo>
                      <a:pt x="14" y="0"/>
                      <a:pt x="11" y="0"/>
                      <a:pt x="7" y="0"/>
                    </a:cubicBezTo>
                    <a:cubicBezTo>
                      <a:pt x="3" y="1"/>
                      <a:pt x="0" y="1"/>
                      <a:pt x="2" y="6"/>
                    </a:cubicBezTo>
                    <a:cubicBezTo>
                      <a:pt x="12" y="5"/>
                      <a:pt x="22" y="5"/>
                      <a:pt x="32" y="4"/>
                    </a:cubicBezTo>
                    <a:cubicBezTo>
                      <a:pt x="31" y="3"/>
                      <a:pt x="30" y="1"/>
                      <a:pt x="27" y="1"/>
                    </a:cubicBezTo>
                    <a:cubicBezTo>
                      <a:pt x="24" y="0"/>
                      <a:pt x="21"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2" name="Freeform 281">
                <a:extLst>
                  <a:ext uri="{FF2B5EF4-FFF2-40B4-BE49-F238E27FC236}">
                    <a16:creationId xmlns:a16="http://schemas.microsoft.com/office/drawing/2014/main" id="{2E8EA60D-8FBA-443E-9352-EAA731F3BB08}"/>
                  </a:ext>
                </a:extLst>
              </p:cNvPr>
              <p:cNvSpPr>
                <a:spLocks/>
              </p:cNvSpPr>
              <p:nvPr/>
            </p:nvSpPr>
            <p:spPr bwMode="auto">
              <a:xfrm>
                <a:off x="9058" y="1165"/>
                <a:ext cx="54" cy="47"/>
              </a:xfrm>
              <a:custGeom>
                <a:avLst/>
                <a:gdLst>
                  <a:gd name="T0" fmla="*/ 15 w 23"/>
                  <a:gd name="T1" fmla="*/ 0 h 20"/>
                  <a:gd name="T2" fmla="*/ 4 w 23"/>
                  <a:gd name="T3" fmla="*/ 13 h 20"/>
                  <a:gd name="T4" fmla="*/ 4 w 23"/>
                  <a:gd name="T5" fmla="*/ 20 h 20"/>
                  <a:gd name="T6" fmla="*/ 4 w 23"/>
                  <a:gd name="T7" fmla="*/ 19 h 20"/>
                  <a:gd name="T8" fmla="*/ 5 w 23"/>
                  <a:gd name="T9" fmla="*/ 15 h 20"/>
                  <a:gd name="T10" fmla="*/ 7 w 23"/>
                  <a:gd name="T11" fmla="*/ 14 h 20"/>
                  <a:gd name="T12" fmla="*/ 11 w 23"/>
                  <a:gd name="T13" fmla="*/ 10 h 20"/>
                  <a:gd name="T14" fmla="*/ 23 w 23"/>
                  <a:gd name="T15" fmla="*/ 2 h 20"/>
                  <a:gd name="T16" fmla="*/ 21 w 23"/>
                  <a:gd name="T17" fmla="*/ 2 h 20"/>
                  <a:gd name="T18" fmla="*/ 15 w 23"/>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0">
                    <a:moveTo>
                      <a:pt x="15" y="0"/>
                    </a:moveTo>
                    <a:cubicBezTo>
                      <a:pt x="11" y="4"/>
                      <a:pt x="8" y="9"/>
                      <a:pt x="4" y="13"/>
                    </a:cubicBezTo>
                    <a:cubicBezTo>
                      <a:pt x="1" y="16"/>
                      <a:pt x="0" y="18"/>
                      <a:pt x="4" y="20"/>
                    </a:cubicBezTo>
                    <a:cubicBezTo>
                      <a:pt x="4" y="20"/>
                      <a:pt x="4" y="19"/>
                      <a:pt x="4" y="19"/>
                    </a:cubicBezTo>
                    <a:cubicBezTo>
                      <a:pt x="4" y="17"/>
                      <a:pt x="4" y="16"/>
                      <a:pt x="5" y="15"/>
                    </a:cubicBezTo>
                    <a:cubicBezTo>
                      <a:pt x="5" y="14"/>
                      <a:pt x="7" y="15"/>
                      <a:pt x="7" y="14"/>
                    </a:cubicBezTo>
                    <a:cubicBezTo>
                      <a:pt x="9" y="13"/>
                      <a:pt x="9" y="11"/>
                      <a:pt x="11" y="10"/>
                    </a:cubicBezTo>
                    <a:cubicBezTo>
                      <a:pt x="14" y="6"/>
                      <a:pt x="19" y="6"/>
                      <a:pt x="23" y="2"/>
                    </a:cubicBezTo>
                    <a:cubicBezTo>
                      <a:pt x="22" y="2"/>
                      <a:pt x="21" y="2"/>
                      <a:pt x="21" y="2"/>
                    </a:cubicBezTo>
                    <a:cubicBezTo>
                      <a:pt x="19" y="2"/>
                      <a:pt x="17" y="1"/>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3" name="Freeform 282">
                <a:extLst>
                  <a:ext uri="{FF2B5EF4-FFF2-40B4-BE49-F238E27FC236}">
                    <a16:creationId xmlns:a16="http://schemas.microsoft.com/office/drawing/2014/main" id="{D8318646-56DF-427C-B333-87CE27F1A845}"/>
                  </a:ext>
                </a:extLst>
              </p:cNvPr>
              <p:cNvSpPr>
                <a:spLocks/>
              </p:cNvSpPr>
              <p:nvPr/>
            </p:nvSpPr>
            <p:spPr bwMode="auto">
              <a:xfrm>
                <a:off x="8691" y="538"/>
                <a:ext cx="43" cy="33"/>
              </a:xfrm>
              <a:custGeom>
                <a:avLst/>
                <a:gdLst>
                  <a:gd name="T0" fmla="*/ 7 w 18"/>
                  <a:gd name="T1" fmla="*/ 0 h 14"/>
                  <a:gd name="T2" fmla="*/ 5 w 18"/>
                  <a:gd name="T3" fmla="*/ 1 h 14"/>
                  <a:gd name="T4" fmla="*/ 5 w 18"/>
                  <a:gd name="T5" fmla="*/ 3 h 14"/>
                  <a:gd name="T6" fmla="*/ 3 w 18"/>
                  <a:gd name="T7" fmla="*/ 4 h 14"/>
                  <a:gd name="T8" fmla="*/ 0 w 18"/>
                  <a:gd name="T9" fmla="*/ 9 h 14"/>
                  <a:gd name="T10" fmla="*/ 1 w 18"/>
                  <a:gd name="T11" fmla="*/ 10 h 14"/>
                  <a:gd name="T12" fmla="*/ 4 w 18"/>
                  <a:gd name="T13" fmla="*/ 8 h 14"/>
                  <a:gd name="T14" fmla="*/ 4 w 18"/>
                  <a:gd name="T15" fmla="*/ 8 h 14"/>
                  <a:gd name="T16" fmla="*/ 9 w 18"/>
                  <a:gd name="T17" fmla="*/ 14 h 14"/>
                  <a:gd name="T18" fmla="*/ 18 w 18"/>
                  <a:gd name="T19" fmla="*/ 3 h 14"/>
                  <a:gd name="T20" fmla="*/ 18 w 18"/>
                  <a:gd name="T21" fmla="*/ 3 h 14"/>
                  <a:gd name="T22" fmla="*/ 17 w 18"/>
                  <a:gd name="T23" fmla="*/ 3 h 14"/>
                  <a:gd name="T24" fmla="*/ 16 w 18"/>
                  <a:gd name="T25" fmla="*/ 3 h 14"/>
                  <a:gd name="T26" fmla="*/ 16 w 18"/>
                  <a:gd name="T27" fmla="*/ 3 h 14"/>
                  <a:gd name="T28" fmla="*/ 16 w 18"/>
                  <a:gd name="T29" fmla="*/ 3 h 14"/>
                  <a:gd name="T30" fmla="*/ 15 w 18"/>
                  <a:gd name="T31" fmla="*/ 3 h 14"/>
                  <a:gd name="T32" fmla="*/ 15 w 18"/>
                  <a:gd name="T33" fmla="*/ 3 h 14"/>
                  <a:gd name="T34" fmla="*/ 15 w 18"/>
                  <a:gd name="T35" fmla="*/ 3 h 14"/>
                  <a:gd name="T36" fmla="*/ 14 w 18"/>
                  <a:gd name="T37" fmla="*/ 1 h 14"/>
                  <a:gd name="T38" fmla="*/ 12 w 18"/>
                  <a:gd name="T39" fmla="*/ 1 h 14"/>
                  <a:gd name="T40" fmla="*/ 12 w 18"/>
                  <a:gd name="T41" fmla="*/ 1 h 14"/>
                  <a:gd name="T42" fmla="*/ 11 w 18"/>
                  <a:gd name="T43" fmla="*/ 1 h 14"/>
                  <a:gd name="T44" fmla="*/ 9 w 18"/>
                  <a:gd name="T45" fmla="*/ 0 h 14"/>
                  <a:gd name="T46" fmla="*/ 7 w 18"/>
                  <a:gd name="T4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4">
                    <a:moveTo>
                      <a:pt x="7" y="0"/>
                    </a:moveTo>
                    <a:cubicBezTo>
                      <a:pt x="6" y="0"/>
                      <a:pt x="6" y="0"/>
                      <a:pt x="5" y="1"/>
                    </a:cubicBezTo>
                    <a:cubicBezTo>
                      <a:pt x="5" y="2"/>
                      <a:pt x="5" y="3"/>
                      <a:pt x="5" y="3"/>
                    </a:cubicBezTo>
                    <a:cubicBezTo>
                      <a:pt x="4" y="4"/>
                      <a:pt x="4" y="4"/>
                      <a:pt x="3" y="4"/>
                    </a:cubicBezTo>
                    <a:cubicBezTo>
                      <a:pt x="2" y="5"/>
                      <a:pt x="1" y="7"/>
                      <a:pt x="0" y="9"/>
                    </a:cubicBezTo>
                    <a:cubicBezTo>
                      <a:pt x="0" y="10"/>
                      <a:pt x="0" y="10"/>
                      <a:pt x="1" y="10"/>
                    </a:cubicBezTo>
                    <a:cubicBezTo>
                      <a:pt x="1" y="10"/>
                      <a:pt x="2" y="9"/>
                      <a:pt x="4" y="8"/>
                    </a:cubicBezTo>
                    <a:cubicBezTo>
                      <a:pt x="4" y="8"/>
                      <a:pt x="4" y="8"/>
                      <a:pt x="4" y="8"/>
                    </a:cubicBezTo>
                    <a:cubicBezTo>
                      <a:pt x="6" y="8"/>
                      <a:pt x="8" y="13"/>
                      <a:pt x="9" y="14"/>
                    </a:cubicBezTo>
                    <a:cubicBezTo>
                      <a:pt x="12" y="11"/>
                      <a:pt x="16" y="7"/>
                      <a:pt x="18" y="3"/>
                    </a:cubicBezTo>
                    <a:cubicBezTo>
                      <a:pt x="18" y="3"/>
                      <a:pt x="18" y="3"/>
                      <a:pt x="18" y="3"/>
                    </a:cubicBezTo>
                    <a:cubicBezTo>
                      <a:pt x="18" y="3"/>
                      <a:pt x="17" y="3"/>
                      <a:pt x="17" y="3"/>
                    </a:cubicBezTo>
                    <a:cubicBezTo>
                      <a:pt x="17" y="3"/>
                      <a:pt x="17" y="3"/>
                      <a:pt x="16" y="3"/>
                    </a:cubicBezTo>
                    <a:cubicBezTo>
                      <a:pt x="16" y="3"/>
                      <a:pt x="16" y="3"/>
                      <a:pt x="16" y="3"/>
                    </a:cubicBezTo>
                    <a:cubicBezTo>
                      <a:pt x="16" y="3"/>
                      <a:pt x="16" y="3"/>
                      <a:pt x="16" y="3"/>
                    </a:cubicBezTo>
                    <a:cubicBezTo>
                      <a:pt x="16" y="3"/>
                      <a:pt x="15" y="3"/>
                      <a:pt x="15" y="3"/>
                    </a:cubicBezTo>
                    <a:cubicBezTo>
                      <a:pt x="15" y="3"/>
                      <a:pt x="15" y="3"/>
                      <a:pt x="15" y="3"/>
                    </a:cubicBezTo>
                    <a:cubicBezTo>
                      <a:pt x="15" y="3"/>
                      <a:pt x="15" y="3"/>
                      <a:pt x="15" y="3"/>
                    </a:cubicBezTo>
                    <a:cubicBezTo>
                      <a:pt x="14" y="1"/>
                      <a:pt x="14" y="1"/>
                      <a:pt x="14" y="1"/>
                    </a:cubicBezTo>
                    <a:cubicBezTo>
                      <a:pt x="14" y="1"/>
                      <a:pt x="13" y="1"/>
                      <a:pt x="12" y="1"/>
                    </a:cubicBezTo>
                    <a:cubicBezTo>
                      <a:pt x="12" y="1"/>
                      <a:pt x="12" y="1"/>
                      <a:pt x="12" y="1"/>
                    </a:cubicBezTo>
                    <a:cubicBezTo>
                      <a:pt x="12" y="1"/>
                      <a:pt x="12" y="1"/>
                      <a:pt x="11" y="1"/>
                    </a:cubicBezTo>
                    <a:cubicBezTo>
                      <a:pt x="11" y="1"/>
                      <a:pt x="10" y="1"/>
                      <a:pt x="9"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4" name="Freeform 283">
                <a:extLst>
                  <a:ext uri="{FF2B5EF4-FFF2-40B4-BE49-F238E27FC236}">
                    <a16:creationId xmlns:a16="http://schemas.microsoft.com/office/drawing/2014/main" id="{69DAB1D5-E1C3-4F6C-97AC-AE3FE24F3FB6}"/>
                  </a:ext>
                </a:extLst>
              </p:cNvPr>
              <p:cNvSpPr>
                <a:spLocks/>
              </p:cNvSpPr>
              <p:nvPr/>
            </p:nvSpPr>
            <p:spPr bwMode="auto">
              <a:xfrm>
                <a:off x="9119" y="1108"/>
                <a:ext cx="99" cy="64"/>
              </a:xfrm>
              <a:custGeom>
                <a:avLst/>
                <a:gdLst>
                  <a:gd name="T0" fmla="*/ 40 w 42"/>
                  <a:gd name="T1" fmla="*/ 0 h 27"/>
                  <a:gd name="T2" fmla="*/ 27 w 42"/>
                  <a:gd name="T3" fmla="*/ 7 h 27"/>
                  <a:gd name="T4" fmla="*/ 26 w 42"/>
                  <a:gd name="T5" fmla="*/ 7 h 27"/>
                  <a:gd name="T6" fmla="*/ 23 w 42"/>
                  <a:gd name="T7" fmla="*/ 3 h 27"/>
                  <a:gd name="T8" fmla="*/ 22 w 42"/>
                  <a:gd name="T9" fmla="*/ 4 h 27"/>
                  <a:gd name="T10" fmla="*/ 22 w 42"/>
                  <a:gd name="T11" fmla="*/ 5 h 27"/>
                  <a:gd name="T12" fmla="*/ 20 w 42"/>
                  <a:gd name="T13" fmla="*/ 7 h 27"/>
                  <a:gd name="T14" fmla="*/ 15 w 42"/>
                  <a:gd name="T15" fmla="*/ 11 h 27"/>
                  <a:gd name="T16" fmla="*/ 8 w 42"/>
                  <a:gd name="T17" fmla="*/ 19 h 27"/>
                  <a:gd name="T18" fmla="*/ 3 w 42"/>
                  <a:gd name="T19" fmla="*/ 27 h 27"/>
                  <a:gd name="T20" fmla="*/ 4 w 42"/>
                  <a:gd name="T21" fmla="*/ 27 h 27"/>
                  <a:gd name="T22" fmla="*/ 6 w 42"/>
                  <a:gd name="T23" fmla="*/ 24 h 27"/>
                  <a:gd name="T24" fmla="*/ 10 w 42"/>
                  <a:gd name="T25" fmla="*/ 22 h 27"/>
                  <a:gd name="T26" fmla="*/ 13 w 42"/>
                  <a:gd name="T27" fmla="*/ 19 h 27"/>
                  <a:gd name="T28" fmla="*/ 16 w 42"/>
                  <a:gd name="T29" fmla="*/ 16 h 27"/>
                  <a:gd name="T30" fmla="*/ 19 w 42"/>
                  <a:gd name="T31" fmla="*/ 13 h 27"/>
                  <a:gd name="T32" fmla="*/ 19 w 42"/>
                  <a:gd name="T33" fmla="*/ 13 h 27"/>
                  <a:gd name="T34" fmla="*/ 19 w 42"/>
                  <a:gd name="T35" fmla="*/ 13 h 27"/>
                  <a:gd name="T36" fmla="*/ 20 w 42"/>
                  <a:gd name="T37" fmla="*/ 14 h 27"/>
                  <a:gd name="T38" fmla="*/ 20 w 42"/>
                  <a:gd name="T39" fmla="*/ 14 h 27"/>
                  <a:gd name="T40" fmla="*/ 23 w 42"/>
                  <a:gd name="T41" fmla="*/ 13 h 27"/>
                  <a:gd name="T42" fmla="*/ 25 w 42"/>
                  <a:gd name="T43" fmla="*/ 10 h 27"/>
                  <a:gd name="T44" fmla="*/ 34 w 42"/>
                  <a:gd name="T45" fmla="*/ 6 h 27"/>
                  <a:gd name="T46" fmla="*/ 39 w 42"/>
                  <a:gd name="T47" fmla="*/ 5 h 27"/>
                  <a:gd name="T48" fmla="*/ 40 w 42"/>
                  <a:gd name="T4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27">
                    <a:moveTo>
                      <a:pt x="40" y="0"/>
                    </a:moveTo>
                    <a:cubicBezTo>
                      <a:pt x="37" y="2"/>
                      <a:pt x="31" y="7"/>
                      <a:pt x="27" y="7"/>
                    </a:cubicBezTo>
                    <a:cubicBezTo>
                      <a:pt x="27" y="7"/>
                      <a:pt x="26" y="7"/>
                      <a:pt x="26" y="7"/>
                    </a:cubicBezTo>
                    <a:cubicBezTo>
                      <a:pt x="24" y="6"/>
                      <a:pt x="24" y="3"/>
                      <a:pt x="23" y="3"/>
                    </a:cubicBezTo>
                    <a:cubicBezTo>
                      <a:pt x="23" y="3"/>
                      <a:pt x="22" y="3"/>
                      <a:pt x="22" y="4"/>
                    </a:cubicBezTo>
                    <a:cubicBezTo>
                      <a:pt x="21" y="4"/>
                      <a:pt x="22" y="5"/>
                      <a:pt x="22" y="5"/>
                    </a:cubicBezTo>
                    <a:cubicBezTo>
                      <a:pt x="21" y="5"/>
                      <a:pt x="21" y="6"/>
                      <a:pt x="20" y="7"/>
                    </a:cubicBezTo>
                    <a:cubicBezTo>
                      <a:pt x="18" y="8"/>
                      <a:pt x="16" y="10"/>
                      <a:pt x="15" y="11"/>
                    </a:cubicBezTo>
                    <a:cubicBezTo>
                      <a:pt x="14" y="13"/>
                      <a:pt x="5" y="18"/>
                      <a:pt x="8" y="19"/>
                    </a:cubicBezTo>
                    <a:cubicBezTo>
                      <a:pt x="7" y="20"/>
                      <a:pt x="0" y="25"/>
                      <a:pt x="3" y="27"/>
                    </a:cubicBezTo>
                    <a:cubicBezTo>
                      <a:pt x="3" y="27"/>
                      <a:pt x="3" y="27"/>
                      <a:pt x="4" y="27"/>
                    </a:cubicBezTo>
                    <a:cubicBezTo>
                      <a:pt x="5" y="27"/>
                      <a:pt x="5" y="25"/>
                      <a:pt x="6" y="24"/>
                    </a:cubicBezTo>
                    <a:cubicBezTo>
                      <a:pt x="7" y="23"/>
                      <a:pt x="9" y="24"/>
                      <a:pt x="10" y="22"/>
                    </a:cubicBezTo>
                    <a:cubicBezTo>
                      <a:pt x="11" y="21"/>
                      <a:pt x="11" y="20"/>
                      <a:pt x="13" y="19"/>
                    </a:cubicBezTo>
                    <a:cubicBezTo>
                      <a:pt x="14" y="18"/>
                      <a:pt x="15" y="18"/>
                      <a:pt x="16" y="16"/>
                    </a:cubicBezTo>
                    <a:cubicBezTo>
                      <a:pt x="17" y="15"/>
                      <a:pt x="16" y="14"/>
                      <a:pt x="19" y="13"/>
                    </a:cubicBezTo>
                    <a:cubicBezTo>
                      <a:pt x="19" y="13"/>
                      <a:pt x="19" y="13"/>
                      <a:pt x="19" y="13"/>
                    </a:cubicBezTo>
                    <a:cubicBezTo>
                      <a:pt x="19" y="13"/>
                      <a:pt x="19" y="13"/>
                      <a:pt x="19" y="13"/>
                    </a:cubicBezTo>
                    <a:cubicBezTo>
                      <a:pt x="20" y="14"/>
                      <a:pt x="20" y="14"/>
                      <a:pt x="20" y="14"/>
                    </a:cubicBezTo>
                    <a:cubicBezTo>
                      <a:pt x="20" y="14"/>
                      <a:pt x="20" y="14"/>
                      <a:pt x="20" y="14"/>
                    </a:cubicBezTo>
                    <a:cubicBezTo>
                      <a:pt x="21" y="14"/>
                      <a:pt x="22" y="13"/>
                      <a:pt x="23" y="13"/>
                    </a:cubicBezTo>
                    <a:cubicBezTo>
                      <a:pt x="24" y="12"/>
                      <a:pt x="24" y="11"/>
                      <a:pt x="25" y="10"/>
                    </a:cubicBezTo>
                    <a:cubicBezTo>
                      <a:pt x="28" y="8"/>
                      <a:pt x="31" y="7"/>
                      <a:pt x="34" y="6"/>
                    </a:cubicBezTo>
                    <a:cubicBezTo>
                      <a:pt x="36" y="5"/>
                      <a:pt x="37" y="6"/>
                      <a:pt x="39" y="5"/>
                    </a:cubicBezTo>
                    <a:cubicBezTo>
                      <a:pt x="42" y="5"/>
                      <a:pt x="39" y="3"/>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5" name="Freeform 284">
                <a:extLst>
                  <a:ext uri="{FF2B5EF4-FFF2-40B4-BE49-F238E27FC236}">
                    <a16:creationId xmlns:a16="http://schemas.microsoft.com/office/drawing/2014/main" id="{7496BE29-70C4-409F-8591-DAC001FF08EF}"/>
                  </a:ext>
                </a:extLst>
              </p:cNvPr>
              <p:cNvSpPr>
                <a:spLocks/>
              </p:cNvSpPr>
              <p:nvPr/>
            </p:nvSpPr>
            <p:spPr bwMode="auto">
              <a:xfrm>
                <a:off x="5312" y="-1594"/>
                <a:ext cx="73" cy="11"/>
              </a:xfrm>
              <a:custGeom>
                <a:avLst/>
                <a:gdLst>
                  <a:gd name="T0" fmla="*/ 0 w 31"/>
                  <a:gd name="T1" fmla="*/ 0 h 5"/>
                  <a:gd name="T2" fmla="*/ 8 w 31"/>
                  <a:gd name="T3" fmla="*/ 3 h 5"/>
                  <a:gd name="T4" fmla="*/ 16 w 31"/>
                  <a:gd name="T5" fmla="*/ 5 h 5"/>
                  <a:gd name="T6" fmla="*/ 23 w 31"/>
                  <a:gd name="T7" fmla="*/ 5 h 5"/>
                  <a:gd name="T8" fmla="*/ 31 w 31"/>
                  <a:gd name="T9" fmla="*/ 2 h 5"/>
                  <a:gd name="T10" fmla="*/ 0 w 31"/>
                  <a:gd name="T11" fmla="*/ 0 h 5"/>
                </a:gdLst>
                <a:ahLst/>
                <a:cxnLst>
                  <a:cxn ang="0">
                    <a:pos x="T0" y="T1"/>
                  </a:cxn>
                  <a:cxn ang="0">
                    <a:pos x="T2" y="T3"/>
                  </a:cxn>
                  <a:cxn ang="0">
                    <a:pos x="T4" y="T5"/>
                  </a:cxn>
                  <a:cxn ang="0">
                    <a:pos x="T6" y="T7"/>
                  </a:cxn>
                  <a:cxn ang="0">
                    <a:pos x="T8" y="T9"/>
                  </a:cxn>
                  <a:cxn ang="0">
                    <a:pos x="T10" y="T11"/>
                  </a:cxn>
                </a:cxnLst>
                <a:rect l="0" t="0" r="r" b="b"/>
                <a:pathLst>
                  <a:path w="31" h="5">
                    <a:moveTo>
                      <a:pt x="0" y="0"/>
                    </a:moveTo>
                    <a:cubicBezTo>
                      <a:pt x="3" y="2"/>
                      <a:pt x="6" y="2"/>
                      <a:pt x="8" y="3"/>
                    </a:cubicBezTo>
                    <a:cubicBezTo>
                      <a:pt x="11" y="4"/>
                      <a:pt x="14" y="4"/>
                      <a:pt x="16" y="5"/>
                    </a:cubicBezTo>
                    <a:cubicBezTo>
                      <a:pt x="18" y="5"/>
                      <a:pt x="20" y="5"/>
                      <a:pt x="23" y="5"/>
                    </a:cubicBezTo>
                    <a:cubicBezTo>
                      <a:pt x="27" y="5"/>
                      <a:pt x="30" y="4"/>
                      <a:pt x="31" y="2"/>
                    </a:cubicBezTo>
                    <a:cubicBezTo>
                      <a:pt x="21" y="1"/>
                      <a:pt x="1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6" name="Freeform 285">
                <a:extLst>
                  <a:ext uri="{FF2B5EF4-FFF2-40B4-BE49-F238E27FC236}">
                    <a16:creationId xmlns:a16="http://schemas.microsoft.com/office/drawing/2014/main" id="{D8091C90-BF3C-452C-A8B4-442E0668DB0D}"/>
                  </a:ext>
                </a:extLst>
              </p:cNvPr>
              <p:cNvSpPr>
                <a:spLocks/>
              </p:cNvSpPr>
              <p:nvPr/>
            </p:nvSpPr>
            <p:spPr bwMode="auto">
              <a:xfrm>
                <a:off x="9195" y="-1100"/>
                <a:ext cx="47" cy="14"/>
              </a:xfrm>
              <a:custGeom>
                <a:avLst/>
                <a:gdLst>
                  <a:gd name="T0" fmla="*/ 19 w 20"/>
                  <a:gd name="T1" fmla="*/ 0 h 6"/>
                  <a:gd name="T2" fmla="*/ 17 w 20"/>
                  <a:gd name="T3" fmla="*/ 1 h 6"/>
                  <a:gd name="T4" fmla="*/ 14 w 20"/>
                  <a:gd name="T5" fmla="*/ 1 h 6"/>
                  <a:gd name="T6" fmla="*/ 14 w 20"/>
                  <a:gd name="T7" fmla="*/ 1 h 6"/>
                  <a:gd name="T8" fmla="*/ 14 w 20"/>
                  <a:gd name="T9" fmla="*/ 1 h 6"/>
                  <a:gd name="T10" fmla="*/ 9 w 20"/>
                  <a:gd name="T11" fmla="*/ 2 h 6"/>
                  <a:gd name="T12" fmla="*/ 0 w 20"/>
                  <a:gd name="T13" fmla="*/ 6 h 6"/>
                  <a:gd name="T14" fmla="*/ 20 w 20"/>
                  <a:gd name="T15" fmla="*/ 0 h 6"/>
                  <a:gd name="T16" fmla="*/ 19 w 2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6">
                    <a:moveTo>
                      <a:pt x="19" y="0"/>
                    </a:moveTo>
                    <a:cubicBezTo>
                      <a:pt x="18" y="0"/>
                      <a:pt x="18" y="1"/>
                      <a:pt x="17" y="1"/>
                    </a:cubicBezTo>
                    <a:cubicBezTo>
                      <a:pt x="16" y="1"/>
                      <a:pt x="15" y="1"/>
                      <a:pt x="14" y="1"/>
                    </a:cubicBezTo>
                    <a:cubicBezTo>
                      <a:pt x="14" y="1"/>
                      <a:pt x="14" y="1"/>
                      <a:pt x="14" y="1"/>
                    </a:cubicBezTo>
                    <a:cubicBezTo>
                      <a:pt x="14" y="1"/>
                      <a:pt x="14" y="1"/>
                      <a:pt x="14" y="1"/>
                    </a:cubicBezTo>
                    <a:cubicBezTo>
                      <a:pt x="12" y="1"/>
                      <a:pt x="11" y="1"/>
                      <a:pt x="9" y="2"/>
                    </a:cubicBezTo>
                    <a:cubicBezTo>
                      <a:pt x="6" y="2"/>
                      <a:pt x="2" y="3"/>
                      <a:pt x="0" y="6"/>
                    </a:cubicBezTo>
                    <a:cubicBezTo>
                      <a:pt x="7" y="4"/>
                      <a:pt x="13" y="2"/>
                      <a:pt x="20" y="0"/>
                    </a:cubicBezTo>
                    <a:cubicBezTo>
                      <a:pt x="19" y="0"/>
                      <a:pt x="19"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7" name="Freeform 286">
                <a:extLst>
                  <a:ext uri="{FF2B5EF4-FFF2-40B4-BE49-F238E27FC236}">
                    <a16:creationId xmlns:a16="http://schemas.microsoft.com/office/drawing/2014/main" id="{B6A9BDDA-6A12-4381-8729-E78CB1F00231}"/>
                  </a:ext>
                </a:extLst>
              </p:cNvPr>
              <p:cNvSpPr>
                <a:spLocks/>
              </p:cNvSpPr>
              <p:nvPr/>
            </p:nvSpPr>
            <p:spPr bwMode="auto">
              <a:xfrm>
                <a:off x="8611" y="-869"/>
                <a:ext cx="40" cy="31"/>
              </a:xfrm>
              <a:custGeom>
                <a:avLst/>
                <a:gdLst>
                  <a:gd name="T0" fmla="*/ 0 w 17"/>
                  <a:gd name="T1" fmla="*/ 0 h 13"/>
                  <a:gd name="T2" fmla="*/ 13 w 17"/>
                  <a:gd name="T3" fmla="*/ 13 h 13"/>
                  <a:gd name="T4" fmla="*/ 14 w 17"/>
                  <a:gd name="T5" fmla="*/ 13 h 13"/>
                  <a:gd name="T6" fmla="*/ 12 w 17"/>
                  <a:gd name="T7" fmla="*/ 7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1" y="2"/>
                      <a:pt x="10" y="13"/>
                      <a:pt x="13" y="13"/>
                    </a:cubicBezTo>
                    <a:cubicBezTo>
                      <a:pt x="14" y="13"/>
                      <a:pt x="14" y="13"/>
                      <a:pt x="14" y="13"/>
                    </a:cubicBezTo>
                    <a:cubicBezTo>
                      <a:pt x="17" y="10"/>
                      <a:pt x="15" y="9"/>
                      <a:pt x="12" y="7"/>
                    </a:cubicBezTo>
                    <a:cubicBezTo>
                      <a:pt x="9" y="4"/>
                      <a:pt x="4"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8" name="Freeform 287">
                <a:extLst>
                  <a:ext uri="{FF2B5EF4-FFF2-40B4-BE49-F238E27FC236}">
                    <a16:creationId xmlns:a16="http://schemas.microsoft.com/office/drawing/2014/main" id="{BBB6C43A-90D6-4D02-B3D8-E571E0B7392E}"/>
                  </a:ext>
                </a:extLst>
              </p:cNvPr>
              <p:cNvSpPr>
                <a:spLocks/>
              </p:cNvSpPr>
              <p:nvPr/>
            </p:nvSpPr>
            <p:spPr bwMode="auto">
              <a:xfrm>
                <a:off x="5014" y="-1561"/>
                <a:ext cx="104" cy="23"/>
              </a:xfrm>
              <a:custGeom>
                <a:avLst/>
                <a:gdLst>
                  <a:gd name="T0" fmla="*/ 19 w 44"/>
                  <a:gd name="T1" fmla="*/ 0 h 10"/>
                  <a:gd name="T2" fmla="*/ 17 w 44"/>
                  <a:gd name="T3" fmla="*/ 0 h 10"/>
                  <a:gd name="T4" fmla="*/ 19 w 44"/>
                  <a:gd name="T5" fmla="*/ 5 h 10"/>
                  <a:gd name="T6" fmla="*/ 7 w 44"/>
                  <a:gd name="T7" fmla="*/ 4 h 10"/>
                  <a:gd name="T8" fmla="*/ 3 w 44"/>
                  <a:gd name="T9" fmla="*/ 4 h 10"/>
                  <a:gd name="T10" fmla="*/ 3 w 44"/>
                  <a:gd name="T11" fmla="*/ 4 h 10"/>
                  <a:gd name="T12" fmla="*/ 0 w 44"/>
                  <a:gd name="T13" fmla="*/ 7 h 10"/>
                  <a:gd name="T14" fmla="*/ 4 w 44"/>
                  <a:gd name="T15" fmla="*/ 9 h 10"/>
                  <a:gd name="T16" fmla="*/ 12 w 44"/>
                  <a:gd name="T17" fmla="*/ 7 h 10"/>
                  <a:gd name="T18" fmla="*/ 13 w 44"/>
                  <a:gd name="T19" fmla="*/ 7 h 10"/>
                  <a:gd name="T20" fmla="*/ 15 w 44"/>
                  <a:gd name="T21" fmla="*/ 8 h 10"/>
                  <a:gd name="T22" fmla="*/ 16 w 44"/>
                  <a:gd name="T23" fmla="*/ 9 h 10"/>
                  <a:gd name="T24" fmla="*/ 18 w 44"/>
                  <a:gd name="T25" fmla="*/ 10 h 10"/>
                  <a:gd name="T26" fmla="*/ 21 w 44"/>
                  <a:gd name="T27" fmla="*/ 9 h 10"/>
                  <a:gd name="T28" fmla="*/ 32 w 44"/>
                  <a:gd name="T29" fmla="*/ 6 h 10"/>
                  <a:gd name="T30" fmla="*/ 44 w 44"/>
                  <a:gd name="T31" fmla="*/ 5 h 10"/>
                  <a:gd name="T32" fmla="*/ 23 w 44"/>
                  <a:gd name="T33" fmla="*/ 0 h 10"/>
                  <a:gd name="T34" fmla="*/ 19 w 44"/>
                  <a:gd name="T3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10">
                    <a:moveTo>
                      <a:pt x="19" y="0"/>
                    </a:moveTo>
                    <a:cubicBezTo>
                      <a:pt x="18" y="0"/>
                      <a:pt x="17" y="0"/>
                      <a:pt x="17" y="0"/>
                    </a:cubicBezTo>
                    <a:cubicBezTo>
                      <a:pt x="15" y="2"/>
                      <a:pt x="18" y="5"/>
                      <a:pt x="19" y="5"/>
                    </a:cubicBezTo>
                    <a:cubicBezTo>
                      <a:pt x="15" y="5"/>
                      <a:pt x="11" y="4"/>
                      <a:pt x="7" y="4"/>
                    </a:cubicBezTo>
                    <a:cubicBezTo>
                      <a:pt x="6" y="4"/>
                      <a:pt x="4" y="4"/>
                      <a:pt x="3" y="4"/>
                    </a:cubicBezTo>
                    <a:cubicBezTo>
                      <a:pt x="3" y="4"/>
                      <a:pt x="3" y="4"/>
                      <a:pt x="3" y="4"/>
                    </a:cubicBezTo>
                    <a:cubicBezTo>
                      <a:pt x="1" y="4"/>
                      <a:pt x="1" y="6"/>
                      <a:pt x="0" y="7"/>
                    </a:cubicBezTo>
                    <a:cubicBezTo>
                      <a:pt x="2" y="8"/>
                      <a:pt x="3" y="9"/>
                      <a:pt x="4" y="9"/>
                    </a:cubicBezTo>
                    <a:cubicBezTo>
                      <a:pt x="7" y="9"/>
                      <a:pt x="10" y="8"/>
                      <a:pt x="12" y="7"/>
                    </a:cubicBezTo>
                    <a:cubicBezTo>
                      <a:pt x="13" y="7"/>
                      <a:pt x="13" y="7"/>
                      <a:pt x="13" y="7"/>
                    </a:cubicBezTo>
                    <a:cubicBezTo>
                      <a:pt x="14" y="7"/>
                      <a:pt x="15" y="7"/>
                      <a:pt x="15" y="8"/>
                    </a:cubicBezTo>
                    <a:cubicBezTo>
                      <a:pt x="16" y="8"/>
                      <a:pt x="16" y="9"/>
                      <a:pt x="16" y="9"/>
                    </a:cubicBezTo>
                    <a:cubicBezTo>
                      <a:pt x="17" y="10"/>
                      <a:pt x="18" y="10"/>
                      <a:pt x="18" y="10"/>
                    </a:cubicBezTo>
                    <a:cubicBezTo>
                      <a:pt x="19" y="10"/>
                      <a:pt x="20" y="9"/>
                      <a:pt x="21" y="9"/>
                    </a:cubicBezTo>
                    <a:cubicBezTo>
                      <a:pt x="25" y="7"/>
                      <a:pt x="28" y="6"/>
                      <a:pt x="32" y="6"/>
                    </a:cubicBezTo>
                    <a:cubicBezTo>
                      <a:pt x="36" y="5"/>
                      <a:pt x="40" y="6"/>
                      <a:pt x="44" y="5"/>
                    </a:cubicBezTo>
                    <a:cubicBezTo>
                      <a:pt x="38" y="1"/>
                      <a:pt x="30" y="1"/>
                      <a:pt x="23" y="0"/>
                    </a:cubicBezTo>
                    <a:cubicBezTo>
                      <a:pt x="22" y="0"/>
                      <a:pt x="21"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9" name="Freeform 288">
                <a:extLst>
                  <a:ext uri="{FF2B5EF4-FFF2-40B4-BE49-F238E27FC236}">
                    <a16:creationId xmlns:a16="http://schemas.microsoft.com/office/drawing/2014/main" id="{72F10DF3-242A-485F-ABEC-F4FE83A99BE3}"/>
                  </a:ext>
                </a:extLst>
              </p:cNvPr>
              <p:cNvSpPr>
                <a:spLocks/>
              </p:cNvSpPr>
              <p:nvPr/>
            </p:nvSpPr>
            <p:spPr bwMode="auto">
              <a:xfrm>
                <a:off x="5220" y="-1531"/>
                <a:ext cx="71" cy="19"/>
              </a:xfrm>
              <a:custGeom>
                <a:avLst/>
                <a:gdLst>
                  <a:gd name="T0" fmla="*/ 30 w 30"/>
                  <a:gd name="T1" fmla="*/ 0 h 8"/>
                  <a:gd name="T2" fmla="*/ 0 w 30"/>
                  <a:gd name="T3" fmla="*/ 4 h 8"/>
                  <a:gd name="T4" fmla="*/ 14 w 30"/>
                  <a:gd name="T5" fmla="*/ 8 h 8"/>
                  <a:gd name="T6" fmla="*/ 18 w 30"/>
                  <a:gd name="T7" fmla="*/ 8 h 8"/>
                  <a:gd name="T8" fmla="*/ 25 w 30"/>
                  <a:gd name="T9" fmla="*/ 5 h 8"/>
                  <a:gd name="T10" fmla="*/ 28 w 30"/>
                  <a:gd name="T11" fmla="*/ 3 h 8"/>
                  <a:gd name="T12" fmla="*/ 30 w 3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0" h="8">
                    <a:moveTo>
                      <a:pt x="30" y="0"/>
                    </a:moveTo>
                    <a:cubicBezTo>
                      <a:pt x="20" y="1"/>
                      <a:pt x="10" y="3"/>
                      <a:pt x="0" y="4"/>
                    </a:cubicBezTo>
                    <a:cubicBezTo>
                      <a:pt x="4" y="7"/>
                      <a:pt x="9" y="8"/>
                      <a:pt x="14" y="8"/>
                    </a:cubicBezTo>
                    <a:cubicBezTo>
                      <a:pt x="15" y="8"/>
                      <a:pt x="16" y="8"/>
                      <a:pt x="18" y="8"/>
                    </a:cubicBezTo>
                    <a:cubicBezTo>
                      <a:pt x="20" y="7"/>
                      <a:pt x="23" y="6"/>
                      <a:pt x="25" y="5"/>
                    </a:cubicBezTo>
                    <a:cubicBezTo>
                      <a:pt x="26" y="4"/>
                      <a:pt x="27" y="4"/>
                      <a:pt x="28" y="3"/>
                    </a:cubicBezTo>
                    <a:cubicBezTo>
                      <a:pt x="29" y="2"/>
                      <a:pt x="29" y="1"/>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0" name="Freeform 289">
                <a:extLst>
                  <a:ext uri="{FF2B5EF4-FFF2-40B4-BE49-F238E27FC236}">
                    <a16:creationId xmlns:a16="http://schemas.microsoft.com/office/drawing/2014/main" id="{4EC5E769-CD48-4FFE-ABED-2DADAE37291F}"/>
                  </a:ext>
                </a:extLst>
              </p:cNvPr>
              <p:cNvSpPr>
                <a:spLocks/>
              </p:cNvSpPr>
              <p:nvPr/>
            </p:nvSpPr>
            <p:spPr bwMode="auto">
              <a:xfrm>
                <a:off x="8670" y="541"/>
                <a:ext cx="19" cy="16"/>
              </a:xfrm>
              <a:custGeom>
                <a:avLst/>
                <a:gdLst>
                  <a:gd name="T0" fmla="*/ 8 w 8"/>
                  <a:gd name="T1" fmla="*/ 0 h 7"/>
                  <a:gd name="T2" fmla="*/ 7 w 8"/>
                  <a:gd name="T3" fmla="*/ 0 h 7"/>
                  <a:gd name="T4" fmla="*/ 7 w 8"/>
                  <a:gd name="T5" fmla="*/ 1 h 7"/>
                  <a:gd name="T6" fmla="*/ 7 w 8"/>
                  <a:gd name="T7" fmla="*/ 1 h 7"/>
                  <a:gd name="T8" fmla="*/ 6 w 8"/>
                  <a:gd name="T9" fmla="*/ 1 h 7"/>
                  <a:gd name="T10" fmla="*/ 0 w 8"/>
                  <a:gd name="T11" fmla="*/ 7 h 7"/>
                  <a:gd name="T12" fmla="*/ 8 w 8"/>
                  <a:gd name="T13" fmla="*/ 1 h 7"/>
                  <a:gd name="T14" fmla="*/ 8 w 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8" y="0"/>
                    </a:moveTo>
                    <a:cubicBezTo>
                      <a:pt x="8" y="0"/>
                      <a:pt x="8" y="0"/>
                      <a:pt x="7" y="0"/>
                    </a:cubicBezTo>
                    <a:cubicBezTo>
                      <a:pt x="7" y="1"/>
                      <a:pt x="7" y="1"/>
                      <a:pt x="7" y="1"/>
                    </a:cubicBezTo>
                    <a:cubicBezTo>
                      <a:pt x="7" y="1"/>
                      <a:pt x="7" y="1"/>
                      <a:pt x="7" y="1"/>
                    </a:cubicBezTo>
                    <a:cubicBezTo>
                      <a:pt x="6" y="1"/>
                      <a:pt x="6" y="1"/>
                      <a:pt x="6" y="1"/>
                    </a:cubicBezTo>
                    <a:cubicBezTo>
                      <a:pt x="3" y="2"/>
                      <a:pt x="0" y="3"/>
                      <a:pt x="0" y="7"/>
                    </a:cubicBezTo>
                    <a:cubicBezTo>
                      <a:pt x="4" y="6"/>
                      <a:pt x="7" y="6"/>
                      <a:pt x="8" y="1"/>
                    </a:cubicBezTo>
                    <a:cubicBezTo>
                      <a:pt x="8" y="1"/>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1" name="Freeform 290">
                <a:extLst>
                  <a:ext uri="{FF2B5EF4-FFF2-40B4-BE49-F238E27FC236}">
                    <a16:creationId xmlns:a16="http://schemas.microsoft.com/office/drawing/2014/main" id="{52AE8436-6D3F-4917-905E-AE41CDFD1917}"/>
                  </a:ext>
                </a:extLst>
              </p:cNvPr>
              <p:cNvSpPr>
                <a:spLocks/>
              </p:cNvSpPr>
              <p:nvPr/>
            </p:nvSpPr>
            <p:spPr bwMode="auto">
              <a:xfrm>
                <a:off x="5158" y="-1427"/>
                <a:ext cx="55" cy="19"/>
              </a:xfrm>
              <a:custGeom>
                <a:avLst/>
                <a:gdLst>
                  <a:gd name="T0" fmla="*/ 13 w 23"/>
                  <a:gd name="T1" fmla="*/ 0 h 8"/>
                  <a:gd name="T2" fmla="*/ 0 w 23"/>
                  <a:gd name="T3" fmla="*/ 3 h 8"/>
                  <a:gd name="T4" fmla="*/ 12 w 23"/>
                  <a:gd name="T5" fmla="*/ 8 h 8"/>
                  <a:gd name="T6" fmla="*/ 20 w 23"/>
                  <a:gd name="T7" fmla="*/ 6 h 8"/>
                  <a:gd name="T8" fmla="*/ 17 w 23"/>
                  <a:gd name="T9" fmla="*/ 0 h 8"/>
                  <a:gd name="T10" fmla="*/ 13 w 23"/>
                  <a:gd name="T11" fmla="*/ 0 h 8"/>
                </a:gdLst>
                <a:ahLst/>
                <a:cxnLst>
                  <a:cxn ang="0">
                    <a:pos x="T0" y="T1"/>
                  </a:cxn>
                  <a:cxn ang="0">
                    <a:pos x="T2" y="T3"/>
                  </a:cxn>
                  <a:cxn ang="0">
                    <a:pos x="T4" y="T5"/>
                  </a:cxn>
                  <a:cxn ang="0">
                    <a:pos x="T6" y="T7"/>
                  </a:cxn>
                  <a:cxn ang="0">
                    <a:pos x="T8" y="T9"/>
                  </a:cxn>
                  <a:cxn ang="0">
                    <a:pos x="T10" y="T11"/>
                  </a:cxn>
                </a:cxnLst>
                <a:rect l="0" t="0" r="r" b="b"/>
                <a:pathLst>
                  <a:path w="23" h="8">
                    <a:moveTo>
                      <a:pt x="13" y="0"/>
                    </a:moveTo>
                    <a:cubicBezTo>
                      <a:pt x="9" y="0"/>
                      <a:pt x="3" y="1"/>
                      <a:pt x="0" y="3"/>
                    </a:cubicBezTo>
                    <a:cubicBezTo>
                      <a:pt x="4" y="5"/>
                      <a:pt x="8" y="7"/>
                      <a:pt x="12" y="8"/>
                    </a:cubicBezTo>
                    <a:cubicBezTo>
                      <a:pt x="14" y="7"/>
                      <a:pt x="17" y="7"/>
                      <a:pt x="20" y="6"/>
                    </a:cubicBezTo>
                    <a:cubicBezTo>
                      <a:pt x="23" y="3"/>
                      <a:pt x="20" y="1"/>
                      <a:pt x="17" y="0"/>
                    </a:cubicBezTo>
                    <a:cubicBezTo>
                      <a:pt x="16" y="0"/>
                      <a:pt x="15"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2" name="Freeform 291">
                <a:extLst>
                  <a:ext uri="{FF2B5EF4-FFF2-40B4-BE49-F238E27FC236}">
                    <a16:creationId xmlns:a16="http://schemas.microsoft.com/office/drawing/2014/main" id="{90A43AFB-FC8C-4058-8521-52F7A72C35AB}"/>
                  </a:ext>
                </a:extLst>
              </p:cNvPr>
              <p:cNvSpPr>
                <a:spLocks/>
              </p:cNvSpPr>
              <p:nvPr/>
            </p:nvSpPr>
            <p:spPr bwMode="auto">
              <a:xfrm>
                <a:off x="8819" y="-871"/>
                <a:ext cx="52" cy="33"/>
              </a:xfrm>
              <a:custGeom>
                <a:avLst/>
                <a:gdLst>
                  <a:gd name="T0" fmla="*/ 11 w 22"/>
                  <a:gd name="T1" fmla="*/ 0 h 14"/>
                  <a:gd name="T2" fmla="*/ 6 w 22"/>
                  <a:gd name="T3" fmla="*/ 0 h 14"/>
                  <a:gd name="T4" fmla="*/ 1 w 22"/>
                  <a:gd name="T5" fmla="*/ 6 h 14"/>
                  <a:gd name="T6" fmla="*/ 8 w 22"/>
                  <a:gd name="T7" fmla="*/ 14 h 14"/>
                  <a:gd name="T8" fmla="*/ 14 w 22"/>
                  <a:gd name="T9" fmla="*/ 12 h 14"/>
                  <a:gd name="T10" fmla="*/ 18 w 22"/>
                  <a:gd name="T11" fmla="*/ 11 h 14"/>
                  <a:gd name="T12" fmla="*/ 16 w 22"/>
                  <a:gd name="T13" fmla="*/ 0 h 14"/>
                  <a:gd name="T14" fmla="*/ 1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1" y="0"/>
                    </a:moveTo>
                    <a:cubicBezTo>
                      <a:pt x="9" y="0"/>
                      <a:pt x="8" y="0"/>
                      <a:pt x="6" y="0"/>
                    </a:cubicBezTo>
                    <a:cubicBezTo>
                      <a:pt x="3" y="1"/>
                      <a:pt x="1" y="3"/>
                      <a:pt x="1" y="6"/>
                    </a:cubicBezTo>
                    <a:cubicBezTo>
                      <a:pt x="0" y="10"/>
                      <a:pt x="5" y="12"/>
                      <a:pt x="8" y="14"/>
                    </a:cubicBezTo>
                    <a:cubicBezTo>
                      <a:pt x="10" y="14"/>
                      <a:pt x="12" y="13"/>
                      <a:pt x="14" y="12"/>
                    </a:cubicBezTo>
                    <a:cubicBezTo>
                      <a:pt x="15" y="12"/>
                      <a:pt x="17" y="11"/>
                      <a:pt x="18" y="11"/>
                    </a:cubicBezTo>
                    <a:cubicBezTo>
                      <a:pt x="22" y="8"/>
                      <a:pt x="20" y="1"/>
                      <a:pt x="16" y="0"/>
                    </a:cubicBezTo>
                    <a:cubicBezTo>
                      <a:pt x="15" y="0"/>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3" name="Freeform 292">
                <a:extLst>
                  <a:ext uri="{FF2B5EF4-FFF2-40B4-BE49-F238E27FC236}">
                    <a16:creationId xmlns:a16="http://schemas.microsoft.com/office/drawing/2014/main" id="{D0D2522D-6D6F-4885-9AF2-93D277395206}"/>
                  </a:ext>
                </a:extLst>
              </p:cNvPr>
              <p:cNvSpPr>
                <a:spLocks/>
              </p:cNvSpPr>
              <p:nvPr/>
            </p:nvSpPr>
            <p:spPr bwMode="auto">
              <a:xfrm>
                <a:off x="4946" y="-1502"/>
                <a:ext cx="87" cy="12"/>
              </a:xfrm>
              <a:custGeom>
                <a:avLst/>
                <a:gdLst>
                  <a:gd name="T0" fmla="*/ 0 w 37"/>
                  <a:gd name="T1" fmla="*/ 0 h 5"/>
                  <a:gd name="T2" fmla="*/ 5 w 37"/>
                  <a:gd name="T3" fmla="*/ 2 h 5"/>
                  <a:gd name="T4" fmla="*/ 11 w 37"/>
                  <a:gd name="T5" fmla="*/ 2 h 5"/>
                  <a:gd name="T6" fmla="*/ 11 w 37"/>
                  <a:gd name="T7" fmla="*/ 2 h 5"/>
                  <a:gd name="T8" fmla="*/ 14 w 37"/>
                  <a:gd name="T9" fmla="*/ 5 h 5"/>
                  <a:gd name="T10" fmla="*/ 16 w 37"/>
                  <a:gd name="T11" fmla="*/ 5 h 5"/>
                  <a:gd name="T12" fmla="*/ 19 w 37"/>
                  <a:gd name="T13" fmla="*/ 4 h 5"/>
                  <a:gd name="T14" fmla="*/ 37 w 37"/>
                  <a:gd name="T15" fmla="*/ 1 h 5"/>
                  <a:gd name="T16" fmla="*/ 0 w 3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
                    <a:moveTo>
                      <a:pt x="0" y="0"/>
                    </a:moveTo>
                    <a:cubicBezTo>
                      <a:pt x="1" y="2"/>
                      <a:pt x="3" y="2"/>
                      <a:pt x="5" y="2"/>
                    </a:cubicBezTo>
                    <a:cubicBezTo>
                      <a:pt x="7" y="2"/>
                      <a:pt x="8" y="2"/>
                      <a:pt x="11" y="2"/>
                    </a:cubicBezTo>
                    <a:cubicBezTo>
                      <a:pt x="11" y="2"/>
                      <a:pt x="11" y="2"/>
                      <a:pt x="11" y="2"/>
                    </a:cubicBezTo>
                    <a:cubicBezTo>
                      <a:pt x="13" y="2"/>
                      <a:pt x="13" y="4"/>
                      <a:pt x="14" y="5"/>
                    </a:cubicBezTo>
                    <a:cubicBezTo>
                      <a:pt x="15" y="5"/>
                      <a:pt x="15" y="5"/>
                      <a:pt x="16" y="5"/>
                    </a:cubicBezTo>
                    <a:cubicBezTo>
                      <a:pt x="17" y="5"/>
                      <a:pt x="18" y="5"/>
                      <a:pt x="19" y="4"/>
                    </a:cubicBezTo>
                    <a:cubicBezTo>
                      <a:pt x="25" y="3"/>
                      <a:pt x="31" y="3"/>
                      <a:pt x="37" y="1"/>
                    </a:cubicBezTo>
                    <a:cubicBezTo>
                      <a:pt x="25" y="1"/>
                      <a:pt x="1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4" name="Freeform 293">
                <a:extLst>
                  <a:ext uri="{FF2B5EF4-FFF2-40B4-BE49-F238E27FC236}">
                    <a16:creationId xmlns:a16="http://schemas.microsoft.com/office/drawing/2014/main" id="{5D910106-8DEE-47DC-ABB9-A75F31EB3A5A}"/>
                  </a:ext>
                </a:extLst>
              </p:cNvPr>
              <p:cNvSpPr>
                <a:spLocks/>
              </p:cNvSpPr>
              <p:nvPr/>
            </p:nvSpPr>
            <p:spPr bwMode="auto">
              <a:xfrm>
                <a:off x="9344" y="1018"/>
                <a:ext cx="23" cy="19"/>
              </a:xfrm>
              <a:custGeom>
                <a:avLst/>
                <a:gdLst>
                  <a:gd name="T0" fmla="*/ 10 w 10"/>
                  <a:gd name="T1" fmla="*/ 0 h 8"/>
                  <a:gd name="T2" fmla="*/ 0 w 10"/>
                  <a:gd name="T3" fmla="*/ 8 h 8"/>
                  <a:gd name="T4" fmla="*/ 2 w 10"/>
                  <a:gd name="T5" fmla="*/ 8 h 8"/>
                  <a:gd name="T6" fmla="*/ 10 w 10"/>
                  <a:gd name="T7" fmla="*/ 0 h 8"/>
                </a:gdLst>
                <a:ahLst/>
                <a:cxnLst>
                  <a:cxn ang="0">
                    <a:pos x="T0" y="T1"/>
                  </a:cxn>
                  <a:cxn ang="0">
                    <a:pos x="T2" y="T3"/>
                  </a:cxn>
                  <a:cxn ang="0">
                    <a:pos x="T4" y="T5"/>
                  </a:cxn>
                  <a:cxn ang="0">
                    <a:pos x="T6" y="T7"/>
                  </a:cxn>
                </a:cxnLst>
                <a:rect l="0" t="0" r="r" b="b"/>
                <a:pathLst>
                  <a:path w="10" h="8">
                    <a:moveTo>
                      <a:pt x="10" y="0"/>
                    </a:moveTo>
                    <a:cubicBezTo>
                      <a:pt x="6" y="3"/>
                      <a:pt x="3" y="5"/>
                      <a:pt x="0" y="8"/>
                    </a:cubicBezTo>
                    <a:cubicBezTo>
                      <a:pt x="1" y="8"/>
                      <a:pt x="1" y="8"/>
                      <a:pt x="2" y="8"/>
                    </a:cubicBezTo>
                    <a:cubicBezTo>
                      <a:pt x="5" y="8"/>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 name="Freeform 294">
                <a:extLst>
                  <a:ext uri="{FF2B5EF4-FFF2-40B4-BE49-F238E27FC236}">
                    <a16:creationId xmlns:a16="http://schemas.microsoft.com/office/drawing/2014/main" id="{36C0F619-85DD-4C98-91B5-A6F35AF8E922}"/>
                  </a:ext>
                </a:extLst>
              </p:cNvPr>
              <p:cNvSpPr>
                <a:spLocks/>
              </p:cNvSpPr>
              <p:nvPr/>
            </p:nvSpPr>
            <p:spPr bwMode="auto">
              <a:xfrm>
                <a:off x="9400" y="980"/>
                <a:ext cx="5" cy="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1" y="0"/>
                      <a:pt x="0"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 name="Freeform 295">
                <a:extLst>
                  <a:ext uri="{FF2B5EF4-FFF2-40B4-BE49-F238E27FC236}">
                    <a16:creationId xmlns:a16="http://schemas.microsoft.com/office/drawing/2014/main" id="{A51A620D-5CAB-4D83-8DCD-EDDACE186C12}"/>
                  </a:ext>
                </a:extLst>
              </p:cNvPr>
              <p:cNvSpPr>
                <a:spLocks/>
              </p:cNvSpPr>
              <p:nvPr/>
            </p:nvSpPr>
            <p:spPr bwMode="auto">
              <a:xfrm>
                <a:off x="9377" y="1004"/>
                <a:ext cx="4" cy="5"/>
              </a:xfrm>
              <a:custGeom>
                <a:avLst/>
                <a:gdLst>
                  <a:gd name="T0" fmla="*/ 1 w 2"/>
                  <a:gd name="T1" fmla="*/ 0 h 2"/>
                  <a:gd name="T2" fmla="*/ 0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1"/>
                      <a:pt x="0" y="2"/>
                    </a:cubicBezTo>
                    <a:cubicBezTo>
                      <a:pt x="2"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 name="Freeform 296">
                <a:extLst>
                  <a:ext uri="{FF2B5EF4-FFF2-40B4-BE49-F238E27FC236}">
                    <a16:creationId xmlns:a16="http://schemas.microsoft.com/office/drawing/2014/main" id="{690B8C3F-F766-487F-997A-52B645CD8A8A}"/>
                  </a:ext>
                </a:extLst>
              </p:cNvPr>
              <p:cNvSpPr>
                <a:spLocks/>
              </p:cNvSpPr>
              <p:nvPr/>
            </p:nvSpPr>
            <p:spPr bwMode="auto">
              <a:xfrm>
                <a:off x="9473" y="874"/>
                <a:ext cx="15" cy="19"/>
              </a:xfrm>
              <a:custGeom>
                <a:avLst/>
                <a:gdLst>
                  <a:gd name="T0" fmla="*/ 5 w 6"/>
                  <a:gd name="T1" fmla="*/ 0 h 8"/>
                  <a:gd name="T2" fmla="*/ 4 w 6"/>
                  <a:gd name="T3" fmla="*/ 0 h 8"/>
                  <a:gd name="T4" fmla="*/ 0 w 6"/>
                  <a:gd name="T5" fmla="*/ 8 h 8"/>
                  <a:gd name="T6" fmla="*/ 5 w 6"/>
                  <a:gd name="T7" fmla="*/ 4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5" y="0"/>
                      <a:pt x="4" y="0"/>
                      <a:pt x="4" y="0"/>
                    </a:cubicBezTo>
                    <a:cubicBezTo>
                      <a:pt x="2" y="2"/>
                      <a:pt x="1" y="6"/>
                      <a:pt x="0" y="8"/>
                    </a:cubicBezTo>
                    <a:cubicBezTo>
                      <a:pt x="4" y="8"/>
                      <a:pt x="4" y="8"/>
                      <a:pt x="5" y="4"/>
                    </a:cubicBezTo>
                    <a:cubicBezTo>
                      <a:pt x="5" y="3"/>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 name="Freeform 297">
                <a:extLst>
                  <a:ext uri="{FF2B5EF4-FFF2-40B4-BE49-F238E27FC236}">
                    <a16:creationId xmlns:a16="http://schemas.microsoft.com/office/drawing/2014/main" id="{3BC4CCBF-81D2-420A-A866-15C3DCFF1573}"/>
                  </a:ext>
                </a:extLst>
              </p:cNvPr>
              <p:cNvSpPr>
                <a:spLocks/>
              </p:cNvSpPr>
              <p:nvPr/>
            </p:nvSpPr>
            <p:spPr bwMode="auto">
              <a:xfrm>
                <a:off x="6064" y="-1519"/>
                <a:ext cx="68" cy="19"/>
              </a:xfrm>
              <a:custGeom>
                <a:avLst/>
                <a:gdLst>
                  <a:gd name="T0" fmla="*/ 16 w 29"/>
                  <a:gd name="T1" fmla="*/ 0 h 8"/>
                  <a:gd name="T2" fmla="*/ 12 w 29"/>
                  <a:gd name="T3" fmla="*/ 1 h 8"/>
                  <a:gd name="T4" fmla="*/ 7 w 29"/>
                  <a:gd name="T5" fmla="*/ 1 h 8"/>
                  <a:gd name="T6" fmla="*/ 7 w 29"/>
                  <a:gd name="T7" fmla="*/ 1 h 8"/>
                  <a:gd name="T8" fmla="*/ 5 w 29"/>
                  <a:gd name="T9" fmla="*/ 8 h 8"/>
                  <a:gd name="T10" fmla="*/ 8 w 29"/>
                  <a:gd name="T11" fmla="*/ 8 h 8"/>
                  <a:gd name="T12" fmla="*/ 13 w 29"/>
                  <a:gd name="T13" fmla="*/ 8 h 8"/>
                  <a:gd name="T14" fmla="*/ 29 w 29"/>
                  <a:gd name="T15" fmla="*/ 2 h 8"/>
                  <a:gd name="T16" fmla="*/ 18 w 29"/>
                  <a:gd name="T17" fmla="*/ 1 h 8"/>
                  <a:gd name="T18" fmla="*/ 16 w 2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8">
                    <a:moveTo>
                      <a:pt x="16" y="0"/>
                    </a:moveTo>
                    <a:cubicBezTo>
                      <a:pt x="15" y="0"/>
                      <a:pt x="13" y="1"/>
                      <a:pt x="12" y="1"/>
                    </a:cubicBezTo>
                    <a:cubicBezTo>
                      <a:pt x="10" y="1"/>
                      <a:pt x="9" y="1"/>
                      <a:pt x="7" y="1"/>
                    </a:cubicBezTo>
                    <a:cubicBezTo>
                      <a:pt x="7" y="1"/>
                      <a:pt x="7" y="1"/>
                      <a:pt x="7" y="1"/>
                    </a:cubicBezTo>
                    <a:cubicBezTo>
                      <a:pt x="5" y="3"/>
                      <a:pt x="0" y="7"/>
                      <a:pt x="5" y="8"/>
                    </a:cubicBezTo>
                    <a:cubicBezTo>
                      <a:pt x="6" y="8"/>
                      <a:pt x="7" y="8"/>
                      <a:pt x="8" y="8"/>
                    </a:cubicBezTo>
                    <a:cubicBezTo>
                      <a:pt x="9" y="8"/>
                      <a:pt x="11" y="8"/>
                      <a:pt x="13" y="8"/>
                    </a:cubicBezTo>
                    <a:cubicBezTo>
                      <a:pt x="18" y="7"/>
                      <a:pt x="26" y="8"/>
                      <a:pt x="29" y="2"/>
                    </a:cubicBezTo>
                    <a:cubicBezTo>
                      <a:pt x="26" y="2"/>
                      <a:pt x="22" y="2"/>
                      <a:pt x="18" y="1"/>
                    </a:cubicBezTo>
                    <a:cubicBezTo>
                      <a:pt x="18"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 name="Freeform 298">
                <a:extLst>
                  <a:ext uri="{FF2B5EF4-FFF2-40B4-BE49-F238E27FC236}">
                    <a16:creationId xmlns:a16="http://schemas.microsoft.com/office/drawing/2014/main" id="{55A9ACD0-F51B-4E19-8638-8CB1FB2FFB9B}"/>
                  </a:ext>
                </a:extLst>
              </p:cNvPr>
              <p:cNvSpPr>
                <a:spLocks/>
              </p:cNvSpPr>
              <p:nvPr/>
            </p:nvSpPr>
            <p:spPr bwMode="auto">
              <a:xfrm>
                <a:off x="5324" y="-1542"/>
                <a:ext cx="137" cy="54"/>
              </a:xfrm>
              <a:custGeom>
                <a:avLst/>
                <a:gdLst>
                  <a:gd name="T0" fmla="*/ 42 w 58"/>
                  <a:gd name="T1" fmla="*/ 0 h 23"/>
                  <a:gd name="T2" fmla="*/ 41 w 58"/>
                  <a:gd name="T3" fmla="*/ 1 h 23"/>
                  <a:gd name="T4" fmla="*/ 36 w 58"/>
                  <a:gd name="T5" fmla="*/ 2 h 23"/>
                  <a:gd name="T6" fmla="*/ 33 w 58"/>
                  <a:gd name="T7" fmla="*/ 4 h 23"/>
                  <a:gd name="T8" fmla="*/ 31 w 58"/>
                  <a:gd name="T9" fmla="*/ 10 h 23"/>
                  <a:gd name="T10" fmla="*/ 28 w 58"/>
                  <a:gd name="T11" fmla="*/ 10 h 23"/>
                  <a:gd name="T12" fmla="*/ 26 w 58"/>
                  <a:gd name="T13" fmla="*/ 10 h 23"/>
                  <a:gd name="T14" fmla="*/ 21 w 58"/>
                  <a:gd name="T15" fmla="*/ 10 h 23"/>
                  <a:gd name="T16" fmla="*/ 11 w 58"/>
                  <a:gd name="T17" fmla="*/ 13 h 23"/>
                  <a:gd name="T18" fmla="*/ 7 w 58"/>
                  <a:gd name="T19" fmla="*/ 15 h 23"/>
                  <a:gd name="T20" fmla="*/ 3 w 58"/>
                  <a:gd name="T21" fmla="*/ 18 h 23"/>
                  <a:gd name="T22" fmla="*/ 12 w 58"/>
                  <a:gd name="T23" fmla="*/ 23 h 23"/>
                  <a:gd name="T24" fmla="*/ 15 w 58"/>
                  <a:gd name="T25" fmla="*/ 23 h 23"/>
                  <a:gd name="T26" fmla="*/ 21 w 58"/>
                  <a:gd name="T27" fmla="*/ 22 h 23"/>
                  <a:gd name="T28" fmla="*/ 58 w 58"/>
                  <a:gd name="T29" fmla="*/ 13 h 23"/>
                  <a:gd name="T30" fmla="*/ 56 w 58"/>
                  <a:gd name="T31" fmla="*/ 10 h 23"/>
                  <a:gd name="T32" fmla="*/ 55 w 58"/>
                  <a:gd name="T33" fmla="*/ 6 h 23"/>
                  <a:gd name="T34" fmla="*/ 52 w 58"/>
                  <a:gd name="T35" fmla="*/ 3 h 23"/>
                  <a:gd name="T36" fmla="*/ 42 w 58"/>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23">
                    <a:moveTo>
                      <a:pt x="42" y="0"/>
                    </a:moveTo>
                    <a:cubicBezTo>
                      <a:pt x="42" y="0"/>
                      <a:pt x="41" y="0"/>
                      <a:pt x="41" y="1"/>
                    </a:cubicBezTo>
                    <a:cubicBezTo>
                      <a:pt x="39" y="1"/>
                      <a:pt x="37" y="1"/>
                      <a:pt x="36" y="2"/>
                    </a:cubicBezTo>
                    <a:cubicBezTo>
                      <a:pt x="35" y="2"/>
                      <a:pt x="34" y="3"/>
                      <a:pt x="33" y="4"/>
                    </a:cubicBezTo>
                    <a:cubicBezTo>
                      <a:pt x="32" y="5"/>
                      <a:pt x="33" y="10"/>
                      <a:pt x="31" y="10"/>
                    </a:cubicBezTo>
                    <a:cubicBezTo>
                      <a:pt x="30" y="10"/>
                      <a:pt x="29" y="10"/>
                      <a:pt x="28" y="10"/>
                    </a:cubicBezTo>
                    <a:cubicBezTo>
                      <a:pt x="27" y="10"/>
                      <a:pt x="27" y="10"/>
                      <a:pt x="26" y="10"/>
                    </a:cubicBezTo>
                    <a:cubicBezTo>
                      <a:pt x="24" y="10"/>
                      <a:pt x="23" y="10"/>
                      <a:pt x="21" y="10"/>
                    </a:cubicBezTo>
                    <a:cubicBezTo>
                      <a:pt x="17" y="10"/>
                      <a:pt x="14" y="11"/>
                      <a:pt x="11" y="13"/>
                    </a:cubicBezTo>
                    <a:cubicBezTo>
                      <a:pt x="9" y="14"/>
                      <a:pt x="8" y="14"/>
                      <a:pt x="7" y="15"/>
                    </a:cubicBezTo>
                    <a:cubicBezTo>
                      <a:pt x="4" y="15"/>
                      <a:pt x="0" y="16"/>
                      <a:pt x="3" y="18"/>
                    </a:cubicBezTo>
                    <a:cubicBezTo>
                      <a:pt x="6" y="20"/>
                      <a:pt x="9" y="21"/>
                      <a:pt x="12" y="23"/>
                    </a:cubicBezTo>
                    <a:cubicBezTo>
                      <a:pt x="13" y="23"/>
                      <a:pt x="14" y="23"/>
                      <a:pt x="15" y="23"/>
                    </a:cubicBezTo>
                    <a:cubicBezTo>
                      <a:pt x="17" y="23"/>
                      <a:pt x="19" y="23"/>
                      <a:pt x="21" y="22"/>
                    </a:cubicBezTo>
                    <a:cubicBezTo>
                      <a:pt x="33" y="19"/>
                      <a:pt x="46" y="16"/>
                      <a:pt x="58" y="13"/>
                    </a:cubicBezTo>
                    <a:cubicBezTo>
                      <a:pt x="58" y="11"/>
                      <a:pt x="57" y="11"/>
                      <a:pt x="56" y="10"/>
                    </a:cubicBezTo>
                    <a:cubicBezTo>
                      <a:pt x="55" y="9"/>
                      <a:pt x="55" y="7"/>
                      <a:pt x="55" y="6"/>
                    </a:cubicBezTo>
                    <a:cubicBezTo>
                      <a:pt x="54" y="4"/>
                      <a:pt x="54" y="3"/>
                      <a:pt x="52" y="3"/>
                    </a:cubicBezTo>
                    <a:cubicBezTo>
                      <a:pt x="49" y="1"/>
                      <a:pt x="46"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 name="Freeform 299">
                <a:extLst>
                  <a:ext uri="{FF2B5EF4-FFF2-40B4-BE49-F238E27FC236}">
                    <a16:creationId xmlns:a16="http://schemas.microsoft.com/office/drawing/2014/main" id="{18EE7398-A2BF-41DD-BDAF-BF7B2596BB37}"/>
                  </a:ext>
                </a:extLst>
              </p:cNvPr>
              <p:cNvSpPr>
                <a:spLocks/>
              </p:cNvSpPr>
              <p:nvPr/>
            </p:nvSpPr>
            <p:spPr bwMode="auto">
              <a:xfrm>
                <a:off x="7531" y="-895"/>
                <a:ext cx="92" cy="41"/>
              </a:xfrm>
              <a:custGeom>
                <a:avLst/>
                <a:gdLst>
                  <a:gd name="T0" fmla="*/ 13 w 39"/>
                  <a:gd name="T1" fmla="*/ 0 h 17"/>
                  <a:gd name="T2" fmla="*/ 10 w 39"/>
                  <a:gd name="T3" fmla="*/ 1 h 17"/>
                  <a:gd name="T4" fmla="*/ 10 w 39"/>
                  <a:gd name="T5" fmla="*/ 6 h 17"/>
                  <a:gd name="T6" fmla="*/ 0 w 39"/>
                  <a:gd name="T7" fmla="*/ 9 h 17"/>
                  <a:gd name="T8" fmla="*/ 6 w 39"/>
                  <a:gd name="T9" fmla="*/ 12 h 17"/>
                  <a:gd name="T10" fmla="*/ 12 w 39"/>
                  <a:gd name="T11" fmla="*/ 14 h 17"/>
                  <a:gd name="T12" fmla="*/ 19 w 39"/>
                  <a:gd name="T13" fmla="*/ 16 h 17"/>
                  <a:gd name="T14" fmla="*/ 26 w 39"/>
                  <a:gd name="T15" fmla="*/ 17 h 17"/>
                  <a:gd name="T16" fmla="*/ 37 w 39"/>
                  <a:gd name="T17" fmla="*/ 6 h 17"/>
                  <a:gd name="T18" fmla="*/ 32 w 39"/>
                  <a:gd name="T19" fmla="*/ 2 h 17"/>
                  <a:gd name="T20" fmla="*/ 22 w 39"/>
                  <a:gd name="T21" fmla="*/ 1 h 17"/>
                  <a:gd name="T22" fmla="*/ 13 w 39"/>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7">
                    <a:moveTo>
                      <a:pt x="13" y="0"/>
                    </a:moveTo>
                    <a:cubicBezTo>
                      <a:pt x="12" y="0"/>
                      <a:pt x="11" y="0"/>
                      <a:pt x="10" y="1"/>
                    </a:cubicBezTo>
                    <a:cubicBezTo>
                      <a:pt x="9" y="3"/>
                      <a:pt x="11" y="4"/>
                      <a:pt x="10" y="6"/>
                    </a:cubicBezTo>
                    <a:cubicBezTo>
                      <a:pt x="8" y="8"/>
                      <a:pt x="3" y="7"/>
                      <a:pt x="0" y="9"/>
                    </a:cubicBezTo>
                    <a:cubicBezTo>
                      <a:pt x="1" y="11"/>
                      <a:pt x="4" y="11"/>
                      <a:pt x="6" y="12"/>
                    </a:cubicBezTo>
                    <a:cubicBezTo>
                      <a:pt x="9" y="12"/>
                      <a:pt x="10" y="13"/>
                      <a:pt x="12" y="14"/>
                    </a:cubicBezTo>
                    <a:cubicBezTo>
                      <a:pt x="14" y="16"/>
                      <a:pt x="16" y="15"/>
                      <a:pt x="19" y="16"/>
                    </a:cubicBezTo>
                    <a:cubicBezTo>
                      <a:pt x="21" y="16"/>
                      <a:pt x="23" y="17"/>
                      <a:pt x="26" y="17"/>
                    </a:cubicBezTo>
                    <a:cubicBezTo>
                      <a:pt x="29" y="13"/>
                      <a:pt x="33" y="10"/>
                      <a:pt x="37" y="6"/>
                    </a:cubicBezTo>
                    <a:cubicBezTo>
                      <a:pt x="39" y="4"/>
                      <a:pt x="34" y="2"/>
                      <a:pt x="32" y="2"/>
                    </a:cubicBezTo>
                    <a:cubicBezTo>
                      <a:pt x="29" y="1"/>
                      <a:pt x="25" y="2"/>
                      <a:pt x="22" y="1"/>
                    </a:cubicBezTo>
                    <a:cubicBezTo>
                      <a:pt x="20" y="1"/>
                      <a:pt x="16"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 name="Freeform 300">
                <a:extLst>
                  <a:ext uri="{FF2B5EF4-FFF2-40B4-BE49-F238E27FC236}">
                    <a16:creationId xmlns:a16="http://schemas.microsoft.com/office/drawing/2014/main" id="{450F87F0-BDD0-4469-AD05-B60F2A4F16F1}"/>
                  </a:ext>
                </a:extLst>
              </p:cNvPr>
              <p:cNvSpPr>
                <a:spLocks/>
              </p:cNvSpPr>
              <p:nvPr/>
            </p:nvSpPr>
            <p:spPr bwMode="auto">
              <a:xfrm>
                <a:off x="5118" y="-1611"/>
                <a:ext cx="69" cy="17"/>
              </a:xfrm>
              <a:custGeom>
                <a:avLst/>
                <a:gdLst>
                  <a:gd name="T0" fmla="*/ 18 w 29"/>
                  <a:gd name="T1" fmla="*/ 0 h 7"/>
                  <a:gd name="T2" fmla="*/ 11 w 29"/>
                  <a:gd name="T3" fmla="*/ 1 h 7"/>
                  <a:gd name="T4" fmla="*/ 4 w 29"/>
                  <a:gd name="T5" fmla="*/ 3 h 7"/>
                  <a:gd name="T6" fmla="*/ 4 w 29"/>
                  <a:gd name="T7" fmla="*/ 7 h 7"/>
                  <a:gd name="T8" fmla="*/ 17 w 29"/>
                  <a:gd name="T9" fmla="*/ 5 h 7"/>
                  <a:gd name="T10" fmla="*/ 18 w 29"/>
                  <a:gd name="T11" fmla="*/ 5 h 7"/>
                  <a:gd name="T12" fmla="*/ 22 w 29"/>
                  <a:gd name="T13" fmla="*/ 6 h 7"/>
                  <a:gd name="T14" fmla="*/ 29 w 29"/>
                  <a:gd name="T15" fmla="*/ 2 h 7"/>
                  <a:gd name="T16" fmla="*/ 18 w 2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18" y="0"/>
                    </a:moveTo>
                    <a:cubicBezTo>
                      <a:pt x="15" y="0"/>
                      <a:pt x="13" y="1"/>
                      <a:pt x="11" y="1"/>
                    </a:cubicBezTo>
                    <a:cubicBezTo>
                      <a:pt x="9" y="1"/>
                      <a:pt x="1" y="1"/>
                      <a:pt x="4" y="3"/>
                    </a:cubicBezTo>
                    <a:cubicBezTo>
                      <a:pt x="0" y="5"/>
                      <a:pt x="0" y="6"/>
                      <a:pt x="4" y="7"/>
                    </a:cubicBezTo>
                    <a:cubicBezTo>
                      <a:pt x="8" y="7"/>
                      <a:pt x="12" y="5"/>
                      <a:pt x="17" y="5"/>
                    </a:cubicBezTo>
                    <a:cubicBezTo>
                      <a:pt x="17" y="5"/>
                      <a:pt x="17" y="5"/>
                      <a:pt x="18" y="5"/>
                    </a:cubicBezTo>
                    <a:cubicBezTo>
                      <a:pt x="19" y="5"/>
                      <a:pt x="20" y="6"/>
                      <a:pt x="22" y="6"/>
                    </a:cubicBezTo>
                    <a:cubicBezTo>
                      <a:pt x="25" y="6"/>
                      <a:pt x="28" y="5"/>
                      <a:pt x="29" y="2"/>
                    </a:cubicBezTo>
                    <a:cubicBezTo>
                      <a:pt x="26" y="1"/>
                      <a:pt x="22"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 name="Freeform 301">
                <a:extLst>
                  <a:ext uri="{FF2B5EF4-FFF2-40B4-BE49-F238E27FC236}">
                    <a16:creationId xmlns:a16="http://schemas.microsoft.com/office/drawing/2014/main" id="{7BD6B76B-BEC0-49AA-9D3A-343891C8A85B}"/>
                  </a:ext>
                </a:extLst>
              </p:cNvPr>
              <p:cNvSpPr>
                <a:spLocks/>
              </p:cNvSpPr>
              <p:nvPr/>
            </p:nvSpPr>
            <p:spPr bwMode="auto">
              <a:xfrm>
                <a:off x="4865" y="-625"/>
                <a:ext cx="45" cy="35"/>
              </a:xfrm>
              <a:custGeom>
                <a:avLst/>
                <a:gdLst>
                  <a:gd name="T0" fmla="*/ 7 w 19"/>
                  <a:gd name="T1" fmla="*/ 0 h 15"/>
                  <a:gd name="T2" fmla="*/ 0 w 19"/>
                  <a:gd name="T3" fmla="*/ 3 h 15"/>
                  <a:gd name="T4" fmla="*/ 14 w 19"/>
                  <a:gd name="T5" fmla="*/ 15 h 15"/>
                  <a:gd name="T6" fmla="*/ 16 w 19"/>
                  <a:gd name="T7" fmla="*/ 15 h 15"/>
                  <a:gd name="T8" fmla="*/ 16 w 19"/>
                  <a:gd name="T9" fmla="*/ 13 h 15"/>
                  <a:gd name="T10" fmla="*/ 17 w 19"/>
                  <a:gd name="T11" fmla="*/ 11 h 15"/>
                  <a:gd name="T12" fmla="*/ 19 w 19"/>
                  <a:gd name="T13" fmla="*/ 6 h 15"/>
                  <a:gd name="T14" fmla="*/ 13 w 19"/>
                  <a:gd name="T15" fmla="*/ 4 h 15"/>
                  <a:gd name="T16" fmla="*/ 10 w 19"/>
                  <a:gd name="T17" fmla="*/ 2 h 15"/>
                  <a:gd name="T18" fmla="*/ 15 w 19"/>
                  <a:gd name="T19" fmla="*/ 5 h 15"/>
                  <a:gd name="T20" fmla="*/ 7 w 19"/>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5">
                    <a:moveTo>
                      <a:pt x="7" y="0"/>
                    </a:moveTo>
                    <a:cubicBezTo>
                      <a:pt x="5" y="0"/>
                      <a:pt x="2" y="1"/>
                      <a:pt x="0" y="3"/>
                    </a:cubicBezTo>
                    <a:cubicBezTo>
                      <a:pt x="4" y="7"/>
                      <a:pt x="9" y="11"/>
                      <a:pt x="14" y="15"/>
                    </a:cubicBezTo>
                    <a:cubicBezTo>
                      <a:pt x="15" y="15"/>
                      <a:pt x="15" y="15"/>
                      <a:pt x="16" y="15"/>
                    </a:cubicBezTo>
                    <a:cubicBezTo>
                      <a:pt x="17" y="15"/>
                      <a:pt x="17" y="14"/>
                      <a:pt x="16" y="13"/>
                    </a:cubicBezTo>
                    <a:cubicBezTo>
                      <a:pt x="15" y="11"/>
                      <a:pt x="17" y="12"/>
                      <a:pt x="17" y="11"/>
                    </a:cubicBezTo>
                    <a:cubicBezTo>
                      <a:pt x="18" y="10"/>
                      <a:pt x="19" y="8"/>
                      <a:pt x="19" y="6"/>
                    </a:cubicBezTo>
                    <a:cubicBezTo>
                      <a:pt x="18" y="6"/>
                      <a:pt x="14" y="5"/>
                      <a:pt x="13" y="4"/>
                    </a:cubicBezTo>
                    <a:cubicBezTo>
                      <a:pt x="11" y="3"/>
                      <a:pt x="11" y="3"/>
                      <a:pt x="10" y="2"/>
                    </a:cubicBezTo>
                    <a:cubicBezTo>
                      <a:pt x="12" y="2"/>
                      <a:pt x="13" y="4"/>
                      <a:pt x="15" y="5"/>
                    </a:cubicBezTo>
                    <a:cubicBezTo>
                      <a:pt x="13" y="2"/>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 name="Freeform 302">
                <a:extLst>
                  <a:ext uri="{FF2B5EF4-FFF2-40B4-BE49-F238E27FC236}">
                    <a16:creationId xmlns:a16="http://schemas.microsoft.com/office/drawing/2014/main" id="{94B47607-9310-4962-8548-6CFDB0495F82}"/>
                  </a:ext>
                </a:extLst>
              </p:cNvPr>
              <p:cNvSpPr>
                <a:spLocks/>
              </p:cNvSpPr>
              <p:nvPr/>
            </p:nvSpPr>
            <p:spPr bwMode="auto">
              <a:xfrm>
                <a:off x="9242" y="1070"/>
                <a:ext cx="50" cy="36"/>
              </a:xfrm>
              <a:custGeom>
                <a:avLst/>
                <a:gdLst>
                  <a:gd name="T0" fmla="*/ 18 w 21"/>
                  <a:gd name="T1" fmla="*/ 0 h 15"/>
                  <a:gd name="T2" fmla="*/ 16 w 21"/>
                  <a:gd name="T3" fmla="*/ 1 h 15"/>
                  <a:gd name="T4" fmla="*/ 14 w 21"/>
                  <a:gd name="T5" fmla="*/ 2 h 15"/>
                  <a:gd name="T6" fmla="*/ 11 w 21"/>
                  <a:gd name="T7" fmla="*/ 4 h 15"/>
                  <a:gd name="T8" fmla="*/ 0 w 21"/>
                  <a:gd name="T9" fmla="*/ 15 h 15"/>
                  <a:gd name="T10" fmla="*/ 1 w 21"/>
                  <a:gd name="T11" fmla="*/ 15 h 15"/>
                  <a:gd name="T12" fmla="*/ 2 w 21"/>
                  <a:gd name="T13" fmla="*/ 14 h 15"/>
                  <a:gd name="T14" fmla="*/ 3 w 21"/>
                  <a:gd name="T15" fmla="*/ 14 h 15"/>
                  <a:gd name="T16" fmla="*/ 21 w 21"/>
                  <a:gd name="T17" fmla="*/ 0 h 15"/>
                  <a:gd name="T18" fmla="*/ 20 w 21"/>
                  <a:gd name="T19" fmla="*/ 0 h 15"/>
                  <a:gd name="T20" fmla="*/ 19 w 21"/>
                  <a:gd name="T21" fmla="*/ 0 h 15"/>
                  <a:gd name="T22" fmla="*/ 18 w 2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18" y="0"/>
                    </a:moveTo>
                    <a:cubicBezTo>
                      <a:pt x="17" y="0"/>
                      <a:pt x="17" y="0"/>
                      <a:pt x="16" y="1"/>
                    </a:cubicBezTo>
                    <a:cubicBezTo>
                      <a:pt x="15" y="1"/>
                      <a:pt x="15" y="2"/>
                      <a:pt x="14" y="2"/>
                    </a:cubicBezTo>
                    <a:cubicBezTo>
                      <a:pt x="13" y="3"/>
                      <a:pt x="12" y="3"/>
                      <a:pt x="11" y="4"/>
                    </a:cubicBezTo>
                    <a:cubicBezTo>
                      <a:pt x="7" y="8"/>
                      <a:pt x="3" y="11"/>
                      <a:pt x="0" y="15"/>
                    </a:cubicBezTo>
                    <a:cubicBezTo>
                      <a:pt x="0" y="15"/>
                      <a:pt x="1" y="15"/>
                      <a:pt x="1" y="15"/>
                    </a:cubicBezTo>
                    <a:cubicBezTo>
                      <a:pt x="2" y="15"/>
                      <a:pt x="2" y="15"/>
                      <a:pt x="2" y="14"/>
                    </a:cubicBezTo>
                    <a:cubicBezTo>
                      <a:pt x="3" y="14"/>
                      <a:pt x="3" y="14"/>
                      <a:pt x="3" y="14"/>
                    </a:cubicBezTo>
                    <a:cubicBezTo>
                      <a:pt x="6" y="14"/>
                      <a:pt x="20" y="1"/>
                      <a:pt x="21" y="0"/>
                    </a:cubicBezTo>
                    <a:cubicBezTo>
                      <a:pt x="21" y="0"/>
                      <a:pt x="20" y="0"/>
                      <a:pt x="20" y="0"/>
                    </a:cubicBezTo>
                    <a:cubicBezTo>
                      <a:pt x="20" y="0"/>
                      <a:pt x="19" y="0"/>
                      <a:pt x="19" y="0"/>
                    </a:cubicBez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 name="Freeform 303">
                <a:extLst>
                  <a:ext uri="{FF2B5EF4-FFF2-40B4-BE49-F238E27FC236}">
                    <a16:creationId xmlns:a16="http://schemas.microsoft.com/office/drawing/2014/main" id="{2A8C2509-2E99-49CD-B3FE-EB7B31406820}"/>
                  </a:ext>
                </a:extLst>
              </p:cNvPr>
              <p:cNvSpPr>
                <a:spLocks/>
              </p:cNvSpPr>
              <p:nvPr/>
            </p:nvSpPr>
            <p:spPr bwMode="auto">
              <a:xfrm>
                <a:off x="5080" y="-1467"/>
                <a:ext cx="100" cy="43"/>
              </a:xfrm>
              <a:custGeom>
                <a:avLst/>
                <a:gdLst>
                  <a:gd name="T0" fmla="*/ 15 w 42"/>
                  <a:gd name="T1" fmla="*/ 0 h 18"/>
                  <a:gd name="T2" fmla="*/ 15 w 42"/>
                  <a:gd name="T3" fmla="*/ 0 h 18"/>
                  <a:gd name="T4" fmla="*/ 9 w 42"/>
                  <a:gd name="T5" fmla="*/ 0 h 18"/>
                  <a:gd name="T6" fmla="*/ 8 w 42"/>
                  <a:gd name="T7" fmla="*/ 0 h 18"/>
                  <a:gd name="T8" fmla="*/ 4 w 42"/>
                  <a:gd name="T9" fmla="*/ 0 h 18"/>
                  <a:gd name="T10" fmla="*/ 2 w 42"/>
                  <a:gd name="T11" fmla="*/ 0 h 18"/>
                  <a:gd name="T12" fmla="*/ 1 w 42"/>
                  <a:gd name="T13" fmla="*/ 4 h 18"/>
                  <a:gd name="T14" fmla="*/ 3 w 42"/>
                  <a:gd name="T15" fmla="*/ 10 h 18"/>
                  <a:gd name="T16" fmla="*/ 12 w 42"/>
                  <a:gd name="T17" fmla="*/ 17 h 18"/>
                  <a:gd name="T18" fmla="*/ 17 w 42"/>
                  <a:gd name="T19" fmla="*/ 18 h 18"/>
                  <a:gd name="T20" fmla="*/ 18 w 42"/>
                  <a:gd name="T21" fmla="*/ 17 h 18"/>
                  <a:gd name="T22" fmla="*/ 21 w 42"/>
                  <a:gd name="T23" fmla="*/ 13 h 18"/>
                  <a:gd name="T24" fmla="*/ 21 w 42"/>
                  <a:gd name="T25" fmla="*/ 13 h 18"/>
                  <a:gd name="T26" fmla="*/ 25 w 42"/>
                  <a:gd name="T27" fmla="*/ 14 h 18"/>
                  <a:gd name="T28" fmla="*/ 26 w 42"/>
                  <a:gd name="T29" fmla="*/ 11 h 18"/>
                  <a:gd name="T30" fmla="*/ 24 w 42"/>
                  <a:gd name="T31" fmla="*/ 9 h 18"/>
                  <a:gd name="T32" fmla="*/ 28 w 42"/>
                  <a:gd name="T33" fmla="*/ 8 h 18"/>
                  <a:gd name="T34" fmla="*/ 32 w 42"/>
                  <a:gd name="T35" fmla="*/ 7 h 18"/>
                  <a:gd name="T36" fmla="*/ 32 w 42"/>
                  <a:gd name="T37" fmla="*/ 7 h 18"/>
                  <a:gd name="T38" fmla="*/ 40 w 42"/>
                  <a:gd name="T39" fmla="*/ 7 h 18"/>
                  <a:gd name="T40" fmla="*/ 42 w 42"/>
                  <a:gd name="T41" fmla="*/ 7 h 18"/>
                  <a:gd name="T42" fmla="*/ 28 w 42"/>
                  <a:gd name="T43" fmla="*/ 1 h 18"/>
                  <a:gd name="T44" fmla="*/ 15 w 42"/>
                  <a:gd name="T4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18">
                    <a:moveTo>
                      <a:pt x="15" y="0"/>
                    </a:moveTo>
                    <a:cubicBezTo>
                      <a:pt x="15" y="0"/>
                      <a:pt x="15" y="0"/>
                      <a:pt x="15" y="0"/>
                    </a:cubicBezTo>
                    <a:cubicBezTo>
                      <a:pt x="13" y="0"/>
                      <a:pt x="11" y="0"/>
                      <a:pt x="9" y="0"/>
                    </a:cubicBezTo>
                    <a:cubicBezTo>
                      <a:pt x="9" y="0"/>
                      <a:pt x="8" y="0"/>
                      <a:pt x="8" y="0"/>
                    </a:cubicBezTo>
                    <a:cubicBezTo>
                      <a:pt x="7" y="0"/>
                      <a:pt x="6" y="0"/>
                      <a:pt x="4" y="0"/>
                    </a:cubicBezTo>
                    <a:cubicBezTo>
                      <a:pt x="3" y="0"/>
                      <a:pt x="2" y="0"/>
                      <a:pt x="2" y="0"/>
                    </a:cubicBezTo>
                    <a:cubicBezTo>
                      <a:pt x="0" y="1"/>
                      <a:pt x="0" y="2"/>
                      <a:pt x="1" y="4"/>
                    </a:cubicBezTo>
                    <a:cubicBezTo>
                      <a:pt x="1" y="6"/>
                      <a:pt x="3" y="8"/>
                      <a:pt x="3" y="10"/>
                    </a:cubicBezTo>
                    <a:cubicBezTo>
                      <a:pt x="5" y="15"/>
                      <a:pt x="7" y="15"/>
                      <a:pt x="12" y="17"/>
                    </a:cubicBezTo>
                    <a:cubicBezTo>
                      <a:pt x="13" y="17"/>
                      <a:pt x="15" y="18"/>
                      <a:pt x="17" y="18"/>
                    </a:cubicBezTo>
                    <a:cubicBezTo>
                      <a:pt x="17" y="18"/>
                      <a:pt x="18" y="17"/>
                      <a:pt x="18" y="17"/>
                    </a:cubicBezTo>
                    <a:cubicBezTo>
                      <a:pt x="20" y="16"/>
                      <a:pt x="18" y="13"/>
                      <a:pt x="21" y="13"/>
                    </a:cubicBezTo>
                    <a:cubicBezTo>
                      <a:pt x="21" y="13"/>
                      <a:pt x="21" y="13"/>
                      <a:pt x="21" y="13"/>
                    </a:cubicBezTo>
                    <a:cubicBezTo>
                      <a:pt x="22" y="13"/>
                      <a:pt x="24" y="14"/>
                      <a:pt x="25" y="14"/>
                    </a:cubicBezTo>
                    <a:cubicBezTo>
                      <a:pt x="27" y="14"/>
                      <a:pt x="29" y="13"/>
                      <a:pt x="26" y="11"/>
                    </a:cubicBezTo>
                    <a:cubicBezTo>
                      <a:pt x="26" y="11"/>
                      <a:pt x="23" y="10"/>
                      <a:pt x="24" y="9"/>
                    </a:cubicBezTo>
                    <a:cubicBezTo>
                      <a:pt x="24" y="8"/>
                      <a:pt x="26" y="8"/>
                      <a:pt x="28" y="8"/>
                    </a:cubicBezTo>
                    <a:cubicBezTo>
                      <a:pt x="29" y="8"/>
                      <a:pt x="30" y="7"/>
                      <a:pt x="32" y="7"/>
                    </a:cubicBezTo>
                    <a:cubicBezTo>
                      <a:pt x="32" y="7"/>
                      <a:pt x="32" y="7"/>
                      <a:pt x="32" y="7"/>
                    </a:cubicBezTo>
                    <a:cubicBezTo>
                      <a:pt x="35" y="7"/>
                      <a:pt x="37" y="7"/>
                      <a:pt x="40" y="7"/>
                    </a:cubicBezTo>
                    <a:cubicBezTo>
                      <a:pt x="41" y="7"/>
                      <a:pt x="42" y="7"/>
                      <a:pt x="42" y="7"/>
                    </a:cubicBezTo>
                    <a:cubicBezTo>
                      <a:pt x="40" y="3"/>
                      <a:pt x="32" y="2"/>
                      <a:pt x="28" y="1"/>
                    </a:cubicBezTo>
                    <a:cubicBezTo>
                      <a:pt x="24" y="0"/>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 name="Freeform 304">
                <a:extLst>
                  <a:ext uri="{FF2B5EF4-FFF2-40B4-BE49-F238E27FC236}">
                    <a16:creationId xmlns:a16="http://schemas.microsoft.com/office/drawing/2014/main" id="{87FB7F1E-7CA7-45FD-ACEF-C8E201A84921}"/>
                  </a:ext>
                </a:extLst>
              </p:cNvPr>
              <p:cNvSpPr>
                <a:spLocks/>
              </p:cNvSpPr>
              <p:nvPr/>
            </p:nvSpPr>
            <p:spPr bwMode="auto">
              <a:xfrm>
                <a:off x="9112" y="1200"/>
                <a:ext cx="14" cy="7"/>
              </a:xfrm>
              <a:custGeom>
                <a:avLst/>
                <a:gdLst>
                  <a:gd name="T0" fmla="*/ 6 w 6"/>
                  <a:gd name="T1" fmla="*/ 0 h 3"/>
                  <a:gd name="T2" fmla="*/ 1 w 6"/>
                  <a:gd name="T3" fmla="*/ 3 h 3"/>
                  <a:gd name="T4" fmla="*/ 6 w 6"/>
                  <a:gd name="T5" fmla="*/ 0 h 3"/>
                  <a:gd name="T6" fmla="*/ 6 w 6"/>
                  <a:gd name="T7" fmla="*/ 0 h 3"/>
                </a:gdLst>
                <a:ahLst/>
                <a:cxnLst>
                  <a:cxn ang="0">
                    <a:pos x="T0" y="T1"/>
                  </a:cxn>
                  <a:cxn ang="0">
                    <a:pos x="T2" y="T3"/>
                  </a:cxn>
                  <a:cxn ang="0">
                    <a:pos x="T4" y="T5"/>
                  </a:cxn>
                  <a:cxn ang="0">
                    <a:pos x="T6" y="T7"/>
                  </a:cxn>
                </a:cxnLst>
                <a:rect l="0" t="0" r="r" b="b"/>
                <a:pathLst>
                  <a:path w="6" h="3">
                    <a:moveTo>
                      <a:pt x="6" y="0"/>
                    </a:moveTo>
                    <a:cubicBezTo>
                      <a:pt x="4" y="0"/>
                      <a:pt x="0" y="1"/>
                      <a:pt x="1" y="3"/>
                    </a:cubicBezTo>
                    <a:cubicBezTo>
                      <a:pt x="3" y="2"/>
                      <a:pt x="4" y="1"/>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 name="Freeform 305">
                <a:extLst>
                  <a:ext uri="{FF2B5EF4-FFF2-40B4-BE49-F238E27FC236}">
                    <a16:creationId xmlns:a16="http://schemas.microsoft.com/office/drawing/2014/main" id="{98D335C6-10E1-4688-B32A-7553D2795456}"/>
                  </a:ext>
                </a:extLst>
              </p:cNvPr>
              <p:cNvSpPr>
                <a:spLocks/>
              </p:cNvSpPr>
              <p:nvPr/>
            </p:nvSpPr>
            <p:spPr bwMode="auto">
              <a:xfrm>
                <a:off x="5040" y="-1531"/>
                <a:ext cx="97" cy="26"/>
              </a:xfrm>
              <a:custGeom>
                <a:avLst/>
                <a:gdLst>
                  <a:gd name="T0" fmla="*/ 0 w 41"/>
                  <a:gd name="T1" fmla="*/ 0 h 11"/>
                  <a:gd name="T2" fmla="*/ 13 w 41"/>
                  <a:gd name="T3" fmla="*/ 3 h 11"/>
                  <a:gd name="T4" fmla="*/ 16 w 41"/>
                  <a:gd name="T5" fmla="*/ 6 h 11"/>
                  <a:gd name="T6" fmla="*/ 21 w 41"/>
                  <a:gd name="T7" fmla="*/ 7 h 11"/>
                  <a:gd name="T8" fmla="*/ 28 w 41"/>
                  <a:gd name="T9" fmla="*/ 11 h 11"/>
                  <a:gd name="T10" fmla="*/ 41 w 41"/>
                  <a:gd name="T11" fmla="*/ 8 h 11"/>
                  <a:gd name="T12" fmla="*/ 0 w 4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1" h="11">
                    <a:moveTo>
                      <a:pt x="0" y="0"/>
                    </a:moveTo>
                    <a:cubicBezTo>
                      <a:pt x="4" y="1"/>
                      <a:pt x="9" y="1"/>
                      <a:pt x="13" y="3"/>
                    </a:cubicBezTo>
                    <a:cubicBezTo>
                      <a:pt x="14" y="4"/>
                      <a:pt x="15" y="6"/>
                      <a:pt x="16" y="6"/>
                    </a:cubicBezTo>
                    <a:cubicBezTo>
                      <a:pt x="17" y="6"/>
                      <a:pt x="20" y="6"/>
                      <a:pt x="21" y="7"/>
                    </a:cubicBezTo>
                    <a:cubicBezTo>
                      <a:pt x="23" y="10"/>
                      <a:pt x="25" y="11"/>
                      <a:pt x="28" y="11"/>
                    </a:cubicBezTo>
                    <a:cubicBezTo>
                      <a:pt x="33" y="11"/>
                      <a:pt x="37" y="9"/>
                      <a:pt x="41" y="8"/>
                    </a:cubicBezTo>
                    <a:cubicBezTo>
                      <a:pt x="27" y="5"/>
                      <a:pt x="1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 name="Freeform 306">
                <a:extLst>
                  <a:ext uri="{FF2B5EF4-FFF2-40B4-BE49-F238E27FC236}">
                    <a16:creationId xmlns:a16="http://schemas.microsoft.com/office/drawing/2014/main" id="{DDE07EC7-3588-4DF2-A397-6A025192088F}"/>
                  </a:ext>
                </a:extLst>
              </p:cNvPr>
              <p:cNvSpPr>
                <a:spLocks/>
              </p:cNvSpPr>
              <p:nvPr/>
            </p:nvSpPr>
            <p:spPr bwMode="auto">
              <a:xfrm>
                <a:off x="4537" y="-1505"/>
                <a:ext cx="175" cy="43"/>
              </a:xfrm>
              <a:custGeom>
                <a:avLst/>
                <a:gdLst>
                  <a:gd name="T0" fmla="*/ 48 w 74"/>
                  <a:gd name="T1" fmla="*/ 0 h 18"/>
                  <a:gd name="T2" fmla="*/ 37 w 74"/>
                  <a:gd name="T3" fmla="*/ 2 h 18"/>
                  <a:gd name="T4" fmla="*/ 0 w 74"/>
                  <a:gd name="T5" fmla="*/ 10 h 18"/>
                  <a:gd name="T6" fmla="*/ 8 w 74"/>
                  <a:gd name="T7" fmla="*/ 13 h 18"/>
                  <a:gd name="T8" fmla="*/ 11 w 74"/>
                  <a:gd name="T9" fmla="*/ 14 h 18"/>
                  <a:gd name="T10" fmla="*/ 13 w 74"/>
                  <a:gd name="T11" fmla="*/ 14 h 18"/>
                  <a:gd name="T12" fmla="*/ 19 w 74"/>
                  <a:gd name="T13" fmla="*/ 13 h 18"/>
                  <a:gd name="T14" fmla="*/ 20 w 74"/>
                  <a:gd name="T15" fmla="*/ 13 h 18"/>
                  <a:gd name="T16" fmla="*/ 21 w 74"/>
                  <a:gd name="T17" fmla="*/ 18 h 18"/>
                  <a:gd name="T18" fmla="*/ 22 w 74"/>
                  <a:gd name="T19" fmla="*/ 18 h 18"/>
                  <a:gd name="T20" fmla="*/ 29 w 74"/>
                  <a:gd name="T21" fmla="*/ 17 h 18"/>
                  <a:gd name="T22" fmla="*/ 36 w 74"/>
                  <a:gd name="T23" fmla="*/ 13 h 18"/>
                  <a:gd name="T24" fmla="*/ 37 w 74"/>
                  <a:gd name="T25" fmla="*/ 13 h 18"/>
                  <a:gd name="T26" fmla="*/ 37 w 74"/>
                  <a:gd name="T27" fmla="*/ 13 h 18"/>
                  <a:gd name="T28" fmla="*/ 40 w 74"/>
                  <a:gd name="T29" fmla="*/ 13 h 18"/>
                  <a:gd name="T30" fmla="*/ 42 w 74"/>
                  <a:gd name="T31" fmla="*/ 11 h 18"/>
                  <a:gd name="T32" fmla="*/ 42 w 74"/>
                  <a:gd name="T33" fmla="*/ 11 h 18"/>
                  <a:gd name="T34" fmla="*/ 44 w 74"/>
                  <a:gd name="T35" fmla="*/ 11 h 18"/>
                  <a:gd name="T36" fmla="*/ 46 w 74"/>
                  <a:gd name="T37" fmla="*/ 12 h 18"/>
                  <a:gd name="T38" fmla="*/ 47 w 74"/>
                  <a:gd name="T39" fmla="*/ 11 h 18"/>
                  <a:gd name="T40" fmla="*/ 48 w 74"/>
                  <a:gd name="T41" fmla="*/ 9 h 18"/>
                  <a:gd name="T42" fmla="*/ 49 w 74"/>
                  <a:gd name="T43" fmla="*/ 8 h 18"/>
                  <a:gd name="T44" fmla="*/ 52 w 74"/>
                  <a:gd name="T45" fmla="*/ 4 h 18"/>
                  <a:gd name="T46" fmla="*/ 53 w 74"/>
                  <a:gd name="T47" fmla="*/ 4 h 18"/>
                  <a:gd name="T48" fmla="*/ 55 w 74"/>
                  <a:gd name="T49" fmla="*/ 5 h 18"/>
                  <a:gd name="T50" fmla="*/ 57 w 74"/>
                  <a:gd name="T51" fmla="*/ 6 h 18"/>
                  <a:gd name="T52" fmla="*/ 57 w 74"/>
                  <a:gd name="T53" fmla="*/ 6 h 18"/>
                  <a:gd name="T54" fmla="*/ 58 w 74"/>
                  <a:gd name="T55" fmla="*/ 6 h 18"/>
                  <a:gd name="T56" fmla="*/ 60 w 74"/>
                  <a:gd name="T57" fmla="*/ 9 h 18"/>
                  <a:gd name="T58" fmla="*/ 63 w 74"/>
                  <a:gd name="T59" fmla="*/ 9 h 18"/>
                  <a:gd name="T60" fmla="*/ 63 w 74"/>
                  <a:gd name="T61" fmla="*/ 9 h 18"/>
                  <a:gd name="T62" fmla="*/ 64 w 74"/>
                  <a:gd name="T63" fmla="*/ 9 h 18"/>
                  <a:gd name="T64" fmla="*/ 65 w 74"/>
                  <a:gd name="T65" fmla="*/ 9 h 18"/>
                  <a:gd name="T66" fmla="*/ 72 w 74"/>
                  <a:gd name="T67" fmla="*/ 10 h 18"/>
                  <a:gd name="T68" fmla="*/ 72 w 74"/>
                  <a:gd name="T69" fmla="*/ 10 h 18"/>
                  <a:gd name="T70" fmla="*/ 70 w 74"/>
                  <a:gd name="T71" fmla="*/ 6 h 18"/>
                  <a:gd name="T72" fmla="*/ 69 w 74"/>
                  <a:gd name="T73" fmla="*/ 3 h 18"/>
                  <a:gd name="T74" fmla="*/ 62 w 74"/>
                  <a:gd name="T75" fmla="*/ 1 h 18"/>
                  <a:gd name="T76" fmla="*/ 50 w 74"/>
                  <a:gd name="T77" fmla="*/ 0 h 18"/>
                  <a:gd name="T78" fmla="*/ 48 w 74"/>
                  <a:gd name="T7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18">
                    <a:moveTo>
                      <a:pt x="48" y="0"/>
                    </a:moveTo>
                    <a:cubicBezTo>
                      <a:pt x="45" y="0"/>
                      <a:pt x="41" y="1"/>
                      <a:pt x="37" y="2"/>
                    </a:cubicBezTo>
                    <a:cubicBezTo>
                      <a:pt x="25" y="5"/>
                      <a:pt x="12" y="7"/>
                      <a:pt x="0" y="10"/>
                    </a:cubicBezTo>
                    <a:cubicBezTo>
                      <a:pt x="3" y="11"/>
                      <a:pt x="6" y="11"/>
                      <a:pt x="8" y="13"/>
                    </a:cubicBezTo>
                    <a:cubicBezTo>
                      <a:pt x="10" y="14"/>
                      <a:pt x="10" y="14"/>
                      <a:pt x="11" y="14"/>
                    </a:cubicBezTo>
                    <a:cubicBezTo>
                      <a:pt x="12" y="14"/>
                      <a:pt x="12" y="14"/>
                      <a:pt x="13" y="14"/>
                    </a:cubicBezTo>
                    <a:cubicBezTo>
                      <a:pt x="15" y="14"/>
                      <a:pt x="17" y="13"/>
                      <a:pt x="19" y="13"/>
                    </a:cubicBezTo>
                    <a:cubicBezTo>
                      <a:pt x="19" y="13"/>
                      <a:pt x="20" y="13"/>
                      <a:pt x="20" y="13"/>
                    </a:cubicBezTo>
                    <a:cubicBezTo>
                      <a:pt x="23" y="13"/>
                      <a:pt x="19" y="18"/>
                      <a:pt x="21" y="18"/>
                    </a:cubicBezTo>
                    <a:cubicBezTo>
                      <a:pt x="22" y="18"/>
                      <a:pt x="22" y="18"/>
                      <a:pt x="22" y="18"/>
                    </a:cubicBezTo>
                    <a:cubicBezTo>
                      <a:pt x="24" y="18"/>
                      <a:pt x="28" y="18"/>
                      <a:pt x="29" y="17"/>
                    </a:cubicBezTo>
                    <a:cubicBezTo>
                      <a:pt x="32" y="16"/>
                      <a:pt x="33" y="13"/>
                      <a:pt x="36" y="13"/>
                    </a:cubicBezTo>
                    <a:cubicBezTo>
                      <a:pt x="36" y="13"/>
                      <a:pt x="36" y="13"/>
                      <a:pt x="37" y="13"/>
                    </a:cubicBezTo>
                    <a:cubicBezTo>
                      <a:pt x="37" y="13"/>
                      <a:pt x="37" y="13"/>
                      <a:pt x="37" y="13"/>
                    </a:cubicBezTo>
                    <a:cubicBezTo>
                      <a:pt x="38" y="13"/>
                      <a:pt x="39" y="13"/>
                      <a:pt x="40" y="13"/>
                    </a:cubicBezTo>
                    <a:cubicBezTo>
                      <a:pt x="40" y="12"/>
                      <a:pt x="41" y="11"/>
                      <a:pt x="42" y="11"/>
                    </a:cubicBezTo>
                    <a:cubicBezTo>
                      <a:pt x="42" y="11"/>
                      <a:pt x="42" y="11"/>
                      <a:pt x="42" y="11"/>
                    </a:cubicBezTo>
                    <a:cubicBezTo>
                      <a:pt x="43" y="11"/>
                      <a:pt x="44" y="11"/>
                      <a:pt x="44" y="11"/>
                    </a:cubicBezTo>
                    <a:cubicBezTo>
                      <a:pt x="45" y="11"/>
                      <a:pt x="46" y="12"/>
                      <a:pt x="46" y="12"/>
                    </a:cubicBezTo>
                    <a:cubicBezTo>
                      <a:pt x="47" y="12"/>
                      <a:pt x="47" y="12"/>
                      <a:pt x="47" y="11"/>
                    </a:cubicBezTo>
                    <a:cubicBezTo>
                      <a:pt x="48" y="11"/>
                      <a:pt x="48" y="9"/>
                      <a:pt x="48" y="9"/>
                    </a:cubicBezTo>
                    <a:cubicBezTo>
                      <a:pt x="48" y="8"/>
                      <a:pt x="49" y="8"/>
                      <a:pt x="49" y="8"/>
                    </a:cubicBezTo>
                    <a:cubicBezTo>
                      <a:pt x="50" y="7"/>
                      <a:pt x="51" y="4"/>
                      <a:pt x="52" y="4"/>
                    </a:cubicBezTo>
                    <a:cubicBezTo>
                      <a:pt x="52" y="4"/>
                      <a:pt x="53" y="4"/>
                      <a:pt x="53" y="4"/>
                    </a:cubicBezTo>
                    <a:cubicBezTo>
                      <a:pt x="54" y="4"/>
                      <a:pt x="54" y="4"/>
                      <a:pt x="55" y="5"/>
                    </a:cubicBezTo>
                    <a:cubicBezTo>
                      <a:pt x="56" y="6"/>
                      <a:pt x="56" y="6"/>
                      <a:pt x="57" y="6"/>
                    </a:cubicBezTo>
                    <a:cubicBezTo>
                      <a:pt x="57" y="6"/>
                      <a:pt x="57" y="6"/>
                      <a:pt x="57" y="6"/>
                    </a:cubicBezTo>
                    <a:cubicBezTo>
                      <a:pt x="57" y="6"/>
                      <a:pt x="58" y="6"/>
                      <a:pt x="58" y="6"/>
                    </a:cubicBezTo>
                    <a:cubicBezTo>
                      <a:pt x="58" y="6"/>
                      <a:pt x="59" y="8"/>
                      <a:pt x="60" y="9"/>
                    </a:cubicBezTo>
                    <a:cubicBezTo>
                      <a:pt x="61" y="9"/>
                      <a:pt x="62" y="9"/>
                      <a:pt x="63" y="9"/>
                    </a:cubicBezTo>
                    <a:cubicBezTo>
                      <a:pt x="63" y="9"/>
                      <a:pt x="63" y="9"/>
                      <a:pt x="63" y="9"/>
                    </a:cubicBezTo>
                    <a:cubicBezTo>
                      <a:pt x="63" y="9"/>
                      <a:pt x="64" y="9"/>
                      <a:pt x="64" y="9"/>
                    </a:cubicBezTo>
                    <a:cubicBezTo>
                      <a:pt x="64" y="9"/>
                      <a:pt x="64" y="9"/>
                      <a:pt x="65" y="9"/>
                    </a:cubicBezTo>
                    <a:cubicBezTo>
                      <a:pt x="67" y="9"/>
                      <a:pt x="69" y="10"/>
                      <a:pt x="72" y="10"/>
                    </a:cubicBezTo>
                    <a:cubicBezTo>
                      <a:pt x="72" y="10"/>
                      <a:pt x="72" y="10"/>
                      <a:pt x="72" y="10"/>
                    </a:cubicBezTo>
                    <a:cubicBezTo>
                      <a:pt x="74" y="10"/>
                      <a:pt x="70" y="6"/>
                      <a:pt x="70" y="6"/>
                    </a:cubicBezTo>
                    <a:cubicBezTo>
                      <a:pt x="69" y="4"/>
                      <a:pt x="71" y="5"/>
                      <a:pt x="69" y="3"/>
                    </a:cubicBezTo>
                    <a:cubicBezTo>
                      <a:pt x="67" y="2"/>
                      <a:pt x="63" y="1"/>
                      <a:pt x="62" y="1"/>
                    </a:cubicBezTo>
                    <a:cubicBezTo>
                      <a:pt x="57" y="1"/>
                      <a:pt x="54" y="0"/>
                      <a:pt x="50" y="0"/>
                    </a:cubicBezTo>
                    <a:cubicBezTo>
                      <a:pt x="49"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 name="Freeform 307">
                <a:extLst>
                  <a:ext uri="{FF2B5EF4-FFF2-40B4-BE49-F238E27FC236}">
                    <a16:creationId xmlns:a16="http://schemas.microsoft.com/office/drawing/2014/main" id="{5FD0A9F3-5DB4-43D1-A891-72F4A1CC5D18}"/>
                  </a:ext>
                </a:extLst>
              </p:cNvPr>
              <p:cNvSpPr>
                <a:spLocks/>
              </p:cNvSpPr>
              <p:nvPr/>
            </p:nvSpPr>
            <p:spPr bwMode="auto">
              <a:xfrm>
                <a:off x="5182" y="-1509"/>
                <a:ext cx="135" cy="52"/>
              </a:xfrm>
              <a:custGeom>
                <a:avLst/>
                <a:gdLst>
                  <a:gd name="T0" fmla="*/ 48 w 57"/>
                  <a:gd name="T1" fmla="*/ 0 h 22"/>
                  <a:gd name="T2" fmla="*/ 38 w 57"/>
                  <a:gd name="T3" fmla="*/ 1 h 22"/>
                  <a:gd name="T4" fmla="*/ 15 w 57"/>
                  <a:gd name="T5" fmla="*/ 4 h 22"/>
                  <a:gd name="T6" fmla="*/ 13 w 57"/>
                  <a:gd name="T7" fmla="*/ 4 h 22"/>
                  <a:gd name="T8" fmla="*/ 17 w 57"/>
                  <a:gd name="T9" fmla="*/ 2 h 22"/>
                  <a:gd name="T10" fmla="*/ 14 w 57"/>
                  <a:gd name="T11" fmla="*/ 2 h 22"/>
                  <a:gd name="T12" fmla="*/ 6 w 57"/>
                  <a:gd name="T13" fmla="*/ 4 h 22"/>
                  <a:gd name="T14" fmla="*/ 1 w 57"/>
                  <a:gd name="T15" fmla="*/ 16 h 22"/>
                  <a:gd name="T16" fmla="*/ 8 w 57"/>
                  <a:gd name="T17" fmla="*/ 21 h 22"/>
                  <a:gd name="T18" fmla="*/ 9 w 57"/>
                  <a:gd name="T19" fmla="*/ 21 h 22"/>
                  <a:gd name="T20" fmla="*/ 17 w 57"/>
                  <a:gd name="T21" fmla="*/ 19 h 22"/>
                  <a:gd name="T22" fmla="*/ 19 w 57"/>
                  <a:gd name="T23" fmla="*/ 18 h 22"/>
                  <a:gd name="T24" fmla="*/ 25 w 57"/>
                  <a:gd name="T25" fmla="*/ 20 h 22"/>
                  <a:gd name="T26" fmla="*/ 33 w 57"/>
                  <a:gd name="T27" fmla="*/ 22 h 22"/>
                  <a:gd name="T28" fmla="*/ 35 w 57"/>
                  <a:gd name="T29" fmla="*/ 22 h 22"/>
                  <a:gd name="T30" fmla="*/ 40 w 57"/>
                  <a:gd name="T31" fmla="*/ 18 h 22"/>
                  <a:gd name="T32" fmla="*/ 43 w 57"/>
                  <a:gd name="T33" fmla="*/ 17 h 22"/>
                  <a:gd name="T34" fmla="*/ 46 w 57"/>
                  <a:gd name="T35" fmla="*/ 14 h 22"/>
                  <a:gd name="T36" fmla="*/ 53 w 57"/>
                  <a:gd name="T37" fmla="*/ 12 h 22"/>
                  <a:gd name="T38" fmla="*/ 57 w 57"/>
                  <a:gd name="T39" fmla="*/ 6 h 22"/>
                  <a:gd name="T40" fmla="*/ 48 w 5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22">
                    <a:moveTo>
                      <a:pt x="48" y="0"/>
                    </a:moveTo>
                    <a:cubicBezTo>
                      <a:pt x="44" y="0"/>
                      <a:pt x="40" y="1"/>
                      <a:pt x="38" y="1"/>
                    </a:cubicBezTo>
                    <a:cubicBezTo>
                      <a:pt x="30" y="3"/>
                      <a:pt x="23" y="4"/>
                      <a:pt x="15" y="4"/>
                    </a:cubicBezTo>
                    <a:cubicBezTo>
                      <a:pt x="15" y="4"/>
                      <a:pt x="14" y="4"/>
                      <a:pt x="13" y="4"/>
                    </a:cubicBezTo>
                    <a:cubicBezTo>
                      <a:pt x="14" y="3"/>
                      <a:pt x="16" y="3"/>
                      <a:pt x="17" y="2"/>
                    </a:cubicBezTo>
                    <a:cubicBezTo>
                      <a:pt x="16" y="2"/>
                      <a:pt x="15" y="2"/>
                      <a:pt x="14" y="2"/>
                    </a:cubicBezTo>
                    <a:cubicBezTo>
                      <a:pt x="12" y="2"/>
                      <a:pt x="8" y="3"/>
                      <a:pt x="6" y="4"/>
                    </a:cubicBezTo>
                    <a:cubicBezTo>
                      <a:pt x="0" y="6"/>
                      <a:pt x="0" y="10"/>
                      <a:pt x="1" y="16"/>
                    </a:cubicBezTo>
                    <a:cubicBezTo>
                      <a:pt x="2" y="17"/>
                      <a:pt x="6" y="21"/>
                      <a:pt x="8" y="21"/>
                    </a:cubicBezTo>
                    <a:cubicBezTo>
                      <a:pt x="8" y="21"/>
                      <a:pt x="9" y="21"/>
                      <a:pt x="9" y="21"/>
                    </a:cubicBezTo>
                    <a:cubicBezTo>
                      <a:pt x="11" y="20"/>
                      <a:pt x="15" y="20"/>
                      <a:pt x="17" y="19"/>
                    </a:cubicBezTo>
                    <a:cubicBezTo>
                      <a:pt x="18" y="18"/>
                      <a:pt x="18" y="18"/>
                      <a:pt x="19" y="18"/>
                    </a:cubicBezTo>
                    <a:cubicBezTo>
                      <a:pt x="21" y="18"/>
                      <a:pt x="23" y="20"/>
                      <a:pt x="25" y="20"/>
                    </a:cubicBezTo>
                    <a:cubicBezTo>
                      <a:pt x="27" y="21"/>
                      <a:pt x="31" y="22"/>
                      <a:pt x="33" y="22"/>
                    </a:cubicBezTo>
                    <a:cubicBezTo>
                      <a:pt x="34" y="22"/>
                      <a:pt x="34" y="22"/>
                      <a:pt x="35" y="22"/>
                    </a:cubicBezTo>
                    <a:cubicBezTo>
                      <a:pt x="36" y="21"/>
                      <a:pt x="39" y="20"/>
                      <a:pt x="40" y="18"/>
                    </a:cubicBezTo>
                    <a:cubicBezTo>
                      <a:pt x="41" y="18"/>
                      <a:pt x="41" y="17"/>
                      <a:pt x="43" y="17"/>
                    </a:cubicBezTo>
                    <a:cubicBezTo>
                      <a:pt x="45" y="16"/>
                      <a:pt x="45" y="15"/>
                      <a:pt x="46" y="14"/>
                    </a:cubicBezTo>
                    <a:cubicBezTo>
                      <a:pt x="48" y="13"/>
                      <a:pt x="51" y="14"/>
                      <a:pt x="53" y="12"/>
                    </a:cubicBezTo>
                    <a:cubicBezTo>
                      <a:pt x="54" y="12"/>
                      <a:pt x="57" y="7"/>
                      <a:pt x="57" y="6"/>
                    </a:cubicBezTo>
                    <a:cubicBezTo>
                      <a:pt x="56" y="1"/>
                      <a:pt x="52"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 name="Freeform 308">
                <a:extLst>
                  <a:ext uri="{FF2B5EF4-FFF2-40B4-BE49-F238E27FC236}">
                    <a16:creationId xmlns:a16="http://schemas.microsoft.com/office/drawing/2014/main" id="{6C67CE9C-BE0F-4DF9-8709-701B66AEB67D}"/>
                  </a:ext>
                </a:extLst>
              </p:cNvPr>
              <p:cNvSpPr>
                <a:spLocks/>
              </p:cNvSpPr>
              <p:nvPr/>
            </p:nvSpPr>
            <p:spPr bwMode="auto">
              <a:xfrm>
                <a:off x="6605" y="-1422"/>
                <a:ext cx="134" cy="40"/>
              </a:xfrm>
              <a:custGeom>
                <a:avLst/>
                <a:gdLst>
                  <a:gd name="T0" fmla="*/ 0 w 57"/>
                  <a:gd name="T1" fmla="*/ 0 h 17"/>
                  <a:gd name="T2" fmla="*/ 3 w 57"/>
                  <a:gd name="T3" fmla="*/ 7 h 17"/>
                  <a:gd name="T4" fmla="*/ 8 w 57"/>
                  <a:gd name="T5" fmla="*/ 10 h 17"/>
                  <a:gd name="T6" fmla="*/ 18 w 57"/>
                  <a:gd name="T7" fmla="*/ 11 h 17"/>
                  <a:gd name="T8" fmla="*/ 21 w 57"/>
                  <a:gd name="T9" fmla="*/ 11 h 17"/>
                  <a:gd name="T10" fmla="*/ 21 w 57"/>
                  <a:gd name="T11" fmla="*/ 16 h 17"/>
                  <a:gd name="T12" fmla="*/ 24 w 57"/>
                  <a:gd name="T13" fmla="*/ 17 h 17"/>
                  <a:gd name="T14" fmla="*/ 29 w 57"/>
                  <a:gd name="T15" fmla="*/ 17 h 17"/>
                  <a:gd name="T16" fmla="*/ 32 w 57"/>
                  <a:gd name="T17" fmla="*/ 17 h 17"/>
                  <a:gd name="T18" fmla="*/ 43 w 57"/>
                  <a:gd name="T19" fmla="*/ 14 h 17"/>
                  <a:gd name="T20" fmla="*/ 55 w 57"/>
                  <a:gd name="T21" fmla="*/ 6 h 17"/>
                  <a:gd name="T22" fmla="*/ 50 w 57"/>
                  <a:gd name="T23" fmla="*/ 4 h 17"/>
                  <a:gd name="T24" fmla="*/ 42 w 57"/>
                  <a:gd name="T25" fmla="*/ 2 h 17"/>
                  <a:gd name="T26" fmla="*/ 0 w 57"/>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7">
                    <a:moveTo>
                      <a:pt x="0" y="0"/>
                    </a:moveTo>
                    <a:cubicBezTo>
                      <a:pt x="3" y="0"/>
                      <a:pt x="3" y="4"/>
                      <a:pt x="3" y="7"/>
                    </a:cubicBezTo>
                    <a:cubicBezTo>
                      <a:pt x="4" y="10"/>
                      <a:pt x="6" y="9"/>
                      <a:pt x="8" y="10"/>
                    </a:cubicBezTo>
                    <a:cubicBezTo>
                      <a:pt x="11" y="11"/>
                      <a:pt x="14" y="11"/>
                      <a:pt x="18" y="11"/>
                    </a:cubicBezTo>
                    <a:cubicBezTo>
                      <a:pt x="19" y="11"/>
                      <a:pt x="20" y="11"/>
                      <a:pt x="21" y="11"/>
                    </a:cubicBezTo>
                    <a:cubicBezTo>
                      <a:pt x="21" y="12"/>
                      <a:pt x="20" y="15"/>
                      <a:pt x="21" y="16"/>
                    </a:cubicBezTo>
                    <a:cubicBezTo>
                      <a:pt x="21" y="17"/>
                      <a:pt x="24" y="17"/>
                      <a:pt x="24" y="17"/>
                    </a:cubicBezTo>
                    <a:cubicBezTo>
                      <a:pt x="26" y="17"/>
                      <a:pt x="27" y="17"/>
                      <a:pt x="29" y="17"/>
                    </a:cubicBezTo>
                    <a:cubicBezTo>
                      <a:pt x="30" y="17"/>
                      <a:pt x="31" y="17"/>
                      <a:pt x="32" y="17"/>
                    </a:cubicBezTo>
                    <a:cubicBezTo>
                      <a:pt x="36" y="17"/>
                      <a:pt x="40" y="15"/>
                      <a:pt x="43" y="14"/>
                    </a:cubicBezTo>
                    <a:cubicBezTo>
                      <a:pt x="45" y="13"/>
                      <a:pt x="57" y="9"/>
                      <a:pt x="55" y="6"/>
                    </a:cubicBezTo>
                    <a:cubicBezTo>
                      <a:pt x="55" y="6"/>
                      <a:pt x="51" y="5"/>
                      <a:pt x="50" y="4"/>
                    </a:cubicBezTo>
                    <a:cubicBezTo>
                      <a:pt x="48" y="3"/>
                      <a:pt x="45" y="3"/>
                      <a:pt x="42" y="2"/>
                    </a:cubicBezTo>
                    <a:cubicBezTo>
                      <a:pt x="28" y="2"/>
                      <a:pt x="14"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 name="Freeform 309">
                <a:extLst>
                  <a:ext uri="{FF2B5EF4-FFF2-40B4-BE49-F238E27FC236}">
                    <a16:creationId xmlns:a16="http://schemas.microsoft.com/office/drawing/2014/main" id="{60ED3087-B887-44DC-B41E-CE50B7098F71}"/>
                  </a:ext>
                </a:extLst>
              </p:cNvPr>
              <p:cNvSpPr>
                <a:spLocks/>
              </p:cNvSpPr>
              <p:nvPr/>
            </p:nvSpPr>
            <p:spPr bwMode="auto">
              <a:xfrm>
                <a:off x="10064" y="-512"/>
                <a:ext cx="76" cy="36"/>
              </a:xfrm>
              <a:custGeom>
                <a:avLst/>
                <a:gdLst>
                  <a:gd name="T0" fmla="*/ 12 w 32"/>
                  <a:gd name="T1" fmla="*/ 0 h 15"/>
                  <a:gd name="T2" fmla="*/ 6 w 32"/>
                  <a:gd name="T3" fmla="*/ 2 h 15"/>
                  <a:gd name="T4" fmla="*/ 2 w 32"/>
                  <a:gd name="T5" fmla="*/ 7 h 15"/>
                  <a:gd name="T6" fmla="*/ 5 w 32"/>
                  <a:gd name="T7" fmla="*/ 8 h 15"/>
                  <a:gd name="T8" fmla="*/ 8 w 32"/>
                  <a:gd name="T9" fmla="*/ 10 h 15"/>
                  <a:gd name="T10" fmla="*/ 23 w 32"/>
                  <a:gd name="T11" fmla="*/ 15 h 15"/>
                  <a:gd name="T12" fmla="*/ 30 w 32"/>
                  <a:gd name="T13" fmla="*/ 11 h 15"/>
                  <a:gd name="T14" fmla="*/ 31 w 32"/>
                  <a:gd name="T15" fmla="*/ 5 h 15"/>
                  <a:gd name="T16" fmla="*/ 27 w 32"/>
                  <a:gd name="T17" fmla="*/ 4 h 15"/>
                  <a:gd name="T18" fmla="*/ 12 w 3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5">
                    <a:moveTo>
                      <a:pt x="12" y="0"/>
                    </a:moveTo>
                    <a:cubicBezTo>
                      <a:pt x="10" y="0"/>
                      <a:pt x="8" y="1"/>
                      <a:pt x="6" y="2"/>
                    </a:cubicBezTo>
                    <a:cubicBezTo>
                      <a:pt x="4" y="3"/>
                      <a:pt x="0" y="5"/>
                      <a:pt x="2" y="7"/>
                    </a:cubicBezTo>
                    <a:cubicBezTo>
                      <a:pt x="2" y="8"/>
                      <a:pt x="4" y="8"/>
                      <a:pt x="5" y="8"/>
                    </a:cubicBezTo>
                    <a:cubicBezTo>
                      <a:pt x="6" y="9"/>
                      <a:pt x="7" y="9"/>
                      <a:pt x="8" y="10"/>
                    </a:cubicBezTo>
                    <a:cubicBezTo>
                      <a:pt x="12" y="13"/>
                      <a:pt x="18" y="15"/>
                      <a:pt x="23" y="15"/>
                    </a:cubicBezTo>
                    <a:cubicBezTo>
                      <a:pt x="27" y="15"/>
                      <a:pt x="29" y="15"/>
                      <a:pt x="30" y="11"/>
                    </a:cubicBezTo>
                    <a:cubicBezTo>
                      <a:pt x="31" y="9"/>
                      <a:pt x="32" y="6"/>
                      <a:pt x="31" y="5"/>
                    </a:cubicBezTo>
                    <a:cubicBezTo>
                      <a:pt x="30" y="4"/>
                      <a:pt x="28" y="4"/>
                      <a:pt x="27" y="4"/>
                    </a:cubicBezTo>
                    <a:cubicBezTo>
                      <a:pt x="22" y="3"/>
                      <a:pt x="17"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 name="Freeform 310">
                <a:extLst>
                  <a:ext uri="{FF2B5EF4-FFF2-40B4-BE49-F238E27FC236}">
                    <a16:creationId xmlns:a16="http://schemas.microsoft.com/office/drawing/2014/main" id="{A73A356B-C0EC-463D-8F70-D5A0EAD0FB2B}"/>
                  </a:ext>
                </a:extLst>
              </p:cNvPr>
              <p:cNvSpPr>
                <a:spLocks/>
              </p:cNvSpPr>
              <p:nvPr/>
            </p:nvSpPr>
            <p:spPr bwMode="auto">
              <a:xfrm>
                <a:off x="5657" y="-802"/>
                <a:ext cx="85" cy="40"/>
              </a:xfrm>
              <a:custGeom>
                <a:avLst/>
                <a:gdLst>
                  <a:gd name="T0" fmla="*/ 21 w 36"/>
                  <a:gd name="T1" fmla="*/ 0 h 17"/>
                  <a:gd name="T2" fmla="*/ 20 w 36"/>
                  <a:gd name="T3" fmla="*/ 0 h 17"/>
                  <a:gd name="T4" fmla="*/ 3 w 36"/>
                  <a:gd name="T5" fmla="*/ 3 h 17"/>
                  <a:gd name="T6" fmla="*/ 3 w 36"/>
                  <a:gd name="T7" fmla="*/ 11 h 17"/>
                  <a:gd name="T8" fmla="*/ 1 w 36"/>
                  <a:gd name="T9" fmla="*/ 15 h 17"/>
                  <a:gd name="T10" fmla="*/ 3 w 36"/>
                  <a:gd name="T11" fmla="*/ 17 h 17"/>
                  <a:gd name="T12" fmla="*/ 4 w 36"/>
                  <a:gd name="T13" fmla="*/ 17 h 17"/>
                  <a:gd name="T14" fmla="*/ 6 w 36"/>
                  <a:gd name="T15" fmla="*/ 15 h 17"/>
                  <a:gd name="T16" fmla="*/ 9 w 36"/>
                  <a:gd name="T17" fmla="*/ 17 h 17"/>
                  <a:gd name="T18" fmla="*/ 15 w 36"/>
                  <a:gd name="T19" fmla="*/ 15 h 17"/>
                  <a:gd name="T20" fmla="*/ 25 w 36"/>
                  <a:gd name="T21" fmla="*/ 14 h 17"/>
                  <a:gd name="T22" fmla="*/ 30 w 36"/>
                  <a:gd name="T23" fmla="*/ 12 h 17"/>
                  <a:gd name="T24" fmla="*/ 31 w 36"/>
                  <a:gd name="T25" fmla="*/ 12 h 17"/>
                  <a:gd name="T26" fmla="*/ 32 w 36"/>
                  <a:gd name="T27" fmla="*/ 12 h 17"/>
                  <a:gd name="T28" fmla="*/ 34 w 36"/>
                  <a:gd name="T29" fmla="*/ 12 h 17"/>
                  <a:gd name="T30" fmla="*/ 35 w 36"/>
                  <a:gd name="T31" fmla="*/ 12 h 17"/>
                  <a:gd name="T32" fmla="*/ 32 w 36"/>
                  <a:gd name="T33" fmla="*/ 7 h 17"/>
                  <a:gd name="T34" fmla="*/ 31 w 36"/>
                  <a:gd name="T35" fmla="*/ 6 h 17"/>
                  <a:gd name="T36" fmla="*/ 29 w 36"/>
                  <a:gd name="T37" fmla="*/ 7 h 17"/>
                  <a:gd name="T38" fmla="*/ 28 w 36"/>
                  <a:gd name="T39" fmla="*/ 7 h 17"/>
                  <a:gd name="T40" fmla="*/ 26 w 36"/>
                  <a:gd name="T41" fmla="*/ 6 h 17"/>
                  <a:gd name="T42" fmla="*/ 24 w 36"/>
                  <a:gd name="T43" fmla="*/ 2 h 17"/>
                  <a:gd name="T44" fmla="*/ 25 w 36"/>
                  <a:gd name="T45" fmla="*/ 2 h 17"/>
                  <a:gd name="T46" fmla="*/ 26 w 36"/>
                  <a:gd name="T47" fmla="*/ 2 h 17"/>
                  <a:gd name="T48" fmla="*/ 27 w 36"/>
                  <a:gd name="T49" fmla="*/ 2 h 17"/>
                  <a:gd name="T50" fmla="*/ 27 w 36"/>
                  <a:gd name="T51" fmla="*/ 2 h 17"/>
                  <a:gd name="T52" fmla="*/ 21 w 36"/>
                  <a:gd name="T5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17">
                    <a:moveTo>
                      <a:pt x="21" y="0"/>
                    </a:moveTo>
                    <a:cubicBezTo>
                      <a:pt x="21" y="0"/>
                      <a:pt x="21" y="0"/>
                      <a:pt x="20" y="0"/>
                    </a:cubicBezTo>
                    <a:cubicBezTo>
                      <a:pt x="15" y="0"/>
                      <a:pt x="9" y="2"/>
                      <a:pt x="3" y="3"/>
                    </a:cubicBezTo>
                    <a:cubicBezTo>
                      <a:pt x="3" y="6"/>
                      <a:pt x="3" y="8"/>
                      <a:pt x="3" y="11"/>
                    </a:cubicBezTo>
                    <a:cubicBezTo>
                      <a:pt x="3" y="13"/>
                      <a:pt x="2" y="13"/>
                      <a:pt x="1" y="15"/>
                    </a:cubicBezTo>
                    <a:cubicBezTo>
                      <a:pt x="0" y="17"/>
                      <a:pt x="1" y="17"/>
                      <a:pt x="3" y="17"/>
                    </a:cubicBezTo>
                    <a:cubicBezTo>
                      <a:pt x="3" y="17"/>
                      <a:pt x="3" y="17"/>
                      <a:pt x="4" y="17"/>
                    </a:cubicBezTo>
                    <a:cubicBezTo>
                      <a:pt x="5" y="17"/>
                      <a:pt x="6" y="16"/>
                      <a:pt x="6" y="15"/>
                    </a:cubicBezTo>
                    <a:cubicBezTo>
                      <a:pt x="7" y="17"/>
                      <a:pt x="8" y="17"/>
                      <a:pt x="9" y="17"/>
                    </a:cubicBezTo>
                    <a:cubicBezTo>
                      <a:pt x="11" y="17"/>
                      <a:pt x="14" y="15"/>
                      <a:pt x="15" y="15"/>
                    </a:cubicBezTo>
                    <a:cubicBezTo>
                      <a:pt x="19" y="14"/>
                      <a:pt x="22" y="14"/>
                      <a:pt x="25" y="14"/>
                    </a:cubicBezTo>
                    <a:cubicBezTo>
                      <a:pt x="27" y="13"/>
                      <a:pt x="28" y="12"/>
                      <a:pt x="30" y="12"/>
                    </a:cubicBezTo>
                    <a:cubicBezTo>
                      <a:pt x="30" y="12"/>
                      <a:pt x="30" y="12"/>
                      <a:pt x="31" y="12"/>
                    </a:cubicBezTo>
                    <a:cubicBezTo>
                      <a:pt x="31" y="12"/>
                      <a:pt x="32" y="12"/>
                      <a:pt x="32" y="12"/>
                    </a:cubicBezTo>
                    <a:cubicBezTo>
                      <a:pt x="33" y="12"/>
                      <a:pt x="33" y="12"/>
                      <a:pt x="34" y="12"/>
                    </a:cubicBezTo>
                    <a:cubicBezTo>
                      <a:pt x="34" y="12"/>
                      <a:pt x="35" y="12"/>
                      <a:pt x="35" y="12"/>
                    </a:cubicBezTo>
                    <a:cubicBezTo>
                      <a:pt x="36" y="11"/>
                      <a:pt x="33" y="7"/>
                      <a:pt x="32" y="7"/>
                    </a:cubicBezTo>
                    <a:cubicBezTo>
                      <a:pt x="31" y="6"/>
                      <a:pt x="31" y="6"/>
                      <a:pt x="31" y="6"/>
                    </a:cubicBezTo>
                    <a:cubicBezTo>
                      <a:pt x="30" y="6"/>
                      <a:pt x="30" y="7"/>
                      <a:pt x="29" y="7"/>
                    </a:cubicBezTo>
                    <a:cubicBezTo>
                      <a:pt x="29" y="7"/>
                      <a:pt x="28" y="7"/>
                      <a:pt x="28" y="7"/>
                    </a:cubicBezTo>
                    <a:cubicBezTo>
                      <a:pt x="27" y="7"/>
                      <a:pt x="27" y="7"/>
                      <a:pt x="26" y="6"/>
                    </a:cubicBezTo>
                    <a:cubicBezTo>
                      <a:pt x="24" y="2"/>
                      <a:pt x="24" y="2"/>
                      <a:pt x="24" y="2"/>
                    </a:cubicBezTo>
                    <a:cubicBezTo>
                      <a:pt x="25" y="2"/>
                      <a:pt x="25" y="2"/>
                      <a:pt x="25" y="2"/>
                    </a:cubicBezTo>
                    <a:cubicBezTo>
                      <a:pt x="26" y="2"/>
                      <a:pt x="26" y="2"/>
                      <a:pt x="26" y="2"/>
                    </a:cubicBezTo>
                    <a:cubicBezTo>
                      <a:pt x="26" y="2"/>
                      <a:pt x="27" y="2"/>
                      <a:pt x="27" y="2"/>
                    </a:cubicBezTo>
                    <a:cubicBezTo>
                      <a:pt x="27" y="2"/>
                      <a:pt x="27" y="2"/>
                      <a:pt x="27" y="2"/>
                    </a:cubicBezTo>
                    <a:cubicBezTo>
                      <a:pt x="26" y="0"/>
                      <a:pt x="23"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 name="Freeform 311">
                <a:extLst>
                  <a:ext uri="{FF2B5EF4-FFF2-40B4-BE49-F238E27FC236}">
                    <a16:creationId xmlns:a16="http://schemas.microsoft.com/office/drawing/2014/main" id="{7EE75EE5-044C-419E-90E3-B996F8D0D014}"/>
                  </a:ext>
                </a:extLst>
              </p:cNvPr>
              <p:cNvSpPr>
                <a:spLocks noEditPoints="1"/>
              </p:cNvSpPr>
              <p:nvPr/>
            </p:nvSpPr>
            <p:spPr bwMode="auto">
              <a:xfrm>
                <a:off x="9502" y="808"/>
                <a:ext cx="42" cy="45"/>
              </a:xfrm>
              <a:custGeom>
                <a:avLst/>
                <a:gdLst>
                  <a:gd name="T0" fmla="*/ 0 w 18"/>
                  <a:gd name="T1" fmla="*/ 17 h 19"/>
                  <a:gd name="T2" fmla="*/ 0 w 18"/>
                  <a:gd name="T3" fmla="*/ 17 h 19"/>
                  <a:gd name="T4" fmla="*/ 0 w 18"/>
                  <a:gd name="T5" fmla="*/ 17 h 19"/>
                  <a:gd name="T6" fmla="*/ 16 w 18"/>
                  <a:gd name="T7" fmla="*/ 0 h 19"/>
                  <a:gd name="T8" fmla="*/ 15 w 18"/>
                  <a:gd name="T9" fmla="*/ 0 h 19"/>
                  <a:gd name="T10" fmla="*/ 10 w 18"/>
                  <a:gd name="T11" fmla="*/ 7 h 19"/>
                  <a:gd name="T12" fmla="*/ 6 w 18"/>
                  <a:gd name="T13" fmla="*/ 9 h 19"/>
                  <a:gd name="T14" fmla="*/ 2 w 18"/>
                  <a:gd name="T15" fmla="*/ 11 h 19"/>
                  <a:gd name="T16" fmla="*/ 0 w 18"/>
                  <a:gd name="T17" fmla="*/ 12 h 19"/>
                  <a:gd name="T18" fmla="*/ 0 w 18"/>
                  <a:gd name="T19" fmla="*/ 12 h 19"/>
                  <a:gd name="T20" fmla="*/ 0 w 18"/>
                  <a:gd name="T21" fmla="*/ 12 h 19"/>
                  <a:gd name="T22" fmla="*/ 0 w 18"/>
                  <a:gd name="T23" fmla="*/ 13 h 19"/>
                  <a:gd name="T24" fmla="*/ 0 w 18"/>
                  <a:gd name="T25" fmla="*/ 13 h 19"/>
                  <a:gd name="T26" fmla="*/ 0 w 18"/>
                  <a:gd name="T27" fmla="*/ 14 h 19"/>
                  <a:gd name="T28" fmla="*/ 0 w 18"/>
                  <a:gd name="T29" fmla="*/ 17 h 19"/>
                  <a:gd name="T30" fmla="*/ 0 w 18"/>
                  <a:gd name="T31" fmla="*/ 17 h 19"/>
                  <a:gd name="T32" fmla="*/ 3 w 18"/>
                  <a:gd name="T33" fmla="*/ 19 h 19"/>
                  <a:gd name="T34" fmla="*/ 8 w 18"/>
                  <a:gd name="T35" fmla="*/ 15 h 19"/>
                  <a:gd name="T36" fmla="*/ 18 w 18"/>
                  <a:gd name="T37" fmla="*/ 5 h 19"/>
                  <a:gd name="T38" fmla="*/ 16 w 18"/>
                  <a:gd name="T3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9">
                    <a:moveTo>
                      <a:pt x="0" y="17"/>
                    </a:moveTo>
                    <a:cubicBezTo>
                      <a:pt x="0" y="17"/>
                      <a:pt x="0" y="17"/>
                      <a:pt x="0" y="17"/>
                    </a:cubicBezTo>
                    <a:cubicBezTo>
                      <a:pt x="0" y="17"/>
                      <a:pt x="0" y="17"/>
                      <a:pt x="0" y="17"/>
                    </a:cubicBezTo>
                    <a:moveTo>
                      <a:pt x="16" y="0"/>
                    </a:moveTo>
                    <a:cubicBezTo>
                      <a:pt x="15" y="0"/>
                      <a:pt x="15" y="0"/>
                      <a:pt x="15" y="0"/>
                    </a:cubicBezTo>
                    <a:cubicBezTo>
                      <a:pt x="12" y="1"/>
                      <a:pt x="12" y="5"/>
                      <a:pt x="10" y="7"/>
                    </a:cubicBezTo>
                    <a:cubicBezTo>
                      <a:pt x="9" y="9"/>
                      <a:pt x="8" y="9"/>
                      <a:pt x="6" y="9"/>
                    </a:cubicBezTo>
                    <a:cubicBezTo>
                      <a:pt x="4" y="10"/>
                      <a:pt x="4" y="11"/>
                      <a:pt x="2" y="11"/>
                    </a:cubicBezTo>
                    <a:cubicBezTo>
                      <a:pt x="1" y="12"/>
                      <a:pt x="1" y="12"/>
                      <a:pt x="0" y="12"/>
                    </a:cubicBezTo>
                    <a:cubicBezTo>
                      <a:pt x="0" y="12"/>
                      <a:pt x="0" y="12"/>
                      <a:pt x="0" y="12"/>
                    </a:cubicBezTo>
                    <a:cubicBezTo>
                      <a:pt x="0" y="12"/>
                      <a:pt x="0" y="12"/>
                      <a:pt x="0" y="12"/>
                    </a:cubicBezTo>
                    <a:cubicBezTo>
                      <a:pt x="0" y="12"/>
                      <a:pt x="0" y="12"/>
                      <a:pt x="0" y="13"/>
                    </a:cubicBezTo>
                    <a:cubicBezTo>
                      <a:pt x="0" y="13"/>
                      <a:pt x="0" y="13"/>
                      <a:pt x="0" y="13"/>
                    </a:cubicBezTo>
                    <a:cubicBezTo>
                      <a:pt x="0" y="13"/>
                      <a:pt x="0" y="14"/>
                      <a:pt x="0" y="14"/>
                    </a:cubicBezTo>
                    <a:cubicBezTo>
                      <a:pt x="1" y="15"/>
                      <a:pt x="0" y="16"/>
                      <a:pt x="0" y="17"/>
                    </a:cubicBezTo>
                    <a:cubicBezTo>
                      <a:pt x="0" y="17"/>
                      <a:pt x="0" y="17"/>
                      <a:pt x="0" y="17"/>
                    </a:cubicBezTo>
                    <a:cubicBezTo>
                      <a:pt x="0" y="17"/>
                      <a:pt x="3" y="18"/>
                      <a:pt x="3" y="19"/>
                    </a:cubicBezTo>
                    <a:cubicBezTo>
                      <a:pt x="5" y="17"/>
                      <a:pt x="6" y="16"/>
                      <a:pt x="8" y="15"/>
                    </a:cubicBezTo>
                    <a:cubicBezTo>
                      <a:pt x="10" y="12"/>
                      <a:pt x="17" y="8"/>
                      <a:pt x="18" y="5"/>
                    </a:cubicBezTo>
                    <a:cubicBezTo>
                      <a:pt x="18" y="2"/>
                      <a:pt x="18"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 name="Freeform 312">
                <a:extLst>
                  <a:ext uri="{FF2B5EF4-FFF2-40B4-BE49-F238E27FC236}">
                    <a16:creationId xmlns:a16="http://schemas.microsoft.com/office/drawing/2014/main" id="{D7B4196A-3DFE-499B-AD6F-6A38BFC441D5}"/>
                  </a:ext>
                </a:extLst>
              </p:cNvPr>
              <p:cNvSpPr>
                <a:spLocks/>
              </p:cNvSpPr>
              <p:nvPr/>
            </p:nvSpPr>
            <p:spPr bwMode="auto">
              <a:xfrm>
                <a:off x="4868" y="-1460"/>
                <a:ext cx="68" cy="26"/>
              </a:xfrm>
              <a:custGeom>
                <a:avLst/>
                <a:gdLst>
                  <a:gd name="T0" fmla="*/ 16 w 29"/>
                  <a:gd name="T1" fmla="*/ 0 h 11"/>
                  <a:gd name="T2" fmla="*/ 0 w 29"/>
                  <a:gd name="T3" fmla="*/ 9 h 11"/>
                  <a:gd name="T4" fmla="*/ 9 w 29"/>
                  <a:gd name="T5" fmla="*/ 11 h 11"/>
                  <a:gd name="T6" fmla="*/ 9 w 29"/>
                  <a:gd name="T7" fmla="*/ 11 h 11"/>
                  <a:gd name="T8" fmla="*/ 17 w 29"/>
                  <a:gd name="T9" fmla="*/ 10 h 11"/>
                  <a:gd name="T10" fmla="*/ 18 w 29"/>
                  <a:gd name="T11" fmla="*/ 10 h 11"/>
                  <a:gd name="T12" fmla="*/ 21 w 29"/>
                  <a:gd name="T13" fmla="*/ 11 h 11"/>
                  <a:gd name="T14" fmla="*/ 22 w 29"/>
                  <a:gd name="T15" fmla="*/ 11 h 11"/>
                  <a:gd name="T16" fmla="*/ 24 w 29"/>
                  <a:gd name="T17" fmla="*/ 9 h 11"/>
                  <a:gd name="T18" fmla="*/ 25 w 29"/>
                  <a:gd name="T19" fmla="*/ 8 h 11"/>
                  <a:gd name="T20" fmla="*/ 26 w 29"/>
                  <a:gd name="T21" fmla="*/ 9 h 11"/>
                  <a:gd name="T22" fmla="*/ 28 w 29"/>
                  <a:gd name="T23" fmla="*/ 9 h 11"/>
                  <a:gd name="T24" fmla="*/ 29 w 29"/>
                  <a:gd name="T25" fmla="*/ 8 h 11"/>
                  <a:gd name="T26" fmla="*/ 21 w 29"/>
                  <a:gd name="T27" fmla="*/ 3 h 11"/>
                  <a:gd name="T28" fmla="*/ 18 w 29"/>
                  <a:gd name="T29" fmla="*/ 0 h 11"/>
                  <a:gd name="T30" fmla="*/ 16 w 29"/>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1">
                    <a:moveTo>
                      <a:pt x="16" y="0"/>
                    </a:moveTo>
                    <a:cubicBezTo>
                      <a:pt x="11" y="0"/>
                      <a:pt x="4" y="6"/>
                      <a:pt x="0" y="9"/>
                    </a:cubicBezTo>
                    <a:cubicBezTo>
                      <a:pt x="3" y="10"/>
                      <a:pt x="6" y="11"/>
                      <a:pt x="9" y="11"/>
                    </a:cubicBezTo>
                    <a:cubicBezTo>
                      <a:pt x="9" y="11"/>
                      <a:pt x="9" y="11"/>
                      <a:pt x="9" y="11"/>
                    </a:cubicBezTo>
                    <a:cubicBezTo>
                      <a:pt x="11" y="11"/>
                      <a:pt x="14" y="10"/>
                      <a:pt x="17" y="10"/>
                    </a:cubicBezTo>
                    <a:cubicBezTo>
                      <a:pt x="17" y="10"/>
                      <a:pt x="17" y="10"/>
                      <a:pt x="18" y="10"/>
                    </a:cubicBezTo>
                    <a:cubicBezTo>
                      <a:pt x="19" y="11"/>
                      <a:pt x="20" y="11"/>
                      <a:pt x="21" y="11"/>
                    </a:cubicBezTo>
                    <a:cubicBezTo>
                      <a:pt x="22" y="11"/>
                      <a:pt x="22" y="11"/>
                      <a:pt x="22" y="11"/>
                    </a:cubicBezTo>
                    <a:cubicBezTo>
                      <a:pt x="24" y="11"/>
                      <a:pt x="23" y="10"/>
                      <a:pt x="24" y="9"/>
                    </a:cubicBezTo>
                    <a:cubicBezTo>
                      <a:pt x="24" y="9"/>
                      <a:pt x="25" y="8"/>
                      <a:pt x="25" y="8"/>
                    </a:cubicBezTo>
                    <a:cubicBezTo>
                      <a:pt x="26" y="8"/>
                      <a:pt x="26" y="8"/>
                      <a:pt x="26" y="9"/>
                    </a:cubicBezTo>
                    <a:cubicBezTo>
                      <a:pt x="27" y="9"/>
                      <a:pt x="27" y="9"/>
                      <a:pt x="28" y="9"/>
                    </a:cubicBezTo>
                    <a:cubicBezTo>
                      <a:pt x="28" y="9"/>
                      <a:pt x="29" y="8"/>
                      <a:pt x="29" y="8"/>
                    </a:cubicBezTo>
                    <a:cubicBezTo>
                      <a:pt x="27" y="5"/>
                      <a:pt x="23" y="5"/>
                      <a:pt x="21" y="3"/>
                    </a:cubicBezTo>
                    <a:cubicBezTo>
                      <a:pt x="19" y="2"/>
                      <a:pt x="20" y="1"/>
                      <a:pt x="18" y="0"/>
                    </a:cubicBezTo>
                    <a:cubicBezTo>
                      <a:pt x="17" y="0"/>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 name="Freeform 313">
                <a:extLst>
                  <a:ext uri="{FF2B5EF4-FFF2-40B4-BE49-F238E27FC236}">
                    <a16:creationId xmlns:a16="http://schemas.microsoft.com/office/drawing/2014/main" id="{0695B6C7-D3D9-4E05-A0B5-D090AF848118}"/>
                  </a:ext>
                </a:extLst>
              </p:cNvPr>
              <p:cNvSpPr>
                <a:spLocks/>
              </p:cNvSpPr>
              <p:nvPr/>
            </p:nvSpPr>
            <p:spPr bwMode="auto">
              <a:xfrm>
                <a:off x="9871" y="276"/>
                <a:ext cx="61" cy="49"/>
              </a:xfrm>
              <a:custGeom>
                <a:avLst/>
                <a:gdLst>
                  <a:gd name="T0" fmla="*/ 21 w 26"/>
                  <a:gd name="T1" fmla="*/ 0 h 21"/>
                  <a:gd name="T2" fmla="*/ 15 w 26"/>
                  <a:gd name="T3" fmla="*/ 4 h 21"/>
                  <a:gd name="T4" fmla="*/ 6 w 26"/>
                  <a:gd name="T5" fmla="*/ 6 h 21"/>
                  <a:gd name="T6" fmla="*/ 9 w 26"/>
                  <a:gd name="T7" fmla="*/ 6 h 21"/>
                  <a:gd name="T8" fmla="*/ 0 w 26"/>
                  <a:gd name="T9" fmla="*/ 19 h 21"/>
                  <a:gd name="T10" fmla="*/ 1 w 26"/>
                  <a:gd name="T11" fmla="*/ 21 h 21"/>
                  <a:gd name="T12" fmla="*/ 23 w 26"/>
                  <a:gd name="T13" fmla="*/ 10 h 21"/>
                  <a:gd name="T14" fmla="*/ 23 w 26"/>
                  <a:gd name="T15" fmla="*/ 1 h 21"/>
                  <a:gd name="T16" fmla="*/ 21 w 2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1">
                    <a:moveTo>
                      <a:pt x="21" y="0"/>
                    </a:moveTo>
                    <a:cubicBezTo>
                      <a:pt x="20" y="0"/>
                      <a:pt x="17" y="3"/>
                      <a:pt x="15" y="4"/>
                    </a:cubicBezTo>
                    <a:cubicBezTo>
                      <a:pt x="12" y="5"/>
                      <a:pt x="9" y="5"/>
                      <a:pt x="6" y="6"/>
                    </a:cubicBezTo>
                    <a:cubicBezTo>
                      <a:pt x="7" y="6"/>
                      <a:pt x="8" y="6"/>
                      <a:pt x="9" y="6"/>
                    </a:cubicBezTo>
                    <a:cubicBezTo>
                      <a:pt x="5" y="9"/>
                      <a:pt x="6" y="17"/>
                      <a:pt x="0" y="19"/>
                    </a:cubicBezTo>
                    <a:cubicBezTo>
                      <a:pt x="0" y="20"/>
                      <a:pt x="0" y="21"/>
                      <a:pt x="1" y="21"/>
                    </a:cubicBezTo>
                    <a:cubicBezTo>
                      <a:pt x="8" y="17"/>
                      <a:pt x="15" y="14"/>
                      <a:pt x="23" y="10"/>
                    </a:cubicBezTo>
                    <a:cubicBezTo>
                      <a:pt x="26" y="8"/>
                      <a:pt x="24" y="4"/>
                      <a:pt x="23" y="1"/>
                    </a:cubicBezTo>
                    <a:cubicBezTo>
                      <a:pt x="22" y="0"/>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 name="Freeform 314">
                <a:extLst>
                  <a:ext uri="{FF2B5EF4-FFF2-40B4-BE49-F238E27FC236}">
                    <a16:creationId xmlns:a16="http://schemas.microsoft.com/office/drawing/2014/main" id="{8E6E3AFE-A283-452B-8218-A0CCE5D22786}"/>
                  </a:ext>
                </a:extLst>
              </p:cNvPr>
              <p:cNvSpPr>
                <a:spLocks/>
              </p:cNvSpPr>
              <p:nvPr/>
            </p:nvSpPr>
            <p:spPr bwMode="auto">
              <a:xfrm>
                <a:off x="9977" y="529"/>
                <a:ext cx="42" cy="40"/>
              </a:xfrm>
              <a:custGeom>
                <a:avLst/>
                <a:gdLst>
                  <a:gd name="T0" fmla="*/ 9 w 18"/>
                  <a:gd name="T1" fmla="*/ 0 h 17"/>
                  <a:gd name="T2" fmla="*/ 0 w 18"/>
                  <a:gd name="T3" fmla="*/ 1 h 17"/>
                  <a:gd name="T4" fmla="*/ 7 w 18"/>
                  <a:gd name="T5" fmla="*/ 9 h 17"/>
                  <a:gd name="T6" fmla="*/ 17 w 18"/>
                  <a:gd name="T7" fmla="*/ 17 h 17"/>
                  <a:gd name="T8" fmla="*/ 13 w 18"/>
                  <a:gd name="T9" fmla="*/ 9 h 17"/>
                  <a:gd name="T10" fmla="*/ 9 w 18"/>
                  <a:gd name="T11" fmla="*/ 0 h 17"/>
                </a:gdLst>
                <a:ahLst/>
                <a:cxnLst>
                  <a:cxn ang="0">
                    <a:pos x="T0" y="T1"/>
                  </a:cxn>
                  <a:cxn ang="0">
                    <a:pos x="T2" y="T3"/>
                  </a:cxn>
                  <a:cxn ang="0">
                    <a:pos x="T4" y="T5"/>
                  </a:cxn>
                  <a:cxn ang="0">
                    <a:pos x="T6" y="T7"/>
                  </a:cxn>
                  <a:cxn ang="0">
                    <a:pos x="T8" y="T9"/>
                  </a:cxn>
                  <a:cxn ang="0">
                    <a:pos x="T10" y="T11"/>
                  </a:cxn>
                </a:cxnLst>
                <a:rect l="0" t="0" r="r" b="b"/>
                <a:pathLst>
                  <a:path w="18" h="17">
                    <a:moveTo>
                      <a:pt x="9" y="0"/>
                    </a:moveTo>
                    <a:cubicBezTo>
                      <a:pt x="6" y="0"/>
                      <a:pt x="3" y="0"/>
                      <a:pt x="0" y="1"/>
                    </a:cubicBezTo>
                    <a:cubicBezTo>
                      <a:pt x="4" y="2"/>
                      <a:pt x="5" y="6"/>
                      <a:pt x="7" y="9"/>
                    </a:cubicBezTo>
                    <a:cubicBezTo>
                      <a:pt x="10" y="12"/>
                      <a:pt x="13" y="14"/>
                      <a:pt x="17" y="17"/>
                    </a:cubicBezTo>
                    <a:cubicBezTo>
                      <a:pt x="18" y="13"/>
                      <a:pt x="15" y="11"/>
                      <a:pt x="13" y="9"/>
                    </a:cubicBezTo>
                    <a:cubicBezTo>
                      <a:pt x="10" y="6"/>
                      <a:pt x="9" y="4"/>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 name="Freeform 315">
                <a:extLst>
                  <a:ext uri="{FF2B5EF4-FFF2-40B4-BE49-F238E27FC236}">
                    <a16:creationId xmlns:a16="http://schemas.microsoft.com/office/drawing/2014/main" id="{E5F14CAE-9CBE-4C22-9E56-2F99D9845EFD}"/>
                  </a:ext>
                </a:extLst>
              </p:cNvPr>
              <p:cNvSpPr>
                <a:spLocks/>
              </p:cNvSpPr>
              <p:nvPr/>
            </p:nvSpPr>
            <p:spPr bwMode="auto">
              <a:xfrm>
                <a:off x="5563" y="2210"/>
                <a:ext cx="9" cy="12"/>
              </a:xfrm>
              <a:custGeom>
                <a:avLst/>
                <a:gdLst>
                  <a:gd name="T0" fmla="*/ 1 w 4"/>
                  <a:gd name="T1" fmla="*/ 0 h 5"/>
                  <a:gd name="T2" fmla="*/ 1 w 4"/>
                  <a:gd name="T3" fmla="*/ 1 h 5"/>
                  <a:gd name="T4" fmla="*/ 0 w 4"/>
                  <a:gd name="T5" fmla="*/ 0 h 5"/>
                  <a:gd name="T6" fmla="*/ 0 w 4"/>
                  <a:gd name="T7" fmla="*/ 5 h 5"/>
                  <a:gd name="T8" fmla="*/ 3 w 4"/>
                  <a:gd name="T9" fmla="*/ 1 h 5"/>
                  <a:gd name="T10" fmla="*/ 2 w 4"/>
                  <a:gd name="T11" fmla="*/ 1 h 5"/>
                  <a:gd name="T12" fmla="*/ 3 w 4"/>
                  <a:gd name="T13" fmla="*/ 1 h 5"/>
                  <a:gd name="T14" fmla="*/ 4 w 4"/>
                  <a:gd name="T15" fmla="*/ 1 h 5"/>
                  <a:gd name="T16" fmla="*/ 1 w 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1" y="0"/>
                    </a:moveTo>
                    <a:cubicBezTo>
                      <a:pt x="1" y="0"/>
                      <a:pt x="1" y="0"/>
                      <a:pt x="1" y="1"/>
                    </a:cubicBezTo>
                    <a:cubicBezTo>
                      <a:pt x="0" y="0"/>
                      <a:pt x="0" y="0"/>
                      <a:pt x="0" y="0"/>
                    </a:cubicBezTo>
                    <a:cubicBezTo>
                      <a:pt x="0" y="2"/>
                      <a:pt x="0" y="3"/>
                      <a:pt x="0" y="5"/>
                    </a:cubicBezTo>
                    <a:cubicBezTo>
                      <a:pt x="4" y="5"/>
                      <a:pt x="1" y="3"/>
                      <a:pt x="3" y="1"/>
                    </a:cubicBezTo>
                    <a:cubicBezTo>
                      <a:pt x="3" y="1"/>
                      <a:pt x="2" y="1"/>
                      <a:pt x="2" y="1"/>
                    </a:cubicBezTo>
                    <a:cubicBezTo>
                      <a:pt x="2" y="1"/>
                      <a:pt x="3" y="1"/>
                      <a:pt x="3" y="1"/>
                    </a:cubicBezTo>
                    <a:cubicBezTo>
                      <a:pt x="4" y="1"/>
                      <a:pt x="4" y="1"/>
                      <a:pt x="4"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 name="Freeform 316">
                <a:extLst>
                  <a:ext uri="{FF2B5EF4-FFF2-40B4-BE49-F238E27FC236}">
                    <a16:creationId xmlns:a16="http://schemas.microsoft.com/office/drawing/2014/main" id="{29551BC2-EB49-402C-8693-9422CF8CD893}"/>
                  </a:ext>
                </a:extLst>
              </p:cNvPr>
              <p:cNvSpPr>
                <a:spLocks/>
              </p:cNvSpPr>
              <p:nvPr/>
            </p:nvSpPr>
            <p:spPr bwMode="auto">
              <a:xfrm>
                <a:off x="5551" y="2207"/>
                <a:ext cx="9" cy="10"/>
              </a:xfrm>
              <a:custGeom>
                <a:avLst/>
                <a:gdLst>
                  <a:gd name="T0" fmla="*/ 4 w 4"/>
                  <a:gd name="T1" fmla="*/ 0 h 4"/>
                  <a:gd name="T2" fmla="*/ 0 w 4"/>
                  <a:gd name="T3" fmla="*/ 3 h 4"/>
                  <a:gd name="T4" fmla="*/ 2 w 4"/>
                  <a:gd name="T5" fmla="*/ 4 h 4"/>
                  <a:gd name="T6" fmla="*/ 3 w 4"/>
                  <a:gd name="T7" fmla="*/ 3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cubicBezTo>
                      <a:pt x="2" y="1"/>
                      <a:pt x="0" y="1"/>
                      <a:pt x="0" y="3"/>
                    </a:cubicBezTo>
                    <a:cubicBezTo>
                      <a:pt x="0" y="4"/>
                      <a:pt x="1" y="4"/>
                      <a:pt x="2" y="4"/>
                    </a:cubicBezTo>
                    <a:cubicBezTo>
                      <a:pt x="2" y="4"/>
                      <a:pt x="3" y="4"/>
                      <a:pt x="3" y="3"/>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 name="Freeform 317">
                <a:extLst>
                  <a:ext uri="{FF2B5EF4-FFF2-40B4-BE49-F238E27FC236}">
                    <a16:creationId xmlns:a16="http://schemas.microsoft.com/office/drawing/2014/main" id="{35977F62-B1B1-44A1-BF1C-27EE6AB32AA7}"/>
                  </a:ext>
                </a:extLst>
              </p:cNvPr>
              <p:cNvSpPr>
                <a:spLocks/>
              </p:cNvSpPr>
              <p:nvPr/>
            </p:nvSpPr>
            <p:spPr bwMode="auto">
              <a:xfrm>
                <a:off x="5565" y="2212"/>
                <a:ext cx="12" cy="10"/>
              </a:xfrm>
              <a:custGeom>
                <a:avLst/>
                <a:gdLst>
                  <a:gd name="T0" fmla="*/ 4 w 5"/>
                  <a:gd name="T1" fmla="*/ 0 h 4"/>
                  <a:gd name="T2" fmla="*/ 5 w 5"/>
                  <a:gd name="T3" fmla="*/ 4 h 4"/>
                  <a:gd name="T4" fmla="*/ 4 w 5"/>
                  <a:gd name="T5" fmla="*/ 0 h 4"/>
                </a:gdLst>
                <a:ahLst/>
                <a:cxnLst>
                  <a:cxn ang="0">
                    <a:pos x="T0" y="T1"/>
                  </a:cxn>
                  <a:cxn ang="0">
                    <a:pos x="T2" y="T3"/>
                  </a:cxn>
                  <a:cxn ang="0">
                    <a:pos x="T4" y="T5"/>
                  </a:cxn>
                </a:cxnLst>
                <a:rect l="0" t="0" r="r" b="b"/>
                <a:pathLst>
                  <a:path w="5" h="4">
                    <a:moveTo>
                      <a:pt x="4" y="0"/>
                    </a:moveTo>
                    <a:cubicBezTo>
                      <a:pt x="0" y="1"/>
                      <a:pt x="2" y="2"/>
                      <a:pt x="5" y="4"/>
                    </a:cubicBezTo>
                    <a:cubicBezTo>
                      <a:pt x="5"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 name="Freeform 318">
                <a:extLst>
                  <a:ext uri="{FF2B5EF4-FFF2-40B4-BE49-F238E27FC236}">
                    <a16:creationId xmlns:a16="http://schemas.microsoft.com/office/drawing/2014/main" id="{99EE2804-9D83-4048-B7AC-A527CBAD2019}"/>
                  </a:ext>
                </a:extLst>
              </p:cNvPr>
              <p:cNvSpPr>
                <a:spLocks/>
              </p:cNvSpPr>
              <p:nvPr/>
            </p:nvSpPr>
            <p:spPr bwMode="auto">
              <a:xfrm>
                <a:off x="3965" y="1635"/>
                <a:ext cx="106" cy="52"/>
              </a:xfrm>
              <a:custGeom>
                <a:avLst/>
                <a:gdLst>
                  <a:gd name="T0" fmla="*/ 45 w 45"/>
                  <a:gd name="T1" fmla="*/ 0 h 22"/>
                  <a:gd name="T2" fmla="*/ 27 w 45"/>
                  <a:gd name="T3" fmla="*/ 7 h 22"/>
                  <a:gd name="T4" fmla="*/ 26 w 45"/>
                  <a:gd name="T5" fmla="*/ 7 h 22"/>
                  <a:gd name="T6" fmla="*/ 23 w 45"/>
                  <a:gd name="T7" fmla="*/ 7 h 22"/>
                  <a:gd name="T8" fmla="*/ 19 w 45"/>
                  <a:gd name="T9" fmla="*/ 7 h 22"/>
                  <a:gd name="T10" fmla="*/ 13 w 45"/>
                  <a:gd name="T11" fmla="*/ 6 h 22"/>
                  <a:gd name="T12" fmla="*/ 11 w 45"/>
                  <a:gd name="T13" fmla="*/ 10 h 22"/>
                  <a:gd name="T14" fmla="*/ 5 w 45"/>
                  <a:gd name="T15" fmla="*/ 12 h 22"/>
                  <a:gd name="T16" fmla="*/ 3 w 45"/>
                  <a:gd name="T17" fmla="*/ 14 h 22"/>
                  <a:gd name="T18" fmla="*/ 3 w 45"/>
                  <a:gd name="T19" fmla="*/ 14 h 22"/>
                  <a:gd name="T20" fmla="*/ 2 w 45"/>
                  <a:gd name="T21" fmla="*/ 13 h 22"/>
                  <a:gd name="T22" fmla="*/ 1 w 45"/>
                  <a:gd name="T23" fmla="*/ 13 h 22"/>
                  <a:gd name="T24" fmla="*/ 1 w 45"/>
                  <a:gd name="T25" fmla="*/ 13 h 22"/>
                  <a:gd name="T26" fmla="*/ 3 w 45"/>
                  <a:gd name="T27" fmla="*/ 20 h 22"/>
                  <a:gd name="T28" fmla="*/ 13 w 45"/>
                  <a:gd name="T29" fmla="*/ 22 h 22"/>
                  <a:gd name="T30" fmla="*/ 14 w 45"/>
                  <a:gd name="T31" fmla="*/ 22 h 22"/>
                  <a:gd name="T32" fmla="*/ 25 w 45"/>
                  <a:gd name="T33" fmla="*/ 18 h 22"/>
                  <a:gd name="T34" fmla="*/ 28 w 45"/>
                  <a:gd name="T35" fmla="*/ 15 h 22"/>
                  <a:gd name="T36" fmla="*/ 31 w 45"/>
                  <a:gd name="T37" fmla="*/ 15 h 22"/>
                  <a:gd name="T38" fmla="*/ 31 w 45"/>
                  <a:gd name="T39" fmla="*/ 15 h 22"/>
                  <a:gd name="T40" fmla="*/ 31 w 45"/>
                  <a:gd name="T41" fmla="*/ 14 h 22"/>
                  <a:gd name="T42" fmla="*/ 33 w 45"/>
                  <a:gd name="T43" fmla="*/ 15 h 22"/>
                  <a:gd name="T44" fmla="*/ 34 w 45"/>
                  <a:gd name="T45" fmla="*/ 15 h 22"/>
                  <a:gd name="T46" fmla="*/ 35 w 45"/>
                  <a:gd name="T47" fmla="*/ 16 h 22"/>
                  <a:gd name="T48" fmla="*/ 33 w 45"/>
                  <a:gd name="T49" fmla="*/ 8 h 22"/>
                  <a:gd name="T50" fmla="*/ 35 w 45"/>
                  <a:gd name="T51" fmla="*/ 7 h 22"/>
                  <a:gd name="T52" fmla="*/ 36 w 45"/>
                  <a:gd name="T53" fmla="*/ 6 h 22"/>
                  <a:gd name="T54" fmla="*/ 39 w 45"/>
                  <a:gd name="T55" fmla="*/ 4 h 22"/>
                  <a:gd name="T56" fmla="*/ 45 w 45"/>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22">
                    <a:moveTo>
                      <a:pt x="45" y="0"/>
                    </a:moveTo>
                    <a:cubicBezTo>
                      <a:pt x="39" y="2"/>
                      <a:pt x="33" y="5"/>
                      <a:pt x="27" y="7"/>
                    </a:cubicBezTo>
                    <a:cubicBezTo>
                      <a:pt x="27" y="7"/>
                      <a:pt x="26" y="7"/>
                      <a:pt x="26" y="7"/>
                    </a:cubicBezTo>
                    <a:cubicBezTo>
                      <a:pt x="25" y="7"/>
                      <a:pt x="24" y="7"/>
                      <a:pt x="23" y="7"/>
                    </a:cubicBezTo>
                    <a:cubicBezTo>
                      <a:pt x="22" y="7"/>
                      <a:pt x="20" y="7"/>
                      <a:pt x="19" y="7"/>
                    </a:cubicBezTo>
                    <a:cubicBezTo>
                      <a:pt x="17" y="7"/>
                      <a:pt x="15" y="7"/>
                      <a:pt x="13" y="6"/>
                    </a:cubicBezTo>
                    <a:cubicBezTo>
                      <a:pt x="13" y="9"/>
                      <a:pt x="14" y="9"/>
                      <a:pt x="11" y="10"/>
                    </a:cubicBezTo>
                    <a:cubicBezTo>
                      <a:pt x="9" y="10"/>
                      <a:pt x="7" y="10"/>
                      <a:pt x="5" y="12"/>
                    </a:cubicBezTo>
                    <a:cubicBezTo>
                      <a:pt x="4" y="13"/>
                      <a:pt x="4" y="14"/>
                      <a:pt x="3" y="14"/>
                    </a:cubicBezTo>
                    <a:cubicBezTo>
                      <a:pt x="3" y="14"/>
                      <a:pt x="3" y="14"/>
                      <a:pt x="3" y="14"/>
                    </a:cubicBezTo>
                    <a:cubicBezTo>
                      <a:pt x="3" y="14"/>
                      <a:pt x="2" y="13"/>
                      <a:pt x="2" y="13"/>
                    </a:cubicBezTo>
                    <a:cubicBezTo>
                      <a:pt x="1" y="13"/>
                      <a:pt x="1" y="13"/>
                      <a:pt x="1" y="13"/>
                    </a:cubicBezTo>
                    <a:cubicBezTo>
                      <a:pt x="1" y="13"/>
                      <a:pt x="1" y="13"/>
                      <a:pt x="1" y="13"/>
                    </a:cubicBezTo>
                    <a:cubicBezTo>
                      <a:pt x="0" y="13"/>
                      <a:pt x="2" y="19"/>
                      <a:pt x="3" y="20"/>
                    </a:cubicBezTo>
                    <a:cubicBezTo>
                      <a:pt x="5" y="22"/>
                      <a:pt x="10" y="22"/>
                      <a:pt x="13" y="22"/>
                    </a:cubicBezTo>
                    <a:cubicBezTo>
                      <a:pt x="13" y="22"/>
                      <a:pt x="13" y="22"/>
                      <a:pt x="14" y="22"/>
                    </a:cubicBezTo>
                    <a:cubicBezTo>
                      <a:pt x="18" y="22"/>
                      <a:pt x="22" y="20"/>
                      <a:pt x="25" y="18"/>
                    </a:cubicBezTo>
                    <a:cubicBezTo>
                      <a:pt x="27" y="18"/>
                      <a:pt x="27" y="16"/>
                      <a:pt x="28" y="15"/>
                    </a:cubicBezTo>
                    <a:cubicBezTo>
                      <a:pt x="29" y="15"/>
                      <a:pt x="30" y="15"/>
                      <a:pt x="31" y="15"/>
                    </a:cubicBezTo>
                    <a:cubicBezTo>
                      <a:pt x="31" y="15"/>
                      <a:pt x="31" y="15"/>
                      <a:pt x="31" y="15"/>
                    </a:cubicBezTo>
                    <a:cubicBezTo>
                      <a:pt x="32" y="15"/>
                      <a:pt x="31" y="14"/>
                      <a:pt x="31" y="14"/>
                    </a:cubicBezTo>
                    <a:cubicBezTo>
                      <a:pt x="32" y="15"/>
                      <a:pt x="32" y="15"/>
                      <a:pt x="33" y="15"/>
                    </a:cubicBezTo>
                    <a:cubicBezTo>
                      <a:pt x="33" y="15"/>
                      <a:pt x="33" y="15"/>
                      <a:pt x="34" y="15"/>
                    </a:cubicBezTo>
                    <a:cubicBezTo>
                      <a:pt x="35" y="16"/>
                      <a:pt x="35" y="16"/>
                      <a:pt x="35" y="16"/>
                    </a:cubicBezTo>
                    <a:cubicBezTo>
                      <a:pt x="34" y="13"/>
                      <a:pt x="31" y="10"/>
                      <a:pt x="33" y="8"/>
                    </a:cubicBezTo>
                    <a:cubicBezTo>
                      <a:pt x="35" y="7"/>
                      <a:pt x="35" y="7"/>
                      <a:pt x="35" y="7"/>
                    </a:cubicBezTo>
                    <a:cubicBezTo>
                      <a:pt x="36" y="6"/>
                      <a:pt x="36" y="6"/>
                      <a:pt x="36" y="6"/>
                    </a:cubicBezTo>
                    <a:cubicBezTo>
                      <a:pt x="37" y="5"/>
                      <a:pt x="38" y="5"/>
                      <a:pt x="39" y="4"/>
                    </a:cubicBezTo>
                    <a:cubicBezTo>
                      <a:pt x="40" y="3"/>
                      <a:pt x="44" y="1"/>
                      <a:pt x="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 name="Freeform 319">
                <a:extLst>
                  <a:ext uri="{FF2B5EF4-FFF2-40B4-BE49-F238E27FC236}">
                    <a16:creationId xmlns:a16="http://schemas.microsoft.com/office/drawing/2014/main" id="{2BC687B1-DEB0-40F3-B85B-03519876B073}"/>
                  </a:ext>
                </a:extLst>
              </p:cNvPr>
              <p:cNvSpPr>
                <a:spLocks/>
              </p:cNvSpPr>
              <p:nvPr/>
            </p:nvSpPr>
            <p:spPr bwMode="auto">
              <a:xfrm>
                <a:off x="6723" y="2453"/>
                <a:ext cx="9" cy="7"/>
              </a:xfrm>
              <a:custGeom>
                <a:avLst/>
                <a:gdLst>
                  <a:gd name="T0" fmla="*/ 3 w 4"/>
                  <a:gd name="T1" fmla="*/ 0 h 3"/>
                  <a:gd name="T2" fmla="*/ 0 w 4"/>
                  <a:gd name="T3" fmla="*/ 0 h 3"/>
                  <a:gd name="T4" fmla="*/ 2 w 4"/>
                  <a:gd name="T5" fmla="*/ 3 h 3"/>
                  <a:gd name="T6" fmla="*/ 3 w 4"/>
                  <a:gd name="T7" fmla="*/ 3 h 3"/>
                  <a:gd name="T8" fmla="*/ 3 w 4"/>
                  <a:gd name="T9" fmla="*/ 3 h 3"/>
                  <a:gd name="T10" fmla="*/ 4 w 4"/>
                  <a:gd name="T11" fmla="*/ 2 h 3"/>
                  <a:gd name="T12" fmla="*/ 3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3" y="0"/>
                    </a:moveTo>
                    <a:cubicBezTo>
                      <a:pt x="2" y="0"/>
                      <a:pt x="1" y="0"/>
                      <a:pt x="0" y="0"/>
                    </a:cubicBezTo>
                    <a:cubicBezTo>
                      <a:pt x="0" y="1"/>
                      <a:pt x="1" y="3"/>
                      <a:pt x="2" y="3"/>
                    </a:cubicBezTo>
                    <a:cubicBezTo>
                      <a:pt x="3" y="3"/>
                      <a:pt x="3" y="3"/>
                      <a:pt x="3" y="3"/>
                    </a:cubicBezTo>
                    <a:cubicBezTo>
                      <a:pt x="3" y="3"/>
                      <a:pt x="3" y="3"/>
                      <a:pt x="3" y="3"/>
                    </a:cubicBezTo>
                    <a:cubicBezTo>
                      <a:pt x="4" y="3"/>
                      <a:pt x="4" y="3"/>
                      <a:pt x="4" y="2"/>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 name="Freeform 320">
                <a:extLst>
                  <a:ext uri="{FF2B5EF4-FFF2-40B4-BE49-F238E27FC236}">
                    <a16:creationId xmlns:a16="http://schemas.microsoft.com/office/drawing/2014/main" id="{1C0E4E61-CCF1-4970-8633-D737AC8E41D2}"/>
                  </a:ext>
                </a:extLst>
              </p:cNvPr>
              <p:cNvSpPr>
                <a:spLocks/>
              </p:cNvSpPr>
              <p:nvPr/>
            </p:nvSpPr>
            <p:spPr bwMode="auto">
              <a:xfrm>
                <a:off x="7642" y="2285"/>
                <a:ext cx="2" cy="5"/>
              </a:xfrm>
              <a:custGeom>
                <a:avLst/>
                <a:gdLst>
                  <a:gd name="T0" fmla="*/ 1 w 1"/>
                  <a:gd name="T1" fmla="*/ 0 h 2"/>
                  <a:gd name="T2" fmla="*/ 0 w 1"/>
                  <a:gd name="T3" fmla="*/ 2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0" y="1"/>
                      <a:pt x="0" y="2"/>
                    </a:cubicBezTo>
                    <a:cubicBezTo>
                      <a:pt x="1" y="2"/>
                      <a:pt x="1" y="2"/>
                      <a:pt x="1" y="2"/>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 name="Freeform 321">
                <a:extLst>
                  <a:ext uri="{FF2B5EF4-FFF2-40B4-BE49-F238E27FC236}">
                    <a16:creationId xmlns:a16="http://schemas.microsoft.com/office/drawing/2014/main" id="{B57D98BE-1836-4FEC-9082-A632F1762728}"/>
                  </a:ext>
                </a:extLst>
              </p:cNvPr>
              <p:cNvSpPr>
                <a:spLocks/>
              </p:cNvSpPr>
              <p:nvPr/>
            </p:nvSpPr>
            <p:spPr bwMode="auto">
              <a:xfrm>
                <a:off x="7621" y="2257"/>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 name="Freeform 322">
                <a:extLst>
                  <a:ext uri="{FF2B5EF4-FFF2-40B4-BE49-F238E27FC236}">
                    <a16:creationId xmlns:a16="http://schemas.microsoft.com/office/drawing/2014/main" id="{0E1BEDE1-B5C0-467D-BA33-7589DFA56221}"/>
                  </a:ext>
                </a:extLst>
              </p:cNvPr>
              <p:cNvSpPr>
                <a:spLocks/>
              </p:cNvSpPr>
              <p:nvPr/>
            </p:nvSpPr>
            <p:spPr bwMode="auto">
              <a:xfrm>
                <a:off x="6718" y="2943"/>
                <a:ext cx="7" cy="9"/>
              </a:xfrm>
              <a:custGeom>
                <a:avLst/>
                <a:gdLst>
                  <a:gd name="T0" fmla="*/ 3 w 3"/>
                  <a:gd name="T1" fmla="*/ 0 h 4"/>
                  <a:gd name="T2" fmla="*/ 2 w 3"/>
                  <a:gd name="T3" fmla="*/ 4 h 4"/>
                  <a:gd name="T4" fmla="*/ 3 w 3"/>
                  <a:gd name="T5" fmla="*/ 0 h 4"/>
                </a:gdLst>
                <a:ahLst/>
                <a:cxnLst>
                  <a:cxn ang="0">
                    <a:pos x="T0" y="T1"/>
                  </a:cxn>
                  <a:cxn ang="0">
                    <a:pos x="T2" y="T3"/>
                  </a:cxn>
                  <a:cxn ang="0">
                    <a:pos x="T4" y="T5"/>
                  </a:cxn>
                </a:cxnLst>
                <a:rect l="0" t="0" r="r" b="b"/>
                <a:pathLst>
                  <a:path w="3" h="4">
                    <a:moveTo>
                      <a:pt x="3" y="0"/>
                    </a:moveTo>
                    <a:cubicBezTo>
                      <a:pt x="0" y="1"/>
                      <a:pt x="2" y="3"/>
                      <a:pt x="2" y="4"/>
                    </a:cubicBezTo>
                    <a:cubicBezTo>
                      <a:pt x="2"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 name="Freeform 323">
                <a:extLst>
                  <a:ext uri="{FF2B5EF4-FFF2-40B4-BE49-F238E27FC236}">
                    <a16:creationId xmlns:a16="http://schemas.microsoft.com/office/drawing/2014/main" id="{5F611A94-AD7D-48A0-BF00-D0C084DE5D3A}"/>
                  </a:ext>
                </a:extLst>
              </p:cNvPr>
              <p:cNvSpPr>
                <a:spLocks/>
              </p:cNvSpPr>
              <p:nvPr/>
            </p:nvSpPr>
            <p:spPr bwMode="auto">
              <a:xfrm>
                <a:off x="6728" y="2978"/>
                <a:ext cx="4"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0" y="1"/>
                      <a:pt x="0" y="2"/>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 name="Freeform 324">
                <a:extLst>
                  <a:ext uri="{FF2B5EF4-FFF2-40B4-BE49-F238E27FC236}">
                    <a16:creationId xmlns:a16="http://schemas.microsoft.com/office/drawing/2014/main" id="{2FEE94AB-7B2A-4BB2-A6B4-673518DE1783}"/>
                  </a:ext>
                </a:extLst>
              </p:cNvPr>
              <p:cNvSpPr>
                <a:spLocks/>
              </p:cNvSpPr>
              <p:nvPr/>
            </p:nvSpPr>
            <p:spPr bwMode="auto">
              <a:xfrm>
                <a:off x="6685" y="2725"/>
                <a:ext cx="2" cy="7"/>
              </a:xfrm>
              <a:custGeom>
                <a:avLst/>
                <a:gdLst>
                  <a:gd name="T0" fmla="*/ 1 w 1"/>
                  <a:gd name="T1" fmla="*/ 0 h 3"/>
                  <a:gd name="T2" fmla="*/ 0 w 1"/>
                  <a:gd name="T3" fmla="*/ 3 h 3"/>
                  <a:gd name="T4" fmla="*/ 0 w 1"/>
                  <a:gd name="T5" fmla="*/ 3 h 3"/>
                  <a:gd name="T6" fmla="*/ 1 w 1"/>
                  <a:gd name="T7" fmla="*/ 2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1" y="1"/>
                      <a:pt x="0" y="2"/>
                      <a:pt x="0" y="3"/>
                    </a:cubicBezTo>
                    <a:cubicBezTo>
                      <a:pt x="0" y="3"/>
                      <a:pt x="0" y="3"/>
                      <a:pt x="0" y="3"/>
                    </a:cubicBezTo>
                    <a:cubicBezTo>
                      <a:pt x="1" y="3"/>
                      <a:pt x="1" y="3"/>
                      <a:pt x="1" y="2"/>
                    </a:cubicBezTo>
                    <a:cubicBezTo>
                      <a:pt x="1" y="1"/>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 name="Freeform 325">
                <a:extLst>
                  <a:ext uri="{FF2B5EF4-FFF2-40B4-BE49-F238E27FC236}">
                    <a16:creationId xmlns:a16="http://schemas.microsoft.com/office/drawing/2014/main" id="{FA2A80CC-34B7-4574-8B8B-BA1CC265D7DA}"/>
                  </a:ext>
                </a:extLst>
              </p:cNvPr>
              <p:cNvSpPr>
                <a:spLocks/>
              </p:cNvSpPr>
              <p:nvPr/>
            </p:nvSpPr>
            <p:spPr bwMode="auto">
              <a:xfrm>
                <a:off x="6704" y="2938"/>
                <a:ext cx="5" cy="5"/>
              </a:xfrm>
              <a:custGeom>
                <a:avLst/>
                <a:gdLst>
                  <a:gd name="T0" fmla="*/ 0 w 2"/>
                  <a:gd name="T1" fmla="*/ 0 h 2"/>
                  <a:gd name="T2" fmla="*/ 1 w 2"/>
                  <a:gd name="T3" fmla="*/ 0 h 2"/>
                  <a:gd name="T4" fmla="*/ 2 w 2"/>
                  <a:gd name="T5" fmla="*/ 2 h 2"/>
                  <a:gd name="T6" fmla="*/ 1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1" y="0"/>
                      <a:pt x="1" y="0"/>
                      <a:pt x="1" y="0"/>
                    </a:cubicBezTo>
                    <a:cubicBezTo>
                      <a:pt x="1" y="1"/>
                      <a:pt x="1" y="1"/>
                      <a:pt x="2" y="2"/>
                    </a:cubicBezTo>
                    <a:cubicBezTo>
                      <a:pt x="1" y="1"/>
                      <a:pt x="1"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 name="Freeform 326">
                <a:extLst>
                  <a:ext uri="{FF2B5EF4-FFF2-40B4-BE49-F238E27FC236}">
                    <a16:creationId xmlns:a16="http://schemas.microsoft.com/office/drawing/2014/main" id="{BD0B686C-00C1-47CF-B657-6B4333CB5D27}"/>
                  </a:ext>
                </a:extLst>
              </p:cNvPr>
              <p:cNvSpPr>
                <a:spLocks/>
              </p:cNvSpPr>
              <p:nvPr/>
            </p:nvSpPr>
            <p:spPr bwMode="auto">
              <a:xfrm>
                <a:off x="6671" y="2822"/>
                <a:ext cx="9" cy="17"/>
              </a:xfrm>
              <a:custGeom>
                <a:avLst/>
                <a:gdLst>
                  <a:gd name="T0" fmla="*/ 3 w 4"/>
                  <a:gd name="T1" fmla="*/ 0 h 7"/>
                  <a:gd name="T2" fmla="*/ 0 w 4"/>
                  <a:gd name="T3" fmla="*/ 2 h 7"/>
                  <a:gd name="T4" fmla="*/ 0 w 4"/>
                  <a:gd name="T5" fmla="*/ 5 h 7"/>
                  <a:gd name="T6" fmla="*/ 0 w 4"/>
                  <a:gd name="T7" fmla="*/ 6 h 7"/>
                  <a:gd name="T8" fmla="*/ 2 w 4"/>
                  <a:gd name="T9" fmla="*/ 7 h 7"/>
                  <a:gd name="T10" fmla="*/ 4 w 4"/>
                  <a:gd name="T11" fmla="*/ 2 h 7"/>
                  <a:gd name="T12" fmla="*/ 4 w 4"/>
                  <a:gd name="T13" fmla="*/ 1 h 7"/>
                  <a:gd name="T14" fmla="*/ 3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3" y="0"/>
                    </a:moveTo>
                    <a:cubicBezTo>
                      <a:pt x="2" y="0"/>
                      <a:pt x="0" y="1"/>
                      <a:pt x="0" y="2"/>
                    </a:cubicBezTo>
                    <a:cubicBezTo>
                      <a:pt x="0" y="3"/>
                      <a:pt x="0" y="4"/>
                      <a:pt x="0" y="5"/>
                    </a:cubicBezTo>
                    <a:cubicBezTo>
                      <a:pt x="0" y="5"/>
                      <a:pt x="0" y="6"/>
                      <a:pt x="0" y="6"/>
                    </a:cubicBezTo>
                    <a:cubicBezTo>
                      <a:pt x="1" y="6"/>
                      <a:pt x="1" y="7"/>
                      <a:pt x="2" y="7"/>
                    </a:cubicBezTo>
                    <a:cubicBezTo>
                      <a:pt x="3" y="7"/>
                      <a:pt x="4" y="3"/>
                      <a:pt x="4" y="2"/>
                    </a:cubicBezTo>
                    <a:cubicBezTo>
                      <a:pt x="4" y="1"/>
                      <a:pt x="4" y="1"/>
                      <a:pt x="4"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 name="Freeform 327">
                <a:extLst>
                  <a:ext uri="{FF2B5EF4-FFF2-40B4-BE49-F238E27FC236}">
                    <a16:creationId xmlns:a16="http://schemas.microsoft.com/office/drawing/2014/main" id="{40B4BE6E-0764-421A-BC84-CB68879BFAA1}"/>
                  </a:ext>
                </a:extLst>
              </p:cNvPr>
              <p:cNvSpPr>
                <a:spLocks/>
              </p:cNvSpPr>
              <p:nvPr/>
            </p:nvSpPr>
            <p:spPr bwMode="auto">
              <a:xfrm>
                <a:off x="6711" y="2952"/>
                <a:ext cx="9" cy="5"/>
              </a:xfrm>
              <a:custGeom>
                <a:avLst/>
                <a:gdLst>
                  <a:gd name="T0" fmla="*/ 3 w 4"/>
                  <a:gd name="T1" fmla="*/ 0 h 2"/>
                  <a:gd name="T2" fmla="*/ 3 w 4"/>
                  <a:gd name="T3" fmla="*/ 2 h 2"/>
                  <a:gd name="T4" fmla="*/ 4 w 4"/>
                  <a:gd name="T5" fmla="*/ 2 h 2"/>
                  <a:gd name="T6" fmla="*/ 3 w 4"/>
                  <a:gd name="T7" fmla="*/ 0 h 2"/>
                </a:gdLst>
                <a:ahLst/>
                <a:cxnLst>
                  <a:cxn ang="0">
                    <a:pos x="T0" y="T1"/>
                  </a:cxn>
                  <a:cxn ang="0">
                    <a:pos x="T2" y="T3"/>
                  </a:cxn>
                  <a:cxn ang="0">
                    <a:pos x="T4" y="T5"/>
                  </a:cxn>
                  <a:cxn ang="0">
                    <a:pos x="T6" y="T7"/>
                  </a:cxn>
                </a:cxnLst>
                <a:rect l="0" t="0" r="r" b="b"/>
                <a:pathLst>
                  <a:path w="4" h="2">
                    <a:moveTo>
                      <a:pt x="3" y="0"/>
                    </a:moveTo>
                    <a:cubicBezTo>
                      <a:pt x="0" y="1"/>
                      <a:pt x="2" y="2"/>
                      <a:pt x="3" y="2"/>
                    </a:cubicBezTo>
                    <a:cubicBezTo>
                      <a:pt x="4" y="2"/>
                      <a:pt x="4" y="2"/>
                      <a:pt x="4" y="2"/>
                    </a:cubicBezTo>
                    <a:cubicBezTo>
                      <a:pt x="4"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 name="Freeform 328">
                <a:extLst>
                  <a:ext uri="{FF2B5EF4-FFF2-40B4-BE49-F238E27FC236}">
                    <a16:creationId xmlns:a16="http://schemas.microsoft.com/office/drawing/2014/main" id="{F66643EB-E927-42EA-A3E2-1C1872C725EE}"/>
                  </a:ext>
                </a:extLst>
              </p:cNvPr>
              <p:cNvSpPr>
                <a:spLocks noEditPoints="1"/>
              </p:cNvSpPr>
              <p:nvPr/>
            </p:nvSpPr>
            <p:spPr bwMode="auto">
              <a:xfrm>
                <a:off x="6678" y="2699"/>
                <a:ext cx="26" cy="95"/>
              </a:xfrm>
              <a:custGeom>
                <a:avLst/>
                <a:gdLst>
                  <a:gd name="T0" fmla="*/ 11 w 11"/>
                  <a:gd name="T1" fmla="*/ 3 h 40"/>
                  <a:gd name="T2" fmla="*/ 11 w 11"/>
                  <a:gd name="T3" fmla="*/ 3 h 40"/>
                  <a:gd name="T4" fmla="*/ 11 w 11"/>
                  <a:gd name="T5" fmla="*/ 3 h 40"/>
                  <a:gd name="T6" fmla="*/ 10 w 11"/>
                  <a:gd name="T7" fmla="*/ 0 h 40"/>
                  <a:gd name="T8" fmla="*/ 7 w 11"/>
                  <a:gd name="T9" fmla="*/ 10 h 40"/>
                  <a:gd name="T10" fmla="*/ 6 w 11"/>
                  <a:gd name="T11" fmla="*/ 13 h 40"/>
                  <a:gd name="T12" fmla="*/ 7 w 11"/>
                  <a:gd name="T13" fmla="*/ 13 h 40"/>
                  <a:gd name="T14" fmla="*/ 5 w 11"/>
                  <a:gd name="T15" fmla="*/ 19 h 40"/>
                  <a:gd name="T16" fmla="*/ 5 w 11"/>
                  <a:gd name="T17" fmla="*/ 24 h 40"/>
                  <a:gd name="T18" fmla="*/ 6 w 11"/>
                  <a:gd name="T19" fmla="*/ 24 h 40"/>
                  <a:gd name="T20" fmla="*/ 5 w 11"/>
                  <a:gd name="T21" fmla="*/ 27 h 40"/>
                  <a:gd name="T22" fmla="*/ 5 w 11"/>
                  <a:gd name="T23" fmla="*/ 27 h 40"/>
                  <a:gd name="T24" fmla="*/ 4 w 11"/>
                  <a:gd name="T25" fmla="*/ 26 h 40"/>
                  <a:gd name="T26" fmla="*/ 3 w 11"/>
                  <a:gd name="T27" fmla="*/ 28 h 40"/>
                  <a:gd name="T28" fmla="*/ 2 w 11"/>
                  <a:gd name="T29" fmla="*/ 29 h 40"/>
                  <a:gd name="T30" fmla="*/ 2 w 11"/>
                  <a:gd name="T31" fmla="*/ 32 h 40"/>
                  <a:gd name="T32" fmla="*/ 1 w 11"/>
                  <a:gd name="T33" fmla="*/ 32 h 40"/>
                  <a:gd name="T34" fmla="*/ 1 w 11"/>
                  <a:gd name="T35" fmla="*/ 33 h 40"/>
                  <a:gd name="T36" fmla="*/ 2 w 11"/>
                  <a:gd name="T37" fmla="*/ 36 h 40"/>
                  <a:gd name="T38" fmla="*/ 2 w 11"/>
                  <a:gd name="T39" fmla="*/ 37 h 40"/>
                  <a:gd name="T40" fmla="*/ 4 w 11"/>
                  <a:gd name="T41" fmla="*/ 40 h 40"/>
                  <a:gd name="T42" fmla="*/ 4 w 11"/>
                  <a:gd name="T43" fmla="*/ 35 h 40"/>
                  <a:gd name="T44" fmla="*/ 5 w 11"/>
                  <a:gd name="T45" fmla="*/ 29 h 40"/>
                  <a:gd name="T46" fmla="*/ 7 w 11"/>
                  <a:gd name="T47" fmla="*/ 25 h 40"/>
                  <a:gd name="T48" fmla="*/ 7 w 11"/>
                  <a:gd name="T49" fmla="*/ 24 h 40"/>
                  <a:gd name="T50" fmla="*/ 7 w 11"/>
                  <a:gd name="T51" fmla="*/ 24 h 40"/>
                  <a:gd name="T52" fmla="*/ 9 w 11"/>
                  <a:gd name="T53" fmla="*/ 20 h 40"/>
                  <a:gd name="T54" fmla="*/ 9 w 11"/>
                  <a:gd name="T55" fmla="*/ 16 h 40"/>
                  <a:gd name="T56" fmla="*/ 7 w 11"/>
                  <a:gd name="T57" fmla="*/ 13 h 40"/>
                  <a:gd name="T58" fmla="*/ 7 w 11"/>
                  <a:gd name="T59" fmla="*/ 13 h 40"/>
                  <a:gd name="T60" fmla="*/ 8 w 11"/>
                  <a:gd name="T61" fmla="*/ 10 h 40"/>
                  <a:gd name="T62" fmla="*/ 10 w 11"/>
                  <a:gd name="T63" fmla="*/ 8 h 40"/>
                  <a:gd name="T64" fmla="*/ 11 w 11"/>
                  <a:gd name="T65" fmla="*/ 6 h 40"/>
                  <a:gd name="T66" fmla="*/ 10 w 11"/>
                  <a:gd name="T67" fmla="*/ 5 h 40"/>
                  <a:gd name="T68" fmla="*/ 9 w 11"/>
                  <a:gd name="T69" fmla="*/ 4 h 40"/>
                  <a:gd name="T70" fmla="*/ 9 w 11"/>
                  <a:gd name="T71" fmla="*/ 4 h 40"/>
                  <a:gd name="T72" fmla="*/ 10 w 11"/>
                  <a:gd name="T73" fmla="*/ 3 h 40"/>
                  <a:gd name="T74" fmla="*/ 11 w 11"/>
                  <a:gd name="T75" fmla="*/ 3 h 40"/>
                  <a:gd name="T76" fmla="*/ 11 w 11"/>
                  <a:gd name="T77" fmla="*/ 3 h 40"/>
                  <a:gd name="T78" fmla="*/ 10 w 11"/>
                  <a:gd name="T7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 h="40">
                    <a:moveTo>
                      <a:pt x="11" y="3"/>
                    </a:moveTo>
                    <a:cubicBezTo>
                      <a:pt x="11" y="3"/>
                      <a:pt x="11" y="3"/>
                      <a:pt x="11" y="3"/>
                    </a:cubicBezTo>
                    <a:cubicBezTo>
                      <a:pt x="11" y="3"/>
                      <a:pt x="11" y="3"/>
                      <a:pt x="11" y="3"/>
                    </a:cubicBezTo>
                    <a:moveTo>
                      <a:pt x="10" y="0"/>
                    </a:moveTo>
                    <a:cubicBezTo>
                      <a:pt x="9" y="3"/>
                      <a:pt x="8" y="7"/>
                      <a:pt x="7" y="10"/>
                    </a:cubicBezTo>
                    <a:cubicBezTo>
                      <a:pt x="6" y="11"/>
                      <a:pt x="6" y="12"/>
                      <a:pt x="6" y="13"/>
                    </a:cubicBezTo>
                    <a:cubicBezTo>
                      <a:pt x="7" y="13"/>
                      <a:pt x="7" y="13"/>
                      <a:pt x="7" y="13"/>
                    </a:cubicBezTo>
                    <a:cubicBezTo>
                      <a:pt x="6" y="13"/>
                      <a:pt x="5" y="16"/>
                      <a:pt x="5" y="19"/>
                    </a:cubicBezTo>
                    <a:cubicBezTo>
                      <a:pt x="5" y="21"/>
                      <a:pt x="5" y="23"/>
                      <a:pt x="5" y="24"/>
                    </a:cubicBezTo>
                    <a:cubicBezTo>
                      <a:pt x="6" y="24"/>
                      <a:pt x="6" y="24"/>
                      <a:pt x="6" y="24"/>
                    </a:cubicBezTo>
                    <a:cubicBezTo>
                      <a:pt x="5" y="25"/>
                      <a:pt x="5" y="26"/>
                      <a:pt x="5" y="27"/>
                    </a:cubicBezTo>
                    <a:cubicBezTo>
                      <a:pt x="5" y="27"/>
                      <a:pt x="5" y="27"/>
                      <a:pt x="5" y="27"/>
                    </a:cubicBezTo>
                    <a:cubicBezTo>
                      <a:pt x="5" y="27"/>
                      <a:pt x="4" y="26"/>
                      <a:pt x="4" y="26"/>
                    </a:cubicBezTo>
                    <a:cubicBezTo>
                      <a:pt x="3" y="26"/>
                      <a:pt x="3" y="27"/>
                      <a:pt x="3" y="28"/>
                    </a:cubicBezTo>
                    <a:cubicBezTo>
                      <a:pt x="3" y="28"/>
                      <a:pt x="2" y="29"/>
                      <a:pt x="2" y="29"/>
                    </a:cubicBezTo>
                    <a:cubicBezTo>
                      <a:pt x="2" y="30"/>
                      <a:pt x="2" y="31"/>
                      <a:pt x="2" y="32"/>
                    </a:cubicBezTo>
                    <a:cubicBezTo>
                      <a:pt x="2" y="32"/>
                      <a:pt x="1" y="32"/>
                      <a:pt x="1" y="32"/>
                    </a:cubicBezTo>
                    <a:cubicBezTo>
                      <a:pt x="1" y="32"/>
                      <a:pt x="1" y="32"/>
                      <a:pt x="1" y="33"/>
                    </a:cubicBezTo>
                    <a:cubicBezTo>
                      <a:pt x="0" y="34"/>
                      <a:pt x="2" y="35"/>
                      <a:pt x="2" y="36"/>
                    </a:cubicBezTo>
                    <a:cubicBezTo>
                      <a:pt x="2" y="37"/>
                      <a:pt x="2" y="37"/>
                      <a:pt x="2" y="37"/>
                    </a:cubicBezTo>
                    <a:cubicBezTo>
                      <a:pt x="3" y="38"/>
                      <a:pt x="3" y="39"/>
                      <a:pt x="4" y="40"/>
                    </a:cubicBezTo>
                    <a:cubicBezTo>
                      <a:pt x="4" y="38"/>
                      <a:pt x="4" y="36"/>
                      <a:pt x="4" y="35"/>
                    </a:cubicBezTo>
                    <a:cubicBezTo>
                      <a:pt x="5" y="33"/>
                      <a:pt x="5" y="31"/>
                      <a:pt x="5" y="29"/>
                    </a:cubicBezTo>
                    <a:cubicBezTo>
                      <a:pt x="5" y="28"/>
                      <a:pt x="6" y="26"/>
                      <a:pt x="7" y="25"/>
                    </a:cubicBezTo>
                    <a:cubicBezTo>
                      <a:pt x="7" y="25"/>
                      <a:pt x="7" y="24"/>
                      <a:pt x="7" y="24"/>
                    </a:cubicBezTo>
                    <a:cubicBezTo>
                      <a:pt x="7" y="24"/>
                      <a:pt x="7" y="24"/>
                      <a:pt x="7" y="24"/>
                    </a:cubicBezTo>
                    <a:cubicBezTo>
                      <a:pt x="8" y="23"/>
                      <a:pt x="9" y="21"/>
                      <a:pt x="9" y="20"/>
                    </a:cubicBezTo>
                    <a:cubicBezTo>
                      <a:pt x="9" y="19"/>
                      <a:pt x="9" y="17"/>
                      <a:pt x="9" y="16"/>
                    </a:cubicBezTo>
                    <a:cubicBezTo>
                      <a:pt x="8" y="15"/>
                      <a:pt x="8" y="14"/>
                      <a:pt x="7" y="13"/>
                    </a:cubicBezTo>
                    <a:cubicBezTo>
                      <a:pt x="7" y="13"/>
                      <a:pt x="7" y="13"/>
                      <a:pt x="7" y="13"/>
                    </a:cubicBezTo>
                    <a:cubicBezTo>
                      <a:pt x="8" y="12"/>
                      <a:pt x="8" y="10"/>
                      <a:pt x="8" y="10"/>
                    </a:cubicBezTo>
                    <a:cubicBezTo>
                      <a:pt x="9" y="9"/>
                      <a:pt x="10" y="9"/>
                      <a:pt x="10" y="8"/>
                    </a:cubicBezTo>
                    <a:cubicBezTo>
                      <a:pt x="11" y="8"/>
                      <a:pt x="11" y="7"/>
                      <a:pt x="11" y="6"/>
                    </a:cubicBezTo>
                    <a:cubicBezTo>
                      <a:pt x="11" y="6"/>
                      <a:pt x="10" y="5"/>
                      <a:pt x="10" y="5"/>
                    </a:cubicBezTo>
                    <a:cubicBezTo>
                      <a:pt x="10" y="4"/>
                      <a:pt x="9" y="5"/>
                      <a:pt x="9" y="4"/>
                    </a:cubicBezTo>
                    <a:cubicBezTo>
                      <a:pt x="9" y="4"/>
                      <a:pt x="9" y="4"/>
                      <a:pt x="9" y="4"/>
                    </a:cubicBezTo>
                    <a:cubicBezTo>
                      <a:pt x="10" y="4"/>
                      <a:pt x="10" y="4"/>
                      <a:pt x="10" y="3"/>
                    </a:cubicBezTo>
                    <a:cubicBezTo>
                      <a:pt x="10" y="3"/>
                      <a:pt x="11" y="3"/>
                      <a:pt x="11" y="3"/>
                    </a:cubicBezTo>
                    <a:cubicBezTo>
                      <a:pt x="11" y="3"/>
                      <a:pt x="11" y="3"/>
                      <a:pt x="11" y="3"/>
                    </a:cubicBezTo>
                    <a:cubicBezTo>
                      <a:pt x="11" y="2"/>
                      <a:pt x="11"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 name="Freeform 329">
                <a:extLst>
                  <a:ext uri="{FF2B5EF4-FFF2-40B4-BE49-F238E27FC236}">
                    <a16:creationId xmlns:a16="http://schemas.microsoft.com/office/drawing/2014/main" id="{AB7D2C64-A039-4A02-91B4-EF54AD61E1C8}"/>
                  </a:ext>
                </a:extLst>
              </p:cNvPr>
              <p:cNvSpPr>
                <a:spLocks/>
              </p:cNvSpPr>
              <p:nvPr/>
            </p:nvSpPr>
            <p:spPr bwMode="auto">
              <a:xfrm>
                <a:off x="6683" y="2794"/>
                <a:ext cx="4" cy="4"/>
              </a:xfrm>
              <a:custGeom>
                <a:avLst/>
                <a:gdLst>
                  <a:gd name="T0" fmla="*/ 1 w 2"/>
                  <a:gd name="T1" fmla="*/ 0 h 2"/>
                  <a:gd name="T2" fmla="*/ 0 w 2"/>
                  <a:gd name="T3" fmla="*/ 2 h 2"/>
                  <a:gd name="T4" fmla="*/ 1 w 2"/>
                  <a:gd name="T5" fmla="*/ 0 h 2"/>
                </a:gdLst>
                <a:ahLst/>
                <a:cxnLst>
                  <a:cxn ang="0">
                    <a:pos x="T0" y="T1"/>
                  </a:cxn>
                  <a:cxn ang="0">
                    <a:pos x="T2" y="T3"/>
                  </a:cxn>
                  <a:cxn ang="0">
                    <a:pos x="T4" y="T5"/>
                  </a:cxn>
                </a:cxnLst>
                <a:rect l="0" t="0" r="r" b="b"/>
                <a:pathLst>
                  <a:path w="2" h="2">
                    <a:moveTo>
                      <a:pt x="1" y="0"/>
                    </a:moveTo>
                    <a:cubicBezTo>
                      <a:pt x="1" y="0"/>
                      <a:pt x="1" y="1"/>
                      <a:pt x="0" y="2"/>
                    </a:cubicBezTo>
                    <a:cubicBezTo>
                      <a:pt x="1"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 name="Freeform 330">
                <a:extLst>
                  <a:ext uri="{FF2B5EF4-FFF2-40B4-BE49-F238E27FC236}">
                    <a16:creationId xmlns:a16="http://schemas.microsoft.com/office/drawing/2014/main" id="{6675E7FE-FE2F-40DE-BB99-F66E7ECDB8FE}"/>
                  </a:ext>
                </a:extLst>
              </p:cNvPr>
              <p:cNvSpPr>
                <a:spLocks/>
              </p:cNvSpPr>
              <p:nvPr/>
            </p:nvSpPr>
            <p:spPr bwMode="auto">
              <a:xfrm>
                <a:off x="6687" y="2895"/>
                <a:ext cx="3"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 name="Freeform 331">
                <a:extLst>
                  <a:ext uri="{FF2B5EF4-FFF2-40B4-BE49-F238E27FC236}">
                    <a16:creationId xmlns:a16="http://schemas.microsoft.com/office/drawing/2014/main" id="{582D2D2E-EF96-4E27-A67F-3ACC30E84DFC}"/>
                  </a:ext>
                </a:extLst>
              </p:cNvPr>
              <p:cNvSpPr>
                <a:spLocks/>
              </p:cNvSpPr>
              <p:nvPr/>
            </p:nvSpPr>
            <p:spPr bwMode="auto">
              <a:xfrm>
                <a:off x="6728" y="2988"/>
                <a:ext cx="11" cy="21"/>
              </a:xfrm>
              <a:custGeom>
                <a:avLst/>
                <a:gdLst>
                  <a:gd name="T0" fmla="*/ 3 w 5"/>
                  <a:gd name="T1" fmla="*/ 0 h 9"/>
                  <a:gd name="T2" fmla="*/ 1 w 5"/>
                  <a:gd name="T3" fmla="*/ 4 h 9"/>
                  <a:gd name="T4" fmla="*/ 2 w 5"/>
                  <a:gd name="T5" fmla="*/ 5 h 9"/>
                  <a:gd name="T6" fmla="*/ 3 w 5"/>
                  <a:gd name="T7" fmla="*/ 7 h 9"/>
                  <a:gd name="T8" fmla="*/ 4 w 5"/>
                  <a:gd name="T9" fmla="*/ 9 h 9"/>
                  <a:gd name="T10" fmla="*/ 5 w 5"/>
                  <a:gd name="T11" fmla="*/ 2 h 9"/>
                  <a:gd name="T12" fmla="*/ 5 w 5"/>
                  <a:gd name="T13" fmla="*/ 1 h 9"/>
                  <a:gd name="T14" fmla="*/ 3 w 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0"/>
                    </a:moveTo>
                    <a:cubicBezTo>
                      <a:pt x="2" y="0"/>
                      <a:pt x="0" y="1"/>
                      <a:pt x="1" y="4"/>
                    </a:cubicBezTo>
                    <a:cubicBezTo>
                      <a:pt x="1" y="4"/>
                      <a:pt x="1" y="5"/>
                      <a:pt x="2" y="5"/>
                    </a:cubicBezTo>
                    <a:cubicBezTo>
                      <a:pt x="2" y="6"/>
                      <a:pt x="3" y="6"/>
                      <a:pt x="3" y="7"/>
                    </a:cubicBezTo>
                    <a:cubicBezTo>
                      <a:pt x="4" y="8"/>
                      <a:pt x="4" y="8"/>
                      <a:pt x="4" y="9"/>
                    </a:cubicBezTo>
                    <a:cubicBezTo>
                      <a:pt x="5" y="7"/>
                      <a:pt x="5" y="4"/>
                      <a:pt x="5" y="2"/>
                    </a:cubicBezTo>
                    <a:cubicBezTo>
                      <a:pt x="5" y="2"/>
                      <a:pt x="5"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 name="Freeform 332">
                <a:extLst>
                  <a:ext uri="{FF2B5EF4-FFF2-40B4-BE49-F238E27FC236}">
                    <a16:creationId xmlns:a16="http://schemas.microsoft.com/office/drawing/2014/main" id="{3B212F99-7440-4ADE-9FCB-85A67CBCA7E0}"/>
                  </a:ext>
                </a:extLst>
              </p:cNvPr>
              <p:cNvSpPr>
                <a:spLocks/>
              </p:cNvSpPr>
              <p:nvPr/>
            </p:nvSpPr>
            <p:spPr bwMode="auto">
              <a:xfrm>
                <a:off x="5218" y="1082"/>
                <a:ext cx="18" cy="7"/>
              </a:xfrm>
              <a:custGeom>
                <a:avLst/>
                <a:gdLst>
                  <a:gd name="T0" fmla="*/ 6 w 8"/>
                  <a:gd name="T1" fmla="*/ 0 h 3"/>
                  <a:gd name="T2" fmla="*/ 0 w 8"/>
                  <a:gd name="T3" fmla="*/ 1 h 3"/>
                  <a:gd name="T4" fmla="*/ 4 w 8"/>
                  <a:gd name="T5" fmla="*/ 3 h 3"/>
                  <a:gd name="T6" fmla="*/ 5 w 8"/>
                  <a:gd name="T7" fmla="*/ 3 h 3"/>
                  <a:gd name="T8" fmla="*/ 8 w 8"/>
                  <a:gd name="T9" fmla="*/ 1 h 3"/>
                  <a:gd name="T10" fmla="*/ 6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6" y="0"/>
                    </a:moveTo>
                    <a:cubicBezTo>
                      <a:pt x="3" y="0"/>
                      <a:pt x="0" y="1"/>
                      <a:pt x="0" y="1"/>
                    </a:cubicBezTo>
                    <a:cubicBezTo>
                      <a:pt x="0" y="3"/>
                      <a:pt x="2" y="2"/>
                      <a:pt x="4" y="3"/>
                    </a:cubicBezTo>
                    <a:cubicBezTo>
                      <a:pt x="4" y="3"/>
                      <a:pt x="5" y="3"/>
                      <a:pt x="5" y="3"/>
                    </a:cubicBezTo>
                    <a:cubicBezTo>
                      <a:pt x="7" y="3"/>
                      <a:pt x="7" y="2"/>
                      <a:pt x="8"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 name="Freeform 333">
                <a:extLst>
                  <a:ext uri="{FF2B5EF4-FFF2-40B4-BE49-F238E27FC236}">
                    <a16:creationId xmlns:a16="http://schemas.microsoft.com/office/drawing/2014/main" id="{BC8DEB0C-2624-4CAA-B867-5D36C858F80F}"/>
                  </a:ext>
                </a:extLst>
              </p:cNvPr>
              <p:cNvSpPr>
                <a:spLocks/>
              </p:cNvSpPr>
              <p:nvPr/>
            </p:nvSpPr>
            <p:spPr bwMode="auto">
              <a:xfrm>
                <a:off x="9819" y="-564"/>
                <a:ext cx="9" cy="3"/>
              </a:xfrm>
              <a:custGeom>
                <a:avLst/>
                <a:gdLst>
                  <a:gd name="T0" fmla="*/ 0 w 4"/>
                  <a:gd name="T1" fmla="*/ 0 h 1"/>
                  <a:gd name="T2" fmla="*/ 3 w 4"/>
                  <a:gd name="T3" fmla="*/ 1 h 1"/>
                  <a:gd name="T4" fmla="*/ 4 w 4"/>
                  <a:gd name="T5" fmla="*/ 0 h 1"/>
                  <a:gd name="T6" fmla="*/ 4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1" y="0"/>
                      <a:pt x="2" y="1"/>
                      <a:pt x="3" y="1"/>
                    </a:cubicBezTo>
                    <a:cubicBezTo>
                      <a:pt x="3" y="1"/>
                      <a:pt x="3" y="0"/>
                      <a:pt x="4" y="0"/>
                    </a:cubicBezTo>
                    <a:cubicBezTo>
                      <a:pt x="4" y="0"/>
                      <a:pt x="4" y="0"/>
                      <a:pt x="4" y="0"/>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 name="Freeform 334">
                <a:extLst>
                  <a:ext uri="{FF2B5EF4-FFF2-40B4-BE49-F238E27FC236}">
                    <a16:creationId xmlns:a16="http://schemas.microsoft.com/office/drawing/2014/main" id="{44BFF645-A9AA-463E-BC2D-58D51A747B46}"/>
                  </a:ext>
                </a:extLst>
              </p:cNvPr>
              <p:cNvSpPr>
                <a:spLocks/>
              </p:cNvSpPr>
              <p:nvPr/>
            </p:nvSpPr>
            <p:spPr bwMode="auto">
              <a:xfrm>
                <a:off x="9733" y="-583"/>
                <a:ext cx="17" cy="8"/>
              </a:xfrm>
              <a:custGeom>
                <a:avLst/>
                <a:gdLst>
                  <a:gd name="T0" fmla="*/ 1 w 7"/>
                  <a:gd name="T1" fmla="*/ 0 h 3"/>
                  <a:gd name="T2" fmla="*/ 1 w 7"/>
                  <a:gd name="T3" fmla="*/ 0 h 3"/>
                  <a:gd name="T4" fmla="*/ 2 w 7"/>
                  <a:gd name="T5" fmla="*/ 2 h 3"/>
                  <a:gd name="T6" fmla="*/ 4 w 7"/>
                  <a:gd name="T7" fmla="*/ 3 h 3"/>
                  <a:gd name="T8" fmla="*/ 7 w 7"/>
                  <a:gd name="T9" fmla="*/ 3 h 3"/>
                  <a:gd name="T10" fmla="*/ 2 w 7"/>
                  <a:gd name="T11" fmla="*/ 0 h 3"/>
                  <a:gd name="T12" fmla="*/ 1 w 7"/>
                  <a:gd name="T13" fmla="*/ 0 h 3"/>
                  <a:gd name="T14" fmla="*/ 1 w 7"/>
                  <a:gd name="T15" fmla="*/ 0 h 3"/>
                  <a:gd name="T16" fmla="*/ 1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1" y="0"/>
                    </a:moveTo>
                    <a:cubicBezTo>
                      <a:pt x="1" y="0"/>
                      <a:pt x="1" y="0"/>
                      <a:pt x="1" y="0"/>
                    </a:cubicBezTo>
                    <a:cubicBezTo>
                      <a:pt x="0" y="1"/>
                      <a:pt x="1" y="2"/>
                      <a:pt x="2" y="2"/>
                    </a:cubicBezTo>
                    <a:cubicBezTo>
                      <a:pt x="3" y="2"/>
                      <a:pt x="3" y="3"/>
                      <a:pt x="4" y="3"/>
                    </a:cubicBezTo>
                    <a:cubicBezTo>
                      <a:pt x="5" y="3"/>
                      <a:pt x="6" y="3"/>
                      <a:pt x="7" y="3"/>
                    </a:cubicBezTo>
                    <a:cubicBezTo>
                      <a:pt x="5" y="2"/>
                      <a:pt x="4" y="0"/>
                      <a:pt x="2" y="0"/>
                    </a:cubicBez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 name="Freeform 335">
                <a:extLst>
                  <a:ext uri="{FF2B5EF4-FFF2-40B4-BE49-F238E27FC236}">
                    <a16:creationId xmlns:a16="http://schemas.microsoft.com/office/drawing/2014/main" id="{0BB0B701-F4B3-4517-8B74-8CCB50927AB8}"/>
                  </a:ext>
                </a:extLst>
              </p:cNvPr>
              <p:cNvSpPr>
                <a:spLocks/>
              </p:cNvSpPr>
              <p:nvPr/>
            </p:nvSpPr>
            <p:spPr bwMode="auto">
              <a:xfrm>
                <a:off x="8110" y="-840"/>
                <a:ext cx="14" cy="7"/>
              </a:xfrm>
              <a:custGeom>
                <a:avLst/>
                <a:gdLst>
                  <a:gd name="T0" fmla="*/ 4 w 6"/>
                  <a:gd name="T1" fmla="*/ 0 h 3"/>
                  <a:gd name="T2" fmla="*/ 1 w 6"/>
                  <a:gd name="T3" fmla="*/ 1 h 3"/>
                  <a:gd name="T4" fmla="*/ 0 w 6"/>
                  <a:gd name="T5" fmla="*/ 2 h 3"/>
                  <a:gd name="T6" fmla="*/ 0 w 6"/>
                  <a:gd name="T7" fmla="*/ 2 h 3"/>
                  <a:gd name="T8" fmla="*/ 0 w 6"/>
                  <a:gd name="T9" fmla="*/ 2 h 3"/>
                  <a:gd name="T10" fmla="*/ 1 w 6"/>
                  <a:gd name="T11" fmla="*/ 3 h 3"/>
                  <a:gd name="T12" fmla="*/ 4 w 6"/>
                  <a:gd name="T13" fmla="*/ 3 h 3"/>
                  <a:gd name="T14" fmla="*/ 4 w 6"/>
                  <a:gd name="T15" fmla="*/ 3 h 3"/>
                  <a:gd name="T16" fmla="*/ 5 w 6"/>
                  <a:gd name="T17" fmla="*/ 1 h 3"/>
                  <a:gd name="T18" fmla="*/ 5 w 6"/>
                  <a:gd name="T19" fmla="*/ 0 h 3"/>
                  <a:gd name="T20" fmla="*/ 5 w 6"/>
                  <a:gd name="T21" fmla="*/ 0 h 3"/>
                  <a:gd name="T22" fmla="*/ 4 w 6"/>
                  <a:gd name="T23" fmla="*/ 0 h 3"/>
                  <a:gd name="T24" fmla="*/ 4 w 6"/>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
                    <a:moveTo>
                      <a:pt x="4" y="0"/>
                    </a:moveTo>
                    <a:cubicBezTo>
                      <a:pt x="3" y="0"/>
                      <a:pt x="1" y="1"/>
                      <a:pt x="1" y="1"/>
                    </a:cubicBezTo>
                    <a:cubicBezTo>
                      <a:pt x="0" y="2"/>
                      <a:pt x="0" y="2"/>
                      <a:pt x="0" y="2"/>
                    </a:cubicBezTo>
                    <a:cubicBezTo>
                      <a:pt x="0" y="2"/>
                      <a:pt x="0" y="2"/>
                      <a:pt x="0" y="2"/>
                    </a:cubicBezTo>
                    <a:cubicBezTo>
                      <a:pt x="0" y="2"/>
                      <a:pt x="0" y="2"/>
                      <a:pt x="0" y="2"/>
                    </a:cubicBezTo>
                    <a:cubicBezTo>
                      <a:pt x="1" y="3"/>
                      <a:pt x="1" y="3"/>
                      <a:pt x="1" y="3"/>
                    </a:cubicBezTo>
                    <a:cubicBezTo>
                      <a:pt x="2" y="3"/>
                      <a:pt x="3" y="3"/>
                      <a:pt x="4" y="3"/>
                    </a:cubicBezTo>
                    <a:cubicBezTo>
                      <a:pt x="4" y="3"/>
                      <a:pt x="4" y="3"/>
                      <a:pt x="4" y="3"/>
                    </a:cubicBezTo>
                    <a:cubicBezTo>
                      <a:pt x="5" y="2"/>
                      <a:pt x="6" y="2"/>
                      <a:pt x="5" y="1"/>
                    </a:cubicBezTo>
                    <a:cubicBezTo>
                      <a:pt x="5" y="0"/>
                      <a:pt x="5" y="0"/>
                      <a:pt x="5" y="0"/>
                    </a:cubicBezTo>
                    <a:cubicBezTo>
                      <a:pt x="5" y="0"/>
                      <a:pt x="5" y="0"/>
                      <a:pt x="5" y="0"/>
                    </a:cubicBez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 name="Freeform 336">
                <a:extLst>
                  <a:ext uri="{FF2B5EF4-FFF2-40B4-BE49-F238E27FC236}">
                    <a16:creationId xmlns:a16="http://schemas.microsoft.com/office/drawing/2014/main" id="{AF4DFA29-39A6-4897-A69F-E7A0A3F81696}"/>
                  </a:ext>
                </a:extLst>
              </p:cNvPr>
              <p:cNvSpPr>
                <a:spLocks/>
              </p:cNvSpPr>
              <p:nvPr/>
            </p:nvSpPr>
            <p:spPr bwMode="auto">
              <a:xfrm>
                <a:off x="8006" y="1914"/>
                <a:ext cx="19" cy="10"/>
              </a:xfrm>
              <a:custGeom>
                <a:avLst/>
                <a:gdLst>
                  <a:gd name="T0" fmla="*/ 0 w 8"/>
                  <a:gd name="T1" fmla="*/ 0 h 4"/>
                  <a:gd name="T2" fmla="*/ 5 w 8"/>
                  <a:gd name="T3" fmla="*/ 4 h 4"/>
                  <a:gd name="T4" fmla="*/ 0 w 8"/>
                  <a:gd name="T5" fmla="*/ 0 h 4"/>
                </a:gdLst>
                <a:ahLst/>
                <a:cxnLst>
                  <a:cxn ang="0">
                    <a:pos x="T0" y="T1"/>
                  </a:cxn>
                  <a:cxn ang="0">
                    <a:pos x="T2" y="T3"/>
                  </a:cxn>
                  <a:cxn ang="0">
                    <a:pos x="T4" y="T5"/>
                  </a:cxn>
                </a:cxnLst>
                <a:rect l="0" t="0" r="r" b="b"/>
                <a:pathLst>
                  <a:path w="8" h="4">
                    <a:moveTo>
                      <a:pt x="0" y="0"/>
                    </a:moveTo>
                    <a:cubicBezTo>
                      <a:pt x="1" y="1"/>
                      <a:pt x="3" y="3"/>
                      <a:pt x="5" y="4"/>
                    </a:cubicBezTo>
                    <a:cubicBezTo>
                      <a:pt x="8"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 name="Freeform 337">
                <a:extLst>
                  <a:ext uri="{FF2B5EF4-FFF2-40B4-BE49-F238E27FC236}">
                    <a16:creationId xmlns:a16="http://schemas.microsoft.com/office/drawing/2014/main" id="{3C0D08BE-4C2C-4F1D-A65C-5A1195DCB5A2}"/>
                  </a:ext>
                </a:extLst>
              </p:cNvPr>
              <p:cNvSpPr>
                <a:spLocks/>
              </p:cNvSpPr>
              <p:nvPr/>
            </p:nvSpPr>
            <p:spPr bwMode="auto">
              <a:xfrm>
                <a:off x="8008" y="1931"/>
                <a:ext cx="3" cy="4"/>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2"/>
                      <a:pt x="1" y="2"/>
                    </a:cubicBezTo>
                    <a:cubicBezTo>
                      <a:pt x="1"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 name="Freeform 338">
                <a:extLst>
                  <a:ext uri="{FF2B5EF4-FFF2-40B4-BE49-F238E27FC236}">
                    <a16:creationId xmlns:a16="http://schemas.microsoft.com/office/drawing/2014/main" id="{8DFB7886-4E3A-43B1-A3D9-F0C1B73AC88F}"/>
                  </a:ext>
                </a:extLst>
              </p:cNvPr>
              <p:cNvSpPr>
                <a:spLocks/>
              </p:cNvSpPr>
              <p:nvPr/>
            </p:nvSpPr>
            <p:spPr bwMode="auto">
              <a:xfrm>
                <a:off x="7812" y="3125"/>
                <a:ext cx="10" cy="7"/>
              </a:xfrm>
              <a:custGeom>
                <a:avLst/>
                <a:gdLst>
                  <a:gd name="T0" fmla="*/ 4 w 4"/>
                  <a:gd name="T1" fmla="*/ 0 h 3"/>
                  <a:gd name="T2" fmla="*/ 0 w 4"/>
                  <a:gd name="T3" fmla="*/ 0 h 3"/>
                  <a:gd name="T4" fmla="*/ 2 w 4"/>
                  <a:gd name="T5" fmla="*/ 2 h 3"/>
                  <a:gd name="T6" fmla="*/ 3 w 4"/>
                  <a:gd name="T7" fmla="*/ 3 h 3"/>
                  <a:gd name="T8" fmla="*/ 4 w 4"/>
                  <a:gd name="T9" fmla="*/ 0 h 3"/>
                </a:gdLst>
                <a:ahLst/>
                <a:cxnLst>
                  <a:cxn ang="0">
                    <a:pos x="T0" y="T1"/>
                  </a:cxn>
                  <a:cxn ang="0">
                    <a:pos x="T2" y="T3"/>
                  </a:cxn>
                  <a:cxn ang="0">
                    <a:pos x="T4" y="T5"/>
                  </a:cxn>
                  <a:cxn ang="0">
                    <a:pos x="T6" y="T7"/>
                  </a:cxn>
                  <a:cxn ang="0">
                    <a:pos x="T8" y="T9"/>
                  </a:cxn>
                </a:cxnLst>
                <a:rect l="0" t="0" r="r" b="b"/>
                <a:pathLst>
                  <a:path w="4" h="3">
                    <a:moveTo>
                      <a:pt x="4" y="0"/>
                    </a:moveTo>
                    <a:cubicBezTo>
                      <a:pt x="3" y="0"/>
                      <a:pt x="1" y="0"/>
                      <a:pt x="0" y="0"/>
                    </a:cubicBezTo>
                    <a:cubicBezTo>
                      <a:pt x="1" y="1"/>
                      <a:pt x="2" y="2"/>
                      <a:pt x="2" y="2"/>
                    </a:cubicBezTo>
                    <a:cubicBezTo>
                      <a:pt x="3" y="3"/>
                      <a:pt x="3" y="3"/>
                      <a:pt x="3" y="3"/>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 name="Freeform 339">
                <a:extLst>
                  <a:ext uri="{FF2B5EF4-FFF2-40B4-BE49-F238E27FC236}">
                    <a16:creationId xmlns:a16="http://schemas.microsoft.com/office/drawing/2014/main" id="{99CFCE73-62D1-4BAB-A998-A34A348CC810}"/>
                  </a:ext>
                </a:extLst>
              </p:cNvPr>
              <p:cNvSpPr>
                <a:spLocks/>
              </p:cNvSpPr>
              <p:nvPr/>
            </p:nvSpPr>
            <p:spPr bwMode="auto">
              <a:xfrm>
                <a:off x="7817" y="3153"/>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1"/>
                      <a:pt x="2" y="2"/>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 name="Freeform 340">
                <a:extLst>
                  <a:ext uri="{FF2B5EF4-FFF2-40B4-BE49-F238E27FC236}">
                    <a16:creationId xmlns:a16="http://schemas.microsoft.com/office/drawing/2014/main" id="{B8C2BB20-78C3-4360-8D4B-EA504CDEF7C5}"/>
                  </a:ext>
                </a:extLst>
              </p:cNvPr>
              <p:cNvSpPr>
                <a:spLocks/>
              </p:cNvSpPr>
              <p:nvPr/>
            </p:nvSpPr>
            <p:spPr bwMode="auto">
              <a:xfrm>
                <a:off x="7805" y="3158"/>
                <a:ext cx="5" cy="9"/>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2"/>
                      <a:pt x="1" y="3"/>
                      <a:pt x="2"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 name="Freeform 341">
                <a:extLst>
                  <a:ext uri="{FF2B5EF4-FFF2-40B4-BE49-F238E27FC236}">
                    <a16:creationId xmlns:a16="http://schemas.microsoft.com/office/drawing/2014/main" id="{FECC62DE-7A0A-437B-8B97-5AF578FFB2EF}"/>
                  </a:ext>
                </a:extLst>
              </p:cNvPr>
              <p:cNvSpPr>
                <a:spLocks/>
              </p:cNvSpPr>
              <p:nvPr/>
            </p:nvSpPr>
            <p:spPr bwMode="auto">
              <a:xfrm>
                <a:off x="7791" y="3151"/>
                <a:ext cx="14" cy="7"/>
              </a:xfrm>
              <a:custGeom>
                <a:avLst/>
                <a:gdLst>
                  <a:gd name="T0" fmla="*/ 0 w 6"/>
                  <a:gd name="T1" fmla="*/ 0 h 3"/>
                  <a:gd name="T2" fmla="*/ 2 w 6"/>
                  <a:gd name="T3" fmla="*/ 2 h 3"/>
                  <a:gd name="T4" fmla="*/ 3 w 6"/>
                  <a:gd name="T5" fmla="*/ 2 h 3"/>
                  <a:gd name="T6" fmla="*/ 4 w 6"/>
                  <a:gd name="T7" fmla="*/ 3 h 3"/>
                  <a:gd name="T8" fmla="*/ 5 w 6"/>
                  <a:gd name="T9" fmla="*/ 3 h 3"/>
                  <a:gd name="T10" fmla="*/ 6 w 6"/>
                  <a:gd name="T11" fmla="*/ 3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0" y="0"/>
                    </a:moveTo>
                    <a:cubicBezTo>
                      <a:pt x="1" y="1"/>
                      <a:pt x="1" y="2"/>
                      <a:pt x="2" y="2"/>
                    </a:cubicBezTo>
                    <a:cubicBezTo>
                      <a:pt x="3" y="2"/>
                      <a:pt x="3" y="2"/>
                      <a:pt x="3" y="2"/>
                    </a:cubicBezTo>
                    <a:cubicBezTo>
                      <a:pt x="3" y="2"/>
                      <a:pt x="4" y="3"/>
                      <a:pt x="4" y="3"/>
                    </a:cubicBezTo>
                    <a:cubicBezTo>
                      <a:pt x="5" y="3"/>
                      <a:pt x="5" y="3"/>
                      <a:pt x="5" y="3"/>
                    </a:cubicBezTo>
                    <a:cubicBezTo>
                      <a:pt x="5" y="3"/>
                      <a:pt x="5" y="3"/>
                      <a:pt x="6" y="3"/>
                    </a:cubicBezTo>
                    <a:cubicBezTo>
                      <a:pt x="4"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 name="Freeform 342">
                <a:extLst>
                  <a:ext uri="{FF2B5EF4-FFF2-40B4-BE49-F238E27FC236}">
                    <a16:creationId xmlns:a16="http://schemas.microsoft.com/office/drawing/2014/main" id="{3C8ACCFB-7A5D-464F-8EDF-7F69EAB9EF03}"/>
                  </a:ext>
                </a:extLst>
              </p:cNvPr>
              <p:cNvSpPr>
                <a:spLocks noEditPoints="1"/>
              </p:cNvSpPr>
              <p:nvPr/>
            </p:nvSpPr>
            <p:spPr bwMode="auto">
              <a:xfrm>
                <a:off x="7628" y="-819"/>
                <a:ext cx="2"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1 w 1"/>
                  <a:gd name="T13" fmla="*/ 0 w 1"/>
                  <a:gd name="T14" fmla="*/ 1 w 1"/>
                  <a:gd name="T15" fmla="*/ 0 w 1"/>
                  <a:gd name="T16" fmla="*/ 0 w 1"/>
                  <a:gd name="T17" fmla="*/ 0 w 1"/>
                  <a:gd name="T18" fmla="*/ 0 w 1"/>
                  <a:gd name="T19" fmla="*/ 0 w 1"/>
                  <a:gd name="T20" fmla="*/ 0 w 1"/>
                  <a:gd name="T21" fmla="*/ 0 w 1"/>
                  <a:gd name="T22"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Lst>
                <a:rect l="0" t="0" r="r" b="b"/>
                <a:pathLst>
                  <a:path w="1">
                    <a:moveTo>
                      <a:pt x="1" y="0"/>
                    </a:moveTo>
                    <a:cubicBezTo>
                      <a:pt x="1" y="0"/>
                      <a:pt x="1" y="0"/>
                      <a:pt x="1" y="0"/>
                    </a:cubicBez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moveTo>
                      <a:pt x="1" y="0"/>
                    </a:moveTo>
                    <a:cubicBezTo>
                      <a:pt x="1" y="0"/>
                      <a:pt x="1" y="0"/>
                      <a:pt x="1" y="0"/>
                    </a:cubicBezTo>
                    <a:cubicBezTo>
                      <a:pt x="1" y="0"/>
                      <a:pt x="1" y="0"/>
                      <a:pt x="1" y="0"/>
                    </a:cubicBezTo>
                    <a:cubicBezTo>
                      <a:pt x="1" y="0"/>
                      <a:pt x="1" y="0"/>
                      <a:pt x="1" y="0"/>
                    </a:cubicBezTo>
                    <a:moveTo>
                      <a:pt x="0" y="0"/>
                    </a:moveTo>
                    <a:cubicBezTo>
                      <a:pt x="1" y="0"/>
                      <a:pt x="1" y="0"/>
                      <a:pt x="1" y="0"/>
                    </a:cubicBezTo>
                    <a:cubicBezTo>
                      <a:pt x="1" y="0"/>
                      <a:pt x="1" y="0"/>
                      <a:pt x="0" y="0"/>
                    </a:cubicBezTo>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 name="Freeform 343">
                <a:extLst>
                  <a:ext uri="{FF2B5EF4-FFF2-40B4-BE49-F238E27FC236}">
                    <a16:creationId xmlns:a16="http://schemas.microsoft.com/office/drawing/2014/main" id="{99558E0D-C59A-436F-B182-51028FFD2866}"/>
                  </a:ext>
                </a:extLst>
              </p:cNvPr>
              <p:cNvSpPr>
                <a:spLocks noEditPoints="1"/>
              </p:cNvSpPr>
              <p:nvPr/>
            </p:nvSpPr>
            <p:spPr bwMode="auto">
              <a:xfrm>
                <a:off x="7647" y="2283"/>
                <a:ext cx="16" cy="9"/>
              </a:xfrm>
              <a:custGeom>
                <a:avLst/>
                <a:gdLst>
                  <a:gd name="T0" fmla="*/ 5 w 7"/>
                  <a:gd name="T1" fmla="*/ 4 h 4"/>
                  <a:gd name="T2" fmla="*/ 5 w 7"/>
                  <a:gd name="T3" fmla="*/ 4 h 4"/>
                  <a:gd name="T4" fmla="*/ 5 w 7"/>
                  <a:gd name="T5" fmla="*/ 4 h 4"/>
                  <a:gd name="T6" fmla="*/ 6 w 7"/>
                  <a:gd name="T7" fmla="*/ 3 h 4"/>
                  <a:gd name="T8" fmla="*/ 6 w 7"/>
                  <a:gd name="T9" fmla="*/ 3 h 4"/>
                  <a:gd name="T10" fmla="*/ 6 w 7"/>
                  <a:gd name="T11" fmla="*/ 3 h 4"/>
                  <a:gd name="T12" fmla="*/ 3 w 7"/>
                  <a:gd name="T13" fmla="*/ 0 h 4"/>
                  <a:gd name="T14" fmla="*/ 0 w 7"/>
                  <a:gd name="T15" fmla="*/ 3 h 4"/>
                  <a:gd name="T16" fmla="*/ 5 w 7"/>
                  <a:gd name="T17" fmla="*/ 4 h 4"/>
                  <a:gd name="T18" fmla="*/ 5 w 7"/>
                  <a:gd name="T19" fmla="*/ 4 h 4"/>
                  <a:gd name="T20" fmla="*/ 5 w 7"/>
                  <a:gd name="T21" fmla="*/ 4 h 4"/>
                  <a:gd name="T22" fmla="*/ 6 w 7"/>
                  <a:gd name="T23" fmla="*/ 4 h 4"/>
                  <a:gd name="T24" fmla="*/ 6 w 7"/>
                  <a:gd name="T25" fmla="*/ 3 h 4"/>
                  <a:gd name="T26" fmla="*/ 6 w 7"/>
                  <a:gd name="T27" fmla="*/ 3 h 4"/>
                  <a:gd name="T28" fmla="*/ 7 w 7"/>
                  <a:gd name="T29" fmla="*/ 2 h 4"/>
                  <a:gd name="T30" fmla="*/ 6 w 7"/>
                  <a:gd name="T31" fmla="*/ 1 h 4"/>
                  <a:gd name="T32" fmla="*/ 6 w 7"/>
                  <a:gd name="T33" fmla="*/ 1 h 4"/>
                  <a:gd name="T34" fmla="*/ 5 w 7"/>
                  <a:gd name="T35" fmla="*/ 1 h 4"/>
                  <a:gd name="T36" fmla="*/ 5 w 7"/>
                  <a:gd name="T37" fmla="*/ 1 h 4"/>
                  <a:gd name="T38" fmla="*/ 5 w 7"/>
                  <a:gd name="T39" fmla="*/ 1 h 4"/>
                  <a:gd name="T40" fmla="*/ 4 w 7"/>
                  <a:gd name="T41" fmla="*/ 1 h 4"/>
                  <a:gd name="T42" fmla="*/ 3 w 7"/>
                  <a:gd name="T43" fmla="*/ 1 h 4"/>
                  <a:gd name="T44" fmla="*/ 3 w 7"/>
                  <a:gd name="T4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4">
                    <a:moveTo>
                      <a:pt x="5" y="4"/>
                    </a:moveTo>
                    <a:cubicBezTo>
                      <a:pt x="5" y="4"/>
                      <a:pt x="5" y="4"/>
                      <a:pt x="5" y="4"/>
                    </a:cubicBezTo>
                    <a:cubicBezTo>
                      <a:pt x="5" y="4"/>
                      <a:pt x="5" y="4"/>
                      <a:pt x="5" y="4"/>
                    </a:cubicBezTo>
                    <a:moveTo>
                      <a:pt x="6" y="3"/>
                    </a:moveTo>
                    <a:cubicBezTo>
                      <a:pt x="6" y="3"/>
                      <a:pt x="6" y="3"/>
                      <a:pt x="6" y="3"/>
                    </a:cubicBezTo>
                    <a:cubicBezTo>
                      <a:pt x="6" y="3"/>
                      <a:pt x="6" y="3"/>
                      <a:pt x="6" y="3"/>
                    </a:cubicBezTo>
                    <a:moveTo>
                      <a:pt x="3" y="0"/>
                    </a:moveTo>
                    <a:cubicBezTo>
                      <a:pt x="2" y="0"/>
                      <a:pt x="0" y="1"/>
                      <a:pt x="0" y="3"/>
                    </a:cubicBezTo>
                    <a:cubicBezTo>
                      <a:pt x="2" y="3"/>
                      <a:pt x="3" y="4"/>
                      <a:pt x="5" y="4"/>
                    </a:cubicBezTo>
                    <a:cubicBezTo>
                      <a:pt x="5" y="4"/>
                      <a:pt x="5" y="4"/>
                      <a:pt x="5" y="4"/>
                    </a:cubicBezTo>
                    <a:cubicBezTo>
                      <a:pt x="5" y="4"/>
                      <a:pt x="5" y="4"/>
                      <a:pt x="5" y="4"/>
                    </a:cubicBezTo>
                    <a:cubicBezTo>
                      <a:pt x="5" y="4"/>
                      <a:pt x="5" y="4"/>
                      <a:pt x="6" y="4"/>
                    </a:cubicBezTo>
                    <a:cubicBezTo>
                      <a:pt x="6" y="3"/>
                      <a:pt x="6" y="3"/>
                      <a:pt x="6" y="3"/>
                    </a:cubicBezTo>
                    <a:cubicBezTo>
                      <a:pt x="6" y="3"/>
                      <a:pt x="6" y="3"/>
                      <a:pt x="6" y="3"/>
                    </a:cubicBezTo>
                    <a:cubicBezTo>
                      <a:pt x="7" y="2"/>
                      <a:pt x="7" y="2"/>
                      <a:pt x="7" y="2"/>
                    </a:cubicBezTo>
                    <a:cubicBezTo>
                      <a:pt x="7" y="1"/>
                      <a:pt x="6" y="1"/>
                      <a:pt x="6" y="1"/>
                    </a:cubicBezTo>
                    <a:cubicBezTo>
                      <a:pt x="6" y="1"/>
                      <a:pt x="6" y="1"/>
                      <a:pt x="6" y="1"/>
                    </a:cubicBezTo>
                    <a:cubicBezTo>
                      <a:pt x="5" y="1"/>
                      <a:pt x="5" y="1"/>
                      <a:pt x="5" y="1"/>
                    </a:cubicBezTo>
                    <a:cubicBezTo>
                      <a:pt x="5" y="1"/>
                      <a:pt x="5" y="1"/>
                      <a:pt x="5" y="1"/>
                    </a:cubicBezTo>
                    <a:cubicBezTo>
                      <a:pt x="5" y="1"/>
                      <a:pt x="5" y="1"/>
                      <a:pt x="5" y="1"/>
                    </a:cubicBezTo>
                    <a:cubicBezTo>
                      <a:pt x="5" y="1"/>
                      <a:pt x="4" y="1"/>
                      <a:pt x="4" y="1"/>
                    </a:cubicBezTo>
                    <a:cubicBezTo>
                      <a:pt x="4" y="1"/>
                      <a:pt x="4" y="1"/>
                      <a:pt x="3" y="1"/>
                    </a:cubicBezTo>
                    <a:cubicBezTo>
                      <a:pt x="3"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 name="Rectangle 344">
                <a:extLst>
                  <a:ext uri="{FF2B5EF4-FFF2-40B4-BE49-F238E27FC236}">
                    <a16:creationId xmlns:a16="http://schemas.microsoft.com/office/drawing/2014/main" id="{B760ED8E-B060-40D7-AA60-B939878A1CC6}"/>
                  </a:ext>
                </a:extLst>
              </p:cNvPr>
              <p:cNvSpPr>
                <a:spLocks noChangeArrowheads="1"/>
              </p:cNvSpPr>
              <p:nvPr/>
            </p:nvSpPr>
            <p:spPr bwMode="auto">
              <a:xfrm>
                <a:off x="4010" y="1990"/>
                <a:ext cx="1" cy="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 name="Freeform 345">
                <a:extLst>
                  <a:ext uri="{FF2B5EF4-FFF2-40B4-BE49-F238E27FC236}">
                    <a16:creationId xmlns:a16="http://schemas.microsoft.com/office/drawing/2014/main" id="{F13AAAD9-EA46-47D4-A367-C80E4809D2FB}"/>
                  </a:ext>
                </a:extLst>
              </p:cNvPr>
              <p:cNvSpPr>
                <a:spLocks/>
              </p:cNvSpPr>
              <p:nvPr/>
            </p:nvSpPr>
            <p:spPr bwMode="auto">
              <a:xfrm>
                <a:off x="4010" y="1990"/>
                <a:ext cx="0" cy="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 name="Freeform 346">
                <a:extLst>
                  <a:ext uri="{FF2B5EF4-FFF2-40B4-BE49-F238E27FC236}">
                    <a16:creationId xmlns:a16="http://schemas.microsoft.com/office/drawing/2014/main" id="{4A5D89E2-AB76-4B9F-A729-C445E28C2481}"/>
                  </a:ext>
                </a:extLst>
              </p:cNvPr>
              <p:cNvSpPr>
                <a:spLocks/>
              </p:cNvSpPr>
              <p:nvPr/>
            </p:nvSpPr>
            <p:spPr bwMode="auto">
              <a:xfrm>
                <a:off x="4308" y="2593"/>
                <a:ext cx="28" cy="14"/>
              </a:xfrm>
              <a:custGeom>
                <a:avLst/>
                <a:gdLst>
                  <a:gd name="T0" fmla="*/ 3 w 12"/>
                  <a:gd name="T1" fmla="*/ 0 h 6"/>
                  <a:gd name="T2" fmla="*/ 3 w 12"/>
                  <a:gd name="T3" fmla="*/ 0 h 6"/>
                  <a:gd name="T4" fmla="*/ 3 w 12"/>
                  <a:gd name="T5" fmla="*/ 4 h 6"/>
                  <a:gd name="T6" fmla="*/ 2 w 12"/>
                  <a:gd name="T7" fmla="*/ 4 h 6"/>
                  <a:gd name="T8" fmla="*/ 8 w 12"/>
                  <a:gd name="T9" fmla="*/ 6 h 6"/>
                  <a:gd name="T10" fmla="*/ 9 w 12"/>
                  <a:gd name="T11" fmla="*/ 6 h 6"/>
                  <a:gd name="T12" fmla="*/ 8 w 12"/>
                  <a:gd name="T13" fmla="*/ 3 h 6"/>
                  <a:gd name="T14" fmla="*/ 8 w 12"/>
                  <a:gd name="T15" fmla="*/ 3 h 6"/>
                  <a:gd name="T16" fmla="*/ 7 w 12"/>
                  <a:gd name="T17" fmla="*/ 4 h 6"/>
                  <a:gd name="T18" fmla="*/ 6 w 12"/>
                  <a:gd name="T19" fmla="*/ 4 h 6"/>
                  <a:gd name="T20" fmla="*/ 6 w 12"/>
                  <a:gd name="T21" fmla="*/ 4 h 6"/>
                  <a:gd name="T22" fmla="*/ 5 w 12"/>
                  <a:gd name="T23" fmla="*/ 1 h 6"/>
                  <a:gd name="T24" fmla="*/ 4 w 12"/>
                  <a:gd name="T25" fmla="*/ 1 h 6"/>
                  <a:gd name="T26" fmla="*/ 3 w 12"/>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6">
                    <a:moveTo>
                      <a:pt x="3" y="0"/>
                    </a:moveTo>
                    <a:cubicBezTo>
                      <a:pt x="3" y="0"/>
                      <a:pt x="3" y="0"/>
                      <a:pt x="3" y="0"/>
                    </a:cubicBezTo>
                    <a:cubicBezTo>
                      <a:pt x="0" y="0"/>
                      <a:pt x="2" y="3"/>
                      <a:pt x="3" y="4"/>
                    </a:cubicBezTo>
                    <a:cubicBezTo>
                      <a:pt x="3" y="4"/>
                      <a:pt x="2" y="4"/>
                      <a:pt x="2" y="4"/>
                    </a:cubicBezTo>
                    <a:cubicBezTo>
                      <a:pt x="2" y="6"/>
                      <a:pt x="7" y="6"/>
                      <a:pt x="8" y="6"/>
                    </a:cubicBezTo>
                    <a:cubicBezTo>
                      <a:pt x="9" y="6"/>
                      <a:pt x="9" y="6"/>
                      <a:pt x="9" y="6"/>
                    </a:cubicBezTo>
                    <a:cubicBezTo>
                      <a:pt x="12" y="6"/>
                      <a:pt x="10" y="3"/>
                      <a:pt x="8" y="3"/>
                    </a:cubicBezTo>
                    <a:cubicBezTo>
                      <a:pt x="8" y="3"/>
                      <a:pt x="8" y="3"/>
                      <a:pt x="8" y="3"/>
                    </a:cubicBezTo>
                    <a:cubicBezTo>
                      <a:pt x="8" y="3"/>
                      <a:pt x="7" y="3"/>
                      <a:pt x="7" y="4"/>
                    </a:cubicBezTo>
                    <a:cubicBezTo>
                      <a:pt x="6" y="4"/>
                      <a:pt x="6" y="4"/>
                      <a:pt x="6" y="4"/>
                    </a:cubicBezTo>
                    <a:cubicBezTo>
                      <a:pt x="6" y="4"/>
                      <a:pt x="6" y="4"/>
                      <a:pt x="6" y="4"/>
                    </a:cubicBezTo>
                    <a:cubicBezTo>
                      <a:pt x="4" y="3"/>
                      <a:pt x="6" y="1"/>
                      <a:pt x="5" y="1"/>
                    </a:cubicBezTo>
                    <a:cubicBezTo>
                      <a:pt x="5" y="1"/>
                      <a:pt x="5" y="1"/>
                      <a:pt x="4"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 name="Freeform 347">
                <a:extLst>
                  <a:ext uri="{FF2B5EF4-FFF2-40B4-BE49-F238E27FC236}">
                    <a16:creationId xmlns:a16="http://schemas.microsoft.com/office/drawing/2014/main" id="{D912BE2B-7242-4197-9056-E8E922050634}"/>
                  </a:ext>
                </a:extLst>
              </p:cNvPr>
              <p:cNvSpPr>
                <a:spLocks/>
              </p:cNvSpPr>
              <p:nvPr/>
            </p:nvSpPr>
            <p:spPr bwMode="auto">
              <a:xfrm>
                <a:off x="4393" y="2737"/>
                <a:ext cx="75" cy="83"/>
              </a:xfrm>
              <a:custGeom>
                <a:avLst/>
                <a:gdLst>
                  <a:gd name="T0" fmla="*/ 26 w 32"/>
                  <a:gd name="T1" fmla="*/ 0 h 35"/>
                  <a:gd name="T2" fmla="*/ 19 w 32"/>
                  <a:gd name="T3" fmla="*/ 6 h 35"/>
                  <a:gd name="T4" fmla="*/ 18 w 32"/>
                  <a:gd name="T5" fmla="*/ 6 h 35"/>
                  <a:gd name="T6" fmla="*/ 12 w 32"/>
                  <a:gd name="T7" fmla="*/ 5 h 35"/>
                  <a:gd name="T8" fmla="*/ 12 w 32"/>
                  <a:gd name="T9" fmla="*/ 5 h 35"/>
                  <a:gd name="T10" fmla="*/ 12 w 32"/>
                  <a:gd name="T11" fmla="*/ 5 h 35"/>
                  <a:gd name="T12" fmla="*/ 4 w 32"/>
                  <a:gd name="T13" fmla="*/ 17 h 35"/>
                  <a:gd name="T14" fmla="*/ 3 w 32"/>
                  <a:gd name="T15" fmla="*/ 18 h 35"/>
                  <a:gd name="T16" fmla="*/ 2 w 32"/>
                  <a:gd name="T17" fmla="*/ 19 h 35"/>
                  <a:gd name="T18" fmla="*/ 2 w 32"/>
                  <a:gd name="T19" fmla="*/ 19 h 35"/>
                  <a:gd name="T20" fmla="*/ 0 w 32"/>
                  <a:gd name="T21" fmla="*/ 23 h 35"/>
                  <a:gd name="T22" fmla="*/ 0 w 32"/>
                  <a:gd name="T23" fmla="*/ 24 h 35"/>
                  <a:gd name="T24" fmla="*/ 0 w 32"/>
                  <a:gd name="T25" fmla="*/ 25 h 35"/>
                  <a:gd name="T26" fmla="*/ 0 w 32"/>
                  <a:gd name="T27" fmla="*/ 26 h 35"/>
                  <a:gd name="T28" fmla="*/ 1 w 32"/>
                  <a:gd name="T29" fmla="*/ 29 h 35"/>
                  <a:gd name="T30" fmla="*/ 1 w 32"/>
                  <a:gd name="T31" fmla="*/ 34 h 35"/>
                  <a:gd name="T32" fmla="*/ 4 w 32"/>
                  <a:gd name="T33" fmla="*/ 35 h 35"/>
                  <a:gd name="T34" fmla="*/ 11 w 32"/>
                  <a:gd name="T35" fmla="*/ 33 h 35"/>
                  <a:gd name="T36" fmla="*/ 17 w 32"/>
                  <a:gd name="T37" fmla="*/ 32 h 35"/>
                  <a:gd name="T38" fmla="*/ 18 w 32"/>
                  <a:gd name="T39" fmla="*/ 32 h 35"/>
                  <a:gd name="T40" fmla="*/ 22 w 32"/>
                  <a:gd name="T41" fmla="*/ 33 h 35"/>
                  <a:gd name="T42" fmla="*/ 22 w 32"/>
                  <a:gd name="T43" fmla="*/ 33 h 35"/>
                  <a:gd name="T44" fmla="*/ 23 w 32"/>
                  <a:gd name="T45" fmla="*/ 33 h 35"/>
                  <a:gd name="T46" fmla="*/ 29 w 32"/>
                  <a:gd name="T47" fmla="*/ 24 h 35"/>
                  <a:gd name="T48" fmla="*/ 28 w 32"/>
                  <a:gd name="T49" fmla="*/ 23 h 35"/>
                  <a:gd name="T50" fmla="*/ 23 w 32"/>
                  <a:gd name="T51" fmla="*/ 22 h 35"/>
                  <a:gd name="T52" fmla="*/ 15 w 32"/>
                  <a:gd name="T53" fmla="*/ 23 h 35"/>
                  <a:gd name="T54" fmla="*/ 26 w 32"/>
                  <a:gd name="T55" fmla="*/ 17 h 35"/>
                  <a:gd name="T56" fmla="*/ 31 w 32"/>
                  <a:gd name="T57" fmla="*/ 14 h 35"/>
                  <a:gd name="T58" fmla="*/ 31 w 32"/>
                  <a:gd name="T59" fmla="*/ 11 h 35"/>
                  <a:gd name="T60" fmla="*/ 30 w 32"/>
                  <a:gd name="T61" fmla="*/ 5 h 35"/>
                  <a:gd name="T62" fmla="*/ 27 w 32"/>
                  <a:gd name="T63" fmla="*/ 1 h 35"/>
                  <a:gd name="T64" fmla="*/ 27 w 32"/>
                  <a:gd name="T65" fmla="*/ 1 h 35"/>
                  <a:gd name="T66" fmla="*/ 26 w 32"/>
                  <a:gd name="T6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35">
                    <a:moveTo>
                      <a:pt x="26" y="0"/>
                    </a:moveTo>
                    <a:cubicBezTo>
                      <a:pt x="26" y="0"/>
                      <a:pt x="20" y="5"/>
                      <a:pt x="19" y="6"/>
                    </a:cubicBezTo>
                    <a:cubicBezTo>
                      <a:pt x="19" y="6"/>
                      <a:pt x="18" y="6"/>
                      <a:pt x="18" y="6"/>
                    </a:cubicBezTo>
                    <a:cubicBezTo>
                      <a:pt x="17" y="6"/>
                      <a:pt x="15" y="6"/>
                      <a:pt x="12" y="5"/>
                    </a:cubicBezTo>
                    <a:cubicBezTo>
                      <a:pt x="12" y="5"/>
                      <a:pt x="12" y="5"/>
                      <a:pt x="12" y="5"/>
                    </a:cubicBezTo>
                    <a:cubicBezTo>
                      <a:pt x="12" y="5"/>
                      <a:pt x="12" y="5"/>
                      <a:pt x="12" y="5"/>
                    </a:cubicBezTo>
                    <a:cubicBezTo>
                      <a:pt x="11" y="7"/>
                      <a:pt x="5" y="16"/>
                      <a:pt x="4" y="17"/>
                    </a:cubicBezTo>
                    <a:cubicBezTo>
                      <a:pt x="4" y="17"/>
                      <a:pt x="3" y="18"/>
                      <a:pt x="3" y="18"/>
                    </a:cubicBezTo>
                    <a:cubicBezTo>
                      <a:pt x="2" y="19"/>
                      <a:pt x="2" y="19"/>
                      <a:pt x="2" y="19"/>
                    </a:cubicBezTo>
                    <a:cubicBezTo>
                      <a:pt x="2" y="19"/>
                      <a:pt x="2" y="19"/>
                      <a:pt x="2" y="19"/>
                    </a:cubicBezTo>
                    <a:cubicBezTo>
                      <a:pt x="1" y="20"/>
                      <a:pt x="1" y="21"/>
                      <a:pt x="0" y="23"/>
                    </a:cubicBezTo>
                    <a:cubicBezTo>
                      <a:pt x="0" y="23"/>
                      <a:pt x="0" y="24"/>
                      <a:pt x="0" y="24"/>
                    </a:cubicBezTo>
                    <a:cubicBezTo>
                      <a:pt x="0" y="24"/>
                      <a:pt x="0" y="25"/>
                      <a:pt x="0" y="25"/>
                    </a:cubicBezTo>
                    <a:cubicBezTo>
                      <a:pt x="0" y="26"/>
                      <a:pt x="0" y="26"/>
                      <a:pt x="0" y="26"/>
                    </a:cubicBezTo>
                    <a:cubicBezTo>
                      <a:pt x="0" y="27"/>
                      <a:pt x="1" y="28"/>
                      <a:pt x="1" y="29"/>
                    </a:cubicBezTo>
                    <a:cubicBezTo>
                      <a:pt x="1" y="30"/>
                      <a:pt x="1" y="33"/>
                      <a:pt x="1" y="34"/>
                    </a:cubicBezTo>
                    <a:cubicBezTo>
                      <a:pt x="2" y="34"/>
                      <a:pt x="3" y="35"/>
                      <a:pt x="4" y="35"/>
                    </a:cubicBezTo>
                    <a:cubicBezTo>
                      <a:pt x="6" y="35"/>
                      <a:pt x="8" y="34"/>
                      <a:pt x="11" y="33"/>
                    </a:cubicBezTo>
                    <a:cubicBezTo>
                      <a:pt x="13" y="33"/>
                      <a:pt x="15" y="32"/>
                      <a:pt x="17" y="32"/>
                    </a:cubicBezTo>
                    <a:cubicBezTo>
                      <a:pt x="17" y="32"/>
                      <a:pt x="18" y="32"/>
                      <a:pt x="18" y="32"/>
                    </a:cubicBezTo>
                    <a:cubicBezTo>
                      <a:pt x="20" y="32"/>
                      <a:pt x="21" y="33"/>
                      <a:pt x="22" y="33"/>
                    </a:cubicBezTo>
                    <a:cubicBezTo>
                      <a:pt x="22" y="33"/>
                      <a:pt x="22" y="33"/>
                      <a:pt x="22" y="33"/>
                    </a:cubicBezTo>
                    <a:cubicBezTo>
                      <a:pt x="23" y="33"/>
                      <a:pt x="23" y="33"/>
                      <a:pt x="23" y="33"/>
                    </a:cubicBezTo>
                    <a:cubicBezTo>
                      <a:pt x="26" y="31"/>
                      <a:pt x="28" y="25"/>
                      <a:pt x="29" y="24"/>
                    </a:cubicBezTo>
                    <a:cubicBezTo>
                      <a:pt x="28" y="23"/>
                      <a:pt x="28" y="23"/>
                      <a:pt x="28" y="23"/>
                    </a:cubicBezTo>
                    <a:cubicBezTo>
                      <a:pt x="27" y="22"/>
                      <a:pt x="25" y="22"/>
                      <a:pt x="23" y="22"/>
                    </a:cubicBezTo>
                    <a:cubicBezTo>
                      <a:pt x="20" y="22"/>
                      <a:pt x="16" y="23"/>
                      <a:pt x="15" y="23"/>
                    </a:cubicBezTo>
                    <a:cubicBezTo>
                      <a:pt x="18" y="21"/>
                      <a:pt x="23" y="19"/>
                      <a:pt x="26" y="17"/>
                    </a:cubicBezTo>
                    <a:cubicBezTo>
                      <a:pt x="27" y="16"/>
                      <a:pt x="30" y="15"/>
                      <a:pt x="31" y="14"/>
                    </a:cubicBezTo>
                    <a:cubicBezTo>
                      <a:pt x="32" y="13"/>
                      <a:pt x="32" y="12"/>
                      <a:pt x="31" y="11"/>
                    </a:cubicBezTo>
                    <a:cubicBezTo>
                      <a:pt x="31" y="9"/>
                      <a:pt x="31" y="6"/>
                      <a:pt x="30" y="5"/>
                    </a:cubicBezTo>
                    <a:cubicBezTo>
                      <a:pt x="30" y="4"/>
                      <a:pt x="28" y="2"/>
                      <a:pt x="27" y="1"/>
                    </a:cubicBezTo>
                    <a:cubicBezTo>
                      <a:pt x="27" y="1"/>
                      <a:pt x="27" y="1"/>
                      <a:pt x="27" y="1"/>
                    </a:cubicBez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 name="Freeform 348">
                <a:extLst>
                  <a:ext uri="{FF2B5EF4-FFF2-40B4-BE49-F238E27FC236}">
                    <a16:creationId xmlns:a16="http://schemas.microsoft.com/office/drawing/2014/main" id="{7CCCBA1C-BE12-4CAF-9D14-3ECF753C46B6}"/>
                  </a:ext>
                </a:extLst>
              </p:cNvPr>
              <p:cNvSpPr>
                <a:spLocks/>
              </p:cNvSpPr>
              <p:nvPr/>
            </p:nvSpPr>
            <p:spPr bwMode="auto">
              <a:xfrm>
                <a:off x="4913" y="2737"/>
                <a:ext cx="56" cy="19"/>
              </a:xfrm>
              <a:custGeom>
                <a:avLst/>
                <a:gdLst>
                  <a:gd name="T0" fmla="*/ 5 w 24"/>
                  <a:gd name="T1" fmla="*/ 0 h 8"/>
                  <a:gd name="T2" fmla="*/ 4 w 24"/>
                  <a:gd name="T3" fmla="*/ 0 h 8"/>
                  <a:gd name="T4" fmla="*/ 1 w 24"/>
                  <a:gd name="T5" fmla="*/ 4 h 8"/>
                  <a:gd name="T6" fmla="*/ 0 w 24"/>
                  <a:gd name="T7" fmla="*/ 3 h 8"/>
                  <a:gd name="T8" fmla="*/ 9 w 24"/>
                  <a:gd name="T9" fmla="*/ 8 h 8"/>
                  <a:gd name="T10" fmla="*/ 17 w 24"/>
                  <a:gd name="T11" fmla="*/ 6 h 8"/>
                  <a:gd name="T12" fmla="*/ 24 w 24"/>
                  <a:gd name="T13" fmla="*/ 3 h 8"/>
                  <a:gd name="T14" fmla="*/ 24 w 24"/>
                  <a:gd name="T15" fmla="*/ 3 h 8"/>
                  <a:gd name="T16" fmla="*/ 17 w 24"/>
                  <a:gd name="T17" fmla="*/ 1 h 8"/>
                  <a:gd name="T18" fmla="*/ 15 w 24"/>
                  <a:gd name="T19" fmla="*/ 1 h 8"/>
                  <a:gd name="T20" fmla="*/ 12 w 24"/>
                  <a:gd name="T21" fmla="*/ 1 h 8"/>
                  <a:gd name="T22" fmla="*/ 9 w 24"/>
                  <a:gd name="T23" fmla="*/ 1 h 8"/>
                  <a:gd name="T24" fmla="*/ 8 w 24"/>
                  <a:gd name="T25" fmla="*/ 1 h 8"/>
                  <a:gd name="T26" fmla="*/ 5 w 24"/>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8">
                    <a:moveTo>
                      <a:pt x="5" y="0"/>
                    </a:moveTo>
                    <a:cubicBezTo>
                      <a:pt x="4" y="0"/>
                      <a:pt x="4" y="0"/>
                      <a:pt x="4" y="0"/>
                    </a:cubicBezTo>
                    <a:cubicBezTo>
                      <a:pt x="2" y="1"/>
                      <a:pt x="2" y="4"/>
                      <a:pt x="1" y="4"/>
                    </a:cubicBezTo>
                    <a:cubicBezTo>
                      <a:pt x="0" y="4"/>
                      <a:pt x="0" y="4"/>
                      <a:pt x="0" y="3"/>
                    </a:cubicBezTo>
                    <a:cubicBezTo>
                      <a:pt x="3" y="5"/>
                      <a:pt x="6" y="7"/>
                      <a:pt x="9" y="8"/>
                    </a:cubicBezTo>
                    <a:cubicBezTo>
                      <a:pt x="12" y="8"/>
                      <a:pt x="15" y="8"/>
                      <a:pt x="17" y="6"/>
                    </a:cubicBezTo>
                    <a:cubicBezTo>
                      <a:pt x="19" y="6"/>
                      <a:pt x="22" y="3"/>
                      <a:pt x="24" y="3"/>
                    </a:cubicBezTo>
                    <a:cubicBezTo>
                      <a:pt x="24" y="3"/>
                      <a:pt x="24" y="3"/>
                      <a:pt x="24" y="3"/>
                    </a:cubicBezTo>
                    <a:cubicBezTo>
                      <a:pt x="22" y="3"/>
                      <a:pt x="19" y="1"/>
                      <a:pt x="17" y="1"/>
                    </a:cubicBezTo>
                    <a:cubicBezTo>
                      <a:pt x="16" y="1"/>
                      <a:pt x="16" y="1"/>
                      <a:pt x="15" y="1"/>
                    </a:cubicBezTo>
                    <a:cubicBezTo>
                      <a:pt x="14" y="1"/>
                      <a:pt x="13" y="1"/>
                      <a:pt x="12" y="1"/>
                    </a:cubicBezTo>
                    <a:cubicBezTo>
                      <a:pt x="11" y="1"/>
                      <a:pt x="10" y="1"/>
                      <a:pt x="9" y="1"/>
                    </a:cubicBezTo>
                    <a:cubicBezTo>
                      <a:pt x="9" y="1"/>
                      <a:pt x="9" y="1"/>
                      <a:pt x="8" y="1"/>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 name="Freeform 349">
                <a:extLst>
                  <a:ext uri="{FF2B5EF4-FFF2-40B4-BE49-F238E27FC236}">
                    <a16:creationId xmlns:a16="http://schemas.microsoft.com/office/drawing/2014/main" id="{DB31254E-7AB9-4927-87FF-C46D14D16441}"/>
                  </a:ext>
                </a:extLst>
              </p:cNvPr>
              <p:cNvSpPr>
                <a:spLocks/>
              </p:cNvSpPr>
              <p:nvPr/>
            </p:nvSpPr>
            <p:spPr bwMode="auto">
              <a:xfrm>
                <a:off x="4858" y="2758"/>
                <a:ext cx="12" cy="5"/>
              </a:xfrm>
              <a:custGeom>
                <a:avLst/>
                <a:gdLst>
                  <a:gd name="T0" fmla="*/ 1 w 5"/>
                  <a:gd name="T1" fmla="*/ 0 h 2"/>
                  <a:gd name="T2" fmla="*/ 0 w 5"/>
                  <a:gd name="T3" fmla="*/ 0 h 2"/>
                  <a:gd name="T4" fmla="*/ 5 w 5"/>
                  <a:gd name="T5" fmla="*/ 2 h 2"/>
                  <a:gd name="T6" fmla="*/ 1 w 5"/>
                  <a:gd name="T7" fmla="*/ 0 h 2"/>
                </a:gdLst>
                <a:ahLst/>
                <a:cxnLst>
                  <a:cxn ang="0">
                    <a:pos x="T0" y="T1"/>
                  </a:cxn>
                  <a:cxn ang="0">
                    <a:pos x="T2" y="T3"/>
                  </a:cxn>
                  <a:cxn ang="0">
                    <a:pos x="T4" y="T5"/>
                  </a:cxn>
                  <a:cxn ang="0">
                    <a:pos x="T6" y="T7"/>
                  </a:cxn>
                </a:cxnLst>
                <a:rect l="0" t="0" r="r" b="b"/>
                <a:pathLst>
                  <a:path w="5" h="2">
                    <a:moveTo>
                      <a:pt x="1" y="0"/>
                    </a:moveTo>
                    <a:cubicBezTo>
                      <a:pt x="0" y="0"/>
                      <a:pt x="0" y="0"/>
                      <a:pt x="0" y="0"/>
                    </a:cubicBezTo>
                    <a:cubicBezTo>
                      <a:pt x="1" y="1"/>
                      <a:pt x="3" y="2"/>
                      <a:pt x="5" y="2"/>
                    </a:cubicBezTo>
                    <a:cubicBezTo>
                      <a:pt x="4"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 name="Freeform 350">
                <a:extLst>
                  <a:ext uri="{FF2B5EF4-FFF2-40B4-BE49-F238E27FC236}">
                    <a16:creationId xmlns:a16="http://schemas.microsoft.com/office/drawing/2014/main" id="{72D5745B-B624-4548-BF6C-38B5CC4A5E9C}"/>
                  </a:ext>
                </a:extLst>
              </p:cNvPr>
              <p:cNvSpPr>
                <a:spLocks/>
              </p:cNvSpPr>
              <p:nvPr/>
            </p:nvSpPr>
            <p:spPr bwMode="auto">
              <a:xfrm>
                <a:off x="3996" y="1860"/>
                <a:ext cx="14" cy="2"/>
              </a:xfrm>
              <a:custGeom>
                <a:avLst/>
                <a:gdLst>
                  <a:gd name="T0" fmla="*/ 4 w 6"/>
                  <a:gd name="T1" fmla="*/ 0 h 1"/>
                  <a:gd name="T2" fmla="*/ 0 w 6"/>
                  <a:gd name="T3" fmla="*/ 1 h 1"/>
                  <a:gd name="T4" fmla="*/ 6 w 6"/>
                  <a:gd name="T5" fmla="*/ 0 h 1"/>
                  <a:gd name="T6" fmla="*/ 4 w 6"/>
                  <a:gd name="T7" fmla="*/ 0 h 1"/>
                </a:gdLst>
                <a:ahLst/>
                <a:cxnLst>
                  <a:cxn ang="0">
                    <a:pos x="T0" y="T1"/>
                  </a:cxn>
                  <a:cxn ang="0">
                    <a:pos x="T2" y="T3"/>
                  </a:cxn>
                  <a:cxn ang="0">
                    <a:pos x="T4" y="T5"/>
                  </a:cxn>
                  <a:cxn ang="0">
                    <a:pos x="T6" y="T7"/>
                  </a:cxn>
                </a:cxnLst>
                <a:rect l="0" t="0" r="r" b="b"/>
                <a:pathLst>
                  <a:path w="6" h="1">
                    <a:moveTo>
                      <a:pt x="4" y="0"/>
                    </a:moveTo>
                    <a:cubicBezTo>
                      <a:pt x="3" y="0"/>
                      <a:pt x="2" y="1"/>
                      <a:pt x="0" y="1"/>
                    </a:cubicBezTo>
                    <a:cubicBezTo>
                      <a:pt x="2" y="1"/>
                      <a:pt x="4" y="1"/>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 name="Freeform 351">
                <a:extLst>
                  <a:ext uri="{FF2B5EF4-FFF2-40B4-BE49-F238E27FC236}">
                    <a16:creationId xmlns:a16="http://schemas.microsoft.com/office/drawing/2014/main" id="{2E6110B8-121A-41D8-89F8-0E6F9BFEE2F2}"/>
                  </a:ext>
                </a:extLst>
              </p:cNvPr>
              <p:cNvSpPr>
                <a:spLocks/>
              </p:cNvSpPr>
              <p:nvPr/>
            </p:nvSpPr>
            <p:spPr bwMode="auto">
              <a:xfrm>
                <a:off x="5629" y="526"/>
                <a:ext cx="2"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 name="Freeform 352">
                <a:extLst>
                  <a:ext uri="{FF2B5EF4-FFF2-40B4-BE49-F238E27FC236}">
                    <a16:creationId xmlns:a16="http://schemas.microsoft.com/office/drawing/2014/main" id="{5ED3DEBC-5C1B-4670-BAE6-DB3F00B2E82C}"/>
                  </a:ext>
                </a:extLst>
              </p:cNvPr>
              <p:cNvSpPr>
                <a:spLocks/>
              </p:cNvSpPr>
              <p:nvPr/>
            </p:nvSpPr>
            <p:spPr bwMode="auto">
              <a:xfrm>
                <a:off x="8214" y="1524"/>
                <a:ext cx="2" cy="5"/>
              </a:xfrm>
              <a:custGeom>
                <a:avLst/>
                <a:gdLst>
                  <a:gd name="T0" fmla="*/ 2 w 2"/>
                  <a:gd name="T1" fmla="*/ 0 h 5"/>
                  <a:gd name="T2" fmla="*/ 0 w 2"/>
                  <a:gd name="T3" fmla="*/ 5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5"/>
                    </a:lnTo>
                    <a:lnTo>
                      <a:pt x="2"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 name="Freeform 353">
                <a:extLst>
                  <a:ext uri="{FF2B5EF4-FFF2-40B4-BE49-F238E27FC236}">
                    <a16:creationId xmlns:a16="http://schemas.microsoft.com/office/drawing/2014/main" id="{7FCF65BC-A7EC-46F0-8EA0-205C7F49B14F}"/>
                  </a:ext>
                </a:extLst>
              </p:cNvPr>
              <p:cNvSpPr>
                <a:spLocks/>
              </p:cNvSpPr>
              <p:nvPr/>
            </p:nvSpPr>
            <p:spPr bwMode="auto">
              <a:xfrm>
                <a:off x="8214" y="1524"/>
                <a:ext cx="2" cy="5"/>
              </a:xfrm>
              <a:custGeom>
                <a:avLst/>
                <a:gdLst>
                  <a:gd name="T0" fmla="*/ 2 w 2"/>
                  <a:gd name="T1" fmla="*/ 0 h 5"/>
                  <a:gd name="T2" fmla="*/ 0 w 2"/>
                  <a:gd name="T3" fmla="*/ 5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5"/>
                    </a:lnTo>
                    <a:lnTo>
                      <a:pt x="2" y="5"/>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 name="Freeform 354">
                <a:extLst>
                  <a:ext uri="{FF2B5EF4-FFF2-40B4-BE49-F238E27FC236}">
                    <a16:creationId xmlns:a16="http://schemas.microsoft.com/office/drawing/2014/main" id="{CD77E9D3-7C83-4737-9DBE-BA53831C9469}"/>
                  </a:ext>
                </a:extLst>
              </p:cNvPr>
              <p:cNvSpPr>
                <a:spLocks/>
              </p:cNvSpPr>
              <p:nvPr/>
            </p:nvSpPr>
            <p:spPr bwMode="auto">
              <a:xfrm>
                <a:off x="4799" y="2108"/>
                <a:ext cx="38" cy="76"/>
              </a:xfrm>
              <a:custGeom>
                <a:avLst/>
                <a:gdLst>
                  <a:gd name="T0" fmla="*/ 8 w 16"/>
                  <a:gd name="T1" fmla="*/ 0 h 32"/>
                  <a:gd name="T2" fmla="*/ 7 w 16"/>
                  <a:gd name="T3" fmla="*/ 1 h 32"/>
                  <a:gd name="T4" fmla="*/ 4 w 16"/>
                  <a:gd name="T5" fmla="*/ 6 h 32"/>
                  <a:gd name="T6" fmla="*/ 1 w 16"/>
                  <a:gd name="T7" fmla="*/ 13 h 32"/>
                  <a:gd name="T8" fmla="*/ 0 w 16"/>
                  <a:gd name="T9" fmla="*/ 21 h 32"/>
                  <a:gd name="T10" fmla="*/ 1 w 16"/>
                  <a:gd name="T11" fmla="*/ 27 h 32"/>
                  <a:gd name="T12" fmla="*/ 1 w 16"/>
                  <a:gd name="T13" fmla="*/ 27 h 32"/>
                  <a:gd name="T14" fmla="*/ 1 w 16"/>
                  <a:gd name="T15" fmla="*/ 28 h 32"/>
                  <a:gd name="T16" fmla="*/ 4 w 16"/>
                  <a:gd name="T17" fmla="*/ 31 h 32"/>
                  <a:gd name="T18" fmla="*/ 4 w 16"/>
                  <a:gd name="T19" fmla="*/ 31 h 32"/>
                  <a:gd name="T20" fmla="*/ 4 w 16"/>
                  <a:gd name="T21" fmla="*/ 32 h 32"/>
                  <a:gd name="T22" fmla="*/ 5 w 16"/>
                  <a:gd name="T23" fmla="*/ 31 h 32"/>
                  <a:gd name="T24" fmla="*/ 5 w 16"/>
                  <a:gd name="T25" fmla="*/ 31 h 32"/>
                  <a:gd name="T26" fmla="*/ 5 w 16"/>
                  <a:gd name="T27" fmla="*/ 31 h 32"/>
                  <a:gd name="T28" fmla="*/ 7 w 16"/>
                  <a:gd name="T29" fmla="*/ 31 h 32"/>
                  <a:gd name="T30" fmla="*/ 9 w 16"/>
                  <a:gd name="T31" fmla="*/ 31 h 32"/>
                  <a:gd name="T32" fmla="*/ 10 w 16"/>
                  <a:gd name="T33" fmla="*/ 31 h 32"/>
                  <a:gd name="T34" fmla="*/ 11 w 16"/>
                  <a:gd name="T35" fmla="*/ 31 h 32"/>
                  <a:gd name="T36" fmla="*/ 11 w 16"/>
                  <a:gd name="T37" fmla="*/ 31 h 32"/>
                  <a:gd name="T38" fmla="*/ 13 w 16"/>
                  <a:gd name="T39" fmla="*/ 31 h 32"/>
                  <a:gd name="T40" fmla="*/ 13 w 16"/>
                  <a:gd name="T41" fmla="*/ 29 h 32"/>
                  <a:gd name="T42" fmla="*/ 13 w 16"/>
                  <a:gd name="T43" fmla="*/ 29 h 32"/>
                  <a:gd name="T44" fmla="*/ 14 w 16"/>
                  <a:gd name="T45" fmla="*/ 26 h 32"/>
                  <a:gd name="T46" fmla="*/ 16 w 16"/>
                  <a:gd name="T47" fmla="*/ 18 h 32"/>
                  <a:gd name="T48" fmla="*/ 14 w 16"/>
                  <a:gd name="T49" fmla="*/ 12 h 32"/>
                  <a:gd name="T50" fmla="*/ 14 w 16"/>
                  <a:gd name="T51" fmla="*/ 4 h 32"/>
                  <a:gd name="T52" fmla="*/ 14 w 16"/>
                  <a:gd name="T53" fmla="*/ 4 h 32"/>
                  <a:gd name="T54" fmla="*/ 13 w 16"/>
                  <a:gd name="T55" fmla="*/ 4 h 32"/>
                  <a:gd name="T56" fmla="*/ 13 w 16"/>
                  <a:gd name="T57" fmla="*/ 4 h 32"/>
                  <a:gd name="T58" fmla="*/ 12 w 16"/>
                  <a:gd name="T59" fmla="*/ 4 h 32"/>
                  <a:gd name="T60" fmla="*/ 9 w 16"/>
                  <a:gd name="T61" fmla="*/ 0 h 32"/>
                  <a:gd name="T62" fmla="*/ 8 w 16"/>
                  <a:gd name="T6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32">
                    <a:moveTo>
                      <a:pt x="8" y="0"/>
                    </a:moveTo>
                    <a:cubicBezTo>
                      <a:pt x="8" y="0"/>
                      <a:pt x="8" y="0"/>
                      <a:pt x="7" y="1"/>
                    </a:cubicBezTo>
                    <a:cubicBezTo>
                      <a:pt x="5" y="1"/>
                      <a:pt x="4" y="4"/>
                      <a:pt x="4" y="6"/>
                    </a:cubicBezTo>
                    <a:cubicBezTo>
                      <a:pt x="2" y="9"/>
                      <a:pt x="2" y="10"/>
                      <a:pt x="1" y="13"/>
                    </a:cubicBezTo>
                    <a:cubicBezTo>
                      <a:pt x="1" y="15"/>
                      <a:pt x="0" y="19"/>
                      <a:pt x="0" y="21"/>
                    </a:cubicBezTo>
                    <a:cubicBezTo>
                      <a:pt x="0" y="22"/>
                      <a:pt x="0" y="25"/>
                      <a:pt x="1" y="27"/>
                    </a:cubicBezTo>
                    <a:cubicBezTo>
                      <a:pt x="1" y="27"/>
                      <a:pt x="1" y="27"/>
                      <a:pt x="1" y="27"/>
                    </a:cubicBezTo>
                    <a:cubicBezTo>
                      <a:pt x="1" y="28"/>
                      <a:pt x="1" y="28"/>
                      <a:pt x="1" y="28"/>
                    </a:cubicBezTo>
                    <a:cubicBezTo>
                      <a:pt x="2" y="30"/>
                      <a:pt x="2" y="31"/>
                      <a:pt x="4" y="31"/>
                    </a:cubicBezTo>
                    <a:cubicBezTo>
                      <a:pt x="4" y="31"/>
                      <a:pt x="4" y="31"/>
                      <a:pt x="4" y="31"/>
                    </a:cubicBezTo>
                    <a:cubicBezTo>
                      <a:pt x="4" y="32"/>
                      <a:pt x="4" y="32"/>
                      <a:pt x="4" y="32"/>
                    </a:cubicBezTo>
                    <a:cubicBezTo>
                      <a:pt x="5" y="31"/>
                      <a:pt x="5" y="31"/>
                      <a:pt x="5" y="31"/>
                    </a:cubicBezTo>
                    <a:cubicBezTo>
                      <a:pt x="5" y="31"/>
                      <a:pt x="5" y="31"/>
                      <a:pt x="5" y="31"/>
                    </a:cubicBezTo>
                    <a:cubicBezTo>
                      <a:pt x="5" y="31"/>
                      <a:pt x="5" y="31"/>
                      <a:pt x="5" y="31"/>
                    </a:cubicBezTo>
                    <a:cubicBezTo>
                      <a:pt x="6" y="31"/>
                      <a:pt x="6" y="31"/>
                      <a:pt x="7" y="31"/>
                    </a:cubicBezTo>
                    <a:cubicBezTo>
                      <a:pt x="8" y="31"/>
                      <a:pt x="8" y="31"/>
                      <a:pt x="9" y="31"/>
                    </a:cubicBezTo>
                    <a:cubicBezTo>
                      <a:pt x="9" y="31"/>
                      <a:pt x="9" y="31"/>
                      <a:pt x="10" y="31"/>
                    </a:cubicBezTo>
                    <a:cubicBezTo>
                      <a:pt x="10" y="31"/>
                      <a:pt x="10" y="31"/>
                      <a:pt x="11" y="31"/>
                    </a:cubicBezTo>
                    <a:cubicBezTo>
                      <a:pt x="11" y="31"/>
                      <a:pt x="11" y="31"/>
                      <a:pt x="11" y="31"/>
                    </a:cubicBezTo>
                    <a:cubicBezTo>
                      <a:pt x="11" y="31"/>
                      <a:pt x="12" y="31"/>
                      <a:pt x="13" y="31"/>
                    </a:cubicBezTo>
                    <a:cubicBezTo>
                      <a:pt x="13" y="29"/>
                      <a:pt x="13" y="29"/>
                      <a:pt x="13" y="29"/>
                    </a:cubicBezTo>
                    <a:cubicBezTo>
                      <a:pt x="13" y="29"/>
                      <a:pt x="13" y="29"/>
                      <a:pt x="13" y="29"/>
                    </a:cubicBezTo>
                    <a:cubicBezTo>
                      <a:pt x="13" y="28"/>
                      <a:pt x="14" y="27"/>
                      <a:pt x="14" y="26"/>
                    </a:cubicBezTo>
                    <a:cubicBezTo>
                      <a:pt x="14" y="25"/>
                      <a:pt x="16" y="20"/>
                      <a:pt x="16" y="18"/>
                    </a:cubicBezTo>
                    <a:cubicBezTo>
                      <a:pt x="15" y="16"/>
                      <a:pt x="13" y="14"/>
                      <a:pt x="14" y="12"/>
                    </a:cubicBezTo>
                    <a:cubicBezTo>
                      <a:pt x="14" y="10"/>
                      <a:pt x="16" y="6"/>
                      <a:pt x="14" y="4"/>
                    </a:cubicBezTo>
                    <a:cubicBezTo>
                      <a:pt x="14" y="4"/>
                      <a:pt x="14" y="4"/>
                      <a:pt x="14" y="4"/>
                    </a:cubicBezTo>
                    <a:cubicBezTo>
                      <a:pt x="13" y="4"/>
                      <a:pt x="13" y="4"/>
                      <a:pt x="13" y="4"/>
                    </a:cubicBezTo>
                    <a:cubicBezTo>
                      <a:pt x="13" y="4"/>
                      <a:pt x="13" y="4"/>
                      <a:pt x="13" y="4"/>
                    </a:cubicBezTo>
                    <a:cubicBezTo>
                      <a:pt x="13" y="4"/>
                      <a:pt x="12" y="4"/>
                      <a:pt x="12" y="4"/>
                    </a:cubicBezTo>
                    <a:cubicBezTo>
                      <a:pt x="11" y="3"/>
                      <a:pt x="10"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 name="Freeform 355">
                <a:extLst>
                  <a:ext uri="{FF2B5EF4-FFF2-40B4-BE49-F238E27FC236}">
                    <a16:creationId xmlns:a16="http://schemas.microsoft.com/office/drawing/2014/main" id="{B206BE17-EE9E-4DAC-A27B-6E118FD6C9F2}"/>
                  </a:ext>
                </a:extLst>
              </p:cNvPr>
              <p:cNvSpPr>
                <a:spLocks noEditPoints="1"/>
              </p:cNvSpPr>
              <p:nvPr/>
            </p:nvSpPr>
            <p:spPr bwMode="auto">
              <a:xfrm>
                <a:off x="5515" y="564"/>
                <a:ext cx="3" cy="3"/>
              </a:xfrm>
              <a:custGeom>
                <a:avLst/>
                <a:gdLst>
                  <a:gd name="T0" fmla="*/ 1 w 1"/>
                  <a:gd name="T1" fmla="*/ 0 h 1"/>
                  <a:gd name="T2" fmla="*/ 1 w 1"/>
                  <a:gd name="T3" fmla="*/ 1 h 1"/>
                  <a:gd name="T4" fmla="*/ 0 w 1"/>
                  <a:gd name="T5" fmla="*/ 1 h 1"/>
                  <a:gd name="T6" fmla="*/ 0 w 1"/>
                  <a:gd name="T7" fmla="*/ 1 h 1"/>
                  <a:gd name="T8" fmla="*/ 1 w 1"/>
                  <a:gd name="T9" fmla="*/ 0 h 1"/>
                  <a:gd name="T10" fmla="*/ 1 w 1"/>
                  <a:gd name="T11" fmla="*/ 0 h 1"/>
                  <a:gd name="T12" fmla="*/ 1 w 1"/>
                  <a:gd name="T13" fmla="*/ 0 h 1"/>
                  <a:gd name="T14" fmla="*/ 1 w 1"/>
                  <a:gd name="T15" fmla="*/ 0 h 1"/>
                  <a:gd name="T16" fmla="*/ 1 w 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0"/>
                    </a:moveTo>
                    <a:cubicBezTo>
                      <a:pt x="1" y="0"/>
                      <a:pt x="1" y="1"/>
                      <a:pt x="1" y="1"/>
                    </a:cubicBezTo>
                    <a:cubicBezTo>
                      <a:pt x="0" y="1"/>
                      <a:pt x="0" y="1"/>
                      <a:pt x="0" y="1"/>
                    </a:cubicBezTo>
                    <a:cubicBezTo>
                      <a:pt x="0" y="1"/>
                      <a:pt x="0" y="1"/>
                      <a:pt x="0" y="1"/>
                    </a:cubicBezTo>
                    <a:cubicBezTo>
                      <a:pt x="1" y="1"/>
                      <a:pt x="1" y="1"/>
                      <a:pt x="1" y="0"/>
                    </a:cubicBezTo>
                    <a:moveTo>
                      <a:pt x="1" y="0"/>
                    </a:moveTo>
                    <a:cubicBezTo>
                      <a:pt x="1" y="0"/>
                      <a:pt x="1" y="0"/>
                      <a:pt x="1"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 name="Rectangle 356">
                <a:extLst>
                  <a:ext uri="{FF2B5EF4-FFF2-40B4-BE49-F238E27FC236}">
                    <a16:creationId xmlns:a16="http://schemas.microsoft.com/office/drawing/2014/main" id="{0E07DB80-4E47-41B1-9A3B-852D25C6C4E3}"/>
                  </a:ext>
                </a:extLst>
              </p:cNvPr>
              <p:cNvSpPr>
                <a:spLocks noChangeArrowheads="1"/>
              </p:cNvSpPr>
              <p:nvPr/>
            </p:nvSpPr>
            <p:spPr bwMode="auto">
              <a:xfrm>
                <a:off x="3887" y="336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 name="Freeform 357">
                <a:extLst>
                  <a:ext uri="{FF2B5EF4-FFF2-40B4-BE49-F238E27FC236}">
                    <a16:creationId xmlns:a16="http://schemas.microsoft.com/office/drawing/2014/main" id="{EF8F84E3-13F4-49E3-8289-73792F35DF5F}"/>
                  </a:ext>
                </a:extLst>
              </p:cNvPr>
              <p:cNvSpPr>
                <a:spLocks/>
              </p:cNvSpPr>
              <p:nvPr/>
            </p:nvSpPr>
            <p:spPr bwMode="auto">
              <a:xfrm>
                <a:off x="3887" y="336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 name="Freeform 358">
                <a:extLst>
                  <a:ext uri="{FF2B5EF4-FFF2-40B4-BE49-F238E27FC236}">
                    <a16:creationId xmlns:a16="http://schemas.microsoft.com/office/drawing/2014/main" id="{BF2D1829-82F6-46A0-841B-E5926816E561}"/>
                  </a:ext>
                </a:extLst>
              </p:cNvPr>
              <p:cNvSpPr>
                <a:spLocks noEditPoints="1"/>
              </p:cNvSpPr>
              <p:nvPr/>
            </p:nvSpPr>
            <p:spPr bwMode="auto">
              <a:xfrm>
                <a:off x="3665" y="-601"/>
                <a:ext cx="250" cy="175"/>
              </a:xfrm>
              <a:custGeom>
                <a:avLst/>
                <a:gdLst>
                  <a:gd name="T0" fmla="*/ 2 w 106"/>
                  <a:gd name="T1" fmla="*/ 14 h 74"/>
                  <a:gd name="T2" fmla="*/ 40 w 106"/>
                  <a:gd name="T3" fmla="*/ 0 h 74"/>
                  <a:gd name="T4" fmla="*/ 34 w 106"/>
                  <a:gd name="T5" fmla="*/ 8 h 74"/>
                  <a:gd name="T6" fmla="*/ 36 w 106"/>
                  <a:gd name="T7" fmla="*/ 8 h 74"/>
                  <a:gd name="T8" fmla="*/ 30 w 106"/>
                  <a:gd name="T9" fmla="*/ 15 h 74"/>
                  <a:gd name="T10" fmla="*/ 29 w 106"/>
                  <a:gd name="T11" fmla="*/ 18 h 74"/>
                  <a:gd name="T12" fmla="*/ 28 w 106"/>
                  <a:gd name="T13" fmla="*/ 23 h 74"/>
                  <a:gd name="T14" fmla="*/ 25 w 106"/>
                  <a:gd name="T15" fmla="*/ 22 h 74"/>
                  <a:gd name="T16" fmla="*/ 21 w 106"/>
                  <a:gd name="T17" fmla="*/ 24 h 74"/>
                  <a:gd name="T18" fmla="*/ 20 w 106"/>
                  <a:gd name="T19" fmla="*/ 25 h 74"/>
                  <a:gd name="T20" fmla="*/ 19 w 106"/>
                  <a:gd name="T21" fmla="*/ 25 h 74"/>
                  <a:gd name="T22" fmla="*/ 21 w 106"/>
                  <a:gd name="T23" fmla="*/ 13 h 74"/>
                  <a:gd name="T24" fmla="*/ 6 w 106"/>
                  <a:gd name="T25" fmla="*/ 19 h 74"/>
                  <a:gd name="T26" fmla="*/ 0 w 106"/>
                  <a:gd name="T27" fmla="*/ 24 h 74"/>
                  <a:gd name="T28" fmla="*/ 1 w 106"/>
                  <a:gd name="T29" fmla="*/ 71 h 74"/>
                  <a:gd name="T30" fmla="*/ 3 w 106"/>
                  <a:gd name="T31" fmla="*/ 57 h 74"/>
                  <a:gd name="T32" fmla="*/ 7 w 106"/>
                  <a:gd name="T33" fmla="*/ 48 h 74"/>
                  <a:gd name="T34" fmla="*/ 14 w 106"/>
                  <a:gd name="T35" fmla="*/ 43 h 74"/>
                  <a:gd name="T36" fmla="*/ 27 w 106"/>
                  <a:gd name="T37" fmla="*/ 38 h 74"/>
                  <a:gd name="T38" fmla="*/ 34 w 106"/>
                  <a:gd name="T39" fmla="*/ 37 h 74"/>
                  <a:gd name="T40" fmla="*/ 36 w 106"/>
                  <a:gd name="T41" fmla="*/ 36 h 74"/>
                  <a:gd name="T42" fmla="*/ 50 w 106"/>
                  <a:gd name="T43" fmla="*/ 38 h 74"/>
                  <a:gd name="T44" fmla="*/ 57 w 106"/>
                  <a:gd name="T45" fmla="*/ 42 h 74"/>
                  <a:gd name="T46" fmla="*/ 64 w 106"/>
                  <a:gd name="T47" fmla="*/ 46 h 74"/>
                  <a:gd name="T48" fmla="*/ 74 w 106"/>
                  <a:gd name="T49" fmla="*/ 58 h 74"/>
                  <a:gd name="T50" fmla="*/ 84 w 106"/>
                  <a:gd name="T51" fmla="*/ 52 h 74"/>
                  <a:gd name="T52" fmla="*/ 85 w 106"/>
                  <a:gd name="T53" fmla="*/ 48 h 74"/>
                  <a:gd name="T54" fmla="*/ 91 w 106"/>
                  <a:gd name="T55" fmla="*/ 48 h 74"/>
                  <a:gd name="T56" fmla="*/ 97 w 106"/>
                  <a:gd name="T57" fmla="*/ 50 h 74"/>
                  <a:gd name="T58" fmla="*/ 98 w 106"/>
                  <a:gd name="T59" fmla="*/ 48 h 74"/>
                  <a:gd name="T60" fmla="*/ 97 w 106"/>
                  <a:gd name="T61" fmla="*/ 45 h 74"/>
                  <a:gd name="T62" fmla="*/ 88 w 106"/>
                  <a:gd name="T63" fmla="*/ 43 h 74"/>
                  <a:gd name="T64" fmla="*/ 75 w 106"/>
                  <a:gd name="T65" fmla="*/ 49 h 74"/>
                  <a:gd name="T66" fmla="*/ 79 w 106"/>
                  <a:gd name="T67" fmla="*/ 46 h 74"/>
                  <a:gd name="T68" fmla="*/ 58 w 106"/>
                  <a:gd name="T69" fmla="*/ 34 h 74"/>
                  <a:gd name="T70" fmla="*/ 88 w 106"/>
                  <a:gd name="T71" fmla="*/ 36 h 74"/>
                  <a:gd name="T72" fmla="*/ 101 w 106"/>
                  <a:gd name="T73" fmla="*/ 23 h 74"/>
                  <a:gd name="T74" fmla="*/ 87 w 106"/>
                  <a:gd name="T75" fmla="*/ 15 h 74"/>
                  <a:gd name="T76" fmla="*/ 80 w 106"/>
                  <a:gd name="T77" fmla="*/ 13 h 74"/>
                  <a:gd name="T78" fmla="*/ 63 w 106"/>
                  <a:gd name="T79" fmla="*/ 9 h 74"/>
                  <a:gd name="T80" fmla="*/ 50 w 106"/>
                  <a:gd name="T81" fmla="*/ 28 h 74"/>
                  <a:gd name="T82" fmla="*/ 49 w 106"/>
                  <a:gd name="T83" fmla="*/ 23 h 74"/>
                  <a:gd name="T84" fmla="*/ 45 w 106"/>
                  <a:gd name="T85" fmla="*/ 21 h 74"/>
                  <a:gd name="T86" fmla="*/ 44 w 106"/>
                  <a:gd name="T87" fmla="*/ 16 h 74"/>
                  <a:gd name="T88" fmla="*/ 47 w 106"/>
                  <a:gd name="T89" fmla="*/ 11 h 74"/>
                  <a:gd name="T90" fmla="*/ 52 w 106"/>
                  <a:gd name="T91" fmla="*/ 11 h 74"/>
                  <a:gd name="T92" fmla="*/ 40 w 106"/>
                  <a:gd name="T9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6" h="74">
                    <a:moveTo>
                      <a:pt x="0" y="7"/>
                    </a:moveTo>
                    <a:cubicBezTo>
                      <a:pt x="0" y="15"/>
                      <a:pt x="0" y="15"/>
                      <a:pt x="0" y="15"/>
                    </a:cubicBezTo>
                    <a:cubicBezTo>
                      <a:pt x="1" y="14"/>
                      <a:pt x="2" y="14"/>
                      <a:pt x="2" y="14"/>
                    </a:cubicBezTo>
                    <a:cubicBezTo>
                      <a:pt x="4" y="12"/>
                      <a:pt x="5" y="10"/>
                      <a:pt x="7" y="9"/>
                    </a:cubicBezTo>
                    <a:cubicBezTo>
                      <a:pt x="5" y="8"/>
                      <a:pt x="2" y="7"/>
                      <a:pt x="0" y="7"/>
                    </a:cubicBezTo>
                    <a:moveTo>
                      <a:pt x="40" y="0"/>
                    </a:moveTo>
                    <a:cubicBezTo>
                      <a:pt x="40" y="1"/>
                      <a:pt x="39" y="4"/>
                      <a:pt x="39" y="5"/>
                    </a:cubicBezTo>
                    <a:cubicBezTo>
                      <a:pt x="37" y="7"/>
                      <a:pt x="34" y="7"/>
                      <a:pt x="32" y="8"/>
                    </a:cubicBezTo>
                    <a:cubicBezTo>
                      <a:pt x="33" y="8"/>
                      <a:pt x="33" y="8"/>
                      <a:pt x="34" y="8"/>
                    </a:cubicBezTo>
                    <a:cubicBezTo>
                      <a:pt x="34" y="8"/>
                      <a:pt x="35" y="8"/>
                      <a:pt x="35" y="8"/>
                    </a:cubicBezTo>
                    <a:cubicBezTo>
                      <a:pt x="35" y="8"/>
                      <a:pt x="35" y="8"/>
                      <a:pt x="35" y="8"/>
                    </a:cubicBezTo>
                    <a:cubicBezTo>
                      <a:pt x="35" y="8"/>
                      <a:pt x="35" y="8"/>
                      <a:pt x="36" y="8"/>
                    </a:cubicBezTo>
                    <a:cubicBezTo>
                      <a:pt x="36" y="8"/>
                      <a:pt x="37" y="9"/>
                      <a:pt x="38" y="9"/>
                    </a:cubicBezTo>
                    <a:cubicBezTo>
                      <a:pt x="36" y="11"/>
                      <a:pt x="39" y="11"/>
                      <a:pt x="40" y="11"/>
                    </a:cubicBezTo>
                    <a:cubicBezTo>
                      <a:pt x="36" y="13"/>
                      <a:pt x="33" y="13"/>
                      <a:pt x="30" y="15"/>
                    </a:cubicBezTo>
                    <a:cubicBezTo>
                      <a:pt x="32" y="15"/>
                      <a:pt x="30" y="16"/>
                      <a:pt x="30" y="17"/>
                    </a:cubicBezTo>
                    <a:cubicBezTo>
                      <a:pt x="30" y="17"/>
                      <a:pt x="32" y="18"/>
                      <a:pt x="33" y="18"/>
                    </a:cubicBezTo>
                    <a:cubicBezTo>
                      <a:pt x="32" y="18"/>
                      <a:pt x="30" y="18"/>
                      <a:pt x="29" y="18"/>
                    </a:cubicBezTo>
                    <a:cubicBezTo>
                      <a:pt x="28" y="18"/>
                      <a:pt x="27" y="18"/>
                      <a:pt x="27" y="20"/>
                    </a:cubicBezTo>
                    <a:cubicBezTo>
                      <a:pt x="27" y="21"/>
                      <a:pt x="28" y="22"/>
                      <a:pt x="30" y="22"/>
                    </a:cubicBezTo>
                    <a:cubicBezTo>
                      <a:pt x="29" y="22"/>
                      <a:pt x="28" y="23"/>
                      <a:pt x="28" y="23"/>
                    </a:cubicBezTo>
                    <a:cubicBezTo>
                      <a:pt x="27" y="23"/>
                      <a:pt x="27" y="22"/>
                      <a:pt x="27" y="22"/>
                    </a:cubicBezTo>
                    <a:cubicBezTo>
                      <a:pt x="26" y="22"/>
                      <a:pt x="26" y="22"/>
                      <a:pt x="25" y="22"/>
                    </a:cubicBezTo>
                    <a:cubicBezTo>
                      <a:pt x="25" y="22"/>
                      <a:pt x="25" y="22"/>
                      <a:pt x="25" y="22"/>
                    </a:cubicBezTo>
                    <a:cubicBezTo>
                      <a:pt x="23" y="22"/>
                      <a:pt x="23" y="23"/>
                      <a:pt x="22" y="24"/>
                    </a:cubicBezTo>
                    <a:cubicBezTo>
                      <a:pt x="22" y="24"/>
                      <a:pt x="22" y="24"/>
                      <a:pt x="22" y="24"/>
                    </a:cubicBezTo>
                    <a:cubicBezTo>
                      <a:pt x="22" y="24"/>
                      <a:pt x="22" y="24"/>
                      <a:pt x="21" y="24"/>
                    </a:cubicBezTo>
                    <a:cubicBezTo>
                      <a:pt x="21" y="25"/>
                      <a:pt x="20" y="25"/>
                      <a:pt x="20" y="25"/>
                    </a:cubicBezTo>
                    <a:cubicBezTo>
                      <a:pt x="20" y="25"/>
                      <a:pt x="20" y="25"/>
                      <a:pt x="20" y="25"/>
                    </a:cubicBezTo>
                    <a:cubicBezTo>
                      <a:pt x="20" y="25"/>
                      <a:pt x="20" y="25"/>
                      <a:pt x="20" y="25"/>
                    </a:cubicBezTo>
                    <a:cubicBezTo>
                      <a:pt x="21" y="25"/>
                      <a:pt x="20" y="25"/>
                      <a:pt x="20" y="25"/>
                    </a:cubicBezTo>
                    <a:cubicBezTo>
                      <a:pt x="20" y="26"/>
                      <a:pt x="20" y="26"/>
                      <a:pt x="20" y="26"/>
                    </a:cubicBezTo>
                    <a:cubicBezTo>
                      <a:pt x="19" y="26"/>
                      <a:pt x="19" y="26"/>
                      <a:pt x="19" y="25"/>
                    </a:cubicBezTo>
                    <a:cubicBezTo>
                      <a:pt x="18" y="23"/>
                      <a:pt x="19" y="16"/>
                      <a:pt x="16" y="16"/>
                    </a:cubicBezTo>
                    <a:cubicBezTo>
                      <a:pt x="16" y="16"/>
                      <a:pt x="16" y="16"/>
                      <a:pt x="16" y="16"/>
                    </a:cubicBezTo>
                    <a:cubicBezTo>
                      <a:pt x="17" y="15"/>
                      <a:pt x="20" y="15"/>
                      <a:pt x="21" y="13"/>
                    </a:cubicBezTo>
                    <a:cubicBezTo>
                      <a:pt x="23" y="12"/>
                      <a:pt x="22" y="8"/>
                      <a:pt x="22" y="5"/>
                    </a:cubicBezTo>
                    <a:cubicBezTo>
                      <a:pt x="18" y="9"/>
                      <a:pt x="13" y="12"/>
                      <a:pt x="9" y="15"/>
                    </a:cubicBezTo>
                    <a:cubicBezTo>
                      <a:pt x="8" y="16"/>
                      <a:pt x="7" y="18"/>
                      <a:pt x="6" y="19"/>
                    </a:cubicBezTo>
                    <a:cubicBezTo>
                      <a:pt x="5" y="20"/>
                      <a:pt x="5" y="20"/>
                      <a:pt x="4" y="21"/>
                    </a:cubicBezTo>
                    <a:cubicBezTo>
                      <a:pt x="2" y="22"/>
                      <a:pt x="1" y="23"/>
                      <a:pt x="0" y="24"/>
                    </a:cubicBezTo>
                    <a:cubicBezTo>
                      <a:pt x="0" y="24"/>
                      <a:pt x="0" y="24"/>
                      <a:pt x="0" y="24"/>
                    </a:cubicBezTo>
                    <a:cubicBezTo>
                      <a:pt x="0" y="74"/>
                      <a:pt x="0" y="74"/>
                      <a:pt x="0" y="74"/>
                    </a:cubicBezTo>
                    <a:cubicBezTo>
                      <a:pt x="0" y="74"/>
                      <a:pt x="0" y="74"/>
                      <a:pt x="0" y="74"/>
                    </a:cubicBezTo>
                    <a:cubicBezTo>
                      <a:pt x="1" y="73"/>
                      <a:pt x="1" y="72"/>
                      <a:pt x="1" y="71"/>
                    </a:cubicBezTo>
                    <a:cubicBezTo>
                      <a:pt x="2" y="69"/>
                      <a:pt x="2" y="67"/>
                      <a:pt x="2" y="64"/>
                    </a:cubicBezTo>
                    <a:cubicBezTo>
                      <a:pt x="2" y="64"/>
                      <a:pt x="2" y="64"/>
                      <a:pt x="2" y="64"/>
                    </a:cubicBezTo>
                    <a:cubicBezTo>
                      <a:pt x="2" y="62"/>
                      <a:pt x="3" y="59"/>
                      <a:pt x="3" y="57"/>
                    </a:cubicBezTo>
                    <a:cubicBezTo>
                      <a:pt x="4" y="55"/>
                      <a:pt x="4" y="55"/>
                      <a:pt x="4" y="55"/>
                    </a:cubicBezTo>
                    <a:cubicBezTo>
                      <a:pt x="4" y="55"/>
                      <a:pt x="4" y="54"/>
                      <a:pt x="4" y="54"/>
                    </a:cubicBezTo>
                    <a:cubicBezTo>
                      <a:pt x="5" y="51"/>
                      <a:pt x="5" y="50"/>
                      <a:pt x="7" y="48"/>
                    </a:cubicBezTo>
                    <a:cubicBezTo>
                      <a:pt x="7" y="48"/>
                      <a:pt x="7" y="48"/>
                      <a:pt x="7" y="48"/>
                    </a:cubicBezTo>
                    <a:cubicBezTo>
                      <a:pt x="8" y="47"/>
                      <a:pt x="10" y="46"/>
                      <a:pt x="11" y="45"/>
                    </a:cubicBezTo>
                    <a:cubicBezTo>
                      <a:pt x="12" y="44"/>
                      <a:pt x="13" y="44"/>
                      <a:pt x="14" y="43"/>
                    </a:cubicBezTo>
                    <a:cubicBezTo>
                      <a:pt x="14" y="43"/>
                      <a:pt x="14" y="43"/>
                      <a:pt x="14" y="43"/>
                    </a:cubicBezTo>
                    <a:cubicBezTo>
                      <a:pt x="17" y="39"/>
                      <a:pt x="19" y="38"/>
                      <a:pt x="24" y="38"/>
                    </a:cubicBezTo>
                    <a:cubicBezTo>
                      <a:pt x="27" y="38"/>
                      <a:pt x="27" y="38"/>
                      <a:pt x="27" y="38"/>
                    </a:cubicBezTo>
                    <a:cubicBezTo>
                      <a:pt x="28" y="38"/>
                      <a:pt x="29" y="38"/>
                      <a:pt x="30" y="37"/>
                    </a:cubicBezTo>
                    <a:cubicBezTo>
                      <a:pt x="31" y="37"/>
                      <a:pt x="32" y="37"/>
                      <a:pt x="33" y="37"/>
                    </a:cubicBezTo>
                    <a:cubicBezTo>
                      <a:pt x="33" y="37"/>
                      <a:pt x="34" y="37"/>
                      <a:pt x="34" y="37"/>
                    </a:cubicBezTo>
                    <a:cubicBezTo>
                      <a:pt x="35" y="36"/>
                      <a:pt x="35" y="36"/>
                      <a:pt x="35" y="36"/>
                    </a:cubicBezTo>
                    <a:cubicBezTo>
                      <a:pt x="35" y="36"/>
                      <a:pt x="35" y="36"/>
                      <a:pt x="36" y="36"/>
                    </a:cubicBezTo>
                    <a:cubicBezTo>
                      <a:pt x="36" y="36"/>
                      <a:pt x="36" y="36"/>
                      <a:pt x="36" y="36"/>
                    </a:cubicBezTo>
                    <a:cubicBezTo>
                      <a:pt x="37" y="35"/>
                      <a:pt x="37" y="35"/>
                      <a:pt x="38" y="35"/>
                    </a:cubicBezTo>
                    <a:cubicBezTo>
                      <a:pt x="39" y="34"/>
                      <a:pt x="40" y="34"/>
                      <a:pt x="41" y="34"/>
                    </a:cubicBezTo>
                    <a:cubicBezTo>
                      <a:pt x="45" y="34"/>
                      <a:pt x="48" y="36"/>
                      <a:pt x="50" y="38"/>
                    </a:cubicBezTo>
                    <a:cubicBezTo>
                      <a:pt x="51" y="39"/>
                      <a:pt x="51" y="39"/>
                      <a:pt x="51" y="39"/>
                    </a:cubicBezTo>
                    <a:cubicBezTo>
                      <a:pt x="52" y="39"/>
                      <a:pt x="52" y="40"/>
                      <a:pt x="53" y="40"/>
                    </a:cubicBezTo>
                    <a:cubicBezTo>
                      <a:pt x="54" y="41"/>
                      <a:pt x="56" y="42"/>
                      <a:pt x="57" y="42"/>
                    </a:cubicBezTo>
                    <a:cubicBezTo>
                      <a:pt x="58" y="43"/>
                      <a:pt x="59" y="43"/>
                      <a:pt x="60" y="44"/>
                    </a:cubicBezTo>
                    <a:cubicBezTo>
                      <a:pt x="61" y="44"/>
                      <a:pt x="61" y="44"/>
                      <a:pt x="61" y="44"/>
                    </a:cubicBezTo>
                    <a:cubicBezTo>
                      <a:pt x="62" y="45"/>
                      <a:pt x="63" y="45"/>
                      <a:pt x="64" y="46"/>
                    </a:cubicBezTo>
                    <a:cubicBezTo>
                      <a:pt x="66" y="47"/>
                      <a:pt x="72" y="50"/>
                      <a:pt x="73" y="54"/>
                    </a:cubicBezTo>
                    <a:cubicBezTo>
                      <a:pt x="73" y="55"/>
                      <a:pt x="73" y="56"/>
                      <a:pt x="73" y="58"/>
                    </a:cubicBezTo>
                    <a:cubicBezTo>
                      <a:pt x="74" y="58"/>
                      <a:pt x="74" y="58"/>
                      <a:pt x="74" y="58"/>
                    </a:cubicBezTo>
                    <a:cubicBezTo>
                      <a:pt x="75" y="57"/>
                      <a:pt x="76" y="57"/>
                      <a:pt x="77" y="57"/>
                    </a:cubicBezTo>
                    <a:cubicBezTo>
                      <a:pt x="79" y="57"/>
                      <a:pt x="79" y="57"/>
                      <a:pt x="79" y="57"/>
                    </a:cubicBezTo>
                    <a:cubicBezTo>
                      <a:pt x="81" y="56"/>
                      <a:pt x="82" y="55"/>
                      <a:pt x="84" y="52"/>
                    </a:cubicBezTo>
                    <a:cubicBezTo>
                      <a:pt x="84" y="52"/>
                      <a:pt x="84" y="52"/>
                      <a:pt x="84" y="51"/>
                    </a:cubicBezTo>
                    <a:cubicBezTo>
                      <a:pt x="83" y="50"/>
                      <a:pt x="83" y="50"/>
                      <a:pt x="83" y="50"/>
                    </a:cubicBezTo>
                    <a:cubicBezTo>
                      <a:pt x="85" y="48"/>
                      <a:pt x="85" y="48"/>
                      <a:pt x="85" y="48"/>
                    </a:cubicBezTo>
                    <a:cubicBezTo>
                      <a:pt x="86" y="47"/>
                      <a:pt x="87" y="47"/>
                      <a:pt x="87" y="47"/>
                    </a:cubicBezTo>
                    <a:cubicBezTo>
                      <a:pt x="88" y="47"/>
                      <a:pt x="89" y="47"/>
                      <a:pt x="90" y="48"/>
                    </a:cubicBezTo>
                    <a:cubicBezTo>
                      <a:pt x="90" y="48"/>
                      <a:pt x="91" y="48"/>
                      <a:pt x="91" y="48"/>
                    </a:cubicBezTo>
                    <a:cubicBezTo>
                      <a:pt x="92" y="49"/>
                      <a:pt x="92" y="49"/>
                      <a:pt x="92" y="49"/>
                    </a:cubicBezTo>
                    <a:cubicBezTo>
                      <a:pt x="93" y="49"/>
                      <a:pt x="95" y="50"/>
                      <a:pt x="96" y="50"/>
                    </a:cubicBezTo>
                    <a:cubicBezTo>
                      <a:pt x="97" y="50"/>
                      <a:pt x="97" y="50"/>
                      <a:pt x="97" y="50"/>
                    </a:cubicBezTo>
                    <a:cubicBezTo>
                      <a:pt x="98" y="51"/>
                      <a:pt x="98" y="51"/>
                      <a:pt x="98" y="51"/>
                    </a:cubicBezTo>
                    <a:cubicBezTo>
                      <a:pt x="98" y="50"/>
                      <a:pt x="98" y="50"/>
                      <a:pt x="98" y="50"/>
                    </a:cubicBezTo>
                    <a:cubicBezTo>
                      <a:pt x="98" y="50"/>
                      <a:pt x="98" y="48"/>
                      <a:pt x="98" y="48"/>
                    </a:cubicBezTo>
                    <a:cubicBezTo>
                      <a:pt x="98" y="47"/>
                      <a:pt x="98" y="47"/>
                      <a:pt x="98" y="47"/>
                    </a:cubicBezTo>
                    <a:cubicBezTo>
                      <a:pt x="100" y="46"/>
                      <a:pt x="100" y="46"/>
                      <a:pt x="100" y="46"/>
                    </a:cubicBezTo>
                    <a:cubicBezTo>
                      <a:pt x="99" y="45"/>
                      <a:pt x="98" y="45"/>
                      <a:pt x="97" y="45"/>
                    </a:cubicBezTo>
                    <a:cubicBezTo>
                      <a:pt x="95" y="45"/>
                      <a:pt x="93" y="46"/>
                      <a:pt x="92" y="48"/>
                    </a:cubicBezTo>
                    <a:cubicBezTo>
                      <a:pt x="91" y="46"/>
                      <a:pt x="90" y="44"/>
                      <a:pt x="88" y="43"/>
                    </a:cubicBezTo>
                    <a:cubicBezTo>
                      <a:pt x="88" y="43"/>
                      <a:pt x="88" y="43"/>
                      <a:pt x="88" y="43"/>
                    </a:cubicBezTo>
                    <a:cubicBezTo>
                      <a:pt x="88" y="43"/>
                      <a:pt x="87" y="44"/>
                      <a:pt x="86" y="45"/>
                    </a:cubicBezTo>
                    <a:cubicBezTo>
                      <a:pt x="83" y="47"/>
                      <a:pt x="79" y="49"/>
                      <a:pt x="75" y="50"/>
                    </a:cubicBezTo>
                    <a:cubicBezTo>
                      <a:pt x="75" y="49"/>
                      <a:pt x="75" y="49"/>
                      <a:pt x="75" y="49"/>
                    </a:cubicBezTo>
                    <a:cubicBezTo>
                      <a:pt x="77" y="49"/>
                      <a:pt x="77" y="48"/>
                      <a:pt x="78" y="47"/>
                    </a:cubicBezTo>
                    <a:cubicBezTo>
                      <a:pt x="78" y="46"/>
                      <a:pt x="78" y="46"/>
                      <a:pt x="78" y="46"/>
                    </a:cubicBezTo>
                    <a:cubicBezTo>
                      <a:pt x="78" y="46"/>
                      <a:pt x="79" y="46"/>
                      <a:pt x="79" y="46"/>
                    </a:cubicBezTo>
                    <a:cubicBezTo>
                      <a:pt x="78" y="44"/>
                      <a:pt x="75" y="44"/>
                      <a:pt x="73" y="43"/>
                    </a:cubicBezTo>
                    <a:cubicBezTo>
                      <a:pt x="75" y="43"/>
                      <a:pt x="74" y="38"/>
                      <a:pt x="72" y="38"/>
                    </a:cubicBezTo>
                    <a:cubicBezTo>
                      <a:pt x="67" y="37"/>
                      <a:pt x="63" y="36"/>
                      <a:pt x="58" y="34"/>
                    </a:cubicBezTo>
                    <a:cubicBezTo>
                      <a:pt x="58" y="33"/>
                      <a:pt x="59" y="33"/>
                      <a:pt x="60" y="33"/>
                    </a:cubicBezTo>
                    <a:cubicBezTo>
                      <a:pt x="62" y="33"/>
                      <a:pt x="64" y="34"/>
                      <a:pt x="66" y="34"/>
                    </a:cubicBezTo>
                    <a:cubicBezTo>
                      <a:pt x="73" y="36"/>
                      <a:pt x="81" y="36"/>
                      <a:pt x="88" y="36"/>
                    </a:cubicBezTo>
                    <a:cubicBezTo>
                      <a:pt x="90" y="32"/>
                      <a:pt x="97" y="31"/>
                      <a:pt x="101" y="30"/>
                    </a:cubicBezTo>
                    <a:cubicBezTo>
                      <a:pt x="104" y="29"/>
                      <a:pt x="106" y="29"/>
                      <a:pt x="105" y="26"/>
                    </a:cubicBezTo>
                    <a:cubicBezTo>
                      <a:pt x="104" y="23"/>
                      <a:pt x="103" y="24"/>
                      <a:pt x="101" y="23"/>
                    </a:cubicBezTo>
                    <a:cubicBezTo>
                      <a:pt x="96" y="21"/>
                      <a:pt x="91" y="22"/>
                      <a:pt x="87" y="20"/>
                    </a:cubicBezTo>
                    <a:cubicBezTo>
                      <a:pt x="88" y="20"/>
                      <a:pt x="88" y="20"/>
                      <a:pt x="88" y="20"/>
                    </a:cubicBezTo>
                    <a:cubicBezTo>
                      <a:pt x="89" y="18"/>
                      <a:pt x="88" y="16"/>
                      <a:pt x="87" y="15"/>
                    </a:cubicBezTo>
                    <a:cubicBezTo>
                      <a:pt x="87" y="14"/>
                      <a:pt x="86" y="14"/>
                      <a:pt x="86" y="14"/>
                    </a:cubicBezTo>
                    <a:cubicBezTo>
                      <a:pt x="84" y="14"/>
                      <a:pt x="81" y="16"/>
                      <a:pt x="80" y="16"/>
                    </a:cubicBezTo>
                    <a:cubicBezTo>
                      <a:pt x="80" y="15"/>
                      <a:pt x="80" y="14"/>
                      <a:pt x="80" y="13"/>
                    </a:cubicBezTo>
                    <a:cubicBezTo>
                      <a:pt x="77" y="14"/>
                      <a:pt x="74" y="15"/>
                      <a:pt x="72" y="16"/>
                    </a:cubicBezTo>
                    <a:cubicBezTo>
                      <a:pt x="72" y="16"/>
                      <a:pt x="72" y="15"/>
                      <a:pt x="73" y="15"/>
                    </a:cubicBezTo>
                    <a:cubicBezTo>
                      <a:pt x="70" y="13"/>
                      <a:pt x="66" y="9"/>
                      <a:pt x="63" y="9"/>
                    </a:cubicBezTo>
                    <a:cubicBezTo>
                      <a:pt x="62" y="9"/>
                      <a:pt x="61" y="10"/>
                      <a:pt x="60" y="12"/>
                    </a:cubicBezTo>
                    <a:cubicBezTo>
                      <a:pt x="59" y="13"/>
                      <a:pt x="54" y="19"/>
                      <a:pt x="55" y="21"/>
                    </a:cubicBezTo>
                    <a:cubicBezTo>
                      <a:pt x="57" y="24"/>
                      <a:pt x="53" y="27"/>
                      <a:pt x="50" y="28"/>
                    </a:cubicBezTo>
                    <a:cubicBezTo>
                      <a:pt x="51" y="25"/>
                      <a:pt x="51" y="25"/>
                      <a:pt x="53" y="23"/>
                    </a:cubicBezTo>
                    <a:cubicBezTo>
                      <a:pt x="53" y="22"/>
                      <a:pt x="53" y="22"/>
                      <a:pt x="53" y="22"/>
                    </a:cubicBezTo>
                    <a:cubicBezTo>
                      <a:pt x="52" y="22"/>
                      <a:pt x="50" y="23"/>
                      <a:pt x="49" y="23"/>
                    </a:cubicBezTo>
                    <a:cubicBezTo>
                      <a:pt x="48" y="23"/>
                      <a:pt x="47" y="24"/>
                      <a:pt x="45" y="24"/>
                    </a:cubicBezTo>
                    <a:cubicBezTo>
                      <a:pt x="45" y="24"/>
                      <a:pt x="44" y="24"/>
                      <a:pt x="44" y="23"/>
                    </a:cubicBezTo>
                    <a:cubicBezTo>
                      <a:pt x="42" y="22"/>
                      <a:pt x="44" y="22"/>
                      <a:pt x="45" y="21"/>
                    </a:cubicBezTo>
                    <a:cubicBezTo>
                      <a:pt x="49" y="18"/>
                      <a:pt x="51" y="19"/>
                      <a:pt x="52" y="14"/>
                    </a:cubicBezTo>
                    <a:cubicBezTo>
                      <a:pt x="50" y="15"/>
                      <a:pt x="47" y="15"/>
                      <a:pt x="44" y="16"/>
                    </a:cubicBezTo>
                    <a:cubicBezTo>
                      <a:pt x="44" y="16"/>
                      <a:pt x="44" y="16"/>
                      <a:pt x="44" y="16"/>
                    </a:cubicBezTo>
                    <a:cubicBezTo>
                      <a:pt x="45" y="16"/>
                      <a:pt x="46" y="15"/>
                      <a:pt x="46" y="15"/>
                    </a:cubicBezTo>
                    <a:cubicBezTo>
                      <a:pt x="46" y="15"/>
                      <a:pt x="45" y="14"/>
                      <a:pt x="44" y="13"/>
                    </a:cubicBezTo>
                    <a:cubicBezTo>
                      <a:pt x="46" y="12"/>
                      <a:pt x="46" y="11"/>
                      <a:pt x="47" y="11"/>
                    </a:cubicBezTo>
                    <a:cubicBezTo>
                      <a:pt x="48" y="11"/>
                      <a:pt x="48" y="11"/>
                      <a:pt x="49" y="11"/>
                    </a:cubicBezTo>
                    <a:cubicBezTo>
                      <a:pt x="50" y="12"/>
                      <a:pt x="50" y="12"/>
                      <a:pt x="51" y="12"/>
                    </a:cubicBezTo>
                    <a:cubicBezTo>
                      <a:pt x="51" y="12"/>
                      <a:pt x="51" y="12"/>
                      <a:pt x="52" y="11"/>
                    </a:cubicBezTo>
                    <a:cubicBezTo>
                      <a:pt x="53" y="11"/>
                      <a:pt x="55" y="10"/>
                      <a:pt x="56" y="9"/>
                    </a:cubicBezTo>
                    <a:cubicBezTo>
                      <a:pt x="57" y="7"/>
                      <a:pt x="57" y="5"/>
                      <a:pt x="54" y="4"/>
                    </a:cubicBezTo>
                    <a:cubicBezTo>
                      <a:pt x="50" y="3"/>
                      <a:pt x="45" y="1"/>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 name="Freeform 359">
                <a:extLst>
                  <a:ext uri="{FF2B5EF4-FFF2-40B4-BE49-F238E27FC236}">
                    <a16:creationId xmlns:a16="http://schemas.microsoft.com/office/drawing/2014/main" id="{CA8EDCC1-C58B-4C86-B06F-23159B04C6B3}"/>
                  </a:ext>
                </a:extLst>
              </p:cNvPr>
              <p:cNvSpPr>
                <a:spLocks/>
              </p:cNvSpPr>
              <p:nvPr/>
            </p:nvSpPr>
            <p:spPr bwMode="auto">
              <a:xfrm>
                <a:off x="4088" y="1760"/>
                <a:ext cx="182" cy="194"/>
              </a:xfrm>
              <a:custGeom>
                <a:avLst/>
                <a:gdLst>
                  <a:gd name="T0" fmla="*/ 62 w 77"/>
                  <a:gd name="T1" fmla="*/ 5 h 82"/>
                  <a:gd name="T2" fmla="*/ 59 w 77"/>
                  <a:gd name="T3" fmla="*/ 7 h 82"/>
                  <a:gd name="T4" fmla="*/ 57 w 77"/>
                  <a:gd name="T5" fmla="*/ 8 h 82"/>
                  <a:gd name="T6" fmla="*/ 48 w 77"/>
                  <a:gd name="T7" fmla="*/ 13 h 82"/>
                  <a:gd name="T8" fmla="*/ 45 w 77"/>
                  <a:gd name="T9" fmla="*/ 16 h 82"/>
                  <a:gd name="T10" fmla="*/ 42 w 77"/>
                  <a:gd name="T11" fmla="*/ 17 h 82"/>
                  <a:gd name="T12" fmla="*/ 40 w 77"/>
                  <a:gd name="T13" fmla="*/ 19 h 82"/>
                  <a:gd name="T14" fmla="*/ 38 w 77"/>
                  <a:gd name="T15" fmla="*/ 20 h 82"/>
                  <a:gd name="T16" fmla="*/ 37 w 77"/>
                  <a:gd name="T17" fmla="*/ 21 h 82"/>
                  <a:gd name="T18" fmla="*/ 35 w 77"/>
                  <a:gd name="T19" fmla="*/ 21 h 82"/>
                  <a:gd name="T20" fmla="*/ 34 w 77"/>
                  <a:gd name="T21" fmla="*/ 21 h 82"/>
                  <a:gd name="T22" fmla="*/ 33 w 77"/>
                  <a:gd name="T23" fmla="*/ 21 h 82"/>
                  <a:gd name="T24" fmla="*/ 31 w 77"/>
                  <a:gd name="T25" fmla="*/ 21 h 82"/>
                  <a:gd name="T26" fmla="*/ 28 w 77"/>
                  <a:gd name="T27" fmla="*/ 20 h 82"/>
                  <a:gd name="T28" fmla="*/ 24 w 77"/>
                  <a:gd name="T29" fmla="*/ 18 h 82"/>
                  <a:gd name="T30" fmla="*/ 20 w 77"/>
                  <a:gd name="T31" fmla="*/ 17 h 82"/>
                  <a:gd name="T32" fmla="*/ 17 w 77"/>
                  <a:gd name="T33" fmla="*/ 14 h 82"/>
                  <a:gd name="T34" fmla="*/ 16 w 77"/>
                  <a:gd name="T35" fmla="*/ 14 h 82"/>
                  <a:gd name="T36" fmla="*/ 15 w 77"/>
                  <a:gd name="T37" fmla="*/ 13 h 82"/>
                  <a:gd name="T38" fmla="*/ 15 w 77"/>
                  <a:gd name="T39" fmla="*/ 13 h 82"/>
                  <a:gd name="T40" fmla="*/ 14 w 77"/>
                  <a:gd name="T41" fmla="*/ 15 h 82"/>
                  <a:gd name="T42" fmla="*/ 14 w 77"/>
                  <a:gd name="T43" fmla="*/ 19 h 82"/>
                  <a:gd name="T44" fmla="*/ 11 w 77"/>
                  <a:gd name="T45" fmla="*/ 29 h 82"/>
                  <a:gd name="T46" fmla="*/ 10 w 77"/>
                  <a:gd name="T47" fmla="*/ 35 h 82"/>
                  <a:gd name="T48" fmla="*/ 11 w 77"/>
                  <a:gd name="T49" fmla="*/ 39 h 82"/>
                  <a:gd name="T50" fmla="*/ 9 w 77"/>
                  <a:gd name="T51" fmla="*/ 49 h 82"/>
                  <a:gd name="T52" fmla="*/ 7 w 77"/>
                  <a:gd name="T53" fmla="*/ 56 h 82"/>
                  <a:gd name="T54" fmla="*/ 2 w 77"/>
                  <a:gd name="T55" fmla="*/ 77 h 82"/>
                  <a:gd name="T56" fmla="*/ 0 w 77"/>
                  <a:gd name="T57" fmla="*/ 78 h 82"/>
                  <a:gd name="T58" fmla="*/ 1 w 77"/>
                  <a:gd name="T59" fmla="*/ 79 h 82"/>
                  <a:gd name="T60" fmla="*/ 2 w 77"/>
                  <a:gd name="T61" fmla="*/ 79 h 82"/>
                  <a:gd name="T62" fmla="*/ 15 w 77"/>
                  <a:gd name="T63" fmla="*/ 81 h 82"/>
                  <a:gd name="T64" fmla="*/ 16 w 77"/>
                  <a:gd name="T65" fmla="*/ 81 h 82"/>
                  <a:gd name="T66" fmla="*/ 23 w 77"/>
                  <a:gd name="T67" fmla="*/ 79 h 82"/>
                  <a:gd name="T68" fmla="*/ 24 w 77"/>
                  <a:gd name="T69" fmla="*/ 78 h 82"/>
                  <a:gd name="T70" fmla="*/ 27 w 77"/>
                  <a:gd name="T71" fmla="*/ 74 h 82"/>
                  <a:gd name="T72" fmla="*/ 38 w 77"/>
                  <a:gd name="T73" fmla="*/ 67 h 82"/>
                  <a:gd name="T74" fmla="*/ 40 w 77"/>
                  <a:gd name="T75" fmla="*/ 67 h 82"/>
                  <a:gd name="T76" fmla="*/ 43 w 77"/>
                  <a:gd name="T77" fmla="*/ 66 h 82"/>
                  <a:gd name="T78" fmla="*/ 47 w 77"/>
                  <a:gd name="T79" fmla="*/ 65 h 82"/>
                  <a:gd name="T80" fmla="*/ 55 w 77"/>
                  <a:gd name="T81" fmla="*/ 57 h 82"/>
                  <a:gd name="T82" fmla="*/ 53 w 77"/>
                  <a:gd name="T83" fmla="*/ 55 h 82"/>
                  <a:gd name="T84" fmla="*/ 51 w 77"/>
                  <a:gd name="T85" fmla="*/ 54 h 82"/>
                  <a:gd name="T86" fmla="*/ 34 w 77"/>
                  <a:gd name="T87" fmla="*/ 35 h 82"/>
                  <a:gd name="T88" fmla="*/ 44 w 77"/>
                  <a:gd name="T89" fmla="*/ 32 h 82"/>
                  <a:gd name="T90" fmla="*/ 63 w 77"/>
                  <a:gd name="T91" fmla="*/ 26 h 82"/>
                  <a:gd name="T92" fmla="*/ 68 w 77"/>
                  <a:gd name="T93" fmla="*/ 25 h 82"/>
                  <a:gd name="T94" fmla="*/ 70 w 77"/>
                  <a:gd name="T95" fmla="*/ 24 h 82"/>
                  <a:gd name="T96" fmla="*/ 76 w 77"/>
                  <a:gd name="T97" fmla="*/ 21 h 82"/>
                  <a:gd name="T98" fmla="*/ 76 w 77"/>
                  <a:gd name="T99" fmla="*/ 2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 h="82">
                    <a:moveTo>
                      <a:pt x="71" y="0"/>
                    </a:moveTo>
                    <a:cubicBezTo>
                      <a:pt x="69" y="1"/>
                      <a:pt x="66" y="3"/>
                      <a:pt x="62" y="5"/>
                    </a:cubicBezTo>
                    <a:cubicBezTo>
                      <a:pt x="61" y="6"/>
                      <a:pt x="61" y="6"/>
                      <a:pt x="61" y="6"/>
                    </a:cubicBezTo>
                    <a:cubicBezTo>
                      <a:pt x="61" y="6"/>
                      <a:pt x="60" y="6"/>
                      <a:pt x="59" y="7"/>
                    </a:cubicBezTo>
                    <a:cubicBezTo>
                      <a:pt x="59" y="7"/>
                      <a:pt x="58" y="8"/>
                      <a:pt x="57" y="8"/>
                    </a:cubicBezTo>
                    <a:cubicBezTo>
                      <a:pt x="57" y="8"/>
                      <a:pt x="57" y="8"/>
                      <a:pt x="57" y="8"/>
                    </a:cubicBezTo>
                    <a:cubicBezTo>
                      <a:pt x="55" y="9"/>
                      <a:pt x="54" y="10"/>
                      <a:pt x="53" y="11"/>
                    </a:cubicBezTo>
                    <a:cubicBezTo>
                      <a:pt x="48" y="13"/>
                      <a:pt x="48" y="13"/>
                      <a:pt x="48" y="13"/>
                    </a:cubicBezTo>
                    <a:cubicBezTo>
                      <a:pt x="47" y="14"/>
                      <a:pt x="46" y="15"/>
                      <a:pt x="45" y="15"/>
                    </a:cubicBezTo>
                    <a:cubicBezTo>
                      <a:pt x="45" y="16"/>
                      <a:pt x="45" y="16"/>
                      <a:pt x="45" y="16"/>
                    </a:cubicBezTo>
                    <a:cubicBezTo>
                      <a:pt x="44" y="16"/>
                      <a:pt x="44" y="16"/>
                      <a:pt x="44" y="16"/>
                    </a:cubicBezTo>
                    <a:cubicBezTo>
                      <a:pt x="43" y="16"/>
                      <a:pt x="43" y="17"/>
                      <a:pt x="42" y="17"/>
                    </a:cubicBezTo>
                    <a:cubicBezTo>
                      <a:pt x="41" y="18"/>
                      <a:pt x="41" y="18"/>
                      <a:pt x="40" y="19"/>
                    </a:cubicBezTo>
                    <a:cubicBezTo>
                      <a:pt x="40" y="19"/>
                      <a:pt x="40" y="19"/>
                      <a:pt x="40" y="19"/>
                    </a:cubicBezTo>
                    <a:cubicBezTo>
                      <a:pt x="39" y="20"/>
                      <a:pt x="39" y="20"/>
                      <a:pt x="39" y="20"/>
                    </a:cubicBezTo>
                    <a:cubicBezTo>
                      <a:pt x="38" y="20"/>
                      <a:pt x="38" y="20"/>
                      <a:pt x="38" y="20"/>
                    </a:cubicBezTo>
                    <a:cubicBezTo>
                      <a:pt x="37" y="21"/>
                      <a:pt x="37" y="21"/>
                      <a:pt x="37" y="21"/>
                    </a:cubicBezTo>
                    <a:cubicBezTo>
                      <a:pt x="37" y="21"/>
                      <a:pt x="37" y="21"/>
                      <a:pt x="37" y="21"/>
                    </a:cubicBezTo>
                    <a:cubicBezTo>
                      <a:pt x="36" y="21"/>
                      <a:pt x="36" y="21"/>
                      <a:pt x="36" y="21"/>
                    </a:cubicBezTo>
                    <a:cubicBezTo>
                      <a:pt x="35" y="21"/>
                      <a:pt x="35" y="21"/>
                      <a:pt x="35" y="21"/>
                    </a:cubicBezTo>
                    <a:cubicBezTo>
                      <a:pt x="35" y="21"/>
                      <a:pt x="35" y="21"/>
                      <a:pt x="35" y="21"/>
                    </a:cubicBezTo>
                    <a:cubicBezTo>
                      <a:pt x="35" y="21"/>
                      <a:pt x="34" y="21"/>
                      <a:pt x="34" y="21"/>
                    </a:cubicBezTo>
                    <a:cubicBezTo>
                      <a:pt x="34" y="21"/>
                      <a:pt x="34" y="21"/>
                      <a:pt x="34" y="21"/>
                    </a:cubicBezTo>
                    <a:cubicBezTo>
                      <a:pt x="33" y="21"/>
                      <a:pt x="33" y="21"/>
                      <a:pt x="33" y="21"/>
                    </a:cubicBezTo>
                    <a:cubicBezTo>
                      <a:pt x="33" y="21"/>
                      <a:pt x="32" y="21"/>
                      <a:pt x="31" y="21"/>
                    </a:cubicBezTo>
                    <a:cubicBezTo>
                      <a:pt x="31" y="21"/>
                      <a:pt x="31" y="21"/>
                      <a:pt x="31" y="21"/>
                    </a:cubicBezTo>
                    <a:cubicBezTo>
                      <a:pt x="30" y="21"/>
                      <a:pt x="29" y="20"/>
                      <a:pt x="29" y="20"/>
                    </a:cubicBezTo>
                    <a:cubicBezTo>
                      <a:pt x="28" y="20"/>
                      <a:pt x="28" y="20"/>
                      <a:pt x="28" y="20"/>
                    </a:cubicBezTo>
                    <a:cubicBezTo>
                      <a:pt x="27" y="20"/>
                      <a:pt x="26" y="19"/>
                      <a:pt x="25" y="19"/>
                    </a:cubicBezTo>
                    <a:cubicBezTo>
                      <a:pt x="24" y="18"/>
                      <a:pt x="24" y="18"/>
                      <a:pt x="24" y="18"/>
                    </a:cubicBezTo>
                    <a:cubicBezTo>
                      <a:pt x="23" y="18"/>
                      <a:pt x="22" y="17"/>
                      <a:pt x="20" y="17"/>
                    </a:cubicBezTo>
                    <a:cubicBezTo>
                      <a:pt x="20" y="17"/>
                      <a:pt x="20" y="17"/>
                      <a:pt x="20" y="17"/>
                    </a:cubicBezTo>
                    <a:cubicBezTo>
                      <a:pt x="19" y="16"/>
                      <a:pt x="18" y="15"/>
                      <a:pt x="18" y="15"/>
                    </a:cubicBezTo>
                    <a:cubicBezTo>
                      <a:pt x="17" y="14"/>
                      <a:pt x="17" y="14"/>
                      <a:pt x="17" y="14"/>
                    </a:cubicBezTo>
                    <a:cubicBezTo>
                      <a:pt x="17" y="14"/>
                      <a:pt x="17" y="14"/>
                      <a:pt x="17" y="14"/>
                    </a:cubicBezTo>
                    <a:cubicBezTo>
                      <a:pt x="16" y="14"/>
                      <a:pt x="16" y="14"/>
                      <a:pt x="16" y="14"/>
                    </a:cubicBezTo>
                    <a:cubicBezTo>
                      <a:pt x="15" y="13"/>
                      <a:pt x="15" y="13"/>
                      <a:pt x="15" y="13"/>
                    </a:cubicBezTo>
                    <a:cubicBezTo>
                      <a:pt x="15" y="13"/>
                      <a:pt x="15" y="13"/>
                      <a:pt x="15" y="13"/>
                    </a:cubicBezTo>
                    <a:cubicBezTo>
                      <a:pt x="15" y="13"/>
                      <a:pt x="15" y="13"/>
                      <a:pt x="15" y="13"/>
                    </a:cubicBezTo>
                    <a:cubicBezTo>
                      <a:pt x="15" y="13"/>
                      <a:pt x="15" y="13"/>
                      <a:pt x="15" y="13"/>
                    </a:cubicBezTo>
                    <a:cubicBezTo>
                      <a:pt x="14" y="14"/>
                      <a:pt x="14" y="14"/>
                      <a:pt x="14" y="14"/>
                    </a:cubicBezTo>
                    <a:cubicBezTo>
                      <a:pt x="14" y="15"/>
                      <a:pt x="14" y="15"/>
                      <a:pt x="14" y="15"/>
                    </a:cubicBezTo>
                    <a:cubicBezTo>
                      <a:pt x="14" y="15"/>
                      <a:pt x="14" y="17"/>
                      <a:pt x="14" y="18"/>
                    </a:cubicBezTo>
                    <a:cubicBezTo>
                      <a:pt x="14" y="19"/>
                      <a:pt x="14" y="19"/>
                      <a:pt x="14" y="19"/>
                    </a:cubicBezTo>
                    <a:cubicBezTo>
                      <a:pt x="11" y="19"/>
                      <a:pt x="11" y="19"/>
                      <a:pt x="11" y="19"/>
                    </a:cubicBezTo>
                    <a:cubicBezTo>
                      <a:pt x="11" y="22"/>
                      <a:pt x="11" y="25"/>
                      <a:pt x="11" y="29"/>
                    </a:cubicBezTo>
                    <a:cubicBezTo>
                      <a:pt x="11" y="29"/>
                      <a:pt x="11" y="29"/>
                      <a:pt x="11" y="29"/>
                    </a:cubicBezTo>
                    <a:cubicBezTo>
                      <a:pt x="10" y="31"/>
                      <a:pt x="10" y="33"/>
                      <a:pt x="10" y="35"/>
                    </a:cubicBezTo>
                    <a:cubicBezTo>
                      <a:pt x="12" y="35"/>
                      <a:pt x="12" y="35"/>
                      <a:pt x="12" y="35"/>
                    </a:cubicBezTo>
                    <a:cubicBezTo>
                      <a:pt x="11" y="39"/>
                      <a:pt x="11" y="39"/>
                      <a:pt x="11" y="39"/>
                    </a:cubicBezTo>
                    <a:cubicBezTo>
                      <a:pt x="11" y="41"/>
                      <a:pt x="11" y="44"/>
                      <a:pt x="10" y="46"/>
                    </a:cubicBezTo>
                    <a:cubicBezTo>
                      <a:pt x="10" y="47"/>
                      <a:pt x="10" y="48"/>
                      <a:pt x="9" y="49"/>
                    </a:cubicBezTo>
                    <a:cubicBezTo>
                      <a:pt x="9" y="51"/>
                      <a:pt x="9" y="51"/>
                      <a:pt x="9" y="51"/>
                    </a:cubicBezTo>
                    <a:cubicBezTo>
                      <a:pt x="8" y="52"/>
                      <a:pt x="8" y="54"/>
                      <a:pt x="7" y="56"/>
                    </a:cubicBezTo>
                    <a:cubicBezTo>
                      <a:pt x="6" y="61"/>
                      <a:pt x="6" y="61"/>
                      <a:pt x="6" y="61"/>
                    </a:cubicBezTo>
                    <a:cubicBezTo>
                      <a:pt x="5" y="66"/>
                      <a:pt x="3" y="71"/>
                      <a:pt x="2" y="77"/>
                    </a:cubicBezTo>
                    <a:cubicBezTo>
                      <a:pt x="2" y="78"/>
                      <a:pt x="2" y="78"/>
                      <a:pt x="2" y="78"/>
                    </a:cubicBezTo>
                    <a:cubicBezTo>
                      <a:pt x="0" y="78"/>
                      <a:pt x="0" y="78"/>
                      <a:pt x="0" y="78"/>
                    </a:cubicBezTo>
                    <a:cubicBezTo>
                      <a:pt x="1" y="79"/>
                      <a:pt x="1" y="79"/>
                      <a:pt x="1" y="79"/>
                    </a:cubicBezTo>
                    <a:cubicBezTo>
                      <a:pt x="1" y="79"/>
                      <a:pt x="1" y="79"/>
                      <a:pt x="1" y="79"/>
                    </a:cubicBezTo>
                    <a:cubicBezTo>
                      <a:pt x="1" y="79"/>
                      <a:pt x="1" y="79"/>
                      <a:pt x="1" y="79"/>
                    </a:cubicBezTo>
                    <a:cubicBezTo>
                      <a:pt x="2" y="79"/>
                      <a:pt x="2" y="79"/>
                      <a:pt x="2" y="79"/>
                    </a:cubicBezTo>
                    <a:cubicBezTo>
                      <a:pt x="2" y="79"/>
                      <a:pt x="2" y="79"/>
                      <a:pt x="3" y="79"/>
                    </a:cubicBezTo>
                    <a:cubicBezTo>
                      <a:pt x="15" y="81"/>
                      <a:pt x="15" y="81"/>
                      <a:pt x="15" y="81"/>
                    </a:cubicBezTo>
                    <a:cubicBezTo>
                      <a:pt x="15" y="81"/>
                      <a:pt x="15" y="81"/>
                      <a:pt x="16" y="81"/>
                    </a:cubicBezTo>
                    <a:cubicBezTo>
                      <a:pt x="16" y="81"/>
                      <a:pt x="16" y="81"/>
                      <a:pt x="16" y="81"/>
                    </a:cubicBezTo>
                    <a:cubicBezTo>
                      <a:pt x="19" y="82"/>
                      <a:pt x="20" y="82"/>
                      <a:pt x="20" y="82"/>
                    </a:cubicBezTo>
                    <a:cubicBezTo>
                      <a:pt x="20" y="82"/>
                      <a:pt x="21" y="81"/>
                      <a:pt x="23" y="79"/>
                    </a:cubicBezTo>
                    <a:cubicBezTo>
                      <a:pt x="23" y="78"/>
                      <a:pt x="23" y="78"/>
                      <a:pt x="23" y="78"/>
                    </a:cubicBezTo>
                    <a:cubicBezTo>
                      <a:pt x="24" y="78"/>
                      <a:pt x="24" y="78"/>
                      <a:pt x="24" y="78"/>
                    </a:cubicBezTo>
                    <a:cubicBezTo>
                      <a:pt x="26" y="76"/>
                      <a:pt x="26" y="76"/>
                      <a:pt x="26" y="76"/>
                    </a:cubicBezTo>
                    <a:cubicBezTo>
                      <a:pt x="26" y="75"/>
                      <a:pt x="27" y="74"/>
                      <a:pt x="27" y="74"/>
                    </a:cubicBezTo>
                    <a:cubicBezTo>
                      <a:pt x="29" y="71"/>
                      <a:pt x="31" y="69"/>
                      <a:pt x="35" y="68"/>
                    </a:cubicBezTo>
                    <a:cubicBezTo>
                      <a:pt x="36" y="68"/>
                      <a:pt x="36" y="67"/>
                      <a:pt x="38" y="67"/>
                    </a:cubicBezTo>
                    <a:cubicBezTo>
                      <a:pt x="39" y="67"/>
                      <a:pt x="39" y="67"/>
                      <a:pt x="39" y="67"/>
                    </a:cubicBezTo>
                    <a:cubicBezTo>
                      <a:pt x="40" y="67"/>
                      <a:pt x="40" y="67"/>
                      <a:pt x="40" y="67"/>
                    </a:cubicBezTo>
                    <a:cubicBezTo>
                      <a:pt x="41" y="67"/>
                      <a:pt x="42" y="67"/>
                      <a:pt x="42" y="66"/>
                    </a:cubicBezTo>
                    <a:cubicBezTo>
                      <a:pt x="43" y="66"/>
                      <a:pt x="43" y="66"/>
                      <a:pt x="43" y="66"/>
                    </a:cubicBezTo>
                    <a:cubicBezTo>
                      <a:pt x="44" y="66"/>
                      <a:pt x="46" y="66"/>
                      <a:pt x="47" y="66"/>
                    </a:cubicBezTo>
                    <a:cubicBezTo>
                      <a:pt x="47" y="65"/>
                      <a:pt x="47" y="65"/>
                      <a:pt x="47" y="65"/>
                    </a:cubicBezTo>
                    <a:cubicBezTo>
                      <a:pt x="48" y="64"/>
                      <a:pt x="48" y="64"/>
                      <a:pt x="48" y="64"/>
                    </a:cubicBezTo>
                    <a:cubicBezTo>
                      <a:pt x="53" y="60"/>
                      <a:pt x="54" y="58"/>
                      <a:pt x="55" y="57"/>
                    </a:cubicBezTo>
                    <a:cubicBezTo>
                      <a:pt x="54" y="56"/>
                      <a:pt x="54" y="56"/>
                      <a:pt x="54" y="56"/>
                    </a:cubicBezTo>
                    <a:cubicBezTo>
                      <a:pt x="54" y="56"/>
                      <a:pt x="53" y="55"/>
                      <a:pt x="53" y="55"/>
                    </a:cubicBezTo>
                    <a:cubicBezTo>
                      <a:pt x="53" y="55"/>
                      <a:pt x="53" y="55"/>
                      <a:pt x="53" y="55"/>
                    </a:cubicBezTo>
                    <a:cubicBezTo>
                      <a:pt x="52" y="54"/>
                      <a:pt x="52" y="54"/>
                      <a:pt x="51" y="54"/>
                    </a:cubicBezTo>
                    <a:cubicBezTo>
                      <a:pt x="46" y="48"/>
                      <a:pt x="42" y="43"/>
                      <a:pt x="37" y="38"/>
                    </a:cubicBezTo>
                    <a:cubicBezTo>
                      <a:pt x="34" y="35"/>
                      <a:pt x="34" y="35"/>
                      <a:pt x="34" y="35"/>
                    </a:cubicBezTo>
                    <a:cubicBezTo>
                      <a:pt x="38" y="34"/>
                      <a:pt x="38" y="34"/>
                      <a:pt x="38" y="34"/>
                    </a:cubicBezTo>
                    <a:cubicBezTo>
                      <a:pt x="40" y="33"/>
                      <a:pt x="42" y="33"/>
                      <a:pt x="44" y="32"/>
                    </a:cubicBezTo>
                    <a:cubicBezTo>
                      <a:pt x="44" y="32"/>
                      <a:pt x="44" y="32"/>
                      <a:pt x="44" y="32"/>
                    </a:cubicBezTo>
                    <a:cubicBezTo>
                      <a:pt x="50" y="30"/>
                      <a:pt x="57" y="29"/>
                      <a:pt x="63" y="26"/>
                    </a:cubicBezTo>
                    <a:cubicBezTo>
                      <a:pt x="64" y="26"/>
                      <a:pt x="65" y="26"/>
                      <a:pt x="67" y="25"/>
                    </a:cubicBezTo>
                    <a:cubicBezTo>
                      <a:pt x="68" y="25"/>
                      <a:pt x="68" y="25"/>
                      <a:pt x="68" y="25"/>
                    </a:cubicBezTo>
                    <a:cubicBezTo>
                      <a:pt x="69" y="25"/>
                      <a:pt x="70" y="24"/>
                      <a:pt x="71" y="24"/>
                    </a:cubicBezTo>
                    <a:cubicBezTo>
                      <a:pt x="70" y="24"/>
                      <a:pt x="70" y="24"/>
                      <a:pt x="70" y="24"/>
                    </a:cubicBezTo>
                    <a:cubicBezTo>
                      <a:pt x="77" y="21"/>
                      <a:pt x="77" y="21"/>
                      <a:pt x="77" y="21"/>
                    </a:cubicBezTo>
                    <a:cubicBezTo>
                      <a:pt x="77" y="21"/>
                      <a:pt x="77" y="21"/>
                      <a:pt x="76" y="21"/>
                    </a:cubicBezTo>
                    <a:cubicBezTo>
                      <a:pt x="76" y="20"/>
                      <a:pt x="76" y="20"/>
                      <a:pt x="76" y="20"/>
                    </a:cubicBezTo>
                    <a:cubicBezTo>
                      <a:pt x="76" y="20"/>
                      <a:pt x="76" y="20"/>
                      <a:pt x="76" y="2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 name="Freeform 360">
                <a:extLst>
                  <a:ext uri="{FF2B5EF4-FFF2-40B4-BE49-F238E27FC236}">
                    <a16:creationId xmlns:a16="http://schemas.microsoft.com/office/drawing/2014/main" id="{4C72B5D3-B7B9-4A8E-8D1E-3943DCB3DFA5}"/>
                  </a:ext>
                </a:extLst>
              </p:cNvPr>
              <p:cNvSpPr>
                <a:spLocks/>
              </p:cNvSpPr>
              <p:nvPr/>
            </p:nvSpPr>
            <p:spPr bwMode="auto">
              <a:xfrm>
                <a:off x="4265" y="1552"/>
                <a:ext cx="435" cy="409"/>
              </a:xfrm>
              <a:custGeom>
                <a:avLst/>
                <a:gdLst>
                  <a:gd name="T0" fmla="*/ 68 w 184"/>
                  <a:gd name="T1" fmla="*/ 6 h 173"/>
                  <a:gd name="T2" fmla="*/ 58 w 184"/>
                  <a:gd name="T3" fmla="*/ 15 h 173"/>
                  <a:gd name="T4" fmla="*/ 51 w 184"/>
                  <a:gd name="T5" fmla="*/ 18 h 173"/>
                  <a:gd name="T6" fmla="*/ 48 w 184"/>
                  <a:gd name="T7" fmla="*/ 31 h 173"/>
                  <a:gd name="T8" fmla="*/ 47 w 184"/>
                  <a:gd name="T9" fmla="*/ 42 h 173"/>
                  <a:gd name="T10" fmla="*/ 46 w 184"/>
                  <a:gd name="T11" fmla="*/ 52 h 173"/>
                  <a:gd name="T12" fmla="*/ 35 w 184"/>
                  <a:gd name="T13" fmla="*/ 66 h 173"/>
                  <a:gd name="T14" fmla="*/ 28 w 184"/>
                  <a:gd name="T15" fmla="*/ 70 h 173"/>
                  <a:gd name="T16" fmla="*/ 0 w 184"/>
                  <a:gd name="T17" fmla="*/ 86 h 173"/>
                  <a:gd name="T18" fmla="*/ 8 w 184"/>
                  <a:gd name="T19" fmla="*/ 106 h 173"/>
                  <a:gd name="T20" fmla="*/ 29 w 184"/>
                  <a:gd name="T21" fmla="*/ 112 h 173"/>
                  <a:gd name="T22" fmla="*/ 57 w 184"/>
                  <a:gd name="T23" fmla="*/ 128 h 173"/>
                  <a:gd name="T24" fmla="*/ 88 w 184"/>
                  <a:gd name="T25" fmla="*/ 152 h 173"/>
                  <a:gd name="T26" fmla="*/ 113 w 184"/>
                  <a:gd name="T27" fmla="*/ 170 h 173"/>
                  <a:gd name="T28" fmla="*/ 141 w 184"/>
                  <a:gd name="T29" fmla="*/ 173 h 173"/>
                  <a:gd name="T30" fmla="*/ 144 w 184"/>
                  <a:gd name="T31" fmla="*/ 172 h 173"/>
                  <a:gd name="T32" fmla="*/ 152 w 184"/>
                  <a:gd name="T33" fmla="*/ 160 h 173"/>
                  <a:gd name="T34" fmla="*/ 170 w 184"/>
                  <a:gd name="T35" fmla="*/ 152 h 173"/>
                  <a:gd name="T36" fmla="*/ 179 w 184"/>
                  <a:gd name="T37" fmla="*/ 155 h 173"/>
                  <a:gd name="T38" fmla="*/ 179 w 184"/>
                  <a:gd name="T39" fmla="*/ 156 h 173"/>
                  <a:gd name="T40" fmla="*/ 184 w 184"/>
                  <a:gd name="T41" fmla="*/ 158 h 173"/>
                  <a:gd name="T42" fmla="*/ 176 w 184"/>
                  <a:gd name="T43" fmla="*/ 150 h 173"/>
                  <a:gd name="T44" fmla="*/ 172 w 184"/>
                  <a:gd name="T45" fmla="*/ 142 h 173"/>
                  <a:gd name="T46" fmla="*/ 169 w 184"/>
                  <a:gd name="T47" fmla="*/ 137 h 173"/>
                  <a:gd name="T48" fmla="*/ 165 w 184"/>
                  <a:gd name="T49" fmla="*/ 135 h 173"/>
                  <a:gd name="T50" fmla="*/ 167 w 184"/>
                  <a:gd name="T51" fmla="*/ 122 h 173"/>
                  <a:gd name="T52" fmla="*/ 168 w 184"/>
                  <a:gd name="T53" fmla="*/ 119 h 173"/>
                  <a:gd name="T54" fmla="*/ 164 w 184"/>
                  <a:gd name="T55" fmla="*/ 112 h 173"/>
                  <a:gd name="T56" fmla="*/ 160 w 184"/>
                  <a:gd name="T57" fmla="*/ 106 h 173"/>
                  <a:gd name="T58" fmla="*/ 157 w 184"/>
                  <a:gd name="T59" fmla="*/ 106 h 173"/>
                  <a:gd name="T60" fmla="*/ 142 w 184"/>
                  <a:gd name="T61" fmla="*/ 96 h 173"/>
                  <a:gd name="T62" fmla="*/ 135 w 184"/>
                  <a:gd name="T63" fmla="*/ 94 h 173"/>
                  <a:gd name="T64" fmla="*/ 132 w 184"/>
                  <a:gd name="T65" fmla="*/ 85 h 173"/>
                  <a:gd name="T66" fmla="*/ 132 w 184"/>
                  <a:gd name="T67" fmla="*/ 82 h 173"/>
                  <a:gd name="T68" fmla="*/ 124 w 184"/>
                  <a:gd name="T69" fmla="*/ 75 h 173"/>
                  <a:gd name="T70" fmla="*/ 124 w 184"/>
                  <a:gd name="T71" fmla="*/ 66 h 173"/>
                  <a:gd name="T72" fmla="*/ 124 w 184"/>
                  <a:gd name="T73" fmla="*/ 64 h 173"/>
                  <a:gd name="T74" fmla="*/ 128 w 184"/>
                  <a:gd name="T75" fmla="*/ 56 h 173"/>
                  <a:gd name="T76" fmla="*/ 136 w 184"/>
                  <a:gd name="T77" fmla="*/ 45 h 173"/>
                  <a:gd name="T78" fmla="*/ 135 w 184"/>
                  <a:gd name="T79" fmla="*/ 43 h 173"/>
                  <a:gd name="T80" fmla="*/ 133 w 184"/>
                  <a:gd name="T81" fmla="*/ 37 h 173"/>
                  <a:gd name="T82" fmla="*/ 132 w 184"/>
                  <a:gd name="T83" fmla="*/ 34 h 173"/>
                  <a:gd name="T84" fmla="*/ 126 w 184"/>
                  <a:gd name="T85" fmla="*/ 30 h 173"/>
                  <a:gd name="T86" fmla="*/ 123 w 184"/>
                  <a:gd name="T87" fmla="*/ 30 h 173"/>
                  <a:gd name="T88" fmla="*/ 119 w 184"/>
                  <a:gd name="T89" fmla="*/ 21 h 173"/>
                  <a:gd name="T90" fmla="*/ 115 w 184"/>
                  <a:gd name="T91" fmla="*/ 18 h 173"/>
                  <a:gd name="T92" fmla="*/ 114 w 184"/>
                  <a:gd name="T93" fmla="*/ 13 h 173"/>
                  <a:gd name="T94" fmla="*/ 112 w 184"/>
                  <a:gd name="T95" fmla="*/ 8 h 173"/>
                  <a:gd name="T96" fmla="*/ 108 w 184"/>
                  <a:gd name="T97" fmla="*/ 7 h 173"/>
                  <a:gd name="T98" fmla="*/ 103 w 184"/>
                  <a:gd name="T99" fmla="*/ 8 h 173"/>
                  <a:gd name="T100" fmla="*/ 99 w 184"/>
                  <a:gd name="T101" fmla="*/ 3 h 173"/>
                  <a:gd name="T102" fmla="*/ 93 w 184"/>
                  <a:gd name="T103" fmla="*/ 2 h 173"/>
                  <a:gd name="T104" fmla="*/ 79 w 184"/>
                  <a:gd name="T10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4" h="173">
                    <a:moveTo>
                      <a:pt x="78" y="0"/>
                    </a:moveTo>
                    <a:cubicBezTo>
                      <a:pt x="75" y="0"/>
                      <a:pt x="73" y="1"/>
                      <a:pt x="70" y="3"/>
                    </a:cubicBezTo>
                    <a:cubicBezTo>
                      <a:pt x="68" y="5"/>
                      <a:pt x="68" y="5"/>
                      <a:pt x="68" y="5"/>
                    </a:cubicBezTo>
                    <a:cubicBezTo>
                      <a:pt x="68" y="6"/>
                      <a:pt x="68" y="6"/>
                      <a:pt x="68" y="6"/>
                    </a:cubicBezTo>
                    <a:cubicBezTo>
                      <a:pt x="68" y="6"/>
                      <a:pt x="68" y="6"/>
                      <a:pt x="67" y="7"/>
                    </a:cubicBezTo>
                    <a:cubicBezTo>
                      <a:pt x="67" y="7"/>
                      <a:pt x="67" y="7"/>
                      <a:pt x="67" y="7"/>
                    </a:cubicBezTo>
                    <a:cubicBezTo>
                      <a:pt x="65" y="9"/>
                      <a:pt x="65" y="9"/>
                      <a:pt x="65" y="9"/>
                    </a:cubicBezTo>
                    <a:cubicBezTo>
                      <a:pt x="62" y="11"/>
                      <a:pt x="60" y="13"/>
                      <a:pt x="58" y="15"/>
                    </a:cubicBezTo>
                    <a:cubicBezTo>
                      <a:pt x="57" y="16"/>
                      <a:pt x="56" y="17"/>
                      <a:pt x="55" y="17"/>
                    </a:cubicBezTo>
                    <a:cubicBezTo>
                      <a:pt x="56" y="22"/>
                      <a:pt x="56" y="22"/>
                      <a:pt x="56" y="22"/>
                    </a:cubicBezTo>
                    <a:cubicBezTo>
                      <a:pt x="54" y="18"/>
                      <a:pt x="54" y="18"/>
                      <a:pt x="54" y="18"/>
                    </a:cubicBezTo>
                    <a:cubicBezTo>
                      <a:pt x="51" y="18"/>
                      <a:pt x="51" y="18"/>
                      <a:pt x="51" y="18"/>
                    </a:cubicBezTo>
                    <a:cubicBezTo>
                      <a:pt x="51" y="18"/>
                      <a:pt x="50" y="18"/>
                      <a:pt x="50" y="18"/>
                    </a:cubicBezTo>
                    <a:cubicBezTo>
                      <a:pt x="49" y="19"/>
                      <a:pt x="49" y="19"/>
                      <a:pt x="49" y="19"/>
                    </a:cubicBezTo>
                    <a:cubicBezTo>
                      <a:pt x="49" y="19"/>
                      <a:pt x="49" y="20"/>
                      <a:pt x="48" y="20"/>
                    </a:cubicBezTo>
                    <a:cubicBezTo>
                      <a:pt x="47" y="24"/>
                      <a:pt x="47" y="28"/>
                      <a:pt x="48" y="31"/>
                    </a:cubicBezTo>
                    <a:cubicBezTo>
                      <a:pt x="48" y="32"/>
                      <a:pt x="48" y="32"/>
                      <a:pt x="48" y="32"/>
                    </a:cubicBezTo>
                    <a:cubicBezTo>
                      <a:pt x="48" y="34"/>
                      <a:pt x="48" y="36"/>
                      <a:pt x="48" y="38"/>
                    </a:cubicBezTo>
                    <a:cubicBezTo>
                      <a:pt x="48" y="39"/>
                      <a:pt x="48" y="41"/>
                      <a:pt x="47" y="42"/>
                    </a:cubicBezTo>
                    <a:cubicBezTo>
                      <a:pt x="47" y="42"/>
                      <a:pt x="47" y="42"/>
                      <a:pt x="47" y="42"/>
                    </a:cubicBezTo>
                    <a:cubicBezTo>
                      <a:pt x="47" y="44"/>
                      <a:pt x="46" y="46"/>
                      <a:pt x="46" y="48"/>
                    </a:cubicBezTo>
                    <a:cubicBezTo>
                      <a:pt x="46" y="49"/>
                      <a:pt x="46" y="50"/>
                      <a:pt x="46" y="51"/>
                    </a:cubicBezTo>
                    <a:cubicBezTo>
                      <a:pt x="46" y="52"/>
                      <a:pt x="46" y="52"/>
                      <a:pt x="46" y="52"/>
                    </a:cubicBezTo>
                    <a:cubicBezTo>
                      <a:pt x="46" y="52"/>
                      <a:pt x="46" y="52"/>
                      <a:pt x="46" y="52"/>
                    </a:cubicBezTo>
                    <a:cubicBezTo>
                      <a:pt x="46" y="53"/>
                      <a:pt x="46" y="55"/>
                      <a:pt x="45" y="56"/>
                    </a:cubicBezTo>
                    <a:cubicBezTo>
                      <a:pt x="45" y="59"/>
                      <a:pt x="43" y="61"/>
                      <a:pt x="42" y="63"/>
                    </a:cubicBezTo>
                    <a:cubicBezTo>
                      <a:pt x="41" y="64"/>
                      <a:pt x="39" y="65"/>
                      <a:pt x="37" y="66"/>
                    </a:cubicBezTo>
                    <a:cubicBezTo>
                      <a:pt x="37" y="66"/>
                      <a:pt x="36" y="66"/>
                      <a:pt x="35" y="66"/>
                    </a:cubicBezTo>
                    <a:cubicBezTo>
                      <a:pt x="34" y="67"/>
                      <a:pt x="33" y="67"/>
                      <a:pt x="32" y="68"/>
                    </a:cubicBezTo>
                    <a:cubicBezTo>
                      <a:pt x="29" y="70"/>
                      <a:pt x="29" y="70"/>
                      <a:pt x="29" y="70"/>
                    </a:cubicBezTo>
                    <a:cubicBezTo>
                      <a:pt x="30" y="72"/>
                      <a:pt x="30" y="72"/>
                      <a:pt x="30" y="72"/>
                    </a:cubicBezTo>
                    <a:cubicBezTo>
                      <a:pt x="28" y="70"/>
                      <a:pt x="28" y="70"/>
                      <a:pt x="28" y="70"/>
                    </a:cubicBezTo>
                    <a:cubicBezTo>
                      <a:pt x="24" y="72"/>
                      <a:pt x="24" y="72"/>
                      <a:pt x="24" y="72"/>
                    </a:cubicBezTo>
                    <a:cubicBezTo>
                      <a:pt x="21" y="74"/>
                      <a:pt x="18" y="76"/>
                      <a:pt x="16" y="77"/>
                    </a:cubicBezTo>
                    <a:cubicBezTo>
                      <a:pt x="12" y="79"/>
                      <a:pt x="7" y="82"/>
                      <a:pt x="3" y="84"/>
                    </a:cubicBezTo>
                    <a:cubicBezTo>
                      <a:pt x="0" y="86"/>
                      <a:pt x="0" y="86"/>
                      <a:pt x="0" y="86"/>
                    </a:cubicBezTo>
                    <a:cubicBezTo>
                      <a:pt x="1" y="86"/>
                      <a:pt x="1" y="86"/>
                      <a:pt x="1" y="86"/>
                    </a:cubicBezTo>
                    <a:cubicBezTo>
                      <a:pt x="5" y="105"/>
                      <a:pt x="5" y="105"/>
                      <a:pt x="5" y="105"/>
                    </a:cubicBezTo>
                    <a:cubicBezTo>
                      <a:pt x="5" y="105"/>
                      <a:pt x="6" y="106"/>
                      <a:pt x="7" y="106"/>
                    </a:cubicBezTo>
                    <a:cubicBezTo>
                      <a:pt x="8" y="106"/>
                      <a:pt x="8" y="106"/>
                      <a:pt x="8" y="106"/>
                    </a:cubicBezTo>
                    <a:cubicBezTo>
                      <a:pt x="9" y="107"/>
                      <a:pt x="9" y="107"/>
                      <a:pt x="9" y="107"/>
                    </a:cubicBezTo>
                    <a:cubicBezTo>
                      <a:pt x="11" y="109"/>
                      <a:pt x="11" y="109"/>
                      <a:pt x="11" y="109"/>
                    </a:cubicBezTo>
                    <a:cubicBezTo>
                      <a:pt x="10" y="109"/>
                      <a:pt x="10" y="109"/>
                      <a:pt x="10" y="109"/>
                    </a:cubicBezTo>
                    <a:cubicBezTo>
                      <a:pt x="29" y="112"/>
                      <a:pt x="29" y="112"/>
                      <a:pt x="29" y="112"/>
                    </a:cubicBezTo>
                    <a:cubicBezTo>
                      <a:pt x="31" y="113"/>
                      <a:pt x="33" y="114"/>
                      <a:pt x="35" y="116"/>
                    </a:cubicBezTo>
                    <a:cubicBezTo>
                      <a:pt x="35" y="116"/>
                      <a:pt x="36" y="116"/>
                      <a:pt x="36" y="117"/>
                    </a:cubicBezTo>
                    <a:cubicBezTo>
                      <a:pt x="41" y="120"/>
                      <a:pt x="47" y="123"/>
                      <a:pt x="52" y="126"/>
                    </a:cubicBezTo>
                    <a:cubicBezTo>
                      <a:pt x="53" y="126"/>
                      <a:pt x="55" y="127"/>
                      <a:pt x="57" y="128"/>
                    </a:cubicBezTo>
                    <a:cubicBezTo>
                      <a:pt x="62" y="131"/>
                      <a:pt x="62" y="131"/>
                      <a:pt x="62" y="131"/>
                    </a:cubicBezTo>
                    <a:cubicBezTo>
                      <a:pt x="66" y="134"/>
                      <a:pt x="71" y="138"/>
                      <a:pt x="75" y="141"/>
                    </a:cubicBezTo>
                    <a:cubicBezTo>
                      <a:pt x="78" y="143"/>
                      <a:pt x="80" y="146"/>
                      <a:pt x="82" y="148"/>
                    </a:cubicBezTo>
                    <a:cubicBezTo>
                      <a:pt x="84" y="149"/>
                      <a:pt x="86" y="150"/>
                      <a:pt x="88" y="152"/>
                    </a:cubicBezTo>
                    <a:cubicBezTo>
                      <a:pt x="96" y="158"/>
                      <a:pt x="96" y="158"/>
                      <a:pt x="96" y="158"/>
                    </a:cubicBezTo>
                    <a:cubicBezTo>
                      <a:pt x="98" y="160"/>
                      <a:pt x="100" y="161"/>
                      <a:pt x="102" y="163"/>
                    </a:cubicBezTo>
                    <a:cubicBezTo>
                      <a:pt x="105" y="165"/>
                      <a:pt x="108" y="167"/>
                      <a:pt x="111" y="170"/>
                    </a:cubicBezTo>
                    <a:cubicBezTo>
                      <a:pt x="112" y="170"/>
                      <a:pt x="112" y="170"/>
                      <a:pt x="113" y="170"/>
                    </a:cubicBezTo>
                    <a:cubicBezTo>
                      <a:pt x="115" y="170"/>
                      <a:pt x="115" y="170"/>
                      <a:pt x="115" y="170"/>
                    </a:cubicBezTo>
                    <a:cubicBezTo>
                      <a:pt x="140" y="173"/>
                      <a:pt x="140" y="173"/>
                      <a:pt x="140" y="173"/>
                    </a:cubicBezTo>
                    <a:cubicBezTo>
                      <a:pt x="141" y="173"/>
                      <a:pt x="141" y="173"/>
                      <a:pt x="141" y="173"/>
                    </a:cubicBezTo>
                    <a:cubicBezTo>
                      <a:pt x="141" y="173"/>
                      <a:pt x="141" y="173"/>
                      <a:pt x="141" y="173"/>
                    </a:cubicBezTo>
                    <a:cubicBezTo>
                      <a:pt x="142" y="173"/>
                      <a:pt x="142" y="173"/>
                      <a:pt x="143" y="173"/>
                    </a:cubicBezTo>
                    <a:cubicBezTo>
                      <a:pt x="143" y="173"/>
                      <a:pt x="143" y="173"/>
                      <a:pt x="143" y="173"/>
                    </a:cubicBezTo>
                    <a:cubicBezTo>
                      <a:pt x="143" y="173"/>
                      <a:pt x="143" y="173"/>
                      <a:pt x="143" y="173"/>
                    </a:cubicBezTo>
                    <a:cubicBezTo>
                      <a:pt x="143" y="172"/>
                      <a:pt x="144" y="172"/>
                      <a:pt x="144" y="172"/>
                    </a:cubicBezTo>
                    <a:cubicBezTo>
                      <a:pt x="145" y="172"/>
                      <a:pt x="145" y="172"/>
                      <a:pt x="145" y="172"/>
                    </a:cubicBezTo>
                    <a:cubicBezTo>
                      <a:pt x="146" y="168"/>
                      <a:pt x="148" y="165"/>
                      <a:pt x="150" y="162"/>
                    </a:cubicBezTo>
                    <a:cubicBezTo>
                      <a:pt x="151" y="162"/>
                      <a:pt x="151" y="161"/>
                      <a:pt x="151" y="161"/>
                    </a:cubicBezTo>
                    <a:cubicBezTo>
                      <a:pt x="152" y="160"/>
                      <a:pt x="152" y="160"/>
                      <a:pt x="152" y="160"/>
                    </a:cubicBezTo>
                    <a:cubicBezTo>
                      <a:pt x="153" y="157"/>
                      <a:pt x="154" y="155"/>
                      <a:pt x="157" y="153"/>
                    </a:cubicBezTo>
                    <a:cubicBezTo>
                      <a:pt x="158" y="152"/>
                      <a:pt x="160" y="151"/>
                      <a:pt x="162" y="151"/>
                    </a:cubicBezTo>
                    <a:cubicBezTo>
                      <a:pt x="162" y="151"/>
                      <a:pt x="163" y="151"/>
                      <a:pt x="164" y="151"/>
                    </a:cubicBezTo>
                    <a:cubicBezTo>
                      <a:pt x="166" y="151"/>
                      <a:pt x="168" y="151"/>
                      <a:pt x="170" y="152"/>
                    </a:cubicBezTo>
                    <a:cubicBezTo>
                      <a:pt x="170" y="150"/>
                      <a:pt x="170" y="150"/>
                      <a:pt x="170" y="150"/>
                    </a:cubicBezTo>
                    <a:cubicBezTo>
                      <a:pt x="174" y="152"/>
                      <a:pt x="174" y="152"/>
                      <a:pt x="174" y="152"/>
                    </a:cubicBezTo>
                    <a:cubicBezTo>
                      <a:pt x="175" y="153"/>
                      <a:pt x="177" y="154"/>
                      <a:pt x="179" y="155"/>
                    </a:cubicBezTo>
                    <a:cubicBezTo>
                      <a:pt x="179" y="155"/>
                      <a:pt x="179" y="155"/>
                      <a:pt x="179" y="155"/>
                    </a:cubicBezTo>
                    <a:cubicBezTo>
                      <a:pt x="179" y="155"/>
                      <a:pt x="179" y="155"/>
                      <a:pt x="179" y="155"/>
                    </a:cubicBezTo>
                    <a:cubicBezTo>
                      <a:pt x="179" y="155"/>
                      <a:pt x="179" y="155"/>
                      <a:pt x="179" y="155"/>
                    </a:cubicBezTo>
                    <a:cubicBezTo>
                      <a:pt x="179" y="155"/>
                      <a:pt x="179" y="155"/>
                      <a:pt x="179" y="155"/>
                    </a:cubicBezTo>
                    <a:cubicBezTo>
                      <a:pt x="179" y="156"/>
                      <a:pt x="179" y="156"/>
                      <a:pt x="179" y="156"/>
                    </a:cubicBezTo>
                    <a:cubicBezTo>
                      <a:pt x="181" y="158"/>
                      <a:pt x="181" y="158"/>
                      <a:pt x="181" y="158"/>
                    </a:cubicBezTo>
                    <a:cubicBezTo>
                      <a:pt x="182" y="158"/>
                      <a:pt x="182" y="158"/>
                      <a:pt x="183" y="158"/>
                    </a:cubicBezTo>
                    <a:cubicBezTo>
                      <a:pt x="184" y="158"/>
                      <a:pt x="184" y="158"/>
                      <a:pt x="184" y="158"/>
                    </a:cubicBezTo>
                    <a:cubicBezTo>
                      <a:pt x="184" y="158"/>
                      <a:pt x="184" y="158"/>
                      <a:pt x="184" y="158"/>
                    </a:cubicBezTo>
                    <a:cubicBezTo>
                      <a:pt x="182" y="156"/>
                      <a:pt x="180" y="155"/>
                      <a:pt x="179" y="153"/>
                    </a:cubicBezTo>
                    <a:cubicBezTo>
                      <a:pt x="179" y="153"/>
                      <a:pt x="179" y="153"/>
                      <a:pt x="179" y="153"/>
                    </a:cubicBezTo>
                    <a:cubicBezTo>
                      <a:pt x="178" y="152"/>
                      <a:pt x="178" y="152"/>
                      <a:pt x="178" y="152"/>
                    </a:cubicBezTo>
                    <a:cubicBezTo>
                      <a:pt x="178" y="151"/>
                      <a:pt x="177" y="151"/>
                      <a:pt x="176" y="150"/>
                    </a:cubicBezTo>
                    <a:cubicBezTo>
                      <a:pt x="175" y="149"/>
                      <a:pt x="175" y="149"/>
                      <a:pt x="174" y="148"/>
                    </a:cubicBezTo>
                    <a:cubicBezTo>
                      <a:pt x="173" y="148"/>
                      <a:pt x="172" y="147"/>
                      <a:pt x="172" y="145"/>
                    </a:cubicBezTo>
                    <a:cubicBezTo>
                      <a:pt x="171" y="145"/>
                      <a:pt x="171" y="145"/>
                      <a:pt x="171" y="145"/>
                    </a:cubicBezTo>
                    <a:cubicBezTo>
                      <a:pt x="171" y="144"/>
                      <a:pt x="171" y="143"/>
                      <a:pt x="172" y="142"/>
                    </a:cubicBezTo>
                    <a:cubicBezTo>
                      <a:pt x="172" y="141"/>
                      <a:pt x="172" y="141"/>
                      <a:pt x="172" y="141"/>
                    </a:cubicBezTo>
                    <a:cubicBezTo>
                      <a:pt x="172" y="140"/>
                      <a:pt x="172" y="138"/>
                      <a:pt x="172" y="137"/>
                    </a:cubicBezTo>
                    <a:cubicBezTo>
                      <a:pt x="172" y="137"/>
                      <a:pt x="172" y="137"/>
                      <a:pt x="172" y="137"/>
                    </a:cubicBezTo>
                    <a:cubicBezTo>
                      <a:pt x="171" y="137"/>
                      <a:pt x="170" y="137"/>
                      <a:pt x="169" y="137"/>
                    </a:cubicBezTo>
                    <a:cubicBezTo>
                      <a:pt x="168" y="137"/>
                      <a:pt x="168" y="137"/>
                      <a:pt x="168" y="137"/>
                    </a:cubicBezTo>
                    <a:cubicBezTo>
                      <a:pt x="168" y="137"/>
                      <a:pt x="167" y="137"/>
                      <a:pt x="167" y="137"/>
                    </a:cubicBezTo>
                    <a:cubicBezTo>
                      <a:pt x="165" y="137"/>
                      <a:pt x="165" y="137"/>
                      <a:pt x="165" y="137"/>
                    </a:cubicBezTo>
                    <a:cubicBezTo>
                      <a:pt x="165" y="135"/>
                      <a:pt x="165" y="135"/>
                      <a:pt x="165" y="135"/>
                    </a:cubicBezTo>
                    <a:cubicBezTo>
                      <a:pt x="165" y="133"/>
                      <a:pt x="165" y="131"/>
                      <a:pt x="165" y="128"/>
                    </a:cubicBezTo>
                    <a:cubicBezTo>
                      <a:pt x="165" y="127"/>
                      <a:pt x="165" y="126"/>
                      <a:pt x="166" y="125"/>
                    </a:cubicBezTo>
                    <a:cubicBezTo>
                      <a:pt x="166" y="124"/>
                      <a:pt x="166" y="124"/>
                      <a:pt x="166" y="123"/>
                    </a:cubicBezTo>
                    <a:cubicBezTo>
                      <a:pt x="167" y="122"/>
                      <a:pt x="167" y="122"/>
                      <a:pt x="167" y="122"/>
                    </a:cubicBezTo>
                    <a:cubicBezTo>
                      <a:pt x="167" y="121"/>
                      <a:pt x="167" y="121"/>
                      <a:pt x="167" y="120"/>
                    </a:cubicBezTo>
                    <a:cubicBezTo>
                      <a:pt x="163" y="118"/>
                      <a:pt x="163" y="118"/>
                      <a:pt x="163" y="118"/>
                    </a:cubicBezTo>
                    <a:cubicBezTo>
                      <a:pt x="168" y="119"/>
                      <a:pt x="168" y="119"/>
                      <a:pt x="168" y="119"/>
                    </a:cubicBezTo>
                    <a:cubicBezTo>
                      <a:pt x="168" y="119"/>
                      <a:pt x="168" y="119"/>
                      <a:pt x="168" y="119"/>
                    </a:cubicBezTo>
                    <a:cubicBezTo>
                      <a:pt x="168" y="119"/>
                      <a:pt x="168" y="119"/>
                      <a:pt x="168" y="119"/>
                    </a:cubicBezTo>
                    <a:cubicBezTo>
                      <a:pt x="168" y="118"/>
                      <a:pt x="168" y="118"/>
                      <a:pt x="168" y="118"/>
                    </a:cubicBezTo>
                    <a:cubicBezTo>
                      <a:pt x="168" y="118"/>
                      <a:pt x="168" y="117"/>
                      <a:pt x="166" y="115"/>
                    </a:cubicBezTo>
                    <a:cubicBezTo>
                      <a:pt x="165" y="114"/>
                      <a:pt x="164" y="113"/>
                      <a:pt x="164" y="112"/>
                    </a:cubicBezTo>
                    <a:cubicBezTo>
                      <a:pt x="163" y="112"/>
                      <a:pt x="163" y="112"/>
                      <a:pt x="163" y="112"/>
                    </a:cubicBezTo>
                    <a:cubicBezTo>
                      <a:pt x="159" y="114"/>
                      <a:pt x="159" y="114"/>
                      <a:pt x="159" y="114"/>
                    </a:cubicBezTo>
                    <a:cubicBezTo>
                      <a:pt x="163" y="110"/>
                      <a:pt x="163" y="110"/>
                      <a:pt x="163" y="110"/>
                    </a:cubicBezTo>
                    <a:cubicBezTo>
                      <a:pt x="162" y="109"/>
                      <a:pt x="161" y="107"/>
                      <a:pt x="160" y="106"/>
                    </a:cubicBezTo>
                    <a:cubicBezTo>
                      <a:pt x="160" y="106"/>
                      <a:pt x="159" y="106"/>
                      <a:pt x="159" y="106"/>
                    </a:cubicBezTo>
                    <a:cubicBezTo>
                      <a:pt x="159" y="106"/>
                      <a:pt x="159" y="106"/>
                      <a:pt x="159" y="106"/>
                    </a:cubicBezTo>
                    <a:cubicBezTo>
                      <a:pt x="159" y="106"/>
                      <a:pt x="158" y="106"/>
                      <a:pt x="158" y="106"/>
                    </a:cubicBezTo>
                    <a:cubicBezTo>
                      <a:pt x="158" y="106"/>
                      <a:pt x="157" y="106"/>
                      <a:pt x="157" y="106"/>
                    </a:cubicBezTo>
                    <a:cubicBezTo>
                      <a:pt x="156" y="106"/>
                      <a:pt x="156" y="106"/>
                      <a:pt x="155" y="105"/>
                    </a:cubicBezTo>
                    <a:cubicBezTo>
                      <a:pt x="155" y="105"/>
                      <a:pt x="154" y="105"/>
                      <a:pt x="154" y="104"/>
                    </a:cubicBezTo>
                    <a:cubicBezTo>
                      <a:pt x="145" y="98"/>
                      <a:pt x="145" y="98"/>
                      <a:pt x="145" y="98"/>
                    </a:cubicBezTo>
                    <a:cubicBezTo>
                      <a:pt x="144" y="97"/>
                      <a:pt x="143" y="97"/>
                      <a:pt x="142" y="96"/>
                    </a:cubicBezTo>
                    <a:cubicBezTo>
                      <a:pt x="141" y="96"/>
                      <a:pt x="141" y="96"/>
                      <a:pt x="140" y="95"/>
                    </a:cubicBezTo>
                    <a:cubicBezTo>
                      <a:pt x="139" y="95"/>
                      <a:pt x="139" y="95"/>
                      <a:pt x="139" y="95"/>
                    </a:cubicBezTo>
                    <a:cubicBezTo>
                      <a:pt x="138" y="95"/>
                      <a:pt x="137" y="95"/>
                      <a:pt x="136" y="95"/>
                    </a:cubicBezTo>
                    <a:cubicBezTo>
                      <a:pt x="135" y="94"/>
                      <a:pt x="135" y="94"/>
                      <a:pt x="135" y="94"/>
                    </a:cubicBezTo>
                    <a:cubicBezTo>
                      <a:pt x="135" y="94"/>
                      <a:pt x="134" y="93"/>
                      <a:pt x="134" y="92"/>
                    </a:cubicBezTo>
                    <a:cubicBezTo>
                      <a:pt x="133" y="90"/>
                      <a:pt x="133" y="89"/>
                      <a:pt x="133" y="88"/>
                    </a:cubicBezTo>
                    <a:cubicBezTo>
                      <a:pt x="133" y="87"/>
                      <a:pt x="133" y="87"/>
                      <a:pt x="133" y="87"/>
                    </a:cubicBezTo>
                    <a:cubicBezTo>
                      <a:pt x="133" y="86"/>
                      <a:pt x="132" y="85"/>
                      <a:pt x="132" y="85"/>
                    </a:cubicBezTo>
                    <a:cubicBezTo>
                      <a:pt x="132" y="85"/>
                      <a:pt x="132" y="84"/>
                      <a:pt x="132" y="83"/>
                    </a:cubicBezTo>
                    <a:cubicBezTo>
                      <a:pt x="132" y="83"/>
                      <a:pt x="132" y="83"/>
                      <a:pt x="132" y="83"/>
                    </a:cubicBezTo>
                    <a:cubicBezTo>
                      <a:pt x="132" y="82"/>
                      <a:pt x="132" y="82"/>
                      <a:pt x="132" y="82"/>
                    </a:cubicBezTo>
                    <a:cubicBezTo>
                      <a:pt x="132" y="82"/>
                      <a:pt x="132" y="82"/>
                      <a:pt x="132" y="82"/>
                    </a:cubicBezTo>
                    <a:cubicBezTo>
                      <a:pt x="131" y="82"/>
                      <a:pt x="131" y="82"/>
                      <a:pt x="131" y="82"/>
                    </a:cubicBezTo>
                    <a:cubicBezTo>
                      <a:pt x="130" y="82"/>
                      <a:pt x="129" y="81"/>
                      <a:pt x="128" y="80"/>
                    </a:cubicBezTo>
                    <a:cubicBezTo>
                      <a:pt x="128" y="80"/>
                      <a:pt x="128" y="80"/>
                      <a:pt x="128" y="80"/>
                    </a:cubicBezTo>
                    <a:cubicBezTo>
                      <a:pt x="124" y="75"/>
                      <a:pt x="124" y="75"/>
                      <a:pt x="124" y="75"/>
                    </a:cubicBezTo>
                    <a:cubicBezTo>
                      <a:pt x="123" y="75"/>
                      <a:pt x="123" y="74"/>
                      <a:pt x="123" y="74"/>
                    </a:cubicBezTo>
                    <a:cubicBezTo>
                      <a:pt x="122" y="73"/>
                      <a:pt x="121" y="72"/>
                      <a:pt x="122" y="71"/>
                    </a:cubicBezTo>
                    <a:cubicBezTo>
                      <a:pt x="122" y="70"/>
                      <a:pt x="122" y="70"/>
                      <a:pt x="122" y="70"/>
                    </a:cubicBezTo>
                    <a:cubicBezTo>
                      <a:pt x="123" y="68"/>
                      <a:pt x="123" y="67"/>
                      <a:pt x="124" y="66"/>
                    </a:cubicBezTo>
                    <a:cubicBezTo>
                      <a:pt x="124" y="65"/>
                      <a:pt x="124" y="65"/>
                      <a:pt x="124" y="65"/>
                    </a:cubicBezTo>
                    <a:cubicBezTo>
                      <a:pt x="124" y="65"/>
                      <a:pt x="124" y="65"/>
                      <a:pt x="124" y="65"/>
                    </a:cubicBezTo>
                    <a:cubicBezTo>
                      <a:pt x="124" y="64"/>
                      <a:pt x="124" y="64"/>
                      <a:pt x="124" y="64"/>
                    </a:cubicBezTo>
                    <a:cubicBezTo>
                      <a:pt x="124" y="64"/>
                      <a:pt x="124" y="64"/>
                      <a:pt x="124" y="64"/>
                    </a:cubicBezTo>
                    <a:cubicBezTo>
                      <a:pt x="123" y="63"/>
                      <a:pt x="123" y="62"/>
                      <a:pt x="123" y="61"/>
                    </a:cubicBezTo>
                    <a:cubicBezTo>
                      <a:pt x="122" y="60"/>
                      <a:pt x="122" y="60"/>
                      <a:pt x="122" y="60"/>
                    </a:cubicBezTo>
                    <a:cubicBezTo>
                      <a:pt x="127" y="55"/>
                      <a:pt x="127" y="55"/>
                      <a:pt x="127" y="55"/>
                    </a:cubicBezTo>
                    <a:cubicBezTo>
                      <a:pt x="128" y="56"/>
                      <a:pt x="128" y="56"/>
                      <a:pt x="128" y="56"/>
                    </a:cubicBezTo>
                    <a:cubicBezTo>
                      <a:pt x="128" y="55"/>
                      <a:pt x="128" y="55"/>
                      <a:pt x="128" y="55"/>
                    </a:cubicBezTo>
                    <a:cubicBezTo>
                      <a:pt x="128" y="52"/>
                      <a:pt x="129" y="50"/>
                      <a:pt x="131" y="47"/>
                    </a:cubicBezTo>
                    <a:cubicBezTo>
                      <a:pt x="132" y="47"/>
                      <a:pt x="132" y="47"/>
                      <a:pt x="132" y="47"/>
                    </a:cubicBezTo>
                    <a:cubicBezTo>
                      <a:pt x="133" y="46"/>
                      <a:pt x="134" y="46"/>
                      <a:pt x="136" y="45"/>
                    </a:cubicBezTo>
                    <a:cubicBezTo>
                      <a:pt x="136" y="45"/>
                      <a:pt x="136" y="45"/>
                      <a:pt x="136" y="45"/>
                    </a:cubicBezTo>
                    <a:cubicBezTo>
                      <a:pt x="136" y="45"/>
                      <a:pt x="136" y="45"/>
                      <a:pt x="136" y="45"/>
                    </a:cubicBezTo>
                    <a:cubicBezTo>
                      <a:pt x="136" y="45"/>
                      <a:pt x="136" y="44"/>
                      <a:pt x="135" y="43"/>
                    </a:cubicBezTo>
                    <a:cubicBezTo>
                      <a:pt x="135" y="43"/>
                      <a:pt x="135" y="43"/>
                      <a:pt x="135" y="43"/>
                    </a:cubicBezTo>
                    <a:cubicBezTo>
                      <a:pt x="134" y="42"/>
                      <a:pt x="134" y="42"/>
                      <a:pt x="134" y="41"/>
                    </a:cubicBezTo>
                    <a:cubicBezTo>
                      <a:pt x="134" y="41"/>
                      <a:pt x="134" y="41"/>
                      <a:pt x="134" y="41"/>
                    </a:cubicBezTo>
                    <a:cubicBezTo>
                      <a:pt x="133" y="40"/>
                      <a:pt x="133" y="39"/>
                      <a:pt x="133" y="38"/>
                    </a:cubicBezTo>
                    <a:cubicBezTo>
                      <a:pt x="133" y="37"/>
                      <a:pt x="133" y="37"/>
                      <a:pt x="133" y="37"/>
                    </a:cubicBezTo>
                    <a:cubicBezTo>
                      <a:pt x="133" y="36"/>
                      <a:pt x="133" y="36"/>
                      <a:pt x="133" y="36"/>
                    </a:cubicBezTo>
                    <a:cubicBezTo>
                      <a:pt x="133" y="35"/>
                      <a:pt x="133" y="35"/>
                      <a:pt x="133" y="35"/>
                    </a:cubicBezTo>
                    <a:cubicBezTo>
                      <a:pt x="133" y="35"/>
                      <a:pt x="134" y="34"/>
                      <a:pt x="134" y="34"/>
                    </a:cubicBezTo>
                    <a:cubicBezTo>
                      <a:pt x="133" y="34"/>
                      <a:pt x="133" y="34"/>
                      <a:pt x="132" y="34"/>
                    </a:cubicBezTo>
                    <a:cubicBezTo>
                      <a:pt x="132" y="34"/>
                      <a:pt x="132" y="34"/>
                      <a:pt x="131" y="34"/>
                    </a:cubicBezTo>
                    <a:cubicBezTo>
                      <a:pt x="130" y="34"/>
                      <a:pt x="129" y="34"/>
                      <a:pt x="128" y="33"/>
                    </a:cubicBezTo>
                    <a:cubicBezTo>
                      <a:pt x="128" y="32"/>
                      <a:pt x="128" y="32"/>
                      <a:pt x="128" y="32"/>
                    </a:cubicBezTo>
                    <a:cubicBezTo>
                      <a:pt x="127" y="32"/>
                      <a:pt x="126" y="31"/>
                      <a:pt x="126" y="30"/>
                    </a:cubicBezTo>
                    <a:cubicBezTo>
                      <a:pt x="125" y="30"/>
                      <a:pt x="125" y="30"/>
                      <a:pt x="125" y="30"/>
                    </a:cubicBezTo>
                    <a:cubicBezTo>
                      <a:pt x="125" y="30"/>
                      <a:pt x="125" y="30"/>
                      <a:pt x="125" y="30"/>
                    </a:cubicBezTo>
                    <a:cubicBezTo>
                      <a:pt x="124" y="30"/>
                      <a:pt x="124" y="30"/>
                      <a:pt x="124" y="30"/>
                    </a:cubicBezTo>
                    <a:cubicBezTo>
                      <a:pt x="123" y="30"/>
                      <a:pt x="123" y="30"/>
                      <a:pt x="123" y="30"/>
                    </a:cubicBezTo>
                    <a:cubicBezTo>
                      <a:pt x="122" y="30"/>
                      <a:pt x="121" y="29"/>
                      <a:pt x="120" y="27"/>
                    </a:cubicBezTo>
                    <a:cubicBezTo>
                      <a:pt x="120" y="26"/>
                      <a:pt x="120" y="26"/>
                      <a:pt x="120" y="26"/>
                    </a:cubicBezTo>
                    <a:cubicBezTo>
                      <a:pt x="120" y="25"/>
                      <a:pt x="120" y="25"/>
                      <a:pt x="120" y="25"/>
                    </a:cubicBezTo>
                    <a:cubicBezTo>
                      <a:pt x="120" y="24"/>
                      <a:pt x="119" y="22"/>
                      <a:pt x="119" y="21"/>
                    </a:cubicBezTo>
                    <a:cubicBezTo>
                      <a:pt x="118" y="20"/>
                      <a:pt x="118" y="20"/>
                      <a:pt x="118" y="20"/>
                    </a:cubicBezTo>
                    <a:cubicBezTo>
                      <a:pt x="118" y="20"/>
                      <a:pt x="118" y="20"/>
                      <a:pt x="118" y="20"/>
                    </a:cubicBezTo>
                    <a:cubicBezTo>
                      <a:pt x="118" y="20"/>
                      <a:pt x="118" y="20"/>
                      <a:pt x="118" y="20"/>
                    </a:cubicBezTo>
                    <a:cubicBezTo>
                      <a:pt x="116" y="19"/>
                      <a:pt x="116" y="19"/>
                      <a:pt x="115" y="18"/>
                    </a:cubicBezTo>
                    <a:cubicBezTo>
                      <a:pt x="114" y="17"/>
                      <a:pt x="114" y="16"/>
                      <a:pt x="115" y="14"/>
                    </a:cubicBezTo>
                    <a:cubicBezTo>
                      <a:pt x="115" y="14"/>
                      <a:pt x="115" y="14"/>
                      <a:pt x="115" y="14"/>
                    </a:cubicBezTo>
                    <a:cubicBezTo>
                      <a:pt x="115" y="14"/>
                      <a:pt x="115" y="14"/>
                      <a:pt x="115" y="14"/>
                    </a:cubicBezTo>
                    <a:cubicBezTo>
                      <a:pt x="114" y="13"/>
                      <a:pt x="114" y="13"/>
                      <a:pt x="114" y="13"/>
                    </a:cubicBezTo>
                    <a:cubicBezTo>
                      <a:pt x="114" y="13"/>
                      <a:pt x="112" y="13"/>
                      <a:pt x="112" y="12"/>
                    </a:cubicBezTo>
                    <a:cubicBezTo>
                      <a:pt x="111" y="11"/>
                      <a:pt x="111" y="10"/>
                      <a:pt x="111" y="9"/>
                    </a:cubicBezTo>
                    <a:cubicBezTo>
                      <a:pt x="111" y="8"/>
                      <a:pt x="111" y="8"/>
                      <a:pt x="111" y="8"/>
                    </a:cubicBezTo>
                    <a:cubicBezTo>
                      <a:pt x="112" y="8"/>
                      <a:pt x="112" y="8"/>
                      <a:pt x="112" y="8"/>
                    </a:cubicBezTo>
                    <a:cubicBezTo>
                      <a:pt x="111" y="7"/>
                      <a:pt x="111" y="7"/>
                      <a:pt x="111" y="7"/>
                    </a:cubicBezTo>
                    <a:cubicBezTo>
                      <a:pt x="111" y="6"/>
                      <a:pt x="111" y="6"/>
                      <a:pt x="111" y="6"/>
                    </a:cubicBezTo>
                    <a:cubicBezTo>
                      <a:pt x="109" y="6"/>
                      <a:pt x="109" y="6"/>
                      <a:pt x="109" y="6"/>
                    </a:cubicBezTo>
                    <a:cubicBezTo>
                      <a:pt x="109" y="7"/>
                      <a:pt x="109" y="7"/>
                      <a:pt x="108" y="7"/>
                    </a:cubicBezTo>
                    <a:cubicBezTo>
                      <a:pt x="108" y="7"/>
                      <a:pt x="108" y="7"/>
                      <a:pt x="108" y="7"/>
                    </a:cubicBezTo>
                    <a:cubicBezTo>
                      <a:pt x="107" y="8"/>
                      <a:pt x="106" y="8"/>
                      <a:pt x="104" y="8"/>
                    </a:cubicBezTo>
                    <a:cubicBezTo>
                      <a:pt x="104" y="8"/>
                      <a:pt x="104" y="8"/>
                      <a:pt x="104" y="8"/>
                    </a:cubicBezTo>
                    <a:cubicBezTo>
                      <a:pt x="103" y="8"/>
                      <a:pt x="103" y="8"/>
                      <a:pt x="103" y="8"/>
                    </a:cubicBezTo>
                    <a:cubicBezTo>
                      <a:pt x="101" y="8"/>
                      <a:pt x="101" y="6"/>
                      <a:pt x="100" y="5"/>
                    </a:cubicBezTo>
                    <a:cubicBezTo>
                      <a:pt x="100" y="5"/>
                      <a:pt x="100" y="5"/>
                      <a:pt x="100" y="4"/>
                    </a:cubicBezTo>
                    <a:cubicBezTo>
                      <a:pt x="100" y="4"/>
                      <a:pt x="100" y="4"/>
                      <a:pt x="100" y="4"/>
                    </a:cubicBezTo>
                    <a:cubicBezTo>
                      <a:pt x="100" y="4"/>
                      <a:pt x="100" y="3"/>
                      <a:pt x="99" y="3"/>
                    </a:cubicBezTo>
                    <a:cubicBezTo>
                      <a:pt x="99" y="3"/>
                      <a:pt x="99" y="3"/>
                      <a:pt x="99" y="3"/>
                    </a:cubicBezTo>
                    <a:cubicBezTo>
                      <a:pt x="99" y="2"/>
                      <a:pt x="99" y="2"/>
                      <a:pt x="98" y="2"/>
                    </a:cubicBezTo>
                    <a:cubicBezTo>
                      <a:pt x="98" y="2"/>
                      <a:pt x="98" y="2"/>
                      <a:pt x="97" y="2"/>
                    </a:cubicBezTo>
                    <a:cubicBezTo>
                      <a:pt x="96" y="2"/>
                      <a:pt x="95" y="2"/>
                      <a:pt x="93" y="2"/>
                    </a:cubicBezTo>
                    <a:cubicBezTo>
                      <a:pt x="91" y="2"/>
                      <a:pt x="88" y="2"/>
                      <a:pt x="85" y="1"/>
                    </a:cubicBezTo>
                    <a:cubicBezTo>
                      <a:pt x="83" y="1"/>
                      <a:pt x="83" y="1"/>
                      <a:pt x="83" y="1"/>
                    </a:cubicBezTo>
                    <a:cubicBezTo>
                      <a:pt x="82" y="1"/>
                      <a:pt x="81" y="0"/>
                      <a:pt x="80" y="0"/>
                    </a:cubicBezTo>
                    <a:cubicBezTo>
                      <a:pt x="80" y="0"/>
                      <a:pt x="80" y="0"/>
                      <a:pt x="79" y="0"/>
                    </a:cubicBezTo>
                    <a:cubicBezTo>
                      <a:pt x="79" y="0"/>
                      <a:pt x="79" y="0"/>
                      <a:pt x="78" y="0"/>
                    </a:cubicBezTo>
                    <a:cubicBezTo>
                      <a:pt x="78" y="0"/>
                      <a:pt x="78" y="0"/>
                      <a:pt x="7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 name="Freeform 361">
                <a:extLst>
                  <a:ext uri="{FF2B5EF4-FFF2-40B4-BE49-F238E27FC236}">
                    <a16:creationId xmlns:a16="http://schemas.microsoft.com/office/drawing/2014/main" id="{179179A2-9E93-4DDD-B5FC-94F828CE9209}"/>
                  </a:ext>
                </a:extLst>
              </p:cNvPr>
              <p:cNvSpPr>
                <a:spLocks/>
              </p:cNvSpPr>
              <p:nvPr/>
            </p:nvSpPr>
            <p:spPr bwMode="auto">
              <a:xfrm>
                <a:off x="4617" y="1921"/>
                <a:ext cx="74" cy="66"/>
              </a:xfrm>
              <a:custGeom>
                <a:avLst/>
                <a:gdLst>
                  <a:gd name="T0" fmla="*/ 15 w 31"/>
                  <a:gd name="T1" fmla="*/ 0 h 28"/>
                  <a:gd name="T2" fmla="*/ 13 w 31"/>
                  <a:gd name="T3" fmla="*/ 0 h 28"/>
                  <a:gd name="T4" fmla="*/ 10 w 31"/>
                  <a:gd name="T5" fmla="*/ 1 h 28"/>
                  <a:gd name="T6" fmla="*/ 7 w 31"/>
                  <a:gd name="T7" fmla="*/ 6 h 28"/>
                  <a:gd name="T8" fmla="*/ 7 w 31"/>
                  <a:gd name="T9" fmla="*/ 7 h 28"/>
                  <a:gd name="T10" fmla="*/ 5 w 31"/>
                  <a:gd name="T11" fmla="*/ 9 h 28"/>
                  <a:gd name="T12" fmla="*/ 0 w 31"/>
                  <a:gd name="T13" fmla="*/ 17 h 28"/>
                  <a:gd name="T14" fmla="*/ 15 w 31"/>
                  <a:gd name="T15" fmla="*/ 20 h 28"/>
                  <a:gd name="T16" fmla="*/ 18 w 31"/>
                  <a:gd name="T17" fmla="*/ 24 h 28"/>
                  <a:gd name="T18" fmla="*/ 18 w 31"/>
                  <a:gd name="T19" fmla="*/ 25 h 28"/>
                  <a:gd name="T20" fmla="*/ 18 w 31"/>
                  <a:gd name="T21" fmla="*/ 26 h 28"/>
                  <a:gd name="T22" fmla="*/ 19 w 31"/>
                  <a:gd name="T23" fmla="*/ 26 h 28"/>
                  <a:gd name="T24" fmla="*/ 20 w 31"/>
                  <a:gd name="T25" fmla="*/ 27 h 28"/>
                  <a:gd name="T26" fmla="*/ 24 w 31"/>
                  <a:gd name="T27" fmla="*/ 28 h 28"/>
                  <a:gd name="T28" fmla="*/ 28 w 31"/>
                  <a:gd name="T29" fmla="*/ 28 h 28"/>
                  <a:gd name="T30" fmla="*/ 31 w 31"/>
                  <a:gd name="T31" fmla="*/ 28 h 28"/>
                  <a:gd name="T32" fmla="*/ 27 w 31"/>
                  <a:gd name="T33" fmla="*/ 18 h 28"/>
                  <a:gd name="T34" fmla="*/ 25 w 31"/>
                  <a:gd name="T35" fmla="*/ 14 h 28"/>
                  <a:gd name="T36" fmla="*/ 20 w 31"/>
                  <a:gd name="T37" fmla="*/ 13 h 28"/>
                  <a:gd name="T38" fmla="*/ 24 w 31"/>
                  <a:gd name="T39" fmla="*/ 7 h 28"/>
                  <a:gd name="T40" fmla="*/ 24 w 31"/>
                  <a:gd name="T41" fmla="*/ 7 h 28"/>
                  <a:gd name="T42" fmla="*/ 27 w 31"/>
                  <a:gd name="T43" fmla="*/ 9 h 28"/>
                  <a:gd name="T44" fmla="*/ 26 w 31"/>
                  <a:gd name="T45" fmla="*/ 5 h 28"/>
                  <a:gd name="T46" fmla="*/ 24 w 31"/>
                  <a:gd name="T47" fmla="*/ 2 h 28"/>
                  <a:gd name="T48" fmla="*/ 20 w 31"/>
                  <a:gd name="T49" fmla="*/ 1 h 28"/>
                  <a:gd name="T50" fmla="*/ 15 w 31"/>
                  <a:gd name="T5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8">
                    <a:moveTo>
                      <a:pt x="15" y="0"/>
                    </a:moveTo>
                    <a:cubicBezTo>
                      <a:pt x="14" y="0"/>
                      <a:pt x="14" y="0"/>
                      <a:pt x="13" y="0"/>
                    </a:cubicBezTo>
                    <a:cubicBezTo>
                      <a:pt x="12" y="0"/>
                      <a:pt x="11" y="0"/>
                      <a:pt x="10" y="1"/>
                    </a:cubicBezTo>
                    <a:cubicBezTo>
                      <a:pt x="9" y="2"/>
                      <a:pt x="8" y="4"/>
                      <a:pt x="7" y="6"/>
                    </a:cubicBezTo>
                    <a:cubicBezTo>
                      <a:pt x="7" y="7"/>
                      <a:pt x="7" y="7"/>
                      <a:pt x="7" y="7"/>
                    </a:cubicBezTo>
                    <a:cubicBezTo>
                      <a:pt x="6" y="7"/>
                      <a:pt x="6" y="8"/>
                      <a:pt x="5" y="9"/>
                    </a:cubicBezTo>
                    <a:cubicBezTo>
                      <a:pt x="4" y="11"/>
                      <a:pt x="2" y="14"/>
                      <a:pt x="0" y="17"/>
                    </a:cubicBezTo>
                    <a:cubicBezTo>
                      <a:pt x="15" y="20"/>
                      <a:pt x="15" y="20"/>
                      <a:pt x="15" y="20"/>
                    </a:cubicBezTo>
                    <a:cubicBezTo>
                      <a:pt x="17" y="21"/>
                      <a:pt x="18" y="24"/>
                      <a:pt x="18" y="24"/>
                    </a:cubicBezTo>
                    <a:cubicBezTo>
                      <a:pt x="18" y="25"/>
                      <a:pt x="18" y="25"/>
                      <a:pt x="18" y="25"/>
                    </a:cubicBezTo>
                    <a:cubicBezTo>
                      <a:pt x="18" y="26"/>
                      <a:pt x="18" y="26"/>
                      <a:pt x="18" y="26"/>
                    </a:cubicBezTo>
                    <a:cubicBezTo>
                      <a:pt x="19" y="26"/>
                      <a:pt x="19" y="26"/>
                      <a:pt x="19" y="26"/>
                    </a:cubicBezTo>
                    <a:cubicBezTo>
                      <a:pt x="19" y="27"/>
                      <a:pt x="19" y="27"/>
                      <a:pt x="20" y="27"/>
                    </a:cubicBezTo>
                    <a:cubicBezTo>
                      <a:pt x="21" y="28"/>
                      <a:pt x="22" y="28"/>
                      <a:pt x="24" y="28"/>
                    </a:cubicBezTo>
                    <a:cubicBezTo>
                      <a:pt x="25" y="28"/>
                      <a:pt x="27" y="28"/>
                      <a:pt x="28" y="28"/>
                    </a:cubicBezTo>
                    <a:cubicBezTo>
                      <a:pt x="29" y="28"/>
                      <a:pt x="30" y="28"/>
                      <a:pt x="31" y="28"/>
                    </a:cubicBezTo>
                    <a:cubicBezTo>
                      <a:pt x="30" y="24"/>
                      <a:pt x="28" y="21"/>
                      <a:pt x="27" y="18"/>
                    </a:cubicBezTo>
                    <a:cubicBezTo>
                      <a:pt x="26" y="16"/>
                      <a:pt x="26" y="15"/>
                      <a:pt x="25" y="14"/>
                    </a:cubicBezTo>
                    <a:cubicBezTo>
                      <a:pt x="24" y="12"/>
                      <a:pt x="22" y="13"/>
                      <a:pt x="20" y="13"/>
                    </a:cubicBezTo>
                    <a:cubicBezTo>
                      <a:pt x="21" y="11"/>
                      <a:pt x="22" y="8"/>
                      <a:pt x="24" y="7"/>
                    </a:cubicBezTo>
                    <a:cubicBezTo>
                      <a:pt x="24" y="7"/>
                      <a:pt x="24" y="7"/>
                      <a:pt x="24" y="7"/>
                    </a:cubicBezTo>
                    <a:cubicBezTo>
                      <a:pt x="25" y="7"/>
                      <a:pt x="26" y="9"/>
                      <a:pt x="27" y="9"/>
                    </a:cubicBezTo>
                    <a:cubicBezTo>
                      <a:pt x="27" y="8"/>
                      <a:pt x="26" y="6"/>
                      <a:pt x="26" y="5"/>
                    </a:cubicBezTo>
                    <a:cubicBezTo>
                      <a:pt x="26" y="5"/>
                      <a:pt x="25" y="4"/>
                      <a:pt x="24" y="2"/>
                    </a:cubicBezTo>
                    <a:cubicBezTo>
                      <a:pt x="20" y="1"/>
                      <a:pt x="20" y="1"/>
                      <a:pt x="20" y="1"/>
                    </a:cubicBezTo>
                    <a:cubicBezTo>
                      <a:pt x="18"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 name="Freeform 362">
                <a:extLst>
                  <a:ext uri="{FF2B5EF4-FFF2-40B4-BE49-F238E27FC236}">
                    <a16:creationId xmlns:a16="http://schemas.microsoft.com/office/drawing/2014/main" id="{C9E89F77-D128-44B4-947D-F886C5E378B0}"/>
                  </a:ext>
                </a:extLst>
              </p:cNvPr>
              <p:cNvSpPr>
                <a:spLocks/>
              </p:cNvSpPr>
              <p:nvPr/>
            </p:nvSpPr>
            <p:spPr bwMode="auto">
              <a:xfrm>
                <a:off x="4676" y="1926"/>
                <a:ext cx="15" cy="14"/>
              </a:xfrm>
              <a:custGeom>
                <a:avLst/>
                <a:gdLst>
                  <a:gd name="T0" fmla="*/ 1 w 6"/>
                  <a:gd name="T1" fmla="*/ 0 h 6"/>
                  <a:gd name="T2" fmla="*/ 0 w 6"/>
                  <a:gd name="T3" fmla="*/ 2 h 6"/>
                  <a:gd name="T4" fmla="*/ 3 w 6"/>
                  <a:gd name="T5" fmla="*/ 6 h 6"/>
                  <a:gd name="T6" fmla="*/ 6 w 6"/>
                  <a:gd name="T7" fmla="*/ 3 h 6"/>
                  <a:gd name="T8" fmla="*/ 3 w 6"/>
                  <a:gd name="T9" fmla="*/ 1 h 6"/>
                  <a:gd name="T10" fmla="*/ 2 w 6"/>
                  <a:gd name="T11" fmla="*/ 1 h 6"/>
                  <a:gd name="T12" fmla="*/ 1 w 6"/>
                  <a:gd name="T13" fmla="*/ 2 h 6"/>
                  <a:gd name="T14" fmla="*/ 2 w 6"/>
                  <a:gd name="T15" fmla="*/ 1 h 6"/>
                  <a:gd name="T16" fmla="*/ 1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1" y="0"/>
                    </a:moveTo>
                    <a:cubicBezTo>
                      <a:pt x="1" y="1"/>
                      <a:pt x="0" y="1"/>
                      <a:pt x="0" y="2"/>
                    </a:cubicBezTo>
                    <a:cubicBezTo>
                      <a:pt x="0" y="3"/>
                      <a:pt x="2" y="5"/>
                      <a:pt x="3" y="6"/>
                    </a:cubicBezTo>
                    <a:cubicBezTo>
                      <a:pt x="5" y="5"/>
                      <a:pt x="6" y="4"/>
                      <a:pt x="6" y="3"/>
                    </a:cubicBezTo>
                    <a:cubicBezTo>
                      <a:pt x="3" y="1"/>
                      <a:pt x="3" y="1"/>
                      <a:pt x="3" y="1"/>
                    </a:cubicBezTo>
                    <a:cubicBezTo>
                      <a:pt x="2" y="1"/>
                      <a:pt x="2" y="1"/>
                      <a:pt x="2" y="1"/>
                    </a:cubicBezTo>
                    <a:cubicBezTo>
                      <a:pt x="1" y="2"/>
                      <a:pt x="1" y="2"/>
                      <a:pt x="1" y="2"/>
                    </a:cubicBezTo>
                    <a:cubicBezTo>
                      <a:pt x="2" y="1"/>
                      <a:pt x="2" y="1"/>
                      <a:pt x="2"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 name="Freeform 363">
                <a:extLst>
                  <a:ext uri="{FF2B5EF4-FFF2-40B4-BE49-F238E27FC236}">
                    <a16:creationId xmlns:a16="http://schemas.microsoft.com/office/drawing/2014/main" id="{6888EEC6-3DC5-4078-AB8B-1F46235591AF}"/>
                  </a:ext>
                </a:extLst>
              </p:cNvPr>
              <p:cNvSpPr>
                <a:spLocks/>
              </p:cNvSpPr>
              <p:nvPr/>
            </p:nvSpPr>
            <p:spPr bwMode="auto">
              <a:xfrm>
                <a:off x="4121" y="1560"/>
                <a:ext cx="293" cy="241"/>
              </a:xfrm>
              <a:custGeom>
                <a:avLst/>
                <a:gdLst>
                  <a:gd name="T0" fmla="*/ 119 w 124"/>
                  <a:gd name="T1" fmla="*/ 1 h 102"/>
                  <a:gd name="T2" fmla="*/ 98 w 124"/>
                  <a:gd name="T3" fmla="*/ 3 h 102"/>
                  <a:gd name="T4" fmla="*/ 91 w 124"/>
                  <a:gd name="T5" fmla="*/ 5 h 102"/>
                  <a:gd name="T6" fmla="*/ 87 w 124"/>
                  <a:gd name="T7" fmla="*/ 7 h 102"/>
                  <a:gd name="T8" fmla="*/ 72 w 124"/>
                  <a:gd name="T9" fmla="*/ 12 h 102"/>
                  <a:gd name="T10" fmla="*/ 70 w 124"/>
                  <a:gd name="T11" fmla="*/ 12 h 102"/>
                  <a:gd name="T12" fmla="*/ 57 w 124"/>
                  <a:gd name="T13" fmla="*/ 11 h 102"/>
                  <a:gd name="T14" fmla="*/ 55 w 124"/>
                  <a:gd name="T15" fmla="*/ 10 h 102"/>
                  <a:gd name="T16" fmla="*/ 53 w 124"/>
                  <a:gd name="T17" fmla="*/ 9 h 102"/>
                  <a:gd name="T18" fmla="*/ 48 w 124"/>
                  <a:gd name="T19" fmla="*/ 8 h 102"/>
                  <a:gd name="T20" fmla="*/ 45 w 124"/>
                  <a:gd name="T21" fmla="*/ 9 h 102"/>
                  <a:gd name="T22" fmla="*/ 30 w 124"/>
                  <a:gd name="T23" fmla="*/ 13 h 102"/>
                  <a:gd name="T24" fmla="*/ 23 w 124"/>
                  <a:gd name="T25" fmla="*/ 13 h 102"/>
                  <a:gd name="T26" fmla="*/ 18 w 124"/>
                  <a:gd name="T27" fmla="*/ 15 h 102"/>
                  <a:gd name="T28" fmla="*/ 24 w 124"/>
                  <a:gd name="T29" fmla="*/ 18 h 102"/>
                  <a:gd name="T30" fmla="*/ 18 w 124"/>
                  <a:gd name="T31" fmla="*/ 21 h 102"/>
                  <a:gd name="T32" fmla="*/ 16 w 124"/>
                  <a:gd name="T33" fmla="*/ 22 h 102"/>
                  <a:gd name="T34" fmla="*/ 15 w 124"/>
                  <a:gd name="T35" fmla="*/ 23 h 102"/>
                  <a:gd name="T36" fmla="*/ 12 w 124"/>
                  <a:gd name="T37" fmla="*/ 27 h 102"/>
                  <a:gd name="T38" fmla="*/ 11 w 124"/>
                  <a:gd name="T39" fmla="*/ 28 h 102"/>
                  <a:gd name="T40" fmla="*/ 11 w 124"/>
                  <a:gd name="T41" fmla="*/ 30 h 102"/>
                  <a:gd name="T42" fmla="*/ 7 w 124"/>
                  <a:gd name="T43" fmla="*/ 31 h 102"/>
                  <a:gd name="T44" fmla="*/ 1 w 124"/>
                  <a:gd name="T45" fmla="*/ 31 h 102"/>
                  <a:gd name="T46" fmla="*/ 4 w 124"/>
                  <a:gd name="T47" fmla="*/ 39 h 102"/>
                  <a:gd name="T48" fmla="*/ 5 w 124"/>
                  <a:gd name="T49" fmla="*/ 52 h 102"/>
                  <a:gd name="T50" fmla="*/ 8 w 124"/>
                  <a:gd name="T51" fmla="*/ 52 h 102"/>
                  <a:gd name="T52" fmla="*/ 11 w 124"/>
                  <a:gd name="T53" fmla="*/ 52 h 102"/>
                  <a:gd name="T54" fmla="*/ 14 w 124"/>
                  <a:gd name="T55" fmla="*/ 52 h 102"/>
                  <a:gd name="T56" fmla="*/ 16 w 124"/>
                  <a:gd name="T57" fmla="*/ 56 h 102"/>
                  <a:gd name="T58" fmla="*/ 18 w 124"/>
                  <a:gd name="T59" fmla="*/ 60 h 102"/>
                  <a:gd name="T60" fmla="*/ 17 w 124"/>
                  <a:gd name="T61" fmla="*/ 67 h 102"/>
                  <a:gd name="T62" fmla="*/ 30 w 124"/>
                  <a:gd name="T63" fmla="*/ 84 h 102"/>
                  <a:gd name="T64" fmla="*/ 10 w 124"/>
                  <a:gd name="T65" fmla="*/ 73 h 102"/>
                  <a:gd name="T66" fmla="*/ 8 w 124"/>
                  <a:gd name="T67" fmla="*/ 75 h 102"/>
                  <a:gd name="T68" fmla="*/ 9 w 124"/>
                  <a:gd name="T69" fmla="*/ 78 h 102"/>
                  <a:gd name="T70" fmla="*/ 8 w 124"/>
                  <a:gd name="T71" fmla="*/ 79 h 102"/>
                  <a:gd name="T72" fmla="*/ 4 w 124"/>
                  <a:gd name="T73" fmla="*/ 83 h 102"/>
                  <a:gd name="T74" fmla="*/ 2 w 124"/>
                  <a:gd name="T75" fmla="*/ 84 h 102"/>
                  <a:gd name="T76" fmla="*/ 1 w 124"/>
                  <a:gd name="T77" fmla="*/ 88 h 102"/>
                  <a:gd name="T78" fmla="*/ 1 w 124"/>
                  <a:gd name="T79" fmla="*/ 93 h 102"/>
                  <a:gd name="T80" fmla="*/ 3 w 124"/>
                  <a:gd name="T81" fmla="*/ 94 h 102"/>
                  <a:gd name="T82" fmla="*/ 5 w 124"/>
                  <a:gd name="T83" fmla="*/ 95 h 102"/>
                  <a:gd name="T84" fmla="*/ 9 w 124"/>
                  <a:gd name="T85" fmla="*/ 98 h 102"/>
                  <a:gd name="T86" fmla="*/ 23 w 124"/>
                  <a:gd name="T87" fmla="*/ 100 h 102"/>
                  <a:gd name="T88" fmla="*/ 58 w 124"/>
                  <a:gd name="T89" fmla="*/ 79 h 102"/>
                  <a:gd name="T90" fmla="*/ 59 w 124"/>
                  <a:gd name="T91" fmla="*/ 79 h 102"/>
                  <a:gd name="T92" fmla="*/ 74 w 124"/>
                  <a:gd name="T93" fmla="*/ 70 h 102"/>
                  <a:gd name="T94" fmla="*/ 86 w 124"/>
                  <a:gd name="T95" fmla="*/ 64 h 102"/>
                  <a:gd name="T96" fmla="*/ 95 w 124"/>
                  <a:gd name="T97" fmla="*/ 59 h 102"/>
                  <a:gd name="T98" fmla="*/ 97 w 124"/>
                  <a:gd name="T99" fmla="*/ 58 h 102"/>
                  <a:gd name="T100" fmla="*/ 102 w 124"/>
                  <a:gd name="T101" fmla="*/ 52 h 102"/>
                  <a:gd name="T102" fmla="*/ 103 w 124"/>
                  <a:gd name="T103" fmla="*/ 48 h 102"/>
                  <a:gd name="T104" fmla="*/ 104 w 124"/>
                  <a:gd name="T105" fmla="*/ 38 h 102"/>
                  <a:gd name="T106" fmla="*/ 105 w 124"/>
                  <a:gd name="T107" fmla="*/ 34 h 102"/>
                  <a:gd name="T108" fmla="*/ 104 w 124"/>
                  <a:gd name="T109" fmla="*/ 29 h 102"/>
                  <a:gd name="T110" fmla="*/ 106 w 124"/>
                  <a:gd name="T111" fmla="*/ 14 h 102"/>
                  <a:gd name="T112" fmla="*/ 113 w 124"/>
                  <a:gd name="T113" fmla="*/ 10 h 102"/>
                  <a:gd name="T114" fmla="*/ 113 w 124"/>
                  <a:gd name="T115" fmla="*/ 10 h 102"/>
                  <a:gd name="T116" fmla="*/ 116 w 124"/>
                  <a:gd name="T117" fmla="*/ 9 h 102"/>
                  <a:gd name="T118" fmla="*/ 124 w 124"/>
                  <a:gd name="T119" fmla="*/ 1 h 102"/>
                  <a:gd name="T120" fmla="*/ 124 w 124"/>
                  <a:gd name="T12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 h="102">
                    <a:moveTo>
                      <a:pt x="124" y="0"/>
                    </a:moveTo>
                    <a:cubicBezTo>
                      <a:pt x="123" y="1"/>
                      <a:pt x="121" y="1"/>
                      <a:pt x="119" y="1"/>
                    </a:cubicBezTo>
                    <a:cubicBezTo>
                      <a:pt x="114" y="3"/>
                      <a:pt x="108" y="3"/>
                      <a:pt x="102" y="3"/>
                    </a:cubicBezTo>
                    <a:cubicBezTo>
                      <a:pt x="101" y="3"/>
                      <a:pt x="100" y="3"/>
                      <a:pt x="98" y="3"/>
                    </a:cubicBezTo>
                    <a:cubicBezTo>
                      <a:pt x="98" y="3"/>
                      <a:pt x="98" y="3"/>
                      <a:pt x="98" y="3"/>
                    </a:cubicBezTo>
                    <a:cubicBezTo>
                      <a:pt x="96" y="3"/>
                      <a:pt x="94" y="4"/>
                      <a:pt x="91" y="5"/>
                    </a:cubicBezTo>
                    <a:cubicBezTo>
                      <a:pt x="90" y="6"/>
                      <a:pt x="89" y="6"/>
                      <a:pt x="88" y="7"/>
                    </a:cubicBezTo>
                    <a:cubicBezTo>
                      <a:pt x="88" y="7"/>
                      <a:pt x="87" y="7"/>
                      <a:pt x="87" y="7"/>
                    </a:cubicBezTo>
                    <a:cubicBezTo>
                      <a:pt x="83" y="9"/>
                      <a:pt x="83" y="9"/>
                      <a:pt x="83" y="9"/>
                    </a:cubicBezTo>
                    <a:cubicBezTo>
                      <a:pt x="80" y="10"/>
                      <a:pt x="76" y="11"/>
                      <a:pt x="72" y="12"/>
                    </a:cubicBezTo>
                    <a:cubicBezTo>
                      <a:pt x="71" y="12"/>
                      <a:pt x="71" y="12"/>
                      <a:pt x="71" y="12"/>
                    </a:cubicBezTo>
                    <a:cubicBezTo>
                      <a:pt x="70" y="12"/>
                      <a:pt x="70" y="12"/>
                      <a:pt x="70" y="12"/>
                    </a:cubicBezTo>
                    <a:cubicBezTo>
                      <a:pt x="70" y="12"/>
                      <a:pt x="69" y="12"/>
                      <a:pt x="68" y="12"/>
                    </a:cubicBezTo>
                    <a:cubicBezTo>
                      <a:pt x="64" y="12"/>
                      <a:pt x="61" y="12"/>
                      <a:pt x="57" y="11"/>
                    </a:cubicBezTo>
                    <a:cubicBezTo>
                      <a:pt x="56" y="11"/>
                      <a:pt x="56" y="11"/>
                      <a:pt x="56" y="11"/>
                    </a:cubicBezTo>
                    <a:cubicBezTo>
                      <a:pt x="56" y="11"/>
                      <a:pt x="55" y="10"/>
                      <a:pt x="55" y="10"/>
                    </a:cubicBezTo>
                    <a:cubicBezTo>
                      <a:pt x="54" y="10"/>
                      <a:pt x="54" y="10"/>
                      <a:pt x="54" y="10"/>
                    </a:cubicBezTo>
                    <a:cubicBezTo>
                      <a:pt x="54" y="10"/>
                      <a:pt x="53" y="9"/>
                      <a:pt x="53" y="9"/>
                    </a:cubicBezTo>
                    <a:cubicBezTo>
                      <a:pt x="50" y="8"/>
                      <a:pt x="50" y="8"/>
                      <a:pt x="50" y="8"/>
                    </a:cubicBezTo>
                    <a:cubicBezTo>
                      <a:pt x="49" y="8"/>
                      <a:pt x="48" y="8"/>
                      <a:pt x="48" y="8"/>
                    </a:cubicBezTo>
                    <a:cubicBezTo>
                      <a:pt x="47" y="8"/>
                      <a:pt x="47" y="8"/>
                      <a:pt x="46" y="8"/>
                    </a:cubicBezTo>
                    <a:cubicBezTo>
                      <a:pt x="45" y="9"/>
                      <a:pt x="45" y="9"/>
                      <a:pt x="45" y="9"/>
                    </a:cubicBezTo>
                    <a:cubicBezTo>
                      <a:pt x="39" y="11"/>
                      <a:pt x="35" y="13"/>
                      <a:pt x="31" y="13"/>
                    </a:cubicBezTo>
                    <a:cubicBezTo>
                      <a:pt x="30" y="13"/>
                      <a:pt x="30" y="13"/>
                      <a:pt x="30" y="13"/>
                    </a:cubicBezTo>
                    <a:cubicBezTo>
                      <a:pt x="29" y="13"/>
                      <a:pt x="28" y="13"/>
                      <a:pt x="27" y="13"/>
                    </a:cubicBezTo>
                    <a:cubicBezTo>
                      <a:pt x="26" y="13"/>
                      <a:pt x="25" y="13"/>
                      <a:pt x="23" y="13"/>
                    </a:cubicBezTo>
                    <a:cubicBezTo>
                      <a:pt x="19" y="10"/>
                      <a:pt x="19" y="10"/>
                      <a:pt x="19" y="10"/>
                    </a:cubicBezTo>
                    <a:cubicBezTo>
                      <a:pt x="19" y="12"/>
                      <a:pt x="18" y="13"/>
                      <a:pt x="18" y="15"/>
                    </a:cubicBezTo>
                    <a:cubicBezTo>
                      <a:pt x="18" y="16"/>
                      <a:pt x="19" y="16"/>
                      <a:pt x="19" y="16"/>
                    </a:cubicBezTo>
                    <a:cubicBezTo>
                      <a:pt x="24" y="18"/>
                      <a:pt x="24" y="18"/>
                      <a:pt x="24" y="18"/>
                    </a:cubicBezTo>
                    <a:cubicBezTo>
                      <a:pt x="19" y="20"/>
                      <a:pt x="19" y="20"/>
                      <a:pt x="19" y="20"/>
                    </a:cubicBezTo>
                    <a:cubicBezTo>
                      <a:pt x="19" y="20"/>
                      <a:pt x="18" y="21"/>
                      <a:pt x="18" y="21"/>
                    </a:cubicBezTo>
                    <a:cubicBezTo>
                      <a:pt x="17" y="21"/>
                      <a:pt x="17" y="21"/>
                      <a:pt x="17" y="21"/>
                    </a:cubicBezTo>
                    <a:cubicBezTo>
                      <a:pt x="17" y="21"/>
                      <a:pt x="16" y="22"/>
                      <a:pt x="16" y="22"/>
                    </a:cubicBezTo>
                    <a:cubicBezTo>
                      <a:pt x="15" y="22"/>
                      <a:pt x="15" y="22"/>
                      <a:pt x="15" y="22"/>
                    </a:cubicBezTo>
                    <a:cubicBezTo>
                      <a:pt x="15" y="23"/>
                      <a:pt x="15" y="23"/>
                      <a:pt x="15" y="23"/>
                    </a:cubicBezTo>
                    <a:cubicBezTo>
                      <a:pt x="15" y="23"/>
                      <a:pt x="15" y="23"/>
                      <a:pt x="15" y="23"/>
                    </a:cubicBezTo>
                    <a:cubicBezTo>
                      <a:pt x="15" y="26"/>
                      <a:pt x="13" y="27"/>
                      <a:pt x="12" y="27"/>
                    </a:cubicBezTo>
                    <a:cubicBezTo>
                      <a:pt x="12" y="28"/>
                      <a:pt x="12" y="28"/>
                      <a:pt x="12" y="28"/>
                    </a:cubicBezTo>
                    <a:cubicBezTo>
                      <a:pt x="11" y="28"/>
                      <a:pt x="11" y="28"/>
                      <a:pt x="11" y="28"/>
                    </a:cubicBezTo>
                    <a:cubicBezTo>
                      <a:pt x="11" y="29"/>
                      <a:pt x="11" y="29"/>
                      <a:pt x="11" y="29"/>
                    </a:cubicBezTo>
                    <a:cubicBezTo>
                      <a:pt x="11" y="30"/>
                      <a:pt x="11" y="30"/>
                      <a:pt x="11" y="30"/>
                    </a:cubicBezTo>
                    <a:cubicBezTo>
                      <a:pt x="10" y="32"/>
                      <a:pt x="10" y="32"/>
                      <a:pt x="10" y="32"/>
                    </a:cubicBezTo>
                    <a:cubicBezTo>
                      <a:pt x="7" y="31"/>
                      <a:pt x="7" y="31"/>
                      <a:pt x="7" y="31"/>
                    </a:cubicBezTo>
                    <a:cubicBezTo>
                      <a:pt x="6" y="30"/>
                      <a:pt x="4" y="29"/>
                      <a:pt x="2" y="29"/>
                    </a:cubicBezTo>
                    <a:cubicBezTo>
                      <a:pt x="2" y="29"/>
                      <a:pt x="2" y="30"/>
                      <a:pt x="1" y="31"/>
                    </a:cubicBezTo>
                    <a:cubicBezTo>
                      <a:pt x="1" y="32"/>
                      <a:pt x="1" y="33"/>
                      <a:pt x="0" y="34"/>
                    </a:cubicBezTo>
                    <a:cubicBezTo>
                      <a:pt x="2" y="36"/>
                      <a:pt x="4" y="37"/>
                      <a:pt x="4" y="39"/>
                    </a:cubicBezTo>
                    <a:cubicBezTo>
                      <a:pt x="4" y="41"/>
                      <a:pt x="3" y="44"/>
                      <a:pt x="4" y="47"/>
                    </a:cubicBezTo>
                    <a:cubicBezTo>
                      <a:pt x="4" y="49"/>
                      <a:pt x="4" y="50"/>
                      <a:pt x="5" y="52"/>
                    </a:cubicBezTo>
                    <a:cubicBezTo>
                      <a:pt x="5" y="52"/>
                      <a:pt x="5" y="52"/>
                      <a:pt x="5" y="52"/>
                    </a:cubicBezTo>
                    <a:cubicBezTo>
                      <a:pt x="6" y="52"/>
                      <a:pt x="7" y="52"/>
                      <a:pt x="8" y="52"/>
                    </a:cubicBezTo>
                    <a:cubicBezTo>
                      <a:pt x="8" y="52"/>
                      <a:pt x="9" y="52"/>
                      <a:pt x="9" y="52"/>
                    </a:cubicBezTo>
                    <a:cubicBezTo>
                      <a:pt x="10" y="52"/>
                      <a:pt x="10" y="52"/>
                      <a:pt x="11" y="52"/>
                    </a:cubicBezTo>
                    <a:cubicBezTo>
                      <a:pt x="11" y="52"/>
                      <a:pt x="11" y="52"/>
                      <a:pt x="11" y="52"/>
                    </a:cubicBezTo>
                    <a:cubicBezTo>
                      <a:pt x="12" y="52"/>
                      <a:pt x="13" y="52"/>
                      <a:pt x="14" y="52"/>
                    </a:cubicBezTo>
                    <a:cubicBezTo>
                      <a:pt x="19" y="52"/>
                      <a:pt x="19" y="52"/>
                      <a:pt x="19" y="52"/>
                    </a:cubicBezTo>
                    <a:cubicBezTo>
                      <a:pt x="16" y="56"/>
                      <a:pt x="16" y="56"/>
                      <a:pt x="16" y="56"/>
                    </a:cubicBezTo>
                    <a:cubicBezTo>
                      <a:pt x="17" y="57"/>
                      <a:pt x="17" y="58"/>
                      <a:pt x="18" y="59"/>
                    </a:cubicBezTo>
                    <a:cubicBezTo>
                      <a:pt x="18" y="60"/>
                      <a:pt x="18" y="60"/>
                      <a:pt x="18" y="60"/>
                    </a:cubicBezTo>
                    <a:cubicBezTo>
                      <a:pt x="19" y="61"/>
                      <a:pt x="21" y="64"/>
                      <a:pt x="18" y="66"/>
                    </a:cubicBezTo>
                    <a:cubicBezTo>
                      <a:pt x="18" y="66"/>
                      <a:pt x="18" y="67"/>
                      <a:pt x="17" y="67"/>
                    </a:cubicBezTo>
                    <a:cubicBezTo>
                      <a:pt x="15" y="68"/>
                      <a:pt x="14" y="69"/>
                      <a:pt x="14" y="70"/>
                    </a:cubicBezTo>
                    <a:cubicBezTo>
                      <a:pt x="30" y="84"/>
                      <a:pt x="30" y="84"/>
                      <a:pt x="30" y="84"/>
                    </a:cubicBezTo>
                    <a:cubicBezTo>
                      <a:pt x="11" y="74"/>
                      <a:pt x="11" y="74"/>
                      <a:pt x="11" y="74"/>
                    </a:cubicBezTo>
                    <a:cubicBezTo>
                      <a:pt x="11" y="74"/>
                      <a:pt x="10" y="73"/>
                      <a:pt x="10" y="73"/>
                    </a:cubicBezTo>
                    <a:cubicBezTo>
                      <a:pt x="9" y="73"/>
                      <a:pt x="9" y="74"/>
                      <a:pt x="9" y="74"/>
                    </a:cubicBezTo>
                    <a:cubicBezTo>
                      <a:pt x="8" y="74"/>
                      <a:pt x="8" y="74"/>
                      <a:pt x="8" y="75"/>
                    </a:cubicBezTo>
                    <a:cubicBezTo>
                      <a:pt x="8" y="75"/>
                      <a:pt x="8" y="75"/>
                      <a:pt x="8" y="75"/>
                    </a:cubicBezTo>
                    <a:cubicBezTo>
                      <a:pt x="8" y="75"/>
                      <a:pt x="9" y="76"/>
                      <a:pt x="9" y="78"/>
                    </a:cubicBezTo>
                    <a:cubicBezTo>
                      <a:pt x="9" y="78"/>
                      <a:pt x="9" y="78"/>
                      <a:pt x="9" y="78"/>
                    </a:cubicBezTo>
                    <a:cubicBezTo>
                      <a:pt x="8" y="79"/>
                      <a:pt x="8" y="79"/>
                      <a:pt x="8" y="79"/>
                    </a:cubicBezTo>
                    <a:cubicBezTo>
                      <a:pt x="7" y="80"/>
                      <a:pt x="7" y="80"/>
                      <a:pt x="7" y="80"/>
                    </a:cubicBezTo>
                    <a:cubicBezTo>
                      <a:pt x="6" y="81"/>
                      <a:pt x="5" y="82"/>
                      <a:pt x="4" y="83"/>
                    </a:cubicBezTo>
                    <a:cubicBezTo>
                      <a:pt x="3" y="83"/>
                      <a:pt x="3" y="84"/>
                      <a:pt x="2" y="84"/>
                    </a:cubicBezTo>
                    <a:cubicBezTo>
                      <a:pt x="2" y="84"/>
                      <a:pt x="2" y="84"/>
                      <a:pt x="2" y="84"/>
                    </a:cubicBezTo>
                    <a:cubicBezTo>
                      <a:pt x="2" y="84"/>
                      <a:pt x="2" y="84"/>
                      <a:pt x="2" y="84"/>
                    </a:cubicBezTo>
                    <a:cubicBezTo>
                      <a:pt x="1" y="86"/>
                      <a:pt x="1" y="87"/>
                      <a:pt x="1" y="88"/>
                    </a:cubicBezTo>
                    <a:cubicBezTo>
                      <a:pt x="1" y="89"/>
                      <a:pt x="1" y="90"/>
                      <a:pt x="1" y="90"/>
                    </a:cubicBezTo>
                    <a:cubicBezTo>
                      <a:pt x="1" y="91"/>
                      <a:pt x="1" y="92"/>
                      <a:pt x="1" y="93"/>
                    </a:cubicBezTo>
                    <a:cubicBezTo>
                      <a:pt x="1" y="93"/>
                      <a:pt x="1" y="93"/>
                      <a:pt x="1" y="93"/>
                    </a:cubicBezTo>
                    <a:cubicBezTo>
                      <a:pt x="2" y="93"/>
                      <a:pt x="2" y="94"/>
                      <a:pt x="3" y="94"/>
                    </a:cubicBezTo>
                    <a:cubicBezTo>
                      <a:pt x="3" y="94"/>
                      <a:pt x="3" y="94"/>
                      <a:pt x="3" y="94"/>
                    </a:cubicBezTo>
                    <a:cubicBezTo>
                      <a:pt x="4" y="94"/>
                      <a:pt x="5" y="95"/>
                      <a:pt x="5" y="95"/>
                    </a:cubicBezTo>
                    <a:cubicBezTo>
                      <a:pt x="6" y="96"/>
                      <a:pt x="6" y="96"/>
                      <a:pt x="6" y="96"/>
                    </a:cubicBezTo>
                    <a:cubicBezTo>
                      <a:pt x="7" y="96"/>
                      <a:pt x="8" y="97"/>
                      <a:pt x="9" y="98"/>
                    </a:cubicBezTo>
                    <a:cubicBezTo>
                      <a:pt x="15" y="101"/>
                      <a:pt x="18" y="102"/>
                      <a:pt x="20" y="102"/>
                    </a:cubicBezTo>
                    <a:cubicBezTo>
                      <a:pt x="21" y="102"/>
                      <a:pt x="22" y="101"/>
                      <a:pt x="23" y="100"/>
                    </a:cubicBezTo>
                    <a:cubicBezTo>
                      <a:pt x="24" y="100"/>
                      <a:pt x="24" y="99"/>
                      <a:pt x="25" y="99"/>
                    </a:cubicBezTo>
                    <a:cubicBezTo>
                      <a:pt x="32" y="94"/>
                      <a:pt x="50" y="84"/>
                      <a:pt x="58" y="79"/>
                    </a:cubicBezTo>
                    <a:cubicBezTo>
                      <a:pt x="59" y="78"/>
                      <a:pt x="59" y="78"/>
                      <a:pt x="59" y="78"/>
                    </a:cubicBezTo>
                    <a:cubicBezTo>
                      <a:pt x="59" y="79"/>
                      <a:pt x="59" y="79"/>
                      <a:pt x="59" y="79"/>
                    </a:cubicBezTo>
                    <a:cubicBezTo>
                      <a:pt x="62" y="77"/>
                      <a:pt x="62" y="77"/>
                      <a:pt x="62" y="77"/>
                    </a:cubicBezTo>
                    <a:cubicBezTo>
                      <a:pt x="66" y="75"/>
                      <a:pt x="70" y="72"/>
                      <a:pt x="74" y="70"/>
                    </a:cubicBezTo>
                    <a:cubicBezTo>
                      <a:pt x="86" y="64"/>
                      <a:pt x="86" y="64"/>
                      <a:pt x="86" y="64"/>
                    </a:cubicBezTo>
                    <a:cubicBezTo>
                      <a:pt x="86" y="64"/>
                      <a:pt x="86" y="64"/>
                      <a:pt x="86" y="64"/>
                    </a:cubicBezTo>
                    <a:cubicBezTo>
                      <a:pt x="91" y="61"/>
                      <a:pt x="91" y="61"/>
                      <a:pt x="91" y="61"/>
                    </a:cubicBezTo>
                    <a:cubicBezTo>
                      <a:pt x="92" y="60"/>
                      <a:pt x="93" y="59"/>
                      <a:pt x="95" y="59"/>
                    </a:cubicBezTo>
                    <a:cubicBezTo>
                      <a:pt x="95" y="59"/>
                      <a:pt x="96" y="58"/>
                      <a:pt x="96" y="58"/>
                    </a:cubicBezTo>
                    <a:cubicBezTo>
                      <a:pt x="97" y="58"/>
                      <a:pt x="97" y="58"/>
                      <a:pt x="97" y="58"/>
                    </a:cubicBezTo>
                    <a:cubicBezTo>
                      <a:pt x="98" y="58"/>
                      <a:pt x="99" y="57"/>
                      <a:pt x="99" y="57"/>
                    </a:cubicBezTo>
                    <a:cubicBezTo>
                      <a:pt x="100" y="56"/>
                      <a:pt x="101" y="54"/>
                      <a:pt x="102" y="52"/>
                    </a:cubicBezTo>
                    <a:cubicBezTo>
                      <a:pt x="103" y="51"/>
                      <a:pt x="103" y="50"/>
                      <a:pt x="103" y="49"/>
                    </a:cubicBezTo>
                    <a:cubicBezTo>
                      <a:pt x="103" y="48"/>
                      <a:pt x="103" y="48"/>
                      <a:pt x="103" y="48"/>
                    </a:cubicBezTo>
                    <a:cubicBezTo>
                      <a:pt x="103" y="47"/>
                      <a:pt x="103" y="46"/>
                      <a:pt x="103" y="45"/>
                    </a:cubicBezTo>
                    <a:cubicBezTo>
                      <a:pt x="102" y="43"/>
                      <a:pt x="103" y="40"/>
                      <a:pt x="104" y="38"/>
                    </a:cubicBezTo>
                    <a:cubicBezTo>
                      <a:pt x="104" y="38"/>
                      <a:pt x="104" y="38"/>
                      <a:pt x="104" y="38"/>
                    </a:cubicBezTo>
                    <a:cubicBezTo>
                      <a:pt x="104" y="36"/>
                      <a:pt x="104" y="35"/>
                      <a:pt x="105" y="34"/>
                    </a:cubicBezTo>
                    <a:cubicBezTo>
                      <a:pt x="105" y="33"/>
                      <a:pt x="104" y="31"/>
                      <a:pt x="104" y="30"/>
                    </a:cubicBezTo>
                    <a:cubicBezTo>
                      <a:pt x="104" y="29"/>
                      <a:pt x="104" y="29"/>
                      <a:pt x="104" y="29"/>
                    </a:cubicBezTo>
                    <a:cubicBezTo>
                      <a:pt x="104" y="24"/>
                      <a:pt x="103" y="20"/>
                      <a:pt x="105" y="16"/>
                    </a:cubicBezTo>
                    <a:cubicBezTo>
                      <a:pt x="105" y="15"/>
                      <a:pt x="106" y="14"/>
                      <a:pt x="106" y="14"/>
                    </a:cubicBezTo>
                    <a:cubicBezTo>
                      <a:pt x="107" y="12"/>
                      <a:pt x="109" y="11"/>
                      <a:pt x="111" y="11"/>
                    </a:cubicBezTo>
                    <a:cubicBezTo>
                      <a:pt x="113" y="10"/>
                      <a:pt x="113" y="10"/>
                      <a:pt x="113" y="10"/>
                    </a:cubicBezTo>
                    <a:cubicBezTo>
                      <a:pt x="112" y="8"/>
                      <a:pt x="112" y="8"/>
                      <a:pt x="112" y="8"/>
                    </a:cubicBezTo>
                    <a:cubicBezTo>
                      <a:pt x="113" y="10"/>
                      <a:pt x="113" y="10"/>
                      <a:pt x="113" y="10"/>
                    </a:cubicBezTo>
                    <a:cubicBezTo>
                      <a:pt x="114" y="10"/>
                      <a:pt x="114" y="10"/>
                      <a:pt x="114" y="10"/>
                    </a:cubicBezTo>
                    <a:cubicBezTo>
                      <a:pt x="115" y="10"/>
                      <a:pt x="115" y="10"/>
                      <a:pt x="116" y="9"/>
                    </a:cubicBezTo>
                    <a:cubicBezTo>
                      <a:pt x="118" y="7"/>
                      <a:pt x="120" y="5"/>
                      <a:pt x="122" y="3"/>
                    </a:cubicBezTo>
                    <a:cubicBezTo>
                      <a:pt x="124" y="1"/>
                      <a:pt x="124" y="1"/>
                      <a:pt x="124" y="1"/>
                    </a:cubicBezTo>
                    <a:cubicBezTo>
                      <a:pt x="124" y="1"/>
                      <a:pt x="124" y="1"/>
                      <a:pt x="124" y="1"/>
                    </a:cubicBezTo>
                    <a:cubicBezTo>
                      <a:pt x="124" y="0"/>
                      <a:pt x="124" y="0"/>
                      <a:pt x="1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 name="Freeform 364">
                <a:extLst>
                  <a:ext uri="{FF2B5EF4-FFF2-40B4-BE49-F238E27FC236}">
                    <a16:creationId xmlns:a16="http://schemas.microsoft.com/office/drawing/2014/main" id="{EB7C462A-5AAA-4B6C-9151-1D74F8AEE200}"/>
                  </a:ext>
                </a:extLst>
              </p:cNvPr>
              <p:cNvSpPr>
                <a:spLocks/>
              </p:cNvSpPr>
              <p:nvPr/>
            </p:nvSpPr>
            <p:spPr bwMode="auto">
              <a:xfrm>
                <a:off x="4102" y="1794"/>
                <a:ext cx="10" cy="4"/>
              </a:xfrm>
              <a:custGeom>
                <a:avLst/>
                <a:gdLst>
                  <a:gd name="T0" fmla="*/ 4 w 4"/>
                  <a:gd name="T1" fmla="*/ 0 h 2"/>
                  <a:gd name="T2" fmla="*/ 0 w 4"/>
                  <a:gd name="T3" fmla="*/ 1 h 2"/>
                  <a:gd name="T4" fmla="*/ 3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0" y="1"/>
                      <a:pt x="0" y="1"/>
                      <a:pt x="0" y="1"/>
                    </a:cubicBezTo>
                    <a:cubicBezTo>
                      <a:pt x="1" y="1"/>
                      <a:pt x="2" y="2"/>
                      <a:pt x="3" y="2"/>
                    </a:cubicBezTo>
                    <a:cubicBezTo>
                      <a:pt x="3"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 name="Freeform 365">
                <a:extLst>
                  <a:ext uri="{FF2B5EF4-FFF2-40B4-BE49-F238E27FC236}">
                    <a16:creationId xmlns:a16="http://schemas.microsoft.com/office/drawing/2014/main" id="{4069418B-B2F5-4DA2-BF40-503B22F65831}"/>
                  </a:ext>
                </a:extLst>
              </p:cNvPr>
              <p:cNvSpPr>
                <a:spLocks/>
              </p:cNvSpPr>
              <p:nvPr/>
            </p:nvSpPr>
            <p:spPr bwMode="auto">
              <a:xfrm>
                <a:off x="4057" y="1770"/>
                <a:ext cx="57" cy="163"/>
              </a:xfrm>
              <a:custGeom>
                <a:avLst/>
                <a:gdLst>
                  <a:gd name="T0" fmla="*/ 23 w 24"/>
                  <a:gd name="T1" fmla="*/ 0 h 69"/>
                  <a:gd name="T2" fmla="*/ 21 w 24"/>
                  <a:gd name="T3" fmla="*/ 0 h 69"/>
                  <a:gd name="T4" fmla="*/ 20 w 24"/>
                  <a:gd name="T5" fmla="*/ 0 h 69"/>
                  <a:gd name="T6" fmla="*/ 15 w 24"/>
                  <a:gd name="T7" fmla="*/ 1 h 69"/>
                  <a:gd name="T8" fmla="*/ 15 w 24"/>
                  <a:gd name="T9" fmla="*/ 3 h 69"/>
                  <a:gd name="T10" fmla="*/ 13 w 24"/>
                  <a:gd name="T11" fmla="*/ 7 h 69"/>
                  <a:gd name="T12" fmla="*/ 4 w 24"/>
                  <a:gd name="T13" fmla="*/ 30 h 69"/>
                  <a:gd name="T14" fmla="*/ 4 w 24"/>
                  <a:gd name="T15" fmla="*/ 30 h 69"/>
                  <a:gd name="T16" fmla="*/ 0 w 24"/>
                  <a:gd name="T17" fmla="*/ 34 h 69"/>
                  <a:gd name="T18" fmla="*/ 1 w 24"/>
                  <a:gd name="T19" fmla="*/ 35 h 69"/>
                  <a:gd name="T20" fmla="*/ 0 w 24"/>
                  <a:gd name="T21" fmla="*/ 36 h 69"/>
                  <a:gd name="T22" fmla="*/ 1 w 24"/>
                  <a:gd name="T23" fmla="*/ 35 h 69"/>
                  <a:gd name="T24" fmla="*/ 1 w 24"/>
                  <a:gd name="T25" fmla="*/ 36 h 69"/>
                  <a:gd name="T26" fmla="*/ 2 w 24"/>
                  <a:gd name="T27" fmla="*/ 37 h 69"/>
                  <a:gd name="T28" fmla="*/ 1 w 24"/>
                  <a:gd name="T29" fmla="*/ 37 h 69"/>
                  <a:gd name="T30" fmla="*/ 12 w 24"/>
                  <a:gd name="T31" fmla="*/ 69 h 69"/>
                  <a:gd name="T32" fmla="*/ 15 w 24"/>
                  <a:gd name="T33" fmla="*/ 56 h 69"/>
                  <a:gd name="T34" fmla="*/ 16 w 24"/>
                  <a:gd name="T35" fmla="*/ 51 h 69"/>
                  <a:gd name="T36" fmla="*/ 18 w 24"/>
                  <a:gd name="T37" fmla="*/ 45 h 69"/>
                  <a:gd name="T38" fmla="*/ 18 w 24"/>
                  <a:gd name="T39" fmla="*/ 44 h 69"/>
                  <a:gd name="T40" fmla="*/ 19 w 24"/>
                  <a:gd name="T41" fmla="*/ 41 h 69"/>
                  <a:gd name="T42" fmla="*/ 20 w 24"/>
                  <a:gd name="T43" fmla="*/ 34 h 69"/>
                  <a:gd name="T44" fmla="*/ 20 w 24"/>
                  <a:gd name="T45" fmla="*/ 34 h 69"/>
                  <a:gd name="T46" fmla="*/ 17 w 24"/>
                  <a:gd name="T47" fmla="*/ 35 h 69"/>
                  <a:gd name="T48" fmla="*/ 17 w 24"/>
                  <a:gd name="T49" fmla="*/ 35 h 69"/>
                  <a:gd name="T50" fmla="*/ 16 w 24"/>
                  <a:gd name="T51" fmla="*/ 35 h 69"/>
                  <a:gd name="T52" fmla="*/ 16 w 24"/>
                  <a:gd name="T53" fmla="*/ 35 h 69"/>
                  <a:gd name="T54" fmla="*/ 15 w 24"/>
                  <a:gd name="T55" fmla="*/ 35 h 69"/>
                  <a:gd name="T56" fmla="*/ 14 w 24"/>
                  <a:gd name="T57" fmla="*/ 35 h 69"/>
                  <a:gd name="T58" fmla="*/ 14 w 24"/>
                  <a:gd name="T59" fmla="*/ 35 h 69"/>
                  <a:gd name="T60" fmla="*/ 12 w 24"/>
                  <a:gd name="T61" fmla="*/ 35 h 69"/>
                  <a:gd name="T62" fmla="*/ 17 w 24"/>
                  <a:gd name="T63" fmla="*/ 27 h 69"/>
                  <a:gd name="T64" fmla="*/ 18 w 24"/>
                  <a:gd name="T65" fmla="*/ 27 h 69"/>
                  <a:gd name="T66" fmla="*/ 13 w 24"/>
                  <a:gd name="T67" fmla="*/ 25 h 69"/>
                  <a:gd name="T68" fmla="*/ 14 w 24"/>
                  <a:gd name="T69" fmla="*/ 14 h 69"/>
                  <a:gd name="T70" fmla="*/ 17 w 24"/>
                  <a:gd name="T71" fmla="*/ 11 h 69"/>
                  <a:gd name="T72" fmla="*/ 17 w 24"/>
                  <a:gd name="T73" fmla="*/ 10 h 69"/>
                  <a:gd name="T74" fmla="*/ 18 w 24"/>
                  <a:gd name="T75" fmla="*/ 10 h 69"/>
                  <a:gd name="T76" fmla="*/ 24 w 24"/>
                  <a:gd name="T77" fmla="*/ 6 h 69"/>
                  <a:gd name="T78" fmla="*/ 24 w 24"/>
                  <a:gd name="T79" fmla="*/ 5 h 69"/>
                  <a:gd name="T80" fmla="*/ 24 w 24"/>
                  <a:gd name="T81" fmla="*/ 5 h 69"/>
                  <a:gd name="T82" fmla="*/ 23 w 24"/>
                  <a:gd name="T83" fmla="*/ 1 h 69"/>
                  <a:gd name="T84" fmla="*/ 23 w 24"/>
                  <a:gd name="T8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 h="69">
                    <a:moveTo>
                      <a:pt x="23" y="0"/>
                    </a:moveTo>
                    <a:cubicBezTo>
                      <a:pt x="23" y="0"/>
                      <a:pt x="22" y="0"/>
                      <a:pt x="21" y="0"/>
                    </a:cubicBezTo>
                    <a:cubicBezTo>
                      <a:pt x="21" y="0"/>
                      <a:pt x="20" y="0"/>
                      <a:pt x="20" y="0"/>
                    </a:cubicBezTo>
                    <a:cubicBezTo>
                      <a:pt x="15" y="1"/>
                      <a:pt x="15" y="1"/>
                      <a:pt x="15" y="1"/>
                    </a:cubicBezTo>
                    <a:cubicBezTo>
                      <a:pt x="15" y="1"/>
                      <a:pt x="15" y="2"/>
                      <a:pt x="15" y="3"/>
                    </a:cubicBezTo>
                    <a:cubicBezTo>
                      <a:pt x="15" y="4"/>
                      <a:pt x="14" y="6"/>
                      <a:pt x="13" y="7"/>
                    </a:cubicBezTo>
                    <a:cubicBezTo>
                      <a:pt x="10" y="15"/>
                      <a:pt x="8" y="23"/>
                      <a:pt x="4" y="30"/>
                    </a:cubicBezTo>
                    <a:cubicBezTo>
                      <a:pt x="4" y="30"/>
                      <a:pt x="4" y="30"/>
                      <a:pt x="4" y="30"/>
                    </a:cubicBezTo>
                    <a:cubicBezTo>
                      <a:pt x="3" y="32"/>
                      <a:pt x="1" y="33"/>
                      <a:pt x="0" y="34"/>
                    </a:cubicBezTo>
                    <a:cubicBezTo>
                      <a:pt x="1" y="35"/>
                      <a:pt x="1" y="35"/>
                      <a:pt x="1" y="35"/>
                    </a:cubicBezTo>
                    <a:cubicBezTo>
                      <a:pt x="0" y="36"/>
                      <a:pt x="0" y="36"/>
                      <a:pt x="0" y="36"/>
                    </a:cubicBezTo>
                    <a:cubicBezTo>
                      <a:pt x="1" y="35"/>
                      <a:pt x="1" y="35"/>
                      <a:pt x="1" y="35"/>
                    </a:cubicBezTo>
                    <a:cubicBezTo>
                      <a:pt x="1" y="36"/>
                      <a:pt x="1" y="36"/>
                      <a:pt x="1" y="36"/>
                    </a:cubicBezTo>
                    <a:cubicBezTo>
                      <a:pt x="2" y="37"/>
                      <a:pt x="2" y="37"/>
                      <a:pt x="2" y="37"/>
                    </a:cubicBezTo>
                    <a:cubicBezTo>
                      <a:pt x="1" y="37"/>
                      <a:pt x="1" y="37"/>
                      <a:pt x="1" y="37"/>
                    </a:cubicBezTo>
                    <a:cubicBezTo>
                      <a:pt x="12" y="69"/>
                      <a:pt x="12" y="69"/>
                      <a:pt x="12" y="69"/>
                    </a:cubicBezTo>
                    <a:cubicBezTo>
                      <a:pt x="12" y="64"/>
                      <a:pt x="14" y="60"/>
                      <a:pt x="15" y="56"/>
                    </a:cubicBezTo>
                    <a:cubicBezTo>
                      <a:pt x="16" y="51"/>
                      <a:pt x="16" y="51"/>
                      <a:pt x="16" y="51"/>
                    </a:cubicBezTo>
                    <a:cubicBezTo>
                      <a:pt x="16" y="49"/>
                      <a:pt x="17" y="47"/>
                      <a:pt x="18" y="45"/>
                    </a:cubicBezTo>
                    <a:cubicBezTo>
                      <a:pt x="18" y="44"/>
                      <a:pt x="18" y="44"/>
                      <a:pt x="18" y="44"/>
                    </a:cubicBezTo>
                    <a:cubicBezTo>
                      <a:pt x="18" y="43"/>
                      <a:pt x="18" y="42"/>
                      <a:pt x="19" y="41"/>
                    </a:cubicBezTo>
                    <a:cubicBezTo>
                      <a:pt x="19" y="39"/>
                      <a:pt x="19" y="37"/>
                      <a:pt x="20" y="34"/>
                    </a:cubicBezTo>
                    <a:cubicBezTo>
                      <a:pt x="20" y="34"/>
                      <a:pt x="20" y="34"/>
                      <a:pt x="20" y="34"/>
                    </a:cubicBezTo>
                    <a:cubicBezTo>
                      <a:pt x="19" y="34"/>
                      <a:pt x="18" y="34"/>
                      <a:pt x="17" y="35"/>
                    </a:cubicBezTo>
                    <a:cubicBezTo>
                      <a:pt x="17" y="35"/>
                      <a:pt x="17" y="35"/>
                      <a:pt x="17" y="35"/>
                    </a:cubicBezTo>
                    <a:cubicBezTo>
                      <a:pt x="16" y="35"/>
                      <a:pt x="16" y="35"/>
                      <a:pt x="16" y="35"/>
                    </a:cubicBezTo>
                    <a:cubicBezTo>
                      <a:pt x="16" y="35"/>
                      <a:pt x="16" y="35"/>
                      <a:pt x="16" y="35"/>
                    </a:cubicBezTo>
                    <a:cubicBezTo>
                      <a:pt x="16" y="35"/>
                      <a:pt x="15" y="35"/>
                      <a:pt x="15" y="35"/>
                    </a:cubicBezTo>
                    <a:cubicBezTo>
                      <a:pt x="15" y="35"/>
                      <a:pt x="14" y="35"/>
                      <a:pt x="14" y="35"/>
                    </a:cubicBezTo>
                    <a:cubicBezTo>
                      <a:pt x="14" y="35"/>
                      <a:pt x="14" y="35"/>
                      <a:pt x="14" y="35"/>
                    </a:cubicBezTo>
                    <a:cubicBezTo>
                      <a:pt x="13" y="35"/>
                      <a:pt x="13" y="35"/>
                      <a:pt x="12" y="35"/>
                    </a:cubicBezTo>
                    <a:cubicBezTo>
                      <a:pt x="12" y="33"/>
                      <a:pt x="13" y="27"/>
                      <a:pt x="17" y="27"/>
                    </a:cubicBezTo>
                    <a:cubicBezTo>
                      <a:pt x="17" y="27"/>
                      <a:pt x="17" y="27"/>
                      <a:pt x="18" y="27"/>
                    </a:cubicBezTo>
                    <a:cubicBezTo>
                      <a:pt x="16" y="25"/>
                      <a:pt x="15" y="25"/>
                      <a:pt x="13" y="25"/>
                    </a:cubicBezTo>
                    <a:cubicBezTo>
                      <a:pt x="14" y="21"/>
                      <a:pt x="13" y="17"/>
                      <a:pt x="14" y="14"/>
                    </a:cubicBezTo>
                    <a:cubicBezTo>
                      <a:pt x="15" y="12"/>
                      <a:pt x="16" y="11"/>
                      <a:pt x="17" y="11"/>
                    </a:cubicBezTo>
                    <a:cubicBezTo>
                      <a:pt x="17" y="10"/>
                      <a:pt x="17" y="10"/>
                      <a:pt x="17" y="10"/>
                    </a:cubicBezTo>
                    <a:cubicBezTo>
                      <a:pt x="18" y="10"/>
                      <a:pt x="18" y="10"/>
                      <a:pt x="18" y="10"/>
                    </a:cubicBezTo>
                    <a:cubicBezTo>
                      <a:pt x="24" y="6"/>
                      <a:pt x="24" y="6"/>
                      <a:pt x="24" y="6"/>
                    </a:cubicBezTo>
                    <a:cubicBezTo>
                      <a:pt x="24" y="5"/>
                      <a:pt x="24" y="5"/>
                      <a:pt x="24" y="5"/>
                    </a:cubicBezTo>
                    <a:cubicBezTo>
                      <a:pt x="24" y="5"/>
                      <a:pt x="24" y="5"/>
                      <a:pt x="24" y="5"/>
                    </a:cubicBezTo>
                    <a:cubicBezTo>
                      <a:pt x="23" y="4"/>
                      <a:pt x="23" y="3"/>
                      <a:pt x="23" y="1"/>
                    </a:cubicBezTo>
                    <a:cubicBezTo>
                      <a:pt x="23" y="1"/>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 name="Freeform 366">
                <a:extLst>
                  <a:ext uri="{FF2B5EF4-FFF2-40B4-BE49-F238E27FC236}">
                    <a16:creationId xmlns:a16="http://schemas.microsoft.com/office/drawing/2014/main" id="{A40B572F-BD0C-4643-AFB0-F7B3A4531BA6}"/>
                  </a:ext>
                </a:extLst>
              </p:cNvPr>
              <p:cNvSpPr>
                <a:spLocks/>
              </p:cNvSpPr>
              <p:nvPr/>
            </p:nvSpPr>
            <p:spPr bwMode="auto">
              <a:xfrm>
                <a:off x="3686" y="1299"/>
                <a:ext cx="839" cy="322"/>
              </a:xfrm>
              <a:custGeom>
                <a:avLst/>
                <a:gdLst>
                  <a:gd name="T0" fmla="*/ 157 w 355"/>
                  <a:gd name="T1" fmla="*/ 2 h 136"/>
                  <a:gd name="T2" fmla="*/ 112 w 355"/>
                  <a:gd name="T3" fmla="*/ 12 h 136"/>
                  <a:gd name="T4" fmla="*/ 80 w 355"/>
                  <a:gd name="T5" fmla="*/ 20 h 136"/>
                  <a:gd name="T6" fmla="*/ 59 w 355"/>
                  <a:gd name="T7" fmla="*/ 19 h 136"/>
                  <a:gd name="T8" fmla="*/ 73 w 355"/>
                  <a:gd name="T9" fmla="*/ 30 h 136"/>
                  <a:gd name="T10" fmla="*/ 48 w 355"/>
                  <a:gd name="T11" fmla="*/ 38 h 136"/>
                  <a:gd name="T12" fmla="*/ 30 w 355"/>
                  <a:gd name="T13" fmla="*/ 39 h 136"/>
                  <a:gd name="T14" fmla="*/ 10 w 355"/>
                  <a:gd name="T15" fmla="*/ 41 h 136"/>
                  <a:gd name="T16" fmla="*/ 1 w 355"/>
                  <a:gd name="T17" fmla="*/ 59 h 136"/>
                  <a:gd name="T18" fmla="*/ 14 w 355"/>
                  <a:gd name="T19" fmla="*/ 69 h 136"/>
                  <a:gd name="T20" fmla="*/ 13 w 355"/>
                  <a:gd name="T21" fmla="*/ 75 h 136"/>
                  <a:gd name="T22" fmla="*/ 9 w 355"/>
                  <a:gd name="T23" fmla="*/ 77 h 136"/>
                  <a:gd name="T24" fmla="*/ 6 w 355"/>
                  <a:gd name="T25" fmla="*/ 84 h 136"/>
                  <a:gd name="T26" fmla="*/ 10 w 355"/>
                  <a:gd name="T27" fmla="*/ 87 h 136"/>
                  <a:gd name="T28" fmla="*/ 18 w 355"/>
                  <a:gd name="T29" fmla="*/ 99 h 136"/>
                  <a:gd name="T30" fmla="*/ 25 w 355"/>
                  <a:gd name="T31" fmla="*/ 111 h 136"/>
                  <a:gd name="T32" fmla="*/ 43 w 355"/>
                  <a:gd name="T33" fmla="*/ 112 h 136"/>
                  <a:gd name="T34" fmla="*/ 27 w 355"/>
                  <a:gd name="T35" fmla="*/ 120 h 136"/>
                  <a:gd name="T36" fmla="*/ 39 w 355"/>
                  <a:gd name="T37" fmla="*/ 121 h 136"/>
                  <a:gd name="T38" fmla="*/ 48 w 355"/>
                  <a:gd name="T39" fmla="*/ 117 h 136"/>
                  <a:gd name="T40" fmla="*/ 71 w 355"/>
                  <a:gd name="T41" fmla="*/ 132 h 136"/>
                  <a:gd name="T42" fmla="*/ 82 w 355"/>
                  <a:gd name="T43" fmla="*/ 130 h 136"/>
                  <a:gd name="T44" fmla="*/ 104 w 355"/>
                  <a:gd name="T45" fmla="*/ 120 h 136"/>
                  <a:gd name="T46" fmla="*/ 142 w 355"/>
                  <a:gd name="T47" fmla="*/ 132 h 136"/>
                  <a:gd name="T48" fmla="*/ 175 w 355"/>
                  <a:gd name="T49" fmla="*/ 122 h 136"/>
                  <a:gd name="T50" fmla="*/ 189 w 355"/>
                  <a:gd name="T51" fmla="*/ 116 h 136"/>
                  <a:gd name="T52" fmla="*/ 192 w 355"/>
                  <a:gd name="T53" fmla="*/ 134 h 136"/>
                  <a:gd name="T54" fmla="*/ 195 w 355"/>
                  <a:gd name="T55" fmla="*/ 131 h 136"/>
                  <a:gd name="T56" fmla="*/ 199 w 355"/>
                  <a:gd name="T57" fmla="*/ 117 h 136"/>
                  <a:gd name="T58" fmla="*/ 215 w 355"/>
                  <a:gd name="T59" fmla="*/ 118 h 136"/>
                  <a:gd name="T60" fmla="*/ 239 w 355"/>
                  <a:gd name="T61" fmla="*/ 114 h 136"/>
                  <a:gd name="T62" fmla="*/ 252 w 355"/>
                  <a:gd name="T63" fmla="*/ 118 h 136"/>
                  <a:gd name="T64" fmla="*/ 266 w 355"/>
                  <a:gd name="T65" fmla="*/ 114 h 136"/>
                  <a:gd name="T66" fmla="*/ 282 w 355"/>
                  <a:gd name="T67" fmla="*/ 108 h 136"/>
                  <a:gd name="T68" fmla="*/ 311 w 355"/>
                  <a:gd name="T69" fmla="*/ 105 h 136"/>
                  <a:gd name="T70" fmla="*/ 325 w 355"/>
                  <a:gd name="T71" fmla="*/ 103 h 136"/>
                  <a:gd name="T72" fmla="*/ 331 w 355"/>
                  <a:gd name="T73" fmla="*/ 104 h 136"/>
                  <a:gd name="T74" fmla="*/ 349 w 355"/>
                  <a:gd name="T75" fmla="*/ 109 h 136"/>
                  <a:gd name="T76" fmla="*/ 355 w 355"/>
                  <a:gd name="T77" fmla="*/ 108 h 136"/>
                  <a:gd name="T78" fmla="*/ 354 w 355"/>
                  <a:gd name="T79" fmla="*/ 107 h 136"/>
                  <a:gd name="T80" fmla="*/ 351 w 355"/>
                  <a:gd name="T81" fmla="*/ 99 h 136"/>
                  <a:gd name="T82" fmla="*/ 349 w 355"/>
                  <a:gd name="T83" fmla="*/ 97 h 136"/>
                  <a:gd name="T84" fmla="*/ 344 w 355"/>
                  <a:gd name="T85" fmla="*/ 92 h 136"/>
                  <a:gd name="T86" fmla="*/ 346 w 355"/>
                  <a:gd name="T87" fmla="*/ 82 h 136"/>
                  <a:gd name="T88" fmla="*/ 341 w 355"/>
                  <a:gd name="T89" fmla="*/ 65 h 136"/>
                  <a:gd name="T90" fmla="*/ 348 w 355"/>
                  <a:gd name="T91" fmla="*/ 55 h 136"/>
                  <a:gd name="T92" fmla="*/ 336 w 355"/>
                  <a:gd name="T93" fmla="*/ 47 h 136"/>
                  <a:gd name="T94" fmla="*/ 333 w 355"/>
                  <a:gd name="T95" fmla="*/ 40 h 136"/>
                  <a:gd name="T96" fmla="*/ 334 w 355"/>
                  <a:gd name="T97" fmla="*/ 32 h 136"/>
                  <a:gd name="T98" fmla="*/ 333 w 355"/>
                  <a:gd name="T99" fmla="*/ 27 h 136"/>
                  <a:gd name="T100" fmla="*/ 326 w 355"/>
                  <a:gd name="T101" fmla="*/ 20 h 136"/>
                  <a:gd name="T102" fmla="*/ 321 w 355"/>
                  <a:gd name="T103" fmla="*/ 16 h 136"/>
                  <a:gd name="T104" fmla="*/ 316 w 355"/>
                  <a:gd name="T105" fmla="*/ 14 h 136"/>
                  <a:gd name="T106" fmla="*/ 303 w 355"/>
                  <a:gd name="T107" fmla="*/ 15 h 136"/>
                  <a:gd name="T108" fmla="*/ 297 w 355"/>
                  <a:gd name="T109" fmla="*/ 18 h 136"/>
                  <a:gd name="T110" fmla="*/ 272 w 355"/>
                  <a:gd name="T111" fmla="*/ 25 h 136"/>
                  <a:gd name="T112" fmla="*/ 265 w 355"/>
                  <a:gd name="T113" fmla="*/ 25 h 136"/>
                  <a:gd name="T114" fmla="*/ 251 w 355"/>
                  <a:gd name="T115" fmla="*/ 23 h 136"/>
                  <a:gd name="T116" fmla="*/ 235 w 355"/>
                  <a:gd name="T117" fmla="*/ 26 h 136"/>
                  <a:gd name="T118" fmla="*/ 198 w 355"/>
                  <a:gd name="T119" fmla="*/ 18 h 136"/>
                  <a:gd name="T120" fmla="*/ 180 w 355"/>
                  <a:gd name="T121" fmla="*/ 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136">
                    <a:moveTo>
                      <a:pt x="173" y="0"/>
                    </a:moveTo>
                    <a:cubicBezTo>
                      <a:pt x="171" y="0"/>
                      <a:pt x="169" y="1"/>
                      <a:pt x="169" y="1"/>
                    </a:cubicBezTo>
                    <a:cubicBezTo>
                      <a:pt x="167" y="2"/>
                      <a:pt x="164" y="2"/>
                      <a:pt x="162" y="2"/>
                    </a:cubicBezTo>
                    <a:cubicBezTo>
                      <a:pt x="161" y="2"/>
                      <a:pt x="160" y="2"/>
                      <a:pt x="159" y="2"/>
                    </a:cubicBezTo>
                    <a:cubicBezTo>
                      <a:pt x="159" y="2"/>
                      <a:pt x="158" y="2"/>
                      <a:pt x="157" y="2"/>
                    </a:cubicBezTo>
                    <a:cubicBezTo>
                      <a:pt x="157" y="2"/>
                      <a:pt x="156" y="2"/>
                      <a:pt x="156" y="2"/>
                    </a:cubicBezTo>
                    <a:cubicBezTo>
                      <a:pt x="152" y="2"/>
                      <a:pt x="146" y="2"/>
                      <a:pt x="142" y="1"/>
                    </a:cubicBezTo>
                    <a:cubicBezTo>
                      <a:pt x="141" y="1"/>
                      <a:pt x="141" y="1"/>
                      <a:pt x="140" y="1"/>
                    </a:cubicBezTo>
                    <a:cubicBezTo>
                      <a:pt x="135" y="1"/>
                      <a:pt x="131" y="4"/>
                      <a:pt x="126" y="5"/>
                    </a:cubicBezTo>
                    <a:cubicBezTo>
                      <a:pt x="120" y="6"/>
                      <a:pt x="117" y="9"/>
                      <a:pt x="112" y="12"/>
                    </a:cubicBezTo>
                    <a:cubicBezTo>
                      <a:pt x="110" y="13"/>
                      <a:pt x="107" y="15"/>
                      <a:pt x="105" y="17"/>
                    </a:cubicBezTo>
                    <a:cubicBezTo>
                      <a:pt x="104" y="18"/>
                      <a:pt x="101" y="21"/>
                      <a:pt x="99" y="22"/>
                    </a:cubicBezTo>
                    <a:cubicBezTo>
                      <a:pt x="97" y="22"/>
                      <a:pt x="95" y="22"/>
                      <a:pt x="93" y="22"/>
                    </a:cubicBezTo>
                    <a:cubicBezTo>
                      <a:pt x="89" y="22"/>
                      <a:pt x="86" y="21"/>
                      <a:pt x="82" y="20"/>
                    </a:cubicBezTo>
                    <a:cubicBezTo>
                      <a:pt x="82" y="20"/>
                      <a:pt x="81" y="20"/>
                      <a:pt x="80" y="20"/>
                    </a:cubicBezTo>
                    <a:cubicBezTo>
                      <a:pt x="78" y="20"/>
                      <a:pt x="75" y="20"/>
                      <a:pt x="73" y="21"/>
                    </a:cubicBezTo>
                    <a:cubicBezTo>
                      <a:pt x="73" y="21"/>
                      <a:pt x="73" y="21"/>
                      <a:pt x="72" y="21"/>
                    </a:cubicBezTo>
                    <a:cubicBezTo>
                      <a:pt x="70" y="21"/>
                      <a:pt x="67" y="20"/>
                      <a:pt x="65" y="19"/>
                    </a:cubicBezTo>
                    <a:cubicBezTo>
                      <a:pt x="64" y="19"/>
                      <a:pt x="62" y="19"/>
                      <a:pt x="60" y="19"/>
                    </a:cubicBezTo>
                    <a:cubicBezTo>
                      <a:pt x="60" y="19"/>
                      <a:pt x="59" y="19"/>
                      <a:pt x="59" y="19"/>
                    </a:cubicBezTo>
                    <a:cubicBezTo>
                      <a:pt x="59" y="20"/>
                      <a:pt x="59" y="20"/>
                      <a:pt x="59" y="20"/>
                    </a:cubicBezTo>
                    <a:cubicBezTo>
                      <a:pt x="60" y="20"/>
                      <a:pt x="61" y="22"/>
                      <a:pt x="61" y="24"/>
                    </a:cubicBezTo>
                    <a:cubicBezTo>
                      <a:pt x="61" y="25"/>
                      <a:pt x="60" y="25"/>
                      <a:pt x="60" y="26"/>
                    </a:cubicBezTo>
                    <a:cubicBezTo>
                      <a:pt x="62" y="27"/>
                      <a:pt x="63" y="29"/>
                      <a:pt x="66" y="29"/>
                    </a:cubicBezTo>
                    <a:cubicBezTo>
                      <a:pt x="68" y="30"/>
                      <a:pt x="70" y="29"/>
                      <a:pt x="73" y="30"/>
                    </a:cubicBezTo>
                    <a:cubicBezTo>
                      <a:pt x="68" y="31"/>
                      <a:pt x="64" y="31"/>
                      <a:pt x="60" y="32"/>
                    </a:cubicBezTo>
                    <a:cubicBezTo>
                      <a:pt x="58" y="32"/>
                      <a:pt x="53" y="33"/>
                      <a:pt x="52" y="35"/>
                    </a:cubicBezTo>
                    <a:cubicBezTo>
                      <a:pt x="54" y="35"/>
                      <a:pt x="57" y="35"/>
                      <a:pt x="59" y="37"/>
                    </a:cubicBezTo>
                    <a:cubicBezTo>
                      <a:pt x="57" y="38"/>
                      <a:pt x="55" y="39"/>
                      <a:pt x="53" y="39"/>
                    </a:cubicBezTo>
                    <a:cubicBezTo>
                      <a:pt x="52" y="39"/>
                      <a:pt x="50" y="38"/>
                      <a:pt x="48" y="38"/>
                    </a:cubicBezTo>
                    <a:cubicBezTo>
                      <a:pt x="45" y="38"/>
                      <a:pt x="43" y="38"/>
                      <a:pt x="40" y="38"/>
                    </a:cubicBezTo>
                    <a:cubicBezTo>
                      <a:pt x="38" y="38"/>
                      <a:pt x="37" y="38"/>
                      <a:pt x="35" y="38"/>
                    </a:cubicBezTo>
                    <a:cubicBezTo>
                      <a:pt x="36" y="34"/>
                      <a:pt x="35" y="35"/>
                      <a:pt x="32" y="35"/>
                    </a:cubicBezTo>
                    <a:cubicBezTo>
                      <a:pt x="33" y="36"/>
                      <a:pt x="34" y="37"/>
                      <a:pt x="35" y="38"/>
                    </a:cubicBezTo>
                    <a:cubicBezTo>
                      <a:pt x="33" y="39"/>
                      <a:pt x="31" y="39"/>
                      <a:pt x="30" y="39"/>
                    </a:cubicBezTo>
                    <a:cubicBezTo>
                      <a:pt x="29" y="39"/>
                      <a:pt x="29" y="39"/>
                      <a:pt x="28" y="39"/>
                    </a:cubicBezTo>
                    <a:cubicBezTo>
                      <a:pt x="27" y="39"/>
                      <a:pt x="26" y="39"/>
                      <a:pt x="25" y="37"/>
                    </a:cubicBezTo>
                    <a:cubicBezTo>
                      <a:pt x="24" y="37"/>
                      <a:pt x="24" y="36"/>
                      <a:pt x="23" y="36"/>
                    </a:cubicBezTo>
                    <a:cubicBezTo>
                      <a:pt x="23" y="36"/>
                      <a:pt x="23" y="36"/>
                      <a:pt x="22" y="36"/>
                    </a:cubicBezTo>
                    <a:cubicBezTo>
                      <a:pt x="18" y="38"/>
                      <a:pt x="14" y="39"/>
                      <a:pt x="10" y="41"/>
                    </a:cubicBezTo>
                    <a:cubicBezTo>
                      <a:pt x="7" y="42"/>
                      <a:pt x="3" y="45"/>
                      <a:pt x="2" y="48"/>
                    </a:cubicBezTo>
                    <a:cubicBezTo>
                      <a:pt x="1" y="50"/>
                      <a:pt x="2" y="53"/>
                      <a:pt x="2" y="55"/>
                    </a:cubicBezTo>
                    <a:cubicBezTo>
                      <a:pt x="2" y="56"/>
                      <a:pt x="1" y="56"/>
                      <a:pt x="1" y="57"/>
                    </a:cubicBezTo>
                    <a:cubicBezTo>
                      <a:pt x="1" y="58"/>
                      <a:pt x="0" y="58"/>
                      <a:pt x="0" y="58"/>
                    </a:cubicBezTo>
                    <a:cubicBezTo>
                      <a:pt x="1" y="59"/>
                      <a:pt x="1" y="59"/>
                      <a:pt x="1" y="59"/>
                    </a:cubicBezTo>
                    <a:cubicBezTo>
                      <a:pt x="3" y="59"/>
                      <a:pt x="5" y="58"/>
                      <a:pt x="6" y="58"/>
                    </a:cubicBezTo>
                    <a:cubicBezTo>
                      <a:pt x="10" y="57"/>
                      <a:pt x="13" y="57"/>
                      <a:pt x="17" y="57"/>
                    </a:cubicBezTo>
                    <a:cubicBezTo>
                      <a:pt x="15" y="59"/>
                      <a:pt x="13" y="61"/>
                      <a:pt x="11" y="62"/>
                    </a:cubicBezTo>
                    <a:cubicBezTo>
                      <a:pt x="12" y="63"/>
                      <a:pt x="13" y="64"/>
                      <a:pt x="14" y="65"/>
                    </a:cubicBezTo>
                    <a:cubicBezTo>
                      <a:pt x="14" y="66"/>
                      <a:pt x="14" y="68"/>
                      <a:pt x="14" y="69"/>
                    </a:cubicBezTo>
                    <a:cubicBezTo>
                      <a:pt x="15" y="71"/>
                      <a:pt x="17" y="70"/>
                      <a:pt x="19" y="71"/>
                    </a:cubicBezTo>
                    <a:cubicBezTo>
                      <a:pt x="18" y="73"/>
                      <a:pt x="17" y="75"/>
                      <a:pt x="14" y="75"/>
                    </a:cubicBezTo>
                    <a:cubicBezTo>
                      <a:pt x="14" y="75"/>
                      <a:pt x="14" y="75"/>
                      <a:pt x="14" y="75"/>
                    </a:cubicBezTo>
                    <a:cubicBezTo>
                      <a:pt x="14" y="75"/>
                      <a:pt x="14" y="75"/>
                      <a:pt x="14" y="75"/>
                    </a:cubicBezTo>
                    <a:cubicBezTo>
                      <a:pt x="13" y="75"/>
                      <a:pt x="13" y="75"/>
                      <a:pt x="13" y="75"/>
                    </a:cubicBezTo>
                    <a:cubicBezTo>
                      <a:pt x="13" y="79"/>
                      <a:pt x="17" y="81"/>
                      <a:pt x="20" y="82"/>
                    </a:cubicBezTo>
                    <a:cubicBezTo>
                      <a:pt x="18" y="82"/>
                      <a:pt x="17" y="83"/>
                      <a:pt x="16" y="83"/>
                    </a:cubicBezTo>
                    <a:cubicBezTo>
                      <a:pt x="14" y="83"/>
                      <a:pt x="13" y="82"/>
                      <a:pt x="11" y="82"/>
                    </a:cubicBezTo>
                    <a:cubicBezTo>
                      <a:pt x="10" y="81"/>
                      <a:pt x="10" y="80"/>
                      <a:pt x="10" y="79"/>
                    </a:cubicBezTo>
                    <a:cubicBezTo>
                      <a:pt x="10" y="78"/>
                      <a:pt x="9" y="78"/>
                      <a:pt x="9" y="77"/>
                    </a:cubicBezTo>
                    <a:cubicBezTo>
                      <a:pt x="8" y="77"/>
                      <a:pt x="8" y="77"/>
                      <a:pt x="8" y="77"/>
                    </a:cubicBezTo>
                    <a:cubicBezTo>
                      <a:pt x="7" y="77"/>
                      <a:pt x="7" y="78"/>
                      <a:pt x="8" y="80"/>
                    </a:cubicBezTo>
                    <a:cubicBezTo>
                      <a:pt x="8" y="81"/>
                      <a:pt x="8" y="83"/>
                      <a:pt x="7" y="84"/>
                    </a:cubicBezTo>
                    <a:cubicBezTo>
                      <a:pt x="7" y="84"/>
                      <a:pt x="7" y="84"/>
                      <a:pt x="6" y="84"/>
                    </a:cubicBezTo>
                    <a:cubicBezTo>
                      <a:pt x="6" y="84"/>
                      <a:pt x="6" y="84"/>
                      <a:pt x="6" y="84"/>
                    </a:cubicBezTo>
                    <a:cubicBezTo>
                      <a:pt x="6" y="84"/>
                      <a:pt x="6" y="84"/>
                      <a:pt x="6" y="84"/>
                    </a:cubicBezTo>
                    <a:cubicBezTo>
                      <a:pt x="6" y="84"/>
                      <a:pt x="5" y="84"/>
                      <a:pt x="5" y="84"/>
                    </a:cubicBezTo>
                    <a:cubicBezTo>
                      <a:pt x="4" y="83"/>
                      <a:pt x="4" y="83"/>
                      <a:pt x="4" y="83"/>
                    </a:cubicBezTo>
                    <a:cubicBezTo>
                      <a:pt x="5" y="84"/>
                      <a:pt x="4" y="85"/>
                      <a:pt x="3" y="85"/>
                    </a:cubicBezTo>
                    <a:cubicBezTo>
                      <a:pt x="6" y="86"/>
                      <a:pt x="8" y="87"/>
                      <a:pt x="10" y="87"/>
                    </a:cubicBezTo>
                    <a:cubicBezTo>
                      <a:pt x="10" y="87"/>
                      <a:pt x="11" y="87"/>
                      <a:pt x="11" y="87"/>
                    </a:cubicBezTo>
                    <a:cubicBezTo>
                      <a:pt x="11" y="87"/>
                      <a:pt x="11" y="87"/>
                      <a:pt x="11" y="87"/>
                    </a:cubicBezTo>
                    <a:cubicBezTo>
                      <a:pt x="14" y="87"/>
                      <a:pt x="17" y="90"/>
                      <a:pt x="20" y="91"/>
                    </a:cubicBezTo>
                    <a:cubicBezTo>
                      <a:pt x="22" y="91"/>
                      <a:pt x="25" y="94"/>
                      <a:pt x="23" y="97"/>
                    </a:cubicBezTo>
                    <a:cubicBezTo>
                      <a:pt x="22" y="98"/>
                      <a:pt x="19" y="98"/>
                      <a:pt x="18" y="99"/>
                    </a:cubicBezTo>
                    <a:cubicBezTo>
                      <a:pt x="21" y="100"/>
                      <a:pt x="23" y="102"/>
                      <a:pt x="22" y="105"/>
                    </a:cubicBezTo>
                    <a:cubicBezTo>
                      <a:pt x="24" y="106"/>
                      <a:pt x="28" y="105"/>
                      <a:pt x="29" y="107"/>
                    </a:cubicBezTo>
                    <a:cubicBezTo>
                      <a:pt x="30" y="108"/>
                      <a:pt x="29" y="111"/>
                      <a:pt x="27" y="111"/>
                    </a:cubicBezTo>
                    <a:cubicBezTo>
                      <a:pt x="27" y="111"/>
                      <a:pt x="27" y="111"/>
                      <a:pt x="27" y="111"/>
                    </a:cubicBezTo>
                    <a:cubicBezTo>
                      <a:pt x="26" y="111"/>
                      <a:pt x="26" y="111"/>
                      <a:pt x="25" y="111"/>
                    </a:cubicBezTo>
                    <a:cubicBezTo>
                      <a:pt x="25" y="111"/>
                      <a:pt x="25" y="110"/>
                      <a:pt x="24" y="110"/>
                    </a:cubicBezTo>
                    <a:cubicBezTo>
                      <a:pt x="24" y="110"/>
                      <a:pt x="24" y="110"/>
                      <a:pt x="24" y="110"/>
                    </a:cubicBezTo>
                    <a:cubicBezTo>
                      <a:pt x="23" y="111"/>
                      <a:pt x="22" y="112"/>
                      <a:pt x="23" y="114"/>
                    </a:cubicBezTo>
                    <a:cubicBezTo>
                      <a:pt x="23" y="114"/>
                      <a:pt x="24" y="114"/>
                      <a:pt x="24" y="114"/>
                    </a:cubicBezTo>
                    <a:cubicBezTo>
                      <a:pt x="30" y="114"/>
                      <a:pt x="37" y="112"/>
                      <a:pt x="43" y="112"/>
                    </a:cubicBezTo>
                    <a:cubicBezTo>
                      <a:pt x="40" y="114"/>
                      <a:pt x="39" y="117"/>
                      <a:pt x="35" y="117"/>
                    </a:cubicBezTo>
                    <a:cubicBezTo>
                      <a:pt x="34" y="117"/>
                      <a:pt x="33" y="118"/>
                      <a:pt x="32" y="118"/>
                    </a:cubicBezTo>
                    <a:cubicBezTo>
                      <a:pt x="31" y="118"/>
                      <a:pt x="30" y="118"/>
                      <a:pt x="29" y="118"/>
                    </a:cubicBezTo>
                    <a:cubicBezTo>
                      <a:pt x="27" y="119"/>
                      <a:pt x="26" y="120"/>
                      <a:pt x="25" y="120"/>
                    </a:cubicBezTo>
                    <a:cubicBezTo>
                      <a:pt x="25" y="120"/>
                      <a:pt x="26" y="120"/>
                      <a:pt x="27" y="120"/>
                    </a:cubicBezTo>
                    <a:cubicBezTo>
                      <a:pt x="30" y="120"/>
                      <a:pt x="38" y="118"/>
                      <a:pt x="39" y="117"/>
                    </a:cubicBezTo>
                    <a:cubicBezTo>
                      <a:pt x="38" y="118"/>
                      <a:pt x="37" y="119"/>
                      <a:pt x="37" y="120"/>
                    </a:cubicBezTo>
                    <a:cubicBezTo>
                      <a:pt x="37" y="120"/>
                      <a:pt x="37" y="120"/>
                      <a:pt x="37" y="120"/>
                    </a:cubicBezTo>
                    <a:cubicBezTo>
                      <a:pt x="38" y="120"/>
                      <a:pt x="38" y="120"/>
                      <a:pt x="38" y="121"/>
                    </a:cubicBezTo>
                    <a:cubicBezTo>
                      <a:pt x="39" y="121"/>
                      <a:pt x="39" y="121"/>
                      <a:pt x="39" y="121"/>
                    </a:cubicBezTo>
                    <a:cubicBezTo>
                      <a:pt x="38" y="122"/>
                      <a:pt x="37" y="122"/>
                      <a:pt x="36" y="122"/>
                    </a:cubicBezTo>
                    <a:cubicBezTo>
                      <a:pt x="36" y="123"/>
                      <a:pt x="37" y="123"/>
                      <a:pt x="37" y="123"/>
                    </a:cubicBezTo>
                    <a:cubicBezTo>
                      <a:pt x="37" y="123"/>
                      <a:pt x="42" y="119"/>
                      <a:pt x="42" y="119"/>
                    </a:cubicBezTo>
                    <a:cubicBezTo>
                      <a:pt x="43" y="117"/>
                      <a:pt x="44" y="117"/>
                      <a:pt x="45" y="117"/>
                    </a:cubicBezTo>
                    <a:cubicBezTo>
                      <a:pt x="46" y="117"/>
                      <a:pt x="47" y="117"/>
                      <a:pt x="48" y="117"/>
                    </a:cubicBezTo>
                    <a:cubicBezTo>
                      <a:pt x="50" y="118"/>
                      <a:pt x="48" y="120"/>
                      <a:pt x="51" y="120"/>
                    </a:cubicBezTo>
                    <a:cubicBezTo>
                      <a:pt x="53" y="120"/>
                      <a:pt x="53" y="122"/>
                      <a:pt x="53" y="122"/>
                    </a:cubicBezTo>
                    <a:cubicBezTo>
                      <a:pt x="54" y="122"/>
                      <a:pt x="54" y="121"/>
                      <a:pt x="55" y="119"/>
                    </a:cubicBezTo>
                    <a:cubicBezTo>
                      <a:pt x="56" y="121"/>
                      <a:pt x="59" y="128"/>
                      <a:pt x="62" y="129"/>
                    </a:cubicBezTo>
                    <a:cubicBezTo>
                      <a:pt x="65" y="130"/>
                      <a:pt x="68" y="131"/>
                      <a:pt x="71" y="132"/>
                    </a:cubicBezTo>
                    <a:cubicBezTo>
                      <a:pt x="71" y="132"/>
                      <a:pt x="71" y="132"/>
                      <a:pt x="71" y="132"/>
                    </a:cubicBezTo>
                    <a:cubicBezTo>
                      <a:pt x="73" y="132"/>
                      <a:pt x="76" y="130"/>
                      <a:pt x="77" y="130"/>
                    </a:cubicBezTo>
                    <a:cubicBezTo>
                      <a:pt x="78" y="129"/>
                      <a:pt x="79" y="128"/>
                      <a:pt x="79" y="128"/>
                    </a:cubicBezTo>
                    <a:cubicBezTo>
                      <a:pt x="80" y="128"/>
                      <a:pt x="81" y="130"/>
                      <a:pt x="82" y="130"/>
                    </a:cubicBezTo>
                    <a:cubicBezTo>
                      <a:pt x="82" y="130"/>
                      <a:pt x="82" y="130"/>
                      <a:pt x="82" y="130"/>
                    </a:cubicBezTo>
                    <a:cubicBezTo>
                      <a:pt x="83" y="130"/>
                      <a:pt x="84" y="130"/>
                      <a:pt x="85" y="128"/>
                    </a:cubicBezTo>
                    <a:cubicBezTo>
                      <a:pt x="85" y="125"/>
                      <a:pt x="85" y="119"/>
                      <a:pt x="87" y="117"/>
                    </a:cubicBezTo>
                    <a:cubicBezTo>
                      <a:pt x="87" y="116"/>
                      <a:pt x="88" y="116"/>
                      <a:pt x="89" y="116"/>
                    </a:cubicBezTo>
                    <a:cubicBezTo>
                      <a:pt x="89" y="116"/>
                      <a:pt x="90" y="116"/>
                      <a:pt x="90" y="116"/>
                    </a:cubicBezTo>
                    <a:cubicBezTo>
                      <a:pt x="95" y="117"/>
                      <a:pt x="99" y="118"/>
                      <a:pt x="104" y="120"/>
                    </a:cubicBezTo>
                    <a:cubicBezTo>
                      <a:pt x="108" y="121"/>
                      <a:pt x="112" y="124"/>
                      <a:pt x="117" y="127"/>
                    </a:cubicBezTo>
                    <a:cubicBezTo>
                      <a:pt x="120" y="129"/>
                      <a:pt x="122" y="133"/>
                      <a:pt x="126" y="133"/>
                    </a:cubicBezTo>
                    <a:cubicBezTo>
                      <a:pt x="126" y="133"/>
                      <a:pt x="126" y="133"/>
                      <a:pt x="126" y="133"/>
                    </a:cubicBezTo>
                    <a:cubicBezTo>
                      <a:pt x="131" y="133"/>
                      <a:pt x="136" y="132"/>
                      <a:pt x="142" y="132"/>
                    </a:cubicBezTo>
                    <a:cubicBezTo>
                      <a:pt x="142" y="132"/>
                      <a:pt x="142" y="132"/>
                      <a:pt x="142" y="132"/>
                    </a:cubicBezTo>
                    <a:cubicBezTo>
                      <a:pt x="142" y="132"/>
                      <a:pt x="142" y="132"/>
                      <a:pt x="142" y="132"/>
                    </a:cubicBezTo>
                    <a:cubicBezTo>
                      <a:pt x="147" y="132"/>
                      <a:pt x="150" y="131"/>
                      <a:pt x="153" y="127"/>
                    </a:cubicBezTo>
                    <a:cubicBezTo>
                      <a:pt x="157" y="122"/>
                      <a:pt x="161" y="120"/>
                      <a:pt x="167" y="118"/>
                    </a:cubicBezTo>
                    <a:cubicBezTo>
                      <a:pt x="166" y="118"/>
                      <a:pt x="173" y="121"/>
                      <a:pt x="173" y="121"/>
                    </a:cubicBezTo>
                    <a:cubicBezTo>
                      <a:pt x="174" y="122"/>
                      <a:pt x="175" y="122"/>
                      <a:pt x="175" y="122"/>
                    </a:cubicBezTo>
                    <a:cubicBezTo>
                      <a:pt x="175" y="122"/>
                      <a:pt x="176" y="123"/>
                      <a:pt x="177" y="123"/>
                    </a:cubicBezTo>
                    <a:cubicBezTo>
                      <a:pt x="177" y="123"/>
                      <a:pt x="177" y="123"/>
                      <a:pt x="177" y="123"/>
                    </a:cubicBezTo>
                    <a:cubicBezTo>
                      <a:pt x="179" y="123"/>
                      <a:pt x="181" y="121"/>
                      <a:pt x="183" y="119"/>
                    </a:cubicBezTo>
                    <a:cubicBezTo>
                      <a:pt x="185" y="118"/>
                      <a:pt x="187" y="116"/>
                      <a:pt x="189" y="116"/>
                    </a:cubicBezTo>
                    <a:cubicBezTo>
                      <a:pt x="189" y="116"/>
                      <a:pt x="189" y="116"/>
                      <a:pt x="189" y="116"/>
                    </a:cubicBezTo>
                    <a:cubicBezTo>
                      <a:pt x="198" y="116"/>
                      <a:pt x="189" y="125"/>
                      <a:pt x="187" y="128"/>
                    </a:cubicBezTo>
                    <a:cubicBezTo>
                      <a:pt x="185" y="131"/>
                      <a:pt x="188" y="132"/>
                      <a:pt x="189" y="135"/>
                    </a:cubicBezTo>
                    <a:cubicBezTo>
                      <a:pt x="189" y="135"/>
                      <a:pt x="189" y="135"/>
                      <a:pt x="189" y="135"/>
                    </a:cubicBezTo>
                    <a:cubicBezTo>
                      <a:pt x="190" y="135"/>
                      <a:pt x="190" y="135"/>
                      <a:pt x="191" y="136"/>
                    </a:cubicBezTo>
                    <a:cubicBezTo>
                      <a:pt x="191" y="135"/>
                      <a:pt x="192" y="135"/>
                      <a:pt x="192" y="134"/>
                    </a:cubicBezTo>
                    <a:cubicBezTo>
                      <a:pt x="193" y="134"/>
                      <a:pt x="193" y="134"/>
                      <a:pt x="193" y="134"/>
                    </a:cubicBezTo>
                    <a:cubicBezTo>
                      <a:pt x="194" y="133"/>
                      <a:pt x="194" y="133"/>
                      <a:pt x="194" y="133"/>
                    </a:cubicBezTo>
                    <a:cubicBezTo>
                      <a:pt x="194" y="133"/>
                      <a:pt x="194" y="133"/>
                      <a:pt x="194" y="133"/>
                    </a:cubicBezTo>
                    <a:cubicBezTo>
                      <a:pt x="195" y="132"/>
                      <a:pt x="195" y="132"/>
                      <a:pt x="195" y="132"/>
                    </a:cubicBezTo>
                    <a:cubicBezTo>
                      <a:pt x="195" y="132"/>
                      <a:pt x="195" y="131"/>
                      <a:pt x="195" y="131"/>
                    </a:cubicBezTo>
                    <a:cubicBezTo>
                      <a:pt x="195" y="130"/>
                      <a:pt x="195" y="130"/>
                      <a:pt x="196" y="129"/>
                    </a:cubicBezTo>
                    <a:cubicBezTo>
                      <a:pt x="196" y="129"/>
                      <a:pt x="196" y="129"/>
                      <a:pt x="197" y="128"/>
                    </a:cubicBezTo>
                    <a:cubicBezTo>
                      <a:pt x="197" y="128"/>
                      <a:pt x="198" y="128"/>
                      <a:pt x="198" y="127"/>
                    </a:cubicBezTo>
                    <a:cubicBezTo>
                      <a:pt x="198" y="127"/>
                      <a:pt x="198" y="126"/>
                      <a:pt x="198" y="125"/>
                    </a:cubicBezTo>
                    <a:cubicBezTo>
                      <a:pt x="198" y="122"/>
                      <a:pt x="199" y="119"/>
                      <a:pt x="199" y="117"/>
                    </a:cubicBezTo>
                    <a:cubicBezTo>
                      <a:pt x="201" y="113"/>
                      <a:pt x="201" y="113"/>
                      <a:pt x="201" y="113"/>
                    </a:cubicBezTo>
                    <a:cubicBezTo>
                      <a:pt x="210" y="119"/>
                      <a:pt x="210" y="119"/>
                      <a:pt x="210" y="119"/>
                    </a:cubicBezTo>
                    <a:cubicBezTo>
                      <a:pt x="210" y="119"/>
                      <a:pt x="210" y="119"/>
                      <a:pt x="211" y="119"/>
                    </a:cubicBezTo>
                    <a:cubicBezTo>
                      <a:pt x="212" y="119"/>
                      <a:pt x="212" y="119"/>
                      <a:pt x="213" y="119"/>
                    </a:cubicBezTo>
                    <a:cubicBezTo>
                      <a:pt x="215" y="118"/>
                      <a:pt x="215" y="118"/>
                      <a:pt x="215" y="118"/>
                    </a:cubicBezTo>
                    <a:cubicBezTo>
                      <a:pt x="218" y="118"/>
                      <a:pt x="222" y="117"/>
                      <a:pt x="227" y="115"/>
                    </a:cubicBezTo>
                    <a:cubicBezTo>
                      <a:pt x="228" y="114"/>
                      <a:pt x="228" y="114"/>
                      <a:pt x="228" y="114"/>
                    </a:cubicBezTo>
                    <a:cubicBezTo>
                      <a:pt x="230" y="114"/>
                      <a:pt x="231" y="113"/>
                      <a:pt x="232" y="113"/>
                    </a:cubicBezTo>
                    <a:cubicBezTo>
                      <a:pt x="233" y="113"/>
                      <a:pt x="233" y="113"/>
                      <a:pt x="235" y="114"/>
                    </a:cubicBezTo>
                    <a:cubicBezTo>
                      <a:pt x="239" y="114"/>
                      <a:pt x="239" y="114"/>
                      <a:pt x="239" y="114"/>
                    </a:cubicBezTo>
                    <a:cubicBezTo>
                      <a:pt x="240" y="115"/>
                      <a:pt x="240" y="115"/>
                      <a:pt x="241" y="116"/>
                    </a:cubicBezTo>
                    <a:cubicBezTo>
                      <a:pt x="241" y="116"/>
                      <a:pt x="241" y="116"/>
                      <a:pt x="241" y="116"/>
                    </a:cubicBezTo>
                    <a:cubicBezTo>
                      <a:pt x="241" y="116"/>
                      <a:pt x="241" y="116"/>
                      <a:pt x="241" y="116"/>
                    </a:cubicBezTo>
                    <a:cubicBezTo>
                      <a:pt x="242" y="116"/>
                      <a:pt x="242" y="116"/>
                      <a:pt x="242" y="116"/>
                    </a:cubicBezTo>
                    <a:cubicBezTo>
                      <a:pt x="245" y="117"/>
                      <a:pt x="249" y="118"/>
                      <a:pt x="252" y="118"/>
                    </a:cubicBezTo>
                    <a:cubicBezTo>
                      <a:pt x="253" y="118"/>
                      <a:pt x="253" y="118"/>
                      <a:pt x="254" y="117"/>
                    </a:cubicBezTo>
                    <a:cubicBezTo>
                      <a:pt x="255" y="117"/>
                      <a:pt x="255" y="117"/>
                      <a:pt x="255" y="117"/>
                    </a:cubicBezTo>
                    <a:cubicBezTo>
                      <a:pt x="255" y="118"/>
                      <a:pt x="255" y="118"/>
                      <a:pt x="255" y="118"/>
                    </a:cubicBezTo>
                    <a:cubicBezTo>
                      <a:pt x="255" y="117"/>
                      <a:pt x="255" y="117"/>
                      <a:pt x="255" y="117"/>
                    </a:cubicBezTo>
                    <a:cubicBezTo>
                      <a:pt x="259" y="117"/>
                      <a:pt x="262" y="115"/>
                      <a:pt x="266" y="114"/>
                    </a:cubicBezTo>
                    <a:cubicBezTo>
                      <a:pt x="269" y="113"/>
                      <a:pt x="269" y="113"/>
                      <a:pt x="269" y="113"/>
                    </a:cubicBezTo>
                    <a:cubicBezTo>
                      <a:pt x="270" y="113"/>
                      <a:pt x="270" y="113"/>
                      <a:pt x="271" y="112"/>
                    </a:cubicBezTo>
                    <a:cubicBezTo>
                      <a:pt x="271" y="112"/>
                      <a:pt x="272" y="112"/>
                      <a:pt x="273" y="111"/>
                    </a:cubicBezTo>
                    <a:cubicBezTo>
                      <a:pt x="273" y="111"/>
                      <a:pt x="273" y="111"/>
                      <a:pt x="273" y="111"/>
                    </a:cubicBezTo>
                    <a:cubicBezTo>
                      <a:pt x="276" y="110"/>
                      <a:pt x="279" y="108"/>
                      <a:pt x="282" y="108"/>
                    </a:cubicBezTo>
                    <a:cubicBezTo>
                      <a:pt x="282" y="108"/>
                      <a:pt x="282" y="108"/>
                      <a:pt x="282" y="108"/>
                    </a:cubicBezTo>
                    <a:cubicBezTo>
                      <a:pt x="284" y="108"/>
                      <a:pt x="285" y="108"/>
                      <a:pt x="286" y="108"/>
                    </a:cubicBezTo>
                    <a:cubicBezTo>
                      <a:pt x="292" y="108"/>
                      <a:pt x="297" y="108"/>
                      <a:pt x="302" y="107"/>
                    </a:cubicBezTo>
                    <a:cubicBezTo>
                      <a:pt x="305" y="106"/>
                      <a:pt x="307" y="106"/>
                      <a:pt x="309" y="105"/>
                    </a:cubicBezTo>
                    <a:cubicBezTo>
                      <a:pt x="311" y="105"/>
                      <a:pt x="311" y="105"/>
                      <a:pt x="311" y="105"/>
                    </a:cubicBezTo>
                    <a:cubicBezTo>
                      <a:pt x="312" y="107"/>
                      <a:pt x="312" y="107"/>
                      <a:pt x="312" y="107"/>
                    </a:cubicBezTo>
                    <a:cubicBezTo>
                      <a:pt x="315" y="104"/>
                      <a:pt x="318" y="103"/>
                      <a:pt x="323" y="102"/>
                    </a:cubicBezTo>
                    <a:cubicBezTo>
                      <a:pt x="324" y="103"/>
                      <a:pt x="324" y="103"/>
                      <a:pt x="324" y="103"/>
                    </a:cubicBezTo>
                    <a:cubicBezTo>
                      <a:pt x="324" y="103"/>
                      <a:pt x="325" y="103"/>
                      <a:pt x="325" y="103"/>
                    </a:cubicBezTo>
                    <a:cubicBezTo>
                      <a:pt x="325" y="103"/>
                      <a:pt x="325" y="103"/>
                      <a:pt x="325" y="103"/>
                    </a:cubicBezTo>
                    <a:cubicBezTo>
                      <a:pt x="325" y="103"/>
                      <a:pt x="325" y="103"/>
                      <a:pt x="325" y="103"/>
                    </a:cubicBezTo>
                    <a:cubicBezTo>
                      <a:pt x="326" y="104"/>
                      <a:pt x="326" y="104"/>
                      <a:pt x="326" y="104"/>
                    </a:cubicBezTo>
                    <a:cubicBezTo>
                      <a:pt x="326" y="103"/>
                      <a:pt x="326" y="103"/>
                      <a:pt x="326" y="103"/>
                    </a:cubicBezTo>
                    <a:cubicBezTo>
                      <a:pt x="327" y="103"/>
                      <a:pt x="327" y="103"/>
                      <a:pt x="328" y="103"/>
                    </a:cubicBezTo>
                    <a:cubicBezTo>
                      <a:pt x="331" y="104"/>
                      <a:pt x="331" y="104"/>
                      <a:pt x="331" y="104"/>
                    </a:cubicBezTo>
                    <a:cubicBezTo>
                      <a:pt x="334" y="104"/>
                      <a:pt x="336" y="105"/>
                      <a:pt x="338" y="105"/>
                    </a:cubicBezTo>
                    <a:cubicBezTo>
                      <a:pt x="339" y="105"/>
                      <a:pt x="340" y="105"/>
                      <a:pt x="341" y="104"/>
                    </a:cubicBezTo>
                    <a:cubicBezTo>
                      <a:pt x="342" y="104"/>
                      <a:pt x="343" y="104"/>
                      <a:pt x="343" y="104"/>
                    </a:cubicBezTo>
                    <a:cubicBezTo>
                      <a:pt x="347" y="104"/>
                      <a:pt x="348" y="107"/>
                      <a:pt x="349" y="108"/>
                    </a:cubicBezTo>
                    <a:cubicBezTo>
                      <a:pt x="349" y="109"/>
                      <a:pt x="349" y="109"/>
                      <a:pt x="349" y="109"/>
                    </a:cubicBezTo>
                    <a:cubicBezTo>
                      <a:pt x="349" y="110"/>
                      <a:pt x="349" y="110"/>
                      <a:pt x="349" y="110"/>
                    </a:cubicBezTo>
                    <a:cubicBezTo>
                      <a:pt x="350" y="111"/>
                      <a:pt x="350" y="111"/>
                      <a:pt x="350" y="111"/>
                    </a:cubicBezTo>
                    <a:cubicBezTo>
                      <a:pt x="350" y="110"/>
                      <a:pt x="350" y="110"/>
                      <a:pt x="350" y="110"/>
                    </a:cubicBezTo>
                    <a:cubicBezTo>
                      <a:pt x="351" y="110"/>
                      <a:pt x="352" y="109"/>
                      <a:pt x="353" y="109"/>
                    </a:cubicBezTo>
                    <a:cubicBezTo>
                      <a:pt x="355" y="108"/>
                      <a:pt x="355" y="108"/>
                      <a:pt x="355" y="108"/>
                    </a:cubicBezTo>
                    <a:cubicBezTo>
                      <a:pt x="355" y="108"/>
                      <a:pt x="355" y="108"/>
                      <a:pt x="355" y="108"/>
                    </a:cubicBezTo>
                    <a:cubicBezTo>
                      <a:pt x="355" y="107"/>
                      <a:pt x="355" y="107"/>
                      <a:pt x="355" y="107"/>
                    </a:cubicBezTo>
                    <a:cubicBezTo>
                      <a:pt x="355" y="107"/>
                      <a:pt x="355" y="107"/>
                      <a:pt x="355" y="107"/>
                    </a:cubicBezTo>
                    <a:cubicBezTo>
                      <a:pt x="355" y="107"/>
                      <a:pt x="355" y="107"/>
                      <a:pt x="355" y="107"/>
                    </a:cubicBezTo>
                    <a:cubicBezTo>
                      <a:pt x="354" y="107"/>
                      <a:pt x="354" y="107"/>
                      <a:pt x="354" y="107"/>
                    </a:cubicBezTo>
                    <a:cubicBezTo>
                      <a:pt x="353" y="106"/>
                      <a:pt x="353" y="106"/>
                      <a:pt x="353" y="106"/>
                    </a:cubicBezTo>
                    <a:cubicBezTo>
                      <a:pt x="353" y="105"/>
                      <a:pt x="352" y="105"/>
                      <a:pt x="352" y="105"/>
                    </a:cubicBezTo>
                    <a:cubicBezTo>
                      <a:pt x="351" y="104"/>
                      <a:pt x="351" y="104"/>
                      <a:pt x="351" y="104"/>
                    </a:cubicBezTo>
                    <a:cubicBezTo>
                      <a:pt x="351" y="102"/>
                      <a:pt x="351" y="101"/>
                      <a:pt x="351" y="99"/>
                    </a:cubicBezTo>
                    <a:cubicBezTo>
                      <a:pt x="351" y="99"/>
                      <a:pt x="351" y="99"/>
                      <a:pt x="351" y="99"/>
                    </a:cubicBezTo>
                    <a:cubicBezTo>
                      <a:pt x="351" y="98"/>
                      <a:pt x="351" y="98"/>
                      <a:pt x="351" y="98"/>
                    </a:cubicBezTo>
                    <a:cubicBezTo>
                      <a:pt x="351" y="98"/>
                      <a:pt x="351" y="98"/>
                      <a:pt x="351" y="98"/>
                    </a:cubicBezTo>
                    <a:cubicBezTo>
                      <a:pt x="351" y="98"/>
                      <a:pt x="351" y="98"/>
                      <a:pt x="351" y="98"/>
                    </a:cubicBezTo>
                    <a:cubicBezTo>
                      <a:pt x="351" y="98"/>
                      <a:pt x="350" y="97"/>
                      <a:pt x="350" y="97"/>
                    </a:cubicBezTo>
                    <a:cubicBezTo>
                      <a:pt x="349" y="97"/>
                      <a:pt x="349" y="97"/>
                      <a:pt x="349" y="97"/>
                    </a:cubicBezTo>
                    <a:cubicBezTo>
                      <a:pt x="348" y="96"/>
                      <a:pt x="348" y="96"/>
                      <a:pt x="348" y="96"/>
                    </a:cubicBezTo>
                    <a:cubicBezTo>
                      <a:pt x="348" y="96"/>
                      <a:pt x="348" y="96"/>
                      <a:pt x="347" y="96"/>
                    </a:cubicBezTo>
                    <a:cubicBezTo>
                      <a:pt x="347" y="96"/>
                      <a:pt x="346" y="95"/>
                      <a:pt x="346" y="95"/>
                    </a:cubicBezTo>
                    <a:cubicBezTo>
                      <a:pt x="345" y="95"/>
                      <a:pt x="345" y="95"/>
                      <a:pt x="345" y="95"/>
                    </a:cubicBezTo>
                    <a:cubicBezTo>
                      <a:pt x="345" y="94"/>
                      <a:pt x="344" y="93"/>
                      <a:pt x="344" y="92"/>
                    </a:cubicBezTo>
                    <a:cubicBezTo>
                      <a:pt x="344" y="92"/>
                      <a:pt x="344" y="91"/>
                      <a:pt x="345" y="90"/>
                    </a:cubicBezTo>
                    <a:cubicBezTo>
                      <a:pt x="345" y="90"/>
                      <a:pt x="345" y="89"/>
                      <a:pt x="346" y="88"/>
                    </a:cubicBezTo>
                    <a:cubicBezTo>
                      <a:pt x="346" y="88"/>
                      <a:pt x="347" y="86"/>
                      <a:pt x="348" y="85"/>
                    </a:cubicBezTo>
                    <a:cubicBezTo>
                      <a:pt x="346" y="86"/>
                      <a:pt x="346" y="86"/>
                      <a:pt x="346" y="86"/>
                    </a:cubicBezTo>
                    <a:cubicBezTo>
                      <a:pt x="346" y="82"/>
                      <a:pt x="346" y="82"/>
                      <a:pt x="346" y="82"/>
                    </a:cubicBezTo>
                    <a:cubicBezTo>
                      <a:pt x="346" y="79"/>
                      <a:pt x="346" y="75"/>
                      <a:pt x="346" y="74"/>
                    </a:cubicBezTo>
                    <a:cubicBezTo>
                      <a:pt x="345" y="74"/>
                      <a:pt x="345" y="74"/>
                      <a:pt x="345" y="74"/>
                    </a:cubicBezTo>
                    <a:cubicBezTo>
                      <a:pt x="345" y="73"/>
                      <a:pt x="345" y="73"/>
                      <a:pt x="345" y="73"/>
                    </a:cubicBezTo>
                    <a:cubicBezTo>
                      <a:pt x="344" y="72"/>
                      <a:pt x="343" y="70"/>
                      <a:pt x="342" y="68"/>
                    </a:cubicBezTo>
                    <a:cubicBezTo>
                      <a:pt x="342" y="67"/>
                      <a:pt x="342" y="66"/>
                      <a:pt x="341" y="65"/>
                    </a:cubicBezTo>
                    <a:cubicBezTo>
                      <a:pt x="340" y="61"/>
                      <a:pt x="340" y="61"/>
                      <a:pt x="340" y="61"/>
                    </a:cubicBezTo>
                    <a:cubicBezTo>
                      <a:pt x="343" y="58"/>
                      <a:pt x="343" y="58"/>
                      <a:pt x="343" y="58"/>
                    </a:cubicBezTo>
                    <a:cubicBezTo>
                      <a:pt x="344" y="58"/>
                      <a:pt x="344" y="58"/>
                      <a:pt x="344" y="58"/>
                    </a:cubicBezTo>
                    <a:cubicBezTo>
                      <a:pt x="346" y="58"/>
                      <a:pt x="348" y="58"/>
                      <a:pt x="348" y="58"/>
                    </a:cubicBezTo>
                    <a:cubicBezTo>
                      <a:pt x="348" y="57"/>
                      <a:pt x="349" y="57"/>
                      <a:pt x="348" y="55"/>
                    </a:cubicBezTo>
                    <a:cubicBezTo>
                      <a:pt x="348" y="54"/>
                      <a:pt x="348" y="51"/>
                      <a:pt x="350" y="51"/>
                    </a:cubicBezTo>
                    <a:cubicBezTo>
                      <a:pt x="348" y="49"/>
                      <a:pt x="348" y="49"/>
                      <a:pt x="345" y="48"/>
                    </a:cubicBezTo>
                    <a:cubicBezTo>
                      <a:pt x="344" y="48"/>
                      <a:pt x="343" y="48"/>
                      <a:pt x="342" y="48"/>
                    </a:cubicBezTo>
                    <a:cubicBezTo>
                      <a:pt x="341" y="48"/>
                      <a:pt x="341" y="48"/>
                      <a:pt x="341" y="48"/>
                    </a:cubicBezTo>
                    <a:cubicBezTo>
                      <a:pt x="339" y="48"/>
                      <a:pt x="337" y="47"/>
                      <a:pt x="336" y="47"/>
                    </a:cubicBezTo>
                    <a:cubicBezTo>
                      <a:pt x="335" y="46"/>
                      <a:pt x="335" y="46"/>
                      <a:pt x="335" y="46"/>
                    </a:cubicBezTo>
                    <a:cubicBezTo>
                      <a:pt x="334" y="46"/>
                      <a:pt x="333" y="45"/>
                      <a:pt x="333" y="44"/>
                    </a:cubicBezTo>
                    <a:cubicBezTo>
                      <a:pt x="333" y="43"/>
                      <a:pt x="333" y="42"/>
                      <a:pt x="334" y="41"/>
                    </a:cubicBezTo>
                    <a:cubicBezTo>
                      <a:pt x="334" y="41"/>
                      <a:pt x="334" y="41"/>
                      <a:pt x="334" y="41"/>
                    </a:cubicBezTo>
                    <a:cubicBezTo>
                      <a:pt x="333" y="41"/>
                      <a:pt x="333" y="41"/>
                      <a:pt x="333" y="40"/>
                    </a:cubicBezTo>
                    <a:cubicBezTo>
                      <a:pt x="331" y="37"/>
                      <a:pt x="331" y="36"/>
                      <a:pt x="331" y="36"/>
                    </a:cubicBezTo>
                    <a:cubicBezTo>
                      <a:pt x="331" y="34"/>
                      <a:pt x="332" y="33"/>
                      <a:pt x="333" y="33"/>
                    </a:cubicBezTo>
                    <a:cubicBezTo>
                      <a:pt x="333" y="33"/>
                      <a:pt x="333" y="33"/>
                      <a:pt x="333" y="33"/>
                    </a:cubicBezTo>
                    <a:cubicBezTo>
                      <a:pt x="333" y="33"/>
                      <a:pt x="333" y="33"/>
                      <a:pt x="333" y="33"/>
                    </a:cubicBezTo>
                    <a:cubicBezTo>
                      <a:pt x="334" y="32"/>
                      <a:pt x="334" y="32"/>
                      <a:pt x="334" y="32"/>
                    </a:cubicBezTo>
                    <a:cubicBezTo>
                      <a:pt x="334" y="31"/>
                      <a:pt x="334" y="31"/>
                      <a:pt x="334" y="31"/>
                    </a:cubicBezTo>
                    <a:cubicBezTo>
                      <a:pt x="334" y="30"/>
                      <a:pt x="334" y="30"/>
                      <a:pt x="333" y="29"/>
                    </a:cubicBezTo>
                    <a:cubicBezTo>
                      <a:pt x="333" y="29"/>
                      <a:pt x="333" y="29"/>
                      <a:pt x="333" y="29"/>
                    </a:cubicBezTo>
                    <a:cubicBezTo>
                      <a:pt x="333" y="28"/>
                      <a:pt x="333" y="28"/>
                      <a:pt x="333" y="28"/>
                    </a:cubicBezTo>
                    <a:cubicBezTo>
                      <a:pt x="333" y="27"/>
                      <a:pt x="333" y="27"/>
                      <a:pt x="333" y="27"/>
                    </a:cubicBezTo>
                    <a:cubicBezTo>
                      <a:pt x="333" y="27"/>
                      <a:pt x="333" y="27"/>
                      <a:pt x="333" y="27"/>
                    </a:cubicBezTo>
                    <a:cubicBezTo>
                      <a:pt x="333" y="27"/>
                      <a:pt x="333" y="27"/>
                      <a:pt x="333" y="27"/>
                    </a:cubicBezTo>
                    <a:cubicBezTo>
                      <a:pt x="333" y="26"/>
                      <a:pt x="332" y="25"/>
                      <a:pt x="332" y="25"/>
                    </a:cubicBezTo>
                    <a:cubicBezTo>
                      <a:pt x="327" y="20"/>
                      <a:pt x="327" y="20"/>
                      <a:pt x="327" y="20"/>
                    </a:cubicBezTo>
                    <a:cubicBezTo>
                      <a:pt x="326" y="20"/>
                      <a:pt x="326" y="20"/>
                      <a:pt x="326" y="20"/>
                    </a:cubicBezTo>
                    <a:cubicBezTo>
                      <a:pt x="325" y="19"/>
                      <a:pt x="324" y="19"/>
                      <a:pt x="324" y="18"/>
                    </a:cubicBezTo>
                    <a:cubicBezTo>
                      <a:pt x="323" y="17"/>
                      <a:pt x="323" y="17"/>
                      <a:pt x="323" y="17"/>
                    </a:cubicBezTo>
                    <a:cubicBezTo>
                      <a:pt x="323" y="17"/>
                      <a:pt x="323" y="17"/>
                      <a:pt x="323" y="17"/>
                    </a:cubicBezTo>
                    <a:cubicBezTo>
                      <a:pt x="322" y="17"/>
                      <a:pt x="322" y="17"/>
                      <a:pt x="322" y="16"/>
                    </a:cubicBezTo>
                    <a:cubicBezTo>
                      <a:pt x="321" y="16"/>
                      <a:pt x="321" y="16"/>
                      <a:pt x="321" y="16"/>
                    </a:cubicBezTo>
                    <a:cubicBezTo>
                      <a:pt x="320" y="15"/>
                      <a:pt x="320" y="15"/>
                      <a:pt x="320" y="15"/>
                    </a:cubicBezTo>
                    <a:cubicBezTo>
                      <a:pt x="320" y="14"/>
                      <a:pt x="320" y="14"/>
                      <a:pt x="320" y="14"/>
                    </a:cubicBezTo>
                    <a:cubicBezTo>
                      <a:pt x="319" y="14"/>
                      <a:pt x="318" y="13"/>
                      <a:pt x="317" y="13"/>
                    </a:cubicBezTo>
                    <a:cubicBezTo>
                      <a:pt x="317" y="13"/>
                      <a:pt x="317" y="13"/>
                      <a:pt x="317" y="13"/>
                    </a:cubicBezTo>
                    <a:cubicBezTo>
                      <a:pt x="316" y="13"/>
                      <a:pt x="316" y="13"/>
                      <a:pt x="316" y="14"/>
                    </a:cubicBezTo>
                    <a:cubicBezTo>
                      <a:pt x="315" y="17"/>
                      <a:pt x="315" y="17"/>
                      <a:pt x="315" y="17"/>
                    </a:cubicBezTo>
                    <a:cubicBezTo>
                      <a:pt x="313" y="16"/>
                      <a:pt x="313" y="16"/>
                      <a:pt x="313" y="16"/>
                    </a:cubicBezTo>
                    <a:cubicBezTo>
                      <a:pt x="311" y="16"/>
                      <a:pt x="309" y="16"/>
                      <a:pt x="306" y="15"/>
                    </a:cubicBezTo>
                    <a:cubicBezTo>
                      <a:pt x="304" y="15"/>
                      <a:pt x="304" y="15"/>
                      <a:pt x="304" y="15"/>
                    </a:cubicBezTo>
                    <a:cubicBezTo>
                      <a:pt x="304" y="15"/>
                      <a:pt x="304" y="15"/>
                      <a:pt x="303" y="15"/>
                    </a:cubicBezTo>
                    <a:cubicBezTo>
                      <a:pt x="303" y="15"/>
                      <a:pt x="302" y="15"/>
                      <a:pt x="302" y="15"/>
                    </a:cubicBezTo>
                    <a:cubicBezTo>
                      <a:pt x="301" y="15"/>
                      <a:pt x="301" y="15"/>
                      <a:pt x="301" y="15"/>
                    </a:cubicBezTo>
                    <a:cubicBezTo>
                      <a:pt x="300" y="15"/>
                      <a:pt x="299" y="15"/>
                      <a:pt x="299" y="15"/>
                    </a:cubicBezTo>
                    <a:cubicBezTo>
                      <a:pt x="298" y="15"/>
                      <a:pt x="297" y="15"/>
                      <a:pt x="296" y="15"/>
                    </a:cubicBezTo>
                    <a:cubicBezTo>
                      <a:pt x="297" y="18"/>
                      <a:pt x="297" y="18"/>
                      <a:pt x="297" y="18"/>
                    </a:cubicBezTo>
                    <a:cubicBezTo>
                      <a:pt x="295" y="15"/>
                      <a:pt x="295" y="15"/>
                      <a:pt x="295" y="15"/>
                    </a:cubicBezTo>
                    <a:cubicBezTo>
                      <a:pt x="287" y="18"/>
                      <a:pt x="287" y="18"/>
                      <a:pt x="287" y="18"/>
                    </a:cubicBezTo>
                    <a:cubicBezTo>
                      <a:pt x="286" y="18"/>
                      <a:pt x="285" y="19"/>
                      <a:pt x="284" y="19"/>
                    </a:cubicBezTo>
                    <a:cubicBezTo>
                      <a:pt x="283" y="20"/>
                      <a:pt x="281" y="20"/>
                      <a:pt x="280" y="21"/>
                    </a:cubicBezTo>
                    <a:cubicBezTo>
                      <a:pt x="278" y="23"/>
                      <a:pt x="274" y="24"/>
                      <a:pt x="272" y="25"/>
                    </a:cubicBezTo>
                    <a:cubicBezTo>
                      <a:pt x="270" y="25"/>
                      <a:pt x="269" y="25"/>
                      <a:pt x="268" y="26"/>
                    </a:cubicBezTo>
                    <a:cubicBezTo>
                      <a:pt x="268" y="26"/>
                      <a:pt x="268" y="26"/>
                      <a:pt x="268" y="26"/>
                    </a:cubicBezTo>
                    <a:cubicBezTo>
                      <a:pt x="267" y="26"/>
                      <a:pt x="267" y="25"/>
                      <a:pt x="266" y="25"/>
                    </a:cubicBezTo>
                    <a:cubicBezTo>
                      <a:pt x="266" y="25"/>
                      <a:pt x="266" y="25"/>
                      <a:pt x="265" y="25"/>
                    </a:cubicBezTo>
                    <a:cubicBezTo>
                      <a:pt x="265" y="25"/>
                      <a:pt x="265" y="25"/>
                      <a:pt x="265" y="25"/>
                    </a:cubicBezTo>
                    <a:cubicBezTo>
                      <a:pt x="264" y="25"/>
                      <a:pt x="264" y="25"/>
                      <a:pt x="264" y="25"/>
                    </a:cubicBezTo>
                    <a:cubicBezTo>
                      <a:pt x="261" y="25"/>
                      <a:pt x="258" y="24"/>
                      <a:pt x="256" y="22"/>
                    </a:cubicBezTo>
                    <a:cubicBezTo>
                      <a:pt x="255" y="22"/>
                      <a:pt x="255" y="22"/>
                      <a:pt x="255" y="22"/>
                    </a:cubicBezTo>
                    <a:cubicBezTo>
                      <a:pt x="254" y="22"/>
                      <a:pt x="254" y="22"/>
                      <a:pt x="253" y="23"/>
                    </a:cubicBezTo>
                    <a:cubicBezTo>
                      <a:pt x="252" y="23"/>
                      <a:pt x="252" y="23"/>
                      <a:pt x="251" y="23"/>
                    </a:cubicBezTo>
                    <a:cubicBezTo>
                      <a:pt x="251" y="23"/>
                      <a:pt x="251" y="23"/>
                      <a:pt x="251" y="23"/>
                    </a:cubicBezTo>
                    <a:cubicBezTo>
                      <a:pt x="250" y="23"/>
                      <a:pt x="250" y="23"/>
                      <a:pt x="250" y="23"/>
                    </a:cubicBezTo>
                    <a:cubicBezTo>
                      <a:pt x="249" y="23"/>
                      <a:pt x="249" y="23"/>
                      <a:pt x="249" y="23"/>
                    </a:cubicBezTo>
                    <a:cubicBezTo>
                      <a:pt x="244" y="24"/>
                      <a:pt x="239" y="26"/>
                      <a:pt x="235" y="26"/>
                    </a:cubicBezTo>
                    <a:cubicBezTo>
                      <a:pt x="235" y="26"/>
                      <a:pt x="235" y="26"/>
                      <a:pt x="235" y="26"/>
                    </a:cubicBezTo>
                    <a:cubicBezTo>
                      <a:pt x="230" y="26"/>
                      <a:pt x="225" y="23"/>
                      <a:pt x="220" y="23"/>
                    </a:cubicBezTo>
                    <a:cubicBezTo>
                      <a:pt x="214" y="22"/>
                      <a:pt x="210" y="20"/>
                      <a:pt x="205" y="16"/>
                    </a:cubicBezTo>
                    <a:cubicBezTo>
                      <a:pt x="205" y="16"/>
                      <a:pt x="205" y="16"/>
                      <a:pt x="205" y="16"/>
                    </a:cubicBezTo>
                    <a:cubicBezTo>
                      <a:pt x="203" y="16"/>
                      <a:pt x="199" y="18"/>
                      <a:pt x="198" y="18"/>
                    </a:cubicBezTo>
                    <a:cubicBezTo>
                      <a:pt x="198" y="18"/>
                      <a:pt x="198" y="18"/>
                      <a:pt x="198" y="18"/>
                    </a:cubicBezTo>
                    <a:cubicBezTo>
                      <a:pt x="196" y="18"/>
                      <a:pt x="193" y="15"/>
                      <a:pt x="192" y="13"/>
                    </a:cubicBezTo>
                    <a:cubicBezTo>
                      <a:pt x="191" y="11"/>
                      <a:pt x="192" y="8"/>
                      <a:pt x="189" y="8"/>
                    </a:cubicBezTo>
                    <a:cubicBezTo>
                      <a:pt x="188" y="8"/>
                      <a:pt x="188" y="8"/>
                      <a:pt x="187" y="8"/>
                    </a:cubicBezTo>
                    <a:cubicBezTo>
                      <a:pt x="185" y="9"/>
                      <a:pt x="183" y="10"/>
                      <a:pt x="181" y="10"/>
                    </a:cubicBezTo>
                    <a:cubicBezTo>
                      <a:pt x="181" y="10"/>
                      <a:pt x="180" y="9"/>
                      <a:pt x="180" y="9"/>
                    </a:cubicBezTo>
                    <a:cubicBezTo>
                      <a:pt x="177" y="9"/>
                      <a:pt x="175" y="6"/>
                      <a:pt x="173" y="4"/>
                    </a:cubicBezTo>
                    <a:cubicBezTo>
                      <a:pt x="172" y="3"/>
                      <a:pt x="172" y="1"/>
                      <a:pt x="174" y="1"/>
                    </a:cubicBezTo>
                    <a:cubicBezTo>
                      <a:pt x="174" y="1"/>
                      <a:pt x="174" y="1"/>
                      <a:pt x="174" y="1"/>
                    </a:cubicBezTo>
                    <a:cubicBezTo>
                      <a:pt x="174" y="0"/>
                      <a:pt x="173" y="0"/>
                      <a:pt x="1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 name="Freeform 367">
                <a:extLst>
                  <a:ext uri="{FF2B5EF4-FFF2-40B4-BE49-F238E27FC236}">
                    <a16:creationId xmlns:a16="http://schemas.microsoft.com/office/drawing/2014/main" id="{D2FD70DD-4E01-4264-81AF-19B3622EF911}"/>
                  </a:ext>
                </a:extLst>
              </p:cNvPr>
              <p:cNvSpPr>
                <a:spLocks/>
              </p:cNvSpPr>
              <p:nvPr/>
            </p:nvSpPr>
            <p:spPr bwMode="auto">
              <a:xfrm>
                <a:off x="4097" y="1694"/>
                <a:ext cx="60" cy="66"/>
              </a:xfrm>
              <a:custGeom>
                <a:avLst/>
                <a:gdLst>
                  <a:gd name="T0" fmla="*/ 15 w 25"/>
                  <a:gd name="T1" fmla="*/ 0 h 28"/>
                  <a:gd name="T2" fmla="*/ 13 w 25"/>
                  <a:gd name="T3" fmla="*/ 1 h 28"/>
                  <a:gd name="T4" fmla="*/ 10 w 25"/>
                  <a:gd name="T5" fmla="*/ 4 h 28"/>
                  <a:gd name="T6" fmla="*/ 7 w 25"/>
                  <a:gd name="T7" fmla="*/ 13 h 28"/>
                  <a:gd name="T8" fmla="*/ 5 w 25"/>
                  <a:gd name="T9" fmla="*/ 16 h 28"/>
                  <a:gd name="T10" fmla="*/ 3 w 25"/>
                  <a:gd name="T11" fmla="*/ 21 h 28"/>
                  <a:gd name="T12" fmla="*/ 0 w 25"/>
                  <a:gd name="T13" fmla="*/ 28 h 28"/>
                  <a:gd name="T14" fmla="*/ 1 w 25"/>
                  <a:gd name="T15" fmla="*/ 28 h 28"/>
                  <a:gd name="T16" fmla="*/ 3 w 25"/>
                  <a:gd name="T17" fmla="*/ 28 h 28"/>
                  <a:gd name="T18" fmla="*/ 6 w 25"/>
                  <a:gd name="T19" fmla="*/ 26 h 28"/>
                  <a:gd name="T20" fmla="*/ 7 w 25"/>
                  <a:gd name="T21" fmla="*/ 25 h 28"/>
                  <a:gd name="T22" fmla="*/ 8 w 25"/>
                  <a:gd name="T23" fmla="*/ 24 h 28"/>
                  <a:gd name="T24" fmla="*/ 10 w 25"/>
                  <a:gd name="T25" fmla="*/ 23 h 28"/>
                  <a:gd name="T26" fmla="*/ 10 w 25"/>
                  <a:gd name="T27" fmla="*/ 23 h 28"/>
                  <a:gd name="T28" fmla="*/ 11 w 25"/>
                  <a:gd name="T29" fmla="*/ 22 h 28"/>
                  <a:gd name="T30" fmla="*/ 13 w 25"/>
                  <a:gd name="T31" fmla="*/ 20 h 28"/>
                  <a:gd name="T32" fmla="*/ 13 w 25"/>
                  <a:gd name="T33" fmla="*/ 20 h 28"/>
                  <a:gd name="T34" fmla="*/ 13 w 25"/>
                  <a:gd name="T35" fmla="*/ 18 h 28"/>
                  <a:gd name="T36" fmla="*/ 16 w 25"/>
                  <a:gd name="T37" fmla="*/ 13 h 28"/>
                  <a:gd name="T38" fmla="*/ 19 w 25"/>
                  <a:gd name="T39" fmla="*/ 12 h 28"/>
                  <a:gd name="T40" fmla="*/ 24 w 25"/>
                  <a:gd name="T41" fmla="*/ 6 h 28"/>
                  <a:gd name="T42" fmla="*/ 25 w 25"/>
                  <a:gd name="T43" fmla="*/ 6 h 28"/>
                  <a:gd name="T44" fmla="*/ 24 w 25"/>
                  <a:gd name="T45" fmla="*/ 6 h 28"/>
                  <a:gd name="T46" fmla="*/ 24 w 25"/>
                  <a:gd name="T47" fmla="*/ 4 h 28"/>
                  <a:gd name="T48" fmla="*/ 22 w 25"/>
                  <a:gd name="T49" fmla="*/ 3 h 28"/>
                  <a:gd name="T50" fmla="*/ 19 w 25"/>
                  <a:gd name="T51" fmla="*/ 2 h 28"/>
                  <a:gd name="T52" fmla="*/ 20 w 25"/>
                  <a:gd name="T53" fmla="*/ 0 h 28"/>
                  <a:gd name="T54" fmla="*/ 18 w 25"/>
                  <a:gd name="T55" fmla="*/ 0 h 28"/>
                  <a:gd name="T56" fmla="*/ 15 w 25"/>
                  <a:gd name="T5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8">
                    <a:moveTo>
                      <a:pt x="15" y="0"/>
                    </a:moveTo>
                    <a:cubicBezTo>
                      <a:pt x="14" y="0"/>
                      <a:pt x="14" y="0"/>
                      <a:pt x="13" y="1"/>
                    </a:cubicBezTo>
                    <a:cubicBezTo>
                      <a:pt x="12" y="2"/>
                      <a:pt x="11" y="3"/>
                      <a:pt x="10" y="4"/>
                    </a:cubicBezTo>
                    <a:cubicBezTo>
                      <a:pt x="8" y="7"/>
                      <a:pt x="9" y="10"/>
                      <a:pt x="7" y="13"/>
                    </a:cubicBezTo>
                    <a:cubicBezTo>
                      <a:pt x="6" y="15"/>
                      <a:pt x="6" y="15"/>
                      <a:pt x="5" y="16"/>
                    </a:cubicBezTo>
                    <a:cubicBezTo>
                      <a:pt x="4" y="18"/>
                      <a:pt x="4" y="19"/>
                      <a:pt x="3" y="21"/>
                    </a:cubicBezTo>
                    <a:cubicBezTo>
                      <a:pt x="2" y="23"/>
                      <a:pt x="1" y="25"/>
                      <a:pt x="0" y="28"/>
                    </a:cubicBezTo>
                    <a:cubicBezTo>
                      <a:pt x="1" y="28"/>
                      <a:pt x="1" y="28"/>
                      <a:pt x="1" y="28"/>
                    </a:cubicBezTo>
                    <a:cubicBezTo>
                      <a:pt x="2" y="28"/>
                      <a:pt x="3" y="28"/>
                      <a:pt x="3" y="28"/>
                    </a:cubicBezTo>
                    <a:cubicBezTo>
                      <a:pt x="5" y="28"/>
                      <a:pt x="5" y="28"/>
                      <a:pt x="6" y="26"/>
                    </a:cubicBezTo>
                    <a:cubicBezTo>
                      <a:pt x="7" y="25"/>
                      <a:pt x="7" y="25"/>
                      <a:pt x="7" y="25"/>
                    </a:cubicBezTo>
                    <a:cubicBezTo>
                      <a:pt x="8" y="24"/>
                      <a:pt x="8" y="24"/>
                      <a:pt x="8" y="24"/>
                    </a:cubicBezTo>
                    <a:cubicBezTo>
                      <a:pt x="10" y="23"/>
                      <a:pt x="10" y="23"/>
                      <a:pt x="10" y="23"/>
                    </a:cubicBezTo>
                    <a:cubicBezTo>
                      <a:pt x="10" y="23"/>
                      <a:pt x="10" y="23"/>
                      <a:pt x="10" y="23"/>
                    </a:cubicBezTo>
                    <a:cubicBezTo>
                      <a:pt x="11" y="22"/>
                      <a:pt x="11" y="22"/>
                      <a:pt x="11" y="22"/>
                    </a:cubicBezTo>
                    <a:cubicBezTo>
                      <a:pt x="12" y="21"/>
                      <a:pt x="13" y="21"/>
                      <a:pt x="13" y="20"/>
                    </a:cubicBezTo>
                    <a:cubicBezTo>
                      <a:pt x="13" y="20"/>
                      <a:pt x="13" y="20"/>
                      <a:pt x="13" y="20"/>
                    </a:cubicBezTo>
                    <a:cubicBezTo>
                      <a:pt x="13" y="19"/>
                      <a:pt x="13" y="19"/>
                      <a:pt x="13" y="18"/>
                    </a:cubicBezTo>
                    <a:cubicBezTo>
                      <a:pt x="12" y="16"/>
                      <a:pt x="14" y="14"/>
                      <a:pt x="16" y="13"/>
                    </a:cubicBezTo>
                    <a:cubicBezTo>
                      <a:pt x="17" y="12"/>
                      <a:pt x="18" y="12"/>
                      <a:pt x="19" y="12"/>
                    </a:cubicBezTo>
                    <a:cubicBezTo>
                      <a:pt x="20" y="10"/>
                      <a:pt x="22" y="8"/>
                      <a:pt x="24" y="6"/>
                    </a:cubicBezTo>
                    <a:cubicBezTo>
                      <a:pt x="25" y="6"/>
                      <a:pt x="25" y="6"/>
                      <a:pt x="25" y="6"/>
                    </a:cubicBezTo>
                    <a:cubicBezTo>
                      <a:pt x="24" y="6"/>
                      <a:pt x="24" y="6"/>
                      <a:pt x="24" y="6"/>
                    </a:cubicBezTo>
                    <a:cubicBezTo>
                      <a:pt x="24" y="5"/>
                      <a:pt x="24" y="5"/>
                      <a:pt x="24" y="4"/>
                    </a:cubicBezTo>
                    <a:cubicBezTo>
                      <a:pt x="23" y="3"/>
                      <a:pt x="23" y="3"/>
                      <a:pt x="22" y="3"/>
                    </a:cubicBezTo>
                    <a:cubicBezTo>
                      <a:pt x="19" y="2"/>
                      <a:pt x="19" y="2"/>
                      <a:pt x="19" y="2"/>
                    </a:cubicBezTo>
                    <a:cubicBezTo>
                      <a:pt x="20" y="0"/>
                      <a:pt x="20" y="0"/>
                      <a:pt x="20" y="0"/>
                    </a:cubicBezTo>
                    <a:cubicBezTo>
                      <a:pt x="19" y="0"/>
                      <a:pt x="18" y="0"/>
                      <a:pt x="18" y="0"/>
                    </a:cubicBezTo>
                    <a:cubicBezTo>
                      <a:pt x="17" y="0"/>
                      <a:pt x="16"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 name="Freeform 368">
                <a:extLst>
                  <a:ext uri="{FF2B5EF4-FFF2-40B4-BE49-F238E27FC236}">
                    <a16:creationId xmlns:a16="http://schemas.microsoft.com/office/drawing/2014/main" id="{6CF3BCF0-857F-450B-9B2F-C91BC1956517}"/>
                  </a:ext>
                </a:extLst>
              </p:cNvPr>
              <p:cNvSpPr>
                <a:spLocks/>
              </p:cNvSpPr>
              <p:nvPr/>
            </p:nvSpPr>
            <p:spPr bwMode="auto">
              <a:xfrm>
                <a:off x="4549" y="1314"/>
                <a:ext cx="234" cy="175"/>
              </a:xfrm>
              <a:custGeom>
                <a:avLst/>
                <a:gdLst>
                  <a:gd name="T0" fmla="*/ 22 w 99"/>
                  <a:gd name="T1" fmla="*/ 3 h 74"/>
                  <a:gd name="T2" fmla="*/ 27 w 99"/>
                  <a:gd name="T3" fmla="*/ 7 h 74"/>
                  <a:gd name="T4" fmla="*/ 29 w 99"/>
                  <a:gd name="T5" fmla="*/ 15 h 74"/>
                  <a:gd name="T6" fmla="*/ 29 w 99"/>
                  <a:gd name="T7" fmla="*/ 18 h 74"/>
                  <a:gd name="T8" fmla="*/ 22 w 99"/>
                  <a:gd name="T9" fmla="*/ 17 h 74"/>
                  <a:gd name="T10" fmla="*/ 9 w 99"/>
                  <a:gd name="T11" fmla="*/ 14 h 74"/>
                  <a:gd name="T12" fmla="*/ 2 w 99"/>
                  <a:gd name="T13" fmla="*/ 10 h 74"/>
                  <a:gd name="T14" fmla="*/ 1 w 99"/>
                  <a:gd name="T15" fmla="*/ 11 h 74"/>
                  <a:gd name="T16" fmla="*/ 1 w 99"/>
                  <a:gd name="T17" fmla="*/ 12 h 74"/>
                  <a:gd name="T18" fmla="*/ 2 w 99"/>
                  <a:gd name="T19" fmla="*/ 13 h 74"/>
                  <a:gd name="T20" fmla="*/ 2 w 99"/>
                  <a:gd name="T21" fmla="*/ 14 h 74"/>
                  <a:gd name="T22" fmla="*/ 5 w 99"/>
                  <a:gd name="T23" fmla="*/ 16 h 74"/>
                  <a:gd name="T24" fmla="*/ 9 w 99"/>
                  <a:gd name="T25" fmla="*/ 24 h 74"/>
                  <a:gd name="T26" fmla="*/ 7 w 99"/>
                  <a:gd name="T27" fmla="*/ 26 h 74"/>
                  <a:gd name="T28" fmla="*/ 6 w 99"/>
                  <a:gd name="T29" fmla="*/ 26 h 74"/>
                  <a:gd name="T30" fmla="*/ 10 w 99"/>
                  <a:gd name="T31" fmla="*/ 29 h 74"/>
                  <a:gd name="T32" fmla="*/ 14 w 99"/>
                  <a:gd name="T33" fmla="*/ 32 h 74"/>
                  <a:gd name="T34" fmla="*/ 16 w 99"/>
                  <a:gd name="T35" fmla="*/ 38 h 74"/>
                  <a:gd name="T36" fmla="*/ 26 w 99"/>
                  <a:gd name="T37" fmla="*/ 50 h 74"/>
                  <a:gd name="T38" fmla="*/ 26 w 99"/>
                  <a:gd name="T39" fmla="*/ 54 h 74"/>
                  <a:gd name="T40" fmla="*/ 28 w 99"/>
                  <a:gd name="T41" fmla="*/ 56 h 74"/>
                  <a:gd name="T42" fmla="*/ 34 w 99"/>
                  <a:gd name="T43" fmla="*/ 55 h 74"/>
                  <a:gd name="T44" fmla="*/ 45 w 99"/>
                  <a:gd name="T45" fmla="*/ 48 h 74"/>
                  <a:gd name="T46" fmla="*/ 52 w 99"/>
                  <a:gd name="T47" fmla="*/ 45 h 74"/>
                  <a:gd name="T48" fmla="*/ 58 w 99"/>
                  <a:gd name="T49" fmla="*/ 50 h 74"/>
                  <a:gd name="T50" fmla="*/ 61 w 99"/>
                  <a:gd name="T51" fmla="*/ 54 h 74"/>
                  <a:gd name="T52" fmla="*/ 59 w 99"/>
                  <a:gd name="T53" fmla="*/ 58 h 74"/>
                  <a:gd name="T54" fmla="*/ 61 w 99"/>
                  <a:gd name="T55" fmla="*/ 60 h 74"/>
                  <a:gd name="T56" fmla="*/ 57 w 99"/>
                  <a:gd name="T57" fmla="*/ 66 h 74"/>
                  <a:gd name="T58" fmla="*/ 60 w 99"/>
                  <a:gd name="T59" fmla="*/ 68 h 74"/>
                  <a:gd name="T60" fmla="*/ 62 w 99"/>
                  <a:gd name="T61" fmla="*/ 70 h 74"/>
                  <a:gd name="T62" fmla="*/ 65 w 99"/>
                  <a:gd name="T63" fmla="*/ 73 h 74"/>
                  <a:gd name="T64" fmla="*/ 66 w 99"/>
                  <a:gd name="T65" fmla="*/ 74 h 74"/>
                  <a:gd name="T66" fmla="*/ 70 w 99"/>
                  <a:gd name="T67" fmla="*/ 73 h 74"/>
                  <a:gd name="T68" fmla="*/ 73 w 99"/>
                  <a:gd name="T69" fmla="*/ 59 h 74"/>
                  <a:gd name="T70" fmla="*/ 75 w 99"/>
                  <a:gd name="T71" fmla="*/ 63 h 74"/>
                  <a:gd name="T72" fmla="*/ 78 w 99"/>
                  <a:gd name="T73" fmla="*/ 55 h 74"/>
                  <a:gd name="T74" fmla="*/ 79 w 99"/>
                  <a:gd name="T75" fmla="*/ 56 h 74"/>
                  <a:gd name="T76" fmla="*/ 79 w 99"/>
                  <a:gd name="T77" fmla="*/ 54 h 74"/>
                  <a:gd name="T78" fmla="*/ 80 w 99"/>
                  <a:gd name="T79" fmla="*/ 44 h 74"/>
                  <a:gd name="T80" fmla="*/ 91 w 99"/>
                  <a:gd name="T81" fmla="*/ 33 h 74"/>
                  <a:gd name="T82" fmla="*/ 99 w 99"/>
                  <a:gd name="T83" fmla="*/ 35 h 74"/>
                  <a:gd name="T84" fmla="*/ 92 w 99"/>
                  <a:gd name="T85" fmla="*/ 28 h 74"/>
                  <a:gd name="T86" fmla="*/ 90 w 99"/>
                  <a:gd name="T87" fmla="*/ 27 h 74"/>
                  <a:gd name="T88" fmla="*/ 88 w 99"/>
                  <a:gd name="T89" fmla="*/ 28 h 74"/>
                  <a:gd name="T90" fmla="*/ 74 w 99"/>
                  <a:gd name="T91" fmla="*/ 11 h 74"/>
                  <a:gd name="T92" fmla="*/ 60 w 99"/>
                  <a:gd name="T93" fmla="*/ 6 h 74"/>
                  <a:gd name="T94" fmla="*/ 59 w 99"/>
                  <a:gd name="T95" fmla="*/ 7 h 74"/>
                  <a:gd name="T96" fmla="*/ 55 w 99"/>
                  <a:gd name="T97" fmla="*/ 11 h 74"/>
                  <a:gd name="T98" fmla="*/ 45 w 99"/>
                  <a:gd name="T99" fmla="*/ 15 h 74"/>
                  <a:gd name="T100" fmla="*/ 35 w 99"/>
                  <a:gd name="T101" fmla="*/ 8 h 74"/>
                  <a:gd name="T102" fmla="*/ 28 w 99"/>
                  <a:gd name="T103" fmla="*/ 0 h 74"/>
                  <a:gd name="T104" fmla="*/ 25 w 99"/>
                  <a:gd name="T10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74">
                    <a:moveTo>
                      <a:pt x="25" y="0"/>
                    </a:moveTo>
                    <a:cubicBezTo>
                      <a:pt x="22" y="3"/>
                      <a:pt x="22" y="3"/>
                      <a:pt x="22" y="3"/>
                    </a:cubicBezTo>
                    <a:cubicBezTo>
                      <a:pt x="23" y="4"/>
                      <a:pt x="24" y="4"/>
                      <a:pt x="24" y="5"/>
                    </a:cubicBezTo>
                    <a:cubicBezTo>
                      <a:pt x="25" y="6"/>
                      <a:pt x="26" y="6"/>
                      <a:pt x="27" y="7"/>
                    </a:cubicBezTo>
                    <a:cubicBezTo>
                      <a:pt x="30" y="9"/>
                      <a:pt x="30" y="12"/>
                      <a:pt x="29" y="14"/>
                    </a:cubicBezTo>
                    <a:cubicBezTo>
                      <a:pt x="29" y="15"/>
                      <a:pt x="29" y="15"/>
                      <a:pt x="29" y="15"/>
                    </a:cubicBezTo>
                    <a:cubicBezTo>
                      <a:pt x="29" y="15"/>
                      <a:pt x="29" y="15"/>
                      <a:pt x="29" y="16"/>
                    </a:cubicBezTo>
                    <a:cubicBezTo>
                      <a:pt x="29" y="18"/>
                      <a:pt x="29" y="18"/>
                      <a:pt x="29" y="18"/>
                    </a:cubicBezTo>
                    <a:cubicBezTo>
                      <a:pt x="26" y="18"/>
                      <a:pt x="26" y="18"/>
                      <a:pt x="26" y="18"/>
                    </a:cubicBezTo>
                    <a:cubicBezTo>
                      <a:pt x="25" y="18"/>
                      <a:pt x="24" y="18"/>
                      <a:pt x="22" y="17"/>
                    </a:cubicBezTo>
                    <a:cubicBezTo>
                      <a:pt x="19" y="17"/>
                      <a:pt x="15" y="16"/>
                      <a:pt x="12" y="15"/>
                    </a:cubicBezTo>
                    <a:cubicBezTo>
                      <a:pt x="11" y="15"/>
                      <a:pt x="10" y="15"/>
                      <a:pt x="9" y="14"/>
                    </a:cubicBezTo>
                    <a:cubicBezTo>
                      <a:pt x="8" y="14"/>
                      <a:pt x="7" y="13"/>
                      <a:pt x="6" y="12"/>
                    </a:cubicBezTo>
                    <a:cubicBezTo>
                      <a:pt x="5" y="11"/>
                      <a:pt x="4" y="11"/>
                      <a:pt x="2" y="10"/>
                    </a:cubicBezTo>
                    <a:cubicBezTo>
                      <a:pt x="2" y="10"/>
                      <a:pt x="2" y="10"/>
                      <a:pt x="2" y="10"/>
                    </a:cubicBezTo>
                    <a:cubicBezTo>
                      <a:pt x="1" y="11"/>
                      <a:pt x="1" y="11"/>
                      <a:pt x="1" y="11"/>
                    </a:cubicBezTo>
                    <a:cubicBezTo>
                      <a:pt x="0" y="11"/>
                      <a:pt x="0" y="11"/>
                      <a:pt x="0" y="11"/>
                    </a:cubicBezTo>
                    <a:cubicBezTo>
                      <a:pt x="1" y="12"/>
                      <a:pt x="1" y="12"/>
                      <a:pt x="1" y="12"/>
                    </a:cubicBezTo>
                    <a:cubicBezTo>
                      <a:pt x="1" y="12"/>
                      <a:pt x="1" y="12"/>
                      <a:pt x="1" y="12"/>
                    </a:cubicBezTo>
                    <a:cubicBezTo>
                      <a:pt x="2" y="13"/>
                      <a:pt x="2" y="13"/>
                      <a:pt x="2" y="13"/>
                    </a:cubicBezTo>
                    <a:cubicBezTo>
                      <a:pt x="2" y="13"/>
                      <a:pt x="2" y="13"/>
                      <a:pt x="2" y="13"/>
                    </a:cubicBezTo>
                    <a:cubicBezTo>
                      <a:pt x="2" y="14"/>
                      <a:pt x="2" y="14"/>
                      <a:pt x="2" y="14"/>
                    </a:cubicBezTo>
                    <a:cubicBezTo>
                      <a:pt x="2" y="14"/>
                      <a:pt x="2" y="15"/>
                      <a:pt x="2" y="15"/>
                    </a:cubicBezTo>
                    <a:cubicBezTo>
                      <a:pt x="3" y="15"/>
                      <a:pt x="4" y="16"/>
                      <a:pt x="5" y="16"/>
                    </a:cubicBezTo>
                    <a:cubicBezTo>
                      <a:pt x="7" y="17"/>
                      <a:pt x="9" y="18"/>
                      <a:pt x="9" y="20"/>
                    </a:cubicBezTo>
                    <a:cubicBezTo>
                      <a:pt x="11" y="22"/>
                      <a:pt x="10" y="23"/>
                      <a:pt x="9" y="24"/>
                    </a:cubicBezTo>
                    <a:cubicBezTo>
                      <a:pt x="9" y="25"/>
                      <a:pt x="8" y="25"/>
                      <a:pt x="7" y="25"/>
                    </a:cubicBezTo>
                    <a:cubicBezTo>
                      <a:pt x="7" y="26"/>
                      <a:pt x="7" y="26"/>
                      <a:pt x="7" y="26"/>
                    </a:cubicBezTo>
                    <a:cubicBezTo>
                      <a:pt x="6" y="26"/>
                      <a:pt x="6" y="26"/>
                      <a:pt x="6" y="26"/>
                    </a:cubicBezTo>
                    <a:cubicBezTo>
                      <a:pt x="6" y="26"/>
                      <a:pt x="6" y="26"/>
                      <a:pt x="6" y="26"/>
                    </a:cubicBezTo>
                    <a:cubicBezTo>
                      <a:pt x="7" y="27"/>
                      <a:pt x="7" y="27"/>
                      <a:pt x="9" y="28"/>
                    </a:cubicBezTo>
                    <a:cubicBezTo>
                      <a:pt x="9" y="28"/>
                      <a:pt x="10" y="29"/>
                      <a:pt x="10" y="29"/>
                    </a:cubicBezTo>
                    <a:cubicBezTo>
                      <a:pt x="12" y="31"/>
                      <a:pt x="12" y="31"/>
                      <a:pt x="12" y="31"/>
                    </a:cubicBezTo>
                    <a:cubicBezTo>
                      <a:pt x="13" y="31"/>
                      <a:pt x="13" y="32"/>
                      <a:pt x="14" y="32"/>
                    </a:cubicBezTo>
                    <a:cubicBezTo>
                      <a:pt x="16" y="34"/>
                      <a:pt x="16" y="36"/>
                      <a:pt x="16" y="38"/>
                    </a:cubicBezTo>
                    <a:cubicBezTo>
                      <a:pt x="16" y="38"/>
                      <a:pt x="16" y="38"/>
                      <a:pt x="16" y="38"/>
                    </a:cubicBezTo>
                    <a:cubicBezTo>
                      <a:pt x="16" y="40"/>
                      <a:pt x="15" y="41"/>
                      <a:pt x="13" y="42"/>
                    </a:cubicBezTo>
                    <a:cubicBezTo>
                      <a:pt x="17" y="45"/>
                      <a:pt x="22" y="48"/>
                      <a:pt x="26" y="50"/>
                    </a:cubicBezTo>
                    <a:cubicBezTo>
                      <a:pt x="29" y="52"/>
                      <a:pt x="29" y="52"/>
                      <a:pt x="29" y="52"/>
                    </a:cubicBezTo>
                    <a:cubicBezTo>
                      <a:pt x="26" y="54"/>
                      <a:pt x="26" y="54"/>
                      <a:pt x="26" y="54"/>
                    </a:cubicBezTo>
                    <a:cubicBezTo>
                      <a:pt x="26" y="54"/>
                      <a:pt x="26" y="54"/>
                      <a:pt x="26" y="54"/>
                    </a:cubicBezTo>
                    <a:cubicBezTo>
                      <a:pt x="27" y="55"/>
                      <a:pt x="27" y="55"/>
                      <a:pt x="28" y="56"/>
                    </a:cubicBezTo>
                    <a:cubicBezTo>
                      <a:pt x="30" y="58"/>
                      <a:pt x="30" y="58"/>
                      <a:pt x="30" y="58"/>
                    </a:cubicBezTo>
                    <a:cubicBezTo>
                      <a:pt x="31" y="57"/>
                      <a:pt x="33" y="56"/>
                      <a:pt x="34" y="55"/>
                    </a:cubicBezTo>
                    <a:cubicBezTo>
                      <a:pt x="35" y="54"/>
                      <a:pt x="37" y="53"/>
                      <a:pt x="38" y="53"/>
                    </a:cubicBezTo>
                    <a:cubicBezTo>
                      <a:pt x="40" y="51"/>
                      <a:pt x="43" y="49"/>
                      <a:pt x="45" y="48"/>
                    </a:cubicBezTo>
                    <a:cubicBezTo>
                      <a:pt x="46" y="47"/>
                      <a:pt x="46" y="47"/>
                      <a:pt x="46" y="47"/>
                    </a:cubicBezTo>
                    <a:cubicBezTo>
                      <a:pt x="49" y="46"/>
                      <a:pt x="51" y="45"/>
                      <a:pt x="52" y="45"/>
                    </a:cubicBezTo>
                    <a:cubicBezTo>
                      <a:pt x="53" y="45"/>
                      <a:pt x="53" y="45"/>
                      <a:pt x="54" y="45"/>
                    </a:cubicBezTo>
                    <a:cubicBezTo>
                      <a:pt x="55" y="45"/>
                      <a:pt x="56" y="47"/>
                      <a:pt x="58" y="50"/>
                    </a:cubicBezTo>
                    <a:cubicBezTo>
                      <a:pt x="59" y="51"/>
                      <a:pt x="59" y="51"/>
                      <a:pt x="59" y="51"/>
                    </a:cubicBezTo>
                    <a:cubicBezTo>
                      <a:pt x="60" y="52"/>
                      <a:pt x="61" y="53"/>
                      <a:pt x="61" y="54"/>
                    </a:cubicBezTo>
                    <a:cubicBezTo>
                      <a:pt x="61" y="56"/>
                      <a:pt x="60" y="57"/>
                      <a:pt x="60" y="58"/>
                    </a:cubicBezTo>
                    <a:cubicBezTo>
                      <a:pt x="59" y="58"/>
                      <a:pt x="59" y="58"/>
                      <a:pt x="59" y="58"/>
                    </a:cubicBezTo>
                    <a:cubicBezTo>
                      <a:pt x="60" y="59"/>
                      <a:pt x="60" y="59"/>
                      <a:pt x="60" y="59"/>
                    </a:cubicBezTo>
                    <a:cubicBezTo>
                      <a:pt x="60" y="59"/>
                      <a:pt x="60" y="59"/>
                      <a:pt x="61" y="60"/>
                    </a:cubicBezTo>
                    <a:cubicBezTo>
                      <a:pt x="63" y="62"/>
                      <a:pt x="63" y="62"/>
                      <a:pt x="63" y="62"/>
                    </a:cubicBezTo>
                    <a:cubicBezTo>
                      <a:pt x="57" y="66"/>
                      <a:pt x="57" y="66"/>
                      <a:pt x="57" y="66"/>
                    </a:cubicBezTo>
                    <a:cubicBezTo>
                      <a:pt x="59" y="67"/>
                      <a:pt x="59" y="67"/>
                      <a:pt x="59" y="67"/>
                    </a:cubicBezTo>
                    <a:cubicBezTo>
                      <a:pt x="59" y="67"/>
                      <a:pt x="60" y="68"/>
                      <a:pt x="60" y="68"/>
                    </a:cubicBezTo>
                    <a:cubicBezTo>
                      <a:pt x="60" y="69"/>
                      <a:pt x="60" y="69"/>
                      <a:pt x="60" y="69"/>
                    </a:cubicBezTo>
                    <a:cubicBezTo>
                      <a:pt x="61" y="69"/>
                      <a:pt x="61" y="70"/>
                      <a:pt x="62" y="70"/>
                    </a:cubicBezTo>
                    <a:cubicBezTo>
                      <a:pt x="62" y="70"/>
                      <a:pt x="63" y="70"/>
                      <a:pt x="64" y="71"/>
                    </a:cubicBezTo>
                    <a:cubicBezTo>
                      <a:pt x="65" y="72"/>
                      <a:pt x="65" y="73"/>
                      <a:pt x="65" y="73"/>
                    </a:cubicBezTo>
                    <a:cubicBezTo>
                      <a:pt x="66" y="73"/>
                      <a:pt x="66" y="73"/>
                      <a:pt x="66" y="73"/>
                    </a:cubicBezTo>
                    <a:cubicBezTo>
                      <a:pt x="66" y="74"/>
                      <a:pt x="66" y="74"/>
                      <a:pt x="66" y="74"/>
                    </a:cubicBezTo>
                    <a:cubicBezTo>
                      <a:pt x="66" y="74"/>
                      <a:pt x="68" y="73"/>
                      <a:pt x="69" y="73"/>
                    </a:cubicBezTo>
                    <a:cubicBezTo>
                      <a:pt x="70" y="73"/>
                      <a:pt x="70" y="73"/>
                      <a:pt x="70" y="73"/>
                    </a:cubicBezTo>
                    <a:cubicBezTo>
                      <a:pt x="70" y="70"/>
                      <a:pt x="70" y="68"/>
                      <a:pt x="71" y="66"/>
                    </a:cubicBezTo>
                    <a:cubicBezTo>
                      <a:pt x="71" y="64"/>
                      <a:pt x="70" y="59"/>
                      <a:pt x="73" y="59"/>
                    </a:cubicBezTo>
                    <a:cubicBezTo>
                      <a:pt x="73" y="59"/>
                      <a:pt x="73" y="59"/>
                      <a:pt x="73" y="59"/>
                    </a:cubicBezTo>
                    <a:cubicBezTo>
                      <a:pt x="74" y="59"/>
                      <a:pt x="75" y="63"/>
                      <a:pt x="75" y="63"/>
                    </a:cubicBezTo>
                    <a:cubicBezTo>
                      <a:pt x="76" y="61"/>
                      <a:pt x="76" y="56"/>
                      <a:pt x="78" y="55"/>
                    </a:cubicBezTo>
                    <a:cubicBezTo>
                      <a:pt x="78" y="55"/>
                      <a:pt x="78" y="55"/>
                      <a:pt x="78" y="55"/>
                    </a:cubicBezTo>
                    <a:cubicBezTo>
                      <a:pt x="79" y="55"/>
                      <a:pt x="79" y="55"/>
                      <a:pt x="79" y="56"/>
                    </a:cubicBezTo>
                    <a:cubicBezTo>
                      <a:pt x="79" y="56"/>
                      <a:pt x="79" y="56"/>
                      <a:pt x="79" y="56"/>
                    </a:cubicBezTo>
                    <a:cubicBezTo>
                      <a:pt x="80" y="56"/>
                      <a:pt x="80" y="56"/>
                      <a:pt x="80" y="55"/>
                    </a:cubicBezTo>
                    <a:cubicBezTo>
                      <a:pt x="80" y="54"/>
                      <a:pt x="80" y="54"/>
                      <a:pt x="79" y="54"/>
                    </a:cubicBezTo>
                    <a:cubicBezTo>
                      <a:pt x="79" y="52"/>
                      <a:pt x="77" y="51"/>
                      <a:pt x="78" y="50"/>
                    </a:cubicBezTo>
                    <a:cubicBezTo>
                      <a:pt x="79" y="48"/>
                      <a:pt x="80" y="46"/>
                      <a:pt x="80" y="44"/>
                    </a:cubicBezTo>
                    <a:cubicBezTo>
                      <a:pt x="81" y="41"/>
                      <a:pt x="82" y="37"/>
                      <a:pt x="84" y="35"/>
                    </a:cubicBezTo>
                    <a:cubicBezTo>
                      <a:pt x="87" y="33"/>
                      <a:pt x="89" y="33"/>
                      <a:pt x="91" y="33"/>
                    </a:cubicBezTo>
                    <a:cubicBezTo>
                      <a:pt x="92" y="33"/>
                      <a:pt x="92" y="33"/>
                      <a:pt x="93" y="33"/>
                    </a:cubicBezTo>
                    <a:cubicBezTo>
                      <a:pt x="95" y="33"/>
                      <a:pt x="97" y="33"/>
                      <a:pt x="99" y="35"/>
                    </a:cubicBezTo>
                    <a:cubicBezTo>
                      <a:pt x="98" y="33"/>
                      <a:pt x="98" y="32"/>
                      <a:pt x="96" y="31"/>
                    </a:cubicBezTo>
                    <a:cubicBezTo>
                      <a:pt x="95" y="30"/>
                      <a:pt x="94" y="29"/>
                      <a:pt x="92" y="28"/>
                    </a:cubicBezTo>
                    <a:cubicBezTo>
                      <a:pt x="92" y="28"/>
                      <a:pt x="91" y="27"/>
                      <a:pt x="90" y="27"/>
                    </a:cubicBezTo>
                    <a:cubicBezTo>
                      <a:pt x="90" y="27"/>
                      <a:pt x="90" y="27"/>
                      <a:pt x="90" y="27"/>
                    </a:cubicBezTo>
                    <a:cubicBezTo>
                      <a:pt x="89" y="27"/>
                      <a:pt x="89" y="28"/>
                      <a:pt x="88" y="28"/>
                    </a:cubicBezTo>
                    <a:cubicBezTo>
                      <a:pt x="88" y="28"/>
                      <a:pt x="88" y="28"/>
                      <a:pt x="88" y="28"/>
                    </a:cubicBezTo>
                    <a:cubicBezTo>
                      <a:pt x="85" y="28"/>
                      <a:pt x="84" y="26"/>
                      <a:pt x="82" y="24"/>
                    </a:cubicBezTo>
                    <a:cubicBezTo>
                      <a:pt x="79" y="21"/>
                      <a:pt x="76" y="16"/>
                      <a:pt x="74" y="11"/>
                    </a:cubicBezTo>
                    <a:cubicBezTo>
                      <a:pt x="72" y="7"/>
                      <a:pt x="69" y="4"/>
                      <a:pt x="66" y="0"/>
                    </a:cubicBezTo>
                    <a:cubicBezTo>
                      <a:pt x="65" y="3"/>
                      <a:pt x="62" y="5"/>
                      <a:pt x="60" y="6"/>
                    </a:cubicBezTo>
                    <a:cubicBezTo>
                      <a:pt x="60" y="7"/>
                      <a:pt x="60" y="7"/>
                      <a:pt x="60" y="7"/>
                    </a:cubicBezTo>
                    <a:cubicBezTo>
                      <a:pt x="59" y="7"/>
                      <a:pt x="59" y="7"/>
                      <a:pt x="59" y="7"/>
                    </a:cubicBezTo>
                    <a:cubicBezTo>
                      <a:pt x="58" y="8"/>
                      <a:pt x="57" y="9"/>
                      <a:pt x="57" y="9"/>
                    </a:cubicBezTo>
                    <a:cubicBezTo>
                      <a:pt x="56" y="9"/>
                      <a:pt x="56" y="9"/>
                      <a:pt x="55" y="11"/>
                    </a:cubicBezTo>
                    <a:cubicBezTo>
                      <a:pt x="54" y="14"/>
                      <a:pt x="52" y="16"/>
                      <a:pt x="49" y="16"/>
                    </a:cubicBezTo>
                    <a:cubicBezTo>
                      <a:pt x="47" y="16"/>
                      <a:pt x="46" y="15"/>
                      <a:pt x="45" y="15"/>
                    </a:cubicBezTo>
                    <a:cubicBezTo>
                      <a:pt x="39" y="14"/>
                      <a:pt x="37" y="11"/>
                      <a:pt x="37" y="10"/>
                    </a:cubicBezTo>
                    <a:cubicBezTo>
                      <a:pt x="36" y="9"/>
                      <a:pt x="36" y="8"/>
                      <a:pt x="35" y="8"/>
                    </a:cubicBezTo>
                    <a:cubicBezTo>
                      <a:pt x="34" y="8"/>
                      <a:pt x="32" y="6"/>
                      <a:pt x="31" y="3"/>
                    </a:cubicBezTo>
                    <a:cubicBezTo>
                      <a:pt x="30" y="1"/>
                      <a:pt x="28" y="0"/>
                      <a:pt x="28" y="0"/>
                    </a:cubicBezTo>
                    <a:cubicBezTo>
                      <a:pt x="26" y="0"/>
                      <a:pt x="25" y="0"/>
                      <a:pt x="25" y="0"/>
                    </a:cubicBezTo>
                    <a:cubicBezTo>
                      <a:pt x="25" y="0"/>
                      <a:pt x="25"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 name="Freeform 369">
                <a:extLst>
                  <a:ext uri="{FF2B5EF4-FFF2-40B4-BE49-F238E27FC236}">
                    <a16:creationId xmlns:a16="http://schemas.microsoft.com/office/drawing/2014/main" id="{5C2445F5-B3C6-4A1B-8E5A-0A45151CBFD5}"/>
                  </a:ext>
                </a:extLst>
              </p:cNvPr>
              <p:cNvSpPr>
                <a:spLocks/>
              </p:cNvSpPr>
              <p:nvPr/>
            </p:nvSpPr>
            <p:spPr bwMode="auto">
              <a:xfrm>
                <a:off x="8410" y="3328"/>
                <a:ext cx="149" cy="47"/>
              </a:xfrm>
              <a:custGeom>
                <a:avLst/>
                <a:gdLst>
                  <a:gd name="T0" fmla="*/ 29 w 63"/>
                  <a:gd name="T1" fmla="*/ 0 h 20"/>
                  <a:gd name="T2" fmla="*/ 25 w 63"/>
                  <a:gd name="T3" fmla="*/ 2 h 20"/>
                  <a:gd name="T4" fmla="*/ 17 w 63"/>
                  <a:gd name="T5" fmla="*/ 7 h 20"/>
                  <a:gd name="T6" fmla="*/ 9 w 63"/>
                  <a:gd name="T7" fmla="*/ 8 h 20"/>
                  <a:gd name="T8" fmla="*/ 5 w 63"/>
                  <a:gd name="T9" fmla="*/ 9 h 20"/>
                  <a:gd name="T10" fmla="*/ 6 w 63"/>
                  <a:gd name="T11" fmla="*/ 12 h 20"/>
                  <a:gd name="T12" fmla="*/ 0 w 63"/>
                  <a:gd name="T13" fmla="*/ 20 h 20"/>
                  <a:gd name="T14" fmla="*/ 62 w 63"/>
                  <a:gd name="T15" fmla="*/ 20 h 20"/>
                  <a:gd name="T16" fmla="*/ 62 w 63"/>
                  <a:gd name="T17" fmla="*/ 18 h 20"/>
                  <a:gd name="T18" fmla="*/ 59 w 63"/>
                  <a:gd name="T19" fmla="*/ 14 h 20"/>
                  <a:gd name="T20" fmla="*/ 61 w 63"/>
                  <a:gd name="T21" fmla="*/ 10 h 20"/>
                  <a:gd name="T22" fmla="*/ 61 w 63"/>
                  <a:gd name="T23" fmla="*/ 10 h 20"/>
                  <a:gd name="T24" fmla="*/ 45 w 63"/>
                  <a:gd name="T25" fmla="*/ 7 h 20"/>
                  <a:gd name="T26" fmla="*/ 30 w 63"/>
                  <a:gd name="T27" fmla="*/ 0 h 20"/>
                  <a:gd name="T28" fmla="*/ 29 w 63"/>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20">
                    <a:moveTo>
                      <a:pt x="29" y="0"/>
                    </a:moveTo>
                    <a:cubicBezTo>
                      <a:pt x="28" y="0"/>
                      <a:pt x="26" y="1"/>
                      <a:pt x="25" y="2"/>
                    </a:cubicBezTo>
                    <a:cubicBezTo>
                      <a:pt x="22" y="3"/>
                      <a:pt x="20" y="6"/>
                      <a:pt x="17" y="7"/>
                    </a:cubicBezTo>
                    <a:cubicBezTo>
                      <a:pt x="15" y="8"/>
                      <a:pt x="12" y="8"/>
                      <a:pt x="9" y="8"/>
                    </a:cubicBezTo>
                    <a:cubicBezTo>
                      <a:pt x="8" y="8"/>
                      <a:pt x="6" y="9"/>
                      <a:pt x="5" y="9"/>
                    </a:cubicBezTo>
                    <a:cubicBezTo>
                      <a:pt x="5" y="10"/>
                      <a:pt x="6" y="11"/>
                      <a:pt x="6" y="12"/>
                    </a:cubicBezTo>
                    <a:cubicBezTo>
                      <a:pt x="5" y="15"/>
                      <a:pt x="2" y="17"/>
                      <a:pt x="0" y="20"/>
                    </a:cubicBezTo>
                    <a:cubicBezTo>
                      <a:pt x="62" y="20"/>
                      <a:pt x="62" y="20"/>
                      <a:pt x="62" y="20"/>
                    </a:cubicBezTo>
                    <a:cubicBezTo>
                      <a:pt x="63" y="19"/>
                      <a:pt x="63" y="19"/>
                      <a:pt x="62" y="18"/>
                    </a:cubicBezTo>
                    <a:cubicBezTo>
                      <a:pt x="62" y="17"/>
                      <a:pt x="60" y="15"/>
                      <a:pt x="59" y="14"/>
                    </a:cubicBezTo>
                    <a:cubicBezTo>
                      <a:pt x="58" y="12"/>
                      <a:pt x="58" y="10"/>
                      <a:pt x="61" y="10"/>
                    </a:cubicBezTo>
                    <a:cubicBezTo>
                      <a:pt x="61" y="10"/>
                      <a:pt x="61" y="10"/>
                      <a:pt x="61" y="10"/>
                    </a:cubicBezTo>
                    <a:cubicBezTo>
                      <a:pt x="56" y="9"/>
                      <a:pt x="50" y="9"/>
                      <a:pt x="45" y="7"/>
                    </a:cubicBezTo>
                    <a:cubicBezTo>
                      <a:pt x="40" y="4"/>
                      <a:pt x="36" y="1"/>
                      <a:pt x="30" y="0"/>
                    </a:cubicBezTo>
                    <a:cubicBezTo>
                      <a:pt x="30" y="0"/>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 name="Freeform 370">
                <a:extLst>
                  <a:ext uri="{FF2B5EF4-FFF2-40B4-BE49-F238E27FC236}">
                    <a16:creationId xmlns:a16="http://schemas.microsoft.com/office/drawing/2014/main" id="{460187BB-DA81-491B-A6F6-0336F5C00610}"/>
                  </a:ext>
                </a:extLst>
              </p:cNvPr>
              <p:cNvSpPr>
                <a:spLocks/>
              </p:cNvSpPr>
              <p:nvPr/>
            </p:nvSpPr>
            <p:spPr bwMode="auto">
              <a:xfrm>
                <a:off x="7415" y="3120"/>
                <a:ext cx="456" cy="255"/>
              </a:xfrm>
              <a:custGeom>
                <a:avLst/>
                <a:gdLst>
                  <a:gd name="T0" fmla="*/ 137 w 193"/>
                  <a:gd name="T1" fmla="*/ 1 h 108"/>
                  <a:gd name="T2" fmla="*/ 130 w 193"/>
                  <a:gd name="T3" fmla="*/ 8 h 108"/>
                  <a:gd name="T4" fmla="*/ 124 w 193"/>
                  <a:gd name="T5" fmla="*/ 26 h 108"/>
                  <a:gd name="T6" fmla="*/ 121 w 193"/>
                  <a:gd name="T7" fmla="*/ 30 h 108"/>
                  <a:gd name="T8" fmla="*/ 123 w 193"/>
                  <a:gd name="T9" fmla="*/ 32 h 108"/>
                  <a:gd name="T10" fmla="*/ 123 w 193"/>
                  <a:gd name="T11" fmla="*/ 35 h 108"/>
                  <a:gd name="T12" fmla="*/ 117 w 193"/>
                  <a:gd name="T13" fmla="*/ 39 h 108"/>
                  <a:gd name="T14" fmla="*/ 116 w 193"/>
                  <a:gd name="T15" fmla="*/ 41 h 108"/>
                  <a:gd name="T16" fmla="*/ 114 w 193"/>
                  <a:gd name="T17" fmla="*/ 48 h 108"/>
                  <a:gd name="T18" fmla="*/ 113 w 193"/>
                  <a:gd name="T19" fmla="*/ 50 h 108"/>
                  <a:gd name="T20" fmla="*/ 106 w 193"/>
                  <a:gd name="T21" fmla="*/ 57 h 108"/>
                  <a:gd name="T22" fmla="*/ 105 w 193"/>
                  <a:gd name="T23" fmla="*/ 57 h 108"/>
                  <a:gd name="T24" fmla="*/ 102 w 193"/>
                  <a:gd name="T25" fmla="*/ 57 h 108"/>
                  <a:gd name="T26" fmla="*/ 95 w 193"/>
                  <a:gd name="T27" fmla="*/ 59 h 108"/>
                  <a:gd name="T28" fmla="*/ 83 w 193"/>
                  <a:gd name="T29" fmla="*/ 58 h 108"/>
                  <a:gd name="T30" fmla="*/ 74 w 193"/>
                  <a:gd name="T31" fmla="*/ 55 h 108"/>
                  <a:gd name="T32" fmla="*/ 66 w 193"/>
                  <a:gd name="T33" fmla="*/ 56 h 108"/>
                  <a:gd name="T34" fmla="*/ 65 w 193"/>
                  <a:gd name="T35" fmla="*/ 58 h 108"/>
                  <a:gd name="T36" fmla="*/ 53 w 193"/>
                  <a:gd name="T37" fmla="*/ 65 h 108"/>
                  <a:gd name="T38" fmla="*/ 42 w 193"/>
                  <a:gd name="T39" fmla="*/ 65 h 108"/>
                  <a:gd name="T40" fmla="*/ 33 w 193"/>
                  <a:gd name="T41" fmla="*/ 68 h 108"/>
                  <a:gd name="T42" fmla="*/ 27 w 193"/>
                  <a:gd name="T43" fmla="*/ 64 h 108"/>
                  <a:gd name="T44" fmla="*/ 20 w 193"/>
                  <a:gd name="T45" fmla="*/ 58 h 108"/>
                  <a:gd name="T46" fmla="*/ 12 w 193"/>
                  <a:gd name="T47" fmla="*/ 44 h 108"/>
                  <a:gd name="T48" fmla="*/ 1 w 193"/>
                  <a:gd name="T49" fmla="*/ 59 h 108"/>
                  <a:gd name="T50" fmla="*/ 1 w 193"/>
                  <a:gd name="T51" fmla="*/ 69 h 108"/>
                  <a:gd name="T52" fmla="*/ 8 w 193"/>
                  <a:gd name="T53" fmla="*/ 81 h 108"/>
                  <a:gd name="T54" fmla="*/ 6 w 193"/>
                  <a:gd name="T55" fmla="*/ 86 h 108"/>
                  <a:gd name="T56" fmla="*/ 7 w 193"/>
                  <a:gd name="T57" fmla="*/ 97 h 108"/>
                  <a:gd name="T58" fmla="*/ 17 w 193"/>
                  <a:gd name="T59" fmla="*/ 99 h 108"/>
                  <a:gd name="T60" fmla="*/ 150 w 193"/>
                  <a:gd name="T61" fmla="*/ 103 h 108"/>
                  <a:gd name="T62" fmla="*/ 160 w 193"/>
                  <a:gd name="T63" fmla="*/ 97 h 108"/>
                  <a:gd name="T64" fmla="*/ 167 w 193"/>
                  <a:gd name="T65" fmla="*/ 90 h 108"/>
                  <a:gd name="T66" fmla="*/ 164 w 193"/>
                  <a:gd name="T67" fmla="*/ 82 h 108"/>
                  <a:gd name="T68" fmla="*/ 171 w 193"/>
                  <a:gd name="T69" fmla="*/ 66 h 108"/>
                  <a:gd name="T70" fmla="*/ 174 w 193"/>
                  <a:gd name="T71" fmla="*/ 66 h 108"/>
                  <a:gd name="T72" fmla="*/ 178 w 193"/>
                  <a:gd name="T73" fmla="*/ 65 h 108"/>
                  <a:gd name="T74" fmla="*/ 193 w 193"/>
                  <a:gd name="T75" fmla="*/ 62 h 108"/>
                  <a:gd name="T76" fmla="*/ 170 w 193"/>
                  <a:gd name="T77" fmla="*/ 43 h 108"/>
                  <a:gd name="T78" fmla="*/ 173 w 193"/>
                  <a:gd name="T79" fmla="*/ 40 h 108"/>
                  <a:gd name="T80" fmla="*/ 168 w 193"/>
                  <a:gd name="T81" fmla="*/ 26 h 108"/>
                  <a:gd name="T82" fmla="*/ 164 w 193"/>
                  <a:gd name="T83" fmla="*/ 22 h 108"/>
                  <a:gd name="T84" fmla="*/ 160 w 193"/>
                  <a:gd name="T85" fmla="*/ 20 h 108"/>
                  <a:gd name="T86" fmla="*/ 161 w 193"/>
                  <a:gd name="T87" fmla="*/ 20 h 108"/>
                  <a:gd name="T88" fmla="*/ 162 w 193"/>
                  <a:gd name="T89" fmla="*/ 19 h 108"/>
                  <a:gd name="T90" fmla="*/ 161 w 193"/>
                  <a:gd name="T91" fmla="*/ 16 h 108"/>
                  <a:gd name="T92" fmla="*/ 160 w 193"/>
                  <a:gd name="T93" fmla="*/ 15 h 108"/>
                  <a:gd name="T94" fmla="*/ 159 w 193"/>
                  <a:gd name="T95" fmla="*/ 13 h 108"/>
                  <a:gd name="T96" fmla="*/ 164 w 193"/>
                  <a:gd name="T97" fmla="*/ 13 h 108"/>
                  <a:gd name="T98" fmla="*/ 168 w 193"/>
                  <a:gd name="T99" fmla="*/ 8 h 108"/>
                  <a:gd name="T100" fmla="*/ 163 w 193"/>
                  <a:gd name="T101"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 h="108">
                    <a:moveTo>
                      <a:pt x="147" y="0"/>
                    </a:moveTo>
                    <a:cubicBezTo>
                      <a:pt x="146" y="0"/>
                      <a:pt x="146" y="0"/>
                      <a:pt x="145" y="0"/>
                    </a:cubicBezTo>
                    <a:cubicBezTo>
                      <a:pt x="142" y="1"/>
                      <a:pt x="139" y="1"/>
                      <a:pt x="137" y="1"/>
                    </a:cubicBezTo>
                    <a:cubicBezTo>
                      <a:pt x="136" y="1"/>
                      <a:pt x="136" y="1"/>
                      <a:pt x="135" y="1"/>
                    </a:cubicBezTo>
                    <a:cubicBezTo>
                      <a:pt x="135" y="1"/>
                      <a:pt x="134" y="1"/>
                      <a:pt x="134" y="1"/>
                    </a:cubicBezTo>
                    <a:cubicBezTo>
                      <a:pt x="131" y="4"/>
                      <a:pt x="130" y="6"/>
                      <a:pt x="130" y="8"/>
                    </a:cubicBezTo>
                    <a:cubicBezTo>
                      <a:pt x="131" y="14"/>
                      <a:pt x="131" y="17"/>
                      <a:pt x="129" y="22"/>
                    </a:cubicBezTo>
                    <a:cubicBezTo>
                      <a:pt x="129" y="23"/>
                      <a:pt x="128" y="26"/>
                      <a:pt x="125" y="26"/>
                    </a:cubicBezTo>
                    <a:cubicBezTo>
                      <a:pt x="125" y="26"/>
                      <a:pt x="125" y="26"/>
                      <a:pt x="124" y="26"/>
                    </a:cubicBezTo>
                    <a:cubicBezTo>
                      <a:pt x="124" y="26"/>
                      <a:pt x="124" y="26"/>
                      <a:pt x="124" y="26"/>
                    </a:cubicBezTo>
                    <a:cubicBezTo>
                      <a:pt x="123" y="26"/>
                      <a:pt x="122" y="27"/>
                      <a:pt x="122" y="27"/>
                    </a:cubicBezTo>
                    <a:cubicBezTo>
                      <a:pt x="121" y="28"/>
                      <a:pt x="121" y="29"/>
                      <a:pt x="121" y="30"/>
                    </a:cubicBezTo>
                    <a:cubicBezTo>
                      <a:pt x="122" y="30"/>
                      <a:pt x="122" y="31"/>
                      <a:pt x="123" y="31"/>
                    </a:cubicBezTo>
                    <a:cubicBezTo>
                      <a:pt x="125" y="31"/>
                      <a:pt x="125" y="31"/>
                      <a:pt x="125" y="31"/>
                    </a:cubicBezTo>
                    <a:cubicBezTo>
                      <a:pt x="123" y="32"/>
                      <a:pt x="123" y="32"/>
                      <a:pt x="123" y="32"/>
                    </a:cubicBezTo>
                    <a:cubicBezTo>
                      <a:pt x="123" y="32"/>
                      <a:pt x="123" y="32"/>
                      <a:pt x="123" y="32"/>
                    </a:cubicBezTo>
                    <a:cubicBezTo>
                      <a:pt x="124" y="34"/>
                      <a:pt x="124" y="34"/>
                      <a:pt x="124" y="34"/>
                    </a:cubicBezTo>
                    <a:cubicBezTo>
                      <a:pt x="123" y="35"/>
                      <a:pt x="123" y="35"/>
                      <a:pt x="123" y="35"/>
                    </a:cubicBezTo>
                    <a:cubicBezTo>
                      <a:pt x="122" y="36"/>
                      <a:pt x="120" y="37"/>
                      <a:pt x="119" y="38"/>
                    </a:cubicBezTo>
                    <a:cubicBezTo>
                      <a:pt x="118" y="38"/>
                      <a:pt x="118" y="38"/>
                      <a:pt x="117" y="39"/>
                    </a:cubicBezTo>
                    <a:cubicBezTo>
                      <a:pt x="117" y="39"/>
                      <a:pt x="117" y="39"/>
                      <a:pt x="117" y="39"/>
                    </a:cubicBezTo>
                    <a:cubicBezTo>
                      <a:pt x="116" y="39"/>
                      <a:pt x="116" y="39"/>
                      <a:pt x="116" y="39"/>
                    </a:cubicBezTo>
                    <a:cubicBezTo>
                      <a:pt x="115" y="40"/>
                      <a:pt x="115" y="40"/>
                      <a:pt x="115" y="40"/>
                    </a:cubicBezTo>
                    <a:cubicBezTo>
                      <a:pt x="115" y="40"/>
                      <a:pt x="116" y="40"/>
                      <a:pt x="116" y="41"/>
                    </a:cubicBezTo>
                    <a:cubicBezTo>
                      <a:pt x="116" y="41"/>
                      <a:pt x="116" y="42"/>
                      <a:pt x="116" y="42"/>
                    </a:cubicBezTo>
                    <a:cubicBezTo>
                      <a:pt x="116" y="43"/>
                      <a:pt x="117" y="44"/>
                      <a:pt x="116" y="46"/>
                    </a:cubicBezTo>
                    <a:cubicBezTo>
                      <a:pt x="116" y="47"/>
                      <a:pt x="115" y="48"/>
                      <a:pt x="114" y="48"/>
                    </a:cubicBezTo>
                    <a:cubicBezTo>
                      <a:pt x="113" y="49"/>
                      <a:pt x="113" y="49"/>
                      <a:pt x="113" y="49"/>
                    </a:cubicBezTo>
                    <a:cubicBezTo>
                      <a:pt x="113" y="49"/>
                      <a:pt x="113" y="49"/>
                      <a:pt x="113" y="49"/>
                    </a:cubicBezTo>
                    <a:cubicBezTo>
                      <a:pt x="113" y="49"/>
                      <a:pt x="113" y="50"/>
                      <a:pt x="113" y="50"/>
                    </a:cubicBezTo>
                    <a:cubicBezTo>
                      <a:pt x="112" y="53"/>
                      <a:pt x="112" y="53"/>
                      <a:pt x="112" y="53"/>
                    </a:cubicBezTo>
                    <a:cubicBezTo>
                      <a:pt x="111" y="55"/>
                      <a:pt x="109" y="57"/>
                      <a:pt x="107" y="57"/>
                    </a:cubicBezTo>
                    <a:cubicBezTo>
                      <a:pt x="106" y="57"/>
                      <a:pt x="106" y="57"/>
                      <a:pt x="106" y="57"/>
                    </a:cubicBezTo>
                    <a:cubicBezTo>
                      <a:pt x="106" y="57"/>
                      <a:pt x="105" y="57"/>
                      <a:pt x="105" y="57"/>
                    </a:cubicBezTo>
                    <a:cubicBezTo>
                      <a:pt x="105" y="56"/>
                      <a:pt x="105" y="56"/>
                      <a:pt x="105" y="56"/>
                    </a:cubicBezTo>
                    <a:cubicBezTo>
                      <a:pt x="105" y="57"/>
                      <a:pt x="105" y="57"/>
                      <a:pt x="105" y="57"/>
                    </a:cubicBezTo>
                    <a:cubicBezTo>
                      <a:pt x="105" y="57"/>
                      <a:pt x="104" y="57"/>
                      <a:pt x="104" y="57"/>
                    </a:cubicBezTo>
                    <a:cubicBezTo>
                      <a:pt x="104" y="57"/>
                      <a:pt x="103" y="57"/>
                      <a:pt x="103" y="57"/>
                    </a:cubicBezTo>
                    <a:cubicBezTo>
                      <a:pt x="102" y="57"/>
                      <a:pt x="102" y="57"/>
                      <a:pt x="102" y="57"/>
                    </a:cubicBezTo>
                    <a:cubicBezTo>
                      <a:pt x="100" y="57"/>
                      <a:pt x="100" y="57"/>
                      <a:pt x="100" y="57"/>
                    </a:cubicBezTo>
                    <a:cubicBezTo>
                      <a:pt x="98" y="58"/>
                      <a:pt x="96" y="58"/>
                      <a:pt x="95" y="59"/>
                    </a:cubicBezTo>
                    <a:cubicBezTo>
                      <a:pt x="95" y="59"/>
                      <a:pt x="95" y="59"/>
                      <a:pt x="95" y="59"/>
                    </a:cubicBezTo>
                    <a:cubicBezTo>
                      <a:pt x="94" y="59"/>
                      <a:pt x="93" y="60"/>
                      <a:pt x="93" y="60"/>
                    </a:cubicBezTo>
                    <a:cubicBezTo>
                      <a:pt x="92" y="60"/>
                      <a:pt x="91" y="60"/>
                      <a:pt x="91" y="60"/>
                    </a:cubicBezTo>
                    <a:cubicBezTo>
                      <a:pt x="88" y="60"/>
                      <a:pt x="85" y="59"/>
                      <a:pt x="83" y="58"/>
                    </a:cubicBezTo>
                    <a:cubicBezTo>
                      <a:pt x="82" y="58"/>
                      <a:pt x="82" y="58"/>
                      <a:pt x="82" y="58"/>
                    </a:cubicBezTo>
                    <a:cubicBezTo>
                      <a:pt x="81" y="57"/>
                      <a:pt x="80" y="56"/>
                      <a:pt x="78" y="56"/>
                    </a:cubicBezTo>
                    <a:cubicBezTo>
                      <a:pt x="74" y="55"/>
                      <a:pt x="74" y="55"/>
                      <a:pt x="74" y="55"/>
                    </a:cubicBezTo>
                    <a:cubicBezTo>
                      <a:pt x="75" y="55"/>
                      <a:pt x="75" y="55"/>
                      <a:pt x="75" y="55"/>
                    </a:cubicBezTo>
                    <a:cubicBezTo>
                      <a:pt x="73" y="55"/>
                      <a:pt x="71" y="55"/>
                      <a:pt x="68" y="56"/>
                    </a:cubicBezTo>
                    <a:cubicBezTo>
                      <a:pt x="66" y="56"/>
                      <a:pt x="66" y="56"/>
                      <a:pt x="66" y="56"/>
                    </a:cubicBezTo>
                    <a:cubicBezTo>
                      <a:pt x="65" y="56"/>
                      <a:pt x="65" y="56"/>
                      <a:pt x="65" y="56"/>
                    </a:cubicBezTo>
                    <a:cubicBezTo>
                      <a:pt x="65" y="57"/>
                      <a:pt x="65" y="57"/>
                      <a:pt x="65" y="57"/>
                    </a:cubicBezTo>
                    <a:cubicBezTo>
                      <a:pt x="65" y="58"/>
                      <a:pt x="65" y="58"/>
                      <a:pt x="65" y="58"/>
                    </a:cubicBezTo>
                    <a:cubicBezTo>
                      <a:pt x="65" y="58"/>
                      <a:pt x="65" y="59"/>
                      <a:pt x="64" y="60"/>
                    </a:cubicBezTo>
                    <a:cubicBezTo>
                      <a:pt x="63" y="63"/>
                      <a:pt x="58" y="65"/>
                      <a:pt x="54" y="65"/>
                    </a:cubicBezTo>
                    <a:cubicBezTo>
                      <a:pt x="54" y="65"/>
                      <a:pt x="54" y="65"/>
                      <a:pt x="53" y="65"/>
                    </a:cubicBezTo>
                    <a:cubicBezTo>
                      <a:pt x="52" y="65"/>
                      <a:pt x="51" y="64"/>
                      <a:pt x="51" y="64"/>
                    </a:cubicBezTo>
                    <a:cubicBezTo>
                      <a:pt x="49" y="64"/>
                      <a:pt x="48" y="64"/>
                      <a:pt x="46" y="64"/>
                    </a:cubicBezTo>
                    <a:cubicBezTo>
                      <a:pt x="45" y="64"/>
                      <a:pt x="44" y="64"/>
                      <a:pt x="42" y="65"/>
                    </a:cubicBezTo>
                    <a:cubicBezTo>
                      <a:pt x="42" y="65"/>
                      <a:pt x="41" y="65"/>
                      <a:pt x="41" y="65"/>
                    </a:cubicBezTo>
                    <a:cubicBezTo>
                      <a:pt x="40" y="66"/>
                      <a:pt x="40" y="66"/>
                      <a:pt x="40" y="66"/>
                    </a:cubicBezTo>
                    <a:cubicBezTo>
                      <a:pt x="38" y="67"/>
                      <a:pt x="35" y="68"/>
                      <a:pt x="33" y="68"/>
                    </a:cubicBezTo>
                    <a:cubicBezTo>
                      <a:pt x="32" y="68"/>
                      <a:pt x="32" y="68"/>
                      <a:pt x="32" y="68"/>
                    </a:cubicBezTo>
                    <a:cubicBezTo>
                      <a:pt x="30" y="67"/>
                      <a:pt x="28" y="66"/>
                      <a:pt x="27" y="65"/>
                    </a:cubicBezTo>
                    <a:cubicBezTo>
                      <a:pt x="27" y="64"/>
                      <a:pt x="27" y="64"/>
                      <a:pt x="27" y="64"/>
                    </a:cubicBezTo>
                    <a:cubicBezTo>
                      <a:pt x="26" y="64"/>
                      <a:pt x="26" y="64"/>
                      <a:pt x="26" y="64"/>
                    </a:cubicBezTo>
                    <a:cubicBezTo>
                      <a:pt x="26" y="64"/>
                      <a:pt x="26" y="64"/>
                      <a:pt x="26" y="64"/>
                    </a:cubicBezTo>
                    <a:cubicBezTo>
                      <a:pt x="24" y="62"/>
                      <a:pt x="22" y="60"/>
                      <a:pt x="20" y="58"/>
                    </a:cubicBezTo>
                    <a:cubicBezTo>
                      <a:pt x="19" y="58"/>
                      <a:pt x="19" y="58"/>
                      <a:pt x="19" y="58"/>
                    </a:cubicBezTo>
                    <a:cubicBezTo>
                      <a:pt x="16" y="55"/>
                      <a:pt x="12" y="52"/>
                      <a:pt x="11" y="48"/>
                    </a:cubicBezTo>
                    <a:cubicBezTo>
                      <a:pt x="11" y="46"/>
                      <a:pt x="11" y="45"/>
                      <a:pt x="12" y="44"/>
                    </a:cubicBezTo>
                    <a:cubicBezTo>
                      <a:pt x="10" y="44"/>
                      <a:pt x="9" y="45"/>
                      <a:pt x="8" y="46"/>
                    </a:cubicBezTo>
                    <a:cubicBezTo>
                      <a:pt x="5" y="51"/>
                      <a:pt x="3" y="52"/>
                      <a:pt x="5" y="57"/>
                    </a:cubicBezTo>
                    <a:cubicBezTo>
                      <a:pt x="4" y="58"/>
                      <a:pt x="3" y="59"/>
                      <a:pt x="1" y="59"/>
                    </a:cubicBezTo>
                    <a:cubicBezTo>
                      <a:pt x="1" y="59"/>
                      <a:pt x="1" y="59"/>
                      <a:pt x="1" y="59"/>
                    </a:cubicBezTo>
                    <a:cubicBezTo>
                      <a:pt x="1" y="60"/>
                      <a:pt x="2" y="62"/>
                      <a:pt x="2" y="63"/>
                    </a:cubicBezTo>
                    <a:cubicBezTo>
                      <a:pt x="0" y="66"/>
                      <a:pt x="0" y="66"/>
                      <a:pt x="1" y="69"/>
                    </a:cubicBezTo>
                    <a:cubicBezTo>
                      <a:pt x="1" y="70"/>
                      <a:pt x="0" y="75"/>
                      <a:pt x="1" y="76"/>
                    </a:cubicBezTo>
                    <a:cubicBezTo>
                      <a:pt x="3" y="77"/>
                      <a:pt x="4" y="77"/>
                      <a:pt x="5" y="79"/>
                    </a:cubicBezTo>
                    <a:cubicBezTo>
                      <a:pt x="6" y="80"/>
                      <a:pt x="7" y="81"/>
                      <a:pt x="8" y="81"/>
                    </a:cubicBezTo>
                    <a:cubicBezTo>
                      <a:pt x="7" y="81"/>
                      <a:pt x="6" y="81"/>
                      <a:pt x="6" y="81"/>
                    </a:cubicBezTo>
                    <a:cubicBezTo>
                      <a:pt x="5" y="81"/>
                      <a:pt x="6" y="82"/>
                      <a:pt x="6" y="83"/>
                    </a:cubicBezTo>
                    <a:cubicBezTo>
                      <a:pt x="6" y="84"/>
                      <a:pt x="6" y="85"/>
                      <a:pt x="6" y="86"/>
                    </a:cubicBezTo>
                    <a:cubicBezTo>
                      <a:pt x="6" y="86"/>
                      <a:pt x="5" y="86"/>
                      <a:pt x="5" y="86"/>
                    </a:cubicBezTo>
                    <a:cubicBezTo>
                      <a:pt x="3" y="86"/>
                      <a:pt x="4" y="89"/>
                      <a:pt x="5" y="91"/>
                    </a:cubicBezTo>
                    <a:cubicBezTo>
                      <a:pt x="5" y="92"/>
                      <a:pt x="6" y="95"/>
                      <a:pt x="7" y="97"/>
                    </a:cubicBezTo>
                    <a:cubicBezTo>
                      <a:pt x="8" y="98"/>
                      <a:pt x="7" y="98"/>
                      <a:pt x="9" y="99"/>
                    </a:cubicBezTo>
                    <a:cubicBezTo>
                      <a:pt x="11" y="99"/>
                      <a:pt x="13" y="100"/>
                      <a:pt x="14" y="100"/>
                    </a:cubicBezTo>
                    <a:cubicBezTo>
                      <a:pt x="15" y="100"/>
                      <a:pt x="16" y="100"/>
                      <a:pt x="17" y="99"/>
                    </a:cubicBezTo>
                    <a:cubicBezTo>
                      <a:pt x="19" y="101"/>
                      <a:pt x="22" y="104"/>
                      <a:pt x="22" y="108"/>
                    </a:cubicBezTo>
                    <a:cubicBezTo>
                      <a:pt x="150" y="108"/>
                      <a:pt x="150" y="108"/>
                      <a:pt x="150" y="108"/>
                    </a:cubicBezTo>
                    <a:cubicBezTo>
                      <a:pt x="150" y="106"/>
                      <a:pt x="150" y="105"/>
                      <a:pt x="150" y="103"/>
                    </a:cubicBezTo>
                    <a:cubicBezTo>
                      <a:pt x="151" y="104"/>
                      <a:pt x="151" y="106"/>
                      <a:pt x="152" y="106"/>
                    </a:cubicBezTo>
                    <a:cubicBezTo>
                      <a:pt x="153" y="106"/>
                      <a:pt x="153" y="106"/>
                      <a:pt x="153" y="106"/>
                    </a:cubicBezTo>
                    <a:cubicBezTo>
                      <a:pt x="156" y="104"/>
                      <a:pt x="158" y="99"/>
                      <a:pt x="160" y="97"/>
                    </a:cubicBezTo>
                    <a:cubicBezTo>
                      <a:pt x="161" y="97"/>
                      <a:pt x="161" y="98"/>
                      <a:pt x="162" y="98"/>
                    </a:cubicBezTo>
                    <a:cubicBezTo>
                      <a:pt x="163" y="98"/>
                      <a:pt x="166" y="97"/>
                      <a:pt x="167" y="96"/>
                    </a:cubicBezTo>
                    <a:cubicBezTo>
                      <a:pt x="164" y="95"/>
                      <a:pt x="168" y="91"/>
                      <a:pt x="167" y="90"/>
                    </a:cubicBezTo>
                    <a:cubicBezTo>
                      <a:pt x="167" y="90"/>
                      <a:pt x="167" y="90"/>
                      <a:pt x="167" y="90"/>
                    </a:cubicBezTo>
                    <a:cubicBezTo>
                      <a:pt x="166" y="90"/>
                      <a:pt x="164" y="91"/>
                      <a:pt x="163" y="92"/>
                    </a:cubicBezTo>
                    <a:cubicBezTo>
                      <a:pt x="164" y="88"/>
                      <a:pt x="164" y="86"/>
                      <a:pt x="164" y="82"/>
                    </a:cubicBezTo>
                    <a:cubicBezTo>
                      <a:pt x="164" y="78"/>
                      <a:pt x="165" y="75"/>
                      <a:pt x="167" y="72"/>
                    </a:cubicBezTo>
                    <a:cubicBezTo>
                      <a:pt x="168" y="71"/>
                      <a:pt x="169" y="67"/>
                      <a:pt x="171" y="66"/>
                    </a:cubicBezTo>
                    <a:cubicBezTo>
                      <a:pt x="171" y="66"/>
                      <a:pt x="171" y="66"/>
                      <a:pt x="171" y="66"/>
                    </a:cubicBezTo>
                    <a:cubicBezTo>
                      <a:pt x="172" y="66"/>
                      <a:pt x="172" y="66"/>
                      <a:pt x="173" y="66"/>
                    </a:cubicBezTo>
                    <a:cubicBezTo>
                      <a:pt x="173" y="66"/>
                      <a:pt x="174" y="66"/>
                      <a:pt x="174" y="66"/>
                    </a:cubicBezTo>
                    <a:cubicBezTo>
                      <a:pt x="174" y="66"/>
                      <a:pt x="174" y="66"/>
                      <a:pt x="174" y="66"/>
                    </a:cubicBezTo>
                    <a:cubicBezTo>
                      <a:pt x="175" y="66"/>
                      <a:pt x="174" y="65"/>
                      <a:pt x="174" y="65"/>
                    </a:cubicBezTo>
                    <a:cubicBezTo>
                      <a:pt x="174" y="63"/>
                      <a:pt x="172" y="62"/>
                      <a:pt x="172" y="60"/>
                    </a:cubicBezTo>
                    <a:cubicBezTo>
                      <a:pt x="175" y="61"/>
                      <a:pt x="174" y="64"/>
                      <a:pt x="178" y="65"/>
                    </a:cubicBezTo>
                    <a:cubicBezTo>
                      <a:pt x="180" y="66"/>
                      <a:pt x="181" y="66"/>
                      <a:pt x="183" y="66"/>
                    </a:cubicBezTo>
                    <a:cubicBezTo>
                      <a:pt x="185" y="66"/>
                      <a:pt x="186" y="66"/>
                      <a:pt x="187" y="66"/>
                    </a:cubicBezTo>
                    <a:cubicBezTo>
                      <a:pt x="190" y="66"/>
                      <a:pt x="191" y="65"/>
                      <a:pt x="193" y="62"/>
                    </a:cubicBezTo>
                    <a:cubicBezTo>
                      <a:pt x="191" y="61"/>
                      <a:pt x="190" y="60"/>
                      <a:pt x="188" y="60"/>
                    </a:cubicBezTo>
                    <a:cubicBezTo>
                      <a:pt x="182" y="54"/>
                      <a:pt x="174" y="49"/>
                      <a:pt x="169" y="43"/>
                    </a:cubicBezTo>
                    <a:cubicBezTo>
                      <a:pt x="169" y="43"/>
                      <a:pt x="170" y="43"/>
                      <a:pt x="170" y="43"/>
                    </a:cubicBezTo>
                    <a:cubicBezTo>
                      <a:pt x="171" y="43"/>
                      <a:pt x="171" y="43"/>
                      <a:pt x="171" y="42"/>
                    </a:cubicBezTo>
                    <a:cubicBezTo>
                      <a:pt x="171" y="42"/>
                      <a:pt x="171" y="42"/>
                      <a:pt x="171" y="42"/>
                    </a:cubicBezTo>
                    <a:cubicBezTo>
                      <a:pt x="172" y="42"/>
                      <a:pt x="173" y="41"/>
                      <a:pt x="173" y="40"/>
                    </a:cubicBezTo>
                    <a:cubicBezTo>
                      <a:pt x="174" y="37"/>
                      <a:pt x="173" y="34"/>
                      <a:pt x="170" y="32"/>
                    </a:cubicBezTo>
                    <a:cubicBezTo>
                      <a:pt x="170" y="31"/>
                      <a:pt x="166" y="29"/>
                      <a:pt x="166" y="28"/>
                    </a:cubicBezTo>
                    <a:cubicBezTo>
                      <a:pt x="168" y="26"/>
                      <a:pt x="168" y="26"/>
                      <a:pt x="168" y="26"/>
                    </a:cubicBezTo>
                    <a:cubicBezTo>
                      <a:pt x="167" y="26"/>
                      <a:pt x="166" y="26"/>
                      <a:pt x="165" y="26"/>
                    </a:cubicBezTo>
                    <a:cubicBezTo>
                      <a:pt x="166" y="25"/>
                      <a:pt x="166" y="24"/>
                      <a:pt x="166" y="23"/>
                    </a:cubicBezTo>
                    <a:cubicBezTo>
                      <a:pt x="165" y="23"/>
                      <a:pt x="165" y="22"/>
                      <a:pt x="164" y="22"/>
                    </a:cubicBezTo>
                    <a:cubicBezTo>
                      <a:pt x="163" y="22"/>
                      <a:pt x="160" y="21"/>
                      <a:pt x="160" y="20"/>
                    </a:cubicBezTo>
                    <a:cubicBezTo>
                      <a:pt x="160" y="20"/>
                      <a:pt x="160" y="20"/>
                      <a:pt x="160" y="20"/>
                    </a:cubicBezTo>
                    <a:cubicBezTo>
                      <a:pt x="160" y="20"/>
                      <a:pt x="160" y="20"/>
                      <a:pt x="160" y="20"/>
                    </a:cubicBezTo>
                    <a:cubicBezTo>
                      <a:pt x="160" y="20"/>
                      <a:pt x="160" y="20"/>
                      <a:pt x="160" y="20"/>
                    </a:cubicBezTo>
                    <a:cubicBezTo>
                      <a:pt x="161" y="20"/>
                      <a:pt x="161" y="20"/>
                      <a:pt x="161" y="20"/>
                    </a:cubicBezTo>
                    <a:cubicBezTo>
                      <a:pt x="160" y="20"/>
                      <a:pt x="160" y="20"/>
                      <a:pt x="161" y="20"/>
                    </a:cubicBezTo>
                    <a:cubicBezTo>
                      <a:pt x="161" y="20"/>
                      <a:pt x="161" y="20"/>
                      <a:pt x="161" y="20"/>
                    </a:cubicBezTo>
                    <a:cubicBezTo>
                      <a:pt x="161" y="20"/>
                      <a:pt x="162" y="19"/>
                      <a:pt x="162" y="19"/>
                    </a:cubicBezTo>
                    <a:cubicBezTo>
                      <a:pt x="162" y="19"/>
                      <a:pt x="162" y="19"/>
                      <a:pt x="162" y="19"/>
                    </a:cubicBezTo>
                    <a:cubicBezTo>
                      <a:pt x="162" y="19"/>
                      <a:pt x="163" y="17"/>
                      <a:pt x="163" y="16"/>
                    </a:cubicBezTo>
                    <a:cubicBezTo>
                      <a:pt x="163" y="16"/>
                      <a:pt x="163" y="16"/>
                      <a:pt x="163" y="16"/>
                    </a:cubicBezTo>
                    <a:cubicBezTo>
                      <a:pt x="162" y="16"/>
                      <a:pt x="162" y="16"/>
                      <a:pt x="161" y="16"/>
                    </a:cubicBezTo>
                    <a:cubicBezTo>
                      <a:pt x="161" y="15"/>
                      <a:pt x="161" y="15"/>
                      <a:pt x="160" y="15"/>
                    </a:cubicBezTo>
                    <a:cubicBezTo>
                      <a:pt x="160" y="14"/>
                      <a:pt x="160" y="14"/>
                      <a:pt x="160" y="14"/>
                    </a:cubicBezTo>
                    <a:cubicBezTo>
                      <a:pt x="160" y="15"/>
                      <a:pt x="160" y="15"/>
                      <a:pt x="160" y="15"/>
                    </a:cubicBezTo>
                    <a:cubicBezTo>
                      <a:pt x="159" y="14"/>
                      <a:pt x="159" y="13"/>
                      <a:pt x="158" y="13"/>
                    </a:cubicBezTo>
                    <a:cubicBezTo>
                      <a:pt x="158" y="13"/>
                      <a:pt x="158" y="13"/>
                      <a:pt x="158" y="13"/>
                    </a:cubicBezTo>
                    <a:cubicBezTo>
                      <a:pt x="158" y="13"/>
                      <a:pt x="159" y="13"/>
                      <a:pt x="159" y="13"/>
                    </a:cubicBezTo>
                    <a:cubicBezTo>
                      <a:pt x="159" y="13"/>
                      <a:pt x="160" y="13"/>
                      <a:pt x="160" y="13"/>
                    </a:cubicBezTo>
                    <a:cubicBezTo>
                      <a:pt x="161" y="13"/>
                      <a:pt x="161" y="13"/>
                      <a:pt x="162" y="13"/>
                    </a:cubicBezTo>
                    <a:cubicBezTo>
                      <a:pt x="163" y="13"/>
                      <a:pt x="163" y="13"/>
                      <a:pt x="164" y="13"/>
                    </a:cubicBezTo>
                    <a:cubicBezTo>
                      <a:pt x="165" y="13"/>
                      <a:pt x="164" y="10"/>
                      <a:pt x="164" y="10"/>
                    </a:cubicBezTo>
                    <a:cubicBezTo>
                      <a:pt x="166" y="11"/>
                      <a:pt x="168" y="11"/>
                      <a:pt x="171" y="11"/>
                    </a:cubicBezTo>
                    <a:cubicBezTo>
                      <a:pt x="169" y="11"/>
                      <a:pt x="169" y="9"/>
                      <a:pt x="168" y="8"/>
                    </a:cubicBezTo>
                    <a:cubicBezTo>
                      <a:pt x="168" y="7"/>
                      <a:pt x="165" y="5"/>
                      <a:pt x="164" y="5"/>
                    </a:cubicBezTo>
                    <a:cubicBezTo>
                      <a:pt x="164" y="5"/>
                      <a:pt x="164" y="5"/>
                      <a:pt x="164" y="5"/>
                    </a:cubicBezTo>
                    <a:cubicBezTo>
                      <a:pt x="164" y="4"/>
                      <a:pt x="164" y="4"/>
                      <a:pt x="163" y="4"/>
                    </a:cubicBezTo>
                    <a:cubicBezTo>
                      <a:pt x="163" y="4"/>
                      <a:pt x="162" y="4"/>
                      <a:pt x="161" y="3"/>
                    </a:cubicBezTo>
                    <a:cubicBezTo>
                      <a:pt x="157" y="2"/>
                      <a:pt x="151"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 name="Freeform 371">
                <a:extLst>
                  <a:ext uri="{FF2B5EF4-FFF2-40B4-BE49-F238E27FC236}">
                    <a16:creationId xmlns:a16="http://schemas.microsoft.com/office/drawing/2014/main" id="{B2E7C701-6826-4B6E-9CFC-02B9CBB979BD}"/>
                  </a:ext>
                </a:extLst>
              </p:cNvPr>
              <p:cNvSpPr>
                <a:spLocks noEditPoints="1"/>
              </p:cNvSpPr>
              <p:nvPr/>
            </p:nvSpPr>
            <p:spPr bwMode="auto">
              <a:xfrm>
                <a:off x="7704" y="2997"/>
                <a:ext cx="179" cy="128"/>
              </a:xfrm>
              <a:custGeom>
                <a:avLst/>
                <a:gdLst>
                  <a:gd name="T0" fmla="*/ 61 w 76"/>
                  <a:gd name="T1" fmla="*/ 46 h 54"/>
                  <a:gd name="T2" fmla="*/ 61 w 76"/>
                  <a:gd name="T3" fmla="*/ 46 h 54"/>
                  <a:gd name="T4" fmla="*/ 25 w 76"/>
                  <a:gd name="T5" fmla="*/ 7 h 54"/>
                  <a:gd name="T6" fmla="*/ 10 w 76"/>
                  <a:gd name="T7" fmla="*/ 28 h 54"/>
                  <a:gd name="T8" fmla="*/ 4 w 76"/>
                  <a:gd name="T9" fmla="*/ 28 h 54"/>
                  <a:gd name="T10" fmla="*/ 2 w 76"/>
                  <a:gd name="T11" fmla="*/ 32 h 54"/>
                  <a:gd name="T12" fmla="*/ 3 w 76"/>
                  <a:gd name="T13" fmla="*/ 37 h 54"/>
                  <a:gd name="T14" fmla="*/ 1 w 76"/>
                  <a:gd name="T15" fmla="*/ 44 h 54"/>
                  <a:gd name="T16" fmla="*/ 4 w 76"/>
                  <a:gd name="T17" fmla="*/ 50 h 54"/>
                  <a:gd name="T18" fmla="*/ 10 w 76"/>
                  <a:gd name="T19" fmla="*/ 48 h 54"/>
                  <a:gd name="T20" fmla="*/ 13 w 76"/>
                  <a:gd name="T21" fmla="*/ 48 h 54"/>
                  <a:gd name="T22" fmla="*/ 15 w 76"/>
                  <a:gd name="T23" fmla="*/ 48 h 54"/>
                  <a:gd name="T24" fmla="*/ 22 w 76"/>
                  <a:gd name="T25" fmla="*/ 48 h 54"/>
                  <a:gd name="T26" fmla="*/ 25 w 76"/>
                  <a:gd name="T27" fmla="*/ 47 h 54"/>
                  <a:gd name="T28" fmla="*/ 45 w 76"/>
                  <a:gd name="T29" fmla="*/ 52 h 54"/>
                  <a:gd name="T30" fmla="*/ 49 w 76"/>
                  <a:gd name="T31" fmla="*/ 51 h 54"/>
                  <a:gd name="T32" fmla="*/ 64 w 76"/>
                  <a:gd name="T33" fmla="*/ 49 h 54"/>
                  <a:gd name="T34" fmla="*/ 62 w 76"/>
                  <a:gd name="T35" fmla="*/ 48 h 54"/>
                  <a:gd name="T36" fmla="*/ 62 w 76"/>
                  <a:gd name="T37" fmla="*/ 48 h 54"/>
                  <a:gd name="T38" fmla="*/ 59 w 76"/>
                  <a:gd name="T39" fmla="*/ 46 h 54"/>
                  <a:gd name="T40" fmla="*/ 59 w 76"/>
                  <a:gd name="T41" fmla="*/ 38 h 54"/>
                  <a:gd name="T42" fmla="*/ 62 w 76"/>
                  <a:gd name="T43" fmla="*/ 39 h 54"/>
                  <a:gd name="T44" fmla="*/ 72 w 76"/>
                  <a:gd name="T45" fmla="*/ 35 h 54"/>
                  <a:gd name="T46" fmla="*/ 75 w 76"/>
                  <a:gd name="T47" fmla="*/ 31 h 54"/>
                  <a:gd name="T48" fmla="*/ 70 w 76"/>
                  <a:gd name="T49" fmla="*/ 31 h 54"/>
                  <a:gd name="T50" fmla="*/ 62 w 76"/>
                  <a:gd name="T51" fmla="*/ 28 h 54"/>
                  <a:gd name="T52" fmla="*/ 56 w 76"/>
                  <a:gd name="T53" fmla="*/ 23 h 54"/>
                  <a:gd name="T54" fmla="*/ 52 w 76"/>
                  <a:gd name="T55" fmla="*/ 25 h 54"/>
                  <a:gd name="T56" fmla="*/ 51 w 76"/>
                  <a:gd name="T57" fmla="*/ 23 h 54"/>
                  <a:gd name="T58" fmla="*/ 53 w 76"/>
                  <a:gd name="T59" fmla="*/ 23 h 54"/>
                  <a:gd name="T60" fmla="*/ 51 w 76"/>
                  <a:gd name="T61" fmla="*/ 19 h 54"/>
                  <a:gd name="T62" fmla="*/ 50 w 76"/>
                  <a:gd name="T63" fmla="*/ 20 h 54"/>
                  <a:gd name="T64" fmla="*/ 44 w 76"/>
                  <a:gd name="T65" fmla="*/ 21 h 54"/>
                  <a:gd name="T66" fmla="*/ 45 w 76"/>
                  <a:gd name="T67" fmla="*/ 16 h 54"/>
                  <a:gd name="T68" fmla="*/ 47 w 76"/>
                  <a:gd name="T69" fmla="*/ 13 h 54"/>
                  <a:gd name="T70" fmla="*/ 40 w 76"/>
                  <a:gd name="T71" fmla="*/ 7 h 54"/>
                  <a:gd name="T72" fmla="*/ 34 w 76"/>
                  <a:gd name="T73" fmla="*/ 0 h 54"/>
                  <a:gd name="T74" fmla="*/ 29 w 76"/>
                  <a:gd name="T75" fmla="*/ 8 h 54"/>
                  <a:gd name="T76" fmla="*/ 28 w 76"/>
                  <a:gd name="T7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 h="54">
                    <a:moveTo>
                      <a:pt x="61" y="46"/>
                    </a:moveTo>
                    <a:cubicBezTo>
                      <a:pt x="61" y="46"/>
                      <a:pt x="61" y="46"/>
                      <a:pt x="61" y="46"/>
                    </a:cubicBezTo>
                    <a:cubicBezTo>
                      <a:pt x="61" y="46"/>
                      <a:pt x="61" y="46"/>
                      <a:pt x="61" y="46"/>
                    </a:cubicBezTo>
                    <a:cubicBezTo>
                      <a:pt x="61" y="46"/>
                      <a:pt x="61" y="46"/>
                      <a:pt x="61" y="46"/>
                    </a:cubicBezTo>
                    <a:moveTo>
                      <a:pt x="28" y="0"/>
                    </a:moveTo>
                    <a:cubicBezTo>
                      <a:pt x="27" y="2"/>
                      <a:pt x="27" y="5"/>
                      <a:pt x="25" y="7"/>
                    </a:cubicBezTo>
                    <a:cubicBezTo>
                      <a:pt x="23" y="9"/>
                      <a:pt x="20" y="12"/>
                      <a:pt x="18" y="15"/>
                    </a:cubicBezTo>
                    <a:cubicBezTo>
                      <a:pt x="14" y="18"/>
                      <a:pt x="12" y="24"/>
                      <a:pt x="10" y="28"/>
                    </a:cubicBezTo>
                    <a:cubicBezTo>
                      <a:pt x="8" y="27"/>
                      <a:pt x="7" y="27"/>
                      <a:pt x="7" y="27"/>
                    </a:cubicBezTo>
                    <a:cubicBezTo>
                      <a:pt x="6" y="27"/>
                      <a:pt x="5" y="27"/>
                      <a:pt x="4" y="28"/>
                    </a:cubicBezTo>
                    <a:cubicBezTo>
                      <a:pt x="3" y="30"/>
                      <a:pt x="1" y="30"/>
                      <a:pt x="2" y="32"/>
                    </a:cubicBezTo>
                    <a:cubicBezTo>
                      <a:pt x="2" y="32"/>
                      <a:pt x="2" y="32"/>
                      <a:pt x="2" y="32"/>
                    </a:cubicBezTo>
                    <a:cubicBezTo>
                      <a:pt x="2" y="33"/>
                      <a:pt x="3" y="33"/>
                      <a:pt x="3" y="34"/>
                    </a:cubicBezTo>
                    <a:cubicBezTo>
                      <a:pt x="4" y="35"/>
                      <a:pt x="3" y="36"/>
                      <a:pt x="3" y="37"/>
                    </a:cubicBezTo>
                    <a:cubicBezTo>
                      <a:pt x="3" y="39"/>
                      <a:pt x="1" y="40"/>
                      <a:pt x="0" y="40"/>
                    </a:cubicBezTo>
                    <a:cubicBezTo>
                      <a:pt x="0" y="41"/>
                      <a:pt x="1" y="43"/>
                      <a:pt x="1" y="44"/>
                    </a:cubicBezTo>
                    <a:cubicBezTo>
                      <a:pt x="1" y="44"/>
                      <a:pt x="1" y="44"/>
                      <a:pt x="1" y="44"/>
                    </a:cubicBezTo>
                    <a:cubicBezTo>
                      <a:pt x="2" y="47"/>
                      <a:pt x="3" y="48"/>
                      <a:pt x="4" y="50"/>
                    </a:cubicBezTo>
                    <a:cubicBezTo>
                      <a:pt x="6" y="54"/>
                      <a:pt x="6" y="54"/>
                      <a:pt x="6" y="54"/>
                    </a:cubicBezTo>
                    <a:cubicBezTo>
                      <a:pt x="7" y="52"/>
                      <a:pt x="8" y="50"/>
                      <a:pt x="10" y="48"/>
                    </a:cubicBezTo>
                    <a:cubicBezTo>
                      <a:pt x="12" y="46"/>
                      <a:pt x="12" y="46"/>
                      <a:pt x="12" y="46"/>
                    </a:cubicBezTo>
                    <a:cubicBezTo>
                      <a:pt x="13" y="48"/>
                      <a:pt x="13" y="48"/>
                      <a:pt x="13" y="48"/>
                    </a:cubicBezTo>
                    <a:cubicBezTo>
                      <a:pt x="14" y="48"/>
                      <a:pt x="14" y="48"/>
                      <a:pt x="14" y="48"/>
                    </a:cubicBezTo>
                    <a:cubicBezTo>
                      <a:pt x="14" y="48"/>
                      <a:pt x="14" y="48"/>
                      <a:pt x="15" y="48"/>
                    </a:cubicBezTo>
                    <a:cubicBezTo>
                      <a:pt x="15" y="48"/>
                      <a:pt x="15" y="48"/>
                      <a:pt x="15" y="48"/>
                    </a:cubicBezTo>
                    <a:cubicBezTo>
                      <a:pt x="16" y="48"/>
                      <a:pt x="19" y="48"/>
                      <a:pt x="22" y="48"/>
                    </a:cubicBezTo>
                    <a:cubicBezTo>
                      <a:pt x="22" y="48"/>
                      <a:pt x="22" y="48"/>
                      <a:pt x="22" y="48"/>
                    </a:cubicBezTo>
                    <a:cubicBezTo>
                      <a:pt x="23" y="48"/>
                      <a:pt x="24" y="47"/>
                      <a:pt x="25" y="47"/>
                    </a:cubicBezTo>
                    <a:cubicBezTo>
                      <a:pt x="30" y="47"/>
                      <a:pt x="36" y="49"/>
                      <a:pt x="41" y="51"/>
                    </a:cubicBezTo>
                    <a:cubicBezTo>
                      <a:pt x="42" y="51"/>
                      <a:pt x="43" y="52"/>
                      <a:pt x="45" y="52"/>
                    </a:cubicBezTo>
                    <a:cubicBezTo>
                      <a:pt x="45" y="51"/>
                      <a:pt x="45" y="50"/>
                      <a:pt x="45" y="49"/>
                    </a:cubicBezTo>
                    <a:cubicBezTo>
                      <a:pt x="46" y="51"/>
                      <a:pt x="48" y="51"/>
                      <a:pt x="49" y="51"/>
                    </a:cubicBezTo>
                    <a:cubicBezTo>
                      <a:pt x="50" y="51"/>
                      <a:pt x="52" y="51"/>
                      <a:pt x="54" y="51"/>
                    </a:cubicBezTo>
                    <a:cubicBezTo>
                      <a:pt x="58" y="51"/>
                      <a:pt x="64" y="51"/>
                      <a:pt x="64" y="49"/>
                    </a:cubicBezTo>
                    <a:cubicBezTo>
                      <a:pt x="64" y="48"/>
                      <a:pt x="63" y="48"/>
                      <a:pt x="63" y="48"/>
                    </a:cubicBezTo>
                    <a:cubicBezTo>
                      <a:pt x="62" y="48"/>
                      <a:pt x="62" y="48"/>
                      <a:pt x="62" y="48"/>
                    </a:cubicBezTo>
                    <a:cubicBezTo>
                      <a:pt x="62" y="48"/>
                      <a:pt x="62" y="48"/>
                      <a:pt x="62" y="48"/>
                    </a:cubicBezTo>
                    <a:cubicBezTo>
                      <a:pt x="62" y="48"/>
                      <a:pt x="62" y="48"/>
                      <a:pt x="62" y="48"/>
                    </a:cubicBezTo>
                    <a:cubicBezTo>
                      <a:pt x="61" y="47"/>
                      <a:pt x="61" y="46"/>
                      <a:pt x="61" y="46"/>
                    </a:cubicBezTo>
                    <a:cubicBezTo>
                      <a:pt x="61" y="46"/>
                      <a:pt x="60" y="46"/>
                      <a:pt x="59" y="46"/>
                    </a:cubicBezTo>
                    <a:cubicBezTo>
                      <a:pt x="58" y="45"/>
                      <a:pt x="57" y="44"/>
                      <a:pt x="56" y="43"/>
                    </a:cubicBezTo>
                    <a:cubicBezTo>
                      <a:pt x="54" y="40"/>
                      <a:pt x="56" y="38"/>
                      <a:pt x="59" y="38"/>
                    </a:cubicBezTo>
                    <a:cubicBezTo>
                      <a:pt x="59" y="38"/>
                      <a:pt x="60" y="38"/>
                      <a:pt x="60" y="38"/>
                    </a:cubicBezTo>
                    <a:cubicBezTo>
                      <a:pt x="61" y="39"/>
                      <a:pt x="60" y="39"/>
                      <a:pt x="62" y="39"/>
                    </a:cubicBezTo>
                    <a:cubicBezTo>
                      <a:pt x="62" y="39"/>
                      <a:pt x="62" y="39"/>
                      <a:pt x="62" y="39"/>
                    </a:cubicBezTo>
                    <a:cubicBezTo>
                      <a:pt x="65" y="39"/>
                      <a:pt x="70" y="36"/>
                      <a:pt x="72" y="35"/>
                    </a:cubicBezTo>
                    <a:cubicBezTo>
                      <a:pt x="73" y="35"/>
                      <a:pt x="75" y="34"/>
                      <a:pt x="76" y="33"/>
                    </a:cubicBezTo>
                    <a:cubicBezTo>
                      <a:pt x="76" y="32"/>
                      <a:pt x="76" y="31"/>
                      <a:pt x="75" y="31"/>
                    </a:cubicBezTo>
                    <a:cubicBezTo>
                      <a:pt x="74" y="31"/>
                      <a:pt x="73" y="31"/>
                      <a:pt x="72" y="31"/>
                    </a:cubicBezTo>
                    <a:cubicBezTo>
                      <a:pt x="71" y="31"/>
                      <a:pt x="70" y="31"/>
                      <a:pt x="70" y="31"/>
                    </a:cubicBezTo>
                    <a:cubicBezTo>
                      <a:pt x="68" y="30"/>
                      <a:pt x="66" y="26"/>
                      <a:pt x="64" y="26"/>
                    </a:cubicBezTo>
                    <a:cubicBezTo>
                      <a:pt x="63" y="26"/>
                      <a:pt x="63" y="27"/>
                      <a:pt x="62" y="28"/>
                    </a:cubicBezTo>
                    <a:cubicBezTo>
                      <a:pt x="63" y="26"/>
                      <a:pt x="59" y="23"/>
                      <a:pt x="57" y="23"/>
                    </a:cubicBezTo>
                    <a:cubicBezTo>
                      <a:pt x="56" y="23"/>
                      <a:pt x="56" y="23"/>
                      <a:pt x="56" y="23"/>
                    </a:cubicBezTo>
                    <a:cubicBezTo>
                      <a:pt x="54" y="23"/>
                      <a:pt x="55" y="24"/>
                      <a:pt x="53" y="25"/>
                    </a:cubicBezTo>
                    <a:cubicBezTo>
                      <a:pt x="53" y="25"/>
                      <a:pt x="53" y="25"/>
                      <a:pt x="52" y="25"/>
                    </a:cubicBezTo>
                    <a:cubicBezTo>
                      <a:pt x="51" y="25"/>
                      <a:pt x="49" y="24"/>
                      <a:pt x="50" y="23"/>
                    </a:cubicBezTo>
                    <a:cubicBezTo>
                      <a:pt x="50" y="23"/>
                      <a:pt x="51" y="23"/>
                      <a:pt x="51" y="23"/>
                    </a:cubicBezTo>
                    <a:cubicBezTo>
                      <a:pt x="51" y="23"/>
                      <a:pt x="52" y="23"/>
                      <a:pt x="52" y="23"/>
                    </a:cubicBezTo>
                    <a:cubicBezTo>
                      <a:pt x="52" y="23"/>
                      <a:pt x="52" y="23"/>
                      <a:pt x="53" y="23"/>
                    </a:cubicBezTo>
                    <a:cubicBezTo>
                      <a:pt x="53" y="23"/>
                      <a:pt x="54" y="23"/>
                      <a:pt x="54" y="22"/>
                    </a:cubicBezTo>
                    <a:cubicBezTo>
                      <a:pt x="55" y="21"/>
                      <a:pt x="52" y="19"/>
                      <a:pt x="51" y="19"/>
                    </a:cubicBezTo>
                    <a:cubicBezTo>
                      <a:pt x="51" y="19"/>
                      <a:pt x="51" y="19"/>
                      <a:pt x="51" y="19"/>
                    </a:cubicBezTo>
                    <a:cubicBezTo>
                      <a:pt x="51" y="19"/>
                      <a:pt x="50" y="20"/>
                      <a:pt x="50" y="20"/>
                    </a:cubicBezTo>
                    <a:cubicBezTo>
                      <a:pt x="47" y="21"/>
                      <a:pt x="45" y="21"/>
                      <a:pt x="42" y="22"/>
                    </a:cubicBezTo>
                    <a:cubicBezTo>
                      <a:pt x="42" y="21"/>
                      <a:pt x="43" y="21"/>
                      <a:pt x="44" y="21"/>
                    </a:cubicBezTo>
                    <a:cubicBezTo>
                      <a:pt x="46" y="20"/>
                      <a:pt x="45" y="20"/>
                      <a:pt x="45" y="19"/>
                    </a:cubicBezTo>
                    <a:cubicBezTo>
                      <a:pt x="45" y="18"/>
                      <a:pt x="45" y="17"/>
                      <a:pt x="45" y="16"/>
                    </a:cubicBezTo>
                    <a:cubicBezTo>
                      <a:pt x="45" y="15"/>
                      <a:pt x="45" y="16"/>
                      <a:pt x="45" y="15"/>
                    </a:cubicBezTo>
                    <a:cubicBezTo>
                      <a:pt x="46" y="14"/>
                      <a:pt x="47" y="15"/>
                      <a:pt x="47" y="13"/>
                    </a:cubicBezTo>
                    <a:cubicBezTo>
                      <a:pt x="47" y="12"/>
                      <a:pt x="45" y="10"/>
                      <a:pt x="44" y="9"/>
                    </a:cubicBezTo>
                    <a:cubicBezTo>
                      <a:pt x="43" y="7"/>
                      <a:pt x="42" y="7"/>
                      <a:pt x="40" y="7"/>
                    </a:cubicBezTo>
                    <a:cubicBezTo>
                      <a:pt x="37" y="7"/>
                      <a:pt x="37" y="0"/>
                      <a:pt x="35" y="0"/>
                    </a:cubicBezTo>
                    <a:cubicBezTo>
                      <a:pt x="35" y="0"/>
                      <a:pt x="34" y="0"/>
                      <a:pt x="34" y="0"/>
                    </a:cubicBezTo>
                    <a:cubicBezTo>
                      <a:pt x="33" y="1"/>
                      <a:pt x="34" y="2"/>
                      <a:pt x="34" y="3"/>
                    </a:cubicBezTo>
                    <a:cubicBezTo>
                      <a:pt x="33" y="5"/>
                      <a:pt x="32" y="7"/>
                      <a:pt x="29" y="8"/>
                    </a:cubicBezTo>
                    <a:cubicBezTo>
                      <a:pt x="28" y="7"/>
                      <a:pt x="29" y="6"/>
                      <a:pt x="30" y="5"/>
                    </a:cubicBezTo>
                    <a:cubicBezTo>
                      <a:pt x="30" y="3"/>
                      <a:pt x="29" y="2"/>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 name="Freeform 372">
                <a:extLst>
                  <a:ext uri="{FF2B5EF4-FFF2-40B4-BE49-F238E27FC236}">
                    <a16:creationId xmlns:a16="http://schemas.microsoft.com/office/drawing/2014/main" id="{214D2EDE-294D-4ECB-8104-318C82EBEB23}"/>
                  </a:ext>
                </a:extLst>
              </p:cNvPr>
              <p:cNvSpPr>
                <a:spLocks noEditPoints="1"/>
              </p:cNvSpPr>
              <p:nvPr/>
            </p:nvSpPr>
            <p:spPr bwMode="auto">
              <a:xfrm>
                <a:off x="7453" y="3101"/>
                <a:ext cx="265" cy="168"/>
              </a:xfrm>
              <a:custGeom>
                <a:avLst/>
                <a:gdLst>
                  <a:gd name="T0" fmla="*/ 75 w 112"/>
                  <a:gd name="T1" fmla="*/ 63 h 71"/>
                  <a:gd name="T2" fmla="*/ 75 w 112"/>
                  <a:gd name="T3" fmla="*/ 63 h 71"/>
                  <a:gd name="T4" fmla="*/ 75 w 112"/>
                  <a:gd name="T5" fmla="*/ 63 h 71"/>
                  <a:gd name="T6" fmla="*/ 75 w 112"/>
                  <a:gd name="T7" fmla="*/ 63 h 71"/>
                  <a:gd name="T8" fmla="*/ 75 w 112"/>
                  <a:gd name="T9" fmla="*/ 63 h 71"/>
                  <a:gd name="T10" fmla="*/ 99 w 112"/>
                  <a:gd name="T11" fmla="*/ 0 h 71"/>
                  <a:gd name="T12" fmla="*/ 100 w 112"/>
                  <a:gd name="T13" fmla="*/ 5 h 71"/>
                  <a:gd name="T14" fmla="*/ 100 w 112"/>
                  <a:gd name="T15" fmla="*/ 7 h 71"/>
                  <a:gd name="T16" fmla="*/ 98 w 112"/>
                  <a:gd name="T17" fmla="*/ 12 h 71"/>
                  <a:gd name="T18" fmla="*/ 93 w 112"/>
                  <a:gd name="T19" fmla="*/ 15 h 71"/>
                  <a:gd name="T20" fmla="*/ 86 w 112"/>
                  <a:gd name="T21" fmla="*/ 9 h 71"/>
                  <a:gd name="T22" fmla="*/ 86 w 112"/>
                  <a:gd name="T23" fmla="*/ 7 h 71"/>
                  <a:gd name="T24" fmla="*/ 82 w 112"/>
                  <a:gd name="T25" fmla="*/ 4 h 71"/>
                  <a:gd name="T26" fmla="*/ 64 w 112"/>
                  <a:gd name="T27" fmla="*/ 28 h 71"/>
                  <a:gd name="T28" fmla="*/ 39 w 112"/>
                  <a:gd name="T29" fmla="*/ 36 h 71"/>
                  <a:gd name="T30" fmla="*/ 32 w 112"/>
                  <a:gd name="T31" fmla="*/ 45 h 71"/>
                  <a:gd name="T32" fmla="*/ 29 w 112"/>
                  <a:gd name="T33" fmla="*/ 44 h 71"/>
                  <a:gd name="T34" fmla="*/ 29 w 112"/>
                  <a:gd name="T35" fmla="*/ 44 h 71"/>
                  <a:gd name="T36" fmla="*/ 29 w 112"/>
                  <a:gd name="T37" fmla="*/ 45 h 71"/>
                  <a:gd name="T38" fmla="*/ 29 w 112"/>
                  <a:gd name="T39" fmla="*/ 59 h 71"/>
                  <a:gd name="T40" fmla="*/ 32 w 112"/>
                  <a:gd name="T41" fmla="*/ 64 h 71"/>
                  <a:gd name="T42" fmla="*/ 25 w 112"/>
                  <a:gd name="T43" fmla="*/ 63 h 71"/>
                  <a:gd name="T44" fmla="*/ 18 w 112"/>
                  <a:gd name="T45" fmla="*/ 62 h 71"/>
                  <a:gd name="T46" fmla="*/ 15 w 112"/>
                  <a:gd name="T47" fmla="*/ 57 h 71"/>
                  <a:gd name="T48" fmla="*/ 9 w 112"/>
                  <a:gd name="T49" fmla="*/ 58 h 71"/>
                  <a:gd name="T50" fmla="*/ 5 w 112"/>
                  <a:gd name="T51" fmla="*/ 57 h 71"/>
                  <a:gd name="T52" fmla="*/ 0 w 112"/>
                  <a:gd name="T53" fmla="*/ 53 h 71"/>
                  <a:gd name="T54" fmla="*/ 6 w 112"/>
                  <a:gd name="T55" fmla="*/ 62 h 71"/>
                  <a:gd name="T56" fmla="*/ 12 w 112"/>
                  <a:gd name="T57" fmla="*/ 67 h 71"/>
                  <a:gd name="T58" fmla="*/ 14 w 112"/>
                  <a:gd name="T59" fmla="*/ 69 h 71"/>
                  <a:gd name="T60" fmla="*/ 17 w 112"/>
                  <a:gd name="T61" fmla="*/ 71 h 71"/>
                  <a:gd name="T62" fmla="*/ 23 w 112"/>
                  <a:gd name="T63" fmla="*/ 69 h 71"/>
                  <a:gd name="T64" fmla="*/ 30 w 112"/>
                  <a:gd name="T65" fmla="*/ 67 h 71"/>
                  <a:gd name="T66" fmla="*/ 36 w 112"/>
                  <a:gd name="T67" fmla="*/ 68 h 71"/>
                  <a:gd name="T68" fmla="*/ 38 w 112"/>
                  <a:gd name="T69" fmla="*/ 68 h 71"/>
                  <a:gd name="T70" fmla="*/ 44 w 112"/>
                  <a:gd name="T71" fmla="*/ 66 h 71"/>
                  <a:gd name="T72" fmla="*/ 49 w 112"/>
                  <a:gd name="T73" fmla="*/ 60 h 71"/>
                  <a:gd name="T74" fmla="*/ 61 w 112"/>
                  <a:gd name="T75" fmla="*/ 58 h 71"/>
                  <a:gd name="T76" fmla="*/ 66 w 112"/>
                  <a:gd name="T77" fmla="*/ 60 h 71"/>
                  <a:gd name="T78" fmla="*/ 69 w 112"/>
                  <a:gd name="T79" fmla="*/ 62 h 71"/>
                  <a:gd name="T80" fmla="*/ 75 w 112"/>
                  <a:gd name="T81" fmla="*/ 63 h 71"/>
                  <a:gd name="T82" fmla="*/ 77 w 112"/>
                  <a:gd name="T83" fmla="*/ 62 h 71"/>
                  <a:gd name="T84" fmla="*/ 85 w 112"/>
                  <a:gd name="T85" fmla="*/ 60 h 71"/>
                  <a:gd name="T86" fmla="*/ 88 w 112"/>
                  <a:gd name="T87" fmla="*/ 60 h 71"/>
                  <a:gd name="T88" fmla="*/ 89 w 112"/>
                  <a:gd name="T89" fmla="*/ 60 h 71"/>
                  <a:gd name="T90" fmla="*/ 91 w 112"/>
                  <a:gd name="T91" fmla="*/ 59 h 71"/>
                  <a:gd name="T92" fmla="*/ 93 w 112"/>
                  <a:gd name="T93" fmla="*/ 55 h 71"/>
                  <a:gd name="T94" fmla="*/ 95 w 112"/>
                  <a:gd name="T95" fmla="*/ 53 h 71"/>
                  <a:gd name="T96" fmla="*/ 96 w 112"/>
                  <a:gd name="T97" fmla="*/ 52 h 71"/>
                  <a:gd name="T98" fmla="*/ 95 w 112"/>
                  <a:gd name="T99" fmla="*/ 51 h 71"/>
                  <a:gd name="T100" fmla="*/ 98 w 112"/>
                  <a:gd name="T101" fmla="*/ 43 h 71"/>
                  <a:gd name="T102" fmla="*/ 101 w 112"/>
                  <a:gd name="T103" fmla="*/ 42 h 71"/>
                  <a:gd name="T104" fmla="*/ 101 w 112"/>
                  <a:gd name="T105" fmla="*/ 41 h 71"/>
                  <a:gd name="T106" fmla="*/ 108 w 112"/>
                  <a:gd name="T107" fmla="*/ 30 h 71"/>
                  <a:gd name="T108" fmla="*/ 109 w 112"/>
                  <a:gd name="T109" fmla="*/ 29 h 71"/>
                  <a:gd name="T110" fmla="*/ 112 w 112"/>
                  <a:gd name="T111" fmla="*/ 10 h 71"/>
                  <a:gd name="T112" fmla="*/ 106 w 112"/>
                  <a:gd name="T113" fmla="*/ 9 h 71"/>
                  <a:gd name="T114" fmla="*/ 101 w 112"/>
                  <a:gd name="T115" fmla="*/ 6 h 71"/>
                  <a:gd name="T116" fmla="*/ 99 w 112"/>
                  <a:gd name="T11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71">
                    <a:moveTo>
                      <a:pt x="75" y="63"/>
                    </a:moveTo>
                    <a:cubicBezTo>
                      <a:pt x="75" y="63"/>
                      <a:pt x="75" y="63"/>
                      <a:pt x="75" y="63"/>
                    </a:cubicBezTo>
                    <a:cubicBezTo>
                      <a:pt x="75" y="63"/>
                      <a:pt x="75" y="63"/>
                      <a:pt x="75" y="63"/>
                    </a:cubicBezTo>
                    <a:moveTo>
                      <a:pt x="75" y="63"/>
                    </a:moveTo>
                    <a:cubicBezTo>
                      <a:pt x="75" y="63"/>
                      <a:pt x="75" y="63"/>
                      <a:pt x="75" y="63"/>
                    </a:cubicBezTo>
                    <a:cubicBezTo>
                      <a:pt x="75" y="63"/>
                      <a:pt x="75" y="63"/>
                      <a:pt x="75" y="63"/>
                    </a:cubicBezTo>
                    <a:moveTo>
                      <a:pt x="75" y="63"/>
                    </a:moveTo>
                    <a:cubicBezTo>
                      <a:pt x="75" y="63"/>
                      <a:pt x="75" y="63"/>
                      <a:pt x="75" y="63"/>
                    </a:cubicBezTo>
                    <a:cubicBezTo>
                      <a:pt x="75" y="63"/>
                      <a:pt x="75" y="63"/>
                      <a:pt x="75" y="63"/>
                    </a:cubicBezTo>
                    <a:cubicBezTo>
                      <a:pt x="75" y="63"/>
                      <a:pt x="75" y="63"/>
                      <a:pt x="75" y="63"/>
                    </a:cubicBezTo>
                    <a:moveTo>
                      <a:pt x="99" y="0"/>
                    </a:moveTo>
                    <a:cubicBezTo>
                      <a:pt x="99" y="0"/>
                      <a:pt x="99" y="0"/>
                      <a:pt x="99" y="0"/>
                    </a:cubicBezTo>
                    <a:cubicBezTo>
                      <a:pt x="99" y="1"/>
                      <a:pt x="99" y="1"/>
                      <a:pt x="99" y="1"/>
                    </a:cubicBezTo>
                    <a:cubicBezTo>
                      <a:pt x="99" y="3"/>
                      <a:pt x="100" y="4"/>
                      <a:pt x="100" y="5"/>
                    </a:cubicBezTo>
                    <a:cubicBezTo>
                      <a:pt x="100" y="6"/>
                      <a:pt x="100" y="6"/>
                      <a:pt x="100" y="6"/>
                    </a:cubicBezTo>
                    <a:cubicBezTo>
                      <a:pt x="100" y="6"/>
                      <a:pt x="100" y="7"/>
                      <a:pt x="100" y="7"/>
                    </a:cubicBezTo>
                    <a:cubicBezTo>
                      <a:pt x="100" y="8"/>
                      <a:pt x="100" y="9"/>
                      <a:pt x="99" y="10"/>
                    </a:cubicBezTo>
                    <a:cubicBezTo>
                      <a:pt x="99" y="11"/>
                      <a:pt x="99" y="12"/>
                      <a:pt x="98" y="12"/>
                    </a:cubicBezTo>
                    <a:cubicBezTo>
                      <a:pt x="97" y="15"/>
                      <a:pt x="95" y="15"/>
                      <a:pt x="94" y="15"/>
                    </a:cubicBezTo>
                    <a:cubicBezTo>
                      <a:pt x="93" y="15"/>
                      <a:pt x="93" y="15"/>
                      <a:pt x="93" y="15"/>
                    </a:cubicBezTo>
                    <a:cubicBezTo>
                      <a:pt x="91" y="15"/>
                      <a:pt x="89" y="13"/>
                      <a:pt x="87" y="10"/>
                    </a:cubicBezTo>
                    <a:cubicBezTo>
                      <a:pt x="87" y="9"/>
                      <a:pt x="86" y="9"/>
                      <a:pt x="86" y="9"/>
                    </a:cubicBezTo>
                    <a:cubicBezTo>
                      <a:pt x="86" y="8"/>
                      <a:pt x="86" y="8"/>
                      <a:pt x="86" y="8"/>
                    </a:cubicBezTo>
                    <a:cubicBezTo>
                      <a:pt x="86" y="7"/>
                      <a:pt x="86" y="7"/>
                      <a:pt x="86" y="7"/>
                    </a:cubicBezTo>
                    <a:cubicBezTo>
                      <a:pt x="85" y="7"/>
                      <a:pt x="85" y="7"/>
                      <a:pt x="85" y="6"/>
                    </a:cubicBezTo>
                    <a:cubicBezTo>
                      <a:pt x="85" y="6"/>
                      <a:pt x="84" y="5"/>
                      <a:pt x="82" y="4"/>
                    </a:cubicBezTo>
                    <a:cubicBezTo>
                      <a:pt x="78" y="9"/>
                      <a:pt x="75" y="13"/>
                      <a:pt x="72" y="18"/>
                    </a:cubicBezTo>
                    <a:cubicBezTo>
                      <a:pt x="69" y="21"/>
                      <a:pt x="67" y="25"/>
                      <a:pt x="64" y="28"/>
                    </a:cubicBezTo>
                    <a:cubicBezTo>
                      <a:pt x="62" y="30"/>
                      <a:pt x="60" y="31"/>
                      <a:pt x="57" y="31"/>
                    </a:cubicBezTo>
                    <a:cubicBezTo>
                      <a:pt x="51" y="33"/>
                      <a:pt x="45" y="34"/>
                      <a:pt x="39" y="36"/>
                    </a:cubicBezTo>
                    <a:cubicBezTo>
                      <a:pt x="35" y="36"/>
                      <a:pt x="36" y="37"/>
                      <a:pt x="35" y="40"/>
                    </a:cubicBezTo>
                    <a:cubicBezTo>
                      <a:pt x="35" y="42"/>
                      <a:pt x="35" y="45"/>
                      <a:pt x="32" y="45"/>
                    </a:cubicBezTo>
                    <a:cubicBezTo>
                      <a:pt x="31" y="45"/>
                      <a:pt x="30" y="44"/>
                      <a:pt x="30" y="44"/>
                    </a:cubicBezTo>
                    <a:cubicBezTo>
                      <a:pt x="29" y="44"/>
                      <a:pt x="29" y="44"/>
                      <a:pt x="29" y="44"/>
                    </a:cubicBezTo>
                    <a:cubicBezTo>
                      <a:pt x="29" y="44"/>
                      <a:pt x="29" y="44"/>
                      <a:pt x="29" y="44"/>
                    </a:cubicBezTo>
                    <a:cubicBezTo>
                      <a:pt x="29" y="44"/>
                      <a:pt x="29" y="44"/>
                      <a:pt x="29" y="44"/>
                    </a:cubicBezTo>
                    <a:cubicBezTo>
                      <a:pt x="29" y="44"/>
                      <a:pt x="29" y="44"/>
                      <a:pt x="29" y="44"/>
                    </a:cubicBezTo>
                    <a:cubicBezTo>
                      <a:pt x="29" y="44"/>
                      <a:pt x="29" y="44"/>
                      <a:pt x="29" y="45"/>
                    </a:cubicBezTo>
                    <a:cubicBezTo>
                      <a:pt x="29" y="46"/>
                      <a:pt x="30" y="48"/>
                      <a:pt x="31" y="49"/>
                    </a:cubicBezTo>
                    <a:cubicBezTo>
                      <a:pt x="28" y="51"/>
                      <a:pt x="24" y="58"/>
                      <a:pt x="29" y="59"/>
                    </a:cubicBezTo>
                    <a:cubicBezTo>
                      <a:pt x="27" y="59"/>
                      <a:pt x="23" y="59"/>
                      <a:pt x="26" y="62"/>
                    </a:cubicBezTo>
                    <a:cubicBezTo>
                      <a:pt x="27" y="63"/>
                      <a:pt x="30" y="63"/>
                      <a:pt x="32" y="64"/>
                    </a:cubicBezTo>
                    <a:cubicBezTo>
                      <a:pt x="31" y="64"/>
                      <a:pt x="30" y="64"/>
                      <a:pt x="30" y="64"/>
                    </a:cubicBezTo>
                    <a:cubicBezTo>
                      <a:pt x="28" y="64"/>
                      <a:pt x="27" y="64"/>
                      <a:pt x="25" y="63"/>
                    </a:cubicBezTo>
                    <a:cubicBezTo>
                      <a:pt x="23" y="63"/>
                      <a:pt x="22" y="62"/>
                      <a:pt x="20" y="62"/>
                    </a:cubicBezTo>
                    <a:cubicBezTo>
                      <a:pt x="19" y="62"/>
                      <a:pt x="19" y="62"/>
                      <a:pt x="18" y="62"/>
                    </a:cubicBezTo>
                    <a:cubicBezTo>
                      <a:pt x="20" y="61"/>
                      <a:pt x="19" y="60"/>
                      <a:pt x="18" y="59"/>
                    </a:cubicBezTo>
                    <a:cubicBezTo>
                      <a:pt x="15" y="57"/>
                      <a:pt x="15" y="57"/>
                      <a:pt x="15" y="57"/>
                    </a:cubicBezTo>
                    <a:cubicBezTo>
                      <a:pt x="15" y="57"/>
                      <a:pt x="15" y="57"/>
                      <a:pt x="14" y="57"/>
                    </a:cubicBezTo>
                    <a:cubicBezTo>
                      <a:pt x="12" y="57"/>
                      <a:pt x="10" y="58"/>
                      <a:pt x="9" y="58"/>
                    </a:cubicBezTo>
                    <a:cubicBezTo>
                      <a:pt x="9" y="58"/>
                      <a:pt x="8" y="58"/>
                      <a:pt x="8" y="58"/>
                    </a:cubicBezTo>
                    <a:cubicBezTo>
                      <a:pt x="7" y="58"/>
                      <a:pt x="6" y="58"/>
                      <a:pt x="5" y="57"/>
                    </a:cubicBezTo>
                    <a:cubicBezTo>
                      <a:pt x="3" y="57"/>
                      <a:pt x="2" y="55"/>
                      <a:pt x="0" y="53"/>
                    </a:cubicBezTo>
                    <a:cubicBezTo>
                      <a:pt x="0" y="53"/>
                      <a:pt x="0" y="53"/>
                      <a:pt x="0" y="53"/>
                    </a:cubicBezTo>
                    <a:cubicBezTo>
                      <a:pt x="0" y="53"/>
                      <a:pt x="0" y="54"/>
                      <a:pt x="0" y="55"/>
                    </a:cubicBezTo>
                    <a:cubicBezTo>
                      <a:pt x="0" y="57"/>
                      <a:pt x="3" y="60"/>
                      <a:pt x="6" y="62"/>
                    </a:cubicBezTo>
                    <a:cubicBezTo>
                      <a:pt x="7" y="63"/>
                      <a:pt x="7" y="63"/>
                      <a:pt x="7" y="63"/>
                    </a:cubicBezTo>
                    <a:cubicBezTo>
                      <a:pt x="9" y="64"/>
                      <a:pt x="10" y="66"/>
                      <a:pt x="12" y="67"/>
                    </a:cubicBezTo>
                    <a:cubicBezTo>
                      <a:pt x="13" y="68"/>
                      <a:pt x="13" y="68"/>
                      <a:pt x="13" y="68"/>
                    </a:cubicBezTo>
                    <a:cubicBezTo>
                      <a:pt x="14" y="69"/>
                      <a:pt x="14" y="69"/>
                      <a:pt x="14" y="69"/>
                    </a:cubicBezTo>
                    <a:cubicBezTo>
                      <a:pt x="15" y="70"/>
                      <a:pt x="16" y="71"/>
                      <a:pt x="17" y="71"/>
                    </a:cubicBezTo>
                    <a:cubicBezTo>
                      <a:pt x="17" y="71"/>
                      <a:pt x="17" y="71"/>
                      <a:pt x="17" y="71"/>
                    </a:cubicBezTo>
                    <a:cubicBezTo>
                      <a:pt x="18" y="71"/>
                      <a:pt x="21" y="70"/>
                      <a:pt x="23" y="69"/>
                    </a:cubicBezTo>
                    <a:cubicBezTo>
                      <a:pt x="23" y="69"/>
                      <a:pt x="23" y="69"/>
                      <a:pt x="23" y="69"/>
                    </a:cubicBezTo>
                    <a:cubicBezTo>
                      <a:pt x="24" y="69"/>
                      <a:pt x="24" y="68"/>
                      <a:pt x="25" y="68"/>
                    </a:cubicBezTo>
                    <a:cubicBezTo>
                      <a:pt x="27" y="67"/>
                      <a:pt x="29" y="67"/>
                      <a:pt x="30" y="67"/>
                    </a:cubicBezTo>
                    <a:cubicBezTo>
                      <a:pt x="32" y="67"/>
                      <a:pt x="34" y="67"/>
                      <a:pt x="35" y="68"/>
                    </a:cubicBezTo>
                    <a:cubicBezTo>
                      <a:pt x="36" y="68"/>
                      <a:pt x="36" y="68"/>
                      <a:pt x="36" y="68"/>
                    </a:cubicBezTo>
                    <a:cubicBezTo>
                      <a:pt x="36" y="68"/>
                      <a:pt x="37" y="68"/>
                      <a:pt x="38" y="68"/>
                    </a:cubicBezTo>
                    <a:cubicBezTo>
                      <a:pt x="38" y="68"/>
                      <a:pt x="38" y="68"/>
                      <a:pt x="38" y="68"/>
                    </a:cubicBezTo>
                    <a:cubicBezTo>
                      <a:pt x="40" y="68"/>
                      <a:pt x="43" y="67"/>
                      <a:pt x="44" y="66"/>
                    </a:cubicBezTo>
                    <a:cubicBezTo>
                      <a:pt x="44" y="66"/>
                      <a:pt x="44" y="66"/>
                      <a:pt x="44" y="66"/>
                    </a:cubicBezTo>
                    <a:cubicBezTo>
                      <a:pt x="44" y="65"/>
                      <a:pt x="44" y="65"/>
                      <a:pt x="44" y="65"/>
                    </a:cubicBezTo>
                    <a:cubicBezTo>
                      <a:pt x="45" y="61"/>
                      <a:pt x="46" y="60"/>
                      <a:pt x="49" y="60"/>
                    </a:cubicBezTo>
                    <a:cubicBezTo>
                      <a:pt x="51" y="59"/>
                      <a:pt x="51" y="59"/>
                      <a:pt x="51" y="59"/>
                    </a:cubicBezTo>
                    <a:cubicBezTo>
                      <a:pt x="56" y="58"/>
                      <a:pt x="59" y="58"/>
                      <a:pt x="61" y="58"/>
                    </a:cubicBezTo>
                    <a:cubicBezTo>
                      <a:pt x="64" y="58"/>
                      <a:pt x="65" y="59"/>
                      <a:pt x="66" y="60"/>
                    </a:cubicBezTo>
                    <a:cubicBezTo>
                      <a:pt x="66" y="60"/>
                      <a:pt x="66" y="60"/>
                      <a:pt x="66" y="60"/>
                    </a:cubicBezTo>
                    <a:cubicBezTo>
                      <a:pt x="67" y="61"/>
                      <a:pt x="67" y="61"/>
                      <a:pt x="68" y="61"/>
                    </a:cubicBezTo>
                    <a:cubicBezTo>
                      <a:pt x="69" y="62"/>
                      <a:pt x="69" y="62"/>
                      <a:pt x="69" y="62"/>
                    </a:cubicBezTo>
                    <a:cubicBezTo>
                      <a:pt x="71" y="63"/>
                      <a:pt x="73" y="64"/>
                      <a:pt x="75" y="64"/>
                    </a:cubicBezTo>
                    <a:cubicBezTo>
                      <a:pt x="75" y="64"/>
                      <a:pt x="75" y="64"/>
                      <a:pt x="75" y="63"/>
                    </a:cubicBezTo>
                    <a:cubicBezTo>
                      <a:pt x="75" y="63"/>
                      <a:pt x="76" y="63"/>
                      <a:pt x="76" y="63"/>
                    </a:cubicBezTo>
                    <a:cubicBezTo>
                      <a:pt x="76" y="63"/>
                      <a:pt x="77" y="63"/>
                      <a:pt x="77" y="62"/>
                    </a:cubicBezTo>
                    <a:cubicBezTo>
                      <a:pt x="79" y="62"/>
                      <a:pt x="81" y="61"/>
                      <a:pt x="84" y="61"/>
                    </a:cubicBezTo>
                    <a:cubicBezTo>
                      <a:pt x="84" y="61"/>
                      <a:pt x="84" y="60"/>
                      <a:pt x="85" y="60"/>
                    </a:cubicBezTo>
                    <a:cubicBezTo>
                      <a:pt x="89" y="59"/>
                      <a:pt x="89" y="59"/>
                      <a:pt x="89" y="59"/>
                    </a:cubicBezTo>
                    <a:cubicBezTo>
                      <a:pt x="88" y="60"/>
                      <a:pt x="88" y="60"/>
                      <a:pt x="88" y="60"/>
                    </a:cubicBezTo>
                    <a:cubicBezTo>
                      <a:pt x="89" y="60"/>
                      <a:pt x="89" y="60"/>
                      <a:pt x="89" y="60"/>
                    </a:cubicBezTo>
                    <a:cubicBezTo>
                      <a:pt x="89" y="60"/>
                      <a:pt x="89" y="60"/>
                      <a:pt x="89" y="60"/>
                    </a:cubicBezTo>
                    <a:cubicBezTo>
                      <a:pt x="89" y="60"/>
                      <a:pt x="90" y="60"/>
                      <a:pt x="90" y="60"/>
                    </a:cubicBezTo>
                    <a:cubicBezTo>
                      <a:pt x="91" y="60"/>
                      <a:pt x="91" y="60"/>
                      <a:pt x="91" y="59"/>
                    </a:cubicBezTo>
                    <a:cubicBezTo>
                      <a:pt x="92" y="57"/>
                      <a:pt x="92" y="57"/>
                      <a:pt x="92" y="57"/>
                    </a:cubicBezTo>
                    <a:cubicBezTo>
                      <a:pt x="92" y="56"/>
                      <a:pt x="92" y="56"/>
                      <a:pt x="93" y="55"/>
                    </a:cubicBezTo>
                    <a:cubicBezTo>
                      <a:pt x="93" y="55"/>
                      <a:pt x="93" y="54"/>
                      <a:pt x="93" y="54"/>
                    </a:cubicBezTo>
                    <a:cubicBezTo>
                      <a:pt x="94" y="54"/>
                      <a:pt x="94" y="53"/>
                      <a:pt x="95" y="53"/>
                    </a:cubicBezTo>
                    <a:cubicBezTo>
                      <a:pt x="95" y="53"/>
                      <a:pt x="95" y="53"/>
                      <a:pt x="95" y="53"/>
                    </a:cubicBezTo>
                    <a:cubicBezTo>
                      <a:pt x="96" y="52"/>
                      <a:pt x="96" y="52"/>
                      <a:pt x="96" y="52"/>
                    </a:cubicBezTo>
                    <a:cubicBezTo>
                      <a:pt x="96" y="51"/>
                      <a:pt x="96" y="51"/>
                      <a:pt x="96" y="51"/>
                    </a:cubicBezTo>
                    <a:cubicBezTo>
                      <a:pt x="95" y="51"/>
                      <a:pt x="95" y="51"/>
                      <a:pt x="95" y="51"/>
                    </a:cubicBezTo>
                    <a:cubicBezTo>
                      <a:pt x="95" y="49"/>
                      <a:pt x="94" y="48"/>
                      <a:pt x="95" y="46"/>
                    </a:cubicBezTo>
                    <a:cubicBezTo>
                      <a:pt x="95" y="45"/>
                      <a:pt x="96" y="45"/>
                      <a:pt x="98" y="43"/>
                    </a:cubicBezTo>
                    <a:cubicBezTo>
                      <a:pt x="99" y="43"/>
                      <a:pt x="99" y="43"/>
                      <a:pt x="99" y="43"/>
                    </a:cubicBezTo>
                    <a:cubicBezTo>
                      <a:pt x="99" y="42"/>
                      <a:pt x="100" y="42"/>
                      <a:pt x="101" y="42"/>
                    </a:cubicBezTo>
                    <a:cubicBezTo>
                      <a:pt x="101" y="41"/>
                      <a:pt x="101" y="41"/>
                      <a:pt x="101" y="41"/>
                    </a:cubicBezTo>
                    <a:cubicBezTo>
                      <a:pt x="101" y="41"/>
                      <a:pt x="101" y="41"/>
                      <a:pt x="101" y="41"/>
                    </a:cubicBezTo>
                    <a:cubicBezTo>
                      <a:pt x="100" y="38"/>
                      <a:pt x="100" y="35"/>
                      <a:pt x="102" y="32"/>
                    </a:cubicBezTo>
                    <a:cubicBezTo>
                      <a:pt x="103" y="30"/>
                      <a:pt x="106" y="30"/>
                      <a:pt x="108" y="30"/>
                    </a:cubicBezTo>
                    <a:cubicBezTo>
                      <a:pt x="108" y="30"/>
                      <a:pt x="108" y="30"/>
                      <a:pt x="109" y="30"/>
                    </a:cubicBezTo>
                    <a:cubicBezTo>
                      <a:pt x="109" y="29"/>
                      <a:pt x="109" y="29"/>
                      <a:pt x="109" y="29"/>
                    </a:cubicBezTo>
                    <a:cubicBezTo>
                      <a:pt x="110" y="25"/>
                      <a:pt x="110" y="22"/>
                      <a:pt x="109" y="17"/>
                    </a:cubicBezTo>
                    <a:cubicBezTo>
                      <a:pt x="109" y="15"/>
                      <a:pt x="110" y="12"/>
                      <a:pt x="112" y="10"/>
                    </a:cubicBezTo>
                    <a:cubicBezTo>
                      <a:pt x="107" y="9"/>
                      <a:pt x="107" y="9"/>
                      <a:pt x="107" y="9"/>
                    </a:cubicBezTo>
                    <a:cubicBezTo>
                      <a:pt x="107" y="9"/>
                      <a:pt x="106" y="9"/>
                      <a:pt x="106" y="9"/>
                    </a:cubicBezTo>
                    <a:cubicBezTo>
                      <a:pt x="105" y="9"/>
                      <a:pt x="105" y="9"/>
                      <a:pt x="105" y="9"/>
                    </a:cubicBezTo>
                    <a:cubicBezTo>
                      <a:pt x="103" y="9"/>
                      <a:pt x="101" y="8"/>
                      <a:pt x="101" y="6"/>
                    </a:cubicBezTo>
                    <a:cubicBezTo>
                      <a:pt x="100" y="6"/>
                      <a:pt x="100" y="6"/>
                      <a:pt x="100" y="6"/>
                    </a:cubicBezTo>
                    <a:cubicBezTo>
                      <a:pt x="100" y="4"/>
                      <a:pt x="99" y="2"/>
                      <a:pt x="9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 name="Freeform 373">
                <a:extLst>
                  <a:ext uri="{FF2B5EF4-FFF2-40B4-BE49-F238E27FC236}">
                    <a16:creationId xmlns:a16="http://schemas.microsoft.com/office/drawing/2014/main" id="{B8943A1E-1506-4745-8A75-A366719DA431}"/>
                  </a:ext>
                </a:extLst>
              </p:cNvPr>
              <p:cNvSpPr>
                <a:spLocks/>
              </p:cNvSpPr>
              <p:nvPr/>
            </p:nvSpPr>
            <p:spPr bwMode="auto">
              <a:xfrm>
                <a:off x="7644" y="3099"/>
                <a:ext cx="0" cy="2"/>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 name="Freeform 374">
                <a:extLst>
                  <a:ext uri="{FF2B5EF4-FFF2-40B4-BE49-F238E27FC236}">
                    <a16:creationId xmlns:a16="http://schemas.microsoft.com/office/drawing/2014/main" id="{CD2E0CA0-B6CE-41F1-BBA3-6384D2C89FC8}"/>
                  </a:ext>
                </a:extLst>
              </p:cNvPr>
              <p:cNvSpPr>
                <a:spLocks/>
              </p:cNvSpPr>
              <p:nvPr/>
            </p:nvSpPr>
            <p:spPr bwMode="auto">
              <a:xfrm>
                <a:off x="7644" y="3099"/>
                <a:ext cx="0" cy="2"/>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 name="Freeform 375">
                <a:extLst>
                  <a:ext uri="{FF2B5EF4-FFF2-40B4-BE49-F238E27FC236}">
                    <a16:creationId xmlns:a16="http://schemas.microsoft.com/office/drawing/2014/main" id="{3EE8EB6E-9D7F-4DCC-8A04-86BFBF1CC849}"/>
                  </a:ext>
                </a:extLst>
              </p:cNvPr>
              <p:cNvSpPr>
                <a:spLocks/>
              </p:cNvSpPr>
              <p:nvPr/>
            </p:nvSpPr>
            <p:spPr bwMode="auto">
              <a:xfrm>
                <a:off x="7659" y="3087"/>
                <a:ext cx="28" cy="38"/>
              </a:xfrm>
              <a:custGeom>
                <a:avLst/>
                <a:gdLst>
                  <a:gd name="T0" fmla="*/ 12 w 12"/>
                  <a:gd name="T1" fmla="*/ 0 h 16"/>
                  <a:gd name="T2" fmla="*/ 6 w 12"/>
                  <a:gd name="T3" fmla="*/ 5 h 16"/>
                  <a:gd name="T4" fmla="*/ 0 w 12"/>
                  <a:gd name="T5" fmla="*/ 8 h 16"/>
                  <a:gd name="T6" fmla="*/ 2 w 12"/>
                  <a:gd name="T7" fmla="*/ 9 h 16"/>
                  <a:gd name="T8" fmla="*/ 3 w 12"/>
                  <a:gd name="T9" fmla="*/ 11 h 16"/>
                  <a:gd name="T10" fmla="*/ 3 w 12"/>
                  <a:gd name="T11" fmla="*/ 11 h 16"/>
                  <a:gd name="T12" fmla="*/ 4 w 12"/>
                  <a:gd name="T13" fmla="*/ 13 h 16"/>
                  <a:gd name="T14" fmla="*/ 7 w 12"/>
                  <a:gd name="T15" fmla="*/ 16 h 16"/>
                  <a:gd name="T16" fmla="*/ 7 w 12"/>
                  <a:gd name="T17" fmla="*/ 16 h 16"/>
                  <a:gd name="T18" fmla="*/ 8 w 12"/>
                  <a:gd name="T19" fmla="*/ 15 h 16"/>
                  <a:gd name="T20" fmla="*/ 8 w 12"/>
                  <a:gd name="T21" fmla="*/ 15 h 16"/>
                  <a:gd name="T22" fmla="*/ 8 w 12"/>
                  <a:gd name="T23" fmla="*/ 14 h 16"/>
                  <a:gd name="T24" fmla="*/ 8 w 12"/>
                  <a:gd name="T25" fmla="*/ 12 h 16"/>
                  <a:gd name="T26" fmla="*/ 8 w 12"/>
                  <a:gd name="T27" fmla="*/ 8 h 16"/>
                  <a:gd name="T28" fmla="*/ 7 w 12"/>
                  <a:gd name="T29" fmla="*/ 7 h 16"/>
                  <a:gd name="T30" fmla="*/ 7 w 12"/>
                  <a:gd name="T31" fmla="*/ 5 h 16"/>
                  <a:gd name="T32" fmla="*/ 8 w 12"/>
                  <a:gd name="T33" fmla="*/ 4 h 16"/>
                  <a:gd name="T34" fmla="*/ 8 w 12"/>
                  <a:gd name="T35" fmla="*/ 3 h 16"/>
                  <a:gd name="T36" fmla="*/ 9 w 12"/>
                  <a:gd name="T37" fmla="*/ 3 h 16"/>
                  <a:gd name="T38" fmla="*/ 10 w 12"/>
                  <a:gd name="T39" fmla="*/ 2 h 16"/>
                  <a:gd name="T40" fmla="*/ 11 w 12"/>
                  <a:gd name="T41" fmla="*/ 2 h 16"/>
                  <a:gd name="T42" fmla="*/ 12 w 12"/>
                  <a:gd name="T43" fmla="*/ 1 h 16"/>
                  <a:gd name="T44" fmla="*/ 12 w 12"/>
                  <a:gd name="T4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6">
                    <a:moveTo>
                      <a:pt x="12" y="0"/>
                    </a:moveTo>
                    <a:cubicBezTo>
                      <a:pt x="10" y="1"/>
                      <a:pt x="8" y="3"/>
                      <a:pt x="6" y="5"/>
                    </a:cubicBezTo>
                    <a:cubicBezTo>
                      <a:pt x="4" y="7"/>
                      <a:pt x="2" y="7"/>
                      <a:pt x="0" y="8"/>
                    </a:cubicBezTo>
                    <a:cubicBezTo>
                      <a:pt x="1" y="8"/>
                      <a:pt x="1" y="9"/>
                      <a:pt x="2" y="9"/>
                    </a:cubicBezTo>
                    <a:cubicBezTo>
                      <a:pt x="2" y="10"/>
                      <a:pt x="2" y="11"/>
                      <a:pt x="3" y="11"/>
                    </a:cubicBezTo>
                    <a:cubicBezTo>
                      <a:pt x="3" y="11"/>
                      <a:pt x="3" y="11"/>
                      <a:pt x="3" y="11"/>
                    </a:cubicBezTo>
                    <a:cubicBezTo>
                      <a:pt x="3" y="12"/>
                      <a:pt x="3" y="12"/>
                      <a:pt x="4" y="13"/>
                    </a:cubicBezTo>
                    <a:cubicBezTo>
                      <a:pt x="6" y="15"/>
                      <a:pt x="7" y="16"/>
                      <a:pt x="7" y="16"/>
                    </a:cubicBezTo>
                    <a:cubicBezTo>
                      <a:pt x="7" y="16"/>
                      <a:pt x="7" y="16"/>
                      <a:pt x="7" y="16"/>
                    </a:cubicBezTo>
                    <a:cubicBezTo>
                      <a:pt x="8" y="15"/>
                      <a:pt x="8" y="15"/>
                      <a:pt x="8" y="15"/>
                    </a:cubicBezTo>
                    <a:cubicBezTo>
                      <a:pt x="8" y="15"/>
                      <a:pt x="8" y="15"/>
                      <a:pt x="8" y="15"/>
                    </a:cubicBezTo>
                    <a:cubicBezTo>
                      <a:pt x="8" y="14"/>
                      <a:pt x="8" y="14"/>
                      <a:pt x="8" y="14"/>
                    </a:cubicBezTo>
                    <a:cubicBezTo>
                      <a:pt x="8" y="13"/>
                      <a:pt x="8" y="12"/>
                      <a:pt x="8" y="12"/>
                    </a:cubicBezTo>
                    <a:cubicBezTo>
                      <a:pt x="8" y="11"/>
                      <a:pt x="8" y="9"/>
                      <a:pt x="8" y="8"/>
                    </a:cubicBezTo>
                    <a:cubicBezTo>
                      <a:pt x="7" y="8"/>
                      <a:pt x="7" y="8"/>
                      <a:pt x="7" y="7"/>
                    </a:cubicBezTo>
                    <a:cubicBezTo>
                      <a:pt x="7" y="6"/>
                      <a:pt x="7" y="6"/>
                      <a:pt x="7" y="5"/>
                    </a:cubicBezTo>
                    <a:cubicBezTo>
                      <a:pt x="7" y="4"/>
                      <a:pt x="7" y="4"/>
                      <a:pt x="8" y="4"/>
                    </a:cubicBezTo>
                    <a:cubicBezTo>
                      <a:pt x="8" y="3"/>
                      <a:pt x="8" y="3"/>
                      <a:pt x="8" y="3"/>
                    </a:cubicBezTo>
                    <a:cubicBezTo>
                      <a:pt x="9" y="3"/>
                      <a:pt x="9" y="3"/>
                      <a:pt x="9" y="3"/>
                    </a:cubicBezTo>
                    <a:cubicBezTo>
                      <a:pt x="9" y="3"/>
                      <a:pt x="10" y="2"/>
                      <a:pt x="10" y="2"/>
                    </a:cubicBezTo>
                    <a:cubicBezTo>
                      <a:pt x="11" y="2"/>
                      <a:pt x="11" y="2"/>
                      <a:pt x="11" y="2"/>
                    </a:cubicBezTo>
                    <a:cubicBezTo>
                      <a:pt x="12" y="1"/>
                      <a:pt x="12" y="1"/>
                      <a:pt x="12" y="1"/>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 name="Freeform 376">
                <a:extLst>
                  <a:ext uri="{FF2B5EF4-FFF2-40B4-BE49-F238E27FC236}">
                    <a16:creationId xmlns:a16="http://schemas.microsoft.com/office/drawing/2014/main" id="{5AF47DF8-E984-4CE8-BFB7-4D367034DA27}"/>
                  </a:ext>
                </a:extLst>
              </p:cNvPr>
              <p:cNvSpPr>
                <a:spLocks/>
              </p:cNvSpPr>
              <p:nvPr/>
            </p:nvSpPr>
            <p:spPr bwMode="auto">
              <a:xfrm>
                <a:off x="3665" y="1841"/>
                <a:ext cx="458" cy="459"/>
              </a:xfrm>
              <a:custGeom>
                <a:avLst/>
                <a:gdLst>
                  <a:gd name="T0" fmla="*/ 4 w 194"/>
                  <a:gd name="T1" fmla="*/ 0 h 194"/>
                  <a:gd name="T2" fmla="*/ 0 w 194"/>
                  <a:gd name="T3" fmla="*/ 194 h 194"/>
                  <a:gd name="T4" fmla="*/ 109 w 194"/>
                  <a:gd name="T5" fmla="*/ 192 h 194"/>
                  <a:gd name="T6" fmla="*/ 113 w 194"/>
                  <a:gd name="T7" fmla="*/ 190 h 194"/>
                  <a:gd name="T8" fmla="*/ 137 w 194"/>
                  <a:gd name="T9" fmla="*/ 194 h 194"/>
                  <a:gd name="T10" fmla="*/ 139 w 194"/>
                  <a:gd name="T11" fmla="*/ 194 h 194"/>
                  <a:gd name="T12" fmla="*/ 145 w 194"/>
                  <a:gd name="T13" fmla="*/ 194 h 194"/>
                  <a:gd name="T14" fmla="*/ 161 w 194"/>
                  <a:gd name="T15" fmla="*/ 193 h 194"/>
                  <a:gd name="T16" fmla="*/ 169 w 194"/>
                  <a:gd name="T17" fmla="*/ 189 h 194"/>
                  <a:gd name="T18" fmla="*/ 173 w 194"/>
                  <a:gd name="T19" fmla="*/ 187 h 194"/>
                  <a:gd name="T20" fmla="*/ 174 w 194"/>
                  <a:gd name="T21" fmla="*/ 185 h 194"/>
                  <a:gd name="T22" fmla="*/ 181 w 194"/>
                  <a:gd name="T23" fmla="*/ 177 h 194"/>
                  <a:gd name="T24" fmla="*/ 187 w 194"/>
                  <a:gd name="T25" fmla="*/ 174 h 194"/>
                  <a:gd name="T26" fmla="*/ 191 w 194"/>
                  <a:gd name="T27" fmla="*/ 172 h 194"/>
                  <a:gd name="T28" fmla="*/ 191 w 194"/>
                  <a:gd name="T29" fmla="*/ 170 h 194"/>
                  <a:gd name="T30" fmla="*/ 189 w 194"/>
                  <a:gd name="T31" fmla="*/ 157 h 194"/>
                  <a:gd name="T32" fmla="*/ 191 w 194"/>
                  <a:gd name="T33" fmla="*/ 158 h 194"/>
                  <a:gd name="T34" fmla="*/ 194 w 194"/>
                  <a:gd name="T35" fmla="*/ 158 h 194"/>
                  <a:gd name="T36" fmla="*/ 189 w 194"/>
                  <a:gd name="T37" fmla="*/ 154 h 194"/>
                  <a:gd name="T38" fmla="*/ 163 w 194"/>
                  <a:gd name="T39" fmla="*/ 108 h 194"/>
                  <a:gd name="T40" fmla="*/ 159 w 194"/>
                  <a:gd name="T41" fmla="*/ 102 h 194"/>
                  <a:gd name="T42" fmla="*/ 155 w 194"/>
                  <a:gd name="T43" fmla="*/ 84 h 194"/>
                  <a:gd name="T44" fmla="*/ 147 w 194"/>
                  <a:gd name="T45" fmla="*/ 73 h 194"/>
                  <a:gd name="T46" fmla="*/ 139 w 194"/>
                  <a:gd name="T47" fmla="*/ 63 h 194"/>
                  <a:gd name="T48" fmla="*/ 129 w 194"/>
                  <a:gd name="T49" fmla="*/ 42 h 194"/>
                  <a:gd name="T50" fmla="*/ 132 w 194"/>
                  <a:gd name="T51" fmla="*/ 35 h 194"/>
                  <a:gd name="T52" fmla="*/ 136 w 194"/>
                  <a:gd name="T53" fmla="*/ 45 h 194"/>
                  <a:gd name="T54" fmla="*/ 140 w 194"/>
                  <a:gd name="T55" fmla="*/ 50 h 194"/>
                  <a:gd name="T56" fmla="*/ 146 w 194"/>
                  <a:gd name="T57" fmla="*/ 64 h 194"/>
                  <a:gd name="T58" fmla="*/ 165 w 194"/>
                  <a:gd name="T59" fmla="*/ 81 h 194"/>
                  <a:gd name="T60" fmla="*/ 177 w 194"/>
                  <a:gd name="T61" fmla="*/ 45 h 194"/>
                  <a:gd name="T62" fmla="*/ 164 w 194"/>
                  <a:gd name="T63" fmla="*/ 6 h 194"/>
                  <a:gd name="T64" fmla="*/ 153 w 194"/>
                  <a:gd name="T65" fmla="*/ 10 h 194"/>
                  <a:gd name="T66" fmla="*/ 142 w 194"/>
                  <a:gd name="T67" fmla="*/ 12 h 194"/>
                  <a:gd name="T68" fmla="*/ 139 w 194"/>
                  <a:gd name="T69" fmla="*/ 12 h 194"/>
                  <a:gd name="T70" fmla="*/ 133 w 194"/>
                  <a:gd name="T71" fmla="*/ 11 h 194"/>
                  <a:gd name="T72" fmla="*/ 125 w 194"/>
                  <a:gd name="T73" fmla="*/ 11 h 194"/>
                  <a:gd name="T74" fmla="*/ 120 w 194"/>
                  <a:gd name="T75" fmla="*/ 2 h 194"/>
                  <a:gd name="T76" fmla="*/ 115 w 194"/>
                  <a:gd name="T77" fmla="*/ 3 h 194"/>
                  <a:gd name="T78" fmla="*/ 107 w 194"/>
                  <a:gd name="T79" fmla="*/ 1 h 194"/>
                  <a:gd name="T80" fmla="*/ 101 w 194"/>
                  <a:gd name="T81" fmla="*/ 1 h 194"/>
                  <a:gd name="T82" fmla="*/ 89 w 194"/>
                  <a:gd name="T83" fmla="*/ 8 h 194"/>
                  <a:gd name="T84" fmla="*/ 88 w 194"/>
                  <a:gd name="T85" fmla="*/ 8 h 194"/>
                  <a:gd name="T86" fmla="*/ 86 w 194"/>
                  <a:gd name="T87" fmla="*/ 7 h 194"/>
                  <a:gd name="T88" fmla="*/ 67 w 194"/>
                  <a:gd name="T89" fmla="*/ 16 h 194"/>
                  <a:gd name="T90" fmla="*/ 61 w 194"/>
                  <a:gd name="T91" fmla="*/ 14 h 194"/>
                  <a:gd name="T92" fmla="*/ 38 w 194"/>
                  <a:gd name="T93" fmla="*/ 9 h 194"/>
                  <a:gd name="T94" fmla="*/ 19 w 194"/>
                  <a:gd name="T95"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94">
                    <a:moveTo>
                      <a:pt x="7" y="0"/>
                    </a:moveTo>
                    <a:cubicBezTo>
                      <a:pt x="6" y="0"/>
                      <a:pt x="5" y="0"/>
                      <a:pt x="4" y="0"/>
                    </a:cubicBezTo>
                    <a:cubicBezTo>
                      <a:pt x="3" y="0"/>
                      <a:pt x="1" y="1"/>
                      <a:pt x="0" y="1"/>
                    </a:cubicBezTo>
                    <a:cubicBezTo>
                      <a:pt x="0" y="194"/>
                      <a:pt x="0" y="194"/>
                      <a:pt x="0" y="194"/>
                    </a:cubicBezTo>
                    <a:cubicBezTo>
                      <a:pt x="108" y="193"/>
                      <a:pt x="108" y="193"/>
                      <a:pt x="108" y="193"/>
                    </a:cubicBezTo>
                    <a:cubicBezTo>
                      <a:pt x="109" y="192"/>
                      <a:pt x="109" y="192"/>
                      <a:pt x="109" y="192"/>
                    </a:cubicBezTo>
                    <a:cubicBezTo>
                      <a:pt x="110" y="191"/>
                      <a:pt x="111" y="190"/>
                      <a:pt x="112" y="190"/>
                    </a:cubicBezTo>
                    <a:cubicBezTo>
                      <a:pt x="113" y="190"/>
                      <a:pt x="113" y="190"/>
                      <a:pt x="113" y="190"/>
                    </a:cubicBezTo>
                    <a:cubicBezTo>
                      <a:pt x="115" y="191"/>
                      <a:pt x="115" y="193"/>
                      <a:pt x="115" y="194"/>
                    </a:cubicBezTo>
                    <a:cubicBezTo>
                      <a:pt x="137" y="194"/>
                      <a:pt x="137" y="194"/>
                      <a:pt x="137" y="194"/>
                    </a:cubicBezTo>
                    <a:cubicBezTo>
                      <a:pt x="137" y="194"/>
                      <a:pt x="138" y="194"/>
                      <a:pt x="138" y="194"/>
                    </a:cubicBezTo>
                    <a:cubicBezTo>
                      <a:pt x="139" y="194"/>
                      <a:pt x="139" y="194"/>
                      <a:pt x="139" y="194"/>
                    </a:cubicBezTo>
                    <a:cubicBezTo>
                      <a:pt x="140" y="194"/>
                      <a:pt x="141" y="194"/>
                      <a:pt x="142" y="194"/>
                    </a:cubicBezTo>
                    <a:cubicBezTo>
                      <a:pt x="143" y="194"/>
                      <a:pt x="144" y="194"/>
                      <a:pt x="145" y="194"/>
                    </a:cubicBezTo>
                    <a:cubicBezTo>
                      <a:pt x="161" y="194"/>
                      <a:pt x="161" y="194"/>
                      <a:pt x="161" y="194"/>
                    </a:cubicBezTo>
                    <a:cubicBezTo>
                      <a:pt x="161" y="194"/>
                      <a:pt x="161" y="194"/>
                      <a:pt x="161" y="193"/>
                    </a:cubicBezTo>
                    <a:cubicBezTo>
                      <a:pt x="161" y="193"/>
                      <a:pt x="162" y="192"/>
                      <a:pt x="162" y="191"/>
                    </a:cubicBezTo>
                    <a:cubicBezTo>
                      <a:pt x="164" y="190"/>
                      <a:pt x="167" y="189"/>
                      <a:pt x="169" y="189"/>
                    </a:cubicBezTo>
                    <a:cubicBezTo>
                      <a:pt x="170" y="189"/>
                      <a:pt x="170" y="189"/>
                      <a:pt x="170" y="189"/>
                    </a:cubicBezTo>
                    <a:cubicBezTo>
                      <a:pt x="172" y="189"/>
                      <a:pt x="172" y="189"/>
                      <a:pt x="173" y="187"/>
                    </a:cubicBezTo>
                    <a:cubicBezTo>
                      <a:pt x="174" y="186"/>
                      <a:pt x="174" y="186"/>
                      <a:pt x="174" y="185"/>
                    </a:cubicBezTo>
                    <a:cubicBezTo>
                      <a:pt x="174" y="185"/>
                      <a:pt x="174" y="185"/>
                      <a:pt x="174" y="185"/>
                    </a:cubicBezTo>
                    <a:cubicBezTo>
                      <a:pt x="175" y="182"/>
                      <a:pt x="176" y="180"/>
                      <a:pt x="178" y="178"/>
                    </a:cubicBezTo>
                    <a:cubicBezTo>
                      <a:pt x="179" y="178"/>
                      <a:pt x="180" y="177"/>
                      <a:pt x="181" y="177"/>
                    </a:cubicBezTo>
                    <a:cubicBezTo>
                      <a:pt x="182" y="176"/>
                      <a:pt x="183" y="176"/>
                      <a:pt x="184" y="175"/>
                    </a:cubicBezTo>
                    <a:cubicBezTo>
                      <a:pt x="185" y="175"/>
                      <a:pt x="186" y="174"/>
                      <a:pt x="187" y="174"/>
                    </a:cubicBezTo>
                    <a:cubicBezTo>
                      <a:pt x="188" y="173"/>
                      <a:pt x="189" y="173"/>
                      <a:pt x="189" y="173"/>
                    </a:cubicBezTo>
                    <a:cubicBezTo>
                      <a:pt x="190" y="172"/>
                      <a:pt x="190" y="172"/>
                      <a:pt x="191" y="172"/>
                    </a:cubicBezTo>
                    <a:cubicBezTo>
                      <a:pt x="191" y="172"/>
                      <a:pt x="191" y="172"/>
                      <a:pt x="191" y="172"/>
                    </a:cubicBezTo>
                    <a:cubicBezTo>
                      <a:pt x="191" y="171"/>
                      <a:pt x="191" y="170"/>
                      <a:pt x="191" y="170"/>
                    </a:cubicBezTo>
                    <a:cubicBezTo>
                      <a:pt x="190" y="167"/>
                      <a:pt x="190" y="165"/>
                      <a:pt x="189" y="163"/>
                    </a:cubicBezTo>
                    <a:cubicBezTo>
                      <a:pt x="189" y="162"/>
                      <a:pt x="188" y="158"/>
                      <a:pt x="189" y="157"/>
                    </a:cubicBezTo>
                    <a:cubicBezTo>
                      <a:pt x="189" y="157"/>
                      <a:pt x="189" y="157"/>
                      <a:pt x="190" y="157"/>
                    </a:cubicBezTo>
                    <a:cubicBezTo>
                      <a:pt x="190" y="157"/>
                      <a:pt x="191" y="157"/>
                      <a:pt x="191" y="158"/>
                    </a:cubicBezTo>
                    <a:cubicBezTo>
                      <a:pt x="192" y="158"/>
                      <a:pt x="192" y="158"/>
                      <a:pt x="193" y="158"/>
                    </a:cubicBezTo>
                    <a:cubicBezTo>
                      <a:pt x="193" y="158"/>
                      <a:pt x="194" y="158"/>
                      <a:pt x="194" y="158"/>
                    </a:cubicBezTo>
                    <a:cubicBezTo>
                      <a:pt x="193" y="157"/>
                      <a:pt x="190" y="154"/>
                      <a:pt x="189" y="154"/>
                    </a:cubicBezTo>
                    <a:cubicBezTo>
                      <a:pt x="189" y="154"/>
                      <a:pt x="189" y="154"/>
                      <a:pt x="189" y="154"/>
                    </a:cubicBezTo>
                    <a:cubicBezTo>
                      <a:pt x="186" y="151"/>
                      <a:pt x="183" y="147"/>
                      <a:pt x="181" y="143"/>
                    </a:cubicBezTo>
                    <a:cubicBezTo>
                      <a:pt x="175" y="131"/>
                      <a:pt x="169" y="119"/>
                      <a:pt x="163" y="108"/>
                    </a:cubicBezTo>
                    <a:cubicBezTo>
                      <a:pt x="162" y="106"/>
                      <a:pt x="161" y="105"/>
                      <a:pt x="160" y="103"/>
                    </a:cubicBezTo>
                    <a:cubicBezTo>
                      <a:pt x="160" y="103"/>
                      <a:pt x="160" y="103"/>
                      <a:pt x="159" y="102"/>
                    </a:cubicBezTo>
                    <a:cubicBezTo>
                      <a:pt x="159" y="102"/>
                      <a:pt x="160" y="100"/>
                      <a:pt x="160" y="100"/>
                    </a:cubicBezTo>
                    <a:cubicBezTo>
                      <a:pt x="161" y="95"/>
                      <a:pt x="156" y="89"/>
                      <a:pt x="155" y="84"/>
                    </a:cubicBezTo>
                    <a:cubicBezTo>
                      <a:pt x="154" y="83"/>
                      <a:pt x="153" y="79"/>
                      <a:pt x="152" y="78"/>
                    </a:cubicBezTo>
                    <a:cubicBezTo>
                      <a:pt x="151" y="76"/>
                      <a:pt x="149" y="75"/>
                      <a:pt x="147" y="73"/>
                    </a:cubicBezTo>
                    <a:cubicBezTo>
                      <a:pt x="146" y="72"/>
                      <a:pt x="145" y="71"/>
                      <a:pt x="144" y="70"/>
                    </a:cubicBezTo>
                    <a:cubicBezTo>
                      <a:pt x="143" y="68"/>
                      <a:pt x="140" y="65"/>
                      <a:pt x="139" y="63"/>
                    </a:cubicBezTo>
                    <a:cubicBezTo>
                      <a:pt x="137" y="60"/>
                      <a:pt x="136" y="56"/>
                      <a:pt x="135" y="52"/>
                    </a:cubicBezTo>
                    <a:cubicBezTo>
                      <a:pt x="134" y="49"/>
                      <a:pt x="129" y="45"/>
                      <a:pt x="129" y="42"/>
                    </a:cubicBezTo>
                    <a:cubicBezTo>
                      <a:pt x="129" y="40"/>
                      <a:pt x="130" y="39"/>
                      <a:pt x="131" y="38"/>
                    </a:cubicBezTo>
                    <a:cubicBezTo>
                      <a:pt x="131" y="37"/>
                      <a:pt x="131" y="35"/>
                      <a:pt x="132" y="35"/>
                    </a:cubicBezTo>
                    <a:cubicBezTo>
                      <a:pt x="132" y="35"/>
                      <a:pt x="132" y="35"/>
                      <a:pt x="132" y="35"/>
                    </a:cubicBezTo>
                    <a:cubicBezTo>
                      <a:pt x="135" y="35"/>
                      <a:pt x="136" y="44"/>
                      <a:pt x="136" y="45"/>
                    </a:cubicBezTo>
                    <a:cubicBezTo>
                      <a:pt x="136" y="45"/>
                      <a:pt x="136" y="45"/>
                      <a:pt x="136" y="45"/>
                    </a:cubicBezTo>
                    <a:cubicBezTo>
                      <a:pt x="137" y="46"/>
                      <a:pt x="138" y="49"/>
                      <a:pt x="140" y="50"/>
                    </a:cubicBezTo>
                    <a:cubicBezTo>
                      <a:pt x="141" y="51"/>
                      <a:pt x="144" y="53"/>
                      <a:pt x="145" y="55"/>
                    </a:cubicBezTo>
                    <a:cubicBezTo>
                      <a:pt x="146" y="57"/>
                      <a:pt x="145" y="61"/>
                      <a:pt x="146" y="64"/>
                    </a:cubicBezTo>
                    <a:cubicBezTo>
                      <a:pt x="147" y="65"/>
                      <a:pt x="149" y="67"/>
                      <a:pt x="150" y="68"/>
                    </a:cubicBezTo>
                    <a:cubicBezTo>
                      <a:pt x="155" y="73"/>
                      <a:pt x="158" y="78"/>
                      <a:pt x="165" y="81"/>
                    </a:cubicBezTo>
                    <a:cubicBezTo>
                      <a:pt x="165" y="80"/>
                      <a:pt x="165" y="80"/>
                      <a:pt x="166" y="80"/>
                    </a:cubicBezTo>
                    <a:cubicBezTo>
                      <a:pt x="169" y="68"/>
                      <a:pt x="173" y="57"/>
                      <a:pt x="177" y="45"/>
                    </a:cubicBezTo>
                    <a:cubicBezTo>
                      <a:pt x="165" y="7"/>
                      <a:pt x="165" y="7"/>
                      <a:pt x="165" y="7"/>
                    </a:cubicBezTo>
                    <a:cubicBezTo>
                      <a:pt x="164" y="6"/>
                      <a:pt x="164" y="6"/>
                      <a:pt x="164" y="6"/>
                    </a:cubicBezTo>
                    <a:cubicBezTo>
                      <a:pt x="161" y="7"/>
                      <a:pt x="159" y="8"/>
                      <a:pt x="156" y="9"/>
                    </a:cubicBezTo>
                    <a:cubicBezTo>
                      <a:pt x="155" y="10"/>
                      <a:pt x="154" y="10"/>
                      <a:pt x="153" y="10"/>
                    </a:cubicBezTo>
                    <a:cubicBezTo>
                      <a:pt x="149" y="11"/>
                      <a:pt x="146" y="12"/>
                      <a:pt x="142" y="12"/>
                    </a:cubicBezTo>
                    <a:cubicBezTo>
                      <a:pt x="142" y="12"/>
                      <a:pt x="142" y="12"/>
                      <a:pt x="142" y="12"/>
                    </a:cubicBezTo>
                    <a:cubicBezTo>
                      <a:pt x="142" y="12"/>
                      <a:pt x="141" y="12"/>
                      <a:pt x="141" y="12"/>
                    </a:cubicBezTo>
                    <a:cubicBezTo>
                      <a:pt x="141" y="12"/>
                      <a:pt x="140" y="12"/>
                      <a:pt x="139" y="12"/>
                    </a:cubicBezTo>
                    <a:cubicBezTo>
                      <a:pt x="139" y="12"/>
                      <a:pt x="138" y="12"/>
                      <a:pt x="137" y="12"/>
                    </a:cubicBezTo>
                    <a:cubicBezTo>
                      <a:pt x="135" y="12"/>
                      <a:pt x="134" y="12"/>
                      <a:pt x="133" y="11"/>
                    </a:cubicBezTo>
                    <a:cubicBezTo>
                      <a:pt x="131" y="10"/>
                      <a:pt x="129" y="7"/>
                      <a:pt x="126" y="7"/>
                    </a:cubicBezTo>
                    <a:cubicBezTo>
                      <a:pt x="130" y="8"/>
                      <a:pt x="126" y="11"/>
                      <a:pt x="125" y="11"/>
                    </a:cubicBezTo>
                    <a:cubicBezTo>
                      <a:pt x="124" y="10"/>
                      <a:pt x="119" y="8"/>
                      <a:pt x="118" y="7"/>
                    </a:cubicBezTo>
                    <a:cubicBezTo>
                      <a:pt x="118" y="6"/>
                      <a:pt x="120" y="2"/>
                      <a:pt x="120" y="2"/>
                    </a:cubicBezTo>
                    <a:cubicBezTo>
                      <a:pt x="120" y="2"/>
                      <a:pt x="120" y="2"/>
                      <a:pt x="120" y="2"/>
                    </a:cubicBezTo>
                    <a:cubicBezTo>
                      <a:pt x="119" y="2"/>
                      <a:pt x="117" y="3"/>
                      <a:pt x="115" y="3"/>
                    </a:cubicBezTo>
                    <a:cubicBezTo>
                      <a:pt x="115" y="3"/>
                      <a:pt x="115" y="3"/>
                      <a:pt x="114" y="3"/>
                    </a:cubicBezTo>
                    <a:cubicBezTo>
                      <a:pt x="112" y="3"/>
                      <a:pt x="109" y="1"/>
                      <a:pt x="107" y="1"/>
                    </a:cubicBezTo>
                    <a:cubicBezTo>
                      <a:pt x="106" y="1"/>
                      <a:pt x="105" y="0"/>
                      <a:pt x="104" y="0"/>
                    </a:cubicBezTo>
                    <a:cubicBezTo>
                      <a:pt x="103" y="0"/>
                      <a:pt x="102" y="0"/>
                      <a:pt x="101" y="1"/>
                    </a:cubicBezTo>
                    <a:cubicBezTo>
                      <a:pt x="96" y="2"/>
                      <a:pt x="92" y="3"/>
                      <a:pt x="88" y="7"/>
                    </a:cubicBezTo>
                    <a:cubicBezTo>
                      <a:pt x="88" y="7"/>
                      <a:pt x="89" y="8"/>
                      <a:pt x="89" y="8"/>
                    </a:cubicBezTo>
                    <a:cubicBezTo>
                      <a:pt x="89" y="8"/>
                      <a:pt x="89" y="8"/>
                      <a:pt x="88" y="8"/>
                    </a:cubicBezTo>
                    <a:cubicBezTo>
                      <a:pt x="88" y="8"/>
                      <a:pt x="88" y="8"/>
                      <a:pt x="88" y="8"/>
                    </a:cubicBezTo>
                    <a:cubicBezTo>
                      <a:pt x="87" y="8"/>
                      <a:pt x="87" y="7"/>
                      <a:pt x="86" y="7"/>
                    </a:cubicBezTo>
                    <a:cubicBezTo>
                      <a:pt x="86" y="7"/>
                      <a:pt x="86" y="7"/>
                      <a:pt x="86" y="7"/>
                    </a:cubicBezTo>
                    <a:cubicBezTo>
                      <a:pt x="84" y="8"/>
                      <a:pt x="83" y="9"/>
                      <a:pt x="82" y="9"/>
                    </a:cubicBezTo>
                    <a:cubicBezTo>
                      <a:pt x="77" y="12"/>
                      <a:pt x="72" y="15"/>
                      <a:pt x="67" y="16"/>
                    </a:cubicBezTo>
                    <a:cubicBezTo>
                      <a:pt x="67" y="16"/>
                      <a:pt x="66" y="16"/>
                      <a:pt x="66" y="16"/>
                    </a:cubicBezTo>
                    <a:cubicBezTo>
                      <a:pt x="64" y="16"/>
                      <a:pt x="63" y="15"/>
                      <a:pt x="61" y="14"/>
                    </a:cubicBezTo>
                    <a:cubicBezTo>
                      <a:pt x="57" y="12"/>
                      <a:pt x="51" y="12"/>
                      <a:pt x="47" y="11"/>
                    </a:cubicBezTo>
                    <a:cubicBezTo>
                      <a:pt x="44" y="11"/>
                      <a:pt x="41" y="10"/>
                      <a:pt x="38" y="9"/>
                    </a:cubicBezTo>
                    <a:cubicBezTo>
                      <a:pt x="37" y="8"/>
                      <a:pt x="36" y="8"/>
                      <a:pt x="34" y="7"/>
                    </a:cubicBezTo>
                    <a:cubicBezTo>
                      <a:pt x="30" y="5"/>
                      <a:pt x="24" y="4"/>
                      <a:pt x="19" y="3"/>
                    </a:cubicBezTo>
                    <a:cubicBezTo>
                      <a:pt x="15" y="2"/>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 name="Freeform 377">
                <a:extLst>
                  <a:ext uri="{FF2B5EF4-FFF2-40B4-BE49-F238E27FC236}">
                    <a16:creationId xmlns:a16="http://schemas.microsoft.com/office/drawing/2014/main" id="{DBBDA8CE-CA9E-473A-AD0A-7A5A5AAABEA4}"/>
                  </a:ext>
                </a:extLst>
              </p:cNvPr>
              <p:cNvSpPr>
                <a:spLocks noEditPoints="1"/>
              </p:cNvSpPr>
              <p:nvPr/>
            </p:nvSpPr>
            <p:spPr bwMode="auto">
              <a:xfrm>
                <a:off x="3665" y="2257"/>
                <a:ext cx="581" cy="891"/>
              </a:xfrm>
              <a:custGeom>
                <a:avLst/>
                <a:gdLst>
                  <a:gd name="T0" fmla="*/ 192 w 246"/>
                  <a:gd name="T1" fmla="*/ 1 h 377"/>
                  <a:gd name="T2" fmla="*/ 183 w 246"/>
                  <a:gd name="T3" fmla="*/ 5 h 377"/>
                  <a:gd name="T4" fmla="*/ 178 w 246"/>
                  <a:gd name="T5" fmla="*/ 12 h 377"/>
                  <a:gd name="T6" fmla="*/ 165 w 246"/>
                  <a:gd name="T7" fmla="*/ 21 h 377"/>
                  <a:gd name="T8" fmla="*/ 139 w 246"/>
                  <a:gd name="T9" fmla="*/ 23 h 377"/>
                  <a:gd name="T10" fmla="*/ 109 w 246"/>
                  <a:gd name="T11" fmla="*/ 22 h 377"/>
                  <a:gd name="T12" fmla="*/ 15 w 246"/>
                  <a:gd name="T13" fmla="*/ 317 h 377"/>
                  <a:gd name="T14" fmla="*/ 17 w 246"/>
                  <a:gd name="T15" fmla="*/ 319 h 377"/>
                  <a:gd name="T16" fmla="*/ 17 w 246"/>
                  <a:gd name="T17" fmla="*/ 326 h 377"/>
                  <a:gd name="T18" fmla="*/ 21 w 246"/>
                  <a:gd name="T19" fmla="*/ 330 h 377"/>
                  <a:gd name="T20" fmla="*/ 34 w 246"/>
                  <a:gd name="T21" fmla="*/ 342 h 377"/>
                  <a:gd name="T22" fmla="*/ 38 w 246"/>
                  <a:gd name="T23" fmla="*/ 349 h 377"/>
                  <a:gd name="T24" fmla="*/ 54 w 246"/>
                  <a:gd name="T25" fmla="*/ 362 h 377"/>
                  <a:gd name="T26" fmla="*/ 70 w 246"/>
                  <a:gd name="T27" fmla="*/ 361 h 377"/>
                  <a:gd name="T28" fmla="*/ 81 w 246"/>
                  <a:gd name="T29" fmla="*/ 358 h 377"/>
                  <a:gd name="T30" fmla="*/ 86 w 246"/>
                  <a:gd name="T31" fmla="*/ 366 h 377"/>
                  <a:gd name="T32" fmla="*/ 97 w 246"/>
                  <a:gd name="T33" fmla="*/ 375 h 377"/>
                  <a:gd name="T34" fmla="*/ 102 w 246"/>
                  <a:gd name="T35" fmla="*/ 375 h 377"/>
                  <a:gd name="T36" fmla="*/ 110 w 246"/>
                  <a:gd name="T37" fmla="*/ 374 h 377"/>
                  <a:gd name="T38" fmla="*/ 120 w 246"/>
                  <a:gd name="T39" fmla="*/ 373 h 377"/>
                  <a:gd name="T40" fmla="*/ 125 w 246"/>
                  <a:gd name="T41" fmla="*/ 377 h 377"/>
                  <a:gd name="T42" fmla="*/ 145 w 246"/>
                  <a:gd name="T43" fmla="*/ 372 h 377"/>
                  <a:gd name="T44" fmla="*/ 158 w 246"/>
                  <a:gd name="T45" fmla="*/ 364 h 377"/>
                  <a:gd name="T46" fmla="*/ 164 w 246"/>
                  <a:gd name="T47" fmla="*/ 359 h 377"/>
                  <a:gd name="T48" fmla="*/ 191 w 246"/>
                  <a:gd name="T49" fmla="*/ 357 h 377"/>
                  <a:gd name="T50" fmla="*/ 192 w 246"/>
                  <a:gd name="T51" fmla="*/ 351 h 377"/>
                  <a:gd name="T52" fmla="*/ 192 w 246"/>
                  <a:gd name="T53" fmla="*/ 347 h 377"/>
                  <a:gd name="T54" fmla="*/ 184 w 246"/>
                  <a:gd name="T55" fmla="*/ 344 h 377"/>
                  <a:gd name="T56" fmla="*/ 173 w 246"/>
                  <a:gd name="T57" fmla="*/ 322 h 377"/>
                  <a:gd name="T58" fmla="*/ 160 w 246"/>
                  <a:gd name="T59" fmla="*/ 311 h 377"/>
                  <a:gd name="T60" fmla="*/ 154 w 246"/>
                  <a:gd name="T61" fmla="*/ 303 h 377"/>
                  <a:gd name="T62" fmla="*/ 144 w 246"/>
                  <a:gd name="T63" fmla="*/ 299 h 377"/>
                  <a:gd name="T64" fmla="*/ 141 w 246"/>
                  <a:gd name="T65" fmla="*/ 291 h 377"/>
                  <a:gd name="T66" fmla="*/ 150 w 246"/>
                  <a:gd name="T67" fmla="*/ 283 h 377"/>
                  <a:gd name="T68" fmla="*/ 159 w 246"/>
                  <a:gd name="T69" fmla="*/ 283 h 377"/>
                  <a:gd name="T70" fmla="*/ 162 w 246"/>
                  <a:gd name="T71" fmla="*/ 258 h 377"/>
                  <a:gd name="T72" fmla="*/ 164 w 246"/>
                  <a:gd name="T73" fmla="*/ 243 h 377"/>
                  <a:gd name="T74" fmla="*/ 170 w 246"/>
                  <a:gd name="T75" fmla="*/ 237 h 377"/>
                  <a:gd name="T76" fmla="*/ 173 w 246"/>
                  <a:gd name="T77" fmla="*/ 237 h 377"/>
                  <a:gd name="T78" fmla="*/ 176 w 246"/>
                  <a:gd name="T79" fmla="*/ 238 h 377"/>
                  <a:gd name="T80" fmla="*/ 177 w 246"/>
                  <a:gd name="T81" fmla="*/ 234 h 377"/>
                  <a:gd name="T82" fmla="*/ 178 w 246"/>
                  <a:gd name="T83" fmla="*/ 229 h 377"/>
                  <a:gd name="T84" fmla="*/ 188 w 246"/>
                  <a:gd name="T85" fmla="*/ 207 h 377"/>
                  <a:gd name="T86" fmla="*/ 195 w 246"/>
                  <a:gd name="T87" fmla="*/ 201 h 377"/>
                  <a:gd name="T88" fmla="*/ 201 w 246"/>
                  <a:gd name="T89" fmla="*/ 197 h 377"/>
                  <a:gd name="T90" fmla="*/ 206 w 246"/>
                  <a:gd name="T91" fmla="*/ 174 h 377"/>
                  <a:gd name="T92" fmla="*/ 210 w 246"/>
                  <a:gd name="T93" fmla="*/ 141 h 377"/>
                  <a:gd name="T94" fmla="*/ 220 w 246"/>
                  <a:gd name="T95" fmla="*/ 116 h 377"/>
                  <a:gd name="T96" fmla="*/ 227 w 246"/>
                  <a:gd name="T97" fmla="*/ 114 h 377"/>
                  <a:gd name="T98" fmla="*/ 236 w 246"/>
                  <a:gd name="T99" fmla="*/ 108 h 377"/>
                  <a:gd name="T100" fmla="*/ 241 w 246"/>
                  <a:gd name="T101" fmla="*/ 106 h 377"/>
                  <a:gd name="T102" fmla="*/ 244 w 246"/>
                  <a:gd name="T103" fmla="*/ 98 h 377"/>
                  <a:gd name="T104" fmla="*/ 223 w 246"/>
                  <a:gd name="T105" fmla="*/ 40 h 377"/>
                  <a:gd name="T106" fmla="*/ 199 w 246"/>
                  <a:gd name="T107" fmla="*/ 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6" h="377">
                    <a:moveTo>
                      <a:pt x="190" y="355"/>
                    </a:moveTo>
                    <a:cubicBezTo>
                      <a:pt x="190" y="355"/>
                      <a:pt x="190" y="354"/>
                      <a:pt x="190" y="354"/>
                    </a:cubicBezTo>
                    <a:cubicBezTo>
                      <a:pt x="190" y="354"/>
                      <a:pt x="190" y="355"/>
                      <a:pt x="190" y="355"/>
                    </a:cubicBezTo>
                    <a:moveTo>
                      <a:pt x="193" y="0"/>
                    </a:moveTo>
                    <a:cubicBezTo>
                      <a:pt x="192" y="1"/>
                      <a:pt x="192" y="1"/>
                      <a:pt x="192" y="1"/>
                    </a:cubicBezTo>
                    <a:cubicBezTo>
                      <a:pt x="191" y="1"/>
                      <a:pt x="191" y="1"/>
                      <a:pt x="191" y="1"/>
                    </a:cubicBezTo>
                    <a:cubicBezTo>
                      <a:pt x="191" y="1"/>
                      <a:pt x="190" y="1"/>
                      <a:pt x="190" y="2"/>
                    </a:cubicBezTo>
                    <a:cubicBezTo>
                      <a:pt x="188" y="2"/>
                      <a:pt x="187" y="3"/>
                      <a:pt x="186" y="3"/>
                    </a:cubicBezTo>
                    <a:cubicBezTo>
                      <a:pt x="186" y="4"/>
                      <a:pt x="186" y="4"/>
                      <a:pt x="186" y="4"/>
                    </a:cubicBezTo>
                    <a:cubicBezTo>
                      <a:pt x="185" y="4"/>
                      <a:pt x="184" y="5"/>
                      <a:pt x="183" y="5"/>
                    </a:cubicBezTo>
                    <a:cubicBezTo>
                      <a:pt x="182" y="5"/>
                      <a:pt x="182" y="5"/>
                      <a:pt x="182" y="5"/>
                    </a:cubicBezTo>
                    <a:cubicBezTo>
                      <a:pt x="182" y="5"/>
                      <a:pt x="181" y="6"/>
                      <a:pt x="181" y="6"/>
                    </a:cubicBezTo>
                    <a:cubicBezTo>
                      <a:pt x="180" y="7"/>
                      <a:pt x="179" y="9"/>
                      <a:pt x="178" y="10"/>
                    </a:cubicBezTo>
                    <a:cubicBezTo>
                      <a:pt x="178" y="11"/>
                      <a:pt x="178" y="11"/>
                      <a:pt x="178" y="11"/>
                    </a:cubicBezTo>
                    <a:cubicBezTo>
                      <a:pt x="178" y="11"/>
                      <a:pt x="178" y="12"/>
                      <a:pt x="178" y="12"/>
                    </a:cubicBezTo>
                    <a:cubicBezTo>
                      <a:pt x="176" y="17"/>
                      <a:pt x="174" y="17"/>
                      <a:pt x="171" y="18"/>
                    </a:cubicBezTo>
                    <a:cubicBezTo>
                      <a:pt x="169" y="18"/>
                      <a:pt x="169" y="18"/>
                      <a:pt x="169" y="18"/>
                    </a:cubicBezTo>
                    <a:cubicBezTo>
                      <a:pt x="168" y="18"/>
                      <a:pt x="166" y="18"/>
                      <a:pt x="166" y="19"/>
                    </a:cubicBezTo>
                    <a:cubicBezTo>
                      <a:pt x="166" y="19"/>
                      <a:pt x="166" y="19"/>
                      <a:pt x="166" y="19"/>
                    </a:cubicBezTo>
                    <a:cubicBezTo>
                      <a:pt x="165" y="20"/>
                      <a:pt x="165" y="21"/>
                      <a:pt x="165" y="21"/>
                    </a:cubicBezTo>
                    <a:cubicBezTo>
                      <a:pt x="164" y="22"/>
                      <a:pt x="164" y="22"/>
                      <a:pt x="164" y="22"/>
                    </a:cubicBezTo>
                    <a:cubicBezTo>
                      <a:pt x="163" y="23"/>
                      <a:pt x="162" y="23"/>
                      <a:pt x="162" y="23"/>
                    </a:cubicBezTo>
                    <a:cubicBezTo>
                      <a:pt x="144" y="23"/>
                      <a:pt x="144" y="23"/>
                      <a:pt x="144" y="23"/>
                    </a:cubicBezTo>
                    <a:cubicBezTo>
                      <a:pt x="143" y="23"/>
                      <a:pt x="143" y="23"/>
                      <a:pt x="142" y="23"/>
                    </a:cubicBezTo>
                    <a:cubicBezTo>
                      <a:pt x="141" y="23"/>
                      <a:pt x="140" y="23"/>
                      <a:pt x="139" y="23"/>
                    </a:cubicBezTo>
                    <a:cubicBezTo>
                      <a:pt x="138" y="23"/>
                      <a:pt x="138" y="23"/>
                      <a:pt x="137" y="23"/>
                    </a:cubicBezTo>
                    <a:cubicBezTo>
                      <a:pt x="110" y="23"/>
                      <a:pt x="110" y="23"/>
                      <a:pt x="110" y="23"/>
                    </a:cubicBezTo>
                    <a:cubicBezTo>
                      <a:pt x="110" y="21"/>
                      <a:pt x="110" y="21"/>
                      <a:pt x="110" y="21"/>
                    </a:cubicBezTo>
                    <a:cubicBezTo>
                      <a:pt x="110" y="21"/>
                      <a:pt x="110" y="21"/>
                      <a:pt x="110" y="21"/>
                    </a:cubicBezTo>
                    <a:cubicBezTo>
                      <a:pt x="109" y="22"/>
                      <a:pt x="109" y="22"/>
                      <a:pt x="109" y="22"/>
                    </a:cubicBezTo>
                    <a:cubicBezTo>
                      <a:pt x="0" y="23"/>
                      <a:pt x="0" y="23"/>
                      <a:pt x="0" y="23"/>
                    </a:cubicBezTo>
                    <a:cubicBezTo>
                      <a:pt x="0" y="303"/>
                      <a:pt x="0" y="303"/>
                      <a:pt x="0" y="303"/>
                    </a:cubicBezTo>
                    <a:cubicBezTo>
                      <a:pt x="15" y="316"/>
                      <a:pt x="15" y="316"/>
                      <a:pt x="15" y="316"/>
                    </a:cubicBezTo>
                    <a:cubicBezTo>
                      <a:pt x="16" y="314"/>
                      <a:pt x="16" y="314"/>
                      <a:pt x="16" y="314"/>
                    </a:cubicBezTo>
                    <a:cubicBezTo>
                      <a:pt x="15" y="317"/>
                      <a:pt x="15" y="317"/>
                      <a:pt x="15" y="317"/>
                    </a:cubicBezTo>
                    <a:cubicBezTo>
                      <a:pt x="16" y="317"/>
                      <a:pt x="16" y="317"/>
                      <a:pt x="16" y="317"/>
                    </a:cubicBezTo>
                    <a:cubicBezTo>
                      <a:pt x="16" y="317"/>
                      <a:pt x="16" y="317"/>
                      <a:pt x="16" y="317"/>
                    </a:cubicBezTo>
                    <a:cubicBezTo>
                      <a:pt x="19" y="315"/>
                      <a:pt x="19" y="315"/>
                      <a:pt x="19" y="315"/>
                    </a:cubicBezTo>
                    <a:cubicBezTo>
                      <a:pt x="17" y="318"/>
                      <a:pt x="17" y="318"/>
                      <a:pt x="17" y="318"/>
                    </a:cubicBezTo>
                    <a:cubicBezTo>
                      <a:pt x="17" y="319"/>
                      <a:pt x="17" y="319"/>
                      <a:pt x="17" y="319"/>
                    </a:cubicBezTo>
                    <a:cubicBezTo>
                      <a:pt x="18" y="320"/>
                      <a:pt x="18" y="321"/>
                      <a:pt x="17" y="322"/>
                    </a:cubicBezTo>
                    <a:cubicBezTo>
                      <a:pt x="17" y="322"/>
                      <a:pt x="17" y="322"/>
                      <a:pt x="17" y="323"/>
                    </a:cubicBezTo>
                    <a:cubicBezTo>
                      <a:pt x="16" y="324"/>
                      <a:pt x="16" y="324"/>
                      <a:pt x="16" y="324"/>
                    </a:cubicBezTo>
                    <a:cubicBezTo>
                      <a:pt x="16" y="324"/>
                      <a:pt x="16" y="325"/>
                      <a:pt x="16" y="325"/>
                    </a:cubicBezTo>
                    <a:cubicBezTo>
                      <a:pt x="17" y="326"/>
                      <a:pt x="17" y="326"/>
                      <a:pt x="17" y="326"/>
                    </a:cubicBezTo>
                    <a:cubicBezTo>
                      <a:pt x="17" y="326"/>
                      <a:pt x="17" y="326"/>
                      <a:pt x="17" y="326"/>
                    </a:cubicBezTo>
                    <a:cubicBezTo>
                      <a:pt x="17" y="327"/>
                      <a:pt x="17" y="327"/>
                      <a:pt x="17" y="327"/>
                    </a:cubicBezTo>
                    <a:cubicBezTo>
                      <a:pt x="18" y="328"/>
                      <a:pt x="18" y="328"/>
                      <a:pt x="18" y="328"/>
                    </a:cubicBezTo>
                    <a:cubicBezTo>
                      <a:pt x="18" y="328"/>
                      <a:pt x="18" y="328"/>
                      <a:pt x="18" y="328"/>
                    </a:cubicBezTo>
                    <a:cubicBezTo>
                      <a:pt x="19" y="329"/>
                      <a:pt x="20" y="329"/>
                      <a:pt x="21" y="330"/>
                    </a:cubicBezTo>
                    <a:cubicBezTo>
                      <a:pt x="22" y="330"/>
                      <a:pt x="22" y="330"/>
                      <a:pt x="22" y="330"/>
                    </a:cubicBezTo>
                    <a:cubicBezTo>
                      <a:pt x="23" y="331"/>
                      <a:pt x="25" y="332"/>
                      <a:pt x="27" y="333"/>
                    </a:cubicBezTo>
                    <a:cubicBezTo>
                      <a:pt x="30" y="334"/>
                      <a:pt x="33" y="336"/>
                      <a:pt x="34" y="339"/>
                    </a:cubicBezTo>
                    <a:cubicBezTo>
                      <a:pt x="35" y="340"/>
                      <a:pt x="35" y="341"/>
                      <a:pt x="35" y="342"/>
                    </a:cubicBezTo>
                    <a:cubicBezTo>
                      <a:pt x="34" y="342"/>
                      <a:pt x="34" y="342"/>
                      <a:pt x="34" y="342"/>
                    </a:cubicBezTo>
                    <a:cubicBezTo>
                      <a:pt x="34" y="342"/>
                      <a:pt x="34" y="342"/>
                      <a:pt x="34" y="342"/>
                    </a:cubicBezTo>
                    <a:cubicBezTo>
                      <a:pt x="35" y="342"/>
                      <a:pt x="35" y="342"/>
                      <a:pt x="35" y="342"/>
                    </a:cubicBezTo>
                    <a:cubicBezTo>
                      <a:pt x="35" y="343"/>
                      <a:pt x="35" y="343"/>
                      <a:pt x="35" y="343"/>
                    </a:cubicBezTo>
                    <a:cubicBezTo>
                      <a:pt x="35" y="344"/>
                      <a:pt x="36" y="346"/>
                      <a:pt x="37" y="348"/>
                    </a:cubicBezTo>
                    <a:cubicBezTo>
                      <a:pt x="38" y="349"/>
                      <a:pt x="38" y="349"/>
                      <a:pt x="38" y="349"/>
                    </a:cubicBezTo>
                    <a:cubicBezTo>
                      <a:pt x="41" y="351"/>
                      <a:pt x="43" y="354"/>
                      <a:pt x="44" y="356"/>
                    </a:cubicBezTo>
                    <a:cubicBezTo>
                      <a:pt x="45" y="358"/>
                      <a:pt x="48" y="360"/>
                      <a:pt x="51" y="361"/>
                    </a:cubicBezTo>
                    <a:cubicBezTo>
                      <a:pt x="52" y="362"/>
                      <a:pt x="52" y="362"/>
                      <a:pt x="53" y="362"/>
                    </a:cubicBezTo>
                    <a:cubicBezTo>
                      <a:pt x="53" y="362"/>
                      <a:pt x="54" y="362"/>
                      <a:pt x="54" y="362"/>
                    </a:cubicBezTo>
                    <a:cubicBezTo>
                      <a:pt x="54" y="362"/>
                      <a:pt x="54" y="362"/>
                      <a:pt x="54" y="362"/>
                    </a:cubicBezTo>
                    <a:cubicBezTo>
                      <a:pt x="54" y="362"/>
                      <a:pt x="55" y="361"/>
                      <a:pt x="57" y="360"/>
                    </a:cubicBezTo>
                    <a:cubicBezTo>
                      <a:pt x="58" y="360"/>
                      <a:pt x="58" y="360"/>
                      <a:pt x="59" y="360"/>
                    </a:cubicBezTo>
                    <a:cubicBezTo>
                      <a:pt x="61" y="360"/>
                      <a:pt x="63" y="360"/>
                      <a:pt x="65" y="361"/>
                    </a:cubicBezTo>
                    <a:cubicBezTo>
                      <a:pt x="66" y="361"/>
                      <a:pt x="68" y="362"/>
                      <a:pt x="69" y="362"/>
                    </a:cubicBezTo>
                    <a:cubicBezTo>
                      <a:pt x="69" y="362"/>
                      <a:pt x="70" y="361"/>
                      <a:pt x="70" y="361"/>
                    </a:cubicBezTo>
                    <a:cubicBezTo>
                      <a:pt x="70" y="361"/>
                      <a:pt x="70" y="361"/>
                      <a:pt x="70" y="361"/>
                    </a:cubicBezTo>
                    <a:cubicBezTo>
                      <a:pt x="70" y="361"/>
                      <a:pt x="70" y="361"/>
                      <a:pt x="70" y="361"/>
                    </a:cubicBezTo>
                    <a:cubicBezTo>
                      <a:pt x="70" y="361"/>
                      <a:pt x="70" y="360"/>
                      <a:pt x="71" y="359"/>
                    </a:cubicBezTo>
                    <a:cubicBezTo>
                      <a:pt x="73" y="358"/>
                      <a:pt x="76" y="358"/>
                      <a:pt x="79" y="358"/>
                    </a:cubicBezTo>
                    <a:cubicBezTo>
                      <a:pt x="79" y="358"/>
                      <a:pt x="80" y="358"/>
                      <a:pt x="81" y="358"/>
                    </a:cubicBezTo>
                    <a:cubicBezTo>
                      <a:pt x="83" y="357"/>
                      <a:pt x="83" y="357"/>
                      <a:pt x="83" y="357"/>
                    </a:cubicBezTo>
                    <a:cubicBezTo>
                      <a:pt x="83" y="360"/>
                      <a:pt x="83" y="360"/>
                      <a:pt x="83" y="360"/>
                    </a:cubicBezTo>
                    <a:cubicBezTo>
                      <a:pt x="83" y="361"/>
                      <a:pt x="83" y="361"/>
                      <a:pt x="83" y="361"/>
                    </a:cubicBezTo>
                    <a:cubicBezTo>
                      <a:pt x="83" y="362"/>
                      <a:pt x="83" y="363"/>
                      <a:pt x="84" y="363"/>
                    </a:cubicBezTo>
                    <a:cubicBezTo>
                      <a:pt x="86" y="366"/>
                      <a:pt x="86" y="366"/>
                      <a:pt x="86" y="366"/>
                    </a:cubicBezTo>
                    <a:cubicBezTo>
                      <a:pt x="88" y="367"/>
                      <a:pt x="89" y="368"/>
                      <a:pt x="90" y="369"/>
                    </a:cubicBezTo>
                    <a:cubicBezTo>
                      <a:pt x="91" y="369"/>
                      <a:pt x="91" y="369"/>
                      <a:pt x="92" y="370"/>
                    </a:cubicBezTo>
                    <a:cubicBezTo>
                      <a:pt x="93" y="370"/>
                      <a:pt x="93" y="370"/>
                      <a:pt x="93" y="370"/>
                    </a:cubicBezTo>
                    <a:cubicBezTo>
                      <a:pt x="93" y="370"/>
                      <a:pt x="96" y="371"/>
                      <a:pt x="97" y="373"/>
                    </a:cubicBezTo>
                    <a:cubicBezTo>
                      <a:pt x="97" y="374"/>
                      <a:pt x="97" y="374"/>
                      <a:pt x="97" y="375"/>
                    </a:cubicBezTo>
                    <a:cubicBezTo>
                      <a:pt x="97" y="376"/>
                      <a:pt x="97" y="376"/>
                      <a:pt x="97" y="376"/>
                    </a:cubicBezTo>
                    <a:cubicBezTo>
                      <a:pt x="98" y="377"/>
                      <a:pt x="98" y="377"/>
                      <a:pt x="98" y="377"/>
                    </a:cubicBezTo>
                    <a:cubicBezTo>
                      <a:pt x="99" y="377"/>
                      <a:pt x="99" y="377"/>
                      <a:pt x="100" y="377"/>
                    </a:cubicBezTo>
                    <a:cubicBezTo>
                      <a:pt x="100" y="377"/>
                      <a:pt x="101" y="376"/>
                      <a:pt x="101" y="376"/>
                    </a:cubicBezTo>
                    <a:cubicBezTo>
                      <a:pt x="102" y="375"/>
                      <a:pt x="102" y="375"/>
                      <a:pt x="102" y="375"/>
                    </a:cubicBezTo>
                    <a:cubicBezTo>
                      <a:pt x="103" y="375"/>
                      <a:pt x="103" y="375"/>
                      <a:pt x="103" y="375"/>
                    </a:cubicBezTo>
                    <a:cubicBezTo>
                      <a:pt x="103" y="374"/>
                      <a:pt x="103" y="374"/>
                      <a:pt x="103" y="374"/>
                    </a:cubicBezTo>
                    <a:cubicBezTo>
                      <a:pt x="104" y="373"/>
                      <a:pt x="105" y="373"/>
                      <a:pt x="106" y="373"/>
                    </a:cubicBezTo>
                    <a:cubicBezTo>
                      <a:pt x="107" y="373"/>
                      <a:pt x="108" y="373"/>
                      <a:pt x="108" y="373"/>
                    </a:cubicBezTo>
                    <a:cubicBezTo>
                      <a:pt x="109" y="373"/>
                      <a:pt x="109" y="373"/>
                      <a:pt x="110" y="374"/>
                    </a:cubicBezTo>
                    <a:cubicBezTo>
                      <a:pt x="111" y="374"/>
                      <a:pt x="111" y="374"/>
                      <a:pt x="112" y="374"/>
                    </a:cubicBezTo>
                    <a:cubicBezTo>
                      <a:pt x="112" y="374"/>
                      <a:pt x="113" y="374"/>
                      <a:pt x="113" y="374"/>
                    </a:cubicBezTo>
                    <a:cubicBezTo>
                      <a:pt x="113" y="374"/>
                      <a:pt x="113" y="374"/>
                      <a:pt x="114" y="374"/>
                    </a:cubicBezTo>
                    <a:cubicBezTo>
                      <a:pt x="119" y="371"/>
                      <a:pt x="119" y="371"/>
                      <a:pt x="119" y="371"/>
                    </a:cubicBezTo>
                    <a:cubicBezTo>
                      <a:pt x="120" y="373"/>
                      <a:pt x="120" y="373"/>
                      <a:pt x="120" y="373"/>
                    </a:cubicBezTo>
                    <a:cubicBezTo>
                      <a:pt x="123" y="376"/>
                      <a:pt x="123" y="376"/>
                      <a:pt x="123" y="376"/>
                    </a:cubicBezTo>
                    <a:cubicBezTo>
                      <a:pt x="123" y="376"/>
                      <a:pt x="123" y="376"/>
                      <a:pt x="123" y="376"/>
                    </a:cubicBezTo>
                    <a:cubicBezTo>
                      <a:pt x="123" y="376"/>
                      <a:pt x="124" y="376"/>
                      <a:pt x="125" y="376"/>
                    </a:cubicBezTo>
                    <a:cubicBezTo>
                      <a:pt x="125" y="377"/>
                      <a:pt x="125" y="377"/>
                      <a:pt x="125" y="377"/>
                    </a:cubicBezTo>
                    <a:cubicBezTo>
                      <a:pt x="125" y="377"/>
                      <a:pt x="125" y="377"/>
                      <a:pt x="125" y="377"/>
                    </a:cubicBezTo>
                    <a:cubicBezTo>
                      <a:pt x="126" y="376"/>
                      <a:pt x="127" y="375"/>
                      <a:pt x="128" y="374"/>
                    </a:cubicBezTo>
                    <a:cubicBezTo>
                      <a:pt x="129" y="373"/>
                      <a:pt x="131" y="372"/>
                      <a:pt x="133" y="372"/>
                    </a:cubicBezTo>
                    <a:cubicBezTo>
                      <a:pt x="134" y="372"/>
                      <a:pt x="138" y="370"/>
                      <a:pt x="141" y="370"/>
                    </a:cubicBezTo>
                    <a:cubicBezTo>
                      <a:pt x="141" y="370"/>
                      <a:pt x="142" y="370"/>
                      <a:pt x="143" y="371"/>
                    </a:cubicBezTo>
                    <a:cubicBezTo>
                      <a:pt x="144" y="371"/>
                      <a:pt x="144" y="371"/>
                      <a:pt x="145" y="372"/>
                    </a:cubicBezTo>
                    <a:cubicBezTo>
                      <a:pt x="146" y="372"/>
                      <a:pt x="147" y="372"/>
                      <a:pt x="148" y="372"/>
                    </a:cubicBezTo>
                    <a:cubicBezTo>
                      <a:pt x="149" y="373"/>
                      <a:pt x="149" y="373"/>
                      <a:pt x="150" y="373"/>
                    </a:cubicBezTo>
                    <a:cubicBezTo>
                      <a:pt x="151" y="373"/>
                      <a:pt x="151" y="372"/>
                      <a:pt x="152" y="371"/>
                    </a:cubicBezTo>
                    <a:cubicBezTo>
                      <a:pt x="158" y="365"/>
                      <a:pt x="158" y="365"/>
                      <a:pt x="158" y="365"/>
                    </a:cubicBezTo>
                    <a:cubicBezTo>
                      <a:pt x="158" y="364"/>
                      <a:pt x="158" y="364"/>
                      <a:pt x="158" y="364"/>
                    </a:cubicBezTo>
                    <a:cubicBezTo>
                      <a:pt x="159" y="364"/>
                      <a:pt x="159" y="364"/>
                      <a:pt x="159" y="364"/>
                    </a:cubicBezTo>
                    <a:cubicBezTo>
                      <a:pt x="162" y="361"/>
                      <a:pt x="162" y="361"/>
                      <a:pt x="162" y="361"/>
                    </a:cubicBezTo>
                    <a:cubicBezTo>
                      <a:pt x="162" y="361"/>
                      <a:pt x="163" y="360"/>
                      <a:pt x="163" y="360"/>
                    </a:cubicBezTo>
                    <a:cubicBezTo>
                      <a:pt x="164" y="360"/>
                      <a:pt x="164" y="360"/>
                      <a:pt x="164" y="360"/>
                    </a:cubicBezTo>
                    <a:cubicBezTo>
                      <a:pt x="164" y="359"/>
                      <a:pt x="164" y="359"/>
                      <a:pt x="164" y="359"/>
                    </a:cubicBezTo>
                    <a:cubicBezTo>
                      <a:pt x="165" y="358"/>
                      <a:pt x="166" y="356"/>
                      <a:pt x="169" y="356"/>
                    </a:cubicBezTo>
                    <a:cubicBezTo>
                      <a:pt x="190" y="356"/>
                      <a:pt x="190" y="356"/>
                      <a:pt x="190" y="356"/>
                    </a:cubicBezTo>
                    <a:cubicBezTo>
                      <a:pt x="191" y="357"/>
                      <a:pt x="191" y="357"/>
                      <a:pt x="191" y="357"/>
                    </a:cubicBezTo>
                    <a:cubicBezTo>
                      <a:pt x="191" y="357"/>
                      <a:pt x="191" y="357"/>
                      <a:pt x="191" y="357"/>
                    </a:cubicBezTo>
                    <a:cubicBezTo>
                      <a:pt x="191" y="357"/>
                      <a:pt x="191" y="357"/>
                      <a:pt x="191" y="357"/>
                    </a:cubicBezTo>
                    <a:cubicBezTo>
                      <a:pt x="190" y="356"/>
                      <a:pt x="190" y="356"/>
                      <a:pt x="190" y="355"/>
                    </a:cubicBezTo>
                    <a:cubicBezTo>
                      <a:pt x="190" y="355"/>
                      <a:pt x="190" y="356"/>
                      <a:pt x="190" y="356"/>
                    </a:cubicBezTo>
                    <a:cubicBezTo>
                      <a:pt x="192" y="356"/>
                      <a:pt x="192" y="356"/>
                      <a:pt x="192" y="356"/>
                    </a:cubicBezTo>
                    <a:cubicBezTo>
                      <a:pt x="192" y="354"/>
                      <a:pt x="192" y="354"/>
                      <a:pt x="192" y="354"/>
                    </a:cubicBezTo>
                    <a:cubicBezTo>
                      <a:pt x="192" y="353"/>
                      <a:pt x="192" y="352"/>
                      <a:pt x="192" y="351"/>
                    </a:cubicBezTo>
                    <a:cubicBezTo>
                      <a:pt x="192" y="351"/>
                      <a:pt x="192" y="351"/>
                      <a:pt x="192" y="351"/>
                    </a:cubicBezTo>
                    <a:cubicBezTo>
                      <a:pt x="192" y="350"/>
                      <a:pt x="192" y="350"/>
                      <a:pt x="192" y="349"/>
                    </a:cubicBezTo>
                    <a:cubicBezTo>
                      <a:pt x="192" y="349"/>
                      <a:pt x="192" y="349"/>
                      <a:pt x="192" y="349"/>
                    </a:cubicBezTo>
                    <a:cubicBezTo>
                      <a:pt x="192" y="348"/>
                      <a:pt x="193" y="347"/>
                      <a:pt x="193" y="347"/>
                    </a:cubicBezTo>
                    <a:cubicBezTo>
                      <a:pt x="192" y="347"/>
                      <a:pt x="192" y="347"/>
                      <a:pt x="192" y="347"/>
                    </a:cubicBezTo>
                    <a:cubicBezTo>
                      <a:pt x="192" y="346"/>
                      <a:pt x="192" y="346"/>
                      <a:pt x="191" y="346"/>
                    </a:cubicBezTo>
                    <a:cubicBezTo>
                      <a:pt x="191" y="346"/>
                      <a:pt x="191" y="346"/>
                      <a:pt x="191" y="346"/>
                    </a:cubicBezTo>
                    <a:cubicBezTo>
                      <a:pt x="190" y="346"/>
                      <a:pt x="190" y="346"/>
                      <a:pt x="190" y="346"/>
                    </a:cubicBezTo>
                    <a:cubicBezTo>
                      <a:pt x="188" y="346"/>
                      <a:pt x="187" y="345"/>
                      <a:pt x="185" y="344"/>
                    </a:cubicBezTo>
                    <a:cubicBezTo>
                      <a:pt x="185" y="344"/>
                      <a:pt x="184" y="344"/>
                      <a:pt x="184" y="344"/>
                    </a:cubicBezTo>
                    <a:cubicBezTo>
                      <a:pt x="184" y="344"/>
                      <a:pt x="183" y="343"/>
                      <a:pt x="183" y="343"/>
                    </a:cubicBezTo>
                    <a:cubicBezTo>
                      <a:pt x="182" y="342"/>
                      <a:pt x="182" y="342"/>
                      <a:pt x="181" y="341"/>
                    </a:cubicBezTo>
                    <a:cubicBezTo>
                      <a:pt x="181" y="340"/>
                      <a:pt x="181" y="340"/>
                      <a:pt x="181" y="340"/>
                    </a:cubicBezTo>
                    <a:cubicBezTo>
                      <a:pt x="180" y="339"/>
                      <a:pt x="179" y="338"/>
                      <a:pt x="179" y="337"/>
                    </a:cubicBezTo>
                    <a:cubicBezTo>
                      <a:pt x="179" y="337"/>
                      <a:pt x="175" y="326"/>
                      <a:pt x="173" y="322"/>
                    </a:cubicBezTo>
                    <a:cubicBezTo>
                      <a:pt x="172" y="321"/>
                      <a:pt x="172" y="321"/>
                      <a:pt x="172" y="321"/>
                    </a:cubicBezTo>
                    <a:cubicBezTo>
                      <a:pt x="170" y="319"/>
                      <a:pt x="170" y="319"/>
                      <a:pt x="170" y="319"/>
                    </a:cubicBezTo>
                    <a:cubicBezTo>
                      <a:pt x="169" y="318"/>
                      <a:pt x="169" y="317"/>
                      <a:pt x="168" y="316"/>
                    </a:cubicBezTo>
                    <a:cubicBezTo>
                      <a:pt x="167" y="316"/>
                      <a:pt x="167" y="316"/>
                      <a:pt x="166" y="316"/>
                    </a:cubicBezTo>
                    <a:cubicBezTo>
                      <a:pt x="164" y="315"/>
                      <a:pt x="162" y="313"/>
                      <a:pt x="160" y="311"/>
                    </a:cubicBezTo>
                    <a:cubicBezTo>
                      <a:pt x="160" y="310"/>
                      <a:pt x="160" y="310"/>
                      <a:pt x="160" y="310"/>
                    </a:cubicBezTo>
                    <a:cubicBezTo>
                      <a:pt x="159" y="310"/>
                      <a:pt x="159" y="309"/>
                      <a:pt x="159" y="309"/>
                    </a:cubicBezTo>
                    <a:cubicBezTo>
                      <a:pt x="158" y="308"/>
                      <a:pt x="158" y="308"/>
                      <a:pt x="157" y="307"/>
                    </a:cubicBezTo>
                    <a:cubicBezTo>
                      <a:pt x="157" y="307"/>
                      <a:pt x="157" y="307"/>
                      <a:pt x="157" y="307"/>
                    </a:cubicBezTo>
                    <a:cubicBezTo>
                      <a:pt x="156" y="305"/>
                      <a:pt x="155" y="303"/>
                      <a:pt x="154" y="303"/>
                    </a:cubicBezTo>
                    <a:cubicBezTo>
                      <a:pt x="153" y="303"/>
                      <a:pt x="153" y="303"/>
                      <a:pt x="153" y="303"/>
                    </a:cubicBezTo>
                    <a:cubicBezTo>
                      <a:pt x="153" y="302"/>
                      <a:pt x="152" y="302"/>
                      <a:pt x="152" y="302"/>
                    </a:cubicBezTo>
                    <a:cubicBezTo>
                      <a:pt x="151" y="302"/>
                      <a:pt x="151" y="302"/>
                      <a:pt x="151" y="302"/>
                    </a:cubicBezTo>
                    <a:cubicBezTo>
                      <a:pt x="150" y="301"/>
                      <a:pt x="150" y="301"/>
                      <a:pt x="150" y="301"/>
                    </a:cubicBezTo>
                    <a:cubicBezTo>
                      <a:pt x="148" y="300"/>
                      <a:pt x="146" y="299"/>
                      <a:pt x="144" y="299"/>
                    </a:cubicBezTo>
                    <a:cubicBezTo>
                      <a:pt x="143" y="298"/>
                      <a:pt x="143" y="298"/>
                      <a:pt x="143" y="298"/>
                    </a:cubicBezTo>
                    <a:cubicBezTo>
                      <a:pt x="142" y="298"/>
                      <a:pt x="141" y="298"/>
                      <a:pt x="140" y="297"/>
                    </a:cubicBezTo>
                    <a:cubicBezTo>
                      <a:pt x="138" y="296"/>
                      <a:pt x="138" y="296"/>
                      <a:pt x="138" y="296"/>
                    </a:cubicBezTo>
                    <a:cubicBezTo>
                      <a:pt x="139" y="294"/>
                      <a:pt x="139" y="294"/>
                      <a:pt x="139" y="294"/>
                    </a:cubicBezTo>
                    <a:cubicBezTo>
                      <a:pt x="140" y="293"/>
                      <a:pt x="140" y="292"/>
                      <a:pt x="141" y="291"/>
                    </a:cubicBezTo>
                    <a:cubicBezTo>
                      <a:pt x="142" y="288"/>
                      <a:pt x="143" y="284"/>
                      <a:pt x="147" y="283"/>
                    </a:cubicBezTo>
                    <a:cubicBezTo>
                      <a:pt x="147" y="283"/>
                      <a:pt x="147" y="283"/>
                      <a:pt x="147" y="283"/>
                    </a:cubicBezTo>
                    <a:cubicBezTo>
                      <a:pt x="148" y="283"/>
                      <a:pt x="149" y="283"/>
                      <a:pt x="149" y="283"/>
                    </a:cubicBezTo>
                    <a:cubicBezTo>
                      <a:pt x="150" y="283"/>
                      <a:pt x="150" y="283"/>
                      <a:pt x="150" y="283"/>
                    </a:cubicBezTo>
                    <a:cubicBezTo>
                      <a:pt x="150" y="283"/>
                      <a:pt x="150" y="283"/>
                      <a:pt x="150" y="283"/>
                    </a:cubicBezTo>
                    <a:cubicBezTo>
                      <a:pt x="150" y="283"/>
                      <a:pt x="150" y="283"/>
                      <a:pt x="150" y="283"/>
                    </a:cubicBezTo>
                    <a:cubicBezTo>
                      <a:pt x="151" y="283"/>
                      <a:pt x="152" y="283"/>
                      <a:pt x="154" y="283"/>
                    </a:cubicBezTo>
                    <a:cubicBezTo>
                      <a:pt x="154" y="283"/>
                      <a:pt x="156" y="284"/>
                      <a:pt x="157" y="284"/>
                    </a:cubicBezTo>
                    <a:cubicBezTo>
                      <a:pt x="158" y="284"/>
                      <a:pt x="159" y="284"/>
                      <a:pt x="159" y="283"/>
                    </a:cubicBezTo>
                    <a:cubicBezTo>
                      <a:pt x="159" y="283"/>
                      <a:pt x="159" y="283"/>
                      <a:pt x="159" y="283"/>
                    </a:cubicBezTo>
                    <a:cubicBezTo>
                      <a:pt x="162" y="281"/>
                      <a:pt x="161" y="273"/>
                      <a:pt x="160" y="269"/>
                    </a:cubicBezTo>
                    <a:cubicBezTo>
                      <a:pt x="160" y="269"/>
                      <a:pt x="160" y="269"/>
                      <a:pt x="160" y="269"/>
                    </a:cubicBezTo>
                    <a:cubicBezTo>
                      <a:pt x="160" y="266"/>
                      <a:pt x="161" y="263"/>
                      <a:pt x="161" y="261"/>
                    </a:cubicBezTo>
                    <a:cubicBezTo>
                      <a:pt x="162" y="260"/>
                      <a:pt x="162" y="259"/>
                      <a:pt x="162" y="259"/>
                    </a:cubicBezTo>
                    <a:cubicBezTo>
                      <a:pt x="162" y="258"/>
                      <a:pt x="162" y="258"/>
                      <a:pt x="162" y="258"/>
                    </a:cubicBezTo>
                    <a:cubicBezTo>
                      <a:pt x="163" y="256"/>
                      <a:pt x="163" y="255"/>
                      <a:pt x="164" y="254"/>
                    </a:cubicBezTo>
                    <a:cubicBezTo>
                      <a:pt x="164" y="252"/>
                      <a:pt x="164" y="252"/>
                      <a:pt x="164" y="252"/>
                    </a:cubicBezTo>
                    <a:cubicBezTo>
                      <a:pt x="164" y="252"/>
                      <a:pt x="164" y="251"/>
                      <a:pt x="165" y="251"/>
                    </a:cubicBezTo>
                    <a:cubicBezTo>
                      <a:pt x="165" y="250"/>
                      <a:pt x="165" y="249"/>
                      <a:pt x="164" y="248"/>
                    </a:cubicBezTo>
                    <a:cubicBezTo>
                      <a:pt x="164" y="247"/>
                      <a:pt x="164" y="245"/>
                      <a:pt x="164" y="243"/>
                    </a:cubicBezTo>
                    <a:cubicBezTo>
                      <a:pt x="164" y="243"/>
                      <a:pt x="165" y="243"/>
                      <a:pt x="165" y="242"/>
                    </a:cubicBezTo>
                    <a:cubicBezTo>
                      <a:pt x="166" y="241"/>
                      <a:pt x="166" y="240"/>
                      <a:pt x="167" y="239"/>
                    </a:cubicBezTo>
                    <a:cubicBezTo>
                      <a:pt x="168" y="238"/>
                      <a:pt x="168" y="238"/>
                      <a:pt x="169" y="237"/>
                    </a:cubicBezTo>
                    <a:cubicBezTo>
                      <a:pt x="170" y="237"/>
                      <a:pt x="170" y="237"/>
                      <a:pt x="170" y="237"/>
                    </a:cubicBezTo>
                    <a:cubicBezTo>
                      <a:pt x="170" y="237"/>
                      <a:pt x="170" y="237"/>
                      <a:pt x="170" y="237"/>
                    </a:cubicBezTo>
                    <a:cubicBezTo>
                      <a:pt x="170" y="237"/>
                      <a:pt x="171" y="237"/>
                      <a:pt x="171" y="237"/>
                    </a:cubicBezTo>
                    <a:cubicBezTo>
                      <a:pt x="171" y="237"/>
                      <a:pt x="171" y="237"/>
                      <a:pt x="171" y="237"/>
                    </a:cubicBezTo>
                    <a:cubicBezTo>
                      <a:pt x="171" y="237"/>
                      <a:pt x="171" y="237"/>
                      <a:pt x="171" y="237"/>
                    </a:cubicBezTo>
                    <a:cubicBezTo>
                      <a:pt x="172" y="237"/>
                      <a:pt x="172" y="237"/>
                      <a:pt x="173" y="237"/>
                    </a:cubicBezTo>
                    <a:cubicBezTo>
                      <a:pt x="173" y="237"/>
                      <a:pt x="173" y="237"/>
                      <a:pt x="173" y="237"/>
                    </a:cubicBezTo>
                    <a:cubicBezTo>
                      <a:pt x="173" y="237"/>
                      <a:pt x="173" y="237"/>
                      <a:pt x="173" y="237"/>
                    </a:cubicBezTo>
                    <a:cubicBezTo>
                      <a:pt x="174" y="238"/>
                      <a:pt x="174" y="238"/>
                      <a:pt x="174" y="238"/>
                    </a:cubicBezTo>
                    <a:cubicBezTo>
                      <a:pt x="174" y="238"/>
                      <a:pt x="175" y="238"/>
                      <a:pt x="175" y="238"/>
                    </a:cubicBezTo>
                    <a:cubicBezTo>
                      <a:pt x="175" y="238"/>
                      <a:pt x="175" y="238"/>
                      <a:pt x="175" y="238"/>
                    </a:cubicBezTo>
                    <a:cubicBezTo>
                      <a:pt x="176" y="238"/>
                      <a:pt x="176" y="238"/>
                      <a:pt x="176" y="238"/>
                    </a:cubicBezTo>
                    <a:cubicBezTo>
                      <a:pt x="176" y="238"/>
                      <a:pt x="176" y="238"/>
                      <a:pt x="176" y="238"/>
                    </a:cubicBezTo>
                    <a:cubicBezTo>
                      <a:pt x="176" y="238"/>
                      <a:pt x="176" y="238"/>
                      <a:pt x="176" y="238"/>
                    </a:cubicBezTo>
                    <a:cubicBezTo>
                      <a:pt x="177" y="237"/>
                      <a:pt x="177" y="237"/>
                      <a:pt x="177" y="237"/>
                    </a:cubicBezTo>
                    <a:cubicBezTo>
                      <a:pt x="176" y="237"/>
                      <a:pt x="176" y="237"/>
                      <a:pt x="176" y="237"/>
                    </a:cubicBezTo>
                    <a:cubicBezTo>
                      <a:pt x="176" y="236"/>
                      <a:pt x="176" y="235"/>
                      <a:pt x="177" y="234"/>
                    </a:cubicBezTo>
                    <a:cubicBezTo>
                      <a:pt x="177" y="234"/>
                      <a:pt x="177" y="234"/>
                      <a:pt x="177" y="234"/>
                    </a:cubicBezTo>
                    <a:cubicBezTo>
                      <a:pt x="177" y="233"/>
                      <a:pt x="177" y="233"/>
                      <a:pt x="177" y="233"/>
                    </a:cubicBezTo>
                    <a:cubicBezTo>
                      <a:pt x="177" y="232"/>
                      <a:pt x="177" y="231"/>
                      <a:pt x="177" y="231"/>
                    </a:cubicBezTo>
                    <a:cubicBezTo>
                      <a:pt x="177" y="230"/>
                      <a:pt x="177" y="230"/>
                      <a:pt x="177" y="230"/>
                    </a:cubicBezTo>
                    <a:cubicBezTo>
                      <a:pt x="178" y="230"/>
                      <a:pt x="178" y="229"/>
                      <a:pt x="178" y="229"/>
                    </a:cubicBezTo>
                    <a:cubicBezTo>
                      <a:pt x="178" y="227"/>
                      <a:pt x="178" y="226"/>
                      <a:pt x="179" y="224"/>
                    </a:cubicBezTo>
                    <a:cubicBezTo>
                      <a:pt x="179" y="223"/>
                      <a:pt x="179" y="223"/>
                      <a:pt x="179" y="223"/>
                    </a:cubicBezTo>
                    <a:cubicBezTo>
                      <a:pt x="180" y="220"/>
                      <a:pt x="180" y="218"/>
                      <a:pt x="183" y="216"/>
                    </a:cubicBezTo>
                    <a:cubicBezTo>
                      <a:pt x="184" y="215"/>
                      <a:pt x="185" y="214"/>
                      <a:pt x="185" y="212"/>
                    </a:cubicBezTo>
                    <a:cubicBezTo>
                      <a:pt x="186" y="211"/>
                      <a:pt x="187" y="209"/>
                      <a:pt x="188" y="207"/>
                    </a:cubicBezTo>
                    <a:cubicBezTo>
                      <a:pt x="189" y="207"/>
                      <a:pt x="189" y="207"/>
                      <a:pt x="189" y="207"/>
                    </a:cubicBezTo>
                    <a:cubicBezTo>
                      <a:pt x="189" y="206"/>
                      <a:pt x="190" y="205"/>
                      <a:pt x="190" y="204"/>
                    </a:cubicBezTo>
                    <a:cubicBezTo>
                      <a:pt x="191" y="202"/>
                      <a:pt x="192" y="202"/>
                      <a:pt x="194" y="201"/>
                    </a:cubicBezTo>
                    <a:cubicBezTo>
                      <a:pt x="195" y="201"/>
                      <a:pt x="195" y="201"/>
                      <a:pt x="195" y="201"/>
                    </a:cubicBezTo>
                    <a:cubicBezTo>
                      <a:pt x="195" y="201"/>
                      <a:pt x="195" y="201"/>
                      <a:pt x="195" y="201"/>
                    </a:cubicBezTo>
                    <a:cubicBezTo>
                      <a:pt x="196" y="201"/>
                      <a:pt x="196" y="201"/>
                      <a:pt x="197" y="201"/>
                    </a:cubicBezTo>
                    <a:cubicBezTo>
                      <a:pt x="198" y="202"/>
                      <a:pt x="198" y="202"/>
                      <a:pt x="199" y="202"/>
                    </a:cubicBezTo>
                    <a:cubicBezTo>
                      <a:pt x="200" y="202"/>
                      <a:pt x="200" y="202"/>
                      <a:pt x="200" y="202"/>
                    </a:cubicBezTo>
                    <a:cubicBezTo>
                      <a:pt x="200" y="201"/>
                      <a:pt x="200" y="201"/>
                      <a:pt x="200" y="198"/>
                    </a:cubicBezTo>
                    <a:cubicBezTo>
                      <a:pt x="201" y="197"/>
                      <a:pt x="201" y="197"/>
                      <a:pt x="201" y="197"/>
                    </a:cubicBezTo>
                    <a:cubicBezTo>
                      <a:pt x="202" y="193"/>
                      <a:pt x="202" y="193"/>
                      <a:pt x="202" y="193"/>
                    </a:cubicBezTo>
                    <a:cubicBezTo>
                      <a:pt x="203" y="189"/>
                      <a:pt x="204" y="185"/>
                      <a:pt x="205" y="182"/>
                    </a:cubicBezTo>
                    <a:cubicBezTo>
                      <a:pt x="205" y="181"/>
                      <a:pt x="205" y="181"/>
                      <a:pt x="205" y="181"/>
                    </a:cubicBezTo>
                    <a:cubicBezTo>
                      <a:pt x="205" y="179"/>
                      <a:pt x="206" y="177"/>
                      <a:pt x="206" y="175"/>
                    </a:cubicBezTo>
                    <a:cubicBezTo>
                      <a:pt x="206" y="174"/>
                      <a:pt x="206" y="174"/>
                      <a:pt x="206" y="174"/>
                    </a:cubicBezTo>
                    <a:cubicBezTo>
                      <a:pt x="205" y="170"/>
                      <a:pt x="205" y="165"/>
                      <a:pt x="205" y="165"/>
                    </a:cubicBezTo>
                    <a:cubicBezTo>
                      <a:pt x="205" y="164"/>
                      <a:pt x="205" y="164"/>
                      <a:pt x="205" y="163"/>
                    </a:cubicBezTo>
                    <a:cubicBezTo>
                      <a:pt x="205" y="161"/>
                      <a:pt x="204" y="158"/>
                      <a:pt x="205" y="156"/>
                    </a:cubicBezTo>
                    <a:cubicBezTo>
                      <a:pt x="206" y="151"/>
                      <a:pt x="208" y="146"/>
                      <a:pt x="210" y="142"/>
                    </a:cubicBezTo>
                    <a:cubicBezTo>
                      <a:pt x="210" y="141"/>
                      <a:pt x="210" y="141"/>
                      <a:pt x="210" y="141"/>
                    </a:cubicBezTo>
                    <a:cubicBezTo>
                      <a:pt x="211" y="139"/>
                      <a:pt x="212" y="137"/>
                      <a:pt x="212" y="136"/>
                    </a:cubicBezTo>
                    <a:cubicBezTo>
                      <a:pt x="214" y="130"/>
                      <a:pt x="215" y="126"/>
                      <a:pt x="215" y="120"/>
                    </a:cubicBezTo>
                    <a:cubicBezTo>
                      <a:pt x="215" y="116"/>
                      <a:pt x="215" y="116"/>
                      <a:pt x="215" y="116"/>
                    </a:cubicBezTo>
                    <a:cubicBezTo>
                      <a:pt x="218" y="116"/>
                      <a:pt x="218" y="116"/>
                      <a:pt x="218" y="116"/>
                    </a:cubicBezTo>
                    <a:cubicBezTo>
                      <a:pt x="218" y="116"/>
                      <a:pt x="219" y="116"/>
                      <a:pt x="220" y="116"/>
                    </a:cubicBezTo>
                    <a:cubicBezTo>
                      <a:pt x="221" y="117"/>
                      <a:pt x="222" y="117"/>
                      <a:pt x="223" y="117"/>
                    </a:cubicBezTo>
                    <a:cubicBezTo>
                      <a:pt x="224" y="117"/>
                      <a:pt x="224" y="117"/>
                      <a:pt x="225" y="116"/>
                    </a:cubicBezTo>
                    <a:cubicBezTo>
                      <a:pt x="225" y="116"/>
                      <a:pt x="225" y="116"/>
                      <a:pt x="225" y="116"/>
                    </a:cubicBezTo>
                    <a:cubicBezTo>
                      <a:pt x="226" y="115"/>
                      <a:pt x="226" y="115"/>
                      <a:pt x="226" y="115"/>
                    </a:cubicBezTo>
                    <a:cubicBezTo>
                      <a:pt x="226" y="115"/>
                      <a:pt x="226" y="114"/>
                      <a:pt x="227" y="114"/>
                    </a:cubicBezTo>
                    <a:cubicBezTo>
                      <a:pt x="228" y="112"/>
                      <a:pt x="230" y="111"/>
                      <a:pt x="231" y="110"/>
                    </a:cubicBezTo>
                    <a:cubicBezTo>
                      <a:pt x="232" y="110"/>
                      <a:pt x="232" y="110"/>
                      <a:pt x="232" y="110"/>
                    </a:cubicBezTo>
                    <a:cubicBezTo>
                      <a:pt x="232" y="110"/>
                      <a:pt x="233" y="109"/>
                      <a:pt x="233" y="109"/>
                    </a:cubicBezTo>
                    <a:cubicBezTo>
                      <a:pt x="234" y="108"/>
                      <a:pt x="234" y="108"/>
                      <a:pt x="234" y="108"/>
                    </a:cubicBezTo>
                    <a:cubicBezTo>
                      <a:pt x="235" y="108"/>
                      <a:pt x="235" y="108"/>
                      <a:pt x="236" y="108"/>
                    </a:cubicBezTo>
                    <a:cubicBezTo>
                      <a:pt x="237" y="107"/>
                      <a:pt x="238" y="107"/>
                      <a:pt x="239" y="107"/>
                    </a:cubicBezTo>
                    <a:cubicBezTo>
                      <a:pt x="240" y="107"/>
                      <a:pt x="240" y="107"/>
                      <a:pt x="240" y="107"/>
                    </a:cubicBezTo>
                    <a:cubicBezTo>
                      <a:pt x="238" y="103"/>
                      <a:pt x="238" y="103"/>
                      <a:pt x="238" y="103"/>
                    </a:cubicBezTo>
                    <a:cubicBezTo>
                      <a:pt x="241" y="106"/>
                      <a:pt x="241" y="106"/>
                      <a:pt x="241" y="106"/>
                    </a:cubicBezTo>
                    <a:cubicBezTo>
                      <a:pt x="241" y="106"/>
                      <a:pt x="241" y="106"/>
                      <a:pt x="241" y="106"/>
                    </a:cubicBezTo>
                    <a:cubicBezTo>
                      <a:pt x="242" y="105"/>
                      <a:pt x="243" y="103"/>
                      <a:pt x="244" y="101"/>
                    </a:cubicBezTo>
                    <a:cubicBezTo>
                      <a:pt x="245" y="101"/>
                      <a:pt x="245" y="101"/>
                      <a:pt x="245" y="101"/>
                    </a:cubicBezTo>
                    <a:cubicBezTo>
                      <a:pt x="245" y="101"/>
                      <a:pt x="245" y="100"/>
                      <a:pt x="246" y="99"/>
                    </a:cubicBezTo>
                    <a:cubicBezTo>
                      <a:pt x="246" y="99"/>
                      <a:pt x="246" y="99"/>
                      <a:pt x="246" y="99"/>
                    </a:cubicBezTo>
                    <a:cubicBezTo>
                      <a:pt x="245" y="98"/>
                      <a:pt x="245" y="98"/>
                      <a:pt x="244" y="98"/>
                    </a:cubicBezTo>
                    <a:cubicBezTo>
                      <a:pt x="239" y="94"/>
                      <a:pt x="234" y="90"/>
                      <a:pt x="229" y="86"/>
                    </a:cubicBezTo>
                    <a:cubicBezTo>
                      <a:pt x="223" y="82"/>
                      <a:pt x="223" y="72"/>
                      <a:pt x="222" y="65"/>
                    </a:cubicBezTo>
                    <a:cubicBezTo>
                      <a:pt x="222" y="61"/>
                      <a:pt x="222" y="56"/>
                      <a:pt x="222" y="51"/>
                    </a:cubicBezTo>
                    <a:cubicBezTo>
                      <a:pt x="222" y="46"/>
                      <a:pt x="221" y="41"/>
                      <a:pt x="220" y="37"/>
                    </a:cubicBezTo>
                    <a:cubicBezTo>
                      <a:pt x="221" y="38"/>
                      <a:pt x="222" y="40"/>
                      <a:pt x="223" y="40"/>
                    </a:cubicBezTo>
                    <a:cubicBezTo>
                      <a:pt x="223" y="38"/>
                      <a:pt x="220" y="36"/>
                      <a:pt x="219" y="34"/>
                    </a:cubicBezTo>
                    <a:cubicBezTo>
                      <a:pt x="217" y="32"/>
                      <a:pt x="216" y="30"/>
                      <a:pt x="216" y="27"/>
                    </a:cubicBezTo>
                    <a:cubicBezTo>
                      <a:pt x="215" y="26"/>
                      <a:pt x="216" y="21"/>
                      <a:pt x="215" y="21"/>
                    </a:cubicBezTo>
                    <a:cubicBezTo>
                      <a:pt x="215" y="21"/>
                      <a:pt x="215" y="21"/>
                      <a:pt x="215" y="21"/>
                    </a:cubicBezTo>
                    <a:cubicBezTo>
                      <a:pt x="210" y="16"/>
                      <a:pt x="204" y="12"/>
                      <a:pt x="199" y="8"/>
                    </a:cubicBezTo>
                    <a:cubicBezTo>
                      <a:pt x="197" y="7"/>
                      <a:pt x="195" y="3"/>
                      <a:pt x="1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 name="Freeform 378">
                <a:extLst>
                  <a:ext uri="{FF2B5EF4-FFF2-40B4-BE49-F238E27FC236}">
                    <a16:creationId xmlns:a16="http://schemas.microsoft.com/office/drawing/2014/main" id="{C5A24BEC-3168-46E0-8EEB-C4F11699DD4A}"/>
                  </a:ext>
                </a:extLst>
              </p:cNvPr>
              <p:cNvSpPr>
                <a:spLocks/>
              </p:cNvSpPr>
              <p:nvPr/>
            </p:nvSpPr>
            <p:spPr bwMode="auto">
              <a:xfrm>
                <a:off x="4008" y="2647"/>
                <a:ext cx="652" cy="506"/>
              </a:xfrm>
              <a:custGeom>
                <a:avLst/>
                <a:gdLst>
                  <a:gd name="T0" fmla="*/ 88 w 276"/>
                  <a:gd name="T1" fmla="*/ 5 h 214"/>
                  <a:gd name="T2" fmla="*/ 85 w 276"/>
                  <a:gd name="T3" fmla="*/ 8 h 214"/>
                  <a:gd name="T4" fmla="*/ 82 w 276"/>
                  <a:gd name="T5" fmla="*/ 10 h 214"/>
                  <a:gd name="T6" fmla="*/ 81 w 276"/>
                  <a:gd name="T7" fmla="*/ 10 h 214"/>
                  <a:gd name="T8" fmla="*/ 78 w 276"/>
                  <a:gd name="T9" fmla="*/ 9 h 214"/>
                  <a:gd name="T10" fmla="*/ 72 w 276"/>
                  <a:gd name="T11" fmla="*/ 11 h 214"/>
                  <a:gd name="T12" fmla="*/ 65 w 276"/>
                  <a:gd name="T13" fmla="*/ 16 h 214"/>
                  <a:gd name="T14" fmla="*/ 56 w 276"/>
                  <a:gd name="T15" fmla="*/ 41 h 214"/>
                  <a:gd name="T16" fmla="*/ 52 w 276"/>
                  <a:gd name="T17" fmla="*/ 41 h 214"/>
                  <a:gd name="T18" fmla="*/ 48 w 276"/>
                  <a:gd name="T19" fmla="*/ 43 h 214"/>
                  <a:gd name="T20" fmla="*/ 38 w 276"/>
                  <a:gd name="T21" fmla="*/ 60 h 214"/>
                  <a:gd name="T22" fmla="*/ 36 w 276"/>
                  <a:gd name="T23" fmla="*/ 72 h 214"/>
                  <a:gd name="T24" fmla="*/ 32 w 276"/>
                  <a:gd name="T25" fmla="*/ 78 h 214"/>
                  <a:gd name="T26" fmla="*/ 26 w 276"/>
                  <a:gd name="T27" fmla="*/ 77 h 214"/>
                  <a:gd name="T28" fmla="*/ 24 w 276"/>
                  <a:gd name="T29" fmla="*/ 82 h 214"/>
                  <a:gd name="T30" fmla="*/ 21 w 276"/>
                  <a:gd name="T31" fmla="*/ 97 h 214"/>
                  <a:gd name="T32" fmla="*/ 16 w 276"/>
                  <a:gd name="T33" fmla="*/ 122 h 214"/>
                  <a:gd name="T34" fmla="*/ 3 w 276"/>
                  <a:gd name="T35" fmla="*/ 122 h 214"/>
                  <a:gd name="T36" fmla="*/ 1 w 276"/>
                  <a:gd name="T37" fmla="*/ 129 h 214"/>
                  <a:gd name="T38" fmla="*/ 16 w 276"/>
                  <a:gd name="T39" fmla="*/ 139 h 214"/>
                  <a:gd name="T40" fmla="*/ 26 w 276"/>
                  <a:gd name="T41" fmla="*/ 148 h 214"/>
                  <a:gd name="T42" fmla="*/ 39 w 276"/>
                  <a:gd name="T43" fmla="*/ 173 h 214"/>
                  <a:gd name="T44" fmla="*/ 46 w 276"/>
                  <a:gd name="T45" fmla="*/ 177 h 214"/>
                  <a:gd name="T46" fmla="*/ 52 w 276"/>
                  <a:gd name="T47" fmla="*/ 184 h 214"/>
                  <a:gd name="T48" fmla="*/ 53 w 276"/>
                  <a:gd name="T49" fmla="*/ 191 h 214"/>
                  <a:gd name="T50" fmla="*/ 71 w 276"/>
                  <a:gd name="T51" fmla="*/ 196 h 214"/>
                  <a:gd name="T52" fmla="*/ 75 w 276"/>
                  <a:gd name="T53" fmla="*/ 198 h 214"/>
                  <a:gd name="T54" fmla="*/ 91 w 276"/>
                  <a:gd name="T55" fmla="*/ 208 h 214"/>
                  <a:gd name="T56" fmla="*/ 119 w 276"/>
                  <a:gd name="T57" fmla="*/ 214 h 214"/>
                  <a:gd name="T58" fmla="*/ 144 w 276"/>
                  <a:gd name="T59" fmla="*/ 198 h 214"/>
                  <a:gd name="T60" fmla="*/ 148 w 276"/>
                  <a:gd name="T61" fmla="*/ 200 h 214"/>
                  <a:gd name="T62" fmla="*/ 155 w 276"/>
                  <a:gd name="T63" fmla="*/ 204 h 214"/>
                  <a:gd name="T64" fmla="*/ 165 w 276"/>
                  <a:gd name="T65" fmla="*/ 204 h 214"/>
                  <a:gd name="T66" fmla="*/ 179 w 276"/>
                  <a:gd name="T67" fmla="*/ 198 h 214"/>
                  <a:gd name="T68" fmla="*/ 209 w 276"/>
                  <a:gd name="T69" fmla="*/ 185 h 214"/>
                  <a:gd name="T70" fmla="*/ 218 w 276"/>
                  <a:gd name="T71" fmla="*/ 185 h 214"/>
                  <a:gd name="T72" fmla="*/ 223 w 276"/>
                  <a:gd name="T73" fmla="*/ 185 h 214"/>
                  <a:gd name="T74" fmla="*/ 232 w 276"/>
                  <a:gd name="T75" fmla="*/ 176 h 214"/>
                  <a:gd name="T76" fmla="*/ 270 w 276"/>
                  <a:gd name="T77" fmla="*/ 132 h 214"/>
                  <a:gd name="T78" fmla="*/ 217 w 276"/>
                  <a:gd name="T79" fmla="*/ 116 h 214"/>
                  <a:gd name="T80" fmla="*/ 200 w 276"/>
                  <a:gd name="T81" fmla="*/ 108 h 214"/>
                  <a:gd name="T82" fmla="*/ 187 w 276"/>
                  <a:gd name="T83" fmla="*/ 93 h 214"/>
                  <a:gd name="T84" fmla="*/ 181 w 276"/>
                  <a:gd name="T85" fmla="*/ 74 h 214"/>
                  <a:gd name="T86" fmla="*/ 167 w 276"/>
                  <a:gd name="T87" fmla="*/ 75 h 214"/>
                  <a:gd name="T88" fmla="*/ 161 w 276"/>
                  <a:gd name="T89" fmla="*/ 68 h 214"/>
                  <a:gd name="T90" fmla="*/ 161 w 276"/>
                  <a:gd name="T91" fmla="*/ 63 h 214"/>
                  <a:gd name="T92" fmla="*/ 165 w 276"/>
                  <a:gd name="T93" fmla="*/ 53 h 214"/>
                  <a:gd name="T94" fmla="*/ 158 w 276"/>
                  <a:gd name="T95" fmla="*/ 26 h 214"/>
                  <a:gd name="T96" fmla="*/ 138 w 276"/>
                  <a:gd name="T97" fmla="*/ 9 h 214"/>
                  <a:gd name="T98" fmla="*/ 133 w 276"/>
                  <a:gd name="T99" fmla="*/ 6 h 214"/>
                  <a:gd name="T100" fmla="*/ 131 w 276"/>
                  <a:gd name="T101" fmla="*/ 5 h 214"/>
                  <a:gd name="T102" fmla="*/ 121 w 276"/>
                  <a:gd name="T103" fmla="*/ 6 h 214"/>
                  <a:gd name="T104" fmla="*/ 117 w 276"/>
                  <a:gd name="T105" fmla="*/ 7 h 214"/>
                  <a:gd name="T106" fmla="*/ 113 w 276"/>
                  <a:gd name="T107" fmla="*/ 4 h 214"/>
                  <a:gd name="T108" fmla="*/ 106 w 276"/>
                  <a:gd name="T109" fmla="*/ 6 h 214"/>
                  <a:gd name="T110" fmla="*/ 97 w 276"/>
                  <a:gd name="T111" fmla="*/ 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6" h="214">
                    <a:moveTo>
                      <a:pt x="90" y="0"/>
                    </a:moveTo>
                    <a:cubicBezTo>
                      <a:pt x="90" y="1"/>
                      <a:pt x="90" y="1"/>
                      <a:pt x="90" y="1"/>
                    </a:cubicBezTo>
                    <a:cubicBezTo>
                      <a:pt x="90" y="1"/>
                      <a:pt x="90" y="1"/>
                      <a:pt x="90" y="1"/>
                    </a:cubicBezTo>
                    <a:cubicBezTo>
                      <a:pt x="88" y="4"/>
                      <a:pt x="88" y="4"/>
                      <a:pt x="88" y="4"/>
                    </a:cubicBezTo>
                    <a:cubicBezTo>
                      <a:pt x="88" y="5"/>
                      <a:pt x="88" y="5"/>
                      <a:pt x="88" y="5"/>
                    </a:cubicBezTo>
                    <a:cubicBezTo>
                      <a:pt x="88" y="5"/>
                      <a:pt x="88" y="5"/>
                      <a:pt x="88" y="5"/>
                    </a:cubicBezTo>
                    <a:cubicBezTo>
                      <a:pt x="87" y="6"/>
                      <a:pt x="87" y="6"/>
                      <a:pt x="87" y="6"/>
                    </a:cubicBezTo>
                    <a:cubicBezTo>
                      <a:pt x="87" y="7"/>
                      <a:pt x="87" y="7"/>
                      <a:pt x="87" y="7"/>
                    </a:cubicBezTo>
                    <a:cubicBezTo>
                      <a:pt x="86" y="8"/>
                      <a:pt x="86" y="8"/>
                      <a:pt x="86" y="8"/>
                    </a:cubicBezTo>
                    <a:cubicBezTo>
                      <a:pt x="85" y="8"/>
                      <a:pt x="85" y="8"/>
                      <a:pt x="85" y="8"/>
                    </a:cubicBezTo>
                    <a:cubicBezTo>
                      <a:pt x="85" y="9"/>
                      <a:pt x="85" y="9"/>
                      <a:pt x="85" y="9"/>
                    </a:cubicBezTo>
                    <a:cubicBezTo>
                      <a:pt x="84" y="9"/>
                      <a:pt x="84" y="9"/>
                      <a:pt x="84" y="9"/>
                    </a:cubicBezTo>
                    <a:cubicBezTo>
                      <a:pt x="83" y="10"/>
                      <a:pt x="83" y="10"/>
                      <a:pt x="83" y="10"/>
                    </a:cubicBezTo>
                    <a:cubicBezTo>
                      <a:pt x="83" y="10"/>
                      <a:pt x="83" y="10"/>
                      <a:pt x="83" y="10"/>
                    </a:cubicBezTo>
                    <a:cubicBezTo>
                      <a:pt x="82" y="10"/>
                      <a:pt x="82" y="10"/>
                      <a:pt x="82" y="10"/>
                    </a:cubicBezTo>
                    <a:cubicBezTo>
                      <a:pt x="82" y="10"/>
                      <a:pt x="82" y="10"/>
                      <a:pt x="82" y="10"/>
                    </a:cubicBezTo>
                    <a:cubicBezTo>
                      <a:pt x="82" y="10"/>
                      <a:pt x="82" y="10"/>
                      <a:pt x="82" y="10"/>
                    </a:cubicBezTo>
                    <a:cubicBezTo>
                      <a:pt x="81" y="10"/>
                      <a:pt x="81" y="10"/>
                      <a:pt x="81" y="10"/>
                    </a:cubicBezTo>
                    <a:cubicBezTo>
                      <a:pt x="81" y="10"/>
                      <a:pt x="81" y="10"/>
                      <a:pt x="81" y="10"/>
                    </a:cubicBezTo>
                    <a:cubicBezTo>
                      <a:pt x="81" y="10"/>
                      <a:pt x="81" y="10"/>
                      <a:pt x="81" y="10"/>
                    </a:cubicBezTo>
                    <a:cubicBezTo>
                      <a:pt x="81" y="10"/>
                      <a:pt x="80" y="10"/>
                      <a:pt x="80" y="10"/>
                    </a:cubicBezTo>
                    <a:cubicBezTo>
                      <a:pt x="80" y="10"/>
                      <a:pt x="80" y="10"/>
                      <a:pt x="80" y="10"/>
                    </a:cubicBezTo>
                    <a:cubicBezTo>
                      <a:pt x="78" y="9"/>
                      <a:pt x="78" y="9"/>
                      <a:pt x="78" y="9"/>
                    </a:cubicBezTo>
                    <a:cubicBezTo>
                      <a:pt x="78" y="9"/>
                      <a:pt x="78" y="9"/>
                      <a:pt x="78" y="9"/>
                    </a:cubicBezTo>
                    <a:cubicBezTo>
                      <a:pt x="78" y="9"/>
                      <a:pt x="78" y="9"/>
                      <a:pt x="78" y="9"/>
                    </a:cubicBezTo>
                    <a:cubicBezTo>
                      <a:pt x="78" y="8"/>
                      <a:pt x="78" y="8"/>
                      <a:pt x="78" y="8"/>
                    </a:cubicBezTo>
                    <a:cubicBezTo>
                      <a:pt x="78" y="8"/>
                      <a:pt x="78" y="8"/>
                      <a:pt x="78" y="8"/>
                    </a:cubicBezTo>
                    <a:cubicBezTo>
                      <a:pt x="78" y="8"/>
                      <a:pt x="78" y="8"/>
                      <a:pt x="78" y="8"/>
                    </a:cubicBezTo>
                    <a:cubicBezTo>
                      <a:pt x="77" y="9"/>
                      <a:pt x="76" y="10"/>
                      <a:pt x="75" y="10"/>
                    </a:cubicBezTo>
                    <a:cubicBezTo>
                      <a:pt x="74" y="11"/>
                      <a:pt x="73" y="11"/>
                      <a:pt x="72" y="11"/>
                    </a:cubicBezTo>
                    <a:cubicBezTo>
                      <a:pt x="72" y="11"/>
                      <a:pt x="72" y="11"/>
                      <a:pt x="72" y="11"/>
                    </a:cubicBezTo>
                    <a:cubicBezTo>
                      <a:pt x="71" y="11"/>
                      <a:pt x="71" y="11"/>
                      <a:pt x="71" y="11"/>
                    </a:cubicBezTo>
                    <a:cubicBezTo>
                      <a:pt x="71" y="11"/>
                      <a:pt x="70" y="11"/>
                      <a:pt x="69" y="11"/>
                    </a:cubicBezTo>
                    <a:cubicBezTo>
                      <a:pt x="66" y="11"/>
                      <a:pt x="66" y="11"/>
                      <a:pt x="66" y="11"/>
                    </a:cubicBezTo>
                    <a:cubicBezTo>
                      <a:pt x="65" y="13"/>
                      <a:pt x="65" y="15"/>
                      <a:pt x="65" y="16"/>
                    </a:cubicBezTo>
                    <a:cubicBezTo>
                      <a:pt x="65" y="17"/>
                      <a:pt x="65" y="17"/>
                      <a:pt x="65" y="17"/>
                    </a:cubicBezTo>
                    <a:cubicBezTo>
                      <a:pt x="64" y="22"/>
                      <a:pt x="62" y="26"/>
                      <a:pt x="61" y="30"/>
                    </a:cubicBezTo>
                    <a:cubicBezTo>
                      <a:pt x="60" y="34"/>
                      <a:pt x="60" y="34"/>
                      <a:pt x="60" y="34"/>
                    </a:cubicBezTo>
                    <a:cubicBezTo>
                      <a:pt x="60" y="37"/>
                      <a:pt x="59" y="39"/>
                      <a:pt x="58" y="40"/>
                    </a:cubicBezTo>
                    <a:cubicBezTo>
                      <a:pt x="57" y="41"/>
                      <a:pt x="56" y="41"/>
                      <a:pt x="56" y="41"/>
                    </a:cubicBezTo>
                    <a:cubicBezTo>
                      <a:pt x="55" y="41"/>
                      <a:pt x="55" y="41"/>
                      <a:pt x="55" y="41"/>
                    </a:cubicBezTo>
                    <a:cubicBezTo>
                      <a:pt x="55" y="41"/>
                      <a:pt x="55" y="41"/>
                      <a:pt x="54" y="41"/>
                    </a:cubicBezTo>
                    <a:cubicBezTo>
                      <a:pt x="54" y="41"/>
                      <a:pt x="54" y="41"/>
                      <a:pt x="54" y="41"/>
                    </a:cubicBezTo>
                    <a:cubicBezTo>
                      <a:pt x="54" y="41"/>
                      <a:pt x="54" y="41"/>
                      <a:pt x="54" y="41"/>
                    </a:cubicBezTo>
                    <a:cubicBezTo>
                      <a:pt x="53" y="41"/>
                      <a:pt x="52" y="41"/>
                      <a:pt x="52" y="41"/>
                    </a:cubicBezTo>
                    <a:cubicBezTo>
                      <a:pt x="51" y="41"/>
                      <a:pt x="51" y="41"/>
                      <a:pt x="51" y="41"/>
                    </a:cubicBezTo>
                    <a:cubicBezTo>
                      <a:pt x="51" y="41"/>
                      <a:pt x="50" y="41"/>
                      <a:pt x="50" y="41"/>
                    </a:cubicBezTo>
                    <a:cubicBezTo>
                      <a:pt x="50" y="41"/>
                      <a:pt x="50" y="41"/>
                      <a:pt x="50" y="41"/>
                    </a:cubicBezTo>
                    <a:cubicBezTo>
                      <a:pt x="49" y="41"/>
                      <a:pt x="49" y="41"/>
                      <a:pt x="49" y="41"/>
                    </a:cubicBezTo>
                    <a:cubicBezTo>
                      <a:pt x="49" y="42"/>
                      <a:pt x="49" y="42"/>
                      <a:pt x="48" y="43"/>
                    </a:cubicBezTo>
                    <a:cubicBezTo>
                      <a:pt x="47" y="44"/>
                      <a:pt x="47" y="44"/>
                      <a:pt x="47" y="44"/>
                    </a:cubicBezTo>
                    <a:cubicBezTo>
                      <a:pt x="46" y="46"/>
                      <a:pt x="45" y="48"/>
                      <a:pt x="44" y="50"/>
                    </a:cubicBezTo>
                    <a:cubicBezTo>
                      <a:pt x="43" y="51"/>
                      <a:pt x="42" y="53"/>
                      <a:pt x="41" y="55"/>
                    </a:cubicBezTo>
                    <a:cubicBezTo>
                      <a:pt x="39" y="56"/>
                      <a:pt x="39" y="57"/>
                      <a:pt x="39" y="59"/>
                    </a:cubicBezTo>
                    <a:cubicBezTo>
                      <a:pt x="38" y="60"/>
                      <a:pt x="38" y="60"/>
                      <a:pt x="38" y="60"/>
                    </a:cubicBezTo>
                    <a:cubicBezTo>
                      <a:pt x="38" y="62"/>
                      <a:pt x="38" y="63"/>
                      <a:pt x="37" y="65"/>
                    </a:cubicBezTo>
                    <a:cubicBezTo>
                      <a:pt x="37" y="66"/>
                      <a:pt x="37" y="66"/>
                      <a:pt x="37" y="66"/>
                    </a:cubicBezTo>
                    <a:cubicBezTo>
                      <a:pt x="37" y="67"/>
                      <a:pt x="37" y="68"/>
                      <a:pt x="37" y="69"/>
                    </a:cubicBezTo>
                    <a:cubicBezTo>
                      <a:pt x="37" y="69"/>
                      <a:pt x="36" y="70"/>
                      <a:pt x="36" y="70"/>
                    </a:cubicBezTo>
                    <a:cubicBezTo>
                      <a:pt x="36" y="71"/>
                      <a:pt x="36" y="71"/>
                      <a:pt x="36" y="72"/>
                    </a:cubicBezTo>
                    <a:cubicBezTo>
                      <a:pt x="36" y="72"/>
                      <a:pt x="36" y="72"/>
                      <a:pt x="36" y="72"/>
                    </a:cubicBezTo>
                    <a:cubicBezTo>
                      <a:pt x="36" y="72"/>
                      <a:pt x="36" y="73"/>
                      <a:pt x="36" y="74"/>
                    </a:cubicBezTo>
                    <a:cubicBezTo>
                      <a:pt x="36" y="74"/>
                      <a:pt x="36" y="75"/>
                      <a:pt x="35" y="75"/>
                    </a:cubicBezTo>
                    <a:cubicBezTo>
                      <a:pt x="35" y="76"/>
                      <a:pt x="35" y="76"/>
                      <a:pt x="35" y="76"/>
                    </a:cubicBezTo>
                    <a:cubicBezTo>
                      <a:pt x="34" y="77"/>
                      <a:pt x="33" y="78"/>
                      <a:pt x="32" y="78"/>
                    </a:cubicBezTo>
                    <a:cubicBezTo>
                      <a:pt x="31" y="78"/>
                      <a:pt x="31" y="78"/>
                      <a:pt x="30" y="78"/>
                    </a:cubicBezTo>
                    <a:cubicBezTo>
                      <a:pt x="30" y="78"/>
                      <a:pt x="30" y="78"/>
                      <a:pt x="30" y="78"/>
                    </a:cubicBezTo>
                    <a:cubicBezTo>
                      <a:pt x="29" y="78"/>
                      <a:pt x="29" y="78"/>
                      <a:pt x="28" y="78"/>
                    </a:cubicBezTo>
                    <a:cubicBezTo>
                      <a:pt x="28" y="78"/>
                      <a:pt x="28" y="78"/>
                      <a:pt x="28" y="78"/>
                    </a:cubicBezTo>
                    <a:cubicBezTo>
                      <a:pt x="27" y="77"/>
                      <a:pt x="27" y="77"/>
                      <a:pt x="26" y="77"/>
                    </a:cubicBezTo>
                    <a:cubicBezTo>
                      <a:pt x="26" y="77"/>
                      <a:pt x="26" y="77"/>
                      <a:pt x="26" y="77"/>
                    </a:cubicBezTo>
                    <a:cubicBezTo>
                      <a:pt x="25" y="77"/>
                      <a:pt x="25" y="77"/>
                      <a:pt x="25" y="77"/>
                    </a:cubicBezTo>
                    <a:cubicBezTo>
                      <a:pt x="25" y="78"/>
                      <a:pt x="24" y="79"/>
                      <a:pt x="24" y="79"/>
                    </a:cubicBezTo>
                    <a:cubicBezTo>
                      <a:pt x="24" y="80"/>
                      <a:pt x="24" y="80"/>
                      <a:pt x="24" y="80"/>
                    </a:cubicBezTo>
                    <a:cubicBezTo>
                      <a:pt x="24" y="80"/>
                      <a:pt x="24" y="81"/>
                      <a:pt x="24" y="82"/>
                    </a:cubicBezTo>
                    <a:cubicBezTo>
                      <a:pt x="24" y="84"/>
                      <a:pt x="25" y="85"/>
                      <a:pt x="24" y="87"/>
                    </a:cubicBezTo>
                    <a:cubicBezTo>
                      <a:pt x="24" y="88"/>
                      <a:pt x="24" y="88"/>
                      <a:pt x="23" y="89"/>
                    </a:cubicBezTo>
                    <a:cubicBezTo>
                      <a:pt x="23" y="90"/>
                      <a:pt x="23" y="90"/>
                      <a:pt x="23" y="90"/>
                    </a:cubicBezTo>
                    <a:cubicBezTo>
                      <a:pt x="23" y="91"/>
                      <a:pt x="22" y="93"/>
                      <a:pt x="22" y="95"/>
                    </a:cubicBezTo>
                    <a:cubicBezTo>
                      <a:pt x="21" y="96"/>
                      <a:pt x="21" y="97"/>
                      <a:pt x="21" y="97"/>
                    </a:cubicBezTo>
                    <a:cubicBezTo>
                      <a:pt x="20" y="99"/>
                      <a:pt x="20" y="101"/>
                      <a:pt x="20" y="104"/>
                    </a:cubicBezTo>
                    <a:cubicBezTo>
                      <a:pt x="20" y="105"/>
                      <a:pt x="20" y="107"/>
                      <a:pt x="20" y="108"/>
                    </a:cubicBezTo>
                    <a:cubicBezTo>
                      <a:pt x="20" y="109"/>
                      <a:pt x="21" y="110"/>
                      <a:pt x="21" y="111"/>
                    </a:cubicBezTo>
                    <a:cubicBezTo>
                      <a:pt x="21" y="116"/>
                      <a:pt x="20" y="120"/>
                      <a:pt x="17" y="122"/>
                    </a:cubicBezTo>
                    <a:cubicBezTo>
                      <a:pt x="17" y="122"/>
                      <a:pt x="17" y="122"/>
                      <a:pt x="16" y="122"/>
                    </a:cubicBezTo>
                    <a:cubicBezTo>
                      <a:pt x="15" y="123"/>
                      <a:pt x="14" y="123"/>
                      <a:pt x="12" y="123"/>
                    </a:cubicBezTo>
                    <a:cubicBezTo>
                      <a:pt x="11" y="123"/>
                      <a:pt x="9" y="123"/>
                      <a:pt x="8" y="123"/>
                    </a:cubicBezTo>
                    <a:cubicBezTo>
                      <a:pt x="7" y="123"/>
                      <a:pt x="6" y="122"/>
                      <a:pt x="5" y="122"/>
                    </a:cubicBezTo>
                    <a:cubicBezTo>
                      <a:pt x="5" y="122"/>
                      <a:pt x="4" y="122"/>
                      <a:pt x="4" y="122"/>
                    </a:cubicBezTo>
                    <a:cubicBezTo>
                      <a:pt x="3" y="122"/>
                      <a:pt x="3" y="122"/>
                      <a:pt x="3" y="122"/>
                    </a:cubicBezTo>
                    <a:cubicBezTo>
                      <a:pt x="3" y="122"/>
                      <a:pt x="3" y="122"/>
                      <a:pt x="3" y="122"/>
                    </a:cubicBezTo>
                    <a:cubicBezTo>
                      <a:pt x="2" y="123"/>
                      <a:pt x="1" y="124"/>
                      <a:pt x="1" y="125"/>
                    </a:cubicBezTo>
                    <a:cubicBezTo>
                      <a:pt x="0" y="126"/>
                      <a:pt x="0" y="127"/>
                      <a:pt x="0" y="127"/>
                    </a:cubicBezTo>
                    <a:cubicBezTo>
                      <a:pt x="0" y="128"/>
                      <a:pt x="0" y="128"/>
                      <a:pt x="0" y="129"/>
                    </a:cubicBezTo>
                    <a:cubicBezTo>
                      <a:pt x="1" y="129"/>
                      <a:pt x="1" y="129"/>
                      <a:pt x="1" y="129"/>
                    </a:cubicBezTo>
                    <a:cubicBezTo>
                      <a:pt x="3" y="130"/>
                      <a:pt x="5" y="131"/>
                      <a:pt x="7" y="132"/>
                    </a:cubicBezTo>
                    <a:cubicBezTo>
                      <a:pt x="8" y="133"/>
                      <a:pt x="8" y="133"/>
                      <a:pt x="8" y="133"/>
                    </a:cubicBezTo>
                    <a:cubicBezTo>
                      <a:pt x="9" y="133"/>
                      <a:pt x="9" y="133"/>
                      <a:pt x="9" y="133"/>
                    </a:cubicBezTo>
                    <a:cubicBezTo>
                      <a:pt x="9" y="133"/>
                      <a:pt x="10" y="133"/>
                      <a:pt x="11" y="133"/>
                    </a:cubicBezTo>
                    <a:cubicBezTo>
                      <a:pt x="13" y="134"/>
                      <a:pt x="14" y="137"/>
                      <a:pt x="16" y="139"/>
                    </a:cubicBezTo>
                    <a:cubicBezTo>
                      <a:pt x="16" y="140"/>
                      <a:pt x="17" y="140"/>
                      <a:pt x="17" y="141"/>
                    </a:cubicBezTo>
                    <a:cubicBezTo>
                      <a:pt x="18" y="141"/>
                      <a:pt x="18" y="142"/>
                      <a:pt x="19" y="142"/>
                    </a:cubicBezTo>
                    <a:cubicBezTo>
                      <a:pt x="19" y="143"/>
                      <a:pt x="19" y="143"/>
                      <a:pt x="19" y="143"/>
                    </a:cubicBezTo>
                    <a:cubicBezTo>
                      <a:pt x="20" y="144"/>
                      <a:pt x="22" y="146"/>
                      <a:pt x="23" y="147"/>
                    </a:cubicBezTo>
                    <a:cubicBezTo>
                      <a:pt x="24" y="147"/>
                      <a:pt x="25" y="147"/>
                      <a:pt x="26" y="148"/>
                    </a:cubicBezTo>
                    <a:cubicBezTo>
                      <a:pt x="27" y="149"/>
                      <a:pt x="28" y="150"/>
                      <a:pt x="29" y="151"/>
                    </a:cubicBezTo>
                    <a:cubicBezTo>
                      <a:pt x="30" y="152"/>
                      <a:pt x="30" y="152"/>
                      <a:pt x="30" y="152"/>
                    </a:cubicBezTo>
                    <a:cubicBezTo>
                      <a:pt x="30" y="153"/>
                      <a:pt x="31" y="153"/>
                      <a:pt x="32" y="154"/>
                    </a:cubicBezTo>
                    <a:cubicBezTo>
                      <a:pt x="35" y="158"/>
                      <a:pt x="38" y="168"/>
                      <a:pt x="38" y="170"/>
                    </a:cubicBezTo>
                    <a:cubicBezTo>
                      <a:pt x="38" y="171"/>
                      <a:pt x="39" y="172"/>
                      <a:pt x="39" y="173"/>
                    </a:cubicBezTo>
                    <a:cubicBezTo>
                      <a:pt x="40" y="173"/>
                      <a:pt x="40" y="173"/>
                      <a:pt x="40" y="173"/>
                    </a:cubicBezTo>
                    <a:cubicBezTo>
                      <a:pt x="40" y="174"/>
                      <a:pt x="41" y="174"/>
                      <a:pt x="41" y="174"/>
                    </a:cubicBezTo>
                    <a:cubicBezTo>
                      <a:pt x="42" y="175"/>
                      <a:pt x="42" y="175"/>
                      <a:pt x="42" y="175"/>
                    </a:cubicBezTo>
                    <a:cubicBezTo>
                      <a:pt x="42" y="175"/>
                      <a:pt x="42" y="175"/>
                      <a:pt x="42" y="175"/>
                    </a:cubicBezTo>
                    <a:cubicBezTo>
                      <a:pt x="44" y="176"/>
                      <a:pt x="45" y="176"/>
                      <a:pt x="46" y="177"/>
                    </a:cubicBezTo>
                    <a:cubicBezTo>
                      <a:pt x="47" y="177"/>
                      <a:pt x="47" y="177"/>
                      <a:pt x="47" y="177"/>
                    </a:cubicBezTo>
                    <a:cubicBezTo>
                      <a:pt x="48" y="177"/>
                      <a:pt x="49" y="177"/>
                      <a:pt x="51" y="178"/>
                    </a:cubicBezTo>
                    <a:cubicBezTo>
                      <a:pt x="52" y="178"/>
                      <a:pt x="52" y="180"/>
                      <a:pt x="52" y="181"/>
                    </a:cubicBezTo>
                    <a:cubicBezTo>
                      <a:pt x="52" y="182"/>
                      <a:pt x="52" y="182"/>
                      <a:pt x="52" y="182"/>
                    </a:cubicBezTo>
                    <a:cubicBezTo>
                      <a:pt x="52" y="183"/>
                      <a:pt x="52" y="184"/>
                      <a:pt x="52" y="184"/>
                    </a:cubicBezTo>
                    <a:cubicBezTo>
                      <a:pt x="52" y="185"/>
                      <a:pt x="52" y="186"/>
                      <a:pt x="52" y="186"/>
                    </a:cubicBezTo>
                    <a:cubicBezTo>
                      <a:pt x="52" y="187"/>
                      <a:pt x="52" y="187"/>
                      <a:pt x="52" y="187"/>
                    </a:cubicBezTo>
                    <a:cubicBezTo>
                      <a:pt x="52" y="187"/>
                      <a:pt x="52" y="188"/>
                      <a:pt x="52" y="188"/>
                    </a:cubicBezTo>
                    <a:cubicBezTo>
                      <a:pt x="52" y="191"/>
                      <a:pt x="52" y="191"/>
                      <a:pt x="52" y="191"/>
                    </a:cubicBezTo>
                    <a:cubicBezTo>
                      <a:pt x="53" y="191"/>
                      <a:pt x="53" y="191"/>
                      <a:pt x="53" y="191"/>
                    </a:cubicBezTo>
                    <a:cubicBezTo>
                      <a:pt x="54" y="192"/>
                      <a:pt x="54" y="192"/>
                      <a:pt x="54" y="192"/>
                    </a:cubicBezTo>
                    <a:cubicBezTo>
                      <a:pt x="55" y="194"/>
                      <a:pt x="55" y="194"/>
                      <a:pt x="56" y="195"/>
                    </a:cubicBezTo>
                    <a:cubicBezTo>
                      <a:pt x="66" y="195"/>
                      <a:pt x="66" y="195"/>
                      <a:pt x="66" y="195"/>
                    </a:cubicBezTo>
                    <a:cubicBezTo>
                      <a:pt x="67" y="195"/>
                      <a:pt x="68" y="195"/>
                      <a:pt x="69" y="195"/>
                    </a:cubicBezTo>
                    <a:cubicBezTo>
                      <a:pt x="70" y="196"/>
                      <a:pt x="70" y="196"/>
                      <a:pt x="71" y="196"/>
                    </a:cubicBezTo>
                    <a:cubicBezTo>
                      <a:pt x="72" y="193"/>
                      <a:pt x="72" y="193"/>
                      <a:pt x="72" y="193"/>
                    </a:cubicBezTo>
                    <a:cubicBezTo>
                      <a:pt x="72" y="196"/>
                      <a:pt x="72" y="196"/>
                      <a:pt x="72" y="196"/>
                    </a:cubicBezTo>
                    <a:cubicBezTo>
                      <a:pt x="72" y="196"/>
                      <a:pt x="72" y="196"/>
                      <a:pt x="72" y="196"/>
                    </a:cubicBezTo>
                    <a:cubicBezTo>
                      <a:pt x="73" y="197"/>
                      <a:pt x="74" y="197"/>
                      <a:pt x="74" y="198"/>
                    </a:cubicBezTo>
                    <a:cubicBezTo>
                      <a:pt x="75" y="198"/>
                      <a:pt x="75" y="198"/>
                      <a:pt x="75" y="198"/>
                    </a:cubicBezTo>
                    <a:cubicBezTo>
                      <a:pt x="76" y="198"/>
                      <a:pt x="77" y="199"/>
                      <a:pt x="78" y="200"/>
                    </a:cubicBezTo>
                    <a:cubicBezTo>
                      <a:pt x="78" y="200"/>
                      <a:pt x="78" y="200"/>
                      <a:pt x="78" y="200"/>
                    </a:cubicBezTo>
                    <a:cubicBezTo>
                      <a:pt x="80" y="201"/>
                      <a:pt x="81" y="201"/>
                      <a:pt x="82" y="202"/>
                    </a:cubicBezTo>
                    <a:cubicBezTo>
                      <a:pt x="83" y="203"/>
                      <a:pt x="83" y="203"/>
                      <a:pt x="83" y="203"/>
                    </a:cubicBezTo>
                    <a:cubicBezTo>
                      <a:pt x="86" y="204"/>
                      <a:pt x="88" y="206"/>
                      <a:pt x="91" y="208"/>
                    </a:cubicBezTo>
                    <a:cubicBezTo>
                      <a:pt x="92" y="209"/>
                      <a:pt x="93" y="209"/>
                      <a:pt x="94" y="210"/>
                    </a:cubicBezTo>
                    <a:cubicBezTo>
                      <a:pt x="97" y="212"/>
                      <a:pt x="102" y="212"/>
                      <a:pt x="106" y="212"/>
                    </a:cubicBezTo>
                    <a:cubicBezTo>
                      <a:pt x="107" y="212"/>
                      <a:pt x="108" y="212"/>
                      <a:pt x="109" y="212"/>
                    </a:cubicBezTo>
                    <a:cubicBezTo>
                      <a:pt x="111" y="213"/>
                      <a:pt x="111" y="213"/>
                      <a:pt x="111" y="213"/>
                    </a:cubicBezTo>
                    <a:cubicBezTo>
                      <a:pt x="114" y="213"/>
                      <a:pt x="116" y="214"/>
                      <a:pt x="119" y="214"/>
                    </a:cubicBezTo>
                    <a:cubicBezTo>
                      <a:pt x="119" y="214"/>
                      <a:pt x="120" y="214"/>
                      <a:pt x="120" y="214"/>
                    </a:cubicBezTo>
                    <a:cubicBezTo>
                      <a:pt x="121" y="214"/>
                      <a:pt x="122" y="212"/>
                      <a:pt x="123" y="211"/>
                    </a:cubicBezTo>
                    <a:cubicBezTo>
                      <a:pt x="124" y="208"/>
                      <a:pt x="126" y="206"/>
                      <a:pt x="128" y="205"/>
                    </a:cubicBezTo>
                    <a:cubicBezTo>
                      <a:pt x="144" y="198"/>
                      <a:pt x="144" y="198"/>
                      <a:pt x="144" y="198"/>
                    </a:cubicBezTo>
                    <a:cubicBezTo>
                      <a:pt x="144" y="198"/>
                      <a:pt x="144" y="198"/>
                      <a:pt x="144" y="198"/>
                    </a:cubicBezTo>
                    <a:cubicBezTo>
                      <a:pt x="144" y="198"/>
                      <a:pt x="144" y="198"/>
                      <a:pt x="144" y="198"/>
                    </a:cubicBezTo>
                    <a:cubicBezTo>
                      <a:pt x="144" y="198"/>
                      <a:pt x="144" y="198"/>
                      <a:pt x="144" y="198"/>
                    </a:cubicBezTo>
                    <a:cubicBezTo>
                      <a:pt x="145" y="198"/>
                      <a:pt x="145" y="198"/>
                      <a:pt x="145" y="198"/>
                    </a:cubicBezTo>
                    <a:cubicBezTo>
                      <a:pt x="146" y="198"/>
                      <a:pt x="146" y="198"/>
                      <a:pt x="147" y="199"/>
                    </a:cubicBezTo>
                    <a:cubicBezTo>
                      <a:pt x="147" y="199"/>
                      <a:pt x="148" y="200"/>
                      <a:pt x="148" y="200"/>
                    </a:cubicBezTo>
                    <a:cubicBezTo>
                      <a:pt x="150" y="202"/>
                      <a:pt x="151" y="203"/>
                      <a:pt x="153" y="204"/>
                    </a:cubicBezTo>
                    <a:cubicBezTo>
                      <a:pt x="153" y="204"/>
                      <a:pt x="153" y="204"/>
                      <a:pt x="153" y="204"/>
                    </a:cubicBezTo>
                    <a:cubicBezTo>
                      <a:pt x="154" y="204"/>
                      <a:pt x="154" y="204"/>
                      <a:pt x="154" y="204"/>
                    </a:cubicBezTo>
                    <a:cubicBezTo>
                      <a:pt x="155" y="204"/>
                      <a:pt x="155" y="204"/>
                      <a:pt x="155" y="204"/>
                    </a:cubicBezTo>
                    <a:cubicBezTo>
                      <a:pt x="155" y="204"/>
                      <a:pt x="155" y="204"/>
                      <a:pt x="155" y="204"/>
                    </a:cubicBezTo>
                    <a:cubicBezTo>
                      <a:pt x="156" y="204"/>
                      <a:pt x="157" y="204"/>
                      <a:pt x="158" y="204"/>
                    </a:cubicBezTo>
                    <a:cubicBezTo>
                      <a:pt x="158" y="204"/>
                      <a:pt x="158" y="204"/>
                      <a:pt x="158" y="204"/>
                    </a:cubicBezTo>
                    <a:cubicBezTo>
                      <a:pt x="160" y="204"/>
                      <a:pt x="161" y="204"/>
                      <a:pt x="162" y="204"/>
                    </a:cubicBezTo>
                    <a:cubicBezTo>
                      <a:pt x="162" y="204"/>
                      <a:pt x="162" y="204"/>
                      <a:pt x="162" y="204"/>
                    </a:cubicBezTo>
                    <a:cubicBezTo>
                      <a:pt x="165" y="204"/>
                      <a:pt x="165" y="204"/>
                      <a:pt x="165" y="204"/>
                    </a:cubicBezTo>
                    <a:cubicBezTo>
                      <a:pt x="165" y="203"/>
                      <a:pt x="166" y="203"/>
                      <a:pt x="166" y="202"/>
                    </a:cubicBezTo>
                    <a:cubicBezTo>
                      <a:pt x="167" y="201"/>
                      <a:pt x="168" y="200"/>
                      <a:pt x="170" y="199"/>
                    </a:cubicBezTo>
                    <a:cubicBezTo>
                      <a:pt x="172" y="199"/>
                      <a:pt x="174" y="199"/>
                      <a:pt x="176" y="198"/>
                    </a:cubicBezTo>
                    <a:cubicBezTo>
                      <a:pt x="176" y="198"/>
                      <a:pt x="176" y="198"/>
                      <a:pt x="176" y="198"/>
                    </a:cubicBezTo>
                    <a:cubicBezTo>
                      <a:pt x="177" y="198"/>
                      <a:pt x="178" y="198"/>
                      <a:pt x="179" y="198"/>
                    </a:cubicBezTo>
                    <a:cubicBezTo>
                      <a:pt x="180" y="198"/>
                      <a:pt x="181" y="198"/>
                      <a:pt x="182" y="197"/>
                    </a:cubicBezTo>
                    <a:cubicBezTo>
                      <a:pt x="183" y="196"/>
                      <a:pt x="184" y="195"/>
                      <a:pt x="186" y="194"/>
                    </a:cubicBezTo>
                    <a:cubicBezTo>
                      <a:pt x="190" y="191"/>
                      <a:pt x="195" y="187"/>
                      <a:pt x="201" y="186"/>
                    </a:cubicBezTo>
                    <a:cubicBezTo>
                      <a:pt x="202" y="186"/>
                      <a:pt x="203" y="185"/>
                      <a:pt x="205" y="185"/>
                    </a:cubicBezTo>
                    <a:cubicBezTo>
                      <a:pt x="206" y="185"/>
                      <a:pt x="207" y="185"/>
                      <a:pt x="209" y="185"/>
                    </a:cubicBezTo>
                    <a:cubicBezTo>
                      <a:pt x="209" y="185"/>
                      <a:pt x="210" y="185"/>
                      <a:pt x="210" y="185"/>
                    </a:cubicBezTo>
                    <a:cubicBezTo>
                      <a:pt x="211" y="185"/>
                      <a:pt x="211" y="185"/>
                      <a:pt x="212" y="185"/>
                    </a:cubicBezTo>
                    <a:cubicBezTo>
                      <a:pt x="212" y="185"/>
                      <a:pt x="213" y="185"/>
                      <a:pt x="214" y="185"/>
                    </a:cubicBezTo>
                    <a:cubicBezTo>
                      <a:pt x="215" y="185"/>
                      <a:pt x="215" y="185"/>
                      <a:pt x="215" y="185"/>
                    </a:cubicBezTo>
                    <a:cubicBezTo>
                      <a:pt x="216" y="185"/>
                      <a:pt x="217" y="185"/>
                      <a:pt x="218" y="185"/>
                    </a:cubicBezTo>
                    <a:cubicBezTo>
                      <a:pt x="219" y="186"/>
                      <a:pt x="219" y="186"/>
                      <a:pt x="220" y="186"/>
                    </a:cubicBezTo>
                    <a:cubicBezTo>
                      <a:pt x="221" y="186"/>
                      <a:pt x="221" y="186"/>
                      <a:pt x="221" y="186"/>
                    </a:cubicBezTo>
                    <a:cubicBezTo>
                      <a:pt x="221" y="186"/>
                      <a:pt x="221" y="186"/>
                      <a:pt x="221" y="186"/>
                    </a:cubicBezTo>
                    <a:cubicBezTo>
                      <a:pt x="221" y="186"/>
                      <a:pt x="222" y="186"/>
                      <a:pt x="222" y="185"/>
                    </a:cubicBezTo>
                    <a:cubicBezTo>
                      <a:pt x="223" y="185"/>
                      <a:pt x="223" y="185"/>
                      <a:pt x="223" y="185"/>
                    </a:cubicBezTo>
                    <a:cubicBezTo>
                      <a:pt x="224" y="185"/>
                      <a:pt x="224" y="185"/>
                      <a:pt x="224" y="184"/>
                    </a:cubicBezTo>
                    <a:cubicBezTo>
                      <a:pt x="225" y="184"/>
                      <a:pt x="226" y="183"/>
                      <a:pt x="226" y="182"/>
                    </a:cubicBezTo>
                    <a:cubicBezTo>
                      <a:pt x="228" y="181"/>
                      <a:pt x="228" y="181"/>
                      <a:pt x="228" y="181"/>
                    </a:cubicBezTo>
                    <a:cubicBezTo>
                      <a:pt x="229" y="180"/>
                      <a:pt x="229" y="179"/>
                      <a:pt x="230" y="178"/>
                    </a:cubicBezTo>
                    <a:cubicBezTo>
                      <a:pt x="232" y="176"/>
                      <a:pt x="232" y="176"/>
                      <a:pt x="232" y="176"/>
                    </a:cubicBezTo>
                    <a:cubicBezTo>
                      <a:pt x="232" y="176"/>
                      <a:pt x="232" y="176"/>
                      <a:pt x="233" y="175"/>
                    </a:cubicBezTo>
                    <a:cubicBezTo>
                      <a:pt x="236" y="172"/>
                      <a:pt x="236" y="172"/>
                      <a:pt x="236" y="172"/>
                    </a:cubicBezTo>
                    <a:cubicBezTo>
                      <a:pt x="247" y="159"/>
                      <a:pt x="258" y="149"/>
                      <a:pt x="268" y="139"/>
                    </a:cubicBezTo>
                    <a:cubicBezTo>
                      <a:pt x="270" y="137"/>
                      <a:pt x="273" y="134"/>
                      <a:pt x="276" y="132"/>
                    </a:cubicBezTo>
                    <a:cubicBezTo>
                      <a:pt x="274" y="132"/>
                      <a:pt x="272" y="132"/>
                      <a:pt x="270" y="132"/>
                    </a:cubicBezTo>
                    <a:cubicBezTo>
                      <a:pt x="267" y="132"/>
                      <a:pt x="265" y="132"/>
                      <a:pt x="263" y="131"/>
                    </a:cubicBezTo>
                    <a:cubicBezTo>
                      <a:pt x="260" y="131"/>
                      <a:pt x="257" y="130"/>
                      <a:pt x="255" y="129"/>
                    </a:cubicBezTo>
                    <a:cubicBezTo>
                      <a:pt x="254" y="129"/>
                      <a:pt x="254" y="129"/>
                      <a:pt x="254" y="129"/>
                    </a:cubicBezTo>
                    <a:cubicBezTo>
                      <a:pt x="253" y="128"/>
                      <a:pt x="253" y="128"/>
                      <a:pt x="252" y="128"/>
                    </a:cubicBezTo>
                    <a:cubicBezTo>
                      <a:pt x="217" y="116"/>
                      <a:pt x="217" y="116"/>
                      <a:pt x="217" y="116"/>
                    </a:cubicBezTo>
                    <a:cubicBezTo>
                      <a:pt x="216" y="116"/>
                      <a:pt x="216" y="115"/>
                      <a:pt x="215" y="115"/>
                    </a:cubicBezTo>
                    <a:cubicBezTo>
                      <a:pt x="214" y="115"/>
                      <a:pt x="214" y="115"/>
                      <a:pt x="214" y="115"/>
                    </a:cubicBezTo>
                    <a:cubicBezTo>
                      <a:pt x="211" y="114"/>
                      <a:pt x="207" y="113"/>
                      <a:pt x="204" y="111"/>
                    </a:cubicBezTo>
                    <a:cubicBezTo>
                      <a:pt x="204" y="111"/>
                      <a:pt x="203" y="110"/>
                      <a:pt x="203" y="110"/>
                    </a:cubicBezTo>
                    <a:cubicBezTo>
                      <a:pt x="200" y="108"/>
                      <a:pt x="200" y="108"/>
                      <a:pt x="200" y="108"/>
                    </a:cubicBezTo>
                    <a:cubicBezTo>
                      <a:pt x="198" y="107"/>
                      <a:pt x="195" y="105"/>
                      <a:pt x="193" y="103"/>
                    </a:cubicBezTo>
                    <a:cubicBezTo>
                      <a:pt x="192" y="102"/>
                      <a:pt x="190" y="99"/>
                      <a:pt x="189" y="97"/>
                    </a:cubicBezTo>
                    <a:cubicBezTo>
                      <a:pt x="189" y="96"/>
                      <a:pt x="189" y="96"/>
                      <a:pt x="189" y="96"/>
                    </a:cubicBezTo>
                    <a:cubicBezTo>
                      <a:pt x="188" y="96"/>
                      <a:pt x="188" y="95"/>
                      <a:pt x="188" y="94"/>
                    </a:cubicBezTo>
                    <a:cubicBezTo>
                      <a:pt x="187" y="93"/>
                      <a:pt x="187" y="93"/>
                      <a:pt x="187" y="93"/>
                    </a:cubicBezTo>
                    <a:cubicBezTo>
                      <a:pt x="185" y="90"/>
                      <a:pt x="183" y="88"/>
                      <a:pt x="182" y="85"/>
                    </a:cubicBezTo>
                    <a:cubicBezTo>
                      <a:pt x="181" y="84"/>
                      <a:pt x="181" y="84"/>
                      <a:pt x="181" y="84"/>
                    </a:cubicBezTo>
                    <a:cubicBezTo>
                      <a:pt x="179" y="82"/>
                      <a:pt x="178" y="80"/>
                      <a:pt x="178" y="78"/>
                    </a:cubicBezTo>
                    <a:cubicBezTo>
                      <a:pt x="178" y="77"/>
                      <a:pt x="178" y="77"/>
                      <a:pt x="180" y="75"/>
                    </a:cubicBezTo>
                    <a:cubicBezTo>
                      <a:pt x="180" y="75"/>
                      <a:pt x="181" y="74"/>
                      <a:pt x="181" y="74"/>
                    </a:cubicBezTo>
                    <a:cubicBezTo>
                      <a:pt x="181" y="73"/>
                      <a:pt x="182" y="73"/>
                      <a:pt x="182" y="73"/>
                    </a:cubicBezTo>
                    <a:cubicBezTo>
                      <a:pt x="181" y="72"/>
                      <a:pt x="181" y="72"/>
                      <a:pt x="180" y="72"/>
                    </a:cubicBezTo>
                    <a:cubicBezTo>
                      <a:pt x="180" y="72"/>
                      <a:pt x="180" y="72"/>
                      <a:pt x="180" y="72"/>
                    </a:cubicBezTo>
                    <a:cubicBezTo>
                      <a:pt x="179" y="72"/>
                      <a:pt x="178" y="72"/>
                      <a:pt x="175" y="73"/>
                    </a:cubicBezTo>
                    <a:cubicBezTo>
                      <a:pt x="172" y="74"/>
                      <a:pt x="169" y="75"/>
                      <a:pt x="167" y="75"/>
                    </a:cubicBezTo>
                    <a:cubicBezTo>
                      <a:pt x="167" y="75"/>
                      <a:pt x="166" y="75"/>
                      <a:pt x="166" y="75"/>
                    </a:cubicBezTo>
                    <a:cubicBezTo>
                      <a:pt x="166" y="77"/>
                      <a:pt x="166" y="77"/>
                      <a:pt x="166" y="77"/>
                    </a:cubicBezTo>
                    <a:cubicBezTo>
                      <a:pt x="166" y="75"/>
                      <a:pt x="166" y="75"/>
                      <a:pt x="166" y="75"/>
                    </a:cubicBezTo>
                    <a:cubicBezTo>
                      <a:pt x="164" y="75"/>
                      <a:pt x="163" y="74"/>
                      <a:pt x="162" y="73"/>
                    </a:cubicBezTo>
                    <a:cubicBezTo>
                      <a:pt x="161" y="72"/>
                      <a:pt x="161" y="71"/>
                      <a:pt x="161" y="68"/>
                    </a:cubicBezTo>
                    <a:cubicBezTo>
                      <a:pt x="161" y="67"/>
                      <a:pt x="161" y="67"/>
                      <a:pt x="161" y="67"/>
                    </a:cubicBezTo>
                    <a:cubicBezTo>
                      <a:pt x="161" y="66"/>
                      <a:pt x="161" y="65"/>
                      <a:pt x="161" y="65"/>
                    </a:cubicBezTo>
                    <a:cubicBezTo>
                      <a:pt x="158" y="65"/>
                      <a:pt x="158" y="65"/>
                      <a:pt x="158" y="65"/>
                    </a:cubicBezTo>
                    <a:cubicBezTo>
                      <a:pt x="161" y="64"/>
                      <a:pt x="161" y="64"/>
                      <a:pt x="161" y="64"/>
                    </a:cubicBezTo>
                    <a:cubicBezTo>
                      <a:pt x="161" y="63"/>
                      <a:pt x="161" y="63"/>
                      <a:pt x="161" y="63"/>
                    </a:cubicBezTo>
                    <a:cubicBezTo>
                      <a:pt x="161" y="63"/>
                      <a:pt x="161" y="62"/>
                      <a:pt x="161" y="62"/>
                    </a:cubicBezTo>
                    <a:cubicBezTo>
                      <a:pt x="161" y="61"/>
                      <a:pt x="161" y="61"/>
                      <a:pt x="161" y="61"/>
                    </a:cubicBezTo>
                    <a:cubicBezTo>
                      <a:pt x="161" y="59"/>
                      <a:pt x="162" y="57"/>
                      <a:pt x="163" y="56"/>
                    </a:cubicBezTo>
                    <a:cubicBezTo>
                      <a:pt x="163" y="55"/>
                      <a:pt x="164" y="55"/>
                      <a:pt x="164" y="54"/>
                    </a:cubicBezTo>
                    <a:cubicBezTo>
                      <a:pt x="165" y="54"/>
                      <a:pt x="165" y="54"/>
                      <a:pt x="165" y="53"/>
                    </a:cubicBezTo>
                    <a:cubicBezTo>
                      <a:pt x="166" y="53"/>
                      <a:pt x="167" y="50"/>
                      <a:pt x="169" y="48"/>
                    </a:cubicBezTo>
                    <a:cubicBezTo>
                      <a:pt x="170" y="46"/>
                      <a:pt x="171" y="44"/>
                      <a:pt x="172" y="43"/>
                    </a:cubicBezTo>
                    <a:cubicBezTo>
                      <a:pt x="167" y="36"/>
                      <a:pt x="167" y="36"/>
                      <a:pt x="167" y="36"/>
                    </a:cubicBezTo>
                    <a:cubicBezTo>
                      <a:pt x="165" y="33"/>
                      <a:pt x="163" y="31"/>
                      <a:pt x="161" y="29"/>
                    </a:cubicBezTo>
                    <a:cubicBezTo>
                      <a:pt x="158" y="26"/>
                      <a:pt x="158" y="26"/>
                      <a:pt x="158" y="26"/>
                    </a:cubicBezTo>
                    <a:cubicBezTo>
                      <a:pt x="154" y="22"/>
                      <a:pt x="150" y="18"/>
                      <a:pt x="146" y="14"/>
                    </a:cubicBezTo>
                    <a:cubicBezTo>
                      <a:pt x="145" y="12"/>
                      <a:pt x="145" y="12"/>
                      <a:pt x="145" y="12"/>
                    </a:cubicBezTo>
                    <a:cubicBezTo>
                      <a:pt x="144" y="12"/>
                      <a:pt x="142" y="11"/>
                      <a:pt x="140" y="10"/>
                    </a:cubicBezTo>
                    <a:cubicBezTo>
                      <a:pt x="140" y="10"/>
                      <a:pt x="140" y="10"/>
                      <a:pt x="140" y="10"/>
                    </a:cubicBezTo>
                    <a:cubicBezTo>
                      <a:pt x="139" y="10"/>
                      <a:pt x="139" y="10"/>
                      <a:pt x="138" y="9"/>
                    </a:cubicBezTo>
                    <a:cubicBezTo>
                      <a:pt x="137" y="9"/>
                      <a:pt x="137" y="9"/>
                      <a:pt x="136" y="8"/>
                    </a:cubicBezTo>
                    <a:cubicBezTo>
                      <a:pt x="136" y="8"/>
                      <a:pt x="136" y="8"/>
                      <a:pt x="136" y="8"/>
                    </a:cubicBezTo>
                    <a:cubicBezTo>
                      <a:pt x="135" y="8"/>
                      <a:pt x="135" y="8"/>
                      <a:pt x="134" y="7"/>
                    </a:cubicBezTo>
                    <a:cubicBezTo>
                      <a:pt x="133" y="6"/>
                      <a:pt x="133" y="6"/>
                      <a:pt x="133" y="6"/>
                    </a:cubicBezTo>
                    <a:cubicBezTo>
                      <a:pt x="133" y="6"/>
                      <a:pt x="133" y="6"/>
                      <a:pt x="133" y="6"/>
                    </a:cubicBezTo>
                    <a:cubicBezTo>
                      <a:pt x="133" y="6"/>
                      <a:pt x="133" y="6"/>
                      <a:pt x="133" y="6"/>
                    </a:cubicBezTo>
                    <a:cubicBezTo>
                      <a:pt x="132" y="5"/>
                      <a:pt x="132" y="5"/>
                      <a:pt x="132" y="5"/>
                    </a:cubicBezTo>
                    <a:cubicBezTo>
                      <a:pt x="132" y="5"/>
                      <a:pt x="132" y="5"/>
                      <a:pt x="132" y="5"/>
                    </a:cubicBezTo>
                    <a:cubicBezTo>
                      <a:pt x="131" y="5"/>
                      <a:pt x="131" y="5"/>
                      <a:pt x="131" y="5"/>
                    </a:cubicBezTo>
                    <a:cubicBezTo>
                      <a:pt x="131" y="5"/>
                      <a:pt x="131" y="5"/>
                      <a:pt x="131" y="5"/>
                    </a:cubicBezTo>
                    <a:cubicBezTo>
                      <a:pt x="130" y="6"/>
                      <a:pt x="129" y="6"/>
                      <a:pt x="127" y="6"/>
                    </a:cubicBezTo>
                    <a:cubicBezTo>
                      <a:pt x="127" y="6"/>
                      <a:pt x="126" y="6"/>
                      <a:pt x="125" y="5"/>
                    </a:cubicBezTo>
                    <a:cubicBezTo>
                      <a:pt x="125" y="5"/>
                      <a:pt x="124" y="5"/>
                      <a:pt x="124" y="5"/>
                    </a:cubicBezTo>
                    <a:cubicBezTo>
                      <a:pt x="123" y="5"/>
                      <a:pt x="123" y="5"/>
                      <a:pt x="122" y="6"/>
                    </a:cubicBezTo>
                    <a:cubicBezTo>
                      <a:pt x="121" y="6"/>
                      <a:pt x="121" y="6"/>
                      <a:pt x="121" y="6"/>
                    </a:cubicBezTo>
                    <a:cubicBezTo>
                      <a:pt x="120" y="6"/>
                      <a:pt x="119" y="6"/>
                      <a:pt x="119" y="6"/>
                    </a:cubicBezTo>
                    <a:cubicBezTo>
                      <a:pt x="118" y="6"/>
                      <a:pt x="118" y="6"/>
                      <a:pt x="118" y="7"/>
                    </a:cubicBezTo>
                    <a:cubicBezTo>
                      <a:pt x="117" y="7"/>
                      <a:pt x="117" y="7"/>
                      <a:pt x="117" y="7"/>
                    </a:cubicBezTo>
                    <a:cubicBezTo>
                      <a:pt x="117" y="7"/>
                      <a:pt x="117" y="7"/>
                      <a:pt x="117" y="7"/>
                    </a:cubicBezTo>
                    <a:cubicBezTo>
                      <a:pt x="117" y="7"/>
                      <a:pt x="117" y="7"/>
                      <a:pt x="117" y="7"/>
                    </a:cubicBezTo>
                    <a:cubicBezTo>
                      <a:pt x="113" y="6"/>
                      <a:pt x="113" y="6"/>
                      <a:pt x="113" y="6"/>
                    </a:cubicBezTo>
                    <a:cubicBezTo>
                      <a:pt x="113" y="5"/>
                      <a:pt x="113" y="5"/>
                      <a:pt x="113" y="5"/>
                    </a:cubicBezTo>
                    <a:cubicBezTo>
                      <a:pt x="113" y="4"/>
                      <a:pt x="113" y="4"/>
                      <a:pt x="113" y="4"/>
                    </a:cubicBezTo>
                    <a:cubicBezTo>
                      <a:pt x="113" y="4"/>
                      <a:pt x="113" y="4"/>
                      <a:pt x="113" y="4"/>
                    </a:cubicBezTo>
                    <a:cubicBezTo>
                      <a:pt x="113" y="4"/>
                      <a:pt x="113" y="4"/>
                      <a:pt x="113" y="4"/>
                    </a:cubicBezTo>
                    <a:cubicBezTo>
                      <a:pt x="113" y="4"/>
                      <a:pt x="113" y="4"/>
                      <a:pt x="113" y="4"/>
                    </a:cubicBezTo>
                    <a:cubicBezTo>
                      <a:pt x="112" y="4"/>
                      <a:pt x="112" y="5"/>
                      <a:pt x="111" y="5"/>
                    </a:cubicBezTo>
                    <a:cubicBezTo>
                      <a:pt x="111" y="5"/>
                      <a:pt x="110" y="5"/>
                      <a:pt x="110" y="5"/>
                    </a:cubicBezTo>
                    <a:cubicBezTo>
                      <a:pt x="109" y="6"/>
                      <a:pt x="109" y="6"/>
                      <a:pt x="108" y="6"/>
                    </a:cubicBezTo>
                    <a:cubicBezTo>
                      <a:pt x="108" y="6"/>
                      <a:pt x="107" y="6"/>
                      <a:pt x="106" y="6"/>
                    </a:cubicBezTo>
                    <a:cubicBezTo>
                      <a:pt x="105" y="7"/>
                      <a:pt x="103" y="7"/>
                      <a:pt x="103" y="7"/>
                    </a:cubicBezTo>
                    <a:cubicBezTo>
                      <a:pt x="101" y="8"/>
                      <a:pt x="101" y="8"/>
                      <a:pt x="101" y="8"/>
                    </a:cubicBezTo>
                    <a:cubicBezTo>
                      <a:pt x="100" y="7"/>
                      <a:pt x="100" y="7"/>
                      <a:pt x="100" y="7"/>
                    </a:cubicBezTo>
                    <a:cubicBezTo>
                      <a:pt x="99" y="6"/>
                      <a:pt x="98" y="5"/>
                      <a:pt x="97" y="4"/>
                    </a:cubicBezTo>
                    <a:cubicBezTo>
                      <a:pt x="97" y="3"/>
                      <a:pt x="97" y="3"/>
                      <a:pt x="97" y="3"/>
                    </a:cubicBezTo>
                    <a:cubicBezTo>
                      <a:pt x="96" y="3"/>
                      <a:pt x="95" y="3"/>
                      <a:pt x="94" y="2"/>
                    </a:cubicBezTo>
                    <a:cubicBezTo>
                      <a:pt x="94" y="2"/>
                      <a:pt x="93" y="2"/>
                      <a:pt x="92" y="1"/>
                    </a:cubicBezTo>
                    <a:cubicBezTo>
                      <a:pt x="92" y="1"/>
                      <a:pt x="91" y="1"/>
                      <a:pt x="9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 name="Freeform 379">
                <a:extLst>
                  <a:ext uri="{FF2B5EF4-FFF2-40B4-BE49-F238E27FC236}">
                    <a16:creationId xmlns:a16="http://schemas.microsoft.com/office/drawing/2014/main" id="{BBBE964C-2124-49BE-B6DA-64E44256FDB5}"/>
                  </a:ext>
                </a:extLst>
              </p:cNvPr>
              <p:cNvSpPr>
                <a:spLocks/>
              </p:cNvSpPr>
              <p:nvPr/>
            </p:nvSpPr>
            <p:spPr bwMode="auto">
              <a:xfrm>
                <a:off x="4201" y="2659"/>
                <a:ext cx="3" cy="2"/>
              </a:xfrm>
              <a:custGeom>
                <a:avLst/>
                <a:gdLst>
                  <a:gd name="T0" fmla="*/ 0 w 3"/>
                  <a:gd name="T1" fmla="*/ 0 h 2"/>
                  <a:gd name="T2" fmla="*/ 0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0" y="0"/>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 name="Freeform 380">
                <a:extLst>
                  <a:ext uri="{FF2B5EF4-FFF2-40B4-BE49-F238E27FC236}">
                    <a16:creationId xmlns:a16="http://schemas.microsoft.com/office/drawing/2014/main" id="{F3934961-5B5C-48F5-B8FC-A2351FF8ACF6}"/>
                  </a:ext>
                </a:extLst>
              </p:cNvPr>
              <p:cNvSpPr>
                <a:spLocks/>
              </p:cNvSpPr>
              <p:nvPr/>
            </p:nvSpPr>
            <p:spPr bwMode="auto">
              <a:xfrm>
                <a:off x="4201" y="2659"/>
                <a:ext cx="3" cy="2"/>
              </a:xfrm>
              <a:custGeom>
                <a:avLst/>
                <a:gdLst>
                  <a:gd name="T0" fmla="*/ 0 w 3"/>
                  <a:gd name="T1" fmla="*/ 0 h 2"/>
                  <a:gd name="T2" fmla="*/ 0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0" y="0"/>
                    </a:lnTo>
                    <a:lnTo>
                      <a:pt x="3"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 name="Freeform 381">
                <a:extLst>
                  <a:ext uri="{FF2B5EF4-FFF2-40B4-BE49-F238E27FC236}">
                    <a16:creationId xmlns:a16="http://schemas.microsoft.com/office/drawing/2014/main" id="{4319B5D6-5957-4BC4-953C-BE752CFC386B}"/>
                  </a:ext>
                </a:extLst>
              </p:cNvPr>
              <p:cNvSpPr>
                <a:spLocks/>
              </p:cNvSpPr>
              <p:nvPr/>
            </p:nvSpPr>
            <p:spPr bwMode="auto">
              <a:xfrm>
                <a:off x="4159" y="2500"/>
                <a:ext cx="293" cy="246"/>
              </a:xfrm>
              <a:custGeom>
                <a:avLst/>
                <a:gdLst>
                  <a:gd name="T0" fmla="*/ 35 w 124"/>
                  <a:gd name="T1" fmla="*/ 6 h 104"/>
                  <a:gd name="T2" fmla="*/ 35 w 124"/>
                  <a:gd name="T3" fmla="*/ 7 h 104"/>
                  <a:gd name="T4" fmla="*/ 34 w 124"/>
                  <a:gd name="T5" fmla="*/ 8 h 104"/>
                  <a:gd name="T6" fmla="*/ 31 w 124"/>
                  <a:gd name="T7" fmla="*/ 9 h 104"/>
                  <a:gd name="T8" fmla="*/ 28 w 124"/>
                  <a:gd name="T9" fmla="*/ 10 h 104"/>
                  <a:gd name="T10" fmla="*/ 25 w 124"/>
                  <a:gd name="T11" fmla="*/ 11 h 104"/>
                  <a:gd name="T12" fmla="*/ 20 w 124"/>
                  <a:gd name="T13" fmla="*/ 15 h 104"/>
                  <a:gd name="T14" fmla="*/ 19 w 124"/>
                  <a:gd name="T15" fmla="*/ 17 h 104"/>
                  <a:gd name="T16" fmla="*/ 8 w 124"/>
                  <a:gd name="T17" fmla="*/ 34 h 104"/>
                  <a:gd name="T18" fmla="*/ 1 w 124"/>
                  <a:gd name="T19" fmla="*/ 59 h 104"/>
                  <a:gd name="T20" fmla="*/ 1 w 124"/>
                  <a:gd name="T21" fmla="*/ 62 h 104"/>
                  <a:gd name="T22" fmla="*/ 1 w 124"/>
                  <a:gd name="T23" fmla="*/ 66 h 104"/>
                  <a:gd name="T24" fmla="*/ 2 w 124"/>
                  <a:gd name="T25" fmla="*/ 68 h 104"/>
                  <a:gd name="T26" fmla="*/ 2 w 124"/>
                  <a:gd name="T27" fmla="*/ 68 h 104"/>
                  <a:gd name="T28" fmla="*/ 7 w 124"/>
                  <a:gd name="T29" fmla="*/ 68 h 104"/>
                  <a:gd name="T30" fmla="*/ 11 w 124"/>
                  <a:gd name="T31" fmla="*/ 66 h 104"/>
                  <a:gd name="T32" fmla="*/ 16 w 124"/>
                  <a:gd name="T33" fmla="*/ 65 h 104"/>
                  <a:gd name="T34" fmla="*/ 18 w 124"/>
                  <a:gd name="T35" fmla="*/ 67 h 104"/>
                  <a:gd name="T36" fmla="*/ 22 w 124"/>
                  <a:gd name="T37" fmla="*/ 60 h 104"/>
                  <a:gd name="T38" fmla="*/ 26 w 124"/>
                  <a:gd name="T39" fmla="*/ 53 h 104"/>
                  <a:gd name="T40" fmla="*/ 29 w 124"/>
                  <a:gd name="T41" fmla="*/ 58 h 104"/>
                  <a:gd name="T42" fmla="*/ 30 w 124"/>
                  <a:gd name="T43" fmla="*/ 59 h 104"/>
                  <a:gd name="T44" fmla="*/ 37 w 124"/>
                  <a:gd name="T45" fmla="*/ 63 h 104"/>
                  <a:gd name="T46" fmla="*/ 41 w 124"/>
                  <a:gd name="T47" fmla="*/ 64 h 104"/>
                  <a:gd name="T48" fmla="*/ 45 w 124"/>
                  <a:gd name="T49" fmla="*/ 63 h 104"/>
                  <a:gd name="T50" fmla="*/ 48 w 124"/>
                  <a:gd name="T51" fmla="*/ 61 h 104"/>
                  <a:gd name="T52" fmla="*/ 49 w 124"/>
                  <a:gd name="T53" fmla="*/ 61 h 104"/>
                  <a:gd name="T54" fmla="*/ 51 w 124"/>
                  <a:gd name="T55" fmla="*/ 61 h 104"/>
                  <a:gd name="T56" fmla="*/ 57 w 124"/>
                  <a:gd name="T57" fmla="*/ 60 h 104"/>
                  <a:gd name="T58" fmla="*/ 54 w 124"/>
                  <a:gd name="T59" fmla="*/ 64 h 104"/>
                  <a:gd name="T60" fmla="*/ 56 w 124"/>
                  <a:gd name="T61" fmla="*/ 64 h 104"/>
                  <a:gd name="T62" fmla="*/ 57 w 124"/>
                  <a:gd name="T63" fmla="*/ 63 h 104"/>
                  <a:gd name="T64" fmla="*/ 63 w 124"/>
                  <a:gd name="T65" fmla="*/ 64 h 104"/>
                  <a:gd name="T66" fmla="*/ 68 w 124"/>
                  <a:gd name="T67" fmla="*/ 62 h 104"/>
                  <a:gd name="T68" fmla="*/ 74 w 124"/>
                  <a:gd name="T69" fmla="*/ 62 h 104"/>
                  <a:gd name="T70" fmla="*/ 74 w 124"/>
                  <a:gd name="T71" fmla="*/ 66 h 104"/>
                  <a:gd name="T72" fmla="*/ 78 w 124"/>
                  <a:gd name="T73" fmla="*/ 68 h 104"/>
                  <a:gd name="T74" fmla="*/ 100 w 124"/>
                  <a:gd name="T75" fmla="*/ 88 h 104"/>
                  <a:gd name="T76" fmla="*/ 117 w 124"/>
                  <a:gd name="T77" fmla="*/ 104 h 104"/>
                  <a:gd name="T78" fmla="*/ 123 w 124"/>
                  <a:gd name="T79" fmla="*/ 97 h 104"/>
                  <a:gd name="T80" fmla="*/ 110 w 124"/>
                  <a:gd name="T81" fmla="*/ 88 h 104"/>
                  <a:gd name="T82" fmla="*/ 87 w 124"/>
                  <a:gd name="T83" fmla="*/ 63 h 104"/>
                  <a:gd name="T84" fmla="*/ 63 w 124"/>
                  <a:gd name="T85" fmla="*/ 46 h 104"/>
                  <a:gd name="T86" fmla="*/ 61 w 124"/>
                  <a:gd name="T87" fmla="*/ 53 h 104"/>
                  <a:gd name="T88" fmla="*/ 55 w 124"/>
                  <a:gd name="T89" fmla="*/ 44 h 104"/>
                  <a:gd name="T90" fmla="*/ 40 w 124"/>
                  <a:gd name="T9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 h="104">
                    <a:moveTo>
                      <a:pt x="40" y="0"/>
                    </a:moveTo>
                    <a:cubicBezTo>
                      <a:pt x="40" y="0"/>
                      <a:pt x="40" y="0"/>
                      <a:pt x="39" y="1"/>
                    </a:cubicBezTo>
                    <a:cubicBezTo>
                      <a:pt x="38" y="3"/>
                      <a:pt x="37" y="5"/>
                      <a:pt x="35" y="6"/>
                    </a:cubicBezTo>
                    <a:cubicBezTo>
                      <a:pt x="35" y="7"/>
                      <a:pt x="35" y="7"/>
                      <a:pt x="35" y="7"/>
                    </a:cubicBezTo>
                    <a:cubicBezTo>
                      <a:pt x="35" y="7"/>
                      <a:pt x="35" y="7"/>
                      <a:pt x="35" y="7"/>
                    </a:cubicBezTo>
                    <a:cubicBezTo>
                      <a:pt x="35" y="7"/>
                      <a:pt x="35" y="7"/>
                      <a:pt x="35" y="7"/>
                    </a:cubicBezTo>
                    <a:cubicBezTo>
                      <a:pt x="35" y="7"/>
                      <a:pt x="35" y="7"/>
                      <a:pt x="35" y="7"/>
                    </a:cubicBezTo>
                    <a:cubicBezTo>
                      <a:pt x="34" y="8"/>
                      <a:pt x="34" y="8"/>
                      <a:pt x="34" y="8"/>
                    </a:cubicBezTo>
                    <a:cubicBezTo>
                      <a:pt x="34" y="8"/>
                      <a:pt x="34" y="8"/>
                      <a:pt x="34" y="8"/>
                    </a:cubicBezTo>
                    <a:cubicBezTo>
                      <a:pt x="34" y="8"/>
                      <a:pt x="34" y="8"/>
                      <a:pt x="34" y="8"/>
                    </a:cubicBezTo>
                    <a:cubicBezTo>
                      <a:pt x="33" y="8"/>
                      <a:pt x="33" y="8"/>
                      <a:pt x="32" y="9"/>
                    </a:cubicBezTo>
                    <a:cubicBezTo>
                      <a:pt x="31" y="9"/>
                      <a:pt x="31" y="9"/>
                      <a:pt x="31" y="9"/>
                    </a:cubicBezTo>
                    <a:cubicBezTo>
                      <a:pt x="31" y="9"/>
                      <a:pt x="31" y="9"/>
                      <a:pt x="31" y="9"/>
                    </a:cubicBezTo>
                    <a:cubicBezTo>
                      <a:pt x="30" y="9"/>
                      <a:pt x="29" y="9"/>
                      <a:pt x="28" y="9"/>
                    </a:cubicBezTo>
                    <a:cubicBezTo>
                      <a:pt x="28" y="10"/>
                      <a:pt x="28" y="10"/>
                      <a:pt x="28" y="10"/>
                    </a:cubicBezTo>
                    <a:cubicBezTo>
                      <a:pt x="27" y="10"/>
                      <a:pt x="27" y="10"/>
                      <a:pt x="27" y="10"/>
                    </a:cubicBezTo>
                    <a:cubicBezTo>
                      <a:pt x="27" y="10"/>
                      <a:pt x="26" y="11"/>
                      <a:pt x="25" y="11"/>
                    </a:cubicBezTo>
                    <a:cubicBezTo>
                      <a:pt x="25" y="11"/>
                      <a:pt x="25" y="11"/>
                      <a:pt x="25" y="11"/>
                    </a:cubicBezTo>
                    <a:cubicBezTo>
                      <a:pt x="23" y="12"/>
                      <a:pt x="22" y="13"/>
                      <a:pt x="21" y="14"/>
                    </a:cubicBezTo>
                    <a:cubicBezTo>
                      <a:pt x="21" y="15"/>
                      <a:pt x="21" y="15"/>
                      <a:pt x="21" y="15"/>
                    </a:cubicBezTo>
                    <a:cubicBezTo>
                      <a:pt x="20" y="15"/>
                      <a:pt x="20" y="15"/>
                      <a:pt x="20" y="15"/>
                    </a:cubicBezTo>
                    <a:cubicBezTo>
                      <a:pt x="20" y="16"/>
                      <a:pt x="20" y="16"/>
                      <a:pt x="20" y="16"/>
                    </a:cubicBezTo>
                    <a:cubicBezTo>
                      <a:pt x="20" y="16"/>
                      <a:pt x="20" y="16"/>
                      <a:pt x="20" y="16"/>
                    </a:cubicBezTo>
                    <a:cubicBezTo>
                      <a:pt x="19" y="17"/>
                      <a:pt x="19" y="17"/>
                      <a:pt x="19" y="17"/>
                    </a:cubicBezTo>
                    <a:cubicBezTo>
                      <a:pt x="17" y="18"/>
                      <a:pt x="16" y="18"/>
                      <a:pt x="14" y="18"/>
                    </a:cubicBezTo>
                    <a:cubicBezTo>
                      <a:pt x="13" y="18"/>
                      <a:pt x="12" y="18"/>
                      <a:pt x="11" y="18"/>
                    </a:cubicBezTo>
                    <a:cubicBezTo>
                      <a:pt x="10" y="24"/>
                      <a:pt x="10" y="29"/>
                      <a:pt x="8" y="34"/>
                    </a:cubicBezTo>
                    <a:cubicBezTo>
                      <a:pt x="7" y="36"/>
                      <a:pt x="6" y="39"/>
                      <a:pt x="5" y="41"/>
                    </a:cubicBezTo>
                    <a:cubicBezTo>
                      <a:pt x="3" y="45"/>
                      <a:pt x="1" y="50"/>
                      <a:pt x="0" y="54"/>
                    </a:cubicBezTo>
                    <a:cubicBezTo>
                      <a:pt x="0" y="55"/>
                      <a:pt x="0" y="57"/>
                      <a:pt x="1" y="59"/>
                    </a:cubicBezTo>
                    <a:cubicBezTo>
                      <a:pt x="1" y="59"/>
                      <a:pt x="1" y="59"/>
                      <a:pt x="1" y="59"/>
                    </a:cubicBezTo>
                    <a:cubicBezTo>
                      <a:pt x="1" y="60"/>
                      <a:pt x="1" y="61"/>
                      <a:pt x="1" y="61"/>
                    </a:cubicBezTo>
                    <a:cubicBezTo>
                      <a:pt x="1" y="62"/>
                      <a:pt x="1" y="62"/>
                      <a:pt x="1" y="62"/>
                    </a:cubicBezTo>
                    <a:cubicBezTo>
                      <a:pt x="1" y="62"/>
                      <a:pt x="1" y="63"/>
                      <a:pt x="1" y="65"/>
                    </a:cubicBezTo>
                    <a:cubicBezTo>
                      <a:pt x="1" y="65"/>
                      <a:pt x="1" y="65"/>
                      <a:pt x="1" y="65"/>
                    </a:cubicBezTo>
                    <a:cubicBezTo>
                      <a:pt x="1" y="66"/>
                      <a:pt x="1" y="66"/>
                      <a:pt x="1" y="66"/>
                    </a:cubicBezTo>
                    <a:cubicBezTo>
                      <a:pt x="1" y="66"/>
                      <a:pt x="1" y="66"/>
                      <a:pt x="1" y="66"/>
                    </a:cubicBezTo>
                    <a:cubicBezTo>
                      <a:pt x="1" y="67"/>
                      <a:pt x="1" y="67"/>
                      <a:pt x="1" y="67"/>
                    </a:cubicBezTo>
                    <a:cubicBezTo>
                      <a:pt x="2" y="68"/>
                      <a:pt x="2" y="68"/>
                      <a:pt x="2" y="68"/>
                    </a:cubicBezTo>
                    <a:cubicBezTo>
                      <a:pt x="2" y="68"/>
                      <a:pt x="2" y="68"/>
                      <a:pt x="2" y="68"/>
                    </a:cubicBezTo>
                    <a:cubicBezTo>
                      <a:pt x="2" y="68"/>
                      <a:pt x="2" y="68"/>
                      <a:pt x="2" y="68"/>
                    </a:cubicBezTo>
                    <a:cubicBezTo>
                      <a:pt x="2" y="68"/>
                      <a:pt x="2" y="68"/>
                      <a:pt x="2" y="68"/>
                    </a:cubicBezTo>
                    <a:cubicBezTo>
                      <a:pt x="2" y="68"/>
                      <a:pt x="3" y="68"/>
                      <a:pt x="3" y="68"/>
                    </a:cubicBezTo>
                    <a:cubicBezTo>
                      <a:pt x="5" y="68"/>
                      <a:pt x="5" y="68"/>
                      <a:pt x="5" y="68"/>
                    </a:cubicBezTo>
                    <a:cubicBezTo>
                      <a:pt x="5" y="68"/>
                      <a:pt x="6" y="68"/>
                      <a:pt x="7" y="68"/>
                    </a:cubicBezTo>
                    <a:cubicBezTo>
                      <a:pt x="7" y="68"/>
                      <a:pt x="7" y="68"/>
                      <a:pt x="7" y="68"/>
                    </a:cubicBezTo>
                    <a:cubicBezTo>
                      <a:pt x="8" y="68"/>
                      <a:pt x="9" y="68"/>
                      <a:pt x="9" y="68"/>
                    </a:cubicBezTo>
                    <a:cubicBezTo>
                      <a:pt x="10" y="68"/>
                      <a:pt x="11" y="67"/>
                      <a:pt x="11" y="66"/>
                    </a:cubicBezTo>
                    <a:cubicBezTo>
                      <a:pt x="12" y="66"/>
                      <a:pt x="13" y="65"/>
                      <a:pt x="13" y="65"/>
                    </a:cubicBezTo>
                    <a:cubicBezTo>
                      <a:pt x="15" y="63"/>
                      <a:pt x="15" y="63"/>
                      <a:pt x="15" y="63"/>
                    </a:cubicBezTo>
                    <a:cubicBezTo>
                      <a:pt x="16" y="65"/>
                      <a:pt x="16" y="65"/>
                      <a:pt x="16" y="65"/>
                    </a:cubicBezTo>
                    <a:cubicBezTo>
                      <a:pt x="17" y="66"/>
                      <a:pt x="17" y="66"/>
                      <a:pt x="17" y="67"/>
                    </a:cubicBezTo>
                    <a:cubicBezTo>
                      <a:pt x="18" y="67"/>
                      <a:pt x="18" y="67"/>
                      <a:pt x="18" y="67"/>
                    </a:cubicBezTo>
                    <a:cubicBezTo>
                      <a:pt x="18" y="67"/>
                      <a:pt x="18" y="67"/>
                      <a:pt x="18" y="67"/>
                    </a:cubicBezTo>
                    <a:cubicBezTo>
                      <a:pt x="18" y="67"/>
                      <a:pt x="18" y="67"/>
                      <a:pt x="18" y="67"/>
                    </a:cubicBezTo>
                    <a:cubicBezTo>
                      <a:pt x="18" y="67"/>
                      <a:pt x="18" y="67"/>
                      <a:pt x="18" y="67"/>
                    </a:cubicBezTo>
                    <a:cubicBezTo>
                      <a:pt x="20" y="65"/>
                      <a:pt x="22" y="62"/>
                      <a:pt x="22" y="60"/>
                    </a:cubicBezTo>
                    <a:cubicBezTo>
                      <a:pt x="22" y="60"/>
                      <a:pt x="22" y="60"/>
                      <a:pt x="22" y="60"/>
                    </a:cubicBezTo>
                    <a:cubicBezTo>
                      <a:pt x="23" y="59"/>
                      <a:pt x="23" y="59"/>
                      <a:pt x="23" y="59"/>
                    </a:cubicBezTo>
                    <a:cubicBezTo>
                      <a:pt x="26" y="53"/>
                      <a:pt x="26" y="53"/>
                      <a:pt x="26" y="53"/>
                    </a:cubicBezTo>
                    <a:cubicBezTo>
                      <a:pt x="28" y="57"/>
                      <a:pt x="28" y="57"/>
                      <a:pt x="28" y="57"/>
                    </a:cubicBezTo>
                    <a:cubicBezTo>
                      <a:pt x="28" y="57"/>
                      <a:pt x="28" y="57"/>
                      <a:pt x="28" y="57"/>
                    </a:cubicBezTo>
                    <a:cubicBezTo>
                      <a:pt x="29" y="58"/>
                      <a:pt x="29" y="58"/>
                      <a:pt x="29" y="58"/>
                    </a:cubicBezTo>
                    <a:cubicBezTo>
                      <a:pt x="29" y="58"/>
                      <a:pt x="29" y="58"/>
                      <a:pt x="29" y="58"/>
                    </a:cubicBezTo>
                    <a:cubicBezTo>
                      <a:pt x="29" y="59"/>
                      <a:pt x="29" y="59"/>
                      <a:pt x="29" y="59"/>
                    </a:cubicBezTo>
                    <a:cubicBezTo>
                      <a:pt x="30" y="59"/>
                      <a:pt x="30" y="59"/>
                      <a:pt x="30" y="59"/>
                    </a:cubicBezTo>
                    <a:cubicBezTo>
                      <a:pt x="31" y="59"/>
                      <a:pt x="31" y="60"/>
                      <a:pt x="32" y="60"/>
                    </a:cubicBezTo>
                    <a:cubicBezTo>
                      <a:pt x="33" y="60"/>
                      <a:pt x="34" y="60"/>
                      <a:pt x="36" y="62"/>
                    </a:cubicBezTo>
                    <a:cubicBezTo>
                      <a:pt x="37" y="63"/>
                      <a:pt x="37" y="63"/>
                      <a:pt x="37" y="63"/>
                    </a:cubicBezTo>
                    <a:cubicBezTo>
                      <a:pt x="37" y="63"/>
                      <a:pt x="37" y="64"/>
                      <a:pt x="38" y="64"/>
                    </a:cubicBezTo>
                    <a:cubicBezTo>
                      <a:pt x="38" y="65"/>
                      <a:pt x="38" y="65"/>
                      <a:pt x="38" y="65"/>
                    </a:cubicBezTo>
                    <a:cubicBezTo>
                      <a:pt x="39" y="64"/>
                      <a:pt x="40" y="64"/>
                      <a:pt x="41" y="64"/>
                    </a:cubicBezTo>
                    <a:cubicBezTo>
                      <a:pt x="42" y="64"/>
                      <a:pt x="42" y="64"/>
                      <a:pt x="43" y="64"/>
                    </a:cubicBezTo>
                    <a:cubicBezTo>
                      <a:pt x="44" y="63"/>
                      <a:pt x="44" y="63"/>
                      <a:pt x="44" y="63"/>
                    </a:cubicBezTo>
                    <a:cubicBezTo>
                      <a:pt x="45" y="63"/>
                      <a:pt x="45" y="63"/>
                      <a:pt x="45" y="63"/>
                    </a:cubicBezTo>
                    <a:cubicBezTo>
                      <a:pt x="45" y="63"/>
                      <a:pt x="45" y="63"/>
                      <a:pt x="45" y="63"/>
                    </a:cubicBezTo>
                    <a:cubicBezTo>
                      <a:pt x="46" y="62"/>
                      <a:pt x="46" y="62"/>
                      <a:pt x="46" y="62"/>
                    </a:cubicBezTo>
                    <a:cubicBezTo>
                      <a:pt x="47" y="62"/>
                      <a:pt x="47" y="61"/>
                      <a:pt x="48" y="61"/>
                    </a:cubicBezTo>
                    <a:cubicBezTo>
                      <a:pt x="48" y="61"/>
                      <a:pt x="48" y="61"/>
                      <a:pt x="48" y="61"/>
                    </a:cubicBezTo>
                    <a:cubicBezTo>
                      <a:pt x="48" y="61"/>
                      <a:pt x="49" y="61"/>
                      <a:pt x="49" y="61"/>
                    </a:cubicBezTo>
                    <a:cubicBezTo>
                      <a:pt x="49" y="61"/>
                      <a:pt x="49" y="61"/>
                      <a:pt x="49" y="61"/>
                    </a:cubicBezTo>
                    <a:cubicBezTo>
                      <a:pt x="50" y="61"/>
                      <a:pt x="50" y="61"/>
                      <a:pt x="50" y="61"/>
                    </a:cubicBezTo>
                    <a:cubicBezTo>
                      <a:pt x="50" y="61"/>
                      <a:pt x="50" y="61"/>
                      <a:pt x="50" y="61"/>
                    </a:cubicBezTo>
                    <a:cubicBezTo>
                      <a:pt x="50" y="61"/>
                      <a:pt x="51" y="61"/>
                      <a:pt x="51" y="61"/>
                    </a:cubicBezTo>
                    <a:cubicBezTo>
                      <a:pt x="52" y="61"/>
                      <a:pt x="52" y="61"/>
                      <a:pt x="52" y="61"/>
                    </a:cubicBezTo>
                    <a:cubicBezTo>
                      <a:pt x="52" y="61"/>
                      <a:pt x="52" y="62"/>
                      <a:pt x="53" y="62"/>
                    </a:cubicBezTo>
                    <a:cubicBezTo>
                      <a:pt x="57" y="60"/>
                      <a:pt x="57" y="60"/>
                      <a:pt x="57" y="60"/>
                    </a:cubicBezTo>
                    <a:cubicBezTo>
                      <a:pt x="53" y="63"/>
                      <a:pt x="53" y="63"/>
                      <a:pt x="53" y="63"/>
                    </a:cubicBezTo>
                    <a:cubicBezTo>
                      <a:pt x="53" y="63"/>
                      <a:pt x="53" y="63"/>
                      <a:pt x="53" y="63"/>
                    </a:cubicBezTo>
                    <a:cubicBezTo>
                      <a:pt x="54" y="64"/>
                      <a:pt x="54" y="64"/>
                      <a:pt x="54" y="64"/>
                    </a:cubicBezTo>
                    <a:cubicBezTo>
                      <a:pt x="54" y="64"/>
                      <a:pt x="54" y="64"/>
                      <a:pt x="54" y="64"/>
                    </a:cubicBezTo>
                    <a:cubicBezTo>
                      <a:pt x="55" y="64"/>
                      <a:pt x="55" y="64"/>
                      <a:pt x="55" y="64"/>
                    </a:cubicBezTo>
                    <a:cubicBezTo>
                      <a:pt x="56" y="64"/>
                      <a:pt x="56" y="64"/>
                      <a:pt x="56" y="64"/>
                    </a:cubicBezTo>
                    <a:cubicBezTo>
                      <a:pt x="56" y="63"/>
                      <a:pt x="56" y="63"/>
                      <a:pt x="56" y="63"/>
                    </a:cubicBezTo>
                    <a:cubicBezTo>
                      <a:pt x="57" y="63"/>
                      <a:pt x="57" y="63"/>
                      <a:pt x="57" y="63"/>
                    </a:cubicBezTo>
                    <a:cubicBezTo>
                      <a:pt x="57" y="63"/>
                      <a:pt x="57" y="63"/>
                      <a:pt x="57" y="63"/>
                    </a:cubicBezTo>
                    <a:cubicBezTo>
                      <a:pt x="58" y="62"/>
                      <a:pt x="59" y="62"/>
                      <a:pt x="60" y="62"/>
                    </a:cubicBezTo>
                    <a:cubicBezTo>
                      <a:pt x="60" y="62"/>
                      <a:pt x="60" y="62"/>
                      <a:pt x="61" y="62"/>
                    </a:cubicBezTo>
                    <a:cubicBezTo>
                      <a:pt x="62" y="62"/>
                      <a:pt x="62" y="63"/>
                      <a:pt x="63" y="64"/>
                    </a:cubicBezTo>
                    <a:cubicBezTo>
                      <a:pt x="64" y="63"/>
                      <a:pt x="64" y="63"/>
                      <a:pt x="64" y="63"/>
                    </a:cubicBezTo>
                    <a:cubicBezTo>
                      <a:pt x="64" y="63"/>
                      <a:pt x="65" y="63"/>
                      <a:pt x="65" y="63"/>
                    </a:cubicBezTo>
                    <a:cubicBezTo>
                      <a:pt x="66" y="63"/>
                      <a:pt x="67" y="62"/>
                      <a:pt x="68" y="62"/>
                    </a:cubicBezTo>
                    <a:cubicBezTo>
                      <a:pt x="69" y="62"/>
                      <a:pt x="70" y="63"/>
                      <a:pt x="70" y="63"/>
                    </a:cubicBezTo>
                    <a:cubicBezTo>
                      <a:pt x="72" y="64"/>
                      <a:pt x="72" y="64"/>
                      <a:pt x="72" y="64"/>
                    </a:cubicBezTo>
                    <a:cubicBezTo>
                      <a:pt x="74" y="62"/>
                      <a:pt x="74" y="62"/>
                      <a:pt x="74" y="62"/>
                    </a:cubicBezTo>
                    <a:cubicBezTo>
                      <a:pt x="73" y="65"/>
                      <a:pt x="73" y="65"/>
                      <a:pt x="73" y="65"/>
                    </a:cubicBezTo>
                    <a:cubicBezTo>
                      <a:pt x="73" y="66"/>
                      <a:pt x="73" y="66"/>
                      <a:pt x="73" y="66"/>
                    </a:cubicBezTo>
                    <a:cubicBezTo>
                      <a:pt x="73" y="66"/>
                      <a:pt x="74" y="66"/>
                      <a:pt x="74" y="66"/>
                    </a:cubicBezTo>
                    <a:cubicBezTo>
                      <a:pt x="75" y="67"/>
                      <a:pt x="75" y="67"/>
                      <a:pt x="76" y="67"/>
                    </a:cubicBezTo>
                    <a:cubicBezTo>
                      <a:pt x="76" y="67"/>
                      <a:pt x="77" y="68"/>
                      <a:pt x="77" y="68"/>
                    </a:cubicBezTo>
                    <a:cubicBezTo>
                      <a:pt x="78" y="68"/>
                      <a:pt x="78" y="68"/>
                      <a:pt x="78" y="68"/>
                    </a:cubicBezTo>
                    <a:cubicBezTo>
                      <a:pt x="80" y="69"/>
                      <a:pt x="83" y="69"/>
                      <a:pt x="84" y="71"/>
                    </a:cubicBezTo>
                    <a:cubicBezTo>
                      <a:pt x="89" y="76"/>
                      <a:pt x="93" y="80"/>
                      <a:pt x="97" y="85"/>
                    </a:cubicBezTo>
                    <a:cubicBezTo>
                      <a:pt x="100" y="88"/>
                      <a:pt x="100" y="88"/>
                      <a:pt x="100" y="88"/>
                    </a:cubicBezTo>
                    <a:cubicBezTo>
                      <a:pt x="102" y="90"/>
                      <a:pt x="104" y="92"/>
                      <a:pt x="106" y="95"/>
                    </a:cubicBezTo>
                    <a:cubicBezTo>
                      <a:pt x="113" y="103"/>
                      <a:pt x="113" y="103"/>
                      <a:pt x="113" y="103"/>
                    </a:cubicBezTo>
                    <a:cubicBezTo>
                      <a:pt x="115" y="104"/>
                      <a:pt x="116" y="104"/>
                      <a:pt x="117" y="104"/>
                    </a:cubicBezTo>
                    <a:cubicBezTo>
                      <a:pt x="119" y="103"/>
                      <a:pt x="122" y="100"/>
                      <a:pt x="123" y="99"/>
                    </a:cubicBezTo>
                    <a:cubicBezTo>
                      <a:pt x="124" y="98"/>
                      <a:pt x="124" y="98"/>
                      <a:pt x="124" y="98"/>
                    </a:cubicBezTo>
                    <a:cubicBezTo>
                      <a:pt x="124" y="98"/>
                      <a:pt x="123" y="97"/>
                      <a:pt x="123" y="97"/>
                    </a:cubicBezTo>
                    <a:cubicBezTo>
                      <a:pt x="122" y="97"/>
                      <a:pt x="121" y="98"/>
                      <a:pt x="121" y="98"/>
                    </a:cubicBezTo>
                    <a:cubicBezTo>
                      <a:pt x="117" y="98"/>
                      <a:pt x="115" y="91"/>
                      <a:pt x="111" y="90"/>
                    </a:cubicBezTo>
                    <a:cubicBezTo>
                      <a:pt x="111" y="89"/>
                      <a:pt x="111" y="89"/>
                      <a:pt x="110" y="88"/>
                    </a:cubicBezTo>
                    <a:cubicBezTo>
                      <a:pt x="109" y="84"/>
                      <a:pt x="107" y="81"/>
                      <a:pt x="103" y="78"/>
                    </a:cubicBezTo>
                    <a:cubicBezTo>
                      <a:pt x="101" y="77"/>
                      <a:pt x="99" y="77"/>
                      <a:pt x="97" y="76"/>
                    </a:cubicBezTo>
                    <a:cubicBezTo>
                      <a:pt x="93" y="72"/>
                      <a:pt x="91" y="66"/>
                      <a:pt x="87" y="63"/>
                    </a:cubicBezTo>
                    <a:cubicBezTo>
                      <a:pt x="84" y="61"/>
                      <a:pt x="81" y="59"/>
                      <a:pt x="78" y="57"/>
                    </a:cubicBezTo>
                    <a:cubicBezTo>
                      <a:pt x="75" y="56"/>
                      <a:pt x="70" y="57"/>
                      <a:pt x="69" y="55"/>
                    </a:cubicBezTo>
                    <a:cubicBezTo>
                      <a:pt x="66" y="53"/>
                      <a:pt x="65" y="49"/>
                      <a:pt x="63" y="46"/>
                    </a:cubicBezTo>
                    <a:cubicBezTo>
                      <a:pt x="62" y="47"/>
                      <a:pt x="62" y="48"/>
                      <a:pt x="62" y="49"/>
                    </a:cubicBezTo>
                    <a:cubicBezTo>
                      <a:pt x="61" y="50"/>
                      <a:pt x="63" y="51"/>
                      <a:pt x="63" y="52"/>
                    </a:cubicBezTo>
                    <a:cubicBezTo>
                      <a:pt x="63" y="53"/>
                      <a:pt x="62" y="53"/>
                      <a:pt x="61" y="53"/>
                    </a:cubicBezTo>
                    <a:cubicBezTo>
                      <a:pt x="61" y="53"/>
                      <a:pt x="60" y="53"/>
                      <a:pt x="60" y="53"/>
                    </a:cubicBezTo>
                    <a:cubicBezTo>
                      <a:pt x="60" y="52"/>
                      <a:pt x="60" y="51"/>
                      <a:pt x="60" y="51"/>
                    </a:cubicBezTo>
                    <a:cubicBezTo>
                      <a:pt x="60" y="49"/>
                      <a:pt x="54" y="45"/>
                      <a:pt x="55" y="44"/>
                    </a:cubicBezTo>
                    <a:cubicBezTo>
                      <a:pt x="55" y="41"/>
                      <a:pt x="52" y="37"/>
                      <a:pt x="51" y="34"/>
                    </a:cubicBezTo>
                    <a:cubicBezTo>
                      <a:pt x="50" y="30"/>
                      <a:pt x="50" y="25"/>
                      <a:pt x="49" y="22"/>
                    </a:cubicBezTo>
                    <a:cubicBezTo>
                      <a:pt x="47" y="14"/>
                      <a:pt x="44" y="7"/>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 name="Freeform 382">
                <a:extLst>
                  <a:ext uri="{FF2B5EF4-FFF2-40B4-BE49-F238E27FC236}">
                    <a16:creationId xmlns:a16="http://schemas.microsoft.com/office/drawing/2014/main" id="{9D1B84FE-C656-469D-955E-DA218B111581}"/>
                  </a:ext>
                </a:extLst>
              </p:cNvPr>
              <p:cNvSpPr>
                <a:spLocks/>
              </p:cNvSpPr>
              <p:nvPr/>
            </p:nvSpPr>
            <p:spPr bwMode="auto">
              <a:xfrm>
                <a:off x="4362" y="2770"/>
                <a:ext cx="466" cy="605"/>
              </a:xfrm>
              <a:custGeom>
                <a:avLst/>
                <a:gdLst>
                  <a:gd name="T0" fmla="*/ 180 w 197"/>
                  <a:gd name="T1" fmla="*/ 4 h 256"/>
                  <a:gd name="T2" fmla="*/ 123 w 197"/>
                  <a:gd name="T3" fmla="*/ 16 h 256"/>
                  <a:gd name="T4" fmla="*/ 102 w 197"/>
                  <a:gd name="T5" fmla="*/ 25 h 256"/>
                  <a:gd name="T6" fmla="*/ 93 w 197"/>
                  <a:gd name="T7" fmla="*/ 23 h 256"/>
                  <a:gd name="T8" fmla="*/ 67 w 197"/>
                  <a:gd name="T9" fmla="*/ 31 h 256"/>
                  <a:gd name="T10" fmla="*/ 49 w 197"/>
                  <a:gd name="T11" fmla="*/ 19 h 256"/>
                  <a:gd name="T12" fmla="*/ 40 w 197"/>
                  <a:gd name="T13" fmla="*/ 18 h 256"/>
                  <a:gd name="T14" fmla="*/ 35 w 197"/>
                  <a:gd name="T15" fmla="*/ 24 h 256"/>
                  <a:gd name="T16" fmla="*/ 33 w 197"/>
                  <a:gd name="T17" fmla="*/ 27 h 256"/>
                  <a:gd name="T18" fmla="*/ 41 w 197"/>
                  <a:gd name="T19" fmla="*/ 39 h 256"/>
                  <a:gd name="T20" fmla="*/ 47 w 197"/>
                  <a:gd name="T21" fmla="*/ 48 h 256"/>
                  <a:gd name="T22" fmla="*/ 57 w 197"/>
                  <a:gd name="T23" fmla="*/ 55 h 256"/>
                  <a:gd name="T24" fmla="*/ 69 w 197"/>
                  <a:gd name="T25" fmla="*/ 59 h 256"/>
                  <a:gd name="T26" fmla="*/ 113 w 197"/>
                  <a:gd name="T27" fmla="*/ 75 h 256"/>
                  <a:gd name="T28" fmla="*/ 119 w 197"/>
                  <a:gd name="T29" fmla="*/ 75 h 256"/>
                  <a:gd name="T30" fmla="*/ 126 w 197"/>
                  <a:gd name="T31" fmla="*/ 75 h 256"/>
                  <a:gd name="T32" fmla="*/ 134 w 197"/>
                  <a:gd name="T33" fmla="*/ 79 h 256"/>
                  <a:gd name="T34" fmla="*/ 86 w 197"/>
                  <a:gd name="T35" fmla="*/ 127 h 256"/>
                  <a:gd name="T36" fmla="*/ 82 w 197"/>
                  <a:gd name="T37" fmla="*/ 131 h 256"/>
                  <a:gd name="T38" fmla="*/ 75 w 197"/>
                  <a:gd name="T39" fmla="*/ 137 h 256"/>
                  <a:gd name="T40" fmla="*/ 72 w 197"/>
                  <a:gd name="T41" fmla="*/ 138 h 256"/>
                  <a:gd name="T42" fmla="*/ 67 w 197"/>
                  <a:gd name="T43" fmla="*/ 138 h 256"/>
                  <a:gd name="T44" fmla="*/ 65 w 197"/>
                  <a:gd name="T45" fmla="*/ 138 h 256"/>
                  <a:gd name="T46" fmla="*/ 59 w 197"/>
                  <a:gd name="T47" fmla="*/ 138 h 256"/>
                  <a:gd name="T48" fmla="*/ 55 w 197"/>
                  <a:gd name="T49" fmla="*/ 138 h 256"/>
                  <a:gd name="T50" fmla="*/ 34 w 197"/>
                  <a:gd name="T51" fmla="*/ 149 h 256"/>
                  <a:gd name="T52" fmla="*/ 26 w 197"/>
                  <a:gd name="T53" fmla="*/ 151 h 256"/>
                  <a:gd name="T54" fmla="*/ 18 w 197"/>
                  <a:gd name="T55" fmla="*/ 155 h 256"/>
                  <a:gd name="T56" fmla="*/ 5 w 197"/>
                  <a:gd name="T57" fmla="*/ 171 h 256"/>
                  <a:gd name="T58" fmla="*/ 1 w 197"/>
                  <a:gd name="T59" fmla="*/ 176 h 256"/>
                  <a:gd name="T60" fmla="*/ 1 w 197"/>
                  <a:gd name="T61" fmla="*/ 181 h 256"/>
                  <a:gd name="T62" fmla="*/ 1 w 197"/>
                  <a:gd name="T63" fmla="*/ 210 h 256"/>
                  <a:gd name="T64" fmla="*/ 1 w 197"/>
                  <a:gd name="T65" fmla="*/ 237 h 256"/>
                  <a:gd name="T66" fmla="*/ 6 w 197"/>
                  <a:gd name="T67" fmla="*/ 253 h 256"/>
                  <a:gd name="T68" fmla="*/ 12 w 197"/>
                  <a:gd name="T69" fmla="*/ 256 h 256"/>
                  <a:gd name="T70" fmla="*/ 51 w 197"/>
                  <a:gd name="T71" fmla="*/ 213 h 256"/>
                  <a:gd name="T72" fmla="*/ 104 w 197"/>
                  <a:gd name="T73" fmla="*/ 173 h 256"/>
                  <a:gd name="T74" fmla="*/ 159 w 197"/>
                  <a:gd name="T75" fmla="*/ 97 h 256"/>
                  <a:gd name="T76" fmla="*/ 181 w 197"/>
                  <a:gd name="T77" fmla="*/ 58 h 256"/>
                  <a:gd name="T78" fmla="*/ 190 w 197"/>
                  <a:gd name="T79" fmla="*/ 31 h 256"/>
                  <a:gd name="T80" fmla="*/ 191 w 197"/>
                  <a:gd name="T81" fmla="*/ 29 h 256"/>
                  <a:gd name="T82" fmla="*/ 191 w 197"/>
                  <a:gd name="T83" fmla="*/ 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7" h="256">
                    <a:moveTo>
                      <a:pt x="185" y="0"/>
                    </a:moveTo>
                    <a:cubicBezTo>
                      <a:pt x="184" y="0"/>
                      <a:pt x="182" y="1"/>
                      <a:pt x="181" y="2"/>
                    </a:cubicBezTo>
                    <a:cubicBezTo>
                      <a:pt x="181" y="2"/>
                      <a:pt x="181" y="3"/>
                      <a:pt x="180" y="4"/>
                    </a:cubicBezTo>
                    <a:cubicBezTo>
                      <a:pt x="178" y="7"/>
                      <a:pt x="171" y="8"/>
                      <a:pt x="167" y="9"/>
                    </a:cubicBezTo>
                    <a:cubicBezTo>
                      <a:pt x="161" y="11"/>
                      <a:pt x="155" y="13"/>
                      <a:pt x="149" y="15"/>
                    </a:cubicBezTo>
                    <a:cubicBezTo>
                      <a:pt x="140" y="15"/>
                      <a:pt x="132" y="15"/>
                      <a:pt x="123" y="16"/>
                    </a:cubicBezTo>
                    <a:cubicBezTo>
                      <a:pt x="120" y="16"/>
                      <a:pt x="118" y="17"/>
                      <a:pt x="116" y="19"/>
                    </a:cubicBezTo>
                    <a:cubicBezTo>
                      <a:pt x="114" y="19"/>
                      <a:pt x="113" y="20"/>
                      <a:pt x="112" y="21"/>
                    </a:cubicBezTo>
                    <a:cubicBezTo>
                      <a:pt x="109" y="22"/>
                      <a:pt x="105" y="25"/>
                      <a:pt x="102" y="25"/>
                    </a:cubicBezTo>
                    <a:cubicBezTo>
                      <a:pt x="101" y="25"/>
                      <a:pt x="101" y="25"/>
                      <a:pt x="101" y="25"/>
                    </a:cubicBezTo>
                    <a:cubicBezTo>
                      <a:pt x="100" y="25"/>
                      <a:pt x="99" y="24"/>
                      <a:pt x="98" y="24"/>
                    </a:cubicBezTo>
                    <a:cubicBezTo>
                      <a:pt x="97" y="23"/>
                      <a:pt x="94" y="23"/>
                      <a:pt x="93" y="23"/>
                    </a:cubicBezTo>
                    <a:cubicBezTo>
                      <a:pt x="92" y="23"/>
                      <a:pt x="92" y="23"/>
                      <a:pt x="91" y="23"/>
                    </a:cubicBezTo>
                    <a:cubicBezTo>
                      <a:pt x="86" y="25"/>
                      <a:pt x="81" y="28"/>
                      <a:pt x="75" y="30"/>
                    </a:cubicBezTo>
                    <a:cubicBezTo>
                      <a:pt x="73" y="31"/>
                      <a:pt x="69" y="30"/>
                      <a:pt x="67" y="31"/>
                    </a:cubicBezTo>
                    <a:cubicBezTo>
                      <a:pt x="66" y="31"/>
                      <a:pt x="66" y="31"/>
                      <a:pt x="66" y="31"/>
                    </a:cubicBezTo>
                    <a:cubicBezTo>
                      <a:pt x="63" y="31"/>
                      <a:pt x="61" y="30"/>
                      <a:pt x="59" y="28"/>
                    </a:cubicBezTo>
                    <a:cubicBezTo>
                      <a:pt x="56" y="25"/>
                      <a:pt x="52" y="23"/>
                      <a:pt x="49" y="19"/>
                    </a:cubicBezTo>
                    <a:cubicBezTo>
                      <a:pt x="48" y="18"/>
                      <a:pt x="48" y="17"/>
                      <a:pt x="47" y="16"/>
                    </a:cubicBezTo>
                    <a:cubicBezTo>
                      <a:pt x="46" y="14"/>
                      <a:pt x="45" y="13"/>
                      <a:pt x="43" y="12"/>
                    </a:cubicBezTo>
                    <a:cubicBezTo>
                      <a:pt x="43" y="13"/>
                      <a:pt x="41" y="16"/>
                      <a:pt x="40" y="18"/>
                    </a:cubicBezTo>
                    <a:cubicBezTo>
                      <a:pt x="40" y="18"/>
                      <a:pt x="40" y="18"/>
                      <a:pt x="40" y="18"/>
                    </a:cubicBezTo>
                    <a:cubicBezTo>
                      <a:pt x="37" y="21"/>
                      <a:pt x="37" y="21"/>
                      <a:pt x="37" y="21"/>
                    </a:cubicBezTo>
                    <a:cubicBezTo>
                      <a:pt x="37" y="22"/>
                      <a:pt x="36" y="23"/>
                      <a:pt x="35" y="24"/>
                    </a:cubicBezTo>
                    <a:cubicBezTo>
                      <a:pt x="35" y="25"/>
                      <a:pt x="35" y="25"/>
                      <a:pt x="33" y="26"/>
                    </a:cubicBezTo>
                    <a:cubicBezTo>
                      <a:pt x="33" y="27"/>
                      <a:pt x="33" y="27"/>
                      <a:pt x="33" y="27"/>
                    </a:cubicBezTo>
                    <a:cubicBezTo>
                      <a:pt x="33" y="27"/>
                      <a:pt x="33" y="27"/>
                      <a:pt x="33" y="27"/>
                    </a:cubicBezTo>
                    <a:cubicBezTo>
                      <a:pt x="33" y="27"/>
                      <a:pt x="34" y="28"/>
                      <a:pt x="35" y="29"/>
                    </a:cubicBezTo>
                    <a:cubicBezTo>
                      <a:pt x="35" y="29"/>
                      <a:pt x="35" y="30"/>
                      <a:pt x="36" y="30"/>
                    </a:cubicBezTo>
                    <a:cubicBezTo>
                      <a:pt x="37" y="33"/>
                      <a:pt x="39" y="36"/>
                      <a:pt x="41" y="39"/>
                    </a:cubicBezTo>
                    <a:cubicBezTo>
                      <a:pt x="42" y="40"/>
                      <a:pt x="42" y="40"/>
                      <a:pt x="42" y="40"/>
                    </a:cubicBezTo>
                    <a:cubicBezTo>
                      <a:pt x="42" y="41"/>
                      <a:pt x="43" y="42"/>
                      <a:pt x="43" y="43"/>
                    </a:cubicBezTo>
                    <a:cubicBezTo>
                      <a:pt x="44" y="45"/>
                      <a:pt x="46" y="47"/>
                      <a:pt x="47" y="48"/>
                    </a:cubicBezTo>
                    <a:cubicBezTo>
                      <a:pt x="48" y="50"/>
                      <a:pt x="51" y="51"/>
                      <a:pt x="53" y="52"/>
                    </a:cubicBezTo>
                    <a:cubicBezTo>
                      <a:pt x="56" y="54"/>
                      <a:pt x="56" y="54"/>
                      <a:pt x="56" y="54"/>
                    </a:cubicBezTo>
                    <a:cubicBezTo>
                      <a:pt x="57" y="55"/>
                      <a:pt x="57" y="55"/>
                      <a:pt x="57" y="55"/>
                    </a:cubicBezTo>
                    <a:cubicBezTo>
                      <a:pt x="59" y="57"/>
                      <a:pt x="62" y="57"/>
                      <a:pt x="65" y="58"/>
                    </a:cubicBezTo>
                    <a:cubicBezTo>
                      <a:pt x="66" y="59"/>
                      <a:pt x="68" y="59"/>
                      <a:pt x="69" y="59"/>
                    </a:cubicBezTo>
                    <a:cubicBezTo>
                      <a:pt x="69" y="59"/>
                      <a:pt x="69" y="59"/>
                      <a:pt x="69" y="59"/>
                    </a:cubicBezTo>
                    <a:cubicBezTo>
                      <a:pt x="103" y="71"/>
                      <a:pt x="103" y="71"/>
                      <a:pt x="103" y="71"/>
                    </a:cubicBezTo>
                    <a:cubicBezTo>
                      <a:pt x="104" y="72"/>
                      <a:pt x="105" y="72"/>
                      <a:pt x="107" y="72"/>
                    </a:cubicBezTo>
                    <a:cubicBezTo>
                      <a:pt x="109" y="73"/>
                      <a:pt x="111" y="75"/>
                      <a:pt x="113" y="75"/>
                    </a:cubicBezTo>
                    <a:cubicBezTo>
                      <a:pt x="115" y="75"/>
                      <a:pt x="115" y="75"/>
                      <a:pt x="117" y="75"/>
                    </a:cubicBezTo>
                    <a:cubicBezTo>
                      <a:pt x="117" y="75"/>
                      <a:pt x="118" y="75"/>
                      <a:pt x="119" y="75"/>
                    </a:cubicBezTo>
                    <a:cubicBezTo>
                      <a:pt x="119" y="75"/>
                      <a:pt x="119" y="75"/>
                      <a:pt x="119" y="75"/>
                    </a:cubicBezTo>
                    <a:cubicBezTo>
                      <a:pt x="120" y="75"/>
                      <a:pt x="120" y="75"/>
                      <a:pt x="121" y="75"/>
                    </a:cubicBezTo>
                    <a:cubicBezTo>
                      <a:pt x="122" y="75"/>
                      <a:pt x="124" y="75"/>
                      <a:pt x="125" y="75"/>
                    </a:cubicBezTo>
                    <a:cubicBezTo>
                      <a:pt x="126" y="75"/>
                      <a:pt x="126" y="75"/>
                      <a:pt x="126" y="75"/>
                    </a:cubicBezTo>
                    <a:cubicBezTo>
                      <a:pt x="128" y="75"/>
                      <a:pt x="130" y="75"/>
                      <a:pt x="132" y="75"/>
                    </a:cubicBezTo>
                    <a:cubicBezTo>
                      <a:pt x="138" y="75"/>
                      <a:pt x="138" y="75"/>
                      <a:pt x="138" y="75"/>
                    </a:cubicBezTo>
                    <a:cubicBezTo>
                      <a:pt x="134" y="79"/>
                      <a:pt x="134" y="79"/>
                      <a:pt x="134" y="79"/>
                    </a:cubicBezTo>
                    <a:cubicBezTo>
                      <a:pt x="130" y="83"/>
                      <a:pt x="125" y="86"/>
                      <a:pt x="121" y="90"/>
                    </a:cubicBezTo>
                    <a:cubicBezTo>
                      <a:pt x="111" y="100"/>
                      <a:pt x="101" y="111"/>
                      <a:pt x="89" y="123"/>
                    </a:cubicBezTo>
                    <a:cubicBezTo>
                      <a:pt x="86" y="127"/>
                      <a:pt x="86" y="127"/>
                      <a:pt x="86" y="127"/>
                    </a:cubicBezTo>
                    <a:cubicBezTo>
                      <a:pt x="85" y="127"/>
                      <a:pt x="85" y="127"/>
                      <a:pt x="85" y="127"/>
                    </a:cubicBezTo>
                    <a:cubicBezTo>
                      <a:pt x="84" y="129"/>
                      <a:pt x="84" y="129"/>
                      <a:pt x="84" y="129"/>
                    </a:cubicBezTo>
                    <a:cubicBezTo>
                      <a:pt x="83" y="130"/>
                      <a:pt x="82" y="131"/>
                      <a:pt x="82" y="131"/>
                    </a:cubicBezTo>
                    <a:cubicBezTo>
                      <a:pt x="80" y="133"/>
                      <a:pt x="80" y="133"/>
                      <a:pt x="80" y="133"/>
                    </a:cubicBezTo>
                    <a:cubicBezTo>
                      <a:pt x="79" y="134"/>
                      <a:pt x="79" y="135"/>
                      <a:pt x="78" y="136"/>
                    </a:cubicBezTo>
                    <a:cubicBezTo>
                      <a:pt x="77" y="136"/>
                      <a:pt x="76" y="137"/>
                      <a:pt x="75" y="137"/>
                    </a:cubicBezTo>
                    <a:cubicBezTo>
                      <a:pt x="74" y="138"/>
                      <a:pt x="74" y="138"/>
                      <a:pt x="74" y="138"/>
                    </a:cubicBezTo>
                    <a:cubicBezTo>
                      <a:pt x="74" y="138"/>
                      <a:pt x="73" y="138"/>
                      <a:pt x="73" y="138"/>
                    </a:cubicBezTo>
                    <a:cubicBezTo>
                      <a:pt x="72" y="138"/>
                      <a:pt x="72" y="138"/>
                      <a:pt x="72" y="138"/>
                    </a:cubicBezTo>
                    <a:cubicBezTo>
                      <a:pt x="72" y="138"/>
                      <a:pt x="71" y="138"/>
                      <a:pt x="71" y="138"/>
                    </a:cubicBezTo>
                    <a:cubicBezTo>
                      <a:pt x="71" y="138"/>
                      <a:pt x="70" y="138"/>
                      <a:pt x="70" y="138"/>
                    </a:cubicBezTo>
                    <a:cubicBezTo>
                      <a:pt x="69" y="138"/>
                      <a:pt x="68" y="138"/>
                      <a:pt x="67" y="138"/>
                    </a:cubicBezTo>
                    <a:cubicBezTo>
                      <a:pt x="67" y="138"/>
                      <a:pt x="67" y="138"/>
                      <a:pt x="67" y="138"/>
                    </a:cubicBezTo>
                    <a:cubicBezTo>
                      <a:pt x="66" y="138"/>
                      <a:pt x="66" y="138"/>
                      <a:pt x="65" y="138"/>
                    </a:cubicBezTo>
                    <a:cubicBezTo>
                      <a:pt x="65" y="138"/>
                      <a:pt x="65" y="138"/>
                      <a:pt x="65" y="138"/>
                    </a:cubicBezTo>
                    <a:cubicBezTo>
                      <a:pt x="64" y="138"/>
                      <a:pt x="63" y="138"/>
                      <a:pt x="61" y="138"/>
                    </a:cubicBezTo>
                    <a:cubicBezTo>
                      <a:pt x="60" y="138"/>
                      <a:pt x="60" y="138"/>
                      <a:pt x="60" y="138"/>
                    </a:cubicBezTo>
                    <a:cubicBezTo>
                      <a:pt x="60" y="138"/>
                      <a:pt x="59" y="138"/>
                      <a:pt x="59" y="138"/>
                    </a:cubicBezTo>
                    <a:cubicBezTo>
                      <a:pt x="58" y="138"/>
                      <a:pt x="58" y="138"/>
                      <a:pt x="58" y="138"/>
                    </a:cubicBezTo>
                    <a:cubicBezTo>
                      <a:pt x="57" y="138"/>
                      <a:pt x="57" y="138"/>
                      <a:pt x="57" y="138"/>
                    </a:cubicBezTo>
                    <a:cubicBezTo>
                      <a:pt x="57" y="138"/>
                      <a:pt x="56" y="138"/>
                      <a:pt x="55" y="138"/>
                    </a:cubicBezTo>
                    <a:cubicBezTo>
                      <a:pt x="54" y="138"/>
                      <a:pt x="53" y="138"/>
                      <a:pt x="52" y="139"/>
                    </a:cubicBezTo>
                    <a:cubicBezTo>
                      <a:pt x="47" y="140"/>
                      <a:pt x="43" y="143"/>
                      <a:pt x="39" y="146"/>
                    </a:cubicBezTo>
                    <a:cubicBezTo>
                      <a:pt x="37" y="147"/>
                      <a:pt x="36" y="148"/>
                      <a:pt x="34" y="149"/>
                    </a:cubicBezTo>
                    <a:cubicBezTo>
                      <a:pt x="32" y="150"/>
                      <a:pt x="31" y="151"/>
                      <a:pt x="29" y="151"/>
                    </a:cubicBezTo>
                    <a:cubicBezTo>
                      <a:pt x="28" y="151"/>
                      <a:pt x="27" y="151"/>
                      <a:pt x="26" y="151"/>
                    </a:cubicBezTo>
                    <a:cubicBezTo>
                      <a:pt x="26" y="151"/>
                      <a:pt x="26" y="151"/>
                      <a:pt x="26" y="151"/>
                    </a:cubicBezTo>
                    <a:cubicBezTo>
                      <a:pt x="24" y="151"/>
                      <a:pt x="22" y="151"/>
                      <a:pt x="21" y="152"/>
                    </a:cubicBezTo>
                    <a:cubicBezTo>
                      <a:pt x="21" y="152"/>
                      <a:pt x="20" y="153"/>
                      <a:pt x="20" y="153"/>
                    </a:cubicBezTo>
                    <a:cubicBezTo>
                      <a:pt x="19" y="154"/>
                      <a:pt x="19" y="155"/>
                      <a:pt x="18" y="155"/>
                    </a:cubicBezTo>
                    <a:cubicBezTo>
                      <a:pt x="18" y="156"/>
                      <a:pt x="18" y="156"/>
                      <a:pt x="18" y="156"/>
                    </a:cubicBezTo>
                    <a:cubicBezTo>
                      <a:pt x="16" y="158"/>
                      <a:pt x="7" y="169"/>
                      <a:pt x="7" y="169"/>
                    </a:cubicBezTo>
                    <a:cubicBezTo>
                      <a:pt x="5" y="171"/>
                      <a:pt x="5" y="171"/>
                      <a:pt x="5" y="171"/>
                    </a:cubicBezTo>
                    <a:cubicBezTo>
                      <a:pt x="5" y="171"/>
                      <a:pt x="5" y="171"/>
                      <a:pt x="5" y="171"/>
                    </a:cubicBezTo>
                    <a:cubicBezTo>
                      <a:pt x="3" y="173"/>
                      <a:pt x="3" y="173"/>
                      <a:pt x="3" y="173"/>
                    </a:cubicBezTo>
                    <a:cubicBezTo>
                      <a:pt x="3" y="174"/>
                      <a:pt x="2" y="175"/>
                      <a:pt x="1" y="176"/>
                    </a:cubicBezTo>
                    <a:cubicBezTo>
                      <a:pt x="1" y="177"/>
                      <a:pt x="1" y="177"/>
                      <a:pt x="1" y="177"/>
                    </a:cubicBezTo>
                    <a:cubicBezTo>
                      <a:pt x="0" y="178"/>
                      <a:pt x="1" y="179"/>
                      <a:pt x="1" y="180"/>
                    </a:cubicBezTo>
                    <a:cubicBezTo>
                      <a:pt x="1" y="181"/>
                      <a:pt x="1" y="181"/>
                      <a:pt x="1" y="181"/>
                    </a:cubicBezTo>
                    <a:cubicBezTo>
                      <a:pt x="1" y="181"/>
                      <a:pt x="1" y="182"/>
                      <a:pt x="1" y="182"/>
                    </a:cubicBezTo>
                    <a:cubicBezTo>
                      <a:pt x="1" y="191"/>
                      <a:pt x="1" y="191"/>
                      <a:pt x="1" y="191"/>
                    </a:cubicBezTo>
                    <a:cubicBezTo>
                      <a:pt x="1" y="197"/>
                      <a:pt x="1" y="203"/>
                      <a:pt x="1" y="210"/>
                    </a:cubicBezTo>
                    <a:cubicBezTo>
                      <a:pt x="1" y="212"/>
                      <a:pt x="1" y="212"/>
                      <a:pt x="1" y="212"/>
                    </a:cubicBezTo>
                    <a:cubicBezTo>
                      <a:pt x="1" y="219"/>
                      <a:pt x="1" y="226"/>
                      <a:pt x="1" y="233"/>
                    </a:cubicBezTo>
                    <a:cubicBezTo>
                      <a:pt x="1" y="234"/>
                      <a:pt x="1" y="236"/>
                      <a:pt x="1" y="237"/>
                    </a:cubicBezTo>
                    <a:cubicBezTo>
                      <a:pt x="1" y="240"/>
                      <a:pt x="0" y="244"/>
                      <a:pt x="1" y="246"/>
                    </a:cubicBezTo>
                    <a:cubicBezTo>
                      <a:pt x="1" y="246"/>
                      <a:pt x="2" y="247"/>
                      <a:pt x="2" y="248"/>
                    </a:cubicBezTo>
                    <a:cubicBezTo>
                      <a:pt x="4" y="250"/>
                      <a:pt x="5" y="251"/>
                      <a:pt x="6" y="253"/>
                    </a:cubicBezTo>
                    <a:cubicBezTo>
                      <a:pt x="6" y="253"/>
                      <a:pt x="6" y="253"/>
                      <a:pt x="6" y="253"/>
                    </a:cubicBezTo>
                    <a:cubicBezTo>
                      <a:pt x="7" y="254"/>
                      <a:pt x="8" y="255"/>
                      <a:pt x="8" y="256"/>
                    </a:cubicBezTo>
                    <a:cubicBezTo>
                      <a:pt x="12" y="256"/>
                      <a:pt x="12" y="256"/>
                      <a:pt x="12" y="256"/>
                    </a:cubicBezTo>
                    <a:cubicBezTo>
                      <a:pt x="14" y="253"/>
                      <a:pt x="15" y="250"/>
                      <a:pt x="17" y="247"/>
                    </a:cubicBezTo>
                    <a:cubicBezTo>
                      <a:pt x="17" y="248"/>
                      <a:pt x="17" y="248"/>
                      <a:pt x="17" y="248"/>
                    </a:cubicBezTo>
                    <a:cubicBezTo>
                      <a:pt x="29" y="238"/>
                      <a:pt x="39" y="223"/>
                      <a:pt x="51" y="213"/>
                    </a:cubicBezTo>
                    <a:cubicBezTo>
                      <a:pt x="57" y="209"/>
                      <a:pt x="63" y="204"/>
                      <a:pt x="69" y="200"/>
                    </a:cubicBezTo>
                    <a:cubicBezTo>
                      <a:pt x="72" y="197"/>
                      <a:pt x="75" y="195"/>
                      <a:pt x="78" y="193"/>
                    </a:cubicBezTo>
                    <a:cubicBezTo>
                      <a:pt x="88" y="187"/>
                      <a:pt x="95" y="180"/>
                      <a:pt x="104" y="173"/>
                    </a:cubicBezTo>
                    <a:cubicBezTo>
                      <a:pt x="112" y="165"/>
                      <a:pt x="120" y="157"/>
                      <a:pt x="128" y="148"/>
                    </a:cubicBezTo>
                    <a:cubicBezTo>
                      <a:pt x="136" y="140"/>
                      <a:pt x="141" y="129"/>
                      <a:pt x="148" y="120"/>
                    </a:cubicBezTo>
                    <a:cubicBezTo>
                      <a:pt x="152" y="113"/>
                      <a:pt x="156" y="105"/>
                      <a:pt x="159" y="97"/>
                    </a:cubicBezTo>
                    <a:cubicBezTo>
                      <a:pt x="162" y="92"/>
                      <a:pt x="164" y="87"/>
                      <a:pt x="166" y="82"/>
                    </a:cubicBezTo>
                    <a:cubicBezTo>
                      <a:pt x="167" y="78"/>
                      <a:pt x="169" y="76"/>
                      <a:pt x="172" y="72"/>
                    </a:cubicBezTo>
                    <a:cubicBezTo>
                      <a:pt x="176" y="68"/>
                      <a:pt x="178" y="62"/>
                      <a:pt x="181" y="58"/>
                    </a:cubicBezTo>
                    <a:cubicBezTo>
                      <a:pt x="183" y="55"/>
                      <a:pt x="186" y="51"/>
                      <a:pt x="186" y="48"/>
                    </a:cubicBezTo>
                    <a:cubicBezTo>
                      <a:pt x="186" y="46"/>
                      <a:pt x="186" y="43"/>
                      <a:pt x="187" y="40"/>
                    </a:cubicBezTo>
                    <a:cubicBezTo>
                      <a:pt x="188" y="37"/>
                      <a:pt x="186" y="33"/>
                      <a:pt x="190" y="31"/>
                    </a:cubicBezTo>
                    <a:cubicBezTo>
                      <a:pt x="192" y="30"/>
                      <a:pt x="195" y="31"/>
                      <a:pt x="197" y="30"/>
                    </a:cubicBezTo>
                    <a:cubicBezTo>
                      <a:pt x="196" y="29"/>
                      <a:pt x="194" y="28"/>
                      <a:pt x="193" y="28"/>
                    </a:cubicBezTo>
                    <a:cubicBezTo>
                      <a:pt x="192" y="28"/>
                      <a:pt x="192" y="29"/>
                      <a:pt x="191" y="29"/>
                    </a:cubicBezTo>
                    <a:cubicBezTo>
                      <a:pt x="191" y="28"/>
                      <a:pt x="192" y="28"/>
                      <a:pt x="192" y="27"/>
                    </a:cubicBezTo>
                    <a:cubicBezTo>
                      <a:pt x="192" y="27"/>
                      <a:pt x="192" y="26"/>
                      <a:pt x="192" y="25"/>
                    </a:cubicBezTo>
                    <a:cubicBezTo>
                      <a:pt x="191" y="22"/>
                      <a:pt x="191" y="18"/>
                      <a:pt x="191" y="15"/>
                    </a:cubicBezTo>
                    <a:cubicBezTo>
                      <a:pt x="191" y="11"/>
                      <a:pt x="193" y="7"/>
                      <a:pt x="194" y="3"/>
                    </a:cubicBezTo>
                    <a:cubicBezTo>
                      <a:pt x="192" y="2"/>
                      <a:pt x="188" y="0"/>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 name="Freeform 383">
                <a:extLst>
                  <a:ext uri="{FF2B5EF4-FFF2-40B4-BE49-F238E27FC236}">
                    <a16:creationId xmlns:a16="http://schemas.microsoft.com/office/drawing/2014/main" id="{1CE3E47C-8E13-4E00-8A43-109BFAE6C1F0}"/>
                  </a:ext>
                </a:extLst>
              </p:cNvPr>
              <p:cNvSpPr>
                <a:spLocks/>
              </p:cNvSpPr>
              <p:nvPr/>
            </p:nvSpPr>
            <p:spPr bwMode="auto">
              <a:xfrm>
                <a:off x="3849" y="3132"/>
                <a:ext cx="234" cy="241"/>
              </a:xfrm>
              <a:custGeom>
                <a:avLst/>
                <a:gdLst>
                  <a:gd name="T0" fmla="*/ 72 w 99"/>
                  <a:gd name="T1" fmla="*/ 7 h 102"/>
                  <a:gd name="T2" fmla="*/ 63 w 99"/>
                  <a:gd name="T3" fmla="*/ 5 h 102"/>
                  <a:gd name="T4" fmla="*/ 53 w 99"/>
                  <a:gd name="T5" fmla="*/ 8 h 102"/>
                  <a:gd name="T6" fmla="*/ 50 w 99"/>
                  <a:gd name="T7" fmla="*/ 11 h 102"/>
                  <a:gd name="T8" fmla="*/ 45 w 99"/>
                  <a:gd name="T9" fmla="*/ 11 h 102"/>
                  <a:gd name="T10" fmla="*/ 44 w 99"/>
                  <a:gd name="T11" fmla="*/ 10 h 102"/>
                  <a:gd name="T12" fmla="*/ 38 w 99"/>
                  <a:gd name="T13" fmla="*/ 8 h 102"/>
                  <a:gd name="T14" fmla="*/ 31 w 99"/>
                  <a:gd name="T15" fmla="*/ 8 h 102"/>
                  <a:gd name="T16" fmla="*/ 28 w 99"/>
                  <a:gd name="T17" fmla="*/ 7 h 102"/>
                  <a:gd name="T18" fmla="*/ 28 w 99"/>
                  <a:gd name="T19" fmla="*/ 8 h 102"/>
                  <a:gd name="T20" fmla="*/ 27 w 99"/>
                  <a:gd name="T21" fmla="*/ 9 h 102"/>
                  <a:gd name="T22" fmla="*/ 25 w 99"/>
                  <a:gd name="T23" fmla="*/ 11 h 102"/>
                  <a:gd name="T24" fmla="*/ 23 w 99"/>
                  <a:gd name="T25" fmla="*/ 18 h 102"/>
                  <a:gd name="T26" fmla="*/ 23 w 99"/>
                  <a:gd name="T27" fmla="*/ 26 h 102"/>
                  <a:gd name="T28" fmla="*/ 23 w 99"/>
                  <a:gd name="T29" fmla="*/ 29 h 102"/>
                  <a:gd name="T30" fmla="*/ 24 w 99"/>
                  <a:gd name="T31" fmla="*/ 29 h 102"/>
                  <a:gd name="T32" fmla="*/ 27 w 99"/>
                  <a:gd name="T33" fmla="*/ 31 h 102"/>
                  <a:gd name="T34" fmla="*/ 33 w 99"/>
                  <a:gd name="T35" fmla="*/ 37 h 102"/>
                  <a:gd name="T36" fmla="*/ 11 w 99"/>
                  <a:gd name="T37" fmla="*/ 60 h 102"/>
                  <a:gd name="T38" fmla="*/ 9 w 99"/>
                  <a:gd name="T39" fmla="*/ 61 h 102"/>
                  <a:gd name="T40" fmla="*/ 6 w 99"/>
                  <a:gd name="T41" fmla="*/ 72 h 102"/>
                  <a:gd name="T42" fmla="*/ 1 w 99"/>
                  <a:gd name="T43" fmla="*/ 89 h 102"/>
                  <a:gd name="T44" fmla="*/ 3 w 99"/>
                  <a:gd name="T45" fmla="*/ 100 h 102"/>
                  <a:gd name="T46" fmla="*/ 7 w 99"/>
                  <a:gd name="T47" fmla="*/ 101 h 102"/>
                  <a:gd name="T48" fmla="*/ 12 w 99"/>
                  <a:gd name="T49" fmla="*/ 96 h 102"/>
                  <a:gd name="T50" fmla="*/ 16 w 99"/>
                  <a:gd name="T51" fmla="*/ 94 h 102"/>
                  <a:gd name="T52" fmla="*/ 39 w 99"/>
                  <a:gd name="T53" fmla="*/ 90 h 102"/>
                  <a:gd name="T54" fmla="*/ 53 w 99"/>
                  <a:gd name="T55" fmla="*/ 76 h 102"/>
                  <a:gd name="T56" fmla="*/ 62 w 99"/>
                  <a:gd name="T57" fmla="*/ 75 h 102"/>
                  <a:gd name="T58" fmla="*/ 69 w 99"/>
                  <a:gd name="T59" fmla="*/ 68 h 102"/>
                  <a:gd name="T60" fmla="*/ 74 w 99"/>
                  <a:gd name="T61" fmla="*/ 73 h 102"/>
                  <a:gd name="T62" fmla="*/ 79 w 99"/>
                  <a:gd name="T63" fmla="*/ 74 h 102"/>
                  <a:gd name="T64" fmla="*/ 80 w 99"/>
                  <a:gd name="T65" fmla="*/ 72 h 102"/>
                  <a:gd name="T66" fmla="*/ 81 w 99"/>
                  <a:gd name="T67" fmla="*/ 70 h 102"/>
                  <a:gd name="T68" fmla="*/ 85 w 99"/>
                  <a:gd name="T69" fmla="*/ 62 h 102"/>
                  <a:gd name="T70" fmla="*/ 87 w 99"/>
                  <a:gd name="T71" fmla="*/ 60 h 102"/>
                  <a:gd name="T72" fmla="*/ 90 w 99"/>
                  <a:gd name="T73" fmla="*/ 55 h 102"/>
                  <a:gd name="T74" fmla="*/ 92 w 99"/>
                  <a:gd name="T75" fmla="*/ 54 h 102"/>
                  <a:gd name="T76" fmla="*/ 95 w 99"/>
                  <a:gd name="T77" fmla="*/ 52 h 102"/>
                  <a:gd name="T78" fmla="*/ 95 w 99"/>
                  <a:gd name="T79" fmla="*/ 50 h 102"/>
                  <a:gd name="T80" fmla="*/ 97 w 99"/>
                  <a:gd name="T81" fmla="*/ 46 h 102"/>
                  <a:gd name="T82" fmla="*/ 99 w 99"/>
                  <a:gd name="T83" fmla="*/ 39 h 102"/>
                  <a:gd name="T84" fmla="*/ 95 w 99"/>
                  <a:gd name="T85" fmla="*/ 25 h 102"/>
                  <a:gd name="T86" fmla="*/ 90 w 99"/>
                  <a:gd name="T87" fmla="*/ 17 h 102"/>
                  <a:gd name="T88" fmla="*/ 87 w 99"/>
                  <a:gd name="T89" fmla="*/ 8 h 102"/>
                  <a:gd name="T90" fmla="*/ 83 w 99"/>
                  <a:gd name="T91" fmla="*/ 4 h 102"/>
                  <a:gd name="T92" fmla="*/ 81 w 99"/>
                  <a:gd name="T9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9" h="102">
                    <a:moveTo>
                      <a:pt x="81" y="0"/>
                    </a:moveTo>
                    <a:cubicBezTo>
                      <a:pt x="77" y="5"/>
                      <a:pt x="77" y="5"/>
                      <a:pt x="77" y="5"/>
                    </a:cubicBezTo>
                    <a:cubicBezTo>
                      <a:pt x="75" y="7"/>
                      <a:pt x="74" y="7"/>
                      <a:pt x="72" y="7"/>
                    </a:cubicBezTo>
                    <a:cubicBezTo>
                      <a:pt x="71" y="7"/>
                      <a:pt x="70" y="7"/>
                      <a:pt x="69" y="7"/>
                    </a:cubicBezTo>
                    <a:cubicBezTo>
                      <a:pt x="68" y="7"/>
                      <a:pt x="66" y="7"/>
                      <a:pt x="65" y="6"/>
                    </a:cubicBezTo>
                    <a:cubicBezTo>
                      <a:pt x="63" y="5"/>
                      <a:pt x="63" y="5"/>
                      <a:pt x="63" y="5"/>
                    </a:cubicBezTo>
                    <a:cubicBezTo>
                      <a:pt x="63" y="5"/>
                      <a:pt x="63" y="5"/>
                      <a:pt x="63" y="5"/>
                    </a:cubicBezTo>
                    <a:cubicBezTo>
                      <a:pt x="62" y="5"/>
                      <a:pt x="59" y="5"/>
                      <a:pt x="57" y="6"/>
                    </a:cubicBezTo>
                    <a:cubicBezTo>
                      <a:pt x="55" y="7"/>
                      <a:pt x="54" y="7"/>
                      <a:pt x="53" y="8"/>
                    </a:cubicBezTo>
                    <a:cubicBezTo>
                      <a:pt x="53" y="8"/>
                      <a:pt x="53" y="8"/>
                      <a:pt x="53" y="8"/>
                    </a:cubicBezTo>
                    <a:cubicBezTo>
                      <a:pt x="52" y="8"/>
                      <a:pt x="52" y="9"/>
                      <a:pt x="51" y="10"/>
                    </a:cubicBezTo>
                    <a:cubicBezTo>
                      <a:pt x="50" y="11"/>
                      <a:pt x="50" y="11"/>
                      <a:pt x="50" y="11"/>
                    </a:cubicBezTo>
                    <a:cubicBezTo>
                      <a:pt x="49" y="11"/>
                      <a:pt x="48" y="12"/>
                      <a:pt x="48" y="12"/>
                    </a:cubicBezTo>
                    <a:cubicBezTo>
                      <a:pt x="47" y="12"/>
                      <a:pt x="46" y="12"/>
                      <a:pt x="45" y="11"/>
                    </a:cubicBezTo>
                    <a:cubicBezTo>
                      <a:pt x="45" y="11"/>
                      <a:pt x="45" y="11"/>
                      <a:pt x="45" y="11"/>
                    </a:cubicBezTo>
                    <a:cubicBezTo>
                      <a:pt x="45" y="10"/>
                      <a:pt x="45" y="10"/>
                      <a:pt x="45" y="10"/>
                    </a:cubicBezTo>
                    <a:cubicBezTo>
                      <a:pt x="44" y="10"/>
                      <a:pt x="44" y="10"/>
                      <a:pt x="44" y="10"/>
                    </a:cubicBezTo>
                    <a:cubicBezTo>
                      <a:pt x="44" y="10"/>
                      <a:pt x="44" y="10"/>
                      <a:pt x="44" y="10"/>
                    </a:cubicBezTo>
                    <a:cubicBezTo>
                      <a:pt x="43" y="10"/>
                      <a:pt x="42" y="10"/>
                      <a:pt x="41" y="9"/>
                    </a:cubicBezTo>
                    <a:cubicBezTo>
                      <a:pt x="40" y="7"/>
                      <a:pt x="40" y="7"/>
                      <a:pt x="40" y="7"/>
                    </a:cubicBezTo>
                    <a:cubicBezTo>
                      <a:pt x="38" y="8"/>
                      <a:pt x="38" y="8"/>
                      <a:pt x="38" y="8"/>
                    </a:cubicBezTo>
                    <a:cubicBezTo>
                      <a:pt x="37" y="9"/>
                      <a:pt x="36" y="9"/>
                      <a:pt x="35" y="9"/>
                    </a:cubicBezTo>
                    <a:cubicBezTo>
                      <a:pt x="34" y="9"/>
                      <a:pt x="34" y="9"/>
                      <a:pt x="33" y="9"/>
                    </a:cubicBezTo>
                    <a:cubicBezTo>
                      <a:pt x="32" y="9"/>
                      <a:pt x="32" y="8"/>
                      <a:pt x="31" y="8"/>
                    </a:cubicBezTo>
                    <a:cubicBezTo>
                      <a:pt x="31" y="8"/>
                      <a:pt x="31" y="8"/>
                      <a:pt x="31" y="8"/>
                    </a:cubicBezTo>
                    <a:cubicBezTo>
                      <a:pt x="30" y="8"/>
                      <a:pt x="30" y="8"/>
                      <a:pt x="29" y="8"/>
                    </a:cubicBezTo>
                    <a:cubicBezTo>
                      <a:pt x="29" y="8"/>
                      <a:pt x="28" y="7"/>
                      <a:pt x="28" y="7"/>
                    </a:cubicBezTo>
                    <a:cubicBezTo>
                      <a:pt x="29" y="7"/>
                      <a:pt x="29" y="7"/>
                      <a:pt x="29" y="7"/>
                    </a:cubicBezTo>
                    <a:cubicBezTo>
                      <a:pt x="28" y="7"/>
                      <a:pt x="28" y="7"/>
                      <a:pt x="28" y="7"/>
                    </a:cubicBezTo>
                    <a:cubicBezTo>
                      <a:pt x="28" y="8"/>
                      <a:pt x="28" y="8"/>
                      <a:pt x="28" y="8"/>
                    </a:cubicBezTo>
                    <a:cubicBezTo>
                      <a:pt x="28" y="8"/>
                      <a:pt x="28" y="8"/>
                      <a:pt x="28" y="8"/>
                    </a:cubicBezTo>
                    <a:cubicBezTo>
                      <a:pt x="28" y="8"/>
                      <a:pt x="28" y="8"/>
                      <a:pt x="28" y="8"/>
                    </a:cubicBezTo>
                    <a:cubicBezTo>
                      <a:pt x="27" y="9"/>
                      <a:pt x="27" y="9"/>
                      <a:pt x="27" y="9"/>
                    </a:cubicBezTo>
                    <a:cubicBezTo>
                      <a:pt x="26" y="10"/>
                      <a:pt x="26" y="10"/>
                      <a:pt x="26" y="10"/>
                    </a:cubicBezTo>
                    <a:cubicBezTo>
                      <a:pt x="25" y="10"/>
                      <a:pt x="25" y="11"/>
                      <a:pt x="25" y="11"/>
                    </a:cubicBezTo>
                    <a:cubicBezTo>
                      <a:pt x="25" y="11"/>
                      <a:pt x="25" y="11"/>
                      <a:pt x="25" y="11"/>
                    </a:cubicBezTo>
                    <a:cubicBezTo>
                      <a:pt x="25" y="18"/>
                      <a:pt x="25" y="18"/>
                      <a:pt x="25" y="18"/>
                    </a:cubicBezTo>
                    <a:cubicBezTo>
                      <a:pt x="24" y="16"/>
                      <a:pt x="24" y="16"/>
                      <a:pt x="24" y="16"/>
                    </a:cubicBezTo>
                    <a:cubicBezTo>
                      <a:pt x="24" y="17"/>
                      <a:pt x="24" y="17"/>
                      <a:pt x="23" y="18"/>
                    </a:cubicBezTo>
                    <a:cubicBezTo>
                      <a:pt x="23" y="19"/>
                      <a:pt x="23" y="21"/>
                      <a:pt x="23" y="22"/>
                    </a:cubicBezTo>
                    <a:cubicBezTo>
                      <a:pt x="23" y="22"/>
                      <a:pt x="23" y="23"/>
                      <a:pt x="23" y="23"/>
                    </a:cubicBezTo>
                    <a:cubicBezTo>
                      <a:pt x="23" y="24"/>
                      <a:pt x="23" y="25"/>
                      <a:pt x="23" y="26"/>
                    </a:cubicBezTo>
                    <a:cubicBezTo>
                      <a:pt x="23" y="27"/>
                      <a:pt x="23" y="27"/>
                      <a:pt x="23" y="27"/>
                    </a:cubicBezTo>
                    <a:cubicBezTo>
                      <a:pt x="23" y="27"/>
                      <a:pt x="23" y="28"/>
                      <a:pt x="23" y="28"/>
                    </a:cubicBezTo>
                    <a:cubicBezTo>
                      <a:pt x="23" y="29"/>
                      <a:pt x="23" y="29"/>
                      <a:pt x="23" y="29"/>
                    </a:cubicBezTo>
                    <a:cubicBezTo>
                      <a:pt x="23" y="30"/>
                      <a:pt x="23" y="30"/>
                      <a:pt x="23" y="30"/>
                    </a:cubicBezTo>
                    <a:cubicBezTo>
                      <a:pt x="24" y="30"/>
                      <a:pt x="24" y="30"/>
                      <a:pt x="24" y="30"/>
                    </a:cubicBezTo>
                    <a:cubicBezTo>
                      <a:pt x="24" y="29"/>
                      <a:pt x="24" y="29"/>
                      <a:pt x="24" y="29"/>
                    </a:cubicBezTo>
                    <a:cubicBezTo>
                      <a:pt x="25" y="30"/>
                      <a:pt x="25" y="30"/>
                      <a:pt x="25" y="30"/>
                    </a:cubicBezTo>
                    <a:cubicBezTo>
                      <a:pt x="26" y="30"/>
                      <a:pt x="26" y="30"/>
                      <a:pt x="27" y="31"/>
                    </a:cubicBezTo>
                    <a:cubicBezTo>
                      <a:pt x="27" y="31"/>
                      <a:pt x="27" y="31"/>
                      <a:pt x="27" y="31"/>
                    </a:cubicBezTo>
                    <a:cubicBezTo>
                      <a:pt x="28" y="31"/>
                      <a:pt x="29" y="32"/>
                      <a:pt x="30" y="32"/>
                    </a:cubicBezTo>
                    <a:cubicBezTo>
                      <a:pt x="34" y="35"/>
                      <a:pt x="34" y="35"/>
                      <a:pt x="34" y="35"/>
                    </a:cubicBezTo>
                    <a:cubicBezTo>
                      <a:pt x="33" y="37"/>
                      <a:pt x="33" y="37"/>
                      <a:pt x="33" y="37"/>
                    </a:cubicBezTo>
                    <a:cubicBezTo>
                      <a:pt x="32" y="38"/>
                      <a:pt x="31" y="40"/>
                      <a:pt x="29" y="42"/>
                    </a:cubicBezTo>
                    <a:cubicBezTo>
                      <a:pt x="26" y="46"/>
                      <a:pt x="23" y="49"/>
                      <a:pt x="20" y="52"/>
                    </a:cubicBezTo>
                    <a:cubicBezTo>
                      <a:pt x="17" y="55"/>
                      <a:pt x="13" y="57"/>
                      <a:pt x="11" y="60"/>
                    </a:cubicBezTo>
                    <a:cubicBezTo>
                      <a:pt x="13" y="62"/>
                      <a:pt x="13" y="62"/>
                      <a:pt x="13" y="62"/>
                    </a:cubicBezTo>
                    <a:cubicBezTo>
                      <a:pt x="10" y="60"/>
                      <a:pt x="10" y="60"/>
                      <a:pt x="10" y="60"/>
                    </a:cubicBezTo>
                    <a:cubicBezTo>
                      <a:pt x="9" y="61"/>
                      <a:pt x="9" y="61"/>
                      <a:pt x="9" y="61"/>
                    </a:cubicBezTo>
                    <a:cubicBezTo>
                      <a:pt x="8" y="62"/>
                      <a:pt x="8" y="62"/>
                      <a:pt x="8" y="63"/>
                    </a:cubicBezTo>
                    <a:cubicBezTo>
                      <a:pt x="8" y="64"/>
                      <a:pt x="7" y="65"/>
                      <a:pt x="7" y="66"/>
                    </a:cubicBezTo>
                    <a:cubicBezTo>
                      <a:pt x="7" y="68"/>
                      <a:pt x="7" y="70"/>
                      <a:pt x="6" y="72"/>
                    </a:cubicBezTo>
                    <a:cubicBezTo>
                      <a:pt x="6" y="72"/>
                      <a:pt x="6" y="72"/>
                      <a:pt x="6" y="72"/>
                    </a:cubicBezTo>
                    <a:cubicBezTo>
                      <a:pt x="4" y="76"/>
                      <a:pt x="3" y="80"/>
                      <a:pt x="2" y="84"/>
                    </a:cubicBezTo>
                    <a:cubicBezTo>
                      <a:pt x="2" y="86"/>
                      <a:pt x="2" y="87"/>
                      <a:pt x="1" y="89"/>
                    </a:cubicBezTo>
                    <a:cubicBezTo>
                      <a:pt x="1" y="92"/>
                      <a:pt x="0" y="96"/>
                      <a:pt x="1" y="99"/>
                    </a:cubicBezTo>
                    <a:cubicBezTo>
                      <a:pt x="1" y="99"/>
                      <a:pt x="1" y="100"/>
                      <a:pt x="1" y="100"/>
                    </a:cubicBezTo>
                    <a:cubicBezTo>
                      <a:pt x="1" y="100"/>
                      <a:pt x="2" y="100"/>
                      <a:pt x="3" y="100"/>
                    </a:cubicBezTo>
                    <a:cubicBezTo>
                      <a:pt x="3" y="100"/>
                      <a:pt x="4" y="100"/>
                      <a:pt x="4" y="100"/>
                    </a:cubicBezTo>
                    <a:cubicBezTo>
                      <a:pt x="5" y="100"/>
                      <a:pt x="6" y="101"/>
                      <a:pt x="6" y="102"/>
                    </a:cubicBezTo>
                    <a:cubicBezTo>
                      <a:pt x="7" y="101"/>
                      <a:pt x="7" y="101"/>
                      <a:pt x="7" y="101"/>
                    </a:cubicBezTo>
                    <a:cubicBezTo>
                      <a:pt x="7" y="101"/>
                      <a:pt x="8" y="100"/>
                      <a:pt x="8" y="100"/>
                    </a:cubicBezTo>
                    <a:cubicBezTo>
                      <a:pt x="9" y="99"/>
                      <a:pt x="9" y="99"/>
                      <a:pt x="9" y="99"/>
                    </a:cubicBezTo>
                    <a:cubicBezTo>
                      <a:pt x="10" y="98"/>
                      <a:pt x="11" y="97"/>
                      <a:pt x="12" y="96"/>
                    </a:cubicBezTo>
                    <a:cubicBezTo>
                      <a:pt x="12" y="95"/>
                      <a:pt x="12" y="95"/>
                      <a:pt x="12" y="95"/>
                    </a:cubicBezTo>
                    <a:cubicBezTo>
                      <a:pt x="15" y="95"/>
                      <a:pt x="15" y="95"/>
                      <a:pt x="15" y="95"/>
                    </a:cubicBezTo>
                    <a:cubicBezTo>
                      <a:pt x="16" y="94"/>
                      <a:pt x="16" y="94"/>
                      <a:pt x="16" y="94"/>
                    </a:cubicBezTo>
                    <a:cubicBezTo>
                      <a:pt x="17" y="95"/>
                      <a:pt x="17" y="95"/>
                      <a:pt x="17" y="95"/>
                    </a:cubicBezTo>
                    <a:cubicBezTo>
                      <a:pt x="23" y="94"/>
                      <a:pt x="32" y="93"/>
                      <a:pt x="40" y="93"/>
                    </a:cubicBezTo>
                    <a:cubicBezTo>
                      <a:pt x="39" y="92"/>
                      <a:pt x="39" y="91"/>
                      <a:pt x="39" y="90"/>
                    </a:cubicBezTo>
                    <a:cubicBezTo>
                      <a:pt x="41" y="88"/>
                      <a:pt x="42" y="86"/>
                      <a:pt x="44" y="84"/>
                    </a:cubicBezTo>
                    <a:cubicBezTo>
                      <a:pt x="45" y="82"/>
                      <a:pt x="45" y="82"/>
                      <a:pt x="44" y="80"/>
                    </a:cubicBezTo>
                    <a:cubicBezTo>
                      <a:pt x="42" y="77"/>
                      <a:pt x="51" y="76"/>
                      <a:pt x="53" y="76"/>
                    </a:cubicBezTo>
                    <a:cubicBezTo>
                      <a:pt x="56" y="76"/>
                      <a:pt x="56" y="73"/>
                      <a:pt x="57" y="71"/>
                    </a:cubicBezTo>
                    <a:cubicBezTo>
                      <a:pt x="57" y="74"/>
                      <a:pt x="57" y="75"/>
                      <a:pt x="60" y="75"/>
                    </a:cubicBezTo>
                    <a:cubicBezTo>
                      <a:pt x="60" y="75"/>
                      <a:pt x="61" y="75"/>
                      <a:pt x="62" y="75"/>
                    </a:cubicBezTo>
                    <a:cubicBezTo>
                      <a:pt x="63" y="75"/>
                      <a:pt x="63" y="75"/>
                      <a:pt x="64" y="74"/>
                    </a:cubicBezTo>
                    <a:cubicBezTo>
                      <a:pt x="66" y="73"/>
                      <a:pt x="69" y="70"/>
                      <a:pt x="67" y="69"/>
                    </a:cubicBezTo>
                    <a:cubicBezTo>
                      <a:pt x="68" y="68"/>
                      <a:pt x="69" y="68"/>
                      <a:pt x="69" y="68"/>
                    </a:cubicBezTo>
                    <a:cubicBezTo>
                      <a:pt x="70" y="68"/>
                      <a:pt x="71" y="69"/>
                      <a:pt x="72" y="70"/>
                    </a:cubicBezTo>
                    <a:cubicBezTo>
                      <a:pt x="72" y="71"/>
                      <a:pt x="72" y="73"/>
                      <a:pt x="74" y="73"/>
                    </a:cubicBezTo>
                    <a:cubicBezTo>
                      <a:pt x="74" y="73"/>
                      <a:pt x="74" y="73"/>
                      <a:pt x="74" y="73"/>
                    </a:cubicBezTo>
                    <a:cubicBezTo>
                      <a:pt x="75" y="73"/>
                      <a:pt x="76" y="71"/>
                      <a:pt x="77" y="70"/>
                    </a:cubicBezTo>
                    <a:cubicBezTo>
                      <a:pt x="77" y="72"/>
                      <a:pt x="77" y="74"/>
                      <a:pt x="79" y="74"/>
                    </a:cubicBezTo>
                    <a:cubicBezTo>
                      <a:pt x="79" y="74"/>
                      <a:pt x="79" y="74"/>
                      <a:pt x="79" y="74"/>
                    </a:cubicBezTo>
                    <a:cubicBezTo>
                      <a:pt x="80" y="73"/>
                      <a:pt x="80" y="73"/>
                      <a:pt x="80" y="73"/>
                    </a:cubicBezTo>
                    <a:cubicBezTo>
                      <a:pt x="80" y="73"/>
                      <a:pt x="80" y="73"/>
                      <a:pt x="80" y="73"/>
                    </a:cubicBezTo>
                    <a:cubicBezTo>
                      <a:pt x="80" y="73"/>
                      <a:pt x="80" y="72"/>
                      <a:pt x="80" y="72"/>
                    </a:cubicBezTo>
                    <a:cubicBezTo>
                      <a:pt x="80" y="72"/>
                      <a:pt x="80" y="72"/>
                      <a:pt x="80" y="72"/>
                    </a:cubicBezTo>
                    <a:cubicBezTo>
                      <a:pt x="80" y="71"/>
                      <a:pt x="80" y="71"/>
                      <a:pt x="80" y="71"/>
                    </a:cubicBezTo>
                    <a:cubicBezTo>
                      <a:pt x="81" y="70"/>
                      <a:pt x="81" y="70"/>
                      <a:pt x="81" y="70"/>
                    </a:cubicBezTo>
                    <a:cubicBezTo>
                      <a:pt x="81" y="69"/>
                      <a:pt x="81" y="69"/>
                      <a:pt x="82" y="68"/>
                    </a:cubicBezTo>
                    <a:cubicBezTo>
                      <a:pt x="82" y="67"/>
                      <a:pt x="82" y="67"/>
                      <a:pt x="83" y="67"/>
                    </a:cubicBezTo>
                    <a:cubicBezTo>
                      <a:pt x="83" y="65"/>
                      <a:pt x="84" y="64"/>
                      <a:pt x="85" y="62"/>
                    </a:cubicBezTo>
                    <a:cubicBezTo>
                      <a:pt x="86" y="62"/>
                      <a:pt x="86" y="62"/>
                      <a:pt x="86" y="62"/>
                    </a:cubicBezTo>
                    <a:cubicBezTo>
                      <a:pt x="86" y="62"/>
                      <a:pt x="86" y="61"/>
                      <a:pt x="87" y="61"/>
                    </a:cubicBezTo>
                    <a:cubicBezTo>
                      <a:pt x="87" y="60"/>
                      <a:pt x="87" y="60"/>
                      <a:pt x="87" y="60"/>
                    </a:cubicBezTo>
                    <a:cubicBezTo>
                      <a:pt x="87" y="59"/>
                      <a:pt x="87" y="59"/>
                      <a:pt x="87" y="59"/>
                    </a:cubicBezTo>
                    <a:cubicBezTo>
                      <a:pt x="88" y="58"/>
                      <a:pt x="89" y="57"/>
                      <a:pt x="89" y="56"/>
                    </a:cubicBezTo>
                    <a:cubicBezTo>
                      <a:pt x="90" y="56"/>
                      <a:pt x="90" y="55"/>
                      <a:pt x="90" y="55"/>
                    </a:cubicBezTo>
                    <a:cubicBezTo>
                      <a:pt x="90" y="55"/>
                      <a:pt x="90" y="55"/>
                      <a:pt x="90" y="55"/>
                    </a:cubicBezTo>
                    <a:cubicBezTo>
                      <a:pt x="91" y="54"/>
                      <a:pt x="91" y="54"/>
                      <a:pt x="91" y="54"/>
                    </a:cubicBezTo>
                    <a:cubicBezTo>
                      <a:pt x="92" y="54"/>
                      <a:pt x="92" y="54"/>
                      <a:pt x="92" y="54"/>
                    </a:cubicBezTo>
                    <a:cubicBezTo>
                      <a:pt x="92" y="53"/>
                      <a:pt x="92" y="53"/>
                      <a:pt x="92" y="53"/>
                    </a:cubicBezTo>
                    <a:cubicBezTo>
                      <a:pt x="94" y="53"/>
                      <a:pt x="94" y="53"/>
                      <a:pt x="94" y="53"/>
                    </a:cubicBezTo>
                    <a:cubicBezTo>
                      <a:pt x="94" y="52"/>
                      <a:pt x="95" y="52"/>
                      <a:pt x="95" y="52"/>
                    </a:cubicBezTo>
                    <a:cubicBezTo>
                      <a:pt x="95" y="52"/>
                      <a:pt x="95" y="52"/>
                      <a:pt x="95" y="52"/>
                    </a:cubicBezTo>
                    <a:cubicBezTo>
                      <a:pt x="96" y="52"/>
                      <a:pt x="96" y="52"/>
                      <a:pt x="96" y="52"/>
                    </a:cubicBezTo>
                    <a:cubicBezTo>
                      <a:pt x="95" y="51"/>
                      <a:pt x="95" y="51"/>
                      <a:pt x="95" y="50"/>
                    </a:cubicBezTo>
                    <a:cubicBezTo>
                      <a:pt x="95" y="49"/>
                      <a:pt x="96" y="48"/>
                      <a:pt x="96" y="48"/>
                    </a:cubicBezTo>
                    <a:cubicBezTo>
                      <a:pt x="96" y="47"/>
                      <a:pt x="96" y="47"/>
                      <a:pt x="96" y="47"/>
                    </a:cubicBezTo>
                    <a:cubicBezTo>
                      <a:pt x="96" y="47"/>
                      <a:pt x="97" y="47"/>
                      <a:pt x="97" y="46"/>
                    </a:cubicBezTo>
                    <a:cubicBezTo>
                      <a:pt x="97" y="45"/>
                      <a:pt x="97" y="45"/>
                      <a:pt x="97" y="45"/>
                    </a:cubicBezTo>
                    <a:cubicBezTo>
                      <a:pt x="98" y="43"/>
                      <a:pt x="99" y="41"/>
                      <a:pt x="99" y="40"/>
                    </a:cubicBezTo>
                    <a:cubicBezTo>
                      <a:pt x="99" y="39"/>
                      <a:pt x="99" y="39"/>
                      <a:pt x="99" y="39"/>
                    </a:cubicBezTo>
                    <a:cubicBezTo>
                      <a:pt x="99" y="39"/>
                      <a:pt x="99" y="39"/>
                      <a:pt x="99" y="39"/>
                    </a:cubicBezTo>
                    <a:cubicBezTo>
                      <a:pt x="98" y="36"/>
                      <a:pt x="97" y="33"/>
                      <a:pt x="98" y="29"/>
                    </a:cubicBezTo>
                    <a:cubicBezTo>
                      <a:pt x="98" y="29"/>
                      <a:pt x="97" y="27"/>
                      <a:pt x="95" y="25"/>
                    </a:cubicBezTo>
                    <a:cubicBezTo>
                      <a:pt x="95" y="25"/>
                      <a:pt x="94" y="24"/>
                      <a:pt x="94" y="24"/>
                    </a:cubicBezTo>
                    <a:cubicBezTo>
                      <a:pt x="93" y="23"/>
                      <a:pt x="93" y="23"/>
                      <a:pt x="93" y="23"/>
                    </a:cubicBezTo>
                    <a:cubicBezTo>
                      <a:pt x="92" y="21"/>
                      <a:pt x="91" y="19"/>
                      <a:pt x="90" y="17"/>
                    </a:cubicBezTo>
                    <a:cubicBezTo>
                      <a:pt x="90" y="14"/>
                      <a:pt x="90" y="14"/>
                      <a:pt x="90" y="14"/>
                    </a:cubicBezTo>
                    <a:cubicBezTo>
                      <a:pt x="90" y="13"/>
                      <a:pt x="90" y="10"/>
                      <a:pt x="89" y="9"/>
                    </a:cubicBezTo>
                    <a:cubicBezTo>
                      <a:pt x="88" y="8"/>
                      <a:pt x="88" y="8"/>
                      <a:pt x="87" y="8"/>
                    </a:cubicBezTo>
                    <a:cubicBezTo>
                      <a:pt x="87" y="8"/>
                      <a:pt x="87" y="8"/>
                      <a:pt x="87" y="8"/>
                    </a:cubicBezTo>
                    <a:cubicBezTo>
                      <a:pt x="85" y="7"/>
                      <a:pt x="85" y="7"/>
                      <a:pt x="84" y="6"/>
                    </a:cubicBezTo>
                    <a:cubicBezTo>
                      <a:pt x="84" y="6"/>
                      <a:pt x="83" y="5"/>
                      <a:pt x="83" y="4"/>
                    </a:cubicBezTo>
                    <a:cubicBezTo>
                      <a:pt x="82" y="3"/>
                      <a:pt x="82" y="2"/>
                      <a:pt x="82" y="1"/>
                    </a:cubicBezTo>
                    <a:cubicBezTo>
                      <a:pt x="81" y="1"/>
                      <a:pt x="81" y="1"/>
                      <a:pt x="81" y="1"/>
                    </a:cubicBezTo>
                    <a:cubicBezTo>
                      <a:pt x="81" y="0"/>
                      <a:pt x="81" y="0"/>
                      <a:pt x="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 name="Freeform 384">
                <a:extLst>
                  <a:ext uri="{FF2B5EF4-FFF2-40B4-BE49-F238E27FC236}">
                    <a16:creationId xmlns:a16="http://schemas.microsoft.com/office/drawing/2014/main" id="{9F929D0F-30A8-449B-9BCB-3457A9B4A4F6}"/>
                  </a:ext>
                </a:extLst>
              </p:cNvPr>
              <p:cNvSpPr>
                <a:spLocks/>
              </p:cNvSpPr>
              <p:nvPr/>
            </p:nvSpPr>
            <p:spPr bwMode="auto">
              <a:xfrm>
                <a:off x="3665" y="3077"/>
                <a:ext cx="250" cy="298"/>
              </a:xfrm>
              <a:custGeom>
                <a:avLst/>
                <a:gdLst>
                  <a:gd name="T0" fmla="*/ 0 w 106"/>
                  <a:gd name="T1" fmla="*/ 126 h 126"/>
                  <a:gd name="T2" fmla="*/ 74 w 106"/>
                  <a:gd name="T3" fmla="*/ 125 h 126"/>
                  <a:gd name="T4" fmla="*/ 75 w 106"/>
                  <a:gd name="T5" fmla="*/ 111 h 126"/>
                  <a:gd name="T6" fmla="*/ 79 w 106"/>
                  <a:gd name="T7" fmla="*/ 93 h 126"/>
                  <a:gd name="T8" fmla="*/ 81 w 106"/>
                  <a:gd name="T9" fmla="*/ 89 h 126"/>
                  <a:gd name="T10" fmla="*/ 84 w 106"/>
                  <a:gd name="T11" fmla="*/ 80 h 126"/>
                  <a:gd name="T12" fmla="*/ 85 w 106"/>
                  <a:gd name="T13" fmla="*/ 79 h 126"/>
                  <a:gd name="T14" fmla="*/ 95 w 106"/>
                  <a:gd name="T15" fmla="*/ 71 h 126"/>
                  <a:gd name="T16" fmla="*/ 106 w 106"/>
                  <a:gd name="T17" fmla="*/ 59 h 126"/>
                  <a:gd name="T18" fmla="*/ 102 w 106"/>
                  <a:gd name="T19" fmla="*/ 57 h 126"/>
                  <a:gd name="T20" fmla="*/ 100 w 106"/>
                  <a:gd name="T21" fmla="*/ 57 h 126"/>
                  <a:gd name="T22" fmla="*/ 96 w 106"/>
                  <a:gd name="T23" fmla="*/ 50 h 126"/>
                  <a:gd name="T24" fmla="*/ 96 w 106"/>
                  <a:gd name="T25" fmla="*/ 49 h 126"/>
                  <a:gd name="T26" fmla="*/ 97 w 106"/>
                  <a:gd name="T27" fmla="*/ 45 h 126"/>
                  <a:gd name="T28" fmla="*/ 97 w 106"/>
                  <a:gd name="T29" fmla="*/ 39 h 126"/>
                  <a:gd name="T30" fmla="*/ 98 w 106"/>
                  <a:gd name="T31" fmla="*/ 34 h 126"/>
                  <a:gd name="T32" fmla="*/ 97 w 106"/>
                  <a:gd name="T33" fmla="*/ 34 h 126"/>
                  <a:gd name="T34" fmla="*/ 93 w 106"/>
                  <a:gd name="T35" fmla="*/ 29 h 126"/>
                  <a:gd name="T36" fmla="*/ 91 w 106"/>
                  <a:gd name="T37" fmla="*/ 27 h 126"/>
                  <a:gd name="T38" fmla="*/ 89 w 106"/>
                  <a:gd name="T39" fmla="*/ 26 h 126"/>
                  <a:gd name="T40" fmla="*/ 81 w 106"/>
                  <a:gd name="T41" fmla="*/ 20 h 126"/>
                  <a:gd name="T42" fmla="*/ 78 w 106"/>
                  <a:gd name="T43" fmla="*/ 15 h 126"/>
                  <a:gd name="T44" fmla="*/ 74 w 106"/>
                  <a:gd name="T45" fmla="*/ 16 h 126"/>
                  <a:gd name="T46" fmla="*/ 69 w 106"/>
                  <a:gd name="T47" fmla="*/ 19 h 126"/>
                  <a:gd name="T48" fmla="*/ 59 w 106"/>
                  <a:gd name="T49" fmla="*/ 18 h 126"/>
                  <a:gd name="T50" fmla="*/ 57 w 106"/>
                  <a:gd name="T51" fmla="*/ 18 h 126"/>
                  <a:gd name="T52" fmla="*/ 51 w 106"/>
                  <a:gd name="T53" fmla="*/ 19 h 126"/>
                  <a:gd name="T54" fmla="*/ 39 w 106"/>
                  <a:gd name="T55" fmla="*/ 11 h 126"/>
                  <a:gd name="T56" fmla="*/ 35 w 106"/>
                  <a:gd name="T57" fmla="*/ 6 h 126"/>
                  <a:gd name="T58" fmla="*/ 34 w 106"/>
                  <a:gd name="T59" fmla="*/ 6 h 126"/>
                  <a:gd name="T60" fmla="*/ 32 w 106"/>
                  <a:gd name="T61" fmla="*/ 5 h 126"/>
                  <a:gd name="T62" fmla="*/ 30 w 106"/>
                  <a:gd name="T63" fmla="*/ 4 h 126"/>
                  <a:gd name="T64" fmla="*/ 28 w 106"/>
                  <a:gd name="T65" fmla="*/ 3 h 126"/>
                  <a:gd name="T66" fmla="*/ 23 w 106"/>
                  <a:gd name="T67" fmla="*/ 5 h 126"/>
                  <a:gd name="T68" fmla="*/ 18 w 106"/>
                  <a:gd name="T69" fmla="*/ 5 h 126"/>
                  <a:gd name="T70" fmla="*/ 16 w 106"/>
                  <a:gd name="T71" fmla="*/ 5 h 126"/>
                  <a:gd name="T72" fmla="*/ 11 w 106"/>
                  <a:gd name="T73" fmla="*/ 3 h 126"/>
                  <a:gd name="T74" fmla="*/ 9 w 106"/>
                  <a:gd name="T75" fmla="*/ 3 h 126"/>
                  <a:gd name="T76" fmla="*/ 6 w 106"/>
                  <a:gd name="T77" fmla="*/ 3 h 126"/>
                  <a:gd name="T78" fmla="*/ 0 w 106"/>
                  <a:gd name="T7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126">
                    <a:moveTo>
                      <a:pt x="0" y="0"/>
                    </a:moveTo>
                    <a:cubicBezTo>
                      <a:pt x="0" y="126"/>
                      <a:pt x="0" y="126"/>
                      <a:pt x="0" y="126"/>
                    </a:cubicBezTo>
                    <a:cubicBezTo>
                      <a:pt x="73" y="126"/>
                      <a:pt x="73" y="126"/>
                      <a:pt x="73" y="126"/>
                    </a:cubicBezTo>
                    <a:cubicBezTo>
                      <a:pt x="74" y="125"/>
                      <a:pt x="74" y="125"/>
                      <a:pt x="74" y="125"/>
                    </a:cubicBezTo>
                    <a:cubicBezTo>
                      <a:pt x="74" y="125"/>
                      <a:pt x="74" y="123"/>
                      <a:pt x="74" y="122"/>
                    </a:cubicBezTo>
                    <a:cubicBezTo>
                      <a:pt x="74" y="118"/>
                      <a:pt x="74" y="115"/>
                      <a:pt x="75" y="111"/>
                    </a:cubicBezTo>
                    <a:cubicBezTo>
                      <a:pt x="75" y="110"/>
                      <a:pt x="75" y="108"/>
                      <a:pt x="75" y="107"/>
                    </a:cubicBezTo>
                    <a:cubicBezTo>
                      <a:pt x="76" y="102"/>
                      <a:pt x="78" y="98"/>
                      <a:pt x="79" y="93"/>
                    </a:cubicBezTo>
                    <a:cubicBezTo>
                      <a:pt x="79" y="93"/>
                      <a:pt x="79" y="93"/>
                      <a:pt x="79" y="93"/>
                    </a:cubicBezTo>
                    <a:cubicBezTo>
                      <a:pt x="80" y="92"/>
                      <a:pt x="80" y="90"/>
                      <a:pt x="81" y="89"/>
                    </a:cubicBezTo>
                    <a:cubicBezTo>
                      <a:pt x="81" y="87"/>
                      <a:pt x="81" y="86"/>
                      <a:pt x="81" y="85"/>
                    </a:cubicBezTo>
                    <a:cubicBezTo>
                      <a:pt x="82" y="83"/>
                      <a:pt x="83" y="82"/>
                      <a:pt x="84" y="80"/>
                    </a:cubicBezTo>
                    <a:cubicBezTo>
                      <a:pt x="84" y="80"/>
                      <a:pt x="84" y="80"/>
                      <a:pt x="84" y="80"/>
                    </a:cubicBezTo>
                    <a:cubicBezTo>
                      <a:pt x="85" y="79"/>
                      <a:pt x="85" y="79"/>
                      <a:pt x="85" y="79"/>
                    </a:cubicBezTo>
                    <a:cubicBezTo>
                      <a:pt x="88" y="77"/>
                      <a:pt x="92" y="74"/>
                      <a:pt x="95" y="71"/>
                    </a:cubicBezTo>
                    <a:cubicBezTo>
                      <a:pt x="95" y="71"/>
                      <a:pt x="95" y="71"/>
                      <a:pt x="95" y="71"/>
                    </a:cubicBezTo>
                    <a:cubicBezTo>
                      <a:pt x="98" y="68"/>
                      <a:pt x="101" y="65"/>
                      <a:pt x="103" y="62"/>
                    </a:cubicBezTo>
                    <a:cubicBezTo>
                      <a:pt x="104" y="61"/>
                      <a:pt x="105" y="60"/>
                      <a:pt x="106" y="59"/>
                    </a:cubicBezTo>
                    <a:cubicBezTo>
                      <a:pt x="105" y="59"/>
                      <a:pt x="104" y="58"/>
                      <a:pt x="103" y="58"/>
                    </a:cubicBezTo>
                    <a:cubicBezTo>
                      <a:pt x="103" y="58"/>
                      <a:pt x="103" y="58"/>
                      <a:pt x="102" y="57"/>
                    </a:cubicBezTo>
                    <a:cubicBezTo>
                      <a:pt x="102" y="58"/>
                      <a:pt x="102" y="58"/>
                      <a:pt x="101" y="58"/>
                    </a:cubicBezTo>
                    <a:cubicBezTo>
                      <a:pt x="101" y="58"/>
                      <a:pt x="100" y="57"/>
                      <a:pt x="100" y="57"/>
                    </a:cubicBezTo>
                    <a:cubicBezTo>
                      <a:pt x="99" y="57"/>
                      <a:pt x="97" y="56"/>
                      <a:pt x="97" y="54"/>
                    </a:cubicBezTo>
                    <a:cubicBezTo>
                      <a:pt x="96" y="53"/>
                      <a:pt x="96" y="51"/>
                      <a:pt x="96" y="50"/>
                    </a:cubicBezTo>
                    <a:cubicBezTo>
                      <a:pt x="96" y="50"/>
                      <a:pt x="96" y="49"/>
                      <a:pt x="96" y="49"/>
                    </a:cubicBezTo>
                    <a:cubicBezTo>
                      <a:pt x="96" y="49"/>
                      <a:pt x="96" y="49"/>
                      <a:pt x="96" y="49"/>
                    </a:cubicBezTo>
                    <a:cubicBezTo>
                      <a:pt x="97" y="48"/>
                      <a:pt x="97" y="47"/>
                      <a:pt x="97" y="46"/>
                    </a:cubicBezTo>
                    <a:cubicBezTo>
                      <a:pt x="97" y="46"/>
                      <a:pt x="97" y="46"/>
                      <a:pt x="97" y="45"/>
                    </a:cubicBezTo>
                    <a:cubicBezTo>
                      <a:pt x="96" y="43"/>
                      <a:pt x="96" y="41"/>
                      <a:pt x="97" y="39"/>
                    </a:cubicBezTo>
                    <a:cubicBezTo>
                      <a:pt x="97" y="39"/>
                      <a:pt x="97" y="39"/>
                      <a:pt x="97" y="39"/>
                    </a:cubicBezTo>
                    <a:cubicBezTo>
                      <a:pt x="98" y="37"/>
                      <a:pt x="98" y="36"/>
                      <a:pt x="98" y="35"/>
                    </a:cubicBezTo>
                    <a:cubicBezTo>
                      <a:pt x="98" y="34"/>
                      <a:pt x="98" y="34"/>
                      <a:pt x="98" y="34"/>
                    </a:cubicBezTo>
                    <a:cubicBezTo>
                      <a:pt x="98" y="34"/>
                      <a:pt x="98" y="34"/>
                      <a:pt x="98" y="34"/>
                    </a:cubicBezTo>
                    <a:cubicBezTo>
                      <a:pt x="97" y="34"/>
                      <a:pt x="97" y="34"/>
                      <a:pt x="97" y="34"/>
                    </a:cubicBezTo>
                    <a:cubicBezTo>
                      <a:pt x="96" y="34"/>
                      <a:pt x="92" y="33"/>
                      <a:pt x="93" y="30"/>
                    </a:cubicBezTo>
                    <a:cubicBezTo>
                      <a:pt x="93" y="29"/>
                      <a:pt x="93" y="29"/>
                      <a:pt x="93" y="29"/>
                    </a:cubicBezTo>
                    <a:cubicBezTo>
                      <a:pt x="93" y="28"/>
                      <a:pt x="93" y="28"/>
                      <a:pt x="93" y="28"/>
                    </a:cubicBezTo>
                    <a:cubicBezTo>
                      <a:pt x="92" y="28"/>
                      <a:pt x="92" y="28"/>
                      <a:pt x="91" y="27"/>
                    </a:cubicBezTo>
                    <a:cubicBezTo>
                      <a:pt x="91" y="27"/>
                      <a:pt x="91" y="27"/>
                      <a:pt x="91" y="27"/>
                    </a:cubicBezTo>
                    <a:cubicBezTo>
                      <a:pt x="90" y="27"/>
                      <a:pt x="89" y="27"/>
                      <a:pt x="89" y="26"/>
                    </a:cubicBezTo>
                    <a:cubicBezTo>
                      <a:pt x="86" y="25"/>
                      <a:pt x="85" y="24"/>
                      <a:pt x="83" y="22"/>
                    </a:cubicBezTo>
                    <a:cubicBezTo>
                      <a:pt x="81" y="20"/>
                      <a:pt x="81" y="20"/>
                      <a:pt x="81" y="20"/>
                    </a:cubicBezTo>
                    <a:cubicBezTo>
                      <a:pt x="81" y="20"/>
                      <a:pt x="80" y="19"/>
                      <a:pt x="80" y="19"/>
                    </a:cubicBezTo>
                    <a:cubicBezTo>
                      <a:pt x="79" y="18"/>
                      <a:pt x="79" y="17"/>
                      <a:pt x="78" y="15"/>
                    </a:cubicBezTo>
                    <a:cubicBezTo>
                      <a:pt x="77" y="15"/>
                      <a:pt x="75" y="15"/>
                      <a:pt x="74" y="16"/>
                    </a:cubicBezTo>
                    <a:cubicBezTo>
                      <a:pt x="74" y="16"/>
                      <a:pt x="74" y="16"/>
                      <a:pt x="74" y="16"/>
                    </a:cubicBezTo>
                    <a:cubicBezTo>
                      <a:pt x="74" y="17"/>
                      <a:pt x="73" y="17"/>
                      <a:pt x="73" y="18"/>
                    </a:cubicBezTo>
                    <a:cubicBezTo>
                      <a:pt x="72" y="19"/>
                      <a:pt x="70" y="19"/>
                      <a:pt x="69" y="19"/>
                    </a:cubicBezTo>
                    <a:cubicBezTo>
                      <a:pt x="67" y="19"/>
                      <a:pt x="65" y="19"/>
                      <a:pt x="64" y="18"/>
                    </a:cubicBezTo>
                    <a:cubicBezTo>
                      <a:pt x="62" y="18"/>
                      <a:pt x="61" y="18"/>
                      <a:pt x="59" y="18"/>
                    </a:cubicBezTo>
                    <a:cubicBezTo>
                      <a:pt x="59" y="18"/>
                      <a:pt x="58" y="18"/>
                      <a:pt x="58" y="18"/>
                    </a:cubicBezTo>
                    <a:cubicBezTo>
                      <a:pt x="58" y="18"/>
                      <a:pt x="57" y="18"/>
                      <a:pt x="57" y="18"/>
                    </a:cubicBezTo>
                    <a:cubicBezTo>
                      <a:pt x="56" y="19"/>
                      <a:pt x="55" y="20"/>
                      <a:pt x="54" y="20"/>
                    </a:cubicBezTo>
                    <a:cubicBezTo>
                      <a:pt x="53" y="20"/>
                      <a:pt x="52" y="20"/>
                      <a:pt x="51" y="19"/>
                    </a:cubicBezTo>
                    <a:cubicBezTo>
                      <a:pt x="50" y="19"/>
                      <a:pt x="50" y="19"/>
                      <a:pt x="49" y="18"/>
                    </a:cubicBezTo>
                    <a:cubicBezTo>
                      <a:pt x="45" y="17"/>
                      <a:pt x="41" y="15"/>
                      <a:pt x="39" y="11"/>
                    </a:cubicBezTo>
                    <a:cubicBezTo>
                      <a:pt x="39" y="9"/>
                      <a:pt x="37" y="8"/>
                      <a:pt x="35" y="6"/>
                    </a:cubicBezTo>
                    <a:cubicBezTo>
                      <a:pt x="35" y="6"/>
                      <a:pt x="35" y="6"/>
                      <a:pt x="35" y="6"/>
                    </a:cubicBezTo>
                    <a:cubicBezTo>
                      <a:pt x="34" y="6"/>
                      <a:pt x="34" y="6"/>
                      <a:pt x="34" y="6"/>
                    </a:cubicBezTo>
                    <a:cubicBezTo>
                      <a:pt x="34" y="6"/>
                      <a:pt x="34" y="6"/>
                      <a:pt x="34" y="6"/>
                    </a:cubicBezTo>
                    <a:cubicBezTo>
                      <a:pt x="33" y="6"/>
                      <a:pt x="33" y="6"/>
                      <a:pt x="33" y="6"/>
                    </a:cubicBezTo>
                    <a:cubicBezTo>
                      <a:pt x="33" y="5"/>
                      <a:pt x="33" y="5"/>
                      <a:pt x="32" y="5"/>
                    </a:cubicBezTo>
                    <a:cubicBezTo>
                      <a:pt x="32" y="4"/>
                      <a:pt x="32" y="4"/>
                      <a:pt x="32" y="4"/>
                    </a:cubicBezTo>
                    <a:cubicBezTo>
                      <a:pt x="31" y="4"/>
                      <a:pt x="30" y="4"/>
                      <a:pt x="30" y="4"/>
                    </a:cubicBezTo>
                    <a:cubicBezTo>
                      <a:pt x="29" y="3"/>
                      <a:pt x="29" y="3"/>
                      <a:pt x="29" y="3"/>
                    </a:cubicBezTo>
                    <a:cubicBezTo>
                      <a:pt x="28" y="3"/>
                      <a:pt x="28" y="3"/>
                      <a:pt x="28" y="3"/>
                    </a:cubicBezTo>
                    <a:cubicBezTo>
                      <a:pt x="27" y="3"/>
                      <a:pt x="26" y="4"/>
                      <a:pt x="24" y="4"/>
                    </a:cubicBezTo>
                    <a:cubicBezTo>
                      <a:pt x="23" y="5"/>
                      <a:pt x="23" y="5"/>
                      <a:pt x="23" y="5"/>
                    </a:cubicBezTo>
                    <a:cubicBezTo>
                      <a:pt x="21" y="5"/>
                      <a:pt x="20" y="5"/>
                      <a:pt x="19" y="5"/>
                    </a:cubicBezTo>
                    <a:cubicBezTo>
                      <a:pt x="18" y="5"/>
                      <a:pt x="18" y="5"/>
                      <a:pt x="18" y="5"/>
                    </a:cubicBezTo>
                    <a:cubicBezTo>
                      <a:pt x="18" y="5"/>
                      <a:pt x="17" y="5"/>
                      <a:pt x="16" y="5"/>
                    </a:cubicBezTo>
                    <a:cubicBezTo>
                      <a:pt x="16" y="5"/>
                      <a:pt x="16" y="5"/>
                      <a:pt x="16" y="5"/>
                    </a:cubicBezTo>
                    <a:cubicBezTo>
                      <a:pt x="15" y="5"/>
                      <a:pt x="14" y="4"/>
                      <a:pt x="13" y="4"/>
                    </a:cubicBezTo>
                    <a:cubicBezTo>
                      <a:pt x="12" y="3"/>
                      <a:pt x="11" y="3"/>
                      <a:pt x="11" y="3"/>
                    </a:cubicBezTo>
                    <a:cubicBezTo>
                      <a:pt x="10" y="2"/>
                      <a:pt x="10" y="2"/>
                      <a:pt x="10" y="2"/>
                    </a:cubicBezTo>
                    <a:cubicBezTo>
                      <a:pt x="10" y="2"/>
                      <a:pt x="9" y="2"/>
                      <a:pt x="9" y="3"/>
                    </a:cubicBezTo>
                    <a:cubicBezTo>
                      <a:pt x="8" y="3"/>
                      <a:pt x="8" y="3"/>
                      <a:pt x="7" y="3"/>
                    </a:cubicBezTo>
                    <a:cubicBezTo>
                      <a:pt x="7" y="3"/>
                      <a:pt x="7" y="3"/>
                      <a:pt x="6" y="3"/>
                    </a:cubicBezTo>
                    <a:cubicBezTo>
                      <a:pt x="4" y="3"/>
                      <a:pt x="3" y="2"/>
                      <a:pt x="1" y="1"/>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 name="Freeform 385">
                <a:extLst>
                  <a:ext uri="{FF2B5EF4-FFF2-40B4-BE49-F238E27FC236}">
                    <a16:creationId xmlns:a16="http://schemas.microsoft.com/office/drawing/2014/main" id="{C72A43EE-22E7-46C5-A43C-F86D57462954}"/>
                  </a:ext>
                </a:extLst>
              </p:cNvPr>
              <p:cNvSpPr>
                <a:spLocks/>
              </p:cNvSpPr>
              <p:nvPr/>
            </p:nvSpPr>
            <p:spPr bwMode="auto">
              <a:xfrm>
                <a:off x="3665" y="2988"/>
                <a:ext cx="73" cy="94"/>
              </a:xfrm>
              <a:custGeom>
                <a:avLst/>
                <a:gdLst>
                  <a:gd name="T0" fmla="*/ 0 w 31"/>
                  <a:gd name="T1" fmla="*/ 0 h 40"/>
                  <a:gd name="T2" fmla="*/ 0 w 31"/>
                  <a:gd name="T3" fmla="*/ 33 h 40"/>
                  <a:gd name="T4" fmla="*/ 0 w 31"/>
                  <a:gd name="T5" fmla="*/ 33 h 40"/>
                  <a:gd name="T6" fmla="*/ 2 w 31"/>
                  <a:gd name="T7" fmla="*/ 34 h 40"/>
                  <a:gd name="T8" fmla="*/ 4 w 31"/>
                  <a:gd name="T9" fmla="*/ 35 h 40"/>
                  <a:gd name="T10" fmla="*/ 5 w 31"/>
                  <a:gd name="T11" fmla="*/ 36 h 40"/>
                  <a:gd name="T12" fmla="*/ 6 w 31"/>
                  <a:gd name="T13" fmla="*/ 36 h 40"/>
                  <a:gd name="T14" fmla="*/ 6 w 31"/>
                  <a:gd name="T15" fmla="*/ 36 h 40"/>
                  <a:gd name="T16" fmla="*/ 7 w 31"/>
                  <a:gd name="T17" fmla="*/ 36 h 40"/>
                  <a:gd name="T18" fmla="*/ 7 w 31"/>
                  <a:gd name="T19" fmla="*/ 36 h 40"/>
                  <a:gd name="T20" fmla="*/ 10 w 31"/>
                  <a:gd name="T21" fmla="*/ 36 h 40"/>
                  <a:gd name="T22" fmla="*/ 12 w 31"/>
                  <a:gd name="T23" fmla="*/ 36 h 40"/>
                  <a:gd name="T24" fmla="*/ 16 w 31"/>
                  <a:gd name="T25" fmla="*/ 38 h 40"/>
                  <a:gd name="T26" fmla="*/ 17 w 31"/>
                  <a:gd name="T27" fmla="*/ 38 h 40"/>
                  <a:gd name="T28" fmla="*/ 18 w 31"/>
                  <a:gd name="T29" fmla="*/ 39 h 40"/>
                  <a:gd name="T30" fmla="*/ 18 w 31"/>
                  <a:gd name="T31" fmla="*/ 39 h 40"/>
                  <a:gd name="T32" fmla="*/ 18 w 31"/>
                  <a:gd name="T33" fmla="*/ 40 h 40"/>
                  <a:gd name="T34" fmla="*/ 18 w 31"/>
                  <a:gd name="T35" fmla="*/ 39 h 40"/>
                  <a:gd name="T36" fmla="*/ 19 w 31"/>
                  <a:gd name="T37" fmla="*/ 39 h 40"/>
                  <a:gd name="T38" fmla="*/ 20 w 31"/>
                  <a:gd name="T39" fmla="*/ 39 h 40"/>
                  <a:gd name="T40" fmla="*/ 21 w 31"/>
                  <a:gd name="T41" fmla="*/ 38 h 40"/>
                  <a:gd name="T42" fmla="*/ 21 w 31"/>
                  <a:gd name="T43" fmla="*/ 38 h 40"/>
                  <a:gd name="T44" fmla="*/ 22 w 31"/>
                  <a:gd name="T45" fmla="*/ 38 h 40"/>
                  <a:gd name="T46" fmla="*/ 28 w 31"/>
                  <a:gd name="T47" fmla="*/ 36 h 40"/>
                  <a:gd name="T48" fmla="*/ 30 w 31"/>
                  <a:gd name="T49" fmla="*/ 37 h 40"/>
                  <a:gd name="T50" fmla="*/ 31 w 31"/>
                  <a:gd name="T51" fmla="*/ 37 h 40"/>
                  <a:gd name="T52" fmla="*/ 30 w 31"/>
                  <a:gd name="T53" fmla="*/ 35 h 40"/>
                  <a:gd name="T54" fmla="*/ 30 w 31"/>
                  <a:gd name="T55" fmla="*/ 33 h 40"/>
                  <a:gd name="T56" fmla="*/ 30 w 31"/>
                  <a:gd name="T57" fmla="*/ 32 h 40"/>
                  <a:gd name="T58" fmla="*/ 25 w 31"/>
                  <a:gd name="T59" fmla="*/ 28 h 40"/>
                  <a:gd name="T60" fmla="*/ 20 w 31"/>
                  <a:gd name="T61" fmla="*/ 25 h 40"/>
                  <a:gd name="T62" fmla="*/ 19 w 31"/>
                  <a:gd name="T63" fmla="*/ 25 h 40"/>
                  <a:gd name="T64" fmla="*/ 15 w 31"/>
                  <a:gd name="T65" fmla="*/ 23 h 40"/>
                  <a:gd name="T66" fmla="*/ 15 w 31"/>
                  <a:gd name="T67" fmla="*/ 23 h 40"/>
                  <a:gd name="T68" fmla="*/ 15 w 31"/>
                  <a:gd name="T69" fmla="*/ 23 h 40"/>
                  <a:gd name="T70" fmla="*/ 14 w 31"/>
                  <a:gd name="T71" fmla="*/ 22 h 40"/>
                  <a:gd name="T72" fmla="*/ 13 w 31"/>
                  <a:gd name="T73" fmla="*/ 20 h 40"/>
                  <a:gd name="T74" fmla="*/ 13 w 31"/>
                  <a:gd name="T75" fmla="*/ 19 h 40"/>
                  <a:gd name="T76" fmla="*/ 12 w 31"/>
                  <a:gd name="T77" fmla="*/ 18 h 40"/>
                  <a:gd name="T78" fmla="*/ 12 w 31"/>
                  <a:gd name="T79" fmla="*/ 14 h 40"/>
                  <a:gd name="T80" fmla="*/ 12 w 31"/>
                  <a:gd name="T81" fmla="*/ 13 h 40"/>
                  <a:gd name="T82" fmla="*/ 13 w 31"/>
                  <a:gd name="T83" fmla="*/ 12 h 40"/>
                  <a:gd name="T84" fmla="*/ 13 w 31"/>
                  <a:gd name="T85" fmla="*/ 12 h 40"/>
                  <a:gd name="T86" fmla="*/ 0 w 31"/>
                  <a:gd name="T8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40">
                    <a:moveTo>
                      <a:pt x="0" y="0"/>
                    </a:moveTo>
                    <a:cubicBezTo>
                      <a:pt x="0" y="33"/>
                      <a:pt x="0" y="33"/>
                      <a:pt x="0" y="33"/>
                    </a:cubicBezTo>
                    <a:cubicBezTo>
                      <a:pt x="0" y="33"/>
                      <a:pt x="0" y="33"/>
                      <a:pt x="0" y="33"/>
                    </a:cubicBezTo>
                    <a:cubicBezTo>
                      <a:pt x="1" y="33"/>
                      <a:pt x="1" y="34"/>
                      <a:pt x="2" y="34"/>
                    </a:cubicBezTo>
                    <a:cubicBezTo>
                      <a:pt x="3" y="34"/>
                      <a:pt x="3" y="35"/>
                      <a:pt x="4" y="35"/>
                    </a:cubicBezTo>
                    <a:cubicBezTo>
                      <a:pt x="4" y="36"/>
                      <a:pt x="5" y="36"/>
                      <a:pt x="5" y="36"/>
                    </a:cubicBezTo>
                    <a:cubicBezTo>
                      <a:pt x="6" y="36"/>
                      <a:pt x="6" y="36"/>
                      <a:pt x="6" y="36"/>
                    </a:cubicBezTo>
                    <a:cubicBezTo>
                      <a:pt x="6" y="36"/>
                      <a:pt x="6" y="36"/>
                      <a:pt x="6" y="36"/>
                    </a:cubicBezTo>
                    <a:cubicBezTo>
                      <a:pt x="7" y="36"/>
                      <a:pt x="7" y="36"/>
                      <a:pt x="7" y="36"/>
                    </a:cubicBezTo>
                    <a:cubicBezTo>
                      <a:pt x="7" y="36"/>
                      <a:pt x="7" y="36"/>
                      <a:pt x="7" y="36"/>
                    </a:cubicBezTo>
                    <a:cubicBezTo>
                      <a:pt x="8" y="36"/>
                      <a:pt x="9" y="36"/>
                      <a:pt x="10" y="36"/>
                    </a:cubicBezTo>
                    <a:cubicBezTo>
                      <a:pt x="11" y="36"/>
                      <a:pt x="11" y="36"/>
                      <a:pt x="12" y="36"/>
                    </a:cubicBezTo>
                    <a:cubicBezTo>
                      <a:pt x="13" y="36"/>
                      <a:pt x="14" y="37"/>
                      <a:pt x="16" y="38"/>
                    </a:cubicBezTo>
                    <a:cubicBezTo>
                      <a:pt x="16" y="38"/>
                      <a:pt x="17" y="38"/>
                      <a:pt x="17" y="38"/>
                    </a:cubicBezTo>
                    <a:cubicBezTo>
                      <a:pt x="18" y="39"/>
                      <a:pt x="18" y="39"/>
                      <a:pt x="18" y="39"/>
                    </a:cubicBezTo>
                    <a:cubicBezTo>
                      <a:pt x="18" y="39"/>
                      <a:pt x="18" y="39"/>
                      <a:pt x="18" y="39"/>
                    </a:cubicBezTo>
                    <a:cubicBezTo>
                      <a:pt x="18" y="40"/>
                      <a:pt x="18" y="40"/>
                      <a:pt x="18" y="40"/>
                    </a:cubicBezTo>
                    <a:cubicBezTo>
                      <a:pt x="18" y="39"/>
                      <a:pt x="18" y="39"/>
                      <a:pt x="18" y="39"/>
                    </a:cubicBezTo>
                    <a:cubicBezTo>
                      <a:pt x="19" y="39"/>
                      <a:pt x="19" y="39"/>
                      <a:pt x="19" y="39"/>
                    </a:cubicBezTo>
                    <a:cubicBezTo>
                      <a:pt x="19" y="39"/>
                      <a:pt x="19" y="39"/>
                      <a:pt x="20" y="39"/>
                    </a:cubicBezTo>
                    <a:cubicBezTo>
                      <a:pt x="20" y="38"/>
                      <a:pt x="21" y="38"/>
                      <a:pt x="21" y="38"/>
                    </a:cubicBezTo>
                    <a:cubicBezTo>
                      <a:pt x="21" y="38"/>
                      <a:pt x="21" y="38"/>
                      <a:pt x="21" y="38"/>
                    </a:cubicBezTo>
                    <a:cubicBezTo>
                      <a:pt x="22" y="38"/>
                      <a:pt x="22" y="38"/>
                      <a:pt x="22" y="38"/>
                    </a:cubicBezTo>
                    <a:cubicBezTo>
                      <a:pt x="24" y="37"/>
                      <a:pt x="26" y="36"/>
                      <a:pt x="28" y="36"/>
                    </a:cubicBezTo>
                    <a:cubicBezTo>
                      <a:pt x="29" y="36"/>
                      <a:pt x="30" y="36"/>
                      <a:pt x="30" y="37"/>
                    </a:cubicBezTo>
                    <a:cubicBezTo>
                      <a:pt x="31" y="37"/>
                      <a:pt x="31" y="37"/>
                      <a:pt x="31" y="37"/>
                    </a:cubicBezTo>
                    <a:cubicBezTo>
                      <a:pt x="31" y="36"/>
                      <a:pt x="31" y="35"/>
                      <a:pt x="30" y="35"/>
                    </a:cubicBezTo>
                    <a:cubicBezTo>
                      <a:pt x="30" y="34"/>
                      <a:pt x="30" y="33"/>
                      <a:pt x="30" y="33"/>
                    </a:cubicBezTo>
                    <a:cubicBezTo>
                      <a:pt x="30" y="32"/>
                      <a:pt x="30" y="32"/>
                      <a:pt x="30" y="32"/>
                    </a:cubicBezTo>
                    <a:cubicBezTo>
                      <a:pt x="29" y="31"/>
                      <a:pt x="27" y="29"/>
                      <a:pt x="25" y="28"/>
                    </a:cubicBezTo>
                    <a:cubicBezTo>
                      <a:pt x="23" y="27"/>
                      <a:pt x="21" y="26"/>
                      <a:pt x="20" y="25"/>
                    </a:cubicBezTo>
                    <a:cubicBezTo>
                      <a:pt x="19" y="25"/>
                      <a:pt x="19" y="25"/>
                      <a:pt x="19" y="25"/>
                    </a:cubicBezTo>
                    <a:cubicBezTo>
                      <a:pt x="18" y="24"/>
                      <a:pt x="17" y="24"/>
                      <a:pt x="15" y="23"/>
                    </a:cubicBezTo>
                    <a:cubicBezTo>
                      <a:pt x="15" y="23"/>
                      <a:pt x="15" y="23"/>
                      <a:pt x="15" y="23"/>
                    </a:cubicBezTo>
                    <a:cubicBezTo>
                      <a:pt x="15" y="23"/>
                      <a:pt x="15" y="23"/>
                      <a:pt x="15" y="23"/>
                    </a:cubicBezTo>
                    <a:cubicBezTo>
                      <a:pt x="14" y="22"/>
                      <a:pt x="14" y="22"/>
                      <a:pt x="14" y="22"/>
                    </a:cubicBezTo>
                    <a:cubicBezTo>
                      <a:pt x="14" y="22"/>
                      <a:pt x="13" y="21"/>
                      <a:pt x="13" y="20"/>
                    </a:cubicBezTo>
                    <a:cubicBezTo>
                      <a:pt x="13" y="19"/>
                      <a:pt x="13" y="19"/>
                      <a:pt x="13" y="19"/>
                    </a:cubicBezTo>
                    <a:cubicBezTo>
                      <a:pt x="12" y="19"/>
                      <a:pt x="12" y="18"/>
                      <a:pt x="12" y="18"/>
                    </a:cubicBezTo>
                    <a:cubicBezTo>
                      <a:pt x="12" y="16"/>
                      <a:pt x="11" y="15"/>
                      <a:pt x="12" y="14"/>
                    </a:cubicBezTo>
                    <a:cubicBezTo>
                      <a:pt x="12" y="14"/>
                      <a:pt x="12" y="13"/>
                      <a:pt x="12" y="13"/>
                    </a:cubicBezTo>
                    <a:cubicBezTo>
                      <a:pt x="13" y="12"/>
                      <a:pt x="13" y="12"/>
                      <a:pt x="13" y="12"/>
                    </a:cubicBezTo>
                    <a:cubicBezTo>
                      <a:pt x="13" y="12"/>
                      <a:pt x="13" y="12"/>
                      <a:pt x="13" y="1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 name="Freeform 386">
                <a:extLst>
                  <a:ext uri="{FF2B5EF4-FFF2-40B4-BE49-F238E27FC236}">
                    <a16:creationId xmlns:a16="http://schemas.microsoft.com/office/drawing/2014/main" id="{6421F295-C20E-41CA-A32C-5B861F83E4E0}"/>
                  </a:ext>
                </a:extLst>
              </p:cNvPr>
              <p:cNvSpPr>
                <a:spLocks/>
              </p:cNvSpPr>
              <p:nvPr/>
            </p:nvSpPr>
            <p:spPr bwMode="auto">
              <a:xfrm>
                <a:off x="3878" y="3368"/>
                <a:ext cx="9" cy="7"/>
              </a:xfrm>
              <a:custGeom>
                <a:avLst/>
                <a:gdLst>
                  <a:gd name="T0" fmla="*/ 3 w 4"/>
                  <a:gd name="T1" fmla="*/ 0 h 3"/>
                  <a:gd name="T2" fmla="*/ 0 w 4"/>
                  <a:gd name="T3" fmla="*/ 2 h 3"/>
                  <a:gd name="T4" fmla="*/ 0 w 4"/>
                  <a:gd name="T5" fmla="*/ 3 h 3"/>
                  <a:gd name="T6" fmla="*/ 4 w 4"/>
                  <a:gd name="T7" fmla="*/ 3 h 3"/>
                  <a:gd name="T8" fmla="*/ 3 w 4"/>
                  <a:gd name="T9" fmla="*/ 0 h 3"/>
                </a:gdLst>
                <a:ahLst/>
                <a:cxnLst>
                  <a:cxn ang="0">
                    <a:pos x="T0" y="T1"/>
                  </a:cxn>
                  <a:cxn ang="0">
                    <a:pos x="T2" y="T3"/>
                  </a:cxn>
                  <a:cxn ang="0">
                    <a:pos x="T4" y="T5"/>
                  </a:cxn>
                  <a:cxn ang="0">
                    <a:pos x="T6" y="T7"/>
                  </a:cxn>
                  <a:cxn ang="0">
                    <a:pos x="T8" y="T9"/>
                  </a:cxn>
                </a:cxnLst>
                <a:rect l="0" t="0" r="r" b="b"/>
                <a:pathLst>
                  <a:path w="4" h="3">
                    <a:moveTo>
                      <a:pt x="3" y="0"/>
                    </a:moveTo>
                    <a:cubicBezTo>
                      <a:pt x="2" y="1"/>
                      <a:pt x="1" y="2"/>
                      <a:pt x="0" y="2"/>
                    </a:cubicBezTo>
                    <a:cubicBezTo>
                      <a:pt x="0" y="3"/>
                      <a:pt x="0" y="3"/>
                      <a:pt x="0" y="3"/>
                    </a:cubicBezTo>
                    <a:cubicBezTo>
                      <a:pt x="4" y="3"/>
                      <a:pt x="4" y="3"/>
                      <a:pt x="4" y="3"/>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 name="Freeform 387">
                <a:extLst>
                  <a:ext uri="{FF2B5EF4-FFF2-40B4-BE49-F238E27FC236}">
                    <a16:creationId xmlns:a16="http://schemas.microsoft.com/office/drawing/2014/main" id="{95BC0986-EB47-4123-96E6-3D793E6A4F5B}"/>
                  </a:ext>
                </a:extLst>
              </p:cNvPr>
              <p:cNvSpPr>
                <a:spLocks/>
              </p:cNvSpPr>
              <p:nvPr/>
            </p:nvSpPr>
            <p:spPr bwMode="auto">
              <a:xfrm>
                <a:off x="3665" y="1323"/>
                <a:ext cx="43" cy="45"/>
              </a:xfrm>
              <a:custGeom>
                <a:avLst/>
                <a:gdLst>
                  <a:gd name="T0" fmla="*/ 13 w 18"/>
                  <a:gd name="T1" fmla="*/ 0 h 19"/>
                  <a:gd name="T2" fmla="*/ 13 w 18"/>
                  <a:gd name="T3" fmla="*/ 5 h 19"/>
                  <a:gd name="T4" fmla="*/ 13 w 18"/>
                  <a:gd name="T5" fmla="*/ 6 h 19"/>
                  <a:gd name="T6" fmla="*/ 12 w 18"/>
                  <a:gd name="T7" fmla="*/ 6 h 19"/>
                  <a:gd name="T8" fmla="*/ 6 w 18"/>
                  <a:gd name="T9" fmla="*/ 9 h 19"/>
                  <a:gd name="T10" fmla="*/ 2 w 18"/>
                  <a:gd name="T11" fmla="*/ 10 h 19"/>
                  <a:gd name="T12" fmla="*/ 0 w 18"/>
                  <a:gd name="T13" fmla="*/ 10 h 19"/>
                  <a:gd name="T14" fmla="*/ 0 w 18"/>
                  <a:gd name="T15" fmla="*/ 10 h 19"/>
                  <a:gd name="T16" fmla="*/ 0 w 18"/>
                  <a:gd name="T17" fmla="*/ 17 h 19"/>
                  <a:gd name="T18" fmla="*/ 2 w 18"/>
                  <a:gd name="T19" fmla="*/ 17 h 19"/>
                  <a:gd name="T20" fmla="*/ 7 w 18"/>
                  <a:gd name="T21" fmla="*/ 19 h 19"/>
                  <a:gd name="T22" fmla="*/ 7 w 18"/>
                  <a:gd name="T23" fmla="*/ 19 h 19"/>
                  <a:gd name="T24" fmla="*/ 10 w 18"/>
                  <a:gd name="T25" fmla="*/ 15 h 19"/>
                  <a:gd name="T26" fmla="*/ 11 w 18"/>
                  <a:gd name="T27" fmla="*/ 14 h 19"/>
                  <a:gd name="T28" fmla="*/ 12 w 18"/>
                  <a:gd name="T29" fmla="*/ 13 h 19"/>
                  <a:gd name="T30" fmla="*/ 12 w 18"/>
                  <a:gd name="T31" fmla="*/ 12 h 19"/>
                  <a:gd name="T32" fmla="*/ 12 w 18"/>
                  <a:gd name="T33" fmla="*/ 12 h 19"/>
                  <a:gd name="T34" fmla="*/ 12 w 18"/>
                  <a:gd name="T35" fmla="*/ 12 h 19"/>
                  <a:gd name="T36" fmla="*/ 12 w 18"/>
                  <a:gd name="T37" fmla="*/ 11 h 19"/>
                  <a:gd name="T38" fmla="*/ 12 w 18"/>
                  <a:gd name="T39" fmla="*/ 11 h 19"/>
                  <a:gd name="T40" fmla="*/ 12 w 18"/>
                  <a:gd name="T41" fmla="*/ 8 h 19"/>
                  <a:gd name="T42" fmla="*/ 15 w 18"/>
                  <a:gd name="T43" fmla="*/ 5 h 19"/>
                  <a:gd name="T44" fmla="*/ 16 w 18"/>
                  <a:gd name="T45" fmla="*/ 5 h 19"/>
                  <a:gd name="T46" fmla="*/ 18 w 18"/>
                  <a:gd name="T47" fmla="*/ 3 h 19"/>
                  <a:gd name="T48" fmla="*/ 18 w 18"/>
                  <a:gd name="T49" fmla="*/ 3 h 19"/>
                  <a:gd name="T50" fmla="*/ 18 w 18"/>
                  <a:gd name="T51" fmla="*/ 2 h 19"/>
                  <a:gd name="T52" fmla="*/ 17 w 18"/>
                  <a:gd name="T53" fmla="*/ 2 h 19"/>
                  <a:gd name="T54" fmla="*/ 17 w 18"/>
                  <a:gd name="T55" fmla="*/ 2 h 19"/>
                  <a:gd name="T56" fmla="*/ 16 w 18"/>
                  <a:gd name="T57" fmla="*/ 1 h 19"/>
                  <a:gd name="T58" fmla="*/ 16 w 18"/>
                  <a:gd name="T59" fmla="*/ 1 h 19"/>
                  <a:gd name="T60" fmla="*/ 15 w 18"/>
                  <a:gd name="T61" fmla="*/ 0 h 19"/>
                  <a:gd name="T62" fmla="*/ 15 w 18"/>
                  <a:gd name="T63" fmla="*/ 0 h 19"/>
                  <a:gd name="T64" fmla="*/ 14 w 18"/>
                  <a:gd name="T65" fmla="*/ 0 h 19"/>
                  <a:gd name="T66" fmla="*/ 13 w 18"/>
                  <a:gd name="T6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9">
                    <a:moveTo>
                      <a:pt x="13" y="0"/>
                    </a:moveTo>
                    <a:cubicBezTo>
                      <a:pt x="13" y="2"/>
                      <a:pt x="13" y="3"/>
                      <a:pt x="13" y="5"/>
                    </a:cubicBezTo>
                    <a:cubicBezTo>
                      <a:pt x="13" y="6"/>
                      <a:pt x="13" y="6"/>
                      <a:pt x="13" y="6"/>
                    </a:cubicBezTo>
                    <a:cubicBezTo>
                      <a:pt x="12" y="6"/>
                      <a:pt x="12" y="6"/>
                      <a:pt x="12" y="6"/>
                    </a:cubicBezTo>
                    <a:cubicBezTo>
                      <a:pt x="11" y="8"/>
                      <a:pt x="9" y="9"/>
                      <a:pt x="6" y="9"/>
                    </a:cubicBezTo>
                    <a:cubicBezTo>
                      <a:pt x="5" y="10"/>
                      <a:pt x="4" y="10"/>
                      <a:pt x="2" y="10"/>
                    </a:cubicBezTo>
                    <a:cubicBezTo>
                      <a:pt x="0" y="10"/>
                      <a:pt x="0" y="10"/>
                      <a:pt x="0" y="10"/>
                    </a:cubicBezTo>
                    <a:cubicBezTo>
                      <a:pt x="0" y="10"/>
                      <a:pt x="0" y="10"/>
                      <a:pt x="0" y="10"/>
                    </a:cubicBezTo>
                    <a:cubicBezTo>
                      <a:pt x="0" y="17"/>
                      <a:pt x="0" y="17"/>
                      <a:pt x="0" y="17"/>
                    </a:cubicBezTo>
                    <a:cubicBezTo>
                      <a:pt x="1" y="17"/>
                      <a:pt x="1" y="17"/>
                      <a:pt x="2" y="17"/>
                    </a:cubicBezTo>
                    <a:cubicBezTo>
                      <a:pt x="4" y="18"/>
                      <a:pt x="5" y="19"/>
                      <a:pt x="7" y="19"/>
                    </a:cubicBezTo>
                    <a:cubicBezTo>
                      <a:pt x="7" y="19"/>
                      <a:pt x="7" y="19"/>
                      <a:pt x="7" y="19"/>
                    </a:cubicBezTo>
                    <a:cubicBezTo>
                      <a:pt x="8" y="18"/>
                      <a:pt x="10" y="16"/>
                      <a:pt x="10" y="15"/>
                    </a:cubicBezTo>
                    <a:cubicBezTo>
                      <a:pt x="11" y="14"/>
                      <a:pt x="11" y="14"/>
                      <a:pt x="11" y="14"/>
                    </a:cubicBezTo>
                    <a:cubicBezTo>
                      <a:pt x="11" y="14"/>
                      <a:pt x="12" y="13"/>
                      <a:pt x="12" y="13"/>
                    </a:cubicBezTo>
                    <a:cubicBezTo>
                      <a:pt x="12" y="12"/>
                      <a:pt x="12" y="12"/>
                      <a:pt x="12" y="12"/>
                    </a:cubicBezTo>
                    <a:cubicBezTo>
                      <a:pt x="12" y="12"/>
                      <a:pt x="12" y="13"/>
                      <a:pt x="12" y="12"/>
                    </a:cubicBezTo>
                    <a:cubicBezTo>
                      <a:pt x="12" y="12"/>
                      <a:pt x="12" y="12"/>
                      <a:pt x="12" y="12"/>
                    </a:cubicBezTo>
                    <a:cubicBezTo>
                      <a:pt x="12" y="11"/>
                      <a:pt x="12" y="11"/>
                      <a:pt x="12" y="11"/>
                    </a:cubicBezTo>
                    <a:cubicBezTo>
                      <a:pt x="12" y="11"/>
                      <a:pt x="12" y="11"/>
                      <a:pt x="12" y="11"/>
                    </a:cubicBezTo>
                    <a:cubicBezTo>
                      <a:pt x="12" y="10"/>
                      <a:pt x="12" y="9"/>
                      <a:pt x="12" y="8"/>
                    </a:cubicBezTo>
                    <a:cubicBezTo>
                      <a:pt x="13" y="7"/>
                      <a:pt x="13" y="6"/>
                      <a:pt x="15" y="5"/>
                    </a:cubicBezTo>
                    <a:cubicBezTo>
                      <a:pt x="16" y="5"/>
                      <a:pt x="16" y="5"/>
                      <a:pt x="16" y="5"/>
                    </a:cubicBezTo>
                    <a:cubicBezTo>
                      <a:pt x="17" y="4"/>
                      <a:pt x="17" y="4"/>
                      <a:pt x="18" y="3"/>
                    </a:cubicBezTo>
                    <a:cubicBezTo>
                      <a:pt x="18" y="3"/>
                      <a:pt x="18" y="3"/>
                      <a:pt x="18" y="3"/>
                    </a:cubicBezTo>
                    <a:cubicBezTo>
                      <a:pt x="18" y="2"/>
                      <a:pt x="18" y="2"/>
                      <a:pt x="18" y="2"/>
                    </a:cubicBezTo>
                    <a:cubicBezTo>
                      <a:pt x="17" y="2"/>
                      <a:pt x="17" y="2"/>
                      <a:pt x="17" y="2"/>
                    </a:cubicBezTo>
                    <a:cubicBezTo>
                      <a:pt x="17" y="2"/>
                      <a:pt x="17" y="2"/>
                      <a:pt x="17" y="2"/>
                    </a:cubicBezTo>
                    <a:cubicBezTo>
                      <a:pt x="16" y="1"/>
                      <a:pt x="16" y="1"/>
                      <a:pt x="16" y="1"/>
                    </a:cubicBezTo>
                    <a:cubicBezTo>
                      <a:pt x="16" y="1"/>
                      <a:pt x="16" y="1"/>
                      <a:pt x="16" y="1"/>
                    </a:cubicBezTo>
                    <a:cubicBezTo>
                      <a:pt x="15" y="0"/>
                      <a:pt x="15" y="0"/>
                      <a:pt x="15" y="0"/>
                    </a:cubicBezTo>
                    <a:cubicBezTo>
                      <a:pt x="15" y="0"/>
                      <a:pt x="15" y="0"/>
                      <a:pt x="15" y="0"/>
                    </a:cubicBezTo>
                    <a:cubicBezTo>
                      <a:pt x="14" y="0"/>
                      <a:pt x="14" y="0"/>
                      <a:pt x="14" y="0"/>
                    </a:cubicBez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 name="Freeform 388">
                <a:extLst>
                  <a:ext uri="{FF2B5EF4-FFF2-40B4-BE49-F238E27FC236}">
                    <a16:creationId xmlns:a16="http://schemas.microsoft.com/office/drawing/2014/main" id="{33A8D887-B0D9-48EE-A30F-B72529AB3F4B}"/>
                  </a:ext>
                </a:extLst>
              </p:cNvPr>
              <p:cNvSpPr>
                <a:spLocks/>
              </p:cNvSpPr>
              <p:nvPr/>
            </p:nvSpPr>
            <p:spPr bwMode="auto">
              <a:xfrm>
                <a:off x="3665" y="1193"/>
                <a:ext cx="135" cy="142"/>
              </a:xfrm>
              <a:custGeom>
                <a:avLst/>
                <a:gdLst>
                  <a:gd name="T0" fmla="*/ 31 w 57"/>
                  <a:gd name="T1" fmla="*/ 0 h 60"/>
                  <a:gd name="T2" fmla="*/ 30 w 57"/>
                  <a:gd name="T3" fmla="*/ 0 h 60"/>
                  <a:gd name="T4" fmla="*/ 17 w 57"/>
                  <a:gd name="T5" fmla="*/ 1 h 60"/>
                  <a:gd name="T6" fmla="*/ 14 w 57"/>
                  <a:gd name="T7" fmla="*/ 3 h 60"/>
                  <a:gd name="T8" fmla="*/ 13 w 57"/>
                  <a:gd name="T9" fmla="*/ 4 h 60"/>
                  <a:gd name="T10" fmla="*/ 10 w 57"/>
                  <a:gd name="T11" fmla="*/ 5 h 60"/>
                  <a:gd name="T12" fmla="*/ 0 w 57"/>
                  <a:gd name="T13" fmla="*/ 11 h 60"/>
                  <a:gd name="T14" fmla="*/ 0 w 57"/>
                  <a:gd name="T15" fmla="*/ 60 h 60"/>
                  <a:gd name="T16" fmla="*/ 2 w 57"/>
                  <a:gd name="T17" fmla="*/ 60 h 60"/>
                  <a:gd name="T18" fmla="*/ 6 w 57"/>
                  <a:gd name="T19" fmla="*/ 60 h 60"/>
                  <a:gd name="T20" fmla="*/ 8 w 57"/>
                  <a:gd name="T21" fmla="*/ 59 h 60"/>
                  <a:gd name="T22" fmla="*/ 9 w 57"/>
                  <a:gd name="T23" fmla="*/ 57 h 60"/>
                  <a:gd name="T24" fmla="*/ 8 w 57"/>
                  <a:gd name="T25" fmla="*/ 56 h 60"/>
                  <a:gd name="T26" fmla="*/ 7 w 57"/>
                  <a:gd name="T27" fmla="*/ 53 h 60"/>
                  <a:gd name="T28" fmla="*/ 9 w 57"/>
                  <a:gd name="T29" fmla="*/ 51 h 60"/>
                  <a:gd name="T30" fmla="*/ 11 w 57"/>
                  <a:gd name="T31" fmla="*/ 50 h 60"/>
                  <a:gd name="T32" fmla="*/ 12 w 57"/>
                  <a:gd name="T33" fmla="*/ 50 h 60"/>
                  <a:gd name="T34" fmla="*/ 14 w 57"/>
                  <a:gd name="T35" fmla="*/ 50 h 60"/>
                  <a:gd name="T36" fmla="*/ 15 w 57"/>
                  <a:gd name="T37" fmla="*/ 50 h 60"/>
                  <a:gd name="T38" fmla="*/ 15 w 57"/>
                  <a:gd name="T39" fmla="*/ 49 h 60"/>
                  <a:gd name="T40" fmla="*/ 16 w 57"/>
                  <a:gd name="T41" fmla="*/ 48 h 60"/>
                  <a:gd name="T42" fmla="*/ 16 w 57"/>
                  <a:gd name="T43" fmla="*/ 48 h 60"/>
                  <a:gd name="T44" fmla="*/ 19 w 57"/>
                  <a:gd name="T45" fmla="*/ 46 h 60"/>
                  <a:gd name="T46" fmla="*/ 24 w 57"/>
                  <a:gd name="T47" fmla="*/ 45 h 60"/>
                  <a:gd name="T48" fmla="*/ 30 w 57"/>
                  <a:gd name="T49" fmla="*/ 43 h 60"/>
                  <a:gd name="T50" fmla="*/ 34 w 57"/>
                  <a:gd name="T51" fmla="*/ 42 h 60"/>
                  <a:gd name="T52" fmla="*/ 35 w 57"/>
                  <a:gd name="T53" fmla="*/ 43 h 60"/>
                  <a:gd name="T54" fmla="*/ 35 w 57"/>
                  <a:gd name="T55" fmla="*/ 43 h 60"/>
                  <a:gd name="T56" fmla="*/ 35 w 57"/>
                  <a:gd name="T57" fmla="*/ 43 h 60"/>
                  <a:gd name="T58" fmla="*/ 37 w 57"/>
                  <a:gd name="T59" fmla="*/ 45 h 60"/>
                  <a:gd name="T60" fmla="*/ 38 w 57"/>
                  <a:gd name="T61" fmla="*/ 45 h 60"/>
                  <a:gd name="T62" fmla="*/ 45 w 57"/>
                  <a:gd name="T63" fmla="*/ 44 h 60"/>
                  <a:gd name="T64" fmla="*/ 40 w 57"/>
                  <a:gd name="T65" fmla="*/ 37 h 60"/>
                  <a:gd name="T66" fmla="*/ 40 w 57"/>
                  <a:gd name="T67" fmla="*/ 37 h 60"/>
                  <a:gd name="T68" fmla="*/ 39 w 57"/>
                  <a:gd name="T69" fmla="*/ 36 h 60"/>
                  <a:gd name="T70" fmla="*/ 39 w 57"/>
                  <a:gd name="T71" fmla="*/ 36 h 60"/>
                  <a:gd name="T72" fmla="*/ 38 w 57"/>
                  <a:gd name="T73" fmla="*/ 36 h 60"/>
                  <a:gd name="T74" fmla="*/ 37 w 57"/>
                  <a:gd name="T75" fmla="*/ 36 h 60"/>
                  <a:gd name="T76" fmla="*/ 36 w 57"/>
                  <a:gd name="T77" fmla="*/ 36 h 60"/>
                  <a:gd name="T78" fmla="*/ 36 w 57"/>
                  <a:gd name="T79" fmla="*/ 36 h 60"/>
                  <a:gd name="T80" fmla="*/ 42 w 57"/>
                  <a:gd name="T81" fmla="*/ 32 h 60"/>
                  <a:gd name="T82" fmla="*/ 44 w 57"/>
                  <a:gd name="T83" fmla="*/ 27 h 60"/>
                  <a:gd name="T84" fmla="*/ 44 w 57"/>
                  <a:gd name="T85" fmla="*/ 23 h 60"/>
                  <a:gd name="T86" fmla="*/ 44 w 57"/>
                  <a:gd name="T87" fmla="*/ 19 h 60"/>
                  <a:gd name="T88" fmla="*/ 53 w 57"/>
                  <a:gd name="T89" fmla="*/ 14 h 60"/>
                  <a:gd name="T90" fmla="*/ 55 w 57"/>
                  <a:gd name="T91" fmla="*/ 15 h 60"/>
                  <a:gd name="T92" fmla="*/ 57 w 57"/>
                  <a:gd name="T93" fmla="*/ 8 h 60"/>
                  <a:gd name="T94" fmla="*/ 40 w 57"/>
                  <a:gd name="T95" fmla="*/ 3 h 60"/>
                  <a:gd name="T96" fmla="*/ 35 w 57"/>
                  <a:gd name="T97" fmla="*/ 1 h 60"/>
                  <a:gd name="T98" fmla="*/ 33 w 57"/>
                  <a:gd name="T99" fmla="*/ 0 h 60"/>
                  <a:gd name="T100" fmla="*/ 32 w 57"/>
                  <a:gd name="T101" fmla="*/ 0 h 60"/>
                  <a:gd name="T102" fmla="*/ 31 w 57"/>
                  <a:gd name="T103" fmla="*/ 0 h 60"/>
                  <a:gd name="T104" fmla="*/ 31 w 57"/>
                  <a:gd name="T10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 h="60">
                    <a:moveTo>
                      <a:pt x="31" y="0"/>
                    </a:moveTo>
                    <a:cubicBezTo>
                      <a:pt x="31" y="0"/>
                      <a:pt x="30" y="0"/>
                      <a:pt x="30" y="0"/>
                    </a:cubicBezTo>
                    <a:cubicBezTo>
                      <a:pt x="17" y="1"/>
                      <a:pt x="17" y="1"/>
                      <a:pt x="17" y="1"/>
                    </a:cubicBezTo>
                    <a:cubicBezTo>
                      <a:pt x="16" y="1"/>
                      <a:pt x="15" y="2"/>
                      <a:pt x="14" y="3"/>
                    </a:cubicBezTo>
                    <a:cubicBezTo>
                      <a:pt x="14" y="3"/>
                      <a:pt x="13" y="4"/>
                      <a:pt x="13" y="4"/>
                    </a:cubicBezTo>
                    <a:cubicBezTo>
                      <a:pt x="12" y="4"/>
                      <a:pt x="11" y="5"/>
                      <a:pt x="10" y="5"/>
                    </a:cubicBezTo>
                    <a:cubicBezTo>
                      <a:pt x="8" y="7"/>
                      <a:pt x="4" y="10"/>
                      <a:pt x="0" y="11"/>
                    </a:cubicBezTo>
                    <a:cubicBezTo>
                      <a:pt x="0" y="60"/>
                      <a:pt x="0" y="60"/>
                      <a:pt x="0" y="60"/>
                    </a:cubicBezTo>
                    <a:cubicBezTo>
                      <a:pt x="2" y="60"/>
                      <a:pt x="2" y="60"/>
                      <a:pt x="2" y="60"/>
                    </a:cubicBezTo>
                    <a:cubicBezTo>
                      <a:pt x="3" y="60"/>
                      <a:pt x="4" y="60"/>
                      <a:pt x="6" y="60"/>
                    </a:cubicBezTo>
                    <a:cubicBezTo>
                      <a:pt x="6" y="60"/>
                      <a:pt x="8" y="59"/>
                      <a:pt x="8" y="59"/>
                    </a:cubicBezTo>
                    <a:cubicBezTo>
                      <a:pt x="8" y="58"/>
                      <a:pt x="9" y="57"/>
                      <a:pt x="9" y="57"/>
                    </a:cubicBezTo>
                    <a:cubicBezTo>
                      <a:pt x="8" y="56"/>
                      <a:pt x="8" y="56"/>
                      <a:pt x="8" y="56"/>
                    </a:cubicBezTo>
                    <a:cubicBezTo>
                      <a:pt x="7" y="55"/>
                      <a:pt x="7" y="54"/>
                      <a:pt x="7" y="53"/>
                    </a:cubicBezTo>
                    <a:cubicBezTo>
                      <a:pt x="7" y="53"/>
                      <a:pt x="7" y="51"/>
                      <a:pt x="9" y="51"/>
                    </a:cubicBezTo>
                    <a:cubicBezTo>
                      <a:pt x="10" y="50"/>
                      <a:pt x="11" y="50"/>
                      <a:pt x="11" y="50"/>
                    </a:cubicBezTo>
                    <a:cubicBezTo>
                      <a:pt x="12" y="50"/>
                      <a:pt x="12" y="50"/>
                      <a:pt x="12" y="50"/>
                    </a:cubicBezTo>
                    <a:cubicBezTo>
                      <a:pt x="14" y="50"/>
                      <a:pt x="14" y="50"/>
                      <a:pt x="14" y="50"/>
                    </a:cubicBezTo>
                    <a:cubicBezTo>
                      <a:pt x="15" y="50"/>
                      <a:pt x="15" y="50"/>
                      <a:pt x="15" y="50"/>
                    </a:cubicBezTo>
                    <a:cubicBezTo>
                      <a:pt x="15" y="49"/>
                      <a:pt x="15" y="49"/>
                      <a:pt x="15" y="49"/>
                    </a:cubicBezTo>
                    <a:cubicBezTo>
                      <a:pt x="16" y="48"/>
                      <a:pt x="16" y="48"/>
                      <a:pt x="16" y="48"/>
                    </a:cubicBezTo>
                    <a:cubicBezTo>
                      <a:pt x="16" y="48"/>
                      <a:pt x="16" y="48"/>
                      <a:pt x="16" y="48"/>
                    </a:cubicBezTo>
                    <a:cubicBezTo>
                      <a:pt x="17" y="48"/>
                      <a:pt x="17" y="47"/>
                      <a:pt x="19" y="46"/>
                    </a:cubicBezTo>
                    <a:cubicBezTo>
                      <a:pt x="24" y="45"/>
                      <a:pt x="24" y="45"/>
                      <a:pt x="24" y="45"/>
                    </a:cubicBezTo>
                    <a:cubicBezTo>
                      <a:pt x="26" y="44"/>
                      <a:pt x="28" y="43"/>
                      <a:pt x="30" y="43"/>
                    </a:cubicBezTo>
                    <a:cubicBezTo>
                      <a:pt x="34" y="42"/>
                      <a:pt x="34" y="42"/>
                      <a:pt x="34" y="42"/>
                    </a:cubicBezTo>
                    <a:cubicBezTo>
                      <a:pt x="35" y="43"/>
                      <a:pt x="35" y="43"/>
                      <a:pt x="35" y="43"/>
                    </a:cubicBezTo>
                    <a:cubicBezTo>
                      <a:pt x="35" y="43"/>
                      <a:pt x="35" y="43"/>
                      <a:pt x="35" y="43"/>
                    </a:cubicBezTo>
                    <a:cubicBezTo>
                      <a:pt x="35" y="43"/>
                      <a:pt x="35" y="43"/>
                      <a:pt x="35" y="43"/>
                    </a:cubicBezTo>
                    <a:cubicBezTo>
                      <a:pt x="36" y="44"/>
                      <a:pt x="36" y="44"/>
                      <a:pt x="37" y="45"/>
                    </a:cubicBezTo>
                    <a:cubicBezTo>
                      <a:pt x="38" y="45"/>
                      <a:pt x="38" y="45"/>
                      <a:pt x="38" y="45"/>
                    </a:cubicBezTo>
                    <a:cubicBezTo>
                      <a:pt x="45" y="44"/>
                      <a:pt x="45" y="44"/>
                      <a:pt x="45" y="44"/>
                    </a:cubicBezTo>
                    <a:cubicBezTo>
                      <a:pt x="43" y="42"/>
                      <a:pt x="41" y="40"/>
                      <a:pt x="40" y="37"/>
                    </a:cubicBezTo>
                    <a:cubicBezTo>
                      <a:pt x="40" y="37"/>
                      <a:pt x="40" y="37"/>
                      <a:pt x="40" y="37"/>
                    </a:cubicBezTo>
                    <a:cubicBezTo>
                      <a:pt x="39" y="37"/>
                      <a:pt x="39" y="36"/>
                      <a:pt x="39" y="36"/>
                    </a:cubicBezTo>
                    <a:cubicBezTo>
                      <a:pt x="39" y="36"/>
                      <a:pt x="39" y="36"/>
                      <a:pt x="39" y="36"/>
                    </a:cubicBezTo>
                    <a:cubicBezTo>
                      <a:pt x="39" y="36"/>
                      <a:pt x="38" y="36"/>
                      <a:pt x="38" y="36"/>
                    </a:cubicBezTo>
                    <a:cubicBezTo>
                      <a:pt x="38" y="36"/>
                      <a:pt x="37" y="36"/>
                      <a:pt x="37" y="36"/>
                    </a:cubicBezTo>
                    <a:cubicBezTo>
                      <a:pt x="37" y="36"/>
                      <a:pt x="36" y="36"/>
                      <a:pt x="36" y="36"/>
                    </a:cubicBezTo>
                    <a:cubicBezTo>
                      <a:pt x="36" y="36"/>
                      <a:pt x="36" y="36"/>
                      <a:pt x="36" y="36"/>
                    </a:cubicBezTo>
                    <a:cubicBezTo>
                      <a:pt x="35" y="35"/>
                      <a:pt x="40" y="32"/>
                      <a:pt x="42" y="32"/>
                    </a:cubicBezTo>
                    <a:cubicBezTo>
                      <a:pt x="44" y="30"/>
                      <a:pt x="44" y="30"/>
                      <a:pt x="44" y="27"/>
                    </a:cubicBezTo>
                    <a:cubicBezTo>
                      <a:pt x="44" y="26"/>
                      <a:pt x="44" y="24"/>
                      <a:pt x="44" y="23"/>
                    </a:cubicBezTo>
                    <a:cubicBezTo>
                      <a:pt x="44" y="22"/>
                      <a:pt x="46" y="20"/>
                      <a:pt x="44" y="19"/>
                    </a:cubicBezTo>
                    <a:cubicBezTo>
                      <a:pt x="47" y="17"/>
                      <a:pt x="50" y="14"/>
                      <a:pt x="53" y="14"/>
                    </a:cubicBezTo>
                    <a:cubicBezTo>
                      <a:pt x="54" y="14"/>
                      <a:pt x="54" y="14"/>
                      <a:pt x="55" y="15"/>
                    </a:cubicBezTo>
                    <a:cubicBezTo>
                      <a:pt x="55" y="13"/>
                      <a:pt x="57" y="11"/>
                      <a:pt x="57" y="8"/>
                    </a:cubicBezTo>
                    <a:cubicBezTo>
                      <a:pt x="40" y="3"/>
                      <a:pt x="40" y="3"/>
                      <a:pt x="40" y="3"/>
                    </a:cubicBezTo>
                    <a:cubicBezTo>
                      <a:pt x="38" y="2"/>
                      <a:pt x="37" y="1"/>
                      <a:pt x="35" y="1"/>
                    </a:cubicBezTo>
                    <a:cubicBezTo>
                      <a:pt x="33" y="0"/>
                      <a:pt x="33" y="0"/>
                      <a:pt x="33" y="0"/>
                    </a:cubicBezTo>
                    <a:cubicBezTo>
                      <a:pt x="32" y="0"/>
                      <a:pt x="32" y="0"/>
                      <a:pt x="32" y="0"/>
                    </a:cubicBezTo>
                    <a:cubicBezTo>
                      <a:pt x="31" y="0"/>
                      <a:pt x="31" y="0"/>
                      <a:pt x="31" y="0"/>
                    </a:cubicBezTo>
                    <a:cubicBezTo>
                      <a:pt x="31"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 name="Freeform 389">
                <a:extLst>
                  <a:ext uri="{FF2B5EF4-FFF2-40B4-BE49-F238E27FC236}">
                    <a16:creationId xmlns:a16="http://schemas.microsoft.com/office/drawing/2014/main" id="{A2B2054E-9107-409C-AC6E-40946F4D37A3}"/>
                  </a:ext>
                </a:extLst>
              </p:cNvPr>
              <p:cNvSpPr>
                <a:spLocks/>
              </p:cNvSpPr>
              <p:nvPr/>
            </p:nvSpPr>
            <p:spPr bwMode="auto">
              <a:xfrm>
                <a:off x="3689" y="1304"/>
                <a:ext cx="134" cy="104"/>
              </a:xfrm>
              <a:custGeom>
                <a:avLst/>
                <a:gdLst>
                  <a:gd name="T0" fmla="*/ 22 w 57"/>
                  <a:gd name="T1" fmla="*/ 0 h 44"/>
                  <a:gd name="T2" fmla="*/ 21 w 57"/>
                  <a:gd name="T3" fmla="*/ 0 h 44"/>
                  <a:gd name="T4" fmla="*/ 15 w 57"/>
                  <a:gd name="T5" fmla="*/ 2 h 44"/>
                  <a:gd name="T6" fmla="*/ 11 w 57"/>
                  <a:gd name="T7" fmla="*/ 3 h 44"/>
                  <a:gd name="T8" fmla="*/ 10 w 57"/>
                  <a:gd name="T9" fmla="*/ 4 h 44"/>
                  <a:gd name="T10" fmla="*/ 10 w 57"/>
                  <a:gd name="T11" fmla="*/ 5 h 44"/>
                  <a:gd name="T12" fmla="*/ 9 w 57"/>
                  <a:gd name="T13" fmla="*/ 5 h 44"/>
                  <a:gd name="T14" fmla="*/ 10 w 57"/>
                  <a:gd name="T15" fmla="*/ 6 h 44"/>
                  <a:gd name="T16" fmla="*/ 10 w 57"/>
                  <a:gd name="T17" fmla="*/ 6 h 44"/>
                  <a:gd name="T18" fmla="*/ 11 w 57"/>
                  <a:gd name="T19" fmla="*/ 8 h 44"/>
                  <a:gd name="T20" fmla="*/ 12 w 57"/>
                  <a:gd name="T21" fmla="*/ 13 h 44"/>
                  <a:gd name="T22" fmla="*/ 8 w 57"/>
                  <a:gd name="T23" fmla="*/ 17 h 44"/>
                  <a:gd name="T24" fmla="*/ 7 w 57"/>
                  <a:gd name="T25" fmla="*/ 17 h 44"/>
                  <a:gd name="T26" fmla="*/ 7 w 57"/>
                  <a:gd name="T27" fmla="*/ 18 h 44"/>
                  <a:gd name="T28" fmla="*/ 7 w 57"/>
                  <a:gd name="T29" fmla="*/ 18 h 44"/>
                  <a:gd name="T30" fmla="*/ 7 w 57"/>
                  <a:gd name="T31" fmla="*/ 19 h 44"/>
                  <a:gd name="T32" fmla="*/ 6 w 57"/>
                  <a:gd name="T33" fmla="*/ 23 h 44"/>
                  <a:gd name="T34" fmla="*/ 6 w 57"/>
                  <a:gd name="T35" fmla="*/ 23 h 44"/>
                  <a:gd name="T36" fmla="*/ 5 w 57"/>
                  <a:gd name="T37" fmla="*/ 25 h 44"/>
                  <a:gd name="T38" fmla="*/ 4 w 57"/>
                  <a:gd name="T39" fmla="*/ 26 h 44"/>
                  <a:gd name="T40" fmla="*/ 0 w 57"/>
                  <a:gd name="T41" fmla="*/ 30 h 44"/>
                  <a:gd name="T42" fmla="*/ 0 w 57"/>
                  <a:gd name="T43" fmla="*/ 31 h 44"/>
                  <a:gd name="T44" fmla="*/ 3 w 57"/>
                  <a:gd name="T45" fmla="*/ 31 h 44"/>
                  <a:gd name="T46" fmla="*/ 8 w 57"/>
                  <a:gd name="T47" fmla="*/ 30 h 44"/>
                  <a:gd name="T48" fmla="*/ 11 w 57"/>
                  <a:gd name="T49" fmla="*/ 30 h 44"/>
                  <a:gd name="T50" fmla="*/ 12 w 57"/>
                  <a:gd name="T51" fmla="*/ 31 h 44"/>
                  <a:gd name="T52" fmla="*/ 9 w 57"/>
                  <a:gd name="T53" fmla="*/ 33 h 44"/>
                  <a:gd name="T54" fmla="*/ 2 w 57"/>
                  <a:gd name="T55" fmla="*/ 37 h 44"/>
                  <a:gd name="T56" fmla="*/ 1 w 57"/>
                  <a:gd name="T57" fmla="*/ 44 h 44"/>
                  <a:gd name="T58" fmla="*/ 22 w 57"/>
                  <a:gd name="T59" fmla="*/ 28 h 44"/>
                  <a:gd name="T60" fmla="*/ 31 w 57"/>
                  <a:gd name="T61" fmla="*/ 22 h 44"/>
                  <a:gd name="T62" fmla="*/ 41 w 57"/>
                  <a:gd name="T63" fmla="*/ 21 h 44"/>
                  <a:gd name="T64" fmla="*/ 44 w 57"/>
                  <a:gd name="T65" fmla="*/ 21 h 44"/>
                  <a:gd name="T66" fmla="*/ 49 w 57"/>
                  <a:gd name="T67" fmla="*/ 22 h 44"/>
                  <a:gd name="T68" fmla="*/ 49 w 57"/>
                  <a:gd name="T69" fmla="*/ 22 h 44"/>
                  <a:gd name="T70" fmla="*/ 54 w 57"/>
                  <a:gd name="T71" fmla="*/ 16 h 44"/>
                  <a:gd name="T72" fmla="*/ 57 w 57"/>
                  <a:gd name="T73" fmla="*/ 17 h 44"/>
                  <a:gd name="T74" fmla="*/ 57 w 57"/>
                  <a:gd name="T75" fmla="*/ 17 h 44"/>
                  <a:gd name="T76" fmla="*/ 52 w 57"/>
                  <a:gd name="T77" fmla="*/ 16 h 44"/>
                  <a:gd name="T78" fmla="*/ 40 w 57"/>
                  <a:gd name="T79" fmla="*/ 10 h 44"/>
                  <a:gd name="T80" fmla="*/ 36 w 57"/>
                  <a:gd name="T81" fmla="*/ 2 h 44"/>
                  <a:gd name="T82" fmla="*/ 29 w 57"/>
                  <a:gd name="T83" fmla="*/ 3 h 44"/>
                  <a:gd name="T84" fmla="*/ 28 w 57"/>
                  <a:gd name="T85" fmla="*/ 3 h 44"/>
                  <a:gd name="T86" fmla="*/ 23 w 57"/>
                  <a:gd name="T87" fmla="*/ 1 h 44"/>
                  <a:gd name="T88" fmla="*/ 23 w 57"/>
                  <a:gd name="T89" fmla="*/ 0 h 44"/>
                  <a:gd name="T90" fmla="*/ 22 w 57"/>
                  <a:gd name="T9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 h="44">
                    <a:moveTo>
                      <a:pt x="22" y="0"/>
                    </a:moveTo>
                    <a:cubicBezTo>
                      <a:pt x="21" y="0"/>
                      <a:pt x="21" y="0"/>
                      <a:pt x="21" y="0"/>
                    </a:cubicBezTo>
                    <a:cubicBezTo>
                      <a:pt x="19" y="1"/>
                      <a:pt x="17" y="1"/>
                      <a:pt x="15" y="2"/>
                    </a:cubicBezTo>
                    <a:cubicBezTo>
                      <a:pt x="11" y="3"/>
                      <a:pt x="11" y="3"/>
                      <a:pt x="11" y="3"/>
                    </a:cubicBezTo>
                    <a:cubicBezTo>
                      <a:pt x="10" y="4"/>
                      <a:pt x="10" y="4"/>
                      <a:pt x="10" y="4"/>
                    </a:cubicBezTo>
                    <a:cubicBezTo>
                      <a:pt x="10" y="5"/>
                      <a:pt x="10" y="5"/>
                      <a:pt x="10" y="5"/>
                    </a:cubicBezTo>
                    <a:cubicBezTo>
                      <a:pt x="9" y="5"/>
                      <a:pt x="9" y="5"/>
                      <a:pt x="9" y="5"/>
                    </a:cubicBezTo>
                    <a:cubicBezTo>
                      <a:pt x="10" y="6"/>
                      <a:pt x="10" y="6"/>
                      <a:pt x="10" y="6"/>
                    </a:cubicBezTo>
                    <a:cubicBezTo>
                      <a:pt x="10" y="6"/>
                      <a:pt x="10" y="6"/>
                      <a:pt x="10" y="6"/>
                    </a:cubicBezTo>
                    <a:cubicBezTo>
                      <a:pt x="10" y="7"/>
                      <a:pt x="11" y="7"/>
                      <a:pt x="11" y="8"/>
                    </a:cubicBezTo>
                    <a:cubicBezTo>
                      <a:pt x="13" y="9"/>
                      <a:pt x="13" y="11"/>
                      <a:pt x="12" y="13"/>
                    </a:cubicBezTo>
                    <a:cubicBezTo>
                      <a:pt x="11" y="15"/>
                      <a:pt x="9" y="16"/>
                      <a:pt x="8" y="17"/>
                    </a:cubicBezTo>
                    <a:cubicBezTo>
                      <a:pt x="7" y="17"/>
                      <a:pt x="7" y="17"/>
                      <a:pt x="7" y="17"/>
                    </a:cubicBezTo>
                    <a:cubicBezTo>
                      <a:pt x="7" y="18"/>
                      <a:pt x="7" y="18"/>
                      <a:pt x="7" y="18"/>
                    </a:cubicBezTo>
                    <a:cubicBezTo>
                      <a:pt x="7" y="18"/>
                      <a:pt x="7" y="18"/>
                      <a:pt x="7" y="18"/>
                    </a:cubicBezTo>
                    <a:cubicBezTo>
                      <a:pt x="7" y="19"/>
                      <a:pt x="7" y="19"/>
                      <a:pt x="7" y="19"/>
                    </a:cubicBezTo>
                    <a:cubicBezTo>
                      <a:pt x="7" y="20"/>
                      <a:pt x="7" y="21"/>
                      <a:pt x="6" y="23"/>
                    </a:cubicBezTo>
                    <a:cubicBezTo>
                      <a:pt x="6" y="23"/>
                      <a:pt x="6" y="23"/>
                      <a:pt x="6" y="23"/>
                    </a:cubicBezTo>
                    <a:cubicBezTo>
                      <a:pt x="6" y="24"/>
                      <a:pt x="5" y="24"/>
                      <a:pt x="5" y="25"/>
                    </a:cubicBezTo>
                    <a:cubicBezTo>
                      <a:pt x="4" y="26"/>
                      <a:pt x="4" y="26"/>
                      <a:pt x="4" y="26"/>
                    </a:cubicBezTo>
                    <a:cubicBezTo>
                      <a:pt x="4" y="27"/>
                      <a:pt x="1" y="29"/>
                      <a:pt x="0" y="30"/>
                    </a:cubicBezTo>
                    <a:cubicBezTo>
                      <a:pt x="0" y="31"/>
                      <a:pt x="0" y="31"/>
                      <a:pt x="0" y="31"/>
                    </a:cubicBezTo>
                    <a:cubicBezTo>
                      <a:pt x="0" y="31"/>
                      <a:pt x="1" y="31"/>
                      <a:pt x="3" y="31"/>
                    </a:cubicBezTo>
                    <a:cubicBezTo>
                      <a:pt x="5" y="31"/>
                      <a:pt x="7" y="31"/>
                      <a:pt x="8" y="30"/>
                    </a:cubicBezTo>
                    <a:cubicBezTo>
                      <a:pt x="9" y="30"/>
                      <a:pt x="10" y="30"/>
                      <a:pt x="11" y="30"/>
                    </a:cubicBezTo>
                    <a:cubicBezTo>
                      <a:pt x="12" y="30"/>
                      <a:pt x="12" y="30"/>
                      <a:pt x="12" y="31"/>
                    </a:cubicBezTo>
                    <a:cubicBezTo>
                      <a:pt x="13" y="32"/>
                      <a:pt x="10" y="33"/>
                      <a:pt x="9" y="33"/>
                    </a:cubicBezTo>
                    <a:cubicBezTo>
                      <a:pt x="8" y="34"/>
                      <a:pt x="3" y="35"/>
                      <a:pt x="2" y="37"/>
                    </a:cubicBezTo>
                    <a:cubicBezTo>
                      <a:pt x="1" y="39"/>
                      <a:pt x="1" y="42"/>
                      <a:pt x="1" y="44"/>
                    </a:cubicBezTo>
                    <a:cubicBezTo>
                      <a:pt x="8" y="38"/>
                      <a:pt x="15" y="33"/>
                      <a:pt x="22" y="28"/>
                    </a:cubicBezTo>
                    <a:cubicBezTo>
                      <a:pt x="24" y="27"/>
                      <a:pt x="28" y="22"/>
                      <a:pt x="31" y="22"/>
                    </a:cubicBezTo>
                    <a:cubicBezTo>
                      <a:pt x="34" y="21"/>
                      <a:pt x="38" y="21"/>
                      <a:pt x="41" y="21"/>
                    </a:cubicBezTo>
                    <a:cubicBezTo>
                      <a:pt x="42" y="21"/>
                      <a:pt x="43" y="21"/>
                      <a:pt x="44" y="21"/>
                    </a:cubicBezTo>
                    <a:cubicBezTo>
                      <a:pt x="46" y="21"/>
                      <a:pt x="48" y="22"/>
                      <a:pt x="49" y="22"/>
                    </a:cubicBezTo>
                    <a:cubicBezTo>
                      <a:pt x="49" y="22"/>
                      <a:pt x="49" y="22"/>
                      <a:pt x="49" y="22"/>
                    </a:cubicBezTo>
                    <a:cubicBezTo>
                      <a:pt x="49" y="19"/>
                      <a:pt x="52" y="16"/>
                      <a:pt x="54" y="16"/>
                    </a:cubicBezTo>
                    <a:cubicBezTo>
                      <a:pt x="55" y="16"/>
                      <a:pt x="56" y="17"/>
                      <a:pt x="57" y="17"/>
                    </a:cubicBezTo>
                    <a:cubicBezTo>
                      <a:pt x="57" y="17"/>
                      <a:pt x="57" y="17"/>
                      <a:pt x="57" y="17"/>
                    </a:cubicBezTo>
                    <a:cubicBezTo>
                      <a:pt x="57" y="16"/>
                      <a:pt x="53" y="16"/>
                      <a:pt x="52" y="16"/>
                    </a:cubicBezTo>
                    <a:cubicBezTo>
                      <a:pt x="48" y="14"/>
                      <a:pt x="44" y="12"/>
                      <a:pt x="40" y="10"/>
                    </a:cubicBezTo>
                    <a:cubicBezTo>
                      <a:pt x="37" y="8"/>
                      <a:pt x="37" y="5"/>
                      <a:pt x="36" y="2"/>
                    </a:cubicBezTo>
                    <a:cubicBezTo>
                      <a:pt x="29" y="3"/>
                      <a:pt x="29" y="3"/>
                      <a:pt x="29" y="3"/>
                    </a:cubicBezTo>
                    <a:cubicBezTo>
                      <a:pt x="28" y="3"/>
                      <a:pt x="28" y="3"/>
                      <a:pt x="28" y="3"/>
                    </a:cubicBezTo>
                    <a:cubicBezTo>
                      <a:pt x="26" y="3"/>
                      <a:pt x="25" y="2"/>
                      <a:pt x="23" y="1"/>
                    </a:cubicBezTo>
                    <a:cubicBezTo>
                      <a:pt x="23" y="1"/>
                      <a:pt x="23" y="0"/>
                      <a:pt x="23" y="0"/>
                    </a:cubicBezTo>
                    <a:cubicBezTo>
                      <a:pt x="22" y="0"/>
                      <a:pt x="22"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 name="Freeform 390">
                <a:extLst>
                  <a:ext uri="{FF2B5EF4-FFF2-40B4-BE49-F238E27FC236}">
                    <a16:creationId xmlns:a16="http://schemas.microsoft.com/office/drawing/2014/main" id="{EF94B98C-0395-4050-8D0B-EAF67302368A}"/>
                  </a:ext>
                </a:extLst>
              </p:cNvPr>
              <p:cNvSpPr>
                <a:spLocks/>
              </p:cNvSpPr>
              <p:nvPr/>
            </p:nvSpPr>
            <p:spPr bwMode="auto">
              <a:xfrm>
                <a:off x="3665" y="959"/>
                <a:ext cx="184" cy="248"/>
              </a:xfrm>
              <a:custGeom>
                <a:avLst/>
                <a:gdLst>
                  <a:gd name="T0" fmla="*/ 12 w 78"/>
                  <a:gd name="T1" fmla="*/ 6 h 105"/>
                  <a:gd name="T2" fmla="*/ 2 w 78"/>
                  <a:gd name="T3" fmla="*/ 8 h 105"/>
                  <a:gd name="T4" fmla="*/ 0 w 78"/>
                  <a:gd name="T5" fmla="*/ 105 h 105"/>
                  <a:gd name="T6" fmla="*/ 8 w 78"/>
                  <a:gd name="T7" fmla="*/ 100 h 105"/>
                  <a:gd name="T8" fmla="*/ 11 w 78"/>
                  <a:gd name="T9" fmla="*/ 98 h 105"/>
                  <a:gd name="T10" fmla="*/ 29 w 78"/>
                  <a:gd name="T11" fmla="*/ 94 h 105"/>
                  <a:gd name="T12" fmla="*/ 32 w 78"/>
                  <a:gd name="T13" fmla="*/ 94 h 105"/>
                  <a:gd name="T14" fmla="*/ 34 w 78"/>
                  <a:gd name="T15" fmla="*/ 94 h 105"/>
                  <a:gd name="T16" fmla="*/ 41 w 78"/>
                  <a:gd name="T17" fmla="*/ 97 h 105"/>
                  <a:gd name="T18" fmla="*/ 59 w 78"/>
                  <a:gd name="T19" fmla="*/ 91 h 105"/>
                  <a:gd name="T20" fmla="*/ 62 w 78"/>
                  <a:gd name="T21" fmla="*/ 86 h 105"/>
                  <a:gd name="T22" fmla="*/ 61 w 78"/>
                  <a:gd name="T23" fmla="*/ 85 h 105"/>
                  <a:gd name="T24" fmla="*/ 64 w 78"/>
                  <a:gd name="T25" fmla="*/ 83 h 105"/>
                  <a:gd name="T26" fmla="*/ 62 w 78"/>
                  <a:gd name="T27" fmla="*/ 83 h 105"/>
                  <a:gd name="T28" fmla="*/ 66 w 78"/>
                  <a:gd name="T29" fmla="*/ 75 h 105"/>
                  <a:gd name="T30" fmla="*/ 68 w 78"/>
                  <a:gd name="T31" fmla="*/ 79 h 105"/>
                  <a:gd name="T32" fmla="*/ 77 w 78"/>
                  <a:gd name="T33" fmla="*/ 78 h 105"/>
                  <a:gd name="T34" fmla="*/ 78 w 78"/>
                  <a:gd name="T35" fmla="*/ 71 h 105"/>
                  <a:gd name="T36" fmla="*/ 77 w 78"/>
                  <a:gd name="T37" fmla="*/ 71 h 105"/>
                  <a:gd name="T38" fmla="*/ 73 w 78"/>
                  <a:gd name="T39" fmla="*/ 68 h 105"/>
                  <a:gd name="T40" fmla="*/ 66 w 78"/>
                  <a:gd name="T41" fmla="*/ 70 h 105"/>
                  <a:gd name="T42" fmla="*/ 62 w 78"/>
                  <a:gd name="T43" fmla="*/ 72 h 105"/>
                  <a:gd name="T44" fmla="*/ 60 w 78"/>
                  <a:gd name="T45" fmla="*/ 73 h 105"/>
                  <a:gd name="T46" fmla="*/ 54 w 78"/>
                  <a:gd name="T47" fmla="*/ 70 h 105"/>
                  <a:gd name="T48" fmla="*/ 50 w 78"/>
                  <a:gd name="T49" fmla="*/ 68 h 105"/>
                  <a:gd name="T50" fmla="*/ 46 w 78"/>
                  <a:gd name="T51" fmla="*/ 66 h 105"/>
                  <a:gd name="T52" fmla="*/ 47 w 78"/>
                  <a:gd name="T53" fmla="*/ 65 h 105"/>
                  <a:gd name="T54" fmla="*/ 46 w 78"/>
                  <a:gd name="T55" fmla="*/ 63 h 105"/>
                  <a:gd name="T56" fmla="*/ 45 w 78"/>
                  <a:gd name="T57" fmla="*/ 56 h 105"/>
                  <a:gd name="T58" fmla="*/ 48 w 78"/>
                  <a:gd name="T59" fmla="*/ 42 h 105"/>
                  <a:gd name="T60" fmla="*/ 47 w 78"/>
                  <a:gd name="T61" fmla="*/ 34 h 105"/>
                  <a:gd name="T62" fmla="*/ 46 w 78"/>
                  <a:gd name="T63" fmla="*/ 31 h 105"/>
                  <a:gd name="T64" fmla="*/ 41 w 78"/>
                  <a:gd name="T65" fmla="*/ 25 h 105"/>
                  <a:gd name="T66" fmla="*/ 33 w 78"/>
                  <a:gd name="T67" fmla="*/ 16 h 105"/>
                  <a:gd name="T68" fmla="*/ 29 w 78"/>
                  <a:gd name="T69" fmla="*/ 8 h 105"/>
                  <a:gd name="T70" fmla="*/ 28 w 78"/>
                  <a:gd name="T71" fmla="*/ 5 h 105"/>
                  <a:gd name="T72" fmla="*/ 26 w 78"/>
                  <a:gd name="T73" fmla="*/ 3 h 105"/>
                  <a:gd name="T74" fmla="*/ 21 w 78"/>
                  <a:gd name="T7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105">
                    <a:moveTo>
                      <a:pt x="20" y="0"/>
                    </a:moveTo>
                    <a:cubicBezTo>
                      <a:pt x="12" y="6"/>
                      <a:pt x="12" y="6"/>
                      <a:pt x="12" y="6"/>
                    </a:cubicBezTo>
                    <a:cubicBezTo>
                      <a:pt x="11" y="6"/>
                      <a:pt x="11" y="6"/>
                      <a:pt x="10" y="7"/>
                    </a:cubicBezTo>
                    <a:cubicBezTo>
                      <a:pt x="8" y="7"/>
                      <a:pt x="4" y="8"/>
                      <a:pt x="2" y="8"/>
                    </a:cubicBezTo>
                    <a:cubicBezTo>
                      <a:pt x="1" y="8"/>
                      <a:pt x="1" y="8"/>
                      <a:pt x="0" y="8"/>
                    </a:cubicBezTo>
                    <a:cubicBezTo>
                      <a:pt x="0" y="105"/>
                      <a:pt x="0" y="105"/>
                      <a:pt x="0" y="105"/>
                    </a:cubicBezTo>
                    <a:cubicBezTo>
                      <a:pt x="3" y="104"/>
                      <a:pt x="5" y="102"/>
                      <a:pt x="8" y="100"/>
                    </a:cubicBezTo>
                    <a:cubicBezTo>
                      <a:pt x="8" y="100"/>
                      <a:pt x="8" y="100"/>
                      <a:pt x="8" y="100"/>
                    </a:cubicBezTo>
                    <a:cubicBezTo>
                      <a:pt x="9" y="100"/>
                      <a:pt x="10" y="99"/>
                      <a:pt x="10" y="99"/>
                    </a:cubicBezTo>
                    <a:cubicBezTo>
                      <a:pt x="11" y="99"/>
                      <a:pt x="11" y="98"/>
                      <a:pt x="11" y="98"/>
                    </a:cubicBezTo>
                    <a:cubicBezTo>
                      <a:pt x="13" y="97"/>
                      <a:pt x="15" y="96"/>
                      <a:pt x="17" y="96"/>
                    </a:cubicBezTo>
                    <a:cubicBezTo>
                      <a:pt x="29" y="94"/>
                      <a:pt x="29" y="94"/>
                      <a:pt x="29" y="94"/>
                    </a:cubicBezTo>
                    <a:cubicBezTo>
                      <a:pt x="30" y="94"/>
                      <a:pt x="30" y="94"/>
                      <a:pt x="31" y="94"/>
                    </a:cubicBezTo>
                    <a:cubicBezTo>
                      <a:pt x="31" y="94"/>
                      <a:pt x="31" y="94"/>
                      <a:pt x="32" y="94"/>
                    </a:cubicBezTo>
                    <a:cubicBezTo>
                      <a:pt x="33" y="94"/>
                      <a:pt x="33" y="94"/>
                      <a:pt x="33" y="94"/>
                    </a:cubicBezTo>
                    <a:cubicBezTo>
                      <a:pt x="33" y="94"/>
                      <a:pt x="34" y="94"/>
                      <a:pt x="34" y="94"/>
                    </a:cubicBezTo>
                    <a:cubicBezTo>
                      <a:pt x="37" y="95"/>
                      <a:pt x="37" y="95"/>
                      <a:pt x="37" y="95"/>
                    </a:cubicBezTo>
                    <a:cubicBezTo>
                      <a:pt x="38" y="96"/>
                      <a:pt x="40" y="97"/>
                      <a:pt x="41" y="97"/>
                    </a:cubicBezTo>
                    <a:cubicBezTo>
                      <a:pt x="57" y="102"/>
                      <a:pt x="57" y="102"/>
                      <a:pt x="57" y="102"/>
                    </a:cubicBezTo>
                    <a:cubicBezTo>
                      <a:pt x="57" y="99"/>
                      <a:pt x="57" y="94"/>
                      <a:pt x="59" y="91"/>
                    </a:cubicBezTo>
                    <a:cubicBezTo>
                      <a:pt x="60" y="89"/>
                      <a:pt x="62" y="87"/>
                      <a:pt x="63" y="86"/>
                    </a:cubicBezTo>
                    <a:cubicBezTo>
                      <a:pt x="63" y="86"/>
                      <a:pt x="62" y="86"/>
                      <a:pt x="62" y="86"/>
                    </a:cubicBezTo>
                    <a:cubicBezTo>
                      <a:pt x="60" y="86"/>
                      <a:pt x="60" y="85"/>
                      <a:pt x="61" y="84"/>
                    </a:cubicBezTo>
                    <a:cubicBezTo>
                      <a:pt x="61" y="85"/>
                      <a:pt x="61" y="85"/>
                      <a:pt x="61" y="85"/>
                    </a:cubicBezTo>
                    <a:cubicBezTo>
                      <a:pt x="62" y="84"/>
                      <a:pt x="64" y="84"/>
                      <a:pt x="65" y="83"/>
                    </a:cubicBezTo>
                    <a:cubicBezTo>
                      <a:pt x="65" y="83"/>
                      <a:pt x="64" y="83"/>
                      <a:pt x="64" y="83"/>
                    </a:cubicBezTo>
                    <a:cubicBezTo>
                      <a:pt x="64" y="83"/>
                      <a:pt x="63" y="83"/>
                      <a:pt x="63" y="83"/>
                    </a:cubicBezTo>
                    <a:cubicBezTo>
                      <a:pt x="63" y="83"/>
                      <a:pt x="63" y="83"/>
                      <a:pt x="62" y="83"/>
                    </a:cubicBezTo>
                    <a:cubicBezTo>
                      <a:pt x="62" y="83"/>
                      <a:pt x="62" y="83"/>
                      <a:pt x="61" y="83"/>
                    </a:cubicBezTo>
                    <a:cubicBezTo>
                      <a:pt x="61" y="83"/>
                      <a:pt x="64" y="75"/>
                      <a:pt x="66" y="75"/>
                    </a:cubicBezTo>
                    <a:cubicBezTo>
                      <a:pt x="67" y="75"/>
                      <a:pt x="67" y="76"/>
                      <a:pt x="67" y="76"/>
                    </a:cubicBezTo>
                    <a:cubicBezTo>
                      <a:pt x="68" y="78"/>
                      <a:pt x="64" y="78"/>
                      <a:pt x="68" y="79"/>
                    </a:cubicBezTo>
                    <a:cubicBezTo>
                      <a:pt x="69" y="79"/>
                      <a:pt x="71" y="79"/>
                      <a:pt x="73" y="79"/>
                    </a:cubicBezTo>
                    <a:cubicBezTo>
                      <a:pt x="75" y="79"/>
                      <a:pt x="76" y="79"/>
                      <a:pt x="77" y="78"/>
                    </a:cubicBezTo>
                    <a:cubicBezTo>
                      <a:pt x="77" y="78"/>
                      <a:pt x="77" y="77"/>
                      <a:pt x="77" y="76"/>
                    </a:cubicBezTo>
                    <a:cubicBezTo>
                      <a:pt x="78" y="75"/>
                      <a:pt x="78" y="73"/>
                      <a:pt x="78" y="71"/>
                    </a:cubicBezTo>
                    <a:cubicBezTo>
                      <a:pt x="77" y="72"/>
                      <a:pt x="77" y="72"/>
                      <a:pt x="77" y="72"/>
                    </a:cubicBezTo>
                    <a:cubicBezTo>
                      <a:pt x="77" y="71"/>
                      <a:pt x="77" y="71"/>
                      <a:pt x="77" y="71"/>
                    </a:cubicBezTo>
                    <a:cubicBezTo>
                      <a:pt x="76" y="70"/>
                      <a:pt x="76" y="69"/>
                      <a:pt x="75" y="69"/>
                    </a:cubicBezTo>
                    <a:cubicBezTo>
                      <a:pt x="75" y="68"/>
                      <a:pt x="74" y="68"/>
                      <a:pt x="73" y="68"/>
                    </a:cubicBezTo>
                    <a:cubicBezTo>
                      <a:pt x="71" y="68"/>
                      <a:pt x="68" y="69"/>
                      <a:pt x="67" y="70"/>
                    </a:cubicBezTo>
                    <a:cubicBezTo>
                      <a:pt x="66" y="70"/>
                      <a:pt x="66" y="70"/>
                      <a:pt x="66" y="70"/>
                    </a:cubicBezTo>
                    <a:cubicBezTo>
                      <a:pt x="65" y="71"/>
                      <a:pt x="65" y="71"/>
                      <a:pt x="64" y="71"/>
                    </a:cubicBezTo>
                    <a:cubicBezTo>
                      <a:pt x="62" y="72"/>
                      <a:pt x="62" y="72"/>
                      <a:pt x="62" y="72"/>
                    </a:cubicBezTo>
                    <a:cubicBezTo>
                      <a:pt x="62" y="72"/>
                      <a:pt x="61" y="73"/>
                      <a:pt x="60" y="73"/>
                    </a:cubicBezTo>
                    <a:cubicBezTo>
                      <a:pt x="60" y="73"/>
                      <a:pt x="60" y="73"/>
                      <a:pt x="60" y="73"/>
                    </a:cubicBezTo>
                    <a:cubicBezTo>
                      <a:pt x="59" y="73"/>
                      <a:pt x="59" y="72"/>
                      <a:pt x="58" y="72"/>
                    </a:cubicBezTo>
                    <a:cubicBezTo>
                      <a:pt x="57" y="72"/>
                      <a:pt x="56" y="71"/>
                      <a:pt x="54" y="70"/>
                    </a:cubicBezTo>
                    <a:cubicBezTo>
                      <a:pt x="53" y="70"/>
                      <a:pt x="52" y="69"/>
                      <a:pt x="51" y="69"/>
                    </a:cubicBezTo>
                    <a:cubicBezTo>
                      <a:pt x="50" y="68"/>
                      <a:pt x="50" y="68"/>
                      <a:pt x="50" y="68"/>
                    </a:cubicBezTo>
                    <a:cubicBezTo>
                      <a:pt x="50" y="68"/>
                      <a:pt x="49" y="67"/>
                      <a:pt x="49" y="67"/>
                    </a:cubicBezTo>
                    <a:cubicBezTo>
                      <a:pt x="46" y="66"/>
                      <a:pt x="46" y="66"/>
                      <a:pt x="46" y="66"/>
                    </a:cubicBezTo>
                    <a:cubicBezTo>
                      <a:pt x="47" y="65"/>
                      <a:pt x="47" y="65"/>
                      <a:pt x="47" y="65"/>
                    </a:cubicBezTo>
                    <a:cubicBezTo>
                      <a:pt x="47" y="65"/>
                      <a:pt x="47" y="65"/>
                      <a:pt x="47" y="65"/>
                    </a:cubicBezTo>
                    <a:cubicBezTo>
                      <a:pt x="46" y="65"/>
                      <a:pt x="46" y="65"/>
                      <a:pt x="46" y="65"/>
                    </a:cubicBezTo>
                    <a:cubicBezTo>
                      <a:pt x="46" y="64"/>
                      <a:pt x="46" y="64"/>
                      <a:pt x="46" y="63"/>
                    </a:cubicBezTo>
                    <a:cubicBezTo>
                      <a:pt x="45" y="62"/>
                      <a:pt x="45" y="62"/>
                      <a:pt x="45" y="61"/>
                    </a:cubicBezTo>
                    <a:cubicBezTo>
                      <a:pt x="45" y="59"/>
                      <a:pt x="45" y="58"/>
                      <a:pt x="45" y="56"/>
                    </a:cubicBezTo>
                    <a:cubicBezTo>
                      <a:pt x="45" y="55"/>
                      <a:pt x="46" y="55"/>
                      <a:pt x="46" y="54"/>
                    </a:cubicBezTo>
                    <a:cubicBezTo>
                      <a:pt x="46" y="50"/>
                      <a:pt x="47" y="47"/>
                      <a:pt x="48" y="42"/>
                    </a:cubicBezTo>
                    <a:cubicBezTo>
                      <a:pt x="49" y="41"/>
                      <a:pt x="49" y="39"/>
                      <a:pt x="48" y="38"/>
                    </a:cubicBezTo>
                    <a:cubicBezTo>
                      <a:pt x="48" y="36"/>
                      <a:pt x="47" y="36"/>
                      <a:pt x="47" y="34"/>
                    </a:cubicBezTo>
                    <a:cubicBezTo>
                      <a:pt x="46" y="33"/>
                      <a:pt x="46" y="32"/>
                      <a:pt x="46" y="32"/>
                    </a:cubicBezTo>
                    <a:cubicBezTo>
                      <a:pt x="46" y="31"/>
                      <a:pt x="46" y="31"/>
                      <a:pt x="46" y="31"/>
                    </a:cubicBezTo>
                    <a:cubicBezTo>
                      <a:pt x="46" y="30"/>
                      <a:pt x="45" y="30"/>
                      <a:pt x="45" y="29"/>
                    </a:cubicBezTo>
                    <a:cubicBezTo>
                      <a:pt x="44" y="27"/>
                      <a:pt x="42" y="26"/>
                      <a:pt x="41" y="25"/>
                    </a:cubicBezTo>
                    <a:cubicBezTo>
                      <a:pt x="39" y="24"/>
                      <a:pt x="39" y="24"/>
                      <a:pt x="39" y="24"/>
                    </a:cubicBezTo>
                    <a:cubicBezTo>
                      <a:pt x="37" y="21"/>
                      <a:pt x="35" y="19"/>
                      <a:pt x="33" y="16"/>
                    </a:cubicBezTo>
                    <a:cubicBezTo>
                      <a:pt x="32" y="14"/>
                      <a:pt x="31" y="12"/>
                      <a:pt x="30" y="10"/>
                    </a:cubicBezTo>
                    <a:cubicBezTo>
                      <a:pt x="29" y="8"/>
                      <a:pt x="29" y="8"/>
                      <a:pt x="29" y="8"/>
                    </a:cubicBezTo>
                    <a:cubicBezTo>
                      <a:pt x="29" y="7"/>
                      <a:pt x="29" y="7"/>
                      <a:pt x="29" y="7"/>
                    </a:cubicBezTo>
                    <a:cubicBezTo>
                      <a:pt x="28" y="7"/>
                      <a:pt x="28" y="6"/>
                      <a:pt x="28" y="5"/>
                    </a:cubicBezTo>
                    <a:cubicBezTo>
                      <a:pt x="28" y="5"/>
                      <a:pt x="28" y="5"/>
                      <a:pt x="28" y="5"/>
                    </a:cubicBezTo>
                    <a:cubicBezTo>
                      <a:pt x="27" y="4"/>
                      <a:pt x="27" y="3"/>
                      <a:pt x="26" y="3"/>
                    </a:cubicBezTo>
                    <a:cubicBezTo>
                      <a:pt x="26" y="3"/>
                      <a:pt x="26" y="3"/>
                      <a:pt x="26" y="3"/>
                    </a:cubicBezTo>
                    <a:cubicBezTo>
                      <a:pt x="24" y="2"/>
                      <a:pt x="22" y="1"/>
                      <a:pt x="21" y="0"/>
                    </a:cubicBezTo>
                    <a:cubicBezTo>
                      <a:pt x="20" y="0"/>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 name="Rectangle 391">
                <a:extLst>
                  <a:ext uri="{FF2B5EF4-FFF2-40B4-BE49-F238E27FC236}">
                    <a16:creationId xmlns:a16="http://schemas.microsoft.com/office/drawing/2014/main" id="{23AB68CA-7C07-4A74-9BBF-C5E796F1B785}"/>
                  </a:ext>
                </a:extLst>
              </p:cNvPr>
              <p:cNvSpPr>
                <a:spLocks noChangeArrowheads="1"/>
              </p:cNvSpPr>
              <p:nvPr/>
            </p:nvSpPr>
            <p:spPr bwMode="auto">
              <a:xfrm>
                <a:off x="3830" y="105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 name="Freeform 392">
                <a:extLst>
                  <a:ext uri="{FF2B5EF4-FFF2-40B4-BE49-F238E27FC236}">
                    <a16:creationId xmlns:a16="http://schemas.microsoft.com/office/drawing/2014/main" id="{CC0A19B2-3FBA-4255-B314-C621AA433738}"/>
                  </a:ext>
                </a:extLst>
              </p:cNvPr>
              <p:cNvSpPr>
                <a:spLocks/>
              </p:cNvSpPr>
              <p:nvPr/>
            </p:nvSpPr>
            <p:spPr bwMode="auto">
              <a:xfrm>
                <a:off x="3830" y="105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 name="Freeform 393">
                <a:extLst>
                  <a:ext uri="{FF2B5EF4-FFF2-40B4-BE49-F238E27FC236}">
                    <a16:creationId xmlns:a16="http://schemas.microsoft.com/office/drawing/2014/main" id="{E9542DC5-FBBE-482C-9DF2-51802767CECA}"/>
                  </a:ext>
                </a:extLst>
              </p:cNvPr>
              <p:cNvSpPr>
                <a:spLocks/>
              </p:cNvSpPr>
              <p:nvPr/>
            </p:nvSpPr>
            <p:spPr bwMode="auto">
              <a:xfrm>
                <a:off x="3724" y="947"/>
                <a:ext cx="132" cy="159"/>
              </a:xfrm>
              <a:custGeom>
                <a:avLst/>
                <a:gdLst>
                  <a:gd name="T0" fmla="*/ 5 w 56"/>
                  <a:gd name="T1" fmla="*/ 2 h 67"/>
                  <a:gd name="T2" fmla="*/ 3 w 56"/>
                  <a:gd name="T3" fmla="*/ 2 h 67"/>
                  <a:gd name="T4" fmla="*/ 1 w 56"/>
                  <a:gd name="T5" fmla="*/ 2 h 67"/>
                  <a:gd name="T6" fmla="*/ 1 w 56"/>
                  <a:gd name="T7" fmla="*/ 2 h 67"/>
                  <a:gd name="T8" fmla="*/ 5 w 56"/>
                  <a:gd name="T9" fmla="*/ 5 h 67"/>
                  <a:gd name="T10" fmla="*/ 8 w 56"/>
                  <a:gd name="T11" fmla="*/ 10 h 67"/>
                  <a:gd name="T12" fmla="*/ 9 w 56"/>
                  <a:gd name="T13" fmla="*/ 13 h 67"/>
                  <a:gd name="T14" fmla="*/ 18 w 56"/>
                  <a:gd name="T15" fmla="*/ 25 h 67"/>
                  <a:gd name="T16" fmla="*/ 24 w 56"/>
                  <a:gd name="T17" fmla="*/ 31 h 67"/>
                  <a:gd name="T18" fmla="*/ 26 w 56"/>
                  <a:gd name="T19" fmla="*/ 37 h 67"/>
                  <a:gd name="T20" fmla="*/ 27 w 56"/>
                  <a:gd name="T21" fmla="*/ 49 h 67"/>
                  <a:gd name="T22" fmla="*/ 25 w 56"/>
                  <a:gd name="T23" fmla="*/ 61 h 67"/>
                  <a:gd name="T24" fmla="*/ 25 w 56"/>
                  <a:gd name="T25" fmla="*/ 65 h 67"/>
                  <a:gd name="T26" fmla="*/ 25 w 56"/>
                  <a:gd name="T27" fmla="*/ 67 h 67"/>
                  <a:gd name="T28" fmla="*/ 27 w 56"/>
                  <a:gd name="T29" fmla="*/ 66 h 67"/>
                  <a:gd name="T30" fmla="*/ 29 w 56"/>
                  <a:gd name="T31" fmla="*/ 63 h 67"/>
                  <a:gd name="T32" fmla="*/ 32 w 56"/>
                  <a:gd name="T33" fmla="*/ 60 h 67"/>
                  <a:gd name="T34" fmla="*/ 33 w 56"/>
                  <a:gd name="T35" fmla="*/ 59 h 67"/>
                  <a:gd name="T36" fmla="*/ 34 w 56"/>
                  <a:gd name="T37" fmla="*/ 57 h 67"/>
                  <a:gd name="T38" fmla="*/ 37 w 56"/>
                  <a:gd name="T39" fmla="*/ 55 h 67"/>
                  <a:gd name="T40" fmla="*/ 37 w 56"/>
                  <a:gd name="T41" fmla="*/ 54 h 67"/>
                  <a:gd name="T42" fmla="*/ 38 w 56"/>
                  <a:gd name="T43" fmla="*/ 52 h 67"/>
                  <a:gd name="T44" fmla="*/ 37 w 56"/>
                  <a:gd name="T45" fmla="*/ 51 h 67"/>
                  <a:gd name="T46" fmla="*/ 38 w 56"/>
                  <a:gd name="T47" fmla="*/ 47 h 67"/>
                  <a:gd name="T48" fmla="*/ 41 w 56"/>
                  <a:gd name="T49" fmla="*/ 43 h 67"/>
                  <a:gd name="T50" fmla="*/ 44 w 56"/>
                  <a:gd name="T51" fmla="*/ 44 h 67"/>
                  <a:gd name="T52" fmla="*/ 45 w 56"/>
                  <a:gd name="T53" fmla="*/ 45 h 67"/>
                  <a:gd name="T54" fmla="*/ 46 w 56"/>
                  <a:gd name="T55" fmla="*/ 44 h 67"/>
                  <a:gd name="T56" fmla="*/ 49 w 56"/>
                  <a:gd name="T57" fmla="*/ 44 h 67"/>
                  <a:gd name="T58" fmla="*/ 51 w 56"/>
                  <a:gd name="T59" fmla="*/ 44 h 67"/>
                  <a:gd name="T60" fmla="*/ 52 w 56"/>
                  <a:gd name="T61" fmla="*/ 45 h 67"/>
                  <a:gd name="T62" fmla="*/ 53 w 56"/>
                  <a:gd name="T63" fmla="*/ 46 h 67"/>
                  <a:gd name="T64" fmla="*/ 54 w 56"/>
                  <a:gd name="T65" fmla="*/ 46 h 67"/>
                  <a:gd name="T66" fmla="*/ 56 w 56"/>
                  <a:gd name="T67" fmla="*/ 45 h 67"/>
                  <a:gd name="T68" fmla="*/ 56 w 56"/>
                  <a:gd name="T69" fmla="*/ 41 h 67"/>
                  <a:gd name="T70" fmla="*/ 56 w 56"/>
                  <a:gd name="T71" fmla="*/ 39 h 67"/>
                  <a:gd name="T72" fmla="*/ 52 w 56"/>
                  <a:gd name="T73" fmla="*/ 41 h 67"/>
                  <a:gd name="T74" fmla="*/ 53 w 56"/>
                  <a:gd name="T75" fmla="*/ 38 h 67"/>
                  <a:gd name="T76" fmla="*/ 45 w 56"/>
                  <a:gd name="T77" fmla="*/ 28 h 67"/>
                  <a:gd name="T78" fmla="*/ 48 w 56"/>
                  <a:gd name="T79" fmla="*/ 28 h 67"/>
                  <a:gd name="T80" fmla="*/ 47 w 56"/>
                  <a:gd name="T81" fmla="*/ 28 h 67"/>
                  <a:gd name="T82" fmla="*/ 40 w 56"/>
                  <a:gd name="T83" fmla="*/ 19 h 67"/>
                  <a:gd name="T84" fmla="*/ 41 w 56"/>
                  <a:gd name="T85" fmla="*/ 18 h 67"/>
                  <a:gd name="T86" fmla="*/ 42 w 56"/>
                  <a:gd name="T87" fmla="*/ 17 h 67"/>
                  <a:gd name="T88" fmla="*/ 42 w 56"/>
                  <a:gd name="T89" fmla="*/ 12 h 67"/>
                  <a:gd name="T90" fmla="*/ 41 w 56"/>
                  <a:gd name="T91" fmla="*/ 12 h 67"/>
                  <a:gd name="T92" fmla="*/ 35 w 56"/>
                  <a:gd name="T93" fmla="*/ 10 h 67"/>
                  <a:gd name="T94" fmla="*/ 28 w 56"/>
                  <a:gd name="T95" fmla="*/ 7 h 67"/>
                  <a:gd name="T96" fmla="*/ 15 w 56"/>
                  <a:gd name="T97" fmla="*/ 1 h 67"/>
                  <a:gd name="T98" fmla="*/ 12 w 56"/>
                  <a:gd name="T9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67">
                    <a:moveTo>
                      <a:pt x="12" y="0"/>
                    </a:moveTo>
                    <a:cubicBezTo>
                      <a:pt x="9" y="1"/>
                      <a:pt x="8" y="2"/>
                      <a:pt x="5" y="2"/>
                    </a:cubicBezTo>
                    <a:cubicBezTo>
                      <a:pt x="4" y="2"/>
                      <a:pt x="4" y="2"/>
                      <a:pt x="4" y="2"/>
                    </a:cubicBezTo>
                    <a:cubicBezTo>
                      <a:pt x="3" y="2"/>
                      <a:pt x="3" y="2"/>
                      <a:pt x="3" y="2"/>
                    </a:cubicBezTo>
                    <a:cubicBezTo>
                      <a:pt x="3" y="2"/>
                      <a:pt x="2" y="2"/>
                      <a:pt x="2" y="2"/>
                    </a:cubicBezTo>
                    <a:cubicBezTo>
                      <a:pt x="1" y="2"/>
                      <a:pt x="1" y="2"/>
                      <a:pt x="1" y="2"/>
                    </a:cubicBezTo>
                    <a:cubicBezTo>
                      <a:pt x="0" y="2"/>
                      <a:pt x="0" y="2"/>
                      <a:pt x="0" y="2"/>
                    </a:cubicBezTo>
                    <a:cubicBezTo>
                      <a:pt x="1" y="2"/>
                      <a:pt x="1" y="2"/>
                      <a:pt x="1" y="2"/>
                    </a:cubicBezTo>
                    <a:cubicBezTo>
                      <a:pt x="1" y="3"/>
                      <a:pt x="2" y="3"/>
                      <a:pt x="3" y="3"/>
                    </a:cubicBezTo>
                    <a:cubicBezTo>
                      <a:pt x="4" y="4"/>
                      <a:pt x="4" y="4"/>
                      <a:pt x="5" y="5"/>
                    </a:cubicBezTo>
                    <a:cubicBezTo>
                      <a:pt x="6" y="6"/>
                      <a:pt x="6" y="7"/>
                      <a:pt x="7" y="8"/>
                    </a:cubicBezTo>
                    <a:cubicBezTo>
                      <a:pt x="7" y="9"/>
                      <a:pt x="7" y="9"/>
                      <a:pt x="8" y="10"/>
                    </a:cubicBezTo>
                    <a:cubicBezTo>
                      <a:pt x="8" y="10"/>
                      <a:pt x="8" y="10"/>
                      <a:pt x="8" y="11"/>
                    </a:cubicBezTo>
                    <a:cubicBezTo>
                      <a:pt x="9" y="13"/>
                      <a:pt x="9" y="13"/>
                      <a:pt x="9" y="13"/>
                    </a:cubicBezTo>
                    <a:cubicBezTo>
                      <a:pt x="10" y="14"/>
                      <a:pt x="11" y="16"/>
                      <a:pt x="12" y="18"/>
                    </a:cubicBezTo>
                    <a:cubicBezTo>
                      <a:pt x="14" y="21"/>
                      <a:pt x="15" y="23"/>
                      <a:pt x="18" y="25"/>
                    </a:cubicBezTo>
                    <a:cubicBezTo>
                      <a:pt x="19" y="26"/>
                      <a:pt x="19" y="26"/>
                      <a:pt x="19" y="26"/>
                    </a:cubicBezTo>
                    <a:cubicBezTo>
                      <a:pt x="20" y="28"/>
                      <a:pt x="22" y="29"/>
                      <a:pt x="24" y="31"/>
                    </a:cubicBezTo>
                    <a:cubicBezTo>
                      <a:pt x="25" y="33"/>
                      <a:pt x="25" y="34"/>
                      <a:pt x="25" y="35"/>
                    </a:cubicBezTo>
                    <a:cubicBezTo>
                      <a:pt x="26" y="36"/>
                      <a:pt x="26" y="37"/>
                      <a:pt x="26" y="37"/>
                    </a:cubicBezTo>
                    <a:cubicBezTo>
                      <a:pt x="27" y="39"/>
                      <a:pt x="27" y="40"/>
                      <a:pt x="28" y="41"/>
                    </a:cubicBezTo>
                    <a:cubicBezTo>
                      <a:pt x="28" y="44"/>
                      <a:pt x="28" y="46"/>
                      <a:pt x="27" y="49"/>
                    </a:cubicBezTo>
                    <a:cubicBezTo>
                      <a:pt x="26" y="53"/>
                      <a:pt x="25" y="55"/>
                      <a:pt x="25" y="59"/>
                    </a:cubicBezTo>
                    <a:cubicBezTo>
                      <a:pt x="25" y="60"/>
                      <a:pt x="25" y="60"/>
                      <a:pt x="25" y="61"/>
                    </a:cubicBezTo>
                    <a:cubicBezTo>
                      <a:pt x="25" y="62"/>
                      <a:pt x="25" y="62"/>
                      <a:pt x="25" y="62"/>
                    </a:cubicBezTo>
                    <a:cubicBezTo>
                      <a:pt x="25" y="63"/>
                      <a:pt x="25" y="64"/>
                      <a:pt x="25" y="65"/>
                    </a:cubicBezTo>
                    <a:cubicBezTo>
                      <a:pt x="25" y="66"/>
                      <a:pt x="25" y="66"/>
                      <a:pt x="25" y="66"/>
                    </a:cubicBezTo>
                    <a:cubicBezTo>
                      <a:pt x="25" y="67"/>
                      <a:pt x="25" y="67"/>
                      <a:pt x="25" y="67"/>
                    </a:cubicBezTo>
                    <a:cubicBezTo>
                      <a:pt x="26" y="67"/>
                      <a:pt x="26" y="66"/>
                      <a:pt x="27" y="66"/>
                    </a:cubicBezTo>
                    <a:cubicBezTo>
                      <a:pt x="27" y="66"/>
                      <a:pt x="27" y="66"/>
                      <a:pt x="27" y="66"/>
                    </a:cubicBezTo>
                    <a:cubicBezTo>
                      <a:pt x="27" y="66"/>
                      <a:pt x="28" y="65"/>
                      <a:pt x="28" y="65"/>
                    </a:cubicBezTo>
                    <a:cubicBezTo>
                      <a:pt x="28" y="64"/>
                      <a:pt x="29" y="64"/>
                      <a:pt x="29" y="63"/>
                    </a:cubicBezTo>
                    <a:cubicBezTo>
                      <a:pt x="30" y="62"/>
                      <a:pt x="31" y="61"/>
                      <a:pt x="31" y="61"/>
                    </a:cubicBezTo>
                    <a:cubicBezTo>
                      <a:pt x="32" y="60"/>
                      <a:pt x="32" y="60"/>
                      <a:pt x="32" y="60"/>
                    </a:cubicBezTo>
                    <a:cubicBezTo>
                      <a:pt x="33" y="60"/>
                      <a:pt x="33" y="60"/>
                      <a:pt x="33" y="60"/>
                    </a:cubicBezTo>
                    <a:cubicBezTo>
                      <a:pt x="33" y="59"/>
                      <a:pt x="33" y="59"/>
                      <a:pt x="33" y="59"/>
                    </a:cubicBezTo>
                    <a:cubicBezTo>
                      <a:pt x="33" y="59"/>
                      <a:pt x="33" y="59"/>
                      <a:pt x="33" y="59"/>
                    </a:cubicBezTo>
                    <a:cubicBezTo>
                      <a:pt x="34" y="58"/>
                      <a:pt x="34" y="58"/>
                      <a:pt x="34" y="57"/>
                    </a:cubicBezTo>
                    <a:cubicBezTo>
                      <a:pt x="34" y="56"/>
                      <a:pt x="35" y="55"/>
                      <a:pt x="36" y="55"/>
                    </a:cubicBezTo>
                    <a:cubicBezTo>
                      <a:pt x="37" y="55"/>
                      <a:pt x="37" y="55"/>
                      <a:pt x="37" y="55"/>
                    </a:cubicBezTo>
                    <a:cubicBezTo>
                      <a:pt x="37" y="55"/>
                      <a:pt x="37" y="55"/>
                      <a:pt x="37" y="55"/>
                    </a:cubicBezTo>
                    <a:cubicBezTo>
                      <a:pt x="37" y="54"/>
                      <a:pt x="37" y="54"/>
                      <a:pt x="37" y="54"/>
                    </a:cubicBezTo>
                    <a:cubicBezTo>
                      <a:pt x="37" y="53"/>
                      <a:pt x="37" y="53"/>
                      <a:pt x="37" y="53"/>
                    </a:cubicBezTo>
                    <a:cubicBezTo>
                      <a:pt x="38" y="52"/>
                      <a:pt x="38" y="52"/>
                      <a:pt x="38" y="52"/>
                    </a:cubicBezTo>
                    <a:cubicBezTo>
                      <a:pt x="37" y="52"/>
                      <a:pt x="37" y="52"/>
                      <a:pt x="37" y="52"/>
                    </a:cubicBezTo>
                    <a:cubicBezTo>
                      <a:pt x="37" y="51"/>
                      <a:pt x="37" y="51"/>
                      <a:pt x="37" y="51"/>
                    </a:cubicBezTo>
                    <a:cubicBezTo>
                      <a:pt x="37" y="50"/>
                      <a:pt x="37" y="49"/>
                      <a:pt x="38" y="48"/>
                    </a:cubicBezTo>
                    <a:cubicBezTo>
                      <a:pt x="38" y="47"/>
                      <a:pt x="38" y="47"/>
                      <a:pt x="38" y="47"/>
                    </a:cubicBezTo>
                    <a:cubicBezTo>
                      <a:pt x="38" y="46"/>
                      <a:pt x="38" y="43"/>
                      <a:pt x="40" y="43"/>
                    </a:cubicBezTo>
                    <a:cubicBezTo>
                      <a:pt x="41" y="43"/>
                      <a:pt x="41" y="43"/>
                      <a:pt x="41" y="43"/>
                    </a:cubicBezTo>
                    <a:cubicBezTo>
                      <a:pt x="41" y="43"/>
                      <a:pt x="41" y="43"/>
                      <a:pt x="41" y="43"/>
                    </a:cubicBezTo>
                    <a:cubicBezTo>
                      <a:pt x="42" y="43"/>
                      <a:pt x="43" y="43"/>
                      <a:pt x="44" y="44"/>
                    </a:cubicBezTo>
                    <a:cubicBezTo>
                      <a:pt x="44" y="45"/>
                      <a:pt x="44" y="45"/>
                      <a:pt x="44" y="45"/>
                    </a:cubicBezTo>
                    <a:cubicBezTo>
                      <a:pt x="45" y="45"/>
                      <a:pt x="45" y="45"/>
                      <a:pt x="45" y="45"/>
                    </a:cubicBezTo>
                    <a:cubicBezTo>
                      <a:pt x="45" y="45"/>
                      <a:pt x="45" y="45"/>
                      <a:pt x="45" y="45"/>
                    </a:cubicBezTo>
                    <a:cubicBezTo>
                      <a:pt x="45" y="45"/>
                      <a:pt x="46" y="45"/>
                      <a:pt x="46" y="44"/>
                    </a:cubicBezTo>
                    <a:cubicBezTo>
                      <a:pt x="48" y="44"/>
                      <a:pt x="48" y="43"/>
                      <a:pt x="49" y="43"/>
                    </a:cubicBezTo>
                    <a:cubicBezTo>
                      <a:pt x="49" y="44"/>
                      <a:pt x="49" y="44"/>
                      <a:pt x="49" y="44"/>
                    </a:cubicBezTo>
                    <a:cubicBezTo>
                      <a:pt x="50" y="44"/>
                      <a:pt x="50" y="44"/>
                      <a:pt x="50" y="44"/>
                    </a:cubicBezTo>
                    <a:cubicBezTo>
                      <a:pt x="51" y="44"/>
                      <a:pt x="51" y="44"/>
                      <a:pt x="51" y="44"/>
                    </a:cubicBezTo>
                    <a:cubicBezTo>
                      <a:pt x="51" y="45"/>
                      <a:pt x="51" y="45"/>
                      <a:pt x="51" y="45"/>
                    </a:cubicBezTo>
                    <a:cubicBezTo>
                      <a:pt x="52" y="45"/>
                      <a:pt x="52" y="45"/>
                      <a:pt x="52" y="45"/>
                    </a:cubicBezTo>
                    <a:cubicBezTo>
                      <a:pt x="52" y="45"/>
                      <a:pt x="52" y="45"/>
                      <a:pt x="52" y="45"/>
                    </a:cubicBezTo>
                    <a:cubicBezTo>
                      <a:pt x="53" y="46"/>
                      <a:pt x="53" y="46"/>
                      <a:pt x="53" y="46"/>
                    </a:cubicBezTo>
                    <a:cubicBezTo>
                      <a:pt x="53" y="46"/>
                      <a:pt x="53" y="46"/>
                      <a:pt x="53" y="46"/>
                    </a:cubicBezTo>
                    <a:cubicBezTo>
                      <a:pt x="53" y="46"/>
                      <a:pt x="54" y="46"/>
                      <a:pt x="54" y="46"/>
                    </a:cubicBezTo>
                    <a:cubicBezTo>
                      <a:pt x="54" y="46"/>
                      <a:pt x="54" y="46"/>
                      <a:pt x="54" y="46"/>
                    </a:cubicBezTo>
                    <a:cubicBezTo>
                      <a:pt x="55" y="45"/>
                      <a:pt x="55" y="45"/>
                      <a:pt x="56" y="45"/>
                    </a:cubicBezTo>
                    <a:cubicBezTo>
                      <a:pt x="56" y="45"/>
                      <a:pt x="56" y="45"/>
                      <a:pt x="56" y="45"/>
                    </a:cubicBezTo>
                    <a:cubicBezTo>
                      <a:pt x="55" y="44"/>
                      <a:pt x="55" y="42"/>
                      <a:pt x="56" y="41"/>
                    </a:cubicBezTo>
                    <a:cubicBezTo>
                      <a:pt x="56" y="40"/>
                      <a:pt x="56" y="40"/>
                      <a:pt x="56" y="39"/>
                    </a:cubicBezTo>
                    <a:cubicBezTo>
                      <a:pt x="56" y="39"/>
                      <a:pt x="56" y="39"/>
                      <a:pt x="56" y="39"/>
                    </a:cubicBezTo>
                    <a:cubicBezTo>
                      <a:pt x="55" y="39"/>
                      <a:pt x="55" y="38"/>
                      <a:pt x="54" y="38"/>
                    </a:cubicBezTo>
                    <a:cubicBezTo>
                      <a:pt x="52" y="41"/>
                      <a:pt x="52" y="41"/>
                      <a:pt x="52" y="41"/>
                    </a:cubicBezTo>
                    <a:cubicBezTo>
                      <a:pt x="53" y="38"/>
                      <a:pt x="53" y="38"/>
                      <a:pt x="53" y="38"/>
                    </a:cubicBezTo>
                    <a:cubicBezTo>
                      <a:pt x="53" y="38"/>
                      <a:pt x="53" y="38"/>
                      <a:pt x="53" y="38"/>
                    </a:cubicBezTo>
                    <a:cubicBezTo>
                      <a:pt x="51" y="36"/>
                      <a:pt x="50" y="34"/>
                      <a:pt x="48" y="32"/>
                    </a:cubicBezTo>
                    <a:cubicBezTo>
                      <a:pt x="45" y="28"/>
                      <a:pt x="45" y="28"/>
                      <a:pt x="45" y="28"/>
                    </a:cubicBezTo>
                    <a:cubicBezTo>
                      <a:pt x="48" y="28"/>
                      <a:pt x="48" y="28"/>
                      <a:pt x="48" y="28"/>
                    </a:cubicBezTo>
                    <a:cubicBezTo>
                      <a:pt x="48" y="28"/>
                      <a:pt x="48" y="28"/>
                      <a:pt x="48" y="28"/>
                    </a:cubicBezTo>
                    <a:cubicBezTo>
                      <a:pt x="48" y="28"/>
                      <a:pt x="48" y="28"/>
                      <a:pt x="48" y="28"/>
                    </a:cubicBezTo>
                    <a:cubicBezTo>
                      <a:pt x="47" y="28"/>
                      <a:pt x="47" y="28"/>
                      <a:pt x="47" y="28"/>
                    </a:cubicBezTo>
                    <a:cubicBezTo>
                      <a:pt x="46" y="27"/>
                      <a:pt x="44" y="26"/>
                      <a:pt x="43" y="25"/>
                    </a:cubicBezTo>
                    <a:cubicBezTo>
                      <a:pt x="41" y="22"/>
                      <a:pt x="40" y="21"/>
                      <a:pt x="40" y="19"/>
                    </a:cubicBezTo>
                    <a:cubicBezTo>
                      <a:pt x="41" y="19"/>
                      <a:pt x="41" y="19"/>
                      <a:pt x="41" y="19"/>
                    </a:cubicBezTo>
                    <a:cubicBezTo>
                      <a:pt x="41" y="18"/>
                      <a:pt x="41" y="18"/>
                      <a:pt x="41" y="18"/>
                    </a:cubicBezTo>
                    <a:cubicBezTo>
                      <a:pt x="42" y="17"/>
                      <a:pt x="42" y="17"/>
                      <a:pt x="42" y="17"/>
                    </a:cubicBezTo>
                    <a:cubicBezTo>
                      <a:pt x="42" y="17"/>
                      <a:pt x="42" y="17"/>
                      <a:pt x="42" y="17"/>
                    </a:cubicBezTo>
                    <a:cubicBezTo>
                      <a:pt x="42" y="16"/>
                      <a:pt x="43" y="13"/>
                      <a:pt x="42" y="12"/>
                    </a:cubicBezTo>
                    <a:cubicBezTo>
                      <a:pt x="42" y="12"/>
                      <a:pt x="42" y="12"/>
                      <a:pt x="42" y="12"/>
                    </a:cubicBezTo>
                    <a:cubicBezTo>
                      <a:pt x="41" y="12"/>
                      <a:pt x="41" y="12"/>
                      <a:pt x="41" y="12"/>
                    </a:cubicBezTo>
                    <a:cubicBezTo>
                      <a:pt x="41" y="12"/>
                      <a:pt x="41" y="12"/>
                      <a:pt x="41" y="12"/>
                    </a:cubicBezTo>
                    <a:cubicBezTo>
                      <a:pt x="40" y="12"/>
                      <a:pt x="38" y="11"/>
                      <a:pt x="35" y="10"/>
                    </a:cubicBezTo>
                    <a:cubicBezTo>
                      <a:pt x="35" y="10"/>
                      <a:pt x="35" y="10"/>
                      <a:pt x="35" y="10"/>
                    </a:cubicBezTo>
                    <a:cubicBezTo>
                      <a:pt x="34" y="10"/>
                      <a:pt x="33" y="9"/>
                      <a:pt x="32" y="9"/>
                    </a:cubicBezTo>
                    <a:cubicBezTo>
                      <a:pt x="31" y="8"/>
                      <a:pt x="29" y="8"/>
                      <a:pt x="28" y="7"/>
                    </a:cubicBezTo>
                    <a:cubicBezTo>
                      <a:pt x="27" y="6"/>
                      <a:pt x="26" y="6"/>
                      <a:pt x="25" y="5"/>
                    </a:cubicBezTo>
                    <a:cubicBezTo>
                      <a:pt x="22" y="4"/>
                      <a:pt x="18" y="2"/>
                      <a:pt x="15" y="1"/>
                    </a:cubicBezTo>
                    <a:cubicBezTo>
                      <a:pt x="14" y="1"/>
                      <a:pt x="14" y="1"/>
                      <a:pt x="13" y="0"/>
                    </a:cubicBezTo>
                    <a:cubicBezTo>
                      <a:pt x="12" y="0"/>
                      <a:pt x="12"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 name="Rectangle 394">
                <a:extLst>
                  <a:ext uri="{FF2B5EF4-FFF2-40B4-BE49-F238E27FC236}">
                    <a16:creationId xmlns:a16="http://schemas.microsoft.com/office/drawing/2014/main" id="{AAFB7A81-E45E-4494-872F-9980BD2A42C5}"/>
                  </a:ext>
                </a:extLst>
              </p:cNvPr>
              <p:cNvSpPr>
                <a:spLocks noChangeArrowheads="1"/>
              </p:cNvSpPr>
              <p:nvPr/>
            </p:nvSpPr>
            <p:spPr bwMode="auto">
              <a:xfrm>
                <a:off x="3918" y="72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 name="Rectangle 395">
                <a:extLst>
                  <a:ext uri="{FF2B5EF4-FFF2-40B4-BE49-F238E27FC236}">
                    <a16:creationId xmlns:a16="http://schemas.microsoft.com/office/drawing/2014/main" id="{0F08438C-1892-4304-BEA4-257EC89D0B5A}"/>
                  </a:ext>
                </a:extLst>
              </p:cNvPr>
              <p:cNvSpPr>
                <a:spLocks noChangeArrowheads="1"/>
              </p:cNvSpPr>
              <p:nvPr/>
            </p:nvSpPr>
            <p:spPr bwMode="auto">
              <a:xfrm>
                <a:off x="3918" y="72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 name="Freeform 396">
                <a:extLst>
                  <a:ext uri="{FF2B5EF4-FFF2-40B4-BE49-F238E27FC236}">
                    <a16:creationId xmlns:a16="http://schemas.microsoft.com/office/drawing/2014/main" id="{3D082DCF-6973-4CF4-A7A5-57EC42B2F42E}"/>
                  </a:ext>
                </a:extLst>
              </p:cNvPr>
              <p:cNvSpPr>
                <a:spLocks/>
              </p:cNvSpPr>
              <p:nvPr/>
            </p:nvSpPr>
            <p:spPr bwMode="auto">
              <a:xfrm>
                <a:off x="3665" y="481"/>
                <a:ext cx="317" cy="284"/>
              </a:xfrm>
              <a:custGeom>
                <a:avLst/>
                <a:gdLst>
                  <a:gd name="T0" fmla="*/ 48 w 134"/>
                  <a:gd name="T1" fmla="*/ 0 h 120"/>
                  <a:gd name="T2" fmla="*/ 42 w 134"/>
                  <a:gd name="T3" fmla="*/ 5 h 120"/>
                  <a:gd name="T4" fmla="*/ 34 w 134"/>
                  <a:gd name="T5" fmla="*/ 9 h 120"/>
                  <a:gd name="T6" fmla="*/ 29 w 134"/>
                  <a:gd name="T7" fmla="*/ 9 h 120"/>
                  <a:gd name="T8" fmla="*/ 25 w 134"/>
                  <a:gd name="T9" fmla="*/ 11 h 120"/>
                  <a:gd name="T10" fmla="*/ 22 w 134"/>
                  <a:gd name="T11" fmla="*/ 13 h 120"/>
                  <a:gd name="T12" fmla="*/ 21 w 134"/>
                  <a:gd name="T13" fmla="*/ 15 h 120"/>
                  <a:gd name="T14" fmla="*/ 20 w 134"/>
                  <a:gd name="T15" fmla="*/ 18 h 120"/>
                  <a:gd name="T16" fmla="*/ 23 w 134"/>
                  <a:gd name="T17" fmla="*/ 20 h 120"/>
                  <a:gd name="T18" fmla="*/ 19 w 134"/>
                  <a:gd name="T19" fmla="*/ 26 h 120"/>
                  <a:gd name="T20" fmla="*/ 7 w 134"/>
                  <a:gd name="T21" fmla="*/ 33 h 120"/>
                  <a:gd name="T22" fmla="*/ 4 w 134"/>
                  <a:gd name="T23" fmla="*/ 40 h 120"/>
                  <a:gd name="T24" fmla="*/ 6 w 134"/>
                  <a:gd name="T25" fmla="*/ 50 h 120"/>
                  <a:gd name="T26" fmla="*/ 2 w 134"/>
                  <a:gd name="T27" fmla="*/ 53 h 120"/>
                  <a:gd name="T28" fmla="*/ 0 w 134"/>
                  <a:gd name="T29" fmla="*/ 106 h 120"/>
                  <a:gd name="T30" fmla="*/ 34 w 134"/>
                  <a:gd name="T31" fmla="*/ 113 h 120"/>
                  <a:gd name="T32" fmla="*/ 49 w 134"/>
                  <a:gd name="T33" fmla="*/ 113 h 120"/>
                  <a:gd name="T34" fmla="*/ 52 w 134"/>
                  <a:gd name="T35" fmla="*/ 113 h 120"/>
                  <a:gd name="T36" fmla="*/ 59 w 134"/>
                  <a:gd name="T37" fmla="*/ 118 h 120"/>
                  <a:gd name="T38" fmla="*/ 64 w 134"/>
                  <a:gd name="T39" fmla="*/ 115 h 120"/>
                  <a:gd name="T40" fmla="*/ 72 w 134"/>
                  <a:gd name="T41" fmla="*/ 118 h 120"/>
                  <a:gd name="T42" fmla="*/ 73 w 134"/>
                  <a:gd name="T43" fmla="*/ 120 h 120"/>
                  <a:gd name="T44" fmla="*/ 79 w 134"/>
                  <a:gd name="T45" fmla="*/ 119 h 120"/>
                  <a:gd name="T46" fmla="*/ 87 w 134"/>
                  <a:gd name="T47" fmla="*/ 117 h 120"/>
                  <a:gd name="T48" fmla="*/ 93 w 134"/>
                  <a:gd name="T49" fmla="*/ 120 h 120"/>
                  <a:gd name="T50" fmla="*/ 94 w 134"/>
                  <a:gd name="T51" fmla="*/ 111 h 120"/>
                  <a:gd name="T52" fmla="*/ 106 w 134"/>
                  <a:gd name="T53" fmla="*/ 102 h 120"/>
                  <a:gd name="T54" fmla="*/ 107 w 134"/>
                  <a:gd name="T55" fmla="*/ 102 h 120"/>
                  <a:gd name="T56" fmla="*/ 114 w 134"/>
                  <a:gd name="T57" fmla="*/ 101 h 120"/>
                  <a:gd name="T58" fmla="*/ 107 w 134"/>
                  <a:gd name="T59" fmla="*/ 82 h 120"/>
                  <a:gd name="T60" fmla="*/ 107 w 134"/>
                  <a:gd name="T61" fmla="*/ 77 h 120"/>
                  <a:gd name="T62" fmla="*/ 109 w 134"/>
                  <a:gd name="T63" fmla="*/ 76 h 120"/>
                  <a:gd name="T64" fmla="*/ 115 w 134"/>
                  <a:gd name="T65" fmla="*/ 75 h 120"/>
                  <a:gd name="T66" fmla="*/ 132 w 134"/>
                  <a:gd name="T67" fmla="*/ 72 h 120"/>
                  <a:gd name="T68" fmla="*/ 128 w 134"/>
                  <a:gd name="T69" fmla="*/ 64 h 120"/>
                  <a:gd name="T70" fmla="*/ 117 w 134"/>
                  <a:gd name="T71" fmla="*/ 55 h 120"/>
                  <a:gd name="T72" fmla="*/ 96 w 134"/>
                  <a:gd name="T73" fmla="*/ 36 h 120"/>
                  <a:gd name="T74" fmla="*/ 98 w 134"/>
                  <a:gd name="T75" fmla="*/ 21 h 120"/>
                  <a:gd name="T76" fmla="*/ 92 w 134"/>
                  <a:gd name="T77" fmla="*/ 10 h 120"/>
                  <a:gd name="T78" fmla="*/ 82 w 134"/>
                  <a:gd name="T79" fmla="*/ 9 h 120"/>
                  <a:gd name="T80" fmla="*/ 75 w 134"/>
                  <a:gd name="T81" fmla="*/ 12 h 120"/>
                  <a:gd name="T82" fmla="*/ 74 w 134"/>
                  <a:gd name="T83" fmla="*/ 12 h 120"/>
                  <a:gd name="T84" fmla="*/ 71 w 134"/>
                  <a:gd name="T85" fmla="*/ 10 h 120"/>
                  <a:gd name="T86" fmla="*/ 70 w 134"/>
                  <a:gd name="T87" fmla="*/ 7 h 120"/>
                  <a:gd name="T88" fmla="*/ 66 w 134"/>
                  <a:gd name="T89" fmla="*/ 5 h 120"/>
                  <a:gd name="T90" fmla="*/ 63 w 134"/>
                  <a:gd name="T91" fmla="*/ 5 h 120"/>
                  <a:gd name="T92" fmla="*/ 57 w 134"/>
                  <a:gd name="T93" fmla="*/ 4 h 120"/>
                  <a:gd name="T94" fmla="*/ 56 w 134"/>
                  <a:gd name="T95" fmla="*/ 4 h 120"/>
                  <a:gd name="T96" fmla="*/ 52 w 134"/>
                  <a:gd name="T97" fmla="*/ 2 h 120"/>
                  <a:gd name="T98" fmla="*/ 50 w 134"/>
                  <a:gd name="T9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 h="120">
                    <a:moveTo>
                      <a:pt x="49" y="0"/>
                    </a:moveTo>
                    <a:cubicBezTo>
                      <a:pt x="49" y="0"/>
                      <a:pt x="49" y="0"/>
                      <a:pt x="49" y="0"/>
                    </a:cubicBezTo>
                    <a:cubicBezTo>
                      <a:pt x="49" y="0"/>
                      <a:pt x="49" y="0"/>
                      <a:pt x="49" y="0"/>
                    </a:cubicBezTo>
                    <a:cubicBezTo>
                      <a:pt x="48" y="0"/>
                      <a:pt x="48" y="0"/>
                      <a:pt x="48" y="0"/>
                    </a:cubicBezTo>
                    <a:cubicBezTo>
                      <a:pt x="48" y="0"/>
                      <a:pt x="47" y="1"/>
                      <a:pt x="47" y="1"/>
                    </a:cubicBezTo>
                    <a:cubicBezTo>
                      <a:pt x="46" y="1"/>
                      <a:pt x="46" y="1"/>
                      <a:pt x="44" y="3"/>
                    </a:cubicBezTo>
                    <a:cubicBezTo>
                      <a:pt x="44" y="3"/>
                      <a:pt x="43" y="4"/>
                      <a:pt x="43" y="4"/>
                    </a:cubicBezTo>
                    <a:cubicBezTo>
                      <a:pt x="42" y="4"/>
                      <a:pt x="42" y="5"/>
                      <a:pt x="42" y="5"/>
                    </a:cubicBezTo>
                    <a:cubicBezTo>
                      <a:pt x="42" y="5"/>
                      <a:pt x="42" y="5"/>
                      <a:pt x="42" y="5"/>
                    </a:cubicBezTo>
                    <a:cubicBezTo>
                      <a:pt x="41" y="8"/>
                      <a:pt x="40" y="9"/>
                      <a:pt x="39" y="9"/>
                    </a:cubicBezTo>
                    <a:cubicBezTo>
                      <a:pt x="37" y="9"/>
                      <a:pt x="37" y="9"/>
                      <a:pt x="37" y="9"/>
                    </a:cubicBezTo>
                    <a:cubicBezTo>
                      <a:pt x="36" y="9"/>
                      <a:pt x="35" y="9"/>
                      <a:pt x="34" y="9"/>
                    </a:cubicBezTo>
                    <a:cubicBezTo>
                      <a:pt x="34" y="9"/>
                      <a:pt x="34" y="9"/>
                      <a:pt x="34" y="9"/>
                    </a:cubicBezTo>
                    <a:cubicBezTo>
                      <a:pt x="33" y="9"/>
                      <a:pt x="33" y="9"/>
                      <a:pt x="32" y="9"/>
                    </a:cubicBezTo>
                    <a:cubicBezTo>
                      <a:pt x="31" y="9"/>
                      <a:pt x="31" y="9"/>
                      <a:pt x="31" y="9"/>
                    </a:cubicBezTo>
                    <a:cubicBezTo>
                      <a:pt x="30" y="9"/>
                      <a:pt x="30" y="9"/>
                      <a:pt x="29" y="9"/>
                    </a:cubicBezTo>
                    <a:cubicBezTo>
                      <a:pt x="28" y="9"/>
                      <a:pt x="28" y="9"/>
                      <a:pt x="27" y="10"/>
                    </a:cubicBezTo>
                    <a:cubicBezTo>
                      <a:pt x="27" y="10"/>
                      <a:pt x="27" y="10"/>
                      <a:pt x="27" y="10"/>
                    </a:cubicBezTo>
                    <a:cubicBezTo>
                      <a:pt x="31" y="10"/>
                      <a:pt x="31" y="10"/>
                      <a:pt x="31" y="10"/>
                    </a:cubicBezTo>
                    <a:cubicBezTo>
                      <a:pt x="25" y="11"/>
                      <a:pt x="25" y="11"/>
                      <a:pt x="25" y="11"/>
                    </a:cubicBezTo>
                    <a:cubicBezTo>
                      <a:pt x="24" y="12"/>
                      <a:pt x="24" y="12"/>
                      <a:pt x="24" y="12"/>
                    </a:cubicBezTo>
                    <a:cubicBezTo>
                      <a:pt x="23" y="12"/>
                      <a:pt x="23" y="12"/>
                      <a:pt x="23" y="12"/>
                    </a:cubicBezTo>
                    <a:cubicBezTo>
                      <a:pt x="23" y="12"/>
                      <a:pt x="22" y="13"/>
                      <a:pt x="22" y="13"/>
                    </a:cubicBezTo>
                    <a:cubicBezTo>
                      <a:pt x="22" y="13"/>
                      <a:pt x="22" y="13"/>
                      <a:pt x="22" y="13"/>
                    </a:cubicBezTo>
                    <a:cubicBezTo>
                      <a:pt x="22" y="13"/>
                      <a:pt x="22" y="13"/>
                      <a:pt x="22" y="13"/>
                    </a:cubicBezTo>
                    <a:cubicBezTo>
                      <a:pt x="22" y="13"/>
                      <a:pt x="22" y="13"/>
                      <a:pt x="22" y="13"/>
                    </a:cubicBezTo>
                    <a:cubicBezTo>
                      <a:pt x="22" y="14"/>
                      <a:pt x="22" y="14"/>
                      <a:pt x="22" y="14"/>
                    </a:cubicBezTo>
                    <a:cubicBezTo>
                      <a:pt x="21" y="14"/>
                      <a:pt x="21" y="15"/>
                      <a:pt x="21" y="15"/>
                    </a:cubicBezTo>
                    <a:cubicBezTo>
                      <a:pt x="20" y="17"/>
                      <a:pt x="20" y="17"/>
                      <a:pt x="20" y="17"/>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1" y="19"/>
                    </a:cubicBezTo>
                    <a:cubicBezTo>
                      <a:pt x="22" y="19"/>
                      <a:pt x="22" y="19"/>
                      <a:pt x="22" y="19"/>
                    </a:cubicBezTo>
                    <a:cubicBezTo>
                      <a:pt x="22" y="19"/>
                      <a:pt x="23" y="19"/>
                      <a:pt x="23" y="20"/>
                    </a:cubicBezTo>
                    <a:cubicBezTo>
                      <a:pt x="26" y="22"/>
                      <a:pt x="26" y="22"/>
                      <a:pt x="26" y="22"/>
                    </a:cubicBezTo>
                    <a:cubicBezTo>
                      <a:pt x="23" y="24"/>
                      <a:pt x="23" y="24"/>
                      <a:pt x="23" y="24"/>
                    </a:cubicBezTo>
                    <a:cubicBezTo>
                      <a:pt x="22" y="24"/>
                      <a:pt x="21" y="25"/>
                      <a:pt x="20" y="26"/>
                    </a:cubicBezTo>
                    <a:cubicBezTo>
                      <a:pt x="19" y="26"/>
                      <a:pt x="19" y="26"/>
                      <a:pt x="19" y="26"/>
                    </a:cubicBezTo>
                    <a:cubicBezTo>
                      <a:pt x="17" y="28"/>
                      <a:pt x="15" y="29"/>
                      <a:pt x="13" y="30"/>
                    </a:cubicBezTo>
                    <a:cubicBezTo>
                      <a:pt x="12" y="31"/>
                      <a:pt x="12" y="31"/>
                      <a:pt x="12" y="31"/>
                    </a:cubicBezTo>
                    <a:cubicBezTo>
                      <a:pt x="12" y="31"/>
                      <a:pt x="11" y="32"/>
                      <a:pt x="10" y="32"/>
                    </a:cubicBezTo>
                    <a:cubicBezTo>
                      <a:pt x="7" y="33"/>
                      <a:pt x="7" y="33"/>
                      <a:pt x="7" y="33"/>
                    </a:cubicBezTo>
                    <a:cubicBezTo>
                      <a:pt x="6" y="34"/>
                      <a:pt x="6" y="34"/>
                      <a:pt x="5" y="35"/>
                    </a:cubicBezTo>
                    <a:cubicBezTo>
                      <a:pt x="5" y="36"/>
                      <a:pt x="5" y="36"/>
                      <a:pt x="5" y="36"/>
                    </a:cubicBezTo>
                    <a:cubicBezTo>
                      <a:pt x="5" y="36"/>
                      <a:pt x="5" y="37"/>
                      <a:pt x="5" y="37"/>
                    </a:cubicBezTo>
                    <a:cubicBezTo>
                      <a:pt x="5" y="38"/>
                      <a:pt x="4" y="39"/>
                      <a:pt x="4" y="40"/>
                    </a:cubicBezTo>
                    <a:cubicBezTo>
                      <a:pt x="3" y="41"/>
                      <a:pt x="3" y="44"/>
                      <a:pt x="2" y="46"/>
                    </a:cubicBezTo>
                    <a:cubicBezTo>
                      <a:pt x="3" y="47"/>
                      <a:pt x="3" y="47"/>
                      <a:pt x="3" y="47"/>
                    </a:cubicBezTo>
                    <a:cubicBezTo>
                      <a:pt x="4" y="48"/>
                      <a:pt x="4" y="48"/>
                      <a:pt x="4" y="48"/>
                    </a:cubicBezTo>
                    <a:cubicBezTo>
                      <a:pt x="5" y="49"/>
                      <a:pt x="6" y="49"/>
                      <a:pt x="6" y="50"/>
                    </a:cubicBezTo>
                    <a:cubicBezTo>
                      <a:pt x="7" y="52"/>
                      <a:pt x="7" y="52"/>
                      <a:pt x="7" y="52"/>
                    </a:cubicBezTo>
                    <a:cubicBezTo>
                      <a:pt x="4" y="53"/>
                      <a:pt x="4" y="53"/>
                      <a:pt x="4" y="53"/>
                    </a:cubicBezTo>
                    <a:cubicBezTo>
                      <a:pt x="3" y="53"/>
                      <a:pt x="3" y="53"/>
                      <a:pt x="2" y="53"/>
                    </a:cubicBezTo>
                    <a:cubicBezTo>
                      <a:pt x="2" y="53"/>
                      <a:pt x="2" y="53"/>
                      <a:pt x="2" y="53"/>
                    </a:cubicBezTo>
                    <a:cubicBezTo>
                      <a:pt x="1" y="54"/>
                      <a:pt x="1" y="54"/>
                      <a:pt x="1" y="54"/>
                    </a:cubicBezTo>
                    <a:cubicBezTo>
                      <a:pt x="1" y="54"/>
                      <a:pt x="1" y="54"/>
                      <a:pt x="1" y="54"/>
                    </a:cubicBezTo>
                    <a:cubicBezTo>
                      <a:pt x="0" y="54"/>
                      <a:pt x="0" y="54"/>
                      <a:pt x="0" y="54"/>
                    </a:cubicBezTo>
                    <a:cubicBezTo>
                      <a:pt x="0" y="106"/>
                      <a:pt x="0" y="106"/>
                      <a:pt x="0" y="106"/>
                    </a:cubicBezTo>
                    <a:cubicBezTo>
                      <a:pt x="3" y="107"/>
                      <a:pt x="5" y="107"/>
                      <a:pt x="8" y="108"/>
                    </a:cubicBezTo>
                    <a:cubicBezTo>
                      <a:pt x="8" y="108"/>
                      <a:pt x="8" y="108"/>
                      <a:pt x="8" y="108"/>
                    </a:cubicBezTo>
                    <a:cubicBezTo>
                      <a:pt x="33" y="113"/>
                      <a:pt x="33" y="113"/>
                      <a:pt x="33" y="113"/>
                    </a:cubicBezTo>
                    <a:cubicBezTo>
                      <a:pt x="33" y="113"/>
                      <a:pt x="34" y="113"/>
                      <a:pt x="34" y="113"/>
                    </a:cubicBezTo>
                    <a:cubicBezTo>
                      <a:pt x="37" y="113"/>
                      <a:pt x="40" y="113"/>
                      <a:pt x="41" y="115"/>
                    </a:cubicBezTo>
                    <a:cubicBezTo>
                      <a:pt x="43" y="114"/>
                      <a:pt x="45" y="114"/>
                      <a:pt x="47" y="114"/>
                    </a:cubicBezTo>
                    <a:cubicBezTo>
                      <a:pt x="48" y="113"/>
                      <a:pt x="48" y="113"/>
                      <a:pt x="48" y="113"/>
                    </a:cubicBezTo>
                    <a:cubicBezTo>
                      <a:pt x="48" y="113"/>
                      <a:pt x="48" y="113"/>
                      <a:pt x="49" y="113"/>
                    </a:cubicBezTo>
                    <a:cubicBezTo>
                      <a:pt x="49" y="113"/>
                      <a:pt x="49" y="113"/>
                      <a:pt x="49" y="113"/>
                    </a:cubicBezTo>
                    <a:cubicBezTo>
                      <a:pt x="51" y="113"/>
                      <a:pt x="51" y="113"/>
                      <a:pt x="51" y="113"/>
                    </a:cubicBezTo>
                    <a:cubicBezTo>
                      <a:pt x="51" y="113"/>
                      <a:pt x="51" y="113"/>
                      <a:pt x="51" y="113"/>
                    </a:cubicBezTo>
                    <a:cubicBezTo>
                      <a:pt x="52" y="113"/>
                      <a:pt x="52" y="113"/>
                      <a:pt x="52" y="113"/>
                    </a:cubicBezTo>
                    <a:cubicBezTo>
                      <a:pt x="53" y="114"/>
                      <a:pt x="53" y="114"/>
                      <a:pt x="53" y="114"/>
                    </a:cubicBezTo>
                    <a:cubicBezTo>
                      <a:pt x="53" y="115"/>
                      <a:pt x="53" y="115"/>
                      <a:pt x="53" y="115"/>
                    </a:cubicBezTo>
                    <a:cubicBezTo>
                      <a:pt x="55" y="116"/>
                      <a:pt x="56" y="117"/>
                      <a:pt x="58" y="117"/>
                    </a:cubicBezTo>
                    <a:cubicBezTo>
                      <a:pt x="58" y="118"/>
                      <a:pt x="59" y="118"/>
                      <a:pt x="59" y="118"/>
                    </a:cubicBezTo>
                    <a:cubicBezTo>
                      <a:pt x="60" y="117"/>
                      <a:pt x="61" y="116"/>
                      <a:pt x="62" y="116"/>
                    </a:cubicBezTo>
                    <a:cubicBezTo>
                      <a:pt x="63" y="115"/>
                      <a:pt x="63" y="115"/>
                      <a:pt x="63" y="115"/>
                    </a:cubicBezTo>
                    <a:cubicBezTo>
                      <a:pt x="63" y="115"/>
                      <a:pt x="63" y="115"/>
                      <a:pt x="63" y="115"/>
                    </a:cubicBezTo>
                    <a:cubicBezTo>
                      <a:pt x="64" y="115"/>
                      <a:pt x="64" y="115"/>
                      <a:pt x="64" y="115"/>
                    </a:cubicBezTo>
                    <a:cubicBezTo>
                      <a:pt x="65" y="114"/>
                      <a:pt x="65" y="114"/>
                      <a:pt x="65" y="114"/>
                    </a:cubicBezTo>
                    <a:cubicBezTo>
                      <a:pt x="66" y="114"/>
                      <a:pt x="66" y="114"/>
                      <a:pt x="66" y="114"/>
                    </a:cubicBezTo>
                    <a:cubicBezTo>
                      <a:pt x="66" y="114"/>
                      <a:pt x="66" y="114"/>
                      <a:pt x="66" y="114"/>
                    </a:cubicBezTo>
                    <a:cubicBezTo>
                      <a:pt x="69" y="114"/>
                      <a:pt x="71" y="116"/>
                      <a:pt x="72" y="118"/>
                    </a:cubicBezTo>
                    <a:cubicBezTo>
                      <a:pt x="72" y="118"/>
                      <a:pt x="72" y="118"/>
                      <a:pt x="72" y="118"/>
                    </a:cubicBezTo>
                    <a:cubicBezTo>
                      <a:pt x="74" y="116"/>
                      <a:pt x="74" y="116"/>
                      <a:pt x="74" y="116"/>
                    </a:cubicBezTo>
                    <a:cubicBezTo>
                      <a:pt x="73" y="119"/>
                      <a:pt x="73" y="119"/>
                      <a:pt x="73" y="119"/>
                    </a:cubicBezTo>
                    <a:cubicBezTo>
                      <a:pt x="73" y="120"/>
                      <a:pt x="73" y="120"/>
                      <a:pt x="73" y="120"/>
                    </a:cubicBezTo>
                    <a:cubicBezTo>
                      <a:pt x="73" y="120"/>
                      <a:pt x="74" y="120"/>
                      <a:pt x="74" y="120"/>
                    </a:cubicBezTo>
                    <a:cubicBezTo>
                      <a:pt x="75" y="120"/>
                      <a:pt x="75" y="120"/>
                      <a:pt x="76" y="120"/>
                    </a:cubicBezTo>
                    <a:cubicBezTo>
                      <a:pt x="77" y="119"/>
                      <a:pt x="77" y="119"/>
                      <a:pt x="77" y="119"/>
                    </a:cubicBezTo>
                    <a:cubicBezTo>
                      <a:pt x="78" y="119"/>
                      <a:pt x="79" y="119"/>
                      <a:pt x="79" y="119"/>
                    </a:cubicBezTo>
                    <a:cubicBezTo>
                      <a:pt x="81" y="118"/>
                      <a:pt x="82" y="118"/>
                      <a:pt x="83" y="118"/>
                    </a:cubicBezTo>
                    <a:cubicBezTo>
                      <a:pt x="83" y="118"/>
                      <a:pt x="83" y="118"/>
                      <a:pt x="84" y="118"/>
                    </a:cubicBezTo>
                    <a:cubicBezTo>
                      <a:pt x="84" y="118"/>
                      <a:pt x="85" y="118"/>
                      <a:pt x="86" y="117"/>
                    </a:cubicBezTo>
                    <a:cubicBezTo>
                      <a:pt x="86" y="117"/>
                      <a:pt x="86" y="117"/>
                      <a:pt x="87" y="117"/>
                    </a:cubicBezTo>
                    <a:cubicBezTo>
                      <a:pt x="87" y="117"/>
                      <a:pt x="87" y="117"/>
                      <a:pt x="87" y="117"/>
                    </a:cubicBezTo>
                    <a:cubicBezTo>
                      <a:pt x="88" y="117"/>
                      <a:pt x="88" y="117"/>
                      <a:pt x="88" y="117"/>
                    </a:cubicBezTo>
                    <a:cubicBezTo>
                      <a:pt x="89" y="118"/>
                      <a:pt x="89" y="118"/>
                      <a:pt x="90" y="118"/>
                    </a:cubicBezTo>
                    <a:cubicBezTo>
                      <a:pt x="91" y="119"/>
                      <a:pt x="92" y="119"/>
                      <a:pt x="93" y="120"/>
                    </a:cubicBezTo>
                    <a:cubicBezTo>
                      <a:pt x="93" y="120"/>
                      <a:pt x="93" y="119"/>
                      <a:pt x="92" y="118"/>
                    </a:cubicBezTo>
                    <a:cubicBezTo>
                      <a:pt x="92" y="116"/>
                      <a:pt x="92" y="114"/>
                      <a:pt x="93" y="113"/>
                    </a:cubicBezTo>
                    <a:cubicBezTo>
                      <a:pt x="94" y="112"/>
                      <a:pt x="94" y="112"/>
                      <a:pt x="94" y="111"/>
                    </a:cubicBezTo>
                    <a:cubicBezTo>
                      <a:pt x="94" y="111"/>
                      <a:pt x="94" y="111"/>
                      <a:pt x="94" y="111"/>
                    </a:cubicBezTo>
                    <a:cubicBezTo>
                      <a:pt x="95" y="110"/>
                      <a:pt x="95" y="110"/>
                      <a:pt x="95" y="110"/>
                    </a:cubicBezTo>
                    <a:cubicBezTo>
                      <a:pt x="97" y="107"/>
                      <a:pt x="97" y="107"/>
                      <a:pt x="97" y="107"/>
                    </a:cubicBezTo>
                    <a:cubicBezTo>
                      <a:pt x="99" y="105"/>
                      <a:pt x="100" y="103"/>
                      <a:pt x="103" y="102"/>
                    </a:cubicBezTo>
                    <a:cubicBezTo>
                      <a:pt x="104" y="102"/>
                      <a:pt x="104" y="102"/>
                      <a:pt x="106" y="102"/>
                    </a:cubicBezTo>
                    <a:cubicBezTo>
                      <a:pt x="106" y="102"/>
                      <a:pt x="106" y="102"/>
                      <a:pt x="106" y="102"/>
                    </a:cubicBezTo>
                    <a:cubicBezTo>
                      <a:pt x="106" y="102"/>
                      <a:pt x="106" y="102"/>
                      <a:pt x="106" y="102"/>
                    </a:cubicBezTo>
                    <a:cubicBezTo>
                      <a:pt x="107" y="102"/>
                      <a:pt x="107" y="102"/>
                      <a:pt x="107" y="102"/>
                    </a:cubicBezTo>
                    <a:cubicBezTo>
                      <a:pt x="107" y="102"/>
                      <a:pt x="107" y="102"/>
                      <a:pt x="107" y="102"/>
                    </a:cubicBezTo>
                    <a:cubicBezTo>
                      <a:pt x="108" y="102"/>
                      <a:pt x="108" y="102"/>
                      <a:pt x="108" y="102"/>
                    </a:cubicBezTo>
                    <a:cubicBezTo>
                      <a:pt x="109" y="102"/>
                      <a:pt x="109" y="102"/>
                      <a:pt x="109" y="102"/>
                    </a:cubicBezTo>
                    <a:cubicBezTo>
                      <a:pt x="110" y="101"/>
                      <a:pt x="111" y="101"/>
                      <a:pt x="112" y="101"/>
                    </a:cubicBezTo>
                    <a:cubicBezTo>
                      <a:pt x="113" y="101"/>
                      <a:pt x="113" y="101"/>
                      <a:pt x="114" y="101"/>
                    </a:cubicBezTo>
                    <a:cubicBezTo>
                      <a:pt x="113" y="100"/>
                      <a:pt x="112" y="98"/>
                      <a:pt x="112" y="95"/>
                    </a:cubicBezTo>
                    <a:cubicBezTo>
                      <a:pt x="113" y="88"/>
                      <a:pt x="112" y="87"/>
                      <a:pt x="111" y="87"/>
                    </a:cubicBezTo>
                    <a:cubicBezTo>
                      <a:pt x="110" y="86"/>
                      <a:pt x="109" y="84"/>
                      <a:pt x="108" y="82"/>
                    </a:cubicBezTo>
                    <a:cubicBezTo>
                      <a:pt x="107" y="82"/>
                      <a:pt x="107" y="82"/>
                      <a:pt x="107" y="82"/>
                    </a:cubicBezTo>
                    <a:cubicBezTo>
                      <a:pt x="106" y="81"/>
                      <a:pt x="106" y="81"/>
                      <a:pt x="106" y="81"/>
                    </a:cubicBezTo>
                    <a:cubicBezTo>
                      <a:pt x="106" y="80"/>
                      <a:pt x="106" y="80"/>
                      <a:pt x="106" y="80"/>
                    </a:cubicBezTo>
                    <a:cubicBezTo>
                      <a:pt x="106" y="79"/>
                      <a:pt x="106" y="78"/>
                      <a:pt x="107" y="78"/>
                    </a:cubicBezTo>
                    <a:cubicBezTo>
                      <a:pt x="107" y="77"/>
                      <a:pt x="107" y="77"/>
                      <a:pt x="107" y="77"/>
                    </a:cubicBezTo>
                    <a:cubicBezTo>
                      <a:pt x="108" y="78"/>
                      <a:pt x="108" y="78"/>
                      <a:pt x="108" y="78"/>
                    </a:cubicBezTo>
                    <a:cubicBezTo>
                      <a:pt x="108" y="77"/>
                      <a:pt x="108" y="77"/>
                      <a:pt x="108" y="77"/>
                    </a:cubicBezTo>
                    <a:cubicBezTo>
                      <a:pt x="108" y="76"/>
                      <a:pt x="108" y="76"/>
                      <a:pt x="108" y="76"/>
                    </a:cubicBezTo>
                    <a:cubicBezTo>
                      <a:pt x="109" y="76"/>
                      <a:pt x="109" y="76"/>
                      <a:pt x="109" y="76"/>
                    </a:cubicBezTo>
                    <a:cubicBezTo>
                      <a:pt x="109" y="76"/>
                      <a:pt x="110" y="76"/>
                      <a:pt x="110" y="75"/>
                    </a:cubicBezTo>
                    <a:cubicBezTo>
                      <a:pt x="111" y="75"/>
                      <a:pt x="111" y="75"/>
                      <a:pt x="111" y="75"/>
                    </a:cubicBezTo>
                    <a:cubicBezTo>
                      <a:pt x="112" y="75"/>
                      <a:pt x="113" y="75"/>
                      <a:pt x="114" y="75"/>
                    </a:cubicBezTo>
                    <a:cubicBezTo>
                      <a:pt x="114" y="75"/>
                      <a:pt x="114" y="75"/>
                      <a:pt x="115" y="75"/>
                    </a:cubicBezTo>
                    <a:cubicBezTo>
                      <a:pt x="116" y="75"/>
                      <a:pt x="116" y="75"/>
                      <a:pt x="118" y="75"/>
                    </a:cubicBezTo>
                    <a:cubicBezTo>
                      <a:pt x="119" y="75"/>
                      <a:pt x="120" y="76"/>
                      <a:pt x="121" y="76"/>
                    </a:cubicBezTo>
                    <a:cubicBezTo>
                      <a:pt x="122" y="76"/>
                      <a:pt x="122" y="76"/>
                      <a:pt x="123" y="76"/>
                    </a:cubicBezTo>
                    <a:cubicBezTo>
                      <a:pt x="126" y="76"/>
                      <a:pt x="129" y="74"/>
                      <a:pt x="132" y="72"/>
                    </a:cubicBezTo>
                    <a:cubicBezTo>
                      <a:pt x="132" y="71"/>
                      <a:pt x="133" y="71"/>
                      <a:pt x="134" y="71"/>
                    </a:cubicBezTo>
                    <a:cubicBezTo>
                      <a:pt x="133" y="70"/>
                      <a:pt x="133" y="70"/>
                      <a:pt x="132" y="70"/>
                    </a:cubicBezTo>
                    <a:cubicBezTo>
                      <a:pt x="130" y="68"/>
                      <a:pt x="128" y="66"/>
                      <a:pt x="128" y="65"/>
                    </a:cubicBezTo>
                    <a:cubicBezTo>
                      <a:pt x="128" y="64"/>
                      <a:pt x="128" y="64"/>
                      <a:pt x="128" y="64"/>
                    </a:cubicBezTo>
                    <a:cubicBezTo>
                      <a:pt x="121" y="63"/>
                      <a:pt x="117" y="62"/>
                      <a:pt x="116" y="61"/>
                    </a:cubicBezTo>
                    <a:cubicBezTo>
                      <a:pt x="115" y="59"/>
                      <a:pt x="115" y="59"/>
                      <a:pt x="115" y="59"/>
                    </a:cubicBezTo>
                    <a:cubicBezTo>
                      <a:pt x="116" y="58"/>
                      <a:pt x="116" y="58"/>
                      <a:pt x="116" y="58"/>
                    </a:cubicBezTo>
                    <a:cubicBezTo>
                      <a:pt x="116" y="57"/>
                      <a:pt x="117" y="56"/>
                      <a:pt x="117" y="55"/>
                    </a:cubicBezTo>
                    <a:cubicBezTo>
                      <a:pt x="116" y="54"/>
                      <a:pt x="115" y="53"/>
                      <a:pt x="114" y="52"/>
                    </a:cubicBezTo>
                    <a:cubicBezTo>
                      <a:pt x="107" y="49"/>
                      <a:pt x="104" y="43"/>
                      <a:pt x="105" y="39"/>
                    </a:cubicBezTo>
                    <a:cubicBezTo>
                      <a:pt x="104" y="39"/>
                      <a:pt x="102" y="37"/>
                      <a:pt x="99" y="36"/>
                    </a:cubicBezTo>
                    <a:cubicBezTo>
                      <a:pt x="96" y="36"/>
                      <a:pt x="96" y="36"/>
                      <a:pt x="96" y="36"/>
                    </a:cubicBezTo>
                    <a:cubicBezTo>
                      <a:pt x="97" y="33"/>
                      <a:pt x="97" y="33"/>
                      <a:pt x="97" y="33"/>
                    </a:cubicBezTo>
                    <a:cubicBezTo>
                      <a:pt x="97" y="32"/>
                      <a:pt x="99" y="29"/>
                      <a:pt x="101" y="27"/>
                    </a:cubicBezTo>
                    <a:cubicBezTo>
                      <a:pt x="101" y="26"/>
                      <a:pt x="100" y="25"/>
                      <a:pt x="100" y="25"/>
                    </a:cubicBezTo>
                    <a:cubicBezTo>
                      <a:pt x="99" y="24"/>
                      <a:pt x="98" y="23"/>
                      <a:pt x="98" y="21"/>
                    </a:cubicBezTo>
                    <a:cubicBezTo>
                      <a:pt x="97" y="20"/>
                      <a:pt x="97" y="20"/>
                      <a:pt x="97" y="20"/>
                    </a:cubicBezTo>
                    <a:cubicBezTo>
                      <a:pt x="100" y="17"/>
                      <a:pt x="100" y="17"/>
                      <a:pt x="100" y="17"/>
                    </a:cubicBezTo>
                    <a:cubicBezTo>
                      <a:pt x="99" y="14"/>
                      <a:pt x="99" y="14"/>
                      <a:pt x="99" y="14"/>
                    </a:cubicBezTo>
                    <a:cubicBezTo>
                      <a:pt x="98" y="13"/>
                      <a:pt x="96" y="11"/>
                      <a:pt x="92" y="10"/>
                    </a:cubicBezTo>
                    <a:cubicBezTo>
                      <a:pt x="91" y="9"/>
                      <a:pt x="90" y="9"/>
                      <a:pt x="89" y="8"/>
                    </a:cubicBezTo>
                    <a:cubicBezTo>
                      <a:pt x="89" y="8"/>
                      <a:pt x="89" y="8"/>
                      <a:pt x="89" y="8"/>
                    </a:cubicBezTo>
                    <a:cubicBezTo>
                      <a:pt x="87" y="8"/>
                      <a:pt x="86" y="8"/>
                      <a:pt x="85" y="8"/>
                    </a:cubicBezTo>
                    <a:cubicBezTo>
                      <a:pt x="83" y="8"/>
                      <a:pt x="82" y="8"/>
                      <a:pt x="82" y="9"/>
                    </a:cubicBezTo>
                    <a:cubicBezTo>
                      <a:pt x="81" y="9"/>
                      <a:pt x="80" y="10"/>
                      <a:pt x="79" y="10"/>
                    </a:cubicBezTo>
                    <a:cubicBezTo>
                      <a:pt x="79" y="10"/>
                      <a:pt x="79" y="10"/>
                      <a:pt x="79" y="10"/>
                    </a:cubicBezTo>
                    <a:cubicBezTo>
                      <a:pt x="78" y="11"/>
                      <a:pt x="78" y="11"/>
                      <a:pt x="77" y="11"/>
                    </a:cubicBezTo>
                    <a:cubicBezTo>
                      <a:pt x="77" y="12"/>
                      <a:pt x="76" y="12"/>
                      <a:pt x="75" y="12"/>
                    </a:cubicBezTo>
                    <a:cubicBezTo>
                      <a:pt x="75" y="12"/>
                      <a:pt x="75" y="12"/>
                      <a:pt x="75" y="12"/>
                    </a:cubicBezTo>
                    <a:cubicBezTo>
                      <a:pt x="75" y="12"/>
                      <a:pt x="75" y="12"/>
                      <a:pt x="75" y="12"/>
                    </a:cubicBezTo>
                    <a:cubicBezTo>
                      <a:pt x="74" y="12"/>
                      <a:pt x="74" y="12"/>
                      <a:pt x="74" y="12"/>
                    </a:cubicBezTo>
                    <a:cubicBezTo>
                      <a:pt x="74" y="12"/>
                      <a:pt x="74" y="12"/>
                      <a:pt x="74" y="12"/>
                    </a:cubicBezTo>
                    <a:cubicBezTo>
                      <a:pt x="73" y="12"/>
                      <a:pt x="72" y="11"/>
                      <a:pt x="72" y="11"/>
                    </a:cubicBezTo>
                    <a:cubicBezTo>
                      <a:pt x="72" y="11"/>
                      <a:pt x="72" y="11"/>
                      <a:pt x="72" y="11"/>
                    </a:cubicBezTo>
                    <a:cubicBezTo>
                      <a:pt x="71" y="11"/>
                      <a:pt x="71" y="11"/>
                      <a:pt x="71" y="11"/>
                    </a:cubicBezTo>
                    <a:cubicBezTo>
                      <a:pt x="71" y="10"/>
                      <a:pt x="71" y="10"/>
                      <a:pt x="71" y="10"/>
                    </a:cubicBezTo>
                    <a:cubicBezTo>
                      <a:pt x="71" y="10"/>
                      <a:pt x="71" y="10"/>
                      <a:pt x="71" y="10"/>
                    </a:cubicBezTo>
                    <a:cubicBezTo>
                      <a:pt x="71" y="9"/>
                      <a:pt x="71" y="9"/>
                      <a:pt x="71" y="9"/>
                    </a:cubicBezTo>
                    <a:cubicBezTo>
                      <a:pt x="70" y="9"/>
                      <a:pt x="70" y="8"/>
                      <a:pt x="70" y="8"/>
                    </a:cubicBezTo>
                    <a:cubicBezTo>
                      <a:pt x="70" y="7"/>
                      <a:pt x="70" y="7"/>
                      <a:pt x="70" y="7"/>
                    </a:cubicBezTo>
                    <a:cubicBezTo>
                      <a:pt x="70" y="7"/>
                      <a:pt x="70" y="7"/>
                      <a:pt x="70" y="6"/>
                    </a:cubicBezTo>
                    <a:cubicBezTo>
                      <a:pt x="70" y="6"/>
                      <a:pt x="70" y="5"/>
                      <a:pt x="70" y="5"/>
                    </a:cubicBezTo>
                    <a:cubicBezTo>
                      <a:pt x="69" y="4"/>
                      <a:pt x="69" y="4"/>
                      <a:pt x="69" y="4"/>
                    </a:cubicBezTo>
                    <a:cubicBezTo>
                      <a:pt x="68" y="5"/>
                      <a:pt x="67" y="5"/>
                      <a:pt x="66" y="5"/>
                    </a:cubicBezTo>
                    <a:cubicBezTo>
                      <a:pt x="66" y="5"/>
                      <a:pt x="66" y="5"/>
                      <a:pt x="66" y="5"/>
                    </a:cubicBezTo>
                    <a:cubicBezTo>
                      <a:pt x="66" y="5"/>
                      <a:pt x="66" y="5"/>
                      <a:pt x="66" y="5"/>
                    </a:cubicBezTo>
                    <a:cubicBezTo>
                      <a:pt x="65" y="5"/>
                      <a:pt x="64" y="5"/>
                      <a:pt x="63" y="5"/>
                    </a:cubicBezTo>
                    <a:cubicBezTo>
                      <a:pt x="63" y="5"/>
                      <a:pt x="63" y="5"/>
                      <a:pt x="63" y="5"/>
                    </a:cubicBezTo>
                    <a:cubicBezTo>
                      <a:pt x="62" y="5"/>
                      <a:pt x="61" y="5"/>
                      <a:pt x="61" y="5"/>
                    </a:cubicBezTo>
                    <a:cubicBezTo>
                      <a:pt x="60" y="5"/>
                      <a:pt x="60" y="5"/>
                      <a:pt x="60" y="5"/>
                    </a:cubicBezTo>
                    <a:cubicBezTo>
                      <a:pt x="59" y="5"/>
                      <a:pt x="58" y="5"/>
                      <a:pt x="57" y="4"/>
                    </a:cubicBezTo>
                    <a:cubicBezTo>
                      <a:pt x="57" y="4"/>
                      <a:pt x="57" y="4"/>
                      <a:pt x="57" y="4"/>
                    </a:cubicBezTo>
                    <a:cubicBezTo>
                      <a:pt x="57" y="4"/>
                      <a:pt x="57" y="4"/>
                      <a:pt x="57" y="4"/>
                    </a:cubicBezTo>
                    <a:cubicBezTo>
                      <a:pt x="57" y="4"/>
                      <a:pt x="57" y="4"/>
                      <a:pt x="57" y="4"/>
                    </a:cubicBezTo>
                    <a:cubicBezTo>
                      <a:pt x="56" y="4"/>
                      <a:pt x="56" y="4"/>
                      <a:pt x="56" y="4"/>
                    </a:cubicBezTo>
                    <a:cubicBezTo>
                      <a:pt x="56" y="4"/>
                      <a:pt x="56" y="4"/>
                      <a:pt x="56" y="4"/>
                    </a:cubicBezTo>
                    <a:cubicBezTo>
                      <a:pt x="55" y="3"/>
                      <a:pt x="55" y="3"/>
                      <a:pt x="54" y="3"/>
                    </a:cubicBezTo>
                    <a:cubicBezTo>
                      <a:pt x="54" y="2"/>
                      <a:pt x="54" y="2"/>
                      <a:pt x="54" y="2"/>
                    </a:cubicBezTo>
                    <a:cubicBezTo>
                      <a:pt x="53" y="2"/>
                      <a:pt x="53" y="2"/>
                      <a:pt x="53" y="2"/>
                    </a:cubicBezTo>
                    <a:cubicBezTo>
                      <a:pt x="52" y="2"/>
                      <a:pt x="52" y="2"/>
                      <a:pt x="52" y="2"/>
                    </a:cubicBezTo>
                    <a:cubicBezTo>
                      <a:pt x="51" y="1"/>
                      <a:pt x="51" y="1"/>
                      <a:pt x="51" y="1"/>
                    </a:cubicBezTo>
                    <a:cubicBezTo>
                      <a:pt x="51" y="1"/>
                      <a:pt x="51" y="1"/>
                      <a:pt x="51" y="1"/>
                    </a:cubicBezTo>
                    <a:cubicBezTo>
                      <a:pt x="51" y="1"/>
                      <a:pt x="50" y="1"/>
                      <a:pt x="50" y="0"/>
                    </a:cubicBezTo>
                    <a:cubicBezTo>
                      <a:pt x="50" y="0"/>
                      <a:pt x="50" y="0"/>
                      <a:pt x="50" y="0"/>
                    </a:cubicBezTo>
                    <a:cubicBezTo>
                      <a:pt x="50" y="1"/>
                      <a:pt x="50" y="1"/>
                      <a:pt x="50" y="1"/>
                    </a:cubicBezTo>
                    <a:cubicBezTo>
                      <a:pt x="49" y="0"/>
                      <a:pt x="49"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 name="Freeform 397">
                <a:extLst>
                  <a:ext uri="{FF2B5EF4-FFF2-40B4-BE49-F238E27FC236}">
                    <a16:creationId xmlns:a16="http://schemas.microsoft.com/office/drawing/2014/main" id="{C231B22A-A8B9-46F6-90E3-4EF929DA89EE}"/>
                  </a:ext>
                </a:extLst>
              </p:cNvPr>
              <p:cNvSpPr>
                <a:spLocks/>
              </p:cNvSpPr>
              <p:nvPr/>
            </p:nvSpPr>
            <p:spPr bwMode="auto">
              <a:xfrm>
                <a:off x="3665" y="481"/>
                <a:ext cx="40" cy="88"/>
              </a:xfrm>
              <a:custGeom>
                <a:avLst/>
                <a:gdLst>
                  <a:gd name="T0" fmla="*/ 0 w 17"/>
                  <a:gd name="T1" fmla="*/ 0 h 37"/>
                  <a:gd name="T2" fmla="*/ 0 w 17"/>
                  <a:gd name="T3" fmla="*/ 37 h 37"/>
                  <a:gd name="T4" fmla="*/ 1 w 17"/>
                  <a:gd name="T5" fmla="*/ 34 h 37"/>
                  <a:gd name="T6" fmla="*/ 5 w 17"/>
                  <a:gd name="T7" fmla="*/ 29 h 37"/>
                  <a:gd name="T8" fmla="*/ 7 w 17"/>
                  <a:gd name="T9" fmla="*/ 28 h 37"/>
                  <a:gd name="T10" fmla="*/ 8 w 17"/>
                  <a:gd name="T11" fmla="*/ 28 h 37"/>
                  <a:gd name="T12" fmla="*/ 10 w 17"/>
                  <a:gd name="T13" fmla="*/ 27 h 37"/>
                  <a:gd name="T14" fmla="*/ 8 w 17"/>
                  <a:gd name="T15" fmla="*/ 24 h 37"/>
                  <a:gd name="T16" fmla="*/ 11 w 17"/>
                  <a:gd name="T17" fmla="*/ 26 h 37"/>
                  <a:gd name="T18" fmla="*/ 17 w 17"/>
                  <a:gd name="T19" fmla="*/ 22 h 37"/>
                  <a:gd name="T20" fmla="*/ 17 w 17"/>
                  <a:gd name="T21" fmla="*/ 22 h 37"/>
                  <a:gd name="T22" fmla="*/ 16 w 17"/>
                  <a:gd name="T23" fmla="*/ 21 h 37"/>
                  <a:gd name="T24" fmla="*/ 16 w 17"/>
                  <a:gd name="T25" fmla="*/ 16 h 37"/>
                  <a:gd name="T26" fmla="*/ 16 w 17"/>
                  <a:gd name="T27" fmla="*/ 14 h 37"/>
                  <a:gd name="T28" fmla="*/ 17 w 17"/>
                  <a:gd name="T29" fmla="*/ 12 h 37"/>
                  <a:gd name="T30" fmla="*/ 17 w 17"/>
                  <a:gd name="T31" fmla="*/ 12 h 37"/>
                  <a:gd name="T32" fmla="*/ 13 w 17"/>
                  <a:gd name="T33" fmla="*/ 10 h 37"/>
                  <a:gd name="T34" fmla="*/ 12 w 17"/>
                  <a:gd name="T35" fmla="*/ 9 h 37"/>
                  <a:gd name="T36" fmla="*/ 10 w 17"/>
                  <a:gd name="T37" fmla="*/ 8 h 37"/>
                  <a:gd name="T38" fmla="*/ 8 w 17"/>
                  <a:gd name="T39" fmla="*/ 6 h 37"/>
                  <a:gd name="T40" fmla="*/ 6 w 17"/>
                  <a:gd name="T41" fmla="*/ 4 h 37"/>
                  <a:gd name="T42" fmla="*/ 4 w 17"/>
                  <a:gd name="T43" fmla="*/ 3 h 37"/>
                  <a:gd name="T44" fmla="*/ 2 w 17"/>
                  <a:gd name="T45" fmla="*/ 2 h 37"/>
                  <a:gd name="T46" fmla="*/ 0 w 17"/>
                  <a:gd name="T4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7">
                    <a:moveTo>
                      <a:pt x="0" y="0"/>
                    </a:moveTo>
                    <a:cubicBezTo>
                      <a:pt x="0" y="37"/>
                      <a:pt x="0" y="37"/>
                      <a:pt x="0" y="37"/>
                    </a:cubicBezTo>
                    <a:cubicBezTo>
                      <a:pt x="1" y="34"/>
                      <a:pt x="1" y="34"/>
                      <a:pt x="1" y="34"/>
                    </a:cubicBezTo>
                    <a:cubicBezTo>
                      <a:pt x="2" y="32"/>
                      <a:pt x="3" y="31"/>
                      <a:pt x="5" y="29"/>
                    </a:cubicBezTo>
                    <a:cubicBezTo>
                      <a:pt x="5" y="29"/>
                      <a:pt x="6" y="29"/>
                      <a:pt x="7" y="28"/>
                    </a:cubicBezTo>
                    <a:cubicBezTo>
                      <a:pt x="8" y="28"/>
                      <a:pt x="8" y="28"/>
                      <a:pt x="8" y="28"/>
                    </a:cubicBezTo>
                    <a:cubicBezTo>
                      <a:pt x="8" y="27"/>
                      <a:pt x="9" y="27"/>
                      <a:pt x="10" y="27"/>
                    </a:cubicBezTo>
                    <a:cubicBezTo>
                      <a:pt x="8" y="24"/>
                      <a:pt x="8" y="24"/>
                      <a:pt x="8" y="24"/>
                    </a:cubicBezTo>
                    <a:cubicBezTo>
                      <a:pt x="11" y="26"/>
                      <a:pt x="11" y="26"/>
                      <a:pt x="11" y="26"/>
                    </a:cubicBezTo>
                    <a:cubicBezTo>
                      <a:pt x="13" y="25"/>
                      <a:pt x="15" y="24"/>
                      <a:pt x="17" y="22"/>
                    </a:cubicBezTo>
                    <a:cubicBezTo>
                      <a:pt x="17" y="22"/>
                      <a:pt x="17" y="22"/>
                      <a:pt x="17" y="22"/>
                    </a:cubicBezTo>
                    <a:cubicBezTo>
                      <a:pt x="17" y="22"/>
                      <a:pt x="16" y="22"/>
                      <a:pt x="16" y="21"/>
                    </a:cubicBezTo>
                    <a:cubicBezTo>
                      <a:pt x="14" y="19"/>
                      <a:pt x="15" y="17"/>
                      <a:pt x="16" y="16"/>
                    </a:cubicBezTo>
                    <a:cubicBezTo>
                      <a:pt x="16" y="14"/>
                      <a:pt x="16" y="14"/>
                      <a:pt x="16" y="14"/>
                    </a:cubicBezTo>
                    <a:cubicBezTo>
                      <a:pt x="17" y="13"/>
                      <a:pt x="17" y="13"/>
                      <a:pt x="17" y="12"/>
                    </a:cubicBezTo>
                    <a:cubicBezTo>
                      <a:pt x="17" y="12"/>
                      <a:pt x="17" y="12"/>
                      <a:pt x="17" y="12"/>
                    </a:cubicBezTo>
                    <a:cubicBezTo>
                      <a:pt x="15" y="12"/>
                      <a:pt x="14" y="11"/>
                      <a:pt x="13" y="10"/>
                    </a:cubicBezTo>
                    <a:cubicBezTo>
                      <a:pt x="12" y="9"/>
                      <a:pt x="12" y="9"/>
                      <a:pt x="12" y="9"/>
                    </a:cubicBezTo>
                    <a:cubicBezTo>
                      <a:pt x="12" y="9"/>
                      <a:pt x="11" y="8"/>
                      <a:pt x="10" y="8"/>
                    </a:cubicBezTo>
                    <a:cubicBezTo>
                      <a:pt x="8" y="6"/>
                      <a:pt x="8" y="6"/>
                      <a:pt x="8" y="6"/>
                    </a:cubicBezTo>
                    <a:cubicBezTo>
                      <a:pt x="7" y="5"/>
                      <a:pt x="7" y="5"/>
                      <a:pt x="6" y="4"/>
                    </a:cubicBezTo>
                    <a:cubicBezTo>
                      <a:pt x="5" y="4"/>
                      <a:pt x="4" y="3"/>
                      <a:pt x="4" y="3"/>
                    </a:cubicBezTo>
                    <a:cubicBezTo>
                      <a:pt x="3" y="2"/>
                      <a:pt x="3" y="2"/>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 name="Freeform 398">
                <a:extLst>
                  <a:ext uri="{FF2B5EF4-FFF2-40B4-BE49-F238E27FC236}">
                    <a16:creationId xmlns:a16="http://schemas.microsoft.com/office/drawing/2014/main" id="{3B733DAC-8006-4170-93AC-E1F8A6E6B5FC}"/>
                  </a:ext>
                </a:extLst>
              </p:cNvPr>
              <p:cNvSpPr>
                <a:spLocks/>
              </p:cNvSpPr>
              <p:nvPr/>
            </p:nvSpPr>
            <p:spPr bwMode="auto">
              <a:xfrm>
                <a:off x="3665" y="366"/>
                <a:ext cx="113" cy="134"/>
              </a:xfrm>
              <a:custGeom>
                <a:avLst/>
                <a:gdLst>
                  <a:gd name="T0" fmla="*/ 0 w 48"/>
                  <a:gd name="T1" fmla="*/ 44 h 57"/>
                  <a:gd name="T2" fmla="*/ 5 w 48"/>
                  <a:gd name="T3" fmla="*/ 47 h 57"/>
                  <a:gd name="T4" fmla="*/ 7 w 48"/>
                  <a:gd name="T5" fmla="*/ 48 h 57"/>
                  <a:gd name="T6" fmla="*/ 11 w 48"/>
                  <a:gd name="T7" fmla="*/ 52 h 57"/>
                  <a:gd name="T8" fmla="*/ 14 w 48"/>
                  <a:gd name="T9" fmla="*/ 53 h 57"/>
                  <a:gd name="T10" fmla="*/ 16 w 48"/>
                  <a:gd name="T11" fmla="*/ 55 h 57"/>
                  <a:gd name="T12" fmla="*/ 19 w 48"/>
                  <a:gd name="T13" fmla="*/ 57 h 57"/>
                  <a:gd name="T14" fmla="*/ 20 w 48"/>
                  <a:gd name="T15" fmla="*/ 57 h 57"/>
                  <a:gd name="T16" fmla="*/ 20 w 48"/>
                  <a:gd name="T17" fmla="*/ 57 h 57"/>
                  <a:gd name="T18" fmla="*/ 22 w 48"/>
                  <a:gd name="T19" fmla="*/ 57 h 57"/>
                  <a:gd name="T20" fmla="*/ 24 w 48"/>
                  <a:gd name="T21" fmla="*/ 55 h 57"/>
                  <a:gd name="T22" fmla="*/ 31 w 48"/>
                  <a:gd name="T23" fmla="*/ 53 h 57"/>
                  <a:gd name="T24" fmla="*/ 34 w 48"/>
                  <a:gd name="T25" fmla="*/ 53 h 57"/>
                  <a:gd name="T26" fmla="*/ 37 w 48"/>
                  <a:gd name="T27" fmla="*/ 53 h 57"/>
                  <a:gd name="T28" fmla="*/ 40 w 48"/>
                  <a:gd name="T29" fmla="*/ 49 h 57"/>
                  <a:gd name="T30" fmla="*/ 41 w 48"/>
                  <a:gd name="T31" fmla="*/ 48 h 57"/>
                  <a:gd name="T32" fmla="*/ 47 w 48"/>
                  <a:gd name="T33" fmla="*/ 45 h 57"/>
                  <a:gd name="T34" fmla="*/ 47 w 48"/>
                  <a:gd name="T35" fmla="*/ 43 h 57"/>
                  <a:gd name="T36" fmla="*/ 48 w 48"/>
                  <a:gd name="T37" fmla="*/ 41 h 57"/>
                  <a:gd name="T38" fmla="*/ 47 w 48"/>
                  <a:gd name="T39" fmla="*/ 41 h 57"/>
                  <a:gd name="T40" fmla="*/ 47 w 48"/>
                  <a:gd name="T41" fmla="*/ 40 h 57"/>
                  <a:gd name="T42" fmla="*/ 44 w 48"/>
                  <a:gd name="T43" fmla="*/ 33 h 57"/>
                  <a:gd name="T44" fmla="*/ 41 w 48"/>
                  <a:gd name="T45" fmla="*/ 30 h 57"/>
                  <a:gd name="T46" fmla="*/ 34 w 48"/>
                  <a:gd name="T47" fmla="*/ 34 h 57"/>
                  <a:gd name="T48" fmla="*/ 39 w 48"/>
                  <a:gd name="T49" fmla="*/ 23 h 57"/>
                  <a:gd name="T50" fmla="*/ 39 w 48"/>
                  <a:gd name="T51" fmla="*/ 22 h 57"/>
                  <a:gd name="T52" fmla="*/ 40 w 48"/>
                  <a:gd name="T53" fmla="*/ 16 h 57"/>
                  <a:gd name="T54" fmla="*/ 38 w 48"/>
                  <a:gd name="T55" fmla="*/ 15 h 57"/>
                  <a:gd name="T56" fmla="*/ 37 w 48"/>
                  <a:gd name="T57" fmla="*/ 14 h 57"/>
                  <a:gd name="T58" fmla="*/ 35 w 48"/>
                  <a:gd name="T59" fmla="*/ 13 h 57"/>
                  <a:gd name="T60" fmla="*/ 34 w 48"/>
                  <a:gd name="T61" fmla="*/ 12 h 57"/>
                  <a:gd name="T62" fmla="*/ 31 w 48"/>
                  <a:gd name="T63" fmla="*/ 15 h 57"/>
                  <a:gd name="T64" fmla="*/ 30 w 48"/>
                  <a:gd name="T65" fmla="*/ 11 h 57"/>
                  <a:gd name="T66" fmla="*/ 27 w 48"/>
                  <a:gd name="T67" fmla="*/ 10 h 57"/>
                  <a:gd name="T68" fmla="*/ 25 w 48"/>
                  <a:gd name="T69" fmla="*/ 10 h 57"/>
                  <a:gd name="T70" fmla="*/ 23 w 48"/>
                  <a:gd name="T71" fmla="*/ 10 h 57"/>
                  <a:gd name="T72" fmla="*/ 18 w 48"/>
                  <a:gd name="T73" fmla="*/ 11 h 57"/>
                  <a:gd name="T74" fmla="*/ 12 w 48"/>
                  <a:gd name="T75" fmla="*/ 9 h 57"/>
                  <a:gd name="T76" fmla="*/ 7 w 48"/>
                  <a:gd name="T77" fmla="*/ 4 h 57"/>
                  <a:gd name="T78" fmla="*/ 7 w 48"/>
                  <a:gd name="T79" fmla="*/ 3 h 57"/>
                  <a:gd name="T80" fmla="*/ 1 w 48"/>
                  <a:gd name="T8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57">
                    <a:moveTo>
                      <a:pt x="0" y="0"/>
                    </a:moveTo>
                    <a:cubicBezTo>
                      <a:pt x="0" y="44"/>
                      <a:pt x="0" y="44"/>
                      <a:pt x="0" y="44"/>
                    </a:cubicBezTo>
                    <a:cubicBezTo>
                      <a:pt x="1" y="44"/>
                      <a:pt x="1" y="44"/>
                      <a:pt x="1" y="44"/>
                    </a:cubicBezTo>
                    <a:cubicBezTo>
                      <a:pt x="3" y="45"/>
                      <a:pt x="4" y="46"/>
                      <a:pt x="5" y="47"/>
                    </a:cubicBezTo>
                    <a:cubicBezTo>
                      <a:pt x="6" y="48"/>
                      <a:pt x="6" y="48"/>
                      <a:pt x="6" y="48"/>
                    </a:cubicBezTo>
                    <a:cubicBezTo>
                      <a:pt x="7" y="48"/>
                      <a:pt x="7" y="48"/>
                      <a:pt x="7" y="48"/>
                    </a:cubicBezTo>
                    <a:cubicBezTo>
                      <a:pt x="7" y="49"/>
                      <a:pt x="8" y="49"/>
                      <a:pt x="8" y="49"/>
                    </a:cubicBezTo>
                    <a:cubicBezTo>
                      <a:pt x="9" y="50"/>
                      <a:pt x="10" y="51"/>
                      <a:pt x="11" y="52"/>
                    </a:cubicBezTo>
                    <a:cubicBezTo>
                      <a:pt x="12" y="52"/>
                      <a:pt x="12" y="52"/>
                      <a:pt x="13" y="53"/>
                    </a:cubicBezTo>
                    <a:cubicBezTo>
                      <a:pt x="14" y="53"/>
                      <a:pt x="14" y="53"/>
                      <a:pt x="14" y="53"/>
                    </a:cubicBezTo>
                    <a:cubicBezTo>
                      <a:pt x="14" y="54"/>
                      <a:pt x="15" y="54"/>
                      <a:pt x="15" y="55"/>
                    </a:cubicBezTo>
                    <a:cubicBezTo>
                      <a:pt x="16" y="55"/>
                      <a:pt x="16" y="55"/>
                      <a:pt x="16" y="55"/>
                    </a:cubicBezTo>
                    <a:cubicBezTo>
                      <a:pt x="17" y="56"/>
                      <a:pt x="17" y="56"/>
                      <a:pt x="18" y="57"/>
                    </a:cubicBezTo>
                    <a:cubicBezTo>
                      <a:pt x="19" y="57"/>
                      <a:pt x="19" y="57"/>
                      <a:pt x="19" y="57"/>
                    </a:cubicBezTo>
                    <a:cubicBezTo>
                      <a:pt x="19" y="57"/>
                      <a:pt x="19" y="57"/>
                      <a:pt x="19" y="57"/>
                    </a:cubicBezTo>
                    <a:cubicBezTo>
                      <a:pt x="20" y="57"/>
                      <a:pt x="20" y="57"/>
                      <a:pt x="20" y="57"/>
                    </a:cubicBezTo>
                    <a:cubicBezTo>
                      <a:pt x="20" y="57"/>
                      <a:pt x="20" y="57"/>
                      <a:pt x="20" y="57"/>
                    </a:cubicBezTo>
                    <a:cubicBezTo>
                      <a:pt x="20" y="57"/>
                      <a:pt x="20" y="57"/>
                      <a:pt x="20" y="57"/>
                    </a:cubicBezTo>
                    <a:cubicBezTo>
                      <a:pt x="20" y="57"/>
                      <a:pt x="20" y="57"/>
                      <a:pt x="20" y="57"/>
                    </a:cubicBezTo>
                    <a:cubicBezTo>
                      <a:pt x="21" y="57"/>
                      <a:pt x="21" y="57"/>
                      <a:pt x="22" y="57"/>
                    </a:cubicBezTo>
                    <a:cubicBezTo>
                      <a:pt x="22" y="57"/>
                      <a:pt x="22" y="57"/>
                      <a:pt x="22" y="57"/>
                    </a:cubicBezTo>
                    <a:cubicBezTo>
                      <a:pt x="22" y="56"/>
                      <a:pt x="23" y="56"/>
                      <a:pt x="24" y="55"/>
                    </a:cubicBezTo>
                    <a:cubicBezTo>
                      <a:pt x="25" y="54"/>
                      <a:pt x="26" y="53"/>
                      <a:pt x="29" y="53"/>
                    </a:cubicBezTo>
                    <a:cubicBezTo>
                      <a:pt x="30" y="53"/>
                      <a:pt x="30" y="53"/>
                      <a:pt x="31" y="53"/>
                    </a:cubicBezTo>
                    <a:cubicBezTo>
                      <a:pt x="33" y="53"/>
                      <a:pt x="33" y="53"/>
                      <a:pt x="33" y="53"/>
                    </a:cubicBezTo>
                    <a:cubicBezTo>
                      <a:pt x="34" y="53"/>
                      <a:pt x="34" y="53"/>
                      <a:pt x="34" y="53"/>
                    </a:cubicBezTo>
                    <a:cubicBezTo>
                      <a:pt x="35" y="53"/>
                      <a:pt x="36" y="53"/>
                      <a:pt x="37" y="53"/>
                    </a:cubicBezTo>
                    <a:cubicBezTo>
                      <a:pt x="37" y="53"/>
                      <a:pt x="37" y="53"/>
                      <a:pt x="37" y="53"/>
                    </a:cubicBezTo>
                    <a:cubicBezTo>
                      <a:pt x="37" y="52"/>
                      <a:pt x="37" y="51"/>
                      <a:pt x="38" y="51"/>
                    </a:cubicBezTo>
                    <a:cubicBezTo>
                      <a:pt x="39" y="50"/>
                      <a:pt x="39" y="50"/>
                      <a:pt x="40" y="49"/>
                    </a:cubicBezTo>
                    <a:cubicBezTo>
                      <a:pt x="40" y="49"/>
                      <a:pt x="40" y="49"/>
                      <a:pt x="40" y="49"/>
                    </a:cubicBezTo>
                    <a:cubicBezTo>
                      <a:pt x="41" y="48"/>
                      <a:pt x="41" y="48"/>
                      <a:pt x="41" y="48"/>
                    </a:cubicBezTo>
                    <a:cubicBezTo>
                      <a:pt x="42" y="47"/>
                      <a:pt x="44" y="46"/>
                      <a:pt x="46" y="45"/>
                    </a:cubicBezTo>
                    <a:cubicBezTo>
                      <a:pt x="47" y="45"/>
                      <a:pt x="47" y="45"/>
                      <a:pt x="47" y="45"/>
                    </a:cubicBezTo>
                    <a:cubicBezTo>
                      <a:pt x="47" y="45"/>
                      <a:pt x="47" y="45"/>
                      <a:pt x="47" y="45"/>
                    </a:cubicBezTo>
                    <a:cubicBezTo>
                      <a:pt x="47" y="43"/>
                      <a:pt x="47" y="43"/>
                      <a:pt x="47" y="43"/>
                    </a:cubicBezTo>
                    <a:cubicBezTo>
                      <a:pt x="47" y="42"/>
                      <a:pt x="47" y="42"/>
                      <a:pt x="47" y="42"/>
                    </a:cubicBezTo>
                    <a:cubicBezTo>
                      <a:pt x="48" y="41"/>
                      <a:pt x="48" y="41"/>
                      <a:pt x="48" y="41"/>
                    </a:cubicBezTo>
                    <a:cubicBezTo>
                      <a:pt x="47" y="42"/>
                      <a:pt x="47" y="42"/>
                      <a:pt x="47" y="42"/>
                    </a:cubicBezTo>
                    <a:cubicBezTo>
                      <a:pt x="47" y="41"/>
                      <a:pt x="47" y="41"/>
                      <a:pt x="47" y="41"/>
                    </a:cubicBezTo>
                    <a:cubicBezTo>
                      <a:pt x="47" y="40"/>
                      <a:pt x="47" y="40"/>
                      <a:pt x="47" y="40"/>
                    </a:cubicBezTo>
                    <a:cubicBezTo>
                      <a:pt x="47" y="40"/>
                      <a:pt x="47" y="40"/>
                      <a:pt x="47" y="40"/>
                    </a:cubicBezTo>
                    <a:cubicBezTo>
                      <a:pt x="46" y="39"/>
                      <a:pt x="46" y="39"/>
                      <a:pt x="46" y="39"/>
                    </a:cubicBezTo>
                    <a:cubicBezTo>
                      <a:pt x="46" y="38"/>
                      <a:pt x="45" y="37"/>
                      <a:pt x="44" y="33"/>
                    </a:cubicBezTo>
                    <a:cubicBezTo>
                      <a:pt x="44" y="31"/>
                      <a:pt x="43" y="30"/>
                      <a:pt x="42" y="30"/>
                    </a:cubicBezTo>
                    <a:cubicBezTo>
                      <a:pt x="42" y="30"/>
                      <a:pt x="41" y="30"/>
                      <a:pt x="41" y="30"/>
                    </a:cubicBezTo>
                    <a:cubicBezTo>
                      <a:pt x="41" y="30"/>
                      <a:pt x="41" y="30"/>
                      <a:pt x="41" y="30"/>
                    </a:cubicBezTo>
                    <a:cubicBezTo>
                      <a:pt x="34" y="34"/>
                      <a:pt x="34" y="34"/>
                      <a:pt x="34" y="34"/>
                    </a:cubicBezTo>
                    <a:cubicBezTo>
                      <a:pt x="37" y="27"/>
                      <a:pt x="37" y="27"/>
                      <a:pt x="37" y="27"/>
                    </a:cubicBezTo>
                    <a:cubicBezTo>
                      <a:pt x="37" y="27"/>
                      <a:pt x="38" y="25"/>
                      <a:pt x="39" y="23"/>
                    </a:cubicBezTo>
                    <a:cubicBezTo>
                      <a:pt x="39" y="23"/>
                      <a:pt x="39" y="23"/>
                      <a:pt x="39" y="23"/>
                    </a:cubicBezTo>
                    <a:cubicBezTo>
                      <a:pt x="39" y="22"/>
                      <a:pt x="39" y="22"/>
                      <a:pt x="39" y="22"/>
                    </a:cubicBezTo>
                    <a:cubicBezTo>
                      <a:pt x="39" y="21"/>
                      <a:pt x="38" y="20"/>
                      <a:pt x="40" y="18"/>
                    </a:cubicBezTo>
                    <a:cubicBezTo>
                      <a:pt x="40" y="18"/>
                      <a:pt x="40" y="17"/>
                      <a:pt x="40" y="16"/>
                    </a:cubicBezTo>
                    <a:cubicBezTo>
                      <a:pt x="40" y="16"/>
                      <a:pt x="40" y="16"/>
                      <a:pt x="39" y="16"/>
                    </a:cubicBezTo>
                    <a:cubicBezTo>
                      <a:pt x="39" y="16"/>
                      <a:pt x="39" y="16"/>
                      <a:pt x="38" y="15"/>
                    </a:cubicBezTo>
                    <a:cubicBezTo>
                      <a:pt x="37" y="15"/>
                      <a:pt x="37" y="15"/>
                      <a:pt x="37" y="15"/>
                    </a:cubicBezTo>
                    <a:cubicBezTo>
                      <a:pt x="37" y="14"/>
                      <a:pt x="37" y="14"/>
                      <a:pt x="37" y="14"/>
                    </a:cubicBezTo>
                    <a:cubicBezTo>
                      <a:pt x="36" y="14"/>
                      <a:pt x="36" y="14"/>
                      <a:pt x="36" y="14"/>
                    </a:cubicBezTo>
                    <a:cubicBezTo>
                      <a:pt x="36" y="14"/>
                      <a:pt x="36" y="13"/>
                      <a:pt x="35" y="13"/>
                    </a:cubicBezTo>
                    <a:cubicBezTo>
                      <a:pt x="35" y="13"/>
                      <a:pt x="35" y="13"/>
                      <a:pt x="35" y="13"/>
                    </a:cubicBezTo>
                    <a:cubicBezTo>
                      <a:pt x="34" y="12"/>
                      <a:pt x="34" y="12"/>
                      <a:pt x="34" y="12"/>
                    </a:cubicBezTo>
                    <a:cubicBezTo>
                      <a:pt x="34" y="12"/>
                      <a:pt x="34" y="12"/>
                      <a:pt x="34" y="12"/>
                    </a:cubicBezTo>
                    <a:cubicBezTo>
                      <a:pt x="31" y="15"/>
                      <a:pt x="31" y="15"/>
                      <a:pt x="31" y="15"/>
                    </a:cubicBezTo>
                    <a:cubicBezTo>
                      <a:pt x="32" y="11"/>
                      <a:pt x="32" y="11"/>
                      <a:pt x="32" y="11"/>
                    </a:cubicBezTo>
                    <a:cubicBezTo>
                      <a:pt x="30" y="11"/>
                      <a:pt x="30" y="11"/>
                      <a:pt x="30" y="11"/>
                    </a:cubicBezTo>
                    <a:cubicBezTo>
                      <a:pt x="29" y="11"/>
                      <a:pt x="28" y="10"/>
                      <a:pt x="27" y="10"/>
                    </a:cubicBezTo>
                    <a:cubicBezTo>
                      <a:pt x="27" y="10"/>
                      <a:pt x="27" y="10"/>
                      <a:pt x="27" y="10"/>
                    </a:cubicBezTo>
                    <a:cubicBezTo>
                      <a:pt x="26" y="9"/>
                      <a:pt x="26" y="9"/>
                      <a:pt x="26" y="9"/>
                    </a:cubicBezTo>
                    <a:cubicBezTo>
                      <a:pt x="26" y="9"/>
                      <a:pt x="25" y="10"/>
                      <a:pt x="25" y="10"/>
                    </a:cubicBezTo>
                    <a:cubicBezTo>
                      <a:pt x="24" y="10"/>
                      <a:pt x="24" y="10"/>
                      <a:pt x="23" y="10"/>
                    </a:cubicBezTo>
                    <a:cubicBezTo>
                      <a:pt x="23" y="10"/>
                      <a:pt x="23" y="10"/>
                      <a:pt x="23" y="10"/>
                    </a:cubicBezTo>
                    <a:cubicBezTo>
                      <a:pt x="23" y="10"/>
                      <a:pt x="23" y="10"/>
                      <a:pt x="23" y="10"/>
                    </a:cubicBezTo>
                    <a:cubicBezTo>
                      <a:pt x="21" y="11"/>
                      <a:pt x="20" y="11"/>
                      <a:pt x="18" y="11"/>
                    </a:cubicBezTo>
                    <a:cubicBezTo>
                      <a:pt x="18" y="11"/>
                      <a:pt x="17" y="11"/>
                      <a:pt x="16" y="11"/>
                    </a:cubicBezTo>
                    <a:cubicBezTo>
                      <a:pt x="15" y="10"/>
                      <a:pt x="14" y="10"/>
                      <a:pt x="12" y="9"/>
                    </a:cubicBezTo>
                    <a:cubicBezTo>
                      <a:pt x="11" y="8"/>
                      <a:pt x="11" y="8"/>
                      <a:pt x="11" y="8"/>
                    </a:cubicBezTo>
                    <a:cubicBezTo>
                      <a:pt x="10" y="6"/>
                      <a:pt x="8" y="5"/>
                      <a:pt x="7" y="4"/>
                    </a:cubicBezTo>
                    <a:cubicBezTo>
                      <a:pt x="7" y="3"/>
                      <a:pt x="7" y="3"/>
                      <a:pt x="7" y="3"/>
                    </a:cubicBezTo>
                    <a:cubicBezTo>
                      <a:pt x="7" y="3"/>
                      <a:pt x="7" y="3"/>
                      <a:pt x="7" y="3"/>
                    </a:cubicBezTo>
                    <a:cubicBezTo>
                      <a:pt x="5" y="2"/>
                      <a:pt x="3" y="1"/>
                      <a:pt x="2" y="1"/>
                    </a:cubicBezTo>
                    <a:cubicBezTo>
                      <a:pt x="1"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 name="Freeform 399">
                <a:extLst>
                  <a:ext uri="{FF2B5EF4-FFF2-40B4-BE49-F238E27FC236}">
                    <a16:creationId xmlns:a16="http://schemas.microsoft.com/office/drawing/2014/main" id="{F5FC3C32-31FD-4935-91F7-63BC7418D473}"/>
                  </a:ext>
                </a:extLst>
              </p:cNvPr>
              <p:cNvSpPr>
                <a:spLocks/>
              </p:cNvSpPr>
              <p:nvPr/>
            </p:nvSpPr>
            <p:spPr bwMode="auto">
              <a:xfrm>
                <a:off x="3665" y="250"/>
                <a:ext cx="106" cy="132"/>
              </a:xfrm>
              <a:custGeom>
                <a:avLst/>
                <a:gdLst>
                  <a:gd name="T0" fmla="*/ 0 w 45"/>
                  <a:gd name="T1" fmla="*/ 0 h 56"/>
                  <a:gd name="T2" fmla="*/ 0 w 45"/>
                  <a:gd name="T3" fmla="*/ 44 h 56"/>
                  <a:gd name="T4" fmla="*/ 1 w 45"/>
                  <a:gd name="T5" fmla="*/ 44 h 56"/>
                  <a:gd name="T6" fmla="*/ 1 w 45"/>
                  <a:gd name="T7" fmla="*/ 44 h 56"/>
                  <a:gd name="T8" fmla="*/ 3 w 45"/>
                  <a:gd name="T9" fmla="*/ 45 h 56"/>
                  <a:gd name="T10" fmla="*/ 4 w 45"/>
                  <a:gd name="T11" fmla="*/ 45 h 56"/>
                  <a:gd name="T12" fmla="*/ 9 w 45"/>
                  <a:gd name="T13" fmla="*/ 47 h 56"/>
                  <a:gd name="T14" fmla="*/ 12 w 45"/>
                  <a:gd name="T15" fmla="*/ 48 h 56"/>
                  <a:gd name="T16" fmla="*/ 11 w 45"/>
                  <a:gd name="T17" fmla="*/ 50 h 56"/>
                  <a:gd name="T18" fmla="*/ 15 w 45"/>
                  <a:gd name="T19" fmla="*/ 53 h 56"/>
                  <a:gd name="T20" fmla="*/ 15 w 45"/>
                  <a:gd name="T21" fmla="*/ 54 h 56"/>
                  <a:gd name="T22" fmla="*/ 18 w 45"/>
                  <a:gd name="T23" fmla="*/ 56 h 56"/>
                  <a:gd name="T24" fmla="*/ 18 w 45"/>
                  <a:gd name="T25" fmla="*/ 56 h 56"/>
                  <a:gd name="T26" fmla="*/ 20 w 45"/>
                  <a:gd name="T27" fmla="*/ 55 h 56"/>
                  <a:gd name="T28" fmla="*/ 21 w 45"/>
                  <a:gd name="T29" fmla="*/ 55 h 56"/>
                  <a:gd name="T30" fmla="*/ 22 w 45"/>
                  <a:gd name="T31" fmla="*/ 54 h 56"/>
                  <a:gd name="T32" fmla="*/ 23 w 45"/>
                  <a:gd name="T33" fmla="*/ 54 h 56"/>
                  <a:gd name="T34" fmla="*/ 25 w 45"/>
                  <a:gd name="T35" fmla="*/ 53 h 56"/>
                  <a:gd name="T36" fmla="*/ 25 w 45"/>
                  <a:gd name="T37" fmla="*/ 53 h 56"/>
                  <a:gd name="T38" fmla="*/ 26 w 45"/>
                  <a:gd name="T39" fmla="*/ 53 h 56"/>
                  <a:gd name="T40" fmla="*/ 29 w 45"/>
                  <a:gd name="T41" fmla="*/ 55 h 56"/>
                  <a:gd name="T42" fmla="*/ 31 w 45"/>
                  <a:gd name="T43" fmla="*/ 55 h 56"/>
                  <a:gd name="T44" fmla="*/ 32 w 45"/>
                  <a:gd name="T45" fmla="*/ 56 h 56"/>
                  <a:gd name="T46" fmla="*/ 32 w 45"/>
                  <a:gd name="T47" fmla="*/ 55 h 56"/>
                  <a:gd name="T48" fmla="*/ 33 w 45"/>
                  <a:gd name="T49" fmla="*/ 55 h 56"/>
                  <a:gd name="T50" fmla="*/ 33 w 45"/>
                  <a:gd name="T51" fmla="*/ 54 h 56"/>
                  <a:gd name="T52" fmla="*/ 33 w 45"/>
                  <a:gd name="T53" fmla="*/ 53 h 56"/>
                  <a:gd name="T54" fmla="*/ 34 w 45"/>
                  <a:gd name="T55" fmla="*/ 51 h 56"/>
                  <a:gd name="T56" fmla="*/ 34 w 45"/>
                  <a:gd name="T57" fmla="*/ 51 h 56"/>
                  <a:gd name="T58" fmla="*/ 35 w 45"/>
                  <a:gd name="T59" fmla="*/ 50 h 56"/>
                  <a:gd name="T60" fmla="*/ 36 w 45"/>
                  <a:gd name="T61" fmla="*/ 49 h 56"/>
                  <a:gd name="T62" fmla="*/ 37 w 45"/>
                  <a:gd name="T63" fmla="*/ 49 h 56"/>
                  <a:gd name="T64" fmla="*/ 37 w 45"/>
                  <a:gd name="T65" fmla="*/ 49 h 56"/>
                  <a:gd name="T66" fmla="*/ 37 w 45"/>
                  <a:gd name="T67" fmla="*/ 48 h 56"/>
                  <a:gd name="T68" fmla="*/ 39 w 45"/>
                  <a:gd name="T69" fmla="*/ 47 h 56"/>
                  <a:gd name="T70" fmla="*/ 38 w 45"/>
                  <a:gd name="T71" fmla="*/ 46 h 56"/>
                  <a:gd name="T72" fmla="*/ 37 w 45"/>
                  <a:gd name="T73" fmla="*/ 45 h 56"/>
                  <a:gd name="T74" fmla="*/ 33 w 45"/>
                  <a:gd name="T75" fmla="*/ 35 h 56"/>
                  <a:gd name="T76" fmla="*/ 33 w 45"/>
                  <a:gd name="T77" fmla="*/ 34 h 56"/>
                  <a:gd name="T78" fmla="*/ 33 w 45"/>
                  <a:gd name="T79" fmla="*/ 34 h 56"/>
                  <a:gd name="T80" fmla="*/ 33 w 45"/>
                  <a:gd name="T81" fmla="*/ 27 h 56"/>
                  <a:gd name="T82" fmla="*/ 36 w 45"/>
                  <a:gd name="T83" fmla="*/ 20 h 56"/>
                  <a:gd name="T84" fmla="*/ 40 w 45"/>
                  <a:gd name="T85" fmla="*/ 13 h 56"/>
                  <a:gd name="T86" fmla="*/ 43 w 45"/>
                  <a:gd name="T87" fmla="*/ 9 h 56"/>
                  <a:gd name="T88" fmla="*/ 42 w 45"/>
                  <a:gd name="T89" fmla="*/ 8 h 56"/>
                  <a:gd name="T90" fmla="*/ 45 w 45"/>
                  <a:gd name="T91" fmla="*/ 6 h 56"/>
                  <a:gd name="T92" fmla="*/ 44 w 45"/>
                  <a:gd name="T93" fmla="*/ 6 h 56"/>
                  <a:gd name="T94" fmla="*/ 42 w 45"/>
                  <a:gd name="T95" fmla="*/ 6 h 56"/>
                  <a:gd name="T96" fmla="*/ 34 w 45"/>
                  <a:gd name="T97" fmla="*/ 5 h 56"/>
                  <a:gd name="T98" fmla="*/ 27 w 45"/>
                  <a:gd name="T99" fmla="*/ 5 h 56"/>
                  <a:gd name="T100" fmla="*/ 27 w 45"/>
                  <a:gd name="T101" fmla="*/ 5 h 56"/>
                  <a:gd name="T102" fmla="*/ 21 w 45"/>
                  <a:gd name="T103" fmla="*/ 3 h 56"/>
                  <a:gd name="T104" fmla="*/ 6 w 45"/>
                  <a:gd name="T105" fmla="*/ 1 h 56"/>
                  <a:gd name="T106" fmla="*/ 0 w 45"/>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 h="56">
                    <a:moveTo>
                      <a:pt x="0" y="0"/>
                    </a:moveTo>
                    <a:cubicBezTo>
                      <a:pt x="0" y="44"/>
                      <a:pt x="0" y="44"/>
                      <a:pt x="0" y="44"/>
                    </a:cubicBezTo>
                    <a:cubicBezTo>
                      <a:pt x="0" y="44"/>
                      <a:pt x="0" y="44"/>
                      <a:pt x="1" y="44"/>
                    </a:cubicBezTo>
                    <a:cubicBezTo>
                      <a:pt x="1" y="44"/>
                      <a:pt x="1" y="44"/>
                      <a:pt x="1" y="44"/>
                    </a:cubicBezTo>
                    <a:cubicBezTo>
                      <a:pt x="2" y="45"/>
                      <a:pt x="3" y="45"/>
                      <a:pt x="3" y="45"/>
                    </a:cubicBezTo>
                    <a:cubicBezTo>
                      <a:pt x="4" y="45"/>
                      <a:pt x="4" y="45"/>
                      <a:pt x="4" y="45"/>
                    </a:cubicBezTo>
                    <a:cubicBezTo>
                      <a:pt x="6" y="46"/>
                      <a:pt x="7" y="47"/>
                      <a:pt x="9" y="47"/>
                    </a:cubicBezTo>
                    <a:cubicBezTo>
                      <a:pt x="12" y="48"/>
                      <a:pt x="12" y="48"/>
                      <a:pt x="12" y="48"/>
                    </a:cubicBezTo>
                    <a:cubicBezTo>
                      <a:pt x="11" y="50"/>
                      <a:pt x="11" y="50"/>
                      <a:pt x="11" y="50"/>
                    </a:cubicBezTo>
                    <a:cubicBezTo>
                      <a:pt x="12" y="51"/>
                      <a:pt x="13" y="52"/>
                      <a:pt x="15" y="53"/>
                    </a:cubicBezTo>
                    <a:cubicBezTo>
                      <a:pt x="15" y="54"/>
                      <a:pt x="15" y="54"/>
                      <a:pt x="15" y="54"/>
                    </a:cubicBezTo>
                    <a:cubicBezTo>
                      <a:pt x="16" y="55"/>
                      <a:pt x="17" y="55"/>
                      <a:pt x="18" y="56"/>
                    </a:cubicBezTo>
                    <a:cubicBezTo>
                      <a:pt x="18" y="56"/>
                      <a:pt x="18" y="56"/>
                      <a:pt x="18" y="56"/>
                    </a:cubicBezTo>
                    <a:cubicBezTo>
                      <a:pt x="19" y="56"/>
                      <a:pt x="19" y="55"/>
                      <a:pt x="20" y="55"/>
                    </a:cubicBezTo>
                    <a:cubicBezTo>
                      <a:pt x="21" y="55"/>
                      <a:pt x="21" y="55"/>
                      <a:pt x="21" y="55"/>
                    </a:cubicBezTo>
                    <a:cubicBezTo>
                      <a:pt x="21" y="54"/>
                      <a:pt x="22" y="54"/>
                      <a:pt x="22" y="54"/>
                    </a:cubicBezTo>
                    <a:cubicBezTo>
                      <a:pt x="22" y="54"/>
                      <a:pt x="22" y="54"/>
                      <a:pt x="23" y="54"/>
                    </a:cubicBezTo>
                    <a:cubicBezTo>
                      <a:pt x="23" y="54"/>
                      <a:pt x="24" y="53"/>
                      <a:pt x="25" y="53"/>
                    </a:cubicBezTo>
                    <a:cubicBezTo>
                      <a:pt x="25" y="53"/>
                      <a:pt x="25" y="53"/>
                      <a:pt x="25" y="53"/>
                    </a:cubicBezTo>
                    <a:cubicBezTo>
                      <a:pt x="25" y="53"/>
                      <a:pt x="26" y="53"/>
                      <a:pt x="26" y="53"/>
                    </a:cubicBezTo>
                    <a:cubicBezTo>
                      <a:pt x="27" y="54"/>
                      <a:pt x="28" y="54"/>
                      <a:pt x="29" y="55"/>
                    </a:cubicBezTo>
                    <a:cubicBezTo>
                      <a:pt x="30" y="55"/>
                      <a:pt x="30" y="55"/>
                      <a:pt x="31" y="55"/>
                    </a:cubicBezTo>
                    <a:cubicBezTo>
                      <a:pt x="32" y="56"/>
                      <a:pt x="32" y="56"/>
                      <a:pt x="32" y="56"/>
                    </a:cubicBezTo>
                    <a:cubicBezTo>
                      <a:pt x="32" y="55"/>
                      <a:pt x="32" y="55"/>
                      <a:pt x="32" y="55"/>
                    </a:cubicBezTo>
                    <a:cubicBezTo>
                      <a:pt x="33" y="55"/>
                      <a:pt x="33" y="55"/>
                      <a:pt x="33" y="55"/>
                    </a:cubicBezTo>
                    <a:cubicBezTo>
                      <a:pt x="33" y="54"/>
                      <a:pt x="33" y="54"/>
                      <a:pt x="33" y="54"/>
                    </a:cubicBezTo>
                    <a:cubicBezTo>
                      <a:pt x="33" y="54"/>
                      <a:pt x="33" y="54"/>
                      <a:pt x="33" y="53"/>
                    </a:cubicBezTo>
                    <a:cubicBezTo>
                      <a:pt x="33" y="52"/>
                      <a:pt x="34" y="52"/>
                      <a:pt x="34" y="51"/>
                    </a:cubicBezTo>
                    <a:cubicBezTo>
                      <a:pt x="34" y="51"/>
                      <a:pt x="34" y="51"/>
                      <a:pt x="34" y="51"/>
                    </a:cubicBezTo>
                    <a:cubicBezTo>
                      <a:pt x="35" y="50"/>
                      <a:pt x="35" y="50"/>
                      <a:pt x="35" y="50"/>
                    </a:cubicBezTo>
                    <a:cubicBezTo>
                      <a:pt x="35" y="50"/>
                      <a:pt x="36" y="49"/>
                      <a:pt x="36" y="49"/>
                    </a:cubicBezTo>
                    <a:cubicBezTo>
                      <a:pt x="37" y="49"/>
                      <a:pt x="37" y="49"/>
                      <a:pt x="37" y="49"/>
                    </a:cubicBezTo>
                    <a:cubicBezTo>
                      <a:pt x="37" y="49"/>
                      <a:pt x="37" y="49"/>
                      <a:pt x="37" y="49"/>
                    </a:cubicBezTo>
                    <a:cubicBezTo>
                      <a:pt x="37" y="48"/>
                      <a:pt x="37" y="48"/>
                      <a:pt x="37" y="48"/>
                    </a:cubicBezTo>
                    <a:cubicBezTo>
                      <a:pt x="38" y="48"/>
                      <a:pt x="39" y="48"/>
                      <a:pt x="39" y="47"/>
                    </a:cubicBezTo>
                    <a:cubicBezTo>
                      <a:pt x="39" y="47"/>
                      <a:pt x="39" y="47"/>
                      <a:pt x="38" y="46"/>
                    </a:cubicBezTo>
                    <a:cubicBezTo>
                      <a:pt x="38" y="46"/>
                      <a:pt x="38" y="45"/>
                      <a:pt x="37" y="45"/>
                    </a:cubicBezTo>
                    <a:cubicBezTo>
                      <a:pt x="33" y="42"/>
                      <a:pt x="33" y="37"/>
                      <a:pt x="33" y="35"/>
                    </a:cubicBezTo>
                    <a:cubicBezTo>
                      <a:pt x="33" y="35"/>
                      <a:pt x="33" y="35"/>
                      <a:pt x="33" y="34"/>
                    </a:cubicBezTo>
                    <a:cubicBezTo>
                      <a:pt x="33" y="34"/>
                      <a:pt x="33" y="34"/>
                      <a:pt x="33" y="34"/>
                    </a:cubicBezTo>
                    <a:cubicBezTo>
                      <a:pt x="34" y="32"/>
                      <a:pt x="34" y="29"/>
                      <a:pt x="33" y="27"/>
                    </a:cubicBezTo>
                    <a:cubicBezTo>
                      <a:pt x="33" y="24"/>
                      <a:pt x="34" y="21"/>
                      <a:pt x="36" y="20"/>
                    </a:cubicBezTo>
                    <a:cubicBezTo>
                      <a:pt x="36" y="19"/>
                      <a:pt x="39" y="16"/>
                      <a:pt x="40" y="13"/>
                    </a:cubicBezTo>
                    <a:cubicBezTo>
                      <a:pt x="41" y="11"/>
                      <a:pt x="42" y="10"/>
                      <a:pt x="43" y="9"/>
                    </a:cubicBezTo>
                    <a:cubicBezTo>
                      <a:pt x="42" y="8"/>
                      <a:pt x="42" y="8"/>
                      <a:pt x="42" y="8"/>
                    </a:cubicBezTo>
                    <a:cubicBezTo>
                      <a:pt x="45" y="6"/>
                      <a:pt x="45" y="6"/>
                      <a:pt x="45" y="6"/>
                    </a:cubicBezTo>
                    <a:cubicBezTo>
                      <a:pt x="44" y="6"/>
                      <a:pt x="44" y="6"/>
                      <a:pt x="44" y="6"/>
                    </a:cubicBezTo>
                    <a:cubicBezTo>
                      <a:pt x="43" y="6"/>
                      <a:pt x="43" y="6"/>
                      <a:pt x="42" y="6"/>
                    </a:cubicBezTo>
                    <a:cubicBezTo>
                      <a:pt x="39" y="6"/>
                      <a:pt x="36" y="5"/>
                      <a:pt x="34" y="5"/>
                    </a:cubicBezTo>
                    <a:cubicBezTo>
                      <a:pt x="32" y="5"/>
                      <a:pt x="29" y="5"/>
                      <a:pt x="27" y="5"/>
                    </a:cubicBezTo>
                    <a:cubicBezTo>
                      <a:pt x="27" y="5"/>
                      <a:pt x="27" y="5"/>
                      <a:pt x="27" y="5"/>
                    </a:cubicBezTo>
                    <a:cubicBezTo>
                      <a:pt x="25" y="5"/>
                      <a:pt x="23" y="3"/>
                      <a:pt x="21" y="3"/>
                    </a:cubicBezTo>
                    <a:cubicBezTo>
                      <a:pt x="16" y="2"/>
                      <a:pt x="11" y="2"/>
                      <a:pt x="6" y="1"/>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 name="Rectangle 400">
                <a:extLst>
                  <a:ext uri="{FF2B5EF4-FFF2-40B4-BE49-F238E27FC236}">
                    <a16:creationId xmlns:a16="http://schemas.microsoft.com/office/drawing/2014/main" id="{235DCCF1-C824-4377-BC3A-BD3AB3B63B25}"/>
                  </a:ext>
                </a:extLst>
              </p:cNvPr>
              <p:cNvSpPr>
                <a:spLocks noChangeArrowheads="1"/>
              </p:cNvSpPr>
              <p:nvPr/>
            </p:nvSpPr>
            <p:spPr bwMode="auto">
              <a:xfrm>
                <a:off x="6340" y="86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 name="Freeform 401">
                <a:extLst>
                  <a:ext uri="{FF2B5EF4-FFF2-40B4-BE49-F238E27FC236}">
                    <a16:creationId xmlns:a16="http://schemas.microsoft.com/office/drawing/2014/main" id="{44EC6CDC-22B0-4A43-B09C-84F61064392C}"/>
                  </a:ext>
                </a:extLst>
              </p:cNvPr>
              <p:cNvSpPr>
                <a:spLocks/>
              </p:cNvSpPr>
              <p:nvPr/>
            </p:nvSpPr>
            <p:spPr bwMode="auto">
              <a:xfrm>
                <a:off x="6340" y="862"/>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 name="Rectangle 402">
                <a:extLst>
                  <a:ext uri="{FF2B5EF4-FFF2-40B4-BE49-F238E27FC236}">
                    <a16:creationId xmlns:a16="http://schemas.microsoft.com/office/drawing/2014/main" id="{2AB10B6B-40B9-4751-B740-A8E46DE12CCC}"/>
                  </a:ext>
                </a:extLst>
              </p:cNvPr>
              <p:cNvSpPr>
                <a:spLocks noChangeArrowheads="1"/>
              </p:cNvSpPr>
              <p:nvPr/>
            </p:nvSpPr>
            <p:spPr bwMode="auto">
              <a:xfrm>
                <a:off x="5572" y="55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 name="Freeform 403">
                <a:extLst>
                  <a:ext uri="{FF2B5EF4-FFF2-40B4-BE49-F238E27FC236}">
                    <a16:creationId xmlns:a16="http://schemas.microsoft.com/office/drawing/2014/main" id="{C5AD1874-7E57-475A-BE35-DB60C9C9E2FE}"/>
                  </a:ext>
                </a:extLst>
              </p:cNvPr>
              <p:cNvSpPr>
                <a:spLocks/>
              </p:cNvSpPr>
              <p:nvPr/>
            </p:nvSpPr>
            <p:spPr bwMode="auto">
              <a:xfrm>
                <a:off x="5572" y="55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 name="Freeform 404">
                <a:extLst>
                  <a:ext uri="{FF2B5EF4-FFF2-40B4-BE49-F238E27FC236}">
                    <a16:creationId xmlns:a16="http://schemas.microsoft.com/office/drawing/2014/main" id="{9E6AEE44-6E4F-421D-9C8C-D12965D1B824}"/>
                  </a:ext>
                </a:extLst>
              </p:cNvPr>
              <p:cNvSpPr>
                <a:spLocks/>
              </p:cNvSpPr>
              <p:nvPr/>
            </p:nvSpPr>
            <p:spPr bwMode="auto">
              <a:xfrm>
                <a:off x="4615" y="531"/>
                <a:ext cx="1815" cy="839"/>
              </a:xfrm>
              <a:custGeom>
                <a:avLst/>
                <a:gdLst>
                  <a:gd name="T0" fmla="*/ 411 w 768"/>
                  <a:gd name="T1" fmla="*/ 10 h 355"/>
                  <a:gd name="T2" fmla="*/ 382 w 768"/>
                  <a:gd name="T3" fmla="*/ 17 h 355"/>
                  <a:gd name="T4" fmla="*/ 360 w 768"/>
                  <a:gd name="T5" fmla="*/ 19 h 355"/>
                  <a:gd name="T6" fmla="*/ 341 w 768"/>
                  <a:gd name="T7" fmla="*/ 26 h 355"/>
                  <a:gd name="T8" fmla="*/ 308 w 768"/>
                  <a:gd name="T9" fmla="*/ 33 h 355"/>
                  <a:gd name="T10" fmla="*/ 294 w 768"/>
                  <a:gd name="T11" fmla="*/ 41 h 355"/>
                  <a:gd name="T12" fmla="*/ 277 w 768"/>
                  <a:gd name="T13" fmla="*/ 43 h 355"/>
                  <a:gd name="T14" fmla="*/ 281 w 768"/>
                  <a:gd name="T15" fmla="*/ 50 h 355"/>
                  <a:gd name="T16" fmla="*/ 293 w 768"/>
                  <a:gd name="T17" fmla="*/ 63 h 355"/>
                  <a:gd name="T18" fmla="*/ 282 w 768"/>
                  <a:gd name="T19" fmla="*/ 62 h 355"/>
                  <a:gd name="T20" fmla="*/ 274 w 768"/>
                  <a:gd name="T21" fmla="*/ 79 h 355"/>
                  <a:gd name="T22" fmla="*/ 262 w 768"/>
                  <a:gd name="T23" fmla="*/ 89 h 355"/>
                  <a:gd name="T24" fmla="*/ 287 w 768"/>
                  <a:gd name="T25" fmla="*/ 107 h 355"/>
                  <a:gd name="T26" fmla="*/ 252 w 768"/>
                  <a:gd name="T27" fmla="*/ 123 h 355"/>
                  <a:gd name="T28" fmla="*/ 224 w 768"/>
                  <a:gd name="T29" fmla="*/ 111 h 355"/>
                  <a:gd name="T30" fmla="*/ 186 w 768"/>
                  <a:gd name="T31" fmla="*/ 115 h 355"/>
                  <a:gd name="T32" fmla="*/ 155 w 768"/>
                  <a:gd name="T33" fmla="*/ 118 h 355"/>
                  <a:gd name="T34" fmla="*/ 112 w 768"/>
                  <a:gd name="T35" fmla="*/ 101 h 355"/>
                  <a:gd name="T36" fmla="*/ 90 w 768"/>
                  <a:gd name="T37" fmla="*/ 105 h 355"/>
                  <a:gd name="T38" fmla="*/ 67 w 768"/>
                  <a:gd name="T39" fmla="*/ 107 h 355"/>
                  <a:gd name="T40" fmla="*/ 42 w 768"/>
                  <a:gd name="T41" fmla="*/ 129 h 355"/>
                  <a:gd name="T42" fmla="*/ 16 w 768"/>
                  <a:gd name="T43" fmla="*/ 129 h 355"/>
                  <a:gd name="T44" fmla="*/ 8 w 768"/>
                  <a:gd name="T45" fmla="*/ 161 h 355"/>
                  <a:gd name="T46" fmla="*/ 28 w 768"/>
                  <a:gd name="T47" fmla="*/ 188 h 355"/>
                  <a:gd name="T48" fmla="*/ 42 w 768"/>
                  <a:gd name="T49" fmla="*/ 219 h 355"/>
                  <a:gd name="T50" fmla="*/ 65 w 768"/>
                  <a:gd name="T51" fmla="*/ 216 h 355"/>
                  <a:gd name="T52" fmla="*/ 125 w 768"/>
                  <a:gd name="T53" fmla="*/ 229 h 355"/>
                  <a:gd name="T54" fmla="*/ 135 w 768"/>
                  <a:gd name="T55" fmla="*/ 258 h 355"/>
                  <a:gd name="T56" fmla="*/ 88 w 768"/>
                  <a:gd name="T57" fmla="*/ 251 h 355"/>
                  <a:gd name="T58" fmla="*/ 85 w 768"/>
                  <a:gd name="T59" fmla="*/ 269 h 355"/>
                  <a:gd name="T60" fmla="*/ 100 w 768"/>
                  <a:gd name="T61" fmla="*/ 306 h 355"/>
                  <a:gd name="T62" fmla="*/ 112 w 768"/>
                  <a:gd name="T63" fmla="*/ 318 h 355"/>
                  <a:gd name="T64" fmla="*/ 164 w 768"/>
                  <a:gd name="T65" fmla="*/ 335 h 355"/>
                  <a:gd name="T66" fmla="*/ 232 w 768"/>
                  <a:gd name="T67" fmla="*/ 235 h 355"/>
                  <a:gd name="T68" fmla="*/ 240 w 768"/>
                  <a:gd name="T69" fmla="*/ 241 h 355"/>
                  <a:gd name="T70" fmla="*/ 249 w 768"/>
                  <a:gd name="T71" fmla="*/ 233 h 355"/>
                  <a:gd name="T72" fmla="*/ 249 w 768"/>
                  <a:gd name="T73" fmla="*/ 235 h 355"/>
                  <a:gd name="T74" fmla="*/ 292 w 768"/>
                  <a:gd name="T75" fmla="*/ 288 h 355"/>
                  <a:gd name="T76" fmla="*/ 356 w 768"/>
                  <a:gd name="T77" fmla="*/ 291 h 355"/>
                  <a:gd name="T78" fmla="*/ 372 w 768"/>
                  <a:gd name="T79" fmla="*/ 324 h 355"/>
                  <a:gd name="T80" fmla="*/ 405 w 768"/>
                  <a:gd name="T81" fmla="*/ 342 h 355"/>
                  <a:gd name="T82" fmla="*/ 424 w 768"/>
                  <a:gd name="T83" fmla="*/ 342 h 355"/>
                  <a:gd name="T84" fmla="*/ 475 w 768"/>
                  <a:gd name="T85" fmla="*/ 307 h 355"/>
                  <a:gd name="T86" fmla="*/ 539 w 768"/>
                  <a:gd name="T87" fmla="*/ 302 h 355"/>
                  <a:gd name="T88" fmla="*/ 585 w 768"/>
                  <a:gd name="T89" fmla="*/ 303 h 355"/>
                  <a:gd name="T90" fmla="*/ 624 w 768"/>
                  <a:gd name="T91" fmla="*/ 311 h 355"/>
                  <a:gd name="T92" fmla="*/ 647 w 768"/>
                  <a:gd name="T93" fmla="*/ 294 h 355"/>
                  <a:gd name="T94" fmla="*/ 650 w 768"/>
                  <a:gd name="T95" fmla="*/ 250 h 355"/>
                  <a:gd name="T96" fmla="*/ 677 w 768"/>
                  <a:gd name="T97" fmla="*/ 243 h 355"/>
                  <a:gd name="T98" fmla="*/ 750 w 768"/>
                  <a:gd name="T99" fmla="*/ 172 h 355"/>
                  <a:gd name="T100" fmla="*/ 751 w 768"/>
                  <a:gd name="T101" fmla="*/ 151 h 355"/>
                  <a:gd name="T102" fmla="*/ 727 w 768"/>
                  <a:gd name="T103" fmla="*/ 139 h 355"/>
                  <a:gd name="T104" fmla="*/ 695 w 768"/>
                  <a:gd name="T105" fmla="*/ 113 h 355"/>
                  <a:gd name="T106" fmla="*/ 662 w 768"/>
                  <a:gd name="T107" fmla="*/ 119 h 355"/>
                  <a:gd name="T108" fmla="*/ 646 w 768"/>
                  <a:gd name="T109" fmla="*/ 112 h 355"/>
                  <a:gd name="T110" fmla="*/ 618 w 768"/>
                  <a:gd name="T111" fmla="*/ 92 h 355"/>
                  <a:gd name="T112" fmla="*/ 525 w 768"/>
                  <a:gd name="T113" fmla="*/ 48 h 355"/>
                  <a:gd name="T114" fmla="*/ 491 w 768"/>
                  <a:gd name="T115" fmla="*/ 38 h 355"/>
                  <a:gd name="T116" fmla="*/ 464 w 768"/>
                  <a:gd name="T117" fmla="*/ 31 h 355"/>
                  <a:gd name="T118" fmla="*/ 458 w 768"/>
                  <a:gd name="T119"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8" h="355">
                    <a:moveTo>
                      <a:pt x="431" y="0"/>
                    </a:moveTo>
                    <a:cubicBezTo>
                      <a:pt x="431" y="0"/>
                      <a:pt x="431" y="0"/>
                      <a:pt x="431" y="0"/>
                    </a:cubicBezTo>
                    <a:cubicBezTo>
                      <a:pt x="430" y="1"/>
                      <a:pt x="430" y="1"/>
                      <a:pt x="430" y="1"/>
                    </a:cubicBezTo>
                    <a:cubicBezTo>
                      <a:pt x="430" y="1"/>
                      <a:pt x="430" y="1"/>
                      <a:pt x="430" y="1"/>
                    </a:cubicBezTo>
                    <a:cubicBezTo>
                      <a:pt x="430" y="1"/>
                      <a:pt x="430" y="1"/>
                      <a:pt x="430" y="1"/>
                    </a:cubicBezTo>
                    <a:cubicBezTo>
                      <a:pt x="429" y="1"/>
                      <a:pt x="429" y="1"/>
                      <a:pt x="429" y="1"/>
                    </a:cubicBezTo>
                    <a:cubicBezTo>
                      <a:pt x="428" y="1"/>
                      <a:pt x="428" y="1"/>
                      <a:pt x="428" y="1"/>
                    </a:cubicBezTo>
                    <a:cubicBezTo>
                      <a:pt x="427" y="1"/>
                      <a:pt x="427" y="1"/>
                      <a:pt x="427" y="1"/>
                    </a:cubicBezTo>
                    <a:cubicBezTo>
                      <a:pt x="427" y="1"/>
                      <a:pt x="427" y="1"/>
                      <a:pt x="427" y="1"/>
                    </a:cubicBezTo>
                    <a:cubicBezTo>
                      <a:pt x="426" y="2"/>
                      <a:pt x="426" y="2"/>
                      <a:pt x="425" y="2"/>
                    </a:cubicBezTo>
                    <a:cubicBezTo>
                      <a:pt x="424" y="2"/>
                      <a:pt x="423" y="1"/>
                      <a:pt x="423" y="1"/>
                    </a:cubicBezTo>
                    <a:cubicBezTo>
                      <a:pt x="422" y="1"/>
                      <a:pt x="422" y="1"/>
                      <a:pt x="422" y="1"/>
                    </a:cubicBezTo>
                    <a:cubicBezTo>
                      <a:pt x="421" y="0"/>
                      <a:pt x="421" y="0"/>
                      <a:pt x="421" y="0"/>
                    </a:cubicBezTo>
                    <a:cubicBezTo>
                      <a:pt x="421" y="1"/>
                      <a:pt x="421" y="2"/>
                      <a:pt x="420" y="3"/>
                    </a:cubicBezTo>
                    <a:cubicBezTo>
                      <a:pt x="420" y="4"/>
                      <a:pt x="418" y="5"/>
                      <a:pt x="415" y="7"/>
                    </a:cubicBezTo>
                    <a:cubicBezTo>
                      <a:pt x="415" y="7"/>
                      <a:pt x="414" y="8"/>
                      <a:pt x="413" y="8"/>
                    </a:cubicBezTo>
                    <a:cubicBezTo>
                      <a:pt x="413" y="8"/>
                      <a:pt x="413" y="8"/>
                      <a:pt x="413" y="8"/>
                    </a:cubicBezTo>
                    <a:cubicBezTo>
                      <a:pt x="412" y="9"/>
                      <a:pt x="411" y="9"/>
                      <a:pt x="411" y="10"/>
                    </a:cubicBezTo>
                    <a:cubicBezTo>
                      <a:pt x="410" y="10"/>
                      <a:pt x="409" y="11"/>
                      <a:pt x="408" y="11"/>
                    </a:cubicBezTo>
                    <a:cubicBezTo>
                      <a:pt x="407" y="11"/>
                      <a:pt x="407" y="11"/>
                      <a:pt x="407" y="11"/>
                    </a:cubicBezTo>
                    <a:cubicBezTo>
                      <a:pt x="407" y="11"/>
                      <a:pt x="406" y="11"/>
                      <a:pt x="406" y="11"/>
                    </a:cubicBezTo>
                    <a:cubicBezTo>
                      <a:pt x="405" y="10"/>
                      <a:pt x="405" y="10"/>
                      <a:pt x="405" y="10"/>
                    </a:cubicBezTo>
                    <a:cubicBezTo>
                      <a:pt x="405" y="10"/>
                      <a:pt x="405" y="10"/>
                      <a:pt x="405" y="10"/>
                    </a:cubicBezTo>
                    <a:cubicBezTo>
                      <a:pt x="404" y="10"/>
                      <a:pt x="404" y="10"/>
                      <a:pt x="404" y="10"/>
                    </a:cubicBezTo>
                    <a:cubicBezTo>
                      <a:pt x="404" y="11"/>
                      <a:pt x="404" y="11"/>
                      <a:pt x="404" y="11"/>
                    </a:cubicBezTo>
                    <a:cubicBezTo>
                      <a:pt x="404" y="12"/>
                      <a:pt x="404" y="12"/>
                      <a:pt x="404" y="12"/>
                    </a:cubicBezTo>
                    <a:cubicBezTo>
                      <a:pt x="392" y="14"/>
                      <a:pt x="392" y="14"/>
                      <a:pt x="392" y="14"/>
                    </a:cubicBezTo>
                    <a:cubicBezTo>
                      <a:pt x="392" y="14"/>
                      <a:pt x="391" y="14"/>
                      <a:pt x="390" y="14"/>
                    </a:cubicBezTo>
                    <a:cubicBezTo>
                      <a:pt x="395" y="17"/>
                      <a:pt x="395" y="17"/>
                      <a:pt x="395" y="17"/>
                    </a:cubicBezTo>
                    <a:cubicBezTo>
                      <a:pt x="385" y="16"/>
                      <a:pt x="385" y="16"/>
                      <a:pt x="385" y="16"/>
                    </a:cubicBezTo>
                    <a:cubicBezTo>
                      <a:pt x="385" y="16"/>
                      <a:pt x="385" y="16"/>
                      <a:pt x="385" y="16"/>
                    </a:cubicBezTo>
                    <a:cubicBezTo>
                      <a:pt x="384" y="16"/>
                      <a:pt x="384" y="16"/>
                      <a:pt x="384" y="16"/>
                    </a:cubicBezTo>
                    <a:cubicBezTo>
                      <a:pt x="384" y="16"/>
                      <a:pt x="384" y="16"/>
                      <a:pt x="384" y="16"/>
                    </a:cubicBezTo>
                    <a:cubicBezTo>
                      <a:pt x="384" y="16"/>
                      <a:pt x="384" y="16"/>
                      <a:pt x="384" y="16"/>
                    </a:cubicBezTo>
                    <a:cubicBezTo>
                      <a:pt x="383" y="17"/>
                      <a:pt x="383" y="17"/>
                      <a:pt x="383" y="17"/>
                    </a:cubicBezTo>
                    <a:cubicBezTo>
                      <a:pt x="383" y="17"/>
                      <a:pt x="382" y="17"/>
                      <a:pt x="382" y="17"/>
                    </a:cubicBezTo>
                    <a:cubicBezTo>
                      <a:pt x="382" y="17"/>
                      <a:pt x="382" y="17"/>
                      <a:pt x="382" y="17"/>
                    </a:cubicBezTo>
                    <a:cubicBezTo>
                      <a:pt x="382" y="17"/>
                      <a:pt x="382" y="17"/>
                      <a:pt x="382" y="17"/>
                    </a:cubicBezTo>
                    <a:cubicBezTo>
                      <a:pt x="381" y="17"/>
                      <a:pt x="381" y="17"/>
                      <a:pt x="381" y="17"/>
                    </a:cubicBezTo>
                    <a:cubicBezTo>
                      <a:pt x="381" y="17"/>
                      <a:pt x="381" y="17"/>
                      <a:pt x="381" y="17"/>
                    </a:cubicBezTo>
                    <a:cubicBezTo>
                      <a:pt x="381" y="17"/>
                      <a:pt x="381" y="17"/>
                      <a:pt x="381" y="17"/>
                    </a:cubicBezTo>
                    <a:cubicBezTo>
                      <a:pt x="381" y="17"/>
                      <a:pt x="381" y="17"/>
                      <a:pt x="381" y="17"/>
                    </a:cubicBezTo>
                    <a:cubicBezTo>
                      <a:pt x="380" y="17"/>
                      <a:pt x="380" y="17"/>
                      <a:pt x="380" y="17"/>
                    </a:cubicBezTo>
                    <a:cubicBezTo>
                      <a:pt x="380" y="17"/>
                      <a:pt x="379" y="17"/>
                      <a:pt x="378" y="17"/>
                    </a:cubicBezTo>
                    <a:cubicBezTo>
                      <a:pt x="378" y="17"/>
                      <a:pt x="378" y="17"/>
                      <a:pt x="378" y="17"/>
                    </a:cubicBezTo>
                    <a:cubicBezTo>
                      <a:pt x="376" y="18"/>
                      <a:pt x="376" y="18"/>
                      <a:pt x="376" y="18"/>
                    </a:cubicBezTo>
                    <a:cubicBezTo>
                      <a:pt x="375" y="18"/>
                      <a:pt x="374" y="18"/>
                      <a:pt x="373" y="18"/>
                    </a:cubicBezTo>
                    <a:cubicBezTo>
                      <a:pt x="370" y="19"/>
                      <a:pt x="370" y="19"/>
                      <a:pt x="370" y="19"/>
                    </a:cubicBezTo>
                    <a:cubicBezTo>
                      <a:pt x="370" y="19"/>
                      <a:pt x="370" y="19"/>
                      <a:pt x="370" y="19"/>
                    </a:cubicBezTo>
                    <a:cubicBezTo>
                      <a:pt x="369" y="19"/>
                      <a:pt x="369" y="19"/>
                      <a:pt x="369" y="19"/>
                    </a:cubicBezTo>
                    <a:cubicBezTo>
                      <a:pt x="365" y="19"/>
                      <a:pt x="365" y="19"/>
                      <a:pt x="365" y="19"/>
                    </a:cubicBezTo>
                    <a:cubicBezTo>
                      <a:pt x="365" y="19"/>
                      <a:pt x="365" y="19"/>
                      <a:pt x="365" y="19"/>
                    </a:cubicBezTo>
                    <a:cubicBezTo>
                      <a:pt x="365" y="19"/>
                      <a:pt x="365" y="19"/>
                      <a:pt x="365" y="19"/>
                    </a:cubicBezTo>
                    <a:cubicBezTo>
                      <a:pt x="360" y="19"/>
                      <a:pt x="360" y="19"/>
                      <a:pt x="360" y="19"/>
                    </a:cubicBezTo>
                    <a:cubicBezTo>
                      <a:pt x="359" y="19"/>
                      <a:pt x="359" y="19"/>
                      <a:pt x="359" y="19"/>
                    </a:cubicBezTo>
                    <a:cubicBezTo>
                      <a:pt x="358" y="20"/>
                      <a:pt x="358" y="20"/>
                      <a:pt x="358" y="20"/>
                    </a:cubicBezTo>
                    <a:cubicBezTo>
                      <a:pt x="355" y="22"/>
                      <a:pt x="355" y="22"/>
                      <a:pt x="355" y="22"/>
                    </a:cubicBezTo>
                    <a:cubicBezTo>
                      <a:pt x="358" y="24"/>
                      <a:pt x="358" y="24"/>
                      <a:pt x="358" y="24"/>
                    </a:cubicBezTo>
                    <a:cubicBezTo>
                      <a:pt x="354" y="22"/>
                      <a:pt x="354" y="22"/>
                      <a:pt x="354" y="22"/>
                    </a:cubicBezTo>
                    <a:cubicBezTo>
                      <a:pt x="354" y="23"/>
                      <a:pt x="354" y="23"/>
                      <a:pt x="354" y="23"/>
                    </a:cubicBezTo>
                    <a:cubicBezTo>
                      <a:pt x="354" y="23"/>
                      <a:pt x="353" y="24"/>
                      <a:pt x="353" y="25"/>
                    </a:cubicBezTo>
                    <a:cubicBezTo>
                      <a:pt x="351" y="27"/>
                      <a:pt x="351" y="27"/>
                      <a:pt x="351" y="27"/>
                    </a:cubicBezTo>
                    <a:cubicBezTo>
                      <a:pt x="349" y="26"/>
                      <a:pt x="349" y="26"/>
                      <a:pt x="349" y="26"/>
                    </a:cubicBezTo>
                    <a:cubicBezTo>
                      <a:pt x="348" y="25"/>
                      <a:pt x="348" y="25"/>
                      <a:pt x="348" y="25"/>
                    </a:cubicBezTo>
                    <a:cubicBezTo>
                      <a:pt x="347" y="26"/>
                      <a:pt x="347" y="26"/>
                      <a:pt x="347" y="26"/>
                    </a:cubicBezTo>
                    <a:cubicBezTo>
                      <a:pt x="346" y="26"/>
                      <a:pt x="346" y="26"/>
                      <a:pt x="346" y="26"/>
                    </a:cubicBezTo>
                    <a:cubicBezTo>
                      <a:pt x="345" y="27"/>
                      <a:pt x="345" y="27"/>
                      <a:pt x="345" y="27"/>
                    </a:cubicBezTo>
                    <a:cubicBezTo>
                      <a:pt x="344" y="27"/>
                      <a:pt x="344" y="27"/>
                      <a:pt x="343" y="27"/>
                    </a:cubicBezTo>
                    <a:cubicBezTo>
                      <a:pt x="342" y="27"/>
                      <a:pt x="342" y="27"/>
                      <a:pt x="342" y="27"/>
                    </a:cubicBezTo>
                    <a:cubicBezTo>
                      <a:pt x="342" y="27"/>
                      <a:pt x="342" y="27"/>
                      <a:pt x="342" y="27"/>
                    </a:cubicBezTo>
                    <a:cubicBezTo>
                      <a:pt x="341" y="26"/>
                      <a:pt x="341" y="26"/>
                      <a:pt x="341" y="26"/>
                    </a:cubicBezTo>
                    <a:cubicBezTo>
                      <a:pt x="341" y="26"/>
                      <a:pt x="341" y="26"/>
                      <a:pt x="341" y="26"/>
                    </a:cubicBezTo>
                    <a:cubicBezTo>
                      <a:pt x="340" y="26"/>
                      <a:pt x="340" y="26"/>
                      <a:pt x="340" y="26"/>
                    </a:cubicBezTo>
                    <a:cubicBezTo>
                      <a:pt x="339" y="27"/>
                      <a:pt x="339" y="27"/>
                      <a:pt x="339" y="27"/>
                    </a:cubicBezTo>
                    <a:cubicBezTo>
                      <a:pt x="338" y="27"/>
                      <a:pt x="338" y="27"/>
                      <a:pt x="338" y="27"/>
                    </a:cubicBezTo>
                    <a:cubicBezTo>
                      <a:pt x="337" y="27"/>
                      <a:pt x="337" y="27"/>
                      <a:pt x="336" y="27"/>
                    </a:cubicBezTo>
                    <a:cubicBezTo>
                      <a:pt x="336" y="27"/>
                      <a:pt x="336" y="27"/>
                      <a:pt x="336" y="27"/>
                    </a:cubicBezTo>
                    <a:cubicBezTo>
                      <a:pt x="336" y="27"/>
                      <a:pt x="336" y="27"/>
                      <a:pt x="336" y="27"/>
                    </a:cubicBezTo>
                    <a:cubicBezTo>
                      <a:pt x="325" y="29"/>
                      <a:pt x="325" y="29"/>
                      <a:pt x="325" y="29"/>
                    </a:cubicBezTo>
                    <a:cubicBezTo>
                      <a:pt x="325" y="29"/>
                      <a:pt x="325" y="29"/>
                      <a:pt x="325" y="29"/>
                    </a:cubicBezTo>
                    <a:cubicBezTo>
                      <a:pt x="325" y="29"/>
                      <a:pt x="325" y="29"/>
                      <a:pt x="325" y="29"/>
                    </a:cubicBezTo>
                    <a:cubicBezTo>
                      <a:pt x="324" y="30"/>
                      <a:pt x="324" y="30"/>
                      <a:pt x="324" y="30"/>
                    </a:cubicBezTo>
                    <a:cubicBezTo>
                      <a:pt x="317" y="31"/>
                      <a:pt x="317" y="31"/>
                      <a:pt x="317" y="31"/>
                    </a:cubicBezTo>
                    <a:cubicBezTo>
                      <a:pt x="316" y="31"/>
                      <a:pt x="316" y="31"/>
                      <a:pt x="316" y="31"/>
                    </a:cubicBezTo>
                    <a:cubicBezTo>
                      <a:pt x="315" y="31"/>
                      <a:pt x="315" y="31"/>
                      <a:pt x="315" y="31"/>
                    </a:cubicBezTo>
                    <a:cubicBezTo>
                      <a:pt x="315" y="31"/>
                      <a:pt x="315" y="31"/>
                      <a:pt x="315" y="31"/>
                    </a:cubicBezTo>
                    <a:cubicBezTo>
                      <a:pt x="314" y="32"/>
                      <a:pt x="314" y="32"/>
                      <a:pt x="314" y="32"/>
                    </a:cubicBezTo>
                    <a:cubicBezTo>
                      <a:pt x="313" y="32"/>
                      <a:pt x="313" y="32"/>
                      <a:pt x="313" y="32"/>
                    </a:cubicBezTo>
                    <a:cubicBezTo>
                      <a:pt x="308" y="33"/>
                      <a:pt x="308" y="33"/>
                      <a:pt x="308" y="33"/>
                    </a:cubicBezTo>
                    <a:cubicBezTo>
                      <a:pt x="308" y="33"/>
                      <a:pt x="308" y="33"/>
                      <a:pt x="308" y="33"/>
                    </a:cubicBezTo>
                    <a:cubicBezTo>
                      <a:pt x="308" y="33"/>
                      <a:pt x="308" y="33"/>
                      <a:pt x="308" y="33"/>
                    </a:cubicBezTo>
                    <a:cubicBezTo>
                      <a:pt x="307" y="34"/>
                      <a:pt x="306" y="34"/>
                      <a:pt x="306" y="34"/>
                    </a:cubicBezTo>
                    <a:cubicBezTo>
                      <a:pt x="306" y="34"/>
                      <a:pt x="306" y="34"/>
                      <a:pt x="306" y="34"/>
                    </a:cubicBezTo>
                    <a:cubicBezTo>
                      <a:pt x="306" y="34"/>
                      <a:pt x="306" y="34"/>
                      <a:pt x="306" y="34"/>
                    </a:cubicBezTo>
                    <a:cubicBezTo>
                      <a:pt x="304" y="34"/>
                      <a:pt x="304" y="34"/>
                      <a:pt x="304" y="34"/>
                    </a:cubicBezTo>
                    <a:cubicBezTo>
                      <a:pt x="303" y="37"/>
                      <a:pt x="303" y="37"/>
                      <a:pt x="303" y="37"/>
                    </a:cubicBezTo>
                    <a:cubicBezTo>
                      <a:pt x="303" y="37"/>
                      <a:pt x="302" y="37"/>
                      <a:pt x="302" y="37"/>
                    </a:cubicBezTo>
                    <a:cubicBezTo>
                      <a:pt x="301" y="39"/>
                      <a:pt x="301" y="39"/>
                      <a:pt x="301" y="39"/>
                    </a:cubicBezTo>
                    <a:cubicBezTo>
                      <a:pt x="300" y="38"/>
                      <a:pt x="300" y="38"/>
                      <a:pt x="300" y="38"/>
                    </a:cubicBezTo>
                    <a:cubicBezTo>
                      <a:pt x="296" y="42"/>
                      <a:pt x="296" y="42"/>
                      <a:pt x="296" y="42"/>
                    </a:cubicBezTo>
                    <a:cubicBezTo>
                      <a:pt x="298" y="37"/>
                      <a:pt x="298" y="37"/>
                      <a:pt x="298" y="37"/>
                    </a:cubicBezTo>
                    <a:cubicBezTo>
                      <a:pt x="298" y="37"/>
                      <a:pt x="298" y="37"/>
                      <a:pt x="298" y="37"/>
                    </a:cubicBezTo>
                    <a:cubicBezTo>
                      <a:pt x="298" y="36"/>
                      <a:pt x="298" y="36"/>
                      <a:pt x="298" y="36"/>
                    </a:cubicBezTo>
                    <a:cubicBezTo>
                      <a:pt x="297" y="36"/>
                      <a:pt x="297" y="36"/>
                      <a:pt x="297" y="36"/>
                    </a:cubicBezTo>
                    <a:cubicBezTo>
                      <a:pt x="297" y="36"/>
                      <a:pt x="297" y="36"/>
                      <a:pt x="297" y="36"/>
                    </a:cubicBezTo>
                    <a:cubicBezTo>
                      <a:pt x="297" y="36"/>
                      <a:pt x="296" y="36"/>
                      <a:pt x="296" y="36"/>
                    </a:cubicBezTo>
                    <a:cubicBezTo>
                      <a:pt x="296" y="36"/>
                      <a:pt x="295" y="36"/>
                      <a:pt x="295" y="35"/>
                    </a:cubicBezTo>
                    <a:cubicBezTo>
                      <a:pt x="294" y="41"/>
                      <a:pt x="294" y="41"/>
                      <a:pt x="294" y="41"/>
                    </a:cubicBezTo>
                    <a:cubicBezTo>
                      <a:pt x="294" y="35"/>
                      <a:pt x="294" y="35"/>
                      <a:pt x="294" y="35"/>
                    </a:cubicBezTo>
                    <a:cubicBezTo>
                      <a:pt x="293" y="35"/>
                      <a:pt x="293" y="35"/>
                      <a:pt x="293" y="35"/>
                    </a:cubicBezTo>
                    <a:cubicBezTo>
                      <a:pt x="292" y="36"/>
                      <a:pt x="292" y="36"/>
                      <a:pt x="292" y="36"/>
                    </a:cubicBezTo>
                    <a:cubicBezTo>
                      <a:pt x="288" y="36"/>
                      <a:pt x="288" y="36"/>
                      <a:pt x="288" y="36"/>
                    </a:cubicBezTo>
                    <a:cubicBezTo>
                      <a:pt x="288" y="36"/>
                      <a:pt x="288" y="36"/>
                      <a:pt x="288" y="36"/>
                    </a:cubicBezTo>
                    <a:cubicBezTo>
                      <a:pt x="285" y="36"/>
                      <a:pt x="283" y="35"/>
                      <a:pt x="281" y="34"/>
                    </a:cubicBezTo>
                    <a:cubicBezTo>
                      <a:pt x="281" y="34"/>
                      <a:pt x="281" y="34"/>
                      <a:pt x="281" y="34"/>
                    </a:cubicBezTo>
                    <a:cubicBezTo>
                      <a:pt x="280" y="34"/>
                      <a:pt x="280" y="34"/>
                      <a:pt x="280" y="34"/>
                    </a:cubicBezTo>
                    <a:cubicBezTo>
                      <a:pt x="280" y="34"/>
                      <a:pt x="280" y="34"/>
                      <a:pt x="280" y="34"/>
                    </a:cubicBezTo>
                    <a:cubicBezTo>
                      <a:pt x="279" y="35"/>
                      <a:pt x="278" y="36"/>
                      <a:pt x="277" y="36"/>
                    </a:cubicBezTo>
                    <a:cubicBezTo>
                      <a:pt x="277" y="36"/>
                      <a:pt x="277" y="36"/>
                      <a:pt x="277" y="36"/>
                    </a:cubicBezTo>
                    <a:cubicBezTo>
                      <a:pt x="279" y="37"/>
                      <a:pt x="279" y="37"/>
                      <a:pt x="279" y="37"/>
                    </a:cubicBezTo>
                    <a:cubicBezTo>
                      <a:pt x="279" y="38"/>
                      <a:pt x="279" y="38"/>
                      <a:pt x="279" y="39"/>
                    </a:cubicBezTo>
                    <a:cubicBezTo>
                      <a:pt x="279" y="39"/>
                      <a:pt x="279" y="39"/>
                      <a:pt x="279" y="39"/>
                    </a:cubicBezTo>
                    <a:cubicBezTo>
                      <a:pt x="279" y="40"/>
                      <a:pt x="279" y="40"/>
                      <a:pt x="279" y="40"/>
                    </a:cubicBezTo>
                    <a:cubicBezTo>
                      <a:pt x="279" y="40"/>
                      <a:pt x="279" y="40"/>
                      <a:pt x="279" y="40"/>
                    </a:cubicBezTo>
                    <a:cubicBezTo>
                      <a:pt x="278" y="41"/>
                      <a:pt x="278" y="41"/>
                      <a:pt x="278" y="41"/>
                    </a:cubicBezTo>
                    <a:cubicBezTo>
                      <a:pt x="277" y="43"/>
                      <a:pt x="277" y="43"/>
                      <a:pt x="277" y="43"/>
                    </a:cubicBezTo>
                    <a:cubicBezTo>
                      <a:pt x="279" y="43"/>
                      <a:pt x="279" y="43"/>
                      <a:pt x="279" y="43"/>
                    </a:cubicBezTo>
                    <a:cubicBezTo>
                      <a:pt x="279" y="43"/>
                      <a:pt x="280" y="42"/>
                      <a:pt x="280" y="42"/>
                    </a:cubicBezTo>
                    <a:cubicBezTo>
                      <a:pt x="281" y="42"/>
                      <a:pt x="281" y="42"/>
                      <a:pt x="281" y="42"/>
                    </a:cubicBezTo>
                    <a:cubicBezTo>
                      <a:pt x="281" y="42"/>
                      <a:pt x="281" y="42"/>
                      <a:pt x="281" y="42"/>
                    </a:cubicBezTo>
                    <a:cubicBezTo>
                      <a:pt x="282" y="42"/>
                      <a:pt x="282" y="42"/>
                      <a:pt x="282" y="42"/>
                    </a:cubicBezTo>
                    <a:cubicBezTo>
                      <a:pt x="283" y="42"/>
                      <a:pt x="283" y="42"/>
                      <a:pt x="283" y="42"/>
                    </a:cubicBezTo>
                    <a:cubicBezTo>
                      <a:pt x="284" y="43"/>
                      <a:pt x="284" y="43"/>
                      <a:pt x="284" y="43"/>
                    </a:cubicBezTo>
                    <a:cubicBezTo>
                      <a:pt x="284" y="43"/>
                      <a:pt x="284" y="43"/>
                      <a:pt x="284" y="43"/>
                    </a:cubicBezTo>
                    <a:cubicBezTo>
                      <a:pt x="286" y="43"/>
                      <a:pt x="286" y="43"/>
                      <a:pt x="286" y="43"/>
                    </a:cubicBezTo>
                    <a:cubicBezTo>
                      <a:pt x="286" y="44"/>
                      <a:pt x="286" y="44"/>
                      <a:pt x="286" y="44"/>
                    </a:cubicBezTo>
                    <a:cubicBezTo>
                      <a:pt x="290" y="43"/>
                      <a:pt x="290" y="43"/>
                      <a:pt x="290" y="43"/>
                    </a:cubicBezTo>
                    <a:cubicBezTo>
                      <a:pt x="286" y="47"/>
                      <a:pt x="286" y="47"/>
                      <a:pt x="286" y="47"/>
                    </a:cubicBezTo>
                    <a:cubicBezTo>
                      <a:pt x="286" y="47"/>
                      <a:pt x="286" y="47"/>
                      <a:pt x="286" y="47"/>
                    </a:cubicBezTo>
                    <a:cubicBezTo>
                      <a:pt x="285" y="48"/>
                      <a:pt x="285" y="48"/>
                      <a:pt x="285" y="48"/>
                    </a:cubicBezTo>
                    <a:cubicBezTo>
                      <a:pt x="284" y="49"/>
                      <a:pt x="284" y="49"/>
                      <a:pt x="284" y="49"/>
                    </a:cubicBezTo>
                    <a:cubicBezTo>
                      <a:pt x="283" y="49"/>
                      <a:pt x="283" y="49"/>
                      <a:pt x="283" y="49"/>
                    </a:cubicBezTo>
                    <a:cubicBezTo>
                      <a:pt x="283" y="51"/>
                      <a:pt x="283" y="51"/>
                      <a:pt x="283" y="51"/>
                    </a:cubicBezTo>
                    <a:cubicBezTo>
                      <a:pt x="281" y="50"/>
                      <a:pt x="281" y="50"/>
                      <a:pt x="281" y="50"/>
                    </a:cubicBezTo>
                    <a:cubicBezTo>
                      <a:pt x="281" y="50"/>
                      <a:pt x="281" y="50"/>
                      <a:pt x="281" y="50"/>
                    </a:cubicBezTo>
                    <a:cubicBezTo>
                      <a:pt x="281" y="51"/>
                      <a:pt x="281" y="51"/>
                      <a:pt x="281" y="51"/>
                    </a:cubicBezTo>
                    <a:cubicBezTo>
                      <a:pt x="282" y="51"/>
                      <a:pt x="282" y="51"/>
                      <a:pt x="282" y="51"/>
                    </a:cubicBezTo>
                    <a:cubicBezTo>
                      <a:pt x="283" y="52"/>
                      <a:pt x="283" y="52"/>
                      <a:pt x="283" y="52"/>
                    </a:cubicBezTo>
                    <a:cubicBezTo>
                      <a:pt x="284" y="52"/>
                      <a:pt x="284" y="52"/>
                      <a:pt x="284" y="52"/>
                    </a:cubicBezTo>
                    <a:cubicBezTo>
                      <a:pt x="284" y="52"/>
                      <a:pt x="284" y="52"/>
                      <a:pt x="284" y="52"/>
                    </a:cubicBezTo>
                    <a:cubicBezTo>
                      <a:pt x="285" y="52"/>
                      <a:pt x="287" y="52"/>
                      <a:pt x="288" y="53"/>
                    </a:cubicBezTo>
                    <a:cubicBezTo>
                      <a:pt x="292" y="54"/>
                      <a:pt x="292" y="54"/>
                      <a:pt x="292" y="54"/>
                    </a:cubicBezTo>
                    <a:cubicBezTo>
                      <a:pt x="293" y="55"/>
                      <a:pt x="294" y="55"/>
                      <a:pt x="295" y="56"/>
                    </a:cubicBezTo>
                    <a:cubicBezTo>
                      <a:pt x="297" y="57"/>
                      <a:pt x="297" y="57"/>
                      <a:pt x="297" y="57"/>
                    </a:cubicBezTo>
                    <a:cubicBezTo>
                      <a:pt x="297" y="59"/>
                      <a:pt x="297" y="59"/>
                      <a:pt x="297" y="59"/>
                    </a:cubicBezTo>
                    <a:cubicBezTo>
                      <a:pt x="296" y="59"/>
                      <a:pt x="296" y="59"/>
                      <a:pt x="296" y="60"/>
                    </a:cubicBezTo>
                    <a:cubicBezTo>
                      <a:pt x="296" y="60"/>
                      <a:pt x="296" y="60"/>
                      <a:pt x="295" y="61"/>
                    </a:cubicBezTo>
                    <a:cubicBezTo>
                      <a:pt x="295" y="61"/>
                      <a:pt x="295" y="61"/>
                      <a:pt x="295" y="61"/>
                    </a:cubicBezTo>
                    <a:cubicBezTo>
                      <a:pt x="295" y="62"/>
                      <a:pt x="295" y="62"/>
                      <a:pt x="294" y="62"/>
                    </a:cubicBezTo>
                    <a:cubicBezTo>
                      <a:pt x="294" y="63"/>
                      <a:pt x="294" y="63"/>
                      <a:pt x="294" y="63"/>
                    </a:cubicBezTo>
                    <a:cubicBezTo>
                      <a:pt x="294" y="63"/>
                      <a:pt x="294" y="63"/>
                      <a:pt x="294" y="63"/>
                    </a:cubicBezTo>
                    <a:cubicBezTo>
                      <a:pt x="293" y="63"/>
                      <a:pt x="293" y="63"/>
                      <a:pt x="293" y="63"/>
                    </a:cubicBezTo>
                    <a:cubicBezTo>
                      <a:pt x="293" y="63"/>
                      <a:pt x="293" y="63"/>
                      <a:pt x="293" y="63"/>
                    </a:cubicBezTo>
                    <a:cubicBezTo>
                      <a:pt x="292" y="63"/>
                      <a:pt x="292" y="63"/>
                      <a:pt x="292" y="63"/>
                    </a:cubicBezTo>
                    <a:cubicBezTo>
                      <a:pt x="292" y="63"/>
                      <a:pt x="292" y="63"/>
                      <a:pt x="292" y="63"/>
                    </a:cubicBezTo>
                    <a:cubicBezTo>
                      <a:pt x="291" y="63"/>
                      <a:pt x="291" y="63"/>
                      <a:pt x="290" y="63"/>
                    </a:cubicBezTo>
                    <a:cubicBezTo>
                      <a:pt x="290" y="62"/>
                      <a:pt x="290" y="62"/>
                      <a:pt x="290" y="62"/>
                    </a:cubicBezTo>
                    <a:cubicBezTo>
                      <a:pt x="290" y="62"/>
                      <a:pt x="290" y="62"/>
                      <a:pt x="290" y="62"/>
                    </a:cubicBezTo>
                    <a:cubicBezTo>
                      <a:pt x="290" y="63"/>
                      <a:pt x="290" y="63"/>
                      <a:pt x="290" y="63"/>
                    </a:cubicBezTo>
                    <a:cubicBezTo>
                      <a:pt x="290" y="63"/>
                      <a:pt x="290" y="63"/>
                      <a:pt x="290" y="63"/>
                    </a:cubicBezTo>
                    <a:cubicBezTo>
                      <a:pt x="291" y="67"/>
                      <a:pt x="291" y="67"/>
                      <a:pt x="291" y="67"/>
                    </a:cubicBezTo>
                    <a:cubicBezTo>
                      <a:pt x="288" y="63"/>
                      <a:pt x="288" y="63"/>
                      <a:pt x="288" y="63"/>
                    </a:cubicBezTo>
                    <a:cubicBezTo>
                      <a:pt x="288" y="63"/>
                      <a:pt x="288" y="63"/>
                      <a:pt x="287" y="63"/>
                    </a:cubicBezTo>
                    <a:cubicBezTo>
                      <a:pt x="287" y="63"/>
                      <a:pt x="287" y="63"/>
                      <a:pt x="286" y="63"/>
                    </a:cubicBezTo>
                    <a:cubicBezTo>
                      <a:pt x="286" y="63"/>
                      <a:pt x="286" y="63"/>
                      <a:pt x="286" y="63"/>
                    </a:cubicBezTo>
                    <a:cubicBezTo>
                      <a:pt x="286" y="63"/>
                      <a:pt x="286" y="63"/>
                      <a:pt x="286" y="63"/>
                    </a:cubicBezTo>
                    <a:cubicBezTo>
                      <a:pt x="286" y="63"/>
                      <a:pt x="285" y="63"/>
                      <a:pt x="285" y="63"/>
                    </a:cubicBezTo>
                    <a:cubicBezTo>
                      <a:pt x="284" y="63"/>
                      <a:pt x="284" y="63"/>
                      <a:pt x="284" y="63"/>
                    </a:cubicBezTo>
                    <a:cubicBezTo>
                      <a:pt x="283" y="63"/>
                      <a:pt x="283" y="63"/>
                      <a:pt x="283" y="63"/>
                    </a:cubicBezTo>
                    <a:cubicBezTo>
                      <a:pt x="283" y="62"/>
                      <a:pt x="283" y="62"/>
                      <a:pt x="282" y="62"/>
                    </a:cubicBezTo>
                    <a:cubicBezTo>
                      <a:pt x="282" y="62"/>
                      <a:pt x="282" y="62"/>
                      <a:pt x="282" y="62"/>
                    </a:cubicBezTo>
                    <a:cubicBezTo>
                      <a:pt x="281" y="66"/>
                      <a:pt x="281" y="66"/>
                      <a:pt x="281" y="66"/>
                    </a:cubicBezTo>
                    <a:cubicBezTo>
                      <a:pt x="281" y="62"/>
                      <a:pt x="281" y="62"/>
                      <a:pt x="281" y="62"/>
                    </a:cubicBezTo>
                    <a:cubicBezTo>
                      <a:pt x="280" y="62"/>
                      <a:pt x="280" y="62"/>
                      <a:pt x="280" y="62"/>
                    </a:cubicBezTo>
                    <a:cubicBezTo>
                      <a:pt x="280" y="62"/>
                      <a:pt x="279" y="62"/>
                      <a:pt x="278" y="62"/>
                    </a:cubicBezTo>
                    <a:cubicBezTo>
                      <a:pt x="277" y="62"/>
                      <a:pt x="277" y="62"/>
                      <a:pt x="277" y="62"/>
                    </a:cubicBezTo>
                    <a:cubicBezTo>
                      <a:pt x="276" y="62"/>
                      <a:pt x="276" y="62"/>
                      <a:pt x="276" y="62"/>
                    </a:cubicBezTo>
                    <a:cubicBezTo>
                      <a:pt x="276" y="62"/>
                      <a:pt x="276" y="62"/>
                      <a:pt x="276" y="62"/>
                    </a:cubicBezTo>
                    <a:cubicBezTo>
                      <a:pt x="273" y="64"/>
                      <a:pt x="273" y="64"/>
                      <a:pt x="273" y="64"/>
                    </a:cubicBezTo>
                    <a:cubicBezTo>
                      <a:pt x="272" y="65"/>
                      <a:pt x="271" y="66"/>
                      <a:pt x="270" y="67"/>
                    </a:cubicBezTo>
                    <a:cubicBezTo>
                      <a:pt x="270" y="68"/>
                      <a:pt x="270" y="68"/>
                      <a:pt x="270" y="68"/>
                    </a:cubicBezTo>
                    <a:cubicBezTo>
                      <a:pt x="274" y="73"/>
                      <a:pt x="274" y="73"/>
                      <a:pt x="274" y="73"/>
                    </a:cubicBezTo>
                    <a:cubicBezTo>
                      <a:pt x="274" y="73"/>
                      <a:pt x="275" y="74"/>
                      <a:pt x="275" y="74"/>
                    </a:cubicBezTo>
                    <a:cubicBezTo>
                      <a:pt x="276" y="75"/>
                      <a:pt x="276" y="75"/>
                      <a:pt x="276" y="75"/>
                    </a:cubicBezTo>
                    <a:cubicBezTo>
                      <a:pt x="276" y="77"/>
                      <a:pt x="276" y="78"/>
                      <a:pt x="275" y="78"/>
                    </a:cubicBezTo>
                    <a:cubicBezTo>
                      <a:pt x="275" y="78"/>
                      <a:pt x="275" y="78"/>
                      <a:pt x="275" y="78"/>
                    </a:cubicBezTo>
                    <a:cubicBezTo>
                      <a:pt x="275" y="78"/>
                      <a:pt x="275" y="78"/>
                      <a:pt x="275" y="78"/>
                    </a:cubicBezTo>
                    <a:cubicBezTo>
                      <a:pt x="274" y="79"/>
                      <a:pt x="274" y="79"/>
                      <a:pt x="274" y="79"/>
                    </a:cubicBezTo>
                    <a:cubicBezTo>
                      <a:pt x="273" y="80"/>
                      <a:pt x="272" y="80"/>
                      <a:pt x="272" y="81"/>
                    </a:cubicBezTo>
                    <a:cubicBezTo>
                      <a:pt x="272" y="81"/>
                      <a:pt x="272" y="81"/>
                      <a:pt x="272" y="81"/>
                    </a:cubicBezTo>
                    <a:cubicBezTo>
                      <a:pt x="270" y="82"/>
                      <a:pt x="270" y="82"/>
                      <a:pt x="270" y="82"/>
                    </a:cubicBezTo>
                    <a:cubicBezTo>
                      <a:pt x="270" y="82"/>
                      <a:pt x="270" y="82"/>
                      <a:pt x="270" y="82"/>
                    </a:cubicBezTo>
                    <a:cubicBezTo>
                      <a:pt x="270" y="82"/>
                      <a:pt x="270" y="82"/>
                      <a:pt x="270" y="82"/>
                    </a:cubicBezTo>
                    <a:cubicBezTo>
                      <a:pt x="268" y="83"/>
                      <a:pt x="267" y="83"/>
                      <a:pt x="265" y="84"/>
                    </a:cubicBezTo>
                    <a:cubicBezTo>
                      <a:pt x="265" y="84"/>
                      <a:pt x="265" y="84"/>
                      <a:pt x="265" y="84"/>
                    </a:cubicBezTo>
                    <a:cubicBezTo>
                      <a:pt x="264" y="84"/>
                      <a:pt x="264" y="84"/>
                      <a:pt x="264" y="84"/>
                    </a:cubicBezTo>
                    <a:cubicBezTo>
                      <a:pt x="264" y="84"/>
                      <a:pt x="264" y="84"/>
                      <a:pt x="264" y="84"/>
                    </a:cubicBezTo>
                    <a:cubicBezTo>
                      <a:pt x="263" y="84"/>
                      <a:pt x="263" y="84"/>
                      <a:pt x="263" y="84"/>
                    </a:cubicBezTo>
                    <a:cubicBezTo>
                      <a:pt x="262" y="85"/>
                      <a:pt x="262" y="85"/>
                      <a:pt x="261" y="86"/>
                    </a:cubicBezTo>
                    <a:cubicBezTo>
                      <a:pt x="267" y="89"/>
                      <a:pt x="267" y="89"/>
                      <a:pt x="267" y="89"/>
                    </a:cubicBezTo>
                    <a:cubicBezTo>
                      <a:pt x="263" y="88"/>
                      <a:pt x="263" y="88"/>
                      <a:pt x="263" y="88"/>
                    </a:cubicBezTo>
                    <a:cubicBezTo>
                      <a:pt x="264" y="89"/>
                      <a:pt x="264" y="89"/>
                      <a:pt x="264" y="89"/>
                    </a:cubicBezTo>
                    <a:cubicBezTo>
                      <a:pt x="263" y="88"/>
                      <a:pt x="263" y="88"/>
                      <a:pt x="263" y="88"/>
                    </a:cubicBezTo>
                    <a:cubicBezTo>
                      <a:pt x="259" y="88"/>
                      <a:pt x="259" y="88"/>
                      <a:pt x="259" y="88"/>
                    </a:cubicBezTo>
                    <a:cubicBezTo>
                      <a:pt x="260" y="88"/>
                      <a:pt x="260" y="89"/>
                      <a:pt x="261" y="89"/>
                    </a:cubicBezTo>
                    <a:cubicBezTo>
                      <a:pt x="262" y="89"/>
                      <a:pt x="262" y="89"/>
                      <a:pt x="262" y="89"/>
                    </a:cubicBezTo>
                    <a:cubicBezTo>
                      <a:pt x="262" y="90"/>
                      <a:pt x="263" y="90"/>
                      <a:pt x="263" y="90"/>
                    </a:cubicBezTo>
                    <a:cubicBezTo>
                      <a:pt x="265" y="91"/>
                      <a:pt x="265" y="91"/>
                      <a:pt x="265" y="91"/>
                    </a:cubicBezTo>
                    <a:cubicBezTo>
                      <a:pt x="265" y="92"/>
                      <a:pt x="265" y="92"/>
                      <a:pt x="265" y="92"/>
                    </a:cubicBezTo>
                    <a:cubicBezTo>
                      <a:pt x="265" y="92"/>
                      <a:pt x="265" y="92"/>
                      <a:pt x="265" y="92"/>
                    </a:cubicBezTo>
                    <a:cubicBezTo>
                      <a:pt x="265" y="92"/>
                      <a:pt x="265" y="92"/>
                      <a:pt x="265" y="92"/>
                    </a:cubicBezTo>
                    <a:cubicBezTo>
                      <a:pt x="265" y="92"/>
                      <a:pt x="265" y="92"/>
                      <a:pt x="265" y="92"/>
                    </a:cubicBezTo>
                    <a:cubicBezTo>
                      <a:pt x="268" y="93"/>
                      <a:pt x="268" y="93"/>
                      <a:pt x="268" y="93"/>
                    </a:cubicBezTo>
                    <a:cubicBezTo>
                      <a:pt x="275" y="96"/>
                      <a:pt x="275" y="96"/>
                      <a:pt x="275" y="96"/>
                    </a:cubicBezTo>
                    <a:cubicBezTo>
                      <a:pt x="277" y="96"/>
                      <a:pt x="277" y="96"/>
                      <a:pt x="277" y="96"/>
                    </a:cubicBezTo>
                    <a:cubicBezTo>
                      <a:pt x="277" y="97"/>
                      <a:pt x="277" y="97"/>
                      <a:pt x="277" y="97"/>
                    </a:cubicBezTo>
                    <a:cubicBezTo>
                      <a:pt x="285" y="101"/>
                      <a:pt x="285" y="101"/>
                      <a:pt x="285" y="101"/>
                    </a:cubicBezTo>
                    <a:cubicBezTo>
                      <a:pt x="286" y="98"/>
                      <a:pt x="286" y="98"/>
                      <a:pt x="286" y="98"/>
                    </a:cubicBezTo>
                    <a:cubicBezTo>
                      <a:pt x="286" y="102"/>
                      <a:pt x="286" y="102"/>
                      <a:pt x="286" y="102"/>
                    </a:cubicBezTo>
                    <a:cubicBezTo>
                      <a:pt x="290" y="103"/>
                      <a:pt x="290" y="103"/>
                      <a:pt x="290" y="103"/>
                    </a:cubicBezTo>
                    <a:cubicBezTo>
                      <a:pt x="289" y="104"/>
                      <a:pt x="289" y="104"/>
                      <a:pt x="289" y="104"/>
                    </a:cubicBezTo>
                    <a:cubicBezTo>
                      <a:pt x="294" y="108"/>
                      <a:pt x="294" y="108"/>
                      <a:pt x="294" y="108"/>
                    </a:cubicBezTo>
                    <a:cubicBezTo>
                      <a:pt x="287" y="106"/>
                      <a:pt x="287" y="106"/>
                      <a:pt x="287" y="106"/>
                    </a:cubicBezTo>
                    <a:cubicBezTo>
                      <a:pt x="287" y="107"/>
                      <a:pt x="287" y="107"/>
                      <a:pt x="287" y="107"/>
                    </a:cubicBezTo>
                    <a:cubicBezTo>
                      <a:pt x="286" y="108"/>
                      <a:pt x="285" y="109"/>
                      <a:pt x="285" y="110"/>
                    </a:cubicBezTo>
                    <a:cubicBezTo>
                      <a:pt x="285" y="111"/>
                      <a:pt x="285" y="111"/>
                      <a:pt x="285" y="111"/>
                    </a:cubicBezTo>
                    <a:cubicBezTo>
                      <a:pt x="284" y="112"/>
                      <a:pt x="284" y="112"/>
                      <a:pt x="284" y="112"/>
                    </a:cubicBezTo>
                    <a:cubicBezTo>
                      <a:pt x="284" y="112"/>
                      <a:pt x="284" y="112"/>
                      <a:pt x="284" y="112"/>
                    </a:cubicBezTo>
                    <a:cubicBezTo>
                      <a:pt x="284" y="112"/>
                      <a:pt x="284" y="112"/>
                      <a:pt x="284" y="112"/>
                    </a:cubicBezTo>
                    <a:cubicBezTo>
                      <a:pt x="284" y="114"/>
                      <a:pt x="284" y="114"/>
                      <a:pt x="284" y="114"/>
                    </a:cubicBezTo>
                    <a:cubicBezTo>
                      <a:pt x="284" y="114"/>
                      <a:pt x="284" y="115"/>
                      <a:pt x="283" y="116"/>
                    </a:cubicBezTo>
                    <a:cubicBezTo>
                      <a:pt x="282" y="118"/>
                      <a:pt x="282" y="118"/>
                      <a:pt x="282" y="118"/>
                    </a:cubicBezTo>
                    <a:cubicBezTo>
                      <a:pt x="280" y="118"/>
                      <a:pt x="280" y="118"/>
                      <a:pt x="280" y="118"/>
                    </a:cubicBezTo>
                    <a:cubicBezTo>
                      <a:pt x="278" y="120"/>
                      <a:pt x="272" y="121"/>
                      <a:pt x="269" y="121"/>
                    </a:cubicBezTo>
                    <a:cubicBezTo>
                      <a:pt x="269" y="121"/>
                      <a:pt x="269" y="121"/>
                      <a:pt x="269" y="121"/>
                    </a:cubicBezTo>
                    <a:cubicBezTo>
                      <a:pt x="268" y="122"/>
                      <a:pt x="268" y="122"/>
                      <a:pt x="268" y="122"/>
                    </a:cubicBezTo>
                    <a:cubicBezTo>
                      <a:pt x="267" y="121"/>
                      <a:pt x="267" y="121"/>
                      <a:pt x="267" y="121"/>
                    </a:cubicBezTo>
                    <a:cubicBezTo>
                      <a:pt x="264" y="121"/>
                      <a:pt x="261" y="120"/>
                      <a:pt x="258" y="119"/>
                    </a:cubicBezTo>
                    <a:cubicBezTo>
                      <a:pt x="256" y="119"/>
                      <a:pt x="256" y="119"/>
                      <a:pt x="256" y="119"/>
                    </a:cubicBezTo>
                    <a:cubicBezTo>
                      <a:pt x="255" y="118"/>
                      <a:pt x="255" y="118"/>
                      <a:pt x="255" y="118"/>
                    </a:cubicBezTo>
                    <a:cubicBezTo>
                      <a:pt x="255" y="119"/>
                      <a:pt x="255" y="119"/>
                      <a:pt x="254" y="120"/>
                    </a:cubicBezTo>
                    <a:cubicBezTo>
                      <a:pt x="254" y="121"/>
                      <a:pt x="253" y="122"/>
                      <a:pt x="252" y="123"/>
                    </a:cubicBezTo>
                    <a:cubicBezTo>
                      <a:pt x="252" y="123"/>
                      <a:pt x="252" y="123"/>
                      <a:pt x="252" y="123"/>
                    </a:cubicBezTo>
                    <a:cubicBezTo>
                      <a:pt x="251" y="124"/>
                      <a:pt x="250" y="124"/>
                      <a:pt x="249" y="125"/>
                    </a:cubicBezTo>
                    <a:cubicBezTo>
                      <a:pt x="249" y="125"/>
                      <a:pt x="248" y="125"/>
                      <a:pt x="248" y="125"/>
                    </a:cubicBezTo>
                    <a:cubicBezTo>
                      <a:pt x="247" y="125"/>
                      <a:pt x="247" y="125"/>
                      <a:pt x="247" y="125"/>
                    </a:cubicBezTo>
                    <a:cubicBezTo>
                      <a:pt x="247" y="125"/>
                      <a:pt x="247" y="125"/>
                      <a:pt x="247" y="125"/>
                    </a:cubicBezTo>
                    <a:cubicBezTo>
                      <a:pt x="243" y="130"/>
                      <a:pt x="243" y="130"/>
                      <a:pt x="243" y="130"/>
                    </a:cubicBezTo>
                    <a:cubicBezTo>
                      <a:pt x="243" y="124"/>
                      <a:pt x="243" y="124"/>
                      <a:pt x="243" y="124"/>
                    </a:cubicBezTo>
                    <a:cubicBezTo>
                      <a:pt x="243" y="123"/>
                      <a:pt x="243" y="123"/>
                      <a:pt x="243" y="123"/>
                    </a:cubicBezTo>
                    <a:cubicBezTo>
                      <a:pt x="241" y="122"/>
                      <a:pt x="240" y="122"/>
                      <a:pt x="238" y="121"/>
                    </a:cubicBezTo>
                    <a:cubicBezTo>
                      <a:pt x="237" y="121"/>
                      <a:pt x="237" y="121"/>
                      <a:pt x="236" y="121"/>
                    </a:cubicBezTo>
                    <a:cubicBezTo>
                      <a:pt x="235" y="121"/>
                      <a:pt x="234" y="121"/>
                      <a:pt x="234" y="121"/>
                    </a:cubicBezTo>
                    <a:cubicBezTo>
                      <a:pt x="232" y="124"/>
                      <a:pt x="232" y="124"/>
                      <a:pt x="232" y="124"/>
                    </a:cubicBezTo>
                    <a:cubicBezTo>
                      <a:pt x="233" y="121"/>
                      <a:pt x="233" y="121"/>
                      <a:pt x="233" y="121"/>
                    </a:cubicBezTo>
                    <a:cubicBezTo>
                      <a:pt x="232" y="121"/>
                      <a:pt x="232" y="121"/>
                      <a:pt x="232" y="121"/>
                    </a:cubicBezTo>
                    <a:cubicBezTo>
                      <a:pt x="231" y="120"/>
                      <a:pt x="231" y="120"/>
                      <a:pt x="230" y="119"/>
                    </a:cubicBezTo>
                    <a:cubicBezTo>
                      <a:pt x="228" y="118"/>
                      <a:pt x="227" y="117"/>
                      <a:pt x="227" y="117"/>
                    </a:cubicBezTo>
                    <a:cubicBezTo>
                      <a:pt x="226" y="116"/>
                      <a:pt x="226" y="114"/>
                      <a:pt x="226" y="113"/>
                    </a:cubicBezTo>
                    <a:cubicBezTo>
                      <a:pt x="225" y="112"/>
                      <a:pt x="225" y="111"/>
                      <a:pt x="224" y="111"/>
                    </a:cubicBezTo>
                    <a:cubicBezTo>
                      <a:pt x="222" y="110"/>
                      <a:pt x="220" y="110"/>
                      <a:pt x="218" y="110"/>
                    </a:cubicBezTo>
                    <a:cubicBezTo>
                      <a:pt x="217" y="110"/>
                      <a:pt x="216" y="110"/>
                      <a:pt x="215" y="110"/>
                    </a:cubicBezTo>
                    <a:cubicBezTo>
                      <a:pt x="215" y="110"/>
                      <a:pt x="215" y="110"/>
                      <a:pt x="215" y="110"/>
                    </a:cubicBezTo>
                    <a:cubicBezTo>
                      <a:pt x="214" y="110"/>
                      <a:pt x="214" y="110"/>
                      <a:pt x="214" y="110"/>
                    </a:cubicBezTo>
                    <a:cubicBezTo>
                      <a:pt x="214" y="111"/>
                      <a:pt x="214" y="112"/>
                      <a:pt x="213" y="113"/>
                    </a:cubicBezTo>
                    <a:cubicBezTo>
                      <a:pt x="213" y="114"/>
                      <a:pt x="213" y="114"/>
                      <a:pt x="213" y="114"/>
                    </a:cubicBezTo>
                    <a:cubicBezTo>
                      <a:pt x="212" y="114"/>
                      <a:pt x="212" y="115"/>
                      <a:pt x="211" y="115"/>
                    </a:cubicBezTo>
                    <a:cubicBezTo>
                      <a:pt x="210" y="116"/>
                      <a:pt x="209" y="116"/>
                      <a:pt x="208" y="116"/>
                    </a:cubicBezTo>
                    <a:cubicBezTo>
                      <a:pt x="207" y="116"/>
                      <a:pt x="207" y="116"/>
                      <a:pt x="206" y="116"/>
                    </a:cubicBezTo>
                    <a:cubicBezTo>
                      <a:pt x="206" y="116"/>
                      <a:pt x="206" y="116"/>
                      <a:pt x="206" y="116"/>
                    </a:cubicBezTo>
                    <a:cubicBezTo>
                      <a:pt x="203" y="116"/>
                      <a:pt x="202" y="114"/>
                      <a:pt x="201" y="113"/>
                    </a:cubicBezTo>
                    <a:cubicBezTo>
                      <a:pt x="200" y="112"/>
                      <a:pt x="199" y="111"/>
                      <a:pt x="199" y="111"/>
                    </a:cubicBezTo>
                    <a:cubicBezTo>
                      <a:pt x="199" y="110"/>
                      <a:pt x="199" y="110"/>
                      <a:pt x="199" y="110"/>
                    </a:cubicBezTo>
                    <a:cubicBezTo>
                      <a:pt x="198" y="111"/>
                      <a:pt x="198" y="111"/>
                      <a:pt x="198" y="111"/>
                    </a:cubicBezTo>
                    <a:cubicBezTo>
                      <a:pt x="195" y="111"/>
                      <a:pt x="195" y="111"/>
                      <a:pt x="195" y="111"/>
                    </a:cubicBezTo>
                    <a:cubicBezTo>
                      <a:pt x="193" y="111"/>
                      <a:pt x="191" y="111"/>
                      <a:pt x="189" y="112"/>
                    </a:cubicBezTo>
                    <a:cubicBezTo>
                      <a:pt x="188" y="112"/>
                      <a:pt x="188" y="112"/>
                      <a:pt x="188" y="112"/>
                    </a:cubicBezTo>
                    <a:cubicBezTo>
                      <a:pt x="188" y="113"/>
                      <a:pt x="187" y="114"/>
                      <a:pt x="186" y="115"/>
                    </a:cubicBezTo>
                    <a:cubicBezTo>
                      <a:pt x="185" y="116"/>
                      <a:pt x="184" y="116"/>
                      <a:pt x="183" y="116"/>
                    </a:cubicBezTo>
                    <a:cubicBezTo>
                      <a:pt x="182" y="116"/>
                      <a:pt x="182" y="116"/>
                      <a:pt x="182" y="117"/>
                    </a:cubicBezTo>
                    <a:cubicBezTo>
                      <a:pt x="182" y="117"/>
                      <a:pt x="182" y="118"/>
                      <a:pt x="181" y="119"/>
                    </a:cubicBezTo>
                    <a:cubicBezTo>
                      <a:pt x="180" y="120"/>
                      <a:pt x="179" y="121"/>
                      <a:pt x="178" y="121"/>
                    </a:cubicBezTo>
                    <a:cubicBezTo>
                      <a:pt x="178" y="122"/>
                      <a:pt x="177" y="122"/>
                      <a:pt x="176" y="122"/>
                    </a:cubicBezTo>
                    <a:cubicBezTo>
                      <a:pt x="176" y="122"/>
                      <a:pt x="176" y="122"/>
                      <a:pt x="176" y="122"/>
                    </a:cubicBezTo>
                    <a:cubicBezTo>
                      <a:pt x="176" y="123"/>
                      <a:pt x="176" y="123"/>
                      <a:pt x="176" y="123"/>
                    </a:cubicBezTo>
                    <a:cubicBezTo>
                      <a:pt x="174" y="124"/>
                      <a:pt x="174" y="124"/>
                      <a:pt x="173" y="124"/>
                    </a:cubicBezTo>
                    <a:cubicBezTo>
                      <a:pt x="173" y="124"/>
                      <a:pt x="172" y="124"/>
                      <a:pt x="172" y="124"/>
                    </a:cubicBezTo>
                    <a:cubicBezTo>
                      <a:pt x="170" y="124"/>
                      <a:pt x="168" y="123"/>
                      <a:pt x="165" y="121"/>
                    </a:cubicBezTo>
                    <a:cubicBezTo>
                      <a:pt x="163" y="120"/>
                      <a:pt x="160" y="118"/>
                      <a:pt x="158" y="116"/>
                    </a:cubicBezTo>
                    <a:cubicBezTo>
                      <a:pt x="156" y="115"/>
                      <a:pt x="156" y="115"/>
                      <a:pt x="156" y="115"/>
                    </a:cubicBezTo>
                    <a:cubicBezTo>
                      <a:pt x="155" y="114"/>
                      <a:pt x="155" y="114"/>
                      <a:pt x="155" y="114"/>
                    </a:cubicBezTo>
                    <a:cubicBezTo>
                      <a:pt x="155" y="114"/>
                      <a:pt x="154" y="114"/>
                      <a:pt x="154" y="113"/>
                    </a:cubicBezTo>
                    <a:cubicBezTo>
                      <a:pt x="154" y="114"/>
                      <a:pt x="154" y="114"/>
                      <a:pt x="154" y="115"/>
                    </a:cubicBezTo>
                    <a:cubicBezTo>
                      <a:pt x="154" y="115"/>
                      <a:pt x="154" y="115"/>
                      <a:pt x="154" y="115"/>
                    </a:cubicBezTo>
                    <a:cubicBezTo>
                      <a:pt x="155" y="116"/>
                      <a:pt x="155" y="116"/>
                      <a:pt x="155" y="117"/>
                    </a:cubicBezTo>
                    <a:cubicBezTo>
                      <a:pt x="155" y="118"/>
                      <a:pt x="155" y="118"/>
                      <a:pt x="155" y="118"/>
                    </a:cubicBezTo>
                    <a:cubicBezTo>
                      <a:pt x="155" y="119"/>
                      <a:pt x="155" y="120"/>
                      <a:pt x="154" y="121"/>
                    </a:cubicBezTo>
                    <a:cubicBezTo>
                      <a:pt x="154" y="122"/>
                      <a:pt x="153" y="123"/>
                      <a:pt x="151" y="124"/>
                    </a:cubicBezTo>
                    <a:cubicBezTo>
                      <a:pt x="148" y="126"/>
                      <a:pt x="148" y="126"/>
                      <a:pt x="148" y="126"/>
                    </a:cubicBezTo>
                    <a:cubicBezTo>
                      <a:pt x="147" y="123"/>
                      <a:pt x="147" y="123"/>
                      <a:pt x="147" y="123"/>
                    </a:cubicBezTo>
                    <a:cubicBezTo>
                      <a:pt x="147" y="121"/>
                      <a:pt x="146" y="119"/>
                      <a:pt x="146" y="116"/>
                    </a:cubicBezTo>
                    <a:cubicBezTo>
                      <a:pt x="146" y="115"/>
                      <a:pt x="146" y="115"/>
                      <a:pt x="146" y="115"/>
                    </a:cubicBezTo>
                    <a:cubicBezTo>
                      <a:pt x="146" y="115"/>
                      <a:pt x="145" y="114"/>
                      <a:pt x="145" y="114"/>
                    </a:cubicBezTo>
                    <a:cubicBezTo>
                      <a:pt x="143" y="113"/>
                      <a:pt x="142" y="112"/>
                      <a:pt x="141" y="111"/>
                    </a:cubicBezTo>
                    <a:cubicBezTo>
                      <a:pt x="140" y="110"/>
                      <a:pt x="140" y="110"/>
                      <a:pt x="140" y="110"/>
                    </a:cubicBezTo>
                    <a:cubicBezTo>
                      <a:pt x="136" y="107"/>
                      <a:pt x="132" y="103"/>
                      <a:pt x="128" y="101"/>
                    </a:cubicBezTo>
                    <a:cubicBezTo>
                      <a:pt x="127" y="101"/>
                      <a:pt x="125" y="100"/>
                      <a:pt x="122" y="100"/>
                    </a:cubicBezTo>
                    <a:cubicBezTo>
                      <a:pt x="122" y="100"/>
                      <a:pt x="122" y="100"/>
                      <a:pt x="121" y="100"/>
                    </a:cubicBezTo>
                    <a:cubicBezTo>
                      <a:pt x="119" y="100"/>
                      <a:pt x="118" y="100"/>
                      <a:pt x="116" y="101"/>
                    </a:cubicBezTo>
                    <a:cubicBezTo>
                      <a:pt x="116" y="101"/>
                      <a:pt x="116" y="101"/>
                      <a:pt x="116" y="101"/>
                    </a:cubicBezTo>
                    <a:cubicBezTo>
                      <a:pt x="115" y="101"/>
                      <a:pt x="115" y="101"/>
                      <a:pt x="115" y="101"/>
                    </a:cubicBezTo>
                    <a:cubicBezTo>
                      <a:pt x="115" y="101"/>
                      <a:pt x="114" y="101"/>
                      <a:pt x="113" y="101"/>
                    </a:cubicBezTo>
                    <a:cubicBezTo>
                      <a:pt x="112" y="101"/>
                      <a:pt x="112" y="101"/>
                      <a:pt x="112" y="101"/>
                    </a:cubicBezTo>
                    <a:cubicBezTo>
                      <a:pt x="112" y="101"/>
                      <a:pt x="112" y="101"/>
                      <a:pt x="112" y="101"/>
                    </a:cubicBezTo>
                    <a:cubicBezTo>
                      <a:pt x="111" y="101"/>
                      <a:pt x="111" y="101"/>
                      <a:pt x="111" y="101"/>
                    </a:cubicBezTo>
                    <a:cubicBezTo>
                      <a:pt x="111" y="101"/>
                      <a:pt x="111" y="101"/>
                      <a:pt x="111" y="101"/>
                    </a:cubicBezTo>
                    <a:cubicBezTo>
                      <a:pt x="110" y="100"/>
                      <a:pt x="110" y="100"/>
                      <a:pt x="110" y="100"/>
                    </a:cubicBezTo>
                    <a:cubicBezTo>
                      <a:pt x="109" y="99"/>
                      <a:pt x="109" y="99"/>
                      <a:pt x="109" y="99"/>
                    </a:cubicBezTo>
                    <a:cubicBezTo>
                      <a:pt x="109" y="99"/>
                      <a:pt x="109" y="98"/>
                      <a:pt x="108" y="98"/>
                    </a:cubicBezTo>
                    <a:cubicBezTo>
                      <a:pt x="108" y="97"/>
                      <a:pt x="108" y="97"/>
                      <a:pt x="108" y="97"/>
                    </a:cubicBezTo>
                    <a:cubicBezTo>
                      <a:pt x="108" y="96"/>
                      <a:pt x="107" y="95"/>
                      <a:pt x="107" y="94"/>
                    </a:cubicBezTo>
                    <a:cubicBezTo>
                      <a:pt x="105" y="96"/>
                      <a:pt x="103" y="96"/>
                      <a:pt x="100" y="96"/>
                    </a:cubicBezTo>
                    <a:cubicBezTo>
                      <a:pt x="100" y="97"/>
                      <a:pt x="100" y="97"/>
                      <a:pt x="100" y="97"/>
                    </a:cubicBezTo>
                    <a:cubicBezTo>
                      <a:pt x="100" y="97"/>
                      <a:pt x="100" y="97"/>
                      <a:pt x="100" y="97"/>
                    </a:cubicBezTo>
                    <a:cubicBezTo>
                      <a:pt x="100" y="98"/>
                      <a:pt x="100" y="98"/>
                      <a:pt x="100" y="98"/>
                    </a:cubicBezTo>
                    <a:cubicBezTo>
                      <a:pt x="100" y="99"/>
                      <a:pt x="99" y="99"/>
                      <a:pt x="99" y="100"/>
                    </a:cubicBezTo>
                    <a:cubicBezTo>
                      <a:pt x="98" y="100"/>
                      <a:pt x="98" y="100"/>
                      <a:pt x="98" y="100"/>
                    </a:cubicBezTo>
                    <a:cubicBezTo>
                      <a:pt x="97" y="101"/>
                      <a:pt x="96" y="101"/>
                      <a:pt x="95" y="101"/>
                    </a:cubicBezTo>
                    <a:cubicBezTo>
                      <a:pt x="95" y="101"/>
                      <a:pt x="95" y="101"/>
                      <a:pt x="95" y="101"/>
                    </a:cubicBezTo>
                    <a:cubicBezTo>
                      <a:pt x="94" y="101"/>
                      <a:pt x="94" y="101"/>
                      <a:pt x="93" y="101"/>
                    </a:cubicBezTo>
                    <a:cubicBezTo>
                      <a:pt x="93" y="101"/>
                      <a:pt x="92" y="101"/>
                      <a:pt x="92" y="101"/>
                    </a:cubicBezTo>
                    <a:cubicBezTo>
                      <a:pt x="90" y="105"/>
                      <a:pt x="90" y="105"/>
                      <a:pt x="90" y="105"/>
                    </a:cubicBezTo>
                    <a:cubicBezTo>
                      <a:pt x="91" y="101"/>
                      <a:pt x="91" y="101"/>
                      <a:pt x="91" y="101"/>
                    </a:cubicBezTo>
                    <a:cubicBezTo>
                      <a:pt x="91" y="101"/>
                      <a:pt x="91" y="101"/>
                      <a:pt x="91" y="101"/>
                    </a:cubicBezTo>
                    <a:cubicBezTo>
                      <a:pt x="89" y="100"/>
                      <a:pt x="88" y="99"/>
                      <a:pt x="87" y="98"/>
                    </a:cubicBezTo>
                    <a:cubicBezTo>
                      <a:pt x="86" y="96"/>
                      <a:pt x="86" y="96"/>
                      <a:pt x="86" y="96"/>
                    </a:cubicBezTo>
                    <a:cubicBezTo>
                      <a:pt x="86" y="96"/>
                      <a:pt x="86" y="96"/>
                      <a:pt x="86" y="96"/>
                    </a:cubicBezTo>
                    <a:cubicBezTo>
                      <a:pt x="86" y="96"/>
                      <a:pt x="85" y="95"/>
                      <a:pt x="84" y="95"/>
                    </a:cubicBezTo>
                    <a:cubicBezTo>
                      <a:pt x="84" y="95"/>
                      <a:pt x="83" y="95"/>
                      <a:pt x="82" y="95"/>
                    </a:cubicBezTo>
                    <a:cubicBezTo>
                      <a:pt x="82" y="95"/>
                      <a:pt x="82" y="94"/>
                      <a:pt x="81" y="94"/>
                    </a:cubicBezTo>
                    <a:cubicBezTo>
                      <a:pt x="81" y="95"/>
                      <a:pt x="81" y="95"/>
                      <a:pt x="81" y="95"/>
                    </a:cubicBezTo>
                    <a:cubicBezTo>
                      <a:pt x="81" y="96"/>
                      <a:pt x="81" y="96"/>
                      <a:pt x="81" y="96"/>
                    </a:cubicBezTo>
                    <a:cubicBezTo>
                      <a:pt x="81" y="97"/>
                      <a:pt x="80" y="98"/>
                      <a:pt x="78" y="98"/>
                    </a:cubicBezTo>
                    <a:cubicBezTo>
                      <a:pt x="77" y="98"/>
                      <a:pt x="77" y="98"/>
                      <a:pt x="77" y="98"/>
                    </a:cubicBezTo>
                    <a:cubicBezTo>
                      <a:pt x="76" y="98"/>
                      <a:pt x="76" y="98"/>
                      <a:pt x="76" y="98"/>
                    </a:cubicBezTo>
                    <a:cubicBezTo>
                      <a:pt x="75" y="98"/>
                      <a:pt x="75" y="98"/>
                      <a:pt x="74" y="100"/>
                    </a:cubicBezTo>
                    <a:cubicBezTo>
                      <a:pt x="73" y="102"/>
                      <a:pt x="73" y="102"/>
                      <a:pt x="73" y="102"/>
                    </a:cubicBezTo>
                    <a:cubicBezTo>
                      <a:pt x="73" y="103"/>
                      <a:pt x="73" y="103"/>
                      <a:pt x="72" y="104"/>
                    </a:cubicBezTo>
                    <a:cubicBezTo>
                      <a:pt x="71" y="105"/>
                      <a:pt x="69" y="106"/>
                      <a:pt x="67" y="107"/>
                    </a:cubicBezTo>
                    <a:cubicBezTo>
                      <a:pt x="67" y="107"/>
                      <a:pt x="67" y="107"/>
                      <a:pt x="67" y="107"/>
                    </a:cubicBezTo>
                    <a:cubicBezTo>
                      <a:pt x="66" y="107"/>
                      <a:pt x="66" y="107"/>
                      <a:pt x="66" y="107"/>
                    </a:cubicBezTo>
                    <a:cubicBezTo>
                      <a:pt x="55" y="112"/>
                      <a:pt x="55" y="112"/>
                      <a:pt x="55" y="112"/>
                    </a:cubicBezTo>
                    <a:cubicBezTo>
                      <a:pt x="55" y="113"/>
                      <a:pt x="55" y="114"/>
                      <a:pt x="54" y="115"/>
                    </a:cubicBezTo>
                    <a:cubicBezTo>
                      <a:pt x="54" y="116"/>
                      <a:pt x="54" y="116"/>
                      <a:pt x="54" y="116"/>
                    </a:cubicBezTo>
                    <a:cubicBezTo>
                      <a:pt x="53" y="117"/>
                      <a:pt x="52" y="117"/>
                      <a:pt x="48" y="118"/>
                    </a:cubicBezTo>
                    <a:cubicBezTo>
                      <a:pt x="48" y="119"/>
                      <a:pt x="48" y="119"/>
                      <a:pt x="48" y="119"/>
                    </a:cubicBezTo>
                    <a:cubicBezTo>
                      <a:pt x="48" y="119"/>
                      <a:pt x="47" y="119"/>
                      <a:pt x="47" y="119"/>
                    </a:cubicBezTo>
                    <a:cubicBezTo>
                      <a:pt x="46" y="119"/>
                      <a:pt x="46" y="119"/>
                      <a:pt x="46" y="119"/>
                    </a:cubicBezTo>
                    <a:cubicBezTo>
                      <a:pt x="46" y="118"/>
                      <a:pt x="46" y="118"/>
                      <a:pt x="46" y="118"/>
                    </a:cubicBezTo>
                    <a:cubicBezTo>
                      <a:pt x="46" y="119"/>
                      <a:pt x="46" y="119"/>
                      <a:pt x="46" y="119"/>
                    </a:cubicBezTo>
                    <a:cubicBezTo>
                      <a:pt x="46" y="120"/>
                      <a:pt x="46" y="120"/>
                      <a:pt x="46" y="120"/>
                    </a:cubicBezTo>
                    <a:cubicBezTo>
                      <a:pt x="45" y="120"/>
                      <a:pt x="45" y="120"/>
                      <a:pt x="45" y="120"/>
                    </a:cubicBezTo>
                    <a:cubicBezTo>
                      <a:pt x="43" y="121"/>
                      <a:pt x="42" y="122"/>
                      <a:pt x="40" y="122"/>
                    </a:cubicBezTo>
                    <a:cubicBezTo>
                      <a:pt x="40" y="123"/>
                      <a:pt x="40" y="123"/>
                      <a:pt x="40" y="123"/>
                    </a:cubicBezTo>
                    <a:cubicBezTo>
                      <a:pt x="41" y="124"/>
                      <a:pt x="41" y="125"/>
                      <a:pt x="41" y="126"/>
                    </a:cubicBezTo>
                    <a:cubicBezTo>
                      <a:pt x="41" y="127"/>
                      <a:pt x="41" y="127"/>
                      <a:pt x="41" y="127"/>
                    </a:cubicBezTo>
                    <a:cubicBezTo>
                      <a:pt x="42" y="127"/>
                      <a:pt x="42" y="128"/>
                      <a:pt x="42" y="128"/>
                    </a:cubicBezTo>
                    <a:cubicBezTo>
                      <a:pt x="42" y="129"/>
                      <a:pt x="42" y="129"/>
                      <a:pt x="42" y="129"/>
                    </a:cubicBezTo>
                    <a:cubicBezTo>
                      <a:pt x="42" y="129"/>
                      <a:pt x="43" y="130"/>
                      <a:pt x="43" y="130"/>
                    </a:cubicBezTo>
                    <a:cubicBezTo>
                      <a:pt x="43" y="131"/>
                      <a:pt x="43" y="131"/>
                      <a:pt x="43" y="131"/>
                    </a:cubicBezTo>
                    <a:cubicBezTo>
                      <a:pt x="43" y="131"/>
                      <a:pt x="43" y="131"/>
                      <a:pt x="43" y="131"/>
                    </a:cubicBezTo>
                    <a:cubicBezTo>
                      <a:pt x="43" y="131"/>
                      <a:pt x="43" y="131"/>
                      <a:pt x="43" y="131"/>
                    </a:cubicBezTo>
                    <a:cubicBezTo>
                      <a:pt x="43" y="132"/>
                      <a:pt x="44" y="132"/>
                      <a:pt x="44" y="132"/>
                    </a:cubicBezTo>
                    <a:cubicBezTo>
                      <a:pt x="45" y="133"/>
                      <a:pt x="45" y="134"/>
                      <a:pt x="45" y="135"/>
                    </a:cubicBezTo>
                    <a:cubicBezTo>
                      <a:pt x="45" y="136"/>
                      <a:pt x="44" y="137"/>
                      <a:pt x="43" y="138"/>
                    </a:cubicBezTo>
                    <a:cubicBezTo>
                      <a:pt x="42" y="139"/>
                      <a:pt x="40" y="140"/>
                      <a:pt x="37" y="141"/>
                    </a:cubicBezTo>
                    <a:cubicBezTo>
                      <a:pt x="37" y="141"/>
                      <a:pt x="36" y="142"/>
                      <a:pt x="36" y="142"/>
                    </a:cubicBezTo>
                    <a:cubicBezTo>
                      <a:pt x="35" y="142"/>
                      <a:pt x="34" y="142"/>
                      <a:pt x="34" y="142"/>
                    </a:cubicBezTo>
                    <a:cubicBezTo>
                      <a:pt x="32" y="142"/>
                      <a:pt x="31" y="141"/>
                      <a:pt x="30" y="140"/>
                    </a:cubicBezTo>
                    <a:cubicBezTo>
                      <a:pt x="29" y="139"/>
                      <a:pt x="28" y="138"/>
                      <a:pt x="26" y="136"/>
                    </a:cubicBezTo>
                    <a:cubicBezTo>
                      <a:pt x="25" y="135"/>
                      <a:pt x="25" y="135"/>
                      <a:pt x="25" y="135"/>
                    </a:cubicBezTo>
                    <a:cubicBezTo>
                      <a:pt x="25" y="135"/>
                      <a:pt x="25" y="135"/>
                      <a:pt x="24" y="134"/>
                    </a:cubicBezTo>
                    <a:cubicBezTo>
                      <a:pt x="24" y="133"/>
                      <a:pt x="24" y="133"/>
                      <a:pt x="24" y="133"/>
                    </a:cubicBezTo>
                    <a:cubicBezTo>
                      <a:pt x="22" y="132"/>
                      <a:pt x="20" y="129"/>
                      <a:pt x="18" y="128"/>
                    </a:cubicBezTo>
                    <a:cubicBezTo>
                      <a:pt x="18" y="128"/>
                      <a:pt x="18" y="128"/>
                      <a:pt x="18" y="128"/>
                    </a:cubicBezTo>
                    <a:cubicBezTo>
                      <a:pt x="17" y="128"/>
                      <a:pt x="16" y="129"/>
                      <a:pt x="16" y="129"/>
                    </a:cubicBezTo>
                    <a:cubicBezTo>
                      <a:pt x="16" y="129"/>
                      <a:pt x="16" y="129"/>
                      <a:pt x="16" y="129"/>
                    </a:cubicBezTo>
                    <a:cubicBezTo>
                      <a:pt x="16" y="129"/>
                      <a:pt x="16" y="130"/>
                      <a:pt x="16" y="131"/>
                    </a:cubicBezTo>
                    <a:cubicBezTo>
                      <a:pt x="15" y="132"/>
                      <a:pt x="15" y="134"/>
                      <a:pt x="14" y="135"/>
                    </a:cubicBezTo>
                    <a:cubicBezTo>
                      <a:pt x="14" y="136"/>
                      <a:pt x="14" y="136"/>
                      <a:pt x="14" y="136"/>
                    </a:cubicBezTo>
                    <a:cubicBezTo>
                      <a:pt x="13" y="137"/>
                      <a:pt x="13" y="137"/>
                      <a:pt x="13" y="137"/>
                    </a:cubicBezTo>
                    <a:cubicBezTo>
                      <a:pt x="12" y="138"/>
                      <a:pt x="12" y="138"/>
                      <a:pt x="12" y="138"/>
                    </a:cubicBezTo>
                    <a:cubicBezTo>
                      <a:pt x="12" y="138"/>
                      <a:pt x="12" y="138"/>
                      <a:pt x="12" y="138"/>
                    </a:cubicBezTo>
                    <a:cubicBezTo>
                      <a:pt x="11" y="139"/>
                      <a:pt x="9" y="140"/>
                      <a:pt x="9" y="140"/>
                    </a:cubicBezTo>
                    <a:cubicBezTo>
                      <a:pt x="7" y="141"/>
                      <a:pt x="7" y="141"/>
                      <a:pt x="7" y="141"/>
                    </a:cubicBezTo>
                    <a:cubicBezTo>
                      <a:pt x="6" y="143"/>
                      <a:pt x="6" y="143"/>
                      <a:pt x="6" y="143"/>
                    </a:cubicBezTo>
                    <a:cubicBezTo>
                      <a:pt x="6" y="143"/>
                      <a:pt x="6" y="144"/>
                      <a:pt x="6" y="144"/>
                    </a:cubicBezTo>
                    <a:cubicBezTo>
                      <a:pt x="5" y="148"/>
                      <a:pt x="5" y="148"/>
                      <a:pt x="5" y="148"/>
                    </a:cubicBezTo>
                    <a:cubicBezTo>
                      <a:pt x="5" y="149"/>
                      <a:pt x="5" y="149"/>
                      <a:pt x="5" y="150"/>
                    </a:cubicBezTo>
                    <a:cubicBezTo>
                      <a:pt x="5" y="150"/>
                      <a:pt x="5" y="150"/>
                      <a:pt x="5" y="150"/>
                    </a:cubicBezTo>
                    <a:cubicBezTo>
                      <a:pt x="6" y="151"/>
                      <a:pt x="6" y="151"/>
                      <a:pt x="6" y="151"/>
                    </a:cubicBezTo>
                    <a:cubicBezTo>
                      <a:pt x="6" y="151"/>
                      <a:pt x="6" y="151"/>
                      <a:pt x="6" y="151"/>
                    </a:cubicBezTo>
                    <a:cubicBezTo>
                      <a:pt x="7" y="152"/>
                      <a:pt x="7" y="152"/>
                      <a:pt x="7" y="152"/>
                    </a:cubicBezTo>
                    <a:cubicBezTo>
                      <a:pt x="11" y="156"/>
                      <a:pt x="8" y="159"/>
                      <a:pt x="8" y="161"/>
                    </a:cubicBezTo>
                    <a:cubicBezTo>
                      <a:pt x="7" y="161"/>
                      <a:pt x="7" y="161"/>
                      <a:pt x="7" y="162"/>
                    </a:cubicBezTo>
                    <a:cubicBezTo>
                      <a:pt x="5" y="164"/>
                      <a:pt x="3" y="167"/>
                      <a:pt x="1" y="170"/>
                    </a:cubicBezTo>
                    <a:cubicBezTo>
                      <a:pt x="1" y="171"/>
                      <a:pt x="0" y="172"/>
                      <a:pt x="0" y="173"/>
                    </a:cubicBezTo>
                    <a:cubicBezTo>
                      <a:pt x="0" y="173"/>
                      <a:pt x="0" y="173"/>
                      <a:pt x="0" y="173"/>
                    </a:cubicBezTo>
                    <a:cubicBezTo>
                      <a:pt x="2" y="174"/>
                      <a:pt x="2" y="174"/>
                      <a:pt x="2" y="174"/>
                    </a:cubicBezTo>
                    <a:cubicBezTo>
                      <a:pt x="3" y="174"/>
                      <a:pt x="4" y="175"/>
                      <a:pt x="6" y="175"/>
                    </a:cubicBezTo>
                    <a:cubicBezTo>
                      <a:pt x="8" y="176"/>
                      <a:pt x="8" y="176"/>
                      <a:pt x="8" y="176"/>
                    </a:cubicBezTo>
                    <a:cubicBezTo>
                      <a:pt x="8" y="176"/>
                      <a:pt x="9" y="176"/>
                      <a:pt x="9" y="176"/>
                    </a:cubicBezTo>
                    <a:cubicBezTo>
                      <a:pt x="12" y="178"/>
                      <a:pt x="11" y="181"/>
                      <a:pt x="11" y="184"/>
                    </a:cubicBezTo>
                    <a:cubicBezTo>
                      <a:pt x="11" y="184"/>
                      <a:pt x="11" y="185"/>
                      <a:pt x="11" y="185"/>
                    </a:cubicBezTo>
                    <a:cubicBezTo>
                      <a:pt x="11" y="188"/>
                      <a:pt x="11" y="188"/>
                      <a:pt x="12" y="189"/>
                    </a:cubicBezTo>
                    <a:cubicBezTo>
                      <a:pt x="13" y="189"/>
                      <a:pt x="14" y="190"/>
                      <a:pt x="15" y="190"/>
                    </a:cubicBezTo>
                    <a:cubicBezTo>
                      <a:pt x="16" y="190"/>
                      <a:pt x="16" y="190"/>
                      <a:pt x="17" y="189"/>
                    </a:cubicBezTo>
                    <a:cubicBezTo>
                      <a:pt x="17" y="189"/>
                      <a:pt x="18" y="189"/>
                      <a:pt x="18" y="189"/>
                    </a:cubicBezTo>
                    <a:cubicBezTo>
                      <a:pt x="19" y="189"/>
                      <a:pt x="19" y="189"/>
                      <a:pt x="19" y="189"/>
                    </a:cubicBezTo>
                    <a:cubicBezTo>
                      <a:pt x="20" y="189"/>
                      <a:pt x="22" y="188"/>
                      <a:pt x="23" y="188"/>
                    </a:cubicBezTo>
                    <a:cubicBezTo>
                      <a:pt x="24" y="188"/>
                      <a:pt x="25" y="188"/>
                      <a:pt x="25" y="188"/>
                    </a:cubicBezTo>
                    <a:cubicBezTo>
                      <a:pt x="26" y="188"/>
                      <a:pt x="27" y="188"/>
                      <a:pt x="28" y="188"/>
                    </a:cubicBezTo>
                    <a:cubicBezTo>
                      <a:pt x="28" y="188"/>
                      <a:pt x="29" y="189"/>
                      <a:pt x="29" y="189"/>
                    </a:cubicBezTo>
                    <a:cubicBezTo>
                      <a:pt x="31" y="190"/>
                      <a:pt x="32" y="192"/>
                      <a:pt x="33" y="193"/>
                    </a:cubicBezTo>
                    <a:cubicBezTo>
                      <a:pt x="33" y="194"/>
                      <a:pt x="34" y="195"/>
                      <a:pt x="35" y="196"/>
                    </a:cubicBezTo>
                    <a:cubicBezTo>
                      <a:pt x="38" y="200"/>
                      <a:pt x="38" y="200"/>
                      <a:pt x="38" y="200"/>
                    </a:cubicBezTo>
                    <a:cubicBezTo>
                      <a:pt x="39" y="202"/>
                      <a:pt x="40" y="204"/>
                      <a:pt x="41" y="206"/>
                    </a:cubicBezTo>
                    <a:cubicBezTo>
                      <a:pt x="42" y="206"/>
                      <a:pt x="42" y="206"/>
                      <a:pt x="42" y="207"/>
                    </a:cubicBezTo>
                    <a:cubicBezTo>
                      <a:pt x="43" y="207"/>
                      <a:pt x="43" y="207"/>
                      <a:pt x="43" y="207"/>
                    </a:cubicBezTo>
                    <a:cubicBezTo>
                      <a:pt x="44" y="209"/>
                      <a:pt x="46" y="211"/>
                      <a:pt x="47" y="214"/>
                    </a:cubicBezTo>
                    <a:cubicBezTo>
                      <a:pt x="48" y="214"/>
                      <a:pt x="48" y="214"/>
                      <a:pt x="48" y="214"/>
                    </a:cubicBezTo>
                    <a:cubicBezTo>
                      <a:pt x="47" y="215"/>
                      <a:pt x="47" y="215"/>
                      <a:pt x="47" y="215"/>
                    </a:cubicBezTo>
                    <a:cubicBezTo>
                      <a:pt x="47" y="215"/>
                      <a:pt x="47" y="215"/>
                      <a:pt x="47" y="215"/>
                    </a:cubicBezTo>
                    <a:cubicBezTo>
                      <a:pt x="47" y="216"/>
                      <a:pt x="47" y="216"/>
                      <a:pt x="47" y="216"/>
                    </a:cubicBezTo>
                    <a:cubicBezTo>
                      <a:pt x="46" y="217"/>
                      <a:pt x="46" y="217"/>
                      <a:pt x="46" y="217"/>
                    </a:cubicBezTo>
                    <a:cubicBezTo>
                      <a:pt x="44" y="218"/>
                      <a:pt x="44" y="218"/>
                      <a:pt x="44" y="218"/>
                    </a:cubicBezTo>
                    <a:cubicBezTo>
                      <a:pt x="44" y="218"/>
                      <a:pt x="44" y="218"/>
                      <a:pt x="44" y="218"/>
                    </a:cubicBezTo>
                    <a:cubicBezTo>
                      <a:pt x="44" y="218"/>
                      <a:pt x="44" y="218"/>
                      <a:pt x="44" y="218"/>
                    </a:cubicBezTo>
                    <a:cubicBezTo>
                      <a:pt x="43" y="218"/>
                      <a:pt x="43" y="218"/>
                      <a:pt x="43" y="218"/>
                    </a:cubicBezTo>
                    <a:cubicBezTo>
                      <a:pt x="43" y="219"/>
                      <a:pt x="42" y="219"/>
                      <a:pt x="42" y="219"/>
                    </a:cubicBezTo>
                    <a:cubicBezTo>
                      <a:pt x="42" y="219"/>
                      <a:pt x="42" y="219"/>
                      <a:pt x="42" y="219"/>
                    </a:cubicBezTo>
                    <a:cubicBezTo>
                      <a:pt x="43" y="219"/>
                      <a:pt x="43" y="219"/>
                      <a:pt x="43" y="219"/>
                    </a:cubicBezTo>
                    <a:cubicBezTo>
                      <a:pt x="44" y="220"/>
                      <a:pt x="46" y="221"/>
                      <a:pt x="47" y="222"/>
                    </a:cubicBezTo>
                    <a:cubicBezTo>
                      <a:pt x="48" y="222"/>
                      <a:pt x="48" y="222"/>
                      <a:pt x="49" y="222"/>
                    </a:cubicBezTo>
                    <a:cubicBezTo>
                      <a:pt x="49" y="222"/>
                      <a:pt x="49" y="222"/>
                      <a:pt x="49" y="222"/>
                    </a:cubicBezTo>
                    <a:cubicBezTo>
                      <a:pt x="48" y="222"/>
                      <a:pt x="48" y="222"/>
                      <a:pt x="48" y="222"/>
                    </a:cubicBezTo>
                    <a:cubicBezTo>
                      <a:pt x="49" y="222"/>
                      <a:pt x="49" y="222"/>
                      <a:pt x="49" y="222"/>
                    </a:cubicBezTo>
                    <a:cubicBezTo>
                      <a:pt x="50" y="222"/>
                      <a:pt x="50" y="221"/>
                      <a:pt x="50" y="221"/>
                    </a:cubicBezTo>
                    <a:cubicBezTo>
                      <a:pt x="50" y="221"/>
                      <a:pt x="50" y="221"/>
                      <a:pt x="50" y="221"/>
                    </a:cubicBezTo>
                    <a:cubicBezTo>
                      <a:pt x="50" y="221"/>
                      <a:pt x="50" y="221"/>
                      <a:pt x="50" y="221"/>
                    </a:cubicBezTo>
                    <a:cubicBezTo>
                      <a:pt x="50" y="220"/>
                      <a:pt x="51" y="220"/>
                      <a:pt x="51" y="220"/>
                    </a:cubicBezTo>
                    <a:cubicBezTo>
                      <a:pt x="51" y="220"/>
                      <a:pt x="51" y="220"/>
                      <a:pt x="51" y="220"/>
                    </a:cubicBezTo>
                    <a:cubicBezTo>
                      <a:pt x="50" y="219"/>
                      <a:pt x="50" y="219"/>
                      <a:pt x="50" y="219"/>
                    </a:cubicBezTo>
                    <a:cubicBezTo>
                      <a:pt x="51" y="219"/>
                      <a:pt x="52" y="219"/>
                      <a:pt x="52" y="219"/>
                    </a:cubicBezTo>
                    <a:cubicBezTo>
                      <a:pt x="53" y="219"/>
                      <a:pt x="54" y="219"/>
                      <a:pt x="55" y="219"/>
                    </a:cubicBezTo>
                    <a:cubicBezTo>
                      <a:pt x="56" y="219"/>
                      <a:pt x="57" y="219"/>
                      <a:pt x="58" y="219"/>
                    </a:cubicBezTo>
                    <a:cubicBezTo>
                      <a:pt x="59" y="219"/>
                      <a:pt x="60" y="219"/>
                      <a:pt x="62" y="219"/>
                    </a:cubicBezTo>
                    <a:cubicBezTo>
                      <a:pt x="63" y="218"/>
                      <a:pt x="64" y="217"/>
                      <a:pt x="65" y="216"/>
                    </a:cubicBezTo>
                    <a:cubicBezTo>
                      <a:pt x="66" y="215"/>
                      <a:pt x="68" y="215"/>
                      <a:pt x="69" y="214"/>
                    </a:cubicBezTo>
                    <a:cubicBezTo>
                      <a:pt x="70" y="213"/>
                      <a:pt x="70" y="213"/>
                      <a:pt x="71" y="212"/>
                    </a:cubicBezTo>
                    <a:cubicBezTo>
                      <a:pt x="72" y="212"/>
                      <a:pt x="73" y="212"/>
                      <a:pt x="75" y="211"/>
                    </a:cubicBezTo>
                    <a:cubicBezTo>
                      <a:pt x="75" y="211"/>
                      <a:pt x="78" y="210"/>
                      <a:pt x="79" y="209"/>
                    </a:cubicBezTo>
                    <a:cubicBezTo>
                      <a:pt x="79" y="208"/>
                      <a:pt x="79" y="208"/>
                      <a:pt x="79" y="208"/>
                    </a:cubicBezTo>
                    <a:cubicBezTo>
                      <a:pt x="81" y="208"/>
                      <a:pt x="81" y="208"/>
                      <a:pt x="81" y="208"/>
                    </a:cubicBezTo>
                    <a:cubicBezTo>
                      <a:pt x="82" y="208"/>
                      <a:pt x="83" y="208"/>
                      <a:pt x="84" y="207"/>
                    </a:cubicBezTo>
                    <a:cubicBezTo>
                      <a:pt x="85" y="207"/>
                      <a:pt x="85" y="206"/>
                      <a:pt x="86" y="206"/>
                    </a:cubicBezTo>
                    <a:cubicBezTo>
                      <a:pt x="86" y="206"/>
                      <a:pt x="86" y="206"/>
                      <a:pt x="86" y="206"/>
                    </a:cubicBezTo>
                    <a:cubicBezTo>
                      <a:pt x="89" y="206"/>
                      <a:pt x="92" y="208"/>
                      <a:pt x="94" y="208"/>
                    </a:cubicBezTo>
                    <a:cubicBezTo>
                      <a:pt x="98" y="209"/>
                      <a:pt x="102" y="211"/>
                      <a:pt x="106" y="213"/>
                    </a:cubicBezTo>
                    <a:cubicBezTo>
                      <a:pt x="105" y="213"/>
                      <a:pt x="105" y="212"/>
                      <a:pt x="105" y="212"/>
                    </a:cubicBezTo>
                    <a:cubicBezTo>
                      <a:pt x="105" y="212"/>
                      <a:pt x="106" y="212"/>
                      <a:pt x="106" y="212"/>
                    </a:cubicBezTo>
                    <a:cubicBezTo>
                      <a:pt x="108" y="212"/>
                      <a:pt x="108" y="210"/>
                      <a:pt x="110" y="209"/>
                    </a:cubicBezTo>
                    <a:cubicBezTo>
                      <a:pt x="110" y="209"/>
                      <a:pt x="110" y="209"/>
                      <a:pt x="111" y="209"/>
                    </a:cubicBezTo>
                    <a:cubicBezTo>
                      <a:pt x="112" y="209"/>
                      <a:pt x="114" y="210"/>
                      <a:pt x="115" y="210"/>
                    </a:cubicBezTo>
                    <a:cubicBezTo>
                      <a:pt x="118" y="211"/>
                      <a:pt x="119" y="211"/>
                      <a:pt x="121" y="214"/>
                    </a:cubicBezTo>
                    <a:cubicBezTo>
                      <a:pt x="124" y="219"/>
                      <a:pt x="126" y="224"/>
                      <a:pt x="125" y="229"/>
                    </a:cubicBezTo>
                    <a:cubicBezTo>
                      <a:pt x="125" y="234"/>
                      <a:pt x="122" y="237"/>
                      <a:pt x="121" y="241"/>
                    </a:cubicBezTo>
                    <a:cubicBezTo>
                      <a:pt x="121" y="243"/>
                      <a:pt x="121" y="243"/>
                      <a:pt x="122" y="245"/>
                    </a:cubicBezTo>
                    <a:cubicBezTo>
                      <a:pt x="123" y="248"/>
                      <a:pt x="124" y="247"/>
                      <a:pt x="126" y="248"/>
                    </a:cubicBezTo>
                    <a:cubicBezTo>
                      <a:pt x="128" y="248"/>
                      <a:pt x="129" y="249"/>
                      <a:pt x="131" y="249"/>
                    </a:cubicBezTo>
                    <a:cubicBezTo>
                      <a:pt x="132" y="249"/>
                      <a:pt x="132" y="249"/>
                      <a:pt x="133" y="249"/>
                    </a:cubicBezTo>
                    <a:cubicBezTo>
                      <a:pt x="135" y="248"/>
                      <a:pt x="137" y="248"/>
                      <a:pt x="138" y="247"/>
                    </a:cubicBezTo>
                    <a:cubicBezTo>
                      <a:pt x="139" y="246"/>
                      <a:pt x="138" y="245"/>
                      <a:pt x="140" y="245"/>
                    </a:cubicBezTo>
                    <a:cubicBezTo>
                      <a:pt x="140" y="245"/>
                      <a:pt x="140" y="245"/>
                      <a:pt x="140" y="245"/>
                    </a:cubicBezTo>
                    <a:cubicBezTo>
                      <a:pt x="145" y="245"/>
                      <a:pt x="143" y="250"/>
                      <a:pt x="144" y="252"/>
                    </a:cubicBezTo>
                    <a:cubicBezTo>
                      <a:pt x="145" y="253"/>
                      <a:pt x="146" y="254"/>
                      <a:pt x="146" y="255"/>
                    </a:cubicBezTo>
                    <a:cubicBezTo>
                      <a:pt x="146" y="256"/>
                      <a:pt x="144" y="257"/>
                      <a:pt x="142" y="257"/>
                    </a:cubicBezTo>
                    <a:cubicBezTo>
                      <a:pt x="142" y="257"/>
                      <a:pt x="142" y="257"/>
                      <a:pt x="142" y="257"/>
                    </a:cubicBezTo>
                    <a:cubicBezTo>
                      <a:pt x="142" y="257"/>
                      <a:pt x="141" y="257"/>
                      <a:pt x="141" y="257"/>
                    </a:cubicBezTo>
                    <a:cubicBezTo>
                      <a:pt x="140" y="257"/>
                      <a:pt x="139" y="257"/>
                      <a:pt x="139" y="258"/>
                    </a:cubicBezTo>
                    <a:cubicBezTo>
                      <a:pt x="138" y="258"/>
                      <a:pt x="138" y="258"/>
                      <a:pt x="137" y="258"/>
                    </a:cubicBezTo>
                    <a:cubicBezTo>
                      <a:pt x="137" y="258"/>
                      <a:pt x="137" y="258"/>
                      <a:pt x="136" y="258"/>
                    </a:cubicBezTo>
                    <a:cubicBezTo>
                      <a:pt x="136" y="258"/>
                      <a:pt x="136" y="258"/>
                      <a:pt x="136" y="258"/>
                    </a:cubicBezTo>
                    <a:cubicBezTo>
                      <a:pt x="135" y="258"/>
                      <a:pt x="135" y="258"/>
                      <a:pt x="135" y="258"/>
                    </a:cubicBezTo>
                    <a:cubicBezTo>
                      <a:pt x="132" y="258"/>
                      <a:pt x="130" y="261"/>
                      <a:pt x="129" y="264"/>
                    </a:cubicBezTo>
                    <a:cubicBezTo>
                      <a:pt x="129" y="264"/>
                      <a:pt x="126" y="270"/>
                      <a:pt x="125" y="270"/>
                    </a:cubicBezTo>
                    <a:cubicBezTo>
                      <a:pt x="123" y="270"/>
                      <a:pt x="124" y="268"/>
                      <a:pt x="125" y="267"/>
                    </a:cubicBezTo>
                    <a:cubicBezTo>
                      <a:pt x="126" y="264"/>
                      <a:pt x="128" y="260"/>
                      <a:pt x="131" y="258"/>
                    </a:cubicBezTo>
                    <a:cubicBezTo>
                      <a:pt x="133" y="256"/>
                      <a:pt x="135" y="257"/>
                      <a:pt x="137" y="256"/>
                    </a:cubicBezTo>
                    <a:cubicBezTo>
                      <a:pt x="141" y="255"/>
                      <a:pt x="140" y="251"/>
                      <a:pt x="138" y="251"/>
                    </a:cubicBezTo>
                    <a:cubicBezTo>
                      <a:pt x="137" y="251"/>
                      <a:pt x="137" y="251"/>
                      <a:pt x="136" y="251"/>
                    </a:cubicBezTo>
                    <a:cubicBezTo>
                      <a:pt x="135" y="252"/>
                      <a:pt x="134" y="252"/>
                      <a:pt x="133" y="252"/>
                    </a:cubicBezTo>
                    <a:cubicBezTo>
                      <a:pt x="132" y="252"/>
                      <a:pt x="131" y="252"/>
                      <a:pt x="130" y="251"/>
                    </a:cubicBezTo>
                    <a:cubicBezTo>
                      <a:pt x="128" y="251"/>
                      <a:pt x="125" y="251"/>
                      <a:pt x="122" y="251"/>
                    </a:cubicBezTo>
                    <a:cubicBezTo>
                      <a:pt x="119" y="250"/>
                      <a:pt x="115" y="250"/>
                      <a:pt x="112" y="249"/>
                    </a:cubicBezTo>
                    <a:cubicBezTo>
                      <a:pt x="107" y="249"/>
                      <a:pt x="102" y="249"/>
                      <a:pt x="98" y="247"/>
                    </a:cubicBezTo>
                    <a:cubicBezTo>
                      <a:pt x="98" y="247"/>
                      <a:pt x="97" y="246"/>
                      <a:pt x="97" y="246"/>
                    </a:cubicBezTo>
                    <a:cubicBezTo>
                      <a:pt x="96" y="246"/>
                      <a:pt x="96" y="246"/>
                      <a:pt x="96" y="247"/>
                    </a:cubicBezTo>
                    <a:cubicBezTo>
                      <a:pt x="96" y="247"/>
                      <a:pt x="94" y="249"/>
                      <a:pt x="93" y="249"/>
                    </a:cubicBezTo>
                    <a:cubicBezTo>
                      <a:pt x="93" y="249"/>
                      <a:pt x="93" y="249"/>
                      <a:pt x="93" y="249"/>
                    </a:cubicBezTo>
                    <a:cubicBezTo>
                      <a:pt x="92" y="249"/>
                      <a:pt x="91" y="248"/>
                      <a:pt x="91" y="248"/>
                    </a:cubicBezTo>
                    <a:cubicBezTo>
                      <a:pt x="90" y="248"/>
                      <a:pt x="89" y="250"/>
                      <a:pt x="88" y="251"/>
                    </a:cubicBezTo>
                    <a:cubicBezTo>
                      <a:pt x="87" y="252"/>
                      <a:pt x="87" y="254"/>
                      <a:pt x="86" y="255"/>
                    </a:cubicBezTo>
                    <a:cubicBezTo>
                      <a:pt x="84" y="257"/>
                      <a:pt x="84" y="257"/>
                      <a:pt x="84" y="257"/>
                    </a:cubicBezTo>
                    <a:cubicBezTo>
                      <a:pt x="83" y="257"/>
                      <a:pt x="81" y="257"/>
                      <a:pt x="82" y="258"/>
                    </a:cubicBezTo>
                    <a:cubicBezTo>
                      <a:pt x="83" y="260"/>
                      <a:pt x="85" y="262"/>
                      <a:pt x="87" y="263"/>
                    </a:cubicBezTo>
                    <a:cubicBezTo>
                      <a:pt x="87" y="264"/>
                      <a:pt x="87" y="266"/>
                      <a:pt x="88" y="266"/>
                    </a:cubicBezTo>
                    <a:cubicBezTo>
                      <a:pt x="88" y="266"/>
                      <a:pt x="88" y="266"/>
                      <a:pt x="88" y="266"/>
                    </a:cubicBezTo>
                    <a:cubicBezTo>
                      <a:pt x="89" y="266"/>
                      <a:pt x="89" y="266"/>
                      <a:pt x="89" y="266"/>
                    </a:cubicBezTo>
                    <a:cubicBezTo>
                      <a:pt x="89" y="266"/>
                      <a:pt x="90" y="266"/>
                      <a:pt x="90" y="266"/>
                    </a:cubicBezTo>
                    <a:cubicBezTo>
                      <a:pt x="90" y="266"/>
                      <a:pt x="90" y="266"/>
                      <a:pt x="90" y="266"/>
                    </a:cubicBezTo>
                    <a:cubicBezTo>
                      <a:pt x="90" y="266"/>
                      <a:pt x="92" y="266"/>
                      <a:pt x="93" y="267"/>
                    </a:cubicBezTo>
                    <a:cubicBezTo>
                      <a:pt x="93" y="267"/>
                      <a:pt x="93" y="267"/>
                      <a:pt x="93" y="267"/>
                    </a:cubicBezTo>
                    <a:cubicBezTo>
                      <a:pt x="93" y="267"/>
                      <a:pt x="93" y="267"/>
                      <a:pt x="93" y="267"/>
                    </a:cubicBezTo>
                    <a:cubicBezTo>
                      <a:pt x="93" y="267"/>
                      <a:pt x="92" y="268"/>
                      <a:pt x="92" y="268"/>
                    </a:cubicBezTo>
                    <a:cubicBezTo>
                      <a:pt x="91" y="268"/>
                      <a:pt x="91" y="268"/>
                      <a:pt x="90" y="268"/>
                    </a:cubicBezTo>
                    <a:cubicBezTo>
                      <a:pt x="90" y="268"/>
                      <a:pt x="89" y="268"/>
                      <a:pt x="89" y="267"/>
                    </a:cubicBezTo>
                    <a:cubicBezTo>
                      <a:pt x="89" y="267"/>
                      <a:pt x="89" y="267"/>
                      <a:pt x="89" y="267"/>
                    </a:cubicBezTo>
                    <a:cubicBezTo>
                      <a:pt x="88" y="267"/>
                      <a:pt x="87" y="268"/>
                      <a:pt x="87" y="268"/>
                    </a:cubicBezTo>
                    <a:cubicBezTo>
                      <a:pt x="86" y="269"/>
                      <a:pt x="86" y="269"/>
                      <a:pt x="85" y="269"/>
                    </a:cubicBezTo>
                    <a:cubicBezTo>
                      <a:pt x="84" y="269"/>
                      <a:pt x="83" y="268"/>
                      <a:pt x="81" y="267"/>
                    </a:cubicBezTo>
                    <a:cubicBezTo>
                      <a:pt x="80" y="266"/>
                      <a:pt x="79" y="266"/>
                      <a:pt x="78" y="266"/>
                    </a:cubicBezTo>
                    <a:cubicBezTo>
                      <a:pt x="78" y="266"/>
                      <a:pt x="77" y="266"/>
                      <a:pt x="76" y="266"/>
                    </a:cubicBezTo>
                    <a:cubicBezTo>
                      <a:pt x="75" y="266"/>
                      <a:pt x="72" y="265"/>
                      <a:pt x="70" y="265"/>
                    </a:cubicBezTo>
                    <a:cubicBezTo>
                      <a:pt x="70" y="265"/>
                      <a:pt x="70" y="265"/>
                      <a:pt x="70" y="265"/>
                    </a:cubicBezTo>
                    <a:cubicBezTo>
                      <a:pt x="69" y="265"/>
                      <a:pt x="69" y="266"/>
                      <a:pt x="68" y="267"/>
                    </a:cubicBezTo>
                    <a:cubicBezTo>
                      <a:pt x="68" y="267"/>
                      <a:pt x="68" y="267"/>
                      <a:pt x="68" y="267"/>
                    </a:cubicBezTo>
                    <a:cubicBezTo>
                      <a:pt x="67" y="271"/>
                      <a:pt x="68" y="272"/>
                      <a:pt x="72" y="273"/>
                    </a:cubicBezTo>
                    <a:cubicBezTo>
                      <a:pt x="73" y="274"/>
                      <a:pt x="74" y="274"/>
                      <a:pt x="75" y="274"/>
                    </a:cubicBezTo>
                    <a:cubicBezTo>
                      <a:pt x="82" y="275"/>
                      <a:pt x="82" y="283"/>
                      <a:pt x="85" y="288"/>
                    </a:cubicBezTo>
                    <a:cubicBezTo>
                      <a:pt x="86" y="291"/>
                      <a:pt x="87" y="293"/>
                      <a:pt x="88" y="296"/>
                    </a:cubicBezTo>
                    <a:cubicBezTo>
                      <a:pt x="88" y="297"/>
                      <a:pt x="88" y="297"/>
                      <a:pt x="88" y="298"/>
                    </a:cubicBezTo>
                    <a:cubicBezTo>
                      <a:pt x="88" y="298"/>
                      <a:pt x="87" y="299"/>
                      <a:pt x="87" y="299"/>
                    </a:cubicBezTo>
                    <a:cubicBezTo>
                      <a:pt x="87" y="300"/>
                      <a:pt x="88" y="300"/>
                      <a:pt x="88" y="300"/>
                    </a:cubicBezTo>
                    <a:cubicBezTo>
                      <a:pt x="89" y="300"/>
                      <a:pt x="90" y="300"/>
                      <a:pt x="91" y="300"/>
                    </a:cubicBezTo>
                    <a:cubicBezTo>
                      <a:pt x="91" y="299"/>
                      <a:pt x="92" y="299"/>
                      <a:pt x="93" y="299"/>
                    </a:cubicBezTo>
                    <a:cubicBezTo>
                      <a:pt x="93" y="299"/>
                      <a:pt x="94" y="299"/>
                      <a:pt x="94" y="299"/>
                    </a:cubicBezTo>
                    <a:cubicBezTo>
                      <a:pt x="97" y="300"/>
                      <a:pt x="97" y="305"/>
                      <a:pt x="100" y="306"/>
                    </a:cubicBezTo>
                    <a:cubicBezTo>
                      <a:pt x="100" y="307"/>
                      <a:pt x="100" y="307"/>
                      <a:pt x="101" y="307"/>
                    </a:cubicBezTo>
                    <a:cubicBezTo>
                      <a:pt x="101" y="307"/>
                      <a:pt x="102" y="306"/>
                      <a:pt x="102" y="306"/>
                    </a:cubicBezTo>
                    <a:cubicBezTo>
                      <a:pt x="102" y="306"/>
                      <a:pt x="103" y="306"/>
                      <a:pt x="103" y="306"/>
                    </a:cubicBezTo>
                    <a:cubicBezTo>
                      <a:pt x="104" y="306"/>
                      <a:pt x="104" y="306"/>
                      <a:pt x="104" y="306"/>
                    </a:cubicBezTo>
                    <a:cubicBezTo>
                      <a:pt x="105" y="306"/>
                      <a:pt x="105" y="306"/>
                      <a:pt x="106" y="307"/>
                    </a:cubicBezTo>
                    <a:cubicBezTo>
                      <a:pt x="106" y="308"/>
                      <a:pt x="106" y="308"/>
                      <a:pt x="106" y="308"/>
                    </a:cubicBezTo>
                    <a:cubicBezTo>
                      <a:pt x="107" y="308"/>
                      <a:pt x="107" y="308"/>
                      <a:pt x="107" y="308"/>
                    </a:cubicBezTo>
                    <a:cubicBezTo>
                      <a:pt x="107" y="308"/>
                      <a:pt x="107" y="308"/>
                      <a:pt x="107" y="308"/>
                    </a:cubicBezTo>
                    <a:cubicBezTo>
                      <a:pt x="107" y="308"/>
                      <a:pt x="107" y="308"/>
                      <a:pt x="107" y="308"/>
                    </a:cubicBezTo>
                    <a:cubicBezTo>
                      <a:pt x="107" y="308"/>
                      <a:pt x="107" y="308"/>
                      <a:pt x="107" y="308"/>
                    </a:cubicBezTo>
                    <a:cubicBezTo>
                      <a:pt x="107" y="308"/>
                      <a:pt x="108" y="308"/>
                      <a:pt x="108" y="308"/>
                    </a:cubicBezTo>
                    <a:cubicBezTo>
                      <a:pt x="108" y="308"/>
                      <a:pt x="109" y="308"/>
                      <a:pt x="109" y="307"/>
                    </a:cubicBezTo>
                    <a:cubicBezTo>
                      <a:pt x="109" y="307"/>
                      <a:pt x="110" y="307"/>
                      <a:pt x="110" y="307"/>
                    </a:cubicBezTo>
                    <a:cubicBezTo>
                      <a:pt x="110" y="307"/>
                      <a:pt x="111" y="307"/>
                      <a:pt x="111" y="308"/>
                    </a:cubicBezTo>
                    <a:cubicBezTo>
                      <a:pt x="113" y="308"/>
                      <a:pt x="114" y="309"/>
                      <a:pt x="115" y="310"/>
                    </a:cubicBezTo>
                    <a:cubicBezTo>
                      <a:pt x="115" y="310"/>
                      <a:pt x="114" y="310"/>
                      <a:pt x="113" y="310"/>
                    </a:cubicBezTo>
                    <a:cubicBezTo>
                      <a:pt x="113" y="310"/>
                      <a:pt x="113" y="310"/>
                      <a:pt x="113" y="310"/>
                    </a:cubicBezTo>
                    <a:cubicBezTo>
                      <a:pt x="115" y="313"/>
                      <a:pt x="114" y="315"/>
                      <a:pt x="112" y="318"/>
                    </a:cubicBezTo>
                    <a:cubicBezTo>
                      <a:pt x="111" y="320"/>
                      <a:pt x="110" y="322"/>
                      <a:pt x="109" y="323"/>
                    </a:cubicBezTo>
                    <a:cubicBezTo>
                      <a:pt x="109" y="325"/>
                      <a:pt x="109" y="327"/>
                      <a:pt x="109" y="329"/>
                    </a:cubicBezTo>
                    <a:cubicBezTo>
                      <a:pt x="110" y="329"/>
                      <a:pt x="110" y="328"/>
                      <a:pt x="111" y="328"/>
                    </a:cubicBezTo>
                    <a:cubicBezTo>
                      <a:pt x="112" y="327"/>
                      <a:pt x="113" y="326"/>
                      <a:pt x="114" y="325"/>
                    </a:cubicBezTo>
                    <a:cubicBezTo>
                      <a:pt x="116" y="324"/>
                      <a:pt x="117" y="323"/>
                      <a:pt x="118" y="322"/>
                    </a:cubicBezTo>
                    <a:cubicBezTo>
                      <a:pt x="122" y="320"/>
                      <a:pt x="127" y="318"/>
                      <a:pt x="131" y="317"/>
                    </a:cubicBezTo>
                    <a:cubicBezTo>
                      <a:pt x="133" y="317"/>
                      <a:pt x="135" y="317"/>
                      <a:pt x="137" y="316"/>
                    </a:cubicBezTo>
                    <a:cubicBezTo>
                      <a:pt x="138" y="316"/>
                      <a:pt x="138" y="316"/>
                      <a:pt x="138" y="316"/>
                    </a:cubicBezTo>
                    <a:cubicBezTo>
                      <a:pt x="139" y="316"/>
                      <a:pt x="140" y="316"/>
                      <a:pt x="141" y="316"/>
                    </a:cubicBezTo>
                    <a:cubicBezTo>
                      <a:pt x="141" y="316"/>
                      <a:pt x="142" y="316"/>
                      <a:pt x="142" y="316"/>
                    </a:cubicBezTo>
                    <a:cubicBezTo>
                      <a:pt x="144" y="316"/>
                      <a:pt x="145" y="317"/>
                      <a:pt x="146" y="318"/>
                    </a:cubicBezTo>
                    <a:cubicBezTo>
                      <a:pt x="148" y="319"/>
                      <a:pt x="151" y="322"/>
                      <a:pt x="153" y="324"/>
                    </a:cubicBezTo>
                    <a:cubicBezTo>
                      <a:pt x="153" y="324"/>
                      <a:pt x="153" y="324"/>
                      <a:pt x="153" y="324"/>
                    </a:cubicBezTo>
                    <a:cubicBezTo>
                      <a:pt x="154" y="325"/>
                      <a:pt x="156" y="326"/>
                      <a:pt x="157" y="327"/>
                    </a:cubicBezTo>
                    <a:cubicBezTo>
                      <a:pt x="158" y="328"/>
                      <a:pt x="158" y="328"/>
                      <a:pt x="158" y="328"/>
                    </a:cubicBezTo>
                    <a:cubicBezTo>
                      <a:pt x="159" y="329"/>
                      <a:pt x="161" y="330"/>
                      <a:pt x="162" y="332"/>
                    </a:cubicBezTo>
                    <a:cubicBezTo>
                      <a:pt x="163" y="333"/>
                      <a:pt x="163" y="334"/>
                      <a:pt x="164" y="335"/>
                    </a:cubicBezTo>
                    <a:cubicBezTo>
                      <a:pt x="164" y="335"/>
                      <a:pt x="164" y="335"/>
                      <a:pt x="164" y="335"/>
                    </a:cubicBezTo>
                    <a:cubicBezTo>
                      <a:pt x="165" y="337"/>
                      <a:pt x="167" y="338"/>
                      <a:pt x="168" y="339"/>
                    </a:cubicBezTo>
                    <a:cubicBezTo>
                      <a:pt x="168" y="339"/>
                      <a:pt x="168" y="340"/>
                      <a:pt x="169" y="340"/>
                    </a:cubicBezTo>
                    <a:cubicBezTo>
                      <a:pt x="169" y="340"/>
                      <a:pt x="170" y="340"/>
                      <a:pt x="172" y="340"/>
                    </a:cubicBezTo>
                    <a:cubicBezTo>
                      <a:pt x="173" y="339"/>
                      <a:pt x="174" y="339"/>
                      <a:pt x="175" y="339"/>
                    </a:cubicBezTo>
                    <a:cubicBezTo>
                      <a:pt x="175" y="297"/>
                      <a:pt x="175" y="297"/>
                      <a:pt x="175" y="297"/>
                    </a:cubicBezTo>
                    <a:cubicBezTo>
                      <a:pt x="175" y="284"/>
                      <a:pt x="175" y="271"/>
                      <a:pt x="175" y="258"/>
                    </a:cubicBezTo>
                    <a:cubicBezTo>
                      <a:pt x="175" y="257"/>
                      <a:pt x="175" y="257"/>
                      <a:pt x="175" y="257"/>
                    </a:cubicBezTo>
                    <a:cubicBezTo>
                      <a:pt x="175" y="255"/>
                      <a:pt x="176" y="254"/>
                      <a:pt x="179" y="254"/>
                    </a:cubicBezTo>
                    <a:cubicBezTo>
                      <a:pt x="180" y="253"/>
                      <a:pt x="181" y="253"/>
                      <a:pt x="183" y="252"/>
                    </a:cubicBezTo>
                    <a:cubicBezTo>
                      <a:pt x="184" y="252"/>
                      <a:pt x="185" y="252"/>
                      <a:pt x="185" y="252"/>
                    </a:cubicBezTo>
                    <a:cubicBezTo>
                      <a:pt x="193" y="250"/>
                      <a:pt x="202" y="247"/>
                      <a:pt x="210" y="245"/>
                    </a:cubicBezTo>
                    <a:cubicBezTo>
                      <a:pt x="218" y="243"/>
                      <a:pt x="218" y="243"/>
                      <a:pt x="218" y="243"/>
                    </a:cubicBezTo>
                    <a:cubicBezTo>
                      <a:pt x="220" y="242"/>
                      <a:pt x="222" y="242"/>
                      <a:pt x="223" y="242"/>
                    </a:cubicBezTo>
                    <a:cubicBezTo>
                      <a:pt x="225" y="241"/>
                      <a:pt x="225" y="241"/>
                      <a:pt x="225" y="241"/>
                    </a:cubicBezTo>
                    <a:cubicBezTo>
                      <a:pt x="225" y="241"/>
                      <a:pt x="225" y="241"/>
                      <a:pt x="226" y="241"/>
                    </a:cubicBezTo>
                    <a:cubicBezTo>
                      <a:pt x="227" y="241"/>
                      <a:pt x="227" y="241"/>
                      <a:pt x="228" y="241"/>
                    </a:cubicBezTo>
                    <a:cubicBezTo>
                      <a:pt x="228" y="240"/>
                      <a:pt x="228" y="239"/>
                      <a:pt x="229" y="238"/>
                    </a:cubicBezTo>
                    <a:cubicBezTo>
                      <a:pt x="230" y="237"/>
                      <a:pt x="231" y="236"/>
                      <a:pt x="232" y="235"/>
                    </a:cubicBezTo>
                    <a:cubicBezTo>
                      <a:pt x="232" y="235"/>
                      <a:pt x="232" y="235"/>
                      <a:pt x="232" y="235"/>
                    </a:cubicBezTo>
                    <a:cubicBezTo>
                      <a:pt x="233" y="235"/>
                      <a:pt x="233" y="236"/>
                      <a:pt x="234" y="236"/>
                    </a:cubicBezTo>
                    <a:cubicBezTo>
                      <a:pt x="234" y="236"/>
                      <a:pt x="234" y="236"/>
                      <a:pt x="234" y="236"/>
                    </a:cubicBezTo>
                    <a:cubicBezTo>
                      <a:pt x="234" y="236"/>
                      <a:pt x="234" y="236"/>
                      <a:pt x="234" y="236"/>
                    </a:cubicBezTo>
                    <a:cubicBezTo>
                      <a:pt x="234" y="236"/>
                      <a:pt x="234" y="236"/>
                      <a:pt x="234" y="236"/>
                    </a:cubicBezTo>
                    <a:cubicBezTo>
                      <a:pt x="234" y="235"/>
                      <a:pt x="234" y="235"/>
                      <a:pt x="234" y="235"/>
                    </a:cubicBezTo>
                    <a:cubicBezTo>
                      <a:pt x="235" y="235"/>
                      <a:pt x="235" y="235"/>
                      <a:pt x="235" y="235"/>
                    </a:cubicBezTo>
                    <a:cubicBezTo>
                      <a:pt x="235" y="235"/>
                      <a:pt x="235" y="235"/>
                      <a:pt x="236" y="235"/>
                    </a:cubicBezTo>
                    <a:cubicBezTo>
                      <a:pt x="236" y="235"/>
                      <a:pt x="236" y="235"/>
                      <a:pt x="236" y="235"/>
                    </a:cubicBezTo>
                    <a:cubicBezTo>
                      <a:pt x="236" y="235"/>
                      <a:pt x="236" y="235"/>
                      <a:pt x="236" y="235"/>
                    </a:cubicBezTo>
                    <a:cubicBezTo>
                      <a:pt x="236" y="235"/>
                      <a:pt x="237" y="235"/>
                      <a:pt x="237" y="235"/>
                    </a:cubicBezTo>
                    <a:cubicBezTo>
                      <a:pt x="237" y="235"/>
                      <a:pt x="237" y="235"/>
                      <a:pt x="238" y="235"/>
                    </a:cubicBezTo>
                    <a:cubicBezTo>
                      <a:pt x="238" y="235"/>
                      <a:pt x="238" y="235"/>
                      <a:pt x="238" y="235"/>
                    </a:cubicBezTo>
                    <a:cubicBezTo>
                      <a:pt x="239" y="235"/>
                      <a:pt x="239" y="234"/>
                      <a:pt x="240" y="234"/>
                    </a:cubicBezTo>
                    <a:cubicBezTo>
                      <a:pt x="240" y="234"/>
                      <a:pt x="240" y="234"/>
                      <a:pt x="240" y="234"/>
                    </a:cubicBezTo>
                    <a:cubicBezTo>
                      <a:pt x="242" y="234"/>
                      <a:pt x="240" y="236"/>
                      <a:pt x="239" y="237"/>
                    </a:cubicBezTo>
                    <a:cubicBezTo>
                      <a:pt x="239" y="238"/>
                      <a:pt x="238" y="240"/>
                      <a:pt x="240" y="241"/>
                    </a:cubicBezTo>
                    <a:cubicBezTo>
                      <a:pt x="240" y="241"/>
                      <a:pt x="240" y="241"/>
                      <a:pt x="240" y="241"/>
                    </a:cubicBezTo>
                    <a:cubicBezTo>
                      <a:pt x="240" y="241"/>
                      <a:pt x="241" y="241"/>
                      <a:pt x="241" y="241"/>
                    </a:cubicBezTo>
                    <a:cubicBezTo>
                      <a:pt x="242" y="240"/>
                      <a:pt x="242" y="240"/>
                      <a:pt x="242" y="240"/>
                    </a:cubicBezTo>
                    <a:cubicBezTo>
                      <a:pt x="243" y="240"/>
                      <a:pt x="243" y="240"/>
                      <a:pt x="243" y="242"/>
                    </a:cubicBezTo>
                    <a:cubicBezTo>
                      <a:pt x="243" y="241"/>
                      <a:pt x="244" y="240"/>
                      <a:pt x="245" y="240"/>
                    </a:cubicBezTo>
                    <a:cubicBezTo>
                      <a:pt x="245" y="240"/>
                      <a:pt x="245" y="240"/>
                      <a:pt x="245" y="240"/>
                    </a:cubicBezTo>
                    <a:cubicBezTo>
                      <a:pt x="246" y="240"/>
                      <a:pt x="247" y="240"/>
                      <a:pt x="247" y="240"/>
                    </a:cubicBezTo>
                    <a:cubicBezTo>
                      <a:pt x="247" y="240"/>
                      <a:pt x="247" y="238"/>
                      <a:pt x="247" y="238"/>
                    </a:cubicBezTo>
                    <a:cubicBezTo>
                      <a:pt x="247" y="237"/>
                      <a:pt x="247" y="236"/>
                      <a:pt x="248" y="235"/>
                    </a:cubicBezTo>
                    <a:cubicBezTo>
                      <a:pt x="249" y="233"/>
                      <a:pt x="248" y="232"/>
                      <a:pt x="247" y="230"/>
                    </a:cubicBezTo>
                    <a:cubicBezTo>
                      <a:pt x="246" y="229"/>
                      <a:pt x="245" y="228"/>
                      <a:pt x="245" y="227"/>
                    </a:cubicBezTo>
                    <a:cubicBezTo>
                      <a:pt x="245" y="227"/>
                      <a:pt x="245" y="226"/>
                      <a:pt x="245" y="226"/>
                    </a:cubicBezTo>
                    <a:cubicBezTo>
                      <a:pt x="245" y="226"/>
                      <a:pt x="245" y="226"/>
                      <a:pt x="245" y="227"/>
                    </a:cubicBezTo>
                    <a:cubicBezTo>
                      <a:pt x="245" y="227"/>
                      <a:pt x="245" y="227"/>
                      <a:pt x="246" y="227"/>
                    </a:cubicBezTo>
                    <a:cubicBezTo>
                      <a:pt x="246" y="227"/>
                      <a:pt x="246" y="227"/>
                      <a:pt x="246" y="227"/>
                    </a:cubicBezTo>
                    <a:cubicBezTo>
                      <a:pt x="247" y="226"/>
                      <a:pt x="247" y="226"/>
                      <a:pt x="248" y="226"/>
                    </a:cubicBezTo>
                    <a:cubicBezTo>
                      <a:pt x="249" y="226"/>
                      <a:pt x="249" y="227"/>
                      <a:pt x="250" y="229"/>
                    </a:cubicBezTo>
                    <a:cubicBezTo>
                      <a:pt x="250" y="229"/>
                      <a:pt x="250" y="230"/>
                      <a:pt x="250" y="231"/>
                    </a:cubicBezTo>
                    <a:cubicBezTo>
                      <a:pt x="250" y="232"/>
                      <a:pt x="248" y="232"/>
                      <a:pt x="249" y="233"/>
                    </a:cubicBezTo>
                    <a:cubicBezTo>
                      <a:pt x="249" y="233"/>
                      <a:pt x="249" y="233"/>
                      <a:pt x="250" y="233"/>
                    </a:cubicBezTo>
                    <a:cubicBezTo>
                      <a:pt x="250" y="233"/>
                      <a:pt x="252" y="232"/>
                      <a:pt x="253" y="232"/>
                    </a:cubicBezTo>
                    <a:cubicBezTo>
                      <a:pt x="253" y="232"/>
                      <a:pt x="253" y="232"/>
                      <a:pt x="254" y="232"/>
                    </a:cubicBezTo>
                    <a:cubicBezTo>
                      <a:pt x="254" y="232"/>
                      <a:pt x="254" y="232"/>
                      <a:pt x="254" y="232"/>
                    </a:cubicBezTo>
                    <a:cubicBezTo>
                      <a:pt x="255" y="232"/>
                      <a:pt x="255" y="232"/>
                      <a:pt x="255" y="232"/>
                    </a:cubicBezTo>
                    <a:cubicBezTo>
                      <a:pt x="255" y="232"/>
                      <a:pt x="255" y="232"/>
                      <a:pt x="255" y="232"/>
                    </a:cubicBezTo>
                    <a:cubicBezTo>
                      <a:pt x="257" y="232"/>
                      <a:pt x="258" y="232"/>
                      <a:pt x="259" y="232"/>
                    </a:cubicBezTo>
                    <a:cubicBezTo>
                      <a:pt x="260" y="232"/>
                      <a:pt x="260" y="232"/>
                      <a:pt x="261" y="232"/>
                    </a:cubicBezTo>
                    <a:cubicBezTo>
                      <a:pt x="263" y="232"/>
                      <a:pt x="266" y="232"/>
                      <a:pt x="267" y="233"/>
                    </a:cubicBezTo>
                    <a:cubicBezTo>
                      <a:pt x="267" y="234"/>
                      <a:pt x="265" y="234"/>
                      <a:pt x="264" y="235"/>
                    </a:cubicBezTo>
                    <a:cubicBezTo>
                      <a:pt x="263" y="237"/>
                      <a:pt x="263" y="237"/>
                      <a:pt x="262" y="237"/>
                    </a:cubicBezTo>
                    <a:cubicBezTo>
                      <a:pt x="261" y="237"/>
                      <a:pt x="261" y="237"/>
                      <a:pt x="260" y="237"/>
                    </a:cubicBezTo>
                    <a:cubicBezTo>
                      <a:pt x="259" y="237"/>
                      <a:pt x="257" y="237"/>
                      <a:pt x="256" y="236"/>
                    </a:cubicBezTo>
                    <a:cubicBezTo>
                      <a:pt x="255" y="236"/>
                      <a:pt x="253" y="236"/>
                      <a:pt x="252" y="236"/>
                    </a:cubicBezTo>
                    <a:cubicBezTo>
                      <a:pt x="252" y="236"/>
                      <a:pt x="252" y="236"/>
                      <a:pt x="251" y="236"/>
                    </a:cubicBezTo>
                    <a:cubicBezTo>
                      <a:pt x="252" y="235"/>
                      <a:pt x="252" y="235"/>
                      <a:pt x="252" y="235"/>
                    </a:cubicBezTo>
                    <a:cubicBezTo>
                      <a:pt x="251" y="235"/>
                      <a:pt x="251" y="235"/>
                      <a:pt x="250" y="235"/>
                    </a:cubicBezTo>
                    <a:cubicBezTo>
                      <a:pt x="250" y="235"/>
                      <a:pt x="250" y="235"/>
                      <a:pt x="249" y="235"/>
                    </a:cubicBezTo>
                    <a:cubicBezTo>
                      <a:pt x="251" y="235"/>
                      <a:pt x="251" y="236"/>
                      <a:pt x="249" y="237"/>
                    </a:cubicBezTo>
                    <a:cubicBezTo>
                      <a:pt x="250" y="237"/>
                      <a:pt x="251" y="237"/>
                      <a:pt x="251" y="237"/>
                    </a:cubicBezTo>
                    <a:cubicBezTo>
                      <a:pt x="251" y="238"/>
                      <a:pt x="249" y="238"/>
                      <a:pt x="249" y="238"/>
                    </a:cubicBezTo>
                    <a:cubicBezTo>
                      <a:pt x="249" y="238"/>
                      <a:pt x="251" y="239"/>
                      <a:pt x="249" y="239"/>
                    </a:cubicBezTo>
                    <a:cubicBezTo>
                      <a:pt x="250" y="240"/>
                      <a:pt x="247" y="242"/>
                      <a:pt x="249" y="244"/>
                    </a:cubicBezTo>
                    <a:cubicBezTo>
                      <a:pt x="249" y="244"/>
                      <a:pt x="250" y="244"/>
                      <a:pt x="250" y="244"/>
                    </a:cubicBezTo>
                    <a:cubicBezTo>
                      <a:pt x="251" y="244"/>
                      <a:pt x="251" y="244"/>
                      <a:pt x="252" y="244"/>
                    </a:cubicBezTo>
                    <a:cubicBezTo>
                      <a:pt x="252" y="244"/>
                      <a:pt x="253" y="244"/>
                      <a:pt x="254" y="244"/>
                    </a:cubicBezTo>
                    <a:cubicBezTo>
                      <a:pt x="254" y="244"/>
                      <a:pt x="255" y="244"/>
                      <a:pt x="256" y="245"/>
                    </a:cubicBezTo>
                    <a:cubicBezTo>
                      <a:pt x="257" y="248"/>
                      <a:pt x="256" y="254"/>
                      <a:pt x="256" y="258"/>
                    </a:cubicBezTo>
                    <a:cubicBezTo>
                      <a:pt x="257" y="258"/>
                      <a:pt x="257" y="258"/>
                      <a:pt x="257" y="258"/>
                    </a:cubicBezTo>
                    <a:cubicBezTo>
                      <a:pt x="258" y="259"/>
                      <a:pt x="259" y="259"/>
                      <a:pt x="260" y="260"/>
                    </a:cubicBezTo>
                    <a:cubicBezTo>
                      <a:pt x="268" y="265"/>
                      <a:pt x="275" y="269"/>
                      <a:pt x="277" y="272"/>
                    </a:cubicBezTo>
                    <a:cubicBezTo>
                      <a:pt x="279" y="274"/>
                      <a:pt x="282" y="278"/>
                      <a:pt x="282" y="278"/>
                    </a:cubicBezTo>
                    <a:cubicBezTo>
                      <a:pt x="284" y="281"/>
                      <a:pt x="287" y="283"/>
                      <a:pt x="289" y="285"/>
                    </a:cubicBezTo>
                    <a:cubicBezTo>
                      <a:pt x="289" y="286"/>
                      <a:pt x="290" y="286"/>
                      <a:pt x="290" y="287"/>
                    </a:cubicBezTo>
                    <a:cubicBezTo>
                      <a:pt x="291" y="287"/>
                      <a:pt x="291" y="287"/>
                      <a:pt x="291" y="287"/>
                    </a:cubicBezTo>
                    <a:cubicBezTo>
                      <a:pt x="291" y="287"/>
                      <a:pt x="292" y="288"/>
                      <a:pt x="292" y="288"/>
                    </a:cubicBezTo>
                    <a:cubicBezTo>
                      <a:pt x="293" y="289"/>
                      <a:pt x="293" y="289"/>
                      <a:pt x="293" y="289"/>
                    </a:cubicBezTo>
                    <a:cubicBezTo>
                      <a:pt x="294" y="289"/>
                      <a:pt x="294" y="289"/>
                      <a:pt x="294" y="289"/>
                    </a:cubicBezTo>
                    <a:cubicBezTo>
                      <a:pt x="294" y="289"/>
                      <a:pt x="294" y="289"/>
                      <a:pt x="295" y="289"/>
                    </a:cubicBezTo>
                    <a:cubicBezTo>
                      <a:pt x="297" y="289"/>
                      <a:pt x="300" y="288"/>
                      <a:pt x="303" y="288"/>
                    </a:cubicBezTo>
                    <a:cubicBezTo>
                      <a:pt x="306" y="287"/>
                      <a:pt x="311" y="286"/>
                      <a:pt x="315" y="286"/>
                    </a:cubicBezTo>
                    <a:cubicBezTo>
                      <a:pt x="316" y="286"/>
                      <a:pt x="316" y="286"/>
                      <a:pt x="317" y="286"/>
                    </a:cubicBezTo>
                    <a:cubicBezTo>
                      <a:pt x="320" y="286"/>
                      <a:pt x="323" y="286"/>
                      <a:pt x="326" y="287"/>
                    </a:cubicBezTo>
                    <a:cubicBezTo>
                      <a:pt x="327" y="287"/>
                      <a:pt x="327" y="287"/>
                      <a:pt x="327" y="287"/>
                    </a:cubicBezTo>
                    <a:cubicBezTo>
                      <a:pt x="329" y="287"/>
                      <a:pt x="331" y="287"/>
                      <a:pt x="333" y="287"/>
                    </a:cubicBezTo>
                    <a:cubicBezTo>
                      <a:pt x="338" y="287"/>
                      <a:pt x="338" y="287"/>
                      <a:pt x="338" y="287"/>
                    </a:cubicBezTo>
                    <a:cubicBezTo>
                      <a:pt x="339" y="287"/>
                      <a:pt x="340" y="287"/>
                      <a:pt x="341" y="287"/>
                    </a:cubicBezTo>
                    <a:cubicBezTo>
                      <a:pt x="342" y="286"/>
                      <a:pt x="342" y="286"/>
                      <a:pt x="342" y="286"/>
                    </a:cubicBezTo>
                    <a:cubicBezTo>
                      <a:pt x="343" y="286"/>
                      <a:pt x="343" y="286"/>
                      <a:pt x="343" y="286"/>
                    </a:cubicBezTo>
                    <a:cubicBezTo>
                      <a:pt x="344" y="285"/>
                      <a:pt x="346" y="284"/>
                      <a:pt x="348" y="284"/>
                    </a:cubicBezTo>
                    <a:cubicBezTo>
                      <a:pt x="348" y="284"/>
                      <a:pt x="348" y="284"/>
                      <a:pt x="348" y="284"/>
                    </a:cubicBezTo>
                    <a:cubicBezTo>
                      <a:pt x="349" y="284"/>
                      <a:pt x="350" y="285"/>
                      <a:pt x="351" y="286"/>
                    </a:cubicBezTo>
                    <a:cubicBezTo>
                      <a:pt x="352" y="287"/>
                      <a:pt x="353" y="288"/>
                      <a:pt x="354" y="289"/>
                    </a:cubicBezTo>
                    <a:cubicBezTo>
                      <a:pt x="356" y="291"/>
                      <a:pt x="356" y="291"/>
                      <a:pt x="356" y="291"/>
                    </a:cubicBezTo>
                    <a:cubicBezTo>
                      <a:pt x="357" y="292"/>
                      <a:pt x="357" y="292"/>
                      <a:pt x="357" y="292"/>
                    </a:cubicBezTo>
                    <a:cubicBezTo>
                      <a:pt x="358" y="293"/>
                      <a:pt x="358" y="293"/>
                      <a:pt x="358" y="293"/>
                    </a:cubicBezTo>
                    <a:cubicBezTo>
                      <a:pt x="360" y="295"/>
                      <a:pt x="362" y="296"/>
                      <a:pt x="364" y="299"/>
                    </a:cubicBezTo>
                    <a:cubicBezTo>
                      <a:pt x="366" y="300"/>
                      <a:pt x="366" y="300"/>
                      <a:pt x="366" y="300"/>
                    </a:cubicBezTo>
                    <a:cubicBezTo>
                      <a:pt x="366" y="301"/>
                      <a:pt x="366" y="301"/>
                      <a:pt x="366" y="301"/>
                    </a:cubicBezTo>
                    <a:cubicBezTo>
                      <a:pt x="367" y="302"/>
                      <a:pt x="367" y="302"/>
                      <a:pt x="367" y="302"/>
                    </a:cubicBezTo>
                    <a:cubicBezTo>
                      <a:pt x="369" y="302"/>
                      <a:pt x="369" y="302"/>
                      <a:pt x="369" y="302"/>
                    </a:cubicBezTo>
                    <a:cubicBezTo>
                      <a:pt x="370" y="301"/>
                      <a:pt x="370" y="301"/>
                      <a:pt x="370" y="301"/>
                    </a:cubicBezTo>
                    <a:cubicBezTo>
                      <a:pt x="371" y="301"/>
                      <a:pt x="372" y="302"/>
                      <a:pt x="372" y="302"/>
                    </a:cubicBezTo>
                    <a:cubicBezTo>
                      <a:pt x="374" y="304"/>
                      <a:pt x="374" y="306"/>
                      <a:pt x="373" y="310"/>
                    </a:cubicBezTo>
                    <a:cubicBezTo>
                      <a:pt x="373" y="310"/>
                      <a:pt x="373" y="310"/>
                      <a:pt x="373" y="310"/>
                    </a:cubicBezTo>
                    <a:cubicBezTo>
                      <a:pt x="372" y="312"/>
                      <a:pt x="372" y="313"/>
                      <a:pt x="372" y="314"/>
                    </a:cubicBezTo>
                    <a:cubicBezTo>
                      <a:pt x="372" y="316"/>
                      <a:pt x="372" y="317"/>
                      <a:pt x="372" y="319"/>
                    </a:cubicBezTo>
                    <a:cubicBezTo>
                      <a:pt x="372" y="319"/>
                      <a:pt x="372" y="320"/>
                      <a:pt x="371" y="320"/>
                    </a:cubicBezTo>
                    <a:cubicBezTo>
                      <a:pt x="371" y="321"/>
                      <a:pt x="371" y="321"/>
                      <a:pt x="371" y="321"/>
                    </a:cubicBezTo>
                    <a:cubicBezTo>
                      <a:pt x="371" y="321"/>
                      <a:pt x="371" y="322"/>
                      <a:pt x="371" y="322"/>
                    </a:cubicBezTo>
                    <a:cubicBezTo>
                      <a:pt x="371" y="323"/>
                      <a:pt x="371" y="323"/>
                      <a:pt x="371" y="324"/>
                    </a:cubicBezTo>
                    <a:cubicBezTo>
                      <a:pt x="372" y="324"/>
                      <a:pt x="372" y="324"/>
                      <a:pt x="372" y="324"/>
                    </a:cubicBezTo>
                    <a:cubicBezTo>
                      <a:pt x="372" y="324"/>
                      <a:pt x="372" y="324"/>
                      <a:pt x="372" y="324"/>
                    </a:cubicBezTo>
                    <a:cubicBezTo>
                      <a:pt x="372" y="324"/>
                      <a:pt x="373" y="324"/>
                      <a:pt x="373" y="324"/>
                    </a:cubicBezTo>
                    <a:cubicBezTo>
                      <a:pt x="374" y="324"/>
                      <a:pt x="374" y="324"/>
                      <a:pt x="374" y="324"/>
                    </a:cubicBezTo>
                    <a:cubicBezTo>
                      <a:pt x="374" y="324"/>
                      <a:pt x="375" y="324"/>
                      <a:pt x="376" y="324"/>
                    </a:cubicBezTo>
                    <a:cubicBezTo>
                      <a:pt x="377" y="324"/>
                      <a:pt x="379" y="324"/>
                      <a:pt x="380" y="325"/>
                    </a:cubicBezTo>
                    <a:cubicBezTo>
                      <a:pt x="380" y="325"/>
                      <a:pt x="381" y="326"/>
                      <a:pt x="381" y="327"/>
                    </a:cubicBezTo>
                    <a:cubicBezTo>
                      <a:pt x="381" y="328"/>
                      <a:pt x="381" y="328"/>
                      <a:pt x="381" y="329"/>
                    </a:cubicBezTo>
                    <a:cubicBezTo>
                      <a:pt x="381" y="330"/>
                      <a:pt x="381" y="330"/>
                      <a:pt x="381" y="330"/>
                    </a:cubicBezTo>
                    <a:cubicBezTo>
                      <a:pt x="381" y="330"/>
                      <a:pt x="381" y="330"/>
                      <a:pt x="381" y="330"/>
                    </a:cubicBezTo>
                    <a:cubicBezTo>
                      <a:pt x="381" y="332"/>
                      <a:pt x="382" y="335"/>
                      <a:pt x="383" y="337"/>
                    </a:cubicBezTo>
                    <a:cubicBezTo>
                      <a:pt x="383" y="340"/>
                      <a:pt x="383" y="340"/>
                      <a:pt x="383" y="340"/>
                    </a:cubicBezTo>
                    <a:cubicBezTo>
                      <a:pt x="384" y="341"/>
                      <a:pt x="384" y="341"/>
                      <a:pt x="384" y="341"/>
                    </a:cubicBezTo>
                    <a:cubicBezTo>
                      <a:pt x="384" y="343"/>
                      <a:pt x="384" y="343"/>
                      <a:pt x="384" y="343"/>
                    </a:cubicBezTo>
                    <a:cubicBezTo>
                      <a:pt x="399" y="342"/>
                      <a:pt x="399" y="342"/>
                      <a:pt x="399" y="342"/>
                    </a:cubicBezTo>
                    <a:cubicBezTo>
                      <a:pt x="399" y="342"/>
                      <a:pt x="400" y="342"/>
                      <a:pt x="400" y="342"/>
                    </a:cubicBezTo>
                    <a:cubicBezTo>
                      <a:pt x="401" y="342"/>
                      <a:pt x="402" y="342"/>
                      <a:pt x="403" y="342"/>
                    </a:cubicBezTo>
                    <a:cubicBezTo>
                      <a:pt x="404" y="342"/>
                      <a:pt x="404" y="342"/>
                      <a:pt x="405" y="342"/>
                    </a:cubicBezTo>
                    <a:cubicBezTo>
                      <a:pt x="405" y="342"/>
                      <a:pt x="405" y="342"/>
                      <a:pt x="405" y="342"/>
                    </a:cubicBezTo>
                    <a:cubicBezTo>
                      <a:pt x="405" y="342"/>
                      <a:pt x="406" y="342"/>
                      <a:pt x="406" y="343"/>
                    </a:cubicBezTo>
                    <a:cubicBezTo>
                      <a:pt x="407" y="343"/>
                      <a:pt x="407" y="343"/>
                      <a:pt x="407" y="343"/>
                    </a:cubicBezTo>
                    <a:cubicBezTo>
                      <a:pt x="407" y="344"/>
                      <a:pt x="407" y="344"/>
                      <a:pt x="407" y="344"/>
                    </a:cubicBezTo>
                    <a:cubicBezTo>
                      <a:pt x="407" y="344"/>
                      <a:pt x="407" y="344"/>
                      <a:pt x="407" y="344"/>
                    </a:cubicBezTo>
                    <a:cubicBezTo>
                      <a:pt x="407" y="344"/>
                      <a:pt x="407" y="344"/>
                      <a:pt x="407" y="344"/>
                    </a:cubicBezTo>
                    <a:cubicBezTo>
                      <a:pt x="408" y="344"/>
                      <a:pt x="408" y="344"/>
                      <a:pt x="408" y="344"/>
                    </a:cubicBezTo>
                    <a:cubicBezTo>
                      <a:pt x="409" y="345"/>
                      <a:pt x="409" y="345"/>
                      <a:pt x="410" y="346"/>
                    </a:cubicBezTo>
                    <a:cubicBezTo>
                      <a:pt x="410" y="346"/>
                      <a:pt x="411" y="347"/>
                      <a:pt x="411" y="348"/>
                    </a:cubicBezTo>
                    <a:cubicBezTo>
                      <a:pt x="411" y="349"/>
                      <a:pt x="411" y="349"/>
                      <a:pt x="411" y="349"/>
                    </a:cubicBezTo>
                    <a:cubicBezTo>
                      <a:pt x="411" y="350"/>
                      <a:pt x="411" y="351"/>
                      <a:pt x="410" y="353"/>
                    </a:cubicBezTo>
                    <a:cubicBezTo>
                      <a:pt x="412" y="354"/>
                      <a:pt x="413" y="355"/>
                      <a:pt x="416" y="355"/>
                    </a:cubicBezTo>
                    <a:cubicBezTo>
                      <a:pt x="416" y="355"/>
                      <a:pt x="416" y="355"/>
                      <a:pt x="416" y="355"/>
                    </a:cubicBezTo>
                    <a:cubicBezTo>
                      <a:pt x="416" y="355"/>
                      <a:pt x="416" y="354"/>
                      <a:pt x="416" y="354"/>
                    </a:cubicBezTo>
                    <a:cubicBezTo>
                      <a:pt x="416" y="352"/>
                      <a:pt x="416" y="352"/>
                      <a:pt x="416" y="352"/>
                    </a:cubicBezTo>
                    <a:cubicBezTo>
                      <a:pt x="416" y="348"/>
                      <a:pt x="419" y="346"/>
                      <a:pt x="422" y="344"/>
                    </a:cubicBezTo>
                    <a:cubicBezTo>
                      <a:pt x="422" y="344"/>
                      <a:pt x="423" y="344"/>
                      <a:pt x="423" y="343"/>
                    </a:cubicBezTo>
                    <a:cubicBezTo>
                      <a:pt x="424" y="343"/>
                      <a:pt x="424" y="343"/>
                      <a:pt x="424" y="343"/>
                    </a:cubicBezTo>
                    <a:cubicBezTo>
                      <a:pt x="424" y="342"/>
                      <a:pt x="424" y="342"/>
                      <a:pt x="424" y="342"/>
                    </a:cubicBezTo>
                    <a:cubicBezTo>
                      <a:pt x="425" y="342"/>
                      <a:pt x="425" y="342"/>
                      <a:pt x="425" y="342"/>
                    </a:cubicBezTo>
                    <a:cubicBezTo>
                      <a:pt x="426" y="341"/>
                      <a:pt x="427" y="340"/>
                      <a:pt x="428" y="339"/>
                    </a:cubicBezTo>
                    <a:cubicBezTo>
                      <a:pt x="428" y="339"/>
                      <a:pt x="428" y="339"/>
                      <a:pt x="428" y="339"/>
                    </a:cubicBezTo>
                    <a:cubicBezTo>
                      <a:pt x="429" y="338"/>
                      <a:pt x="429" y="338"/>
                      <a:pt x="429" y="338"/>
                    </a:cubicBezTo>
                    <a:cubicBezTo>
                      <a:pt x="431" y="337"/>
                      <a:pt x="432" y="336"/>
                      <a:pt x="434" y="335"/>
                    </a:cubicBezTo>
                    <a:cubicBezTo>
                      <a:pt x="437" y="332"/>
                      <a:pt x="440" y="331"/>
                      <a:pt x="442" y="329"/>
                    </a:cubicBezTo>
                    <a:cubicBezTo>
                      <a:pt x="459" y="320"/>
                      <a:pt x="459" y="320"/>
                      <a:pt x="459" y="320"/>
                    </a:cubicBezTo>
                    <a:cubicBezTo>
                      <a:pt x="459" y="319"/>
                      <a:pt x="459" y="319"/>
                      <a:pt x="459" y="318"/>
                    </a:cubicBezTo>
                    <a:cubicBezTo>
                      <a:pt x="459" y="317"/>
                      <a:pt x="460" y="316"/>
                      <a:pt x="461" y="316"/>
                    </a:cubicBezTo>
                    <a:cubicBezTo>
                      <a:pt x="461" y="315"/>
                      <a:pt x="462" y="314"/>
                      <a:pt x="463" y="313"/>
                    </a:cubicBezTo>
                    <a:cubicBezTo>
                      <a:pt x="465" y="312"/>
                      <a:pt x="465" y="312"/>
                      <a:pt x="465" y="312"/>
                    </a:cubicBezTo>
                    <a:cubicBezTo>
                      <a:pt x="465" y="311"/>
                      <a:pt x="465" y="311"/>
                      <a:pt x="465" y="311"/>
                    </a:cubicBezTo>
                    <a:cubicBezTo>
                      <a:pt x="466" y="310"/>
                      <a:pt x="467" y="308"/>
                      <a:pt x="468" y="308"/>
                    </a:cubicBezTo>
                    <a:cubicBezTo>
                      <a:pt x="469" y="307"/>
                      <a:pt x="469" y="307"/>
                      <a:pt x="470" y="307"/>
                    </a:cubicBezTo>
                    <a:cubicBezTo>
                      <a:pt x="470" y="307"/>
                      <a:pt x="471" y="307"/>
                      <a:pt x="472" y="307"/>
                    </a:cubicBezTo>
                    <a:cubicBezTo>
                      <a:pt x="473" y="307"/>
                      <a:pt x="473" y="307"/>
                      <a:pt x="474" y="307"/>
                    </a:cubicBezTo>
                    <a:cubicBezTo>
                      <a:pt x="474" y="307"/>
                      <a:pt x="474" y="307"/>
                      <a:pt x="474" y="307"/>
                    </a:cubicBezTo>
                    <a:cubicBezTo>
                      <a:pt x="475" y="307"/>
                      <a:pt x="475" y="307"/>
                      <a:pt x="475" y="307"/>
                    </a:cubicBezTo>
                    <a:cubicBezTo>
                      <a:pt x="484" y="307"/>
                      <a:pt x="484" y="307"/>
                      <a:pt x="484" y="307"/>
                    </a:cubicBezTo>
                    <a:cubicBezTo>
                      <a:pt x="485" y="306"/>
                      <a:pt x="485" y="306"/>
                      <a:pt x="485" y="306"/>
                    </a:cubicBezTo>
                    <a:cubicBezTo>
                      <a:pt x="487" y="306"/>
                      <a:pt x="489" y="307"/>
                      <a:pt x="491" y="308"/>
                    </a:cubicBezTo>
                    <a:cubicBezTo>
                      <a:pt x="495" y="309"/>
                      <a:pt x="500" y="310"/>
                      <a:pt x="504" y="312"/>
                    </a:cubicBezTo>
                    <a:cubicBezTo>
                      <a:pt x="507" y="313"/>
                      <a:pt x="507" y="313"/>
                      <a:pt x="507" y="313"/>
                    </a:cubicBezTo>
                    <a:cubicBezTo>
                      <a:pt x="507" y="313"/>
                      <a:pt x="508" y="313"/>
                      <a:pt x="508" y="313"/>
                    </a:cubicBezTo>
                    <a:cubicBezTo>
                      <a:pt x="507" y="308"/>
                      <a:pt x="509" y="302"/>
                      <a:pt x="515" y="299"/>
                    </a:cubicBezTo>
                    <a:cubicBezTo>
                      <a:pt x="513" y="294"/>
                      <a:pt x="513" y="294"/>
                      <a:pt x="513" y="294"/>
                    </a:cubicBezTo>
                    <a:cubicBezTo>
                      <a:pt x="516" y="298"/>
                      <a:pt x="516" y="298"/>
                      <a:pt x="516" y="298"/>
                    </a:cubicBezTo>
                    <a:cubicBezTo>
                      <a:pt x="518" y="297"/>
                      <a:pt x="521" y="297"/>
                      <a:pt x="523" y="296"/>
                    </a:cubicBezTo>
                    <a:cubicBezTo>
                      <a:pt x="524" y="296"/>
                      <a:pt x="524" y="296"/>
                      <a:pt x="524" y="296"/>
                    </a:cubicBezTo>
                    <a:cubicBezTo>
                      <a:pt x="524" y="297"/>
                      <a:pt x="525" y="297"/>
                      <a:pt x="525" y="297"/>
                    </a:cubicBezTo>
                    <a:cubicBezTo>
                      <a:pt x="527" y="297"/>
                      <a:pt x="529" y="297"/>
                      <a:pt x="531" y="298"/>
                    </a:cubicBezTo>
                    <a:cubicBezTo>
                      <a:pt x="532" y="299"/>
                      <a:pt x="533" y="299"/>
                      <a:pt x="534" y="300"/>
                    </a:cubicBezTo>
                    <a:cubicBezTo>
                      <a:pt x="535" y="300"/>
                      <a:pt x="535" y="300"/>
                      <a:pt x="535" y="300"/>
                    </a:cubicBezTo>
                    <a:cubicBezTo>
                      <a:pt x="535" y="301"/>
                      <a:pt x="535" y="301"/>
                      <a:pt x="535" y="301"/>
                    </a:cubicBezTo>
                    <a:cubicBezTo>
                      <a:pt x="536" y="301"/>
                      <a:pt x="537" y="302"/>
                      <a:pt x="538" y="302"/>
                    </a:cubicBezTo>
                    <a:cubicBezTo>
                      <a:pt x="539" y="302"/>
                      <a:pt x="539" y="302"/>
                      <a:pt x="539" y="302"/>
                    </a:cubicBezTo>
                    <a:cubicBezTo>
                      <a:pt x="540" y="303"/>
                      <a:pt x="541" y="303"/>
                      <a:pt x="542" y="303"/>
                    </a:cubicBezTo>
                    <a:cubicBezTo>
                      <a:pt x="543" y="303"/>
                      <a:pt x="543" y="303"/>
                      <a:pt x="543" y="303"/>
                    </a:cubicBezTo>
                    <a:cubicBezTo>
                      <a:pt x="543" y="304"/>
                      <a:pt x="544" y="304"/>
                      <a:pt x="545" y="304"/>
                    </a:cubicBezTo>
                    <a:cubicBezTo>
                      <a:pt x="546" y="304"/>
                      <a:pt x="546" y="304"/>
                      <a:pt x="546" y="304"/>
                    </a:cubicBezTo>
                    <a:cubicBezTo>
                      <a:pt x="546" y="304"/>
                      <a:pt x="547" y="304"/>
                      <a:pt x="547" y="304"/>
                    </a:cubicBezTo>
                    <a:cubicBezTo>
                      <a:pt x="547" y="304"/>
                      <a:pt x="547" y="304"/>
                      <a:pt x="547" y="304"/>
                    </a:cubicBezTo>
                    <a:cubicBezTo>
                      <a:pt x="548" y="304"/>
                      <a:pt x="548" y="304"/>
                      <a:pt x="549" y="304"/>
                    </a:cubicBezTo>
                    <a:cubicBezTo>
                      <a:pt x="550" y="304"/>
                      <a:pt x="550" y="304"/>
                      <a:pt x="550" y="304"/>
                    </a:cubicBezTo>
                    <a:cubicBezTo>
                      <a:pt x="550" y="304"/>
                      <a:pt x="551" y="304"/>
                      <a:pt x="552" y="303"/>
                    </a:cubicBezTo>
                    <a:cubicBezTo>
                      <a:pt x="552" y="303"/>
                      <a:pt x="553" y="303"/>
                      <a:pt x="554" y="302"/>
                    </a:cubicBezTo>
                    <a:cubicBezTo>
                      <a:pt x="555" y="302"/>
                      <a:pt x="555" y="302"/>
                      <a:pt x="555" y="302"/>
                    </a:cubicBezTo>
                    <a:cubicBezTo>
                      <a:pt x="555" y="302"/>
                      <a:pt x="556" y="302"/>
                      <a:pt x="556" y="302"/>
                    </a:cubicBezTo>
                    <a:cubicBezTo>
                      <a:pt x="557" y="302"/>
                      <a:pt x="559" y="302"/>
                      <a:pt x="560" y="302"/>
                    </a:cubicBezTo>
                    <a:cubicBezTo>
                      <a:pt x="562" y="302"/>
                      <a:pt x="564" y="302"/>
                      <a:pt x="566" y="302"/>
                    </a:cubicBezTo>
                    <a:cubicBezTo>
                      <a:pt x="567" y="302"/>
                      <a:pt x="567" y="302"/>
                      <a:pt x="567" y="302"/>
                    </a:cubicBezTo>
                    <a:cubicBezTo>
                      <a:pt x="568" y="303"/>
                      <a:pt x="570" y="303"/>
                      <a:pt x="571" y="303"/>
                    </a:cubicBezTo>
                    <a:cubicBezTo>
                      <a:pt x="573" y="303"/>
                      <a:pt x="573" y="303"/>
                      <a:pt x="573" y="303"/>
                    </a:cubicBezTo>
                    <a:cubicBezTo>
                      <a:pt x="577" y="303"/>
                      <a:pt x="581" y="303"/>
                      <a:pt x="585" y="303"/>
                    </a:cubicBezTo>
                    <a:cubicBezTo>
                      <a:pt x="585" y="299"/>
                      <a:pt x="585" y="299"/>
                      <a:pt x="585" y="299"/>
                    </a:cubicBezTo>
                    <a:cubicBezTo>
                      <a:pt x="586" y="303"/>
                      <a:pt x="586" y="303"/>
                      <a:pt x="586" y="303"/>
                    </a:cubicBezTo>
                    <a:cubicBezTo>
                      <a:pt x="586" y="303"/>
                      <a:pt x="586" y="303"/>
                      <a:pt x="586" y="303"/>
                    </a:cubicBezTo>
                    <a:cubicBezTo>
                      <a:pt x="588" y="303"/>
                      <a:pt x="589" y="303"/>
                      <a:pt x="590" y="303"/>
                    </a:cubicBezTo>
                    <a:cubicBezTo>
                      <a:pt x="594" y="304"/>
                      <a:pt x="597" y="304"/>
                      <a:pt x="600" y="304"/>
                    </a:cubicBezTo>
                    <a:cubicBezTo>
                      <a:pt x="601" y="304"/>
                      <a:pt x="602" y="304"/>
                      <a:pt x="603" y="304"/>
                    </a:cubicBezTo>
                    <a:cubicBezTo>
                      <a:pt x="603" y="304"/>
                      <a:pt x="603" y="304"/>
                      <a:pt x="603" y="304"/>
                    </a:cubicBezTo>
                    <a:cubicBezTo>
                      <a:pt x="604" y="304"/>
                      <a:pt x="604" y="304"/>
                      <a:pt x="605" y="304"/>
                    </a:cubicBezTo>
                    <a:cubicBezTo>
                      <a:pt x="605" y="304"/>
                      <a:pt x="606" y="304"/>
                      <a:pt x="606" y="304"/>
                    </a:cubicBezTo>
                    <a:cubicBezTo>
                      <a:pt x="607" y="304"/>
                      <a:pt x="608" y="304"/>
                      <a:pt x="609" y="304"/>
                    </a:cubicBezTo>
                    <a:cubicBezTo>
                      <a:pt x="610" y="304"/>
                      <a:pt x="610" y="305"/>
                      <a:pt x="611" y="305"/>
                    </a:cubicBezTo>
                    <a:cubicBezTo>
                      <a:pt x="613" y="305"/>
                      <a:pt x="613" y="305"/>
                      <a:pt x="613" y="305"/>
                    </a:cubicBezTo>
                    <a:cubicBezTo>
                      <a:pt x="614" y="306"/>
                      <a:pt x="615" y="306"/>
                      <a:pt x="615" y="306"/>
                    </a:cubicBezTo>
                    <a:cubicBezTo>
                      <a:pt x="616" y="306"/>
                      <a:pt x="616" y="306"/>
                      <a:pt x="616" y="306"/>
                    </a:cubicBezTo>
                    <a:cubicBezTo>
                      <a:pt x="617" y="306"/>
                      <a:pt x="617" y="306"/>
                      <a:pt x="618" y="306"/>
                    </a:cubicBezTo>
                    <a:cubicBezTo>
                      <a:pt x="618" y="306"/>
                      <a:pt x="619" y="306"/>
                      <a:pt x="619" y="306"/>
                    </a:cubicBezTo>
                    <a:cubicBezTo>
                      <a:pt x="620" y="306"/>
                      <a:pt x="620" y="306"/>
                      <a:pt x="620" y="306"/>
                    </a:cubicBezTo>
                    <a:cubicBezTo>
                      <a:pt x="622" y="306"/>
                      <a:pt x="623" y="308"/>
                      <a:pt x="624" y="311"/>
                    </a:cubicBezTo>
                    <a:cubicBezTo>
                      <a:pt x="625" y="312"/>
                      <a:pt x="625" y="312"/>
                      <a:pt x="625" y="312"/>
                    </a:cubicBezTo>
                    <a:cubicBezTo>
                      <a:pt x="625" y="313"/>
                      <a:pt x="626" y="313"/>
                      <a:pt x="628" y="313"/>
                    </a:cubicBezTo>
                    <a:cubicBezTo>
                      <a:pt x="629" y="313"/>
                      <a:pt x="629" y="313"/>
                      <a:pt x="629" y="313"/>
                    </a:cubicBezTo>
                    <a:cubicBezTo>
                      <a:pt x="629" y="313"/>
                      <a:pt x="630" y="313"/>
                      <a:pt x="631" y="314"/>
                    </a:cubicBezTo>
                    <a:cubicBezTo>
                      <a:pt x="631" y="314"/>
                      <a:pt x="631" y="314"/>
                      <a:pt x="631" y="314"/>
                    </a:cubicBezTo>
                    <a:cubicBezTo>
                      <a:pt x="632" y="314"/>
                      <a:pt x="633" y="314"/>
                      <a:pt x="634" y="314"/>
                    </a:cubicBezTo>
                    <a:cubicBezTo>
                      <a:pt x="635" y="315"/>
                      <a:pt x="636" y="315"/>
                      <a:pt x="636" y="316"/>
                    </a:cubicBezTo>
                    <a:cubicBezTo>
                      <a:pt x="637" y="316"/>
                      <a:pt x="637" y="316"/>
                      <a:pt x="637" y="316"/>
                    </a:cubicBezTo>
                    <a:cubicBezTo>
                      <a:pt x="637" y="315"/>
                      <a:pt x="637" y="315"/>
                      <a:pt x="637" y="315"/>
                    </a:cubicBezTo>
                    <a:cubicBezTo>
                      <a:pt x="636" y="314"/>
                      <a:pt x="636" y="314"/>
                      <a:pt x="636" y="314"/>
                    </a:cubicBezTo>
                    <a:cubicBezTo>
                      <a:pt x="636" y="312"/>
                      <a:pt x="636" y="310"/>
                      <a:pt x="637" y="307"/>
                    </a:cubicBezTo>
                    <a:cubicBezTo>
                      <a:pt x="638" y="305"/>
                      <a:pt x="639" y="305"/>
                      <a:pt x="641" y="305"/>
                    </a:cubicBezTo>
                    <a:cubicBezTo>
                      <a:pt x="641" y="305"/>
                      <a:pt x="641" y="305"/>
                      <a:pt x="641" y="305"/>
                    </a:cubicBezTo>
                    <a:cubicBezTo>
                      <a:pt x="640" y="304"/>
                      <a:pt x="640" y="302"/>
                      <a:pt x="640" y="301"/>
                    </a:cubicBezTo>
                    <a:cubicBezTo>
                      <a:pt x="641" y="299"/>
                      <a:pt x="644" y="299"/>
                      <a:pt x="647" y="298"/>
                    </a:cubicBezTo>
                    <a:cubicBezTo>
                      <a:pt x="647" y="298"/>
                      <a:pt x="647" y="298"/>
                      <a:pt x="648" y="298"/>
                    </a:cubicBezTo>
                    <a:cubicBezTo>
                      <a:pt x="647" y="297"/>
                      <a:pt x="647" y="295"/>
                      <a:pt x="647" y="294"/>
                    </a:cubicBezTo>
                    <a:cubicBezTo>
                      <a:pt x="647" y="294"/>
                      <a:pt x="647" y="294"/>
                      <a:pt x="647" y="294"/>
                    </a:cubicBezTo>
                    <a:cubicBezTo>
                      <a:pt x="647" y="293"/>
                      <a:pt x="647" y="293"/>
                      <a:pt x="647" y="293"/>
                    </a:cubicBezTo>
                    <a:cubicBezTo>
                      <a:pt x="646" y="293"/>
                      <a:pt x="646" y="292"/>
                      <a:pt x="646" y="291"/>
                    </a:cubicBezTo>
                    <a:cubicBezTo>
                      <a:pt x="646" y="291"/>
                      <a:pt x="646" y="291"/>
                      <a:pt x="646" y="291"/>
                    </a:cubicBezTo>
                    <a:cubicBezTo>
                      <a:pt x="645" y="289"/>
                      <a:pt x="644" y="287"/>
                      <a:pt x="643" y="286"/>
                    </a:cubicBezTo>
                    <a:cubicBezTo>
                      <a:pt x="643" y="285"/>
                      <a:pt x="642" y="284"/>
                      <a:pt x="642" y="283"/>
                    </a:cubicBezTo>
                    <a:cubicBezTo>
                      <a:pt x="641" y="280"/>
                      <a:pt x="640" y="277"/>
                      <a:pt x="640" y="275"/>
                    </a:cubicBezTo>
                    <a:cubicBezTo>
                      <a:pt x="640" y="273"/>
                      <a:pt x="640" y="273"/>
                      <a:pt x="640" y="273"/>
                    </a:cubicBezTo>
                    <a:cubicBezTo>
                      <a:pt x="639" y="271"/>
                      <a:pt x="639" y="268"/>
                      <a:pt x="640" y="265"/>
                    </a:cubicBezTo>
                    <a:cubicBezTo>
                      <a:pt x="640" y="264"/>
                      <a:pt x="640" y="264"/>
                      <a:pt x="640" y="264"/>
                    </a:cubicBezTo>
                    <a:cubicBezTo>
                      <a:pt x="640" y="263"/>
                      <a:pt x="639" y="263"/>
                      <a:pt x="638" y="263"/>
                    </a:cubicBezTo>
                    <a:cubicBezTo>
                      <a:pt x="638" y="263"/>
                      <a:pt x="638" y="263"/>
                      <a:pt x="638" y="263"/>
                    </a:cubicBezTo>
                    <a:cubicBezTo>
                      <a:pt x="637" y="264"/>
                      <a:pt x="636" y="264"/>
                      <a:pt x="636" y="264"/>
                    </a:cubicBezTo>
                    <a:cubicBezTo>
                      <a:pt x="635" y="264"/>
                      <a:pt x="634" y="263"/>
                      <a:pt x="632" y="262"/>
                    </a:cubicBezTo>
                    <a:cubicBezTo>
                      <a:pt x="632" y="262"/>
                      <a:pt x="632" y="262"/>
                      <a:pt x="632" y="262"/>
                    </a:cubicBezTo>
                    <a:cubicBezTo>
                      <a:pt x="631" y="261"/>
                      <a:pt x="629" y="260"/>
                      <a:pt x="631" y="258"/>
                    </a:cubicBezTo>
                    <a:cubicBezTo>
                      <a:pt x="633" y="255"/>
                      <a:pt x="636" y="254"/>
                      <a:pt x="637" y="254"/>
                    </a:cubicBezTo>
                    <a:cubicBezTo>
                      <a:pt x="638" y="253"/>
                      <a:pt x="638" y="253"/>
                      <a:pt x="638" y="253"/>
                    </a:cubicBezTo>
                    <a:cubicBezTo>
                      <a:pt x="642" y="252"/>
                      <a:pt x="646" y="251"/>
                      <a:pt x="650" y="250"/>
                    </a:cubicBezTo>
                    <a:cubicBezTo>
                      <a:pt x="661" y="247"/>
                      <a:pt x="661" y="247"/>
                      <a:pt x="661" y="247"/>
                    </a:cubicBezTo>
                    <a:cubicBezTo>
                      <a:pt x="662" y="247"/>
                      <a:pt x="662" y="247"/>
                      <a:pt x="662" y="247"/>
                    </a:cubicBezTo>
                    <a:cubicBezTo>
                      <a:pt x="663" y="247"/>
                      <a:pt x="663" y="247"/>
                      <a:pt x="663" y="247"/>
                    </a:cubicBezTo>
                    <a:cubicBezTo>
                      <a:pt x="664" y="246"/>
                      <a:pt x="666" y="246"/>
                      <a:pt x="667" y="246"/>
                    </a:cubicBezTo>
                    <a:cubicBezTo>
                      <a:pt x="668" y="246"/>
                      <a:pt x="668" y="246"/>
                      <a:pt x="668" y="246"/>
                    </a:cubicBezTo>
                    <a:cubicBezTo>
                      <a:pt x="671" y="247"/>
                      <a:pt x="671" y="249"/>
                      <a:pt x="671" y="250"/>
                    </a:cubicBezTo>
                    <a:cubicBezTo>
                      <a:pt x="671" y="250"/>
                      <a:pt x="671" y="250"/>
                      <a:pt x="671" y="250"/>
                    </a:cubicBezTo>
                    <a:cubicBezTo>
                      <a:pt x="672" y="250"/>
                      <a:pt x="672" y="250"/>
                      <a:pt x="673" y="250"/>
                    </a:cubicBezTo>
                    <a:cubicBezTo>
                      <a:pt x="673" y="250"/>
                      <a:pt x="674" y="250"/>
                      <a:pt x="675" y="250"/>
                    </a:cubicBezTo>
                    <a:cubicBezTo>
                      <a:pt x="676" y="250"/>
                      <a:pt x="676" y="250"/>
                      <a:pt x="677" y="250"/>
                    </a:cubicBezTo>
                    <a:cubicBezTo>
                      <a:pt x="678" y="250"/>
                      <a:pt x="678" y="250"/>
                      <a:pt x="678" y="250"/>
                    </a:cubicBezTo>
                    <a:cubicBezTo>
                      <a:pt x="679" y="250"/>
                      <a:pt x="680" y="250"/>
                      <a:pt x="680" y="250"/>
                    </a:cubicBezTo>
                    <a:cubicBezTo>
                      <a:pt x="681" y="250"/>
                      <a:pt x="682" y="250"/>
                      <a:pt x="683" y="250"/>
                    </a:cubicBezTo>
                    <a:cubicBezTo>
                      <a:pt x="683" y="248"/>
                      <a:pt x="683" y="248"/>
                      <a:pt x="683" y="248"/>
                    </a:cubicBezTo>
                    <a:cubicBezTo>
                      <a:pt x="682" y="247"/>
                      <a:pt x="682" y="247"/>
                      <a:pt x="682" y="247"/>
                    </a:cubicBezTo>
                    <a:cubicBezTo>
                      <a:pt x="681" y="247"/>
                      <a:pt x="681" y="247"/>
                      <a:pt x="681" y="247"/>
                    </a:cubicBezTo>
                    <a:cubicBezTo>
                      <a:pt x="680" y="247"/>
                      <a:pt x="678" y="246"/>
                      <a:pt x="677" y="245"/>
                    </a:cubicBezTo>
                    <a:cubicBezTo>
                      <a:pt x="677" y="244"/>
                      <a:pt x="677" y="243"/>
                      <a:pt x="677" y="243"/>
                    </a:cubicBezTo>
                    <a:cubicBezTo>
                      <a:pt x="690" y="205"/>
                      <a:pt x="690" y="205"/>
                      <a:pt x="690" y="205"/>
                    </a:cubicBezTo>
                    <a:cubicBezTo>
                      <a:pt x="690" y="204"/>
                      <a:pt x="691" y="201"/>
                      <a:pt x="694" y="201"/>
                    </a:cubicBezTo>
                    <a:cubicBezTo>
                      <a:pt x="695" y="201"/>
                      <a:pt x="695" y="201"/>
                      <a:pt x="696" y="201"/>
                    </a:cubicBezTo>
                    <a:cubicBezTo>
                      <a:pt x="697" y="202"/>
                      <a:pt x="699" y="203"/>
                      <a:pt x="701" y="204"/>
                    </a:cubicBezTo>
                    <a:cubicBezTo>
                      <a:pt x="702" y="205"/>
                      <a:pt x="702" y="205"/>
                      <a:pt x="702" y="205"/>
                    </a:cubicBezTo>
                    <a:cubicBezTo>
                      <a:pt x="705" y="206"/>
                      <a:pt x="709" y="208"/>
                      <a:pt x="712" y="208"/>
                    </a:cubicBezTo>
                    <a:cubicBezTo>
                      <a:pt x="712" y="208"/>
                      <a:pt x="712" y="207"/>
                      <a:pt x="713" y="207"/>
                    </a:cubicBezTo>
                    <a:cubicBezTo>
                      <a:pt x="714" y="207"/>
                      <a:pt x="716" y="206"/>
                      <a:pt x="717" y="206"/>
                    </a:cubicBezTo>
                    <a:cubicBezTo>
                      <a:pt x="721" y="206"/>
                      <a:pt x="725" y="207"/>
                      <a:pt x="726" y="208"/>
                    </a:cubicBezTo>
                    <a:cubicBezTo>
                      <a:pt x="727" y="208"/>
                      <a:pt x="728" y="209"/>
                      <a:pt x="729" y="209"/>
                    </a:cubicBezTo>
                    <a:cubicBezTo>
                      <a:pt x="730" y="209"/>
                      <a:pt x="731" y="208"/>
                      <a:pt x="734" y="207"/>
                    </a:cubicBezTo>
                    <a:cubicBezTo>
                      <a:pt x="735" y="206"/>
                      <a:pt x="735" y="206"/>
                      <a:pt x="735" y="206"/>
                    </a:cubicBezTo>
                    <a:cubicBezTo>
                      <a:pt x="739" y="204"/>
                      <a:pt x="741" y="203"/>
                      <a:pt x="741" y="200"/>
                    </a:cubicBezTo>
                    <a:cubicBezTo>
                      <a:pt x="741" y="197"/>
                      <a:pt x="740" y="195"/>
                      <a:pt x="740" y="192"/>
                    </a:cubicBezTo>
                    <a:cubicBezTo>
                      <a:pt x="739" y="190"/>
                      <a:pt x="739" y="188"/>
                      <a:pt x="739" y="186"/>
                    </a:cubicBezTo>
                    <a:cubicBezTo>
                      <a:pt x="738" y="183"/>
                      <a:pt x="742" y="174"/>
                      <a:pt x="745" y="172"/>
                    </a:cubicBezTo>
                    <a:cubicBezTo>
                      <a:pt x="746" y="172"/>
                      <a:pt x="748" y="172"/>
                      <a:pt x="749" y="172"/>
                    </a:cubicBezTo>
                    <a:cubicBezTo>
                      <a:pt x="750" y="172"/>
                      <a:pt x="750" y="172"/>
                      <a:pt x="750" y="172"/>
                    </a:cubicBezTo>
                    <a:cubicBezTo>
                      <a:pt x="753" y="172"/>
                      <a:pt x="755" y="171"/>
                      <a:pt x="759" y="170"/>
                    </a:cubicBezTo>
                    <a:cubicBezTo>
                      <a:pt x="759" y="170"/>
                      <a:pt x="761" y="168"/>
                      <a:pt x="762" y="166"/>
                    </a:cubicBezTo>
                    <a:cubicBezTo>
                      <a:pt x="762" y="166"/>
                      <a:pt x="762" y="166"/>
                      <a:pt x="762" y="166"/>
                    </a:cubicBezTo>
                    <a:cubicBezTo>
                      <a:pt x="762" y="166"/>
                      <a:pt x="762" y="165"/>
                      <a:pt x="762" y="165"/>
                    </a:cubicBezTo>
                    <a:cubicBezTo>
                      <a:pt x="762" y="164"/>
                      <a:pt x="762" y="163"/>
                      <a:pt x="762" y="163"/>
                    </a:cubicBezTo>
                    <a:cubicBezTo>
                      <a:pt x="762" y="162"/>
                      <a:pt x="762" y="162"/>
                      <a:pt x="762" y="161"/>
                    </a:cubicBezTo>
                    <a:cubicBezTo>
                      <a:pt x="762" y="161"/>
                      <a:pt x="762" y="161"/>
                      <a:pt x="762" y="161"/>
                    </a:cubicBezTo>
                    <a:cubicBezTo>
                      <a:pt x="763" y="158"/>
                      <a:pt x="764" y="156"/>
                      <a:pt x="765" y="156"/>
                    </a:cubicBezTo>
                    <a:cubicBezTo>
                      <a:pt x="766" y="155"/>
                      <a:pt x="766" y="155"/>
                      <a:pt x="767" y="155"/>
                    </a:cubicBezTo>
                    <a:cubicBezTo>
                      <a:pt x="767" y="155"/>
                      <a:pt x="767" y="155"/>
                      <a:pt x="767" y="155"/>
                    </a:cubicBezTo>
                    <a:cubicBezTo>
                      <a:pt x="768" y="155"/>
                      <a:pt x="768" y="155"/>
                      <a:pt x="768" y="155"/>
                    </a:cubicBezTo>
                    <a:cubicBezTo>
                      <a:pt x="766" y="153"/>
                      <a:pt x="763" y="151"/>
                      <a:pt x="761" y="149"/>
                    </a:cubicBezTo>
                    <a:cubicBezTo>
                      <a:pt x="760" y="149"/>
                      <a:pt x="760" y="148"/>
                      <a:pt x="760" y="148"/>
                    </a:cubicBezTo>
                    <a:cubicBezTo>
                      <a:pt x="759" y="147"/>
                      <a:pt x="759" y="147"/>
                      <a:pt x="759" y="146"/>
                    </a:cubicBezTo>
                    <a:cubicBezTo>
                      <a:pt x="758" y="147"/>
                      <a:pt x="758" y="147"/>
                      <a:pt x="757" y="148"/>
                    </a:cubicBezTo>
                    <a:cubicBezTo>
                      <a:pt x="752" y="152"/>
                      <a:pt x="752" y="152"/>
                      <a:pt x="752" y="152"/>
                    </a:cubicBezTo>
                    <a:cubicBezTo>
                      <a:pt x="751" y="150"/>
                      <a:pt x="751" y="150"/>
                      <a:pt x="751" y="150"/>
                    </a:cubicBezTo>
                    <a:cubicBezTo>
                      <a:pt x="751" y="151"/>
                      <a:pt x="751" y="151"/>
                      <a:pt x="751" y="151"/>
                    </a:cubicBezTo>
                    <a:cubicBezTo>
                      <a:pt x="748" y="151"/>
                      <a:pt x="748" y="151"/>
                      <a:pt x="748" y="151"/>
                    </a:cubicBezTo>
                    <a:cubicBezTo>
                      <a:pt x="747" y="150"/>
                      <a:pt x="747" y="150"/>
                      <a:pt x="747" y="150"/>
                    </a:cubicBezTo>
                    <a:cubicBezTo>
                      <a:pt x="746" y="150"/>
                      <a:pt x="746" y="150"/>
                      <a:pt x="746" y="150"/>
                    </a:cubicBezTo>
                    <a:cubicBezTo>
                      <a:pt x="746" y="149"/>
                      <a:pt x="746" y="149"/>
                      <a:pt x="746" y="149"/>
                    </a:cubicBezTo>
                    <a:cubicBezTo>
                      <a:pt x="745" y="149"/>
                      <a:pt x="745" y="149"/>
                      <a:pt x="745" y="149"/>
                    </a:cubicBezTo>
                    <a:cubicBezTo>
                      <a:pt x="745" y="149"/>
                      <a:pt x="745" y="149"/>
                      <a:pt x="745" y="149"/>
                    </a:cubicBezTo>
                    <a:cubicBezTo>
                      <a:pt x="734" y="148"/>
                      <a:pt x="734" y="148"/>
                      <a:pt x="734" y="148"/>
                    </a:cubicBezTo>
                    <a:cubicBezTo>
                      <a:pt x="732" y="146"/>
                      <a:pt x="732" y="146"/>
                      <a:pt x="732" y="146"/>
                    </a:cubicBezTo>
                    <a:cubicBezTo>
                      <a:pt x="732" y="146"/>
                      <a:pt x="732" y="146"/>
                      <a:pt x="732" y="146"/>
                    </a:cubicBezTo>
                    <a:cubicBezTo>
                      <a:pt x="732" y="145"/>
                      <a:pt x="732" y="145"/>
                      <a:pt x="732" y="145"/>
                    </a:cubicBezTo>
                    <a:cubicBezTo>
                      <a:pt x="732" y="144"/>
                      <a:pt x="732" y="144"/>
                      <a:pt x="732" y="144"/>
                    </a:cubicBezTo>
                    <a:cubicBezTo>
                      <a:pt x="732" y="144"/>
                      <a:pt x="732" y="144"/>
                      <a:pt x="732" y="144"/>
                    </a:cubicBezTo>
                    <a:cubicBezTo>
                      <a:pt x="731" y="143"/>
                      <a:pt x="731" y="143"/>
                      <a:pt x="731" y="143"/>
                    </a:cubicBezTo>
                    <a:cubicBezTo>
                      <a:pt x="731" y="143"/>
                      <a:pt x="731" y="143"/>
                      <a:pt x="730" y="142"/>
                    </a:cubicBezTo>
                    <a:cubicBezTo>
                      <a:pt x="730" y="142"/>
                      <a:pt x="730" y="141"/>
                      <a:pt x="730" y="141"/>
                    </a:cubicBezTo>
                    <a:cubicBezTo>
                      <a:pt x="730" y="141"/>
                      <a:pt x="730" y="141"/>
                      <a:pt x="730" y="141"/>
                    </a:cubicBezTo>
                    <a:cubicBezTo>
                      <a:pt x="729" y="140"/>
                      <a:pt x="729" y="140"/>
                      <a:pt x="728" y="140"/>
                    </a:cubicBezTo>
                    <a:cubicBezTo>
                      <a:pt x="727" y="139"/>
                      <a:pt x="727" y="139"/>
                      <a:pt x="727" y="139"/>
                    </a:cubicBezTo>
                    <a:cubicBezTo>
                      <a:pt x="727" y="138"/>
                      <a:pt x="727" y="138"/>
                      <a:pt x="727" y="138"/>
                    </a:cubicBezTo>
                    <a:cubicBezTo>
                      <a:pt x="727" y="136"/>
                      <a:pt x="727" y="136"/>
                      <a:pt x="727" y="136"/>
                    </a:cubicBezTo>
                    <a:cubicBezTo>
                      <a:pt x="719" y="132"/>
                      <a:pt x="719" y="132"/>
                      <a:pt x="719" y="132"/>
                    </a:cubicBezTo>
                    <a:cubicBezTo>
                      <a:pt x="718" y="131"/>
                      <a:pt x="718" y="131"/>
                      <a:pt x="718" y="131"/>
                    </a:cubicBezTo>
                    <a:cubicBezTo>
                      <a:pt x="718" y="131"/>
                      <a:pt x="718" y="131"/>
                      <a:pt x="718" y="131"/>
                    </a:cubicBezTo>
                    <a:cubicBezTo>
                      <a:pt x="717" y="131"/>
                      <a:pt x="717" y="131"/>
                      <a:pt x="717" y="131"/>
                    </a:cubicBezTo>
                    <a:cubicBezTo>
                      <a:pt x="714" y="131"/>
                      <a:pt x="714" y="131"/>
                      <a:pt x="714" y="131"/>
                    </a:cubicBezTo>
                    <a:cubicBezTo>
                      <a:pt x="714" y="129"/>
                      <a:pt x="714" y="129"/>
                      <a:pt x="714" y="129"/>
                    </a:cubicBezTo>
                    <a:cubicBezTo>
                      <a:pt x="713" y="129"/>
                      <a:pt x="713" y="128"/>
                      <a:pt x="713" y="126"/>
                    </a:cubicBezTo>
                    <a:cubicBezTo>
                      <a:pt x="713" y="126"/>
                      <a:pt x="713" y="126"/>
                      <a:pt x="713" y="126"/>
                    </a:cubicBezTo>
                    <a:cubicBezTo>
                      <a:pt x="713" y="125"/>
                      <a:pt x="713" y="125"/>
                      <a:pt x="713" y="125"/>
                    </a:cubicBezTo>
                    <a:cubicBezTo>
                      <a:pt x="712" y="124"/>
                      <a:pt x="712" y="124"/>
                      <a:pt x="712" y="124"/>
                    </a:cubicBezTo>
                    <a:cubicBezTo>
                      <a:pt x="712" y="123"/>
                      <a:pt x="711" y="121"/>
                      <a:pt x="710" y="120"/>
                    </a:cubicBezTo>
                    <a:cubicBezTo>
                      <a:pt x="708" y="117"/>
                      <a:pt x="708" y="117"/>
                      <a:pt x="708" y="117"/>
                    </a:cubicBezTo>
                    <a:cubicBezTo>
                      <a:pt x="707" y="116"/>
                      <a:pt x="707" y="116"/>
                      <a:pt x="707" y="116"/>
                    </a:cubicBezTo>
                    <a:cubicBezTo>
                      <a:pt x="707" y="116"/>
                      <a:pt x="706" y="116"/>
                      <a:pt x="706" y="116"/>
                    </a:cubicBezTo>
                    <a:cubicBezTo>
                      <a:pt x="705" y="115"/>
                      <a:pt x="704" y="115"/>
                      <a:pt x="704" y="115"/>
                    </a:cubicBezTo>
                    <a:cubicBezTo>
                      <a:pt x="695" y="113"/>
                      <a:pt x="695" y="113"/>
                      <a:pt x="695" y="113"/>
                    </a:cubicBezTo>
                    <a:cubicBezTo>
                      <a:pt x="689" y="115"/>
                      <a:pt x="689" y="115"/>
                      <a:pt x="689" y="115"/>
                    </a:cubicBezTo>
                    <a:cubicBezTo>
                      <a:pt x="689" y="115"/>
                      <a:pt x="689" y="115"/>
                      <a:pt x="689" y="115"/>
                    </a:cubicBezTo>
                    <a:cubicBezTo>
                      <a:pt x="688" y="118"/>
                      <a:pt x="688" y="118"/>
                      <a:pt x="688" y="118"/>
                    </a:cubicBezTo>
                    <a:cubicBezTo>
                      <a:pt x="687" y="118"/>
                      <a:pt x="687" y="118"/>
                      <a:pt x="687" y="118"/>
                    </a:cubicBezTo>
                    <a:cubicBezTo>
                      <a:pt x="687" y="118"/>
                      <a:pt x="687" y="118"/>
                      <a:pt x="686" y="118"/>
                    </a:cubicBezTo>
                    <a:cubicBezTo>
                      <a:pt x="686" y="119"/>
                      <a:pt x="685" y="119"/>
                      <a:pt x="685" y="119"/>
                    </a:cubicBezTo>
                    <a:cubicBezTo>
                      <a:pt x="684" y="119"/>
                      <a:pt x="684" y="119"/>
                      <a:pt x="684" y="119"/>
                    </a:cubicBezTo>
                    <a:cubicBezTo>
                      <a:pt x="683" y="120"/>
                      <a:pt x="683" y="120"/>
                      <a:pt x="683" y="120"/>
                    </a:cubicBezTo>
                    <a:cubicBezTo>
                      <a:pt x="683" y="120"/>
                      <a:pt x="683" y="120"/>
                      <a:pt x="683" y="120"/>
                    </a:cubicBezTo>
                    <a:cubicBezTo>
                      <a:pt x="680" y="120"/>
                      <a:pt x="680" y="120"/>
                      <a:pt x="680" y="120"/>
                    </a:cubicBezTo>
                    <a:cubicBezTo>
                      <a:pt x="671" y="119"/>
                      <a:pt x="671" y="119"/>
                      <a:pt x="671" y="119"/>
                    </a:cubicBezTo>
                    <a:cubicBezTo>
                      <a:pt x="671" y="119"/>
                      <a:pt x="671" y="119"/>
                      <a:pt x="671" y="119"/>
                    </a:cubicBezTo>
                    <a:cubicBezTo>
                      <a:pt x="670" y="119"/>
                      <a:pt x="669" y="119"/>
                      <a:pt x="669" y="119"/>
                    </a:cubicBezTo>
                    <a:cubicBezTo>
                      <a:pt x="668" y="119"/>
                      <a:pt x="668" y="119"/>
                      <a:pt x="667" y="119"/>
                    </a:cubicBezTo>
                    <a:cubicBezTo>
                      <a:pt x="667" y="120"/>
                      <a:pt x="667" y="120"/>
                      <a:pt x="667" y="120"/>
                    </a:cubicBezTo>
                    <a:cubicBezTo>
                      <a:pt x="666" y="120"/>
                      <a:pt x="666" y="120"/>
                      <a:pt x="665" y="120"/>
                    </a:cubicBezTo>
                    <a:cubicBezTo>
                      <a:pt x="665" y="120"/>
                      <a:pt x="665" y="120"/>
                      <a:pt x="664" y="120"/>
                    </a:cubicBezTo>
                    <a:cubicBezTo>
                      <a:pt x="662" y="119"/>
                      <a:pt x="662" y="119"/>
                      <a:pt x="662" y="119"/>
                    </a:cubicBezTo>
                    <a:cubicBezTo>
                      <a:pt x="661" y="119"/>
                      <a:pt x="661" y="119"/>
                      <a:pt x="661" y="119"/>
                    </a:cubicBezTo>
                    <a:cubicBezTo>
                      <a:pt x="661" y="118"/>
                      <a:pt x="661" y="118"/>
                      <a:pt x="661" y="118"/>
                    </a:cubicBezTo>
                    <a:cubicBezTo>
                      <a:pt x="660" y="118"/>
                      <a:pt x="659" y="117"/>
                      <a:pt x="658" y="116"/>
                    </a:cubicBezTo>
                    <a:cubicBezTo>
                      <a:pt x="657" y="115"/>
                      <a:pt x="657" y="115"/>
                      <a:pt x="656" y="114"/>
                    </a:cubicBezTo>
                    <a:cubicBezTo>
                      <a:pt x="654" y="114"/>
                      <a:pt x="654" y="114"/>
                      <a:pt x="654" y="114"/>
                    </a:cubicBezTo>
                    <a:cubicBezTo>
                      <a:pt x="653" y="112"/>
                      <a:pt x="653" y="112"/>
                      <a:pt x="653" y="112"/>
                    </a:cubicBezTo>
                    <a:cubicBezTo>
                      <a:pt x="653" y="111"/>
                      <a:pt x="653" y="111"/>
                      <a:pt x="653" y="111"/>
                    </a:cubicBezTo>
                    <a:cubicBezTo>
                      <a:pt x="653" y="110"/>
                      <a:pt x="653" y="110"/>
                      <a:pt x="653" y="110"/>
                    </a:cubicBezTo>
                    <a:cubicBezTo>
                      <a:pt x="653" y="109"/>
                      <a:pt x="654" y="108"/>
                      <a:pt x="654" y="107"/>
                    </a:cubicBezTo>
                    <a:cubicBezTo>
                      <a:pt x="649" y="106"/>
                      <a:pt x="649" y="106"/>
                      <a:pt x="649" y="106"/>
                    </a:cubicBezTo>
                    <a:cubicBezTo>
                      <a:pt x="649" y="107"/>
                      <a:pt x="649" y="107"/>
                      <a:pt x="649" y="107"/>
                    </a:cubicBezTo>
                    <a:cubicBezTo>
                      <a:pt x="647" y="108"/>
                      <a:pt x="647" y="108"/>
                      <a:pt x="647" y="108"/>
                    </a:cubicBezTo>
                    <a:cubicBezTo>
                      <a:pt x="647" y="108"/>
                      <a:pt x="647" y="108"/>
                      <a:pt x="646" y="108"/>
                    </a:cubicBezTo>
                    <a:cubicBezTo>
                      <a:pt x="646" y="108"/>
                      <a:pt x="646" y="108"/>
                      <a:pt x="646" y="108"/>
                    </a:cubicBezTo>
                    <a:cubicBezTo>
                      <a:pt x="646" y="108"/>
                      <a:pt x="646" y="108"/>
                      <a:pt x="646" y="108"/>
                    </a:cubicBezTo>
                    <a:cubicBezTo>
                      <a:pt x="646" y="109"/>
                      <a:pt x="647" y="110"/>
                      <a:pt x="646" y="111"/>
                    </a:cubicBezTo>
                    <a:cubicBezTo>
                      <a:pt x="646" y="112"/>
                      <a:pt x="646" y="112"/>
                      <a:pt x="646" y="112"/>
                    </a:cubicBezTo>
                    <a:cubicBezTo>
                      <a:pt x="646" y="112"/>
                      <a:pt x="646" y="112"/>
                      <a:pt x="646" y="112"/>
                    </a:cubicBezTo>
                    <a:cubicBezTo>
                      <a:pt x="652" y="116"/>
                      <a:pt x="652" y="116"/>
                      <a:pt x="652" y="116"/>
                    </a:cubicBezTo>
                    <a:cubicBezTo>
                      <a:pt x="645" y="113"/>
                      <a:pt x="645" y="113"/>
                      <a:pt x="645" y="113"/>
                    </a:cubicBezTo>
                    <a:cubicBezTo>
                      <a:pt x="645" y="114"/>
                      <a:pt x="645" y="114"/>
                      <a:pt x="645" y="114"/>
                    </a:cubicBezTo>
                    <a:cubicBezTo>
                      <a:pt x="642" y="115"/>
                      <a:pt x="642" y="115"/>
                      <a:pt x="642" y="115"/>
                    </a:cubicBezTo>
                    <a:cubicBezTo>
                      <a:pt x="642" y="115"/>
                      <a:pt x="642" y="115"/>
                      <a:pt x="642" y="115"/>
                    </a:cubicBezTo>
                    <a:cubicBezTo>
                      <a:pt x="641" y="115"/>
                      <a:pt x="641" y="115"/>
                      <a:pt x="641" y="115"/>
                    </a:cubicBezTo>
                    <a:cubicBezTo>
                      <a:pt x="641" y="115"/>
                      <a:pt x="641" y="115"/>
                      <a:pt x="641" y="115"/>
                    </a:cubicBezTo>
                    <a:cubicBezTo>
                      <a:pt x="641" y="115"/>
                      <a:pt x="641" y="115"/>
                      <a:pt x="641" y="115"/>
                    </a:cubicBezTo>
                    <a:cubicBezTo>
                      <a:pt x="640" y="116"/>
                      <a:pt x="640" y="117"/>
                      <a:pt x="639" y="117"/>
                    </a:cubicBezTo>
                    <a:cubicBezTo>
                      <a:pt x="639" y="118"/>
                      <a:pt x="639" y="118"/>
                      <a:pt x="639" y="118"/>
                    </a:cubicBezTo>
                    <a:cubicBezTo>
                      <a:pt x="637" y="119"/>
                      <a:pt x="637" y="119"/>
                      <a:pt x="637" y="119"/>
                    </a:cubicBezTo>
                    <a:cubicBezTo>
                      <a:pt x="636" y="119"/>
                      <a:pt x="636" y="119"/>
                      <a:pt x="636" y="119"/>
                    </a:cubicBezTo>
                    <a:cubicBezTo>
                      <a:pt x="635" y="118"/>
                      <a:pt x="635" y="118"/>
                      <a:pt x="635" y="118"/>
                    </a:cubicBezTo>
                    <a:cubicBezTo>
                      <a:pt x="634" y="116"/>
                      <a:pt x="634" y="116"/>
                      <a:pt x="634" y="116"/>
                    </a:cubicBezTo>
                    <a:cubicBezTo>
                      <a:pt x="631" y="114"/>
                      <a:pt x="631" y="114"/>
                      <a:pt x="631" y="114"/>
                    </a:cubicBezTo>
                    <a:cubicBezTo>
                      <a:pt x="632" y="113"/>
                      <a:pt x="632" y="113"/>
                      <a:pt x="632" y="113"/>
                    </a:cubicBezTo>
                    <a:cubicBezTo>
                      <a:pt x="628" y="108"/>
                      <a:pt x="624" y="101"/>
                      <a:pt x="620" y="95"/>
                    </a:cubicBezTo>
                    <a:cubicBezTo>
                      <a:pt x="618" y="92"/>
                      <a:pt x="618" y="92"/>
                      <a:pt x="618" y="92"/>
                    </a:cubicBezTo>
                    <a:cubicBezTo>
                      <a:pt x="614" y="86"/>
                      <a:pt x="610" y="79"/>
                      <a:pt x="606" y="72"/>
                    </a:cubicBezTo>
                    <a:cubicBezTo>
                      <a:pt x="601" y="66"/>
                      <a:pt x="601" y="66"/>
                      <a:pt x="601" y="66"/>
                    </a:cubicBezTo>
                    <a:cubicBezTo>
                      <a:pt x="594" y="56"/>
                      <a:pt x="594" y="56"/>
                      <a:pt x="594" y="56"/>
                    </a:cubicBezTo>
                    <a:cubicBezTo>
                      <a:pt x="591" y="53"/>
                      <a:pt x="589" y="51"/>
                      <a:pt x="587" y="49"/>
                    </a:cubicBezTo>
                    <a:cubicBezTo>
                      <a:pt x="576" y="42"/>
                      <a:pt x="576" y="42"/>
                      <a:pt x="576" y="42"/>
                    </a:cubicBezTo>
                    <a:cubicBezTo>
                      <a:pt x="572" y="38"/>
                      <a:pt x="572" y="38"/>
                      <a:pt x="572" y="38"/>
                    </a:cubicBezTo>
                    <a:cubicBezTo>
                      <a:pt x="571" y="37"/>
                      <a:pt x="569" y="36"/>
                      <a:pt x="568" y="34"/>
                    </a:cubicBezTo>
                    <a:cubicBezTo>
                      <a:pt x="563" y="29"/>
                      <a:pt x="563" y="29"/>
                      <a:pt x="563" y="29"/>
                    </a:cubicBezTo>
                    <a:cubicBezTo>
                      <a:pt x="555" y="32"/>
                      <a:pt x="555" y="32"/>
                      <a:pt x="555" y="32"/>
                    </a:cubicBezTo>
                    <a:cubicBezTo>
                      <a:pt x="553" y="33"/>
                      <a:pt x="550" y="35"/>
                      <a:pt x="548" y="36"/>
                    </a:cubicBezTo>
                    <a:cubicBezTo>
                      <a:pt x="547" y="36"/>
                      <a:pt x="547" y="36"/>
                      <a:pt x="547" y="36"/>
                    </a:cubicBezTo>
                    <a:cubicBezTo>
                      <a:pt x="545" y="38"/>
                      <a:pt x="542" y="39"/>
                      <a:pt x="539" y="40"/>
                    </a:cubicBezTo>
                    <a:cubicBezTo>
                      <a:pt x="531" y="43"/>
                      <a:pt x="531" y="43"/>
                      <a:pt x="531" y="43"/>
                    </a:cubicBezTo>
                    <a:cubicBezTo>
                      <a:pt x="531" y="44"/>
                      <a:pt x="531" y="44"/>
                      <a:pt x="531" y="44"/>
                    </a:cubicBezTo>
                    <a:cubicBezTo>
                      <a:pt x="531" y="44"/>
                      <a:pt x="531" y="45"/>
                      <a:pt x="531" y="46"/>
                    </a:cubicBezTo>
                    <a:cubicBezTo>
                      <a:pt x="531" y="48"/>
                      <a:pt x="531" y="48"/>
                      <a:pt x="531" y="48"/>
                    </a:cubicBezTo>
                    <a:cubicBezTo>
                      <a:pt x="528" y="50"/>
                      <a:pt x="528" y="50"/>
                      <a:pt x="528" y="50"/>
                    </a:cubicBezTo>
                    <a:cubicBezTo>
                      <a:pt x="525" y="48"/>
                      <a:pt x="525" y="48"/>
                      <a:pt x="525" y="48"/>
                    </a:cubicBezTo>
                    <a:cubicBezTo>
                      <a:pt x="524" y="48"/>
                      <a:pt x="524" y="48"/>
                      <a:pt x="524" y="47"/>
                    </a:cubicBezTo>
                    <a:cubicBezTo>
                      <a:pt x="522" y="47"/>
                      <a:pt x="522" y="47"/>
                      <a:pt x="522" y="47"/>
                    </a:cubicBezTo>
                    <a:cubicBezTo>
                      <a:pt x="518" y="47"/>
                      <a:pt x="518" y="47"/>
                      <a:pt x="518" y="47"/>
                    </a:cubicBezTo>
                    <a:cubicBezTo>
                      <a:pt x="517" y="47"/>
                      <a:pt x="517" y="47"/>
                      <a:pt x="517" y="47"/>
                    </a:cubicBezTo>
                    <a:cubicBezTo>
                      <a:pt x="516" y="47"/>
                      <a:pt x="516" y="47"/>
                      <a:pt x="515" y="48"/>
                    </a:cubicBezTo>
                    <a:cubicBezTo>
                      <a:pt x="509" y="52"/>
                      <a:pt x="509" y="52"/>
                      <a:pt x="509" y="52"/>
                    </a:cubicBezTo>
                    <a:cubicBezTo>
                      <a:pt x="503" y="42"/>
                      <a:pt x="503" y="42"/>
                      <a:pt x="503" y="42"/>
                    </a:cubicBezTo>
                    <a:cubicBezTo>
                      <a:pt x="505" y="40"/>
                      <a:pt x="505" y="40"/>
                      <a:pt x="505" y="40"/>
                    </a:cubicBezTo>
                    <a:cubicBezTo>
                      <a:pt x="505" y="39"/>
                      <a:pt x="507" y="38"/>
                      <a:pt x="507" y="37"/>
                    </a:cubicBezTo>
                    <a:cubicBezTo>
                      <a:pt x="508" y="36"/>
                      <a:pt x="508" y="36"/>
                      <a:pt x="508" y="36"/>
                    </a:cubicBezTo>
                    <a:cubicBezTo>
                      <a:pt x="504" y="37"/>
                      <a:pt x="504" y="37"/>
                      <a:pt x="504" y="37"/>
                    </a:cubicBezTo>
                    <a:cubicBezTo>
                      <a:pt x="503" y="36"/>
                      <a:pt x="503" y="36"/>
                      <a:pt x="503" y="36"/>
                    </a:cubicBezTo>
                    <a:cubicBezTo>
                      <a:pt x="501" y="36"/>
                      <a:pt x="499" y="35"/>
                      <a:pt x="497" y="34"/>
                    </a:cubicBezTo>
                    <a:cubicBezTo>
                      <a:pt x="497" y="34"/>
                      <a:pt x="497" y="34"/>
                      <a:pt x="497" y="34"/>
                    </a:cubicBezTo>
                    <a:cubicBezTo>
                      <a:pt x="496" y="34"/>
                      <a:pt x="496" y="34"/>
                      <a:pt x="496" y="34"/>
                    </a:cubicBezTo>
                    <a:cubicBezTo>
                      <a:pt x="495" y="35"/>
                      <a:pt x="495" y="35"/>
                      <a:pt x="495" y="35"/>
                    </a:cubicBezTo>
                    <a:cubicBezTo>
                      <a:pt x="494" y="36"/>
                      <a:pt x="494" y="36"/>
                      <a:pt x="493" y="37"/>
                    </a:cubicBezTo>
                    <a:cubicBezTo>
                      <a:pt x="491" y="38"/>
                      <a:pt x="491" y="38"/>
                      <a:pt x="491" y="38"/>
                    </a:cubicBezTo>
                    <a:cubicBezTo>
                      <a:pt x="486" y="39"/>
                      <a:pt x="486" y="39"/>
                      <a:pt x="486" y="39"/>
                    </a:cubicBezTo>
                    <a:cubicBezTo>
                      <a:pt x="488" y="34"/>
                      <a:pt x="488" y="34"/>
                      <a:pt x="488" y="34"/>
                    </a:cubicBezTo>
                    <a:cubicBezTo>
                      <a:pt x="488" y="34"/>
                      <a:pt x="488" y="34"/>
                      <a:pt x="488" y="34"/>
                    </a:cubicBezTo>
                    <a:cubicBezTo>
                      <a:pt x="488" y="33"/>
                      <a:pt x="488" y="33"/>
                      <a:pt x="488" y="33"/>
                    </a:cubicBezTo>
                    <a:cubicBezTo>
                      <a:pt x="487" y="32"/>
                      <a:pt x="487" y="32"/>
                      <a:pt x="487" y="32"/>
                    </a:cubicBezTo>
                    <a:cubicBezTo>
                      <a:pt x="487" y="32"/>
                      <a:pt x="487" y="32"/>
                      <a:pt x="487" y="31"/>
                    </a:cubicBezTo>
                    <a:cubicBezTo>
                      <a:pt x="486" y="33"/>
                      <a:pt x="486" y="33"/>
                      <a:pt x="486" y="33"/>
                    </a:cubicBezTo>
                    <a:cubicBezTo>
                      <a:pt x="483" y="31"/>
                      <a:pt x="483" y="31"/>
                      <a:pt x="483" y="31"/>
                    </a:cubicBezTo>
                    <a:cubicBezTo>
                      <a:pt x="482" y="31"/>
                      <a:pt x="482" y="31"/>
                      <a:pt x="482" y="31"/>
                    </a:cubicBezTo>
                    <a:cubicBezTo>
                      <a:pt x="482" y="31"/>
                      <a:pt x="482" y="31"/>
                      <a:pt x="482" y="31"/>
                    </a:cubicBezTo>
                    <a:cubicBezTo>
                      <a:pt x="478" y="32"/>
                      <a:pt x="478" y="32"/>
                      <a:pt x="478" y="32"/>
                    </a:cubicBezTo>
                    <a:cubicBezTo>
                      <a:pt x="474" y="33"/>
                      <a:pt x="474" y="33"/>
                      <a:pt x="474" y="33"/>
                    </a:cubicBezTo>
                    <a:cubicBezTo>
                      <a:pt x="473" y="33"/>
                      <a:pt x="472" y="33"/>
                      <a:pt x="471" y="33"/>
                    </a:cubicBezTo>
                    <a:cubicBezTo>
                      <a:pt x="470" y="33"/>
                      <a:pt x="470" y="33"/>
                      <a:pt x="470" y="33"/>
                    </a:cubicBezTo>
                    <a:cubicBezTo>
                      <a:pt x="469" y="33"/>
                      <a:pt x="469" y="33"/>
                      <a:pt x="469" y="33"/>
                    </a:cubicBezTo>
                    <a:cubicBezTo>
                      <a:pt x="467" y="33"/>
                      <a:pt x="467" y="33"/>
                      <a:pt x="467" y="33"/>
                    </a:cubicBezTo>
                    <a:cubicBezTo>
                      <a:pt x="465" y="32"/>
                      <a:pt x="465" y="32"/>
                      <a:pt x="465" y="32"/>
                    </a:cubicBezTo>
                    <a:cubicBezTo>
                      <a:pt x="464" y="31"/>
                      <a:pt x="464" y="31"/>
                      <a:pt x="464" y="31"/>
                    </a:cubicBezTo>
                    <a:cubicBezTo>
                      <a:pt x="464" y="31"/>
                      <a:pt x="464" y="31"/>
                      <a:pt x="464" y="31"/>
                    </a:cubicBezTo>
                    <a:cubicBezTo>
                      <a:pt x="463" y="30"/>
                      <a:pt x="463" y="30"/>
                      <a:pt x="463" y="30"/>
                    </a:cubicBezTo>
                    <a:cubicBezTo>
                      <a:pt x="463" y="29"/>
                      <a:pt x="463" y="29"/>
                      <a:pt x="463" y="29"/>
                    </a:cubicBezTo>
                    <a:cubicBezTo>
                      <a:pt x="462" y="29"/>
                      <a:pt x="462" y="28"/>
                      <a:pt x="462" y="28"/>
                    </a:cubicBezTo>
                    <a:cubicBezTo>
                      <a:pt x="461" y="27"/>
                      <a:pt x="461" y="27"/>
                      <a:pt x="461" y="26"/>
                    </a:cubicBezTo>
                    <a:cubicBezTo>
                      <a:pt x="461" y="26"/>
                      <a:pt x="461" y="26"/>
                      <a:pt x="461" y="26"/>
                    </a:cubicBezTo>
                    <a:cubicBezTo>
                      <a:pt x="461" y="24"/>
                      <a:pt x="461" y="24"/>
                      <a:pt x="461" y="24"/>
                    </a:cubicBezTo>
                    <a:cubicBezTo>
                      <a:pt x="462" y="23"/>
                      <a:pt x="462" y="23"/>
                      <a:pt x="462" y="23"/>
                    </a:cubicBezTo>
                    <a:cubicBezTo>
                      <a:pt x="463" y="23"/>
                      <a:pt x="463" y="23"/>
                      <a:pt x="463" y="23"/>
                    </a:cubicBezTo>
                    <a:cubicBezTo>
                      <a:pt x="464" y="23"/>
                      <a:pt x="464" y="23"/>
                      <a:pt x="464" y="23"/>
                    </a:cubicBezTo>
                    <a:cubicBezTo>
                      <a:pt x="465" y="23"/>
                      <a:pt x="465" y="23"/>
                      <a:pt x="465" y="23"/>
                    </a:cubicBezTo>
                    <a:cubicBezTo>
                      <a:pt x="464" y="21"/>
                      <a:pt x="464" y="21"/>
                      <a:pt x="464" y="21"/>
                    </a:cubicBezTo>
                    <a:cubicBezTo>
                      <a:pt x="464" y="18"/>
                      <a:pt x="464" y="18"/>
                      <a:pt x="464" y="18"/>
                    </a:cubicBezTo>
                    <a:cubicBezTo>
                      <a:pt x="466" y="15"/>
                      <a:pt x="466" y="15"/>
                      <a:pt x="466" y="15"/>
                    </a:cubicBezTo>
                    <a:cubicBezTo>
                      <a:pt x="465" y="14"/>
                      <a:pt x="465" y="14"/>
                      <a:pt x="465" y="14"/>
                    </a:cubicBezTo>
                    <a:cubicBezTo>
                      <a:pt x="462" y="9"/>
                      <a:pt x="462" y="9"/>
                      <a:pt x="462" y="9"/>
                    </a:cubicBezTo>
                    <a:cubicBezTo>
                      <a:pt x="461" y="7"/>
                      <a:pt x="460" y="4"/>
                      <a:pt x="458" y="2"/>
                    </a:cubicBezTo>
                    <a:cubicBezTo>
                      <a:pt x="458" y="1"/>
                      <a:pt x="458" y="1"/>
                      <a:pt x="458" y="1"/>
                    </a:cubicBezTo>
                    <a:cubicBezTo>
                      <a:pt x="455" y="2"/>
                      <a:pt x="455" y="2"/>
                      <a:pt x="455" y="2"/>
                    </a:cubicBezTo>
                    <a:cubicBezTo>
                      <a:pt x="454" y="3"/>
                      <a:pt x="452" y="4"/>
                      <a:pt x="451" y="5"/>
                    </a:cubicBezTo>
                    <a:cubicBezTo>
                      <a:pt x="450" y="5"/>
                      <a:pt x="450" y="5"/>
                      <a:pt x="450" y="5"/>
                    </a:cubicBezTo>
                    <a:cubicBezTo>
                      <a:pt x="448" y="6"/>
                      <a:pt x="448" y="6"/>
                      <a:pt x="448" y="6"/>
                    </a:cubicBezTo>
                    <a:cubicBezTo>
                      <a:pt x="447" y="5"/>
                      <a:pt x="447" y="5"/>
                      <a:pt x="447" y="5"/>
                    </a:cubicBezTo>
                    <a:cubicBezTo>
                      <a:pt x="445" y="5"/>
                      <a:pt x="444" y="4"/>
                      <a:pt x="443" y="4"/>
                    </a:cubicBezTo>
                    <a:cubicBezTo>
                      <a:pt x="442" y="4"/>
                      <a:pt x="442" y="4"/>
                      <a:pt x="442" y="4"/>
                    </a:cubicBezTo>
                    <a:cubicBezTo>
                      <a:pt x="441" y="3"/>
                      <a:pt x="440" y="2"/>
                      <a:pt x="439" y="1"/>
                    </a:cubicBezTo>
                    <a:cubicBezTo>
                      <a:pt x="438" y="1"/>
                      <a:pt x="438" y="1"/>
                      <a:pt x="438" y="1"/>
                    </a:cubicBezTo>
                    <a:cubicBezTo>
                      <a:pt x="437" y="0"/>
                      <a:pt x="437" y="0"/>
                      <a:pt x="437" y="0"/>
                    </a:cubicBezTo>
                    <a:cubicBezTo>
                      <a:pt x="431" y="0"/>
                      <a:pt x="431" y="0"/>
                      <a:pt x="4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 name="Freeform 405">
                <a:extLst>
                  <a:ext uri="{FF2B5EF4-FFF2-40B4-BE49-F238E27FC236}">
                    <a16:creationId xmlns:a16="http://schemas.microsoft.com/office/drawing/2014/main" id="{75E6F5B0-221E-4A6F-AD7E-5AD9CB348F08}"/>
                  </a:ext>
                </a:extLst>
              </p:cNvPr>
              <p:cNvSpPr>
                <a:spLocks/>
              </p:cNvSpPr>
              <p:nvPr/>
            </p:nvSpPr>
            <p:spPr bwMode="auto">
              <a:xfrm>
                <a:off x="5960" y="593"/>
                <a:ext cx="4" cy="4"/>
              </a:xfrm>
              <a:custGeom>
                <a:avLst/>
                <a:gdLst>
                  <a:gd name="T0" fmla="*/ 2 w 2"/>
                  <a:gd name="T1" fmla="*/ 0 h 2"/>
                  <a:gd name="T2" fmla="*/ 0 w 2"/>
                  <a:gd name="T3" fmla="*/ 1 h 2"/>
                  <a:gd name="T4" fmla="*/ 2 w 2"/>
                  <a:gd name="T5" fmla="*/ 2 h 2"/>
                  <a:gd name="T6" fmla="*/ 2 w 2"/>
                  <a:gd name="T7" fmla="*/ 1 h 2"/>
                  <a:gd name="T8" fmla="*/ 2 w 2"/>
                  <a:gd name="T9" fmla="*/ 1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0" y="1"/>
                      <a:pt x="0" y="1"/>
                      <a:pt x="0" y="1"/>
                    </a:cubicBezTo>
                    <a:cubicBezTo>
                      <a:pt x="1" y="1"/>
                      <a:pt x="1" y="1"/>
                      <a:pt x="2" y="2"/>
                    </a:cubicBezTo>
                    <a:cubicBezTo>
                      <a:pt x="2" y="1"/>
                      <a:pt x="2" y="1"/>
                      <a:pt x="2" y="1"/>
                    </a:cubicBezTo>
                    <a:cubicBezTo>
                      <a:pt x="2"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7" name="Rectangle 407">
              <a:extLst>
                <a:ext uri="{FF2B5EF4-FFF2-40B4-BE49-F238E27FC236}">
                  <a16:creationId xmlns:a16="http://schemas.microsoft.com/office/drawing/2014/main" id="{7BA382C5-8FDC-4228-BBD4-25B166D55F6F}"/>
                </a:ext>
              </a:extLst>
            </p:cNvPr>
            <p:cNvSpPr>
              <a:spLocks noChangeArrowheads="1"/>
            </p:cNvSpPr>
            <p:nvPr/>
          </p:nvSpPr>
          <p:spPr bwMode="auto">
            <a:xfrm>
              <a:off x="1566640" y="3258406"/>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408">
              <a:extLst>
                <a:ext uri="{FF2B5EF4-FFF2-40B4-BE49-F238E27FC236}">
                  <a16:creationId xmlns:a16="http://schemas.microsoft.com/office/drawing/2014/main" id="{86DFD594-E01D-4019-A8CD-6D4ED655DEE0}"/>
                </a:ext>
              </a:extLst>
            </p:cNvPr>
            <p:cNvSpPr>
              <a:spLocks/>
            </p:cNvSpPr>
            <p:nvPr/>
          </p:nvSpPr>
          <p:spPr bwMode="auto">
            <a:xfrm>
              <a:off x="1566640" y="325840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Rectangle 409">
              <a:extLst>
                <a:ext uri="{FF2B5EF4-FFF2-40B4-BE49-F238E27FC236}">
                  <a16:creationId xmlns:a16="http://schemas.microsoft.com/office/drawing/2014/main" id="{27979D81-A5E9-44B9-8F12-47A0BF4BDFB6}"/>
                </a:ext>
              </a:extLst>
            </p:cNvPr>
            <p:cNvSpPr>
              <a:spLocks noChangeArrowheads="1"/>
            </p:cNvSpPr>
            <p:nvPr/>
          </p:nvSpPr>
          <p:spPr bwMode="auto">
            <a:xfrm>
              <a:off x="5596712" y="3570633"/>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410">
              <a:extLst>
                <a:ext uri="{FF2B5EF4-FFF2-40B4-BE49-F238E27FC236}">
                  <a16:creationId xmlns:a16="http://schemas.microsoft.com/office/drawing/2014/main" id="{E729DDF9-B429-4288-B9E3-E9D135322EA6}"/>
                </a:ext>
              </a:extLst>
            </p:cNvPr>
            <p:cNvSpPr>
              <a:spLocks/>
            </p:cNvSpPr>
            <p:nvPr/>
          </p:nvSpPr>
          <p:spPr bwMode="auto">
            <a:xfrm>
              <a:off x="5596712" y="357063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411">
              <a:extLst>
                <a:ext uri="{FF2B5EF4-FFF2-40B4-BE49-F238E27FC236}">
                  <a16:creationId xmlns:a16="http://schemas.microsoft.com/office/drawing/2014/main" id="{AD68FCC9-03C3-4315-84CC-F82FE4CDAD5C}"/>
                </a:ext>
              </a:extLst>
            </p:cNvPr>
            <p:cNvSpPr>
              <a:spLocks/>
            </p:cNvSpPr>
            <p:nvPr/>
          </p:nvSpPr>
          <p:spPr bwMode="auto">
            <a:xfrm>
              <a:off x="3841636" y="3466099"/>
              <a:ext cx="6878" cy="6878"/>
            </a:xfrm>
            <a:custGeom>
              <a:avLst/>
              <a:gdLst>
                <a:gd name="T0" fmla="*/ 2 w 2"/>
                <a:gd name="T1" fmla="*/ 0 h 2"/>
                <a:gd name="T2" fmla="*/ 0 w 2"/>
                <a:gd name="T3" fmla="*/ 0 h 2"/>
                <a:gd name="T4" fmla="*/ 0 w 2"/>
                <a:gd name="T5" fmla="*/ 0 h 2"/>
                <a:gd name="T6" fmla="*/ 1 w 2"/>
                <a:gd name="T7" fmla="*/ 2 h 2"/>
                <a:gd name="T8" fmla="*/ 2 w 2"/>
                <a:gd name="T9" fmla="*/ 1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1" y="0"/>
                    <a:pt x="0" y="0"/>
                    <a:pt x="0" y="0"/>
                  </a:cubicBezTo>
                  <a:cubicBezTo>
                    <a:pt x="0" y="0"/>
                    <a:pt x="0" y="0"/>
                    <a:pt x="0" y="0"/>
                  </a:cubicBezTo>
                  <a:cubicBezTo>
                    <a:pt x="1" y="2"/>
                    <a:pt x="1" y="2"/>
                    <a:pt x="1" y="2"/>
                  </a:cubicBezTo>
                  <a:cubicBezTo>
                    <a:pt x="1" y="1"/>
                    <a:pt x="2" y="1"/>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412">
              <a:extLst>
                <a:ext uri="{FF2B5EF4-FFF2-40B4-BE49-F238E27FC236}">
                  <a16:creationId xmlns:a16="http://schemas.microsoft.com/office/drawing/2014/main" id="{19ED1FCA-9491-4063-B3FD-14B7C01DF343}"/>
                </a:ext>
              </a:extLst>
            </p:cNvPr>
            <p:cNvSpPr>
              <a:spLocks noEditPoints="1"/>
            </p:cNvSpPr>
            <p:nvPr/>
          </p:nvSpPr>
          <p:spPr bwMode="auto">
            <a:xfrm>
              <a:off x="2983355" y="3105731"/>
              <a:ext cx="3771487" cy="2398787"/>
            </a:xfrm>
            <a:custGeom>
              <a:avLst/>
              <a:gdLst>
                <a:gd name="T0" fmla="*/ 111 w 1160"/>
                <a:gd name="T1" fmla="*/ 446 h 738"/>
                <a:gd name="T2" fmla="*/ 104 w 1160"/>
                <a:gd name="T3" fmla="*/ 413 h 738"/>
                <a:gd name="T4" fmla="*/ 893 w 1160"/>
                <a:gd name="T5" fmla="*/ 20 h 738"/>
                <a:gd name="T6" fmla="*/ 869 w 1160"/>
                <a:gd name="T7" fmla="*/ 87 h 738"/>
                <a:gd name="T8" fmla="*/ 826 w 1160"/>
                <a:gd name="T9" fmla="*/ 139 h 738"/>
                <a:gd name="T10" fmla="*/ 862 w 1160"/>
                <a:gd name="T11" fmla="*/ 171 h 738"/>
                <a:gd name="T12" fmla="*/ 779 w 1160"/>
                <a:gd name="T13" fmla="*/ 203 h 738"/>
                <a:gd name="T14" fmla="*/ 729 w 1160"/>
                <a:gd name="T15" fmla="*/ 234 h 738"/>
                <a:gd name="T16" fmla="*/ 627 w 1160"/>
                <a:gd name="T17" fmla="*/ 275 h 738"/>
                <a:gd name="T18" fmla="*/ 537 w 1160"/>
                <a:gd name="T19" fmla="*/ 276 h 738"/>
                <a:gd name="T20" fmla="*/ 428 w 1160"/>
                <a:gd name="T21" fmla="*/ 260 h 738"/>
                <a:gd name="T22" fmla="*/ 346 w 1160"/>
                <a:gd name="T23" fmla="*/ 209 h 738"/>
                <a:gd name="T24" fmla="*/ 309 w 1160"/>
                <a:gd name="T25" fmla="*/ 143 h 738"/>
                <a:gd name="T26" fmla="*/ 254 w 1160"/>
                <a:gd name="T27" fmla="*/ 112 h 738"/>
                <a:gd name="T28" fmla="*/ 183 w 1160"/>
                <a:gd name="T29" fmla="*/ 160 h 738"/>
                <a:gd name="T30" fmla="*/ 129 w 1160"/>
                <a:gd name="T31" fmla="*/ 226 h 738"/>
                <a:gd name="T32" fmla="*/ 92 w 1160"/>
                <a:gd name="T33" fmla="*/ 294 h 738"/>
                <a:gd name="T34" fmla="*/ 45 w 1160"/>
                <a:gd name="T35" fmla="*/ 317 h 738"/>
                <a:gd name="T36" fmla="*/ 2 w 1160"/>
                <a:gd name="T37" fmla="*/ 336 h 738"/>
                <a:gd name="T38" fmla="*/ 20 w 1160"/>
                <a:gd name="T39" fmla="*/ 356 h 738"/>
                <a:gd name="T40" fmla="*/ 54 w 1160"/>
                <a:gd name="T41" fmla="*/ 409 h 738"/>
                <a:gd name="T42" fmla="*/ 95 w 1160"/>
                <a:gd name="T43" fmla="*/ 446 h 738"/>
                <a:gd name="T44" fmla="*/ 93 w 1160"/>
                <a:gd name="T45" fmla="*/ 488 h 738"/>
                <a:gd name="T46" fmla="*/ 126 w 1160"/>
                <a:gd name="T47" fmla="*/ 526 h 738"/>
                <a:gd name="T48" fmla="*/ 186 w 1160"/>
                <a:gd name="T49" fmla="*/ 546 h 738"/>
                <a:gd name="T50" fmla="*/ 219 w 1160"/>
                <a:gd name="T51" fmla="*/ 571 h 738"/>
                <a:gd name="T52" fmla="*/ 275 w 1160"/>
                <a:gd name="T53" fmla="*/ 580 h 738"/>
                <a:gd name="T54" fmla="*/ 319 w 1160"/>
                <a:gd name="T55" fmla="*/ 575 h 738"/>
                <a:gd name="T56" fmla="*/ 364 w 1160"/>
                <a:gd name="T57" fmla="*/ 570 h 738"/>
                <a:gd name="T58" fmla="*/ 412 w 1160"/>
                <a:gd name="T59" fmla="*/ 557 h 738"/>
                <a:gd name="T60" fmla="*/ 448 w 1160"/>
                <a:gd name="T61" fmla="*/ 573 h 738"/>
                <a:gd name="T62" fmla="*/ 477 w 1160"/>
                <a:gd name="T63" fmla="*/ 617 h 738"/>
                <a:gd name="T64" fmla="*/ 457 w 1160"/>
                <a:gd name="T65" fmla="*/ 662 h 738"/>
                <a:gd name="T66" fmla="*/ 491 w 1160"/>
                <a:gd name="T67" fmla="*/ 687 h 738"/>
                <a:gd name="T68" fmla="*/ 523 w 1160"/>
                <a:gd name="T69" fmla="*/ 707 h 738"/>
                <a:gd name="T70" fmla="*/ 544 w 1160"/>
                <a:gd name="T71" fmla="*/ 688 h 738"/>
                <a:gd name="T72" fmla="*/ 584 w 1160"/>
                <a:gd name="T73" fmla="*/ 686 h 738"/>
                <a:gd name="T74" fmla="*/ 632 w 1160"/>
                <a:gd name="T75" fmla="*/ 688 h 738"/>
                <a:gd name="T76" fmla="*/ 662 w 1160"/>
                <a:gd name="T77" fmla="*/ 709 h 738"/>
                <a:gd name="T78" fmla="*/ 687 w 1160"/>
                <a:gd name="T79" fmla="*/ 716 h 738"/>
                <a:gd name="T80" fmla="*/ 729 w 1160"/>
                <a:gd name="T81" fmla="*/ 705 h 738"/>
                <a:gd name="T82" fmla="*/ 753 w 1160"/>
                <a:gd name="T83" fmla="*/ 685 h 738"/>
                <a:gd name="T84" fmla="*/ 778 w 1160"/>
                <a:gd name="T85" fmla="*/ 692 h 738"/>
                <a:gd name="T86" fmla="*/ 820 w 1160"/>
                <a:gd name="T87" fmla="*/ 678 h 738"/>
                <a:gd name="T88" fmla="*/ 852 w 1160"/>
                <a:gd name="T89" fmla="*/ 649 h 738"/>
                <a:gd name="T90" fmla="*/ 878 w 1160"/>
                <a:gd name="T91" fmla="*/ 614 h 738"/>
                <a:gd name="T92" fmla="*/ 903 w 1160"/>
                <a:gd name="T93" fmla="*/ 574 h 738"/>
                <a:gd name="T94" fmla="*/ 910 w 1160"/>
                <a:gd name="T95" fmla="*/ 551 h 738"/>
                <a:gd name="T96" fmla="*/ 887 w 1160"/>
                <a:gd name="T97" fmla="*/ 499 h 738"/>
                <a:gd name="T98" fmla="*/ 887 w 1160"/>
                <a:gd name="T99" fmla="*/ 412 h 738"/>
                <a:gd name="T100" fmla="*/ 928 w 1160"/>
                <a:gd name="T101" fmla="*/ 381 h 738"/>
                <a:gd name="T102" fmla="*/ 842 w 1160"/>
                <a:gd name="T103" fmla="*/ 363 h 738"/>
                <a:gd name="T104" fmla="*/ 918 w 1160"/>
                <a:gd name="T105" fmla="*/ 337 h 738"/>
                <a:gd name="T106" fmla="*/ 995 w 1160"/>
                <a:gd name="T107" fmla="*/ 299 h 738"/>
                <a:gd name="T108" fmla="*/ 1052 w 1160"/>
                <a:gd name="T109" fmla="*/ 274 h 738"/>
                <a:gd name="T110" fmla="*/ 1103 w 1160"/>
                <a:gd name="T111" fmla="*/ 202 h 738"/>
                <a:gd name="T112" fmla="*/ 1142 w 1160"/>
                <a:gd name="T113" fmla="*/ 179 h 738"/>
                <a:gd name="T114" fmla="*/ 1160 w 1160"/>
                <a:gd name="T115" fmla="*/ 129 h 738"/>
                <a:gd name="T116" fmla="*/ 1084 w 1160"/>
                <a:gd name="T117" fmla="*/ 130 h 738"/>
                <a:gd name="T118" fmla="*/ 1023 w 1160"/>
                <a:gd name="T119" fmla="*/ 91 h 738"/>
                <a:gd name="T120" fmla="*/ 994 w 1160"/>
                <a:gd name="T121" fmla="*/ 1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0" h="738">
                  <a:moveTo>
                    <a:pt x="103" y="455"/>
                  </a:moveTo>
                  <a:cubicBezTo>
                    <a:pt x="103" y="455"/>
                    <a:pt x="103" y="455"/>
                    <a:pt x="103" y="455"/>
                  </a:cubicBezTo>
                  <a:cubicBezTo>
                    <a:pt x="103" y="455"/>
                    <a:pt x="103" y="455"/>
                    <a:pt x="103" y="455"/>
                  </a:cubicBezTo>
                  <a:moveTo>
                    <a:pt x="98" y="457"/>
                  </a:moveTo>
                  <a:cubicBezTo>
                    <a:pt x="98" y="456"/>
                    <a:pt x="98" y="456"/>
                    <a:pt x="98" y="456"/>
                  </a:cubicBezTo>
                  <a:cubicBezTo>
                    <a:pt x="98" y="455"/>
                    <a:pt x="98" y="455"/>
                    <a:pt x="98" y="455"/>
                  </a:cubicBezTo>
                  <a:cubicBezTo>
                    <a:pt x="101" y="455"/>
                    <a:pt x="101" y="455"/>
                    <a:pt x="101" y="455"/>
                  </a:cubicBezTo>
                  <a:cubicBezTo>
                    <a:pt x="101" y="455"/>
                    <a:pt x="101" y="455"/>
                    <a:pt x="101" y="455"/>
                  </a:cubicBezTo>
                  <a:cubicBezTo>
                    <a:pt x="102" y="455"/>
                    <a:pt x="102" y="455"/>
                    <a:pt x="102" y="455"/>
                  </a:cubicBezTo>
                  <a:cubicBezTo>
                    <a:pt x="98" y="457"/>
                    <a:pt x="98" y="457"/>
                    <a:pt x="98" y="457"/>
                  </a:cubicBezTo>
                  <a:cubicBezTo>
                    <a:pt x="98" y="457"/>
                    <a:pt x="98" y="457"/>
                    <a:pt x="98" y="457"/>
                  </a:cubicBezTo>
                  <a:moveTo>
                    <a:pt x="99" y="455"/>
                  </a:moveTo>
                  <a:cubicBezTo>
                    <a:pt x="99" y="455"/>
                    <a:pt x="99" y="455"/>
                    <a:pt x="99" y="455"/>
                  </a:cubicBezTo>
                  <a:cubicBezTo>
                    <a:pt x="99" y="455"/>
                    <a:pt x="100" y="455"/>
                    <a:pt x="100" y="455"/>
                  </a:cubicBezTo>
                  <a:cubicBezTo>
                    <a:pt x="100" y="455"/>
                    <a:pt x="100" y="455"/>
                    <a:pt x="100" y="455"/>
                  </a:cubicBezTo>
                  <a:cubicBezTo>
                    <a:pt x="100" y="455"/>
                    <a:pt x="100" y="455"/>
                    <a:pt x="100" y="455"/>
                  </a:cubicBezTo>
                  <a:cubicBezTo>
                    <a:pt x="100" y="455"/>
                    <a:pt x="100" y="455"/>
                    <a:pt x="100" y="455"/>
                  </a:cubicBezTo>
                  <a:cubicBezTo>
                    <a:pt x="100" y="455"/>
                    <a:pt x="99" y="455"/>
                    <a:pt x="99" y="455"/>
                  </a:cubicBezTo>
                  <a:cubicBezTo>
                    <a:pt x="99" y="455"/>
                    <a:pt x="99" y="455"/>
                    <a:pt x="99" y="455"/>
                  </a:cubicBezTo>
                  <a:moveTo>
                    <a:pt x="110" y="452"/>
                  </a:moveTo>
                  <a:cubicBezTo>
                    <a:pt x="110" y="451"/>
                    <a:pt x="111" y="451"/>
                    <a:pt x="111" y="450"/>
                  </a:cubicBezTo>
                  <a:cubicBezTo>
                    <a:pt x="111" y="451"/>
                    <a:pt x="110" y="451"/>
                    <a:pt x="110" y="452"/>
                  </a:cubicBezTo>
                  <a:moveTo>
                    <a:pt x="113" y="446"/>
                  </a:moveTo>
                  <a:cubicBezTo>
                    <a:pt x="113" y="446"/>
                    <a:pt x="113" y="446"/>
                    <a:pt x="113" y="446"/>
                  </a:cubicBezTo>
                  <a:cubicBezTo>
                    <a:pt x="113" y="446"/>
                    <a:pt x="113" y="446"/>
                    <a:pt x="113" y="446"/>
                  </a:cubicBezTo>
                  <a:cubicBezTo>
                    <a:pt x="113" y="446"/>
                    <a:pt x="113" y="446"/>
                    <a:pt x="113" y="446"/>
                  </a:cubicBezTo>
                  <a:moveTo>
                    <a:pt x="113" y="446"/>
                  </a:moveTo>
                  <a:cubicBezTo>
                    <a:pt x="113" y="446"/>
                    <a:pt x="113" y="446"/>
                    <a:pt x="113" y="446"/>
                  </a:cubicBezTo>
                  <a:cubicBezTo>
                    <a:pt x="113" y="446"/>
                    <a:pt x="113" y="446"/>
                    <a:pt x="113" y="446"/>
                  </a:cubicBezTo>
                  <a:moveTo>
                    <a:pt x="111" y="446"/>
                  </a:moveTo>
                  <a:cubicBezTo>
                    <a:pt x="112" y="446"/>
                    <a:pt x="112" y="446"/>
                    <a:pt x="112" y="446"/>
                  </a:cubicBezTo>
                  <a:cubicBezTo>
                    <a:pt x="112" y="446"/>
                    <a:pt x="112" y="446"/>
                    <a:pt x="113" y="446"/>
                  </a:cubicBezTo>
                  <a:cubicBezTo>
                    <a:pt x="113" y="446"/>
                    <a:pt x="113" y="446"/>
                    <a:pt x="113" y="446"/>
                  </a:cubicBezTo>
                  <a:cubicBezTo>
                    <a:pt x="113" y="446"/>
                    <a:pt x="113" y="446"/>
                    <a:pt x="113" y="446"/>
                  </a:cubicBezTo>
                  <a:cubicBezTo>
                    <a:pt x="112" y="446"/>
                    <a:pt x="112" y="446"/>
                    <a:pt x="112" y="446"/>
                  </a:cubicBezTo>
                  <a:cubicBezTo>
                    <a:pt x="112" y="446"/>
                    <a:pt x="112" y="446"/>
                    <a:pt x="111" y="446"/>
                  </a:cubicBezTo>
                  <a:cubicBezTo>
                    <a:pt x="111" y="446"/>
                    <a:pt x="111" y="446"/>
                    <a:pt x="111" y="446"/>
                  </a:cubicBezTo>
                  <a:cubicBezTo>
                    <a:pt x="111" y="446"/>
                    <a:pt x="111" y="446"/>
                    <a:pt x="111" y="446"/>
                  </a:cubicBezTo>
                  <a:moveTo>
                    <a:pt x="114" y="445"/>
                  </a:moveTo>
                  <a:cubicBezTo>
                    <a:pt x="114" y="445"/>
                    <a:pt x="114" y="445"/>
                    <a:pt x="114" y="445"/>
                  </a:cubicBezTo>
                  <a:cubicBezTo>
                    <a:pt x="115" y="444"/>
                    <a:pt x="116" y="443"/>
                    <a:pt x="117" y="442"/>
                  </a:cubicBezTo>
                  <a:cubicBezTo>
                    <a:pt x="118" y="440"/>
                    <a:pt x="120" y="438"/>
                    <a:pt x="121" y="435"/>
                  </a:cubicBezTo>
                  <a:cubicBezTo>
                    <a:pt x="122" y="435"/>
                    <a:pt x="122" y="434"/>
                    <a:pt x="123" y="433"/>
                  </a:cubicBezTo>
                  <a:cubicBezTo>
                    <a:pt x="123" y="432"/>
                    <a:pt x="123" y="431"/>
                    <a:pt x="124" y="430"/>
                  </a:cubicBezTo>
                  <a:cubicBezTo>
                    <a:pt x="123" y="431"/>
                    <a:pt x="123" y="432"/>
                    <a:pt x="123" y="433"/>
                  </a:cubicBezTo>
                  <a:cubicBezTo>
                    <a:pt x="122" y="434"/>
                    <a:pt x="122" y="435"/>
                    <a:pt x="121" y="435"/>
                  </a:cubicBezTo>
                  <a:cubicBezTo>
                    <a:pt x="120" y="438"/>
                    <a:pt x="118" y="440"/>
                    <a:pt x="117" y="442"/>
                  </a:cubicBezTo>
                  <a:cubicBezTo>
                    <a:pt x="116" y="443"/>
                    <a:pt x="115" y="444"/>
                    <a:pt x="114" y="445"/>
                  </a:cubicBezTo>
                  <a:cubicBezTo>
                    <a:pt x="114" y="445"/>
                    <a:pt x="114" y="445"/>
                    <a:pt x="114" y="445"/>
                  </a:cubicBezTo>
                  <a:moveTo>
                    <a:pt x="124" y="430"/>
                  </a:moveTo>
                  <a:cubicBezTo>
                    <a:pt x="124" y="429"/>
                    <a:pt x="125" y="427"/>
                    <a:pt x="126" y="425"/>
                  </a:cubicBezTo>
                  <a:cubicBezTo>
                    <a:pt x="126" y="425"/>
                    <a:pt x="126" y="424"/>
                    <a:pt x="126" y="424"/>
                  </a:cubicBezTo>
                  <a:cubicBezTo>
                    <a:pt x="126" y="424"/>
                    <a:pt x="126" y="425"/>
                    <a:pt x="126" y="425"/>
                  </a:cubicBezTo>
                  <a:cubicBezTo>
                    <a:pt x="125" y="427"/>
                    <a:pt x="124" y="429"/>
                    <a:pt x="124" y="430"/>
                  </a:cubicBezTo>
                  <a:moveTo>
                    <a:pt x="103" y="413"/>
                  </a:moveTo>
                  <a:cubicBezTo>
                    <a:pt x="103" y="413"/>
                    <a:pt x="103" y="413"/>
                    <a:pt x="103" y="413"/>
                  </a:cubicBezTo>
                  <a:cubicBezTo>
                    <a:pt x="103" y="413"/>
                    <a:pt x="103" y="413"/>
                    <a:pt x="103" y="413"/>
                  </a:cubicBezTo>
                  <a:cubicBezTo>
                    <a:pt x="103" y="413"/>
                    <a:pt x="103" y="413"/>
                    <a:pt x="103" y="413"/>
                  </a:cubicBezTo>
                  <a:moveTo>
                    <a:pt x="103" y="413"/>
                  </a:moveTo>
                  <a:cubicBezTo>
                    <a:pt x="103" y="413"/>
                    <a:pt x="104" y="413"/>
                    <a:pt x="104" y="413"/>
                  </a:cubicBezTo>
                  <a:cubicBezTo>
                    <a:pt x="104" y="413"/>
                    <a:pt x="103" y="413"/>
                    <a:pt x="103" y="413"/>
                  </a:cubicBezTo>
                  <a:moveTo>
                    <a:pt x="944" y="0"/>
                  </a:moveTo>
                  <a:cubicBezTo>
                    <a:pt x="943" y="0"/>
                    <a:pt x="943" y="0"/>
                    <a:pt x="943" y="0"/>
                  </a:cubicBezTo>
                  <a:cubicBezTo>
                    <a:pt x="942" y="0"/>
                    <a:pt x="942" y="0"/>
                    <a:pt x="942" y="0"/>
                  </a:cubicBezTo>
                  <a:cubicBezTo>
                    <a:pt x="942" y="0"/>
                    <a:pt x="941" y="1"/>
                    <a:pt x="940" y="1"/>
                  </a:cubicBezTo>
                  <a:cubicBezTo>
                    <a:pt x="938" y="1"/>
                    <a:pt x="938" y="1"/>
                    <a:pt x="938" y="1"/>
                  </a:cubicBezTo>
                  <a:cubicBezTo>
                    <a:pt x="935" y="2"/>
                    <a:pt x="933" y="2"/>
                    <a:pt x="929" y="3"/>
                  </a:cubicBezTo>
                  <a:cubicBezTo>
                    <a:pt x="920" y="3"/>
                    <a:pt x="920" y="3"/>
                    <a:pt x="920" y="3"/>
                  </a:cubicBezTo>
                  <a:cubicBezTo>
                    <a:pt x="917" y="4"/>
                    <a:pt x="917" y="4"/>
                    <a:pt x="917" y="4"/>
                  </a:cubicBezTo>
                  <a:cubicBezTo>
                    <a:pt x="913" y="5"/>
                    <a:pt x="909" y="6"/>
                    <a:pt x="904" y="6"/>
                  </a:cubicBezTo>
                  <a:cubicBezTo>
                    <a:pt x="903" y="6"/>
                    <a:pt x="903" y="6"/>
                    <a:pt x="902" y="6"/>
                  </a:cubicBezTo>
                  <a:cubicBezTo>
                    <a:pt x="902" y="6"/>
                    <a:pt x="902" y="6"/>
                    <a:pt x="902" y="6"/>
                  </a:cubicBezTo>
                  <a:cubicBezTo>
                    <a:pt x="901" y="6"/>
                    <a:pt x="900" y="7"/>
                    <a:pt x="900" y="7"/>
                  </a:cubicBezTo>
                  <a:cubicBezTo>
                    <a:pt x="898" y="7"/>
                    <a:pt x="898" y="7"/>
                    <a:pt x="898" y="7"/>
                  </a:cubicBezTo>
                  <a:cubicBezTo>
                    <a:pt x="898" y="7"/>
                    <a:pt x="898" y="7"/>
                    <a:pt x="898" y="7"/>
                  </a:cubicBezTo>
                  <a:cubicBezTo>
                    <a:pt x="897" y="8"/>
                    <a:pt x="897" y="8"/>
                    <a:pt x="897" y="8"/>
                  </a:cubicBezTo>
                  <a:cubicBezTo>
                    <a:pt x="895" y="9"/>
                    <a:pt x="894" y="11"/>
                    <a:pt x="892" y="12"/>
                  </a:cubicBezTo>
                  <a:cubicBezTo>
                    <a:pt x="892" y="13"/>
                    <a:pt x="892" y="13"/>
                    <a:pt x="892" y="13"/>
                  </a:cubicBezTo>
                  <a:cubicBezTo>
                    <a:pt x="891" y="14"/>
                    <a:pt x="890" y="14"/>
                    <a:pt x="889" y="15"/>
                  </a:cubicBezTo>
                  <a:cubicBezTo>
                    <a:pt x="889" y="15"/>
                    <a:pt x="889" y="15"/>
                    <a:pt x="889" y="15"/>
                  </a:cubicBezTo>
                  <a:cubicBezTo>
                    <a:pt x="888" y="16"/>
                    <a:pt x="888" y="16"/>
                    <a:pt x="888" y="16"/>
                  </a:cubicBezTo>
                  <a:cubicBezTo>
                    <a:pt x="886" y="17"/>
                    <a:pt x="885" y="18"/>
                    <a:pt x="884" y="19"/>
                  </a:cubicBezTo>
                  <a:cubicBezTo>
                    <a:pt x="884" y="20"/>
                    <a:pt x="884" y="20"/>
                    <a:pt x="884" y="20"/>
                  </a:cubicBezTo>
                  <a:cubicBezTo>
                    <a:pt x="884" y="20"/>
                    <a:pt x="884" y="20"/>
                    <a:pt x="884" y="20"/>
                  </a:cubicBezTo>
                  <a:cubicBezTo>
                    <a:pt x="885" y="20"/>
                    <a:pt x="886" y="20"/>
                    <a:pt x="887" y="19"/>
                  </a:cubicBezTo>
                  <a:cubicBezTo>
                    <a:pt x="888" y="19"/>
                    <a:pt x="888" y="19"/>
                    <a:pt x="889" y="19"/>
                  </a:cubicBezTo>
                  <a:cubicBezTo>
                    <a:pt x="890" y="19"/>
                    <a:pt x="890" y="19"/>
                    <a:pt x="891" y="19"/>
                  </a:cubicBezTo>
                  <a:cubicBezTo>
                    <a:pt x="891" y="20"/>
                    <a:pt x="891" y="20"/>
                    <a:pt x="891" y="20"/>
                  </a:cubicBezTo>
                  <a:cubicBezTo>
                    <a:pt x="892" y="20"/>
                    <a:pt x="892" y="20"/>
                    <a:pt x="893" y="20"/>
                  </a:cubicBezTo>
                  <a:cubicBezTo>
                    <a:pt x="893" y="20"/>
                    <a:pt x="893" y="20"/>
                    <a:pt x="893" y="20"/>
                  </a:cubicBezTo>
                  <a:cubicBezTo>
                    <a:pt x="893" y="20"/>
                    <a:pt x="894" y="21"/>
                    <a:pt x="894" y="21"/>
                  </a:cubicBezTo>
                  <a:cubicBezTo>
                    <a:pt x="895" y="21"/>
                    <a:pt x="895" y="21"/>
                    <a:pt x="895" y="21"/>
                  </a:cubicBezTo>
                  <a:cubicBezTo>
                    <a:pt x="895" y="21"/>
                    <a:pt x="895" y="21"/>
                    <a:pt x="895" y="21"/>
                  </a:cubicBezTo>
                  <a:cubicBezTo>
                    <a:pt x="896" y="23"/>
                    <a:pt x="897" y="24"/>
                    <a:pt x="897" y="25"/>
                  </a:cubicBezTo>
                  <a:cubicBezTo>
                    <a:pt x="897" y="26"/>
                    <a:pt x="897" y="26"/>
                    <a:pt x="897" y="26"/>
                  </a:cubicBezTo>
                  <a:cubicBezTo>
                    <a:pt x="896" y="29"/>
                    <a:pt x="896" y="29"/>
                    <a:pt x="896" y="29"/>
                  </a:cubicBezTo>
                  <a:cubicBezTo>
                    <a:pt x="897" y="30"/>
                    <a:pt x="897" y="30"/>
                    <a:pt x="897" y="30"/>
                  </a:cubicBezTo>
                  <a:cubicBezTo>
                    <a:pt x="897" y="31"/>
                    <a:pt x="897" y="31"/>
                    <a:pt x="897" y="31"/>
                  </a:cubicBezTo>
                  <a:cubicBezTo>
                    <a:pt x="898" y="31"/>
                    <a:pt x="898" y="31"/>
                    <a:pt x="898" y="31"/>
                  </a:cubicBezTo>
                  <a:cubicBezTo>
                    <a:pt x="898" y="32"/>
                    <a:pt x="898" y="32"/>
                    <a:pt x="898" y="32"/>
                  </a:cubicBezTo>
                  <a:cubicBezTo>
                    <a:pt x="898" y="32"/>
                    <a:pt x="898" y="32"/>
                    <a:pt x="898" y="32"/>
                  </a:cubicBezTo>
                  <a:cubicBezTo>
                    <a:pt x="898" y="33"/>
                    <a:pt x="898" y="33"/>
                    <a:pt x="898" y="33"/>
                  </a:cubicBezTo>
                  <a:cubicBezTo>
                    <a:pt x="898" y="34"/>
                    <a:pt x="898" y="34"/>
                    <a:pt x="897" y="35"/>
                  </a:cubicBezTo>
                  <a:cubicBezTo>
                    <a:pt x="896" y="37"/>
                    <a:pt x="894" y="39"/>
                    <a:pt x="892" y="41"/>
                  </a:cubicBezTo>
                  <a:cubicBezTo>
                    <a:pt x="883" y="51"/>
                    <a:pt x="883" y="51"/>
                    <a:pt x="883" y="51"/>
                  </a:cubicBezTo>
                  <a:cubicBezTo>
                    <a:pt x="882" y="53"/>
                    <a:pt x="882" y="53"/>
                    <a:pt x="882" y="53"/>
                  </a:cubicBezTo>
                  <a:cubicBezTo>
                    <a:pt x="880" y="56"/>
                    <a:pt x="879" y="58"/>
                    <a:pt x="878" y="60"/>
                  </a:cubicBezTo>
                  <a:cubicBezTo>
                    <a:pt x="874" y="66"/>
                    <a:pt x="874" y="66"/>
                    <a:pt x="874" y="66"/>
                  </a:cubicBezTo>
                  <a:cubicBezTo>
                    <a:pt x="872" y="72"/>
                    <a:pt x="872" y="72"/>
                    <a:pt x="872" y="72"/>
                  </a:cubicBezTo>
                  <a:cubicBezTo>
                    <a:pt x="871" y="78"/>
                    <a:pt x="871" y="78"/>
                    <a:pt x="871" y="78"/>
                  </a:cubicBezTo>
                  <a:cubicBezTo>
                    <a:pt x="871" y="79"/>
                    <a:pt x="871" y="79"/>
                    <a:pt x="871" y="79"/>
                  </a:cubicBezTo>
                  <a:cubicBezTo>
                    <a:pt x="871" y="79"/>
                    <a:pt x="871" y="79"/>
                    <a:pt x="871" y="79"/>
                  </a:cubicBezTo>
                  <a:cubicBezTo>
                    <a:pt x="871" y="80"/>
                    <a:pt x="871" y="81"/>
                    <a:pt x="871" y="81"/>
                  </a:cubicBezTo>
                  <a:cubicBezTo>
                    <a:pt x="871" y="82"/>
                    <a:pt x="871" y="82"/>
                    <a:pt x="871" y="82"/>
                  </a:cubicBezTo>
                  <a:cubicBezTo>
                    <a:pt x="871" y="82"/>
                    <a:pt x="871" y="82"/>
                    <a:pt x="871" y="82"/>
                  </a:cubicBezTo>
                  <a:cubicBezTo>
                    <a:pt x="871" y="83"/>
                    <a:pt x="871" y="83"/>
                    <a:pt x="871" y="83"/>
                  </a:cubicBezTo>
                  <a:cubicBezTo>
                    <a:pt x="871" y="84"/>
                    <a:pt x="871" y="84"/>
                    <a:pt x="871" y="84"/>
                  </a:cubicBezTo>
                  <a:cubicBezTo>
                    <a:pt x="871" y="85"/>
                    <a:pt x="871" y="85"/>
                    <a:pt x="870" y="85"/>
                  </a:cubicBezTo>
                  <a:cubicBezTo>
                    <a:pt x="870" y="86"/>
                    <a:pt x="870" y="86"/>
                    <a:pt x="870" y="86"/>
                  </a:cubicBezTo>
                  <a:cubicBezTo>
                    <a:pt x="870" y="87"/>
                    <a:pt x="869" y="87"/>
                    <a:pt x="869" y="87"/>
                  </a:cubicBezTo>
                  <a:cubicBezTo>
                    <a:pt x="868" y="87"/>
                    <a:pt x="868" y="87"/>
                    <a:pt x="868" y="87"/>
                  </a:cubicBezTo>
                  <a:cubicBezTo>
                    <a:pt x="862" y="90"/>
                    <a:pt x="862" y="90"/>
                    <a:pt x="862" y="90"/>
                  </a:cubicBezTo>
                  <a:cubicBezTo>
                    <a:pt x="854" y="92"/>
                    <a:pt x="854" y="92"/>
                    <a:pt x="854" y="92"/>
                  </a:cubicBezTo>
                  <a:cubicBezTo>
                    <a:pt x="853" y="92"/>
                    <a:pt x="851" y="94"/>
                    <a:pt x="849" y="96"/>
                  </a:cubicBezTo>
                  <a:cubicBezTo>
                    <a:pt x="849" y="96"/>
                    <a:pt x="849" y="96"/>
                    <a:pt x="849" y="96"/>
                  </a:cubicBezTo>
                  <a:cubicBezTo>
                    <a:pt x="841" y="102"/>
                    <a:pt x="841" y="102"/>
                    <a:pt x="841" y="102"/>
                  </a:cubicBezTo>
                  <a:cubicBezTo>
                    <a:pt x="834" y="99"/>
                    <a:pt x="834" y="99"/>
                    <a:pt x="834" y="99"/>
                  </a:cubicBezTo>
                  <a:cubicBezTo>
                    <a:pt x="833" y="101"/>
                    <a:pt x="833" y="101"/>
                    <a:pt x="833" y="101"/>
                  </a:cubicBezTo>
                  <a:cubicBezTo>
                    <a:pt x="833" y="99"/>
                    <a:pt x="833" y="99"/>
                    <a:pt x="833" y="99"/>
                  </a:cubicBezTo>
                  <a:cubicBezTo>
                    <a:pt x="822" y="95"/>
                    <a:pt x="822" y="95"/>
                    <a:pt x="822" y="95"/>
                  </a:cubicBezTo>
                  <a:cubicBezTo>
                    <a:pt x="821" y="95"/>
                    <a:pt x="820" y="95"/>
                    <a:pt x="819" y="95"/>
                  </a:cubicBezTo>
                  <a:cubicBezTo>
                    <a:pt x="815" y="103"/>
                    <a:pt x="815" y="103"/>
                    <a:pt x="815" y="103"/>
                  </a:cubicBezTo>
                  <a:cubicBezTo>
                    <a:pt x="813" y="107"/>
                    <a:pt x="811" y="111"/>
                    <a:pt x="809" y="115"/>
                  </a:cubicBezTo>
                  <a:cubicBezTo>
                    <a:pt x="803" y="126"/>
                    <a:pt x="803" y="126"/>
                    <a:pt x="803" y="126"/>
                  </a:cubicBezTo>
                  <a:cubicBezTo>
                    <a:pt x="803" y="126"/>
                    <a:pt x="803" y="126"/>
                    <a:pt x="804" y="127"/>
                  </a:cubicBezTo>
                  <a:cubicBezTo>
                    <a:pt x="804" y="127"/>
                    <a:pt x="804" y="127"/>
                    <a:pt x="804" y="127"/>
                  </a:cubicBezTo>
                  <a:cubicBezTo>
                    <a:pt x="804" y="129"/>
                    <a:pt x="804" y="131"/>
                    <a:pt x="802" y="133"/>
                  </a:cubicBezTo>
                  <a:cubicBezTo>
                    <a:pt x="801" y="134"/>
                    <a:pt x="800" y="134"/>
                    <a:pt x="800" y="134"/>
                  </a:cubicBezTo>
                  <a:cubicBezTo>
                    <a:pt x="799" y="135"/>
                    <a:pt x="799" y="135"/>
                    <a:pt x="799" y="135"/>
                  </a:cubicBezTo>
                  <a:cubicBezTo>
                    <a:pt x="799" y="135"/>
                    <a:pt x="799" y="136"/>
                    <a:pt x="799" y="136"/>
                  </a:cubicBezTo>
                  <a:cubicBezTo>
                    <a:pt x="799" y="136"/>
                    <a:pt x="799" y="136"/>
                    <a:pt x="799" y="136"/>
                  </a:cubicBezTo>
                  <a:cubicBezTo>
                    <a:pt x="799" y="137"/>
                    <a:pt x="799" y="137"/>
                    <a:pt x="799" y="137"/>
                  </a:cubicBezTo>
                  <a:cubicBezTo>
                    <a:pt x="799" y="137"/>
                    <a:pt x="799" y="137"/>
                    <a:pt x="799" y="137"/>
                  </a:cubicBezTo>
                  <a:cubicBezTo>
                    <a:pt x="800" y="138"/>
                    <a:pt x="800" y="139"/>
                    <a:pt x="801" y="139"/>
                  </a:cubicBezTo>
                  <a:cubicBezTo>
                    <a:pt x="802" y="141"/>
                    <a:pt x="803" y="141"/>
                    <a:pt x="803" y="142"/>
                  </a:cubicBezTo>
                  <a:cubicBezTo>
                    <a:pt x="804" y="141"/>
                    <a:pt x="805" y="140"/>
                    <a:pt x="806" y="140"/>
                  </a:cubicBezTo>
                  <a:cubicBezTo>
                    <a:pt x="808" y="140"/>
                    <a:pt x="810" y="139"/>
                    <a:pt x="812" y="139"/>
                  </a:cubicBezTo>
                  <a:cubicBezTo>
                    <a:pt x="821" y="138"/>
                    <a:pt x="821" y="138"/>
                    <a:pt x="821" y="138"/>
                  </a:cubicBezTo>
                  <a:cubicBezTo>
                    <a:pt x="821" y="138"/>
                    <a:pt x="821" y="138"/>
                    <a:pt x="821" y="138"/>
                  </a:cubicBezTo>
                  <a:cubicBezTo>
                    <a:pt x="823" y="138"/>
                    <a:pt x="824" y="138"/>
                    <a:pt x="826" y="139"/>
                  </a:cubicBezTo>
                  <a:cubicBezTo>
                    <a:pt x="826" y="139"/>
                    <a:pt x="826" y="140"/>
                    <a:pt x="827" y="140"/>
                  </a:cubicBezTo>
                  <a:cubicBezTo>
                    <a:pt x="827" y="140"/>
                    <a:pt x="827" y="140"/>
                    <a:pt x="827" y="140"/>
                  </a:cubicBezTo>
                  <a:cubicBezTo>
                    <a:pt x="829" y="142"/>
                    <a:pt x="830" y="142"/>
                    <a:pt x="830" y="143"/>
                  </a:cubicBezTo>
                  <a:cubicBezTo>
                    <a:pt x="831" y="142"/>
                    <a:pt x="831" y="142"/>
                    <a:pt x="831" y="142"/>
                  </a:cubicBezTo>
                  <a:cubicBezTo>
                    <a:pt x="831" y="142"/>
                    <a:pt x="831" y="142"/>
                    <a:pt x="831" y="142"/>
                  </a:cubicBezTo>
                  <a:cubicBezTo>
                    <a:pt x="831" y="141"/>
                    <a:pt x="831" y="141"/>
                    <a:pt x="831" y="141"/>
                  </a:cubicBezTo>
                  <a:cubicBezTo>
                    <a:pt x="834" y="139"/>
                    <a:pt x="836" y="137"/>
                    <a:pt x="839" y="136"/>
                  </a:cubicBezTo>
                  <a:cubicBezTo>
                    <a:pt x="840" y="136"/>
                    <a:pt x="841" y="136"/>
                    <a:pt x="842" y="136"/>
                  </a:cubicBezTo>
                  <a:cubicBezTo>
                    <a:pt x="843" y="136"/>
                    <a:pt x="843" y="136"/>
                    <a:pt x="843" y="136"/>
                  </a:cubicBezTo>
                  <a:cubicBezTo>
                    <a:pt x="844" y="136"/>
                    <a:pt x="845" y="136"/>
                    <a:pt x="846" y="136"/>
                  </a:cubicBezTo>
                  <a:cubicBezTo>
                    <a:pt x="848" y="135"/>
                    <a:pt x="849" y="135"/>
                    <a:pt x="851" y="135"/>
                  </a:cubicBezTo>
                  <a:cubicBezTo>
                    <a:pt x="852" y="135"/>
                    <a:pt x="852" y="135"/>
                    <a:pt x="853" y="135"/>
                  </a:cubicBezTo>
                  <a:cubicBezTo>
                    <a:pt x="853" y="135"/>
                    <a:pt x="854" y="135"/>
                    <a:pt x="854" y="136"/>
                  </a:cubicBezTo>
                  <a:cubicBezTo>
                    <a:pt x="855" y="136"/>
                    <a:pt x="855" y="136"/>
                    <a:pt x="856" y="137"/>
                  </a:cubicBezTo>
                  <a:cubicBezTo>
                    <a:pt x="857" y="137"/>
                    <a:pt x="857" y="138"/>
                    <a:pt x="857" y="138"/>
                  </a:cubicBezTo>
                  <a:cubicBezTo>
                    <a:pt x="858" y="139"/>
                    <a:pt x="858" y="139"/>
                    <a:pt x="858" y="139"/>
                  </a:cubicBezTo>
                  <a:cubicBezTo>
                    <a:pt x="859" y="140"/>
                    <a:pt x="860" y="140"/>
                    <a:pt x="861" y="141"/>
                  </a:cubicBezTo>
                  <a:cubicBezTo>
                    <a:pt x="863" y="142"/>
                    <a:pt x="864" y="143"/>
                    <a:pt x="866" y="144"/>
                  </a:cubicBezTo>
                  <a:cubicBezTo>
                    <a:pt x="866" y="145"/>
                    <a:pt x="866" y="145"/>
                    <a:pt x="866" y="145"/>
                  </a:cubicBezTo>
                  <a:cubicBezTo>
                    <a:pt x="867" y="146"/>
                    <a:pt x="867" y="146"/>
                    <a:pt x="867" y="146"/>
                  </a:cubicBezTo>
                  <a:cubicBezTo>
                    <a:pt x="867" y="147"/>
                    <a:pt x="868" y="147"/>
                    <a:pt x="869" y="148"/>
                  </a:cubicBezTo>
                  <a:cubicBezTo>
                    <a:pt x="870" y="148"/>
                    <a:pt x="871" y="149"/>
                    <a:pt x="872" y="151"/>
                  </a:cubicBezTo>
                  <a:cubicBezTo>
                    <a:pt x="873" y="152"/>
                    <a:pt x="874" y="153"/>
                    <a:pt x="875" y="153"/>
                  </a:cubicBezTo>
                  <a:cubicBezTo>
                    <a:pt x="876" y="154"/>
                    <a:pt x="877" y="155"/>
                    <a:pt x="878" y="157"/>
                  </a:cubicBezTo>
                  <a:cubicBezTo>
                    <a:pt x="881" y="161"/>
                    <a:pt x="882" y="164"/>
                    <a:pt x="881" y="168"/>
                  </a:cubicBezTo>
                  <a:cubicBezTo>
                    <a:pt x="881" y="169"/>
                    <a:pt x="881" y="169"/>
                    <a:pt x="881" y="169"/>
                  </a:cubicBezTo>
                  <a:cubicBezTo>
                    <a:pt x="881" y="169"/>
                    <a:pt x="881" y="169"/>
                    <a:pt x="881" y="169"/>
                  </a:cubicBezTo>
                  <a:cubicBezTo>
                    <a:pt x="880" y="171"/>
                    <a:pt x="879" y="171"/>
                    <a:pt x="877" y="171"/>
                  </a:cubicBezTo>
                  <a:cubicBezTo>
                    <a:pt x="867" y="171"/>
                    <a:pt x="867" y="171"/>
                    <a:pt x="867" y="171"/>
                  </a:cubicBezTo>
                  <a:cubicBezTo>
                    <a:pt x="866" y="171"/>
                    <a:pt x="864" y="171"/>
                    <a:pt x="862" y="171"/>
                  </a:cubicBezTo>
                  <a:cubicBezTo>
                    <a:pt x="861" y="171"/>
                    <a:pt x="859" y="170"/>
                    <a:pt x="857" y="170"/>
                  </a:cubicBezTo>
                  <a:cubicBezTo>
                    <a:pt x="855" y="170"/>
                    <a:pt x="853" y="171"/>
                    <a:pt x="852" y="171"/>
                  </a:cubicBezTo>
                  <a:cubicBezTo>
                    <a:pt x="848" y="173"/>
                    <a:pt x="843" y="174"/>
                    <a:pt x="838" y="176"/>
                  </a:cubicBezTo>
                  <a:cubicBezTo>
                    <a:pt x="833" y="178"/>
                    <a:pt x="833" y="178"/>
                    <a:pt x="833" y="178"/>
                  </a:cubicBezTo>
                  <a:cubicBezTo>
                    <a:pt x="832" y="178"/>
                    <a:pt x="831" y="178"/>
                    <a:pt x="830" y="179"/>
                  </a:cubicBezTo>
                  <a:cubicBezTo>
                    <a:pt x="828" y="178"/>
                    <a:pt x="828" y="178"/>
                    <a:pt x="828" y="178"/>
                  </a:cubicBezTo>
                  <a:cubicBezTo>
                    <a:pt x="827" y="178"/>
                    <a:pt x="825" y="178"/>
                    <a:pt x="824" y="178"/>
                  </a:cubicBezTo>
                  <a:cubicBezTo>
                    <a:pt x="820" y="178"/>
                    <a:pt x="818" y="179"/>
                    <a:pt x="817" y="181"/>
                  </a:cubicBezTo>
                  <a:cubicBezTo>
                    <a:pt x="814" y="183"/>
                    <a:pt x="812" y="186"/>
                    <a:pt x="812" y="187"/>
                  </a:cubicBezTo>
                  <a:cubicBezTo>
                    <a:pt x="812" y="188"/>
                    <a:pt x="812" y="188"/>
                    <a:pt x="812" y="188"/>
                  </a:cubicBezTo>
                  <a:cubicBezTo>
                    <a:pt x="812" y="189"/>
                    <a:pt x="812" y="190"/>
                    <a:pt x="811" y="192"/>
                  </a:cubicBezTo>
                  <a:cubicBezTo>
                    <a:pt x="811" y="193"/>
                    <a:pt x="810" y="193"/>
                    <a:pt x="810" y="194"/>
                  </a:cubicBezTo>
                  <a:cubicBezTo>
                    <a:pt x="809" y="194"/>
                    <a:pt x="808" y="195"/>
                    <a:pt x="807" y="195"/>
                  </a:cubicBezTo>
                  <a:cubicBezTo>
                    <a:pt x="807" y="196"/>
                    <a:pt x="807" y="196"/>
                    <a:pt x="807" y="196"/>
                  </a:cubicBezTo>
                  <a:cubicBezTo>
                    <a:pt x="806" y="196"/>
                    <a:pt x="806" y="196"/>
                    <a:pt x="806" y="196"/>
                  </a:cubicBezTo>
                  <a:cubicBezTo>
                    <a:pt x="805" y="196"/>
                    <a:pt x="805" y="196"/>
                    <a:pt x="805" y="196"/>
                  </a:cubicBezTo>
                  <a:cubicBezTo>
                    <a:pt x="804" y="197"/>
                    <a:pt x="804" y="197"/>
                    <a:pt x="803" y="197"/>
                  </a:cubicBezTo>
                  <a:cubicBezTo>
                    <a:pt x="803" y="198"/>
                    <a:pt x="803" y="198"/>
                    <a:pt x="803" y="198"/>
                  </a:cubicBezTo>
                  <a:cubicBezTo>
                    <a:pt x="802" y="198"/>
                    <a:pt x="802" y="198"/>
                    <a:pt x="802" y="198"/>
                  </a:cubicBezTo>
                  <a:cubicBezTo>
                    <a:pt x="802" y="198"/>
                    <a:pt x="801" y="199"/>
                    <a:pt x="801" y="199"/>
                  </a:cubicBezTo>
                  <a:cubicBezTo>
                    <a:pt x="799" y="200"/>
                    <a:pt x="798" y="200"/>
                    <a:pt x="797" y="200"/>
                  </a:cubicBezTo>
                  <a:cubicBezTo>
                    <a:pt x="786" y="201"/>
                    <a:pt x="786" y="201"/>
                    <a:pt x="786" y="201"/>
                  </a:cubicBezTo>
                  <a:cubicBezTo>
                    <a:pt x="786" y="201"/>
                    <a:pt x="786" y="201"/>
                    <a:pt x="786" y="201"/>
                  </a:cubicBezTo>
                  <a:cubicBezTo>
                    <a:pt x="785" y="201"/>
                    <a:pt x="784" y="201"/>
                    <a:pt x="784" y="201"/>
                  </a:cubicBezTo>
                  <a:cubicBezTo>
                    <a:pt x="783" y="200"/>
                    <a:pt x="783" y="200"/>
                    <a:pt x="782" y="200"/>
                  </a:cubicBezTo>
                  <a:cubicBezTo>
                    <a:pt x="782" y="200"/>
                    <a:pt x="781" y="201"/>
                    <a:pt x="781" y="201"/>
                  </a:cubicBezTo>
                  <a:cubicBezTo>
                    <a:pt x="781" y="201"/>
                    <a:pt x="781" y="201"/>
                    <a:pt x="781" y="201"/>
                  </a:cubicBezTo>
                  <a:cubicBezTo>
                    <a:pt x="780" y="201"/>
                    <a:pt x="780" y="202"/>
                    <a:pt x="779" y="202"/>
                  </a:cubicBezTo>
                  <a:cubicBezTo>
                    <a:pt x="779" y="202"/>
                    <a:pt x="779" y="202"/>
                    <a:pt x="779" y="202"/>
                  </a:cubicBezTo>
                  <a:cubicBezTo>
                    <a:pt x="779" y="203"/>
                    <a:pt x="779" y="203"/>
                    <a:pt x="779" y="203"/>
                  </a:cubicBezTo>
                  <a:cubicBezTo>
                    <a:pt x="781" y="205"/>
                    <a:pt x="781" y="205"/>
                    <a:pt x="781" y="205"/>
                  </a:cubicBezTo>
                  <a:cubicBezTo>
                    <a:pt x="778" y="204"/>
                    <a:pt x="778" y="204"/>
                    <a:pt x="778" y="204"/>
                  </a:cubicBezTo>
                  <a:cubicBezTo>
                    <a:pt x="778" y="204"/>
                    <a:pt x="778" y="204"/>
                    <a:pt x="778" y="204"/>
                  </a:cubicBezTo>
                  <a:cubicBezTo>
                    <a:pt x="774" y="207"/>
                    <a:pt x="771" y="210"/>
                    <a:pt x="767" y="213"/>
                  </a:cubicBezTo>
                  <a:cubicBezTo>
                    <a:pt x="766" y="213"/>
                    <a:pt x="766" y="213"/>
                    <a:pt x="765" y="214"/>
                  </a:cubicBezTo>
                  <a:cubicBezTo>
                    <a:pt x="764" y="215"/>
                    <a:pt x="764" y="215"/>
                    <a:pt x="764" y="215"/>
                  </a:cubicBezTo>
                  <a:cubicBezTo>
                    <a:pt x="762" y="216"/>
                    <a:pt x="760" y="216"/>
                    <a:pt x="758" y="217"/>
                  </a:cubicBezTo>
                  <a:cubicBezTo>
                    <a:pt x="757" y="217"/>
                    <a:pt x="756" y="216"/>
                    <a:pt x="755" y="216"/>
                  </a:cubicBezTo>
                  <a:cubicBezTo>
                    <a:pt x="755" y="216"/>
                    <a:pt x="754" y="216"/>
                    <a:pt x="754" y="216"/>
                  </a:cubicBezTo>
                  <a:cubicBezTo>
                    <a:pt x="752" y="216"/>
                    <a:pt x="751" y="215"/>
                    <a:pt x="749" y="215"/>
                  </a:cubicBezTo>
                  <a:cubicBezTo>
                    <a:pt x="748" y="214"/>
                    <a:pt x="747" y="214"/>
                    <a:pt x="746" y="214"/>
                  </a:cubicBezTo>
                  <a:cubicBezTo>
                    <a:pt x="746" y="213"/>
                    <a:pt x="746" y="213"/>
                    <a:pt x="746" y="213"/>
                  </a:cubicBezTo>
                  <a:cubicBezTo>
                    <a:pt x="743" y="212"/>
                    <a:pt x="740" y="211"/>
                    <a:pt x="737" y="210"/>
                  </a:cubicBezTo>
                  <a:cubicBezTo>
                    <a:pt x="737" y="210"/>
                    <a:pt x="737" y="210"/>
                    <a:pt x="737" y="210"/>
                  </a:cubicBezTo>
                  <a:cubicBezTo>
                    <a:pt x="736" y="209"/>
                    <a:pt x="734" y="209"/>
                    <a:pt x="733" y="209"/>
                  </a:cubicBezTo>
                  <a:cubicBezTo>
                    <a:pt x="732" y="209"/>
                    <a:pt x="731" y="209"/>
                    <a:pt x="730" y="209"/>
                  </a:cubicBezTo>
                  <a:cubicBezTo>
                    <a:pt x="729" y="209"/>
                    <a:pt x="729" y="209"/>
                    <a:pt x="729" y="209"/>
                  </a:cubicBezTo>
                  <a:cubicBezTo>
                    <a:pt x="729" y="209"/>
                    <a:pt x="729" y="209"/>
                    <a:pt x="729" y="209"/>
                  </a:cubicBezTo>
                  <a:cubicBezTo>
                    <a:pt x="728" y="209"/>
                    <a:pt x="728" y="210"/>
                    <a:pt x="727" y="210"/>
                  </a:cubicBezTo>
                  <a:cubicBezTo>
                    <a:pt x="727" y="211"/>
                    <a:pt x="727" y="211"/>
                    <a:pt x="727" y="211"/>
                  </a:cubicBezTo>
                  <a:cubicBezTo>
                    <a:pt x="726" y="212"/>
                    <a:pt x="725" y="213"/>
                    <a:pt x="724" y="214"/>
                  </a:cubicBezTo>
                  <a:cubicBezTo>
                    <a:pt x="723" y="216"/>
                    <a:pt x="722" y="218"/>
                    <a:pt x="722" y="220"/>
                  </a:cubicBezTo>
                  <a:cubicBezTo>
                    <a:pt x="720" y="222"/>
                    <a:pt x="720" y="222"/>
                    <a:pt x="720" y="222"/>
                  </a:cubicBezTo>
                  <a:cubicBezTo>
                    <a:pt x="720" y="223"/>
                    <a:pt x="720" y="223"/>
                    <a:pt x="720" y="223"/>
                  </a:cubicBezTo>
                  <a:cubicBezTo>
                    <a:pt x="720" y="223"/>
                    <a:pt x="720" y="223"/>
                    <a:pt x="720" y="223"/>
                  </a:cubicBezTo>
                  <a:cubicBezTo>
                    <a:pt x="721" y="225"/>
                    <a:pt x="722" y="227"/>
                    <a:pt x="723" y="227"/>
                  </a:cubicBezTo>
                  <a:cubicBezTo>
                    <a:pt x="723" y="228"/>
                    <a:pt x="724" y="229"/>
                    <a:pt x="724" y="229"/>
                  </a:cubicBezTo>
                  <a:cubicBezTo>
                    <a:pt x="724" y="229"/>
                    <a:pt x="725" y="230"/>
                    <a:pt x="725" y="230"/>
                  </a:cubicBezTo>
                  <a:cubicBezTo>
                    <a:pt x="726" y="231"/>
                    <a:pt x="728" y="232"/>
                    <a:pt x="729" y="233"/>
                  </a:cubicBezTo>
                  <a:cubicBezTo>
                    <a:pt x="729" y="234"/>
                    <a:pt x="729" y="234"/>
                    <a:pt x="729" y="234"/>
                  </a:cubicBezTo>
                  <a:cubicBezTo>
                    <a:pt x="730" y="237"/>
                    <a:pt x="730" y="239"/>
                    <a:pt x="727" y="241"/>
                  </a:cubicBezTo>
                  <a:cubicBezTo>
                    <a:pt x="724" y="243"/>
                    <a:pt x="722" y="244"/>
                    <a:pt x="718" y="246"/>
                  </a:cubicBezTo>
                  <a:cubicBezTo>
                    <a:pt x="717" y="247"/>
                    <a:pt x="717" y="247"/>
                    <a:pt x="717" y="247"/>
                  </a:cubicBezTo>
                  <a:cubicBezTo>
                    <a:pt x="715" y="248"/>
                    <a:pt x="712" y="249"/>
                    <a:pt x="711" y="250"/>
                  </a:cubicBezTo>
                  <a:cubicBezTo>
                    <a:pt x="709" y="251"/>
                    <a:pt x="707" y="253"/>
                    <a:pt x="706" y="256"/>
                  </a:cubicBezTo>
                  <a:cubicBezTo>
                    <a:pt x="706" y="256"/>
                    <a:pt x="706" y="256"/>
                    <a:pt x="706" y="256"/>
                  </a:cubicBezTo>
                  <a:cubicBezTo>
                    <a:pt x="705" y="257"/>
                    <a:pt x="704" y="258"/>
                    <a:pt x="703" y="259"/>
                  </a:cubicBezTo>
                  <a:cubicBezTo>
                    <a:pt x="701" y="261"/>
                    <a:pt x="700" y="262"/>
                    <a:pt x="698" y="263"/>
                  </a:cubicBezTo>
                  <a:cubicBezTo>
                    <a:pt x="696" y="263"/>
                    <a:pt x="695" y="264"/>
                    <a:pt x="693" y="265"/>
                  </a:cubicBezTo>
                  <a:cubicBezTo>
                    <a:pt x="690" y="266"/>
                    <a:pt x="690" y="266"/>
                    <a:pt x="690" y="266"/>
                  </a:cubicBezTo>
                  <a:cubicBezTo>
                    <a:pt x="688" y="267"/>
                    <a:pt x="688" y="267"/>
                    <a:pt x="688" y="267"/>
                  </a:cubicBezTo>
                  <a:cubicBezTo>
                    <a:pt x="686" y="268"/>
                    <a:pt x="684" y="269"/>
                    <a:pt x="683" y="269"/>
                  </a:cubicBezTo>
                  <a:cubicBezTo>
                    <a:pt x="680" y="270"/>
                    <a:pt x="677" y="271"/>
                    <a:pt x="674" y="271"/>
                  </a:cubicBezTo>
                  <a:cubicBezTo>
                    <a:pt x="673" y="271"/>
                    <a:pt x="672" y="271"/>
                    <a:pt x="672" y="271"/>
                  </a:cubicBezTo>
                  <a:cubicBezTo>
                    <a:pt x="671" y="271"/>
                    <a:pt x="671" y="271"/>
                    <a:pt x="671" y="271"/>
                  </a:cubicBezTo>
                  <a:cubicBezTo>
                    <a:pt x="670" y="270"/>
                    <a:pt x="669" y="270"/>
                    <a:pt x="668" y="270"/>
                  </a:cubicBezTo>
                  <a:cubicBezTo>
                    <a:pt x="667" y="270"/>
                    <a:pt x="667" y="270"/>
                    <a:pt x="667" y="270"/>
                  </a:cubicBezTo>
                  <a:cubicBezTo>
                    <a:pt x="666" y="270"/>
                    <a:pt x="665" y="270"/>
                    <a:pt x="665" y="270"/>
                  </a:cubicBezTo>
                  <a:cubicBezTo>
                    <a:pt x="660" y="270"/>
                    <a:pt x="660" y="270"/>
                    <a:pt x="660" y="270"/>
                  </a:cubicBezTo>
                  <a:cubicBezTo>
                    <a:pt x="658" y="270"/>
                    <a:pt x="655" y="270"/>
                    <a:pt x="652" y="271"/>
                  </a:cubicBezTo>
                  <a:cubicBezTo>
                    <a:pt x="648" y="271"/>
                    <a:pt x="648" y="271"/>
                    <a:pt x="648" y="271"/>
                  </a:cubicBezTo>
                  <a:cubicBezTo>
                    <a:pt x="646" y="272"/>
                    <a:pt x="645" y="272"/>
                    <a:pt x="643" y="272"/>
                  </a:cubicBezTo>
                  <a:cubicBezTo>
                    <a:pt x="642" y="272"/>
                    <a:pt x="642" y="272"/>
                    <a:pt x="642" y="272"/>
                  </a:cubicBezTo>
                  <a:cubicBezTo>
                    <a:pt x="638" y="272"/>
                    <a:pt x="633" y="273"/>
                    <a:pt x="629" y="274"/>
                  </a:cubicBezTo>
                  <a:cubicBezTo>
                    <a:pt x="629" y="274"/>
                    <a:pt x="629" y="274"/>
                    <a:pt x="629" y="274"/>
                  </a:cubicBezTo>
                  <a:cubicBezTo>
                    <a:pt x="629" y="274"/>
                    <a:pt x="629" y="274"/>
                    <a:pt x="629" y="274"/>
                  </a:cubicBezTo>
                  <a:cubicBezTo>
                    <a:pt x="630" y="277"/>
                    <a:pt x="630" y="277"/>
                    <a:pt x="630" y="277"/>
                  </a:cubicBezTo>
                  <a:cubicBezTo>
                    <a:pt x="628" y="274"/>
                    <a:pt x="628" y="274"/>
                    <a:pt x="628" y="274"/>
                  </a:cubicBezTo>
                  <a:cubicBezTo>
                    <a:pt x="627" y="275"/>
                    <a:pt x="627" y="275"/>
                    <a:pt x="627" y="275"/>
                  </a:cubicBezTo>
                  <a:cubicBezTo>
                    <a:pt x="627" y="275"/>
                    <a:pt x="627" y="275"/>
                    <a:pt x="627" y="275"/>
                  </a:cubicBezTo>
                  <a:cubicBezTo>
                    <a:pt x="624" y="276"/>
                    <a:pt x="620" y="277"/>
                    <a:pt x="617" y="279"/>
                  </a:cubicBezTo>
                  <a:cubicBezTo>
                    <a:pt x="615" y="280"/>
                    <a:pt x="615" y="280"/>
                    <a:pt x="615" y="280"/>
                  </a:cubicBezTo>
                  <a:cubicBezTo>
                    <a:pt x="614" y="280"/>
                    <a:pt x="612" y="281"/>
                    <a:pt x="611" y="282"/>
                  </a:cubicBezTo>
                  <a:cubicBezTo>
                    <a:pt x="608" y="283"/>
                    <a:pt x="604" y="284"/>
                    <a:pt x="602" y="285"/>
                  </a:cubicBezTo>
                  <a:cubicBezTo>
                    <a:pt x="602" y="286"/>
                    <a:pt x="602" y="286"/>
                    <a:pt x="602" y="286"/>
                  </a:cubicBezTo>
                  <a:cubicBezTo>
                    <a:pt x="600" y="286"/>
                    <a:pt x="598" y="287"/>
                    <a:pt x="598" y="288"/>
                  </a:cubicBezTo>
                  <a:cubicBezTo>
                    <a:pt x="597" y="289"/>
                    <a:pt x="597" y="289"/>
                    <a:pt x="597" y="289"/>
                  </a:cubicBezTo>
                  <a:cubicBezTo>
                    <a:pt x="596" y="289"/>
                    <a:pt x="595" y="290"/>
                    <a:pt x="594" y="290"/>
                  </a:cubicBezTo>
                  <a:cubicBezTo>
                    <a:pt x="594" y="290"/>
                    <a:pt x="594" y="290"/>
                    <a:pt x="594" y="290"/>
                  </a:cubicBezTo>
                  <a:cubicBezTo>
                    <a:pt x="592" y="289"/>
                    <a:pt x="590" y="289"/>
                    <a:pt x="589" y="289"/>
                  </a:cubicBezTo>
                  <a:cubicBezTo>
                    <a:pt x="588" y="289"/>
                    <a:pt x="588" y="289"/>
                    <a:pt x="588" y="289"/>
                  </a:cubicBezTo>
                  <a:cubicBezTo>
                    <a:pt x="587" y="288"/>
                    <a:pt x="586" y="288"/>
                    <a:pt x="586" y="288"/>
                  </a:cubicBezTo>
                  <a:cubicBezTo>
                    <a:pt x="585" y="288"/>
                    <a:pt x="585" y="288"/>
                    <a:pt x="585" y="288"/>
                  </a:cubicBezTo>
                  <a:cubicBezTo>
                    <a:pt x="582" y="290"/>
                    <a:pt x="582" y="290"/>
                    <a:pt x="582" y="290"/>
                  </a:cubicBezTo>
                  <a:cubicBezTo>
                    <a:pt x="585" y="287"/>
                    <a:pt x="585" y="287"/>
                    <a:pt x="585" y="287"/>
                  </a:cubicBezTo>
                  <a:cubicBezTo>
                    <a:pt x="584" y="287"/>
                    <a:pt x="584" y="286"/>
                    <a:pt x="584" y="286"/>
                  </a:cubicBezTo>
                  <a:cubicBezTo>
                    <a:pt x="583" y="286"/>
                    <a:pt x="583" y="286"/>
                    <a:pt x="583" y="286"/>
                  </a:cubicBezTo>
                  <a:cubicBezTo>
                    <a:pt x="580" y="287"/>
                    <a:pt x="580" y="287"/>
                    <a:pt x="580" y="287"/>
                  </a:cubicBezTo>
                  <a:cubicBezTo>
                    <a:pt x="583" y="285"/>
                    <a:pt x="583" y="285"/>
                    <a:pt x="583" y="285"/>
                  </a:cubicBezTo>
                  <a:cubicBezTo>
                    <a:pt x="582" y="284"/>
                    <a:pt x="582" y="284"/>
                    <a:pt x="582" y="284"/>
                  </a:cubicBezTo>
                  <a:cubicBezTo>
                    <a:pt x="582" y="284"/>
                    <a:pt x="582" y="284"/>
                    <a:pt x="582" y="284"/>
                  </a:cubicBezTo>
                  <a:cubicBezTo>
                    <a:pt x="581" y="284"/>
                    <a:pt x="579" y="284"/>
                    <a:pt x="578" y="285"/>
                  </a:cubicBezTo>
                  <a:cubicBezTo>
                    <a:pt x="578" y="285"/>
                    <a:pt x="578" y="285"/>
                    <a:pt x="578" y="285"/>
                  </a:cubicBezTo>
                  <a:cubicBezTo>
                    <a:pt x="577" y="285"/>
                    <a:pt x="577" y="285"/>
                    <a:pt x="576" y="285"/>
                  </a:cubicBezTo>
                  <a:cubicBezTo>
                    <a:pt x="575" y="285"/>
                    <a:pt x="574" y="285"/>
                    <a:pt x="573" y="285"/>
                  </a:cubicBezTo>
                  <a:cubicBezTo>
                    <a:pt x="572" y="285"/>
                    <a:pt x="571" y="285"/>
                    <a:pt x="569" y="285"/>
                  </a:cubicBezTo>
                  <a:cubicBezTo>
                    <a:pt x="567" y="284"/>
                    <a:pt x="564" y="283"/>
                    <a:pt x="562" y="282"/>
                  </a:cubicBezTo>
                  <a:cubicBezTo>
                    <a:pt x="560" y="281"/>
                    <a:pt x="558" y="280"/>
                    <a:pt x="555" y="280"/>
                  </a:cubicBezTo>
                  <a:cubicBezTo>
                    <a:pt x="553" y="279"/>
                    <a:pt x="550" y="279"/>
                    <a:pt x="546" y="278"/>
                  </a:cubicBezTo>
                  <a:cubicBezTo>
                    <a:pt x="537" y="276"/>
                    <a:pt x="537" y="276"/>
                    <a:pt x="537" y="276"/>
                  </a:cubicBezTo>
                  <a:cubicBezTo>
                    <a:pt x="537" y="275"/>
                    <a:pt x="537" y="275"/>
                    <a:pt x="536" y="275"/>
                  </a:cubicBezTo>
                  <a:cubicBezTo>
                    <a:pt x="536" y="275"/>
                    <a:pt x="536" y="275"/>
                    <a:pt x="536" y="275"/>
                  </a:cubicBezTo>
                  <a:cubicBezTo>
                    <a:pt x="535" y="274"/>
                    <a:pt x="535" y="274"/>
                    <a:pt x="535" y="273"/>
                  </a:cubicBezTo>
                  <a:cubicBezTo>
                    <a:pt x="534" y="272"/>
                    <a:pt x="534" y="271"/>
                    <a:pt x="533" y="271"/>
                  </a:cubicBezTo>
                  <a:cubicBezTo>
                    <a:pt x="533" y="270"/>
                    <a:pt x="533" y="270"/>
                    <a:pt x="533" y="270"/>
                  </a:cubicBezTo>
                  <a:cubicBezTo>
                    <a:pt x="532" y="270"/>
                    <a:pt x="531" y="270"/>
                    <a:pt x="530" y="270"/>
                  </a:cubicBezTo>
                  <a:cubicBezTo>
                    <a:pt x="529" y="270"/>
                    <a:pt x="529" y="270"/>
                    <a:pt x="528" y="270"/>
                  </a:cubicBezTo>
                  <a:cubicBezTo>
                    <a:pt x="502" y="265"/>
                    <a:pt x="502" y="265"/>
                    <a:pt x="502" y="265"/>
                  </a:cubicBezTo>
                  <a:cubicBezTo>
                    <a:pt x="501" y="265"/>
                    <a:pt x="501" y="265"/>
                    <a:pt x="500" y="265"/>
                  </a:cubicBezTo>
                  <a:cubicBezTo>
                    <a:pt x="500" y="265"/>
                    <a:pt x="500" y="265"/>
                    <a:pt x="500" y="265"/>
                  </a:cubicBezTo>
                  <a:cubicBezTo>
                    <a:pt x="499" y="265"/>
                    <a:pt x="498" y="265"/>
                    <a:pt x="497" y="265"/>
                  </a:cubicBezTo>
                  <a:cubicBezTo>
                    <a:pt x="497" y="266"/>
                    <a:pt x="497" y="266"/>
                    <a:pt x="497" y="266"/>
                  </a:cubicBezTo>
                  <a:cubicBezTo>
                    <a:pt x="496" y="266"/>
                    <a:pt x="495" y="266"/>
                    <a:pt x="494" y="267"/>
                  </a:cubicBezTo>
                  <a:cubicBezTo>
                    <a:pt x="493" y="267"/>
                    <a:pt x="493" y="267"/>
                    <a:pt x="493" y="267"/>
                  </a:cubicBezTo>
                  <a:cubicBezTo>
                    <a:pt x="493" y="267"/>
                    <a:pt x="492" y="267"/>
                    <a:pt x="492" y="267"/>
                  </a:cubicBezTo>
                  <a:cubicBezTo>
                    <a:pt x="491" y="267"/>
                    <a:pt x="491" y="267"/>
                    <a:pt x="491" y="267"/>
                  </a:cubicBezTo>
                  <a:cubicBezTo>
                    <a:pt x="483" y="267"/>
                    <a:pt x="475" y="266"/>
                    <a:pt x="467" y="266"/>
                  </a:cubicBezTo>
                  <a:cubicBezTo>
                    <a:pt x="466" y="265"/>
                    <a:pt x="465" y="265"/>
                    <a:pt x="464" y="265"/>
                  </a:cubicBezTo>
                  <a:cubicBezTo>
                    <a:pt x="461" y="265"/>
                    <a:pt x="461" y="265"/>
                    <a:pt x="461" y="265"/>
                  </a:cubicBezTo>
                  <a:cubicBezTo>
                    <a:pt x="460" y="265"/>
                    <a:pt x="459" y="265"/>
                    <a:pt x="458" y="264"/>
                  </a:cubicBezTo>
                  <a:cubicBezTo>
                    <a:pt x="454" y="264"/>
                    <a:pt x="454" y="264"/>
                    <a:pt x="454" y="264"/>
                  </a:cubicBezTo>
                  <a:cubicBezTo>
                    <a:pt x="451" y="263"/>
                    <a:pt x="448" y="263"/>
                    <a:pt x="445" y="263"/>
                  </a:cubicBezTo>
                  <a:cubicBezTo>
                    <a:pt x="444" y="263"/>
                    <a:pt x="444" y="263"/>
                    <a:pt x="443" y="263"/>
                  </a:cubicBezTo>
                  <a:cubicBezTo>
                    <a:pt x="441" y="263"/>
                    <a:pt x="439" y="263"/>
                    <a:pt x="437" y="263"/>
                  </a:cubicBezTo>
                  <a:cubicBezTo>
                    <a:pt x="428" y="264"/>
                    <a:pt x="428" y="264"/>
                    <a:pt x="428" y="264"/>
                  </a:cubicBezTo>
                  <a:cubicBezTo>
                    <a:pt x="429" y="262"/>
                    <a:pt x="429" y="262"/>
                    <a:pt x="429" y="262"/>
                  </a:cubicBezTo>
                  <a:cubicBezTo>
                    <a:pt x="429" y="261"/>
                    <a:pt x="429" y="261"/>
                    <a:pt x="429" y="261"/>
                  </a:cubicBezTo>
                  <a:cubicBezTo>
                    <a:pt x="428" y="261"/>
                    <a:pt x="428" y="261"/>
                    <a:pt x="428" y="261"/>
                  </a:cubicBezTo>
                  <a:cubicBezTo>
                    <a:pt x="428" y="260"/>
                    <a:pt x="428" y="260"/>
                    <a:pt x="428" y="260"/>
                  </a:cubicBezTo>
                  <a:cubicBezTo>
                    <a:pt x="428" y="260"/>
                    <a:pt x="428" y="260"/>
                    <a:pt x="428" y="260"/>
                  </a:cubicBezTo>
                  <a:cubicBezTo>
                    <a:pt x="427" y="259"/>
                    <a:pt x="427" y="259"/>
                    <a:pt x="427" y="259"/>
                  </a:cubicBezTo>
                  <a:cubicBezTo>
                    <a:pt x="427" y="259"/>
                    <a:pt x="427" y="259"/>
                    <a:pt x="427" y="259"/>
                  </a:cubicBezTo>
                  <a:cubicBezTo>
                    <a:pt x="427" y="258"/>
                    <a:pt x="427" y="258"/>
                    <a:pt x="427" y="258"/>
                  </a:cubicBezTo>
                  <a:cubicBezTo>
                    <a:pt x="426" y="258"/>
                    <a:pt x="426" y="257"/>
                    <a:pt x="425" y="257"/>
                  </a:cubicBezTo>
                  <a:cubicBezTo>
                    <a:pt x="425" y="256"/>
                    <a:pt x="425" y="256"/>
                    <a:pt x="425" y="256"/>
                  </a:cubicBezTo>
                  <a:cubicBezTo>
                    <a:pt x="423" y="254"/>
                    <a:pt x="420" y="251"/>
                    <a:pt x="419" y="248"/>
                  </a:cubicBezTo>
                  <a:cubicBezTo>
                    <a:pt x="415" y="238"/>
                    <a:pt x="415" y="238"/>
                    <a:pt x="415" y="238"/>
                  </a:cubicBezTo>
                  <a:cubicBezTo>
                    <a:pt x="415" y="238"/>
                    <a:pt x="414" y="237"/>
                    <a:pt x="414" y="237"/>
                  </a:cubicBezTo>
                  <a:cubicBezTo>
                    <a:pt x="413" y="235"/>
                    <a:pt x="413" y="235"/>
                    <a:pt x="413" y="235"/>
                  </a:cubicBezTo>
                  <a:cubicBezTo>
                    <a:pt x="413" y="235"/>
                    <a:pt x="413" y="235"/>
                    <a:pt x="413" y="235"/>
                  </a:cubicBezTo>
                  <a:cubicBezTo>
                    <a:pt x="413" y="235"/>
                    <a:pt x="413" y="235"/>
                    <a:pt x="413" y="235"/>
                  </a:cubicBezTo>
                  <a:cubicBezTo>
                    <a:pt x="413" y="235"/>
                    <a:pt x="413" y="235"/>
                    <a:pt x="413" y="235"/>
                  </a:cubicBezTo>
                  <a:cubicBezTo>
                    <a:pt x="413" y="234"/>
                    <a:pt x="413" y="234"/>
                    <a:pt x="413" y="234"/>
                  </a:cubicBezTo>
                  <a:cubicBezTo>
                    <a:pt x="412" y="234"/>
                    <a:pt x="412" y="234"/>
                    <a:pt x="412" y="234"/>
                  </a:cubicBezTo>
                  <a:cubicBezTo>
                    <a:pt x="412" y="234"/>
                    <a:pt x="412" y="234"/>
                    <a:pt x="412" y="234"/>
                  </a:cubicBezTo>
                  <a:cubicBezTo>
                    <a:pt x="411" y="234"/>
                    <a:pt x="411" y="234"/>
                    <a:pt x="411" y="234"/>
                  </a:cubicBezTo>
                  <a:cubicBezTo>
                    <a:pt x="410" y="233"/>
                    <a:pt x="409" y="232"/>
                    <a:pt x="409" y="231"/>
                  </a:cubicBezTo>
                  <a:cubicBezTo>
                    <a:pt x="409" y="230"/>
                    <a:pt x="409" y="230"/>
                    <a:pt x="409" y="230"/>
                  </a:cubicBezTo>
                  <a:cubicBezTo>
                    <a:pt x="409" y="229"/>
                    <a:pt x="409" y="229"/>
                    <a:pt x="409" y="228"/>
                  </a:cubicBezTo>
                  <a:cubicBezTo>
                    <a:pt x="408" y="228"/>
                    <a:pt x="408" y="228"/>
                    <a:pt x="407" y="228"/>
                  </a:cubicBezTo>
                  <a:cubicBezTo>
                    <a:pt x="406" y="228"/>
                    <a:pt x="404" y="228"/>
                    <a:pt x="403" y="227"/>
                  </a:cubicBezTo>
                  <a:cubicBezTo>
                    <a:pt x="399" y="226"/>
                    <a:pt x="395" y="224"/>
                    <a:pt x="393" y="222"/>
                  </a:cubicBezTo>
                  <a:cubicBezTo>
                    <a:pt x="392" y="221"/>
                    <a:pt x="392" y="221"/>
                    <a:pt x="392" y="221"/>
                  </a:cubicBezTo>
                  <a:cubicBezTo>
                    <a:pt x="391" y="221"/>
                    <a:pt x="390" y="220"/>
                    <a:pt x="390" y="220"/>
                  </a:cubicBezTo>
                  <a:cubicBezTo>
                    <a:pt x="377" y="212"/>
                    <a:pt x="377" y="212"/>
                    <a:pt x="377" y="212"/>
                  </a:cubicBezTo>
                  <a:cubicBezTo>
                    <a:pt x="376" y="212"/>
                    <a:pt x="374" y="211"/>
                    <a:pt x="372" y="211"/>
                  </a:cubicBezTo>
                  <a:cubicBezTo>
                    <a:pt x="372" y="211"/>
                    <a:pt x="372" y="211"/>
                    <a:pt x="372" y="211"/>
                  </a:cubicBezTo>
                  <a:cubicBezTo>
                    <a:pt x="371" y="211"/>
                    <a:pt x="370" y="211"/>
                    <a:pt x="370" y="211"/>
                  </a:cubicBezTo>
                  <a:cubicBezTo>
                    <a:pt x="363" y="210"/>
                    <a:pt x="355" y="209"/>
                    <a:pt x="348" y="209"/>
                  </a:cubicBezTo>
                  <a:cubicBezTo>
                    <a:pt x="346" y="209"/>
                    <a:pt x="346" y="209"/>
                    <a:pt x="346" y="209"/>
                  </a:cubicBezTo>
                  <a:cubicBezTo>
                    <a:pt x="343" y="208"/>
                    <a:pt x="339" y="208"/>
                    <a:pt x="336" y="208"/>
                  </a:cubicBezTo>
                  <a:cubicBezTo>
                    <a:pt x="333" y="208"/>
                    <a:pt x="331" y="207"/>
                    <a:pt x="328" y="207"/>
                  </a:cubicBezTo>
                  <a:cubicBezTo>
                    <a:pt x="327" y="206"/>
                    <a:pt x="327" y="206"/>
                    <a:pt x="327" y="206"/>
                  </a:cubicBezTo>
                  <a:cubicBezTo>
                    <a:pt x="327" y="206"/>
                    <a:pt x="327" y="206"/>
                    <a:pt x="327" y="206"/>
                  </a:cubicBezTo>
                  <a:cubicBezTo>
                    <a:pt x="325" y="206"/>
                    <a:pt x="325" y="205"/>
                    <a:pt x="324" y="204"/>
                  </a:cubicBezTo>
                  <a:cubicBezTo>
                    <a:pt x="323" y="203"/>
                    <a:pt x="322" y="201"/>
                    <a:pt x="321" y="199"/>
                  </a:cubicBezTo>
                  <a:cubicBezTo>
                    <a:pt x="319" y="196"/>
                    <a:pt x="321" y="193"/>
                    <a:pt x="322" y="191"/>
                  </a:cubicBezTo>
                  <a:cubicBezTo>
                    <a:pt x="323" y="191"/>
                    <a:pt x="323" y="191"/>
                    <a:pt x="323" y="191"/>
                  </a:cubicBezTo>
                  <a:cubicBezTo>
                    <a:pt x="323" y="191"/>
                    <a:pt x="323" y="190"/>
                    <a:pt x="323" y="190"/>
                  </a:cubicBezTo>
                  <a:cubicBezTo>
                    <a:pt x="324" y="189"/>
                    <a:pt x="324" y="189"/>
                    <a:pt x="324" y="189"/>
                  </a:cubicBezTo>
                  <a:cubicBezTo>
                    <a:pt x="324" y="188"/>
                    <a:pt x="324" y="188"/>
                    <a:pt x="324" y="188"/>
                  </a:cubicBezTo>
                  <a:cubicBezTo>
                    <a:pt x="325" y="187"/>
                    <a:pt x="325" y="186"/>
                    <a:pt x="326" y="185"/>
                  </a:cubicBezTo>
                  <a:cubicBezTo>
                    <a:pt x="326" y="185"/>
                    <a:pt x="326" y="185"/>
                    <a:pt x="326" y="185"/>
                  </a:cubicBezTo>
                  <a:cubicBezTo>
                    <a:pt x="326" y="185"/>
                    <a:pt x="326" y="184"/>
                    <a:pt x="326" y="184"/>
                  </a:cubicBezTo>
                  <a:cubicBezTo>
                    <a:pt x="326" y="183"/>
                    <a:pt x="326" y="183"/>
                    <a:pt x="326" y="183"/>
                  </a:cubicBezTo>
                  <a:cubicBezTo>
                    <a:pt x="327" y="182"/>
                    <a:pt x="327" y="182"/>
                    <a:pt x="327" y="182"/>
                  </a:cubicBezTo>
                  <a:cubicBezTo>
                    <a:pt x="327" y="182"/>
                    <a:pt x="327" y="182"/>
                    <a:pt x="327" y="182"/>
                  </a:cubicBezTo>
                  <a:cubicBezTo>
                    <a:pt x="326" y="179"/>
                    <a:pt x="326" y="176"/>
                    <a:pt x="326" y="173"/>
                  </a:cubicBezTo>
                  <a:cubicBezTo>
                    <a:pt x="327" y="172"/>
                    <a:pt x="327" y="172"/>
                    <a:pt x="327" y="172"/>
                  </a:cubicBezTo>
                  <a:cubicBezTo>
                    <a:pt x="327" y="171"/>
                    <a:pt x="327" y="169"/>
                    <a:pt x="327" y="169"/>
                  </a:cubicBezTo>
                  <a:cubicBezTo>
                    <a:pt x="326" y="168"/>
                    <a:pt x="326" y="168"/>
                    <a:pt x="326" y="168"/>
                  </a:cubicBezTo>
                  <a:cubicBezTo>
                    <a:pt x="325" y="166"/>
                    <a:pt x="324" y="164"/>
                    <a:pt x="323" y="162"/>
                  </a:cubicBezTo>
                  <a:cubicBezTo>
                    <a:pt x="319" y="158"/>
                    <a:pt x="319" y="158"/>
                    <a:pt x="319" y="158"/>
                  </a:cubicBezTo>
                  <a:cubicBezTo>
                    <a:pt x="318" y="156"/>
                    <a:pt x="317" y="154"/>
                    <a:pt x="317" y="153"/>
                  </a:cubicBezTo>
                  <a:cubicBezTo>
                    <a:pt x="316" y="152"/>
                    <a:pt x="316" y="152"/>
                    <a:pt x="316" y="151"/>
                  </a:cubicBezTo>
                  <a:cubicBezTo>
                    <a:pt x="316" y="151"/>
                    <a:pt x="316" y="151"/>
                    <a:pt x="316" y="151"/>
                  </a:cubicBezTo>
                  <a:cubicBezTo>
                    <a:pt x="316" y="150"/>
                    <a:pt x="315" y="148"/>
                    <a:pt x="314" y="147"/>
                  </a:cubicBezTo>
                  <a:cubicBezTo>
                    <a:pt x="314" y="146"/>
                    <a:pt x="313" y="146"/>
                    <a:pt x="313" y="145"/>
                  </a:cubicBezTo>
                  <a:cubicBezTo>
                    <a:pt x="311" y="144"/>
                    <a:pt x="310" y="143"/>
                    <a:pt x="309" y="143"/>
                  </a:cubicBezTo>
                  <a:cubicBezTo>
                    <a:pt x="309" y="143"/>
                    <a:pt x="309" y="143"/>
                    <a:pt x="309" y="143"/>
                  </a:cubicBezTo>
                  <a:cubicBezTo>
                    <a:pt x="309" y="143"/>
                    <a:pt x="308" y="143"/>
                    <a:pt x="308" y="143"/>
                  </a:cubicBezTo>
                  <a:cubicBezTo>
                    <a:pt x="304" y="143"/>
                    <a:pt x="303" y="142"/>
                    <a:pt x="300" y="140"/>
                  </a:cubicBezTo>
                  <a:cubicBezTo>
                    <a:pt x="299" y="139"/>
                    <a:pt x="299" y="139"/>
                    <a:pt x="299" y="139"/>
                  </a:cubicBezTo>
                  <a:cubicBezTo>
                    <a:pt x="299" y="139"/>
                    <a:pt x="299" y="139"/>
                    <a:pt x="299" y="139"/>
                  </a:cubicBezTo>
                  <a:cubicBezTo>
                    <a:pt x="298" y="139"/>
                    <a:pt x="298" y="139"/>
                    <a:pt x="297" y="139"/>
                  </a:cubicBezTo>
                  <a:cubicBezTo>
                    <a:pt x="296" y="139"/>
                    <a:pt x="295" y="139"/>
                    <a:pt x="294" y="139"/>
                  </a:cubicBezTo>
                  <a:cubicBezTo>
                    <a:pt x="294" y="139"/>
                    <a:pt x="294" y="139"/>
                    <a:pt x="294" y="139"/>
                  </a:cubicBezTo>
                  <a:cubicBezTo>
                    <a:pt x="293" y="139"/>
                    <a:pt x="292" y="139"/>
                    <a:pt x="291" y="139"/>
                  </a:cubicBezTo>
                  <a:cubicBezTo>
                    <a:pt x="291" y="139"/>
                    <a:pt x="290" y="138"/>
                    <a:pt x="289" y="138"/>
                  </a:cubicBezTo>
                  <a:cubicBezTo>
                    <a:pt x="289" y="138"/>
                    <a:pt x="289" y="138"/>
                    <a:pt x="289" y="138"/>
                  </a:cubicBezTo>
                  <a:cubicBezTo>
                    <a:pt x="288" y="137"/>
                    <a:pt x="288" y="137"/>
                    <a:pt x="288" y="137"/>
                  </a:cubicBezTo>
                  <a:cubicBezTo>
                    <a:pt x="285" y="135"/>
                    <a:pt x="283" y="134"/>
                    <a:pt x="281" y="131"/>
                  </a:cubicBezTo>
                  <a:cubicBezTo>
                    <a:pt x="280" y="129"/>
                    <a:pt x="278" y="128"/>
                    <a:pt x="277" y="128"/>
                  </a:cubicBezTo>
                  <a:cubicBezTo>
                    <a:pt x="276" y="127"/>
                    <a:pt x="275" y="127"/>
                    <a:pt x="275" y="127"/>
                  </a:cubicBezTo>
                  <a:cubicBezTo>
                    <a:pt x="273" y="126"/>
                    <a:pt x="273" y="126"/>
                    <a:pt x="273" y="126"/>
                  </a:cubicBezTo>
                  <a:cubicBezTo>
                    <a:pt x="273" y="126"/>
                    <a:pt x="273" y="126"/>
                    <a:pt x="272" y="126"/>
                  </a:cubicBezTo>
                  <a:cubicBezTo>
                    <a:pt x="271" y="126"/>
                    <a:pt x="271" y="126"/>
                    <a:pt x="271" y="126"/>
                  </a:cubicBezTo>
                  <a:cubicBezTo>
                    <a:pt x="270" y="125"/>
                    <a:pt x="269" y="125"/>
                    <a:pt x="269" y="124"/>
                  </a:cubicBezTo>
                  <a:cubicBezTo>
                    <a:pt x="268" y="123"/>
                    <a:pt x="269" y="121"/>
                    <a:pt x="269" y="121"/>
                  </a:cubicBezTo>
                  <a:cubicBezTo>
                    <a:pt x="269" y="120"/>
                    <a:pt x="269" y="120"/>
                    <a:pt x="269" y="120"/>
                  </a:cubicBezTo>
                  <a:cubicBezTo>
                    <a:pt x="268" y="120"/>
                    <a:pt x="267" y="120"/>
                    <a:pt x="267" y="119"/>
                  </a:cubicBezTo>
                  <a:cubicBezTo>
                    <a:pt x="266" y="119"/>
                    <a:pt x="266" y="118"/>
                    <a:pt x="265" y="117"/>
                  </a:cubicBezTo>
                  <a:cubicBezTo>
                    <a:pt x="265" y="116"/>
                    <a:pt x="265" y="115"/>
                    <a:pt x="265" y="113"/>
                  </a:cubicBezTo>
                  <a:cubicBezTo>
                    <a:pt x="259" y="112"/>
                    <a:pt x="259" y="112"/>
                    <a:pt x="259" y="112"/>
                  </a:cubicBezTo>
                  <a:cubicBezTo>
                    <a:pt x="258" y="112"/>
                    <a:pt x="258" y="112"/>
                    <a:pt x="258" y="112"/>
                  </a:cubicBezTo>
                  <a:cubicBezTo>
                    <a:pt x="258" y="112"/>
                    <a:pt x="258" y="112"/>
                    <a:pt x="258" y="112"/>
                  </a:cubicBezTo>
                  <a:cubicBezTo>
                    <a:pt x="258" y="112"/>
                    <a:pt x="258" y="112"/>
                    <a:pt x="258" y="112"/>
                  </a:cubicBezTo>
                  <a:cubicBezTo>
                    <a:pt x="257" y="112"/>
                    <a:pt x="257" y="112"/>
                    <a:pt x="256" y="112"/>
                  </a:cubicBezTo>
                  <a:cubicBezTo>
                    <a:pt x="256" y="112"/>
                    <a:pt x="255" y="112"/>
                    <a:pt x="255" y="112"/>
                  </a:cubicBezTo>
                  <a:cubicBezTo>
                    <a:pt x="255" y="112"/>
                    <a:pt x="255" y="112"/>
                    <a:pt x="254" y="112"/>
                  </a:cubicBezTo>
                  <a:cubicBezTo>
                    <a:pt x="254" y="112"/>
                    <a:pt x="254" y="112"/>
                    <a:pt x="254" y="112"/>
                  </a:cubicBezTo>
                  <a:cubicBezTo>
                    <a:pt x="253" y="112"/>
                    <a:pt x="253" y="112"/>
                    <a:pt x="253" y="112"/>
                  </a:cubicBezTo>
                  <a:cubicBezTo>
                    <a:pt x="252" y="112"/>
                    <a:pt x="252" y="112"/>
                    <a:pt x="252" y="112"/>
                  </a:cubicBezTo>
                  <a:cubicBezTo>
                    <a:pt x="251" y="112"/>
                    <a:pt x="251" y="112"/>
                    <a:pt x="251" y="112"/>
                  </a:cubicBezTo>
                  <a:cubicBezTo>
                    <a:pt x="251" y="112"/>
                    <a:pt x="251" y="112"/>
                    <a:pt x="251" y="112"/>
                  </a:cubicBezTo>
                  <a:cubicBezTo>
                    <a:pt x="251" y="112"/>
                    <a:pt x="251" y="113"/>
                    <a:pt x="251" y="114"/>
                  </a:cubicBezTo>
                  <a:cubicBezTo>
                    <a:pt x="251" y="114"/>
                    <a:pt x="250" y="115"/>
                    <a:pt x="250" y="115"/>
                  </a:cubicBezTo>
                  <a:cubicBezTo>
                    <a:pt x="251" y="115"/>
                    <a:pt x="251" y="116"/>
                    <a:pt x="251" y="117"/>
                  </a:cubicBezTo>
                  <a:cubicBezTo>
                    <a:pt x="251" y="119"/>
                    <a:pt x="251" y="119"/>
                    <a:pt x="251" y="119"/>
                  </a:cubicBezTo>
                  <a:cubicBezTo>
                    <a:pt x="250" y="119"/>
                    <a:pt x="250" y="119"/>
                    <a:pt x="250" y="119"/>
                  </a:cubicBezTo>
                  <a:cubicBezTo>
                    <a:pt x="250" y="119"/>
                    <a:pt x="250" y="119"/>
                    <a:pt x="250" y="119"/>
                  </a:cubicBezTo>
                  <a:cubicBezTo>
                    <a:pt x="250" y="119"/>
                    <a:pt x="250" y="119"/>
                    <a:pt x="250" y="119"/>
                  </a:cubicBezTo>
                  <a:cubicBezTo>
                    <a:pt x="250" y="120"/>
                    <a:pt x="250" y="120"/>
                    <a:pt x="250" y="120"/>
                  </a:cubicBezTo>
                  <a:cubicBezTo>
                    <a:pt x="250" y="121"/>
                    <a:pt x="247" y="125"/>
                    <a:pt x="244" y="126"/>
                  </a:cubicBezTo>
                  <a:cubicBezTo>
                    <a:pt x="241" y="128"/>
                    <a:pt x="238" y="128"/>
                    <a:pt x="234" y="129"/>
                  </a:cubicBezTo>
                  <a:cubicBezTo>
                    <a:pt x="234" y="129"/>
                    <a:pt x="234" y="129"/>
                    <a:pt x="233" y="129"/>
                  </a:cubicBezTo>
                  <a:cubicBezTo>
                    <a:pt x="233" y="129"/>
                    <a:pt x="231" y="129"/>
                    <a:pt x="231" y="129"/>
                  </a:cubicBezTo>
                  <a:cubicBezTo>
                    <a:pt x="230" y="129"/>
                    <a:pt x="227" y="135"/>
                    <a:pt x="227" y="137"/>
                  </a:cubicBezTo>
                  <a:cubicBezTo>
                    <a:pt x="228" y="139"/>
                    <a:pt x="228" y="141"/>
                    <a:pt x="228" y="143"/>
                  </a:cubicBezTo>
                  <a:cubicBezTo>
                    <a:pt x="228" y="144"/>
                    <a:pt x="228" y="144"/>
                    <a:pt x="228" y="144"/>
                  </a:cubicBezTo>
                  <a:cubicBezTo>
                    <a:pt x="229" y="146"/>
                    <a:pt x="229" y="149"/>
                    <a:pt x="230" y="151"/>
                  </a:cubicBezTo>
                  <a:cubicBezTo>
                    <a:pt x="230" y="158"/>
                    <a:pt x="225" y="160"/>
                    <a:pt x="221" y="162"/>
                  </a:cubicBezTo>
                  <a:cubicBezTo>
                    <a:pt x="220" y="163"/>
                    <a:pt x="220" y="163"/>
                    <a:pt x="220" y="163"/>
                  </a:cubicBezTo>
                  <a:cubicBezTo>
                    <a:pt x="217" y="164"/>
                    <a:pt x="215" y="165"/>
                    <a:pt x="213" y="165"/>
                  </a:cubicBezTo>
                  <a:cubicBezTo>
                    <a:pt x="212" y="165"/>
                    <a:pt x="210" y="165"/>
                    <a:pt x="208" y="164"/>
                  </a:cubicBezTo>
                  <a:cubicBezTo>
                    <a:pt x="207" y="164"/>
                    <a:pt x="204" y="163"/>
                    <a:pt x="201" y="163"/>
                  </a:cubicBezTo>
                  <a:cubicBezTo>
                    <a:pt x="200" y="163"/>
                    <a:pt x="199" y="163"/>
                    <a:pt x="199" y="163"/>
                  </a:cubicBezTo>
                  <a:cubicBezTo>
                    <a:pt x="198" y="164"/>
                    <a:pt x="197" y="164"/>
                    <a:pt x="196" y="164"/>
                  </a:cubicBezTo>
                  <a:cubicBezTo>
                    <a:pt x="190" y="164"/>
                    <a:pt x="184" y="161"/>
                    <a:pt x="184" y="161"/>
                  </a:cubicBezTo>
                  <a:cubicBezTo>
                    <a:pt x="183" y="160"/>
                    <a:pt x="183" y="160"/>
                    <a:pt x="183" y="160"/>
                  </a:cubicBezTo>
                  <a:cubicBezTo>
                    <a:pt x="182" y="159"/>
                    <a:pt x="180" y="158"/>
                    <a:pt x="179" y="158"/>
                  </a:cubicBezTo>
                  <a:cubicBezTo>
                    <a:pt x="179" y="158"/>
                    <a:pt x="179" y="158"/>
                    <a:pt x="179" y="158"/>
                  </a:cubicBezTo>
                  <a:cubicBezTo>
                    <a:pt x="178" y="159"/>
                    <a:pt x="178" y="159"/>
                    <a:pt x="178" y="159"/>
                  </a:cubicBezTo>
                  <a:cubicBezTo>
                    <a:pt x="166" y="195"/>
                    <a:pt x="166" y="195"/>
                    <a:pt x="166" y="195"/>
                  </a:cubicBezTo>
                  <a:cubicBezTo>
                    <a:pt x="166" y="195"/>
                    <a:pt x="166" y="195"/>
                    <a:pt x="166" y="195"/>
                  </a:cubicBezTo>
                  <a:cubicBezTo>
                    <a:pt x="168" y="195"/>
                    <a:pt x="169" y="195"/>
                    <a:pt x="170" y="196"/>
                  </a:cubicBezTo>
                  <a:cubicBezTo>
                    <a:pt x="172" y="198"/>
                    <a:pt x="172" y="200"/>
                    <a:pt x="171" y="203"/>
                  </a:cubicBezTo>
                  <a:cubicBezTo>
                    <a:pt x="171" y="203"/>
                    <a:pt x="171" y="203"/>
                    <a:pt x="171" y="204"/>
                  </a:cubicBezTo>
                  <a:cubicBezTo>
                    <a:pt x="171" y="206"/>
                    <a:pt x="169" y="206"/>
                    <a:pt x="165" y="206"/>
                  </a:cubicBezTo>
                  <a:cubicBezTo>
                    <a:pt x="164" y="206"/>
                    <a:pt x="163" y="206"/>
                    <a:pt x="162" y="206"/>
                  </a:cubicBezTo>
                  <a:cubicBezTo>
                    <a:pt x="161" y="206"/>
                    <a:pt x="161" y="206"/>
                    <a:pt x="161" y="206"/>
                  </a:cubicBezTo>
                  <a:cubicBezTo>
                    <a:pt x="160" y="206"/>
                    <a:pt x="160" y="206"/>
                    <a:pt x="159" y="206"/>
                  </a:cubicBezTo>
                  <a:cubicBezTo>
                    <a:pt x="158" y="206"/>
                    <a:pt x="158" y="206"/>
                    <a:pt x="157" y="206"/>
                  </a:cubicBezTo>
                  <a:cubicBezTo>
                    <a:pt x="155" y="206"/>
                    <a:pt x="153" y="206"/>
                    <a:pt x="151" y="204"/>
                  </a:cubicBezTo>
                  <a:cubicBezTo>
                    <a:pt x="151" y="204"/>
                    <a:pt x="151" y="203"/>
                    <a:pt x="151" y="203"/>
                  </a:cubicBezTo>
                  <a:cubicBezTo>
                    <a:pt x="150" y="203"/>
                    <a:pt x="149" y="203"/>
                    <a:pt x="148" y="203"/>
                  </a:cubicBezTo>
                  <a:cubicBezTo>
                    <a:pt x="148" y="204"/>
                    <a:pt x="147" y="204"/>
                    <a:pt x="147" y="204"/>
                  </a:cubicBezTo>
                  <a:cubicBezTo>
                    <a:pt x="135" y="207"/>
                    <a:pt x="135" y="207"/>
                    <a:pt x="135" y="207"/>
                  </a:cubicBezTo>
                  <a:cubicBezTo>
                    <a:pt x="131" y="208"/>
                    <a:pt x="127" y="209"/>
                    <a:pt x="123" y="210"/>
                  </a:cubicBezTo>
                  <a:cubicBezTo>
                    <a:pt x="122" y="210"/>
                    <a:pt x="122" y="210"/>
                    <a:pt x="122" y="210"/>
                  </a:cubicBezTo>
                  <a:cubicBezTo>
                    <a:pt x="122" y="210"/>
                    <a:pt x="121" y="211"/>
                    <a:pt x="120" y="211"/>
                  </a:cubicBezTo>
                  <a:cubicBezTo>
                    <a:pt x="120" y="211"/>
                    <a:pt x="120" y="211"/>
                    <a:pt x="120" y="211"/>
                  </a:cubicBezTo>
                  <a:cubicBezTo>
                    <a:pt x="121" y="211"/>
                    <a:pt x="122" y="211"/>
                    <a:pt x="122" y="211"/>
                  </a:cubicBezTo>
                  <a:cubicBezTo>
                    <a:pt x="125" y="211"/>
                    <a:pt x="128" y="212"/>
                    <a:pt x="130" y="213"/>
                  </a:cubicBezTo>
                  <a:cubicBezTo>
                    <a:pt x="132" y="214"/>
                    <a:pt x="132" y="214"/>
                    <a:pt x="132" y="214"/>
                  </a:cubicBezTo>
                  <a:cubicBezTo>
                    <a:pt x="130" y="216"/>
                    <a:pt x="130" y="216"/>
                    <a:pt x="130" y="216"/>
                  </a:cubicBezTo>
                  <a:cubicBezTo>
                    <a:pt x="130" y="217"/>
                    <a:pt x="129" y="218"/>
                    <a:pt x="129" y="218"/>
                  </a:cubicBezTo>
                  <a:cubicBezTo>
                    <a:pt x="128" y="218"/>
                    <a:pt x="128" y="218"/>
                    <a:pt x="128" y="219"/>
                  </a:cubicBezTo>
                  <a:cubicBezTo>
                    <a:pt x="128" y="220"/>
                    <a:pt x="128" y="222"/>
                    <a:pt x="128" y="224"/>
                  </a:cubicBezTo>
                  <a:cubicBezTo>
                    <a:pt x="129" y="226"/>
                    <a:pt x="129" y="226"/>
                    <a:pt x="129" y="226"/>
                  </a:cubicBezTo>
                  <a:cubicBezTo>
                    <a:pt x="129" y="229"/>
                    <a:pt x="129" y="231"/>
                    <a:pt x="130" y="233"/>
                  </a:cubicBezTo>
                  <a:cubicBezTo>
                    <a:pt x="131" y="234"/>
                    <a:pt x="131" y="235"/>
                    <a:pt x="132" y="236"/>
                  </a:cubicBezTo>
                  <a:cubicBezTo>
                    <a:pt x="132" y="237"/>
                    <a:pt x="132" y="237"/>
                    <a:pt x="132" y="237"/>
                  </a:cubicBezTo>
                  <a:cubicBezTo>
                    <a:pt x="132" y="238"/>
                    <a:pt x="133" y="239"/>
                    <a:pt x="134" y="241"/>
                  </a:cubicBezTo>
                  <a:cubicBezTo>
                    <a:pt x="134" y="242"/>
                    <a:pt x="135" y="243"/>
                    <a:pt x="135" y="244"/>
                  </a:cubicBezTo>
                  <a:cubicBezTo>
                    <a:pt x="135" y="244"/>
                    <a:pt x="135" y="244"/>
                    <a:pt x="135" y="244"/>
                  </a:cubicBezTo>
                  <a:cubicBezTo>
                    <a:pt x="135" y="245"/>
                    <a:pt x="135" y="245"/>
                    <a:pt x="135" y="245"/>
                  </a:cubicBezTo>
                  <a:cubicBezTo>
                    <a:pt x="137" y="251"/>
                    <a:pt x="137" y="252"/>
                    <a:pt x="136" y="253"/>
                  </a:cubicBezTo>
                  <a:cubicBezTo>
                    <a:pt x="136" y="254"/>
                    <a:pt x="134" y="254"/>
                    <a:pt x="132" y="255"/>
                  </a:cubicBezTo>
                  <a:cubicBezTo>
                    <a:pt x="131" y="255"/>
                    <a:pt x="131" y="255"/>
                    <a:pt x="130" y="255"/>
                  </a:cubicBezTo>
                  <a:cubicBezTo>
                    <a:pt x="131" y="256"/>
                    <a:pt x="132" y="256"/>
                    <a:pt x="132" y="258"/>
                  </a:cubicBezTo>
                  <a:cubicBezTo>
                    <a:pt x="132" y="260"/>
                    <a:pt x="129" y="261"/>
                    <a:pt x="127" y="261"/>
                  </a:cubicBezTo>
                  <a:cubicBezTo>
                    <a:pt x="126" y="262"/>
                    <a:pt x="126" y="262"/>
                    <a:pt x="125" y="262"/>
                  </a:cubicBezTo>
                  <a:cubicBezTo>
                    <a:pt x="125" y="263"/>
                    <a:pt x="125" y="264"/>
                    <a:pt x="125" y="265"/>
                  </a:cubicBezTo>
                  <a:cubicBezTo>
                    <a:pt x="125" y="266"/>
                    <a:pt x="125" y="266"/>
                    <a:pt x="125" y="266"/>
                  </a:cubicBezTo>
                  <a:cubicBezTo>
                    <a:pt x="126" y="268"/>
                    <a:pt x="126" y="271"/>
                    <a:pt x="126" y="273"/>
                  </a:cubicBezTo>
                  <a:cubicBezTo>
                    <a:pt x="126" y="274"/>
                    <a:pt x="126" y="274"/>
                    <a:pt x="126" y="274"/>
                  </a:cubicBezTo>
                  <a:cubicBezTo>
                    <a:pt x="126" y="274"/>
                    <a:pt x="126" y="274"/>
                    <a:pt x="126" y="274"/>
                  </a:cubicBezTo>
                  <a:cubicBezTo>
                    <a:pt x="126" y="275"/>
                    <a:pt x="126" y="275"/>
                    <a:pt x="126" y="275"/>
                  </a:cubicBezTo>
                  <a:cubicBezTo>
                    <a:pt x="126" y="277"/>
                    <a:pt x="126" y="278"/>
                    <a:pt x="125" y="278"/>
                  </a:cubicBezTo>
                  <a:cubicBezTo>
                    <a:pt x="125" y="281"/>
                    <a:pt x="125" y="281"/>
                    <a:pt x="125" y="281"/>
                  </a:cubicBezTo>
                  <a:cubicBezTo>
                    <a:pt x="124" y="279"/>
                    <a:pt x="124" y="279"/>
                    <a:pt x="124" y="279"/>
                  </a:cubicBezTo>
                  <a:cubicBezTo>
                    <a:pt x="123" y="280"/>
                    <a:pt x="122" y="280"/>
                    <a:pt x="122" y="280"/>
                  </a:cubicBezTo>
                  <a:cubicBezTo>
                    <a:pt x="119" y="281"/>
                    <a:pt x="119" y="281"/>
                    <a:pt x="119" y="281"/>
                  </a:cubicBezTo>
                  <a:cubicBezTo>
                    <a:pt x="115" y="283"/>
                    <a:pt x="111" y="284"/>
                    <a:pt x="107" y="286"/>
                  </a:cubicBezTo>
                  <a:cubicBezTo>
                    <a:pt x="106" y="286"/>
                    <a:pt x="105" y="287"/>
                    <a:pt x="104" y="287"/>
                  </a:cubicBezTo>
                  <a:cubicBezTo>
                    <a:pt x="103" y="287"/>
                    <a:pt x="103" y="287"/>
                    <a:pt x="103" y="287"/>
                  </a:cubicBezTo>
                  <a:cubicBezTo>
                    <a:pt x="101" y="288"/>
                    <a:pt x="98" y="289"/>
                    <a:pt x="96" y="290"/>
                  </a:cubicBezTo>
                  <a:cubicBezTo>
                    <a:pt x="95" y="291"/>
                    <a:pt x="95" y="291"/>
                    <a:pt x="95" y="291"/>
                  </a:cubicBezTo>
                  <a:cubicBezTo>
                    <a:pt x="94" y="291"/>
                    <a:pt x="93" y="292"/>
                    <a:pt x="92" y="294"/>
                  </a:cubicBezTo>
                  <a:cubicBezTo>
                    <a:pt x="92" y="294"/>
                    <a:pt x="92" y="294"/>
                    <a:pt x="92" y="294"/>
                  </a:cubicBezTo>
                  <a:cubicBezTo>
                    <a:pt x="91" y="294"/>
                    <a:pt x="91" y="295"/>
                    <a:pt x="91" y="295"/>
                  </a:cubicBezTo>
                  <a:cubicBezTo>
                    <a:pt x="90" y="296"/>
                    <a:pt x="90" y="296"/>
                    <a:pt x="90" y="296"/>
                  </a:cubicBezTo>
                  <a:cubicBezTo>
                    <a:pt x="89" y="297"/>
                    <a:pt x="89" y="297"/>
                    <a:pt x="89" y="297"/>
                  </a:cubicBezTo>
                  <a:cubicBezTo>
                    <a:pt x="89" y="297"/>
                    <a:pt x="88" y="298"/>
                    <a:pt x="88" y="298"/>
                  </a:cubicBezTo>
                  <a:cubicBezTo>
                    <a:pt x="87" y="299"/>
                    <a:pt x="87" y="299"/>
                    <a:pt x="86" y="299"/>
                  </a:cubicBezTo>
                  <a:cubicBezTo>
                    <a:pt x="86" y="299"/>
                    <a:pt x="85" y="300"/>
                    <a:pt x="85" y="300"/>
                  </a:cubicBezTo>
                  <a:cubicBezTo>
                    <a:pt x="80" y="300"/>
                    <a:pt x="80" y="300"/>
                    <a:pt x="80" y="300"/>
                  </a:cubicBezTo>
                  <a:cubicBezTo>
                    <a:pt x="78" y="301"/>
                    <a:pt x="76" y="301"/>
                    <a:pt x="74" y="301"/>
                  </a:cubicBezTo>
                  <a:cubicBezTo>
                    <a:pt x="73" y="301"/>
                    <a:pt x="73" y="301"/>
                    <a:pt x="73" y="301"/>
                  </a:cubicBezTo>
                  <a:cubicBezTo>
                    <a:pt x="72" y="301"/>
                    <a:pt x="70" y="301"/>
                    <a:pt x="69" y="301"/>
                  </a:cubicBezTo>
                  <a:cubicBezTo>
                    <a:pt x="67" y="301"/>
                    <a:pt x="65" y="302"/>
                    <a:pt x="63" y="302"/>
                  </a:cubicBezTo>
                  <a:cubicBezTo>
                    <a:pt x="62" y="302"/>
                    <a:pt x="61" y="304"/>
                    <a:pt x="60" y="305"/>
                  </a:cubicBezTo>
                  <a:cubicBezTo>
                    <a:pt x="60" y="305"/>
                    <a:pt x="60" y="305"/>
                    <a:pt x="60" y="305"/>
                  </a:cubicBezTo>
                  <a:cubicBezTo>
                    <a:pt x="59" y="306"/>
                    <a:pt x="59" y="306"/>
                    <a:pt x="59" y="306"/>
                  </a:cubicBezTo>
                  <a:cubicBezTo>
                    <a:pt x="58" y="307"/>
                    <a:pt x="58" y="307"/>
                    <a:pt x="58" y="307"/>
                  </a:cubicBezTo>
                  <a:cubicBezTo>
                    <a:pt x="58" y="307"/>
                    <a:pt x="57" y="307"/>
                    <a:pt x="57" y="308"/>
                  </a:cubicBezTo>
                  <a:cubicBezTo>
                    <a:pt x="57" y="308"/>
                    <a:pt x="57" y="308"/>
                    <a:pt x="57" y="308"/>
                  </a:cubicBezTo>
                  <a:cubicBezTo>
                    <a:pt x="57" y="308"/>
                    <a:pt x="57" y="308"/>
                    <a:pt x="57" y="308"/>
                  </a:cubicBezTo>
                  <a:cubicBezTo>
                    <a:pt x="57" y="309"/>
                    <a:pt x="57" y="310"/>
                    <a:pt x="57" y="310"/>
                  </a:cubicBezTo>
                  <a:cubicBezTo>
                    <a:pt x="57" y="311"/>
                    <a:pt x="56" y="312"/>
                    <a:pt x="55" y="314"/>
                  </a:cubicBezTo>
                  <a:cubicBezTo>
                    <a:pt x="54" y="315"/>
                    <a:pt x="54" y="315"/>
                    <a:pt x="53" y="316"/>
                  </a:cubicBezTo>
                  <a:cubicBezTo>
                    <a:pt x="52" y="317"/>
                    <a:pt x="52" y="317"/>
                    <a:pt x="51" y="317"/>
                  </a:cubicBezTo>
                  <a:cubicBezTo>
                    <a:pt x="50" y="318"/>
                    <a:pt x="50" y="318"/>
                    <a:pt x="50" y="318"/>
                  </a:cubicBezTo>
                  <a:cubicBezTo>
                    <a:pt x="50" y="318"/>
                    <a:pt x="50" y="318"/>
                    <a:pt x="50" y="318"/>
                  </a:cubicBezTo>
                  <a:cubicBezTo>
                    <a:pt x="50" y="318"/>
                    <a:pt x="50" y="318"/>
                    <a:pt x="50" y="318"/>
                  </a:cubicBezTo>
                  <a:cubicBezTo>
                    <a:pt x="49" y="318"/>
                    <a:pt x="48" y="317"/>
                    <a:pt x="48" y="317"/>
                  </a:cubicBezTo>
                  <a:cubicBezTo>
                    <a:pt x="47" y="317"/>
                    <a:pt x="47" y="317"/>
                    <a:pt x="47" y="317"/>
                  </a:cubicBezTo>
                  <a:cubicBezTo>
                    <a:pt x="46" y="317"/>
                    <a:pt x="46" y="317"/>
                    <a:pt x="46" y="317"/>
                  </a:cubicBezTo>
                  <a:cubicBezTo>
                    <a:pt x="46" y="317"/>
                    <a:pt x="46" y="317"/>
                    <a:pt x="45" y="317"/>
                  </a:cubicBezTo>
                  <a:cubicBezTo>
                    <a:pt x="45" y="317"/>
                    <a:pt x="45" y="317"/>
                    <a:pt x="45" y="317"/>
                  </a:cubicBezTo>
                  <a:cubicBezTo>
                    <a:pt x="44" y="317"/>
                    <a:pt x="44" y="317"/>
                    <a:pt x="44" y="317"/>
                  </a:cubicBezTo>
                  <a:cubicBezTo>
                    <a:pt x="43" y="317"/>
                    <a:pt x="43" y="317"/>
                    <a:pt x="43" y="317"/>
                  </a:cubicBezTo>
                  <a:cubicBezTo>
                    <a:pt x="43" y="317"/>
                    <a:pt x="43" y="317"/>
                    <a:pt x="43" y="317"/>
                  </a:cubicBezTo>
                  <a:cubicBezTo>
                    <a:pt x="43" y="317"/>
                    <a:pt x="43" y="317"/>
                    <a:pt x="43" y="317"/>
                  </a:cubicBezTo>
                  <a:cubicBezTo>
                    <a:pt x="44" y="318"/>
                    <a:pt x="44" y="318"/>
                    <a:pt x="44" y="318"/>
                  </a:cubicBezTo>
                  <a:cubicBezTo>
                    <a:pt x="43" y="318"/>
                    <a:pt x="43" y="318"/>
                    <a:pt x="43" y="318"/>
                  </a:cubicBezTo>
                  <a:cubicBezTo>
                    <a:pt x="42" y="319"/>
                    <a:pt x="42" y="319"/>
                    <a:pt x="41" y="319"/>
                  </a:cubicBezTo>
                  <a:cubicBezTo>
                    <a:pt x="41" y="319"/>
                    <a:pt x="40" y="319"/>
                    <a:pt x="39" y="319"/>
                  </a:cubicBezTo>
                  <a:cubicBezTo>
                    <a:pt x="37" y="319"/>
                    <a:pt x="36" y="318"/>
                    <a:pt x="35" y="316"/>
                  </a:cubicBezTo>
                  <a:cubicBezTo>
                    <a:pt x="34" y="315"/>
                    <a:pt x="34" y="315"/>
                    <a:pt x="34" y="314"/>
                  </a:cubicBezTo>
                  <a:cubicBezTo>
                    <a:pt x="34" y="314"/>
                    <a:pt x="34" y="313"/>
                    <a:pt x="34" y="312"/>
                  </a:cubicBezTo>
                  <a:cubicBezTo>
                    <a:pt x="33" y="313"/>
                    <a:pt x="33" y="313"/>
                    <a:pt x="33" y="313"/>
                  </a:cubicBezTo>
                  <a:cubicBezTo>
                    <a:pt x="32" y="313"/>
                    <a:pt x="32" y="313"/>
                    <a:pt x="32" y="313"/>
                  </a:cubicBezTo>
                  <a:cubicBezTo>
                    <a:pt x="30" y="315"/>
                    <a:pt x="28" y="315"/>
                    <a:pt x="26" y="315"/>
                  </a:cubicBezTo>
                  <a:cubicBezTo>
                    <a:pt x="25" y="315"/>
                    <a:pt x="25" y="315"/>
                    <a:pt x="24" y="315"/>
                  </a:cubicBezTo>
                  <a:cubicBezTo>
                    <a:pt x="24" y="316"/>
                    <a:pt x="24" y="317"/>
                    <a:pt x="23" y="317"/>
                  </a:cubicBezTo>
                  <a:cubicBezTo>
                    <a:pt x="23" y="318"/>
                    <a:pt x="23" y="318"/>
                    <a:pt x="22" y="318"/>
                  </a:cubicBezTo>
                  <a:cubicBezTo>
                    <a:pt x="21" y="320"/>
                    <a:pt x="17" y="321"/>
                    <a:pt x="14" y="322"/>
                  </a:cubicBezTo>
                  <a:cubicBezTo>
                    <a:pt x="13" y="322"/>
                    <a:pt x="13" y="322"/>
                    <a:pt x="13" y="322"/>
                  </a:cubicBezTo>
                  <a:cubicBezTo>
                    <a:pt x="13" y="322"/>
                    <a:pt x="12" y="322"/>
                    <a:pt x="12" y="322"/>
                  </a:cubicBezTo>
                  <a:cubicBezTo>
                    <a:pt x="7" y="324"/>
                    <a:pt x="7" y="324"/>
                    <a:pt x="7" y="324"/>
                  </a:cubicBezTo>
                  <a:cubicBezTo>
                    <a:pt x="7" y="324"/>
                    <a:pt x="7" y="325"/>
                    <a:pt x="7" y="325"/>
                  </a:cubicBezTo>
                  <a:cubicBezTo>
                    <a:pt x="7" y="326"/>
                    <a:pt x="7" y="326"/>
                    <a:pt x="7" y="327"/>
                  </a:cubicBezTo>
                  <a:cubicBezTo>
                    <a:pt x="6" y="328"/>
                    <a:pt x="6" y="328"/>
                    <a:pt x="6" y="328"/>
                  </a:cubicBezTo>
                  <a:cubicBezTo>
                    <a:pt x="6" y="328"/>
                    <a:pt x="6" y="328"/>
                    <a:pt x="6" y="328"/>
                  </a:cubicBezTo>
                  <a:cubicBezTo>
                    <a:pt x="5" y="332"/>
                    <a:pt x="5" y="332"/>
                    <a:pt x="5" y="332"/>
                  </a:cubicBezTo>
                  <a:cubicBezTo>
                    <a:pt x="6" y="333"/>
                    <a:pt x="5" y="334"/>
                    <a:pt x="5" y="335"/>
                  </a:cubicBezTo>
                  <a:cubicBezTo>
                    <a:pt x="4" y="335"/>
                    <a:pt x="3" y="335"/>
                    <a:pt x="3" y="336"/>
                  </a:cubicBezTo>
                  <a:cubicBezTo>
                    <a:pt x="2" y="336"/>
                    <a:pt x="2" y="336"/>
                    <a:pt x="2" y="336"/>
                  </a:cubicBezTo>
                  <a:cubicBezTo>
                    <a:pt x="1" y="337"/>
                    <a:pt x="1" y="337"/>
                    <a:pt x="1" y="337"/>
                  </a:cubicBezTo>
                  <a:cubicBezTo>
                    <a:pt x="1" y="337"/>
                    <a:pt x="1" y="337"/>
                    <a:pt x="1" y="337"/>
                  </a:cubicBezTo>
                  <a:cubicBezTo>
                    <a:pt x="0" y="337"/>
                    <a:pt x="0" y="337"/>
                    <a:pt x="0" y="337"/>
                  </a:cubicBezTo>
                  <a:cubicBezTo>
                    <a:pt x="0" y="341"/>
                    <a:pt x="0" y="341"/>
                    <a:pt x="0" y="341"/>
                  </a:cubicBezTo>
                  <a:cubicBezTo>
                    <a:pt x="0" y="342"/>
                    <a:pt x="0" y="342"/>
                    <a:pt x="0" y="342"/>
                  </a:cubicBezTo>
                  <a:cubicBezTo>
                    <a:pt x="1" y="341"/>
                    <a:pt x="1" y="341"/>
                    <a:pt x="1" y="341"/>
                  </a:cubicBezTo>
                  <a:cubicBezTo>
                    <a:pt x="1" y="342"/>
                    <a:pt x="1" y="342"/>
                    <a:pt x="1" y="342"/>
                  </a:cubicBezTo>
                  <a:cubicBezTo>
                    <a:pt x="1" y="342"/>
                    <a:pt x="1" y="342"/>
                    <a:pt x="1" y="342"/>
                  </a:cubicBezTo>
                  <a:cubicBezTo>
                    <a:pt x="1" y="343"/>
                    <a:pt x="1" y="343"/>
                    <a:pt x="1" y="343"/>
                  </a:cubicBezTo>
                  <a:cubicBezTo>
                    <a:pt x="2" y="343"/>
                    <a:pt x="2" y="343"/>
                    <a:pt x="2" y="343"/>
                  </a:cubicBezTo>
                  <a:cubicBezTo>
                    <a:pt x="2" y="343"/>
                    <a:pt x="2" y="343"/>
                    <a:pt x="2" y="343"/>
                  </a:cubicBezTo>
                  <a:cubicBezTo>
                    <a:pt x="2" y="344"/>
                    <a:pt x="3" y="344"/>
                    <a:pt x="3" y="345"/>
                  </a:cubicBezTo>
                  <a:cubicBezTo>
                    <a:pt x="3" y="345"/>
                    <a:pt x="3" y="345"/>
                    <a:pt x="3" y="345"/>
                  </a:cubicBezTo>
                  <a:cubicBezTo>
                    <a:pt x="4" y="346"/>
                    <a:pt x="4" y="347"/>
                    <a:pt x="3" y="348"/>
                  </a:cubicBezTo>
                  <a:cubicBezTo>
                    <a:pt x="3" y="349"/>
                    <a:pt x="3" y="349"/>
                    <a:pt x="3" y="349"/>
                  </a:cubicBezTo>
                  <a:cubicBezTo>
                    <a:pt x="2" y="349"/>
                    <a:pt x="2" y="349"/>
                    <a:pt x="2" y="349"/>
                  </a:cubicBezTo>
                  <a:cubicBezTo>
                    <a:pt x="2" y="350"/>
                    <a:pt x="2" y="350"/>
                    <a:pt x="2" y="350"/>
                  </a:cubicBezTo>
                  <a:cubicBezTo>
                    <a:pt x="2" y="350"/>
                    <a:pt x="2" y="350"/>
                    <a:pt x="2" y="350"/>
                  </a:cubicBezTo>
                  <a:cubicBezTo>
                    <a:pt x="2" y="351"/>
                    <a:pt x="2" y="352"/>
                    <a:pt x="2" y="352"/>
                  </a:cubicBezTo>
                  <a:cubicBezTo>
                    <a:pt x="3" y="352"/>
                    <a:pt x="3" y="352"/>
                    <a:pt x="3" y="352"/>
                  </a:cubicBezTo>
                  <a:cubicBezTo>
                    <a:pt x="4" y="352"/>
                    <a:pt x="4" y="352"/>
                    <a:pt x="4" y="352"/>
                  </a:cubicBezTo>
                  <a:cubicBezTo>
                    <a:pt x="5" y="351"/>
                    <a:pt x="7" y="351"/>
                    <a:pt x="8" y="351"/>
                  </a:cubicBezTo>
                  <a:cubicBezTo>
                    <a:pt x="9" y="351"/>
                    <a:pt x="9" y="351"/>
                    <a:pt x="9" y="351"/>
                  </a:cubicBezTo>
                  <a:cubicBezTo>
                    <a:pt x="9" y="351"/>
                    <a:pt x="9" y="351"/>
                    <a:pt x="9" y="351"/>
                  </a:cubicBezTo>
                  <a:cubicBezTo>
                    <a:pt x="10" y="351"/>
                    <a:pt x="10" y="351"/>
                    <a:pt x="11" y="351"/>
                  </a:cubicBezTo>
                  <a:cubicBezTo>
                    <a:pt x="12" y="351"/>
                    <a:pt x="13" y="352"/>
                    <a:pt x="14" y="352"/>
                  </a:cubicBezTo>
                  <a:cubicBezTo>
                    <a:pt x="15" y="353"/>
                    <a:pt x="16" y="353"/>
                    <a:pt x="17" y="354"/>
                  </a:cubicBezTo>
                  <a:cubicBezTo>
                    <a:pt x="17" y="354"/>
                    <a:pt x="17" y="354"/>
                    <a:pt x="17" y="354"/>
                  </a:cubicBezTo>
                  <a:cubicBezTo>
                    <a:pt x="18" y="355"/>
                    <a:pt x="18" y="355"/>
                    <a:pt x="19" y="355"/>
                  </a:cubicBezTo>
                  <a:cubicBezTo>
                    <a:pt x="20" y="356"/>
                    <a:pt x="20" y="356"/>
                    <a:pt x="20" y="356"/>
                  </a:cubicBezTo>
                  <a:cubicBezTo>
                    <a:pt x="22" y="357"/>
                    <a:pt x="23" y="358"/>
                    <a:pt x="24" y="361"/>
                  </a:cubicBezTo>
                  <a:cubicBezTo>
                    <a:pt x="24" y="365"/>
                    <a:pt x="25" y="368"/>
                    <a:pt x="25" y="371"/>
                  </a:cubicBezTo>
                  <a:cubicBezTo>
                    <a:pt x="25" y="372"/>
                    <a:pt x="25" y="372"/>
                    <a:pt x="25" y="372"/>
                  </a:cubicBezTo>
                  <a:cubicBezTo>
                    <a:pt x="25" y="373"/>
                    <a:pt x="25" y="374"/>
                    <a:pt x="26" y="375"/>
                  </a:cubicBezTo>
                  <a:cubicBezTo>
                    <a:pt x="26" y="377"/>
                    <a:pt x="26" y="377"/>
                    <a:pt x="26" y="377"/>
                  </a:cubicBezTo>
                  <a:cubicBezTo>
                    <a:pt x="26" y="377"/>
                    <a:pt x="27" y="378"/>
                    <a:pt x="28" y="379"/>
                  </a:cubicBezTo>
                  <a:cubicBezTo>
                    <a:pt x="31" y="381"/>
                    <a:pt x="31" y="381"/>
                    <a:pt x="31" y="381"/>
                  </a:cubicBezTo>
                  <a:cubicBezTo>
                    <a:pt x="29" y="383"/>
                    <a:pt x="29" y="383"/>
                    <a:pt x="29" y="383"/>
                  </a:cubicBezTo>
                  <a:cubicBezTo>
                    <a:pt x="28" y="384"/>
                    <a:pt x="27" y="384"/>
                    <a:pt x="26" y="385"/>
                  </a:cubicBezTo>
                  <a:cubicBezTo>
                    <a:pt x="35" y="383"/>
                    <a:pt x="35" y="383"/>
                    <a:pt x="35" y="383"/>
                  </a:cubicBezTo>
                  <a:cubicBezTo>
                    <a:pt x="24" y="388"/>
                    <a:pt x="24" y="388"/>
                    <a:pt x="24" y="388"/>
                  </a:cubicBezTo>
                  <a:cubicBezTo>
                    <a:pt x="24" y="388"/>
                    <a:pt x="24" y="388"/>
                    <a:pt x="24" y="388"/>
                  </a:cubicBezTo>
                  <a:cubicBezTo>
                    <a:pt x="26" y="388"/>
                    <a:pt x="28" y="388"/>
                    <a:pt x="30" y="389"/>
                  </a:cubicBezTo>
                  <a:cubicBezTo>
                    <a:pt x="32" y="390"/>
                    <a:pt x="33" y="391"/>
                    <a:pt x="34" y="392"/>
                  </a:cubicBezTo>
                  <a:cubicBezTo>
                    <a:pt x="35" y="392"/>
                    <a:pt x="36" y="393"/>
                    <a:pt x="37" y="393"/>
                  </a:cubicBezTo>
                  <a:cubicBezTo>
                    <a:pt x="38" y="394"/>
                    <a:pt x="38" y="394"/>
                    <a:pt x="38" y="394"/>
                  </a:cubicBezTo>
                  <a:cubicBezTo>
                    <a:pt x="38" y="394"/>
                    <a:pt x="38" y="394"/>
                    <a:pt x="38" y="394"/>
                  </a:cubicBezTo>
                  <a:cubicBezTo>
                    <a:pt x="40" y="395"/>
                    <a:pt x="42" y="397"/>
                    <a:pt x="44" y="400"/>
                  </a:cubicBezTo>
                  <a:cubicBezTo>
                    <a:pt x="45" y="401"/>
                    <a:pt x="45" y="402"/>
                    <a:pt x="45" y="403"/>
                  </a:cubicBezTo>
                  <a:cubicBezTo>
                    <a:pt x="45" y="404"/>
                    <a:pt x="46" y="405"/>
                    <a:pt x="46" y="406"/>
                  </a:cubicBezTo>
                  <a:cubicBezTo>
                    <a:pt x="45" y="408"/>
                    <a:pt x="45" y="409"/>
                    <a:pt x="45" y="409"/>
                  </a:cubicBezTo>
                  <a:cubicBezTo>
                    <a:pt x="44" y="410"/>
                    <a:pt x="44" y="410"/>
                    <a:pt x="44" y="410"/>
                  </a:cubicBezTo>
                  <a:cubicBezTo>
                    <a:pt x="45" y="410"/>
                    <a:pt x="45" y="410"/>
                    <a:pt x="45" y="410"/>
                  </a:cubicBezTo>
                  <a:cubicBezTo>
                    <a:pt x="46" y="411"/>
                    <a:pt x="46" y="412"/>
                    <a:pt x="47" y="412"/>
                  </a:cubicBezTo>
                  <a:cubicBezTo>
                    <a:pt x="47" y="413"/>
                    <a:pt x="47" y="413"/>
                    <a:pt x="47" y="413"/>
                  </a:cubicBezTo>
                  <a:cubicBezTo>
                    <a:pt x="47" y="413"/>
                    <a:pt x="47" y="413"/>
                    <a:pt x="47" y="413"/>
                  </a:cubicBezTo>
                  <a:cubicBezTo>
                    <a:pt x="47" y="413"/>
                    <a:pt x="47" y="413"/>
                    <a:pt x="47" y="413"/>
                  </a:cubicBezTo>
                  <a:cubicBezTo>
                    <a:pt x="48" y="413"/>
                    <a:pt x="48" y="413"/>
                    <a:pt x="48" y="413"/>
                  </a:cubicBezTo>
                  <a:cubicBezTo>
                    <a:pt x="50" y="413"/>
                    <a:pt x="51" y="413"/>
                    <a:pt x="51" y="413"/>
                  </a:cubicBezTo>
                  <a:cubicBezTo>
                    <a:pt x="54" y="409"/>
                    <a:pt x="54" y="409"/>
                    <a:pt x="54" y="409"/>
                  </a:cubicBezTo>
                  <a:cubicBezTo>
                    <a:pt x="55" y="413"/>
                    <a:pt x="55" y="413"/>
                    <a:pt x="55" y="413"/>
                  </a:cubicBezTo>
                  <a:cubicBezTo>
                    <a:pt x="56" y="414"/>
                    <a:pt x="56" y="414"/>
                    <a:pt x="56" y="414"/>
                  </a:cubicBezTo>
                  <a:cubicBezTo>
                    <a:pt x="56" y="415"/>
                    <a:pt x="56" y="415"/>
                    <a:pt x="56" y="415"/>
                  </a:cubicBezTo>
                  <a:cubicBezTo>
                    <a:pt x="56" y="415"/>
                    <a:pt x="56" y="415"/>
                    <a:pt x="56" y="415"/>
                  </a:cubicBezTo>
                  <a:cubicBezTo>
                    <a:pt x="56" y="415"/>
                    <a:pt x="56" y="415"/>
                    <a:pt x="56" y="415"/>
                  </a:cubicBezTo>
                  <a:cubicBezTo>
                    <a:pt x="57" y="416"/>
                    <a:pt x="58" y="417"/>
                    <a:pt x="59" y="417"/>
                  </a:cubicBezTo>
                  <a:cubicBezTo>
                    <a:pt x="62" y="419"/>
                    <a:pt x="67" y="420"/>
                    <a:pt x="71" y="420"/>
                  </a:cubicBezTo>
                  <a:cubicBezTo>
                    <a:pt x="73" y="420"/>
                    <a:pt x="75" y="420"/>
                    <a:pt x="77" y="420"/>
                  </a:cubicBezTo>
                  <a:cubicBezTo>
                    <a:pt x="77" y="420"/>
                    <a:pt x="77" y="420"/>
                    <a:pt x="77" y="420"/>
                  </a:cubicBezTo>
                  <a:cubicBezTo>
                    <a:pt x="78" y="420"/>
                    <a:pt x="78" y="420"/>
                    <a:pt x="78" y="420"/>
                  </a:cubicBezTo>
                  <a:cubicBezTo>
                    <a:pt x="80" y="420"/>
                    <a:pt x="81" y="419"/>
                    <a:pt x="82" y="418"/>
                  </a:cubicBezTo>
                  <a:cubicBezTo>
                    <a:pt x="84" y="418"/>
                    <a:pt x="84" y="418"/>
                    <a:pt x="84" y="418"/>
                  </a:cubicBezTo>
                  <a:cubicBezTo>
                    <a:pt x="84" y="420"/>
                    <a:pt x="84" y="420"/>
                    <a:pt x="84" y="420"/>
                  </a:cubicBezTo>
                  <a:cubicBezTo>
                    <a:pt x="84" y="420"/>
                    <a:pt x="84" y="420"/>
                    <a:pt x="84" y="420"/>
                  </a:cubicBezTo>
                  <a:cubicBezTo>
                    <a:pt x="82" y="421"/>
                    <a:pt x="80" y="422"/>
                    <a:pt x="79" y="422"/>
                  </a:cubicBezTo>
                  <a:cubicBezTo>
                    <a:pt x="78" y="423"/>
                    <a:pt x="78" y="423"/>
                    <a:pt x="78" y="423"/>
                  </a:cubicBezTo>
                  <a:cubicBezTo>
                    <a:pt x="77" y="423"/>
                    <a:pt x="77" y="423"/>
                    <a:pt x="77" y="423"/>
                  </a:cubicBezTo>
                  <a:cubicBezTo>
                    <a:pt x="77" y="423"/>
                    <a:pt x="77" y="423"/>
                    <a:pt x="77" y="423"/>
                  </a:cubicBezTo>
                  <a:cubicBezTo>
                    <a:pt x="77" y="423"/>
                    <a:pt x="79" y="423"/>
                    <a:pt x="81" y="423"/>
                  </a:cubicBezTo>
                  <a:cubicBezTo>
                    <a:pt x="81" y="423"/>
                    <a:pt x="81" y="423"/>
                    <a:pt x="81" y="423"/>
                  </a:cubicBezTo>
                  <a:cubicBezTo>
                    <a:pt x="82" y="423"/>
                    <a:pt x="82" y="423"/>
                    <a:pt x="82" y="423"/>
                  </a:cubicBezTo>
                  <a:cubicBezTo>
                    <a:pt x="82" y="423"/>
                    <a:pt x="82" y="423"/>
                    <a:pt x="82" y="424"/>
                  </a:cubicBezTo>
                  <a:cubicBezTo>
                    <a:pt x="82" y="425"/>
                    <a:pt x="81" y="426"/>
                    <a:pt x="81" y="427"/>
                  </a:cubicBezTo>
                  <a:cubicBezTo>
                    <a:pt x="81" y="428"/>
                    <a:pt x="82" y="429"/>
                    <a:pt x="82" y="430"/>
                  </a:cubicBezTo>
                  <a:cubicBezTo>
                    <a:pt x="83" y="431"/>
                    <a:pt x="83" y="432"/>
                    <a:pt x="84" y="433"/>
                  </a:cubicBezTo>
                  <a:cubicBezTo>
                    <a:pt x="84" y="434"/>
                    <a:pt x="84" y="434"/>
                    <a:pt x="84" y="434"/>
                  </a:cubicBezTo>
                  <a:cubicBezTo>
                    <a:pt x="85" y="436"/>
                    <a:pt x="85" y="438"/>
                    <a:pt x="86" y="439"/>
                  </a:cubicBezTo>
                  <a:cubicBezTo>
                    <a:pt x="86" y="440"/>
                    <a:pt x="86" y="440"/>
                    <a:pt x="86" y="440"/>
                  </a:cubicBezTo>
                  <a:cubicBezTo>
                    <a:pt x="87" y="441"/>
                    <a:pt x="88" y="443"/>
                    <a:pt x="90" y="444"/>
                  </a:cubicBezTo>
                  <a:cubicBezTo>
                    <a:pt x="91" y="445"/>
                    <a:pt x="93" y="445"/>
                    <a:pt x="95" y="446"/>
                  </a:cubicBezTo>
                  <a:cubicBezTo>
                    <a:pt x="97" y="446"/>
                    <a:pt x="98" y="447"/>
                    <a:pt x="99" y="448"/>
                  </a:cubicBezTo>
                  <a:cubicBezTo>
                    <a:pt x="99" y="448"/>
                    <a:pt x="99" y="449"/>
                    <a:pt x="99" y="450"/>
                  </a:cubicBezTo>
                  <a:cubicBezTo>
                    <a:pt x="95" y="453"/>
                    <a:pt x="95" y="453"/>
                    <a:pt x="95" y="453"/>
                  </a:cubicBezTo>
                  <a:cubicBezTo>
                    <a:pt x="95" y="453"/>
                    <a:pt x="95" y="453"/>
                    <a:pt x="95" y="453"/>
                  </a:cubicBezTo>
                  <a:cubicBezTo>
                    <a:pt x="95" y="454"/>
                    <a:pt x="95" y="454"/>
                    <a:pt x="95" y="455"/>
                  </a:cubicBezTo>
                  <a:cubicBezTo>
                    <a:pt x="95" y="456"/>
                    <a:pt x="95" y="457"/>
                    <a:pt x="96" y="457"/>
                  </a:cubicBezTo>
                  <a:cubicBezTo>
                    <a:pt x="96" y="458"/>
                    <a:pt x="96" y="458"/>
                    <a:pt x="96" y="458"/>
                  </a:cubicBezTo>
                  <a:cubicBezTo>
                    <a:pt x="96" y="458"/>
                    <a:pt x="96" y="459"/>
                    <a:pt x="96" y="460"/>
                  </a:cubicBezTo>
                  <a:cubicBezTo>
                    <a:pt x="98" y="458"/>
                    <a:pt x="98" y="458"/>
                    <a:pt x="98" y="458"/>
                  </a:cubicBezTo>
                  <a:cubicBezTo>
                    <a:pt x="99" y="461"/>
                    <a:pt x="99" y="461"/>
                    <a:pt x="99" y="461"/>
                  </a:cubicBezTo>
                  <a:cubicBezTo>
                    <a:pt x="99" y="461"/>
                    <a:pt x="99" y="461"/>
                    <a:pt x="99" y="461"/>
                  </a:cubicBezTo>
                  <a:cubicBezTo>
                    <a:pt x="100" y="464"/>
                    <a:pt x="100" y="464"/>
                    <a:pt x="100" y="464"/>
                  </a:cubicBezTo>
                  <a:cubicBezTo>
                    <a:pt x="101" y="466"/>
                    <a:pt x="101" y="466"/>
                    <a:pt x="101" y="466"/>
                  </a:cubicBezTo>
                  <a:cubicBezTo>
                    <a:pt x="101" y="467"/>
                    <a:pt x="101" y="467"/>
                    <a:pt x="101" y="467"/>
                  </a:cubicBezTo>
                  <a:cubicBezTo>
                    <a:pt x="101" y="467"/>
                    <a:pt x="101" y="467"/>
                    <a:pt x="101" y="467"/>
                  </a:cubicBezTo>
                  <a:cubicBezTo>
                    <a:pt x="103" y="468"/>
                    <a:pt x="104" y="469"/>
                    <a:pt x="106" y="470"/>
                  </a:cubicBezTo>
                  <a:cubicBezTo>
                    <a:pt x="106" y="470"/>
                    <a:pt x="106" y="470"/>
                    <a:pt x="106" y="470"/>
                  </a:cubicBezTo>
                  <a:cubicBezTo>
                    <a:pt x="107" y="470"/>
                    <a:pt x="109" y="471"/>
                    <a:pt x="110" y="473"/>
                  </a:cubicBezTo>
                  <a:cubicBezTo>
                    <a:pt x="110" y="473"/>
                    <a:pt x="110" y="474"/>
                    <a:pt x="110" y="475"/>
                  </a:cubicBezTo>
                  <a:cubicBezTo>
                    <a:pt x="110" y="477"/>
                    <a:pt x="110" y="477"/>
                    <a:pt x="110" y="477"/>
                  </a:cubicBezTo>
                  <a:cubicBezTo>
                    <a:pt x="110" y="477"/>
                    <a:pt x="110" y="478"/>
                    <a:pt x="111" y="478"/>
                  </a:cubicBezTo>
                  <a:cubicBezTo>
                    <a:pt x="111" y="479"/>
                    <a:pt x="111" y="479"/>
                    <a:pt x="111" y="479"/>
                  </a:cubicBezTo>
                  <a:cubicBezTo>
                    <a:pt x="111" y="479"/>
                    <a:pt x="111" y="479"/>
                    <a:pt x="111" y="479"/>
                  </a:cubicBezTo>
                  <a:cubicBezTo>
                    <a:pt x="111" y="480"/>
                    <a:pt x="111" y="480"/>
                    <a:pt x="111" y="480"/>
                  </a:cubicBezTo>
                  <a:cubicBezTo>
                    <a:pt x="113" y="481"/>
                    <a:pt x="113" y="481"/>
                    <a:pt x="113" y="481"/>
                  </a:cubicBezTo>
                  <a:cubicBezTo>
                    <a:pt x="112" y="483"/>
                    <a:pt x="112" y="483"/>
                    <a:pt x="112" y="483"/>
                  </a:cubicBezTo>
                  <a:cubicBezTo>
                    <a:pt x="108" y="487"/>
                    <a:pt x="104" y="492"/>
                    <a:pt x="100" y="492"/>
                  </a:cubicBezTo>
                  <a:cubicBezTo>
                    <a:pt x="99" y="492"/>
                    <a:pt x="99" y="492"/>
                    <a:pt x="99" y="492"/>
                  </a:cubicBezTo>
                  <a:cubicBezTo>
                    <a:pt x="99" y="492"/>
                    <a:pt x="99" y="492"/>
                    <a:pt x="99" y="492"/>
                  </a:cubicBezTo>
                  <a:cubicBezTo>
                    <a:pt x="96" y="491"/>
                    <a:pt x="94" y="489"/>
                    <a:pt x="93" y="488"/>
                  </a:cubicBezTo>
                  <a:cubicBezTo>
                    <a:pt x="93" y="487"/>
                    <a:pt x="93" y="487"/>
                    <a:pt x="93" y="487"/>
                  </a:cubicBezTo>
                  <a:cubicBezTo>
                    <a:pt x="92" y="487"/>
                    <a:pt x="92" y="487"/>
                    <a:pt x="92" y="487"/>
                  </a:cubicBezTo>
                  <a:cubicBezTo>
                    <a:pt x="92" y="488"/>
                    <a:pt x="91" y="488"/>
                    <a:pt x="91" y="488"/>
                  </a:cubicBezTo>
                  <a:cubicBezTo>
                    <a:pt x="92" y="490"/>
                    <a:pt x="92" y="492"/>
                    <a:pt x="93" y="493"/>
                  </a:cubicBezTo>
                  <a:cubicBezTo>
                    <a:pt x="94" y="494"/>
                    <a:pt x="95" y="496"/>
                    <a:pt x="96" y="497"/>
                  </a:cubicBezTo>
                  <a:cubicBezTo>
                    <a:pt x="97" y="498"/>
                    <a:pt x="97" y="499"/>
                    <a:pt x="97" y="500"/>
                  </a:cubicBezTo>
                  <a:cubicBezTo>
                    <a:pt x="97" y="500"/>
                    <a:pt x="97" y="501"/>
                    <a:pt x="97" y="502"/>
                  </a:cubicBezTo>
                  <a:cubicBezTo>
                    <a:pt x="97" y="503"/>
                    <a:pt x="97" y="505"/>
                    <a:pt x="97" y="507"/>
                  </a:cubicBezTo>
                  <a:cubicBezTo>
                    <a:pt x="97" y="507"/>
                    <a:pt x="97" y="507"/>
                    <a:pt x="97" y="507"/>
                  </a:cubicBezTo>
                  <a:cubicBezTo>
                    <a:pt x="97" y="508"/>
                    <a:pt x="97" y="508"/>
                    <a:pt x="97" y="508"/>
                  </a:cubicBezTo>
                  <a:cubicBezTo>
                    <a:pt x="97" y="508"/>
                    <a:pt x="97" y="508"/>
                    <a:pt x="98" y="509"/>
                  </a:cubicBezTo>
                  <a:cubicBezTo>
                    <a:pt x="98" y="509"/>
                    <a:pt x="98" y="509"/>
                    <a:pt x="98" y="509"/>
                  </a:cubicBezTo>
                  <a:cubicBezTo>
                    <a:pt x="99" y="508"/>
                    <a:pt x="100" y="508"/>
                    <a:pt x="102" y="508"/>
                  </a:cubicBezTo>
                  <a:cubicBezTo>
                    <a:pt x="102" y="508"/>
                    <a:pt x="102" y="508"/>
                    <a:pt x="103" y="508"/>
                  </a:cubicBezTo>
                  <a:cubicBezTo>
                    <a:pt x="103" y="508"/>
                    <a:pt x="104" y="508"/>
                    <a:pt x="105" y="509"/>
                  </a:cubicBezTo>
                  <a:cubicBezTo>
                    <a:pt x="106" y="510"/>
                    <a:pt x="106" y="510"/>
                    <a:pt x="106" y="510"/>
                  </a:cubicBezTo>
                  <a:cubicBezTo>
                    <a:pt x="110" y="508"/>
                    <a:pt x="110" y="508"/>
                    <a:pt x="110" y="508"/>
                  </a:cubicBezTo>
                  <a:cubicBezTo>
                    <a:pt x="106" y="511"/>
                    <a:pt x="106" y="511"/>
                    <a:pt x="106" y="511"/>
                  </a:cubicBezTo>
                  <a:cubicBezTo>
                    <a:pt x="107" y="512"/>
                    <a:pt x="107" y="513"/>
                    <a:pt x="108" y="513"/>
                  </a:cubicBezTo>
                  <a:cubicBezTo>
                    <a:pt x="108" y="514"/>
                    <a:pt x="108" y="514"/>
                    <a:pt x="108" y="514"/>
                  </a:cubicBezTo>
                  <a:cubicBezTo>
                    <a:pt x="108" y="514"/>
                    <a:pt x="109" y="515"/>
                    <a:pt x="109" y="515"/>
                  </a:cubicBezTo>
                  <a:cubicBezTo>
                    <a:pt x="109" y="515"/>
                    <a:pt x="110" y="516"/>
                    <a:pt x="110" y="516"/>
                  </a:cubicBezTo>
                  <a:cubicBezTo>
                    <a:pt x="110" y="516"/>
                    <a:pt x="110" y="516"/>
                    <a:pt x="111" y="517"/>
                  </a:cubicBezTo>
                  <a:cubicBezTo>
                    <a:pt x="111" y="517"/>
                    <a:pt x="112" y="517"/>
                    <a:pt x="113" y="517"/>
                  </a:cubicBezTo>
                  <a:cubicBezTo>
                    <a:pt x="116" y="518"/>
                    <a:pt x="119" y="519"/>
                    <a:pt x="122" y="520"/>
                  </a:cubicBezTo>
                  <a:cubicBezTo>
                    <a:pt x="123" y="521"/>
                    <a:pt x="124" y="522"/>
                    <a:pt x="125" y="522"/>
                  </a:cubicBezTo>
                  <a:cubicBezTo>
                    <a:pt x="125" y="521"/>
                    <a:pt x="125" y="521"/>
                    <a:pt x="125" y="521"/>
                  </a:cubicBezTo>
                  <a:cubicBezTo>
                    <a:pt x="125" y="522"/>
                    <a:pt x="125" y="522"/>
                    <a:pt x="125" y="522"/>
                  </a:cubicBezTo>
                  <a:cubicBezTo>
                    <a:pt x="126" y="523"/>
                    <a:pt x="126" y="523"/>
                    <a:pt x="126" y="523"/>
                  </a:cubicBezTo>
                  <a:cubicBezTo>
                    <a:pt x="126" y="524"/>
                    <a:pt x="126" y="525"/>
                    <a:pt x="126" y="526"/>
                  </a:cubicBezTo>
                  <a:cubicBezTo>
                    <a:pt x="138" y="533"/>
                    <a:pt x="138" y="533"/>
                    <a:pt x="138" y="533"/>
                  </a:cubicBezTo>
                  <a:cubicBezTo>
                    <a:pt x="139" y="532"/>
                    <a:pt x="139" y="532"/>
                    <a:pt x="139" y="532"/>
                  </a:cubicBezTo>
                  <a:cubicBezTo>
                    <a:pt x="142" y="536"/>
                    <a:pt x="142" y="536"/>
                    <a:pt x="142" y="536"/>
                  </a:cubicBezTo>
                  <a:cubicBezTo>
                    <a:pt x="142" y="534"/>
                    <a:pt x="143" y="533"/>
                    <a:pt x="143" y="532"/>
                  </a:cubicBezTo>
                  <a:cubicBezTo>
                    <a:pt x="144" y="532"/>
                    <a:pt x="144" y="532"/>
                    <a:pt x="144" y="532"/>
                  </a:cubicBezTo>
                  <a:cubicBezTo>
                    <a:pt x="144" y="531"/>
                    <a:pt x="144" y="531"/>
                    <a:pt x="144" y="531"/>
                  </a:cubicBezTo>
                  <a:cubicBezTo>
                    <a:pt x="145" y="531"/>
                    <a:pt x="145" y="530"/>
                    <a:pt x="145" y="530"/>
                  </a:cubicBezTo>
                  <a:cubicBezTo>
                    <a:pt x="146" y="530"/>
                    <a:pt x="146" y="530"/>
                    <a:pt x="146" y="530"/>
                  </a:cubicBezTo>
                  <a:cubicBezTo>
                    <a:pt x="147" y="529"/>
                    <a:pt x="148" y="529"/>
                    <a:pt x="149" y="529"/>
                  </a:cubicBezTo>
                  <a:cubicBezTo>
                    <a:pt x="150" y="529"/>
                    <a:pt x="150" y="529"/>
                    <a:pt x="151" y="529"/>
                  </a:cubicBezTo>
                  <a:cubicBezTo>
                    <a:pt x="154" y="529"/>
                    <a:pt x="157" y="529"/>
                    <a:pt x="159" y="531"/>
                  </a:cubicBezTo>
                  <a:cubicBezTo>
                    <a:pt x="160" y="532"/>
                    <a:pt x="161" y="533"/>
                    <a:pt x="161" y="535"/>
                  </a:cubicBezTo>
                  <a:cubicBezTo>
                    <a:pt x="162" y="535"/>
                    <a:pt x="162" y="536"/>
                    <a:pt x="162" y="536"/>
                  </a:cubicBezTo>
                  <a:cubicBezTo>
                    <a:pt x="163" y="536"/>
                    <a:pt x="163" y="537"/>
                    <a:pt x="164" y="537"/>
                  </a:cubicBezTo>
                  <a:cubicBezTo>
                    <a:pt x="164" y="537"/>
                    <a:pt x="164" y="537"/>
                    <a:pt x="164" y="537"/>
                  </a:cubicBezTo>
                  <a:cubicBezTo>
                    <a:pt x="165" y="537"/>
                    <a:pt x="166" y="538"/>
                    <a:pt x="166" y="538"/>
                  </a:cubicBezTo>
                  <a:cubicBezTo>
                    <a:pt x="167" y="538"/>
                    <a:pt x="167" y="538"/>
                    <a:pt x="167" y="538"/>
                  </a:cubicBezTo>
                  <a:cubicBezTo>
                    <a:pt x="168" y="539"/>
                    <a:pt x="169" y="540"/>
                    <a:pt x="170" y="540"/>
                  </a:cubicBezTo>
                  <a:cubicBezTo>
                    <a:pt x="171" y="541"/>
                    <a:pt x="172" y="542"/>
                    <a:pt x="173" y="542"/>
                  </a:cubicBezTo>
                  <a:cubicBezTo>
                    <a:pt x="174" y="544"/>
                    <a:pt x="174" y="544"/>
                    <a:pt x="174" y="544"/>
                  </a:cubicBezTo>
                  <a:cubicBezTo>
                    <a:pt x="174" y="544"/>
                    <a:pt x="175" y="544"/>
                    <a:pt x="176" y="545"/>
                  </a:cubicBezTo>
                  <a:cubicBezTo>
                    <a:pt x="177" y="545"/>
                    <a:pt x="178" y="545"/>
                    <a:pt x="178" y="545"/>
                  </a:cubicBezTo>
                  <a:cubicBezTo>
                    <a:pt x="179" y="545"/>
                    <a:pt x="179" y="545"/>
                    <a:pt x="179" y="545"/>
                  </a:cubicBezTo>
                  <a:cubicBezTo>
                    <a:pt x="179" y="545"/>
                    <a:pt x="179" y="545"/>
                    <a:pt x="179" y="545"/>
                  </a:cubicBezTo>
                  <a:cubicBezTo>
                    <a:pt x="180" y="545"/>
                    <a:pt x="180" y="545"/>
                    <a:pt x="180" y="545"/>
                  </a:cubicBezTo>
                  <a:cubicBezTo>
                    <a:pt x="181" y="546"/>
                    <a:pt x="181" y="546"/>
                    <a:pt x="181" y="546"/>
                  </a:cubicBezTo>
                  <a:cubicBezTo>
                    <a:pt x="182" y="546"/>
                    <a:pt x="182" y="546"/>
                    <a:pt x="182" y="546"/>
                  </a:cubicBezTo>
                  <a:cubicBezTo>
                    <a:pt x="182" y="546"/>
                    <a:pt x="182" y="547"/>
                    <a:pt x="182" y="547"/>
                  </a:cubicBezTo>
                  <a:cubicBezTo>
                    <a:pt x="183" y="547"/>
                    <a:pt x="183" y="547"/>
                    <a:pt x="184" y="548"/>
                  </a:cubicBezTo>
                  <a:cubicBezTo>
                    <a:pt x="186" y="546"/>
                    <a:pt x="186" y="546"/>
                    <a:pt x="186" y="546"/>
                  </a:cubicBezTo>
                  <a:cubicBezTo>
                    <a:pt x="184" y="549"/>
                    <a:pt x="184" y="549"/>
                    <a:pt x="184" y="549"/>
                  </a:cubicBezTo>
                  <a:cubicBezTo>
                    <a:pt x="184" y="549"/>
                    <a:pt x="184" y="549"/>
                    <a:pt x="184" y="549"/>
                  </a:cubicBezTo>
                  <a:cubicBezTo>
                    <a:pt x="185" y="550"/>
                    <a:pt x="186" y="551"/>
                    <a:pt x="187" y="552"/>
                  </a:cubicBezTo>
                  <a:cubicBezTo>
                    <a:pt x="187" y="552"/>
                    <a:pt x="188" y="553"/>
                    <a:pt x="188" y="553"/>
                  </a:cubicBezTo>
                  <a:cubicBezTo>
                    <a:pt x="188" y="553"/>
                    <a:pt x="188" y="553"/>
                    <a:pt x="188" y="553"/>
                  </a:cubicBezTo>
                  <a:cubicBezTo>
                    <a:pt x="189" y="554"/>
                    <a:pt x="189" y="554"/>
                    <a:pt x="189" y="554"/>
                  </a:cubicBezTo>
                  <a:cubicBezTo>
                    <a:pt x="190" y="554"/>
                    <a:pt x="190" y="554"/>
                    <a:pt x="190" y="554"/>
                  </a:cubicBezTo>
                  <a:cubicBezTo>
                    <a:pt x="190" y="554"/>
                    <a:pt x="190" y="554"/>
                    <a:pt x="190" y="554"/>
                  </a:cubicBezTo>
                  <a:cubicBezTo>
                    <a:pt x="192" y="554"/>
                    <a:pt x="194" y="553"/>
                    <a:pt x="196" y="553"/>
                  </a:cubicBezTo>
                  <a:cubicBezTo>
                    <a:pt x="196" y="553"/>
                    <a:pt x="196" y="553"/>
                    <a:pt x="197" y="553"/>
                  </a:cubicBezTo>
                  <a:cubicBezTo>
                    <a:pt x="198" y="553"/>
                    <a:pt x="199" y="553"/>
                    <a:pt x="199" y="554"/>
                  </a:cubicBezTo>
                  <a:cubicBezTo>
                    <a:pt x="201" y="555"/>
                    <a:pt x="201" y="556"/>
                    <a:pt x="201" y="557"/>
                  </a:cubicBezTo>
                  <a:cubicBezTo>
                    <a:pt x="201" y="557"/>
                    <a:pt x="201" y="557"/>
                    <a:pt x="201" y="557"/>
                  </a:cubicBezTo>
                  <a:cubicBezTo>
                    <a:pt x="201" y="558"/>
                    <a:pt x="201" y="558"/>
                    <a:pt x="201" y="558"/>
                  </a:cubicBezTo>
                  <a:cubicBezTo>
                    <a:pt x="202" y="558"/>
                    <a:pt x="202" y="560"/>
                    <a:pt x="202" y="561"/>
                  </a:cubicBezTo>
                  <a:cubicBezTo>
                    <a:pt x="202" y="561"/>
                    <a:pt x="203" y="562"/>
                    <a:pt x="203" y="562"/>
                  </a:cubicBezTo>
                  <a:cubicBezTo>
                    <a:pt x="204" y="563"/>
                    <a:pt x="204" y="563"/>
                    <a:pt x="204" y="563"/>
                  </a:cubicBezTo>
                  <a:cubicBezTo>
                    <a:pt x="204" y="563"/>
                    <a:pt x="205" y="563"/>
                    <a:pt x="205" y="563"/>
                  </a:cubicBezTo>
                  <a:cubicBezTo>
                    <a:pt x="206" y="564"/>
                    <a:pt x="206" y="564"/>
                    <a:pt x="206" y="564"/>
                  </a:cubicBezTo>
                  <a:cubicBezTo>
                    <a:pt x="207" y="565"/>
                    <a:pt x="207" y="565"/>
                    <a:pt x="207" y="565"/>
                  </a:cubicBezTo>
                  <a:cubicBezTo>
                    <a:pt x="208" y="565"/>
                    <a:pt x="208" y="565"/>
                    <a:pt x="208" y="565"/>
                  </a:cubicBezTo>
                  <a:cubicBezTo>
                    <a:pt x="209" y="566"/>
                    <a:pt x="209" y="566"/>
                    <a:pt x="210" y="566"/>
                  </a:cubicBezTo>
                  <a:cubicBezTo>
                    <a:pt x="211" y="567"/>
                    <a:pt x="211" y="567"/>
                    <a:pt x="212" y="567"/>
                  </a:cubicBezTo>
                  <a:cubicBezTo>
                    <a:pt x="212" y="567"/>
                    <a:pt x="212" y="567"/>
                    <a:pt x="213" y="567"/>
                  </a:cubicBezTo>
                  <a:cubicBezTo>
                    <a:pt x="213" y="567"/>
                    <a:pt x="214" y="567"/>
                    <a:pt x="214" y="567"/>
                  </a:cubicBezTo>
                  <a:cubicBezTo>
                    <a:pt x="215" y="567"/>
                    <a:pt x="215" y="567"/>
                    <a:pt x="215" y="567"/>
                  </a:cubicBezTo>
                  <a:cubicBezTo>
                    <a:pt x="216" y="567"/>
                    <a:pt x="216" y="567"/>
                    <a:pt x="217" y="567"/>
                  </a:cubicBezTo>
                  <a:cubicBezTo>
                    <a:pt x="217" y="567"/>
                    <a:pt x="218" y="567"/>
                    <a:pt x="218" y="567"/>
                  </a:cubicBezTo>
                  <a:cubicBezTo>
                    <a:pt x="221" y="567"/>
                    <a:pt x="221" y="567"/>
                    <a:pt x="221" y="567"/>
                  </a:cubicBezTo>
                  <a:cubicBezTo>
                    <a:pt x="219" y="571"/>
                    <a:pt x="219" y="571"/>
                    <a:pt x="219" y="571"/>
                  </a:cubicBezTo>
                  <a:cubicBezTo>
                    <a:pt x="219" y="571"/>
                    <a:pt x="219" y="572"/>
                    <a:pt x="219" y="572"/>
                  </a:cubicBezTo>
                  <a:cubicBezTo>
                    <a:pt x="219" y="572"/>
                    <a:pt x="219" y="572"/>
                    <a:pt x="219" y="572"/>
                  </a:cubicBezTo>
                  <a:cubicBezTo>
                    <a:pt x="220" y="572"/>
                    <a:pt x="220" y="572"/>
                    <a:pt x="220" y="572"/>
                  </a:cubicBezTo>
                  <a:cubicBezTo>
                    <a:pt x="220" y="572"/>
                    <a:pt x="220" y="572"/>
                    <a:pt x="220" y="572"/>
                  </a:cubicBezTo>
                  <a:cubicBezTo>
                    <a:pt x="221" y="572"/>
                    <a:pt x="221" y="572"/>
                    <a:pt x="222" y="572"/>
                  </a:cubicBezTo>
                  <a:cubicBezTo>
                    <a:pt x="223" y="572"/>
                    <a:pt x="224" y="572"/>
                    <a:pt x="225" y="572"/>
                  </a:cubicBezTo>
                  <a:cubicBezTo>
                    <a:pt x="225" y="572"/>
                    <a:pt x="225" y="572"/>
                    <a:pt x="225" y="572"/>
                  </a:cubicBezTo>
                  <a:cubicBezTo>
                    <a:pt x="227" y="572"/>
                    <a:pt x="229" y="573"/>
                    <a:pt x="230" y="573"/>
                  </a:cubicBezTo>
                  <a:cubicBezTo>
                    <a:pt x="230" y="574"/>
                    <a:pt x="231" y="574"/>
                    <a:pt x="231" y="575"/>
                  </a:cubicBezTo>
                  <a:cubicBezTo>
                    <a:pt x="232" y="576"/>
                    <a:pt x="232" y="576"/>
                    <a:pt x="232" y="576"/>
                  </a:cubicBezTo>
                  <a:cubicBezTo>
                    <a:pt x="232" y="577"/>
                    <a:pt x="233" y="578"/>
                    <a:pt x="234" y="579"/>
                  </a:cubicBezTo>
                  <a:cubicBezTo>
                    <a:pt x="234" y="578"/>
                    <a:pt x="235" y="577"/>
                    <a:pt x="235" y="576"/>
                  </a:cubicBezTo>
                  <a:cubicBezTo>
                    <a:pt x="240" y="571"/>
                    <a:pt x="240" y="571"/>
                    <a:pt x="240" y="571"/>
                  </a:cubicBezTo>
                  <a:cubicBezTo>
                    <a:pt x="239" y="578"/>
                    <a:pt x="239" y="578"/>
                    <a:pt x="239" y="578"/>
                  </a:cubicBezTo>
                  <a:cubicBezTo>
                    <a:pt x="239" y="578"/>
                    <a:pt x="239" y="578"/>
                    <a:pt x="239" y="579"/>
                  </a:cubicBezTo>
                  <a:cubicBezTo>
                    <a:pt x="239" y="579"/>
                    <a:pt x="240" y="579"/>
                    <a:pt x="241" y="579"/>
                  </a:cubicBezTo>
                  <a:cubicBezTo>
                    <a:pt x="242" y="579"/>
                    <a:pt x="242" y="579"/>
                    <a:pt x="242" y="579"/>
                  </a:cubicBezTo>
                  <a:cubicBezTo>
                    <a:pt x="242" y="579"/>
                    <a:pt x="242" y="579"/>
                    <a:pt x="242" y="579"/>
                  </a:cubicBezTo>
                  <a:cubicBezTo>
                    <a:pt x="243" y="579"/>
                    <a:pt x="244" y="578"/>
                    <a:pt x="245" y="577"/>
                  </a:cubicBezTo>
                  <a:cubicBezTo>
                    <a:pt x="246" y="577"/>
                    <a:pt x="246" y="577"/>
                    <a:pt x="247" y="577"/>
                  </a:cubicBezTo>
                  <a:cubicBezTo>
                    <a:pt x="247" y="577"/>
                    <a:pt x="247" y="577"/>
                    <a:pt x="247" y="577"/>
                  </a:cubicBezTo>
                  <a:cubicBezTo>
                    <a:pt x="248" y="577"/>
                    <a:pt x="248" y="577"/>
                    <a:pt x="248" y="577"/>
                  </a:cubicBezTo>
                  <a:cubicBezTo>
                    <a:pt x="248" y="577"/>
                    <a:pt x="248" y="577"/>
                    <a:pt x="248" y="577"/>
                  </a:cubicBezTo>
                  <a:cubicBezTo>
                    <a:pt x="249" y="578"/>
                    <a:pt x="249" y="578"/>
                    <a:pt x="250" y="578"/>
                  </a:cubicBezTo>
                  <a:cubicBezTo>
                    <a:pt x="251" y="579"/>
                    <a:pt x="253" y="580"/>
                    <a:pt x="255" y="580"/>
                  </a:cubicBezTo>
                  <a:cubicBezTo>
                    <a:pt x="257" y="581"/>
                    <a:pt x="258" y="581"/>
                    <a:pt x="261" y="581"/>
                  </a:cubicBezTo>
                  <a:cubicBezTo>
                    <a:pt x="263" y="582"/>
                    <a:pt x="265" y="582"/>
                    <a:pt x="267" y="582"/>
                  </a:cubicBezTo>
                  <a:cubicBezTo>
                    <a:pt x="269" y="582"/>
                    <a:pt x="271" y="582"/>
                    <a:pt x="273" y="582"/>
                  </a:cubicBezTo>
                  <a:cubicBezTo>
                    <a:pt x="273" y="582"/>
                    <a:pt x="273" y="582"/>
                    <a:pt x="273" y="582"/>
                  </a:cubicBezTo>
                  <a:cubicBezTo>
                    <a:pt x="275" y="580"/>
                    <a:pt x="275" y="580"/>
                    <a:pt x="275" y="580"/>
                  </a:cubicBezTo>
                  <a:cubicBezTo>
                    <a:pt x="277" y="579"/>
                    <a:pt x="279" y="578"/>
                    <a:pt x="281" y="577"/>
                  </a:cubicBezTo>
                  <a:cubicBezTo>
                    <a:pt x="281" y="577"/>
                    <a:pt x="281" y="577"/>
                    <a:pt x="281" y="577"/>
                  </a:cubicBezTo>
                  <a:cubicBezTo>
                    <a:pt x="282" y="577"/>
                    <a:pt x="282" y="577"/>
                    <a:pt x="282" y="577"/>
                  </a:cubicBezTo>
                  <a:cubicBezTo>
                    <a:pt x="282" y="577"/>
                    <a:pt x="283" y="577"/>
                    <a:pt x="283" y="577"/>
                  </a:cubicBezTo>
                  <a:cubicBezTo>
                    <a:pt x="284" y="577"/>
                    <a:pt x="285" y="577"/>
                    <a:pt x="285" y="577"/>
                  </a:cubicBezTo>
                  <a:cubicBezTo>
                    <a:pt x="287" y="577"/>
                    <a:pt x="288" y="578"/>
                    <a:pt x="289" y="580"/>
                  </a:cubicBezTo>
                  <a:cubicBezTo>
                    <a:pt x="289" y="580"/>
                    <a:pt x="289" y="580"/>
                    <a:pt x="289" y="580"/>
                  </a:cubicBezTo>
                  <a:cubicBezTo>
                    <a:pt x="290" y="580"/>
                    <a:pt x="290" y="580"/>
                    <a:pt x="290" y="580"/>
                  </a:cubicBezTo>
                  <a:cubicBezTo>
                    <a:pt x="290" y="581"/>
                    <a:pt x="290" y="581"/>
                    <a:pt x="290" y="581"/>
                  </a:cubicBezTo>
                  <a:cubicBezTo>
                    <a:pt x="290" y="581"/>
                    <a:pt x="290" y="581"/>
                    <a:pt x="290" y="582"/>
                  </a:cubicBezTo>
                  <a:cubicBezTo>
                    <a:pt x="290" y="583"/>
                    <a:pt x="290" y="583"/>
                    <a:pt x="290" y="583"/>
                  </a:cubicBezTo>
                  <a:cubicBezTo>
                    <a:pt x="290" y="583"/>
                    <a:pt x="290" y="583"/>
                    <a:pt x="290" y="584"/>
                  </a:cubicBezTo>
                  <a:cubicBezTo>
                    <a:pt x="290" y="585"/>
                    <a:pt x="290" y="585"/>
                    <a:pt x="290" y="585"/>
                  </a:cubicBezTo>
                  <a:cubicBezTo>
                    <a:pt x="290" y="585"/>
                    <a:pt x="290" y="585"/>
                    <a:pt x="290" y="586"/>
                  </a:cubicBezTo>
                  <a:cubicBezTo>
                    <a:pt x="290" y="587"/>
                    <a:pt x="290" y="587"/>
                    <a:pt x="290" y="588"/>
                  </a:cubicBezTo>
                  <a:cubicBezTo>
                    <a:pt x="289" y="588"/>
                    <a:pt x="289" y="588"/>
                    <a:pt x="289" y="588"/>
                  </a:cubicBezTo>
                  <a:cubicBezTo>
                    <a:pt x="289" y="590"/>
                    <a:pt x="289" y="590"/>
                    <a:pt x="289" y="590"/>
                  </a:cubicBezTo>
                  <a:cubicBezTo>
                    <a:pt x="289" y="590"/>
                    <a:pt x="289" y="590"/>
                    <a:pt x="289" y="590"/>
                  </a:cubicBezTo>
                  <a:cubicBezTo>
                    <a:pt x="289" y="590"/>
                    <a:pt x="289" y="589"/>
                    <a:pt x="290" y="589"/>
                  </a:cubicBezTo>
                  <a:cubicBezTo>
                    <a:pt x="290" y="588"/>
                    <a:pt x="291" y="587"/>
                    <a:pt x="292" y="586"/>
                  </a:cubicBezTo>
                  <a:cubicBezTo>
                    <a:pt x="293" y="584"/>
                    <a:pt x="295" y="582"/>
                    <a:pt x="297" y="580"/>
                  </a:cubicBezTo>
                  <a:cubicBezTo>
                    <a:pt x="297" y="579"/>
                    <a:pt x="298" y="579"/>
                    <a:pt x="298" y="578"/>
                  </a:cubicBezTo>
                  <a:cubicBezTo>
                    <a:pt x="301" y="576"/>
                    <a:pt x="304" y="574"/>
                    <a:pt x="309" y="573"/>
                  </a:cubicBezTo>
                  <a:cubicBezTo>
                    <a:pt x="311" y="572"/>
                    <a:pt x="311" y="572"/>
                    <a:pt x="311" y="572"/>
                  </a:cubicBezTo>
                  <a:cubicBezTo>
                    <a:pt x="312" y="572"/>
                    <a:pt x="312" y="572"/>
                    <a:pt x="312" y="572"/>
                  </a:cubicBezTo>
                  <a:cubicBezTo>
                    <a:pt x="313" y="573"/>
                    <a:pt x="313" y="573"/>
                    <a:pt x="313" y="573"/>
                  </a:cubicBezTo>
                  <a:cubicBezTo>
                    <a:pt x="313" y="573"/>
                    <a:pt x="313" y="573"/>
                    <a:pt x="313" y="573"/>
                  </a:cubicBezTo>
                  <a:cubicBezTo>
                    <a:pt x="315" y="573"/>
                    <a:pt x="317" y="573"/>
                    <a:pt x="318" y="574"/>
                  </a:cubicBezTo>
                  <a:cubicBezTo>
                    <a:pt x="319" y="575"/>
                    <a:pt x="319" y="575"/>
                    <a:pt x="319" y="575"/>
                  </a:cubicBezTo>
                  <a:cubicBezTo>
                    <a:pt x="319" y="575"/>
                    <a:pt x="319" y="575"/>
                    <a:pt x="319" y="575"/>
                  </a:cubicBezTo>
                  <a:cubicBezTo>
                    <a:pt x="319" y="576"/>
                    <a:pt x="319" y="577"/>
                    <a:pt x="319" y="577"/>
                  </a:cubicBezTo>
                  <a:cubicBezTo>
                    <a:pt x="319" y="577"/>
                    <a:pt x="319" y="577"/>
                    <a:pt x="319" y="577"/>
                  </a:cubicBezTo>
                  <a:cubicBezTo>
                    <a:pt x="320" y="577"/>
                    <a:pt x="320" y="577"/>
                    <a:pt x="321" y="577"/>
                  </a:cubicBezTo>
                  <a:cubicBezTo>
                    <a:pt x="323" y="577"/>
                    <a:pt x="324" y="578"/>
                    <a:pt x="325" y="578"/>
                  </a:cubicBezTo>
                  <a:cubicBezTo>
                    <a:pt x="326" y="578"/>
                    <a:pt x="326" y="578"/>
                    <a:pt x="326" y="578"/>
                  </a:cubicBezTo>
                  <a:cubicBezTo>
                    <a:pt x="327" y="578"/>
                    <a:pt x="327" y="578"/>
                    <a:pt x="327" y="578"/>
                  </a:cubicBezTo>
                  <a:cubicBezTo>
                    <a:pt x="327" y="578"/>
                    <a:pt x="327" y="578"/>
                    <a:pt x="327" y="578"/>
                  </a:cubicBezTo>
                  <a:cubicBezTo>
                    <a:pt x="327" y="579"/>
                    <a:pt x="328" y="579"/>
                    <a:pt x="328" y="579"/>
                  </a:cubicBezTo>
                  <a:cubicBezTo>
                    <a:pt x="328" y="579"/>
                    <a:pt x="328" y="579"/>
                    <a:pt x="328" y="579"/>
                  </a:cubicBezTo>
                  <a:cubicBezTo>
                    <a:pt x="328" y="579"/>
                    <a:pt x="329" y="579"/>
                    <a:pt x="329" y="579"/>
                  </a:cubicBezTo>
                  <a:cubicBezTo>
                    <a:pt x="329" y="579"/>
                    <a:pt x="329" y="579"/>
                    <a:pt x="329" y="579"/>
                  </a:cubicBezTo>
                  <a:cubicBezTo>
                    <a:pt x="330" y="578"/>
                    <a:pt x="332" y="577"/>
                    <a:pt x="333" y="577"/>
                  </a:cubicBezTo>
                  <a:cubicBezTo>
                    <a:pt x="335" y="577"/>
                    <a:pt x="337" y="578"/>
                    <a:pt x="338" y="578"/>
                  </a:cubicBezTo>
                  <a:cubicBezTo>
                    <a:pt x="340" y="579"/>
                    <a:pt x="341" y="579"/>
                    <a:pt x="342" y="580"/>
                  </a:cubicBezTo>
                  <a:cubicBezTo>
                    <a:pt x="342" y="581"/>
                    <a:pt x="343" y="581"/>
                    <a:pt x="343" y="582"/>
                  </a:cubicBezTo>
                  <a:cubicBezTo>
                    <a:pt x="343" y="582"/>
                    <a:pt x="343" y="582"/>
                    <a:pt x="343" y="582"/>
                  </a:cubicBezTo>
                  <a:cubicBezTo>
                    <a:pt x="343" y="582"/>
                    <a:pt x="344" y="583"/>
                    <a:pt x="344" y="583"/>
                  </a:cubicBezTo>
                  <a:cubicBezTo>
                    <a:pt x="344" y="583"/>
                    <a:pt x="344" y="583"/>
                    <a:pt x="344" y="583"/>
                  </a:cubicBezTo>
                  <a:cubicBezTo>
                    <a:pt x="345" y="583"/>
                    <a:pt x="345" y="583"/>
                    <a:pt x="345" y="583"/>
                  </a:cubicBezTo>
                  <a:cubicBezTo>
                    <a:pt x="345" y="583"/>
                    <a:pt x="345" y="583"/>
                    <a:pt x="346" y="583"/>
                  </a:cubicBezTo>
                  <a:cubicBezTo>
                    <a:pt x="356" y="582"/>
                    <a:pt x="356" y="582"/>
                    <a:pt x="356" y="582"/>
                  </a:cubicBezTo>
                  <a:cubicBezTo>
                    <a:pt x="356" y="582"/>
                    <a:pt x="356" y="582"/>
                    <a:pt x="356" y="582"/>
                  </a:cubicBezTo>
                  <a:cubicBezTo>
                    <a:pt x="357" y="582"/>
                    <a:pt x="358" y="581"/>
                    <a:pt x="359" y="580"/>
                  </a:cubicBezTo>
                  <a:cubicBezTo>
                    <a:pt x="359" y="580"/>
                    <a:pt x="358" y="580"/>
                    <a:pt x="358" y="579"/>
                  </a:cubicBezTo>
                  <a:cubicBezTo>
                    <a:pt x="358" y="578"/>
                    <a:pt x="359" y="578"/>
                    <a:pt x="359" y="577"/>
                  </a:cubicBezTo>
                  <a:cubicBezTo>
                    <a:pt x="359" y="576"/>
                    <a:pt x="360" y="576"/>
                    <a:pt x="361" y="575"/>
                  </a:cubicBezTo>
                  <a:cubicBezTo>
                    <a:pt x="362" y="574"/>
                    <a:pt x="363" y="574"/>
                    <a:pt x="363" y="573"/>
                  </a:cubicBezTo>
                  <a:cubicBezTo>
                    <a:pt x="364" y="573"/>
                    <a:pt x="364" y="573"/>
                    <a:pt x="364" y="573"/>
                  </a:cubicBezTo>
                  <a:cubicBezTo>
                    <a:pt x="365" y="573"/>
                    <a:pt x="365" y="573"/>
                    <a:pt x="365" y="573"/>
                  </a:cubicBezTo>
                  <a:cubicBezTo>
                    <a:pt x="364" y="570"/>
                    <a:pt x="364" y="570"/>
                    <a:pt x="364" y="570"/>
                  </a:cubicBezTo>
                  <a:cubicBezTo>
                    <a:pt x="366" y="572"/>
                    <a:pt x="366" y="572"/>
                    <a:pt x="366" y="572"/>
                  </a:cubicBezTo>
                  <a:cubicBezTo>
                    <a:pt x="367" y="572"/>
                    <a:pt x="367" y="572"/>
                    <a:pt x="367" y="572"/>
                  </a:cubicBezTo>
                  <a:cubicBezTo>
                    <a:pt x="367" y="571"/>
                    <a:pt x="367" y="571"/>
                    <a:pt x="367" y="571"/>
                  </a:cubicBezTo>
                  <a:cubicBezTo>
                    <a:pt x="368" y="570"/>
                    <a:pt x="368" y="570"/>
                    <a:pt x="368" y="570"/>
                  </a:cubicBezTo>
                  <a:cubicBezTo>
                    <a:pt x="368" y="568"/>
                    <a:pt x="369" y="567"/>
                    <a:pt x="370" y="566"/>
                  </a:cubicBezTo>
                  <a:cubicBezTo>
                    <a:pt x="371" y="565"/>
                    <a:pt x="372" y="565"/>
                    <a:pt x="373" y="565"/>
                  </a:cubicBezTo>
                  <a:cubicBezTo>
                    <a:pt x="374" y="565"/>
                    <a:pt x="374" y="565"/>
                    <a:pt x="374" y="565"/>
                  </a:cubicBezTo>
                  <a:cubicBezTo>
                    <a:pt x="376" y="565"/>
                    <a:pt x="378" y="564"/>
                    <a:pt x="379" y="564"/>
                  </a:cubicBezTo>
                  <a:cubicBezTo>
                    <a:pt x="383" y="563"/>
                    <a:pt x="383" y="563"/>
                    <a:pt x="383" y="563"/>
                  </a:cubicBezTo>
                  <a:cubicBezTo>
                    <a:pt x="384" y="562"/>
                    <a:pt x="385" y="561"/>
                    <a:pt x="386" y="560"/>
                  </a:cubicBezTo>
                  <a:cubicBezTo>
                    <a:pt x="386" y="559"/>
                    <a:pt x="386" y="559"/>
                    <a:pt x="386" y="559"/>
                  </a:cubicBezTo>
                  <a:cubicBezTo>
                    <a:pt x="387" y="559"/>
                    <a:pt x="387" y="559"/>
                    <a:pt x="387" y="559"/>
                  </a:cubicBezTo>
                  <a:cubicBezTo>
                    <a:pt x="388" y="558"/>
                    <a:pt x="388" y="558"/>
                    <a:pt x="388" y="558"/>
                  </a:cubicBezTo>
                  <a:cubicBezTo>
                    <a:pt x="389" y="557"/>
                    <a:pt x="391" y="556"/>
                    <a:pt x="392" y="555"/>
                  </a:cubicBezTo>
                  <a:cubicBezTo>
                    <a:pt x="393" y="554"/>
                    <a:pt x="394" y="554"/>
                    <a:pt x="394" y="553"/>
                  </a:cubicBezTo>
                  <a:cubicBezTo>
                    <a:pt x="395" y="553"/>
                    <a:pt x="395" y="552"/>
                    <a:pt x="396" y="552"/>
                  </a:cubicBezTo>
                  <a:cubicBezTo>
                    <a:pt x="397" y="552"/>
                    <a:pt x="397" y="552"/>
                    <a:pt x="398" y="552"/>
                  </a:cubicBezTo>
                  <a:cubicBezTo>
                    <a:pt x="399" y="552"/>
                    <a:pt x="399" y="552"/>
                    <a:pt x="400" y="552"/>
                  </a:cubicBezTo>
                  <a:cubicBezTo>
                    <a:pt x="400" y="552"/>
                    <a:pt x="400" y="552"/>
                    <a:pt x="400" y="552"/>
                  </a:cubicBezTo>
                  <a:cubicBezTo>
                    <a:pt x="401" y="552"/>
                    <a:pt x="401" y="553"/>
                    <a:pt x="401" y="553"/>
                  </a:cubicBezTo>
                  <a:cubicBezTo>
                    <a:pt x="401" y="553"/>
                    <a:pt x="401" y="553"/>
                    <a:pt x="401" y="553"/>
                  </a:cubicBezTo>
                  <a:cubicBezTo>
                    <a:pt x="402" y="554"/>
                    <a:pt x="402" y="554"/>
                    <a:pt x="402" y="554"/>
                  </a:cubicBezTo>
                  <a:cubicBezTo>
                    <a:pt x="402" y="554"/>
                    <a:pt x="403" y="554"/>
                    <a:pt x="403" y="554"/>
                  </a:cubicBezTo>
                  <a:cubicBezTo>
                    <a:pt x="404" y="555"/>
                    <a:pt x="404" y="555"/>
                    <a:pt x="404" y="555"/>
                  </a:cubicBezTo>
                  <a:cubicBezTo>
                    <a:pt x="404" y="555"/>
                    <a:pt x="404" y="555"/>
                    <a:pt x="404" y="555"/>
                  </a:cubicBezTo>
                  <a:cubicBezTo>
                    <a:pt x="405" y="555"/>
                    <a:pt x="405" y="555"/>
                    <a:pt x="406" y="555"/>
                  </a:cubicBezTo>
                  <a:cubicBezTo>
                    <a:pt x="406" y="555"/>
                    <a:pt x="406" y="555"/>
                    <a:pt x="407" y="555"/>
                  </a:cubicBezTo>
                  <a:cubicBezTo>
                    <a:pt x="407" y="555"/>
                    <a:pt x="408" y="556"/>
                    <a:pt x="409" y="556"/>
                  </a:cubicBezTo>
                  <a:cubicBezTo>
                    <a:pt x="410" y="556"/>
                    <a:pt x="410" y="557"/>
                    <a:pt x="411" y="557"/>
                  </a:cubicBezTo>
                  <a:cubicBezTo>
                    <a:pt x="411" y="557"/>
                    <a:pt x="412" y="557"/>
                    <a:pt x="412" y="557"/>
                  </a:cubicBezTo>
                  <a:cubicBezTo>
                    <a:pt x="412" y="557"/>
                    <a:pt x="413" y="556"/>
                    <a:pt x="414" y="555"/>
                  </a:cubicBezTo>
                  <a:cubicBezTo>
                    <a:pt x="419" y="551"/>
                    <a:pt x="423" y="549"/>
                    <a:pt x="425" y="549"/>
                  </a:cubicBezTo>
                  <a:cubicBezTo>
                    <a:pt x="426" y="549"/>
                    <a:pt x="426" y="549"/>
                    <a:pt x="426" y="549"/>
                  </a:cubicBezTo>
                  <a:cubicBezTo>
                    <a:pt x="427" y="549"/>
                    <a:pt x="428" y="550"/>
                    <a:pt x="428" y="551"/>
                  </a:cubicBezTo>
                  <a:cubicBezTo>
                    <a:pt x="429" y="551"/>
                    <a:pt x="429" y="551"/>
                    <a:pt x="429" y="551"/>
                  </a:cubicBezTo>
                  <a:cubicBezTo>
                    <a:pt x="429" y="551"/>
                    <a:pt x="429" y="551"/>
                    <a:pt x="429" y="551"/>
                  </a:cubicBezTo>
                  <a:cubicBezTo>
                    <a:pt x="430" y="552"/>
                    <a:pt x="430" y="552"/>
                    <a:pt x="430" y="552"/>
                  </a:cubicBezTo>
                  <a:cubicBezTo>
                    <a:pt x="431" y="552"/>
                    <a:pt x="433" y="553"/>
                    <a:pt x="433" y="555"/>
                  </a:cubicBezTo>
                  <a:cubicBezTo>
                    <a:pt x="433" y="555"/>
                    <a:pt x="433" y="555"/>
                    <a:pt x="433" y="555"/>
                  </a:cubicBezTo>
                  <a:cubicBezTo>
                    <a:pt x="433" y="555"/>
                    <a:pt x="433" y="555"/>
                    <a:pt x="433" y="555"/>
                  </a:cubicBezTo>
                  <a:cubicBezTo>
                    <a:pt x="433" y="556"/>
                    <a:pt x="433" y="556"/>
                    <a:pt x="433" y="557"/>
                  </a:cubicBezTo>
                  <a:cubicBezTo>
                    <a:pt x="433" y="557"/>
                    <a:pt x="433" y="557"/>
                    <a:pt x="433" y="557"/>
                  </a:cubicBezTo>
                  <a:cubicBezTo>
                    <a:pt x="440" y="554"/>
                    <a:pt x="440" y="554"/>
                    <a:pt x="440" y="554"/>
                  </a:cubicBezTo>
                  <a:cubicBezTo>
                    <a:pt x="435" y="560"/>
                    <a:pt x="435" y="560"/>
                    <a:pt x="435" y="560"/>
                  </a:cubicBezTo>
                  <a:cubicBezTo>
                    <a:pt x="435" y="560"/>
                    <a:pt x="435" y="560"/>
                    <a:pt x="435" y="560"/>
                  </a:cubicBezTo>
                  <a:cubicBezTo>
                    <a:pt x="436" y="561"/>
                    <a:pt x="436" y="561"/>
                    <a:pt x="436" y="561"/>
                  </a:cubicBezTo>
                  <a:cubicBezTo>
                    <a:pt x="436" y="561"/>
                    <a:pt x="436" y="561"/>
                    <a:pt x="436" y="561"/>
                  </a:cubicBezTo>
                  <a:cubicBezTo>
                    <a:pt x="437" y="562"/>
                    <a:pt x="438" y="563"/>
                    <a:pt x="438" y="565"/>
                  </a:cubicBezTo>
                  <a:cubicBezTo>
                    <a:pt x="438" y="566"/>
                    <a:pt x="437" y="568"/>
                    <a:pt x="435" y="568"/>
                  </a:cubicBezTo>
                  <a:cubicBezTo>
                    <a:pt x="435" y="568"/>
                    <a:pt x="435" y="568"/>
                    <a:pt x="435" y="568"/>
                  </a:cubicBezTo>
                  <a:cubicBezTo>
                    <a:pt x="434" y="569"/>
                    <a:pt x="434" y="569"/>
                    <a:pt x="434" y="569"/>
                  </a:cubicBezTo>
                  <a:cubicBezTo>
                    <a:pt x="434" y="570"/>
                    <a:pt x="434" y="570"/>
                    <a:pt x="434" y="570"/>
                  </a:cubicBezTo>
                  <a:cubicBezTo>
                    <a:pt x="434" y="570"/>
                    <a:pt x="434" y="570"/>
                    <a:pt x="434" y="570"/>
                  </a:cubicBezTo>
                  <a:cubicBezTo>
                    <a:pt x="435" y="570"/>
                    <a:pt x="436" y="570"/>
                    <a:pt x="437" y="570"/>
                  </a:cubicBezTo>
                  <a:cubicBezTo>
                    <a:pt x="438" y="570"/>
                    <a:pt x="438" y="570"/>
                    <a:pt x="438" y="570"/>
                  </a:cubicBezTo>
                  <a:cubicBezTo>
                    <a:pt x="439" y="570"/>
                    <a:pt x="440" y="571"/>
                    <a:pt x="441" y="571"/>
                  </a:cubicBezTo>
                  <a:cubicBezTo>
                    <a:pt x="442" y="571"/>
                    <a:pt x="442" y="571"/>
                    <a:pt x="442" y="571"/>
                  </a:cubicBezTo>
                  <a:cubicBezTo>
                    <a:pt x="443" y="571"/>
                    <a:pt x="444" y="571"/>
                    <a:pt x="445" y="571"/>
                  </a:cubicBezTo>
                  <a:cubicBezTo>
                    <a:pt x="445" y="571"/>
                    <a:pt x="445" y="571"/>
                    <a:pt x="445" y="571"/>
                  </a:cubicBezTo>
                  <a:cubicBezTo>
                    <a:pt x="446" y="572"/>
                    <a:pt x="447" y="572"/>
                    <a:pt x="448" y="573"/>
                  </a:cubicBezTo>
                  <a:cubicBezTo>
                    <a:pt x="448" y="573"/>
                    <a:pt x="448" y="573"/>
                    <a:pt x="448" y="573"/>
                  </a:cubicBezTo>
                  <a:cubicBezTo>
                    <a:pt x="449" y="572"/>
                    <a:pt x="450" y="570"/>
                    <a:pt x="451" y="569"/>
                  </a:cubicBezTo>
                  <a:cubicBezTo>
                    <a:pt x="452" y="568"/>
                    <a:pt x="453" y="568"/>
                    <a:pt x="454" y="568"/>
                  </a:cubicBezTo>
                  <a:cubicBezTo>
                    <a:pt x="454" y="568"/>
                    <a:pt x="455" y="568"/>
                    <a:pt x="455" y="568"/>
                  </a:cubicBezTo>
                  <a:cubicBezTo>
                    <a:pt x="456" y="568"/>
                    <a:pt x="457" y="568"/>
                    <a:pt x="458" y="569"/>
                  </a:cubicBezTo>
                  <a:cubicBezTo>
                    <a:pt x="458" y="569"/>
                    <a:pt x="458" y="569"/>
                    <a:pt x="458" y="569"/>
                  </a:cubicBezTo>
                  <a:cubicBezTo>
                    <a:pt x="459" y="569"/>
                    <a:pt x="459" y="570"/>
                    <a:pt x="459" y="570"/>
                  </a:cubicBezTo>
                  <a:cubicBezTo>
                    <a:pt x="459" y="571"/>
                    <a:pt x="459" y="571"/>
                    <a:pt x="459" y="571"/>
                  </a:cubicBezTo>
                  <a:cubicBezTo>
                    <a:pt x="460" y="571"/>
                    <a:pt x="460" y="571"/>
                    <a:pt x="461" y="571"/>
                  </a:cubicBezTo>
                  <a:cubicBezTo>
                    <a:pt x="462" y="572"/>
                    <a:pt x="463" y="572"/>
                    <a:pt x="463" y="573"/>
                  </a:cubicBezTo>
                  <a:cubicBezTo>
                    <a:pt x="463" y="573"/>
                    <a:pt x="464" y="574"/>
                    <a:pt x="464" y="574"/>
                  </a:cubicBezTo>
                  <a:cubicBezTo>
                    <a:pt x="465" y="575"/>
                    <a:pt x="465" y="575"/>
                    <a:pt x="465" y="575"/>
                  </a:cubicBezTo>
                  <a:cubicBezTo>
                    <a:pt x="467" y="577"/>
                    <a:pt x="467" y="580"/>
                    <a:pt x="468" y="582"/>
                  </a:cubicBezTo>
                  <a:cubicBezTo>
                    <a:pt x="468" y="583"/>
                    <a:pt x="468" y="584"/>
                    <a:pt x="469" y="585"/>
                  </a:cubicBezTo>
                  <a:cubicBezTo>
                    <a:pt x="469" y="586"/>
                    <a:pt x="469" y="586"/>
                    <a:pt x="469" y="586"/>
                  </a:cubicBezTo>
                  <a:cubicBezTo>
                    <a:pt x="469" y="585"/>
                    <a:pt x="470" y="585"/>
                    <a:pt x="470" y="585"/>
                  </a:cubicBezTo>
                  <a:cubicBezTo>
                    <a:pt x="470" y="585"/>
                    <a:pt x="471" y="585"/>
                    <a:pt x="471" y="585"/>
                  </a:cubicBezTo>
                  <a:cubicBezTo>
                    <a:pt x="472" y="586"/>
                    <a:pt x="472" y="586"/>
                    <a:pt x="473" y="586"/>
                  </a:cubicBezTo>
                  <a:cubicBezTo>
                    <a:pt x="473" y="586"/>
                    <a:pt x="473" y="586"/>
                    <a:pt x="473" y="586"/>
                  </a:cubicBezTo>
                  <a:cubicBezTo>
                    <a:pt x="474" y="585"/>
                    <a:pt x="474" y="585"/>
                    <a:pt x="474" y="585"/>
                  </a:cubicBezTo>
                  <a:cubicBezTo>
                    <a:pt x="477" y="588"/>
                    <a:pt x="477" y="588"/>
                    <a:pt x="477" y="588"/>
                  </a:cubicBezTo>
                  <a:cubicBezTo>
                    <a:pt x="477" y="588"/>
                    <a:pt x="477" y="589"/>
                    <a:pt x="478" y="590"/>
                  </a:cubicBezTo>
                  <a:cubicBezTo>
                    <a:pt x="478" y="590"/>
                    <a:pt x="478" y="590"/>
                    <a:pt x="478" y="591"/>
                  </a:cubicBezTo>
                  <a:cubicBezTo>
                    <a:pt x="479" y="593"/>
                    <a:pt x="479" y="597"/>
                    <a:pt x="479" y="600"/>
                  </a:cubicBezTo>
                  <a:cubicBezTo>
                    <a:pt x="479" y="602"/>
                    <a:pt x="479" y="602"/>
                    <a:pt x="479" y="602"/>
                  </a:cubicBezTo>
                  <a:cubicBezTo>
                    <a:pt x="479" y="602"/>
                    <a:pt x="479" y="603"/>
                    <a:pt x="479" y="603"/>
                  </a:cubicBezTo>
                  <a:cubicBezTo>
                    <a:pt x="479" y="604"/>
                    <a:pt x="479" y="604"/>
                    <a:pt x="479" y="604"/>
                  </a:cubicBezTo>
                  <a:cubicBezTo>
                    <a:pt x="479" y="607"/>
                    <a:pt x="479" y="610"/>
                    <a:pt x="479" y="612"/>
                  </a:cubicBezTo>
                  <a:cubicBezTo>
                    <a:pt x="478" y="613"/>
                    <a:pt x="478" y="614"/>
                    <a:pt x="478" y="614"/>
                  </a:cubicBezTo>
                  <a:cubicBezTo>
                    <a:pt x="478" y="615"/>
                    <a:pt x="477" y="616"/>
                    <a:pt x="477" y="617"/>
                  </a:cubicBezTo>
                  <a:cubicBezTo>
                    <a:pt x="477" y="617"/>
                    <a:pt x="476" y="618"/>
                    <a:pt x="476" y="619"/>
                  </a:cubicBezTo>
                  <a:cubicBezTo>
                    <a:pt x="476" y="620"/>
                    <a:pt x="476" y="620"/>
                    <a:pt x="476" y="620"/>
                  </a:cubicBezTo>
                  <a:cubicBezTo>
                    <a:pt x="476" y="621"/>
                    <a:pt x="476" y="621"/>
                    <a:pt x="476" y="621"/>
                  </a:cubicBezTo>
                  <a:cubicBezTo>
                    <a:pt x="476" y="622"/>
                    <a:pt x="476" y="622"/>
                    <a:pt x="477" y="623"/>
                  </a:cubicBezTo>
                  <a:cubicBezTo>
                    <a:pt x="477" y="623"/>
                    <a:pt x="478" y="625"/>
                    <a:pt x="477" y="627"/>
                  </a:cubicBezTo>
                  <a:cubicBezTo>
                    <a:pt x="476" y="627"/>
                    <a:pt x="476" y="627"/>
                    <a:pt x="476" y="627"/>
                  </a:cubicBezTo>
                  <a:cubicBezTo>
                    <a:pt x="476" y="628"/>
                    <a:pt x="475" y="628"/>
                    <a:pt x="475" y="629"/>
                  </a:cubicBezTo>
                  <a:cubicBezTo>
                    <a:pt x="474" y="630"/>
                    <a:pt x="474" y="630"/>
                    <a:pt x="474" y="630"/>
                  </a:cubicBezTo>
                  <a:cubicBezTo>
                    <a:pt x="472" y="631"/>
                    <a:pt x="471" y="633"/>
                    <a:pt x="469" y="633"/>
                  </a:cubicBezTo>
                  <a:cubicBezTo>
                    <a:pt x="469" y="633"/>
                    <a:pt x="468" y="633"/>
                    <a:pt x="468" y="633"/>
                  </a:cubicBezTo>
                  <a:cubicBezTo>
                    <a:pt x="467" y="633"/>
                    <a:pt x="467" y="633"/>
                    <a:pt x="467" y="633"/>
                  </a:cubicBezTo>
                  <a:cubicBezTo>
                    <a:pt x="466" y="634"/>
                    <a:pt x="466" y="634"/>
                    <a:pt x="466" y="634"/>
                  </a:cubicBezTo>
                  <a:cubicBezTo>
                    <a:pt x="466" y="635"/>
                    <a:pt x="466" y="635"/>
                    <a:pt x="466" y="635"/>
                  </a:cubicBezTo>
                  <a:cubicBezTo>
                    <a:pt x="466" y="637"/>
                    <a:pt x="463" y="638"/>
                    <a:pt x="462" y="638"/>
                  </a:cubicBezTo>
                  <a:cubicBezTo>
                    <a:pt x="461" y="638"/>
                    <a:pt x="461" y="638"/>
                    <a:pt x="461" y="638"/>
                  </a:cubicBezTo>
                  <a:cubicBezTo>
                    <a:pt x="461" y="639"/>
                    <a:pt x="461" y="639"/>
                    <a:pt x="460" y="640"/>
                  </a:cubicBezTo>
                  <a:cubicBezTo>
                    <a:pt x="460" y="642"/>
                    <a:pt x="460" y="642"/>
                    <a:pt x="460" y="643"/>
                  </a:cubicBezTo>
                  <a:cubicBezTo>
                    <a:pt x="460" y="643"/>
                    <a:pt x="460" y="643"/>
                    <a:pt x="460" y="643"/>
                  </a:cubicBezTo>
                  <a:cubicBezTo>
                    <a:pt x="461" y="643"/>
                    <a:pt x="461" y="643"/>
                    <a:pt x="461" y="643"/>
                  </a:cubicBezTo>
                  <a:cubicBezTo>
                    <a:pt x="460" y="646"/>
                    <a:pt x="460" y="646"/>
                    <a:pt x="460" y="646"/>
                  </a:cubicBezTo>
                  <a:cubicBezTo>
                    <a:pt x="459" y="647"/>
                    <a:pt x="458" y="648"/>
                    <a:pt x="457" y="648"/>
                  </a:cubicBezTo>
                  <a:cubicBezTo>
                    <a:pt x="457" y="649"/>
                    <a:pt x="457" y="649"/>
                    <a:pt x="457" y="649"/>
                  </a:cubicBezTo>
                  <a:cubicBezTo>
                    <a:pt x="457" y="649"/>
                    <a:pt x="457" y="649"/>
                    <a:pt x="456" y="649"/>
                  </a:cubicBezTo>
                  <a:cubicBezTo>
                    <a:pt x="455" y="649"/>
                    <a:pt x="455" y="650"/>
                    <a:pt x="455" y="651"/>
                  </a:cubicBezTo>
                  <a:cubicBezTo>
                    <a:pt x="455" y="652"/>
                    <a:pt x="455" y="652"/>
                    <a:pt x="455" y="652"/>
                  </a:cubicBezTo>
                  <a:cubicBezTo>
                    <a:pt x="457" y="652"/>
                    <a:pt x="457" y="653"/>
                    <a:pt x="458" y="655"/>
                  </a:cubicBezTo>
                  <a:cubicBezTo>
                    <a:pt x="459" y="656"/>
                    <a:pt x="459" y="659"/>
                    <a:pt x="458" y="661"/>
                  </a:cubicBezTo>
                  <a:cubicBezTo>
                    <a:pt x="458" y="661"/>
                    <a:pt x="458" y="661"/>
                    <a:pt x="458" y="661"/>
                  </a:cubicBezTo>
                  <a:cubicBezTo>
                    <a:pt x="458" y="661"/>
                    <a:pt x="458" y="661"/>
                    <a:pt x="457" y="662"/>
                  </a:cubicBezTo>
                  <a:cubicBezTo>
                    <a:pt x="457" y="662"/>
                    <a:pt x="457" y="662"/>
                    <a:pt x="457" y="662"/>
                  </a:cubicBezTo>
                  <a:cubicBezTo>
                    <a:pt x="458" y="662"/>
                    <a:pt x="459" y="661"/>
                    <a:pt x="460" y="660"/>
                  </a:cubicBezTo>
                  <a:cubicBezTo>
                    <a:pt x="461" y="660"/>
                    <a:pt x="461" y="660"/>
                    <a:pt x="461" y="660"/>
                  </a:cubicBezTo>
                  <a:cubicBezTo>
                    <a:pt x="461" y="659"/>
                    <a:pt x="462" y="659"/>
                    <a:pt x="463" y="659"/>
                  </a:cubicBezTo>
                  <a:cubicBezTo>
                    <a:pt x="464" y="658"/>
                    <a:pt x="464" y="658"/>
                    <a:pt x="464" y="658"/>
                  </a:cubicBezTo>
                  <a:cubicBezTo>
                    <a:pt x="465" y="658"/>
                    <a:pt x="465" y="658"/>
                    <a:pt x="465" y="658"/>
                  </a:cubicBezTo>
                  <a:cubicBezTo>
                    <a:pt x="465" y="658"/>
                    <a:pt x="466" y="658"/>
                    <a:pt x="466" y="658"/>
                  </a:cubicBezTo>
                  <a:cubicBezTo>
                    <a:pt x="468" y="658"/>
                    <a:pt x="469" y="658"/>
                    <a:pt x="470" y="658"/>
                  </a:cubicBezTo>
                  <a:cubicBezTo>
                    <a:pt x="471" y="658"/>
                    <a:pt x="471" y="658"/>
                    <a:pt x="471" y="658"/>
                  </a:cubicBezTo>
                  <a:cubicBezTo>
                    <a:pt x="471" y="658"/>
                    <a:pt x="471" y="658"/>
                    <a:pt x="472" y="658"/>
                  </a:cubicBezTo>
                  <a:cubicBezTo>
                    <a:pt x="474" y="658"/>
                    <a:pt x="476" y="658"/>
                    <a:pt x="478" y="657"/>
                  </a:cubicBezTo>
                  <a:cubicBezTo>
                    <a:pt x="484" y="655"/>
                    <a:pt x="484" y="655"/>
                    <a:pt x="484" y="655"/>
                  </a:cubicBezTo>
                  <a:cubicBezTo>
                    <a:pt x="478" y="666"/>
                    <a:pt x="478" y="666"/>
                    <a:pt x="478" y="666"/>
                  </a:cubicBezTo>
                  <a:cubicBezTo>
                    <a:pt x="478" y="666"/>
                    <a:pt x="478" y="666"/>
                    <a:pt x="478" y="666"/>
                  </a:cubicBezTo>
                  <a:cubicBezTo>
                    <a:pt x="478" y="667"/>
                    <a:pt x="478" y="667"/>
                    <a:pt x="478" y="667"/>
                  </a:cubicBezTo>
                  <a:cubicBezTo>
                    <a:pt x="478" y="668"/>
                    <a:pt x="478" y="668"/>
                    <a:pt x="478" y="668"/>
                  </a:cubicBezTo>
                  <a:cubicBezTo>
                    <a:pt x="478" y="668"/>
                    <a:pt x="478" y="669"/>
                    <a:pt x="479" y="670"/>
                  </a:cubicBezTo>
                  <a:cubicBezTo>
                    <a:pt x="479" y="670"/>
                    <a:pt x="479" y="671"/>
                    <a:pt x="479" y="671"/>
                  </a:cubicBezTo>
                  <a:cubicBezTo>
                    <a:pt x="480" y="672"/>
                    <a:pt x="480" y="673"/>
                    <a:pt x="480" y="674"/>
                  </a:cubicBezTo>
                  <a:cubicBezTo>
                    <a:pt x="481" y="676"/>
                    <a:pt x="481" y="676"/>
                    <a:pt x="481" y="676"/>
                  </a:cubicBezTo>
                  <a:cubicBezTo>
                    <a:pt x="481" y="677"/>
                    <a:pt x="482" y="678"/>
                    <a:pt x="483" y="678"/>
                  </a:cubicBezTo>
                  <a:cubicBezTo>
                    <a:pt x="484" y="678"/>
                    <a:pt x="484" y="678"/>
                    <a:pt x="485" y="678"/>
                  </a:cubicBezTo>
                  <a:cubicBezTo>
                    <a:pt x="485" y="678"/>
                    <a:pt x="485" y="678"/>
                    <a:pt x="485" y="678"/>
                  </a:cubicBezTo>
                  <a:cubicBezTo>
                    <a:pt x="487" y="674"/>
                    <a:pt x="487" y="674"/>
                    <a:pt x="487" y="674"/>
                  </a:cubicBezTo>
                  <a:cubicBezTo>
                    <a:pt x="486" y="678"/>
                    <a:pt x="486" y="678"/>
                    <a:pt x="486" y="678"/>
                  </a:cubicBezTo>
                  <a:cubicBezTo>
                    <a:pt x="487" y="679"/>
                    <a:pt x="487" y="679"/>
                    <a:pt x="487" y="679"/>
                  </a:cubicBezTo>
                  <a:cubicBezTo>
                    <a:pt x="487" y="679"/>
                    <a:pt x="488" y="679"/>
                    <a:pt x="488" y="679"/>
                  </a:cubicBezTo>
                  <a:cubicBezTo>
                    <a:pt x="490" y="679"/>
                    <a:pt x="492" y="679"/>
                    <a:pt x="493" y="681"/>
                  </a:cubicBezTo>
                  <a:cubicBezTo>
                    <a:pt x="493" y="682"/>
                    <a:pt x="493" y="682"/>
                    <a:pt x="493" y="682"/>
                  </a:cubicBezTo>
                  <a:cubicBezTo>
                    <a:pt x="494" y="682"/>
                    <a:pt x="494" y="682"/>
                    <a:pt x="494" y="682"/>
                  </a:cubicBezTo>
                  <a:cubicBezTo>
                    <a:pt x="494" y="684"/>
                    <a:pt x="494" y="686"/>
                    <a:pt x="491" y="687"/>
                  </a:cubicBezTo>
                  <a:cubicBezTo>
                    <a:pt x="491" y="687"/>
                    <a:pt x="491" y="688"/>
                    <a:pt x="490" y="688"/>
                  </a:cubicBezTo>
                  <a:cubicBezTo>
                    <a:pt x="490" y="688"/>
                    <a:pt x="490" y="688"/>
                    <a:pt x="490" y="688"/>
                  </a:cubicBezTo>
                  <a:cubicBezTo>
                    <a:pt x="490" y="689"/>
                    <a:pt x="490" y="689"/>
                    <a:pt x="490" y="689"/>
                  </a:cubicBezTo>
                  <a:cubicBezTo>
                    <a:pt x="490" y="689"/>
                    <a:pt x="490" y="689"/>
                    <a:pt x="490" y="689"/>
                  </a:cubicBezTo>
                  <a:cubicBezTo>
                    <a:pt x="490" y="690"/>
                    <a:pt x="490" y="690"/>
                    <a:pt x="490" y="690"/>
                  </a:cubicBezTo>
                  <a:cubicBezTo>
                    <a:pt x="489" y="691"/>
                    <a:pt x="489" y="692"/>
                    <a:pt x="489" y="692"/>
                  </a:cubicBezTo>
                  <a:cubicBezTo>
                    <a:pt x="489" y="693"/>
                    <a:pt x="489" y="694"/>
                    <a:pt x="489" y="695"/>
                  </a:cubicBezTo>
                  <a:cubicBezTo>
                    <a:pt x="488" y="695"/>
                    <a:pt x="488" y="695"/>
                    <a:pt x="488" y="695"/>
                  </a:cubicBezTo>
                  <a:cubicBezTo>
                    <a:pt x="488" y="696"/>
                    <a:pt x="488" y="697"/>
                    <a:pt x="487" y="698"/>
                  </a:cubicBezTo>
                  <a:cubicBezTo>
                    <a:pt x="498" y="699"/>
                    <a:pt x="498" y="699"/>
                    <a:pt x="498" y="699"/>
                  </a:cubicBezTo>
                  <a:cubicBezTo>
                    <a:pt x="499" y="699"/>
                    <a:pt x="499" y="699"/>
                    <a:pt x="499" y="699"/>
                  </a:cubicBezTo>
                  <a:cubicBezTo>
                    <a:pt x="500" y="700"/>
                    <a:pt x="500" y="700"/>
                    <a:pt x="501" y="700"/>
                  </a:cubicBezTo>
                  <a:cubicBezTo>
                    <a:pt x="501" y="701"/>
                    <a:pt x="501" y="701"/>
                    <a:pt x="501" y="701"/>
                  </a:cubicBezTo>
                  <a:cubicBezTo>
                    <a:pt x="501" y="701"/>
                    <a:pt x="501" y="702"/>
                    <a:pt x="502" y="702"/>
                  </a:cubicBezTo>
                  <a:cubicBezTo>
                    <a:pt x="502" y="703"/>
                    <a:pt x="502" y="704"/>
                    <a:pt x="502" y="704"/>
                  </a:cubicBezTo>
                  <a:cubicBezTo>
                    <a:pt x="502" y="705"/>
                    <a:pt x="502" y="705"/>
                    <a:pt x="502" y="705"/>
                  </a:cubicBezTo>
                  <a:cubicBezTo>
                    <a:pt x="502" y="706"/>
                    <a:pt x="502" y="706"/>
                    <a:pt x="502" y="706"/>
                  </a:cubicBezTo>
                  <a:cubicBezTo>
                    <a:pt x="502" y="706"/>
                    <a:pt x="502" y="706"/>
                    <a:pt x="502" y="706"/>
                  </a:cubicBezTo>
                  <a:cubicBezTo>
                    <a:pt x="502" y="707"/>
                    <a:pt x="502" y="707"/>
                    <a:pt x="503" y="708"/>
                  </a:cubicBezTo>
                  <a:cubicBezTo>
                    <a:pt x="503" y="709"/>
                    <a:pt x="503" y="709"/>
                    <a:pt x="503" y="709"/>
                  </a:cubicBezTo>
                  <a:cubicBezTo>
                    <a:pt x="503" y="709"/>
                    <a:pt x="504" y="709"/>
                    <a:pt x="504" y="710"/>
                  </a:cubicBezTo>
                  <a:cubicBezTo>
                    <a:pt x="504" y="710"/>
                    <a:pt x="504" y="710"/>
                    <a:pt x="504" y="710"/>
                  </a:cubicBezTo>
                  <a:cubicBezTo>
                    <a:pt x="505" y="711"/>
                    <a:pt x="505" y="711"/>
                    <a:pt x="505" y="711"/>
                  </a:cubicBezTo>
                  <a:cubicBezTo>
                    <a:pt x="510" y="709"/>
                    <a:pt x="510" y="709"/>
                    <a:pt x="510" y="709"/>
                  </a:cubicBezTo>
                  <a:cubicBezTo>
                    <a:pt x="512" y="709"/>
                    <a:pt x="513" y="708"/>
                    <a:pt x="515" y="708"/>
                  </a:cubicBezTo>
                  <a:cubicBezTo>
                    <a:pt x="515" y="707"/>
                    <a:pt x="516" y="707"/>
                    <a:pt x="517" y="707"/>
                  </a:cubicBezTo>
                  <a:cubicBezTo>
                    <a:pt x="518" y="707"/>
                    <a:pt x="518" y="707"/>
                    <a:pt x="518" y="707"/>
                  </a:cubicBezTo>
                  <a:cubicBezTo>
                    <a:pt x="518" y="706"/>
                    <a:pt x="519" y="706"/>
                    <a:pt x="519" y="706"/>
                  </a:cubicBezTo>
                  <a:cubicBezTo>
                    <a:pt x="522" y="703"/>
                    <a:pt x="522" y="703"/>
                    <a:pt x="522" y="703"/>
                  </a:cubicBezTo>
                  <a:cubicBezTo>
                    <a:pt x="523" y="707"/>
                    <a:pt x="523" y="707"/>
                    <a:pt x="523" y="707"/>
                  </a:cubicBezTo>
                  <a:cubicBezTo>
                    <a:pt x="524" y="708"/>
                    <a:pt x="524" y="709"/>
                    <a:pt x="524" y="710"/>
                  </a:cubicBezTo>
                  <a:cubicBezTo>
                    <a:pt x="524" y="710"/>
                    <a:pt x="524" y="710"/>
                    <a:pt x="524" y="710"/>
                  </a:cubicBezTo>
                  <a:cubicBezTo>
                    <a:pt x="524" y="711"/>
                    <a:pt x="524" y="711"/>
                    <a:pt x="524" y="711"/>
                  </a:cubicBezTo>
                  <a:cubicBezTo>
                    <a:pt x="524" y="711"/>
                    <a:pt x="524" y="712"/>
                    <a:pt x="524" y="712"/>
                  </a:cubicBezTo>
                  <a:cubicBezTo>
                    <a:pt x="525" y="713"/>
                    <a:pt x="525" y="715"/>
                    <a:pt x="526" y="716"/>
                  </a:cubicBezTo>
                  <a:cubicBezTo>
                    <a:pt x="527" y="716"/>
                    <a:pt x="527" y="716"/>
                    <a:pt x="527" y="716"/>
                  </a:cubicBezTo>
                  <a:cubicBezTo>
                    <a:pt x="527" y="716"/>
                    <a:pt x="527" y="716"/>
                    <a:pt x="527" y="716"/>
                  </a:cubicBezTo>
                  <a:cubicBezTo>
                    <a:pt x="528" y="716"/>
                    <a:pt x="528" y="716"/>
                    <a:pt x="528" y="716"/>
                  </a:cubicBezTo>
                  <a:cubicBezTo>
                    <a:pt x="529" y="716"/>
                    <a:pt x="530" y="716"/>
                    <a:pt x="530" y="717"/>
                  </a:cubicBezTo>
                  <a:cubicBezTo>
                    <a:pt x="531" y="717"/>
                    <a:pt x="531" y="717"/>
                    <a:pt x="531" y="717"/>
                  </a:cubicBezTo>
                  <a:cubicBezTo>
                    <a:pt x="531" y="717"/>
                    <a:pt x="531" y="717"/>
                    <a:pt x="531" y="717"/>
                  </a:cubicBezTo>
                  <a:cubicBezTo>
                    <a:pt x="530" y="715"/>
                    <a:pt x="531" y="713"/>
                    <a:pt x="531" y="710"/>
                  </a:cubicBezTo>
                  <a:cubicBezTo>
                    <a:pt x="531" y="709"/>
                    <a:pt x="531" y="709"/>
                    <a:pt x="531" y="709"/>
                  </a:cubicBezTo>
                  <a:cubicBezTo>
                    <a:pt x="531" y="707"/>
                    <a:pt x="531" y="707"/>
                    <a:pt x="530" y="705"/>
                  </a:cubicBezTo>
                  <a:cubicBezTo>
                    <a:pt x="530" y="704"/>
                    <a:pt x="530" y="704"/>
                    <a:pt x="529" y="703"/>
                  </a:cubicBezTo>
                  <a:cubicBezTo>
                    <a:pt x="529" y="703"/>
                    <a:pt x="529" y="703"/>
                    <a:pt x="529" y="703"/>
                  </a:cubicBezTo>
                  <a:cubicBezTo>
                    <a:pt x="528" y="701"/>
                    <a:pt x="527" y="700"/>
                    <a:pt x="527" y="698"/>
                  </a:cubicBezTo>
                  <a:cubicBezTo>
                    <a:pt x="527" y="697"/>
                    <a:pt x="527" y="697"/>
                    <a:pt x="528" y="696"/>
                  </a:cubicBezTo>
                  <a:cubicBezTo>
                    <a:pt x="528" y="696"/>
                    <a:pt x="528" y="696"/>
                    <a:pt x="528" y="696"/>
                  </a:cubicBezTo>
                  <a:cubicBezTo>
                    <a:pt x="528" y="696"/>
                    <a:pt x="528" y="696"/>
                    <a:pt x="528" y="696"/>
                  </a:cubicBezTo>
                  <a:cubicBezTo>
                    <a:pt x="528" y="695"/>
                    <a:pt x="529" y="694"/>
                    <a:pt x="530" y="693"/>
                  </a:cubicBezTo>
                  <a:cubicBezTo>
                    <a:pt x="530" y="693"/>
                    <a:pt x="530" y="693"/>
                    <a:pt x="530" y="693"/>
                  </a:cubicBezTo>
                  <a:cubicBezTo>
                    <a:pt x="530" y="692"/>
                    <a:pt x="530" y="692"/>
                    <a:pt x="530" y="692"/>
                  </a:cubicBezTo>
                  <a:cubicBezTo>
                    <a:pt x="531" y="691"/>
                    <a:pt x="532" y="691"/>
                    <a:pt x="532" y="691"/>
                  </a:cubicBezTo>
                  <a:cubicBezTo>
                    <a:pt x="532" y="691"/>
                    <a:pt x="533" y="690"/>
                    <a:pt x="534" y="690"/>
                  </a:cubicBezTo>
                  <a:cubicBezTo>
                    <a:pt x="535" y="690"/>
                    <a:pt x="537" y="691"/>
                    <a:pt x="538" y="692"/>
                  </a:cubicBezTo>
                  <a:cubicBezTo>
                    <a:pt x="539" y="692"/>
                    <a:pt x="539" y="692"/>
                    <a:pt x="539" y="692"/>
                  </a:cubicBezTo>
                  <a:cubicBezTo>
                    <a:pt x="540" y="692"/>
                    <a:pt x="540" y="692"/>
                    <a:pt x="540" y="692"/>
                  </a:cubicBezTo>
                  <a:cubicBezTo>
                    <a:pt x="540" y="692"/>
                    <a:pt x="540" y="692"/>
                    <a:pt x="540" y="692"/>
                  </a:cubicBezTo>
                  <a:cubicBezTo>
                    <a:pt x="542" y="691"/>
                    <a:pt x="543" y="690"/>
                    <a:pt x="544" y="688"/>
                  </a:cubicBezTo>
                  <a:cubicBezTo>
                    <a:pt x="544" y="688"/>
                    <a:pt x="544" y="688"/>
                    <a:pt x="544" y="688"/>
                  </a:cubicBezTo>
                  <a:cubicBezTo>
                    <a:pt x="545" y="687"/>
                    <a:pt x="546" y="685"/>
                    <a:pt x="548" y="685"/>
                  </a:cubicBezTo>
                  <a:cubicBezTo>
                    <a:pt x="548" y="685"/>
                    <a:pt x="548" y="685"/>
                    <a:pt x="548" y="685"/>
                  </a:cubicBezTo>
                  <a:cubicBezTo>
                    <a:pt x="549" y="685"/>
                    <a:pt x="549" y="685"/>
                    <a:pt x="550" y="686"/>
                  </a:cubicBezTo>
                  <a:cubicBezTo>
                    <a:pt x="550" y="686"/>
                    <a:pt x="551" y="686"/>
                    <a:pt x="552" y="687"/>
                  </a:cubicBezTo>
                  <a:cubicBezTo>
                    <a:pt x="553" y="687"/>
                    <a:pt x="553" y="687"/>
                    <a:pt x="553" y="687"/>
                  </a:cubicBezTo>
                  <a:cubicBezTo>
                    <a:pt x="554" y="688"/>
                    <a:pt x="555" y="688"/>
                    <a:pt x="556" y="689"/>
                  </a:cubicBezTo>
                  <a:cubicBezTo>
                    <a:pt x="556" y="689"/>
                    <a:pt x="557" y="690"/>
                    <a:pt x="557" y="691"/>
                  </a:cubicBezTo>
                  <a:cubicBezTo>
                    <a:pt x="558" y="691"/>
                    <a:pt x="558" y="691"/>
                    <a:pt x="558" y="691"/>
                  </a:cubicBezTo>
                  <a:cubicBezTo>
                    <a:pt x="558" y="690"/>
                    <a:pt x="558" y="690"/>
                    <a:pt x="558" y="689"/>
                  </a:cubicBezTo>
                  <a:cubicBezTo>
                    <a:pt x="559" y="689"/>
                    <a:pt x="559" y="689"/>
                    <a:pt x="559" y="689"/>
                  </a:cubicBezTo>
                  <a:cubicBezTo>
                    <a:pt x="559" y="689"/>
                    <a:pt x="559" y="689"/>
                    <a:pt x="559" y="689"/>
                  </a:cubicBezTo>
                  <a:cubicBezTo>
                    <a:pt x="560" y="688"/>
                    <a:pt x="560" y="688"/>
                    <a:pt x="560" y="688"/>
                  </a:cubicBezTo>
                  <a:cubicBezTo>
                    <a:pt x="561" y="687"/>
                    <a:pt x="561" y="687"/>
                    <a:pt x="561" y="687"/>
                  </a:cubicBezTo>
                  <a:cubicBezTo>
                    <a:pt x="561" y="686"/>
                    <a:pt x="562" y="685"/>
                    <a:pt x="563" y="685"/>
                  </a:cubicBezTo>
                  <a:cubicBezTo>
                    <a:pt x="563" y="685"/>
                    <a:pt x="563" y="685"/>
                    <a:pt x="563" y="685"/>
                  </a:cubicBezTo>
                  <a:cubicBezTo>
                    <a:pt x="565" y="685"/>
                    <a:pt x="565" y="685"/>
                    <a:pt x="565" y="685"/>
                  </a:cubicBezTo>
                  <a:cubicBezTo>
                    <a:pt x="566" y="685"/>
                    <a:pt x="566" y="685"/>
                    <a:pt x="566" y="685"/>
                  </a:cubicBezTo>
                  <a:cubicBezTo>
                    <a:pt x="566" y="685"/>
                    <a:pt x="566" y="686"/>
                    <a:pt x="567" y="686"/>
                  </a:cubicBezTo>
                  <a:cubicBezTo>
                    <a:pt x="567" y="687"/>
                    <a:pt x="567" y="687"/>
                    <a:pt x="567" y="687"/>
                  </a:cubicBezTo>
                  <a:cubicBezTo>
                    <a:pt x="568" y="686"/>
                    <a:pt x="568" y="686"/>
                    <a:pt x="568" y="686"/>
                  </a:cubicBezTo>
                  <a:cubicBezTo>
                    <a:pt x="569" y="683"/>
                    <a:pt x="569" y="683"/>
                    <a:pt x="569" y="683"/>
                  </a:cubicBezTo>
                  <a:cubicBezTo>
                    <a:pt x="571" y="686"/>
                    <a:pt x="571" y="686"/>
                    <a:pt x="571" y="686"/>
                  </a:cubicBezTo>
                  <a:cubicBezTo>
                    <a:pt x="572" y="686"/>
                    <a:pt x="572" y="687"/>
                    <a:pt x="572" y="687"/>
                  </a:cubicBezTo>
                  <a:cubicBezTo>
                    <a:pt x="573" y="687"/>
                    <a:pt x="573" y="688"/>
                    <a:pt x="574" y="688"/>
                  </a:cubicBezTo>
                  <a:cubicBezTo>
                    <a:pt x="574" y="689"/>
                    <a:pt x="575" y="689"/>
                    <a:pt x="575" y="690"/>
                  </a:cubicBezTo>
                  <a:cubicBezTo>
                    <a:pt x="575" y="690"/>
                    <a:pt x="575" y="690"/>
                    <a:pt x="575" y="690"/>
                  </a:cubicBezTo>
                  <a:cubicBezTo>
                    <a:pt x="581" y="682"/>
                    <a:pt x="581" y="682"/>
                    <a:pt x="581" y="682"/>
                  </a:cubicBezTo>
                  <a:cubicBezTo>
                    <a:pt x="583" y="685"/>
                    <a:pt x="583" y="685"/>
                    <a:pt x="583" y="685"/>
                  </a:cubicBezTo>
                  <a:cubicBezTo>
                    <a:pt x="584" y="686"/>
                    <a:pt x="584" y="686"/>
                    <a:pt x="584" y="686"/>
                  </a:cubicBezTo>
                  <a:cubicBezTo>
                    <a:pt x="587" y="685"/>
                    <a:pt x="587" y="685"/>
                    <a:pt x="587" y="685"/>
                  </a:cubicBezTo>
                  <a:cubicBezTo>
                    <a:pt x="588" y="685"/>
                    <a:pt x="588" y="684"/>
                    <a:pt x="589" y="684"/>
                  </a:cubicBezTo>
                  <a:cubicBezTo>
                    <a:pt x="589" y="684"/>
                    <a:pt x="589" y="684"/>
                    <a:pt x="589" y="684"/>
                  </a:cubicBezTo>
                  <a:cubicBezTo>
                    <a:pt x="590" y="683"/>
                    <a:pt x="590" y="683"/>
                    <a:pt x="590" y="683"/>
                  </a:cubicBezTo>
                  <a:cubicBezTo>
                    <a:pt x="591" y="682"/>
                    <a:pt x="592" y="681"/>
                    <a:pt x="592" y="680"/>
                  </a:cubicBezTo>
                  <a:cubicBezTo>
                    <a:pt x="593" y="677"/>
                    <a:pt x="593" y="677"/>
                    <a:pt x="593" y="677"/>
                  </a:cubicBezTo>
                  <a:cubicBezTo>
                    <a:pt x="594" y="677"/>
                    <a:pt x="594" y="677"/>
                    <a:pt x="594" y="677"/>
                  </a:cubicBezTo>
                  <a:cubicBezTo>
                    <a:pt x="595" y="676"/>
                    <a:pt x="595" y="676"/>
                    <a:pt x="595" y="676"/>
                  </a:cubicBezTo>
                  <a:cubicBezTo>
                    <a:pt x="595" y="676"/>
                    <a:pt x="595" y="676"/>
                    <a:pt x="595" y="676"/>
                  </a:cubicBezTo>
                  <a:cubicBezTo>
                    <a:pt x="598" y="674"/>
                    <a:pt x="599" y="673"/>
                    <a:pt x="601" y="673"/>
                  </a:cubicBezTo>
                  <a:cubicBezTo>
                    <a:pt x="602" y="673"/>
                    <a:pt x="602" y="673"/>
                    <a:pt x="602" y="673"/>
                  </a:cubicBezTo>
                  <a:cubicBezTo>
                    <a:pt x="602" y="673"/>
                    <a:pt x="603" y="673"/>
                    <a:pt x="604" y="675"/>
                  </a:cubicBezTo>
                  <a:cubicBezTo>
                    <a:pt x="604" y="675"/>
                    <a:pt x="605" y="675"/>
                    <a:pt x="605" y="675"/>
                  </a:cubicBezTo>
                  <a:cubicBezTo>
                    <a:pt x="606" y="676"/>
                    <a:pt x="606" y="676"/>
                    <a:pt x="607" y="677"/>
                  </a:cubicBezTo>
                  <a:cubicBezTo>
                    <a:pt x="607" y="678"/>
                    <a:pt x="607" y="678"/>
                    <a:pt x="607" y="678"/>
                  </a:cubicBezTo>
                  <a:cubicBezTo>
                    <a:pt x="608" y="679"/>
                    <a:pt x="609" y="680"/>
                    <a:pt x="610" y="680"/>
                  </a:cubicBezTo>
                  <a:cubicBezTo>
                    <a:pt x="611" y="681"/>
                    <a:pt x="611" y="681"/>
                    <a:pt x="611" y="681"/>
                  </a:cubicBezTo>
                  <a:cubicBezTo>
                    <a:pt x="613" y="682"/>
                    <a:pt x="615" y="682"/>
                    <a:pt x="618" y="683"/>
                  </a:cubicBezTo>
                  <a:cubicBezTo>
                    <a:pt x="619" y="683"/>
                    <a:pt x="619" y="683"/>
                    <a:pt x="619" y="683"/>
                  </a:cubicBezTo>
                  <a:cubicBezTo>
                    <a:pt x="620" y="683"/>
                    <a:pt x="620" y="683"/>
                    <a:pt x="620" y="683"/>
                  </a:cubicBezTo>
                  <a:cubicBezTo>
                    <a:pt x="621" y="683"/>
                    <a:pt x="621" y="683"/>
                    <a:pt x="621" y="683"/>
                  </a:cubicBezTo>
                  <a:cubicBezTo>
                    <a:pt x="622" y="683"/>
                    <a:pt x="622" y="683"/>
                    <a:pt x="623" y="683"/>
                  </a:cubicBezTo>
                  <a:cubicBezTo>
                    <a:pt x="624" y="683"/>
                    <a:pt x="626" y="683"/>
                    <a:pt x="627" y="683"/>
                  </a:cubicBezTo>
                  <a:cubicBezTo>
                    <a:pt x="629" y="679"/>
                    <a:pt x="629" y="679"/>
                    <a:pt x="629" y="679"/>
                  </a:cubicBezTo>
                  <a:cubicBezTo>
                    <a:pt x="628" y="683"/>
                    <a:pt x="628" y="683"/>
                    <a:pt x="628" y="683"/>
                  </a:cubicBezTo>
                  <a:cubicBezTo>
                    <a:pt x="628" y="684"/>
                    <a:pt x="628" y="684"/>
                    <a:pt x="628" y="684"/>
                  </a:cubicBezTo>
                  <a:cubicBezTo>
                    <a:pt x="629" y="684"/>
                    <a:pt x="629" y="684"/>
                    <a:pt x="630" y="684"/>
                  </a:cubicBezTo>
                  <a:cubicBezTo>
                    <a:pt x="630" y="684"/>
                    <a:pt x="631" y="685"/>
                    <a:pt x="632" y="685"/>
                  </a:cubicBezTo>
                  <a:cubicBezTo>
                    <a:pt x="633" y="687"/>
                    <a:pt x="633" y="687"/>
                    <a:pt x="633" y="687"/>
                  </a:cubicBezTo>
                  <a:cubicBezTo>
                    <a:pt x="632" y="688"/>
                    <a:pt x="632" y="688"/>
                    <a:pt x="632" y="688"/>
                  </a:cubicBezTo>
                  <a:cubicBezTo>
                    <a:pt x="631" y="689"/>
                    <a:pt x="630" y="691"/>
                    <a:pt x="629" y="692"/>
                  </a:cubicBezTo>
                  <a:cubicBezTo>
                    <a:pt x="629" y="693"/>
                    <a:pt x="629" y="693"/>
                    <a:pt x="629" y="693"/>
                  </a:cubicBezTo>
                  <a:cubicBezTo>
                    <a:pt x="628" y="694"/>
                    <a:pt x="628" y="694"/>
                    <a:pt x="627" y="695"/>
                  </a:cubicBezTo>
                  <a:cubicBezTo>
                    <a:pt x="628" y="695"/>
                    <a:pt x="628" y="695"/>
                    <a:pt x="628" y="695"/>
                  </a:cubicBezTo>
                  <a:cubicBezTo>
                    <a:pt x="628" y="695"/>
                    <a:pt x="628" y="695"/>
                    <a:pt x="628" y="695"/>
                  </a:cubicBezTo>
                  <a:cubicBezTo>
                    <a:pt x="628" y="696"/>
                    <a:pt x="629" y="697"/>
                    <a:pt x="629" y="698"/>
                  </a:cubicBezTo>
                  <a:cubicBezTo>
                    <a:pt x="630" y="699"/>
                    <a:pt x="630" y="700"/>
                    <a:pt x="630" y="701"/>
                  </a:cubicBezTo>
                  <a:cubicBezTo>
                    <a:pt x="630" y="701"/>
                    <a:pt x="630" y="701"/>
                    <a:pt x="630" y="701"/>
                  </a:cubicBezTo>
                  <a:cubicBezTo>
                    <a:pt x="631" y="701"/>
                    <a:pt x="631" y="701"/>
                    <a:pt x="631" y="701"/>
                  </a:cubicBezTo>
                  <a:cubicBezTo>
                    <a:pt x="631" y="701"/>
                    <a:pt x="631" y="701"/>
                    <a:pt x="631" y="701"/>
                  </a:cubicBezTo>
                  <a:cubicBezTo>
                    <a:pt x="632" y="701"/>
                    <a:pt x="634" y="701"/>
                    <a:pt x="635" y="702"/>
                  </a:cubicBezTo>
                  <a:cubicBezTo>
                    <a:pt x="636" y="702"/>
                    <a:pt x="637" y="703"/>
                    <a:pt x="638" y="705"/>
                  </a:cubicBezTo>
                  <a:cubicBezTo>
                    <a:pt x="639" y="706"/>
                    <a:pt x="639" y="706"/>
                    <a:pt x="639" y="706"/>
                  </a:cubicBezTo>
                  <a:cubicBezTo>
                    <a:pt x="639" y="706"/>
                    <a:pt x="639" y="706"/>
                    <a:pt x="639" y="706"/>
                  </a:cubicBezTo>
                  <a:cubicBezTo>
                    <a:pt x="640" y="707"/>
                    <a:pt x="640" y="707"/>
                    <a:pt x="640" y="707"/>
                  </a:cubicBezTo>
                  <a:cubicBezTo>
                    <a:pt x="641" y="708"/>
                    <a:pt x="641" y="708"/>
                    <a:pt x="641" y="708"/>
                  </a:cubicBezTo>
                  <a:cubicBezTo>
                    <a:pt x="641" y="708"/>
                    <a:pt x="642" y="708"/>
                    <a:pt x="643" y="708"/>
                  </a:cubicBezTo>
                  <a:cubicBezTo>
                    <a:pt x="643" y="708"/>
                    <a:pt x="644" y="708"/>
                    <a:pt x="644" y="708"/>
                  </a:cubicBezTo>
                  <a:cubicBezTo>
                    <a:pt x="646" y="708"/>
                    <a:pt x="648" y="708"/>
                    <a:pt x="650" y="709"/>
                  </a:cubicBezTo>
                  <a:cubicBezTo>
                    <a:pt x="651" y="709"/>
                    <a:pt x="651" y="709"/>
                    <a:pt x="652" y="710"/>
                  </a:cubicBezTo>
                  <a:cubicBezTo>
                    <a:pt x="653" y="710"/>
                    <a:pt x="653" y="710"/>
                    <a:pt x="653" y="710"/>
                  </a:cubicBezTo>
                  <a:cubicBezTo>
                    <a:pt x="655" y="711"/>
                    <a:pt x="655" y="711"/>
                    <a:pt x="655" y="711"/>
                  </a:cubicBezTo>
                  <a:cubicBezTo>
                    <a:pt x="655" y="711"/>
                    <a:pt x="655" y="711"/>
                    <a:pt x="655" y="711"/>
                  </a:cubicBezTo>
                  <a:cubicBezTo>
                    <a:pt x="655" y="711"/>
                    <a:pt x="656" y="710"/>
                    <a:pt x="657" y="710"/>
                  </a:cubicBezTo>
                  <a:cubicBezTo>
                    <a:pt x="657" y="711"/>
                    <a:pt x="657" y="712"/>
                    <a:pt x="656" y="713"/>
                  </a:cubicBezTo>
                  <a:cubicBezTo>
                    <a:pt x="657" y="712"/>
                    <a:pt x="658" y="712"/>
                    <a:pt x="658" y="711"/>
                  </a:cubicBezTo>
                  <a:cubicBezTo>
                    <a:pt x="658" y="711"/>
                    <a:pt x="658" y="709"/>
                    <a:pt x="659" y="708"/>
                  </a:cubicBezTo>
                  <a:cubicBezTo>
                    <a:pt x="659" y="709"/>
                    <a:pt x="661" y="710"/>
                    <a:pt x="662" y="711"/>
                  </a:cubicBezTo>
                  <a:cubicBezTo>
                    <a:pt x="663" y="710"/>
                    <a:pt x="663" y="710"/>
                    <a:pt x="663" y="709"/>
                  </a:cubicBezTo>
                  <a:cubicBezTo>
                    <a:pt x="663" y="709"/>
                    <a:pt x="662" y="709"/>
                    <a:pt x="662" y="709"/>
                  </a:cubicBezTo>
                  <a:cubicBezTo>
                    <a:pt x="662" y="709"/>
                    <a:pt x="662" y="709"/>
                    <a:pt x="662" y="708"/>
                  </a:cubicBezTo>
                  <a:cubicBezTo>
                    <a:pt x="661" y="707"/>
                    <a:pt x="661" y="704"/>
                    <a:pt x="663" y="704"/>
                  </a:cubicBezTo>
                  <a:cubicBezTo>
                    <a:pt x="663" y="704"/>
                    <a:pt x="663" y="704"/>
                    <a:pt x="663" y="704"/>
                  </a:cubicBezTo>
                  <a:cubicBezTo>
                    <a:pt x="663" y="705"/>
                    <a:pt x="663" y="705"/>
                    <a:pt x="663" y="705"/>
                  </a:cubicBezTo>
                  <a:cubicBezTo>
                    <a:pt x="663" y="705"/>
                    <a:pt x="663" y="705"/>
                    <a:pt x="663" y="705"/>
                  </a:cubicBezTo>
                  <a:cubicBezTo>
                    <a:pt x="664" y="705"/>
                    <a:pt x="664" y="705"/>
                    <a:pt x="664" y="705"/>
                  </a:cubicBezTo>
                  <a:cubicBezTo>
                    <a:pt x="664" y="706"/>
                    <a:pt x="664" y="706"/>
                    <a:pt x="663" y="707"/>
                  </a:cubicBezTo>
                  <a:cubicBezTo>
                    <a:pt x="664" y="706"/>
                    <a:pt x="664" y="706"/>
                    <a:pt x="664" y="706"/>
                  </a:cubicBezTo>
                  <a:cubicBezTo>
                    <a:pt x="665" y="706"/>
                    <a:pt x="665" y="707"/>
                    <a:pt x="664" y="708"/>
                  </a:cubicBezTo>
                  <a:cubicBezTo>
                    <a:pt x="665" y="708"/>
                    <a:pt x="665" y="708"/>
                    <a:pt x="665" y="708"/>
                  </a:cubicBezTo>
                  <a:cubicBezTo>
                    <a:pt x="665" y="708"/>
                    <a:pt x="665" y="708"/>
                    <a:pt x="665" y="708"/>
                  </a:cubicBezTo>
                  <a:cubicBezTo>
                    <a:pt x="666" y="708"/>
                    <a:pt x="666" y="708"/>
                    <a:pt x="666" y="708"/>
                  </a:cubicBezTo>
                  <a:cubicBezTo>
                    <a:pt x="666" y="708"/>
                    <a:pt x="666" y="708"/>
                    <a:pt x="666" y="708"/>
                  </a:cubicBezTo>
                  <a:cubicBezTo>
                    <a:pt x="666" y="709"/>
                    <a:pt x="667" y="710"/>
                    <a:pt x="668" y="710"/>
                  </a:cubicBezTo>
                  <a:cubicBezTo>
                    <a:pt x="668" y="710"/>
                    <a:pt x="668" y="710"/>
                    <a:pt x="668" y="710"/>
                  </a:cubicBezTo>
                  <a:cubicBezTo>
                    <a:pt x="669" y="710"/>
                    <a:pt x="669" y="708"/>
                    <a:pt x="670" y="708"/>
                  </a:cubicBezTo>
                  <a:cubicBezTo>
                    <a:pt x="670" y="709"/>
                    <a:pt x="669" y="710"/>
                    <a:pt x="670" y="711"/>
                  </a:cubicBezTo>
                  <a:cubicBezTo>
                    <a:pt x="671" y="711"/>
                    <a:pt x="673" y="711"/>
                    <a:pt x="673" y="712"/>
                  </a:cubicBezTo>
                  <a:cubicBezTo>
                    <a:pt x="674" y="712"/>
                    <a:pt x="674" y="714"/>
                    <a:pt x="674" y="715"/>
                  </a:cubicBezTo>
                  <a:cubicBezTo>
                    <a:pt x="676" y="714"/>
                    <a:pt x="679" y="714"/>
                    <a:pt x="681" y="713"/>
                  </a:cubicBezTo>
                  <a:cubicBezTo>
                    <a:pt x="683" y="712"/>
                    <a:pt x="682" y="710"/>
                    <a:pt x="680" y="710"/>
                  </a:cubicBezTo>
                  <a:cubicBezTo>
                    <a:pt x="681" y="709"/>
                    <a:pt x="682" y="709"/>
                    <a:pt x="682" y="708"/>
                  </a:cubicBezTo>
                  <a:cubicBezTo>
                    <a:pt x="683" y="708"/>
                    <a:pt x="683" y="708"/>
                    <a:pt x="683" y="708"/>
                  </a:cubicBezTo>
                  <a:cubicBezTo>
                    <a:pt x="682" y="708"/>
                    <a:pt x="682" y="709"/>
                    <a:pt x="682" y="709"/>
                  </a:cubicBezTo>
                  <a:cubicBezTo>
                    <a:pt x="683" y="710"/>
                    <a:pt x="684" y="710"/>
                    <a:pt x="684" y="711"/>
                  </a:cubicBezTo>
                  <a:cubicBezTo>
                    <a:pt x="685" y="711"/>
                    <a:pt x="685" y="713"/>
                    <a:pt x="685" y="713"/>
                  </a:cubicBezTo>
                  <a:cubicBezTo>
                    <a:pt x="685" y="713"/>
                    <a:pt x="686" y="712"/>
                    <a:pt x="686" y="711"/>
                  </a:cubicBezTo>
                  <a:cubicBezTo>
                    <a:pt x="687" y="712"/>
                    <a:pt x="687" y="713"/>
                    <a:pt x="689" y="713"/>
                  </a:cubicBezTo>
                  <a:cubicBezTo>
                    <a:pt x="689" y="713"/>
                    <a:pt x="689" y="713"/>
                    <a:pt x="689" y="713"/>
                  </a:cubicBezTo>
                  <a:cubicBezTo>
                    <a:pt x="689" y="714"/>
                    <a:pt x="688" y="716"/>
                    <a:pt x="687" y="716"/>
                  </a:cubicBezTo>
                  <a:cubicBezTo>
                    <a:pt x="686" y="716"/>
                    <a:pt x="686" y="716"/>
                    <a:pt x="686" y="716"/>
                  </a:cubicBezTo>
                  <a:cubicBezTo>
                    <a:pt x="686" y="717"/>
                    <a:pt x="686" y="718"/>
                    <a:pt x="685" y="720"/>
                  </a:cubicBezTo>
                  <a:cubicBezTo>
                    <a:pt x="685" y="719"/>
                    <a:pt x="685" y="719"/>
                    <a:pt x="685" y="719"/>
                  </a:cubicBezTo>
                  <a:cubicBezTo>
                    <a:pt x="684" y="719"/>
                    <a:pt x="684" y="722"/>
                    <a:pt x="684" y="723"/>
                  </a:cubicBezTo>
                  <a:cubicBezTo>
                    <a:pt x="684" y="726"/>
                    <a:pt x="685" y="727"/>
                    <a:pt x="687" y="731"/>
                  </a:cubicBezTo>
                  <a:cubicBezTo>
                    <a:pt x="688" y="733"/>
                    <a:pt x="688" y="737"/>
                    <a:pt x="689" y="738"/>
                  </a:cubicBezTo>
                  <a:cubicBezTo>
                    <a:pt x="690" y="738"/>
                    <a:pt x="691" y="738"/>
                    <a:pt x="691" y="738"/>
                  </a:cubicBezTo>
                  <a:cubicBezTo>
                    <a:pt x="694" y="738"/>
                    <a:pt x="697" y="737"/>
                    <a:pt x="698" y="736"/>
                  </a:cubicBezTo>
                  <a:cubicBezTo>
                    <a:pt x="701" y="734"/>
                    <a:pt x="700" y="732"/>
                    <a:pt x="698" y="731"/>
                  </a:cubicBezTo>
                  <a:cubicBezTo>
                    <a:pt x="697" y="730"/>
                    <a:pt x="697" y="730"/>
                    <a:pt x="697" y="729"/>
                  </a:cubicBezTo>
                  <a:cubicBezTo>
                    <a:pt x="696" y="730"/>
                    <a:pt x="696" y="730"/>
                    <a:pt x="696" y="730"/>
                  </a:cubicBezTo>
                  <a:cubicBezTo>
                    <a:pt x="696" y="729"/>
                    <a:pt x="696" y="728"/>
                    <a:pt x="696" y="727"/>
                  </a:cubicBezTo>
                  <a:cubicBezTo>
                    <a:pt x="697" y="728"/>
                    <a:pt x="697" y="728"/>
                    <a:pt x="698" y="728"/>
                  </a:cubicBezTo>
                  <a:cubicBezTo>
                    <a:pt x="698" y="726"/>
                    <a:pt x="697" y="726"/>
                    <a:pt x="696" y="726"/>
                  </a:cubicBezTo>
                  <a:cubicBezTo>
                    <a:pt x="696" y="726"/>
                    <a:pt x="696" y="726"/>
                    <a:pt x="695" y="726"/>
                  </a:cubicBezTo>
                  <a:cubicBezTo>
                    <a:pt x="695" y="726"/>
                    <a:pt x="695" y="726"/>
                    <a:pt x="695" y="726"/>
                  </a:cubicBezTo>
                  <a:cubicBezTo>
                    <a:pt x="694" y="726"/>
                    <a:pt x="694" y="726"/>
                    <a:pt x="693" y="724"/>
                  </a:cubicBezTo>
                  <a:cubicBezTo>
                    <a:pt x="693" y="721"/>
                    <a:pt x="697" y="720"/>
                    <a:pt x="698" y="717"/>
                  </a:cubicBezTo>
                  <a:cubicBezTo>
                    <a:pt x="698" y="717"/>
                    <a:pt x="697" y="716"/>
                    <a:pt x="697" y="714"/>
                  </a:cubicBezTo>
                  <a:cubicBezTo>
                    <a:pt x="698" y="715"/>
                    <a:pt x="698" y="717"/>
                    <a:pt x="700" y="717"/>
                  </a:cubicBezTo>
                  <a:cubicBezTo>
                    <a:pt x="699" y="717"/>
                    <a:pt x="699" y="717"/>
                    <a:pt x="698" y="717"/>
                  </a:cubicBezTo>
                  <a:cubicBezTo>
                    <a:pt x="698" y="718"/>
                    <a:pt x="698" y="718"/>
                    <a:pt x="698" y="719"/>
                  </a:cubicBezTo>
                  <a:cubicBezTo>
                    <a:pt x="703" y="717"/>
                    <a:pt x="707" y="715"/>
                    <a:pt x="711" y="713"/>
                  </a:cubicBezTo>
                  <a:cubicBezTo>
                    <a:pt x="716" y="712"/>
                    <a:pt x="720" y="712"/>
                    <a:pt x="724" y="710"/>
                  </a:cubicBezTo>
                  <a:cubicBezTo>
                    <a:pt x="724" y="709"/>
                    <a:pt x="724" y="708"/>
                    <a:pt x="722" y="707"/>
                  </a:cubicBezTo>
                  <a:cubicBezTo>
                    <a:pt x="724" y="708"/>
                    <a:pt x="725" y="709"/>
                    <a:pt x="726" y="709"/>
                  </a:cubicBezTo>
                  <a:cubicBezTo>
                    <a:pt x="727" y="709"/>
                    <a:pt x="727" y="708"/>
                    <a:pt x="728" y="707"/>
                  </a:cubicBezTo>
                  <a:cubicBezTo>
                    <a:pt x="727" y="707"/>
                    <a:pt x="726" y="706"/>
                    <a:pt x="727" y="704"/>
                  </a:cubicBezTo>
                  <a:cubicBezTo>
                    <a:pt x="727" y="705"/>
                    <a:pt x="728" y="705"/>
                    <a:pt x="728" y="705"/>
                  </a:cubicBezTo>
                  <a:cubicBezTo>
                    <a:pt x="729" y="705"/>
                    <a:pt x="729" y="705"/>
                    <a:pt x="729" y="705"/>
                  </a:cubicBezTo>
                  <a:cubicBezTo>
                    <a:pt x="729" y="706"/>
                    <a:pt x="729" y="706"/>
                    <a:pt x="729" y="706"/>
                  </a:cubicBezTo>
                  <a:cubicBezTo>
                    <a:pt x="729" y="706"/>
                    <a:pt x="729" y="706"/>
                    <a:pt x="729" y="706"/>
                  </a:cubicBezTo>
                  <a:cubicBezTo>
                    <a:pt x="729" y="706"/>
                    <a:pt x="730" y="706"/>
                    <a:pt x="730" y="706"/>
                  </a:cubicBezTo>
                  <a:cubicBezTo>
                    <a:pt x="731" y="706"/>
                    <a:pt x="731" y="706"/>
                    <a:pt x="731" y="706"/>
                  </a:cubicBezTo>
                  <a:cubicBezTo>
                    <a:pt x="732" y="706"/>
                    <a:pt x="732" y="706"/>
                    <a:pt x="732" y="706"/>
                  </a:cubicBezTo>
                  <a:cubicBezTo>
                    <a:pt x="733" y="706"/>
                    <a:pt x="734" y="708"/>
                    <a:pt x="734" y="709"/>
                  </a:cubicBezTo>
                  <a:cubicBezTo>
                    <a:pt x="735" y="707"/>
                    <a:pt x="735" y="704"/>
                    <a:pt x="736" y="702"/>
                  </a:cubicBezTo>
                  <a:cubicBezTo>
                    <a:pt x="735" y="703"/>
                    <a:pt x="736" y="704"/>
                    <a:pt x="737" y="704"/>
                  </a:cubicBezTo>
                  <a:cubicBezTo>
                    <a:pt x="737" y="704"/>
                    <a:pt x="737" y="704"/>
                    <a:pt x="738" y="704"/>
                  </a:cubicBezTo>
                  <a:cubicBezTo>
                    <a:pt x="736" y="705"/>
                    <a:pt x="736" y="705"/>
                    <a:pt x="736" y="705"/>
                  </a:cubicBezTo>
                  <a:cubicBezTo>
                    <a:pt x="737" y="705"/>
                    <a:pt x="737" y="705"/>
                    <a:pt x="737" y="705"/>
                  </a:cubicBezTo>
                  <a:cubicBezTo>
                    <a:pt x="738" y="705"/>
                    <a:pt x="740" y="705"/>
                    <a:pt x="741" y="705"/>
                  </a:cubicBezTo>
                  <a:cubicBezTo>
                    <a:pt x="742" y="704"/>
                    <a:pt x="743" y="704"/>
                    <a:pt x="744" y="704"/>
                  </a:cubicBezTo>
                  <a:cubicBezTo>
                    <a:pt x="744" y="704"/>
                    <a:pt x="745" y="704"/>
                    <a:pt x="745" y="704"/>
                  </a:cubicBezTo>
                  <a:cubicBezTo>
                    <a:pt x="746" y="704"/>
                    <a:pt x="746" y="705"/>
                    <a:pt x="747" y="705"/>
                  </a:cubicBezTo>
                  <a:cubicBezTo>
                    <a:pt x="747" y="705"/>
                    <a:pt x="747" y="705"/>
                    <a:pt x="748" y="704"/>
                  </a:cubicBezTo>
                  <a:cubicBezTo>
                    <a:pt x="747" y="703"/>
                    <a:pt x="747" y="703"/>
                    <a:pt x="747" y="703"/>
                  </a:cubicBezTo>
                  <a:cubicBezTo>
                    <a:pt x="748" y="702"/>
                    <a:pt x="748" y="702"/>
                    <a:pt x="748" y="701"/>
                  </a:cubicBezTo>
                  <a:cubicBezTo>
                    <a:pt x="749" y="700"/>
                    <a:pt x="749" y="700"/>
                    <a:pt x="749" y="700"/>
                  </a:cubicBezTo>
                  <a:cubicBezTo>
                    <a:pt x="749" y="699"/>
                    <a:pt x="749" y="699"/>
                    <a:pt x="750" y="699"/>
                  </a:cubicBezTo>
                  <a:cubicBezTo>
                    <a:pt x="750" y="700"/>
                    <a:pt x="751" y="701"/>
                    <a:pt x="751" y="701"/>
                  </a:cubicBezTo>
                  <a:cubicBezTo>
                    <a:pt x="752" y="701"/>
                    <a:pt x="752" y="701"/>
                    <a:pt x="752" y="701"/>
                  </a:cubicBezTo>
                  <a:cubicBezTo>
                    <a:pt x="753" y="701"/>
                    <a:pt x="753" y="701"/>
                    <a:pt x="753" y="701"/>
                  </a:cubicBezTo>
                  <a:cubicBezTo>
                    <a:pt x="754" y="699"/>
                    <a:pt x="755" y="700"/>
                    <a:pt x="754" y="698"/>
                  </a:cubicBezTo>
                  <a:cubicBezTo>
                    <a:pt x="753" y="697"/>
                    <a:pt x="753" y="697"/>
                    <a:pt x="753" y="697"/>
                  </a:cubicBezTo>
                  <a:cubicBezTo>
                    <a:pt x="756" y="698"/>
                    <a:pt x="756" y="698"/>
                    <a:pt x="756" y="698"/>
                  </a:cubicBezTo>
                  <a:cubicBezTo>
                    <a:pt x="757" y="698"/>
                    <a:pt x="757" y="698"/>
                    <a:pt x="757" y="698"/>
                  </a:cubicBezTo>
                  <a:cubicBezTo>
                    <a:pt x="757" y="698"/>
                    <a:pt x="757" y="699"/>
                    <a:pt x="757" y="699"/>
                  </a:cubicBezTo>
                  <a:cubicBezTo>
                    <a:pt x="758" y="699"/>
                    <a:pt x="758" y="697"/>
                    <a:pt x="758" y="697"/>
                  </a:cubicBezTo>
                  <a:cubicBezTo>
                    <a:pt x="757" y="692"/>
                    <a:pt x="757" y="688"/>
                    <a:pt x="753" y="685"/>
                  </a:cubicBezTo>
                  <a:cubicBezTo>
                    <a:pt x="751" y="685"/>
                    <a:pt x="751" y="685"/>
                    <a:pt x="751" y="685"/>
                  </a:cubicBezTo>
                  <a:cubicBezTo>
                    <a:pt x="753" y="685"/>
                    <a:pt x="754" y="684"/>
                    <a:pt x="755" y="682"/>
                  </a:cubicBezTo>
                  <a:cubicBezTo>
                    <a:pt x="755" y="682"/>
                    <a:pt x="757" y="681"/>
                    <a:pt x="758" y="681"/>
                  </a:cubicBezTo>
                  <a:cubicBezTo>
                    <a:pt x="758" y="681"/>
                    <a:pt x="758" y="681"/>
                    <a:pt x="758" y="681"/>
                  </a:cubicBezTo>
                  <a:cubicBezTo>
                    <a:pt x="760" y="680"/>
                    <a:pt x="761" y="681"/>
                    <a:pt x="763" y="680"/>
                  </a:cubicBezTo>
                  <a:cubicBezTo>
                    <a:pt x="761" y="681"/>
                    <a:pt x="758" y="681"/>
                    <a:pt x="758" y="683"/>
                  </a:cubicBezTo>
                  <a:cubicBezTo>
                    <a:pt x="758" y="683"/>
                    <a:pt x="758" y="683"/>
                    <a:pt x="758" y="683"/>
                  </a:cubicBezTo>
                  <a:cubicBezTo>
                    <a:pt x="758" y="683"/>
                    <a:pt x="759" y="683"/>
                    <a:pt x="759" y="683"/>
                  </a:cubicBezTo>
                  <a:cubicBezTo>
                    <a:pt x="759" y="683"/>
                    <a:pt x="759" y="683"/>
                    <a:pt x="759" y="684"/>
                  </a:cubicBezTo>
                  <a:cubicBezTo>
                    <a:pt x="759" y="683"/>
                    <a:pt x="759" y="683"/>
                    <a:pt x="759" y="683"/>
                  </a:cubicBezTo>
                  <a:cubicBezTo>
                    <a:pt x="759" y="683"/>
                    <a:pt x="759" y="684"/>
                    <a:pt x="759" y="684"/>
                  </a:cubicBezTo>
                  <a:cubicBezTo>
                    <a:pt x="759" y="684"/>
                    <a:pt x="759" y="683"/>
                    <a:pt x="759" y="683"/>
                  </a:cubicBezTo>
                  <a:cubicBezTo>
                    <a:pt x="759" y="684"/>
                    <a:pt x="759" y="684"/>
                    <a:pt x="759" y="685"/>
                  </a:cubicBezTo>
                  <a:cubicBezTo>
                    <a:pt x="759" y="685"/>
                    <a:pt x="759" y="685"/>
                    <a:pt x="759" y="685"/>
                  </a:cubicBezTo>
                  <a:cubicBezTo>
                    <a:pt x="759" y="686"/>
                    <a:pt x="759" y="686"/>
                    <a:pt x="759" y="686"/>
                  </a:cubicBezTo>
                  <a:cubicBezTo>
                    <a:pt x="759" y="685"/>
                    <a:pt x="759" y="685"/>
                    <a:pt x="759" y="685"/>
                  </a:cubicBezTo>
                  <a:cubicBezTo>
                    <a:pt x="760" y="686"/>
                    <a:pt x="760" y="686"/>
                    <a:pt x="760" y="687"/>
                  </a:cubicBezTo>
                  <a:cubicBezTo>
                    <a:pt x="760" y="688"/>
                    <a:pt x="760" y="688"/>
                    <a:pt x="761" y="688"/>
                  </a:cubicBezTo>
                  <a:cubicBezTo>
                    <a:pt x="761" y="688"/>
                    <a:pt x="761" y="688"/>
                    <a:pt x="761" y="688"/>
                  </a:cubicBezTo>
                  <a:cubicBezTo>
                    <a:pt x="761" y="688"/>
                    <a:pt x="761" y="688"/>
                    <a:pt x="761" y="688"/>
                  </a:cubicBezTo>
                  <a:cubicBezTo>
                    <a:pt x="762" y="688"/>
                    <a:pt x="762" y="688"/>
                    <a:pt x="762" y="688"/>
                  </a:cubicBezTo>
                  <a:cubicBezTo>
                    <a:pt x="763" y="689"/>
                    <a:pt x="763" y="690"/>
                    <a:pt x="763" y="691"/>
                  </a:cubicBezTo>
                  <a:cubicBezTo>
                    <a:pt x="764" y="693"/>
                    <a:pt x="764" y="693"/>
                    <a:pt x="765" y="693"/>
                  </a:cubicBezTo>
                  <a:cubicBezTo>
                    <a:pt x="765" y="693"/>
                    <a:pt x="766" y="693"/>
                    <a:pt x="767" y="693"/>
                  </a:cubicBezTo>
                  <a:cubicBezTo>
                    <a:pt x="768" y="692"/>
                    <a:pt x="769" y="691"/>
                    <a:pt x="771" y="691"/>
                  </a:cubicBezTo>
                  <a:cubicBezTo>
                    <a:pt x="772" y="691"/>
                    <a:pt x="772" y="691"/>
                    <a:pt x="772" y="691"/>
                  </a:cubicBezTo>
                  <a:cubicBezTo>
                    <a:pt x="772" y="691"/>
                    <a:pt x="773" y="691"/>
                    <a:pt x="773" y="691"/>
                  </a:cubicBezTo>
                  <a:cubicBezTo>
                    <a:pt x="774" y="691"/>
                    <a:pt x="775" y="692"/>
                    <a:pt x="776" y="693"/>
                  </a:cubicBezTo>
                  <a:cubicBezTo>
                    <a:pt x="776" y="694"/>
                    <a:pt x="776" y="694"/>
                    <a:pt x="776" y="694"/>
                  </a:cubicBezTo>
                  <a:cubicBezTo>
                    <a:pt x="777" y="694"/>
                    <a:pt x="778" y="693"/>
                    <a:pt x="778" y="692"/>
                  </a:cubicBezTo>
                  <a:cubicBezTo>
                    <a:pt x="778" y="692"/>
                    <a:pt x="777" y="690"/>
                    <a:pt x="776" y="690"/>
                  </a:cubicBezTo>
                  <a:cubicBezTo>
                    <a:pt x="777" y="689"/>
                    <a:pt x="780" y="687"/>
                    <a:pt x="781" y="687"/>
                  </a:cubicBezTo>
                  <a:cubicBezTo>
                    <a:pt x="782" y="687"/>
                    <a:pt x="782" y="687"/>
                    <a:pt x="782" y="687"/>
                  </a:cubicBezTo>
                  <a:cubicBezTo>
                    <a:pt x="782" y="688"/>
                    <a:pt x="780" y="688"/>
                    <a:pt x="780" y="689"/>
                  </a:cubicBezTo>
                  <a:cubicBezTo>
                    <a:pt x="780" y="689"/>
                    <a:pt x="783" y="691"/>
                    <a:pt x="783" y="692"/>
                  </a:cubicBezTo>
                  <a:cubicBezTo>
                    <a:pt x="783" y="692"/>
                    <a:pt x="783" y="692"/>
                    <a:pt x="784" y="692"/>
                  </a:cubicBezTo>
                  <a:cubicBezTo>
                    <a:pt x="784" y="692"/>
                    <a:pt x="784" y="691"/>
                    <a:pt x="784" y="691"/>
                  </a:cubicBezTo>
                  <a:cubicBezTo>
                    <a:pt x="785" y="691"/>
                    <a:pt x="786" y="689"/>
                    <a:pt x="787" y="688"/>
                  </a:cubicBezTo>
                  <a:cubicBezTo>
                    <a:pt x="788" y="687"/>
                    <a:pt x="790" y="686"/>
                    <a:pt x="792" y="685"/>
                  </a:cubicBezTo>
                  <a:cubicBezTo>
                    <a:pt x="792" y="686"/>
                    <a:pt x="791" y="686"/>
                    <a:pt x="790" y="687"/>
                  </a:cubicBezTo>
                  <a:cubicBezTo>
                    <a:pt x="793" y="687"/>
                    <a:pt x="794" y="688"/>
                    <a:pt x="796" y="690"/>
                  </a:cubicBezTo>
                  <a:cubicBezTo>
                    <a:pt x="797" y="689"/>
                    <a:pt x="797" y="689"/>
                    <a:pt x="797" y="688"/>
                  </a:cubicBezTo>
                  <a:cubicBezTo>
                    <a:pt x="797" y="688"/>
                    <a:pt x="796" y="688"/>
                    <a:pt x="796" y="688"/>
                  </a:cubicBezTo>
                  <a:cubicBezTo>
                    <a:pt x="795" y="688"/>
                    <a:pt x="796" y="687"/>
                    <a:pt x="796" y="686"/>
                  </a:cubicBezTo>
                  <a:cubicBezTo>
                    <a:pt x="795" y="686"/>
                    <a:pt x="794" y="685"/>
                    <a:pt x="794" y="684"/>
                  </a:cubicBezTo>
                  <a:cubicBezTo>
                    <a:pt x="795" y="684"/>
                    <a:pt x="795" y="684"/>
                    <a:pt x="795" y="684"/>
                  </a:cubicBezTo>
                  <a:cubicBezTo>
                    <a:pt x="796" y="684"/>
                    <a:pt x="796" y="684"/>
                    <a:pt x="797" y="684"/>
                  </a:cubicBezTo>
                  <a:cubicBezTo>
                    <a:pt x="798" y="684"/>
                    <a:pt x="798" y="684"/>
                    <a:pt x="799" y="684"/>
                  </a:cubicBezTo>
                  <a:cubicBezTo>
                    <a:pt x="799" y="684"/>
                    <a:pt x="799" y="684"/>
                    <a:pt x="800" y="684"/>
                  </a:cubicBezTo>
                  <a:cubicBezTo>
                    <a:pt x="797" y="685"/>
                    <a:pt x="800" y="686"/>
                    <a:pt x="801" y="688"/>
                  </a:cubicBezTo>
                  <a:cubicBezTo>
                    <a:pt x="802" y="687"/>
                    <a:pt x="802" y="687"/>
                    <a:pt x="803" y="687"/>
                  </a:cubicBezTo>
                  <a:cubicBezTo>
                    <a:pt x="804" y="686"/>
                    <a:pt x="804" y="686"/>
                    <a:pt x="805" y="685"/>
                  </a:cubicBezTo>
                  <a:cubicBezTo>
                    <a:pt x="805" y="684"/>
                    <a:pt x="805" y="684"/>
                    <a:pt x="805" y="684"/>
                  </a:cubicBezTo>
                  <a:cubicBezTo>
                    <a:pt x="806" y="684"/>
                    <a:pt x="806" y="684"/>
                    <a:pt x="806" y="684"/>
                  </a:cubicBezTo>
                  <a:cubicBezTo>
                    <a:pt x="806" y="685"/>
                    <a:pt x="807" y="685"/>
                    <a:pt x="807" y="685"/>
                  </a:cubicBezTo>
                  <a:cubicBezTo>
                    <a:pt x="807" y="685"/>
                    <a:pt x="807" y="685"/>
                    <a:pt x="807" y="685"/>
                  </a:cubicBezTo>
                  <a:cubicBezTo>
                    <a:pt x="810" y="684"/>
                    <a:pt x="814" y="685"/>
                    <a:pt x="815" y="682"/>
                  </a:cubicBezTo>
                  <a:cubicBezTo>
                    <a:pt x="815" y="681"/>
                    <a:pt x="814" y="679"/>
                    <a:pt x="815" y="678"/>
                  </a:cubicBezTo>
                  <a:cubicBezTo>
                    <a:pt x="815" y="678"/>
                    <a:pt x="816" y="677"/>
                    <a:pt x="817" y="677"/>
                  </a:cubicBezTo>
                  <a:cubicBezTo>
                    <a:pt x="818" y="677"/>
                    <a:pt x="819" y="678"/>
                    <a:pt x="820" y="678"/>
                  </a:cubicBezTo>
                  <a:cubicBezTo>
                    <a:pt x="819" y="675"/>
                    <a:pt x="816" y="678"/>
                    <a:pt x="815" y="674"/>
                  </a:cubicBezTo>
                  <a:cubicBezTo>
                    <a:pt x="815" y="675"/>
                    <a:pt x="816" y="675"/>
                    <a:pt x="817" y="675"/>
                  </a:cubicBezTo>
                  <a:cubicBezTo>
                    <a:pt x="817" y="675"/>
                    <a:pt x="818" y="675"/>
                    <a:pt x="819" y="675"/>
                  </a:cubicBezTo>
                  <a:cubicBezTo>
                    <a:pt x="822" y="675"/>
                    <a:pt x="821" y="671"/>
                    <a:pt x="822" y="670"/>
                  </a:cubicBezTo>
                  <a:cubicBezTo>
                    <a:pt x="822" y="670"/>
                    <a:pt x="822" y="670"/>
                    <a:pt x="822" y="670"/>
                  </a:cubicBezTo>
                  <a:cubicBezTo>
                    <a:pt x="823" y="670"/>
                    <a:pt x="823" y="670"/>
                    <a:pt x="824" y="670"/>
                  </a:cubicBezTo>
                  <a:cubicBezTo>
                    <a:pt x="825" y="670"/>
                    <a:pt x="825" y="670"/>
                    <a:pt x="826" y="671"/>
                  </a:cubicBezTo>
                  <a:cubicBezTo>
                    <a:pt x="828" y="670"/>
                    <a:pt x="835" y="667"/>
                    <a:pt x="832" y="664"/>
                  </a:cubicBezTo>
                  <a:cubicBezTo>
                    <a:pt x="834" y="666"/>
                    <a:pt x="835" y="664"/>
                    <a:pt x="835" y="668"/>
                  </a:cubicBezTo>
                  <a:cubicBezTo>
                    <a:pt x="837" y="665"/>
                    <a:pt x="841" y="662"/>
                    <a:pt x="844" y="658"/>
                  </a:cubicBezTo>
                  <a:cubicBezTo>
                    <a:pt x="845" y="657"/>
                    <a:pt x="845" y="656"/>
                    <a:pt x="844" y="656"/>
                  </a:cubicBezTo>
                  <a:cubicBezTo>
                    <a:pt x="844" y="656"/>
                    <a:pt x="844" y="656"/>
                    <a:pt x="843" y="656"/>
                  </a:cubicBezTo>
                  <a:cubicBezTo>
                    <a:pt x="844" y="655"/>
                    <a:pt x="844" y="655"/>
                    <a:pt x="843" y="655"/>
                  </a:cubicBezTo>
                  <a:cubicBezTo>
                    <a:pt x="843" y="655"/>
                    <a:pt x="843" y="655"/>
                    <a:pt x="843" y="655"/>
                  </a:cubicBezTo>
                  <a:cubicBezTo>
                    <a:pt x="843" y="655"/>
                    <a:pt x="843" y="655"/>
                    <a:pt x="842" y="655"/>
                  </a:cubicBezTo>
                  <a:cubicBezTo>
                    <a:pt x="842" y="655"/>
                    <a:pt x="842" y="655"/>
                    <a:pt x="842" y="655"/>
                  </a:cubicBezTo>
                  <a:cubicBezTo>
                    <a:pt x="842" y="655"/>
                    <a:pt x="842" y="655"/>
                    <a:pt x="841" y="655"/>
                  </a:cubicBezTo>
                  <a:cubicBezTo>
                    <a:pt x="841" y="655"/>
                    <a:pt x="841" y="655"/>
                    <a:pt x="841" y="655"/>
                  </a:cubicBezTo>
                  <a:cubicBezTo>
                    <a:pt x="841" y="655"/>
                    <a:pt x="841" y="655"/>
                    <a:pt x="841" y="655"/>
                  </a:cubicBezTo>
                  <a:cubicBezTo>
                    <a:pt x="841" y="655"/>
                    <a:pt x="840" y="655"/>
                    <a:pt x="840" y="654"/>
                  </a:cubicBezTo>
                  <a:cubicBezTo>
                    <a:pt x="839" y="653"/>
                    <a:pt x="839" y="653"/>
                    <a:pt x="839" y="653"/>
                  </a:cubicBezTo>
                  <a:cubicBezTo>
                    <a:pt x="840" y="653"/>
                    <a:pt x="840" y="653"/>
                    <a:pt x="841" y="653"/>
                  </a:cubicBezTo>
                  <a:cubicBezTo>
                    <a:pt x="841" y="653"/>
                    <a:pt x="841" y="653"/>
                    <a:pt x="842" y="653"/>
                  </a:cubicBezTo>
                  <a:cubicBezTo>
                    <a:pt x="842" y="653"/>
                    <a:pt x="842" y="653"/>
                    <a:pt x="842" y="653"/>
                  </a:cubicBezTo>
                  <a:cubicBezTo>
                    <a:pt x="843" y="653"/>
                    <a:pt x="845" y="650"/>
                    <a:pt x="846" y="650"/>
                  </a:cubicBezTo>
                  <a:cubicBezTo>
                    <a:pt x="846" y="650"/>
                    <a:pt x="846" y="650"/>
                    <a:pt x="846" y="650"/>
                  </a:cubicBezTo>
                  <a:cubicBezTo>
                    <a:pt x="847" y="650"/>
                    <a:pt x="849" y="651"/>
                    <a:pt x="850" y="651"/>
                  </a:cubicBezTo>
                  <a:cubicBezTo>
                    <a:pt x="850" y="651"/>
                    <a:pt x="850" y="651"/>
                    <a:pt x="850" y="651"/>
                  </a:cubicBezTo>
                  <a:cubicBezTo>
                    <a:pt x="851" y="651"/>
                    <a:pt x="851" y="649"/>
                    <a:pt x="852" y="649"/>
                  </a:cubicBezTo>
                  <a:cubicBezTo>
                    <a:pt x="852" y="649"/>
                    <a:pt x="852" y="649"/>
                    <a:pt x="852" y="649"/>
                  </a:cubicBezTo>
                  <a:cubicBezTo>
                    <a:pt x="853" y="649"/>
                    <a:pt x="853" y="651"/>
                    <a:pt x="854" y="651"/>
                  </a:cubicBezTo>
                  <a:cubicBezTo>
                    <a:pt x="855" y="651"/>
                    <a:pt x="855" y="651"/>
                    <a:pt x="855" y="651"/>
                  </a:cubicBezTo>
                  <a:cubicBezTo>
                    <a:pt x="856" y="651"/>
                    <a:pt x="855" y="651"/>
                    <a:pt x="856" y="650"/>
                  </a:cubicBezTo>
                  <a:cubicBezTo>
                    <a:pt x="856" y="650"/>
                    <a:pt x="857" y="649"/>
                    <a:pt x="857" y="648"/>
                  </a:cubicBezTo>
                  <a:cubicBezTo>
                    <a:pt x="857" y="647"/>
                    <a:pt x="856" y="647"/>
                    <a:pt x="855" y="647"/>
                  </a:cubicBezTo>
                  <a:cubicBezTo>
                    <a:pt x="857" y="646"/>
                    <a:pt x="858" y="645"/>
                    <a:pt x="860" y="645"/>
                  </a:cubicBezTo>
                  <a:cubicBezTo>
                    <a:pt x="860" y="645"/>
                    <a:pt x="860" y="645"/>
                    <a:pt x="860" y="645"/>
                  </a:cubicBezTo>
                  <a:cubicBezTo>
                    <a:pt x="860" y="645"/>
                    <a:pt x="860" y="645"/>
                    <a:pt x="860" y="645"/>
                  </a:cubicBezTo>
                  <a:cubicBezTo>
                    <a:pt x="861" y="645"/>
                    <a:pt x="861" y="645"/>
                    <a:pt x="861" y="645"/>
                  </a:cubicBezTo>
                  <a:cubicBezTo>
                    <a:pt x="861" y="645"/>
                    <a:pt x="861" y="645"/>
                    <a:pt x="861" y="645"/>
                  </a:cubicBezTo>
                  <a:cubicBezTo>
                    <a:pt x="862" y="644"/>
                    <a:pt x="860" y="639"/>
                    <a:pt x="860" y="638"/>
                  </a:cubicBezTo>
                  <a:cubicBezTo>
                    <a:pt x="860" y="638"/>
                    <a:pt x="863" y="638"/>
                    <a:pt x="865" y="638"/>
                  </a:cubicBezTo>
                  <a:cubicBezTo>
                    <a:pt x="867" y="638"/>
                    <a:pt x="869" y="638"/>
                    <a:pt x="868" y="637"/>
                  </a:cubicBezTo>
                  <a:cubicBezTo>
                    <a:pt x="868" y="637"/>
                    <a:pt x="868" y="636"/>
                    <a:pt x="868" y="636"/>
                  </a:cubicBezTo>
                  <a:cubicBezTo>
                    <a:pt x="867" y="636"/>
                    <a:pt x="867" y="637"/>
                    <a:pt x="867" y="637"/>
                  </a:cubicBezTo>
                  <a:cubicBezTo>
                    <a:pt x="866" y="637"/>
                    <a:pt x="866" y="637"/>
                    <a:pt x="866" y="637"/>
                  </a:cubicBezTo>
                  <a:cubicBezTo>
                    <a:pt x="866" y="637"/>
                    <a:pt x="866" y="637"/>
                    <a:pt x="865" y="637"/>
                  </a:cubicBezTo>
                  <a:cubicBezTo>
                    <a:pt x="865" y="636"/>
                    <a:pt x="867" y="630"/>
                    <a:pt x="869" y="630"/>
                  </a:cubicBezTo>
                  <a:cubicBezTo>
                    <a:pt x="868" y="630"/>
                    <a:pt x="873" y="634"/>
                    <a:pt x="874" y="635"/>
                  </a:cubicBezTo>
                  <a:cubicBezTo>
                    <a:pt x="874" y="633"/>
                    <a:pt x="873" y="633"/>
                    <a:pt x="873" y="631"/>
                  </a:cubicBezTo>
                  <a:cubicBezTo>
                    <a:pt x="873" y="631"/>
                    <a:pt x="873" y="631"/>
                    <a:pt x="872" y="631"/>
                  </a:cubicBezTo>
                  <a:cubicBezTo>
                    <a:pt x="870" y="631"/>
                    <a:pt x="875" y="623"/>
                    <a:pt x="875" y="622"/>
                  </a:cubicBezTo>
                  <a:cubicBezTo>
                    <a:pt x="872" y="622"/>
                    <a:pt x="869" y="623"/>
                    <a:pt x="866" y="623"/>
                  </a:cubicBezTo>
                  <a:cubicBezTo>
                    <a:pt x="866" y="621"/>
                    <a:pt x="865" y="620"/>
                    <a:pt x="864" y="619"/>
                  </a:cubicBezTo>
                  <a:cubicBezTo>
                    <a:pt x="865" y="620"/>
                    <a:pt x="868" y="622"/>
                    <a:pt x="870" y="622"/>
                  </a:cubicBezTo>
                  <a:cubicBezTo>
                    <a:pt x="870" y="622"/>
                    <a:pt x="870" y="622"/>
                    <a:pt x="870" y="622"/>
                  </a:cubicBezTo>
                  <a:cubicBezTo>
                    <a:pt x="871" y="622"/>
                    <a:pt x="871" y="622"/>
                    <a:pt x="872" y="620"/>
                  </a:cubicBezTo>
                  <a:cubicBezTo>
                    <a:pt x="875" y="616"/>
                    <a:pt x="876" y="617"/>
                    <a:pt x="880" y="615"/>
                  </a:cubicBezTo>
                  <a:cubicBezTo>
                    <a:pt x="880" y="615"/>
                    <a:pt x="879" y="615"/>
                    <a:pt x="879" y="615"/>
                  </a:cubicBezTo>
                  <a:cubicBezTo>
                    <a:pt x="879" y="615"/>
                    <a:pt x="878" y="614"/>
                    <a:pt x="878" y="614"/>
                  </a:cubicBezTo>
                  <a:cubicBezTo>
                    <a:pt x="878" y="614"/>
                    <a:pt x="878" y="614"/>
                    <a:pt x="878" y="614"/>
                  </a:cubicBezTo>
                  <a:cubicBezTo>
                    <a:pt x="878" y="614"/>
                    <a:pt x="877" y="614"/>
                    <a:pt x="877" y="614"/>
                  </a:cubicBezTo>
                  <a:cubicBezTo>
                    <a:pt x="877" y="614"/>
                    <a:pt x="877" y="615"/>
                    <a:pt x="876" y="615"/>
                  </a:cubicBezTo>
                  <a:cubicBezTo>
                    <a:pt x="876" y="615"/>
                    <a:pt x="876" y="616"/>
                    <a:pt x="876" y="616"/>
                  </a:cubicBezTo>
                  <a:cubicBezTo>
                    <a:pt x="876" y="616"/>
                    <a:pt x="876" y="616"/>
                    <a:pt x="875" y="615"/>
                  </a:cubicBezTo>
                  <a:cubicBezTo>
                    <a:pt x="875" y="615"/>
                    <a:pt x="873" y="614"/>
                    <a:pt x="873" y="613"/>
                  </a:cubicBezTo>
                  <a:cubicBezTo>
                    <a:pt x="873" y="613"/>
                    <a:pt x="876" y="611"/>
                    <a:pt x="876" y="611"/>
                  </a:cubicBezTo>
                  <a:cubicBezTo>
                    <a:pt x="874" y="610"/>
                    <a:pt x="873" y="610"/>
                    <a:pt x="872" y="608"/>
                  </a:cubicBezTo>
                  <a:cubicBezTo>
                    <a:pt x="872" y="607"/>
                    <a:pt x="872" y="606"/>
                    <a:pt x="873" y="606"/>
                  </a:cubicBezTo>
                  <a:cubicBezTo>
                    <a:pt x="873" y="606"/>
                    <a:pt x="873" y="606"/>
                    <a:pt x="873" y="606"/>
                  </a:cubicBezTo>
                  <a:cubicBezTo>
                    <a:pt x="875" y="605"/>
                    <a:pt x="876" y="606"/>
                    <a:pt x="877" y="605"/>
                  </a:cubicBezTo>
                  <a:cubicBezTo>
                    <a:pt x="877" y="606"/>
                    <a:pt x="877" y="606"/>
                    <a:pt x="877" y="606"/>
                  </a:cubicBezTo>
                  <a:cubicBezTo>
                    <a:pt x="878" y="606"/>
                    <a:pt x="878" y="606"/>
                    <a:pt x="877" y="606"/>
                  </a:cubicBezTo>
                  <a:cubicBezTo>
                    <a:pt x="877" y="606"/>
                    <a:pt x="880" y="606"/>
                    <a:pt x="881" y="606"/>
                  </a:cubicBezTo>
                  <a:cubicBezTo>
                    <a:pt x="882" y="606"/>
                    <a:pt x="883" y="606"/>
                    <a:pt x="881" y="607"/>
                  </a:cubicBezTo>
                  <a:cubicBezTo>
                    <a:pt x="882" y="608"/>
                    <a:pt x="883" y="608"/>
                    <a:pt x="883" y="609"/>
                  </a:cubicBezTo>
                  <a:cubicBezTo>
                    <a:pt x="884" y="607"/>
                    <a:pt x="882" y="607"/>
                    <a:pt x="883" y="605"/>
                  </a:cubicBezTo>
                  <a:cubicBezTo>
                    <a:pt x="883" y="604"/>
                    <a:pt x="885" y="604"/>
                    <a:pt x="885" y="602"/>
                  </a:cubicBezTo>
                  <a:cubicBezTo>
                    <a:pt x="886" y="600"/>
                    <a:pt x="886" y="599"/>
                    <a:pt x="889" y="599"/>
                  </a:cubicBezTo>
                  <a:cubicBezTo>
                    <a:pt x="888" y="598"/>
                    <a:pt x="888" y="598"/>
                    <a:pt x="888" y="597"/>
                  </a:cubicBezTo>
                  <a:cubicBezTo>
                    <a:pt x="888" y="597"/>
                    <a:pt x="888" y="597"/>
                    <a:pt x="888" y="597"/>
                  </a:cubicBezTo>
                  <a:cubicBezTo>
                    <a:pt x="890" y="597"/>
                    <a:pt x="892" y="595"/>
                    <a:pt x="893" y="594"/>
                  </a:cubicBezTo>
                  <a:cubicBezTo>
                    <a:pt x="894" y="592"/>
                    <a:pt x="893" y="589"/>
                    <a:pt x="894" y="587"/>
                  </a:cubicBezTo>
                  <a:cubicBezTo>
                    <a:pt x="895" y="586"/>
                    <a:pt x="897" y="583"/>
                    <a:pt x="897" y="582"/>
                  </a:cubicBezTo>
                  <a:cubicBezTo>
                    <a:pt x="894" y="580"/>
                    <a:pt x="894" y="580"/>
                    <a:pt x="894" y="580"/>
                  </a:cubicBezTo>
                  <a:cubicBezTo>
                    <a:pt x="895" y="581"/>
                    <a:pt x="895" y="581"/>
                    <a:pt x="896" y="581"/>
                  </a:cubicBezTo>
                  <a:cubicBezTo>
                    <a:pt x="897" y="581"/>
                    <a:pt x="898" y="580"/>
                    <a:pt x="900" y="578"/>
                  </a:cubicBezTo>
                  <a:cubicBezTo>
                    <a:pt x="901" y="578"/>
                    <a:pt x="902" y="577"/>
                    <a:pt x="902" y="576"/>
                  </a:cubicBezTo>
                  <a:cubicBezTo>
                    <a:pt x="902" y="575"/>
                    <a:pt x="900" y="575"/>
                    <a:pt x="902" y="574"/>
                  </a:cubicBezTo>
                  <a:cubicBezTo>
                    <a:pt x="903" y="574"/>
                    <a:pt x="903" y="574"/>
                    <a:pt x="903" y="574"/>
                  </a:cubicBezTo>
                  <a:cubicBezTo>
                    <a:pt x="905" y="574"/>
                    <a:pt x="905" y="576"/>
                    <a:pt x="907" y="578"/>
                  </a:cubicBezTo>
                  <a:cubicBezTo>
                    <a:pt x="907" y="576"/>
                    <a:pt x="910" y="576"/>
                    <a:pt x="912" y="574"/>
                  </a:cubicBezTo>
                  <a:cubicBezTo>
                    <a:pt x="910" y="574"/>
                    <a:pt x="911" y="569"/>
                    <a:pt x="909" y="568"/>
                  </a:cubicBezTo>
                  <a:cubicBezTo>
                    <a:pt x="909" y="567"/>
                    <a:pt x="908" y="567"/>
                    <a:pt x="907" y="567"/>
                  </a:cubicBezTo>
                  <a:cubicBezTo>
                    <a:pt x="906" y="566"/>
                    <a:pt x="906" y="567"/>
                    <a:pt x="905" y="565"/>
                  </a:cubicBezTo>
                  <a:cubicBezTo>
                    <a:pt x="906" y="566"/>
                    <a:pt x="907" y="566"/>
                    <a:pt x="908" y="566"/>
                  </a:cubicBezTo>
                  <a:cubicBezTo>
                    <a:pt x="909" y="566"/>
                    <a:pt x="910" y="566"/>
                    <a:pt x="912" y="565"/>
                  </a:cubicBezTo>
                  <a:cubicBezTo>
                    <a:pt x="914" y="564"/>
                    <a:pt x="910" y="563"/>
                    <a:pt x="910" y="561"/>
                  </a:cubicBezTo>
                  <a:cubicBezTo>
                    <a:pt x="910" y="562"/>
                    <a:pt x="910" y="562"/>
                    <a:pt x="911" y="562"/>
                  </a:cubicBezTo>
                  <a:cubicBezTo>
                    <a:pt x="911" y="562"/>
                    <a:pt x="911" y="562"/>
                    <a:pt x="912" y="562"/>
                  </a:cubicBezTo>
                  <a:cubicBezTo>
                    <a:pt x="912" y="561"/>
                    <a:pt x="913" y="561"/>
                    <a:pt x="913" y="561"/>
                  </a:cubicBezTo>
                  <a:cubicBezTo>
                    <a:pt x="913" y="561"/>
                    <a:pt x="913" y="561"/>
                    <a:pt x="913" y="561"/>
                  </a:cubicBezTo>
                  <a:cubicBezTo>
                    <a:pt x="913" y="560"/>
                    <a:pt x="912" y="560"/>
                    <a:pt x="912" y="559"/>
                  </a:cubicBezTo>
                  <a:cubicBezTo>
                    <a:pt x="912" y="558"/>
                    <a:pt x="910" y="558"/>
                    <a:pt x="909" y="558"/>
                  </a:cubicBezTo>
                  <a:cubicBezTo>
                    <a:pt x="909" y="558"/>
                    <a:pt x="909" y="558"/>
                    <a:pt x="909" y="558"/>
                  </a:cubicBezTo>
                  <a:cubicBezTo>
                    <a:pt x="909" y="558"/>
                    <a:pt x="909" y="558"/>
                    <a:pt x="909" y="558"/>
                  </a:cubicBezTo>
                  <a:cubicBezTo>
                    <a:pt x="908" y="558"/>
                    <a:pt x="908" y="558"/>
                    <a:pt x="908" y="558"/>
                  </a:cubicBezTo>
                  <a:cubicBezTo>
                    <a:pt x="909" y="557"/>
                    <a:pt x="910" y="554"/>
                    <a:pt x="912" y="554"/>
                  </a:cubicBezTo>
                  <a:cubicBezTo>
                    <a:pt x="912" y="554"/>
                    <a:pt x="912" y="554"/>
                    <a:pt x="912" y="554"/>
                  </a:cubicBezTo>
                  <a:cubicBezTo>
                    <a:pt x="913" y="554"/>
                    <a:pt x="913" y="556"/>
                    <a:pt x="914" y="556"/>
                  </a:cubicBezTo>
                  <a:cubicBezTo>
                    <a:pt x="915" y="555"/>
                    <a:pt x="915" y="554"/>
                    <a:pt x="915" y="553"/>
                  </a:cubicBezTo>
                  <a:cubicBezTo>
                    <a:pt x="915" y="554"/>
                    <a:pt x="916" y="554"/>
                    <a:pt x="917" y="554"/>
                  </a:cubicBezTo>
                  <a:cubicBezTo>
                    <a:pt x="918" y="553"/>
                    <a:pt x="920" y="548"/>
                    <a:pt x="918" y="547"/>
                  </a:cubicBezTo>
                  <a:cubicBezTo>
                    <a:pt x="918" y="547"/>
                    <a:pt x="917" y="547"/>
                    <a:pt x="917" y="547"/>
                  </a:cubicBezTo>
                  <a:cubicBezTo>
                    <a:pt x="916" y="547"/>
                    <a:pt x="914" y="549"/>
                    <a:pt x="916" y="550"/>
                  </a:cubicBezTo>
                  <a:cubicBezTo>
                    <a:pt x="916" y="550"/>
                    <a:pt x="915" y="550"/>
                    <a:pt x="915" y="550"/>
                  </a:cubicBezTo>
                  <a:cubicBezTo>
                    <a:pt x="914" y="550"/>
                    <a:pt x="914" y="550"/>
                    <a:pt x="913" y="550"/>
                  </a:cubicBezTo>
                  <a:cubicBezTo>
                    <a:pt x="913" y="550"/>
                    <a:pt x="913" y="550"/>
                    <a:pt x="913" y="550"/>
                  </a:cubicBezTo>
                  <a:cubicBezTo>
                    <a:pt x="913" y="550"/>
                    <a:pt x="912" y="550"/>
                    <a:pt x="911" y="550"/>
                  </a:cubicBezTo>
                  <a:cubicBezTo>
                    <a:pt x="911" y="551"/>
                    <a:pt x="910" y="551"/>
                    <a:pt x="910" y="551"/>
                  </a:cubicBezTo>
                  <a:cubicBezTo>
                    <a:pt x="909" y="551"/>
                    <a:pt x="909" y="551"/>
                    <a:pt x="908" y="550"/>
                  </a:cubicBezTo>
                  <a:cubicBezTo>
                    <a:pt x="913" y="548"/>
                    <a:pt x="918" y="546"/>
                    <a:pt x="921" y="542"/>
                  </a:cubicBezTo>
                  <a:cubicBezTo>
                    <a:pt x="921" y="542"/>
                    <a:pt x="920" y="542"/>
                    <a:pt x="920" y="542"/>
                  </a:cubicBezTo>
                  <a:cubicBezTo>
                    <a:pt x="917" y="542"/>
                    <a:pt x="915" y="541"/>
                    <a:pt x="913" y="540"/>
                  </a:cubicBezTo>
                  <a:cubicBezTo>
                    <a:pt x="910" y="538"/>
                    <a:pt x="908" y="533"/>
                    <a:pt x="904" y="533"/>
                  </a:cubicBezTo>
                  <a:cubicBezTo>
                    <a:pt x="904" y="533"/>
                    <a:pt x="903" y="533"/>
                    <a:pt x="903" y="533"/>
                  </a:cubicBezTo>
                  <a:cubicBezTo>
                    <a:pt x="901" y="534"/>
                    <a:pt x="900" y="536"/>
                    <a:pt x="898" y="536"/>
                  </a:cubicBezTo>
                  <a:cubicBezTo>
                    <a:pt x="897" y="536"/>
                    <a:pt x="896" y="537"/>
                    <a:pt x="894" y="537"/>
                  </a:cubicBezTo>
                  <a:cubicBezTo>
                    <a:pt x="894" y="537"/>
                    <a:pt x="893" y="537"/>
                    <a:pt x="893" y="536"/>
                  </a:cubicBezTo>
                  <a:cubicBezTo>
                    <a:pt x="892" y="535"/>
                    <a:pt x="892" y="533"/>
                    <a:pt x="891" y="532"/>
                  </a:cubicBezTo>
                  <a:cubicBezTo>
                    <a:pt x="892" y="532"/>
                    <a:pt x="893" y="533"/>
                    <a:pt x="895" y="533"/>
                  </a:cubicBezTo>
                  <a:cubicBezTo>
                    <a:pt x="896" y="533"/>
                    <a:pt x="897" y="532"/>
                    <a:pt x="897" y="532"/>
                  </a:cubicBezTo>
                  <a:cubicBezTo>
                    <a:pt x="900" y="530"/>
                    <a:pt x="902" y="528"/>
                    <a:pt x="905" y="526"/>
                  </a:cubicBezTo>
                  <a:cubicBezTo>
                    <a:pt x="906" y="524"/>
                    <a:pt x="909" y="524"/>
                    <a:pt x="911" y="523"/>
                  </a:cubicBezTo>
                  <a:cubicBezTo>
                    <a:pt x="912" y="522"/>
                    <a:pt x="917" y="521"/>
                    <a:pt x="917" y="520"/>
                  </a:cubicBezTo>
                  <a:cubicBezTo>
                    <a:pt x="918" y="518"/>
                    <a:pt x="916" y="516"/>
                    <a:pt x="914" y="514"/>
                  </a:cubicBezTo>
                  <a:cubicBezTo>
                    <a:pt x="914" y="514"/>
                    <a:pt x="914" y="514"/>
                    <a:pt x="914" y="514"/>
                  </a:cubicBezTo>
                  <a:cubicBezTo>
                    <a:pt x="914" y="517"/>
                    <a:pt x="912" y="519"/>
                    <a:pt x="909" y="519"/>
                  </a:cubicBezTo>
                  <a:cubicBezTo>
                    <a:pt x="906" y="519"/>
                    <a:pt x="904" y="517"/>
                    <a:pt x="904" y="514"/>
                  </a:cubicBezTo>
                  <a:cubicBezTo>
                    <a:pt x="904" y="512"/>
                    <a:pt x="905" y="510"/>
                    <a:pt x="908" y="509"/>
                  </a:cubicBezTo>
                  <a:cubicBezTo>
                    <a:pt x="905" y="507"/>
                    <a:pt x="903" y="504"/>
                    <a:pt x="900" y="503"/>
                  </a:cubicBezTo>
                  <a:cubicBezTo>
                    <a:pt x="899" y="503"/>
                    <a:pt x="897" y="502"/>
                    <a:pt x="895" y="502"/>
                  </a:cubicBezTo>
                  <a:cubicBezTo>
                    <a:pt x="894" y="502"/>
                    <a:pt x="895" y="499"/>
                    <a:pt x="894" y="499"/>
                  </a:cubicBezTo>
                  <a:cubicBezTo>
                    <a:pt x="894" y="498"/>
                    <a:pt x="894" y="498"/>
                    <a:pt x="894" y="498"/>
                  </a:cubicBezTo>
                  <a:cubicBezTo>
                    <a:pt x="894" y="498"/>
                    <a:pt x="894" y="498"/>
                    <a:pt x="894" y="498"/>
                  </a:cubicBezTo>
                  <a:cubicBezTo>
                    <a:pt x="894" y="498"/>
                    <a:pt x="894" y="498"/>
                    <a:pt x="894" y="498"/>
                  </a:cubicBezTo>
                  <a:cubicBezTo>
                    <a:pt x="893" y="498"/>
                    <a:pt x="893" y="498"/>
                    <a:pt x="893" y="498"/>
                  </a:cubicBezTo>
                  <a:cubicBezTo>
                    <a:pt x="892" y="498"/>
                    <a:pt x="892" y="497"/>
                    <a:pt x="891" y="497"/>
                  </a:cubicBezTo>
                  <a:cubicBezTo>
                    <a:pt x="891" y="497"/>
                    <a:pt x="890" y="498"/>
                    <a:pt x="889" y="498"/>
                  </a:cubicBezTo>
                  <a:cubicBezTo>
                    <a:pt x="888" y="498"/>
                    <a:pt x="888" y="499"/>
                    <a:pt x="887" y="499"/>
                  </a:cubicBezTo>
                  <a:cubicBezTo>
                    <a:pt x="887" y="499"/>
                    <a:pt x="886" y="499"/>
                    <a:pt x="886" y="499"/>
                  </a:cubicBezTo>
                  <a:cubicBezTo>
                    <a:pt x="887" y="498"/>
                    <a:pt x="887" y="498"/>
                    <a:pt x="888" y="497"/>
                  </a:cubicBezTo>
                  <a:cubicBezTo>
                    <a:pt x="889" y="496"/>
                    <a:pt x="890" y="496"/>
                    <a:pt x="891" y="496"/>
                  </a:cubicBezTo>
                  <a:cubicBezTo>
                    <a:pt x="893" y="496"/>
                    <a:pt x="896" y="497"/>
                    <a:pt x="897" y="498"/>
                  </a:cubicBezTo>
                  <a:cubicBezTo>
                    <a:pt x="898" y="500"/>
                    <a:pt x="899" y="501"/>
                    <a:pt x="900" y="501"/>
                  </a:cubicBezTo>
                  <a:cubicBezTo>
                    <a:pt x="900" y="501"/>
                    <a:pt x="901" y="501"/>
                    <a:pt x="901" y="501"/>
                  </a:cubicBezTo>
                  <a:cubicBezTo>
                    <a:pt x="902" y="501"/>
                    <a:pt x="903" y="501"/>
                    <a:pt x="903" y="501"/>
                  </a:cubicBezTo>
                  <a:cubicBezTo>
                    <a:pt x="904" y="501"/>
                    <a:pt x="905" y="501"/>
                    <a:pt x="905" y="501"/>
                  </a:cubicBezTo>
                  <a:cubicBezTo>
                    <a:pt x="905" y="501"/>
                    <a:pt x="905" y="501"/>
                    <a:pt x="905" y="501"/>
                  </a:cubicBezTo>
                  <a:cubicBezTo>
                    <a:pt x="910" y="501"/>
                    <a:pt x="913" y="503"/>
                    <a:pt x="917" y="504"/>
                  </a:cubicBezTo>
                  <a:cubicBezTo>
                    <a:pt x="917" y="502"/>
                    <a:pt x="916" y="500"/>
                    <a:pt x="915" y="498"/>
                  </a:cubicBezTo>
                  <a:cubicBezTo>
                    <a:pt x="913" y="496"/>
                    <a:pt x="909" y="496"/>
                    <a:pt x="907" y="494"/>
                  </a:cubicBezTo>
                  <a:cubicBezTo>
                    <a:pt x="906" y="492"/>
                    <a:pt x="907" y="490"/>
                    <a:pt x="906" y="488"/>
                  </a:cubicBezTo>
                  <a:cubicBezTo>
                    <a:pt x="905" y="487"/>
                    <a:pt x="903" y="487"/>
                    <a:pt x="902" y="487"/>
                  </a:cubicBezTo>
                  <a:cubicBezTo>
                    <a:pt x="898" y="485"/>
                    <a:pt x="898" y="485"/>
                    <a:pt x="898" y="480"/>
                  </a:cubicBezTo>
                  <a:cubicBezTo>
                    <a:pt x="898" y="477"/>
                    <a:pt x="897" y="476"/>
                    <a:pt x="896" y="473"/>
                  </a:cubicBezTo>
                  <a:cubicBezTo>
                    <a:pt x="894" y="467"/>
                    <a:pt x="892" y="462"/>
                    <a:pt x="889" y="457"/>
                  </a:cubicBezTo>
                  <a:cubicBezTo>
                    <a:pt x="888" y="454"/>
                    <a:pt x="887" y="450"/>
                    <a:pt x="885" y="448"/>
                  </a:cubicBezTo>
                  <a:cubicBezTo>
                    <a:pt x="884" y="447"/>
                    <a:pt x="883" y="447"/>
                    <a:pt x="882" y="447"/>
                  </a:cubicBezTo>
                  <a:cubicBezTo>
                    <a:pt x="880" y="446"/>
                    <a:pt x="878" y="446"/>
                    <a:pt x="877" y="445"/>
                  </a:cubicBezTo>
                  <a:cubicBezTo>
                    <a:pt x="876" y="444"/>
                    <a:pt x="871" y="438"/>
                    <a:pt x="869" y="438"/>
                  </a:cubicBezTo>
                  <a:cubicBezTo>
                    <a:pt x="869" y="438"/>
                    <a:pt x="868" y="439"/>
                    <a:pt x="868" y="439"/>
                  </a:cubicBezTo>
                  <a:cubicBezTo>
                    <a:pt x="867" y="439"/>
                    <a:pt x="866" y="439"/>
                    <a:pt x="866" y="439"/>
                  </a:cubicBezTo>
                  <a:cubicBezTo>
                    <a:pt x="866" y="439"/>
                    <a:pt x="866" y="439"/>
                    <a:pt x="866" y="438"/>
                  </a:cubicBezTo>
                  <a:cubicBezTo>
                    <a:pt x="865" y="436"/>
                    <a:pt x="865" y="436"/>
                    <a:pt x="866" y="434"/>
                  </a:cubicBezTo>
                  <a:cubicBezTo>
                    <a:pt x="865" y="434"/>
                    <a:pt x="865" y="434"/>
                    <a:pt x="865" y="434"/>
                  </a:cubicBezTo>
                  <a:cubicBezTo>
                    <a:pt x="866" y="433"/>
                    <a:pt x="866" y="433"/>
                    <a:pt x="866" y="433"/>
                  </a:cubicBezTo>
                  <a:cubicBezTo>
                    <a:pt x="870" y="430"/>
                    <a:pt x="871" y="422"/>
                    <a:pt x="876" y="421"/>
                  </a:cubicBezTo>
                  <a:cubicBezTo>
                    <a:pt x="879" y="420"/>
                    <a:pt x="880" y="419"/>
                    <a:pt x="881" y="417"/>
                  </a:cubicBezTo>
                  <a:cubicBezTo>
                    <a:pt x="883" y="415"/>
                    <a:pt x="885" y="414"/>
                    <a:pt x="887" y="412"/>
                  </a:cubicBezTo>
                  <a:cubicBezTo>
                    <a:pt x="885" y="412"/>
                    <a:pt x="884" y="411"/>
                    <a:pt x="883" y="409"/>
                  </a:cubicBezTo>
                  <a:cubicBezTo>
                    <a:pt x="882" y="407"/>
                    <a:pt x="884" y="406"/>
                    <a:pt x="886" y="406"/>
                  </a:cubicBezTo>
                  <a:cubicBezTo>
                    <a:pt x="886" y="406"/>
                    <a:pt x="887" y="406"/>
                    <a:pt x="887" y="407"/>
                  </a:cubicBezTo>
                  <a:cubicBezTo>
                    <a:pt x="888" y="407"/>
                    <a:pt x="888" y="408"/>
                    <a:pt x="888" y="409"/>
                  </a:cubicBezTo>
                  <a:cubicBezTo>
                    <a:pt x="888" y="410"/>
                    <a:pt x="888" y="411"/>
                    <a:pt x="888" y="411"/>
                  </a:cubicBezTo>
                  <a:cubicBezTo>
                    <a:pt x="889" y="411"/>
                    <a:pt x="889" y="410"/>
                    <a:pt x="890" y="410"/>
                  </a:cubicBezTo>
                  <a:cubicBezTo>
                    <a:pt x="892" y="410"/>
                    <a:pt x="894" y="410"/>
                    <a:pt x="894" y="408"/>
                  </a:cubicBezTo>
                  <a:cubicBezTo>
                    <a:pt x="894" y="407"/>
                    <a:pt x="894" y="407"/>
                    <a:pt x="894" y="406"/>
                  </a:cubicBezTo>
                  <a:cubicBezTo>
                    <a:pt x="893" y="404"/>
                    <a:pt x="895" y="404"/>
                    <a:pt x="896" y="403"/>
                  </a:cubicBezTo>
                  <a:cubicBezTo>
                    <a:pt x="898" y="403"/>
                    <a:pt x="899" y="402"/>
                    <a:pt x="899" y="400"/>
                  </a:cubicBezTo>
                  <a:cubicBezTo>
                    <a:pt x="899" y="400"/>
                    <a:pt x="899" y="400"/>
                    <a:pt x="899" y="400"/>
                  </a:cubicBezTo>
                  <a:cubicBezTo>
                    <a:pt x="899" y="400"/>
                    <a:pt x="898" y="400"/>
                    <a:pt x="898" y="400"/>
                  </a:cubicBezTo>
                  <a:cubicBezTo>
                    <a:pt x="897" y="399"/>
                    <a:pt x="897" y="399"/>
                    <a:pt x="896" y="399"/>
                  </a:cubicBezTo>
                  <a:cubicBezTo>
                    <a:pt x="896" y="399"/>
                    <a:pt x="896" y="399"/>
                    <a:pt x="895" y="399"/>
                  </a:cubicBezTo>
                  <a:cubicBezTo>
                    <a:pt x="896" y="398"/>
                    <a:pt x="896" y="398"/>
                    <a:pt x="897" y="398"/>
                  </a:cubicBezTo>
                  <a:cubicBezTo>
                    <a:pt x="898" y="398"/>
                    <a:pt x="898" y="398"/>
                    <a:pt x="899" y="398"/>
                  </a:cubicBezTo>
                  <a:cubicBezTo>
                    <a:pt x="899" y="398"/>
                    <a:pt x="900" y="399"/>
                    <a:pt x="900" y="399"/>
                  </a:cubicBezTo>
                  <a:cubicBezTo>
                    <a:pt x="901" y="399"/>
                    <a:pt x="901" y="398"/>
                    <a:pt x="902" y="398"/>
                  </a:cubicBezTo>
                  <a:cubicBezTo>
                    <a:pt x="904" y="397"/>
                    <a:pt x="906" y="396"/>
                    <a:pt x="909" y="395"/>
                  </a:cubicBezTo>
                  <a:cubicBezTo>
                    <a:pt x="913" y="393"/>
                    <a:pt x="918" y="392"/>
                    <a:pt x="922" y="390"/>
                  </a:cubicBezTo>
                  <a:cubicBezTo>
                    <a:pt x="923" y="393"/>
                    <a:pt x="923" y="394"/>
                    <a:pt x="925" y="394"/>
                  </a:cubicBezTo>
                  <a:cubicBezTo>
                    <a:pt x="925" y="394"/>
                    <a:pt x="926" y="394"/>
                    <a:pt x="927" y="393"/>
                  </a:cubicBezTo>
                  <a:cubicBezTo>
                    <a:pt x="929" y="392"/>
                    <a:pt x="929" y="392"/>
                    <a:pt x="929" y="390"/>
                  </a:cubicBezTo>
                  <a:cubicBezTo>
                    <a:pt x="929" y="390"/>
                    <a:pt x="929" y="390"/>
                    <a:pt x="929" y="390"/>
                  </a:cubicBezTo>
                  <a:cubicBezTo>
                    <a:pt x="929" y="390"/>
                    <a:pt x="929" y="390"/>
                    <a:pt x="928" y="390"/>
                  </a:cubicBezTo>
                  <a:cubicBezTo>
                    <a:pt x="928" y="390"/>
                    <a:pt x="927" y="390"/>
                    <a:pt x="927" y="390"/>
                  </a:cubicBezTo>
                  <a:cubicBezTo>
                    <a:pt x="927" y="390"/>
                    <a:pt x="927" y="390"/>
                    <a:pt x="927" y="389"/>
                  </a:cubicBezTo>
                  <a:cubicBezTo>
                    <a:pt x="928" y="388"/>
                    <a:pt x="934" y="383"/>
                    <a:pt x="932" y="381"/>
                  </a:cubicBezTo>
                  <a:cubicBezTo>
                    <a:pt x="932" y="381"/>
                    <a:pt x="931" y="381"/>
                    <a:pt x="931" y="381"/>
                  </a:cubicBezTo>
                  <a:cubicBezTo>
                    <a:pt x="930" y="381"/>
                    <a:pt x="929" y="381"/>
                    <a:pt x="928" y="381"/>
                  </a:cubicBezTo>
                  <a:cubicBezTo>
                    <a:pt x="928" y="381"/>
                    <a:pt x="928" y="381"/>
                    <a:pt x="928" y="381"/>
                  </a:cubicBezTo>
                  <a:cubicBezTo>
                    <a:pt x="927" y="381"/>
                    <a:pt x="927" y="381"/>
                    <a:pt x="927" y="381"/>
                  </a:cubicBezTo>
                  <a:cubicBezTo>
                    <a:pt x="924" y="381"/>
                    <a:pt x="923" y="379"/>
                    <a:pt x="920" y="378"/>
                  </a:cubicBezTo>
                  <a:cubicBezTo>
                    <a:pt x="920" y="379"/>
                    <a:pt x="919" y="380"/>
                    <a:pt x="918" y="381"/>
                  </a:cubicBezTo>
                  <a:cubicBezTo>
                    <a:pt x="918" y="380"/>
                    <a:pt x="917" y="380"/>
                    <a:pt x="916" y="380"/>
                  </a:cubicBezTo>
                  <a:cubicBezTo>
                    <a:pt x="916" y="380"/>
                    <a:pt x="915" y="380"/>
                    <a:pt x="914" y="380"/>
                  </a:cubicBezTo>
                  <a:cubicBezTo>
                    <a:pt x="913" y="380"/>
                    <a:pt x="912" y="381"/>
                    <a:pt x="911" y="381"/>
                  </a:cubicBezTo>
                  <a:cubicBezTo>
                    <a:pt x="911" y="381"/>
                    <a:pt x="911" y="381"/>
                    <a:pt x="911" y="381"/>
                  </a:cubicBezTo>
                  <a:cubicBezTo>
                    <a:pt x="908" y="380"/>
                    <a:pt x="905" y="378"/>
                    <a:pt x="903" y="377"/>
                  </a:cubicBezTo>
                  <a:cubicBezTo>
                    <a:pt x="900" y="376"/>
                    <a:pt x="898" y="374"/>
                    <a:pt x="896" y="373"/>
                  </a:cubicBezTo>
                  <a:cubicBezTo>
                    <a:pt x="896" y="372"/>
                    <a:pt x="895" y="372"/>
                    <a:pt x="895" y="372"/>
                  </a:cubicBezTo>
                  <a:cubicBezTo>
                    <a:pt x="893" y="372"/>
                    <a:pt x="892" y="373"/>
                    <a:pt x="890" y="374"/>
                  </a:cubicBezTo>
                  <a:cubicBezTo>
                    <a:pt x="888" y="374"/>
                    <a:pt x="885" y="374"/>
                    <a:pt x="886" y="377"/>
                  </a:cubicBezTo>
                  <a:cubicBezTo>
                    <a:pt x="886" y="379"/>
                    <a:pt x="882" y="381"/>
                    <a:pt x="881" y="382"/>
                  </a:cubicBezTo>
                  <a:cubicBezTo>
                    <a:pt x="879" y="383"/>
                    <a:pt x="875" y="387"/>
                    <a:pt x="873" y="387"/>
                  </a:cubicBezTo>
                  <a:cubicBezTo>
                    <a:pt x="873" y="387"/>
                    <a:pt x="873" y="387"/>
                    <a:pt x="872" y="387"/>
                  </a:cubicBezTo>
                  <a:cubicBezTo>
                    <a:pt x="870" y="387"/>
                    <a:pt x="866" y="385"/>
                    <a:pt x="865" y="385"/>
                  </a:cubicBezTo>
                  <a:cubicBezTo>
                    <a:pt x="861" y="383"/>
                    <a:pt x="861" y="384"/>
                    <a:pt x="862" y="380"/>
                  </a:cubicBezTo>
                  <a:cubicBezTo>
                    <a:pt x="862" y="378"/>
                    <a:pt x="864" y="375"/>
                    <a:pt x="864" y="372"/>
                  </a:cubicBezTo>
                  <a:cubicBezTo>
                    <a:pt x="864" y="370"/>
                    <a:pt x="862" y="365"/>
                    <a:pt x="859" y="364"/>
                  </a:cubicBezTo>
                  <a:cubicBezTo>
                    <a:pt x="858" y="364"/>
                    <a:pt x="858" y="364"/>
                    <a:pt x="857" y="364"/>
                  </a:cubicBezTo>
                  <a:cubicBezTo>
                    <a:pt x="856" y="364"/>
                    <a:pt x="855" y="364"/>
                    <a:pt x="855" y="365"/>
                  </a:cubicBezTo>
                  <a:cubicBezTo>
                    <a:pt x="854" y="365"/>
                    <a:pt x="855" y="366"/>
                    <a:pt x="855" y="367"/>
                  </a:cubicBezTo>
                  <a:cubicBezTo>
                    <a:pt x="855" y="367"/>
                    <a:pt x="854" y="367"/>
                    <a:pt x="854" y="368"/>
                  </a:cubicBezTo>
                  <a:cubicBezTo>
                    <a:pt x="853" y="367"/>
                    <a:pt x="852" y="366"/>
                    <a:pt x="850" y="365"/>
                  </a:cubicBezTo>
                  <a:cubicBezTo>
                    <a:pt x="850" y="365"/>
                    <a:pt x="850" y="365"/>
                    <a:pt x="850" y="365"/>
                  </a:cubicBezTo>
                  <a:cubicBezTo>
                    <a:pt x="850" y="365"/>
                    <a:pt x="850" y="365"/>
                    <a:pt x="849" y="365"/>
                  </a:cubicBezTo>
                  <a:cubicBezTo>
                    <a:pt x="849" y="365"/>
                    <a:pt x="849" y="365"/>
                    <a:pt x="849" y="365"/>
                  </a:cubicBezTo>
                  <a:cubicBezTo>
                    <a:pt x="848" y="365"/>
                    <a:pt x="848" y="365"/>
                    <a:pt x="847" y="365"/>
                  </a:cubicBezTo>
                  <a:cubicBezTo>
                    <a:pt x="845" y="364"/>
                    <a:pt x="843" y="364"/>
                    <a:pt x="842" y="363"/>
                  </a:cubicBezTo>
                  <a:cubicBezTo>
                    <a:pt x="839" y="362"/>
                    <a:pt x="834" y="356"/>
                    <a:pt x="834" y="354"/>
                  </a:cubicBezTo>
                  <a:cubicBezTo>
                    <a:pt x="835" y="351"/>
                    <a:pt x="836" y="346"/>
                    <a:pt x="838" y="344"/>
                  </a:cubicBezTo>
                  <a:cubicBezTo>
                    <a:pt x="839" y="343"/>
                    <a:pt x="839" y="342"/>
                    <a:pt x="840" y="342"/>
                  </a:cubicBezTo>
                  <a:cubicBezTo>
                    <a:pt x="841" y="342"/>
                    <a:pt x="841" y="342"/>
                    <a:pt x="842" y="342"/>
                  </a:cubicBezTo>
                  <a:cubicBezTo>
                    <a:pt x="845" y="342"/>
                    <a:pt x="846" y="345"/>
                    <a:pt x="849" y="345"/>
                  </a:cubicBezTo>
                  <a:cubicBezTo>
                    <a:pt x="849" y="345"/>
                    <a:pt x="849" y="345"/>
                    <a:pt x="849" y="345"/>
                  </a:cubicBezTo>
                  <a:cubicBezTo>
                    <a:pt x="851" y="345"/>
                    <a:pt x="853" y="344"/>
                    <a:pt x="855" y="344"/>
                  </a:cubicBezTo>
                  <a:cubicBezTo>
                    <a:pt x="857" y="344"/>
                    <a:pt x="859" y="344"/>
                    <a:pt x="861" y="343"/>
                  </a:cubicBezTo>
                  <a:cubicBezTo>
                    <a:pt x="862" y="342"/>
                    <a:pt x="862" y="341"/>
                    <a:pt x="863" y="341"/>
                  </a:cubicBezTo>
                  <a:cubicBezTo>
                    <a:pt x="864" y="339"/>
                    <a:pt x="867" y="337"/>
                    <a:pt x="867" y="334"/>
                  </a:cubicBezTo>
                  <a:cubicBezTo>
                    <a:pt x="868" y="330"/>
                    <a:pt x="870" y="327"/>
                    <a:pt x="874" y="325"/>
                  </a:cubicBezTo>
                  <a:cubicBezTo>
                    <a:pt x="880" y="323"/>
                    <a:pt x="884" y="321"/>
                    <a:pt x="889" y="318"/>
                  </a:cubicBezTo>
                  <a:cubicBezTo>
                    <a:pt x="893" y="315"/>
                    <a:pt x="895" y="310"/>
                    <a:pt x="899" y="307"/>
                  </a:cubicBezTo>
                  <a:cubicBezTo>
                    <a:pt x="901" y="305"/>
                    <a:pt x="902" y="304"/>
                    <a:pt x="904" y="304"/>
                  </a:cubicBezTo>
                  <a:cubicBezTo>
                    <a:pt x="904" y="304"/>
                    <a:pt x="905" y="304"/>
                    <a:pt x="906" y="304"/>
                  </a:cubicBezTo>
                  <a:cubicBezTo>
                    <a:pt x="907" y="304"/>
                    <a:pt x="908" y="304"/>
                    <a:pt x="909" y="304"/>
                  </a:cubicBezTo>
                  <a:cubicBezTo>
                    <a:pt x="911" y="304"/>
                    <a:pt x="912" y="304"/>
                    <a:pt x="914" y="304"/>
                  </a:cubicBezTo>
                  <a:cubicBezTo>
                    <a:pt x="915" y="303"/>
                    <a:pt x="915" y="302"/>
                    <a:pt x="916" y="301"/>
                  </a:cubicBezTo>
                  <a:cubicBezTo>
                    <a:pt x="916" y="304"/>
                    <a:pt x="916" y="305"/>
                    <a:pt x="918" y="306"/>
                  </a:cubicBezTo>
                  <a:cubicBezTo>
                    <a:pt x="921" y="308"/>
                    <a:pt x="923" y="308"/>
                    <a:pt x="924" y="311"/>
                  </a:cubicBezTo>
                  <a:cubicBezTo>
                    <a:pt x="924" y="311"/>
                    <a:pt x="925" y="312"/>
                    <a:pt x="925" y="312"/>
                  </a:cubicBezTo>
                  <a:cubicBezTo>
                    <a:pt x="925" y="313"/>
                    <a:pt x="923" y="315"/>
                    <a:pt x="922" y="315"/>
                  </a:cubicBezTo>
                  <a:cubicBezTo>
                    <a:pt x="921" y="318"/>
                    <a:pt x="919" y="320"/>
                    <a:pt x="917" y="322"/>
                  </a:cubicBezTo>
                  <a:cubicBezTo>
                    <a:pt x="915" y="324"/>
                    <a:pt x="915" y="325"/>
                    <a:pt x="914" y="326"/>
                  </a:cubicBezTo>
                  <a:cubicBezTo>
                    <a:pt x="913" y="326"/>
                    <a:pt x="910" y="326"/>
                    <a:pt x="909" y="328"/>
                  </a:cubicBezTo>
                  <a:cubicBezTo>
                    <a:pt x="908" y="329"/>
                    <a:pt x="909" y="331"/>
                    <a:pt x="908" y="332"/>
                  </a:cubicBezTo>
                  <a:cubicBezTo>
                    <a:pt x="908" y="333"/>
                    <a:pt x="907" y="332"/>
                    <a:pt x="907" y="333"/>
                  </a:cubicBezTo>
                  <a:cubicBezTo>
                    <a:pt x="906" y="333"/>
                    <a:pt x="905" y="333"/>
                    <a:pt x="904" y="334"/>
                  </a:cubicBezTo>
                  <a:cubicBezTo>
                    <a:pt x="907" y="337"/>
                    <a:pt x="909" y="337"/>
                    <a:pt x="912" y="337"/>
                  </a:cubicBezTo>
                  <a:cubicBezTo>
                    <a:pt x="913" y="337"/>
                    <a:pt x="915" y="337"/>
                    <a:pt x="918" y="337"/>
                  </a:cubicBezTo>
                  <a:cubicBezTo>
                    <a:pt x="917" y="337"/>
                    <a:pt x="912" y="339"/>
                    <a:pt x="912" y="340"/>
                  </a:cubicBezTo>
                  <a:cubicBezTo>
                    <a:pt x="911" y="341"/>
                    <a:pt x="913" y="342"/>
                    <a:pt x="913" y="343"/>
                  </a:cubicBezTo>
                  <a:cubicBezTo>
                    <a:pt x="913" y="345"/>
                    <a:pt x="909" y="344"/>
                    <a:pt x="908" y="345"/>
                  </a:cubicBezTo>
                  <a:cubicBezTo>
                    <a:pt x="906" y="346"/>
                    <a:pt x="905" y="347"/>
                    <a:pt x="904" y="347"/>
                  </a:cubicBezTo>
                  <a:cubicBezTo>
                    <a:pt x="904" y="347"/>
                    <a:pt x="904" y="347"/>
                    <a:pt x="904" y="347"/>
                  </a:cubicBezTo>
                  <a:cubicBezTo>
                    <a:pt x="904" y="347"/>
                    <a:pt x="904" y="347"/>
                    <a:pt x="903" y="347"/>
                  </a:cubicBezTo>
                  <a:cubicBezTo>
                    <a:pt x="903" y="347"/>
                    <a:pt x="903" y="347"/>
                    <a:pt x="903" y="347"/>
                  </a:cubicBezTo>
                  <a:cubicBezTo>
                    <a:pt x="903" y="347"/>
                    <a:pt x="902" y="347"/>
                    <a:pt x="902" y="347"/>
                  </a:cubicBezTo>
                  <a:cubicBezTo>
                    <a:pt x="901" y="348"/>
                    <a:pt x="903" y="351"/>
                    <a:pt x="904" y="352"/>
                  </a:cubicBezTo>
                  <a:cubicBezTo>
                    <a:pt x="911" y="348"/>
                    <a:pt x="918" y="343"/>
                    <a:pt x="925" y="338"/>
                  </a:cubicBezTo>
                  <a:cubicBezTo>
                    <a:pt x="928" y="336"/>
                    <a:pt x="931" y="334"/>
                    <a:pt x="934" y="333"/>
                  </a:cubicBezTo>
                  <a:cubicBezTo>
                    <a:pt x="936" y="331"/>
                    <a:pt x="939" y="330"/>
                    <a:pt x="942" y="329"/>
                  </a:cubicBezTo>
                  <a:cubicBezTo>
                    <a:pt x="943" y="328"/>
                    <a:pt x="944" y="328"/>
                    <a:pt x="945" y="328"/>
                  </a:cubicBezTo>
                  <a:cubicBezTo>
                    <a:pt x="946" y="328"/>
                    <a:pt x="946" y="328"/>
                    <a:pt x="946" y="328"/>
                  </a:cubicBezTo>
                  <a:cubicBezTo>
                    <a:pt x="947" y="328"/>
                    <a:pt x="947" y="328"/>
                    <a:pt x="948" y="328"/>
                  </a:cubicBezTo>
                  <a:cubicBezTo>
                    <a:pt x="948" y="328"/>
                    <a:pt x="948" y="328"/>
                    <a:pt x="949" y="328"/>
                  </a:cubicBezTo>
                  <a:cubicBezTo>
                    <a:pt x="952" y="328"/>
                    <a:pt x="955" y="328"/>
                    <a:pt x="958" y="328"/>
                  </a:cubicBezTo>
                  <a:cubicBezTo>
                    <a:pt x="960" y="327"/>
                    <a:pt x="961" y="325"/>
                    <a:pt x="963" y="324"/>
                  </a:cubicBezTo>
                  <a:cubicBezTo>
                    <a:pt x="961" y="323"/>
                    <a:pt x="961" y="323"/>
                    <a:pt x="961" y="323"/>
                  </a:cubicBezTo>
                  <a:cubicBezTo>
                    <a:pt x="962" y="322"/>
                    <a:pt x="962" y="322"/>
                    <a:pt x="962" y="322"/>
                  </a:cubicBezTo>
                  <a:cubicBezTo>
                    <a:pt x="962" y="321"/>
                    <a:pt x="964" y="319"/>
                    <a:pt x="964" y="319"/>
                  </a:cubicBezTo>
                  <a:cubicBezTo>
                    <a:pt x="964" y="319"/>
                    <a:pt x="964" y="319"/>
                    <a:pt x="964" y="319"/>
                  </a:cubicBezTo>
                  <a:cubicBezTo>
                    <a:pt x="968" y="316"/>
                    <a:pt x="968" y="316"/>
                    <a:pt x="968" y="316"/>
                  </a:cubicBezTo>
                  <a:cubicBezTo>
                    <a:pt x="973" y="313"/>
                    <a:pt x="977" y="310"/>
                    <a:pt x="982" y="308"/>
                  </a:cubicBezTo>
                  <a:cubicBezTo>
                    <a:pt x="983" y="307"/>
                    <a:pt x="984" y="306"/>
                    <a:pt x="985" y="305"/>
                  </a:cubicBezTo>
                  <a:cubicBezTo>
                    <a:pt x="986" y="304"/>
                    <a:pt x="986" y="304"/>
                    <a:pt x="986" y="304"/>
                  </a:cubicBezTo>
                  <a:cubicBezTo>
                    <a:pt x="988" y="302"/>
                    <a:pt x="990" y="302"/>
                    <a:pt x="991" y="302"/>
                  </a:cubicBezTo>
                  <a:cubicBezTo>
                    <a:pt x="992" y="302"/>
                    <a:pt x="993" y="302"/>
                    <a:pt x="994" y="301"/>
                  </a:cubicBezTo>
                  <a:cubicBezTo>
                    <a:pt x="994" y="301"/>
                    <a:pt x="994" y="301"/>
                    <a:pt x="994" y="301"/>
                  </a:cubicBezTo>
                  <a:cubicBezTo>
                    <a:pt x="994" y="301"/>
                    <a:pt x="995" y="301"/>
                    <a:pt x="995" y="299"/>
                  </a:cubicBezTo>
                  <a:cubicBezTo>
                    <a:pt x="996" y="299"/>
                    <a:pt x="996" y="298"/>
                    <a:pt x="997" y="298"/>
                  </a:cubicBezTo>
                  <a:cubicBezTo>
                    <a:pt x="1000" y="295"/>
                    <a:pt x="1003" y="291"/>
                    <a:pt x="1005" y="286"/>
                  </a:cubicBezTo>
                  <a:cubicBezTo>
                    <a:pt x="1006" y="285"/>
                    <a:pt x="1006" y="284"/>
                    <a:pt x="1007" y="283"/>
                  </a:cubicBezTo>
                  <a:cubicBezTo>
                    <a:pt x="1004" y="279"/>
                    <a:pt x="1004" y="279"/>
                    <a:pt x="1004" y="279"/>
                  </a:cubicBezTo>
                  <a:cubicBezTo>
                    <a:pt x="1008" y="282"/>
                    <a:pt x="1008" y="282"/>
                    <a:pt x="1008" y="282"/>
                  </a:cubicBezTo>
                  <a:cubicBezTo>
                    <a:pt x="1009" y="282"/>
                    <a:pt x="1009" y="282"/>
                    <a:pt x="1009" y="282"/>
                  </a:cubicBezTo>
                  <a:cubicBezTo>
                    <a:pt x="1009" y="281"/>
                    <a:pt x="1009" y="281"/>
                    <a:pt x="1009" y="281"/>
                  </a:cubicBezTo>
                  <a:cubicBezTo>
                    <a:pt x="1010" y="281"/>
                    <a:pt x="1011" y="281"/>
                    <a:pt x="1012" y="281"/>
                  </a:cubicBezTo>
                  <a:cubicBezTo>
                    <a:pt x="1012" y="281"/>
                    <a:pt x="1012" y="281"/>
                    <a:pt x="1012" y="281"/>
                  </a:cubicBezTo>
                  <a:cubicBezTo>
                    <a:pt x="1013" y="281"/>
                    <a:pt x="1013" y="281"/>
                    <a:pt x="1013" y="281"/>
                  </a:cubicBezTo>
                  <a:cubicBezTo>
                    <a:pt x="1013" y="281"/>
                    <a:pt x="1014" y="281"/>
                    <a:pt x="1014" y="281"/>
                  </a:cubicBezTo>
                  <a:cubicBezTo>
                    <a:pt x="1015" y="282"/>
                    <a:pt x="1015" y="282"/>
                    <a:pt x="1015" y="282"/>
                  </a:cubicBezTo>
                  <a:cubicBezTo>
                    <a:pt x="1016" y="283"/>
                    <a:pt x="1017" y="284"/>
                    <a:pt x="1018" y="285"/>
                  </a:cubicBezTo>
                  <a:cubicBezTo>
                    <a:pt x="1019" y="286"/>
                    <a:pt x="1019" y="287"/>
                    <a:pt x="1020" y="288"/>
                  </a:cubicBezTo>
                  <a:cubicBezTo>
                    <a:pt x="1021" y="288"/>
                    <a:pt x="1021" y="288"/>
                    <a:pt x="1021" y="288"/>
                  </a:cubicBezTo>
                  <a:cubicBezTo>
                    <a:pt x="1022" y="289"/>
                    <a:pt x="1026" y="289"/>
                    <a:pt x="1028" y="289"/>
                  </a:cubicBezTo>
                  <a:cubicBezTo>
                    <a:pt x="1030" y="289"/>
                    <a:pt x="1030" y="289"/>
                    <a:pt x="1030" y="289"/>
                  </a:cubicBezTo>
                  <a:cubicBezTo>
                    <a:pt x="1031" y="290"/>
                    <a:pt x="1033" y="290"/>
                    <a:pt x="1034" y="290"/>
                  </a:cubicBezTo>
                  <a:cubicBezTo>
                    <a:pt x="1034" y="290"/>
                    <a:pt x="1034" y="290"/>
                    <a:pt x="1035" y="290"/>
                  </a:cubicBezTo>
                  <a:cubicBezTo>
                    <a:pt x="1036" y="290"/>
                    <a:pt x="1036" y="290"/>
                    <a:pt x="1036" y="290"/>
                  </a:cubicBezTo>
                  <a:cubicBezTo>
                    <a:pt x="1036" y="290"/>
                    <a:pt x="1036" y="290"/>
                    <a:pt x="1036" y="290"/>
                  </a:cubicBezTo>
                  <a:cubicBezTo>
                    <a:pt x="1036" y="289"/>
                    <a:pt x="1036" y="289"/>
                    <a:pt x="1036" y="288"/>
                  </a:cubicBezTo>
                  <a:cubicBezTo>
                    <a:pt x="1036" y="288"/>
                    <a:pt x="1036" y="288"/>
                    <a:pt x="1036" y="288"/>
                  </a:cubicBezTo>
                  <a:cubicBezTo>
                    <a:pt x="1036" y="288"/>
                    <a:pt x="1036" y="288"/>
                    <a:pt x="1036" y="288"/>
                  </a:cubicBezTo>
                  <a:cubicBezTo>
                    <a:pt x="1035" y="287"/>
                    <a:pt x="1035" y="287"/>
                    <a:pt x="1035" y="287"/>
                  </a:cubicBezTo>
                  <a:cubicBezTo>
                    <a:pt x="1033" y="284"/>
                    <a:pt x="1032" y="282"/>
                    <a:pt x="1032" y="279"/>
                  </a:cubicBezTo>
                  <a:cubicBezTo>
                    <a:pt x="1032" y="276"/>
                    <a:pt x="1032" y="276"/>
                    <a:pt x="1032" y="276"/>
                  </a:cubicBezTo>
                  <a:cubicBezTo>
                    <a:pt x="1043" y="275"/>
                    <a:pt x="1043" y="275"/>
                    <a:pt x="1043" y="275"/>
                  </a:cubicBezTo>
                  <a:cubicBezTo>
                    <a:pt x="1044" y="275"/>
                    <a:pt x="1045" y="275"/>
                    <a:pt x="1046" y="275"/>
                  </a:cubicBezTo>
                  <a:cubicBezTo>
                    <a:pt x="1048" y="275"/>
                    <a:pt x="1050" y="275"/>
                    <a:pt x="1052" y="274"/>
                  </a:cubicBezTo>
                  <a:cubicBezTo>
                    <a:pt x="1052" y="274"/>
                    <a:pt x="1053" y="273"/>
                    <a:pt x="1054" y="272"/>
                  </a:cubicBezTo>
                  <a:cubicBezTo>
                    <a:pt x="1053" y="272"/>
                    <a:pt x="1053" y="272"/>
                    <a:pt x="1053" y="272"/>
                  </a:cubicBezTo>
                  <a:cubicBezTo>
                    <a:pt x="1054" y="270"/>
                    <a:pt x="1054" y="270"/>
                    <a:pt x="1054" y="270"/>
                  </a:cubicBezTo>
                  <a:cubicBezTo>
                    <a:pt x="1055" y="268"/>
                    <a:pt x="1057" y="266"/>
                    <a:pt x="1060" y="265"/>
                  </a:cubicBezTo>
                  <a:cubicBezTo>
                    <a:pt x="1060" y="265"/>
                    <a:pt x="1060" y="265"/>
                    <a:pt x="1060" y="265"/>
                  </a:cubicBezTo>
                  <a:cubicBezTo>
                    <a:pt x="1062" y="265"/>
                    <a:pt x="1063" y="264"/>
                    <a:pt x="1064" y="264"/>
                  </a:cubicBezTo>
                  <a:cubicBezTo>
                    <a:pt x="1064" y="264"/>
                    <a:pt x="1064" y="264"/>
                    <a:pt x="1064" y="264"/>
                  </a:cubicBezTo>
                  <a:cubicBezTo>
                    <a:pt x="1065" y="263"/>
                    <a:pt x="1065" y="263"/>
                    <a:pt x="1065" y="263"/>
                  </a:cubicBezTo>
                  <a:cubicBezTo>
                    <a:pt x="1065" y="262"/>
                    <a:pt x="1065" y="262"/>
                    <a:pt x="1065" y="262"/>
                  </a:cubicBezTo>
                  <a:cubicBezTo>
                    <a:pt x="1065" y="260"/>
                    <a:pt x="1065" y="256"/>
                    <a:pt x="1067" y="254"/>
                  </a:cubicBezTo>
                  <a:cubicBezTo>
                    <a:pt x="1068" y="254"/>
                    <a:pt x="1068" y="254"/>
                    <a:pt x="1068" y="254"/>
                  </a:cubicBezTo>
                  <a:cubicBezTo>
                    <a:pt x="1068" y="253"/>
                    <a:pt x="1069" y="253"/>
                    <a:pt x="1070" y="253"/>
                  </a:cubicBezTo>
                  <a:cubicBezTo>
                    <a:pt x="1071" y="253"/>
                    <a:pt x="1072" y="253"/>
                    <a:pt x="1073" y="253"/>
                  </a:cubicBezTo>
                  <a:cubicBezTo>
                    <a:pt x="1073" y="253"/>
                    <a:pt x="1076" y="254"/>
                    <a:pt x="1077" y="256"/>
                  </a:cubicBezTo>
                  <a:cubicBezTo>
                    <a:pt x="1078" y="257"/>
                    <a:pt x="1078" y="258"/>
                    <a:pt x="1079" y="259"/>
                  </a:cubicBezTo>
                  <a:cubicBezTo>
                    <a:pt x="1079" y="260"/>
                    <a:pt x="1079" y="260"/>
                    <a:pt x="1079" y="260"/>
                  </a:cubicBezTo>
                  <a:cubicBezTo>
                    <a:pt x="1082" y="258"/>
                    <a:pt x="1085" y="257"/>
                    <a:pt x="1088" y="256"/>
                  </a:cubicBezTo>
                  <a:cubicBezTo>
                    <a:pt x="1090" y="256"/>
                    <a:pt x="1091" y="256"/>
                    <a:pt x="1092" y="253"/>
                  </a:cubicBezTo>
                  <a:cubicBezTo>
                    <a:pt x="1092" y="251"/>
                    <a:pt x="1092" y="251"/>
                    <a:pt x="1092" y="251"/>
                  </a:cubicBezTo>
                  <a:cubicBezTo>
                    <a:pt x="1093" y="249"/>
                    <a:pt x="1094" y="246"/>
                    <a:pt x="1093" y="244"/>
                  </a:cubicBezTo>
                  <a:cubicBezTo>
                    <a:pt x="1093" y="243"/>
                    <a:pt x="1093" y="242"/>
                    <a:pt x="1093" y="241"/>
                  </a:cubicBezTo>
                  <a:cubicBezTo>
                    <a:pt x="1093" y="240"/>
                    <a:pt x="1093" y="240"/>
                    <a:pt x="1093" y="240"/>
                  </a:cubicBezTo>
                  <a:cubicBezTo>
                    <a:pt x="1093" y="237"/>
                    <a:pt x="1093" y="235"/>
                    <a:pt x="1093" y="232"/>
                  </a:cubicBezTo>
                  <a:cubicBezTo>
                    <a:pt x="1093" y="225"/>
                    <a:pt x="1091" y="219"/>
                    <a:pt x="1088" y="213"/>
                  </a:cubicBezTo>
                  <a:cubicBezTo>
                    <a:pt x="1087" y="211"/>
                    <a:pt x="1087" y="211"/>
                    <a:pt x="1087" y="211"/>
                  </a:cubicBezTo>
                  <a:cubicBezTo>
                    <a:pt x="1090" y="210"/>
                    <a:pt x="1090" y="210"/>
                    <a:pt x="1090" y="210"/>
                  </a:cubicBezTo>
                  <a:cubicBezTo>
                    <a:pt x="1090" y="209"/>
                    <a:pt x="1091" y="209"/>
                    <a:pt x="1092" y="209"/>
                  </a:cubicBezTo>
                  <a:cubicBezTo>
                    <a:pt x="1094" y="209"/>
                    <a:pt x="1097" y="208"/>
                    <a:pt x="1098" y="207"/>
                  </a:cubicBezTo>
                  <a:cubicBezTo>
                    <a:pt x="1099" y="206"/>
                    <a:pt x="1099" y="206"/>
                    <a:pt x="1099" y="206"/>
                  </a:cubicBezTo>
                  <a:cubicBezTo>
                    <a:pt x="1101" y="205"/>
                    <a:pt x="1102" y="204"/>
                    <a:pt x="1103" y="202"/>
                  </a:cubicBezTo>
                  <a:cubicBezTo>
                    <a:pt x="1103" y="201"/>
                    <a:pt x="1103" y="201"/>
                    <a:pt x="1103" y="201"/>
                  </a:cubicBezTo>
                  <a:cubicBezTo>
                    <a:pt x="1104" y="200"/>
                    <a:pt x="1105" y="199"/>
                    <a:pt x="1107" y="198"/>
                  </a:cubicBezTo>
                  <a:cubicBezTo>
                    <a:pt x="1107" y="198"/>
                    <a:pt x="1107" y="198"/>
                    <a:pt x="1107" y="198"/>
                  </a:cubicBezTo>
                  <a:cubicBezTo>
                    <a:pt x="1107" y="198"/>
                    <a:pt x="1107" y="198"/>
                    <a:pt x="1107" y="198"/>
                  </a:cubicBezTo>
                  <a:cubicBezTo>
                    <a:pt x="1108" y="199"/>
                    <a:pt x="1108" y="199"/>
                    <a:pt x="1109" y="199"/>
                  </a:cubicBezTo>
                  <a:cubicBezTo>
                    <a:pt x="1109" y="199"/>
                    <a:pt x="1110" y="200"/>
                    <a:pt x="1110" y="200"/>
                  </a:cubicBezTo>
                  <a:cubicBezTo>
                    <a:pt x="1111" y="201"/>
                    <a:pt x="1111" y="201"/>
                    <a:pt x="1111" y="201"/>
                  </a:cubicBezTo>
                  <a:cubicBezTo>
                    <a:pt x="1112" y="202"/>
                    <a:pt x="1115" y="202"/>
                    <a:pt x="1116" y="202"/>
                  </a:cubicBezTo>
                  <a:cubicBezTo>
                    <a:pt x="1117" y="203"/>
                    <a:pt x="1117" y="203"/>
                    <a:pt x="1117" y="203"/>
                  </a:cubicBezTo>
                  <a:cubicBezTo>
                    <a:pt x="1117" y="203"/>
                    <a:pt x="1118" y="203"/>
                    <a:pt x="1118" y="203"/>
                  </a:cubicBezTo>
                  <a:cubicBezTo>
                    <a:pt x="1119" y="203"/>
                    <a:pt x="1119" y="203"/>
                    <a:pt x="1119" y="203"/>
                  </a:cubicBezTo>
                  <a:cubicBezTo>
                    <a:pt x="1119" y="203"/>
                    <a:pt x="1120" y="203"/>
                    <a:pt x="1121" y="204"/>
                  </a:cubicBezTo>
                  <a:cubicBezTo>
                    <a:pt x="1124" y="205"/>
                    <a:pt x="1125" y="205"/>
                    <a:pt x="1125" y="205"/>
                  </a:cubicBezTo>
                  <a:cubicBezTo>
                    <a:pt x="1125" y="205"/>
                    <a:pt x="1125" y="205"/>
                    <a:pt x="1125" y="205"/>
                  </a:cubicBezTo>
                  <a:cubicBezTo>
                    <a:pt x="1126" y="205"/>
                    <a:pt x="1126" y="205"/>
                    <a:pt x="1126" y="205"/>
                  </a:cubicBezTo>
                  <a:cubicBezTo>
                    <a:pt x="1126" y="205"/>
                    <a:pt x="1126" y="205"/>
                    <a:pt x="1126" y="205"/>
                  </a:cubicBezTo>
                  <a:cubicBezTo>
                    <a:pt x="1127" y="205"/>
                    <a:pt x="1128" y="204"/>
                    <a:pt x="1128" y="204"/>
                  </a:cubicBezTo>
                  <a:cubicBezTo>
                    <a:pt x="1128" y="203"/>
                    <a:pt x="1128" y="203"/>
                    <a:pt x="1128" y="203"/>
                  </a:cubicBezTo>
                  <a:cubicBezTo>
                    <a:pt x="1128" y="202"/>
                    <a:pt x="1128" y="201"/>
                    <a:pt x="1128" y="200"/>
                  </a:cubicBezTo>
                  <a:cubicBezTo>
                    <a:pt x="1129" y="200"/>
                    <a:pt x="1129" y="200"/>
                    <a:pt x="1129" y="200"/>
                  </a:cubicBezTo>
                  <a:cubicBezTo>
                    <a:pt x="1129" y="198"/>
                    <a:pt x="1130" y="197"/>
                    <a:pt x="1131" y="196"/>
                  </a:cubicBezTo>
                  <a:cubicBezTo>
                    <a:pt x="1132" y="195"/>
                    <a:pt x="1132" y="195"/>
                    <a:pt x="1132" y="195"/>
                  </a:cubicBezTo>
                  <a:cubicBezTo>
                    <a:pt x="1133" y="194"/>
                    <a:pt x="1134" y="194"/>
                    <a:pt x="1135" y="193"/>
                  </a:cubicBezTo>
                  <a:cubicBezTo>
                    <a:pt x="1135" y="192"/>
                    <a:pt x="1135" y="192"/>
                    <a:pt x="1135" y="192"/>
                  </a:cubicBezTo>
                  <a:cubicBezTo>
                    <a:pt x="1136" y="192"/>
                    <a:pt x="1136" y="192"/>
                    <a:pt x="1136" y="192"/>
                  </a:cubicBezTo>
                  <a:cubicBezTo>
                    <a:pt x="1136" y="191"/>
                    <a:pt x="1136" y="191"/>
                    <a:pt x="1136" y="191"/>
                  </a:cubicBezTo>
                  <a:cubicBezTo>
                    <a:pt x="1136" y="189"/>
                    <a:pt x="1136" y="188"/>
                    <a:pt x="1138" y="186"/>
                  </a:cubicBezTo>
                  <a:cubicBezTo>
                    <a:pt x="1138" y="185"/>
                    <a:pt x="1139" y="184"/>
                    <a:pt x="1139" y="184"/>
                  </a:cubicBezTo>
                  <a:cubicBezTo>
                    <a:pt x="1140" y="183"/>
                    <a:pt x="1142" y="180"/>
                    <a:pt x="1142" y="180"/>
                  </a:cubicBezTo>
                  <a:cubicBezTo>
                    <a:pt x="1142" y="179"/>
                    <a:pt x="1142" y="179"/>
                    <a:pt x="1142" y="179"/>
                  </a:cubicBezTo>
                  <a:cubicBezTo>
                    <a:pt x="1143" y="178"/>
                    <a:pt x="1143" y="176"/>
                    <a:pt x="1143" y="174"/>
                  </a:cubicBezTo>
                  <a:cubicBezTo>
                    <a:pt x="1143" y="174"/>
                    <a:pt x="1143" y="174"/>
                    <a:pt x="1143" y="174"/>
                  </a:cubicBezTo>
                  <a:cubicBezTo>
                    <a:pt x="1143" y="173"/>
                    <a:pt x="1143" y="173"/>
                    <a:pt x="1143" y="173"/>
                  </a:cubicBezTo>
                  <a:cubicBezTo>
                    <a:pt x="1143" y="172"/>
                    <a:pt x="1143" y="172"/>
                    <a:pt x="1143" y="172"/>
                  </a:cubicBezTo>
                  <a:cubicBezTo>
                    <a:pt x="1144" y="171"/>
                    <a:pt x="1144" y="171"/>
                    <a:pt x="1145" y="170"/>
                  </a:cubicBezTo>
                  <a:cubicBezTo>
                    <a:pt x="1145" y="170"/>
                    <a:pt x="1145" y="170"/>
                    <a:pt x="1145" y="170"/>
                  </a:cubicBezTo>
                  <a:cubicBezTo>
                    <a:pt x="1145" y="169"/>
                    <a:pt x="1145" y="169"/>
                    <a:pt x="1145" y="169"/>
                  </a:cubicBezTo>
                  <a:cubicBezTo>
                    <a:pt x="1145" y="169"/>
                    <a:pt x="1145" y="169"/>
                    <a:pt x="1145" y="169"/>
                  </a:cubicBezTo>
                  <a:cubicBezTo>
                    <a:pt x="1146" y="168"/>
                    <a:pt x="1146" y="168"/>
                    <a:pt x="1146" y="167"/>
                  </a:cubicBezTo>
                  <a:cubicBezTo>
                    <a:pt x="1146" y="167"/>
                    <a:pt x="1146" y="166"/>
                    <a:pt x="1147" y="165"/>
                  </a:cubicBezTo>
                  <a:cubicBezTo>
                    <a:pt x="1147" y="163"/>
                    <a:pt x="1147" y="163"/>
                    <a:pt x="1147" y="163"/>
                  </a:cubicBezTo>
                  <a:cubicBezTo>
                    <a:pt x="1147" y="163"/>
                    <a:pt x="1147" y="162"/>
                    <a:pt x="1148" y="161"/>
                  </a:cubicBezTo>
                  <a:cubicBezTo>
                    <a:pt x="1148" y="161"/>
                    <a:pt x="1148" y="161"/>
                    <a:pt x="1148" y="161"/>
                  </a:cubicBezTo>
                  <a:cubicBezTo>
                    <a:pt x="1148" y="160"/>
                    <a:pt x="1148" y="159"/>
                    <a:pt x="1149" y="158"/>
                  </a:cubicBezTo>
                  <a:cubicBezTo>
                    <a:pt x="1146" y="157"/>
                    <a:pt x="1146" y="157"/>
                    <a:pt x="1146" y="157"/>
                  </a:cubicBezTo>
                  <a:cubicBezTo>
                    <a:pt x="1149" y="157"/>
                    <a:pt x="1149" y="157"/>
                    <a:pt x="1149" y="157"/>
                  </a:cubicBezTo>
                  <a:cubicBezTo>
                    <a:pt x="1149" y="157"/>
                    <a:pt x="1149" y="157"/>
                    <a:pt x="1149" y="157"/>
                  </a:cubicBezTo>
                  <a:cubicBezTo>
                    <a:pt x="1149" y="156"/>
                    <a:pt x="1149" y="155"/>
                    <a:pt x="1149" y="155"/>
                  </a:cubicBezTo>
                  <a:cubicBezTo>
                    <a:pt x="1149" y="154"/>
                    <a:pt x="1149" y="153"/>
                    <a:pt x="1150" y="152"/>
                  </a:cubicBezTo>
                  <a:cubicBezTo>
                    <a:pt x="1150" y="151"/>
                    <a:pt x="1151" y="150"/>
                    <a:pt x="1151" y="150"/>
                  </a:cubicBezTo>
                  <a:cubicBezTo>
                    <a:pt x="1152" y="149"/>
                    <a:pt x="1153" y="148"/>
                    <a:pt x="1154" y="148"/>
                  </a:cubicBezTo>
                  <a:cubicBezTo>
                    <a:pt x="1155" y="148"/>
                    <a:pt x="1155" y="148"/>
                    <a:pt x="1155" y="148"/>
                  </a:cubicBezTo>
                  <a:cubicBezTo>
                    <a:pt x="1155" y="147"/>
                    <a:pt x="1155" y="147"/>
                    <a:pt x="1155" y="147"/>
                  </a:cubicBezTo>
                  <a:cubicBezTo>
                    <a:pt x="1156" y="147"/>
                    <a:pt x="1160" y="145"/>
                    <a:pt x="1160" y="144"/>
                  </a:cubicBezTo>
                  <a:cubicBezTo>
                    <a:pt x="1160" y="143"/>
                    <a:pt x="1160" y="143"/>
                    <a:pt x="1160" y="143"/>
                  </a:cubicBezTo>
                  <a:cubicBezTo>
                    <a:pt x="1160" y="143"/>
                    <a:pt x="1159" y="142"/>
                    <a:pt x="1159" y="142"/>
                  </a:cubicBezTo>
                  <a:cubicBezTo>
                    <a:pt x="1158" y="142"/>
                    <a:pt x="1158" y="142"/>
                    <a:pt x="1158" y="142"/>
                  </a:cubicBezTo>
                  <a:cubicBezTo>
                    <a:pt x="1158" y="141"/>
                    <a:pt x="1157" y="139"/>
                    <a:pt x="1156" y="138"/>
                  </a:cubicBezTo>
                  <a:cubicBezTo>
                    <a:pt x="1156" y="134"/>
                    <a:pt x="1158" y="131"/>
                    <a:pt x="1160" y="129"/>
                  </a:cubicBezTo>
                  <a:cubicBezTo>
                    <a:pt x="1160" y="129"/>
                    <a:pt x="1160" y="129"/>
                    <a:pt x="1160" y="129"/>
                  </a:cubicBezTo>
                  <a:cubicBezTo>
                    <a:pt x="1159" y="129"/>
                    <a:pt x="1158" y="129"/>
                    <a:pt x="1158" y="129"/>
                  </a:cubicBezTo>
                  <a:cubicBezTo>
                    <a:pt x="1155" y="130"/>
                    <a:pt x="1155" y="130"/>
                    <a:pt x="1155" y="130"/>
                  </a:cubicBezTo>
                  <a:cubicBezTo>
                    <a:pt x="1155" y="130"/>
                    <a:pt x="1155" y="130"/>
                    <a:pt x="1155" y="130"/>
                  </a:cubicBezTo>
                  <a:cubicBezTo>
                    <a:pt x="1155" y="130"/>
                    <a:pt x="1154" y="130"/>
                    <a:pt x="1153" y="130"/>
                  </a:cubicBezTo>
                  <a:cubicBezTo>
                    <a:pt x="1153" y="130"/>
                    <a:pt x="1153" y="130"/>
                    <a:pt x="1153" y="130"/>
                  </a:cubicBezTo>
                  <a:cubicBezTo>
                    <a:pt x="1152" y="130"/>
                    <a:pt x="1152" y="131"/>
                    <a:pt x="1151" y="131"/>
                  </a:cubicBezTo>
                  <a:cubicBezTo>
                    <a:pt x="1149" y="131"/>
                    <a:pt x="1146" y="132"/>
                    <a:pt x="1143" y="134"/>
                  </a:cubicBezTo>
                  <a:cubicBezTo>
                    <a:pt x="1142" y="134"/>
                    <a:pt x="1142" y="134"/>
                    <a:pt x="1142" y="134"/>
                  </a:cubicBezTo>
                  <a:cubicBezTo>
                    <a:pt x="1142" y="134"/>
                    <a:pt x="1141" y="134"/>
                    <a:pt x="1141" y="135"/>
                  </a:cubicBezTo>
                  <a:cubicBezTo>
                    <a:pt x="1138" y="136"/>
                    <a:pt x="1138" y="136"/>
                    <a:pt x="1138" y="136"/>
                  </a:cubicBezTo>
                  <a:cubicBezTo>
                    <a:pt x="1136" y="137"/>
                    <a:pt x="1134" y="137"/>
                    <a:pt x="1131" y="137"/>
                  </a:cubicBezTo>
                  <a:cubicBezTo>
                    <a:pt x="1130" y="137"/>
                    <a:pt x="1128" y="138"/>
                    <a:pt x="1127" y="138"/>
                  </a:cubicBezTo>
                  <a:cubicBezTo>
                    <a:pt x="1125" y="139"/>
                    <a:pt x="1124" y="140"/>
                    <a:pt x="1123" y="141"/>
                  </a:cubicBezTo>
                  <a:cubicBezTo>
                    <a:pt x="1123" y="141"/>
                    <a:pt x="1123" y="142"/>
                    <a:pt x="1122" y="143"/>
                  </a:cubicBezTo>
                  <a:cubicBezTo>
                    <a:pt x="1122" y="144"/>
                    <a:pt x="1121" y="146"/>
                    <a:pt x="1117" y="146"/>
                  </a:cubicBezTo>
                  <a:cubicBezTo>
                    <a:pt x="1113" y="147"/>
                    <a:pt x="1109" y="147"/>
                    <a:pt x="1105" y="147"/>
                  </a:cubicBezTo>
                  <a:cubicBezTo>
                    <a:pt x="1103" y="147"/>
                    <a:pt x="1101" y="147"/>
                    <a:pt x="1099" y="147"/>
                  </a:cubicBezTo>
                  <a:cubicBezTo>
                    <a:pt x="1097" y="147"/>
                    <a:pt x="1094" y="147"/>
                    <a:pt x="1091" y="146"/>
                  </a:cubicBezTo>
                  <a:cubicBezTo>
                    <a:pt x="1090" y="146"/>
                    <a:pt x="1089" y="146"/>
                    <a:pt x="1088" y="145"/>
                  </a:cubicBezTo>
                  <a:cubicBezTo>
                    <a:pt x="1088" y="145"/>
                    <a:pt x="1088" y="145"/>
                    <a:pt x="1088" y="145"/>
                  </a:cubicBezTo>
                  <a:cubicBezTo>
                    <a:pt x="1087" y="143"/>
                    <a:pt x="1087" y="143"/>
                    <a:pt x="1087" y="143"/>
                  </a:cubicBezTo>
                  <a:cubicBezTo>
                    <a:pt x="1087" y="143"/>
                    <a:pt x="1087" y="143"/>
                    <a:pt x="1087" y="143"/>
                  </a:cubicBezTo>
                  <a:cubicBezTo>
                    <a:pt x="1087" y="142"/>
                    <a:pt x="1087" y="142"/>
                    <a:pt x="1087" y="142"/>
                  </a:cubicBezTo>
                  <a:cubicBezTo>
                    <a:pt x="1086" y="141"/>
                    <a:pt x="1086" y="141"/>
                    <a:pt x="1086" y="141"/>
                  </a:cubicBezTo>
                  <a:cubicBezTo>
                    <a:pt x="1086" y="140"/>
                    <a:pt x="1086" y="140"/>
                    <a:pt x="1086" y="140"/>
                  </a:cubicBezTo>
                  <a:cubicBezTo>
                    <a:pt x="1085" y="140"/>
                    <a:pt x="1085" y="140"/>
                    <a:pt x="1085" y="140"/>
                  </a:cubicBezTo>
                  <a:cubicBezTo>
                    <a:pt x="1085" y="139"/>
                    <a:pt x="1085" y="139"/>
                    <a:pt x="1085" y="139"/>
                  </a:cubicBezTo>
                  <a:cubicBezTo>
                    <a:pt x="1081" y="136"/>
                    <a:pt x="1082" y="134"/>
                    <a:pt x="1084" y="131"/>
                  </a:cubicBezTo>
                  <a:cubicBezTo>
                    <a:pt x="1084" y="130"/>
                    <a:pt x="1084" y="130"/>
                    <a:pt x="1084" y="130"/>
                  </a:cubicBezTo>
                  <a:cubicBezTo>
                    <a:pt x="1084" y="130"/>
                    <a:pt x="1084" y="130"/>
                    <a:pt x="1084" y="130"/>
                  </a:cubicBezTo>
                  <a:cubicBezTo>
                    <a:pt x="1085" y="129"/>
                    <a:pt x="1085" y="129"/>
                    <a:pt x="1085" y="129"/>
                  </a:cubicBezTo>
                  <a:cubicBezTo>
                    <a:pt x="1085" y="129"/>
                    <a:pt x="1085" y="129"/>
                    <a:pt x="1085" y="129"/>
                  </a:cubicBezTo>
                  <a:cubicBezTo>
                    <a:pt x="1085" y="128"/>
                    <a:pt x="1085" y="128"/>
                    <a:pt x="1085" y="128"/>
                  </a:cubicBezTo>
                  <a:cubicBezTo>
                    <a:pt x="1084" y="128"/>
                    <a:pt x="1084" y="127"/>
                    <a:pt x="1084" y="127"/>
                  </a:cubicBezTo>
                  <a:cubicBezTo>
                    <a:pt x="1083" y="126"/>
                    <a:pt x="1083" y="126"/>
                    <a:pt x="1083" y="126"/>
                  </a:cubicBezTo>
                  <a:cubicBezTo>
                    <a:pt x="1082" y="126"/>
                    <a:pt x="1081" y="125"/>
                    <a:pt x="1080" y="124"/>
                  </a:cubicBezTo>
                  <a:cubicBezTo>
                    <a:pt x="1080" y="123"/>
                    <a:pt x="1080" y="122"/>
                    <a:pt x="1080" y="121"/>
                  </a:cubicBezTo>
                  <a:cubicBezTo>
                    <a:pt x="1080" y="121"/>
                    <a:pt x="1080" y="121"/>
                    <a:pt x="1080" y="121"/>
                  </a:cubicBezTo>
                  <a:cubicBezTo>
                    <a:pt x="1080" y="120"/>
                    <a:pt x="1080" y="120"/>
                    <a:pt x="1080" y="120"/>
                  </a:cubicBezTo>
                  <a:cubicBezTo>
                    <a:pt x="1080" y="118"/>
                    <a:pt x="1080" y="118"/>
                    <a:pt x="1080" y="118"/>
                  </a:cubicBezTo>
                  <a:cubicBezTo>
                    <a:pt x="1079" y="118"/>
                    <a:pt x="1079" y="118"/>
                    <a:pt x="1079" y="118"/>
                  </a:cubicBezTo>
                  <a:cubicBezTo>
                    <a:pt x="1078" y="118"/>
                    <a:pt x="1078" y="118"/>
                    <a:pt x="1078" y="118"/>
                  </a:cubicBezTo>
                  <a:cubicBezTo>
                    <a:pt x="1077" y="118"/>
                    <a:pt x="1077" y="118"/>
                    <a:pt x="1077" y="118"/>
                  </a:cubicBezTo>
                  <a:cubicBezTo>
                    <a:pt x="1077" y="118"/>
                    <a:pt x="1077" y="118"/>
                    <a:pt x="1077" y="118"/>
                  </a:cubicBezTo>
                  <a:cubicBezTo>
                    <a:pt x="1077" y="118"/>
                    <a:pt x="1077" y="118"/>
                    <a:pt x="1076" y="118"/>
                  </a:cubicBezTo>
                  <a:cubicBezTo>
                    <a:pt x="1076" y="118"/>
                    <a:pt x="1076" y="118"/>
                    <a:pt x="1076" y="118"/>
                  </a:cubicBezTo>
                  <a:cubicBezTo>
                    <a:pt x="1074" y="117"/>
                    <a:pt x="1074" y="117"/>
                    <a:pt x="1074" y="117"/>
                  </a:cubicBezTo>
                  <a:cubicBezTo>
                    <a:pt x="1060" y="104"/>
                    <a:pt x="1060" y="104"/>
                    <a:pt x="1060" y="104"/>
                  </a:cubicBezTo>
                  <a:cubicBezTo>
                    <a:pt x="1059" y="105"/>
                    <a:pt x="1059" y="105"/>
                    <a:pt x="1059" y="105"/>
                  </a:cubicBezTo>
                  <a:cubicBezTo>
                    <a:pt x="1058" y="105"/>
                    <a:pt x="1058" y="105"/>
                    <a:pt x="1057" y="106"/>
                  </a:cubicBezTo>
                  <a:cubicBezTo>
                    <a:pt x="1057" y="106"/>
                    <a:pt x="1057" y="106"/>
                    <a:pt x="1057" y="106"/>
                  </a:cubicBezTo>
                  <a:cubicBezTo>
                    <a:pt x="1050" y="103"/>
                    <a:pt x="1050" y="103"/>
                    <a:pt x="1050" y="103"/>
                  </a:cubicBezTo>
                  <a:cubicBezTo>
                    <a:pt x="1049" y="103"/>
                    <a:pt x="1049" y="102"/>
                    <a:pt x="1048" y="102"/>
                  </a:cubicBezTo>
                  <a:cubicBezTo>
                    <a:pt x="1047" y="102"/>
                    <a:pt x="1047" y="102"/>
                    <a:pt x="1047" y="102"/>
                  </a:cubicBezTo>
                  <a:cubicBezTo>
                    <a:pt x="1046" y="101"/>
                    <a:pt x="1044" y="100"/>
                    <a:pt x="1043" y="100"/>
                  </a:cubicBezTo>
                  <a:cubicBezTo>
                    <a:pt x="1042" y="100"/>
                    <a:pt x="1042" y="100"/>
                    <a:pt x="1042" y="100"/>
                  </a:cubicBezTo>
                  <a:cubicBezTo>
                    <a:pt x="1033" y="100"/>
                    <a:pt x="1033" y="100"/>
                    <a:pt x="1033" y="100"/>
                  </a:cubicBezTo>
                  <a:cubicBezTo>
                    <a:pt x="1031" y="100"/>
                    <a:pt x="1029" y="100"/>
                    <a:pt x="1027" y="98"/>
                  </a:cubicBezTo>
                  <a:cubicBezTo>
                    <a:pt x="1025" y="95"/>
                    <a:pt x="1025" y="95"/>
                    <a:pt x="1025" y="95"/>
                  </a:cubicBezTo>
                  <a:cubicBezTo>
                    <a:pt x="1023" y="91"/>
                    <a:pt x="1023" y="91"/>
                    <a:pt x="1023" y="91"/>
                  </a:cubicBezTo>
                  <a:cubicBezTo>
                    <a:pt x="1022" y="90"/>
                    <a:pt x="1022" y="88"/>
                    <a:pt x="1022" y="86"/>
                  </a:cubicBezTo>
                  <a:cubicBezTo>
                    <a:pt x="1022" y="85"/>
                    <a:pt x="1022" y="85"/>
                    <a:pt x="1022" y="85"/>
                  </a:cubicBezTo>
                  <a:cubicBezTo>
                    <a:pt x="1023" y="84"/>
                    <a:pt x="1023" y="84"/>
                    <a:pt x="1023" y="84"/>
                  </a:cubicBezTo>
                  <a:cubicBezTo>
                    <a:pt x="1023" y="83"/>
                    <a:pt x="1023" y="83"/>
                    <a:pt x="1023" y="83"/>
                  </a:cubicBezTo>
                  <a:cubicBezTo>
                    <a:pt x="1023" y="83"/>
                    <a:pt x="1023" y="83"/>
                    <a:pt x="1023" y="83"/>
                  </a:cubicBezTo>
                  <a:cubicBezTo>
                    <a:pt x="1023" y="83"/>
                    <a:pt x="1023" y="83"/>
                    <a:pt x="1022" y="82"/>
                  </a:cubicBezTo>
                  <a:cubicBezTo>
                    <a:pt x="1021" y="81"/>
                    <a:pt x="1021" y="80"/>
                    <a:pt x="1020" y="79"/>
                  </a:cubicBezTo>
                  <a:cubicBezTo>
                    <a:pt x="1015" y="67"/>
                    <a:pt x="1015" y="67"/>
                    <a:pt x="1015" y="67"/>
                  </a:cubicBezTo>
                  <a:cubicBezTo>
                    <a:pt x="1013" y="65"/>
                    <a:pt x="1013" y="65"/>
                    <a:pt x="1013" y="65"/>
                  </a:cubicBezTo>
                  <a:cubicBezTo>
                    <a:pt x="1013" y="64"/>
                    <a:pt x="1013" y="64"/>
                    <a:pt x="1013" y="64"/>
                  </a:cubicBezTo>
                  <a:cubicBezTo>
                    <a:pt x="1012" y="58"/>
                    <a:pt x="1012" y="58"/>
                    <a:pt x="1012" y="58"/>
                  </a:cubicBezTo>
                  <a:cubicBezTo>
                    <a:pt x="1012" y="58"/>
                    <a:pt x="1012" y="58"/>
                    <a:pt x="1012" y="58"/>
                  </a:cubicBezTo>
                  <a:cubicBezTo>
                    <a:pt x="1011" y="58"/>
                    <a:pt x="1009" y="57"/>
                    <a:pt x="1008" y="55"/>
                  </a:cubicBezTo>
                  <a:cubicBezTo>
                    <a:pt x="1008" y="55"/>
                    <a:pt x="1008" y="55"/>
                    <a:pt x="1008" y="55"/>
                  </a:cubicBezTo>
                  <a:cubicBezTo>
                    <a:pt x="1008" y="55"/>
                    <a:pt x="1008" y="55"/>
                    <a:pt x="1008" y="55"/>
                  </a:cubicBezTo>
                  <a:cubicBezTo>
                    <a:pt x="1007" y="52"/>
                    <a:pt x="1007" y="52"/>
                    <a:pt x="1007" y="52"/>
                  </a:cubicBezTo>
                  <a:cubicBezTo>
                    <a:pt x="1005" y="48"/>
                    <a:pt x="1004" y="44"/>
                    <a:pt x="1002" y="41"/>
                  </a:cubicBezTo>
                  <a:cubicBezTo>
                    <a:pt x="1002" y="40"/>
                    <a:pt x="1002" y="40"/>
                    <a:pt x="1002" y="40"/>
                  </a:cubicBezTo>
                  <a:cubicBezTo>
                    <a:pt x="1001" y="38"/>
                    <a:pt x="1001" y="37"/>
                    <a:pt x="1002" y="36"/>
                  </a:cubicBezTo>
                  <a:cubicBezTo>
                    <a:pt x="1002" y="35"/>
                    <a:pt x="1002" y="35"/>
                    <a:pt x="1002" y="35"/>
                  </a:cubicBezTo>
                  <a:cubicBezTo>
                    <a:pt x="1002" y="35"/>
                    <a:pt x="1002" y="35"/>
                    <a:pt x="1002" y="35"/>
                  </a:cubicBezTo>
                  <a:cubicBezTo>
                    <a:pt x="1002" y="34"/>
                    <a:pt x="1002" y="34"/>
                    <a:pt x="1002" y="34"/>
                  </a:cubicBezTo>
                  <a:cubicBezTo>
                    <a:pt x="1002" y="34"/>
                    <a:pt x="1002" y="34"/>
                    <a:pt x="1002" y="34"/>
                  </a:cubicBezTo>
                  <a:cubicBezTo>
                    <a:pt x="1001" y="32"/>
                    <a:pt x="998" y="29"/>
                    <a:pt x="997" y="27"/>
                  </a:cubicBezTo>
                  <a:cubicBezTo>
                    <a:pt x="996" y="27"/>
                    <a:pt x="996" y="27"/>
                    <a:pt x="996" y="27"/>
                  </a:cubicBezTo>
                  <a:cubicBezTo>
                    <a:pt x="996" y="27"/>
                    <a:pt x="995" y="26"/>
                    <a:pt x="995" y="26"/>
                  </a:cubicBezTo>
                  <a:cubicBezTo>
                    <a:pt x="993" y="24"/>
                    <a:pt x="993" y="24"/>
                    <a:pt x="993" y="24"/>
                  </a:cubicBezTo>
                  <a:cubicBezTo>
                    <a:pt x="992" y="22"/>
                    <a:pt x="992" y="20"/>
                    <a:pt x="994" y="19"/>
                  </a:cubicBezTo>
                  <a:cubicBezTo>
                    <a:pt x="994" y="19"/>
                    <a:pt x="994" y="19"/>
                    <a:pt x="994" y="19"/>
                  </a:cubicBezTo>
                  <a:cubicBezTo>
                    <a:pt x="994" y="18"/>
                    <a:pt x="994" y="18"/>
                    <a:pt x="994" y="18"/>
                  </a:cubicBezTo>
                  <a:cubicBezTo>
                    <a:pt x="993" y="18"/>
                    <a:pt x="993" y="18"/>
                    <a:pt x="992" y="17"/>
                  </a:cubicBezTo>
                  <a:cubicBezTo>
                    <a:pt x="992" y="17"/>
                    <a:pt x="992" y="17"/>
                    <a:pt x="992" y="17"/>
                  </a:cubicBezTo>
                  <a:cubicBezTo>
                    <a:pt x="987" y="13"/>
                    <a:pt x="987" y="13"/>
                    <a:pt x="987" y="13"/>
                  </a:cubicBezTo>
                  <a:cubicBezTo>
                    <a:pt x="987" y="13"/>
                    <a:pt x="987" y="13"/>
                    <a:pt x="987" y="13"/>
                  </a:cubicBezTo>
                  <a:cubicBezTo>
                    <a:pt x="986" y="12"/>
                    <a:pt x="986" y="12"/>
                    <a:pt x="986" y="12"/>
                  </a:cubicBezTo>
                  <a:cubicBezTo>
                    <a:pt x="983" y="11"/>
                    <a:pt x="983" y="11"/>
                    <a:pt x="983" y="11"/>
                  </a:cubicBezTo>
                  <a:cubicBezTo>
                    <a:pt x="982" y="11"/>
                    <a:pt x="982" y="11"/>
                    <a:pt x="982" y="11"/>
                  </a:cubicBezTo>
                  <a:cubicBezTo>
                    <a:pt x="982" y="11"/>
                    <a:pt x="982" y="11"/>
                    <a:pt x="982" y="11"/>
                  </a:cubicBezTo>
                  <a:cubicBezTo>
                    <a:pt x="981" y="10"/>
                    <a:pt x="981" y="10"/>
                    <a:pt x="981" y="10"/>
                  </a:cubicBezTo>
                  <a:cubicBezTo>
                    <a:pt x="980" y="10"/>
                    <a:pt x="980" y="10"/>
                    <a:pt x="980" y="10"/>
                  </a:cubicBezTo>
                  <a:cubicBezTo>
                    <a:pt x="980" y="10"/>
                    <a:pt x="980" y="10"/>
                    <a:pt x="980" y="10"/>
                  </a:cubicBezTo>
                  <a:cubicBezTo>
                    <a:pt x="979" y="9"/>
                    <a:pt x="979" y="9"/>
                    <a:pt x="978" y="9"/>
                  </a:cubicBezTo>
                  <a:cubicBezTo>
                    <a:pt x="978" y="9"/>
                    <a:pt x="978" y="9"/>
                    <a:pt x="978" y="9"/>
                  </a:cubicBezTo>
                  <a:cubicBezTo>
                    <a:pt x="978" y="9"/>
                    <a:pt x="977" y="9"/>
                    <a:pt x="976" y="9"/>
                  </a:cubicBezTo>
                  <a:cubicBezTo>
                    <a:pt x="975" y="9"/>
                    <a:pt x="975" y="9"/>
                    <a:pt x="975" y="9"/>
                  </a:cubicBezTo>
                  <a:cubicBezTo>
                    <a:pt x="975" y="10"/>
                    <a:pt x="975" y="10"/>
                    <a:pt x="975" y="10"/>
                  </a:cubicBezTo>
                  <a:cubicBezTo>
                    <a:pt x="974" y="10"/>
                    <a:pt x="974" y="10"/>
                    <a:pt x="974" y="10"/>
                  </a:cubicBezTo>
                  <a:cubicBezTo>
                    <a:pt x="969" y="9"/>
                    <a:pt x="969" y="9"/>
                    <a:pt x="969" y="9"/>
                  </a:cubicBezTo>
                  <a:cubicBezTo>
                    <a:pt x="969" y="9"/>
                    <a:pt x="969" y="9"/>
                    <a:pt x="968" y="9"/>
                  </a:cubicBezTo>
                  <a:cubicBezTo>
                    <a:pt x="968" y="9"/>
                    <a:pt x="968" y="9"/>
                    <a:pt x="968" y="9"/>
                  </a:cubicBezTo>
                  <a:cubicBezTo>
                    <a:pt x="958" y="4"/>
                    <a:pt x="958" y="4"/>
                    <a:pt x="958" y="4"/>
                  </a:cubicBezTo>
                  <a:cubicBezTo>
                    <a:pt x="956" y="3"/>
                    <a:pt x="953" y="1"/>
                    <a:pt x="951" y="1"/>
                  </a:cubicBezTo>
                  <a:cubicBezTo>
                    <a:pt x="949" y="0"/>
                    <a:pt x="949" y="0"/>
                    <a:pt x="949" y="0"/>
                  </a:cubicBezTo>
                  <a:cubicBezTo>
                    <a:pt x="948" y="0"/>
                    <a:pt x="948" y="0"/>
                    <a:pt x="948" y="0"/>
                  </a:cubicBezTo>
                  <a:cubicBezTo>
                    <a:pt x="946" y="0"/>
                    <a:pt x="946" y="0"/>
                    <a:pt x="946" y="0"/>
                  </a:cubicBezTo>
                  <a:cubicBezTo>
                    <a:pt x="944" y="0"/>
                    <a:pt x="944" y="0"/>
                    <a:pt x="9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Freeform 413">
              <a:extLst>
                <a:ext uri="{FF2B5EF4-FFF2-40B4-BE49-F238E27FC236}">
                  <a16:creationId xmlns:a16="http://schemas.microsoft.com/office/drawing/2014/main" id="{1B7AE923-7E30-49F7-8954-9A61B59E966C}"/>
                </a:ext>
              </a:extLst>
            </p:cNvPr>
            <p:cNvSpPr>
              <a:spLocks/>
            </p:cNvSpPr>
            <p:nvPr/>
          </p:nvSpPr>
          <p:spPr bwMode="auto">
            <a:xfrm>
              <a:off x="3870520" y="4906197"/>
              <a:ext cx="569437" cy="478657"/>
            </a:xfrm>
            <a:custGeom>
              <a:avLst/>
              <a:gdLst>
                <a:gd name="T0" fmla="*/ 136 w 175"/>
                <a:gd name="T1" fmla="*/ 7 h 147"/>
                <a:gd name="T2" fmla="*/ 128 w 175"/>
                <a:gd name="T3" fmla="*/ 5 h 147"/>
                <a:gd name="T4" fmla="*/ 118 w 175"/>
                <a:gd name="T5" fmla="*/ 8 h 147"/>
                <a:gd name="T6" fmla="*/ 101 w 175"/>
                <a:gd name="T7" fmla="*/ 16 h 147"/>
                <a:gd name="T8" fmla="*/ 97 w 175"/>
                <a:gd name="T9" fmla="*/ 21 h 147"/>
                <a:gd name="T10" fmla="*/ 92 w 175"/>
                <a:gd name="T11" fmla="*/ 24 h 147"/>
                <a:gd name="T12" fmla="*/ 90 w 175"/>
                <a:gd name="T13" fmla="*/ 29 h 147"/>
                <a:gd name="T14" fmla="*/ 71 w 175"/>
                <a:gd name="T15" fmla="*/ 34 h 147"/>
                <a:gd name="T16" fmla="*/ 70 w 175"/>
                <a:gd name="T17" fmla="*/ 35 h 147"/>
                <a:gd name="T18" fmla="*/ 77 w 175"/>
                <a:gd name="T19" fmla="*/ 45 h 147"/>
                <a:gd name="T20" fmla="*/ 73 w 175"/>
                <a:gd name="T21" fmla="*/ 54 h 147"/>
                <a:gd name="T22" fmla="*/ 70 w 175"/>
                <a:gd name="T23" fmla="*/ 53 h 147"/>
                <a:gd name="T24" fmla="*/ 59 w 175"/>
                <a:gd name="T25" fmla="*/ 54 h 147"/>
                <a:gd name="T26" fmla="*/ 50 w 175"/>
                <a:gd name="T27" fmla="*/ 54 h 147"/>
                <a:gd name="T28" fmla="*/ 41 w 175"/>
                <a:gd name="T29" fmla="*/ 53 h 147"/>
                <a:gd name="T30" fmla="*/ 28 w 175"/>
                <a:gd name="T31" fmla="*/ 54 h 147"/>
                <a:gd name="T32" fmla="*/ 20 w 175"/>
                <a:gd name="T33" fmla="*/ 53 h 147"/>
                <a:gd name="T34" fmla="*/ 8 w 175"/>
                <a:gd name="T35" fmla="*/ 45 h 147"/>
                <a:gd name="T36" fmla="*/ 12 w 175"/>
                <a:gd name="T37" fmla="*/ 40 h 147"/>
                <a:gd name="T38" fmla="*/ 13 w 175"/>
                <a:gd name="T39" fmla="*/ 30 h 147"/>
                <a:gd name="T40" fmla="*/ 10 w 175"/>
                <a:gd name="T41" fmla="*/ 27 h 147"/>
                <a:gd name="T42" fmla="*/ 1 w 175"/>
                <a:gd name="T43" fmla="*/ 45 h 147"/>
                <a:gd name="T44" fmla="*/ 4 w 175"/>
                <a:gd name="T45" fmla="*/ 52 h 147"/>
                <a:gd name="T46" fmla="*/ 11 w 175"/>
                <a:gd name="T47" fmla="*/ 58 h 147"/>
                <a:gd name="T48" fmla="*/ 19 w 175"/>
                <a:gd name="T49" fmla="*/ 58 h 147"/>
                <a:gd name="T50" fmla="*/ 25 w 175"/>
                <a:gd name="T51" fmla="*/ 66 h 147"/>
                <a:gd name="T52" fmla="*/ 34 w 175"/>
                <a:gd name="T53" fmla="*/ 66 h 147"/>
                <a:gd name="T54" fmla="*/ 35 w 175"/>
                <a:gd name="T55" fmla="*/ 80 h 147"/>
                <a:gd name="T56" fmla="*/ 44 w 175"/>
                <a:gd name="T57" fmla="*/ 83 h 147"/>
                <a:gd name="T58" fmla="*/ 50 w 175"/>
                <a:gd name="T59" fmla="*/ 83 h 147"/>
                <a:gd name="T60" fmla="*/ 58 w 175"/>
                <a:gd name="T61" fmla="*/ 82 h 147"/>
                <a:gd name="T62" fmla="*/ 74 w 175"/>
                <a:gd name="T63" fmla="*/ 83 h 147"/>
                <a:gd name="T64" fmla="*/ 85 w 175"/>
                <a:gd name="T65" fmla="*/ 89 h 147"/>
                <a:gd name="T66" fmla="*/ 79 w 175"/>
                <a:gd name="T67" fmla="*/ 100 h 147"/>
                <a:gd name="T68" fmla="*/ 75 w 175"/>
                <a:gd name="T69" fmla="*/ 103 h 147"/>
                <a:gd name="T70" fmla="*/ 69 w 175"/>
                <a:gd name="T71" fmla="*/ 107 h 147"/>
                <a:gd name="T72" fmla="*/ 61 w 175"/>
                <a:gd name="T73" fmla="*/ 115 h 147"/>
                <a:gd name="T74" fmla="*/ 65 w 175"/>
                <a:gd name="T75" fmla="*/ 122 h 147"/>
                <a:gd name="T76" fmla="*/ 70 w 175"/>
                <a:gd name="T77" fmla="*/ 121 h 147"/>
                <a:gd name="T78" fmla="*/ 79 w 175"/>
                <a:gd name="T79" fmla="*/ 112 h 147"/>
                <a:gd name="T80" fmla="*/ 89 w 175"/>
                <a:gd name="T81" fmla="*/ 126 h 147"/>
                <a:gd name="T82" fmla="*/ 88 w 175"/>
                <a:gd name="T83" fmla="*/ 147 h 147"/>
                <a:gd name="T84" fmla="*/ 94 w 175"/>
                <a:gd name="T85" fmla="*/ 127 h 147"/>
                <a:gd name="T86" fmla="*/ 100 w 175"/>
                <a:gd name="T87" fmla="*/ 106 h 147"/>
                <a:gd name="T88" fmla="*/ 130 w 175"/>
                <a:gd name="T89" fmla="*/ 72 h 147"/>
                <a:gd name="T90" fmla="*/ 142 w 175"/>
                <a:gd name="T91" fmla="*/ 49 h 147"/>
                <a:gd name="T92" fmla="*/ 166 w 175"/>
                <a:gd name="T93" fmla="*/ 38 h 147"/>
                <a:gd name="T94" fmla="*/ 174 w 175"/>
                <a:gd name="T95" fmla="*/ 24 h 147"/>
                <a:gd name="T96" fmla="*/ 167 w 175"/>
                <a:gd name="T97" fmla="*/ 21 h 147"/>
                <a:gd name="T98" fmla="*/ 160 w 175"/>
                <a:gd name="T99" fmla="*/ 22 h 147"/>
                <a:gd name="T100" fmla="*/ 155 w 175"/>
                <a:gd name="T101" fmla="*/ 16 h 147"/>
                <a:gd name="T102" fmla="*/ 160 w 175"/>
                <a:gd name="T103" fmla="*/ 10 h 147"/>
                <a:gd name="T104" fmla="*/ 152 w 175"/>
                <a:gd name="T105" fmla="*/ 13 h 147"/>
                <a:gd name="T106" fmla="*/ 153 w 175"/>
                <a:gd name="T107"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5" h="147">
                  <a:moveTo>
                    <a:pt x="152" y="0"/>
                  </a:moveTo>
                  <a:cubicBezTo>
                    <a:pt x="151" y="0"/>
                    <a:pt x="149" y="1"/>
                    <a:pt x="144" y="5"/>
                  </a:cubicBezTo>
                  <a:cubicBezTo>
                    <a:pt x="143" y="6"/>
                    <a:pt x="143" y="6"/>
                    <a:pt x="143" y="6"/>
                  </a:cubicBezTo>
                  <a:cubicBezTo>
                    <a:pt x="142" y="6"/>
                    <a:pt x="142" y="7"/>
                    <a:pt x="141" y="7"/>
                  </a:cubicBezTo>
                  <a:cubicBezTo>
                    <a:pt x="141" y="8"/>
                    <a:pt x="140" y="8"/>
                    <a:pt x="139" y="8"/>
                  </a:cubicBezTo>
                  <a:cubicBezTo>
                    <a:pt x="138" y="8"/>
                    <a:pt x="137" y="8"/>
                    <a:pt x="136" y="7"/>
                  </a:cubicBezTo>
                  <a:cubicBezTo>
                    <a:pt x="135" y="7"/>
                    <a:pt x="135" y="7"/>
                    <a:pt x="134" y="6"/>
                  </a:cubicBezTo>
                  <a:cubicBezTo>
                    <a:pt x="134" y="6"/>
                    <a:pt x="134" y="6"/>
                    <a:pt x="134" y="6"/>
                  </a:cubicBezTo>
                  <a:cubicBezTo>
                    <a:pt x="133" y="6"/>
                    <a:pt x="133" y="6"/>
                    <a:pt x="132" y="6"/>
                  </a:cubicBezTo>
                  <a:cubicBezTo>
                    <a:pt x="131" y="5"/>
                    <a:pt x="131" y="5"/>
                    <a:pt x="131" y="5"/>
                  </a:cubicBezTo>
                  <a:cubicBezTo>
                    <a:pt x="131" y="5"/>
                    <a:pt x="131" y="5"/>
                    <a:pt x="131" y="5"/>
                  </a:cubicBezTo>
                  <a:cubicBezTo>
                    <a:pt x="130" y="5"/>
                    <a:pt x="129" y="5"/>
                    <a:pt x="128" y="5"/>
                  </a:cubicBezTo>
                  <a:cubicBezTo>
                    <a:pt x="127" y="4"/>
                    <a:pt x="126" y="4"/>
                    <a:pt x="126" y="3"/>
                  </a:cubicBezTo>
                  <a:cubicBezTo>
                    <a:pt x="125" y="3"/>
                    <a:pt x="125" y="3"/>
                    <a:pt x="125" y="3"/>
                  </a:cubicBezTo>
                  <a:cubicBezTo>
                    <a:pt x="125" y="2"/>
                    <a:pt x="125" y="2"/>
                    <a:pt x="125" y="2"/>
                  </a:cubicBezTo>
                  <a:cubicBezTo>
                    <a:pt x="124" y="3"/>
                    <a:pt x="124" y="3"/>
                    <a:pt x="124" y="3"/>
                  </a:cubicBezTo>
                  <a:cubicBezTo>
                    <a:pt x="123" y="4"/>
                    <a:pt x="123" y="4"/>
                    <a:pt x="122" y="5"/>
                  </a:cubicBezTo>
                  <a:cubicBezTo>
                    <a:pt x="120" y="6"/>
                    <a:pt x="119" y="7"/>
                    <a:pt x="118" y="8"/>
                  </a:cubicBezTo>
                  <a:cubicBezTo>
                    <a:pt x="117" y="8"/>
                    <a:pt x="117" y="8"/>
                    <a:pt x="117" y="8"/>
                  </a:cubicBezTo>
                  <a:cubicBezTo>
                    <a:pt x="117" y="8"/>
                    <a:pt x="117" y="9"/>
                    <a:pt x="116" y="9"/>
                  </a:cubicBezTo>
                  <a:cubicBezTo>
                    <a:pt x="115" y="11"/>
                    <a:pt x="113" y="12"/>
                    <a:pt x="111" y="13"/>
                  </a:cubicBezTo>
                  <a:cubicBezTo>
                    <a:pt x="108" y="14"/>
                    <a:pt x="108" y="14"/>
                    <a:pt x="108" y="14"/>
                  </a:cubicBezTo>
                  <a:cubicBezTo>
                    <a:pt x="106" y="14"/>
                    <a:pt x="104" y="15"/>
                    <a:pt x="102" y="16"/>
                  </a:cubicBezTo>
                  <a:cubicBezTo>
                    <a:pt x="102" y="16"/>
                    <a:pt x="101" y="16"/>
                    <a:pt x="101" y="16"/>
                  </a:cubicBezTo>
                  <a:cubicBezTo>
                    <a:pt x="100" y="16"/>
                    <a:pt x="100" y="16"/>
                    <a:pt x="100" y="16"/>
                  </a:cubicBezTo>
                  <a:cubicBezTo>
                    <a:pt x="100" y="16"/>
                    <a:pt x="99" y="16"/>
                    <a:pt x="99" y="17"/>
                  </a:cubicBezTo>
                  <a:cubicBezTo>
                    <a:pt x="98" y="19"/>
                    <a:pt x="98" y="19"/>
                    <a:pt x="98" y="19"/>
                  </a:cubicBezTo>
                  <a:cubicBezTo>
                    <a:pt x="98" y="19"/>
                    <a:pt x="98" y="20"/>
                    <a:pt x="98" y="20"/>
                  </a:cubicBezTo>
                  <a:cubicBezTo>
                    <a:pt x="97" y="21"/>
                    <a:pt x="97" y="21"/>
                    <a:pt x="97" y="21"/>
                  </a:cubicBezTo>
                  <a:cubicBezTo>
                    <a:pt x="97" y="21"/>
                    <a:pt x="97" y="21"/>
                    <a:pt x="97" y="21"/>
                  </a:cubicBezTo>
                  <a:cubicBezTo>
                    <a:pt x="96" y="22"/>
                    <a:pt x="96" y="22"/>
                    <a:pt x="96" y="22"/>
                  </a:cubicBezTo>
                  <a:cubicBezTo>
                    <a:pt x="96" y="22"/>
                    <a:pt x="96" y="22"/>
                    <a:pt x="96" y="22"/>
                  </a:cubicBezTo>
                  <a:cubicBezTo>
                    <a:pt x="95" y="22"/>
                    <a:pt x="95" y="22"/>
                    <a:pt x="95" y="22"/>
                  </a:cubicBezTo>
                  <a:cubicBezTo>
                    <a:pt x="95" y="22"/>
                    <a:pt x="95" y="22"/>
                    <a:pt x="95" y="22"/>
                  </a:cubicBezTo>
                  <a:cubicBezTo>
                    <a:pt x="94" y="23"/>
                    <a:pt x="94" y="23"/>
                    <a:pt x="93" y="23"/>
                  </a:cubicBezTo>
                  <a:cubicBezTo>
                    <a:pt x="92" y="24"/>
                    <a:pt x="92" y="24"/>
                    <a:pt x="92" y="24"/>
                  </a:cubicBezTo>
                  <a:cubicBezTo>
                    <a:pt x="92" y="24"/>
                    <a:pt x="91" y="24"/>
                    <a:pt x="91" y="25"/>
                  </a:cubicBezTo>
                  <a:cubicBezTo>
                    <a:pt x="90" y="25"/>
                    <a:pt x="90" y="25"/>
                    <a:pt x="90" y="25"/>
                  </a:cubicBezTo>
                  <a:cubicBezTo>
                    <a:pt x="90" y="26"/>
                    <a:pt x="90" y="26"/>
                    <a:pt x="90" y="26"/>
                  </a:cubicBezTo>
                  <a:cubicBezTo>
                    <a:pt x="91" y="27"/>
                    <a:pt x="91" y="27"/>
                    <a:pt x="91" y="27"/>
                  </a:cubicBezTo>
                  <a:cubicBezTo>
                    <a:pt x="90" y="28"/>
                    <a:pt x="90" y="28"/>
                    <a:pt x="90" y="28"/>
                  </a:cubicBezTo>
                  <a:cubicBezTo>
                    <a:pt x="90" y="28"/>
                    <a:pt x="90" y="28"/>
                    <a:pt x="90" y="29"/>
                  </a:cubicBezTo>
                  <a:cubicBezTo>
                    <a:pt x="90" y="29"/>
                    <a:pt x="90" y="29"/>
                    <a:pt x="90" y="29"/>
                  </a:cubicBezTo>
                  <a:cubicBezTo>
                    <a:pt x="89" y="30"/>
                    <a:pt x="87" y="31"/>
                    <a:pt x="85" y="32"/>
                  </a:cubicBezTo>
                  <a:cubicBezTo>
                    <a:pt x="85" y="32"/>
                    <a:pt x="85" y="32"/>
                    <a:pt x="85" y="32"/>
                  </a:cubicBezTo>
                  <a:cubicBezTo>
                    <a:pt x="84" y="33"/>
                    <a:pt x="84" y="33"/>
                    <a:pt x="83" y="33"/>
                  </a:cubicBezTo>
                  <a:cubicBezTo>
                    <a:pt x="73" y="34"/>
                    <a:pt x="73" y="34"/>
                    <a:pt x="73" y="34"/>
                  </a:cubicBezTo>
                  <a:cubicBezTo>
                    <a:pt x="73" y="34"/>
                    <a:pt x="72" y="34"/>
                    <a:pt x="71" y="34"/>
                  </a:cubicBezTo>
                  <a:cubicBezTo>
                    <a:pt x="71" y="34"/>
                    <a:pt x="70" y="34"/>
                    <a:pt x="70" y="34"/>
                  </a:cubicBezTo>
                  <a:cubicBezTo>
                    <a:pt x="69" y="34"/>
                    <a:pt x="69" y="34"/>
                    <a:pt x="69" y="34"/>
                  </a:cubicBezTo>
                  <a:cubicBezTo>
                    <a:pt x="69" y="34"/>
                    <a:pt x="69" y="34"/>
                    <a:pt x="69" y="34"/>
                  </a:cubicBezTo>
                  <a:cubicBezTo>
                    <a:pt x="69" y="35"/>
                    <a:pt x="69" y="35"/>
                    <a:pt x="69" y="35"/>
                  </a:cubicBezTo>
                  <a:cubicBezTo>
                    <a:pt x="69" y="35"/>
                    <a:pt x="69" y="35"/>
                    <a:pt x="69" y="35"/>
                  </a:cubicBezTo>
                  <a:cubicBezTo>
                    <a:pt x="70" y="35"/>
                    <a:pt x="70" y="35"/>
                    <a:pt x="70" y="35"/>
                  </a:cubicBezTo>
                  <a:cubicBezTo>
                    <a:pt x="70" y="36"/>
                    <a:pt x="71" y="36"/>
                    <a:pt x="71" y="36"/>
                  </a:cubicBezTo>
                  <a:cubicBezTo>
                    <a:pt x="72" y="36"/>
                    <a:pt x="72" y="36"/>
                    <a:pt x="73" y="37"/>
                  </a:cubicBezTo>
                  <a:cubicBezTo>
                    <a:pt x="75" y="37"/>
                    <a:pt x="76" y="37"/>
                    <a:pt x="76" y="38"/>
                  </a:cubicBezTo>
                  <a:cubicBezTo>
                    <a:pt x="77" y="39"/>
                    <a:pt x="78" y="40"/>
                    <a:pt x="78" y="41"/>
                  </a:cubicBezTo>
                  <a:cubicBezTo>
                    <a:pt x="79" y="43"/>
                    <a:pt x="78" y="44"/>
                    <a:pt x="77" y="45"/>
                  </a:cubicBezTo>
                  <a:cubicBezTo>
                    <a:pt x="77" y="45"/>
                    <a:pt x="77" y="45"/>
                    <a:pt x="77" y="45"/>
                  </a:cubicBezTo>
                  <a:cubicBezTo>
                    <a:pt x="77" y="45"/>
                    <a:pt x="77" y="45"/>
                    <a:pt x="78" y="46"/>
                  </a:cubicBezTo>
                  <a:cubicBezTo>
                    <a:pt x="78" y="46"/>
                    <a:pt x="78" y="46"/>
                    <a:pt x="78" y="46"/>
                  </a:cubicBezTo>
                  <a:cubicBezTo>
                    <a:pt x="79" y="48"/>
                    <a:pt x="79" y="50"/>
                    <a:pt x="77" y="52"/>
                  </a:cubicBezTo>
                  <a:cubicBezTo>
                    <a:pt x="76" y="53"/>
                    <a:pt x="75" y="53"/>
                    <a:pt x="74" y="53"/>
                  </a:cubicBezTo>
                  <a:cubicBezTo>
                    <a:pt x="74" y="54"/>
                    <a:pt x="74" y="54"/>
                    <a:pt x="74" y="54"/>
                  </a:cubicBezTo>
                  <a:cubicBezTo>
                    <a:pt x="73" y="54"/>
                    <a:pt x="73" y="54"/>
                    <a:pt x="73" y="54"/>
                  </a:cubicBezTo>
                  <a:cubicBezTo>
                    <a:pt x="72" y="54"/>
                    <a:pt x="72" y="54"/>
                    <a:pt x="72" y="54"/>
                  </a:cubicBezTo>
                  <a:cubicBezTo>
                    <a:pt x="72" y="54"/>
                    <a:pt x="72" y="54"/>
                    <a:pt x="72" y="54"/>
                  </a:cubicBezTo>
                  <a:cubicBezTo>
                    <a:pt x="71" y="53"/>
                    <a:pt x="71" y="53"/>
                    <a:pt x="71" y="53"/>
                  </a:cubicBezTo>
                  <a:cubicBezTo>
                    <a:pt x="71" y="53"/>
                    <a:pt x="71" y="53"/>
                    <a:pt x="71" y="53"/>
                  </a:cubicBezTo>
                  <a:cubicBezTo>
                    <a:pt x="71" y="53"/>
                    <a:pt x="71" y="53"/>
                    <a:pt x="71" y="53"/>
                  </a:cubicBezTo>
                  <a:cubicBezTo>
                    <a:pt x="70" y="53"/>
                    <a:pt x="70" y="53"/>
                    <a:pt x="70" y="53"/>
                  </a:cubicBezTo>
                  <a:cubicBezTo>
                    <a:pt x="69" y="53"/>
                    <a:pt x="68" y="54"/>
                    <a:pt x="67" y="54"/>
                  </a:cubicBezTo>
                  <a:cubicBezTo>
                    <a:pt x="66" y="54"/>
                    <a:pt x="66" y="54"/>
                    <a:pt x="66" y="54"/>
                  </a:cubicBezTo>
                  <a:cubicBezTo>
                    <a:pt x="65" y="54"/>
                    <a:pt x="65" y="54"/>
                    <a:pt x="65" y="54"/>
                  </a:cubicBezTo>
                  <a:cubicBezTo>
                    <a:pt x="65" y="54"/>
                    <a:pt x="65" y="54"/>
                    <a:pt x="64" y="54"/>
                  </a:cubicBezTo>
                  <a:cubicBezTo>
                    <a:pt x="63" y="54"/>
                    <a:pt x="63" y="54"/>
                    <a:pt x="63" y="54"/>
                  </a:cubicBezTo>
                  <a:cubicBezTo>
                    <a:pt x="61" y="54"/>
                    <a:pt x="60" y="54"/>
                    <a:pt x="59" y="54"/>
                  </a:cubicBezTo>
                  <a:cubicBezTo>
                    <a:pt x="58" y="54"/>
                    <a:pt x="58" y="54"/>
                    <a:pt x="58" y="54"/>
                  </a:cubicBezTo>
                  <a:cubicBezTo>
                    <a:pt x="56" y="54"/>
                    <a:pt x="55" y="54"/>
                    <a:pt x="54" y="54"/>
                  </a:cubicBezTo>
                  <a:cubicBezTo>
                    <a:pt x="53" y="54"/>
                    <a:pt x="53" y="54"/>
                    <a:pt x="53" y="54"/>
                  </a:cubicBezTo>
                  <a:cubicBezTo>
                    <a:pt x="52" y="54"/>
                    <a:pt x="52" y="54"/>
                    <a:pt x="51" y="54"/>
                  </a:cubicBezTo>
                  <a:cubicBezTo>
                    <a:pt x="51" y="54"/>
                    <a:pt x="51" y="54"/>
                    <a:pt x="51" y="54"/>
                  </a:cubicBezTo>
                  <a:cubicBezTo>
                    <a:pt x="50" y="54"/>
                    <a:pt x="50" y="54"/>
                    <a:pt x="50" y="54"/>
                  </a:cubicBezTo>
                  <a:cubicBezTo>
                    <a:pt x="48" y="54"/>
                    <a:pt x="47" y="54"/>
                    <a:pt x="46" y="54"/>
                  </a:cubicBezTo>
                  <a:cubicBezTo>
                    <a:pt x="46" y="53"/>
                    <a:pt x="45" y="53"/>
                    <a:pt x="45" y="53"/>
                  </a:cubicBezTo>
                  <a:cubicBezTo>
                    <a:pt x="44" y="53"/>
                    <a:pt x="44" y="53"/>
                    <a:pt x="43" y="52"/>
                  </a:cubicBezTo>
                  <a:cubicBezTo>
                    <a:pt x="43" y="52"/>
                    <a:pt x="43" y="52"/>
                    <a:pt x="43" y="52"/>
                  </a:cubicBezTo>
                  <a:cubicBezTo>
                    <a:pt x="43" y="52"/>
                    <a:pt x="42" y="53"/>
                    <a:pt x="42" y="53"/>
                  </a:cubicBezTo>
                  <a:cubicBezTo>
                    <a:pt x="41" y="53"/>
                    <a:pt x="41" y="53"/>
                    <a:pt x="41" y="53"/>
                  </a:cubicBezTo>
                  <a:cubicBezTo>
                    <a:pt x="38" y="55"/>
                    <a:pt x="36" y="56"/>
                    <a:pt x="34" y="56"/>
                  </a:cubicBezTo>
                  <a:cubicBezTo>
                    <a:pt x="33" y="56"/>
                    <a:pt x="33" y="56"/>
                    <a:pt x="33" y="56"/>
                  </a:cubicBezTo>
                  <a:cubicBezTo>
                    <a:pt x="32" y="56"/>
                    <a:pt x="31" y="56"/>
                    <a:pt x="30" y="55"/>
                  </a:cubicBezTo>
                  <a:cubicBezTo>
                    <a:pt x="29" y="55"/>
                    <a:pt x="29" y="55"/>
                    <a:pt x="29" y="55"/>
                  </a:cubicBezTo>
                  <a:cubicBezTo>
                    <a:pt x="29" y="55"/>
                    <a:pt x="29" y="55"/>
                    <a:pt x="29" y="55"/>
                  </a:cubicBezTo>
                  <a:cubicBezTo>
                    <a:pt x="28" y="54"/>
                    <a:pt x="28" y="54"/>
                    <a:pt x="28" y="54"/>
                  </a:cubicBezTo>
                  <a:cubicBezTo>
                    <a:pt x="27" y="54"/>
                    <a:pt x="27" y="54"/>
                    <a:pt x="26" y="53"/>
                  </a:cubicBezTo>
                  <a:cubicBezTo>
                    <a:pt x="25" y="53"/>
                    <a:pt x="25" y="53"/>
                    <a:pt x="25" y="53"/>
                  </a:cubicBezTo>
                  <a:cubicBezTo>
                    <a:pt x="24" y="53"/>
                    <a:pt x="24" y="53"/>
                    <a:pt x="24" y="53"/>
                  </a:cubicBezTo>
                  <a:cubicBezTo>
                    <a:pt x="23" y="53"/>
                    <a:pt x="23" y="53"/>
                    <a:pt x="23" y="53"/>
                  </a:cubicBezTo>
                  <a:cubicBezTo>
                    <a:pt x="22" y="53"/>
                    <a:pt x="22" y="53"/>
                    <a:pt x="22" y="53"/>
                  </a:cubicBezTo>
                  <a:cubicBezTo>
                    <a:pt x="21" y="53"/>
                    <a:pt x="20" y="53"/>
                    <a:pt x="20" y="53"/>
                  </a:cubicBezTo>
                  <a:cubicBezTo>
                    <a:pt x="19" y="53"/>
                    <a:pt x="18" y="52"/>
                    <a:pt x="17" y="52"/>
                  </a:cubicBezTo>
                  <a:cubicBezTo>
                    <a:pt x="16" y="51"/>
                    <a:pt x="15" y="51"/>
                    <a:pt x="15" y="50"/>
                  </a:cubicBezTo>
                  <a:cubicBezTo>
                    <a:pt x="14" y="49"/>
                    <a:pt x="14" y="49"/>
                    <a:pt x="14" y="49"/>
                  </a:cubicBezTo>
                  <a:cubicBezTo>
                    <a:pt x="14" y="49"/>
                    <a:pt x="13" y="48"/>
                    <a:pt x="12" y="47"/>
                  </a:cubicBezTo>
                  <a:cubicBezTo>
                    <a:pt x="12" y="47"/>
                    <a:pt x="12" y="47"/>
                    <a:pt x="12" y="47"/>
                  </a:cubicBezTo>
                  <a:cubicBezTo>
                    <a:pt x="8" y="45"/>
                    <a:pt x="8" y="45"/>
                    <a:pt x="8" y="45"/>
                  </a:cubicBezTo>
                  <a:cubicBezTo>
                    <a:pt x="11" y="43"/>
                    <a:pt x="11" y="43"/>
                    <a:pt x="11" y="43"/>
                  </a:cubicBezTo>
                  <a:cubicBezTo>
                    <a:pt x="11" y="42"/>
                    <a:pt x="12" y="42"/>
                    <a:pt x="13" y="41"/>
                  </a:cubicBezTo>
                  <a:cubicBezTo>
                    <a:pt x="12" y="41"/>
                    <a:pt x="12" y="41"/>
                    <a:pt x="12" y="41"/>
                  </a:cubicBezTo>
                  <a:cubicBezTo>
                    <a:pt x="12" y="41"/>
                    <a:pt x="12" y="41"/>
                    <a:pt x="12" y="41"/>
                  </a:cubicBezTo>
                  <a:cubicBezTo>
                    <a:pt x="12" y="41"/>
                    <a:pt x="12" y="41"/>
                    <a:pt x="12" y="41"/>
                  </a:cubicBezTo>
                  <a:cubicBezTo>
                    <a:pt x="12" y="40"/>
                    <a:pt x="12" y="40"/>
                    <a:pt x="12" y="40"/>
                  </a:cubicBezTo>
                  <a:cubicBezTo>
                    <a:pt x="12" y="39"/>
                    <a:pt x="11" y="39"/>
                    <a:pt x="11" y="38"/>
                  </a:cubicBezTo>
                  <a:cubicBezTo>
                    <a:pt x="11" y="38"/>
                    <a:pt x="11" y="38"/>
                    <a:pt x="11" y="38"/>
                  </a:cubicBezTo>
                  <a:cubicBezTo>
                    <a:pt x="11" y="36"/>
                    <a:pt x="11" y="35"/>
                    <a:pt x="12" y="34"/>
                  </a:cubicBezTo>
                  <a:cubicBezTo>
                    <a:pt x="12" y="33"/>
                    <a:pt x="12" y="33"/>
                    <a:pt x="12" y="33"/>
                  </a:cubicBezTo>
                  <a:cubicBezTo>
                    <a:pt x="12" y="32"/>
                    <a:pt x="12" y="32"/>
                    <a:pt x="12" y="31"/>
                  </a:cubicBezTo>
                  <a:cubicBezTo>
                    <a:pt x="13" y="31"/>
                    <a:pt x="13" y="31"/>
                    <a:pt x="13" y="30"/>
                  </a:cubicBezTo>
                  <a:cubicBezTo>
                    <a:pt x="8" y="30"/>
                    <a:pt x="8" y="30"/>
                    <a:pt x="8" y="30"/>
                  </a:cubicBezTo>
                  <a:cubicBezTo>
                    <a:pt x="12" y="29"/>
                    <a:pt x="12" y="29"/>
                    <a:pt x="12" y="29"/>
                  </a:cubicBezTo>
                  <a:cubicBezTo>
                    <a:pt x="12" y="28"/>
                    <a:pt x="12" y="28"/>
                    <a:pt x="12" y="28"/>
                  </a:cubicBezTo>
                  <a:cubicBezTo>
                    <a:pt x="12" y="28"/>
                    <a:pt x="12" y="28"/>
                    <a:pt x="12" y="28"/>
                  </a:cubicBezTo>
                  <a:cubicBezTo>
                    <a:pt x="12" y="28"/>
                    <a:pt x="11" y="28"/>
                    <a:pt x="11" y="28"/>
                  </a:cubicBezTo>
                  <a:cubicBezTo>
                    <a:pt x="10" y="27"/>
                    <a:pt x="10" y="27"/>
                    <a:pt x="10" y="27"/>
                  </a:cubicBezTo>
                  <a:cubicBezTo>
                    <a:pt x="9" y="28"/>
                    <a:pt x="9" y="28"/>
                    <a:pt x="9" y="28"/>
                  </a:cubicBezTo>
                  <a:cubicBezTo>
                    <a:pt x="8" y="28"/>
                    <a:pt x="6" y="29"/>
                    <a:pt x="5" y="30"/>
                  </a:cubicBezTo>
                  <a:cubicBezTo>
                    <a:pt x="4" y="31"/>
                    <a:pt x="3" y="31"/>
                    <a:pt x="3" y="31"/>
                  </a:cubicBezTo>
                  <a:cubicBezTo>
                    <a:pt x="2" y="35"/>
                    <a:pt x="2" y="35"/>
                    <a:pt x="2" y="35"/>
                  </a:cubicBezTo>
                  <a:cubicBezTo>
                    <a:pt x="2" y="37"/>
                    <a:pt x="1" y="39"/>
                    <a:pt x="1" y="41"/>
                  </a:cubicBezTo>
                  <a:cubicBezTo>
                    <a:pt x="1" y="43"/>
                    <a:pt x="0" y="44"/>
                    <a:pt x="1" y="45"/>
                  </a:cubicBezTo>
                  <a:cubicBezTo>
                    <a:pt x="1" y="46"/>
                    <a:pt x="1" y="46"/>
                    <a:pt x="1" y="46"/>
                  </a:cubicBezTo>
                  <a:cubicBezTo>
                    <a:pt x="1" y="47"/>
                    <a:pt x="1" y="47"/>
                    <a:pt x="1" y="47"/>
                  </a:cubicBezTo>
                  <a:cubicBezTo>
                    <a:pt x="2" y="47"/>
                    <a:pt x="2" y="48"/>
                    <a:pt x="2" y="48"/>
                  </a:cubicBezTo>
                  <a:cubicBezTo>
                    <a:pt x="3" y="49"/>
                    <a:pt x="3" y="49"/>
                    <a:pt x="3" y="49"/>
                  </a:cubicBezTo>
                  <a:cubicBezTo>
                    <a:pt x="3" y="50"/>
                    <a:pt x="3" y="50"/>
                    <a:pt x="3" y="50"/>
                  </a:cubicBezTo>
                  <a:cubicBezTo>
                    <a:pt x="4" y="51"/>
                    <a:pt x="4" y="52"/>
                    <a:pt x="4" y="52"/>
                  </a:cubicBezTo>
                  <a:cubicBezTo>
                    <a:pt x="4" y="53"/>
                    <a:pt x="4" y="53"/>
                    <a:pt x="4" y="54"/>
                  </a:cubicBezTo>
                  <a:cubicBezTo>
                    <a:pt x="4" y="54"/>
                    <a:pt x="4" y="55"/>
                    <a:pt x="4" y="55"/>
                  </a:cubicBezTo>
                  <a:cubicBezTo>
                    <a:pt x="4" y="55"/>
                    <a:pt x="4" y="55"/>
                    <a:pt x="4" y="55"/>
                  </a:cubicBezTo>
                  <a:cubicBezTo>
                    <a:pt x="4" y="55"/>
                    <a:pt x="5" y="54"/>
                    <a:pt x="6" y="54"/>
                  </a:cubicBezTo>
                  <a:cubicBezTo>
                    <a:pt x="6" y="54"/>
                    <a:pt x="6" y="54"/>
                    <a:pt x="6" y="54"/>
                  </a:cubicBezTo>
                  <a:cubicBezTo>
                    <a:pt x="8" y="54"/>
                    <a:pt x="9" y="56"/>
                    <a:pt x="11" y="58"/>
                  </a:cubicBezTo>
                  <a:cubicBezTo>
                    <a:pt x="12" y="58"/>
                    <a:pt x="12" y="59"/>
                    <a:pt x="12" y="59"/>
                  </a:cubicBezTo>
                  <a:cubicBezTo>
                    <a:pt x="13" y="60"/>
                    <a:pt x="13" y="60"/>
                    <a:pt x="13" y="60"/>
                  </a:cubicBezTo>
                  <a:cubicBezTo>
                    <a:pt x="13" y="60"/>
                    <a:pt x="13" y="60"/>
                    <a:pt x="13" y="60"/>
                  </a:cubicBezTo>
                  <a:cubicBezTo>
                    <a:pt x="14" y="57"/>
                    <a:pt x="14" y="57"/>
                    <a:pt x="14" y="57"/>
                  </a:cubicBezTo>
                  <a:cubicBezTo>
                    <a:pt x="14" y="53"/>
                    <a:pt x="14" y="53"/>
                    <a:pt x="14" y="53"/>
                  </a:cubicBezTo>
                  <a:cubicBezTo>
                    <a:pt x="19" y="58"/>
                    <a:pt x="19" y="58"/>
                    <a:pt x="19" y="58"/>
                  </a:cubicBezTo>
                  <a:cubicBezTo>
                    <a:pt x="20" y="58"/>
                    <a:pt x="21" y="59"/>
                    <a:pt x="21" y="60"/>
                  </a:cubicBezTo>
                  <a:cubicBezTo>
                    <a:pt x="21" y="60"/>
                    <a:pt x="22" y="61"/>
                    <a:pt x="22" y="61"/>
                  </a:cubicBezTo>
                  <a:cubicBezTo>
                    <a:pt x="22" y="62"/>
                    <a:pt x="22" y="62"/>
                    <a:pt x="22" y="62"/>
                  </a:cubicBezTo>
                  <a:cubicBezTo>
                    <a:pt x="23" y="65"/>
                    <a:pt x="24" y="65"/>
                    <a:pt x="24" y="65"/>
                  </a:cubicBezTo>
                  <a:cubicBezTo>
                    <a:pt x="25" y="66"/>
                    <a:pt x="25" y="66"/>
                    <a:pt x="25" y="66"/>
                  </a:cubicBezTo>
                  <a:cubicBezTo>
                    <a:pt x="25" y="66"/>
                    <a:pt x="25" y="66"/>
                    <a:pt x="25" y="66"/>
                  </a:cubicBezTo>
                  <a:cubicBezTo>
                    <a:pt x="26" y="66"/>
                    <a:pt x="27" y="66"/>
                    <a:pt x="27" y="65"/>
                  </a:cubicBezTo>
                  <a:cubicBezTo>
                    <a:pt x="27" y="65"/>
                    <a:pt x="27" y="65"/>
                    <a:pt x="27" y="65"/>
                  </a:cubicBezTo>
                  <a:cubicBezTo>
                    <a:pt x="28" y="64"/>
                    <a:pt x="28" y="64"/>
                    <a:pt x="28" y="63"/>
                  </a:cubicBezTo>
                  <a:cubicBezTo>
                    <a:pt x="30" y="59"/>
                    <a:pt x="30" y="59"/>
                    <a:pt x="30" y="59"/>
                  </a:cubicBezTo>
                  <a:cubicBezTo>
                    <a:pt x="32" y="63"/>
                    <a:pt x="32" y="63"/>
                    <a:pt x="32" y="63"/>
                  </a:cubicBezTo>
                  <a:cubicBezTo>
                    <a:pt x="33" y="64"/>
                    <a:pt x="33" y="65"/>
                    <a:pt x="34" y="66"/>
                  </a:cubicBezTo>
                  <a:cubicBezTo>
                    <a:pt x="35" y="68"/>
                    <a:pt x="35" y="70"/>
                    <a:pt x="35" y="73"/>
                  </a:cubicBezTo>
                  <a:cubicBezTo>
                    <a:pt x="35" y="74"/>
                    <a:pt x="35" y="75"/>
                    <a:pt x="35" y="76"/>
                  </a:cubicBezTo>
                  <a:cubicBezTo>
                    <a:pt x="35" y="76"/>
                    <a:pt x="35" y="76"/>
                    <a:pt x="35" y="76"/>
                  </a:cubicBezTo>
                  <a:cubicBezTo>
                    <a:pt x="35" y="77"/>
                    <a:pt x="35" y="78"/>
                    <a:pt x="35" y="80"/>
                  </a:cubicBezTo>
                  <a:cubicBezTo>
                    <a:pt x="35" y="80"/>
                    <a:pt x="35" y="80"/>
                    <a:pt x="35" y="80"/>
                  </a:cubicBezTo>
                  <a:cubicBezTo>
                    <a:pt x="35" y="80"/>
                    <a:pt x="35" y="80"/>
                    <a:pt x="35" y="80"/>
                  </a:cubicBezTo>
                  <a:cubicBezTo>
                    <a:pt x="36" y="80"/>
                    <a:pt x="36" y="80"/>
                    <a:pt x="36" y="80"/>
                  </a:cubicBezTo>
                  <a:cubicBezTo>
                    <a:pt x="36" y="80"/>
                    <a:pt x="37" y="80"/>
                    <a:pt x="37" y="81"/>
                  </a:cubicBezTo>
                  <a:cubicBezTo>
                    <a:pt x="38" y="81"/>
                    <a:pt x="38" y="81"/>
                    <a:pt x="38" y="81"/>
                  </a:cubicBezTo>
                  <a:cubicBezTo>
                    <a:pt x="39" y="81"/>
                    <a:pt x="40" y="82"/>
                    <a:pt x="41" y="82"/>
                  </a:cubicBezTo>
                  <a:cubicBezTo>
                    <a:pt x="42" y="82"/>
                    <a:pt x="42" y="82"/>
                    <a:pt x="43" y="83"/>
                  </a:cubicBezTo>
                  <a:cubicBezTo>
                    <a:pt x="44" y="83"/>
                    <a:pt x="44" y="83"/>
                    <a:pt x="44" y="83"/>
                  </a:cubicBezTo>
                  <a:cubicBezTo>
                    <a:pt x="44" y="83"/>
                    <a:pt x="44" y="83"/>
                    <a:pt x="45" y="83"/>
                  </a:cubicBezTo>
                  <a:cubicBezTo>
                    <a:pt x="45" y="83"/>
                    <a:pt x="45" y="83"/>
                    <a:pt x="45" y="83"/>
                  </a:cubicBezTo>
                  <a:cubicBezTo>
                    <a:pt x="45" y="83"/>
                    <a:pt x="46" y="83"/>
                    <a:pt x="46" y="83"/>
                  </a:cubicBezTo>
                  <a:cubicBezTo>
                    <a:pt x="47" y="83"/>
                    <a:pt x="47" y="83"/>
                    <a:pt x="47" y="83"/>
                  </a:cubicBezTo>
                  <a:cubicBezTo>
                    <a:pt x="48" y="83"/>
                    <a:pt x="48" y="83"/>
                    <a:pt x="49" y="83"/>
                  </a:cubicBezTo>
                  <a:cubicBezTo>
                    <a:pt x="49" y="83"/>
                    <a:pt x="49" y="83"/>
                    <a:pt x="50" y="83"/>
                  </a:cubicBezTo>
                  <a:cubicBezTo>
                    <a:pt x="50" y="83"/>
                    <a:pt x="50" y="83"/>
                    <a:pt x="50" y="83"/>
                  </a:cubicBezTo>
                  <a:cubicBezTo>
                    <a:pt x="51" y="83"/>
                    <a:pt x="51" y="83"/>
                    <a:pt x="51" y="83"/>
                  </a:cubicBezTo>
                  <a:cubicBezTo>
                    <a:pt x="52" y="83"/>
                    <a:pt x="52" y="82"/>
                    <a:pt x="53" y="82"/>
                  </a:cubicBezTo>
                  <a:cubicBezTo>
                    <a:pt x="53" y="82"/>
                    <a:pt x="53" y="82"/>
                    <a:pt x="53" y="82"/>
                  </a:cubicBezTo>
                  <a:cubicBezTo>
                    <a:pt x="54" y="82"/>
                    <a:pt x="56" y="82"/>
                    <a:pt x="57" y="82"/>
                  </a:cubicBezTo>
                  <a:cubicBezTo>
                    <a:pt x="57" y="82"/>
                    <a:pt x="58" y="82"/>
                    <a:pt x="58" y="82"/>
                  </a:cubicBezTo>
                  <a:cubicBezTo>
                    <a:pt x="59" y="82"/>
                    <a:pt x="59" y="82"/>
                    <a:pt x="59" y="82"/>
                  </a:cubicBezTo>
                  <a:cubicBezTo>
                    <a:pt x="62" y="83"/>
                    <a:pt x="65" y="83"/>
                    <a:pt x="69" y="83"/>
                  </a:cubicBezTo>
                  <a:cubicBezTo>
                    <a:pt x="69" y="83"/>
                    <a:pt x="69" y="83"/>
                    <a:pt x="69" y="83"/>
                  </a:cubicBezTo>
                  <a:cubicBezTo>
                    <a:pt x="70" y="83"/>
                    <a:pt x="70" y="83"/>
                    <a:pt x="71" y="83"/>
                  </a:cubicBezTo>
                  <a:cubicBezTo>
                    <a:pt x="72" y="83"/>
                    <a:pt x="72" y="83"/>
                    <a:pt x="72" y="83"/>
                  </a:cubicBezTo>
                  <a:cubicBezTo>
                    <a:pt x="73" y="83"/>
                    <a:pt x="74" y="83"/>
                    <a:pt x="74" y="83"/>
                  </a:cubicBezTo>
                  <a:cubicBezTo>
                    <a:pt x="76" y="83"/>
                    <a:pt x="77" y="83"/>
                    <a:pt x="78" y="83"/>
                  </a:cubicBezTo>
                  <a:cubicBezTo>
                    <a:pt x="79" y="84"/>
                    <a:pt x="80" y="84"/>
                    <a:pt x="81" y="84"/>
                  </a:cubicBezTo>
                  <a:cubicBezTo>
                    <a:pt x="81" y="85"/>
                    <a:pt x="81" y="85"/>
                    <a:pt x="81" y="85"/>
                  </a:cubicBezTo>
                  <a:cubicBezTo>
                    <a:pt x="82" y="85"/>
                    <a:pt x="82" y="85"/>
                    <a:pt x="82" y="85"/>
                  </a:cubicBezTo>
                  <a:cubicBezTo>
                    <a:pt x="84" y="86"/>
                    <a:pt x="84" y="87"/>
                    <a:pt x="85" y="88"/>
                  </a:cubicBezTo>
                  <a:cubicBezTo>
                    <a:pt x="85" y="89"/>
                    <a:pt x="85" y="89"/>
                    <a:pt x="85" y="89"/>
                  </a:cubicBezTo>
                  <a:cubicBezTo>
                    <a:pt x="89" y="92"/>
                    <a:pt x="89" y="92"/>
                    <a:pt x="89" y="92"/>
                  </a:cubicBezTo>
                  <a:cubicBezTo>
                    <a:pt x="83" y="93"/>
                    <a:pt x="83" y="93"/>
                    <a:pt x="83" y="93"/>
                  </a:cubicBezTo>
                  <a:cubicBezTo>
                    <a:pt x="81" y="95"/>
                    <a:pt x="81" y="95"/>
                    <a:pt x="81" y="95"/>
                  </a:cubicBezTo>
                  <a:cubicBezTo>
                    <a:pt x="81" y="96"/>
                    <a:pt x="81" y="98"/>
                    <a:pt x="80" y="99"/>
                  </a:cubicBezTo>
                  <a:cubicBezTo>
                    <a:pt x="79" y="99"/>
                    <a:pt x="79" y="99"/>
                    <a:pt x="79" y="99"/>
                  </a:cubicBezTo>
                  <a:cubicBezTo>
                    <a:pt x="79" y="100"/>
                    <a:pt x="79" y="100"/>
                    <a:pt x="79" y="100"/>
                  </a:cubicBezTo>
                  <a:cubicBezTo>
                    <a:pt x="78" y="101"/>
                    <a:pt x="77" y="101"/>
                    <a:pt x="77" y="102"/>
                  </a:cubicBezTo>
                  <a:cubicBezTo>
                    <a:pt x="76" y="102"/>
                    <a:pt x="76" y="102"/>
                    <a:pt x="76" y="102"/>
                  </a:cubicBezTo>
                  <a:cubicBezTo>
                    <a:pt x="76" y="103"/>
                    <a:pt x="76" y="103"/>
                    <a:pt x="76" y="103"/>
                  </a:cubicBezTo>
                  <a:cubicBezTo>
                    <a:pt x="76" y="103"/>
                    <a:pt x="76" y="103"/>
                    <a:pt x="76" y="103"/>
                  </a:cubicBezTo>
                  <a:cubicBezTo>
                    <a:pt x="76" y="103"/>
                    <a:pt x="76" y="103"/>
                    <a:pt x="76" y="103"/>
                  </a:cubicBezTo>
                  <a:cubicBezTo>
                    <a:pt x="75" y="103"/>
                    <a:pt x="75" y="103"/>
                    <a:pt x="75" y="103"/>
                  </a:cubicBezTo>
                  <a:cubicBezTo>
                    <a:pt x="75" y="103"/>
                    <a:pt x="75" y="103"/>
                    <a:pt x="75" y="103"/>
                  </a:cubicBezTo>
                  <a:cubicBezTo>
                    <a:pt x="75" y="104"/>
                    <a:pt x="75" y="104"/>
                    <a:pt x="75" y="105"/>
                  </a:cubicBezTo>
                  <a:cubicBezTo>
                    <a:pt x="75" y="105"/>
                    <a:pt x="75" y="106"/>
                    <a:pt x="74" y="106"/>
                  </a:cubicBezTo>
                  <a:cubicBezTo>
                    <a:pt x="74" y="109"/>
                    <a:pt x="74" y="109"/>
                    <a:pt x="74" y="109"/>
                  </a:cubicBezTo>
                  <a:cubicBezTo>
                    <a:pt x="71" y="108"/>
                    <a:pt x="71" y="108"/>
                    <a:pt x="71" y="108"/>
                  </a:cubicBezTo>
                  <a:cubicBezTo>
                    <a:pt x="70" y="107"/>
                    <a:pt x="69" y="107"/>
                    <a:pt x="69" y="107"/>
                  </a:cubicBezTo>
                  <a:cubicBezTo>
                    <a:pt x="69" y="107"/>
                    <a:pt x="69" y="107"/>
                    <a:pt x="69" y="107"/>
                  </a:cubicBezTo>
                  <a:cubicBezTo>
                    <a:pt x="69" y="108"/>
                    <a:pt x="69" y="108"/>
                    <a:pt x="69" y="108"/>
                  </a:cubicBezTo>
                  <a:cubicBezTo>
                    <a:pt x="68" y="107"/>
                    <a:pt x="68" y="107"/>
                    <a:pt x="68" y="107"/>
                  </a:cubicBezTo>
                  <a:cubicBezTo>
                    <a:pt x="62" y="114"/>
                    <a:pt x="62" y="114"/>
                    <a:pt x="62" y="114"/>
                  </a:cubicBezTo>
                  <a:cubicBezTo>
                    <a:pt x="62" y="114"/>
                    <a:pt x="62" y="115"/>
                    <a:pt x="61" y="115"/>
                  </a:cubicBezTo>
                  <a:cubicBezTo>
                    <a:pt x="61" y="115"/>
                    <a:pt x="61" y="115"/>
                    <a:pt x="61" y="115"/>
                  </a:cubicBezTo>
                  <a:cubicBezTo>
                    <a:pt x="61" y="116"/>
                    <a:pt x="61" y="116"/>
                    <a:pt x="61" y="116"/>
                  </a:cubicBezTo>
                  <a:cubicBezTo>
                    <a:pt x="61" y="117"/>
                    <a:pt x="61" y="117"/>
                    <a:pt x="61" y="117"/>
                  </a:cubicBezTo>
                  <a:cubicBezTo>
                    <a:pt x="62" y="118"/>
                    <a:pt x="62" y="118"/>
                    <a:pt x="62" y="118"/>
                  </a:cubicBezTo>
                  <a:cubicBezTo>
                    <a:pt x="62" y="119"/>
                    <a:pt x="62" y="119"/>
                    <a:pt x="62" y="119"/>
                  </a:cubicBezTo>
                  <a:cubicBezTo>
                    <a:pt x="63" y="119"/>
                    <a:pt x="63" y="120"/>
                    <a:pt x="63" y="120"/>
                  </a:cubicBezTo>
                  <a:cubicBezTo>
                    <a:pt x="65" y="122"/>
                    <a:pt x="65" y="122"/>
                    <a:pt x="65" y="122"/>
                  </a:cubicBezTo>
                  <a:cubicBezTo>
                    <a:pt x="66" y="123"/>
                    <a:pt x="67" y="124"/>
                    <a:pt x="67" y="126"/>
                  </a:cubicBezTo>
                  <a:cubicBezTo>
                    <a:pt x="67" y="126"/>
                    <a:pt x="67" y="127"/>
                    <a:pt x="68" y="127"/>
                  </a:cubicBezTo>
                  <a:cubicBezTo>
                    <a:pt x="68" y="126"/>
                    <a:pt x="68" y="126"/>
                    <a:pt x="68" y="126"/>
                  </a:cubicBezTo>
                  <a:cubicBezTo>
                    <a:pt x="68" y="125"/>
                    <a:pt x="69" y="124"/>
                    <a:pt x="69" y="123"/>
                  </a:cubicBezTo>
                  <a:cubicBezTo>
                    <a:pt x="69" y="122"/>
                    <a:pt x="70" y="122"/>
                    <a:pt x="70" y="121"/>
                  </a:cubicBezTo>
                  <a:cubicBezTo>
                    <a:pt x="70" y="121"/>
                    <a:pt x="70" y="121"/>
                    <a:pt x="70" y="121"/>
                  </a:cubicBezTo>
                  <a:cubicBezTo>
                    <a:pt x="71" y="120"/>
                    <a:pt x="71" y="118"/>
                    <a:pt x="71" y="117"/>
                  </a:cubicBezTo>
                  <a:cubicBezTo>
                    <a:pt x="71" y="116"/>
                    <a:pt x="71" y="115"/>
                    <a:pt x="71" y="114"/>
                  </a:cubicBezTo>
                  <a:cubicBezTo>
                    <a:pt x="73" y="109"/>
                    <a:pt x="73" y="109"/>
                    <a:pt x="73" y="109"/>
                  </a:cubicBezTo>
                  <a:cubicBezTo>
                    <a:pt x="76" y="113"/>
                    <a:pt x="76" y="113"/>
                    <a:pt x="76" y="113"/>
                  </a:cubicBezTo>
                  <a:cubicBezTo>
                    <a:pt x="76" y="112"/>
                    <a:pt x="78" y="112"/>
                    <a:pt x="79" y="112"/>
                  </a:cubicBezTo>
                  <a:cubicBezTo>
                    <a:pt x="79" y="112"/>
                    <a:pt x="79" y="112"/>
                    <a:pt x="79" y="112"/>
                  </a:cubicBezTo>
                  <a:cubicBezTo>
                    <a:pt x="80" y="112"/>
                    <a:pt x="80" y="112"/>
                    <a:pt x="80" y="112"/>
                  </a:cubicBezTo>
                  <a:cubicBezTo>
                    <a:pt x="80" y="112"/>
                    <a:pt x="80" y="112"/>
                    <a:pt x="80" y="112"/>
                  </a:cubicBezTo>
                  <a:cubicBezTo>
                    <a:pt x="81" y="113"/>
                    <a:pt x="82" y="114"/>
                    <a:pt x="82" y="115"/>
                  </a:cubicBezTo>
                  <a:cubicBezTo>
                    <a:pt x="83" y="117"/>
                    <a:pt x="83" y="119"/>
                    <a:pt x="83" y="120"/>
                  </a:cubicBezTo>
                  <a:cubicBezTo>
                    <a:pt x="84" y="122"/>
                    <a:pt x="84" y="124"/>
                    <a:pt x="84" y="126"/>
                  </a:cubicBezTo>
                  <a:cubicBezTo>
                    <a:pt x="89" y="126"/>
                    <a:pt x="89" y="126"/>
                    <a:pt x="89" y="126"/>
                  </a:cubicBezTo>
                  <a:cubicBezTo>
                    <a:pt x="84" y="128"/>
                    <a:pt x="84" y="128"/>
                    <a:pt x="84" y="128"/>
                  </a:cubicBezTo>
                  <a:cubicBezTo>
                    <a:pt x="84" y="128"/>
                    <a:pt x="84" y="128"/>
                    <a:pt x="84" y="128"/>
                  </a:cubicBezTo>
                  <a:cubicBezTo>
                    <a:pt x="84" y="129"/>
                    <a:pt x="85" y="130"/>
                    <a:pt x="85" y="132"/>
                  </a:cubicBezTo>
                  <a:cubicBezTo>
                    <a:pt x="86" y="132"/>
                    <a:pt x="86" y="132"/>
                    <a:pt x="86" y="132"/>
                  </a:cubicBezTo>
                  <a:cubicBezTo>
                    <a:pt x="86" y="135"/>
                    <a:pt x="87" y="137"/>
                    <a:pt x="87" y="139"/>
                  </a:cubicBezTo>
                  <a:cubicBezTo>
                    <a:pt x="88" y="147"/>
                    <a:pt x="88" y="147"/>
                    <a:pt x="88" y="147"/>
                  </a:cubicBezTo>
                  <a:cubicBezTo>
                    <a:pt x="91" y="145"/>
                    <a:pt x="91" y="145"/>
                    <a:pt x="91" y="145"/>
                  </a:cubicBezTo>
                  <a:cubicBezTo>
                    <a:pt x="93" y="145"/>
                    <a:pt x="93" y="145"/>
                    <a:pt x="93" y="145"/>
                  </a:cubicBezTo>
                  <a:cubicBezTo>
                    <a:pt x="94" y="144"/>
                    <a:pt x="94" y="144"/>
                    <a:pt x="94" y="144"/>
                  </a:cubicBezTo>
                  <a:cubicBezTo>
                    <a:pt x="93" y="137"/>
                    <a:pt x="93" y="137"/>
                    <a:pt x="93" y="137"/>
                  </a:cubicBezTo>
                  <a:cubicBezTo>
                    <a:pt x="93" y="133"/>
                    <a:pt x="93" y="133"/>
                    <a:pt x="93" y="133"/>
                  </a:cubicBezTo>
                  <a:cubicBezTo>
                    <a:pt x="94" y="127"/>
                    <a:pt x="94" y="127"/>
                    <a:pt x="94" y="127"/>
                  </a:cubicBezTo>
                  <a:cubicBezTo>
                    <a:pt x="98" y="125"/>
                    <a:pt x="98" y="125"/>
                    <a:pt x="98" y="125"/>
                  </a:cubicBezTo>
                  <a:cubicBezTo>
                    <a:pt x="98" y="125"/>
                    <a:pt x="98" y="125"/>
                    <a:pt x="98" y="125"/>
                  </a:cubicBezTo>
                  <a:cubicBezTo>
                    <a:pt x="99" y="119"/>
                    <a:pt x="99" y="115"/>
                    <a:pt x="99" y="113"/>
                  </a:cubicBezTo>
                  <a:cubicBezTo>
                    <a:pt x="98" y="110"/>
                    <a:pt x="97" y="108"/>
                    <a:pt x="97" y="108"/>
                  </a:cubicBezTo>
                  <a:cubicBezTo>
                    <a:pt x="97" y="105"/>
                    <a:pt x="97" y="105"/>
                    <a:pt x="97" y="105"/>
                  </a:cubicBezTo>
                  <a:cubicBezTo>
                    <a:pt x="100" y="106"/>
                    <a:pt x="100" y="106"/>
                    <a:pt x="100" y="106"/>
                  </a:cubicBezTo>
                  <a:cubicBezTo>
                    <a:pt x="100" y="106"/>
                    <a:pt x="107" y="106"/>
                    <a:pt x="112" y="108"/>
                  </a:cubicBezTo>
                  <a:cubicBezTo>
                    <a:pt x="114" y="107"/>
                    <a:pt x="115" y="106"/>
                    <a:pt x="115" y="105"/>
                  </a:cubicBezTo>
                  <a:cubicBezTo>
                    <a:pt x="116" y="103"/>
                    <a:pt x="118" y="99"/>
                    <a:pt x="120" y="96"/>
                  </a:cubicBezTo>
                  <a:cubicBezTo>
                    <a:pt x="122" y="93"/>
                    <a:pt x="125" y="88"/>
                    <a:pt x="123" y="84"/>
                  </a:cubicBezTo>
                  <a:cubicBezTo>
                    <a:pt x="121" y="80"/>
                    <a:pt x="122" y="78"/>
                    <a:pt x="128" y="74"/>
                  </a:cubicBezTo>
                  <a:cubicBezTo>
                    <a:pt x="130" y="73"/>
                    <a:pt x="130" y="72"/>
                    <a:pt x="130" y="72"/>
                  </a:cubicBezTo>
                  <a:cubicBezTo>
                    <a:pt x="130" y="70"/>
                    <a:pt x="131" y="69"/>
                    <a:pt x="132" y="68"/>
                  </a:cubicBezTo>
                  <a:cubicBezTo>
                    <a:pt x="132" y="67"/>
                    <a:pt x="132" y="67"/>
                    <a:pt x="132" y="67"/>
                  </a:cubicBezTo>
                  <a:cubicBezTo>
                    <a:pt x="133" y="66"/>
                    <a:pt x="132" y="64"/>
                    <a:pt x="132" y="63"/>
                  </a:cubicBezTo>
                  <a:cubicBezTo>
                    <a:pt x="132" y="62"/>
                    <a:pt x="131" y="60"/>
                    <a:pt x="131" y="59"/>
                  </a:cubicBezTo>
                  <a:cubicBezTo>
                    <a:pt x="131" y="54"/>
                    <a:pt x="134" y="53"/>
                    <a:pt x="138" y="51"/>
                  </a:cubicBezTo>
                  <a:cubicBezTo>
                    <a:pt x="139" y="51"/>
                    <a:pt x="140" y="50"/>
                    <a:pt x="142" y="49"/>
                  </a:cubicBezTo>
                  <a:cubicBezTo>
                    <a:pt x="143" y="47"/>
                    <a:pt x="145" y="46"/>
                    <a:pt x="148" y="44"/>
                  </a:cubicBezTo>
                  <a:cubicBezTo>
                    <a:pt x="149" y="44"/>
                    <a:pt x="150" y="43"/>
                    <a:pt x="152" y="42"/>
                  </a:cubicBezTo>
                  <a:cubicBezTo>
                    <a:pt x="152" y="42"/>
                    <a:pt x="152" y="42"/>
                    <a:pt x="152" y="42"/>
                  </a:cubicBezTo>
                  <a:cubicBezTo>
                    <a:pt x="156" y="40"/>
                    <a:pt x="160" y="38"/>
                    <a:pt x="164" y="38"/>
                  </a:cubicBezTo>
                  <a:cubicBezTo>
                    <a:pt x="165" y="38"/>
                    <a:pt x="165" y="38"/>
                    <a:pt x="166" y="38"/>
                  </a:cubicBezTo>
                  <a:cubicBezTo>
                    <a:pt x="166" y="38"/>
                    <a:pt x="166" y="38"/>
                    <a:pt x="166" y="38"/>
                  </a:cubicBezTo>
                  <a:cubicBezTo>
                    <a:pt x="165" y="36"/>
                    <a:pt x="165" y="33"/>
                    <a:pt x="170" y="30"/>
                  </a:cubicBezTo>
                  <a:cubicBezTo>
                    <a:pt x="171" y="29"/>
                    <a:pt x="171" y="29"/>
                    <a:pt x="172" y="28"/>
                  </a:cubicBezTo>
                  <a:cubicBezTo>
                    <a:pt x="172" y="28"/>
                    <a:pt x="172" y="28"/>
                    <a:pt x="172" y="28"/>
                  </a:cubicBezTo>
                  <a:cubicBezTo>
                    <a:pt x="173" y="28"/>
                    <a:pt x="174" y="27"/>
                    <a:pt x="175" y="27"/>
                  </a:cubicBezTo>
                  <a:cubicBezTo>
                    <a:pt x="174" y="24"/>
                    <a:pt x="174" y="24"/>
                    <a:pt x="174" y="24"/>
                  </a:cubicBezTo>
                  <a:cubicBezTo>
                    <a:pt x="174" y="24"/>
                    <a:pt x="174" y="24"/>
                    <a:pt x="174" y="24"/>
                  </a:cubicBezTo>
                  <a:cubicBezTo>
                    <a:pt x="173" y="24"/>
                    <a:pt x="173" y="24"/>
                    <a:pt x="173" y="24"/>
                  </a:cubicBezTo>
                  <a:cubicBezTo>
                    <a:pt x="173" y="23"/>
                    <a:pt x="173" y="23"/>
                    <a:pt x="173" y="23"/>
                  </a:cubicBezTo>
                  <a:cubicBezTo>
                    <a:pt x="172" y="22"/>
                    <a:pt x="171" y="22"/>
                    <a:pt x="171" y="22"/>
                  </a:cubicBezTo>
                  <a:cubicBezTo>
                    <a:pt x="170" y="22"/>
                    <a:pt x="170" y="22"/>
                    <a:pt x="170" y="22"/>
                  </a:cubicBezTo>
                  <a:cubicBezTo>
                    <a:pt x="170" y="22"/>
                    <a:pt x="169" y="22"/>
                    <a:pt x="169" y="21"/>
                  </a:cubicBezTo>
                  <a:cubicBezTo>
                    <a:pt x="167" y="21"/>
                    <a:pt x="167" y="21"/>
                    <a:pt x="167" y="21"/>
                  </a:cubicBezTo>
                  <a:cubicBezTo>
                    <a:pt x="166" y="21"/>
                    <a:pt x="165" y="21"/>
                    <a:pt x="164" y="21"/>
                  </a:cubicBezTo>
                  <a:cubicBezTo>
                    <a:pt x="162" y="21"/>
                    <a:pt x="162" y="21"/>
                    <a:pt x="162" y="21"/>
                  </a:cubicBezTo>
                  <a:cubicBezTo>
                    <a:pt x="162" y="21"/>
                    <a:pt x="162" y="21"/>
                    <a:pt x="161" y="21"/>
                  </a:cubicBezTo>
                  <a:cubicBezTo>
                    <a:pt x="161" y="21"/>
                    <a:pt x="161" y="21"/>
                    <a:pt x="161" y="21"/>
                  </a:cubicBezTo>
                  <a:cubicBezTo>
                    <a:pt x="161" y="21"/>
                    <a:pt x="161" y="21"/>
                    <a:pt x="161" y="21"/>
                  </a:cubicBezTo>
                  <a:cubicBezTo>
                    <a:pt x="160" y="22"/>
                    <a:pt x="160" y="22"/>
                    <a:pt x="160" y="22"/>
                  </a:cubicBezTo>
                  <a:cubicBezTo>
                    <a:pt x="159" y="22"/>
                    <a:pt x="159" y="22"/>
                    <a:pt x="158" y="22"/>
                  </a:cubicBezTo>
                  <a:cubicBezTo>
                    <a:pt x="158" y="22"/>
                    <a:pt x="158" y="22"/>
                    <a:pt x="158" y="22"/>
                  </a:cubicBezTo>
                  <a:cubicBezTo>
                    <a:pt x="156" y="22"/>
                    <a:pt x="154" y="20"/>
                    <a:pt x="154" y="18"/>
                  </a:cubicBezTo>
                  <a:cubicBezTo>
                    <a:pt x="154" y="18"/>
                    <a:pt x="154" y="18"/>
                    <a:pt x="154" y="18"/>
                  </a:cubicBezTo>
                  <a:cubicBezTo>
                    <a:pt x="155" y="17"/>
                    <a:pt x="155" y="17"/>
                    <a:pt x="155" y="17"/>
                  </a:cubicBezTo>
                  <a:cubicBezTo>
                    <a:pt x="155" y="16"/>
                    <a:pt x="155" y="16"/>
                    <a:pt x="155" y="16"/>
                  </a:cubicBezTo>
                  <a:cubicBezTo>
                    <a:pt x="155" y="15"/>
                    <a:pt x="155" y="15"/>
                    <a:pt x="155" y="15"/>
                  </a:cubicBezTo>
                  <a:cubicBezTo>
                    <a:pt x="156" y="14"/>
                    <a:pt x="156" y="14"/>
                    <a:pt x="157" y="13"/>
                  </a:cubicBezTo>
                  <a:cubicBezTo>
                    <a:pt x="157" y="13"/>
                    <a:pt x="157" y="13"/>
                    <a:pt x="157" y="13"/>
                  </a:cubicBezTo>
                  <a:cubicBezTo>
                    <a:pt x="156" y="13"/>
                    <a:pt x="156" y="13"/>
                    <a:pt x="156" y="13"/>
                  </a:cubicBezTo>
                  <a:cubicBezTo>
                    <a:pt x="158" y="11"/>
                    <a:pt x="158" y="11"/>
                    <a:pt x="158" y="11"/>
                  </a:cubicBezTo>
                  <a:cubicBezTo>
                    <a:pt x="159" y="11"/>
                    <a:pt x="159" y="11"/>
                    <a:pt x="160" y="10"/>
                  </a:cubicBezTo>
                  <a:cubicBezTo>
                    <a:pt x="160" y="10"/>
                    <a:pt x="160" y="10"/>
                    <a:pt x="160" y="10"/>
                  </a:cubicBezTo>
                  <a:cubicBezTo>
                    <a:pt x="159" y="10"/>
                    <a:pt x="159" y="10"/>
                    <a:pt x="159" y="10"/>
                  </a:cubicBezTo>
                  <a:cubicBezTo>
                    <a:pt x="159" y="10"/>
                    <a:pt x="159" y="9"/>
                    <a:pt x="159" y="9"/>
                  </a:cubicBezTo>
                  <a:cubicBezTo>
                    <a:pt x="158" y="9"/>
                    <a:pt x="158" y="9"/>
                    <a:pt x="158" y="9"/>
                  </a:cubicBezTo>
                  <a:cubicBezTo>
                    <a:pt x="157" y="9"/>
                    <a:pt x="156" y="10"/>
                    <a:pt x="156" y="10"/>
                  </a:cubicBezTo>
                  <a:cubicBezTo>
                    <a:pt x="152" y="13"/>
                    <a:pt x="152" y="13"/>
                    <a:pt x="152" y="13"/>
                  </a:cubicBezTo>
                  <a:cubicBezTo>
                    <a:pt x="152" y="8"/>
                    <a:pt x="152" y="8"/>
                    <a:pt x="152" y="8"/>
                  </a:cubicBezTo>
                  <a:cubicBezTo>
                    <a:pt x="152" y="7"/>
                    <a:pt x="152" y="7"/>
                    <a:pt x="152" y="7"/>
                  </a:cubicBezTo>
                  <a:cubicBezTo>
                    <a:pt x="147" y="3"/>
                    <a:pt x="147" y="3"/>
                    <a:pt x="147" y="3"/>
                  </a:cubicBezTo>
                  <a:cubicBezTo>
                    <a:pt x="153" y="2"/>
                    <a:pt x="153" y="2"/>
                    <a:pt x="153" y="2"/>
                  </a:cubicBezTo>
                  <a:cubicBezTo>
                    <a:pt x="153" y="2"/>
                    <a:pt x="153" y="2"/>
                    <a:pt x="153" y="2"/>
                  </a:cubicBezTo>
                  <a:cubicBezTo>
                    <a:pt x="153" y="2"/>
                    <a:pt x="153" y="2"/>
                    <a:pt x="153" y="2"/>
                  </a:cubicBezTo>
                  <a:cubicBezTo>
                    <a:pt x="154" y="2"/>
                    <a:pt x="154" y="2"/>
                    <a:pt x="154" y="2"/>
                  </a:cubicBezTo>
                  <a:cubicBezTo>
                    <a:pt x="153" y="1"/>
                    <a:pt x="153" y="1"/>
                    <a:pt x="152" y="0"/>
                  </a:cubicBezTo>
                  <a:cubicBezTo>
                    <a:pt x="152" y="0"/>
                    <a:pt x="152" y="0"/>
                    <a:pt x="152" y="0"/>
                  </a:cubicBezTo>
                  <a:cubicBezTo>
                    <a:pt x="152" y="0"/>
                    <a:pt x="152" y="0"/>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Freeform 414">
              <a:extLst>
                <a:ext uri="{FF2B5EF4-FFF2-40B4-BE49-F238E27FC236}">
                  <a16:creationId xmlns:a16="http://schemas.microsoft.com/office/drawing/2014/main" id="{4AB80B6F-A981-4CF7-9FF7-A8FEAF93549C}"/>
                </a:ext>
              </a:extLst>
            </p:cNvPr>
            <p:cNvSpPr>
              <a:spLocks noEditPoints="1"/>
            </p:cNvSpPr>
            <p:nvPr/>
          </p:nvSpPr>
          <p:spPr bwMode="auto">
            <a:xfrm>
              <a:off x="2639492" y="4486684"/>
              <a:ext cx="1292924" cy="1789462"/>
            </a:xfrm>
            <a:custGeom>
              <a:avLst/>
              <a:gdLst>
                <a:gd name="T0" fmla="*/ 159 w 398"/>
                <a:gd name="T1" fmla="*/ 17 h 550"/>
                <a:gd name="T2" fmla="*/ 135 w 398"/>
                <a:gd name="T3" fmla="*/ 19 h 550"/>
                <a:gd name="T4" fmla="*/ 110 w 398"/>
                <a:gd name="T5" fmla="*/ 21 h 550"/>
                <a:gd name="T6" fmla="*/ 115 w 398"/>
                <a:gd name="T7" fmla="*/ 37 h 550"/>
                <a:gd name="T8" fmla="*/ 126 w 398"/>
                <a:gd name="T9" fmla="*/ 58 h 550"/>
                <a:gd name="T10" fmla="*/ 130 w 398"/>
                <a:gd name="T11" fmla="*/ 75 h 550"/>
                <a:gd name="T12" fmla="*/ 124 w 398"/>
                <a:gd name="T13" fmla="*/ 89 h 550"/>
                <a:gd name="T14" fmla="*/ 113 w 398"/>
                <a:gd name="T15" fmla="*/ 111 h 550"/>
                <a:gd name="T16" fmla="*/ 87 w 398"/>
                <a:gd name="T17" fmla="*/ 139 h 550"/>
                <a:gd name="T18" fmla="*/ 58 w 398"/>
                <a:gd name="T19" fmla="*/ 162 h 550"/>
                <a:gd name="T20" fmla="*/ 43 w 398"/>
                <a:gd name="T21" fmla="*/ 158 h 550"/>
                <a:gd name="T22" fmla="*/ 30 w 398"/>
                <a:gd name="T23" fmla="*/ 182 h 550"/>
                <a:gd name="T24" fmla="*/ 43 w 398"/>
                <a:gd name="T25" fmla="*/ 201 h 550"/>
                <a:gd name="T26" fmla="*/ 56 w 398"/>
                <a:gd name="T27" fmla="*/ 220 h 550"/>
                <a:gd name="T28" fmla="*/ 52 w 398"/>
                <a:gd name="T29" fmla="*/ 234 h 550"/>
                <a:gd name="T30" fmla="*/ 33 w 398"/>
                <a:gd name="T31" fmla="*/ 236 h 550"/>
                <a:gd name="T32" fmla="*/ 7 w 398"/>
                <a:gd name="T33" fmla="*/ 241 h 550"/>
                <a:gd name="T34" fmla="*/ 7 w 398"/>
                <a:gd name="T35" fmla="*/ 252 h 550"/>
                <a:gd name="T36" fmla="*/ 41 w 398"/>
                <a:gd name="T37" fmla="*/ 259 h 550"/>
                <a:gd name="T38" fmla="*/ 18 w 398"/>
                <a:gd name="T39" fmla="*/ 278 h 550"/>
                <a:gd name="T40" fmla="*/ 53 w 398"/>
                <a:gd name="T41" fmla="*/ 303 h 550"/>
                <a:gd name="T42" fmla="*/ 74 w 398"/>
                <a:gd name="T43" fmla="*/ 278 h 550"/>
                <a:gd name="T44" fmla="*/ 82 w 398"/>
                <a:gd name="T45" fmla="*/ 280 h 550"/>
                <a:gd name="T46" fmla="*/ 88 w 398"/>
                <a:gd name="T47" fmla="*/ 297 h 550"/>
                <a:gd name="T48" fmla="*/ 88 w 398"/>
                <a:gd name="T49" fmla="*/ 333 h 550"/>
                <a:gd name="T50" fmla="*/ 90 w 398"/>
                <a:gd name="T51" fmla="*/ 352 h 550"/>
                <a:gd name="T52" fmla="*/ 105 w 398"/>
                <a:gd name="T53" fmla="*/ 402 h 550"/>
                <a:gd name="T54" fmla="*/ 115 w 398"/>
                <a:gd name="T55" fmla="*/ 418 h 550"/>
                <a:gd name="T56" fmla="*/ 127 w 398"/>
                <a:gd name="T57" fmla="*/ 457 h 550"/>
                <a:gd name="T58" fmla="*/ 149 w 398"/>
                <a:gd name="T59" fmla="*/ 502 h 550"/>
                <a:gd name="T60" fmla="*/ 161 w 398"/>
                <a:gd name="T61" fmla="*/ 532 h 550"/>
                <a:gd name="T62" fmla="*/ 195 w 398"/>
                <a:gd name="T63" fmla="*/ 530 h 550"/>
                <a:gd name="T64" fmla="*/ 205 w 398"/>
                <a:gd name="T65" fmla="*/ 522 h 550"/>
                <a:gd name="T66" fmla="*/ 222 w 398"/>
                <a:gd name="T67" fmla="*/ 495 h 550"/>
                <a:gd name="T68" fmla="*/ 228 w 398"/>
                <a:gd name="T69" fmla="*/ 445 h 550"/>
                <a:gd name="T70" fmla="*/ 230 w 398"/>
                <a:gd name="T71" fmla="*/ 402 h 550"/>
                <a:gd name="T72" fmla="*/ 254 w 398"/>
                <a:gd name="T73" fmla="*/ 389 h 550"/>
                <a:gd name="T74" fmla="*/ 300 w 398"/>
                <a:gd name="T75" fmla="*/ 353 h 550"/>
                <a:gd name="T76" fmla="*/ 327 w 398"/>
                <a:gd name="T77" fmla="*/ 321 h 550"/>
                <a:gd name="T78" fmla="*/ 356 w 398"/>
                <a:gd name="T79" fmla="*/ 294 h 550"/>
                <a:gd name="T80" fmla="*/ 381 w 398"/>
                <a:gd name="T81" fmla="*/ 286 h 550"/>
                <a:gd name="T82" fmla="*/ 390 w 398"/>
                <a:gd name="T83" fmla="*/ 274 h 550"/>
                <a:gd name="T84" fmla="*/ 397 w 398"/>
                <a:gd name="T85" fmla="*/ 283 h 550"/>
                <a:gd name="T86" fmla="*/ 393 w 398"/>
                <a:gd name="T87" fmla="*/ 255 h 550"/>
                <a:gd name="T88" fmla="*/ 387 w 398"/>
                <a:gd name="T89" fmla="*/ 233 h 550"/>
                <a:gd name="T90" fmla="*/ 382 w 398"/>
                <a:gd name="T91" fmla="*/ 217 h 550"/>
                <a:gd name="T92" fmla="*/ 377 w 398"/>
                <a:gd name="T93" fmla="*/ 201 h 550"/>
                <a:gd name="T94" fmla="*/ 376 w 398"/>
                <a:gd name="T95" fmla="*/ 192 h 550"/>
                <a:gd name="T96" fmla="*/ 354 w 398"/>
                <a:gd name="T97" fmla="*/ 190 h 550"/>
                <a:gd name="T98" fmla="*/ 340 w 398"/>
                <a:gd name="T99" fmla="*/ 187 h 550"/>
                <a:gd name="T100" fmla="*/ 323 w 398"/>
                <a:gd name="T101" fmla="*/ 182 h 550"/>
                <a:gd name="T102" fmla="*/ 306 w 398"/>
                <a:gd name="T103" fmla="*/ 169 h 550"/>
                <a:gd name="T104" fmla="*/ 292 w 398"/>
                <a:gd name="T105" fmla="*/ 169 h 550"/>
                <a:gd name="T106" fmla="*/ 276 w 398"/>
                <a:gd name="T107" fmla="*/ 168 h 550"/>
                <a:gd name="T108" fmla="*/ 256 w 398"/>
                <a:gd name="T109" fmla="*/ 159 h 550"/>
                <a:gd name="T110" fmla="*/ 224 w 398"/>
                <a:gd name="T111" fmla="*/ 137 h 550"/>
                <a:gd name="T112" fmla="*/ 228 w 398"/>
                <a:gd name="T113" fmla="*/ 105 h 550"/>
                <a:gd name="T114" fmla="*/ 209 w 398"/>
                <a:gd name="T115" fmla="*/ 89 h 550"/>
                <a:gd name="T116" fmla="*/ 200 w 398"/>
                <a:gd name="T117" fmla="*/ 87 h 550"/>
                <a:gd name="T118" fmla="*/ 196 w 398"/>
                <a:gd name="T119" fmla="*/ 58 h 550"/>
                <a:gd name="T120" fmla="*/ 212 w 398"/>
                <a:gd name="T121" fmla="*/ 52 h 550"/>
                <a:gd name="T122" fmla="*/ 200 w 398"/>
                <a:gd name="T123" fmla="*/ 37 h 550"/>
                <a:gd name="T124" fmla="*/ 188 w 398"/>
                <a:gd name="T125" fmla="*/ 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8" h="550">
                  <a:moveTo>
                    <a:pt x="244" y="400"/>
                  </a:moveTo>
                  <a:cubicBezTo>
                    <a:pt x="244" y="400"/>
                    <a:pt x="244" y="400"/>
                    <a:pt x="244" y="400"/>
                  </a:cubicBezTo>
                  <a:cubicBezTo>
                    <a:pt x="244" y="400"/>
                    <a:pt x="244" y="400"/>
                    <a:pt x="244" y="400"/>
                  </a:cubicBezTo>
                  <a:moveTo>
                    <a:pt x="185" y="0"/>
                  </a:moveTo>
                  <a:cubicBezTo>
                    <a:pt x="185" y="0"/>
                    <a:pt x="184" y="0"/>
                    <a:pt x="184" y="0"/>
                  </a:cubicBezTo>
                  <a:cubicBezTo>
                    <a:pt x="183" y="1"/>
                    <a:pt x="182" y="1"/>
                    <a:pt x="180" y="2"/>
                  </a:cubicBezTo>
                  <a:cubicBezTo>
                    <a:pt x="179" y="3"/>
                    <a:pt x="178" y="4"/>
                    <a:pt x="177" y="4"/>
                  </a:cubicBezTo>
                  <a:cubicBezTo>
                    <a:pt x="176" y="5"/>
                    <a:pt x="175" y="5"/>
                    <a:pt x="174" y="6"/>
                  </a:cubicBezTo>
                  <a:cubicBezTo>
                    <a:pt x="170" y="8"/>
                    <a:pt x="170" y="8"/>
                    <a:pt x="170" y="8"/>
                  </a:cubicBezTo>
                  <a:cubicBezTo>
                    <a:pt x="169" y="9"/>
                    <a:pt x="168" y="10"/>
                    <a:pt x="167" y="12"/>
                  </a:cubicBezTo>
                  <a:cubicBezTo>
                    <a:pt x="166" y="13"/>
                    <a:pt x="166" y="13"/>
                    <a:pt x="166" y="13"/>
                  </a:cubicBezTo>
                  <a:cubicBezTo>
                    <a:pt x="164" y="14"/>
                    <a:pt x="163" y="16"/>
                    <a:pt x="160" y="17"/>
                  </a:cubicBezTo>
                  <a:cubicBezTo>
                    <a:pt x="159" y="17"/>
                    <a:pt x="159" y="17"/>
                    <a:pt x="159" y="17"/>
                  </a:cubicBezTo>
                  <a:cubicBezTo>
                    <a:pt x="158" y="17"/>
                    <a:pt x="158" y="17"/>
                    <a:pt x="158" y="17"/>
                  </a:cubicBezTo>
                  <a:cubicBezTo>
                    <a:pt x="157" y="17"/>
                    <a:pt x="157" y="17"/>
                    <a:pt x="157" y="17"/>
                  </a:cubicBezTo>
                  <a:cubicBezTo>
                    <a:pt x="157" y="17"/>
                    <a:pt x="156" y="17"/>
                    <a:pt x="156" y="17"/>
                  </a:cubicBezTo>
                  <a:cubicBezTo>
                    <a:pt x="155" y="17"/>
                    <a:pt x="155" y="17"/>
                    <a:pt x="154" y="18"/>
                  </a:cubicBezTo>
                  <a:cubicBezTo>
                    <a:pt x="154" y="18"/>
                    <a:pt x="154" y="18"/>
                    <a:pt x="153" y="18"/>
                  </a:cubicBezTo>
                  <a:cubicBezTo>
                    <a:pt x="153" y="18"/>
                    <a:pt x="153" y="18"/>
                    <a:pt x="153" y="18"/>
                  </a:cubicBezTo>
                  <a:cubicBezTo>
                    <a:pt x="152" y="19"/>
                    <a:pt x="152" y="19"/>
                    <a:pt x="151" y="19"/>
                  </a:cubicBezTo>
                  <a:cubicBezTo>
                    <a:pt x="148" y="20"/>
                    <a:pt x="145" y="21"/>
                    <a:pt x="143" y="21"/>
                  </a:cubicBezTo>
                  <a:cubicBezTo>
                    <a:pt x="142" y="21"/>
                    <a:pt x="141" y="21"/>
                    <a:pt x="141" y="21"/>
                  </a:cubicBezTo>
                  <a:cubicBezTo>
                    <a:pt x="139" y="21"/>
                    <a:pt x="139" y="21"/>
                    <a:pt x="139" y="21"/>
                  </a:cubicBezTo>
                  <a:cubicBezTo>
                    <a:pt x="138" y="21"/>
                    <a:pt x="137" y="20"/>
                    <a:pt x="136" y="20"/>
                  </a:cubicBezTo>
                  <a:cubicBezTo>
                    <a:pt x="136" y="20"/>
                    <a:pt x="136" y="20"/>
                    <a:pt x="135" y="19"/>
                  </a:cubicBezTo>
                  <a:cubicBezTo>
                    <a:pt x="135" y="19"/>
                    <a:pt x="135" y="19"/>
                    <a:pt x="135" y="19"/>
                  </a:cubicBezTo>
                  <a:cubicBezTo>
                    <a:pt x="134" y="19"/>
                    <a:pt x="134" y="19"/>
                    <a:pt x="133" y="18"/>
                  </a:cubicBezTo>
                  <a:cubicBezTo>
                    <a:pt x="131" y="18"/>
                    <a:pt x="131" y="18"/>
                    <a:pt x="131" y="18"/>
                  </a:cubicBezTo>
                  <a:cubicBezTo>
                    <a:pt x="130" y="18"/>
                    <a:pt x="129" y="18"/>
                    <a:pt x="128" y="18"/>
                  </a:cubicBezTo>
                  <a:cubicBezTo>
                    <a:pt x="126" y="17"/>
                    <a:pt x="124" y="17"/>
                    <a:pt x="123" y="17"/>
                  </a:cubicBezTo>
                  <a:cubicBezTo>
                    <a:pt x="123" y="17"/>
                    <a:pt x="122" y="17"/>
                    <a:pt x="122" y="17"/>
                  </a:cubicBezTo>
                  <a:cubicBezTo>
                    <a:pt x="121" y="17"/>
                    <a:pt x="120" y="17"/>
                    <a:pt x="119" y="17"/>
                  </a:cubicBezTo>
                  <a:cubicBezTo>
                    <a:pt x="119" y="17"/>
                    <a:pt x="119" y="17"/>
                    <a:pt x="119" y="17"/>
                  </a:cubicBezTo>
                  <a:cubicBezTo>
                    <a:pt x="116" y="17"/>
                    <a:pt x="114" y="18"/>
                    <a:pt x="112" y="18"/>
                  </a:cubicBezTo>
                  <a:cubicBezTo>
                    <a:pt x="112" y="18"/>
                    <a:pt x="111" y="18"/>
                    <a:pt x="111" y="18"/>
                  </a:cubicBezTo>
                  <a:cubicBezTo>
                    <a:pt x="111" y="19"/>
                    <a:pt x="111" y="19"/>
                    <a:pt x="111" y="19"/>
                  </a:cubicBezTo>
                  <a:cubicBezTo>
                    <a:pt x="110" y="19"/>
                    <a:pt x="110" y="20"/>
                    <a:pt x="110" y="21"/>
                  </a:cubicBezTo>
                  <a:cubicBezTo>
                    <a:pt x="109" y="21"/>
                    <a:pt x="109" y="21"/>
                    <a:pt x="109" y="21"/>
                  </a:cubicBezTo>
                  <a:cubicBezTo>
                    <a:pt x="110" y="21"/>
                    <a:pt x="110" y="21"/>
                    <a:pt x="110" y="21"/>
                  </a:cubicBezTo>
                  <a:cubicBezTo>
                    <a:pt x="110" y="21"/>
                    <a:pt x="110" y="21"/>
                    <a:pt x="110" y="21"/>
                  </a:cubicBezTo>
                  <a:cubicBezTo>
                    <a:pt x="111" y="22"/>
                    <a:pt x="111" y="22"/>
                    <a:pt x="111" y="22"/>
                  </a:cubicBezTo>
                  <a:cubicBezTo>
                    <a:pt x="112" y="23"/>
                    <a:pt x="112" y="23"/>
                    <a:pt x="112" y="23"/>
                  </a:cubicBezTo>
                  <a:cubicBezTo>
                    <a:pt x="113" y="24"/>
                    <a:pt x="113" y="26"/>
                    <a:pt x="112" y="27"/>
                  </a:cubicBezTo>
                  <a:cubicBezTo>
                    <a:pt x="115" y="28"/>
                    <a:pt x="117" y="28"/>
                    <a:pt x="118" y="30"/>
                  </a:cubicBezTo>
                  <a:cubicBezTo>
                    <a:pt x="118" y="31"/>
                    <a:pt x="118" y="33"/>
                    <a:pt x="117" y="34"/>
                  </a:cubicBezTo>
                  <a:cubicBezTo>
                    <a:pt x="116" y="35"/>
                    <a:pt x="116" y="35"/>
                    <a:pt x="116" y="35"/>
                  </a:cubicBezTo>
                  <a:cubicBezTo>
                    <a:pt x="115" y="35"/>
                    <a:pt x="115" y="35"/>
                    <a:pt x="115" y="35"/>
                  </a:cubicBezTo>
                  <a:cubicBezTo>
                    <a:pt x="115" y="35"/>
                    <a:pt x="115" y="35"/>
                    <a:pt x="114" y="35"/>
                  </a:cubicBezTo>
                  <a:cubicBezTo>
                    <a:pt x="114" y="36"/>
                    <a:pt x="114" y="36"/>
                    <a:pt x="114" y="36"/>
                  </a:cubicBezTo>
                  <a:cubicBezTo>
                    <a:pt x="113" y="36"/>
                    <a:pt x="113" y="36"/>
                    <a:pt x="113" y="36"/>
                  </a:cubicBezTo>
                  <a:cubicBezTo>
                    <a:pt x="114" y="37"/>
                    <a:pt x="114" y="37"/>
                    <a:pt x="114" y="37"/>
                  </a:cubicBezTo>
                  <a:cubicBezTo>
                    <a:pt x="115" y="37"/>
                    <a:pt x="115" y="37"/>
                    <a:pt x="115" y="37"/>
                  </a:cubicBezTo>
                  <a:cubicBezTo>
                    <a:pt x="117" y="41"/>
                    <a:pt x="116" y="44"/>
                    <a:pt x="115" y="45"/>
                  </a:cubicBezTo>
                  <a:cubicBezTo>
                    <a:pt x="114" y="46"/>
                    <a:pt x="114" y="46"/>
                    <a:pt x="114" y="47"/>
                  </a:cubicBezTo>
                  <a:cubicBezTo>
                    <a:pt x="114" y="47"/>
                    <a:pt x="114" y="47"/>
                    <a:pt x="114" y="47"/>
                  </a:cubicBezTo>
                  <a:cubicBezTo>
                    <a:pt x="114" y="48"/>
                    <a:pt x="115" y="50"/>
                    <a:pt x="116" y="50"/>
                  </a:cubicBezTo>
                  <a:cubicBezTo>
                    <a:pt x="118" y="53"/>
                    <a:pt x="118" y="53"/>
                    <a:pt x="118" y="53"/>
                  </a:cubicBezTo>
                  <a:cubicBezTo>
                    <a:pt x="119" y="54"/>
                    <a:pt x="119" y="54"/>
                    <a:pt x="119" y="54"/>
                  </a:cubicBezTo>
                  <a:cubicBezTo>
                    <a:pt x="119" y="54"/>
                    <a:pt x="119" y="54"/>
                    <a:pt x="119" y="54"/>
                  </a:cubicBezTo>
                  <a:cubicBezTo>
                    <a:pt x="119" y="54"/>
                    <a:pt x="120" y="54"/>
                    <a:pt x="121" y="54"/>
                  </a:cubicBezTo>
                  <a:cubicBezTo>
                    <a:pt x="122" y="53"/>
                    <a:pt x="123" y="53"/>
                    <a:pt x="124" y="53"/>
                  </a:cubicBezTo>
                  <a:cubicBezTo>
                    <a:pt x="128" y="52"/>
                    <a:pt x="128" y="52"/>
                    <a:pt x="128" y="52"/>
                  </a:cubicBezTo>
                  <a:cubicBezTo>
                    <a:pt x="126" y="57"/>
                    <a:pt x="126" y="57"/>
                    <a:pt x="126" y="57"/>
                  </a:cubicBezTo>
                  <a:cubicBezTo>
                    <a:pt x="126" y="57"/>
                    <a:pt x="126" y="57"/>
                    <a:pt x="126" y="57"/>
                  </a:cubicBezTo>
                  <a:cubicBezTo>
                    <a:pt x="126" y="58"/>
                    <a:pt x="126" y="58"/>
                    <a:pt x="126" y="58"/>
                  </a:cubicBezTo>
                  <a:cubicBezTo>
                    <a:pt x="126" y="58"/>
                    <a:pt x="126" y="58"/>
                    <a:pt x="126" y="58"/>
                  </a:cubicBezTo>
                  <a:cubicBezTo>
                    <a:pt x="126" y="59"/>
                    <a:pt x="126" y="60"/>
                    <a:pt x="126" y="60"/>
                  </a:cubicBezTo>
                  <a:cubicBezTo>
                    <a:pt x="126" y="60"/>
                    <a:pt x="126" y="60"/>
                    <a:pt x="126" y="60"/>
                  </a:cubicBezTo>
                  <a:cubicBezTo>
                    <a:pt x="126" y="60"/>
                    <a:pt x="126" y="61"/>
                    <a:pt x="128" y="61"/>
                  </a:cubicBezTo>
                  <a:cubicBezTo>
                    <a:pt x="130" y="61"/>
                    <a:pt x="130" y="61"/>
                    <a:pt x="130" y="61"/>
                  </a:cubicBezTo>
                  <a:cubicBezTo>
                    <a:pt x="131" y="61"/>
                    <a:pt x="132" y="61"/>
                    <a:pt x="133" y="61"/>
                  </a:cubicBezTo>
                  <a:cubicBezTo>
                    <a:pt x="133" y="62"/>
                    <a:pt x="133" y="62"/>
                    <a:pt x="134" y="62"/>
                  </a:cubicBezTo>
                  <a:cubicBezTo>
                    <a:pt x="134" y="62"/>
                    <a:pt x="135" y="62"/>
                    <a:pt x="135" y="62"/>
                  </a:cubicBezTo>
                  <a:cubicBezTo>
                    <a:pt x="135" y="62"/>
                    <a:pt x="136" y="63"/>
                    <a:pt x="136" y="63"/>
                  </a:cubicBezTo>
                  <a:cubicBezTo>
                    <a:pt x="138" y="65"/>
                    <a:pt x="138" y="67"/>
                    <a:pt x="138" y="69"/>
                  </a:cubicBezTo>
                  <a:cubicBezTo>
                    <a:pt x="136" y="72"/>
                    <a:pt x="134" y="73"/>
                    <a:pt x="132" y="74"/>
                  </a:cubicBezTo>
                  <a:cubicBezTo>
                    <a:pt x="131" y="74"/>
                    <a:pt x="131" y="74"/>
                    <a:pt x="131" y="74"/>
                  </a:cubicBezTo>
                  <a:cubicBezTo>
                    <a:pt x="131" y="74"/>
                    <a:pt x="130" y="74"/>
                    <a:pt x="130" y="75"/>
                  </a:cubicBezTo>
                  <a:cubicBezTo>
                    <a:pt x="129" y="75"/>
                    <a:pt x="129" y="75"/>
                    <a:pt x="129" y="75"/>
                  </a:cubicBezTo>
                  <a:cubicBezTo>
                    <a:pt x="128" y="75"/>
                    <a:pt x="128" y="75"/>
                    <a:pt x="127" y="75"/>
                  </a:cubicBezTo>
                  <a:cubicBezTo>
                    <a:pt x="127" y="76"/>
                    <a:pt x="127" y="76"/>
                    <a:pt x="126" y="76"/>
                  </a:cubicBezTo>
                  <a:cubicBezTo>
                    <a:pt x="126" y="76"/>
                    <a:pt x="126" y="76"/>
                    <a:pt x="126" y="76"/>
                  </a:cubicBezTo>
                  <a:cubicBezTo>
                    <a:pt x="125" y="76"/>
                    <a:pt x="125" y="76"/>
                    <a:pt x="125" y="76"/>
                  </a:cubicBezTo>
                  <a:cubicBezTo>
                    <a:pt x="124" y="77"/>
                    <a:pt x="124" y="77"/>
                    <a:pt x="124" y="77"/>
                  </a:cubicBezTo>
                  <a:cubicBezTo>
                    <a:pt x="123" y="77"/>
                    <a:pt x="123" y="78"/>
                    <a:pt x="123" y="78"/>
                  </a:cubicBezTo>
                  <a:cubicBezTo>
                    <a:pt x="123" y="79"/>
                    <a:pt x="123" y="79"/>
                    <a:pt x="123" y="79"/>
                  </a:cubicBezTo>
                  <a:cubicBezTo>
                    <a:pt x="123" y="80"/>
                    <a:pt x="123" y="80"/>
                    <a:pt x="123" y="80"/>
                  </a:cubicBezTo>
                  <a:cubicBezTo>
                    <a:pt x="123" y="82"/>
                    <a:pt x="123" y="84"/>
                    <a:pt x="124" y="85"/>
                  </a:cubicBezTo>
                  <a:cubicBezTo>
                    <a:pt x="124" y="86"/>
                    <a:pt x="124" y="86"/>
                    <a:pt x="124" y="86"/>
                  </a:cubicBezTo>
                  <a:cubicBezTo>
                    <a:pt x="124" y="86"/>
                    <a:pt x="124" y="87"/>
                    <a:pt x="124" y="87"/>
                  </a:cubicBezTo>
                  <a:cubicBezTo>
                    <a:pt x="124" y="89"/>
                    <a:pt x="124" y="89"/>
                    <a:pt x="124" y="89"/>
                  </a:cubicBezTo>
                  <a:cubicBezTo>
                    <a:pt x="124" y="90"/>
                    <a:pt x="125" y="91"/>
                    <a:pt x="125" y="92"/>
                  </a:cubicBezTo>
                  <a:cubicBezTo>
                    <a:pt x="125" y="94"/>
                    <a:pt x="123" y="96"/>
                    <a:pt x="122" y="97"/>
                  </a:cubicBezTo>
                  <a:cubicBezTo>
                    <a:pt x="120" y="99"/>
                    <a:pt x="118" y="100"/>
                    <a:pt x="117" y="101"/>
                  </a:cubicBezTo>
                  <a:cubicBezTo>
                    <a:pt x="117" y="101"/>
                    <a:pt x="117" y="101"/>
                    <a:pt x="117" y="101"/>
                  </a:cubicBezTo>
                  <a:cubicBezTo>
                    <a:pt x="116" y="102"/>
                    <a:pt x="115" y="103"/>
                    <a:pt x="114" y="103"/>
                  </a:cubicBezTo>
                  <a:cubicBezTo>
                    <a:pt x="114" y="103"/>
                    <a:pt x="114" y="103"/>
                    <a:pt x="114" y="103"/>
                  </a:cubicBezTo>
                  <a:cubicBezTo>
                    <a:pt x="113" y="104"/>
                    <a:pt x="112" y="105"/>
                    <a:pt x="112" y="106"/>
                  </a:cubicBezTo>
                  <a:cubicBezTo>
                    <a:pt x="111" y="106"/>
                    <a:pt x="111" y="106"/>
                    <a:pt x="111" y="106"/>
                  </a:cubicBezTo>
                  <a:cubicBezTo>
                    <a:pt x="111" y="107"/>
                    <a:pt x="111" y="107"/>
                    <a:pt x="111" y="107"/>
                  </a:cubicBezTo>
                  <a:cubicBezTo>
                    <a:pt x="111" y="108"/>
                    <a:pt x="111" y="108"/>
                    <a:pt x="111" y="108"/>
                  </a:cubicBezTo>
                  <a:cubicBezTo>
                    <a:pt x="111" y="109"/>
                    <a:pt x="111" y="109"/>
                    <a:pt x="111" y="109"/>
                  </a:cubicBezTo>
                  <a:cubicBezTo>
                    <a:pt x="112" y="109"/>
                    <a:pt x="112" y="109"/>
                    <a:pt x="112" y="109"/>
                  </a:cubicBezTo>
                  <a:cubicBezTo>
                    <a:pt x="113" y="111"/>
                    <a:pt x="113" y="111"/>
                    <a:pt x="113" y="111"/>
                  </a:cubicBezTo>
                  <a:cubicBezTo>
                    <a:pt x="111" y="113"/>
                    <a:pt x="111" y="113"/>
                    <a:pt x="111" y="113"/>
                  </a:cubicBezTo>
                  <a:cubicBezTo>
                    <a:pt x="110" y="113"/>
                    <a:pt x="109" y="114"/>
                    <a:pt x="108" y="114"/>
                  </a:cubicBezTo>
                  <a:cubicBezTo>
                    <a:pt x="107" y="115"/>
                    <a:pt x="107" y="115"/>
                    <a:pt x="107" y="115"/>
                  </a:cubicBezTo>
                  <a:cubicBezTo>
                    <a:pt x="105" y="115"/>
                    <a:pt x="104" y="116"/>
                    <a:pt x="102" y="117"/>
                  </a:cubicBezTo>
                  <a:cubicBezTo>
                    <a:pt x="101" y="117"/>
                    <a:pt x="101" y="118"/>
                    <a:pt x="101" y="118"/>
                  </a:cubicBezTo>
                  <a:cubicBezTo>
                    <a:pt x="100" y="119"/>
                    <a:pt x="100" y="120"/>
                    <a:pt x="99" y="122"/>
                  </a:cubicBezTo>
                  <a:cubicBezTo>
                    <a:pt x="99" y="123"/>
                    <a:pt x="99" y="123"/>
                    <a:pt x="99" y="123"/>
                  </a:cubicBezTo>
                  <a:cubicBezTo>
                    <a:pt x="99" y="124"/>
                    <a:pt x="99" y="124"/>
                    <a:pt x="99" y="124"/>
                  </a:cubicBezTo>
                  <a:cubicBezTo>
                    <a:pt x="99" y="125"/>
                    <a:pt x="98" y="125"/>
                    <a:pt x="98" y="126"/>
                  </a:cubicBezTo>
                  <a:cubicBezTo>
                    <a:pt x="98" y="127"/>
                    <a:pt x="97" y="128"/>
                    <a:pt x="96" y="129"/>
                  </a:cubicBezTo>
                  <a:cubicBezTo>
                    <a:pt x="96" y="130"/>
                    <a:pt x="96" y="130"/>
                    <a:pt x="96" y="130"/>
                  </a:cubicBezTo>
                  <a:cubicBezTo>
                    <a:pt x="95" y="131"/>
                    <a:pt x="95" y="132"/>
                    <a:pt x="94" y="133"/>
                  </a:cubicBezTo>
                  <a:cubicBezTo>
                    <a:pt x="92" y="136"/>
                    <a:pt x="91" y="137"/>
                    <a:pt x="87" y="139"/>
                  </a:cubicBezTo>
                  <a:cubicBezTo>
                    <a:pt x="87" y="139"/>
                    <a:pt x="87" y="139"/>
                    <a:pt x="87" y="139"/>
                  </a:cubicBezTo>
                  <a:cubicBezTo>
                    <a:pt x="86" y="139"/>
                    <a:pt x="86" y="140"/>
                    <a:pt x="85" y="140"/>
                  </a:cubicBezTo>
                  <a:cubicBezTo>
                    <a:pt x="84" y="141"/>
                    <a:pt x="83" y="141"/>
                    <a:pt x="82" y="143"/>
                  </a:cubicBezTo>
                  <a:cubicBezTo>
                    <a:pt x="84" y="144"/>
                    <a:pt x="84" y="144"/>
                    <a:pt x="84" y="144"/>
                  </a:cubicBezTo>
                  <a:cubicBezTo>
                    <a:pt x="81" y="144"/>
                    <a:pt x="81" y="144"/>
                    <a:pt x="81" y="144"/>
                  </a:cubicBezTo>
                  <a:cubicBezTo>
                    <a:pt x="69" y="160"/>
                    <a:pt x="69" y="160"/>
                    <a:pt x="69" y="160"/>
                  </a:cubicBezTo>
                  <a:cubicBezTo>
                    <a:pt x="68" y="160"/>
                    <a:pt x="68" y="161"/>
                    <a:pt x="67" y="161"/>
                  </a:cubicBezTo>
                  <a:cubicBezTo>
                    <a:pt x="66" y="161"/>
                    <a:pt x="64" y="161"/>
                    <a:pt x="62" y="161"/>
                  </a:cubicBezTo>
                  <a:cubicBezTo>
                    <a:pt x="61" y="161"/>
                    <a:pt x="61" y="161"/>
                    <a:pt x="61" y="161"/>
                  </a:cubicBezTo>
                  <a:cubicBezTo>
                    <a:pt x="61" y="161"/>
                    <a:pt x="61" y="162"/>
                    <a:pt x="60" y="162"/>
                  </a:cubicBezTo>
                  <a:cubicBezTo>
                    <a:pt x="60" y="162"/>
                    <a:pt x="59" y="162"/>
                    <a:pt x="59" y="162"/>
                  </a:cubicBezTo>
                  <a:cubicBezTo>
                    <a:pt x="58" y="162"/>
                    <a:pt x="58" y="162"/>
                    <a:pt x="58" y="162"/>
                  </a:cubicBezTo>
                  <a:cubicBezTo>
                    <a:pt x="58" y="162"/>
                    <a:pt x="58" y="162"/>
                    <a:pt x="58" y="162"/>
                  </a:cubicBezTo>
                  <a:cubicBezTo>
                    <a:pt x="57" y="162"/>
                    <a:pt x="55" y="163"/>
                    <a:pt x="54" y="163"/>
                  </a:cubicBezTo>
                  <a:cubicBezTo>
                    <a:pt x="53" y="164"/>
                    <a:pt x="53" y="164"/>
                    <a:pt x="53" y="164"/>
                  </a:cubicBezTo>
                  <a:cubicBezTo>
                    <a:pt x="52" y="164"/>
                    <a:pt x="52" y="164"/>
                    <a:pt x="51" y="164"/>
                  </a:cubicBezTo>
                  <a:cubicBezTo>
                    <a:pt x="50" y="164"/>
                    <a:pt x="49" y="164"/>
                    <a:pt x="48" y="163"/>
                  </a:cubicBezTo>
                  <a:cubicBezTo>
                    <a:pt x="48" y="163"/>
                    <a:pt x="48" y="163"/>
                    <a:pt x="48" y="163"/>
                  </a:cubicBezTo>
                  <a:cubicBezTo>
                    <a:pt x="47" y="162"/>
                    <a:pt x="47" y="162"/>
                    <a:pt x="47" y="162"/>
                  </a:cubicBezTo>
                  <a:cubicBezTo>
                    <a:pt x="46" y="162"/>
                    <a:pt x="46" y="161"/>
                    <a:pt x="45" y="160"/>
                  </a:cubicBezTo>
                  <a:cubicBezTo>
                    <a:pt x="45" y="159"/>
                    <a:pt x="45" y="159"/>
                    <a:pt x="44" y="158"/>
                  </a:cubicBezTo>
                  <a:cubicBezTo>
                    <a:pt x="44" y="158"/>
                    <a:pt x="44" y="158"/>
                    <a:pt x="44" y="158"/>
                  </a:cubicBezTo>
                  <a:cubicBezTo>
                    <a:pt x="44" y="158"/>
                    <a:pt x="44" y="158"/>
                    <a:pt x="44" y="158"/>
                  </a:cubicBezTo>
                  <a:cubicBezTo>
                    <a:pt x="44" y="158"/>
                    <a:pt x="44" y="158"/>
                    <a:pt x="44" y="158"/>
                  </a:cubicBezTo>
                  <a:cubicBezTo>
                    <a:pt x="43" y="158"/>
                    <a:pt x="43" y="158"/>
                    <a:pt x="43" y="158"/>
                  </a:cubicBezTo>
                  <a:cubicBezTo>
                    <a:pt x="43" y="158"/>
                    <a:pt x="43" y="158"/>
                    <a:pt x="43" y="158"/>
                  </a:cubicBezTo>
                  <a:cubicBezTo>
                    <a:pt x="42" y="158"/>
                    <a:pt x="42" y="158"/>
                    <a:pt x="42" y="158"/>
                  </a:cubicBezTo>
                  <a:cubicBezTo>
                    <a:pt x="42" y="159"/>
                    <a:pt x="42" y="159"/>
                    <a:pt x="42" y="159"/>
                  </a:cubicBezTo>
                  <a:cubicBezTo>
                    <a:pt x="41" y="159"/>
                    <a:pt x="41" y="159"/>
                    <a:pt x="41" y="159"/>
                  </a:cubicBezTo>
                  <a:cubicBezTo>
                    <a:pt x="40" y="160"/>
                    <a:pt x="40" y="160"/>
                    <a:pt x="40" y="160"/>
                  </a:cubicBezTo>
                  <a:cubicBezTo>
                    <a:pt x="39" y="161"/>
                    <a:pt x="39" y="161"/>
                    <a:pt x="39" y="161"/>
                  </a:cubicBezTo>
                  <a:cubicBezTo>
                    <a:pt x="39" y="162"/>
                    <a:pt x="39" y="162"/>
                    <a:pt x="39" y="162"/>
                  </a:cubicBezTo>
                  <a:cubicBezTo>
                    <a:pt x="38" y="162"/>
                    <a:pt x="38" y="162"/>
                    <a:pt x="38" y="162"/>
                  </a:cubicBezTo>
                  <a:cubicBezTo>
                    <a:pt x="38" y="163"/>
                    <a:pt x="37" y="164"/>
                    <a:pt x="37" y="164"/>
                  </a:cubicBezTo>
                  <a:cubicBezTo>
                    <a:pt x="36" y="165"/>
                    <a:pt x="35" y="166"/>
                    <a:pt x="34" y="167"/>
                  </a:cubicBezTo>
                  <a:cubicBezTo>
                    <a:pt x="32" y="169"/>
                    <a:pt x="30" y="172"/>
                    <a:pt x="29" y="174"/>
                  </a:cubicBezTo>
                  <a:cubicBezTo>
                    <a:pt x="27" y="177"/>
                    <a:pt x="26" y="179"/>
                    <a:pt x="27" y="180"/>
                  </a:cubicBezTo>
                  <a:cubicBezTo>
                    <a:pt x="27" y="181"/>
                    <a:pt x="27" y="181"/>
                    <a:pt x="27" y="181"/>
                  </a:cubicBezTo>
                  <a:cubicBezTo>
                    <a:pt x="28" y="181"/>
                    <a:pt x="29" y="182"/>
                    <a:pt x="30" y="182"/>
                  </a:cubicBezTo>
                  <a:cubicBezTo>
                    <a:pt x="31" y="182"/>
                    <a:pt x="31" y="182"/>
                    <a:pt x="31" y="182"/>
                  </a:cubicBezTo>
                  <a:cubicBezTo>
                    <a:pt x="32" y="182"/>
                    <a:pt x="33" y="183"/>
                    <a:pt x="34" y="183"/>
                  </a:cubicBezTo>
                  <a:cubicBezTo>
                    <a:pt x="35" y="183"/>
                    <a:pt x="35" y="183"/>
                    <a:pt x="35" y="183"/>
                  </a:cubicBezTo>
                  <a:cubicBezTo>
                    <a:pt x="36" y="183"/>
                    <a:pt x="37" y="183"/>
                    <a:pt x="38" y="184"/>
                  </a:cubicBezTo>
                  <a:cubicBezTo>
                    <a:pt x="39" y="184"/>
                    <a:pt x="40" y="186"/>
                    <a:pt x="40" y="187"/>
                  </a:cubicBezTo>
                  <a:cubicBezTo>
                    <a:pt x="40" y="188"/>
                    <a:pt x="40" y="190"/>
                    <a:pt x="40" y="191"/>
                  </a:cubicBezTo>
                  <a:cubicBezTo>
                    <a:pt x="39" y="193"/>
                    <a:pt x="39" y="194"/>
                    <a:pt x="40" y="195"/>
                  </a:cubicBezTo>
                  <a:cubicBezTo>
                    <a:pt x="40" y="196"/>
                    <a:pt x="40" y="196"/>
                    <a:pt x="40" y="197"/>
                  </a:cubicBezTo>
                  <a:cubicBezTo>
                    <a:pt x="40" y="197"/>
                    <a:pt x="40" y="197"/>
                    <a:pt x="40" y="197"/>
                  </a:cubicBezTo>
                  <a:cubicBezTo>
                    <a:pt x="40" y="199"/>
                    <a:pt x="41" y="200"/>
                    <a:pt x="41" y="201"/>
                  </a:cubicBezTo>
                  <a:cubicBezTo>
                    <a:pt x="42" y="201"/>
                    <a:pt x="42" y="201"/>
                    <a:pt x="42" y="201"/>
                  </a:cubicBezTo>
                  <a:cubicBezTo>
                    <a:pt x="42" y="201"/>
                    <a:pt x="42" y="201"/>
                    <a:pt x="43" y="201"/>
                  </a:cubicBezTo>
                  <a:cubicBezTo>
                    <a:pt x="43" y="201"/>
                    <a:pt x="43" y="201"/>
                    <a:pt x="43" y="201"/>
                  </a:cubicBezTo>
                  <a:cubicBezTo>
                    <a:pt x="43" y="201"/>
                    <a:pt x="43" y="201"/>
                    <a:pt x="43" y="201"/>
                  </a:cubicBezTo>
                  <a:cubicBezTo>
                    <a:pt x="44" y="201"/>
                    <a:pt x="44" y="201"/>
                    <a:pt x="44" y="201"/>
                  </a:cubicBezTo>
                  <a:cubicBezTo>
                    <a:pt x="44" y="201"/>
                    <a:pt x="44" y="201"/>
                    <a:pt x="44" y="201"/>
                  </a:cubicBezTo>
                  <a:cubicBezTo>
                    <a:pt x="45" y="201"/>
                    <a:pt x="45" y="201"/>
                    <a:pt x="45" y="201"/>
                  </a:cubicBezTo>
                  <a:cubicBezTo>
                    <a:pt x="45" y="201"/>
                    <a:pt x="45" y="201"/>
                    <a:pt x="46" y="201"/>
                  </a:cubicBezTo>
                  <a:cubicBezTo>
                    <a:pt x="46" y="201"/>
                    <a:pt x="46" y="201"/>
                    <a:pt x="47" y="201"/>
                  </a:cubicBezTo>
                  <a:cubicBezTo>
                    <a:pt x="48" y="201"/>
                    <a:pt x="49" y="202"/>
                    <a:pt x="49" y="204"/>
                  </a:cubicBezTo>
                  <a:cubicBezTo>
                    <a:pt x="50" y="204"/>
                    <a:pt x="50" y="205"/>
                    <a:pt x="50" y="206"/>
                  </a:cubicBezTo>
                  <a:cubicBezTo>
                    <a:pt x="50" y="207"/>
                    <a:pt x="50" y="208"/>
                    <a:pt x="51" y="209"/>
                  </a:cubicBezTo>
                  <a:cubicBezTo>
                    <a:pt x="51" y="210"/>
                    <a:pt x="51" y="210"/>
                    <a:pt x="52" y="211"/>
                  </a:cubicBezTo>
                  <a:cubicBezTo>
                    <a:pt x="52" y="212"/>
                    <a:pt x="52" y="212"/>
                    <a:pt x="52" y="212"/>
                  </a:cubicBezTo>
                  <a:cubicBezTo>
                    <a:pt x="52" y="212"/>
                    <a:pt x="52" y="212"/>
                    <a:pt x="52" y="212"/>
                  </a:cubicBezTo>
                  <a:cubicBezTo>
                    <a:pt x="56" y="220"/>
                    <a:pt x="56" y="220"/>
                    <a:pt x="56" y="220"/>
                  </a:cubicBezTo>
                  <a:cubicBezTo>
                    <a:pt x="57" y="222"/>
                    <a:pt x="57" y="223"/>
                    <a:pt x="57" y="224"/>
                  </a:cubicBezTo>
                  <a:cubicBezTo>
                    <a:pt x="57" y="225"/>
                    <a:pt x="56" y="225"/>
                    <a:pt x="56" y="226"/>
                  </a:cubicBezTo>
                  <a:cubicBezTo>
                    <a:pt x="56" y="226"/>
                    <a:pt x="56" y="226"/>
                    <a:pt x="56" y="226"/>
                  </a:cubicBezTo>
                  <a:cubicBezTo>
                    <a:pt x="56" y="227"/>
                    <a:pt x="56" y="227"/>
                    <a:pt x="56" y="227"/>
                  </a:cubicBezTo>
                  <a:cubicBezTo>
                    <a:pt x="56" y="227"/>
                    <a:pt x="56" y="227"/>
                    <a:pt x="56" y="227"/>
                  </a:cubicBezTo>
                  <a:cubicBezTo>
                    <a:pt x="57" y="228"/>
                    <a:pt x="57" y="228"/>
                    <a:pt x="57" y="228"/>
                  </a:cubicBezTo>
                  <a:cubicBezTo>
                    <a:pt x="57" y="229"/>
                    <a:pt x="57" y="229"/>
                    <a:pt x="57" y="229"/>
                  </a:cubicBezTo>
                  <a:cubicBezTo>
                    <a:pt x="57" y="230"/>
                    <a:pt x="56" y="231"/>
                    <a:pt x="56" y="232"/>
                  </a:cubicBezTo>
                  <a:cubicBezTo>
                    <a:pt x="55" y="232"/>
                    <a:pt x="55" y="232"/>
                    <a:pt x="54" y="233"/>
                  </a:cubicBezTo>
                  <a:cubicBezTo>
                    <a:pt x="54" y="233"/>
                    <a:pt x="53" y="233"/>
                    <a:pt x="53" y="233"/>
                  </a:cubicBezTo>
                  <a:cubicBezTo>
                    <a:pt x="53" y="233"/>
                    <a:pt x="53" y="233"/>
                    <a:pt x="53" y="233"/>
                  </a:cubicBezTo>
                  <a:cubicBezTo>
                    <a:pt x="53" y="233"/>
                    <a:pt x="53" y="233"/>
                    <a:pt x="53" y="233"/>
                  </a:cubicBezTo>
                  <a:cubicBezTo>
                    <a:pt x="52" y="234"/>
                    <a:pt x="52" y="234"/>
                    <a:pt x="52" y="234"/>
                  </a:cubicBezTo>
                  <a:cubicBezTo>
                    <a:pt x="52" y="234"/>
                    <a:pt x="52" y="234"/>
                    <a:pt x="52" y="234"/>
                  </a:cubicBezTo>
                  <a:cubicBezTo>
                    <a:pt x="51" y="235"/>
                    <a:pt x="50" y="235"/>
                    <a:pt x="49" y="235"/>
                  </a:cubicBezTo>
                  <a:cubicBezTo>
                    <a:pt x="49" y="235"/>
                    <a:pt x="49" y="235"/>
                    <a:pt x="48" y="235"/>
                  </a:cubicBezTo>
                  <a:cubicBezTo>
                    <a:pt x="47" y="234"/>
                    <a:pt x="46" y="234"/>
                    <a:pt x="45" y="233"/>
                  </a:cubicBezTo>
                  <a:cubicBezTo>
                    <a:pt x="44" y="233"/>
                    <a:pt x="44" y="233"/>
                    <a:pt x="44" y="232"/>
                  </a:cubicBezTo>
                  <a:cubicBezTo>
                    <a:pt x="44" y="232"/>
                    <a:pt x="44" y="232"/>
                    <a:pt x="44" y="232"/>
                  </a:cubicBezTo>
                  <a:cubicBezTo>
                    <a:pt x="44" y="232"/>
                    <a:pt x="44" y="232"/>
                    <a:pt x="44" y="232"/>
                  </a:cubicBezTo>
                  <a:cubicBezTo>
                    <a:pt x="42" y="232"/>
                    <a:pt x="42" y="232"/>
                    <a:pt x="42" y="232"/>
                  </a:cubicBezTo>
                  <a:cubicBezTo>
                    <a:pt x="41" y="233"/>
                    <a:pt x="39" y="233"/>
                    <a:pt x="38" y="234"/>
                  </a:cubicBezTo>
                  <a:cubicBezTo>
                    <a:pt x="38" y="234"/>
                    <a:pt x="38" y="234"/>
                    <a:pt x="38" y="234"/>
                  </a:cubicBezTo>
                  <a:cubicBezTo>
                    <a:pt x="37" y="235"/>
                    <a:pt x="37" y="235"/>
                    <a:pt x="37" y="235"/>
                  </a:cubicBezTo>
                  <a:cubicBezTo>
                    <a:pt x="36" y="236"/>
                    <a:pt x="36" y="236"/>
                    <a:pt x="36" y="236"/>
                  </a:cubicBezTo>
                  <a:cubicBezTo>
                    <a:pt x="35" y="236"/>
                    <a:pt x="34" y="236"/>
                    <a:pt x="33" y="236"/>
                  </a:cubicBezTo>
                  <a:cubicBezTo>
                    <a:pt x="33" y="236"/>
                    <a:pt x="32" y="236"/>
                    <a:pt x="32" y="236"/>
                  </a:cubicBezTo>
                  <a:cubicBezTo>
                    <a:pt x="31" y="236"/>
                    <a:pt x="30" y="236"/>
                    <a:pt x="29" y="236"/>
                  </a:cubicBezTo>
                  <a:cubicBezTo>
                    <a:pt x="29" y="236"/>
                    <a:pt x="28" y="236"/>
                    <a:pt x="28" y="236"/>
                  </a:cubicBezTo>
                  <a:cubicBezTo>
                    <a:pt x="22" y="235"/>
                    <a:pt x="22" y="235"/>
                    <a:pt x="22" y="235"/>
                  </a:cubicBezTo>
                  <a:cubicBezTo>
                    <a:pt x="19" y="234"/>
                    <a:pt x="16" y="234"/>
                    <a:pt x="13" y="234"/>
                  </a:cubicBezTo>
                  <a:cubicBezTo>
                    <a:pt x="13" y="235"/>
                    <a:pt x="13" y="236"/>
                    <a:pt x="13" y="237"/>
                  </a:cubicBezTo>
                  <a:cubicBezTo>
                    <a:pt x="13" y="237"/>
                    <a:pt x="13" y="237"/>
                    <a:pt x="13" y="237"/>
                  </a:cubicBezTo>
                  <a:cubicBezTo>
                    <a:pt x="13" y="238"/>
                    <a:pt x="13" y="238"/>
                    <a:pt x="12" y="239"/>
                  </a:cubicBezTo>
                  <a:cubicBezTo>
                    <a:pt x="12" y="239"/>
                    <a:pt x="12" y="239"/>
                    <a:pt x="12" y="239"/>
                  </a:cubicBezTo>
                  <a:cubicBezTo>
                    <a:pt x="11" y="240"/>
                    <a:pt x="11" y="240"/>
                    <a:pt x="10" y="240"/>
                  </a:cubicBezTo>
                  <a:cubicBezTo>
                    <a:pt x="10" y="241"/>
                    <a:pt x="9" y="241"/>
                    <a:pt x="8" y="241"/>
                  </a:cubicBezTo>
                  <a:cubicBezTo>
                    <a:pt x="8" y="241"/>
                    <a:pt x="8" y="241"/>
                    <a:pt x="8" y="241"/>
                  </a:cubicBezTo>
                  <a:cubicBezTo>
                    <a:pt x="8" y="241"/>
                    <a:pt x="8" y="241"/>
                    <a:pt x="7" y="241"/>
                  </a:cubicBezTo>
                  <a:cubicBezTo>
                    <a:pt x="7" y="240"/>
                    <a:pt x="7" y="240"/>
                    <a:pt x="7" y="240"/>
                  </a:cubicBezTo>
                  <a:cubicBezTo>
                    <a:pt x="0" y="246"/>
                    <a:pt x="0" y="246"/>
                    <a:pt x="0" y="246"/>
                  </a:cubicBezTo>
                  <a:cubicBezTo>
                    <a:pt x="0" y="246"/>
                    <a:pt x="0" y="246"/>
                    <a:pt x="1" y="246"/>
                  </a:cubicBezTo>
                  <a:cubicBezTo>
                    <a:pt x="2" y="246"/>
                    <a:pt x="2" y="245"/>
                    <a:pt x="3" y="245"/>
                  </a:cubicBezTo>
                  <a:cubicBezTo>
                    <a:pt x="5" y="243"/>
                    <a:pt x="8" y="242"/>
                    <a:pt x="11" y="241"/>
                  </a:cubicBezTo>
                  <a:cubicBezTo>
                    <a:pt x="11" y="240"/>
                    <a:pt x="11" y="240"/>
                    <a:pt x="11" y="240"/>
                  </a:cubicBezTo>
                  <a:cubicBezTo>
                    <a:pt x="11" y="241"/>
                    <a:pt x="11" y="241"/>
                    <a:pt x="11" y="241"/>
                  </a:cubicBezTo>
                  <a:cubicBezTo>
                    <a:pt x="10" y="242"/>
                    <a:pt x="9" y="242"/>
                    <a:pt x="8" y="243"/>
                  </a:cubicBezTo>
                  <a:cubicBezTo>
                    <a:pt x="7" y="244"/>
                    <a:pt x="6" y="245"/>
                    <a:pt x="5" y="245"/>
                  </a:cubicBezTo>
                  <a:cubicBezTo>
                    <a:pt x="5" y="245"/>
                    <a:pt x="5" y="245"/>
                    <a:pt x="5" y="245"/>
                  </a:cubicBezTo>
                  <a:cubicBezTo>
                    <a:pt x="5" y="246"/>
                    <a:pt x="5" y="246"/>
                    <a:pt x="5" y="246"/>
                  </a:cubicBezTo>
                  <a:cubicBezTo>
                    <a:pt x="5" y="246"/>
                    <a:pt x="5" y="246"/>
                    <a:pt x="5" y="247"/>
                  </a:cubicBezTo>
                  <a:cubicBezTo>
                    <a:pt x="6" y="248"/>
                    <a:pt x="6" y="250"/>
                    <a:pt x="7" y="252"/>
                  </a:cubicBezTo>
                  <a:cubicBezTo>
                    <a:pt x="8" y="253"/>
                    <a:pt x="9" y="255"/>
                    <a:pt x="11" y="256"/>
                  </a:cubicBezTo>
                  <a:cubicBezTo>
                    <a:pt x="11" y="256"/>
                    <a:pt x="12" y="257"/>
                    <a:pt x="13" y="257"/>
                  </a:cubicBezTo>
                  <a:cubicBezTo>
                    <a:pt x="13" y="258"/>
                    <a:pt x="14" y="258"/>
                    <a:pt x="15" y="259"/>
                  </a:cubicBezTo>
                  <a:cubicBezTo>
                    <a:pt x="17" y="259"/>
                    <a:pt x="18" y="260"/>
                    <a:pt x="20" y="261"/>
                  </a:cubicBezTo>
                  <a:cubicBezTo>
                    <a:pt x="21" y="261"/>
                    <a:pt x="21" y="261"/>
                    <a:pt x="22" y="262"/>
                  </a:cubicBezTo>
                  <a:cubicBezTo>
                    <a:pt x="23" y="262"/>
                    <a:pt x="24" y="262"/>
                    <a:pt x="26" y="263"/>
                  </a:cubicBezTo>
                  <a:cubicBezTo>
                    <a:pt x="27" y="263"/>
                    <a:pt x="27" y="263"/>
                    <a:pt x="28" y="263"/>
                  </a:cubicBezTo>
                  <a:cubicBezTo>
                    <a:pt x="28" y="263"/>
                    <a:pt x="28" y="263"/>
                    <a:pt x="29" y="263"/>
                  </a:cubicBezTo>
                  <a:cubicBezTo>
                    <a:pt x="30" y="262"/>
                    <a:pt x="31" y="261"/>
                    <a:pt x="33" y="260"/>
                  </a:cubicBezTo>
                  <a:cubicBezTo>
                    <a:pt x="34" y="260"/>
                    <a:pt x="37" y="260"/>
                    <a:pt x="37" y="259"/>
                  </a:cubicBezTo>
                  <a:cubicBezTo>
                    <a:pt x="37" y="259"/>
                    <a:pt x="37" y="259"/>
                    <a:pt x="37" y="259"/>
                  </a:cubicBezTo>
                  <a:cubicBezTo>
                    <a:pt x="38" y="259"/>
                    <a:pt x="39" y="259"/>
                    <a:pt x="41" y="259"/>
                  </a:cubicBezTo>
                  <a:cubicBezTo>
                    <a:pt x="41" y="259"/>
                    <a:pt x="41" y="259"/>
                    <a:pt x="41" y="259"/>
                  </a:cubicBezTo>
                  <a:cubicBezTo>
                    <a:pt x="42" y="259"/>
                    <a:pt x="42" y="256"/>
                    <a:pt x="44" y="255"/>
                  </a:cubicBezTo>
                  <a:cubicBezTo>
                    <a:pt x="43" y="257"/>
                    <a:pt x="41" y="261"/>
                    <a:pt x="40" y="263"/>
                  </a:cubicBezTo>
                  <a:cubicBezTo>
                    <a:pt x="39" y="265"/>
                    <a:pt x="38" y="266"/>
                    <a:pt x="37" y="267"/>
                  </a:cubicBezTo>
                  <a:cubicBezTo>
                    <a:pt x="37" y="267"/>
                    <a:pt x="36" y="267"/>
                    <a:pt x="36" y="268"/>
                  </a:cubicBezTo>
                  <a:cubicBezTo>
                    <a:pt x="33" y="269"/>
                    <a:pt x="29" y="270"/>
                    <a:pt x="26" y="271"/>
                  </a:cubicBezTo>
                  <a:cubicBezTo>
                    <a:pt x="26" y="271"/>
                    <a:pt x="26" y="271"/>
                    <a:pt x="25" y="271"/>
                  </a:cubicBezTo>
                  <a:cubicBezTo>
                    <a:pt x="24" y="271"/>
                    <a:pt x="21" y="272"/>
                    <a:pt x="20" y="272"/>
                  </a:cubicBezTo>
                  <a:cubicBezTo>
                    <a:pt x="18" y="272"/>
                    <a:pt x="18" y="271"/>
                    <a:pt x="19" y="270"/>
                  </a:cubicBezTo>
                  <a:cubicBezTo>
                    <a:pt x="19" y="270"/>
                    <a:pt x="19" y="270"/>
                    <a:pt x="19" y="270"/>
                  </a:cubicBezTo>
                  <a:cubicBezTo>
                    <a:pt x="18" y="269"/>
                    <a:pt x="17" y="269"/>
                    <a:pt x="16" y="269"/>
                  </a:cubicBezTo>
                  <a:cubicBezTo>
                    <a:pt x="14" y="269"/>
                    <a:pt x="14" y="271"/>
                    <a:pt x="15" y="273"/>
                  </a:cubicBezTo>
                  <a:cubicBezTo>
                    <a:pt x="15" y="274"/>
                    <a:pt x="16" y="274"/>
                    <a:pt x="16" y="275"/>
                  </a:cubicBezTo>
                  <a:cubicBezTo>
                    <a:pt x="17" y="276"/>
                    <a:pt x="18" y="277"/>
                    <a:pt x="18" y="278"/>
                  </a:cubicBezTo>
                  <a:cubicBezTo>
                    <a:pt x="19" y="278"/>
                    <a:pt x="20" y="279"/>
                    <a:pt x="21" y="280"/>
                  </a:cubicBezTo>
                  <a:cubicBezTo>
                    <a:pt x="21" y="280"/>
                    <a:pt x="22" y="281"/>
                    <a:pt x="22" y="281"/>
                  </a:cubicBezTo>
                  <a:cubicBezTo>
                    <a:pt x="24" y="282"/>
                    <a:pt x="25" y="283"/>
                    <a:pt x="26" y="285"/>
                  </a:cubicBezTo>
                  <a:cubicBezTo>
                    <a:pt x="27" y="286"/>
                    <a:pt x="29" y="287"/>
                    <a:pt x="30" y="288"/>
                  </a:cubicBezTo>
                  <a:cubicBezTo>
                    <a:pt x="31" y="289"/>
                    <a:pt x="32" y="290"/>
                    <a:pt x="33" y="291"/>
                  </a:cubicBezTo>
                  <a:cubicBezTo>
                    <a:pt x="34" y="292"/>
                    <a:pt x="34" y="292"/>
                    <a:pt x="34" y="292"/>
                  </a:cubicBezTo>
                  <a:cubicBezTo>
                    <a:pt x="35" y="293"/>
                    <a:pt x="36" y="294"/>
                    <a:pt x="37" y="296"/>
                  </a:cubicBezTo>
                  <a:cubicBezTo>
                    <a:pt x="38" y="297"/>
                    <a:pt x="39" y="298"/>
                    <a:pt x="41" y="299"/>
                  </a:cubicBezTo>
                  <a:cubicBezTo>
                    <a:pt x="42" y="301"/>
                    <a:pt x="43" y="301"/>
                    <a:pt x="45" y="302"/>
                  </a:cubicBezTo>
                  <a:cubicBezTo>
                    <a:pt x="46" y="302"/>
                    <a:pt x="46" y="302"/>
                    <a:pt x="46" y="302"/>
                  </a:cubicBezTo>
                  <a:cubicBezTo>
                    <a:pt x="47" y="302"/>
                    <a:pt x="50" y="303"/>
                    <a:pt x="52" y="303"/>
                  </a:cubicBezTo>
                  <a:cubicBezTo>
                    <a:pt x="52" y="303"/>
                    <a:pt x="52" y="303"/>
                    <a:pt x="52" y="303"/>
                  </a:cubicBezTo>
                  <a:cubicBezTo>
                    <a:pt x="53" y="303"/>
                    <a:pt x="53" y="303"/>
                    <a:pt x="53" y="303"/>
                  </a:cubicBezTo>
                  <a:cubicBezTo>
                    <a:pt x="56" y="302"/>
                    <a:pt x="59" y="301"/>
                    <a:pt x="62" y="300"/>
                  </a:cubicBezTo>
                  <a:cubicBezTo>
                    <a:pt x="62" y="299"/>
                    <a:pt x="63" y="299"/>
                    <a:pt x="63" y="299"/>
                  </a:cubicBezTo>
                  <a:cubicBezTo>
                    <a:pt x="67" y="298"/>
                    <a:pt x="72" y="296"/>
                    <a:pt x="74" y="293"/>
                  </a:cubicBezTo>
                  <a:cubicBezTo>
                    <a:pt x="76" y="292"/>
                    <a:pt x="77" y="289"/>
                    <a:pt x="77" y="287"/>
                  </a:cubicBezTo>
                  <a:cubicBezTo>
                    <a:pt x="78" y="285"/>
                    <a:pt x="78" y="285"/>
                    <a:pt x="78" y="285"/>
                  </a:cubicBezTo>
                  <a:cubicBezTo>
                    <a:pt x="77" y="284"/>
                    <a:pt x="77" y="284"/>
                    <a:pt x="77" y="284"/>
                  </a:cubicBezTo>
                  <a:cubicBezTo>
                    <a:pt x="76" y="282"/>
                    <a:pt x="75" y="283"/>
                    <a:pt x="73" y="282"/>
                  </a:cubicBezTo>
                  <a:cubicBezTo>
                    <a:pt x="73" y="281"/>
                    <a:pt x="73" y="281"/>
                    <a:pt x="72" y="281"/>
                  </a:cubicBezTo>
                  <a:cubicBezTo>
                    <a:pt x="73" y="280"/>
                    <a:pt x="73" y="280"/>
                    <a:pt x="74" y="280"/>
                  </a:cubicBezTo>
                  <a:cubicBezTo>
                    <a:pt x="74" y="280"/>
                    <a:pt x="75" y="280"/>
                    <a:pt x="75" y="280"/>
                  </a:cubicBezTo>
                  <a:cubicBezTo>
                    <a:pt x="75" y="280"/>
                    <a:pt x="75" y="280"/>
                    <a:pt x="75" y="280"/>
                  </a:cubicBezTo>
                  <a:cubicBezTo>
                    <a:pt x="75" y="280"/>
                    <a:pt x="75" y="280"/>
                    <a:pt x="75" y="280"/>
                  </a:cubicBezTo>
                  <a:cubicBezTo>
                    <a:pt x="75" y="280"/>
                    <a:pt x="75" y="279"/>
                    <a:pt x="74" y="278"/>
                  </a:cubicBezTo>
                  <a:cubicBezTo>
                    <a:pt x="75" y="277"/>
                    <a:pt x="79" y="276"/>
                    <a:pt x="78" y="274"/>
                  </a:cubicBezTo>
                  <a:cubicBezTo>
                    <a:pt x="78" y="273"/>
                    <a:pt x="76" y="273"/>
                    <a:pt x="75" y="272"/>
                  </a:cubicBezTo>
                  <a:cubicBezTo>
                    <a:pt x="75" y="272"/>
                    <a:pt x="75" y="272"/>
                    <a:pt x="75" y="272"/>
                  </a:cubicBezTo>
                  <a:cubicBezTo>
                    <a:pt x="75" y="272"/>
                    <a:pt x="75" y="272"/>
                    <a:pt x="75" y="272"/>
                  </a:cubicBezTo>
                  <a:cubicBezTo>
                    <a:pt x="76" y="272"/>
                    <a:pt x="76" y="272"/>
                    <a:pt x="77" y="272"/>
                  </a:cubicBezTo>
                  <a:cubicBezTo>
                    <a:pt x="79" y="272"/>
                    <a:pt x="81" y="272"/>
                    <a:pt x="83" y="272"/>
                  </a:cubicBezTo>
                  <a:cubicBezTo>
                    <a:pt x="85" y="272"/>
                    <a:pt x="88" y="272"/>
                    <a:pt x="90" y="273"/>
                  </a:cubicBezTo>
                  <a:cubicBezTo>
                    <a:pt x="90" y="273"/>
                    <a:pt x="90" y="273"/>
                    <a:pt x="90" y="273"/>
                  </a:cubicBezTo>
                  <a:cubicBezTo>
                    <a:pt x="91" y="273"/>
                    <a:pt x="90" y="273"/>
                    <a:pt x="89" y="273"/>
                  </a:cubicBezTo>
                  <a:cubicBezTo>
                    <a:pt x="89" y="273"/>
                    <a:pt x="89" y="273"/>
                    <a:pt x="89" y="273"/>
                  </a:cubicBezTo>
                  <a:cubicBezTo>
                    <a:pt x="88" y="273"/>
                    <a:pt x="88" y="273"/>
                    <a:pt x="88" y="273"/>
                  </a:cubicBezTo>
                  <a:cubicBezTo>
                    <a:pt x="86" y="274"/>
                    <a:pt x="83" y="274"/>
                    <a:pt x="82" y="276"/>
                  </a:cubicBezTo>
                  <a:cubicBezTo>
                    <a:pt x="82" y="277"/>
                    <a:pt x="82" y="279"/>
                    <a:pt x="82" y="280"/>
                  </a:cubicBezTo>
                  <a:cubicBezTo>
                    <a:pt x="82" y="282"/>
                    <a:pt x="82" y="284"/>
                    <a:pt x="83" y="284"/>
                  </a:cubicBezTo>
                  <a:cubicBezTo>
                    <a:pt x="83" y="284"/>
                    <a:pt x="84" y="285"/>
                    <a:pt x="85" y="285"/>
                  </a:cubicBezTo>
                  <a:cubicBezTo>
                    <a:pt x="85" y="285"/>
                    <a:pt x="85" y="285"/>
                    <a:pt x="85" y="285"/>
                  </a:cubicBezTo>
                  <a:cubicBezTo>
                    <a:pt x="88" y="285"/>
                    <a:pt x="92" y="283"/>
                    <a:pt x="94" y="283"/>
                  </a:cubicBezTo>
                  <a:cubicBezTo>
                    <a:pt x="90" y="285"/>
                    <a:pt x="86" y="285"/>
                    <a:pt x="84" y="290"/>
                  </a:cubicBezTo>
                  <a:cubicBezTo>
                    <a:pt x="84" y="289"/>
                    <a:pt x="85" y="289"/>
                    <a:pt x="86" y="288"/>
                  </a:cubicBezTo>
                  <a:cubicBezTo>
                    <a:pt x="83" y="290"/>
                    <a:pt x="83" y="291"/>
                    <a:pt x="84" y="293"/>
                  </a:cubicBezTo>
                  <a:cubicBezTo>
                    <a:pt x="84" y="294"/>
                    <a:pt x="84" y="295"/>
                    <a:pt x="84" y="296"/>
                  </a:cubicBezTo>
                  <a:cubicBezTo>
                    <a:pt x="84" y="296"/>
                    <a:pt x="84" y="296"/>
                    <a:pt x="84" y="296"/>
                  </a:cubicBezTo>
                  <a:cubicBezTo>
                    <a:pt x="85" y="296"/>
                    <a:pt x="85" y="295"/>
                    <a:pt x="85" y="295"/>
                  </a:cubicBezTo>
                  <a:cubicBezTo>
                    <a:pt x="86" y="296"/>
                    <a:pt x="86" y="296"/>
                    <a:pt x="86" y="296"/>
                  </a:cubicBezTo>
                  <a:cubicBezTo>
                    <a:pt x="86" y="296"/>
                    <a:pt x="86" y="296"/>
                    <a:pt x="86" y="296"/>
                  </a:cubicBezTo>
                  <a:cubicBezTo>
                    <a:pt x="87" y="296"/>
                    <a:pt x="87" y="297"/>
                    <a:pt x="88" y="297"/>
                  </a:cubicBezTo>
                  <a:cubicBezTo>
                    <a:pt x="88" y="298"/>
                    <a:pt x="89" y="298"/>
                    <a:pt x="89" y="299"/>
                  </a:cubicBezTo>
                  <a:cubicBezTo>
                    <a:pt x="89" y="300"/>
                    <a:pt x="89" y="302"/>
                    <a:pt x="89" y="303"/>
                  </a:cubicBezTo>
                  <a:cubicBezTo>
                    <a:pt x="89" y="305"/>
                    <a:pt x="88" y="306"/>
                    <a:pt x="88" y="308"/>
                  </a:cubicBezTo>
                  <a:cubicBezTo>
                    <a:pt x="88" y="310"/>
                    <a:pt x="87" y="311"/>
                    <a:pt x="87" y="313"/>
                  </a:cubicBezTo>
                  <a:cubicBezTo>
                    <a:pt x="87" y="313"/>
                    <a:pt x="86" y="314"/>
                    <a:pt x="86" y="314"/>
                  </a:cubicBezTo>
                  <a:cubicBezTo>
                    <a:pt x="86" y="316"/>
                    <a:pt x="86" y="318"/>
                    <a:pt x="85" y="320"/>
                  </a:cubicBezTo>
                  <a:cubicBezTo>
                    <a:pt x="85" y="320"/>
                    <a:pt x="85" y="321"/>
                    <a:pt x="85" y="322"/>
                  </a:cubicBezTo>
                  <a:cubicBezTo>
                    <a:pt x="85" y="322"/>
                    <a:pt x="85" y="323"/>
                    <a:pt x="86" y="324"/>
                  </a:cubicBezTo>
                  <a:cubicBezTo>
                    <a:pt x="86" y="326"/>
                    <a:pt x="86" y="327"/>
                    <a:pt x="87" y="327"/>
                  </a:cubicBezTo>
                  <a:cubicBezTo>
                    <a:pt x="88" y="327"/>
                    <a:pt x="88" y="327"/>
                    <a:pt x="89" y="327"/>
                  </a:cubicBezTo>
                  <a:cubicBezTo>
                    <a:pt x="87" y="328"/>
                    <a:pt x="85" y="330"/>
                    <a:pt x="88" y="331"/>
                  </a:cubicBezTo>
                  <a:cubicBezTo>
                    <a:pt x="87" y="331"/>
                    <a:pt x="87" y="332"/>
                    <a:pt x="87" y="333"/>
                  </a:cubicBezTo>
                  <a:cubicBezTo>
                    <a:pt x="88" y="333"/>
                    <a:pt x="88" y="333"/>
                    <a:pt x="88" y="333"/>
                  </a:cubicBezTo>
                  <a:cubicBezTo>
                    <a:pt x="89" y="333"/>
                    <a:pt x="89" y="333"/>
                    <a:pt x="89" y="333"/>
                  </a:cubicBezTo>
                  <a:cubicBezTo>
                    <a:pt x="91" y="333"/>
                    <a:pt x="92" y="334"/>
                    <a:pt x="93" y="336"/>
                  </a:cubicBezTo>
                  <a:cubicBezTo>
                    <a:pt x="93" y="337"/>
                    <a:pt x="93" y="337"/>
                    <a:pt x="93" y="338"/>
                  </a:cubicBezTo>
                  <a:cubicBezTo>
                    <a:pt x="93" y="340"/>
                    <a:pt x="91" y="343"/>
                    <a:pt x="89" y="343"/>
                  </a:cubicBezTo>
                  <a:cubicBezTo>
                    <a:pt x="89" y="344"/>
                    <a:pt x="90" y="345"/>
                    <a:pt x="90" y="346"/>
                  </a:cubicBezTo>
                  <a:cubicBezTo>
                    <a:pt x="91" y="346"/>
                    <a:pt x="91" y="347"/>
                    <a:pt x="91" y="348"/>
                  </a:cubicBezTo>
                  <a:cubicBezTo>
                    <a:pt x="91" y="347"/>
                    <a:pt x="90" y="347"/>
                    <a:pt x="90" y="347"/>
                  </a:cubicBezTo>
                  <a:cubicBezTo>
                    <a:pt x="90" y="347"/>
                    <a:pt x="90" y="347"/>
                    <a:pt x="89" y="347"/>
                  </a:cubicBezTo>
                  <a:cubicBezTo>
                    <a:pt x="89" y="348"/>
                    <a:pt x="91" y="350"/>
                    <a:pt x="92" y="351"/>
                  </a:cubicBezTo>
                  <a:cubicBezTo>
                    <a:pt x="92" y="351"/>
                    <a:pt x="92" y="351"/>
                    <a:pt x="92" y="352"/>
                  </a:cubicBezTo>
                  <a:cubicBezTo>
                    <a:pt x="92" y="352"/>
                    <a:pt x="92" y="352"/>
                    <a:pt x="92" y="352"/>
                  </a:cubicBezTo>
                  <a:cubicBezTo>
                    <a:pt x="92" y="352"/>
                    <a:pt x="92" y="352"/>
                    <a:pt x="91" y="352"/>
                  </a:cubicBezTo>
                  <a:cubicBezTo>
                    <a:pt x="91" y="352"/>
                    <a:pt x="91" y="352"/>
                    <a:pt x="90" y="352"/>
                  </a:cubicBezTo>
                  <a:cubicBezTo>
                    <a:pt x="90" y="352"/>
                    <a:pt x="90" y="353"/>
                    <a:pt x="91" y="353"/>
                  </a:cubicBezTo>
                  <a:cubicBezTo>
                    <a:pt x="91" y="355"/>
                    <a:pt x="91" y="357"/>
                    <a:pt x="92" y="359"/>
                  </a:cubicBezTo>
                  <a:cubicBezTo>
                    <a:pt x="92" y="361"/>
                    <a:pt x="93" y="363"/>
                    <a:pt x="93" y="365"/>
                  </a:cubicBezTo>
                  <a:cubicBezTo>
                    <a:pt x="93" y="365"/>
                    <a:pt x="93" y="365"/>
                    <a:pt x="93" y="365"/>
                  </a:cubicBezTo>
                  <a:cubicBezTo>
                    <a:pt x="94" y="367"/>
                    <a:pt x="94" y="369"/>
                    <a:pt x="95" y="371"/>
                  </a:cubicBezTo>
                  <a:cubicBezTo>
                    <a:pt x="95" y="373"/>
                    <a:pt x="96" y="375"/>
                    <a:pt x="96" y="377"/>
                  </a:cubicBezTo>
                  <a:cubicBezTo>
                    <a:pt x="96" y="379"/>
                    <a:pt x="97" y="381"/>
                    <a:pt x="97" y="383"/>
                  </a:cubicBezTo>
                  <a:cubicBezTo>
                    <a:pt x="97" y="383"/>
                    <a:pt x="97" y="383"/>
                    <a:pt x="97" y="383"/>
                  </a:cubicBezTo>
                  <a:cubicBezTo>
                    <a:pt x="98" y="385"/>
                    <a:pt x="98" y="387"/>
                    <a:pt x="98" y="390"/>
                  </a:cubicBezTo>
                  <a:cubicBezTo>
                    <a:pt x="99" y="392"/>
                    <a:pt x="99" y="394"/>
                    <a:pt x="100" y="395"/>
                  </a:cubicBezTo>
                  <a:cubicBezTo>
                    <a:pt x="100" y="396"/>
                    <a:pt x="100" y="396"/>
                    <a:pt x="100" y="396"/>
                  </a:cubicBezTo>
                  <a:cubicBezTo>
                    <a:pt x="101" y="397"/>
                    <a:pt x="102" y="398"/>
                    <a:pt x="103" y="400"/>
                  </a:cubicBezTo>
                  <a:cubicBezTo>
                    <a:pt x="104" y="400"/>
                    <a:pt x="104" y="401"/>
                    <a:pt x="105" y="402"/>
                  </a:cubicBezTo>
                  <a:cubicBezTo>
                    <a:pt x="105" y="403"/>
                    <a:pt x="106" y="403"/>
                    <a:pt x="106" y="404"/>
                  </a:cubicBezTo>
                  <a:cubicBezTo>
                    <a:pt x="107" y="405"/>
                    <a:pt x="108" y="407"/>
                    <a:pt x="109" y="408"/>
                  </a:cubicBezTo>
                  <a:cubicBezTo>
                    <a:pt x="110" y="409"/>
                    <a:pt x="110" y="409"/>
                    <a:pt x="110" y="409"/>
                  </a:cubicBezTo>
                  <a:cubicBezTo>
                    <a:pt x="109" y="408"/>
                    <a:pt x="109" y="408"/>
                    <a:pt x="109" y="408"/>
                  </a:cubicBezTo>
                  <a:cubicBezTo>
                    <a:pt x="108" y="408"/>
                    <a:pt x="107" y="408"/>
                    <a:pt x="107" y="408"/>
                  </a:cubicBezTo>
                  <a:cubicBezTo>
                    <a:pt x="107" y="409"/>
                    <a:pt x="107" y="409"/>
                    <a:pt x="108" y="410"/>
                  </a:cubicBezTo>
                  <a:cubicBezTo>
                    <a:pt x="108" y="412"/>
                    <a:pt x="109" y="413"/>
                    <a:pt x="110" y="415"/>
                  </a:cubicBezTo>
                  <a:cubicBezTo>
                    <a:pt x="110" y="415"/>
                    <a:pt x="110" y="415"/>
                    <a:pt x="110" y="415"/>
                  </a:cubicBezTo>
                  <a:cubicBezTo>
                    <a:pt x="111" y="416"/>
                    <a:pt x="112" y="418"/>
                    <a:pt x="113" y="418"/>
                  </a:cubicBezTo>
                  <a:cubicBezTo>
                    <a:pt x="113" y="418"/>
                    <a:pt x="113" y="418"/>
                    <a:pt x="113" y="418"/>
                  </a:cubicBezTo>
                  <a:cubicBezTo>
                    <a:pt x="113" y="418"/>
                    <a:pt x="113" y="418"/>
                    <a:pt x="113" y="418"/>
                  </a:cubicBezTo>
                  <a:cubicBezTo>
                    <a:pt x="114" y="418"/>
                    <a:pt x="114" y="418"/>
                    <a:pt x="114" y="418"/>
                  </a:cubicBezTo>
                  <a:cubicBezTo>
                    <a:pt x="115" y="418"/>
                    <a:pt x="115" y="418"/>
                    <a:pt x="115" y="418"/>
                  </a:cubicBezTo>
                  <a:cubicBezTo>
                    <a:pt x="114" y="418"/>
                    <a:pt x="114" y="418"/>
                    <a:pt x="114" y="419"/>
                  </a:cubicBezTo>
                  <a:cubicBezTo>
                    <a:pt x="113" y="419"/>
                    <a:pt x="113" y="419"/>
                    <a:pt x="112" y="420"/>
                  </a:cubicBezTo>
                  <a:cubicBezTo>
                    <a:pt x="113" y="420"/>
                    <a:pt x="113" y="420"/>
                    <a:pt x="113" y="420"/>
                  </a:cubicBezTo>
                  <a:cubicBezTo>
                    <a:pt x="114" y="421"/>
                    <a:pt x="115" y="422"/>
                    <a:pt x="117" y="423"/>
                  </a:cubicBezTo>
                  <a:cubicBezTo>
                    <a:pt x="117" y="424"/>
                    <a:pt x="117" y="424"/>
                    <a:pt x="118" y="425"/>
                  </a:cubicBezTo>
                  <a:cubicBezTo>
                    <a:pt x="118" y="426"/>
                    <a:pt x="119" y="427"/>
                    <a:pt x="119" y="428"/>
                  </a:cubicBezTo>
                  <a:cubicBezTo>
                    <a:pt x="119" y="430"/>
                    <a:pt x="120" y="432"/>
                    <a:pt x="120" y="434"/>
                  </a:cubicBezTo>
                  <a:cubicBezTo>
                    <a:pt x="120" y="435"/>
                    <a:pt x="121" y="436"/>
                    <a:pt x="121" y="436"/>
                  </a:cubicBezTo>
                  <a:cubicBezTo>
                    <a:pt x="121" y="438"/>
                    <a:pt x="122" y="439"/>
                    <a:pt x="122" y="440"/>
                  </a:cubicBezTo>
                  <a:cubicBezTo>
                    <a:pt x="123" y="442"/>
                    <a:pt x="124" y="443"/>
                    <a:pt x="124" y="445"/>
                  </a:cubicBezTo>
                  <a:cubicBezTo>
                    <a:pt x="125" y="447"/>
                    <a:pt x="125" y="449"/>
                    <a:pt x="126" y="451"/>
                  </a:cubicBezTo>
                  <a:cubicBezTo>
                    <a:pt x="126" y="452"/>
                    <a:pt x="127" y="453"/>
                    <a:pt x="127" y="454"/>
                  </a:cubicBezTo>
                  <a:cubicBezTo>
                    <a:pt x="127" y="455"/>
                    <a:pt x="127" y="456"/>
                    <a:pt x="127" y="457"/>
                  </a:cubicBezTo>
                  <a:cubicBezTo>
                    <a:pt x="127" y="458"/>
                    <a:pt x="127" y="459"/>
                    <a:pt x="127" y="459"/>
                  </a:cubicBezTo>
                  <a:cubicBezTo>
                    <a:pt x="127" y="461"/>
                    <a:pt x="128" y="462"/>
                    <a:pt x="129" y="463"/>
                  </a:cubicBezTo>
                  <a:cubicBezTo>
                    <a:pt x="129" y="464"/>
                    <a:pt x="130" y="466"/>
                    <a:pt x="130" y="467"/>
                  </a:cubicBezTo>
                  <a:cubicBezTo>
                    <a:pt x="131" y="467"/>
                    <a:pt x="131" y="467"/>
                    <a:pt x="131" y="468"/>
                  </a:cubicBezTo>
                  <a:cubicBezTo>
                    <a:pt x="132" y="469"/>
                    <a:pt x="133" y="471"/>
                    <a:pt x="134" y="472"/>
                  </a:cubicBezTo>
                  <a:cubicBezTo>
                    <a:pt x="135" y="474"/>
                    <a:pt x="136" y="475"/>
                    <a:pt x="137" y="477"/>
                  </a:cubicBezTo>
                  <a:cubicBezTo>
                    <a:pt x="138" y="478"/>
                    <a:pt x="139" y="479"/>
                    <a:pt x="140" y="481"/>
                  </a:cubicBezTo>
                  <a:cubicBezTo>
                    <a:pt x="140" y="481"/>
                    <a:pt x="140" y="481"/>
                    <a:pt x="140" y="481"/>
                  </a:cubicBezTo>
                  <a:cubicBezTo>
                    <a:pt x="141" y="482"/>
                    <a:pt x="142" y="484"/>
                    <a:pt x="143" y="486"/>
                  </a:cubicBezTo>
                  <a:cubicBezTo>
                    <a:pt x="144" y="487"/>
                    <a:pt x="144" y="489"/>
                    <a:pt x="145" y="491"/>
                  </a:cubicBezTo>
                  <a:cubicBezTo>
                    <a:pt x="145" y="492"/>
                    <a:pt x="146" y="493"/>
                    <a:pt x="146" y="494"/>
                  </a:cubicBezTo>
                  <a:cubicBezTo>
                    <a:pt x="146" y="495"/>
                    <a:pt x="147" y="496"/>
                    <a:pt x="147" y="496"/>
                  </a:cubicBezTo>
                  <a:cubicBezTo>
                    <a:pt x="147" y="498"/>
                    <a:pt x="148" y="500"/>
                    <a:pt x="149" y="502"/>
                  </a:cubicBezTo>
                  <a:cubicBezTo>
                    <a:pt x="150" y="503"/>
                    <a:pt x="150" y="505"/>
                    <a:pt x="151" y="507"/>
                  </a:cubicBezTo>
                  <a:cubicBezTo>
                    <a:pt x="151" y="507"/>
                    <a:pt x="152" y="508"/>
                    <a:pt x="152" y="508"/>
                  </a:cubicBezTo>
                  <a:cubicBezTo>
                    <a:pt x="152" y="509"/>
                    <a:pt x="153" y="510"/>
                    <a:pt x="154" y="512"/>
                  </a:cubicBezTo>
                  <a:cubicBezTo>
                    <a:pt x="155" y="513"/>
                    <a:pt x="156" y="515"/>
                    <a:pt x="156" y="517"/>
                  </a:cubicBezTo>
                  <a:cubicBezTo>
                    <a:pt x="157" y="519"/>
                    <a:pt x="158" y="522"/>
                    <a:pt x="156" y="522"/>
                  </a:cubicBezTo>
                  <a:cubicBezTo>
                    <a:pt x="156" y="521"/>
                    <a:pt x="155" y="519"/>
                    <a:pt x="155" y="518"/>
                  </a:cubicBezTo>
                  <a:cubicBezTo>
                    <a:pt x="154" y="517"/>
                    <a:pt x="154" y="516"/>
                    <a:pt x="154" y="515"/>
                  </a:cubicBezTo>
                  <a:cubicBezTo>
                    <a:pt x="154" y="516"/>
                    <a:pt x="154" y="517"/>
                    <a:pt x="154" y="518"/>
                  </a:cubicBezTo>
                  <a:cubicBezTo>
                    <a:pt x="155" y="520"/>
                    <a:pt x="155" y="522"/>
                    <a:pt x="156" y="524"/>
                  </a:cubicBezTo>
                  <a:cubicBezTo>
                    <a:pt x="156" y="525"/>
                    <a:pt x="156" y="526"/>
                    <a:pt x="157" y="526"/>
                  </a:cubicBezTo>
                  <a:cubicBezTo>
                    <a:pt x="157" y="527"/>
                    <a:pt x="158" y="528"/>
                    <a:pt x="159" y="529"/>
                  </a:cubicBezTo>
                  <a:cubicBezTo>
                    <a:pt x="159" y="529"/>
                    <a:pt x="159" y="530"/>
                    <a:pt x="160" y="530"/>
                  </a:cubicBezTo>
                  <a:cubicBezTo>
                    <a:pt x="160" y="531"/>
                    <a:pt x="162" y="531"/>
                    <a:pt x="161" y="532"/>
                  </a:cubicBezTo>
                  <a:cubicBezTo>
                    <a:pt x="160" y="534"/>
                    <a:pt x="160" y="534"/>
                    <a:pt x="160" y="534"/>
                  </a:cubicBezTo>
                  <a:cubicBezTo>
                    <a:pt x="161" y="534"/>
                    <a:pt x="161" y="534"/>
                    <a:pt x="161" y="534"/>
                  </a:cubicBezTo>
                  <a:cubicBezTo>
                    <a:pt x="162" y="536"/>
                    <a:pt x="163" y="537"/>
                    <a:pt x="164" y="538"/>
                  </a:cubicBezTo>
                  <a:cubicBezTo>
                    <a:pt x="165" y="540"/>
                    <a:pt x="166" y="541"/>
                    <a:pt x="167" y="542"/>
                  </a:cubicBezTo>
                  <a:cubicBezTo>
                    <a:pt x="168" y="543"/>
                    <a:pt x="168" y="544"/>
                    <a:pt x="169" y="545"/>
                  </a:cubicBezTo>
                  <a:cubicBezTo>
                    <a:pt x="169" y="545"/>
                    <a:pt x="170" y="546"/>
                    <a:pt x="171" y="546"/>
                  </a:cubicBezTo>
                  <a:cubicBezTo>
                    <a:pt x="172" y="547"/>
                    <a:pt x="174" y="548"/>
                    <a:pt x="176" y="549"/>
                  </a:cubicBezTo>
                  <a:cubicBezTo>
                    <a:pt x="177" y="549"/>
                    <a:pt x="177" y="549"/>
                    <a:pt x="178" y="550"/>
                  </a:cubicBezTo>
                  <a:cubicBezTo>
                    <a:pt x="179" y="547"/>
                    <a:pt x="183" y="546"/>
                    <a:pt x="185" y="545"/>
                  </a:cubicBezTo>
                  <a:cubicBezTo>
                    <a:pt x="187" y="543"/>
                    <a:pt x="189" y="543"/>
                    <a:pt x="189" y="540"/>
                  </a:cubicBezTo>
                  <a:cubicBezTo>
                    <a:pt x="190" y="538"/>
                    <a:pt x="190" y="536"/>
                    <a:pt x="191" y="534"/>
                  </a:cubicBezTo>
                  <a:cubicBezTo>
                    <a:pt x="191" y="532"/>
                    <a:pt x="192" y="531"/>
                    <a:pt x="195" y="530"/>
                  </a:cubicBezTo>
                  <a:cubicBezTo>
                    <a:pt x="195" y="530"/>
                    <a:pt x="195" y="530"/>
                    <a:pt x="195" y="530"/>
                  </a:cubicBezTo>
                  <a:cubicBezTo>
                    <a:pt x="197" y="529"/>
                    <a:pt x="200" y="528"/>
                    <a:pt x="203" y="527"/>
                  </a:cubicBezTo>
                  <a:cubicBezTo>
                    <a:pt x="203" y="527"/>
                    <a:pt x="203" y="527"/>
                    <a:pt x="204" y="527"/>
                  </a:cubicBezTo>
                  <a:cubicBezTo>
                    <a:pt x="204" y="527"/>
                    <a:pt x="204" y="527"/>
                    <a:pt x="205" y="527"/>
                  </a:cubicBezTo>
                  <a:cubicBezTo>
                    <a:pt x="207" y="527"/>
                    <a:pt x="209" y="528"/>
                    <a:pt x="211" y="528"/>
                  </a:cubicBezTo>
                  <a:cubicBezTo>
                    <a:pt x="212" y="528"/>
                    <a:pt x="213" y="529"/>
                    <a:pt x="214" y="529"/>
                  </a:cubicBezTo>
                  <a:cubicBezTo>
                    <a:pt x="213" y="528"/>
                    <a:pt x="213" y="527"/>
                    <a:pt x="212" y="527"/>
                  </a:cubicBezTo>
                  <a:cubicBezTo>
                    <a:pt x="212" y="527"/>
                    <a:pt x="211" y="526"/>
                    <a:pt x="210" y="526"/>
                  </a:cubicBezTo>
                  <a:cubicBezTo>
                    <a:pt x="210" y="526"/>
                    <a:pt x="209" y="526"/>
                    <a:pt x="209" y="526"/>
                  </a:cubicBezTo>
                  <a:cubicBezTo>
                    <a:pt x="209" y="526"/>
                    <a:pt x="209" y="526"/>
                    <a:pt x="209" y="526"/>
                  </a:cubicBezTo>
                  <a:cubicBezTo>
                    <a:pt x="209" y="526"/>
                    <a:pt x="209" y="526"/>
                    <a:pt x="209" y="526"/>
                  </a:cubicBezTo>
                  <a:cubicBezTo>
                    <a:pt x="208" y="526"/>
                    <a:pt x="208" y="526"/>
                    <a:pt x="207" y="526"/>
                  </a:cubicBezTo>
                  <a:cubicBezTo>
                    <a:pt x="206" y="526"/>
                    <a:pt x="206" y="526"/>
                    <a:pt x="206" y="526"/>
                  </a:cubicBezTo>
                  <a:cubicBezTo>
                    <a:pt x="205" y="525"/>
                    <a:pt x="204" y="524"/>
                    <a:pt x="205" y="522"/>
                  </a:cubicBezTo>
                  <a:cubicBezTo>
                    <a:pt x="205" y="521"/>
                    <a:pt x="206" y="519"/>
                    <a:pt x="207" y="518"/>
                  </a:cubicBezTo>
                  <a:cubicBezTo>
                    <a:pt x="207" y="517"/>
                    <a:pt x="208" y="516"/>
                    <a:pt x="209" y="515"/>
                  </a:cubicBezTo>
                  <a:cubicBezTo>
                    <a:pt x="209" y="514"/>
                    <a:pt x="210" y="509"/>
                    <a:pt x="211" y="509"/>
                  </a:cubicBezTo>
                  <a:cubicBezTo>
                    <a:pt x="212" y="508"/>
                    <a:pt x="215" y="506"/>
                    <a:pt x="217" y="506"/>
                  </a:cubicBezTo>
                  <a:cubicBezTo>
                    <a:pt x="217" y="506"/>
                    <a:pt x="217" y="506"/>
                    <a:pt x="217" y="506"/>
                  </a:cubicBezTo>
                  <a:cubicBezTo>
                    <a:pt x="217" y="506"/>
                    <a:pt x="217" y="506"/>
                    <a:pt x="218" y="507"/>
                  </a:cubicBezTo>
                  <a:cubicBezTo>
                    <a:pt x="218" y="507"/>
                    <a:pt x="218" y="507"/>
                    <a:pt x="218" y="507"/>
                  </a:cubicBezTo>
                  <a:cubicBezTo>
                    <a:pt x="218" y="507"/>
                    <a:pt x="218" y="507"/>
                    <a:pt x="218" y="507"/>
                  </a:cubicBezTo>
                  <a:cubicBezTo>
                    <a:pt x="218" y="507"/>
                    <a:pt x="219" y="507"/>
                    <a:pt x="220" y="507"/>
                  </a:cubicBezTo>
                  <a:cubicBezTo>
                    <a:pt x="220" y="507"/>
                    <a:pt x="221" y="507"/>
                    <a:pt x="221" y="507"/>
                  </a:cubicBezTo>
                  <a:cubicBezTo>
                    <a:pt x="222" y="507"/>
                    <a:pt x="222" y="507"/>
                    <a:pt x="222" y="507"/>
                  </a:cubicBezTo>
                  <a:cubicBezTo>
                    <a:pt x="222" y="505"/>
                    <a:pt x="222" y="504"/>
                    <a:pt x="222" y="502"/>
                  </a:cubicBezTo>
                  <a:cubicBezTo>
                    <a:pt x="222" y="500"/>
                    <a:pt x="222" y="497"/>
                    <a:pt x="222" y="495"/>
                  </a:cubicBezTo>
                  <a:cubicBezTo>
                    <a:pt x="222" y="493"/>
                    <a:pt x="221" y="491"/>
                    <a:pt x="220" y="490"/>
                  </a:cubicBezTo>
                  <a:cubicBezTo>
                    <a:pt x="220" y="489"/>
                    <a:pt x="219" y="488"/>
                    <a:pt x="219" y="488"/>
                  </a:cubicBezTo>
                  <a:cubicBezTo>
                    <a:pt x="222" y="486"/>
                    <a:pt x="221" y="486"/>
                    <a:pt x="220" y="483"/>
                  </a:cubicBezTo>
                  <a:cubicBezTo>
                    <a:pt x="220" y="483"/>
                    <a:pt x="220" y="482"/>
                    <a:pt x="220" y="482"/>
                  </a:cubicBezTo>
                  <a:cubicBezTo>
                    <a:pt x="220" y="480"/>
                    <a:pt x="221" y="478"/>
                    <a:pt x="222" y="476"/>
                  </a:cubicBezTo>
                  <a:cubicBezTo>
                    <a:pt x="222" y="475"/>
                    <a:pt x="222" y="474"/>
                    <a:pt x="223" y="474"/>
                  </a:cubicBezTo>
                  <a:cubicBezTo>
                    <a:pt x="223" y="473"/>
                    <a:pt x="223" y="472"/>
                    <a:pt x="224" y="471"/>
                  </a:cubicBezTo>
                  <a:cubicBezTo>
                    <a:pt x="225" y="468"/>
                    <a:pt x="227" y="465"/>
                    <a:pt x="229" y="462"/>
                  </a:cubicBezTo>
                  <a:cubicBezTo>
                    <a:pt x="229" y="460"/>
                    <a:pt x="230" y="459"/>
                    <a:pt x="230" y="458"/>
                  </a:cubicBezTo>
                  <a:cubicBezTo>
                    <a:pt x="230" y="457"/>
                    <a:pt x="230" y="456"/>
                    <a:pt x="230" y="454"/>
                  </a:cubicBezTo>
                  <a:cubicBezTo>
                    <a:pt x="230" y="453"/>
                    <a:pt x="230" y="452"/>
                    <a:pt x="230" y="450"/>
                  </a:cubicBezTo>
                  <a:cubicBezTo>
                    <a:pt x="230" y="448"/>
                    <a:pt x="230" y="446"/>
                    <a:pt x="229" y="445"/>
                  </a:cubicBezTo>
                  <a:cubicBezTo>
                    <a:pt x="228" y="445"/>
                    <a:pt x="228" y="445"/>
                    <a:pt x="228" y="445"/>
                  </a:cubicBezTo>
                  <a:cubicBezTo>
                    <a:pt x="226" y="444"/>
                    <a:pt x="225" y="442"/>
                    <a:pt x="228" y="441"/>
                  </a:cubicBezTo>
                  <a:cubicBezTo>
                    <a:pt x="228" y="442"/>
                    <a:pt x="229" y="442"/>
                    <a:pt x="229" y="443"/>
                  </a:cubicBezTo>
                  <a:cubicBezTo>
                    <a:pt x="230" y="444"/>
                    <a:pt x="230" y="444"/>
                    <a:pt x="230" y="445"/>
                  </a:cubicBezTo>
                  <a:cubicBezTo>
                    <a:pt x="230" y="444"/>
                    <a:pt x="230" y="444"/>
                    <a:pt x="230" y="443"/>
                  </a:cubicBezTo>
                  <a:cubicBezTo>
                    <a:pt x="229" y="441"/>
                    <a:pt x="229" y="439"/>
                    <a:pt x="228" y="437"/>
                  </a:cubicBezTo>
                  <a:cubicBezTo>
                    <a:pt x="227" y="436"/>
                    <a:pt x="227" y="435"/>
                    <a:pt x="226" y="434"/>
                  </a:cubicBezTo>
                  <a:cubicBezTo>
                    <a:pt x="226" y="433"/>
                    <a:pt x="226" y="432"/>
                    <a:pt x="226" y="432"/>
                  </a:cubicBezTo>
                  <a:cubicBezTo>
                    <a:pt x="226" y="431"/>
                    <a:pt x="226" y="431"/>
                    <a:pt x="226" y="431"/>
                  </a:cubicBezTo>
                  <a:cubicBezTo>
                    <a:pt x="226" y="429"/>
                    <a:pt x="226" y="427"/>
                    <a:pt x="226" y="425"/>
                  </a:cubicBezTo>
                  <a:cubicBezTo>
                    <a:pt x="226" y="422"/>
                    <a:pt x="226" y="420"/>
                    <a:pt x="226" y="417"/>
                  </a:cubicBezTo>
                  <a:cubicBezTo>
                    <a:pt x="226" y="415"/>
                    <a:pt x="226" y="412"/>
                    <a:pt x="227" y="410"/>
                  </a:cubicBezTo>
                  <a:cubicBezTo>
                    <a:pt x="227" y="410"/>
                    <a:pt x="228" y="409"/>
                    <a:pt x="228" y="408"/>
                  </a:cubicBezTo>
                  <a:cubicBezTo>
                    <a:pt x="228" y="406"/>
                    <a:pt x="229" y="404"/>
                    <a:pt x="230" y="402"/>
                  </a:cubicBezTo>
                  <a:cubicBezTo>
                    <a:pt x="231" y="402"/>
                    <a:pt x="231" y="401"/>
                    <a:pt x="232" y="401"/>
                  </a:cubicBezTo>
                  <a:cubicBezTo>
                    <a:pt x="233" y="400"/>
                    <a:pt x="236" y="399"/>
                    <a:pt x="237" y="399"/>
                  </a:cubicBezTo>
                  <a:cubicBezTo>
                    <a:pt x="237" y="399"/>
                    <a:pt x="237" y="399"/>
                    <a:pt x="237" y="399"/>
                  </a:cubicBezTo>
                  <a:cubicBezTo>
                    <a:pt x="239" y="399"/>
                    <a:pt x="240" y="399"/>
                    <a:pt x="240" y="402"/>
                  </a:cubicBezTo>
                  <a:cubicBezTo>
                    <a:pt x="241" y="399"/>
                    <a:pt x="242" y="398"/>
                    <a:pt x="242" y="396"/>
                  </a:cubicBezTo>
                  <a:cubicBezTo>
                    <a:pt x="242" y="397"/>
                    <a:pt x="243" y="398"/>
                    <a:pt x="244" y="399"/>
                  </a:cubicBezTo>
                  <a:cubicBezTo>
                    <a:pt x="244" y="400"/>
                    <a:pt x="244" y="400"/>
                    <a:pt x="244" y="400"/>
                  </a:cubicBezTo>
                  <a:cubicBezTo>
                    <a:pt x="243" y="399"/>
                    <a:pt x="245" y="398"/>
                    <a:pt x="246" y="397"/>
                  </a:cubicBezTo>
                  <a:cubicBezTo>
                    <a:pt x="246" y="397"/>
                    <a:pt x="246" y="397"/>
                    <a:pt x="246" y="397"/>
                  </a:cubicBezTo>
                  <a:cubicBezTo>
                    <a:pt x="247" y="396"/>
                    <a:pt x="247" y="395"/>
                    <a:pt x="247" y="394"/>
                  </a:cubicBezTo>
                  <a:cubicBezTo>
                    <a:pt x="248" y="391"/>
                    <a:pt x="250" y="389"/>
                    <a:pt x="252" y="389"/>
                  </a:cubicBezTo>
                  <a:cubicBezTo>
                    <a:pt x="252" y="389"/>
                    <a:pt x="252" y="389"/>
                    <a:pt x="252" y="389"/>
                  </a:cubicBezTo>
                  <a:cubicBezTo>
                    <a:pt x="253" y="389"/>
                    <a:pt x="253" y="389"/>
                    <a:pt x="254" y="389"/>
                  </a:cubicBezTo>
                  <a:cubicBezTo>
                    <a:pt x="255" y="389"/>
                    <a:pt x="255" y="390"/>
                    <a:pt x="256" y="390"/>
                  </a:cubicBezTo>
                  <a:cubicBezTo>
                    <a:pt x="257" y="390"/>
                    <a:pt x="257" y="390"/>
                    <a:pt x="257" y="390"/>
                  </a:cubicBezTo>
                  <a:cubicBezTo>
                    <a:pt x="259" y="389"/>
                    <a:pt x="261" y="389"/>
                    <a:pt x="263" y="388"/>
                  </a:cubicBezTo>
                  <a:cubicBezTo>
                    <a:pt x="264" y="387"/>
                    <a:pt x="264" y="387"/>
                    <a:pt x="265" y="387"/>
                  </a:cubicBezTo>
                  <a:cubicBezTo>
                    <a:pt x="269" y="385"/>
                    <a:pt x="269" y="384"/>
                    <a:pt x="270" y="381"/>
                  </a:cubicBezTo>
                  <a:cubicBezTo>
                    <a:pt x="270" y="381"/>
                    <a:pt x="270" y="381"/>
                    <a:pt x="270" y="381"/>
                  </a:cubicBezTo>
                  <a:cubicBezTo>
                    <a:pt x="270" y="380"/>
                    <a:pt x="268" y="379"/>
                    <a:pt x="268" y="377"/>
                  </a:cubicBezTo>
                  <a:cubicBezTo>
                    <a:pt x="268" y="377"/>
                    <a:pt x="269" y="376"/>
                    <a:pt x="269" y="376"/>
                  </a:cubicBezTo>
                  <a:cubicBezTo>
                    <a:pt x="273" y="370"/>
                    <a:pt x="280" y="369"/>
                    <a:pt x="285" y="366"/>
                  </a:cubicBezTo>
                  <a:cubicBezTo>
                    <a:pt x="286" y="365"/>
                    <a:pt x="287" y="364"/>
                    <a:pt x="288" y="363"/>
                  </a:cubicBezTo>
                  <a:cubicBezTo>
                    <a:pt x="289" y="362"/>
                    <a:pt x="289" y="361"/>
                    <a:pt x="290" y="361"/>
                  </a:cubicBezTo>
                  <a:cubicBezTo>
                    <a:pt x="291" y="359"/>
                    <a:pt x="293" y="358"/>
                    <a:pt x="294" y="357"/>
                  </a:cubicBezTo>
                  <a:cubicBezTo>
                    <a:pt x="296" y="355"/>
                    <a:pt x="297" y="354"/>
                    <a:pt x="300" y="353"/>
                  </a:cubicBezTo>
                  <a:cubicBezTo>
                    <a:pt x="303" y="351"/>
                    <a:pt x="305" y="349"/>
                    <a:pt x="308" y="346"/>
                  </a:cubicBezTo>
                  <a:cubicBezTo>
                    <a:pt x="307" y="347"/>
                    <a:pt x="307" y="347"/>
                    <a:pt x="307" y="347"/>
                  </a:cubicBezTo>
                  <a:cubicBezTo>
                    <a:pt x="308" y="346"/>
                    <a:pt x="309" y="344"/>
                    <a:pt x="311" y="343"/>
                  </a:cubicBezTo>
                  <a:cubicBezTo>
                    <a:pt x="312" y="340"/>
                    <a:pt x="314" y="337"/>
                    <a:pt x="316" y="335"/>
                  </a:cubicBezTo>
                  <a:cubicBezTo>
                    <a:pt x="321" y="331"/>
                    <a:pt x="326" y="328"/>
                    <a:pt x="331" y="324"/>
                  </a:cubicBezTo>
                  <a:cubicBezTo>
                    <a:pt x="330" y="324"/>
                    <a:pt x="328" y="325"/>
                    <a:pt x="327" y="326"/>
                  </a:cubicBezTo>
                  <a:cubicBezTo>
                    <a:pt x="328" y="325"/>
                    <a:pt x="328" y="324"/>
                    <a:pt x="327" y="324"/>
                  </a:cubicBezTo>
                  <a:cubicBezTo>
                    <a:pt x="327" y="324"/>
                    <a:pt x="327" y="324"/>
                    <a:pt x="327" y="324"/>
                  </a:cubicBezTo>
                  <a:cubicBezTo>
                    <a:pt x="326" y="324"/>
                    <a:pt x="326" y="324"/>
                    <a:pt x="326" y="324"/>
                  </a:cubicBezTo>
                  <a:cubicBezTo>
                    <a:pt x="325" y="326"/>
                    <a:pt x="325" y="326"/>
                    <a:pt x="325" y="326"/>
                  </a:cubicBezTo>
                  <a:cubicBezTo>
                    <a:pt x="325" y="326"/>
                    <a:pt x="324" y="327"/>
                    <a:pt x="324" y="327"/>
                  </a:cubicBezTo>
                  <a:cubicBezTo>
                    <a:pt x="324" y="327"/>
                    <a:pt x="324" y="327"/>
                    <a:pt x="324" y="327"/>
                  </a:cubicBezTo>
                  <a:cubicBezTo>
                    <a:pt x="324" y="324"/>
                    <a:pt x="325" y="322"/>
                    <a:pt x="327" y="321"/>
                  </a:cubicBezTo>
                  <a:cubicBezTo>
                    <a:pt x="328" y="321"/>
                    <a:pt x="329" y="320"/>
                    <a:pt x="330" y="320"/>
                  </a:cubicBezTo>
                  <a:cubicBezTo>
                    <a:pt x="330" y="320"/>
                    <a:pt x="330" y="320"/>
                    <a:pt x="330" y="320"/>
                  </a:cubicBezTo>
                  <a:cubicBezTo>
                    <a:pt x="331" y="321"/>
                    <a:pt x="331" y="321"/>
                    <a:pt x="331" y="321"/>
                  </a:cubicBezTo>
                  <a:cubicBezTo>
                    <a:pt x="332" y="322"/>
                    <a:pt x="329" y="323"/>
                    <a:pt x="329" y="324"/>
                  </a:cubicBezTo>
                  <a:cubicBezTo>
                    <a:pt x="331" y="324"/>
                    <a:pt x="333" y="323"/>
                    <a:pt x="335" y="322"/>
                  </a:cubicBezTo>
                  <a:cubicBezTo>
                    <a:pt x="336" y="322"/>
                    <a:pt x="336" y="322"/>
                    <a:pt x="336" y="322"/>
                  </a:cubicBezTo>
                  <a:cubicBezTo>
                    <a:pt x="339" y="321"/>
                    <a:pt x="343" y="320"/>
                    <a:pt x="346" y="318"/>
                  </a:cubicBezTo>
                  <a:cubicBezTo>
                    <a:pt x="345" y="318"/>
                    <a:pt x="343" y="317"/>
                    <a:pt x="343" y="316"/>
                  </a:cubicBezTo>
                  <a:cubicBezTo>
                    <a:pt x="344" y="316"/>
                    <a:pt x="345" y="317"/>
                    <a:pt x="346" y="317"/>
                  </a:cubicBezTo>
                  <a:cubicBezTo>
                    <a:pt x="348" y="317"/>
                    <a:pt x="349" y="315"/>
                    <a:pt x="351" y="313"/>
                  </a:cubicBezTo>
                  <a:cubicBezTo>
                    <a:pt x="353" y="310"/>
                    <a:pt x="356" y="307"/>
                    <a:pt x="359" y="304"/>
                  </a:cubicBezTo>
                  <a:cubicBezTo>
                    <a:pt x="358" y="304"/>
                    <a:pt x="357" y="303"/>
                    <a:pt x="357" y="301"/>
                  </a:cubicBezTo>
                  <a:cubicBezTo>
                    <a:pt x="357" y="299"/>
                    <a:pt x="356" y="296"/>
                    <a:pt x="356" y="294"/>
                  </a:cubicBezTo>
                  <a:cubicBezTo>
                    <a:pt x="356" y="293"/>
                    <a:pt x="356" y="292"/>
                    <a:pt x="356" y="292"/>
                  </a:cubicBezTo>
                  <a:cubicBezTo>
                    <a:pt x="358" y="288"/>
                    <a:pt x="361" y="287"/>
                    <a:pt x="364" y="286"/>
                  </a:cubicBezTo>
                  <a:cubicBezTo>
                    <a:pt x="366" y="286"/>
                    <a:pt x="367" y="286"/>
                    <a:pt x="368" y="285"/>
                  </a:cubicBezTo>
                  <a:cubicBezTo>
                    <a:pt x="372" y="284"/>
                    <a:pt x="374" y="284"/>
                    <a:pt x="377" y="280"/>
                  </a:cubicBezTo>
                  <a:cubicBezTo>
                    <a:pt x="378" y="279"/>
                    <a:pt x="382" y="276"/>
                    <a:pt x="380" y="274"/>
                  </a:cubicBezTo>
                  <a:cubicBezTo>
                    <a:pt x="379" y="274"/>
                    <a:pt x="378" y="274"/>
                    <a:pt x="377" y="274"/>
                  </a:cubicBezTo>
                  <a:cubicBezTo>
                    <a:pt x="377" y="274"/>
                    <a:pt x="377" y="274"/>
                    <a:pt x="377" y="274"/>
                  </a:cubicBezTo>
                  <a:cubicBezTo>
                    <a:pt x="376" y="273"/>
                    <a:pt x="376" y="271"/>
                    <a:pt x="376" y="269"/>
                  </a:cubicBezTo>
                  <a:cubicBezTo>
                    <a:pt x="377" y="270"/>
                    <a:pt x="377" y="272"/>
                    <a:pt x="378" y="273"/>
                  </a:cubicBezTo>
                  <a:cubicBezTo>
                    <a:pt x="378" y="273"/>
                    <a:pt x="378" y="273"/>
                    <a:pt x="379" y="274"/>
                  </a:cubicBezTo>
                  <a:cubicBezTo>
                    <a:pt x="381" y="274"/>
                    <a:pt x="381" y="275"/>
                    <a:pt x="381" y="277"/>
                  </a:cubicBezTo>
                  <a:cubicBezTo>
                    <a:pt x="382" y="279"/>
                    <a:pt x="380" y="282"/>
                    <a:pt x="381" y="285"/>
                  </a:cubicBezTo>
                  <a:cubicBezTo>
                    <a:pt x="381" y="285"/>
                    <a:pt x="381" y="285"/>
                    <a:pt x="381" y="286"/>
                  </a:cubicBezTo>
                  <a:cubicBezTo>
                    <a:pt x="382" y="286"/>
                    <a:pt x="382" y="287"/>
                    <a:pt x="383" y="287"/>
                  </a:cubicBezTo>
                  <a:cubicBezTo>
                    <a:pt x="383" y="287"/>
                    <a:pt x="383" y="286"/>
                    <a:pt x="383" y="286"/>
                  </a:cubicBezTo>
                  <a:cubicBezTo>
                    <a:pt x="383" y="286"/>
                    <a:pt x="383" y="286"/>
                    <a:pt x="383" y="286"/>
                  </a:cubicBezTo>
                  <a:cubicBezTo>
                    <a:pt x="387" y="286"/>
                    <a:pt x="386" y="282"/>
                    <a:pt x="387" y="279"/>
                  </a:cubicBezTo>
                  <a:cubicBezTo>
                    <a:pt x="387" y="280"/>
                    <a:pt x="387" y="284"/>
                    <a:pt x="387" y="286"/>
                  </a:cubicBezTo>
                  <a:cubicBezTo>
                    <a:pt x="387" y="287"/>
                    <a:pt x="387" y="287"/>
                    <a:pt x="387" y="287"/>
                  </a:cubicBezTo>
                  <a:cubicBezTo>
                    <a:pt x="387" y="287"/>
                    <a:pt x="387" y="287"/>
                    <a:pt x="387" y="287"/>
                  </a:cubicBezTo>
                  <a:cubicBezTo>
                    <a:pt x="388" y="287"/>
                    <a:pt x="389" y="284"/>
                    <a:pt x="389" y="284"/>
                  </a:cubicBezTo>
                  <a:cubicBezTo>
                    <a:pt x="389" y="283"/>
                    <a:pt x="389" y="283"/>
                    <a:pt x="389" y="283"/>
                  </a:cubicBezTo>
                  <a:cubicBezTo>
                    <a:pt x="389" y="282"/>
                    <a:pt x="388" y="283"/>
                    <a:pt x="388" y="281"/>
                  </a:cubicBezTo>
                  <a:cubicBezTo>
                    <a:pt x="388" y="281"/>
                    <a:pt x="388" y="280"/>
                    <a:pt x="389" y="279"/>
                  </a:cubicBezTo>
                  <a:cubicBezTo>
                    <a:pt x="389" y="278"/>
                    <a:pt x="389" y="277"/>
                    <a:pt x="389" y="276"/>
                  </a:cubicBezTo>
                  <a:cubicBezTo>
                    <a:pt x="389" y="275"/>
                    <a:pt x="390" y="275"/>
                    <a:pt x="390" y="274"/>
                  </a:cubicBezTo>
                  <a:cubicBezTo>
                    <a:pt x="390" y="275"/>
                    <a:pt x="390" y="275"/>
                    <a:pt x="390" y="276"/>
                  </a:cubicBezTo>
                  <a:cubicBezTo>
                    <a:pt x="390" y="277"/>
                    <a:pt x="390" y="278"/>
                    <a:pt x="390" y="279"/>
                  </a:cubicBezTo>
                  <a:cubicBezTo>
                    <a:pt x="391" y="278"/>
                    <a:pt x="391" y="277"/>
                    <a:pt x="391" y="277"/>
                  </a:cubicBezTo>
                  <a:cubicBezTo>
                    <a:pt x="392" y="278"/>
                    <a:pt x="391" y="279"/>
                    <a:pt x="391" y="281"/>
                  </a:cubicBezTo>
                  <a:cubicBezTo>
                    <a:pt x="391" y="281"/>
                    <a:pt x="390" y="282"/>
                    <a:pt x="390" y="282"/>
                  </a:cubicBezTo>
                  <a:cubicBezTo>
                    <a:pt x="391" y="283"/>
                    <a:pt x="391" y="283"/>
                    <a:pt x="391" y="284"/>
                  </a:cubicBezTo>
                  <a:cubicBezTo>
                    <a:pt x="391" y="285"/>
                    <a:pt x="392" y="286"/>
                    <a:pt x="392" y="286"/>
                  </a:cubicBezTo>
                  <a:cubicBezTo>
                    <a:pt x="392" y="286"/>
                    <a:pt x="392" y="286"/>
                    <a:pt x="392" y="286"/>
                  </a:cubicBezTo>
                  <a:cubicBezTo>
                    <a:pt x="392" y="286"/>
                    <a:pt x="392" y="286"/>
                    <a:pt x="392" y="286"/>
                  </a:cubicBezTo>
                  <a:cubicBezTo>
                    <a:pt x="393" y="286"/>
                    <a:pt x="394" y="286"/>
                    <a:pt x="394" y="286"/>
                  </a:cubicBezTo>
                  <a:cubicBezTo>
                    <a:pt x="395" y="286"/>
                    <a:pt x="396" y="286"/>
                    <a:pt x="396" y="286"/>
                  </a:cubicBezTo>
                  <a:cubicBezTo>
                    <a:pt x="397" y="286"/>
                    <a:pt x="398" y="286"/>
                    <a:pt x="398" y="285"/>
                  </a:cubicBezTo>
                  <a:cubicBezTo>
                    <a:pt x="398" y="285"/>
                    <a:pt x="397" y="284"/>
                    <a:pt x="397" y="283"/>
                  </a:cubicBezTo>
                  <a:cubicBezTo>
                    <a:pt x="397" y="283"/>
                    <a:pt x="397" y="283"/>
                    <a:pt x="397" y="283"/>
                  </a:cubicBezTo>
                  <a:cubicBezTo>
                    <a:pt x="397" y="282"/>
                    <a:pt x="397" y="280"/>
                    <a:pt x="396" y="280"/>
                  </a:cubicBezTo>
                  <a:cubicBezTo>
                    <a:pt x="396" y="280"/>
                    <a:pt x="396" y="280"/>
                    <a:pt x="396" y="280"/>
                  </a:cubicBezTo>
                  <a:cubicBezTo>
                    <a:pt x="395" y="278"/>
                    <a:pt x="395" y="278"/>
                    <a:pt x="395" y="278"/>
                  </a:cubicBezTo>
                  <a:cubicBezTo>
                    <a:pt x="395" y="277"/>
                    <a:pt x="395" y="276"/>
                    <a:pt x="395" y="276"/>
                  </a:cubicBezTo>
                  <a:cubicBezTo>
                    <a:pt x="395" y="274"/>
                    <a:pt x="395" y="273"/>
                    <a:pt x="394" y="272"/>
                  </a:cubicBezTo>
                  <a:cubicBezTo>
                    <a:pt x="393" y="264"/>
                    <a:pt x="393" y="264"/>
                    <a:pt x="393" y="264"/>
                  </a:cubicBezTo>
                  <a:cubicBezTo>
                    <a:pt x="393" y="263"/>
                    <a:pt x="393" y="263"/>
                    <a:pt x="393" y="263"/>
                  </a:cubicBezTo>
                  <a:cubicBezTo>
                    <a:pt x="393" y="262"/>
                    <a:pt x="393" y="261"/>
                    <a:pt x="393" y="261"/>
                  </a:cubicBezTo>
                  <a:cubicBezTo>
                    <a:pt x="392" y="260"/>
                    <a:pt x="392" y="258"/>
                    <a:pt x="393" y="256"/>
                  </a:cubicBezTo>
                  <a:cubicBezTo>
                    <a:pt x="393" y="255"/>
                    <a:pt x="393" y="255"/>
                    <a:pt x="393" y="255"/>
                  </a:cubicBezTo>
                  <a:cubicBezTo>
                    <a:pt x="393" y="255"/>
                    <a:pt x="393" y="255"/>
                    <a:pt x="393" y="255"/>
                  </a:cubicBezTo>
                  <a:cubicBezTo>
                    <a:pt x="393" y="255"/>
                    <a:pt x="393" y="255"/>
                    <a:pt x="393" y="255"/>
                  </a:cubicBezTo>
                  <a:cubicBezTo>
                    <a:pt x="392" y="254"/>
                    <a:pt x="391" y="254"/>
                    <a:pt x="390" y="253"/>
                  </a:cubicBezTo>
                  <a:cubicBezTo>
                    <a:pt x="390" y="252"/>
                    <a:pt x="390" y="252"/>
                    <a:pt x="390" y="252"/>
                  </a:cubicBezTo>
                  <a:cubicBezTo>
                    <a:pt x="390" y="251"/>
                    <a:pt x="390" y="250"/>
                    <a:pt x="390" y="249"/>
                  </a:cubicBezTo>
                  <a:cubicBezTo>
                    <a:pt x="390" y="249"/>
                    <a:pt x="390" y="249"/>
                    <a:pt x="390" y="249"/>
                  </a:cubicBezTo>
                  <a:cubicBezTo>
                    <a:pt x="387" y="247"/>
                    <a:pt x="387" y="245"/>
                    <a:pt x="387" y="242"/>
                  </a:cubicBezTo>
                  <a:cubicBezTo>
                    <a:pt x="387" y="241"/>
                    <a:pt x="387" y="241"/>
                    <a:pt x="387" y="241"/>
                  </a:cubicBezTo>
                  <a:cubicBezTo>
                    <a:pt x="387" y="239"/>
                    <a:pt x="388" y="238"/>
                    <a:pt x="389" y="238"/>
                  </a:cubicBezTo>
                  <a:cubicBezTo>
                    <a:pt x="389" y="237"/>
                    <a:pt x="389" y="237"/>
                    <a:pt x="389" y="237"/>
                  </a:cubicBezTo>
                  <a:cubicBezTo>
                    <a:pt x="389" y="237"/>
                    <a:pt x="389" y="236"/>
                    <a:pt x="389" y="234"/>
                  </a:cubicBezTo>
                  <a:cubicBezTo>
                    <a:pt x="389" y="234"/>
                    <a:pt x="389" y="234"/>
                    <a:pt x="389" y="234"/>
                  </a:cubicBezTo>
                  <a:cubicBezTo>
                    <a:pt x="389" y="233"/>
                    <a:pt x="389" y="233"/>
                    <a:pt x="389" y="233"/>
                  </a:cubicBezTo>
                  <a:cubicBezTo>
                    <a:pt x="388" y="233"/>
                    <a:pt x="388" y="233"/>
                    <a:pt x="388" y="233"/>
                  </a:cubicBezTo>
                  <a:cubicBezTo>
                    <a:pt x="387" y="233"/>
                    <a:pt x="387" y="233"/>
                    <a:pt x="387" y="233"/>
                  </a:cubicBezTo>
                  <a:cubicBezTo>
                    <a:pt x="387" y="233"/>
                    <a:pt x="387" y="233"/>
                    <a:pt x="386" y="233"/>
                  </a:cubicBezTo>
                  <a:cubicBezTo>
                    <a:pt x="386" y="233"/>
                    <a:pt x="385" y="233"/>
                    <a:pt x="385" y="233"/>
                  </a:cubicBezTo>
                  <a:cubicBezTo>
                    <a:pt x="384" y="232"/>
                    <a:pt x="384" y="232"/>
                    <a:pt x="383" y="232"/>
                  </a:cubicBezTo>
                  <a:cubicBezTo>
                    <a:pt x="382" y="231"/>
                    <a:pt x="382" y="231"/>
                    <a:pt x="381" y="230"/>
                  </a:cubicBezTo>
                  <a:cubicBezTo>
                    <a:pt x="381" y="230"/>
                    <a:pt x="381" y="230"/>
                    <a:pt x="381" y="230"/>
                  </a:cubicBezTo>
                  <a:cubicBezTo>
                    <a:pt x="380" y="230"/>
                    <a:pt x="379" y="230"/>
                    <a:pt x="379" y="229"/>
                  </a:cubicBezTo>
                  <a:cubicBezTo>
                    <a:pt x="378" y="229"/>
                    <a:pt x="378" y="228"/>
                    <a:pt x="378" y="228"/>
                  </a:cubicBezTo>
                  <a:cubicBezTo>
                    <a:pt x="377" y="227"/>
                    <a:pt x="377" y="227"/>
                    <a:pt x="377" y="226"/>
                  </a:cubicBezTo>
                  <a:cubicBezTo>
                    <a:pt x="377" y="225"/>
                    <a:pt x="377" y="223"/>
                    <a:pt x="378" y="221"/>
                  </a:cubicBezTo>
                  <a:cubicBezTo>
                    <a:pt x="378" y="221"/>
                    <a:pt x="378" y="221"/>
                    <a:pt x="378" y="221"/>
                  </a:cubicBezTo>
                  <a:cubicBezTo>
                    <a:pt x="379" y="219"/>
                    <a:pt x="380" y="218"/>
                    <a:pt x="381" y="218"/>
                  </a:cubicBezTo>
                  <a:cubicBezTo>
                    <a:pt x="381" y="218"/>
                    <a:pt x="382" y="217"/>
                    <a:pt x="382" y="217"/>
                  </a:cubicBezTo>
                  <a:cubicBezTo>
                    <a:pt x="382" y="217"/>
                    <a:pt x="382" y="217"/>
                    <a:pt x="382" y="217"/>
                  </a:cubicBezTo>
                  <a:cubicBezTo>
                    <a:pt x="383" y="217"/>
                    <a:pt x="383" y="217"/>
                    <a:pt x="383" y="217"/>
                  </a:cubicBezTo>
                  <a:cubicBezTo>
                    <a:pt x="384" y="212"/>
                    <a:pt x="388" y="211"/>
                    <a:pt x="391" y="211"/>
                  </a:cubicBezTo>
                  <a:cubicBezTo>
                    <a:pt x="391" y="211"/>
                    <a:pt x="391" y="211"/>
                    <a:pt x="392" y="211"/>
                  </a:cubicBezTo>
                  <a:cubicBezTo>
                    <a:pt x="391" y="211"/>
                    <a:pt x="391" y="210"/>
                    <a:pt x="391" y="209"/>
                  </a:cubicBezTo>
                  <a:cubicBezTo>
                    <a:pt x="391" y="209"/>
                    <a:pt x="391" y="209"/>
                    <a:pt x="391" y="209"/>
                  </a:cubicBezTo>
                  <a:cubicBezTo>
                    <a:pt x="390" y="209"/>
                    <a:pt x="390" y="209"/>
                    <a:pt x="390" y="209"/>
                  </a:cubicBezTo>
                  <a:cubicBezTo>
                    <a:pt x="390" y="209"/>
                    <a:pt x="390" y="209"/>
                    <a:pt x="390" y="209"/>
                  </a:cubicBezTo>
                  <a:cubicBezTo>
                    <a:pt x="390" y="209"/>
                    <a:pt x="390" y="209"/>
                    <a:pt x="390" y="209"/>
                  </a:cubicBezTo>
                  <a:cubicBezTo>
                    <a:pt x="387" y="209"/>
                    <a:pt x="386" y="208"/>
                    <a:pt x="385" y="207"/>
                  </a:cubicBezTo>
                  <a:cubicBezTo>
                    <a:pt x="384" y="206"/>
                    <a:pt x="384" y="206"/>
                    <a:pt x="384" y="206"/>
                  </a:cubicBezTo>
                  <a:cubicBezTo>
                    <a:pt x="383" y="205"/>
                    <a:pt x="382" y="204"/>
                    <a:pt x="381" y="203"/>
                  </a:cubicBezTo>
                  <a:cubicBezTo>
                    <a:pt x="381" y="203"/>
                    <a:pt x="381" y="203"/>
                    <a:pt x="381" y="203"/>
                  </a:cubicBezTo>
                  <a:cubicBezTo>
                    <a:pt x="380" y="203"/>
                    <a:pt x="378" y="203"/>
                    <a:pt x="377" y="201"/>
                  </a:cubicBezTo>
                  <a:cubicBezTo>
                    <a:pt x="376" y="199"/>
                    <a:pt x="378" y="197"/>
                    <a:pt x="378" y="196"/>
                  </a:cubicBezTo>
                  <a:cubicBezTo>
                    <a:pt x="379" y="195"/>
                    <a:pt x="379" y="195"/>
                    <a:pt x="379" y="195"/>
                  </a:cubicBezTo>
                  <a:cubicBezTo>
                    <a:pt x="379" y="195"/>
                    <a:pt x="379" y="195"/>
                    <a:pt x="379" y="195"/>
                  </a:cubicBezTo>
                  <a:cubicBezTo>
                    <a:pt x="380" y="192"/>
                    <a:pt x="382" y="191"/>
                    <a:pt x="383" y="189"/>
                  </a:cubicBezTo>
                  <a:cubicBezTo>
                    <a:pt x="383" y="189"/>
                    <a:pt x="383" y="189"/>
                    <a:pt x="383" y="189"/>
                  </a:cubicBezTo>
                  <a:cubicBezTo>
                    <a:pt x="382" y="189"/>
                    <a:pt x="382" y="189"/>
                    <a:pt x="382" y="189"/>
                  </a:cubicBezTo>
                  <a:cubicBezTo>
                    <a:pt x="382" y="189"/>
                    <a:pt x="382" y="188"/>
                    <a:pt x="382" y="188"/>
                  </a:cubicBezTo>
                  <a:cubicBezTo>
                    <a:pt x="382" y="187"/>
                    <a:pt x="382" y="187"/>
                    <a:pt x="382" y="187"/>
                  </a:cubicBezTo>
                  <a:cubicBezTo>
                    <a:pt x="381" y="187"/>
                    <a:pt x="381" y="187"/>
                    <a:pt x="381" y="187"/>
                  </a:cubicBezTo>
                  <a:cubicBezTo>
                    <a:pt x="381" y="187"/>
                    <a:pt x="381" y="187"/>
                    <a:pt x="381" y="187"/>
                  </a:cubicBezTo>
                  <a:cubicBezTo>
                    <a:pt x="381" y="188"/>
                    <a:pt x="381" y="188"/>
                    <a:pt x="381" y="188"/>
                  </a:cubicBezTo>
                  <a:cubicBezTo>
                    <a:pt x="380" y="190"/>
                    <a:pt x="380" y="191"/>
                    <a:pt x="378" y="191"/>
                  </a:cubicBezTo>
                  <a:cubicBezTo>
                    <a:pt x="377" y="192"/>
                    <a:pt x="376" y="192"/>
                    <a:pt x="376" y="192"/>
                  </a:cubicBezTo>
                  <a:cubicBezTo>
                    <a:pt x="375" y="192"/>
                    <a:pt x="375" y="192"/>
                    <a:pt x="375" y="192"/>
                  </a:cubicBezTo>
                  <a:cubicBezTo>
                    <a:pt x="374" y="192"/>
                    <a:pt x="374" y="192"/>
                    <a:pt x="373" y="191"/>
                  </a:cubicBezTo>
                  <a:cubicBezTo>
                    <a:pt x="372" y="191"/>
                    <a:pt x="371" y="191"/>
                    <a:pt x="371" y="191"/>
                  </a:cubicBezTo>
                  <a:cubicBezTo>
                    <a:pt x="368" y="191"/>
                    <a:pt x="368" y="191"/>
                    <a:pt x="368" y="191"/>
                  </a:cubicBezTo>
                  <a:cubicBezTo>
                    <a:pt x="367" y="191"/>
                    <a:pt x="367" y="191"/>
                    <a:pt x="367" y="191"/>
                  </a:cubicBezTo>
                  <a:cubicBezTo>
                    <a:pt x="367" y="191"/>
                    <a:pt x="366" y="191"/>
                    <a:pt x="366" y="191"/>
                  </a:cubicBezTo>
                  <a:cubicBezTo>
                    <a:pt x="364" y="191"/>
                    <a:pt x="362" y="191"/>
                    <a:pt x="360" y="191"/>
                  </a:cubicBezTo>
                  <a:cubicBezTo>
                    <a:pt x="359" y="190"/>
                    <a:pt x="358" y="189"/>
                    <a:pt x="358" y="188"/>
                  </a:cubicBezTo>
                  <a:cubicBezTo>
                    <a:pt x="358" y="189"/>
                    <a:pt x="358" y="189"/>
                    <a:pt x="358" y="189"/>
                  </a:cubicBezTo>
                  <a:cubicBezTo>
                    <a:pt x="357" y="189"/>
                    <a:pt x="356" y="190"/>
                    <a:pt x="355" y="190"/>
                  </a:cubicBezTo>
                  <a:cubicBezTo>
                    <a:pt x="355" y="190"/>
                    <a:pt x="355" y="190"/>
                    <a:pt x="355" y="190"/>
                  </a:cubicBezTo>
                  <a:cubicBezTo>
                    <a:pt x="354" y="190"/>
                    <a:pt x="354" y="190"/>
                    <a:pt x="354" y="190"/>
                  </a:cubicBezTo>
                  <a:cubicBezTo>
                    <a:pt x="354" y="190"/>
                    <a:pt x="354" y="190"/>
                    <a:pt x="354" y="190"/>
                  </a:cubicBezTo>
                  <a:cubicBezTo>
                    <a:pt x="353" y="190"/>
                    <a:pt x="353" y="190"/>
                    <a:pt x="353" y="190"/>
                  </a:cubicBezTo>
                  <a:cubicBezTo>
                    <a:pt x="353" y="190"/>
                    <a:pt x="353" y="190"/>
                    <a:pt x="353" y="190"/>
                  </a:cubicBezTo>
                  <a:cubicBezTo>
                    <a:pt x="352" y="190"/>
                    <a:pt x="352" y="190"/>
                    <a:pt x="351" y="190"/>
                  </a:cubicBezTo>
                  <a:cubicBezTo>
                    <a:pt x="351" y="190"/>
                    <a:pt x="351" y="190"/>
                    <a:pt x="351" y="190"/>
                  </a:cubicBezTo>
                  <a:cubicBezTo>
                    <a:pt x="351" y="190"/>
                    <a:pt x="350" y="190"/>
                    <a:pt x="350" y="190"/>
                  </a:cubicBezTo>
                  <a:cubicBezTo>
                    <a:pt x="348" y="188"/>
                    <a:pt x="348" y="188"/>
                    <a:pt x="348" y="188"/>
                  </a:cubicBezTo>
                  <a:cubicBezTo>
                    <a:pt x="347" y="188"/>
                    <a:pt x="347" y="188"/>
                    <a:pt x="346" y="188"/>
                  </a:cubicBezTo>
                  <a:cubicBezTo>
                    <a:pt x="346" y="188"/>
                    <a:pt x="345" y="187"/>
                    <a:pt x="344" y="187"/>
                  </a:cubicBezTo>
                  <a:cubicBezTo>
                    <a:pt x="344" y="187"/>
                    <a:pt x="344" y="187"/>
                    <a:pt x="344" y="187"/>
                  </a:cubicBezTo>
                  <a:cubicBezTo>
                    <a:pt x="343" y="187"/>
                    <a:pt x="343" y="187"/>
                    <a:pt x="342" y="187"/>
                  </a:cubicBezTo>
                  <a:cubicBezTo>
                    <a:pt x="342" y="187"/>
                    <a:pt x="342" y="187"/>
                    <a:pt x="342" y="187"/>
                  </a:cubicBezTo>
                  <a:cubicBezTo>
                    <a:pt x="342" y="187"/>
                    <a:pt x="341" y="187"/>
                    <a:pt x="341" y="187"/>
                  </a:cubicBezTo>
                  <a:cubicBezTo>
                    <a:pt x="340" y="187"/>
                    <a:pt x="340" y="187"/>
                    <a:pt x="340" y="187"/>
                  </a:cubicBezTo>
                  <a:cubicBezTo>
                    <a:pt x="340" y="188"/>
                    <a:pt x="339" y="188"/>
                    <a:pt x="338" y="188"/>
                  </a:cubicBezTo>
                  <a:cubicBezTo>
                    <a:pt x="338" y="188"/>
                    <a:pt x="337" y="188"/>
                    <a:pt x="337" y="187"/>
                  </a:cubicBezTo>
                  <a:cubicBezTo>
                    <a:pt x="336" y="187"/>
                    <a:pt x="336" y="187"/>
                    <a:pt x="335" y="187"/>
                  </a:cubicBezTo>
                  <a:cubicBezTo>
                    <a:pt x="335" y="187"/>
                    <a:pt x="334" y="186"/>
                    <a:pt x="334" y="186"/>
                  </a:cubicBezTo>
                  <a:cubicBezTo>
                    <a:pt x="333" y="185"/>
                    <a:pt x="333" y="185"/>
                    <a:pt x="333" y="184"/>
                  </a:cubicBezTo>
                  <a:cubicBezTo>
                    <a:pt x="332" y="183"/>
                    <a:pt x="332" y="183"/>
                    <a:pt x="332" y="183"/>
                  </a:cubicBezTo>
                  <a:cubicBezTo>
                    <a:pt x="332" y="183"/>
                    <a:pt x="332" y="183"/>
                    <a:pt x="332" y="183"/>
                  </a:cubicBezTo>
                  <a:cubicBezTo>
                    <a:pt x="331" y="183"/>
                    <a:pt x="331" y="183"/>
                    <a:pt x="330" y="183"/>
                  </a:cubicBezTo>
                  <a:cubicBezTo>
                    <a:pt x="329" y="184"/>
                    <a:pt x="329" y="184"/>
                    <a:pt x="329" y="184"/>
                  </a:cubicBezTo>
                  <a:cubicBezTo>
                    <a:pt x="328" y="184"/>
                    <a:pt x="327" y="184"/>
                    <a:pt x="327" y="184"/>
                  </a:cubicBezTo>
                  <a:cubicBezTo>
                    <a:pt x="326" y="184"/>
                    <a:pt x="326" y="184"/>
                    <a:pt x="326" y="184"/>
                  </a:cubicBezTo>
                  <a:cubicBezTo>
                    <a:pt x="326" y="184"/>
                    <a:pt x="325" y="184"/>
                    <a:pt x="324" y="183"/>
                  </a:cubicBezTo>
                  <a:cubicBezTo>
                    <a:pt x="324" y="183"/>
                    <a:pt x="324" y="183"/>
                    <a:pt x="323" y="182"/>
                  </a:cubicBezTo>
                  <a:cubicBezTo>
                    <a:pt x="323" y="182"/>
                    <a:pt x="323" y="182"/>
                    <a:pt x="323" y="182"/>
                  </a:cubicBezTo>
                  <a:cubicBezTo>
                    <a:pt x="323" y="182"/>
                    <a:pt x="322" y="182"/>
                    <a:pt x="322" y="181"/>
                  </a:cubicBezTo>
                  <a:cubicBezTo>
                    <a:pt x="321" y="181"/>
                    <a:pt x="321" y="181"/>
                    <a:pt x="321" y="181"/>
                  </a:cubicBezTo>
                  <a:cubicBezTo>
                    <a:pt x="320" y="180"/>
                    <a:pt x="319" y="180"/>
                    <a:pt x="317" y="179"/>
                  </a:cubicBezTo>
                  <a:cubicBezTo>
                    <a:pt x="317" y="179"/>
                    <a:pt x="317" y="179"/>
                    <a:pt x="317" y="179"/>
                  </a:cubicBezTo>
                  <a:cubicBezTo>
                    <a:pt x="316" y="179"/>
                    <a:pt x="315" y="179"/>
                    <a:pt x="314" y="178"/>
                  </a:cubicBezTo>
                  <a:cubicBezTo>
                    <a:pt x="313" y="178"/>
                    <a:pt x="312" y="177"/>
                    <a:pt x="311" y="176"/>
                  </a:cubicBezTo>
                  <a:cubicBezTo>
                    <a:pt x="311" y="175"/>
                    <a:pt x="311" y="175"/>
                    <a:pt x="311" y="174"/>
                  </a:cubicBezTo>
                  <a:cubicBezTo>
                    <a:pt x="311" y="173"/>
                    <a:pt x="311" y="173"/>
                    <a:pt x="311" y="172"/>
                  </a:cubicBezTo>
                  <a:cubicBezTo>
                    <a:pt x="310" y="172"/>
                    <a:pt x="310" y="172"/>
                    <a:pt x="310" y="172"/>
                  </a:cubicBezTo>
                  <a:cubicBezTo>
                    <a:pt x="310" y="171"/>
                    <a:pt x="310" y="171"/>
                    <a:pt x="310" y="171"/>
                  </a:cubicBezTo>
                  <a:cubicBezTo>
                    <a:pt x="310" y="171"/>
                    <a:pt x="310" y="171"/>
                    <a:pt x="310" y="171"/>
                  </a:cubicBezTo>
                  <a:cubicBezTo>
                    <a:pt x="309" y="170"/>
                    <a:pt x="308" y="170"/>
                    <a:pt x="306" y="169"/>
                  </a:cubicBezTo>
                  <a:cubicBezTo>
                    <a:pt x="306" y="169"/>
                    <a:pt x="306" y="169"/>
                    <a:pt x="306" y="169"/>
                  </a:cubicBezTo>
                  <a:cubicBezTo>
                    <a:pt x="305" y="169"/>
                    <a:pt x="305" y="169"/>
                    <a:pt x="304" y="169"/>
                  </a:cubicBezTo>
                  <a:cubicBezTo>
                    <a:pt x="304" y="169"/>
                    <a:pt x="304" y="169"/>
                    <a:pt x="304" y="169"/>
                  </a:cubicBezTo>
                  <a:cubicBezTo>
                    <a:pt x="304" y="169"/>
                    <a:pt x="304" y="169"/>
                    <a:pt x="303" y="169"/>
                  </a:cubicBezTo>
                  <a:cubicBezTo>
                    <a:pt x="303" y="169"/>
                    <a:pt x="303" y="169"/>
                    <a:pt x="302" y="169"/>
                  </a:cubicBezTo>
                  <a:cubicBezTo>
                    <a:pt x="303" y="173"/>
                    <a:pt x="303" y="173"/>
                    <a:pt x="303" y="173"/>
                  </a:cubicBezTo>
                  <a:cubicBezTo>
                    <a:pt x="301" y="170"/>
                    <a:pt x="301" y="170"/>
                    <a:pt x="301" y="170"/>
                  </a:cubicBezTo>
                  <a:cubicBezTo>
                    <a:pt x="300" y="170"/>
                    <a:pt x="300" y="171"/>
                    <a:pt x="300" y="171"/>
                  </a:cubicBezTo>
                  <a:cubicBezTo>
                    <a:pt x="299" y="171"/>
                    <a:pt x="299" y="171"/>
                    <a:pt x="299" y="171"/>
                  </a:cubicBezTo>
                  <a:cubicBezTo>
                    <a:pt x="299" y="171"/>
                    <a:pt x="299" y="171"/>
                    <a:pt x="299" y="171"/>
                  </a:cubicBezTo>
                  <a:cubicBezTo>
                    <a:pt x="298" y="172"/>
                    <a:pt x="298" y="172"/>
                    <a:pt x="298" y="172"/>
                  </a:cubicBezTo>
                  <a:cubicBezTo>
                    <a:pt x="297" y="171"/>
                    <a:pt x="297" y="171"/>
                    <a:pt x="297" y="171"/>
                  </a:cubicBezTo>
                  <a:cubicBezTo>
                    <a:pt x="292" y="169"/>
                    <a:pt x="292" y="169"/>
                    <a:pt x="292" y="169"/>
                  </a:cubicBezTo>
                  <a:cubicBezTo>
                    <a:pt x="292" y="170"/>
                    <a:pt x="292" y="170"/>
                    <a:pt x="292" y="170"/>
                  </a:cubicBezTo>
                  <a:cubicBezTo>
                    <a:pt x="291" y="171"/>
                    <a:pt x="291" y="171"/>
                    <a:pt x="291" y="171"/>
                  </a:cubicBezTo>
                  <a:cubicBezTo>
                    <a:pt x="291" y="171"/>
                    <a:pt x="291" y="171"/>
                    <a:pt x="291" y="171"/>
                  </a:cubicBezTo>
                  <a:cubicBezTo>
                    <a:pt x="290" y="171"/>
                    <a:pt x="290" y="171"/>
                    <a:pt x="290" y="172"/>
                  </a:cubicBezTo>
                  <a:cubicBezTo>
                    <a:pt x="289" y="172"/>
                    <a:pt x="289" y="172"/>
                    <a:pt x="289" y="172"/>
                  </a:cubicBezTo>
                  <a:cubicBezTo>
                    <a:pt x="289" y="172"/>
                    <a:pt x="289" y="172"/>
                    <a:pt x="289" y="172"/>
                  </a:cubicBezTo>
                  <a:cubicBezTo>
                    <a:pt x="288" y="172"/>
                    <a:pt x="288" y="172"/>
                    <a:pt x="288" y="172"/>
                  </a:cubicBezTo>
                  <a:cubicBezTo>
                    <a:pt x="288" y="172"/>
                    <a:pt x="288" y="172"/>
                    <a:pt x="287" y="172"/>
                  </a:cubicBezTo>
                  <a:cubicBezTo>
                    <a:pt x="287" y="172"/>
                    <a:pt x="286" y="172"/>
                    <a:pt x="286" y="171"/>
                  </a:cubicBezTo>
                  <a:cubicBezTo>
                    <a:pt x="285" y="171"/>
                    <a:pt x="284" y="170"/>
                    <a:pt x="283" y="170"/>
                  </a:cubicBezTo>
                  <a:cubicBezTo>
                    <a:pt x="282" y="170"/>
                    <a:pt x="281" y="169"/>
                    <a:pt x="281" y="169"/>
                  </a:cubicBezTo>
                  <a:cubicBezTo>
                    <a:pt x="278" y="169"/>
                    <a:pt x="278" y="169"/>
                    <a:pt x="278" y="169"/>
                  </a:cubicBezTo>
                  <a:cubicBezTo>
                    <a:pt x="277" y="169"/>
                    <a:pt x="277" y="168"/>
                    <a:pt x="276" y="168"/>
                  </a:cubicBezTo>
                  <a:cubicBezTo>
                    <a:pt x="275" y="167"/>
                    <a:pt x="275" y="166"/>
                    <a:pt x="275" y="165"/>
                  </a:cubicBezTo>
                  <a:cubicBezTo>
                    <a:pt x="274" y="164"/>
                    <a:pt x="274" y="164"/>
                    <a:pt x="274" y="164"/>
                  </a:cubicBezTo>
                  <a:cubicBezTo>
                    <a:pt x="274" y="164"/>
                    <a:pt x="274" y="164"/>
                    <a:pt x="274" y="164"/>
                  </a:cubicBezTo>
                  <a:cubicBezTo>
                    <a:pt x="269" y="162"/>
                    <a:pt x="269" y="162"/>
                    <a:pt x="269" y="162"/>
                  </a:cubicBezTo>
                  <a:cubicBezTo>
                    <a:pt x="268" y="166"/>
                    <a:pt x="268" y="166"/>
                    <a:pt x="268" y="166"/>
                  </a:cubicBezTo>
                  <a:cubicBezTo>
                    <a:pt x="268" y="162"/>
                    <a:pt x="268" y="162"/>
                    <a:pt x="268" y="162"/>
                  </a:cubicBezTo>
                  <a:cubicBezTo>
                    <a:pt x="268" y="162"/>
                    <a:pt x="268" y="162"/>
                    <a:pt x="268" y="162"/>
                  </a:cubicBezTo>
                  <a:cubicBezTo>
                    <a:pt x="266" y="162"/>
                    <a:pt x="265" y="161"/>
                    <a:pt x="264" y="160"/>
                  </a:cubicBezTo>
                  <a:cubicBezTo>
                    <a:pt x="263" y="161"/>
                    <a:pt x="263" y="161"/>
                    <a:pt x="263" y="161"/>
                  </a:cubicBezTo>
                  <a:cubicBezTo>
                    <a:pt x="263" y="161"/>
                    <a:pt x="262" y="161"/>
                    <a:pt x="261" y="161"/>
                  </a:cubicBezTo>
                  <a:cubicBezTo>
                    <a:pt x="261" y="161"/>
                    <a:pt x="261" y="161"/>
                    <a:pt x="261" y="161"/>
                  </a:cubicBezTo>
                  <a:cubicBezTo>
                    <a:pt x="260" y="161"/>
                    <a:pt x="260" y="161"/>
                    <a:pt x="260" y="161"/>
                  </a:cubicBezTo>
                  <a:cubicBezTo>
                    <a:pt x="259" y="161"/>
                    <a:pt x="258" y="160"/>
                    <a:pt x="256" y="159"/>
                  </a:cubicBezTo>
                  <a:cubicBezTo>
                    <a:pt x="255" y="158"/>
                    <a:pt x="255" y="158"/>
                    <a:pt x="255" y="158"/>
                  </a:cubicBezTo>
                  <a:cubicBezTo>
                    <a:pt x="254" y="158"/>
                    <a:pt x="254" y="157"/>
                    <a:pt x="253" y="157"/>
                  </a:cubicBezTo>
                  <a:cubicBezTo>
                    <a:pt x="253" y="157"/>
                    <a:pt x="252" y="157"/>
                    <a:pt x="252" y="156"/>
                  </a:cubicBezTo>
                  <a:cubicBezTo>
                    <a:pt x="251" y="156"/>
                    <a:pt x="251" y="156"/>
                    <a:pt x="251" y="156"/>
                  </a:cubicBezTo>
                  <a:cubicBezTo>
                    <a:pt x="250" y="155"/>
                    <a:pt x="249" y="153"/>
                    <a:pt x="247" y="152"/>
                  </a:cubicBezTo>
                  <a:cubicBezTo>
                    <a:pt x="247" y="152"/>
                    <a:pt x="247" y="152"/>
                    <a:pt x="247" y="152"/>
                  </a:cubicBezTo>
                  <a:cubicBezTo>
                    <a:pt x="246" y="151"/>
                    <a:pt x="244" y="150"/>
                    <a:pt x="243" y="149"/>
                  </a:cubicBezTo>
                  <a:cubicBezTo>
                    <a:pt x="242" y="148"/>
                    <a:pt x="240" y="147"/>
                    <a:pt x="239" y="147"/>
                  </a:cubicBezTo>
                  <a:cubicBezTo>
                    <a:pt x="237" y="146"/>
                    <a:pt x="237" y="146"/>
                    <a:pt x="237" y="146"/>
                  </a:cubicBezTo>
                  <a:cubicBezTo>
                    <a:pt x="236" y="148"/>
                    <a:pt x="236" y="148"/>
                    <a:pt x="236" y="148"/>
                  </a:cubicBezTo>
                  <a:cubicBezTo>
                    <a:pt x="233" y="146"/>
                    <a:pt x="233" y="146"/>
                    <a:pt x="233" y="146"/>
                  </a:cubicBezTo>
                  <a:cubicBezTo>
                    <a:pt x="232" y="146"/>
                    <a:pt x="229" y="144"/>
                    <a:pt x="227" y="143"/>
                  </a:cubicBezTo>
                  <a:cubicBezTo>
                    <a:pt x="225" y="141"/>
                    <a:pt x="224" y="139"/>
                    <a:pt x="224" y="137"/>
                  </a:cubicBezTo>
                  <a:cubicBezTo>
                    <a:pt x="225" y="136"/>
                    <a:pt x="225" y="135"/>
                    <a:pt x="225" y="134"/>
                  </a:cubicBezTo>
                  <a:cubicBezTo>
                    <a:pt x="225" y="133"/>
                    <a:pt x="226" y="132"/>
                    <a:pt x="227" y="131"/>
                  </a:cubicBezTo>
                  <a:cubicBezTo>
                    <a:pt x="227" y="130"/>
                    <a:pt x="227" y="130"/>
                    <a:pt x="227" y="130"/>
                  </a:cubicBezTo>
                  <a:cubicBezTo>
                    <a:pt x="228" y="129"/>
                    <a:pt x="228" y="129"/>
                    <a:pt x="228" y="129"/>
                  </a:cubicBezTo>
                  <a:cubicBezTo>
                    <a:pt x="228" y="128"/>
                    <a:pt x="228" y="128"/>
                    <a:pt x="228" y="127"/>
                  </a:cubicBezTo>
                  <a:cubicBezTo>
                    <a:pt x="228" y="127"/>
                    <a:pt x="228" y="126"/>
                    <a:pt x="228" y="126"/>
                  </a:cubicBezTo>
                  <a:cubicBezTo>
                    <a:pt x="228" y="125"/>
                    <a:pt x="228" y="124"/>
                    <a:pt x="229" y="124"/>
                  </a:cubicBezTo>
                  <a:cubicBezTo>
                    <a:pt x="230" y="122"/>
                    <a:pt x="230" y="122"/>
                    <a:pt x="230" y="122"/>
                  </a:cubicBezTo>
                  <a:cubicBezTo>
                    <a:pt x="230" y="122"/>
                    <a:pt x="230" y="122"/>
                    <a:pt x="230" y="122"/>
                  </a:cubicBezTo>
                  <a:cubicBezTo>
                    <a:pt x="230" y="122"/>
                    <a:pt x="230" y="122"/>
                    <a:pt x="230" y="122"/>
                  </a:cubicBezTo>
                  <a:cubicBezTo>
                    <a:pt x="231" y="121"/>
                    <a:pt x="231" y="121"/>
                    <a:pt x="231" y="121"/>
                  </a:cubicBezTo>
                  <a:cubicBezTo>
                    <a:pt x="241" y="111"/>
                    <a:pt x="241" y="111"/>
                    <a:pt x="241" y="111"/>
                  </a:cubicBezTo>
                  <a:cubicBezTo>
                    <a:pt x="228" y="105"/>
                    <a:pt x="228" y="105"/>
                    <a:pt x="228" y="105"/>
                  </a:cubicBezTo>
                  <a:cubicBezTo>
                    <a:pt x="227" y="104"/>
                    <a:pt x="227" y="104"/>
                    <a:pt x="227" y="103"/>
                  </a:cubicBezTo>
                  <a:cubicBezTo>
                    <a:pt x="226" y="102"/>
                    <a:pt x="226" y="102"/>
                    <a:pt x="226" y="102"/>
                  </a:cubicBezTo>
                  <a:cubicBezTo>
                    <a:pt x="227" y="101"/>
                    <a:pt x="227" y="101"/>
                    <a:pt x="227" y="101"/>
                  </a:cubicBezTo>
                  <a:cubicBezTo>
                    <a:pt x="227" y="100"/>
                    <a:pt x="227" y="100"/>
                    <a:pt x="227" y="100"/>
                  </a:cubicBezTo>
                  <a:cubicBezTo>
                    <a:pt x="227" y="100"/>
                    <a:pt x="226" y="100"/>
                    <a:pt x="226" y="100"/>
                  </a:cubicBezTo>
                  <a:cubicBezTo>
                    <a:pt x="224" y="98"/>
                    <a:pt x="220" y="97"/>
                    <a:pt x="218" y="97"/>
                  </a:cubicBezTo>
                  <a:cubicBezTo>
                    <a:pt x="217" y="96"/>
                    <a:pt x="217" y="96"/>
                    <a:pt x="217" y="96"/>
                  </a:cubicBezTo>
                  <a:cubicBezTo>
                    <a:pt x="216" y="96"/>
                    <a:pt x="216" y="96"/>
                    <a:pt x="216" y="96"/>
                  </a:cubicBezTo>
                  <a:cubicBezTo>
                    <a:pt x="214" y="96"/>
                    <a:pt x="213" y="95"/>
                    <a:pt x="212" y="94"/>
                  </a:cubicBezTo>
                  <a:cubicBezTo>
                    <a:pt x="212" y="93"/>
                    <a:pt x="212" y="93"/>
                    <a:pt x="212" y="93"/>
                  </a:cubicBezTo>
                  <a:cubicBezTo>
                    <a:pt x="211" y="93"/>
                    <a:pt x="211" y="92"/>
                    <a:pt x="210" y="91"/>
                  </a:cubicBezTo>
                  <a:cubicBezTo>
                    <a:pt x="210" y="91"/>
                    <a:pt x="210" y="91"/>
                    <a:pt x="210" y="91"/>
                  </a:cubicBezTo>
                  <a:cubicBezTo>
                    <a:pt x="209" y="90"/>
                    <a:pt x="209" y="89"/>
                    <a:pt x="209" y="89"/>
                  </a:cubicBezTo>
                  <a:cubicBezTo>
                    <a:pt x="208" y="89"/>
                    <a:pt x="208" y="89"/>
                    <a:pt x="208" y="89"/>
                  </a:cubicBezTo>
                  <a:cubicBezTo>
                    <a:pt x="208" y="89"/>
                    <a:pt x="208" y="89"/>
                    <a:pt x="208" y="89"/>
                  </a:cubicBezTo>
                  <a:cubicBezTo>
                    <a:pt x="208" y="88"/>
                    <a:pt x="208" y="88"/>
                    <a:pt x="208" y="88"/>
                  </a:cubicBezTo>
                  <a:cubicBezTo>
                    <a:pt x="208" y="88"/>
                    <a:pt x="208" y="88"/>
                    <a:pt x="208" y="88"/>
                  </a:cubicBezTo>
                  <a:cubicBezTo>
                    <a:pt x="207" y="87"/>
                    <a:pt x="207" y="87"/>
                    <a:pt x="207" y="87"/>
                  </a:cubicBezTo>
                  <a:cubicBezTo>
                    <a:pt x="207" y="87"/>
                    <a:pt x="207" y="87"/>
                    <a:pt x="207" y="87"/>
                  </a:cubicBezTo>
                  <a:cubicBezTo>
                    <a:pt x="207" y="88"/>
                    <a:pt x="206" y="88"/>
                    <a:pt x="206" y="88"/>
                  </a:cubicBezTo>
                  <a:cubicBezTo>
                    <a:pt x="206" y="89"/>
                    <a:pt x="206" y="89"/>
                    <a:pt x="206" y="89"/>
                  </a:cubicBezTo>
                  <a:cubicBezTo>
                    <a:pt x="205" y="89"/>
                    <a:pt x="205" y="89"/>
                    <a:pt x="205" y="89"/>
                  </a:cubicBezTo>
                  <a:cubicBezTo>
                    <a:pt x="203" y="91"/>
                    <a:pt x="203" y="91"/>
                    <a:pt x="203" y="91"/>
                  </a:cubicBezTo>
                  <a:cubicBezTo>
                    <a:pt x="202" y="89"/>
                    <a:pt x="202" y="89"/>
                    <a:pt x="202" y="89"/>
                  </a:cubicBezTo>
                  <a:cubicBezTo>
                    <a:pt x="201" y="88"/>
                    <a:pt x="201" y="88"/>
                    <a:pt x="201" y="88"/>
                  </a:cubicBezTo>
                  <a:cubicBezTo>
                    <a:pt x="200" y="88"/>
                    <a:pt x="200" y="87"/>
                    <a:pt x="200" y="87"/>
                  </a:cubicBezTo>
                  <a:cubicBezTo>
                    <a:pt x="199" y="86"/>
                    <a:pt x="199" y="85"/>
                    <a:pt x="198" y="84"/>
                  </a:cubicBezTo>
                  <a:cubicBezTo>
                    <a:pt x="198" y="84"/>
                    <a:pt x="198" y="84"/>
                    <a:pt x="198" y="84"/>
                  </a:cubicBezTo>
                  <a:cubicBezTo>
                    <a:pt x="198" y="83"/>
                    <a:pt x="198" y="83"/>
                    <a:pt x="198" y="82"/>
                  </a:cubicBezTo>
                  <a:cubicBezTo>
                    <a:pt x="198" y="81"/>
                    <a:pt x="198" y="81"/>
                    <a:pt x="198" y="81"/>
                  </a:cubicBezTo>
                  <a:cubicBezTo>
                    <a:pt x="198" y="79"/>
                    <a:pt x="199" y="78"/>
                    <a:pt x="198" y="77"/>
                  </a:cubicBezTo>
                  <a:cubicBezTo>
                    <a:pt x="198" y="76"/>
                    <a:pt x="198" y="76"/>
                    <a:pt x="198" y="76"/>
                  </a:cubicBezTo>
                  <a:cubicBezTo>
                    <a:pt x="199" y="75"/>
                    <a:pt x="199" y="75"/>
                    <a:pt x="199" y="75"/>
                  </a:cubicBezTo>
                  <a:cubicBezTo>
                    <a:pt x="198" y="75"/>
                    <a:pt x="198" y="75"/>
                    <a:pt x="198" y="75"/>
                  </a:cubicBezTo>
                  <a:cubicBezTo>
                    <a:pt x="198" y="74"/>
                    <a:pt x="197" y="72"/>
                    <a:pt x="196" y="71"/>
                  </a:cubicBezTo>
                  <a:cubicBezTo>
                    <a:pt x="196" y="71"/>
                    <a:pt x="196" y="71"/>
                    <a:pt x="196" y="71"/>
                  </a:cubicBezTo>
                  <a:cubicBezTo>
                    <a:pt x="194" y="69"/>
                    <a:pt x="193" y="66"/>
                    <a:pt x="192" y="63"/>
                  </a:cubicBezTo>
                  <a:cubicBezTo>
                    <a:pt x="192" y="63"/>
                    <a:pt x="192" y="61"/>
                    <a:pt x="193" y="60"/>
                  </a:cubicBezTo>
                  <a:cubicBezTo>
                    <a:pt x="193" y="59"/>
                    <a:pt x="195" y="58"/>
                    <a:pt x="196" y="58"/>
                  </a:cubicBezTo>
                  <a:cubicBezTo>
                    <a:pt x="196" y="58"/>
                    <a:pt x="197" y="58"/>
                    <a:pt x="197" y="58"/>
                  </a:cubicBezTo>
                  <a:cubicBezTo>
                    <a:pt x="197" y="58"/>
                    <a:pt x="197" y="58"/>
                    <a:pt x="197" y="58"/>
                  </a:cubicBezTo>
                  <a:cubicBezTo>
                    <a:pt x="198" y="58"/>
                    <a:pt x="198" y="58"/>
                    <a:pt x="199" y="57"/>
                  </a:cubicBezTo>
                  <a:cubicBezTo>
                    <a:pt x="206" y="56"/>
                    <a:pt x="206" y="56"/>
                    <a:pt x="206" y="56"/>
                  </a:cubicBezTo>
                  <a:cubicBezTo>
                    <a:pt x="204" y="60"/>
                    <a:pt x="204" y="60"/>
                    <a:pt x="204" y="60"/>
                  </a:cubicBezTo>
                  <a:cubicBezTo>
                    <a:pt x="204" y="60"/>
                    <a:pt x="204" y="60"/>
                    <a:pt x="204" y="60"/>
                  </a:cubicBezTo>
                  <a:cubicBezTo>
                    <a:pt x="204" y="61"/>
                    <a:pt x="204" y="61"/>
                    <a:pt x="204" y="61"/>
                  </a:cubicBezTo>
                  <a:cubicBezTo>
                    <a:pt x="205" y="62"/>
                    <a:pt x="206" y="62"/>
                    <a:pt x="206" y="62"/>
                  </a:cubicBezTo>
                  <a:cubicBezTo>
                    <a:pt x="206" y="63"/>
                    <a:pt x="206" y="63"/>
                    <a:pt x="206" y="63"/>
                  </a:cubicBezTo>
                  <a:cubicBezTo>
                    <a:pt x="207" y="62"/>
                    <a:pt x="210" y="60"/>
                    <a:pt x="213" y="57"/>
                  </a:cubicBezTo>
                  <a:cubicBezTo>
                    <a:pt x="212" y="56"/>
                    <a:pt x="212" y="56"/>
                    <a:pt x="212" y="56"/>
                  </a:cubicBezTo>
                  <a:cubicBezTo>
                    <a:pt x="212" y="55"/>
                    <a:pt x="212" y="55"/>
                    <a:pt x="212" y="55"/>
                  </a:cubicBezTo>
                  <a:cubicBezTo>
                    <a:pt x="212" y="54"/>
                    <a:pt x="212" y="53"/>
                    <a:pt x="212" y="52"/>
                  </a:cubicBezTo>
                  <a:cubicBezTo>
                    <a:pt x="211" y="50"/>
                    <a:pt x="211" y="50"/>
                    <a:pt x="211" y="50"/>
                  </a:cubicBezTo>
                  <a:cubicBezTo>
                    <a:pt x="211" y="50"/>
                    <a:pt x="211" y="50"/>
                    <a:pt x="211" y="50"/>
                  </a:cubicBezTo>
                  <a:cubicBezTo>
                    <a:pt x="211" y="50"/>
                    <a:pt x="211" y="50"/>
                    <a:pt x="211" y="50"/>
                  </a:cubicBezTo>
                  <a:cubicBezTo>
                    <a:pt x="210" y="49"/>
                    <a:pt x="210" y="49"/>
                    <a:pt x="210" y="49"/>
                  </a:cubicBezTo>
                  <a:cubicBezTo>
                    <a:pt x="208" y="48"/>
                    <a:pt x="206" y="47"/>
                    <a:pt x="205" y="46"/>
                  </a:cubicBezTo>
                  <a:cubicBezTo>
                    <a:pt x="204" y="45"/>
                    <a:pt x="204" y="45"/>
                    <a:pt x="204" y="45"/>
                  </a:cubicBezTo>
                  <a:cubicBezTo>
                    <a:pt x="203" y="45"/>
                    <a:pt x="203" y="44"/>
                    <a:pt x="203" y="44"/>
                  </a:cubicBezTo>
                  <a:cubicBezTo>
                    <a:pt x="202" y="43"/>
                    <a:pt x="202" y="43"/>
                    <a:pt x="202" y="43"/>
                  </a:cubicBezTo>
                  <a:cubicBezTo>
                    <a:pt x="202" y="42"/>
                    <a:pt x="202" y="42"/>
                    <a:pt x="202" y="42"/>
                  </a:cubicBezTo>
                  <a:cubicBezTo>
                    <a:pt x="202" y="41"/>
                    <a:pt x="202" y="41"/>
                    <a:pt x="202" y="41"/>
                  </a:cubicBezTo>
                  <a:cubicBezTo>
                    <a:pt x="201" y="38"/>
                    <a:pt x="201" y="38"/>
                    <a:pt x="201" y="38"/>
                  </a:cubicBezTo>
                  <a:cubicBezTo>
                    <a:pt x="196" y="39"/>
                    <a:pt x="196" y="39"/>
                    <a:pt x="196" y="39"/>
                  </a:cubicBezTo>
                  <a:cubicBezTo>
                    <a:pt x="200" y="37"/>
                    <a:pt x="200" y="37"/>
                    <a:pt x="200" y="37"/>
                  </a:cubicBezTo>
                  <a:cubicBezTo>
                    <a:pt x="199" y="33"/>
                    <a:pt x="199" y="33"/>
                    <a:pt x="199" y="33"/>
                  </a:cubicBezTo>
                  <a:cubicBezTo>
                    <a:pt x="199" y="32"/>
                    <a:pt x="199" y="32"/>
                    <a:pt x="199" y="32"/>
                  </a:cubicBezTo>
                  <a:cubicBezTo>
                    <a:pt x="199" y="32"/>
                    <a:pt x="199" y="32"/>
                    <a:pt x="199" y="32"/>
                  </a:cubicBezTo>
                  <a:cubicBezTo>
                    <a:pt x="199" y="31"/>
                    <a:pt x="199" y="31"/>
                    <a:pt x="199" y="31"/>
                  </a:cubicBezTo>
                  <a:cubicBezTo>
                    <a:pt x="198" y="29"/>
                    <a:pt x="199" y="28"/>
                    <a:pt x="199" y="27"/>
                  </a:cubicBezTo>
                  <a:cubicBezTo>
                    <a:pt x="200" y="26"/>
                    <a:pt x="200" y="26"/>
                    <a:pt x="200" y="26"/>
                  </a:cubicBezTo>
                  <a:cubicBezTo>
                    <a:pt x="202" y="24"/>
                    <a:pt x="202" y="24"/>
                    <a:pt x="202" y="24"/>
                  </a:cubicBezTo>
                  <a:cubicBezTo>
                    <a:pt x="201" y="23"/>
                    <a:pt x="201" y="23"/>
                    <a:pt x="201" y="23"/>
                  </a:cubicBezTo>
                  <a:cubicBezTo>
                    <a:pt x="200" y="23"/>
                    <a:pt x="200" y="23"/>
                    <a:pt x="200" y="23"/>
                  </a:cubicBezTo>
                  <a:cubicBezTo>
                    <a:pt x="198" y="22"/>
                    <a:pt x="196" y="22"/>
                    <a:pt x="195" y="21"/>
                  </a:cubicBezTo>
                  <a:cubicBezTo>
                    <a:pt x="193" y="19"/>
                    <a:pt x="191" y="18"/>
                    <a:pt x="190" y="16"/>
                  </a:cubicBezTo>
                  <a:cubicBezTo>
                    <a:pt x="190" y="16"/>
                    <a:pt x="190" y="15"/>
                    <a:pt x="190" y="15"/>
                  </a:cubicBezTo>
                  <a:cubicBezTo>
                    <a:pt x="188" y="9"/>
                    <a:pt x="188" y="9"/>
                    <a:pt x="188" y="9"/>
                  </a:cubicBezTo>
                  <a:cubicBezTo>
                    <a:pt x="187" y="8"/>
                    <a:pt x="187" y="8"/>
                    <a:pt x="187" y="7"/>
                  </a:cubicBezTo>
                  <a:cubicBezTo>
                    <a:pt x="186" y="6"/>
                    <a:pt x="186" y="6"/>
                    <a:pt x="186" y="6"/>
                  </a:cubicBezTo>
                  <a:cubicBezTo>
                    <a:pt x="185" y="5"/>
                    <a:pt x="185" y="4"/>
                    <a:pt x="185" y="2"/>
                  </a:cubicBezTo>
                  <a:cubicBezTo>
                    <a:pt x="185" y="2"/>
                    <a:pt x="185" y="1"/>
                    <a:pt x="1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Rectangle 415">
              <a:extLst>
                <a:ext uri="{FF2B5EF4-FFF2-40B4-BE49-F238E27FC236}">
                  <a16:creationId xmlns:a16="http://schemas.microsoft.com/office/drawing/2014/main" id="{7F484A05-6A9B-4A31-972C-063AA1618EDC}"/>
                </a:ext>
              </a:extLst>
            </p:cNvPr>
            <p:cNvSpPr>
              <a:spLocks noChangeArrowheads="1"/>
            </p:cNvSpPr>
            <p:nvPr/>
          </p:nvSpPr>
          <p:spPr bwMode="auto">
            <a:xfrm>
              <a:off x="2635365" y="5287196"/>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Freeform 416">
              <a:extLst>
                <a:ext uri="{FF2B5EF4-FFF2-40B4-BE49-F238E27FC236}">
                  <a16:creationId xmlns:a16="http://schemas.microsoft.com/office/drawing/2014/main" id="{3977F456-4BBA-43D5-985E-7B1AEEA49B29}"/>
                </a:ext>
              </a:extLst>
            </p:cNvPr>
            <p:cNvSpPr>
              <a:spLocks/>
            </p:cNvSpPr>
            <p:nvPr/>
          </p:nvSpPr>
          <p:spPr bwMode="auto">
            <a:xfrm>
              <a:off x="2635365" y="52871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Freeform 417">
              <a:extLst>
                <a:ext uri="{FF2B5EF4-FFF2-40B4-BE49-F238E27FC236}">
                  <a16:creationId xmlns:a16="http://schemas.microsoft.com/office/drawing/2014/main" id="{06FE1A74-1DDC-44D3-BF28-AFD86BCB5EF7}"/>
                </a:ext>
              </a:extLst>
            </p:cNvPr>
            <p:cNvSpPr>
              <a:spLocks/>
            </p:cNvSpPr>
            <p:nvPr/>
          </p:nvSpPr>
          <p:spPr bwMode="auto">
            <a:xfrm>
              <a:off x="2678005" y="475077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418">
              <a:extLst>
                <a:ext uri="{FF2B5EF4-FFF2-40B4-BE49-F238E27FC236}">
                  <a16:creationId xmlns:a16="http://schemas.microsoft.com/office/drawing/2014/main" id="{3C84AC5E-B58E-4A6A-9099-1EFE0881C1AC}"/>
                </a:ext>
              </a:extLst>
            </p:cNvPr>
            <p:cNvSpPr>
              <a:spLocks/>
            </p:cNvSpPr>
            <p:nvPr/>
          </p:nvSpPr>
          <p:spPr bwMode="auto">
            <a:xfrm>
              <a:off x="2678005" y="4750770"/>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Freeform 419">
              <a:extLst>
                <a:ext uri="{FF2B5EF4-FFF2-40B4-BE49-F238E27FC236}">
                  <a16:creationId xmlns:a16="http://schemas.microsoft.com/office/drawing/2014/main" id="{510CB99B-A458-45BF-9681-C0E2FFE54AFB}"/>
                </a:ext>
              </a:extLst>
            </p:cNvPr>
            <p:cNvSpPr>
              <a:spLocks noEditPoints="1"/>
            </p:cNvSpPr>
            <p:nvPr/>
          </p:nvSpPr>
          <p:spPr bwMode="auto">
            <a:xfrm>
              <a:off x="2203474" y="4379398"/>
              <a:ext cx="998577" cy="898170"/>
            </a:xfrm>
            <a:custGeom>
              <a:avLst/>
              <a:gdLst>
                <a:gd name="T0" fmla="*/ 248 w 307"/>
                <a:gd name="T1" fmla="*/ 4 h 276"/>
                <a:gd name="T2" fmla="*/ 231 w 307"/>
                <a:gd name="T3" fmla="*/ 3 h 276"/>
                <a:gd name="T4" fmla="*/ 203 w 307"/>
                <a:gd name="T5" fmla="*/ 13 h 276"/>
                <a:gd name="T6" fmla="*/ 199 w 307"/>
                <a:gd name="T7" fmla="*/ 27 h 276"/>
                <a:gd name="T8" fmla="*/ 202 w 307"/>
                <a:gd name="T9" fmla="*/ 38 h 276"/>
                <a:gd name="T10" fmla="*/ 191 w 307"/>
                <a:gd name="T11" fmla="*/ 50 h 276"/>
                <a:gd name="T12" fmla="*/ 192 w 307"/>
                <a:gd name="T13" fmla="*/ 60 h 276"/>
                <a:gd name="T14" fmla="*/ 169 w 307"/>
                <a:gd name="T15" fmla="*/ 65 h 276"/>
                <a:gd name="T16" fmla="*/ 168 w 307"/>
                <a:gd name="T17" fmla="*/ 84 h 276"/>
                <a:gd name="T18" fmla="*/ 163 w 307"/>
                <a:gd name="T19" fmla="*/ 85 h 276"/>
                <a:gd name="T20" fmla="*/ 160 w 307"/>
                <a:gd name="T21" fmla="*/ 93 h 276"/>
                <a:gd name="T22" fmla="*/ 149 w 307"/>
                <a:gd name="T23" fmla="*/ 115 h 276"/>
                <a:gd name="T24" fmla="*/ 143 w 307"/>
                <a:gd name="T25" fmla="*/ 114 h 276"/>
                <a:gd name="T26" fmla="*/ 134 w 307"/>
                <a:gd name="T27" fmla="*/ 113 h 276"/>
                <a:gd name="T28" fmla="*/ 120 w 307"/>
                <a:gd name="T29" fmla="*/ 124 h 276"/>
                <a:gd name="T30" fmla="*/ 108 w 307"/>
                <a:gd name="T31" fmla="*/ 124 h 276"/>
                <a:gd name="T32" fmla="*/ 100 w 307"/>
                <a:gd name="T33" fmla="*/ 139 h 276"/>
                <a:gd name="T34" fmla="*/ 94 w 307"/>
                <a:gd name="T35" fmla="*/ 154 h 276"/>
                <a:gd name="T36" fmla="*/ 60 w 307"/>
                <a:gd name="T37" fmla="*/ 161 h 276"/>
                <a:gd name="T38" fmla="*/ 53 w 307"/>
                <a:gd name="T39" fmla="*/ 162 h 276"/>
                <a:gd name="T40" fmla="*/ 37 w 307"/>
                <a:gd name="T41" fmla="*/ 161 h 276"/>
                <a:gd name="T42" fmla="*/ 2 w 307"/>
                <a:gd name="T43" fmla="*/ 157 h 276"/>
                <a:gd name="T44" fmla="*/ 23 w 307"/>
                <a:gd name="T45" fmla="*/ 179 h 276"/>
                <a:gd name="T46" fmla="*/ 33 w 307"/>
                <a:gd name="T47" fmla="*/ 192 h 276"/>
                <a:gd name="T48" fmla="*/ 43 w 307"/>
                <a:gd name="T49" fmla="*/ 204 h 276"/>
                <a:gd name="T50" fmla="*/ 24 w 307"/>
                <a:gd name="T51" fmla="*/ 222 h 276"/>
                <a:gd name="T52" fmla="*/ 12 w 307"/>
                <a:gd name="T53" fmla="*/ 241 h 276"/>
                <a:gd name="T54" fmla="*/ 22 w 307"/>
                <a:gd name="T55" fmla="*/ 249 h 276"/>
                <a:gd name="T56" fmla="*/ 56 w 307"/>
                <a:gd name="T57" fmla="*/ 241 h 276"/>
                <a:gd name="T58" fmla="*/ 94 w 307"/>
                <a:gd name="T59" fmla="*/ 242 h 276"/>
                <a:gd name="T60" fmla="*/ 100 w 307"/>
                <a:gd name="T61" fmla="*/ 240 h 276"/>
                <a:gd name="T62" fmla="*/ 112 w 307"/>
                <a:gd name="T63" fmla="*/ 252 h 276"/>
                <a:gd name="T64" fmla="*/ 132 w 307"/>
                <a:gd name="T65" fmla="*/ 275 h 276"/>
                <a:gd name="T66" fmla="*/ 142 w 307"/>
                <a:gd name="T67" fmla="*/ 269 h 276"/>
                <a:gd name="T68" fmla="*/ 162 w 307"/>
                <a:gd name="T69" fmla="*/ 264 h 276"/>
                <a:gd name="T70" fmla="*/ 175 w 307"/>
                <a:gd name="T71" fmla="*/ 261 h 276"/>
                <a:gd name="T72" fmla="*/ 184 w 307"/>
                <a:gd name="T73" fmla="*/ 262 h 276"/>
                <a:gd name="T74" fmla="*/ 179 w 307"/>
                <a:gd name="T75" fmla="*/ 249 h 276"/>
                <a:gd name="T76" fmla="*/ 175 w 307"/>
                <a:gd name="T77" fmla="*/ 239 h 276"/>
                <a:gd name="T78" fmla="*/ 169 w 307"/>
                <a:gd name="T79" fmla="*/ 230 h 276"/>
                <a:gd name="T80" fmla="*/ 164 w 307"/>
                <a:gd name="T81" fmla="*/ 223 h 276"/>
                <a:gd name="T82" fmla="*/ 167 w 307"/>
                <a:gd name="T83" fmla="*/ 194 h 276"/>
                <a:gd name="T84" fmla="*/ 173 w 307"/>
                <a:gd name="T85" fmla="*/ 188 h 276"/>
                <a:gd name="T86" fmla="*/ 180 w 307"/>
                <a:gd name="T87" fmla="*/ 187 h 276"/>
                <a:gd name="T88" fmla="*/ 186 w 307"/>
                <a:gd name="T89" fmla="*/ 192 h 276"/>
                <a:gd name="T90" fmla="*/ 200 w 307"/>
                <a:gd name="T91" fmla="*/ 189 h 276"/>
                <a:gd name="T92" fmla="*/ 226 w 307"/>
                <a:gd name="T93" fmla="*/ 160 h 276"/>
                <a:gd name="T94" fmla="*/ 240 w 307"/>
                <a:gd name="T95" fmla="*/ 143 h 276"/>
                <a:gd name="T96" fmla="*/ 253 w 307"/>
                <a:gd name="T97" fmla="*/ 127 h 276"/>
                <a:gd name="T98" fmla="*/ 252 w 307"/>
                <a:gd name="T99" fmla="*/ 112 h 276"/>
                <a:gd name="T100" fmla="*/ 263 w 307"/>
                <a:gd name="T101" fmla="*/ 103 h 276"/>
                <a:gd name="T102" fmla="*/ 263 w 307"/>
                <a:gd name="T103" fmla="*/ 99 h 276"/>
                <a:gd name="T104" fmla="*/ 247 w 307"/>
                <a:gd name="T105" fmla="*/ 87 h 276"/>
                <a:gd name="T106" fmla="*/ 245 w 307"/>
                <a:gd name="T107" fmla="*/ 73 h 276"/>
                <a:gd name="T108" fmla="*/ 245 w 307"/>
                <a:gd name="T109" fmla="*/ 65 h 276"/>
                <a:gd name="T110" fmla="*/ 242 w 307"/>
                <a:gd name="T111" fmla="*/ 59 h 276"/>
                <a:gd name="T112" fmla="*/ 252 w 307"/>
                <a:gd name="T113" fmla="*/ 46 h 276"/>
                <a:gd name="T114" fmla="*/ 272 w 307"/>
                <a:gd name="T115" fmla="*/ 48 h 276"/>
                <a:gd name="T116" fmla="*/ 289 w 307"/>
                <a:gd name="T117" fmla="*/ 46 h 276"/>
                <a:gd name="T118" fmla="*/ 305 w 307"/>
                <a:gd name="T119" fmla="*/ 35 h 276"/>
                <a:gd name="T120" fmla="*/ 288 w 307"/>
                <a:gd name="T121" fmla="*/ 26 h 276"/>
                <a:gd name="T122" fmla="*/ 280 w 307"/>
                <a:gd name="T123" fmla="*/ 15 h 276"/>
                <a:gd name="T124" fmla="*/ 264 w 307"/>
                <a:gd name="T125" fmla="*/ 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7" h="276">
                  <a:moveTo>
                    <a:pt x="102" y="242"/>
                  </a:moveTo>
                  <a:cubicBezTo>
                    <a:pt x="102" y="242"/>
                    <a:pt x="102" y="242"/>
                    <a:pt x="102" y="242"/>
                  </a:cubicBezTo>
                  <a:cubicBezTo>
                    <a:pt x="102" y="242"/>
                    <a:pt x="102" y="242"/>
                    <a:pt x="102" y="242"/>
                  </a:cubicBezTo>
                  <a:moveTo>
                    <a:pt x="257" y="0"/>
                  </a:moveTo>
                  <a:cubicBezTo>
                    <a:pt x="256" y="0"/>
                    <a:pt x="256" y="0"/>
                    <a:pt x="256" y="0"/>
                  </a:cubicBezTo>
                  <a:cubicBezTo>
                    <a:pt x="255" y="0"/>
                    <a:pt x="254" y="1"/>
                    <a:pt x="253" y="1"/>
                  </a:cubicBezTo>
                  <a:cubicBezTo>
                    <a:pt x="253" y="1"/>
                    <a:pt x="253" y="1"/>
                    <a:pt x="253" y="1"/>
                  </a:cubicBezTo>
                  <a:cubicBezTo>
                    <a:pt x="251" y="2"/>
                    <a:pt x="249" y="3"/>
                    <a:pt x="248" y="4"/>
                  </a:cubicBezTo>
                  <a:cubicBezTo>
                    <a:pt x="247" y="4"/>
                    <a:pt x="247" y="4"/>
                    <a:pt x="247" y="4"/>
                  </a:cubicBezTo>
                  <a:cubicBezTo>
                    <a:pt x="246" y="4"/>
                    <a:pt x="246" y="4"/>
                    <a:pt x="245" y="4"/>
                  </a:cubicBezTo>
                  <a:cubicBezTo>
                    <a:pt x="244" y="4"/>
                    <a:pt x="242" y="4"/>
                    <a:pt x="241" y="3"/>
                  </a:cubicBezTo>
                  <a:cubicBezTo>
                    <a:pt x="241" y="3"/>
                    <a:pt x="241" y="3"/>
                    <a:pt x="241" y="3"/>
                  </a:cubicBezTo>
                  <a:cubicBezTo>
                    <a:pt x="240" y="3"/>
                    <a:pt x="240" y="3"/>
                    <a:pt x="240" y="3"/>
                  </a:cubicBezTo>
                  <a:cubicBezTo>
                    <a:pt x="239" y="3"/>
                    <a:pt x="239" y="3"/>
                    <a:pt x="238" y="3"/>
                  </a:cubicBezTo>
                  <a:cubicBezTo>
                    <a:pt x="237" y="3"/>
                    <a:pt x="236" y="3"/>
                    <a:pt x="234" y="3"/>
                  </a:cubicBezTo>
                  <a:cubicBezTo>
                    <a:pt x="231" y="3"/>
                    <a:pt x="231" y="3"/>
                    <a:pt x="231" y="3"/>
                  </a:cubicBezTo>
                  <a:cubicBezTo>
                    <a:pt x="229" y="3"/>
                    <a:pt x="227" y="4"/>
                    <a:pt x="225" y="4"/>
                  </a:cubicBezTo>
                  <a:cubicBezTo>
                    <a:pt x="222" y="4"/>
                    <a:pt x="222" y="4"/>
                    <a:pt x="222" y="4"/>
                  </a:cubicBezTo>
                  <a:cubicBezTo>
                    <a:pt x="220" y="4"/>
                    <a:pt x="218" y="5"/>
                    <a:pt x="217" y="5"/>
                  </a:cubicBezTo>
                  <a:cubicBezTo>
                    <a:pt x="215" y="6"/>
                    <a:pt x="213" y="8"/>
                    <a:pt x="211" y="9"/>
                  </a:cubicBezTo>
                  <a:cubicBezTo>
                    <a:pt x="210" y="9"/>
                    <a:pt x="210" y="9"/>
                    <a:pt x="210" y="9"/>
                  </a:cubicBezTo>
                  <a:cubicBezTo>
                    <a:pt x="208" y="10"/>
                    <a:pt x="207" y="11"/>
                    <a:pt x="205" y="12"/>
                  </a:cubicBezTo>
                  <a:cubicBezTo>
                    <a:pt x="205" y="13"/>
                    <a:pt x="204" y="13"/>
                    <a:pt x="203" y="13"/>
                  </a:cubicBezTo>
                  <a:cubicBezTo>
                    <a:pt x="203" y="13"/>
                    <a:pt x="203" y="13"/>
                    <a:pt x="203" y="13"/>
                  </a:cubicBezTo>
                  <a:cubicBezTo>
                    <a:pt x="202" y="13"/>
                    <a:pt x="201" y="13"/>
                    <a:pt x="201" y="13"/>
                  </a:cubicBezTo>
                  <a:cubicBezTo>
                    <a:pt x="200" y="12"/>
                    <a:pt x="200" y="12"/>
                    <a:pt x="200" y="12"/>
                  </a:cubicBezTo>
                  <a:cubicBezTo>
                    <a:pt x="198" y="15"/>
                    <a:pt x="196" y="17"/>
                    <a:pt x="194" y="19"/>
                  </a:cubicBezTo>
                  <a:cubicBezTo>
                    <a:pt x="195" y="20"/>
                    <a:pt x="196" y="22"/>
                    <a:pt x="197" y="23"/>
                  </a:cubicBezTo>
                  <a:cubicBezTo>
                    <a:pt x="197" y="23"/>
                    <a:pt x="197" y="24"/>
                    <a:pt x="197" y="24"/>
                  </a:cubicBezTo>
                  <a:cubicBezTo>
                    <a:pt x="198" y="24"/>
                    <a:pt x="198" y="24"/>
                    <a:pt x="198" y="25"/>
                  </a:cubicBezTo>
                  <a:cubicBezTo>
                    <a:pt x="198" y="25"/>
                    <a:pt x="199" y="26"/>
                    <a:pt x="199" y="26"/>
                  </a:cubicBezTo>
                  <a:cubicBezTo>
                    <a:pt x="199" y="27"/>
                    <a:pt x="199" y="27"/>
                    <a:pt x="199" y="27"/>
                  </a:cubicBezTo>
                  <a:cubicBezTo>
                    <a:pt x="202" y="25"/>
                    <a:pt x="202" y="25"/>
                    <a:pt x="202" y="25"/>
                  </a:cubicBezTo>
                  <a:cubicBezTo>
                    <a:pt x="200" y="28"/>
                    <a:pt x="200" y="28"/>
                    <a:pt x="200" y="28"/>
                  </a:cubicBezTo>
                  <a:cubicBezTo>
                    <a:pt x="200" y="29"/>
                    <a:pt x="200" y="29"/>
                    <a:pt x="200" y="29"/>
                  </a:cubicBezTo>
                  <a:cubicBezTo>
                    <a:pt x="201" y="30"/>
                    <a:pt x="201" y="32"/>
                    <a:pt x="201" y="33"/>
                  </a:cubicBezTo>
                  <a:cubicBezTo>
                    <a:pt x="201" y="34"/>
                    <a:pt x="201" y="34"/>
                    <a:pt x="201" y="35"/>
                  </a:cubicBezTo>
                  <a:cubicBezTo>
                    <a:pt x="201" y="35"/>
                    <a:pt x="201" y="35"/>
                    <a:pt x="201" y="35"/>
                  </a:cubicBezTo>
                  <a:cubicBezTo>
                    <a:pt x="201" y="35"/>
                    <a:pt x="201" y="35"/>
                    <a:pt x="201" y="35"/>
                  </a:cubicBezTo>
                  <a:cubicBezTo>
                    <a:pt x="202" y="36"/>
                    <a:pt x="202" y="37"/>
                    <a:pt x="202" y="38"/>
                  </a:cubicBezTo>
                  <a:cubicBezTo>
                    <a:pt x="202" y="38"/>
                    <a:pt x="202" y="38"/>
                    <a:pt x="202" y="38"/>
                  </a:cubicBezTo>
                  <a:cubicBezTo>
                    <a:pt x="202" y="39"/>
                    <a:pt x="201" y="39"/>
                    <a:pt x="201" y="39"/>
                  </a:cubicBezTo>
                  <a:cubicBezTo>
                    <a:pt x="200" y="40"/>
                    <a:pt x="200" y="40"/>
                    <a:pt x="200" y="40"/>
                  </a:cubicBezTo>
                  <a:cubicBezTo>
                    <a:pt x="200" y="41"/>
                    <a:pt x="200" y="41"/>
                    <a:pt x="200" y="41"/>
                  </a:cubicBezTo>
                  <a:cubicBezTo>
                    <a:pt x="199" y="44"/>
                    <a:pt x="197" y="45"/>
                    <a:pt x="196" y="45"/>
                  </a:cubicBezTo>
                  <a:cubicBezTo>
                    <a:pt x="196" y="45"/>
                    <a:pt x="195" y="46"/>
                    <a:pt x="195" y="46"/>
                  </a:cubicBezTo>
                  <a:cubicBezTo>
                    <a:pt x="194" y="46"/>
                    <a:pt x="194" y="47"/>
                    <a:pt x="194" y="47"/>
                  </a:cubicBezTo>
                  <a:cubicBezTo>
                    <a:pt x="193" y="48"/>
                    <a:pt x="193" y="49"/>
                    <a:pt x="191" y="50"/>
                  </a:cubicBezTo>
                  <a:cubicBezTo>
                    <a:pt x="191" y="51"/>
                    <a:pt x="190" y="51"/>
                    <a:pt x="190" y="51"/>
                  </a:cubicBezTo>
                  <a:cubicBezTo>
                    <a:pt x="189" y="52"/>
                    <a:pt x="190" y="52"/>
                    <a:pt x="190" y="52"/>
                  </a:cubicBezTo>
                  <a:cubicBezTo>
                    <a:pt x="190" y="53"/>
                    <a:pt x="190" y="53"/>
                    <a:pt x="191" y="54"/>
                  </a:cubicBezTo>
                  <a:cubicBezTo>
                    <a:pt x="191" y="54"/>
                    <a:pt x="191" y="54"/>
                    <a:pt x="191" y="54"/>
                  </a:cubicBezTo>
                  <a:cubicBezTo>
                    <a:pt x="191" y="54"/>
                    <a:pt x="192" y="55"/>
                    <a:pt x="192" y="55"/>
                  </a:cubicBezTo>
                  <a:cubicBezTo>
                    <a:pt x="192" y="56"/>
                    <a:pt x="192" y="57"/>
                    <a:pt x="192" y="57"/>
                  </a:cubicBezTo>
                  <a:cubicBezTo>
                    <a:pt x="192" y="58"/>
                    <a:pt x="192" y="59"/>
                    <a:pt x="192" y="59"/>
                  </a:cubicBezTo>
                  <a:cubicBezTo>
                    <a:pt x="192" y="60"/>
                    <a:pt x="192" y="60"/>
                    <a:pt x="192" y="60"/>
                  </a:cubicBezTo>
                  <a:cubicBezTo>
                    <a:pt x="191" y="60"/>
                    <a:pt x="191" y="60"/>
                    <a:pt x="191" y="60"/>
                  </a:cubicBezTo>
                  <a:cubicBezTo>
                    <a:pt x="191" y="61"/>
                    <a:pt x="191" y="61"/>
                    <a:pt x="191" y="61"/>
                  </a:cubicBezTo>
                  <a:cubicBezTo>
                    <a:pt x="190" y="63"/>
                    <a:pt x="189" y="64"/>
                    <a:pt x="188" y="64"/>
                  </a:cubicBezTo>
                  <a:cubicBezTo>
                    <a:pt x="186" y="66"/>
                    <a:pt x="182" y="67"/>
                    <a:pt x="179" y="67"/>
                  </a:cubicBezTo>
                  <a:cubicBezTo>
                    <a:pt x="179" y="67"/>
                    <a:pt x="178" y="67"/>
                    <a:pt x="177" y="67"/>
                  </a:cubicBezTo>
                  <a:cubicBezTo>
                    <a:pt x="176" y="66"/>
                    <a:pt x="176" y="66"/>
                    <a:pt x="176" y="66"/>
                  </a:cubicBezTo>
                  <a:cubicBezTo>
                    <a:pt x="176" y="66"/>
                    <a:pt x="175" y="66"/>
                    <a:pt x="174" y="66"/>
                  </a:cubicBezTo>
                  <a:cubicBezTo>
                    <a:pt x="172" y="65"/>
                    <a:pt x="170" y="65"/>
                    <a:pt x="169" y="65"/>
                  </a:cubicBezTo>
                  <a:cubicBezTo>
                    <a:pt x="170" y="66"/>
                    <a:pt x="170" y="66"/>
                    <a:pt x="170" y="66"/>
                  </a:cubicBezTo>
                  <a:cubicBezTo>
                    <a:pt x="171" y="67"/>
                    <a:pt x="171" y="67"/>
                    <a:pt x="171" y="68"/>
                  </a:cubicBezTo>
                  <a:cubicBezTo>
                    <a:pt x="173" y="71"/>
                    <a:pt x="173" y="71"/>
                    <a:pt x="173" y="71"/>
                  </a:cubicBezTo>
                  <a:cubicBezTo>
                    <a:pt x="176" y="75"/>
                    <a:pt x="178" y="78"/>
                    <a:pt x="176" y="79"/>
                  </a:cubicBezTo>
                  <a:cubicBezTo>
                    <a:pt x="175" y="80"/>
                    <a:pt x="175" y="80"/>
                    <a:pt x="175" y="80"/>
                  </a:cubicBezTo>
                  <a:cubicBezTo>
                    <a:pt x="175" y="80"/>
                    <a:pt x="175" y="80"/>
                    <a:pt x="175" y="80"/>
                  </a:cubicBezTo>
                  <a:cubicBezTo>
                    <a:pt x="175" y="80"/>
                    <a:pt x="175" y="80"/>
                    <a:pt x="175" y="80"/>
                  </a:cubicBezTo>
                  <a:cubicBezTo>
                    <a:pt x="173" y="82"/>
                    <a:pt x="170" y="83"/>
                    <a:pt x="168" y="84"/>
                  </a:cubicBezTo>
                  <a:cubicBezTo>
                    <a:pt x="169" y="88"/>
                    <a:pt x="169" y="88"/>
                    <a:pt x="169" y="88"/>
                  </a:cubicBezTo>
                  <a:cubicBezTo>
                    <a:pt x="167" y="85"/>
                    <a:pt x="167" y="85"/>
                    <a:pt x="167" y="85"/>
                  </a:cubicBezTo>
                  <a:cubicBezTo>
                    <a:pt x="167" y="85"/>
                    <a:pt x="167" y="85"/>
                    <a:pt x="167" y="85"/>
                  </a:cubicBezTo>
                  <a:cubicBezTo>
                    <a:pt x="166" y="85"/>
                    <a:pt x="165" y="85"/>
                    <a:pt x="165" y="85"/>
                  </a:cubicBezTo>
                  <a:cubicBezTo>
                    <a:pt x="164" y="85"/>
                    <a:pt x="164" y="85"/>
                    <a:pt x="164" y="85"/>
                  </a:cubicBezTo>
                  <a:cubicBezTo>
                    <a:pt x="164" y="85"/>
                    <a:pt x="164" y="85"/>
                    <a:pt x="164" y="85"/>
                  </a:cubicBezTo>
                  <a:cubicBezTo>
                    <a:pt x="163" y="85"/>
                    <a:pt x="163" y="85"/>
                    <a:pt x="163" y="85"/>
                  </a:cubicBezTo>
                  <a:cubicBezTo>
                    <a:pt x="163" y="85"/>
                    <a:pt x="163" y="85"/>
                    <a:pt x="163" y="85"/>
                  </a:cubicBezTo>
                  <a:cubicBezTo>
                    <a:pt x="162" y="85"/>
                    <a:pt x="162" y="85"/>
                    <a:pt x="162" y="85"/>
                  </a:cubicBezTo>
                  <a:cubicBezTo>
                    <a:pt x="162" y="84"/>
                    <a:pt x="162" y="84"/>
                    <a:pt x="162" y="84"/>
                  </a:cubicBezTo>
                  <a:cubicBezTo>
                    <a:pt x="162" y="85"/>
                    <a:pt x="162" y="85"/>
                    <a:pt x="162" y="85"/>
                  </a:cubicBezTo>
                  <a:cubicBezTo>
                    <a:pt x="161" y="85"/>
                    <a:pt x="161" y="85"/>
                    <a:pt x="161" y="85"/>
                  </a:cubicBezTo>
                  <a:cubicBezTo>
                    <a:pt x="161" y="86"/>
                    <a:pt x="161" y="87"/>
                    <a:pt x="160" y="89"/>
                  </a:cubicBezTo>
                  <a:cubicBezTo>
                    <a:pt x="160" y="90"/>
                    <a:pt x="160" y="90"/>
                    <a:pt x="160" y="91"/>
                  </a:cubicBezTo>
                  <a:cubicBezTo>
                    <a:pt x="160" y="92"/>
                    <a:pt x="160" y="92"/>
                    <a:pt x="160" y="92"/>
                  </a:cubicBezTo>
                  <a:cubicBezTo>
                    <a:pt x="160" y="93"/>
                    <a:pt x="160" y="93"/>
                    <a:pt x="160" y="93"/>
                  </a:cubicBezTo>
                  <a:cubicBezTo>
                    <a:pt x="159" y="94"/>
                    <a:pt x="158" y="95"/>
                    <a:pt x="157" y="96"/>
                  </a:cubicBezTo>
                  <a:cubicBezTo>
                    <a:pt x="157" y="96"/>
                    <a:pt x="157" y="96"/>
                    <a:pt x="157" y="96"/>
                  </a:cubicBezTo>
                  <a:cubicBezTo>
                    <a:pt x="157" y="102"/>
                    <a:pt x="157" y="102"/>
                    <a:pt x="157" y="102"/>
                  </a:cubicBezTo>
                  <a:cubicBezTo>
                    <a:pt x="157" y="102"/>
                    <a:pt x="157" y="102"/>
                    <a:pt x="157" y="102"/>
                  </a:cubicBezTo>
                  <a:cubicBezTo>
                    <a:pt x="158" y="105"/>
                    <a:pt x="158" y="105"/>
                    <a:pt x="158" y="105"/>
                  </a:cubicBezTo>
                  <a:cubicBezTo>
                    <a:pt x="158" y="108"/>
                    <a:pt x="157" y="109"/>
                    <a:pt x="156" y="109"/>
                  </a:cubicBezTo>
                  <a:cubicBezTo>
                    <a:pt x="154" y="111"/>
                    <a:pt x="152" y="113"/>
                    <a:pt x="150" y="115"/>
                  </a:cubicBezTo>
                  <a:cubicBezTo>
                    <a:pt x="149" y="115"/>
                    <a:pt x="149" y="115"/>
                    <a:pt x="149" y="115"/>
                  </a:cubicBezTo>
                  <a:cubicBezTo>
                    <a:pt x="149" y="115"/>
                    <a:pt x="148" y="115"/>
                    <a:pt x="147" y="116"/>
                  </a:cubicBezTo>
                  <a:cubicBezTo>
                    <a:pt x="147" y="116"/>
                    <a:pt x="147" y="116"/>
                    <a:pt x="147" y="116"/>
                  </a:cubicBezTo>
                  <a:cubicBezTo>
                    <a:pt x="147" y="116"/>
                    <a:pt x="147" y="116"/>
                    <a:pt x="147" y="116"/>
                  </a:cubicBezTo>
                  <a:cubicBezTo>
                    <a:pt x="147" y="116"/>
                    <a:pt x="146" y="115"/>
                    <a:pt x="146" y="115"/>
                  </a:cubicBezTo>
                  <a:cubicBezTo>
                    <a:pt x="146" y="115"/>
                    <a:pt x="146" y="115"/>
                    <a:pt x="146" y="115"/>
                  </a:cubicBezTo>
                  <a:cubicBezTo>
                    <a:pt x="145" y="115"/>
                    <a:pt x="145" y="115"/>
                    <a:pt x="145" y="115"/>
                  </a:cubicBezTo>
                  <a:cubicBezTo>
                    <a:pt x="144" y="115"/>
                    <a:pt x="144" y="114"/>
                    <a:pt x="143" y="114"/>
                  </a:cubicBezTo>
                  <a:cubicBezTo>
                    <a:pt x="143" y="114"/>
                    <a:pt x="143" y="114"/>
                    <a:pt x="143" y="114"/>
                  </a:cubicBezTo>
                  <a:cubicBezTo>
                    <a:pt x="142" y="113"/>
                    <a:pt x="141" y="113"/>
                    <a:pt x="141" y="112"/>
                  </a:cubicBezTo>
                  <a:cubicBezTo>
                    <a:pt x="140" y="112"/>
                    <a:pt x="140" y="112"/>
                    <a:pt x="140" y="112"/>
                  </a:cubicBezTo>
                  <a:cubicBezTo>
                    <a:pt x="140" y="112"/>
                    <a:pt x="140" y="112"/>
                    <a:pt x="140" y="112"/>
                  </a:cubicBezTo>
                  <a:cubicBezTo>
                    <a:pt x="139" y="112"/>
                    <a:pt x="139" y="112"/>
                    <a:pt x="139" y="112"/>
                  </a:cubicBezTo>
                  <a:cubicBezTo>
                    <a:pt x="139" y="112"/>
                    <a:pt x="138" y="112"/>
                    <a:pt x="137" y="112"/>
                  </a:cubicBezTo>
                  <a:cubicBezTo>
                    <a:pt x="137" y="112"/>
                    <a:pt x="137" y="112"/>
                    <a:pt x="137" y="112"/>
                  </a:cubicBezTo>
                  <a:cubicBezTo>
                    <a:pt x="136" y="112"/>
                    <a:pt x="136" y="113"/>
                    <a:pt x="135" y="113"/>
                  </a:cubicBezTo>
                  <a:cubicBezTo>
                    <a:pt x="134" y="113"/>
                    <a:pt x="134" y="113"/>
                    <a:pt x="134" y="113"/>
                  </a:cubicBezTo>
                  <a:cubicBezTo>
                    <a:pt x="134" y="113"/>
                    <a:pt x="134" y="113"/>
                    <a:pt x="134" y="113"/>
                  </a:cubicBezTo>
                  <a:cubicBezTo>
                    <a:pt x="133" y="114"/>
                    <a:pt x="132" y="114"/>
                    <a:pt x="132" y="114"/>
                  </a:cubicBezTo>
                  <a:cubicBezTo>
                    <a:pt x="131" y="115"/>
                    <a:pt x="131" y="115"/>
                    <a:pt x="131" y="115"/>
                  </a:cubicBezTo>
                  <a:cubicBezTo>
                    <a:pt x="129" y="116"/>
                    <a:pt x="128" y="116"/>
                    <a:pt x="127" y="117"/>
                  </a:cubicBezTo>
                  <a:cubicBezTo>
                    <a:pt x="131" y="120"/>
                    <a:pt x="131" y="120"/>
                    <a:pt x="131" y="120"/>
                  </a:cubicBezTo>
                  <a:cubicBezTo>
                    <a:pt x="127" y="121"/>
                    <a:pt x="127" y="121"/>
                    <a:pt x="127" y="121"/>
                  </a:cubicBezTo>
                  <a:cubicBezTo>
                    <a:pt x="127" y="121"/>
                    <a:pt x="126" y="122"/>
                    <a:pt x="125" y="122"/>
                  </a:cubicBezTo>
                  <a:cubicBezTo>
                    <a:pt x="124" y="123"/>
                    <a:pt x="122" y="124"/>
                    <a:pt x="120" y="124"/>
                  </a:cubicBezTo>
                  <a:cubicBezTo>
                    <a:pt x="120" y="124"/>
                    <a:pt x="120" y="124"/>
                    <a:pt x="120" y="124"/>
                  </a:cubicBezTo>
                  <a:cubicBezTo>
                    <a:pt x="119" y="124"/>
                    <a:pt x="119" y="125"/>
                    <a:pt x="118" y="125"/>
                  </a:cubicBezTo>
                  <a:cubicBezTo>
                    <a:pt x="116" y="125"/>
                    <a:pt x="114" y="124"/>
                    <a:pt x="112" y="123"/>
                  </a:cubicBezTo>
                  <a:cubicBezTo>
                    <a:pt x="111" y="123"/>
                    <a:pt x="111" y="123"/>
                    <a:pt x="111" y="123"/>
                  </a:cubicBezTo>
                  <a:cubicBezTo>
                    <a:pt x="111" y="123"/>
                    <a:pt x="111" y="123"/>
                    <a:pt x="111" y="123"/>
                  </a:cubicBezTo>
                  <a:cubicBezTo>
                    <a:pt x="111" y="123"/>
                    <a:pt x="110" y="123"/>
                    <a:pt x="110" y="123"/>
                  </a:cubicBezTo>
                  <a:cubicBezTo>
                    <a:pt x="110" y="123"/>
                    <a:pt x="109" y="123"/>
                    <a:pt x="109" y="123"/>
                  </a:cubicBezTo>
                  <a:cubicBezTo>
                    <a:pt x="109" y="124"/>
                    <a:pt x="108" y="124"/>
                    <a:pt x="108" y="124"/>
                  </a:cubicBezTo>
                  <a:cubicBezTo>
                    <a:pt x="108" y="124"/>
                    <a:pt x="108" y="124"/>
                    <a:pt x="108" y="124"/>
                  </a:cubicBezTo>
                  <a:cubicBezTo>
                    <a:pt x="107" y="125"/>
                    <a:pt x="106" y="126"/>
                    <a:pt x="105" y="126"/>
                  </a:cubicBezTo>
                  <a:cubicBezTo>
                    <a:pt x="104" y="127"/>
                    <a:pt x="103" y="128"/>
                    <a:pt x="103" y="129"/>
                  </a:cubicBezTo>
                  <a:cubicBezTo>
                    <a:pt x="102" y="129"/>
                    <a:pt x="102" y="129"/>
                    <a:pt x="102" y="129"/>
                  </a:cubicBezTo>
                  <a:cubicBezTo>
                    <a:pt x="102" y="129"/>
                    <a:pt x="102" y="130"/>
                    <a:pt x="102" y="130"/>
                  </a:cubicBezTo>
                  <a:cubicBezTo>
                    <a:pt x="102" y="131"/>
                    <a:pt x="101" y="131"/>
                    <a:pt x="101" y="131"/>
                  </a:cubicBezTo>
                  <a:cubicBezTo>
                    <a:pt x="101" y="132"/>
                    <a:pt x="101" y="132"/>
                    <a:pt x="101" y="132"/>
                  </a:cubicBezTo>
                  <a:cubicBezTo>
                    <a:pt x="101" y="135"/>
                    <a:pt x="100" y="137"/>
                    <a:pt x="100" y="139"/>
                  </a:cubicBezTo>
                  <a:cubicBezTo>
                    <a:pt x="100" y="139"/>
                    <a:pt x="100" y="140"/>
                    <a:pt x="100" y="141"/>
                  </a:cubicBezTo>
                  <a:cubicBezTo>
                    <a:pt x="100" y="142"/>
                    <a:pt x="100" y="143"/>
                    <a:pt x="100" y="145"/>
                  </a:cubicBezTo>
                  <a:cubicBezTo>
                    <a:pt x="99" y="145"/>
                    <a:pt x="99" y="145"/>
                    <a:pt x="99" y="145"/>
                  </a:cubicBezTo>
                  <a:cubicBezTo>
                    <a:pt x="99" y="145"/>
                    <a:pt x="99" y="145"/>
                    <a:pt x="99" y="145"/>
                  </a:cubicBezTo>
                  <a:cubicBezTo>
                    <a:pt x="100" y="146"/>
                    <a:pt x="100" y="147"/>
                    <a:pt x="100" y="148"/>
                  </a:cubicBezTo>
                  <a:cubicBezTo>
                    <a:pt x="100" y="149"/>
                    <a:pt x="100" y="150"/>
                    <a:pt x="99" y="151"/>
                  </a:cubicBezTo>
                  <a:cubicBezTo>
                    <a:pt x="99" y="153"/>
                    <a:pt x="97" y="153"/>
                    <a:pt x="96" y="153"/>
                  </a:cubicBezTo>
                  <a:cubicBezTo>
                    <a:pt x="94" y="154"/>
                    <a:pt x="94" y="154"/>
                    <a:pt x="94" y="154"/>
                  </a:cubicBezTo>
                  <a:cubicBezTo>
                    <a:pt x="92" y="155"/>
                    <a:pt x="90" y="155"/>
                    <a:pt x="88" y="156"/>
                  </a:cubicBezTo>
                  <a:cubicBezTo>
                    <a:pt x="86" y="156"/>
                    <a:pt x="84" y="157"/>
                    <a:pt x="82" y="157"/>
                  </a:cubicBezTo>
                  <a:cubicBezTo>
                    <a:pt x="77" y="157"/>
                    <a:pt x="77" y="157"/>
                    <a:pt x="77" y="157"/>
                  </a:cubicBezTo>
                  <a:cubicBezTo>
                    <a:pt x="75" y="157"/>
                    <a:pt x="73" y="158"/>
                    <a:pt x="71" y="158"/>
                  </a:cubicBezTo>
                  <a:cubicBezTo>
                    <a:pt x="69" y="158"/>
                    <a:pt x="67" y="158"/>
                    <a:pt x="64" y="159"/>
                  </a:cubicBezTo>
                  <a:cubicBezTo>
                    <a:pt x="64" y="159"/>
                    <a:pt x="63" y="159"/>
                    <a:pt x="63" y="159"/>
                  </a:cubicBezTo>
                  <a:cubicBezTo>
                    <a:pt x="62" y="160"/>
                    <a:pt x="62" y="160"/>
                    <a:pt x="61" y="160"/>
                  </a:cubicBezTo>
                  <a:cubicBezTo>
                    <a:pt x="60" y="161"/>
                    <a:pt x="60" y="161"/>
                    <a:pt x="60" y="161"/>
                  </a:cubicBezTo>
                  <a:cubicBezTo>
                    <a:pt x="59" y="161"/>
                    <a:pt x="59" y="161"/>
                    <a:pt x="59" y="161"/>
                  </a:cubicBezTo>
                  <a:cubicBezTo>
                    <a:pt x="59" y="161"/>
                    <a:pt x="58" y="162"/>
                    <a:pt x="58" y="162"/>
                  </a:cubicBezTo>
                  <a:cubicBezTo>
                    <a:pt x="57" y="162"/>
                    <a:pt x="57" y="162"/>
                    <a:pt x="57" y="162"/>
                  </a:cubicBezTo>
                  <a:cubicBezTo>
                    <a:pt x="57" y="162"/>
                    <a:pt x="57" y="162"/>
                    <a:pt x="56" y="162"/>
                  </a:cubicBezTo>
                  <a:cubicBezTo>
                    <a:pt x="56" y="162"/>
                    <a:pt x="56" y="162"/>
                    <a:pt x="56" y="162"/>
                  </a:cubicBezTo>
                  <a:cubicBezTo>
                    <a:pt x="55" y="162"/>
                    <a:pt x="55" y="162"/>
                    <a:pt x="55" y="162"/>
                  </a:cubicBezTo>
                  <a:cubicBezTo>
                    <a:pt x="55" y="162"/>
                    <a:pt x="54" y="162"/>
                    <a:pt x="54" y="162"/>
                  </a:cubicBezTo>
                  <a:cubicBezTo>
                    <a:pt x="53" y="162"/>
                    <a:pt x="53" y="162"/>
                    <a:pt x="53" y="162"/>
                  </a:cubicBezTo>
                  <a:cubicBezTo>
                    <a:pt x="51" y="162"/>
                    <a:pt x="51" y="162"/>
                    <a:pt x="51" y="162"/>
                  </a:cubicBezTo>
                  <a:cubicBezTo>
                    <a:pt x="50" y="161"/>
                    <a:pt x="49" y="161"/>
                    <a:pt x="48" y="161"/>
                  </a:cubicBezTo>
                  <a:cubicBezTo>
                    <a:pt x="48" y="161"/>
                    <a:pt x="48" y="161"/>
                    <a:pt x="48" y="161"/>
                  </a:cubicBezTo>
                  <a:cubicBezTo>
                    <a:pt x="47" y="161"/>
                    <a:pt x="47" y="161"/>
                    <a:pt x="46" y="161"/>
                  </a:cubicBezTo>
                  <a:cubicBezTo>
                    <a:pt x="46" y="161"/>
                    <a:pt x="46" y="161"/>
                    <a:pt x="46" y="161"/>
                  </a:cubicBezTo>
                  <a:cubicBezTo>
                    <a:pt x="38" y="161"/>
                    <a:pt x="38" y="161"/>
                    <a:pt x="38" y="161"/>
                  </a:cubicBezTo>
                  <a:cubicBezTo>
                    <a:pt x="38" y="165"/>
                    <a:pt x="38" y="165"/>
                    <a:pt x="38" y="165"/>
                  </a:cubicBezTo>
                  <a:cubicBezTo>
                    <a:pt x="37" y="161"/>
                    <a:pt x="37" y="161"/>
                    <a:pt x="37" y="161"/>
                  </a:cubicBezTo>
                  <a:cubicBezTo>
                    <a:pt x="34" y="162"/>
                    <a:pt x="34" y="162"/>
                    <a:pt x="34" y="162"/>
                  </a:cubicBezTo>
                  <a:cubicBezTo>
                    <a:pt x="33" y="162"/>
                    <a:pt x="33" y="162"/>
                    <a:pt x="32" y="162"/>
                  </a:cubicBezTo>
                  <a:cubicBezTo>
                    <a:pt x="32" y="162"/>
                    <a:pt x="32" y="162"/>
                    <a:pt x="32" y="162"/>
                  </a:cubicBezTo>
                  <a:cubicBezTo>
                    <a:pt x="31" y="162"/>
                    <a:pt x="30" y="162"/>
                    <a:pt x="30" y="162"/>
                  </a:cubicBezTo>
                  <a:cubicBezTo>
                    <a:pt x="29" y="162"/>
                    <a:pt x="29" y="162"/>
                    <a:pt x="29" y="162"/>
                  </a:cubicBezTo>
                  <a:cubicBezTo>
                    <a:pt x="28" y="162"/>
                    <a:pt x="27" y="162"/>
                    <a:pt x="27" y="162"/>
                  </a:cubicBezTo>
                  <a:cubicBezTo>
                    <a:pt x="0" y="155"/>
                    <a:pt x="0" y="155"/>
                    <a:pt x="0" y="155"/>
                  </a:cubicBezTo>
                  <a:cubicBezTo>
                    <a:pt x="1" y="155"/>
                    <a:pt x="1" y="156"/>
                    <a:pt x="2" y="157"/>
                  </a:cubicBezTo>
                  <a:cubicBezTo>
                    <a:pt x="2" y="157"/>
                    <a:pt x="2" y="158"/>
                    <a:pt x="3" y="158"/>
                  </a:cubicBezTo>
                  <a:cubicBezTo>
                    <a:pt x="3" y="159"/>
                    <a:pt x="3" y="159"/>
                    <a:pt x="4" y="160"/>
                  </a:cubicBezTo>
                  <a:cubicBezTo>
                    <a:pt x="5" y="162"/>
                    <a:pt x="7" y="164"/>
                    <a:pt x="9" y="167"/>
                  </a:cubicBezTo>
                  <a:cubicBezTo>
                    <a:pt x="11" y="170"/>
                    <a:pt x="13" y="172"/>
                    <a:pt x="15" y="175"/>
                  </a:cubicBezTo>
                  <a:cubicBezTo>
                    <a:pt x="16" y="176"/>
                    <a:pt x="18" y="177"/>
                    <a:pt x="19" y="178"/>
                  </a:cubicBezTo>
                  <a:cubicBezTo>
                    <a:pt x="20" y="178"/>
                    <a:pt x="21" y="178"/>
                    <a:pt x="21" y="179"/>
                  </a:cubicBezTo>
                  <a:cubicBezTo>
                    <a:pt x="22" y="179"/>
                    <a:pt x="22" y="179"/>
                    <a:pt x="22" y="179"/>
                  </a:cubicBezTo>
                  <a:cubicBezTo>
                    <a:pt x="23" y="179"/>
                    <a:pt x="23" y="179"/>
                    <a:pt x="23" y="179"/>
                  </a:cubicBezTo>
                  <a:cubicBezTo>
                    <a:pt x="24" y="180"/>
                    <a:pt x="24" y="180"/>
                    <a:pt x="24" y="180"/>
                  </a:cubicBezTo>
                  <a:cubicBezTo>
                    <a:pt x="24" y="180"/>
                    <a:pt x="25" y="180"/>
                    <a:pt x="26" y="180"/>
                  </a:cubicBezTo>
                  <a:cubicBezTo>
                    <a:pt x="27" y="181"/>
                    <a:pt x="28" y="181"/>
                    <a:pt x="29" y="182"/>
                  </a:cubicBezTo>
                  <a:cubicBezTo>
                    <a:pt x="31" y="182"/>
                    <a:pt x="32" y="183"/>
                    <a:pt x="33" y="184"/>
                  </a:cubicBezTo>
                  <a:cubicBezTo>
                    <a:pt x="34" y="185"/>
                    <a:pt x="34" y="187"/>
                    <a:pt x="33" y="190"/>
                  </a:cubicBezTo>
                  <a:cubicBezTo>
                    <a:pt x="33" y="191"/>
                    <a:pt x="33" y="191"/>
                    <a:pt x="33" y="191"/>
                  </a:cubicBezTo>
                  <a:cubicBezTo>
                    <a:pt x="37" y="191"/>
                    <a:pt x="37" y="191"/>
                    <a:pt x="37" y="191"/>
                  </a:cubicBezTo>
                  <a:cubicBezTo>
                    <a:pt x="33" y="192"/>
                    <a:pt x="33" y="192"/>
                    <a:pt x="33" y="192"/>
                  </a:cubicBezTo>
                  <a:cubicBezTo>
                    <a:pt x="33" y="198"/>
                    <a:pt x="33" y="198"/>
                    <a:pt x="33" y="198"/>
                  </a:cubicBezTo>
                  <a:cubicBezTo>
                    <a:pt x="33" y="199"/>
                    <a:pt x="33" y="199"/>
                    <a:pt x="33" y="200"/>
                  </a:cubicBezTo>
                  <a:cubicBezTo>
                    <a:pt x="33" y="201"/>
                    <a:pt x="33" y="202"/>
                    <a:pt x="33" y="202"/>
                  </a:cubicBezTo>
                  <a:cubicBezTo>
                    <a:pt x="33" y="203"/>
                    <a:pt x="33" y="203"/>
                    <a:pt x="33" y="203"/>
                  </a:cubicBezTo>
                  <a:cubicBezTo>
                    <a:pt x="34" y="203"/>
                    <a:pt x="34" y="203"/>
                    <a:pt x="34" y="203"/>
                  </a:cubicBezTo>
                  <a:cubicBezTo>
                    <a:pt x="36" y="203"/>
                    <a:pt x="36" y="203"/>
                    <a:pt x="36" y="203"/>
                  </a:cubicBezTo>
                  <a:cubicBezTo>
                    <a:pt x="38" y="203"/>
                    <a:pt x="39" y="203"/>
                    <a:pt x="41" y="203"/>
                  </a:cubicBezTo>
                  <a:cubicBezTo>
                    <a:pt x="43" y="204"/>
                    <a:pt x="43" y="204"/>
                    <a:pt x="43" y="204"/>
                  </a:cubicBezTo>
                  <a:cubicBezTo>
                    <a:pt x="43" y="206"/>
                    <a:pt x="43" y="206"/>
                    <a:pt x="43" y="206"/>
                  </a:cubicBezTo>
                  <a:cubicBezTo>
                    <a:pt x="42" y="209"/>
                    <a:pt x="41" y="212"/>
                    <a:pt x="41" y="215"/>
                  </a:cubicBezTo>
                  <a:cubicBezTo>
                    <a:pt x="40" y="217"/>
                    <a:pt x="40" y="217"/>
                    <a:pt x="40" y="217"/>
                  </a:cubicBezTo>
                  <a:cubicBezTo>
                    <a:pt x="40" y="217"/>
                    <a:pt x="40" y="218"/>
                    <a:pt x="38" y="219"/>
                  </a:cubicBezTo>
                  <a:cubicBezTo>
                    <a:pt x="37" y="220"/>
                    <a:pt x="35" y="220"/>
                    <a:pt x="34" y="220"/>
                  </a:cubicBezTo>
                  <a:cubicBezTo>
                    <a:pt x="33" y="220"/>
                    <a:pt x="33" y="220"/>
                    <a:pt x="33" y="220"/>
                  </a:cubicBezTo>
                  <a:cubicBezTo>
                    <a:pt x="32" y="220"/>
                    <a:pt x="32" y="220"/>
                    <a:pt x="32" y="220"/>
                  </a:cubicBezTo>
                  <a:cubicBezTo>
                    <a:pt x="24" y="222"/>
                    <a:pt x="24" y="222"/>
                    <a:pt x="24" y="222"/>
                  </a:cubicBezTo>
                  <a:cubicBezTo>
                    <a:pt x="23" y="222"/>
                    <a:pt x="23" y="222"/>
                    <a:pt x="22" y="223"/>
                  </a:cubicBezTo>
                  <a:cubicBezTo>
                    <a:pt x="21" y="223"/>
                    <a:pt x="21" y="223"/>
                    <a:pt x="20" y="224"/>
                  </a:cubicBezTo>
                  <a:cubicBezTo>
                    <a:pt x="19" y="224"/>
                    <a:pt x="19" y="224"/>
                    <a:pt x="19" y="224"/>
                  </a:cubicBezTo>
                  <a:cubicBezTo>
                    <a:pt x="19" y="225"/>
                    <a:pt x="18" y="226"/>
                    <a:pt x="17" y="226"/>
                  </a:cubicBezTo>
                  <a:cubicBezTo>
                    <a:pt x="16" y="227"/>
                    <a:pt x="16" y="227"/>
                    <a:pt x="16" y="227"/>
                  </a:cubicBezTo>
                  <a:cubicBezTo>
                    <a:pt x="15" y="227"/>
                    <a:pt x="15" y="227"/>
                    <a:pt x="15" y="229"/>
                  </a:cubicBezTo>
                  <a:cubicBezTo>
                    <a:pt x="14" y="233"/>
                    <a:pt x="13" y="237"/>
                    <a:pt x="12" y="240"/>
                  </a:cubicBezTo>
                  <a:cubicBezTo>
                    <a:pt x="12" y="241"/>
                    <a:pt x="12" y="241"/>
                    <a:pt x="12" y="241"/>
                  </a:cubicBezTo>
                  <a:cubicBezTo>
                    <a:pt x="12" y="242"/>
                    <a:pt x="12" y="242"/>
                    <a:pt x="12" y="243"/>
                  </a:cubicBezTo>
                  <a:cubicBezTo>
                    <a:pt x="12" y="244"/>
                    <a:pt x="11" y="245"/>
                    <a:pt x="11" y="246"/>
                  </a:cubicBezTo>
                  <a:cubicBezTo>
                    <a:pt x="11" y="247"/>
                    <a:pt x="11" y="247"/>
                    <a:pt x="11" y="247"/>
                  </a:cubicBezTo>
                  <a:cubicBezTo>
                    <a:pt x="12" y="247"/>
                    <a:pt x="11" y="248"/>
                    <a:pt x="11" y="250"/>
                  </a:cubicBezTo>
                  <a:cubicBezTo>
                    <a:pt x="12" y="250"/>
                    <a:pt x="12" y="250"/>
                    <a:pt x="12" y="250"/>
                  </a:cubicBezTo>
                  <a:cubicBezTo>
                    <a:pt x="13" y="250"/>
                    <a:pt x="14" y="249"/>
                    <a:pt x="16" y="248"/>
                  </a:cubicBezTo>
                  <a:cubicBezTo>
                    <a:pt x="18" y="248"/>
                    <a:pt x="20" y="246"/>
                    <a:pt x="21" y="246"/>
                  </a:cubicBezTo>
                  <a:cubicBezTo>
                    <a:pt x="21" y="246"/>
                    <a:pt x="22" y="247"/>
                    <a:pt x="22" y="249"/>
                  </a:cubicBezTo>
                  <a:cubicBezTo>
                    <a:pt x="25" y="246"/>
                    <a:pt x="27" y="245"/>
                    <a:pt x="30" y="245"/>
                  </a:cubicBezTo>
                  <a:cubicBezTo>
                    <a:pt x="30" y="245"/>
                    <a:pt x="31" y="245"/>
                    <a:pt x="32" y="245"/>
                  </a:cubicBezTo>
                  <a:cubicBezTo>
                    <a:pt x="35" y="246"/>
                    <a:pt x="38" y="246"/>
                    <a:pt x="41" y="246"/>
                  </a:cubicBezTo>
                  <a:cubicBezTo>
                    <a:pt x="41" y="246"/>
                    <a:pt x="42" y="246"/>
                    <a:pt x="43" y="246"/>
                  </a:cubicBezTo>
                  <a:cubicBezTo>
                    <a:pt x="44" y="246"/>
                    <a:pt x="45" y="246"/>
                    <a:pt x="44" y="246"/>
                  </a:cubicBezTo>
                  <a:cubicBezTo>
                    <a:pt x="47" y="244"/>
                    <a:pt x="51" y="243"/>
                    <a:pt x="54" y="243"/>
                  </a:cubicBezTo>
                  <a:cubicBezTo>
                    <a:pt x="54" y="243"/>
                    <a:pt x="55" y="243"/>
                    <a:pt x="55" y="243"/>
                  </a:cubicBezTo>
                  <a:cubicBezTo>
                    <a:pt x="55" y="242"/>
                    <a:pt x="55" y="241"/>
                    <a:pt x="56" y="241"/>
                  </a:cubicBezTo>
                  <a:cubicBezTo>
                    <a:pt x="56" y="241"/>
                    <a:pt x="57" y="241"/>
                    <a:pt x="57" y="241"/>
                  </a:cubicBezTo>
                  <a:cubicBezTo>
                    <a:pt x="56" y="242"/>
                    <a:pt x="55" y="242"/>
                    <a:pt x="56" y="243"/>
                  </a:cubicBezTo>
                  <a:cubicBezTo>
                    <a:pt x="56" y="244"/>
                    <a:pt x="58" y="244"/>
                    <a:pt x="59" y="244"/>
                  </a:cubicBezTo>
                  <a:cubicBezTo>
                    <a:pt x="60" y="245"/>
                    <a:pt x="62" y="245"/>
                    <a:pt x="63" y="245"/>
                  </a:cubicBezTo>
                  <a:cubicBezTo>
                    <a:pt x="65" y="245"/>
                    <a:pt x="66" y="247"/>
                    <a:pt x="67" y="247"/>
                  </a:cubicBezTo>
                  <a:cubicBezTo>
                    <a:pt x="67" y="247"/>
                    <a:pt x="67" y="247"/>
                    <a:pt x="67" y="247"/>
                  </a:cubicBezTo>
                  <a:cubicBezTo>
                    <a:pt x="67" y="246"/>
                    <a:pt x="67" y="246"/>
                    <a:pt x="67" y="246"/>
                  </a:cubicBezTo>
                  <a:cubicBezTo>
                    <a:pt x="76" y="243"/>
                    <a:pt x="84" y="243"/>
                    <a:pt x="94" y="242"/>
                  </a:cubicBezTo>
                  <a:cubicBezTo>
                    <a:pt x="94" y="242"/>
                    <a:pt x="94" y="242"/>
                    <a:pt x="94" y="242"/>
                  </a:cubicBezTo>
                  <a:cubicBezTo>
                    <a:pt x="94" y="242"/>
                    <a:pt x="95" y="243"/>
                    <a:pt x="96" y="243"/>
                  </a:cubicBezTo>
                  <a:cubicBezTo>
                    <a:pt x="97" y="243"/>
                    <a:pt x="97" y="243"/>
                    <a:pt x="98" y="243"/>
                  </a:cubicBezTo>
                  <a:cubicBezTo>
                    <a:pt x="100" y="243"/>
                    <a:pt x="101" y="242"/>
                    <a:pt x="102" y="242"/>
                  </a:cubicBezTo>
                  <a:cubicBezTo>
                    <a:pt x="102" y="242"/>
                    <a:pt x="102" y="242"/>
                    <a:pt x="102" y="242"/>
                  </a:cubicBezTo>
                  <a:cubicBezTo>
                    <a:pt x="101" y="242"/>
                    <a:pt x="101" y="241"/>
                    <a:pt x="101" y="241"/>
                  </a:cubicBezTo>
                  <a:cubicBezTo>
                    <a:pt x="101" y="241"/>
                    <a:pt x="101" y="241"/>
                    <a:pt x="101" y="241"/>
                  </a:cubicBezTo>
                  <a:cubicBezTo>
                    <a:pt x="100" y="241"/>
                    <a:pt x="100" y="240"/>
                    <a:pt x="100" y="240"/>
                  </a:cubicBezTo>
                  <a:cubicBezTo>
                    <a:pt x="100" y="239"/>
                    <a:pt x="100" y="239"/>
                    <a:pt x="100" y="239"/>
                  </a:cubicBezTo>
                  <a:cubicBezTo>
                    <a:pt x="100" y="239"/>
                    <a:pt x="101" y="239"/>
                    <a:pt x="101" y="239"/>
                  </a:cubicBezTo>
                  <a:cubicBezTo>
                    <a:pt x="101" y="239"/>
                    <a:pt x="102" y="240"/>
                    <a:pt x="102" y="241"/>
                  </a:cubicBezTo>
                  <a:cubicBezTo>
                    <a:pt x="104" y="243"/>
                    <a:pt x="102" y="242"/>
                    <a:pt x="104" y="244"/>
                  </a:cubicBezTo>
                  <a:cubicBezTo>
                    <a:pt x="105" y="246"/>
                    <a:pt x="106" y="245"/>
                    <a:pt x="106" y="248"/>
                  </a:cubicBezTo>
                  <a:cubicBezTo>
                    <a:pt x="106" y="249"/>
                    <a:pt x="105" y="252"/>
                    <a:pt x="106" y="253"/>
                  </a:cubicBezTo>
                  <a:cubicBezTo>
                    <a:pt x="106" y="253"/>
                    <a:pt x="106" y="253"/>
                    <a:pt x="107" y="253"/>
                  </a:cubicBezTo>
                  <a:cubicBezTo>
                    <a:pt x="112" y="252"/>
                    <a:pt x="112" y="252"/>
                    <a:pt x="112" y="252"/>
                  </a:cubicBezTo>
                  <a:cubicBezTo>
                    <a:pt x="113" y="256"/>
                    <a:pt x="113" y="256"/>
                    <a:pt x="113" y="256"/>
                  </a:cubicBezTo>
                  <a:cubicBezTo>
                    <a:pt x="115" y="257"/>
                    <a:pt x="115" y="257"/>
                    <a:pt x="115" y="257"/>
                  </a:cubicBezTo>
                  <a:cubicBezTo>
                    <a:pt x="115" y="259"/>
                    <a:pt x="116" y="261"/>
                    <a:pt x="116" y="262"/>
                  </a:cubicBezTo>
                  <a:cubicBezTo>
                    <a:pt x="117" y="267"/>
                    <a:pt x="117" y="269"/>
                    <a:pt x="120" y="269"/>
                  </a:cubicBezTo>
                  <a:cubicBezTo>
                    <a:pt x="121" y="269"/>
                    <a:pt x="121" y="269"/>
                    <a:pt x="122" y="269"/>
                  </a:cubicBezTo>
                  <a:cubicBezTo>
                    <a:pt x="123" y="269"/>
                    <a:pt x="124" y="269"/>
                    <a:pt x="125" y="269"/>
                  </a:cubicBezTo>
                  <a:cubicBezTo>
                    <a:pt x="129" y="269"/>
                    <a:pt x="133" y="271"/>
                    <a:pt x="131" y="276"/>
                  </a:cubicBezTo>
                  <a:cubicBezTo>
                    <a:pt x="132" y="276"/>
                    <a:pt x="132" y="275"/>
                    <a:pt x="132" y="275"/>
                  </a:cubicBezTo>
                  <a:cubicBezTo>
                    <a:pt x="132" y="274"/>
                    <a:pt x="132" y="274"/>
                    <a:pt x="132" y="274"/>
                  </a:cubicBezTo>
                  <a:cubicBezTo>
                    <a:pt x="133" y="274"/>
                    <a:pt x="133" y="274"/>
                    <a:pt x="133" y="274"/>
                  </a:cubicBezTo>
                  <a:cubicBezTo>
                    <a:pt x="133" y="273"/>
                    <a:pt x="133" y="273"/>
                    <a:pt x="133" y="273"/>
                  </a:cubicBezTo>
                  <a:cubicBezTo>
                    <a:pt x="133" y="273"/>
                    <a:pt x="133" y="273"/>
                    <a:pt x="133" y="273"/>
                  </a:cubicBezTo>
                  <a:cubicBezTo>
                    <a:pt x="139" y="269"/>
                    <a:pt x="139" y="269"/>
                    <a:pt x="139" y="269"/>
                  </a:cubicBezTo>
                  <a:cubicBezTo>
                    <a:pt x="140" y="269"/>
                    <a:pt x="140" y="269"/>
                    <a:pt x="140" y="269"/>
                  </a:cubicBezTo>
                  <a:cubicBezTo>
                    <a:pt x="140" y="269"/>
                    <a:pt x="141" y="269"/>
                    <a:pt x="141" y="269"/>
                  </a:cubicBezTo>
                  <a:cubicBezTo>
                    <a:pt x="142" y="269"/>
                    <a:pt x="142" y="269"/>
                    <a:pt x="142" y="269"/>
                  </a:cubicBezTo>
                  <a:cubicBezTo>
                    <a:pt x="142" y="268"/>
                    <a:pt x="142" y="267"/>
                    <a:pt x="142" y="266"/>
                  </a:cubicBezTo>
                  <a:cubicBezTo>
                    <a:pt x="142" y="265"/>
                    <a:pt x="142" y="264"/>
                    <a:pt x="142" y="264"/>
                  </a:cubicBezTo>
                  <a:cubicBezTo>
                    <a:pt x="143" y="261"/>
                    <a:pt x="143" y="261"/>
                    <a:pt x="143" y="261"/>
                  </a:cubicBezTo>
                  <a:cubicBezTo>
                    <a:pt x="145" y="262"/>
                    <a:pt x="145" y="262"/>
                    <a:pt x="145" y="262"/>
                  </a:cubicBezTo>
                  <a:cubicBezTo>
                    <a:pt x="149" y="262"/>
                    <a:pt x="152" y="263"/>
                    <a:pt x="156" y="263"/>
                  </a:cubicBezTo>
                  <a:cubicBezTo>
                    <a:pt x="156" y="260"/>
                    <a:pt x="156" y="260"/>
                    <a:pt x="156" y="260"/>
                  </a:cubicBezTo>
                  <a:cubicBezTo>
                    <a:pt x="157" y="263"/>
                    <a:pt x="157" y="263"/>
                    <a:pt x="157" y="263"/>
                  </a:cubicBezTo>
                  <a:cubicBezTo>
                    <a:pt x="162" y="264"/>
                    <a:pt x="162" y="264"/>
                    <a:pt x="162" y="264"/>
                  </a:cubicBezTo>
                  <a:cubicBezTo>
                    <a:pt x="163" y="264"/>
                    <a:pt x="164" y="264"/>
                    <a:pt x="164" y="264"/>
                  </a:cubicBezTo>
                  <a:cubicBezTo>
                    <a:pt x="165" y="264"/>
                    <a:pt x="166" y="265"/>
                    <a:pt x="167" y="265"/>
                  </a:cubicBezTo>
                  <a:cubicBezTo>
                    <a:pt x="167" y="265"/>
                    <a:pt x="167" y="265"/>
                    <a:pt x="167" y="265"/>
                  </a:cubicBezTo>
                  <a:cubicBezTo>
                    <a:pt x="167" y="265"/>
                    <a:pt x="168" y="265"/>
                    <a:pt x="168" y="265"/>
                  </a:cubicBezTo>
                  <a:cubicBezTo>
                    <a:pt x="168" y="265"/>
                    <a:pt x="168" y="265"/>
                    <a:pt x="168" y="265"/>
                  </a:cubicBezTo>
                  <a:cubicBezTo>
                    <a:pt x="168" y="264"/>
                    <a:pt x="168" y="264"/>
                    <a:pt x="169" y="263"/>
                  </a:cubicBezTo>
                  <a:cubicBezTo>
                    <a:pt x="170" y="262"/>
                    <a:pt x="173" y="261"/>
                    <a:pt x="175" y="261"/>
                  </a:cubicBezTo>
                  <a:cubicBezTo>
                    <a:pt x="175" y="261"/>
                    <a:pt x="175" y="261"/>
                    <a:pt x="175" y="261"/>
                  </a:cubicBezTo>
                  <a:cubicBezTo>
                    <a:pt x="176" y="260"/>
                    <a:pt x="176" y="260"/>
                    <a:pt x="177" y="260"/>
                  </a:cubicBezTo>
                  <a:cubicBezTo>
                    <a:pt x="177" y="260"/>
                    <a:pt x="177" y="260"/>
                    <a:pt x="177" y="260"/>
                  </a:cubicBezTo>
                  <a:cubicBezTo>
                    <a:pt x="178" y="260"/>
                    <a:pt x="179" y="260"/>
                    <a:pt x="179" y="260"/>
                  </a:cubicBezTo>
                  <a:cubicBezTo>
                    <a:pt x="180" y="260"/>
                    <a:pt x="181" y="260"/>
                    <a:pt x="181" y="261"/>
                  </a:cubicBezTo>
                  <a:cubicBezTo>
                    <a:pt x="182" y="261"/>
                    <a:pt x="182" y="262"/>
                    <a:pt x="182" y="262"/>
                  </a:cubicBezTo>
                  <a:cubicBezTo>
                    <a:pt x="183" y="263"/>
                    <a:pt x="183" y="263"/>
                    <a:pt x="183" y="263"/>
                  </a:cubicBezTo>
                  <a:cubicBezTo>
                    <a:pt x="183" y="262"/>
                    <a:pt x="183" y="262"/>
                    <a:pt x="183" y="262"/>
                  </a:cubicBezTo>
                  <a:cubicBezTo>
                    <a:pt x="184" y="262"/>
                    <a:pt x="184" y="262"/>
                    <a:pt x="184" y="262"/>
                  </a:cubicBezTo>
                  <a:cubicBezTo>
                    <a:pt x="184" y="262"/>
                    <a:pt x="185" y="262"/>
                    <a:pt x="185" y="261"/>
                  </a:cubicBezTo>
                  <a:cubicBezTo>
                    <a:pt x="185" y="261"/>
                    <a:pt x="185" y="260"/>
                    <a:pt x="185" y="259"/>
                  </a:cubicBezTo>
                  <a:cubicBezTo>
                    <a:pt x="185" y="259"/>
                    <a:pt x="185" y="258"/>
                    <a:pt x="185" y="258"/>
                  </a:cubicBezTo>
                  <a:cubicBezTo>
                    <a:pt x="185" y="257"/>
                    <a:pt x="186" y="257"/>
                    <a:pt x="186" y="256"/>
                  </a:cubicBezTo>
                  <a:cubicBezTo>
                    <a:pt x="186" y="256"/>
                    <a:pt x="186" y="256"/>
                    <a:pt x="186" y="256"/>
                  </a:cubicBezTo>
                  <a:cubicBezTo>
                    <a:pt x="183" y="249"/>
                    <a:pt x="183" y="249"/>
                    <a:pt x="183" y="249"/>
                  </a:cubicBezTo>
                  <a:cubicBezTo>
                    <a:pt x="182" y="248"/>
                    <a:pt x="182" y="248"/>
                    <a:pt x="182" y="247"/>
                  </a:cubicBezTo>
                  <a:cubicBezTo>
                    <a:pt x="179" y="249"/>
                    <a:pt x="179" y="249"/>
                    <a:pt x="179" y="249"/>
                  </a:cubicBezTo>
                  <a:cubicBezTo>
                    <a:pt x="181" y="246"/>
                    <a:pt x="181" y="246"/>
                    <a:pt x="181" y="246"/>
                  </a:cubicBezTo>
                  <a:cubicBezTo>
                    <a:pt x="181" y="246"/>
                    <a:pt x="181" y="246"/>
                    <a:pt x="181" y="246"/>
                  </a:cubicBezTo>
                  <a:cubicBezTo>
                    <a:pt x="181" y="245"/>
                    <a:pt x="181" y="245"/>
                    <a:pt x="180" y="244"/>
                  </a:cubicBezTo>
                  <a:cubicBezTo>
                    <a:pt x="180" y="243"/>
                    <a:pt x="180" y="241"/>
                    <a:pt x="179" y="240"/>
                  </a:cubicBezTo>
                  <a:cubicBezTo>
                    <a:pt x="179" y="239"/>
                    <a:pt x="179" y="239"/>
                    <a:pt x="179" y="239"/>
                  </a:cubicBezTo>
                  <a:cubicBezTo>
                    <a:pt x="179" y="239"/>
                    <a:pt x="178" y="239"/>
                    <a:pt x="178" y="239"/>
                  </a:cubicBezTo>
                  <a:cubicBezTo>
                    <a:pt x="178" y="239"/>
                    <a:pt x="178" y="239"/>
                    <a:pt x="178" y="239"/>
                  </a:cubicBezTo>
                  <a:cubicBezTo>
                    <a:pt x="177" y="239"/>
                    <a:pt x="176" y="239"/>
                    <a:pt x="175" y="239"/>
                  </a:cubicBezTo>
                  <a:cubicBezTo>
                    <a:pt x="175" y="239"/>
                    <a:pt x="175" y="239"/>
                    <a:pt x="175" y="239"/>
                  </a:cubicBezTo>
                  <a:cubicBezTo>
                    <a:pt x="175" y="239"/>
                    <a:pt x="174" y="238"/>
                    <a:pt x="174" y="238"/>
                  </a:cubicBezTo>
                  <a:cubicBezTo>
                    <a:pt x="174" y="238"/>
                    <a:pt x="174" y="238"/>
                    <a:pt x="174" y="238"/>
                  </a:cubicBezTo>
                  <a:cubicBezTo>
                    <a:pt x="173" y="238"/>
                    <a:pt x="173" y="238"/>
                    <a:pt x="173" y="238"/>
                  </a:cubicBezTo>
                  <a:cubicBezTo>
                    <a:pt x="173" y="238"/>
                    <a:pt x="173" y="238"/>
                    <a:pt x="173" y="238"/>
                  </a:cubicBezTo>
                  <a:cubicBezTo>
                    <a:pt x="173" y="237"/>
                    <a:pt x="172" y="237"/>
                    <a:pt x="172" y="237"/>
                  </a:cubicBezTo>
                  <a:cubicBezTo>
                    <a:pt x="171" y="236"/>
                    <a:pt x="170" y="233"/>
                    <a:pt x="169" y="231"/>
                  </a:cubicBezTo>
                  <a:cubicBezTo>
                    <a:pt x="169" y="231"/>
                    <a:pt x="169" y="230"/>
                    <a:pt x="169" y="230"/>
                  </a:cubicBezTo>
                  <a:cubicBezTo>
                    <a:pt x="168" y="227"/>
                    <a:pt x="169" y="225"/>
                    <a:pt x="169" y="224"/>
                  </a:cubicBezTo>
                  <a:cubicBezTo>
                    <a:pt x="169" y="223"/>
                    <a:pt x="169" y="223"/>
                    <a:pt x="169" y="223"/>
                  </a:cubicBezTo>
                  <a:cubicBezTo>
                    <a:pt x="169" y="222"/>
                    <a:pt x="169" y="221"/>
                    <a:pt x="169" y="221"/>
                  </a:cubicBezTo>
                  <a:cubicBezTo>
                    <a:pt x="169" y="221"/>
                    <a:pt x="169" y="221"/>
                    <a:pt x="169" y="221"/>
                  </a:cubicBezTo>
                  <a:cubicBezTo>
                    <a:pt x="169" y="220"/>
                    <a:pt x="169" y="220"/>
                    <a:pt x="169" y="220"/>
                  </a:cubicBezTo>
                  <a:cubicBezTo>
                    <a:pt x="168" y="220"/>
                    <a:pt x="168" y="220"/>
                    <a:pt x="168" y="220"/>
                  </a:cubicBezTo>
                  <a:cubicBezTo>
                    <a:pt x="167" y="220"/>
                    <a:pt x="166" y="220"/>
                    <a:pt x="165" y="220"/>
                  </a:cubicBezTo>
                  <a:cubicBezTo>
                    <a:pt x="164" y="223"/>
                    <a:pt x="164" y="223"/>
                    <a:pt x="164" y="223"/>
                  </a:cubicBezTo>
                  <a:cubicBezTo>
                    <a:pt x="164" y="220"/>
                    <a:pt x="164" y="220"/>
                    <a:pt x="164" y="220"/>
                  </a:cubicBezTo>
                  <a:cubicBezTo>
                    <a:pt x="163" y="220"/>
                    <a:pt x="163" y="220"/>
                    <a:pt x="163" y="220"/>
                  </a:cubicBezTo>
                  <a:cubicBezTo>
                    <a:pt x="161" y="219"/>
                    <a:pt x="159" y="218"/>
                    <a:pt x="157" y="216"/>
                  </a:cubicBezTo>
                  <a:cubicBezTo>
                    <a:pt x="157" y="216"/>
                    <a:pt x="156" y="215"/>
                    <a:pt x="156" y="214"/>
                  </a:cubicBezTo>
                  <a:cubicBezTo>
                    <a:pt x="156" y="212"/>
                    <a:pt x="156" y="209"/>
                    <a:pt x="159" y="205"/>
                  </a:cubicBezTo>
                  <a:cubicBezTo>
                    <a:pt x="160" y="202"/>
                    <a:pt x="163" y="199"/>
                    <a:pt x="165" y="197"/>
                  </a:cubicBezTo>
                  <a:cubicBezTo>
                    <a:pt x="165" y="196"/>
                    <a:pt x="165" y="196"/>
                    <a:pt x="165" y="196"/>
                  </a:cubicBezTo>
                  <a:cubicBezTo>
                    <a:pt x="166" y="196"/>
                    <a:pt x="167" y="195"/>
                    <a:pt x="167" y="194"/>
                  </a:cubicBezTo>
                  <a:cubicBezTo>
                    <a:pt x="168" y="194"/>
                    <a:pt x="168" y="193"/>
                    <a:pt x="169" y="192"/>
                  </a:cubicBezTo>
                  <a:cubicBezTo>
                    <a:pt x="169" y="192"/>
                    <a:pt x="169" y="192"/>
                    <a:pt x="169" y="192"/>
                  </a:cubicBezTo>
                  <a:cubicBezTo>
                    <a:pt x="169" y="192"/>
                    <a:pt x="169" y="191"/>
                    <a:pt x="170" y="191"/>
                  </a:cubicBezTo>
                  <a:cubicBezTo>
                    <a:pt x="171" y="190"/>
                    <a:pt x="171" y="190"/>
                    <a:pt x="171" y="190"/>
                  </a:cubicBezTo>
                  <a:cubicBezTo>
                    <a:pt x="172" y="189"/>
                    <a:pt x="172" y="189"/>
                    <a:pt x="172" y="189"/>
                  </a:cubicBezTo>
                  <a:cubicBezTo>
                    <a:pt x="172" y="189"/>
                    <a:pt x="172" y="189"/>
                    <a:pt x="172" y="189"/>
                  </a:cubicBezTo>
                  <a:cubicBezTo>
                    <a:pt x="170" y="186"/>
                    <a:pt x="170" y="186"/>
                    <a:pt x="170" y="186"/>
                  </a:cubicBezTo>
                  <a:cubicBezTo>
                    <a:pt x="173" y="188"/>
                    <a:pt x="173" y="188"/>
                    <a:pt x="173" y="188"/>
                  </a:cubicBezTo>
                  <a:cubicBezTo>
                    <a:pt x="173" y="188"/>
                    <a:pt x="173" y="188"/>
                    <a:pt x="173" y="188"/>
                  </a:cubicBezTo>
                  <a:cubicBezTo>
                    <a:pt x="174" y="187"/>
                    <a:pt x="174" y="187"/>
                    <a:pt x="175" y="187"/>
                  </a:cubicBezTo>
                  <a:cubicBezTo>
                    <a:pt x="175" y="187"/>
                    <a:pt x="175" y="187"/>
                    <a:pt x="175" y="187"/>
                  </a:cubicBezTo>
                  <a:cubicBezTo>
                    <a:pt x="176" y="186"/>
                    <a:pt x="176" y="186"/>
                    <a:pt x="177" y="186"/>
                  </a:cubicBezTo>
                  <a:cubicBezTo>
                    <a:pt x="177" y="184"/>
                    <a:pt x="177" y="184"/>
                    <a:pt x="177" y="184"/>
                  </a:cubicBezTo>
                  <a:cubicBezTo>
                    <a:pt x="178" y="186"/>
                    <a:pt x="178" y="186"/>
                    <a:pt x="178" y="186"/>
                  </a:cubicBezTo>
                  <a:cubicBezTo>
                    <a:pt x="179" y="186"/>
                    <a:pt x="179" y="186"/>
                    <a:pt x="179" y="186"/>
                  </a:cubicBezTo>
                  <a:cubicBezTo>
                    <a:pt x="179" y="186"/>
                    <a:pt x="179" y="186"/>
                    <a:pt x="180" y="187"/>
                  </a:cubicBezTo>
                  <a:cubicBezTo>
                    <a:pt x="180" y="187"/>
                    <a:pt x="180" y="187"/>
                    <a:pt x="181" y="187"/>
                  </a:cubicBezTo>
                  <a:cubicBezTo>
                    <a:pt x="181" y="188"/>
                    <a:pt x="182" y="188"/>
                    <a:pt x="182" y="188"/>
                  </a:cubicBezTo>
                  <a:cubicBezTo>
                    <a:pt x="183" y="189"/>
                    <a:pt x="183" y="190"/>
                    <a:pt x="183" y="191"/>
                  </a:cubicBezTo>
                  <a:cubicBezTo>
                    <a:pt x="184" y="191"/>
                    <a:pt x="184" y="191"/>
                    <a:pt x="184" y="191"/>
                  </a:cubicBezTo>
                  <a:cubicBezTo>
                    <a:pt x="184" y="191"/>
                    <a:pt x="184" y="192"/>
                    <a:pt x="184" y="192"/>
                  </a:cubicBezTo>
                  <a:cubicBezTo>
                    <a:pt x="185" y="192"/>
                    <a:pt x="185" y="192"/>
                    <a:pt x="185" y="192"/>
                  </a:cubicBezTo>
                  <a:cubicBezTo>
                    <a:pt x="185" y="192"/>
                    <a:pt x="185" y="192"/>
                    <a:pt x="186" y="192"/>
                  </a:cubicBezTo>
                  <a:cubicBezTo>
                    <a:pt x="186" y="192"/>
                    <a:pt x="186" y="192"/>
                    <a:pt x="186" y="192"/>
                  </a:cubicBezTo>
                  <a:cubicBezTo>
                    <a:pt x="188" y="191"/>
                    <a:pt x="189" y="191"/>
                    <a:pt x="191" y="190"/>
                  </a:cubicBezTo>
                  <a:cubicBezTo>
                    <a:pt x="191" y="190"/>
                    <a:pt x="191" y="190"/>
                    <a:pt x="191" y="190"/>
                  </a:cubicBezTo>
                  <a:cubicBezTo>
                    <a:pt x="191" y="186"/>
                    <a:pt x="191" y="186"/>
                    <a:pt x="191" y="186"/>
                  </a:cubicBezTo>
                  <a:cubicBezTo>
                    <a:pt x="193" y="190"/>
                    <a:pt x="193" y="190"/>
                    <a:pt x="193" y="190"/>
                  </a:cubicBezTo>
                  <a:cubicBezTo>
                    <a:pt x="194" y="190"/>
                    <a:pt x="194" y="190"/>
                    <a:pt x="194" y="190"/>
                  </a:cubicBezTo>
                  <a:cubicBezTo>
                    <a:pt x="194" y="190"/>
                    <a:pt x="194" y="190"/>
                    <a:pt x="195" y="190"/>
                  </a:cubicBezTo>
                  <a:cubicBezTo>
                    <a:pt x="196" y="190"/>
                    <a:pt x="196" y="190"/>
                    <a:pt x="196" y="190"/>
                  </a:cubicBezTo>
                  <a:cubicBezTo>
                    <a:pt x="197" y="190"/>
                    <a:pt x="199" y="189"/>
                    <a:pt x="200" y="189"/>
                  </a:cubicBezTo>
                  <a:cubicBezTo>
                    <a:pt x="200" y="189"/>
                    <a:pt x="200" y="189"/>
                    <a:pt x="200" y="189"/>
                  </a:cubicBezTo>
                  <a:cubicBezTo>
                    <a:pt x="212" y="174"/>
                    <a:pt x="212" y="174"/>
                    <a:pt x="212" y="174"/>
                  </a:cubicBezTo>
                  <a:cubicBezTo>
                    <a:pt x="212" y="173"/>
                    <a:pt x="212" y="173"/>
                    <a:pt x="212" y="173"/>
                  </a:cubicBezTo>
                  <a:cubicBezTo>
                    <a:pt x="213" y="171"/>
                    <a:pt x="215" y="170"/>
                    <a:pt x="217" y="169"/>
                  </a:cubicBezTo>
                  <a:cubicBezTo>
                    <a:pt x="218" y="168"/>
                    <a:pt x="218" y="168"/>
                    <a:pt x="219" y="168"/>
                  </a:cubicBezTo>
                  <a:cubicBezTo>
                    <a:pt x="222" y="166"/>
                    <a:pt x="223" y="166"/>
                    <a:pt x="224" y="163"/>
                  </a:cubicBezTo>
                  <a:cubicBezTo>
                    <a:pt x="225" y="162"/>
                    <a:pt x="225" y="162"/>
                    <a:pt x="226" y="161"/>
                  </a:cubicBezTo>
                  <a:cubicBezTo>
                    <a:pt x="226" y="160"/>
                    <a:pt x="226" y="160"/>
                    <a:pt x="226" y="160"/>
                  </a:cubicBezTo>
                  <a:cubicBezTo>
                    <a:pt x="227" y="159"/>
                    <a:pt x="227" y="158"/>
                    <a:pt x="228" y="157"/>
                  </a:cubicBezTo>
                  <a:cubicBezTo>
                    <a:pt x="228" y="156"/>
                    <a:pt x="228" y="156"/>
                    <a:pt x="228" y="155"/>
                  </a:cubicBezTo>
                  <a:cubicBezTo>
                    <a:pt x="229" y="155"/>
                    <a:pt x="229" y="155"/>
                    <a:pt x="229" y="155"/>
                  </a:cubicBezTo>
                  <a:cubicBezTo>
                    <a:pt x="229" y="155"/>
                    <a:pt x="229" y="154"/>
                    <a:pt x="229" y="154"/>
                  </a:cubicBezTo>
                  <a:cubicBezTo>
                    <a:pt x="229" y="151"/>
                    <a:pt x="230" y="149"/>
                    <a:pt x="231" y="148"/>
                  </a:cubicBezTo>
                  <a:cubicBezTo>
                    <a:pt x="232" y="147"/>
                    <a:pt x="233" y="146"/>
                    <a:pt x="234" y="146"/>
                  </a:cubicBezTo>
                  <a:cubicBezTo>
                    <a:pt x="235" y="145"/>
                    <a:pt x="237" y="144"/>
                    <a:pt x="239" y="143"/>
                  </a:cubicBezTo>
                  <a:cubicBezTo>
                    <a:pt x="239" y="143"/>
                    <a:pt x="240" y="143"/>
                    <a:pt x="240" y="143"/>
                  </a:cubicBezTo>
                  <a:cubicBezTo>
                    <a:pt x="240" y="142"/>
                    <a:pt x="240" y="142"/>
                    <a:pt x="240" y="142"/>
                  </a:cubicBezTo>
                  <a:cubicBezTo>
                    <a:pt x="239" y="140"/>
                    <a:pt x="240" y="139"/>
                    <a:pt x="240" y="138"/>
                  </a:cubicBezTo>
                  <a:cubicBezTo>
                    <a:pt x="241" y="138"/>
                    <a:pt x="241" y="138"/>
                    <a:pt x="241" y="138"/>
                  </a:cubicBezTo>
                  <a:cubicBezTo>
                    <a:pt x="241" y="137"/>
                    <a:pt x="242" y="137"/>
                    <a:pt x="242" y="136"/>
                  </a:cubicBezTo>
                  <a:cubicBezTo>
                    <a:pt x="243" y="135"/>
                    <a:pt x="244" y="134"/>
                    <a:pt x="245" y="133"/>
                  </a:cubicBezTo>
                  <a:cubicBezTo>
                    <a:pt x="245" y="132"/>
                    <a:pt x="246" y="131"/>
                    <a:pt x="248" y="130"/>
                  </a:cubicBezTo>
                  <a:cubicBezTo>
                    <a:pt x="249" y="130"/>
                    <a:pt x="249" y="130"/>
                    <a:pt x="249" y="130"/>
                  </a:cubicBezTo>
                  <a:cubicBezTo>
                    <a:pt x="250" y="129"/>
                    <a:pt x="252" y="128"/>
                    <a:pt x="253" y="127"/>
                  </a:cubicBezTo>
                  <a:cubicBezTo>
                    <a:pt x="253" y="126"/>
                    <a:pt x="254" y="126"/>
                    <a:pt x="254" y="125"/>
                  </a:cubicBezTo>
                  <a:cubicBezTo>
                    <a:pt x="254" y="125"/>
                    <a:pt x="254" y="124"/>
                    <a:pt x="254" y="123"/>
                  </a:cubicBezTo>
                  <a:cubicBezTo>
                    <a:pt x="253" y="119"/>
                    <a:pt x="253" y="119"/>
                    <a:pt x="253" y="119"/>
                  </a:cubicBezTo>
                  <a:cubicBezTo>
                    <a:pt x="253" y="118"/>
                    <a:pt x="253" y="117"/>
                    <a:pt x="252" y="116"/>
                  </a:cubicBezTo>
                  <a:cubicBezTo>
                    <a:pt x="252" y="114"/>
                    <a:pt x="252" y="114"/>
                    <a:pt x="252" y="114"/>
                  </a:cubicBezTo>
                  <a:cubicBezTo>
                    <a:pt x="249" y="114"/>
                    <a:pt x="249" y="114"/>
                    <a:pt x="249" y="114"/>
                  </a:cubicBezTo>
                  <a:cubicBezTo>
                    <a:pt x="252" y="112"/>
                    <a:pt x="252" y="112"/>
                    <a:pt x="252" y="112"/>
                  </a:cubicBezTo>
                  <a:cubicBezTo>
                    <a:pt x="252" y="112"/>
                    <a:pt x="252" y="112"/>
                    <a:pt x="252" y="112"/>
                  </a:cubicBezTo>
                  <a:cubicBezTo>
                    <a:pt x="252" y="111"/>
                    <a:pt x="252" y="111"/>
                    <a:pt x="252" y="110"/>
                  </a:cubicBezTo>
                  <a:cubicBezTo>
                    <a:pt x="253" y="109"/>
                    <a:pt x="254" y="107"/>
                    <a:pt x="256" y="106"/>
                  </a:cubicBezTo>
                  <a:cubicBezTo>
                    <a:pt x="256" y="105"/>
                    <a:pt x="257" y="105"/>
                    <a:pt x="258" y="105"/>
                  </a:cubicBezTo>
                  <a:cubicBezTo>
                    <a:pt x="258" y="105"/>
                    <a:pt x="258" y="105"/>
                    <a:pt x="258" y="105"/>
                  </a:cubicBezTo>
                  <a:cubicBezTo>
                    <a:pt x="259" y="104"/>
                    <a:pt x="259" y="104"/>
                    <a:pt x="259" y="104"/>
                  </a:cubicBezTo>
                  <a:cubicBezTo>
                    <a:pt x="259" y="104"/>
                    <a:pt x="259" y="104"/>
                    <a:pt x="260" y="104"/>
                  </a:cubicBezTo>
                  <a:cubicBezTo>
                    <a:pt x="260" y="104"/>
                    <a:pt x="261" y="104"/>
                    <a:pt x="261" y="103"/>
                  </a:cubicBezTo>
                  <a:cubicBezTo>
                    <a:pt x="262" y="103"/>
                    <a:pt x="263" y="103"/>
                    <a:pt x="263" y="103"/>
                  </a:cubicBezTo>
                  <a:cubicBezTo>
                    <a:pt x="265" y="102"/>
                    <a:pt x="265" y="102"/>
                    <a:pt x="265" y="102"/>
                  </a:cubicBezTo>
                  <a:cubicBezTo>
                    <a:pt x="265" y="102"/>
                    <a:pt x="267" y="101"/>
                    <a:pt x="267" y="101"/>
                  </a:cubicBezTo>
                  <a:cubicBezTo>
                    <a:pt x="267" y="100"/>
                    <a:pt x="267" y="100"/>
                    <a:pt x="267" y="100"/>
                  </a:cubicBezTo>
                  <a:cubicBezTo>
                    <a:pt x="267" y="99"/>
                    <a:pt x="267" y="99"/>
                    <a:pt x="267" y="99"/>
                  </a:cubicBezTo>
                  <a:cubicBezTo>
                    <a:pt x="266" y="99"/>
                    <a:pt x="266" y="99"/>
                    <a:pt x="266" y="99"/>
                  </a:cubicBezTo>
                  <a:cubicBezTo>
                    <a:pt x="266" y="99"/>
                    <a:pt x="266" y="99"/>
                    <a:pt x="266" y="99"/>
                  </a:cubicBezTo>
                  <a:cubicBezTo>
                    <a:pt x="265" y="99"/>
                    <a:pt x="264" y="99"/>
                    <a:pt x="263" y="99"/>
                  </a:cubicBezTo>
                  <a:cubicBezTo>
                    <a:pt x="263" y="99"/>
                    <a:pt x="263" y="99"/>
                    <a:pt x="263" y="99"/>
                  </a:cubicBezTo>
                  <a:cubicBezTo>
                    <a:pt x="262" y="99"/>
                    <a:pt x="262" y="98"/>
                    <a:pt x="261" y="98"/>
                  </a:cubicBezTo>
                  <a:cubicBezTo>
                    <a:pt x="259" y="98"/>
                    <a:pt x="257" y="97"/>
                    <a:pt x="256" y="96"/>
                  </a:cubicBezTo>
                  <a:cubicBezTo>
                    <a:pt x="256" y="96"/>
                    <a:pt x="256" y="96"/>
                    <a:pt x="256" y="95"/>
                  </a:cubicBezTo>
                  <a:cubicBezTo>
                    <a:pt x="255" y="94"/>
                    <a:pt x="255" y="93"/>
                    <a:pt x="255" y="92"/>
                  </a:cubicBezTo>
                  <a:cubicBezTo>
                    <a:pt x="254" y="92"/>
                    <a:pt x="254" y="92"/>
                    <a:pt x="253" y="92"/>
                  </a:cubicBezTo>
                  <a:cubicBezTo>
                    <a:pt x="252" y="92"/>
                    <a:pt x="250" y="91"/>
                    <a:pt x="249" y="90"/>
                  </a:cubicBezTo>
                  <a:cubicBezTo>
                    <a:pt x="248" y="89"/>
                    <a:pt x="248" y="89"/>
                    <a:pt x="248" y="89"/>
                  </a:cubicBezTo>
                  <a:cubicBezTo>
                    <a:pt x="248" y="88"/>
                    <a:pt x="247" y="88"/>
                    <a:pt x="247" y="87"/>
                  </a:cubicBezTo>
                  <a:cubicBezTo>
                    <a:pt x="246" y="86"/>
                    <a:pt x="246" y="86"/>
                    <a:pt x="246" y="86"/>
                  </a:cubicBezTo>
                  <a:cubicBezTo>
                    <a:pt x="245" y="85"/>
                    <a:pt x="244" y="84"/>
                    <a:pt x="244" y="82"/>
                  </a:cubicBezTo>
                  <a:cubicBezTo>
                    <a:pt x="238" y="83"/>
                    <a:pt x="238" y="83"/>
                    <a:pt x="238" y="83"/>
                  </a:cubicBezTo>
                  <a:cubicBezTo>
                    <a:pt x="243" y="81"/>
                    <a:pt x="243" y="81"/>
                    <a:pt x="243" y="81"/>
                  </a:cubicBezTo>
                  <a:cubicBezTo>
                    <a:pt x="243" y="81"/>
                    <a:pt x="243" y="81"/>
                    <a:pt x="243" y="81"/>
                  </a:cubicBezTo>
                  <a:cubicBezTo>
                    <a:pt x="243" y="80"/>
                    <a:pt x="243" y="79"/>
                    <a:pt x="244" y="78"/>
                  </a:cubicBezTo>
                  <a:cubicBezTo>
                    <a:pt x="244" y="78"/>
                    <a:pt x="244" y="77"/>
                    <a:pt x="244" y="76"/>
                  </a:cubicBezTo>
                  <a:cubicBezTo>
                    <a:pt x="245" y="74"/>
                    <a:pt x="245" y="74"/>
                    <a:pt x="245" y="73"/>
                  </a:cubicBezTo>
                  <a:cubicBezTo>
                    <a:pt x="245" y="73"/>
                    <a:pt x="245" y="73"/>
                    <a:pt x="245" y="73"/>
                  </a:cubicBezTo>
                  <a:cubicBezTo>
                    <a:pt x="244" y="72"/>
                    <a:pt x="244" y="72"/>
                    <a:pt x="243" y="71"/>
                  </a:cubicBezTo>
                  <a:cubicBezTo>
                    <a:pt x="243" y="70"/>
                    <a:pt x="243" y="70"/>
                    <a:pt x="243" y="69"/>
                  </a:cubicBezTo>
                  <a:cubicBezTo>
                    <a:pt x="242" y="69"/>
                    <a:pt x="242" y="69"/>
                    <a:pt x="242" y="69"/>
                  </a:cubicBezTo>
                  <a:cubicBezTo>
                    <a:pt x="243" y="69"/>
                    <a:pt x="243" y="69"/>
                    <a:pt x="243" y="69"/>
                  </a:cubicBezTo>
                  <a:cubicBezTo>
                    <a:pt x="242" y="68"/>
                    <a:pt x="243" y="68"/>
                    <a:pt x="243" y="67"/>
                  </a:cubicBezTo>
                  <a:cubicBezTo>
                    <a:pt x="243" y="67"/>
                    <a:pt x="243" y="67"/>
                    <a:pt x="243" y="67"/>
                  </a:cubicBezTo>
                  <a:cubicBezTo>
                    <a:pt x="243" y="66"/>
                    <a:pt x="244" y="66"/>
                    <a:pt x="245" y="65"/>
                  </a:cubicBezTo>
                  <a:cubicBezTo>
                    <a:pt x="245" y="65"/>
                    <a:pt x="245" y="65"/>
                    <a:pt x="245" y="65"/>
                  </a:cubicBezTo>
                  <a:cubicBezTo>
                    <a:pt x="244" y="65"/>
                    <a:pt x="244" y="65"/>
                    <a:pt x="244" y="65"/>
                  </a:cubicBezTo>
                  <a:cubicBezTo>
                    <a:pt x="243" y="64"/>
                    <a:pt x="243" y="64"/>
                    <a:pt x="242" y="64"/>
                  </a:cubicBezTo>
                  <a:cubicBezTo>
                    <a:pt x="240" y="64"/>
                    <a:pt x="240" y="64"/>
                    <a:pt x="240" y="64"/>
                  </a:cubicBezTo>
                  <a:cubicBezTo>
                    <a:pt x="241" y="61"/>
                    <a:pt x="241" y="61"/>
                    <a:pt x="241" y="61"/>
                  </a:cubicBezTo>
                  <a:cubicBezTo>
                    <a:pt x="241" y="61"/>
                    <a:pt x="241" y="61"/>
                    <a:pt x="241" y="60"/>
                  </a:cubicBezTo>
                  <a:cubicBezTo>
                    <a:pt x="241" y="60"/>
                    <a:pt x="241" y="60"/>
                    <a:pt x="241" y="60"/>
                  </a:cubicBezTo>
                  <a:cubicBezTo>
                    <a:pt x="241" y="59"/>
                    <a:pt x="242" y="59"/>
                    <a:pt x="242" y="59"/>
                  </a:cubicBezTo>
                  <a:cubicBezTo>
                    <a:pt x="241" y="59"/>
                    <a:pt x="241" y="59"/>
                    <a:pt x="240" y="58"/>
                  </a:cubicBezTo>
                  <a:cubicBezTo>
                    <a:pt x="240" y="58"/>
                    <a:pt x="240" y="58"/>
                    <a:pt x="240" y="58"/>
                  </a:cubicBezTo>
                  <a:cubicBezTo>
                    <a:pt x="239" y="57"/>
                    <a:pt x="239" y="57"/>
                    <a:pt x="238" y="55"/>
                  </a:cubicBezTo>
                  <a:cubicBezTo>
                    <a:pt x="238" y="54"/>
                    <a:pt x="239" y="53"/>
                    <a:pt x="239" y="52"/>
                  </a:cubicBezTo>
                  <a:cubicBezTo>
                    <a:pt x="240" y="51"/>
                    <a:pt x="240" y="50"/>
                    <a:pt x="241" y="49"/>
                  </a:cubicBezTo>
                  <a:cubicBezTo>
                    <a:pt x="241" y="49"/>
                    <a:pt x="241" y="48"/>
                    <a:pt x="242" y="48"/>
                  </a:cubicBezTo>
                  <a:cubicBezTo>
                    <a:pt x="243" y="47"/>
                    <a:pt x="244" y="47"/>
                    <a:pt x="245" y="47"/>
                  </a:cubicBezTo>
                  <a:cubicBezTo>
                    <a:pt x="247" y="46"/>
                    <a:pt x="250" y="46"/>
                    <a:pt x="252" y="46"/>
                  </a:cubicBezTo>
                  <a:cubicBezTo>
                    <a:pt x="253" y="46"/>
                    <a:pt x="253" y="46"/>
                    <a:pt x="253" y="46"/>
                  </a:cubicBezTo>
                  <a:cubicBezTo>
                    <a:pt x="254" y="45"/>
                    <a:pt x="255" y="45"/>
                    <a:pt x="255" y="45"/>
                  </a:cubicBezTo>
                  <a:cubicBezTo>
                    <a:pt x="256" y="45"/>
                    <a:pt x="256" y="45"/>
                    <a:pt x="257" y="45"/>
                  </a:cubicBezTo>
                  <a:cubicBezTo>
                    <a:pt x="259" y="45"/>
                    <a:pt x="261" y="46"/>
                    <a:pt x="262" y="46"/>
                  </a:cubicBezTo>
                  <a:cubicBezTo>
                    <a:pt x="263" y="46"/>
                    <a:pt x="263" y="46"/>
                    <a:pt x="263" y="46"/>
                  </a:cubicBezTo>
                  <a:cubicBezTo>
                    <a:pt x="264" y="46"/>
                    <a:pt x="264" y="46"/>
                    <a:pt x="265" y="46"/>
                  </a:cubicBezTo>
                  <a:cubicBezTo>
                    <a:pt x="268" y="47"/>
                    <a:pt x="268" y="47"/>
                    <a:pt x="268" y="47"/>
                  </a:cubicBezTo>
                  <a:cubicBezTo>
                    <a:pt x="269" y="47"/>
                    <a:pt x="270" y="48"/>
                    <a:pt x="272" y="48"/>
                  </a:cubicBezTo>
                  <a:cubicBezTo>
                    <a:pt x="272" y="49"/>
                    <a:pt x="272" y="49"/>
                    <a:pt x="272" y="49"/>
                  </a:cubicBezTo>
                  <a:cubicBezTo>
                    <a:pt x="273" y="49"/>
                    <a:pt x="273" y="49"/>
                    <a:pt x="274" y="49"/>
                  </a:cubicBezTo>
                  <a:cubicBezTo>
                    <a:pt x="275" y="49"/>
                    <a:pt x="275" y="49"/>
                    <a:pt x="275" y="49"/>
                  </a:cubicBezTo>
                  <a:cubicBezTo>
                    <a:pt x="276" y="50"/>
                    <a:pt x="276" y="50"/>
                    <a:pt x="277" y="50"/>
                  </a:cubicBezTo>
                  <a:cubicBezTo>
                    <a:pt x="278" y="50"/>
                    <a:pt x="280" y="49"/>
                    <a:pt x="283" y="48"/>
                  </a:cubicBezTo>
                  <a:cubicBezTo>
                    <a:pt x="284" y="47"/>
                    <a:pt x="284" y="47"/>
                    <a:pt x="285" y="47"/>
                  </a:cubicBezTo>
                  <a:cubicBezTo>
                    <a:pt x="285" y="47"/>
                    <a:pt x="286" y="46"/>
                    <a:pt x="287" y="46"/>
                  </a:cubicBezTo>
                  <a:cubicBezTo>
                    <a:pt x="287" y="46"/>
                    <a:pt x="288" y="46"/>
                    <a:pt x="289" y="46"/>
                  </a:cubicBezTo>
                  <a:cubicBezTo>
                    <a:pt x="290" y="45"/>
                    <a:pt x="290" y="45"/>
                    <a:pt x="291" y="45"/>
                  </a:cubicBezTo>
                  <a:cubicBezTo>
                    <a:pt x="291" y="45"/>
                    <a:pt x="291" y="45"/>
                    <a:pt x="291" y="45"/>
                  </a:cubicBezTo>
                  <a:cubicBezTo>
                    <a:pt x="292" y="45"/>
                    <a:pt x="292" y="45"/>
                    <a:pt x="292" y="45"/>
                  </a:cubicBezTo>
                  <a:cubicBezTo>
                    <a:pt x="293" y="45"/>
                    <a:pt x="293" y="45"/>
                    <a:pt x="293" y="45"/>
                  </a:cubicBezTo>
                  <a:cubicBezTo>
                    <a:pt x="295" y="45"/>
                    <a:pt x="295" y="44"/>
                    <a:pt x="296" y="43"/>
                  </a:cubicBezTo>
                  <a:cubicBezTo>
                    <a:pt x="297" y="42"/>
                    <a:pt x="297" y="42"/>
                    <a:pt x="297" y="42"/>
                  </a:cubicBezTo>
                  <a:cubicBezTo>
                    <a:pt x="298" y="40"/>
                    <a:pt x="300" y="38"/>
                    <a:pt x="301" y="37"/>
                  </a:cubicBezTo>
                  <a:cubicBezTo>
                    <a:pt x="305" y="35"/>
                    <a:pt x="305" y="35"/>
                    <a:pt x="305" y="35"/>
                  </a:cubicBezTo>
                  <a:cubicBezTo>
                    <a:pt x="306" y="35"/>
                    <a:pt x="307" y="34"/>
                    <a:pt x="307" y="34"/>
                  </a:cubicBezTo>
                  <a:cubicBezTo>
                    <a:pt x="301" y="34"/>
                    <a:pt x="301" y="34"/>
                    <a:pt x="301" y="34"/>
                  </a:cubicBezTo>
                  <a:cubicBezTo>
                    <a:pt x="306" y="32"/>
                    <a:pt x="306" y="32"/>
                    <a:pt x="306" y="32"/>
                  </a:cubicBezTo>
                  <a:cubicBezTo>
                    <a:pt x="303" y="32"/>
                    <a:pt x="299" y="31"/>
                    <a:pt x="296" y="29"/>
                  </a:cubicBezTo>
                  <a:cubicBezTo>
                    <a:pt x="295" y="29"/>
                    <a:pt x="294" y="28"/>
                    <a:pt x="293" y="27"/>
                  </a:cubicBezTo>
                  <a:cubicBezTo>
                    <a:pt x="292" y="26"/>
                    <a:pt x="292" y="26"/>
                    <a:pt x="292" y="25"/>
                  </a:cubicBezTo>
                  <a:cubicBezTo>
                    <a:pt x="290" y="26"/>
                    <a:pt x="289" y="26"/>
                    <a:pt x="288" y="26"/>
                  </a:cubicBezTo>
                  <a:cubicBezTo>
                    <a:pt x="288" y="26"/>
                    <a:pt x="288" y="26"/>
                    <a:pt x="288" y="26"/>
                  </a:cubicBezTo>
                  <a:cubicBezTo>
                    <a:pt x="287" y="26"/>
                    <a:pt x="287" y="26"/>
                    <a:pt x="287" y="26"/>
                  </a:cubicBezTo>
                  <a:cubicBezTo>
                    <a:pt x="286" y="26"/>
                    <a:pt x="285" y="26"/>
                    <a:pt x="284" y="25"/>
                  </a:cubicBezTo>
                  <a:cubicBezTo>
                    <a:pt x="284" y="25"/>
                    <a:pt x="283" y="24"/>
                    <a:pt x="283" y="24"/>
                  </a:cubicBezTo>
                  <a:cubicBezTo>
                    <a:pt x="283" y="23"/>
                    <a:pt x="283" y="23"/>
                    <a:pt x="283" y="23"/>
                  </a:cubicBezTo>
                  <a:cubicBezTo>
                    <a:pt x="283" y="23"/>
                    <a:pt x="283" y="23"/>
                    <a:pt x="283" y="23"/>
                  </a:cubicBezTo>
                  <a:cubicBezTo>
                    <a:pt x="282" y="23"/>
                    <a:pt x="282" y="22"/>
                    <a:pt x="281" y="22"/>
                  </a:cubicBezTo>
                  <a:cubicBezTo>
                    <a:pt x="280" y="20"/>
                    <a:pt x="280" y="20"/>
                    <a:pt x="280" y="20"/>
                  </a:cubicBezTo>
                  <a:cubicBezTo>
                    <a:pt x="278" y="18"/>
                    <a:pt x="280" y="16"/>
                    <a:pt x="280" y="15"/>
                  </a:cubicBezTo>
                  <a:cubicBezTo>
                    <a:pt x="281" y="15"/>
                    <a:pt x="281" y="14"/>
                    <a:pt x="281" y="14"/>
                  </a:cubicBezTo>
                  <a:cubicBezTo>
                    <a:pt x="281" y="13"/>
                    <a:pt x="281" y="13"/>
                    <a:pt x="281" y="12"/>
                  </a:cubicBezTo>
                  <a:cubicBezTo>
                    <a:pt x="281" y="11"/>
                    <a:pt x="280" y="11"/>
                    <a:pt x="280" y="10"/>
                  </a:cubicBezTo>
                  <a:cubicBezTo>
                    <a:pt x="279" y="8"/>
                    <a:pt x="277" y="7"/>
                    <a:pt x="276" y="6"/>
                  </a:cubicBezTo>
                  <a:cubicBezTo>
                    <a:pt x="276" y="6"/>
                    <a:pt x="275" y="6"/>
                    <a:pt x="275" y="5"/>
                  </a:cubicBezTo>
                  <a:cubicBezTo>
                    <a:pt x="273" y="5"/>
                    <a:pt x="272" y="4"/>
                    <a:pt x="271" y="3"/>
                  </a:cubicBezTo>
                  <a:cubicBezTo>
                    <a:pt x="270" y="3"/>
                    <a:pt x="269" y="2"/>
                    <a:pt x="268" y="2"/>
                  </a:cubicBezTo>
                  <a:cubicBezTo>
                    <a:pt x="267" y="1"/>
                    <a:pt x="266" y="1"/>
                    <a:pt x="264" y="1"/>
                  </a:cubicBezTo>
                  <a:cubicBezTo>
                    <a:pt x="264" y="1"/>
                    <a:pt x="264" y="1"/>
                    <a:pt x="264" y="1"/>
                  </a:cubicBezTo>
                  <a:cubicBezTo>
                    <a:pt x="263" y="1"/>
                    <a:pt x="263" y="1"/>
                    <a:pt x="262" y="1"/>
                  </a:cubicBezTo>
                  <a:cubicBezTo>
                    <a:pt x="262" y="1"/>
                    <a:pt x="261" y="1"/>
                    <a:pt x="261" y="1"/>
                  </a:cubicBezTo>
                  <a:cubicBezTo>
                    <a:pt x="260" y="1"/>
                    <a:pt x="259" y="0"/>
                    <a:pt x="258" y="0"/>
                  </a:cubicBezTo>
                  <a:cubicBezTo>
                    <a:pt x="258" y="0"/>
                    <a:pt x="258" y="0"/>
                    <a:pt x="258" y="0"/>
                  </a:cubicBezTo>
                  <a:cubicBezTo>
                    <a:pt x="258" y="0"/>
                    <a:pt x="258" y="0"/>
                    <a:pt x="258" y="0"/>
                  </a:cubicBezTo>
                  <a:cubicBezTo>
                    <a:pt x="257" y="0"/>
                    <a:pt x="257" y="0"/>
                    <a:pt x="2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Freeform 420">
              <a:extLst>
                <a:ext uri="{FF2B5EF4-FFF2-40B4-BE49-F238E27FC236}">
                  <a16:creationId xmlns:a16="http://schemas.microsoft.com/office/drawing/2014/main" id="{4CAB9DD4-A08A-441B-9359-6FB6C3F2B59A}"/>
                </a:ext>
              </a:extLst>
            </p:cNvPr>
            <p:cNvSpPr>
              <a:spLocks/>
            </p:cNvSpPr>
            <p:nvPr/>
          </p:nvSpPr>
          <p:spPr bwMode="auto">
            <a:xfrm>
              <a:off x="2918708" y="4347763"/>
              <a:ext cx="107285" cy="31636"/>
            </a:xfrm>
            <a:custGeom>
              <a:avLst/>
              <a:gdLst>
                <a:gd name="T0" fmla="*/ 13 w 33"/>
                <a:gd name="T1" fmla="*/ 0 h 10"/>
                <a:gd name="T2" fmla="*/ 11 w 33"/>
                <a:gd name="T3" fmla="*/ 1 h 10"/>
                <a:gd name="T4" fmla="*/ 10 w 33"/>
                <a:gd name="T5" fmla="*/ 1 h 10"/>
                <a:gd name="T6" fmla="*/ 2 w 33"/>
                <a:gd name="T7" fmla="*/ 8 h 10"/>
                <a:gd name="T8" fmla="*/ 0 w 33"/>
                <a:gd name="T9" fmla="*/ 10 h 10"/>
                <a:gd name="T10" fmla="*/ 1 w 33"/>
                <a:gd name="T11" fmla="*/ 9 h 10"/>
                <a:gd name="T12" fmla="*/ 5 w 33"/>
                <a:gd name="T13" fmla="*/ 9 h 10"/>
                <a:gd name="T14" fmla="*/ 13 w 33"/>
                <a:gd name="T15" fmla="*/ 8 h 10"/>
                <a:gd name="T16" fmla="*/ 14 w 33"/>
                <a:gd name="T17" fmla="*/ 8 h 10"/>
                <a:gd name="T18" fmla="*/ 18 w 33"/>
                <a:gd name="T19" fmla="*/ 8 h 10"/>
                <a:gd name="T20" fmla="*/ 18 w 33"/>
                <a:gd name="T21" fmla="*/ 8 h 10"/>
                <a:gd name="T22" fmla="*/ 20 w 33"/>
                <a:gd name="T23" fmla="*/ 8 h 10"/>
                <a:gd name="T24" fmla="*/ 21 w 33"/>
                <a:gd name="T25" fmla="*/ 9 h 10"/>
                <a:gd name="T26" fmla="*/ 22 w 33"/>
                <a:gd name="T27" fmla="*/ 9 h 10"/>
                <a:gd name="T28" fmla="*/ 23 w 33"/>
                <a:gd name="T29" fmla="*/ 9 h 10"/>
                <a:gd name="T30" fmla="*/ 25 w 33"/>
                <a:gd name="T31" fmla="*/ 10 h 10"/>
                <a:gd name="T32" fmla="*/ 26 w 33"/>
                <a:gd name="T33" fmla="*/ 10 h 10"/>
                <a:gd name="T34" fmla="*/ 26 w 33"/>
                <a:gd name="T35" fmla="*/ 9 h 10"/>
                <a:gd name="T36" fmla="*/ 31 w 33"/>
                <a:gd name="T37" fmla="*/ 7 h 10"/>
                <a:gd name="T38" fmla="*/ 30 w 33"/>
                <a:gd name="T39" fmla="*/ 5 h 10"/>
                <a:gd name="T40" fmla="*/ 31 w 33"/>
                <a:gd name="T41" fmla="*/ 2 h 10"/>
                <a:gd name="T42" fmla="*/ 33 w 33"/>
                <a:gd name="T43" fmla="*/ 2 h 10"/>
                <a:gd name="T44" fmla="*/ 33 w 33"/>
                <a:gd name="T45" fmla="*/ 2 h 10"/>
                <a:gd name="T46" fmla="*/ 32 w 33"/>
                <a:gd name="T47" fmla="*/ 1 h 10"/>
                <a:gd name="T48" fmla="*/ 31 w 33"/>
                <a:gd name="T49" fmla="*/ 1 h 10"/>
                <a:gd name="T50" fmla="*/ 31 w 33"/>
                <a:gd name="T51" fmla="*/ 2 h 10"/>
                <a:gd name="T52" fmla="*/ 30 w 33"/>
                <a:gd name="T53" fmla="*/ 3 h 10"/>
                <a:gd name="T54" fmla="*/ 29 w 33"/>
                <a:gd name="T55" fmla="*/ 3 h 10"/>
                <a:gd name="T56" fmla="*/ 28 w 33"/>
                <a:gd name="T57" fmla="*/ 3 h 10"/>
                <a:gd name="T58" fmla="*/ 28 w 33"/>
                <a:gd name="T59" fmla="*/ 3 h 10"/>
                <a:gd name="T60" fmla="*/ 23 w 33"/>
                <a:gd name="T61" fmla="*/ 4 h 10"/>
                <a:gd name="T62" fmla="*/ 22 w 33"/>
                <a:gd name="T63" fmla="*/ 5 h 10"/>
                <a:gd name="T64" fmla="*/ 19 w 33"/>
                <a:gd name="T65" fmla="*/ 5 h 10"/>
                <a:gd name="T66" fmla="*/ 17 w 33"/>
                <a:gd name="T67" fmla="*/ 5 h 10"/>
                <a:gd name="T68" fmla="*/ 17 w 33"/>
                <a:gd name="T69" fmla="*/ 5 h 10"/>
                <a:gd name="T70" fmla="*/ 16 w 33"/>
                <a:gd name="T71" fmla="*/ 5 h 10"/>
                <a:gd name="T72" fmla="*/ 15 w 33"/>
                <a:gd name="T73" fmla="*/ 2 h 10"/>
                <a:gd name="T74" fmla="*/ 15 w 33"/>
                <a:gd name="T75" fmla="*/ 1 h 10"/>
                <a:gd name="T76" fmla="*/ 13 w 33"/>
                <a:gd name="T7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10">
                  <a:moveTo>
                    <a:pt x="13" y="0"/>
                  </a:moveTo>
                  <a:cubicBezTo>
                    <a:pt x="12" y="0"/>
                    <a:pt x="12" y="0"/>
                    <a:pt x="11" y="1"/>
                  </a:cubicBezTo>
                  <a:cubicBezTo>
                    <a:pt x="11" y="1"/>
                    <a:pt x="10" y="1"/>
                    <a:pt x="10" y="1"/>
                  </a:cubicBezTo>
                  <a:cubicBezTo>
                    <a:pt x="7" y="3"/>
                    <a:pt x="4" y="5"/>
                    <a:pt x="2" y="8"/>
                  </a:cubicBezTo>
                  <a:cubicBezTo>
                    <a:pt x="1" y="9"/>
                    <a:pt x="1" y="9"/>
                    <a:pt x="0" y="10"/>
                  </a:cubicBezTo>
                  <a:cubicBezTo>
                    <a:pt x="1" y="9"/>
                    <a:pt x="1" y="9"/>
                    <a:pt x="1" y="9"/>
                  </a:cubicBezTo>
                  <a:cubicBezTo>
                    <a:pt x="5" y="9"/>
                    <a:pt x="5" y="9"/>
                    <a:pt x="5" y="9"/>
                  </a:cubicBezTo>
                  <a:cubicBezTo>
                    <a:pt x="7" y="9"/>
                    <a:pt x="10" y="9"/>
                    <a:pt x="13" y="8"/>
                  </a:cubicBezTo>
                  <a:cubicBezTo>
                    <a:pt x="14" y="8"/>
                    <a:pt x="14" y="8"/>
                    <a:pt x="14" y="8"/>
                  </a:cubicBezTo>
                  <a:cubicBezTo>
                    <a:pt x="15" y="8"/>
                    <a:pt x="17" y="8"/>
                    <a:pt x="18" y="8"/>
                  </a:cubicBezTo>
                  <a:cubicBezTo>
                    <a:pt x="18" y="8"/>
                    <a:pt x="18" y="8"/>
                    <a:pt x="18" y="8"/>
                  </a:cubicBezTo>
                  <a:cubicBezTo>
                    <a:pt x="19" y="8"/>
                    <a:pt x="19" y="8"/>
                    <a:pt x="20" y="8"/>
                  </a:cubicBezTo>
                  <a:cubicBezTo>
                    <a:pt x="20" y="8"/>
                    <a:pt x="21" y="8"/>
                    <a:pt x="21" y="9"/>
                  </a:cubicBezTo>
                  <a:cubicBezTo>
                    <a:pt x="22" y="9"/>
                    <a:pt x="22" y="9"/>
                    <a:pt x="22" y="9"/>
                  </a:cubicBezTo>
                  <a:cubicBezTo>
                    <a:pt x="23" y="9"/>
                    <a:pt x="23" y="9"/>
                    <a:pt x="23" y="9"/>
                  </a:cubicBezTo>
                  <a:cubicBezTo>
                    <a:pt x="24" y="9"/>
                    <a:pt x="25" y="10"/>
                    <a:pt x="25" y="10"/>
                  </a:cubicBezTo>
                  <a:cubicBezTo>
                    <a:pt x="25" y="10"/>
                    <a:pt x="26" y="10"/>
                    <a:pt x="26" y="10"/>
                  </a:cubicBezTo>
                  <a:cubicBezTo>
                    <a:pt x="26" y="9"/>
                    <a:pt x="26" y="9"/>
                    <a:pt x="26" y="9"/>
                  </a:cubicBezTo>
                  <a:cubicBezTo>
                    <a:pt x="28" y="9"/>
                    <a:pt x="29" y="8"/>
                    <a:pt x="31" y="7"/>
                  </a:cubicBezTo>
                  <a:cubicBezTo>
                    <a:pt x="30" y="7"/>
                    <a:pt x="30" y="6"/>
                    <a:pt x="30" y="5"/>
                  </a:cubicBezTo>
                  <a:cubicBezTo>
                    <a:pt x="30" y="4"/>
                    <a:pt x="30" y="3"/>
                    <a:pt x="31" y="2"/>
                  </a:cubicBezTo>
                  <a:cubicBezTo>
                    <a:pt x="32" y="2"/>
                    <a:pt x="32" y="2"/>
                    <a:pt x="33" y="2"/>
                  </a:cubicBezTo>
                  <a:cubicBezTo>
                    <a:pt x="33" y="2"/>
                    <a:pt x="33" y="2"/>
                    <a:pt x="33" y="2"/>
                  </a:cubicBezTo>
                  <a:cubicBezTo>
                    <a:pt x="32" y="2"/>
                    <a:pt x="32" y="2"/>
                    <a:pt x="32" y="1"/>
                  </a:cubicBezTo>
                  <a:cubicBezTo>
                    <a:pt x="31" y="1"/>
                    <a:pt x="31" y="1"/>
                    <a:pt x="31" y="1"/>
                  </a:cubicBezTo>
                  <a:cubicBezTo>
                    <a:pt x="31" y="2"/>
                    <a:pt x="31" y="2"/>
                    <a:pt x="31" y="2"/>
                  </a:cubicBezTo>
                  <a:cubicBezTo>
                    <a:pt x="30" y="3"/>
                    <a:pt x="30" y="3"/>
                    <a:pt x="30" y="3"/>
                  </a:cubicBezTo>
                  <a:cubicBezTo>
                    <a:pt x="29" y="3"/>
                    <a:pt x="29" y="3"/>
                    <a:pt x="29" y="3"/>
                  </a:cubicBezTo>
                  <a:cubicBezTo>
                    <a:pt x="29" y="3"/>
                    <a:pt x="28" y="3"/>
                    <a:pt x="28" y="3"/>
                  </a:cubicBezTo>
                  <a:cubicBezTo>
                    <a:pt x="28" y="3"/>
                    <a:pt x="28" y="3"/>
                    <a:pt x="28" y="3"/>
                  </a:cubicBezTo>
                  <a:cubicBezTo>
                    <a:pt x="27" y="3"/>
                    <a:pt x="25" y="4"/>
                    <a:pt x="23" y="4"/>
                  </a:cubicBezTo>
                  <a:cubicBezTo>
                    <a:pt x="23" y="5"/>
                    <a:pt x="22" y="5"/>
                    <a:pt x="22" y="5"/>
                  </a:cubicBezTo>
                  <a:cubicBezTo>
                    <a:pt x="20" y="5"/>
                    <a:pt x="19" y="5"/>
                    <a:pt x="19" y="5"/>
                  </a:cubicBezTo>
                  <a:cubicBezTo>
                    <a:pt x="18" y="5"/>
                    <a:pt x="18" y="5"/>
                    <a:pt x="17" y="5"/>
                  </a:cubicBezTo>
                  <a:cubicBezTo>
                    <a:pt x="17" y="5"/>
                    <a:pt x="17" y="5"/>
                    <a:pt x="17" y="5"/>
                  </a:cubicBezTo>
                  <a:cubicBezTo>
                    <a:pt x="16" y="5"/>
                    <a:pt x="16" y="5"/>
                    <a:pt x="16" y="5"/>
                  </a:cubicBezTo>
                  <a:cubicBezTo>
                    <a:pt x="15" y="3"/>
                    <a:pt x="15" y="3"/>
                    <a:pt x="15" y="2"/>
                  </a:cubicBezTo>
                  <a:cubicBezTo>
                    <a:pt x="15" y="1"/>
                    <a:pt x="15" y="1"/>
                    <a:pt x="15" y="1"/>
                  </a:cubicBezTo>
                  <a:cubicBezTo>
                    <a:pt x="14" y="1"/>
                    <a:pt x="14"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 name="Freeform 421">
              <a:extLst>
                <a:ext uri="{FF2B5EF4-FFF2-40B4-BE49-F238E27FC236}">
                  <a16:creationId xmlns:a16="http://schemas.microsoft.com/office/drawing/2014/main" id="{98348552-C48D-495F-82DB-F4790ED2292F}"/>
                </a:ext>
              </a:extLst>
            </p:cNvPr>
            <p:cNvSpPr>
              <a:spLocks/>
            </p:cNvSpPr>
            <p:nvPr/>
          </p:nvSpPr>
          <p:spPr bwMode="auto">
            <a:xfrm>
              <a:off x="2171839" y="4276240"/>
              <a:ext cx="717985" cy="617578"/>
            </a:xfrm>
            <a:custGeom>
              <a:avLst/>
              <a:gdLst>
                <a:gd name="T0" fmla="*/ 186 w 221"/>
                <a:gd name="T1" fmla="*/ 9 h 190"/>
                <a:gd name="T2" fmla="*/ 185 w 221"/>
                <a:gd name="T3" fmla="*/ 18 h 190"/>
                <a:gd name="T4" fmla="*/ 180 w 221"/>
                <a:gd name="T5" fmla="*/ 21 h 190"/>
                <a:gd name="T6" fmla="*/ 170 w 221"/>
                <a:gd name="T7" fmla="*/ 22 h 190"/>
                <a:gd name="T8" fmla="*/ 168 w 221"/>
                <a:gd name="T9" fmla="*/ 29 h 190"/>
                <a:gd name="T10" fmla="*/ 158 w 221"/>
                <a:gd name="T11" fmla="*/ 26 h 190"/>
                <a:gd name="T12" fmla="*/ 149 w 221"/>
                <a:gd name="T13" fmla="*/ 29 h 190"/>
                <a:gd name="T14" fmla="*/ 141 w 221"/>
                <a:gd name="T15" fmla="*/ 34 h 190"/>
                <a:gd name="T16" fmla="*/ 134 w 221"/>
                <a:gd name="T17" fmla="*/ 28 h 190"/>
                <a:gd name="T18" fmla="*/ 127 w 221"/>
                <a:gd name="T19" fmla="*/ 28 h 190"/>
                <a:gd name="T20" fmla="*/ 115 w 221"/>
                <a:gd name="T21" fmla="*/ 25 h 190"/>
                <a:gd name="T22" fmla="*/ 111 w 221"/>
                <a:gd name="T23" fmla="*/ 25 h 190"/>
                <a:gd name="T24" fmla="*/ 101 w 221"/>
                <a:gd name="T25" fmla="*/ 23 h 190"/>
                <a:gd name="T26" fmla="*/ 89 w 221"/>
                <a:gd name="T27" fmla="*/ 28 h 190"/>
                <a:gd name="T28" fmla="*/ 75 w 221"/>
                <a:gd name="T29" fmla="*/ 47 h 190"/>
                <a:gd name="T30" fmla="*/ 51 w 221"/>
                <a:gd name="T31" fmla="*/ 58 h 190"/>
                <a:gd name="T32" fmla="*/ 44 w 221"/>
                <a:gd name="T33" fmla="*/ 68 h 190"/>
                <a:gd name="T34" fmla="*/ 32 w 221"/>
                <a:gd name="T35" fmla="*/ 73 h 190"/>
                <a:gd name="T36" fmla="*/ 25 w 221"/>
                <a:gd name="T37" fmla="*/ 67 h 190"/>
                <a:gd name="T38" fmla="*/ 16 w 221"/>
                <a:gd name="T39" fmla="*/ 64 h 190"/>
                <a:gd name="T40" fmla="*/ 10 w 221"/>
                <a:gd name="T41" fmla="*/ 77 h 190"/>
                <a:gd name="T42" fmla="*/ 7 w 221"/>
                <a:gd name="T43" fmla="*/ 87 h 190"/>
                <a:gd name="T44" fmla="*/ 2 w 221"/>
                <a:gd name="T45" fmla="*/ 102 h 190"/>
                <a:gd name="T46" fmla="*/ 7 w 221"/>
                <a:gd name="T47" fmla="*/ 107 h 190"/>
                <a:gd name="T48" fmla="*/ 6 w 221"/>
                <a:gd name="T49" fmla="*/ 129 h 190"/>
                <a:gd name="T50" fmla="*/ 6 w 221"/>
                <a:gd name="T51" fmla="*/ 142 h 190"/>
                <a:gd name="T52" fmla="*/ 7 w 221"/>
                <a:gd name="T53" fmla="*/ 146 h 190"/>
                <a:gd name="T54" fmla="*/ 23 w 221"/>
                <a:gd name="T55" fmla="*/ 164 h 190"/>
                <a:gd name="T56" fmla="*/ 38 w 221"/>
                <a:gd name="T57" fmla="*/ 189 h 190"/>
                <a:gd name="T58" fmla="*/ 47 w 221"/>
                <a:gd name="T59" fmla="*/ 189 h 190"/>
                <a:gd name="T60" fmla="*/ 58 w 221"/>
                <a:gd name="T61" fmla="*/ 188 h 190"/>
                <a:gd name="T62" fmla="*/ 65 w 221"/>
                <a:gd name="T63" fmla="*/ 190 h 190"/>
                <a:gd name="T64" fmla="*/ 91 w 221"/>
                <a:gd name="T65" fmla="*/ 184 h 190"/>
                <a:gd name="T66" fmla="*/ 106 w 221"/>
                <a:gd name="T67" fmla="*/ 180 h 190"/>
                <a:gd name="T68" fmla="*/ 107 w 221"/>
                <a:gd name="T69" fmla="*/ 161 h 190"/>
                <a:gd name="T70" fmla="*/ 115 w 221"/>
                <a:gd name="T71" fmla="*/ 152 h 190"/>
                <a:gd name="T72" fmla="*/ 121 w 221"/>
                <a:gd name="T73" fmla="*/ 150 h 190"/>
                <a:gd name="T74" fmla="*/ 128 w 221"/>
                <a:gd name="T75" fmla="*/ 152 h 190"/>
                <a:gd name="T76" fmla="*/ 138 w 221"/>
                <a:gd name="T77" fmla="*/ 143 h 190"/>
                <a:gd name="T78" fmla="*/ 146 w 221"/>
                <a:gd name="T79" fmla="*/ 140 h 190"/>
                <a:gd name="T80" fmla="*/ 153 w 221"/>
                <a:gd name="T81" fmla="*/ 140 h 190"/>
                <a:gd name="T82" fmla="*/ 158 w 221"/>
                <a:gd name="T83" fmla="*/ 142 h 190"/>
                <a:gd name="T84" fmla="*/ 162 w 221"/>
                <a:gd name="T85" fmla="*/ 126 h 190"/>
                <a:gd name="T86" fmla="*/ 166 w 221"/>
                <a:gd name="T87" fmla="*/ 120 h 190"/>
                <a:gd name="T88" fmla="*/ 173 w 221"/>
                <a:gd name="T89" fmla="*/ 112 h 190"/>
                <a:gd name="T90" fmla="*/ 178 w 221"/>
                <a:gd name="T91" fmla="*/ 102 h 190"/>
                <a:gd name="T92" fmla="*/ 175 w 221"/>
                <a:gd name="T93" fmla="*/ 93 h 190"/>
                <a:gd name="T94" fmla="*/ 189 w 221"/>
                <a:gd name="T95" fmla="*/ 94 h 190"/>
                <a:gd name="T96" fmla="*/ 198 w 221"/>
                <a:gd name="T97" fmla="*/ 89 h 190"/>
                <a:gd name="T98" fmla="*/ 202 w 221"/>
                <a:gd name="T99" fmla="*/ 74 h 190"/>
                <a:gd name="T100" fmla="*/ 206 w 221"/>
                <a:gd name="T101" fmla="*/ 68 h 190"/>
                <a:gd name="T102" fmla="*/ 204 w 221"/>
                <a:gd name="T103" fmla="*/ 60 h 190"/>
                <a:gd name="T104" fmla="*/ 200 w 221"/>
                <a:gd name="T105" fmla="*/ 53 h 190"/>
                <a:gd name="T106" fmla="*/ 210 w 221"/>
                <a:gd name="T107" fmla="*/ 40 h 190"/>
                <a:gd name="T108" fmla="*/ 221 w 221"/>
                <a:gd name="T109" fmla="*/ 35 h 190"/>
                <a:gd name="T110" fmla="*/ 209 w 221"/>
                <a:gd name="T111" fmla="*/ 39 h 190"/>
                <a:gd name="T112" fmla="*/ 204 w 221"/>
                <a:gd name="T113" fmla="*/ 25 h 190"/>
                <a:gd name="T114" fmla="*/ 202 w 221"/>
                <a:gd name="T115" fmla="*/ 11 h 190"/>
                <a:gd name="T116" fmla="*/ 200 w 221"/>
                <a:gd name="T117" fmla="*/ 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1" h="190">
                  <a:moveTo>
                    <a:pt x="197" y="0"/>
                  </a:moveTo>
                  <a:cubicBezTo>
                    <a:pt x="196" y="0"/>
                    <a:pt x="196" y="0"/>
                    <a:pt x="196" y="0"/>
                  </a:cubicBezTo>
                  <a:cubicBezTo>
                    <a:pt x="195" y="0"/>
                    <a:pt x="194" y="1"/>
                    <a:pt x="194" y="1"/>
                  </a:cubicBezTo>
                  <a:cubicBezTo>
                    <a:pt x="192" y="2"/>
                    <a:pt x="191" y="4"/>
                    <a:pt x="190" y="5"/>
                  </a:cubicBezTo>
                  <a:cubicBezTo>
                    <a:pt x="189" y="6"/>
                    <a:pt x="188" y="7"/>
                    <a:pt x="187" y="8"/>
                  </a:cubicBezTo>
                  <a:cubicBezTo>
                    <a:pt x="186" y="9"/>
                    <a:pt x="186" y="9"/>
                    <a:pt x="186" y="9"/>
                  </a:cubicBezTo>
                  <a:cubicBezTo>
                    <a:pt x="186" y="10"/>
                    <a:pt x="185" y="10"/>
                    <a:pt x="184" y="11"/>
                  </a:cubicBezTo>
                  <a:cubicBezTo>
                    <a:pt x="184" y="11"/>
                    <a:pt x="184" y="11"/>
                    <a:pt x="184" y="11"/>
                  </a:cubicBezTo>
                  <a:cubicBezTo>
                    <a:pt x="184" y="11"/>
                    <a:pt x="184" y="11"/>
                    <a:pt x="184" y="11"/>
                  </a:cubicBezTo>
                  <a:cubicBezTo>
                    <a:pt x="185" y="12"/>
                    <a:pt x="185" y="13"/>
                    <a:pt x="186" y="14"/>
                  </a:cubicBezTo>
                  <a:cubicBezTo>
                    <a:pt x="186" y="14"/>
                    <a:pt x="186" y="15"/>
                    <a:pt x="186" y="15"/>
                  </a:cubicBezTo>
                  <a:cubicBezTo>
                    <a:pt x="186" y="16"/>
                    <a:pt x="185" y="17"/>
                    <a:pt x="185" y="18"/>
                  </a:cubicBezTo>
                  <a:cubicBezTo>
                    <a:pt x="184" y="19"/>
                    <a:pt x="184" y="19"/>
                    <a:pt x="183" y="20"/>
                  </a:cubicBezTo>
                  <a:cubicBezTo>
                    <a:pt x="183" y="20"/>
                    <a:pt x="183" y="20"/>
                    <a:pt x="183" y="20"/>
                  </a:cubicBezTo>
                  <a:cubicBezTo>
                    <a:pt x="183" y="24"/>
                    <a:pt x="183" y="24"/>
                    <a:pt x="183" y="24"/>
                  </a:cubicBezTo>
                  <a:cubicBezTo>
                    <a:pt x="181" y="20"/>
                    <a:pt x="181" y="20"/>
                    <a:pt x="181" y="20"/>
                  </a:cubicBezTo>
                  <a:cubicBezTo>
                    <a:pt x="181" y="20"/>
                    <a:pt x="181" y="20"/>
                    <a:pt x="181" y="20"/>
                  </a:cubicBezTo>
                  <a:cubicBezTo>
                    <a:pt x="181" y="21"/>
                    <a:pt x="180" y="21"/>
                    <a:pt x="180" y="21"/>
                  </a:cubicBezTo>
                  <a:cubicBezTo>
                    <a:pt x="180" y="21"/>
                    <a:pt x="180" y="21"/>
                    <a:pt x="180" y="21"/>
                  </a:cubicBezTo>
                  <a:cubicBezTo>
                    <a:pt x="179" y="21"/>
                    <a:pt x="177" y="20"/>
                    <a:pt x="176" y="20"/>
                  </a:cubicBezTo>
                  <a:cubicBezTo>
                    <a:pt x="176" y="20"/>
                    <a:pt x="175" y="20"/>
                    <a:pt x="175" y="20"/>
                  </a:cubicBezTo>
                  <a:cubicBezTo>
                    <a:pt x="174" y="20"/>
                    <a:pt x="172" y="20"/>
                    <a:pt x="171" y="20"/>
                  </a:cubicBezTo>
                  <a:cubicBezTo>
                    <a:pt x="171" y="20"/>
                    <a:pt x="171" y="20"/>
                    <a:pt x="171" y="20"/>
                  </a:cubicBezTo>
                  <a:cubicBezTo>
                    <a:pt x="171" y="20"/>
                    <a:pt x="170" y="21"/>
                    <a:pt x="170" y="22"/>
                  </a:cubicBezTo>
                  <a:cubicBezTo>
                    <a:pt x="170" y="24"/>
                    <a:pt x="170" y="24"/>
                    <a:pt x="170" y="24"/>
                  </a:cubicBezTo>
                  <a:cubicBezTo>
                    <a:pt x="170" y="25"/>
                    <a:pt x="170" y="25"/>
                    <a:pt x="170" y="25"/>
                  </a:cubicBezTo>
                  <a:cubicBezTo>
                    <a:pt x="170" y="25"/>
                    <a:pt x="169" y="26"/>
                    <a:pt x="169" y="26"/>
                  </a:cubicBezTo>
                  <a:cubicBezTo>
                    <a:pt x="169" y="27"/>
                    <a:pt x="169" y="28"/>
                    <a:pt x="168" y="28"/>
                  </a:cubicBezTo>
                  <a:cubicBezTo>
                    <a:pt x="172" y="31"/>
                    <a:pt x="172" y="31"/>
                    <a:pt x="172" y="31"/>
                  </a:cubicBezTo>
                  <a:cubicBezTo>
                    <a:pt x="168" y="29"/>
                    <a:pt x="168" y="29"/>
                    <a:pt x="168" y="29"/>
                  </a:cubicBezTo>
                  <a:cubicBezTo>
                    <a:pt x="167" y="29"/>
                    <a:pt x="167" y="30"/>
                    <a:pt x="166" y="30"/>
                  </a:cubicBezTo>
                  <a:cubicBezTo>
                    <a:pt x="165" y="30"/>
                    <a:pt x="165" y="30"/>
                    <a:pt x="165" y="30"/>
                  </a:cubicBezTo>
                  <a:cubicBezTo>
                    <a:pt x="164" y="30"/>
                    <a:pt x="164" y="30"/>
                    <a:pt x="163" y="30"/>
                  </a:cubicBezTo>
                  <a:cubicBezTo>
                    <a:pt x="162" y="29"/>
                    <a:pt x="161" y="28"/>
                    <a:pt x="160" y="28"/>
                  </a:cubicBezTo>
                  <a:cubicBezTo>
                    <a:pt x="158" y="26"/>
                    <a:pt x="158" y="26"/>
                    <a:pt x="158" y="26"/>
                  </a:cubicBezTo>
                  <a:cubicBezTo>
                    <a:pt x="158" y="26"/>
                    <a:pt x="158" y="26"/>
                    <a:pt x="158" y="26"/>
                  </a:cubicBezTo>
                  <a:cubicBezTo>
                    <a:pt x="158" y="26"/>
                    <a:pt x="157" y="26"/>
                    <a:pt x="157" y="26"/>
                  </a:cubicBezTo>
                  <a:cubicBezTo>
                    <a:pt x="156" y="26"/>
                    <a:pt x="156" y="26"/>
                    <a:pt x="156" y="26"/>
                  </a:cubicBezTo>
                  <a:cubicBezTo>
                    <a:pt x="156" y="26"/>
                    <a:pt x="156" y="26"/>
                    <a:pt x="156" y="26"/>
                  </a:cubicBezTo>
                  <a:cubicBezTo>
                    <a:pt x="155" y="27"/>
                    <a:pt x="155" y="27"/>
                    <a:pt x="154" y="27"/>
                  </a:cubicBezTo>
                  <a:cubicBezTo>
                    <a:pt x="153" y="28"/>
                    <a:pt x="151" y="29"/>
                    <a:pt x="149" y="29"/>
                  </a:cubicBezTo>
                  <a:cubicBezTo>
                    <a:pt x="149" y="29"/>
                    <a:pt x="149" y="29"/>
                    <a:pt x="149" y="29"/>
                  </a:cubicBezTo>
                  <a:cubicBezTo>
                    <a:pt x="148" y="30"/>
                    <a:pt x="148" y="30"/>
                    <a:pt x="148" y="30"/>
                  </a:cubicBezTo>
                  <a:cubicBezTo>
                    <a:pt x="146" y="31"/>
                    <a:pt x="145" y="31"/>
                    <a:pt x="145" y="32"/>
                  </a:cubicBezTo>
                  <a:cubicBezTo>
                    <a:pt x="145" y="32"/>
                    <a:pt x="145" y="32"/>
                    <a:pt x="145" y="32"/>
                  </a:cubicBezTo>
                  <a:cubicBezTo>
                    <a:pt x="145" y="33"/>
                    <a:pt x="145" y="33"/>
                    <a:pt x="145" y="33"/>
                  </a:cubicBezTo>
                  <a:cubicBezTo>
                    <a:pt x="144" y="32"/>
                    <a:pt x="144" y="32"/>
                    <a:pt x="144" y="32"/>
                  </a:cubicBezTo>
                  <a:cubicBezTo>
                    <a:pt x="143" y="33"/>
                    <a:pt x="142" y="34"/>
                    <a:pt x="141" y="34"/>
                  </a:cubicBezTo>
                  <a:cubicBezTo>
                    <a:pt x="140" y="34"/>
                    <a:pt x="140" y="34"/>
                    <a:pt x="140" y="34"/>
                  </a:cubicBezTo>
                  <a:cubicBezTo>
                    <a:pt x="139" y="34"/>
                    <a:pt x="139" y="33"/>
                    <a:pt x="138" y="32"/>
                  </a:cubicBezTo>
                  <a:cubicBezTo>
                    <a:pt x="135" y="30"/>
                    <a:pt x="135" y="30"/>
                    <a:pt x="135" y="30"/>
                  </a:cubicBezTo>
                  <a:cubicBezTo>
                    <a:pt x="135" y="30"/>
                    <a:pt x="134" y="29"/>
                    <a:pt x="134" y="29"/>
                  </a:cubicBezTo>
                  <a:cubicBezTo>
                    <a:pt x="134" y="29"/>
                    <a:pt x="134" y="29"/>
                    <a:pt x="134" y="29"/>
                  </a:cubicBezTo>
                  <a:cubicBezTo>
                    <a:pt x="134" y="28"/>
                    <a:pt x="134" y="28"/>
                    <a:pt x="134" y="28"/>
                  </a:cubicBezTo>
                  <a:cubicBezTo>
                    <a:pt x="133" y="28"/>
                    <a:pt x="133" y="28"/>
                    <a:pt x="133" y="28"/>
                  </a:cubicBezTo>
                  <a:cubicBezTo>
                    <a:pt x="133" y="28"/>
                    <a:pt x="132" y="28"/>
                    <a:pt x="132" y="28"/>
                  </a:cubicBezTo>
                  <a:cubicBezTo>
                    <a:pt x="131" y="28"/>
                    <a:pt x="130" y="29"/>
                    <a:pt x="130" y="29"/>
                  </a:cubicBezTo>
                  <a:cubicBezTo>
                    <a:pt x="130" y="29"/>
                    <a:pt x="130" y="29"/>
                    <a:pt x="130" y="29"/>
                  </a:cubicBezTo>
                  <a:cubicBezTo>
                    <a:pt x="129" y="29"/>
                    <a:pt x="128" y="28"/>
                    <a:pt x="127" y="28"/>
                  </a:cubicBezTo>
                  <a:cubicBezTo>
                    <a:pt x="127" y="28"/>
                    <a:pt x="127" y="28"/>
                    <a:pt x="127" y="28"/>
                  </a:cubicBezTo>
                  <a:cubicBezTo>
                    <a:pt x="125" y="28"/>
                    <a:pt x="124" y="27"/>
                    <a:pt x="123" y="27"/>
                  </a:cubicBezTo>
                  <a:cubicBezTo>
                    <a:pt x="122" y="26"/>
                    <a:pt x="122" y="26"/>
                    <a:pt x="122" y="26"/>
                  </a:cubicBezTo>
                  <a:cubicBezTo>
                    <a:pt x="122" y="25"/>
                    <a:pt x="121" y="25"/>
                    <a:pt x="120" y="25"/>
                  </a:cubicBezTo>
                  <a:cubicBezTo>
                    <a:pt x="120" y="25"/>
                    <a:pt x="119" y="25"/>
                    <a:pt x="118" y="25"/>
                  </a:cubicBezTo>
                  <a:cubicBezTo>
                    <a:pt x="115" y="24"/>
                    <a:pt x="115" y="24"/>
                    <a:pt x="115" y="24"/>
                  </a:cubicBezTo>
                  <a:cubicBezTo>
                    <a:pt x="115" y="25"/>
                    <a:pt x="115" y="25"/>
                    <a:pt x="115" y="25"/>
                  </a:cubicBezTo>
                  <a:cubicBezTo>
                    <a:pt x="113" y="25"/>
                    <a:pt x="113" y="25"/>
                    <a:pt x="113" y="25"/>
                  </a:cubicBezTo>
                  <a:cubicBezTo>
                    <a:pt x="113" y="25"/>
                    <a:pt x="113" y="25"/>
                    <a:pt x="113" y="25"/>
                  </a:cubicBezTo>
                  <a:cubicBezTo>
                    <a:pt x="112" y="25"/>
                    <a:pt x="112" y="25"/>
                    <a:pt x="112" y="25"/>
                  </a:cubicBezTo>
                  <a:cubicBezTo>
                    <a:pt x="111" y="25"/>
                    <a:pt x="111" y="25"/>
                    <a:pt x="111" y="25"/>
                  </a:cubicBezTo>
                  <a:cubicBezTo>
                    <a:pt x="111" y="25"/>
                    <a:pt x="111" y="25"/>
                    <a:pt x="111" y="25"/>
                  </a:cubicBezTo>
                  <a:cubicBezTo>
                    <a:pt x="111" y="25"/>
                    <a:pt x="111" y="25"/>
                    <a:pt x="111" y="25"/>
                  </a:cubicBezTo>
                  <a:cubicBezTo>
                    <a:pt x="110" y="25"/>
                    <a:pt x="109" y="25"/>
                    <a:pt x="108" y="25"/>
                  </a:cubicBezTo>
                  <a:cubicBezTo>
                    <a:pt x="108" y="25"/>
                    <a:pt x="108" y="25"/>
                    <a:pt x="108" y="25"/>
                  </a:cubicBezTo>
                  <a:cubicBezTo>
                    <a:pt x="107" y="25"/>
                    <a:pt x="106" y="25"/>
                    <a:pt x="105" y="24"/>
                  </a:cubicBezTo>
                  <a:cubicBezTo>
                    <a:pt x="105" y="24"/>
                    <a:pt x="105" y="24"/>
                    <a:pt x="105" y="24"/>
                  </a:cubicBezTo>
                  <a:cubicBezTo>
                    <a:pt x="104" y="24"/>
                    <a:pt x="104" y="24"/>
                    <a:pt x="103" y="23"/>
                  </a:cubicBezTo>
                  <a:cubicBezTo>
                    <a:pt x="101" y="23"/>
                    <a:pt x="101" y="23"/>
                    <a:pt x="101" y="23"/>
                  </a:cubicBezTo>
                  <a:cubicBezTo>
                    <a:pt x="101" y="22"/>
                    <a:pt x="100" y="22"/>
                    <a:pt x="100" y="22"/>
                  </a:cubicBezTo>
                  <a:cubicBezTo>
                    <a:pt x="99" y="21"/>
                    <a:pt x="99" y="21"/>
                    <a:pt x="99" y="21"/>
                  </a:cubicBezTo>
                  <a:cubicBezTo>
                    <a:pt x="98" y="22"/>
                    <a:pt x="98" y="22"/>
                    <a:pt x="98" y="22"/>
                  </a:cubicBezTo>
                  <a:cubicBezTo>
                    <a:pt x="97" y="24"/>
                    <a:pt x="95" y="26"/>
                    <a:pt x="93" y="27"/>
                  </a:cubicBezTo>
                  <a:cubicBezTo>
                    <a:pt x="93" y="27"/>
                    <a:pt x="92" y="27"/>
                    <a:pt x="91" y="28"/>
                  </a:cubicBezTo>
                  <a:cubicBezTo>
                    <a:pt x="90" y="28"/>
                    <a:pt x="90" y="28"/>
                    <a:pt x="89" y="28"/>
                  </a:cubicBezTo>
                  <a:cubicBezTo>
                    <a:pt x="89" y="28"/>
                    <a:pt x="89" y="28"/>
                    <a:pt x="89" y="28"/>
                  </a:cubicBezTo>
                  <a:cubicBezTo>
                    <a:pt x="78" y="38"/>
                    <a:pt x="78" y="38"/>
                    <a:pt x="78" y="38"/>
                  </a:cubicBezTo>
                  <a:cubicBezTo>
                    <a:pt x="78" y="38"/>
                    <a:pt x="78" y="38"/>
                    <a:pt x="78" y="38"/>
                  </a:cubicBezTo>
                  <a:cubicBezTo>
                    <a:pt x="78" y="39"/>
                    <a:pt x="78" y="39"/>
                    <a:pt x="78" y="40"/>
                  </a:cubicBezTo>
                  <a:cubicBezTo>
                    <a:pt x="78" y="42"/>
                    <a:pt x="78" y="45"/>
                    <a:pt x="75" y="47"/>
                  </a:cubicBezTo>
                  <a:cubicBezTo>
                    <a:pt x="75" y="47"/>
                    <a:pt x="75" y="47"/>
                    <a:pt x="75" y="47"/>
                  </a:cubicBezTo>
                  <a:cubicBezTo>
                    <a:pt x="73" y="49"/>
                    <a:pt x="71" y="50"/>
                    <a:pt x="68" y="51"/>
                  </a:cubicBezTo>
                  <a:cubicBezTo>
                    <a:pt x="67" y="52"/>
                    <a:pt x="65" y="53"/>
                    <a:pt x="62" y="54"/>
                  </a:cubicBezTo>
                  <a:cubicBezTo>
                    <a:pt x="60" y="54"/>
                    <a:pt x="60" y="54"/>
                    <a:pt x="60" y="54"/>
                  </a:cubicBezTo>
                  <a:cubicBezTo>
                    <a:pt x="59" y="55"/>
                    <a:pt x="57" y="56"/>
                    <a:pt x="56" y="56"/>
                  </a:cubicBezTo>
                  <a:cubicBezTo>
                    <a:pt x="55" y="57"/>
                    <a:pt x="53" y="57"/>
                    <a:pt x="52" y="57"/>
                  </a:cubicBezTo>
                  <a:cubicBezTo>
                    <a:pt x="51" y="58"/>
                    <a:pt x="51" y="58"/>
                    <a:pt x="51" y="58"/>
                  </a:cubicBezTo>
                  <a:cubicBezTo>
                    <a:pt x="51" y="58"/>
                    <a:pt x="51" y="58"/>
                    <a:pt x="51" y="58"/>
                  </a:cubicBezTo>
                  <a:cubicBezTo>
                    <a:pt x="52" y="60"/>
                    <a:pt x="50" y="61"/>
                    <a:pt x="49" y="63"/>
                  </a:cubicBezTo>
                  <a:cubicBezTo>
                    <a:pt x="49" y="64"/>
                    <a:pt x="49" y="64"/>
                    <a:pt x="49" y="64"/>
                  </a:cubicBezTo>
                  <a:cubicBezTo>
                    <a:pt x="48" y="65"/>
                    <a:pt x="46" y="67"/>
                    <a:pt x="44" y="68"/>
                  </a:cubicBezTo>
                  <a:cubicBezTo>
                    <a:pt x="44" y="68"/>
                    <a:pt x="44" y="68"/>
                    <a:pt x="44" y="68"/>
                  </a:cubicBezTo>
                  <a:cubicBezTo>
                    <a:pt x="44" y="68"/>
                    <a:pt x="44" y="68"/>
                    <a:pt x="44" y="68"/>
                  </a:cubicBezTo>
                  <a:cubicBezTo>
                    <a:pt x="43" y="69"/>
                    <a:pt x="42" y="69"/>
                    <a:pt x="42" y="69"/>
                  </a:cubicBezTo>
                  <a:cubicBezTo>
                    <a:pt x="41" y="69"/>
                    <a:pt x="40" y="69"/>
                    <a:pt x="40" y="69"/>
                  </a:cubicBezTo>
                  <a:cubicBezTo>
                    <a:pt x="38" y="69"/>
                    <a:pt x="38" y="69"/>
                    <a:pt x="38" y="69"/>
                  </a:cubicBezTo>
                  <a:cubicBezTo>
                    <a:pt x="37" y="70"/>
                    <a:pt x="36" y="70"/>
                    <a:pt x="35" y="71"/>
                  </a:cubicBezTo>
                  <a:cubicBezTo>
                    <a:pt x="35" y="71"/>
                    <a:pt x="35" y="71"/>
                    <a:pt x="35" y="71"/>
                  </a:cubicBezTo>
                  <a:cubicBezTo>
                    <a:pt x="34" y="72"/>
                    <a:pt x="34" y="72"/>
                    <a:pt x="32" y="73"/>
                  </a:cubicBezTo>
                  <a:cubicBezTo>
                    <a:pt x="32" y="73"/>
                    <a:pt x="32" y="73"/>
                    <a:pt x="32" y="73"/>
                  </a:cubicBezTo>
                  <a:cubicBezTo>
                    <a:pt x="31" y="73"/>
                    <a:pt x="30" y="72"/>
                    <a:pt x="28" y="70"/>
                  </a:cubicBezTo>
                  <a:cubicBezTo>
                    <a:pt x="27" y="69"/>
                    <a:pt x="27" y="69"/>
                    <a:pt x="27" y="69"/>
                  </a:cubicBezTo>
                  <a:cubicBezTo>
                    <a:pt x="26" y="68"/>
                    <a:pt x="26" y="68"/>
                    <a:pt x="26" y="68"/>
                  </a:cubicBezTo>
                  <a:cubicBezTo>
                    <a:pt x="26" y="68"/>
                    <a:pt x="26" y="68"/>
                    <a:pt x="26" y="68"/>
                  </a:cubicBezTo>
                  <a:cubicBezTo>
                    <a:pt x="25" y="67"/>
                    <a:pt x="25" y="67"/>
                    <a:pt x="25" y="67"/>
                  </a:cubicBezTo>
                  <a:cubicBezTo>
                    <a:pt x="25" y="67"/>
                    <a:pt x="25" y="67"/>
                    <a:pt x="25" y="67"/>
                  </a:cubicBezTo>
                  <a:cubicBezTo>
                    <a:pt x="24" y="66"/>
                    <a:pt x="23" y="66"/>
                    <a:pt x="22" y="65"/>
                  </a:cubicBezTo>
                  <a:cubicBezTo>
                    <a:pt x="22" y="65"/>
                    <a:pt x="22" y="65"/>
                    <a:pt x="22" y="65"/>
                  </a:cubicBezTo>
                  <a:cubicBezTo>
                    <a:pt x="21" y="65"/>
                    <a:pt x="21" y="65"/>
                    <a:pt x="20" y="65"/>
                  </a:cubicBezTo>
                  <a:cubicBezTo>
                    <a:pt x="19" y="65"/>
                    <a:pt x="18" y="65"/>
                    <a:pt x="17" y="65"/>
                  </a:cubicBezTo>
                  <a:cubicBezTo>
                    <a:pt x="16" y="64"/>
                    <a:pt x="16" y="64"/>
                    <a:pt x="16" y="64"/>
                  </a:cubicBezTo>
                  <a:cubicBezTo>
                    <a:pt x="15" y="64"/>
                    <a:pt x="15" y="64"/>
                    <a:pt x="15" y="64"/>
                  </a:cubicBezTo>
                  <a:cubicBezTo>
                    <a:pt x="13" y="67"/>
                    <a:pt x="13" y="67"/>
                    <a:pt x="13" y="67"/>
                  </a:cubicBezTo>
                  <a:cubicBezTo>
                    <a:pt x="11" y="72"/>
                    <a:pt x="11" y="72"/>
                    <a:pt x="11" y="72"/>
                  </a:cubicBezTo>
                  <a:cubicBezTo>
                    <a:pt x="11" y="73"/>
                    <a:pt x="11" y="73"/>
                    <a:pt x="11" y="74"/>
                  </a:cubicBezTo>
                  <a:cubicBezTo>
                    <a:pt x="11" y="76"/>
                    <a:pt x="11" y="76"/>
                    <a:pt x="11" y="76"/>
                  </a:cubicBezTo>
                  <a:cubicBezTo>
                    <a:pt x="10" y="77"/>
                    <a:pt x="10" y="77"/>
                    <a:pt x="10" y="77"/>
                  </a:cubicBezTo>
                  <a:cubicBezTo>
                    <a:pt x="10" y="77"/>
                    <a:pt x="10" y="77"/>
                    <a:pt x="10" y="77"/>
                  </a:cubicBezTo>
                  <a:cubicBezTo>
                    <a:pt x="10" y="79"/>
                    <a:pt x="9" y="80"/>
                    <a:pt x="7" y="82"/>
                  </a:cubicBezTo>
                  <a:cubicBezTo>
                    <a:pt x="6" y="83"/>
                    <a:pt x="6" y="83"/>
                    <a:pt x="6" y="83"/>
                  </a:cubicBezTo>
                  <a:cubicBezTo>
                    <a:pt x="6" y="83"/>
                    <a:pt x="5" y="84"/>
                    <a:pt x="5" y="84"/>
                  </a:cubicBezTo>
                  <a:cubicBezTo>
                    <a:pt x="5" y="84"/>
                    <a:pt x="6" y="85"/>
                    <a:pt x="6" y="86"/>
                  </a:cubicBezTo>
                  <a:cubicBezTo>
                    <a:pt x="7" y="87"/>
                    <a:pt x="7" y="87"/>
                    <a:pt x="7" y="87"/>
                  </a:cubicBezTo>
                  <a:cubicBezTo>
                    <a:pt x="0" y="95"/>
                    <a:pt x="0" y="95"/>
                    <a:pt x="0" y="95"/>
                  </a:cubicBezTo>
                  <a:cubicBezTo>
                    <a:pt x="0" y="95"/>
                    <a:pt x="0" y="96"/>
                    <a:pt x="0" y="98"/>
                  </a:cubicBezTo>
                  <a:cubicBezTo>
                    <a:pt x="0" y="99"/>
                    <a:pt x="0" y="100"/>
                    <a:pt x="0" y="100"/>
                  </a:cubicBezTo>
                  <a:cubicBezTo>
                    <a:pt x="0" y="101"/>
                    <a:pt x="0" y="101"/>
                    <a:pt x="0" y="101"/>
                  </a:cubicBezTo>
                  <a:cubicBezTo>
                    <a:pt x="0" y="102"/>
                    <a:pt x="0" y="102"/>
                    <a:pt x="0" y="102"/>
                  </a:cubicBezTo>
                  <a:cubicBezTo>
                    <a:pt x="0" y="102"/>
                    <a:pt x="1" y="102"/>
                    <a:pt x="2" y="102"/>
                  </a:cubicBezTo>
                  <a:cubicBezTo>
                    <a:pt x="2" y="102"/>
                    <a:pt x="2" y="102"/>
                    <a:pt x="2" y="102"/>
                  </a:cubicBezTo>
                  <a:cubicBezTo>
                    <a:pt x="3" y="102"/>
                    <a:pt x="3" y="103"/>
                    <a:pt x="4" y="103"/>
                  </a:cubicBezTo>
                  <a:cubicBezTo>
                    <a:pt x="4" y="103"/>
                    <a:pt x="4" y="103"/>
                    <a:pt x="4" y="103"/>
                  </a:cubicBezTo>
                  <a:cubicBezTo>
                    <a:pt x="5" y="103"/>
                    <a:pt x="6" y="103"/>
                    <a:pt x="6" y="103"/>
                  </a:cubicBezTo>
                  <a:cubicBezTo>
                    <a:pt x="10" y="104"/>
                    <a:pt x="10" y="104"/>
                    <a:pt x="10" y="104"/>
                  </a:cubicBezTo>
                  <a:cubicBezTo>
                    <a:pt x="7" y="107"/>
                    <a:pt x="7" y="107"/>
                    <a:pt x="7" y="107"/>
                  </a:cubicBezTo>
                  <a:cubicBezTo>
                    <a:pt x="7" y="108"/>
                    <a:pt x="6" y="108"/>
                    <a:pt x="6" y="109"/>
                  </a:cubicBezTo>
                  <a:cubicBezTo>
                    <a:pt x="5" y="109"/>
                    <a:pt x="5" y="109"/>
                    <a:pt x="5" y="109"/>
                  </a:cubicBezTo>
                  <a:cubicBezTo>
                    <a:pt x="3" y="111"/>
                    <a:pt x="2" y="113"/>
                    <a:pt x="1" y="114"/>
                  </a:cubicBezTo>
                  <a:cubicBezTo>
                    <a:pt x="5" y="126"/>
                    <a:pt x="5" y="126"/>
                    <a:pt x="5" y="126"/>
                  </a:cubicBezTo>
                  <a:cubicBezTo>
                    <a:pt x="5" y="127"/>
                    <a:pt x="5" y="127"/>
                    <a:pt x="5" y="127"/>
                  </a:cubicBezTo>
                  <a:cubicBezTo>
                    <a:pt x="6" y="129"/>
                    <a:pt x="6" y="129"/>
                    <a:pt x="6" y="129"/>
                  </a:cubicBezTo>
                  <a:cubicBezTo>
                    <a:pt x="6" y="130"/>
                    <a:pt x="6" y="131"/>
                    <a:pt x="6" y="131"/>
                  </a:cubicBezTo>
                  <a:cubicBezTo>
                    <a:pt x="6" y="133"/>
                    <a:pt x="6" y="135"/>
                    <a:pt x="6" y="136"/>
                  </a:cubicBezTo>
                  <a:cubicBezTo>
                    <a:pt x="6" y="137"/>
                    <a:pt x="6" y="138"/>
                    <a:pt x="6" y="139"/>
                  </a:cubicBezTo>
                  <a:cubicBezTo>
                    <a:pt x="6" y="140"/>
                    <a:pt x="6" y="140"/>
                    <a:pt x="6" y="140"/>
                  </a:cubicBezTo>
                  <a:cubicBezTo>
                    <a:pt x="6" y="140"/>
                    <a:pt x="6" y="141"/>
                    <a:pt x="6" y="141"/>
                  </a:cubicBezTo>
                  <a:cubicBezTo>
                    <a:pt x="6" y="142"/>
                    <a:pt x="6" y="142"/>
                    <a:pt x="6" y="142"/>
                  </a:cubicBezTo>
                  <a:cubicBezTo>
                    <a:pt x="10" y="141"/>
                    <a:pt x="10" y="141"/>
                    <a:pt x="10" y="141"/>
                  </a:cubicBezTo>
                  <a:cubicBezTo>
                    <a:pt x="6" y="143"/>
                    <a:pt x="6" y="143"/>
                    <a:pt x="6" y="143"/>
                  </a:cubicBezTo>
                  <a:cubicBezTo>
                    <a:pt x="6" y="143"/>
                    <a:pt x="6" y="143"/>
                    <a:pt x="6" y="143"/>
                  </a:cubicBezTo>
                  <a:cubicBezTo>
                    <a:pt x="6" y="144"/>
                    <a:pt x="6" y="144"/>
                    <a:pt x="6" y="145"/>
                  </a:cubicBezTo>
                  <a:cubicBezTo>
                    <a:pt x="6" y="145"/>
                    <a:pt x="6" y="146"/>
                    <a:pt x="6" y="146"/>
                  </a:cubicBezTo>
                  <a:cubicBezTo>
                    <a:pt x="7" y="146"/>
                    <a:pt x="7" y="146"/>
                    <a:pt x="7" y="146"/>
                  </a:cubicBezTo>
                  <a:cubicBezTo>
                    <a:pt x="17" y="148"/>
                    <a:pt x="17" y="148"/>
                    <a:pt x="17" y="148"/>
                  </a:cubicBezTo>
                  <a:cubicBezTo>
                    <a:pt x="19" y="148"/>
                    <a:pt x="20" y="149"/>
                    <a:pt x="21" y="150"/>
                  </a:cubicBezTo>
                  <a:cubicBezTo>
                    <a:pt x="23" y="153"/>
                    <a:pt x="23" y="153"/>
                    <a:pt x="23" y="153"/>
                  </a:cubicBezTo>
                  <a:cubicBezTo>
                    <a:pt x="23" y="153"/>
                    <a:pt x="23" y="154"/>
                    <a:pt x="24" y="154"/>
                  </a:cubicBezTo>
                  <a:cubicBezTo>
                    <a:pt x="24" y="155"/>
                    <a:pt x="25" y="156"/>
                    <a:pt x="25" y="157"/>
                  </a:cubicBezTo>
                  <a:cubicBezTo>
                    <a:pt x="25" y="159"/>
                    <a:pt x="25" y="161"/>
                    <a:pt x="23" y="164"/>
                  </a:cubicBezTo>
                  <a:cubicBezTo>
                    <a:pt x="22" y="166"/>
                    <a:pt x="20" y="167"/>
                    <a:pt x="19" y="169"/>
                  </a:cubicBezTo>
                  <a:cubicBezTo>
                    <a:pt x="19" y="169"/>
                    <a:pt x="18" y="170"/>
                    <a:pt x="18" y="170"/>
                  </a:cubicBezTo>
                  <a:cubicBezTo>
                    <a:pt x="16" y="173"/>
                    <a:pt x="16" y="173"/>
                    <a:pt x="16" y="173"/>
                  </a:cubicBezTo>
                  <a:cubicBezTo>
                    <a:pt x="15" y="174"/>
                    <a:pt x="14" y="175"/>
                    <a:pt x="12" y="177"/>
                  </a:cubicBezTo>
                  <a:cubicBezTo>
                    <a:pt x="8" y="181"/>
                    <a:pt x="8" y="181"/>
                    <a:pt x="8" y="181"/>
                  </a:cubicBezTo>
                  <a:cubicBezTo>
                    <a:pt x="38" y="189"/>
                    <a:pt x="38" y="189"/>
                    <a:pt x="38" y="189"/>
                  </a:cubicBezTo>
                  <a:cubicBezTo>
                    <a:pt x="39" y="190"/>
                    <a:pt x="39" y="190"/>
                    <a:pt x="39" y="190"/>
                  </a:cubicBezTo>
                  <a:cubicBezTo>
                    <a:pt x="39" y="190"/>
                    <a:pt x="39" y="190"/>
                    <a:pt x="39" y="190"/>
                  </a:cubicBezTo>
                  <a:cubicBezTo>
                    <a:pt x="40" y="189"/>
                    <a:pt x="40" y="189"/>
                    <a:pt x="41" y="189"/>
                  </a:cubicBezTo>
                  <a:cubicBezTo>
                    <a:pt x="41" y="189"/>
                    <a:pt x="41" y="189"/>
                    <a:pt x="41" y="189"/>
                  </a:cubicBezTo>
                  <a:cubicBezTo>
                    <a:pt x="42" y="189"/>
                    <a:pt x="43" y="189"/>
                    <a:pt x="43" y="189"/>
                  </a:cubicBezTo>
                  <a:cubicBezTo>
                    <a:pt x="47" y="189"/>
                    <a:pt x="47" y="189"/>
                    <a:pt x="47" y="189"/>
                  </a:cubicBezTo>
                  <a:cubicBezTo>
                    <a:pt x="47" y="189"/>
                    <a:pt x="47" y="189"/>
                    <a:pt x="47" y="189"/>
                  </a:cubicBezTo>
                  <a:cubicBezTo>
                    <a:pt x="55" y="188"/>
                    <a:pt x="55" y="188"/>
                    <a:pt x="55" y="188"/>
                  </a:cubicBezTo>
                  <a:cubicBezTo>
                    <a:pt x="56" y="188"/>
                    <a:pt x="56" y="188"/>
                    <a:pt x="56" y="188"/>
                  </a:cubicBezTo>
                  <a:cubicBezTo>
                    <a:pt x="57" y="188"/>
                    <a:pt x="57" y="188"/>
                    <a:pt x="58" y="188"/>
                  </a:cubicBezTo>
                  <a:cubicBezTo>
                    <a:pt x="58" y="188"/>
                    <a:pt x="58" y="188"/>
                    <a:pt x="58" y="188"/>
                  </a:cubicBezTo>
                  <a:cubicBezTo>
                    <a:pt x="58" y="188"/>
                    <a:pt x="58" y="188"/>
                    <a:pt x="58" y="188"/>
                  </a:cubicBezTo>
                  <a:cubicBezTo>
                    <a:pt x="59" y="188"/>
                    <a:pt x="59" y="188"/>
                    <a:pt x="59" y="188"/>
                  </a:cubicBezTo>
                  <a:cubicBezTo>
                    <a:pt x="60" y="189"/>
                    <a:pt x="61" y="189"/>
                    <a:pt x="62" y="189"/>
                  </a:cubicBezTo>
                  <a:cubicBezTo>
                    <a:pt x="62" y="189"/>
                    <a:pt x="62" y="189"/>
                    <a:pt x="62" y="189"/>
                  </a:cubicBezTo>
                  <a:cubicBezTo>
                    <a:pt x="63" y="189"/>
                    <a:pt x="63" y="189"/>
                    <a:pt x="63" y="189"/>
                  </a:cubicBezTo>
                  <a:cubicBezTo>
                    <a:pt x="64" y="189"/>
                    <a:pt x="64" y="189"/>
                    <a:pt x="65" y="190"/>
                  </a:cubicBezTo>
                  <a:cubicBezTo>
                    <a:pt x="65" y="190"/>
                    <a:pt x="65" y="190"/>
                    <a:pt x="65" y="190"/>
                  </a:cubicBezTo>
                  <a:cubicBezTo>
                    <a:pt x="66" y="190"/>
                    <a:pt x="67" y="189"/>
                    <a:pt x="69" y="188"/>
                  </a:cubicBezTo>
                  <a:cubicBezTo>
                    <a:pt x="69" y="188"/>
                    <a:pt x="70" y="187"/>
                    <a:pt x="71" y="187"/>
                  </a:cubicBezTo>
                  <a:cubicBezTo>
                    <a:pt x="71" y="187"/>
                    <a:pt x="72" y="186"/>
                    <a:pt x="73" y="186"/>
                  </a:cubicBezTo>
                  <a:cubicBezTo>
                    <a:pt x="76" y="185"/>
                    <a:pt x="79" y="185"/>
                    <a:pt x="81" y="185"/>
                  </a:cubicBezTo>
                  <a:cubicBezTo>
                    <a:pt x="83" y="185"/>
                    <a:pt x="85" y="185"/>
                    <a:pt x="87" y="185"/>
                  </a:cubicBezTo>
                  <a:cubicBezTo>
                    <a:pt x="91" y="184"/>
                    <a:pt x="91" y="184"/>
                    <a:pt x="91" y="184"/>
                  </a:cubicBezTo>
                  <a:cubicBezTo>
                    <a:pt x="91" y="184"/>
                    <a:pt x="91" y="184"/>
                    <a:pt x="92" y="184"/>
                  </a:cubicBezTo>
                  <a:cubicBezTo>
                    <a:pt x="94" y="184"/>
                    <a:pt x="96" y="184"/>
                    <a:pt x="97" y="183"/>
                  </a:cubicBezTo>
                  <a:cubicBezTo>
                    <a:pt x="99" y="183"/>
                    <a:pt x="101" y="182"/>
                    <a:pt x="102" y="182"/>
                  </a:cubicBezTo>
                  <a:cubicBezTo>
                    <a:pt x="104" y="181"/>
                    <a:pt x="104" y="181"/>
                    <a:pt x="104" y="181"/>
                  </a:cubicBezTo>
                  <a:cubicBezTo>
                    <a:pt x="105" y="181"/>
                    <a:pt x="105" y="181"/>
                    <a:pt x="105" y="181"/>
                  </a:cubicBezTo>
                  <a:cubicBezTo>
                    <a:pt x="106" y="180"/>
                    <a:pt x="106" y="180"/>
                    <a:pt x="106" y="180"/>
                  </a:cubicBezTo>
                  <a:cubicBezTo>
                    <a:pt x="104" y="179"/>
                    <a:pt x="105" y="177"/>
                    <a:pt x="105" y="176"/>
                  </a:cubicBezTo>
                  <a:cubicBezTo>
                    <a:pt x="105" y="175"/>
                    <a:pt x="105" y="175"/>
                    <a:pt x="105" y="175"/>
                  </a:cubicBezTo>
                  <a:cubicBezTo>
                    <a:pt x="105" y="174"/>
                    <a:pt x="105" y="173"/>
                    <a:pt x="106" y="173"/>
                  </a:cubicBezTo>
                  <a:cubicBezTo>
                    <a:pt x="106" y="172"/>
                    <a:pt x="106" y="171"/>
                    <a:pt x="106" y="171"/>
                  </a:cubicBezTo>
                  <a:cubicBezTo>
                    <a:pt x="106" y="168"/>
                    <a:pt x="106" y="166"/>
                    <a:pt x="107" y="164"/>
                  </a:cubicBezTo>
                  <a:cubicBezTo>
                    <a:pt x="107" y="161"/>
                    <a:pt x="107" y="161"/>
                    <a:pt x="107" y="161"/>
                  </a:cubicBezTo>
                  <a:cubicBezTo>
                    <a:pt x="107" y="161"/>
                    <a:pt x="107" y="161"/>
                    <a:pt x="107" y="160"/>
                  </a:cubicBezTo>
                  <a:cubicBezTo>
                    <a:pt x="108" y="159"/>
                    <a:pt x="108" y="159"/>
                    <a:pt x="109" y="158"/>
                  </a:cubicBezTo>
                  <a:cubicBezTo>
                    <a:pt x="109" y="158"/>
                    <a:pt x="109" y="158"/>
                    <a:pt x="109" y="158"/>
                  </a:cubicBezTo>
                  <a:cubicBezTo>
                    <a:pt x="110" y="157"/>
                    <a:pt x="111" y="156"/>
                    <a:pt x="112" y="155"/>
                  </a:cubicBezTo>
                  <a:cubicBezTo>
                    <a:pt x="113" y="154"/>
                    <a:pt x="114" y="153"/>
                    <a:pt x="115" y="153"/>
                  </a:cubicBezTo>
                  <a:cubicBezTo>
                    <a:pt x="115" y="152"/>
                    <a:pt x="115" y="152"/>
                    <a:pt x="115" y="152"/>
                  </a:cubicBezTo>
                  <a:cubicBezTo>
                    <a:pt x="116" y="152"/>
                    <a:pt x="116" y="152"/>
                    <a:pt x="116" y="152"/>
                  </a:cubicBezTo>
                  <a:cubicBezTo>
                    <a:pt x="113" y="150"/>
                    <a:pt x="113" y="150"/>
                    <a:pt x="113" y="150"/>
                  </a:cubicBezTo>
                  <a:cubicBezTo>
                    <a:pt x="117" y="151"/>
                    <a:pt x="117" y="151"/>
                    <a:pt x="117" y="151"/>
                  </a:cubicBezTo>
                  <a:cubicBezTo>
                    <a:pt x="117" y="151"/>
                    <a:pt x="117" y="151"/>
                    <a:pt x="117" y="151"/>
                  </a:cubicBezTo>
                  <a:cubicBezTo>
                    <a:pt x="118" y="151"/>
                    <a:pt x="119" y="150"/>
                    <a:pt x="120" y="150"/>
                  </a:cubicBezTo>
                  <a:cubicBezTo>
                    <a:pt x="121" y="150"/>
                    <a:pt x="121" y="150"/>
                    <a:pt x="121" y="150"/>
                  </a:cubicBezTo>
                  <a:cubicBezTo>
                    <a:pt x="122" y="150"/>
                    <a:pt x="122" y="150"/>
                    <a:pt x="122" y="150"/>
                  </a:cubicBezTo>
                  <a:cubicBezTo>
                    <a:pt x="124" y="151"/>
                    <a:pt x="124" y="151"/>
                    <a:pt x="124" y="151"/>
                  </a:cubicBezTo>
                  <a:cubicBezTo>
                    <a:pt x="124" y="151"/>
                    <a:pt x="125" y="151"/>
                    <a:pt x="125" y="151"/>
                  </a:cubicBezTo>
                  <a:cubicBezTo>
                    <a:pt x="126" y="151"/>
                    <a:pt x="126" y="151"/>
                    <a:pt x="126" y="151"/>
                  </a:cubicBezTo>
                  <a:cubicBezTo>
                    <a:pt x="126" y="151"/>
                    <a:pt x="126" y="151"/>
                    <a:pt x="126" y="151"/>
                  </a:cubicBezTo>
                  <a:cubicBezTo>
                    <a:pt x="127" y="152"/>
                    <a:pt x="127" y="152"/>
                    <a:pt x="128" y="152"/>
                  </a:cubicBezTo>
                  <a:cubicBezTo>
                    <a:pt x="128" y="152"/>
                    <a:pt x="128" y="152"/>
                    <a:pt x="128" y="152"/>
                  </a:cubicBezTo>
                  <a:cubicBezTo>
                    <a:pt x="129" y="151"/>
                    <a:pt x="129" y="151"/>
                    <a:pt x="129" y="151"/>
                  </a:cubicBezTo>
                  <a:cubicBezTo>
                    <a:pt x="130" y="151"/>
                    <a:pt x="131" y="151"/>
                    <a:pt x="132" y="150"/>
                  </a:cubicBezTo>
                  <a:cubicBezTo>
                    <a:pt x="126" y="146"/>
                    <a:pt x="126" y="146"/>
                    <a:pt x="126" y="146"/>
                  </a:cubicBezTo>
                  <a:cubicBezTo>
                    <a:pt x="132" y="145"/>
                    <a:pt x="132" y="145"/>
                    <a:pt x="132" y="145"/>
                  </a:cubicBezTo>
                  <a:cubicBezTo>
                    <a:pt x="135" y="145"/>
                    <a:pt x="135" y="145"/>
                    <a:pt x="138" y="143"/>
                  </a:cubicBezTo>
                  <a:cubicBezTo>
                    <a:pt x="138" y="143"/>
                    <a:pt x="138" y="143"/>
                    <a:pt x="138" y="143"/>
                  </a:cubicBezTo>
                  <a:cubicBezTo>
                    <a:pt x="139" y="142"/>
                    <a:pt x="139" y="142"/>
                    <a:pt x="139" y="142"/>
                  </a:cubicBezTo>
                  <a:cubicBezTo>
                    <a:pt x="140" y="142"/>
                    <a:pt x="141" y="141"/>
                    <a:pt x="142" y="141"/>
                  </a:cubicBezTo>
                  <a:cubicBezTo>
                    <a:pt x="142" y="141"/>
                    <a:pt x="142" y="141"/>
                    <a:pt x="143" y="141"/>
                  </a:cubicBezTo>
                  <a:cubicBezTo>
                    <a:pt x="144" y="140"/>
                    <a:pt x="144" y="140"/>
                    <a:pt x="145" y="140"/>
                  </a:cubicBezTo>
                  <a:cubicBezTo>
                    <a:pt x="145" y="140"/>
                    <a:pt x="145" y="140"/>
                    <a:pt x="146" y="140"/>
                  </a:cubicBezTo>
                  <a:cubicBezTo>
                    <a:pt x="146" y="140"/>
                    <a:pt x="146" y="140"/>
                    <a:pt x="146" y="140"/>
                  </a:cubicBezTo>
                  <a:cubicBezTo>
                    <a:pt x="147" y="139"/>
                    <a:pt x="148" y="139"/>
                    <a:pt x="149" y="139"/>
                  </a:cubicBezTo>
                  <a:cubicBezTo>
                    <a:pt x="149" y="139"/>
                    <a:pt x="149" y="139"/>
                    <a:pt x="150" y="139"/>
                  </a:cubicBezTo>
                  <a:cubicBezTo>
                    <a:pt x="150" y="139"/>
                    <a:pt x="150" y="139"/>
                    <a:pt x="151" y="139"/>
                  </a:cubicBezTo>
                  <a:cubicBezTo>
                    <a:pt x="151" y="139"/>
                    <a:pt x="151" y="139"/>
                    <a:pt x="151" y="139"/>
                  </a:cubicBezTo>
                  <a:cubicBezTo>
                    <a:pt x="152" y="139"/>
                    <a:pt x="152" y="140"/>
                    <a:pt x="153" y="140"/>
                  </a:cubicBezTo>
                  <a:cubicBezTo>
                    <a:pt x="153" y="140"/>
                    <a:pt x="153" y="140"/>
                    <a:pt x="153" y="140"/>
                  </a:cubicBezTo>
                  <a:cubicBezTo>
                    <a:pt x="154" y="141"/>
                    <a:pt x="155" y="141"/>
                    <a:pt x="156" y="142"/>
                  </a:cubicBezTo>
                  <a:cubicBezTo>
                    <a:pt x="156" y="142"/>
                    <a:pt x="156" y="142"/>
                    <a:pt x="156" y="142"/>
                  </a:cubicBezTo>
                  <a:cubicBezTo>
                    <a:pt x="156" y="142"/>
                    <a:pt x="157" y="143"/>
                    <a:pt x="157" y="143"/>
                  </a:cubicBezTo>
                  <a:cubicBezTo>
                    <a:pt x="157" y="143"/>
                    <a:pt x="157" y="143"/>
                    <a:pt x="157" y="143"/>
                  </a:cubicBezTo>
                  <a:cubicBezTo>
                    <a:pt x="158" y="142"/>
                    <a:pt x="158" y="142"/>
                    <a:pt x="158" y="142"/>
                  </a:cubicBezTo>
                  <a:cubicBezTo>
                    <a:pt x="160" y="140"/>
                    <a:pt x="161" y="139"/>
                    <a:pt x="163" y="138"/>
                  </a:cubicBezTo>
                  <a:cubicBezTo>
                    <a:pt x="163" y="138"/>
                    <a:pt x="163" y="138"/>
                    <a:pt x="163" y="138"/>
                  </a:cubicBezTo>
                  <a:cubicBezTo>
                    <a:pt x="162" y="132"/>
                    <a:pt x="162" y="132"/>
                    <a:pt x="162" y="132"/>
                  </a:cubicBezTo>
                  <a:cubicBezTo>
                    <a:pt x="162" y="132"/>
                    <a:pt x="162" y="132"/>
                    <a:pt x="162" y="132"/>
                  </a:cubicBezTo>
                  <a:cubicBezTo>
                    <a:pt x="162" y="128"/>
                    <a:pt x="162" y="128"/>
                    <a:pt x="162" y="128"/>
                  </a:cubicBezTo>
                  <a:cubicBezTo>
                    <a:pt x="162" y="127"/>
                    <a:pt x="162" y="126"/>
                    <a:pt x="162" y="126"/>
                  </a:cubicBezTo>
                  <a:cubicBezTo>
                    <a:pt x="163" y="125"/>
                    <a:pt x="163" y="125"/>
                    <a:pt x="163" y="125"/>
                  </a:cubicBezTo>
                  <a:cubicBezTo>
                    <a:pt x="163" y="125"/>
                    <a:pt x="164" y="124"/>
                    <a:pt x="164" y="124"/>
                  </a:cubicBezTo>
                  <a:cubicBezTo>
                    <a:pt x="165" y="123"/>
                    <a:pt x="165" y="123"/>
                    <a:pt x="165" y="123"/>
                  </a:cubicBezTo>
                  <a:cubicBezTo>
                    <a:pt x="165" y="123"/>
                    <a:pt x="165" y="123"/>
                    <a:pt x="165" y="123"/>
                  </a:cubicBezTo>
                  <a:cubicBezTo>
                    <a:pt x="165" y="122"/>
                    <a:pt x="165" y="122"/>
                    <a:pt x="165" y="122"/>
                  </a:cubicBezTo>
                  <a:cubicBezTo>
                    <a:pt x="166" y="121"/>
                    <a:pt x="166" y="121"/>
                    <a:pt x="166" y="120"/>
                  </a:cubicBezTo>
                  <a:cubicBezTo>
                    <a:pt x="166" y="118"/>
                    <a:pt x="167" y="116"/>
                    <a:pt x="168" y="114"/>
                  </a:cubicBezTo>
                  <a:cubicBezTo>
                    <a:pt x="169" y="113"/>
                    <a:pt x="169" y="113"/>
                    <a:pt x="169" y="113"/>
                  </a:cubicBezTo>
                  <a:cubicBezTo>
                    <a:pt x="169" y="113"/>
                    <a:pt x="170" y="113"/>
                    <a:pt x="171" y="113"/>
                  </a:cubicBezTo>
                  <a:cubicBezTo>
                    <a:pt x="171" y="113"/>
                    <a:pt x="171" y="113"/>
                    <a:pt x="171" y="113"/>
                  </a:cubicBezTo>
                  <a:cubicBezTo>
                    <a:pt x="171" y="112"/>
                    <a:pt x="172" y="112"/>
                    <a:pt x="172" y="112"/>
                  </a:cubicBezTo>
                  <a:cubicBezTo>
                    <a:pt x="173" y="112"/>
                    <a:pt x="173" y="112"/>
                    <a:pt x="173" y="112"/>
                  </a:cubicBezTo>
                  <a:cubicBezTo>
                    <a:pt x="174" y="112"/>
                    <a:pt x="175" y="112"/>
                    <a:pt x="175" y="112"/>
                  </a:cubicBezTo>
                  <a:cubicBezTo>
                    <a:pt x="176" y="112"/>
                    <a:pt x="176" y="112"/>
                    <a:pt x="176" y="112"/>
                  </a:cubicBezTo>
                  <a:cubicBezTo>
                    <a:pt x="177" y="112"/>
                    <a:pt x="180" y="110"/>
                    <a:pt x="181" y="109"/>
                  </a:cubicBezTo>
                  <a:cubicBezTo>
                    <a:pt x="182" y="109"/>
                    <a:pt x="182" y="109"/>
                    <a:pt x="182" y="109"/>
                  </a:cubicBezTo>
                  <a:cubicBezTo>
                    <a:pt x="181" y="108"/>
                    <a:pt x="180" y="107"/>
                    <a:pt x="179" y="105"/>
                  </a:cubicBezTo>
                  <a:cubicBezTo>
                    <a:pt x="178" y="102"/>
                    <a:pt x="178" y="102"/>
                    <a:pt x="178" y="102"/>
                  </a:cubicBezTo>
                  <a:cubicBezTo>
                    <a:pt x="177" y="102"/>
                    <a:pt x="177" y="102"/>
                    <a:pt x="177" y="102"/>
                  </a:cubicBezTo>
                  <a:cubicBezTo>
                    <a:pt x="177" y="102"/>
                    <a:pt x="177" y="102"/>
                    <a:pt x="177" y="102"/>
                  </a:cubicBezTo>
                  <a:cubicBezTo>
                    <a:pt x="176" y="101"/>
                    <a:pt x="176" y="101"/>
                    <a:pt x="176" y="101"/>
                  </a:cubicBezTo>
                  <a:cubicBezTo>
                    <a:pt x="175" y="99"/>
                    <a:pt x="175" y="99"/>
                    <a:pt x="175" y="99"/>
                  </a:cubicBezTo>
                  <a:cubicBezTo>
                    <a:pt x="173" y="96"/>
                    <a:pt x="174" y="94"/>
                    <a:pt x="175" y="93"/>
                  </a:cubicBezTo>
                  <a:cubicBezTo>
                    <a:pt x="175" y="93"/>
                    <a:pt x="175" y="93"/>
                    <a:pt x="175" y="93"/>
                  </a:cubicBezTo>
                  <a:cubicBezTo>
                    <a:pt x="176" y="92"/>
                    <a:pt x="177" y="92"/>
                    <a:pt x="178" y="92"/>
                  </a:cubicBezTo>
                  <a:cubicBezTo>
                    <a:pt x="180" y="92"/>
                    <a:pt x="182" y="92"/>
                    <a:pt x="185" y="93"/>
                  </a:cubicBezTo>
                  <a:cubicBezTo>
                    <a:pt x="186" y="93"/>
                    <a:pt x="186" y="93"/>
                    <a:pt x="186" y="93"/>
                  </a:cubicBezTo>
                  <a:cubicBezTo>
                    <a:pt x="186" y="94"/>
                    <a:pt x="187" y="94"/>
                    <a:pt x="187" y="94"/>
                  </a:cubicBezTo>
                  <a:cubicBezTo>
                    <a:pt x="188" y="94"/>
                    <a:pt x="188" y="94"/>
                    <a:pt x="188" y="94"/>
                  </a:cubicBezTo>
                  <a:cubicBezTo>
                    <a:pt x="188" y="94"/>
                    <a:pt x="189" y="94"/>
                    <a:pt x="189" y="94"/>
                  </a:cubicBezTo>
                  <a:cubicBezTo>
                    <a:pt x="189" y="94"/>
                    <a:pt x="190" y="94"/>
                    <a:pt x="190" y="94"/>
                  </a:cubicBezTo>
                  <a:cubicBezTo>
                    <a:pt x="192" y="94"/>
                    <a:pt x="194" y="93"/>
                    <a:pt x="195" y="92"/>
                  </a:cubicBezTo>
                  <a:cubicBezTo>
                    <a:pt x="196" y="92"/>
                    <a:pt x="197" y="91"/>
                    <a:pt x="197" y="91"/>
                  </a:cubicBezTo>
                  <a:cubicBezTo>
                    <a:pt x="197" y="90"/>
                    <a:pt x="197" y="90"/>
                    <a:pt x="197" y="90"/>
                  </a:cubicBezTo>
                  <a:cubicBezTo>
                    <a:pt x="197" y="90"/>
                    <a:pt x="197" y="90"/>
                    <a:pt x="197" y="90"/>
                  </a:cubicBezTo>
                  <a:cubicBezTo>
                    <a:pt x="198" y="90"/>
                    <a:pt x="198" y="89"/>
                    <a:pt x="198" y="89"/>
                  </a:cubicBezTo>
                  <a:cubicBezTo>
                    <a:pt x="197" y="89"/>
                    <a:pt x="197" y="89"/>
                    <a:pt x="197" y="89"/>
                  </a:cubicBezTo>
                  <a:cubicBezTo>
                    <a:pt x="197" y="89"/>
                    <a:pt x="196" y="88"/>
                    <a:pt x="196" y="87"/>
                  </a:cubicBezTo>
                  <a:cubicBezTo>
                    <a:pt x="194" y="84"/>
                    <a:pt x="195" y="82"/>
                    <a:pt x="197" y="80"/>
                  </a:cubicBezTo>
                  <a:cubicBezTo>
                    <a:pt x="197" y="80"/>
                    <a:pt x="198" y="79"/>
                    <a:pt x="199" y="78"/>
                  </a:cubicBezTo>
                  <a:cubicBezTo>
                    <a:pt x="199" y="78"/>
                    <a:pt x="199" y="78"/>
                    <a:pt x="200" y="77"/>
                  </a:cubicBezTo>
                  <a:cubicBezTo>
                    <a:pt x="200" y="76"/>
                    <a:pt x="201" y="75"/>
                    <a:pt x="202" y="74"/>
                  </a:cubicBezTo>
                  <a:cubicBezTo>
                    <a:pt x="203" y="74"/>
                    <a:pt x="204" y="73"/>
                    <a:pt x="204" y="73"/>
                  </a:cubicBezTo>
                  <a:cubicBezTo>
                    <a:pt x="205" y="73"/>
                    <a:pt x="205" y="73"/>
                    <a:pt x="205" y="73"/>
                  </a:cubicBezTo>
                  <a:cubicBezTo>
                    <a:pt x="205" y="73"/>
                    <a:pt x="205" y="72"/>
                    <a:pt x="205" y="72"/>
                  </a:cubicBezTo>
                  <a:cubicBezTo>
                    <a:pt x="205" y="71"/>
                    <a:pt x="206" y="70"/>
                    <a:pt x="207" y="69"/>
                  </a:cubicBezTo>
                  <a:cubicBezTo>
                    <a:pt x="206" y="69"/>
                    <a:pt x="206" y="68"/>
                    <a:pt x="206" y="68"/>
                  </a:cubicBezTo>
                  <a:cubicBezTo>
                    <a:pt x="206" y="68"/>
                    <a:pt x="206" y="68"/>
                    <a:pt x="206" y="68"/>
                  </a:cubicBezTo>
                  <a:cubicBezTo>
                    <a:pt x="206" y="67"/>
                    <a:pt x="206" y="66"/>
                    <a:pt x="206" y="65"/>
                  </a:cubicBezTo>
                  <a:cubicBezTo>
                    <a:pt x="206" y="64"/>
                    <a:pt x="206" y="63"/>
                    <a:pt x="206" y="63"/>
                  </a:cubicBezTo>
                  <a:cubicBezTo>
                    <a:pt x="205" y="61"/>
                    <a:pt x="205" y="61"/>
                    <a:pt x="205" y="61"/>
                  </a:cubicBezTo>
                  <a:cubicBezTo>
                    <a:pt x="205" y="61"/>
                    <a:pt x="205" y="61"/>
                    <a:pt x="205" y="61"/>
                  </a:cubicBezTo>
                  <a:cubicBezTo>
                    <a:pt x="205" y="61"/>
                    <a:pt x="205" y="61"/>
                    <a:pt x="205" y="61"/>
                  </a:cubicBezTo>
                  <a:cubicBezTo>
                    <a:pt x="204" y="60"/>
                    <a:pt x="204" y="60"/>
                    <a:pt x="204" y="60"/>
                  </a:cubicBezTo>
                  <a:cubicBezTo>
                    <a:pt x="204" y="59"/>
                    <a:pt x="204" y="59"/>
                    <a:pt x="204" y="58"/>
                  </a:cubicBezTo>
                  <a:cubicBezTo>
                    <a:pt x="203" y="58"/>
                    <a:pt x="203" y="58"/>
                    <a:pt x="203" y="58"/>
                  </a:cubicBezTo>
                  <a:cubicBezTo>
                    <a:pt x="203" y="57"/>
                    <a:pt x="203" y="57"/>
                    <a:pt x="203" y="57"/>
                  </a:cubicBezTo>
                  <a:cubicBezTo>
                    <a:pt x="202" y="56"/>
                    <a:pt x="201" y="54"/>
                    <a:pt x="200" y="54"/>
                  </a:cubicBezTo>
                  <a:cubicBezTo>
                    <a:pt x="200" y="53"/>
                    <a:pt x="200" y="53"/>
                    <a:pt x="200" y="53"/>
                  </a:cubicBezTo>
                  <a:cubicBezTo>
                    <a:pt x="200" y="53"/>
                    <a:pt x="200" y="53"/>
                    <a:pt x="200" y="53"/>
                  </a:cubicBezTo>
                  <a:cubicBezTo>
                    <a:pt x="197" y="52"/>
                    <a:pt x="197" y="52"/>
                    <a:pt x="197" y="52"/>
                  </a:cubicBezTo>
                  <a:cubicBezTo>
                    <a:pt x="199" y="50"/>
                    <a:pt x="199" y="50"/>
                    <a:pt x="199" y="50"/>
                  </a:cubicBezTo>
                  <a:cubicBezTo>
                    <a:pt x="202" y="46"/>
                    <a:pt x="205" y="43"/>
                    <a:pt x="208" y="40"/>
                  </a:cubicBezTo>
                  <a:cubicBezTo>
                    <a:pt x="209" y="40"/>
                    <a:pt x="209" y="40"/>
                    <a:pt x="209" y="40"/>
                  </a:cubicBezTo>
                  <a:cubicBezTo>
                    <a:pt x="210" y="39"/>
                    <a:pt x="210" y="39"/>
                    <a:pt x="210" y="39"/>
                  </a:cubicBezTo>
                  <a:cubicBezTo>
                    <a:pt x="210" y="40"/>
                    <a:pt x="210" y="40"/>
                    <a:pt x="210" y="40"/>
                  </a:cubicBezTo>
                  <a:cubicBezTo>
                    <a:pt x="210" y="40"/>
                    <a:pt x="211" y="40"/>
                    <a:pt x="211" y="40"/>
                  </a:cubicBezTo>
                  <a:cubicBezTo>
                    <a:pt x="212" y="40"/>
                    <a:pt x="212" y="40"/>
                    <a:pt x="212" y="40"/>
                  </a:cubicBezTo>
                  <a:cubicBezTo>
                    <a:pt x="213" y="40"/>
                    <a:pt x="213" y="40"/>
                    <a:pt x="213" y="40"/>
                  </a:cubicBezTo>
                  <a:cubicBezTo>
                    <a:pt x="214" y="40"/>
                    <a:pt x="215" y="39"/>
                    <a:pt x="216" y="38"/>
                  </a:cubicBezTo>
                  <a:cubicBezTo>
                    <a:pt x="219" y="37"/>
                    <a:pt x="219" y="37"/>
                    <a:pt x="219" y="37"/>
                  </a:cubicBezTo>
                  <a:cubicBezTo>
                    <a:pt x="220" y="36"/>
                    <a:pt x="220" y="35"/>
                    <a:pt x="221" y="35"/>
                  </a:cubicBezTo>
                  <a:cubicBezTo>
                    <a:pt x="221" y="35"/>
                    <a:pt x="221" y="35"/>
                    <a:pt x="221" y="35"/>
                  </a:cubicBezTo>
                  <a:cubicBezTo>
                    <a:pt x="219" y="36"/>
                    <a:pt x="216" y="37"/>
                    <a:pt x="214" y="38"/>
                  </a:cubicBezTo>
                  <a:cubicBezTo>
                    <a:pt x="212" y="39"/>
                    <a:pt x="212" y="39"/>
                    <a:pt x="212" y="39"/>
                  </a:cubicBezTo>
                  <a:cubicBezTo>
                    <a:pt x="211" y="39"/>
                    <a:pt x="211" y="39"/>
                    <a:pt x="210" y="39"/>
                  </a:cubicBezTo>
                  <a:cubicBezTo>
                    <a:pt x="210" y="39"/>
                    <a:pt x="210" y="39"/>
                    <a:pt x="210" y="39"/>
                  </a:cubicBezTo>
                  <a:cubicBezTo>
                    <a:pt x="210" y="39"/>
                    <a:pt x="209" y="39"/>
                    <a:pt x="209" y="39"/>
                  </a:cubicBezTo>
                  <a:cubicBezTo>
                    <a:pt x="207" y="38"/>
                    <a:pt x="206" y="36"/>
                    <a:pt x="205" y="35"/>
                  </a:cubicBezTo>
                  <a:cubicBezTo>
                    <a:pt x="205" y="34"/>
                    <a:pt x="205" y="34"/>
                    <a:pt x="205" y="34"/>
                  </a:cubicBezTo>
                  <a:cubicBezTo>
                    <a:pt x="205" y="33"/>
                    <a:pt x="205" y="33"/>
                    <a:pt x="205" y="33"/>
                  </a:cubicBezTo>
                  <a:cubicBezTo>
                    <a:pt x="204" y="32"/>
                    <a:pt x="203" y="30"/>
                    <a:pt x="203" y="29"/>
                  </a:cubicBezTo>
                  <a:cubicBezTo>
                    <a:pt x="203" y="28"/>
                    <a:pt x="203" y="27"/>
                    <a:pt x="204" y="27"/>
                  </a:cubicBezTo>
                  <a:cubicBezTo>
                    <a:pt x="204" y="26"/>
                    <a:pt x="204" y="25"/>
                    <a:pt x="204" y="25"/>
                  </a:cubicBezTo>
                  <a:cubicBezTo>
                    <a:pt x="204" y="24"/>
                    <a:pt x="204" y="24"/>
                    <a:pt x="204" y="24"/>
                  </a:cubicBezTo>
                  <a:cubicBezTo>
                    <a:pt x="205" y="22"/>
                    <a:pt x="205" y="19"/>
                    <a:pt x="205" y="16"/>
                  </a:cubicBezTo>
                  <a:cubicBezTo>
                    <a:pt x="206" y="15"/>
                    <a:pt x="206" y="13"/>
                    <a:pt x="206" y="11"/>
                  </a:cubicBezTo>
                  <a:cubicBezTo>
                    <a:pt x="205" y="11"/>
                    <a:pt x="204" y="11"/>
                    <a:pt x="204" y="11"/>
                  </a:cubicBezTo>
                  <a:cubicBezTo>
                    <a:pt x="203" y="11"/>
                    <a:pt x="203" y="11"/>
                    <a:pt x="203" y="11"/>
                  </a:cubicBezTo>
                  <a:cubicBezTo>
                    <a:pt x="203" y="11"/>
                    <a:pt x="202" y="11"/>
                    <a:pt x="202" y="11"/>
                  </a:cubicBezTo>
                  <a:cubicBezTo>
                    <a:pt x="199" y="10"/>
                    <a:pt x="199" y="10"/>
                    <a:pt x="199" y="10"/>
                  </a:cubicBezTo>
                  <a:cubicBezTo>
                    <a:pt x="201" y="7"/>
                    <a:pt x="201" y="7"/>
                    <a:pt x="201" y="7"/>
                  </a:cubicBezTo>
                  <a:cubicBezTo>
                    <a:pt x="201" y="6"/>
                    <a:pt x="201" y="6"/>
                    <a:pt x="201" y="5"/>
                  </a:cubicBezTo>
                  <a:cubicBezTo>
                    <a:pt x="201" y="5"/>
                    <a:pt x="201" y="5"/>
                    <a:pt x="201" y="5"/>
                  </a:cubicBezTo>
                  <a:cubicBezTo>
                    <a:pt x="201" y="5"/>
                    <a:pt x="200" y="4"/>
                    <a:pt x="200" y="4"/>
                  </a:cubicBezTo>
                  <a:cubicBezTo>
                    <a:pt x="200" y="4"/>
                    <a:pt x="200" y="4"/>
                    <a:pt x="200" y="4"/>
                  </a:cubicBezTo>
                  <a:cubicBezTo>
                    <a:pt x="196" y="7"/>
                    <a:pt x="196" y="7"/>
                    <a:pt x="196" y="7"/>
                  </a:cubicBezTo>
                  <a:cubicBezTo>
                    <a:pt x="199" y="2"/>
                    <a:pt x="199" y="2"/>
                    <a:pt x="199" y="2"/>
                  </a:cubicBezTo>
                  <a:cubicBezTo>
                    <a:pt x="198" y="2"/>
                    <a:pt x="198" y="1"/>
                    <a:pt x="198" y="1"/>
                  </a:cubicBezTo>
                  <a:cubicBezTo>
                    <a:pt x="197" y="1"/>
                    <a:pt x="197" y="1"/>
                    <a:pt x="1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Freeform 422">
              <a:extLst>
                <a:ext uri="{FF2B5EF4-FFF2-40B4-BE49-F238E27FC236}">
                  <a16:creationId xmlns:a16="http://schemas.microsoft.com/office/drawing/2014/main" id="{115569CC-D026-436B-ADC0-17E199C67BA0}"/>
                </a:ext>
              </a:extLst>
            </p:cNvPr>
            <p:cNvSpPr>
              <a:spLocks noEditPoints="1"/>
            </p:cNvSpPr>
            <p:nvPr/>
          </p:nvSpPr>
          <p:spPr bwMode="auto">
            <a:xfrm>
              <a:off x="1154005" y="4184084"/>
              <a:ext cx="1173260" cy="1002704"/>
            </a:xfrm>
            <a:custGeom>
              <a:avLst/>
              <a:gdLst>
                <a:gd name="T0" fmla="*/ 91 w 361"/>
                <a:gd name="T1" fmla="*/ 199 h 308"/>
                <a:gd name="T2" fmla="*/ 5 w 361"/>
                <a:gd name="T3" fmla="*/ 25 h 308"/>
                <a:gd name="T4" fmla="*/ 9 w 361"/>
                <a:gd name="T5" fmla="*/ 41 h 308"/>
                <a:gd name="T6" fmla="*/ 13 w 361"/>
                <a:gd name="T7" fmla="*/ 55 h 308"/>
                <a:gd name="T8" fmla="*/ 17 w 361"/>
                <a:gd name="T9" fmla="*/ 62 h 308"/>
                <a:gd name="T10" fmla="*/ 22 w 361"/>
                <a:gd name="T11" fmla="*/ 70 h 308"/>
                <a:gd name="T12" fmla="*/ 31 w 361"/>
                <a:gd name="T13" fmla="*/ 81 h 308"/>
                <a:gd name="T14" fmla="*/ 42 w 361"/>
                <a:gd name="T15" fmla="*/ 87 h 308"/>
                <a:gd name="T16" fmla="*/ 40 w 361"/>
                <a:gd name="T17" fmla="*/ 97 h 308"/>
                <a:gd name="T18" fmla="*/ 31 w 361"/>
                <a:gd name="T19" fmla="*/ 112 h 308"/>
                <a:gd name="T20" fmla="*/ 25 w 361"/>
                <a:gd name="T21" fmla="*/ 123 h 308"/>
                <a:gd name="T22" fmla="*/ 31 w 361"/>
                <a:gd name="T23" fmla="*/ 129 h 308"/>
                <a:gd name="T24" fmla="*/ 38 w 361"/>
                <a:gd name="T25" fmla="*/ 143 h 308"/>
                <a:gd name="T26" fmla="*/ 63 w 361"/>
                <a:gd name="T27" fmla="*/ 155 h 308"/>
                <a:gd name="T28" fmla="*/ 71 w 361"/>
                <a:gd name="T29" fmla="*/ 173 h 308"/>
                <a:gd name="T30" fmla="*/ 74 w 361"/>
                <a:gd name="T31" fmla="*/ 186 h 308"/>
                <a:gd name="T32" fmla="*/ 82 w 361"/>
                <a:gd name="T33" fmla="*/ 203 h 308"/>
                <a:gd name="T34" fmla="*/ 95 w 361"/>
                <a:gd name="T35" fmla="*/ 202 h 308"/>
                <a:gd name="T36" fmla="*/ 111 w 361"/>
                <a:gd name="T37" fmla="*/ 204 h 308"/>
                <a:gd name="T38" fmla="*/ 128 w 361"/>
                <a:gd name="T39" fmla="*/ 230 h 308"/>
                <a:gd name="T40" fmla="*/ 144 w 361"/>
                <a:gd name="T41" fmla="*/ 252 h 308"/>
                <a:gd name="T42" fmla="*/ 162 w 361"/>
                <a:gd name="T43" fmla="*/ 263 h 308"/>
                <a:gd name="T44" fmla="*/ 185 w 361"/>
                <a:gd name="T45" fmla="*/ 276 h 308"/>
                <a:gd name="T46" fmla="*/ 224 w 361"/>
                <a:gd name="T47" fmla="*/ 267 h 308"/>
                <a:gd name="T48" fmla="*/ 246 w 361"/>
                <a:gd name="T49" fmla="*/ 284 h 308"/>
                <a:gd name="T50" fmla="*/ 277 w 361"/>
                <a:gd name="T51" fmla="*/ 299 h 308"/>
                <a:gd name="T52" fmla="*/ 301 w 361"/>
                <a:gd name="T53" fmla="*/ 301 h 308"/>
                <a:gd name="T54" fmla="*/ 325 w 361"/>
                <a:gd name="T55" fmla="*/ 308 h 308"/>
                <a:gd name="T56" fmla="*/ 333 w 361"/>
                <a:gd name="T57" fmla="*/ 288 h 308"/>
                <a:gd name="T58" fmla="*/ 359 w 361"/>
                <a:gd name="T59" fmla="*/ 275 h 308"/>
                <a:gd name="T60" fmla="*/ 351 w 361"/>
                <a:gd name="T61" fmla="*/ 264 h 308"/>
                <a:gd name="T62" fmla="*/ 345 w 361"/>
                <a:gd name="T63" fmla="*/ 244 h 308"/>
                <a:gd name="T64" fmla="*/ 312 w 361"/>
                <a:gd name="T65" fmla="*/ 211 h 308"/>
                <a:gd name="T66" fmla="*/ 329 w 361"/>
                <a:gd name="T67" fmla="*/ 193 h 308"/>
                <a:gd name="T68" fmla="*/ 315 w 361"/>
                <a:gd name="T69" fmla="*/ 176 h 308"/>
                <a:gd name="T70" fmla="*/ 314 w 361"/>
                <a:gd name="T71" fmla="*/ 157 h 308"/>
                <a:gd name="T72" fmla="*/ 308 w 361"/>
                <a:gd name="T73" fmla="*/ 129 h 308"/>
                <a:gd name="T74" fmla="*/ 316 w 361"/>
                <a:gd name="T75" fmla="*/ 107 h 308"/>
                <a:gd name="T76" fmla="*/ 324 w 361"/>
                <a:gd name="T77" fmla="*/ 90 h 308"/>
                <a:gd name="T78" fmla="*/ 321 w 361"/>
                <a:gd name="T79" fmla="*/ 73 h 308"/>
                <a:gd name="T80" fmla="*/ 310 w 361"/>
                <a:gd name="T81" fmla="*/ 68 h 308"/>
                <a:gd name="T82" fmla="*/ 300 w 361"/>
                <a:gd name="T83" fmla="*/ 59 h 308"/>
                <a:gd name="T84" fmla="*/ 287 w 361"/>
                <a:gd name="T85" fmla="*/ 49 h 308"/>
                <a:gd name="T86" fmla="*/ 269 w 361"/>
                <a:gd name="T87" fmla="*/ 46 h 308"/>
                <a:gd name="T88" fmla="*/ 248 w 361"/>
                <a:gd name="T89" fmla="*/ 37 h 308"/>
                <a:gd name="T90" fmla="*/ 239 w 361"/>
                <a:gd name="T91" fmla="*/ 32 h 308"/>
                <a:gd name="T92" fmla="*/ 226 w 361"/>
                <a:gd name="T93" fmla="*/ 37 h 308"/>
                <a:gd name="T94" fmla="*/ 180 w 361"/>
                <a:gd name="T95" fmla="*/ 61 h 308"/>
                <a:gd name="T96" fmla="*/ 141 w 361"/>
                <a:gd name="T97" fmla="*/ 66 h 308"/>
                <a:gd name="T98" fmla="*/ 109 w 361"/>
                <a:gd name="T99" fmla="*/ 49 h 308"/>
                <a:gd name="T100" fmla="*/ 88 w 361"/>
                <a:gd name="T101" fmla="*/ 29 h 308"/>
                <a:gd name="T102" fmla="*/ 83 w 361"/>
                <a:gd name="T103" fmla="*/ 29 h 308"/>
                <a:gd name="T104" fmla="*/ 74 w 361"/>
                <a:gd name="T105" fmla="*/ 12 h 308"/>
                <a:gd name="T106" fmla="*/ 60 w 361"/>
                <a:gd name="T107" fmla="*/ 7 h 308"/>
                <a:gd name="T108" fmla="*/ 43 w 361"/>
                <a:gd name="T109" fmla="*/ 23 h 308"/>
                <a:gd name="T110" fmla="*/ 40 w 361"/>
                <a:gd name="T111" fmla="*/ 20 h 308"/>
                <a:gd name="T112" fmla="*/ 9 w 361"/>
                <a:gd name="T113" fmla="*/ 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1" h="308">
                  <a:moveTo>
                    <a:pt x="91" y="199"/>
                  </a:moveTo>
                  <a:cubicBezTo>
                    <a:pt x="92" y="199"/>
                    <a:pt x="91" y="198"/>
                    <a:pt x="90" y="197"/>
                  </a:cubicBezTo>
                  <a:cubicBezTo>
                    <a:pt x="91" y="197"/>
                    <a:pt x="92" y="197"/>
                    <a:pt x="93" y="197"/>
                  </a:cubicBezTo>
                  <a:cubicBezTo>
                    <a:pt x="93" y="197"/>
                    <a:pt x="94" y="197"/>
                    <a:pt x="94" y="197"/>
                  </a:cubicBezTo>
                  <a:cubicBezTo>
                    <a:pt x="96" y="197"/>
                    <a:pt x="96" y="198"/>
                    <a:pt x="96" y="199"/>
                  </a:cubicBezTo>
                  <a:cubicBezTo>
                    <a:pt x="96" y="200"/>
                    <a:pt x="95" y="200"/>
                    <a:pt x="95" y="200"/>
                  </a:cubicBezTo>
                  <a:cubicBezTo>
                    <a:pt x="94" y="200"/>
                    <a:pt x="93" y="200"/>
                    <a:pt x="92" y="199"/>
                  </a:cubicBezTo>
                  <a:cubicBezTo>
                    <a:pt x="92" y="199"/>
                    <a:pt x="92" y="199"/>
                    <a:pt x="91" y="199"/>
                  </a:cubicBezTo>
                  <a:cubicBezTo>
                    <a:pt x="91" y="199"/>
                    <a:pt x="91" y="199"/>
                    <a:pt x="91" y="199"/>
                  </a:cubicBezTo>
                  <a:moveTo>
                    <a:pt x="7" y="0"/>
                  </a:moveTo>
                  <a:cubicBezTo>
                    <a:pt x="7" y="0"/>
                    <a:pt x="7" y="0"/>
                    <a:pt x="7" y="0"/>
                  </a:cubicBezTo>
                  <a:cubicBezTo>
                    <a:pt x="7" y="0"/>
                    <a:pt x="7" y="0"/>
                    <a:pt x="7" y="0"/>
                  </a:cubicBezTo>
                  <a:cubicBezTo>
                    <a:pt x="7" y="5"/>
                    <a:pt x="5" y="6"/>
                    <a:pt x="4" y="7"/>
                  </a:cubicBezTo>
                  <a:cubicBezTo>
                    <a:pt x="3" y="7"/>
                    <a:pt x="1" y="8"/>
                    <a:pt x="0" y="8"/>
                  </a:cubicBezTo>
                  <a:cubicBezTo>
                    <a:pt x="0" y="9"/>
                    <a:pt x="0" y="9"/>
                    <a:pt x="0" y="9"/>
                  </a:cubicBezTo>
                  <a:cubicBezTo>
                    <a:pt x="0" y="10"/>
                    <a:pt x="0" y="11"/>
                    <a:pt x="1" y="11"/>
                  </a:cubicBezTo>
                  <a:cubicBezTo>
                    <a:pt x="1" y="13"/>
                    <a:pt x="2" y="15"/>
                    <a:pt x="3" y="16"/>
                  </a:cubicBezTo>
                  <a:cubicBezTo>
                    <a:pt x="5" y="18"/>
                    <a:pt x="5" y="22"/>
                    <a:pt x="5" y="25"/>
                  </a:cubicBezTo>
                  <a:cubicBezTo>
                    <a:pt x="6" y="26"/>
                    <a:pt x="6" y="26"/>
                    <a:pt x="7" y="27"/>
                  </a:cubicBezTo>
                  <a:cubicBezTo>
                    <a:pt x="8" y="29"/>
                    <a:pt x="7" y="32"/>
                    <a:pt x="6" y="33"/>
                  </a:cubicBezTo>
                  <a:cubicBezTo>
                    <a:pt x="5" y="34"/>
                    <a:pt x="4" y="36"/>
                    <a:pt x="4" y="36"/>
                  </a:cubicBezTo>
                  <a:cubicBezTo>
                    <a:pt x="3" y="36"/>
                    <a:pt x="3" y="36"/>
                    <a:pt x="3" y="36"/>
                  </a:cubicBezTo>
                  <a:cubicBezTo>
                    <a:pt x="3" y="36"/>
                    <a:pt x="3" y="36"/>
                    <a:pt x="3" y="36"/>
                  </a:cubicBezTo>
                  <a:cubicBezTo>
                    <a:pt x="4" y="37"/>
                    <a:pt x="5" y="37"/>
                    <a:pt x="6" y="38"/>
                  </a:cubicBezTo>
                  <a:cubicBezTo>
                    <a:pt x="6" y="38"/>
                    <a:pt x="7" y="39"/>
                    <a:pt x="8" y="39"/>
                  </a:cubicBezTo>
                  <a:cubicBezTo>
                    <a:pt x="9" y="40"/>
                    <a:pt x="9" y="40"/>
                    <a:pt x="9" y="40"/>
                  </a:cubicBezTo>
                  <a:cubicBezTo>
                    <a:pt x="9" y="41"/>
                    <a:pt x="9" y="41"/>
                    <a:pt x="9" y="41"/>
                  </a:cubicBezTo>
                  <a:cubicBezTo>
                    <a:pt x="10" y="42"/>
                    <a:pt x="10" y="43"/>
                    <a:pt x="10" y="43"/>
                  </a:cubicBezTo>
                  <a:cubicBezTo>
                    <a:pt x="10" y="44"/>
                    <a:pt x="10" y="44"/>
                    <a:pt x="10" y="45"/>
                  </a:cubicBezTo>
                  <a:cubicBezTo>
                    <a:pt x="10" y="45"/>
                    <a:pt x="10" y="45"/>
                    <a:pt x="10" y="45"/>
                  </a:cubicBezTo>
                  <a:cubicBezTo>
                    <a:pt x="10" y="46"/>
                    <a:pt x="10" y="46"/>
                    <a:pt x="9" y="47"/>
                  </a:cubicBezTo>
                  <a:cubicBezTo>
                    <a:pt x="10" y="47"/>
                    <a:pt x="10" y="47"/>
                    <a:pt x="10" y="47"/>
                  </a:cubicBezTo>
                  <a:cubicBezTo>
                    <a:pt x="11" y="48"/>
                    <a:pt x="13" y="49"/>
                    <a:pt x="13" y="50"/>
                  </a:cubicBezTo>
                  <a:cubicBezTo>
                    <a:pt x="14" y="51"/>
                    <a:pt x="14" y="51"/>
                    <a:pt x="14" y="51"/>
                  </a:cubicBezTo>
                  <a:cubicBezTo>
                    <a:pt x="14" y="52"/>
                    <a:pt x="14" y="53"/>
                    <a:pt x="13" y="54"/>
                  </a:cubicBezTo>
                  <a:cubicBezTo>
                    <a:pt x="13" y="55"/>
                    <a:pt x="13" y="55"/>
                    <a:pt x="13" y="55"/>
                  </a:cubicBezTo>
                  <a:cubicBezTo>
                    <a:pt x="14" y="55"/>
                    <a:pt x="14" y="56"/>
                    <a:pt x="14" y="57"/>
                  </a:cubicBezTo>
                  <a:cubicBezTo>
                    <a:pt x="15" y="58"/>
                    <a:pt x="15" y="59"/>
                    <a:pt x="15" y="59"/>
                  </a:cubicBezTo>
                  <a:cubicBezTo>
                    <a:pt x="15" y="60"/>
                    <a:pt x="15" y="60"/>
                    <a:pt x="15" y="61"/>
                  </a:cubicBezTo>
                  <a:cubicBezTo>
                    <a:pt x="15" y="61"/>
                    <a:pt x="15" y="61"/>
                    <a:pt x="15" y="61"/>
                  </a:cubicBezTo>
                  <a:cubicBezTo>
                    <a:pt x="16" y="61"/>
                    <a:pt x="16" y="61"/>
                    <a:pt x="16" y="61"/>
                  </a:cubicBezTo>
                  <a:cubicBezTo>
                    <a:pt x="16" y="60"/>
                    <a:pt x="16" y="60"/>
                    <a:pt x="16" y="60"/>
                  </a:cubicBezTo>
                  <a:cubicBezTo>
                    <a:pt x="16" y="61"/>
                    <a:pt x="16" y="61"/>
                    <a:pt x="16" y="61"/>
                  </a:cubicBezTo>
                  <a:cubicBezTo>
                    <a:pt x="16" y="61"/>
                    <a:pt x="16" y="61"/>
                    <a:pt x="16" y="61"/>
                  </a:cubicBezTo>
                  <a:cubicBezTo>
                    <a:pt x="17" y="62"/>
                    <a:pt x="17" y="62"/>
                    <a:pt x="17" y="62"/>
                  </a:cubicBezTo>
                  <a:cubicBezTo>
                    <a:pt x="18" y="63"/>
                    <a:pt x="18" y="64"/>
                    <a:pt x="18" y="65"/>
                  </a:cubicBezTo>
                  <a:cubicBezTo>
                    <a:pt x="18" y="66"/>
                    <a:pt x="18" y="66"/>
                    <a:pt x="18" y="67"/>
                  </a:cubicBezTo>
                  <a:cubicBezTo>
                    <a:pt x="18" y="67"/>
                    <a:pt x="18" y="67"/>
                    <a:pt x="18" y="67"/>
                  </a:cubicBezTo>
                  <a:cubicBezTo>
                    <a:pt x="18" y="67"/>
                    <a:pt x="18" y="67"/>
                    <a:pt x="18" y="67"/>
                  </a:cubicBezTo>
                  <a:cubicBezTo>
                    <a:pt x="19" y="67"/>
                    <a:pt x="19" y="67"/>
                    <a:pt x="19" y="67"/>
                  </a:cubicBezTo>
                  <a:cubicBezTo>
                    <a:pt x="19" y="68"/>
                    <a:pt x="20" y="68"/>
                    <a:pt x="21" y="69"/>
                  </a:cubicBezTo>
                  <a:cubicBezTo>
                    <a:pt x="25" y="68"/>
                    <a:pt x="25" y="68"/>
                    <a:pt x="25" y="68"/>
                  </a:cubicBezTo>
                  <a:cubicBezTo>
                    <a:pt x="22" y="70"/>
                    <a:pt x="22" y="70"/>
                    <a:pt x="22" y="70"/>
                  </a:cubicBezTo>
                  <a:cubicBezTo>
                    <a:pt x="22" y="70"/>
                    <a:pt x="22" y="70"/>
                    <a:pt x="22" y="70"/>
                  </a:cubicBezTo>
                  <a:cubicBezTo>
                    <a:pt x="22" y="71"/>
                    <a:pt x="22" y="71"/>
                    <a:pt x="22" y="71"/>
                  </a:cubicBezTo>
                  <a:cubicBezTo>
                    <a:pt x="23" y="73"/>
                    <a:pt x="23" y="74"/>
                    <a:pt x="23" y="76"/>
                  </a:cubicBezTo>
                  <a:cubicBezTo>
                    <a:pt x="24" y="77"/>
                    <a:pt x="24" y="77"/>
                    <a:pt x="24" y="77"/>
                  </a:cubicBezTo>
                  <a:cubicBezTo>
                    <a:pt x="24" y="77"/>
                    <a:pt x="24" y="77"/>
                    <a:pt x="24" y="77"/>
                  </a:cubicBezTo>
                  <a:cubicBezTo>
                    <a:pt x="25" y="77"/>
                    <a:pt x="25" y="77"/>
                    <a:pt x="25" y="77"/>
                  </a:cubicBezTo>
                  <a:cubicBezTo>
                    <a:pt x="26" y="78"/>
                    <a:pt x="27" y="78"/>
                    <a:pt x="28" y="79"/>
                  </a:cubicBezTo>
                  <a:cubicBezTo>
                    <a:pt x="29" y="80"/>
                    <a:pt x="29" y="80"/>
                    <a:pt x="30" y="81"/>
                  </a:cubicBezTo>
                  <a:cubicBezTo>
                    <a:pt x="31" y="81"/>
                    <a:pt x="31" y="81"/>
                    <a:pt x="31" y="81"/>
                  </a:cubicBezTo>
                  <a:cubicBezTo>
                    <a:pt x="31" y="81"/>
                    <a:pt x="31" y="81"/>
                    <a:pt x="31" y="81"/>
                  </a:cubicBezTo>
                  <a:cubicBezTo>
                    <a:pt x="32" y="81"/>
                    <a:pt x="32" y="81"/>
                    <a:pt x="33" y="81"/>
                  </a:cubicBezTo>
                  <a:cubicBezTo>
                    <a:pt x="34" y="81"/>
                    <a:pt x="34" y="81"/>
                    <a:pt x="34" y="81"/>
                  </a:cubicBezTo>
                  <a:cubicBezTo>
                    <a:pt x="35" y="81"/>
                    <a:pt x="35" y="81"/>
                    <a:pt x="35" y="81"/>
                  </a:cubicBezTo>
                  <a:cubicBezTo>
                    <a:pt x="35" y="81"/>
                    <a:pt x="35" y="81"/>
                    <a:pt x="35" y="81"/>
                  </a:cubicBezTo>
                  <a:cubicBezTo>
                    <a:pt x="35" y="81"/>
                    <a:pt x="36" y="81"/>
                    <a:pt x="36" y="81"/>
                  </a:cubicBezTo>
                  <a:cubicBezTo>
                    <a:pt x="37" y="81"/>
                    <a:pt x="38" y="81"/>
                    <a:pt x="39" y="81"/>
                  </a:cubicBezTo>
                  <a:cubicBezTo>
                    <a:pt x="39" y="81"/>
                    <a:pt x="39" y="82"/>
                    <a:pt x="40" y="82"/>
                  </a:cubicBezTo>
                  <a:cubicBezTo>
                    <a:pt x="47" y="84"/>
                    <a:pt x="47" y="84"/>
                    <a:pt x="47" y="84"/>
                  </a:cubicBezTo>
                  <a:cubicBezTo>
                    <a:pt x="42" y="87"/>
                    <a:pt x="42" y="87"/>
                    <a:pt x="42" y="87"/>
                  </a:cubicBezTo>
                  <a:cubicBezTo>
                    <a:pt x="41" y="87"/>
                    <a:pt x="40" y="87"/>
                    <a:pt x="40" y="87"/>
                  </a:cubicBezTo>
                  <a:cubicBezTo>
                    <a:pt x="38" y="88"/>
                    <a:pt x="37" y="88"/>
                    <a:pt x="37" y="88"/>
                  </a:cubicBezTo>
                  <a:cubicBezTo>
                    <a:pt x="37" y="89"/>
                    <a:pt x="37" y="89"/>
                    <a:pt x="37" y="89"/>
                  </a:cubicBezTo>
                  <a:cubicBezTo>
                    <a:pt x="37" y="89"/>
                    <a:pt x="37" y="89"/>
                    <a:pt x="37" y="90"/>
                  </a:cubicBezTo>
                  <a:cubicBezTo>
                    <a:pt x="37" y="90"/>
                    <a:pt x="37" y="90"/>
                    <a:pt x="37" y="90"/>
                  </a:cubicBezTo>
                  <a:cubicBezTo>
                    <a:pt x="37" y="91"/>
                    <a:pt x="37" y="91"/>
                    <a:pt x="37" y="91"/>
                  </a:cubicBezTo>
                  <a:cubicBezTo>
                    <a:pt x="37" y="91"/>
                    <a:pt x="37" y="92"/>
                    <a:pt x="37" y="92"/>
                  </a:cubicBezTo>
                  <a:cubicBezTo>
                    <a:pt x="38" y="92"/>
                    <a:pt x="38" y="92"/>
                    <a:pt x="38" y="92"/>
                  </a:cubicBezTo>
                  <a:cubicBezTo>
                    <a:pt x="39" y="93"/>
                    <a:pt x="40" y="95"/>
                    <a:pt x="40" y="97"/>
                  </a:cubicBezTo>
                  <a:cubicBezTo>
                    <a:pt x="40" y="98"/>
                    <a:pt x="40" y="98"/>
                    <a:pt x="40" y="99"/>
                  </a:cubicBezTo>
                  <a:cubicBezTo>
                    <a:pt x="40" y="99"/>
                    <a:pt x="40" y="99"/>
                    <a:pt x="40" y="99"/>
                  </a:cubicBezTo>
                  <a:cubicBezTo>
                    <a:pt x="40" y="101"/>
                    <a:pt x="40" y="101"/>
                    <a:pt x="40" y="101"/>
                  </a:cubicBezTo>
                  <a:cubicBezTo>
                    <a:pt x="38" y="101"/>
                    <a:pt x="38" y="101"/>
                    <a:pt x="38" y="101"/>
                  </a:cubicBezTo>
                  <a:cubicBezTo>
                    <a:pt x="37" y="102"/>
                    <a:pt x="37" y="102"/>
                    <a:pt x="36" y="102"/>
                  </a:cubicBezTo>
                  <a:cubicBezTo>
                    <a:pt x="35" y="102"/>
                    <a:pt x="34" y="102"/>
                    <a:pt x="34" y="103"/>
                  </a:cubicBezTo>
                  <a:cubicBezTo>
                    <a:pt x="32" y="104"/>
                    <a:pt x="32" y="106"/>
                    <a:pt x="32" y="108"/>
                  </a:cubicBezTo>
                  <a:cubicBezTo>
                    <a:pt x="31" y="109"/>
                    <a:pt x="31" y="109"/>
                    <a:pt x="31" y="109"/>
                  </a:cubicBezTo>
                  <a:cubicBezTo>
                    <a:pt x="31" y="110"/>
                    <a:pt x="31" y="111"/>
                    <a:pt x="31" y="112"/>
                  </a:cubicBezTo>
                  <a:cubicBezTo>
                    <a:pt x="31" y="112"/>
                    <a:pt x="30" y="113"/>
                    <a:pt x="28" y="113"/>
                  </a:cubicBezTo>
                  <a:cubicBezTo>
                    <a:pt x="28" y="113"/>
                    <a:pt x="28" y="113"/>
                    <a:pt x="27" y="113"/>
                  </a:cubicBezTo>
                  <a:cubicBezTo>
                    <a:pt x="27" y="113"/>
                    <a:pt x="27" y="113"/>
                    <a:pt x="27" y="113"/>
                  </a:cubicBezTo>
                  <a:cubicBezTo>
                    <a:pt x="27" y="113"/>
                    <a:pt x="27" y="113"/>
                    <a:pt x="27" y="113"/>
                  </a:cubicBezTo>
                  <a:cubicBezTo>
                    <a:pt x="27" y="114"/>
                    <a:pt x="27" y="114"/>
                    <a:pt x="28" y="115"/>
                  </a:cubicBezTo>
                  <a:cubicBezTo>
                    <a:pt x="28" y="115"/>
                    <a:pt x="29" y="117"/>
                    <a:pt x="28" y="118"/>
                  </a:cubicBezTo>
                  <a:cubicBezTo>
                    <a:pt x="28" y="119"/>
                    <a:pt x="28" y="119"/>
                    <a:pt x="28" y="119"/>
                  </a:cubicBezTo>
                  <a:cubicBezTo>
                    <a:pt x="27" y="120"/>
                    <a:pt x="27" y="120"/>
                    <a:pt x="27" y="120"/>
                  </a:cubicBezTo>
                  <a:cubicBezTo>
                    <a:pt x="27" y="121"/>
                    <a:pt x="26" y="122"/>
                    <a:pt x="25" y="123"/>
                  </a:cubicBezTo>
                  <a:cubicBezTo>
                    <a:pt x="26" y="123"/>
                    <a:pt x="26" y="123"/>
                    <a:pt x="26" y="123"/>
                  </a:cubicBezTo>
                  <a:cubicBezTo>
                    <a:pt x="31" y="123"/>
                    <a:pt x="31" y="123"/>
                    <a:pt x="31" y="123"/>
                  </a:cubicBezTo>
                  <a:cubicBezTo>
                    <a:pt x="28" y="126"/>
                    <a:pt x="28" y="126"/>
                    <a:pt x="28" y="126"/>
                  </a:cubicBezTo>
                  <a:cubicBezTo>
                    <a:pt x="29" y="128"/>
                    <a:pt x="29" y="128"/>
                    <a:pt x="29" y="128"/>
                  </a:cubicBezTo>
                  <a:cubicBezTo>
                    <a:pt x="33" y="124"/>
                    <a:pt x="33" y="124"/>
                    <a:pt x="33" y="124"/>
                  </a:cubicBezTo>
                  <a:cubicBezTo>
                    <a:pt x="30" y="129"/>
                    <a:pt x="30" y="129"/>
                    <a:pt x="30" y="129"/>
                  </a:cubicBezTo>
                  <a:cubicBezTo>
                    <a:pt x="30" y="129"/>
                    <a:pt x="30" y="129"/>
                    <a:pt x="30" y="129"/>
                  </a:cubicBezTo>
                  <a:cubicBezTo>
                    <a:pt x="31" y="129"/>
                    <a:pt x="31" y="129"/>
                    <a:pt x="31" y="129"/>
                  </a:cubicBezTo>
                  <a:cubicBezTo>
                    <a:pt x="31" y="129"/>
                    <a:pt x="31" y="129"/>
                    <a:pt x="31" y="129"/>
                  </a:cubicBezTo>
                  <a:cubicBezTo>
                    <a:pt x="33" y="130"/>
                    <a:pt x="34" y="130"/>
                    <a:pt x="35" y="131"/>
                  </a:cubicBezTo>
                  <a:cubicBezTo>
                    <a:pt x="35" y="131"/>
                    <a:pt x="35" y="132"/>
                    <a:pt x="35" y="132"/>
                  </a:cubicBezTo>
                  <a:cubicBezTo>
                    <a:pt x="36" y="133"/>
                    <a:pt x="36" y="134"/>
                    <a:pt x="36" y="135"/>
                  </a:cubicBezTo>
                  <a:cubicBezTo>
                    <a:pt x="36" y="135"/>
                    <a:pt x="36" y="136"/>
                    <a:pt x="36" y="136"/>
                  </a:cubicBezTo>
                  <a:cubicBezTo>
                    <a:pt x="36" y="136"/>
                    <a:pt x="36" y="137"/>
                    <a:pt x="36" y="138"/>
                  </a:cubicBezTo>
                  <a:cubicBezTo>
                    <a:pt x="36" y="139"/>
                    <a:pt x="36" y="139"/>
                    <a:pt x="36" y="139"/>
                  </a:cubicBezTo>
                  <a:cubicBezTo>
                    <a:pt x="37" y="140"/>
                    <a:pt x="37" y="141"/>
                    <a:pt x="37" y="142"/>
                  </a:cubicBezTo>
                  <a:cubicBezTo>
                    <a:pt x="37" y="143"/>
                    <a:pt x="37" y="143"/>
                    <a:pt x="37" y="143"/>
                  </a:cubicBezTo>
                  <a:cubicBezTo>
                    <a:pt x="38" y="143"/>
                    <a:pt x="38" y="143"/>
                    <a:pt x="38" y="143"/>
                  </a:cubicBezTo>
                  <a:cubicBezTo>
                    <a:pt x="39" y="143"/>
                    <a:pt x="39" y="143"/>
                    <a:pt x="40" y="143"/>
                  </a:cubicBezTo>
                  <a:cubicBezTo>
                    <a:pt x="41" y="143"/>
                    <a:pt x="42" y="143"/>
                    <a:pt x="43" y="144"/>
                  </a:cubicBezTo>
                  <a:cubicBezTo>
                    <a:pt x="45" y="145"/>
                    <a:pt x="46" y="145"/>
                    <a:pt x="47" y="146"/>
                  </a:cubicBezTo>
                  <a:cubicBezTo>
                    <a:pt x="56" y="153"/>
                    <a:pt x="56" y="153"/>
                    <a:pt x="56" y="153"/>
                  </a:cubicBezTo>
                  <a:cubicBezTo>
                    <a:pt x="56" y="153"/>
                    <a:pt x="56" y="153"/>
                    <a:pt x="56" y="153"/>
                  </a:cubicBezTo>
                  <a:cubicBezTo>
                    <a:pt x="56" y="153"/>
                    <a:pt x="56" y="153"/>
                    <a:pt x="56" y="153"/>
                  </a:cubicBezTo>
                  <a:cubicBezTo>
                    <a:pt x="57" y="153"/>
                    <a:pt x="57" y="153"/>
                    <a:pt x="58" y="153"/>
                  </a:cubicBezTo>
                  <a:cubicBezTo>
                    <a:pt x="58" y="153"/>
                    <a:pt x="59" y="153"/>
                    <a:pt x="59" y="153"/>
                  </a:cubicBezTo>
                  <a:cubicBezTo>
                    <a:pt x="60" y="153"/>
                    <a:pt x="61" y="154"/>
                    <a:pt x="63" y="155"/>
                  </a:cubicBezTo>
                  <a:cubicBezTo>
                    <a:pt x="64" y="157"/>
                    <a:pt x="65" y="159"/>
                    <a:pt x="66" y="160"/>
                  </a:cubicBezTo>
                  <a:cubicBezTo>
                    <a:pt x="67" y="161"/>
                    <a:pt x="67" y="161"/>
                    <a:pt x="67" y="161"/>
                  </a:cubicBezTo>
                  <a:cubicBezTo>
                    <a:pt x="67" y="162"/>
                    <a:pt x="68" y="163"/>
                    <a:pt x="69" y="164"/>
                  </a:cubicBezTo>
                  <a:cubicBezTo>
                    <a:pt x="71" y="167"/>
                    <a:pt x="72" y="169"/>
                    <a:pt x="72" y="170"/>
                  </a:cubicBezTo>
                  <a:cubicBezTo>
                    <a:pt x="72" y="170"/>
                    <a:pt x="72" y="170"/>
                    <a:pt x="72" y="170"/>
                  </a:cubicBezTo>
                  <a:cubicBezTo>
                    <a:pt x="72" y="171"/>
                    <a:pt x="72" y="171"/>
                    <a:pt x="72" y="171"/>
                  </a:cubicBezTo>
                  <a:cubicBezTo>
                    <a:pt x="72" y="171"/>
                    <a:pt x="72" y="172"/>
                    <a:pt x="71" y="172"/>
                  </a:cubicBezTo>
                  <a:cubicBezTo>
                    <a:pt x="71" y="172"/>
                    <a:pt x="71" y="172"/>
                    <a:pt x="71" y="172"/>
                  </a:cubicBezTo>
                  <a:cubicBezTo>
                    <a:pt x="71" y="173"/>
                    <a:pt x="71" y="173"/>
                    <a:pt x="71" y="173"/>
                  </a:cubicBezTo>
                  <a:cubicBezTo>
                    <a:pt x="71" y="174"/>
                    <a:pt x="70" y="175"/>
                    <a:pt x="70" y="176"/>
                  </a:cubicBezTo>
                  <a:cubicBezTo>
                    <a:pt x="70" y="176"/>
                    <a:pt x="70" y="176"/>
                    <a:pt x="70" y="176"/>
                  </a:cubicBezTo>
                  <a:cubicBezTo>
                    <a:pt x="69" y="177"/>
                    <a:pt x="69" y="177"/>
                    <a:pt x="69" y="177"/>
                  </a:cubicBezTo>
                  <a:cubicBezTo>
                    <a:pt x="69" y="178"/>
                    <a:pt x="69" y="180"/>
                    <a:pt x="69" y="181"/>
                  </a:cubicBezTo>
                  <a:cubicBezTo>
                    <a:pt x="69" y="182"/>
                    <a:pt x="69" y="183"/>
                    <a:pt x="69" y="184"/>
                  </a:cubicBezTo>
                  <a:cubicBezTo>
                    <a:pt x="69" y="184"/>
                    <a:pt x="70" y="184"/>
                    <a:pt x="70" y="184"/>
                  </a:cubicBezTo>
                  <a:cubicBezTo>
                    <a:pt x="72" y="184"/>
                    <a:pt x="73" y="184"/>
                    <a:pt x="73" y="185"/>
                  </a:cubicBezTo>
                  <a:cubicBezTo>
                    <a:pt x="74" y="185"/>
                    <a:pt x="74" y="185"/>
                    <a:pt x="74" y="185"/>
                  </a:cubicBezTo>
                  <a:cubicBezTo>
                    <a:pt x="74" y="186"/>
                    <a:pt x="74" y="186"/>
                    <a:pt x="74" y="186"/>
                  </a:cubicBezTo>
                  <a:cubicBezTo>
                    <a:pt x="75" y="186"/>
                    <a:pt x="75" y="187"/>
                    <a:pt x="75" y="187"/>
                  </a:cubicBezTo>
                  <a:cubicBezTo>
                    <a:pt x="75" y="188"/>
                    <a:pt x="75" y="188"/>
                    <a:pt x="75" y="189"/>
                  </a:cubicBezTo>
                  <a:cubicBezTo>
                    <a:pt x="76" y="190"/>
                    <a:pt x="75" y="192"/>
                    <a:pt x="75" y="194"/>
                  </a:cubicBezTo>
                  <a:cubicBezTo>
                    <a:pt x="75" y="195"/>
                    <a:pt x="75" y="195"/>
                    <a:pt x="75" y="196"/>
                  </a:cubicBezTo>
                  <a:cubicBezTo>
                    <a:pt x="76" y="196"/>
                    <a:pt x="76" y="196"/>
                    <a:pt x="76" y="196"/>
                  </a:cubicBezTo>
                  <a:cubicBezTo>
                    <a:pt x="76" y="197"/>
                    <a:pt x="77" y="197"/>
                    <a:pt x="78" y="198"/>
                  </a:cubicBezTo>
                  <a:cubicBezTo>
                    <a:pt x="79" y="199"/>
                    <a:pt x="80" y="200"/>
                    <a:pt x="81" y="201"/>
                  </a:cubicBezTo>
                  <a:cubicBezTo>
                    <a:pt x="81" y="202"/>
                    <a:pt x="81" y="202"/>
                    <a:pt x="82" y="203"/>
                  </a:cubicBezTo>
                  <a:cubicBezTo>
                    <a:pt x="82" y="203"/>
                    <a:pt x="82" y="203"/>
                    <a:pt x="82" y="203"/>
                  </a:cubicBezTo>
                  <a:cubicBezTo>
                    <a:pt x="82" y="203"/>
                    <a:pt x="84" y="205"/>
                    <a:pt x="86" y="206"/>
                  </a:cubicBezTo>
                  <a:cubicBezTo>
                    <a:pt x="87" y="208"/>
                    <a:pt x="87" y="208"/>
                    <a:pt x="87" y="208"/>
                  </a:cubicBezTo>
                  <a:cubicBezTo>
                    <a:pt x="88" y="207"/>
                    <a:pt x="89" y="207"/>
                    <a:pt x="90" y="207"/>
                  </a:cubicBezTo>
                  <a:cubicBezTo>
                    <a:pt x="90" y="206"/>
                    <a:pt x="90" y="204"/>
                    <a:pt x="90" y="204"/>
                  </a:cubicBezTo>
                  <a:cubicBezTo>
                    <a:pt x="90" y="203"/>
                    <a:pt x="90" y="203"/>
                    <a:pt x="89" y="202"/>
                  </a:cubicBezTo>
                  <a:cubicBezTo>
                    <a:pt x="89" y="202"/>
                    <a:pt x="88" y="201"/>
                    <a:pt x="89" y="201"/>
                  </a:cubicBezTo>
                  <a:cubicBezTo>
                    <a:pt x="90" y="200"/>
                    <a:pt x="90" y="200"/>
                    <a:pt x="91" y="200"/>
                  </a:cubicBezTo>
                  <a:cubicBezTo>
                    <a:pt x="91" y="200"/>
                    <a:pt x="91" y="200"/>
                    <a:pt x="91" y="200"/>
                  </a:cubicBezTo>
                  <a:cubicBezTo>
                    <a:pt x="93" y="200"/>
                    <a:pt x="94" y="201"/>
                    <a:pt x="95" y="202"/>
                  </a:cubicBezTo>
                  <a:cubicBezTo>
                    <a:pt x="96" y="202"/>
                    <a:pt x="96" y="202"/>
                    <a:pt x="97" y="203"/>
                  </a:cubicBezTo>
                  <a:cubicBezTo>
                    <a:pt x="98" y="203"/>
                    <a:pt x="100" y="204"/>
                    <a:pt x="101" y="206"/>
                  </a:cubicBezTo>
                  <a:cubicBezTo>
                    <a:pt x="101" y="206"/>
                    <a:pt x="101" y="206"/>
                    <a:pt x="101" y="206"/>
                  </a:cubicBezTo>
                  <a:cubicBezTo>
                    <a:pt x="102" y="207"/>
                    <a:pt x="102" y="207"/>
                    <a:pt x="102" y="207"/>
                  </a:cubicBezTo>
                  <a:cubicBezTo>
                    <a:pt x="102" y="207"/>
                    <a:pt x="102" y="207"/>
                    <a:pt x="103" y="207"/>
                  </a:cubicBezTo>
                  <a:cubicBezTo>
                    <a:pt x="103" y="207"/>
                    <a:pt x="104" y="206"/>
                    <a:pt x="105" y="206"/>
                  </a:cubicBezTo>
                  <a:cubicBezTo>
                    <a:pt x="106" y="205"/>
                    <a:pt x="108" y="205"/>
                    <a:pt x="109" y="205"/>
                  </a:cubicBezTo>
                  <a:cubicBezTo>
                    <a:pt x="110" y="204"/>
                    <a:pt x="110" y="204"/>
                    <a:pt x="110" y="204"/>
                  </a:cubicBezTo>
                  <a:cubicBezTo>
                    <a:pt x="110" y="204"/>
                    <a:pt x="111" y="204"/>
                    <a:pt x="111" y="204"/>
                  </a:cubicBezTo>
                  <a:cubicBezTo>
                    <a:pt x="112" y="204"/>
                    <a:pt x="113" y="206"/>
                    <a:pt x="114" y="207"/>
                  </a:cubicBezTo>
                  <a:cubicBezTo>
                    <a:pt x="114" y="208"/>
                    <a:pt x="115" y="209"/>
                    <a:pt x="115" y="210"/>
                  </a:cubicBezTo>
                  <a:cubicBezTo>
                    <a:pt x="115" y="211"/>
                    <a:pt x="116" y="212"/>
                    <a:pt x="116" y="212"/>
                  </a:cubicBezTo>
                  <a:cubicBezTo>
                    <a:pt x="117" y="213"/>
                    <a:pt x="119" y="215"/>
                    <a:pt x="120" y="216"/>
                  </a:cubicBezTo>
                  <a:cubicBezTo>
                    <a:pt x="121" y="217"/>
                    <a:pt x="122" y="219"/>
                    <a:pt x="123" y="220"/>
                  </a:cubicBezTo>
                  <a:cubicBezTo>
                    <a:pt x="123" y="222"/>
                    <a:pt x="123" y="223"/>
                    <a:pt x="122" y="225"/>
                  </a:cubicBezTo>
                  <a:cubicBezTo>
                    <a:pt x="123" y="225"/>
                    <a:pt x="124" y="225"/>
                    <a:pt x="125" y="226"/>
                  </a:cubicBezTo>
                  <a:cubicBezTo>
                    <a:pt x="127" y="226"/>
                    <a:pt x="128" y="227"/>
                    <a:pt x="128" y="229"/>
                  </a:cubicBezTo>
                  <a:cubicBezTo>
                    <a:pt x="128" y="230"/>
                    <a:pt x="128" y="230"/>
                    <a:pt x="128" y="230"/>
                  </a:cubicBezTo>
                  <a:cubicBezTo>
                    <a:pt x="128" y="232"/>
                    <a:pt x="129" y="234"/>
                    <a:pt x="130" y="236"/>
                  </a:cubicBezTo>
                  <a:cubicBezTo>
                    <a:pt x="130" y="237"/>
                    <a:pt x="131" y="239"/>
                    <a:pt x="132" y="241"/>
                  </a:cubicBezTo>
                  <a:cubicBezTo>
                    <a:pt x="133" y="243"/>
                    <a:pt x="134" y="244"/>
                    <a:pt x="134" y="246"/>
                  </a:cubicBezTo>
                  <a:cubicBezTo>
                    <a:pt x="134" y="246"/>
                    <a:pt x="134" y="246"/>
                    <a:pt x="134" y="246"/>
                  </a:cubicBezTo>
                  <a:cubicBezTo>
                    <a:pt x="135" y="248"/>
                    <a:pt x="136" y="249"/>
                    <a:pt x="138" y="250"/>
                  </a:cubicBezTo>
                  <a:cubicBezTo>
                    <a:pt x="138" y="251"/>
                    <a:pt x="139" y="251"/>
                    <a:pt x="141" y="252"/>
                  </a:cubicBezTo>
                  <a:cubicBezTo>
                    <a:pt x="141" y="252"/>
                    <a:pt x="142" y="252"/>
                    <a:pt x="143" y="252"/>
                  </a:cubicBezTo>
                  <a:cubicBezTo>
                    <a:pt x="143" y="252"/>
                    <a:pt x="143" y="252"/>
                    <a:pt x="144" y="252"/>
                  </a:cubicBezTo>
                  <a:cubicBezTo>
                    <a:pt x="144" y="252"/>
                    <a:pt x="144" y="252"/>
                    <a:pt x="144" y="252"/>
                  </a:cubicBezTo>
                  <a:cubicBezTo>
                    <a:pt x="145" y="252"/>
                    <a:pt x="145" y="252"/>
                    <a:pt x="145" y="252"/>
                  </a:cubicBezTo>
                  <a:cubicBezTo>
                    <a:pt x="146" y="252"/>
                    <a:pt x="147" y="252"/>
                    <a:pt x="148" y="253"/>
                  </a:cubicBezTo>
                  <a:cubicBezTo>
                    <a:pt x="149" y="253"/>
                    <a:pt x="149" y="253"/>
                    <a:pt x="149" y="253"/>
                  </a:cubicBezTo>
                  <a:cubicBezTo>
                    <a:pt x="151" y="254"/>
                    <a:pt x="153" y="255"/>
                    <a:pt x="154" y="255"/>
                  </a:cubicBezTo>
                  <a:cubicBezTo>
                    <a:pt x="155" y="256"/>
                    <a:pt x="155" y="256"/>
                    <a:pt x="155" y="256"/>
                  </a:cubicBezTo>
                  <a:cubicBezTo>
                    <a:pt x="156" y="256"/>
                    <a:pt x="156" y="256"/>
                    <a:pt x="156" y="256"/>
                  </a:cubicBezTo>
                  <a:cubicBezTo>
                    <a:pt x="157" y="257"/>
                    <a:pt x="157" y="257"/>
                    <a:pt x="158" y="257"/>
                  </a:cubicBezTo>
                  <a:cubicBezTo>
                    <a:pt x="158" y="258"/>
                    <a:pt x="158" y="258"/>
                    <a:pt x="159" y="259"/>
                  </a:cubicBezTo>
                  <a:cubicBezTo>
                    <a:pt x="160" y="260"/>
                    <a:pt x="161" y="261"/>
                    <a:pt x="162" y="263"/>
                  </a:cubicBezTo>
                  <a:cubicBezTo>
                    <a:pt x="163" y="264"/>
                    <a:pt x="164" y="265"/>
                    <a:pt x="166" y="266"/>
                  </a:cubicBezTo>
                  <a:cubicBezTo>
                    <a:pt x="166" y="266"/>
                    <a:pt x="166" y="266"/>
                    <a:pt x="166" y="266"/>
                  </a:cubicBezTo>
                  <a:cubicBezTo>
                    <a:pt x="168" y="267"/>
                    <a:pt x="169" y="268"/>
                    <a:pt x="171" y="268"/>
                  </a:cubicBezTo>
                  <a:cubicBezTo>
                    <a:pt x="171" y="269"/>
                    <a:pt x="171" y="269"/>
                    <a:pt x="171" y="269"/>
                  </a:cubicBezTo>
                  <a:cubicBezTo>
                    <a:pt x="173" y="269"/>
                    <a:pt x="175" y="270"/>
                    <a:pt x="176" y="271"/>
                  </a:cubicBezTo>
                  <a:cubicBezTo>
                    <a:pt x="176" y="271"/>
                    <a:pt x="176" y="271"/>
                    <a:pt x="176" y="271"/>
                  </a:cubicBezTo>
                  <a:cubicBezTo>
                    <a:pt x="177" y="273"/>
                    <a:pt x="178" y="274"/>
                    <a:pt x="180" y="275"/>
                  </a:cubicBezTo>
                  <a:cubicBezTo>
                    <a:pt x="180" y="275"/>
                    <a:pt x="180" y="275"/>
                    <a:pt x="180" y="275"/>
                  </a:cubicBezTo>
                  <a:cubicBezTo>
                    <a:pt x="181" y="276"/>
                    <a:pt x="183" y="276"/>
                    <a:pt x="185" y="276"/>
                  </a:cubicBezTo>
                  <a:cubicBezTo>
                    <a:pt x="187" y="277"/>
                    <a:pt x="189" y="277"/>
                    <a:pt x="192" y="277"/>
                  </a:cubicBezTo>
                  <a:cubicBezTo>
                    <a:pt x="192" y="277"/>
                    <a:pt x="193" y="277"/>
                    <a:pt x="193" y="278"/>
                  </a:cubicBezTo>
                  <a:cubicBezTo>
                    <a:pt x="195" y="278"/>
                    <a:pt x="197" y="278"/>
                    <a:pt x="198" y="279"/>
                  </a:cubicBezTo>
                  <a:cubicBezTo>
                    <a:pt x="198" y="279"/>
                    <a:pt x="198" y="279"/>
                    <a:pt x="198" y="280"/>
                  </a:cubicBezTo>
                  <a:cubicBezTo>
                    <a:pt x="201" y="279"/>
                    <a:pt x="204" y="278"/>
                    <a:pt x="206" y="277"/>
                  </a:cubicBezTo>
                  <a:cubicBezTo>
                    <a:pt x="207" y="277"/>
                    <a:pt x="208" y="277"/>
                    <a:pt x="209" y="276"/>
                  </a:cubicBezTo>
                  <a:cubicBezTo>
                    <a:pt x="211" y="276"/>
                    <a:pt x="213" y="275"/>
                    <a:pt x="215" y="275"/>
                  </a:cubicBezTo>
                  <a:cubicBezTo>
                    <a:pt x="216" y="274"/>
                    <a:pt x="216" y="272"/>
                    <a:pt x="216" y="272"/>
                  </a:cubicBezTo>
                  <a:cubicBezTo>
                    <a:pt x="218" y="270"/>
                    <a:pt x="221" y="268"/>
                    <a:pt x="224" y="267"/>
                  </a:cubicBezTo>
                  <a:cubicBezTo>
                    <a:pt x="226" y="267"/>
                    <a:pt x="229" y="267"/>
                    <a:pt x="231" y="267"/>
                  </a:cubicBezTo>
                  <a:cubicBezTo>
                    <a:pt x="231" y="267"/>
                    <a:pt x="231" y="267"/>
                    <a:pt x="232" y="267"/>
                  </a:cubicBezTo>
                  <a:cubicBezTo>
                    <a:pt x="232" y="267"/>
                    <a:pt x="232" y="267"/>
                    <a:pt x="232" y="267"/>
                  </a:cubicBezTo>
                  <a:cubicBezTo>
                    <a:pt x="234" y="267"/>
                    <a:pt x="237" y="267"/>
                    <a:pt x="239" y="267"/>
                  </a:cubicBezTo>
                  <a:cubicBezTo>
                    <a:pt x="240" y="268"/>
                    <a:pt x="242" y="268"/>
                    <a:pt x="243" y="270"/>
                  </a:cubicBezTo>
                  <a:cubicBezTo>
                    <a:pt x="243" y="270"/>
                    <a:pt x="243" y="270"/>
                    <a:pt x="243" y="270"/>
                  </a:cubicBezTo>
                  <a:cubicBezTo>
                    <a:pt x="244" y="272"/>
                    <a:pt x="244" y="274"/>
                    <a:pt x="245" y="276"/>
                  </a:cubicBezTo>
                  <a:cubicBezTo>
                    <a:pt x="245" y="278"/>
                    <a:pt x="245" y="280"/>
                    <a:pt x="246" y="282"/>
                  </a:cubicBezTo>
                  <a:cubicBezTo>
                    <a:pt x="246" y="283"/>
                    <a:pt x="246" y="283"/>
                    <a:pt x="246" y="284"/>
                  </a:cubicBezTo>
                  <a:cubicBezTo>
                    <a:pt x="246" y="285"/>
                    <a:pt x="247" y="287"/>
                    <a:pt x="247" y="288"/>
                  </a:cubicBezTo>
                  <a:cubicBezTo>
                    <a:pt x="248" y="290"/>
                    <a:pt x="248" y="292"/>
                    <a:pt x="249" y="294"/>
                  </a:cubicBezTo>
                  <a:cubicBezTo>
                    <a:pt x="249" y="294"/>
                    <a:pt x="249" y="294"/>
                    <a:pt x="249" y="294"/>
                  </a:cubicBezTo>
                  <a:cubicBezTo>
                    <a:pt x="250" y="295"/>
                    <a:pt x="252" y="295"/>
                    <a:pt x="255" y="296"/>
                  </a:cubicBezTo>
                  <a:cubicBezTo>
                    <a:pt x="255" y="296"/>
                    <a:pt x="255" y="296"/>
                    <a:pt x="255" y="296"/>
                  </a:cubicBezTo>
                  <a:cubicBezTo>
                    <a:pt x="257" y="296"/>
                    <a:pt x="259" y="296"/>
                    <a:pt x="261" y="296"/>
                  </a:cubicBezTo>
                  <a:cubicBezTo>
                    <a:pt x="263" y="297"/>
                    <a:pt x="265" y="297"/>
                    <a:pt x="268" y="297"/>
                  </a:cubicBezTo>
                  <a:cubicBezTo>
                    <a:pt x="270" y="298"/>
                    <a:pt x="272" y="298"/>
                    <a:pt x="274" y="298"/>
                  </a:cubicBezTo>
                  <a:cubicBezTo>
                    <a:pt x="275" y="299"/>
                    <a:pt x="276" y="299"/>
                    <a:pt x="277" y="299"/>
                  </a:cubicBezTo>
                  <a:cubicBezTo>
                    <a:pt x="278" y="299"/>
                    <a:pt x="278" y="299"/>
                    <a:pt x="279" y="300"/>
                  </a:cubicBezTo>
                  <a:cubicBezTo>
                    <a:pt x="280" y="300"/>
                    <a:pt x="280" y="300"/>
                    <a:pt x="280" y="300"/>
                  </a:cubicBezTo>
                  <a:cubicBezTo>
                    <a:pt x="282" y="301"/>
                    <a:pt x="282" y="302"/>
                    <a:pt x="284" y="302"/>
                  </a:cubicBezTo>
                  <a:cubicBezTo>
                    <a:pt x="284" y="302"/>
                    <a:pt x="285" y="302"/>
                    <a:pt x="285" y="302"/>
                  </a:cubicBezTo>
                  <a:cubicBezTo>
                    <a:pt x="286" y="302"/>
                    <a:pt x="286" y="302"/>
                    <a:pt x="286" y="302"/>
                  </a:cubicBezTo>
                  <a:cubicBezTo>
                    <a:pt x="288" y="301"/>
                    <a:pt x="290" y="301"/>
                    <a:pt x="292" y="301"/>
                  </a:cubicBezTo>
                  <a:cubicBezTo>
                    <a:pt x="292" y="301"/>
                    <a:pt x="293" y="301"/>
                    <a:pt x="294" y="301"/>
                  </a:cubicBezTo>
                  <a:cubicBezTo>
                    <a:pt x="295" y="301"/>
                    <a:pt x="296" y="301"/>
                    <a:pt x="297" y="301"/>
                  </a:cubicBezTo>
                  <a:cubicBezTo>
                    <a:pt x="298" y="301"/>
                    <a:pt x="299" y="301"/>
                    <a:pt x="301" y="301"/>
                  </a:cubicBezTo>
                  <a:cubicBezTo>
                    <a:pt x="303" y="301"/>
                    <a:pt x="306" y="301"/>
                    <a:pt x="308" y="302"/>
                  </a:cubicBezTo>
                  <a:cubicBezTo>
                    <a:pt x="308" y="302"/>
                    <a:pt x="309" y="302"/>
                    <a:pt x="310" y="302"/>
                  </a:cubicBezTo>
                  <a:cubicBezTo>
                    <a:pt x="310" y="302"/>
                    <a:pt x="310" y="302"/>
                    <a:pt x="310" y="302"/>
                  </a:cubicBezTo>
                  <a:cubicBezTo>
                    <a:pt x="311" y="302"/>
                    <a:pt x="311" y="303"/>
                    <a:pt x="313" y="304"/>
                  </a:cubicBezTo>
                  <a:cubicBezTo>
                    <a:pt x="313" y="304"/>
                    <a:pt x="313" y="304"/>
                    <a:pt x="313" y="304"/>
                  </a:cubicBezTo>
                  <a:cubicBezTo>
                    <a:pt x="314" y="305"/>
                    <a:pt x="316" y="306"/>
                    <a:pt x="318" y="306"/>
                  </a:cubicBezTo>
                  <a:cubicBezTo>
                    <a:pt x="320" y="307"/>
                    <a:pt x="322" y="307"/>
                    <a:pt x="323" y="308"/>
                  </a:cubicBezTo>
                  <a:cubicBezTo>
                    <a:pt x="324" y="308"/>
                    <a:pt x="324" y="308"/>
                    <a:pt x="324" y="308"/>
                  </a:cubicBezTo>
                  <a:cubicBezTo>
                    <a:pt x="324" y="308"/>
                    <a:pt x="324" y="308"/>
                    <a:pt x="325" y="308"/>
                  </a:cubicBezTo>
                  <a:cubicBezTo>
                    <a:pt x="326" y="308"/>
                    <a:pt x="328" y="307"/>
                    <a:pt x="329" y="307"/>
                  </a:cubicBezTo>
                  <a:cubicBezTo>
                    <a:pt x="329" y="306"/>
                    <a:pt x="329" y="306"/>
                    <a:pt x="329" y="306"/>
                  </a:cubicBezTo>
                  <a:cubicBezTo>
                    <a:pt x="329" y="305"/>
                    <a:pt x="329" y="305"/>
                    <a:pt x="329" y="305"/>
                  </a:cubicBezTo>
                  <a:cubicBezTo>
                    <a:pt x="330" y="304"/>
                    <a:pt x="330" y="304"/>
                    <a:pt x="330" y="304"/>
                  </a:cubicBezTo>
                  <a:cubicBezTo>
                    <a:pt x="330" y="304"/>
                    <a:pt x="330" y="303"/>
                    <a:pt x="330" y="302"/>
                  </a:cubicBezTo>
                  <a:cubicBezTo>
                    <a:pt x="330" y="302"/>
                    <a:pt x="330" y="302"/>
                    <a:pt x="330" y="302"/>
                  </a:cubicBezTo>
                  <a:cubicBezTo>
                    <a:pt x="330" y="301"/>
                    <a:pt x="330" y="301"/>
                    <a:pt x="331" y="300"/>
                  </a:cubicBezTo>
                  <a:cubicBezTo>
                    <a:pt x="331" y="299"/>
                    <a:pt x="331" y="299"/>
                    <a:pt x="331" y="299"/>
                  </a:cubicBezTo>
                  <a:cubicBezTo>
                    <a:pt x="332" y="295"/>
                    <a:pt x="332" y="292"/>
                    <a:pt x="333" y="288"/>
                  </a:cubicBezTo>
                  <a:cubicBezTo>
                    <a:pt x="334" y="285"/>
                    <a:pt x="334" y="284"/>
                    <a:pt x="337" y="282"/>
                  </a:cubicBezTo>
                  <a:cubicBezTo>
                    <a:pt x="338" y="282"/>
                    <a:pt x="338" y="282"/>
                    <a:pt x="338" y="282"/>
                  </a:cubicBezTo>
                  <a:cubicBezTo>
                    <a:pt x="338" y="282"/>
                    <a:pt x="339" y="281"/>
                    <a:pt x="339" y="281"/>
                  </a:cubicBezTo>
                  <a:cubicBezTo>
                    <a:pt x="340" y="280"/>
                    <a:pt x="340" y="280"/>
                    <a:pt x="340" y="280"/>
                  </a:cubicBezTo>
                  <a:cubicBezTo>
                    <a:pt x="341" y="280"/>
                    <a:pt x="342" y="279"/>
                    <a:pt x="342" y="279"/>
                  </a:cubicBezTo>
                  <a:cubicBezTo>
                    <a:pt x="344" y="278"/>
                    <a:pt x="345" y="277"/>
                    <a:pt x="346" y="277"/>
                  </a:cubicBezTo>
                  <a:cubicBezTo>
                    <a:pt x="354" y="276"/>
                    <a:pt x="354" y="276"/>
                    <a:pt x="354" y="276"/>
                  </a:cubicBezTo>
                  <a:cubicBezTo>
                    <a:pt x="355" y="276"/>
                    <a:pt x="356" y="276"/>
                    <a:pt x="356" y="276"/>
                  </a:cubicBezTo>
                  <a:cubicBezTo>
                    <a:pt x="357" y="275"/>
                    <a:pt x="358" y="275"/>
                    <a:pt x="359" y="275"/>
                  </a:cubicBezTo>
                  <a:cubicBezTo>
                    <a:pt x="360" y="271"/>
                    <a:pt x="360" y="271"/>
                    <a:pt x="360" y="271"/>
                  </a:cubicBezTo>
                  <a:cubicBezTo>
                    <a:pt x="360" y="270"/>
                    <a:pt x="360" y="268"/>
                    <a:pt x="361" y="267"/>
                  </a:cubicBezTo>
                  <a:cubicBezTo>
                    <a:pt x="360" y="267"/>
                    <a:pt x="360" y="267"/>
                    <a:pt x="360" y="267"/>
                  </a:cubicBezTo>
                  <a:cubicBezTo>
                    <a:pt x="360" y="267"/>
                    <a:pt x="359" y="267"/>
                    <a:pt x="359" y="267"/>
                  </a:cubicBezTo>
                  <a:cubicBezTo>
                    <a:pt x="359" y="267"/>
                    <a:pt x="358" y="267"/>
                    <a:pt x="358" y="267"/>
                  </a:cubicBezTo>
                  <a:cubicBezTo>
                    <a:pt x="357" y="267"/>
                    <a:pt x="357" y="267"/>
                    <a:pt x="357" y="267"/>
                  </a:cubicBezTo>
                  <a:cubicBezTo>
                    <a:pt x="357" y="267"/>
                    <a:pt x="356" y="267"/>
                    <a:pt x="356" y="267"/>
                  </a:cubicBezTo>
                  <a:cubicBezTo>
                    <a:pt x="356" y="267"/>
                    <a:pt x="356" y="267"/>
                    <a:pt x="356" y="267"/>
                  </a:cubicBezTo>
                  <a:cubicBezTo>
                    <a:pt x="354" y="267"/>
                    <a:pt x="352" y="266"/>
                    <a:pt x="351" y="264"/>
                  </a:cubicBezTo>
                  <a:cubicBezTo>
                    <a:pt x="351" y="262"/>
                    <a:pt x="351" y="261"/>
                    <a:pt x="351" y="260"/>
                  </a:cubicBezTo>
                  <a:cubicBezTo>
                    <a:pt x="351" y="259"/>
                    <a:pt x="351" y="259"/>
                    <a:pt x="351" y="258"/>
                  </a:cubicBezTo>
                  <a:cubicBezTo>
                    <a:pt x="351" y="251"/>
                    <a:pt x="351" y="251"/>
                    <a:pt x="351" y="251"/>
                  </a:cubicBezTo>
                  <a:cubicBezTo>
                    <a:pt x="351" y="251"/>
                    <a:pt x="351" y="250"/>
                    <a:pt x="352" y="249"/>
                  </a:cubicBezTo>
                  <a:cubicBezTo>
                    <a:pt x="352" y="248"/>
                    <a:pt x="352" y="247"/>
                    <a:pt x="352" y="247"/>
                  </a:cubicBezTo>
                  <a:cubicBezTo>
                    <a:pt x="351" y="246"/>
                    <a:pt x="351" y="246"/>
                    <a:pt x="351" y="246"/>
                  </a:cubicBezTo>
                  <a:cubicBezTo>
                    <a:pt x="350" y="246"/>
                    <a:pt x="350" y="246"/>
                    <a:pt x="350" y="246"/>
                  </a:cubicBezTo>
                  <a:cubicBezTo>
                    <a:pt x="349" y="245"/>
                    <a:pt x="348" y="245"/>
                    <a:pt x="347" y="245"/>
                  </a:cubicBezTo>
                  <a:cubicBezTo>
                    <a:pt x="346" y="244"/>
                    <a:pt x="346" y="244"/>
                    <a:pt x="345" y="244"/>
                  </a:cubicBezTo>
                  <a:cubicBezTo>
                    <a:pt x="344" y="244"/>
                    <a:pt x="344" y="243"/>
                    <a:pt x="343" y="243"/>
                  </a:cubicBezTo>
                  <a:cubicBezTo>
                    <a:pt x="343" y="243"/>
                    <a:pt x="343" y="243"/>
                    <a:pt x="343" y="243"/>
                  </a:cubicBezTo>
                  <a:cubicBezTo>
                    <a:pt x="342" y="243"/>
                    <a:pt x="341" y="242"/>
                    <a:pt x="340" y="242"/>
                  </a:cubicBezTo>
                  <a:cubicBezTo>
                    <a:pt x="338" y="241"/>
                    <a:pt x="336" y="240"/>
                    <a:pt x="334" y="238"/>
                  </a:cubicBezTo>
                  <a:cubicBezTo>
                    <a:pt x="333" y="235"/>
                    <a:pt x="331" y="233"/>
                    <a:pt x="329" y="230"/>
                  </a:cubicBezTo>
                  <a:cubicBezTo>
                    <a:pt x="328" y="230"/>
                    <a:pt x="328" y="230"/>
                    <a:pt x="328" y="230"/>
                  </a:cubicBezTo>
                  <a:cubicBezTo>
                    <a:pt x="324" y="225"/>
                    <a:pt x="320" y="219"/>
                    <a:pt x="316" y="213"/>
                  </a:cubicBezTo>
                  <a:cubicBezTo>
                    <a:pt x="316" y="212"/>
                    <a:pt x="316" y="212"/>
                    <a:pt x="316" y="212"/>
                  </a:cubicBezTo>
                  <a:cubicBezTo>
                    <a:pt x="312" y="211"/>
                    <a:pt x="312" y="211"/>
                    <a:pt x="312" y="211"/>
                  </a:cubicBezTo>
                  <a:cubicBezTo>
                    <a:pt x="315" y="209"/>
                    <a:pt x="315" y="209"/>
                    <a:pt x="315" y="209"/>
                  </a:cubicBezTo>
                  <a:cubicBezTo>
                    <a:pt x="315" y="209"/>
                    <a:pt x="315" y="209"/>
                    <a:pt x="315" y="209"/>
                  </a:cubicBezTo>
                  <a:cubicBezTo>
                    <a:pt x="316" y="209"/>
                    <a:pt x="316" y="209"/>
                    <a:pt x="316" y="209"/>
                  </a:cubicBezTo>
                  <a:cubicBezTo>
                    <a:pt x="317" y="207"/>
                    <a:pt x="318" y="206"/>
                    <a:pt x="319" y="205"/>
                  </a:cubicBezTo>
                  <a:cubicBezTo>
                    <a:pt x="323" y="200"/>
                    <a:pt x="323" y="200"/>
                    <a:pt x="323" y="200"/>
                  </a:cubicBezTo>
                  <a:cubicBezTo>
                    <a:pt x="324" y="200"/>
                    <a:pt x="324" y="199"/>
                    <a:pt x="325" y="198"/>
                  </a:cubicBezTo>
                  <a:cubicBezTo>
                    <a:pt x="326" y="197"/>
                    <a:pt x="326" y="197"/>
                    <a:pt x="326" y="197"/>
                  </a:cubicBezTo>
                  <a:cubicBezTo>
                    <a:pt x="326" y="196"/>
                    <a:pt x="327" y="196"/>
                    <a:pt x="327" y="196"/>
                  </a:cubicBezTo>
                  <a:cubicBezTo>
                    <a:pt x="328" y="195"/>
                    <a:pt x="328" y="194"/>
                    <a:pt x="329" y="193"/>
                  </a:cubicBezTo>
                  <a:cubicBezTo>
                    <a:pt x="330" y="192"/>
                    <a:pt x="331" y="191"/>
                    <a:pt x="332" y="189"/>
                  </a:cubicBezTo>
                  <a:cubicBezTo>
                    <a:pt x="333" y="188"/>
                    <a:pt x="333" y="187"/>
                    <a:pt x="333" y="186"/>
                  </a:cubicBezTo>
                  <a:cubicBezTo>
                    <a:pt x="333" y="185"/>
                    <a:pt x="333" y="185"/>
                    <a:pt x="333" y="185"/>
                  </a:cubicBezTo>
                  <a:cubicBezTo>
                    <a:pt x="332" y="184"/>
                    <a:pt x="332" y="184"/>
                    <a:pt x="332" y="183"/>
                  </a:cubicBezTo>
                  <a:cubicBezTo>
                    <a:pt x="330" y="181"/>
                    <a:pt x="330" y="181"/>
                    <a:pt x="330" y="181"/>
                  </a:cubicBezTo>
                  <a:cubicBezTo>
                    <a:pt x="330" y="181"/>
                    <a:pt x="330" y="181"/>
                    <a:pt x="329" y="180"/>
                  </a:cubicBezTo>
                  <a:cubicBezTo>
                    <a:pt x="319" y="179"/>
                    <a:pt x="319" y="179"/>
                    <a:pt x="319" y="179"/>
                  </a:cubicBezTo>
                  <a:cubicBezTo>
                    <a:pt x="318" y="179"/>
                    <a:pt x="318" y="179"/>
                    <a:pt x="318" y="179"/>
                  </a:cubicBezTo>
                  <a:cubicBezTo>
                    <a:pt x="318" y="179"/>
                    <a:pt x="315" y="179"/>
                    <a:pt x="315" y="176"/>
                  </a:cubicBezTo>
                  <a:cubicBezTo>
                    <a:pt x="314" y="176"/>
                    <a:pt x="314" y="175"/>
                    <a:pt x="314" y="175"/>
                  </a:cubicBezTo>
                  <a:cubicBezTo>
                    <a:pt x="314" y="174"/>
                    <a:pt x="314" y="174"/>
                    <a:pt x="314" y="173"/>
                  </a:cubicBezTo>
                  <a:cubicBezTo>
                    <a:pt x="314" y="172"/>
                    <a:pt x="314" y="172"/>
                    <a:pt x="314" y="172"/>
                  </a:cubicBezTo>
                  <a:cubicBezTo>
                    <a:pt x="314" y="172"/>
                    <a:pt x="314" y="172"/>
                    <a:pt x="314" y="171"/>
                  </a:cubicBezTo>
                  <a:cubicBezTo>
                    <a:pt x="314" y="168"/>
                    <a:pt x="314" y="168"/>
                    <a:pt x="314" y="168"/>
                  </a:cubicBezTo>
                  <a:cubicBezTo>
                    <a:pt x="314" y="166"/>
                    <a:pt x="314" y="164"/>
                    <a:pt x="314" y="163"/>
                  </a:cubicBezTo>
                  <a:cubicBezTo>
                    <a:pt x="314" y="162"/>
                    <a:pt x="314" y="161"/>
                    <a:pt x="314" y="160"/>
                  </a:cubicBezTo>
                  <a:cubicBezTo>
                    <a:pt x="314" y="159"/>
                    <a:pt x="314" y="159"/>
                    <a:pt x="314" y="159"/>
                  </a:cubicBezTo>
                  <a:cubicBezTo>
                    <a:pt x="314" y="157"/>
                    <a:pt x="314" y="157"/>
                    <a:pt x="314" y="157"/>
                  </a:cubicBezTo>
                  <a:cubicBezTo>
                    <a:pt x="313" y="156"/>
                    <a:pt x="313" y="156"/>
                    <a:pt x="313" y="155"/>
                  </a:cubicBezTo>
                  <a:cubicBezTo>
                    <a:pt x="311" y="148"/>
                    <a:pt x="311" y="148"/>
                    <a:pt x="311" y="148"/>
                  </a:cubicBezTo>
                  <a:cubicBezTo>
                    <a:pt x="311" y="148"/>
                    <a:pt x="311" y="148"/>
                    <a:pt x="311" y="147"/>
                  </a:cubicBezTo>
                  <a:cubicBezTo>
                    <a:pt x="310" y="142"/>
                    <a:pt x="310" y="142"/>
                    <a:pt x="310" y="142"/>
                  </a:cubicBezTo>
                  <a:cubicBezTo>
                    <a:pt x="310" y="139"/>
                    <a:pt x="312" y="137"/>
                    <a:pt x="314" y="135"/>
                  </a:cubicBezTo>
                  <a:cubicBezTo>
                    <a:pt x="314" y="135"/>
                    <a:pt x="314" y="135"/>
                    <a:pt x="314" y="135"/>
                  </a:cubicBezTo>
                  <a:cubicBezTo>
                    <a:pt x="312" y="134"/>
                    <a:pt x="311" y="134"/>
                    <a:pt x="310" y="133"/>
                  </a:cubicBezTo>
                  <a:cubicBezTo>
                    <a:pt x="309" y="132"/>
                    <a:pt x="309" y="131"/>
                    <a:pt x="308" y="129"/>
                  </a:cubicBezTo>
                  <a:cubicBezTo>
                    <a:pt x="308" y="129"/>
                    <a:pt x="308" y="129"/>
                    <a:pt x="308" y="129"/>
                  </a:cubicBezTo>
                  <a:cubicBezTo>
                    <a:pt x="308" y="128"/>
                    <a:pt x="308" y="127"/>
                    <a:pt x="308" y="126"/>
                  </a:cubicBezTo>
                  <a:cubicBezTo>
                    <a:pt x="308" y="123"/>
                    <a:pt x="308" y="122"/>
                    <a:pt x="308" y="121"/>
                  </a:cubicBezTo>
                  <a:cubicBezTo>
                    <a:pt x="308" y="121"/>
                    <a:pt x="308" y="121"/>
                    <a:pt x="308" y="121"/>
                  </a:cubicBezTo>
                  <a:cubicBezTo>
                    <a:pt x="307" y="121"/>
                    <a:pt x="307" y="121"/>
                    <a:pt x="307" y="121"/>
                  </a:cubicBezTo>
                  <a:cubicBezTo>
                    <a:pt x="314" y="115"/>
                    <a:pt x="314" y="115"/>
                    <a:pt x="314" y="115"/>
                  </a:cubicBezTo>
                  <a:cubicBezTo>
                    <a:pt x="314" y="114"/>
                    <a:pt x="313" y="114"/>
                    <a:pt x="313" y="114"/>
                  </a:cubicBezTo>
                  <a:cubicBezTo>
                    <a:pt x="311" y="112"/>
                    <a:pt x="311" y="112"/>
                    <a:pt x="311" y="112"/>
                  </a:cubicBezTo>
                  <a:cubicBezTo>
                    <a:pt x="313" y="110"/>
                    <a:pt x="313" y="110"/>
                    <a:pt x="313" y="110"/>
                  </a:cubicBezTo>
                  <a:cubicBezTo>
                    <a:pt x="314" y="109"/>
                    <a:pt x="315" y="108"/>
                    <a:pt x="316" y="107"/>
                  </a:cubicBezTo>
                  <a:cubicBezTo>
                    <a:pt x="317" y="106"/>
                    <a:pt x="317" y="106"/>
                    <a:pt x="317" y="106"/>
                  </a:cubicBezTo>
                  <a:cubicBezTo>
                    <a:pt x="318" y="105"/>
                    <a:pt x="318" y="105"/>
                    <a:pt x="319" y="104"/>
                  </a:cubicBezTo>
                  <a:cubicBezTo>
                    <a:pt x="319" y="102"/>
                    <a:pt x="319" y="102"/>
                    <a:pt x="319" y="102"/>
                  </a:cubicBezTo>
                  <a:cubicBezTo>
                    <a:pt x="319" y="102"/>
                    <a:pt x="319" y="102"/>
                    <a:pt x="319" y="102"/>
                  </a:cubicBezTo>
                  <a:cubicBezTo>
                    <a:pt x="319" y="101"/>
                    <a:pt x="319" y="101"/>
                    <a:pt x="319" y="101"/>
                  </a:cubicBezTo>
                  <a:cubicBezTo>
                    <a:pt x="320" y="101"/>
                    <a:pt x="320" y="100"/>
                    <a:pt x="320" y="99"/>
                  </a:cubicBezTo>
                  <a:cubicBezTo>
                    <a:pt x="322" y="92"/>
                    <a:pt x="322" y="92"/>
                    <a:pt x="322" y="92"/>
                  </a:cubicBezTo>
                  <a:cubicBezTo>
                    <a:pt x="324" y="90"/>
                    <a:pt x="324" y="90"/>
                    <a:pt x="324" y="90"/>
                  </a:cubicBezTo>
                  <a:cubicBezTo>
                    <a:pt x="324" y="90"/>
                    <a:pt x="324" y="90"/>
                    <a:pt x="324" y="90"/>
                  </a:cubicBezTo>
                  <a:cubicBezTo>
                    <a:pt x="324" y="89"/>
                    <a:pt x="323" y="89"/>
                    <a:pt x="323" y="89"/>
                  </a:cubicBezTo>
                  <a:cubicBezTo>
                    <a:pt x="323" y="88"/>
                    <a:pt x="323" y="88"/>
                    <a:pt x="323" y="88"/>
                  </a:cubicBezTo>
                  <a:cubicBezTo>
                    <a:pt x="323" y="87"/>
                    <a:pt x="323" y="87"/>
                    <a:pt x="322" y="86"/>
                  </a:cubicBezTo>
                  <a:cubicBezTo>
                    <a:pt x="322" y="85"/>
                    <a:pt x="322" y="85"/>
                    <a:pt x="322" y="85"/>
                  </a:cubicBezTo>
                  <a:cubicBezTo>
                    <a:pt x="321" y="83"/>
                    <a:pt x="321" y="83"/>
                    <a:pt x="321" y="83"/>
                  </a:cubicBezTo>
                  <a:cubicBezTo>
                    <a:pt x="321" y="81"/>
                    <a:pt x="321" y="78"/>
                    <a:pt x="321" y="76"/>
                  </a:cubicBezTo>
                  <a:cubicBezTo>
                    <a:pt x="321" y="75"/>
                    <a:pt x="321" y="75"/>
                    <a:pt x="321" y="75"/>
                  </a:cubicBezTo>
                  <a:cubicBezTo>
                    <a:pt x="321" y="75"/>
                    <a:pt x="321" y="74"/>
                    <a:pt x="321" y="74"/>
                  </a:cubicBezTo>
                  <a:cubicBezTo>
                    <a:pt x="321" y="73"/>
                    <a:pt x="321" y="73"/>
                    <a:pt x="321" y="73"/>
                  </a:cubicBezTo>
                  <a:cubicBezTo>
                    <a:pt x="321" y="71"/>
                    <a:pt x="321" y="69"/>
                    <a:pt x="321" y="68"/>
                  </a:cubicBezTo>
                  <a:cubicBezTo>
                    <a:pt x="321" y="68"/>
                    <a:pt x="321" y="68"/>
                    <a:pt x="321" y="68"/>
                  </a:cubicBezTo>
                  <a:cubicBezTo>
                    <a:pt x="320" y="68"/>
                    <a:pt x="319" y="68"/>
                    <a:pt x="318" y="68"/>
                  </a:cubicBezTo>
                  <a:cubicBezTo>
                    <a:pt x="317" y="68"/>
                    <a:pt x="317" y="68"/>
                    <a:pt x="316" y="68"/>
                  </a:cubicBezTo>
                  <a:cubicBezTo>
                    <a:pt x="314" y="68"/>
                    <a:pt x="314" y="68"/>
                    <a:pt x="314" y="68"/>
                  </a:cubicBezTo>
                  <a:cubicBezTo>
                    <a:pt x="313" y="68"/>
                    <a:pt x="312" y="68"/>
                    <a:pt x="311" y="68"/>
                  </a:cubicBezTo>
                  <a:cubicBezTo>
                    <a:pt x="311" y="71"/>
                    <a:pt x="311" y="71"/>
                    <a:pt x="311" y="71"/>
                  </a:cubicBezTo>
                  <a:cubicBezTo>
                    <a:pt x="310" y="68"/>
                    <a:pt x="310" y="68"/>
                    <a:pt x="310" y="68"/>
                  </a:cubicBezTo>
                  <a:cubicBezTo>
                    <a:pt x="310" y="68"/>
                    <a:pt x="310" y="68"/>
                    <a:pt x="310" y="68"/>
                  </a:cubicBezTo>
                  <a:cubicBezTo>
                    <a:pt x="309" y="68"/>
                    <a:pt x="308" y="68"/>
                    <a:pt x="307" y="68"/>
                  </a:cubicBezTo>
                  <a:cubicBezTo>
                    <a:pt x="306" y="67"/>
                    <a:pt x="306" y="67"/>
                    <a:pt x="305" y="67"/>
                  </a:cubicBezTo>
                  <a:cubicBezTo>
                    <a:pt x="305" y="66"/>
                    <a:pt x="305" y="66"/>
                    <a:pt x="305" y="66"/>
                  </a:cubicBezTo>
                  <a:cubicBezTo>
                    <a:pt x="304" y="66"/>
                    <a:pt x="304" y="65"/>
                    <a:pt x="303" y="64"/>
                  </a:cubicBezTo>
                  <a:cubicBezTo>
                    <a:pt x="302" y="63"/>
                    <a:pt x="302" y="63"/>
                    <a:pt x="302" y="63"/>
                  </a:cubicBezTo>
                  <a:cubicBezTo>
                    <a:pt x="302" y="62"/>
                    <a:pt x="301" y="61"/>
                    <a:pt x="301" y="61"/>
                  </a:cubicBezTo>
                  <a:cubicBezTo>
                    <a:pt x="301" y="61"/>
                    <a:pt x="301" y="61"/>
                    <a:pt x="301" y="61"/>
                  </a:cubicBezTo>
                  <a:cubicBezTo>
                    <a:pt x="300" y="60"/>
                    <a:pt x="300" y="60"/>
                    <a:pt x="300" y="60"/>
                  </a:cubicBezTo>
                  <a:cubicBezTo>
                    <a:pt x="300" y="59"/>
                    <a:pt x="300" y="59"/>
                    <a:pt x="300" y="59"/>
                  </a:cubicBezTo>
                  <a:cubicBezTo>
                    <a:pt x="298" y="59"/>
                    <a:pt x="297" y="58"/>
                    <a:pt x="295" y="58"/>
                  </a:cubicBezTo>
                  <a:cubicBezTo>
                    <a:pt x="295" y="58"/>
                    <a:pt x="295" y="58"/>
                    <a:pt x="295" y="58"/>
                  </a:cubicBezTo>
                  <a:cubicBezTo>
                    <a:pt x="294" y="58"/>
                    <a:pt x="294" y="58"/>
                    <a:pt x="293" y="57"/>
                  </a:cubicBezTo>
                  <a:cubicBezTo>
                    <a:pt x="293" y="57"/>
                    <a:pt x="293" y="57"/>
                    <a:pt x="293" y="57"/>
                  </a:cubicBezTo>
                  <a:cubicBezTo>
                    <a:pt x="292" y="57"/>
                    <a:pt x="292" y="57"/>
                    <a:pt x="292" y="57"/>
                  </a:cubicBezTo>
                  <a:cubicBezTo>
                    <a:pt x="291" y="56"/>
                    <a:pt x="291" y="56"/>
                    <a:pt x="291" y="56"/>
                  </a:cubicBezTo>
                  <a:cubicBezTo>
                    <a:pt x="291" y="56"/>
                    <a:pt x="291" y="55"/>
                    <a:pt x="290" y="55"/>
                  </a:cubicBezTo>
                  <a:cubicBezTo>
                    <a:pt x="290" y="53"/>
                    <a:pt x="290" y="53"/>
                    <a:pt x="290" y="53"/>
                  </a:cubicBezTo>
                  <a:cubicBezTo>
                    <a:pt x="289" y="52"/>
                    <a:pt x="288" y="51"/>
                    <a:pt x="287" y="49"/>
                  </a:cubicBezTo>
                  <a:cubicBezTo>
                    <a:pt x="287" y="49"/>
                    <a:pt x="287" y="49"/>
                    <a:pt x="287" y="49"/>
                  </a:cubicBezTo>
                  <a:cubicBezTo>
                    <a:pt x="286" y="47"/>
                    <a:pt x="284" y="47"/>
                    <a:pt x="281" y="46"/>
                  </a:cubicBezTo>
                  <a:cubicBezTo>
                    <a:pt x="280" y="46"/>
                    <a:pt x="280" y="46"/>
                    <a:pt x="280" y="46"/>
                  </a:cubicBezTo>
                  <a:cubicBezTo>
                    <a:pt x="279" y="46"/>
                    <a:pt x="278" y="46"/>
                    <a:pt x="277" y="46"/>
                  </a:cubicBezTo>
                  <a:cubicBezTo>
                    <a:pt x="273" y="46"/>
                    <a:pt x="273" y="46"/>
                    <a:pt x="273" y="46"/>
                  </a:cubicBezTo>
                  <a:cubicBezTo>
                    <a:pt x="272" y="46"/>
                    <a:pt x="272" y="46"/>
                    <a:pt x="272" y="46"/>
                  </a:cubicBezTo>
                  <a:cubicBezTo>
                    <a:pt x="270" y="46"/>
                    <a:pt x="270" y="46"/>
                    <a:pt x="270" y="46"/>
                  </a:cubicBezTo>
                  <a:cubicBezTo>
                    <a:pt x="270" y="46"/>
                    <a:pt x="270" y="46"/>
                    <a:pt x="270" y="46"/>
                  </a:cubicBezTo>
                  <a:cubicBezTo>
                    <a:pt x="270" y="46"/>
                    <a:pt x="269" y="46"/>
                    <a:pt x="269" y="46"/>
                  </a:cubicBezTo>
                  <a:cubicBezTo>
                    <a:pt x="268" y="46"/>
                    <a:pt x="267" y="46"/>
                    <a:pt x="267" y="46"/>
                  </a:cubicBezTo>
                  <a:cubicBezTo>
                    <a:pt x="266" y="45"/>
                    <a:pt x="266" y="45"/>
                    <a:pt x="266" y="45"/>
                  </a:cubicBezTo>
                  <a:cubicBezTo>
                    <a:pt x="263" y="43"/>
                    <a:pt x="263" y="43"/>
                    <a:pt x="263" y="43"/>
                  </a:cubicBezTo>
                  <a:cubicBezTo>
                    <a:pt x="262" y="42"/>
                    <a:pt x="261" y="42"/>
                    <a:pt x="261" y="41"/>
                  </a:cubicBezTo>
                  <a:cubicBezTo>
                    <a:pt x="259" y="41"/>
                    <a:pt x="259" y="41"/>
                    <a:pt x="259" y="41"/>
                  </a:cubicBezTo>
                  <a:cubicBezTo>
                    <a:pt x="258" y="41"/>
                    <a:pt x="258" y="41"/>
                    <a:pt x="257" y="40"/>
                  </a:cubicBezTo>
                  <a:cubicBezTo>
                    <a:pt x="256" y="40"/>
                    <a:pt x="255" y="40"/>
                    <a:pt x="253" y="40"/>
                  </a:cubicBezTo>
                  <a:cubicBezTo>
                    <a:pt x="252" y="40"/>
                    <a:pt x="252" y="40"/>
                    <a:pt x="252" y="40"/>
                  </a:cubicBezTo>
                  <a:cubicBezTo>
                    <a:pt x="250" y="39"/>
                    <a:pt x="249" y="38"/>
                    <a:pt x="248" y="37"/>
                  </a:cubicBezTo>
                  <a:cubicBezTo>
                    <a:pt x="248" y="36"/>
                    <a:pt x="248" y="36"/>
                    <a:pt x="248" y="36"/>
                  </a:cubicBezTo>
                  <a:cubicBezTo>
                    <a:pt x="244" y="38"/>
                    <a:pt x="244" y="38"/>
                    <a:pt x="244" y="38"/>
                  </a:cubicBezTo>
                  <a:cubicBezTo>
                    <a:pt x="248" y="35"/>
                    <a:pt x="248" y="35"/>
                    <a:pt x="248" y="35"/>
                  </a:cubicBezTo>
                  <a:cubicBezTo>
                    <a:pt x="248" y="35"/>
                    <a:pt x="248" y="35"/>
                    <a:pt x="248" y="35"/>
                  </a:cubicBezTo>
                  <a:cubicBezTo>
                    <a:pt x="247" y="33"/>
                    <a:pt x="247" y="33"/>
                    <a:pt x="246" y="33"/>
                  </a:cubicBezTo>
                  <a:cubicBezTo>
                    <a:pt x="245" y="33"/>
                    <a:pt x="244" y="33"/>
                    <a:pt x="243" y="33"/>
                  </a:cubicBezTo>
                  <a:cubicBezTo>
                    <a:pt x="243" y="33"/>
                    <a:pt x="243" y="33"/>
                    <a:pt x="243" y="33"/>
                  </a:cubicBezTo>
                  <a:cubicBezTo>
                    <a:pt x="242" y="32"/>
                    <a:pt x="241" y="32"/>
                    <a:pt x="240" y="32"/>
                  </a:cubicBezTo>
                  <a:cubicBezTo>
                    <a:pt x="239" y="32"/>
                    <a:pt x="239" y="32"/>
                    <a:pt x="239" y="32"/>
                  </a:cubicBezTo>
                  <a:cubicBezTo>
                    <a:pt x="239" y="32"/>
                    <a:pt x="239" y="32"/>
                    <a:pt x="238" y="32"/>
                  </a:cubicBezTo>
                  <a:cubicBezTo>
                    <a:pt x="237" y="32"/>
                    <a:pt x="236" y="32"/>
                    <a:pt x="235" y="33"/>
                  </a:cubicBezTo>
                  <a:cubicBezTo>
                    <a:pt x="234" y="33"/>
                    <a:pt x="234" y="33"/>
                    <a:pt x="234" y="33"/>
                  </a:cubicBezTo>
                  <a:cubicBezTo>
                    <a:pt x="234" y="33"/>
                    <a:pt x="234" y="33"/>
                    <a:pt x="234" y="33"/>
                  </a:cubicBezTo>
                  <a:cubicBezTo>
                    <a:pt x="234" y="33"/>
                    <a:pt x="234" y="33"/>
                    <a:pt x="234" y="33"/>
                  </a:cubicBezTo>
                  <a:cubicBezTo>
                    <a:pt x="232" y="35"/>
                    <a:pt x="231" y="36"/>
                    <a:pt x="228" y="37"/>
                  </a:cubicBezTo>
                  <a:cubicBezTo>
                    <a:pt x="227" y="37"/>
                    <a:pt x="227" y="37"/>
                    <a:pt x="227" y="37"/>
                  </a:cubicBezTo>
                  <a:cubicBezTo>
                    <a:pt x="227" y="40"/>
                    <a:pt x="227" y="40"/>
                    <a:pt x="227" y="40"/>
                  </a:cubicBezTo>
                  <a:cubicBezTo>
                    <a:pt x="226" y="37"/>
                    <a:pt x="226" y="37"/>
                    <a:pt x="226" y="37"/>
                  </a:cubicBezTo>
                  <a:cubicBezTo>
                    <a:pt x="225" y="36"/>
                    <a:pt x="224" y="36"/>
                    <a:pt x="223" y="36"/>
                  </a:cubicBezTo>
                  <a:cubicBezTo>
                    <a:pt x="222" y="36"/>
                    <a:pt x="221" y="36"/>
                    <a:pt x="221" y="36"/>
                  </a:cubicBezTo>
                  <a:cubicBezTo>
                    <a:pt x="217" y="37"/>
                    <a:pt x="215" y="37"/>
                    <a:pt x="212" y="38"/>
                  </a:cubicBezTo>
                  <a:cubicBezTo>
                    <a:pt x="188" y="63"/>
                    <a:pt x="188" y="63"/>
                    <a:pt x="188" y="63"/>
                  </a:cubicBezTo>
                  <a:cubicBezTo>
                    <a:pt x="187" y="62"/>
                    <a:pt x="187" y="62"/>
                    <a:pt x="187" y="62"/>
                  </a:cubicBezTo>
                  <a:cubicBezTo>
                    <a:pt x="186" y="62"/>
                    <a:pt x="186" y="62"/>
                    <a:pt x="185" y="62"/>
                  </a:cubicBezTo>
                  <a:cubicBezTo>
                    <a:pt x="185" y="62"/>
                    <a:pt x="184" y="62"/>
                    <a:pt x="184" y="62"/>
                  </a:cubicBezTo>
                  <a:cubicBezTo>
                    <a:pt x="182" y="62"/>
                    <a:pt x="181" y="62"/>
                    <a:pt x="179" y="61"/>
                  </a:cubicBezTo>
                  <a:cubicBezTo>
                    <a:pt x="180" y="61"/>
                    <a:pt x="180" y="61"/>
                    <a:pt x="180" y="61"/>
                  </a:cubicBezTo>
                  <a:cubicBezTo>
                    <a:pt x="181" y="61"/>
                    <a:pt x="183" y="61"/>
                    <a:pt x="184" y="60"/>
                  </a:cubicBezTo>
                  <a:cubicBezTo>
                    <a:pt x="182" y="60"/>
                    <a:pt x="181" y="60"/>
                    <a:pt x="179" y="61"/>
                  </a:cubicBezTo>
                  <a:cubicBezTo>
                    <a:pt x="176" y="61"/>
                    <a:pt x="173" y="61"/>
                    <a:pt x="171" y="62"/>
                  </a:cubicBezTo>
                  <a:cubicBezTo>
                    <a:pt x="167" y="62"/>
                    <a:pt x="164" y="63"/>
                    <a:pt x="161" y="64"/>
                  </a:cubicBezTo>
                  <a:cubicBezTo>
                    <a:pt x="160" y="64"/>
                    <a:pt x="158" y="65"/>
                    <a:pt x="157" y="65"/>
                  </a:cubicBezTo>
                  <a:cubicBezTo>
                    <a:pt x="155" y="65"/>
                    <a:pt x="153" y="66"/>
                    <a:pt x="151" y="66"/>
                  </a:cubicBezTo>
                  <a:cubicBezTo>
                    <a:pt x="150" y="66"/>
                    <a:pt x="148" y="67"/>
                    <a:pt x="147" y="67"/>
                  </a:cubicBezTo>
                  <a:cubicBezTo>
                    <a:pt x="146" y="67"/>
                    <a:pt x="145" y="67"/>
                    <a:pt x="144" y="67"/>
                  </a:cubicBezTo>
                  <a:cubicBezTo>
                    <a:pt x="143" y="66"/>
                    <a:pt x="142" y="66"/>
                    <a:pt x="141" y="66"/>
                  </a:cubicBezTo>
                  <a:cubicBezTo>
                    <a:pt x="140" y="66"/>
                    <a:pt x="139" y="65"/>
                    <a:pt x="138" y="65"/>
                  </a:cubicBezTo>
                  <a:cubicBezTo>
                    <a:pt x="136" y="65"/>
                    <a:pt x="134" y="64"/>
                    <a:pt x="132" y="63"/>
                  </a:cubicBezTo>
                  <a:cubicBezTo>
                    <a:pt x="130" y="63"/>
                    <a:pt x="129" y="62"/>
                    <a:pt x="127" y="61"/>
                  </a:cubicBezTo>
                  <a:cubicBezTo>
                    <a:pt x="127" y="61"/>
                    <a:pt x="127" y="61"/>
                    <a:pt x="127" y="61"/>
                  </a:cubicBezTo>
                  <a:cubicBezTo>
                    <a:pt x="125" y="61"/>
                    <a:pt x="124" y="60"/>
                    <a:pt x="122" y="59"/>
                  </a:cubicBezTo>
                  <a:cubicBezTo>
                    <a:pt x="120" y="58"/>
                    <a:pt x="119" y="57"/>
                    <a:pt x="117" y="56"/>
                  </a:cubicBezTo>
                  <a:cubicBezTo>
                    <a:pt x="117" y="55"/>
                    <a:pt x="116" y="54"/>
                    <a:pt x="115" y="53"/>
                  </a:cubicBezTo>
                  <a:cubicBezTo>
                    <a:pt x="115" y="53"/>
                    <a:pt x="115" y="52"/>
                    <a:pt x="114" y="52"/>
                  </a:cubicBezTo>
                  <a:cubicBezTo>
                    <a:pt x="113" y="51"/>
                    <a:pt x="111" y="50"/>
                    <a:pt x="109" y="49"/>
                  </a:cubicBezTo>
                  <a:cubicBezTo>
                    <a:pt x="107" y="49"/>
                    <a:pt x="105" y="48"/>
                    <a:pt x="104" y="48"/>
                  </a:cubicBezTo>
                  <a:cubicBezTo>
                    <a:pt x="103" y="48"/>
                    <a:pt x="103" y="48"/>
                    <a:pt x="103" y="48"/>
                  </a:cubicBezTo>
                  <a:cubicBezTo>
                    <a:pt x="101" y="47"/>
                    <a:pt x="99" y="47"/>
                    <a:pt x="97" y="46"/>
                  </a:cubicBezTo>
                  <a:cubicBezTo>
                    <a:pt x="96" y="46"/>
                    <a:pt x="94" y="45"/>
                    <a:pt x="93" y="43"/>
                  </a:cubicBezTo>
                  <a:cubicBezTo>
                    <a:pt x="93" y="43"/>
                    <a:pt x="92" y="42"/>
                    <a:pt x="92" y="41"/>
                  </a:cubicBezTo>
                  <a:cubicBezTo>
                    <a:pt x="92" y="40"/>
                    <a:pt x="91" y="39"/>
                    <a:pt x="91" y="38"/>
                  </a:cubicBezTo>
                  <a:cubicBezTo>
                    <a:pt x="90" y="36"/>
                    <a:pt x="90" y="34"/>
                    <a:pt x="90" y="32"/>
                  </a:cubicBezTo>
                  <a:cubicBezTo>
                    <a:pt x="89" y="31"/>
                    <a:pt x="89" y="30"/>
                    <a:pt x="89" y="29"/>
                  </a:cubicBezTo>
                  <a:cubicBezTo>
                    <a:pt x="88" y="29"/>
                    <a:pt x="88" y="29"/>
                    <a:pt x="88" y="29"/>
                  </a:cubicBezTo>
                  <a:cubicBezTo>
                    <a:pt x="88" y="29"/>
                    <a:pt x="87" y="29"/>
                    <a:pt x="87" y="29"/>
                  </a:cubicBezTo>
                  <a:cubicBezTo>
                    <a:pt x="87" y="29"/>
                    <a:pt x="87" y="29"/>
                    <a:pt x="87" y="29"/>
                  </a:cubicBezTo>
                  <a:cubicBezTo>
                    <a:pt x="86" y="29"/>
                    <a:pt x="86" y="29"/>
                    <a:pt x="85" y="29"/>
                  </a:cubicBezTo>
                  <a:cubicBezTo>
                    <a:pt x="85" y="29"/>
                    <a:pt x="85" y="29"/>
                    <a:pt x="85" y="29"/>
                  </a:cubicBezTo>
                  <a:cubicBezTo>
                    <a:pt x="85" y="29"/>
                    <a:pt x="85" y="29"/>
                    <a:pt x="85" y="29"/>
                  </a:cubicBezTo>
                  <a:cubicBezTo>
                    <a:pt x="84" y="29"/>
                    <a:pt x="84" y="29"/>
                    <a:pt x="84" y="29"/>
                  </a:cubicBezTo>
                  <a:cubicBezTo>
                    <a:pt x="84" y="29"/>
                    <a:pt x="84" y="29"/>
                    <a:pt x="84" y="29"/>
                  </a:cubicBezTo>
                  <a:cubicBezTo>
                    <a:pt x="83" y="29"/>
                    <a:pt x="83" y="29"/>
                    <a:pt x="83" y="29"/>
                  </a:cubicBezTo>
                  <a:cubicBezTo>
                    <a:pt x="83" y="29"/>
                    <a:pt x="83" y="29"/>
                    <a:pt x="83" y="29"/>
                  </a:cubicBezTo>
                  <a:cubicBezTo>
                    <a:pt x="81" y="28"/>
                    <a:pt x="81" y="27"/>
                    <a:pt x="80" y="26"/>
                  </a:cubicBezTo>
                  <a:cubicBezTo>
                    <a:pt x="80" y="26"/>
                    <a:pt x="80" y="26"/>
                    <a:pt x="80" y="26"/>
                  </a:cubicBezTo>
                  <a:cubicBezTo>
                    <a:pt x="80" y="25"/>
                    <a:pt x="79" y="25"/>
                    <a:pt x="79" y="25"/>
                  </a:cubicBezTo>
                  <a:cubicBezTo>
                    <a:pt x="78" y="24"/>
                    <a:pt x="77" y="24"/>
                    <a:pt x="76" y="23"/>
                  </a:cubicBezTo>
                  <a:cubicBezTo>
                    <a:pt x="76" y="23"/>
                    <a:pt x="76" y="23"/>
                    <a:pt x="75" y="22"/>
                  </a:cubicBezTo>
                  <a:cubicBezTo>
                    <a:pt x="75" y="22"/>
                    <a:pt x="75" y="22"/>
                    <a:pt x="75" y="22"/>
                  </a:cubicBezTo>
                  <a:cubicBezTo>
                    <a:pt x="75" y="22"/>
                    <a:pt x="75" y="22"/>
                    <a:pt x="75" y="22"/>
                  </a:cubicBezTo>
                  <a:cubicBezTo>
                    <a:pt x="68" y="16"/>
                    <a:pt x="68" y="16"/>
                    <a:pt x="68" y="16"/>
                  </a:cubicBezTo>
                  <a:cubicBezTo>
                    <a:pt x="74" y="12"/>
                    <a:pt x="74" y="12"/>
                    <a:pt x="74" y="12"/>
                  </a:cubicBezTo>
                  <a:cubicBezTo>
                    <a:pt x="74" y="11"/>
                    <a:pt x="73" y="10"/>
                    <a:pt x="74" y="8"/>
                  </a:cubicBezTo>
                  <a:cubicBezTo>
                    <a:pt x="74" y="7"/>
                    <a:pt x="74" y="7"/>
                    <a:pt x="75" y="6"/>
                  </a:cubicBezTo>
                  <a:cubicBezTo>
                    <a:pt x="75" y="5"/>
                    <a:pt x="75" y="5"/>
                    <a:pt x="75" y="5"/>
                  </a:cubicBezTo>
                  <a:cubicBezTo>
                    <a:pt x="75" y="5"/>
                    <a:pt x="75" y="5"/>
                    <a:pt x="75" y="5"/>
                  </a:cubicBezTo>
                  <a:cubicBezTo>
                    <a:pt x="74" y="3"/>
                    <a:pt x="74" y="3"/>
                    <a:pt x="74" y="3"/>
                  </a:cubicBezTo>
                  <a:cubicBezTo>
                    <a:pt x="72" y="1"/>
                    <a:pt x="71" y="1"/>
                    <a:pt x="71" y="0"/>
                  </a:cubicBezTo>
                  <a:cubicBezTo>
                    <a:pt x="71" y="0"/>
                    <a:pt x="70" y="1"/>
                    <a:pt x="68" y="2"/>
                  </a:cubicBezTo>
                  <a:cubicBezTo>
                    <a:pt x="67" y="3"/>
                    <a:pt x="67" y="3"/>
                    <a:pt x="67" y="3"/>
                  </a:cubicBezTo>
                  <a:cubicBezTo>
                    <a:pt x="64" y="4"/>
                    <a:pt x="62" y="6"/>
                    <a:pt x="60" y="7"/>
                  </a:cubicBezTo>
                  <a:cubicBezTo>
                    <a:pt x="58" y="8"/>
                    <a:pt x="58" y="8"/>
                    <a:pt x="58" y="8"/>
                  </a:cubicBezTo>
                  <a:cubicBezTo>
                    <a:pt x="57" y="9"/>
                    <a:pt x="57" y="10"/>
                    <a:pt x="56" y="10"/>
                  </a:cubicBezTo>
                  <a:cubicBezTo>
                    <a:pt x="54" y="11"/>
                    <a:pt x="53" y="12"/>
                    <a:pt x="51" y="13"/>
                  </a:cubicBezTo>
                  <a:cubicBezTo>
                    <a:pt x="51" y="14"/>
                    <a:pt x="51" y="14"/>
                    <a:pt x="50" y="14"/>
                  </a:cubicBezTo>
                  <a:cubicBezTo>
                    <a:pt x="50" y="15"/>
                    <a:pt x="50" y="15"/>
                    <a:pt x="50" y="15"/>
                  </a:cubicBezTo>
                  <a:cubicBezTo>
                    <a:pt x="49" y="16"/>
                    <a:pt x="49" y="16"/>
                    <a:pt x="49" y="16"/>
                  </a:cubicBezTo>
                  <a:cubicBezTo>
                    <a:pt x="48" y="17"/>
                    <a:pt x="47" y="17"/>
                    <a:pt x="46" y="18"/>
                  </a:cubicBezTo>
                  <a:cubicBezTo>
                    <a:pt x="46" y="18"/>
                    <a:pt x="46" y="18"/>
                    <a:pt x="46" y="18"/>
                  </a:cubicBezTo>
                  <a:cubicBezTo>
                    <a:pt x="43" y="23"/>
                    <a:pt x="43" y="23"/>
                    <a:pt x="43" y="23"/>
                  </a:cubicBezTo>
                  <a:cubicBezTo>
                    <a:pt x="43" y="21"/>
                    <a:pt x="43" y="21"/>
                    <a:pt x="43" y="21"/>
                  </a:cubicBezTo>
                  <a:cubicBezTo>
                    <a:pt x="43" y="21"/>
                    <a:pt x="43" y="21"/>
                    <a:pt x="43" y="21"/>
                  </a:cubicBezTo>
                  <a:cubicBezTo>
                    <a:pt x="42" y="19"/>
                    <a:pt x="42" y="19"/>
                    <a:pt x="42" y="19"/>
                  </a:cubicBezTo>
                  <a:cubicBezTo>
                    <a:pt x="42" y="19"/>
                    <a:pt x="42" y="19"/>
                    <a:pt x="42" y="19"/>
                  </a:cubicBezTo>
                  <a:cubicBezTo>
                    <a:pt x="42" y="19"/>
                    <a:pt x="42" y="19"/>
                    <a:pt x="42" y="19"/>
                  </a:cubicBezTo>
                  <a:cubicBezTo>
                    <a:pt x="42" y="19"/>
                    <a:pt x="42" y="19"/>
                    <a:pt x="42" y="19"/>
                  </a:cubicBezTo>
                  <a:cubicBezTo>
                    <a:pt x="42" y="19"/>
                    <a:pt x="41" y="19"/>
                    <a:pt x="41" y="19"/>
                  </a:cubicBezTo>
                  <a:cubicBezTo>
                    <a:pt x="40" y="19"/>
                    <a:pt x="40" y="19"/>
                    <a:pt x="40" y="19"/>
                  </a:cubicBezTo>
                  <a:cubicBezTo>
                    <a:pt x="40" y="20"/>
                    <a:pt x="40" y="20"/>
                    <a:pt x="40" y="20"/>
                  </a:cubicBezTo>
                  <a:cubicBezTo>
                    <a:pt x="38" y="20"/>
                    <a:pt x="38" y="20"/>
                    <a:pt x="38" y="20"/>
                  </a:cubicBezTo>
                  <a:cubicBezTo>
                    <a:pt x="38" y="20"/>
                    <a:pt x="34" y="19"/>
                    <a:pt x="32" y="19"/>
                  </a:cubicBezTo>
                  <a:cubicBezTo>
                    <a:pt x="29" y="19"/>
                    <a:pt x="22" y="17"/>
                    <a:pt x="21" y="15"/>
                  </a:cubicBezTo>
                  <a:cubicBezTo>
                    <a:pt x="21" y="14"/>
                    <a:pt x="19" y="13"/>
                    <a:pt x="18" y="12"/>
                  </a:cubicBezTo>
                  <a:cubicBezTo>
                    <a:pt x="18" y="11"/>
                    <a:pt x="18" y="11"/>
                    <a:pt x="18" y="11"/>
                  </a:cubicBezTo>
                  <a:cubicBezTo>
                    <a:pt x="17" y="11"/>
                    <a:pt x="17" y="10"/>
                    <a:pt x="16" y="10"/>
                  </a:cubicBezTo>
                  <a:cubicBezTo>
                    <a:pt x="13" y="7"/>
                    <a:pt x="11" y="4"/>
                    <a:pt x="10" y="3"/>
                  </a:cubicBezTo>
                  <a:cubicBezTo>
                    <a:pt x="10" y="2"/>
                    <a:pt x="10" y="2"/>
                    <a:pt x="10" y="2"/>
                  </a:cubicBezTo>
                  <a:cubicBezTo>
                    <a:pt x="9" y="3"/>
                    <a:pt x="9" y="3"/>
                    <a:pt x="9" y="3"/>
                  </a:cubicBezTo>
                  <a:cubicBezTo>
                    <a:pt x="9" y="2"/>
                    <a:pt x="9" y="2"/>
                    <a:pt x="9" y="2"/>
                  </a:cubicBezTo>
                  <a:cubicBezTo>
                    <a:pt x="9" y="1"/>
                    <a:pt x="9" y="1"/>
                    <a:pt x="9" y="1"/>
                  </a:cubicBezTo>
                  <a:cubicBezTo>
                    <a:pt x="9" y="1"/>
                    <a:pt x="9" y="1"/>
                    <a:pt x="9" y="1"/>
                  </a:cubicBezTo>
                  <a:cubicBezTo>
                    <a:pt x="9" y="1"/>
                    <a:pt x="9" y="1"/>
                    <a:pt x="9" y="1"/>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 name="Freeform 423">
              <a:extLst>
                <a:ext uri="{FF2B5EF4-FFF2-40B4-BE49-F238E27FC236}">
                  <a16:creationId xmlns:a16="http://schemas.microsoft.com/office/drawing/2014/main" id="{E5C58A93-1FB3-4EEE-8487-95358B1A1AA1}"/>
                </a:ext>
              </a:extLst>
            </p:cNvPr>
            <p:cNvSpPr>
              <a:spLocks/>
            </p:cNvSpPr>
            <p:nvPr/>
          </p:nvSpPr>
          <p:spPr bwMode="auto">
            <a:xfrm>
              <a:off x="1667048" y="4005276"/>
              <a:ext cx="35762" cy="75650"/>
            </a:xfrm>
            <a:custGeom>
              <a:avLst/>
              <a:gdLst>
                <a:gd name="T0" fmla="*/ 11 w 11"/>
                <a:gd name="T1" fmla="*/ 0 h 23"/>
                <a:gd name="T2" fmla="*/ 10 w 11"/>
                <a:gd name="T3" fmla="*/ 1 h 23"/>
                <a:gd name="T4" fmla="*/ 7 w 11"/>
                <a:gd name="T5" fmla="*/ 3 h 23"/>
                <a:gd name="T6" fmla="*/ 3 w 11"/>
                <a:gd name="T7" fmla="*/ 6 h 23"/>
                <a:gd name="T8" fmla="*/ 1 w 11"/>
                <a:gd name="T9" fmla="*/ 8 h 23"/>
                <a:gd name="T10" fmla="*/ 0 w 11"/>
                <a:gd name="T11" fmla="*/ 9 h 23"/>
                <a:gd name="T12" fmla="*/ 7 w 11"/>
                <a:gd name="T13" fmla="*/ 23 h 23"/>
                <a:gd name="T14" fmla="*/ 6 w 11"/>
                <a:gd name="T15" fmla="*/ 16 h 23"/>
                <a:gd name="T16" fmla="*/ 8 w 11"/>
                <a:gd name="T17" fmla="*/ 10 h 23"/>
                <a:gd name="T18" fmla="*/ 7 w 11"/>
                <a:gd name="T19" fmla="*/ 8 h 23"/>
                <a:gd name="T20" fmla="*/ 6 w 11"/>
                <a:gd name="T21" fmla="*/ 9 h 23"/>
                <a:gd name="T22" fmla="*/ 5 w 11"/>
                <a:gd name="T23" fmla="*/ 9 h 23"/>
                <a:gd name="T24" fmla="*/ 7 w 11"/>
                <a:gd name="T25" fmla="*/ 6 h 23"/>
                <a:gd name="T26" fmla="*/ 10 w 11"/>
                <a:gd name="T27" fmla="*/ 1 h 23"/>
                <a:gd name="T28" fmla="*/ 11 w 11"/>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3">
                  <a:moveTo>
                    <a:pt x="11" y="0"/>
                  </a:moveTo>
                  <a:cubicBezTo>
                    <a:pt x="10" y="1"/>
                    <a:pt x="10" y="1"/>
                    <a:pt x="10" y="1"/>
                  </a:cubicBezTo>
                  <a:cubicBezTo>
                    <a:pt x="9" y="1"/>
                    <a:pt x="8" y="2"/>
                    <a:pt x="7" y="3"/>
                  </a:cubicBezTo>
                  <a:cubicBezTo>
                    <a:pt x="5" y="4"/>
                    <a:pt x="4" y="5"/>
                    <a:pt x="3" y="6"/>
                  </a:cubicBezTo>
                  <a:cubicBezTo>
                    <a:pt x="1" y="8"/>
                    <a:pt x="1" y="8"/>
                    <a:pt x="1" y="8"/>
                  </a:cubicBezTo>
                  <a:cubicBezTo>
                    <a:pt x="1" y="9"/>
                    <a:pt x="0" y="9"/>
                    <a:pt x="0" y="9"/>
                  </a:cubicBezTo>
                  <a:cubicBezTo>
                    <a:pt x="2" y="14"/>
                    <a:pt x="5" y="18"/>
                    <a:pt x="7" y="23"/>
                  </a:cubicBezTo>
                  <a:cubicBezTo>
                    <a:pt x="7" y="20"/>
                    <a:pt x="6" y="19"/>
                    <a:pt x="6" y="16"/>
                  </a:cubicBezTo>
                  <a:cubicBezTo>
                    <a:pt x="6" y="14"/>
                    <a:pt x="7" y="13"/>
                    <a:pt x="8" y="10"/>
                  </a:cubicBezTo>
                  <a:cubicBezTo>
                    <a:pt x="8" y="9"/>
                    <a:pt x="8" y="8"/>
                    <a:pt x="7" y="8"/>
                  </a:cubicBezTo>
                  <a:cubicBezTo>
                    <a:pt x="7" y="8"/>
                    <a:pt x="6" y="8"/>
                    <a:pt x="6" y="9"/>
                  </a:cubicBezTo>
                  <a:cubicBezTo>
                    <a:pt x="6" y="9"/>
                    <a:pt x="6" y="9"/>
                    <a:pt x="5" y="9"/>
                  </a:cubicBezTo>
                  <a:cubicBezTo>
                    <a:pt x="4" y="9"/>
                    <a:pt x="6" y="6"/>
                    <a:pt x="7" y="6"/>
                  </a:cubicBezTo>
                  <a:cubicBezTo>
                    <a:pt x="8" y="4"/>
                    <a:pt x="8" y="2"/>
                    <a:pt x="10" y="1"/>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 name="Freeform 424">
              <a:extLst>
                <a:ext uri="{FF2B5EF4-FFF2-40B4-BE49-F238E27FC236}">
                  <a16:creationId xmlns:a16="http://schemas.microsoft.com/office/drawing/2014/main" id="{6B7A65A4-CAC3-4731-A7A5-CAC68659EBD4}"/>
                </a:ext>
              </a:extLst>
            </p:cNvPr>
            <p:cNvSpPr>
              <a:spLocks/>
            </p:cNvSpPr>
            <p:nvPr/>
          </p:nvSpPr>
          <p:spPr bwMode="auto">
            <a:xfrm>
              <a:off x="1680802" y="3959886"/>
              <a:ext cx="854156" cy="533675"/>
            </a:xfrm>
            <a:custGeom>
              <a:avLst/>
              <a:gdLst>
                <a:gd name="T0" fmla="*/ 109 w 263"/>
                <a:gd name="T1" fmla="*/ 10 h 164"/>
                <a:gd name="T2" fmla="*/ 103 w 263"/>
                <a:gd name="T3" fmla="*/ 6 h 164"/>
                <a:gd name="T4" fmla="*/ 87 w 263"/>
                <a:gd name="T5" fmla="*/ 16 h 164"/>
                <a:gd name="T6" fmla="*/ 84 w 263"/>
                <a:gd name="T7" fmla="*/ 24 h 164"/>
                <a:gd name="T8" fmla="*/ 71 w 263"/>
                <a:gd name="T9" fmla="*/ 33 h 164"/>
                <a:gd name="T10" fmla="*/ 57 w 263"/>
                <a:gd name="T11" fmla="*/ 33 h 164"/>
                <a:gd name="T12" fmla="*/ 49 w 263"/>
                <a:gd name="T13" fmla="*/ 31 h 164"/>
                <a:gd name="T14" fmla="*/ 35 w 263"/>
                <a:gd name="T15" fmla="*/ 16 h 164"/>
                <a:gd name="T16" fmla="*/ 24 w 263"/>
                <a:gd name="T17" fmla="*/ 10 h 164"/>
                <a:gd name="T18" fmla="*/ 20 w 263"/>
                <a:gd name="T19" fmla="*/ 12 h 164"/>
                <a:gd name="T20" fmla="*/ 35 w 263"/>
                <a:gd name="T21" fmla="*/ 41 h 164"/>
                <a:gd name="T22" fmla="*/ 31 w 263"/>
                <a:gd name="T23" fmla="*/ 45 h 164"/>
                <a:gd name="T24" fmla="*/ 20 w 263"/>
                <a:gd name="T25" fmla="*/ 47 h 164"/>
                <a:gd name="T26" fmla="*/ 14 w 263"/>
                <a:gd name="T27" fmla="*/ 44 h 164"/>
                <a:gd name="T28" fmla="*/ 5 w 263"/>
                <a:gd name="T29" fmla="*/ 60 h 164"/>
                <a:gd name="T30" fmla="*/ 11 w 263"/>
                <a:gd name="T31" fmla="*/ 61 h 164"/>
                <a:gd name="T32" fmla="*/ 13 w 263"/>
                <a:gd name="T33" fmla="*/ 61 h 164"/>
                <a:gd name="T34" fmla="*/ 11 w 263"/>
                <a:gd name="T35" fmla="*/ 71 h 164"/>
                <a:gd name="T36" fmla="*/ 9 w 263"/>
                <a:gd name="T37" fmla="*/ 75 h 164"/>
                <a:gd name="T38" fmla="*/ 23 w 263"/>
                <a:gd name="T39" fmla="*/ 123 h 164"/>
                <a:gd name="T40" fmla="*/ 65 w 263"/>
                <a:gd name="T41" fmla="*/ 101 h 164"/>
                <a:gd name="T42" fmla="*/ 72 w 263"/>
                <a:gd name="T43" fmla="*/ 97 h 164"/>
                <a:gd name="T44" fmla="*/ 84 w 263"/>
                <a:gd name="T45" fmla="*/ 97 h 164"/>
                <a:gd name="T46" fmla="*/ 99 w 263"/>
                <a:gd name="T47" fmla="*/ 106 h 164"/>
                <a:gd name="T48" fmla="*/ 107 w 263"/>
                <a:gd name="T49" fmla="*/ 110 h 164"/>
                <a:gd name="T50" fmla="*/ 111 w 263"/>
                <a:gd name="T51" fmla="*/ 111 h 164"/>
                <a:gd name="T52" fmla="*/ 126 w 263"/>
                <a:gd name="T53" fmla="*/ 113 h 164"/>
                <a:gd name="T54" fmla="*/ 134 w 263"/>
                <a:gd name="T55" fmla="*/ 122 h 164"/>
                <a:gd name="T56" fmla="*/ 146 w 263"/>
                <a:gd name="T57" fmla="*/ 132 h 164"/>
                <a:gd name="T58" fmla="*/ 154 w 263"/>
                <a:gd name="T59" fmla="*/ 132 h 164"/>
                <a:gd name="T60" fmla="*/ 163 w 263"/>
                <a:gd name="T61" fmla="*/ 136 h 164"/>
                <a:gd name="T62" fmla="*/ 165 w 263"/>
                <a:gd name="T63" fmla="*/ 156 h 164"/>
                <a:gd name="T64" fmla="*/ 172 w 263"/>
                <a:gd name="T65" fmla="*/ 158 h 164"/>
                <a:gd name="T66" fmla="*/ 183 w 263"/>
                <a:gd name="T67" fmla="*/ 164 h 164"/>
                <a:gd name="T68" fmla="*/ 196 w 263"/>
                <a:gd name="T69" fmla="*/ 158 h 164"/>
                <a:gd name="T70" fmla="*/ 205 w 263"/>
                <a:gd name="T71" fmla="*/ 149 h 164"/>
                <a:gd name="T72" fmla="*/ 224 w 263"/>
                <a:gd name="T73" fmla="*/ 137 h 164"/>
                <a:gd name="T74" fmla="*/ 239 w 263"/>
                <a:gd name="T75" fmla="*/ 120 h 164"/>
                <a:gd name="T76" fmla="*/ 247 w 263"/>
                <a:gd name="T77" fmla="*/ 114 h 164"/>
                <a:gd name="T78" fmla="*/ 253 w 263"/>
                <a:gd name="T79" fmla="*/ 115 h 164"/>
                <a:gd name="T80" fmla="*/ 259 w 263"/>
                <a:gd name="T81" fmla="*/ 117 h 164"/>
                <a:gd name="T82" fmla="*/ 262 w 263"/>
                <a:gd name="T83" fmla="*/ 115 h 164"/>
                <a:gd name="T84" fmla="*/ 260 w 263"/>
                <a:gd name="T85" fmla="*/ 106 h 164"/>
                <a:gd name="T86" fmla="*/ 248 w 263"/>
                <a:gd name="T87" fmla="*/ 102 h 164"/>
                <a:gd name="T88" fmla="*/ 230 w 263"/>
                <a:gd name="T89" fmla="*/ 92 h 164"/>
                <a:gd name="T90" fmla="*/ 197 w 263"/>
                <a:gd name="T91" fmla="*/ 71 h 164"/>
                <a:gd name="T92" fmla="*/ 185 w 263"/>
                <a:gd name="T93" fmla="*/ 62 h 164"/>
                <a:gd name="T94" fmla="*/ 180 w 263"/>
                <a:gd name="T95" fmla="*/ 53 h 164"/>
                <a:gd name="T96" fmla="*/ 162 w 263"/>
                <a:gd name="T97" fmla="*/ 36 h 164"/>
                <a:gd name="T98" fmla="*/ 148 w 263"/>
                <a:gd name="T99" fmla="*/ 35 h 164"/>
                <a:gd name="T100" fmla="*/ 138 w 263"/>
                <a:gd name="T101" fmla="*/ 26 h 164"/>
                <a:gd name="T102" fmla="*/ 136 w 263"/>
                <a:gd name="T103" fmla="*/ 18 h 164"/>
                <a:gd name="T104" fmla="*/ 132 w 263"/>
                <a:gd name="T105" fmla="*/ 11 h 164"/>
                <a:gd name="T106" fmla="*/ 122 w 263"/>
                <a:gd name="T107" fmla="*/ 7 h 164"/>
                <a:gd name="T108" fmla="*/ 119 w 263"/>
                <a:gd name="T109" fmla="*/ 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3" h="164">
                  <a:moveTo>
                    <a:pt x="113" y="0"/>
                  </a:moveTo>
                  <a:cubicBezTo>
                    <a:pt x="112" y="1"/>
                    <a:pt x="112" y="1"/>
                    <a:pt x="112" y="1"/>
                  </a:cubicBezTo>
                  <a:cubicBezTo>
                    <a:pt x="110" y="3"/>
                    <a:pt x="110" y="3"/>
                    <a:pt x="110" y="4"/>
                  </a:cubicBezTo>
                  <a:cubicBezTo>
                    <a:pt x="111" y="5"/>
                    <a:pt x="111" y="6"/>
                    <a:pt x="112" y="6"/>
                  </a:cubicBezTo>
                  <a:cubicBezTo>
                    <a:pt x="122" y="18"/>
                    <a:pt x="122" y="18"/>
                    <a:pt x="122" y="18"/>
                  </a:cubicBezTo>
                  <a:cubicBezTo>
                    <a:pt x="109" y="10"/>
                    <a:pt x="109" y="10"/>
                    <a:pt x="109" y="10"/>
                  </a:cubicBezTo>
                  <a:cubicBezTo>
                    <a:pt x="108" y="10"/>
                    <a:pt x="108" y="9"/>
                    <a:pt x="107" y="8"/>
                  </a:cubicBezTo>
                  <a:cubicBezTo>
                    <a:pt x="107" y="8"/>
                    <a:pt x="107" y="8"/>
                    <a:pt x="107" y="8"/>
                  </a:cubicBezTo>
                  <a:cubicBezTo>
                    <a:pt x="106" y="7"/>
                    <a:pt x="106" y="7"/>
                    <a:pt x="105" y="7"/>
                  </a:cubicBezTo>
                  <a:cubicBezTo>
                    <a:pt x="104" y="7"/>
                    <a:pt x="104" y="7"/>
                    <a:pt x="104" y="7"/>
                  </a:cubicBezTo>
                  <a:cubicBezTo>
                    <a:pt x="104" y="6"/>
                    <a:pt x="103" y="6"/>
                    <a:pt x="103" y="6"/>
                  </a:cubicBezTo>
                  <a:cubicBezTo>
                    <a:pt x="103" y="6"/>
                    <a:pt x="103" y="6"/>
                    <a:pt x="103" y="6"/>
                  </a:cubicBezTo>
                  <a:cubicBezTo>
                    <a:pt x="102" y="7"/>
                    <a:pt x="102" y="7"/>
                    <a:pt x="102" y="8"/>
                  </a:cubicBezTo>
                  <a:cubicBezTo>
                    <a:pt x="102" y="9"/>
                    <a:pt x="101" y="9"/>
                    <a:pt x="101" y="10"/>
                  </a:cubicBezTo>
                  <a:cubicBezTo>
                    <a:pt x="100" y="13"/>
                    <a:pt x="98" y="13"/>
                    <a:pt x="95" y="14"/>
                  </a:cubicBezTo>
                  <a:cubicBezTo>
                    <a:pt x="94" y="14"/>
                    <a:pt x="93" y="14"/>
                    <a:pt x="92" y="15"/>
                  </a:cubicBezTo>
                  <a:cubicBezTo>
                    <a:pt x="91" y="15"/>
                    <a:pt x="89" y="15"/>
                    <a:pt x="88" y="16"/>
                  </a:cubicBezTo>
                  <a:cubicBezTo>
                    <a:pt x="87" y="16"/>
                    <a:pt x="87" y="16"/>
                    <a:pt x="87" y="16"/>
                  </a:cubicBezTo>
                  <a:cubicBezTo>
                    <a:pt x="87" y="16"/>
                    <a:pt x="87" y="16"/>
                    <a:pt x="87" y="16"/>
                  </a:cubicBezTo>
                  <a:cubicBezTo>
                    <a:pt x="86" y="17"/>
                    <a:pt x="86" y="19"/>
                    <a:pt x="85" y="20"/>
                  </a:cubicBezTo>
                  <a:cubicBezTo>
                    <a:pt x="85" y="21"/>
                    <a:pt x="84" y="22"/>
                    <a:pt x="84" y="23"/>
                  </a:cubicBezTo>
                  <a:cubicBezTo>
                    <a:pt x="84" y="23"/>
                    <a:pt x="84" y="23"/>
                    <a:pt x="84" y="23"/>
                  </a:cubicBezTo>
                  <a:cubicBezTo>
                    <a:pt x="84" y="24"/>
                    <a:pt x="84" y="24"/>
                    <a:pt x="84" y="24"/>
                  </a:cubicBezTo>
                  <a:cubicBezTo>
                    <a:pt x="84" y="24"/>
                    <a:pt x="84" y="24"/>
                    <a:pt x="84" y="24"/>
                  </a:cubicBezTo>
                  <a:cubicBezTo>
                    <a:pt x="84" y="25"/>
                    <a:pt x="84" y="25"/>
                    <a:pt x="85" y="26"/>
                  </a:cubicBezTo>
                  <a:cubicBezTo>
                    <a:pt x="85" y="27"/>
                    <a:pt x="85" y="27"/>
                    <a:pt x="85" y="27"/>
                  </a:cubicBezTo>
                  <a:cubicBezTo>
                    <a:pt x="85" y="27"/>
                    <a:pt x="85" y="27"/>
                    <a:pt x="85" y="27"/>
                  </a:cubicBezTo>
                  <a:cubicBezTo>
                    <a:pt x="99" y="29"/>
                    <a:pt x="99" y="29"/>
                    <a:pt x="99" y="29"/>
                  </a:cubicBezTo>
                  <a:cubicBezTo>
                    <a:pt x="86" y="32"/>
                    <a:pt x="86" y="32"/>
                    <a:pt x="86" y="32"/>
                  </a:cubicBezTo>
                  <a:cubicBezTo>
                    <a:pt x="81" y="33"/>
                    <a:pt x="76" y="33"/>
                    <a:pt x="71" y="33"/>
                  </a:cubicBezTo>
                  <a:cubicBezTo>
                    <a:pt x="68" y="33"/>
                    <a:pt x="65" y="33"/>
                    <a:pt x="63" y="33"/>
                  </a:cubicBezTo>
                  <a:cubicBezTo>
                    <a:pt x="62" y="33"/>
                    <a:pt x="62" y="33"/>
                    <a:pt x="62" y="33"/>
                  </a:cubicBezTo>
                  <a:cubicBezTo>
                    <a:pt x="61" y="33"/>
                    <a:pt x="61" y="33"/>
                    <a:pt x="61" y="33"/>
                  </a:cubicBezTo>
                  <a:cubicBezTo>
                    <a:pt x="60" y="33"/>
                    <a:pt x="60" y="33"/>
                    <a:pt x="60" y="33"/>
                  </a:cubicBezTo>
                  <a:cubicBezTo>
                    <a:pt x="60" y="33"/>
                    <a:pt x="60" y="33"/>
                    <a:pt x="60" y="33"/>
                  </a:cubicBezTo>
                  <a:cubicBezTo>
                    <a:pt x="59" y="33"/>
                    <a:pt x="58" y="33"/>
                    <a:pt x="57" y="33"/>
                  </a:cubicBezTo>
                  <a:cubicBezTo>
                    <a:pt x="56" y="33"/>
                    <a:pt x="54" y="34"/>
                    <a:pt x="53" y="34"/>
                  </a:cubicBezTo>
                  <a:cubicBezTo>
                    <a:pt x="53" y="34"/>
                    <a:pt x="53" y="34"/>
                    <a:pt x="53" y="34"/>
                  </a:cubicBezTo>
                  <a:cubicBezTo>
                    <a:pt x="52" y="34"/>
                    <a:pt x="52" y="34"/>
                    <a:pt x="52" y="34"/>
                  </a:cubicBezTo>
                  <a:cubicBezTo>
                    <a:pt x="52" y="34"/>
                    <a:pt x="51" y="33"/>
                    <a:pt x="51" y="33"/>
                  </a:cubicBezTo>
                  <a:cubicBezTo>
                    <a:pt x="50" y="33"/>
                    <a:pt x="50" y="33"/>
                    <a:pt x="50" y="33"/>
                  </a:cubicBezTo>
                  <a:cubicBezTo>
                    <a:pt x="50" y="32"/>
                    <a:pt x="50" y="32"/>
                    <a:pt x="49" y="31"/>
                  </a:cubicBezTo>
                  <a:cubicBezTo>
                    <a:pt x="48" y="30"/>
                    <a:pt x="46" y="28"/>
                    <a:pt x="45" y="27"/>
                  </a:cubicBezTo>
                  <a:cubicBezTo>
                    <a:pt x="45" y="26"/>
                    <a:pt x="45" y="26"/>
                    <a:pt x="45" y="26"/>
                  </a:cubicBezTo>
                  <a:cubicBezTo>
                    <a:pt x="44" y="25"/>
                    <a:pt x="44" y="24"/>
                    <a:pt x="43" y="24"/>
                  </a:cubicBezTo>
                  <a:cubicBezTo>
                    <a:pt x="42" y="23"/>
                    <a:pt x="41" y="22"/>
                    <a:pt x="40" y="20"/>
                  </a:cubicBezTo>
                  <a:cubicBezTo>
                    <a:pt x="39" y="19"/>
                    <a:pt x="39" y="19"/>
                    <a:pt x="39" y="19"/>
                  </a:cubicBezTo>
                  <a:cubicBezTo>
                    <a:pt x="37" y="19"/>
                    <a:pt x="36" y="17"/>
                    <a:pt x="35" y="16"/>
                  </a:cubicBezTo>
                  <a:cubicBezTo>
                    <a:pt x="33" y="14"/>
                    <a:pt x="31" y="12"/>
                    <a:pt x="28" y="11"/>
                  </a:cubicBezTo>
                  <a:cubicBezTo>
                    <a:pt x="28" y="11"/>
                    <a:pt x="28" y="11"/>
                    <a:pt x="28" y="11"/>
                  </a:cubicBezTo>
                  <a:cubicBezTo>
                    <a:pt x="27" y="10"/>
                    <a:pt x="27" y="10"/>
                    <a:pt x="27" y="10"/>
                  </a:cubicBezTo>
                  <a:cubicBezTo>
                    <a:pt x="27" y="10"/>
                    <a:pt x="26" y="10"/>
                    <a:pt x="26" y="10"/>
                  </a:cubicBezTo>
                  <a:cubicBezTo>
                    <a:pt x="26" y="10"/>
                    <a:pt x="26" y="10"/>
                    <a:pt x="25" y="10"/>
                  </a:cubicBezTo>
                  <a:cubicBezTo>
                    <a:pt x="25" y="10"/>
                    <a:pt x="24" y="10"/>
                    <a:pt x="24" y="10"/>
                  </a:cubicBezTo>
                  <a:cubicBezTo>
                    <a:pt x="23" y="10"/>
                    <a:pt x="23" y="10"/>
                    <a:pt x="23" y="10"/>
                  </a:cubicBezTo>
                  <a:cubicBezTo>
                    <a:pt x="21" y="10"/>
                    <a:pt x="19" y="11"/>
                    <a:pt x="17" y="11"/>
                  </a:cubicBezTo>
                  <a:cubicBezTo>
                    <a:pt x="14" y="11"/>
                    <a:pt x="11" y="12"/>
                    <a:pt x="8" y="14"/>
                  </a:cubicBezTo>
                  <a:cubicBezTo>
                    <a:pt x="9" y="13"/>
                    <a:pt x="11" y="13"/>
                    <a:pt x="12" y="13"/>
                  </a:cubicBezTo>
                  <a:cubicBezTo>
                    <a:pt x="14" y="13"/>
                    <a:pt x="16" y="12"/>
                    <a:pt x="18" y="12"/>
                  </a:cubicBezTo>
                  <a:cubicBezTo>
                    <a:pt x="19" y="12"/>
                    <a:pt x="19" y="12"/>
                    <a:pt x="20" y="12"/>
                  </a:cubicBezTo>
                  <a:cubicBezTo>
                    <a:pt x="24" y="13"/>
                    <a:pt x="22" y="15"/>
                    <a:pt x="22" y="18"/>
                  </a:cubicBezTo>
                  <a:cubicBezTo>
                    <a:pt x="23" y="19"/>
                    <a:pt x="25" y="20"/>
                    <a:pt x="25" y="23"/>
                  </a:cubicBezTo>
                  <a:cubicBezTo>
                    <a:pt x="25" y="25"/>
                    <a:pt x="25" y="26"/>
                    <a:pt x="26" y="27"/>
                  </a:cubicBezTo>
                  <a:cubicBezTo>
                    <a:pt x="29" y="30"/>
                    <a:pt x="33" y="32"/>
                    <a:pt x="36" y="34"/>
                  </a:cubicBezTo>
                  <a:cubicBezTo>
                    <a:pt x="38" y="35"/>
                    <a:pt x="40" y="37"/>
                    <a:pt x="39" y="40"/>
                  </a:cubicBezTo>
                  <a:cubicBezTo>
                    <a:pt x="38" y="41"/>
                    <a:pt x="37" y="41"/>
                    <a:pt x="35" y="41"/>
                  </a:cubicBezTo>
                  <a:cubicBezTo>
                    <a:pt x="35" y="41"/>
                    <a:pt x="34" y="41"/>
                    <a:pt x="34" y="41"/>
                  </a:cubicBezTo>
                  <a:cubicBezTo>
                    <a:pt x="33" y="41"/>
                    <a:pt x="33" y="41"/>
                    <a:pt x="32" y="41"/>
                  </a:cubicBezTo>
                  <a:cubicBezTo>
                    <a:pt x="31" y="41"/>
                    <a:pt x="30" y="41"/>
                    <a:pt x="30" y="42"/>
                  </a:cubicBezTo>
                  <a:cubicBezTo>
                    <a:pt x="30" y="44"/>
                    <a:pt x="31" y="45"/>
                    <a:pt x="32" y="45"/>
                  </a:cubicBezTo>
                  <a:cubicBezTo>
                    <a:pt x="32" y="45"/>
                    <a:pt x="32" y="45"/>
                    <a:pt x="32" y="45"/>
                  </a:cubicBezTo>
                  <a:cubicBezTo>
                    <a:pt x="31" y="45"/>
                    <a:pt x="31" y="45"/>
                    <a:pt x="31" y="45"/>
                  </a:cubicBezTo>
                  <a:cubicBezTo>
                    <a:pt x="32" y="45"/>
                    <a:pt x="32" y="45"/>
                    <a:pt x="32" y="45"/>
                  </a:cubicBezTo>
                  <a:cubicBezTo>
                    <a:pt x="31" y="46"/>
                    <a:pt x="30" y="46"/>
                    <a:pt x="29" y="46"/>
                  </a:cubicBezTo>
                  <a:cubicBezTo>
                    <a:pt x="28" y="46"/>
                    <a:pt x="28" y="46"/>
                    <a:pt x="28" y="46"/>
                  </a:cubicBezTo>
                  <a:cubicBezTo>
                    <a:pt x="27" y="46"/>
                    <a:pt x="27" y="46"/>
                    <a:pt x="27" y="46"/>
                  </a:cubicBezTo>
                  <a:cubicBezTo>
                    <a:pt x="25" y="46"/>
                    <a:pt x="24" y="46"/>
                    <a:pt x="23" y="46"/>
                  </a:cubicBezTo>
                  <a:cubicBezTo>
                    <a:pt x="22" y="46"/>
                    <a:pt x="21" y="47"/>
                    <a:pt x="20" y="47"/>
                  </a:cubicBezTo>
                  <a:cubicBezTo>
                    <a:pt x="20" y="47"/>
                    <a:pt x="20" y="47"/>
                    <a:pt x="20" y="47"/>
                  </a:cubicBezTo>
                  <a:cubicBezTo>
                    <a:pt x="18" y="46"/>
                    <a:pt x="19" y="43"/>
                    <a:pt x="18" y="42"/>
                  </a:cubicBezTo>
                  <a:cubicBezTo>
                    <a:pt x="17" y="41"/>
                    <a:pt x="17" y="41"/>
                    <a:pt x="17" y="41"/>
                  </a:cubicBezTo>
                  <a:cubicBezTo>
                    <a:pt x="17" y="41"/>
                    <a:pt x="17" y="42"/>
                    <a:pt x="16" y="43"/>
                  </a:cubicBezTo>
                  <a:cubicBezTo>
                    <a:pt x="15" y="44"/>
                    <a:pt x="15" y="44"/>
                    <a:pt x="14" y="44"/>
                  </a:cubicBezTo>
                  <a:cubicBezTo>
                    <a:pt x="14" y="44"/>
                    <a:pt x="14" y="44"/>
                    <a:pt x="14" y="44"/>
                  </a:cubicBezTo>
                  <a:cubicBezTo>
                    <a:pt x="13" y="44"/>
                    <a:pt x="10" y="44"/>
                    <a:pt x="9" y="43"/>
                  </a:cubicBezTo>
                  <a:cubicBezTo>
                    <a:pt x="6" y="43"/>
                    <a:pt x="5" y="39"/>
                    <a:pt x="4" y="37"/>
                  </a:cubicBezTo>
                  <a:cubicBezTo>
                    <a:pt x="3" y="41"/>
                    <a:pt x="3" y="45"/>
                    <a:pt x="1" y="48"/>
                  </a:cubicBezTo>
                  <a:cubicBezTo>
                    <a:pt x="0" y="49"/>
                    <a:pt x="0" y="52"/>
                    <a:pt x="0" y="53"/>
                  </a:cubicBezTo>
                  <a:cubicBezTo>
                    <a:pt x="0" y="55"/>
                    <a:pt x="1" y="56"/>
                    <a:pt x="1" y="57"/>
                  </a:cubicBezTo>
                  <a:cubicBezTo>
                    <a:pt x="1" y="61"/>
                    <a:pt x="0" y="60"/>
                    <a:pt x="5" y="60"/>
                  </a:cubicBezTo>
                  <a:cubicBezTo>
                    <a:pt x="5" y="60"/>
                    <a:pt x="5" y="60"/>
                    <a:pt x="6" y="60"/>
                  </a:cubicBezTo>
                  <a:cubicBezTo>
                    <a:pt x="6" y="60"/>
                    <a:pt x="6" y="60"/>
                    <a:pt x="7" y="60"/>
                  </a:cubicBezTo>
                  <a:cubicBezTo>
                    <a:pt x="7" y="60"/>
                    <a:pt x="7" y="60"/>
                    <a:pt x="8" y="60"/>
                  </a:cubicBezTo>
                  <a:cubicBezTo>
                    <a:pt x="8" y="60"/>
                    <a:pt x="8" y="60"/>
                    <a:pt x="8" y="60"/>
                  </a:cubicBezTo>
                  <a:cubicBezTo>
                    <a:pt x="9" y="61"/>
                    <a:pt x="9" y="61"/>
                    <a:pt x="10" y="61"/>
                  </a:cubicBezTo>
                  <a:cubicBezTo>
                    <a:pt x="11" y="61"/>
                    <a:pt x="11" y="61"/>
                    <a:pt x="11" y="61"/>
                  </a:cubicBezTo>
                  <a:cubicBezTo>
                    <a:pt x="11" y="61"/>
                    <a:pt x="11" y="61"/>
                    <a:pt x="12" y="61"/>
                  </a:cubicBezTo>
                  <a:cubicBezTo>
                    <a:pt x="12" y="61"/>
                    <a:pt x="12" y="61"/>
                    <a:pt x="12" y="61"/>
                  </a:cubicBezTo>
                  <a:cubicBezTo>
                    <a:pt x="12" y="61"/>
                    <a:pt x="12" y="61"/>
                    <a:pt x="12" y="61"/>
                  </a:cubicBezTo>
                  <a:cubicBezTo>
                    <a:pt x="12" y="61"/>
                    <a:pt x="12" y="61"/>
                    <a:pt x="12" y="61"/>
                  </a:cubicBezTo>
                  <a:cubicBezTo>
                    <a:pt x="12" y="61"/>
                    <a:pt x="13" y="61"/>
                    <a:pt x="13" y="61"/>
                  </a:cubicBezTo>
                  <a:cubicBezTo>
                    <a:pt x="13" y="61"/>
                    <a:pt x="13" y="61"/>
                    <a:pt x="13" y="61"/>
                  </a:cubicBezTo>
                  <a:cubicBezTo>
                    <a:pt x="13" y="61"/>
                    <a:pt x="14" y="61"/>
                    <a:pt x="14" y="61"/>
                  </a:cubicBezTo>
                  <a:cubicBezTo>
                    <a:pt x="14" y="62"/>
                    <a:pt x="13" y="64"/>
                    <a:pt x="13" y="65"/>
                  </a:cubicBezTo>
                  <a:cubicBezTo>
                    <a:pt x="14" y="68"/>
                    <a:pt x="16" y="69"/>
                    <a:pt x="19" y="70"/>
                  </a:cubicBezTo>
                  <a:cubicBezTo>
                    <a:pt x="18" y="71"/>
                    <a:pt x="16" y="71"/>
                    <a:pt x="15" y="72"/>
                  </a:cubicBezTo>
                  <a:cubicBezTo>
                    <a:pt x="15" y="71"/>
                    <a:pt x="15" y="70"/>
                    <a:pt x="15" y="69"/>
                  </a:cubicBezTo>
                  <a:cubicBezTo>
                    <a:pt x="14" y="69"/>
                    <a:pt x="12" y="71"/>
                    <a:pt x="11" y="71"/>
                  </a:cubicBezTo>
                  <a:cubicBezTo>
                    <a:pt x="10" y="71"/>
                    <a:pt x="10" y="71"/>
                    <a:pt x="10" y="71"/>
                  </a:cubicBezTo>
                  <a:cubicBezTo>
                    <a:pt x="9" y="70"/>
                    <a:pt x="11" y="68"/>
                    <a:pt x="11" y="67"/>
                  </a:cubicBezTo>
                  <a:cubicBezTo>
                    <a:pt x="10" y="67"/>
                    <a:pt x="8" y="71"/>
                    <a:pt x="8" y="72"/>
                  </a:cubicBezTo>
                  <a:cubicBezTo>
                    <a:pt x="7" y="74"/>
                    <a:pt x="8" y="76"/>
                    <a:pt x="9" y="78"/>
                  </a:cubicBezTo>
                  <a:cubicBezTo>
                    <a:pt x="9" y="77"/>
                    <a:pt x="9" y="75"/>
                    <a:pt x="9" y="75"/>
                  </a:cubicBezTo>
                  <a:cubicBezTo>
                    <a:pt x="9" y="75"/>
                    <a:pt x="9" y="75"/>
                    <a:pt x="9" y="75"/>
                  </a:cubicBezTo>
                  <a:cubicBezTo>
                    <a:pt x="14" y="75"/>
                    <a:pt x="17" y="79"/>
                    <a:pt x="21" y="82"/>
                  </a:cubicBezTo>
                  <a:cubicBezTo>
                    <a:pt x="23" y="84"/>
                    <a:pt x="24" y="84"/>
                    <a:pt x="23" y="86"/>
                  </a:cubicBezTo>
                  <a:cubicBezTo>
                    <a:pt x="22" y="88"/>
                    <a:pt x="22" y="90"/>
                    <a:pt x="21" y="92"/>
                  </a:cubicBezTo>
                  <a:cubicBezTo>
                    <a:pt x="20" y="98"/>
                    <a:pt x="20" y="105"/>
                    <a:pt x="21" y="111"/>
                  </a:cubicBezTo>
                  <a:cubicBezTo>
                    <a:pt x="22" y="113"/>
                    <a:pt x="22" y="119"/>
                    <a:pt x="23" y="119"/>
                  </a:cubicBezTo>
                  <a:cubicBezTo>
                    <a:pt x="23" y="121"/>
                    <a:pt x="23" y="122"/>
                    <a:pt x="23" y="123"/>
                  </a:cubicBezTo>
                  <a:cubicBezTo>
                    <a:pt x="24" y="125"/>
                    <a:pt x="24" y="126"/>
                    <a:pt x="24" y="127"/>
                  </a:cubicBezTo>
                  <a:cubicBezTo>
                    <a:pt x="48" y="103"/>
                    <a:pt x="48" y="103"/>
                    <a:pt x="48" y="103"/>
                  </a:cubicBezTo>
                  <a:cubicBezTo>
                    <a:pt x="51" y="102"/>
                    <a:pt x="54" y="101"/>
                    <a:pt x="59" y="101"/>
                  </a:cubicBezTo>
                  <a:cubicBezTo>
                    <a:pt x="59" y="101"/>
                    <a:pt x="60" y="101"/>
                    <a:pt x="60" y="101"/>
                  </a:cubicBezTo>
                  <a:cubicBezTo>
                    <a:pt x="62" y="101"/>
                    <a:pt x="63" y="101"/>
                    <a:pt x="64" y="101"/>
                  </a:cubicBezTo>
                  <a:cubicBezTo>
                    <a:pt x="65" y="101"/>
                    <a:pt x="65" y="101"/>
                    <a:pt x="65" y="101"/>
                  </a:cubicBezTo>
                  <a:cubicBezTo>
                    <a:pt x="66" y="101"/>
                    <a:pt x="66" y="101"/>
                    <a:pt x="66" y="101"/>
                  </a:cubicBezTo>
                  <a:cubicBezTo>
                    <a:pt x="66" y="101"/>
                    <a:pt x="66" y="101"/>
                    <a:pt x="68" y="99"/>
                  </a:cubicBezTo>
                  <a:cubicBezTo>
                    <a:pt x="69" y="98"/>
                    <a:pt x="69" y="98"/>
                    <a:pt x="69" y="98"/>
                  </a:cubicBezTo>
                  <a:cubicBezTo>
                    <a:pt x="70" y="98"/>
                    <a:pt x="70" y="98"/>
                    <a:pt x="70" y="98"/>
                  </a:cubicBezTo>
                  <a:cubicBezTo>
                    <a:pt x="70" y="97"/>
                    <a:pt x="71" y="97"/>
                    <a:pt x="71" y="97"/>
                  </a:cubicBezTo>
                  <a:cubicBezTo>
                    <a:pt x="72" y="97"/>
                    <a:pt x="72" y="97"/>
                    <a:pt x="72" y="97"/>
                  </a:cubicBezTo>
                  <a:cubicBezTo>
                    <a:pt x="73" y="97"/>
                    <a:pt x="74" y="97"/>
                    <a:pt x="76" y="97"/>
                  </a:cubicBezTo>
                  <a:cubicBezTo>
                    <a:pt x="76" y="97"/>
                    <a:pt x="76" y="97"/>
                    <a:pt x="77" y="97"/>
                  </a:cubicBezTo>
                  <a:cubicBezTo>
                    <a:pt x="78" y="97"/>
                    <a:pt x="78" y="97"/>
                    <a:pt x="78" y="97"/>
                  </a:cubicBezTo>
                  <a:cubicBezTo>
                    <a:pt x="79" y="97"/>
                    <a:pt x="80" y="97"/>
                    <a:pt x="81" y="97"/>
                  </a:cubicBezTo>
                  <a:cubicBezTo>
                    <a:pt x="82" y="97"/>
                    <a:pt x="82" y="97"/>
                    <a:pt x="82" y="97"/>
                  </a:cubicBezTo>
                  <a:cubicBezTo>
                    <a:pt x="83" y="97"/>
                    <a:pt x="84" y="97"/>
                    <a:pt x="84" y="97"/>
                  </a:cubicBezTo>
                  <a:cubicBezTo>
                    <a:pt x="88" y="97"/>
                    <a:pt x="89" y="100"/>
                    <a:pt x="90" y="102"/>
                  </a:cubicBezTo>
                  <a:cubicBezTo>
                    <a:pt x="90" y="102"/>
                    <a:pt x="90" y="102"/>
                    <a:pt x="90" y="102"/>
                  </a:cubicBezTo>
                  <a:cubicBezTo>
                    <a:pt x="91" y="104"/>
                    <a:pt x="91" y="104"/>
                    <a:pt x="91" y="104"/>
                  </a:cubicBezTo>
                  <a:cubicBezTo>
                    <a:pt x="93" y="104"/>
                    <a:pt x="95" y="105"/>
                    <a:pt x="96" y="105"/>
                  </a:cubicBezTo>
                  <a:cubicBezTo>
                    <a:pt x="97" y="105"/>
                    <a:pt x="97" y="105"/>
                    <a:pt x="98" y="105"/>
                  </a:cubicBezTo>
                  <a:cubicBezTo>
                    <a:pt x="99" y="106"/>
                    <a:pt x="99" y="106"/>
                    <a:pt x="99" y="106"/>
                  </a:cubicBezTo>
                  <a:cubicBezTo>
                    <a:pt x="100" y="106"/>
                    <a:pt x="100" y="106"/>
                    <a:pt x="100" y="106"/>
                  </a:cubicBezTo>
                  <a:cubicBezTo>
                    <a:pt x="101" y="106"/>
                    <a:pt x="102" y="107"/>
                    <a:pt x="103" y="108"/>
                  </a:cubicBezTo>
                  <a:cubicBezTo>
                    <a:pt x="104" y="109"/>
                    <a:pt x="104" y="109"/>
                    <a:pt x="104" y="109"/>
                  </a:cubicBezTo>
                  <a:cubicBezTo>
                    <a:pt x="105" y="109"/>
                    <a:pt x="105" y="109"/>
                    <a:pt x="105" y="110"/>
                  </a:cubicBezTo>
                  <a:cubicBezTo>
                    <a:pt x="106" y="110"/>
                    <a:pt x="106" y="110"/>
                    <a:pt x="106" y="110"/>
                  </a:cubicBezTo>
                  <a:cubicBezTo>
                    <a:pt x="107" y="110"/>
                    <a:pt x="107" y="110"/>
                    <a:pt x="107" y="110"/>
                  </a:cubicBezTo>
                  <a:cubicBezTo>
                    <a:pt x="107" y="110"/>
                    <a:pt x="107" y="110"/>
                    <a:pt x="107" y="111"/>
                  </a:cubicBezTo>
                  <a:cubicBezTo>
                    <a:pt x="108" y="111"/>
                    <a:pt x="108" y="111"/>
                    <a:pt x="108" y="111"/>
                  </a:cubicBezTo>
                  <a:cubicBezTo>
                    <a:pt x="109" y="111"/>
                    <a:pt x="109" y="111"/>
                    <a:pt x="109" y="111"/>
                  </a:cubicBezTo>
                  <a:cubicBezTo>
                    <a:pt x="109" y="111"/>
                    <a:pt x="109" y="111"/>
                    <a:pt x="109" y="111"/>
                  </a:cubicBezTo>
                  <a:cubicBezTo>
                    <a:pt x="110" y="110"/>
                    <a:pt x="110" y="110"/>
                    <a:pt x="110" y="110"/>
                  </a:cubicBezTo>
                  <a:cubicBezTo>
                    <a:pt x="110" y="110"/>
                    <a:pt x="111" y="110"/>
                    <a:pt x="111" y="111"/>
                  </a:cubicBezTo>
                  <a:cubicBezTo>
                    <a:pt x="115" y="111"/>
                    <a:pt x="115" y="111"/>
                    <a:pt x="115" y="111"/>
                  </a:cubicBezTo>
                  <a:cubicBezTo>
                    <a:pt x="116" y="111"/>
                    <a:pt x="116" y="111"/>
                    <a:pt x="117" y="111"/>
                  </a:cubicBezTo>
                  <a:cubicBezTo>
                    <a:pt x="119" y="111"/>
                    <a:pt x="122" y="111"/>
                    <a:pt x="124" y="112"/>
                  </a:cubicBezTo>
                  <a:cubicBezTo>
                    <a:pt x="125" y="112"/>
                    <a:pt x="125" y="112"/>
                    <a:pt x="125" y="112"/>
                  </a:cubicBezTo>
                  <a:cubicBezTo>
                    <a:pt x="125" y="112"/>
                    <a:pt x="125" y="112"/>
                    <a:pt x="125" y="112"/>
                  </a:cubicBezTo>
                  <a:cubicBezTo>
                    <a:pt x="126" y="113"/>
                    <a:pt x="126" y="113"/>
                    <a:pt x="126" y="113"/>
                  </a:cubicBezTo>
                  <a:cubicBezTo>
                    <a:pt x="127" y="113"/>
                    <a:pt x="128" y="114"/>
                    <a:pt x="129" y="115"/>
                  </a:cubicBezTo>
                  <a:cubicBezTo>
                    <a:pt x="129" y="116"/>
                    <a:pt x="129" y="116"/>
                    <a:pt x="129" y="116"/>
                  </a:cubicBezTo>
                  <a:cubicBezTo>
                    <a:pt x="130" y="117"/>
                    <a:pt x="131" y="118"/>
                    <a:pt x="132" y="120"/>
                  </a:cubicBezTo>
                  <a:cubicBezTo>
                    <a:pt x="132" y="121"/>
                    <a:pt x="132" y="121"/>
                    <a:pt x="132" y="121"/>
                  </a:cubicBezTo>
                  <a:cubicBezTo>
                    <a:pt x="132" y="121"/>
                    <a:pt x="133" y="122"/>
                    <a:pt x="133" y="122"/>
                  </a:cubicBezTo>
                  <a:cubicBezTo>
                    <a:pt x="134" y="122"/>
                    <a:pt x="134" y="122"/>
                    <a:pt x="134" y="122"/>
                  </a:cubicBezTo>
                  <a:cubicBezTo>
                    <a:pt x="136" y="123"/>
                    <a:pt x="138" y="123"/>
                    <a:pt x="140" y="124"/>
                  </a:cubicBezTo>
                  <a:cubicBezTo>
                    <a:pt x="141" y="125"/>
                    <a:pt x="142" y="125"/>
                    <a:pt x="142" y="126"/>
                  </a:cubicBezTo>
                  <a:cubicBezTo>
                    <a:pt x="142" y="127"/>
                    <a:pt x="142" y="127"/>
                    <a:pt x="142" y="127"/>
                  </a:cubicBezTo>
                  <a:cubicBezTo>
                    <a:pt x="143" y="128"/>
                    <a:pt x="144" y="128"/>
                    <a:pt x="144" y="129"/>
                  </a:cubicBezTo>
                  <a:cubicBezTo>
                    <a:pt x="145" y="130"/>
                    <a:pt x="145" y="130"/>
                    <a:pt x="145" y="130"/>
                  </a:cubicBezTo>
                  <a:cubicBezTo>
                    <a:pt x="146" y="131"/>
                    <a:pt x="146" y="132"/>
                    <a:pt x="146" y="132"/>
                  </a:cubicBezTo>
                  <a:cubicBezTo>
                    <a:pt x="146" y="132"/>
                    <a:pt x="146" y="132"/>
                    <a:pt x="146" y="132"/>
                  </a:cubicBezTo>
                  <a:cubicBezTo>
                    <a:pt x="147" y="132"/>
                    <a:pt x="147" y="132"/>
                    <a:pt x="148" y="132"/>
                  </a:cubicBezTo>
                  <a:cubicBezTo>
                    <a:pt x="149" y="132"/>
                    <a:pt x="149" y="132"/>
                    <a:pt x="149" y="132"/>
                  </a:cubicBezTo>
                  <a:cubicBezTo>
                    <a:pt x="150" y="132"/>
                    <a:pt x="151" y="132"/>
                    <a:pt x="152" y="132"/>
                  </a:cubicBezTo>
                  <a:cubicBezTo>
                    <a:pt x="153" y="132"/>
                    <a:pt x="153" y="132"/>
                    <a:pt x="153" y="132"/>
                  </a:cubicBezTo>
                  <a:cubicBezTo>
                    <a:pt x="153" y="132"/>
                    <a:pt x="154" y="132"/>
                    <a:pt x="154" y="132"/>
                  </a:cubicBezTo>
                  <a:cubicBezTo>
                    <a:pt x="155" y="132"/>
                    <a:pt x="155" y="132"/>
                    <a:pt x="156" y="132"/>
                  </a:cubicBezTo>
                  <a:cubicBezTo>
                    <a:pt x="157" y="132"/>
                    <a:pt x="158" y="132"/>
                    <a:pt x="160" y="132"/>
                  </a:cubicBezTo>
                  <a:cubicBezTo>
                    <a:pt x="160" y="132"/>
                    <a:pt x="160" y="132"/>
                    <a:pt x="160" y="132"/>
                  </a:cubicBezTo>
                  <a:cubicBezTo>
                    <a:pt x="161" y="132"/>
                    <a:pt x="162" y="133"/>
                    <a:pt x="162" y="133"/>
                  </a:cubicBezTo>
                  <a:cubicBezTo>
                    <a:pt x="163" y="134"/>
                    <a:pt x="163" y="134"/>
                    <a:pt x="163" y="135"/>
                  </a:cubicBezTo>
                  <a:cubicBezTo>
                    <a:pt x="163" y="136"/>
                    <a:pt x="163" y="136"/>
                    <a:pt x="163" y="136"/>
                  </a:cubicBezTo>
                  <a:cubicBezTo>
                    <a:pt x="164" y="138"/>
                    <a:pt x="164" y="140"/>
                    <a:pt x="164" y="142"/>
                  </a:cubicBezTo>
                  <a:cubicBezTo>
                    <a:pt x="164" y="143"/>
                    <a:pt x="163" y="144"/>
                    <a:pt x="164" y="144"/>
                  </a:cubicBezTo>
                  <a:cubicBezTo>
                    <a:pt x="164" y="145"/>
                    <a:pt x="164" y="145"/>
                    <a:pt x="164" y="145"/>
                  </a:cubicBezTo>
                  <a:cubicBezTo>
                    <a:pt x="164" y="147"/>
                    <a:pt x="164" y="149"/>
                    <a:pt x="164" y="151"/>
                  </a:cubicBezTo>
                  <a:cubicBezTo>
                    <a:pt x="165" y="154"/>
                    <a:pt x="165" y="154"/>
                    <a:pt x="165" y="154"/>
                  </a:cubicBezTo>
                  <a:cubicBezTo>
                    <a:pt x="165" y="154"/>
                    <a:pt x="165" y="155"/>
                    <a:pt x="165" y="156"/>
                  </a:cubicBezTo>
                  <a:cubicBezTo>
                    <a:pt x="166" y="156"/>
                    <a:pt x="166" y="156"/>
                    <a:pt x="166" y="156"/>
                  </a:cubicBezTo>
                  <a:cubicBezTo>
                    <a:pt x="166" y="156"/>
                    <a:pt x="166" y="156"/>
                    <a:pt x="166" y="156"/>
                  </a:cubicBezTo>
                  <a:cubicBezTo>
                    <a:pt x="168" y="157"/>
                    <a:pt x="168" y="157"/>
                    <a:pt x="168" y="157"/>
                  </a:cubicBezTo>
                  <a:cubicBezTo>
                    <a:pt x="168" y="157"/>
                    <a:pt x="168" y="157"/>
                    <a:pt x="168" y="157"/>
                  </a:cubicBezTo>
                  <a:cubicBezTo>
                    <a:pt x="169" y="157"/>
                    <a:pt x="171" y="157"/>
                    <a:pt x="172" y="158"/>
                  </a:cubicBezTo>
                  <a:cubicBezTo>
                    <a:pt x="172" y="158"/>
                    <a:pt x="172" y="158"/>
                    <a:pt x="172" y="158"/>
                  </a:cubicBezTo>
                  <a:cubicBezTo>
                    <a:pt x="173" y="158"/>
                    <a:pt x="174" y="158"/>
                    <a:pt x="174" y="158"/>
                  </a:cubicBezTo>
                  <a:cubicBezTo>
                    <a:pt x="176" y="159"/>
                    <a:pt x="177" y="159"/>
                    <a:pt x="179" y="160"/>
                  </a:cubicBezTo>
                  <a:cubicBezTo>
                    <a:pt x="179" y="161"/>
                    <a:pt x="179" y="161"/>
                    <a:pt x="180" y="161"/>
                  </a:cubicBezTo>
                  <a:cubicBezTo>
                    <a:pt x="181" y="163"/>
                    <a:pt x="181" y="163"/>
                    <a:pt x="181" y="163"/>
                  </a:cubicBezTo>
                  <a:cubicBezTo>
                    <a:pt x="182" y="163"/>
                    <a:pt x="182" y="164"/>
                    <a:pt x="182" y="164"/>
                  </a:cubicBezTo>
                  <a:cubicBezTo>
                    <a:pt x="183" y="164"/>
                    <a:pt x="183" y="164"/>
                    <a:pt x="183" y="164"/>
                  </a:cubicBezTo>
                  <a:cubicBezTo>
                    <a:pt x="183" y="164"/>
                    <a:pt x="183" y="164"/>
                    <a:pt x="183" y="164"/>
                  </a:cubicBezTo>
                  <a:cubicBezTo>
                    <a:pt x="185" y="162"/>
                    <a:pt x="187" y="162"/>
                    <a:pt x="189" y="162"/>
                  </a:cubicBezTo>
                  <a:cubicBezTo>
                    <a:pt x="190" y="162"/>
                    <a:pt x="190" y="162"/>
                    <a:pt x="190" y="162"/>
                  </a:cubicBezTo>
                  <a:cubicBezTo>
                    <a:pt x="191" y="162"/>
                    <a:pt x="191" y="162"/>
                    <a:pt x="191" y="162"/>
                  </a:cubicBezTo>
                  <a:cubicBezTo>
                    <a:pt x="192" y="161"/>
                    <a:pt x="192" y="161"/>
                    <a:pt x="192" y="161"/>
                  </a:cubicBezTo>
                  <a:cubicBezTo>
                    <a:pt x="193" y="161"/>
                    <a:pt x="194" y="160"/>
                    <a:pt x="196" y="158"/>
                  </a:cubicBezTo>
                  <a:cubicBezTo>
                    <a:pt x="196" y="157"/>
                    <a:pt x="196" y="157"/>
                    <a:pt x="196" y="157"/>
                  </a:cubicBezTo>
                  <a:cubicBezTo>
                    <a:pt x="197" y="157"/>
                    <a:pt x="197" y="156"/>
                    <a:pt x="198" y="155"/>
                  </a:cubicBezTo>
                  <a:cubicBezTo>
                    <a:pt x="197" y="154"/>
                    <a:pt x="197" y="154"/>
                    <a:pt x="197" y="154"/>
                  </a:cubicBezTo>
                  <a:cubicBezTo>
                    <a:pt x="201" y="150"/>
                    <a:pt x="201" y="150"/>
                    <a:pt x="201" y="150"/>
                  </a:cubicBezTo>
                  <a:cubicBezTo>
                    <a:pt x="202" y="149"/>
                    <a:pt x="202" y="149"/>
                    <a:pt x="202" y="149"/>
                  </a:cubicBezTo>
                  <a:cubicBezTo>
                    <a:pt x="203" y="149"/>
                    <a:pt x="204" y="149"/>
                    <a:pt x="205" y="149"/>
                  </a:cubicBezTo>
                  <a:cubicBezTo>
                    <a:pt x="206" y="148"/>
                    <a:pt x="207" y="148"/>
                    <a:pt x="208" y="148"/>
                  </a:cubicBezTo>
                  <a:cubicBezTo>
                    <a:pt x="212" y="146"/>
                    <a:pt x="212" y="146"/>
                    <a:pt x="212" y="146"/>
                  </a:cubicBezTo>
                  <a:cubicBezTo>
                    <a:pt x="214" y="146"/>
                    <a:pt x="216" y="145"/>
                    <a:pt x="217" y="144"/>
                  </a:cubicBezTo>
                  <a:cubicBezTo>
                    <a:pt x="220" y="143"/>
                    <a:pt x="221" y="142"/>
                    <a:pt x="223" y="141"/>
                  </a:cubicBezTo>
                  <a:cubicBezTo>
                    <a:pt x="223" y="140"/>
                    <a:pt x="223" y="140"/>
                    <a:pt x="223" y="140"/>
                  </a:cubicBezTo>
                  <a:cubicBezTo>
                    <a:pt x="224" y="139"/>
                    <a:pt x="224" y="139"/>
                    <a:pt x="224" y="137"/>
                  </a:cubicBezTo>
                  <a:cubicBezTo>
                    <a:pt x="224" y="136"/>
                    <a:pt x="224" y="136"/>
                    <a:pt x="224" y="135"/>
                  </a:cubicBezTo>
                  <a:cubicBezTo>
                    <a:pt x="225" y="134"/>
                    <a:pt x="225" y="134"/>
                    <a:pt x="225" y="134"/>
                  </a:cubicBezTo>
                  <a:cubicBezTo>
                    <a:pt x="225" y="134"/>
                    <a:pt x="225" y="133"/>
                    <a:pt x="225" y="133"/>
                  </a:cubicBezTo>
                  <a:cubicBezTo>
                    <a:pt x="225" y="132"/>
                    <a:pt x="225" y="132"/>
                    <a:pt x="225" y="132"/>
                  </a:cubicBezTo>
                  <a:cubicBezTo>
                    <a:pt x="238" y="120"/>
                    <a:pt x="238" y="120"/>
                    <a:pt x="238" y="120"/>
                  </a:cubicBezTo>
                  <a:cubicBezTo>
                    <a:pt x="239" y="120"/>
                    <a:pt x="239" y="120"/>
                    <a:pt x="239" y="120"/>
                  </a:cubicBezTo>
                  <a:cubicBezTo>
                    <a:pt x="240" y="120"/>
                    <a:pt x="240" y="120"/>
                    <a:pt x="241" y="120"/>
                  </a:cubicBezTo>
                  <a:cubicBezTo>
                    <a:pt x="241" y="120"/>
                    <a:pt x="241" y="120"/>
                    <a:pt x="241" y="120"/>
                  </a:cubicBezTo>
                  <a:cubicBezTo>
                    <a:pt x="242" y="120"/>
                    <a:pt x="242" y="120"/>
                    <a:pt x="242" y="120"/>
                  </a:cubicBezTo>
                  <a:cubicBezTo>
                    <a:pt x="243" y="119"/>
                    <a:pt x="244" y="117"/>
                    <a:pt x="245" y="116"/>
                  </a:cubicBezTo>
                  <a:cubicBezTo>
                    <a:pt x="246" y="115"/>
                    <a:pt x="246" y="115"/>
                    <a:pt x="246" y="115"/>
                  </a:cubicBezTo>
                  <a:cubicBezTo>
                    <a:pt x="247" y="114"/>
                    <a:pt x="247" y="114"/>
                    <a:pt x="247" y="114"/>
                  </a:cubicBezTo>
                  <a:cubicBezTo>
                    <a:pt x="248" y="113"/>
                    <a:pt x="248" y="113"/>
                    <a:pt x="248" y="113"/>
                  </a:cubicBezTo>
                  <a:cubicBezTo>
                    <a:pt x="249" y="113"/>
                    <a:pt x="249" y="113"/>
                    <a:pt x="249" y="113"/>
                  </a:cubicBezTo>
                  <a:cubicBezTo>
                    <a:pt x="249" y="113"/>
                    <a:pt x="249" y="113"/>
                    <a:pt x="249" y="113"/>
                  </a:cubicBezTo>
                  <a:cubicBezTo>
                    <a:pt x="250" y="113"/>
                    <a:pt x="250" y="113"/>
                    <a:pt x="250" y="113"/>
                  </a:cubicBezTo>
                  <a:cubicBezTo>
                    <a:pt x="251" y="114"/>
                    <a:pt x="252" y="114"/>
                    <a:pt x="253" y="114"/>
                  </a:cubicBezTo>
                  <a:cubicBezTo>
                    <a:pt x="253" y="115"/>
                    <a:pt x="253" y="115"/>
                    <a:pt x="253" y="115"/>
                  </a:cubicBezTo>
                  <a:cubicBezTo>
                    <a:pt x="254" y="115"/>
                    <a:pt x="254" y="115"/>
                    <a:pt x="254" y="115"/>
                  </a:cubicBezTo>
                  <a:cubicBezTo>
                    <a:pt x="255" y="115"/>
                    <a:pt x="255" y="116"/>
                    <a:pt x="255" y="116"/>
                  </a:cubicBezTo>
                  <a:cubicBezTo>
                    <a:pt x="257" y="116"/>
                    <a:pt x="257" y="116"/>
                    <a:pt x="257" y="116"/>
                  </a:cubicBezTo>
                  <a:cubicBezTo>
                    <a:pt x="257" y="117"/>
                    <a:pt x="258" y="117"/>
                    <a:pt x="258" y="117"/>
                  </a:cubicBezTo>
                  <a:cubicBezTo>
                    <a:pt x="259" y="117"/>
                    <a:pt x="259" y="117"/>
                    <a:pt x="259" y="117"/>
                  </a:cubicBezTo>
                  <a:cubicBezTo>
                    <a:pt x="259" y="117"/>
                    <a:pt x="259" y="117"/>
                    <a:pt x="259" y="117"/>
                  </a:cubicBezTo>
                  <a:cubicBezTo>
                    <a:pt x="260" y="117"/>
                    <a:pt x="260" y="117"/>
                    <a:pt x="260" y="117"/>
                  </a:cubicBezTo>
                  <a:cubicBezTo>
                    <a:pt x="261" y="117"/>
                    <a:pt x="261" y="117"/>
                    <a:pt x="261" y="117"/>
                  </a:cubicBezTo>
                  <a:cubicBezTo>
                    <a:pt x="261" y="117"/>
                    <a:pt x="261" y="117"/>
                    <a:pt x="261" y="117"/>
                  </a:cubicBezTo>
                  <a:cubicBezTo>
                    <a:pt x="261" y="117"/>
                    <a:pt x="261" y="117"/>
                    <a:pt x="261" y="117"/>
                  </a:cubicBezTo>
                  <a:cubicBezTo>
                    <a:pt x="262" y="116"/>
                    <a:pt x="262" y="116"/>
                    <a:pt x="262" y="115"/>
                  </a:cubicBezTo>
                  <a:cubicBezTo>
                    <a:pt x="262" y="115"/>
                    <a:pt x="262" y="115"/>
                    <a:pt x="262" y="115"/>
                  </a:cubicBezTo>
                  <a:cubicBezTo>
                    <a:pt x="262" y="114"/>
                    <a:pt x="262" y="114"/>
                    <a:pt x="262" y="114"/>
                  </a:cubicBezTo>
                  <a:cubicBezTo>
                    <a:pt x="263" y="111"/>
                    <a:pt x="263" y="111"/>
                    <a:pt x="263" y="111"/>
                  </a:cubicBezTo>
                  <a:cubicBezTo>
                    <a:pt x="263" y="110"/>
                    <a:pt x="263" y="110"/>
                    <a:pt x="263" y="109"/>
                  </a:cubicBezTo>
                  <a:cubicBezTo>
                    <a:pt x="263" y="108"/>
                    <a:pt x="263" y="108"/>
                    <a:pt x="263" y="108"/>
                  </a:cubicBezTo>
                  <a:cubicBezTo>
                    <a:pt x="263" y="108"/>
                    <a:pt x="263" y="107"/>
                    <a:pt x="263" y="107"/>
                  </a:cubicBezTo>
                  <a:cubicBezTo>
                    <a:pt x="260" y="106"/>
                    <a:pt x="260" y="106"/>
                    <a:pt x="260" y="106"/>
                  </a:cubicBezTo>
                  <a:cubicBezTo>
                    <a:pt x="259" y="105"/>
                    <a:pt x="258" y="104"/>
                    <a:pt x="256" y="103"/>
                  </a:cubicBezTo>
                  <a:cubicBezTo>
                    <a:pt x="255" y="103"/>
                    <a:pt x="255" y="103"/>
                    <a:pt x="255" y="103"/>
                  </a:cubicBezTo>
                  <a:cubicBezTo>
                    <a:pt x="252" y="101"/>
                    <a:pt x="252" y="101"/>
                    <a:pt x="251" y="101"/>
                  </a:cubicBezTo>
                  <a:cubicBezTo>
                    <a:pt x="251" y="101"/>
                    <a:pt x="251" y="101"/>
                    <a:pt x="251" y="101"/>
                  </a:cubicBezTo>
                  <a:cubicBezTo>
                    <a:pt x="250" y="102"/>
                    <a:pt x="250" y="102"/>
                    <a:pt x="249" y="102"/>
                  </a:cubicBezTo>
                  <a:cubicBezTo>
                    <a:pt x="249" y="102"/>
                    <a:pt x="248" y="102"/>
                    <a:pt x="248" y="102"/>
                  </a:cubicBezTo>
                  <a:cubicBezTo>
                    <a:pt x="245" y="102"/>
                    <a:pt x="244" y="101"/>
                    <a:pt x="242" y="100"/>
                  </a:cubicBezTo>
                  <a:cubicBezTo>
                    <a:pt x="241" y="99"/>
                    <a:pt x="241" y="99"/>
                    <a:pt x="241" y="99"/>
                  </a:cubicBezTo>
                  <a:cubicBezTo>
                    <a:pt x="240" y="99"/>
                    <a:pt x="240" y="98"/>
                    <a:pt x="239" y="98"/>
                  </a:cubicBezTo>
                  <a:cubicBezTo>
                    <a:pt x="237" y="97"/>
                    <a:pt x="236" y="96"/>
                    <a:pt x="234" y="94"/>
                  </a:cubicBezTo>
                  <a:cubicBezTo>
                    <a:pt x="234" y="94"/>
                    <a:pt x="233" y="94"/>
                    <a:pt x="232" y="94"/>
                  </a:cubicBezTo>
                  <a:cubicBezTo>
                    <a:pt x="232" y="93"/>
                    <a:pt x="231" y="93"/>
                    <a:pt x="230" y="92"/>
                  </a:cubicBezTo>
                  <a:cubicBezTo>
                    <a:pt x="227" y="91"/>
                    <a:pt x="225" y="89"/>
                    <a:pt x="222" y="87"/>
                  </a:cubicBezTo>
                  <a:cubicBezTo>
                    <a:pt x="219" y="84"/>
                    <a:pt x="215" y="83"/>
                    <a:pt x="212" y="81"/>
                  </a:cubicBezTo>
                  <a:cubicBezTo>
                    <a:pt x="210" y="80"/>
                    <a:pt x="210" y="80"/>
                    <a:pt x="210" y="80"/>
                  </a:cubicBezTo>
                  <a:cubicBezTo>
                    <a:pt x="209" y="79"/>
                    <a:pt x="208" y="79"/>
                    <a:pt x="207" y="79"/>
                  </a:cubicBezTo>
                  <a:cubicBezTo>
                    <a:pt x="204" y="77"/>
                    <a:pt x="201" y="74"/>
                    <a:pt x="198" y="72"/>
                  </a:cubicBezTo>
                  <a:cubicBezTo>
                    <a:pt x="197" y="71"/>
                    <a:pt x="197" y="71"/>
                    <a:pt x="197" y="71"/>
                  </a:cubicBezTo>
                  <a:cubicBezTo>
                    <a:pt x="196" y="71"/>
                    <a:pt x="195" y="70"/>
                    <a:pt x="194" y="70"/>
                  </a:cubicBezTo>
                  <a:cubicBezTo>
                    <a:pt x="191" y="67"/>
                    <a:pt x="191" y="67"/>
                    <a:pt x="191" y="67"/>
                  </a:cubicBezTo>
                  <a:cubicBezTo>
                    <a:pt x="191" y="67"/>
                    <a:pt x="190" y="67"/>
                    <a:pt x="190" y="66"/>
                  </a:cubicBezTo>
                  <a:cubicBezTo>
                    <a:pt x="189" y="66"/>
                    <a:pt x="189" y="66"/>
                    <a:pt x="189" y="66"/>
                  </a:cubicBezTo>
                  <a:cubicBezTo>
                    <a:pt x="188" y="65"/>
                    <a:pt x="186" y="64"/>
                    <a:pt x="185" y="63"/>
                  </a:cubicBezTo>
                  <a:cubicBezTo>
                    <a:pt x="185" y="62"/>
                    <a:pt x="185" y="62"/>
                    <a:pt x="185" y="62"/>
                  </a:cubicBezTo>
                  <a:cubicBezTo>
                    <a:pt x="184" y="62"/>
                    <a:pt x="184" y="62"/>
                    <a:pt x="184" y="62"/>
                  </a:cubicBezTo>
                  <a:cubicBezTo>
                    <a:pt x="184" y="61"/>
                    <a:pt x="184" y="61"/>
                    <a:pt x="184" y="61"/>
                  </a:cubicBezTo>
                  <a:cubicBezTo>
                    <a:pt x="183" y="60"/>
                    <a:pt x="183" y="58"/>
                    <a:pt x="183" y="57"/>
                  </a:cubicBezTo>
                  <a:cubicBezTo>
                    <a:pt x="183" y="57"/>
                    <a:pt x="182" y="56"/>
                    <a:pt x="182" y="55"/>
                  </a:cubicBezTo>
                  <a:cubicBezTo>
                    <a:pt x="182" y="55"/>
                    <a:pt x="182" y="55"/>
                    <a:pt x="182" y="55"/>
                  </a:cubicBezTo>
                  <a:cubicBezTo>
                    <a:pt x="182" y="54"/>
                    <a:pt x="181" y="53"/>
                    <a:pt x="180" y="53"/>
                  </a:cubicBezTo>
                  <a:cubicBezTo>
                    <a:pt x="180" y="52"/>
                    <a:pt x="179" y="51"/>
                    <a:pt x="178" y="49"/>
                  </a:cubicBezTo>
                  <a:cubicBezTo>
                    <a:pt x="177" y="48"/>
                    <a:pt x="177" y="47"/>
                    <a:pt x="176" y="46"/>
                  </a:cubicBezTo>
                  <a:cubicBezTo>
                    <a:pt x="175" y="42"/>
                    <a:pt x="173" y="38"/>
                    <a:pt x="170" y="35"/>
                  </a:cubicBezTo>
                  <a:cubicBezTo>
                    <a:pt x="169" y="34"/>
                    <a:pt x="168" y="33"/>
                    <a:pt x="168" y="33"/>
                  </a:cubicBezTo>
                  <a:cubicBezTo>
                    <a:pt x="167" y="34"/>
                    <a:pt x="167" y="34"/>
                    <a:pt x="167" y="34"/>
                  </a:cubicBezTo>
                  <a:cubicBezTo>
                    <a:pt x="166" y="36"/>
                    <a:pt x="164" y="36"/>
                    <a:pt x="162" y="36"/>
                  </a:cubicBezTo>
                  <a:cubicBezTo>
                    <a:pt x="160" y="36"/>
                    <a:pt x="160" y="36"/>
                    <a:pt x="160" y="36"/>
                  </a:cubicBezTo>
                  <a:cubicBezTo>
                    <a:pt x="159" y="36"/>
                    <a:pt x="158" y="36"/>
                    <a:pt x="157" y="35"/>
                  </a:cubicBezTo>
                  <a:cubicBezTo>
                    <a:pt x="156" y="35"/>
                    <a:pt x="154" y="35"/>
                    <a:pt x="152" y="35"/>
                  </a:cubicBezTo>
                  <a:cubicBezTo>
                    <a:pt x="152" y="34"/>
                    <a:pt x="152" y="34"/>
                    <a:pt x="151" y="34"/>
                  </a:cubicBezTo>
                  <a:cubicBezTo>
                    <a:pt x="151" y="34"/>
                    <a:pt x="150" y="35"/>
                    <a:pt x="150" y="35"/>
                  </a:cubicBezTo>
                  <a:cubicBezTo>
                    <a:pt x="149" y="35"/>
                    <a:pt x="149" y="35"/>
                    <a:pt x="148" y="35"/>
                  </a:cubicBezTo>
                  <a:cubicBezTo>
                    <a:pt x="147" y="35"/>
                    <a:pt x="146" y="34"/>
                    <a:pt x="144" y="33"/>
                  </a:cubicBezTo>
                  <a:cubicBezTo>
                    <a:pt x="143" y="33"/>
                    <a:pt x="143" y="33"/>
                    <a:pt x="143" y="33"/>
                  </a:cubicBezTo>
                  <a:cubicBezTo>
                    <a:pt x="143" y="33"/>
                    <a:pt x="142" y="32"/>
                    <a:pt x="142" y="32"/>
                  </a:cubicBezTo>
                  <a:cubicBezTo>
                    <a:pt x="141" y="31"/>
                    <a:pt x="141" y="31"/>
                    <a:pt x="141" y="31"/>
                  </a:cubicBezTo>
                  <a:cubicBezTo>
                    <a:pt x="140" y="31"/>
                    <a:pt x="140" y="31"/>
                    <a:pt x="140" y="31"/>
                  </a:cubicBezTo>
                  <a:cubicBezTo>
                    <a:pt x="139" y="30"/>
                    <a:pt x="137" y="29"/>
                    <a:pt x="138" y="26"/>
                  </a:cubicBezTo>
                  <a:cubicBezTo>
                    <a:pt x="139" y="25"/>
                    <a:pt x="139" y="25"/>
                    <a:pt x="139" y="25"/>
                  </a:cubicBezTo>
                  <a:cubicBezTo>
                    <a:pt x="139" y="24"/>
                    <a:pt x="139" y="24"/>
                    <a:pt x="139" y="24"/>
                  </a:cubicBezTo>
                  <a:cubicBezTo>
                    <a:pt x="139" y="24"/>
                    <a:pt x="139" y="24"/>
                    <a:pt x="138" y="23"/>
                  </a:cubicBezTo>
                  <a:cubicBezTo>
                    <a:pt x="137" y="21"/>
                    <a:pt x="137" y="21"/>
                    <a:pt x="137" y="21"/>
                  </a:cubicBezTo>
                  <a:cubicBezTo>
                    <a:pt x="139" y="20"/>
                    <a:pt x="139" y="20"/>
                    <a:pt x="139" y="20"/>
                  </a:cubicBezTo>
                  <a:cubicBezTo>
                    <a:pt x="139" y="19"/>
                    <a:pt x="138" y="19"/>
                    <a:pt x="136" y="18"/>
                  </a:cubicBezTo>
                  <a:cubicBezTo>
                    <a:pt x="131" y="16"/>
                    <a:pt x="131" y="16"/>
                    <a:pt x="131" y="16"/>
                  </a:cubicBezTo>
                  <a:cubicBezTo>
                    <a:pt x="137" y="14"/>
                    <a:pt x="137" y="14"/>
                    <a:pt x="137" y="14"/>
                  </a:cubicBezTo>
                  <a:cubicBezTo>
                    <a:pt x="137" y="14"/>
                    <a:pt x="137" y="14"/>
                    <a:pt x="137" y="14"/>
                  </a:cubicBezTo>
                  <a:cubicBezTo>
                    <a:pt x="137" y="14"/>
                    <a:pt x="137" y="14"/>
                    <a:pt x="137" y="14"/>
                  </a:cubicBezTo>
                  <a:cubicBezTo>
                    <a:pt x="137" y="13"/>
                    <a:pt x="136" y="13"/>
                    <a:pt x="137" y="12"/>
                  </a:cubicBezTo>
                  <a:cubicBezTo>
                    <a:pt x="135" y="11"/>
                    <a:pt x="133" y="11"/>
                    <a:pt x="132" y="11"/>
                  </a:cubicBezTo>
                  <a:cubicBezTo>
                    <a:pt x="132" y="10"/>
                    <a:pt x="132" y="10"/>
                    <a:pt x="132" y="10"/>
                  </a:cubicBezTo>
                  <a:cubicBezTo>
                    <a:pt x="131" y="10"/>
                    <a:pt x="128" y="10"/>
                    <a:pt x="127" y="10"/>
                  </a:cubicBezTo>
                  <a:cubicBezTo>
                    <a:pt x="126" y="10"/>
                    <a:pt x="126" y="10"/>
                    <a:pt x="126" y="10"/>
                  </a:cubicBezTo>
                  <a:cubicBezTo>
                    <a:pt x="126" y="10"/>
                    <a:pt x="126" y="10"/>
                    <a:pt x="126" y="10"/>
                  </a:cubicBezTo>
                  <a:cubicBezTo>
                    <a:pt x="125" y="10"/>
                    <a:pt x="124" y="9"/>
                    <a:pt x="123" y="9"/>
                  </a:cubicBezTo>
                  <a:cubicBezTo>
                    <a:pt x="123" y="8"/>
                    <a:pt x="123" y="8"/>
                    <a:pt x="122" y="7"/>
                  </a:cubicBezTo>
                  <a:cubicBezTo>
                    <a:pt x="122" y="7"/>
                    <a:pt x="122" y="7"/>
                    <a:pt x="122" y="7"/>
                  </a:cubicBezTo>
                  <a:cubicBezTo>
                    <a:pt x="121" y="6"/>
                    <a:pt x="121" y="6"/>
                    <a:pt x="121" y="6"/>
                  </a:cubicBezTo>
                  <a:cubicBezTo>
                    <a:pt x="121" y="5"/>
                    <a:pt x="121" y="5"/>
                    <a:pt x="121" y="5"/>
                  </a:cubicBezTo>
                  <a:cubicBezTo>
                    <a:pt x="121" y="5"/>
                    <a:pt x="121" y="5"/>
                    <a:pt x="121" y="5"/>
                  </a:cubicBezTo>
                  <a:cubicBezTo>
                    <a:pt x="120" y="5"/>
                    <a:pt x="120" y="5"/>
                    <a:pt x="120" y="5"/>
                  </a:cubicBezTo>
                  <a:cubicBezTo>
                    <a:pt x="120" y="5"/>
                    <a:pt x="120" y="5"/>
                    <a:pt x="119" y="5"/>
                  </a:cubicBezTo>
                  <a:cubicBezTo>
                    <a:pt x="119" y="5"/>
                    <a:pt x="119" y="5"/>
                    <a:pt x="118" y="5"/>
                  </a:cubicBezTo>
                  <a:cubicBezTo>
                    <a:pt x="118" y="5"/>
                    <a:pt x="117" y="5"/>
                    <a:pt x="116" y="4"/>
                  </a:cubicBezTo>
                  <a:cubicBezTo>
                    <a:pt x="115" y="3"/>
                    <a:pt x="114" y="2"/>
                    <a:pt x="113" y="1"/>
                  </a:cubicBezTo>
                  <a:cubicBezTo>
                    <a:pt x="113" y="0"/>
                    <a:pt x="113" y="0"/>
                    <a:pt x="1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Freeform 425">
              <a:extLst>
                <a:ext uri="{FF2B5EF4-FFF2-40B4-BE49-F238E27FC236}">
                  <a16:creationId xmlns:a16="http://schemas.microsoft.com/office/drawing/2014/main" id="{DD4510BA-F744-4D09-8F41-B83AAD060A8F}"/>
                </a:ext>
              </a:extLst>
            </p:cNvPr>
            <p:cNvSpPr>
              <a:spLocks/>
            </p:cNvSpPr>
            <p:nvPr/>
          </p:nvSpPr>
          <p:spPr bwMode="auto">
            <a:xfrm>
              <a:off x="2596853" y="4148323"/>
              <a:ext cx="462152" cy="237953"/>
            </a:xfrm>
            <a:custGeom>
              <a:avLst/>
              <a:gdLst>
                <a:gd name="T0" fmla="*/ 29 w 142"/>
                <a:gd name="T1" fmla="*/ 3 h 73"/>
                <a:gd name="T2" fmla="*/ 28 w 142"/>
                <a:gd name="T3" fmla="*/ 3 h 73"/>
                <a:gd name="T4" fmla="*/ 27 w 142"/>
                <a:gd name="T5" fmla="*/ 16 h 73"/>
                <a:gd name="T6" fmla="*/ 23 w 142"/>
                <a:gd name="T7" fmla="*/ 8 h 73"/>
                <a:gd name="T8" fmla="*/ 18 w 142"/>
                <a:gd name="T9" fmla="*/ 15 h 73"/>
                <a:gd name="T10" fmla="*/ 12 w 142"/>
                <a:gd name="T11" fmla="*/ 15 h 73"/>
                <a:gd name="T12" fmla="*/ 4 w 142"/>
                <a:gd name="T13" fmla="*/ 14 h 73"/>
                <a:gd name="T14" fmla="*/ 2 w 142"/>
                <a:gd name="T15" fmla="*/ 14 h 73"/>
                <a:gd name="T16" fmla="*/ 0 w 142"/>
                <a:gd name="T17" fmla="*/ 18 h 73"/>
                <a:gd name="T18" fmla="*/ 3 w 142"/>
                <a:gd name="T19" fmla="*/ 21 h 73"/>
                <a:gd name="T20" fmla="*/ 15 w 142"/>
                <a:gd name="T21" fmla="*/ 26 h 73"/>
                <a:gd name="T22" fmla="*/ 14 w 142"/>
                <a:gd name="T23" fmla="*/ 36 h 73"/>
                <a:gd name="T24" fmla="*/ 16 w 142"/>
                <a:gd name="T25" fmla="*/ 38 h 73"/>
                <a:gd name="T26" fmla="*/ 11 w 142"/>
                <a:gd name="T27" fmla="*/ 55 h 73"/>
                <a:gd name="T28" fmla="*/ 8 w 142"/>
                <a:gd name="T29" fmla="*/ 62 h 73"/>
                <a:gd name="T30" fmla="*/ 10 w 142"/>
                <a:gd name="T31" fmla="*/ 68 h 73"/>
                <a:gd name="T32" fmla="*/ 14 w 142"/>
                <a:gd name="T33" fmla="*/ 65 h 73"/>
                <a:gd name="T34" fmla="*/ 23 w 142"/>
                <a:gd name="T35" fmla="*/ 61 h 73"/>
                <a:gd name="T36" fmla="*/ 24 w 142"/>
                <a:gd name="T37" fmla="*/ 61 h 73"/>
                <a:gd name="T38" fmla="*/ 31 w 142"/>
                <a:gd name="T39" fmla="*/ 62 h 73"/>
                <a:gd name="T40" fmla="*/ 34 w 142"/>
                <a:gd name="T41" fmla="*/ 64 h 73"/>
                <a:gd name="T42" fmla="*/ 34 w 142"/>
                <a:gd name="T43" fmla="*/ 61 h 73"/>
                <a:gd name="T44" fmla="*/ 36 w 142"/>
                <a:gd name="T45" fmla="*/ 56 h 73"/>
                <a:gd name="T46" fmla="*/ 46 w 142"/>
                <a:gd name="T47" fmla="*/ 55 h 73"/>
                <a:gd name="T48" fmla="*/ 49 w 142"/>
                <a:gd name="T49" fmla="*/ 55 h 73"/>
                <a:gd name="T50" fmla="*/ 50 w 142"/>
                <a:gd name="T51" fmla="*/ 53 h 73"/>
                <a:gd name="T52" fmla="*/ 50 w 142"/>
                <a:gd name="T53" fmla="*/ 46 h 73"/>
                <a:gd name="T54" fmla="*/ 56 w 142"/>
                <a:gd name="T55" fmla="*/ 42 h 73"/>
                <a:gd name="T56" fmla="*/ 65 w 142"/>
                <a:gd name="T57" fmla="*/ 35 h 73"/>
                <a:gd name="T58" fmla="*/ 70 w 142"/>
                <a:gd name="T59" fmla="*/ 37 h 73"/>
                <a:gd name="T60" fmla="*/ 73 w 142"/>
                <a:gd name="T61" fmla="*/ 36 h 73"/>
                <a:gd name="T62" fmla="*/ 73 w 142"/>
                <a:gd name="T63" fmla="*/ 40 h 73"/>
                <a:gd name="T64" fmla="*/ 78 w 142"/>
                <a:gd name="T65" fmla="*/ 46 h 73"/>
                <a:gd name="T66" fmla="*/ 78 w 142"/>
                <a:gd name="T67" fmla="*/ 64 h 73"/>
                <a:gd name="T68" fmla="*/ 78 w 142"/>
                <a:gd name="T69" fmla="*/ 65 h 73"/>
                <a:gd name="T70" fmla="*/ 78 w 142"/>
                <a:gd name="T71" fmla="*/ 70 h 73"/>
                <a:gd name="T72" fmla="*/ 79 w 142"/>
                <a:gd name="T73" fmla="*/ 73 h 73"/>
                <a:gd name="T74" fmla="*/ 91 w 142"/>
                <a:gd name="T75" fmla="*/ 69 h 73"/>
                <a:gd name="T76" fmla="*/ 109 w 142"/>
                <a:gd name="T77" fmla="*/ 57 h 73"/>
                <a:gd name="T78" fmla="*/ 120 w 142"/>
                <a:gd name="T79" fmla="*/ 60 h 73"/>
                <a:gd name="T80" fmla="*/ 126 w 142"/>
                <a:gd name="T81" fmla="*/ 59 h 73"/>
                <a:gd name="T82" fmla="*/ 130 w 142"/>
                <a:gd name="T83" fmla="*/ 58 h 73"/>
                <a:gd name="T84" fmla="*/ 140 w 142"/>
                <a:gd name="T85" fmla="*/ 61 h 73"/>
                <a:gd name="T86" fmla="*/ 140 w 142"/>
                <a:gd name="T87" fmla="*/ 55 h 73"/>
                <a:gd name="T88" fmla="*/ 138 w 142"/>
                <a:gd name="T89" fmla="*/ 41 h 73"/>
                <a:gd name="T90" fmla="*/ 133 w 142"/>
                <a:gd name="T91" fmla="*/ 37 h 73"/>
                <a:gd name="T92" fmla="*/ 129 w 142"/>
                <a:gd name="T93" fmla="*/ 35 h 73"/>
                <a:gd name="T94" fmla="*/ 124 w 142"/>
                <a:gd name="T95" fmla="*/ 35 h 73"/>
                <a:gd name="T96" fmla="*/ 120 w 142"/>
                <a:gd name="T97" fmla="*/ 36 h 73"/>
                <a:gd name="T98" fmla="*/ 116 w 142"/>
                <a:gd name="T99" fmla="*/ 26 h 73"/>
                <a:gd name="T100" fmla="*/ 112 w 142"/>
                <a:gd name="T101" fmla="*/ 27 h 73"/>
                <a:gd name="T102" fmla="*/ 114 w 142"/>
                <a:gd name="T103" fmla="*/ 20 h 73"/>
                <a:gd name="T104" fmla="*/ 110 w 142"/>
                <a:gd name="T105" fmla="*/ 18 h 73"/>
                <a:gd name="T106" fmla="*/ 97 w 142"/>
                <a:gd name="T107" fmla="*/ 19 h 73"/>
                <a:gd name="T108" fmla="*/ 89 w 142"/>
                <a:gd name="T109" fmla="*/ 22 h 73"/>
                <a:gd name="T110" fmla="*/ 81 w 142"/>
                <a:gd name="T111" fmla="*/ 21 h 73"/>
                <a:gd name="T112" fmla="*/ 78 w 142"/>
                <a:gd name="T113" fmla="*/ 17 h 73"/>
                <a:gd name="T114" fmla="*/ 76 w 142"/>
                <a:gd name="T115" fmla="*/ 17 h 73"/>
                <a:gd name="T116" fmla="*/ 67 w 142"/>
                <a:gd name="T117" fmla="*/ 18 h 73"/>
                <a:gd name="T118" fmla="*/ 67 w 142"/>
                <a:gd name="T119" fmla="*/ 18 h 73"/>
                <a:gd name="T120" fmla="*/ 56 w 142"/>
                <a:gd name="T121" fmla="*/ 15 h 73"/>
                <a:gd name="T122" fmla="*/ 32 w 142"/>
                <a:gd name="T123" fmla="*/ 16 h 73"/>
                <a:gd name="T124" fmla="*/ 32 w 142"/>
                <a:gd name="T125"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2" h="73">
                  <a:moveTo>
                    <a:pt x="31" y="0"/>
                  </a:moveTo>
                  <a:cubicBezTo>
                    <a:pt x="31" y="1"/>
                    <a:pt x="30" y="2"/>
                    <a:pt x="30" y="3"/>
                  </a:cubicBezTo>
                  <a:cubicBezTo>
                    <a:pt x="29" y="3"/>
                    <a:pt x="29" y="3"/>
                    <a:pt x="29" y="3"/>
                  </a:cubicBezTo>
                  <a:cubicBezTo>
                    <a:pt x="28" y="3"/>
                    <a:pt x="28" y="3"/>
                    <a:pt x="28" y="3"/>
                  </a:cubicBezTo>
                  <a:cubicBezTo>
                    <a:pt x="28" y="3"/>
                    <a:pt x="28" y="3"/>
                    <a:pt x="28" y="3"/>
                  </a:cubicBezTo>
                  <a:cubicBezTo>
                    <a:pt x="28" y="3"/>
                    <a:pt x="28" y="3"/>
                    <a:pt x="28" y="3"/>
                  </a:cubicBezTo>
                  <a:cubicBezTo>
                    <a:pt x="28" y="4"/>
                    <a:pt x="28" y="4"/>
                    <a:pt x="28" y="4"/>
                  </a:cubicBezTo>
                  <a:cubicBezTo>
                    <a:pt x="28" y="5"/>
                    <a:pt x="28" y="5"/>
                    <a:pt x="28" y="6"/>
                  </a:cubicBezTo>
                  <a:cubicBezTo>
                    <a:pt x="27" y="16"/>
                    <a:pt x="27" y="16"/>
                    <a:pt x="27" y="16"/>
                  </a:cubicBezTo>
                  <a:cubicBezTo>
                    <a:pt x="24" y="7"/>
                    <a:pt x="24" y="7"/>
                    <a:pt x="24" y="7"/>
                  </a:cubicBezTo>
                  <a:cubicBezTo>
                    <a:pt x="23" y="8"/>
                    <a:pt x="23" y="8"/>
                    <a:pt x="23" y="8"/>
                  </a:cubicBezTo>
                  <a:cubicBezTo>
                    <a:pt x="23" y="8"/>
                    <a:pt x="23" y="8"/>
                    <a:pt x="23" y="8"/>
                  </a:cubicBezTo>
                  <a:cubicBezTo>
                    <a:pt x="22" y="12"/>
                    <a:pt x="22" y="14"/>
                    <a:pt x="20" y="15"/>
                  </a:cubicBezTo>
                  <a:cubicBezTo>
                    <a:pt x="19" y="15"/>
                    <a:pt x="19" y="15"/>
                    <a:pt x="19" y="15"/>
                  </a:cubicBezTo>
                  <a:cubicBezTo>
                    <a:pt x="19" y="15"/>
                    <a:pt x="18" y="15"/>
                    <a:pt x="18" y="15"/>
                  </a:cubicBezTo>
                  <a:cubicBezTo>
                    <a:pt x="17" y="15"/>
                    <a:pt x="17" y="15"/>
                    <a:pt x="17" y="15"/>
                  </a:cubicBezTo>
                  <a:cubicBezTo>
                    <a:pt x="16" y="15"/>
                    <a:pt x="16" y="15"/>
                    <a:pt x="16" y="15"/>
                  </a:cubicBezTo>
                  <a:cubicBezTo>
                    <a:pt x="15" y="15"/>
                    <a:pt x="14" y="15"/>
                    <a:pt x="12" y="15"/>
                  </a:cubicBezTo>
                  <a:cubicBezTo>
                    <a:pt x="11" y="14"/>
                    <a:pt x="8" y="14"/>
                    <a:pt x="6" y="14"/>
                  </a:cubicBezTo>
                  <a:cubicBezTo>
                    <a:pt x="5" y="14"/>
                    <a:pt x="5" y="13"/>
                    <a:pt x="5" y="13"/>
                  </a:cubicBezTo>
                  <a:cubicBezTo>
                    <a:pt x="4" y="13"/>
                    <a:pt x="4" y="13"/>
                    <a:pt x="4" y="14"/>
                  </a:cubicBezTo>
                  <a:cubicBezTo>
                    <a:pt x="4" y="14"/>
                    <a:pt x="4" y="14"/>
                    <a:pt x="4" y="14"/>
                  </a:cubicBezTo>
                  <a:cubicBezTo>
                    <a:pt x="3" y="14"/>
                    <a:pt x="3" y="14"/>
                    <a:pt x="3" y="14"/>
                  </a:cubicBezTo>
                  <a:cubicBezTo>
                    <a:pt x="3" y="14"/>
                    <a:pt x="3" y="14"/>
                    <a:pt x="2" y="14"/>
                  </a:cubicBezTo>
                  <a:cubicBezTo>
                    <a:pt x="2" y="15"/>
                    <a:pt x="2" y="15"/>
                    <a:pt x="2" y="15"/>
                  </a:cubicBezTo>
                  <a:cubicBezTo>
                    <a:pt x="1" y="16"/>
                    <a:pt x="0" y="16"/>
                    <a:pt x="0" y="18"/>
                  </a:cubicBezTo>
                  <a:cubicBezTo>
                    <a:pt x="0" y="18"/>
                    <a:pt x="0" y="18"/>
                    <a:pt x="0" y="18"/>
                  </a:cubicBezTo>
                  <a:cubicBezTo>
                    <a:pt x="0" y="18"/>
                    <a:pt x="1" y="19"/>
                    <a:pt x="1" y="19"/>
                  </a:cubicBezTo>
                  <a:cubicBezTo>
                    <a:pt x="2" y="20"/>
                    <a:pt x="2" y="20"/>
                    <a:pt x="2" y="20"/>
                  </a:cubicBezTo>
                  <a:cubicBezTo>
                    <a:pt x="2" y="20"/>
                    <a:pt x="2" y="20"/>
                    <a:pt x="3" y="21"/>
                  </a:cubicBezTo>
                  <a:cubicBezTo>
                    <a:pt x="4" y="22"/>
                    <a:pt x="4" y="22"/>
                    <a:pt x="7" y="22"/>
                  </a:cubicBezTo>
                  <a:cubicBezTo>
                    <a:pt x="7" y="22"/>
                    <a:pt x="8" y="23"/>
                    <a:pt x="9" y="23"/>
                  </a:cubicBezTo>
                  <a:cubicBezTo>
                    <a:pt x="11" y="23"/>
                    <a:pt x="14" y="24"/>
                    <a:pt x="15" y="26"/>
                  </a:cubicBezTo>
                  <a:cubicBezTo>
                    <a:pt x="15" y="27"/>
                    <a:pt x="15" y="27"/>
                    <a:pt x="15" y="28"/>
                  </a:cubicBezTo>
                  <a:cubicBezTo>
                    <a:pt x="15" y="29"/>
                    <a:pt x="15" y="31"/>
                    <a:pt x="14" y="33"/>
                  </a:cubicBezTo>
                  <a:cubicBezTo>
                    <a:pt x="14" y="36"/>
                    <a:pt x="14" y="36"/>
                    <a:pt x="14" y="36"/>
                  </a:cubicBezTo>
                  <a:cubicBezTo>
                    <a:pt x="14" y="36"/>
                    <a:pt x="14" y="36"/>
                    <a:pt x="14" y="37"/>
                  </a:cubicBezTo>
                  <a:cubicBezTo>
                    <a:pt x="15" y="37"/>
                    <a:pt x="15" y="37"/>
                    <a:pt x="15" y="37"/>
                  </a:cubicBezTo>
                  <a:cubicBezTo>
                    <a:pt x="16" y="38"/>
                    <a:pt x="16" y="38"/>
                    <a:pt x="16" y="38"/>
                  </a:cubicBezTo>
                  <a:cubicBezTo>
                    <a:pt x="17" y="39"/>
                    <a:pt x="17" y="39"/>
                    <a:pt x="18" y="40"/>
                  </a:cubicBezTo>
                  <a:cubicBezTo>
                    <a:pt x="21" y="44"/>
                    <a:pt x="16" y="49"/>
                    <a:pt x="13" y="54"/>
                  </a:cubicBezTo>
                  <a:cubicBezTo>
                    <a:pt x="12" y="54"/>
                    <a:pt x="12" y="55"/>
                    <a:pt x="11" y="55"/>
                  </a:cubicBezTo>
                  <a:cubicBezTo>
                    <a:pt x="10" y="57"/>
                    <a:pt x="10" y="57"/>
                    <a:pt x="10" y="57"/>
                  </a:cubicBezTo>
                  <a:cubicBezTo>
                    <a:pt x="10" y="58"/>
                    <a:pt x="9" y="59"/>
                    <a:pt x="8" y="60"/>
                  </a:cubicBezTo>
                  <a:cubicBezTo>
                    <a:pt x="8" y="60"/>
                    <a:pt x="9" y="61"/>
                    <a:pt x="8" y="62"/>
                  </a:cubicBezTo>
                  <a:cubicBezTo>
                    <a:pt x="8" y="63"/>
                    <a:pt x="8" y="64"/>
                    <a:pt x="7" y="65"/>
                  </a:cubicBezTo>
                  <a:cubicBezTo>
                    <a:pt x="8" y="66"/>
                    <a:pt x="8" y="66"/>
                    <a:pt x="8" y="66"/>
                  </a:cubicBezTo>
                  <a:cubicBezTo>
                    <a:pt x="10" y="68"/>
                    <a:pt x="10" y="68"/>
                    <a:pt x="10" y="68"/>
                  </a:cubicBezTo>
                  <a:cubicBezTo>
                    <a:pt x="10" y="68"/>
                    <a:pt x="10" y="68"/>
                    <a:pt x="10" y="68"/>
                  </a:cubicBezTo>
                  <a:cubicBezTo>
                    <a:pt x="11" y="67"/>
                    <a:pt x="11" y="67"/>
                    <a:pt x="11" y="67"/>
                  </a:cubicBezTo>
                  <a:cubicBezTo>
                    <a:pt x="12" y="66"/>
                    <a:pt x="13" y="65"/>
                    <a:pt x="14" y="65"/>
                  </a:cubicBezTo>
                  <a:cubicBezTo>
                    <a:pt x="15" y="64"/>
                    <a:pt x="15" y="64"/>
                    <a:pt x="16" y="64"/>
                  </a:cubicBezTo>
                  <a:cubicBezTo>
                    <a:pt x="18" y="63"/>
                    <a:pt x="20" y="63"/>
                    <a:pt x="22" y="62"/>
                  </a:cubicBezTo>
                  <a:cubicBezTo>
                    <a:pt x="23" y="61"/>
                    <a:pt x="23" y="61"/>
                    <a:pt x="23" y="61"/>
                  </a:cubicBezTo>
                  <a:cubicBezTo>
                    <a:pt x="23" y="62"/>
                    <a:pt x="23" y="62"/>
                    <a:pt x="23" y="62"/>
                  </a:cubicBezTo>
                  <a:cubicBezTo>
                    <a:pt x="23" y="61"/>
                    <a:pt x="23" y="61"/>
                    <a:pt x="23" y="61"/>
                  </a:cubicBezTo>
                  <a:cubicBezTo>
                    <a:pt x="23" y="61"/>
                    <a:pt x="24" y="61"/>
                    <a:pt x="24" y="61"/>
                  </a:cubicBezTo>
                  <a:cubicBezTo>
                    <a:pt x="25" y="60"/>
                    <a:pt x="26" y="60"/>
                    <a:pt x="27" y="60"/>
                  </a:cubicBezTo>
                  <a:cubicBezTo>
                    <a:pt x="28" y="60"/>
                    <a:pt x="29" y="60"/>
                    <a:pt x="30" y="61"/>
                  </a:cubicBezTo>
                  <a:cubicBezTo>
                    <a:pt x="31" y="62"/>
                    <a:pt x="31" y="62"/>
                    <a:pt x="31" y="62"/>
                  </a:cubicBezTo>
                  <a:cubicBezTo>
                    <a:pt x="32" y="63"/>
                    <a:pt x="32" y="63"/>
                    <a:pt x="32" y="63"/>
                  </a:cubicBezTo>
                  <a:cubicBezTo>
                    <a:pt x="33" y="64"/>
                    <a:pt x="33" y="64"/>
                    <a:pt x="34" y="64"/>
                  </a:cubicBezTo>
                  <a:cubicBezTo>
                    <a:pt x="34" y="64"/>
                    <a:pt x="34" y="64"/>
                    <a:pt x="34" y="64"/>
                  </a:cubicBezTo>
                  <a:cubicBezTo>
                    <a:pt x="34" y="63"/>
                    <a:pt x="34" y="63"/>
                    <a:pt x="34" y="63"/>
                  </a:cubicBezTo>
                  <a:cubicBezTo>
                    <a:pt x="34" y="63"/>
                    <a:pt x="34" y="63"/>
                    <a:pt x="34" y="63"/>
                  </a:cubicBezTo>
                  <a:cubicBezTo>
                    <a:pt x="34" y="62"/>
                    <a:pt x="34" y="62"/>
                    <a:pt x="34" y="61"/>
                  </a:cubicBezTo>
                  <a:cubicBezTo>
                    <a:pt x="35" y="60"/>
                    <a:pt x="35" y="60"/>
                    <a:pt x="35" y="60"/>
                  </a:cubicBezTo>
                  <a:cubicBezTo>
                    <a:pt x="35" y="59"/>
                    <a:pt x="35" y="58"/>
                    <a:pt x="36" y="56"/>
                  </a:cubicBezTo>
                  <a:cubicBezTo>
                    <a:pt x="36" y="56"/>
                    <a:pt x="36" y="56"/>
                    <a:pt x="36" y="56"/>
                  </a:cubicBezTo>
                  <a:cubicBezTo>
                    <a:pt x="37" y="55"/>
                    <a:pt x="38" y="54"/>
                    <a:pt x="41" y="54"/>
                  </a:cubicBezTo>
                  <a:cubicBezTo>
                    <a:pt x="42" y="54"/>
                    <a:pt x="44" y="54"/>
                    <a:pt x="45" y="54"/>
                  </a:cubicBezTo>
                  <a:cubicBezTo>
                    <a:pt x="45" y="54"/>
                    <a:pt x="46" y="54"/>
                    <a:pt x="46" y="55"/>
                  </a:cubicBezTo>
                  <a:cubicBezTo>
                    <a:pt x="47" y="55"/>
                    <a:pt x="48" y="55"/>
                    <a:pt x="49" y="55"/>
                  </a:cubicBezTo>
                  <a:cubicBezTo>
                    <a:pt x="49" y="55"/>
                    <a:pt x="49" y="55"/>
                    <a:pt x="49" y="55"/>
                  </a:cubicBezTo>
                  <a:cubicBezTo>
                    <a:pt x="49" y="55"/>
                    <a:pt x="49" y="55"/>
                    <a:pt x="49" y="55"/>
                  </a:cubicBezTo>
                  <a:cubicBezTo>
                    <a:pt x="50" y="54"/>
                    <a:pt x="50" y="54"/>
                    <a:pt x="50" y="54"/>
                  </a:cubicBezTo>
                  <a:cubicBezTo>
                    <a:pt x="50" y="54"/>
                    <a:pt x="50" y="54"/>
                    <a:pt x="50" y="54"/>
                  </a:cubicBezTo>
                  <a:cubicBezTo>
                    <a:pt x="50" y="53"/>
                    <a:pt x="50" y="53"/>
                    <a:pt x="50" y="53"/>
                  </a:cubicBezTo>
                  <a:cubicBezTo>
                    <a:pt x="49" y="53"/>
                    <a:pt x="49" y="53"/>
                    <a:pt x="49" y="53"/>
                  </a:cubicBezTo>
                  <a:cubicBezTo>
                    <a:pt x="49" y="52"/>
                    <a:pt x="48" y="51"/>
                    <a:pt x="48" y="50"/>
                  </a:cubicBezTo>
                  <a:cubicBezTo>
                    <a:pt x="48" y="50"/>
                    <a:pt x="48" y="48"/>
                    <a:pt x="50" y="46"/>
                  </a:cubicBezTo>
                  <a:cubicBezTo>
                    <a:pt x="50" y="46"/>
                    <a:pt x="52" y="45"/>
                    <a:pt x="53" y="44"/>
                  </a:cubicBezTo>
                  <a:cubicBezTo>
                    <a:pt x="54" y="43"/>
                    <a:pt x="54" y="42"/>
                    <a:pt x="55" y="41"/>
                  </a:cubicBezTo>
                  <a:cubicBezTo>
                    <a:pt x="56" y="42"/>
                    <a:pt x="56" y="42"/>
                    <a:pt x="56" y="42"/>
                  </a:cubicBezTo>
                  <a:cubicBezTo>
                    <a:pt x="55" y="41"/>
                    <a:pt x="55" y="41"/>
                    <a:pt x="55" y="41"/>
                  </a:cubicBezTo>
                  <a:cubicBezTo>
                    <a:pt x="57" y="39"/>
                    <a:pt x="58" y="37"/>
                    <a:pt x="60" y="36"/>
                  </a:cubicBezTo>
                  <a:cubicBezTo>
                    <a:pt x="62" y="35"/>
                    <a:pt x="63" y="35"/>
                    <a:pt x="65" y="35"/>
                  </a:cubicBezTo>
                  <a:cubicBezTo>
                    <a:pt x="66" y="34"/>
                    <a:pt x="66" y="34"/>
                    <a:pt x="66" y="34"/>
                  </a:cubicBezTo>
                  <a:cubicBezTo>
                    <a:pt x="67" y="35"/>
                    <a:pt x="67" y="35"/>
                    <a:pt x="67" y="35"/>
                  </a:cubicBezTo>
                  <a:cubicBezTo>
                    <a:pt x="68" y="35"/>
                    <a:pt x="69" y="36"/>
                    <a:pt x="70" y="37"/>
                  </a:cubicBezTo>
                  <a:cubicBezTo>
                    <a:pt x="70" y="37"/>
                    <a:pt x="71" y="37"/>
                    <a:pt x="71" y="38"/>
                  </a:cubicBezTo>
                  <a:cubicBezTo>
                    <a:pt x="74" y="35"/>
                    <a:pt x="74" y="35"/>
                    <a:pt x="74" y="35"/>
                  </a:cubicBezTo>
                  <a:cubicBezTo>
                    <a:pt x="73" y="36"/>
                    <a:pt x="73" y="36"/>
                    <a:pt x="73" y="36"/>
                  </a:cubicBezTo>
                  <a:cubicBezTo>
                    <a:pt x="74" y="36"/>
                    <a:pt x="74" y="36"/>
                    <a:pt x="74" y="36"/>
                  </a:cubicBezTo>
                  <a:cubicBezTo>
                    <a:pt x="72" y="39"/>
                    <a:pt x="72" y="39"/>
                    <a:pt x="72" y="39"/>
                  </a:cubicBezTo>
                  <a:cubicBezTo>
                    <a:pt x="73" y="40"/>
                    <a:pt x="73" y="40"/>
                    <a:pt x="73" y="40"/>
                  </a:cubicBezTo>
                  <a:cubicBezTo>
                    <a:pt x="73" y="41"/>
                    <a:pt x="74" y="41"/>
                    <a:pt x="74" y="41"/>
                  </a:cubicBezTo>
                  <a:cubicBezTo>
                    <a:pt x="75" y="43"/>
                    <a:pt x="75" y="44"/>
                    <a:pt x="75" y="45"/>
                  </a:cubicBezTo>
                  <a:cubicBezTo>
                    <a:pt x="76" y="46"/>
                    <a:pt x="77" y="46"/>
                    <a:pt x="78" y="46"/>
                  </a:cubicBezTo>
                  <a:cubicBezTo>
                    <a:pt x="79" y="47"/>
                    <a:pt x="79" y="48"/>
                    <a:pt x="79" y="50"/>
                  </a:cubicBezTo>
                  <a:cubicBezTo>
                    <a:pt x="79" y="52"/>
                    <a:pt x="79" y="54"/>
                    <a:pt x="79" y="56"/>
                  </a:cubicBezTo>
                  <a:cubicBezTo>
                    <a:pt x="79" y="59"/>
                    <a:pt x="78" y="61"/>
                    <a:pt x="78" y="64"/>
                  </a:cubicBezTo>
                  <a:cubicBezTo>
                    <a:pt x="83" y="65"/>
                    <a:pt x="83" y="65"/>
                    <a:pt x="83" y="65"/>
                  </a:cubicBezTo>
                  <a:cubicBezTo>
                    <a:pt x="78" y="65"/>
                    <a:pt x="78" y="65"/>
                    <a:pt x="78" y="65"/>
                  </a:cubicBezTo>
                  <a:cubicBezTo>
                    <a:pt x="78" y="65"/>
                    <a:pt x="78" y="65"/>
                    <a:pt x="78" y="65"/>
                  </a:cubicBezTo>
                  <a:cubicBezTo>
                    <a:pt x="77" y="66"/>
                    <a:pt x="77" y="66"/>
                    <a:pt x="77" y="67"/>
                  </a:cubicBezTo>
                  <a:cubicBezTo>
                    <a:pt x="77" y="67"/>
                    <a:pt x="77" y="68"/>
                    <a:pt x="77" y="68"/>
                  </a:cubicBezTo>
                  <a:cubicBezTo>
                    <a:pt x="77" y="69"/>
                    <a:pt x="77" y="69"/>
                    <a:pt x="78" y="70"/>
                  </a:cubicBezTo>
                  <a:cubicBezTo>
                    <a:pt x="78" y="71"/>
                    <a:pt x="78" y="71"/>
                    <a:pt x="79" y="72"/>
                  </a:cubicBezTo>
                  <a:cubicBezTo>
                    <a:pt x="79" y="72"/>
                    <a:pt x="79" y="72"/>
                    <a:pt x="79" y="72"/>
                  </a:cubicBezTo>
                  <a:cubicBezTo>
                    <a:pt x="79" y="72"/>
                    <a:pt x="79" y="73"/>
                    <a:pt x="79" y="73"/>
                  </a:cubicBezTo>
                  <a:cubicBezTo>
                    <a:pt x="88" y="70"/>
                    <a:pt x="88" y="70"/>
                    <a:pt x="88" y="70"/>
                  </a:cubicBezTo>
                  <a:cubicBezTo>
                    <a:pt x="89" y="70"/>
                    <a:pt x="89" y="70"/>
                    <a:pt x="89" y="70"/>
                  </a:cubicBezTo>
                  <a:cubicBezTo>
                    <a:pt x="91" y="69"/>
                    <a:pt x="91" y="69"/>
                    <a:pt x="91" y="69"/>
                  </a:cubicBezTo>
                  <a:cubicBezTo>
                    <a:pt x="93" y="68"/>
                    <a:pt x="96" y="67"/>
                    <a:pt x="97" y="66"/>
                  </a:cubicBezTo>
                  <a:cubicBezTo>
                    <a:pt x="100" y="63"/>
                    <a:pt x="103" y="60"/>
                    <a:pt x="106" y="58"/>
                  </a:cubicBezTo>
                  <a:cubicBezTo>
                    <a:pt x="107" y="58"/>
                    <a:pt x="108" y="57"/>
                    <a:pt x="109" y="57"/>
                  </a:cubicBezTo>
                  <a:cubicBezTo>
                    <a:pt x="110" y="57"/>
                    <a:pt x="111" y="57"/>
                    <a:pt x="112" y="57"/>
                  </a:cubicBezTo>
                  <a:cubicBezTo>
                    <a:pt x="114" y="57"/>
                    <a:pt x="115" y="57"/>
                    <a:pt x="117" y="58"/>
                  </a:cubicBezTo>
                  <a:cubicBezTo>
                    <a:pt x="118" y="59"/>
                    <a:pt x="119" y="60"/>
                    <a:pt x="120" y="60"/>
                  </a:cubicBezTo>
                  <a:cubicBezTo>
                    <a:pt x="121" y="61"/>
                    <a:pt x="121" y="61"/>
                    <a:pt x="121" y="61"/>
                  </a:cubicBezTo>
                  <a:cubicBezTo>
                    <a:pt x="123" y="61"/>
                    <a:pt x="125" y="60"/>
                    <a:pt x="125" y="60"/>
                  </a:cubicBezTo>
                  <a:cubicBezTo>
                    <a:pt x="126" y="59"/>
                    <a:pt x="126" y="59"/>
                    <a:pt x="126" y="59"/>
                  </a:cubicBezTo>
                  <a:cubicBezTo>
                    <a:pt x="126" y="59"/>
                    <a:pt x="127" y="58"/>
                    <a:pt x="127" y="58"/>
                  </a:cubicBezTo>
                  <a:cubicBezTo>
                    <a:pt x="128" y="58"/>
                    <a:pt x="129" y="58"/>
                    <a:pt x="130" y="58"/>
                  </a:cubicBezTo>
                  <a:cubicBezTo>
                    <a:pt x="130" y="58"/>
                    <a:pt x="130" y="58"/>
                    <a:pt x="130" y="58"/>
                  </a:cubicBezTo>
                  <a:cubicBezTo>
                    <a:pt x="131" y="58"/>
                    <a:pt x="131" y="58"/>
                    <a:pt x="131" y="58"/>
                  </a:cubicBezTo>
                  <a:cubicBezTo>
                    <a:pt x="133" y="58"/>
                    <a:pt x="135" y="59"/>
                    <a:pt x="137" y="60"/>
                  </a:cubicBezTo>
                  <a:cubicBezTo>
                    <a:pt x="140" y="61"/>
                    <a:pt x="140" y="61"/>
                    <a:pt x="140" y="61"/>
                  </a:cubicBezTo>
                  <a:cubicBezTo>
                    <a:pt x="141" y="61"/>
                    <a:pt x="142" y="61"/>
                    <a:pt x="142" y="60"/>
                  </a:cubicBezTo>
                  <a:cubicBezTo>
                    <a:pt x="141" y="59"/>
                    <a:pt x="140" y="58"/>
                    <a:pt x="140" y="56"/>
                  </a:cubicBezTo>
                  <a:cubicBezTo>
                    <a:pt x="140" y="55"/>
                    <a:pt x="140" y="55"/>
                    <a:pt x="140" y="55"/>
                  </a:cubicBezTo>
                  <a:cubicBezTo>
                    <a:pt x="140" y="54"/>
                    <a:pt x="140" y="53"/>
                    <a:pt x="140" y="52"/>
                  </a:cubicBezTo>
                  <a:cubicBezTo>
                    <a:pt x="139" y="51"/>
                    <a:pt x="139" y="51"/>
                    <a:pt x="139" y="51"/>
                  </a:cubicBezTo>
                  <a:cubicBezTo>
                    <a:pt x="139" y="47"/>
                    <a:pt x="138" y="44"/>
                    <a:pt x="138" y="41"/>
                  </a:cubicBezTo>
                  <a:cubicBezTo>
                    <a:pt x="138" y="40"/>
                    <a:pt x="138" y="40"/>
                    <a:pt x="136" y="39"/>
                  </a:cubicBezTo>
                  <a:cubicBezTo>
                    <a:pt x="135" y="38"/>
                    <a:pt x="135" y="38"/>
                    <a:pt x="135" y="38"/>
                  </a:cubicBezTo>
                  <a:cubicBezTo>
                    <a:pt x="135" y="38"/>
                    <a:pt x="134" y="37"/>
                    <a:pt x="133" y="37"/>
                  </a:cubicBezTo>
                  <a:cubicBezTo>
                    <a:pt x="133" y="36"/>
                    <a:pt x="133" y="36"/>
                    <a:pt x="133" y="36"/>
                  </a:cubicBezTo>
                  <a:cubicBezTo>
                    <a:pt x="132" y="36"/>
                    <a:pt x="132" y="36"/>
                    <a:pt x="131" y="35"/>
                  </a:cubicBezTo>
                  <a:cubicBezTo>
                    <a:pt x="130" y="35"/>
                    <a:pt x="129" y="35"/>
                    <a:pt x="129" y="35"/>
                  </a:cubicBezTo>
                  <a:cubicBezTo>
                    <a:pt x="128" y="35"/>
                    <a:pt x="128" y="35"/>
                    <a:pt x="128" y="35"/>
                  </a:cubicBezTo>
                  <a:cubicBezTo>
                    <a:pt x="128" y="35"/>
                    <a:pt x="128" y="35"/>
                    <a:pt x="128" y="35"/>
                  </a:cubicBezTo>
                  <a:cubicBezTo>
                    <a:pt x="127" y="35"/>
                    <a:pt x="126" y="35"/>
                    <a:pt x="124" y="35"/>
                  </a:cubicBezTo>
                  <a:cubicBezTo>
                    <a:pt x="124" y="35"/>
                    <a:pt x="124" y="35"/>
                    <a:pt x="124" y="35"/>
                  </a:cubicBezTo>
                  <a:cubicBezTo>
                    <a:pt x="123" y="36"/>
                    <a:pt x="122" y="36"/>
                    <a:pt x="121" y="36"/>
                  </a:cubicBezTo>
                  <a:cubicBezTo>
                    <a:pt x="121" y="36"/>
                    <a:pt x="121" y="36"/>
                    <a:pt x="120" y="36"/>
                  </a:cubicBezTo>
                  <a:cubicBezTo>
                    <a:pt x="119" y="35"/>
                    <a:pt x="118" y="35"/>
                    <a:pt x="118" y="34"/>
                  </a:cubicBezTo>
                  <a:cubicBezTo>
                    <a:pt x="117" y="33"/>
                    <a:pt x="117" y="32"/>
                    <a:pt x="116" y="31"/>
                  </a:cubicBezTo>
                  <a:cubicBezTo>
                    <a:pt x="116" y="30"/>
                    <a:pt x="115" y="28"/>
                    <a:pt x="116" y="26"/>
                  </a:cubicBezTo>
                  <a:cubicBezTo>
                    <a:pt x="117" y="25"/>
                    <a:pt x="117" y="25"/>
                    <a:pt x="117" y="25"/>
                  </a:cubicBezTo>
                  <a:cubicBezTo>
                    <a:pt x="117" y="24"/>
                    <a:pt x="117" y="24"/>
                    <a:pt x="117" y="24"/>
                  </a:cubicBezTo>
                  <a:cubicBezTo>
                    <a:pt x="112" y="27"/>
                    <a:pt x="112" y="27"/>
                    <a:pt x="112" y="27"/>
                  </a:cubicBezTo>
                  <a:cubicBezTo>
                    <a:pt x="116" y="23"/>
                    <a:pt x="116" y="23"/>
                    <a:pt x="116" y="23"/>
                  </a:cubicBezTo>
                  <a:cubicBezTo>
                    <a:pt x="115" y="23"/>
                    <a:pt x="114" y="22"/>
                    <a:pt x="114" y="20"/>
                  </a:cubicBezTo>
                  <a:cubicBezTo>
                    <a:pt x="114" y="20"/>
                    <a:pt x="114" y="20"/>
                    <a:pt x="114" y="20"/>
                  </a:cubicBezTo>
                  <a:cubicBezTo>
                    <a:pt x="114" y="18"/>
                    <a:pt x="114" y="18"/>
                    <a:pt x="114" y="18"/>
                  </a:cubicBezTo>
                  <a:cubicBezTo>
                    <a:pt x="114" y="18"/>
                    <a:pt x="113" y="18"/>
                    <a:pt x="112" y="18"/>
                  </a:cubicBezTo>
                  <a:cubicBezTo>
                    <a:pt x="110" y="18"/>
                    <a:pt x="110" y="18"/>
                    <a:pt x="110" y="18"/>
                  </a:cubicBezTo>
                  <a:cubicBezTo>
                    <a:pt x="109" y="18"/>
                    <a:pt x="108" y="18"/>
                    <a:pt x="107" y="19"/>
                  </a:cubicBezTo>
                  <a:cubicBezTo>
                    <a:pt x="105" y="19"/>
                    <a:pt x="103" y="19"/>
                    <a:pt x="101" y="19"/>
                  </a:cubicBezTo>
                  <a:cubicBezTo>
                    <a:pt x="97" y="19"/>
                    <a:pt x="97" y="19"/>
                    <a:pt x="97" y="19"/>
                  </a:cubicBezTo>
                  <a:cubicBezTo>
                    <a:pt x="95" y="19"/>
                    <a:pt x="94" y="19"/>
                    <a:pt x="93" y="21"/>
                  </a:cubicBezTo>
                  <a:cubicBezTo>
                    <a:pt x="91" y="24"/>
                    <a:pt x="91" y="24"/>
                    <a:pt x="91" y="24"/>
                  </a:cubicBezTo>
                  <a:cubicBezTo>
                    <a:pt x="89" y="22"/>
                    <a:pt x="89" y="22"/>
                    <a:pt x="89" y="22"/>
                  </a:cubicBezTo>
                  <a:cubicBezTo>
                    <a:pt x="88" y="22"/>
                    <a:pt x="85" y="21"/>
                    <a:pt x="84" y="21"/>
                  </a:cubicBezTo>
                  <a:cubicBezTo>
                    <a:pt x="83" y="21"/>
                    <a:pt x="83" y="21"/>
                    <a:pt x="83" y="21"/>
                  </a:cubicBezTo>
                  <a:cubicBezTo>
                    <a:pt x="81" y="21"/>
                    <a:pt x="81" y="21"/>
                    <a:pt x="81" y="21"/>
                  </a:cubicBezTo>
                  <a:cubicBezTo>
                    <a:pt x="80" y="21"/>
                    <a:pt x="80" y="21"/>
                    <a:pt x="80" y="21"/>
                  </a:cubicBezTo>
                  <a:cubicBezTo>
                    <a:pt x="79" y="20"/>
                    <a:pt x="79" y="18"/>
                    <a:pt x="79" y="17"/>
                  </a:cubicBezTo>
                  <a:cubicBezTo>
                    <a:pt x="78" y="17"/>
                    <a:pt x="78" y="17"/>
                    <a:pt x="78" y="17"/>
                  </a:cubicBezTo>
                  <a:cubicBezTo>
                    <a:pt x="78" y="17"/>
                    <a:pt x="78" y="17"/>
                    <a:pt x="78" y="17"/>
                  </a:cubicBezTo>
                  <a:cubicBezTo>
                    <a:pt x="78" y="17"/>
                    <a:pt x="77" y="17"/>
                    <a:pt x="77" y="17"/>
                  </a:cubicBezTo>
                  <a:cubicBezTo>
                    <a:pt x="76" y="17"/>
                    <a:pt x="76" y="17"/>
                    <a:pt x="76" y="17"/>
                  </a:cubicBezTo>
                  <a:cubicBezTo>
                    <a:pt x="76" y="16"/>
                    <a:pt x="75" y="16"/>
                    <a:pt x="75" y="16"/>
                  </a:cubicBezTo>
                  <a:cubicBezTo>
                    <a:pt x="75" y="15"/>
                    <a:pt x="75" y="15"/>
                    <a:pt x="75" y="15"/>
                  </a:cubicBezTo>
                  <a:cubicBezTo>
                    <a:pt x="72" y="17"/>
                    <a:pt x="69" y="18"/>
                    <a:pt x="67" y="18"/>
                  </a:cubicBezTo>
                  <a:cubicBezTo>
                    <a:pt x="67" y="18"/>
                    <a:pt x="67" y="18"/>
                    <a:pt x="67" y="18"/>
                  </a:cubicBezTo>
                  <a:cubicBezTo>
                    <a:pt x="67" y="18"/>
                    <a:pt x="67" y="18"/>
                    <a:pt x="67" y="18"/>
                  </a:cubicBezTo>
                  <a:cubicBezTo>
                    <a:pt x="67" y="18"/>
                    <a:pt x="67" y="18"/>
                    <a:pt x="67" y="18"/>
                  </a:cubicBezTo>
                  <a:cubicBezTo>
                    <a:pt x="66" y="18"/>
                    <a:pt x="66" y="18"/>
                    <a:pt x="66" y="18"/>
                  </a:cubicBezTo>
                  <a:cubicBezTo>
                    <a:pt x="66" y="18"/>
                    <a:pt x="66" y="18"/>
                    <a:pt x="66" y="18"/>
                  </a:cubicBezTo>
                  <a:cubicBezTo>
                    <a:pt x="63" y="17"/>
                    <a:pt x="59" y="16"/>
                    <a:pt x="56" y="15"/>
                  </a:cubicBezTo>
                  <a:cubicBezTo>
                    <a:pt x="53" y="15"/>
                    <a:pt x="50" y="15"/>
                    <a:pt x="47" y="15"/>
                  </a:cubicBezTo>
                  <a:cubicBezTo>
                    <a:pt x="43" y="15"/>
                    <a:pt x="39" y="15"/>
                    <a:pt x="35" y="15"/>
                  </a:cubicBezTo>
                  <a:cubicBezTo>
                    <a:pt x="32" y="16"/>
                    <a:pt x="32" y="16"/>
                    <a:pt x="32" y="16"/>
                  </a:cubicBezTo>
                  <a:cubicBezTo>
                    <a:pt x="32" y="13"/>
                    <a:pt x="32" y="13"/>
                    <a:pt x="32" y="13"/>
                  </a:cubicBezTo>
                  <a:cubicBezTo>
                    <a:pt x="32" y="11"/>
                    <a:pt x="32" y="8"/>
                    <a:pt x="32" y="6"/>
                  </a:cubicBezTo>
                  <a:cubicBezTo>
                    <a:pt x="32" y="1"/>
                    <a:pt x="32" y="1"/>
                    <a:pt x="32" y="1"/>
                  </a:cubicBezTo>
                  <a:cubicBezTo>
                    <a:pt x="32" y="0"/>
                    <a:pt x="32" y="0"/>
                    <a:pt x="32" y="0"/>
                  </a:cubicBezTo>
                  <a:cubicBezTo>
                    <a:pt x="32" y="0"/>
                    <a:pt x="31" y="0"/>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 name="Freeform 426">
              <a:extLst>
                <a:ext uri="{FF2B5EF4-FFF2-40B4-BE49-F238E27FC236}">
                  <a16:creationId xmlns:a16="http://schemas.microsoft.com/office/drawing/2014/main" id="{4DC5AE1D-DAD4-4326-97A8-3AE232ED123D}"/>
                </a:ext>
              </a:extLst>
            </p:cNvPr>
            <p:cNvSpPr>
              <a:spLocks/>
            </p:cNvSpPr>
            <p:nvPr/>
          </p:nvSpPr>
          <p:spPr bwMode="auto">
            <a:xfrm>
              <a:off x="3383611" y="4838799"/>
              <a:ext cx="484159" cy="255834"/>
            </a:xfrm>
            <a:custGeom>
              <a:avLst/>
              <a:gdLst>
                <a:gd name="T0" fmla="*/ 25 w 149"/>
                <a:gd name="T1" fmla="*/ 1 h 79"/>
                <a:gd name="T2" fmla="*/ 22 w 149"/>
                <a:gd name="T3" fmla="*/ 7 h 79"/>
                <a:gd name="T4" fmla="*/ 15 w 149"/>
                <a:gd name="T5" fmla="*/ 7 h 79"/>
                <a:gd name="T6" fmla="*/ 4 w 149"/>
                <a:gd name="T7" fmla="*/ 17 h 79"/>
                <a:gd name="T8" fmla="*/ 4 w 149"/>
                <a:gd name="T9" fmla="*/ 21 h 79"/>
                <a:gd name="T10" fmla="*/ 0 w 149"/>
                <a:gd name="T11" fmla="*/ 30 h 79"/>
                <a:gd name="T12" fmla="*/ 7 w 149"/>
                <a:gd name="T13" fmla="*/ 32 h 79"/>
                <a:gd name="T14" fmla="*/ 20 w 149"/>
                <a:gd name="T15" fmla="*/ 40 h 79"/>
                <a:gd name="T16" fmla="*/ 25 w 149"/>
                <a:gd name="T17" fmla="*/ 44 h 79"/>
                <a:gd name="T18" fmla="*/ 29 w 149"/>
                <a:gd name="T19" fmla="*/ 47 h 79"/>
                <a:gd name="T20" fmla="*/ 34 w 149"/>
                <a:gd name="T21" fmla="*/ 48 h 79"/>
                <a:gd name="T22" fmla="*/ 40 w 149"/>
                <a:gd name="T23" fmla="*/ 49 h 79"/>
                <a:gd name="T24" fmla="*/ 49 w 149"/>
                <a:gd name="T25" fmla="*/ 54 h 79"/>
                <a:gd name="T26" fmla="*/ 55 w 149"/>
                <a:gd name="T27" fmla="*/ 57 h 79"/>
                <a:gd name="T28" fmla="*/ 62 w 149"/>
                <a:gd name="T29" fmla="*/ 57 h 79"/>
                <a:gd name="T30" fmla="*/ 64 w 149"/>
                <a:gd name="T31" fmla="*/ 57 h 79"/>
                <a:gd name="T32" fmla="*/ 70 w 149"/>
                <a:gd name="T33" fmla="*/ 57 h 79"/>
                <a:gd name="T34" fmla="*/ 77 w 149"/>
                <a:gd name="T35" fmla="*/ 56 h 79"/>
                <a:gd name="T36" fmla="*/ 84 w 149"/>
                <a:gd name="T37" fmla="*/ 59 h 79"/>
                <a:gd name="T38" fmla="*/ 87 w 149"/>
                <a:gd name="T39" fmla="*/ 65 h 79"/>
                <a:gd name="T40" fmla="*/ 94 w 149"/>
                <a:gd name="T41" fmla="*/ 69 h 79"/>
                <a:gd name="T42" fmla="*/ 97 w 149"/>
                <a:gd name="T43" fmla="*/ 71 h 79"/>
                <a:gd name="T44" fmla="*/ 99 w 149"/>
                <a:gd name="T45" fmla="*/ 71 h 79"/>
                <a:gd name="T46" fmla="*/ 103 w 149"/>
                <a:gd name="T47" fmla="*/ 70 h 79"/>
                <a:gd name="T48" fmla="*/ 106 w 149"/>
                <a:gd name="T49" fmla="*/ 71 h 79"/>
                <a:gd name="T50" fmla="*/ 109 w 149"/>
                <a:gd name="T51" fmla="*/ 75 h 79"/>
                <a:gd name="T52" fmla="*/ 112 w 149"/>
                <a:gd name="T53" fmla="*/ 74 h 79"/>
                <a:gd name="T54" fmla="*/ 119 w 149"/>
                <a:gd name="T55" fmla="*/ 75 h 79"/>
                <a:gd name="T56" fmla="*/ 127 w 149"/>
                <a:gd name="T57" fmla="*/ 76 h 79"/>
                <a:gd name="T58" fmla="*/ 131 w 149"/>
                <a:gd name="T59" fmla="*/ 75 h 79"/>
                <a:gd name="T60" fmla="*/ 133 w 149"/>
                <a:gd name="T61" fmla="*/ 78 h 79"/>
                <a:gd name="T62" fmla="*/ 141 w 149"/>
                <a:gd name="T63" fmla="*/ 79 h 79"/>
                <a:gd name="T64" fmla="*/ 145 w 149"/>
                <a:gd name="T65" fmla="*/ 79 h 79"/>
                <a:gd name="T66" fmla="*/ 148 w 149"/>
                <a:gd name="T67" fmla="*/ 78 h 79"/>
                <a:gd name="T68" fmla="*/ 148 w 149"/>
                <a:gd name="T69" fmla="*/ 72 h 79"/>
                <a:gd name="T70" fmla="*/ 146 w 149"/>
                <a:gd name="T71" fmla="*/ 61 h 79"/>
                <a:gd name="T72" fmla="*/ 137 w 149"/>
                <a:gd name="T73" fmla="*/ 53 h 79"/>
                <a:gd name="T74" fmla="*/ 123 w 149"/>
                <a:gd name="T75" fmla="*/ 49 h 79"/>
                <a:gd name="T76" fmla="*/ 117 w 149"/>
                <a:gd name="T77" fmla="*/ 51 h 79"/>
                <a:gd name="T78" fmla="*/ 108 w 149"/>
                <a:gd name="T79" fmla="*/ 50 h 79"/>
                <a:gd name="T80" fmla="*/ 104 w 149"/>
                <a:gd name="T81" fmla="*/ 44 h 79"/>
                <a:gd name="T82" fmla="*/ 99 w 149"/>
                <a:gd name="T83" fmla="*/ 44 h 79"/>
                <a:gd name="T84" fmla="*/ 91 w 149"/>
                <a:gd name="T85" fmla="*/ 42 h 79"/>
                <a:gd name="T86" fmla="*/ 85 w 149"/>
                <a:gd name="T87" fmla="*/ 38 h 79"/>
                <a:gd name="T88" fmla="*/ 79 w 149"/>
                <a:gd name="T89" fmla="*/ 34 h 79"/>
                <a:gd name="T90" fmla="*/ 74 w 149"/>
                <a:gd name="T91" fmla="*/ 27 h 79"/>
                <a:gd name="T92" fmla="*/ 68 w 149"/>
                <a:gd name="T93" fmla="*/ 26 h 79"/>
                <a:gd name="T94" fmla="*/ 61 w 149"/>
                <a:gd name="T95" fmla="*/ 22 h 79"/>
                <a:gd name="T96" fmla="*/ 58 w 149"/>
                <a:gd name="T97" fmla="*/ 19 h 79"/>
                <a:gd name="T98" fmla="*/ 55 w 149"/>
                <a:gd name="T99" fmla="*/ 22 h 79"/>
                <a:gd name="T100" fmla="*/ 53 w 149"/>
                <a:gd name="T101" fmla="*/ 16 h 79"/>
                <a:gd name="T102" fmla="*/ 43 w 149"/>
                <a:gd name="T103" fmla="*/ 10 h 79"/>
                <a:gd name="T104" fmla="*/ 35 w 149"/>
                <a:gd name="T105" fmla="*/ 6 h 79"/>
                <a:gd name="T106" fmla="*/ 27 w 149"/>
                <a:gd name="T10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9" h="79">
                  <a:moveTo>
                    <a:pt x="26" y="0"/>
                  </a:moveTo>
                  <a:cubicBezTo>
                    <a:pt x="26" y="0"/>
                    <a:pt x="26" y="0"/>
                    <a:pt x="25" y="1"/>
                  </a:cubicBezTo>
                  <a:cubicBezTo>
                    <a:pt x="25" y="1"/>
                    <a:pt x="25" y="1"/>
                    <a:pt x="25" y="1"/>
                  </a:cubicBezTo>
                  <a:cubicBezTo>
                    <a:pt x="25" y="1"/>
                    <a:pt x="25" y="1"/>
                    <a:pt x="25" y="1"/>
                  </a:cubicBezTo>
                  <a:cubicBezTo>
                    <a:pt x="25" y="1"/>
                    <a:pt x="25" y="1"/>
                    <a:pt x="25" y="1"/>
                  </a:cubicBezTo>
                  <a:cubicBezTo>
                    <a:pt x="25" y="1"/>
                    <a:pt x="25" y="1"/>
                    <a:pt x="25" y="1"/>
                  </a:cubicBezTo>
                  <a:cubicBezTo>
                    <a:pt x="24" y="3"/>
                    <a:pt x="23" y="4"/>
                    <a:pt x="23" y="5"/>
                  </a:cubicBezTo>
                  <a:cubicBezTo>
                    <a:pt x="22" y="7"/>
                    <a:pt x="22" y="7"/>
                    <a:pt x="22" y="7"/>
                  </a:cubicBezTo>
                  <a:cubicBezTo>
                    <a:pt x="21" y="8"/>
                    <a:pt x="21" y="8"/>
                    <a:pt x="21" y="8"/>
                  </a:cubicBezTo>
                  <a:cubicBezTo>
                    <a:pt x="19" y="8"/>
                    <a:pt x="18" y="8"/>
                    <a:pt x="18" y="8"/>
                  </a:cubicBezTo>
                  <a:cubicBezTo>
                    <a:pt x="17" y="8"/>
                    <a:pt x="16" y="8"/>
                    <a:pt x="16" y="7"/>
                  </a:cubicBezTo>
                  <a:cubicBezTo>
                    <a:pt x="15" y="7"/>
                    <a:pt x="15" y="7"/>
                    <a:pt x="15" y="7"/>
                  </a:cubicBezTo>
                  <a:cubicBezTo>
                    <a:pt x="15" y="6"/>
                    <a:pt x="15" y="6"/>
                    <a:pt x="15" y="6"/>
                  </a:cubicBezTo>
                  <a:cubicBezTo>
                    <a:pt x="6" y="16"/>
                    <a:pt x="6" y="16"/>
                    <a:pt x="6" y="16"/>
                  </a:cubicBezTo>
                  <a:cubicBezTo>
                    <a:pt x="5" y="17"/>
                    <a:pt x="5" y="17"/>
                    <a:pt x="5" y="17"/>
                  </a:cubicBezTo>
                  <a:cubicBezTo>
                    <a:pt x="4" y="17"/>
                    <a:pt x="4" y="17"/>
                    <a:pt x="4" y="17"/>
                  </a:cubicBezTo>
                  <a:cubicBezTo>
                    <a:pt x="3" y="18"/>
                    <a:pt x="3" y="18"/>
                    <a:pt x="3" y="18"/>
                  </a:cubicBezTo>
                  <a:cubicBezTo>
                    <a:pt x="3" y="18"/>
                    <a:pt x="3" y="18"/>
                    <a:pt x="3" y="18"/>
                  </a:cubicBezTo>
                  <a:cubicBezTo>
                    <a:pt x="3" y="19"/>
                    <a:pt x="3" y="19"/>
                    <a:pt x="3" y="19"/>
                  </a:cubicBezTo>
                  <a:cubicBezTo>
                    <a:pt x="4" y="19"/>
                    <a:pt x="4" y="20"/>
                    <a:pt x="4" y="21"/>
                  </a:cubicBezTo>
                  <a:cubicBezTo>
                    <a:pt x="4" y="22"/>
                    <a:pt x="3" y="23"/>
                    <a:pt x="2" y="25"/>
                  </a:cubicBezTo>
                  <a:cubicBezTo>
                    <a:pt x="2" y="25"/>
                    <a:pt x="2" y="25"/>
                    <a:pt x="2" y="25"/>
                  </a:cubicBezTo>
                  <a:cubicBezTo>
                    <a:pt x="1" y="26"/>
                    <a:pt x="1" y="27"/>
                    <a:pt x="0" y="28"/>
                  </a:cubicBezTo>
                  <a:cubicBezTo>
                    <a:pt x="0" y="28"/>
                    <a:pt x="0" y="29"/>
                    <a:pt x="0" y="30"/>
                  </a:cubicBezTo>
                  <a:cubicBezTo>
                    <a:pt x="0" y="30"/>
                    <a:pt x="0" y="31"/>
                    <a:pt x="1" y="31"/>
                  </a:cubicBezTo>
                  <a:cubicBezTo>
                    <a:pt x="2" y="32"/>
                    <a:pt x="2" y="32"/>
                    <a:pt x="4" y="33"/>
                  </a:cubicBezTo>
                  <a:cubicBezTo>
                    <a:pt x="4" y="29"/>
                    <a:pt x="4" y="29"/>
                    <a:pt x="4" y="29"/>
                  </a:cubicBezTo>
                  <a:cubicBezTo>
                    <a:pt x="7" y="32"/>
                    <a:pt x="7" y="32"/>
                    <a:pt x="7" y="32"/>
                  </a:cubicBezTo>
                  <a:cubicBezTo>
                    <a:pt x="8" y="33"/>
                    <a:pt x="10" y="33"/>
                    <a:pt x="11" y="34"/>
                  </a:cubicBezTo>
                  <a:cubicBezTo>
                    <a:pt x="12" y="35"/>
                    <a:pt x="12" y="35"/>
                    <a:pt x="12" y="35"/>
                  </a:cubicBezTo>
                  <a:cubicBezTo>
                    <a:pt x="14" y="35"/>
                    <a:pt x="15" y="36"/>
                    <a:pt x="17" y="37"/>
                  </a:cubicBezTo>
                  <a:cubicBezTo>
                    <a:pt x="18" y="38"/>
                    <a:pt x="19" y="39"/>
                    <a:pt x="20" y="40"/>
                  </a:cubicBezTo>
                  <a:cubicBezTo>
                    <a:pt x="22" y="38"/>
                    <a:pt x="22" y="38"/>
                    <a:pt x="22" y="38"/>
                  </a:cubicBezTo>
                  <a:cubicBezTo>
                    <a:pt x="21" y="40"/>
                    <a:pt x="21" y="40"/>
                    <a:pt x="21" y="40"/>
                  </a:cubicBezTo>
                  <a:cubicBezTo>
                    <a:pt x="21" y="41"/>
                    <a:pt x="21" y="41"/>
                    <a:pt x="21" y="41"/>
                  </a:cubicBezTo>
                  <a:cubicBezTo>
                    <a:pt x="23" y="42"/>
                    <a:pt x="24" y="43"/>
                    <a:pt x="25" y="44"/>
                  </a:cubicBezTo>
                  <a:cubicBezTo>
                    <a:pt x="26" y="45"/>
                    <a:pt x="26" y="45"/>
                    <a:pt x="26" y="45"/>
                  </a:cubicBezTo>
                  <a:cubicBezTo>
                    <a:pt x="27" y="45"/>
                    <a:pt x="27" y="45"/>
                    <a:pt x="27" y="45"/>
                  </a:cubicBezTo>
                  <a:cubicBezTo>
                    <a:pt x="27" y="45"/>
                    <a:pt x="27" y="46"/>
                    <a:pt x="28" y="46"/>
                  </a:cubicBezTo>
                  <a:cubicBezTo>
                    <a:pt x="29" y="47"/>
                    <a:pt x="29" y="47"/>
                    <a:pt x="29" y="47"/>
                  </a:cubicBezTo>
                  <a:cubicBezTo>
                    <a:pt x="31" y="48"/>
                    <a:pt x="31" y="48"/>
                    <a:pt x="32" y="49"/>
                  </a:cubicBezTo>
                  <a:cubicBezTo>
                    <a:pt x="32" y="49"/>
                    <a:pt x="32" y="49"/>
                    <a:pt x="32" y="49"/>
                  </a:cubicBezTo>
                  <a:cubicBezTo>
                    <a:pt x="32" y="48"/>
                    <a:pt x="32" y="48"/>
                    <a:pt x="32" y="48"/>
                  </a:cubicBezTo>
                  <a:cubicBezTo>
                    <a:pt x="33" y="48"/>
                    <a:pt x="33" y="48"/>
                    <a:pt x="34" y="48"/>
                  </a:cubicBezTo>
                  <a:cubicBezTo>
                    <a:pt x="35" y="48"/>
                    <a:pt x="35" y="48"/>
                    <a:pt x="35" y="48"/>
                  </a:cubicBezTo>
                  <a:cubicBezTo>
                    <a:pt x="35" y="48"/>
                    <a:pt x="35" y="48"/>
                    <a:pt x="35" y="48"/>
                  </a:cubicBezTo>
                  <a:cubicBezTo>
                    <a:pt x="36" y="48"/>
                    <a:pt x="36" y="48"/>
                    <a:pt x="36" y="48"/>
                  </a:cubicBezTo>
                  <a:cubicBezTo>
                    <a:pt x="38" y="49"/>
                    <a:pt x="39" y="49"/>
                    <a:pt x="40" y="49"/>
                  </a:cubicBezTo>
                  <a:cubicBezTo>
                    <a:pt x="48" y="52"/>
                    <a:pt x="48" y="52"/>
                    <a:pt x="48" y="52"/>
                  </a:cubicBezTo>
                  <a:cubicBezTo>
                    <a:pt x="49" y="53"/>
                    <a:pt x="49" y="53"/>
                    <a:pt x="49" y="53"/>
                  </a:cubicBezTo>
                  <a:cubicBezTo>
                    <a:pt x="49" y="53"/>
                    <a:pt x="49" y="53"/>
                    <a:pt x="49" y="53"/>
                  </a:cubicBezTo>
                  <a:cubicBezTo>
                    <a:pt x="49" y="54"/>
                    <a:pt x="49" y="54"/>
                    <a:pt x="49" y="54"/>
                  </a:cubicBezTo>
                  <a:cubicBezTo>
                    <a:pt x="50" y="54"/>
                    <a:pt x="50" y="55"/>
                    <a:pt x="50" y="55"/>
                  </a:cubicBezTo>
                  <a:cubicBezTo>
                    <a:pt x="50" y="56"/>
                    <a:pt x="50" y="56"/>
                    <a:pt x="50" y="56"/>
                  </a:cubicBezTo>
                  <a:cubicBezTo>
                    <a:pt x="51" y="56"/>
                    <a:pt x="51" y="57"/>
                    <a:pt x="52" y="57"/>
                  </a:cubicBezTo>
                  <a:cubicBezTo>
                    <a:pt x="53" y="57"/>
                    <a:pt x="54" y="57"/>
                    <a:pt x="55" y="57"/>
                  </a:cubicBezTo>
                  <a:cubicBezTo>
                    <a:pt x="56" y="58"/>
                    <a:pt x="58" y="58"/>
                    <a:pt x="59" y="59"/>
                  </a:cubicBezTo>
                  <a:cubicBezTo>
                    <a:pt x="61" y="58"/>
                    <a:pt x="61" y="58"/>
                    <a:pt x="61" y="58"/>
                  </a:cubicBezTo>
                  <a:cubicBezTo>
                    <a:pt x="61" y="58"/>
                    <a:pt x="61" y="57"/>
                    <a:pt x="61" y="57"/>
                  </a:cubicBezTo>
                  <a:cubicBezTo>
                    <a:pt x="62" y="57"/>
                    <a:pt x="62" y="57"/>
                    <a:pt x="62" y="57"/>
                  </a:cubicBezTo>
                  <a:cubicBezTo>
                    <a:pt x="63" y="57"/>
                    <a:pt x="63" y="57"/>
                    <a:pt x="63" y="57"/>
                  </a:cubicBezTo>
                  <a:cubicBezTo>
                    <a:pt x="63" y="57"/>
                    <a:pt x="63" y="57"/>
                    <a:pt x="63" y="57"/>
                  </a:cubicBezTo>
                  <a:cubicBezTo>
                    <a:pt x="63" y="57"/>
                    <a:pt x="63" y="57"/>
                    <a:pt x="63" y="57"/>
                  </a:cubicBezTo>
                  <a:cubicBezTo>
                    <a:pt x="64" y="57"/>
                    <a:pt x="64" y="57"/>
                    <a:pt x="64" y="57"/>
                  </a:cubicBezTo>
                  <a:cubicBezTo>
                    <a:pt x="64" y="57"/>
                    <a:pt x="64" y="57"/>
                    <a:pt x="64" y="57"/>
                  </a:cubicBezTo>
                  <a:cubicBezTo>
                    <a:pt x="68" y="59"/>
                    <a:pt x="68" y="59"/>
                    <a:pt x="68" y="59"/>
                  </a:cubicBezTo>
                  <a:cubicBezTo>
                    <a:pt x="69" y="58"/>
                    <a:pt x="69" y="58"/>
                    <a:pt x="69" y="58"/>
                  </a:cubicBezTo>
                  <a:cubicBezTo>
                    <a:pt x="69" y="58"/>
                    <a:pt x="70" y="57"/>
                    <a:pt x="70" y="57"/>
                  </a:cubicBezTo>
                  <a:cubicBezTo>
                    <a:pt x="70" y="53"/>
                    <a:pt x="70" y="53"/>
                    <a:pt x="70" y="53"/>
                  </a:cubicBezTo>
                  <a:cubicBezTo>
                    <a:pt x="72" y="57"/>
                    <a:pt x="72" y="57"/>
                    <a:pt x="72" y="57"/>
                  </a:cubicBezTo>
                  <a:cubicBezTo>
                    <a:pt x="72" y="56"/>
                    <a:pt x="74" y="56"/>
                    <a:pt x="75" y="56"/>
                  </a:cubicBezTo>
                  <a:cubicBezTo>
                    <a:pt x="76" y="56"/>
                    <a:pt x="76" y="56"/>
                    <a:pt x="77" y="56"/>
                  </a:cubicBezTo>
                  <a:cubicBezTo>
                    <a:pt x="77" y="57"/>
                    <a:pt x="77" y="57"/>
                    <a:pt x="77" y="57"/>
                  </a:cubicBezTo>
                  <a:cubicBezTo>
                    <a:pt x="78" y="57"/>
                    <a:pt x="78" y="57"/>
                    <a:pt x="78" y="57"/>
                  </a:cubicBezTo>
                  <a:cubicBezTo>
                    <a:pt x="79" y="57"/>
                    <a:pt x="79" y="57"/>
                    <a:pt x="79" y="57"/>
                  </a:cubicBezTo>
                  <a:cubicBezTo>
                    <a:pt x="80" y="58"/>
                    <a:pt x="82" y="58"/>
                    <a:pt x="84" y="59"/>
                  </a:cubicBezTo>
                  <a:cubicBezTo>
                    <a:pt x="84" y="60"/>
                    <a:pt x="86" y="61"/>
                    <a:pt x="86" y="62"/>
                  </a:cubicBezTo>
                  <a:cubicBezTo>
                    <a:pt x="86" y="63"/>
                    <a:pt x="86" y="63"/>
                    <a:pt x="86" y="64"/>
                  </a:cubicBezTo>
                  <a:cubicBezTo>
                    <a:pt x="86" y="64"/>
                    <a:pt x="86" y="65"/>
                    <a:pt x="86" y="65"/>
                  </a:cubicBezTo>
                  <a:cubicBezTo>
                    <a:pt x="87" y="65"/>
                    <a:pt x="87" y="65"/>
                    <a:pt x="87" y="65"/>
                  </a:cubicBezTo>
                  <a:cubicBezTo>
                    <a:pt x="87" y="66"/>
                    <a:pt x="87" y="66"/>
                    <a:pt x="87" y="66"/>
                  </a:cubicBezTo>
                  <a:cubicBezTo>
                    <a:pt x="88" y="66"/>
                    <a:pt x="88" y="67"/>
                    <a:pt x="89" y="67"/>
                  </a:cubicBezTo>
                  <a:cubicBezTo>
                    <a:pt x="90" y="67"/>
                    <a:pt x="90" y="67"/>
                    <a:pt x="90" y="67"/>
                  </a:cubicBezTo>
                  <a:cubicBezTo>
                    <a:pt x="91" y="67"/>
                    <a:pt x="93" y="68"/>
                    <a:pt x="94" y="69"/>
                  </a:cubicBezTo>
                  <a:cubicBezTo>
                    <a:pt x="97" y="64"/>
                    <a:pt x="97" y="64"/>
                    <a:pt x="97" y="64"/>
                  </a:cubicBezTo>
                  <a:cubicBezTo>
                    <a:pt x="96" y="70"/>
                    <a:pt x="96" y="70"/>
                    <a:pt x="96" y="70"/>
                  </a:cubicBezTo>
                  <a:cubicBezTo>
                    <a:pt x="96" y="70"/>
                    <a:pt x="96" y="70"/>
                    <a:pt x="96" y="70"/>
                  </a:cubicBezTo>
                  <a:cubicBezTo>
                    <a:pt x="96" y="70"/>
                    <a:pt x="97" y="70"/>
                    <a:pt x="97" y="71"/>
                  </a:cubicBezTo>
                  <a:cubicBezTo>
                    <a:pt x="97" y="71"/>
                    <a:pt x="97" y="71"/>
                    <a:pt x="97" y="71"/>
                  </a:cubicBezTo>
                  <a:cubicBezTo>
                    <a:pt x="98" y="71"/>
                    <a:pt x="98" y="71"/>
                    <a:pt x="98" y="71"/>
                  </a:cubicBezTo>
                  <a:cubicBezTo>
                    <a:pt x="98" y="71"/>
                    <a:pt x="98" y="71"/>
                    <a:pt x="98" y="71"/>
                  </a:cubicBezTo>
                  <a:cubicBezTo>
                    <a:pt x="98" y="71"/>
                    <a:pt x="98" y="71"/>
                    <a:pt x="99" y="71"/>
                  </a:cubicBezTo>
                  <a:cubicBezTo>
                    <a:pt x="99" y="71"/>
                    <a:pt x="99" y="71"/>
                    <a:pt x="99" y="71"/>
                  </a:cubicBezTo>
                  <a:cubicBezTo>
                    <a:pt x="100" y="70"/>
                    <a:pt x="101" y="70"/>
                    <a:pt x="101" y="70"/>
                  </a:cubicBezTo>
                  <a:cubicBezTo>
                    <a:pt x="102" y="70"/>
                    <a:pt x="102" y="70"/>
                    <a:pt x="102" y="70"/>
                  </a:cubicBezTo>
                  <a:cubicBezTo>
                    <a:pt x="102" y="70"/>
                    <a:pt x="103" y="70"/>
                    <a:pt x="103" y="70"/>
                  </a:cubicBezTo>
                  <a:cubicBezTo>
                    <a:pt x="103" y="70"/>
                    <a:pt x="103" y="70"/>
                    <a:pt x="103" y="70"/>
                  </a:cubicBezTo>
                  <a:cubicBezTo>
                    <a:pt x="105" y="70"/>
                    <a:pt x="105" y="70"/>
                    <a:pt x="105" y="70"/>
                  </a:cubicBezTo>
                  <a:cubicBezTo>
                    <a:pt x="105" y="70"/>
                    <a:pt x="105" y="70"/>
                    <a:pt x="105" y="70"/>
                  </a:cubicBezTo>
                  <a:cubicBezTo>
                    <a:pt x="106" y="71"/>
                    <a:pt x="106" y="71"/>
                    <a:pt x="106" y="71"/>
                  </a:cubicBezTo>
                  <a:cubicBezTo>
                    <a:pt x="106" y="71"/>
                    <a:pt x="106" y="71"/>
                    <a:pt x="106" y="71"/>
                  </a:cubicBezTo>
                  <a:cubicBezTo>
                    <a:pt x="106" y="72"/>
                    <a:pt x="106" y="72"/>
                    <a:pt x="106" y="72"/>
                  </a:cubicBezTo>
                  <a:cubicBezTo>
                    <a:pt x="107" y="72"/>
                    <a:pt x="108" y="73"/>
                    <a:pt x="108" y="74"/>
                  </a:cubicBezTo>
                  <a:cubicBezTo>
                    <a:pt x="108" y="74"/>
                    <a:pt x="108" y="74"/>
                    <a:pt x="109" y="75"/>
                  </a:cubicBezTo>
                  <a:cubicBezTo>
                    <a:pt x="109" y="75"/>
                    <a:pt x="109" y="75"/>
                    <a:pt x="109" y="75"/>
                  </a:cubicBezTo>
                  <a:cubicBezTo>
                    <a:pt x="110" y="75"/>
                    <a:pt x="110" y="75"/>
                    <a:pt x="110" y="75"/>
                  </a:cubicBezTo>
                  <a:cubicBezTo>
                    <a:pt x="111" y="75"/>
                    <a:pt x="111" y="75"/>
                    <a:pt x="111" y="75"/>
                  </a:cubicBezTo>
                  <a:cubicBezTo>
                    <a:pt x="112" y="75"/>
                    <a:pt x="112" y="74"/>
                    <a:pt x="112" y="74"/>
                  </a:cubicBezTo>
                  <a:cubicBezTo>
                    <a:pt x="113" y="74"/>
                    <a:pt x="113" y="74"/>
                    <a:pt x="113" y="74"/>
                  </a:cubicBezTo>
                  <a:cubicBezTo>
                    <a:pt x="114" y="74"/>
                    <a:pt x="115" y="74"/>
                    <a:pt x="116" y="75"/>
                  </a:cubicBezTo>
                  <a:cubicBezTo>
                    <a:pt x="116" y="75"/>
                    <a:pt x="116" y="75"/>
                    <a:pt x="116" y="75"/>
                  </a:cubicBezTo>
                  <a:cubicBezTo>
                    <a:pt x="117" y="75"/>
                    <a:pt x="118" y="75"/>
                    <a:pt x="119" y="75"/>
                  </a:cubicBezTo>
                  <a:cubicBezTo>
                    <a:pt x="119" y="75"/>
                    <a:pt x="120" y="76"/>
                    <a:pt x="121" y="76"/>
                  </a:cubicBezTo>
                  <a:cubicBezTo>
                    <a:pt x="124" y="78"/>
                    <a:pt x="124" y="78"/>
                    <a:pt x="124" y="78"/>
                  </a:cubicBezTo>
                  <a:cubicBezTo>
                    <a:pt x="125" y="78"/>
                    <a:pt x="125" y="77"/>
                    <a:pt x="126" y="77"/>
                  </a:cubicBezTo>
                  <a:cubicBezTo>
                    <a:pt x="127" y="76"/>
                    <a:pt x="127" y="76"/>
                    <a:pt x="127" y="76"/>
                  </a:cubicBezTo>
                  <a:cubicBezTo>
                    <a:pt x="127" y="76"/>
                    <a:pt x="128" y="75"/>
                    <a:pt x="129" y="75"/>
                  </a:cubicBezTo>
                  <a:cubicBezTo>
                    <a:pt x="130" y="75"/>
                    <a:pt x="130" y="75"/>
                    <a:pt x="130" y="75"/>
                  </a:cubicBezTo>
                  <a:cubicBezTo>
                    <a:pt x="130" y="75"/>
                    <a:pt x="130" y="75"/>
                    <a:pt x="130" y="75"/>
                  </a:cubicBezTo>
                  <a:cubicBezTo>
                    <a:pt x="131" y="75"/>
                    <a:pt x="131" y="75"/>
                    <a:pt x="131" y="75"/>
                  </a:cubicBezTo>
                  <a:cubicBezTo>
                    <a:pt x="132" y="76"/>
                    <a:pt x="132" y="76"/>
                    <a:pt x="132" y="76"/>
                  </a:cubicBezTo>
                  <a:cubicBezTo>
                    <a:pt x="132" y="76"/>
                    <a:pt x="132" y="76"/>
                    <a:pt x="132" y="76"/>
                  </a:cubicBezTo>
                  <a:cubicBezTo>
                    <a:pt x="132" y="76"/>
                    <a:pt x="133" y="77"/>
                    <a:pt x="133" y="77"/>
                  </a:cubicBezTo>
                  <a:cubicBezTo>
                    <a:pt x="133" y="78"/>
                    <a:pt x="133" y="78"/>
                    <a:pt x="133" y="78"/>
                  </a:cubicBezTo>
                  <a:cubicBezTo>
                    <a:pt x="133" y="78"/>
                    <a:pt x="133" y="78"/>
                    <a:pt x="133" y="78"/>
                  </a:cubicBezTo>
                  <a:cubicBezTo>
                    <a:pt x="133" y="78"/>
                    <a:pt x="133" y="78"/>
                    <a:pt x="133" y="78"/>
                  </a:cubicBezTo>
                  <a:cubicBezTo>
                    <a:pt x="134" y="78"/>
                    <a:pt x="135" y="78"/>
                    <a:pt x="137" y="79"/>
                  </a:cubicBezTo>
                  <a:cubicBezTo>
                    <a:pt x="141" y="79"/>
                    <a:pt x="141" y="79"/>
                    <a:pt x="141" y="79"/>
                  </a:cubicBezTo>
                  <a:cubicBezTo>
                    <a:pt x="142" y="79"/>
                    <a:pt x="142" y="79"/>
                    <a:pt x="142" y="79"/>
                  </a:cubicBezTo>
                  <a:cubicBezTo>
                    <a:pt x="142" y="79"/>
                    <a:pt x="142" y="79"/>
                    <a:pt x="142" y="79"/>
                  </a:cubicBezTo>
                  <a:cubicBezTo>
                    <a:pt x="143" y="79"/>
                    <a:pt x="143" y="79"/>
                    <a:pt x="144" y="79"/>
                  </a:cubicBezTo>
                  <a:cubicBezTo>
                    <a:pt x="145" y="79"/>
                    <a:pt x="145" y="79"/>
                    <a:pt x="145" y="79"/>
                  </a:cubicBezTo>
                  <a:cubicBezTo>
                    <a:pt x="146" y="79"/>
                    <a:pt x="146" y="79"/>
                    <a:pt x="146" y="79"/>
                  </a:cubicBezTo>
                  <a:cubicBezTo>
                    <a:pt x="147" y="79"/>
                    <a:pt x="147" y="79"/>
                    <a:pt x="147" y="79"/>
                  </a:cubicBezTo>
                  <a:cubicBezTo>
                    <a:pt x="147" y="79"/>
                    <a:pt x="147" y="79"/>
                    <a:pt x="147" y="79"/>
                  </a:cubicBezTo>
                  <a:cubicBezTo>
                    <a:pt x="148" y="78"/>
                    <a:pt x="148" y="78"/>
                    <a:pt x="148" y="78"/>
                  </a:cubicBezTo>
                  <a:cubicBezTo>
                    <a:pt x="148" y="77"/>
                    <a:pt x="148" y="77"/>
                    <a:pt x="148" y="77"/>
                  </a:cubicBezTo>
                  <a:cubicBezTo>
                    <a:pt x="149" y="76"/>
                    <a:pt x="149" y="75"/>
                    <a:pt x="149" y="74"/>
                  </a:cubicBezTo>
                  <a:cubicBezTo>
                    <a:pt x="149" y="73"/>
                    <a:pt x="149" y="73"/>
                    <a:pt x="149" y="73"/>
                  </a:cubicBezTo>
                  <a:cubicBezTo>
                    <a:pt x="149" y="73"/>
                    <a:pt x="149" y="72"/>
                    <a:pt x="148" y="72"/>
                  </a:cubicBezTo>
                  <a:cubicBezTo>
                    <a:pt x="148" y="71"/>
                    <a:pt x="148" y="71"/>
                    <a:pt x="147" y="70"/>
                  </a:cubicBezTo>
                  <a:cubicBezTo>
                    <a:pt x="147" y="70"/>
                    <a:pt x="147" y="70"/>
                    <a:pt x="147" y="70"/>
                  </a:cubicBezTo>
                  <a:cubicBezTo>
                    <a:pt x="147" y="69"/>
                    <a:pt x="146" y="68"/>
                    <a:pt x="146" y="67"/>
                  </a:cubicBezTo>
                  <a:cubicBezTo>
                    <a:pt x="146" y="66"/>
                    <a:pt x="146" y="64"/>
                    <a:pt x="146" y="61"/>
                  </a:cubicBezTo>
                  <a:cubicBezTo>
                    <a:pt x="146" y="59"/>
                    <a:pt x="147" y="57"/>
                    <a:pt x="148" y="55"/>
                  </a:cubicBezTo>
                  <a:cubicBezTo>
                    <a:pt x="148" y="53"/>
                    <a:pt x="148" y="53"/>
                    <a:pt x="148" y="53"/>
                  </a:cubicBezTo>
                  <a:cubicBezTo>
                    <a:pt x="147" y="54"/>
                    <a:pt x="145" y="54"/>
                    <a:pt x="144" y="54"/>
                  </a:cubicBezTo>
                  <a:cubicBezTo>
                    <a:pt x="142" y="54"/>
                    <a:pt x="139" y="53"/>
                    <a:pt x="137" y="53"/>
                  </a:cubicBezTo>
                  <a:cubicBezTo>
                    <a:pt x="135" y="53"/>
                    <a:pt x="133" y="52"/>
                    <a:pt x="131" y="52"/>
                  </a:cubicBezTo>
                  <a:cubicBezTo>
                    <a:pt x="129" y="51"/>
                    <a:pt x="127" y="50"/>
                    <a:pt x="125" y="49"/>
                  </a:cubicBezTo>
                  <a:cubicBezTo>
                    <a:pt x="124" y="49"/>
                    <a:pt x="124" y="49"/>
                    <a:pt x="124" y="49"/>
                  </a:cubicBezTo>
                  <a:cubicBezTo>
                    <a:pt x="123" y="49"/>
                    <a:pt x="123" y="49"/>
                    <a:pt x="123" y="49"/>
                  </a:cubicBezTo>
                  <a:cubicBezTo>
                    <a:pt x="123" y="49"/>
                    <a:pt x="123" y="49"/>
                    <a:pt x="123" y="49"/>
                  </a:cubicBezTo>
                  <a:cubicBezTo>
                    <a:pt x="123" y="50"/>
                    <a:pt x="122" y="51"/>
                    <a:pt x="120" y="51"/>
                  </a:cubicBezTo>
                  <a:cubicBezTo>
                    <a:pt x="119" y="51"/>
                    <a:pt x="119" y="51"/>
                    <a:pt x="118" y="51"/>
                  </a:cubicBezTo>
                  <a:cubicBezTo>
                    <a:pt x="117" y="51"/>
                    <a:pt x="117" y="51"/>
                    <a:pt x="117" y="51"/>
                  </a:cubicBezTo>
                  <a:cubicBezTo>
                    <a:pt x="116" y="50"/>
                    <a:pt x="115" y="50"/>
                    <a:pt x="114" y="50"/>
                  </a:cubicBezTo>
                  <a:cubicBezTo>
                    <a:pt x="114" y="50"/>
                    <a:pt x="114" y="50"/>
                    <a:pt x="114" y="50"/>
                  </a:cubicBezTo>
                  <a:cubicBezTo>
                    <a:pt x="112" y="55"/>
                    <a:pt x="112" y="55"/>
                    <a:pt x="112" y="55"/>
                  </a:cubicBezTo>
                  <a:cubicBezTo>
                    <a:pt x="108" y="50"/>
                    <a:pt x="108" y="50"/>
                    <a:pt x="108" y="50"/>
                  </a:cubicBezTo>
                  <a:cubicBezTo>
                    <a:pt x="107" y="49"/>
                    <a:pt x="106" y="47"/>
                    <a:pt x="105" y="46"/>
                  </a:cubicBezTo>
                  <a:cubicBezTo>
                    <a:pt x="104" y="45"/>
                    <a:pt x="104" y="45"/>
                    <a:pt x="104" y="45"/>
                  </a:cubicBezTo>
                  <a:cubicBezTo>
                    <a:pt x="104" y="44"/>
                    <a:pt x="104" y="44"/>
                    <a:pt x="104" y="44"/>
                  </a:cubicBezTo>
                  <a:cubicBezTo>
                    <a:pt x="104" y="44"/>
                    <a:pt x="104" y="44"/>
                    <a:pt x="104" y="44"/>
                  </a:cubicBezTo>
                  <a:cubicBezTo>
                    <a:pt x="103" y="44"/>
                    <a:pt x="103" y="44"/>
                    <a:pt x="102" y="44"/>
                  </a:cubicBezTo>
                  <a:cubicBezTo>
                    <a:pt x="102" y="44"/>
                    <a:pt x="102" y="44"/>
                    <a:pt x="102" y="44"/>
                  </a:cubicBezTo>
                  <a:cubicBezTo>
                    <a:pt x="101" y="44"/>
                    <a:pt x="100" y="44"/>
                    <a:pt x="99" y="44"/>
                  </a:cubicBezTo>
                  <a:cubicBezTo>
                    <a:pt x="99" y="44"/>
                    <a:pt x="99" y="44"/>
                    <a:pt x="99" y="44"/>
                  </a:cubicBezTo>
                  <a:cubicBezTo>
                    <a:pt x="98" y="44"/>
                    <a:pt x="98" y="44"/>
                    <a:pt x="97" y="44"/>
                  </a:cubicBezTo>
                  <a:cubicBezTo>
                    <a:pt x="97" y="44"/>
                    <a:pt x="96" y="44"/>
                    <a:pt x="96" y="44"/>
                  </a:cubicBezTo>
                  <a:cubicBezTo>
                    <a:pt x="95" y="44"/>
                    <a:pt x="95" y="44"/>
                    <a:pt x="94" y="44"/>
                  </a:cubicBezTo>
                  <a:cubicBezTo>
                    <a:pt x="93" y="44"/>
                    <a:pt x="92" y="43"/>
                    <a:pt x="91" y="42"/>
                  </a:cubicBezTo>
                  <a:cubicBezTo>
                    <a:pt x="91" y="41"/>
                    <a:pt x="91" y="40"/>
                    <a:pt x="91" y="39"/>
                  </a:cubicBezTo>
                  <a:cubicBezTo>
                    <a:pt x="91" y="39"/>
                    <a:pt x="90" y="39"/>
                    <a:pt x="90" y="39"/>
                  </a:cubicBezTo>
                  <a:cubicBezTo>
                    <a:pt x="89" y="39"/>
                    <a:pt x="89" y="39"/>
                    <a:pt x="88" y="39"/>
                  </a:cubicBezTo>
                  <a:cubicBezTo>
                    <a:pt x="87" y="39"/>
                    <a:pt x="86" y="38"/>
                    <a:pt x="85" y="38"/>
                  </a:cubicBezTo>
                  <a:cubicBezTo>
                    <a:pt x="84" y="37"/>
                    <a:pt x="83" y="37"/>
                    <a:pt x="82" y="36"/>
                  </a:cubicBezTo>
                  <a:cubicBezTo>
                    <a:pt x="82" y="36"/>
                    <a:pt x="82" y="36"/>
                    <a:pt x="82" y="36"/>
                  </a:cubicBezTo>
                  <a:cubicBezTo>
                    <a:pt x="82" y="36"/>
                    <a:pt x="81" y="35"/>
                    <a:pt x="81" y="35"/>
                  </a:cubicBezTo>
                  <a:cubicBezTo>
                    <a:pt x="79" y="34"/>
                    <a:pt x="79" y="34"/>
                    <a:pt x="79" y="34"/>
                  </a:cubicBezTo>
                  <a:cubicBezTo>
                    <a:pt x="79" y="34"/>
                    <a:pt x="78" y="34"/>
                    <a:pt x="78" y="33"/>
                  </a:cubicBezTo>
                  <a:cubicBezTo>
                    <a:pt x="78" y="33"/>
                    <a:pt x="78" y="33"/>
                    <a:pt x="78" y="33"/>
                  </a:cubicBezTo>
                  <a:cubicBezTo>
                    <a:pt x="77" y="32"/>
                    <a:pt x="74" y="31"/>
                    <a:pt x="74" y="28"/>
                  </a:cubicBezTo>
                  <a:cubicBezTo>
                    <a:pt x="74" y="27"/>
                    <a:pt x="74" y="27"/>
                    <a:pt x="74" y="27"/>
                  </a:cubicBezTo>
                  <a:cubicBezTo>
                    <a:pt x="73" y="26"/>
                    <a:pt x="73" y="25"/>
                    <a:pt x="73" y="25"/>
                  </a:cubicBezTo>
                  <a:cubicBezTo>
                    <a:pt x="73" y="25"/>
                    <a:pt x="73" y="25"/>
                    <a:pt x="73" y="25"/>
                  </a:cubicBezTo>
                  <a:cubicBezTo>
                    <a:pt x="71" y="25"/>
                    <a:pt x="70" y="25"/>
                    <a:pt x="68" y="26"/>
                  </a:cubicBezTo>
                  <a:cubicBezTo>
                    <a:pt x="68" y="26"/>
                    <a:pt x="68" y="26"/>
                    <a:pt x="68" y="26"/>
                  </a:cubicBezTo>
                  <a:cubicBezTo>
                    <a:pt x="67" y="26"/>
                    <a:pt x="67" y="26"/>
                    <a:pt x="66" y="26"/>
                  </a:cubicBezTo>
                  <a:cubicBezTo>
                    <a:pt x="64" y="26"/>
                    <a:pt x="63" y="25"/>
                    <a:pt x="61" y="23"/>
                  </a:cubicBezTo>
                  <a:cubicBezTo>
                    <a:pt x="61" y="23"/>
                    <a:pt x="61" y="23"/>
                    <a:pt x="61" y="23"/>
                  </a:cubicBezTo>
                  <a:cubicBezTo>
                    <a:pt x="61" y="22"/>
                    <a:pt x="61" y="22"/>
                    <a:pt x="61" y="22"/>
                  </a:cubicBezTo>
                  <a:cubicBezTo>
                    <a:pt x="61" y="22"/>
                    <a:pt x="61" y="22"/>
                    <a:pt x="61" y="22"/>
                  </a:cubicBezTo>
                  <a:cubicBezTo>
                    <a:pt x="60" y="21"/>
                    <a:pt x="59" y="20"/>
                    <a:pt x="58" y="19"/>
                  </a:cubicBezTo>
                  <a:cubicBezTo>
                    <a:pt x="58" y="19"/>
                    <a:pt x="58" y="19"/>
                    <a:pt x="58" y="19"/>
                  </a:cubicBezTo>
                  <a:cubicBezTo>
                    <a:pt x="58" y="19"/>
                    <a:pt x="58" y="19"/>
                    <a:pt x="58" y="19"/>
                  </a:cubicBezTo>
                  <a:cubicBezTo>
                    <a:pt x="57" y="18"/>
                    <a:pt x="57" y="18"/>
                    <a:pt x="57" y="18"/>
                  </a:cubicBezTo>
                  <a:cubicBezTo>
                    <a:pt x="57" y="18"/>
                    <a:pt x="57" y="18"/>
                    <a:pt x="57" y="17"/>
                  </a:cubicBezTo>
                  <a:cubicBezTo>
                    <a:pt x="56" y="17"/>
                    <a:pt x="56" y="17"/>
                    <a:pt x="56" y="17"/>
                  </a:cubicBezTo>
                  <a:cubicBezTo>
                    <a:pt x="55" y="22"/>
                    <a:pt x="55" y="22"/>
                    <a:pt x="55" y="22"/>
                  </a:cubicBezTo>
                  <a:cubicBezTo>
                    <a:pt x="55" y="17"/>
                    <a:pt x="55" y="17"/>
                    <a:pt x="55" y="17"/>
                  </a:cubicBezTo>
                  <a:cubicBezTo>
                    <a:pt x="54" y="16"/>
                    <a:pt x="54" y="16"/>
                    <a:pt x="54" y="16"/>
                  </a:cubicBezTo>
                  <a:cubicBezTo>
                    <a:pt x="54" y="16"/>
                    <a:pt x="54" y="16"/>
                    <a:pt x="53" y="16"/>
                  </a:cubicBezTo>
                  <a:cubicBezTo>
                    <a:pt x="53" y="16"/>
                    <a:pt x="53" y="16"/>
                    <a:pt x="53" y="16"/>
                  </a:cubicBezTo>
                  <a:cubicBezTo>
                    <a:pt x="51" y="16"/>
                    <a:pt x="49" y="15"/>
                    <a:pt x="48" y="14"/>
                  </a:cubicBezTo>
                  <a:cubicBezTo>
                    <a:pt x="47" y="13"/>
                    <a:pt x="47" y="13"/>
                    <a:pt x="47" y="13"/>
                  </a:cubicBezTo>
                  <a:cubicBezTo>
                    <a:pt x="46" y="12"/>
                    <a:pt x="45" y="12"/>
                    <a:pt x="44" y="11"/>
                  </a:cubicBezTo>
                  <a:cubicBezTo>
                    <a:pt x="44" y="10"/>
                    <a:pt x="43" y="10"/>
                    <a:pt x="43" y="10"/>
                  </a:cubicBezTo>
                  <a:cubicBezTo>
                    <a:pt x="41" y="9"/>
                    <a:pt x="41" y="9"/>
                    <a:pt x="41" y="9"/>
                  </a:cubicBezTo>
                  <a:cubicBezTo>
                    <a:pt x="41" y="9"/>
                    <a:pt x="40" y="9"/>
                    <a:pt x="39" y="9"/>
                  </a:cubicBezTo>
                  <a:cubicBezTo>
                    <a:pt x="38" y="8"/>
                    <a:pt x="37" y="7"/>
                    <a:pt x="36" y="6"/>
                  </a:cubicBezTo>
                  <a:cubicBezTo>
                    <a:pt x="35" y="6"/>
                    <a:pt x="35" y="6"/>
                    <a:pt x="35" y="6"/>
                  </a:cubicBezTo>
                  <a:cubicBezTo>
                    <a:pt x="35" y="5"/>
                    <a:pt x="34" y="4"/>
                    <a:pt x="34" y="3"/>
                  </a:cubicBezTo>
                  <a:cubicBezTo>
                    <a:pt x="34" y="2"/>
                    <a:pt x="33" y="2"/>
                    <a:pt x="33" y="1"/>
                  </a:cubicBezTo>
                  <a:cubicBezTo>
                    <a:pt x="33" y="1"/>
                    <a:pt x="30" y="0"/>
                    <a:pt x="28" y="0"/>
                  </a:cubicBezTo>
                  <a:cubicBezTo>
                    <a:pt x="27" y="0"/>
                    <a:pt x="27" y="0"/>
                    <a:pt x="27" y="0"/>
                  </a:cubicBezTo>
                  <a:cubicBezTo>
                    <a:pt x="27"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 name="Rectangle 427">
              <a:extLst>
                <a:ext uri="{FF2B5EF4-FFF2-40B4-BE49-F238E27FC236}">
                  <a16:creationId xmlns:a16="http://schemas.microsoft.com/office/drawing/2014/main" id="{DAE5C41E-763B-469F-B47E-DC29019939EE}"/>
                </a:ext>
              </a:extLst>
            </p:cNvPr>
            <p:cNvSpPr>
              <a:spLocks noChangeArrowheads="1"/>
            </p:cNvSpPr>
            <p:nvPr/>
          </p:nvSpPr>
          <p:spPr bwMode="auto">
            <a:xfrm>
              <a:off x="3462012" y="4838799"/>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Freeform 428">
              <a:extLst>
                <a:ext uri="{FF2B5EF4-FFF2-40B4-BE49-F238E27FC236}">
                  <a16:creationId xmlns:a16="http://schemas.microsoft.com/office/drawing/2014/main" id="{33BF61EB-3AE4-48E9-9DBD-BAA6809FC879}"/>
                </a:ext>
              </a:extLst>
            </p:cNvPr>
            <p:cNvSpPr>
              <a:spLocks/>
            </p:cNvSpPr>
            <p:nvPr/>
          </p:nvSpPr>
          <p:spPr bwMode="auto">
            <a:xfrm>
              <a:off x="3462012" y="483879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429">
              <a:extLst>
                <a:ext uri="{FF2B5EF4-FFF2-40B4-BE49-F238E27FC236}">
                  <a16:creationId xmlns:a16="http://schemas.microsoft.com/office/drawing/2014/main" id="{25E59442-DF8E-475A-8697-5A6F24053D03}"/>
                </a:ext>
              </a:extLst>
            </p:cNvPr>
            <p:cNvSpPr>
              <a:spLocks noEditPoints="1"/>
            </p:cNvSpPr>
            <p:nvPr/>
          </p:nvSpPr>
          <p:spPr bwMode="auto">
            <a:xfrm>
              <a:off x="4082340" y="5287196"/>
              <a:ext cx="64647" cy="159552"/>
            </a:xfrm>
            <a:custGeom>
              <a:avLst/>
              <a:gdLst>
                <a:gd name="T0" fmla="*/ 8 w 20"/>
                <a:gd name="T1" fmla="*/ 37 h 49"/>
                <a:gd name="T2" fmla="*/ 7 w 20"/>
                <a:gd name="T3" fmla="*/ 42 h 49"/>
                <a:gd name="T4" fmla="*/ 8 w 20"/>
                <a:gd name="T5" fmla="*/ 37 h 49"/>
                <a:gd name="T6" fmla="*/ 13 w 20"/>
                <a:gd name="T7" fmla="*/ 0 h 49"/>
                <a:gd name="T8" fmla="*/ 12 w 20"/>
                <a:gd name="T9" fmla="*/ 0 h 49"/>
                <a:gd name="T10" fmla="*/ 11 w 20"/>
                <a:gd name="T11" fmla="*/ 1 h 49"/>
                <a:gd name="T12" fmla="*/ 11 w 20"/>
                <a:gd name="T13" fmla="*/ 1 h 49"/>
                <a:gd name="T14" fmla="*/ 9 w 20"/>
                <a:gd name="T15" fmla="*/ 6 h 49"/>
                <a:gd name="T16" fmla="*/ 9 w 20"/>
                <a:gd name="T17" fmla="*/ 7 h 49"/>
                <a:gd name="T18" fmla="*/ 7 w 20"/>
                <a:gd name="T19" fmla="*/ 11 h 49"/>
                <a:gd name="T20" fmla="*/ 6 w 20"/>
                <a:gd name="T21" fmla="*/ 14 h 49"/>
                <a:gd name="T22" fmla="*/ 3 w 20"/>
                <a:gd name="T23" fmla="*/ 15 h 49"/>
                <a:gd name="T24" fmla="*/ 0 w 20"/>
                <a:gd name="T25" fmla="*/ 14 h 49"/>
                <a:gd name="T26" fmla="*/ 0 w 20"/>
                <a:gd name="T27" fmla="*/ 14 h 49"/>
                <a:gd name="T28" fmla="*/ 0 w 20"/>
                <a:gd name="T29" fmla="*/ 14 h 49"/>
                <a:gd name="T30" fmla="*/ 6 w 20"/>
                <a:gd name="T31" fmla="*/ 27 h 49"/>
                <a:gd name="T32" fmla="*/ 7 w 20"/>
                <a:gd name="T33" fmla="*/ 23 h 49"/>
                <a:gd name="T34" fmla="*/ 7 w 20"/>
                <a:gd name="T35" fmla="*/ 28 h 49"/>
                <a:gd name="T36" fmla="*/ 8 w 20"/>
                <a:gd name="T37" fmla="*/ 33 h 49"/>
                <a:gd name="T38" fmla="*/ 8 w 20"/>
                <a:gd name="T39" fmla="*/ 37 h 49"/>
                <a:gd name="T40" fmla="*/ 8 w 20"/>
                <a:gd name="T41" fmla="*/ 37 h 49"/>
                <a:gd name="T42" fmla="*/ 9 w 20"/>
                <a:gd name="T43" fmla="*/ 39 h 49"/>
                <a:gd name="T44" fmla="*/ 9 w 20"/>
                <a:gd name="T45" fmla="*/ 44 h 49"/>
                <a:gd name="T46" fmla="*/ 11 w 20"/>
                <a:gd name="T47" fmla="*/ 49 h 49"/>
                <a:gd name="T48" fmla="*/ 11 w 20"/>
                <a:gd name="T49" fmla="*/ 48 h 49"/>
                <a:gd name="T50" fmla="*/ 11 w 20"/>
                <a:gd name="T51" fmla="*/ 48 h 49"/>
                <a:gd name="T52" fmla="*/ 11 w 20"/>
                <a:gd name="T53" fmla="*/ 47 h 49"/>
                <a:gd name="T54" fmla="*/ 11 w 20"/>
                <a:gd name="T55" fmla="*/ 47 h 49"/>
                <a:gd name="T56" fmla="*/ 14 w 20"/>
                <a:gd name="T57" fmla="*/ 43 h 49"/>
                <a:gd name="T58" fmla="*/ 14 w 20"/>
                <a:gd name="T59" fmla="*/ 41 h 49"/>
                <a:gd name="T60" fmla="*/ 17 w 20"/>
                <a:gd name="T61" fmla="*/ 37 h 49"/>
                <a:gd name="T62" fmla="*/ 19 w 20"/>
                <a:gd name="T63" fmla="*/ 42 h 49"/>
                <a:gd name="T64" fmla="*/ 20 w 20"/>
                <a:gd name="T65" fmla="*/ 42 h 49"/>
                <a:gd name="T66" fmla="*/ 19 w 20"/>
                <a:gd name="T67" fmla="*/ 35 h 49"/>
                <a:gd name="T68" fmla="*/ 19 w 20"/>
                <a:gd name="T69" fmla="*/ 33 h 49"/>
                <a:gd name="T70" fmla="*/ 18 w 20"/>
                <a:gd name="T71" fmla="*/ 23 h 49"/>
                <a:gd name="T72" fmla="*/ 16 w 20"/>
                <a:gd name="T73" fmla="*/ 17 h 49"/>
                <a:gd name="T74" fmla="*/ 16 w 20"/>
                <a:gd name="T75" fmla="*/ 17 h 49"/>
                <a:gd name="T76" fmla="*/ 14 w 20"/>
                <a:gd name="T77" fmla="*/ 11 h 49"/>
                <a:gd name="T78" fmla="*/ 14 w 20"/>
                <a:gd name="T79" fmla="*/ 11 h 49"/>
                <a:gd name="T80" fmla="*/ 14 w 20"/>
                <a:gd name="T81" fmla="*/ 10 h 49"/>
                <a:gd name="T82" fmla="*/ 14 w 20"/>
                <a:gd name="T83" fmla="*/ 4 h 49"/>
                <a:gd name="T84" fmla="*/ 13 w 20"/>
                <a:gd name="T8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49">
                  <a:moveTo>
                    <a:pt x="8" y="37"/>
                  </a:moveTo>
                  <a:cubicBezTo>
                    <a:pt x="8" y="38"/>
                    <a:pt x="8" y="40"/>
                    <a:pt x="7" y="42"/>
                  </a:cubicBezTo>
                  <a:cubicBezTo>
                    <a:pt x="11" y="41"/>
                    <a:pt x="8" y="39"/>
                    <a:pt x="8" y="37"/>
                  </a:cubicBezTo>
                  <a:moveTo>
                    <a:pt x="13" y="0"/>
                  </a:moveTo>
                  <a:cubicBezTo>
                    <a:pt x="12" y="0"/>
                    <a:pt x="12" y="0"/>
                    <a:pt x="12" y="0"/>
                  </a:cubicBezTo>
                  <a:cubicBezTo>
                    <a:pt x="12" y="1"/>
                    <a:pt x="11" y="1"/>
                    <a:pt x="11" y="1"/>
                  </a:cubicBezTo>
                  <a:cubicBezTo>
                    <a:pt x="11" y="1"/>
                    <a:pt x="11" y="1"/>
                    <a:pt x="11" y="1"/>
                  </a:cubicBezTo>
                  <a:cubicBezTo>
                    <a:pt x="10" y="3"/>
                    <a:pt x="10" y="4"/>
                    <a:pt x="9" y="6"/>
                  </a:cubicBezTo>
                  <a:cubicBezTo>
                    <a:pt x="9" y="7"/>
                    <a:pt x="9" y="7"/>
                    <a:pt x="9" y="7"/>
                  </a:cubicBezTo>
                  <a:cubicBezTo>
                    <a:pt x="8" y="9"/>
                    <a:pt x="8" y="10"/>
                    <a:pt x="7" y="11"/>
                  </a:cubicBezTo>
                  <a:cubicBezTo>
                    <a:pt x="7" y="12"/>
                    <a:pt x="6" y="13"/>
                    <a:pt x="6" y="14"/>
                  </a:cubicBezTo>
                  <a:cubicBezTo>
                    <a:pt x="5" y="15"/>
                    <a:pt x="4" y="15"/>
                    <a:pt x="3" y="15"/>
                  </a:cubicBezTo>
                  <a:cubicBezTo>
                    <a:pt x="2" y="15"/>
                    <a:pt x="1" y="15"/>
                    <a:pt x="0" y="14"/>
                  </a:cubicBezTo>
                  <a:cubicBezTo>
                    <a:pt x="0" y="14"/>
                    <a:pt x="0" y="14"/>
                    <a:pt x="0" y="14"/>
                  </a:cubicBezTo>
                  <a:cubicBezTo>
                    <a:pt x="0" y="14"/>
                    <a:pt x="0" y="14"/>
                    <a:pt x="0" y="14"/>
                  </a:cubicBezTo>
                  <a:cubicBezTo>
                    <a:pt x="1" y="19"/>
                    <a:pt x="4" y="23"/>
                    <a:pt x="6" y="27"/>
                  </a:cubicBezTo>
                  <a:cubicBezTo>
                    <a:pt x="6" y="26"/>
                    <a:pt x="6" y="26"/>
                    <a:pt x="7" y="23"/>
                  </a:cubicBezTo>
                  <a:cubicBezTo>
                    <a:pt x="7" y="25"/>
                    <a:pt x="6" y="26"/>
                    <a:pt x="7" y="28"/>
                  </a:cubicBezTo>
                  <a:cubicBezTo>
                    <a:pt x="7" y="30"/>
                    <a:pt x="7" y="32"/>
                    <a:pt x="8" y="33"/>
                  </a:cubicBezTo>
                  <a:cubicBezTo>
                    <a:pt x="8" y="35"/>
                    <a:pt x="8" y="35"/>
                    <a:pt x="8" y="37"/>
                  </a:cubicBezTo>
                  <a:cubicBezTo>
                    <a:pt x="8" y="37"/>
                    <a:pt x="8" y="37"/>
                    <a:pt x="8" y="37"/>
                  </a:cubicBezTo>
                  <a:cubicBezTo>
                    <a:pt x="8" y="37"/>
                    <a:pt x="9" y="38"/>
                    <a:pt x="9" y="39"/>
                  </a:cubicBezTo>
                  <a:cubicBezTo>
                    <a:pt x="9" y="40"/>
                    <a:pt x="8" y="42"/>
                    <a:pt x="9" y="44"/>
                  </a:cubicBezTo>
                  <a:cubicBezTo>
                    <a:pt x="10" y="45"/>
                    <a:pt x="10" y="47"/>
                    <a:pt x="11" y="49"/>
                  </a:cubicBezTo>
                  <a:cubicBezTo>
                    <a:pt x="11" y="48"/>
                    <a:pt x="11" y="48"/>
                    <a:pt x="11" y="48"/>
                  </a:cubicBezTo>
                  <a:cubicBezTo>
                    <a:pt x="11" y="48"/>
                    <a:pt x="11" y="48"/>
                    <a:pt x="11" y="48"/>
                  </a:cubicBezTo>
                  <a:cubicBezTo>
                    <a:pt x="11" y="47"/>
                    <a:pt x="11" y="47"/>
                    <a:pt x="11" y="47"/>
                  </a:cubicBezTo>
                  <a:cubicBezTo>
                    <a:pt x="11" y="47"/>
                    <a:pt x="11" y="47"/>
                    <a:pt x="11" y="47"/>
                  </a:cubicBezTo>
                  <a:cubicBezTo>
                    <a:pt x="12" y="46"/>
                    <a:pt x="12" y="44"/>
                    <a:pt x="14" y="43"/>
                  </a:cubicBezTo>
                  <a:cubicBezTo>
                    <a:pt x="14" y="42"/>
                    <a:pt x="14" y="42"/>
                    <a:pt x="14" y="41"/>
                  </a:cubicBezTo>
                  <a:cubicBezTo>
                    <a:pt x="17" y="37"/>
                    <a:pt x="17" y="37"/>
                    <a:pt x="17" y="37"/>
                  </a:cubicBezTo>
                  <a:cubicBezTo>
                    <a:pt x="19" y="42"/>
                    <a:pt x="19" y="42"/>
                    <a:pt x="19" y="42"/>
                  </a:cubicBezTo>
                  <a:cubicBezTo>
                    <a:pt x="19" y="42"/>
                    <a:pt x="19" y="42"/>
                    <a:pt x="20" y="42"/>
                  </a:cubicBezTo>
                  <a:cubicBezTo>
                    <a:pt x="19" y="35"/>
                    <a:pt x="19" y="35"/>
                    <a:pt x="19" y="35"/>
                  </a:cubicBezTo>
                  <a:cubicBezTo>
                    <a:pt x="19" y="33"/>
                    <a:pt x="19" y="33"/>
                    <a:pt x="19" y="33"/>
                  </a:cubicBezTo>
                  <a:cubicBezTo>
                    <a:pt x="18" y="23"/>
                    <a:pt x="18" y="23"/>
                    <a:pt x="18" y="23"/>
                  </a:cubicBezTo>
                  <a:cubicBezTo>
                    <a:pt x="17" y="21"/>
                    <a:pt x="17" y="19"/>
                    <a:pt x="16" y="17"/>
                  </a:cubicBezTo>
                  <a:cubicBezTo>
                    <a:pt x="16" y="17"/>
                    <a:pt x="16" y="17"/>
                    <a:pt x="16" y="17"/>
                  </a:cubicBezTo>
                  <a:cubicBezTo>
                    <a:pt x="15" y="15"/>
                    <a:pt x="15" y="13"/>
                    <a:pt x="14" y="11"/>
                  </a:cubicBezTo>
                  <a:cubicBezTo>
                    <a:pt x="14" y="11"/>
                    <a:pt x="14" y="11"/>
                    <a:pt x="14" y="11"/>
                  </a:cubicBezTo>
                  <a:cubicBezTo>
                    <a:pt x="14" y="10"/>
                    <a:pt x="14" y="10"/>
                    <a:pt x="14" y="10"/>
                  </a:cubicBezTo>
                  <a:cubicBezTo>
                    <a:pt x="14" y="8"/>
                    <a:pt x="14" y="6"/>
                    <a:pt x="14" y="4"/>
                  </a:cubicBezTo>
                  <a:cubicBezTo>
                    <a:pt x="13" y="3"/>
                    <a:pt x="13"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 name="Freeform 430">
              <a:extLst>
                <a:ext uri="{FF2B5EF4-FFF2-40B4-BE49-F238E27FC236}">
                  <a16:creationId xmlns:a16="http://schemas.microsoft.com/office/drawing/2014/main" id="{F2BE69D9-A1F7-4FDD-823E-26F209E58F1A}"/>
                </a:ext>
              </a:extLst>
            </p:cNvPr>
            <p:cNvSpPr>
              <a:spLocks/>
            </p:cNvSpPr>
            <p:nvPr/>
          </p:nvSpPr>
          <p:spPr bwMode="auto">
            <a:xfrm>
              <a:off x="3881524" y="5111138"/>
              <a:ext cx="248957" cy="302599"/>
            </a:xfrm>
            <a:custGeom>
              <a:avLst/>
              <a:gdLst>
                <a:gd name="T0" fmla="*/ 0 w 77"/>
                <a:gd name="T1" fmla="*/ 6 h 93"/>
                <a:gd name="T2" fmla="*/ 2 w 77"/>
                <a:gd name="T3" fmla="*/ 7 h 93"/>
                <a:gd name="T4" fmla="*/ 8 w 77"/>
                <a:gd name="T5" fmla="*/ 13 h 93"/>
                <a:gd name="T6" fmla="*/ 13 w 77"/>
                <a:gd name="T7" fmla="*/ 16 h 93"/>
                <a:gd name="T8" fmla="*/ 16 w 77"/>
                <a:gd name="T9" fmla="*/ 22 h 93"/>
                <a:gd name="T10" fmla="*/ 10 w 77"/>
                <a:gd name="T11" fmla="*/ 24 h 93"/>
                <a:gd name="T12" fmla="*/ 1 w 77"/>
                <a:gd name="T13" fmla="*/ 30 h 93"/>
                <a:gd name="T14" fmla="*/ 1 w 77"/>
                <a:gd name="T15" fmla="*/ 34 h 93"/>
                <a:gd name="T16" fmla="*/ 5 w 77"/>
                <a:gd name="T17" fmla="*/ 36 h 93"/>
                <a:gd name="T18" fmla="*/ 7 w 77"/>
                <a:gd name="T19" fmla="*/ 37 h 93"/>
                <a:gd name="T20" fmla="*/ 12 w 77"/>
                <a:gd name="T21" fmla="*/ 47 h 93"/>
                <a:gd name="T22" fmla="*/ 10 w 77"/>
                <a:gd name="T23" fmla="*/ 53 h 93"/>
                <a:gd name="T24" fmla="*/ 13 w 77"/>
                <a:gd name="T25" fmla="*/ 57 h 93"/>
                <a:gd name="T26" fmla="*/ 12 w 77"/>
                <a:gd name="T27" fmla="*/ 58 h 93"/>
                <a:gd name="T28" fmla="*/ 16 w 77"/>
                <a:gd name="T29" fmla="*/ 63 h 93"/>
                <a:gd name="T30" fmla="*/ 15 w 77"/>
                <a:gd name="T31" fmla="*/ 68 h 93"/>
                <a:gd name="T32" fmla="*/ 16 w 77"/>
                <a:gd name="T33" fmla="*/ 71 h 93"/>
                <a:gd name="T34" fmla="*/ 18 w 77"/>
                <a:gd name="T35" fmla="*/ 86 h 93"/>
                <a:gd name="T36" fmla="*/ 19 w 77"/>
                <a:gd name="T37" fmla="*/ 93 h 93"/>
                <a:gd name="T38" fmla="*/ 25 w 77"/>
                <a:gd name="T39" fmla="*/ 86 h 93"/>
                <a:gd name="T40" fmla="*/ 29 w 77"/>
                <a:gd name="T41" fmla="*/ 89 h 93"/>
                <a:gd name="T42" fmla="*/ 35 w 77"/>
                <a:gd name="T43" fmla="*/ 83 h 93"/>
                <a:gd name="T44" fmla="*/ 38 w 77"/>
                <a:gd name="T45" fmla="*/ 89 h 93"/>
                <a:gd name="T46" fmla="*/ 44 w 77"/>
                <a:gd name="T47" fmla="*/ 78 h 93"/>
                <a:gd name="T48" fmla="*/ 43 w 77"/>
                <a:gd name="T49" fmla="*/ 68 h 93"/>
                <a:gd name="T50" fmla="*/ 42 w 77"/>
                <a:gd name="T51" fmla="*/ 58 h 93"/>
                <a:gd name="T52" fmla="*/ 45 w 77"/>
                <a:gd name="T53" fmla="*/ 55 h 93"/>
                <a:gd name="T54" fmla="*/ 51 w 77"/>
                <a:gd name="T55" fmla="*/ 68 h 93"/>
                <a:gd name="T56" fmla="*/ 59 w 77"/>
                <a:gd name="T57" fmla="*/ 67 h 93"/>
                <a:gd name="T58" fmla="*/ 55 w 77"/>
                <a:gd name="T59" fmla="*/ 58 h 93"/>
                <a:gd name="T60" fmla="*/ 53 w 77"/>
                <a:gd name="T61" fmla="*/ 54 h 93"/>
                <a:gd name="T62" fmla="*/ 56 w 77"/>
                <a:gd name="T63" fmla="*/ 47 h 93"/>
                <a:gd name="T64" fmla="*/ 63 w 77"/>
                <a:gd name="T65" fmla="*/ 40 h 93"/>
                <a:gd name="T66" fmla="*/ 69 w 77"/>
                <a:gd name="T67" fmla="*/ 37 h 93"/>
                <a:gd name="T68" fmla="*/ 72 w 77"/>
                <a:gd name="T69" fmla="*/ 34 h 93"/>
                <a:gd name="T70" fmla="*/ 74 w 77"/>
                <a:gd name="T71" fmla="*/ 29 h 93"/>
                <a:gd name="T72" fmla="*/ 73 w 77"/>
                <a:gd name="T73" fmla="*/ 25 h 93"/>
                <a:gd name="T74" fmla="*/ 66 w 77"/>
                <a:gd name="T75" fmla="*/ 25 h 93"/>
                <a:gd name="T76" fmla="*/ 54 w 77"/>
                <a:gd name="T77" fmla="*/ 24 h 93"/>
                <a:gd name="T78" fmla="*/ 47 w 77"/>
                <a:gd name="T79" fmla="*/ 24 h 93"/>
                <a:gd name="T80" fmla="*/ 44 w 77"/>
                <a:gd name="T81" fmla="*/ 25 h 93"/>
                <a:gd name="T82" fmla="*/ 39 w 77"/>
                <a:gd name="T83" fmla="*/ 24 h 93"/>
                <a:gd name="T84" fmla="*/ 33 w 77"/>
                <a:gd name="T85" fmla="*/ 22 h 93"/>
                <a:gd name="T86" fmla="*/ 25 w 77"/>
                <a:gd name="T87" fmla="*/ 19 h 93"/>
                <a:gd name="T88" fmla="*/ 27 w 77"/>
                <a:gd name="T89" fmla="*/ 12 h 93"/>
                <a:gd name="T90" fmla="*/ 19 w 77"/>
                <a:gd name="T91" fmla="*/ 7 h 93"/>
                <a:gd name="T92" fmla="*/ 10 w 77"/>
                <a:gd name="T93" fmla="*/ 2 h 93"/>
                <a:gd name="T94" fmla="*/ 5 w 77"/>
                <a:gd name="T9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 h="93">
                  <a:moveTo>
                    <a:pt x="5" y="0"/>
                  </a:moveTo>
                  <a:cubicBezTo>
                    <a:pt x="5" y="0"/>
                    <a:pt x="3" y="1"/>
                    <a:pt x="1" y="5"/>
                  </a:cubicBezTo>
                  <a:cubicBezTo>
                    <a:pt x="1" y="5"/>
                    <a:pt x="1" y="5"/>
                    <a:pt x="1" y="5"/>
                  </a:cubicBezTo>
                  <a:cubicBezTo>
                    <a:pt x="0" y="6"/>
                    <a:pt x="0" y="6"/>
                    <a:pt x="0" y="6"/>
                  </a:cubicBezTo>
                  <a:cubicBezTo>
                    <a:pt x="0" y="6"/>
                    <a:pt x="0" y="6"/>
                    <a:pt x="0" y="6"/>
                  </a:cubicBezTo>
                  <a:cubicBezTo>
                    <a:pt x="0" y="7"/>
                    <a:pt x="0" y="7"/>
                    <a:pt x="0" y="7"/>
                  </a:cubicBezTo>
                  <a:cubicBezTo>
                    <a:pt x="1" y="7"/>
                    <a:pt x="1" y="7"/>
                    <a:pt x="1" y="7"/>
                  </a:cubicBezTo>
                  <a:cubicBezTo>
                    <a:pt x="2" y="7"/>
                    <a:pt x="2" y="7"/>
                    <a:pt x="2" y="7"/>
                  </a:cubicBezTo>
                  <a:cubicBezTo>
                    <a:pt x="3" y="8"/>
                    <a:pt x="4" y="9"/>
                    <a:pt x="5" y="10"/>
                  </a:cubicBezTo>
                  <a:cubicBezTo>
                    <a:pt x="6" y="11"/>
                    <a:pt x="6" y="11"/>
                    <a:pt x="6" y="11"/>
                  </a:cubicBezTo>
                  <a:cubicBezTo>
                    <a:pt x="6" y="12"/>
                    <a:pt x="6" y="12"/>
                    <a:pt x="6" y="12"/>
                  </a:cubicBezTo>
                  <a:cubicBezTo>
                    <a:pt x="7" y="12"/>
                    <a:pt x="7" y="13"/>
                    <a:pt x="8" y="13"/>
                  </a:cubicBezTo>
                  <a:cubicBezTo>
                    <a:pt x="8" y="13"/>
                    <a:pt x="8" y="13"/>
                    <a:pt x="8" y="13"/>
                  </a:cubicBezTo>
                  <a:cubicBezTo>
                    <a:pt x="8" y="13"/>
                    <a:pt x="9" y="13"/>
                    <a:pt x="9" y="13"/>
                  </a:cubicBezTo>
                  <a:cubicBezTo>
                    <a:pt x="10" y="13"/>
                    <a:pt x="10" y="13"/>
                    <a:pt x="10" y="13"/>
                  </a:cubicBezTo>
                  <a:cubicBezTo>
                    <a:pt x="12" y="13"/>
                    <a:pt x="13" y="15"/>
                    <a:pt x="13" y="16"/>
                  </a:cubicBezTo>
                  <a:cubicBezTo>
                    <a:pt x="13" y="16"/>
                    <a:pt x="13" y="17"/>
                    <a:pt x="14" y="17"/>
                  </a:cubicBezTo>
                  <a:cubicBezTo>
                    <a:pt x="14" y="17"/>
                    <a:pt x="15" y="17"/>
                    <a:pt x="15" y="18"/>
                  </a:cubicBezTo>
                  <a:cubicBezTo>
                    <a:pt x="19" y="19"/>
                    <a:pt x="19" y="19"/>
                    <a:pt x="19" y="19"/>
                  </a:cubicBezTo>
                  <a:cubicBezTo>
                    <a:pt x="16" y="22"/>
                    <a:pt x="16" y="22"/>
                    <a:pt x="16" y="22"/>
                  </a:cubicBezTo>
                  <a:cubicBezTo>
                    <a:pt x="16" y="22"/>
                    <a:pt x="16" y="22"/>
                    <a:pt x="16" y="22"/>
                  </a:cubicBezTo>
                  <a:cubicBezTo>
                    <a:pt x="16" y="25"/>
                    <a:pt x="16" y="25"/>
                    <a:pt x="16" y="25"/>
                  </a:cubicBezTo>
                  <a:cubicBezTo>
                    <a:pt x="12" y="24"/>
                    <a:pt x="12" y="24"/>
                    <a:pt x="12" y="24"/>
                  </a:cubicBezTo>
                  <a:cubicBezTo>
                    <a:pt x="12" y="24"/>
                    <a:pt x="11" y="24"/>
                    <a:pt x="10" y="24"/>
                  </a:cubicBezTo>
                  <a:cubicBezTo>
                    <a:pt x="10" y="24"/>
                    <a:pt x="9" y="24"/>
                    <a:pt x="9" y="24"/>
                  </a:cubicBezTo>
                  <a:cubicBezTo>
                    <a:pt x="6" y="24"/>
                    <a:pt x="6" y="25"/>
                    <a:pt x="5" y="26"/>
                  </a:cubicBezTo>
                  <a:cubicBezTo>
                    <a:pt x="5" y="28"/>
                    <a:pt x="3" y="29"/>
                    <a:pt x="2" y="29"/>
                  </a:cubicBezTo>
                  <a:cubicBezTo>
                    <a:pt x="2" y="30"/>
                    <a:pt x="1" y="30"/>
                    <a:pt x="1" y="30"/>
                  </a:cubicBezTo>
                  <a:cubicBezTo>
                    <a:pt x="0" y="31"/>
                    <a:pt x="0" y="31"/>
                    <a:pt x="0" y="31"/>
                  </a:cubicBezTo>
                  <a:cubicBezTo>
                    <a:pt x="0" y="31"/>
                    <a:pt x="0" y="31"/>
                    <a:pt x="0" y="31"/>
                  </a:cubicBezTo>
                  <a:cubicBezTo>
                    <a:pt x="0" y="31"/>
                    <a:pt x="0" y="33"/>
                    <a:pt x="0" y="33"/>
                  </a:cubicBezTo>
                  <a:cubicBezTo>
                    <a:pt x="0" y="34"/>
                    <a:pt x="1" y="34"/>
                    <a:pt x="1" y="34"/>
                  </a:cubicBezTo>
                  <a:cubicBezTo>
                    <a:pt x="2" y="35"/>
                    <a:pt x="2" y="35"/>
                    <a:pt x="2" y="35"/>
                  </a:cubicBezTo>
                  <a:cubicBezTo>
                    <a:pt x="2" y="35"/>
                    <a:pt x="3" y="35"/>
                    <a:pt x="3" y="36"/>
                  </a:cubicBezTo>
                  <a:cubicBezTo>
                    <a:pt x="4" y="36"/>
                    <a:pt x="4" y="36"/>
                    <a:pt x="5" y="36"/>
                  </a:cubicBezTo>
                  <a:cubicBezTo>
                    <a:pt x="5" y="36"/>
                    <a:pt x="5" y="36"/>
                    <a:pt x="5" y="36"/>
                  </a:cubicBezTo>
                  <a:cubicBezTo>
                    <a:pt x="5" y="36"/>
                    <a:pt x="5" y="36"/>
                    <a:pt x="5" y="36"/>
                  </a:cubicBezTo>
                  <a:cubicBezTo>
                    <a:pt x="6" y="33"/>
                    <a:pt x="6" y="33"/>
                    <a:pt x="6" y="33"/>
                  </a:cubicBezTo>
                  <a:cubicBezTo>
                    <a:pt x="7" y="37"/>
                    <a:pt x="7" y="37"/>
                    <a:pt x="7" y="37"/>
                  </a:cubicBezTo>
                  <a:cubicBezTo>
                    <a:pt x="7" y="37"/>
                    <a:pt x="7" y="37"/>
                    <a:pt x="7" y="37"/>
                  </a:cubicBezTo>
                  <a:cubicBezTo>
                    <a:pt x="7" y="37"/>
                    <a:pt x="8" y="37"/>
                    <a:pt x="9" y="37"/>
                  </a:cubicBezTo>
                  <a:cubicBezTo>
                    <a:pt x="10" y="38"/>
                    <a:pt x="11" y="39"/>
                    <a:pt x="12" y="40"/>
                  </a:cubicBezTo>
                  <a:cubicBezTo>
                    <a:pt x="12" y="40"/>
                    <a:pt x="12" y="41"/>
                    <a:pt x="12" y="42"/>
                  </a:cubicBezTo>
                  <a:cubicBezTo>
                    <a:pt x="12" y="46"/>
                    <a:pt x="12" y="47"/>
                    <a:pt x="12" y="47"/>
                  </a:cubicBezTo>
                  <a:cubicBezTo>
                    <a:pt x="11" y="48"/>
                    <a:pt x="10" y="49"/>
                    <a:pt x="10" y="49"/>
                  </a:cubicBezTo>
                  <a:cubicBezTo>
                    <a:pt x="10" y="49"/>
                    <a:pt x="10" y="49"/>
                    <a:pt x="10" y="49"/>
                  </a:cubicBezTo>
                  <a:cubicBezTo>
                    <a:pt x="10" y="50"/>
                    <a:pt x="10" y="50"/>
                    <a:pt x="10" y="50"/>
                  </a:cubicBezTo>
                  <a:cubicBezTo>
                    <a:pt x="10" y="52"/>
                    <a:pt x="10" y="52"/>
                    <a:pt x="10" y="53"/>
                  </a:cubicBezTo>
                  <a:cubicBezTo>
                    <a:pt x="11" y="53"/>
                    <a:pt x="11" y="54"/>
                    <a:pt x="12" y="54"/>
                  </a:cubicBezTo>
                  <a:cubicBezTo>
                    <a:pt x="12" y="55"/>
                    <a:pt x="12" y="55"/>
                    <a:pt x="12" y="55"/>
                  </a:cubicBezTo>
                  <a:cubicBezTo>
                    <a:pt x="13" y="56"/>
                    <a:pt x="13" y="56"/>
                    <a:pt x="13" y="56"/>
                  </a:cubicBezTo>
                  <a:cubicBezTo>
                    <a:pt x="13" y="57"/>
                    <a:pt x="13" y="57"/>
                    <a:pt x="13" y="57"/>
                  </a:cubicBezTo>
                  <a:cubicBezTo>
                    <a:pt x="12" y="57"/>
                    <a:pt x="12" y="57"/>
                    <a:pt x="12" y="57"/>
                  </a:cubicBezTo>
                  <a:cubicBezTo>
                    <a:pt x="12" y="57"/>
                    <a:pt x="12" y="57"/>
                    <a:pt x="12" y="57"/>
                  </a:cubicBezTo>
                  <a:cubicBezTo>
                    <a:pt x="12" y="58"/>
                    <a:pt x="12" y="58"/>
                    <a:pt x="12" y="58"/>
                  </a:cubicBezTo>
                  <a:cubicBezTo>
                    <a:pt x="12" y="58"/>
                    <a:pt x="12" y="58"/>
                    <a:pt x="12" y="58"/>
                  </a:cubicBezTo>
                  <a:cubicBezTo>
                    <a:pt x="13" y="58"/>
                    <a:pt x="13" y="58"/>
                    <a:pt x="13" y="58"/>
                  </a:cubicBezTo>
                  <a:cubicBezTo>
                    <a:pt x="14" y="59"/>
                    <a:pt x="14" y="59"/>
                    <a:pt x="15" y="60"/>
                  </a:cubicBezTo>
                  <a:cubicBezTo>
                    <a:pt x="15" y="60"/>
                    <a:pt x="15" y="61"/>
                    <a:pt x="15" y="61"/>
                  </a:cubicBezTo>
                  <a:cubicBezTo>
                    <a:pt x="16" y="62"/>
                    <a:pt x="16" y="62"/>
                    <a:pt x="16" y="63"/>
                  </a:cubicBezTo>
                  <a:cubicBezTo>
                    <a:pt x="16" y="64"/>
                    <a:pt x="16" y="64"/>
                    <a:pt x="16" y="64"/>
                  </a:cubicBezTo>
                  <a:cubicBezTo>
                    <a:pt x="15" y="64"/>
                    <a:pt x="15" y="64"/>
                    <a:pt x="15" y="64"/>
                  </a:cubicBezTo>
                  <a:cubicBezTo>
                    <a:pt x="15" y="65"/>
                    <a:pt x="15" y="65"/>
                    <a:pt x="15" y="65"/>
                  </a:cubicBezTo>
                  <a:cubicBezTo>
                    <a:pt x="15" y="66"/>
                    <a:pt x="15" y="67"/>
                    <a:pt x="15" y="68"/>
                  </a:cubicBezTo>
                  <a:cubicBezTo>
                    <a:pt x="16" y="68"/>
                    <a:pt x="16" y="69"/>
                    <a:pt x="16" y="70"/>
                  </a:cubicBezTo>
                  <a:cubicBezTo>
                    <a:pt x="16" y="70"/>
                    <a:pt x="16" y="70"/>
                    <a:pt x="16" y="70"/>
                  </a:cubicBezTo>
                  <a:cubicBezTo>
                    <a:pt x="16" y="71"/>
                    <a:pt x="16" y="71"/>
                    <a:pt x="16" y="71"/>
                  </a:cubicBezTo>
                  <a:cubicBezTo>
                    <a:pt x="16" y="71"/>
                    <a:pt x="16" y="71"/>
                    <a:pt x="16" y="71"/>
                  </a:cubicBezTo>
                  <a:cubicBezTo>
                    <a:pt x="16" y="72"/>
                    <a:pt x="16" y="72"/>
                    <a:pt x="16" y="72"/>
                  </a:cubicBezTo>
                  <a:cubicBezTo>
                    <a:pt x="17" y="79"/>
                    <a:pt x="17" y="79"/>
                    <a:pt x="17" y="79"/>
                  </a:cubicBezTo>
                  <a:cubicBezTo>
                    <a:pt x="17" y="80"/>
                    <a:pt x="18" y="81"/>
                    <a:pt x="18" y="83"/>
                  </a:cubicBezTo>
                  <a:cubicBezTo>
                    <a:pt x="18" y="83"/>
                    <a:pt x="18" y="85"/>
                    <a:pt x="18" y="86"/>
                  </a:cubicBezTo>
                  <a:cubicBezTo>
                    <a:pt x="18" y="88"/>
                    <a:pt x="18" y="88"/>
                    <a:pt x="18" y="88"/>
                  </a:cubicBezTo>
                  <a:cubicBezTo>
                    <a:pt x="16" y="88"/>
                    <a:pt x="16" y="88"/>
                    <a:pt x="16" y="88"/>
                  </a:cubicBezTo>
                  <a:cubicBezTo>
                    <a:pt x="17" y="91"/>
                    <a:pt x="18" y="93"/>
                    <a:pt x="19" y="93"/>
                  </a:cubicBezTo>
                  <a:cubicBezTo>
                    <a:pt x="19" y="93"/>
                    <a:pt x="19" y="93"/>
                    <a:pt x="19" y="93"/>
                  </a:cubicBezTo>
                  <a:cubicBezTo>
                    <a:pt x="20" y="93"/>
                    <a:pt x="21" y="87"/>
                    <a:pt x="21" y="87"/>
                  </a:cubicBezTo>
                  <a:cubicBezTo>
                    <a:pt x="21" y="88"/>
                    <a:pt x="21" y="90"/>
                    <a:pt x="22" y="91"/>
                  </a:cubicBezTo>
                  <a:cubicBezTo>
                    <a:pt x="25" y="90"/>
                    <a:pt x="24" y="83"/>
                    <a:pt x="24" y="80"/>
                  </a:cubicBezTo>
                  <a:cubicBezTo>
                    <a:pt x="24" y="82"/>
                    <a:pt x="24" y="84"/>
                    <a:pt x="25" y="86"/>
                  </a:cubicBezTo>
                  <a:cubicBezTo>
                    <a:pt x="25" y="83"/>
                    <a:pt x="25" y="82"/>
                    <a:pt x="26" y="79"/>
                  </a:cubicBezTo>
                  <a:cubicBezTo>
                    <a:pt x="26" y="82"/>
                    <a:pt x="24" y="88"/>
                    <a:pt x="26" y="91"/>
                  </a:cubicBezTo>
                  <a:cubicBezTo>
                    <a:pt x="26" y="89"/>
                    <a:pt x="26" y="88"/>
                    <a:pt x="27" y="87"/>
                  </a:cubicBezTo>
                  <a:cubicBezTo>
                    <a:pt x="28" y="88"/>
                    <a:pt x="28" y="89"/>
                    <a:pt x="29" y="89"/>
                  </a:cubicBezTo>
                  <a:cubicBezTo>
                    <a:pt x="30" y="89"/>
                    <a:pt x="31" y="88"/>
                    <a:pt x="31" y="86"/>
                  </a:cubicBezTo>
                  <a:cubicBezTo>
                    <a:pt x="31" y="82"/>
                    <a:pt x="31" y="80"/>
                    <a:pt x="33" y="76"/>
                  </a:cubicBezTo>
                  <a:cubicBezTo>
                    <a:pt x="31" y="79"/>
                    <a:pt x="31" y="83"/>
                    <a:pt x="33" y="86"/>
                  </a:cubicBezTo>
                  <a:cubicBezTo>
                    <a:pt x="33" y="85"/>
                    <a:pt x="34" y="84"/>
                    <a:pt x="35" y="83"/>
                  </a:cubicBezTo>
                  <a:cubicBezTo>
                    <a:pt x="34" y="84"/>
                    <a:pt x="34" y="85"/>
                    <a:pt x="34" y="86"/>
                  </a:cubicBezTo>
                  <a:cubicBezTo>
                    <a:pt x="35" y="84"/>
                    <a:pt x="37" y="83"/>
                    <a:pt x="38" y="82"/>
                  </a:cubicBezTo>
                  <a:cubicBezTo>
                    <a:pt x="37" y="84"/>
                    <a:pt x="35" y="86"/>
                    <a:pt x="36" y="88"/>
                  </a:cubicBezTo>
                  <a:cubicBezTo>
                    <a:pt x="37" y="89"/>
                    <a:pt x="37" y="89"/>
                    <a:pt x="38" y="89"/>
                  </a:cubicBezTo>
                  <a:cubicBezTo>
                    <a:pt x="38" y="89"/>
                    <a:pt x="38" y="89"/>
                    <a:pt x="38" y="89"/>
                  </a:cubicBezTo>
                  <a:cubicBezTo>
                    <a:pt x="40" y="88"/>
                    <a:pt x="40" y="82"/>
                    <a:pt x="41" y="80"/>
                  </a:cubicBezTo>
                  <a:cubicBezTo>
                    <a:pt x="42" y="82"/>
                    <a:pt x="43" y="82"/>
                    <a:pt x="43" y="82"/>
                  </a:cubicBezTo>
                  <a:cubicBezTo>
                    <a:pt x="44" y="82"/>
                    <a:pt x="45" y="80"/>
                    <a:pt x="44" y="78"/>
                  </a:cubicBezTo>
                  <a:cubicBezTo>
                    <a:pt x="44" y="76"/>
                    <a:pt x="44" y="74"/>
                    <a:pt x="43" y="74"/>
                  </a:cubicBezTo>
                  <a:cubicBezTo>
                    <a:pt x="43" y="74"/>
                    <a:pt x="43" y="74"/>
                    <a:pt x="42" y="75"/>
                  </a:cubicBezTo>
                  <a:cubicBezTo>
                    <a:pt x="43" y="73"/>
                    <a:pt x="42" y="73"/>
                    <a:pt x="40" y="71"/>
                  </a:cubicBezTo>
                  <a:cubicBezTo>
                    <a:pt x="41" y="70"/>
                    <a:pt x="44" y="68"/>
                    <a:pt x="43" y="68"/>
                  </a:cubicBezTo>
                  <a:cubicBezTo>
                    <a:pt x="42" y="65"/>
                    <a:pt x="42" y="65"/>
                    <a:pt x="44" y="63"/>
                  </a:cubicBezTo>
                  <a:cubicBezTo>
                    <a:pt x="46" y="61"/>
                    <a:pt x="39" y="58"/>
                    <a:pt x="38" y="57"/>
                  </a:cubicBezTo>
                  <a:cubicBezTo>
                    <a:pt x="38" y="57"/>
                    <a:pt x="38" y="57"/>
                    <a:pt x="38" y="57"/>
                  </a:cubicBezTo>
                  <a:cubicBezTo>
                    <a:pt x="40" y="57"/>
                    <a:pt x="41" y="57"/>
                    <a:pt x="42" y="58"/>
                  </a:cubicBezTo>
                  <a:cubicBezTo>
                    <a:pt x="42" y="57"/>
                    <a:pt x="42" y="57"/>
                    <a:pt x="42" y="56"/>
                  </a:cubicBezTo>
                  <a:cubicBezTo>
                    <a:pt x="43" y="55"/>
                    <a:pt x="43" y="55"/>
                    <a:pt x="43" y="55"/>
                  </a:cubicBezTo>
                  <a:cubicBezTo>
                    <a:pt x="45" y="54"/>
                    <a:pt x="45" y="54"/>
                    <a:pt x="45" y="54"/>
                  </a:cubicBezTo>
                  <a:cubicBezTo>
                    <a:pt x="45" y="55"/>
                    <a:pt x="45" y="55"/>
                    <a:pt x="45" y="55"/>
                  </a:cubicBezTo>
                  <a:cubicBezTo>
                    <a:pt x="47" y="55"/>
                    <a:pt x="47" y="55"/>
                    <a:pt x="47" y="55"/>
                  </a:cubicBezTo>
                  <a:cubicBezTo>
                    <a:pt x="47" y="56"/>
                    <a:pt x="46" y="58"/>
                    <a:pt x="45" y="59"/>
                  </a:cubicBezTo>
                  <a:cubicBezTo>
                    <a:pt x="47" y="60"/>
                    <a:pt x="46" y="63"/>
                    <a:pt x="46" y="65"/>
                  </a:cubicBezTo>
                  <a:cubicBezTo>
                    <a:pt x="46" y="68"/>
                    <a:pt x="48" y="68"/>
                    <a:pt x="51" y="68"/>
                  </a:cubicBezTo>
                  <a:cubicBezTo>
                    <a:pt x="52" y="69"/>
                    <a:pt x="55" y="70"/>
                    <a:pt x="58" y="70"/>
                  </a:cubicBezTo>
                  <a:cubicBezTo>
                    <a:pt x="60" y="70"/>
                    <a:pt x="61" y="69"/>
                    <a:pt x="62" y="68"/>
                  </a:cubicBezTo>
                  <a:cubicBezTo>
                    <a:pt x="61" y="67"/>
                    <a:pt x="61" y="67"/>
                    <a:pt x="61" y="67"/>
                  </a:cubicBezTo>
                  <a:cubicBezTo>
                    <a:pt x="59" y="67"/>
                    <a:pt x="59" y="67"/>
                    <a:pt x="59" y="67"/>
                  </a:cubicBezTo>
                  <a:cubicBezTo>
                    <a:pt x="58" y="66"/>
                    <a:pt x="57" y="65"/>
                    <a:pt x="56" y="63"/>
                  </a:cubicBezTo>
                  <a:cubicBezTo>
                    <a:pt x="56" y="62"/>
                    <a:pt x="56" y="61"/>
                    <a:pt x="56" y="60"/>
                  </a:cubicBezTo>
                  <a:cubicBezTo>
                    <a:pt x="56" y="60"/>
                    <a:pt x="55" y="58"/>
                    <a:pt x="55" y="58"/>
                  </a:cubicBezTo>
                  <a:cubicBezTo>
                    <a:pt x="55" y="58"/>
                    <a:pt x="55" y="58"/>
                    <a:pt x="55" y="58"/>
                  </a:cubicBezTo>
                  <a:cubicBezTo>
                    <a:pt x="55" y="57"/>
                    <a:pt x="55" y="57"/>
                    <a:pt x="54" y="56"/>
                  </a:cubicBezTo>
                  <a:cubicBezTo>
                    <a:pt x="54" y="56"/>
                    <a:pt x="54" y="56"/>
                    <a:pt x="54" y="56"/>
                  </a:cubicBezTo>
                  <a:cubicBezTo>
                    <a:pt x="54" y="55"/>
                    <a:pt x="54" y="55"/>
                    <a:pt x="54" y="55"/>
                  </a:cubicBezTo>
                  <a:cubicBezTo>
                    <a:pt x="53" y="54"/>
                    <a:pt x="53" y="54"/>
                    <a:pt x="53" y="54"/>
                  </a:cubicBezTo>
                  <a:cubicBezTo>
                    <a:pt x="53" y="52"/>
                    <a:pt x="54" y="51"/>
                    <a:pt x="54" y="50"/>
                  </a:cubicBezTo>
                  <a:cubicBezTo>
                    <a:pt x="54" y="49"/>
                    <a:pt x="54" y="49"/>
                    <a:pt x="54" y="49"/>
                  </a:cubicBezTo>
                  <a:cubicBezTo>
                    <a:pt x="54" y="46"/>
                    <a:pt x="54" y="46"/>
                    <a:pt x="54" y="46"/>
                  </a:cubicBezTo>
                  <a:cubicBezTo>
                    <a:pt x="56" y="47"/>
                    <a:pt x="56" y="47"/>
                    <a:pt x="56" y="47"/>
                  </a:cubicBezTo>
                  <a:cubicBezTo>
                    <a:pt x="63" y="40"/>
                    <a:pt x="63" y="40"/>
                    <a:pt x="63" y="40"/>
                  </a:cubicBezTo>
                  <a:cubicBezTo>
                    <a:pt x="62" y="40"/>
                    <a:pt x="62" y="40"/>
                    <a:pt x="62" y="40"/>
                  </a:cubicBezTo>
                  <a:cubicBezTo>
                    <a:pt x="63" y="40"/>
                    <a:pt x="63" y="40"/>
                    <a:pt x="63" y="40"/>
                  </a:cubicBezTo>
                  <a:cubicBezTo>
                    <a:pt x="63" y="40"/>
                    <a:pt x="63" y="40"/>
                    <a:pt x="63" y="40"/>
                  </a:cubicBezTo>
                  <a:cubicBezTo>
                    <a:pt x="64" y="40"/>
                    <a:pt x="64" y="40"/>
                    <a:pt x="64" y="40"/>
                  </a:cubicBezTo>
                  <a:cubicBezTo>
                    <a:pt x="65" y="39"/>
                    <a:pt x="65" y="39"/>
                    <a:pt x="66" y="39"/>
                  </a:cubicBezTo>
                  <a:cubicBezTo>
                    <a:pt x="67" y="39"/>
                    <a:pt x="67" y="39"/>
                    <a:pt x="67" y="39"/>
                  </a:cubicBezTo>
                  <a:cubicBezTo>
                    <a:pt x="68" y="38"/>
                    <a:pt x="68" y="37"/>
                    <a:pt x="69" y="37"/>
                  </a:cubicBezTo>
                  <a:cubicBezTo>
                    <a:pt x="67" y="33"/>
                    <a:pt x="67" y="33"/>
                    <a:pt x="67" y="33"/>
                  </a:cubicBezTo>
                  <a:cubicBezTo>
                    <a:pt x="70" y="36"/>
                    <a:pt x="70" y="36"/>
                    <a:pt x="70" y="36"/>
                  </a:cubicBezTo>
                  <a:cubicBezTo>
                    <a:pt x="71" y="35"/>
                    <a:pt x="71" y="35"/>
                    <a:pt x="71" y="35"/>
                  </a:cubicBezTo>
                  <a:cubicBezTo>
                    <a:pt x="71" y="35"/>
                    <a:pt x="72" y="34"/>
                    <a:pt x="72" y="34"/>
                  </a:cubicBezTo>
                  <a:cubicBezTo>
                    <a:pt x="73" y="34"/>
                    <a:pt x="73" y="34"/>
                    <a:pt x="73" y="34"/>
                  </a:cubicBezTo>
                  <a:cubicBezTo>
                    <a:pt x="73" y="33"/>
                    <a:pt x="73" y="33"/>
                    <a:pt x="73" y="33"/>
                  </a:cubicBezTo>
                  <a:cubicBezTo>
                    <a:pt x="73" y="33"/>
                    <a:pt x="73" y="31"/>
                    <a:pt x="73" y="31"/>
                  </a:cubicBezTo>
                  <a:cubicBezTo>
                    <a:pt x="74" y="29"/>
                    <a:pt x="74" y="29"/>
                    <a:pt x="74" y="29"/>
                  </a:cubicBezTo>
                  <a:cubicBezTo>
                    <a:pt x="77" y="26"/>
                    <a:pt x="77" y="26"/>
                    <a:pt x="77" y="26"/>
                  </a:cubicBezTo>
                  <a:cubicBezTo>
                    <a:pt x="76" y="26"/>
                    <a:pt x="76" y="26"/>
                    <a:pt x="75" y="26"/>
                  </a:cubicBezTo>
                  <a:cubicBezTo>
                    <a:pt x="75" y="25"/>
                    <a:pt x="75" y="25"/>
                    <a:pt x="75" y="25"/>
                  </a:cubicBezTo>
                  <a:cubicBezTo>
                    <a:pt x="74" y="25"/>
                    <a:pt x="74" y="25"/>
                    <a:pt x="73" y="25"/>
                  </a:cubicBezTo>
                  <a:cubicBezTo>
                    <a:pt x="73" y="24"/>
                    <a:pt x="72" y="24"/>
                    <a:pt x="71" y="24"/>
                  </a:cubicBezTo>
                  <a:cubicBezTo>
                    <a:pt x="71" y="24"/>
                    <a:pt x="70" y="24"/>
                    <a:pt x="70" y="24"/>
                  </a:cubicBezTo>
                  <a:cubicBezTo>
                    <a:pt x="69" y="25"/>
                    <a:pt x="69" y="25"/>
                    <a:pt x="69" y="25"/>
                  </a:cubicBezTo>
                  <a:cubicBezTo>
                    <a:pt x="68" y="25"/>
                    <a:pt x="67" y="25"/>
                    <a:pt x="66" y="25"/>
                  </a:cubicBezTo>
                  <a:cubicBezTo>
                    <a:pt x="66" y="25"/>
                    <a:pt x="66" y="25"/>
                    <a:pt x="65" y="25"/>
                  </a:cubicBezTo>
                  <a:cubicBezTo>
                    <a:pt x="62" y="25"/>
                    <a:pt x="59" y="24"/>
                    <a:pt x="56" y="24"/>
                  </a:cubicBezTo>
                  <a:cubicBezTo>
                    <a:pt x="55" y="24"/>
                    <a:pt x="55" y="24"/>
                    <a:pt x="55" y="24"/>
                  </a:cubicBezTo>
                  <a:cubicBezTo>
                    <a:pt x="54" y="24"/>
                    <a:pt x="54" y="24"/>
                    <a:pt x="54" y="24"/>
                  </a:cubicBezTo>
                  <a:cubicBezTo>
                    <a:pt x="53" y="24"/>
                    <a:pt x="52" y="24"/>
                    <a:pt x="51" y="24"/>
                  </a:cubicBezTo>
                  <a:cubicBezTo>
                    <a:pt x="50" y="24"/>
                    <a:pt x="50" y="24"/>
                    <a:pt x="50" y="24"/>
                  </a:cubicBezTo>
                  <a:cubicBezTo>
                    <a:pt x="50" y="24"/>
                    <a:pt x="49" y="24"/>
                    <a:pt x="49" y="24"/>
                  </a:cubicBezTo>
                  <a:cubicBezTo>
                    <a:pt x="48" y="24"/>
                    <a:pt x="48" y="24"/>
                    <a:pt x="47" y="24"/>
                  </a:cubicBezTo>
                  <a:cubicBezTo>
                    <a:pt x="47" y="24"/>
                    <a:pt x="47" y="24"/>
                    <a:pt x="46" y="24"/>
                  </a:cubicBezTo>
                  <a:cubicBezTo>
                    <a:pt x="46" y="24"/>
                    <a:pt x="46" y="24"/>
                    <a:pt x="46" y="24"/>
                  </a:cubicBezTo>
                  <a:cubicBezTo>
                    <a:pt x="46" y="24"/>
                    <a:pt x="45" y="24"/>
                    <a:pt x="45" y="25"/>
                  </a:cubicBezTo>
                  <a:cubicBezTo>
                    <a:pt x="44" y="25"/>
                    <a:pt x="44" y="25"/>
                    <a:pt x="44" y="25"/>
                  </a:cubicBezTo>
                  <a:cubicBezTo>
                    <a:pt x="44" y="25"/>
                    <a:pt x="43" y="25"/>
                    <a:pt x="42" y="25"/>
                  </a:cubicBezTo>
                  <a:cubicBezTo>
                    <a:pt x="42" y="25"/>
                    <a:pt x="42" y="25"/>
                    <a:pt x="41" y="25"/>
                  </a:cubicBezTo>
                  <a:cubicBezTo>
                    <a:pt x="41" y="25"/>
                    <a:pt x="41" y="25"/>
                    <a:pt x="41" y="25"/>
                  </a:cubicBezTo>
                  <a:cubicBezTo>
                    <a:pt x="40" y="25"/>
                    <a:pt x="40" y="24"/>
                    <a:pt x="39" y="24"/>
                  </a:cubicBezTo>
                  <a:cubicBezTo>
                    <a:pt x="38" y="24"/>
                    <a:pt x="38" y="24"/>
                    <a:pt x="38" y="24"/>
                  </a:cubicBezTo>
                  <a:cubicBezTo>
                    <a:pt x="38" y="24"/>
                    <a:pt x="38" y="24"/>
                    <a:pt x="37" y="24"/>
                  </a:cubicBezTo>
                  <a:cubicBezTo>
                    <a:pt x="35" y="23"/>
                    <a:pt x="34" y="23"/>
                    <a:pt x="33" y="22"/>
                  </a:cubicBezTo>
                  <a:cubicBezTo>
                    <a:pt x="33" y="22"/>
                    <a:pt x="33" y="22"/>
                    <a:pt x="33" y="22"/>
                  </a:cubicBezTo>
                  <a:cubicBezTo>
                    <a:pt x="32" y="22"/>
                    <a:pt x="32" y="22"/>
                    <a:pt x="32" y="22"/>
                  </a:cubicBezTo>
                  <a:cubicBezTo>
                    <a:pt x="31" y="22"/>
                    <a:pt x="31" y="22"/>
                    <a:pt x="30" y="21"/>
                  </a:cubicBezTo>
                  <a:cubicBezTo>
                    <a:pt x="29" y="21"/>
                    <a:pt x="28" y="21"/>
                    <a:pt x="28" y="19"/>
                  </a:cubicBezTo>
                  <a:cubicBezTo>
                    <a:pt x="25" y="19"/>
                    <a:pt x="25" y="19"/>
                    <a:pt x="25" y="19"/>
                  </a:cubicBezTo>
                  <a:cubicBezTo>
                    <a:pt x="28" y="18"/>
                    <a:pt x="28" y="18"/>
                    <a:pt x="28" y="18"/>
                  </a:cubicBezTo>
                  <a:cubicBezTo>
                    <a:pt x="28" y="17"/>
                    <a:pt x="28" y="17"/>
                    <a:pt x="28" y="17"/>
                  </a:cubicBezTo>
                  <a:cubicBezTo>
                    <a:pt x="28" y="16"/>
                    <a:pt x="28" y="14"/>
                    <a:pt x="28" y="13"/>
                  </a:cubicBezTo>
                  <a:cubicBezTo>
                    <a:pt x="27" y="12"/>
                    <a:pt x="27" y="12"/>
                    <a:pt x="27" y="12"/>
                  </a:cubicBezTo>
                  <a:cubicBezTo>
                    <a:pt x="27" y="11"/>
                    <a:pt x="27" y="11"/>
                    <a:pt x="27" y="10"/>
                  </a:cubicBezTo>
                  <a:cubicBezTo>
                    <a:pt x="27" y="8"/>
                    <a:pt x="27" y="7"/>
                    <a:pt x="27" y="6"/>
                  </a:cubicBezTo>
                  <a:cubicBezTo>
                    <a:pt x="26" y="7"/>
                    <a:pt x="24" y="8"/>
                    <a:pt x="22" y="8"/>
                  </a:cubicBezTo>
                  <a:cubicBezTo>
                    <a:pt x="21" y="8"/>
                    <a:pt x="20" y="7"/>
                    <a:pt x="19" y="7"/>
                  </a:cubicBezTo>
                  <a:cubicBezTo>
                    <a:pt x="19" y="6"/>
                    <a:pt x="19" y="6"/>
                    <a:pt x="19" y="6"/>
                  </a:cubicBezTo>
                  <a:cubicBezTo>
                    <a:pt x="17" y="6"/>
                    <a:pt x="16" y="4"/>
                    <a:pt x="16" y="3"/>
                  </a:cubicBezTo>
                  <a:cubicBezTo>
                    <a:pt x="15" y="3"/>
                    <a:pt x="15" y="3"/>
                    <a:pt x="15" y="3"/>
                  </a:cubicBezTo>
                  <a:cubicBezTo>
                    <a:pt x="13" y="3"/>
                    <a:pt x="12" y="2"/>
                    <a:pt x="10" y="2"/>
                  </a:cubicBezTo>
                  <a:cubicBezTo>
                    <a:pt x="10" y="1"/>
                    <a:pt x="10" y="1"/>
                    <a:pt x="10" y="1"/>
                  </a:cubicBezTo>
                  <a:cubicBezTo>
                    <a:pt x="10" y="1"/>
                    <a:pt x="9" y="1"/>
                    <a:pt x="9" y="1"/>
                  </a:cubicBezTo>
                  <a:cubicBezTo>
                    <a:pt x="8" y="1"/>
                    <a:pt x="7" y="1"/>
                    <a:pt x="7"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 name="Freeform 431">
              <a:extLst>
                <a:ext uri="{FF2B5EF4-FFF2-40B4-BE49-F238E27FC236}">
                  <a16:creationId xmlns:a16="http://schemas.microsoft.com/office/drawing/2014/main" id="{984D3483-3E9B-403F-824A-A39C5D23DFB6}"/>
                </a:ext>
              </a:extLst>
            </p:cNvPr>
            <p:cNvSpPr>
              <a:spLocks/>
            </p:cNvSpPr>
            <p:nvPr/>
          </p:nvSpPr>
          <p:spPr bwMode="auto">
            <a:xfrm>
              <a:off x="4118101" y="5446748"/>
              <a:ext cx="0" cy="2751"/>
            </a:xfrm>
            <a:custGeom>
              <a:avLst/>
              <a:gdLst>
                <a:gd name="T0" fmla="*/ 0 h 2"/>
                <a:gd name="T1" fmla="*/ 0 h 2"/>
                <a:gd name="T2" fmla="*/ 0 h 2"/>
                <a:gd name="T3" fmla="*/ 2 h 2"/>
                <a:gd name="T4" fmla="*/ 2 h 2"/>
                <a:gd name="T5" fmla="*/ 2 h 2"/>
                <a:gd name="T6" fmla="*/ 2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Freeform 432">
              <a:extLst>
                <a:ext uri="{FF2B5EF4-FFF2-40B4-BE49-F238E27FC236}">
                  <a16:creationId xmlns:a16="http://schemas.microsoft.com/office/drawing/2014/main" id="{80F6FF43-0743-4081-ACF2-13ACD2B99814}"/>
                </a:ext>
              </a:extLst>
            </p:cNvPr>
            <p:cNvSpPr>
              <a:spLocks/>
            </p:cNvSpPr>
            <p:nvPr/>
          </p:nvSpPr>
          <p:spPr bwMode="auto">
            <a:xfrm>
              <a:off x="4118101" y="5446748"/>
              <a:ext cx="0" cy="2751"/>
            </a:xfrm>
            <a:custGeom>
              <a:avLst/>
              <a:gdLst>
                <a:gd name="T0" fmla="*/ 0 h 2"/>
                <a:gd name="T1" fmla="*/ 0 h 2"/>
                <a:gd name="T2" fmla="*/ 0 h 2"/>
                <a:gd name="T3" fmla="*/ 2 h 2"/>
                <a:gd name="T4" fmla="*/ 2 h 2"/>
                <a:gd name="T5" fmla="*/ 2 h 2"/>
                <a:gd name="T6" fmla="*/ 2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 name="Freeform 433">
              <a:extLst>
                <a:ext uri="{FF2B5EF4-FFF2-40B4-BE49-F238E27FC236}">
                  <a16:creationId xmlns:a16="http://schemas.microsoft.com/office/drawing/2014/main" id="{C9BD4EE2-97AE-4514-9030-219997031B03}"/>
                </a:ext>
              </a:extLst>
            </p:cNvPr>
            <p:cNvSpPr>
              <a:spLocks/>
            </p:cNvSpPr>
            <p:nvPr/>
          </p:nvSpPr>
          <p:spPr bwMode="auto">
            <a:xfrm>
              <a:off x="4120852" y="5453626"/>
              <a:ext cx="13755" cy="19256"/>
            </a:xfrm>
            <a:custGeom>
              <a:avLst/>
              <a:gdLst>
                <a:gd name="T0" fmla="*/ 2 w 4"/>
                <a:gd name="T1" fmla="*/ 0 h 6"/>
                <a:gd name="T2" fmla="*/ 0 w 4"/>
                <a:gd name="T3" fmla="*/ 1 h 6"/>
                <a:gd name="T4" fmla="*/ 4 w 4"/>
                <a:gd name="T5" fmla="*/ 6 h 6"/>
                <a:gd name="T6" fmla="*/ 3 w 4"/>
                <a:gd name="T7" fmla="*/ 3 h 6"/>
                <a:gd name="T8" fmla="*/ 2 w 4"/>
                <a:gd name="T9" fmla="*/ 2 h 6"/>
                <a:gd name="T10" fmla="*/ 2 w 4"/>
                <a:gd name="T11" fmla="*/ 2 h 6"/>
                <a:gd name="T12" fmla="*/ 2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0" y="1"/>
                    <a:pt x="0" y="1"/>
                    <a:pt x="0" y="1"/>
                  </a:cubicBezTo>
                  <a:cubicBezTo>
                    <a:pt x="1" y="3"/>
                    <a:pt x="3" y="4"/>
                    <a:pt x="4" y="6"/>
                  </a:cubicBezTo>
                  <a:cubicBezTo>
                    <a:pt x="4" y="5"/>
                    <a:pt x="3" y="4"/>
                    <a:pt x="3" y="3"/>
                  </a:cubicBezTo>
                  <a:cubicBezTo>
                    <a:pt x="3" y="3"/>
                    <a:pt x="3" y="2"/>
                    <a:pt x="2" y="2"/>
                  </a:cubicBezTo>
                  <a:cubicBezTo>
                    <a:pt x="2" y="2"/>
                    <a:pt x="2" y="2"/>
                    <a:pt x="2" y="2"/>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 name="Freeform 434">
              <a:extLst>
                <a:ext uri="{FF2B5EF4-FFF2-40B4-BE49-F238E27FC236}">
                  <a16:creationId xmlns:a16="http://schemas.microsoft.com/office/drawing/2014/main" id="{26B7F4AF-83E4-48E0-A907-874628BFC316}"/>
                </a:ext>
              </a:extLst>
            </p:cNvPr>
            <p:cNvSpPr>
              <a:spLocks/>
            </p:cNvSpPr>
            <p:nvPr/>
          </p:nvSpPr>
          <p:spPr bwMode="auto">
            <a:xfrm>
              <a:off x="4130481" y="4968091"/>
              <a:ext cx="526798" cy="1174635"/>
            </a:xfrm>
            <a:custGeom>
              <a:avLst/>
              <a:gdLst>
                <a:gd name="T0" fmla="*/ 95 w 162"/>
                <a:gd name="T1" fmla="*/ 13 h 361"/>
                <a:gd name="T2" fmla="*/ 75 w 162"/>
                <a:gd name="T3" fmla="*/ 27 h 361"/>
                <a:gd name="T4" fmla="*/ 57 w 162"/>
                <a:gd name="T5" fmla="*/ 49 h 361"/>
                <a:gd name="T6" fmla="*/ 40 w 162"/>
                <a:gd name="T7" fmla="*/ 88 h 361"/>
                <a:gd name="T8" fmla="*/ 20 w 162"/>
                <a:gd name="T9" fmla="*/ 111 h 361"/>
                <a:gd name="T10" fmla="*/ 9 w 162"/>
                <a:gd name="T11" fmla="*/ 134 h 361"/>
                <a:gd name="T12" fmla="*/ 1 w 162"/>
                <a:gd name="T13" fmla="*/ 146 h 361"/>
                <a:gd name="T14" fmla="*/ 2 w 162"/>
                <a:gd name="T15" fmla="*/ 153 h 361"/>
                <a:gd name="T16" fmla="*/ 10 w 162"/>
                <a:gd name="T17" fmla="*/ 164 h 361"/>
                <a:gd name="T18" fmla="*/ 13 w 162"/>
                <a:gd name="T19" fmla="*/ 168 h 361"/>
                <a:gd name="T20" fmla="*/ 27 w 162"/>
                <a:gd name="T21" fmla="*/ 172 h 361"/>
                <a:gd name="T22" fmla="*/ 32 w 162"/>
                <a:gd name="T23" fmla="*/ 182 h 361"/>
                <a:gd name="T24" fmla="*/ 26 w 162"/>
                <a:gd name="T25" fmla="*/ 188 h 361"/>
                <a:gd name="T26" fmla="*/ 33 w 162"/>
                <a:gd name="T27" fmla="*/ 182 h 361"/>
                <a:gd name="T28" fmla="*/ 42 w 162"/>
                <a:gd name="T29" fmla="*/ 210 h 361"/>
                <a:gd name="T30" fmla="*/ 43 w 162"/>
                <a:gd name="T31" fmla="*/ 245 h 361"/>
                <a:gd name="T32" fmla="*/ 45 w 162"/>
                <a:gd name="T33" fmla="*/ 249 h 361"/>
                <a:gd name="T34" fmla="*/ 49 w 162"/>
                <a:gd name="T35" fmla="*/ 246 h 361"/>
                <a:gd name="T36" fmla="*/ 55 w 162"/>
                <a:gd name="T37" fmla="*/ 247 h 361"/>
                <a:gd name="T38" fmla="*/ 65 w 162"/>
                <a:gd name="T39" fmla="*/ 245 h 361"/>
                <a:gd name="T40" fmla="*/ 76 w 162"/>
                <a:gd name="T41" fmla="*/ 238 h 361"/>
                <a:gd name="T42" fmla="*/ 88 w 162"/>
                <a:gd name="T43" fmla="*/ 222 h 361"/>
                <a:gd name="T44" fmla="*/ 102 w 162"/>
                <a:gd name="T45" fmla="*/ 237 h 361"/>
                <a:gd name="T46" fmla="*/ 104 w 162"/>
                <a:gd name="T47" fmla="*/ 257 h 361"/>
                <a:gd name="T48" fmla="*/ 109 w 162"/>
                <a:gd name="T49" fmla="*/ 275 h 361"/>
                <a:gd name="T50" fmla="*/ 112 w 162"/>
                <a:gd name="T51" fmla="*/ 287 h 361"/>
                <a:gd name="T52" fmla="*/ 120 w 162"/>
                <a:gd name="T53" fmla="*/ 319 h 361"/>
                <a:gd name="T54" fmla="*/ 117 w 162"/>
                <a:gd name="T55" fmla="*/ 325 h 361"/>
                <a:gd name="T56" fmla="*/ 122 w 162"/>
                <a:gd name="T57" fmla="*/ 332 h 361"/>
                <a:gd name="T58" fmla="*/ 118 w 162"/>
                <a:gd name="T59" fmla="*/ 354 h 361"/>
                <a:gd name="T60" fmla="*/ 137 w 162"/>
                <a:gd name="T61" fmla="*/ 330 h 361"/>
                <a:gd name="T62" fmla="*/ 131 w 162"/>
                <a:gd name="T63" fmla="*/ 312 h 361"/>
                <a:gd name="T64" fmla="*/ 129 w 162"/>
                <a:gd name="T65" fmla="*/ 298 h 361"/>
                <a:gd name="T66" fmla="*/ 122 w 162"/>
                <a:gd name="T67" fmla="*/ 285 h 361"/>
                <a:gd name="T68" fmla="*/ 118 w 162"/>
                <a:gd name="T69" fmla="*/ 259 h 361"/>
                <a:gd name="T70" fmla="*/ 118 w 162"/>
                <a:gd name="T71" fmla="*/ 235 h 361"/>
                <a:gd name="T72" fmla="*/ 112 w 162"/>
                <a:gd name="T73" fmla="*/ 227 h 361"/>
                <a:gd name="T74" fmla="*/ 100 w 162"/>
                <a:gd name="T75" fmla="*/ 206 h 361"/>
                <a:gd name="T76" fmla="*/ 102 w 162"/>
                <a:gd name="T77" fmla="*/ 196 h 361"/>
                <a:gd name="T78" fmla="*/ 110 w 162"/>
                <a:gd name="T79" fmla="*/ 171 h 361"/>
                <a:gd name="T80" fmla="*/ 121 w 162"/>
                <a:gd name="T81" fmla="*/ 173 h 361"/>
                <a:gd name="T82" fmla="*/ 126 w 162"/>
                <a:gd name="T83" fmla="*/ 171 h 361"/>
                <a:gd name="T84" fmla="*/ 139 w 162"/>
                <a:gd name="T85" fmla="*/ 160 h 361"/>
                <a:gd name="T86" fmla="*/ 148 w 162"/>
                <a:gd name="T87" fmla="*/ 158 h 361"/>
                <a:gd name="T88" fmla="*/ 160 w 162"/>
                <a:gd name="T89" fmla="*/ 141 h 361"/>
                <a:gd name="T90" fmla="*/ 146 w 162"/>
                <a:gd name="T91" fmla="*/ 138 h 361"/>
                <a:gd name="T92" fmla="*/ 128 w 162"/>
                <a:gd name="T93" fmla="*/ 129 h 361"/>
                <a:gd name="T94" fmla="*/ 133 w 162"/>
                <a:gd name="T95" fmla="*/ 114 h 361"/>
                <a:gd name="T96" fmla="*/ 134 w 162"/>
                <a:gd name="T97" fmla="*/ 110 h 361"/>
                <a:gd name="T98" fmla="*/ 121 w 162"/>
                <a:gd name="T99" fmla="*/ 98 h 361"/>
                <a:gd name="T100" fmla="*/ 120 w 162"/>
                <a:gd name="T101" fmla="*/ 91 h 361"/>
                <a:gd name="T102" fmla="*/ 112 w 162"/>
                <a:gd name="T103" fmla="*/ 90 h 361"/>
                <a:gd name="T104" fmla="*/ 99 w 162"/>
                <a:gd name="T105" fmla="*/ 89 h 361"/>
                <a:gd name="T106" fmla="*/ 98 w 162"/>
                <a:gd name="T107" fmla="*/ 78 h 361"/>
                <a:gd name="T108" fmla="*/ 103 w 162"/>
                <a:gd name="T109" fmla="*/ 67 h 361"/>
                <a:gd name="T110" fmla="*/ 109 w 162"/>
                <a:gd name="T111" fmla="*/ 60 h 361"/>
                <a:gd name="T112" fmla="*/ 117 w 162"/>
                <a:gd name="T113" fmla="*/ 53 h 361"/>
                <a:gd name="T114" fmla="*/ 119 w 162"/>
                <a:gd name="T115" fmla="*/ 45 h 361"/>
                <a:gd name="T116" fmla="*/ 120 w 162"/>
                <a:gd name="T117" fmla="*/ 19 h 361"/>
                <a:gd name="T118" fmla="*/ 108 w 162"/>
                <a:gd name="T119" fmla="*/ 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2" h="361">
                  <a:moveTo>
                    <a:pt x="102" y="0"/>
                  </a:moveTo>
                  <a:cubicBezTo>
                    <a:pt x="101" y="1"/>
                    <a:pt x="100" y="2"/>
                    <a:pt x="99" y="3"/>
                  </a:cubicBezTo>
                  <a:cubicBezTo>
                    <a:pt x="99" y="4"/>
                    <a:pt x="99" y="4"/>
                    <a:pt x="99" y="4"/>
                  </a:cubicBezTo>
                  <a:cubicBezTo>
                    <a:pt x="99" y="4"/>
                    <a:pt x="99" y="4"/>
                    <a:pt x="99" y="4"/>
                  </a:cubicBezTo>
                  <a:cubicBezTo>
                    <a:pt x="99" y="5"/>
                    <a:pt x="99" y="5"/>
                    <a:pt x="99" y="5"/>
                  </a:cubicBezTo>
                  <a:cubicBezTo>
                    <a:pt x="99" y="7"/>
                    <a:pt x="99" y="7"/>
                    <a:pt x="99" y="7"/>
                  </a:cubicBezTo>
                  <a:cubicBezTo>
                    <a:pt x="100" y="10"/>
                    <a:pt x="97" y="12"/>
                    <a:pt x="95" y="13"/>
                  </a:cubicBezTo>
                  <a:cubicBezTo>
                    <a:pt x="95" y="13"/>
                    <a:pt x="95" y="13"/>
                    <a:pt x="95" y="13"/>
                  </a:cubicBezTo>
                  <a:cubicBezTo>
                    <a:pt x="94" y="14"/>
                    <a:pt x="93" y="14"/>
                    <a:pt x="93" y="15"/>
                  </a:cubicBezTo>
                  <a:cubicBezTo>
                    <a:pt x="91" y="16"/>
                    <a:pt x="90" y="17"/>
                    <a:pt x="90" y="17"/>
                  </a:cubicBezTo>
                  <a:cubicBezTo>
                    <a:pt x="91" y="18"/>
                    <a:pt x="92" y="19"/>
                    <a:pt x="92" y="19"/>
                  </a:cubicBezTo>
                  <a:cubicBezTo>
                    <a:pt x="92" y="21"/>
                    <a:pt x="92" y="21"/>
                    <a:pt x="92" y="21"/>
                  </a:cubicBezTo>
                  <a:cubicBezTo>
                    <a:pt x="86" y="30"/>
                    <a:pt x="86" y="30"/>
                    <a:pt x="86" y="30"/>
                  </a:cubicBezTo>
                  <a:cubicBezTo>
                    <a:pt x="85" y="24"/>
                    <a:pt x="85" y="24"/>
                    <a:pt x="85" y="24"/>
                  </a:cubicBezTo>
                  <a:cubicBezTo>
                    <a:pt x="84" y="24"/>
                    <a:pt x="84" y="24"/>
                    <a:pt x="83" y="24"/>
                  </a:cubicBezTo>
                  <a:cubicBezTo>
                    <a:pt x="81" y="24"/>
                    <a:pt x="78" y="25"/>
                    <a:pt x="75" y="27"/>
                  </a:cubicBezTo>
                  <a:cubicBezTo>
                    <a:pt x="73" y="28"/>
                    <a:pt x="71" y="29"/>
                    <a:pt x="70" y="30"/>
                  </a:cubicBezTo>
                  <a:cubicBezTo>
                    <a:pt x="68" y="31"/>
                    <a:pt x="66" y="32"/>
                    <a:pt x="65" y="33"/>
                  </a:cubicBezTo>
                  <a:cubicBezTo>
                    <a:pt x="63" y="35"/>
                    <a:pt x="62" y="36"/>
                    <a:pt x="60" y="37"/>
                  </a:cubicBezTo>
                  <a:cubicBezTo>
                    <a:pt x="59" y="37"/>
                    <a:pt x="59" y="37"/>
                    <a:pt x="59" y="37"/>
                  </a:cubicBezTo>
                  <a:cubicBezTo>
                    <a:pt x="56" y="38"/>
                    <a:pt x="56" y="39"/>
                    <a:pt x="56" y="40"/>
                  </a:cubicBezTo>
                  <a:cubicBezTo>
                    <a:pt x="56" y="40"/>
                    <a:pt x="56" y="41"/>
                    <a:pt x="56" y="42"/>
                  </a:cubicBezTo>
                  <a:cubicBezTo>
                    <a:pt x="56" y="43"/>
                    <a:pt x="56" y="43"/>
                    <a:pt x="56" y="43"/>
                  </a:cubicBezTo>
                  <a:cubicBezTo>
                    <a:pt x="57" y="45"/>
                    <a:pt x="57" y="47"/>
                    <a:pt x="57" y="49"/>
                  </a:cubicBezTo>
                  <a:cubicBezTo>
                    <a:pt x="57" y="50"/>
                    <a:pt x="57" y="50"/>
                    <a:pt x="56" y="51"/>
                  </a:cubicBezTo>
                  <a:cubicBezTo>
                    <a:pt x="56" y="51"/>
                    <a:pt x="56" y="51"/>
                    <a:pt x="56" y="51"/>
                  </a:cubicBezTo>
                  <a:cubicBezTo>
                    <a:pt x="55" y="52"/>
                    <a:pt x="55" y="53"/>
                    <a:pt x="55" y="53"/>
                  </a:cubicBezTo>
                  <a:cubicBezTo>
                    <a:pt x="55" y="55"/>
                    <a:pt x="54" y="57"/>
                    <a:pt x="51" y="59"/>
                  </a:cubicBezTo>
                  <a:cubicBezTo>
                    <a:pt x="47" y="62"/>
                    <a:pt x="47" y="62"/>
                    <a:pt x="48" y="63"/>
                  </a:cubicBezTo>
                  <a:cubicBezTo>
                    <a:pt x="49" y="68"/>
                    <a:pt x="48" y="73"/>
                    <a:pt x="44" y="80"/>
                  </a:cubicBezTo>
                  <a:cubicBezTo>
                    <a:pt x="41" y="83"/>
                    <a:pt x="40" y="88"/>
                    <a:pt x="40" y="88"/>
                  </a:cubicBezTo>
                  <a:cubicBezTo>
                    <a:pt x="40" y="88"/>
                    <a:pt x="40" y="88"/>
                    <a:pt x="40" y="88"/>
                  </a:cubicBezTo>
                  <a:cubicBezTo>
                    <a:pt x="39" y="89"/>
                    <a:pt x="39" y="89"/>
                    <a:pt x="39" y="89"/>
                  </a:cubicBezTo>
                  <a:cubicBezTo>
                    <a:pt x="39" y="89"/>
                    <a:pt x="38" y="91"/>
                    <a:pt x="35" y="94"/>
                  </a:cubicBezTo>
                  <a:cubicBezTo>
                    <a:pt x="34" y="95"/>
                    <a:pt x="34" y="95"/>
                    <a:pt x="34" y="95"/>
                  </a:cubicBezTo>
                  <a:cubicBezTo>
                    <a:pt x="32" y="94"/>
                    <a:pt x="32" y="94"/>
                    <a:pt x="32" y="94"/>
                  </a:cubicBezTo>
                  <a:cubicBezTo>
                    <a:pt x="29" y="93"/>
                    <a:pt x="25" y="92"/>
                    <a:pt x="23" y="92"/>
                  </a:cubicBezTo>
                  <a:cubicBezTo>
                    <a:pt x="23" y="93"/>
                    <a:pt x="23" y="93"/>
                    <a:pt x="23" y="93"/>
                  </a:cubicBezTo>
                  <a:cubicBezTo>
                    <a:pt x="25" y="96"/>
                    <a:pt x="24" y="103"/>
                    <a:pt x="23" y="108"/>
                  </a:cubicBezTo>
                  <a:cubicBezTo>
                    <a:pt x="22" y="110"/>
                    <a:pt x="21" y="111"/>
                    <a:pt x="20" y="111"/>
                  </a:cubicBezTo>
                  <a:cubicBezTo>
                    <a:pt x="20" y="111"/>
                    <a:pt x="19" y="111"/>
                    <a:pt x="19" y="111"/>
                  </a:cubicBezTo>
                  <a:cubicBezTo>
                    <a:pt x="19" y="111"/>
                    <a:pt x="18" y="111"/>
                    <a:pt x="18" y="111"/>
                  </a:cubicBezTo>
                  <a:cubicBezTo>
                    <a:pt x="18" y="114"/>
                    <a:pt x="18" y="114"/>
                    <a:pt x="18" y="114"/>
                  </a:cubicBezTo>
                  <a:cubicBezTo>
                    <a:pt x="18" y="118"/>
                    <a:pt x="18" y="118"/>
                    <a:pt x="18" y="118"/>
                  </a:cubicBezTo>
                  <a:cubicBezTo>
                    <a:pt x="19" y="127"/>
                    <a:pt x="19" y="127"/>
                    <a:pt x="19" y="127"/>
                  </a:cubicBezTo>
                  <a:cubicBezTo>
                    <a:pt x="14" y="132"/>
                    <a:pt x="14" y="132"/>
                    <a:pt x="14" y="132"/>
                  </a:cubicBezTo>
                  <a:cubicBezTo>
                    <a:pt x="12" y="131"/>
                    <a:pt x="12" y="131"/>
                    <a:pt x="12" y="131"/>
                  </a:cubicBezTo>
                  <a:cubicBezTo>
                    <a:pt x="9" y="134"/>
                    <a:pt x="9" y="134"/>
                    <a:pt x="9" y="134"/>
                  </a:cubicBezTo>
                  <a:cubicBezTo>
                    <a:pt x="9" y="140"/>
                    <a:pt x="9" y="140"/>
                    <a:pt x="9" y="140"/>
                  </a:cubicBezTo>
                  <a:cubicBezTo>
                    <a:pt x="10" y="141"/>
                    <a:pt x="10" y="142"/>
                    <a:pt x="10" y="143"/>
                  </a:cubicBezTo>
                  <a:cubicBezTo>
                    <a:pt x="10" y="143"/>
                    <a:pt x="9" y="144"/>
                    <a:pt x="10" y="144"/>
                  </a:cubicBezTo>
                  <a:cubicBezTo>
                    <a:pt x="10" y="149"/>
                    <a:pt x="10" y="149"/>
                    <a:pt x="10" y="149"/>
                  </a:cubicBezTo>
                  <a:cubicBezTo>
                    <a:pt x="6" y="146"/>
                    <a:pt x="6" y="146"/>
                    <a:pt x="6" y="146"/>
                  </a:cubicBezTo>
                  <a:cubicBezTo>
                    <a:pt x="5" y="145"/>
                    <a:pt x="5" y="145"/>
                    <a:pt x="4" y="145"/>
                  </a:cubicBezTo>
                  <a:cubicBezTo>
                    <a:pt x="3" y="145"/>
                    <a:pt x="3" y="145"/>
                    <a:pt x="2" y="144"/>
                  </a:cubicBezTo>
                  <a:cubicBezTo>
                    <a:pt x="2" y="145"/>
                    <a:pt x="1" y="146"/>
                    <a:pt x="1" y="146"/>
                  </a:cubicBezTo>
                  <a:cubicBezTo>
                    <a:pt x="1" y="146"/>
                    <a:pt x="1" y="146"/>
                    <a:pt x="1" y="146"/>
                  </a:cubicBezTo>
                  <a:cubicBezTo>
                    <a:pt x="1" y="147"/>
                    <a:pt x="1" y="147"/>
                    <a:pt x="1" y="147"/>
                  </a:cubicBezTo>
                  <a:cubicBezTo>
                    <a:pt x="2" y="148"/>
                    <a:pt x="2" y="148"/>
                    <a:pt x="2" y="148"/>
                  </a:cubicBezTo>
                  <a:cubicBezTo>
                    <a:pt x="1" y="148"/>
                    <a:pt x="1" y="148"/>
                    <a:pt x="1" y="148"/>
                  </a:cubicBezTo>
                  <a:cubicBezTo>
                    <a:pt x="2" y="149"/>
                    <a:pt x="2" y="149"/>
                    <a:pt x="2" y="149"/>
                  </a:cubicBezTo>
                  <a:cubicBezTo>
                    <a:pt x="0" y="150"/>
                    <a:pt x="0" y="150"/>
                    <a:pt x="0" y="150"/>
                  </a:cubicBezTo>
                  <a:cubicBezTo>
                    <a:pt x="1" y="151"/>
                    <a:pt x="1" y="152"/>
                    <a:pt x="2" y="153"/>
                  </a:cubicBezTo>
                  <a:cubicBezTo>
                    <a:pt x="2" y="153"/>
                    <a:pt x="2" y="153"/>
                    <a:pt x="2" y="153"/>
                  </a:cubicBezTo>
                  <a:cubicBezTo>
                    <a:pt x="3" y="154"/>
                    <a:pt x="3" y="156"/>
                    <a:pt x="4" y="158"/>
                  </a:cubicBezTo>
                  <a:cubicBezTo>
                    <a:pt x="5" y="159"/>
                    <a:pt x="6" y="161"/>
                    <a:pt x="7" y="162"/>
                  </a:cubicBezTo>
                  <a:cubicBezTo>
                    <a:pt x="7" y="163"/>
                    <a:pt x="8" y="164"/>
                    <a:pt x="9" y="164"/>
                  </a:cubicBezTo>
                  <a:cubicBezTo>
                    <a:pt x="8" y="163"/>
                    <a:pt x="8" y="162"/>
                    <a:pt x="8" y="161"/>
                  </a:cubicBezTo>
                  <a:cubicBezTo>
                    <a:pt x="8" y="160"/>
                    <a:pt x="8" y="158"/>
                    <a:pt x="8" y="157"/>
                  </a:cubicBezTo>
                  <a:cubicBezTo>
                    <a:pt x="8" y="158"/>
                    <a:pt x="9" y="159"/>
                    <a:pt x="9" y="160"/>
                  </a:cubicBezTo>
                  <a:cubicBezTo>
                    <a:pt x="10" y="161"/>
                    <a:pt x="10" y="162"/>
                    <a:pt x="11" y="163"/>
                  </a:cubicBezTo>
                  <a:cubicBezTo>
                    <a:pt x="11" y="163"/>
                    <a:pt x="10" y="164"/>
                    <a:pt x="10" y="164"/>
                  </a:cubicBezTo>
                  <a:cubicBezTo>
                    <a:pt x="10" y="165"/>
                    <a:pt x="11" y="165"/>
                    <a:pt x="11" y="166"/>
                  </a:cubicBezTo>
                  <a:cubicBezTo>
                    <a:pt x="12" y="166"/>
                    <a:pt x="12" y="166"/>
                    <a:pt x="12" y="166"/>
                  </a:cubicBezTo>
                  <a:cubicBezTo>
                    <a:pt x="12" y="165"/>
                    <a:pt x="12" y="165"/>
                    <a:pt x="13" y="164"/>
                  </a:cubicBezTo>
                  <a:cubicBezTo>
                    <a:pt x="13" y="163"/>
                    <a:pt x="14" y="161"/>
                    <a:pt x="14" y="160"/>
                  </a:cubicBezTo>
                  <a:cubicBezTo>
                    <a:pt x="15" y="161"/>
                    <a:pt x="15" y="161"/>
                    <a:pt x="14" y="162"/>
                  </a:cubicBezTo>
                  <a:cubicBezTo>
                    <a:pt x="14" y="162"/>
                    <a:pt x="14" y="162"/>
                    <a:pt x="14" y="162"/>
                  </a:cubicBezTo>
                  <a:cubicBezTo>
                    <a:pt x="15" y="162"/>
                    <a:pt x="15" y="162"/>
                    <a:pt x="15" y="162"/>
                  </a:cubicBezTo>
                  <a:cubicBezTo>
                    <a:pt x="15" y="164"/>
                    <a:pt x="13" y="167"/>
                    <a:pt x="13" y="168"/>
                  </a:cubicBezTo>
                  <a:cubicBezTo>
                    <a:pt x="13" y="169"/>
                    <a:pt x="14" y="169"/>
                    <a:pt x="14" y="170"/>
                  </a:cubicBezTo>
                  <a:cubicBezTo>
                    <a:pt x="14" y="170"/>
                    <a:pt x="14" y="170"/>
                    <a:pt x="14" y="170"/>
                  </a:cubicBezTo>
                  <a:cubicBezTo>
                    <a:pt x="15" y="171"/>
                    <a:pt x="15" y="172"/>
                    <a:pt x="16" y="173"/>
                  </a:cubicBezTo>
                  <a:cubicBezTo>
                    <a:pt x="15" y="170"/>
                    <a:pt x="16" y="169"/>
                    <a:pt x="18" y="169"/>
                  </a:cubicBezTo>
                  <a:cubicBezTo>
                    <a:pt x="18" y="169"/>
                    <a:pt x="19" y="169"/>
                    <a:pt x="20" y="169"/>
                  </a:cubicBezTo>
                  <a:cubicBezTo>
                    <a:pt x="20" y="169"/>
                    <a:pt x="21" y="169"/>
                    <a:pt x="22" y="169"/>
                  </a:cubicBezTo>
                  <a:cubicBezTo>
                    <a:pt x="24" y="170"/>
                    <a:pt x="27" y="170"/>
                    <a:pt x="27" y="171"/>
                  </a:cubicBezTo>
                  <a:cubicBezTo>
                    <a:pt x="27" y="172"/>
                    <a:pt x="27" y="172"/>
                    <a:pt x="27" y="172"/>
                  </a:cubicBezTo>
                  <a:cubicBezTo>
                    <a:pt x="27" y="172"/>
                    <a:pt x="27" y="172"/>
                    <a:pt x="27" y="172"/>
                  </a:cubicBezTo>
                  <a:cubicBezTo>
                    <a:pt x="26" y="172"/>
                    <a:pt x="26" y="172"/>
                    <a:pt x="26" y="172"/>
                  </a:cubicBezTo>
                  <a:cubicBezTo>
                    <a:pt x="26" y="173"/>
                    <a:pt x="26" y="173"/>
                    <a:pt x="26" y="173"/>
                  </a:cubicBezTo>
                  <a:cubicBezTo>
                    <a:pt x="25" y="175"/>
                    <a:pt x="27" y="175"/>
                    <a:pt x="29" y="175"/>
                  </a:cubicBezTo>
                  <a:cubicBezTo>
                    <a:pt x="27" y="177"/>
                    <a:pt x="28" y="177"/>
                    <a:pt x="28" y="178"/>
                  </a:cubicBezTo>
                  <a:cubicBezTo>
                    <a:pt x="29" y="178"/>
                    <a:pt x="29" y="178"/>
                    <a:pt x="29" y="179"/>
                  </a:cubicBezTo>
                  <a:cubicBezTo>
                    <a:pt x="30" y="179"/>
                    <a:pt x="31" y="181"/>
                    <a:pt x="32" y="182"/>
                  </a:cubicBezTo>
                  <a:cubicBezTo>
                    <a:pt x="32" y="182"/>
                    <a:pt x="32" y="182"/>
                    <a:pt x="32" y="182"/>
                  </a:cubicBezTo>
                  <a:cubicBezTo>
                    <a:pt x="31" y="183"/>
                    <a:pt x="30" y="184"/>
                    <a:pt x="30" y="185"/>
                  </a:cubicBezTo>
                  <a:cubicBezTo>
                    <a:pt x="30" y="185"/>
                    <a:pt x="30" y="185"/>
                    <a:pt x="29" y="184"/>
                  </a:cubicBezTo>
                  <a:cubicBezTo>
                    <a:pt x="29" y="184"/>
                    <a:pt x="28" y="184"/>
                    <a:pt x="27" y="184"/>
                  </a:cubicBezTo>
                  <a:cubicBezTo>
                    <a:pt x="26" y="183"/>
                    <a:pt x="26" y="183"/>
                    <a:pt x="26" y="182"/>
                  </a:cubicBezTo>
                  <a:cubicBezTo>
                    <a:pt x="25" y="181"/>
                    <a:pt x="25" y="181"/>
                    <a:pt x="25" y="181"/>
                  </a:cubicBezTo>
                  <a:cubicBezTo>
                    <a:pt x="24" y="181"/>
                    <a:pt x="24" y="181"/>
                    <a:pt x="24" y="181"/>
                  </a:cubicBezTo>
                  <a:cubicBezTo>
                    <a:pt x="23" y="181"/>
                    <a:pt x="23" y="182"/>
                    <a:pt x="24" y="183"/>
                  </a:cubicBezTo>
                  <a:cubicBezTo>
                    <a:pt x="24" y="184"/>
                    <a:pt x="26" y="187"/>
                    <a:pt x="26" y="188"/>
                  </a:cubicBezTo>
                  <a:cubicBezTo>
                    <a:pt x="26" y="188"/>
                    <a:pt x="26" y="188"/>
                    <a:pt x="26" y="188"/>
                  </a:cubicBezTo>
                  <a:cubicBezTo>
                    <a:pt x="27" y="189"/>
                    <a:pt x="29" y="190"/>
                    <a:pt x="30" y="191"/>
                  </a:cubicBezTo>
                  <a:cubicBezTo>
                    <a:pt x="30" y="192"/>
                    <a:pt x="31" y="192"/>
                    <a:pt x="31" y="192"/>
                  </a:cubicBezTo>
                  <a:cubicBezTo>
                    <a:pt x="31" y="191"/>
                    <a:pt x="31" y="191"/>
                    <a:pt x="31" y="190"/>
                  </a:cubicBezTo>
                  <a:cubicBezTo>
                    <a:pt x="31" y="189"/>
                    <a:pt x="31" y="187"/>
                    <a:pt x="31" y="186"/>
                  </a:cubicBezTo>
                  <a:cubicBezTo>
                    <a:pt x="31" y="186"/>
                    <a:pt x="31" y="185"/>
                    <a:pt x="30" y="185"/>
                  </a:cubicBezTo>
                  <a:cubicBezTo>
                    <a:pt x="31" y="185"/>
                    <a:pt x="31" y="185"/>
                    <a:pt x="31" y="185"/>
                  </a:cubicBezTo>
                  <a:cubicBezTo>
                    <a:pt x="32" y="184"/>
                    <a:pt x="33" y="183"/>
                    <a:pt x="33" y="182"/>
                  </a:cubicBezTo>
                  <a:cubicBezTo>
                    <a:pt x="34" y="184"/>
                    <a:pt x="34" y="186"/>
                    <a:pt x="34" y="187"/>
                  </a:cubicBezTo>
                  <a:cubicBezTo>
                    <a:pt x="33" y="189"/>
                    <a:pt x="33" y="190"/>
                    <a:pt x="33" y="191"/>
                  </a:cubicBezTo>
                  <a:cubicBezTo>
                    <a:pt x="33" y="193"/>
                    <a:pt x="34" y="192"/>
                    <a:pt x="35" y="193"/>
                  </a:cubicBezTo>
                  <a:cubicBezTo>
                    <a:pt x="35" y="194"/>
                    <a:pt x="35" y="194"/>
                    <a:pt x="35" y="194"/>
                  </a:cubicBezTo>
                  <a:cubicBezTo>
                    <a:pt x="36" y="195"/>
                    <a:pt x="37" y="197"/>
                    <a:pt x="38" y="198"/>
                  </a:cubicBezTo>
                  <a:cubicBezTo>
                    <a:pt x="38" y="200"/>
                    <a:pt x="39" y="202"/>
                    <a:pt x="40" y="203"/>
                  </a:cubicBezTo>
                  <a:cubicBezTo>
                    <a:pt x="40" y="205"/>
                    <a:pt x="41" y="207"/>
                    <a:pt x="41" y="209"/>
                  </a:cubicBezTo>
                  <a:cubicBezTo>
                    <a:pt x="42" y="210"/>
                    <a:pt x="42" y="210"/>
                    <a:pt x="42" y="210"/>
                  </a:cubicBezTo>
                  <a:cubicBezTo>
                    <a:pt x="42" y="211"/>
                    <a:pt x="42" y="213"/>
                    <a:pt x="43" y="215"/>
                  </a:cubicBezTo>
                  <a:cubicBezTo>
                    <a:pt x="43" y="217"/>
                    <a:pt x="44" y="219"/>
                    <a:pt x="43" y="220"/>
                  </a:cubicBezTo>
                  <a:cubicBezTo>
                    <a:pt x="43" y="221"/>
                    <a:pt x="42" y="222"/>
                    <a:pt x="42" y="223"/>
                  </a:cubicBezTo>
                  <a:cubicBezTo>
                    <a:pt x="41" y="225"/>
                    <a:pt x="41" y="227"/>
                    <a:pt x="41" y="230"/>
                  </a:cubicBezTo>
                  <a:cubicBezTo>
                    <a:pt x="40" y="231"/>
                    <a:pt x="40" y="232"/>
                    <a:pt x="40" y="232"/>
                  </a:cubicBezTo>
                  <a:cubicBezTo>
                    <a:pt x="40" y="235"/>
                    <a:pt x="39" y="238"/>
                    <a:pt x="39" y="241"/>
                  </a:cubicBezTo>
                  <a:cubicBezTo>
                    <a:pt x="38" y="244"/>
                    <a:pt x="38" y="247"/>
                    <a:pt x="37" y="249"/>
                  </a:cubicBezTo>
                  <a:cubicBezTo>
                    <a:pt x="39" y="248"/>
                    <a:pt x="41" y="246"/>
                    <a:pt x="43" y="245"/>
                  </a:cubicBezTo>
                  <a:cubicBezTo>
                    <a:pt x="44" y="244"/>
                    <a:pt x="44" y="244"/>
                    <a:pt x="44" y="244"/>
                  </a:cubicBezTo>
                  <a:cubicBezTo>
                    <a:pt x="44" y="243"/>
                    <a:pt x="44" y="243"/>
                    <a:pt x="44" y="243"/>
                  </a:cubicBezTo>
                  <a:cubicBezTo>
                    <a:pt x="45" y="242"/>
                    <a:pt x="45" y="240"/>
                    <a:pt x="46" y="238"/>
                  </a:cubicBezTo>
                  <a:cubicBezTo>
                    <a:pt x="46" y="239"/>
                    <a:pt x="46" y="241"/>
                    <a:pt x="46" y="242"/>
                  </a:cubicBezTo>
                  <a:cubicBezTo>
                    <a:pt x="46" y="243"/>
                    <a:pt x="46" y="243"/>
                    <a:pt x="45" y="244"/>
                  </a:cubicBezTo>
                  <a:cubicBezTo>
                    <a:pt x="45" y="245"/>
                    <a:pt x="43" y="248"/>
                    <a:pt x="43" y="249"/>
                  </a:cubicBezTo>
                  <a:cubicBezTo>
                    <a:pt x="44" y="249"/>
                    <a:pt x="44" y="250"/>
                    <a:pt x="44" y="250"/>
                  </a:cubicBezTo>
                  <a:cubicBezTo>
                    <a:pt x="44" y="250"/>
                    <a:pt x="44" y="249"/>
                    <a:pt x="45" y="249"/>
                  </a:cubicBezTo>
                  <a:cubicBezTo>
                    <a:pt x="46" y="248"/>
                    <a:pt x="46" y="247"/>
                    <a:pt x="48" y="245"/>
                  </a:cubicBezTo>
                  <a:cubicBezTo>
                    <a:pt x="47" y="246"/>
                    <a:pt x="47" y="247"/>
                    <a:pt x="47" y="248"/>
                  </a:cubicBezTo>
                  <a:cubicBezTo>
                    <a:pt x="46" y="249"/>
                    <a:pt x="46" y="250"/>
                    <a:pt x="46" y="251"/>
                  </a:cubicBezTo>
                  <a:cubicBezTo>
                    <a:pt x="47" y="251"/>
                    <a:pt x="48" y="250"/>
                    <a:pt x="48" y="249"/>
                  </a:cubicBezTo>
                  <a:cubicBezTo>
                    <a:pt x="48" y="248"/>
                    <a:pt x="49" y="248"/>
                    <a:pt x="49" y="248"/>
                  </a:cubicBezTo>
                  <a:cubicBezTo>
                    <a:pt x="49" y="247"/>
                    <a:pt x="49" y="247"/>
                    <a:pt x="49" y="246"/>
                  </a:cubicBezTo>
                  <a:cubicBezTo>
                    <a:pt x="49" y="246"/>
                    <a:pt x="49" y="246"/>
                    <a:pt x="49" y="246"/>
                  </a:cubicBezTo>
                  <a:cubicBezTo>
                    <a:pt x="49" y="246"/>
                    <a:pt x="49" y="246"/>
                    <a:pt x="49" y="246"/>
                  </a:cubicBezTo>
                  <a:cubicBezTo>
                    <a:pt x="50" y="248"/>
                    <a:pt x="50" y="250"/>
                    <a:pt x="51" y="252"/>
                  </a:cubicBezTo>
                  <a:cubicBezTo>
                    <a:pt x="51" y="252"/>
                    <a:pt x="51" y="253"/>
                    <a:pt x="51" y="253"/>
                  </a:cubicBezTo>
                  <a:cubicBezTo>
                    <a:pt x="52" y="252"/>
                    <a:pt x="52" y="252"/>
                    <a:pt x="53" y="250"/>
                  </a:cubicBezTo>
                  <a:cubicBezTo>
                    <a:pt x="53" y="250"/>
                    <a:pt x="53" y="250"/>
                    <a:pt x="53" y="249"/>
                  </a:cubicBezTo>
                  <a:cubicBezTo>
                    <a:pt x="53" y="249"/>
                    <a:pt x="53" y="249"/>
                    <a:pt x="53" y="249"/>
                  </a:cubicBezTo>
                  <a:cubicBezTo>
                    <a:pt x="53" y="248"/>
                    <a:pt x="54" y="246"/>
                    <a:pt x="55" y="246"/>
                  </a:cubicBezTo>
                  <a:cubicBezTo>
                    <a:pt x="55" y="246"/>
                    <a:pt x="55" y="246"/>
                    <a:pt x="55" y="247"/>
                  </a:cubicBezTo>
                  <a:cubicBezTo>
                    <a:pt x="55" y="247"/>
                    <a:pt x="55" y="247"/>
                    <a:pt x="55" y="247"/>
                  </a:cubicBezTo>
                  <a:cubicBezTo>
                    <a:pt x="54" y="249"/>
                    <a:pt x="53" y="253"/>
                    <a:pt x="55" y="253"/>
                  </a:cubicBezTo>
                  <a:cubicBezTo>
                    <a:pt x="55" y="253"/>
                    <a:pt x="55" y="253"/>
                    <a:pt x="55" y="253"/>
                  </a:cubicBezTo>
                  <a:cubicBezTo>
                    <a:pt x="57" y="251"/>
                    <a:pt x="57" y="251"/>
                    <a:pt x="57" y="251"/>
                  </a:cubicBezTo>
                  <a:cubicBezTo>
                    <a:pt x="58" y="250"/>
                    <a:pt x="58" y="248"/>
                    <a:pt x="58" y="246"/>
                  </a:cubicBezTo>
                  <a:cubicBezTo>
                    <a:pt x="59" y="248"/>
                    <a:pt x="58" y="250"/>
                    <a:pt x="58" y="252"/>
                  </a:cubicBezTo>
                  <a:cubicBezTo>
                    <a:pt x="58" y="253"/>
                    <a:pt x="58" y="254"/>
                    <a:pt x="58" y="254"/>
                  </a:cubicBezTo>
                  <a:cubicBezTo>
                    <a:pt x="59" y="254"/>
                    <a:pt x="59" y="254"/>
                    <a:pt x="59" y="254"/>
                  </a:cubicBezTo>
                  <a:cubicBezTo>
                    <a:pt x="62" y="252"/>
                    <a:pt x="63" y="248"/>
                    <a:pt x="65" y="245"/>
                  </a:cubicBezTo>
                  <a:cubicBezTo>
                    <a:pt x="65" y="244"/>
                    <a:pt x="66" y="244"/>
                    <a:pt x="67" y="244"/>
                  </a:cubicBezTo>
                  <a:cubicBezTo>
                    <a:pt x="67" y="244"/>
                    <a:pt x="67" y="244"/>
                    <a:pt x="68" y="244"/>
                  </a:cubicBezTo>
                  <a:cubicBezTo>
                    <a:pt x="68" y="244"/>
                    <a:pt x="69" y="244"/>
                    <a:pt x="69" y="244"/>
                  </a:cubicBezTo>
                  <a:cubicBezTo>
                    <a:pt x="69" y="244"/>
                    <a:pt x="70" y="244"/>
                    <a:pt x="70" y="244"/>
                  </a:cubicBezTo>
                  <a:cubicBezTo>
                    <a:pt x="72" y="243"/>
                    <a:pt x="72" y="242"/>
                    <a:pt x="71" y="241"/>
                  </a:cubicBezTo>
                  <a:cubicBezTo>
                    <a:pt x="72" y="241"/>
                    <a:pt x="77" y="241"/>
                    <a:pt x="77" y="240"/>
                  </a:cubicBezTo>
                  <a:cubicBezTo>
                    <a:pt x="77" y="239"/>
                    <a:pt x="76" y="239"/>
                    <a:pt x="76" y="239"/>
                  </a:cubicBezTo>
                  <a:cubicBezTo>
                    <a:pt x="76" y="239"/>
                    <a:pt x="76" y="238"/>
                    <a:pt x="76" y="238"/>
                  </a:cubicBezTo>
                  <a:cubicBezTo>
                    <a:pt x="77" y="237"/>
                    <a:pt x="77" y="237"/>
                    <a:pt x="77" y="237"/>
                  </a:cubicBezTo>
                  <a:cubicBezTo>
                    <a:pt x="77" y="238"/>
                    <a:pt x="78" y="238"/>
                    <a:pt x="79" y="238"/>
                  </a:cubicBezTo>
                  <a:cubicBezTo>
                    <a:pt x="79" y="238"/>
                    <a:pt x="79" y="238"/>
                    <a:pt x="79" y="238"/>
                  </a:cubicBezTo>
                  <a:cubicBezTo>
                    <a:pt x="80" y="238"/>
                    <a:pt x="80" y="238"/>
                    <a:pt x="81" y="238"/>
                  </a:cubicBezTo>
                  <a:cubicBezTo>
                    <a:pt x="83" y="237"/>
                    <a:pt x="84" y="236"/>
                    <a:pt x="85" y="234"/>
                  </a:cubicBezTo>
                  <a:cubicBezTo>
                    <a:pt x="86" y="233"/>
                    <a:pt x="86" y="233"/>
                    <a:pt x="86" y="231"/>
                  </a:cubicBezTo>
                  <a:cubicBezTo>
                    <a:pt x="86" y="231"/>
                    <a:pt x="86" y="231"/>
                    <a:pt x="86" y="231"/>
                  </a:cubicBezTo>
                  <a:cubicBezTo>
                    <a:pt x="87" y="228"/>
                    <a:pt x="88" y="225"/>
                    <a:pt x="88" y="222"/>
                  </a:cubicBezTo>
                  <a:cubicBezTo>
                    <a:pt x="88" y="221"/>
                    <a:pt x="88" y="221"/>
                    <a:pt x="87" y="220"/>
                  </a:cubicBezTo>
                  <a:cubicBezTo>
                    <a:pt x="88" y="220"/>
                    <a:pt x="88" y="221"/>
                    <a:pt x="89" y="221"/>
                  </a:cubicBezTo>
                  <a:cubicBezTo>
                    <a:pt x="90" y="223"/>
                    <a:pt x="91" y="224"/>
                    <a:pt x="92" y="225"/>
                  </a:cubicBezTo>
                  <a:cubicBezTo>
                    <a:pt x="93" y="226"/>
                    <a:pt x="93" y="228"/>
                    <a:pt x="94" y="229"/>
                  </a:cubicBezTo>
                  <a:cubicBezTo>
                    <a:pt x="94" y="231"/>
                    <a:pt x="94" y="231"/>
                    <a:pt x="94" y="231"/>
                  </a:cubicBezTo>
                  <a:cubicBezTo>
                    <a:pt x="94" y="232"/>
                    <a:pt x="95" y="234"/>
                    <a:pt x="96" y="236"/>
                  </a:cubicBezTo>
                  <a:cubicBezTo>
                    <a:pt x="96" y="237"/>
                    <a:pt x="96" y="238"/>
                    <a:pt x="97" y="239"/>
                  </a:cubicBezTo>
                  <a:cubicBezTo>
                    <a:pt x="98" y="238"/>
                    <a:pt x="100" y="237"/>
                    <a:pt x="102" y="237"/>
                  </a:cubicBezTo>
                  <a:cubicBezTo>
                    <a:pt x="102" y="237"/>
                    <a:pt x="103" y="237"/>
                    <a:pt x="103" y="237"/>
                  </a:cubicBezTo>
                  <a:cubicBezTo>
                    <a:pt x="103" y="237"/>
                    <a:pt x="104" y="237"/>
                    <a:pt x="104" y="237"/>
                  </a:cubicBezTo>
                  <a:cubicBezTo>
                    <a:pt x="101" y="238"/>
                    <a:pt x="101" y="243"/>
                    <a:pt x="101" y="245"/>
                  </a:cubicBezTo>
                  <a:cubicBezTo>
                    <a:pt x="101" y="246"/>
                    <a:pt x="101" y="246"/>
                    <a:pt x="101" y="246"/>
                  </a:cubicBezTo>
                  <a:cubicBezTo>
                    <a:pt x="101" y="248"/>
                    <a:pt x="102" y="250"/>
                    <a:pt x="103" y="251"/>
                  </a:cubicBezTo>
                  <a:cubicBezTo>
                    <a:pt x="103" y="252"/>
                    <a:pt x="103" y="253"/>
                    <a:pt x="104" y="254"/>
                  </a:cubicBezTo>
                  <a:cubicBezTo>
                    <a:pt x="104" y="255"/>
                    <a:pt x="104" y="255"/>
                    <a:pt x="104" y="256"/>
                  </a:cubicBezTo>
                  <a:cubicBezTo>
                    <a:pt x="104" y="256"/>
                    <a:pt x="104" y="257"/>
                    <a:pt x="104" y="257"/>
                  </a:cubicBezTo>
                  <a:cubicBezTo>
                    <a:pt x="104" y="260"/>
                    <a:pt x="104" y="262"/>
                    <a:pt x="104" y="264"/>
                  </a:cubicBezTo>
                  <a:cubicBezTo>
                    <a:pt x="105" y="266"/>
                    <a:pt x="105" y="267"/>
                    <a:pt x="105" y="269"/>
                  </a:cubicBezTo>
                  <a:cubicBezTo>
                    <a:pt x="105" y="270"/>
                    <a:pt x="105" y="270"/>
                    <a:pt x="105" y="271"/>
                  </a:cubicBezTo>
                  <a:cubicBezTo>
                    <a:pt x="106" y="272"/>
                    <a:pt x="108" y="273"/>
                    <a:pt x="109" y="275"/>
                  </a:cubicBezTo>
                  <a:cubicBezTo>
                    <a:pt x="109" y="275"/>
                    <a:pt x="109" y="275"/>
                    <a:pt x="109" y="275"/>
                  </a:cubicBezTo>
                  <a:cubicBezTo>
                    <a:pt x="109" y="275"/>
                    <a:pt x="109" y="275"/>
                    <a:pt x="109" y="275"/>
                  </a:cubicBezTo>
                  <a:cubicBezTo>
                    <a:pt x="109" y="275"/>
                    <a:pt x="109" y="275"/>
                    <a:pt x="109" y="275"/>
                  </a:cubicBezTo>
                  <a:cubicBezTo>
                    <a:pt x="109" y="275"/>
                    <a:pt x="109" y="275"/>
                    <a:pt x="109" y="275"/>
                  </a:cubicBezTo>
                  <a:cubicBezTo>
                    <a:pt x="109" y="277"/>
                    <a:pt x="109" y="279"/>
                    <a:pt x="109" y="282"/>
                  </a:cubicBezTo>
                  <a:cubicBezTo>
                    <a:pt x="109" y="284"/>
                    <a:pt x="110" y="286"/>
                    <a:pt x="110" y="288"/>
                  </a:cubicBezTo>
                  <a:cubicBezTo>
                    <a:pt x="110" y="290"/>
                    <a:pt x="111" y="292"/>
                    <a:pt x="111" y="294"/>
                  </a:cubicBezTo>
                  <a:cubicBezTo>
                    <a:pt x="111" y="295"/>
                    <a:pt x="111" y="296"/>
                    <a:pt x="112" y="296"/>
                  </a:cubicBezTo>
                  <a:cubicBezTo>
                    <a:pt x="112" y="296"/>
                    <a:pt x="112" y="296"/>
                    <a:pt x="112" y="296"/>
                  </a:cubicBezTo>
                  <a:cubicBezTo>
                    <a:pt x="112" y="295"/>
                    <a:pt x="112" y="294"/>
                    <a:pt x="112" y="293"/>
                  </a:cubicBezTo>
                  <a:cubicBezTo>
                    <a:pt x="112" y="293"/>
                    <a:pt x="112" y="293"/>
                    <a:pt x="112" y="293"/>
                  </a:cubicBezTo>
                  <a:cubicBezTo>
                    <a:pt x="113" y="291"/>
                    <a:pt x="112" y="289"/>
                    <a:pt x="112" y="287"/>
                  </a:cubicBezTo>
                  <a:cubicBezTo>
                    <a:pt x="113" y="287"/>
                    <a:pt x="114" y="289"/>
                    <a:pt x="115" y="291"/>
                  </a:cubicBezTo>
                  <a:cubicBezTo>
                    <a:pt x="116" y="293"/>
                    <a:pt x="116" y="295"/>
                    <a:pt x="117" y="296"/>
                  </a:cubicBezTo>
                  <a:cubicBezTo>
                    <a:pt x="117" y="298"/>
                    <a:pt x="118" y="299"/>
                    <a:pt x="118" y="300"/>
                  </a:cubicBezTo>
                  <a:cubicBezTo>
                    <a:pt x="118" y="301"/>
                    <a:pt x="118" y="301"/>
                    <a:pt x="119" y="302"/>
                  </a:cubicBezTo>
                  <a:cubicBezTo>
                    <a:pt x="119" y="304"/>
                    <a:pt x="120" y="305"/>
                    <a:pt x="121" y="307"/>
                  </a:cubicBezTo>
                  <a:cubicBezTo>
                    <a:pt x="121" y="309"/>
                    <a:pt x="122" y="311"/>
                    <a:pt x="122" y="312"/>
                  </a:cubicBezTo>
                  <a:cubicBezTo>
                    <a:pt x="122" y="313"/>
                    <a:pt x="122" y="313"/>
                    <a:pt x="122" y="313"/>
                  </a:cubicBezTo>
                  <a:cubicBezTo>
                    <a:pt x="121" y="315"/>
                    <a:pt x="120" y="317"/>
                    <a:pt x="120" y="319"/>
                  </a:cubicBezTo>
                  <a:cubicBezTo>
                    <a:pt x="120" y="320"/>
                    <a:pt x="120" y="321"/>
                    <a:pt x="119" y="321"/>
                  </a:cubicBezTo>
                  <a:cubicBezTo>
                    <a:pt x="120" y="321"/>
                    <a:pt x="121" y="321"/>
                    <a:pt x="121" y="321"/>
                  </a:cubicBezTo>
                  <a:cubicBezTo>
                    <a:pt x="122" y="322"/>
                    <a:pt x="122" y="322"/>
                    <a:pt x="122" y="322"/>
                  </a:cubicBezTo>
                  <a:cubicBezTo>
                    <a:pt x="122" y="322"/>
                    <a:pt x="121" y="325"/>
                    <a:pt x="121" y="325"/>
                  </a:cubicBezTo>
                  <a:cubicBezTo>
                    <a:pt x="121" y="326"/>
                    <a:pt x="121" y="327"/>
                    <a:pt x="121" y="327"/>
                  </a:cubicBezTo>
                  <a:cubicBezTo>
                    <a:pt x="120" y="326"/>
                    <a:pt x="119" y="325"/>
                    <a:pt x="118" y="325"/>
                  </a:cubicBezTo>
                  <a:cubicBezTo>
                    <a:pt x="118" y="325"/>
                    <a:pt x="118" y="325"/>
                    <a:pt x="118" y="325"/>
                  </a:cubicBezTo>
                  <a:cubicBezTo>
                    <a:pt x="117" y="325"/>
                    <a:pt x="117" y="325"/>
                    <a:pt x="117" y="325"/>
                  </a:cubicBezTo>
                  <a:cubicBezTo>
                    <a:pt x="117" y="326"/>
                    <a:pt x="117" y="326"/>
                    <a:pt x="117" y="326"/>
                  </a:cubicBezTo>
                  <a:cubicBezTo>
                    <a:pt x="117" y="328"/>
                    <a:pt x="118" y="328"/>
                    <a:pt x="118" y="328"/>
                  </a:cubicBezTo>
                  <a:cubicBezTo>
                    <a:pt x="119" y="328"/>
                    <a:pt x="120" y="327"/>
                    <a:pt x="121" y="327"/>
                  </a:cubicBezTo>
                  <a:cubicBezTo>
                    <a:pt x="121" y="328"/>
                    <a:pt x="121" y="328"/>
                    <a:pt x="121" y="328"/>
                  </a:cubicBezTo>
                  <a:cubicBezTo>
                    <a:pt x="120" y="328"/>
                    <a:pt x="120" y="328"/>
                    <a:pt x="120" y="328"/>
                  </a:cubicBezTo>
                  <a:cubicBezTo>
                    <a:pt x="120" y="328"/>
                    <a:pt x="120" y="329"/>
                    <a:pt x="120" y="330"/>
                  </a:cubicBezTo>
                  <a:cubicBezTo>
                    <a:pt x="120" y="331"/>
                    <a:pt x="120" y="331"/>
                    <a:pt x="120" y="331"/>
                  </a:cubicBezTo>
                  <a:cubicBezTo>
                    <a:pt x="121" y="332"/>
                    <a:pt x="121" y="332"/>
                    <a:pt x="122" y="332"/>
                  </a:cubicBezTo>
                  <a:cubicBezTo>
                    <a:pt x="123" y="332"/>
                    <a:pt x="123" y="331"/>
                    <a:pt x="124" y="329"/>
                  </a:cubicBezTo>
                  <a:cubicBezTo>
                    <a:pt x="126" y="332"/>
                    <a:pt x="124" y="331"/>
                    <a:pt x="124" y="332"/>
                  </a:cubicBezTo>
                  <a:cubicBezTo>
                    <a:pt x="123" y="333"/>
                    <a:pt x="123" y="333"/>
                    <a:pt x="123" y="335"/>
                  </a:cubicBezTo>
                  <a:cubicBezTo>
                    <a:pt x="123" y="335"/>
                    <a:pt x="123" y="335"/>
                    <a:pt x="123" y="335"/>
                  </a:cubicBezTo>
                  <a:cubicBezTo>
                    <a:pt x="123" y="337"/>
                    <a:pt x="123" y="340"/>
                    <a:pt x="123" y="342"/>
                  </a:cubicBezTo>
                  <a:cubicBezTo>
                    <a:pt x="123" y="343"/>
                    <a:pt x="123" y="344"/>
                    <a:pt x="122" y="345"/>
                  </a:cubicBezTo>
                  <a:cubicBezTo>
                    <a:pt x="122" y="347"/>
                    <a:pt x="120" y="349"/>
                    <a:pt x="118" y="350"/>
                  </a:cubicBezTo>
                  <a:cubicBezTo>
                    <a:pt x="117" y="351"/>
                    <a:pt x="118" y="353"/>
                    <a:pt x="118" y="354"/>
                  </a:cubicBezTo>
                  <a:cubicBezTo>
                    <a:pt x="118" y="356"/>
                    <a:pt x="119" y="357"/>
                    <a:pt x="119" y="357"/>
                  </a:cubicBezTo>
                  <a:cubicBezTo>
                    <a:pt x="119" y="359"/>
                    <a:pt x="119" y="360"/>
                    <a:pt x="118" y="361"/>
                  </a:cubicBezTo>
                  <a:cubicBezTo>
                    <a:pt x="119" y="361"/>
                    <a:pt x="119" y="361"/>
                    <a:pt x="119" y="361"/>
                  </a:cubicBezTo>
                  <a:cubicBezTo>
                    <a:pt x="122" y="353"/>
                    <a:pt x="122" y="353"/>
                    <a:pt x="122" y="353"/>
                  </a:cubicBezTo>
                  <a:cubicBezTo>
                    <a:pt x="123" y="350"/>
                    <a:pt x="125" y="347"/>
                    <a:pt x="127" y="345"/>
                  </a:cubicBezTo>
                  <a:cubicBezTo>
                    <a:pt x="128" y="344"/>
                    <a:pt x="130" y="342"/>
                    <a:pt x="131" y="340"/>
                  </a:cubicBezTo>
                  <a:cubicBezTo>
                    <a:pt x="132" y="338"/>
                    <a:pt x="134" y="336"/>
                    <a:pt x="135" y="334"/>
                  </a:cubicBezTo>
                  <a:cubicBezTo>
                    <a:pt x="136" y="332"/>
                    <a:pt x="137" y="331"/>
                    <a:pt x="137" y="330"/>
                  </a:cubicBezTo>
                  <a:cubicBezTo>
                    <a:pt x="137" y="329"/>
                    <a:pt x="137" y="327"/>
                    <a:pt x="137" y="326"/>
                  </a:cubicBezTo>
                  <a:cubicBezTo>
                    <a:pt x="137" y="326"/>
                    <a:pt x="137" y="326"/>
                    <a:pt x="137" y="326"/>
                  </a:cubicBezTo>
                  <a:cubicBezTo>
                    <a:pt x="136" y="326"/>
                    <a:pt x="136" y="326"/>
                    <a:pt x="136" y="326"/>
                  </a:cubicBezTo>
                  <a:cubicBezTo>
                    <a:pt x="135" y="324"/>
                    <a:pt x="135" y="324"/>
                    <a:pt x="135" y="324"/>
                  </a:cubicBezTo>
                  <a:cubicBezTo>
                    <a:pt x="135" y="322"/>
                    <a:pt x="134" y="320"/>
                    <a:pt x="134" y="319"/>
                  </a:cubicBezTo>
                  <a:cubicBezTo>
                    <a:pt x="134" y="318"/>
                    <a:pt x="134" y="318"/>
                    <a:pt x="134" y="318"/>
                  </a:cubicBezTo>
                  <a:cubicBezTo>
                    <a:pt x="134" y="317"/>
                    <a:pt x="134" y="317"/>
                    <a:pt x="134" y="317"/>
                  </a:cubicBezTo>
                  <a:cubicBezTo>
                    <a:pt x="134" y="315"/>
                    <a:pt x="133" y="313"/>
                    <a:pt x="131" y="312"/>
                  </a:cubicBezTo>
                  <a:cubicBezTo>
                    <a:pt x="131" y="311"/>
                    <a:pt x="130" y="311"/>
                    <a:pt x="130" y="310"/>
                  </a:cubicBezTo>
                  <a:cubicBezTo>
                    <a:pt x="130" y="309"/>
                    <a:pt x="130" y="309"/>
                    <a:pt x="130" y="309"/>
                  </a:cubicBezTo>
                  <a:cubicBezTo>
                    <a:pt x="129" y="308"/>
                    <a:pt x="128" y="307"/>
                    <a:pt x="128" y="305"/>
                  </a:cubicBezTo>
                  <a:cubicBezTo>
                    <a:pt x="128" y="304"/>
                    <a:pt x="129" y="303"/>
                    <a:pt x="129" y="302"/>
                  </a:cubicBezTo>
                  <a:cubicBezTo>
                    <a:pt x="129" y="302"/>
                    <a:pt x="129" y="302"/>
                    <a:pt x="129" y="302"/>
                  </a:cubicBezTo>
                  <a:cubicBezTo>
                    <a:pt x="129" y="302"/>
                    <a:pt x="129" y="301"/>
                    <a:pt x="129" y="301"/>
                  </a:cubicBezTo>
                  <a:cubicBezTo>
                    <a:pt x="129" y="300"/>
                    <a:pt x="129" y="300"/>
                    <a:pt x="129" y="300"/>
                  </a:cubicBezTo>
                  <a:cubicBezTo>
                    <a:pt x="129" y="299"/>
                    <a:pt x="129" y="299"/>
                    <a:pt x="129" y="298"/>
                  </a:cubicBezTo>
                  <a:cubicBezTo>
                    <a:pt x="129" y="296"/>
                    <a:pt x="129" y="294"/>
                    <a:pt x="129" y="294"/>
                  </a:cubicBezTo>
                  <a:cubicBezTo>
                    <a:pt x="129" y="293"/>
                    <a:pt x="129" y="293"/>
                    <a:pt x="129" y="293"/>
                  </a:cubicBezTo>
                  <a:cubicBezTo>
                    <a:pt x="129" y="293"/>
                    <a:pt x="128" y="293"/>
                    <a:pt x="128" y="292"/>
                  </a:cubicBezTo>
                  <a:cubicBezTo>
                    <a:pt x="128" y="292"/>
                    <a:pt x="127" y="291"/>
                    <a:pt x="127" y="291"/>
                  </a:cubicBezTo>
                  <a:cubicBezTo>
                    <a:pt x="127" y="291"/>
                    <a:pt x="127" y="291"/>
                    <a:pt x="127" y="291"/>
                  </a:cubicBezTo>
                  <a:cubicBezTo>
                    <a:pt x="126" y="290"/>
                    <a:pt x="126" y="290"/>
                    <a:pt x="126" y="290"/>
                  </a:cubicBezTo>
                  <a:cubicBezTo>
                    <a:pt x="123" y="287"/>
                    <a:pt x="123" y="287"/>
                    <a:pt x="123" y="287"/>
                  </a:cubicBezTo>
                  <a:cubicBezTo>
                    <a:pt x="123" y="286"/>
                    <a:pt x="122" y="286"/>
                    <a:pt x="122" y="285"/>
                  </a:cubicBezTo>
                  <a:cubicBezTo>
                    <a:pt x="121" y="284"/>
                    <a:pt x="121" y="284"/>
                    <a:pt x="121" y="284"/>
                  </a:cubicBezTo>
                  <a:cubicBezTo>
                    <a:pt x="118" y="280"/>
                    <a:pt x="115" y="277"/>
                    <a:pt x="112" y="272"/>
                  </a:cubicBezTo>
                  <a:cubicBezTo>
                    <a:pt x="111" y="270"/>
                    <a:pt x="111" y="268"/>
                    <a:pt x="110" y="266"/>
                  </a:cubicBezTo>
                  <a:cubicBezTo>
                    <a:pt x="111" y="261"/>
                    <a:pt x="113" y="261"/>
                    <a:pt x="115" y="260"/>
                  </a:cubicBezTo>
                  <a:cubicBezTo>
                    <a:pt x="116" y="260"/>
                    <a:pt x="116" y="260"/>
                    <a:pt x="116" y="260"/>
                  </a:cubicBezTo>
                  <a:cubicBezTo>
                    <a:pt x="116" y="260"/>
                    <a:pt x="117" y="260"/>
                    <a:pt x="117" y="260"/>
                  </a:cubicBezTo>
                  <a:cubicBezTo>
                    <a:pt x="118" y="259"/>
                    <a:pt x="118" y="259"/>
                    <a:pt x="118" y="259"/>
                  </a:cubicBezTo>
                  <a:cubicBezTo>
                    <a:pt x="118" y="259"/>
                    <a:pt x="118" y="259"/>
                    <a:pt x="118" y="259"/>
                  </a:cubicBezTo>
                  <a:cubicBezTo>
                    <a:pt x="118" y="258"/>
                    <a:pt x="118" y="257"/>
                    <a:pt x="118" y="256"/>
                  </a:cubicBezTo>
                  <a:cubicBezTo>
                    <a:pt x="118" y="253"/>
                    <a:pt x="118" y="253"/>
                    <a:pt x="118" y="253"/>
                  </a:cubicBezTo>
                  <a:cubicBezTo>
                    <a:pt x="118" y="252"/>
                    <a:pt x="117" y="250"/>
                    <a:pt x="117" y="248"/>
                  </a:cubicBezTo>
                  <a:cubicBezTo>
                    <a:pt x="118" y="246"/>
                    <a:pt x="119" y="245"/>
                    <a:pt x="121" y="244"/>
                  </a:cubicBezTo>
                  <a:cubicBezTo>
                    <a:pt x="120" y="244"/>
                    <a:pt x="120" y="244"/>
                    <a:pt x="120" y="244"/>
                  </a:cubicBezTo>
                  <a:cubicBezTo>
                    <a:pt x="120" y="243"/>
                    <a:pt x="119" y="241"/>
                    <a:pt x="119" y="240"/>
                  </a:cubicBezTo>
                  <a:cubicBezTo>
                    <a:pt x="119" y="240"/>
                    <a:pt x="119" y="239"/>
                    <a:pt x="119" y="238"/>
                  </a:cubicBezTo>
                  <a:cubicBezTo>
                    <a:pt x="118" y="237"/>
                    <a:pt x="118" y="236"/>
                    <a:pt x="118" y="235"/>
                  </a:cubicBezTo>
                  <a:cubicBezTo>
                    <a:pt x="118" y="234"/>
                    <a:pt x="117" y="233"/>
                    <a:pt x="117" y="232"/>
                  </a:cubicBezTo>
                  <a:cubicBezTo>
                    <a:pt x="117" y="232"/>
                    <a:pt x="117" y="232"/>
                    <a:pt x="117" y="232"/>
                  </a:cubicBezTo>
                  <a:cubicBezTo>
                    <a:pt x="116" y="231"/>
                    <a:pt x="116" y="231"/>
                    <a:pt x="116" y="231"/>
                  </a:cubicBezTo>
                  <a:cubicBezTo>
                    <a:pt x="116" y="230"/>
                    <a:pt x="116" y="230"/>
                    <a:pt x="116" y="230"/>
                  </a:cubicBezTo>
                  <a:cubicBezTo>
                    <a:pt x="116" y="230"/>
                    <a:pt x="116" y="230"/>
                    <a:pt x="116" y="230"/>
                  </a:cubicBezTo>
                  <a:cubicBezTo>
                    <a:pt x="115" y="230"/>
                    <a:pt x="115" y="230"/>
                    <a:pt x="115" y="230"/>
                  </a:cubicBezTo>
                  <a:cubicBezTo>
                    <a:pt x="114" y="229"/>
                    <a:pt x="113" y="229"/>
                    <a:pt x="112" y="228"/>
                  </a:cubicBezTo>
                  <a:cubicBezTo>
                    <a:pt x="112" y="227"/>
                    <a:pt x="112" y="227"/>
                    <a:pt x="112" y="227"/>
                  </a:cubicBezTo>
                  <a:cubicBezTo>
                    <a:pt x="110" y="225"/>
                    <a:pt x="109" y="224"/>
                    <a:pt x="108" y="222"/>
                  </a:cubicBezTo>
                  <a:cubicBezTo>
                    <a:pt x="106" y="219"/>
                    <a:pt x="104" y="217"/>
                    <a:pt x="101" y="214"/>
                  </a:cubicBezTo>
                  <a:cubicBezTo>
                    <a:pt x="100" y="213"/>
                    <a:pt x="101" y="211"/>
                    <a:pt x="101" y="210"/>
                  </a:cubicBezTo>
                  <a:cubicBezTo>
                    <a:pt x="102" y="209"/>
                    <a:pt x="102" y="209"/>
                    <a:pt x="102" y="209"/>
                  </a:cubicBezTo>
                  <a:cubicBezTo>
                    <a:pt x="101" y="209"/>
                    <a:pt x="101" y="209"/>
                    <a:pt x="101" y="209"/>
                  </a:cubicBezTo>
                  <a:cubicBezTo>
                    <a:pt x="101" y="208"/>
                    <a:pt x="101" y="208"/>
                    <a:pt x="101" y="208"/>
                  </a:cubicBezTo>
                  <a:cubicBezTo>
                    <a:pt x="100" y="207"/>
                    <a:pt x="100" y="206"/>
                    <a:pt x="100" y="206"/>
                  </a:cubicBezTo>
                  <a:cubicBezTo>
                    <a:pt x="100" y="206"/>
                    <a:pt x="100" y="206"/>
                    <a:pt x="100" y="206"/>
                  </a:cubicBezTo>
                  <a:cubicBezTo>
                    <a:pt x="99" y="206"/>
                    <a:pt x="99" y="206"/>
                    <a:pt x="99" y="206"/>
                  </a:cubicBezTo>
                  <a:cubicBezTo>
                    <a:pt x="97" y="204"/>
                    <a:pt x="96" y="202"/>
                    <a:pt x="95" y="200"/>
                  </a:cubicBezTo>
                  <a:cubicBezTo>
                    <a:pt x="93" y="196"/>
                    <a:pt x="93" y="196"/>
                    <a:pt x="93" y="196"/>
                  </a:cubicBezTo>
                  <a:cubicBezTo>
                    <a:pt x="97" y="196"/>
                    <a:pt x="97" y="196"/>
                    <a:pt x="97" y="196"/>
                  </a:cubicBezTo>
                  <a:cubicBezTo>
                    <a:pt x="97" y="196"/>
                    <a:pt x="98" y="196"/>
                    <a:pt x="99" y="196"/>
                  </a:cubicBezTo>
                  <a:cubicBezTo>
                    <a:pt x="99" y="196"/>
                    <a:pt x="100" y="196"/>
                    <a:pt x="101" y="196"/>
                  </a:cubicBezTo>
                  <a:cubicBezTo>
                    <a:pt x="101" y="196"/>
                    <a:pt x="102" y="196"/>
                    <a:pt x="102" y="196"/>
                  </a:cubicBezTo>
                  <a:cubicBezTo>
                    <a:pt x="102" y="196"/>
                    <a:pt x="102" y="196"/>
                    <a:pt x="102" y="196"/>
                  </a:cubicBezTo>
                  <a:cubicBezTo>
                    <a:pt x="102" y="195"/>
                    <a:pt x="102" y="195"/>
                    <a:pt x="102" y="195"/>
                  </a:cubicBezTo>
                  <a:cubicBezTo>
                    <a:pt x="102" y="194"/>
                    <a:pt x="102" y="194"/>
                    <a:pt x="102" y="194"/>
                  </a:cubicBezTo>
                  <a:cubicBezTo>
                    <a:pt x="102" y="193"/>
                    <a:pt x="102" y="192"/>
                    <a:pt x="102" y="191"/>
                  </a:cubicBezTo>
                  <a:cubicBezTo>
                    <a:pt x="102" y="190"/>
                    <a:pt x="102" y="190"/>
                    <a:pt x="102" y="189"/>
                  </a:cubicBezTo>
                  <a:cubicBezTo>
                    <a:pt x="103" y="187"/>
                    <a:pt x="103" y="185"/>
                    <a:pt x="104" y="183"/>
                  </a:cubicBezTo>
                  <a:cubicBezTo>
                    <a:pt x="104" y="178"/>
                    <a:pt x="104" y="177"/>
                    <a:pt x="107" y="173"/>
                  </a:cubicBezTo>
                  <a:cubicBezTo>
                    <a:pt x="107" y="173"/>
                    <a:pt x="108" y="172"/>
                    <a:pt x="108" y="172"/>
                  </a:cubicBezTo>
                  <a:cubicBezTo>
                    <a:pt x="109" y="172"/>
                    <a:pt x="110" y="171"/>
                    <a:pt x="110" y="171"/>
                  </a:cubicBezTo>
                  <a:cubicBezTo>
                    <a:pt x="111" y="171"/>
                    <a:pt x="112" y="172"/>
                    <a:pt x="112" y="172"/>
                  </a:cubicBezTo>
                  <a:cubicBezTo>
                    <a:pt x="113" y="172"/>
                    <a:pt x="113" y="172"/>
                    <a:pt x="113" y="172"/>
                  </a:cubicBezTo>
                  <a:cubicBezTo>
                    <a:pt x="115" y="173"/>
                    <a:pt x="116" y="173"/>
                    <a:pt x="117" y="173"/>
                  </a:cubicBezTo>
                  <a:cubicBezTo>
                    <a:pt x="117" y="173"/>
                    <a:pt x="118" y="173"/>
                    <a:pt x="118" y="173"/>
                  </a:cubicBezTo>
                  <a:cubicBezTo>
                    <a:pt x="118" y="173"/>
                    <a:pt x="118" y="173"/>
                    <a:pt x="118" y="173"/>
                  </a:cubicBezTo>
                  <a:cubicBezTo>
                    <a:pt x="119" y="173"/>
                    <a:pt x="119" y="173"/>
                    <a:pt x="120" y="173"/>
                  </a:cubicBezTo>
                  <a:cubicBezTo>
                    <a:pt x="119" y="168"/>
                    <a:pt x="119" y="168"/>
                    <a:pt x="119" y="168"/>
                  </a:cubicBezTo>
                  <a:cubicBezTo>
                    <a:pt x="121" y="173"/>
                    <a:pt x="121" y="173"/>
                    <a:pt x="121" y="173"/>
                  </a:cubicBezTo>
                  <a:cubicBezTo>
                    <a:pt x="121" y="173"/>
                    <a:pt x="121" y="173"/>
                    <a:pt x="121" y="173"/>
                  </a:cubicBezTo>
                  <a:cubicBezTo>
                    <a:pt x="122" y="173"/>
                    <a:pt x="122" y="173"/>
                    <a:pt x="123" y="173"/>
                  </a:cubicBezTo>
                  <a:cubicBezTo>
                    <a:pt x="124" y="172"/>
                    <a:pt x="124" y="172"/>
                    <a:pt x="124" y="172"/>
                  </a:cubicBezTo>
                  <a:cubicBezTo>
                    <a:pt x="125" y="172"/>
                    <a:pt x="125" y="172"/>
                    <a:pt x="126" y="172"/>
                  </a:cubicBezTo>
                  <a:cubicBezTo>
                    <a:pt x="126" y="172"/>
                    <a:pt x="126" y="172"/>
                    <a:pt x="126" y="172"/>
                  </a:cubicBezTo>
                  <a:cubicBezTo>
                    <a:pt x="126" y="171"/>
                    <a:pt x="126" y="171"/>
                    <a:pt x="126" y="171"/>
                  </a:cubicBezTo>
                  <a:cubicBezTo>
                    <a:pt x="127" y="171"/>
                    <a:pt x="127" y="171"/>
                    <a:pt x="127" y="171"/>
                  </a:cubicBezTo>
                  <a:cubicBezTo>
                    <a:pt x="126" y="171"/>
                    <a:pt x="126" y="171"/>
                    <a:pt x="126" y="171"/>
                  </a:cubicBezTo>
                  <a:cubicBezTo>
                    <a:pt x="127" y="171"/>
                    <a:pt x="127" y="170"/>
                    <a:pt x="127" y="169"/>
                  </a:cubicBezTo>
                  <a:cubicBezTo>
                    <a:pt x="128" y="168"/>
                    <a:pt x="128" y="168"/>
                    <a:pt x="128" y="167"/>
                  </a:cubicBezTo>
                  <a:cubicBezTo>
                    <a:pt x="129" y="165"/>
                    <a:pt x="131" y="165"/>
                    <a:pt x="133" y="164"/>
                  </a:cubicBezTo>
                  <a:cubicBezTo>
                    <a:pt x="133" y="164"/>
                    <a:pt x="134" y="164"/>
                    <a:pt x="135" y="164"/>
                  </a:cubicBezTo>
                  <a:cubicBezTo>
                    <a:pt x="134" y="164"/>
                    <a:pt x="134" y="163"/>
                    <a:pt x="134" y="162"/>
                  </a:cubicBezTo>
                  <a:cubicBezTo>
                    <a:pt x="134" y="157"/>
                    <a:pt x="134" y="157"/>
                    <a:pt x="134" y="157"/>
                  </a:cubicBezTo>
                  <a:cubicBezTo>
                    <a:pt x="138" y="160"/>
                    <a:pt x="138" y="160"/>
                    <a:pt x="138" y="160"/>
                  </a:cubicBezTo>
                  <a:cubicBezTo>
                    <a:pt x="138" y="160"/>
                    <a:pt x="138" y="160"/>
                    <a:pt x="139" y="160"/>
                  </a:cubicBezTo>
                  <a:cubicBezTo>
                    <a:pt x="139" y="160"/>
                    <a:pt x="139" y="160"/>
                    <a:pt x="139" y="160"/>
                  </a:cubicBezTo>
                  <a:cubicBezTo>
                    <a:pt x="140" y="161"/>
                    <a:pt x="140" y="161"/>
                    <a:pt x="140" y="161"/>
                  </a:cubicBezTo>
                  <a:cubicBezTo>
                    <a:pt x="141" y="160"/>
                    <a:pt x="141" y="160"/>
                    <a:pt x="141" y="160"/>
                  </a:cubicBezTo>
                  <a:cubicBezTo>
                    <a:pt x="141" y="160"/>
                    <a:pt x="141" y="160"/>
                    <a:pt x="141" y="160"/>
                  </a:cubicBezTo>
                  <a:cubicBezTo>
                    <a:pt x="142" y="160"/>
                    <a:pt x="143" y="160"/>
                    <a:pt x="144" y="159"/>
                  </a:cubicBezTo>
                  <a:cubicBezTo>
                    <a:pt x="144" y="159"/>
                    <a:pt x="145" y="159"/>
                    <a:pt x="145" y="159"/>
                  </a:cubicBezTo>
                  <a:cubicBezTo>
                    <a:pt x="141" y="147"/>
                    <a:pt x="141" y="147"/>
                    <a:pt x="141" y="147"/>
                  </a:cubicBezTo>
                  <a:cubicBezTo>
                    <a:pt x="148" y="158"/>
                    <a:pt x="148" y="158"/>
                    <a:pt x="148" y="158"/>
                  </a:cubicBezTo>
                  <a:cubicBezTo>
                    <a:pt x="149" y="155"/>
                    <a:pt x="150" y="154"/>
                    <a:pt x="151" y="152"/>
                  </a:cubicBezTo>
                  <a:cubicBezTo>
                    <a:pt x="152" y="152"/>
                    <a:pt x="152" y="152"/>
                    <a:pt x="152" y="152"/>
                  </a:cubicBezTo>
                  <a:cubicBezTo>
                    <a:pt x="153" y="151"/>
                    <a:pt x="154" y="151"/>
                    <a:pt x="155" y="151"/>
                  </a:cubicBezTo>
                  <a:cubicBezTo>
                    <a:pt x="155" y="150"/>
                    <a:pt x="155" y="149"/>
                    <a:pt x="156" y="148"/>
                  </a:cubicBezTo>
                  <a:cubicBezTo>
                    <a:pt x="156" y="148"/>
                    <a:pt x="156" y="148"/>
                    <a:pt x="156" y="148"/>
                  </a:cubicBezTo>
                  <a:cubicBezTo>
                    <a:pt x="156" y="147"/>
                    <a:pt x="156" y="147"/>
                    <a:pt x="156" y="147"/>
                  </a:cubicBezTo>
                  <a:cubicBezTo>
                    <a:pt x="157" y="145"/>
                    <a:pt x="157" y="145"/>
                    <a:pt x="157" y="145"/>
                  </a:cubicBezTo>
                  <a:cubicBezTo>
                    <a:pt x="158" y="143"/>
                    <a:pt x="159" y="142"/>
                    <a:pt x="160" y="141"/>
                  </a:cubicBezTo>
                  <a:cubicBezTo>
                    <a:pt x="161" y="141"/>
                    <a:pt x="161" y="140"/>
                    <a:pt x="162" y="140"/>
                  </a:cubicBezTo>
                  <a:cubicBezTo>
                    <a:pt x="161" y="140"/>
                    <a:pt x="160" y="141"/>
                    <a:pt x="159" y="141"/>
                  </a:cubicBezTo>
                  <a:cubicBezTo>
                    <a:pt x="152" y="143"/>
                    <a:pt x="152" y="143"/>
                    <a:pt x="152" y="143"/>
                  </a:cubicBezTo>
                  <a:cubicBezTo>
                    <a:pt x="152" y="143"/>
                    <a:pt x="151" y="143"/>
                    <a:pt x="151" y="143"/>
                  </a:cubicBezTo>
                  <a:cubicBezTo>
                    <a:pt x="150" y="143"/>
                    <a:pt x="149" y="143"/>
                    <a:pt x="149" y="142"/>
                  </a:cubicBezTo>
                  <a:cubicBezTo>
                    <a:pt x="148" y="141"/>
                    <a:pt x="148" y="141"/>
                    <a:pt x="147" y="140"/>
                  </a:cubicBezTo>
                  <a:cubicBezTo>
                    <a:pt x="147" y="139"/>
                    <a:pt x="147" y="139"/>
                    <a:pt x="147" y="139"/>
                  </a:cubicBezTo>
                  <a:cubicBezTo>
                    <a:pt x="146" y="138"/>
                    <a:pt x="146" y="138"/>
                    <a:pt x="146" y="138"/>
                  </a:cubicBezTo>
                  <a:cubicBezTo>
                    <a:pt x="146" y="137"/>
                    <a:pt x="146" y="137"/>
                    <a:pt x="146" y="137"/>
                  </a:cubicBezTo>
                  <a:cubicBezTo>
                    <a:pt x="145" y="136"/>
                    <a:pt x="145" y="136"/>
                    <a:pt x="144" y="135"/>
                  </a:cubicBezTo>
                  <a:cubicBezTo>
                    <a:pt x="144" y="134"/>
                    <a:pt x="144" y="134"/>
                    <a:pt x="144" y="134"/>
                  </a:cubicBezTo>
                  <a:cubicBezTo>
                    <a:pt x="144" y="134"/>
                    <a:pt x="144" y="134"/>
                    <a:pt x="144" y="133"/>
                  </a:cubicBezTo>
                  <a:cubicBezTo>
                    <a:pt x="144" y="133"/>
                    <a:pt x="144" y="132"/>
                    <a:pt x="144" y="132"/>
                  </a:cubicBezTo>
                  <a:cubicBezTo>
                    <a:pt x="144" y="131"/>
                    <a:pt x="144" y="131"/>
                    <a:pt x="144" y="131"/>
                  </a:cubicBezTo>
                  <a:cubicBezTo>
                    <a:pt x="144" y="131"/>
                    <a:pt x="144" y="131"/>
                    <a:pt x="144" y="131"/>
                  </a:cubicBezTo>
                  <a:cubicBezTo>
                    <a:pt x="128" y="129"/>
                    <a:pt x="128" y="129"/>
                    <a:pt x="128" y="129"/>
                  </a:cubicBezTo>
                  <a:cubicBezTo>
                    <a:pt x="129" y="126"/>
                    <a:pt x="129" y="126"/>
                    <a:pt x="129" y="126"/>
                  </a:cubicBezTo>
                  <a:cubicBezTo>
                    <a:pt x="130" y="124"/>
                    <a:pt x="130" y="122"/>
                    <a:pt x="131" y="121"/>
                  </a:cubicBezTo>
                  <a:cubicBezTo>
                    <a:pt x="131" y="120"/>
                    <a:pt x="131" y="120"/>
                    <a:pt x="131" y="120"/>
                  </a:cubicBezTo>
                  <a:cubicBezTo>
                    <a:pt x="131" y="120"/>
                    <a:pt x="131" y="119"/>
                    <a:pt x="131" y="119"/>
                  </a:cubicBezTo>
                  <a:cubicBezTo>
                    <a:pt x="131" y="118"/>
                    <a:pt x="131" y="118"/>
                    <a:pt x="131" y="118"/>
                  </a:cubicBezTo>
                  <a:cubicBezTo>
                    <a:pt x="132" y="118"/>
                    <a:pt x="132" y="117"/>
                    <a:pt x="132" y="116"/>
                  </a:cubicBezTo>
                  <a:cubicBezTo>
                    <a:pt x="132" y="115"/>
                    <a:pt x="132" y="115"/>
                    <a:pt x="132" y="114"/>
                  </a:cubicBezTo>
                  <a:cubicBezTo>
                    <a:pt x="133" y="114"/>
                    <a:pt x="133" y="114"/>
                    <a:pt x="133" y="114"/>
                  </a:cubicBezTo>
                  <a:cubicBezTo>
                    <a:pt x="133" y="113"/>
                    <a:pt x="133" y="113"/>
                    <a:pt x="133" y="113"/>
                  </a:cubicBezTo>
                  <a:cubicBezTo>
                    <a:pt x="134" y="112"/>
                    <a:pt x="134" y="112"/>
                    <a:pt x="134" y="111"/>
                  </a:cubicBezTo>
                  <a:cubicBezTo>
                    <a:pt x="135" y="111"/>
                    <a:pt x="135" y="111"/>
                    <a:pt x="135" y="111"/>
                  </a:cubicBezTo>
                  <a:cubicBezTo>
                    <a:pt x="135" y="111"/>
                    <a:pt x="135" y="111"/>
                    <a:pt x="136" y="110"/>
                  </a:cubicBezTo>
                  <a:cubicBezTo>
                    <a:pt x="136" y="110"/>
                    <a:pt x="136" y="110"/>
                    <a:pt x="136" y="110"/>
                  </a:cubicBezTo>
                  <a:cubicBezTo>
                    <a:pt x="136" y="110"/>
                    <a:pt x="136" y="110"/>
                    <a:pt x="136" y="110"/>
                  </a:cubicBezTo>
                  <a:cubicBezTo>
                    <a:pt x="135" y="110"/>
                    <a:pt x="135" y="110"/>
                    <a:pt x="135" y="110"/>
                  </a:cubicBezTo>
                  <a:cubicBezTo>
                    <a:pt x="135" y="110"/>
                    <a:pt x="134" y="110"/>
                    <a:pt x="134" y="110"/>
                  </a:cubicBezTo>
                  <a:cubicBezTo>
                    <a:pt x="131" y="110"/>
                    <a:pt x="131" y="110"/>
                    <a:pt x="131" y="110"/>
                  </a:cubicBezTo>
                  <a:cubicBezTo>
                    <a:pt x="131" y="110"/>
                    <a:pt x="131" y="110"/>
                    <a:pt x="131" y="110"/>
                  </a:cubicBezTo>
                  <a:cubicBezTo>
                    <a:pt x="130" y="110"/>
                    <a:pt x="130" y="110"/>
                    <a:pt x="129" y="109"/>
                  </a:cubicBezTo>
                  <a:cubicBezTo>
                    <a:pt x="126" y="109"/>
                    <a:pt x="125" y="107"/>
                    <a:pt x="124" y="105"/>
                  </a:cubicBezTo>
                  <a:cubicBezTo>
                    <a:pt x="123" y="103"/>
                    <a:pt x="123" y="103"/>
                    <a:pt x="123" y="103"/>
                  </a:cubicBezTo>
                  <a:cubicBezTo>
                    <a:pt x="123" y="102"/>
                    <a:pt x="122" y="101"/>
                    <a:pt x="122" y="100"/>
                  </a:cubicBezTo>
                  <a:cubicBezTo>
                    <a:pt x="122" y="99"/>
                    <a:pt x="122" y="99"/>
                    <a:pt x="122" y="99"/>
                  </a:cubicBezTo>
                  <a:cubicBezTo>
                    <a:pt x="121" y="98"/>
                    <a:pt x="121" y="98"/>
                    <a:pt x="121" y="98"/>
                  </a:cubicBezTo>
                  <a:cubicBezTo>
                    <a:pt x="121" y="98"/>
                    <a:pt x="121" y="97"/>
                    <a:pt x="121" y="97"/>
                  </a:cubicBezTo>
                  <a:cubicBezTo>
                    <a:pt x="120" y="98"/>
                    <a:pt x="120" y="98"/>
                    <a:pt x="120" y="98"/>
                  </a:cubicBezTo>
                  <a:cubicBezTo>
                    <a:pt x="121" y="96"/>
                    <a:pt x="121" y="96"/>
                    <a:pt x="121" y="96"/>
                  </a:cubicBezTo>
                  <a:cubicBezTo>
                    <a:pt x="121" y="96"/>
                    <a:pt x="121" y="96"/>
                    <a:pt x="121" y="96"/>
                  </a:cubicBezTo>
                  <a:cubicBezTo>
                    <a:pt x="120" y="96"/>
                    <a:pt x="120" y="95"/>
                    <a:pt x="120" y="95"/>
                  </a:cubicBezTo>
                  <a:cubicBezTo>
                    <a:pt x="120" y="95"/>
                    <a:pt x="120" y="95"/>
                    <a:pt x="120" y="95"/>
                  </a:cubicBezTo>
                  <a:cubicBezTo>
                    <a:pt x="120" y="94"/>
                    <a:pt x="120" y="93"/>
                    <a:pt x="120" y="93"/>
                  </a:cubicBezTo>
                  <a:cubicBezTo>
                    <a:pt x="120" y="92"/>
                    <a:pt x="120" y="92"/>
                    <a:pt x="120" y="91"/>
                  </a:cubicBezTo>
                  <a:cubicBezTo>
                    <a:pt x="121" y="90"/>
                    <a:pt x="121" y="90"/>
                    <a:pt x="121" y="90"/>
                  </a:cubicBezTo>
                  <a:cubicBezTo>
                    <a:pt x="120" y="90"/>
                    <a:pt x="119" y="90"/>
                    <a:pt x="118" y="90"/>
                  </a:cubicBezTo>
                  <a:cubicBezTo>
                    <a:pt x="118" y="90"/>
                    <a:pt x="118" y="90"/>
                    <a:pt x="118" y="90"/>
                  </a:cubicBezTo>
                  <a:cubicBezTo>
                    <a:pt x="117" y="90"/>
                    <a:pt x="117" y="90"/>
                    <a:pt x="117" y="90"/>
                  </a:cubicBezTo>
                  <a:cubicBezTo>
                    <a:pt x="116" y="90"/>
                    <a:pt x="116" y="90"/>
                    <a:pt x="116" y="90"/>
                  </a:cubicBezTo>
                  <a:cubicBezTo>
                    <a:pt x="115" y="90"/>
                    <a:pt x="114" y="89"/>
                    <a:pt x="113" y="89"/>
                  </a:cubicBezTo>
                  <a:cubicBezTo>
                    <a:pt x="113" y="89"/>
                    <a:pt x="113" y="90"/>
                    <a:pt x="113" y="90"/>
                  </a:cubicBezTo>
                  <a:cubicBezTo>
                    <a:pt x="112" y="90"/>
                    <a:pt x="112" y="90"/>
                    <a:pt x="112" y="90"/>
                  </a:cubicBezTo>
                  <a:cubicBezTo>
                    <a:pt x="112" y="90"/>
                    <a:pt x="112" y="90"/>
                    <a:pt x="112" y="90"/>
                  </a:cubicBezTo>
                  <a:cubicBezTo>
                    <a:pt x="112" y="90"/>
                    <a:pt x="111" y="90"/>
                    <a:pt x="110" y="91"/>
                  </a:cubicBezTo>
                  <a:cubicBezTo>
                    <a:pt x="107" y="93"/>
                    <a:pt x="104" y="94"/>
                    <a:pt x="102" y="94"/>
                  </a:cubicBezTo>
                  <a:cubicBezTo>
                    <a:pt x="102" y="94"/>
                    <a:pt x="101" y="94"/>
                    <a:pt x="101" y="94"/>
                  </a:cubicBezTo>
                  <a:cubicBezTo>
                    <a:pt x="101" y="94"/>
                    <a:pt x="101" y="94"/>
                    <a:pt x="101" y="94"/>
                  </a:cubicBezTo>
                  <a:cubicBezTo>
                    <a:pt x="100" y="94"/>
                    <a:pt x="100" y="94"/>
                    <a:pt x="100" y="94"/>
                  </a:cubicBezTo>
                  <a:cubicBezTo>
                    <a:pt x="99" y="93"/>
                    <a:pt x="98" y="92"/>
                    <a:pt x="98" y="90"/>
                  </a:cubicBezTo>
                  <a:cubicBezTo>
                    <a:pt x="99" y="89"/>
                    <a:pt x="99" y="89"/>
                    <a:pt x="99" y="89"/>
                  </a:cubicBezTo>
                  <a:cubicBezTo>
                    <a:pt x="99" y="88"/>
                    <a:pt x="99" y="88"/>
                    <a:pt x="99" y="88"/>
                  </a:cubicBezTo>
                  <a:cubicBezTo>
                    <a:pt x="101" y="85"/>
                    <a:pt x="101" y="85"/>
                    <a:pt x="101" y="85"/>
                  </a:cubicBezTo>
                  <a:cubicBezTo>
                    <a:pt x="101" y="85"/>
                    <a:pt x="101" y="84"/>
                    <a:pt x="101" y="84"/>
                  </a:cubicBezTo>
                  <a:cubicBezTo>
                    <a:pt x="100" y="83"/>
                    <a:pt x="100" y="83"/>
                    <a:pt x="100" y="83"/>
                  </a:cubicBezTo>
                  <a:cubicBezTo>
                    <a:pt x="100" y="83"/>
                    <a:pt x="100" y="83"/>
                    <a:pt x="100" y="83"/>
                  </a:cubicBezTo>
                  <a:cubicBezTo>
                    <a:pt x="99" y="83"/>
                    <a:pt x="98" y="82"/>
                    <a:pt x="98" y="80"/>
                  </a:cubicBezTo>
                  <a:cubicBezTo>
                    <a:pt x="98" y="80"/>
                    <a:pt x="98" y="80"/>
                    <a:pt x="98" y="80"/>
                  </a:cubicBezTo>
                  <a:cubicBezTo>
                    <a:pt x="98" y="79"/>
                    <a:pt x="98" y="79"/>
                    <a:pt x="98" y="78"/>
                  </a:cubicBezTo>
                  <a:cubicBezTo>
                    <a:pt x="98" y="77"/>
                    <a:pt x="98" y="74"/>
                    <a:pt x="101" y="72"/>
                  </a:cubicBezTo>
                  <a:cubicBezTo>
                    <a:pt x="102" y="72"/>
                    <a:pt x="102" y="72"/>
                    <a:pt x="102" y="72"/>
                  </a:cubicBezTo>
                  <a:cubicBezTo>
                    <a:pt x="102" y="71"/>
                    <a:pt x="102" y="71"/>
                    <a:pt x="102" y="71"/>
                  </a:cubicBezTo>
                  <a:cubicBezTo>
                    <a:pt x="102" y="71"/>
                    <a:pt x="102" y="71"/>
                    <a:pt x="102" y="71"/>
                  </a:cubicBezTo>
                  <a:cubicBezTo>
                    <a:pt x="102" y="71"/>
                    <a:pt x="102" y="71"/>
                    <a:pt x="102" y="71"/>
                  </a:cubicBezTo>
                  <a:cubicBezTo>
                    <a:pt x="102" y="71"/>
                    <a:pt x="102" y="71"/>
                    <a:pt x="102" y="71"/>
                  </a:cubicBezTo>
                  <a:cubicBezTo>
                    <a:pt x="102" y="70"/>
                    <a:pt x="102" y="70"/>
                    <a:pt x="102" y="70"/>
                  </a:cubicBezTo>
                  <a:cubicBezTo>
                    <a:pt x="102" y="69"/>
                    <a:pt x="102" y="68"/>
                    <a:pt x="103" y="67"/>
                  </a:cubicBezTo>
                  <a:cubicBezTo>
                    <a:pt x="103" y="65"/>
                    <a:pt x="103" y="64"/>
                    <a:pt x="105" y="62"/>
                  </a:cubicBezTo>
                  <a:cubicBezTo>
                    <a:pt x="106" y="62"/>
                    <a:pt x="106" y="62"/>
                    <a:pt x="106" y="62"/>
                  </a:cubicBezTo>
                  <a:cubicBezTo>
                    <a:pt x="106" y="61"/>
                    <a:pt x="106" y="61"/>
                    <a:pt x="106" y="61"/>
                  </a:cubicBezTo>
                  <a:cubicBezTo>
                    <a:pt x="106" y="61"/>
                    <a:pt x="106" y="61"/>
                    <a:pt x="106" y="61"/>
                  </a:cubicBezTo>
                  <a:cubicBezTo>
                    <a:pt x="107" y="61"/>
                    <a:pt x="107" y="61"/>
                    <a:pt x="107" y="61"/>
                  </a:cubicBezTo>
                  <a:cubicBezTo>
                    <a:pt x="107" y="61"/>
                    <a:pt x="107" y="61"/>
                    <a:pt x="107" y="61"/>
                  </a:cubicBezTo>
                  <a:cubicBezTo>
                    <a:pt x="108" y="61"/>
                    <a:pt x="108" y="60"/>
                    <a:pt x="109" y="60"/>
                  </a:cubicBezTo>
                  <a:cubicBezTo>
                    <a:pt x="109" y="60"/>
                    <a:pt x="109" y="60"/>
                    <a:pt x="109" y="60"/>
                  </a:cubicBezTo>
                  <a:cubicBezTo>
                    <a:pt x="109" y="59"/>
                    <a:pt x="109" y="59"/>
                    <a:pt x="109" y="59"/>
                  </a:cubicBezTo>
                  <a:cubicBezTo>
                    <a:pt x="109" y="59"/>
                    <a:pt x="109" y="59"/>
                    <a:pt x="109" y="59"/>
                  </a:cubicBezTo>
                  <a:cubicBezTo>
                    <a:pt x="109" y="58"/>
                    <a:pt x="110" y="56"/>
                    <a:pt x="111" y="56"/>
                  </a:cubicBezTo>
                  <a:cubicBezTo>
                    <a:pt x="112" y="55"/>
                    <a:pt x="112" y="55"/>
                    <a:pt x="112" y="55"/>
                  </a:cubicBezTo>
                  <a:cubicBezTo>
                    <a:pt x="113" y="55"/>
                    <a:pt x="114" y="55"/>
                    <a:pt x="114" y="56"/>
                  </a:cubicBezTo>
                  <a:cubicBezTo>
                    <a:pt x="114" y="56"/>
                    <a:pt x="115" y="56"/>
                    <a:pt x="115" y="56"/>
                  </a:cubicBezTo>
                  <a:cubicBezTo>
                    <a:pt x="115" y="56"/>
                    <a:pt x="115" y="56"/>
                    <a:pt x="115" y="56"/>
                  </a:cubicBezTo>
                  <a:cubicBezTo>
                    <a:pt x="115" y="56"/>
                    <a:pt x="117" y="54"/>
                    <a:pt x="117" y="53"/>
                  </a:cubicBezTo>
                  <a:cubicBezTo>
                    <a:pt x="118" y="53"/>
                    <a:pt x="118" y="53"/>
                    <a:pt x="119" y="52"/>
                  </a:cubicBezTo>
                  <a:cubicBezTo>
                    <a:pt x="119" y="52"/>
                    <a:pt x="119" y="52"/>
                    <a:pt x="119" y="52"/>
                  </a:cubicBezTo>
                  <a:cubicBezTo>
                    <a:pt x="119" y="52"/>
                    <a:pt x="119" y="52"/>
                    <a:pt x="119" y="52"/>
                  </a:cubicBezTo>
                  <a:cubicBezTo>
                    <a:pt x="119" y="51"/>
                    <a:pt x="119" y="51"/>
                    <a:pt x="119" y="50"/>
                  </a:cubicBezTo>
                  <a:cubicBezTo>
                    <a:pt x="118" y="49"/>
                    <a:pt x="118" y="49"/>
                    <a:pt x="118" y="49"/>
                  </a:cubicBezTo>
                  <a:cubicBezTo>
                    <a:pt x="118" y="48"/>
                    <a:pt x="118" y="47"/>
                    <a:pt x="118" y="46"/>
                  </a:cubicBezTo>
                  <a:cubicBezTo>
                    <a:pt x="118" y="45"/>
                    <a:pt x="118" y="45"/>
                    <a:pt x="118" y="45"/>
                  </a:cubicBezTo>
                  <a:cubicBezTo>
                    <a:pt x="119" y="45"/>
                    <a:pt x="119" y="45"/>
                    <a:pt x="119" y="45"/>
                  </a:cubicBezTo>
                  <a:cubicBezTo>
                    <a:pt x="119" y="44"/>
                    <a:pt x="119" y="43"/>
                    <a:pt x="120" y="42"/>
                  </a:cubicBezTo>
                  <a:cubicBezTo>
                    <a:pt x="120" y="41"/>
                    <a:pt x="120" y="41"/>
                    <a:pt x="120" y="41"/>
                  </a:cubicBezTo>
                  <a:cubicBezTo>
                    <a:pt x="120" y="41"/>
                    <a:pt x="120" y="40"/>
                    <a:pt x="121" y="40"/>
                  </a:cubicBezTo>
                  <a:cubicBezTo>
                    <a:pt x="121" y="39"/>
                    <a:pt x="121" y="39"/>
                    <a:pt x="121" y="38"/>
                  </a:cubicBezTo>
                  <a:cubicBezTo>
                    <a:pt x="121" y="36"/>
                    <a:pt x="121" y="34"/>
                    <a:pt x="121" y="31"/>
                  </a:cubicBezTo>
                  <a:cubicBezTo>
                    <a:pt x="121" y="30"/>
                    <a:pt x="121" y="30"/>
                    <a:pt x="121" y="29"/>
                  </a:cubicBezTo>
                  <a:cubicBezTo>
                    <a:pt x="121" y="27"/>
                    <a:pt x="121" y="27"/>
                    <a:pt x="121" y="27"/>
                  </a:cubicBezTo>
                  <a:cubicBezTo>
                    <a:pt x="121" y="25"/>
                    <a:pt x="121" y="21"/>
                    <a:pt x="120" y="19"/>
                  </a:cubicBezTo>
                  <a:cubicBezTo>
                    <a:pt x="120" y="18"/>
                    <a:pt x="120" y="18"/>
                    <a:pt x="120" y="18"/>
                  </a:cubicBezTo>
                  <a:cubicBezTo>
                    <a:pt x="120" y="18"/>
                    <a:pt x="120" y="18"/>
                    <a:pt x="120" y="18"/>
                  </a:cubicBezTo>
                  <a:cubicBezTo>
                    <a:pt x="120" y="18"/>
                    <a:pt x="120" y="18"/>
                    <a:pt x="120" y="18"/>
                  </a:cubicBezTo>
                  <a:cubicBezTo>
                    <a:pt x="116" y="18"/>
                    <a:pt x="116" y="18"/>
                    <a:pt x="116" y="18"/>
                  </a:cubicBezTo>
                  <a:cubicBezTo>
                    <a:pt x="114" y="17"/>
                    <a:pt x="113" y="16"/>
                    <a:pt x="112" y="15"/>
                  </a:cubicBezTo>
                  <a:cubicBezTo>
                    <a:pt x="111" y="13"/>
                    <a:pt x="110" y="11"/>
                    <a:pt x="110" y="10"/>
                  </a:cubicBezTo>
                  <a:cubicBezTo>
                    <a:pt x="110" y="8"/>
                    <a:pt x="109" y="6"/>
                    <a:pt x="108" y="5"/>
                  </a:cubicBezTo>
                  <a:cubicBezTo>
                    <a:pt x="108" y="5"/>
                    <a:pt x="108" y="5"/>
                    <a:pt x="108" y="5"/>
                  </a:cubicBezTo>
                  <a:cubicBezTo>
                    <a:pt x="108" y="4"/>
                    <a:pt x="107" y="4"/>
                    <a:pt x="107" y="3"/>
                  </a:cubicBezTo>
                  <a:cubicBezTo>
                    <a:pt x="106" y="3"/>
                    <a:pt x="106" y="2"/>
                    <a:pt x="106" y="2"/>
                  </a:cubicBezTo>
                  <a:cubicBezTo>
                    <a:pt x="105" y="2"/>
                    <a:pt x="105" y="2"/>
                    <a:pt x="105" y="2"/>
                  </a:cubicBezTo>
                  <a:cubicBezTo>
                    <a:pt x="105" y="2"/>
                    <a:pt x="105" y="2"/>
                    <a:pt x="105" y="2"/>
                  </a:cubicBezTo>
                  <a:cubicBezTo>
                    <a:pt x="104" y="2"/>
                    <a:pt x="103" y="1"/>
                    <a:pt x="102" y="1"/>
                  </a:cubicBezTo>
                  <a:cubicBezTo>
                    <a:pt x="102" y="0"/>
                    <a:pt x="102" y="0"/>
                    <a:pt x="102" y="0"/>
                  </a:cubicBezTo>
                  <a:cubicBezTo>
                    <a:pt x="102" y="0"/>
                    <a:pt x="102" y="0"/>
                    <a:pt x="1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 name="Freeform 435">
              <a:extLst>
                <a:ext uri="{FF2B5EF4-FFF2-40B4-BE49-F238E27FC236}">
                  <a16:creationId xmlns:a16="http://schemas.microsoft.com/office/drawing/2014/main" id="{325EEF2F-0C9E-4BAD-AF8D-F9607C99BC26}"/>
                </a:ext>
              </a:extLst>
            </p:cNvPr>
            <p:cNvSpPr>
              <a:spLocks/>
            </p:cNvSpPr>
            <p:nvPr/>
          </p:nvSpPr>
          <p:spPr bwMode="auto">
            <a:xfrm>
              <a:off x="4628394" y="5504517"/>
              <a:ext cx="6878" cy="20632"/>
            </a:xfrm>
            <a:custGeom>
              <a:avLst/>
              <a:gdLst>
                <a:gd name="T0" fmla="*/ 0 w 2"/>
                <a:gd name="T1" fmla="*/ 0 h 6"/>
                <a:gd name="T2" fmla="*/ 0 w 2"/>
                <a:gd name="T3" fmla="*/ 0 h 6"/>
                <a:gd name="T4" fmla="*/ 0 w 2"/>
                <a:gd name="T5" fmla="*/ 0 h 6"/>
                <a:gd name="T6" fmla="*/ 1 w 2"/>
                <a:gd name="T7" fmla="*/ 6 h 6"/>
                <a:gd name="T8" fmla="*/ 2 w 2"/>
                <a:gd name="T9" fmla="*/ 3 h 6"/>
                <a:gd name="T10" fmla="*/ 2 w 2"/>
                <a:gd name="T11" fmla="*/ 2 h 6"/>
                <a:gd name="T12" fmla="*/ 1 w 2"/>
                <a:gd name="T13" fmla="*/ 1 h 6"/>
                <a:gd name="T14" fmla="*/ 1 w 2"/>
                <a:gd name="T15" fmla="*/ 0 h 6"/>
                <a:gd name="T16" fmla="*/ 0 w 2"/>
                <a:gd name="T17" fmla="*/ 0 h 6"/>
                <a:gd name="T18" fmla="*/ 0 w 2"/>
                <a:gd name="T19" fmla="*/ 0 h 6"/>
                <a:gd name="T20" fmla="*/ 0 w 2"/>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0"/>
                  </a:moveTo>
                  <a:cubicBezTo>
                    <a:pt x="0" y="0"/>
                    <a:pt x="0" y="0"/>
                    <a:pt x="0" y="0"/>
                  </a:cubicBezTo>
                  <a:cubicBezTo>
                    <a:pt x="0" y="0"/>
                    <a:pt x="0" y="0"/>
                    <a:pt x="0" y="0"/>
                  </a:cubicBezTo>
                  <a:cubicBezTo>
                    <a:pt x="1" y="6"/>
                    <a:pt x="1" y="6"/>
                    <a:pt x="1" y="6"/>
                  </a:cubicBezTo>
                  <a:cubicBezTo>
                    <a:pt x="2" y="5"/>
                    <a:pt x="2" y="4"/>
                    <a:pt x="2" y="3"/>
                  </a:cubicBezTo>
                  <a:cubicBezTo>
                    <a:pt x="2" y="3"/>
                    <a:pt x="2" y="2"/>
                    <a:pt x="2" y="2"/>
                  </a:cubicBezTo>
                  <a:cubicBezTo>
                    <a:pt x="2" y="2"/>
                    <a:pt x="2" y="1"/>
                    <a:pt x="1" y="1"/>
                  </a:cubicBezTo>
                  <a:cubicBezTo>
                    <a:pt x="1" y="0"/>
                    <a:pt x="1" y="0"/>
                    <a:pt x="1" y="0"/>
                  </a:cubicBez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 name="Rectangle 436">
              <a:extLst>
                <a:ext uri="{FF2B5EF4-FFF2-40B4-BE49-F238E27FC236}">
                  <a16:creationId xmlns:a16="http://schemas.microsoft.com/office/drawing/2014/main" id="{303B8695-7DDD-45A6-BC6B-723CBA8E7A08}"/>
                </a:ext>
              </a:extLst>
            </p:cNvPr>
            <p:cNvSpPr>
              <a:spLocks noChangeArrowheads="1"/>
            </p:cNvSpPr>
            <p:nvPr/>
          </p:nvSpPr>
          <p:spPr bwMode="auto">
            <a:xfrm>
              <a:off x="4676535" y="5687453"/>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Freeform 437">
              <a:extLst>
                <a:ext uri="{FF2B5EF4-FFF2-40B4-BE49-F238E27FC236}">
                  <a16:creationId xmlns:a16="http://schemas.microsoft.com/office/drawing/2014/main" id="{C2AA5410-5B7E-4983-835F-9C83BD98C23D}"/>
                </a:ext>
              </a:extLst>
            </p:cNvPr>
            <p:cNvSpPr>
              <a:spLocks/>
            </p:cNvSpPr>
            <p:nvPr/>
          </p:nvSpPr>
          <p:spPr bwMode="auto">
            <a:xfrm>
              <a:off x="4676535" y="568745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Freeform 438">
              <a:extLst>
                <a:ext uri="{FF2B5EF4-FFF2-40B4-BE49-F238E27FC236}">
                  <a16:creationId xmlns:a16="http://schemas.microsoft.com/office/drawing/2014/main" id="{68B30C79-6763-4164-90A2-25C34392C334}"/>
                </a:ext>
              </a:extLst>
            </p:cNvPr>
            <p:cNvSpPr>
              <a:spLocks/>
            </p:cNvSpPr>
            <p:nvPr/>
          </p:nvSpPr>
          <p:spPr bwMode="auto">
            <a:xfrm>
              <a:off x="4456462" y="5499016"/>
              <a:ext cx="493787" cy="916050"/>
            </a:xfrm>
            <a:custGeom>
              <a:avLst/>
              <a:gdLst>
                <a:gd name="T0" fmla="*/ 40 w 152"/>
                <a:gd name="T1" fmla="*/ 3 h 282"/>
                <a:gd name="T2" fmla="*/ 33 w 152"/>
                <a:gd name="T3" fmla="*/ 6 h 282"/>
                <a:gd name="T4" fmla="*/ 29 w 152"/>
                <a:gd name="T5" fmla="*/ 12 h 282"/>
                <a:gd name="T6" fmla="*/ 23 w 152"/>
                <a:gd name="T7" fmla="*/ 19 h 282"/>
                <a:gd name="T8" fmla="*/ 12 w 152"/>
                <a:gd name="T9" fmla="*/ 14 h 282"/>
                <a:gd name="T10" fmla="*/ 6 w 152"/>
                <a:gd name="T11" fmla="*/ 28 h 282"/>
                <a:gd name="T12" fmla="*/ 7 w 152"/>
                <a:gd name="T13" fmla="*/ 34 h 282"/>
                <a:gd name="T14" fmla="*/ 1 w 152"/>
                <a:gd name="T15" fmla="*/ 38 h 282"/>
                <a:gd name="T16" fmla="*/ 5 w 152"/>
                <a:gd name="T17" fmla="*/ 43 h 282"/>
                <a:gd name="T18" fmla="*/ 16 w 152"/>
                <a:gd name="T19" fmla="*/ 62 h 282"/>
                <a:gd name="T20" fmla="*/ 21 w 152"/>
                <a:gd name="T21" fmla="*/ 66 h 282"/>
                <a:gd name="T22" fmla="*/ 25 w 152"/>
                <a:gd name="T23" fmla="*/ 72 h 282"/>
                <a:gd name="T24" fmla="*/ 27 w 152"/>
                <a:gd name="T25" fmla="*/ 84 h 282"/>
                <a:gd name="T26" fmla="*/ 22 w 152"/>
                <a:gd name="T27" fmla="*/ 96 h 282"/>
                <a:gd name="T28" fmla="*/ 24 w 152"/>
                <a:gd name="T29" fmla="*/ 118 h 282"/>
                <a:gd name="T30" fmla="*/ 32 w 152"/>
                <a:gd name="T31" fmla="*/ 126 h 282"/>
                <a:gd name="T32" fmla="*/ 33 w 152"/>
                <a:gd name="T33" fmla="*/ 142 h 282"/>
                <a:gd name="T34" fmla="*/ 35 w 152"/>
                <a:gd name="T35" fmla="*/ 146 h 282"/>
                <a:gd name="T36" fmla="*/ 42 w 152"/>
                <a:gd name="T37" fmla="*/ 164 h 282"/>
                <a:gd name="T38" fmla="*/ 27 w 152"/>
                <a:gd name="T39" fmla="*/ 192 h 282"/>
                <a:gd name="T40" fmla="*/ 14 w 152"/>
                <a:gd name="T41" fmla="*/ 218 h 282"/>
                <a:gd name="T42" fmla="*/ 14 w 152"/>
                <a:gd name="T43" fmla="*/ 235 h 282"/>
                <a:gd name="T44" fmla="*/ 29 w 152"/>
                <a:gd name="T45" fmla="*/ 242 h 282"/>
                <a:gd name="T46" fmla="*/ 38 w 152"/>
                <a:gd name="T47" fmla="*/ 252 h 282"/>
                <a:gd name="T48" fmla="*/ 48 w 152"/>
                <a:gd name="T49" fmla="*/ 265 h 282"/>
                <a:gd name="T50" fmla="*/ 63 w 152"/>
                <a:gd name="T51" fmla="*/ 268 h 282"/>
                <a:gd name="T52" fmla="*/ 71 w 152"/>
                <a:gd name="T53" fmla="*/ 277 h 282"/>
                <a:gd name="T54" fmla="*/ 76 w 152"/>
                <a:gd name="T55" fmla="*/ 278 h 282"/>
                <a:gd name="T56" fmla="*/ 83 w 152"/>
                <a:gd name="T57" fmla="*/ 270 h 282"/>
                <a:gd name="T58" fmla="*/ 68 w 152"/>
                <a:gd name="T59" fmla="*/ 262 h 282"/>
                <a:gd name="T60" fmla="*/ 54 w 152"/>
                <a:gd name="T61" fmla="*/ 253 h 282"/>
                <a:gd name="T62" fmla="*/ 46 w 152"/>
                <a:gd name="T63" fmla="*/ 224 h 282"/>
                <a:gd name="T64" fmla="*/ 34 w 152"/>
                <a:gd name="T65" fmla="*/ 213 h 282"/>
                <a:gd name="T66" fmla="*/ 46 w 152"/>
                <a:gd name="T67" fmla="*/ 161 h 282"/>
                <a:gd name="T68" fmla="*/ 55 w 152"/>
                <a:gd name="T69" fmla="*/ 134 h 282"/>
                <a:gd name="T70" fmla="*/ 63 w 152"/>
                <a:gd name="T71" fmla="*/ 148 h 282"/>
                <a:gd name="T72" fmla="*/ 90 w 152"/>
                <a:gd name="T73" fmla="*/ 157 h 282"/>
                <a:gd name="T74" fmla="*/ 98 w 152"/>
                <a:gd name="T75" fmla="*/ 157 h 282"/>
                <a:gd name="T76" fmla="*/ 93 w 152"/>
                <a:gd name="T77" fmla="*/ 151 h 282"/>
                <a:gd name="T78" fmla="*/ 92 w 152"/>
                <a:gd name="T79" fmla="*/ 131 h 282"/>
                <a:gd name="T80" fmla="*/ 114 w 152"/>
                <a:gd name="T81" fmla="*/ 114 h 282"/>
                <a:gd name="T82" fmla="*/ 133 w 152"/>
                <a:gd name="T83" fmla="*/ 115 h 282"/>
                <a:gd name="T84" fmla="*/ 144 w 152"/>
                <a:gd name="T85" fmla="*/ 116 h 282"/>
                <a:gd name="T86" fmla="*/ 149 w 152"/>
                <a:gd name="T87" fmla="*/ 101 h 282"/>
                <a:gd name="T88" fmla="*/ 151 w 152"/>
                <a:gd name="T89" fmla="*/ 93 h 282"/>
                <a:gd name="T90" fmla="*/ 139 w 152"/>
                <a:gd name="T91" fmla="*/ 81 h 282"/>
                <a:gd name="T92" fmla="*/ 135 w 152"/>
                <a:gd name="T93" fmla="*/ 73 h 282"/>
                <a:gd name="T94" fmla="*/ 136 w 152"/>
                <a:gd name="T95" fmla="*/ 61 h 282"/>
                <a:gd name="T96" fmla="*/ 125 w 152"/>
                <a:gd name="T97" fmla="*/ 48 h 282"/>
                <a:gd name="T98" fmla="*/ 114 w 152"/>
                <a:gd name="T99" fmla="*/ 40 h 282"/>
                <a:gd name="T100" fmla="*/ 108 w 152"/>
                <a:gd name="T101" fmla="*/ 44 h 282"/>
                <a:gd name="T102" fmla="*/ 101 w 152"/>
                <a:gd name="T103" fmla="*/ 50 h 282"/>
                <a:gd name="T104" fmla="*/ 87 w 152"/>
                <a:gd name="T105" fmla="*/ 45 h 282"/>
                <a:gd name="T106" fmla="*/ 69 w 152"/>
                <a:gd name="T107" fmla="*/ 59 h 282"/>
                <a:gd name="T108" fmla="*/ 64 w 152"/>
                <a:gd name="T109" fmla="*/ 57 h 282"/>
                <a:gd name="T110" fmla="*/ 65 w 152"/>
                <a:gd name="T111" fmla="*/ 48 h 282"/>
                <a:gd name="T112" fmla="*/ 65 w 152"/>
                <a:gd name="T113" fmla="*/ 38 h 282"/>
                <a:gd name="T114" fmla="*/ 69 w 152"/>
                <a:gd name="T115" fmla="*/ 26 h 282"/>
                <a:gd name="T116" fmla="*/ 68 w 152"/>
                <a:gd name="T117" fmla="*/ 18 h 282"/>
                <a:gd name="T118" fmla="*/ 57 w 152"/>
                <a:gd name="T119" fmla="*/ 19 h 282"/>
                <a:gd name="T120" fmla="*/ 53 w 152"/>
                <a:gd name="T121" fmla="*/ 10 h 282"/>
                <a:gd name="T122" fmla="*/ 46 w 152"/>
                <a:gd name="T123" fmla="*/ 1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282">
                  <a:moveTo>
                    <a:pt x="46" y="0"/>
                  </a:moveTo>
                  <a:cubicBezTo>
                    <a:pt x="45" y="1"/>
                    <a:pt x="44" y="1"/>
                    <a:pt x="43" y="2"/>
                  </a:cubicBezTo>
                  <a:cubicBezTo>
                    <a:pt x="42" y="2"/>
                    <a:pt x="42" y="2"/>
                    <a:pt x="41" y="2"/>
                  </a:cubicBezTo>
                  <a:cubicBezTo>
                    <a:pt x="41" y="3"/>
                    <a:pt x="41" y="3"/>
                    <a:pt x="41" y="3"/>
                  </a:cubicBezTo>
                  <a:cubicBezTo>
                    <a:pt x="40" y="3"/>
                    <a:pt x="40" y="3"/>
                    <a:pt x="40" y="3"/>
                  </a:cubicBezTo>
                  <a:cubicBezTo>
                    <a:pt x="40" y="3"/>
                    <a:pt x="40" y="3"/>
                    <a:pt x="40" y="3"/>
                  </a:cubicBezTo>
                  <a:cubicBezTo>
                    <a:pt x="41" y="6"/>
                    <a:pt x="41" y="6"/>
                    <a:pt x="41" y="6"/>
                  </a:cubicBezTo>
                  <a:cubicBezTo>
                    <a:pt x="38" y="6"/>
                    <a:pt x="38" y="6"/>
                    <a:pt x="38" y="6"/>
                  </a:cubicBezTo>
                  <a:cubicBezTo>
                    <a:pt x="37" y="6"/>
                    <a:pt x="37" y="6"/>
                    <a:pt x="37" y="6"/>
                  </a:cubicBezTo>
                  <a:cubicBezTo>
                    <a:pt x="35" y="6"/>
                    <a:pt x="35" y="6"/>
                    <a:pt x="35" y="6"/>
                  </a:cubicBezTo>
                  <a:cubicBezTo>
                    <a:pt x="35" y="6"/>
                    <a:pt x="35" y="6"/>
                    <a:pt x="35" y="6"/>
                  </a:cubicBezTo>
                  <a:cubicBezTo>
                    <a:pt x="34" y="6"/>
                    <a:pt x="34" y="6"/>
                    <a:pt x="33" y="6"/>
                  </a:cubicBezTo>
                  <a:cubicBezTo>
                    <a:pt x="33" y="6"/>
                    <a:pt x="32" y="6"/>
                    <a:pt x="32" y="6"/>
                  </a:cubicBezTo>
                  <a:cubicBezTo>
                    <a:pt x="32" y="6"/>
                    <a:pt x="32" y="6"/>
                    <a:pt x="32" y="6"/>
                  </a:cubicBezTo>
                  <a:cubicBezTo>
                    <a:pt x="32" y="7"/>
                    <a:pt x="32" y="7"/>
                    <a:pt x="32" y="8"/>
                  </a:cubicBezTo>
                  <a:cubicBezTo>
                    <a:pt x="31" y="9"/>
                    <a:pt x="31" y="10"/>
                    <a:pt x="31" y="10"/>
                  </a:cubicBezTo>
                  <a:cubicBezTo>
                    <a:pt x="30" y="11"/>
                    <a:pt x="30" y="11"/>
                    <a:pt x="30" y="11"/>
                  </a:cubicBezTo>
                  <a:cubicBezTo>
                    <a:pt x="30" y="11"/>
                    <a:pt x="30" y="12"/>
                    <a:pt x="29" y="12"/>
                  </a:cubicBezTo>
                  <a:cubicBezTo>
                    <a:pt x="29" y="12"/>
                    <a:pt x="29" y="12"/>
                    <a:pt x="29" y="12"/>
                  </a:cubicBezTo>
                  <a:cubicBezTo>
                    <a:pt x="28" y="13"/>
                    <a:pt x="28" y="13"/>
                    <a:pt x="28" y="13"/>
                  </a:cubicBezTo>
                  <a:cubicBezTo>
                    <a:pt x="27" y="14"/>
                    <a:pt x="26" y="14"/>
                    <a:pt x="25" y="14"/>
                  </a:cubicBezTo>
                  <a:cubicBezTo>
                    <a:pt x="24" y="14"/>
                    <a:pt x="24" y="14"/>
                    <a:pt x="24" y="14"/>
                  </a:cubicBezTo>
                  <a:cubicBezTo>
                    <a:pt x="23" y="14"/>
                    <a:pt x="23" y="14"/>
                    <a:pt x="23" y="14"/>
                  </a:cubicBezTo>
                  <a:cubicBezTo>
                    <a:pt x="23" y="19"/>
                    <a:pt x="23" y="19"/>
                    <a:pt x="23" y="19"/>
                  </a:cubicBezTo>
                  <a:cubicBezTo>
                    <a:pt x="21" y="14"/>
                    <a:pt x="21" y="14"/>
                    <a:pt x="21" y="14"/>
                  </a:cubicBezTo>
                  <a:cubicBezTo>
                    <a:pt x="21" y="14"/>
                    <a:pt x="21" y="14"/>
                    <a:pt x="21" y="14"/>
                  </a:cubicBezTo>
                  <a:cubicBezTo>
                    <a:pt x="20" y="15"/>
                    <a:pt x="20" y="15"/>
                    <a:pt x="19" y="15"/>
                  </a:cubicBezTo>
                  <a:cubicBezTo>
                    <a:pt x="18" y="15"/>
                    <a:pt x="18" y="15"/>
                    <a:pt x="18" y="15"/>
                  </a:cubicBezTo>
                  <a:cubicBezTo>
                    <a:pt x="17" y="15"/>
                    <a:pt x="17" y="15"/>
                    <a:pt x="17" y="15"/>
                  </a:cubicBezTo>
                  <a:cubicBezTo>
                    <a:pt x="15" y="14"/>
                    <a:pt x="14" y="14"/>
                    <a:pt x="12" y="14"/>
                  </a:cubicBezTo>
                  <a:cubicBezTo>
                    <a:pt x="12" y="17"/>
                    <a:pt x="12" y="17"/>
                    <a:pt x="12" y="17"/>
                  </a:cubicBezTo>
                  <a:cubicBezTo>
                    <a:pt x="11" y="14"/>
                    <a:pt x="11" y="14"/>
                    <a:pt x="11" y="14"/>
                  </a:cubicBezTo>
                  <a:cubicBezTo>
                    <a:pt x="11" y="13"/>
                    <a:pt x="11" y="13"/>
                    <a:pt x="11" y="13"/>
                  </a:cubicBezTo>
                  <a:cubicBezTo>
                    <a:pt x="9" y="16"/>
                    <a:pt x="8" y="17"/>
                    <a:pt x="8" y="20"/>
                  </a:cubicBezTo>
                  <a:cubicBezTo>
                    <a:pt x="8" y="23"/>
                    <a:pt x="7" y="25"/>
                    <a:pt x="7" y="27"/>
                  </a:cubicBezTo>
                  <a:cubicBezTo>
                    <a:pt x="6" y="28"/>
                    <a:pt x="6" y="28"/>
                    <a:pt x="6" y="28"/>
                  </a:cubicBezTo>
                  <a:cubicBezTo>
                    <a:pt x="6" y="29"/>
                    <a:pt x="6" y="29"/>
                    <a:pt x="7" y="30"/>
                  </a:cubicBezTo>
                  <a:cubicBezTo>
                    <a:pt x="7" y="31"/>
                    <a:pt x="7" y="31"/>
                    <a:pt x="7" y="31"/>
                  </a:cubicBezTo>
                  <a:cubicBezTo>
                    <a:pt x="7" y="32"/>
                    <a:pt x="7" y="32"/>
                    <a:pt x="7" y="32"/>
                  </a:cubicBezTo>
                  <a:cubicBezTo>
                    <a:pt x="7" y="32"/>
                    <a:pt x="7" y="32"/>
                    <a:pt x="7" y="33"/>
                  </a:cubicBezTo>
                  <a:cubicBezTo>
                    <a:pt x="7" y="33"/>
                    <a:pt x="7" y="33"/>
                    <a:pt x="7" y="33"/>
                  </a:cubicBezTo>
                  <a:cubicBezTo>
                    <a:pt x="7" y="34"/>
                    <a:pt x="7" y="34"/>
                    <a:pt x="7" y="34"/>
                  </a:cubicBezTo>
                  <a:cubicBezTo>
                    <a:pt x="7" y="34"/>
                    <a:pt x="7" y="34"/>
                    <a:pt x="7" y="34"/>
                  </a:cubicBezTo>
                  <a:cubicBezTo>
                    <a:pt x="7" y="36"/>
                    <a:pt x="6" y="37"/>
                    <a:pt x="4" y="37"/>
                  </a:cubicBezTo>
                  <a:cubicBezTo>
                    <a:pt x="4" y="37"/>
                    <a:pt x="4" y="37"/>
                    <a:pt x="4" y="37"/>
                  </a:cubicBezTo>
                  <a:cubicBezTo>
                    <a:pt x="3" y="37"/>
                    <a:pt x="2" y="38"/>
                    <a:pt x="1" y="38"/>
                  </a:cubicBezTo>
                  <a:cubicBezTo>
                    <a:pt x="1" y="38"/>
                    <a:pt x="1" y="38"/>
                    <a:pt x="0" y="37"/>
                  </a:cubicBezTo>
                  <a:cubicBezTo>
                    <a:pt x="1" y="38"/>
                    <a:pt x="1" y="38"/>
                    <a:pt x="1" y="38"/>
                  </a:cubicBezTo>
                  <a:cubicBezTo>
                    <a:pt x="1" y="38"/>
                    <a:pt x="1" y="38"/>
                    <a:pt x="2" y="38"/>
                  </a:cubicBezTo>
                  <a:cubicBezTo>
                    <a:pt x="2" y="38"/>
                    <a:pt x="2" y="38"/>
                    <a:pt x="3" y="39"/>
                  </a:cubicBezTo>
                  <a:cubicBezTo>
                    <a:pt x="3" y="39"/>
                    <a:pt x="4" y="40"/>
                    <a:pt x="4" y="40"/>
                  </a:cubicBezTo>
                  <a:cubicBezTo>
                    <a:pt x="4" y="41"/>
                    <a:pt x="5" y="41"/>
                    <a:pt x="5" y="42"/>
                  </a:cubicBezTo>
                  <a:cubicBezTo>
                    <a:pt x="5" y="42"/>
                    <a:pt x="5" y="42"/>
                    <a:pt x="5" y="42"/>
                  </a:cubicBezTo>
                  <a:cubicBezTo>
                    <a:pt x="5" y="43"/>
                    <a:pt x="5" y="43"/>
                    <a:pt x="5" y="43"/>
                  </a:cubicBezTo>
                  <a:cubicBezTo>
                    <a:pt x="6" y="44"/>
                    <a:pt x="6" y="44"/>
                    <a:pt x="6" y="44"/>
                  </a:cubicBezTo>
                  <a:cubicBezTo>
                    <a:pt x="6" y="45"/>
                    <a:pt x="6" y="46"/>
                    <a:pt x="6" y="47"/>
                  </a:cubicBezTo>
                  <a:cubicBezTo>
                    <a:pt x="6" y="47"/>
                    <a:pt x="6" y="48"/>
                    <a:pt x="6" y="49"/>
                  </a:cubicBezTo>
                  <a:cubicBezTo>
                    <a:pt x="6" y="49"/>
                    <a:pt x="6" y="49"/>
                    <a:pt x="6" y="49"/>
                  </a:cubicBezTo>
                  <a:cubicBezTo>
                    <a:pt x="8" y="52"/>
                    <a:pt x="10" y="54"/>
                    <a:pt x="12" y="56"/>
                  </a:cubicBezTo>
                  <a:cubicBezTo>
                    <a:pt x="13" y="58"/>
                    <a:pt x="15" y="60"/>
                    <a:pt x="16" y="62"/>
                  </a:cubicBezTo>
                  <a:cubicBezTo>
                    <a:pt x="17" y="62"/>
                    <a:pt x="17" y="62"/>
                    <a:pt x="17" y="62"/>
                  </a:cubicBezTo>
                  <a:cubicBezTo>
                    <a:pt x="17" y="62"/>
                    <a:pt x="18" y="63"/>
                    <a:pt x="19" y="63"/>
                  </a:cubicBezTo>
                  <a:cubicBezTo>
                    <a:pt x="19" y="64"/>
                    <a:pt x="19" y="64"/>
                    <a:pt x="20" y="64"/>
                  </a:cubicBezTo>
                  <a:cubicBezTo>
                    <a:pt x="20" y="65"/>
                    <a:pt x="20" y="65"/>
                    <a:pt x="20" y="65"/>
                  </a:cubicBezTo>
                  <a:cubicBezTo>
                    <a:pt x="20" y="65"/>
                    <a:pt x="20" y="65"/>
                    <a:pt x="20" y="65"/>
                  </a:cubicBezTo>
                  <a:cubicBezTo>
                    <a:pt x="21" y="66"/>
                    <a:pt x="21" y="66"/>
                    <a:pt x="21" y="66"/>
                  </a:cubicBezTo>
                  <a:cubicBezTo>
                    <a:pt x="21" y="67"/>
                    <a:pt x="21" y="67"/>
                    <a:pt x="21" y="67"/>
                  </a:cubicBezTo>
                  <a:cubicBezTo>
                    <a:pt x="22" y="68"/>
                    <a:pt x="22" y="69"/>
                    <a:pt x="22" y="70"/>
                  </a:cubicBezTo>
                  <a:cubicBezTo>
                    <a:pt x="23" y="71"/>
                    <a:pt x="23" y="72"/>
                    <a:pt x="23" y="73"/>
                  </a:cubicBezTo>
                  <a:cubicBezTo>
                    <a:pt x="23" y="74"/>
                    <a:pt x="23" y="74"/>
                    <a:pt x="23" y="74"/>
                  </a:cubicBezTo>
                  <a:cubicBezTo>
                    <a:pt x="23" y="75"/>
                    <a:pt x="23" y="75"/>
                    <a:pt x="23" y="75"/>
                  </a:cubicBezTo>
                  <a:cubicBezTo>
                    <a:pt x="25" y="72"/>
                    <a:pt x="25" y="72"/>
                    <a:pt x="25" y="72"/>
                  </a:cubicBezTo>
                  <a:cubicBezTo>
                    <a:pt x="27" y="75"/>
                    <a:pt x="27" y="75"/>
                    <a:pt x="27" y="75"/>
                  </a:cubicBezTo>
                  <a:cubicBezTo>
                    <a:pt x="28" y="76"/>
                    <a:pt x="28" y="77"/>
                    <a:pt x="28" y="78"/>
                  </a:cubicBezTo>
                  <a:cubicBezTo>
                    <a:pt x="29" y="79"/>
                    <a:pt x="28" y="80"/>
                    <a:pt x="28" y="80"/>
                  </a:cubicBezTo>
                  <a:cubicBezTo>
                    <a:pt x="28" y="81"/>
                    <a:pt x="28" y="82"/>
                    <a:pt x="27" y="83"/>
                  </a:cubicBezTo>
                  <a:cubicBezTo>
                    <a:pt x="27" y="83"/>
                    <a:pt x="27" y="83"/>
                    <a:pt x="27" y="83"/>
                  </a:cubicBezTo>
                  <a:cubicBezTo>
                    <a:pt x="27" y="84"/>
                    <a:pt x="27" y="84"/>
                    <a:pt x="27" y="84"/>
                  </a:cubicBezTo>
                  <a:cubicBezTo>
                    <a:pt x="26" y="84"/>
                    <a:pt x="26" y="84"/>
                    <a:pt x="26" y="84"/>
                  </a:cubicBezTo>
                  <a:cubicBezTo>
                    <a:pt x="25" y="86"/>
                    <a:pt x="24" y="86"/>
                    <a:pt x="22" y="86"/>
                  </a:cubicBezTo>
                  <a:cubicBezTo>
                    <a:pt x="22" y="86"/>
                    <a:pt x="22" y="86"/>
                    <a:pt x="22" y="86"/>
                  </a:cubicBezTo>
                  <a:cubicBezTo>
                    <a:pt x="22" y="87"/>
                    <a:pt x="22" y="89"/>
                    <a:pt x="22" y="90"/>
                  </a:cubicBezTo>
                  <a:cubicBezTo>
                    <a:pt x="22" y="93"/>
                    <a:pt x="22" y="93"/>
                    <a:pt x="22" y="93"/>
                  </a:cubicBezTo>
                  <a:cubicBezTo>
                    <a:pt x="23" y="94"/>
                    <a:pt x="23" y="95"/>
                    <a:pt x="22" y="96"/>
                  </a:cubicBezTo>
                  <a:cubicBezTo>
                    <a:pt x="22" y="98"/>
                    <a:pt x="22" y="99"/>
                    <a:pt x="20" y="100"/>
                  </a:cubicBezTo>
                  <a:cubicBezTo>
                    <a:pt x="19" y="101"/>
                    <a:pt x="18" y="101"/>
                    <a:pt x="17" y="102"/>
                  </a:cubicBezTo>
                  <a:cubicBezTo>
                    <a:pt x="16" y="102"/>
                    <a:pt x="15" y="102"/>
                    <a:pt x="15" y="102"/>
                  </a:cubicBezTo>
                  <a:cubicBezTo>
                    <a:pt x="15" y="102"/>
                    <a:pt x="15" y="102"/>
                    <a:pt x="15" y="102"/>
                  </a:cubicBezTo>
                  <a:cubicBezTo>
                    <a:pt x="15" y="104"/>
                    <a:pt x="16" y="105"/>
                    <a:pt x="17" y="107"/>
                  </a:cubicBezTo>
                  <a:cubicBezTo>
                    <a:pt x="19" y="111"/>
                    <a:pt x="21" y="114"/>
                    <a:pt x="24" y="118"/>
                  </a:cubicBezTo>
                  <a:cubicBezTo>
                    <a:pt x="26" y="119"/>
                    <a:pt x="26" y="119"/>
                    <a:pt x="26" y="119"/>
                  </a:cubicBezTo>
                  <a:cubicBezTo>
                    <a:pt x="26" y="120"/>
                    <a:pt x="26" y="120"/>
                    <a:pt x="27" y="121"/>
                  </a:cubicBezTo>
                  <a:cubicBezTo>
                    <a:pt x="29" y="123"/>
                    <a:pt x="29" y="123"/>
                    <a:pt x="29" y="123"/>
                  </a:cubicBezTo>
                  <a:cubicBezTo>
                    <a:pt x="30" y="124"/>
                    <a:pt x="30" y="124"/>
                    <a:pt x="30" y="124"/>
                  </a:cubicBezTo>
                  <a:cubicBezTo>
                    <a:pt x="30" y="125"/>
                    <a:pt x="30" y="125"/>
                    <a:pt x="30" y="125"/>
                  </a:cubicBezTo>
                  <a:cubicBezTo>
                    <a:pt x="31" y="125"/>
                    <a:pt x="31" y="126"/>
                    <a:pt x="32" y="126"/>
                  </a:cubicBezTo>
                  <a:cubicBezTo>
                    <a:pt x="32" y="127"/>
                    <a:pt x="33" y="128"/>
                    <a:pt x="33" y="129"/>
                  </a:cubicBezTo>
                  <a:cubicBezTo>
                    <a:pt x="34" y="130"/>
                    <a:pt x="34" y="132"/>
                    <a:pt x="34" y="135"/>
                  </a:cubicBezTo>
                  <a:cubicBezTo>
                    <a:pt x="34" y="136"/>
                    <a:pt x="34" y="136"/>
                    <a:pt x="34" y="136"/>
                  </a:cubicBezTo>
                  <a:cubicBezTo>
                    <a:pt x="34" y="136"/>
                    <a:pt x="34" y="136"/>
                    <a:pt x="34" y="137"/>
                  </a:cubicBezTo>
                  <a:cubicBezTo>
                    <a:pt x="34" y="138"/>
                    <a:pt x="34" y="138"/>
                    <a:pt x="34" y="138"/>
                  </a:cubicBezTo>
                  <a:cubicBezTo>
                    <a:pt x="34" y="139"/>
                    <a:pt x="34" y="140"/>
                    <a:pt x="33" y="142"/>
                  </a:cubicBezTo>
                  <a:cubicBezTo>
                    <a:pt x="33" y="142"/>
                    <a:pt x="33" y="142"/>
                    <a:pt x="33" y="142"/>
                  </a:cubicBezTo>
                  <a:cubicBezTo>
                    <a:pt x="33" y="142"/>
                    <a:pt x="33" y="142"/>
                    <a:pt x="33" y="142"/>
                  </a:cubicBezTo>
                  <a:cubicBezTo>
                    <a:pt x="33" y="143"/>
                    <a:pt x="33" y="143"/>
                    <a:pt x="33" y="143"/>
                  </a:cubicBezTo>
                  <a:cubicBezTo>
                    <a:pt x="33" y="144"/>
                    <a:pt x="33" y="144"/>
                    <a:pt x="33" y="144"/>
                  </a:cubicBezTo>
                  <a:cubicBezTo>
                    <a:pt x="34" y="144"/>
                    <a:pt x="34" y="144"/>
                    <a:pt x="34" y="144"/>
                  </a:cubicBezTo>
                  <a:cubicBezTo>
                    <a:pt x="34" y="145"/>
                    <a:pt x="35" y="145"/>
                    <a:pt x="35" y="146"/>
                  </a:cubicBezTo>
                  <a:cubicBezTo>
                    <a:pt x="37" y="148"/>
                    <a:pt x="38" y="150"/>
                    <a:pt x="39" y="153"/>
                  </a:cubicBezTo>
                  <a:cubicBezTo>
                    <a:pt x="39" y="153"/>
                    <a:pt x="39" y="154"/>
                    <a:pt x="39" y="155"/>
                  </a:cubicBezTo>
                  <a:cubicBezTo>
                    <a:pt x="39" y="155"/>
                    <a:pt x="39" y="155"/>
                    <a:pt x="39" y="155"/>
                  </a:cubicBezTo>
                  <a:cubicBezTo>
                    <a:pt x="39" y="156"/>
                    <a:pt x="39" y="157"/>
                    <a:pt x="39" y="158"/>
                  </a:cubicBezTo>
                  <a:cubicBezTo>
                    <a:pt x="41" y="159"/>
                    <a:pt x="41" y="161"/>
                    <a:pt x="41" y="163"/>
                  </a:cubicBezTo>
                  <a:cubicBezTo>
                    <a:pt x="41" y="163"/>
                    <a:pt x="41" y="164"/>
                    <a:pt x="42" y="164"/>
                  </a:cubicBezTo>
                  <a:cubicBezTo>
                    <a:pt x="44" y="165"/>
                    <a:pt x="44" y="165"/>
                    <a:pt x="44" y="165"/>
                  </a:cubicBezTo>
                  <a:cubicBezTo>
                    <a:pt x="42" y="167"/>
                    <a:pt x="42" y="167"/>
                    <a:pt x="42" y="167"/>
                  </a:cubicBezTo>
                  <a:cubicBezTo>
                    <a:pt x="41" y="169"/>
                    <a:pt x="40" y="171"/>
                    <a:pt x="39" y="174"/>
                  </a:cubicBezTo>
                  <a:cubicBezTo>
                    <a:pt x="38" y="176"/>
                    <a:pt x="36" y="178"/>
                    <a:pt x="35" y="180"/>
                  </a:cubicBezTo>
                  <a:cubicBezTo>
                    <a:pt x="33" y="182"/>
                    <a:pt x="32" y="184"/>
                    <a:pt x="31" y="185"/>
                  </a:cubicBezTo>
                  <a:cubicBezTo>
                    <a:pt x="29" y="187"/>
                    <a:pt x="28" y="189"/>
                    <a:pt x="27" y="192"/>
                  </a:cubicBezTo>
                  <a:cubicBezTo>
                    <a:pt x="21" y="204"/>
                    <a:pt x="21" y="204"/>
                    <a:pt x="21" y="204"/>
                  </a:cubicBezTo>
                  <a:cubicBezTo>
                    <a:pt x="20" y="203"/>
                    <a:pt x="20" y="203"/>
                    <a:pt x="20" y="203"/>
                  </a:cubicBezTo>
                  <a:cubicBezTo>
                    <a:pt x="20" y="204"/>
                    <a:pt x="20" y="204"/>
                    <a:pt x="20" y="204"/>
                  </a:cubicBezTo>
                  <a:cubicBezTo>
                    <a:pt x="18" y="208"/>
                    <a:pt x="16" y="213"/>
                    <a:pt x="15" y="217"/>
                  </a:cubicBezTo>
                  <a:cubicBezTo>
                    <a:pt x="15" y="218"/>
                    <a:pt x="15" y="219"/>
                    <a:pt x="15" y="219"/>
                  </a:cubicBezTo>
                  <a:cubicBezTo>
                    <a:pt x="14" y="219"/>
                    <a:pt x="14" y="218"/>
                    <a:pt x="14" y="218"/>
                  </a:cubicBezTo>
                  <a:cubicBezTo>
                    <a:pt x="14" y="218"/>
                    <a:pt x="14" y="218"/>
                    <a:pt x="14" y="218"/>
                  </a:cubicBezTo>
                  <a:cubicBezTo>
                    <a:pt x="14" y="218"/>
                    <a:pt x="14" y="219"/>
                    <a:pt x="15" y="219"/>
                  </a:cubicBezTo>
                  <a:cubicBezTo>
                    <a:pt x="15" y="221"/>
                    <a:pt x="14" y="222"/>
                    <a:pt x="14" y="224"/>
                  </a:cubicBezTo>
                  <a:cubicBezTo>
                    <a:pt x="13" y="225"/>
                    <a:pt x="13" y="228"/>
                    <a:pt x="13" y="230"/>
                  </a:cubicBezTo>
                  <a:cubicBezTo>
                    <a:pt x="13" y="229"/>
                    <a:pt x="13" y="229"/>
                    <a:pt x="13" y="229"/>
                  </a:cubicBezTo>
                  <a:cubicBezTo>
                    <a:pt x="12" y="230"/>
                    <a:pt x="13" y="233"/>
                    <a:pt x="14" y="235"/>
                  </a:cubicBezTo>
                  <a:cubicBezTo>
                    <a:pt x="15" y="236"/>
                    <a:pt x="16" y="237"/>
                    <a:pt x="16" y="237"/>
                  </a:cubicBezTo>
                  <a:cubicBezTo>
                    <a:pt x="17" y="237"/>
                    <a:pt x="18" y="236"/>
                    <a:pt x="17" y="234"/>
                  </a:cubicBezTo>
                  <a:cubicBezTo>
                    <a:pt x="18" y="234"/>
                    <a:pt x="19" y="233"/>
                    <a:pt x="20" y="233"/>
                  </a:cubicBezTo>
                  <a:cubicBezTo>
                    <a:pt x="22" y="233"/>
                    <a:pt x="22" y="234"/>
                    <a:pt x="24" y="236"/>
                  </a:cubicBezTo>
                  <a:cubicBezTo>
                    <a:pt x="25" y="237"/>
                    <a:pt x="28" y="242"/>
                    <a:pt x="29" y="242"/>
                  </a:cubicBezTo>
                  <a:cubicBezTo>
                    <a:pt x="29" y="242"/>
                    <a:pt x="29" y="242"/>
                    <a:pt x="29" y="242"/>
                  </a:cubicBezTo>
                  <a:cubicBezTo>
                    <a:pt x="29" y="242"/>
                    <a:pt x="28" y="245"/>
                    <a:pt x="29" y="246"/>
                  </a:cubicBezTo>
                  <a:cubicBezTo>
                    <a:pt x="30" y="246"/>
                    <a:pt x="32" y="246"/>
                    <a:pt x="33" y="247"/>
                  </a:cubicBezTo>
                  <a:cubicBezTo>
                    <a:pt x="33" y="248"/>
                    <a:pt x="34" y="251"/>
                    <a:pt x="34" y="252"/>
                  </a:cubicBezTo>
                  <a:cubicBezTo>
                    <a:pt x="35" y="253"/>
                    <a:pt x="35" y="253"/>
                    <a:pt x="36" y="253"/>
                  </a:cubicBezTo>
                  <a:cubicBezTo>
                    <a:pt x="36" y="253"/>
                    <a:pt x="36" y="253"/>
                    <a:pt x="37" y="252"/>
                  </a:cubicBezTo>
                  <a:cubicBezTo>
                    <a:pt x="37" y="252"/>
                    <a:pt x="38" y="252"/>
                    <a:pt x="38" y="252"/>
                  </a:cubicBezTo>
                  <a:cubicBezTo>
                    <a:pt x="39" y="252"/>
                    <a:pt x="39" y="252"/>
                    <a:pt x="39" y="252"/>
                  </a:cubicBezTo>
                  <a:cubicBezTo>
                    <a:pt x="38" y="255"/>
                    <a:pt x="38" y="256"/>
                    <a:pt x="42" y="257"/>
                  </a:cubicBezTo>
                  <a:cubicBezTo>
                    <a:pt x="41" y="258"/>
                    <a:pt x="41" y="259"/>
                    <a:pt x="41" y="261"/>
                  </a:cubicBezTo>
                  <a:cubicBezTo>
                    <a:pt x="41" y="263"/>
                    <a:pt x="45" y="266"/>
                    <a:pt x="47" y="268"/>
                  </a:cubicBezTo>
                  <a:cubicBezTo>
                    <a:pt x="48" y="267"/>
                    <a:pt x="48" y="267"/>
                    <a:pt x="48" y="267"/>
                  </a:cubicBezTo>
                  <a:cubicBezTo>
                    <a:pt x="48" y="267"/>
                    <a:pt x="48" y="266"/>
                    <a:pt x="48" y="265"/>
                  </a:cubicBezTo>
                  <a:cubicBezTo>
                    <a:pt x="50" y="260"/>
                    <a:pt x="50" y="260"/>
                    <a:pt x="50" y="260"/>
                  </a:cubicBezTo>
                  <a:cubicBezTo>
                    <a:pt x="52" y="263"/>
                    <a:pt x="52" y="263"/>
                    <a:pt x="52" y="263"/>
                  </a:cubicBezTo>
                  <a:cubicBezTo>
                    <a:pt x="55" y="265"/>
                    <a:pt x="55" y="265"/>
                    <a:pt x="57" y="266"/>
                  </a:cubicBezTo>
                  <a:cubicBezTo>
                    <a:pt x="58" y="266"/>
                    <a:pt x="60" y="266"/>
                    <a:pt x="61" y="267"/>
                  </a:cubicBezTo>
                  <a:cubicBezTo>
                    <a:pt x="62" y="267"/>
                    <a:pt x="62" y="267"/>
                    <a:pt x="62" y="267"/>
                  </a:cubicBezTo>
                  <a:cubicBezTo>
                    <a:pt x="62" y="267"/>
                    <a:pt x="63" y="267"/>
                    <a:pt x="63" y="268"/>
                  </a:cubicBezTo>
                  <a:cubicBezTo>
                    <a:pt x="64" y="268"/>
                    <a:pt x="64" y="268"/>
                    <a:pt x="64" y="268"/>
                  </a:cubicBezTo>
                  <a:cubicBezTo>
                    <a:pt x="65" y="269"/>
                    <a:pt x="65" y="270"/>
                    <a:pt x="65" y="271"/>
                  </a:cubicBezTo>
                  <a:cubicBezTo>
                    <a:pt x="65" y="271"/>
                    <a:pt x="65" y="271"/>
                    <a:pt x="65" y="271"/>
                  </a:cubicBezTo>
                  <a:cubicBezTo>
                    <a:pt x="66" y="271"/>
                    <a:pt x="66" y="271"/>
                    <a:pt x="67" y="271"/>
                  </a:cubicBezTo>
                  <a:cubicBezTo>
                    <a:pt x="68" y="271"/>
                    <a:pt x="69" y="271"/>
                    <a:pt x="70" y="272"/>
                  </a:cubicBezTo>
                  <a:cubicBezTo>
                    <a:pt x="71" y="273"/>
                    <a:pt x="71" y="275"/>
                    <a:pt x="71" y="277"/>
                  </a:cubicBezTo>
                  <a:cubicBezTo>
                    <a:pt x="70" y="278"/>
                    <a:pt x="70" y="279"/>
                    <a:pt x="69" y="280"/>
                  </a:cubicBezTo>
                  <a:cubicBezTo>
                    <a:pt x="69" y="281"/>
                    <a:pt x="69" y="281"/>
                    <a:pt x="68" y="282"/>
                  </a:cubicBezTo>
                  <a:cubicBezTo>
                    <a:pt x="69" y="282"/>
                    <a:pt x="69" y="282"/>
                    <a:pt x="69" y="282"/>
                  </a:cubicBezTo>
                  <a:cubicBezTo>
                    <a:pt x="69" y="282"/>
                    <a:pt x="70" y="282"/>
                    <a:pt x="70" y="281"/>
                  </a:cubicBezTo>
                  <a:cubicBezTo>
                    <a:pt x="71" y="280"/>
                    <a:pt x="71" y="280"/>
                    <a:pt x="71" y="280"/>
                  </a:cubicBezTo>
                  <a:cubicBezTo>
                    <a:pt x="72" y="279"/>
                    <a:pt x="73" y="278"/>
                    <a:pt x="76" y="278"/>
                  </a:cubicBezTo>
                  <a:cubicBezTo>
                    <a:pt x="77" y="278"/>
                    <a:pt x="78" y="279"/>
                    <a:pt x="79" y="280"/>
                  </a:cubicBezTo>
                  <a:cubicBezTo>
                    <a:pt x="80" y="280"/>
                    <a:pt x="80" y="280"/>
                    <a:pt x="80" y="280"/>
                  </a:cubicBezTo>
                  <a:cubicBezTo>
                    <a:pt x="82" y="280"/>
                    <a:pt x="82" y="279"/>
                    <a:pt x="83" y="277"/>
                  </a:cubicBezTo>
                  <a:cubicBezTo>
                    <a:pt x="84" y="276"/>
                    <a:pt x="84" y="274"/>
                    <a:pt x="85" y="273"/>
                  </a:cubicBezTo>
                  <a:cubicBezTo>
                    <a:pt x="85" y="272"/>
                    <a:pt x="85" y="272"/>
                    <a:pt x="85" y="272"/>
                  </a:cubicBezTo>
                  <a:cubicBezTo>
                    <a:pt x="84" y="272"/>
                    <a:pt x="84" y="271"/>
                    <a:pt x="83" y="270"/>
                  </a:cubicBezTo>
                  <a:cubicBezTo>
                    <a:pt x="82" y="269"/>
                    <a:pt x="80" y="268"/>
                    <a:pt x="79" y="266"/>
                  </a:cubicBezTo>
                  <a:cubicBezTo>
                    <a:pt x="77" y="263"/>
                    <a:pt x="75" y="260"/>
                    <a:pt x="71" y="260"/>
                  </a:cubicBezTo>
                  <a:cubicBezTo>
                    <a:pt x="72" y="260"/>
                    <a:pt x="72" y="261"/>
                    <a:pt x="73" y="261"/>
                  </a:cubicBezTo>
                  <a:cubicBezTo>
                    <a:pt x="72" y="261"/>
                    <a:pt x="72" y="261"/>
                    <a:pt x="72" y="261"/>
                  </a:cubicBezTo>
                  <a:cubicBezTo>
                    <a:pt x="71" y="261"/>
                    <a:pt x="71" y="261"/>
                    <a:pt x="70" y="262"/>
                  </a:cubicBezTo>
                  <a:cubicBezTo>
                    <a:pt x="69" y="262"/>
                    <a:pt x="69" y="262"/>
                    <a:pt x="68" y="262"/>
                  </a:cubicBezTo>
                  <a:cubicBezTo>
                    <a:pt x="68" y="262"/>
                    <a:pt x="67" y="262"/>
                    <a:pt x="67" y="262"/>
                  </a:cubicBezTo>
                  <a:cubicBezTo>
                    <a:pt x="66" y="261"/>
                    <a:pt x="60" y="255"/>
                    <a:pt x="58" y="255"/>
                  </a:cubicBezTo>
                  <a:cubicBezTo>
                    <a:pt x="58" y="255"/>
                    <a:pt x="58" y="255"/>
                    <a:pt x="58" y="255"/>
                  </a:cubicBezTo>
                  <a:cubicBezTo>
                    <a:pt x="57" y="256"/>
                    <a:pt x="57" y="256"/>
                    <a:pt x="56" y="256"/>
                  </a:cubicBezTo>
                  <a:cubicBezTo>
                    <a:pt x="55" y="256"/>
                    <a:pt x="55" y="256"/>
                    <a:pt x="55" y="256"/>
                  </a:cubicBezTo>
                  <a:cubicBezTo>
                    <a:pt x="54" y="255"/>
                    <a:pt x="54" y="254"/>
                    <a:pt x="54" y="253"/>
                  </a:cubicBezTo>
                  <a:cubicBezTo>
                    <a:pt x="53" y="252"/>
                    <a:pt x="52" y="251"/>
                    <a:pt x="51" y="250"/>
                  </a:cubicBezTo>
                  <a:cubicBezTo>
                    <a:pt x="49" y="248"/>
                    <a:pt x="50" y="247"/>
                    <a:pt x="51" y="244"/>
                  </a:cubicBezTo>
                  <a:cubicBezTo>
                    <a:pt x="53" y="248"/>
                    <a:pt x="55" y="252"/>
                    <a:pt x="58" y="255"/>
                  </a:cubicBezTo>
                  <a:cubicBezTo>
                    <a:pt x="58" y="254"/>
                    <a:pt x="57" y="254"/>
                    <a:pt x="57" y="253"/>
                  </a:cubicBezTo>
                  <a:cubicBezTo>
                    <a:pt x="55" y="249"/>
                    <a:pt x="55" y="245"/>
                    <a:pt x="53" y="241"/>
                  </a:cubicBezTo>
                  <a:cubicBezTo>
                    <a:pt x="51" y="235"/>
                    <a:pt x="49" y="230"/>
                    <a:pt x="46" y="224"/>
                  </a:cubicBezTo>
                  <a:cubicBezTo>
                    <a:pt x="45" y="221"/>
                    <a:pt x="44" y="218"/>
                    <a:pt x="43" y="215"/>
                  </a:cubicBezTo>
                  <a:cubicBezTo>
                    <a:pt x="43" y="215"/>
                    <a:pt x="42" y="215"/>
                    <a:pt x="41" y="215"/>
                  </a:cubicBezTo>
                  <a:cubicBezTo>
                    <a:pt x="40" y="215"/>
                    <a:pt x="38" y="216"/>
                    <a:pt x="37" y="216"/>
                  </a:cubicBezTo>
                  <a:cubicBezTo>
                    <a:pt x="36" y="216"/>
                    <a:pt x="35" y="216"/>
                    <a:pt x="34" y="216"/>
                  </a:cubicBezTo>
                  <a:cubicBezTo>
                    <a:pt x="33" y="216"/>
                    <a:pt x="32" y="216"/>
                    <a:pt x="32" y="215"/>
                  </a:cubicBezTo>
                  <a:cubicBezTo>
                    <a:pt x="32" y="214"/>
                    <a:pt x="33" y="213"/>
                    <a:pt x="34" y="213"/>
                  </a:cubicBezTo>
                  <a:cubicBezTo>
                    <a:pt x="33" y="212"/>
                    <a:pt x="32" y="211"/>
                    <a:pt x="32" y="210"/>
                  </a:cubicBezTo>
                  <a:cubicBezTo>
                    <a:pt x="31" y="208"/>
                    <a:pt x="30" y="207"/>
                    <a:pt x="31" y="205"/>
                  </a:cubicBezTo>
                  <a:cubicBezTo>
                    <a:pt x="31" y="201"/>
                    <a:pt x="33" y="198"/>
                    <a:pt x="31" y="194"/>
                  </a:cubicBezTo>
                  <a:cubicBezTo>
                    <a:pt x="32" y="194"/>
                    <a:pt x="33" y="191"/>
                    <a:pt x="34" y="190"/>
                  </a:cubicBezTo>
                  <a:cubicBezTo>
                    <a:pt x="35" y="186"/>
                    <a:pt x="37" y="183"/>
                    <a:pt x="39" y="180"/>
                  </a:cubicBezTo>
                  <a:cubicBezTo>
                    <a:pt x="41" y="174"/>
                    <a:pt x="44" y="167"/>
                    <a:pt x="46" y="161"/>
                  </a:cubicBezTo>
                  <a:cubicBezTo>
                    <a:pt x="47" y="159"/>
                    <a:pt x="47" y="159"/>
                    <a:pt x="47" y="158"/>
                  </a:cubicBezTo>
                  <a:cubicBezTo>
                    <a:pt x="47" y="156"/>
                    <a:pt x="46" y="153"/>
                    <a:pt x="46" y="151"/>
                  </a:cubicBezTo>
                  <a:cubicBezTo>
                    <a:pt x="46" y="148"/>
                    <a:pt x="49" y="145"/>
                    <a:pt x="48" y="142"/>
                  </a:cubicBezTo>
                  <a:cubicBezTo>
                    <a:pt x="48" y="140"/>
                    <a:pt x="46" y="138"/>
                    <a:pt x="47" y="137"/>
                  </a:cubicBezTo>
                  <a:cubicBezTo>
                    <a:pt x="49" y="135"/>
                    <a:pt x="51" y="135"/>
                    <a:pt x="54" y="134"/>
                  </a:cubicBezTo>
                  <a:cubicBezTo>
                    <a:pt x="54" y="134"/>
                    <a:pt x="55" y="134"/>
                    <a:pt x="55" y="134"/>
                  </a:cubicBezTo>
                  <a:cubicBezTo>
                    <a:pt x="53" y="133"/>
                    <a:pt x="52" y="131"/>
                    <a:pt x="52" y="129"/>
                  </a:cubicBezTo>
                  <a:cubicBezTo>
                    <a:pt x="52" y="126"/>
                    <a:pt x="54" y="124"/>
                    <a:pt x="57" y="124"/>
                  </a:cubicBezTo>
                  <a:cubicBezTo>
                    <a:pt x="60" y="124"/>
                    <a:pt x="62" y="126"/>
                    <a:pt x="62" y="129"/>
                  </a:cubicBezTo>
                  <a:cubicBezTo>
                    <a:pt x="62" y="131"/>
                    <a:pt x="62" y="132"/>
                    <a:pt x="60" y="133"/>
                  </a:cubicBezTo>
                  <a:cubicBezTo>
                    <a:pt x="62" y="134"/>
                    <a:pt x="64" y="135"/>
                    <a:pt x="65" y="135"/>
                  </a:cubicBezTo>
                  <a:cubicBezTo>
                    <a:pt x="65" y="139"/>
                    <a:pt x="64" y="144"/>
                    <a:pt x="63" y="148"/>
                  </a:cubicBezTo>
                  <a:cubicBezTo>
                    <a:pt x="63" y="150"/>
                    <a:pt x="64" y="151"/>
                    <a:pt x="65" y="151"/>
                  </a:cubicBezTo>
                  <a:cubicBezTo>
                    <a:pt x="65" y="151"/>
                    <a:pt x="66" y="151"/>
                    <a:pt x="67" y="151"/>
                  </a:cubicBezTo>
                  <a:cubicBezTo>
                    <a:pt x="70" y="150"/>
                    <a:pt x="73" y="150"/>
                    <a:pt x="77" y="150"/>
                  </a:cubicBezTo>
                  <a:cubicBezTo>
                    <a:pt x="78" y="150"/>
                    <a:pt x="79" y="150"/>
                    <a:pt x="80" y="150"/>
                  </a:cubicBezTo>
                  <a:cubicBezTo>
                    <a:pt x="80" y="150"/>
                    <a:pt x="81" y="150"/>
                    <a:pt x="82" y="150"/>
                  </a:cubicBezTo>
                  <a:cubicBezTo>
                    <a:pt x="83" y="152"/>
                    <a:pt x="87" y="157"/>
                    <a:pt x="90" y="157"/>
                  </a:cubicBezTo>
                  <a:cubicBezTo>
                    <a:pt x="91" y="157"/>
                    <a:pt x="91" y="157"/>
                    <a:pt x="92" y="156"/>
                  </a:cubicBezTo>
                  <a:cubicBezTo>
                    <a:pt x="90" y="160"/>
                    <a:pt x="90" y="159"/>
                    <a:pt x="93" y="160"/>
                  </a:cubicBezTo>
                  <a:cubicBezTo>
                    <a:pt x="94" y="160"/>
                    <a:pt x="95" y="162"/>
                    <a:pt x="96" y="162"/>
                  </a:cubicBezTo>
                  <a:cubicBezTo>
                    <a:pt x="96" y="162"/>
                    <a:pt x="97" y="162"/>
                    <a:pt x="97" y="162"/>
                  </a:cubicBezTo>
                  <a:cubicBezTo>
                    <a:pt x="97" y="162"/>
                    <a:pt x="98" y="162"/>
                    <a:pt x="98" y="162"/>
                  </a:cubicBezTo>
                  <a:cubicBezTo>
                    <a:pt x="98" y="161"/>
                    <a:pt x="98" y="159"/>
                    <a:pt x="98" y="157"/>
                  </a:cubicBezTo>
                  <a:cubicBezTo>
                    <a:pt x="98" y="156"/>
                    <a:pt x="98" y="156"/>
                    <a:pt x="98" y="156"/>
                  </a:cubicBezTo>
                  <a:cubicBezTo>
                    <a:pt x="97" y="156"/>
                    <a:pt x="97" y="156"/>
                    <a:pt x="97" y="156"/>
                  </a:cubicBezTo>
                  <a:cubicBezTo>
                    <a:pt x="97" y="155"/>
                    <a:pt x="97" y="155"/>
                    <a:pt x="97" y="155"/>
                  </a:cubicBezTo>
                  <a:cubicBezTo>
                    <a:pt x="97" y="155"/>
                    <a:pt x="97" y="155"/>
                    <a:pt x="96" y="154"/>
                  </a:cubicBezTo>
                  <a:cubicBezTo>
                    <a:pt x="94" y="153"/>
                    <a:pt x="94" y="153"/>
                    <a:pt x="94" y="153"/>
                  </a:cubicBezTo>
                  <a:cubicBezTo>
                    <a:pt x="94" y="152"/>
                    <a:pt x="93" y="152"/>
                    <a:pt x="93" y="151"/>
                  </a:cubicBezTo>
                  <a:cubicBezTo>
                    <a:pt x="92" y="150"/>
                    <a:pt x="92" y="148"/>
                    <a:pt x="92" y="146"/>
                  </a:cubicBezTo>
                  <a:cubicBezTo>
                    <a:pt x="93" y="146"/>
                    <a:pt x="93" y="146"/>
                    <a:pt x="93" y="146"/>
                  </a:cubicBezTo>
                  <a:cubicBezTo>
                    <a:pt x="92" y="145"/>
                    <a:pt x="92" y="144"/>
                    <a:pt x="92" y="143"/>
                  </a:cubicBezTo>
                  <a:cubicBezTo>
                    <a:pt x="91" y="142"/>
                    <a:pt x="91" y="142"/>
                    <a:pt x="91" y="142"/>
                  </a:cubicBezTo>
                  <a:cubicBezTo>
                    <a:pt x="90" y="139"/>
                    <a:pt x="87" y="135"/>
                    <a:pt x="91" y="132"/>
                  </a:cubicBezTo>
                  <a:cubicBezTo>
                    <a:pt x="92" y="131"/>
                    <a:pt x="92" y="131"/>
                    <a:pt x="92" y="131"/>
                  </a:cubicBezTo>
                  <a:cubicBezTo>
                    <a:pt x="92" y="131"/>
                    <a:pt x="93" y="130"/>
                    <a:pt x="93" y="130"/>
                  </a:cubicBezTo>
                  <a:cubicBezTo>
                    <a:pt x="95" y="128"/>
                    <a:pt x="97" y="126"/>
                    <a:pt x="99" y="123"/>
                  </a:cubicBezTo>
                  <a:cubicBezTo>
                    <a:pt x="99" y="122"/>
                    <a:pt x="100" y="121"/>
                    <a:pt x="101" y="119"/>
                  </a:cubicBezTo>
                  <a:cubicBezTo>
                    <a:pt x="101" y="119"/>
                    <a:pt x="102" y="119"/>
                    <a:pt x="102" y="118"/>
                  </a:cubicBezTo>
                  <a:cubicBezTo>
                    <a:pt x="104" y="116"/>
                    <a:pt x="107" y="115"/>
                    <a:pt x="111" y="115"/>
                  </a:cubicBezTo>
                  <a:cubicBezTo>
                    <a:pt x="112" y="114"/>
                    <a:pt x="113" y="114"/>
                    <a:pt x="114" y="114"/>
                  </a:cubicBezTo>
                  <a:cubicBezTo>
                    <a:pt x="114" y="114"/>
                    <a:pt x="115" y="114"/>
                    <a:pt x="115" y="114"/>
                  </a:cubicBezTo>
                  <a:cubicBezTo>
                    <a:pt x="118" y="114"/>
                    <a:pt x="120" y="114"/>
                    <a:pt x="122" y="115"/>
                  </a:cubicBezTo>
                  <a:cubicBezTo>
                    <a:pt x="122" y="115"/>
                    <a:pt x="122" y="115"/>
                    <a:pt x="122" y="115"/>
                  </a:cubicBezTo>
                  <a:cubicBezTo>
                    <a:pt x="124" y="115"/>
                    <a:pt x="126" y="115"/>
                    <a:pt x="127" y="115"/>
                  </a:cubicBezTo>
                  <a:cubicBezTo>
                    <a:pt x="127" y="115"/>
                    <a:pt x="128" y="115"/>
                    <a:pt x="128" y="115"/>
                  </a:cubicBezTo>
                  <a:cubicBezTo>
                    <a:pt x="130" y="115"/>
                    <a:pt x="132" y="115"/>
                    <a:pt x="133" y="115"/>
                  </a:cubicBezTo>
                  <a:cubicBezTo>
                    <a:pt x="135" y="114"/>
                    <a:pt x="135" y="114"/>
                    <a:pt x="135" y="114"/>
                  </a:cubicBezTo>
                  <a:cubicBezTo>
                    <a:pt x="136" y="114"/>
                    <a:pt x="138" y="114"/>
                    <a:pt x="139" y="114"/>
                  </a:cubicBezTo>
                  <a:cubicBezTo>
                    <a:pt x="139" y="114"/>
                    <a:pt x="139" y="114"/>
                    <a:pt x="140" y="114"/>
                  </a:cubicBezTo>
                  <a:cubicBezTo>
                    <a:pt x="140" y="114"/>
                    <a:pt x="140" y="114"/>
                    <a:pt x="140" y="114"/>
                  </a:cubicBezTo>
                  <a:cubicBezTo>
                    <a:pt x="141" y="114"/>
                    <a:pt x="142" y="114"/>
                    <a:pt x="143" y="115"/>
                  </a:cubicBezTo>
                  <a:cubicBezTo>
                    <a:pt x="144" y="115"/>
                    <a:pt x="144" y="115"/>
                    <a:pt x="144" y="116"/>
                  </a:cubicBezTo>
                  <a:cubicBezTo>
                    <a:pt x="147" y="115"/>
                    <a:pt x="147" y="115"/>
                    <a:pt x="147" y="115"/>
                  </a:cubicBezTo>
                  <a:cubicBezTo>
                    <a:pt x="147" y="115"/>
                    <a:pt x="147" y="115"/>
                    <a:pt x="147" y="115"/>
                  </a:cubicBezTo>
                  <a:cubicBezTo>
                    <a:pt x="148" y="114"/>
                    <a:pt x="149" y="114"/>
                    <a:pt x="149" y="114"/>
                  </a:cubicBezTo>
                  <a:cubicBezTo>
                    <a:pt x="150" y="113"/>
                    <a:pt x="150" y="113"/>
                    <a:pt x="150" y="113"/>
                  </a:cubicBezTo>
                  <a:cubicBezTo>
                    <a:pt x="150" y="111"/>
                    <a:pt x="150" y="109"/>
                    <a:pt x="149" y="107"/>
                  </a:cubicBezTo>
                  <a:cubicBezTo>
                    <a:pt x="149" y="105"/>
                    <a:pt x="148" y="103"/>
                    <a:pt x="149" y="101"/>
                  </a:cubicBezTo>
                  <a:cubicBezTo>
                    <a:pt x="149" y="99"/>
                    <a:pt x="149" y="98"/>
                    <a:pt x="149" y="97"/>
                  </a:cubicBezTo>
                  <a:cubicBezTo>
                    <a:pt x="150" y="96"/>
                    <a:pt x="151" y="95"/>
                    <a:pt x="151" y="95"/>
                  </a:cubicBezTo>
                  <a:cubicBezTo>
                    <a:pt x="151" y="95"/>
                    <a:pt x="151" y="95"/>
                    <a:pt x="152" y="94"/>
                  </a:cubicBezTo>
                  <a:cubicBezTo>
                    <a:pt x="152" y="94"/>
                    <a:pt x="152" y="93"/>
                    <a:pt x="152" y="93"/>
                  </a:cubicBezTo>
                  <a:cubicBezTo>
                    <a:pt x="152" y="93"/>
                    <a:pt x="152" y="93"/>
                    <a:pt x="152" y="93"/>
                  </a:cubicBezTo>
                  <a:cubicBezTo>
                    <a:pt x="151" y="93"/>
                    <a:pt x="151" y="93"/>
                    <a:pt x="151" y="93"/>
                  </a:cubicBezTo>
                  <a:cubicBezTo>
                    <a:pt x="150" y="93"/>
                    <a:pt x="149" y="92"/>
                    <a:pt x="148" y="91"/>
                  </a:cubicBezTo>
                  <a:cubicBezTo>
                    <a:pt x="147" y="90"/>
                    <a:pt x="147" y="89"/>
                    <a:pt x="147" y="88"/>
                  </a:cubicBezTo>
                  <a:cubicBezTo>
                    <a:pt x="147" y="87"/>
                    <a:pt x="147" y="87"/>
                    <a:pt x="147" y="87"/>
                  </a:cubicBezTo>
                  <a:cubicBezTo>
                    <a:pt x="145" y="87"/>
                    <a:pt x="144" y="86"/>
                    <a:pt x="143" y="85"/>
                  </a:cubicBezTo>
                  <a:cubicBezTo>
                    <a:pt x="142" y="84"/>
                    <a:pt x="141" y="83"/>
                    <a:pt x="141" y="82"/>
                  </a:cubicBezTo>
                  <a:cubicBezTo>
                    <a:pt x="140" y="82"/>
                    <a:pt x="140" y="81"/>
                    <a:pt x="139" y="81"/>
                  </a:cubicBezTo>
                  <a:cubicBezTo>
                    <a:pt x="139" y="80"/>
                    <a:pt x="139" y="80"/>
                    <a:pt x="139" y="80"/>
                  </a:cubicBezTo>
                  <a:cubicBezTo>
                    <a:pt x="138" y="80"/>
                    <a:pt x="138" y="79"/>
                    <a:pt x="137" y="78"/>
                  </a:cubicBezTo>
                  <a:cubicBezTo>
                    <a:pt x="136" y="77"/>
                    <a:pt x="136" y="77"/>
                    <a:pt x="136" y="77"/>
                  </a:cubicBezTo>
                  <a:cubicBezTo>
                    <a:pt x="136" y="77"/>
                    <a:pt x="136" y="77"/>
                    <a:pt x="136" y="77"/>
                  </a:cubicBezTo>
                  <a:cubicBezTo>
                    <a:pt x="136" y="76"/>
                    <a:pt x="135" y="76"/>
                    <a:pt x="135" y="75"/>
                  </a:cubicBezTo>
                  <a:cubicBezTo>
                    <a:pt x="135" y="74"/>
                    <a:pt x="135" y="73"/>
                    <a:pt x="135" y="73"/>
                  </a:cubicBezTo>
                  <a:cubicBezTo>
                    <a:pt x="135" y="73"/>
                    <a:pt x="135" y="73"/>
                    <a:pt x="135" y="73"/>
                  </a:cubicBezTo>
                  <a:cubicBezTo>
                    <a:pt x="135" y="70"/>
                    <a:pt x="135" y="67"/>
                    <a:pt x="135" y="65"/>
                  </a:cubicBezTo>
                  <a:cubicBezTo>
                    <a:pt x="136" y="64"/>
                    <a:pt x="136" y="64"/>
                    <a:pt x="136" y="64"/>
                  </a:cubicBezTo>
                  <a:cubicBezTo>
                    <a:pt x="136" y="64"/>
                    <a:pt x="136" y="63"/>
                    <a:pt x="136" y="63"/>
                  </a:cubicBezTo>
                  <a:cubicBezTo>
                    <a:pt x="136" y="62"/>
                    <a:pt x="136" y="62"/>
                    <a:pt x="136" y="62"/>
                  </a:cubicBezTo>
                  <a:cubicBezTo>
                    <a:pt x="136" y="62"/>
                    <a:pt x="136" y="62"/>
                    <a:pt x="136" y="61"/>
                  </a:cubicBezTo>
                  <a:cubicBezTo>
                    <a:pt x="136" y="60"/>
                    <a:pt x="136" y="60"/>
                    <a:pt x="136" y="60"/>
                  </a:cubicBezTo>
                  <a:cubicBezTo>
                    <a:pt x="136" y="60"/>
                    <a:pt x="136" y="60"/>
                    <a:pt x="136" y="60"/>
                  </a:cubicBezTo>
                  <a:cubicBezTo>
                    <a:pt x="136" y="60"/>
                    <a:pt x="136" y="60"/>
                    <a:pt x="136" y="59"/>
                  </a:cubicBezTo>
                  <a:cubicBezTo>
                    <a:pt x="135" y="59"/>
                    <a:pt x="134" y="58"/>
                    <a:pt x="134" y="57"/>
                  </a:cubicBezTo>
                  <a:cubicBezTo>
                    <a:pt x="133" y="56"/>
                    <a:pt x="133" y="56"/>
                    <a:pt x="133" y="56"/>
                  </a:cubicBezTo>
                  <a:cubicBezTo>
                    <a:pt x="130" y="54"/>
                    <a:pt x="127" y="51"/>
                    <a:pt x="125" y="48"/>
                  </a:cubicBezTo>
                  <a:cubicBezTo>
                    <a:pt x="125" y="47"/>
                    <a:pt x="125" y="47"/>
                    <a:pt x="124" y="46"/>
                  </a:cubicBezTo>
                  <a:cubicBezTo>
                    <a:pt x="124" y="45"/>
                    <a:pt x="124" y="45"/>
                    <a:pt x="124" y="45"/>
                  </a:cubicBezTo>
                  <a:cubicBezTo>
                    <a:pt x="123" y="45"/>
                    <a:pt x="123" y="44"/>
                    <a:pt x="123" y="44"/>
                  </a:cubicBezTo>
                  <a:cubicBezTo>
                    <a:pt x="121" y="42"/>
                    <a:pt x="121" y="42"/>
                    <a:pt x="118" y="41"/>
                  </a:cubicBezTo>
                  <a:cubicBezTo>
                    <a:pt x="117" y="41"/>
                    <a:pt x="116" y="41"/>
                    <a:pt x="115" y="41"/>
                  </a:cubicBezTo>
                  <a:cubicBezTo>
                    <a:pt x="114" y="40"/>
                    <a:pt x="114" y="40"/>
                    <a:pt x="114" y="40"/>
                  </a:cubicBezTo>
                  <a:cubicBezTo>
                    <a:pt x="114" y="40"/>
                    <a:pt x="114" y="40"/>
                    <a:pt x="114" y="40"/>
                  </a:cubicBezTo>
                  <a:cubicBezTo>
                    <a:pt x="113" y="40"/>
                    <a:pt x="113" y="40"/>
                    <a:pt x="113" y="40"/>
                  </a:cubicBezTo>
                  <a:cubicBezTo>
                    <a:pt x="113" y="40"/>
                    <a:pt x="113" y="40"/>
                    <a:pt x="112" y="40"/>
                  </a:cubicBezTo>
                  <a:cubicBezTo>
                    <a:pt x="112" y="41"/>
                    <a:pt x="112" y="41"/>
                    <a:pt x="112" y="41"/>
                  </a:cubicBezTo>
                  <a:cubicBezTo>
                    <a:pt x="112" y="41"/>
                    <a:pt x="112" y="41"/>
                    <a:pt x="112" y="41"/>
                  </a:cubicBezTo>
                  <a:cubicBezTo>
                    <a:pt x="108" y="44"/>
                    <a:pt x="108" y="44"/>
                    <a:pt x="108" y="44"/>
                  </a:cubicBezTo>
                  <a:cubicBezTo>
                    <a:pt x="108" y="45"/>
                    <a:pt x="108" y="46"/>
                    <a:pt x="108" y="46"/>
                  </a:cubicBezTo>
                  <a:cubicBezTo>
                    <a:pt x="107" y="47"/>
                    <a:pt x="107" y="47"/>
                    <a:pt x="107" y="47"/>
                  </a:cubicBezTo>
                  <a:cubicBezTo>
                    <a:pt x="106" y="49"/>
                    <a:pt x="104" y="49"/>
                    <a:pt x="103" y="49"/>
                  </a:cubicBezTo>
                  <a:cubicBezTo>
                    <a:pt x="103" y="49"/>
                    <a:pt x="103" y="49"/>
                    <a:pt x="103" y="49"/>
                  </a:cubicBezTo>
                  <a:cubicBezTo>
                    <a:pt x="102" y="49"/>
                    <a:pt x="102" y="49"/>
                    <a:pt x="102" y="49"/>
                  </a:cubicBezTo>
                  <a:cubicBezTo>
                    <a:pt x="102" y="49"/>
                    <a:pt x="101" y="50"/>
                    <a:pt x="101" y="50"/>
                  </a:cubicBezTo>
                  <a:cubicBezTo>
                    <a:pt x="100" y="50"/>
                    <a:pt x="100" y="50"/>
                    <a:pt x="100" y="50"/>
                  </a:cubicBezTo>
                  <a:cubicBezTo>
                    <a:pt x="103" y="57"/>
                    <a:pt x="103" y="57"/>
                    <a:pt x="103" y="57"/>
                  </a:cubicBezTo>
                  <a:cubicBezTo>
                    <a:pt x="97" y="52"/>
                    <a:pt x="97" y="52"/>
                    <a:pt x="97" y="52"/>
                  </a:cubicBezTo>
                  <a:cubicBezTo>
                    <a:pt x="94" y="50"/>
                    <a:pt x="91" y="48"/>
                    <a:pt x="88" y="46"/>
                  </a:cubicBezTo>
                  <a:cubicBezTo>
                    <a:pt x="87" y="45"/>
                    <a:pt x="87" y="45"/>
                    <a:pt x="87" y="45"/>
                  </a:cubicBezTo>
                  <a:cubicBezTo>
                    <a:pt x="87" y="45"/>
                    <a:pt x="87" y="45"/>
                    <a:pt x="87" y="45"/>
                  </a:cubicBezTo>
                  <a:cubicBezTo>
                    <a:pt x="85" y="46"/>
                    <a:pt x="84" y="47"/>
                    <a:pt x="83" y="48"/>
                  </a:cubicBezTo>
                  <a:cubicBezTo>
                    <a:pt x="81" y="49"/>
                    <a:pt x="81" y="49"/>
                    <a:pt x="81" y="49"/>
                  </a:cubicBezTo>
                  <a:cubicBezTo>
                    <a:pt x="81" y="50"/>
                    <a:pt x="80" y="50"/>
                    <a:pt x="80" y="50"/>
                  </a:cubicBezTo>
                  <a:cubicBezTo>
                    <a:pt x="77" y="52"/>
                    <a:pt x="75" y="54"/>
                    <a:pt x="72" y="56"/>
                  </a:cubicBezTo>
                  <a:cubicBezTo>
                    <a:pt x="71" y="58"/>
                    <a:pt x="71" y="59"/>
                    <a:pt x="70" y="59"/>
                  </a:cubicBezTo>
                  <a:cubicBezTo>
                    <a:pt x="69" y="59"/>
                    <a:pt x="69" y="59"/>
                    <a:pt x="69" y="59"/>
                  </a:cubicBezTo>
                  <a:cubicBezTo>
                    <a:pt x="69" y="59"/>
                    <a:pt x="68" y="59"/>
                    <a:pt x="68" y="59"/>
                  </a:cubicBezTo>
                  <a:cubicBezTo>
                    <a:pt x="68" y="58"/>
                    <a:pt x="68" y="58"/>
                    <a:pt x="68" y="58"/>
                  </a:cubicBezTo>
                  <a:cubicBezTo>
                    <a:pt x="68" y="59"/>
                    <a:pt x="68" y="59"/>
                    <a:pt x="68" y="59"/>
                  </a:cubicBezTo>
                  <a:cubicBezTo>
                    <a:pt x="67" y="59"/>
                    <a:pt x="67" y="58"/>
                    <a:pt x="66" y="58"/>
                  </a:cubicBezTo>
                  <a:cubicBezTo>
                    <a:pt x="66" y="58"/>
                    <a:pt x="65" y="58"/>
                    <a:pt x="65" y="57"/>
                  </a:cubicBezTo>
                  <a:cubicBezTo>
                    <a:pt x="64" y="57"/>
                    <a:pt x="64" y="57"/>
                    <a:pt x="64" y="57"/>
                  </a:cubicBezTo>
                  <a:cubicBezTo>
                    <a:pt x="64" y="57"/>
                    <a:pt x="64" y="57"/>
                    <a:pt x="64" y="57"/>
                  </a:cubicBezTo>
                  <a:cubicBezTo>
                    <a:pt x="63" y="56"/>
                    <a:pt x="63" y="56"/>
                    <a:pt x="63" y="56"/>
                  </a:cubicBezTo>
                  <a:cubicBezTo>
                    <a:pt x="63" y="55"/>
                    <a:pt x="63" y="55"/>
                    <a:pt x="63" y="55"/>
                  </a:cubicBezTo>
                  <a:cubicBezTo>
                    <a:pt x="63" y="54"/>
                    <a:pt x="63" y="54"/>
                    <a:pt x="63" y="54"/>
                  </a:cubicBezTo>
                  <a:cubicBezTo>
                    <a:pt x="62" y="52"/>
                    <a:pt x="64" y="50"/>
                    <a:pt x="65" y="48"/>
                  </a:cubicBezTo>
                  <a:cubicBezTo>
                    <a:pt x="65" y="48"/>
                    <a:pt x="65" y="48"/>
                    <a:pt x="65" y="48"/>
                  </a:cubicBezTo>
                  <a:cubicBezTo>
                    <a:pt x="65" y="47"/>
                    <a:pt x="65" y="47"/>
                    <a:pt x="65" y="47"/>
                  </a:cubicBezTo>
                  <a:cubicBezTo>
                    <a:pt x="65" y="47"/>
                    <a:pt x="65" y="47"/>
                    <a:pt x="65" y="47"/>
                  </a:cubicBezTo>
                  <a:cubicBezTo>
                    <a:pt x="66" y="45"/>
                    <a:pt x="66" y="45"/>
                    <a:pt x="66" y="45"/>
                  </a:cubicBezTo>
                  <a:cubicBezTo>
                    <a:pt x="67" y="44"/>
                    <a:pt x="67" y="44"/>
                    <a:pt x="67" y="44"/>
                  </a:cubicBezTo>
                  <a:cubicBezTo>
                    <a:pt x="67" y="44"/>
                    <a:pt x="66" y="43"/>
                    <a:pt x="66" y="43"/>
                  </a:cubicBezTo>
                  <a:cubicBezTo>
                    <a:pt x="66" y="41"/>
                    <a:pt x="65" y="40"/>
                    <a:pt x="65" y="38"/>
                  </a:cubicBezTo>
                  <a:cubicBezTo>
                    <a:pt x="65" y="36"/>
                    <a:pt x="66" y="35"/>
                    <a:pt x="67" y="34"/>
                  </a:cubicBezTo>
                  <a:cubicBezTo>
                    <a:pt x="68" y="33"/>
                    <a:pt x="68" y="33"/>
                    <a:pt x="68" y="33"/>
                  </a:cubicBezTo>
                  <a:cubicBezTo>
                    <a:pt x="68" y="32"/>
                    <a:pt x="68" y="32"/>
                    <a:pt x="68" y="31"/>
                  </a:cubicBezTo>
                  <a:cubicBezTo>
                    <a:pt x="68" y="31"/>
                    <a:pt x="68" y="30"/>
                    <a:pt x="68" y="30"/>
                  </a:cubicBezTo>
                  <a:cubicBezTo>
                    <a:pt x="68" y="29"/>
                    <a:pt x="69" y="28"/>
                    <a:pt x="69" y="27"/>
                  </a:cubicBezTo>
                  <a:cubicBezTo>
                    <a:pt x="69" y="26"/>
                    <a:pt x="69" y="26"/>
                    <a:pt x="69" y="26"/>
                  </a:cubicBezTo>
                  <a:cubicBezTo>
                    <a:pt x="70" y="26"/>
                    <a:pt x="70" y="25"/>
                    <a:pt x="70" y="25"/>
                  </a:cubicBezTo>
                  <a:cubicBezTo>
                    <a:pt x="70" y="25"/>
                    <a:pt x="70" y="25"/>
                    <a:pt x="70" y="25"/>
                  </a:cubicBezTo>
                  <a:cubicBezTo>
                    <a:pt x="69" y="24"/>
                    <a:pt x="69" y="24"/>
                    <a:pt x="69" y="24"/>
                  </a:cubicBezTo>
                  <a:cubicBezTo>
                    <a:pt x="69" y="24"/>
                    <a:pt x="69" y="23"/>
                    <a:pt x="69" y="22"/>
                  </a:cubicBezTo>
                  <a:cubicBezTo>
                    <a:pt x="68" y="22"/>
                    <a:pt x="68" y="22"/>
                    <a:pt x="68" y="22"/>
                  </a:cubicBezTo>
                  <a:cubicBezTo>
                    <a:pt x="68" y="21"/>
                    <a:pt x="68" y="19"/>
                    <a:pt x="68" y="18"/>
                  </a:cubicBezTo>
                  <a:cubicBezTo>
                    <a:pt x="67" y="18"/>
                    <a:pt x="67" y="18"/>
                    <a:pt x="67" y="18"/>
                  </a:cubicBezTo>
                  <a:cubicBezTo>
                    <a:pt x="66" y="18"/>
                    <a:pt x="65" y="19"/>
                    <a:pt x="64" y="19"/>
                  </a:cubicBezTo>
                  <a:cubicBezTo>
                    <a:pt x="62" y="19"/>
                    <a:pt x="61" y="19"/>
                    <a:pt x="60" y="19"/>
                  </a:cubicBezTo>
                  <a:cubicBezTo>
                    <a:pt x="60" y="19"/>
                    <a:pt x="59" y="19"/>
                    <a:pt x="58" y="19"/>
                  </a:cubicBezTo>
                  <a:cubicBezTo>
                    <a:pt x="58" y="18"/>
                    <a:pt x="58" y="18"/>
                    <a:pt x="58" y="18"/>
                  </a:cubicBezTo>
                  <a:cubicBezTo>
                    <a:pt x="57" y="19"/>
                    <a:pt x="57" y="19"/>
                    <a:pt x="57" y="19"/>
                  </a:cubicBezTo>
                  <a:cubicBezTo>
                    <a:pt x="57" y="18"/>
                    <a:pt x="56" y="18"/>
                    <a:pt x="56" y="17"/>
                  </a:cubicBezTo>
                  <a:cubicBezTo>
                    <a:pt x="55" y="17"/>
                    <a:pt x="55" y="17"/>
                    <a:pt x="55" y="16"/>
                  </a:cubicBezTo>
                  <a:cubicBezTo>
                    <a:pt x="55" y="16"/>
                    <a:pt x="55" y="16"/>
                    <a:pt x="55" y="16"/>
                  </a:cubicBezTo>
                  <a:cubicBezTo>
                    <a:pt x="54" y="15"/>
                    <a:pt x="54" y="15"/>
                    <a:pt x="53" y="14"/>
                  </a:cubicBezTo>
                  <a:cubicBezTo>
                    <a:pt x="53" y="13"/>
                    <a:pt x="53" y="13"/>
                    <a:pt x="53" y="13"/>
                  </a:cubicBezTo>
                  <a:cubicBezTo>
                    <a:pt x="52" y="12"/>
                    <a:pt x="52" y="11"/>
                    <a:pt x="53" y="10"/>
                  </a:cubicBezTo>
                  <a:cubicBezTo>
                    <a:pt x="49" y="4"/>
                    <a:pt x="49" y="4"/>
                    <a:pt x="49" y="4"/>
                  </a:cubicBezTo>
                  <a:cubicBezTo>
                    <a:pt x="49" y="4"/>
                    <a:pt x="49" y="4"/>
                    <a:pt x="49" y="4"/>
                  </a:cubicBezTo>
                  <a:cubicBezTo>
                    <a:pt x="48" y="4"/>
                    <a:pt x="48" y="3"/>
                    <a:pt x="48" y="2"/>
                  </a:cubicBezTo>
                  <a:cubicBezTo>
                    <a:pt x="47" y="2"/>
                    <a:pt x="47" y="2"/>
                    <a:pt x="47" y="2"/>
                  </a:cubicBezTo>
                  <a:cubicBezTo>
                    <a:pt x="47" y="1"/>
                    <a:pt x="47" y="1"/>
                    <a:pt x="47" y="1"/>
                  </a:cubicBezTo>
                  <a:cubicBezTo>
                    <a:pt x="46" y="1"/>
                    <a:pt x="46" y="1"/>
                    <a:pt x="46" y="1"/>
                  </a:cubicBezTo>
                  <a:cubicBezTo>
                    <a:pt x="46" y="1"/>
                    <a:pt x="46" y="1"/>
                    <a:pt x="46" y="1"/>
                  </a:cubicBezTo>
                  <a:cubicBezTo>
                    <a:pt x="46" y="0"/>
                    <a:pt x="46"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Freeform 439">
              <a:extLst>
                <a:ext uri="{FF2B5EF4-FFF2-40B4-BE49-F238E27FC236}">
                  <a16:creationId xmlns:a16="http://schemas.microsoft.com/office/drawing/2014/main" id="{D07F1CF8-5C04-41B9-9396-4AC24FB51430}"/>
                </a:ext>
              </a:extLst>
            </p:cNvPr>
            <p:cNvSpPr>
              <a:spLocks/>
            </p:cNvSpPr>
            <p:nvPr/>
          </p:nvSpPr>
          <p:spPr bwMode="auto">
            <a:xfrm>
              <a:off x="4625643" y="5365597"/>
              <a:ext cx="448397" cy="532300"/>
            </a:xfrm>
            <a:custGeom>
              <a:avLst/>
              <a:gdLst>
                <a:gd name="T0" fmla="*/ 28 w 138"/>
                <a:gd name="T1" fmla="*/ 5 h 164"/>
                <a:gd name="T2" fmla="*/ 31 w 138"/>
                <a:gd name="T3" fmla="*/ 20 h 164"/>
                <a:gd name="T4" fmla="*/ 24 w 138"/>
                <a:gd name="T5" fmla="*/ 26 h 164"/>
                <a:gd name="T6" fmla="*/ 19 w 138"/>
                <a:gd name="T7" fmla="*/ 26 h 164"/>
                <a:gd name="T8" fmla="*/ 8 w 138"/>
                <a:gd name="T9" fmla="*/ 29 h 164"/>
                <a:gd name="T10" fmla="*/ 2 w 138"/>
                <a:gd name="T11" fmla="*/ 34 h 164"/>
                <a:gd name="T12" fmla="*/ 6 w 138"/>
                <a:gd name="T13" fmla="*/ 41 h 164"/>
                <a:gd name="T14" fmla="*/ 6 w 138"/>
                <a:gd name="T15" fmla="*/ 52 h 164"/>
                <a:gd name="T16" fmla="*/ 15 w 138"/>
                <a:gd name="T17" fmla="*/ 55 h 164"/>
                <a:gd name="T18" fmla="*/ 21 w 138"/>
                <a:gd name="T19" fmla="*/ 59 h 164"/>
                <a:gd name="T20" fmla="*/ 22 w 138"/>
                <a:gd name="T21" fmla="*/ 69 h 164"/>
                <a:gd name="T22" fmla="*/ 19 w 138"/>
                <a:gd name="T23" fmla="*/ 77 h 164"/>
                <a:gd name="T24" fmla="*/ 21 w 138"/>
                <a:gd name="T25" fmla="*/ 90 h 164"/>
                <a:gd name="T26" fmla="*/ 25 w 138"/>
                <a:gd name="T27" fmla="*/ 88 h 164"/>
                <a:gd name="T28" fmla="*/ 37 w 138"/>
                <a:gd name="T29" fmla="*/ 82 h 164"/>
                <a:gd name="T30" fmla="*/ 51 w 138"/>
                <a:gd name="T31" fmla="*/ 85 h 164"/>
                <a:gd name="T32" fmla="*/ 61 w 138"/>
                <a:gd name="T33" fmla="*/ 76 h 164"/>
                <a:gd name="T34" fmla="*/ 75 w 138"/>
                <a:gd name="T35" fmla="*/ 83 h 164"/>
                <a:gd name="T36" fmla="*/ 87 w 138"/>
                <a:gd name="T37" fmla="*/ 97 h 164"/>
                <a:gd name="T38" fmla="*/ 89 w 138"/>
                <a:gd name="T39" fmla="*/ 104 h 164"/>
                <a:gd name="T40" fmla="*/ 88 w 138"/>
                <a:gd name="T41" fmla="*/ 115 h 164"/>
                <a:gd name="T42" fmla="*/ 94 w 138"/>
                <a:gd name="T43" fmla="*/ 123 h 164"/>
                <a:gd name="T44" fmla="*/ 99 w 138"/>
                <a:gd name="T45" fmla="*/ 128 h 164"/>
                <a:gd name="T46" fmla="*/ 104 w 138"/>
                <a:gd name="T47" fmla="*/ 136 h 164"/>
                <a:gd name="T48" fmla="*/ 102 w 138"/>
                <a:gd name="T49" fmla="*/ 157 h 164"/>
                <a:gd name="T50" fmla="*/ 101 w 138"/>
                <a:gd name="T51" fmla="*/ 161 h 164"/>
                <a:gd name="T52" fmla="*/ 108 w 138"/>
                <a:gd name="T53" fmla="*/ 164 h 164"/>
                <a:gd name="T54" fmla="*/ 110 w 138"/>
                <a:gd name="T55" fmla="*/ 164 h 164"/>
                <a:gd name="T56" fmla="*/ 112 w 138"/>
                <a:gd name="T57" fmla="*/ 155 h 164"/>
                <a:gd name="T58" fmla="*/ 120 w 138"/>
                <a:gd name="T59" fmla="*/ 151 h 164"/>
                <a:gd name="T60" fmla="*/ 128 w 138"/>
                <a:gd name="T61" fmla="*/ 156 h 164"/>
                <a:gd name="T62" fmla="*/ 136 w 138"/>
                <a:gd name="T63" fmla="*/ 149 h 164"/>
                <a:gd name="T64" fmla="*/ 136 w 138"/>
                <a:gd name="T65" fmla="*/ 138 h 164"/>
                <a:gd name="T66" fmla="*/ 134 w 138"/>
                <a:gd name="T67" fmla="*/ 126 h 164"/>
                <a:gd name="T68" fmla="*/ 129 w 138"/>
                <a:gd name="T69" fmla="*/ 123 h 164"/>
                <a:gd name="T70" fmla="*/ 125 w 138"/>
                <a:gd name="T71" fmla="*/ 119 h 164"/>
                <a:gd name="T72" fmla="*/ 119 w 138"/>
                <a:gd name="T73" fmla="*/ 118 h 164"/>
                <a:gd name="T74" fmla="*/ 118 w 138"/>
                <a:gd name="T75" fmla="*/ 113 h 164"/>
                <a:gd name="T76" fmla="*/ 115 w 138"/>
                <a:gd name="T77" fmla="*/ 107 h 164"/>
                <a:gd name="T78" fmla="*/ 109 w 138"/>
                <a:gd name="T79" fmla="*/ 100 h 164"/>
                <a:gd name="T80" fmla="*/ 99 w 138"/>
                <a:gd name="T81" fmla="*/ 88 h 164"/>
                <a:gd name="T82" fmla="*/ 91 w 138"/>
                <a:gd name="T83" fmla="*/ 76 h 164"/>
                <a:gd name="T84" fmla="*/ 69 w 138"/>
                <a:gd name="T85" fmla="*/ 58 h 164"/>
                <a:gd name="T86" fmla="*/ 70 w 138"/>
                <a:gd name="T87" fmla="*/ 52 h 164"/>
                <a:gd name="T88" fmla="*/ 77 w 138"/>
                <a:gd name="T89" fmla="*/ 52 h 164"/>
                <a:gd name="T90" fmla="*/ 82 w 138"/>
                <a:gd name="T91" fmla="*/ 52 h 164"/>
                <a:gd name="T92" fmla="*/ 85 w 138"/>
                <a:gd name="T93" fmla="*/ 44 h 164"/>
                <a:gd name="T94" fmla="*/ 77 w 138"/>
                <a:gd name="T95" fmla="*/ 36 h 164"/>
                <a:gd name="T96" fmla="*/ 76 w 138"/>
                <a:gd name="T97" fmla="*/ 37 h 164"/>
                <a:gd name="T98" fmla="*/ 75 w 138"/>
                <a:gd name="T99" fmla="*/ 32 h 164"/>
                <a:gd name="T100" fmla="*/ 69 w 138"/>
                <a:gd name="T101" fmla="*/ 34 h 164"/>
                <a:gd name="T102" fmla="*/ 65 w 138"/>
                <a:gd name="T103" fmla="*/ 37 h 164"/>
                <a:gd name="T104" fmla="*/ 61 w 138"/>
                <a:gd name="T105" fmla="*/ 35 h 164"/>
                <a:gd name="T106" fmla="*/ 49 w 138"/>
                <a:gd name="T107" fmla="*/ 25 h 164"/>
                <a:gd name="T108" fmla="*/ 48 w 138"/>
                <a:gd name="T109" fmla="*/ 21 h 164"/>
                <a:gd name="T110" fmla="*/ 49 w 138"/>
                <a:gd name="T111" fmla="*/ 16 h 164"/>
                <a:gd name="T112" fmla="*/ 43 w 138"/>
                <a:gd name="T113" fmla="*/ 14 h 164"/>
                <a:gd name="T114" fmla="*/ 34 w 138"/>
                <a:gd name="T115" fmla="*/ 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64">
                  <a:moveTo>
                    <a:pt x="29" y="0"/>
                  </a:moveTo>
                  <a:cubicBezTo>
                    <a:pt x="29" y="1"/>
                    <a:pt x="29" y="1"/>
                    <a:pt x="29" y="1"/>
                  </a:cubicBezTo>
                  <a:cubicBezTo>
                    <a:pt x="28" y="2"/>
                    <a:pt x="28" y="2"/>
                    <a:pt x="28" y="2"/>
                  </a:cubicBezTo>
                  <a:cubicBezTo>
                    <a:pt x="28" y="2"/>
                    <a:pt x="27" y="3"/>
                    <a:pt x="27" y="3"/>
                  </a:cubicBezTo>
                  <a:cubicBezTo>
                    <a:pt x="27" y="4"/>
                    <a:pt x="27" y="4"/>
                    <a:pt x="27" y="4"/>
                  </a:cubicBezTo>
                  <a:cubicBezTo>
                    <a:pt x="27" y="4"/>
                    <a:pt x="28" y="5"/>
                    <a:pt x="28" y="5"/>
                  </a:cubicBezTo>
                  <a:cubicBezTo>
                    <a:pt x="28" y="6"/>
                    <a:pt x="28" y="6"/>
                    <a:pt x="28" y="6"/>
                  </a:cubicBezTo>
                  <a:cubicBezTo>
                    <a:pt x="29" y="7"/>
                    <a:pt x="29" y="7"/>
                    <a:pt x="29" y="8"/>
                  </a:cubicBezTo>
                  <a:cubicBezTo>
                    <a:pt x="31" y="10"/>
                    <a:pt x="31" y="12"/>
                    <a:pt x="31" y="15"/>
                  </a:cubicBezTo>
                  <a:cubicBezTo>
                    <a:pt x="31" y="16"/>
                    <a:pt x="31" y="16"/>
                    <a:pt x="31" y="16"/>
                  </a:cubicBezTo>
                  <a:cubicBezTo>
                    <a:pt x="30" y="19"/>
                    <a:pt x="30" y="20"/>
                    <a:pt x="30" y="20"/>
                  </a:cubicBezTo>
                  <a:cubicBezTo>
                    <a:pt x="31" y="20"/>
                    <a:pt x="31" y="20"/>
                    <a:pt x="31" y="20"/>
                  </a:cubicBezTo>
                  <a:cubicBezTo>
                    <a:pt x="31" y="21"/>
                    <a:pt x="31" y="21"/>
                    <a:pt x="31" y="21"/>
                  </a:cubicBezTo>
                  <a:cubicBezTo>
                    <a:pt x="34" y="22"/>
                    <a:pt x="34" y="22"/>
                    <a:pt x="34" y="22"/>
                  </a:cubicBezTo>
                  <a:cubicBezTo>
                    <a:pt x="32" y="25"/>
                    <a:pt x="32" y="25"/>
                    <a:pt x="32" y="25"/>
                  </a:cubicBezTo>
                  <a:cubicBezTo>
                    <a:pt x="30" y="26"/>
                    <a:pt x="29" y="27"/>
                    <a:pt x="27" y="27"/>
                  </a:cubicBezTo>
                  <a:cubicBezTo>
                    <a:pt x="27" y="27"/>
                    <a:pt x="26" y="27"/>
                    <a:pt x="25" y="26"/>
                  </a:cubicBezTo>
                  <a:cubicBezTo>
                    <a:pt x="24" y="26"/>
                    <a:pt x="24" y="26"/>
                    <a:pt x="24" y="26"/>
                  </a:cubicBezTo>
                  <a:cubicBezTo>
                    <a:pt x="23" y="26"/>
                    <a:pt x="23" y="26"/>
                    <a:pt x="22" y="26"/>
                  </a:cubicBezTo>
                  <a:cubicBezTo>
                    <a:pt x="22" y="26"/>
                    <a:pt x="22" y="26"/>
                    <a:pt x="22" y="26"/>
                  </a:cubicBezTo>
                  <a:cubicBezTo>
                    <a:pt x="22" y="26"/>
                    <a:pt x="22" y="26"/>
                    <a:pt x="22" y="26"/>
                  </a:cubicBezTo>
                  <a:cubicBezTo>
                    <a:pt x="21" y="26"/>
                    <a:pt x="21" y="26"/>
                    <a:pt x="21" y="26"/>
                  </a:cubicBezTo>
                  <a:cubicBezTo>
                    <a:pt x="20" y="27"/>
                    <a:pt x="20" y="27"/>
                    <a:pt x="20" y="27"/>
                  </a:cubicBezTo>
                  <a:cubicBezTo>
                    <a:pt x="19" y="26"/>
                    <a:pt x="19" y="26"/>
                    <a:pt x="19" y="26"/>
                  </a:cubicBezTo>
                  <a:cubicBezTo>
                    <a:pt x="17" y="26"/>
                    <a:pt x="16" y="23"/>
                    <a:pt x="15" y="20"/>
                  </a:cubicBezTo>
                  <a:cubicBezTo>
                    <a:pt x="15" y="20"/>
                    <a:pt x="15" y="20"/>
                    <a:pt x="15" y="20"/>
                  </a:cubicBezTo>
                  <a:cubicBezTo>
                    <a:pt x="14" y="21"/>
                    <a:pt x="12" y="22"/>
                    <a:pt x="11" y="23"/>
                  </a:cubicBezTo>
                  <a:cubicBezTo>
                    <a:pt x="10" y="23"/>
                    <a:pt x="10" y="24"/>
                    <a:pt x="10" y="25"/>
                  </a:cubicBezTo>
                  <a:cubicBezTo>
                    <a:pt x="8" y="28"/>
                    <a:pt x="8" y="28"/>
                    <a:pt x="8" y="28"/>
                  </a:cubicBezTo>
                  <a:cubicBezTo>
                    <a:pt x="8" y="28"/>
                    <a:pt x="8" y="28"/>
                    <a:pt x="8" y="29"/>
                  </a:cubicBezTo>
                  <a:cubicBezTo>
                    <a:pt x="8" y="29"/>
                    <a:pt x="8" y="29"/>
                    <a:pt x="8" y="29"/>
                  </a:cubicBezTo>
                  <a:cubicBezTo>
                    <a:pt x="9" y="30"/>
                    <a:pt x="9" y="30"/>
                    <a:pt x="9" y="30"/>
                  </a:cubicBezTo>
                  <a:cubicBezTo>
                    <a:pt x="10" y="33"/>
                    <a:pt x="10" y="33"/>
                    <a:pt x="10" y="33"/>
                  </a:cubicBezTo>
                  <a:cubicBezTo>
                    <a:pt x="7" y="33"/>
                    <a:pt x="7" y="33"/>
                    <a:pt x="7" y="33"/>
                  </a:cubicBezTo>
                  <a:cubicBezTo>
                    <a:pt x="6" y="33"/>
                    <a:pt x="5" y="33"/>
                    <a:pt x="5" y="33"/>
                  </a:cubicBezTo>
                  <a:cubicBezTo>
                    <a:pt x="4" y="33"/>
                    <a:pt x="3" y="34"/>
                    <a:pt x="2" y="34"/>
                  </a:cubicBezTo>
                  <a:cubicBezTo>
                    <a:pt x="2" y="34"/>
                    <a:pt x="2" y="34"/>
                    <a:pt x="2" y="34"/>
                  </a:cubicBezTo>
                  <a:cubicBezTo>
                    <a:pt x="1" y="35"/>
                    <a:pt x="0" y="37"/>
                    <a:pt x="0" y="38"/>
                  </a:cubicBezTo>
                  <a:cubicBezTo>
                    <a:pt x="1" y="38"/>
                    <a:pt x="1" y="38"/>
                    <a:pt x="1" y="38"/>
                  </a:cubicBezTo>
                  <a:cubicBezTo>
                    <a:pt x="1" y="38"/>
                    <a:pt x="1" y="38"/>
                    <a:pt x="1" y="38"/>
                  </a:cubicBezTo>
                  <a:cubicBezTo>
                    <a:pt x="3" y="38"/>
                    <a:pt x="4" y="39"/>
                    <a:pt x="5" y="40"/>
                  </a:cubicBezTo>
                  <a:cubicBezTo>
                    <a:pt x="6" y="41"/>
                    <a:pt x="6" y="41"/>
                    <a:pt x="6" y="41"/>
                  </a:cubicBezTo>
                  <a:cubicBezTo>
                    <a:pt x="7" y="42"/>
                    <a:pt x="7" y="42"/>
                    <a:pt x="7" y="42"/>
                  </a:cubicBezTo>
                  <a:cubicBezTo>
                    <a:pt x="8" y="43"/>
                    <a:pt x="8" y="45"/>
                    <a:pt x="8" y="47"/>
                  </a:cubicBezTo>
                  <a:cubicBezTo>
                    <a:pt x="8" y="48"/>
                    <a:pt x="7" y="50"/>
                    <a:pt x="7" y="51"/>
                  </a:cubicBezTo>
                  <a:cubicBezTo>
                    <a:pt x="6" y="51"/>
                    <a:pt x="6" y="51"/>
                    <a:pt x="6" y="51"/>
                  </a:cubicBezTo>
                  <a:cubicBezTo>
                    <a:pt x="6" y="52"/>
                    <a:pt x="6" y="52"/>
                    <a:pt x="6" y="52"/>
                  </a:cubicBezTo>
                  <a:cubicBezTo>
                    <a:pt x="6" y="52"/>
                    <a:pt x="6" y="52"/>
                    <a:pt x="6" y="52"/>
                  </a:cubicBezTo>
                  <a:cubicBezTo>
                    <a:pt x="6" y="53"/>
                    <a:pt x="6" y="53"/>
                    <a:pt x="6" y="53"/>
                  </a:cubicBezTo>
                  <a:cubicBezTo>
                    <a:pt x="5" y="53"/>
                    <a:pt x="5" y="53"/>
                    <a:pt x="5" y="53"/>
                  </a:cubicBezTo>
                  <a:cubicBezTo>
                    <a:pt x="6" y="53"/>
                    <a:pt x="6" y="54"/>
                    <a:pt x="6" y="54"/>
                  </a:cubicBezTo>
                  <a:cubicBezTo>
                    <a:pt x="7" y="54"/>
                    <a:pt x="7" y="55"/>
                    <a:pt x="7" y="55"/>
                  </a:cubicBezTo>
                  <a:cubicBezTo>
                    <a:pt x="8" y="55"/>
                    <a:pt x="8" y="55"/>
                    <a:pt x="8" y="55"/>
                  </a:cubicBezTo>
                  <a:cubicBezTo>
                    <a:pt x="10" y="55"/>
                    <a:pt x="13" y="55"/>
                    <a:pt x="15" y="55"/>
                  </a:cubicBezTo>
                  <a:cubicBezTo>
                    <a:pt x="17" y="54"/>
                    <a:pt x="18" y="54"/>
                    <a:pt x="19" y="54"/>
                  </a:cubicBezTo>
                  <a:cubicBezTo>
                    <a:pt x="21" y="54"/>
                    <a:pt x="21" y="54"/>
                    <a:pt x="21" y="54"/>
                  </a:cubicBezTo>
                  <a:cubicBezTo>
                    <a:pt x="22" y="56"/>
                    <a:pt x="22" y="56"/>
                    <a:pt x="22" y="56"/>
                  </a:cubicBezTo>
                  <a:cubicBezTo>
                    <a:pt x="22" y="56"/>
                    <a:pt x="22" y="57"/>
                    <a:pt x="22" y="57"/>
                  </a:cubicBezTo>
                  <a:cubicBezTo>
                    <a:pt x="21" y="58"/>
                    <a:pt x="21" y="59"/>
                    <a:pt x="21" y="59"/>
                  </a:cubicBezTo>
                  <a:cubicBezTo>
                    <a:pt x="21" y="59"/>
                    <a:pt x="21" y="59"/>
                    <a:pt x="21" y="59"/>
                  </a:cubicBezTo>
                  <a:cubicBezTo>
                    <a:pt x="20" y="59"/>
                    <a:pt x="20" y="59"/>
                    <a:pt x="20" y="59"/>
                  </a:cubicBezTo>
                  <a:cubicBezTo>
                    <a:pt x="20" y="60"/>
                    <a:pt x="21" y="61"/>
                    <a:pt x="21" y="61"/>
                  </a:cubicBezTo>
                  <a:cubicBezTo>
                    <a:pt x="21" y="62"/>
                    <a:pt x="21" y="62"/>
                    <a:pt x="21" y="62"/>
                  </a:cubicBezTo>
                  <a:cubicBezTo>
                    <a:pt x="21" y="62"/>
                    <a:pt x="21" y="63"/>
                    <a:pt x="22" y="63"/>
                  </a:cubicBezTo>
                  <a:cubicBezTo>
                    <a:pt x="22" y="64"/>
                    <a:pt x="23" y="66"/>
                    <a:pt x="23" y="68"/>
                  </a:cubicBezTo>
                  <a:cubicBezTo>
                    <a:pt x="23" y="68"/>
                    <a:pt x="22" y="69"/>
                    <a:pt x="22" y="69"/>
                  </a:cubicBezTo>
                  <a:cubicBezTo>
                    <a:pt x="21" y="70"/>
                    <a:pt x="21" y="70"/>
                    <a:pt x="21" y="70"/>
                  </a:cubicBezTo>
                  <a:cubicBezTo>
                    <a:pt x="21" y="70"/>
                    <a:pt x="21" y="71"/>
                    <a:pt x="21" y="71"/>
                  </a:cubicBezTo>
                  <a:cubicBezTo>
                    <a:pt x="21" y="72"/>
                    <a:pt x="21" y="72"/>
                    <a:pt x="21" y="72"/>
                  </a:cubicBezTo>
                  <a:cubicBezTo>
                    <a:pt x="21" y="72"/>
                    <a:pt x="21" y="72"/>
                    <a:pt x="21" y="72"/>
                  </a:cubicBezTo>
                  <a:cubicBezTo>
                    <a:pt x="21" y="73"/>
                    <a:pt x="21" y="74"/>
                    <a:pt x="20" y="76"/>
                  </a:cubicBezTo>
                  <a:cubicBezTo>
                    <a:pt x="20" y="76"/>
                    <a:pt x="19" y="77"/>
                    <a:pt x="19" y="77"/>
                  </a:cubicBezTo>
                  <a:cubicBezTo>
                    <a:pt x="19" y="78"/>
                    <a:pt x="19" y="78"/>
                    <a:pt x="19" y="78"/>
                  </a:cubicBezTo>
                  <a:cubicBezTo>
                    <a:pt x="18" y="79"/>
                    <a:pt x="18" y="79"/>
                    <a:pt x="18" y="80"/>
                  </a:cubicBezTo>
                  <a:cubicBezTo>
                    <a:pt x="18" y="80"/>
                    <a:pt x="18" y="81"/>
                    <a:pt x="19" y="82"/>
                  </a:cubicBezTo>
                  <a:cubicBezTo>
                    <a:pt x="19" y="83"/>
                    <a:pt x="19" y="85"/>
                    <a:pt x="19" y="86"/>
                  </a:cubicBezTo>
                  <a:cubicBezTo>
                    <a:pt x="19" y="87"/>
                    <a:pt x="19" y="88"/>
                    <a:pt x="18" y="88"/>
                  </a:cubicBezTo>
                  <a:cubicBezTo>
                    <a:pt x="21" y="90"/>
                    <a:pt x="21" y="90"/>
                    <a:pt x="21" y="90"/>
                  </a:cubicBezTo>
                  <a:cubicBezTo>
                    <a:pt x="18" y="89"/>
                    <a:pt x="18" y="89"/>
                    <a:pt x="18" y="89"/>
                  </a:cubicBezTo>
                  <a:cubicBezTo>
                    <a:pt x="17" y="91"/>
                    <a:pt x="17" y="91"/>
                    <a:pt x="17" y="91"/>
                  </a:cubicBezTo>
                  <a:cubicBezTo>
                    <a:pt x="16" y="93"/>
                    <a:pt x="15" y="94"/>
                    <a:pt x="15" y="94"/>
                  </a:cubicBezTo>
                  <a:cubicBezTo>
                    <a:pt x="16" y="95"/>
                    <a:pt x="16" y="95"/>
                    <a:pt x="16" y="95"/>
                  </a:cubicBezTo>
                  <a:cubicBezTo>
                    <a:pt x="17" y="94"/>
                    <a:pt x="17" y="94"/>
                    <a:pt x="17" y="94"/>
                  </a:cubicBezTo>
                  <a:cubicBezTo>
                    <a:pt x="20" y="92"/>
                    <a:pt x="22" y="90"/>
                    <a:pt x="25" y="88"/>
                  </a:cubicBezTo>
                  <a:cubicBezTo>
                    <a:pt x="25" y="87"/>
                    <a:pt x="26" y="87"/>
                    <a:pt x="26" y="86"/>
                  </a:cubicBezTo>
                  <a:cubicBezTo>
                    <a:pt x="28" y="85"/>
                    <a:pt x="28" y="85"/>
                    <a:pt x="28" y="85"/>
                  </a:cubicBezTo>
                  <a:cubicBezTo>
                    <a:pt x="30" y="84"/>
                    <a:pt x="31" y="83"/>
                    <a:pt x="33" y="82"/>
                  </a:cubicBezTo>
                  <a:cubicBezTo>
                    <a:pt x="33" y="81"/>
                    <a:pt x="34" y="81"/>
                    <a:pt x="34" y="81"/>
                  </a:cubicBezTo>
                  <a:cubicBezTo>
                    <a:pt x="35" y="81"/>
                    <a:pt x="35" y="81"/>
                    <a:pt x="35" y="81"/>
                  </a:cubicBezTo>
                  <a:cubicBezTo>
                    <a:pt x="36" y="81"/>
                    <a:pt x="37" y="81"/>
                    <a:pt x="37" y="82"/>
                  </a:cubicBezTo>
                  <a:cubicBezTo>
                    <a:pt x="37" y="82"/>
                    <a:pt x="37" y="82"/>
                    <a:pt x="37" y="82"/>
                  </a:cubicBezTo>
                  <a:cubicBezTo>
                    <a:pt x="39" y="83"/>
                    <a:pt x="39" y="83"/>
                    <a:pt x="39" y="83"/>
                  </a:cubicBezTo>
                  <a:cubicBezTo>
                    <a:pt x="41" y="85"/>
                    <a:pt x="43" y="86"/>
                    <a:pt x="45" y="88"/>
                  </a:cubicBezTo>
                  <a:cubicBezTo>
                    <a:pt x="46" y="87"/>
                    <a:pt x="46" y="87"/>
                    <a:pt x="46" y="87"/>
                  </a:cubicBezTo>
                  <a:cubicBezTo>
                    <a:pt x="46" y="87"/>
                    <a:pt x="47" y="86"/>
                    <a:pt x="48" y="86"/>
                  </a:cubicBezTo>
                  <a:cubicBezTo>
                    <a:pt x="49" y="85"/>
                    <a:pt x="50" y="85"/>
                    <a:pt x="51" y="85"/>
                  </a:cubicBezTo>
                  <a:cubicBezTo>
                    <a:pt x="51" y="85"/>
                    <a:pt x="51" y="85"/>
                    <a:pt x="51" y="85"/>
                  </a:cubicBezTo>
                  <a:cubicBezTo>
                    <a:pt x="51" y="85"/>
                    <a:pt x="51" y="85"/>
                    <a:pt x="51" y="85"/>
                  </a:cubicBezTo>
                  <a:cubicBezTo>
                    <a:pt x="51" y="84"/>
                    <a:pt x="51" y="83"/>
                    <a:pt x="53" y="82"/>
                  </a:cubicBezTo>
                  <a:cubicBezTo>
                    <a:pt x="54" y="81"/>
                    <a:pt x="55" y="80"/>
                    <a:pt x="56" y="79"/>
                  </a:cubicBezTo>
                  <a:cubicBezTo>
                    <a:pt x="56" y="79"/>
                    <a:pt x="56" y="79"/>
                    <a:pt x="56" y="79"/>
                  </a:cubicBezTo>
                  <a:cubicBezTo>
                    <a:pt x="58" y="77"/>
                    <a:pt x="59" y="76"/>
                    <a:pt x="61" y="76"/>
                  </a:cubicBezTo>
                  <a:cubicBezTo>
                    <a:pt x="61" y="76"/>
                    <a:pt x="61" y="76"/>
                    <a:pt x="61" y="76"/>
                  </a:cubicBezTo>
                  <a:cubicBezTo>
                    <a:pt x="62" y="76"/>
                    <a:pt x="62" y="77"/>
                    <a:pt x="63" y="77"/>
                  </a:cubicBezTo>
                  <a:cubicBezTo>
                    <a:pt x="64" y="77"/>
                    <a:pt x="64" y="77"/>
                    <a:pt x="64" y="77"/>
                  </a:cubicBezTo>
                  <a:cubicBezTo>
                    <a:pt x="66" y="77"/>
                    <a:pt x="67" y="78"/>
                    <a:pt x="67" y="78"/>
                  </a:cubicBezTo>
                  <a:cubicBezTo>
                    <a:pt x="70" y="78"/>
                    <a:pt x="72" y="79"/>
                    <a:pt x="75" y="82"/>
                  </a:cubicBezTo>
                  <a:cubicBezTo>
                    <a:pt x="75" y="83"/>
                    <a:pt x="75" y="83"/>
                    <a:pt x="75" y="83"/>
                  </a:cubicBezTo>
                  <a:cubicBezTo>
                    <a:pt x="78" y="81"/>
                    <a:pt x="78" y="81"/>
                    <a:pt x="78" y="81"/>
                  </a:cubicBezTo>
                  <a:cubicBezTo>
                    <a:pt x="75" y="84"/>
                    <a:pt x="75" y="84"/>
                    <a:pt x="75" y="84"/>
                  </a:cubicBezTo>
                  <a:cubicBezTo>
                    <a:pt x="76" y="85"/>
                    <a:pt x="76" y="85"/>
                    <a:pt x="76" y="85"/>
                  </a:cubicBezTo>
                  <a:cubicBezTo>
                    <a:pt x="77" y="86"/>
                    <a:pt x="77" y="86"/>
                    <a:pt x="77" y="87"/>
                  </a:cubicBezTo>
                  <a:cubicBezTo>
                    <a:pt x="79" y="89"/>
                    <a:pt x="81" y="92"/>
                    <a:pt x="84" y="94"/>
                  </a:cubicBezTo>
                  <a:cubicBezTo>
                    <a:pt x="85" y="95"/>
                    <a:pt x="86" y="96"/>
                    <a:pt x="87" y="97"/>
                  </a:cubicBezTo>
                  <a:cubicBezTo>
                    <a:pt x="88" y="98"/>
                    <a:pt x="89" y="99"/>
                    <a:pt x="89" y="100"/>
                  </a:cubicBezTo>
                  <a:cubicBezTo>
                    <a:pt x="93" y="99"/>
                    <a:pt x="93" y="99"/>
                    <a:pt x="93" y="99"/>
                  </a:cubicBezTo>
                  <a:cubicBezTo>
                    <a:pt x="89" y="101"/>
                    <a:pt x="89" y="101"/>
                    <a:pt x="89" y="101"/>
                  </a:cubicBezTo>
                  <a:cubicBezTo>
                    <a:pt x="89" y="102"/>
                    <a:pt x="89" y="102"/>
                    <a:pt x="89" y="102"/>
                  </a:cubicBezTo>
                  <a:cubicBezTo>
                    <a:pt x="89" y="103"/>
                    <a:pt x="89" y="103"/>
                    <a:pt x="89" y="103"/>
                  </a:cubicBezTo>
                  <a:cubicBezTo>
                    <a:pt x="89" y="103"/>
                    <a:pt x="89" y="104"/>
                    <a:pt x="89" y="104"/>
                  </a:cubicBezTo>
                  <a:cubicBezTo>
                    <a:pt x="89" y="104"/>
                    <a:pt x="89" y="104"/>
                    <a:pt x="89" y="104"/>
                  </a:cubicBezTo>
                  <a:cubicBezTo>
                    <a:pt x="88" y="105"/>
                    <a:pt x="88" y="106"/>
                    <a:pt x="88" y="106"/>
                  </a:cubicBezTo>
                  <a:cubicBezTo>
                    <a:pt x="88" y="107"/>
                    <a:pt x="88" y="107"/>
                    <a:pt x="88" y="107"/>
                  </a:cubicBezTo>
                  <a:cubicBezTo>
                    <a:pt x="87" y="109"/>
                    <a:pt x="87" y="111"/>
                    <a:pt x="88" y="113"/>
                  </a:cubicBezTo>
                  <a:cubicBezTo>
                    <a:pt x="88" y="114"/>
                    <a:pt x="88" y="114"/>
                    <a:pt x="88" y="114"/>
                  </a:cubicBezTo>
                  <a:cubicBezTo>
                    <a:pt x="88" y="115"/>
                    <a:pt x="88" y="115"/>
                    <a:pt x="88" y="115"/>
                  </a:cubicBezTo>
                  <a:cubicBezTo>
                    <a:pt x="88" y="115"/>
                    <a:pt x="88" y="115"/>
                    <a:pt x="88" y="116"/>
                  </a:cubicBezTo>
                  <a:cubicBezTo>
                    <a:pt x="89" y="116"/>
                    <a:pt x="89" y="116"/>
                    <a:pt x="89" y="116"/>
                  </a:cubicBezTo>
                  <a:cubicBezTo>
                    <a:pt x="89" y="117"/>
                    <a:pt x="90" y="118"/>
                    <a:pt x="90" y="118"/>
                  </a:cubicBezTo>
                  <a:cubicBezTo>
                    <a:pt x="91" y="119"/>
                    <a:pt x="92" y="120"/>
                    <a:pt x="93" y="121"/>
                  </a:cubicBezTo>
                  <a:cubicBezTo>
                    <a:pt x="93" y="121"/>
                    <a:pt x="93" y="121"/>
                    <a:pt x="93" y="121"/>
                  </a:cubicBezTo>
                  <a:cubicBezTo>
                    <a:pt x="93" y="122"/>
                    <a:pt x="93" y="123"/>
                    <a:pt x="94" y="123"/>
                  </a:cubicBezTo>
                  <a:cubicBezTo>
                    <a:pt x="94" y="123"/>
                    <a:pt x="96" y="123"/>
                    <a:pt x="97" y="124"/>
                  </a:cubicBezTo>
                  <a:cubicBezTo>
                    <a:pt x="97" y="124"/>
                    <a:pt x="97" y="124"/>
                    <a:pt x="97" y="124"/>
                  </a:cubicBezTo>
                  <a:cubicBezTo>
                    <a:pt x="98" y="124"/>
                    <a:pt x="98" y="124"/>
                    <a:pt x="99" y="124"/>
                  </a:cubicBezTo>
                  <a:cubicBezTo>
                    <a:pt x="104" y="125"/>
                    <a:pt x="104" y="125"/>
                    <a:pt x="104" y="125"/>
                  </a:cubicBezTo>
                  <a:cubicBezTo>
                    <a:pt x="100" y="128"/>
                    <a:pt x="100" y="128"/>
                    <a:pt x="100" y="128"/>
                  </a:cubicBezTo>
                  <a:cubicBezTo>
                    <a:pt x="99" y="128"/>
                    <a:pt x="99" y="128"/>
                    <a:pt x="99" y="128"/>
                  </a:cubicBezTo>
                  <a:cubicBezTo>
                    <a:pt x="100" y="129"/>
                    <a:pt x="100" y="129"/>
                    <a:pt x="100" y="129"/>
                  </a:cubicBezTo>
                  <a:cubicBezTo>
                    <a:pt x="100" y="129"/>
                    <a:pt x="101" y="130"/>
                    <a:pt x="101" y="130"/>
                  </a:cubicBezTo>
                  <a:cubicBezTo>
                    <a:pt x="101" y="130"/>
                    <a:pt x="101" y="130"/>
                    <a:pt x="101" y="130"/>
                  </a:cubicBezTo>
                  <a:cubicBezTo>
                    <a:pt x="102" y="130"/>
                    <a:pt x="102" y="131"/>
                    <a:pt x="103" y="131"/>
                  </a:cubicBezTo>
                  <a:cubicBezTo>
                    <a:pt x="103" y="132"/>
                    <a:pt x="104" y="132"/>
                    <a:pt x="104" y="132"/>
                  </a:cubicBezTo>
                  <a:cubicBezTo>
                    <a:pt x="104" y="134"/>
                    <a:pt x="104" y="134"/>
                    <a:pt x="104" y="136"/>
                  </a:cubicBezTo>
                  <a:cubicBezTo>
                    <a:pt x="104" y="138"/>
                    <a:pt x="103" y="139"/>
                    <a:pt x="102" y="140"/>
                  </a:cubicBezTo>
                  <a:cubicBezTo>
                    <a:pt x="102" y="140"/>
                    <a:pt x="101" y="140"/>
                    <a:pt x="101" y="140"/>
                  </a:cubicBezTo>
                  <a:cubicBezTo>
                    <a:pt x="101" y="140"/>
                    <a:pt x="101" y="141"/>
                    <a:pt x="101" y="142"/>
                  </a:cubicBezTo>
                  <a:cubicBezTo>
                    <a:pt x="101" y="143"/>
                    <a:pt x="102" y="145"/>
                    <a:pt x="102" y="147"/>
                  </a:cubicBezTo>
                  <a:cubicBezTo>
                    <a:pt x="103" y="150"/>
                    <a:pt x="103" y="153"/>
                    <a:pt x="102" y="156"/>
                  </a:cubicBezTo>
                  <a:cubicBezTo>
                    <a:pt x="102" y="156"/>
                    <a:pt x="102" y="156"/>
                    <a:pt x="102" y="157"/>
                  </a:cubicBezTo>
                  <a:cubicBezTo>
                    <a:pt x="101" y="157"/>
                    <a:pt x="101" y="158"/>
                    <a:pt x="100" y="158"/>
                  </a:cubicBezTo>
                  <a:cubicBezTo>
                    <a:pt x="99" y="159"/>
                    <a:pt x="99" y="159"/>
                    <a:pt x="98" y="159"/>
                  </a:cubicBezTo>
                  <a:cubicBezTo>
                    <a:pt x="98" y="159"/>
                    <a:pt x="98" y="159"/>
                    <a:pt x="98" y="159"/>
                  </a:cubicBezTo>
                  <a:cubicBezTo>
                    <a:pt x="98" y="160"/>
                    <a:pt x="99" y="161"/>
                    <a:pt x="99" y="161"/>
                  </a:cubicBezTo>
                  <a:cubicBezTo>
                    <a:pt x="99" y="161"/>
                    <a:pt x="99" y="161"/>
                    <a:pt x="99" y="161"/>
                  </a:cubicBezTo>
                  <a:cubicBezTo>
                    <a:pt x="100" y="161"/>
                    <a:pt x="100" y="161"/>
                    <a:pt x="101" y="161"/>
                  </a:cubicBezTo>
                  <a:cubicBezTo>
                    <a:pt x="101" y="161"/>
                    <a:pt x="102" y="161"/>
                    <a:pt x="102" y="161"/>
                  </a:cubicBezTo>
                  <a:cubicBezTo>
                    <a:pt x="102" y="161"/>
                    <a:pt x="103" y="161"/>
                    <a:pt x="103" y="161"/>
                  </a:cubicBezTo>
                  <a:cubicBezTo>
                    <a:pt x="103" y="161"/>
                    <a:pt x="103" y="161"/>
                    <a:pt x="104" y="161"/>
                  </a:cubicBezTo>
                  <a:cubicBezTo>
                    <a:pt x="105" y="161"/>
                    <a:pt x="106" y="161"/>
                    <a:pt x="107" y="163"/>
                  </a:cubicBezTo>
                  <a:cubicBezTo>
                    <a:pt x="108" y="163"/>
                    <a:pt x="108" y="163"/>
                    <a:pt x="108" y="163"/>
                  </a:cubicBezTo>
                  <a:cubicBezTo>
                    <a:pt x="108" y="164"/>
                    <a:pt x="108" y="164"/>
                    <a:pt x="108" y="164"/>
                  </a:cubicBezTo>
                  <a:cubicBezTo>
                    <a:pt x="108" y="164"/>
                    <a:pt x="108" y="164"/>
                    <a:pt x="108" y="164"/>
                  </a:cubicBezTo>
                  <a:cubicBezTo>
                    <a:pt x="109" y="164"/>
                    <a:pt x="109" y="164"/>
                    <a:pt x="109" y="164"/>
                  </a:cubicBezTo>
                  <a:cubicBezTo>
                    <a:pt x="109" y="164"/>
                    <a:pt x="109" y="164"/>
                    <a:pt x="109" y="164"/>
                  </a:cubicBezTo>
                  <a:cubicBezTo>
                    <a:pt x="110" y="164"/>
                    <a:pt x="110" y="164"/>
                    <a:pt x="110" y="164"/>
                  </a:cubicBezTo>
                  <a:cubicBezTo>
                    <a:pt x="110" y="164"/>
                    <a:pt x="110" y="164"/>
                    <a:pt x="110" y="164"/>
                  </a:cubicBezTo>
                  <a:cubicBezTo>
                    <a:pt x="110" y="164"/>
                    <a:pt x="110" y="164"/>
                    <a:pt x="110" y="164"/>
                  </a:cubicBezTo>
                  <a:cubicBezTo>
                    <a:pt x="110" y="164"/>
                    <a:pt x="110" y="163"/>
                    <a:pt x="108" y="161"/>
                  </a:cubicBezTo>
                  <a:cubicBezTo>
                    <a:pt x="108" y="160"/>
                    <a:pt x="107" y="160"/>
                    <a:pt x="107" y="159"/>
                  </a:cubicBezTo>
                  <a:cubicBezTo>
                    <a:pt x="104" y="153"/>
                    <a:pt x="104" y="153"/>
                    <a:pt x="104" y="153"/>
                  </a:cubicBezTo>
                  <a:cubicBezTo>
                    <a:pt x="110" y="156"/>
                    <a:pt x="110" y="156"/>
                    <a:pt x="110" y="156"/>
                  </a:cubicBezTo>
                  <a:cubicBezTo>
                    <a:pt x="110" y="156"/>
                    <a:pt x="110" y="156"/>
                    <a:pt x="110" y="156"/>
                  </a:cubicBezTo>
                  <a:cubicBezTo>
                    <a:pt x="110" y="156"/>
                    <a:pt x="111" y="156"/>
                    <a:pt x="112" y="155"/>
                  </a:cubicBezTo>
                  <a:cubicBezTo>
                    <a:pt x="113" y="154"/>
                    <a:pt x="113" y="154"/>
                    <a:pt x="113" y="154"/>
                  </a:cubicBezTo>
                  <a:cubicBezTo>
                    <a:pt x="114" y="154"/>
                    <a:pt x="115" y="153"/>
                    <a:pt x="117" y="152"/>
                  </a:cubicBezTo>
                  <a:cubicBezTo>
                    <a:pt x="117" y="152"/>
                    <a:pt x="118" y="152"/>
                    <a:pt x="118" y="151"/>
                  </a:cubicBezTo>
                  <a:cubicBezTo>
                    <a:pt x="118" y="151"/>
                    <a:pt x="118" y="151"/>
                    <a:pt x="118" y="151"/>
                  </a:cubicBezTo>
                  <a:cubicBezTo>
                    <a:pt x="119" y="151"/>
                    <a:pt x="119" y="151"/>
                    <a:pt x="119" y="151"/>
                  </a:cubicBezTo>
                  <a:cubicBezTo>
                    <a:pt x="120" y="151"/>
                    <a:pt x="120" y="151"/>
                    <a:pt x="120" y="151"/>
                  </a:cubicBezTo>
                  <a:cubicBezTo>
                    <a:pt x="121" y="152"/>
                    <a:pt x="122" y="153"/>
                    <a:pt x="122" y="154"/>
                  </a:cubicBezTo>
                  <a:cubicBezTo>
                    <a:pt x="123" y="154"/>
                    <a:pt x="123" y="154"/>
                    <a:pt x="123" y="154"/>
                  </a:cubicBezTo>
                  <a:cubicBezTo>
                    <a:pt x="127" y="156"/>
                    <a:pt x="127" y="156"/>
                    <a:pt x="127" y="156"/>
                  </a:cubicBezTo>
                  <a:cubicBezTo>
                    <a:pt x="127" y="156"/>
                    <a:pt x="127" y="156"/>
                    <a:pt x="127" y="156"/>
                  </a:cubicBezTo>
                  <a:cubicBezTo>
                    <a:pt x="128" y="156"/>
                    <a:pt x="128" y="156"/>
                    <a:pt x="128" y="156"/>
                  </a:cubicBezTo>
                  <a:cubicBezTo>
                    <a:pt x="128" y="156"/>
                    <a:pt x="128" y="156"/>
                    <a:pt x="128" y="156"/>
                  </a:cubicBezTo>
                  <a:cubicBezTo>
                    <a:pt x="129" y="155"/>
                    <a:pt x="131" y="154"/>
                    <a:pt x="132" y="153"/>
                  </a:cubicBezTo>
                  <a:cubicBezTo>
                    <a:pt x="134" y="151"/>
                    <a:pt x="134" y="151"/>
                    <a:pt x="134" y="151"/>
                  </a:cubicBezTo>
                  <a:cubicBezTo>
                    <a:pt x="135" y="151"/>
                    <a:pt x="135" y="151"/>
                    <a:pt x="136" y="151"/>
                  </a:cubicBezTo>
                  <a:cubicBezTo>
                    <a:pt x="136" y="150"/>
                    <a:pt x="136" y="150"/>
                    <a:pt x="136" y="150"/>
                  </a:cubicBezTo>
                  <a:cubicBezTo>
                    <a:pt x="136" y="150"/>
                    <a:pt x="136" y="150"/>
                    <a:pt x="136" y="150"/>
                  </a:cubicBezTo>
                  <a:cubicBezTo>
                    <a:pt x="136" y="149"/>
                    <a:pt x="136" y="149"/>
                    <a:pt x="136" y="149"/>
                  </a:cubicBezTo>
                  <a:cubicBezTo>
                    <a:pt x="136" y="148"/>
                    <a:pt x="136" y="148"/>
                    <a:pt x="136" y="148"/>
                  </a:cubicBezTo>
                  <a:cubicBezTo>
                    <a:pt x="135" y="148"/>
                    <a:pt x="135" y="148"/>
                    <a:pt x="135" y="147"/>
                  </a:cubicBezTo>
                  <a:cubicBezTo>
                    <a:pt x="135" y="145"/>
                    <a:pt x="137" y="143"/>
                    <a:pt x="138" y="142"/>
                  </a:cubicBezTo>
                  <a:cubicBezTo>
                    <a:pt x="138" y="141"/>
                    <a:pt x="138" y="141"/>
                    <a:pt x="138" y="141"/>
                  </a:cubicBezTo>
                  <a:cubicBezTo>
                    <a:pt x="138" y="140"/>
                    <a:pt x="137" y="139"/>
                    <a:pt x="136" y="138"/>
                  </a:cubicBezTo>
                  <a:cubicBezTo>
                    <a:pt x="136" y="138"/>
                    <a:pt x="136" y="138"/>
                    <a:pt x="136" y="138"/>
                  </a:cubicBezTo>
                  <a:cubicBezTo>
                    <a:pt x="134" y="137"/>
                    <a:pt x="132" y="135"/>
                    <a:pt x="131" y="133"/>
                  </a:cubicBezTo>
                  <a:cubicBezTo>
                    <a:pt x="130" y="132"/>
                    <a:pt x="129" y="131"/>
                    <a:pt x="129" y="130"/>
                  </a:cubicBezTo>
                  <a:cubicBezTo>
                    <a:pt x="129" y="128"/>
                    <a:pt x="130" y="127"/>
                    <a:pt x="132" y="127"/>
                  </a:cubicBezTo>
                  <a:cubicBezTo>
                    <a:pt x="132" y="127"/>
                    <a:pt x="132" y="127"/>
                    <a:pt x="133" y="127"/>
                  </a:cubicBezTo>
                  <a:cubicBezTo>
                    <a:pt x="133" y="126"/>
                    <a:pt x="133" y="126"/>
                    <a:pt x="133" y="126"/>
                  </a:cubicBezTo>
                  <a:cubicBezTo>
                    <a:pt x="134" y="126"/>
                    <a:pt x="134" y="126"/>
                    <a:pt x="134" y="126"/>
                  </a:cubicBezTo>
                  <a:cubicBezTo>
                    <a:pt x="134" y="126"/>
                    <a:pt x="134" y="126"/>
                    <a:pt x="134" y="126"/>
                  </a:cubicBezTo>
                  <a:cubicBezTo>
                    <a:pt x="133" y="126"/>
                    <a:pt x="133" y="125"/>
                    <a:pt x="132" y="125"/>
                  </a:cubicBezTo>
                  <a:cubicBezTo>
                    <a:pt x="132" y="125"/>
                    <a:pt x="131" y="124"/>
                    <a:pt x="131" y="124"/>
                  </a:cubicBezTo>
                  <a:cubicBezTo>
                    <a:pt x="130" y="124"/>
                    <a:pt x="130" y="123"/>
                    <a:pt x="129" y="123"/>
                  </a:cubicBezTo>
                  <a:cubicBezTo>
                    <a:pt x="129" y="123"/>
                    <a:pt x="129" y="123"/>
                    <a:pt x="129" y="123"/>
                  </a:cubicBezTo>
                  <a:cubicBezTo>
                    <a:pt x="129" y="123"/>
                    <a:pt x="129" y="123"/>
                    <a:pt x="129" y="123"/>
                  </a:cubicBezTo>
                  <a:cubicBezTo>
                    <a:pt x="128" y="123"/>
                    <a:pt x="128" y="123"/>
                    <a:pt x="127" y="122"/>
                  </a:cubicBezTo>
                  <a:cubicBezTo>
                    <a:pt x="127" y="122"/>
                    <a:pt x="127" y="122"/>
                    <a:pt x="127" y="122"/>
                  </a:cubicBezTo>
                  <a:cubicBezTo>
                    <a:pt x="127" y="122"/>
                    <a:pt x="127" y="122"/>
                    <a:pt x="127" y="122"/>
                  </a:cubicBezTo>
                  <a:cubicBezTo>
                    <a:pt x="126" y="122"/>
                    <a:pt x="126" y="121"/>
                    <a:pt x="125" y="121"/>
                  </a:cubicBezTo>
                  <a:cubicBezTo>
                    <a:pt x="125" y="120"/>
                    <a:pt x="125" y="120"/>
                    <a:pt x="125" y="120"/>
                  </a:cubicBezTo>
                  <a:cubicBezTo>
                    <a:pt x="125" y="120"/>
                    <a:pt x="125" y="120"/>
                    <a:pt x="125" y="119"/>
                  </a:cubicBezTo>
                  <a:cubicBezTo>
                    <a:pt x="125" y="119"/>
                    <a:pt x="125" y="119"/>
                    <a:pt x="125" y="119"/>
                  </a:cubicBezTo>
                  <a:cubicBezTo>
                    <a:pt x="124" y="119"/>
                    <a:pt x="124" y="119"/>
                    <a:pt x="123" y="119"/>
                  </a:cubicBezTo>
                  <a:cubicBezTo>
                    <a:pt x="123" y="119"/>
                    <a:pt x="123" y="119"/>
                    <a:pt x="123" y="119"/>
                  </a:cubicBezTo>
                  <a:cubicBezTo>
                    <a:pt x="123" y="119"/>
                    <a:pt x="123" y="119"/>
                    <a:pt x="123" y="119"/>
                  </a:cubicBezTo>
                  <a:cubicBezTo>
                    <a:pt x="121" y="119"/>
                    <a:pt x="120" y="119"/>
                    <a:pt x="119" y="118"/>
                  </a:cubicBezTo>
                  <a:cubicBezTo>
                    <a:pt x="119" y="118"/>
                    <a:pt x="119" y="118"/>
                    <a:pt x="119" y="118"/>
                  </a:cubicBezTo>
                  <a:cubicBezTo>
                    <a:pt x="119" y="117"/>
                    <a:pt x="119" y="117"/>
                    <a:pt x="119" y="117"/>
                  </a:cubicBezTo>
                  <a:cubicBezTo>
                    <a:pt x="119" y="117"/>
                    <a:pt x="118" y="116"/>
                    <a:pt x="118" y="116"/>
                  </a:cubicBezTo>
                  <a:cubicBezTo>
                    <a:pt x="119" y="115"/>
                    <a:pt x="119" y="115"/>
                    <a:pt x="119" y="115"/>
                  </a:cubicBezTo>
                  <a:cubicBezTo>
                    <a:pt x="119" y="115"/>
                    <a:pt x="119" y="115"/>
                    <a:pt x="119" y="115"/>
                  </a:cubicBezTo>
                  <a:cubicBezTo>
                    <a:pt x="118" y="115"/>
                    <a:pt x="118" y="115"/>
                    <a:pt x="118" y="115"/>
                  </a:cubicBezTo>
                  <a:cubicBezTo>
                    <a:pt x="118" y="114"/>
                    <a:pt x="118" y="114"/>
                    <a:pt x="118" y="113"/>
                  </a:cubicBezTo>
                  <a:cubicBezTo>
                    <a:pt x="117" y="112"/>
                    <a:pt x="117" y="112"/>
                    <a:pt x="117" y="111"/>
                  </a:cubicBezTo>
                  <a:cubicBezTo>
                    <a:pt x="117" y="111"/>
                    <a:pt x="117" y="111"/>
                    <a:pt x="117" y="111"/>
                  </a:cubicBezTo>
                  <a:cubicBezTo>
                    <a:pt x="117" y="110"/>
                    <a:pt x="117" y="110"/>
                    <a:pt x="117" y="109"/>
                  </a:cubicBezTo>
                  <a:cubicBezTo>
                    <a:pt x="117" y="109"/>
                    <a:pt x="116" y="108"/>
                    <a:pt x="115" y="107"/>
                  </a:cubicBezTo>
                  <a:cubicBezTo>
                    <a:pt x="115" y="107"/>
                    <a:pt x="115" y="107"/>
                    <a:pt x="115" y="107"/>
                  </a:cubicBezTo>
                  <a:cubicBezTo>
                    <a:pt x="115" y="107"/>
                    <a:pt x="115" y="107"/>
                    <a:pt x="115" y="107"/>
                  </a:cubicBezTo>
                  <a:cubicBezTo>
                    <a:pt x="115" y="106"/>
                    <a:pt x="115" y="106"/>
                    <a:pt x="115" y="106"/>
                  </a:cubicBezTo>
                  <a:cubicBezTo>
                    <a:pt x="114" y="104"/>
                    <a:pt x="114" y="104"/>
                    <a:pt x="114" y="104"/>
                  </a:cubicBezTo>
                  <a:cubicBezTo>
                    <a:pt x="114" y="104"/>
                    <a:pt x="114" y="103"/>
                    <a:pt x="114" y="103"/>
                  </a:cubicBezTo>
                  <a:cubicBezTo>
                    <a:pt x="113" y="103"/>
                    <a:pt x="113" y="102"/>
                    <a:pt x="112" y="102"/>
                  </a:cubicBezTo>
                  <a:cubicBezTo>
                    <a:pt x="111" y="101"/>
                    <a:pt x="111" y="101"/>
                    <a:pt x="111" y="101"/>
                  </a:cubicBezTo>
                  <a:cubicBezTo>
                    <a:pt x="110" y="101"/>
                    <a:pt x="110" y="100"/>
                    <a:pt x="109" y="100"/>
                  </a:cubicBezTo>
                  <a:cubicBezTo>
                    <a:pt x="109" y="100"/>
                    <a:pt x="109" y="100"/>
                    <a:pt x="109" y="100"/>
                  </a:cubicBezTo>
                  <a:cubicBezTo>
                    <a:pt x="107" y="99"/>
                    <a:pt x="105" y="97"/>
                    <a:pt x="104" y="96"/>
                  </a:cubicBezTo>
                  <a:cubicBezTo>
                    <a:pt x="103" y="96"/>
                    <a:pt x="103" y="96"/>
                    <a:pt x="103" y="96"/>
                  </a:cubicBezTo>
                  <a:cubicBezTo>
                    <a:pt x="103" y="95"/>
                    <a:pt x="102" y="94"/>
                    <a:pt x="102" y="93"/>
                  </a:cubicBezTo>
                  <a:cubicBezTo>
                    <a:pt x="102" y="93"/>
                    <a:pt x="102" y="93"/>
                    <a:pt x="102" y="93"/>
                  </a:cubicBezTo>
                  <a:cubicBezTo>
                    <a:pt x="101" y="90"/>
                    <a:pt x="100" y="89"/>
                    <a:pt x="99" y="88"/>
                  </a:cubicBezTo>
                  <a:cubicBezTo>
                    <a:pt x="99" y="88"/>
                    <a:pt x="99" y="88"/>
                    <a:pt x="99" y="88"/>
                  </a:cubicBezTo>
                  <a:cubicBezTo>
                    <a:pt x="96" y="86"/>
                    <a:pt x="92" y="84"/>
                    <a:pt x="91" y="81"/>
                  </a:cubicBezTo>
                  <a:cubicBezTo>
                    <a:pt x="91" y="80"/>
                    <a:pt x="90" y="79"/>
                    <a:pt x="90" y="79"/>
                  </a:cubicBezTo>
                  <a:cubicBezTo>
                    <a:pt x="90" y="79"/>
                    <a:pt x="90" y="78"/>
                    <a:pt x="90" y="78"/>
                  </a:cubicBezTo>
                  <a:cubicBezTo>
                    <a:pt x="90" y="77"/>
                    <a:pt x="90" y="77"/>
                    <a:pt x="91" y="76"/>
                  </a:cubicBezTo>
                  <a:cubicBezTo>
                    <a:pt x="91" y="76"/>
                    <a:pt x="91" y="76"/>
                    <a:pt x="91" y="76"/>
                  </a:cubicBezTo>
                  <a:cubicBezTo>
                    <a:pt x="89" y="75"/>
                    <a:pt x="88" y="75"/>
                    <a:pt x="87" y="74"/>
                  </a:cubicBezTo>
                  <a:cubicBezTo>
                    <a:pt x="86" y="73"/>
                    <a:pt x="86" y="73"/>
                    <a:pt x="86" y="73"/>
                  </a:cubicBezTo>
                  <a:cubicBezTo>
                    <a:pt x="80" y="71"/>
                    <a:pt x="73" y="67"/>
                    <a:pt x="67" y="63"/>
                  </a:cubicBezTo>
                  <a:cubicBezTo>
                    <a:pt x="64" y="61"/>
                    <a:pt x="64" y="61"/>
                    <a:pt x="64" y="61"/>
                  </a:cubicBezTo>
                  <a:cubicBezTo>
                    <a:pt x="68" y="59"/>
                    <a:pt x="68" y="59"/>
                    <a:pt x="68" y="59"/>
                  </a:cubicBezTo>
                  <a:cubicBezTo>
                    <a:pt x="68" y="59"/>
                    <a:pt x="69" y="59"/>
                    <a:pt x="69" y="58"/>
                  </a:cubicBezTo>
                  <a:cubicBezTo>
                    <a:pt x="69" y="58"/>
                    <a:pt x="69" y="58"/>
                    <a:pt x="69" y="58"/>
                  </a:cubicBezTo>
                  <a:cubicBezTo>
                    <a:pt x="69" y="57"/>
                    <a:pt x="69" y="57"/>
                    <a:pt x="69" y="57"/>
                  </a:cubicBezTo>
                  <a:cubicBezTo>
                    <a:pt x="69" y="56"/>
                    <a:pt x="69" y="56"/>
                    <a:pt x="69" y="56"/>
                  </a:cubicBezTo>
                  <a:cubicBezTo>
                    <a:pt x="69" y="56"/>
                    <a:pt x="69" y="55"/>
                    <a:pt x="69" y="55"/>
                  </a:cubicBezTo>
                  <a:cubicBezTo>
                    <a:pt x="69" y="54"/>
                    <a:pt x="69" y="53"/>
                    <a:pt x="70" y="53"/>
                  </a:cubicBezTo>
                  <a:cubicBezTo>
                    <a:pt x="70" y="52"/>
                    <a:pt x="70" y="52"/>
                    <a:pt x="70" y="52"/>
                  </a:cubicBezTo>
                  <a:cubicBezTo>
                    <a:pt x="72" y="52"/>
                    <a:pt x="72" y="52"/>
                    <a:pt x="72" y="52"/>
                  </a:cubicBezTo>
                  <a:cubicBezTo>
                    <a:pt x="73" y="51"/>
                    <a:pt x="73" y="51"/>
                    <a:pt x="73" y="51"/>
                  </a:cubicBezTo>
                  <a:cubicBezTo>
                    <a:pt x="73" y="51"/>
                    <a:pt x="73" y="51"/>
                    <a:pt x="74" y="51"/>
                  </a:cubicBezTo>
                  <a:cubicBezTo>
                    <a:pt x="74" y="51"/>
                    <a:pt x="74" y="51"/>
                    <a:pt x="74" y="51"/>
                  </a:cubicBezTo>
                  <a:cubicBezTo>
                    <a:pt x="75" y="51"/>
                    <a:pt x="76" y="51"/>
                    <a:pt x="76" y="52"/>
                  </a:cubicBezTo>
                  <a:cubicBezTo>
                    <a:pt x="77" y="52"/>
                    <a:pt x="77" y="52"/>
                    <a:pt x="77" y="52"/>
                  </a:cubicBezTo>
                  <a:cubicBezTo>
                    <a:pt x="78" y="52"/>
                    <a:pt x="78" y="52"/>
                    <a:pt x="79" y="52"/>
                  </a:cubicBezTo>
                  <a:cubicBezTo>
                    <a:pt x="80" y="53"/>
                    <a:pt x="80" y="53"/>
                    <a:pt x="80" y="53"/>
                  </a:cubicBezTo>
                  <a:cubicBezTo>
                    <a:pt x="81" y="53"/>
                    <a:pt x="81" y="53"/>
                    <a:pt x="82" y="53"/>
                  </a:cubicBezTo>
                  <a:cubicBezTo>
                    <a:pt x="82" y="52"/>
                    <a:pt x="82" y="52"/>
                    <a:pt x="82" y="52"/>
                  </a:cubicBezTo>
                  <a:cubicBezTo>
                    <a:pt x="82" y="52"/>
                    <a:pt x="82" y="52"/>
                    <a:pt x="82" y="52"/>
                  </a:cubicBezTo>
                  <a:cubicBezTo>
                    <a:pt x="82" y="52"/>
                    <a:pt x="82" y="52"/>
                    <a:pt x="82" y="52"/>
                  </a:cubicBezTo>
                  <a:cubicBezTo>
                    <a:pt x="83" y="51"/>
                    <a:pt x="84" y="51"/>
                    <a:pt x="84" y="50"/>
                  </a:cubicBezTo>
                  <a:cubicBezTo>
                    <a:pt x="85" y="50"/>
                    <a:pt x="85" y="50"/>
                    <a:pt x="85" y="50"/>
                  </a:cubicBezTo>
                  <a:cubicBezTo>
                    <a:pt x="85" y="49"/>
                    <a:pt x="86" y="49"/>
                    <a:pt x="86" y="48"/>
                  </a:cubicBezTo>
                  <a:cubicBezTo>
                    <a:pt x="87" y="48"/>
                    <a:pt x="87" y="47"/>
                    <a:pt x="87" y="45"/>
                  </a:cubicBezTo>
                  <a:cubicBezTo>
                    <a:pt x="87" y="45"/>
                    <a:pt x="85" y="44"/>
                    <a:pt x="85" y="44"/>
                  </a:cubicBezTo>
                  <a:cubicBezTo>
                    <a:pt x="85" y="44"/>
                    <a:pt x="85" y="44"/>
                    <a:pt x="85" y="44"/>
                  </a:cubicBezTo>
                  <a:cubicBezTo>
                    <a:pt x="84" y="43"/>
                    <a:pt x="84" y="43"/>
                    <a:pt x="84" y="43"/>
                  </a:cubicBezTo>
                  <a:cubicBezTo>
                    <a:pt x="82" y="42"/>
                    <a:pt x="82" y="42"/>
                    <a:pt x="80" y="41"/>
                  </a:cubicBezTo>
                  <a:cubicBezTo>
                    <a:pt x="79" y="41"/>
                    <a:pt x="79" y="41"/>
                    <a:pt x="78" y="41"/>
                  </a:cubicBezTo>
                  <a:cubicBezTo>
                    <a:pt x="74" y="40"/>
                    <a:pt x="74" y="40"/>
                    <a:pt x="74" y="40"/>
                  </a:cubicBezTo>
                  <a:cubicBezTo>
                    <a:pt x="77" y="37"/>
                    <a:pt x="77" y="37"/>
                    <a:pt x="77" y="37"/>
                  </a:cubicBezTo>
                  <a:cubicBezTo>
                    <a:pt x="77" y="36"/>
                    <a:pt x="77" y="36"/>
                    <a:pt x="77" y="36"/>
                  </a:cubicBezTo>
                  <a:cubicBezTo>
                    <a:pt x="78" y="36"/>
                    <a:pt x="79" y="35"/>
                    <a:pt x="80" y="35"/>
                  </a:cubicBezTo>
                  <a:cubicBezTo>
                    <a:pt x="80" y="35"/>
                    <a:pt x="80" y="35"/>
                    <a:pt x="80" y="35"/>
                  </a:cubicBezTo>
                  <a:cubicBezTo>
                    <a:pt x="80" y="35"/>
                    <a:pt x="80" y="35"/>
                    <a:pt x="80" y="35"/>
                  </a:cubicBezTo>
                  <a:cubicBezTo>
                    <a:pt x="79" y="35"/>
                    <a:pt x="79" y="35"/>
                    <a:pt x="79" y="35"/>
                  </a:cubicBezTo>
                  <a:cubicBezTo>
                    <a:pt x="79" y="35"/>
                    <a:pt x="78" y="34"/>
                    <a:pt x="78" y="34"/>
                  </a:cubicBezTo>
                  <a:cubicBezTo>
                    <a:pt x="76" y="37"/>
                    <a:pt x="76" y="37"/>
                    <a:pt x="76" y="37"/>
                  </a:cubicBezTo>
                  <a:cubicBezTo>
                    <a:pt x="77" y="34"/>
                    <a:pt x="77" y="34"/>
                    <a:pt x="77" y="34"/>
                  </a:cubicBezTo>
                  <a:cubicBezTo>
                    <a:pt x="75" y="36"/>
                    <a:pt x="75" y="36"/>
                    <a:pt x="75" y="36"/>
                  </a:cubicBezTo>
                  <a:cubicBezTo>
                    <a:pt x="76" y="33"/>
                    <a:pt x="76" y="33"/>
                    <a:pt x="76" y="33"/>
                  </a:cubicBezTo>
                  <a:cubicBezTo>
                    <a:pt x="76" y="33"/>
                    <a:pt x="76" y="33"/>
                    <a:pt x="76" y="33"/>
                  </a:cubicBezTo>
                  <a:cubicBezTo>
                    <a:pt x="75" y="32"/>
                    <a:pt x="75" y="32"/>
                    <a:pt x="75" y="32"/>
                  </a:cubicBezTo>
                  <a:cubicBezTo>
                    <a:pt x="75" y="32"/>
                    <a:pt x="75" y="32"/>
                    <a:pt x="75" y="32"/>
                  </a:cubicBezTo>
                  <a:cubicBezTo>
                    <a:pt x="75" y="31"/>
                    <a:pt x="75" y="31"/>
                    <a:pt x="74" y="31"/>
                  </a:cubicBezTo>
                  <a:cubicBezTo>
                    <a:pt x="74" y="31"/>
                    <a:pt x="74" y="31"/>
                    <a:pt x="73" y="31"/>
                  </a:cubicBezTo>
                  <a:cubicBezTo>
                    <a:pt x="73" y="31"/>
                    <a:pt x="73" y="31"/>
                    <a:pt x="73" y="31"/>
                  </a:cubicBezTo>
                  <a:cubicBezTo>
                    <a:pt x="72" y="32"/>
                    <a:pt x="72" y="32"/>
                    <a:pt x="72" y="32"/>
                  </a:cubicBezTo>
                  <a:cubicBezTo>
                    <a:pt x="71" y="32"/>
                    <a:pt x="70" y="33"/>
                    <a:pt x="69" y="33"/>
                  </a:cubicBezTo>
                  <a:cubicBezTo>
                    <a:pt x="69" y="34"/>
                    <a:pt x="69" y="34"/>
                    <a:pt x="69" y="34"/>
                  </a:cubicBezTo>
                  <a:cubicBezTo>
                    <a:pt x="68" y="36"/>
                    <a:pt x="68" y="36"/>
                    <a:pt x="68" y="36"/>
                  </a:cubicBezTo>
                  <a:cubicBezTo>
                    <a:pt x="68" y="36"/>
                    <a:pt x="68" y="36"/>
                    <a:pt x="68" y="36"/>
                  </a:cubicBezTo>
                  <a:cubicBezTo>
                    <a:pt x="67" y="36"/>
                    <a:pt x="67" y="36"/>
                    <a:pt x="67" y="36"/>
                  </a:cubicBezTo>
                  <a:cubicBezTo>
                    <a:pt x="67" y="36"/>
                    <a:pt x="67" y="36"/>
                    <a:pt x="67" y="36"/>
                  </a:cubicBezTo>
                  <a:cubicBezTo>
                    <a:pt x="67" y="36"/>
                    <a:pt x="67" y="37"/>
                    <a:pt x="66" y="37"/>
                  </a:cubicBezTo>
                  <a:cubicBezTo>
                    <a:pt x="65" y="37"/>
                    <a:pt x="65" y="37"/>
                    <a:pt x="65" y="37"/>
                  </a:cubicBezTo>
                  <a:cubicBezTo>
                    <a:pt x="65" y="37"/>
                    <a:pt x="65" y="37"/>
                    <a:pt x="65" y="37"/>
                  </a:cubicBezTo>
                  <a:cubicBezTo>
                    <a:pt x="64" y="37"/>
                    <a:pt x="64" y="37"/>
                    <a:pt x="64" y="37"/>
                  </a:cubicBezTo>
                  <a:cubicBezTo>
                    <a:pt x="63" y="36"/>
                    <a:pt x="63" y="36"/>
                    <a:pt x="63" y="36"/>
                  </a:cubicBezTo>
                  <a:cubicBezTo>
                    <a:pt x="62" y="36"/>
                    <a:pt x="62" y="36"/>
                    <a:pt x="62" y="36"/>
                  </a:cubicBezTo>
                  <a:cubicBezTo>
                    <a:pt x="61" y="36"/>
                    <a:pt x="61" y="36"/>
                    <a:pt x="61" y="36"/>
                  </a:cubicBezTo>
                  <a:cubicBezTo>
                    <a:pt x="61" y="35"/>
                    <a:pt x="61" y="35"/>
                    <a:pt x="61" y="35"/>
                  </a:cubicBezTo>
                  <a:cubicBezTo>
                    <a:pt x="60" y="35"/>
                    <a:pt x="60" y="35"/>
                    <a:pt x="59" y="35"/>
                  </a:cubicBezTo>
                  <a:cubicBezTo>
                    <a:pt x="59" y="34"/>
                    <a:pt x="59" y="34"/>
                    <a:pt x="59" y="34"/>
                  </a:cubicBezTo>
                  <a:cubicBezTo>
                    <a:pt x="59" y="34"/>
                    <a:pt x="58" y="34"/>
                    <a:pt x="58" y="34"/>
                  </a:cubicBezTo>
                  <a:cubicBezTo>
                    <a:pt x="57" y="34"/>
                    <a:pt x="57" y="34"/>
                    <a:pt x="57" y="34"/>
                  </a:cubicBezTo>
                  <a:cubicBezTo>
                    <a:pt x="56" y="34"/>
                    <a:pt x="56" y="34"/>
                    <a:pt x="55" y="33"/>
                  </a:cubicBezTo>
                  <a:cubicBezTo>
                    <a:pt x="52" y="31"/>
                    <a:pt x="50" y="29"/>
                    <a:pt x="49" y="25"/>
                  </a:cubicBezTo>
                  <a:cubicBezTo>
                    <a:pt x="49" y="25"/>
                    <a:pt x="49" y="25"/>
                    <a:pt x="49" y="25"/>
                  </a:cubicBezTo>
                  <a:cubicBezTo>
                    <a:pt x="46" y="26"/>
                    <a:pt x="46" y="26"/>
                    <a:pt x="46" y="26"/>
                  </a:cubicBezTo>
                  <a:cubicBezTo>
                    <a:pt x="48" y="24"/>
                    <a:pt x="48" y="24"/>
                    <a:pt x="48" y="24"/>
                  </a:cubicBezTo>
                  <a:cubicBezTo>
                    <a:pt x="48" y="24"/>
                    <a:pt x="48" y="24"/>
                    <a:pt x="48" y="24"/>
                  </a:cubicBezTo>
                  <a:cubicBezTo>
                    <a:pt x="48" y="23"/>
                    <a:pt x="48" y="22"/>
                    <a:pt x="48" y="21"/>
                  </a:cubicBezTo>
                  <a:cubicBezTo>
                    <a:pt x="48" y="21"/>
                    <a:pt x="48" y="21"/>
                    <a:pt x="48" y="21"/>
                  </a:cubicBezTo>
                  <a:cubicBezTo>
                    <a:pt x="48" y="21"/>
                    <a:pt x="48" y="20"/>
                    <a:pt x="48" y="20"/>
                  </a:cubicBezTo>
                  <a:cubicBezTo>
                    <a:pt x="48" y="19"/>
                    <a:pt x="48" y="19"/>
                    <a:pt x="48" y="19"/>
                  </a:cubicBezTo>
                  <a:cubicBezTo>
                    <a:pt x="48" y="18"/>
                    <a:pt x="48" y="18"/>
                    <a:pt x="49" y="17"/>
                  </a:cubicBezTo>
                  <a:cubicBezTo>
                    <a:pt x="49" y="17"/>
                    <a:pt x="49" y="17"/>
                    <a:pt x="49" y="17"/>
                  </a:cubicBezTo>
                  <a:cubicBezTo>
                    <a:pt x="49" y="16"/>
                    <a:pt x="49" y="16"/>
                    <a:pt x="49" y="16"/>
                  </a:cubicBezTo>
                  <a:cubicBezTo>
                    <a:pt x="49" y="16"/>
                    <a:pt x="49" y="16"/>
                    <a:pt x="49" y="16"/>
                  </a:cubicBezTo>
                  <a:cubicBezTo>
                    <a:pt x="48" y="17"/>
                    <a:pt x="48" y="17"/>
                    <a:pt x="47" y="17"/>
                  </a:cubicBezTo>
                  <a:cubicBezTo>
                    <a:pt x="47" y="17"/>
                    <a:pt x="47" y="17"/>
                    <a:pt x="47" y="17"/>
                  </a:cubicBezTo>
                  <a:cubicBezTo>
                    <a:pt x="47" y="17"/>
                    <a:pt x="46" y="17"/>
                    <a:pt x="46" y="17"/>
                  </a:cubicBezTo>
                  <a:cubicBezTo>
                    <a:pt x="44" y="17"/>
                    <a:pt x="44" y="17"/>
                    <a:pt x="44" y="17"/>
                  </a:cubicBezTo>
                  <a:cubicBezTo>
                    <a:pt x="44" y="15"/>
                    <a:pt x="44" y="15"/>
                    <a:pt x="44" y="15"/>
                  </a:cubicBezTo>
                  <a:cubicBezTo>
                    <a:pt x="44" y="15"/>
                    <a:pt x="43" y="14"/>
                    <a:pt x="43" y="14"/>
                  </a:cubicBezTo>
                  <a:cubicBezTo>
                    <a:pt x="43" y="13"/>
                    <a:pt x="43" y="13"/>
                    <a:pt x="43" y="13"/>
                  </a:cubicBezTo>
                  <a:cubicBezTo>
                    <a:pt x="43" y="12"/>
                    <a:pt x="42" y="10"/>
                    <a:pt x="41" y="9"/>
                  </a:cubicBezTo>
                  <a:cubicBezTo>
                    <a:pt x="40" y="8"/>
                    <a:pt x="40" y="8"/>
                    <a:pt x="40" y="8"/>
                  </a:cubicBezTo>
                  <a:cubicBezTo>
                    <a:pt x="40" y="8"/>
                    <a:pt x="40" y="8"/>
                    <a:pt x="40" y="8"/>
                  </a:cubicBezTo>
                  <a:cubicBezTo>
                    <a:pt x="39" y="7"/>
                    <a:pt x="38" y="5"/>
                    <a:pt x="36" y="4"/>
                  </a:cubicBezTo>
                  <a:cubicBezTo>
                    <a:pt x="34" y="2"/>
                    <a:pt x="34" y="2"/>
                    <a:pt x="34" y="2"/>
                  </a:cubicBezTo>
                  <a:cubicBezTo>
                    <a:pt x="34" y="2"/>
                    <a:pt x="34" y="2"/>
                    <a:pt x="34" y="2"/>
                  </a:cubicBezTo>
                  <a:cubicBezTo>
                    <a:pt x="33" y="2"/>
                    <a:pt x="33" y="1"/>
                    <a:pt x="32" y="1"/>
                  </a:cubicBezTo>
                  <a:cubicBezTo>
                    <a:pt x="31" y="1"/>
                    <a:pt x="30"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Freeform 440">
              <a:extLst>
                <a:ext uri="{FF2B5EF4-FFF2-40B4-BE49-F238E27FC236}">
                  <a16:creationId xmlns:a16="http://schemas.microsoft.com/office/drawing/2014/main" id="{7894460F-7E83-4B23-9FD0-E66CDF430D2E}"/>
                </a:ext>
              </a:extLst>
            </p:cNvPr>
            <p:cNvSpPr>
              <a:spLocks/>
            </p:cNvSpPr>
            <p:nvPr/>
          </p:nvSpPr>
          <p:spPr bwMode="auto">
            <a:xfrm>
              <a:off x="4752185" y="5310579"/>
              <a:ext cx="441520" cy="825271"/>
            </a:xfrm>
            <a:custGeom>
              <a:avLst/>
              <a:gdLst>
                <a:gd name="T0" fmla="*/ 49 w 136"/>
                <a:gd name="T1" fmla="*/ 9 h 254"/>
                <a:gd name="T2" fmla="*/ 37 w 136"/>
                <a:gd name="T3" fmla="*/ 12 h 254"/>
                <a:gd name="T4" fmla="*/ 27 w 136"/>
                <a:gd name="T5" fmla="*/ 13 h 254"/>
                <a:gd name="T6" fmla="*/ 20 w 136"/>
                <a:gd name="T7" fmla="*/ 13 h 254"/>
                <a:gd name="T8" fmla="*/ 14 w 136"/>
                <a:gd name="T9" fmla="*/ 18 h 254"/>
                <a:gd name="T10" fmla="*/ 4 w 136"/>
                <a:gd name="T11" fmla="*/ 12 h 254"/>
                <a:gd name="T12" fmla="*/ 9 w 136"/>
                <a:gd name="T13" fmla="*/ 29 h 254"/>
                <a:gd name="T14" fmla="*/ 13 w 136"/>
                <a:gd name="T15" fmla="*/ 28 h 254"/>
                <a:gd name="T16" fmla="*/ 14 w 136"/>
                <a:gd name="T17" fmla="*/ 38 h 254"/>
                <a:gd name="T18" fmla="*/ 19 w 136"/>
                <a:gd name="T19" fmla="*/ 46 h 254"/>
                <a:gd name="T20" fmla="*/ 25 w 136"/>
                <a:gd name="T21" fmla="*/ 49 h 254"/>
                <a:gd name="T22" fmla="*/ 30 w 136"/>
                <a:gd name="T23" fmla="*/ 45 h 254"/>
                <a:gd name="T24" fmla="*/ 37 w 136"/>
                <a:gd name="T25" fmla="*/ 44 h 254"/>
                <a:gd name="T26" fmla="*/ 42 w 136"/>
                <a:gd name="T27" fmla="*/ 47 h 254"/>
                <a:gd name="T28" fmla="*/ 46 w 136"/>
                <a:gd name="T29" fmla="*/ 52 h 254"/>
                <a:gd name="T30" fmla="*/ 49 w 136"/>
                <a:gd name="T31" fmla="*/ 57 h 254"/>
                <a:gd name="T32" fmla="*/ 47 w 136"/>
                <a:gd name="T33" fmla="*/ 72 h 254"/>
                <a:gd name="T34" fmla="*/ 41 w 136"/>
                <a:gd name="T35" fmla="*/ 74 h 254"/>
                <a:gd name="T36" fmla="*/ 34 w 136"/>
                <a:gd name="T37" fmla="*/ 77 h 254"/>
                <a:gd name="T38" fmla="*/ 59 w 136"/>
                <a:gd name="T39" fmla="*/ 91 h 254"/>
                <a:gd name="T40" fmla="*/ 63 w 136"/>
                <a:gd name="T41" fmla="*/ 101 h 254"/>
                <a:gd name="T42" fmla="*/ 75 w 136"/>
                <a:gd name="T43" fmla="*/ 115 h 254"/>
                <a:gd name="T44" fmla="*/ 83 w 136"/>
                <a:gd name="T45" fmla="*/ 125 h 254"/>
                <a:gd name="T46" fmla="*/ 84 w 136"/>
                <a:gd name="T47" fmla="*/ 131 h 254"/>
                <a:gd name="T48" fmla="*/ 89 w 136"/>
                <a:gd name="T49" fmla="*/ 131 h 254"/>
                <a:gd name="T50" fmla="*/ 92 w 136"/>
                <a:gd name="T51" fmla="*/ 136 h 254"/>
                <a:gd name="T52" fmla="*/ 99 w 136"/>
                <a:gd name="T53" fmla="*/ 141 h 254"/>
                <a:gd name="T54" fmla="*/ 100 w 136"/>
                <a:gd name="T55" fmla="*/ 151 h 254"/>
                <a:gd name="T56" fmla="*/ 101 w 136"/>
                <a:gd name="T57" fmla="*/ 163 h 254"/>
                <a:gd name="T58" fmla="*/ 102 w 136"/>
                <a:gd name="T59" fmla="*/ 170 h 254"/>
                <a:gd name="T60" fmla="*/ 101 w 136"/>
                <a:gd name="T61" fmla="*/ 185 h 254"/>
                <a:gd name="T62" fmla="*/ 102 w 136"/>
                <a:gd name="T63" fmla="*/ 202 h 254"/>
                <a:gd name="T64" fmla="*/ 103 w 136"/>
                <a:gd name="T65" fmla="*/ 212 h 254"/>
                <a:gd name="T66" fmla="*/ 94 w 136"/>
                <a:gd name="T67" fmla="*/ 218 h 254"/>
                <a:gd name="T68" fmla="*/ 81 w 136"/>
                <a:gd name="T69" fmla="*/ 225 h 254"/>
                <a:gd name="T70" fmla="*/ 69 w 136"/>
                <a:gd name="T71" fmla="*/ 230 h 254"/>
                <a:gd name="T72" fmla="*/ 76 w 136"/>
                <a:gd name="T73" fmla="*/ 244 h 254"/>
                <a:gd name="T74" fmla="*/ 65 w 136"/>
                <a:gd name="T75" fmla="*/ 243 h 254"/>
                <a:gd name="T76" fmla="*/ 72 w 136"/>
                <a:gd name="T77" fmla="*/ 254 h 254"/>
                <a:gd name="T78" fmla="*/ 83 w 136"/>
                <a:gd name="T79" fmla="*/ 250 h 254"/>
                <a:gd name="T80" fmla="*/ 88 w 136"/>
                <a:gd name="T81" fmla="*/ 245 h 254"/>
                <a:gd name="T82" fmla="*/ 91 w 136"/>
                <a:gd name="T83" fmla="*/ 253 h 254"/>
                <a:gd name="T84" fmla="*/ 133 w 136"/>
                <a:gd name="T85" fmla="*/ 223 h 254"/>
                <a:gd name="T86" fmla="*/ 134 w 136"/>
                <a:gd name="T87" fmla="*/ 213 h 254"/>
                <a:gd name="T88" fmla="*/ 135 w 136"/>
                <a:gd name="T89" fmla="*/ 206 h 254"/>
                <a:gd name="T90" fmla="*/ 132 w 136"/>
                <a:gd name="T91" fmla="*/ 182 h 254"/>
                <a:gd name="T92" fmla="*/ 115 w 136"/>
                <a:gd name="T93" fmla="*/ 143 h 254"/>
                <a:gd name="T94" fmla="*/ 112 w 136"/>
                <a:gd name="T95" fmla="*/ 139 h 254"/>
                <a:gd name="T96" fmla="*/ 76 w 136"/>
                <a:gd name="T97" fmla="*/ 109 h 254"/>
                <a:gd name="T98" fmla="*/ 63 w 136"/>
                <a:gd name="T99" fmla="*/ 84 h 254"/>
                <a:gd name="T100" fmla="*/ 81 w 136"/>
                <a:gd name="T101" fmla="*/ 59 h 254"/>
                <a:gd name="T102" fmla="*/ 88 w 136"/>
                <a:gd name="T103" fmla="*/ 47 h 254"/>
                <a:gd name="T104" fmla="*/ 93 w 136"/>
                <a:gd name="T105" fmla="*/ 46 h 254"/>
                <a:gd name="T106" fmla="*/ 101 w 136"/>
                <a:gd name="T107" fmla="*/ 41 h 254"/>
                <a:gd name="T108" fmla="*/ 99 w 136"/>
                <a:gd name="T109" fmla="*/ 34 h 254"/>
                <a:gd name="T110" fmla="*/ 89 w 136"/>
                <a:gd name="T111" fmla="*/ 28 h 254"/>
                <a:gd name="T112" fmla="*/ 81 w 136"/>
                <a:gd name="T113" fmla="*/ 25 h 254"/>
                <a:gd name="T114" fmla="*/ 80 w 136"/>
                <a:gd name="T115" fmla="*/ 19 h 254"/>
                <a:gd name="T116" fmla="*/ 82 w 136"/>
                <a:gd name="T117" fmla="*/ 10 h 254"/>
                <a:gd name="T118" fmla="*/ 64 w 136"/>
                <a:gd name="T119" fmla="*/ 7 h 254"/>
                <a:gd name="T120" fmla="*/ 57 w 136"/>
                <a:gd name="T121"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254">
                  <a:moveTo>
                    <a:pt x="56" y="0"/>
                  </a:moveTo>
                  <a:cubicBezTo>
                    <a:pt x="56" y="1"/>
                    <a:pt x="54" y="1"/>
                    <a:pt x="54" y="2"/>
                  </a:cubicBezTo>
                  <a:cubicBezTo>
                    <a:pt x="53" y="3"/>
                    <a:pt x="53" y="3"/>
                    <a:pt x="53" y="3"/>
                  </a:cubicBezTo>
                  <a:cubicBezTo>
                    <a:pt x="53" y="3"/>
                    <a:pt x="53" y="3"/>
                    <a:pt x="52" y="4"/>
                  </a:cubicBezTo>
                  <a:cubicBezTo>
                    <a:pt x="52" y="5"/>
                    <a:pt x="51" y="6"/>
                    <a:pt x="50" y="8"/>
                  </a:cubicBezTo>
                  <a:cubicBezTo>
                    <a:pt x="49" y="8"/>
                    <a:pt x="49" y="9"/>
                    <a:pt x="49" y="9"/>
                  </a:cubicBezTo>
                  <a:cubicBezTo>
                    <a:pt x="48" y="10"/>
                    <a:pt x="48" y="10"/>
                    <a:pt x="48" y="10"/>
                  </a:cubicBezTo>
                  <a:cubicBezTo>
                    <a:pt x="47" y="10"/>
                    <a:pt x="46" y="11"/>
                    <a:pt x="45" y="11"/>
                  </a:cubicBezTo>
                  <a:cubicBezTo>
                    <a:pt x="44" y="11"/>
                    <a:pt x="44" y="11"/>
                    <a:pt x="44" y="11"/>
                  </a:cubicBezTo>
                  <a:cubicBezTo>
                    <a:pt x="41" y="13"/>
                    <a:pt x="41" y="13"/>
                    <a:pt x="41" y="13"/>
                  </a:cubicBezTo>
                  <a:cubicBezTo>
                    <a:pt x="41" y="13"/>
                    <a:pt x="40" y="13"/>
                    <a:pt x="40" y="13"/>
                  </a:cubicBezTo>
                  <a:cubicBezTo>
                    <a:pt x="39" y="13"/>
                    <a:pt x="38" y="12"/>
                    <a:pt x="37" y="12"/>
                  </a:cubicBezTo>
                  <a:cubicBezTo>
                    <a:pt x="34" y="15"/>
                    <a:pt x="34" y="15"/>
                    <a:pt x="34" y="15"/>
                  </a:cubicBezTo>
                  <a:cubicBezTo>
                    <a:pt x="33" y="16"/>
                    <a:pt x="32" y="17"/>
                    <a:pt x="31" y="17"/>
                  </a:cubicBezTo>
                  <a:cubicBezTo>
                    <a:pt x="29" y="17"/>
                    <a:pt x="28" y="16"/>
                    <a:pt x="28" y="15"/>
                  </a:cubicBezTo>
                  <a:cubicBezTo>
                    <a:pt x="27" y="14"/>
                    <a:pt x="27" y="14"/>
                    <a:pt x="27" y="14"/>
                  </a:cubicBezTo>
                  <a:cubicBezTo>
                    <a:pt x="27" y="14"/>
                    <a:pt x="27" y="14"/>
                    <a:pt x="27" y="14"/>
                  </a:cubicBezTo>
                  <a:cubicBezTo>
                    <a:pt x="27" y="13"/>
                    <a:pt x="27" y="13"/>
                    <a:pt x="27" y="13"/>
                  </a:cubicBezTo>
                  <a:cubicBezTo>
                    <a:pt x="26" y="13"/>
                    <a:pt x="26" y="13"/>
                    <a:pt x="26" y="13"/>
                  </a:cubicBezTo>
                  <a:cubicBezTo>
                    <a:pt x="26" y="14"/>
                    <a:pt x="25" y="14"/>
                    <a:pt x="25" y="15"/>
                  </a:cubicBezTo>
                  <a:cubicBezTo>
                    <a:pt x="23" y="17"/>
                    <a:pt x="23" y="17"/>
                    <a:pt x="23" y="17"/>
                  </a:cubicBezTo>
                  <a:cubicBezTo>
                    <a:pt x="21" y="15"/>
                    <a:pt x="21" y="15"/>
                    <a:pt x="21" y="15"/>
                  </a:cubicBezTo>
                  <a:cubicBezTo>
                    <a:pt x="21" y="14"/>
                    <a:pt x="21" y="14"/>
                    <a:pt x="20" y="13"/>
                  </a:cubicBezTo>
                  <a:cubicBezTo>
                    <a:pt x="20" y="13"/>
                    <a:pt x="20" y="13"/>
                    <a:pt x="20" y="13"/>
                  </a:cubicBezTo>
                  <a:cubicBezTo>
                    <a:pt x="20" y="12"/>
                    <a:pt x="20" y="12"/>
                    <a:pt x="20" y="12"/>
                  </a:cubicBezTo>
                  <a:cubicBezTo>
                    <a:pt x="18" y="15"/>
                    <a:pt x="18" y="15"/>
                    <a:pt x="18" y="15"/>
                  </a:cubicBezTo>
                  <a:cubicBezTo>
                    <a:pt x="18" y="15"/>
                    <a:pt x="17" y="16"/>
                    <a:pt x="17" y="16"/>
                  </a:cubicBezTo>
                  <a:cubicBezTo>
                    <a:pt x="16" y="18"/>
                    <a:pt x="16" y="18"/>
                    <a:pt x="16" y="18"/>
                  </a:cubicBezTo>
                  <a:cubicBezTo>
                    <a:pt x="14" y="18"/>
                    <a:pt x="14" y="18"/>
                    <a:pt x="14" y="18"/>
                  </a:cubicBezTo>
                  <a:cubicBezTo>
                    <a:pt x="14" y="18"/>
                    <a:pt x="14" y="18"/>
                    <a:pt x="14" y="18"/>
                  </a:cubicBezTo>
                  <a:cubicBezTo>
                    <a:pt x="13" y="18"/>
                    <a:pt x="11" y="17"/>
                    <a:pt x="10" y="16"/>
                  </a:cubicBezTo>
                  <a:cubicBezTo>
                    <a:pt x="10" y="16"/>
                    <a:pt x="10" y="16"/>
                    <a:pt x="10" y="16"/>
                  </a:cubicBezTo>
                  <a:cubicBezTo>
                    <a:pt x="9" y="15"/>
                    <a:pt x="9" y="15"/>
                    <a:pt x="9" y="15"/>
                  </a:cubicBezTo>
                  <a:cubicBezTo>
                    <a:pt x="9" y="14"/>
                    <a:pt x="8" y="14"/>
                    <a:pt x="7" y="14"/>
                  </a:cubicBezTo>
                  <a:cubicBezTo>
                    <a:pt x="6" y="13"/>
                    <a:pt x="6" y="13"/>
                    <a:pt x="6" y="13"/>
                  </a:cubicBezTo>
                  <a:cubicBezTo>
                    <a:pt x="5" y="13"/>
                    <a:pt x="5" y="12"/>
                    <a:pt x="4" y="12"/>
                  </a:cubicBezTo>
                  <a:cubicBezTo>
                    <a:pt x="4" y="13"/>
                    <a:pt x="4" y="13"/>
                    <a:pt x="4" y="13"/>
                  </a:cubicBezTo>
                  <a:cubicBezTo>
                    <a:pt x="3" y="14"/>
                    <a:pt x="1" y="16"/>
                    <a:pt x="0" y="17"/>
                  </a:cubicBezTo>
                  <a:cubicBezTo>
                    <a:pt x="1" y="18"/>
                    <a:pt x="1" y="18"/>
                    <a:pt x="1" y="18"/>
                  </a:cubicBezTo>
                  <a:cubicBezTo>
                    <a:pt x="2" y="19"/>
                    <a:pt x="3" y="20"/>
                    <a:pt x="4" y="22"/>
                  </a:cubicBezTo>
                  <a:cubicBezTo>
                    <a:pt x="5" y="22"/>
                    <a:pt x="5" y="22"/>
                    <a:pt x="5" y="23"/>
                  </a:cubicBezTo>
                  <a:cubicBezTo>
                    <a:pt x="7" y="25"/>
                    <a:pt x="8" y="27"/>
                    <a:pt x="9" y="29"/>
                  </a:cubicBezTo>
                  <a:cubicBezTo>
                    <a:pt x="9" y="28"/>
                    <a:pt x="9" y="28"/>
                    <a:pt x="9" y="28"/>
                  </a:cubicBezTo>
                  <a:cubicBezTo>
                    <a:pt x="10" y="28"/>
                    <a:pt x="10" y="28"/>
                    <a:pt x="10" y="28"/>
                  </a:cubicBezTo>
                  <a:cubicBezTo>
                    <a:pt x="10" y="28"/>
                    <a:pt x="10" y="28"/>
                    <a:pt x="10" y="28"/>
                  </a:cubicBezTo>
                  <a:cubicBezTo>
                    <a:pt x="10" y="28"/>
                    <a:pt x="11" y="28"/>
                    <a:pt x="11" y="28"/>
                  </a:cubicBezTo>
                  <a:cubicBezTo>
                    <a:pt x="12" y="28"/>
                    <a:pt x="12" y="28"/>
                    <a:pt x="13" y="28"/>
                  </a:cubicBezTo>
                  <a:cubicBezTo>
                    <a:pt x="13" y="28"/>
                    <a:pt x="13" y="28"/>
                    <a:pt x="13" y="28"/>
                  </a:cubicBezTo>
                  <a:cubicBezTo>
                    <a:pt x="14" y="29"/>
                    <a:pt x="15" y="29"/>
                    <a:pt x="15" y="30"/>
                  </a:cubicBezTo>
                  <a:cubicBezTo>
                    <a:pt x="16" y="32"/>
                    <a:pt x="15" y="33"/>
                    <a:pt x="15" y="34"/>
                  </a:cubicBezTo>
                  <a:cubicBezTo>
                    <a:pt x="14" y="36"/>
                    <a:pt x="14" y="36"/>
                    <a:pt x="14" y="36"/>
                  </a:cubicBezTo>
                  <a:cubicBezTo>
                    <a:pt x="14" y="36"/>
                    <a:pt x="14" y="37"/>
                    <a:pt x="14" y="37"/>
                  </a:cubicBezTo>
                  <a:cubicBezTo>
                    <a:pt x="14" y="38"/>
                    <a:pt x="14" y="38"/>
                    <a:pt x="14" y="38"/>
                  </a:cubicBezTo>
                  <a:cubicBezTo>
                    <a:pt x="14" y="38"/>
                    <a:pt x="14" y="38"/>
                    <a:pt x="14" y="38"/>
                  </a:cubicBezTo>
                  <a:cubicBezTo>
                    <a:pt x="14" y="38"/>
                    <a:pt x="14" y="38"/>
                    <a:pt x="14" y="38"/>
                  </a:cubicBezTo>
                  <a:cubicBezTo>
                    <a:pt x="14" y="39"/>
                    <a:pt x="14" y="39"/>
                    <a:pt x="14" y="39"/>
                  </a:cubicBezTo>
                  <a:cubicBezTo>
                    <a:pt x="14" y="40"/>
                    <a:pt x="14" y="40"/>
                    <a:pt x="14" y="40"/>
                  </a:cubicBezTo>
                  <a:cubicBezTo>
                    <a:pt x="14" y="41"/>
                    <a:pt x="14" y="41"/>
                    <a:pt x="14" y="41"/>
                  </a:cubicBezTo>
                  <a:cubicBezTo>
                    <a:pt x="15" y="43"/>
                    <a:pt x="17" y="45"/>
                    <a:pt x="18" y="46"/>
                  </a:cubicBezTo>
                  <a:cubicBezTo>
                    <a:pt x="19" y="46"/>
                    <a:pt x="19" y="46"/>
                    <a:pt x="19" y="46"/>
                  </a:cubicBezTo>
                  <a:cubicBezTo>
                    <a:pt x="19" y="46"/>
                    <a:pt x="19" y="46"/>
                    <a:pt x="19" y="46"/>
                  </a:cubicBezTo>
                  <a:cubicBezTo>
                    <a:pt x="20" y="46"/>
                    <a:pt x="20" y="46"/>
                    <a:pt x="21" y="47"/>
                  </a:cubicBezTo>
                  <a:cubicBezTo>
                    <a:pt x="21" y="47"/>
                    <a:pt x="22" y="47"/>
                    <a:pt x="23" y="47"/>
                  </a:cubicBezTo>
                  <a:cubicBezTo>
                    <a:pt x="23" y="48"/>
                    <a:pt x="23" y="48"/>
                    <a:pt x="23" y="48"/>
                  </a:cubicBezTo>
                  <a:cubicBezTo>
                    <a:pt x="24" y="48"/>
                    <a:pt x="24" y="48"/>
                    <a:pt x="24" y="48"/>
                  </a:cubicBezTo>
                  <a:cubicBezTo>
                    <a:pt x="24" y="48"/>
                    <a:pt x="24" y="48"/>
                    <a:pt x="25" y="49"/>
                  </a:cubicBezTo>
                  <a:cubicBezTo>
                    <a:pt x="25" y="48"/>
                    <a:pt x="25" y="48"/>
                    <a:pt x="25" y="48"/>
                  </a:cubicBezTo>
                  <a:cubicBezTo>
                    <a:pt x="26" y="49"/>
                    <a:pt x="26" y="49"/>
                    <a:pt x="26" y="49"/>
                  </a:cubicBezTo>
                  <a:cubicBezTo>
                    <a:pt x="26" y="49"/>
                    <a:pt x="26" y="49"/>
                    <a:pt x="26" y="49"/>
                  </a:cubicBezTo>
                  <a:cubicBezTo>
                    <a:pt x="26" y="49"/>
                    <a:pt x="26" y="49"/>
                    <a:pt x="26" y="49"/>
                  </a:cubicBezTo>
                  <a:cubicBezTo>
                    <a:pt x="26" y="48"/>
                    <a:pt x="26" y="48"/>
                    <a:pt x="26" y="48"/>
                  </a:cubicBezTo>
                  <a:cubicBezTo>
                    <a:pt x="27" y="46"/>
                    <a:pt x="29" y="45"/>
                    <a:pt x="30" y="45"/>
                  </a:cubicBezTo>
                  <a:cubicBezTo>
                    <a:pt x="31" y="44"/>
                    <a:pt x="31" y="44"/>
                    <a:pt x="31" y="44"/>
                  </a:cubicBezTo>
                  <a:cubicBezTo>
                    <a:pt x="32" y="44"/>
                    <a:pt x="32" y="44"/>
                    <a:pt x="32" y="44"/>
                  </a:cubicBezTo>
                  <a:cubicBezTo>
                    <a:pt x="32" y="44"/>
                    <a:pt x="32" y="44"/>
                    <a:pt x="32" y="44"/>
                  </a:cubicBezTo>
                  <a:cubicBezTo>
                    <a:pt x="33" y="43"/>
                    <a:pt x="34" y="43"/>
                    <a:pt x="34" y="43"/>
                  </a:cubicBezTo>
                  <a:cubicBezTo>
                    <a:pt x="35" y="43"/>
                    <a:pt x="36" y="43"/>
                    <a:pt x="36" y="44"/>
                  </a:cubicBezTo>
                  <a:cubicBezTo>
                    <a:pt x="37" y="44"/>
                    <a:pt x="37" y="44"/>
                    <a:pt x="37" y="44"/>
                  </a:cubicBezTo>
                  <a:cubicBezTo>
                    <a:pt x="38" y="44"/>
                    <a:pt x="39" y="45"/>
                    <a:pt x="40" y="46"/>
                  </a:cubicBezTo>
                  <a:cubicBezTo>
                    <a:pt x="40" y="46"/>
                    <a:pt x="40" y="46"/>
                    <a:pt x="40" y="46"/>
                  </a:cubicBezTo>
                  <a:cubicBezTo>
                    <a:pt x="40" y="46"/>
                    <a:pt x="40" y="46"/>
                    <a:pt x="40" y="46"/>
                  </a:cubicBezTo>
                  <a:cubicBezTo>
                    <a:pt x="41" y="47"/>
                    <a:pt x="41" y="47"/>
                    <a:pt x="41" y="47"/>
                  </a:cubicBezTo>
                  <a:cubicBezTo>
                    <a:pt x="41" y="47"/>
                    <a:pt x="41" y="47"/>
                    <a:pt x="41" y="47"/>
                  </a:cubicBezTo>
                  <a:cubicBezTo>
                    <a:pt x="42" y="47"/>
                    <a:pt x="42" y="47"/>
                    <a:pt x="42" y="47"/>
                  </a:cubicBezTo>
                  <a:cubicBezTo>
                    <a:pt x="42" y="47"/>
                    <a:pt x="43" y="48"/>
                    <a:pt x="44" y="48"/>
                  </a:cubicBezTo>
                  <a:cubicBezTo>
                    <a:pt x="44" y="49"/>
                    <a:pt x="44" y="49"/>
                    <a:pt x="44" y="49"/>
                  </a:cubicBezTo>
                  <a:cubicBezTo>
                    <a:pt x="45" y="49"/>
                    <a:pt x="45" y="49"/>
                    <a:pt x="45" y="49"/>
                  </a:cubicBezTo>
                  <a:cubicBezTo>
                    <a:pt x="45" y="49"/>
                    <a:pt x="45" y="49"/>
                    <a:pt x="45" y="49"/>
                  </a:cubicBezTo>
                  <a:cubicBezTo>
                    <a:pt x="46" y="50"/>
                    <a:pt x="46" y="50"/>
                    <a:pt x="46" y="51"/>
                  </a:cubicBezTo>
                  <a:cubicBezTo>
                    <a:pt x="46" y="51"/>
                    <a:pt x="46" y="52"/>
                    <a:pt x="46" y="52"/>
                  </a:cubicBezTo>
                  <a:cubicBezTo>
                    <a:pt x="46" y="53"/>
                    <a:pt x="46" y="53"/>
                    <a:pt x="46" y="54"/>
                  </a:cubicBezTo>
                  <a:cubicBezTo>
                    <a:pt x="45" y="54"/>
                    <a:pt x="45" y="54"/>
                    <a:pt x="45" y="54"/>
                  </a:cubicBezTo>
                  <a:cubicBezTo>
                    <a:pt x="45" y="55"/>
                    <a:pt x="45" y="55"/>
                    <a:pt x="45" y="55"/>
                  </a:cubicBezTo>
                  <a:cubicBezTo>
                    <a:pt x="46" y="55"/>
                    <a:pt x="47" y="56"/>
                    <a:pt x="48" y="56"/>
                  </a:cubicBezTo>
                  <a:cubicBezTo>
                    <a:pt x="48" y="57"/>
                    <a:pt x="48" y="57"/>
                    <a:pt x="48" y="57"/>
                  </a:cubicBezTo>
                  <a:cubicBezTo>
                    <a:pt x="49" y="57"/>
                    <a:pt x="49" y="57"/>
                    <a:pt x="49" y="57"/>
                  </a:cubicBezTo>
                  <a:cubicBezTo>
                    <a:pt x="50" y="58"/>
                    <a:pt x="52" y="59"/>
                    <a:pt x="52" y="61"/>
                  </a:cubicBezTo>
                  <a:cubicBezTo>
                    <a:pt x="52" y="62"/>
                    <a:pt x="52" y="62"/>
                    <a:pt x="52" y="62"/>
                  </a:cubicBezTo>
                  <a:cubicBezTo>
                    <a:pt x="53" y="65"/>
                    <a:pt x="52" y="67"/>
                    <a:pt x="51" y="68"/>
                  </a:cubicBezTo>
                  <a:cubicBezTo>
                    <a:pt x="50" y="69"/>
                    <a:pt x="49" y="70"/>
                    <a:pt x="48" y="71"/>
                  </a:cubicBezTo>
                  <a:cubicBezTo>
                    <a:pt x="48" y="71"/>
                    <a:pt x="47" y="71"/>
                    <a:pt x="47" y="72"/>
                  </a:cubicBezTo>
                  <a:cubicBezTo>
                    <a:pt x="47" y="72"/>
                    <a:pt x="47" y="72"/>
                    <a:pt x="47" y="72"/>
                  </a:cubicBezTo>
                  <a:cubicBezTo>
                    <a:pt x="47" y="72"/>
                    <a:pt x="47" y="73"/>
                    <a:pt x="46" y="74"/>
                  </a:cubicBezTo>
                  <a:cubicBezTo>
                    <a:pt x="45" y="74"/>
                    <a:pt x="45" y="74"/>
                    <a:pt x="44" y="74"/>
                  </a:cubicBezTo>
                  <a:cubicBezTo>
                    <a:pt x="44" y="74"/>
                    <a:pt x="44" y="74"/>
                    <a:pt x="44" y="74"/>
                  </a:cubicBezTo>
                  <a:cubicBezTo>
                    <a:pt x="44" y="74"/>
                    <a:pt x="43" y="74"/>
                    <a:pt x="43" y="74"/>
                  </a:cubicBezTo>
                  <a:cubicBezTo>
                    <a:pt x="42" y="74"/>
                    <a:pt x="42" y="74"/>
                    <a:pt x="42" y="74"/>
                  </a:cubicBezTo>
                  <a:cubicBezTo>
                    <a:pt x="41" y="74"/>
                    <a:pt x="41" y="74"/>
                    <a:pt x="41" y="74"/>
                  </a:cubicBezTo>
                  <a:cubicBezTo>
                    <a:pt x="41" y="74"/>
                    <a:pt x="41" y="74"/>
                    <a:pt x="40" y="74"/>
                  </a:cubicBezTo>
                  <a:cubicBezTo>
                    <a:pt x="40" y="74"/>
                    <a:pt x="40" y="74"/>
                    <a:pt x="40" y="74"/>
                  </a:cubicBezTo>
                  <a:cubicBezTo>
                    <a:pt x="39" y="74"/>
                    <a:pt x="39" y="74"/>
                    <a:pt x="39" y="74"/>
                  </a:cubicBezTo>
                  <a:cubicBezTo>
                    <a:pt x="38" y="73"/>
                    <a:pt x="36" y="73"/>
                    <a:pt x="35" y="73"/>
                  </a:cubicBezTo>
                  <a:cubicBezTo>
                    <a:pt x="35" y="73"/>
                    <a:pt x="35" y="73"/>
                    <a:pt x="35" y="73"/>
                  </a:cubicBezTo>
                  <a:cubicBezTo>
                    <a:pt x="35" y="74"/>
                    <a:pt x="35" y="75"/>
                    <a:pt x="34" y="77"/>
                  </a:cubicBezTo>
                  <a:cubicBezTo>
                    <a:pt x="34" y="77"/>
                    <a:pt x="34" y="78"/>
                    <a:pt x="34" y="78"/>
                  </a:cubicBezTo>
                  <a:cubicBezTo>
                    <a:pt x="34" y="78"/>
                    <a:pt x="34" y="78"/>
                    <a:pt x="34" y="78"/>
                  </a:cubicBezTo>
                  <a:cubicBezTo>
                    <a:pt x="38" y="81"/>
                    <a:pt x="44" y="84"/>
                    <a:pt x="49" y="86"/>
                  </a:cubicBezTo>
                  <a:cubicBezTo>
                    <a:pt x="50" y="87"/>
                    <a:pt x="50" y="87"/>
                    <a:pt x="50" y="87"/>
                  </a:cubicBezTo>
                  <a:cubicBezTo>
                    <a:pt x="52" y="88"/>
                    <a:pt x="54" y="89"/>
                    <a:pt x="56" y="90"/>
                  </a:cubicBezTo>
                  <a:cubicBezTo>
                    <a:pt x="59" y="91"/>
                    <a:pt x="59" y="91"/>
                    <a:pt x="59" y="91"/>
                  </a:cubicBezTo>
                  <a:cubicBezTo>
                    <a:pt x="57" y="93"/>
                    <a:pt x="57" y="93"/>
                    <a:pt x="57" y="93"/>
                  </a:cubicBezTo>
                  <a:cubicBezTo>
                    <a:pt x="56" y="94"/>
                    <a:pt x="56" y="94"/>
                    <a:pt x="56" y="94"/>
                  </a:cubicBezTo>
                  <a:cubicBezTo>
                    <a:pt x="56" y="95"/>
                    <a:pt x="56" y="95"/>
                    <a:pt x="56" y="95"/>
                  </a:cubicBezTo>
                  <a:cubicBezTo>
                    <a:pt x="56" y="95"/>
                    <a:pt x="56" y="96"/>
                    <a:pt x="56" y="96"/>
                  </a:cubicBezTo>
                  <a:cubicBezTo>
                    <a:pt x="57" y="98"/>
                    <a:pt x="60" y="100"/>
                    <a:pt x="62" y="101"/>
                  </a:cubicBezTo>
                  <a:cubicBezTo>
                    <a:pt x="63" y="101"/>
                    <a:pt x="63" y="101"/>
                    <a:pt x="63" y="101"/>
                  </a:cubicBezTo>
                  <a:cubicBezTo>
                    <a:pt x="65" y="104"/>
                    <a:pt x="66" y="105"/>
                    <a:pt x="67" y="108"/>
                  </a:cubicBezTo>
                  <a:cubicBezTo>
                    <a:pt x="67" y="108"/>
                    <a:pt x="67" y="108"/>
                    <a:pt x="67" y="108"/>
                  </a:cubicBezTo>
                  <a:cubicBezTo>
                    <a:pt x="67" y="109"/>
                    <a:pt x="67" y="109"/>
                    <a:pt x="68" y="109"/>
                  </a:cubicBezTo>
                  <a:cubicBezTo>
                    <a:pt x="68" y="110"/>
                    <a:pt x="68" y="110"/>
                    <a:pt x="68" y="110"/>
                  </a:cubicBezTo>
                  <a:cubicBezTo>
                    <a:pt x="69" y="111"/>
                    <a:pt x="71" y="112"/>
                    <a:pt x="72" y="113"/>
                  </a:cubicBezTo>
                  <a:cubicBezTo>
                    <a:pt x="75" y="115"/>
                    <a:pt x="75" y="115"/>
                    <a:pt x="75" y="115"/>
                  </a:cubicBezTo>
                  <a:cubicBezTo>
                    <a:pt x="76" y="115"/>
                    <a:pt x="77" y="116"/>
                    <a:pt x="78" y="118"/>
                  </a:cubicBezTo>
                  <a:cubicBezTo>
                    <a:pt x="79" y="118"/>
                    <a:pt x="79" y="119"/>
                    <a:pt x="79" y="119"/>
                  </a:cubicBezTo>
                  <a:cubicBezTo>
                    <a:pt x="80" y="121"/>
                    <a:pt x="80" y="121"/>
                    <a:pt x="80" y="121"/>
                  </a:cubicBezTo>
                  <a:cubicBezTo>
                    <a:pt x="80" y="122"/>
                    <a:pt x="80" y="122"/>
                    <a:pt x="80" y="122"/>
                  </a:cubicBezTo>
                  <a:cubicBezTo>
                    <a:pt x="80" y="122"/>
                    <a:pt x="80" y="122"/>
                    <a:pt x="80" y="122"/>
                  </a:cubicBezTo>
                  <a:cubicBezTo>
                    <a:pt x="83" y="122"/>
                    <a:pt x="83" y="124"/>
                    <a:pt x="83" y="125"/>
                  </a:cubicBezTo>
                  <a:cubicBezTo>
                    <a:pt x="83" y="126"/>
                    <a:pt x="83" y="126"/>
                    <a:pt x="83" y="126"/>
                  </a:cubicBezTo>
                  <a:cubicBezTo>
                    <a:pt x="83" y="126"/>
                    <a:pt x="83" y="127"/>
                    <a:pt x="83" y="128"/>
                  </a:cubicBezTo>
                  <a:cubicBezTo>
                    <a:pt x="83" y="128"/>
                    <a:pt x="83" y="128"/>
                    <a:pt x="83" y="129"/>
                  </a:cubicBezTo>
                  <a:cubicBezTo>
                    <a:pt x="83" y="129"/>
                    <a:pt x="83" y="129"/>
                    <a:pt x="83" y="129"/>
                  </a:cubicBezTo>
                  <a:cubicBezTo>
                    <a:pt x="83" y="129"/>
                    <a:pt x="83" y="130"/>
                    <a:pt x="83" y="130"/>
                  </a:cubicBezTo>
                  <a:cubicBezTo>
                    <a:pt x="84" y="131"/>
                    <a:pt x="84" y="131"/>
                    <a:pt x="84" y="131"/>
                  </a:cubicBezTo>
                  <a:cubicBezTo>
                    <a:pt x="84" y="131"/>
                    <a:pt x="84" y="131"/>
                    <a:pt x="84" y="131"/>
                  </a:cubicBezTo>
                  <a:cubicBezTo>
                    <a:pt x="84" y="132"/>
                    <a:pt x="84" y="132"/>
                    <a:pt x="84" y="132"/>
                  </a:cubicBezTo>
                  <a:cubicBezTo>
                    <a:pt x="84" y="131"/>
                    <a:pt x="84" y="131"/>
                    <a:pt x="84" y="131"/>
                  </a:cubicBezTo>
                  <a:cubicBezTo>
                    <a:pt x="86" y="130"/>
                    <a:pt x="86" y="130"/>
                    <a:pt x="86" y="130"/>
                  </a:cubicBezTo>
                  <a:cubicBezTo>
                    <a:pt x="87" y="131"/>
                    <a:pt x="87" y="131"/>
                    <a:pt x="87" y="131"/>
                  </a:cubicBezTo>
                  <a:cubicBezTo>
                    <a:pt x="88" y="131"/>
                    <a:pt x="88" y="131"/>
                    <a:pt x="89" y="131"/>
                  </a:cubicBezTo>
                  <a:cubicBezTo>
                    <a:pt x="89" y="132"/>
                    <a:pt x="89" y="132"/>
                    <a:pt x="89" y="132"/>
                  </a:cubicBezTo>
                  <a:cubicBezTo>
                    <a:pt x="89" y="133"/>
                    <a:pt x="90" y="133"/>
                    <a:pt x="90" y="134"/>
                  </a:cubicBezTo>
                  <a:cubicBezTo>
                    <a:pt x="90" y="135"/>
                    <a:pt x="90" y="135"/>
                    <a:pt x="90" y="135"/>
                  </a:cubicBezTo>
                  <a:cubicBezTo>
                    <a:pt x="91" y="135"/>
                    <a:pt x="91" y="135"/>
                    <a:pt x="91" y="135"/>
                  </a:cubicBezTo>
                  <a:cubicBezTo>
                    <a:pt x="91" y="135"/>
                    <a:pt x="91" y="135"/>
                    <a:pt x="91" y="135"/>
                  </a:cubicBezTo>
                  <a:cubicBezTo>
                    <a:pt x="92" y="136"/>
                    <a:pt x="92" y="136"/>
                    <a:pt x="92" y="136"/>
                  </a:cubicBezTo>
                  <a:cubicBezTo>
                    <a:pt x="93" y="136"/>
                    <a:pt x="93" y="136"/>
                    <a:pt x="93" y="136"/>
                  </a:cubicBezTo>
                  <a:cubicBezTo>
                    <a:pt x="93" y="137"/>
                    <a:pt x="93" y="137"/>
                    <a:pt x="93" y="137"/>
                  </a:cubicBezTo>
                  <a:cubicBezTo>
                    <a:pt x="94" y="137"/>
                    <a:pt x="94" y="137"/>
                    <a:pt x="94" y="137"/>
                  </a:cubicBezTo>
                  <a:cubicBezTo>
                    <a:pt x="94" y="137"/>
                    <a:pt x="95" y="138"/>
                    <a:pt x="95" y="138"/>
                  </a:cubicBezTo>
                  <a:cubicBezTo>
                    <a:pt x="96" y="138"/>
                    <a:pt x="96" y="138"/>
                    <a:pt x="96" y="138"/>
                  </a:cubicBezTo>
                  <a:cubicBezTo>
                    <a:pt x="97" y="139"/>
                    <a:pt x="98" y="139"/>
                    <a:pt x="99" y="141"/>
                  </a:cubicBezTo>
                  <a:cubicBezTo>
                    <a:pt x="100" y="142"/>
                    <a:pt x="100" y="144"/>
                    <a:pt x="100" y="144"/>
                  </a:cubicBezTo>
                  <a:cubicBezTo>
                    <a:pt x="100" y="145"/>
                    <a:pt x="99" y="145"/>
                    <a:pt x="99" y="146"/>
                  </a:cubicBezTo>
                  <a:cubicBezTo>
                    <a:pt x="98" y="146"/>
                    <a:pt x="98" y="147"/>
                    <a:pt x="97" y="147"/>
                  </a:cubicBezTo>
                  <a:cubicBezTo>
                    <a:pt x="96" y="148"/>
                    <a:pt x="96" y="148"/>
                    <a:pt x="96" y="148"/>
                  </a:cubicBezTo>
                  <a:cubicBezTo>
                    <a:pt x="96" y="148"/>
                    <a:pt x="96" y="148"/>
                    <a:pt x="96" y="148"/>
                  </a:cubicBezTo>
                  <a:cubicBezTo>
                    <a:pt x="97" y="149"/>
                    <a:pt x="99" y="150"/>
                    <a:pt x="100" y="151"/>
                  </a:cubicBezTo>
                  <a:cubicBezTo>
                    <a:pt x="101" y="152"/>
                    <a:pt x="101" y="152"/>
                    <a:pt x="101" y="152"/>
                  </a:cubicBezTo>
                  <a:cubicBezTo>
                    <a:pt x="102" y="153"/>
                    <a:pt x="103" y="154"/>
                    <a:pt x="104" y="157"/>
                  </a:cubicBezTo>
                  <a:cubicBezTo>
                    <a:pt x="104" y="157"/>
                    <a:pt x="104" y="157"/>
                    <a:pt x="104" y="157"/>
                  </a:cubicBezTo>
                  <a:cubicBezTo>
                    <a:pt x="104" y="159"/>
                    <a:pt x="104" y="160"/>
                    <a:pt x="103" y="161"/>
                  </a:cubicBezTo>
                  <a:cubicBezTo>
                    <a:pt x="102" y="162"/>
                    <a:pt x="102" y="162"/>
                    <a:pt x="102" y="162"/>
                  </a:cubicBezTo>
                  <a:cubicBezTo>
                    <a:pt x="101" y="163"/>
                    <a:pt x="101" y="163"/>
                    <a:pt x="101" y="163"/>
                  </a:cubicBezTo>
                  <a:cubicBezTo>
                    <a:pt x="101" y="164"/>
                    <a:pt x="101" y="164"/>
                    <a:pt x="101" y="164"/>
                  </a:cubicBezTo>
                  <a:cubicBezTo>
                    <a:pt x="101" y="165"/>
                    <a:pt x="101" y="165"/>
                    <a:pt x="101" y="165"/>
                  </a:cubicBezTo>
                  <a:cubicBezTo>
                    <a:pt x="101" y="165"/>
                    <a:pt x="101" y="165"/>
                    <a:pt x="101" y="165"/>
                  </a:cubicBezTo>
                  <a:cubicBezTo>
                    <a:pt x="102" y="168"/>
                    <a:pt x="102" y="168"/>
                    <a:pt x="102" y="168"/>
                  </a:cubicBezTo>
                  <a:cubicBezTo>
                    <a:pt x="103" y="169"/>
                    <a:pt x="103" y="169"/>
                    <a:pt x="103" y="169"/>
                  </a:cubicBezTo>
                  <a:cubicBezTo>
                    <a:pt x="102" y="170"/>
                    <a:pt x="102" y="170"/>
                    <a:pt x="102" y="170"/>
                  </a:cubicBezTo>
                  <a:cubicBezTo>
                    <a:pt x="101" y="171"/>
                    <a:pt x="101" y="171"/>
                    <a:pt x="101" y="171"/>
                  </a:cubicBezTo>
                  <a:cubicBezTo>
                    <a:pt x="101" y="173"/>
                    <a:pt x="100" y="175"/>
                    <a:pt x="99" y="177"/>
                  </a:cubicBezTo>
                  <a:cubicBezTo>
                    <a:pt x="98" y="180"/>
                    <a:pt x="98" y="180"/>
                    <a:pt x="98" y="180"/>
                  </a:cubicBezTo>
                  <a:cubicBezTo>
                    <a:pt x="99" y="180"/>
                    <a:pt x="99" y="181"/>
                    <a:pt x="99" y="181"/>
                  </a:cubicBezTo>
                  <a:cubicBezTo>
                    <a:pt x="100" y="182"/>
                    <a:pt x="100" y="182"/>
                    <a:pt x="100" y="182"/>
                  </a:cubicBezTo>
                  <a:cubicBezTo>
                    <a:pt x="100" y="183"/>
                    <a:pt x="101" y="184"/>
                    <a:pt x="101" y="185"/>
                  </a:cubicBezTo>
                  <a:cubicBezTo>
                    <a:pt x="100" y="186"/>
                    <a:pt x="101" y="186"/>
                    <a:pt x="101" y="187"/>
                  </a:cubicBezTo>
                  <a:cubicBezTo>
                    <a:pt x="102" y="188"/>
                    <a:pt x="102" y="188"/>
                    <a:pt x="102" y="188"/>
                  </a:cubicBezTo>
                  <a:cubicBezTo>
                    <a:pt x="103" y="190"/>
                    <a:pt x="104" y="192"/>
                    <a:pt x="103" y="195"/>
                  </a:cubicBezTo>
                  <a:cubicBezTo>
                    <a:pt x="103" y="196"/>
                    <a:pt x="103" y="196"/>
                    <a:pt x="103" y="196"/>
                  </a:cubicBezTo>
                  <a:cubicBezTo>
                    <a:pt x="103" y="197"/>
                    <a:pt x="103" y="199"/>
                    <a:pt x="102" y="201"/>
                  </a:cubicBezTo>
                  <a:cubicBezTo>
                    <a:pt x="102" y="202"/>
                    <a:pt x="102" y="202"/>
                    <a:pt x="102" y="202"/>
                  </a:cubicBezTo>
                  <a:cubicBezTo>
                    <a:pt x="102" y="203"/>
                    <a:pt x="102" y="205"/>
                    <a:pt x="102" y="206"/>
                  </a:cubicBezTo>
                  <a:cubicBezTo>
                    <a:pt x="102" y="206"/>
                    <a:pt x="102" y="206"/>
                    <a:pt x="102" y="206"/>
                  </a:cubicBezTo>
                  <a:cubicBezTo>
                    <a:pt x="102" y="208"/>
                    <a:pt x="103" y="209"/>
                    <a:pt x="103" y="211"/>
                  </a:cubicBezTo>
                  <a:cubicBezTo>
                    <a:pt x="103" y="211"/>
                    <a:pt x="103" y="211"/>
                    <a:pt x="103" y="211"/>
                  </a:cubicBezTo>
                  <a:cubicBezTo>
                    <a:pt x="107" y="211"/>
                    <a:pt x="107" y="211"/>
                    <a:pt x="107" y="211"/>
                  </a:cubicBezTo>
                  <a:cubicBezTo>
                    <a:pt x="103" y="212"/>
                    <a:pt x="103" y="212"/>
                    <a:pt x="103" y="212"/>
                  </a:cubicBezTo>
                  <a:cubicBezTo>
                    <a:pt x="102" y="213"/>
                    <a:pt x="102" y="213"/>
                    <a:pt x="102" y="213"/>
                  </a:cubicBezTo>
                  <a:cubicBezTo>
                    <a:pt x="102" y="217"/>
                    <a:pt x="100" y="218"/>
                    <a:pt x="98" y="218"/>
                  </a:cubicBezTo>
                  <a:cubicBezTo>
                    <a:pt x="98" y="218"/>
                    <a:pt x="98" y="218"/>
                    <a:pt x="97" y="218"/>
                  </a:cubicBezTo>
                  <a:cubicBezTo>
                    <a:pt x="96" y="218"/>
                    <a:pt x="96" y="218"/>
                    <a:pt x="95" y="218"/>
                  </a:cubicBezTo>
                  <a:cubicBezTo>
                    <a:pt x="94" y="218"/>
                    <a:pt x="94" y="218"/>
                    <a:pt x="94" y="218"/>
                  </a:cubicBezTo>
                  <a:cubicBezTo>
                    <a:pt x="94" y="218"/>
                    <a:pt x="94" y="218"/>
                    <a:pt x="94" y="218"/>
                  </a:cubicBezTo>
                  <a:cubicBezTo>
                    <a:pt x="93" y="218"/>
                    <a:pt x="93" y="218"/>
                    <a:pt x="93" y="219"/>
                  </a:cubicBezTo>
                  <a:cubicBezTo>
                    <a:pt x="92" y="220"/>
                    <a:pt x="92" y="220"/>
                    <a:pt x="92" y="220"/>
                  </a:cubicBezTo>
                  <a:cubicBezTo>
                    <a:pt x="91" y="221"/>
                    <a:pt x="89" y="221"/>
                    <a:pt x="87" y="222"/>
                  </a:cubicBezTo>
                  <a:cubicBezTo>
                    <a:pt x="86" y="222"/>
                    <a:pt x="86" y="222"/>
                    <a:pt x="86" y="222"/>
                  </a:cubicBezTo>
                  <a:cubicBezTo>
                    <a:pt x="85" y="222"/>
                    <a:pt x="83" y="223"/>
                    <a:pt x="81" y="223"/>
                  </a:cubicBezTo>
                  <a:cubicBezTo>
                    <a:pt x="81" y="224"/>
                    <a:pt x="81" y="225"/>
                    <a:pt x="81" y="225"/>
                  </a:cubicBezTo>
                  <a:cubicBezTo>
                    <a:pt x="81" y="226"/>
                    <a:pt x="81" y="226"/>
                    <a:pt x="81" y="226"/>
                  </a:cubicBezTo>
                  <a:cubicBezTo>
                    <a:pt x="81" y="227"/>
                    <a:pt x="81" y="227"/>
                    <a:pt x="81" y="227"/>
                  </a:cubicBezTo>
                  <a:cubicBezTo>
                    <a:pt x="82" y="230"/>
                    <a:pt x="82" y="230"/>
                    <a:pt x="82" y="230"/>
                  </a:cubicBezTo>
                  <a:cubicBezTo>
                    <a:pt x="71" y="228"/>
                    <a:pt x="71" y="228"/>
                    <a:pt x="71" y="228"/>
                  </a:cubicBezTo>
                  <a:cubicBezTo>
                    <a:pt x="70" y="228"/>
                    <a:pt x="70" y="229"/>
                    <a:pt x="69" y="229"/>
                  </a:cubicBezTo>
                  <a:cubicBezTo>
                    <a:pt x="69" y="230"/>
                    <a:pt x="69" y="230"/>
                    <a:pt x="69" y="230"/>
                  </a:cubicBezTo>
                  <a:cubicBezTo>
                    <a:pt x="70" y="232"/>
                    <a:pt x="70" y="234"/>
                    <a:pt x="71" y="235"/>
                  </a:cubicBezTo>
                  <a:cubicBezTo>
                    <a:pt x="71" y="235"/>
                    <a:pt x="72" y="236"/>
                    <a:pt x="73" y="237"/>
                  </a:cubicBezTo>
                  <a:cubicBezTo>
                    <a:pt x="74" y="238"/>
                    <a:pt x="75" y="238"/>
                    <a:pt x="76" y="239"/>
                  </a:cubicBezTo>
                  <a:cubicBezTo>
                    <a:pt x="81" y="244"/>
                    <a:pt x="81" y="244"/>
                    <a:pt x="81" y="244"/>
                  </a:cubicBezTo>
                  <a:cubicBezTo>
                    <a:pt x="76" y="244"/>
                    <a:pt x="76" y="244"/>
                    <a:pt x="76" y="244"/>
                  </a:cubicBezTo>
                  <a:cubicBezTo>
                    <a:pt x="76" y="244"/>
                    <a:pt x="76" y="244"/>
                    <a:pt x="76" y="244"/>
                  </a:cubicBezTo>
                  <a:cubicBezTo>
                    <a:pt x="77" y="248"/>
                    <a:pt x="77" y="248"/>
                    <a:pt x="77" y="248"/>
                  </a:cubicBezTo>
                  <a:cubicBezTo>
                    <a:pt x="74" y="247"/>
                    <a:pt x="74" y="247"/>
                    <a:pt x="74" y="247"/>
                  </a:cubicBezTo>
                  <a:cubicBezTo>
                    <a:pt x="71" y="246"/>
                    <a:pt x="69" y="245"/>
                    <a:pt x="66" y="243"/>
                  </a:cubicBezTo>
                  <a:cubicBezTo>
                    <a:pt x="66" y="243"/>
                    <a:pt x="66" y="243"/>
                    <a:pt x="66" y="243"/>
                  </a:cubicBezTo>
                  <a:cubicBezTo>
                    <a:pt x="66" y="243"/>
                    <a:pt x="66" y="243"/>
                    <a:pt x="66" y="243"/>
                  </a:cubicBezTo>
                  <a:cubicBezTo>
                    <a:pt x="66" y="243"/>
                    <a:pt x="66" y="243"/>
                    <a:pt x="65" y="243"/>
                  </a:cubicBezTo>
                  <a:cubicBezTo>
                    <a:pt x="64" y="243"/>
                    <a:pt x="64" y="243"/>
                    <a:pt x="64" y="243"/>
                  </a:cubicBezTo>
                  <a:cubicBezTo>
                    <a:pt x="63" y="243"/>
                    <a:pt x="61" y="243"/>
                    <a:pt x="60" y="244"/>
                  </a:cubicBezTo>
                  <a:cubicBezTo>
                    <a:pt x="60" y="244"/>
                    <a:pt x="60" y="244"/>
                    <a:pt x="60" y="244"/>
                  </a:cubicBezTo>
                  <a:cubicBezTo>
                    <a:pt x="59" y="244"/>
                    <a:pt x="58" y="244"/>
                    <a:pt x="57" y="244"/>
                  </a:cubicBezTo>
                  <a:cubicBezTo>
                    <a:pt x="60" y="247"/>
                    <a:pt x="63" y="250"/>
                    <a:pt x="66" y="252"/>
                  </a:cubicBezTo>
                  <a:cubicBezTo>
                    <a:pt x="67" y="254"/>
                    <a:pt x="70" y="254"/>
                    <a:pt x="72" y="254"/>
                  </a:cubicBezTo>
                  <a:cubicBezTo>
                    <a:pt x="73" y="254"/>
                    <a:pt x="75" y="254"/>
                    <a:pt x="76" y="254"/>
                  </a:cubicBezTo>
                  <a:cubicBezTo>
                    <a:pt x="76" y="254"/>
                    <a:pt x="77" y="254"/>
                    <a:pt x="77" y="254"/>
                  </a:cubicBezTo>
                  <a:cubicBezTo>
                    <a:pt x="79" y="254"/>
                    <a:pt x="80" y="254"/>
                    <a:pt x="82" y="254"/>
                  </a:cubicBezTo>
                  <a:cubicBezTo>
                    <a:pt x="82" y="254"/>
                    <a:pt x="82" y="254"/>
                    <a:pt x="83" y="254"/>
                  </a:cubicBezTo>
                  <a:cubicBezTo>
                    <a:pt x="87" y="254"/>
                    <a:pt x="85" y="253"/>
                    <a:pt x="82" y="251"/>
                  </a:cubicBezTo>
                  <a:cubicBezTo>
                    <a:pt x="82" y="251"/>
                    <a:pt x="83" y="251"/>
                    <a:pt x="83" y="250"/>
                  </a:cubicBezTo>
                  <a:cubicBezTo>
                    <a:pt x="83" y="250"/>
                    <a:pt x="83" y="250"/>
                    <a:pt x="83" y="250"/>
                  </a:cubicBezTo>
                  <a:cubicBezTo>
                    <a:pt x="81" y="249"/>
                    <a:pt x="81" y="249"/>
                    <a:pt x="81" y="249"/>
                  </a:cubicBezTo>
                  <a:cubicBezTo>
                    <a:pt x="82" y="247"/>
                    <a:pt x="82" y="247"/>
                    <a:pt x="82" y="247"/>
                  </a:cubicBezTo>
                  <a:cubicBezTo>
                    <a:pt x="85" y="245"/>
                    <a:pt x="85" y="245"/>
                    <a:pt x="85" y="245"/>
                  </a:cubicBezTo>
                  <a:cubicBezTo>
                    <a:pt x="86" y="246"/>
                    <a:pt x="86" y="246"/>
                    <a:pt x="86" y="246"/>
                  </a:cubicBezTo>
                  <a:cubicBezTo>
                    <a:pt x="88" y="245"/>
                    <a:pt x="88" y="245"/>
                    <a:pt x="88" y="245"/>
                  </a:cubicBezTo>
                  <a:cubicBezTo>
                    <a:pt x="88" y="246"/>
                    <a:pt x="88" y="247"/>
                    <a:pt x="87" y="248"/>
                  </a:cubicBezTo>
                  <a:cubicBezTo>
                    <a:pt x="88" y="249"/>
                    <a:pt x="89" y="250"/>
                    <a:pt x="90" y="250"/>
                  </a:cubicBezTo>
                  <a:cubicBezTo>
                    <a:pt x="90" y="249"/>
                    <a:pt x="90" y="248"/>
                    <a:pt x="90" y="247"/>
                  </a:cubicBezTo>
                  <a:cubicBezTo>
                    <a:pt x="90" y="250"/>
                    <a:pt x="89" y="251"/>
                    <a:pt x="92" y="252"/>
                  </a:cubicBezTo>
                  <a:cubicBezTo>
                    <a:pt x="92" y="252"/>
                    <a:pt x="90" y="253"/>
                    <a:pt x="91" y="253"/>
                  </a:cubicBezTo>
                  <a:cubicBezTo>
                    <a:pt x="91" y="253"/>
                    <a:pt x="91" y="253"/>
                    <a:pt x="91" y="253"/>
                  </a:cubicBezTo>
                  <a:cubicBezTo>
                    <a:pt x="93" y="253"/>
                    <a:pt x="97" y="251"/>
                    <a:pt x="98" y="250"/>
                  </a:cubicBezTo>
                  <a:cubicBezTo>
                    <a:pt x="103" y="247"/>
                    <a:pt x="108" y="244"/>
                    <a:pt x="113" y="242"/>
                  </a:cubicBezTo>
                  <a:cubicBezTo>
                    <a:pt x="118" y="239"/>
                    <a:pt x="124" y="236"/>
                    <a:pt x="127" y="231"/>
                  </a:cubicBezTo>
                  <a:cubicBezTo>
                    <a:pt x="128" y="230"/>
                    <a:pt x="133" y="227"/>
                    <a:pt x="131" y="225"/>
                  </a:cubicBezTo>
                  <a:cubicBezTo>
                    <a:pt x="129" y="224"/>
                    <a:pt x="130" y="220"/>
                    <a:pt x="131" y="219"/>
                  </a:cubicBezTo>
                  <a:cubicBezTo>
                    <a:pt x="131" y="220"/>
                    <a:pt x="131" y="222"/>
                    <a:pt x="133" y="223"/>
                  </a:cubicBezTo>
                  <a:cubicBezTo>
                    <a:pt x="133" y="222"/>
                    <a:pt x="132" y="222"/>
                    <a:pt x="132" y="221"/>
                  </a:cubicBezTo>
                  <a:cubicBezTo>
                    <a:pt x="132" y="220"/>
                    <a:pt x="132" y="217"/>
                    <a:pt x="132" y="216"/>
                  </a:cubicBezTo>
                  <a:cubicBezTo>
                    <a:pt x="132" y="215"/>
                    <a:pt x="131" y="214"/>
                    <a:pt x="130" y="213"/>
                  </a:cubicBezTo>
                  <a:cubicBezTo>
                    <a:pt x="130" y="212"/>
                    <a:pt x="130" y="212"/>
                    <a:pt x="130" y="212"/>
                  </a:cubicBezTo>
                  <a:cubicBezTo>
                    <a:pt x="131" y="212"/>
                    <a:pt x="131" y="213"/>
                    <a:pt x="132" y="213"/>
                  </a:cubicBezTo>
                  <a:cubicBezTo>
                    <a:pt x="133" y="213"/>
                    <a:pt x="134" y="213"/>
                    <a:pt x="134" y="213"/>
                  </a:cubicBezTo>
                  <a:cubicBezTo>
                    <a:pt x="134" y="213"/>
                    <a:pt x="134" y="213"/>
                    <a:pt x="134" y="213"/>
                  </a:cubicBezTo>
                  <a:cubicBezTo>
                    <a:pt x="134" y="213"/>
                    <a:pt x="133" y="213"/>
                    <a:pt x="133" y="212"/>
                  </a:cubicBezTo>
                  <a:cubicBezTo>
                    <a:pt x="133" y="209"/>
                    <a:pt x="131" y="208"/>
                    <a:pt x="134" y="206"/>
                  </a:cubicBezTo>
                  <a:cubicBezTo>
                    <a:pt x="134" y="207"/>
                    <a:pt x="135" y="209"/>
                    <a:pt x="136" y="210"/>
                  </a:cubicBezTo>
                  <a:cubicBezTo>
                    <a:pt x="136" y="208"/>
                    <a:pt x="136" y="209"/>
                    <a:pt x="135" y="207"/>
                  </a:cubicBezTo>
                  <a:cubicBezTo>
                    <a:pt x="135" y="207"/>
                    <a:pt x="135" y="207"/>
                    <a:pt x="135" y="206"/>
                  </a:cubicBezTo>
                  <a:cubicBezTo>
                    <a:pt x="135" y="206"/>
                    <a:pt x="134" y="205"/>
                    <a:pt x="135" y="205"/>
                  </a:cubicBezTo>
                  <a:cubicBezTo>
                    <a:pt x="136" y="204"/>
                    <a:pt x="136" y="204"/>
                    <a:pt x="136" y="204"/>
                  </a:cubicBezTo>
                  <a:cubicBezTo>
                    <a:pt x="135" y="201"/>
                    <a:pt x="135" y="199"/>
                    <a:pt x="134" y="197"/>
                  </a:cubicBezTo>
                  <a:cubicBezTo>
                    <a:pt x="133" y="194"/>
                    <a:pt x="133" y="191"/>
                    <a:pt x="132" y="188"/>
                  </a:cubicBezTo>
                  <a:cubicBezTo>
                    <a:pt x="132" y="187"/>
                    <a:pt x="133" y="186"/>
                    <a:pt x="133" y="185"/>
                  </a:cubicBezTo>
                  <a:cubicBezTo>
                    <a:pt x="133" y="184"/>
                    <a:pt x="133" y="183"/>
                    <a:pt x="132" y="182"/>
                  </a:cubicBezTo>
                  <a:cubicBezTo>
                    <a:pt x="132" y="178"/>
                    <a:pt x="130" y="172"/>
                    <a:pt x="128" y="168"/>
                  </a:cubicBezTo>
                  <a:cubicBezTo>
                    <a:pt x="127" y="164"/>
                    <a:pt x="126" y="163"/>
                    <a:pt x="126" y="159"/>
                  </a:cubicBezTo>
                  <a:cubicBezTo>
                    <a:pt x="126" y="158"/>
                    <a:pt x="126" y="158"/>
                    <a:pt x="125" y="157"/>
                  </a:cubicBezTo>
                  <a:cubicBezTo>
                    <a:pt x="121" y="154"/>
                    <a:pt x="118" y="149"/>
                    <a:pt x="114" y="144"/>
                  </a:cubicBezTo>
                  <a:cubicBezTo>
                    <a:pt x="114" y="144"/>
                    <a:pt x="114" y="144"/>
                    <a:pt x="114" y="144"/>
                  </a:cubicBezTo>
                  <a:cubicBezTo>
                    <a:pt x="115" y="143"/>
                    <a:pt x="115" y="143"/>
                    <a:pt x="115" y="143"/>
                  </a:cubicBezTo>
                  <a:cubicBezTo>
                    <a:pt x="114" y="143"/>
                    <a:pt x="114" y="143"/>
                    <a:pt x="114" y="143"/>
                  </a:cubicBezTo>
                  <a:cubicBezTo>
                    <a:pt x="115" y="142"/>
                    <a:pt x="115" y="141"/>
                    <a:pt x="115" y="140"/>
                  </a:cubicBezTo>
                  <a:cubicBezTo>
                    <a:pt x="114" y="140"/>
                    <a:pt x="114" y="140"/>
                    <a:pt x="114" y="140"/>
                  </a:cubicBezTo>
                  <a:cubicBezTo>
                    <a:pt x="113" y="140"/>
                    <a:pt x="113" y="141"/>
                    <a:pt x="112" y="142"/>
                  </a:cubicBezTo>
                  <a:cubicBezTo>
                    <a:pt x="112" y="142"/>
                    <a:pt x="112" y="142"/>
                    <a:pt x="112" y="142"/>
                  </a:cubicBezTo>
                  <a:cubicBezTo>
                    <a:pt x="112" y="141"/>
                    <a:pt x="111" y="140"/>
                    <a:pt x="112" y="139"/>
                  </a:cubicBezTo>
                  <a:cubicBezTo>
                    <a:pt x="109" y="137"/>
                    <a:pt x="104" y="136"/>
                    <a:pt x="101" y="133"/>
                  </a:cubicBezTo>
                  <a:cubicBezTo>
                    <a:pt x="100" y="132"/>
                    <a:pt x="98" y="130"/>
                    <a:pt x="97" y="129"/>
                  </a:cubicBezTo>
                  <a:cubicBezTo>
                    <a:pt x="95" y="128"/>
                    <a:pt x="93" y="127"/>
                    <a:pt x="92" y="126"/>
                  </a:cubicBezTo>
                  <a:cubicBezTo>
                    <a:pt x="90" y="124"/>
                    <a:pt x="91" y="122"/>
                    <a:pt x="89" y="121"/>
                  </a:cubicBezTo>
                  <a:cubicBezTo>
                    <a:pt x="88" y="119"/>
                    <a:pt x="86" y="118"/>
                    <a:pt x="84" y="116"/>
                  </a:cubicBezTo>
                  <a:cubicBezTo>
                    <a:pt x="81" y="114"/>
                    <a:pt x="78" y="111"/>
                    <a:pt x="76" y="109"/>
                  </a:cubicBezTo>
                  <a:cubicBezTo>
                    <a:pt x="76" y="109"/>
                    <a:pt x="76" y="109"/>
                    <a:pt x="76" y="109"/>
                  </a:cubicBezTo>
                  <a:cubicBezTo>
                    <a:pt x="77" y="109"/>
                    <a:pt x="78" y="109"/>
                    <a:pt x="79" y="110"/>
                  </a:cubicBezTo>
                  <a:cubicBezTo>
                    <a:pt x="79" y="108"/>
                    <a:pt x="78" y="107"/>
                    <a:pt x="80" y="105"/>
                  </a:cubicBezTo>
                  <a:cubicBezTo>
                    <a:pt x="80" y="105"/>
                    <a:pt x="70" y="95"/>
                    <a:pt x="69" y="94"/>
                  </a:cubicBezTo>
                  <a:cubicBezTo>
                    <a:pt x="65" y="91"/>
                    <a:pt x="64" y="88"/>
                    <a:pt x="63" y="84"/>
                  </a:cubicBezTo>
                  <a:cubicBezTo>
                    <a:pt x="63" y="84"/>
                    <a:pt x="63" y="84"/>
                    <a:pt x="63" y="84"/>
                  </a:cubicBezTo>
                  <a:cubicBezTo>
                    <a:pt x="63" y="83"/>
                    <a:pt x="65" y="81"/>
                    <a:pt x="66" y="79"/>
                  </a:cubicBezTo>
                  <a:cubicBezTo>
                    <a:pt x="67" y="78"/>
                    <a:pt x="66" y="74"/>
                    <a:pt x="66" y="72"/>
                  </a:cubicBezTo>
                  <a:cubicBezTo>
                    <a:pt x="67" y="71"/>
                    <a:pt x="68" y="69"/>
                    <a:pt x="69" y="68"/>
                  </a:cubicBezTo>
                  <a:cubicBezTo>
                    <a:pt x="71" y="65"/>
                    <a:pt x="72" y="64"/>
                    <a:pt x="74" y="62"/>
                  </a:cubicBezTo>
                  <a:cubicBezTo>
                    <a:pt x="76" y="61"/>
                    <a:pt x="78" y="59"/>
                    <a:pt x="80" y="59"/>
                  </a:cubicBezTo>
                  <a:cubicBezTo>
                    <a:pt x="81" y="59"/>
                    <a:pt x="81" y="59"/>
                    <a:pt x="81" y="59"/>
                  </a:cubicBezTo>
                  <a:cubicBezTo>
                    <a:pt x="81" y="57"/>
                    <a:pt x="81" y="54"/>
                    <a:pt x="81" y="52"/>
                  </a:cubicBezTo>
                  <a:cubicBezTo>
                    <a:pt x="81" y="51"/>
                    <a:pt x="85" y="51"/>
                    <a:pt x="86" y="51"/>
                  </a:cubicBezTo>
                  <a:cubicBezTo>
                    <a:pt x="85" y="50"/>
                    <a:pt x="85" y="50"/>
                    <a:pt x="85" y="50"/>
                  </a:cubicBezTo>
                  <a:cubicBezTo>
                    <a:pt x="84" y="47"/>
                    <a:pt x="85" y="47"/>
                    <a:pt x="82" y="44"/>
                  </a:cubicBezTo>
                  <a:cubicBezTo>
                    <a:pt x="84" y="45"/>
                    <a:pt x="85" y="47"/>
                    <a:pt x="87" y="47"/>
                  </a:cubicBezTo>
                  <a:cubicBezTo>
                    <a:pt x="87" y="47"/>
                    <a:pt x="88" y="47"/>
                    <a:pt x="88" y="47"/>
                  </a:cubicBezTo>
                  <a:cubicBezTo>
                    <a:pt x="88" y="46"/>
                    <a:pt x="88" y="46"/>
                    <a:pt x="88" y="46"/>
                  </a:cubicBezTo>
                  <a:cubicBezTo>
                    <a:pt x="89" y="46"/>
                    <a:pt x="89" y="46"/>
                    <a:pt x="90" y="45"/>
                  </a:cubicBezTo>
                  <a:cubicBezTo>
                    <a:pt x="90" y="45"/>
                    <a:pt x="90" y="45"/>
                    <a:pt x="91" y="45"/>
                  </a:cubicBezTo>
                  <a:cubicBezTo>
                    <a:pt x="91" y="45"/>
                    <a:pt x="91" y="45"/>
                    <a:pt x="92" y="46"/>
                  </a:cubicBezTo>
                  <a:cubicBezTo>
                    <a:pt x="92" y="46"/>
                    <a:pt x="92" y="46"/>
                    <a:pt x="93" y="46"/>
                  </a:cubicBezTo>
                  <a:cubicBezTo>
                    <a:pt x="93" y="46"/>
                    <a:pt x="93" y="46"/>
                    <a:pt x="93" y="46"/>
                  </a:cubicBezTo>
                  <a:cubicBezTo>
                    <a:pt x="93" y="46"/>
                    <a:pt x="96" y="45"/>
                    <a:pt x="96" y="45"/>
                  </a:cubicBezTo>
                  <a:cubicBezTo>
                    <a:pt x="96" y="44"/>
                    <a:pt x="96" y="44"/>
                    <a:pt x="96" y="43"/>
                  </a:cubicBezTo>
                  <a:cubicBezTo>
                    <a:pt x="96" y="42"/>
                    <a:pt x="97" y="42"/>
                    <a:pt x="96" y="41"/>
                  </a:cubicBezTo>
                  <a:cubicBezTo>
                    <a:pt x="97" y="41"/>
                    <a:pt x="97" y="40"/>
                    <a:pt x="98" y="40"/>
                  </a:cubicBezTo>
                  <a:cubicBezTo>
                    <a:pt x="97" y="41"/>
                    <a:pt x="97" y="42"/>
                    <a:pt x="96" y="44"/>
                  </a:cubicBezTo>
                  <a:cubicBezTo>
                    <a:pt x="98" y="43"/>
                    <a:pt x="99" y="42"/>
                    <a:pt x="101" y="41"/>
                  </a:cubicBezTo>
                  <a:cubicBezTo>
                    <a:pt x="100" y="40"/>
                    <a:pt x="99" y="40"/>
                    <a:pt x="99" y="40"/>
                  </a:cubicBezTo>
                  <a:cubicBezTo>
                    <a:pt x="101" y="38"/>
                    <a:pt x="103" y="37"/>
                    <a:pt x="105" y="36"/>
                  </a:cubicBezTo>
                  <a:cubicBezTo>
                    <a:pt x="105" y="36"/>
                    <a:pt x="105" y="36"/>
                    <a:pt x="105" y="36"/>
                  </a:cubicBezTo>
                  <a:cubicBezTo>
                    <a:pt x="105" y="35"/>
                    <a:pt x="105" y="35"/>
                    <a:pt x="105" y="35"/>
                  </a:cubicBezTo>
                  <a:cubicBezTo>
                    <a:pt x="103" y="35"/>
                    <a:pt x="101" y="34"/>
                    <a:pt x="100" y="34"/>
                  </a:cubicBezTo>
                  <a:cubicBezTo>
                    <a:pt x="99" y="34"/>
                    <a:pt x="99" y="34"/>
                    <a:pt x="99" y="34"/>
                  </a:cubicBezTo>
                  <a:cubicBezTo>
                    <a:pt x="98" y="34"/>
                    <a:pt x="98" y="34"/>
                    <a:pt x="98" y="34"/>
                  </a:cubicBezTo>
                  <a:cubicBezTo>
                    <a:pt x="98" y="35"/>
                    <a:pt x="97" y="35"/>
                    <a:pt x="96" y="35"/>
                  </a:cubicBezTo>
                  <a:cubicBezTo>
                    <a:pt x="94" y="35"/>
                    <a:pt x="93" y="33"/>
                    <a:pt x="92" y="32"/>
                  </a:cubicBezTo>
                  <a:cubicBezTo>
                    <a:pt x="91" y="31"/>
                    <a:pt x="91" y="31"/>
                    <a:pt x="91" y="31"/>
                  </a:cubicBezTo>
                  <a:cubicBezTo>
                    <a:pt x="90" y="30"/>
                    <a:pt x="90" y="30"/>
                    <a:pt x="90" y="30"/>
                  </a:cubicBezTo>
                  <a:cubicBezTo>
                    <a:pt x="89" y="28"/>
                    <a:pt x="89" y="28"/>
                    <a:pt x="89" y="28"/>
                  </a:cubicBezTo>
                  <a:cubicBezTo>
                    <a:pt x="88" y="28"/>
                    <a:pt x="88" y="28"/>
                    <a:pt x="87" y="28"/>
                  </a:cubicBezTo>
                  <a:cubicBezTo>
                    <a:pt x="87" y="28"/>
                    <a:pt x="87" y="28"/>
                    <a:pt x="87" y="28"/>
                  </a:cubicBezTo>
                  <a:cubicBezTo>
                    <a:pt x="85" y="28"/>
                    <a:pt x="84" y="28"/>
                    <a:pt x="82" y="27"/>
                  </a:cubicBezTo>
                  <a:cubicBezTo>
                    <a:pt x="82" y="27"/>
                    <a:pt x="82" y="27"/>
                    <a:pt x="82" y="27"/>
                  </a:cubicBezTo>
                  <a:cubicBezTo>
                    <a:pt x="82" y="27"/>
                    <a:pt x="82" y="27"/>
                    <a:pt x="82" y="27"/>
                  </a:cubicBezTo>
                  <a:cubicBezTo>
                    <a:pt x="81" y="25"/>
                    <a:pt x="81" y="25"/>
                    <a:pt x="81" y="25"/>
                  </a:cubicBezTo>
                  <a:cubicBezTo>
                    <a:pt x="81" y="25"/>
                    <a:pt x="81" y="25"/>
                    <a:pt x="81" y="25"/>
                  </a:cubicBezTo>
                  <a:cubicBezTo>
                    <a:pt x="81" y="25"/>
                    <a:pt x="81" y="25"/>
                    <a:pt x="81" y="25"/>
                  </a:cubicBezTo>
                  <a:cubicBezTo>
                    <a:pt x="81" y="23"/>
                    <a:pt x="81" y="23"/>
                    <a:pt x="81" y="23"/>
                  </a:cubicBezTo>
                  <a:cubicBezTo>
                    <a:pt x="81" y="23"/>
                    <a:pt x="81" y="23"/>
                    <a:pt x="81" y="23"/>
                  </a:cubicBezTo>
                  <a:cubicBezTo>
                    <a:pt x="81" y="23"/>
                    <a:pt x="81" y="22"/>
                    <a:pt x="81" y="22"/>
                  </a:cubicBezTo>
                  <a:cubicBezTo>
                    <a:pt x="80" y="21"/>
                    <a:pt x="80" y="20"/>
                    <a:pt x="80" y="19"/>
                  </a:cubicBezTo>
                  <a:cubicBezTo>
                    <a:pt x="79" y="19"/>
                    <a:pt x="79" y="19"/>
                    <a:pt x="79" y="19"/>
                  </a:cubicBezTo>
                  <a:cubicBezTo>
                    <a:pt x="78" y="16"/>
                    <a:pt x="79" y="14"/>
                    <a:pt x="81" y="12"/>
                  </a:cubicBezTo>
                  <a:cubicBezTo>
                    <a:pt x="81" y="11"/>
                    <a:pt x="81" y="11"/>
                    <a:pt x="81" y="11"/>
                  </a:cubicBezTo>
                  <a:cubicBezTo>
                    <a:pt x="82" y="11"/>
                    <a:pt x="82" y="10"/>
                    <a:pt x="82" y="10"/>
                  </a:cubicBezTo>
                  <a:cubicBezTo>
                    <a:pt x="82" y="10"/>
                    <a:pt x="82" y="10"/>
                    <a:pt x="82" y="10"/>
                  </a:cubicBezTo>
                  <a:cubicBezTo>
                    <a:pt x="82" y="10"/>
                    <a:pt x="82" y="10"/>
                    <a:pt x="82" y="10"/>
                  </a:cubicBezTo>
                  <a:cubicBezTo>
                    <a:pt x="81" y="9"/>
                    <a:pt x="80" y="9"/>
                    <a:pt x="79" y="9"/>
                  </a:cubicBezTo>
                  <a:cubicBezTo>
                    <a:pt x="78" y="9"/>
                    <a:pt x="78" y="9"/>
                    <a:pt x="77" y="9"/>
                  </a:cubicBezTo>
                  <a:cubicBezTo>
                    <a:pt x="77" y="9"/>
                    <a:pt x="77" y="9"/>
                    <a:pt x="76" y="9"/>
                  </a:cubicBezTo>
                  <a:cubicBezTo>
                    <a:pt x="76" y="9"/>
                    <a:pt x="75" y="9"/>
                    <a:pt x="75" y="9"/>
                  </a:cubicBezTo>
                  <a:cubicBezTo>
                    <a:pt x="74" y="9"/>
                    <a:pt x="74" y="9"/>
                    <a:pt x="74" y="9"/>
                  </a:cubicBezTo>
                  <a:cubicBezTo>
                    <a:pt x="71" y="9"/>
                    <a:pt x="68" y="9"/>
                    <a:pt x="64" y="7"/>
                  </a:cubicBezTo>
                  <a:cubicBezTo>
                    <a:pt x="64" y="6"/>
                    <a:pt x="64" y="6"/>
                    <a:pt x="64" y="6"/>
                  </a:cubicBezTo>
                  <a:cubicBezTo>
                    <a:pt x="62" y="5"/>
                    <a:pt x="61" y="4"/>
                    <a:pt x="60" y="3"/>
                  </a:cubicBezTo>
                  <a:cubicBezTo>
                    <a:pt x="59" y="2"/>
                    <a:pt x="59" y="2"/>
                    <a:pt x="59" y="2"/>
                  </a:cubicBezTo>
                  <a:cubicBezTo>
                    <a:pt x="58" y="1"/>
                    <a:pt x="58" y="1"/>
                    <a:pt x="58" y="1"/>
                  </a:cubicBezTo>
                  <a:cubicBezTo>
                    <a:pt x="58" y="1"/>
                    <a:pt x="58" y="1"/>
                    <a:pt x="58" y="1"/>
                  </a:cubicBezTo>
                  <a:cubicBezTo>
                    <a:pt x="57" y="0"/>
                    <a:pt x="57" y="0"/>
                    <a:pt x="57" y="0"/>
                  </a:cubicBezTo>
                  <a:cubicBezTo>
                    <a:pt x="56" y="0"/>
                    <a:pt x="56"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 name="Freeform 441">
              <a:extLst>
                <a:ext uri="{FF2B5EF4-FFF2-40B4-BE49-F238E27FC236}">
                  <a16:creationId xmlns:a16="http://schemas.microsoft.com/office/drawing/2014/main" id="{C8C7B7CB-43D4-495F-9831-F2EA81A385F7}"/>
                </a:ext>
              </a:extLst>
            </p:cNvPr>
            <p:cNvSpPr>
              <a:spLocks/>
            </p:cNvSpPr>
            <p:nvPr/>
          </p:nvSpPr>
          <p:spPr bwMode="auto">
            <a:xfrm>
              <a:off x="4888354" y="6102839"/>
              <a:ext cx="104534" cy="137545"/>
            </a:xfrm>
            <a:custGeom>
              <a:avLst/>
              <a:gdLst>
                <a:gd name="T0" fmla="*/ 14 w 32"/>
                <a:gd name="T1" fmla="*/ 0 h 42"/>
                <a:gd name="T2" fmla="*/ 12 w 32"/>
                <a:gd name="T3" fmla="*/ 0 h 42"/>
                <a:gd name="T4" fmla="*/ 12 w 32"/>
                <a:gd name="T5" fmla="*/ 0 h 42"/>
                <a:gd name="T6" fmla="*/ 12 w 32"/>
                <a:gd name="T7" fmla="*/ 1 h 42"/>
                <a:gd name="T8" fmla="*/ 4 w 32"/>
                <a:gd name="T9" fmla="*/ 8 h 42"/>
                <a:gd name="T10" fmla="*/ 0 w 32"/>
                <a:gd name="T11" fmla="*/ 9 h 42"/>
                <a:gd name="T12" fmla="*/ 2 w 32"/>
                <a:gd name="T13" fmla="*/ 13 h 42"/>
                <a:gd name="T14" fmla="*/ 11 w 32"/>
                <a:gd name="T15" fmla="*/ 18 h 42"/>
                <a:gd name="T16" fmla="*/ 10 w 32"/>
                <a:gd name="T17" fmla="*/ 17 h 42"/>
                <a:gd name="T18" fmla="*/ 7 w 32"/>
                <a:gd name="T19" fmla="*/ 19 h 42"/>
                <a:gd name="T20" fmla="*/ 6 w 32"/>
                <a:gd name="T21" fmla="*/ 31 h 42"/>
                <a:gd name="T22" fmla="*/ 7 w 32"/>
                <a:gd name="T23" fmla="*/ 41 h 42"/>
                <a:gd name="T24" fmla="*/ 8 w 32"/>
                <a:gd name="T25" fmla="*/ 40 h 42"/>
                <a:gd name="T26" fmla="*/ 4 w 32"/>
                <a:gd name="T27" fmla="*/ 42 h 42"/>
                <a:gd name="T28" fmla="*/ 13 w 32"/>
                <a:gd name="T29" fmla="*/ 40 h 42"/>
                <a:gd name="T30" fmla="*/ 17 w 32"/>
                <a:gd name="T31" fmla="*/ 36 h 42"/>
                <a:gd name="T32" fmla="*/ 28 w 32"/>
                <a:gd name="T33" fmla="*/ 29 h 42"/>
                <a:gd name="T34" fmla="*/ 30 w 32"/>
                <a:gd name="T35" fmla="*/ 25 h 42"/>
                <a:gd name="T36" fmla="*/ 26 w 32"/>
                <a:gd name="T37" fmla="*/ 17 h 42"/>
                <a:gd name="T38" fmla="*/ 25 w 32"/>
                <a:gd name="T39" fmla="*/ 15 h 42"/>
                <a:gd name="T40" fmla="*/ 25 w 32"/>
                <a:gd name="T41" fmla="*/ 15 h 42"/>
                <a:gd name="T42" fmla="*/ 21 w 32"/>
                <a:gd name="T43" fmla="*/ 12 h 42"/>
                <a:gd name="T44" fmla="*/ 21 w 32"/>
                <a:gd name="T45" fmla="*/ 12 h 42"/>
                <a:gd name="T46" fmla="*/ 17 w 32"/>
                <a:gd name="T47" fmla="*/ 8 h 42"/>
                <a:gd name="T48" fmla="*/ 14 w 32"/>
                <a:gd name="T49" fmla="*/ 5 h 42"/>
                <a:gd name="T50" fmla="*/ 15 w 32"/>
                <a:gd name="T51" fmla="*/ 5 h 42"/>
                <a:gd name="T52" fmla="*/ 15 w 32"/>
                <a:gd name="T53" fmla="*/ 5 h 42"/>
                <a:gd name="T54" fmla="*/ 14 w 32"/>
                <a:gd name="T5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42">
                  <a:moveTo>
                    <a:pt x="14" y="0"/>
                  </a:moveTo>
                  <a:cubicBezTo>
                    <a:pt x="14" y="0"/>
                    <a:pt x="13" y="0"/>
                    <a:pt x="12" y="0"/>
                  </a:cubicBezTo>
                  <a:cubicBezTo>
                    <a:pt x="12" y="0"/>
                    <a:pt x="12" y="0"/>
                    <a:pt x="12" y="0"/>
                  </a:cubicBezTo>
                  <a:cubicBezTo>
                    <a:pt x="12" y="1"/>
                    <a:pt x="12" y="1"/>
                    <a:pt x="12" y="1"/>
                  </a:cubicBezTo>
                  <a:cubicBezTo>
                    <a:pt x="12" y="4"/>
                    <a:pt x="8" y="7"/>
                    <a:pt x="4" y="8"/>
                  </a:cubicBezTo>
                  <a:cubicBezTo>
                    <a:pt x="2" y="8"/>
                    <a:pt x="0" y="9"/>
                    <a:pt x="0" y="9"/>
                  </a:cubicBezTo>
                  <a:cubicBezTo>
                    <a:pt x="0" y="11"/>
                    <a:pt x="1" y="12"/>
                    <a:pt x="2" y="13"/>
                  </a:cubicBezTo>
                  <a:cubicBezTo>
                    <a:pt x="4" y="14"/>
                    <a:pt x="11" y="14"/>
                    <a:pt x="11" y="18"/>
                  </a:cubicBezTo>
                  <a:cubicBezTo>
                    <a:pt x="11" y="17"/>
                    <a:pt x="11" y="17"/>
                    <a:pt x="10" y="17"/>
                  </a:cubicBezTo>
                  <a:cubicBezTo>
                    <a:pt x="9" y="17"/>
                    <a:pt x="8" y="19"/>
                    <a:pt x="7" y="19"/>
                  </a:cubicBezTo>
                  <a:cubicBezTo>
                    <a:pt x="5" y="23"/>
                    <a:pt x="6" y="28"/>
                    <a:pt x="6" y="31"/>
                  </a:cubicBezTo>
                  <a:cubicBezTo>
                    <a:pt x="6" y="33"/>
                    <a:pt x="4" y="41"/>
                    <a:pt x="7" y="41"/>
                  </a:cubicBezTo>
                  <a:cubicBezTo>
                    <a:pt x="8" y="41"/>
                    <a:pt x="8" y="41"/>
                    <a:pt x="8" y="40"/>
                  </a:cubicBezTo>
                  <a:cubicBezTo>
                    <a:pt x="7" y="41"/>
                    <a:pt x="6" y="42"/>
                    <a:pt x="4" y="42"/>
                  </a:cubicBezTo>
                  <a:cubicBezTo>
                    <a:pt x="8" y="42"/>
                    <a:pt x="10" y="42"/>
                    <a:pt x="13" y="40"/>
                  </a:cubicBezTo>
                  <a:cubicBezTo>
                    <a:pt x="15" y="39"/>
                    <a:pt x="15" y="39"/>
                    <a:pt x="17" y="36"/>
                  </a:cubicBezTo>
                  <a:cubicBezTo>
                    <a:pt x="18" y="32"/>
                    <a:pt x="24" y="31"/>
                    <a:pt x="28" y="29"/>
                  </a:cubicBezTo>
                  <a:cubicBezTo>
                    <a:pt x="30" y="27"/>
                    <a:pt x="32" y="28"/>
                    <a:pt x="30" y="25"/>
                  </a:cubicBezTo>
                  <a:cubicBezTo>
                    <a:pt x="29" y="22"/>
                    <a:pt x="28" y="20"/>
                    <a:pt x="26" y="17"/>
                  </a:cubicBezTo>
                  <a:cubicBezTo>
                    <a:pt x="26" y="16"/>
                    <a:pt x="25" y="16"/>
                    <a:pt x="25" y="15"/>
                  </a:cubicBezTo>
                  <a:cubicBezTo>
                    <a:pt x="25" y="15"/>
                    <a:pt x="25" y="15"/>
                    <a:pt x="25" y="15"/>
                  </a:cubicBezTo>
                  <a:cubicBezTo>
                    <a:pt x="24" y="14"/>
                    <a:pt x="23" y="13"/>
                    <a:pt x="21" y="12"/>
                  </a:cubicBezTo>
                  <a:cubicBezTo>
                    <a:pt x="21" y="12"/>
                    <a:pt x="21" y="12"/>
                    <a:pt x="21" y="12"/>
                  </a:cubicBezTo>
                  <a:cubicBezTo>
                    <a:pt x="20" y="10"/>
                    <a:pt x="18" y="9"/>
                    <a:pt x="17" y="8"/>
                  </a:cubicBezTo>
                  <a:cubicBezTo>
                    <a:pt x="16" y="6"/>
                    <a:pt x="15" y="5"/>
                    <a:pt x="14" y="5"/>
                  </a:cubicBezTo>
                  <a:cubicBezTo>
                    <a:pt x="14" y="5"/>
                    <a:pt x="15" y="5"/>
                    <a:pt x="15" y="5"/>
                  </a:cubicBezTo>
                  <a:cubicBezTo>
                    <a:pt x="15" y="5"/>
                    <a:pt x="15" y="5"/>
                    <a:pt x="15" y="5"/>
                  </a:cubicBezTo>
                  <a:cubicBezTo>
                    <a:pt x="17" y="5"/>
                    <a:pt x="16" y="2"/>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 name="Freeform 442">
              <a:extLst>
                <a:ext uri="{FF2B5EF4-FFF2-40B4-BE49-F238E27FC236}">
                  <a16:creationId xmlns:a16="http://schemas.microsoft.com/office/drawing/2014/main" id="{E7F3194E-CCBA-45D6-9340-1739F00790C6}"/>
                </a:ext>
              </a:extLst>
            </p:cNvPr>
            <p:cNvSpPr>
              <a:spLocks/>
            </p:cNvSpPr>
            <p:nvPr/>
          </p:nvSpPr>
          <p:spPr bwMode="auto">
            <a:xfrm>
              <a:off x="4787946" y="6045070"/>
              <a:ext cx="0" cy="6878"/>
            </a:xfrm>
            <a:custGeom>
              <a:avLst/>
              <a:gdLst>
                <a:gd name="T0" fmla="*/ 0 h 2"/>
                <a:gd name="T1" fmla="*/ 0 h 2"/>
                <a:gd name="T2" fmla="*/ 0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0"/>
                    <a:pt x="0" y="0"/>
                    <a:pt x="0" y="0"/>
                  </a:cubicBezTo>
                  <a:cubicBezTo>
                    <a:pt x="0" y="1"/>
                    <a:pt x="0" y="2"/>
                    <a:pt x="0"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 name="Freeform 443">
              <a:extLst>
                <a:ext uri="{FF2B5EF4-FFF2-40B4-BE49-F238E27FC236}">
                  <a16:creationId xmlns:a16="http://schemas.microsoft.com/office/drawing/2014/main" id="{17E4B78F-EAF9-459D-8403-C4F19BC7FF77}"/>
                </a:ext>
              </a:extLst>
            </p:cNvPr>
            <p:cNvSpPr>
              <a:spLocks noEditPoints="1"/>
            </p:cNvSpPr>
            <p:nvPr/>
          </p:nvSpPr>
          <p:spPr bwMode="auto">
            <a:xfrm>
              <a:off x="4759062" y="5873138"/>
              <a:ext cx="314979" cy="250332"/>
            </a:xfrm>
            <a:custGeom>
              <a:avLst/>
              <a:gdLst>
                <a:gd name="T0" fmla="*/ 11 w 97"/>
                <a:gd name="T1" fmla="*/ 57 h 77"/>
                <a:gd name="T2" fmla="*/ 74 w 97"/>
                <a:gd name="T3" fmla="*/ 2 h 77"/>
                <a:gd name="T4" fmla="*/ 74 w 97"/>
                <a:gd name="T5" fmla="*/ 8 h 77"/>
                <a:gd name="T6" fmla="*/ 69 w 97"/>
                <a:gd name="T7" fmla="*/ 16 h 77"/>
                <a:gd name="T8" fmla="*/ 67 w 97"/>
                <a:gd name="T9" fmla="*/ 13 h 77"/>
                <a:gd name="T10" fmla="*/ 64 w 97"/>
                <a:gd name="T11" fmla="*/ 12 h 77"/>
                <a:gd name="T12" fmla="*/ 62 w 97"/>
                <a:gd name="T13" fmla="*/ 9 h 77"/>
                <a:gd name="T14" fmla="*/ 61 w 97"/>
                <a:gd name="T15" fmla="*/ 9 h 77"/>
                <a:gd name="T16" fmla="*/ 58 w 97"/>
                <a:gd name="T17" fmla="*/ 10 h 77"/>
                <a:gd name="T18" fmla="*/ 53 w 97"/>
                <a:gd name="T19" fmla="*/ 6 h 77"/>
                <a:gd name="T20" fmla="*/ 48 w 97"/>
                <a:gd name="T21" fmla="*/ 5 h 77"/>
                <a:gd name="T22" fmla="*/ 47 w 97"/>
                <a:gd name="T23" fmla="*/ 4 h 77"/>
                <a:gd name="T24" fmla="*/ 41 w 97"/>
                <a:gd name="T25" fmla="*/ 4 h 77"/>
                <a:gd name="T26" fmla="*/ 30 w 97"/>
                <a:gd name="T27" fmla="*/ 4 h 77"/>
                <a:gd name="T28" fmla="*/ 21 w 97"/>
                <a:gd name="T29" fmla="*/ 4 h 77"/>
                <a:gd name="T30" fmla="*/ 11 w 97"/>
                <a:gd name="T31" fmla="*/ 8 h 77"/>
                <a:gd name="T32" fmla="*/ 2 w 97"/>
                <a:gd name="T33" fmla="*/ 19 h 77"/>
                <a:gd name="T34" fmla="*/ 3 w 97"/>
                <a:gd name="T35" fmla="*/ 26 h 77"/>
                <a:gd name="T36" fmla="*/ 4 w 97"/>
                <a:gd name="T37" fmla="*/ 34 h 77"/>
                <a:gd name="T38" fmla="*/ 8 w 97"/>
                <a:gd name="T39" fmla="*/ 38 h 77"/>
                <a:gd name="T40" fmla="*/ 9 w 97"/>
                <a:gd name="T41" fmla="*/ 40 h 77"/>
                <a:gd name="T42" fmla="*/ 10 w 97"/>
                <a:gd name="T43" fmla="*/ 51 h 77"/>
                <a:gd name="T44" fmla="*/ 11 w 97"/>
                <a:gd name="T45" fmla="*/ 57 h 77"/>
                <a:gd name="T46" fmla="*/ 14 w 97"/>
                <a:gd name="T47" fmla="*/ 70 h 77"/>
                <a:gd name="T48" fmla="*/ 22 w 97"/>
                <a:gd name="T49" fmla="*/ 64 h 77"/>
                <a:gd name="T50" fmla="*/ 22 w 97"/>
                <a:gd name="T51" fmla="*/ 76 h 77"/>
                <a:gd name="T52" fmla="*/ 36 w 97"/>
                <a:gd name="T53" fmla="*/ 77 h 77"/>
                <a:gd name="T54" fmla="*/ 47 w 97"/>
                <a:gd name="T55" fmla="*/ 72 h 77"/>
                <a:gd name="T56" fmla="*/ 51 w 97"/>
                <a:gd name="T57" fmla="*/ 66 h 77"/>
                <a:gd name="T58" fmla="*/ 57 w 97"/>
                <a:gd name="T59" fmla="*/ 66 h 77"/>
                <a:gd name="T60" fmla="*/ 63 w 97"/>
                <a:gd name="T61" fmla="*/ 65 h 77"/>
                <a:gd name="T62" fmla="*/ 63 w 97"/>
                <a:gd name="T63" fmla="*/ 58 h 77"/>
                <a:gd name="T64" fmla="*/ 67 w 97"/>
                <a:gd name="T65" fmla="*/ 51 h 77"/>
                <a:gd name="T66" fmla="*/ 74 w 97"/>
                <a:gd name="T67" fmla="*/ 51 h 77"/>
                <a:gd name="T68" fmla="*/ 84 w 97"/>
                <a:gd name="T69" fmla="*/ 44 h 77"/>
                <a:gd name="T70" fmla="*/ 89 w 97"/>
                <a:gd name="T71" fmla="*/ 41 h 77"/>
                <a:gd name="T72" fmla="*/ 95 w 97"/>
                <a:gd name="T73" fmla="*/ 40 h 77"/>
                <a:gd name="T74" fmla="*/ 96 w 97"/>
                <a:gd name="T75" fmla="*/ 39 h 77"/>
                <a:gd name="T76" fmla="*/ 96 w 97"/>
                <a:gd name="T77" fmla="*/ 38 h 77"/>
                <a:gd name="T78" fmla="*/ 95 w 97"/>
                <a:gd name="T79" fmla="*/ 27 h 77"/>
                <a:gd name="T80" fmla="*/ 96 w 97"/>
                <a:gd name="T81" fmla="*/ 18 h 77"/>
                <a:gd name="T82" fmla="*/ 94 w 97"/>
                <a:gd name="T83" fmla="*/ 12 h 77"/>
                <a:gd name="T84" fmla="*/ 93 w 97"/>
                <a:gd name="T85" fmla="*/ 3 h 77"/>
                <a:gd name="T86" fmla="*/ 89 w 97"/>
                <a:gd name="T87" fmla="*/ 4 h 77"/>
                <a:gd name="T88" fmla="*/ 84 w 97"/>
                <a:gd name="T89" fmla="*/ 4 h 77"/>
                <a:gd name="T90" fmla="*/ 77 w 97"/>
                <a:gd name="T9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77">
                  <a:moveTo>
                    <a:pt x="11" y="57"/>
                  </a:moveTo>
                  <a:cubicBezTo>
                    <a:pt x="11" y="57"/>
                    <a:pt x="11" y="57"/>
                    <a:pt x="11" y="57"/>
                  </a:cubicBezTo>
                  <a:cubicBezTo>
                    <a:pt x="11" y="57"/>
                    <a:pt x="11" y="57"/>
                    <a:pt x="11" y="57"/>
                  </a:cubicBezTo>
                  <a:moveTo>
                    <a:pt x="77" y="0"/>
                  </a:moveTo>
                  <a:cubicBezTo>
                    <a:pt x="76" y="1"/>
                    <a:pt x="76" y="1"/>
                    <a:pt x="75" y="2"/>
                  </a:cubicBezTo>
                  <a:cubicBezTo>
                    <a:pt x="74" y="2"/>
                    <a:pt x="74" y="2"/>
                    <a:pt x="74" y="2"/>
                  </a:cubicBezTo>
                  <a:cubicBezTo>
                    <a:pt x="74" y="3"/>
                    <a:pt x="73" y="3"/>
                    <a:pt x="73" y="3"/>
                  </a:cubicBezTo>
                  <a:cubicBezTo>
                    <a:pt x="72" y="4"/>
                    <a:pt x="72" y="4"/>
                    <a:pt x="72" y="4"/>
                  </a:cubicBezTo>
                  <a:cubicBezTo>
                    <a:pt x="73" y="5"/>
                    <a:pt x="74" y="7"/>
                    <a:pt x="74" y="8"/>
                  </a:cubicBezTo>
                  <a:cubicBezTo>
                    <a:pt x="74" y="9"/>
                    <a:pt x="73" y="10"/>
                    <a:pt x="73" y="10"/>
                  </a:cubicBezTo>
                  <a:cubicBezTo>
                    <a:pt x="72" y="12"/>
                    <a:pt x="71" y="13"/>
                    <a:pt x="69" y="13"/>
                  </a:cubicBezTo>
                  <a:cubicBezTo>
                    <a:pt x="69" y="16"/>
                    <a:pt x="69" y="16"/>
                    <a:pt x="69" y="16"/>
                  </a:cubicBezTo>
                  <a:cubicBezTo>
                    <a:pt x="68" y="13"/>
                    <a:pt x="68" y="13"/>
                    <a:pt x="68" y="13"/>
                  </a:cubicBezTo>
                  <a:cubicBezTo>
                    <a:pt x="68" y="13"/>
                    <a:pt x="67" y="13"/>
                    <a:pt x="67" y="13"/>
                  </a:cubicBezTo>
                  <a:cubicBezTo>
                    <a:pt x="67" y="13"/>
                    <a:pt x="67" y="13"/>
                    <a:pt x="67" y="13"/>
                  </a:cubicBezTo>
                  <a:cubicBezTo>
                    <a:pt x="66" y="13"/>
                    <a:pt x="66" y="13"/>
                    <a:pt x="66" y="13"/>
                  </a:cubicBezTo>
                  <a:cubicBezTo>
                    <a:pt x="65" y="12"/>
                    <a:pt x="65" y="12"/>
                    <a:pt x="65" y="12"/>
                  </a:cubicBezTo>
                  <a:cubicBezTo>
                    <a:pt x="65" y="12"/>
                    <a:pt x="65" y="12"/>
                    <a:pt x="64" y="12"/>
                  </a:cubicBezTo>
                  <a:cubicBezTo>
                    <a:pt x="64" y="11"/>
                    <a:pt x="64" y="11"/>
                    <a:pt x="63" y="10"/>
                  </a:cubicBezTo>
                  <a:cubicBezTo>
                    <a:pt x="63" y="10"/>
                    <a:pt x="63" y="10"/>
                    <a:pt x="63" y="10"/>
                  </a:cubicBezTo>
                  <a:cubicBezTo>
                    <a:pt x="62" y="9"/>
                    <a:pt x="62" y="9"/>
                    <a:pt x="62" y="9"/>
                  </a:cubicBezTo>
                  <a:cubicBezTo>
                    <a:pt x="62" y="9"/>
                    <a:pt x="62" y="9"/>
                    <a:pt x="62" y="9"/>
                  </a:cubicBezTo>
                  <a:cubicBezTo>
                    <a:pt x="62" y="9"/>
                    <a:pt x="62" y="9"/>
                    <a:pt x="62" y="9"/>
                  </a:cubicBezTo>
                  <a:cubicBezTo>
                    <a:pt x="61" y="9"/>
                    <a:pt x="61" y="9"/>
                    <a:pt x="61" y="9"/>
                  </a:cubicBezTo>
                  <a:cubicBezTo>
                    <a:pt x="60" y="10"/>
                    <a:pt x="60" y="10"/>
                    <a:pt x="60" y="10"/>
                  </a:cubicBezTo>
                  <a:cubicBezTo>
                    <a:pt x="60" y="10"/>
                    <a:pt x="59" y="10"/>
                    <a:pt x="58" y="10"/>
                  </a:cubicBezTo>
                  <a:cubicBezTo>
                    <a:pt x="58" y="10"/>
                    <a:pt x="58" y="10"/>
                    <a:pt x="58" y="10"/>
                  </a:cubicBezTo>
                  <a:cubicBezTo>
                    <a:pt x="57" y="10"/>
                    <a:pt x="57" y="10"/>
                    <a:pt x="57" y="9"/>
                  </a:cubicBezTo>
                  <a:cubicBezTo>
                    <a:pt x="57" y="9"/>
                    <a:pt x="55" y="9"/>
                    <a:pt x="55" y="8"/>
                  </a:cubicBezTo>
                  <a:cubicBezTo>
                    <a:pt x="54" y="8"/>
                    <a:pt x="54" y="7"/>
                    <a:pt x="53" y="6"/>
                  </a:cubicBezTo>
                  <a:cubicBezTo>
                    <a:pt x="53" y="7"/>
                    <a:pt x="52" y="7"/>
                    <a:pt x="51" y="7"/>
                  </a:cubicBezTo>
                  <a:cubicBezTo>
                    <a:pt x="50" y="7"/>
                    <a:pt x="49" y="6"/>
                    <a:pt x="49" y="6"/>
                  </a:cubicBezTo>
                  <a:cubicBezTo>
                    <a:pt x="48" y="5"/>
                    <a:pt x="48" y="5"/>
                    <a:pt x="48" y="5"/>
                  </a:cubicBezTo>
                  <a:cubicBezTo>
                    <a:pt x="47" y="4"/>
                    <a:pt x="47" y="4"/>
                    <a:pt x="47" y="4"/>
                  </a:cubicBezTo>
                  <a:cubicBezTo>
                    <a:pt x="47" y="4"/>
                    <a:pt x="47" y="4"/>
                    <a:pt x="47" y="4"/>
                  </a:cubicBezTo>
                  <a:cubicBezTo>
                    <a:pt x="47" y="4"/>
                    <a:pt x="47" y="4"/>
                    <a:pt x="47" y="4"/>
                  </a:cubicBezTo>
                  <a:cubicBezTo>
                    <a:pt x="47" y="4"/>
                    <a:pt x="46" y="4"/>
                    <a:pt x="46" y="4"/>
                  </a:cubicBezTo>
                  <a:cubicBezTo>
                    <a:pt x="45" y="4"/>
                    <a:pt x="44" y="4"/>
                    <a:pt x="42" y="4"/>
                  </a:cubicBezTo>
                  <a:cubicBezTo>
                    <a:pt x="42" y="4"/>
                    <a:pt x="41" y="4"/>
                    <a:pt x="41" y="4"/>
                  </a:cubicBezTo>
                  <a:cubicBezTo>
                    <a:pt x="39" y="4"/>
                    <a:pt x="37" y="5"/>
                    <a:pt x="35" y="5"/>
                  </a:cubicBezTo>
                  <a:cubicBezTo>
                    <a:pt x="35" y="5"/>
                    <a:pt x="34" y="5"/>
                    <a:pt x="34" y="5"/>
                  </a:cubicBezTo>
                  <a:cubicBezTo>
                    <a:pt x="33" y="5"/>
                    <a:pt x="31" y="5"/>
                    <a:pt x="30" y="4"/>
                  </a:cubicBezTo>
                  <a:cubicBezTo>
                    <a:pt x="29" y="4"/>
                    <a:pt x="29" y="4"/>
                    <a:pt x="29" y="4"/>
                  </a:cubicBezTo>
                  <a:cubicBezTo>
                    <a:pt x="27" y="4"/>
                    <a:pt x="25" y="4"/>
                    <a:pt x="22" y="4"/>
                  </a:cubicBezTo>
                  <a:cubicBezTo>
                    <a:pt x="22" y="4"/>
                    <a:pt x="21" y="4"/>
                    <a:pt x="21" y="4"/>
                  </a:cubicBezTo>
                  <a:cubicBezTo>
                    <a:pt x="20" y="4"/>
                    <a:pt x="19" y="4"/>
                    <a:pt x="19" y="4"/>
                  </a:cubicBezTo>
                  <a:cubicBezTo>
                    <a:pt x="16" y="5"/>
                    <a:pt x="14" y="5"/>
                    <a:pt x="12" y="7"/>
                  </a:cubicBezTo>
                  <a:cubicBezTo>
                    <a:pt x="12" y="7"/>
                    <a:pt x="12" y="7"/>
                    <a:pt x="11" y="8"/>
                  </a:cubicBezTo>
                  <a:cubicBezTo>
                    <a:pt x="11" y="8"/>
                    <a:pt x="10" y="9"/>
                    <a:pt x="10" y="11"/>
                  </a:cubicBezTo>
                  <a:cubicBezTo>
                    <a:pt x="8" y="14"/>
                    <a:pt x="6" y="16"/>
                    <a:pt x="3" y="19"/>
                  </a:cubicBezTo>
                  <a:cubicBezTo>
                    <a:pt x="3" y="19"/>
                    <a:pt x="2" y="19"/>
                    <a:pt x="2" y="19"/>
                  </a:cubicBezTo>
                  <a:cubicBezTo>
                    <a:pt x="1" y="21"/>
                    <a:pt x="1" y="21"/>
                    <a:pt x="1" y="21"/>
                  </a:cubicBezTo>
                  <a:cubicBezTo>
                    <a:pt x="0" y="21"/>
                    <a:pt x="1" y="22"/>
                    <a:pt x="2" y="25"/>
                  </a:cubicBezTo>
                  <a:cubicBezTo>
                    <a:pt x="3" y="26"/>
                    <a:pt x="3" y="26"/>
                    <a:pt x="3" y="26"/>
                  </a:cubicBezTo>
                  <a:cubicBezTo>
                    <a:pt x="4" y="28"/>
                    <a:pt x="4" y="29"/>
                    <a:pt x="4" y="31"/>
                  </a:cubicBezTo>
                  <a:cubicBezTo>
                    <a:pt x="4" y="32"/>
                    <a:pt x="4" y="32"/>
                    <a:pt x="4" y="32"/>
                  </a:cubicBezTo>
                  <a:cubicBezTo>
                    <a:pt x="4" y="33"/>
                    <a:pt x="4" y="34"/>
                    <a:pt x="4" y="34"/>
                  </a:cubicBezTo>
                  <a:cubicBezTo>
                    <a:pt x="5" y="34"/>
                    <a:pt x="5" y="34"/>
                    <a:pt x="5" y="34"/>
                  </a:cubicBezTo>
                  <a:cubicBezTo>
                    <a:pt x="6" y="36"/>
                    <a:pt x="6" y="36"/>
                    <a:pt x="6" y="36"/>
                  </a:cubicBezTo>
                  <a:cubicBezTo>
                    <a:pt x="7" y="36"/>
                    <a:pt x="8" y="37"/>
                    <a:pt x="8" y="38"/>
                  </a:cubicBezTo>
                  <a:cubicBezTo>
                    <a:pt x="9" y="38"/>
                    <a:pt x="9" y="38"/>
                    <a:pt x="9" y="38"/>
                  </a:cubicBezTo>
                  <a:cubicBezTo>
                    <a:pt x="9" y="39"/>
                    <a:pt x="9" y="39"/>
                    <a:pt x="9" y="39"/>
                  </a:cubicBezTo>
                  <a:cubicBezTo>
                    <a:pt x="9" y="40"/>
                    <a:pt x="9" y="40"/>
                    <a:pt x="9" y="40"/>
                  </a:cubicBezTo>
                  <a:cubicBezTo>
                    <a:pt x="9" y="41"/>
                    <a:pt x="9" y="41"/>
                    <a:pt x="9" y="41"/>
                  </a:cubicBezTo>
                  <a:cubicBezTo>
                    <a:pt x="9" y="41"/>
                    <a:pt x="9" y="42"/>
                    <a:pt x="9" y="42"/>
                  </a:cubicBezTo>
                  <a:cubicBezTo>
                    <a:pt x="9" y="45"/>
                    <a:pt x="10" y="48"/>
                    <a:pt x="10" y="51"/>
                  </a:cubicBezTo>
                  <a:cubicBezTo>
                    <a:pt x="11" y="52"/>
                    <a:pt x="11" y="52"/>
                    <a:pt x="11" y="52"/>
                  </a:cubicBezTo>
                  <a:cubicBezTo>
                    <a:pt x="10" y="52"/>
                    <a:pt x="10" y="52"/>
                    <a:pt x="10" y="52"/>
                  </a:cubicBezTo>
                  <a:cubicBezTo>
                    <a:pt x="11" y="54"/>
                    <a:pt x="12" y="55"/>
                    <a:pt x="11" y="57"/>
                  </a:cubicBezTo>
                  <a:cubicBezTo>
                    <a:pt x="11" y="56"/>
                    <a:pt x="12" y="56"/>
                    <a:pt x="12" y="56"/>
                  </a:cubicBezTo>
                  <a:cubicBezTo>
                    <a:pt x="14" y="56"/>
                    <a:pt x="15" y="61"/>
                    <a:pt x="14" y="62"/>
                  </a:cubicBezTo>
                  <a:cubicBezTo>
                    <a:pt x="11" y="64"/>
                    <a:pt x="14" y="67"/>
                    <a:pt x="14" y="70"/>
                  </a:cubicBezTo>
                  <a:cubicBezTo>
                    <a:pt x="14" y="70"/>
                    <a:pt x="15" y="70"/>
                    <a:pt x="15" y="70"/>
                  </a:cubicBezTo>
                  <a:cubicBezTo>
                    <a:pt x="16" y="70"/>
                    <a:pt x="19" y="69"/>
                    <a:pt x="19" y="69"/>
                  </a:cubicBezTo>
                  <a:cubicBezTo>
                    <a:pt x="20" y="68"/>
                    <a:pt x="21" y="65"/>
                    <a:pt x="22" y="64"/>
                  </a:cubicBezTo>
                  <a:cubicBezTo>
                    <a:pt x="22" y="67"/>
                    <a:pt x="23" y="69"/>
                    <a:pt x="24" y="72"/>
                  </a:cubicBezTo>
                  <a:cubicBezTo>
                    <a:pt x="24" y="73"/>
                    <a:pt x="23" y="73"/>
                    <a:pt x="22" y="73"/>
                  </a:cubicBezTo>
                  <a:cubicBezTo>
                    <a:pt x="21" y="73"/>
                    <a:pt x="22" y="75"/>
                    <a:pt x="22" y="76"/>
                  </a:cubicBezTo>
                  <a:cubicBezTo>
                    <a:pt x="24" y="75"/>
                    <a:pt x="26" y="75"/>
                    <a:pt x="28" y="75"/>
                  </a:cubicBezTo>
                  <a:cubicBezTo>
                    <a:pt x="31" y="75"/>
                    <a:pt x="34" y="76"/>
                    <a:pt x="37" y="77"/>
                  </a:cubicBezTo>
                  <a:cubicBezTo>
                    <a:pt x="36" y="77"/>
                    <a:pt x="36" y="77"/>
                    <a:pt x="36" y="77"/>
                  </a:cubicBezTo>
                  <a:cubicBezTo>
                    <a:pt x="37" y="76"/>
                    <a:pt x="37" y="76"/>
                    <a:pt x="37" y="76"/>
                  </a:cubicBezTo>
                  <a:cubicBezTo>
                    <a:pt x="39" y="76"/>
                    <a:pt x="41" y="75"/>
                    <a:pt x="43" y="74"/>
                  </a:cubicBezTo>
                  <a:cubicBezTo>
                    <a:pt x="45" y="74"/>
                    <a:pt x="47" y="72"/>
                    <a:pt x="47" y="72"/>
                  </a:cubicBezTo>
                  <a:cubicBezTo>
                    <a:pt x="47" y="70"/>
                    <a:pt x="47" y="68"/>
                    <a:pt x="49" y="67"/>
                  </a:cubicBezTo>
                  <a:cubicBezTo>
                    <a:pt x="49" y="67"/>
                    <a:pt x="49" y="67"/>
                    <a:pt x="50" y="66"/>
                  </a:cubicBezTo>
                  <a:cubicBezTo>
                    <a:pt x="50" y="66"/>
                    <a:pt x="51" y="66"/>
                    <a:pt x="51" y="66"/>
                  </a:cubicBezTo>
                  <a:cubicBezTo>
                    <a:pt x="51" y="66"/>
                    <a:pt x="52" y="66"/>
                    <a:pt x="52" y="67"/>
                  </a:cubicBezTo>
                  <a:cubicBezTo>
                    <a:pt x="52" y="67"/>
                    <a:pt x="52" y="67"/>
                    <a:pt x="53" y="67"/>
                  </a:cubicBezTo>
                  <a:cubicBezTo>
                    <a:pt x="54" y="67"/>
                    <a:pt x="56" y="66"/>
                    <a:pt x="57" y="66"/>
                  </a:cubicBezTo>
                  <a:cubicBezTo>
                    <a:pt x="57" y="66"/>
                    <a:pt x="57" y="66"/>
                    <a:pt x="57" y="66"/>
                  </a:cubicBezTo>
                  <a:cubicBezTo>
                    <a:pt x="59" y="66"/>
                    <a:pt x="63" y="65"/>
                    <a:pt x="63" y="65"/>
                  </a:cubicBezTo>
                  <a:cubicBezTo>
                    <a:pt x="63" y="65"/>
                    <a:pt x="63" y="65"/>
                    <a:pt x="63" y="65"/>
                  </a:cubicBezTo>
                  <a:cubicBezTo>
                    <a:pt x="64" y="65"/>
                    <a:pt x="65" y="65"/>
                    <a:pt x="66" y="66"/>
                  </a:cubicBezTo>
                  <a:cubicBezTo>
                    <a:pt x="66" y="66"/>
                    <a:pt x="66" y="65"/>
                    <a:pt x="65" y="65"/>
                  </a:cubicBezTo>
                  <a:cubicBezTo>
                    <a:pt x="63" y="63"/>
                    <a:pt x="63" y="60"/>
                    <a:pt x="63" y="58"/>
                  </a:cubicBezTo>
                  <a:cubicBezTo>
                    <a:pt x="63" y="58"/>
                    <a:pt x="63" y="58"/>
                    <a:pt x="63" y="58"/>
                  </a:cubicBezTo>
                  <a:cubicBezTo>
                    <a:pt x="63" y="57"/>
                    <a:pt x="63" y="57"/>
                    <a:pt x="62" y="56"/>
                  </a:cubicBezTo>
                  <a:cubicBezTo>
                    <a:pt x="62" y="54"/>
                    <a:pt x="65" y="52"/>
                    <a:pt x="67" y="51"/>
                  </a:cubicBezTo>
                  <a:cubicBezTo>
                    <a:pt x="67" y="50"/>
                    <a:pt x="68" y="50"/>
                    <a:pt x="69" y="50"/>
                  </a:cubicBezTo>
                  <a:cubicBezTo>
                    <a:pt x="69" y="50"/>
                    <a:pt x="69" y="50"/>
                    <a:pt x="69" y="50"/>
                  </a:cubicBezTo>
                  <a:cubicBezTo>
                    <a:pt x="74" y="51"/>
                    <a:pt x="74" y="51"/>
                    <a:pt x="74" y="51"/>
                  </a:cubicBezTo>
                  <a:cubicBezTo>
                    <a:pt x="74" y="49"/>
                    <a:pt x="74" y="47"/>
                    <a:pt x="76" y="46"/>
                  </a:cubicBezTo>
                  <a:cubicBezTo>
                    <a:pt x="79" y="46"/>
                    <a:pt x="81" y="45"/>
                    <a:pt x="84" y="44"/>
                  </a:cubicBezTo>
                  <a:cubicBezTo>
                    <a:pt x="84" y="44"/>
                    <a:pt x="84" y="44"/>
                    <a:pt x="84" y="44"/>
                  </a:cubicBezTo>
                  <a:cubicBezTo>
                    <a:pt x="86" y="44"/>
                    <a:pt x="86" y="44"/>
                    <a:pt x="87" y="44"/>
                  </a:cubicBezTo>
                  <a:cubicBezTo>
                    <a:pt x="87" y="43"/>
                    <a:pt x="87" y="43"/>
                    <a:pt x="87" y="43"/>
                  </a:cubicBezTo>
                  <a:cubicBezTo>
                    <a:pt x="88" y="42"/>
                    <a:pt x="88" y="41"/>
                    <a:pt x="89" y="41"/>
                  </a:cubicBezTo>
                  <a:cubicBezTo>
                    <a:pt x="90" y="40"/>
                    <a:pt x="90" y="40"/>
                    <a:pt x="90" y="40"/>
                  </a:cubicBezTo>
                  <a:cubicBezTo>
                    <a:pt x="91" y="40"/>
                    <a:pt x="92" y="40"/>
                    <a:pt x="92" y="40"/>
                  </a:cubicBezTo>
                  <a:cubicBezTo>
                    <a:pt x="93" y="40"/>
                    <a:pt x="94" y="40"/>
                    <a:pt x="95" y="40"/>
                  </a:cubicBezTo>
                  <a:cubicBezTo>
                    <a:pt x="95" y="41"/>
                    <a:pt x="95" y="41"/>
                    <a:pt x="95" y="41"/>
                  </a:cubicBezTo>
                  <a:cubicBezTo>
                    <a:pt x="95" y="41"/>
                    <a:pt x="95" y="41"/>
                    <a:pt x="95" y="41"/>
                  </a:cubicBezTo>
                  <a:cubicBezTo>
                    <a:pt x="95" y="41"/>
                    <a:pt x="96" y="41"/>
                    <a:pt x="96" y="39"/>
                  </a:cubicBezTo>
                  <a:cubicBezTo>
                    <a:pt x="96" y="39"/>
                    <a:pt x="96" y="39"/>
                    <a:pt x="96" y="39"/>
                  </a:cubicBezTo>
                  <a:cubicBezTo>
                    <a:pt x="96" y="38"/>
                    <a:pt x="96" y="38"/>
                    <a:pt x="96" y="38"/>
                  </a:cubicBezTo>
                  <a:cubicBezTo>
                    <a:pt x="96" y="38"/>
                    <a:pt x="96" y="38"/>
                    <a:pt x="96" y="38"/>
                  </a:cubicBezTo>
                  <a:cubicBezTo>
                    <a:pt x="96" y="36"/>
                    <a:pt x="96" y="35"/>
                    <a:pt x="95" y="34"/>
                  </a:cubicBezTo>
                  <a:cubicBezTo>
                    <a:pt x="95" y="31"/>
                    <a:pt x="95" y="30"/>
                    <a:pt x="95" y="28"/>
                  </a:cubicBezTo>
                  <a:cubicBezTo>
                    <a:pt x="95" y="27"/>
                    <a:pt x="95" y="27"/>
                    <a:pt x="95" y="27"/>
                  </a:cubicBezTo>
                  <a:cubicBezTo>
                    <a:pt x="96" y="25"/>
                    <a:pt x="96" y="23"/>
                    <a:pt x="97" y="22"/>
                  </a:cubicBezTo>
                  <a:cubicBezTo>
                    <a:pt x="97" y="20"/>
                    <a:pt x="97" y="20"/>
                    <a:pt x="97" y="20"/>
                  </a:cubicBezTo>
                  <a:cubicBezTo>
                    <a:pt x="97" y="20"/>
                    <a:pt x="96" y="18"/>
                    <a:pt x="96" y="18"/>
                  </a:cubicBezTo>
                  <a:cubicBezTo>
                    <a:pt x="95" y="17"/>
                    <a:pt x="95" y="17"/>
                    <a:pt x="95" y="16"/>
                  </a:cubicBezTo>
                  <a:cubicBezTo>
                    <a:pt x="94" y="15"/>
                    <a:pt x="94" y="14"/>
                    <a:pt x="94" y="12"/>
                  </a:cubicBezTo>
                  <a:cubicBezTo>
                    <a:pt x="94" y="12"/>
                    <a:pt x="94" y="12"/>
                    <a:pt x="94" y="12"/>
                  </a:cubicBezTo>
                  <a:cubicBezTo>
                    <a:pt x="94" y="11"/>
                    <a:pt x="94" y="11"/>
                    <a:pt x="94" y="11"/>
                  </a:cubicBezTo>
                  <a:cubicBezTo>
                    <a:pt x="92" y="9"/>
                    <a:pt x="91" y="8"/>
                    <a:pt x="92" y="6"/>
                  </a:cubicBezTo>
                  <a:cubicBezTo>
                    <a:pt x="93" y="3"/>
                    <a:pt x="93" y="3"/>
                    <a:pt x="93" y="3"/>
                  </a:cubicBezTo>
                  <a:cubicBezTo>
                    <a:pt x="93" y="3"/>
                    <a:pt x="93" y="2"/>
                    <a:pt x="93" y="1"/>
                  </a:cubicBezTo>
                  <a:cubicBezTo>
                    <a:pt x="93" y="1"/>
                    <a:pt x="92" y="2"/>
                    <a:pt x="92" y="2"/>
                  </a:cubicBezTo>
                  <a:cubicBezTo>
                    <a:pt x="91" y="3"/>
                    <a:pt x="90" y="3"/>
                    <a:pt x="89" y="4"/>
                  </a:cubicBezTo>
                  <a:cubicBezTo>
                    <a:pt x="89" y="4"/>
                    <a:pt x="89" y="4"/>
                    <a:pt x="89" y="4"/>
                  </a:cubicBezTo>
                  <a:cubicBezTo>
                    <a:pt x="88" y="4"/>
                    <a:pt x="87" y="5"/>
                    <a:pt x="87" y="5"/>
                  </a:cubicBezTo>
                  <a:cubicBezTo>
                    <a:pt x="86" y="5"/>
                    <a:pt x="85" y="4"/>
                    <a:pt x="84" y="4"/>
                  </a:cubicBezTo>
                  <a:cubicBezTo>
                    <a:pt x="79" y="2"/>
                    <a:pt x="79" y="2"/>
                    <a:pt x="79" y="2"/>
                  </a:cubicBezTo>
                  <a:cubicBezTo>
                    <a:pt x="78" y="2"/>
                    <a:pt x="78" y="1"/>
                    <a:pt x="78" y="1"/>
                  </a:cubicBezTo>
                  <a:cubicBezTo>
                    <a:pt x="77" y="0"/>
                    <a:pt x="77" y="0"/>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 name="Freeform 444">
              <a:extLst>
                <a:ext uri="{FF2B5EF4-FFF2-40B4-BE49-F238E27FC236}">
                  <a16:creationId xmlns:a16="http://schemas.microsoft.com/office/drawing/2014/main" id="{5F2CDC63-24E9-435D-9014-353731E31473}"/>
                </a:ext>
              </a:extLst>
            </p:cNvPr>
            <p:cNvSpPr>
              <a:spLocks/>
            </p:cNvSpPr>
            <p:nvPr/>
          </p:nvSpPr>
          <p:spPr bwMode="auto">
            <a:xfrm>
              <a:off x="2717892" y="3928250"/>
              <a:ext cx="658841" cy="279217"/>
            </a:xfrm>
            <a:custGeom>
              <a:avLst/>
              <a:gdLst>
                <a:gd name="T0" fmla="*/ 83 w 203"/>
                <a:gd name="T1" fmla="*/ 2 h 86"/>
                <a:gd name="T2" fmla="*/ 77 w 203"/>
                <a:gd name="T3" fmla="*/ 18 h 86"/>
                <a:gd name="T4" fmla="*/ 52 w 203"/>
                <a:gd name="T5" fmla="*/ 10 h 86"/>
                <a:gd name="T6" fmla="*/ 38 w 203"/>
                <a:gd name="T7" fmla="*/ 10 h 86"/>
                <a:gd name="T8" fmla="*/ 34 w 203"/>
                <a:gd name="T9" fmla="*/ 12 h 86"/>
                <a:gd name="T10" fmla="*/ 31 w 203"/>
                <a:gd name="T11" fmla="*/ 17 h 86"/>
                <a:gd name="T12" fmla="*/ 33 w 203"/>
                <a:gd name="T13" fmla="*/ 24 h 86"/>
                <a:gd name="T14" fmla="*/ 20 w 203"/>
                <a:gd name="T15" fmla="*/ 36 h 86"/>
                <a:gd name="T16" fmla="*/ 28 w 203"/>
                <a:gd name="T17" fmla="*/ 40 h 86"/>
                <a:gd name="T18" fmla="*/ 39 w 203"/>
                <a:gd name="T19" fmla="*/ 34 h 86"/>
                <a:gd name="T20" fmla="*/ 51 w 203"/>
                <a:gd name="T21" fmla="*/ 41 h 86"/>
                <a:gd name="T22" fmla="*/ 56 w 203"/>
                <a:gd name="T23" fmla="*/ 45 h 86"/>
                <a:gd name="T24" fmla="*/ 71 w 203"/>
                <a:gd name="T25" fmla="*/ 49 h 86"/>
                <a:gd name="T26" fmla="*/ 69 w 203"/>
                <a:gd name="T27" fmla="*/ 56 h 86"/>
                <a:gd name="T28" fmla="*/ 65 w 203"/>
                <a:gd name="T29" fmla="*/ 58 h 86"/>
                <a:gd name="T30" fmla="*/ 59 w 203"/>
                <a:gd name="T31" fmla="*/ 61 h 86"/>
                <a:gd name="T32" fmla="*/ 52 w 203"/>
                <a:gd name="T33" fmla="*/ 64 h 86"/>
                <a:gd name="T34" fmla="*/ 38 w 203"/>
                <a:gd name="T35" fmla="*/ 67 h 86"/>
                <a:gd name="T36" fmla="*/ 35 w 203"/>
                <a:gd name="T37" fmla="*/ 66 h 86"/>
                <a:gd name="T38" fmla="*/ 30 w 203"/>
                <a:gd name="T39" fmla="*/ 67 h 86"/>
                <a:gd name="T40" fmla="*/ 25 w 203"/>
                <a:gd name="T41" fmla="*/ 71 h 86"/>
                <a:gd name="T42" fmla="*/ 22 w 203"/>
                <a:gd name="T43" fmla="*/ 73 h 86"/>
                <a:gd name="T44" fmla="*/ 19 w 203"/>
                <a:gd name="T45" fmla="*/ 74 h 86"/>
                <a:gd name="T46" fmla="*/ 5 w 203"/>
                <a:gd name="T47" fmla="*/ 69 h 86"/>
                <a:gd name="T48" fmla="*/ 1 w 203"/>
                <a:gd name="T49" fmla="*/ 73 h 86"/>
                <a:gd name="T50" fmla="*/ 29 w 203"/>
                <a:gd name="T51" fmla="*/ 81 h 86"/>
                <a:gd name="T52" fmla="*/ 38 w 203"/>
                <a:gd name="T53" fmla="*/ 77 h 86"/>
                <a:gd name="T54" fmla="*/ 47 w 203"/>
                <a:gd name="T55" fmla="*/ 84 h 86"/>
                <a:gd name="T56" fmla="*/ 64 w 203"/>
                <a:gd name="T57" fmla="*/ 82 h 86"/>
                <a:gd name="T58" fmla="*/ 78 w 203"/>
                <a:gd name="T59" fmla="*/ 80 h 86"/>
                <a:gd name="T60" fmla="*/ 83 w 203"/>
                <a:gd name="T61" fmla="*/ 78 h 86"/>
                <a:gd name="T62" fmla="*/ 84 w 203"/>
                <a:gd name="T63" fmla="*/ 72 h 86"/>
                <a:gd name="T64" fmla="*/ 101 w 203"/>
                <a:gd name="T65" fmla="*/ 62 h 86"/>
                <a:gd name="T66" fmla="*/ 103 w 203"/>
                <a:gd name="T67" fmla="*/ 57 h 86"/>
                <a:gd name="T68" fmla="*/ 112 w 203"/>
                <a:gd name="T69" fmla="*/ 56 h 86"/>
                <a:gd name="T70" fmla="*/ 117 w 203"/>
                <a:gd name="T71" fmla="*/ 54 h 86"/>
                <a:gd name="T72" fmla="*/ 121 w 203"/>
                <a:gd name="T73" fmla="*/ 61 h 86"/>
                <a:gd name="T74" fmla="*/ 126 w 203"/>
                <a:gd name="T75" fmla="*/ 60 h 86"/>
                <a:gd name="T76" fmla="*/ 132 w 203"/>
                <a:gd name="T77" fmla="*/ 59 h 86"/>
                <a:gd name="T78" fmla="*/ 135 w 203"/>
                <a:gd name="T79" fmla="*/ 52 h 86"/>
                <a:gd name="T80" fmla="*/ 154 w 203"/>
                <a:gd name="T81" fmla="*/ 43 h 86"/>
                <a:gd name="T82" fmla="*/ 168 w 203"/>
                <a:gd name="T83" fmla="*/ 40 h 86"/>
                <a:gd name="T84" fmla="*/ 176 w 203"/>
                <a:gd name="T85" fmla="*/ 33 h 86"/>
                <a:gd name="T86" fmla="*/ 202 w 203"/>
                <a:gd name="T87" fmla="*/ 23 h 86"/>
                <a:gd name="T88" fmla="*/ 202 w 203"/>
                <a:gd name="T89" fmla="*/ 21 h 86"/>
                <a:gd name="T90" fmla="*/ 194 w 203"/>
                <a:gd name="T91" fmla="*/ 17 h 86"/>
                <a:gd name="T92" fmla="*/ 184 w 203"/>
                <a:gd name="T93" fmla="*/ 9 h 86"/>
                <a:gd name="T94" fmla="*/ 173 w 203"/>
                <a:gd name="T95" fmla="*/ 8 h 86"/>
                <a:gd name="T96" fmla="*/ 166 w 203"/>
                <a:gd name="T97" fmla="*/ 7 h 86"/>
                <a:gd name="T98" fmla="*/ 152 w 203"/>
                <a:gd name="T99" fmla="*/ 7 h 86"/>
                <a:gd name="T100" fmla="*/ 132 w 203"/>
                <a:gd name="T101" fmla="*/ 6 h 86"/>
                <a:gd name="T102" fmla="*/ 113 w 203"/>
                <a:gd name="T103" fmla="*/ 8 h 86"/>
                <a:gd name="T104" fmla="*/ 104 w 203"/>
                <a:gd name="T105" fmla="*/ 6 h 86"/>
                <a:gd name="T106" fmla="*/ 95 w 203"/>
                <a:gd name="T107" fmla="*/ 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3" h="86">
                  <a:moveTo>
                    <a:pt x="89" y="0"/>
                  </a:moveTo>
                  <a:cubicBezTo>
                    <a:pt x="87" y="0"/>
                    <a:pt x="86" y="1"/>
                    <a:pt x="84" y="2"/>
                  </a:cubicBezTo>
                  <a:cubicBezTo>
                    <a:pt x="84" y="2"/>
                    <a:pt x="84" y="2"/>
                    <a:pt x="84" y="2"/>
                  </a:cubicBezTo>
                  <a:cubicBezTo>
                    <a:pt x="83" y="2"/>
                    <a:pt x="83" y="2"/>
                    <a:pt x="83" y="2"/>
                  </a:cubicBezTo>
                  <a:cubicBezTo>
                    <a:pt x="83" y="2"/>
                    <a:pt x="83" y="2"/>
                    <a:pt x="83" y="2"/>
                  </a:cubicBezTo>
                  <a:cubicBezTo>
                    <a:pt x="79" y="4"/>
                    <a:pt x="78" y="8"/>
                    <a:pt x="79" y="12"/>
                  </a:cubicBezTo>
                  <a:cubicBezTo>
                    <a:pt x="79" y="12"/>
                    <a:pt x="79" y="12"/>
                    <a:pt x="79" y="12"/>
                  </a:cubicBezTo>
                  <a:cubicBezTo>
                    <a:pt x="79" y="13"/>
                    <a:pt x="79" y="14"/>
                    <a:pt x="80" y="14"/>
                  </a:cubicBezTo>
                  <a:cubicBezTo>
                    <a:pt x="83" y="20"/>
                    <a:pt x="83" y="20"/>
                    <a:pt x="83" y="20"/>
                  </a:cubicBezTo>
                  <a:cubicBezTo>
                    <a:pt x="77" y="18"/>
                    <a:pt x="77" y="18"/>
                    <a:pt x="77" y="18"/>
                  </a:cubicBezTo>
                  <a:cubicBezTo>
                    <a:pt x="74" y="17"/>
                    <a:pt x="72" y="16"/>
                    <a:pt x="69" y="15"/>
                  </a:cubicBezTo>
                  <a:cubicBezTo>
                    <a:pt x="64" y="14"/>
                    <a:pt x="60" y="12"/>
                    <a:pt x="56" y="11"/>
                  </a:cubicBezTo>
                  <a:cubicBezTo>
                    <a:pt x="55" y="11"/>
                    <a:pt x="54" y="11"/>
                    <a:pt x="53" y="11"/>
                  </a:cubicBezTo>
                  <a:cubicBezTo>
                    <a:pt x="53" y="10"/>
                    <a:pt x="53" y="10"/>
                    <a:pt x="53" y="10"/>
                  </a:cubicBezTo>
                  <a:cubicBezTo>
                    <a:pt x="52" y="10"/>
                    <a:pt x="52" y="10"/>
                    <a:pt x="52" y="10"/>
                  </a:cubicBezTo>
                  <a:cubicBezTo>
                    <a:pt x="52" y="10"/>
                    <a:pt x="51" y="10"/>
                    <a:pt x="51" y="10"/>
                  </a:cubicBezTo>
                  <a:cubicBezTo>
                    <a:pt x="41" y="10"/>
                    <a:pt x="41" y="10"/>
                    <a:pt x="41" y="10"/>
                  </a:cubicBezTo>
                  <a:cubicBezTo>
                    <a:pt x="41" y="10"/>
                    <a:pt x="41" y="10"/>
                    <a:pt x="41" y="10"/>
                  </a:cubicBezTo>
                  <a:cubicBezTo>
                    <a:pt x="41" y="10"/>
                    <a:pt x="40" y="10"/>
                    <a:pt x="40" y="10"/>
                  </a:cubicBezTo>
                  <a:cubicBezTo>
                    <a:pt x="39" y="10"/>
                    <a:pt x="39" y="10"/>
                    <a:pt x="38" y="10"/>
                  </a:cubicBezTo>
                  <a:cubicBezTo>
                    <a:pt x="38" y="10"/>
                    <a:pt x="37" y="10"/>
                    <a:pt x="37" y="10"/>
                  </a:cubicBezTo>
                  <a:cubicBezTo>
                    <a:pt x="37" y="10"/>
                    <a:pt x="37" y="10"/>
                    <a:pt x="37" y="10"/>
                  </a:cubicBezTo>
                  <a:cubicBezTo>
                    <a:pt x="37" y="10"/>
                    <a:pt x="37" y="10"/>
                    <a:pt x="37" y="10"/>
                  </a:cubicBezTo>
                  <a:cubicBezTo>
                    <a:pt x="36" y="11"/>
                    <a:pt x="36" y="12"/>
                    <a:pt x="35" y="13"/>
                  </a:cubicBezTo>
                  <a:cubicBezTo>
                    <a:pt x="34" y="12"/>
                    <a:pt x="34" y="12"/>
                    <a:pt x="34" y="12"/>
                  </a:cubicBezTo>
                  <a:cubicBezTo>
                    <a:pt x="35" y="13"/>
                    <a:pt x="35" y="13"/>
                    <a:pt x="35" y="13"/>
                  </a:cubicBezTo>
                  <a:cubicBezTo>
                    <a:pt x="35" y="13"/>
                    <a:pt x="34" y="14"/>
                    <a:pt x="34" y="14"/>
                  </a:cubicBezTo>
                  <a:cubicBezTo>
                    <a:pt x="33" y="15"/>
                    <a:pt x="33" y="15"/>
                    <a:pt x="33" y="15"/>
                  </a:cubicBezTo>
                  <a:cubicBezTo>
                    <a:pt x="32" y="16"/>
                    <a:pt x="31" y="17"/>
                    <a:pt x="31" y="17"/>
                  </a:cubicBezTo>
                  <a:cubicBezTo>
                    <a:pt x="31" y="17"/>
                    <a:pt x="31" y="17"/>
                    <a:pt x="31" y="17"/>
                  </a:cubicBezTo>
                  <a:cubicBezTo>
                    <a:pt x="31" y="17"/>
                    <a:pt x="31" y="17"/>
                    <a:pt x="31" y="17"/>
                  </a:cubicBezTo>
                  <a:cubicBezTo>
                    <a:pt x="31" y="17"/>
                    <a:pt x="32" y="18"/>
                    <a:pt x="34" y="18"/>
                  </a:cubicBezTo>
                  <a:cubicBezTo>
                    <a:pt x="34" y="18"/>
                    <a:pt x="34" y="18"/>
                    <a:pt x="35" y="18"/>
                  </a:cubicBezTo>
                  <a:cubicBezTo>
                    <a:pt x="41" y="19"/>
                    <a:pt x="41" y="19"/>
                    <a:pt x="41" y="19"/>
                  </a:cubicBezTo>
                  <a:cubicBezTo>
                    <a:pt x="33" y="24"/>
                    <a:pt x="33" y="24"/>
                    <a:pt x="33" y="24"/>
                  </a:cubicBezTo>
                  <a:cubicBezTo>
                    <a:pt x="30" y="26"/>
                    <a:pt x="22" y="31"/>
                    <a:pt x="18" y="34"/>
                  </a:cubicBezTo>
                  <a:cubicBezTo>
                    <a:pt x="18" y="34"/>
                    <a:pt x="18" y="34"/>
                    <a:pt x="18" y="34"/>
                  </a:cubicBezTo>
                  <a:cubicBezTo>
                    <a:pt x="18" y="34"/>
                    <a:pt x="18" y="35"/>
                    <a:pt x="19" y="35"/>
                  </a:cubicBezTo>
                  <a:cubicBezTo>
                    <a:pt x="19" y="35"/>
                    <a:pt x="19" y="35"/>
                    <a:pt x="19" y="35"/>
                  </a:cubicBezTo>
                  <a:cubicBezTo>
                    <a:pt x="20" y="36"/>
                    <a:pt x="20" y="36"/>
                    <a:pt x="20" y="36"/>
                  </a:cubicBezTo>
                  <a:cubicBezTo>
                    <a:pt x="25" y="34"/>
                    <a:pt x="25" y="34"/>
                    <a:pt x="25" y="34"/>
                  </a:cubicBezTo>
                  <a:cubicBezTo>
                    <a:pt x="26" y="36"/>
                    <a:pt x="26" y="36"/>
                    <a:pt x="26" y="36"/>
                  </a:cubicBezTo>
                  <a:cubicBezTo>
                    <a:pt x="26" y="37"/>
                    <a:pt x="26" y="38"/>
                    <a:pt x="26" y="38"/>
                  </a:cubicBezTo>
                  <a:cubicBezTo>
                    <a:pt x="27" y="39"/>
                    <a:pt x="27" y="40"/>
                    <a:pt x="27" y="40"/>
                  </a:cubicBezTo>
                  <a:cubicBezTo>
                    <a:pt x="28" y="40"/>
                    <a:pt x="28" y="40"/>
                    <a:pt x="28" y="40"/>
                  </a:cubicBezTo>
                  <a:cubicBezTo>
                    <a:pt x="30" y="42"/>
                    <a:pt x="33" y="42"/>
                    <a:pt x="35" y="42"/>
                  </a:cubicBezTo>
                  <a:cubicBezTo>
                    <a:pt x="35" y="41"/>
                    <a:pt x="35" y="40"/>
                    <a:pt x="36" y="40"/>
                  </a:cubicBezTo>
                  <a:cubicBezTo>
                    <a:pt x="36" y="37"/>
                    <a:pt x="36" y="37"/>
                    <a:pt x="36" y="37"/>
                  </a:cubicBezTo>
                  <a:cubicBezTo>
                    <a:pt x="39" y="38"/>
                    <a:pt x="39" y="38"/>
                    <a:pt x="39" y="38"/>
                  </a:cubicBezTo>
                  <a:cubicBezTo>
                    <a:pt x="39" y="34"/>
                    <a:pt x="39" y="34"/>
                    <a:pt x="39" y="34"/>
                  </a:cubicBezTo>
                  <a:cubicBezTo>
                    <a:pt x="42" y="35"/>
                    <a:pt x="42" y="35"/>
                    <a:pt x="42" y="35"/>
                  </a:cubicBezTo>
                  <a:cubicBezTo>
                    <a:pt x="46" y="36"/>
                    <a:pt x="47" y="38"/>
                    <a:pt x="49" y="41"/>
                  </a:cubicBezTo>
                  <a:cubicBezTo>
                    <a:pt x="49" y="41"/>
                    <a:pt x="49" y="41"/>
                    <a:pt x="49" y="41"/>
                  </a:cubicBezTo>
                  <a:cubicBezTo>
                    <a:pt x="49" y="41"/>
                    <a:pt x="49" y="41"/>
                    <a:pt x="49" y="41"/>
                  </a:cubicBezTo>
                  <a:cubicBezTo>
                    <a:pt x="50" y="41"/>
                    <a:pt x="50" y="41"/>
                    <a:pt x="51" y="41"/>
                  </a:cubicBezTo>
                  <a:cubicBezTo>
                    <a:pt x="52" y="41"/>
                    <a:pt x="52" y="41"/>
                    <a:pt x="53" y="42"/>
                  </a:cubicBezTo>
                  <a:cubicBezTo>
                    <a:pt x="54" y="42"/>
                    <a:pt x="54" y="44"/>
                    <a:pt x="54" y="45"/>
                  </a:cubicBezTo>
                  <a:cubicBezTo>
                    <a:pt x="55" y="45"/>
                    <a:pt x="55" y="45"/>
                    <a:pt x="55" y="45"/>
                  </a:cubicBezTo>
                  <a:cubicBezTo>
                    <a:pt x="56" y="41"/>
                    <a:pt x="56" y="41"/>
                    <a:pt x="56" y="41"/>
                  </a:cubicBezTo>
                  <a:cubicBezTo>
                    <a:pt x="56" y="45"/>
                    <a:pt x="56" y="45"/>
                    <a:pt x="56" y="45"/>
                  </a:cubicBezTo>
                  <a:cubicBezTo>
                    <a:pt x="58" y="46"/>
                    <a:pt x="58" y="46"/>
                    <a:pt x="58" y="46"/>
                  </a:cubicBezTo>
                  <a:cubicBezTo>
                    <a:pt x="59" y="46"/>
                    <a:pt x="60" y="46"/>
                    <a:pt x="60" y="47"/>
                  </a:cubicBezTo>
                  <a:cubicBezTo>
                    <a:pt x="61" y="47"/>
                    <a:pt x="62" y="48"/>
                    <a:pt x="62" y="48"/>
                  </a:cubicBezTo>
                  <a:cubicBezTo>
                    <a:pt x="63" y="49"/>
                    <a:pt x="66" y="49"/>
                    <a:pt x="67" y="49"/>
                  </a:cubicBezTo>
                  <a:cubicBezTo>
                    <a:pt x="69" y="49"/>
                    <a:pt x="70" y="49"/>
                    <a:pt x="71" y="49"/>
                  </a:cubicBezTo>
                  <a:cubicBezTo>
                    <a:pt x="73" y="49"/>
                    <a:pt x="73" y="49"/>
                    <a:pt x="73" y="49"/>
                  </a:cubicBezTo>
                  <a:cubicBezTo>
                    <a:pt x="73" y="52"/>
                    <a:pt x="73" y="52"/>
                    <a:pt x="73" y="52"/>
                  </a:cubicBezTo>
                  <a:cubicBezTo>
                    <a:pt x="72" y="53"/>
                    <a:pt x="72" y="54"/>
                    <a:pt x="71" y="55"/>
                  </a:cubicBezTo>
                  <a:cubicBezTo>
                    <a:pt x="70" y="55"/>
                    <a:pt x="70" y="55"/>
                    <a:pt x="70" y="55"/>
                  </a:cubicBezTo>
                  <a:cubicBezTo>
                    <a:pt x="70" y="55"/>
                    <a:pt x="70" y="56"/>
                    <a:pt x="69" y="56"/>
                  </a:cubicBezTo>
                  <a:cubicBezTo>
                    <a:pt x="68" y="56"/>
                    <a:pt x="68" y="57"/>
                    <a:pt x="67" y="57"/>
                  </a:cubicBezTo>
                  <a:cubicBezTo>
                    <a:pt x="66" y="57"/>
                    <a:pt x="66" y="57"/>
                    <a:pt x="66" y="57"/>
                  </a:cubicBezTo>
                  <a:cubicBezTo>
                    <a:pt x="66" y="57"/>
                    <a:pt x="66" y="57"/>
                    <a:pt x="66" y="57"/>
                  </a:cubicBezTo>
                  <a:cubicBezTo>
                    <a:pt x="65" y="58"/>
                    <a:pt x="65" y="58"/>
                    <a:pt x="65" y="58"/>
                  </a:cubicBezTo>
                  <a:cubicBezTo>
                    <a:pt x="65" y="58"/>
                    <a:pt x="65" y="58"/>
                    <a:pt x="65" y="58"/>
                  </a:cubicBezTo>
                  <a:cubicBezTo>
                    <a:pt x="64" y="59"/>
                    <a:pt x="63" y="61"/>
                    <a:pt x="61" y="61"/>
                  </a:cubicBezTo>
                  <a:cubicBezTo>
                    <a:pt x="61" y="61"/>
                    <a:pt x="61" y="61"/>
                    <a:pt x="61" y="61"/>
                  </a:cubicBezTo>
                  <a:cubicBezTo>
                    <a:pt x="61" y="61"/>
                    <a:pt x="61" y="61"/>
                    <a:pt x="60" y="61"/>
                  </a:cubicBezTo>
                  <a:cubicBezTo>
                    <a:pt x="60" y="61"/>
                    <a:pt x="59" y="61"/>
                    <a:pt x="59" y="61"/>
                  </a:cubicBezTo>
                  <a:cubicBezTo>
                    <a:pt x="59" y="61"/>
                    <a:pt x="59" y="61"/>
                    <a:pt x="59" y="61"/>
                  </a:cubicBezTo>
                  <a:cubicBezTo>
                    <a:pt x="59" y="66"/>
                    <a:pt x="59" y="66"/>
                    <a:pt x="59" y="66"/>
                  </a:cubicBezTo>
                  <a:cubicBezTo>
                    <a:pt x="55" y="64"/>
                    <a:pt x="55" y="64"/>
                    <a:pt x="55" y="64"/>
                  </a:cubicBezTo>
                  <a:cubicBezTo>
                    <a:pt x="54" y="64"/>
                    <a:pt x="53" y="63"/>
                    <a:pt x="52" y="63"/>
                  </a:cubicBezTo>
                  <a:cubicBezTo>
                    <a:pt x="52" y="63"/>
                    <a:pt x="52" y="63"/>
                    <a:pt x="52" y="63"/>
                  </a:cubicBezTo>
                  <a:cubicBezTo>
                    <a:pt x="52" y="64"/>
                    <a:pt x="52" y="64"/>
                    <a:pt x="52" y="64"/>
                  </a:cubicBezTo>
                  <a:cubicBezTo>
                    <a:pt x="51" y="65"/>
                    <a:pt x="51" y="66"/>
                    <a:pt x="49" y="67"/>
                  </a:cubicBezTo>
                  <a:cubicBezTo>
                    <a:pt x="48" y="68"/>
                    <a:pt x="48" y="68"/>
                    <a:pt x="48" y="68"/>
                  </a:cubicBezTo>
                  <a:cubicBezTo>
                    <a:pt x="47" y="68"/>
                    <a:pt x="45" y="69"/>
                    <a:pt x="44" y="69"/>
                  </a:cubicBezTo>
                  <a:cubicBezTo>
                    <a:pt x="42" y="69"/>
                    <a:pt x="41" y="69"/>
                    <a:pt x="40" y="68"/>
                  </a:cubicBezTo>
                  <a:cubicBezTo>
                    <a:pt x="39" y="68"/>
                    <a:pt x="38" y="67"/>
                    <a:pt x="38" y="67"/>
                  </a:cubicBezTo>
                  <a:cubicBezTo>
                    <a:pt x="37" y="67"/>
                    <a:pt x="37" y="67"/>
                    <a:pt x="37" y="67"/>
                  </a:cubicBezTo>
                  <a:cubicBezTo>
                    <a:pt x="36" y="66"/>
                    <a:pt x="36" y="66"/>
                    <a:pt x="36" y="66"/>
                  </a:cubicBezTo>
                  <a:cubicBezTo>
                    <a:pt x="36" y="66"/>
                    <a:pt x="36" y="66"/>
                    <a:pt x="36" y="66"/>
                  </a:cubicBezTo>
                  <a:cubicBezTo>
                    <a:pt x="36" y="66"/>
                    <a:pt x="36" y="66"/>
                    <a:pt x="35" y="66"/>
                  </a:cubicBezTo>
                  <a:cubicBezTo>
                    <a:pt x="35" y="66"/>
                    <a:pt x="35" y="66"/>
                    <a:pt x="35" y="66"/>
                  </a:cubicBezTo>
                  <a:cubicBezTo>
                    <a:pt x="34" y="66"/>
                    <a:pt x="34" y="66"/>
                    <a:pt x="33" y="66"/>
                  </a:cubicBezTo>
                  <a:cubicBezTo>
                    <a:pt x="33" y="66"/>
                    <a:pt x="32" y="66"/>
                    <a:pt x="32" y="66"/>
                  </a:cubicBezTo>
                  <a:cubicBezTo>
                    <a:pt x="31" y="67"/>
                    <a:pt x="31" y="67"/>
                    <a:pt x="31" y="67"/>
                  </a:cubicBezTo>
                  <a:cubicBezTo>
                    <a:pt x="31" y="67"/>
                    <a:pt x="30" y="67"/>
                    <a:pt x="30" y="67"/>
                  </a:cubicBezTo>
                  <a:cubicBezTo>
                    <a:pt x="30" y="67"/>
                    <a:pt x="30" y="67"/>
                    <a:pt x="30" y="67"/>
                  </a:cubicBezTo>
                  <a:cubicBezTo>
                    <a:pt x="28" y="69"/>
                    <a:pt x="28" y="69"/>
                    <a:pt x="28" y="69"/>
                  </a:cubicBezTo>
                  <a:cubicBezTo>
                    <a:pt x="27" y="69"/>
                    <a:pt x="27" y="69"/>
                    <a:pt x="27" y="69"/>
                  </a:cubicBezTo>
                  <a:cubicBezTo>
                    <a:pt x="27" y="70"/>
                    <a:pt x="27" y="70"/>
                    <a:pt x="27" y="70"/>
                  </a:cubicBezTo>
                  <a:cubicBezTo>
                    <a:pt x="26" y="70"/>
                    <a:pt x="26" y="70"/>
                    <a:pt x="26" y="71"/>
                  </a:cubicBezTo>
                  <a:cubicBezTo>
                    <a:pt x="25" y="71"/>
                    <a:pt x="25" y="71"/>
                    <a:pt x="25" y="71"/>
                  </a:cubicBezTo>
                  <a:cubicBezTo>
                    <a:pt x="25" y="71"/>
                    <a:pt x="25" y="71"/>
                    <a:pt x="25" y="71"/>
                  </a:cubicBezTo>
                  <a:cubicBezTo>
                    <a:pt x="24" y="72"/>
                    <a:pt x="24" y="72"/>
                    <a:pt x="24" y="72"/>
                  </a:cubicBezTo>
                  <a:cubicBezTo>
                    <a:pt x="23" y="72"/>
                    <a:pt x="23" y="72"/>
                    <a:pt x="23" y="72"/>
                  </a:cubicBezTo>
                  <a:cubicBezTo>
                    <a:pt x="23" y="73"/>
                    <a:pt x="23" y="73"/>
                    <a:pt x="23" y="73"/>
                  </a:cubicBezTo>
                  <a:cubicBezTo>
                    <a:pt x="22" y="73"/>
                    <a:pt x="22" y="73"/>
                    <a:pt x="22" y="73"/>
                  </a:cubicBezTo>
                  <a:cubicBezTo>
                    <a:pt x="22" y="73"/>
                    <a:pt x="22" y="73"/>
                    <a:pt x="22" y="73"/>
                  </a:cubicBezTo>
                  <a:cubicBezTo>
                    <a:pt x="22" y="73"/>
                    <a:pt x="22" y="73"/>
                    <a:pt x="22" y="73"/>
                  </a:cubicBezTo>
                  <a:cubicBezTo>
                    <a:pt x="22" y="73"/>
                    <a:pt x="22" y="73"/>
                    <a:pt x="22" y="73"/>
                  </a:cubicBezTo>
                  <a:cubicBezTo>
                    <a:pt x="21" y="74"/>
                    <a:pt x="21" y="74"/>
                    <a:pt x="21" y="74"/>
                  </a:cubicBezTo>
                  <a:cubicBezTo>
                    <a:pt x="20" y="74"/>
                    <a:pt x="20" y="74"/>
                    <a:pt x="19" y="74"/>
                  </a:cubicBezTo>
                  <a:cubicBezTo>
                    <a:pt x="18" y="74"/>
                    <a:pt x="18" y="74"/>
                    <a:pt x="18" y="74"/>
                  </a:cubicBezTo>
                  <a:cubicBezTo>
                    <a:pt x="17" y="72"/>
                    <a:pt x="17" y="72"/>
                    <a:pt x="17" y="72"/>
                  </a:cubicBezTo>
                  <a:cubicBezTo>
                    <a:pt x="17" y="72"/>
                    <a:pt x="17" y="71"/>
                    <a:pt x="17" y="71"/>
                  </a:cubicBezTo>
                  <a:cubicBezTo>
                    <a:pt x="14" y="70"/>
                    <a:pt x="11" y="68"/>
                    <a:pt x="10" y="68"/>
                  </a:cubicBezTo>
                  <a:cubicBezTo>
                    <a:pt x="8" y="68"/>
                    <a:pt x="7" y="69"/>
                    <a:pt x="5" y="69"/>
                  </a:cubicBezTo>
                  <a:cubicBezTo>
                    <a:pt x="5" y="69"/>
                    <a:pt x="5" y="69"/>
                    <a:pt x="5" y="69"/>
                  </a:cubicBezTo>
                  <a:cubicBezTo>
                    <a:pt x="4" y="70"/>
                    <a:pt x="4" y="70"/>
                    <a:pt x="3" y="70"/>
                  </a:cubicBezTo>
                  <a:cubicBezTo>
                    <a:pt x="3" y="70"/>
                    <a:pt x="3" y="70"/>
                    <a:pt x="3" y="70"/>
                  </a:cubicBezTo>
                  <a:cubicBezTo>
                    <a:pt x="3" y="70"/>
                    <a:pt x="3" y="70"/>
                    <a:pt x="2" y="72"/>
                  </a:cubicBezTo>
                  <a:cubicBezTo>
                    <a:pt x="1" y="73"/>
                    <a:pt x="1" y="73"/>
                    <a:pt x="1" y="73"/>
                  </a:cubicBezTo>
                  <a:cubicBezTo>
                    <a:pt x="0" y="75"/>
                    <a:pt x="0" y="75"/>
                    <a:pt x="0" y="75"/>
                  </a:cubicBezTo>
                  <a:cubicBezTo>
                    <a:pt x="0" y="79"/>
                    <a:pt x="0" y="79"/>
                    <a:pt x="0" y="79"/>
                  </a:cubicBezTo>
                  <a:cubicBezTo>
                    <a:pt x="3" y="78"/>
                    <a:pt x="6" y="78"/>
                    <a:pt x="10" y="78"/>
                  </a:cubicBezTo>
                  <a:cubicBezTo>
                    <a:pt x="13" y="78"/>
                    <a:pt x="16" y="78"/>
                    <a:pt x="19" y="79"/>
                  </a:cubicBezTo>
                  <a:cubicBezTo>
                    <a:pt x="23" y="79"/>
                    <a:pt x="26" y="80"/>
                    <a:pt x="29" y="81"/>
                  </a:cubicBezTo>
                  <a:cubicBezTo>
                    <a:pt x="30" y="77"/>
                    <a:pt x="30" y="77"/>
                    <a:pt x="30" y="77"/>
                  </a:cubicBezTo>
                  <a:cubicBezTo>
                    <a:pt x="30" y="81"/>
                    <a:pt x="30" y="81"/>
                    <a:pt x="30" y="81"/>
                  </a:cubicBezTo>
                  <a:cubicBezTo>
                    <a:pt x="31" y="81"/>
                    <a:pt x="34" y="80"/>
                    <a:pt x="36" y="79"/>
                  </a:cubicBezTo>
                  <a:cubicBezTo>
                    <a:pt x="36" y="79"/>
                    <a:pt x="36" y="79"/>
                    <a:pt x="36" y="79"/>
                  </a:cubicBezTo>
                  <a:cubicBezTo>
                    <a:pt x="37" y="78"/>
                    <a:pt x="38" y="78"/>
                    <a:pt x="38" y="77"/>
                  </a:cubicBezTo>
                  <a:cubicBezTo>
                    <a:pt x="41" y="76"/>
                    <a:pt x="41" y="76"/>
                    <a:pt x="41" y="76"/>
                  </a:cubicBezTo>
                  <a:cubicBezTo>
                    <a:pt x="42" y="80"/>
                    <a:pt x="42" y="80"/>
                    <a:pt x="42" y="80"/>
                  </a:cubicBezTo>
                  <a:cubicBezTo>
                    <a:pt x="42" y="80"/>
                    <a:pt x="42" y="80"/>
                    <a:pt x="42" y="80"/>
                  </a:cubicBezTo>
                  <a:cubicBezTo>
                    <a:pt x="46" y="81"/>
                    <a:pt x="46" y="83"/>
                    <a:pt x="46" y="84"/>
                  </a:cubicBezTo>
                  <a:cubicBezTo>
                    <a:pt x="47" y="84"/>
                    <a:pt x="47" y="84"/>
                    <a:pt x="47" y="84"/>
                  </a:cubicBezTo>
                  <a:cubicBezTo>
                    <a:pt x="48" y="84"/>
                    <a:pt x="48" y="84"/>
                    <a:pt x="48" y="84"/>
                  </a:cubicBezTo>
                  <a:cubicBezTo>
                    <a:pt x="49" y="85"/>
                    <a:pt x="51" y="85"/>
                    <a:pt x="53" y="86"/>
                  </a:cubicBezTo>
                  <a:cubicBezTo>
                    <a:pt x="54" y="84"/>
                    <a:pt x="56" y="82"/>
                    <a:pt x="60" y="82"/>
                  </a:cubicBezTo>
                  <a:cubicBezTo>
                    <a:pt x="60" y="82"/>
                    <a:pt x="60" y="82"/>
                    <a:pt x="60" y="82"/>
                  </a:cubicBezTo>
                  <a:cubicBezTo>
                    <a:pt x="64" y="82"/>
                    <a:pt x="64" y="82"/>
                    <a:pt x="64" y="82"/>
                  </a:cubicBezTo>
                  <a:cubicBezTo>
                    <a:pt x="66" y="82"/>
                    <a:pt x="67" y="82"/>
                    <a:pt x="69" y="82"/>
                  </a:cubicBezTo>
                  <a:cubicBezTo>
                    <a:pt x="70" y="82"/>
                    <a:pt x="71" y="82"/>
                    <a:pt x="72" y="82"/>
                  </a:cubicBezTo>
                  <a:cubicBezTo>
                    <a:pt x="74" y="81"/>
                    <a:pt x="74" y="81"/>
                    <a:pt x="74" y="81"/>
                  </a:cubicBezTo>
                  <a:cubicBezTo>
                    <a:pt x="76" y="81"/>
                    <a:pt x="77" y="81"/>
                    <a:pt x="78" y="81"/>
                  </a:cubicBezTo>
                  <a:cubicBezTo>
                    <a:pt x="78" y="80"/>
                    <a:pt x="78" y="80"/>
                    <a:pt x="78" y="80"/>
                  </a:cubicBezTo>
                  <a:cubicBezTo>
                    <a:pt x="79" y="80"/>
                    <a:pt x="79" y="80"/>
                    <a:pt x="79" y="80"/>
                  </a:cubicBezTo>
                  <a:cubicBezTo>
                    <a:pt x="81" y="80"/>
                    <a:pt x="81" y="80"/>
                    <a:pt x="81" y="80"/>
                  </a:cubicBezTo>
                  <a:cubicBezTo>
                    <a:pt x="81" y="80"/>
                    <a:pt x="81" y="79"/>
                    <a:pt x="82" y="79"/>
                  </a:cubicBezTo>
                  <a:cubicBezTo>
                    <a:pt x="83" y="79"/>
                    <a:pt x="83" y="79"/>
                    <a:pt x="83" y="79"/>
                  </a:cubicBezTo>
                  <a:cubicBezTo>
                    <a:pt x="83" y="78"/>
                    <a:pt x="83" y="78"/>
                    <a:pt x="83" y="78"/>
                  </a:cubicBezTo>
                  <a:cubicBezTo>
                    <a:pt x="83" y="77"/>
                    <a:pt x="83" y="77"/>
                    <a:pt x="83" y="76"/>
                  </a:cubicBezTo>
                  <a:cubicBezTo>
                    <a:pt x="84" y="75"/>
                    <a:pt x="84" y="75"/>
                    <a:pt x="84" y="75"/>
                  </a:cubicBezTo>
                  <a:cubicBezTo>
                    <a:pt x="84" y="74"/>
                    <a:pt x="84" y="74"/>
                    <a:pt x="84" y="73"/>
                  </a:cubicBezTo>
                  <a:cubicBezTo>
                    <a:pt x="84" y="73"/>
                    <a:pt x="84" y="73"/>
                    <a:pt x="84" y="73"/>
                  </a:cubicBezTo>
                  <a:cubicBezTo>
                    <a:pt x="84" y="72"/>
                    <a:pt x="84" y="72"/>
                    <a:pt x="84" y="72"/>
                  </a:cubicBezTo>
                  <a:cubicBezTo>
                    <a:pt x="84" y="70"/>
                    <a:pt x="85" y="67"/>
                    <a:pt x="87" y="67"/>
                  </a:cubicBezTo>
                  <a:cubicBezTo>
                    <a:pt x="93" y="65"/>
                    <a:pt x="93" y="65"/>
                    <a:pt x="93" y="65"/>
                  </a:cubicBezTo>
                  <a:cubicBezTo>
                    <a:pt x="93" y="64"/>
                    <a:pt x="93" y="64"/>
                    <a:pt x="94" y="64"/>
                  </a:cubicBezTo>
                  <a:cubicBezTo>
                    <a:pt x="95" y="64"/>
                    <a:pt x="95" y="64"/>
                    <a:pt x="95" y="64"/>
                  </a:cubicBezTo>
                  <a:cubicBezTo>
                    <a:pt x="96" y="64"/>
                    <a:pt x="99" y="63"/>
                    <a:pt x="101" y="62"/>
                  </a:cubicBezTo>
                  <a:cubicBezTo>
                    <a:pt x="101" y="62"/>
                    <a:pt x="101" y="62"/>
                    <a:pt x="101" y="62"/>
                  </a:cubicBezTo>
                  <a:cubicBezTo>
                    <a:pt x="101" y="61"/>
                    <a:pt x="101" y="61"/>
                    <a:pt x="101" y="61"/>
                  </a:cubicBezTo>
                  <a:cubicBezTo>
                    <a:pt x="100" y="60"/>
                    <a:pt x="100" y="60"/>
                    <a:pt x="100" y="59"/>
                  </a:cubicBezTo>
                  <a:cubicBezTo>
                    <a:pt x="100" y="56"/>
                    <a:pt x="100" y="56"/>
                    <a:pt x="100" y="56"/>
                  </a:cubicBezTo>
                  <a:cubicBezTo>
                    <a:pt x="103" y="57"/>
                    <a:pt x="103" y="57"/>
                    <a:pt x="103" y="57"/>
                  </a:cubicBezTo>
                  <a:cubicBezTo>
                    <a:pt x="104" y="57"/>
                    <a:pt x="104" y="57"/>
                    <a:pt x="105" y="57"/>
                  </a:cubicBezTo>
                  <a:cubicBezTo>
                    <a:pt x="105" y="57"/>
                    <a:pt x="106" y="57"/>
                    <a:pt x="106" y="58"/>
                  </a:cubicBezTo>
                  <a:cubicBezTo>
                    <a:pt x="107" y="58"/>
                    <a:pt x="107" y="58"/>
                    <a:pt x="108" y="58"/>
                  </a:cubicBezTo>
                  <a:cubicBezTo>
                    <a:pt x="109" y="58"/>
                    <a:pt x="110" y="58"/>
                    <a:pt x="112" y="57"/>
                  </a:cubicBezTo>
                  <a:cubicBezTo>
                    <a:pt x="112" y="56"/>
                    <a:pt x="112" y="56"/>
                    <a:pt x="112" y="56"/>
                  </a:cubicBezTo>
                  <a:cubicBezTo>
                    <a:pt x="112" y="56"/>
                    <a:pt x="112" y="56"/>
                    <a:pt x="112" y="56"/>
                  </a:cubicBezTo>
                  <a:cubicBezTo>
                    <a:pt x="113" y="55"/>
                    <a:pt x="115" y="54"/>
                    <a:pt x="116" y="54"/>
                  </a:cubicBezTo>
                  <a:cubicBezTo>
                    <a:pt x="116" y="54"/>
                    <a:pt x="116" y="54"/>
                    <a:pt x="116" y="54"/>
                  </a:cubicBezTo>
                  <a:cubicBezTo>
                    <a:pt x="117" y="54"/>
                    <a:pt x="117" y="54"/>
                    <a:pt x="117" y="54"/>
                  </a:cubicBezTo>
                  <a:cubicBezTo>
                    <a:pt x="117" y="54"/>
                    <a:pt x="117" y="54"/>
                    <a:pt x="117" y="54"/>
                  </a:cubicBezTo>
                  <a:cubicBezTo>
                    <a:pt x="118" y="54"/>
                    <a:pt x="118" y="54"/>
                    <a:pt x="118" y="54"/>
                  </a:cubicBezTo>
                  <a:cubicBezTo>
                    <a:pt x="118" y="55"/>
                    <a:pt x="118" y="55"/>
                    <a:pt x="118" y="55"/>
                  </a:cubicBezTo>
                  <a:cubicBezTo>
                    <a:pt x="120" y="55"/>
                    <a:pt x="120" y="57"/>
                    <a:pt x="120" y="57"/>
                  </a:cubicBezTo>
                  <a:cubicBezTo>
                    <a:pt x="120" y="58"/>
                    <a:pt x="120" y="59"/>
                    <a:pt x="121" y="60"/>
                  </a:cubicBezTo>
                  <a:cubicBezTo>
                    <a:pt x="121" y="61"/>
                    <a:pt x="121" y="61"/>
                    <a:pt x="121" y="61"/>
                  </a:cubicBezTo>
                  <a:cubicBezTo>
                    <a:pt x="121" y="62"/>
                    <a:pt x="121" y="62"/>
                    <a:pt x="121" y="62"/>
                  </a:cubicBezTo>
                  <a:cubicBezTo>
                    <a:pt x="122" y="62"/>
                    <a:pt x="122" y="62"/>
                    <a:pt x="122" y="62"/>
                  </a:cubicBezTo>
                  <a:cubicBezTo>
                    <a:pt x="122" y="61"/>
                    <a:pt x="122" y="61"/>
                    <a:pt x="122" y="61"/>
                  </a:cubicBezTo>
                  <a:cubicBezTo>
                    <a:pt x="123" y="61"/>
                    <a:pt x="123" y="60"/>
                    <a:pt x="124" y="60"/>
                  </a:cubicBezTo>
                  <a:cubicBezTo>
                    <a:pt x="125" y="60"/>
                    <a:pt x="125" y="60"/>
                    <a:pt x="126" y="60"/>
                  </a:cubicBezTo>
                  <a:cubicBezTo>
                    <a:pt x="127" y="59"/>
                    <a:pt x="128" y="59"/>
                    <a:pt x="128" y="59"/>
                  </a:cubicBezTo>
                  <a:cubicBezTo>
                    <a:pt x="129" y="59"/>
                    <a:pt x="129" y="59"/>
                    <a:pt x="129" y="59"/>
                  </a:cubicBezTo>
                  <a:cubicBezTo>
                    <a:pt x="130" y="59"/>
                    <a:pt x="131" y="60"/>
                    <a:pt x="131" y="60"/>
                  </a:cubicBezTo>
                  <a:cubicBezTo>
                    <a:pt x="131" y="60"/>
                    <a:pt x="131" y="60"/>
                    <a:pt x="131" y="60"/>
                  </a:cubicBezTo>
                  <a:cubicBezTo>
                    <a:pt x="132" y="59"/>
                    <a:pt x="132" y="59"/>
                    <a:pt x="132" y="59"/>
                  </a:cubicBezTo>
                  <a:cubicBezTo>
                    <a:pt x="132" y="59"/>
                    <a:pt x="133" y="59"/>
                    <a:pt x="133" y="58"/>
                  </a:cubicBezTo>
                  <a:cubicBezTo>
                    <a:pt x="134" y="57"/>
                    <a:pt x="134" y="56"/>
                    <a:pt x="135" y="56"/>
                  </a:cubicBezTo>
                  <a:cubicBezTo>
                    <a:pt x="134" y="56"/>
                    <a:pt x="134" y="56"/>
                    <a:pt x="134" y="56"/>
                  </a:cubicBezTo>
                  <a:cubicBezTo>
                    <a:pt x="134" y="55"/>
                    <a:pt x="134" y="54"/>
                    <a:pt x="135" y="53"/>
                  </a:cubicBezTo>
                  <a:cubicBezTo>
                    <a:pt x="135" y="52"/>
                    <a:pt x="135" y="52"/>
                    <a:pt x="135" y="52"/>
                  </a:cubicBezTo>
                  <a:cubicBezTo>
                    <a:pt x="136" y="51"/>
                    <a:pt x="137" y="51"/>
                    <a:pt x="137" y="50"/>
                  </a:cubicBezTo>
                  <a:cubicBezTo>
                    <a:pt x="138" y="50"/>
                    <a:pt x="138" y="49"/>
                    <a:pt x="138" y="49"/>
                  </a:cubicBezTo>
                  <a:cubicBezTo>
                    <a:pt x="140" y="47"/>
                    <a:pt x="141" y="45"/>
                    <a:pt x="143" y="45"/>
                  </a:cubicBezTo>
                  <a:cubicBezTo>
                    <a:pt x="146" y="44"/>
                    <a:pt x="148" y="44"/>
                    <a:pt x="151" y="44"/>
                  </a:cubicBezTo>
                  <a:cubicBezTo>
                    <a:pt x="152" y="43"/>
                    <a:pt x="153" y="43"/>
                    <a:pt x="154" y="43"/>
                  </a:cubicBezTo>
                  <a:cubicBezTo>
                    <a:pt x="156" y="43"/>
                    <a:pt x="156" y="43"/>
                    <a:pt x="156" y="43"/>
                  </a:cubicBezTo>
                  <a:cubicBezTo>
                    <a:pt x="158" y="43"/>
                    <a:pt x="159" y="43"/>
                    <a:pt x="161" y="43"/>
                  </a:cubicBezTo>
                  <a:cubicBezTo>
                    <a:pt x="166" y="42"/>
                    <a:pt x="166" y="42"/>
                    <a:pt x="166" y="42"/>
                  </a:cubicBezTo>
                  <a:cubicBezTo>
                    <a:pt x="167" y="42"/>
                    <a:pt x="167" y="42"/>
                    <a:pt x="167" y="42"/>
                  </a:cubicBezTo>
                  <a:cubicBezTo>
                    <a:pt x="167" y="41"/>
                    <a:pt x="167" y="41"/>
                    <a:pt x="168" y="40"/>
                  </a:cubicBezTo>
                  <a:cubicBezTo>
                    <a:pt x="169" y="40"/>
                    <a:pt x="169" y="40"/>
                    <a:pt x="169" y="40"/>
                  </a:cubicBezTo>
                  <a:cubicBezTo>
                    <a:pt x="169" y="39"/>
                    <a:pt x="169" y="39"/>
                    <a:pt x="169" y="39"/>
                  </a:cubicBezTo>
                  <a:cubicBezTo>
                    <a:pt x="170" y="38"/>
                    <a:pt x="170" y="38"/>
                    <a:pt x="171" y="37"/>
                  </a:cubicBezTo>
                  <a:cubicBezTo>
                    <a:pt x="172" y="36"/>
                    <a:pt x="173" y="34"/>
                    <a:pt x="175" y="33"/>
                  </a:cubicBezTo>
                  <a:cubicBezTo>
                    <a:pt x="176" y="33"/>
                    <a:pt x="176" y="33"/>
                    <a:pt x="176" y="33"/>
                  </a:cubicBezTo>
                  <a:cubicBezTo>
                    <a:pt x="178" y="32"/>
                    <a:pt x="181" y="31"/>
                    <a:pt x="184" y="30"/>
                  </a:cubicBezTo>
                  <a:cubicBezTo>
                    <a:pt x="184" y="30"/>
                    <a:pt x="184" y="30"/>
                    <a:pt x="184" y="30"/>
                  </a:cubicBezTo>
                  <a:cubicBezTo>
                    <a:pt x="185" y="29"/>
                    <a:pt x="186" y="29"/>
                    <a:pt x="187" y="28"/>
                  </a:cubicBezTo>
                  <a:cubicBezTo>
                    <a:pt x="191" y="27"/>
                    <a:pt x="195" y="25"/>
                    <a:pt x="199" y="24"/>
                  </a:cubicBezTo>
                  <a:cubicBezTo>
                    <a:pt x="202" y="23"/>
                    <a:pt x="202" y="23"/>
                    <a:pt x="202" y="23"/>
                  </a:cubicBezTo>
                  <a:cubicBezTo>
                    <a:pt x="203" y="23"/>
                    <a:pt x="203" y="23"/>
                    <a:pt x="203" y="23"/>
                  </a:cubicBezTo>
                  <a:cubicBezTo>
                    <a:pt x="203" y="22"/>
                    <a:pt x="203" y="22"/>
                    <a:pt x="203" y="22"/>
                  </a:cubicBezTo>
                  <a:cubicBezTo>
                    <a:pt x="203" y="22"/>
                    <a:pt x="203" y="22"/>
                    <a:pt x="203" y="22"/>
                  </a:cubicBezTo>
                  <a:cubicBezTo>
                    <a:pt x="203" y="22"/>
                    <a:pt x="203" y="22"/>
                    <a:pt x="203" y="22"/>
                  </a:cubicBezTo>
                  <a:cubicBezTo>
                    <a:pt x="202" y="21"/>
                    <a:pt x="202" y="21"/>
                    <a:pt x="202" y="21"/>
                  </a:cubicBezTo>
                  <a:cubicBezTo>
                    <a:pt x="202" y="21"/>
                    <a:pt x="202" y="21"/>
                    <a:pt x="201" y="20"/>
                  </a:cubicBezTo>
                  <a:cubicBezTo>
                    <a:pt x="201" y="19"/>
                    <a:pt x="200" y="19"/>
                    <a:pt x="200" y="18"/>
                  </a:cubicBezTo>
                  <a:cubicBezTo>
                    <a:pt x="199" y="18"/>
                    <a:pt x="199" y="18"/>
                    <a:pt x="198" y="18"/>
                  </a:cubicBezTo>
                  <a:cubicBezTo>
                    <a:pt x="198" y="18"/>
                    <a:pt x="197" y="17"/>
                    <a:pt x="196" y="17"/>
                  </a:cubicBezTo>
                  <a:cubicBezTo>
                    <a:pt x="195" y="17"/>
                    <a:pt x="195" y="17"/>
                    <a:pt x="194" y="17"/>
                  </a:cubicBezTo>
                  <a:cubicBezTo>
                    <a:pt x="191" y="17"/>
                    <a:pt x="189" y="16"/>
                    <a:pt x="186" y="13"/>
                  </a:cubicBezTo>
                  <a:cubicBezTo>
                    <a:pt x="186" y="12"/>
                    <a:pt x="186" y="12"/>
                    <a:pt x="186" y="12"/>
                  </a:cubicBezTo>
                  <a:cubicBezTo>
                    <a:pt x="186" y="12"/>
                    <a:pt x="185" y="11"/>
                    <a:pt x="185" y="10"/>
                  </a:cubicBezTo>
                  <a:cubicBezTo>
                    <a:pt x="184" y="9"/>
                    <a:pt x="184" y="9"/>
                    <a:pt x="184" y="9"/>
                  </a:cubicBezTo>
                  <a:cubicBezTo>
                    <a:pt x="184" y="9"/>
                    <a:pt x="184" y="9"/>
                    <a:pt x="184" y="9"/>
                  </a:cubicBezTo>
                  <a:cubicBezTo>
                    <a:pt x="184" y="9"/>
                    <a:pt x="183" y="9"/>
                    <a:pt x="183" y="9"/>
                  </a:cubicBezTo>
                  <a:cubicBezTo>
                    <a:pt x="183" y="10"/>
                    <a:pt x="182" y="10"/>
                    <a:pt x="181" y="10"/>
                  </a:cubicBezTo>
                  <a:cubicBezTo>
                    <a:pt x="180" y="10"/>
                    <a:pt x="179" y="9"/>
                    <a:pt x="177" y="9"/>
                  </a:cubicBezTo>
                  <a:cubicBezTo>
                    <a:pt x="175" y="8"/>
                    <a:pt x="175" y="8"/>
                    <a:pt x="175" y="8"/>
                  </a:cubicBezTo>
                  <a:cubicBezTo>
                    <a:pt x="175" y="8"/>
                    <a:pt x="174" y="8"/>
                    <a:pt x="173" y="8"/>
                  </a:cubicBezTo>
                  <a:cubicBezTo>
                    <a:pt x="173" y="7"/>
                    <a:pt x="172" y="7"/>
                    <a:pt x="172" y="7"/>
                  </a:cubicBezTo>
                  <a:cubicBezTo>
                    <a:pt x="171" y="7"/>
                    <a:pt x="171" y="7"/>
                    <a:pt x="171" y="7"/>
                  </a:cubicBezTo>
                  <a:cubicBezTo>
                    <a:pt x="171" y="7"/>
                    <a:pt x="170" y="7"/>
                    <a:pt x="170" y="7"/>
                  </a:cubicBezTo>
                  <a:cubicBezTo>
                    <a:pt x="169" y="7"/>
                    <a:pt x="169" y="7"/>
                    <a:pt x="169" y="7"/>
                  </a:cubicBezTo>
                  <a:cubicBezTo>
                    <a:pt x="168" y="7"/>
                    <a:pt x="167" y="7"/>
                    <a:pt x="166" y="7"/>
                  </a:cubicBezTo>
                  <a:cubicBezTo>
                    <a:pt x="163" y="7"/>
                    <a:pt x="159" y="7"/>
                    <a:pt x="156" y="7"/>
                  </a:cubicBezTo>
                  <a:cubicBezTo>
                    <a:pt x="155" y="7"/>
                    <a:pt x="155" y="7"/>
                    <a:pt x="155" y="7"/>
                  </a:cubicBezTo>
                  <a:cubicBezTo>
                    <a:pt x="154" y="7"/>
                    <a:pt x="154" y="7"/>
                    <a:pt x="153" y="7"/>
                  </a:cubicBezTo>
                  <a:cubicBezTo>
                    <a:pt x="153" y="10"/>
                    <a:pt x="153" y="10"/>
                    <a:pt x="153" y="10"/>
                  </a:cubicBezTo>
                  <a:cubicBezTo>
                    <a:pt x="152" y="7"/>
                    <a:pt x="152" y="7"/>
                    <a:pt x="152" y="7"/>
                  </a:cubicBezTo>
                  <a:cubicBezTo>
                    <a:pt x="151" y="7"/>
                    <a:pt x="151" y="7"/>
                    <a:pt x="151" y="7"/>
                  </a:cubicBezTo>
                  <a:cubicBezTo>
                    <a:pt x="147" y="6"/>
                    <a:pt x="143" y="6"/>
                    <a:pt x="138" y="6"/>
                  </a:cubicBezTo>
                  <a:cubicBezTo>
                    <a:pt x="137" y="6"/>
                    <a:pt x="137" y="6"/>
                    <a:pt x="137" y="6"/>
                  </a:cubicBezTo>
                  <a:cubicBezTo>
                    <a:pt x="136" y="6"/>
                    <a:pt x="134" y="6"/>
                    <a:pt x="132" y="6"/>
                  </a:cubicBezTo>
                  <a:cubicBezTo>
                    <a:pt x="132" y="6"/>
                    <a:pt x="132" y="6"/>
                    <a:pt x="132" y="6"/>
                  </a:cubicBezTo>
                  <a:cubicBezTo>
                    <a:pt x="130" y="6"/>
                    <a:pt x="128" y="6"/>
                    <a:pt x="126" y="6"/>
                  </a:cubicBezTo>
                  <a:cubicBezTo>
                    <a:pt x="124" y="6"/>
                    <a:pt x="123" y="6"/>
                    <a:pt x="122" y="6"/>
                  </a:cubicBezTo>
                  <a:cubicBezTo>
                    <a:pt x="121" y="6"/>
                    <a:pt x="121" y="6"/>
                    <a:pt x="121" y="6"/>
                  </a:cubicBezTo>
                  <a:cubicBezTo>
                    <a:pt x="120" y="6"/>
                    <a:pt x="120" y="6"/>
                    <a:pt x="119" y="7"/>
                  </a:cubicBezTo>
                  <a:cubicBezTo>
                    <a:pt x="117" y="7"/>
                    <a:pt x="115" y="8"/>
                    <a:pt x="113" y="8"/>
                  </a:cubicBezTo>
                  <a:cubicBezTo>
                    <a:pt x="112" y="8"/>
                    <a:pt x="112" y="8"/>
                    <a:pt x="111" y="8"/>
                  </a:cubicBezTo>
                  <a:cubicBezTo>
                    <a:pt x="110" y="8"/>
                    <a:pt x="110" y="8"/>
                    <a:pt x="110" y="8"/>
                  </a:cubicBezTo>
                  <a:cubicBezTo>
                    <a:pt x="109" y="7"/>
                    <a:pt x="109" y="7"/>
                    <a:pt x="108" y="7"/>
                  </a:cubicBezTo>
                  <a:cubicBezTo>
                    <a:pt x="106" y="7"/>
                    <a:pt x="106" y="7"/>
                    <a:pt x="106" y="7"/>
                  </a:cubicBezTo>
                  <a:cubicBezTo>
                    <a:pt x="106" y="6"/>
                    <a:pt x="105" y="6"/>
                    <a:pt x="104" y="6"/>
                  </a:cubicBezTo>
                  <a:cubicBezTo>
                    <a:pt x="103" y="5"/>
                    <a:pt x="103" y="5"/>
                    <a:pt x="103" y="5"/>
                  </a:cubicBezTo>
                  <a:cubicBezTo>
                    <a:pt x="102" y="5"/>
                    <a:pt x="100" y="5"/>
                    <a:pt x="99" y="4"/>
                  </a:cubicBezTo>
                  <a:cubicBezTo>
                    <a:pt x="98" y="3"/>
                    <a:pt x="98" y="3"/>
                    <a:pt x="98" y="3"/>
                  </a:cubicBezTo>
                  <a:cubicBezTo>
                    <a:pt x="98" y="3"/>
                    <a:pt x="98" y="3"/>
                    <a:pt x="98" y="3"/>
                  </a:cubicBezTo>
                  <a:cubicBezTo>
                    <a:pt x="97" y="3"/>
                    <a:pt x="96" y="2"/>
                    <a:pt x="95" y="1"/>
                  </a:cubicBezTo>
                  <a:cubicBezTo>
                    <a:pt x="94" y="1"/>
                    <a:pt x="92" y="0"/>
                    <a:pt x="90" y="0"/>
                  </a:cubicBezTo>
                  <a:cubicBezTo>
                    <a:pt x="90" y="0"/>
                    <a:pt x="89"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 name="Rectangle 445">
              <a:extLst>
                <a:ext uri="{FF2B5EF4-FFF2-40B4-BE49-F238E27FC236}">
                  <a16:creationId xmlns:a16="http://schemas.microsoft.com/office/drawing/2014/main" id="{611476DF-D815-4001-948B-A7DA89851595}"/>
                </a:ext>
              </a:extLst>
            </p:cNvPr>
            <p:cNvSpPr>
              <a:spLocks noChangeArrowheads="1"/>
            </p:cNvSpPr>
            <p:nvPr/>
          </p:nvSpPr>
          <p:spPr bwMode="auto">
            <a:xfrm>
              <a:off x="2837557" y="3957135"/>
              <a:ext cx="1376" cy="27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Rectangle 446">
              <a:extLst>
                <a:ext uri="{FF2B5EF4-FFF2-40B4-BE49-F238E27FC236}">
                  <a16:creationId xmlns:a16="http://schemas.microsoft.com/office/drawing/2014/main" id="{CE1F651C-6A0E-482F-99E5-8727C5230C9D}"/>
                </a:ext>
              </a:extLst>
            </p:cNvPr>
            <p:cNvSpPr>
              <a:spLocks noChangeArrowheads="1"/>
            </p:cNvSpPr>
            <p:nvPr/>
          </p:nvSpPr>
          <p:spPr bwMode="auto">
            <a:xfrm>
              <a:off x="2837557" y="3957135"/>
              <a:ext cx="1376" cy="27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 name="Freeform 447">
              <a:extLst>
                <a:ext uri="{FF2B5EF4-FFF2-40B4-BE49-F238E27FC236}">
                  <a16:creationId xmlns:a16="http://schemas.microsoft.com/office/drawing/2014/main" id="{1CAADAD9-3DBD-49CF-B6FD-AF052966E2D1}"/>
                </a:ext>
              </a:extLst>
            </p:cNvPr>
            <p:cNvSpPr>
              <a:spLocks noEditPoints="1"/>
            </p:cNvSpPr>
            <p:nvPr/>
          </p:nvSpPr>
          <p:spPr bwMode="auto">
            <a:xfrm>
              <a:off x="1891247" y="3723309"/>
              <a:ext cx="1030213" cy="629957"/>
            </a:xfrm>
            <a:custGeom>
              <a:avLst/>
              <a:gdLst>
                <a:gd name="T0" fmla="*/ 61 w 317"/>
                <a:gd name="T1" fmla="*/ 8 h 194"/>
                <a:gd name="T2" fmla="*/ 55 w 317"/>
                <a:gd name="T3" fmla="*/ 1 h 194"/>
                <a:gd name="T4" fmla="*/ 50 w 317"/>
                <a:gd name="T5" fmla="*/ 7 h 194"/>
                <a:gd name="T6" fmla="*/ 49 w 317"/>
                <a:gd name="T7" fmla="*/ 20 h 194"/>
                <a:gd name="T8" fmla="*/ 49 w 317"/>
                <a:gd name="T9" fmla="*/ 26 h 194"/>
                <a:gd name="T10" fmla="*/ 42 w 317"/>
                <a:gd name="T11" fmla="*/ 33 h 194"/>
                <a:gd name="T12" fmla="*/ 46 w 317"/>
                <a:gd name="T13" fmla="*/ 8 h 194"/>
                <a:gd name="T14" fmla="*/ 0 w 317"/>
                <a:gd name="T15" fmla="*/ 20 h 194"/>
                <a:gd name="T16" fmla="*/ 7 w 317"/>
                <a:gd name="T17" fmla="*/ 102 h 194"/>
                <a:gd name="T18" fmla="*/ 15 w 317"/>
                <a:gd name="T19" fmla="*/ 101 h 194"/>
                <a:gd name="T20" fmla="*/ 27 w 317"/>
                <a:gd name="T21" fmla="*/ 83 h 194"/>
                <a:gd name="T22" fmla="*/ 41 w 317"/>
                <a:gd name="T23" fmla="*/ 75 h 194"/>
                <a:gd name="T24" fmla="*/ 55 w 317"/>
                <a:gd name="T25" fmla="*/ 74 h 194"/>
                <a:gd name="T26" fmla="*/ 68 w 317"/>
                <a:gd name="T27" fmla="*/ 79 h 194"/>
                <a:gd name="T28" fmla="*/ 80 w 317"/>
                <a:gd name="T29" fmla="*/ 95 h 194"/>
                <a:gd name="T30" fmla="*/ 80 w 317"/>
                <a:gd name="T31" fmla="*/ 102 h 194"/>
                <a:gd name="T32" fmla="*/ 97 w 317"/>
                <a:gd name="T33" fmla="*/ 105 h 194"/>
                <a:gd name="T34" fmla="*/ 117 w 317"/>
                <a:gd name="T35" fmla="*/ 120 h 194"/>
                <a:gd name="T36" fmla="*/ 127 w 317"/>
                <a:gd name="T37" fmla="*/ 135 h 194"/>
                <a:gd name="T38" fmla="*/ 167 w 317"/>
                <a:gd name="T39" fmla="*/ 161 h 194"/>
                <a:gd name="T40" fmla="*/ 183 w 317"/>
                <a:gd name="T41" fmla="*/ 171 h 194"/>
                <a:gd name="T42" fmla="*/ 203 w 317"/>
                <a:gd name="T43" fmla="*/ 179 h 194"/>
                <a:gd name="T44" fmla="*/ 207 w 317"/>
                <a:gd name="T45" fmla="*/ 190 h 194"/>
                <a:gd name="T46" fmla="*/ 217 w 317"/>
                <a:gd name="T47" fmla="*/ 194 h 194"/>
                <a:gd name="T48" fmla="*/ 221 w 317"/>
                <a:gd name="T49" fmla="*/ 189 h 194"/>
                <a:gd name="T50" fmla="*/ 230 w 317"/>
                <a:gd name="T51" fmla="*/ 173 h 194"/>
                <a:gd name="T52" fmla="*/ 224 w 317"/>
                <a:gd name="T53" fmla="*/ 158 h 194"/>
                <a:gd name="T54" fmla="*/ 217 w 317"/>
                <a:gd name="T55" fmla="*/ 142 h 194"/>
                <a:gd name="T56" fmla="*/ 234 w 317"/>
                <a:gd name="T57" fmla="*/ 141 h 194"/>
                <a:gd name="T58" fmla="*/ 245 w 317"/>
                <a:gd name="T59" fmla="*/ 126 h 194"/>
                <a:gd name="T60" fmla="*/ 252 w 317"/>
                <a:gd name="T61" fmla="*/ 114 h 194"/>
                <a:gd name="T62" fmla="*/ 258 w 317"/>
                <a:gd name="T63" fmla="*/ 116 h 194"/>
                <a:gd name="T64" fmla="*/ 267 w 317"/>
                <a:gd name="T65" fmla="*/ 112 h 194"/>
                <a:gd name="T66" fmla="*/ 275 w 317"/>
                <a:gd name="T67" fmla="*/ 124 h 194"/>
                <a:gd name="T68" fmla="*/ 285 w 317"/>
                <a:gd name="T69" fmla="*/ 125 h 194"/>
                <a:gd name="T70" fmla="*/ 300 w 317"/>
                <a:gd name="T71" fmla="*/ 127 h 194"/>
                <a:gd name="T72" fmla="*/ 305 w 317"/>
                <a:gd name="T73" fmla="*/ 122 h 194"/>
                <a:gd name="T74" fmla="*/ 310 w 317"/>
                <a:gd name="T75" fmla="*/ 118 h 194"/>
                <a:gd name="T76" fmla="*/ 316 w 317"/>
                <a:gd name="T77" fmla="*/ 117 h 194"/>
                <a:gd name="T78" fmla="*/ 310 w 317"/>
                <a:gd name="T79" fmla="*/ 113 h 194"/>
                <a:gd name="T80" fmla="*/ 304 w 317"/>
                <a:gd name="T81" fmla="*/ 111 h 194"/>
                <a:gd name="T82" fmla="*/ 297 w 317"/>
                <a:gd name="T83" fmla="*/ 104 h 194"/>
                <a:gd name="T84" fmla="*/ 290 w 317"/>
                <a:gd name="T85" fmla="*/ 110 h 194"/>
                <a:gd name="T86" fmla="*/ 274 w 317"/>
                <a:gd name="T87" fmla="*/ 104 h 194"/>
                <a:gd name="T88" fmla="*/ 266 w 317"/>
                <a:gd name="T89" fmla="*/ 100 h 194"/>
                <a:gd name="T90" fmla="*/ 251 w 317"/>
                <a:gd name="T91" fmla="*/ 104 h 194"/>
                <a:gd name="T92" fmla="*/ 239 w 317"/>
                <a:gd name="T93" fmla="*/ 121 h 194"/>
                <a:gd name="T94" fmla="*/ 236 w 317"/>
                <a:gd name="T95" fmla="*/ 121 h 194"/>
                <a:gd name="T96" fmla="*/ 226 w 317"/>
                <a:gd name="T97" fmla="*/ 111 h 194"/>
                <a:gd name="T98" fmla="*/ 203 w 317"/>
                <a:gd name="T99" fmla="*/ 110 h 194"/>
                <a:gd name="T100" fmla="*/ 196 w 317"/>
                <a:gd name="T101" fmla="*/ 92 h 194"/>
                <a:gd name="T102" fmla="*/ 191 w 317"/>
                <a:gd name="T103" fmla="*/ 91 h 194"/>
                <a:gd name="T104" fmla="*/ 189 w 317"/>
                <a:gd name="T105" fmla="*/ 69 h 194"/>
                <a:gd name="T106" fmla="*/ 174 w 317"/>
                <a:gd name="T107" fmla="*/ 57 h 194"/>
                <a:gd name="T108" fmla="*/ 164 w 317"/>
                <a:gd name="T109" fmla="*/ 53 h 194"/>
                <a:gd name="T110" fmla="*/ 124 w 317"/>
                <a:gd name="T111" fmla="*/ 55 h 194"/>
                <a:gd name="T112" fmla="*/ 107 w 317"/>
                <a:gd name="T113" fmla="*/ 51 h 194"/>
                <a:gd name="T114" fmla="*/ 71 w 317"/>
                <a:gd name="T115" fmla="*/ 38 h 194"/>
                <a:gd name="T116" fmla="*/ 63 w 317"/>
                <a:gd name="T117" fmla="*/ 37 h 194"/>
                <a:gd name="T118" fmla="*/ 64 w 317"/>
                <a:gd name="T119" fmla="*/ 14 h 194"/>
                <a:gd name="T120" fmla="*/ 61 w 317"/>
                <a:gd name="T121" fmla="*/ 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7" h="194">
                  <a:moveTo>
                    <a:pt x="61" y="8"/>
                  </a:moveTo>
                  <a:cubicBezTo>
                    <a:pt x="61" y="8"/>
                    <a:pt x="61" y="8"/>
                    <a:pt x="61" y="8"/>
                  </a:cubicBezTo>
                  <a:cubicBezTo>
                    <a:pt x="61" y="8"/>
                    <a:pt x="61" y="8"/>
                    <a:pt x="61" y="8"/>
                  </a:cubicBezTo>
                  <a:cubicBezTo>
                    <a:pt x="61" y="8"/>
                    <a:pt x="61" y="8"/>
                    <a:pt x="61" y="8"/>
                  </a:cubicBezTo>
                  <a:moveTo>
                    <a:pt x="61" y="10"/>
                  </a:moveTo>
                  <a:cubicBezTo>
                    <a:pt x="61" y="10"/>
                    <a:pt x="61" y="10"/>
                    <a:pt x="61" y="10"/>
                  </a:cubicBezTo>
                  <a:cubicBezTo>
                    <a:pt x="61" y="9"/>
                    <a:pt x="61" y="8"/>
                    <a:pt x="61" y="6"/>
                  </a:cubicBezTo>
                  <a:cubicBezTo>
                    <a:pt x="62" y="7"/>
                    <a:pt x="61" y="7"/>
                    <a:pt x="61" y="8"/>
                  </a:cubicBezTo>
                  <a:cubicBezTo>
                    <a:pt x="61" y="8"/>
                    <a:pt x="61" y="9"/>
                    <a:pt x="61" y="9"/>
                  </a:cubicBezTo>
                  <a:cubicBezTo>
                    <a:pt x="61" y="10"/>
                    <a:pt x="61" y="10"/>
                    <a:pt x="61" y="10"/>
                  </a:cubicBezTo>
                  <a:moveTo>
                    <a:pt x="57" y="0"/>
                  </a:moveTo>
                  <a:cubicBezTo>
                    <a:pt x="56" y="0"/>
                    <a:pt x="56" y="1"/>
                    <a:pt x="56" y="1"/>
                  </a:cubicBezTo>
                  <a:cubicBezTo>
                    <a:pt x="56" y="2"/>
                    <a:pt x="56" y="3"/>
                    <a:pt x="56" y="3"/>
                  </a:cubicBezTo>
                  <a:cubicBezTo>
                    <a:pt x="55" y="3"/>
                    <a:pt x="55" y="3"/>
                    <a:pt x="55" y="3"/>
                  </a:cubicBezTo>
                  <a:cubicBezTo>
                    <a:pt x="55" y="3"/>
                    <a:pt x="56" y="1"/>
                    <a:pt x="55" y="1"/>
                  </a:cubicBezTo>
                  <a:cubicBezTo>
                    <a:pt x="55" y="1"/>
                    <a:pt x="55" y="1"/>
                    <a:pt x="55" y="1"/>
                  </a:cubicBezTo>
                  <a:cubicBezTo>
                    <a:pt x="54" y="1"/>
                    <a:pt x="54" y="3"/>
                    <a:pt x="54" y="3"/>
                  </a:cubicBezTo>
                  <a:cubicBezTo>
                    <a:pt x="54" y="5"/>
                    <a:pt x="53" y="6"/>
                    <a:pt x="52" y="6"/>
                  </a:cubicBezTo>
                  <a:cubicBezTo>
                    <a:pt x="52" y="6"/>
                    <a:pt x="52" y="6"/>
                    <a:pt x="52" y="6"/>
                  </a:cubicBezTo>
                  <a:cubicBezTo>
                    <a:pt x="50" y="7"/>
                    <a:pt x="50" y="7"/>
                    <a:pt x="50" y="7"/>
                  </a:cubicBezTo>
                  <a:cubicBezTo>
                    <a:pt x="50" y="7"/>
                    <a:pt x="50" y="7"/>
                    <a:pt x="50" y="7"/>
                  </a:cubicBezTo>
                  <a:cubicBezTo>
                    <a:pt x="50" y="7"/>
                    <a:pt x="50" y="7"/>
                    <a:pt x="50" y="7"/>
                  </a:cubicBezTo>
                  <a:cubicBezTo>
                    <a:pt x="50" y="7"/>
                    <a:pt x="50" y="7"/>
                    <a:pt x="50" y="7"/>
                  </a:cubicBezTo>
                  <a:cubicBezTo>
                    <a:pt x="50" y="7"/>
                    <a:pt x="50" y="7"/>
                    <a:pt x="50" y="7"/>
                  </a:cubicBezTo>
                  <a:cubicBezTo>
                    <a:pt x="50" y="7"/>
                    <a:pt x="50" y="7"/>
                    <a:pt x="50" y="7"/>
                  </a:cubicBezTo>
                  <a:cubicBezTo>
                    <a:pt x="49" y="8"/>
                    <a:pt x="49" y="8"/>
                    <a:pt x="49" y="8"/>
                  </a:cubicBezTo>
                  <a:cubicBezTo>
                    <a:pt x="49" y="9"/>
                    <a:pt x="49" y="9"/>
                    <a:pt x="49" y="9"/>
                  </a:cubicBezTo>
                  <a:cubicBezTo>
                    <a:pt x="49" y="10"/>
                    <a:pt x="48" y="11"/>
                    <a:pt x="49" y="13"/>
                  </a:cubicBezTo>
                  <a:cubicBezTo>
                    <a:pt x="49" y="14"/>
                    <a:pt x="50" y="15"/>
                    <a:pt x="50" y="15"/>
                  </a:cubicBezTo>
                  <a:cubicBezTo>
                    <a:pt x="50" y="16"/>
                    <a:pt x="49" y="17"/>
                    <a:pt x="48" y="18"/>
                  </a:cubicBezTo>
                  <a:cubicBezTo>
                    <a:pt x="48" y="19"/>
                    <a:pt x="47" y="20"/>
                    <a:pt x="48" y="20"/>
                  </a:cubicBezTo>
                  <a:cubicBezTo>
                    <a:pt x="48" y="20"/>
                    <a:pt x="49" y="20"/>
                    <a:pt x="49" y="20"/>
                  </a:cubicBezTo>
                  <a:cubicBezTo>
                    <a:pt x="50" y="19"/>
                    <a:pt x="51" y="18"/>
                    <a:pt x="51" y="18"/>
                  </a:cubicBezTo>
                  <a:cubicBezTo>
                    <a:pt x="51" y="18"/>
                    <a:pt x="51" y="19"/>
                    <a:pt x="50" y="19"/>
                  </a:cubicBezTo>
                  <a:cubicBezTo>
                    <a:pt x="51" y="20"/>
                    <a:pt x="50" y="20"/>
                    <a:pt x="50" y="21"/>
                  </a:cubicBezTo>
                  <a:cubicBezTo>
                    <a:pt x="50" y="21"/>
                    <a:pt x="50" y="22"/>
                    <a:pt x="50" y="23"/>
                  </a:cubicBezTo>
                  <a:cubicBezTo>
                    <a:pt x="50" y="25"/>
                    <a:pt x="51" y="24"/>
                    <a:pt x="51" y="26"/>
                  </a:cubicBezTo>
                  <a:cubicBezTo>
                    <a:pt x="51" y="26"/>
                    <a:pt x="51" y="26"/>
                    <a:pt x="51" y="26"/>
                  </a:cubicBezTo>
                  <a:cubicBezTo>
                    <a:pt x="50" y="26"/>
                    <a:pt x="50" y="26"/>
                    <a:pt x="50" y="26"/>
                  </a:cubicBezTo>
                  <a:cubicBezTo>
                    <a:pt x="50" y="26"/>
                    <a:pt x="50" y="26"/>
                    <a:pt x="49" y="26"/>
                  </a:cubicBezTo>
                  <a:cubicBezTo>
                    <a:pt x="49" y="26"/>
                    <a:pt x="49" y="26"/>
                    <a:pt x="49" y="26"/>
                  </a:cubicBezTo>
                  <a:cubicBezTo>
                    <a:pt x="49" y="26"/>
                    <a:pt x="48" y="25"/>
                    <a:pt x="48" y="25"/>
                  </a:cubicBezTo>
                  <a:cubicBezTo>
                    <a:pt x="47" y="25"/>
                    <a:pt x="47" y="25"/>
                    <a:pt x="47" y="26"/>
                  </a:cubicBezTo>
                  <a:cubicBezTo>
                    <a:pt x="47" y="27"/>
                    <a:pt x="47" y="27"/>
                    <a:pt x="47" y="27"/>
                  </a:cubicBezTo>
                  <a:cubicBezTo>
                    <a:pt x="47" y="27"/>
                    <a:pt x="47" y="27"/>
                    <a:pt x="48" y="27"/>
                  </a:cubicBezTo>
                  <a:cubicBezTo>
                    <a:pt x="48" y="27"/>
                    <a:pt x="48" y="27"/>
                    <a:pt x="48" y="27"/>
                  </a:cubicBezTo>
                  <a:cubicBezTo>
                    <a:pt x="48" y="27"/>
                    <a:pt x="48" y="27"/>
                    <a:pt x="48" y="29"/>
                  </a:cubicBezTo>
                  <a:cubicBezTo>
                    <a:pt x="47" y="31"/>
                    <a:pt x="44" y="33"/>
                    <a:pt x="42" y="33"/>
                  </a:cubicBezTo>
                  <a:cubicBezTo>
                    <a:pt x="40" y="33"/>
                    <a:pt x="40" y="32"/>
                    <a:pt x="40" y="30"/>
                  </a:cubicBezTo>
                  <a:cubicBezTo>
                    <a:pt x="40" y="29"/>
                    <a:pt x="42" y="29"/>
                    <a:pt x="41" y="28"/>
                  </a:cubicBezTo>
                  <a:cubicBezTo>
                    <a:pt x="41" y="26"/>
                    <a:pt x="40" y="26"/>
                    <a:pt x="40" y="25"/>
                  </a:cubicBezTo>
                  <a:cubicBezTo>
                    <a:pt x="39" y="22"/>
                    <a:pt x="40" y="21"/>
                    <a:pt x="41" y="19"/>
                  </a:cubicBezTo>
                  <a:cubicBezTo>
                    <a:pt x="41" y="18"/>
                    <a:pt x="42" y="15"/>
                    <a:pt x="43" y="14"/>
                  </a:cubicBezTo>
                  <a:cubicBezTo>
                    <a:pt x="43" y="13"/>
                    <a:pt x="43" y="12"/>
                    <a:pt x="44" y="12"/>
                  </a:cubicBezTo>
                  <a:cubicBezTo>
                    <a:pt x="44" y="11"/>
                    <a:pt x="45" y="10"/>
                    <a:pt x="46" y="9"/>
                  </a:cubicBezTo>
                  <a:cubicBezTo>
                    <a:pt x="46" y="9"/>
                    <a:pt x="46" y="8"/>
                    <a:pt x="46" y="8"/>
                  </a:cubicBezTo>
                  <a:cubicBezTo>
                    <a:pt x="46" y="8"/>
                    <a:pt x="46" y="8"/>
                    <a:pt x="46" y="8"/>
                  </a:cubicBezTo>
                  <a:cubicBezTo>
                    <a:pt x="44" y="8"/>
                    <a:pt x="44" y="8"/>
                    <a:pt x="44" y="8"/>
                  </a:cubicBezTo>
                  <a:cubicBezTo>
                    <a:pt x="43" y="8"/>
                    <a:pt x="41" y="9"/>
                    <a:pt x="40" y="9"/>
                  </a:cubicBezTo>
                  <a:cubicBezTo>
                    <a:pt x="38" y="10"/>
                    <a:pt x="38" y="10"/>
                    <a:pt x="38" y="10"/>
                  </a:cubicBezTo>
                  <a:cubicBezTo>
                    <a:pt x="33" y="11"/>
                    <a:pt x="33" y="11"/>
                    <a:pt x="33" y="11"/>
                  </a:cubicBezTo>
                  <a:cubicBezTo>
                    <a:pt x="24" y="14"/>
                    <a:pt x="15" y="16"/>
                    <a:pt x="6" y="18"/>
                  </a:cubicBezTo>
                  <a:cubicBezTo>
                    <a:pt x="6" y="19"/>
                    <a:pt x="5" y="19"/>
                    <a:pt x="4" y="19"/>
                  </a:cubicBezTo>
                  <a:cubicBezTo>
                    <a:pt x="3" y="19"/>
                    <a:pt x="1" y="20"/>
                    <a:pt x="0" y="20"/>
                  </a:cubicBezTo>
                  <a:cubicBezTo>
                    <a:pt x="0" y="20"/>
                    <a:pt x="0" y="20"/>
                    <a:pt x="0" y="20"/>
                  </a:cubicBezTo>
                  <a:cubicBezTo>
                    <a:pt x="0" y="20"/>
                    <a:pt x="0" y="20"/>
                    <a:pt x="0" y="20"/>
                  </a:cubicBezTo>
                  <a:cubicBezTo>
                    <a:pt x="0" y="33"/>
                    <a:pt x="0" y="46"/>
                    <a:pt x="0" y="59"/>
                  </a:cubicBezTo>
                  <a:cubicBezTo>
                    <a:pt x="0" y="101"/>
                    <a:pt x="0" y="101"/>
                    <a:pt x="0" y="101"/>
                  </a:cubicBezTo>
                  <a:cubicBezTo>
                    <a:pt x="5" y="101"/>
                    <a:pt x="5" y="101"/>
                    <a:pt x="5" y="101"/>
                  </a:cubicBezTo>
                  <a:cubicBezTo>
                    <a:pt x="4" y="102"/>
                    <a:pt x="4" y="102"/>
                    <a:pt x="4" y="102"/>
                  </a:cubicBezTo>
                  <a:cubicBezTo>
                    <a:pt x="4" y="102"/>
                    <a:pt x="4" y="102"/>
                    <a:pt x="4" y="102"/>
                  </a:cubicBezTo>
                  <a:cubicBezTo>
                    <a:pt x="5" y="102"/>
                    <a:pt x="6" y="102"/>
                    <a:pt x="7" y="102"/>
                  </a:cubicBezTo>
                  <a:cubicBezTo>
                    <a:pt x="7" y="102"/>
                    <a:pt x="7" y="102"/>
                    <a:pt x="8" y="102"/>
                  </a:cubicBezTo>
                  <a:cubicBezTo>
                    <a:pt x="8" y="102"/>
                    <a:pt x="8" y="102"/>
                    <a:pt x="8" y="102"/>
                  </a:cubicBezTo>
                  <a:cubicBezTo>
                    <a:pt x="8" y="102"/>
                    <a:pt x="8" y="102"/>
                    <a:pt x="8" y="102"/>
                  </a:cubicBezTo>
                  <a:cubicBezTo>
                    <a:pt x="8" y="102"/>
                    <a:pt x="8" y="102"/>
                    <a:pt x="8" y="102"/>
                  </a:cubicBezTo>
                  <a:cubicBezTo>
                    <a:pt x="9" y="102"/>
                    <a:pt x="10" y="101"/>
                    <a:pt x="11" y="101"/>
                  </a:cubicBezTo>
                  <a:cubicBezTo>
                    <a:pt x="13" y="101"/>
                    <a:pt x="13" y="101"/>
                    <a:pt x="13" y="101"/>
                  </a:cubicBezTo>
                  <a:cubicBezTo>
                    <a:pt x="14" y="101"/>
                    <a:pt x="15" y="101"/>
                    <a:pt x="15" y="101"/>
                  </a:cubicBezTo>
                  <a:cubicBezTo>
                    <a:pt x="15" y="101"/>
                    <a:pt x="15" y="101"/>
                    <a:pt x="15" y="101"/>
                  </a:cubicBezTo>
                  <a:cubicBezTo>
                    <a:pt x="15" y="100"/>
                    <a:pt x="15" y="99"/>
                    <a:pt x="14" y="97"/>
                  </a:cubicBezTo>
                  <a:cubicBezTo>
                    <a:pt x="14" y="96"/>
                    <a:pt x="14" y="95"/>
                    <a:pt x="15" y="94"/>
                  </a:cubicBezTo>
                  <a:cubicBezTo>
                    <a:pt x="15" y="93"/>
                    <a:pt x="15" y="93"/>
                    <a:pt x="16" y="92"/>
                  </a:cubicBezTo>
                  <a:cubicBezTo>
                    <a:pt x="16" y="89"/>
                    <a:pt x="17" y="87"/>
                    <a:pt x="19" y="86"/>
                  </a:cubicBezTo>
                  <a:cubicBezTo>
                    <a:pt x="20" y="85"/>
                    <a:pt x="20" y="85"/>
                    <a:pt x="20" y="85"/>
                  </a:cubicBezTo>
                  <a:cubicBezTo>
                    <a:pt x="20" y="85"/>
                    <a:pt x="21" y="84"/>
                    <a:pt x="21" y="84"/>
                  </a:cubicBezTo>
                  <a:cubicBezTo>
                    <a:pt x="23" y="84"/>
                    <a:pt x="25" y="83"/>
                    <a:pt x="27" y="83"/>
                  </a:cubicBezTo>
                  <a:cubicBezTo>
                    <a:pt x="27" y="83"/>
                    <a:pt x="27" y="83"/>
                    <a:pt x="27" y="83"/>
                  </a:cubicBezTo>
                  <a:cubicBezTo>
                    <a:pt x="28" y="83"/>
                    <a:pt x="28" y="83"/>
                    <a:pt x="29" y="83"/>
                  </a:cubicBezTo>
                  <a:cubicBezTo>
                    <a:pt x="31" y="82"/>
                    <a:pt x="31" y="82"/>
                    <a:pt x="32" y="81"/>
                  </a:cubicBezTo>
                  <a:cubicBezTo>
                    <a:pt x="32" y="80"/>
                    <a:pt x="32" y="80"/>
                    <a:pt x="32" y="79"/>
                  </a:cubicBezTo>
                  <a:cubicBezTo>
                    <a:pt x="33" y="78"/>
                    <a:pt x="34" y="75"/>
                    <a:pt x="36" y="74"/>
                  </a:cubicBezTo>
                  <a:cubicBezTo>
                    <a:pt x="37" y="74"/>
                    <a:pt x="37" y="74"/>
                    <a:pt x="37" y="74"/>
                  </a:cubicBezTo>
                  <a:cubicBezTo>
                    <a:pt x="38" y="74"/>
                    <a:pt x="38" y="74"/>
                    <a:pt x="39" y="75"/>
                  </a:cubicBezTo>
                  <a:cubicBezTo>
                    <a:pt x="39" y="75"/>
                    <a:pt x="40" y="75"/>
                    <a:pt x="40" y="75"/>
                  </a:cubicBezTo>
                  <a:cubicBezTo>
                    <a:pt x="41" y="75"/>
                    <a:pt x="41" y="75"/>
                    <a:pt x="41" y="75"/>
                  </a:cubicBezTo>
                  <a:cubicBezTo>
                    <a:pt x="41" y="73"/>
                    <a:pt x="43" y="71"/>
                    <a:pt x="44" y="70"/>
                  </a:cubicBezTo>
                  <a:cubicBezTo>
                    <a:pt x="45" y="70"/>
                    <a:pt x="45" y="69"/>
                    <a:pt x="46" y="68"/>
                  </a:cubicBezTo>
                  <a:cubicBezTo>
                    <a:pt x="47" y="67"/>
                    <a:pt x="47" y="67"/>
                    <a:pt x="47" y="67"/>
                  </a:cubicBezTo>
                  <a:cubicBezTo>
                    <a:pt x="49" y="68"/>
                    <a:pt x="49" y="68"/>
                    <a:pt x="49" y="68"/>
                  </a:cubicBezTo>
                  <a:cubicBezTo>
                    <a:pt x="49" y="69"/>
                    <a:pt x="50" y="69"/>
                    <a:pt x="50" y="69"/>
                  </a:cubicBezTo>
                  <a:cubicBezTo>
                    <a:pt x="51" y="70"/>
                    <a:pt x="51" y="70"/>
                    <a:pt x="51" y="70"/>
                  </a:cubicBezTo>
                  <a:cubicBezTo>
                    <a:pt x="52" y="71"/>
                    <a:pt x="53" y="73"/>
                    <a:pt x="54" y="73"/>
                  </a:cubicBezTo>
                  <a:cubicBezTo>
                    <a:pt x="55" y="74"/>
                    <a:pt x="55" y="74"/>
                    <a:pt x="55" y="74"/>
                  </a:cubicBezTo>
                  <a:cubicBezTo>
                    <a:pt x="56" y="74"/>
                    <a:pt x="56" y="74"/>
                    <a:pt x="56" y="74"/>
                  </a:cubicBezTo>
                  <a:cubicBezTo>
                    <a:pt x="56" y="74"/>
                    <a:pt x="56" y="73"/>
                    <a:pt x="57" y="73"/>
                  </a:cubicBezTo>
                  <a:cubicBezTo>
                    <a:pt x="58" y="73"/>
                    <a:pt x="59" y="74"/>
                    <a:pt x="60" y="75"/>
                  </a:cubicBezTo>
                  <a:cubicBezTo>
                    <a:pt x="61" y="77"/>
                    <a:pt x="61" y="77"/>
                    <a:pt x="61" y="77"/>
                  </a:cubicBezTo>
                  <a:cubicBezTo>
                    <a:pt x="62" y="78"/>
                    <a:pt x="62" y="78"/>
                    <a:pt x="62" y="78"/>
                  </a:cubicBezTo>
                  <a:cubicBezTo>
                    <a:pt x="62" y="78"/>
                    <a:pt x="62" y="78"/>
                    <a:pt x="62" y="78"/>
                  </a:cubicBezTo>
                  <a:cubicBezTo>
                    <a:pt x="62" y="79"/>
                    <a:pt x="62" y="79"/>
                    <a:pt x="62" y="79"/>
                  </a:cubicBezTo>
                  <a:cubicBezTo>
                    <a:pt x="64" y="79"/>
                    <a:pt x="66" y="79"/>
                    <a:pt x="68" y="79"/>
                  </a:cubicBezTo>
                  <a:cubicBezTo>
                    <a:pt x="68" y="79"/>
                    <a:pt x="68" y="79"/>
                    <a:pt x="68" y="79"/>
                  </a:cubicBezTo>
                  <a:cubicBezTo>
                    <a:pt x="71" y="79"/>
                    <a:pt x="74" y="81"/>
                    <a:pt x="76" y="82"/>
                  </a:cubicBezTo>
                  <a:cubicBezTo>
                    <a:pt x="80" y="84"/>
                    <a:pt x="80" y="84"/>
                    <a:pt x="80" y="84"/>
                  </a:cubicBezTo>
                  <a:cubicBezTo>
                    <a:pt x="76" y="86"/>
                    <a:pt x="76" y="86"/>
                    <a:pt x="76" y="86"/>
                  </a:cubicBezTo>
                  <a:cubicBezTo>
                    <a:pt x="76" y="86"/>
                    <a:pt x="76" y="87"/>
                    <a:pt x="76" y="88"/>
                  </a:cubicBezTo>
                  <a:cubicBezTo>
                    <a:pt x="78" y="89"/>
                    <a:pt x="79" y="90"/>
                    <a:pt x="81" y="91"/>
                  </a:cubicBezTo>
                  <a:cubicBezTo>
                    <a:pt x="83" y="94"/>
                    <a:pt x="83" y="94"/>
                    <a:pt x="83" y="94"/>
                  </a:cubicBezTo>
                  <a:cubicBezTo>
                    <a:pt x="80" y="95"/>
                    <a:pt x="80" y="95"/>
                    <a:pt x="80" y="95"/>
                  </a:cubicBezTo>
                  <a:cubicBezTo>
                    <a:pt x="80" y="95"/>
                    <a:pt x="79" y="96"/>
                    <a:pt x="79" y="96"/>
                  </a:cubicBezTo>
                  <a:cubicBezTo>
                    <a:pt x="79" y="97"/>
                    <a:pt x="79" y="97"/>
                    <a:pt x="79" y="98"/>
                  </a:cubicBezTo>
                  <a:cubicBezTo>
                    <a:pt x="79" y="98"/>
                    <a:pt x="79" y="98"/>
                    <a:pt x="79" y="98"/>
                  </a:cubicBezTo>
                  <a:cubicBezTo>
                    <a:pt x="79" y="99"/>
                    <a:pt x="79" y="99"/>
                    <a:pt x="78" y="99"/>
                  </a:cubicBezTo>
                  <a:cubicBezTo>
                    <a:pt x="78" y="100"/>
                    <a:pt x="78" y="100"/>
                    <a:pt x="78" y="100"/>
                  </a:cubicBezTo>
                  <a:cubicBezTo>
                    <a:pt x="78" y="100"/>
                    <a:pt x="78" y="100"/>
                    <a:pt x="78" y="100"/>
                  </a:cubicBezTo>
                  <a:cubicBezTo>
                    <a:pt x="79" y="101"/>
                    <a:pt x="79" y="101"/>
                    <a:pt x="79" y="101"/>
                  </a:cubicBezTo>
                  <a:cubicBezTo>
                    <a:pt x="80" y="101"/>
                    <a:pt x="80" y="102"/>
                    <a:pt x="80" y="102"/>
                  </a:cubicBezTo>
                  <a:cubicBezTo>
                    <a:pt x="81" y="102"/>
                    <a:pt x="81" y="102"/>
                    <a:pt x="81" y="102"/>
                  </a:cubicBezTo>
                  <a:cubicBezTo>
                    <a:pt x="82" y="103"/>
                    <a:pt x="83" y="103"/>
                    <a:pt x="83" y="103"/>
                  </a:cubicBezTo>
                  <a:cubicBezTo>
                    <a:pt x="84" y="103"/>
                    <a:pt x="84" y="103"/>
                    <a:pt x="85" y="103"/>
                  </a:cubicBezTo>
                  <a:cubicBezTo>
                    <a:pt x="85" y="103"/>
                    <a:pt x="86" y="103"/>
                    <a:pt x="86" y="103"/>
                  </a:cubicBezTo>
                  <a:cubicBezTo>
                    <a:pt x="87" y="103"/>
                    <a:pt x="87" y="103"/>
                    <a:pt x="87" y="103"/>
                  </a:cubicBezTo>
                  <a:cubicBezTo>
                    <a:pt x="89" y="103"/>
                    <a:pt x="92" y="103"/>
                    <a:pt x="94" y="104"/>
                  </a:cubicBezTo>
                  <a:cubicBezTo>
                    <a:pt x="94" y="104"/>
                    <a:pt x="95" y="104"/>
                    <a:pt x="96" y="104"/>
                  </a:cubicBezTo>
                  <a:cubicBezTo>
                    <a:pt x="97" y="105"/>
                    <a:pt x="97" y="105"/>
                    <a:pt x="97" y="105"/>
                  </a:cubicBezTo>
                  <a:cubicBezTo>
                    <a:pt x="98" y="104"/>
                    <a:pt x="98" y="104"/>
                    <a:pt x="98" y="104"/>
                  </a:cubicBezTo>
                  <a:cubicBezTo>
                    <a:pt x="98" y="104"/>
                    <a:pt x="99" y="103"/>
                    <a:pt x="99" y="103"/>
                  </a:cubicBezTo>
                  <a:cubicBezTo>
                    <a:pt x="100" y="102"/>
                    <a:pt x="100" y="102"/>
                    <a:pt x="101" y="102"/>
                  </a:cubicBezTo>
                  <a:cubicBezTo>
                    <a:pt x="101" y="102"/>
                    <a:pt x="102" y="102"/>
                    <a:pt x="102" y="102"/>
                  </a:cubicBezTo>
                  <a:cubicBezTo>
                    <a:pt x="105" y="102"/>
                    <a:pt x="107" y="103"/>
                    <a:pt x="109" y="105"/>
                  </a:cubicBezTo>
                  <a:cubicBezTo>
                    <a:pt x="112" y="108"/>
                    <a:pt x="114" y="113"/>
                    <a:pt x="116" y="117"/>
                  </a:cubicBezTo>
                  <a:cubicBezTo>
                    <a:pt x="116" y="118"/>
                    <a:pt x="116" y="118"/>
                    <a:pt x="116" y="118"/>
                  </a:cubicBezTo>
                  <a:cubicBezTo>
                    <a:pt x="116" y="119"/>
                    <a:pt x="117" y="120"/>
                    <a:pt x="117" y="120"/>
                  </a:cubicBezTo>
                  <a:cubicBezTo>
                    <a:pt x="117" y="121"/>
                    <a:pt x="118" y="122"/>
                    <a:pt x="119" y="122"/>
                  </a:cubicBezTo>
                  <a:cubicBezTo>
                    <a:pt x="120" y="123"/>
                    <a:pt x="121" y="124"/>
                    <a:pt x="122" y="126"/>
                  </a:cubicBezTo>
                  <a:cubicBezTo>
                    <a:pt x="122" y="127"/>
                    <a:pt x="122" y="127"/>
                    <a:pt x="122" y="127"/>
                  </a:cubicBezTo>
                  <a:cubicBezTo>
                    <a:pt x="122" y="128"/>
                    <a:pt x="122" y="128"/>
                    <a:pt x="122" y="129"/>
                  </a:cubicBezTo>
                  <a:cubicBezTo>
                    <a:pt x="122" y="129"/>
                    <a:pt x="122" y="129"/>
                    <a:pt x="122" y="129"/>
                  </a:cubicBezTo>
                  <a:cubicBezTo>
                    <a:pt x="123" y="130"/>
                    <a:pt x="123" y="131"/>
                    <a:pt x="123" y="132"/>
                  </a:cubicBezTo>
                  <a:cubicBezTo>
                    <a:pt x="124" y="133"/>
                    <a:pt x="124" y="133"/>
                    <a:pt x="124" y="133"/>
                  </a:cubicBezTo>
                  <a:cubicBezTo>
                    <a:pt x="124" y="134"/>
                    <a:pt x="126" y="135"/>
                    <a:pt x="127" y="135"/>
                  </a:cubicBezTo>
                  <a:cubicBezTo>
                    <a:pt x="128" y="136"/>
                    <a:pt x="128" y="136"/>
                    <a:pt x="129" y="137"/>
                  </a:cubicBezTo>
                  <a:cubicBezTo>
                    <a:pt x="132" y="139"/>
                    <a:pt x="132" y="139"/>
                    <a:pt x="132" y="139"/>
                  </a:cubicBezTo>
                  <a:cubicBezTo>
                    <a:pt x="133" y="140"/>
                    <a:pt x="134" y="140"/>
                    <a:pt x="135" y="141"/>
                  </a:cubicBezTo>
                  <a:cubicBezTo>
                    <a:pt x="138" y="143"/>
                    <a:pt x="141" y="146"/>
                    <a:pt x="144" y="147"/>
                  </a:cubicBezTo>
                  <a:cubicBezTo>
                    <a:pt x="145" y="148"/>
                    <a:pt x="146" y="148"/>
                    <a:pt x="147" y="149"/>
                  </a:cubicBezTo>
                  <a:cubicBezTo>
                    <a:pt x="149" y="150"/>
                    <a:pt x="149" y="150"/>
                    <a:pt x="149" y="150"/>
                  </a:cubicBezTo>
                  <a:cubicBezTo>
                    <a:pt x="153" y="152"/>
                    <a:pt x="157" y="154"/>
                    <a:pt x="160" y="157"/>
                  </a:cubicBezTo>
                  <a:cubicBezTo>
                    <a:pt x="162" y="158"/>
                    <a:pt x="165" y="160"/>
                    <a:pt x="167" y="161"/>
                  </a:cubicBezTo>
                  <a:cubicBezTo>
                    <a:pt x="170" y="162"/>
                    <a:pt x="170" y="162"/>
                    <a:pt x="170" y="162"/>
                  </a:cubicBezTo>
                  <a:cubicBezTo>
                    <a:pt x="170" y="163"/>
                    <a:pt x="171" y="163"/>
                    <a:pt x="172" y="164"/>
                  </a:cubicBezTo>
                  <a:cubicBezTo>
                    <a:pt x="173" y="165"/>
                    <a:pt x="175" y="166"/>
                    <a:pt x="176" y="167"/>
                  </a:cubicBezTo>
                  <a:cubicBezTo>
                    <a:pt x="177" y="167"/>
                    <a:pt x="177" y="167"/>
                    <a:pt x="177" y="167"/>
                  </a:cubicBezTo>
                  <a:cubicBezTo>
                    <a:pt x="178" y="168"/>
                    <a:pt x="178" y="168"/>
                    <a:pt x="179" y="169"/>
                  </a:cubicBezTo>
                  <a:cubicBezTo>
                    <a:pt x="180" y="169"/>
                    <a:pt x="180" y="169"/>
                    <a:pt x="180" y="169"/>
                  </a:cubicBezTo>
                  <a:cubicBezTo>
                    <a:pt x="181" y="170"/>
                    <a:pt x="182" y="171"/>
                    <a:pt x="183" y="171"/>
                  </a:cubicBezTo>
                  <a:cubicBezTo>
                    <a:pt x="183" y="171"/>
                    <a:pt x="183" y="171"/>
                    <a:pt x="183" y="171"/>
                  </a:cubicBezTo>
                  <a:cubicBezTo>
                    <a:pt x="184" y="170"/>
                    <a:pt x="184" y="170"/>
                    <a:pt x="184" y="170"/>
                  </a:cubicBezTo>
                  <a:cubicBezTo>
                    <a:pt x="185" y="170"/>
                    <a:pt x="185" y="170"/>
                    <a:pt x="185" y="170"/>
                  </a:cubicBezTo>
                  <a:cubicBezTo>
                    <a:pt x="185" y="170"/>
                    <a:pt x="186" y="170"/>
                    <a:pt x="186" y="170"/>
                  </a:cubicBezTo>
                  <a:cubicBezTo>
                    <a:pt x="189" y="170"/>
                    <a:pt x="191" y="171"/>
                    <a:pt x="193" y="172"/>
                  </a:cubicBezTo>
                  <a:cubicBezTo>
                    <a:pt x="193" y="172"/>
                    <a:pt x="193" y="172"/>
                    <a:pt x="193" y="172"/>
                  </a:cubicBezTo>
                  <a:cubicBezTo>
                    <a:pt x="195" y="173"/>
                    <a:pt x="196" y="174"/>
                    <a:pt x="197" y="174"/>
                  </a:cubicBezTo>
                  <a:cubicBezTo>
                    <a:pt x="202" y="176"/>
                    <a:pt x="202" y="176"/>
                    <a:pt x="202" y="176"/>
                  </a:cubicBezTo>
                  <a:cubicBezTo>
                    <a:pt x="203" y="177"/>
                    <a:pt x="203" y="179"/>
                    <a:pt x="203" y="179"/>
                  </a:cubicBezTo>
                  <a:cubicBezTo>
                    <a:pt x="203" y="180"/>
                    <a:pt x="203" y="180"/>
                    <a:pt x="203" y="180"/>
                  </a:cubicBezTo>
                  <a:cubicBezTo>
                    <a:pt x="203" y="181"/>
                    <a:pt x="203" y="182"/>
                    <a:pt x="203" y="182"/>
                  </a:cubicBezTo>
                  <a:cubicBezTo>
                    <a:pt x="203" y="183"/>
                    <a:pt x="203" y="183"/>
                    <a:pt x="203" y="183"/>
                  </a:cubicBezTo>
                  <a:cubicBezTo>
                    <a:pt x="202" y="184"/>
                    <a:pt x="202" y="184"/>
                    <a:pt x="202" y="185"/>
                  </a:cubicBezTo>
                  <a:cubicBezTo>
                    <a:pt x="202" y="189"/>
                    <a:pt x="202" y="189"/>
                    <a:pt x="202" y="189"/>
                  </a:cubicBezTo>
                  <a:cubicBezTo>
                    <a:pt x="201" y="189"/>
                    <a:pt x="201" y="189"/>
                    <a:pt x="201" y="190"/>
                  </a:cubicBezTo>
                  <a:cubicBezTo>
                    <a:pt x="204" y="190"/>
                    <a:pt x="204" y="190"/>
                    <a:pt x="204" y="190"/>
                  </a:cubicBezTo>
                  <a:cubicBezTo>
                    <a:pt x="205" y="190"/>
                    <a:pt x="206" y="190"/>
                    <a:pt x="207" y="190"/>
                  </a:cubicBezTo>
                  <a:cubicBezTo>
                    <a:pt x="209" y="190"/>
                    <a:pt x="210" y="191"/>
                    <a:pt x="212" y="193"/>
                  </a:cubicBezTo>
                  <a:cubicBezTo>
                    <a:pt x="212" y="193"/>
                    <a:pt x="212" y="193"/>
                    <a:pt x="212" y="193"/>
                  </a:cubicBezTo>
                  <a:cubicBezTo>
                    <a:pt x="213" y="194"/>
                    <a:pt x="213" y="194"/>
                    <a:pt x="213" y="194"/>
                  </a:cubicBezTo>
                  <a:cubicBezTo>
                    <a:pt x="213" y="194"/>
                    <a:pt x="213" y="194"/>
                    <a:pt x="213" y="194"/>
                  </a:cubicBezTo>
                  <a:cubicBezTo>
                    <a:pt x="213" y="194"/>
                    <a:pt x="213" y="194"/>
                    <a:pt x="213" y="194"/>
                  </a:cubicBezTo>
                  <a:cubicBezTo>
                    <a:pt x="214" y="194"/>
                    <a:pt x="214" y="194"/>
                    <a:pt x="214" y="194"/>
                  </a:cubicBezTo>
                  <a:cubicBezTo>
                    <a:pt x="214" y="194"/>
                    <a:pt x="215" y="194"/>
                    <a:pt x="216" y="194"/>
                  </a:cubicBezTo>
                  <a:cubicBezTo>
                    <a:pt x="216" y="194"/>
                    <a:pt x="217" y="194"/>
                    <a:pt x="217" y="194"/>
                  </a:cubicBezTo>
                  <a:cubicBezTo>
                    <a:pt x="218" y="194"/>
                    <a:pt x="219" y="194"/>
                    <a:pt x="220" y="194"/>
                  </a:cubicBezTo>
                  <a:cubicBezTo>
                    <a:pt x="220" y="192"/>
                    <a:pt x="220" y="192"/>
                    <a:pt x="220" y="192"/>
                  </a:cubicBezTo>
                  <a:cubicBezTo>
                    <a:pt x="221" y="193"/>
                    <a:pt x="221" y="193"/>
                    <a:pt x="221" y="193"/>
                  </a:cubicBezTo>
                  <a:cubicBezTo>
                    <a:pt x="221" y="192"/>
                    <a:pt x="221" y="192"/>
                    <a:pt x="221" y="192"/>
                  </a:cubicBezTo>
                  <a:cubicBezTo>
                    <a:pt x="221" y="191"/>
                    <a:pt x="221" y="191"/>
                    <a:pt x="221" y="191"/>
                  </a:cubicBezTo>
                  <a:cubicBezTo>
                    <a:pt x="221" y="191"/>
                    <a:pt x="221" y="191"/>
                    <a:pt x="221" y="191"/>
                  </a:cubicBezTo>
                  <a:cubicBezTo>
                    <a:pt x="221" y="190"/>
                    <a:pt x="221" y="190"/>
                    <a:pt x="221" y="189"/>
                  </a:cubicBezTo>
                  <a:cubicBezTo>
                    <a:pt x="221" y="189"/>
                    <a:pt x="221" y="189"/>
                    <a:pt x="221" y="189"/>
                  </a:cubicBezTo>
                  <a:cubicBezTo>
                    <a:pt x="221" y="188"/>
                    <a:pt x="221" y="188"/>
                    <a:pt x="221" y="188"/>
                  </a:cubicBezTo>
                  <a:cubicBezTo>
                    <a:pt x="222" y="187"/>
                    <a:pt x="223" y="186"/>
                    <a:pt x="224" y="185"/>
                  </a:cubicBezTo>
                  <a:cubicBezTo>
                    <a:pt x="225" y="184"/>
                    <a:pt x="225" y="184"/>
                    <a:pt x="225" y="184"/>
                  </a:cubicBezTo>
                  <a:cubicBezTo>
                    <a:pt x="225" y="183"/>
                    <a:pt x="225" y="183"/>
                    <a:pt x="225" y="183"/>
                  </a:cubicBezTo>
                  <a:cubicBezTo>
                    <a:pt x="226" y="182"/>
                    <a:pt x="226" y="182"/>
                    <a:pt x="226" y="182"/>
                  </a:cubicBezTo>
                  <a:cubicBezTo>
                    <a:pt x="230" y="176"/>
                    <a:pt x="231" y="175"/>
                    <a:pt x="231" y="174"/>
                  </a:cubicBezTo>
                  <a:cubicBezTo>
                    <a:pt x="231" y="174"/>
                    <a:pt x="231" y="174"/>
                    <a:pt x="231" y="174"/>
                  </a:cubicBezTo>
                  <a:cubicBezTo>
                    <a:pt x="230" y="173"/>
                    <a:pt x="230" y="173"/>
                    <a:pt x="230" y="173"/>
                  </a:cubicBezTo>
                  <a:cubicBezTo>
                    <a:pt x="230" y="173"/>
                    <a:pt x="229" y="172"/>
                    <a:pt x="229" y="172"/>
                  </a:cubicBezTo>
                  <a:cubicBezTo>
                    <a:pt x="228" y="171"/>
                    <a:pt x="228" y="171"/>
                    <a:pt x="228" y="171"/>
                  </a:cubicBezTo>
                  <a:cubicBezTo>
                    <a:pt x="228" y="171"/>
                    <a:pt x="228" y="171"/>
                    <a:pt x="228" y="171"/>
                  </a:cubicBezTo>
                  <a:cubicBezTo>
                    <a:pt x="227" y="170"/>
                    <a:pt x="227" y="169"/>
                    <a:pt x="226" y="168"/>
                  </a:cubicBezTo>
                  <a:cubicBezTo>
                    <a:pt x="226" y="167"/>
                    <a:pt x="226" y="167"/>
                    <a:pt x="226" y="166"/>
                  </a:cubicBezTo>
                  <a:cubicBezTo>
                    <a:pt x="227" y="163"/>
                    <a:pt x="227" y="163"/>
                    <a:pt x="227" y="163"/>
                  </a:cubicBezTo>
                  <a:cubicBezTo>
                    <a:pt x="228" y="160"/>
                    <a:pt x="227" y="159"/>
                    <a:pt x="227" y="159"/>
                  </a:cubicBezTo>
                  <a:cubicBezTo>
                    <a:pt x="227" y="159"/>
                    <a:pt x="225" y="158"/>
                    <a:pt x="224" y="158"/>
                  </a:cubicBezTo>
                  <a:cubicBezTo>
                    <a:pt x="220" y="158"/>
                    <a:pt x="219" y="158"/>
                    <a:pt x="216" y="155"/>
                  </a:cubicBezTo>
                  <a:cubicBezTo>
                    <a:pt x="216" y="154"/>
                    <a:pt x="216" y="154"/>
                    <a:pt x="216" y="154"/>
                  </a:cubicBezTo>
                  <a:cubicBezTo>
                    <a:pt x="215" y="154"/>
                    <a:pt x="215" y="154"/>
                    <a:pt x="215" y="154"/>
                  </a:cubicBezTo>
                  <a:cubicBezTo>
                    <a:pt x="214" y="153"/>
                    <a:pt x="214" y="153"/>
                    <a:pt x="214" y="153"/>
                  </a:cubicBezTo>
                  <a:cubicBezTo>
                    <a:pt x="213" y="151"/>
                    <a:pt x="212" y="150"/>
                    <a:pt x="212" y="148"/>
                  </a:cubicBezTo>
                  <a:cubicBezTo>
                    <a:pt x="212" y="148"/>
                    <a:pt x="212" y="148"/>
                    <a:pt x="212" y="148"/>
                  </a:cubicBezTo>
                  <a:cubicBezTo>
                    <a:pt x="213" y="145"/>
                    <a:pt x="214" y="144"/>
                    <a:pt x="216" y="142"/>
                  </a:cubicBezTo>
                  <a:cubicBezTo>
                    <a:pt x="217" y="142"/>
                    <a:pt x="217" y="142"/>
                    <a:pt x="217" y="142"/>
                  </a:cubicBezTo>
                  <a:cubicBezTo>
                    <a:pt x="218" y="141"/>
                    <a:pt x="219" y="140"/>
                    <a:pt x="220" y="140"/>
                  </a:cubicBezTo>
                  <a:cubicBezTo>
                    <a:pt x="220" y="140"/>
                    <a:pt x="220" y="140"/>
                    <a:pt x="220" y="140"/>
                  </a:cubicBezTo>
                  <a:cubicBezTo>
                    <a:pt x="220" y="140"/>
                    <a:pt x="221" y="140"/>
                    <a:pt x="222" y="140"/>
                  </a:cubicBezTo>
                  <a:cubicBezTo>
                    <a:pt x="222" y="140"/>
                    <a:pt x="223" y="140"/>
                    <a:pt x="224" y="140"/>
                  </a:cubicBezTo>
                  <a:cubicBezTo>
                    <a:pt x="226" y="140"/>
                    <a:pt x="228" y="141"/>
                    <a:pt x="230" y="141"/>
                  </a:cubicBezTo>
                  <a:cubicBezTo>
                    <a:pt x="231" y="141"/>
                    <a:pt x="232" y="141"/>
                    <a:pt x="233" y="141"/>
                  </a:cubicBezTo>
                  <a:cubicBezTo>
                    <a:pt x="234" y="141"/>
                    <a:pt x="234" y="141"/>
                    <a:pt x="234" y="141"/>
                  </a:cubicBezTo>
                  <a:cubicBezTo>
                    <a:pt x="234" y="141"/>
                    <a:pt x="234" y="141"/>
                    <a:pt x="234" y="141"/>
                  </a:cubicBezTo>
                  <a:cubicBezTo>
                    <a:pt x="235" y="141"/>
                    <a:pt x="235" y="141"/>
                    <a:pt x="235" y="141"/>
                  </a:cubicBezTo>
                  <a:cubicBezTo>
                    <a:pt x="235" y="141"/>
                    <a:pt x="235" y="140"/>
                    <a:pt x="236" y="138"/>
                  </a:cubicBezTo>
                  <a:cubicBezTo>
                    <a:pt x="236" y="137"/>
                    <a:pt x="236" y="137"/>
                    <a:pt x="236" y="137"/>
                  </a:cubicBezTo>
                  <a:cubicBezTo>
                    <a:pt x="236" y="136"/>
                    <a:pt x="237" y="135"/>
                    <a:pt x="238" y="134"/>
                  </a:cubicBezTo>
                  <a:cubicBezTo>
                    <a:pt x="238" y="133"/>
                    <a:pt x="239" y="133"/>
                    <a:pt x="239" y="133"/>
                  </a:cubicBezTo>
                  <a:cubicBezTo>
                    <a:pt x="238" y="132"/>
                    <a:pt x="237" y="132"/>
                    <a:pt x="236" y="130"/>
                  </a:cubicBezTo>
                  <a:cubicBezTo>
                    <a:pt x="235" y="127"/>
                    <a:pt x="235" y="127"/>
                    <a:pt x="235" y="127"/>
                  </a:cubicBezTo>
                  <a:cubicBezTo>
                    <a:pt x="245" y="126"/>
                    <a:pt x="245" y="126"/>
                    <a:pt x="245" y="126"/>
                  </a:cubicBezTo>
                  <a:cubicBezTo>
                    <a:pt x="246" y="126"/>
                    <a:pt x="246" y="126"/>
                    <a:pt x="246" y="126"/>
                  </a:cubicBezTo>
                  <a:cubicBezTo>
                    <a:pt x="247" y="126"/>
                    <a:pt x="247" y="126"/>
                    <a:pt x="248" y="126"/>
                  </a:cubicBezTo>
                  <a:cubicBezTo>
                    <a:pt x="247" y="124"/>
                    <a:pt x="247" y="122"/>
                    <a:pt x="247" y="120"/>
                  </a:cubicBezTo>
                  <a:cubicBezTo>
                    <a:pt x="248" y="119"/>
                    <a:pt x="248" y="118"/>
                    <a:pt x="249" y="117"/>
                  </a:cubicBezTo>
                  <a:cubicBezTo>
                    <a:pt x="249" y="116"/>
                    <a:pt x="249" y="116"/>
                    <a:pt x="249" y="116"/>
                  </a:cubicBezTo>
                  <a:cubicBezTo>
                    <a:pt x="250" y="115"/>
                    <a:pt x="250" y="115"/>
                    <a:pt x="250" y="115"/>
                  </a:cubicBezTo>
                  <a:cubicBezTo>
                    <a:pt x="250" y="114"/>
                    <a:pt x="250" y="114"/>
                    <a:pt x="250" y="114"/>
                  </a:cubicBezTo>
                  <a:cubicBezTo>
                    <a:pt x="252" y="114"/>
                    <a:pt x="252" y="114"/>
                    <a:pt x="252" y="114"/>
                  </a:cubicBezTo>
                  <a:cubicBezTo>
                    <a:pt x="252" y="114"/>
                    <a:pt x="252" y="114"/>
                    <a:pt x="252" y="114"/>
                  </a:cubicBezTo>
                  <a:cubicBezTo>
                    <a:pt x="253" y="114"/>
                    <a:pt x="253" y="114"/>
                    <a:pt x="253" y="114"/>
                  </a:cubicBezTo>
                  <a:cubicBezTo>
                    <a:pt x="253" y="114"/>
                    <a:pt x="253" y="114"/>
                    <a:pt x="253" y="114"/>
                  </a:cubicBezTo>
                  <a:cubicBezTo>
                    <a:pt x="254" y="114"/>
                    <a:pt x="254" y="114"/>
                    <a:pt x="255" y="115"/>
                  </a:cubicBezTo>
                  <a:cubicBezTo>
                    <a:pt x="255" y="115"/>
                    <a:pt x="255" y="115"/>
                    <a:pt x="255" y="115"/>
                  </a:cubicBezTo>
                  <a:cubicBezTo>
                    <a:pt x="256" y="115"/>
                    <a:pt x="256" y="115"/>
                    <a:pt x="256" y="115"/>
                  </a:cubicBezTo>
                  <a:cubicBezTo>
                    <a:pt x="256" y="115"/>
                    <a:pt x="257" y="116"/>
                    <a:pt x="257" y="116"/>
                  </a:cubicBezTo>
                  <a:cubicBezTo>
                    <a:pt x="258" y="116"/>
                    <a:pt x="258" y="116"/>
                    <a:pt x="258" y="116"/>
                  </a:cubicBezTo>
                  <a:cubicBezTo>
                    <a:pt x="259" y="116"/>
                    <a:pt x="259" y="116"/>
                    <a:pt x="259" y="116"/>
                  </a:cubicBezTo>
                  <a:cubicBezTo>
                    <a:pt x="259" y="116"/>
                    <a:pt x="259" y="116"/>
                    <a:pt x="259" y="116"/>
                  </a:cubicBezTo>
                  <a:cubicBezTo>
                    <a:pt x="259" y="116"/>
                    <a:pt x="260" y="116"/>
                    <a:pt x="260" y="116"/>
                  </a:cubicBezTo>
                  <a:cubicBezTo>
                    <a:pt x="261" y="115"/>
                    <a:pt x="262" y="115"/>
                    <a:pt x="263" y="114"/>
                  </a:cubicBezTo>
                  <a:cubicBezTo>
                    <a:pt x="263" y="114"/>
                    <a:pt x="263" y="114"/>
                    <a:pt x="263" y="114"/>
                  </a:cubicBezTo>
                  <a:cubicBezTo>
                    <a:pt x="264" y="114"/>
                    <a:pt x="264" y="114"/>
                    <a:pt x="264" y="114"/>
                  </a:cubicBezTo>
                  <a:cubicBezTo>
                    <a:pt x="265" y="114"/>
                    <a:pt x="266" y="113"/>
                    <a:pt x="267" y="112"/>
                  </a:cubicBezTo>
                  <a:cubicBezTo>
                    <a:pt x="267" y="112"/>
                    <a:pt x="267" y="112"/>
                    <a:pt x="267" y="112"/>
                  </a:cubicBezTo>
                  <a:cubicBezTo>
                    <a:pt x="268" y="111"/>
                    <a:pt x="268" y="111"/>
                    <a:pt x="269" y="111"/>
                  </a:cubicBezTo>
                  <a:cubicBezTo>
                    <a:pt x="269" y="110"/>
                    <a:pt x="269" y="110"/>
                    <a:pt x="270" y="110"/>
                  </a:cubicBezTo>
                  <a:cubicBezTo>
                    <a:pt x="270" y="109"/>
                    <a:pt x="271" y="109"/>
                    <a:pt x="271" y="108"/>
                  </a:cubicBezTo>
                  <a:cubicBezTo>
                    <a:pt x="272" y="108"/>
                    <a:pt x="272" y="108"/>
                    <a:pt x="272" y="108"/>
                  </a:cubicBezTo>
                  <a:cubicBezTo>
                    <a:pt x="273" y="107"/>
                    <a:pt x="273" y="107"/>
                    <a:pt x="273" y="107"/>
                  </a:cubicBezTo>
                  <a:cubicBezTo>
                    <a:pt x="283" y="118"/>
                    <a:pt x="283" y="118"/>
                    <a:pt x="283" y="118"/>
                  </a:cubicBezTo>
                  <a:cubicBezTo>
                    <a:pt x="281" y="119"/>
                    <a:pt x="281" y="119"/>
                    <a:pt x="281" y="119"/>
                  </a:cubicBezTo>
                  <a:cubicBezTo>
                    <a:pt x="279" y="121"/>
                    <a:pt x="277" y="122"/>
                    <a:pt x="275" y="124"/>
                  </a:cubicBezTo>
                  <a:cubicBezTo>
                    <a:pt x="276" y="125"/>
                    <a:pt x="277" y="125"/>
                    <a:pt x="278" y="126"/>
                  </a:cubicBezTo>
                  <a:cubicBezTo>
                    <a:pt x="278" y="126"/>
                    <a:pt x="279" y="126"/>
                    <a:pt x="280" y="126"/>
                  </a:cubicBezTo>
                  <a:cubicBezTo>
                    <a:pt x="280" y="126"/>
                    <a:pt x="280" y="126"/>
                    <a:pt x="280" y="126"/>
                  </a:cubicBezTo>
                  <a:cubicBezTo>
                    <a:pt x="281" y="126"/>
                    <a:pt x="281" y="126"/>
                    <a:pt x="282" y="126"/>
                  </a:cubicBezTo>
                  <a:cubicBezTo>
                    <a:pt x="283" y="125"/>
                    <a:pt x="283" y="125"/>
                    <a:pt x="283" y="125"/>
                  </a:cubicBezTo>
                  <a:cubicBezTo>
                    <a:pt x="283" y="125"/>
                    <a:pt x="283" y="125"/>
                    <a:pt x="283" y="125"/>
                  </a:cubicBezTo>
                  <a:cubicBezTo>
                    <a:pt x="284" y="125"/>
                    <a:pt x="284" y="125"/>
                    <a:pt x="285" y="125"/>
                  </a:cubicBezTo>
                  <a:cubicBezTo>
                    <a:pt x="285" y="125"/>
                    <a:pt x="285" y="125"/>
                    <a:pt x="285" y="125"/>
                  </a:cubicBezTo>
                  <a:cubicBezTo>
                    <a:pt x="286" y="125"/>
                    <a:pt x="288" y="124"/>
                    <a:pt x="289" y="124"/>
                  </a:cubicBezTo>
                  <a:cubicBezTo>
                    <a:pt x="290" y="124"/>
                    <a:pt x="290" y="124"/>
                    <a:pt x="290" y="124"/>
                  </a:cubicBezTo>
                  <a:cubicBezTo>
                    <a:pt x="291" y="124"/>
                    <a:pt x="291" y="125"/>
                    <a:pt x="292" y="125"/>
                  </a:cubicBezTo>
                  <a:cubicBezTo>
                    <a:pt x="292" y="125"/>
                    <a:pt x="293" y="125"/>
                    <a:pt x="294" y="126"/>
                  </a:cubicBezTo>
                  <a:cubicBezTo>
                    <a:pt x="294" y="126"/>
                    <a:pt x="295" y="126"/>
                    <a:pt x="296" y="127"/>
                  </a:cubicBezTo>
                  <a:cubicBezTo>
                    <a:pt x="297" y="127"/>
                    <a:pt x="297" y="127"/>
                    <a:pt x="298" y="127"/>
                  </a:cubicBezTo>
                  <a:cubicBezTo>
                    <a:pt x="298" y="127"/>
                    <a:pt x="299" y="127"/>
                    <a:pt x="300" y="127"/>
                  </a:cubicBezTo>
                  <a:cubicBezTo>
                    <a:pt x="300" y="127"/>
                    <a:pt x="300" y="127"/>
                    <a:pt x="300" y="127"/>
                  </a:cubicBezTo>
                  <a:cubicBezTo>
                    <a:pt x="301" y="126"/>
                    <a:pt x="301" y="126"/>
                    <a:pt x="301" y="126"/>
                  </a:cubicBezTo>
                  <a:cubicBezTo>
                    <a:pt x="301" y="126"/>
                    <a:pt x="301" y="126"/>
                    <a:pt x="301" y="126"/>
                  </a:cubicBezTo>
                  <a:cubicBezTo>
                    <a:pt x="301" y="125"/>
                    <a:pt x="301" y="125"/>
                    <a:pt x="302" y="124"/>
                  </a:cubicBezTo>
                  <a:cubicBezTo>
                    <a:pt x="302" y="123"/>
                    <a:pt x="303" y="123"/>
                    <a:pt x="303" y="122"/>
                  </a:cubicBezTo>
                  <a:cubicBezTo>
                    <a:pt x="304" y="122"/>
                    <a:pt x="304" y="122"/>
                    <a:pt x="304" y="122"/>
                  </a:cubicBezTo>
                  <a:cubicBezTo>
                    <a:pt x="305" y="121"/>
                    <a:pt x="305" y="121"/>
                    <a:pt x="305" y="121"/>
                  </a:cubicBezTo>
                  <a:cubicBezTo>
                    <a:pt x="305" y="121"/>
                    <a:pt x="305" y="121"/>
                    <a:pt x="305" y="121"/>
                  </a:cubicBezTo>
                  <a:cubicBezTo>
                    <a:pt x="305" y="122"/>
                    <a:pt x="305" y="122"/>
                    <a:pt x="305" y="122"/>
                  </a:cubicBezTo>
                  <a:cubicBezTo>
                    <a:pt x="305" y="121"/>
                    <a:pt x="305" y="121"/>
                    <a:pt x="305" y="121"/>
                  </a:cubicBezTo>
                  <a:cubicBezTo>
                    <a:pt x="306" y="121"/>
                    <a:pt x="306" y="121"/>
                    <a:pt x="306" y="121"/>
                  </a:cubicBezTo>
                  <a:cubicBezTo>
                    <a:pt x="306" y="121"/>
                    <a:pt x="306" y="121"/>
                    <a:pt x="306" y="121"/>
                  </a:cubicBezTo>
                  <a:cubicBezTo>
                    <a:pt x="307" y="121"/>
                    <a:pt x="307" y="121"/>
                    <a:pt x="307" y="121"/>
                  </a:cubicBezTo>
                  <a:cubicBezTo>
                    <a:pt x="307" y="121"/>
                    <a:pt x="307" y="121"/>
                    <a:pt x="307" y="121"/>
                  </a:cubicBezTo>
                  <a:cubicBezTo>
                    <a:pt x="307" y="120"/>
                    <a:pt x="307" y="120"/>
                    <a:pt x="307" y="120"/>
                  </a:cubicBezTo>
                  <a:cubicBezTo>
                    <a:pt x="307" y="119"/>
                    <a:pt x="308" y="118"/>
                    <a:pt x="309" y="118"/>
                  </a:cubicBezTo>
                  <a:cubicBezTo>
                    <a:pt x="310" y="118"/>
                    <a:pt x="310" y="118"/>
                    <a:pt x="310" y="118"/>
                  </a:cubicBezTo>
                  <a:cubicBezTo>
                    <a:pt x="310" y="118"/>
                    <a:pt x="310" y="118"/>
                    <a:pt x="310" y="118"/>
                  </a:cubicBezTo>
                  <a:cubicBezTo>
                    <a:pt x="311" y="118"/>
                    <a:pt x="311" y="118"/>
                    <a:pt x="312" y="118"/>
                  </a:cubicBezTo>
                  <a:cubicBezTo>
                    <a:pt x="312" y="118"/>
                    <a:pt x="312" y="118"/>
                    <a:pt x="312" y="118"/>
                  </a:cubicBezTo>
                  <a:cubicBezTo>
                    <a:pt x="313" y="118"/>
                    <a:pt x="313" y="119"/>
                    <a:pt x="313" y="119"/>
                  </a:cubicBezTo>
                  <a:cubicBezTo>
                    <a:pt x="314" y="119"/>
                    <a:pt x="314" y="119"/>
                    <a:pt x="314" y="119"/>
                  </a:cubicBezTo>
                  <a:cubicBezTo>
                    <a:pt x="315" y="119"/>
                    <a:pt x="315" y="119"/>
                    <a:pt x="315" y="119"/>
                  </a:cubicBezTo>
                  <a:cubicBezTo>
                    <a:pt x="315" y="119"/>
                    <a:pt x="315" y="119"/>
                    <a:pt x="315" y="119"/>
                  </a:cubicBezTo>
                  <a:cubicBezTo>
                    <a:pt x="315" y="118"/>
                    <a:pt x="316" y="118"/>
                    <a:pt x="316" y="117"/>
                  </a:cubicBezTo>
                  <a:cubicBezTo>
                    <a:pt x="317" y="117"/>
                    <a:pt x="317" y="117"/>
                    <a:pt x="317" y="117"/>
                  </a:cubicBezTo>
                  <a:cubicBezTo>
                    <a:pt x="317" y="116"/>
                    <a:pt x="317" y="116"/>
                    <a:pt x="317" y="116"/>
                  </a:cubicBezTo>
                  <a:cubicBezTo>
                    <a:pt x="315" y="116"/>
                    <a:pt x="314" y="116"/>
                    <a:pt x="313" y="115"/>
                  </a:cubicBezTo>
                  <a:cubicBezTo>
                    <a:pt x="313" y="115"/>
                    <a:pt x="313" y="115"/>
                    <a:pt x="313" y="115"/>
                  </a:cubicBezTo>
                  <a:cubicBezTo>
                    <a:pt x="312" y="115"/>
                    <a:pt x="312" y="115"/>
                    <a:pt x="312" y="115"/>
                  </a:cubicBezTo>
                  <a:cubicBezTo>
                    <a:pt x="312" y="114"/>
                    <a:pt x="312" y="114"/>
                    <a:pt x="312" y="114"/>
                  </a:cubicBezTo>
                  <a:cubicBezTo>
                    <a:pt x="311" y="114"/>
                    <a:pt x="311" y="114"/>
                    <a:pt x="311" y="114"/>
                  </a:cubicBezTo>
                  <a:cubicBezTo>
                    <a:pt x="310" y="113"/>
                    <a:pt x="310" y="113"/>
                    <a:pt x="310" y="113"/>
                  </a:cubicBezTo>
                  <a:cubicBezTo>
                    <a:pt x="309" y="116"/>
                    <a:pt x="309" y="116"/>
                    <a:pt x="309" y="116"/>
                  </a:cubicBezTo>
                  <a:cubicBezTo>
                    <a:pt x="309" y="113"/>
                    <a:pt x="309" y="113"/>
                    <a:pt x="309" y="113"/>
                  </a:cubicBezTo>
                  <a:cubicBezTo>
                    <a:pt x="309" y="113"/>
                    <a:pt x="309" y="113"/>
                    <a:pt x="309" y="113"/>
                  </a:cubicBezTo>
                  <a:cubicBezTo>
                    <a:pt x="309" y="113"/>
                    <a:pt x="308" y="113"/>
                    <a:pt x="308" y="113"/>
                  </a:cubicBezTo>
                  <a:cubicBezTo>
                    <a:pt x="308" y="113"/>
                    <a:pt x="308" y="113"/>
                    <a:pt x="308" y="113"/>
                  </a:cubicBezTo>
                  <a:cubicBezTo>
                    <a:pt x="307" y="113"/>
                    <a:pt x="307" y="113"/>
                    <a:pt x="307" y="113"/>
                  </a:cubicBezTo>
                  <a:cubicBezTo>
                    <a:pt x="304" y="114"/>
                    <a:pt x="304" y="114"/>
                    <a:pt x="304" y="114"/>
                  </a:cubicBezTo>
                  <a:cubicBezTo>
                    <a:pt x="304" y="111"/>
                    <a:pt x="304" y="111"/>
                    <a:pt x="304" y="111"/>
                  </a:cubicBezTo>
                  <a:cubicBezTo>
                    <a:pt x="304" y="111"/>
                    <a:pt x="304" y="110"/>
                    <a:pt x="304" y="110"/>
                  </a:cubicBezTo>
                  <a:cubicBezTo>
                    <a:pt x="304" y="109"/>
                    <a:pt x="304" y="109"/>
                    <a:pt x="304" y="109"/>
                  </a:cubicBezTo>
                  <a:cubicBezTo>
                    <a:pt x="303" y="109"/>
                    <a:pt x="303" y="109"/>
                    <a:pt x="303" y="109"/>
                  </a:cubicBezTo>
                  <a:cubicBezTo>
                    <a:pt x="303" y="109"/>
                    <a:pt x="303" y="109"/>
                    <a:pt x="303" y="109"/>
                  </a:cubicBezTo>
                  <a:cubicBezTo>
                    <a:pt x="302" y="109"/>
                    <a:pt x="302" y="109"/>
                    <a:pt x="302" y="109"/>
                  </a:cubicBezTo>
                  <a:cubicBezTo>
                    <a:pt x="301" y="109"/>
                    <a:pt x="300" y="108"/>
                    <a:pt x="300" y="108"/>
                  </a:cubicBezTo>
                  <a:cubicBezTo>
                    <a:pt x="299" y="107"/>
                    <a:pt x="299" y="106"/>
                    <a:pt x="299" y="106"/>
                  </a:cubicBezTo>
                  <a:cubicBezTo>
                    <a:pt x="298" y="105"/>
                    <a:pt x="298" y="104"/>
                    <a:pt x="297" y="104"/>
                  </a:cubicBezTo>
                  <a:cubicBezTo>
                    <a:pt x="297" y="106"/>
                    <a:pt x="297" y="106"/>
                    <a:pt x="297" y="106"/>
                  </a:cubicBezTo>
                  <a:cubicBezTo>
                    <a:pt x="295" y="106"/>
                    <a:pt x="295" y="106"/>
                    <a:pt x="295" y="106"/>
                  </a:cubicBezTo>
                  <a:cubicBezTo>
                    <a:pt x="294" y="106"/>
                    <a:pt x="294" y="106"/>
                    <a:pt x="294" y="106"/>
                  </a:cubicBezTo>
                  <a:cubicBezTo>
                    <a:pt x="294" y="107"/>
                    <a:pt x="294" y="107"/>
                    <a:pt x="294" y="107"/>
                  </a:cubicBezTo>
                  <a:cubicBezTo>
                    <a:pt x="294" y="107"/>
                    <a:pt x="294" y="108"/>
                    <a:pt x="294" y="108"/>
                  </a:cubicBezTo>
                  <a:cubicBezTo>
                    <a:pt x="294" y="111"/>
                    <a:pt x="294" y="111"/>
                    <a:pt x="294" y="111"/>
                  </a:cubicBezTo>
                  <a:cubicBezTo>
                    <a:pt x="291" y="110"/>
                    <a:pt x="291" y="110"/>
                    <a:pt x="291" y="110"/>
                  </a:cubicBezTo>
                  <a:cubicBezTo>
                    <a:pt x="291" y="110"/>
                    <a:pt x="291" y="110"/>
                    <a:pt x="290" y="110"/>
                  </a:cubicBezTo>
                  <a:cubicBezTo>
                    <a:pt x="290" y="110"/>
                    <a:pt x="290" y="110"/>
                    <a:pt x="289" y="110"/>
                  </a:cubicBezTo>
                  <a:cubicBezTo>
                    <a:pt x="288" y="110"/>
                    <a:pt x="288" y="110"/>
                    <a:pt x="288" y="110"/>
                  </a:cubicBezTo>
                  <a:cubicBezTo>
                    <a:pt x="288" y="110"/>
                    <a:pt x="287" y="110"/>
                    <a:pt x="287" y="110"/>
                  </a:cubicBezTo>
                  <a:cubicBezTo>
                    <a:pt x="285" y="109"/>
                    <a:pt x="282" y="109"/>
                    <a:pt x="280" y="108"/>
                  </a:cubicBezTo>
                  <a:cubicBezTo>
                    <a:pt x="277" y="107"/>
                    <a:pt x="277" y="105"/>
                    <a:pt x="276" y="104"/>
                  </a:cubicBezTo>
                  <a:cubicBezTo>
                    <a:pt x="276" y="103"/>
                    <a:pt x="276" y="103"/>
                    <a:pt x="276" y="103"/>
                  </a:cubicBezTo>
                  <a:cubicBezTo>
                    <a:pt x="275" y="104"/>
                    <a:pt x="275" y="104"/>
                    <a:pt x="275" y="104"/>
                  </a:cubicBezTo>
                  <a:cubicBezTo>
                    <a:pt x="275" y="104"/>
                    <a:pt x="274" y="104"/>
                    <a:pt x="274" y="104"/>
                  </a:cubicBezTo>
                  <a:cubicBezTo>
                    <a:pt x="273" y="104"/>
                    <a:pt x="272" y="103"/>
                    <a:pt x="271" y="102"/>
                  </a:cubicBezTo>
                  <a:cubicBezTo>
                    <a:pt x="271" y="102"/>
                    <a:pt x="271" y="102"/>
                    <a:pt x="271" y="102"/>
                  </a:cubicBezTo>
                  <a:cubicBezTo>
                    <a:pt x="270" y="102"/>
                    <a:pt x="270" y="102"/>
                    <a:pt x="270" y="102"/>
                  </a:cubicBezTo>
                  <a:cubicBezTo>
                    <a:pt x="270" y="102"/>
                    <a:pt x="270" y="102"/>
                    <a:pt x="270" y="102"/>
                  </a:cubicBezTo>
                  <a:cubicBezTo>
                    <a:pt x="269" y="102"/>
                    <a:pt x="269" y="102"/>
                    <a:pt x="269" y="102"/>
                  </a:cubicBezTo>
                  <a:cubicBezTo>
                    <a:pt x="269" y="102"/>
                    <a:pt x="268" y="102"/>
                    <a:pt x="268" y="101"/>
                  </a:cubicBezTo>
                  <a:cubicBezTo>
                    <a:pt x="267" y="101"/>
                    <a:pt x="267" y="101"/>
                    <a:pt x="267" y="101"/>
                  </a:cubicBezTo>
                  <a:cubicBezTo>
                    <a:pt x="267" y="101"/>
                    <a:pt x="266" y="101"/>
                    <a:pt x="266" y="100"/>
                  </a:cubicBezTo>
                  <a:cubicBezTo>
                    <a:pt x="265" y="98"/>
                    <a:pt x="267" y="96"/>
                    <a:pt x="268" y="94"/>
                  </a:cubicBezTo>
                  <a:cubicBezTo>
                    <a:pt x="270" y="93"/>
                    <a:pt x="273" y="91"/>
                    <a:pt x="276" y="89"/>
                  </a:cubicBezTo>
                  <a:cubicBezTo>
                    <a:pt x="265" y="95"/>
                    <a:pt x="265" y="95"/>
                    <a:pt x="265" y="95"/>
                  </a:cubicBezTo>
                  <a:cubicBezTo>
                    <a:pt x="262" y="96"/>
                    <a:pt x="260" y="98"/>
                    <a:pt x="257" y="100"/>
                  </a:cubicBezTo>
                  <a:cubicBezTo>
                    <a:pt x="256" y="101"/>
                    <a:pt x="256" y="101"/>
                    <a:pt x="256" y="101"/>
                  </a:cubicBezTo>
                  <a:cubicBezTo>
                    <a:pt x="255" y="102"/>
                    <a:pt x="254" y="103"/>
                    <a:pt x="252" y="104"/>
                  </a:cubicBezTo>
                  <a:cubicBezTo>
                    <a:pt x="255" y="108"/>
                    <a:pt x="255" y="108"/>
                    <a:pt x="255" y="108"/>
                  </a:cubicBezTo>
                  <a:cubicBezTo>
                    <a:pt x="251" y="104"/>
                    <a:pt x="251" y="104"/>
                    <a:pt x="251" y="104"/>
                  </a:cubicBezTo>
                  <a:cubicBezTo>
                    <a:pt x="251" y="104"/>
                    <a:pt x="251" y="104"/>
                    <a:pt x="251" y="104"/>
                  </a:cubicBezTo>
                  <a:cubicBezTo>
                    <a:pt x="250" y="105"/>
                    <a:pt x="249" y="106"/>
                    <a:pt x="248" y="107"/>
                  </a:cubicBezTo>
                  <a:cubicBezTo>
                    <a:pt x="248" y="107"/>
                    <a:pt x="248" y="108"/>
                    <a:pt x="247" y="109"/>
                  </a:cubicBezTo>
                  <a:cubicBezTo>
                    <a:pt x="244" y="110"/>
                    <a:pt x="244" y="110"/>
                    <a:pt x="244" y="110"/>
                  </a:cubicBezTo>
                  <a:cubicBezTo>
                    <a:pt x="242" y="112"/>
                    <a:pt x="241" y="113"/>
                    <a:pt x="241" y="114"/>
                  </a:cubicBezTo>
                  <a:cubicBezTo>
                    <a:pt x="241" y="115"/>
                    <a:pt x="241" y="115"/>
                    <a:pt x="241" y="115"/>
                  </a:cubicBezTo>
                  <a:cubicBezTo>
                    <a:pt x="241" y="116"/>
                    <a:pt x="241" y="116"/>
                    <a:pt x="241" y="116"/>
                  </a:cubicBezTo>
                  <a:cubicBezTo>
                    <a:pt x="241" y="118"/>
                    <a:pt x="241" y="120"/>
                    <a:pt x="239" y="121"/>
                  </a:cubicBezTo>
                  <a:cubicBezTo>
                    <a:pt x="239" y="122"/>
                    <a:pt x="238" y="122"/>
                    <a:pt x="238" y="122"/>
                  </a:cubicBezTo>
                  <a:cubicBezTo>
                    <a:pt x="237" y="122"/>
                    <a:pt x="237" y="122"/>
                    <a:pt x="237" y="122"/>
                  </a:cubicBezTo>
                  <a:cubicBezTo>
                    <a:pt x="237" y="121"/>
                    <a:pt x="237" y="121"/>
                    <a:pt x="237" y="121"/>
                  </a:cubicBezTo>
                  <a:cubicBezTo>
                    <a:pt x="237" y="122"/>
                    <a:pt x="237" y="122"/>
                    <a:pt x="237" y="122"/>
                  </a:cubicBezTo>
                  <a:cubicBezTo>
                    <a:pt x="237" y="122"/>
                    <a:pt x="237" y="122"/>
                    <a:pt x="237" y="122"/>
                  </a:cubicBezTo>
                  <a:cubicBezTo>
                    <a:pt x="236" y="122"/>
                    <a:pt x="236" y="122"/>
                    <a:pt x="236" y="122"/>
                  </a:cubicBezTo>
                  <a:cubicBezTo>
                    <a:pt x="236" y="122"/>
                    <a:pt x="236" y="122"/>
                    <a:pt x="236" y="122"/>
                  </a:cubicBezTo>
                  <a:cubicBezTo>
                    <a:pt x="236" y="121"/>
                    <a:pt x="236" y="121"/>
                    <a:pt x="236" y="121"/>
                  </a:cubicBezTo>
                  <a:cubicBezTo>
                    <a:pt x="235" y="122"/>
                    <a:pt x="235" y="122"/>
                    <a:pt x="235" y="122"/>
                  </a:cubicBezTo>
                  <a:cubicBezTo>
                    <a:pt x="235" y="122"/>
                    <a:pt x="234" y="122"/>
                    <a:pt x="234" y="122"/>
                  </a:cubicBezTo>
                  <a:cubicBezTo>
                    <a:pt x="231" y="120"/>
                    <a:pt x="228" y="119"/>
                    <a:pt x="225" y="117"/>
                  </a:cubicBezTo>
                  <a:cubicBezTo>
                    <a:pt x="223" y="115"/>
                    <a:pt x="223" y="115"/>
                    <a:pt x="223" y="115"/>
                  </a:cubicBezTo>
                  <a:cubicBezTo>
                    <a:pt x="225" y="113"/>
                    <a:pt x="225" y="113"/>
                    <a:pt x="225" y="113"/>
                  </a:cubicBezTo>
                  <a:cubicBezTo>
                    <a:pt x="225" y="113"/>
                    <a:pt x="226" y="112"/>
                    <a:pt x="226" y="112"/>
                  </a:cubicBezTo>
                  <a:cubicBezTo>
                    <a:pt x="226" y="111"/>
                    <a:pt x="226" y="111"/>
                    <a:pt x="226" y="111"/>
                  </a:cubicBezTo>
                  <a:cubicBezTo>
                    <a:pt x="226" y="111"/>
                    <a:pt x="226" y="111"/>
                    <a:pt x="226" y="111"/>
                  </a:cubicBezTo>
                  <a:cubicBezTo>
                    <a:pt x="226" y="111"/>
                    <a:pt x="226" y="111"/>
                    <a:pt x="226" y="111"/>
                  </a:cubicBezTo>
                  <a:cubicBezTo>
                    <a:pt x="225" y="110"/>
                    <a:pt x="225" y="110"/>
                    <a:pt x="225" y="110"/>
                  </a:cubicBezTo>
                  <a:cubicBezTo>
                    <a:pt x="224" y="110"/>
                    <a:pt x="224" y="109"/>
                    <a:pt x="224" y="109"/>
                  </a:cubicBezTo>
                  <a:cubicBezTo>
                    <a:pt x="223" y="109"/>
                    <a:pt x="223" y="109"/>
                    <a:pt x="223" y="109"/>
                  </a:cubicBezTo>
                  <a:cubicBezTo>
                    <a:pt x="222" y="109"/>
                    <a:pt x="221" y="109"/>
                    <a:pt x="221" y="109"/>
                  </a:cubicBezTo>
                  <a:cubicBezTo>
                    <a:pt x="220" y="109"/>
                    <a:pt x="220" y="109"/>
                    <a:pt x="220" y="109"/>
                  </a:cubicBezTo>
                  <a:cubicBezTo>
                    <a:pt x="220" y="109"/>
                    <a:pt x="220" y="109"/>
                    <a:pt x="219" y="109"/>
                  </a:cubicBezTo>
                  <a:cubicBezTo>
                    <a:pt x="203" y="110"/>
                    <a:pt x="203" y="110"/>
                    <a:pt x="203" y="110"/>
                  </a:cubicBezTo>
                  <a:cubicBezTo>
                    <a:pt x="203" y="110"/>
                    <a:pt x="203" y="110"/>
                    <a:pt x="203" y="110"/>
                  </a:cubicBezTo>
                  <a:cubicBezTo>
                    <a:pt x="201" y="109"/>
                    <a:pt x="200" y="109"/>
                    <a:pt x="200" y="108"/>
                  </a:cubicBezTo>
                  <a:cubicBezTo>
                    <a:pt x="200" y="107"/>
                    <a:pt x="200" y="106"/>
                    <a:pt x="199" y="105"/>
                  </a:cubicBezTo>
                  <a:cubicBezTo>
                    <a:pt x="199" y="104"/>
                    <a:pt x="199" y="104"/>
                    <a:pt x="199" y="104"/>
                  </a:cubicBezTo>
                  <a:cubicBezTo>
                    <a:pt x="199" y="103"/>
                    <a:pt x="199" y="103"/>
                    <a:pt x="199" y="103"/>
                  </a:cubicBezTo>
                  <a:cubicBezTo>
                    <a:pt x="198" y="100"/>
                    <a:pt x="198" y="100"/>
                    <a:pt x="198" y="100"/>
                  </a:cubicBezTo>
                  <a:cubicBezTo>
                    <a:pt x="197" y="98"/>
                    <a:pt x="197" y="95"/>
                    <a:pt x="196" y="93"/>
                  </a:cubicBezTo>
                  <a:cubicBezTo>
                    <a:pt x="196" y="92"/>
                    <a:pt x="196" y="92"/>
                    <a:pt x="196" y="92"/>
                  </a:cubicBezTo>
                  <a:cubicBezTo>
                    <a:pt x="196" y="91"/>
                    <a:pt x="196" y="91"/>
                    <a:pt x="196" y="91"/>
                  </a:cubicBezTo>
                  <a:cubicBezTo>
                    <a:pt x="196" y="90"/>
                    <a:pt x="196" y="90"/>
                    <a:pt x="196" y="90"/>
                  </a:cubicBezTo>
                  <a:cubicBezTo>
                    <a:pt x="196" y="90"/>
                    <a:pt x="196" y="90"/>
                    <a:pt x="196" y="90"/>
                  </a:cubicBezTo>
                  <a:cubicBezTo>
                    <a:pt x="195" y="90"/>
                    <a:pt x="194" y="90"/>
                    <a:pt x="194" y="90"/>
                  </a:cubicBezTo>
                  <a:cubicBezTo>
                    <a:pt x="193" y="90"/>
                    <a:pt x="193" y="91"/>
                    <a:pt x="192" y="91"/>
                  </a:cubicBezTo>
                  <a:cubicBezTo>
                    <a:pt x="192" y="91"/>
                    <a:pt x="192" y="91"/>
                    <a:pt x="191" y="90"/>
                  </a:cubicBezTo>
                  <a:cubicBezTo>
                    <a:pt x="191" y="91"/>
                    <a:pt x="191" y="91"/>
                    <a:pt x="191" y="91"/>
                  </a:cubicBezTo>
                  <a:cubicBezTo>
                    <a:pt x="191" y="91"/>
                    <a:pt x="191" y="91"/>
                    <a:pt x="191" y="91"/>
                  </a:cubicBezTo>
                  <a:cubicBezTo>
                    <a:pt x="189" y="90"/>
                    <a:pt x="187" y="90"/>
                    <a:pt x="187" y="88"/>
                  </a:cubicBezTo>
                  <a:cubicBezTo>
                    <a:pt x="187" y="87"/>
                    <a:pt x="186" y="86"/>
                    <a:pt x="186" y="84"/>
                  </a:cubicBezTo>
                  <a:cubicBezTo>
                    <a:pt x="187" y="83"/>
                    <a:pt x="187" y="82"/>
                    <a:pt x="187" y="81"/>
                  </a:cubicBezTo>
                  <a:cubicBezTo>
                    <a:pt x="187" y="81"/>
                    <a:pt x="187" y="81"/>
                    <a:pt x="187" y="80"/>
                  </a:cubicBezTo>
                  <a:cubicBezTo>
                    <a:pt x="187" y="79"/>
                    <a:pt x="187" y="77"/>
                    <a:pt x="187" y="76"/>
                  </a:cubicBezTo>
                  <a:cubicBezTo>
                    <a:pt x="188" y="74"/>
                    <a:pt x="188" y="73"/>
                    <a:pt x="188" y="72"/>
                  </a:cubicBezTo>
                  <a:cubicBezTo>
                    <a:pt x="188" y="71"/>
                    <a:pt x="188" y="71"/>
                    <a:pt x="188" y="71"/>
                  </a:cubicBezTo>
                  <a:cubicBezTo>
                    <a:pt x="188" y="70"/>
                    <a:pt x="188" y="69"/>
                    <a:pt x="189" y="69"/>
                  </a:cubicBezTo>
                  <a:cubicBezTo>
                    <a:pt x="188" y="69"/>
                    <a:pt x="188" y="69"/>
                    <a:pt x="187" y="69"/>
                  </a:cubicBezTo>
                  <a:cubicBezTo>
                    <a:pt x="185" y="69"/>
                    <a:pt x="183" y="67"/>
                    <a:pt x="183" y="66"/>
                  </a:cubicBezTo>
                  <a:cubicBezTo>
                    <a:pt x="182" y="66"/>
                    <a:pt x="182" y="66"/>
                    <a:pt x="182" y="66"/>
                  </a:cubicBezTo>
                  <a:cubicBezTo>
                    <a:pt x="182" y="65"/>
                    <a:pt x="182" y="65"/>
                    <a:pt x="182" y="65"/>
                  </a:cubicBezTo>
                  <a:cubicBezTo>
                    <a:pt x="181" y="65"/>
                    <a:pt x="181" y="65"/>
                    <a:pt x="181" y="65"/>
                  </a:cubicBezTo>
                  <a:cubicBezTo>
                    <a:pt x="181" y="64"/>
                    <a:pt x="181" y="64"/>
                    <a:pt x="181" y="64"/>
                  </a:cubicBezTo>
                  <a:cubicBezTo>
                    <a:pt x="179" y="62"/>
                    <a:pt x="177" y="60"/>
                    <a:pt x="175" y="58"/>
                  </a:cubicBezTo>
                  <a:cubicBezTo>
                    <a:pt x="174" y="57"/>
                    <a:pt x="174" y="57"/>
                    <a:pt x="174" y="57"/>
                  </a:cubicBezTo>
                  <a:cubicBezTo>
                    <a:pt x="173" y="57"/>
                    <a:pt x="173" y="56"/>
                    <a:pt x="173" y="56"/>
                  </a:cubicBezTo>
                  <a:cubicBezTo>
                    <a:pt x="171" y="54"/>
                    <a:pt x="171" y="54"/>
                    <a:pt x="171" y="54"/>
                  </a:cubicBezTo>
                  <a:cubicBezTo>
                    <a:pt x="170" y="53"/>
                    <a:pt x="169" y="52"/>
                    <a:pt x="168" y="52"/>
                  </a:cubicBezTo>
                  <a:cubicBezTo>
                    <a:pt x="168" y="51"/>
                    <a:pt x="167" y="51"/>
                    <a:pt x="167" y="51"/>
                  </a:cubicBezTo>
                  <a:cubicBezTo>
                    <a:pt x="166" y="51"/>
                    <a:pt x="165" y="52"/>
                    <a:pt x="165" y="52"/>
                  </a:cubicBezTo>
                  <a:cubicBezTo>
                    <a:pt x="165" y="52"/>
                    <a:pt x="165" y="52"/>
                    <a:pt x="165" y="52"/>
                  </a:cubicBezTo>
                  <a:cubicBezTo>
                    <a:pt x="167" y="56"/>
                    <a:pt x="167" y="56"/>
                    <a:pt x="167" y="56"/>
                  </a:cubicBezTo>
                  <a:cubicBezTo>
                    <a:pt x="164" y="53"/>
                    <a:pt x="164" y="53"/>
                    <a:pt x="164" y="53"/>
                  </a:cubicBezTo>
                  <a:cubicBezTo>
                    <a:pt x="163" y="53"/>
                    <a:pt x="163" y="53"/>
                    <a:pt x="163" y="53"/>
                  </a:cubicBezTo>
                  <a:cubicBezTo>
                    <a:pt x="162" y="54"/>
                    <a:pt x="160" y="54"/>
                    <a:pt x="158" y="54"/>
                  </a:cubicBezTo>
                  <a:cubicBezTo>
                    <a:pt x="158" y="54"/>
                    <a:pt x="158" y="54"/>
                    <a:pt x="158" y="54"/>
                  </a:cubicBezTo>
                  <a:cubicBezTo>
                    <a:pt x="153" y="54"/>
                    <a:pt x="153" y="54"/>
                    <a:pt x="153" y="54"/>
                  </a:cubicBezTo>
                  <a:cubicBezTo>
                    <a:pt x="150" y="54"/>
                    <a:pt x="149" y="53"/>
                    <a:pt x="147" y="53"/>
                  </a:cubicBezTo>
                  <a:cubicBezTo>
                    <a:pt x="144" y="53"/>
                    <a:pt x="140" y="53"/>
                    <a:pt x="138" y="53"/>
                  </a:cubicBezTo>
                  <a:cubicBezTo>
                    <a:pt x="137" y="53"/>
                    <a:pt x="136" y="53"/>
                    <a:pt x="135" y="53"/>
                  </a:cubicBezTo>
                  <a:cubicBezTo>
                    <a:pt x="131" y="53"/>
                    <a:pt x="128" y="54"/>
                    <a:pt x="124" y="55"/>
                  </a:cubicBezTo>
                  <a:cubicBezTo>
                    <a:pt x="121" y="55"/>
                    <a:pt x="118" y="56"/>
                    <a:pt x="115" y="56"/>
                  </a:cubicBezTo>
                  <a:cubicBezTo>
                    <a:pt x="115" y="56"/>
                    <a:pt x="114" y="56"/>
                    <a:pt x="114" y="56"/>
                  </a:cubicBezTo>
                  <a:cubicBezTo>
                    <a:pt x="113" y="56"/>
                    <a:pt x="113" y="56"/>
                    <a:pt x="112" y="56"/>
                  </a:cubicBezTo>
                  <a:cubicBezTo>
                    <a:pt x="112" y="56"/>
                    <a:pt x="112" y="56"/>
                    <a:pt x="112" y="56"/>
                  </a:cubicBezTo>
                  <a:cubicBezTo>
                    <a:pt x="111" y="55"/>
                    <a:pt x="110" y="55"/>
                    <a:pt x="109" y="54"/>
                  </a:cubicBezTo>
                  <a:cubicBezTo>
                    <a:pt x="109" y="54"/>
                    <a:pt x="109" y="54"/>
                    <a:pt x="109" y="54"/>
                  </a:cubicBezTo>
                  <a:cubicBezTo>
                    <a:pt x="108" y="53"/>
                    <a:pt x="108" y="53"/>
                    <a:pt x="107" y="52"/>
                  </a:cubicBezTo>
                  <a:cubicBezTo>
                    <a:pt x="107" y="51"/>
                    <a:pt x="107" y="51"/>
                    <a:pt x="107" y="51"/>
                  </a:cubicBezTo>
                  <a:cubicBezTo>
                    <a:pt x="106" y="51"/>
                    <a:pt x="106" y="51"/>
                    <a:pt x="106" y="51"/>
                  </a:cubicBezTo>
                  <a:cubicBezTo>
                    <a:pt x="103" y="48"/>
                    <a:pt x="101" y="46"/>
                    <a:pt x="99" y="44"/>
                  </a:cubicBezTo>
                  <a:cubicBezTo>
                    <a:pt x="99" y="44"/>
                    <a:pt x="95" y="39"/>
                    <a:pt x="93" y="36"/>
                  </a:cubicBezTo>
                  <a:cubicBezTo>
                    <a:pt x="92" y="34"/>
                    <a:pt x="82" y="28"/>
                    <a:pt x="78" y="26"/>
                  </a:cubicBezTo>
                  <a:cubicBezTo>
                    <a:pt x="76" y="25"/>
                    <a:pt x="76" y="25"/>
                    <a:pt x="76" y="25"/>
                  </a:cubicBezTo>
                  <a:cubicBezTo>
                    <a:pt x="76" y="28"/>
                    <a:pt x="76" y="31"/>
                    <a:pt x="76" y="34"/>
                  </a:cubicBezTo>
                  <a:cubicBezTo>
                    <a:pt x="76" y="35"/>
                    <a:pt x="75" y="36"/>
                    <a:pt x="75" y="36"/>
                  </a:cubicBezTo>
                  <a:cubicBezTo>
                    <a:pt x="74" y="37"/>
                    <a:pt x="72" y="38"/>
                    <a:pt x="71" y="38"/>
                  </a:cubicBezTo>
                  <a:cubicBezTo>
                    <a:pt x="71" y="39"/>
                    <a:pt x="72" y="41"/>
                    <a:pt x="72" y="41"/>
                  </a:cubicBezTo>
                  <a:cubicBezTo>
                    <a:pt x="72" y="41"/>
                    <a:pt x="71" y="41"/>
                    <a:pt x="71" y="41"/>
                  </a:cubicBezTo>
                  <a:cubicBezTo>
                    <a:pt x="71" y="41"/>
                    <a:pt x="70" y="40"/>
                    <a:pt x="70" y="40"/>
                  </a:cubicBezTo>
                  <a:cubicBezTo>
                    <a:pt x="70" y="40"/>
                    <a:pt x="70" y="40"/>
                    <a:pt x="69" y="40"/>
                  </a:cubicBezTo>
                  <a:cubicBezTo>
                    <a:pt x="69" y="40"/>
                    <a:pt x="69" y="40"/>
                    <a:pt x="68" y="40"/>
                  </a:cubicBezTo>
                  <a:cubicBezTo>
                    <a:pt x="68" y="40"/>
                    <a:pt x="67" y="41"/>
                    <a:pt x="66" y="41"/>
                  </a:cubicBezTo>
                  <a:cubicBezTo>
                    <a:pt x="66" y="41"/>
                    <a:pt x="66" y="41"/>
                    <a:pt x="66" y="40"/>
                  </a:cubicBezTo>
                  <a:cubicBezTo>
                    <a:pt x="63" y="40"/>
                    <a:pt x="65" y="38"/>
                    <a:pt x="63" y="37"/>
                  </a:cubicBezTo>
                  <a:cubicBezTo>
                    <a:pt x="61" y="35"/>
                    <a:pt x="59" y="32"/>
                    <a:pt x="58" y="28"/>
                  </a:cubicBezTo>
                  <a:cubicBezTo>
                    <a:pt x="57" y="24"/>
                    <a:pt x="61" y="20"/>
                    <a:pt x="63" y="16"/>
                  </a:cubicBezTo>
                  <a:cubicBezTo>
                    <a:pt x="63" y="16"/>
                    <a:pt x="63" y="16"/>
                    <a:pt x="63" y="16"/>
                  </a:cubicBezTo>
                  <a:cubicBezTo>
                    <a:pt x="64" y="15"/>
                    <a:pt x="64" y="15"/>
                    <a:pt x="64" y="15"/>
                  </a:cubicBezTo>
                  <a:cubicBezTo>
                    <a:pt x="64" y="15"/>
                    <a:pt x="64" y="15"/>
                    <a:pt x="64" y="15"/>
                  </a:cubicBezTo>
                  <a:cubicBezTo>
                    <a:pt x="67" y="17"/>
                    <a:pt x="70" y="19"/>
                    <a:pt x="74" y="21"/>
                  </a:cubicBezTo>
                  <a:cubicBezTo>
                    <a:pt x="70" y="19"/>
                    <a:pt x="67" y="17"/>
                    <a:pt x="64" y="15"/>
                  </a:cubicBezTo>
                  <a:cubicBezTo>
                    <a:pt x="64" y="15"/>
                    <a:pt x="64" y="14"/>
                    <a:pt x="64" y="14"/>
                  </a:cubicBezTo>
                  <a:cubicBezTo>
                    <a:pt x="64" y="14"/>
                    <a:pt x="64" y="14"/>
                    <a:pt x="64" y="14"/>
                  </a:cubicBezTo>
                  <a:cubicBezTo>
                    <a:pt x="64" y="13"/>
                    <a:pt x="64" y="13"/>
                    <a:pt x="64" y="13"/>
                  </a:cubicBezTo>
                  <a:cubicBezTo>
                    <a:pt x="64" y="13"/>
                    <a:pt x="64" y="12"/>
                    <a:pt x="64" y="12"/>
                  </a:cubicBezTo>
                  <a:cubicBezTo>
                    <a:pt x="63" y="13"/>
                    <a:pt x="63" y="13"/>
                    <a:pt x="63" y="13"/>
                  </a:cubicBezTo>
                  <a:cubicBezTo>
                    <a:pt x="62" y="12"/>
                    <a:pt x="62" y="10"/>
                    <a:pt x="62" y="8"/>
                  </a:cubicBezTo>
                  <a:cubicBezTo>
                    <a:pt x="62" y="7"/>
                    <a:pt x="63" y="6"/>
                    <a:pt x="62" y="6"/>
                  </a:cubicBezTo>
                  <a:cubicBezTo>
                    <a:pt x="62" y="6"/>
                    <a:pt x="61" y="6"/>
                    <a:pt x="61" y="6"/>
                  </a:cubicBezTo>
                  <a:cubicBezTo>
                    <a:pt x="61" y="5"/>
                    <a:pt x="61" y="5"/>
                    <a:pt x="61" y="4"/>
                  </a:cubicBezTo>
                  <a:cubicBezTo>
                    <a:pt x="60" y="3"/>
                    <a:pt x="59" y="4"/>
                    <a:pt x="59" y="3"/>
                  </a:cubicBezTo>
                  <a:cubicBezTo>
                    <a:pt x="58" y="2"/>
                    <a:pt x="59" y="1"/>
                    <a:pt x="58" y="0"/>
                  </a:cubicBezTo>
                  <a:cubicBezTo>
                    <a:pt x="57" y="0"/>
                    <a:pt x="57" y="0"/>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 name="Freeform 448">
              <a:extLst>
                <a:ext uri="{FF2B5EF4-FFF2-40B4-BE49-F238E27FC236}">
                  <a16:creationId xmlns:a16="http://schemas.microsoft.com/office/drawing/2014/main" id="{5433CB5A-63FC-41DB-ABA5-08F3B5A2C4BC}"/>
                </a:ext>
              </a:extLst>
            </p:cNvPr>
            <p:cNvSpPr>
              <a:spLocks/>
            </p:cNvSpPr>
            <p:nvPr/>
          </p:nvSpPr>
          <p:spPr bwMode="auto">
            <a:xfrm>
              <a:off x="3858142" y="3225395"/>
              <a:ext cx="1976524" cy="806014"/>
            </a:xfrm>
            <a:custGeom>
              <a:avLst/>
              <a:gdLst>
                <a:gd name="T0" fmla="*/ 201 w 608"/>
                <a:gd name="T1" fmla="*/ 9 h 248"/>
                <a:gd name="T2" fmla="*/ 194 w 608"/>
                <a:gd name="T3" fmla="*/ 22 h 248"/>
                <a:gd name="T4" fmla="*/ 200 w 608"/>
                <a:gd name="T5" fmla="*/ 43 h 248"/>
                <a:gd name="T6" fmla="*/ 187 w 608"/>
                <a:gd name="T7" fmla="*/ 55 h 248"/>
                <a:gd name="T8" fmla="*/ 164 w 608"/>
                <a:gd name="T9" fmla="*/ 55 h 248"/>
                <a:gd name="T10" fmla="*/ 148 w 608"/>
                <a:gd name="T11" fmla="*/ 54 h 248"/>
                <a:gd name="T12" fmla="*/ 123 w 608"/>
                <a:gd name="T13" fmla="*/ 44 h 248"/>
                <a:gd name="T14" fmla="*/ 100 w 608"/>
                <a:gd name="T15" fmla="*/ 36 h 248"/>
                <a:gd name="T16" fmla="*/ 87 w 608"/>
                <a:gd name="T17" fmla="*/ 32 h 248"/>
                <a:gd name="T18" fmla="*/ 71 w 608"/>
                <a:gd name="T19" fmla="*/ 38 h 248"/>
                <a:gd name="T20" fmla="*/ 37 w 608"/>
                <a:gd name="T21" fmla="*/ 58 h 248"/>
                <a:gd name="T22" fmla="*/ 9 w 608"/>
                <a:gd name="T23" fmla="*/ 66 h 248"/>
                <a:gd name="T24" fmla="*/ 7 w 608"/>
                <a:gd name="T25" fmla="*/ 70 h 248"/>
                <a:gd name="T26" fmla="*/ 2 w 608"/>
                <a:gd name="T27" fmla="*/ 79 h 248"/>
                <a:gd name="T28" fmla="*/ 16 w 608"/>
                <a:gd name="T29" fmla="*/ 91 h 248"/>
                <a:gd name="T30" fmla="*/ 34 w 608"/>
                <a:gd name="T31" fmla="*/ 98 h 248"/>
                <a:gd name="T32" fmla="*/ 51 w 608"/>
                <a:gd name="T33" fmla="*/ 113 h 248"/>
                <a:gd name="T34" fmla="*/ 62 w 608"/>
                <a:gd name="T35" fmla="*/ 146 h 248"/>
                <a:gd name="T36" fmla="*/ 60 w 608"/>
                <a:gd name="T37" fmla="*/ 165 h 248"/>
                <a:gd name="T38" fmla="*/ 126 w 608"/>
                <a:gd name="T39" fmla="*/ 181 h 248"/>
                <a:gd name="T40" fmla="*/ 146 w 608"/>
                <a:gd name="T41" fmla="*/ 190 h 248"/>
                <a:gd name="T42" fmla="*/ 161 w 608"/>
                <a:gd name="T43" fmla="*/ 218 h 248"/>
                <a:gd name="T44" fmla="*/ 176 w 608"/>
                <a:gd name="T45" fmla="*/ 221 h 248"/>
                <a:gd name="T46" fmla="*/ 223 w 608"/>
                <a:gd name="T47" fmla="*/ 225 h 248"/>
                <a:gd name="T48" fmla="*/ 266 w 608"/>
                <a:gd name="T49" fmla="*/ 229 h 248"/>
                <a:gd name="T50" fmla="*/ 301 w 608"/>
                <a:gd name="T51" fmla="*/ 243 h 248"/>
                <a:gd name="T52" fmla="*/ 318 w 608"/>
                <a:gd name="T53" fmla="*/ 245 h 248"/>
                <a:gd name="T54" fmla="*/ 326 w 608"/>
                <a:gd name="T55" fmla="*/ 248 h 248"/>
                <a:gd name="T56" fmla="*/ 358 w 608"/>
                <a:gd name="T57" fmla="*/ 233 h 248"/>
                <a:gd name="T58" fmla="*/ 399 w 608"/>
                <a:gd name="T59" fmla="*/ 229 h 248"/>
                <a:gd name="T60" fmla="*/ 431 w 608"/>
                <a:gd name="T61" fmla="*/ 219 h 248"/>
                <a:gd name="T62" fmla="*/ 456 w 608"/>
                <a:gd name="T63" fmla="*/ 199 h 248"/>
                <a:gd name="T64" fmla="*/ 451 w 608"/>
                <a:gd name="T65" fmla="*/ 175 h 248"/>
                <a:gd name="T66" fmla="*/ 486 w 608"/>
                <a:gd name="T67" fmla="*/ 174 h 248"/>
                <a:gd name="T68" fmla="*/ 503 w 608"/>
                <a:gd name="T69" fmla="*/ 162 h 248"/>
                <a:gd name="T70" fmla="*/ 513 w 608"/>
                <a:gd name="T71" fmla="*/ 159 h 248"/>
                <a:gd name="T72" fmla="*/ 534 w 608"/>
                <a:gd name="T73" fmla="*/ 155 h 248"/>
                <a:gd name="T74" fmla="*/ 555 w 608"/>
                <a:gd name="T75" fmla="*/ 137 h 248"/>
                <a:gd name="T76" fmla="*/ 598 w 608"/>
                <a:gd name="T77" fmla="*/ 129 h 248"/>
                <a:gd name="T78" fmla="*/ 593 w 608"/>
                <a:gd name="T79" fmla="*/ 110 h 248"/>
                <a:gd name="T80" fmla="*/ 582 w 608"/>
                <a:gd name="T81" fmla="*/ 103 h 248"/>
                <a:gd name="T82" fmla="*/ 562 w 608"/>
                <a:gd name="T83" fmla="*/ 110 h 248"/>
                <a:gd name="T84" fmla="*/ 535 w 608"/>
                <a:gd name="T85" fmla="*/ 110 h 248"/>
                <a:gd name="T86" fmla="*/ 529 w 608"/>
                <a:gd name="T87" fmla="*/ 93 h 248"/>
                <a:gd name="T88" fmla="*/ 545 w 608"/>
                <a:gd name="T89" fmla="*/ 55 h 248"/>
                <a:gd name="T90" fmla="*/ 524 w 608"/>
                <a:gd name="T91" fmla="*/ 54 h 248"/>
                <a:gd name="T92" fmla="*/ 495 w 608"/>
                <a:gd name="T93" fmla="*/ 50 h 248"/>
                <a:gd name="T94" fmla="*/ 436 w 608"/>
                <a:gd name="T95" fmla="*/ 74 h 248"/>
                <a:gd name="T96" fmla="*/ 393 w 608"/>
                <a:gd name="T97" fmla="*/ 69 h 248"/>
                <a:gd name="T98" fmla="*/ 375 w 608"/>
                <a:gd name="T99" fmla="*/ 53 h 248"/>
                <a:gd name="T100" fmla="*/ 349 w 608"/>
                <a:gd name="T101" fmla="*/ 45 h 248"/>
                <a:gd name="T102" fmla="*/ 317 w 608"/>
                <a:gd name="T103" fmla="*/ 45 h 248"/>
                <a:gd name="T104" fmla="*/ 277 w 608"/>
                <a:gd name="T105" fmla="*/ 41 h 248"/>
                <a:gd name="T106" fmla="*/ 270 w 608"/>
                <a:gd name="T107" fmla="*/ 24 h 248"/>
                <a:gd name="T108" fmla="*/ 243 w 608"/>
                <a:gd name="T109" fmla="*/ 10 h 248"/>
                <a:gd name="T110" fmla="*/ 212 w 608"/>
                <a:gd name="T111"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8" h="248">
                  <a:moveTo>
                    <a:pt x="211" y="0"/>
                  </a:moveTo>
                  <a:cubicBezTo>
                    <a:pt x="208" y="3"/>
                    <a:pt x="208" y="3"/>
                    <a:pt x="208" y="3"/>
                  </a:cubicBezTo>
                  <a:cubicBezTo>
                    <a:pt x="206" y="4"/>
                    <a:pt x="205" y="6"/>
                    <a:pt x="203" y="7"/>
                  </a:cubicBezTo>
                  <a:cubicBezTo>
                    <a:pt x="203" y="8"/>
                    <a:pt x="203" y="8"/>
                    <a:pt x="203" y="8"/>
                  </a:cubicBezTo>
                  <a:cubicBezTo>
                    <a:pt x="202" y="8"/>
                    <a:pt x="202" y="8"/>
                    <a:pt x="202" y="8"/>
                  </a:cubicBezTo>
                  <a:cubicBezTo>
                    <a:pt x="202" y="8"/>
                    <a:pt x="202" y="8"/>
                    <a:pt x="202" y="8"/>
                  </a:cubicBezTo>
                  <a:cubicBezTo>
                    <a:pt x="201" y="9"/>
                    <a:pt x="201" y="9"/>
                    <a:pt x="201" y="9"/>
                  </a:cubicBezTo>
                  <a:cubicBezTo>
                    <a:pt x="201" y="9"/>
                    <a:pt x="201" y="9"/>
                    <a:pt x="201" y="9"/>
                  </a:cubicBezTo>
                  <a:cubicBezTo>
                    <a:pt x="201" y="9"/>
                    <a:pt x="201" y="9"/>
                    <a:pt x="201" y="9"/>
                  </a:cubicBezTo>
                  <a:cubicBezTo>
                    <a:pt x="201" y="10"/>
                    <a:pt x="201" y="10"/>
                    <a:pt x="201" y="10"/>
                  </a:cubicBezTo>
                  <a:cubicBezTo>
                    <a:pt x="200" y="10"/>
                    <a:pt x="200" y="11"/>
                    <a:pt x="200" y="11"/>
                  </a:cubicBezTo>
                  <a:cubicBezTo>
                    <a:pt x="200" y="13"/>
                    <a:pt x="199" y="15"/>
                    <a:pt x="196" y="16"/>
                  </a:cubicBezTo>
                  <a:cubicBezTo>
                    <a:pt x="195" y="16"/>
                    <a:pt x="195" y="16"/>
                    <a:pt x="195" y="16"/>
                  </a:cubicBezTo>
                  <a:cubicBezTo>
                    <a:pt x="195" y="17"/>
                    <a:pt x="195" y="19"/>
                    <a:pt x="194" y="20"/>
                  </a:cubicBezTo>
                  <a:cubicBezTo>
                    <a:pt x="194" y="20"/>
                    <a:pt x="194" y="20"/>
                    <a:pt x="194" y="20"/>
                  </a:cubicBezTo>
                  <a:cubicBezTo>
                    <a:pt x="194" y="21"/>
                    <a:pt x="194" y="21"/>
                    <a:pt x="194" y="22"/>
                  </a:cubicBezTo>
                  <a:cubicBezTo>
                    <a:pt x="194" y="22"/>
                    <a:pt x="194" y="22"/>
                    <a:pt x="193" y="23"/>
                  </a:cubicBezTo>
                  <a:cubicBezTo>
                    <a:pt x="193" y="23"/>
                    <a:pt x="193" y="24"/>
                    <a:pt x="193" y="24"/>
                  </a:cubicBezTo>
                  <a:cubicBezTo>
                    <a:pt x="193" y="25"/>
                    <a:pt x="193" y="25"/>
                    <a:pt x="193" y="25"/>
                  </a:cubicBezTo>
                  <a:cubicBezTo>
                    <a:pt x="193" y="27"/>
                    <a:pt x="193" y="28"/>
                    <a:pt x="194" y="30"/>
                  </a:cubicBezTo>
                  <a:cubicBezTo>
                    <a:pt x="195" y="32"/>
                    <a:pt x="195" y="33"/>
                    <a:pt x="196" y="33"/>
                  </a:cubicBezTo>
                  <a:cubicBezTo>
                    <a:pt x="197" y="34"/>
                    <a:pt x="197" y="34"/>
                    <a:pt x="198" y="34"/>
                  </a:cubicBezTo>
                  <a:cubicBezTo>
                    <a:pt x="200" y="35"/>
                    <a:pt x="202" y="37"/>
                    <a:pt x="200" y="41"/>
                  </a:cubicBezTo>
                  <a:cubicBezTo>
                    <a:pt x="200" y="42"/>
                    <a:pt x="200" y="42"/>
                    <a:pt x="200" y="43"/>
                  </a:cubicBezTo>
                  <a:cubicBezTo>
                    <a:pt x="198" y="48"/>
                    <a:pt x="198" y="48"/>
                    <a:pt x="198" y="48"/>
                  </a:cubicBezTo>
                  <a:cubicBezTo>
                    <a:pt x="198" y="48"/>
                    <a:pt x="198" y="48"/>
                    <a:pt x="198" y="49"/>
                  </a:cubicBezTo>
                  <a:cubicBezTo>
                    <a:pt x="196" y="52"/>
                    <a:pt x="193" y="53"/>
                    <a:pt x="191" y="53"/>
                  </a:cubicBezTo>
                  <a:cubicBezTo>
                    <a:pt x="190" y="53"/>
                    <a:pt x="189" y="54"/>
                    <a:pt x="189" y="54"/>
                  </a:cubicBezTo>
                  <a:cubicBezTo>
                    <a:pt x="188" y="54"/>
                    <a:pt x="188" y="54"/>
                    <a:pt x="188" y="54"/>
                  </a:cubicBezTo>
                  <a:cubicBezTo>
                    <a:pt x="188" y="54"/>
                    <a:pt x="188" y="54"/>
                    <a:pt x="188" y="54"/>
                  </a:cubicBezTo>
                  <a:cubicBezTo>
                    <a:pt x="187" y="54"/>
                    <a:pt x="187" y="54"/>
                    <a:pt x="187" y="54"/>
                  </a:cubicBezTo>
                  <a:cubicBezTo>
                    <a:pt x="187" y="55"/>
                    <a:pt x="187" y="55"/>
                    <a:pt x="187" y="55"/>
                  </a:cubicBezTo>
                  <a:cubicBezTo>
                    <a:pt x="186" y="56"/>
                    <a:pt x="186" y="56"/>
                    <a:pt x="186" y="56"/>
                  </a:cubicBezTo>
                  <a:cubicBezTo>
                    <a:pt x="185" y="57"/>
                    <a:pt x="185" y="58"/>
                    <a:pt x="183" y="59"/>
                  </a:cubicBezTo>
                  <a:cubicBezTo>
                    <a:pt x="182" y="59"/>
                    <a:pt x="181" y="59"/>
                    <a:pt x="180" y="59"/>
                  </a:cubicBezTo>
                  <a:cubicBezTo>
                    <a:pt x="178" y="59"/>
                    <a:pt x="177" y="58"/>
                    <a:pt x="175" y="58"/>
                  </a:cubicBezTo>
                  <a:cubicBezTo>
                    <a:pt x="174" y="57"/>
                    <a:pt x="174" y="57"/>
                    <a:pt x="173" y="57"/>
                  </a:cubicBezTo>
                  <a:cubicBezTo>
                    <a:pt x="172" y="57"/>
                    <a:pt x="171" y="57"/>
                    <a:pt x="169" y="56"/>
                  </a:cubicBezTo>
                  <a:cubicBezTo>
                    <a:pt x="165" y="55"/>
                    <a:pt x="165" y="55"/>
                    <a:pt x="165" y="55"/>
                  </a:cubicBezTo>
                  <a:cubicBezTo>
                    <a:pt x="164" y="55"/>
                    <a:pt x="164" y="55"/>
                    <a:pt x="164" y="55"/>
                  </a:cubicBezTo>
                  <a:cubicBezTo>
                    <a:pt x="164" y="55"/>
                    <a:pt x="164" y="55"/>
                    <a:pt x="164" y="55"/>
                  </a:cubicBezTo>
                  <a:cubicBezTo>
                    <a:pt x="163" y="55"/>
                    <a:pt x="162" y="54"/>
                    <a:pt x="160" y="54"/>
                  </a:cubicBezTo>
                  <a:cubicBezTo>
                    <a:pt x="160" y="54"/>
                    <a:pt x="160" y="54"/>
                    <a:pt x="160" y="54"/>
                  </a:cubicBezTo>
                  <a:cubicBezTo>
                    <a:pt x="159" y="54"/>
                    <a:pt x="157" y="53"/>
                    <a:pt x="156" y="53"/>
                  </a:cubicBezTo>
                  <a:cubicBezTo>
                    <a:pt x="156" y="53"/>
                    <a:pt x="155" y="53"/>
                    <a:pt x="154" y="53"/>
                  </a:cubicBezTo>
                  <a:cubicBezTo>
                    <a:pt x="154" y="53"/>
                    <a:pt x="154" y="53"/>
                    <a:pt x="153" y="53"/>
                  </a:cubicBezTo>
                  <a:cubicBezTo>
                    <a:pt x="152" y="53"/>
                    <a:pt x="150" y="53"/>
                    <a:pt x="149" y="54"/>
                  </a:cubicBezTo>
                  <a:cubicBezTo>
                    <a:pt x="148" y="54"/>
                    <a:pt x="148" y="54"/>
                    <a:pt x="148" y="54"/>
                  </a:cubicBezTo>
                  <a:cubicBezTo>
                    <a:pt x="147" y="55"/>
                    <a:pt x="147" y="55"/>
                    <a:pt x="146" y="55"/>
                  </a:cubicBezTo>
                  <a:cubicBezTo>
                    <a:pt x="146" y="55"/>
                    <a:pt x="145" y="55"/>
                    <a:pt x="144" y="55"/>
                  </a:cubicBezTo>
                  <a:cubicBezTo>
                    <a:pt x="144" y="55"/>
                    <a:pt x="144" y="55"/>
                    <a:pt x="143" y="55"/>
                  </a:cubicBezTo>
                  <a:cubicBezTo>
                    <a:pt x="143" y="55"/>
                    <a:pt x="142" y="55"/>
                    <a:pt x="142" y="55"/>
                  </a:cubicBezTo>
                  <a:cubicBezTo>
                    <a:pt x="131" y="53"/>
                    <a:pt x="131" y="53"/>
                    <a:pt x="131" y="53"/>
                  </a:cubicBezTo>
                  <a:cubicBezTo>
                    <a:pt x="127" y="52"/>
                    <a:pt x="126" y="51"/>
                    <a:pt x="124" y="48"/>
                  </a:cubicBezTo>
                  <a:cubicBezTo>
                    <a:pt x="124" y="47"/>
                    <a:pt x="124" y="47"/>
                    <a:pt x="124" y="47"/>
                  </a:cubicBezTo>
                  <a:cubicBezTo>
                    <a:pt x="123" y="46"/>
                    <a:pt x="123" y="45"/>
                    <a:pt x="123" y="44"/>
                  </a:cubicBezTo>
                  <a:cubicBezTo>
                    <a:pt x="122" y="43"/>
                    <a:pt x="122" y="43"/>
                    <a:pt x="122" y="43"/>
                  </a:cubicBezTo>
                  <a:cubicBezTo>
                    <a:pt x="122" y="42"/>
                    <a:pt x="121" y="40"/>
                    <a:pt x="121" y="39"/>
                  </a:cubicBezTo>
                  <a:cubicBezTo>
                    <a:pt x="120" y="39"/>
                    <a:pt x="120" y="39"/>
                    <a:pt x="120" y="39"/>
                  </a:cubicBezTo>
                  <a:cubicBezTo>
                    <a:pt x="120" y="39"/>
                    <a:pt x="120" y="39"/>
                    <a:pt x="119" y="39"/>
                  </a:cubicBezTo>
                  <a:cubicBezTo>
                    <a:pt x="111" y="38"/>
                    <a:pt x="111" y="38"/>
                    <a:pt x="111" y="38"/>
                  </a:cubicBezTo>
                  <a:cubicBezTo>
                    <a:pt x="109" y="38"/>
                    <a:pt x="106" y="37"/>
                    <a:pt x="104" y="37"/>
                  </a:cubicBezTo>
                  <a:cubicBezTo>
                    <a:pt x="104" y="37"/>
                    <a:pt x="103" y="37"/>
                    <a:pt x="103" y="37"/>
                  </a:cubicBezTo>
                  <a:cubicBezTo>
                    <a:pt x="102" y="36"/>
                    <a:pt x="101" y="36"/>
                    <a:pt x="100" y="36"/>
                  </a:cubicBezTo>
                  <a:cubicBezTo>
                    <a:pt x="99" y="35"/>
                    <a:pt x="98" y="35"/>
                    <a:pt x="98" y="34"/>
                  </a:cubicBezTo>
                  <a:cubicBezTo>
                    <a:pt x="97" y="34"/>
                    <a:pt x="96" y="34"/>
                    <a:pt x="96" y="33"/>
                  </a:cubicBezTo>
                  <a:cubicBezTo>
                    <a:pt x="96" y="33"/>
                    <a:pt x="96" y="33"/>
                    <a:pt x="96" y="33"/>
                  </a:cubicBezTo>
                  <a:cubicBezTo>
                    <a:pt x="94" y="33"/>
                    <a:pt x="94" y="33"/>
                    <a:pt x="94" y="33"/>
                  </a:cubicBezTo>
                  <a:cubicBezTo>
                    <a:pt x="92" y="33"/>
                    <a:pt x="91" y="33"/>
                    <a:pt x="90" y="33"/>
                  </a:cubicBezTo>
                  <a:cubicBezTo>
                    <a:pt x="90" y="33"/>
                    <a:pt x="90" y="33"/>
                    <a:pt x="90" y="33"/>
                  </a:cubicBezTo>
                  <a:cubicBezTo>
                    <a:pt x="89" y="33"/>
                    <a:pt x="89" y="33"/>
                    <a:pt x="88" y="33"/>
                  </a:cubicBezTo>
                  <a:cubicBezTo>
                    <a:pt x="88" y="32"/>
                    <a:pt x="87" y="32"/>
                    <a:pt x="87" y="32"/>
                  </a:cubicBezTo>
                  <a:cubicBezTo>
                    <a:pt x="86" y="32"/>
                    <a:pt x="86" y="32"/>
                    <a:pt x="86" y="32"/>
                  </a:cubicBezTo>
                  <a:cubicBezTo>
                    <a:pt x="86" y="33"/>
                    <a:pt x="85" y="34"/>
                    <a:pt x="84" y="35"/>
                  </a:cubicBezTo>
                  <a:cubicBezTo>
                    <a:pt x="84" y="35"/>
                    <a:pt x="84" y="35"/>
                    <a:pt x="84" y="35"/>
                  </a:cubicBezTo>
                  <a:cubicBezTo>
                    <a:pt x="83" y="35"/>
                    <a:pt x="82" y="36"/>
                    <a:pt x="81" y="36"/>
                  </a:cubicBezTo>
                  <a:cubicBezTo>
                    <a:pt x="80" y="36"/>
                    <a:pt x="79" y="36"/>
                    <a:pt x="78" y="36"/>
                  </a:cubicBezTo>
                  <a:cubicBezTo>
                    <a:pt x="77" y="36"/>
                    <a:pt x="77" y="36"/>
                    <a:pt x="77" y="36"/>
                  </a:cubicBezTo>
                  <a:cubicBezTo>
                    <a:pt x="76" y="36"/>
                    <a:pt x="74" y="36"/>
                    <a:pt x="73" y="37"/>
                  </a:cubicBezTo>
                  <a:cubicBezTo>
                    <a:pt x="71" y="38"/>
                    <a:pt x="71" y="38"/>
                    <a:pt x="71" y="38"/>
                  </a:cubicBezTo>
                  <a:cubicBezTo>
                    <a:pt x="69" y="39"/>
                    <a:pt x="67" y="40"/>
                    <a:pt x="65" y="40"/>
                  </a:cubicBezTo>
                  <a:cubicBezTo>
                    <a:pt x="58" y="44"/>
                    <a:pt x="58" y="44"/>
                    <a:pt x="58" y="44"/>
                  </a:cubicBezTo>
                  <a:cubicBezTo>
                    <a:pt x="55" y="45"/>
                    <a:pt x="51" y="47"/>
                    <a:pt x="48" y="49"/>
                  </a:cubicBezTo>
                  <a:cubicBezTo>
                    <a:pt x="48" y="49"/>
                    <a:pt x="47" y="50"/>
                    <a:pt x="47" y="50"/>
                  </a:cubicBezTo>
                  <a:cubicBezTo>
                    <a:pt x="44" y="51"/>
                    <a:pt x="44" y="51"/>
                    <a:pt x="44" y="51"/>
                  </a:cubicBezTo>
                  <a:cubicBezTo>
                    <a:pt x="44" y="52"/>
                    <a:pt x="43" y="52"/>
                    <a:pt x="42" y="53"/>
                  </a:cubicBezTo>
                  <a:cubicBezTo>
                    <a:pt x="37" y="56"/>
                    <a:pt x="37" y="56"/>
                    <a:pt x="37" y="56"/>
                  </a:cubicBezTo>
                  <a:cubicBezTo>
                    <a:pt x="37" y="56"/>
                    <a:pt x="37" y="57"/>
                    <a:pt x="37" y="58"/>
                  </a:cubicBezTo>
                  <a:cubicBezTo>
                    <a:pt x="37" y="59"/>
                    <a:pt x="35" y="60"/>
                    <a:pt x="34" y="61"/>
                  </a:cubicBezTo>
                  <a:cubicBezTo>
                    <a:pt x="29" y="63"/>
                    <a:pt x="25" y="64"/>
                    <a:pt x="21" y="65"/>
                  </a:cubicBezTo>
                  <a:cubicBezTo>
                    <a:pt x="16" y="65"/>
                    <a:pt x="16" y="65"/>
                    <a:pt x="16" y="65"/>
                  </a:cubicBezTo>
                  <a:cubicBezTo>
                    <a:pt x="16" y="65"/>
                    <a:pt x="15" y="65"/>
                    <a:pt x="15" y="66"/>
                  </a:cubicBezTo>
                  <a:cubicBezTo>
                    <a:pt x="13" y="66"/>
                    <a:pt x="13" y="66"/>
                    <a:pt x="12" y="66"/>
                  </a:cubicBezTo>
                  <a:cubicBezTo>
                    <a:pt x="11" y="66"/>
                    <a:pt x="11" y="66"/>
                    <a:pt x="11" y="66"/>
                  </a:cubicBezTo>
                  <a:cubicBezTo>
                    <a:pt x="11" y="66"/>
                    <a:pt x="10" y="66"/>
                    <a:pt x="10" y="66"/>
                  </a:cubicBezTo>
                  <a:cubicBezTo>
                    <a:pt x="9" y="66"/>
                    <a:pt x="9" y="66"/>
                    <a:pt x="9" y="66"/>
                  </a:cubicBezTo>
                  <a:cubicBezTo>
                    <a:pt x="9" y="66"/>
                    <a:pt x="9" y="66"/>
                    <a:pt x="9" y="66"/>
                  </a:cubicBezTo>
                  <a:cubicBezTo>
                    <a:pt x="8" y="66"/>
                    <a:pt x="8" y="66"/>
                    <a:pt x="8" y="66"/>
                  </a:cubicBezTo>
                  <a:cubicBezTo>
                    <a:pt x="8" y="67"/>
                    <a:pt x="8" y="67"/>
                    <a:pt x="8" y="67"/>
                  </a:cubicBezTo>
                  <a:cubicBezTo>
                    <a:pt x="8" y="67"/>
                    <a:pt x="8" y="67"/>
                    <a:pt x="8" y="67"/>
                  </a:cubicBezTo>
                  <a:cubicBezTo>
                    <a:pt x="9" y="70"/>
                    <a:pt x="9" y="70"/>
                    <a:pt x="9" y="70"/>
                  </a:cubicBezTo>
                  <a:cubicBezTo>
                    <a:pt x="8" y="69"/>
                    <a:pt x="8" y="69"/>
                    <a:pt x="8" y="69"/>
                  </a:cubicBezTo>
                  <a:cubicBezTo>
                    <a:pt x="8" y="69"/>
                    <a:pt x="8" y="69"/>
                    <a:pt x="8" y="69"/>
                  </a:cubicBezTo>
                  <a:cubicBezTo>
                    <a:pt x="7" y="70"/>
                    <a:pt x="7" y="70"/>
                    <a:pt x="7" y="70"/>
                  </a:cubicBezTo>
                  <a:cubicBezTo>
                    <a:pt x="5" y="71"/>
                    <a:pt x="5" y="71"/>
                    <a:pt x="5" y="71"/>
                  </a:cubicBezTo>
                  <a:cubicBezTo>
                    <a:pt x="2" y="72"/>
                    <a:pt x="2" y="72"/>
                    <a:pt x="2" y="72"/>
                  </a:cubicBezTo>
                  <a:cubicBezTo>
                    <a:pt x="3" y="74"/>
                    <a:pt x="3" y="74"/>
                    <a:pt x="3" y="74"/>
                  </a:cubicBezTo>
                  <a:cubicBezTo>
                    <a:pt x="2" y="74"/>
                    <a:pt x="2" y="74"/>
                    <a:pt x="2" y="74"/>
                  </a:cubicBezTo>
                  <a:cubicBezTo>
                    <a:pt x="2" y="75"/>
                    <a:pt x="1" y="76"/>
                    <a:pt x="1" y="76"/>
                  </a:cubicBezTo>
                  <a:cubicBezTo>
                    <a:pt x="1" y="77"/>
                    <a:pt x="0" y="78"/>
                    <a:pt x="0" y="78"/>
                  </a:cubicBezTo>
                  <a:cubicBezTo>
                    <a:pt x="1" y="79"/>
                    <a:pt x="1" y="79"/>
                    <a:pt x="1" y="79"/>
                  </a:cubicBezTo>
                  <a:cubicBezTo>
                    <a:pt x="1" y="79"/>
                    <a:pt x="1" y="79"/>
                    <a:pt x="2" y="79"/>
                  </a:cubicBezTo>
                  <a:cubicBezTo>
                    <a:pt x="4" y="80"/>
                    <a:pt x="6" y="81"/>
                    <a:pt x="6" y="83"/>
                  </a:cubicBezTo>
                  <a:cubicBezTo>
                    <a:pt x="6" y="84"/>
                    <a:pt x="6" y="84"/>
                    <a:pt x="6" y="85"/>
                  </a:cubicBezTo>
                  <a:cubicBezTo>
                    <a:pt x="6" y="85"/>
                    <a:pt x="6" y="85"/>
                    <a:pt x="6" y="85"/>
                  </a:cubicBezTo>
                  <a:cubicBezTo>
                    <a:pt x="7" y="85"/>
                    <a:pt x="7" y="85"/>
                    <a:pt x="7" y="85"/>
                  </a:cubicBezTo>
                  <a:cubicBezTo>
                    <a:pt x="7" y="86"/>
                    <a:pt x="7" y="86"/>
                    <a:pt x="7" y="86"/>
                  </a:cubicBezTo>
                  <a:cubicBezTo>
                    <a:pt x="7" y="85"/>
                    <a:pt x="7" y="85"/>
                    <a:pt x="7" y="85"/>
                  </a:cubicBezTo>
                  <a:cubicBezTo>
                    <a:pt x="8" y="86"/>
                    <a:pt x="9" y="86"/>
                    <a:pt x="9" y="86"/>
                  </a:cubicBezTo>
                  <a:cubicBezTo>
                    <a:pt x="12" y="87"/>
                    <a:pt x="15" y="89"/>
                    <a:pt x="16" y="91"/>
                  </a:cubicBezTo>
                  <a:cubicBezTo>
                    <a:pt x="17" y="94"/>
                    <a:pt x="19" y="95"/>
                    <a:pt x="21" y="96"/>
                  </a:cubicBezTo>
                  <a:cubicBezTo>
                    <a:pt x="22" y="97"/>
                    <a:pt x="22" y="97"/>
                    <a:pt x="22" y="97"/>
                  </a:cubicBezTo>
                  <a:cubicBezTo>
                    <a:pt x="23" y="97"/>
                    <a:pt x="23" y="97"/>
                    <a:pt x="23" y="97"/>
                  </a:cubicBezTo>
                  <a:cubicBezTo>
                    <a:pt x="23" y="97"/>
                    <a:pt x="23" y="97"/>
                    <a:pt x="24" y="97"/>
                  </a:cubicBezTo>
                  <a:cubicBezTo>
                    <a:pt x="24" y="98"/>
                    <a:pt x="24" y="98"/>
                    <a:pt x="25" y="98"/>
                  </a:cubicBezTo>
                  <a:cubicBezTo>
                    <a:pt x="26" y="98"/>
                    <a:pt x="26" y="98"/>
                    <a:pt x="27" y="97"/>
                  </a:cubicBezTo>
                  <a:cubicBezTo>
                    <a:pt x="28" y="97"/>
                    <a:pt x="29" y="97"/>
                    <a:pt x="30" y="97"/>
                  </a:cubicBezTo>
                  <a:cubicBezTo>
                    <a:pt x="31" y="97"/>
                    <a:pt x="33" y="98"/>
                    <a:pt x="34" y="98"/>
                  </a:cubicBezTo>
                  <a:cubicBezTo>
                    <a:pt x="34" y="99"/>
                    <a:pt x="34" y="99"/>
                    <a:pt x="34" y="99"/>
                  </a:cubicBezTo>
                  <a:cubicBezTo>
                    <a:pt x="36" y="101"/>
                    <a:pt x="37" y="102"/>
                    <a:pt x="39" y="102"/>
                  </a:cubicBezTo>
                  <a:cubicBezTo>
                    <a:pt x="39" y="102"/>
                    <a:pt x="40" y="101"/>
                    <a:pt x="40" y="101"/>
                  </a:cubicBezTo>
                  <a:cubicBezTo>
                    <a:pt x="40" y="101"/>
                    <a:pt x="40" y="101"/>
                    <a:pt x="40" y="101"/>
                  </a:cubicBezTo>
                  <a:cubicBezTo>
                    <a:pt x="44" y="101"/>
                    <a:pt x="46" y="103"/>
                    <a:pt x="47" y="105"/>
                  </a:cubicBezTo>
                  <a:cubicBezTo>
                    <a:pt x="47" y="105"/>
                    <a:pt x="47" y="105"/>
                    <a:pt x="47" y="105"/>
                  </a:cubicBezTo>
                  <a:cubicBezTo>
                    <a:pt x="48" y="106"/>
                    <a:pt x="48" y="106"/>
                    <a:pt x="48" y="106"/>
                  </a:cubicBezTo>
                  <a:cubicBezTo>
                    <a:pt x="50" y="108"/>
                    <a:pt x="51" y="111"/>
                    <a:pt x="51" y="113"/>
                  </a:cubicBezTo>
                  <a:cubicBezTo>
                    <a:pt x="52" y="114"/>
                    <a:pt x="52" y="114"/>
                    <a:pt x="52" y="114"/>
                  </a:cubicBezTo>
                  <a:cubicBezTo>
                    <a:pt x="52" y="115"/>
                    <a:pt x="53" y="116"/>
                    <a:pt x="54" y="118"/>
                  </a:cubicBezTo>
                  <a:cubicBezTo>
                    <a:pt x="62" y="129"/>
                    <a:pt x="62" y="129"/>
                    <a:pt x="62" y="129"/>
                  </a:cubicBezTo>
                  <a:cubicBezTo>
                    <a:pt x="63" y="131"/>
                    <a:pt x="62" y="134"/>
                    <a:pt x="62" y="136"/>
                  </a:cubicBezTo>
                  <a:cubicBezTo>
                    <a:pt x="62" y="136"/>
                    <a:pt x="62" y="136"/>
                    <a:pt x="62" y="136"/>
                  </a:cubicBezTo>
                  <a:cubicBezTo>
                    <a:pt x="62" y="139"/>
                    <a:pt x="62" y="142"/>
                    <a:pt x="62" y="145"/>
                  </a:cubicBezTo>
                  <a:cubicBezTo>
                    <a:pt x="62" y="145"/>
                    <a:pt x="62" y="145"/>
                    <a:pt x="62" y="145"/>
                  </a:cubicBezTo>
                  <a:cubicBezTo>
                    <a:pt x="62" y="146"/>
                    <a:pt x="62" y="146"/>
                    <a:pt x="62" y="146"/>
                  </a:cubicBezTo>
                  <a:cubicBezTo>
                    <a:pt x="62" y="147"/>
                    <a:pt x="62" y="148"/>
                    <a:pt x="62" y="148"/>
                  </a:cubicBezTo>
                  <a:cubicBezTo>
                    <a:pt x="62" y="149"/>
                    <a:pt x="62" y="149"/>
                    <a:pt x="61" y="150"/>
                  </a:cubicBezTo>
                  <a:cubicBezTo>
                    <a:pt x="61" y="151"/>
                    <a:pt x="60" y="152"/>
                    <a:pt x="59" y="153"/>
                  </a:cubicBezTo>
                  <a:cubicBezTo>
                    <a:pt x="59" y="155"/>
                    <a:pt x="59" y="155"/>
                    <a:pt x="59" y="155"/>
                  </a:cubicBezTo>
                  <a:cubicBezTo>
                    <a:pt x="58" y="156"/>
                    <a:pt x="58" y="156"/>
                    <a:pt x="57" y="157"/>
                  </a:cubicBezTo>
                  <a:cubicBezTo>
                    <a:pt x="56" y="159"/>
                    <a:pt x="56" y="159"/>
                    <a:pt x="56" y="160"/>
                  </a:cubicBezTo>
                  <a:cubicBezTo>
                    <a:pt x="57" y="162"/>
                    <a:pt x="58" y="163"/>
                    <a:pt x="59" y="164"/>
                  </a:cubicBezTo>
                  <a:cubicBezTo>
                    <a:pt x="60" y="165"/>
                    <a:pt x="60" y="165"/>
                    <a:pt x="60" y="165"/>
                  </a:cubicBezTo>
                  <a:cubicBezTo>
                    <a:pt x="60" y="165"/>
                    <a:pt x="60" y="165"/>
                    <a:pt x="60" y="165"/>
                  </a:cubicBezTo>
                  <a:cubicBezTo>
                    <a:pt x="63" y="166"/>
                    <a:pt x="65" y="166"/>
                    <a:pt x="68" y="166"/>
                  </a:cubicBezTo>
                  <a:cubicBezTo>
                    <a:pt x="72" y="167"/>
                    <a:pt x="76" y="167"/>
                    <a:pt x="79" y="167"/>
                  </a:cubicBezTo>
                  <a:cubicBezTo>
                    <a:pt x="86" y="168"/>
                    <a:pt x="94" y="168"/>
                    <a:pt x="101" y="169"/>
                  </a:cubicBezTo>
                  <a:cubicBezTo>
                    <a:pt x="104" y="170"/>
                    <a:pt x="104" y="170"/>
                    <a:pt x="104" y="170"/>
                  </a:cubicBezTo>
                  <a:cubicBezTo>
                    <a:pt x="105" y="170"/>
                    <a:pt x="108" y="170"/>
                    <a:pt x="110" y="171"/>
                  </a:cubicBezTo>
                  <a:cubicBezTo>
                    <a:pt x="123" y="179"/>
                    <a:pt x="123" y="179"/>
                    <a:pt x="123" y="179"/>
                  </a:cubicBezTo>
                  <a:cubicBezTo>
                    <a:pt x="124" y="180"/>
                    <a:pt x="125" y="180"/>
                    <a:pt x="126" y="181"/>
                  </a:cubicBezTo>
                  <a:cubicBezTo>
                    <a:pt x="129" y="183"/>
                    <a:pt x="132" y="185"/>
                    <a:pt x="135" y="186"/>
                  </a:cubicBezTo>
                  <a:cubicBezTo>
                    <a:pt x="136" y="186"/>
                    <a:pt x="137" y="186"/>
                    <a:pt x="138" y="186"/>
                  </a:cubicBezTo>
                  <a:cubicBezTo>
                    <a:pt x="139" y="186"/>
                    <a:pt x="140" y="186"/>
                    <a:pt x="141" y="186"/>
                  </a:cubicBezTo>
                  <a:cubicBezTo>
                    <a:pt x="146" y="185"/>
                    <a:pt x="146" y="185"/>
                    <a:pt x="146" y="185"/>
                  </a:cubicBezTo>
                  <a:cubicBezTo>
                    <a:pt x="146" y="189"/>
                    <a:pt x="146" y="189"/>
                    <a:pt x="146" y="189"/>
                  </a:cubicBezTo>
                  <a:cubicBezTo>
                    <a:pt x="146" y="190"/>
                    <a:pt x="145" y="190"/>
                    <a:pt x="145" y="191"/>
                  </a:cubicBezTo>
                  <a:cubicBezTo>
                    <a:pt x="145" y="192"/>
                    <a:pt x="145" y="192"/>
                    <a:pt x="145" y="192"/>
                  </a:cubicBezTo>
                  <a:cubicBezTo>
                    <a:pt x="146" y="190"/>
                    <a:pt x="146" y="190"/>
                    <a:pt x="146" y="190"/>
                  </a:cubicBezTo>
                  <a:cubicBezTo>
                    <a:pt x="146" y="193"/>
                    <a:pt x="146" y="193"/>
                    <a:pt x="146" y="193"/>
                  </a:cubicBezTo>
                  <a:cubicBezTo>
                    <a:pt x="146" y="193"/>
                    <a:pt x="146" y="193"/>
                    <a:pt x="146" y="193"/>
                  </a:cubicBezTo>
                  <a:cubicBezTo>
                    <a:pt x="147" y="194"/>
                    <a:pt x="148" y="195"/>
                    <a:pt x="149" y="196"/>
                  </a:cubicBezTo>
                  <a:cubicBezTo>
                    <a:pt x="149" y="198"/>
                    <a:pt x="149" y="198"/>
                    <a:pt x="149" y="198"/>
                  </a:cubicBezTo>
                  <a:cubicBezTo>
                    <a:pt x="150" y="199"/>
                    <a:pt x="150" y="199"/>
                    <a:pt x="150" y="200"/>
                  </a:cubicBezTo>
                  <a:cubicBezTo>
                    <a:pt x="154" y="209"/>
                    <a:pt x="154" y="209"/>
                    <a:pt x="154" y="209"/>
                  </a:cubicBezTo>
                  <a:cubicBezTo>
                    <a:pt x="155" y="212"/>
                    <a:pt x="157" y="214"/>
                    <a:pt x="159" y="216"/>
                  </a:cubicBezTo>
                  <a:cubicBezTo>
                    <a:pt x="160" y="217"/>
                    <a:pt x="161" y="217"/>
                    <a:pt x="161" y="218"/>
                  </a:cubicBezTo>
                  <a:cubicBezTo>
                    <a:pt x="162" y="219"/>
                    <a:pt x="162" y="219"/>
                    <a:pt x="162" y="219"/>
                  </a:cubicBezTo>
                  <a:cubicBezTo>
                    <a:pt x="162" y="219"/>
                    <a:pt x="162" y="219"/>
                    <a:pt x="162" y="219"/>
                  </a:cubicBezTo>
                  <a:cubicBezTo>
                    <a:pt x="162" y="219"/>
                    <a:pt x="162" y="219"/>
                    <a:pt x="163" y="220"/>
                  </a:cubicBezTo>
                  <a:cubicBezTo>
                    <a:pt x="163" y="220"/>
                    <a:pt x="164" y="221"/>
                    <a:pt x="164" y="222"/>
                  </a:cubicBezTo>
                  <a:cubicBezTo>
                    <a:pt x="164" y="222"/>
                    <a:pt x="164" y="222"/>
                    <a:pt x="164" y="222"/>
                  </a:cubicBezTo>
                  <a:cubicBezTo>
                    <a:pt x="168" y="222"/>
                    <a:pt x="168" y="222"/>
                    <a:pt x="168" y="222"/>
                  </a:cubicBezTo>
                  <a:cubicBezTo>
                    <a:pt x="170" y="221"/>
                    <a:pt x="171" y="221"/>
                    <a:pt x="173" y="221"/>
                  </a:cubicBezTo>
                  <a:cubicBezTo>
                    <a:pt x="174" y="221"/>
                    <a:pt x="175" y="221"/>
                    <a:pt x="176" y="221"/>
                  </a:cubicBezTo>
                  <a:cubicBezTo>
                    <a:pt x="180" y="221"/>
                    <a:pt x="183" y="222"/>
                    <a:pt x="186" y="222"/>
                  </a:cubicBezTo>
                  <a:cubicBezTo>
                    <a:pt x="189" y="223"/>
                    <a:pt x="189" y="223"/>
                    <a:pt x="189" y="223"/>
                  </a:cubicBezTo>
                  <a:cubicBezTo>
                    <a:pt x="190" y="223"/>
                    <a:pt x="191" y="223"/>
                    <a:pt x="192" y="223"/>
                  </a:cubicBezTo>
                  <a:cubicBezTo>
                    <a:pt x="195" y="223"/>
                    <a:pt x="195" y="223"/>
                    <a:pt x="195" y="223"/>
                  </a:cubicBezTo>
                  <a:cubicBezTo>
                    <a:pt x="196" y="224"/>
                    <a:pt x="197" y="224"/>
                    <a:pt x="199" y="224"/>
                  </a:cubicBezTo>
                  <a:cubicBezTo>
                    <a:pt x="206" y="225"/>
                    <a:pt x="214" y="225"/>
                    <a:pt x="222" y="225"/>
                  </a:cubicBezTo>
                  <a:cubicBezTo>
                    <a:pt x="223" y="225"/>
                    <a:pt x="223" y="225"/>
                    <a:pt x="223" y="225"/>
                  </a:cubicBezTo>
                  <a:cubicBezTo>
                    <a:pt x="223" y="225"/>
                    <a:pt x="223" y="225"/>
                    <a:pt x="223" y="225"/>
                  </a:cubicBezTo>
                  <a:cubicBezTo>
                    <a:pt x="224" y="225"/>
                    <a:pt x="225" y="225"/>
                    <a:pt x="226" y="224"/>
                  </a:cubicBezTo>
                  <a:cubicBezTo>
                    <a:pt x="227" y="224"/>
                    <a:pt x="229" y="223"/>
                    <a:pt x="231" y="223"/>
                  </a:cubicBezTo>
                  <a:cubicBezTo>
                    <a:pt x="231" y="223"/>
                    <a:pt x="231" y="223"/>
                    <a:pt x="231" y="223"/>
                  </a:cubicBezTo>
                  <a:cubicBezTo>
                    <a:pt x="232" y="223"/>
                    <a:pt x="232" y="223"/>
                    <a:pt x="232" y="223"/>
                  </a:cubicBezTo>
                  <a:cubicBezTo>
                    <a:pt x="232" y="223"/>
                    <a:pt x="233" y="223"/>
                    <a:pt x="234" y="224"/>
                  </a:cubicBezTo>
                  <a:cubicBezTo>
                    <a:pt x="260" y="228"/>
                    <a:pt x="260" y="228"/>
                    <a:pt x="260" y="228"/>
                  </a:cubicBezTo>
                  <a:cubicBezTo>
                    <a:pt x="260" y="228"/>
                    <a:pt x="261" y="228"/>
                    <a:pt x="261" y="228"/>
                  </a:cubicBezTo>
                  <a:cubicBezTo>
                    <a:pt x="263" y="228"/>
                    <a:pt x="265" y="228"/>
                    <a:pt x="266" y="229"/>
                  </a:cubicBezTo>
                  <a:cubicBezTo>
                    <a:pt x="267" y="230"/>
                    <a:pt x="267" y="230"/>
                    <a:pt x="268" y="231"/>
                  </a:cubicBezTo>
                  <a:cubicBezTo>
                    <a:pt x="268" y="231"/>
                    <a:pt x="269" y="233"/>
                    <a:pt x="270" y="234"/>
                  </a:cubicBezTo>
                  <a:cubicBezTo>
                    <a:pt x="270" y="234"/>
                    <a:pt x="270" y="234"/>
                    <a:pt x="270" y="234"/>
                  </a:cubicBezTo>
                  <a:cubicBezTo>
                    <a:pt x="270" y="234"/>
                    <a:pt x="270" y="234"/>
                    <a:pt x="270" y="234"/>
                  </a:cubicBezTo>
                  <a:cubicBezTo>
                    <a:pt x="279" y="236"/>
                    <a:pt x="279" y="236"/>
                    <a:pt x="279" y="236"/>
                  </a:cubicBezTo>
                  <a:cubicBezTo>
                    <a:pt x="282" y="237"/>
                    <a:pt x="285" y="238"/>
                    <a:pt x="287" y="238"/>
                  </a:cubicBezTo>
                  <a:cubicBezTo>
                    <a:pt x="290" y="239"/>
                    <a:pt x="293" y="240"/>
                    <a:pt x="295" y="241"/>
                  </a:cubicBezTo>
                  <a:cubicBezTo>
                    <a:pt x="297" y="242"/>
                    <a:pt x="299" y="243"/>
                    <a:pt x="301" y="243"/>
                  </a:cubicBezTo>
                  <a:cubicBezTo>
                    <a:pt x="302" y="243"/>
                    <a:pt x="303" y="243"/>
                    <a:pt x="304" y="243"/>
                  </a:cubicBezTo>
                  <a:cubicBezTo>
                    <a:pt x="305" y="243"/>
                    <a:pt x="306" y="243"/>
                    <a:pt x="307" y="243"/>
                  </a:cubicBezTo>
                  <a:cubicBezTo>
                    <a:pt x="307" y="243"/>
                    <a:pt x="307" y="243"/>
                    <a:pt x="308" y="243"/>
                  </a:cubicBezTo>
                  <a:cubicBezTo>
                    <a:pt x="308" y="243"/>
                    <a:pt x="308" y="243"/>
                    <a:pt x="308" y="243"/>
                  </a:cubicBezTo>
                  <a:cubicBezTo>
                    <a:pt x="309" y="243"/>
                    <a:pt x="311" y="242"/>
                    <a:pt x="313" y="242"/>
                  </a:cubicBezTo>
                  <a:cubicBezTo>
                    <a:pt x="316" y="242"/>
                    <a:pt x="317" y="243"/>
                    <a:pt x="317" y="244"/>
                  </a:cubicBezTo>
                  <a:cubicBezTo>
                    <a:pt x="318" y="245"/>
                    <a:pt x="318" y="245"/>
                    <a:pt x="318" y="245"/>
                  </a:cubicBezTo>
                  <a:cubicBezTo>
                    <a:pt x="318" y="245"/>
                    <a:pt x="318" y="245"/>
                    <a:pt x="318" y="245"/>
                  </a:cubicBezTo>
                  <a:cubicBezTo>
                    <a:pt x="319" y="246"/>
                    <a:pt x="319" y="246"/>
                    <a:pt x="319" y="246"/>
                  </a:cubicBezTo>
                  <a:cubicBezTo>
                    <a:pt x="319" y="247"/>
                    <a:pt x="319" y="247"/>
                    <a:pt x="319" y="247"/>
                  </a:cubicBezTo>
                  <a:cubicBezTo>
                    <a:pt x="319" y="247"/>
                    <a:pt x="319" y="247"/>
                    <a:pt x="319" y="247"/>
                  </a:cubicBezTo>
                  <a:cubicBezTo>
                    <a:pt x="320" y="247"/>
                    <a:pt x="320" y="247"/>
                    <a:pt x="320" y="247"/>
                  </a:cubicBezTo>
                  <a:cubicBezTo>
                    <a:pt x="321" y="247"/>
                    <a:pt x="321" y="247"/>
                    <a:pt x="321" y="247"/>
                  </a:cubicBezTo>
                  <a:cubicBezTo>
                    <a:pt x="322" y="247"/>
                    <a:pt x="324" y="248"/>
                    <a:pt x="325" y="248"/>
                  </a:cubicBezTo>
                  <a:cubicBezTo>
                    <a:pt x="325" y="248"/>
                    <a:pt x="325" y="248"/>
                    <a:pt x="325" y="248"/>
                  </a:cubicBezTo>
                  <a:cubicBezTo>
                    <a:pt x="326" y="248"/>
                    <a:pt x="326" y="248"/>
                    <a:pt x="326" y="248"/>
                  </a:cubicBezTo>
                  <a:cubicBezTo>
                    <a:pt x="327" y="246"/>
                    <a:pt x="329" y="245"/>
                    <a:pt x="330" y="244"/>
                  </a:cubicBezTo>
                  <a:cubicBezTo>
                    <a:pt x="333" y="243"/>
                    <a:pt x="337" y="241"/>
                    <a:pt x="340" y="240"/>
                  </a:cubicBezTo>
                  <a:cubicBezTo>
                    <a:pt x="341" y="240"/>
                    <a:pt x="343" y="239"/>
                    <a:pt x="344" y="238"/>
                  </a:cubicBezTo>
                  <a:cubicBezTo>
                    <a:pt x="347" y="237"/>
                    <a:pt x="347" y="237"/>
                    <a:pt x="347" y="237"/>
                  </a:cubicBezTo>
                  <a:cubicBezTo>
                    <a:pt x="349" y="236"/>
                    <a:pt x="353" y="235"/>
                    <a:pt x="356" y="233"/>
                  </a:cubicBezTo>
                  <a:cubicBezTo>
                    <a:pt x="355" y="230"/>
                    <a:pt x="355" y="230"/>
                    <a:pt x="355" y="230"/>
                  </a:cubicBezTo>
                  <a:cubicBezTo>
                    <a:pt x="357" y="233"/>
                    <a:pt x="357" y="233"/>
                    <a:pt x="357" y="233"/>
                  </a:cubicBezTo>
                  <a:cubicBezTo>
                    <a:pt x="358" y="233"/>
                    <a:pt x="358" y="233"/>
                    <a:pt x="358" y="233"/>
                  </a:cubicBezTo>
                  <a:cubicBezTo>
                    <a:pt x="358" y="233"/>
                    <a:pt x="359" y="232"/>
                    <a:pt x="359" y="232"/>
                  </a:cubicBezTo>
                  <a:cubicBezTo>
                    <a:pt x="363" y="231"/>
                    <a:pt x="368" y="231"/>
                    <a:pt x="372" y="230"/>
                  </a:cubicBezTo>
                  <a:cubicBezTo>
                    <a:pt x="374" y="230"/>
                    <a:pt x="376" y="230"/>
                    <a:pt x="378" y="230"/>
                  </a:cubicBezTo>
                  <a:cubicBezTo>
                    <a:pt x="383" y="229"/>
                    <a:pt x="383" y="229"/>
                    <a:pt x="383" y="229"/>
                  </a:cubicBezTo>
                  <a:cubicBezTo>
                    <a:pt x="386" y="229"/>
                    <a:pt x="389" y="229"/>
                    <a:pt x="391" y="229"/>
                  </a:cubicBezTo>
                  <a:cubicBezTo>
                    <a:pt x="396" y="229"/>
                    <a:pt x="396" y="229"/>
                    <a:pt x="396" y="229"/>
                  </a:cubicBezTo>
                  <a:cubicBezTo>
                    <a:pt x="396" y="229"/>
                    <a:pt x="397" y="229"/>
                    <a:pt x="398" y="229"/>
                  </a:cubicBezTo>
                  <a:cubicBezTo>
                    <a:pt x="399" y="229"/>
                    <a:pt x="399" y="229"/>
                    <a:pt x="399" y="229"/>
                  </a:cubicBezTo>
                  <a:cubicBezTo>
                    <a:pt x="400" y="229"/>
                    <a:pt x="401" y="229"/>
                    <a:pt x="402" y="229"/>
                  </a:cubicBezTo>
                  <a:cubicBezTo>
                    <a:pt x="403" y="229"/>
                    <a:pt x="404" y="229"/>
                    <a:pt x="405" y="229"/>
                  </a:cubicBezTo>
                  <a:cubicBezTo>
                    <a:pt x="407" y="229"/>
                    <a:pt x="410" y="229"/>
                    <a:pt x="412" y="228"/>
                  </a:cubicBezTo>
                  <a:cubicBezTo>
                    <a:pt x="413" y="227"/>
                    <a:pt x="415" y="227"/>
                    <a:pt x="417" y="226"/>
                  </a:cubicBezTo>
                  <a:cubicBezTo>
                    <a:pt x="419" y="225"/>
                    <a:pt x="419" y="225"/>
                    <a:pt x="419" y="225"/>
                  </a:cubicBezTo>
                  <a:cubicBezTo>
                    <a:pt x="422" y="224"/>
                    <a:pt x="422" y="224"/>
                    <a:pt x="422" y="224"/>
                  </a:cubicBezTo>
                  <a:cubicBezTo>
                    <a:pt x="424" y="223"/>
                    <a:pt x="425" y="222"/>
                    <a:pt x="427" y="221"/>
                  </a:cubicBezTo>
                  <a:cubicBezTo>
                    <a:pt x="428" y="221"/>
                    <a:pt x="429" y="220"/>
                    <a:pt x="431" y="219"/>
                  </a:cubicBezTo>
                  <a:cubicBezTo>
                    <a:pt x="431" y="218"/>
                    <a:pt x="432" y="217"/>
                    <a:pt x="432" y="216"/>
                  </a:cubicBezTo>
                  <a:cubicBezTo>
                    <a:pt x="433" y="216"/>
                    <a:pt x="433" y="216"/>
                    <a:pt x="433" y="216"/>
                  </a:cubicBezTo>
                  <a:cubicBezTo>
                    <a:pt x="434" y="214"/>
                    <a:pt x="436" y="211"/>
                    <a:pt x="439" y="209"/>
                  </a:cubicBezTo>
                  <a:cubicBezTo>
                    <a:pt x="441" y="208"/>
                    <a:pt x="444" y="207"/>
                    <a:pt x="446" y="205"/>
                  </a:cubicBezTo>
                  <a:cubicBezTo>
                    <a:pt x="447" y="205"/>
                    <a:pt x="447" y="205"/>
                    <a:pt x="447" y="205"/>
                  </a:cubicBezTo>
                  <a:cubicBezTo>
                    <a:pt x="450" y="203"/>
                    <a:pt x="453" y="202"/>
                    <a:pt x="455" y="200"/>
                  </a:cubicBezTo>
                  <a:cubicBezTo>
                    <a:pt x="456" y="200"/>
                    <a:pt x="456" y="200"/>
                    <a:pt x="456" y="199"/>
                  </a:cubicBezTo>
                  <a:cubicBezTo>
                    <a:pt x="456" y="199"/>
                    <a:pt x="456" y="199"/>
                    <a:pt x="456" y="199"/>
                  </a:cubicBezTo>
                  <a:cubicBezTo>
                    <a:pt x="456" y="199"/>
                    <a:pt x="456" y="199"/>
                    <a:pt x="456" y="199"/>
                  </a:cubicBezTo>
                  <a:cubicBezTo>
                    <a:pt x="455" y="198"/>
                    <a:pt x="455" y="198"/>
                    <a:pt x="454" y="197"/>
                  </a:cubicBezTo>
                  <a:cubicBezTo>
                    <a:pt x="453" y="197"/>
                    <a:pt x="453" y="196"/>
                    <a:pt x="452" y="196"/>
                  </a:cubicBezTo>
                  <a:cubicBezTo>
                    <a:pt x="451" y="195"/>
                    <a:pt x="450" y="194"/>
                    <a:pt x="450" y="193"/>
                  </a:cubicBezTo>
                  <a:cubicBezTo>
                    <a:pt x="449" y="191"/>
                    <a:pt x="447" y="189"/>
                    <a:pt x="447" y="187"/>
                  </a:cubicBezTo>
                  <a:cubicBezTo>
                    <a:pt x="446" y="185"/>
                    <a:pt x="447" y="184"/>
                    <a:pt x="447" y="183"/>
                  </a:cubicBezTo>
                  <a:cubicBezTo>
                    <a:pt x="448" y="182"/>
                    <a:pt x="448" y="182"/>
                    <a:pt x="448" y="182"/>
                  </a:cubicBezTo>
                  <a:cubicBezTo>
                    <a:pt x="449" y="180"/>
                    <a:pt x="450" y="178"/>
                    <a:pt x="451" y="175"/>
                  </a:cubicBezTo>
                  <a:cubicBezTo>
                    <a:pt x="452" y="173"/>
                    <a:pt x="453" y="172"/>
                    <a:pt x="455" y="170"/>
                  </a:cubicBezTo>
                  <a:cubicBezTo>
                    <a:pt x="456" y="169"/>
                    <a:pt x="456" y="169"/>
                    <a:pt x="457" y="168"/>
                  </a:cubicBezTo>
                  <a:cubicBezTo>
                    <a:pt x="458" y="167"/>
                    <a:pt x="460" y="167"/>
                    <a:pt x="461" y="167"/>
                  </a:cubicBezTo>
                  <a:cubicBezTo>
                    <a:pt x="462" y="167"/>
                    <a:pt x="463" y="167"/>
                    <a:pt x="464" y="167"/>
                  </a:cubicBezTo>
                  <a:cubicBezTo>
                    <a:pt x="466" y="167"/>
                    <a:pt x="468" y="167"/>
                    <a:pt x="470" y="168"/>
                  </a:cubicBezTo>
                  <a:cubicBezTo>
                    <a:pt x="473" y="169"/>
                    <a:pt x="476" y="171"/>
                    <a:pt x="479" y="172"/>
                  </a:cubicBezTo>
                  <a:cubicBezTo>
                    <a:pt x="480" y="173"/>
                    <a:pt x="481" y="173"/>
                    <a:pt x="482" y="174"/>
                  </a:cubicBezTo>
                  <a:cubicBezTo>
                    <a:pt x="483" y="174"/>
                    <a:pt x="484" y="174"/>
                    <a:pt x="486" y="174"/>
                  </a:cubicBezTo>
                  <a:cubicBezTo>
                    <a:pt x="486" y="175"/>
                    <a:pt x="486" y="175"/>
                    <a:pt x="487" y="175"/>
                  </a:cubicBezTo>
                  <a:cubicBezTo>
                    <a:pt x="487" y="175"/>
                    <a:pt x="487" y="175"/>
                    <a:pt x="487" y="175"/>
                  </a:cubicBezTo>
                  <a:cubicBezTo>
                    <a:pt x="488" y="175"/>
                    <a:pt x="488" y="175"/>
                    <a:pt x="489" y="175"/>
                  </a:cubicBezTo>
                  <a:cubicBezTo>
                    <a:pt x="490" y="175"/>
                    <a:pt x="491" y="174"/>
                    <a:pt x="493" y="174"/>
                  </a:cubicBezTo>
                  <a:cubicBezTo>
                    <a:pt x="493" y="173"/>
                    <a:pt x="493" y="173"/>
                    <a:pt x="493" y="173"/>
                  </a:cubicBezTo>
                  <a:cubicBezTo>
                    <a:pt x="494" y="172"/>
                    <a:pt x="495" y="172"/>
                    <a:pt x="495" y="172"/>
                  </a:cubicBezTo>
                  <a:cubicBezTo>
                    <a:pt x="499" y="169"/>
                    <a:pt x="502" y="167"/>
                    <a:pt x="505" y="164"/>
                  </a:cubicBezTo>
                  <a:cubicBezTo>
                    <a:pt x="503" y="162"/>
                    <a:pt x="503" y="162"/>
                    <a:pt x="503" y="162"/>
                  </a:cubicBezTo>
                  <a:cubicBezTo>
                    <a:pt x="506" y="163"/>
                    <a:pt x="506" y="163"/>
                    <a:pt x="506" y="163"/>
                  </a:cubicBezTo>
                  <a:cubicBezTo>
                    <a:pt x="506" y="163"/>
                    <a:pt x="506" y="163"/>
                    <a:pt x="506" y="163"/>
                  </a:cubicBezTo>
                  <a:cubicBezTo>
                    <a:pt x="506" y="163"/>
                    <a:pt x="506" y="163"/>
                    <a:pt x="506" y="163"/>
                  </a:cubicBezTo>
                  <a:cubicBezTo>
                    <a:pt x="506" y="162"/>
                    <a:pt x="506" y="162"/>
                    <a:pt x="506" y="162"/>
                  </a:cubicBezTo>
                  <a:cubicBezTo>
                    <a:pt x="507" y="162"/>
                    <a:pt x="507" y="162"/>
                    <a:pt x="507" y="162"/>
                  </a:cubicBezTo>
                  <a:cubicBezTo>
                    <a:pt x="507" y="162"/>
                    <a:pt x="508" y="161"/>
                    <a:pt x="509" y="160"/>
                  </a:cubicBezTo>
                  <a:cubicBezTo>
                    <a:pt x="509" y="160"/>
                    <a:pt x="509" y="160"/>
                    <a:pt x="509" y="160"/>
                  </a:cubicBezTo>
                  <a:cubicBezTo>
                    <a:pt x="510" y="159"/>
                    <a:pt x="511" y="159"/>
                    <a:pt x="513" y="159"/>
                  </a:cubicBezTo>
                  <a:cubicBezTo>
                    <a:pt x="514" y="159"/>
                    <a:pt x="515" y="159"/>
                    <a:pt x="515" y="159"/>
                  </a:cubicBezTo>
                  <a:cubicBezTo>
                    <a:pt x="516" y="159"/>
                    <a:pt x="516" y="159"/>
                    <a:pt x="516" y="159"/>
                  </a:cubicBezTo>
                  <a:cubicBezTo>
                    <a:pt x="516" y="159"/>
                    <a:pt x="516" y="159"/>
                    <a:pt x="516" y="159"/>
                  </a:cubicBezTo>
                  <a:cubicBezTo>
                    <a:pt x="528" y="158"/>
                    <a:pt x="528" y="158"/>
                    <a:pt x="528" y="158"/>
                  </a:cubicBezTo>
                  <a:cubicBezTo>
                    <a:pt x="529" y="158"/>
                    <a:pt x="529" y="158"/>
                    <a:pt x="530" y="158"/>
                  </a:cubicBezTo>
                  <a:cubicBezTo>
                    <a:pt x="530" y="157"/>
                    <a:pt x="530" y="157"/>
                    <a:pt x="530" y="157"/>
                  </a:cubicBezTo>
                  <a:cubicBezTo>
                    <a:pt x="531" y="157"/>
                    <a:pt x="532" y="157"/>
                    <a:pt x="532" y="156"/>
                  </a:cubicBezTo>
                  <a:cubicBezTo>
                    <a:pt x="533" y="156"/>
                    <a:pt x="533" y="156"/>
                    <a:pt x="534" y="155"/>
                  </a:cubicBezTo>
                  <a:cubicBezTo>
                    <a:pt x="535" y="154"/>
                    <a:pt x="535" y="154"/>
                    <a:pt x="535" y="154"/>
                  </a:cubicBezTo>
                  <a:cubicBezTo>
                    <a:pt x="536" y="154"/>
                    <a:pt x="536" y="154"/>
                    <a:pt x="536" y="154"/>
                  </a:cubicBezTo>
                  <a:cubicBezTo>
                    <a:pt x="537" y="154"/>
                    <a:pt x="537" y="153"/>
                    <a:pt x="538" y="153"/>
                  </a:cubicBezTo>
                  <a:cubicBezTo>
                    <a:pt x="538" y="153"/>
                    <a:pt x="538" y="153"/>
                    <a:pt x="538" y="153"/>
                  </a:cubicBezTo>
                  <a:cubicBezTo>
                    <a:pt x="538" y="152"/>
                    <a:pt x="538" y="152"/>
                    <a:pt x="538" y="151"/>
                  </a:cubicBezTo>
                  <a:cubicBezTo>
                    <a:pt x="538" y="150"/>
                    <a:pt x="538" y="150"/>
                    <a:pt x="538" y="150"/>
                  </a:cubicBezTo>
                  <a:cubicBezTo>
                    <a:pt x="538" y="146"/>
                    <a:pt x="544" y="141"/>
                    <a:pt x="544" y="140"/>
                  </a:cubicBezTo>
                  <a:cubicBezTo>
                    <a:pt x="547" y="137"/>
                    <a:pt x="552" y="137"/>
                    <a:pt x="555" y="137"/>
                  </a:cubicBezTo>
                  <a:cubicBezTo>
                    <a:pt x="557" y="137"/>
                    <a:pt x="558" y="137"/>
                    <a:pt x="560" y="137"/>
                  </a:cubicBezTo>
                  <a:cubicBezTo>
                    <a:pt x="561" y="137"/>
                    <a:pt x="561" y="137"/>
                    <a:pt x="561" y="137"/>
                  </a:cubicBezTo>
                  <a:cubicBezTo>
                    <a:pt x="561" y="137"/>
                    <a:pt x="562" y="137"/>
                    <a:pt x="562" y="137"/>
                  </a:cubicBezTo>
                  <a:cubicBezTo>
                    <a:pt x="569" y="134"/>
                    <a:pt x="575" y="132"/>
                    <a:pt x="582" y="129"/>
                  </a:cubicBezTo>
                  <a:cubicBezTo>
                    <a:pt x="583" y="129"/>
                    <a:pt x="585" y="129"/>
                    <a:pt x="588" y="129"/>
                  </a:cubicBezTo>
                  <a:cubicBezTo>
                    <a:pt x="590" y="129"/>
                    <a:pt x="591" y="129"/>
                    <a:pt x="593" y="129"/>
                  </a:cubicBezTo>
                  <a:cubicBezTo>
                    <a:pt x="594" y="129"/>
                    <a:pt x="594" y="129"/>
                    <a:pt x="594" y="129"/>
                  </a:cubicBezTo>
                  <a:cubicBezTo>
                    <a:pt x="595" y="129"/>
                    <a:pt x="597" y="129"/>
                    <a:pt x="598" y="129"/>
                  </a:cubicBezTo>
                  <a:cubicBezTo>
                    <a:pt x="608" y="130"/>
                    <a:pt x="608" y="130"/>
                    <a:pt x="608" y="130"/>
                  </a:cubicBezTo>
                  <a:cubicBezTo>
                    <a:pt x="608" y="127"/>
                    <a:pt x="607" y="125"/>
                    <a:pt x="605" y="122"/>
                  </a:cubicBezTo>
                  <a:cubicBezTo>
                    <a:pt x="605" y="122"/>
                    <a:pt x="604" y="121"/>
                    <a:pt x="603" y="120"/>
                  </a:cubicBezTo>
                  <a:cubicBezTo>
                    <a:pt x="603" y="120"/>
                    <a:pt x="603" y="120"/>
                    <a:pt x="603" y="120"/>
                  </a:cubicBezTo>
                  <a:cubicBezTo>
                    <a:pt x="602" y="119"/>
                    <a:pt x="601" y="118"/>
                    <a:pt x="600" y="117"/>
                  </a:cubicBezTo>
                  <a:cubicBezTo>
                    <a:pt x="599" y="116"/>
                    <a:pt x="598" y="115"/>
                    <a:pt x="597" y="114"/>
                  </a:cubicBezTo>
                  <a:cubicBezTo>
                    <a:pt x="596" y="114"/>
                    <a:pt x="595" y="113"/>
                    <a:pt x="594" y="112"/>
                  </a:cubicBezTo>
                  <a:cubicBezTo>
                    <a:pt x="594" y="111"/>
                    <a:pt x="593" y="111"/>
                    <a:pt x="593" y="110"/>
                  </a:cubicBezTo>
                  <a:cubicBezTo>
                    <a:pt x="592" y="110"/>
                    <a:pt x="591" y="109"/>
                    <a:pt x="590" y="108"/>
                  </a:cubicBezTo>
                  <a:cubicBezTo>
                    <a:pt x="589" y="108"/>
                    <a:pt x="587" y="107"/>
                    <a:pt x="586" y="106"/>
                  </a:cubicBezTo>
                  <a:cubicBezTo>
                    <a:pt x="585" y="105"/>
                    <a:pt x="585" y="105"/>
                    <a:pt x="585" y="104"/>
                  </a:cubicBezTo>
                  <a:cubicBezTo>
                    <a:pt x="585" y="104"/>
                    <a:pt x="585" y="104"/>
                    <a:pt x="585" y="104"/>
                  </a:cubicBezTo>
                  <a:cubicBezTo>
                    <a:pt x="584" y="104"/>
                    <a:pt x="584" y="103"/>
                    <a:pt x="584" y="103"/>
                  </a:cubicBezTo>
                  <a:cubicBezTo>
                    <a:pt x="584" y="103"/>
                    <a:pt x="584" y="103"/>
                    <a:pt x="584" y="103"/>
                  </a:cubicBezTo>
                  <a:cubicBezTo>
                    <a:pt x="583" y="103"/>
                    <a:pt x="583" y="103"/>
                    <a:pt x="583" y="103"/>
                  </a:cubicBezTo>
                  <a:cubicBezTo>
                    <a:pt x="583" y="103"/>
                    <a:pt x="583" y="103"/>
                    <a:pt x="582" y="103"/>
                  </a:cubicBezTo>
                  <a:cubicBezTo>
                    <a:pt x="581" y="103"/>
                    <a:pt x="579" y="103"/>
                    <a:pt x="577" y="103"/>
                  </a:cubicBezTo>
                  <a:cubicBezTo>
                    <a:pt x="576" y="103"/>
                    <a:pt x="575" y="103"/>
                    <a:pt x="574" y="103"/>
                  </a:cubicBezTo>
                  <a:cubicBezTo>
                    <a:pt x="573" y="104"/>
                    <a:pt x="572" y="104"/>
                    <a:pt x="571" y="104"/>
                  </a:cubicBezTo>
                  <a:cubicBezTo>
                    <a:pt x="569" y="104"/>
                    <a:pt x="568" y="105"/>
                    <a:pt x="566" y="107"/>
                  </a:cubicBezTo>
                  <a:cubicBezTo>
                    <a:pt x="566" y="107"/>
                    <a:pt x="566" y="107"/>
                    <a:pt x="566" y="107"/>
                  </a:cubicBezTo>
                  <a:cubicBezTo>
                    <a:pt x="565" y="109"/>
                    <a:pt x="564" y="110"/>
                    <a:pt x="563" y="110"/>
                  </a:cubicBezTo>
                  <a:cubicBezTo>
                    <a:pt x="562" y="110"/>
                    <a:pt x="562" y="110"/>
                    <a:pt x="562" y="110"/>
                  </a:cubicBezTo>
                  <a:cubicBezTo>
                    <a:pt x="562" y="110"/>
                    <a:pt x="562" y="110"/>
                    <a:pt x="562" y="110"/>
                  </a:cubicBezTo>
                  <a:cubicBezTo>
                    <a:pt x="560" y="110"/>
                    <a:pt x="558" y="109"/>
                    <a:pt x="555" y="107"/>
                  </a:cubicBezTo>
                  <a:cubicBezTo>
                    <a:pt x="555" y="107"/>
                    <a:pt x="554" y="106"/>
                    <a:pt x="554" y="106"/>
                  </a:cubicBezTo>
                  <a:cubicBezTo>
                    <a:pt x="553" y="106"/>
                    <a:pt x="553" y="106"/>
                    <a:pt x="552" y="106"/>
                  </a:cubicBezTo>
                  <a:cubicBezTo>
                    <a:pt x="552" y="106"/>
                    <a:pt x="552" y="106"/>
                    <a:pt x="552" y="106"/>
                  </a:cubicBezTo>
                  <a:cubicBezTo>
                    <a:pt x="544" y="107"/>
                    <a:pt x="544" y="107"/>
                    <a:pt x="544" y="107"/>
                  </a:cubicBezTo>
                  <a:cubicBezTo>
                    <a:pt x="542" y="107"/>
                    <a:pt x="540" y="107"/>
                    <a:pt x="538" y="108"/>
                  </a:cubicBezTo>
                  <a:cubicBezTo>
                    <a:pt x="538" y="108"/>
                    <a:pt x="538" y="108"/>
                    <a:pt x="538" y="108"/>
                  </a:cubicBezTo>
                  <a:cubicBezTo>
                    <a:pt x="538" y="108"/>
                    <a:pt x="537" y="109"/>
                    <a:pt x="535" y="110"/>
                  </a:cubicBezTo>
                  <a:cubicBezTo>
                    <a:pt x="535" y="110"/>
                    <a:pt x="535" y="110"/>
                    <a:pt x="535" y="110"/>
                  </a:cubicBezTo>
                  <a:cubicBezTo>
                    <a:pt x="533" y="110"/>
                    <a:pt x="531" y="108"/>
                    <a:pt x="529" y="106"/>
                  </a:cubicBezTo>
                  <a:cubicBezTo>
                    <a:pt x="528" y="105"/>
                    <a:pt x="527" y="104"/>
                    <a:pt x="526" y="102"/>
                  </a:cubicBezTo>
                  <a:cubicBezTo>
                    <a:pt x="526" y="102"/>
                    <a:pt x="526" y="102"/>
                    <a:pt x="526" y="101"/>
                  </a:cubicBezTo>
                  <a:cubicBezTo>
                    <a:pt x="525" y="101"/>
                    <a:pt x="525" y="101"/>
                    <a:pt x="525" y="101"/>
                  </a:cubicBezTo>
                  <a:cubicBezTo>
                    <a:pt x="525" y="100"/>
                    <a:pt x="525" y="100"/>
                    <a:pt x="525" y="100"/>
                  </a:cubicBezTo>
                  <a:cubicBezTo>
                    <a:pt x="525" y="100"/>
                    <a:pt x="525" y="99"/>
                    <a:pt x="525" y="98"/>
                  </a:cubicBezTo>
                  <a:cubicBezTo>
                    <a:pt x="524" y="95"/>
                    <a:pt x="527" y="94"/>
                    <a:pt x="529" y="93"/>
                  </a:cubicBezTo>
                  <a:cubicBezTo>
                    <a:pt x="529" y="93"/>
                    <a:pt x="530" y="93"/>
                    <a:pt x="530" y="92"/>
                  </a:cubicBezTo>
                  <a:cubicBezTo>
                    <a:pt x="530" y="92"/>
                    <a:pt x="530" y="92"/>
                    <a:pt x="530" y="91"/>
                  </a:cubicBezTo>
                  <a:cubicBezTo>
                    <a:pt x="530" y="90"/>
                    <a:pt x="529" y="88"/>
                    <a:pt x="530" y="87"/>
                  </a:cubicBezTo>
                  <a:cubicBezTo>
                    <a:pt x="537" y="73"/>
                    <a:pt x="537" y="73"/>
                    <a:pt x="537" y="73"/>
                  </a:cubicBezTo>
                  <a:cubicBezTo>
                    <a:pt x="539" y="70"/>
                    <a:pt x="540" y="67"/>
                    <a:pt x="542" y="64"/>
                  </a:cubicBezTo>
                  <a:cubicBezTo>
                    <a:pt x="546" y="56"/>
                    <a:pt x="546" y="56"/>
                    <a:pt x="546" y="56"/>
                  </a:cubicBezTo>
                  <a:cubicBezTo>
                    <a:pt x="545" y="55"/>
                    <a:pt x="545" y="55"/>
                    <a:pt x="545" y="55"/>
                  </a:cubicBezTo>
                  <a:cubicBezTo>
                    <a:pt x="545" y="55"/>
                    <a:pt x="545" y="55"/>
                    <a:pt x="545" y="55"/>
                  </a:cubicBezTo>
                  <a:cubicBezTo>
                    <a:pt x="541" y="53"/>
                    <a:pt x="541" y="52"/>
                    <a:pt x="540" y="52"/>
                  </a:cubicBezTo>
                  <a:cubicBezTo>
                    <a:pt x="540" y="52"/>
                    <a:pt x="540" y="52"/>
                    <a:pt x="540" y="52"/>
                  </a:cubicBezTo>
                  <a:cubicBezTo>
                    <a:pt x="528" y="55"/>
                    <a:pt x="528" y="55"/>
                    <a:pt x="528" y="55"/>
                  </a:cubicBezTo>
                  <a:cubicBezTo>
                    <a:pt x="528" y="55"/>
                    <a:pt x="528" y="55"/>
                    <a:pt x="527" y="55"/>
                  </a:cubicBezTo>
                  <a:cubicBezTo>
                    <a:pt x="527" y="55"/>
                    <a:pt x="527" y="55"/>
                    <a:pt x="527" y="55"/>
                  </a:cubicBezTo>
                  <a:cubicBezTo>
                    <a:pt x="526" y="55"/>
                    <a:pt x="526" y="55"/>
                    <a:pt x="526" y="55"/>
                  </a:cubicBezTo>
                  <a:cubicBezTo>
                    <a:pt x="526" y="55"/>
                    <a:pt x="526" y="55"/>
                    <a:pt x="526" y="55"/>
                  </a:cubicBezTo>
                  <a:cubicBezTo>
                    <a:pt x="525" y="55"/>
                    <a:pt x="525" y="55"/>
                    <a:pt x="524" y="54"/>
                  </a:cubicBezTo>
                  <a:cubicBezTo>
                    <a:pt x="512" y="47"/>
                    <a:pt x="512" y="47"/>
                    <a:pt x="512" y="47"/>
                  </a:cubicBezTo>
                  <a:cubicBezTo>
                    <a:pt x="511" y="47"/>
                    <a:pt x="511" y="47"/>
                    <a:pt x="511" y="47"/>
                  </a:cubicBezTo>
                  <a:cubicBezTo>
                    <a:pt x="510" y="47"/>
                    <a:pt x="509" y="47"/>
                    <a:pt x="508" y="47"/>
                  </a:cubicBezTo>
                  <a:cubicBezTo>
                    <a:pt x="506" y="47"/>
                    <a:pt x="505" y="47"/>
                    <a:pt x="504" y="47"/>
                  </a:cubicBezTo>
                  <a:cubicBezTo>
                    <a:pt x="503" y="47"/>
                    <a:pt x="502" y="47"/>
                    <a:pt x="501" y="47"/>
                  </a:cubicBezTo>
                  <a:cubicBezTo>
                    <a:pt x="501" y="47"/>
                    <a:pt x="501" y="47"/>
                    <a:pt x="501" y="47"/>
                  </a:cubicBezTo>
                  <a:cubicBezTo>
                    <a:pt x="500" y="47"/>
                    <a:pt x="497" y="49"/>
                    <a:pt x="496" y="49"/>
                  </a:cubicBezTo>
                  <a:cubicBezTo>
                    <a:pt x="495" y="50"/>
                    <a:pt x="495" y="50"/>
                    <a:pt x="495" y="50"/>
                  </a:cubicBezTo>
                  <a:cubicBezTo>
                    <a:pt x="495" y="50"/>
                    <a:pt x="494" y="51"/>
                    <a:pt x="494" y="51"/>
                  </a:cubicBezTo>
                  <a:cubicBezTo>
                    <a:pt x="491" y="52"/>
                    <a:pt x="491" y="52"/>
                    <a:pt x="491" y="52"/>
                  </a:cubicBezTo>
                  <a:cubicBezTo>
                    <a:pt x="487" y="55"/>
                    <a:pt x="487" y="55"/>
                    <a:pt x="487" y="55"/>
                  </a:cubicBezTo>
                  <a:cubicBezTo>
                    <a:pt x="478" y="64"/>
                    <a:pt x="478" y="64"/>
                    <a:pt x="478" y="64"/>
                  </a:cubicBezTo>
                  <a:cubicBezTo>
                    <a:pt x="477" y="64"/>
                    <a:pt x="477" y="64"/>
                    <a:pt x="476" y="65"/>
                  </a:cubicBezTo>
                  <a:cubicBezTo>
                    <a:pt x="462" y="67"/>
                    <a:pt x="462" y="67"/>
                    <a:pt x="462" y="67"/>
                  </a:cubicBezTo>
                  <a:cubicBezTo>
                    <a:pt x="440" y="73"/>
                    <a:pt x="440" y="73"/>
                    <a:pt x="440" y="73"/>
                  </a:cubicBezTo>
                  <a:cubicBezTo>
                    <a:pt x="438" y="74"/>
                    <a:pt x="437" y="74"/>
                    <a:pt x="436" y="74"/>
                  </a:cubicBezTo>
                  <a:cubicBezTo>
                    <a:pt x="426" y="72"/>
                    <a:pt x="426" y="72"/>
                    <a:pt x="426" y="72"/>
                  </a:cubicBezTo>
                  <a:cubicBezTo>
                    <a:pt x="409" y="70"/>
                    <a:pt x="409" y="70"/>
                    <a:pt x="409" y="70"/>
                  </a:cubicBezTo>
                  <a:cubicBezTo>
                    <a:pt x="409" y="70"/>
                    <a:pt x="409" y="70"/>
                    <a:pt x="408" y="70"/>
                  </a:cubicBezTo>
                  <a:cubicBezTo>
                    <a:pt x="406" y="69"/>
                    <a:pt x="406" y="69"/>
                    <a:pt x="406" y="69"/>
                  </a:cubicBezTo>
                  <a:cubicBezTo>
                    <a:pt x="394" y="69"/>
                    <a:pt x="394" y="69"/>
                    <a:pt x="394" y="69"/>
                  </a:cubicBezTo>
                  <a:cubicBezTo>
                    <a:pt x="394" y="69"/>
                    <a:pt x="394" y="69"/>
                    <a:pt x="394" y="69"/>
                  </a:cubicBezTo>
                  <a:cubicBezTo>
                    <a:pt x="394" y="68"/>
                    <a:pt x="394" y="68"/>
                    <a:pt x="394" y="68"/>
                  </a:cubicBezTo>
                  <a:cubicBezTo>
                    <a:pt x="393" y="69"/>
                    <a:pt x="393" y="69"/>
                    <a:pt x="393" y="69"/>
                  </a:cubicBezTo>
                  <a:cubicBezTo>
                    <a:pt x="393" y="69"/>
                    <a:pt x="392" y="69"/>
                    <a:pt x="392" y="69"/>
                  </a:cubicBezTo>
                  <a:cubicBezTo>
                    <a:pt x="383" y="62"/>
                    <a:pt x="383" y="62"/>
                    <a:pt x="383" y="62"/>
                  </a:cubicBezTo>
                  <a:cubicBezTo>
                    <a:pt x="383" y="62"/>
                    <a:pt x="382" y="62"/>
                    <a:pt x="382" y="61"/>
                  </a:cubicBezTo>
                  <a:cubicBezTo>
                    <a:pt x="382" y="61"/>
                    <a:pt x="382" y="61"/>
                    <a:pt x="382" y="61"/>
                  </a:cubicBezTo>
                  <a:cubicBezTo>
                    <a:pt x="381" y="54"/>
                    <a:pt x="381" y="54"/>
                    <a:pt x="381" y="54"/>
                  </a:cubicBezTo>
                  <a:cubicBezTo>
                    <a:pt x="380" y="54"/>
                    <a:pt x="380" y="54"/>
                    <a:pt x="380" y="54"/>
                  </a:cubicBezTo>
                  <a:cubicBezTo>
                    <a:pt x="380" y="54"/>
                    <a:pt x="379" y="54"/>
                    <a:pt x="379" y="53"/>
                  </a:cubicBezTo>
                  <a:cubicBezTo>
                    <a:pt x="377" y="53"/>
                    <a:pt x="376" y="53"/>
                    <a:pt x="375" y="53"/>
                  </a:cubicBezTo>
                  <a:cubicBezTo>
                    <a:pt x="374" y="53"/>
                    <a:pt x="374" y="53"/>
                    <a:pt x="374" y="53"/>
                  </a:cubicBezTo>
                  <a:cubicBezTo>
                    <a:pt x="370" y="53"/>
                    <a:pt x="367" y="51"/>
                    <a:pt x="364" y="48"/>
                  </a:cubicBezTo>
                  <a:cubicBezTo>
                    <a:pt x="363" y="47"/>
                    <a:pt x="361" y="46"/>
                    <a:pt x="359" y="45"/>
                  </a:cubicBezTo>
                  <a:cubicBezTo>
                    <a:pt x="359" y="45"/>
                    <a:pt x="358" y="45"/>
                    <a:pt x="358" y="45"/>
                  </a:cubicBezTo>
                  <a:cubicBezTo>
                    <a:pt x="357" y="45"/>
                    <a:pt x="357" y="45"/>
                    <a:pt x="356" y="45"/>
                  </a:cubicBezTo>
                  <a:cubicBezTo>
                    <a:pt x="356" y="45"/>
                    <a:pt x="356" y="45"/>
                    <a:pt x="356" y="45"/>
                  </a:cubicBezTo>
                  <a:cubicBezTo>
                    <a:pt x="354" y="45"/>
                    <a:pt x="354" y="45"/>
                    <a:pt x="354" y="45"/>
                  </a:cubicBezTo>
                  <a:cubicBezTo>
                    <a:pt x="349" y="45"/>
                    <a:pt x="349" y="45"/>
                    <a:pt x="349" y="45"/>
                  </a:cubicBezTo>
                  <a:cubicBezTo>
                    <a:pt x="347" y="45"/>
                    <a:pt x="346" y="44"/>
                    <a:pt x="346" y="43"/>
                  </a:cubicBezTo>
                  <a:cubicBezTo>
                    <a:pt x="345" y="43"/>
                    <a:pt x="345" y="43"/>
                    <a:pt x="345" y="43"/>
                  </a:cubicBezTo>
                  <a:cubicBezTo>
                    <a:pt x="343" y="42"/>
                    <a:pt x="340" y="42"/>
                    <a:pt x="339" y="42"/>
                  </a:cubicBezTo>
                  <a:cubicBezTo>
                    <a:pt x="337" y="42"/>
                    <a:pt x="335" y="41"/>
                    <a:pt x="334" y="41"/>
                  </a:cubicBezTo>
                  <a:cubicBezTo>
                    <a:pt x="333" y="41"/>
                    <a:pt x="333" y="41"/>
                    <a:pt x="333" y="41"/>
                  </a:cubicBezTo>
                  <a:cubicBezTo>
                    <a:pt x="331" y="41"/>
                    <a:pt x="328" y="42"/>
                    <a:pt x="326" y="43"/>
                  </a:cubicBezTo>
                  <a:cubicBezTo>
                    <a:pt x="325" y="43"/>
                    <a:pt x="325" y="43"/>
                    <a:pt x="325" y="43"/>
                  </a:cubicBezTo>
                  <a:cubicBezTo>
                    <a:pt x="322" y="43"/>
                    <a:pt x="319" y="44"/>
                    <a:pt x="317" y="45"/>
                  </a:cubicBezTo>
                  <a:cubicBezTo>
                    <a:pt x="316" y="45"/>
                    <a:pt x="316" y="46"/>
                    <a:pt x="316" y="46"/>
                  </a:cubicBezTo>
                  <a:cubicBezTo>
                    <a:pt x="315" y="46"/>
                    <a:pt x="315" y="46"/>
                    <a:pt x="315" y="46"/>
                  </a:cubicBezTo>
                  <a:cubicBezTo>
                    <a:pt x="315" y="46"/>
                    <a:pt x="314" y="46"/>
                    <a:pt x="314" y="47"/>
                  </a:cubicBezTo>
                  <a:cubicBezTo>
                    <a:pt x="313" y="47"/>
                    <a:pt x="313" y="47"/>
                    <a:pt x="313" y="47"/>
                  </a:cubicBezTo>
                  <a:cubicBezTo>
                    <a:pt x="311" y="48"/>
                    <a:pt x="309" y="49"/>
                    <a:pt x="307" y="49"/>
                  </a:cubicBezTo>
                  <a:cubicBezTo>
                    <a:pt x="306" y="49"/>
                    <a:pt x="306" y="49"/>
                    <a:pt x="305" y="49"/>
                  </a:cubicBezTo>
                  <a:cubicBezTo>
                    <a:pt x="283" y="43"/>
                    <a:pt x="283" y="43"/>
                    <a:pt x="283" y="43"/>
                  </a:cubicBezTo>
                  <a:cubicBezTo>
                    <a:pt x="281" y="43"/>
                    <a:pt x="279" y="42"/>
                    <a:pt x="277" y="41"/>
                  </a:cubicBezTo>
                  <a:cubicBezTo>
                    <a:pt x="276" y="40"/>
                    <a:pt x="275" y="39"/>
                    <a:pt x="274" y="38"/>
                  </a:cubicBezTo>
                  <a:cubicBezTo>
                    <a:pt x="274" y="37"/>
                    <a:pt x="274" y="37"/>
                    <a:pt x="274" y="37"/>
                  </a:cubicBezTo>
                  <a:cubicBezTo>
                    <a:pt x="273" y="36"/>
                    <a:pt x="272" y="35"/>
                    <a:pt x="272" y="34"/>
                  </a:cubicBezTo>
                  <a:cubicBezTo>
                    <a:pt x="272" y="33"/>
                    <a:pt x="272" y="32"/>
                    <a:pt x="271" y="31"/>
                  </a:cubicBezTo>
                  <a:cubicBezTo>
                    <a:pt x="271" y="30"/>
                    <a:pt x="271" y="30"/>
                    <a:pt x="271" y="30"/>
                  </a:cubicBezTo>
                  <a:cubicBezTo>
                    <a:pt x="271" y="28"/>
                    <a:pt x="271" y="28"/>
                    <a:pt x="271" y="28"/>
                  </a:cubicBezTo>
                  <a:cubicBezTo>
                    <a:pt x="271" y="28"/>
                    <a:pt x="271" y="27"/>
                    <a:pt x="271" y="27"/>
                  </a:cubicBezTo>
                  <a:cubicBezTo>
                    <a:pt x="270" y="26"/>
                    <a:pt x="270" y="25"/>
                    <a:pt x="270" y="24"/>
                  </a:cubicBezTo>
                  <a:cubicBezTo>
                    <a:pt x="270" y="23"/>
                    <a:pt x="270" y="22"/>
                    <a:pt x="270" y="21"/>
                  </a:cubicBezTo>
                  <a:cubicBezTo>
                    <a:pt x="270" y="20"/>
                    <a:pt x="270" y="19"/>
                    <a:pt x="270" y="19"/>
                  </a:cubicBezTo>
                  <a:cubicBezTo>
                    <a:pt x="269" y="18"/>
                    <a:pt x="268" y="18"/>
                    <a:pt x="267" y="18"/>
                  </a:cubicBezTo>
                  <a:cubicBezTo>
                    <a:pt x="266" y="18"/>
                    <a:pt x="266" y="18"/>
                    <a:pt x="266" y="18"/>
                  </a:cubicBezTo>
                  <a:cubicBezTo>
                    <a:pt x="265" y="17"/>
                    <a:pt x="263" y="17"/>
                    <a:pt x="261" y="16"/>
                  </a:cubicBezTo>
                  <a:cubicBezTo>
                    <a:pt x="256" y="15"/>
                    <a:pt x="256" y="15"/>
                    <a:pt x="256" y="15"/>
                  </a:cubicBezTo>
                  <a:cubicBezTo>
                    <a:pt x="254" y="14"/>
                    <a:pt x="252" y="14"/>
                    <a:pt x="250" y="13"/>
                  </a:cubicBezTo>
                  <a:cubicBezTo>
                    <a:pt x="247" y="11"/>
                    <a:pt x="245" y="10"/>
                    <a:pt x="243" y="10"/>
                  </a:cubicBezTo>
                  <a:cubicBezTo>
                    <a:pt x="242" y="10"/>
                    <a:pt x="241" y="10"/>
                    <a:pt x="241" y="10"/>
                  </a:cubicBezTo>
                  <a:cubicBezTo>
                    <a:pt x="240" y="10"/>
                    <a:pt x="240" y="10"/>
                    <a:pt x="240" y="10"/>
                  </a:cubicBezTo>
                  <a:cubicBezTo>
                    <a:pt x="240" y="10"/>
                    <a:pt x="240" y="10"/>
                    <a:pt x="239" y="10"/>
                  </a:cubicBezTo>
                  <a:cubicBezTo>
                    <a:pt x="239" y="10"/>
                    <a:pt x="239" y="10"/>
                    <a:pt x="239" y="10"/>
                  </a:cubicBezTo>
                  <a:cubicBezTo>
                    <a:pt x="239" y="10"/>
                    <a:pt x="239" y="10"/>
                    <a:pt x="239" y="10"/>
                  </a:cubicBezTo>
                  <a:cubicBezTo>
                    <a:pt x="233" y="9"/>
                    <a:pt x="228" y="9"/>
                    <a:pt x="223" y="6"/>
                  </a:cubicBezTo>
                  <a:cubicBezTo>
                    <a:pt x="212" y="0"/>
                    <a:pt x="212" y="0"/>
                    <a:pt x="212" y="0"/>
                  </a:cubicBezTo>
                  <a:cubicBezTo>
                    <a:pt x="212" y="0"/>
                    <a:pt x="212" y="0"/>
                    <a:pt x="212" y="0"/>
                  </a:cubicBezTo>
                  <a:cubicBezTo>
                    <a:pt x="211" y="0"/>
                    <a:pt x="211" y="0"/>
                    <a:pt x="2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Freeform 449">
              <a:extLst>
                <a:ext uri="{FF2B5EF4-FFF2-40B4-BE49-F238E27FC236}">
                  <a16:creationId xmlns:a16="http://schemas.microsoft.com/office/drawing/2014/main" id="{7151564B-1951-47C2-9890-A5CB068717D6}"/>
                </a:ext>
              </a:extLst>
            </p:cNvPr>
            <p:cNvSpPr>
              <a:spLocks/>
            </p:cNvSpPr>
            <p:nvPr/>
          </p:nvSpPr>
          <p:spPr bwMode="auto">
            <a:xfrm>
              <a:off x="6113881" y="3944756"/>
              <a:ext cx="383751" cy="379625"/>
            </a:xfrm>
            <a:custGeom>
              <a:avLst/>
              <a:gdLst>
                <a:gd name="T0" fmla="*/ 108 w 118"/>
                <a:gd name="T1" fmla="*/ 0 h 117"/>
                <a:gd name="T2" fmla="*/ 106 w 118"/>
                <a:gd name="T3" fmla="*/ 5 h 117"/>
                <a:gd name="T4" fmla="*/ 104 w 118"/>
                <a:gd name="T5" fmla="*/ 10 h 117"/>
                <a:gd name="T6" fmla="*/ 96 w 118"/>
                <a:gd name="T7" fmla="*/ 14 h 117"/>
                <a:gd name="T8" fmla="*/ 91 w 118"/>
                <a:gd name="T9" fmla="*/ 20 h 117"/>
                <a:gd name="T10" fmla="*/ 81 w 118"/>
                <a:gd name="T11" fmla="*/ 22 h 117"/>
                <a:gd name="T12" fmla="*/ 76 w 118"/>
                <a:gd name="T13" fmla="*/ 26 h 117"/>
                <a:gd name="T14" fmla="*/ 78 w 118"/>
                <a:gd name="T15" fmla="*/ 31 h 117"/>
                <a:gd name="T16" fmla="*/ 72 w 118"/>
                <a:gd name="T17" fmla="*/ 36 h 117"/>
                <a:gd name="T18" fmla="*/ 66 w 118"/>
                <a:gd name="T19" fmla="*/ 36 h 117"/>
                <a:gd name="T20" fmla="*/ 55 w 118"/>
                <a:gd name="T21" fmla="*/ 34 h 117"/>
                <a:gd name="T22" fmla="*/ 51 w 118"/>
                <a:gd name="T23" fmla="*/ 30 h 117"/>
                <a:gd name="T24" fmla="*/ 49 w 118"/>
                <a:gd name="T25" fmla="*/ 28 h 117"/>
                <a:gd name="T26" fmla="*/ 48 w 118"/>
                <a:gd name="T27" fmla="*/ 28 h 117"/>
                <a:gd name="T28" fmla="*/ 46 w 118"/>
                <a:gd name="T29" fmla="*/ 30 h 117"/>
                <a:gd name="T30" fmla="*/ 36 w 118"/>
                <a:gd name="T31" fmla="*/ 44 h 117"/>
                <a:gd name="T32" fmla="*/ 32 w 118"/>
                <a:gd name="T33" fmla="*/ 48 h 117"/>
                <a:gd name="T34" fmla="*/ 26 w 118"/>
                <a:gd name="T35" fmla="*/ 49 h 117"/>
                <a:gd name="T36" fmla="*/ 21 w 118"/>
                <a:gd name="T37" fmla="*/ 54 h 117"/>
                <a:gd name="T38" fmla="*/ 3 w 118"/>
                <a:gd name="T39" fmla="*/ 66 h 117"/>
                <a:gd name="T40" fmla="*/ 1 w 118"/>
                <a:gd name="T41" fmla="*/ 66 h 117"/>
                <a:gd name="T42" fmla="*/ 0 w 118"/>
                <a:gd name="T43" fmla="*/ 67 h 117"/>
                <a:gd name="T44" fmla="*/ 8 w 118"/>
                <a:gd name="T45" fmla="*/ 71 h 117"/>
                <a:gd name="T46" fmla="*/ 19 w 118"/>
                <a:gd name="T47" fmla="*/ 75 h 117"/>
                <a:gd name="T48" fmla="*/ 19 w 118"/>
                <a:gd name="T49" fmla="*/ 84 h 117"/>
                <a:gd name="T50" fmla="*/ 26 w 118"/>
                <a:gd name="T51" fmla="*/ 96 h 117"/>
                <a:gd name="T52" fmla="*/ 21 w 118"/>
                <a:gd name="T53" fmla="*/ 95 h 117"/>
                <a:gd name="T54" fmla="*/ 15 w 118"/>
                <a:gd name="T55" fmla="*/ 96 h 117"/>
                <a:gd name="T56" fmla="*/ 12 w 118"/>
                <a:gd name="T57" fmla="*/ 105 h 117"/>
                <a:gd name="T58" fmla="*/ 7 w 118"/>
                <a:gd name="T59" fmla="*/ 107 h 117"/>
                <a:gd name="T60" fmla="*/ 14 w 118"/>
                <a:gd name="T61" fmla="*/ 111 h 117"/>
                <a:gd name="T62" fmla="*/ 18 w 118"/>
                <a:gd name="T63" fmla="*/ 114 h 117"/>
                <a:gd name="T64" fmla="*/ 18 w 118"/>
                <a:gd name="T65" fmla="*/ 114 h 117"/>
                <a:gd name="T66" fmla="*/ 22 w 118"/>
                <a:gd name="T67" fmla="*/ 113 h 117"/>
                <a:gd name="T68" fmla="*/ 20 w 118"/>
                <a:gd name="T69" fmla="*/ 115 h 117"/>
                <a:gd name="T70" fmla="*/ 20 w 118"/>
                <a:gd name="T71" fmla="*/ 117 h 117"/>
                <a:gd name="T72" fmla="*/ 27 w 118"/>
                <a:gd name="T73" fmla="*/ 111 h 117"/>
                <a:gd name="T74" fmla="*/ 32 w 118"/>
                <a:gd name="T75" fmla="*/ 114 h 117"/>
                <a:gd name="T76" fmla="*/ 37 w 118"/>
                <a:gd name="T77" fmla="*/ 115 h 117"/>
                <a:gd name="T78" fmla="*/ 43 w 118"/>
                <a:gd name="T79" fmla="*/ 113 h 117"/>
                <a:gd name="T80" fmla="*/ 43 w 118"/>
                <a:gd name="T81" fmla="*/ 112 h 117"/>
                <a:gd name="T82" fmla="*/ 47 w 118"/>
                <a:gd name="T83" fmla="*/ 107 h 117"/>
                <a:gd name="T84" fmla="*/ 51 w 118"/>
                <a:gd name="T85" fmla="*/ 103 h 117"/>
                <a:gd name="T86" fmla="*/ 58 w 118"/>
                <a:gd name="T87" fmla="*/ 102 h 117"/>
                <a:gd name="T88" fmla="*/ 71 w 118"/>
                <a:gd name="T89" fmla="*/ 101 h 117"/>
                <a:gd name="T90" fmla="*/ 73 w 118"/>
                <a:gd name="T91" fmla="*/ 99 h 117"/>
                <a:gd name="T92" fmla="*/ 75 w 118"/>
                <a:gd name="T93" fmla="*/ 96 h 117"/>
                <a:gd name="T94" fmla="*/ 76 w 118"/>
                <a:gd name="T95" fmla="*/ 95 h 117"/>
                <a:gd name="T96" fmla="*/ 71 w 118"/>
                <a:gd name="T97" fmla="*/ 90 h 117"/>
                <a:gd name="T98" fmla="*/ 60 w 118"/>
                <a:gd name="T99" fmla="*/ 84 h 117"/>
                <a:gd name="T100" fmla="*/ 62 w 118"/>
                <a:gd name="T101" fmla="*/ 81 h 117"/>
                <a:gd name="T102" fmla="*/ 62 w 118"/>
                <a:gd name="T103" fmla="*/ 75 h 117"/>
                <a:gd name="T104" fmla="*/ 76 w 118"/>
                <a:gd name="T105" fmla="*/ 65 h 117"/>
                <a:gd name="T106" fmla="*/ 104 w 118"/>
                <a:gd name="T107" fmla="*/ 45 h 117"/>
                <a:gd name="T108" fmla="*/ 103 w 118"/>
                <a:gd name="T109" fmla="*/ 39 h 117"/>
                <a:gd name="T110" fmla="*/ 104 w 118"/>
                <a:gd name="T111" fmla="*/ 34 h 117"/>
                <a:gd name="T112" fmla="*/ 116 w 118"/>
                <a:gd name="T113" fmla="*/ 13 h 117"/>
                <a:gd name="T114" fmla="*/ 118 w 118"/>
                <a:gd name="T115" fmla="*/ 13 h 117"/>
                <a:gd name="T116" fmla="*/ 116 w 118"/>
                <a:gd name="T117" fmla="*/ 11 h 117"/>
                <a:gd name="T118" fmla="*/ 110 w 118"/>
                <a:gd name="T119" fmla="*/ 5 h 117"/>
                <a:gd name="T120" fmla="*/ 111 w 118"/>
                <a:gd name="T121" fmla="*/ 2 h 117"/>
                <a:gd name="T122" fmla="*/ 108 w 118"/>
                <a:gd name="T12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117">
                  <a:moveTo>
                    <a:pt x="108" y="0"/>
                  </a:moveTo>
                  <a:cubicBezTo>
                    <a:pt x="108" y="0"/>
                    <a:pt x="108" y="0"/>
                    <a:pt x="108" y="0"/>
                  </a:cubicBezTo>
                  <a:cubicBezTo>
                    <a:pt x="107" y="0"/>
                    <a:pt x="107" y="2"/>
                    <a:pt x="107" y="4"/>
                  </a:cubicBezTo>
                  <a:cubicBezTo>
                    <a:pt x="106" y="5"/>
                    <a:pt x="106" y="5"/>
                    <a:pt x="106" y="5"/>
                  </a:cubicBezTo>
                  <a:cubicBezTo>
                    <a:pt x="106" y="6"/>
                    <a:pt x="106" y="7"/>
                    <a:pt x="105" y="8"/>
                  </a:cubicBezTo>
                  <a:cubicBezTo>
                    <a:pt x="105" y="9"/>
                    <a:pt x="104" y="9"/>
                    <a:pt x="104" y="10"/>
                  </a:cubicBezTo>
                  <a:cubicBezTo>
                    <a:pt x="103" y="11"/>
                    <a:pt x="101" y="11"/>
                    <a:pt x="99" y="12"/>
                  </a:cubicBezTo>
                  <a:cubicBezTo>
                    <a:pt x="97" y="12"/>
                    <a:pt x="96" y="13"/>
                    <a:pt x="96" y="14"/>
                  </a:cubicBezTo>
                  <a:cubicBezTo>
                    <a:pt x="96" y="14"/>
                    <a:pt x="96" y="14"/>
                    <a:pt x="96" y="14"/>
                  </a:cubicBezTo>
                  <a:cubicBezTo>
                    <a:pt x="95" y="17"/>
                    <a:pt x="92" y="20"/>
                    <a:pt x="91" y="20"/>
                  </a:cubicBezTo>
                  <a:cubicBezTo>
                    <a:pt x="89" y="21"/>
                    <a:pt x="86" y="21"/>
                    <a:pt x="83" y="21"/>
                  </a:cubicBezTo>
                  <a:cubicBezTo>
                    <a:pt x="82" y="21"/>
                    <a:pt x="82" y="22"/>
                    <a:pt x="81" y="22"/>
                  </a:cubicBezTo>
                  <a:cubicBezTo>
                    <a:pt x="74" y="23"/>
                    <a:pt x="74" y="23"/>
                    <a:pt x="74" y="23"/>
                  </a:cubicBezTo>
                  <a:cubicBezTo>
                    <a:pt x="74" y="24"/>
                    <a:pt x="75" y="25"/>
                    <a:pt x="76" y="26"/>
                  </a:cubicBezTo>
                  <a:cubicBezTo>
                    <a:pt x="76" y="26"/>
                    <a:pt x="76" y="26"/>
                    <a:pt x="76" y="26"/>
                  </a:cubicBezTo>
                  <a:cubicBezTo>
                    <a:pt x="77" y="27"/>
                    <a:pt x="79" y="28"/>
                    <a:pt x="78" y="31"/>
                  </a:cubicBezTo>
                  <a:cubicBezTo>
                    <a:pt x="78" y="33"/>
                    <a:pt x="77" y="34"/>
                    <a:pt x="76" y="35"/>
                  </a:cubicBezTo>
                  <a:cubicBezTo>
                    <a:pt x="75" y="36"/>
                    <a:pt x="73" y="36"/>
                    <a:pt x="72" y="36"/>
                  </a:cubicBezTo>
                  <a:cubicBezTo>
                    <a:pt x="72" y="36"/>
                    <a:pt x="71" y="37"/>
                    <a:pt x="71" y="37"/>
                  </a:cubicBezTo>
                  <a:cubicBezTo>
                    <a:pt x="70" y="37"/>
                    <a:pt x="68" y="36"/>
                    <a:pt x="66" y="36"/>
                  </a:cubicBezTo>
                  <a:cubicBezTo>
                    <a:pt x="65" y="36"/>
                    <a:pt x="65" y="36"/>
                    <a:pt x="65" y="36"/>
                  </a:cubicBezTo>
                  <a:cubicBezTo>
                    <a:pt x="62" y="36"/>
                    <a:pt x="57" y="36"/>
                    <a:pt x="55" y="34"/>
                  </a:cubicBezTo>
                  <a:cubicBezTo>
                    <a:pt x="55" y="34"/>
                    <a:pt x="55" y="34"/>
                    <a:pt x="55" y="34"/>
                  </a:cubicBezTo>
                  <a:cubicBezTo>
                    <a:pt x="53" y="32"/>
                    <a:pt x="52" y="31"/>
                    <a:pt x="51" y="30"/>
                  </a:cubicBezTo>
                  <a:cubicBezTo>
                    <a:pt x="51" y="29"/>
                    <a:pt x="50" y="28"/>
                    <a:pt x="49" y="28"/>
                  </a:cubicBezTo>
                  <a:cubicBezTo>
                    <a:pt x="49" y="28"/>
                    <a:pt x="49" y="28"/>
                    <a:pt x="49" y="28"/>
                  </a:cubicBezTo>
                  <a:cubicBezTo>
                    <a:pt x="48" y="28"/>
                    <a:pt x="48" y="28"/>
                    <a:pt x="48" y="28"/>
                  </a:cubicBezTo>
                  <a:cubicBezTo>
                    <a:pt x="48" y="28"/>
                    <a:pt x="48" y="28"/>
                    <a:pt x="48" y="28"/>
                  </a:cubicBezTo>
                  <a:cubicBezTo>
                    <a:pt x="48" y="28"/>
                    <a:pt x="48" y="28"/>
                    <a:pt x="48" y="28"/>
                  </a:cubicBezTo>
                  <a:cubicBezTo>
                    <a:pt x="47" y="29"/>
                    <a:pt x="46" y="30"/>
                    <a:pt x="46" y="30"/>
                  </a:cubicBezTo>
                  <a:cubicBezTo>
                    <a:pt x="44" y="35"/>
                    <a:pt x="41" y="39"/>
                    <a:pt x="37" y="43"/>
                  </a:cubicBezTo>
                  <a:cubicBezTo>
                    <a:pt x="37" y="43"/>
                    <a:pt x="37" y="44"/>
                    <a:pt x="36" y="44"/>
                  </a:cubicBezTo>
                  <a:cubicBezTo>
                    <a:pt x="35" y="46"/>
                    <a:pt x="34" y="47"/>
                    <a:pt x="32" y="48"/>
                  </a:cubicBezTo>
                  <a:cubicBezTo>
                    <a:pt x="32" y="48"/>
                    <a:pt x="32" y="48"/>
                    <a:pt x="32" y="48"/>
                  </a:cubicBezTo>
                  <a:cubicBezTo>
                    <a:pt x="31" y="48"/>
                    <a:pt x="30" y="48"/>
                    <a:pt x="29" y="48"/>
                  </a:cubicBezTo>
                  <a:cubicBezTo>
                    <a:pt x="28" y="49"/>
                    <a:pt x="27" y="49"/>
                    <a:pt x="26" y="49"/>
                  </a:cubicBezTo>
                  <a:cubicBezTo>
                    <a:pt x="25" y="50"/>
                    <a:pt x="25" y="50"/>
                    <a:pt x="25" y="50"/>
                  </a:cubicBezTo>
                  <a:cubicBezTo>
                    <a:pt x="24" y="51"/>
                    <a:pt x="23" y="53"/>
                    <a:pt x="21" y="54"/>
                  </a:cubicBezTo>
                  <a:cubicBezTo>
                    <a:pt x="15" y="57"/>
                    <a:pt x="10" y="61"/>
                    <a:pt x="4" y="65"/>
                  </a:cubicBezTo>
                  <a:cubicBezTo>
                    <a:pt x="4" y="65"/>
                    <a:pt x="3" y="66"/>
                    <a:pt x="3" y="66"/>
                  </a:cubicBezTo>
                  <a:cubicBezTo>
                    <a:pt x="2" y="67"/>
                    <a:pt x="2" y="67"/>
                    <a:pt x="2" y="67"/>
                  </a:cubicBezTo>
                  <a:cubicBezTo>
                    <a:pt x="1" y="66"/>
                    <a:pt x="1" y="66"/>
                    <a:pt x="1" y="66"/>
                  </a:cubicBezTo>
                  <a:cubicBezTo>
                    <a:pt x="1" y="67"/>
                    <a:pt x="1" y="67"/>
                    <a:pt x="1" y="67"/>
                  </a:cubicBezTo>
                  <a:cubicBezTo>
                    <a:pt x="1" y="67"/>
                    <a:pt x="0" y="67"/>
                    <a:pt x="0" y="67"/>
                  </a:cubicBezTo>
                  <a:cubicBezTo>
                    <a:pt x="1" y="70"/>
                    <a:pt x="8" y="71"/>
                    <a:pt x="6" y="74"/>
                  </a:cubicBezTo>
                  <a:cubicBezTo>
                    <a:pt x="7" y="74"/>
                    <a:pt x="9" y="72"/>
                    <a:pt x="8" y="71"/>
                  </a:cubicBezTo>
                  <a:cubicBezTo>
                    <a:pt x="10" y="72"/>
                    <a:pt x="12" y="73"/>
                    <a:pt x="14" y="74"/>
                  </a:cubicBezTo>
                  <a:cubicBezTo>
                    <a:pt x="16" y="75"/>
                    <a:pt x="17" y="75"/>
                    <a:pt x="19" y="75"/>
                  </a:cubicBezTo>
                  <a:cubicBezTo>
                    <a:pt x="20" y="75"/>
                    <a:pt x="21" y="75"/>
                    <a:pt x="22" y="75"/>
                  </a:cubicBezTo>
                  <a:cubicBezTo>
                    <a:pt x="21" y="78"/>
                    <a:pt x="20" y="81"/>
                    <a:pt x="19" y="84"/>
                  </a:cubicBezTo>
                  <a:cubicBezTo>
                    <a:pt x="18" y="86"/>
                    <a:pt x="17" y="88"/>
                    <a:pt x="17" y="90"/>
                  </a:cubicBezTo>
                  <a:cubicBezTo>
                    <a:pt x="16" y="95"/>
                    <a:pt x="24" y="93"/>
                    <a:pt x="26" y="96"/>
                  </a:cubicBezTo>
                  <a:cubicBezTo>
                    <a:pt x="24" y="96"/>
                    <a:pt x="23" y="95"/>
                    <a:pt x="21" y="95"/>
                  </a:cubicBezTo>
                  <a:cubicBezTo>
                    <a:pt x="21" y="95"/>
                    <a:pt x="21" y="95"/>
                    <a:pt x="21" y="95"/>
                  </a:cubicBezTo>
                  <a:cubicBezTo>
                    <a:pt x="20" y="95"/>
                    <a:pt x="18" y="95"/>
                    <a:pt x="17" y="96"/>
                  </a:cubicBezTo>
                  <a:cubicBezTo>
                    <a:pt x="16" y="96"/>
                    <a:pt x="16" y="95"/>
                    <a:pt x="15" y="96"/>
                  </a:cubicBezTo>
                  <a:cubicBezTo>
                    <a:pt x="14" y="98"/>
                    <a:pt x="13" y="101"/>
                    <a:pt x="12" y="102"/>
                  </a:cubicBezTo>
                  <a:cubicBezTo>
                    <a:pt x="12" y="103"/>
                    <a:pt x="11" y="105"/>
                    <a:pt x="12" y="105"/>
                  </a:cubicBezTo>
                  <a:cubicBezTo>
                    <a:pt x="12" y="105"/>
                    <a:pt x="13" y="105"/>
                    <a:pt x="13" y="105"/>
                  </a:cubicBezTo>
                  <a:cubicBezTo>
                    <a:pt x="11" y="106"/>
                    <a:pt x="9" y="107"/>
                    <a:pt x="7" y="107"/>
                  </a:cubicBezTo>
                  <a:cubicBezTo>
                    <a:pt x="10" y="108"/>
                    <a:pt x="13" y="110"/>
                    <a:pt x="16" y="111"/>
                  </a:cubicBezTo>
                  <a:cubicBezTo>
                    <a:pt x="15" y="111"/>
                    <a:pt x="15" y="111"/>
                    <a:pt x="14" y="111"/>
                  </a:cubicBezTo>
                  <a:cubicBezTo>
                    <a:pt x="13" y="111"/>
                    <a:pt x="13" y="111"/>
                    <a:pt x="13" y="112"/>
                  </a:cubicBezTo>
                  <a:cubicBezTo>
                    <a:pt x="14" y="113"/>
                    <a:pt x="17" y="113"/>
                    <a:pt x="18" y="114"/>
                  </a:cubicBezTo>
                  <a:cubicBezTo>
                    <a:pt x="18" y="114"/>
                    <a:pt x="18" y="114"/>
                    <a:pt x="18" y="114"/>
                  </a:cubicBezTo>
                  <a:cubicBezTo>
                    <a:pt x="18" y="114"/>
                    <a:pt x="18" y="114"/>
                    <a:pt x="18" y="114"/>
                  </a:cubicBezTo>
                  <a:cubicBezTo>
                    <a:pt x="19" y="114"/>
                    <a:pt x="19" y="114"/>
                    <a:pt x="20" y="113"/>
                  </a:cubicBezTo>
                  <a:cubicBezTo>
                    <a:pt x="20" y="113"/>
                    <a:pt x="21" y="113"/>
                    <a:pt x="22" y="113"/>
                  </a:cubicBezTo>
                  <a:cubicBezTo>
                    <a:pt x="22" y="113"/>
                    <a:pt x="22" y="113"/>
                    <a:pt x="23" y="114"/>
                  </a:cubicBezTo>
                  <a:cubicBezTo>
                    <a:pt x="23" y="114"/>
                    <a:pt x="21" y="114"/>
                    <a:pt x="20" y="115"/>
                  </a:cubicBezTo>
                  <a:cubicBezTo>
                    <a:pt x="21" y="115"/>
                    <a:pt x="21" y="115"/>
                    <a:pt x="21" y="115"/>
                  </a:cubicBezTo>
                  <a:cubicBezTo>
                    <a:pt x="20" y="115"/>
                    <a:pt x="19" y="116"/>
                    <a:pt x="20" y="117"/>
                  </a:cubicBezTo>
                  <a:cubicBezTo>
                    <a:pt x="22" y="116"/>
                    <a:pt x="24" y="115"/>
                    <a:pt x="25" y="113"/>
                  </a:cubicBezTo>
                  <a:cubicBezTo>
                    <a:pt x="26" y="113"/>
                    <a:pt x="25" y="112"/>
                    <a:pt x="27" y="111"/>
                  </a:cubicBezTo>
                  <a:cubicBezTo>
                    <a:pt x="26" y="111"/>
                    <a:pt x="24" y="111"/>
                    <a:pt x="24" y="110"/>
                  </a:cubicBezTo>
                  <a:cubicBezTo>
                    <a:pt x="27" y="111"/>
                    <a:pt x="30" y="113"/>
                    <a:pt x="32" y="114"/>
                  </a:cubicBezTo>
                  <a:cubicBezTo>
                    <a:pt x="34" y="115"/>
                    <a:pt x="34" y="116"/>
                    <a:pt x="35" y="116"/>
                  </a:cubicBezTo>
                  <a:cubicBezTo>
                    <a:pt x="35" y="116"/>
                    <a:pt x="36" y="115"/>
                    <a:pt x="37" y="115"/>
                  </a:cubicBezTo>
                  <a:cubicBezTo>
                    <a:pt x="39" y="113"/>
                    <a:pt x="40" y="113"/>
                    <a:pt x="41" y="113"/>
                  </a:cubicBezTo>
                  <a:cubicBezTo>
                    <a:pt x="41" y="113"/>
                    <a:pt x="42" y="113"/>
                    <a:pt x="43" y="113"/>
                  </a:cubicBezTo>
                  <a:cubicBezTo>
                    <a:pt x="43" y="113"/>
                    <a:pt x="43" y="113"/>
                    <a:pt x="43" y="113"/>
                  </a:cubicBezTo>
                  <a:cubicBezTo>
                    <a:pt x="43" y="112"/>
                    <a:pt x="43" y="112"/>
                    <a:pt x="43" y="112"/>
                  </a:cubicBezTo>
                  <a:cubicBezTo>
                    <a:pt x="44" y="111"/>
                    <a:pt x="45" y="110"/>
                    <a:pt x="46" y="108"/>
                  </a:cubicBezTo>
                  <a:cubicBezTo>
                    <a:pt x="47" y="108"/>
                    <a:pt x="47" y="107"/>
                    <a:pt x="47" y="107"/>
                  </a:cubicBezTo>
                  <a:cubicBezTo>
                    <a:pt x="48" y="106"/>
                    <a:pt x="48" y="106"/>
                    <a:pt x="48" y="106"/>
                  </a:cubicBezTo>
                  <a:cubicBezTo>
                    <a:pt x="49" y="105"/>
                    <a:pt x="50" y="104"/>
                    <a:pt x="51" y="103"/>
                  </a:cubicBezTo>
                  <a:cubicBezTo>
                    <a:pt x="53" y="102"/>
                    <a:pt x="55" y="102"/>
                    <a:pt x="56" y="102"/>
                  </a:cubicBezTo>
                  <a:cubicBezTo>
                    <a:pt x="57" y="102"/>
                    <a:pt x="58" y="102"/>
                    <a:pt x="58" y="102"/>
                  </a:cubicBezTo>
                  <a:cubicBezTo>
                    <a:pt x="70" y="101"/>
                    <a:pt x="70" y="101"/>
                    <a:pt x="70" y="101"/>
                  </a:cubicBezTo>
                  <a:cubicBezTo>
                    <a:pt x="71" y="101"/>
                    <a:pt x="71" y="101"/>
                    <a:pt x="71" y="101"/>
                  </a:cubicBezTo>
                  <a:cubicBezTo>
                    <a:pt x="72" y="100"/>
                    <a:pt x="72" y="100"/>
                    <a:pt x="72" y="100"/>
                  </a:cubicBezTo>
                  <a:cubicBezTo>
                    <a:pt x="72" y="100"/>
                    <a:pt x="72" y="100"/>
                    <a:pt x="73" y="99"/>
                  </a:cubicBezTo>
                  <a:cubicBezTo>
                    <a:pt x="75" y="97"/>
                    <a:pt x="75" y="97"/>
                    <a:pt x="75" y="97"/>
                  </a:cubicBezTo>
                  <a:cubicBezTo>
                    <a:pt x="75" y="96"/>
                    <a:pt x="75" y="96"/>
                    <a:pt x="75" y="96"/>
                  </a:cubicBezTo>
                  <a:cubicBezTo>
                    <a:pt x="75" y="95"/>
                    <a:pt x="75" y="95"/>
                    <a:pt x="75" y="95"/>
                  </a:cubicBezTo>
                  <a:cubicBezTo>
                    <a:pt x="76" y="95"/>
                    <a:pt x="76" y="95"/>
                    <a:pt x="76" y="95"/>
                  </a:cubicBezTo>
                  <a:cubicBezTo>
                    <a:pt x="76" y="94"/>
                    <a:pt x="76" y="94"/>
                    <a:pt x="76" y="94"/>
                  </a:cubicBezTo>
                  <a:cubicBezTo>
                    <a:pt x="74" y="93"/>
                    <a:pt x="72" y="91"/>
                    <a:pt x="71" y="90"/>
                  </a:cubicBezTo>
                  <a:cubicBezTo>
                    <a:pt x="69" y="89"/>
                    <a:pt x="68" y="87"/>
                    <a:pt x="66" y="86"/>
                  </a:cubicBezTo>
                  <a:cubicBezTo>
                    <a:pt x="65" y="84"/>
                    <a:pt x="61" y="84"/>
                    <a:pt x="60" y="84"/>
                  </a:cubicBezTo>
                  <a:cubicBezTo>
                    <a:pt x="57" y="83"/>
                    <a:pt x="59" y="81"/>
                    <a:pt x="60" y="79"/>
                  </a:cubicBezTo>
                  <a:cubicBezTo>
                    <a:pt x="61" y="80"/>
                    <a:pt x="61" y="81"/>
                    <a:pt x="62" y="81"/>
                  </a:cubicBezTo>
                  <a:cubicBezTo>
                    <a:pt x="62" y="80"/>
                    <a:pt x="61" y="79"/>
                    <a:pt x="61" y="77"/>
                  </a:cubicBezTo>
                  <a:cubicBezTo>
                    <a:pt x="61" y="77"/>
                    <a:pt x="62" y="75"/>
                    <a:pt x="62" y="75"/>
                  </a:cubicBezTo>
                  <a:cubicBezTo>
                    <a:pt x="62" y="73"/>
                    <a:pt x="61" y="74"/>
                    <a:pt x="61" y="72"/>
                  </a:cubicBezTo>
                  <a:cubicBezTo>
                    <a:pt x="61" y="69"/>
                    <a:pt x="73" y="66"/>
                    <a:pt x="76" y="65"/>
                  </a:cubicBezTo>
                  <a:cubicBezTo>
                    <a:pt x="83" y="62"/>
                    <a:pt x="87" y="57"/>
                    <a:pt x="93" y="53"/>
                  </a:cubicBezTo>
                  <a:cubicBezTo>
                    <a:pt x="95" y="51"/>
                    <a:pt x="103" y="48"/>
                    <a:pt x="104" y="45"/>
                  </a:cubicBezTo>
                  <a:cubicBezTo>
                    <a:pt x="104" y="44"/>
                    <a:pt x="103" y="43"/>
                    <a:pt x="103" y="42"/>
                  </a:cubicBezTo>
                  <a:cubicBezTo>
                    <a:pt x="103" y="41"/>
                    <a:pt x="103" y="40"/>
                    <a:pt x="103" y="39"/>
                  </a:cubicBezTo>
                  <a:cubicBezTo>
                    <a:pt x="104" y="38"/>
                    <a:pt x="104" y="37"/>
                    <a:pt x="104" y="36"/>
                  </a:cubicBezTo>
                  <a:cubicBezTo>
                    <a:pt x="105" y="35"/>
                    <a:pt x="104" y="34"/>
                    <a:pt x="104" y="34"/>
                  </a:cubicBezTo>
                  <a:cubicBezTo>
                    <a:pt x="105" y="27"/>
                    <a:pt x="107" y="21"/>
                    <a:pt x="113" y="16"/>
                  </a:cubicBezTo>
                  <a:cubicBezTo>
                    <a:pt x="114" y="15"/>
                    <a:pt x="116" y="13"/>
                    <a:pt x="116" y="13"/>
                  </a:cubicBezTo>
                  <a:cubicBezTo>
                    <a:pt x="117" y="13"/>
                    <a:pt x="117" y="13"/>
                    <a:pt x="118" y="13"/>
                  </a:cubicBezTo>
                  <a:cubicBezTo>
                    <a:pt x="118" y="13"/>
                    <a:pt x="118" y="13"/>
                    <a:pt x="118" y="13"/>
                  </a:cubicBezTo>
                  <a:cubicBezTo>
                    <a:pt x="118" y="12"/>
                    <a:pt x="117" y="11"/>
                    <a:pt x="117" y="11"/>
                  </a:cubicBezTo>
                  <a:cubicBezTo>
                    <a:pt x="116" y="11"/>
                    <a:pt x="116" y="11"/>
                    <a:pt x="116" y="11"/>
                  </a:cubicBezTo>
                  <a:cubicBezTo>
                    <a:pt x="115" y="9"/>
                    <a:pt x="113" y="8"/>
                    <a:pt x="112" y="6"/>
                  </a:cubicBezTo>
                  <a:cubicBezTo>
                    <a:pt x="110" y="5"/>
                    <a:pt x="110" y="5"/>
                    <a:pt x="110" y="5"/>
                  </a:cubicBezTo>
                  <a:cubicBezTo>
                    <a:pt x="111" y="4"/>
                    <a:pt x="111" y="4"/>
                    <a:pt x="111" y="4"/>
                  </a:cubicBezTo>
                  <a:cubicBezTo>
                    <a:pt x="111" y="4"/>
                    <a:pt x="111" y="3"/>
                    <a:pt x="111" y="2"/>
                  </a:cubicBezTo>
                  <a:cubicBezTo>
                    <a:pt x="111" y="2"/>
                    <a:pt x="111" y="1"/>
                    <a:pt x="111" y="1"/>
                  </a:cubicBezTo>
                  <a:cubicBezTo>
                    <a:pt x="110" y="1"/>
                    <a:pt x="110" y="0"/>
                    <a:pt x="108" y="0"/>
                  </a:cubicBezTo>
                  <a:cubicBezTo>
                    <a:pt x="108" y="0"/>
                    <a:pt x="108" y="0"/>
                    <a:pt x="1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Freeform 450">
              <a:extLst>
                <a:ext uri="{FF2B5EF4-FFF2-40B4-BE49-F238E27FC236}">
                  <a16:creationId xmlns:a16="http://schemas.microsoft.com/office/drawing/2014/main" id="{64952837-52FC-467D-B3D3-C00E2BCE4713}"/>
                </a:ext>
              </a:extLst>
            </p:cNvPr>
            <p:cNvSpPr>
              <a:spLocks noEditPoints="1"/>
            </p:cNvSpPr>
            <p:nvPr/>
          </p:nvSpPr>
          <p:spPr bwMode="auto">
            <a:xfrm>
              <a:off x="6228043" y="4266611"/>
              <a:ext cx="210444" cy="298473"/>
            </a:xfrm>
            <a:custGeom>
              <a:avLst/>
              <a:gdLst>
                <a:gd name="T0" fmla="*/ 44 w 65"/>
                <a:gd name="T1" fmla="*/ 79 h 92"/>
                <a:gd name="T2" fmla="*/ 44 w 65"/>
                <a:gd name="T3" fmla="*/ 0 h 92"/>
                <a:gd name="T4" fmla="*/ 42 w 65"/>
                <a:gd name="T5" fmla="*/ 2 h 92"/>
                <a:gd name="T6" fmla="*/ 40 w 65"/>
                <a:gd name="T7" fmla="*/ 4 h 92"/>
                <a:gd name="T8" fmla="*/ 36 w 65"/>
                <a:gd name="T9" fmla="*/ 7 h 92"/>
                <a:gd name="T10" fmla="*/ 22 w 65"/>
                <a:gd name="T11" fmla="*/ 8 h 92"/>
                <a:gd name="T12" fmla="*/ 17 w 65"/>
                <a:gd name="T13" fmla="*/ 10 h 92"/>
                <a:gd name="T14" fmla="*/ 15 w 65"/>
                <a:gd name="T15" fmla="*/ 12 h 92"/>
                <a:gd name="T16" fmla="*/ 13 w 65"/>
                <a:gd name="T17" fmla="*/ 15 h 92"/>
                <a:gd name="T18" fmla="*/ 12 w 65"/>
                <a:gd name="T19" fmla="*/ 16 h 92"/>
                <a:gd name="T20" fmla="*/ 11 w 65"/>
                <a:gd name="T21" fmla="*/ 19 h 92"/>
                <a:gd name="T22" fmla="*/ 8 w 65"/>
                <a:gd name="T23" fmla="*/ 17 h 92"/>
                <a:gd name="T24" fmla="*/ 8 w 65"/>
                <a:gd name="T25" fmla="*/ 17 h 92"/>
                <a:gd name="T26" fmla="*/ 9 w 65"/>
                <a:gd name="T27" fmla="*/ 20 h 92"/>
                <a:gd name="T28" fmla="*/ 13 w 65"/>
                <a:gd name="T29" fmla="*/ 27 h 92"/>
                <a:gd name="T30" fmla="*/ 10 w 65"/>
                <a:gd name="T31" fmla="*/ 30 h 92"/>
                <a:gd name="T32" fmla="*/ 11 w 65"/>
                <a:gd name="T33" fmla="*/ 30 h 92"/>
                <a:gd name="T34" fmla="*/ 14 w 65"/>
                <a:gd name="T35" fmla="*/ 30 h 92"/>
                <a:gd name="T36" fmla="*/ 14 w 65"/>
                <a:gd name="T37" fmla="*/ 33 h 92"/>
                <a:gd name="T38" fmla="*/ 13 w 65"/>
                <a:gd name="T39" fmla="*/ 38 h 92"/>
                <a:gd name="T40" fmla="*/ 12 w 65"/>
                <a:gd name="T41" fmla="*/ 36 h 92"/>
                <a:gd name="T42" fmla="*/ 11 w 65"/>
                <a:gd name="T43" fmla="*/ 34 h 92"/>
                <a:gd name="T44" fmla="*/ 9 w 65"/>
                <a:gd name="T45" fmla="*/ 35 h 92"/>
                <a:gd name="T46" fmla="*/ 7 w 65"/>
                <a:gd name="T47" fmla="*/ 32 h 92"/>
                <a:gd name="T48" fmla="*/ 5 w 65"/>
                <a:gd name="T49" fmla="*/ 33 h 92"/>
                <a:gd name="T50" fmla="*/ 3 w 65"/>
                <a:gd name="T51" fmla="*/ 38 h 92"/>
                <a:gd name="T52" fmla="*/ 0 w 65"/>
                <a:gd name="T53" fmla="*/ 37 h 92"/>
                <a:gd name="T54" fmla="*/ 0 w 65"/>
                <a:gd name="T55" fmla="*/ 38 h 92"/>
                <a:gd name="T56" fmla="*/ 6 w 65"/>
                <a:gd name="T57" fmla="*/ 39 h 92"/>
                <a:gd name="T58" fmla="*/ 7 w 65"/>
                <a:gd name="T59" fmla="*/ 46 h 92"/>
                <a:gd name="T60" fmla="*/ 14 w 65"/>
                <a:gd name="T61" fmla="*/ 54 h 92"/>
                <a:gd name="T62" fmla="*/ 9 w 65"/>
                <a:gd name="T63" fmla="*/ 57 h 92"/>
                <a:gd name="T64" fmla="*/ 10 w 65"/>
                <a:gd name="T65" fmla="*/ 57 h 92"/>
                <a:gd name="T66" fmla="*/ 12 w 65"/>
                <a:gd name="T67" fmla="*/ 60 h 92"/>
                <a:gd name="T68" fmla="*/ 6 w 65"/>
                <a:gd name="T69" fmla="*/ 64 h 92"/>
                <a:gd name="T70" fmla="*/ 4 w 65"/>
                <a:gd name="T71" fmla="*/ 71 h 92"/>
                <a:gd name="T72" fmla="*/ 2 w 65"/>
                <a:gd name="T73" fmla="*/ 74 h 92"/>
                <a:gd name="T74" fmla="*/ 5 w 65"/>
                <a:gd name="T75" fmla="*/ 81 h 92"/>
                <a:gd name="T76" fmla="*/ 7 w 65"/>
                <a:gd name="T77" fmla="*/ 81 h 92"/>
                <a:gd name="T78" fmla="*/ 10 w 65"/>
                <a:gd name="T79" fmla="*/ 81 h 92"/>
                <a:gd name="T80" fmla="*/ 4 w 65"/>
                <a:gd name="T81" fmla="*/ 83 h 92"/>
                <a:gd name="T82" fmla="*/ 9 w 65"/>
                <a:gd name="T83" fmla="*/ 85 h 92"/>
                <a:gd name="T84" fmla="*/ 7 w 65"/>
                <a:gd name="T85" fmla="*/ 85 h 92"/>
                <a:gd name="T86" fmla="*/ 2 w 65"/>
                <a:gd name="T87" fmla="*/ 84 h 92"/>
                <a:gd name="T88" fmla="*/ 4 w 65"/>
                <a:gd name="T89" fmla="*/ 86 h 92"/>
                <a:gd name="T90" fmla="*/ 15 w 65"/>
                <a:gd name="T91" fmla="*/ 84 h 92"/>
                <a:gd name="T92" fmla="*/ 23 w 65"/>
                <a:gd name="T93" fmla="*/ 82 h 92"/>
                <a:gd name="T94" fmla="*/ 24 w 65"/>
                <a:gd name="T95" fmla="*/ 88 h 92"/>
                <a:gd name="T96" fmla="*/ 25 w 65"/>
                <a:gd name="T97" fmla="*/ 84 h 92"/>
                <a:gd name="T98" fmla="*/ 28 w 65"/>
                <a:gd name="T99" fmla="*/ 85 h 92"/>
                <a:gd name="T100" fmla="*/ 31 w 65"/>
                <a:gd name="T101" fmla="*/ 78 h 92"/>
                <a:gd name="T102" fmla="*/ 40 w 65"/>
                <a:gd name="T103" fmla="*/ 78 h 92"/>
                <a:gd name="T104" fmla="*/ 44 w 65"/>
                <a:gd name="T105" fmla="*/ 79 h 92"/>
                <a:gd name="T106" fmla="*/ 44 w 65"/>
                <a:gd name="T107" fmla="*/ 77 h 92"/>
                <a:gd name="T108" fmla="*/ 47 w 65"/>
                <a:gd name="T109" fmla="*/ 72 h 92"/>
                <a:gd name="T110" fmla="*/ 55 w 65"/>
                <a:gd name="T111" fmla="*/ 75 h 92"/>
                <a:gd name="T112" fmla="*/ 59 w 65"/>
                <a:gd name="T113" fmla="*/ 72 h 92"/>
                <a:gd name="T114" fmla="*/ 62 w 65"/>
                <a:gd name="T115" fmla="*/ 54 h 92"/>
                <a:gd name="T116" fmla="*/ 61 w 65"/>
                <a:gd name="T117" fmla="*/ 31 h 92"/>
                <a:gd name="T118" fmla="*/ 53 w 65"/>
                <a:gd name="T119"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 h="92">
                  <a:moveTo>
                    <a:pt x="44" y="79"/>
                  </a:moveTo>
                  <a:cubicBezTo>
                    <a:pt x="44" y="79"/>
                    <a:pt x="44" y="79"/>
                    <a:pt x="44" y="79"/>
                  </a:cubicBezTo>
                  <a:cubicBezTo>
                    <a:pt x="44" y="79"/>
                    <a:pt x="44" y="79"/>
                    <a:pt x="44" y="79"/>
                  </a:cubicBezTo>
                  <a:moveTo>
                    <a:pt x="44" y="0"/>
                  </a:moveTo>
                  <a:cubicBezTo>
                    <a:pt x="44" y="0"/>
                    <a:pt x="44" y="0"/>
                    <a:pt x="44" y="0"/>
                  </a:cubicBezTo>
                  <a:cubicBezTo>
                    <a:pt x="43" y="1"/>
                    <a:pt x="43" y="1"/>
                    <a:pt x="42" y="2"/>
                  </a:cubicBezTo>
                  <a:cubicBezTo>
                    <a:pt x="41" y="4"/>
                    <a:pt x="41" y="4"/>
                    <a:pt x="41" y="4"/>
                  </a:cubicBezTo>
                  <a:cubicBezTo>
                    <a:pt x="40" y="4"/>
                    <a:pt x="40" y="4"/>
                    <a:pt x="40" y="4"/>
                  </a:cubicBezTo>
                  <a:cubicBezTo>
                    <a:pt x="40" y="5"/>
                    <a:pt x="39" y="6"/>
                    <a:pt x="38" y="6"/>
                  </a:cubicBezTo>
                  <a:cubicBezTo>
                    <a:pt x="37" y="6"/>
                    <a:pt x="37" y="7"/>
                    <a:pt x="36" y="7"/>
                  </a:cubicBezTo>
                  <a:cubicBezTo>
                    <a:pt x="24" y="8"/>
                    <a:pt x="24" y="8"/>
                    <a:pt x="24" y="8"/>
                  </a:cubicBezTo>
                  <a:cubicBezTo>
                    <a:pt x="23" y="8"/>
                    <a:pt x="22" y="8"/>
                    <a:pt x="22" y="8"/>
                  </a:cubicBezTo>
                  <a:cubicBezTo>
                    <a:pt x="20" y="8"/>
                    <a:pt x="19" y="8"/>
                    <a:pt x="18" y="8"/>
                  </a:cubicBezTo>
                  <a:cubicBezTo>
                    <a:pt x="18" y="8"/>
                    <a:pt x="17" y="9"/>
                    <a:pt x="17" y="10"/>
                  </a:cubicBezTo>
                  <a:cubicBezTo>
                    <a:pt x="17" y="10"/>
                    <a:pt x="16" y="10"/>
                    <a:pt x="16" y="11"/>
                  </a:cubicBezTo>
                  <a:cubicBezTo>
                    <a:pt x="16" y="11"/>
                    <a:pt x="16" y="12"/>
                    <a:pt x="15" y="12"/>
                  </a:cubicBezTo>
                  <a:cubicBezTo>
                    <a:pt x="15" y="12"/>
                    <a:pt x="15" y="12"/>
                    <a:pt x="15" y="12"/>
                  </a:cubicBezTo>
                  <a:cubicBezTo>
                    <a:pt x="14" y="13"/>
                    <a:pt x="13" y="15"/>
                    <a:pt x="13" y="15"/>
                  </a:cubicBezTo>
                  <a:cubicBezTo>
                    <a:pt x="12" y="16"/>
                    <a:pt x="12" y="16"/>
                    <a:pt x="12" y="16"/>
                  </a:cubicBezTo>
                  <a:cubicBezTo>
                    <a:pt x="12" y="16"/>
                    <a:pt x="12" y="16"/>
                    <a:pt x="12" y="16"/>
                  </a:cubicBezTo>
                  <a:cubicBezTo>
                    <a:pt x="12" y="17"/>
                    <a:pt x="11" y="17"/>
                    <a:pt x="11" y="17"/>
                  </a:cubicBezTo>
                  <a:cubicBezTo>
                    <a:pt x="11" y="18"/>
                    <a:pt x="11" y="19"/>
                    <a:pt x="11" y="19"/>
                  </a:cubicBezTo>
                  <a:cubicBezTo>
                    <a:pt x="11" y="19"/>
                    <a:pt x="10" y="18"/>
                    <a:pt x="9" y="18"/>
                  </a:cubicBezTo>
                  <a:cubicBezTo>
                    <a:pt x="8" y="17"/>
                    <a:pt x="8" y="17"/>
                    <a:pt x="8" y="17"/>
                  </a:cubicBezTo>
                  <a:cubicBezTo>
                    <a:pt x="9" y="17"/>
                    <a:pt x="9" y="17"/>
                    <a:pt x="9" y="17"/>
                  </a:cubicBezTo>
                  <a:cubicBezTo>
                    <a:pt x="8" y="17"/>
                    <a:pt x="8" y="17"/>
                    <a:pt x="8" y="17"/>
                  </a:cubicBezTo>
                  <a:cubicBezTo>
                    <a:pt x="8" y="17"/>
                    <a:pt x="8" y="17"/>
                    <a:pt x="7" y="17"/>
                  </a:cubicBezTo>
                  <a:cubicBezTo>
                    <a:pt x="7" y="19"/>
                    <a:pt x="8" y="20"/>
                    <a:pt x="9" y="20"/>
                  </a:cubicBezTo>
                  <a:cubicBezTo>
                    <a:pt x="10" y="21"/>
                    <a:pt x="11" y="23"/>
                    <a:pt x="11" y="25"/>
                  </a:cubicBezTo>
                  <a:cubicBezTo>
                    <a:pt x="12" y="26"/>
                    <a:pt x="13" y="26"/>
                    <a:pt x="13" y="27"/>
                  </a:cubicBezTo>
                  <a:cubicBezTo>
                    <a:pt x="13" y="27"/>
                    <a:pt x="13" y="27"/>
                    <a:pt x="13" y="27"/>
                  </a:cubicBezTo>
                  <a:cubicBezTo>
                    <a:pt x="13" y="27"/>
                    <a:pt x="10" y="29"/>
                    <a:pt x="10" y="30"/>
                  </a:cubicBezTo>
                  <a:cubicBezTo>
                    <a:pt x="10" y="30"/>
                    <a:pt x="10" y="30"/>
                    <a:pt x="10" y="30"/>
                  </a:cubicBezTo>
                  <a:cubicBezTo>
                    <a:pt x="10" y="30"/>
                    <a:pt x="11" y="30"/>
                    <a:pt x="11" y="30"/>
                  </a:cubicBezTo>
                  <a:cubicBezTo>
                    <a:pt x="12" y="30"/>
                    <a:pt x="12" y="30"/>
                    <a:pt x="13" y="30"/>
                  </a:cubicBezTo>
                  <a:cubicBezTo>
                    <a:pt x="13" y="30"/>
                    <a:pt x="14" y="30"/>
                    <a:pt x="14" y="30"/>
                  </a:cubicBezTo>
                  <a:cubicBezTo>
                    <a:pt x="13" y="31"/>
                    <a:pt x="12" y="31"/>
                    <a:pt x="12" y="32"/>
                  </a:cubicBezTo>
                  <a:cubicBezTo>
                    <a:pt x="12" y="32"/>
                    <a:pt x="13" y="33"/>
                    <a:pt x="14" y="33"/>
                  </a:cubicBezTo>
                  <a:cubicBezTo>
                    <a:pt x="12" y="34"/>
                    <a:pt x="15" y="35"/>
                    <a:pt x="16" y="35"/>
                  </a:cubicBezTo>
                  <a:cubicBezTo>
                    <a:pt x="14" y="36"/>
                    <a:pt x="14" y="36"/>
                    <a:pt x="13" y="38"/>
                  </a:cubicBezTo>
                  <a:cubicBezTo>
                    <a:pt x="13" y="37"/>
                    <a:pt x="13" y="35"/>
                    <a:pt x="13" y="35"/>
                  </a:cubicBezTo>
                  <a:cubicBezTo>
                    <a:pt x="13" y="35"/>
                    <a:pt x="12" y="35"/>
                    <a:pt x="12" y="36"/>
                  </a:cubicBezTo>
                  <a:cubicBezTo>
                    <a:pt x="12" y="35"/>
                    <a:pt x="12" y="34"/>
                    <a:pt x="12" y="34"/>
                  </a:cubicBezTo>
                  <a:cubicBezTo>
                    <a:pt x="12" y="34"/>
                    <a:pt x="11" y="34"/>
                    <a:pt x="11" y="34"/>
                  </a:cubicBezTo>
                  <a:cubicBezTo>
                    <a:pt x="11" y="34"/>
                    <a:pt x="11" y="34"/>
                    <a:pt x="10" y="33"/>
                  </a:cubicBezTo>
                  <a:cubicBezTo>
                    <a:pt x="10" y="34"/>
                    <a:pt x="10" y="35"/>
                    <a:pt x="9" y="35"/>
                  </a:cubicBezTo>
                  <a:cubicBezTo>
                    <a:pt x="9" y="34"/>
                    <a:pt x="9" y="33"/>
                    <a:pt x="8" y="33"/>
                  </a:cubicBezTo>
                  <a:cubicBezTo>
                    <a:pt x="8" y="32"/>
                    <a:pt x="7" y="32"/>
                    <a:pt x="7" y="32"/>
                  </a:cubicBezTo>
                  <a:cubicBezTo>
                    <a:pt x="6" y="32"/>
                    <a:pt x="6" y="35"/>
                    <a:pt x="6" y="36"/>
                  </a:cubicBezTo>
                  <a:cubicBezTo>
                    <a:pt x="6" y="35"/>
                    <a:pt x="6" y="33"/>
                    <a:pt x="5" y="33"/>
                  </a:cubicBezTo>
                  <a:cubicBezTo>
                    <a:pt x="5" y="33"/>
                    <a:pt x="5" y="33"/>
                    <a:pt x="5" y="33"/>
                  </a:cubicBezTo>
                  <a:cubicBezTo>
                    <a:pt x="3" y="33"/>
                    <a:pt x="4" y="37"/>
                    <a:pt x="3" y="38"/>
                  </a:cubicBezTo>
                  <a:cubicBezTo>
                    <a:pt x="3" y="37"/>
                    <a:pt x="3" y="35"/>
                    <a:pt x="3" y="34"/>
                  </a:cubicBezTo>
                  <a:cubicBezTo>
                    <a:pt x="2" y="37"/>
                    <a:pt x="1" y="34"/>
                    <a:pt x="0" y="37"/>
                  </a:cubicBezTo>
                  <a:cubicBezTo>
                    <a:pt x="0" y="37"/>
                    <a:pt x="0" y="37"/>
                    <a:pt x="0" y="37"/>
                  </a:cubicBezTo>
                  <a:cubicBezTo>
                    <a:pt x="0" y="38"/>
                    <a:pt x="0" y="38"/>
                    <a:pt x="0" y="38"/>
                  </a:cubicBezTo>
                  <a:cubicBezTo>
                    <a:pt x="2" y="39"/>
                    <a:pt x="4" y="38"/>
                    <a:pt x="6" y="40"/>
                  </a:cubicBezTo>
                  <a:cubicBezTo>
                    <a:pt x="6" y="39"/>
                    <a:pt x="6" y="39"/>
                    <a:pt x="6" y="39"/>
                  </a:cubicBezTo>
                  <a:cubicBezTo>
                    <a:pt x="6" y="39"/>
                    <a:pt x="6" y="40"/>
                    <a:pt x="6" y="41"/>
                  </a:cubicBezTo>
                  <a:cubicBezTo>
                    <a:pt x="6" y="43"/>
                    <a:pt x="6" y="44"/>
                    <a:pt x="7" y="46"/>
                  </a:cubicBezTo>
                  <a:cubicBezTo>
                    <a:pt x="7" y="47"/>
                    <a:pt x="9" y="51"/>
                    <a:pt x="7" y="52"/>
                  </a:cubicBezTo>
                  <a:cubicBezTo>
                    <a:pt x="9" y="53"/>
                    <a:pt x="11" y="53"/>
                    <a:pt x="14" y="54"/>
                  </a:cubicBezTo>
                  <a:cubicBezTo>
                    <a:pt x="13" y="54"/>
                    <a:pt x="9" y="56"/>
                    <a:pt x="9" y="57"/>
                  </a:cubicBezTo>
                  <a:cubicBezTo>
                    <a:pt x="9" y="57"/>
                    <a:pt x="9" y="57"/>
                    <a:pt x="9" y="57"/>
                  </a:cubicBezTo>
                  <a:cubicBezTo>
                    <a:pt x="9" y="57"/>
                    <a:pt x="9" y="57"/>
                    <a:pt x="9" y="57"/>
                  </a:cubicBezTo>
                  <a:cubicBezTo>
                    <a:pt x="9" y="57"/>
                    <a:pt x="10" y="57"/>
                    <a:pt x="10" y="57"/>
                  </a:cubicBezTo>
                  <a:cubicBezTo>
                    <a:pt x="10" y="57"/>
                    <a:pt x="10" y="57"/>
                    <a:pt x="10" y="57"/>
                  </a:cubicBezTo>
                  <a:cubicBezTo>
                    <a:pt x="12" y="60"/>
                    <a:pt x="12" y="60"/>
                    <a:pt x="12" y="60"/>
                  </a:cubicBezTo>
                  <a:cubicBezTo>
                    <a:pt x="12" y="60"/>
                    <a:pt x="12" y="60"/>
                    <a:pt x="12" y="60"/>
                  </a:cubicBezTo>
                  <a:cubicBezTo>
                    <a:pt x="10" y="60"/>
                    <a:pt x="6" y="63"/>
                    <a:pt x="6" y="64"/>
                  </a:cubicBezTo>
                  <a:cubicBezTo>
                    <a:pt x="7" y="64"/>
                    <a:pt x="9" y="64"/>
                    <a:pt x="10" y="65"/>
                  </a:cubicBezTo>
                  <a:cubicBezTo>
                    <a:pt x="7" y="66"/>
                    <a:pt x="4" y="68"/>
                    <a:pt x="4" y="71"/>
                  </a:cubicBezTo>
                  <a:cubicBezTo>
                    <a:pt x="3" y="73"/>
                    <a:pt x="5" y="74"/>
                    <a:pt x="5" y="76"/>
                  </a:cubicBezTo>
                  <a:cubicBezTo>
                    <a:pt x="5" y="75"/>
                    <a:pt x="3" y="74"/>
                    <a:pt x="2" y="74"/>
                  </a:cubicBezTo>
                  <a:cubicBezTo>
                    <a:pt x="3" y="76"/>
                    <a:pt x="3" y="77"/>
                    <a:pt x="4" y="79"/>
                  </a:cubicBezTo>
                  <a:cubicBezTo>
                    <a:pt x="4" y="81"/>
                    <a:pt x="4" y="81"/>
                    <a:pt x="5" y="81"/>
                  </a:cubicBezTo>
                  <a:cubicBezTo>
                    <a:pt x="6" y="81"/>
                    <a:pt x="6" y="81"/>
                    <a:pt x="6" y="81"/>
                  </a:cubicBezTo>
                  <a:cubicBezTo>
                    <a:pt x="7" y="81"/>
                    <a:pt x="7" y="81"/>
                    <a:pt x="7" y="81"/>
                  </a:cubicBezTo>
                  <a:cubicBezTo>
                    <a:pt x="8" y="81"/>
                    <a:pt x="8" y="80"/>
                    <a:pt x="8" y="80"/>
                  </a:cubicBezTo>
                  <a:cubicBezTo>
                    <a:pt x="9" y="80"/>
                    <a:pt x="9" y="81"/>
                    <a:pt x="10" y="81"/>
                  </a:cubicBezTo>
                  <a:cubicBezTo>
                    <a:pt x="9" y="81"/>
                    <a:pt x="8" y="81"/>
                    <a:pt x="8" y="82"/>
                  </a:cubicBezTo>
                  <a:cubicBezTo>
                    <a:pt x="7" y="82"/>
                    <a:pt x="5" y="82"/>
                    <a:pt x="4" y="83"/>
                  </a:cubicBezTo>
                  <a:cubicBezTo>
                    <a:pt x="5" y="82"/>
                    <a:pt x="5" y="82"/>
                    <a:pt x="5" y="82"/>
                  </a:cubicBezTo>
                  <a:cubicBezTo>
                    <a:pt x="7" y="82"/>
                    <a:pt x="8" y="84"/>
                    <a:pt x="9" y="85"/>
                  </a:cubicBezTo>
                  <a:cubicBezTo>
                    <a:pt x="8" y="85"/>
                    <a:pt x="8" y="85"/>
                    <a:pt x="8" y="85"/>
                  </a:cubicBezTo>
                  <a:cubicBezTo>
                    <a:pt x="8" y="85"/>
                    <a:pt x="7" y="85"/>
                    <a:pt x="7" y="85"/>
                  </a:cubicBezTo>
                  <a:cubicBezTo>
                    <a:pt x="6" y="86"/>
                    <a:pt x="6" y="86"/>
                    <a:pt x="6" y="86"/>
                  </a:cubicBezTo>
                  <a:cubicBezTo>
                    <a:pt x="4" y="86"/>
                    <a:pt x="4" y="84"/>
                    <a:pt x="2" y="84"/>
                  </a:cubicBezTo>
                  <a:cubicBezTo>
                    <a:pt x="2" y="84"/>
                    <a:pt x="2" y="84"/>
                    <a:pt x="2" y="84"/>
                  </a:cubicBezTo>
                  <a:cubicBezTo>
                    <a:pt x="2" y="86"/>
                    <a:pt x="4" y="85"/>
                    <a:pt x="4" y="86"/>
                  </a:cubicBezTo>
                  <a:cubicBezTo>
                    <a:pt x="5" y="88"/>
                    <a:pt x="6" y="90"/>
                    <a:pt x="7" y="92"/>
                  </a:cubicBezTo>
                  <a:cubicBezTo>
                    <a:pt x="10" y="88"/>
                    <a:pt x="11" y="86"/>
                    <a:pt x="15" y="84"/>
                  </a:cubicBezTo>
                  <a:cubicBezTo>
                    <a:pt x="16" y="84"/>
                    <a:pt x="20" y="82"/>
                    <a:pt x="22" y="82"/>
                  </a:cubicBezTo>
                  <a:cubicBezTo>
                    <a:pt x="22" y="82"/>
                    <a:pt x="23" y="82"/>
                    <a:pt x="23" y="82"/>
                  </a:cubicBezTo>
                  <a:cubicBezTo>
                    <a:pt x="23" y="83"/>
                    <a:pt x="18" y="85"/>
                    <a:pt x="19" y="86"/>
                  </a:cubicBezTo>
                  <a:cubicBezTo>
                    <a:pt x="24" y="88"/>
                    <a:pt x="24" y="88"/>
                    <a:pt x="24" y="88"/>
                  </a:cubicBezTo>
                  <a:cubicBezTo>
                    <a:pt x="24" y="88"/>
                    <a:pt x="26" y="85"/>
                    <a:pt x="26" y="85"/>
                  </a:cubicBezTo>
                  <a:cubicBezTo>
                    <a:pt x="26" y="85"/>
                    <a:pt x="25" y="84"/>
                    <a:pt x="25" y="84"/>
                  </a:cubicBezTo>
                  <a:cubicBezTo>
                    <a:pt x="24" y="82"/>
                    <a:pt x="25" y="81"/>
                    <a:pt x="26" y="79"/>
                  </a:cubicBezTo>
                  <a:cubicBezTo>
                    <a:pt x="26" y="81"/>
                    <a:pt x="27" y="84"/>
                    <a:pt x="28" y="85"/>
                  </a:cubicBezTo>
                  <a:cubicBezTo>
                    <a:pt x="28" y="83"/>
                    <a:pt x="31" y="82"/>
                    <a:pt x="31" y="81"/>
                  </a:cubicBezTo>
                  <a:cubicBezTo>
                    <a:pt x="31" y="80"/>
                    <a:pt x="31" y="79"/>
                    <a:pt x="31" y="78"/>
                  </a:cubicBezTo>
                  <a:cubicBezTo>
                    <a:pt x="31" y="77"/>
                    <a:pt x="35" y="75"/>
                    <a:pt x="37" y="75"/>
                  </a:cubicBezTo>
                  <a:cubicBezTo>
                    <a:pt x="36" y="77"/>
                    <a:pt x="39" y="78"/>
                    <a:pt x="40" y="78"/>
                  </a:cubicBezTo>
                  <a:cubicBezTo>
                    <a:pt x="41" y="79"/>
                    <a:pt x="42" y="80"/>
                    <a:pt x="43" y="80"/>
                  </a:cubicBezTo>
                  <a:cubicBezTo>
                    <a:pt x="44" y="80"/>
                    <a:pt x="44" y="80"/>
                    <a:pt x="44" y="79"/>
                  </a:cubicBezTo>
                  <a:cubicBezTo>
                    <a:pt x="44" y="79"/>
                    <a:pt x="44" y="79"/>
                    <a:pt x="44" y="79"/>
                  </a:cubicBezTo>
                  <a:cubicBezTo>
                    <a:pt x="44" y="79"/>
                    <a:pt x="44" y="78"/>
                    <a:pt x="44" y="77"/>
                  </a:cubicBezTo>
                  <a:cubicBezTo>
                    <a:pt x="44" y="77"/>
                    <a:pt x="47" y="76"/>
                    <a:pt x="48" y="75"/>
                  </a:cubicBezTo>
                  <a:cubicBezTo>
                    <a:pt x="47" y="75"/>
                    <a:pt x="47" y="73"/>
                    <a:pt x="47" y="72"/>
                  </a:cubicBezTo>
                  <a:cubicBezTo>
                    <a:pt x="48" y="73"/>
                    <a:pt x="52" y="73"/>
                    <a:pt x="54" y="74"/>
                  </a:cubicBezTo>
                  <a:cubicBezTo>
                    <a:pt x="54" y="74"/>
                    <a:pt x="54" y="75"/>
                    <a:pt x="55" y="75"/>
                  </a:cubicBezTo>
                  <a:cubicBezTo>
                    <a:pt x="55" y="75"/>
                    <a:pt x="55" y="75"/>
                    <a:pt x="55" y="75"/>
                  </a:cubicBezTo>
                  <a:cubicBezTo>
                    <a:pt x="56" y="74"/>
                    <a:pt x="59" y="73"/>
                    <a:pt x="59" y="72"/>
                  </a:cubicBezTo>
                  <a:cubicBezTo>
                    <a:pt x="62" y="66"/>
                    <a:pt x="64" y="60"/>
                    <a:pt x="65" y="53"/>
                  </a:cubicBezTo>
                  <a:cubicBezTo>
                    <a:pt x="64" y="54"/>
                    <a:pt x="63" y="54"/>
                    <a:pt x="62" y="54"/>
                  </a:cubicBezTo>
                  <a:cubicBezTo>
                    <a:pt x="62" y="54"/>
                    <a:pt x="62" y="54"/>
                    <a:pt x="62" y="54"/>
                  </a:cubicBezTo>
                  <a:cubicBezTo>
                    <a:pt x="63" y="46"/>
                    <a:pt x="62" y="38"/>
                    <a:pt x="61" y="31"/>
                  </a:cubicBezTo>
                  <a:cubicBezTo>
                    <a:pt x="61" y="29"/>
                    <a:pt x="60" y="27"/>
                    <a:pt x="59" y="26"/>
                  </a:cubicBezTo>
                  <a:cubicBezTo>
                    <a:pt x="57" y="22"/>
                    <a:pt x="55" y="19"/>
                    <a:pt x="53" y="15"/>
                  </a:cubicBezTo>
                  <a:cubicBezTo>
                    <a:pt x="50" y="10"/>
                    <a:pt x="47" y="5"/>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 name="Freeform 451">
              <a:extLst>
                <a:ext uri="{FF2B5EF4-FFF2-40B4-BE49-F238E27FC236}">
                  <a16:creationId xmlns:a16="http://schemas.microsoft.com/office/drawing/2014/main" id="{F75C2789-318F-491C-8E85-4C2F602DB17E}"/>
                </a:ext>
              </a:extLst>
            </p:cNvPr>
            <p:cNvSpPr>
              <a:spLocks/>
            </p:cNvSpPr>
            <p:nvPr/>
          </p:nvSpPr>
          <p:spPr bwMode="auto">
            <a:xfrm>
              <a:off x="1645040" y="5201918"/>
              <a:ext cx="477282" cy="530924"/>
            </a:xfrm>
            <a:custGeom>
              <a:avLst/>
              <a:gdLst>
                <a:gd name="T0" fmla="*/ 79 w 147"/>
                <a:gd name="T1" fmla="*/ 3 h 163"/>
                <a:gd name="T2" fmla="*/ 73 w 147"/>
                <a:gd name="T3" fmla="*/ 7 h 163"/>
                <a:gd name="T4" fmla="*/ 73 w 147"/>
                <a:gd name="T5" fmla="*/ 5 h 163"/>
                <a:gd name="T6" fmla="*/ 72 w 147"/>
                <a:gd name="T7" fmla="*/ 12 h 163"/>
                <a:gd name="T8" fmla="*/ 76 w 147"/>
                <a:gd name="T9" fmla="*/ 15 h 163"/>
                <a:gd name="T10" fmla="*/ 73 w 147"/>
                <a:gd name="T11" fmla="*/ 19 h 163"/>
                <a:gd name="T12" fmla="*/ 69 w 147"/>
                <a:gd name="T13" fmla="*/ 19 h 163"/>
                <a:gd name="T14" fmla="*/ 67 w 147"/>
                <a:gd name="T15" fmla="*/ 19 h 163"/>
                <a:gd name="T16" fmla="*/ 65 w 147"/>
                <a:gd name="T17" fmla="*/ 23 h 163"/>
                <a:gd name="T18" fmla="*/ 65 w 147"/>
                <a:gd name="T19" fmla="*/ 26 h 163"/>
                <a:gd name="T20" fmla="*/ 62 w 147"/>
                <a:gd name="T21" fmla="*/ 39 h 163"/>
                <a:gd name="T22" fmla="*/ 61 w 147"/>
                <a:gd name="T23" fmla="*/ 41 h 163"/>
                <a:gd name="T24" fmla="*/ 63 w 147"/>
                <a:gd name="T25" fmla="*/ 46 h 163"/>
                <a:gd name="T26" fmla="*/ 65 w 147"/>
                <a:gd name="T27" fmla="*/ 50 h 163"/>
                <a:gd name="T28" fmla="*/ 66 w 147"/>
                <a:gd name="T29" fmla="*/ 54 h 163"/>
                <a:gd name="T30" fmla="*/ 68 w 147"/>
                <a:gd name="T31" fmla="*/ 59 h 163"/>
                <a:gd name="T32" fmla="*/ 66 w 147"/>
                <a:gd name="T33" fmla="*/ 70 h 163"/>
                <a:gd name="T34" fmla="*/ 61 w 147"/>
                <a:gd name="T35" fmla="*/ 85 h 163"/>
                <a:gd name="T36" fmla="*/ 60 w 147"/>
                <a:gd name="T37" fmla="*/ 87 h 163"/>
                <a:gd name="T38" fmla="*/ 60 w 147"/>
                <a:gd name="T39" fmla="*/ 89 h 163"/>
                <a:gd name="T40" fmla="*/ 59 w 147"/>
                <a:gd name="T41" fmla="*/ 92 h 163"/>
                <a:gd name="T42" fmla="*/ 57 w 147"/>
                <a:gd name="T43" fmla="*/ 97 h 163"/>
                <a:gd name="T44" fmla="*/ 56 w 147"/>
                <a:gd name="T45" fmla="*/ 102 h 163"/>
                <a:gd name="T46" fmla="*/ 51 w 147"/>
                <a:gd name="T47" fmla="*/ 101 h 163"/>
                <a:gd name="T48" fmla="*/ 3 w 147"/>
                <a:gd name="T49" fmla="*/ 118 h 163"/>
                <a:gd name="T50" fmla="*/ 7 w 147"/>
                <a:gd name="T51" fmla="*/ 132 h 163"/>
                <a:gd name="T52" fmla="*/ 29 w 147"/>
                <a:gd name="T53" fmla="*/ 160 h 163"/>
                <a:gd name="T54" fmla="*/ 43 w 147"/>
                <a:gd name="T55" fmla="*/ 156 h 163"/>
                <a:gd name="T56" fmla="*/ 52 w 147"/>
                <a:gd name="T57" fmla="*/ 157 h 163"/>
                <a:gd name="T58" fmla="*/ 55 w 147"/>
                <a:gd name="T59" fmla="*/ 156 h 163"/>
                <a:gd name="T60" fmla="*/ 70 w 147"/>
                <a:gd name="T61" fmla="*/ 139 h 163"/>
                <a:gd name="T62" fmla="*/ 83 w 147"/>
                <a:gd name="T63" fmla="*/ 135 h 163"/>
                <a:gd name="T64" fmla="*/ 85 w 147"/>
                <a:gd name="T65" fmla="*/ 130 h 163"/>
                <a:gd name="T66" fmla="*/ 95 w 147"/>
                <a:gd name="T67" fmla="*/ 121 h 163"/>
                <a:gd name="T68" fmla="*/ 108 w 147"/>
                <a:gd name="T69" fmla="*/ 114 h 163"/>
                <a:gd name="T70" fmla="*/ 107 w 147"/>
                <a:gd name="T71" fmla="*/ 109 h 163"/>
                <a:gd name="T72" fmla="*/ 108 w 147"/>
                <a:gd name="T73" fmla="*/ 98 h 163"/>
                <a:gd name="T74" fmla="*/ 116 w 147"/>
                <a:gd name="T75" fmla="*/ 86 h 163"/>
                <a:gd name="T76" fmla="*/ 117 w 147"/>
                <a:gd name="T77" fmla="*/ 90 h 163"/>
                <a:gd name="T78" fmla="*/ 122 w 147"/>
                <a:gd name="T79" fmla="*/ 88 h 163"/>
                <a:gd name="T80" fmla="*/ 132 w 147"/>
                <a:gd name="T81" fmla="*/ 73 h 163"/>
                <a:gd name="T82" fmla="*/ 143 w 147"/>
                <a:gd name="T83" fmla="*/ 58 h 163"/>
                <a:gd name="T84" fmla="*/ 143 w 147"/>
                <a:gd name="T85" fmla="*/ 47 h 163"/>
                <a:gd name="T86" fmla="*/ 136 w 147"/>
                <a:gd name="T87" fmla="*/ 41 h 163"/>
                <a:gd name="T88" fmla="*/ 127 w 147"/>
                <a:gd name="T89" fmla="*/ 30 h 163"/>
                <a:gd name="T90" fmla="*/ 122 w 147"/>
                <a:gd name="T91" fmla="*/ 25 h 163"/>
                <a:gd name="T92" fmla="*/ 120 w 147"/>
                <a:gd name="T93" fmla="*/ 25 h 163"/>
                <a:gd name="T94" fmla="*/ 108 w 147"/>
                <a:gd name="T95" fmla="*/ 22 h 163"/>
                <a:gd name="T96" fmla="*/ 89 w 147"/>
                <a:gd name="T97" fmla="*/ 12 h 163"/>
                <a:gd name="T98" fmla="*/ 83 w 147"/>
                <a:gd name="T99" fmla="*/ 4 h 163"/>
                <a:gd name="T100" fmla="*/ 82 w 147"/>
                <a:gd name="T10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163">
                  <a:moveTo>
                    <a:pt x="82" y="0"/>
                  </a:moveTo>
                  <a:cubicBezTo>
                    <a:pt x="81" y="2"/>
                    <a:pt x="80" y="3"/>
                    <a:pt x="79" y="3"/>
                  </a:cubicBezTo>
                  <a:cubicBezTo>
                    <a:pt x="79" y="3"/>
                    <a:pt x="78" y="4"/>
                    <a:pt x="77" y="4"/>
                  </a:cubicBezTo>
                  <a:cubicBezTo>
                    <a:pt x="73" y="7"/>
                    <a:pt x="73" y="7"/>
                    <a:pt x="73" y="7"/>
                  </a:cubicBezTo>
                  <a:cubicBezTo>
                    <a:pt x="73" y="5"/>
                    <a:pt x="73" y="5"/>
                    <a:pt x="73" y="5"/>
                  </a:cubicBezTo>
                  <a:cubicBezTo>
                    <a:pt x="73" y="5"/>
                    <a:pt x="73" y="5"/>
                    <a:pt x="73" y="5"/>
                  </a:cubicBezTo>
                  <a:cubicBezTo>
                    <a:pt x="72" y="7"/>
                    <a:pt x="72" y="9"/>
                    <a:pt x="72" y="11"/>
                  </a:cubicBezTo>
                  <a:cubicBezTo>
                    <a:pt x="72" y="12"/>
                    <a:pt x="72" y="12"/>
                    <a:pt x="72" y="12"/>
                  </a:cubicBezTo>
                  <a:cubicBezTo>
                    <a:pt x="73" y="12"/>
                    <a:pt x="73" y="12"/>
                    <a:pt x="73" y="12"/>
                  </a:cubicBezTo>
                  <a:cubicBezTo>
                    <a:pt x="74" y="13"/>
                    <a:pt x="75" y="14"/>
                    <a:pt x="76" y="15"/>
                  </a:cubicBezTo>
                  <a:cubicBezTo>
                    <a:pt x="78" y="18"/>
                    <a:pt x="78" y="18"/>
                    <a:pt x="78" y="18"/>
                  </a:cubicBezTo>
                  <a:cubicBezTo>
                    <a:pt x="73" y="19"/>
                    <a:pt x="73" y="19"/>
                    <a:pt x="73" y="19"/>
                  </a:cubicBezTo>
                  <a:cubicBezTo>
                    <a:pt x="72" y="19"/>
                    <a:pt x="70" y="19"/>
                    <a:pt x="69" y="19"/>
                  </a:cubicBezTo>
                  <a:cubicBezTo>
                    <a:pt x="69" y="19"/>
                    <a:pt x="69" y="19"/>
                    <a:pt x="69" y="19"/>
                  </a:cubicBezTo>
                  <a:cubicBezTo>
                    <a:pt x="69" y="23"/>
                    <a:pt x="69" y="23"/>
                    <a:pt x="69" y="23"/>
                  </a:cubicBezTo>
                  <a:cubicBezTo>
                    <a:pt x="67" y="19"/>
                    <a:pt x="67" y="19"/>
                    <a:pt x="67" y="19"/>
                  </a:cubicBezTo>
                  <a:cubicBezTo>
                    <a:pt x="67" y="19"/>
                    <a:pt x="67" y="19"/>
                    <a:pt x="67" y="19"/>
                  </a:cubicBezTo>
                  <a:cubicBezTo>
                    <a:pt x="66" y="20"/>
                    <a:pt x="65" y="21"/>
                    <a:pt x="65" y="23"/>
                  </a:cubicBezTo>
                  <a:cubicBezTo>
                    <a:pt x="65" y="24"/>
                    <a:pt x="65" y="24"/>
                    <a:pt x="65" y="24"/>
                  </a:cubicBezTo>
                  <a:cubicBezTo>
                    <a:pt x="65" y="24"/>
                    <a:pt x="65" y="25"/>
                    <a:pt x="65" y="26"/>
                  </a:cubicBezTo>
                  <a:cubicBezTo>
                    <a:pt x="64" y="28"/>
                    <a:pt x="64" y="31"/>
                    <a:pt x="63" y="33"/>
                  </a:cubicBezTo>
                  <a:cubicBezTo>
                    <a:pt x="62" y="39"/>
                    <a:pt x="62" y="39"/>
                    <a:pt x="62" y="39"/>
                  </a:cubicBezTo>
                  <a:cubicBezTo>
                    <a:pt x="62" y="39"/>
                    <a:pt x="62" y="40"/>
                    <a:pt x="62" y="40"/>
                  </a:cubicBezTo>
                  <a:cubicBezTo>
                    <a:pt x="61" y="41"/>
                    <a:pt x="61" y="41"/>
                    <a:pt x="61" y="41"/>
                  </a:cubicBezTo>
                  <a:cubicBezTo>
                    <a:pt x="61" y="41"/>
                    <a:pt x="61" y="43"/>
                    <a:pt x="61" y="43"/>
                  </a:cubicBezTo>
                  <a:cubicBezTo>
                    <a:pt x="62" y="44"/>
                    <a:pt x="62" y="45"/>
                    <a:pt x="63" y="46"/>
                  </a:cubicBezTo>
                  <a:cubicBezTo>
                    <a:pt x="63" y="46"/>
                    <a:pt x="63" y="46"/>
                    <a:pt x="63" y="46"/>
                  </a:cubicBezTo>
                  <a:cubicBezTo>
                    <a:pt x="63" y="48"/>
                    <a:pt x="64" y="49"/>
                    <a:pt x="65" y="50"/>
                  </a:cubicBezTo>
                  <a:cubicBezTo>
                    <a:pt x="65" y="51"/>
                    <a:pt x="65" y="51"/>
                    <a:pt x="65" y="51"/>
                  </a:cubicBezTo>
                  <a:cubicBezTo>
                    <a:pt x="66" y="52"/>
                    <a:pt x="66" y="53"/>
                    <a:pt x="66" y="54"/>
                  </a:cubicBezTo>
                  <a:cubicBezTo>
                    <a:pt x="67" y="55"/>
                    <a:pt x="67" y="55"/>
                    <a:pt x="67" y="55"/>
                  </a:cubicBezTo>
                  <a:cubicBezTo>
                    <a:pt x="67" y="57"/>
                    <a:pt x="68" y="58"/>
                    <a:pt x="68" y="59"/>
                  </a:cubicBezTo>
                  <a:cubicBezTo>
                    <a:pt x="68" y="61"/>
                    <a:pt x="68" y="62"/>
                    <a:pt x="67" y="63"/>
                  </a:cubicBezTo>
                  <a:cubicBezTo>
                    <a:pt x="67" y="66"/>
                    <a:pt x="66" y="68"/>
                    <a:pt x="66" y="70"/>
                  </a:cubicBezTo>
                  <a:cubicBezTo>
                    <a:pt x="63" y="78"/>
                    <a:pt x="63" y="78"/>
                    <a:pt x="63" y="78"/>
                  </a:cubicBezTo>
                  <a:cubicBezTo>
                    <a:pt x="62" y="80"/>
                    <a:pt x="62" y="83"/>
                    <a:pt x="61" y="85"/>
                  </a:cubicBezTo>
                  <a:cubicBezTo>
                    <a:pt x="61" y="86"/>
                    <a:pt x="61" y="86"/>
                    <a:pt x="61" y="86"/>
                  </a:cubicBezTo>
                  <a:cubicBezTo>
                    <a:pt x="60" y="87"/>
                    <a:pt x="60" y="87"/>
                    <a:pt x="60" y="87"/>
                  </a:cubicBezTo>
                  <a:cubicBezTo>
                    <a:pt x="60" y="87"/>
                    <a:pt x="60" y="87"/>
                    <a:pt x="60" y="87"/>
                  </a:cubicBezTo>
                  <a:cubicBezTo>
                    <a:pt x="60" y="89"/>
                    <a:pt x="60" y="89"/>
                    <a:pt x="60" y="89"/>
                  </a:cubicBezTo>
                  <a:cubicBezTo>
                    <a:pt x="60" y="90"/>
                    <a:pt x="59" y="90"/>
                    <a:pt x="59" y="91"/>
                  </a:cubicBezTo>
                  <a:cubicBezTo>
                    <a:pt x="59" y="92"/>
                    <a:pt x="59" y="92"/>
                    <a:pt x="59" y="92"/>
                  </a:cubicBezTo>
                  <a:cubicBezTo>
                    <a:pt x="59" y="92"/>
                    <a:pt x="59" y="92"/>
                    <a:pt x="59" y="92"/>
                  </a:cubicBezTo>
                  <a:cubicBezTo>
                    <a:pt x="58" y="94"/>
                    <a:pt x="58" y="96"/>
                    <a:pt x="57" y="97"/>
                  </a:cubicBezTo>
                  <a:cubicBezTo>
                    <a:pt x="57" y="98"/>
                    <a:pt x="56" y="99"/>
                    <a:pt x="56" y="100"/>
                  </a:cubicBezTo>
                  <a:cubicBezTo>
                    <a:pt x="56" y="102"/>
                    <a:pt x="56" y="102"/>
                    <a:pt x="56" y="102"/>
                  </a:cubicBezTo>
                  <a:cubicBezTo>
                    <a:pt x="55" y="100"/>
                    <a:pt x="55" y="100"/>
                    <a:pt x="55" y="100"/>
                  </a:cubicBezTo>
                  <a:cubicBezTo>
                    <a:pt x="51" y="101"/>
                    <a:pt x="51" y="101"/>
                    <a:pt x="51" y="101"/>
                  </a:cubicBezTo>
                  <a:cubicBezTo>
                    <a:pt x="45" y="103"/>
                    <a:pt x="39" y="105"/>
                    <a:pt x="33" y="107"/>
                  </a:cubicBezTo>
                  <a:cubicBezTo>
                    <a:pt x="3" y="118"/>
                    <a:pt x="3" y="118"/>
                    <a:pt x="3" y="118"/>
                  </a:cubicBezTo>
                  <a:cubicBezTo>
                    <a:pt x="2" y="118"/>
                    <a:pt x="1" y="118"/>
                    <a:pt x="0" y="119"/>
                  </a:cubicBezTo>
                  <a:cubicBezTo>
                    <a:pt x="7" y="132"/>
                    <a:pt x="7" y="132"/>
                    <a:pt x="7" y="132"/>
                  </a:cubicBezTo>
                  <a:cubicBezTo>
                    <a:pt x="11" y="142"/>
                    <a:pt x="16" y="153"/>
                    <a:pt x="21" y="163"/>
                  </a:cubicBezTo>
                  <a:cubicBezTo>
                    <a:pt x="24" y="162"/>
                    <a:pt x="28" y="160"/>
                    <a:pt x="29" y="160"/>
                  </a:cubicBezTo>
                  <a:cubicBezTo>
                    <a:pt x="34" y="158"/>
                    <a:pt x="38" y="156"/>
                    <a:pt x="43" y="156"/>
                  </a:cubicBezTo>
                  <a:cubicBezTo>
                    <a:pt x="43" y="156"/>
                    <a:pt x="43" y="156"/>
                    <a:pt x="43" y="156"/>
                  </a:cubicBezTo>
                  <a:cubicBezTo>
                    <a:pt x="45" y="156"/>
                    <a:pt x="46" y="156"/>
                    <a:pt x="48" y="157"/>
                  </a:cubicBezTo>
                  <a:cubicBezTo>
                    <a:pt x="49" y="157"/>
                    <a:pt x="51" y="157"/>
                    <a:pt x="52" y="157"/>
                  </a:cubicBezTo>
                  <a:cubicBezTo>
                    <a:pt x="53" y="157"/>
                    <a:pt x="54" y="157"/>
                    <a:pt x="54" y="157"/>
                  </a:cubicBezTo>
                  <a:cubicBezTo>
                    <a:pt x="55" y="156"/>
                    <a:pt x="55" y="156"/>
                    <a:pt x="55" y="156"/>
                  </a:cubicBezTo>
                  <a:cubicBezTo>
                    <a:pt x="61" y="153"/>
                    <a:pt x="57" y="142"/>
                    <a:pt x="65" y="140"/>
                  </a:cubicBezTo>
                  <a:cubicBezTo>
                    <a:pt x="67" y="139"/>
                    <a:pt x="69" y="139"/>
                    <a:pt x="70" y="139"/>
                  </a:cubicBezTo>
                  <a:cubicBezTo>
                    <a:pt x="72" y="139"/>
                    <a:pt x="74" y="139"/>
                    <a:pt x="76" y="138"/>
                  </a:cubicBezTo>
                  <a:cubicBezTo>
                    <a:pt x="78" y="137"/>
                    <a:pt x="82" y="136"/>
                    <a:pt x="83" y="135"/>
                  </a:cubicBezTo>
                  <a:cubicBezTo>
                    <a:pt x="84" y="134"/>
                    <a:pt x="84" y="134"/>
                    <a:pt x="84" y="133"/>
                  </a:cubicBezTo>
                  <a:cubicBezTo>
                    <a:pt x="85" y="132"/>
                    <a:pt x="85" y="131"/>
                    <a:pt x="85" y="130"/>
                  </a:cubicBezTo>
                  <a:cubicBezTo>
                    <a:pt x="87" y="127"/>
                    <a:pt x="88" y="125"/>
                    <a:pt x="89" y="123"/>
                  </a:cubicBezTo>
                  <a:cubicBezTo>
                    <a:pt x="89" y="122"/>
                    <a:pt x="94" y="121"/>
                    <a:pt x="95" y="121"/>
                  </a:cubicBezTo>
                  <a:cubicBezTo>
                    <a:pt x="98" y="120"/>
                    <a:pt x="108" y="119"/>
                    <a:pt x="108" y="117"/>
                  </a:cubicBezTo>
                  <a:cubicBezTo>
                    <a:pt x="108" y="114"/>
                    <a:pt x="108" y="114"/>
                    <a:pt x="108" y="114"/>
                  </a:cubicBezTo>
                  <a:cubicBezTo>
                    <a:pt x="108" y="113"/>
                    <a:pt x="107" y="113"/>
                    <a:pt x="107" y="112"/>
                  </a:cubicBezTo>
                  <a:cubicBezTo>
                    <a:pt x="107" y="111"/>
                    <a:pt x="107" y="110"/>
                    <a:pt x="107" y="109"/>
                  </a:cubicBezTo>
                  <a:cubicBezTo>
                    <a:pt x="107" y="107"/>
                    <a:pt x="106" y="106"/>
                    <a:pt x="106" y="104"/>
                  </a:cubicBezTo>
                  <a:cubicBezTo>
                    <a:pt x="106" y="102"/>
                    <a:pt x="107" y="100"/>
                    <a:pt x="108" y="98"/>
                  </a:cubicBezTo>
                  <a:cubicBezTo>
                    <a:pt x="109" y="95"/>
                    <a:pt x="111" y="86"/>
                    <a:pt x="115" y="86"/>
                  </a:cubicBezTo>
                  <a:cubicBezTo>
                    <a:pt x="115" y="86"/>
                    <a:pt x="115" y="86"/>
                    <a:pt x="116" y="86"/>
                  </a:cubicBezTo>
                  <a:cubicBezTo>
                    <a:pt x="117" y="86"/>
                    <a:pt x="117" y="86"/>
                    <a:pt x="116" y="88"/>
                  </a:cubicBezTo>
                  <a:cubicBezTo>
                    <a:pt x="115" y="90"/>
                    <a:pt x="116" y="90"/>
                    <a:pt x="117" y="90"/>
                  </a:cubicBezTo>
                  <a:cubicBezTo>
                    <a:pt x="118" y="90"/>
                    <a:pt x="119" y="90"/>
                    <a:pt x="119" y="90"/>
                  </a:cubicBezTo>
                  <a:cubicBezTo>
                    <a:pt x="122" y="89"/>
                    <a:pt x="121" y="89"/>
                    <a:pt x="122" y="88"/>
                  </a:cubicBezTo>
                  <a:cubicBezTo>
                    <a:pt x="123" y="86"/>
                    <a:pt x="124" y="84"/>
                    <a:pt x="125" y="83"/>
                  </a:cubicBezTo>
                  <a:cubicBezTo>
                    <a:pt x="128" y="79"/>
                    <a:pt x="128" y="75"/>
                    <a:pt x="132" y="73"/>
                  </a:cubicBezTo>
                  <a:cubicBezTo>
                    <a:pt x="135" y="71"/>
                    <a:pt x="137" y="69"/>
                    <a:pt x="139" y="66"/>
                  </a:cubicBezTo>
                  <a:cubicBezTo>
                    <a:pt x="140" y="64"/>
                    <a:pt x="143" y="60"/>
                    <a:pt x="143" y="58"/>
                  </a:cubicBezTo>
                  <a:cubicBezTo>
                    <a:pt x="145" y="55"/>
                    <a:pt x="147" y="53"/>
                    <a:pt x="147" y="50"/>
                  </a:cubicBezTo>
                  <a:cubicBezTo>
                    <a:pt x="146" y="47"/>
                    <a:pt x="146" y="47"/>
                    <a:pt x="143" y="47"/>
                  </a:cubicBezTo>
                  <a:cubicBezTo>
                    <a:pt x="141" y="47"/>
                    <a:pt x="140" y="46"/>
                    <a:pt x="139" y="45"/>
                  </a:cubicBezTo>
                  <a:cubicBezTo>
                    <a:pt x="138" y="44"/>
                    <a:pt x="137" y="42"/>
                    <a:pt x="136" y="41"/>
                  </a:cubicBezTo>
                  <a:cubicBezTo>
                    <a:pt x="135" y="39"/>
                    <a:pt x="133" y="38"/>
                    <a:pt x="132" y="36"/>
                  </a:cubicBezTo>
                  <a:cubicBezTo>
                    <a:pt x="130" y="34"/>
                    <a:pt x="129" y="32"/>
                    <a:pt x="127" y="30"/>
                  </a:cubicBezTo>
                  <a:cubicBezTo>
                    <a:pt x="126" y="28"/>
                    <a:pt x="124" y="25"/>
                    <a:pt x="123" y="25"/>
                  </a:cubicBezTo>
                  <a:cubicBezTo>
                    <a:pt x="122" y="25"/>
                    <a:pt x="122" y="25"/>
                    <a:pt x="122" y="25"/>
                  </a:cubicBezTo>
                  <a:cubicBezTo>
                    <a:pt x="121" y="25"/>
                    <a:pt x="121" y="25"/>
                    <a:pt x="120" y="25"/>
                  </a:cubicBezTo>
                  <a:cubicBezTo>
                    <a:pt x="120" y="25"/>
                    <a:pt x="120" y="25"/>
                    <a:pt x="120" y="25"/>
                  </a:cubicBezTo>
                  <a:cubicBezTo>
                    <a:pt x="118" y="25"/>
                    <a:pt x="117" y="25"/>
                    <a:pt x="115" y="24"/>
                  </a:cubicBezTo>
                  <a:cubicBezTo>
                    <a:pt x="113" y="23"/>
                    <a:pt x="111" y="23"/>
                    <a:pt x="108" y="22"/>
                  </a:cubicBezTo>
                  <a:cubicBezTo>
                    <a:pt x="103" y="20"/>
                    <a:pt x="97" y="20"/>
                    <a:pt x="93" y="17"/>
                  </a:cubicBezTo>
                  <a:cubicBezTo>
                    <a:pt x="91" y="15"/>
                    <a:pt x="90" y="14"/>
                    <a:pt x="89" y="12"/>
                  </a:cubicBezTo>
                  <a:cubicBezTo>
                    <a:pt x="88" y="11"/>
                    <a:pt x="86" y="9"/>
                    <a:pt x="85" y="8"/>
                  </a:cubicBezTo>
                  <a:cubicBezTo>
                    <a:pt x="84" y="6"/>
                    <a:pt x="84" y="5"/>
                    <a:pt x="83" y="4"/>
                  </a:cubicBezTo>
                  <a:cubicBezTo>
                    <a:pt x="83" y="3"/>
                    <a:pt x="82" y="2"/>
                    <a:pt x="82" y="1"/>
                  </a:cubicBezTo>
                  <a:cubicBezTo>
                    <a:pt x="82" y="0"/>
                    <a:pt x="82" y="0"/>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Freeform 452">
              <a:extLst>
                <a:ext uri="{FF2B5EF4-FFF2-40B4-BE49-F238E27FC236}">
                  <a16:creationId xmlns:a16="http://schemas.microsoft.com/office/drawing/2014/main" id="{831B108C-C95E-4BBC-ADEA-22D10599E1D6}"/>
                </a:ext>
              </a:extLst>
            </p:cNvPr>
            <p:cNvSpPr>
              <a:spLocks/>
            </p:cNvSpPr>
            <p:nvPr/>
          </p:nvSpPr>
          <p:spPr bwMode="auto">
            <a:xfrm>
              <a:off x="1053596" y="5592546"/>
              <a:ext cx="643711" cy="393379"/>
            </a:xfrm>
            <a:custGeom>
              <a:avLst/>
              <a:gdLst>
                <a:gd name="T0" fmla="*/ 170 w 198"/>
                <a:gd name="T1" fmla="*/ 1 h 121"/>
                <a:gd name="T2" fmla="*/ 142 w 198"/>
                <a:gd name="T3" fmla="*/ 5 h 121"/>
                <a:gd name="T4" fmla="*/ 117 w 198"/>
                <a:gd name="T5" fmla="*/ 11 h 121"/>
                <a:gd name="T6" fmla="*/ 108 w 198"/>
                <a:gd name="T7" fmla="*/ 16 h 121"/>
                <a:gd name="T8" fmla="*/ 91 w 198"/>
                <a:gd name="T9" fmla="*/ 38 h 121"/>
                <a:gd name="T10" fmla="*/ 87 w 198"/>
                <a:gd name="T11" fmla="*/ 39 h 121"/>
                <a:gd name="T12" fmla="*/ 85 w 198"/>
                <a:gd name="T13" fmla="*/ 40 h 121"/>
                <a:gd name="T14" fmla="*/ 81 w 198"/>
                <a:gd name="T15" fmla="*/ 37 h 121"/>
                <a:gd name="T16" fmla="*/ 78 w 198"/>
                <a:gd name="T17" fmla="*/ 33 h 121"/>
                <a:gd name="T18" fmla="*/ 77 w 198"/>
                <a:gd name="T19" fmla="*/ 33 h 121"/>
                <a:gd name="T20" fmla="*/ 66 w 198"/>
                <a:gd name="T21" fmla="*/ 32 h 121"/>
                <a:gd name="T22" fmla="*/ 45 w 198"/>
                <a:gd name="T23" fmla="*/ 31 h 121"/>
                <a:gd name="T24" fmla="*/ 35 w 198"/>
                <a:gd name="T25" fmla="*/ 32 h 121"/>
                <a:gd name="T26" fmla="*/ 32 w 198"/>
                <a:gd name="T27" fmla="*/ 32 h 121"/>
                <a:gd name="T28" fmla="*/ 28 w 198"/>
                <a:gd name="T29" fmla="*/ 33 h 121"/>
                <a:gd name="T30" fmla="*/ 23 w 198"/>
                <a:gd name="T31" fmla="*/ 32 h 121"/>
                <a:gd name="T32" fmla="*/ 19 w 198"/>
                <a:gd name="T33" fmla="*/ 30 h 121"/>
                <a:gd name="T34" fmla="*/ 16 w 198"/>
                <a:gd name="T35" fmla="*/ 30 h 121"/>
                <a:gd name="T36" fmla="*/ 15 w 198"/>
                <a:gd name="T37" fmla="*/ 30 h 121"/>
                <a:gd name="T38" fmla="*/ 13 w 198"/>
                <a:gd name="T39" fmla="*/ 36 h 121"/>
                <a:gd name="T40" fmla="*/ 13 w 198"/>
                <a:gd name="T41" fmla="*/ 36 h 121"/>
                <a:gd name="T42" fmla="*/ 13 w 198"/>
                <a:gd name="T43" fmla="*/ 38 h 121"/>
                <a:gd name="T44" fmla="*/ 13 w 198"/>
                <a:gd name="T45" fmla="*/ 40 h 121"/>
                <a:gd name="T46" fmla="*/ 11 w 198"/>
                <a:gd name="T47" fmla="*/ 47 h 121"/>
                <a:gd name="T48" fmla="*/ 7 w 198"/>
                <a:gd name="T49" fmla="*/ 49 h 121"/>
                <a:gd name="T50" fmla="*/ 4 w 198"/>
                <a:gd name="T51" fmla="*/ 52 h 121"/>
                <a:gd name="T52" fmla="*/ 5 w 198"/>
                <a:gd name="T53" fmla="*/ 58 h 121"/>
                <a:gd name="T54" fmla="*/ 4 w 198"/>
                <a:gd name="T55" fmla="*/ 66 h 121"/>
                <a:gd name="T56" fmla="*/ 3 w 198"/>
                <a:gd name="T57" fmla="*/ 70 h 121"/>
                <a:gd name="T58" fmla="*/ 2 w 198"/>
                <a:gd name="T59" fmla="*/ 72 h 121"/>
                <a:gd name="T60" fmla="*/ 3 w 198"/>
                <a:gd name="T61" fmla="*/ 72 h 121"/>
                <a:gd name="T62" fmla="*/ 6 w 198"/>
                <a:gd name="T63" fmla="*/ 81 h 121"/>
                <a:gd name="T64" fmla="*/ 12 w 198"/>
                <a:gd name="T65" fmla="*/ 99 h 121"/>
                <a:gd name="T66" fmla="*/ 12 w 198"/>
                <a:gd name="T67" fmla="*/ 110 h 121"/>
                <a:gd name="T68" fmla="*/ 22 w 198"/>
                <a:gd name="T69" fmla="*/ 121 h 121"/>
                <a:gd name="T70" fmla="*/ 34 w 198"/>
                <a:gd name="T71" fmla="*/ 121 h 121"/>
                <a:gd name="T72" fmla="*/ 34 w 198"/>
                <a:gd name="T73" fmla="*/ 121 h 121"/>
                <a:gd name="T74" fmla="*/ 40 w 198"/>
                <a:gd name="T75" fmla="*/ 119 h 121"/>
                <a:gd name="T76" fmla="*/ 46 w 198"/>
                <a:gd name="T77" fmla="*/ 119 h 121"/>
                <a:gd name="T78" fmla="*/ 56 w 198"/>
                <a:gd name="T79" fmla="*/ 110 h 121"/>
                <a:gd name="T80" fmla="*/ 87 w 198"/>
                <a:gd name="T81" fmla="*/ 103 h 121"/>
                <a:gd name="T82" fmla="*/ 104 w 198"/>
                <a:gd name="T83" fmla="*/ 95 h 121"/>
                <a:gd name="T84" fmla="*/ 110 w 198"/>
                <a:gd name="T85" fmla="*/ 95 h 121"/>
                <a:gd name="T86" fmla="*/ 122 w 198"/>
                <a:gd name="T87" fmla="*/ 87 h 121"/>
                <a:gd name="T88" fmla="*/ 138 w 198"/>
                <a:gd name="T89" fmla="*/ 80 h 121"/>
                <a:gd name="T90" fmla="*/ 167 w 198"/>
                <a:gd name="T91" fmla="*/ 71 h 121"/>
                <a:gd name="T92" fmla="*/ 184 w 198"/>
                <a:gd name="T93" fmla="*/ 64 h 121"/>
                <a:gd name="T94" fmla="*/ 184 w 198"/>
                <a:gd name="T95" fmla="*/ 60 h 121"/>
                <a:gd name="T96" fmla="*/ 187 w 198"/>
                <a:gd name="T97" fmla="*/ 51 h 121"/>
                <a:gd name="T98" fmla="*/ 198 w 198"/>
                <a:gd name="T99" fmla="*/ 45 h 121"/>
                <a:gd name="T100" fmla="*/ 178 w 198"/>
                <a:gd name="T10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8" h="121">
                  <a:moveTo>
                    <a:pt x="178" y="0"/>
                  </a:moveTo>
                  <a:cubicBezTo>
                    <a:pt x="175" y="1"/>
                    <a:pt x="172" y="1"/>
                    <a:pt x="170" y="1"/>
                  </a:cubicBezTo>
                  <a:cubicBezTo>
                    <a:pt x="161" y="3"/>
                    <a:pt x="152" y="4"/>
                    <a:pt x="145" y="5"/>
                  </a:cubicBezTo>
                  <a:cubicBezTo>
                    <a:pt x="142" y="5"/>
                    <a:pt x="142" y="5"/>
                    <a:pt x="142" y="5"/>
                  </a:cubicBezTo>
                  <a:cubicBezTo>
                    <a:pt x="135" y="6"/>
                    <a:pt x="127" y="6"/>
                    <a:pt x="121" y="9"/>
                  </a:cubicBezTo>
                  <a:cubicBezTo>
                    <a:pt x="120" y="10"/>
                    <a:pt x="119" y="10"/>
                    <a:pt x="117" y="11"/>
                  </a:cubicBezTo>
                  <a:cubicBezTo>
                    <a:pt x="114" y="12"/>
                    <a:pt x="111" y="14"/>
                    <a:pt x="109" y="15"/>
                  </a:cubicBezTo>
                  <a:cubicBezTo>
                    <a:pt x="108" y="16"/>
                    <a:pt x="108" y="16"/>
                    <a:pt x="108" y="16"/>
                  </a:cubicBezTo>
                  <a:cubicBezTo>
                    <a:pt x="96" y="34"/>
                    <a:pt x="96" y="34"/>
                    <a:pt x="96" y="34"/>
                  </a:cubicBezTo>
                  <a:cubicBezTo>
                    <a:pt x="95" y="35"/>
                    <a:pt x="93" y="37"/>
                    <a:pt x="91" y="38"/>
                  </a:cubicBezTo>
                  <a:cubicBezTo>
                    <a:pt x="90" y="39"/>
                    <a:pt x="89" y="39"/>
                    <a:pt x="88" y="39"/>
                  </a:cubicBezTo>
                  <a:cubicBezTo>
                    <a:pt x="87" y="39"/>
                    <a:pt x="87" y="39"/>
                    <a:pt x="87" y="39"/>
                  </a:cubicBezTo>
                  <a:cubicBezTo>
                    <a:pt x="87" y="39"/>
                    <a:pt x="86" y="39"/>
                    <a:pt x="86" y="40"/>
                  </a:cubicBezTo>
                  <a:cubicBezTo>
                    <a:pt x="85" y="40"/>
                    <a:pt x="85" y="40"/>
                    <a:pt x="85" y="40"/>
                  </a:cubicBezTo>
                  <a:cubicBezTo>
                    <a:pt x="85" y="40"/>
                    <a:pt x="85" y="40"/>
                    <a:pt x="85" y="40"/>
                  </a:cubicBezTo>
                  <a:cubicBezTo>
                    <a:pt x="83" y="39"/>
                    <a:pt x="82" y="39"/>
                    <a:pt x="81" y="37"/>
                  </a:cubicBezTo>
                  <a:cubicBezTo>
                    <a:pt x="81" y="37"/>
                    <a:pt x="80" y="37"/>
                    <a:pt x="80" y="36"/>
                  </a:cubicBezTo>
                  <a:cubicBezTo>
                    <a:pt x="79" y="34"/>
                    <a:pt x="78" y="34"/>
                    <a:pt x="78" y="33"/>
                  </a:cubicBezTo>
                  <a:cubicBezTo>
                    <a:pt x="77" y="33"/>
                    <a:pt x="77" y="33"/>
                    <a:pt x="77" y="33"/>
                  </a:cubicBezTo>
                  <a:cubicBezTo>
                    <a:pt x="77" y="33"/>
                    <a:pt x="77" y="33"/>
                    <a:pt x="77" y="33"/>
                  </a:cubicBezTo>
                  <a:cubicBezTo>
                    <a:pt x="74" y="33"/>
                    <a:pt x="70" y="33"/>
                    <a:pt x="67" y="32"/>
                  </a:cubicBezTo>
                  <a:cubicBezTo>
                    <a:pt x="66" y="32"/>
                    <a:pt x="66" y="32"/>
                    <a:pt x="66" y="32"/>
                  </a:cubicBezTo>
                  <a:cubicBezTo>
                    <a:pt x="61" y="31"/>
                    <a:pt x="55" y="31"/>
                    <a:pt x="49" y="31"/>
                  </a:cubicBezTo>
                  <a:cubicBezTo>
                    <a:pt x="48" y="31"/>
                    <a:pt x="47" y="31"/>
                    <a:pt x="45" y="31"/>
                  </a:cubicBezTo>
                  <a:cubicBezTo>
                    <a:pt x="43" y="31"/>
                    <a:pt x="40" y="31"/>
                    <a:pt x="37" y="32"/>
                  </a:cubicBezTo>
                  <a:cubicBezTo>
                    <a:pt x="35" y="32"/>
                    <a:pt x="35" y="32"/>
                    <a:pt x="35" y="32"/>
                  </a:cubicBezTo>
                  <a:cubicBezTo>
                    <a:pt x="35" y="32"/>
                    <a:pt x="34" y="32"/>
                    <a:pt x="33" y="32"/>
                  </a:cubicBezTo>
                  <a:cubicBezTo>
                    <a:pt x="33" y="32"/>
                    <a:pt x="33" y="32"/>
                    <a:pt x="32" y="32"/>
                  </a:cubicBezTo>
                  <a:cubicBezTo>
                    <a:pt x="31" y="33"/>
                    <a:pt x="31" y="33"/>
                    <a:pt x="31" y="33"/>
                  </a:cubicBezTo>
                  <a:cubicBezTo>
                    <a:pt x="30" y="33"/>
                    <a:pt x="29" y="33"/>
                    <a:pt x="28" y="33"/>
                  </a:cubicBezTo>
                  <a:cubicBezTo>
                    <a:pt x="26" y="33"/>
                    <a:pt x="25" y="33"/>
                    <a:pt x="24" y="33"/>
                  </a:cubicBezTo>
                  <a:cubicBezTo>
                    <a:pt x="23" y="32"/>
                    <a:pt x="23" y="32"/>
                    <a:pt x="23" y="32"/>
                  </a:cubicBezTo>
                  <a:cubicBezTo>
                    <a:pt x="22" y="32"/>
                    <a:pt x="20" y="31"/>
                    <a:pt x="19" y="30"/>
                  </a:cubicBezTo>
                  <a:cubicBezTo>
                    <a:pt x="19" y="30"/>
                    <a:pt x="19" y="30"/>
                    <a:pt x="19" y="30"/>
                  </a:cubicBezTo>
                  <a:cubicBezTo>
                    <a:pt x="19" y="29"/>
                    <a:pt x="18" y="29"/>
                    <a:pt x="18" y="29"/>
                  </a:cubicBezTo>
                  <a:cubicBezTo>
                    <a:pt x="17" y="29"/>
                    <a:pt x="17" y="29"/>
                    <a:pt x="16" y="30"/>
                  </a:cubicBezTo>
                  <a:cubicBezTo>
                    <a:pt x="16" y="30"/>
                    <a:pt x="16" y="30"/>
                    <a:pt x="16" y="30"/>
                  </a:cubicBezTo>
                  <a:cubicBezTo>
                    <a:pt x="15" y="30"/>
                    <a:pt x="15" y="30"/>
                    <a:pt x="15" y="30"/>
                  </a:cubicBezTo>
                  <a:cubicBezTo>
                    <a:pt x="15" y="30"/>
                    <a:pt x="14" y="32"/>
                    <a:pt x="14" y="34"/>
                  </a:cubicBezTo>
                  <a:cubicBezTo>
                    <a:pt x="13" y="35"/>
                    <a:pt x="13" y="35"/>
                    <a:pt x="13" y="36"/>
                  </a:cubicBezTo>
                  <a:cubicBezTo>
                    <a:pt x="13" y="36"/>
                    <a:pt x="13" y="36"/>
                    <a:pt x="13" y="36"/>
                  </a:cubicBezTo>
                  <a:cubicBezTo>
                    <a:pt x="13" y="36"/>
                    <a:pt x="13" y="36"/>
                    <a:pt x="13" y="36"/>
                  </a:cubicBezTo>
                  <a:cubicBezTo>
                    <a:pt x="13" y="37"/>
                    <a:pt x="13" y="37"/>
                    <a:pt x="13" y="37"/>
                  </a:cubicBezTo>
                  <a:cubicBezTo>
                    <a:pt x="13" y="38"/>
                    <a:pt x="13" y="38"/>
                    <a:pt x="13" y="38"/>
                  </a:cubicBezTo>
                  <a:cubicBezTo>
                    <a:pt x="13" y="38"/>
                    <a:pt x="13" y="39"/>
                    <a:pt x="13" y="39"/>
                  </a:cubicBezTo>
                  <a:cubicBezTo>
                    <a:pt x="13" y="40"/>
                    <a:pt x="13" y="40"/>
                    <a:pt x="13" y="40"/>
                  </a:cubicBezTo>
                  <a:cubicBezTo>
                    <a:pt x="14" y="41"/>
                    <a:pt x="14" y="44"/>
                    <a:pt x="12" y="46"/>
                  </a:cubicBezTo>
                  <a:cubicBezTo>
                    <a:pt x="12" y="46"/>
                    <a:pt x="12" y="46"/>
                    <a:pt x="11" y="47"/>
                  </a:cubicBezTo>
                  <a:cubicBezTo>
                    <a:pt x="11" y="47"/>
                    <a:pt x="11" y="47"/>
                    <a:pt x="11" y="47"/>
                  </a:cubicBezTo>
                  <a:cubicBezTo>
                    <a:pt x="7" y="49"/>
                    <a:pt x="7" y="49"/>
                    <a:pt x="7" y="49"/>
                  </a:cubicBezTo>
                  <a:cubicBezTo>
                    <a:pt x="7" y="50"/>
                    <a:pt x="7" y="50"/>
                    <a:pt x="7" y="50"/>
                  </a:cubicBezTo>
                  <a:cubicBezTo>
                    <a:pt x="4" y="52"/>
                    <a:pt x="4" y="52"/>
                    <a:pt x="4" y="52"/>
                  </a:cubicBezTo>
                  <a:cubicBezTo>
                    <a:pt x="4" y="51"/>
                    <a:pt x="4" y="51"/>
                    <a:pt x="4" y="51"/>
                  </a:cubicBezTo>
                  <a:cubicBezTo>
                    <a:pt x="4" y="54"/>
                    <a:pt x="4" y="56"/>
                    <a:pt x="5" y="58"/>
                  </a:cubicBezTo>
                  <a:cubicBezTo>
                    <a:pt x="5" y="59"/>
                    <a:pt x="4" y="59"/>
                    <a:pt x="4" y="60"/>
                  </a:cubicBezTo>
                  <a:cubicBezTo>
                    <a:pt x="4" y="62"/>
                    <a:pt x="4" y="64"/>
                    <a:pt x="4" y="66"/>
                  </a:cubicBezTo>
                  <a:cubicBezTo>
                    <a:pt x="4" y="68"/>
                    <a:pt x="4" y="70"/>
                    <a:pt x="4" y="72"/>
                  </a:cubicBezTo>
                  <a:cubicBezTo>
                    <a:pt x="3" y="70"/>
                    <a:pt x="3" y="70"/>
                    <a:pt x="3" y="70"/>
                  </a:cubicBezTo>
                  <a:cubicBezTo>
                    <a:pt x="1" y="71"/>
                    <a:pt x="0" y="71"/>
                    <a:pt x="2" y="72"/>
                  </a:cubicBezTo>
                  <a:cubicBezTo>
                    <a:pt x="2" y="72"/>
                    <a:pt x="2" y="72"/>
                    <a:pt x="2" y="72"/>
                  </a:cubicBezTo>
                  <a:cubicBezTo>
                    <a:pt x="2" y="72"/>
                    <a:pt x="2" y="72"/>
                    <a:pt x="2" y="72"/>
                  </a:cubicBezTo>
                  <a:cubicBezTo>
                    <a:pt x="2" y="72"/>
                    <a:pt x="3" y="72"/>
                    <a:pt x="3" y="72"/>
                  </a:cubicBezTo>
                  <a:cubicBezTo>
                    <a:pt x="3" y="72"/>
                    <a:pt x="4" y="72"/>
                    <a:pt x="4" y="72"/>
                  </a:cubicBezTo>
                  <a:cubicBezTo>
                    <a:pt x="5" y="74"/>
                    <a:pt x="6" y="79"/>
                    <a:pt x="6" y="81"/>
                  </a:cubicBezTo>
                  <a:cubicBezTo>
                    <a:pt x="7" y="83"/>
                    <a:pt x="7" y="85"/>
                    <a:pt x="8" y="88"/>
                  </a:cubicBezTo>
                  <a:cubicBezTo>
                    <a:pt x="9" y="92"/>
                    <a:pt x="10" y="95"/>
                    <a:pt x="12" y="99"/>
                  </a:cubicBezTo>
                  <a:cubicBezTo>
                    <a:pt x="14" y="102"/>
                    <a:pt x="13" y="104"/>
                    <a:pt x="13" y="107"/>
                  </a:cubicBezTo>
                  <a:cubicBezTo>
                    <a:pt x="12" y="108"/>
                    <a:pt x="12" y="109"/>
                    <a:pt x="12" y="110"/>
                  </a:cubicBezTo>
                  <a:cubicBezTo>
                    <a:pt x="13" y="114"/>
                    <a:pt x="15" y="117"/>
                    <a:pt x="17" y="121"/>
                  </a:cubicBezTo>
                  <a:cubicBezTo>
                    <a:pt x="17" y="121"/>
                    <a:pt x="19" y="121"/>
                    <a:pt x="22" y="121"/>
                  </a:cubicBezTo>
                  <a:cubicBezTo>
                    <a:pt x="24" y="121"/>
                    <a:pt x="27" y="121"/>
                    <a:pt x="29" y="121"/>
                  </a:cubicBezTo>
                  <a:cubicBezTo>
                    <a:pt x="32" y="121"/>
                    <a:pt x="33" y="121"/>
                    <a:pt x="34" y="121"/>
                  </a:cubicBezTo>
                  <a:cubicBezTo>
                    <a:pt x="34" y="121"/>
                    <a:pt x="34" y="121"/>
                    <a:pt x="34" y="121"/>
                  </a:cubicBezTo>
                  <a:cubicBezTo>
                    <a:pt x="34" y="121"/>
                    <a:pt x="34" y="121"/>
                    <a:pt x="34" y="121"/>
                  </a:cubicBezTo>
                  <a:cubicBezTo>
                    <a:pt x="35" y="121"/>
                    <a:pt x="36" y="120"/>
                    <a:pt x="37" y="120"/>
                  </a:cubicBezTo>
                  <a:cubicBezTo>
                    <a:pt x="38" y="119"/>
                    <a:pt x="39" y="119"/>
                    <a:pt x="40" y="119"/>
                  </a:cubicBezTo>
                  <a:cubicBezTo>
                    <a:pt x="40" y="119"/>
                    <a:pt x="41" y="119"/>
                    <a:pt x="41" y="119"/>
                  </a:cubicBezTo>
                  <a:cubicBezTo>
                    <a:pt x="42" y="119"/>
                    <a:pt x="44" y="119"/>
                    <a:pt x="46" y="119"/>
                  </a:cubicBezTo>
                  <a:cubicBezTo>
                    <a:pt x="46" y="119"/>
                    <a:pt x="47" y="119"/>
                    <a:pt x="47" y="119"/>
                  </a:cubicBezTo>
                  <a:cubicBezTo>
                    <a:pt x="47" y="115"/>
                    <a:pt x="53" y="113"/>
                    <a:pt x="56" y="110"/>
                  </a:cubicBezTo>
                  <a:cubicBezTo>
                    <a:pt x="58" y="108"/>
                    <a:pt x="60" y="108"/>
                    <a:pt x="64" y="107"/>
                  </a:cubicBezTo>
                  <a:cubicBezTo>
                    <a:pt x="71" y="106"/>
                    <a:pt x="79" y="104"/>
                    <a:pt x="87" y="103"/>
                  </a:cubicBezTo>
                  <a:cubicBezTo>
                    <a:pt x="92" y="102"/>
                    <a:pt x="95" y="99"/>
                    <a:pt x="100" y="96"/>
                  </a:cubicBezTo>
                  <a:cubicBezTo>
                    <a:pt x="102" y="95"/>
                    <a:pt x="103" y="95"/>
                    <a:pt x="104" y="95"/>
                  </a:cubicBezTo>
                  <a:cubicBezTo>
                    <a:pt x="105" y="95"/>
                    <a:pt x="106" y="95"/>
                    <a:pt x="108" y="95"/>
                  </a:cubicBezTo>
                  <a:cubicBezTo>
                    <a:pt x="109" y="95"/>
                    <a:pt x="109" y="95"/>
                    <a:pt x="110" y="95"/>
                  </a:cubicBezTo>
                  <a:cubicBezTo>
                    <a:pt x="113" y="95"/>
                    <a:pt x="115" y="95"/>
                    <a:pt x="116" y="94"/>
                  </a:cubicBezTo>
                  <a:cubicBezTo>
                    <a:pt x="118" y="92"/>
                    <a:pt x="120" y="90"/>
                    <a:pt x="122" y="87"/>
                  </a:cubicBezTo>
                  <a:cubicBezTo>
                    <a:pt x="124" y="85"/>
                    <a:pt x="127" y="84"/>
                    <a:pt x="130" y="82"/>
                  </a:cubicBezTo>
                  <a:cubicBezTo>
                    <a:pt x="133" y="81"/>
                    <a:pt x="135" y="81"/>
                    <a:pt x="138" y="80"/>
                  </a:cubicBezTo>
                  <a:cubicBezTo>
                    <a:pt x="143" y="78"/>
                    <a:pt x="148" y="77"/>
                    <a:pt x="154" y="75"/>
                  </a:cubicBezTo>
                  <a:cubicBezTo>
                    <a:pt x="158" y="74"/>
                    <a:pt x="163" y="73"/>
                    <a:pt x="167" y="71"/>
                  </a:cubicBezTo>
                  <a:cubicBezTo>
                    <a:pt x="171" y="70"/>
                    <a:pt x="174" y="68"/>
                    <a:pt x="178" y="66"/>
                  </a:cubicBezTo>
                  <a:cubicBezTo>
                    <a:pt x="179" y="66"/>
                    <a:pt x="183" y="65"/>
                    <a:pt x="184" y="64"/>
                  </a:cubicBezTo>
                  <a:cubicBezTo>
                    <a:pt x="184" y="63"/>
                    <a:pt x="184" y="62"/>
                    <a:pt x="183" y="61"/>
                  </a:cubicBezTo>
                  <a:cubicBezTo>
                    <a:pt x="183" y="61"/>
                    <a:pt x="184" y="60"/>
                    <a:pt x="184" y="60"/>
                  </a:cubicBezTo>
                  <a:cubicBezTo>
                    <a:pt x="184" y="59"/>
                    <a:pt x="183" y="59"/>
                    <a:pt x="183" y="59"/>
                  </a:cubicBezTo>
                  <a:cubicBezTo>
                    <a:pt x="183" y="56"/>
                    <a:pt x="185" y="53"/>
                    <a:pt x="187" y="51"/>
                  </a:cubicBezTo>
                  <a:cubicBezTo>
                    <a:pt x="189" y="48"/>
                    <a:pt x="189" y="48"/>
                    <a:pt x="192" y="47"/>
                  </a:cubicBezTo>
                  <a:cubicBezTo>
                    <a:pt x="194" y="46"/>
                    <a:pt x="196" y="45"/>
                    <a:pt x="198" y="45"/>
                  </a:cubicBezTo>
                  <a:cubicBezTo>
                    <a:pt x="194" y="35"/>
                    <a:pt x="189" y="23"/>
                    <a:pt x="184" y="13"/>
                  </a:cubicBezTo>
                  <a:cubicBezTo>
                    <a:pt x="178" y="0"/>
                    <a:pt x="178" y="0"/>
                    <a:pt x="17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 name="Freeform 453">
              <a:extLst>
                <a:ext uri="{FF2B5EF4-FFF2-40B4-BE49-F238E27FC236}">
                  <a16:creationId xmlns:a16="http://schemas.microsoft.com/office/drawing/2014/main" id="{14F00FD6-29A2-4207-A4FF-B6C164C19A57}"/>
                </a:ext>
              </a:extLst>
            </p:cNvPr>
            <p:cNvSpPr>
              <a:spLocks/>
            </p:cNvSpPr>
            <p:nvPr/>
          </p:nvSpPr>
          <p:spPr bwMode="auto">
            <a:xfrm>
              <a:off x="1625784" y="5130395"/>
              <a:ext cx="281968" cy="204943"/>
            </a:xfrm>
            <a:custGeom>
              <a:avLst/>
              <a:gdLst>
                <a:gd name="T0" fmla="*/ 79 w 87"/>
                <a:gd name="T1" fmla="*/ 0 h 63"/>
                <a:gd name="T2" fmla="*/ 75 w 87"/>
                <a:gd name="T3" fmla="*/ 6 h 63"/>
                <a:gd name="T4" fmla="*/ 70 w 87"/>
                <a:gd name="T5" fmla="*/ 10 h 63"/>
                <a:gd name="T6" fmla="*/ 57 w 87"/>
                <a:gd name="T7" fmla="*/ 23 h 63"/>
                <a:gd name="T8" fmla="*/ 53 w 87"/>
                <a:gd name="T9" fmla="*/ 28 h 63"/>
                <a:gd name="T10" fmla="*/ 49 w 87"/>
                <a:gd name="T11" fmla="*/ 34 h 63"/>
                <a:gd name="T12" fmla="*/ 47 w 87"/>
                <a:gd name="T13" fmla="*/ 35 h 63"/>
                <a:gd name="T14" fmla="*/ 43 w 87"/>
                <a:gd name="T15" fmla="*/ 34 h 63"/>
                <a:gd name="T16" fmla="*/ 37 w 87"/>
                <a:gd name="T17" fmla="*/ 38 h 63"/>
                <a:gd name="T18" fmla="*/ 36 w 87"/>
                <a:gd name="T19" fmla="*/ 39 h 63"/>
                <a:gd name="T20" fmla="*/ 32 w 87"/>
                <a:gd name="T21" fmla="*/ 38 h 63"/>
                <a:gd name="T22" fmla="*/ 25 w 87"/>
                <a:gd name="T23" fmla="*/ 37 h 63"/>
                <a:gd name="T24" fmla="*/ 18 w 87"/>
                <a:gd name="T25" fmla="*/ 38 h 63"/>
                <a:gd name="T26" fmla="*/ 4 w 87"/>
                <a:gd name="T27" fmla="*/ 41 h 63"/>
                <a:gd name="T28" fmla="*/ 0 w 87"/>
                <a:gd name="T29" fmla="*/ 40 h 63"/>
                <a:gd name="T30" fmla="*/ 2 w 87"/>
                <a:gd name="T31" fmla="*/ 42 h 63"/>
                <a:gd name="T32" fmla="*/ 4 w 87"/>
                <a:gd name="T33" fmla="*/ 44 h 63"/>
                <a:gd name="T34" fmla="*/ 6 w 87"/>
                <a:gd name="T35" fmla="*/ 47 h 63"/>
                <a:gd name="T36" fmla="*/ 9 w 87"/>
                <a:gd name="T37" fmla="*/ 50 h 63"/>
                <a:gd name="T38" fmla="*/ 16 w 87"/>
                <a:gd name="T39" fmla="*/ 59 h 63"/>
                <a:gd name="T40" fmla="*/ 62 w 87"/>
                <a:gd name="T41" fmla="*/ 63 h 63"/>
                <a:gd name="T42" fmla="*/ 63 w 87"/>
                <a:gd name="T43" fmla="*/ 61 h 63"/>
                <a:gd name="T44" fmla="*/ 63 w 87"/>
                <a:gd name="T45" fmla="*/ 60 h 63"/>
                <a:gd name="T46" fmla="*/ 64 w 87"/>
                <a:gd name="T47" fmla="*/ 55 h 63"/>
                <a:gd name="T48" fmla="*/ 66 w 87"/>
                <a:gd name="T49" fmla="*/ 47 h 63"/>
                <a:gd name="T50" fmla="*/ 66 w 87"/>
                <a:gd name="T51" fmla="*/ 45 h 63"/>
                <a:gd name="T52" fmla="*/ 66 w 87"/>
                <a:gd name="T53" fmla="*/ 45 h 63"/>
                <a:gd name="T54" fmla="*/ 66 w 87"/>
                <a:gd name="T55" fmla="*/ 44 h 63"/>
                <a:gd name="T56" fmla="*/ 71 w 87"/>
                <a:gd name="T57" fmla="*/ 37 h 63"/>
                <a:gd name="T58" fmla="*/ 73 w 87"/>
                <a:gd name="T59" fmla="*/ 37 h 63"/>
                <a:gd name="T60" fmla="*/ 73 w 87"/>
                <a:gd name="T61" fmla="*/ 37 h 63"/>
                <a:gd name="T62" fmla="*/ 74 w 87"/>
                <a:gd name="T63" fmla="*/ 37 h 63"/>
                <a:gd name="T64" fmla="*/ 74 w 87"/>
                <a:gd name="T65" fmla="*/ 37 h 63"/>
                <a:gd name="T66" fmla="*/ 74 w 87"/>
                <a:gd name="T67" fmla="*/ 37 h 63"/>
                <a:gd name="T68" fmla="*/ 73 w 87"/>
                <a:gd name="T69" fmla="*/ 35 h 63"/>
                <a:gd name="T70" fmla="*/ 75 w 87"/>
                <a:gd name="T71" fmla="*/ 23 h 63"/>
                <a:gd name="T72" fmla="*/ 76 w 87"/>
                <a:gd name="T73" fmla="*/ 22 h 63"/>
                <a:gd name="T74" fmla="*/ 81 w 87"/>
                <a:gd name="T75" fmla="*/ 22 h 63"/>
                <a:gd name="T76" fmla="*/ 84 w 87"/>
                <a:gd name="T77" fmla="*/ 20 h 63"/>
                <a:gd name="T78" fmla="*/ 85 w 87"/>
                <a:gd name="T79" fmla="*/ 18 h 63"/>
                <a:gd name="T80" fmla="*/ 85 w 87"/>
                <a:gd name="T81" fmla="*/ 17 h 63"/>
                <a:gd name="T82" fmla="*/ 86 w 87"/>
                <a:gd name="T83" fmla="*/ 18 h 63"/>
                <a:gd name="T84" fmla="*/ 86 w 87"/>
                <a:gd name="T85" fmla="*/ 17 h 63"/>
                <a:gd name="T86" fmla="*/ 87 w 87"/>
                <a:gd name="T87" fmla="*/ 17 h 63"/>
                <a:gd name="T88" fmla="*/ 87 w 87"/>
                <a:gd name="T89" fmla="*/ 13 h 63"/>
                <a:gd name="T90" fmla="*/ 85 w 87"/>
                <a:gd name="T91" fmla="*/ 9 h 63"/>
                <a:gd name="T92" fmla="*/ 84 w 87"/>
                <a:gd name="T93" fmla="*/ 9 h 63"/>
                <a:gd name="T94" fmla="*/ 82 w 87"/>
                <a:gd name="T95" fmla="*/ 9 h 63"/>
                <a:gd name="T96" fmla="*/ 79 w 87"/>
                <a:gd name="T97" fmla="*/ 0 h 63"/>
                <a:gd name="T98" fmla="*/ 79 w 87"/>
                <a:gd name="T9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 h="63">
                  <a:moveTo>
                    <a:pt x="79" y="0"/>
                  </a:moveTo>
                  <a:cubicBezTo>
                    <a:pt x="78" y="2"/>
                    <a:pt x="76" y="4"/>
                    <a:pt x="75" y="6"/>
                  </a:cubicBezTo>
                  <a:cubicBezTo>
                    <a:pt x="74" y="7"/>
                    <a:pt x="71" y="9"/>
                    <a:pt x="70" y="10"/>
                  </a:cubicBezTo>
                  <a:cubicBezTo>
                    <a:pt x="65" y="15"/>
                    <a:pt x="62" y="19"/>
                    <a:pt x="57" y="23"/>
                  </a:cubicBezTo>
                  <a:cubicBezTo>
                    <a:pt x="54" y="24"/>
                    <a:pt x="54" y="25"/>
                    <a:pt x="53" y="28"/>
                  </a:cubicBezTo>
                  <a:cubicBezTo>
                    <a:pt x="52" y="30"/>
                    <a:pt x="51" y="33"/>
                    <a:pt x="49" y="34"/>
                  </a:cubicBezTo>
                  <a:cubicBezTo>
                    <a:pt x="48" y="35"/>
                    <a:pt x="48" y="35"/>
                    <a:pt x="47" y="35"/>
                  </a:cubicBezTo>
                  <a:cubicBezTo>
                    <a:pt x="46" y="35"/>
                    <a:pt x="44" y="34"/>
                    <a:pt x="43" y="34"/>
                  </a:cubicBezTo>
                  <a:cubicBezTo>
                    <a:pt x="46" y="36"/>
                    <a:pt x="39" y="38"/>
                    <a:pt x="37" y="38"/>
                  </a:cubicBezTo>
                  <a:cubicBezTo>
                    <a:pt x="37" y="39"/>
                    <a:pt x="36" y="39"/>
                    <a:pt x="36" y="39"/>
                  </a:cubicBezTo>
                  <a:cubicBezTo>
                    <a:pt x="34" y="39"/>
                    <a:pt x="34" y="38"/>
                    <a:pt x="32" y="38"/>
                  </a:cubicBezTo>
                  <a:cubicBezTo>
                    <a:pt x="30" y="37"/>
                    <a:pt x="27" y="37"/>
                    <a:pt x="25" y="37"/>
                  </a:cubicBezTo>
                  <a:cubicBezTo>
                    <a:pt x="22" y="37"/>
                    <a:pt x="20" y="37"/>
                    <a:pt x="18" y="38"/>
                  </a:cubicBezTo>
                  <a:cubicBezTo>
                    <a:pt x="15" y="38"/>
                    <a:pt x="9" y="41"/>
                    <a:pt x="4" y="41"/>
                  </a:cubicBezTo>
                  <a:cubicBezTo>
                    <a:pt x="2" y="41"/>
                    <a:pt x="1" y="41"/>
                    <a:pt x="0" y="40"/>
                  </a:cubicBezTo>
                  <a:cubicBezTo>
                    <a:pt x="1" y="41"/>
                    <a:pt x="2" y="42"/>
                    <a:pt x="2" y="42"/>
                  </a:cubicBezTo>
                  <a:cubicBezTo>
                    <a:pt x="4" y="44"/>
                    <a:pt x="4" y="44"/>
                    <a:pt x="4" y="44"/>
                  </a:cubicBezTo>
                  <a:cubicBezTo>
                    <a:pt x="4" y="44"/>
                    <a:pt x="6" y="47"/>
                    <a:pt x="6" y="47"/>
                  </a:cubicBezTo>
                  <a:cubicBezTo>
                    <a:pt x="9" y="50"/>
                    <a:pt x="9" y="50"/>
                    <a:pt x="9" y="50"/>
                  </a:cubicBezTo>
                  <a:cubicBezTo>
                    <a:pt x="11" y="53"/>
                    <a:pt x="13" y="56"/>
                    <a:pt x="16" y="59"/>
                  </a:cubicBezTo>
                  <a:cubicBezTo>
                    <a:pt x="62" y="63"/>
                    <a:pt x="62" y="63"/>
                    <a:pt x="62" y="63"/>
                  </a:cubicBezTo>
                  <a:cubicBezTo>
                    <a:pt x="63" y="62"/>
                    <a:pt x="63" y="62"/>
                    <a:pt x="63" y="61"/>
                  </a:cubicBezTo>
                  <a:cubicBezTo>
                    <a:pt x="63" y="61"/>
                    <a:pt x="63" y="60"/>
                    <a:pt x="63" y="60"/>
                  </a:cubicBezTo>
                  <a:cubicBezTo>
                    <a:pt x="64" y="55"/>
                    <a:pt x="64" y="55"/>
                    <a:pt x="64" y="55"/>
                  </a:cubicBezTo>
                  <a:cubicBezTo>
                    <a:pt x="65" y="52"/>
                    <a:pt x="65" y="50"/>
                    <a:pt x="66" y="47"/>
                  </a:cubicBezTo>
                  <a:cubicBezTo>
                    <a:pt x="66" y="46"/>
                    <a:pt x="66" y="46"/>
                    <a:pt x="66" y="45"/>
                  </a:cubicBezTo>
                  <a:cubicBezTo>
                    <a:pt x="66" y="45"/>
                    <a:pt x="66" y="45"/>
                    <a:pt x="66" y="45"/>
                  </a:cubicBezTo>
                  <a:cubicBezTo>
                    <a:pt x="66" y="44"/>
                    <a:pt x="66" y="44"/>
                    <a:pt x="66" y="44"/>
                  </a:cubicBezTo>
                  <a:cubicBezTo>
                    <a:pt x="67" y="41"/>
                    <a:pt x="68" y="39"/>
                    <a:pt x="71" y="37"/>
                  </a:cubicBezTo>
                  <a:cubicBezTo>
                    <a:pt x="72" y="37"/>
                    <a:pt x="72" y="37"/>
                    <a:pt x="73" y="37"/>
                  </a:cubicBezTo>
                  <a:cubicBezTo>
                    <a:pt x="73" y="37"/>
                    <a:pt x="73" y="37"/>
                    <a:pt x="73" y="37"/>
                  </a:cubicBezTo>
                  <a:cubicBezTo>
                    <a:pt x="74" y="37"/>
                    <a:pt x="74" y="37"/>
                    <a:pt x="74" y="37"/>
                  </a:cubicBezTo>
                  <a:cubicBezTo>
                    <a:pt x="74" y="37"/>
                    <a:pt x="74" y="37"/>
                    <a:pt x="74" y="37"/>
                  </a:cubicBezTo>
                  <a:cubicBezTo>
                    <a:pt x="74" y="37"/>
                    <a:pt x="74" y="37"/>
                    <a:pt x="74" y="37"/>
                  </a:cubicBezTo>
                  <a:cubicBezTo>
                    <a:pt x="73" y="36"/>
                    <a:pt x="73" y="35"/>
                    <a:pt x="73" y="35"/>
                  </a:cubicBezTo>
                  <a:cubicBezTo>
                    <a:pt x="73" y="30"/>
                    <a:pt x="74" y="27"/>
                    <a:pt x="75" y="23"/>
                  </a:cubicBezTo>
                  <a:cubicBezTo>
                    <a:pt x="76" y="22"/>
                    <a:pt x="76" y="22"/>
                    <a:pt x="76" y="22"/>
                  </a:cubicBezTo>
                  <a:cubicBezTo>
                    <a:pt x="81" y="22"/>
                    <a:pt x="81" y="22"/>
                    <a:pt x="81" y="22"/>
                  </a:cubicBezTo>
                  <a:cubicBezTo>
                    <a:pt x="82" y="21"/>
                    <a:pt x="83" y="21"/>
                    <a:pt x="84" y="20"/>
                  </a:cubicBezTo>
                  <a:cubicBezTo>
                    <a:pt x="84" y="20"/>
                    <a:pt x="84" y="19"/>
                    <a:pt x="85" y="18"/>
                  </a:cubicBezTo>
                  <a:cubicBezTo>
                    <a:pt x="85" y="17"/>
                    <a:pt x="85" y="17"/>
                    <a:pt x="85" y="17"/>
                  </a:cubicBezTo>
                  <a:cubicBezTo>
                    <a:pt x="86" y="18"/>
                    <a:pt x="86" y="18"/>
                    <a:pt x="86" y="18"/>
                  </a:cubicBezTo>
                  <a:cubicBezTo>
                    <a:pt x="86" y="17"/>
                    <a:pt x="86" y="17"/>
                    <a:pt x="86" y="17"/>
                  </a:cubicBezTo>
                  <a:cubicBezTo>
                    <a:pt x="87" y="17"/>
                    <a:pt x="87" y="17"/>
                    <a:pt x="87" y="17"/>
                  </a:cubicBezTo>
                  <a:cubicBezTo>
                    <a:pt x="87" y="15"/>
                    <a:pt x="87" y="13"/>
                    <a:pt x="87" y="13"/>
                  </a:cubicBezTo>
                  <a:cubicBezTo>
                    <a:pt x="86" y="11"/>
                    <a:pt x="86" y="10"/>
                    <a:pt x="85" y="9"/>
                  </a:cubicBezTo>
                  <a:cubicBezTo>
                    <a:pt x="85" y="9"/>
                    <a:pt x="84" y="9"/>
                    <a:pt x="84" y="9"/>
                  </a:cubicBezTo>
                  <a:cubicBezTo>
                    <a:pt x="83" y="9"/>
                    <a:pt x="83" y="9"/>
                    <a:pt x="82" y="9"/>
                  </a:cubicBezTo>
                  <a:cubicBezTo>
                    <a:pt x="80" y="7"/>
                    <a:pt x="79" y="4"/>
                    <a:pt x="79" y="0"/>
                  </a:cubicBezTo>
                  <a:cubicBezTo>
                    <a:pt x="79" y="0"/>
                    <a:pt x="79" y="0"/>
                    <a:pt x="7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 name="Freeform 454">
              <a:extLst>
                <a:ext uri="{FF2B5EF4-FFF2-40B4-BE49-F238E27FC236}">
                  <a16:creationId xmlns:a16="http://schemas.microsoft.com/office/drawing/2014/main" id="{F1B28152-3C63-468F-8989-A2693382F57F}"/>
                </a:ext>
              </a:extLst>
            </p:cNvPr>
            <p:cNvSpPr>
              <a:spLocks/>
            </p:cNvSpPr>
            <p:nvPr/>
          </p:nvSpPr>
          <p:spPr bwMode="auto">
            <a:xfrm>
              <a:off x="552932" y="4721886"/>
              <a:ext cx="1297051" cy="1020585"/>
            </a:xfrm>
            <a:custGeom>
              <a:avLst/>
              <a:gdLst>
                <a:gd name="T0" fmla="*/ 78 w 399"/>
                <a:gd name="T1" fmla="*/ 5 h 314"/>
                <a:gd name="T2" fmla="*/ 64 w 399"/>
                <a:gd name="T3" fmla="*/ 25 h 314"/>
                <a:gd name="T4" fmla="*/ 67 w 399"/>
                <a:gd name="T5" fmla="*/ 29 h 314"/>
                <a:gd name="T6" fmla="*/ 52 w 399"/>
                <a:gd name="T7" fmla="*/ 46 h 314"/>
                <a:gd name="T8" fmla="*/ 47 w 399"/>
                <a:gd name="T9" fmla="*/ 47 h 314"/>
                <a:gd name="T10" fmla="*/ 36 w 399"/>
                <a:gd name="T11" fmla="*/ 57 h 314"/>
                <a:gd name="T12" fmla="*/ 24 w 399"/>
                <a:gd name="T13" fmla="*/ 61 h 314"/>
                <a:gd name="T14" fmla="*/ 9 w 399"/>
                <a:gd name="T15" fmla="*/ 59 h 314"/>
                <a:gd name="T16" fmla="*/ 2 w 399"/>
                <a:gd name="T17" fmla="*/ 84 h 314"/>
                <a:gd name="T18" fmla="*/ 5 w 399"/>
                <a:gd name="T19" fmla="*/ 82 h 314"/>
                <a:gd name="T20" fmla="*/ 8 w 399"/>
                <a:gd name="T21" fmla="*/ 82 h 314"/>
                <a:gd name="T22" fmla="*/ 27 w 399"/>
                <a:gd name="T23" fmla="*/ 104 h 314"/>
                <a:gd name="T24" fmla="*/ 52 w 399"/>
                <a:gd name="T25" fmla="*/ 143 h 314"/>
                <a:gd name="T26" fmla="*/ 73 w 399"/>
                <a:gd name="T27" fmla="*/ 168 h 314"/>
                <a:gd name="T28" fmla="*/ 88 w 399"/>
                <a:gd name="T29" fmla="*/ 198 h 314"/>
                <a:gd name="T30" fmla="*/ 94 w 399"/>
                <a:gd name="T31" fmla="*/ 230 h 314"/>
                <a:gd name="T32" fmla="*/ 112 w 399"/>
                <a:gd name="T33" fmla="*/ 244 h 314"/>
                <a:gd name="T34" fmla="*/ 146 w 399"/>
                <a:gd name="T35" fmla="*/ 293 h 314"/>
                <a:gd name="T36" fmla="*/ 162 w 399"/>
                <a:gd name="T37" fmla="*/ 311 h 314"/>
                <a:gd name="T38" fmla="*/ 162 w 399"/>
                <a:gd name="T39" fmla="*/ 304 h 314"/>
                <a:gd name="T40" fmla="*/ 169 w 399"/>
                <a:gd name="T41" fmla="*/ 293 h 314"/>
                <a:gd name="T42" fmla="*/ 179 w 399"/>
                <a:gd name="T43" fmla="*/ 296 h 314"/>
                <a:gd name="T44" fmla="*/ 184 w 399"/>
                <a:gd name="T45" fmla="*/ 296 h 314"/>
                <a:gd name="T46" fmla="*/ 199 w 399"/>
                <a:gd name="T47" fmla="*/ 294 h 314"/>
                <a:gd name="T48" fmla="*/ 232 w 399"/>
                <a:gd name="T49" fmla="*/ 297 h 314"/>
                <a:gd name="T50" fmla="*/ 238 w 399"/>
                <a:gd name="T51" fmla="*/ 302 h 314"/>
                <a:gd name="T52" fmla="*/ 240 w 399"/>
                <a:gd name="T53" fmla="*/ 303 h 314"/>
                <a:gd name="T54" fmla="*/ 260 w 399"/>
                <a:gd name="T55" fmla="*/ 280 h 314"/>
                <a:gd name="T56" fmla="*/ 295 w 399"/>
                <a:gd name="T57" fmla="*/ 269 h 314"/>
                <a:gd name="T58" fmla="*/ 333 w 399"/>
                <a:gd name="T59" fmla="*/ 263 h 314"/>
                <a:gd name="T60" fmla="*/ 389 w 399"/>
                <a:gd name="T61" fmla="*/ 244 h 314"/>
                <a:gd name="T62" fmla="*/ 391 w 399"/>
                <a:gd name="T63" fmla="*/ 237 h 314"/>
                <a:gd name="T64" fmla="*/ 397 w 399"/>
                <a:gd name="T65" fmla="*/ 217 h 314"/>
                <a:gd name="T66" fmla="*/ 398 w 399"/>
                <a:gd name="T67" fmla="*/ 204 h 314"/>
                <a:gd name="T68" fmla="*/ 395 w 399"/>
                <a:gd name="T69" fmla="*/ 197 h 314"/>
                <a:gd name="T70" fmla="*/ 344 w 399"/>
                <a:gd name="T71" fmla="*/ 189 h 314"/>
                <a:gd name="T72" fmla="*/ 329 w 399"/>
                <a:gd name="T73" fmla="*/ 172 h 314"/>
                <a:gd name="T74" fmla="*/ 320 w 399"/>
                <a:gd name="T75" fmla="*/ 157 h 314"/>
                <a:gd name="T76" fmla="*/ 323 w 399"/>
                <a:gd name="T77" fmla="*/ 153 h 314"/>
                <a:gd name="T78" fmla="*/ 319 w 399"/>
                <a:gd name="T79" fmla="*/ 153 h 314"/>
                <a:gd name="T80" fmla="*/ 315 w 399"/>
                <a:gd name="T81" fmla="*/ 154 h 314"/>
                <a:gd name="T82" fmla="*/ 311 w 399"/>
                <a:gd name="T83" fmla="*/ 150 h 314"/>
                <a:gd name="T84" fmla="*/ 295 w 399"/>
                <a:gd name="T85" fmla="*/ 125 h 314"/>
                <a:gd name="T86" fmla="*/ 299 w 399"/>
                <a:gd name="T87" fmla="*/ 117 h 314"/>
                <a:gd name="T88" fmla="*/ 294 w 399"/>
                <a:gd name="T89" fmla="*/ 108 h 314"/>
                <a:gd name="T90" fmla="*/ 286 w 399"/>
                <a:gd name="T91" fmla="*/ 102 h 314"/>
                <a:gd name="T92" fmla="*/ 279 w 399"/>
                <a:gd name="T93" fmla="*/ 94 h 314"/>
                <a:gd name="T94" fmla="*/ 272 w 399"/>
                <a:gd name="T95" fmla="*/ 91 h 314"/>
                <a:gd name="T96" fmla="*/ 265 w 399"/>
                <a:gd name="T97" fmla="*/ 75 h 314"/>
                <a:gd name="T98" fmla="*/ 261 w 399"/>
                <a:gd name="T99" fmla="*/ 75 h 314"/>
                <a:gd name="T100" fmla="*/ 247 w 399"/>
                <a:gd name="T101" fmla="*/ 70 h 314"/>
                <a:gd name="T102" fmla="*/ 247 w 399"/>
                <a:gd name="T103" fmla="*/ 69 h 314"/>
                <a:gd name="T104" fmla="*/ 246 w 399"/>
                <a:gd name="T105" fmla="*/ 68 h 314"/>
                <a:gd name="T106" fmla="*/ 229 w 399"/>
                <a:gd name="T107" fmla="*/ 64 h 314"/>
                <a:gd name="T108" fmla="*/ 224 w 399"/>
                <a:gd name="T109" fmla="*/ 64 h 314"/>
                <a:gd name="T110" fmla="*/ 184 w 399"/>
                <a:gd name="T111" fmla="*/ 54 h 314"/>
                <a:gd name="T112" fmla="*/ 143 w 399"/>
                <a:gd name="T113" fmla="*/ 22 h 314"/>
                <a:gd name="T114" fmla="*/ 116 w 399"/>
                <a:gd name="T115" fmla="*/ 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9" h="314">
                  <a:moveTo>
                    <a:pt x="89" y="0"/>
                  </a:moveTo>
                  <a:cubicBezTo>
                    <a:pt x="88" y="1"/>
                    <a:pt x="88" y="1"/>
                    <a:pt x="88" y="1"/>
                  </a:cubicBezTo>
                  <a:cubicBezTo>
                    <a:pt x="85" y="2"/>
                    <a:pt x="82" y="3"/>
                    <a:pt x="78" y="4"/>
                  </a:cubicBezTo>
                  <a:cubicBezTo>
                    <a:pt x="78" y="5"/>
                    <a:pt x="78" y="5"/>
                    <a:pt x="78" y="5"/>
                  </a:cubicBezTo>
                  <a:cubicBezTo>
                    <a:pt x="76" y="5"/>
                    <a:pt x="75" y="5"/>
                    <a:pt x="73" y="6"/>
                  </a:cubicBezTo>
                  <a:cubicBezTo>
                    <a:pt x="67" y="8"/>
                    <a:pt x="60" y="10"/>
                    <a:pt x="54" y="12"/>
                  </a:cubicBezTo>
                  <a:cubicBezTo>
                    <a:pt x="52" y="12"/>
                    <a:pt x="52" y="12"/>
                    <a:pt x="52" y="12"/>
                  </a:cubicBezTo>
                  <a:cubicBezTo>
                    <a:pt x="56" y="16"/>
                    <a:pt x="60" y="21"/>
                    <a:pt x="64" y="25"/>
                  </a:cubicBezTo>
                  <a:cubicBezTo>
                    <a:pt x="64" y="26"/>
                    <a:pt x="64" y="26"/>
                    <a:pt x="65" y="26"/>
                  </a:cubicBezTo>
                  <a:cubicBezTo>
                    <a:pt x="65" y="27"/>
                    <a:pt x="65" y="27"/>
                    <a:pt x="65" y="27"/>
                  </a:cubicBezTo>
                  <a:cubicBezTo>
                    <a:pt x="66" y="27"/>
                    <a:pt x="66" y="28"/>
                    <a:pt x="66" y="28"/>
                  </a:cubicBezTo>
                  <a:cubicBezTo>
                    <a:pt x="67" y="29"/>
                    <a:pt x="67" y="29"/>
                    <a:pt x="67" y="29"/>
                  </a:cubicBezTo>
                  <a:cubicBezTo>
                    <a:pt x="68" y="30"/>
                    <a:pt x="69" y="31"/>
                    <a:pt x="69" y="32"/>
                  </a:cubicBezTo>
                  <a:cubicBezTo>
                    <a:pt x="69" y="33"/>
                    <a:pt x="69" y="35"/>
                    <a:pt x="60" y="42"/>
                  </a:cubicBezTo>
                  <a:cubicBezTo>
                    <a:pt x="59" y="44"/>
                    <a:pt x="59" y="44"/>
                    <a:pt x="58" y="44"/>
                  </a:cubicBezTo>
                  <a:cubicBezTo>
                    <a:pt x="57" y="46"/>
                    <a:pt x="54" y="46"/>
                    <a:pt x="52" y="46"/>
                  </a:cubicBezTo>
                  <a:cubicBezTo>
                    <a:pt x="52" y="46"/>
                    <a:pt x="52" y="46"/>
                    <a:pt x="52" y="46"/>
                  </a:cubicBezTo>
                  <a:cubicBezTo>
                    <a:pt x="51" y="46"/>
                    <a:pt x="51" y="46"/>
                    <a:pt x="50" y="46"/>
                  </a:cubicBezTo>
                  <a:cubicBezTo>
                    <a:pt x="49" y="47"/>
                    <a:pt x="49" y="47"/>
                    <a:pt x="48" y="47"/>
                  </a:cubicBezTo>
                  <a:cubicBezTo>
                    <a:pt x="47" y="47"/>
                    <a:pt x="47" y="47"/>
                    <a:pt x="47" y="47"/>
                  </a:cubicBezTo>
                  <a:cubicBezTo>
                    <a:pt x="47" y="47"/>
                    <a:pt x="46" y="47"/>
                    <a:pt x="45" y="47"/>
                  </a:cubicBezTo>
                  <a:cubicBezTo>
                    <a:pt x="43" y="48"/>
                    <a:pt x="42" y="50"/>
                    <a:pt x="40" y="52"/>
                  </a:cubicBezTo>
                  <a:cubicBezTo>
                    <a:pt x="39" y="53"/>
                    <a:pt x="39" y="53"/>
                    <a:pt x="38" y="54"/>
                  </a:cubicBezTo>
                  <a:cubicBezTo>
                    <a:pt x="36" y="57"/>
                    <a:pt x="36" y="57"/>
                    <a:pt x="36" y="57"/>
                  </a:cubicBezTo>
                  <a:cubicBezTo>
                    <a:pt x="34" y="59"/>
                    <a:pt x="32" y="61"/>
                    <a:pt x="31" y="61"/>
                  </a:cubicBezTo>
                  <a:cubicBezTo>
                    <a:pt x="31" y="62"/>
                    <a:pt x="30" y="62"/>
                    <a:pt x="29" y="62"/>
                  </a:cubicBezTo>
                  <a:cubicBezTo>
                    <a:pt x="28" y="62"/>
                    <a:pt x="27" y="62"/>
                    <a:pt x="24" y="61"/>
                  </a:cubicBezTo>
                  <a:cubicBezTo>
                    <a:pt x="24" y="61"/>
                    <a:pt x="24" y="61"/>
                    <a:pt x="24" y="61"/>
                  </a:cubicBezTo>
                  <a:cubicBezTo>
                    <a:pt x="23" y="61"/>
                    <a:pt x="23" y="61"/>
                    <a:pt x="23" y="61"/>
                  </a:cubicBezTo>
                  <a:cubicBezTo>
                    <a:pt x="11" y="59"/>
                    <a:pt x="11" y="59"/>
                    <a:pt x="11" y="59"/>
                  </a:cubicBezTo>
                  <a:cubicBezTo>
                    <a:pt x="10" y="59"/>
                    <a:pt x="10" y="59"/>
                    <a:pt x="10" y="59"/>
                  </a:cubicBezTo>
                  <a:cubicBezTo>
                    <a:pt x="10" y="59"/>
                    <a:pt x="10" y="59"/>
                    <a:pt x="9" y="59"/>
                  </a:cubicBezTo>
                  <a:cubicBezTo>
                    <a:pt x="9" y="60"/>
                    <a:pt x="9" y="60"/>
                    <a:pt x="9" y="60"/>
                  </a:cubicBezTo>
                  <a:cubicBezTo>
                    <a:pt x="8" y="59"/>
                    <a:pt x="8" y="59"/>
                    <a:pt x="8" y="59"/>
                  </a:cubicBezTo>
                  <a:cubicBezTo>
                    <a:pt x="7" y="65"/>
                    <a:pt x="5" y="70"/>
                    <a:pt x="4" y="75"/>
                  </a:cubicBezTo>
                  <a:cubicBezTo>
                    <a:pt x="3" y="76"/>
                    <a:pt x="0" y="83"/>
                    <a:pt x="2" y="84"/>
                  </a:cubicBezTo>
                  <a:cubicBezTo>
                    <a:pt x="2" y="84"/>
                    <a:pt x="2" y="84"/>
                    <a:pt x="2" y="84"/>
                  </a:cubicBezTo>
                  <a:cubicBezTo>
                    <a:pt x="3" y="84"/>
                    <a:pt x="3" y="82"/>
                    <a:pt x="3" y="82"/>
                  </a:cubicBezTo>
                  <a:cubicBezTo>
                    <a:pt x="3" y="82"/>
                    <a:pt x="3" y="82"/>
                    <a:pt x="4" y="82"/>
                  </a:cubicBezTo>
                  <a:cubicBezTo>
                    <a:pt x="4" y="82"/>
                    <a:pt x="4" y="82"/>
                    <a:pt x="5" y="82"/>
                  </a:cubicBezTo>
                  <a:cubicBezTo>
                    <a:pt x="5" y="82"/>
                    <a:pt x="5" y="82"/>
                    <a:pt x="6" y="82"/>
                  </a:cubicBezTo>
                  <a:cubicBezTo>
                    <a:pt x="6" y="82"/>
                    <a:pt x="6" y="82"/>
                    <a:pt x="6" y="82"/>
                  </a:cubicBezTo>
                  <a:cubicBezTo>
                    <a:pt x="6" y="82"/>
                    <a:pt x="7" y="82"/>
                    <a:pt x="7" y="82"/>
                  </a:cubicBezTo>
                  <a:cubicBezTo>
                    <a:pt x="7" y="82"/>
                    <a:pt x="8" y="82"/>
                    <a:pt x="8" y="82"/>
                  </a:cubicBezTo>
                  <a:cubicBezTo>
                    <a:pt x="8" y="82"/>
                    <a:pt x="9" y="82"/>
                    <a:pt x="9" y="82"/>
                  </a:cubicBezTo>
                  <a:cubicBezTo>
                    <a:pt x="9" y="82"/>
                    <a:pt x="9" y="82"/>
                    <a:pt x="9" y="82"/>
                  </a:cubicBezTo>
                  <a:cubicBezTo>
                    <a:pt x="11" y="82"/>
                    <a:pt x="12" y="83"/>
                    <a:pt x="14" y="85"/>
                  </a:cubicBezTo>
                  <a:cubicBezTo>
                    <a:pt x="18" y="91"/>
                    <a:pt x="22" y="98"/>
                    <a:pt x="27" y="104"/>
                  </a:cubicBezTo>
                  <a:cubicBezTo>
                    <a:pt x="31" y="111"/>
                    <a:pt x="34" y="120"/>
                    <a:pt x="41" y="125"/>
                  </a:cubicBezTo>
                  <a:cubicBezTo>
                    <a:pt x="42" y="125"/>
                    <a:pt x="42" y="126"/>
                    <a:pt x="42" y="127"/>
                  </a:cubicBezTo>
                  <a:cubicBezTo>
                    <a:pt x="42" y="130"/>
                    <a:pt x="43" y="131"/>
                    <a:pt x="45" y="133"/>
                  </a:cubicBezTo>
                  <a:cubicBezTo>
                    <a:pt x="47" y="136"/>
                    <a:pt x="51" y="140"/>
                    <a:pt x="52" y="143"/>
                  </a:cubicBezTo>
                  <a:cubicBezTo>
                    <a:pt x="53" y="145"/>
                    <a:pt x="53" y="148"/>
                    <a:pt x="54" y="151"/>
                  </a:cubicBezTo>
                  <a:cubicBezTo>
                    <a:pt x="55" y="154"/>
                    <a:pt x="56" y="156"/>
                    <a:pt x="58" y="159"/>
                  </a:cubicBezTo>
                  <a:cubicBezTo>
                    <a:pt x="59" y="161"/>
                    <a:pt x="61" y="161"/>
                    <a:pt x="64" y="161"/>
                  </a:cubicBezTo>
                  <a:cubicBezTo>
                    <a:pt x="67" y="161"/>
                    <a:pt x="71" y="166"/>
                    <a:pt x="73" y="168"/>
                  </a:cubicBezTo>
                  <a:cubicBezTo>
                    <a:pt x="74" y="169"/>
                    <a:pt x="75" y="170"/>
                    <a:pt x="76" y="172"/>
                  </a:cubicBezTo>
                  <a:cubicBezTo>
                    <a:pt x="78" y="176"/>
                    <a:pt x="80" y="179"/>
                    <a:pt x="82" y="183"/>
                  </a:cubicBezTo>
                  <a:cubicBezTo>
                    <a:pt x="84" y="187"/>
                    <a:pt x="85" y="191"/>
                    <a:pt x="87" y="195"/>
                  </a:cubicBezTo>
                  <a:cubicBezTo>
                    <a:pt x="88" y="196"/>
                    <a:pt x="88" y="197"/>
                    <a:pt x="88" y="198"/>
                  </a:cubicBezTo>
                  <a:cubicBezTo>
                    <a:pt x="88" y="199"/>
                    <a:pt x="87" y="200"/>
                    <a:pt x="87" y="200"/>
                  </a:cubicBezTo>
                  <a:cubicBezTo>
                    <a:pt x="86" y="203"/>
                    <a:pt x="87" y="206"/>
                    <a:pt x="87" y="210"/>
                  </a:cubicBezTo>
                  <a:cubicBezTo>
                    <a:pt x="88" y="214"/>
                    <a:pt x="87" y="221"/>
                    <a:pt x="90" y="225"/>
                  </a:cubicBezTo>
                  <a:cubicBezTo>
                    <a:pt x="91" y="227"/>
                    <a:pt x="93" y="228"/>
                    <a:pt x="94" y="230"/>
                  </a:cubicBezTo>
                  <a:cubicBezTo>
                    <a:pt x="96" y="234"/>
                    <a:pt x="99" y="238"/>
                    <a:pt x="103" y="240"/>
                  </a:cubicBezTo>
                  <a:cubicBezTo>
                    <a:pt x="103" y="240"/>
                    <a:pt x="103" y="240"/>
                    <a:pt x="103" y="240"/>
                  </a:cubicBezTo>
                  <a:cubicBezTo>
                    <a:pt x="104" y="240"/>
                    <a:pt x="105" y="240"/>
                    <a:pt x="107" y="240"/>
                  </a:cubicBezTo>
                  <a:cubicBezTo>
                    <a:pt x="108" y="241"/>
                    <a:pt x="110" y="243"/>
                    <a:pt x="112" y="244"/>
                  </a:cubicBezTo>
                  <a:cubicBezTo>
                    <a:pt x="113" y="245"/>
                    <a:pt x="113" y="246"/>
                    <a:pt x="114" y="248"/>
                  </a:cubicBezTo>
                  <a:cubicBezTo>
                    <a:pt x="118" y="254"/>
                    <a:pt x="122" y="260"/>
                    <a:pt x="126" y="267"/>
                  </a:cubicBezTo>
                  <a:cubicBezTo>
                    <a:pt x="129" y="272"/>
                    <a:pt x="132" y="277"/>
                    <a:pt x="135" y="282"/>
                  </a:cubicBezTo>
                  <a:cubicBezTo>
                    <a:pt x="137" y="286"/>
                    <a:pt x="143" y="290"/>
                    <a:pt x="146" y="293"/>
                  </a:cubicBezTo>
                  <a:cubicBezTo>
                    <a:pt x="150" y="297"/>
                    <a:pt x="148" y="299"/>
                    <a:pt x="150" y="304"/>
                  </a:cubicBezTo>
                  <a:cubicBezTo>
                    <a:pt x="150" y="304"/>
                    <a:pt x="150" y="304"/>
                    <a:pt x="150" y="304"/>
                  </a:cubicBezTo>
                  <a:cubicBezTo>
                    <a:pt x="155" y="304"/>
                    <a:pt x="156" y="310"/>
                    <a:pt x="157" y="314"/>
                  </a:cubicBezTo>
                  <a:cubicBezTo>
                    <a:pt x="158" y="313"/>
                    <a:pt x="160" y="312"/>
                    <a:pt x="162" y="311"/>
                  </a:cubicBezTo>
                  <a:cubicBezTo>
                    <a:pt x="163" y="310"/>
                    <a:pt x="163" y="310"/>
                    <a:pt x="163" y="310"/>
                  </a:cubicBezTo>
                  <a:cubicBezTo>
                    <a:pt x="163" y="310"/>
                    <a:pt x="163" y="310"/>
                    <a:pt x="163" y="309"/>
                  </a:cubicBezTo>
                  <a:cubicBezTo>
                    <a:pt x="162" y="308"/>
                    <a:pt x="162" y="307"/>
                    <a:pt x="162" y="307"/>
                  </a:cubicBezTo>
                  <a:cubicBezTo>
                    <a:pt x="162" y="306"/>
                    <a:pt x="162" y="305"/>
                    <a:pt x="162" y="304"/>
                  </a:cubicBezTo>
                  <a:cubicBezTo>
                    <a:pt x="162" y="304"/>
                    <a:pt x="162" y="303"/>
                    <a:pt x="162" y="303"/>
                  </a:cubicBezTo>
                  <a:cubicBezTo>
                    <a:pt x="162" y="302"/>
                    <a:pt x="163" y="301"/>
                    <a:pt x="163" y="300"/>
                  </a:cubicBezTo>
                  <a:cubicBezTo>
                    <a:pt x="165" y="294"/>
                    <a:pt x="167" y="293"/>
                    <a:pt x="169" y="293"/>
                  </a:cubicBezTo>
                  <a:cubicBezTo>
                    <a:pt x="169" y="293"/>
                    <a:pt x="169" y="293"/>
                    <a:pt x="169" y="293"/>
                  </a:cubicBezTo>
                  <a:cubicBezTo>
                    <a:pt x="170" y="293"/>
                    <a:pt x="171" y="293"/>
                    <a:pt x="172" y="293"/>
                  </a:cubicBezTo>
                  <a:cubicBezTo>
                    <a:pt x="173" y="293"/>
                    <a:pt x="174" y="293"/>
                    <a:pt x="175" y="293"/>
                  </a:cubicBezTo>
                  <a:cubicBezTo>
                    <a:pt x="176" y="294"/>
                    <a:pt x="176" y="294"/>
                    <a:pt x="177" y="295"/>
                  </a:cubicBezTo>
                  <a:cubicBezTo>
                    <a:pt x="177" y="295"/>
                    <a:pt x="178" y="296"/>
                    <a:pt x="179" y="296"/>
                  </a:cubicBezTo>
                  <a:cubicBezTo>
                    <a:pt x="179" y="296"/>
                    <a:pt x="179" y="296"/>
                    <a:pt x="179" y="296"/>
                  </a:cubicBezTo>
                  <a:cubicBezTo>
                    <a:pt x="179" y="296"/>
                    <a:pt x="179" y="296"/>
                    <a:pt x="180" y="296"/>
                  </a:cubicBezTo>
                  <a:cubicBezTo>
                    <a:pt x="180" y="296"/>
                    <a:pt x="181" y="296"/>
                    <a:pt x="182" y="296"/>
                  </a:cubicBezTo>
                  <a:cubicBezTo>
                    <a:pt x="182" y="296"/>
                    <a:pt x="183" y="296"/>
                    <a:pt x="184" y="296"/>
                  </a:cubicBezTo>
                  <a:cubicBezTo>
                    <a:pt x="184" y="296"/>
                    <a:pt x="184" y="296"/>
                    <a:pt x="184" y="296"/>
                  </a:cubicBezTo>
                  <a:cubicBezTo>
                    <a:pt x="185" y="296"/>
                    <a:pt x="186" y="296"/>
                    <a:pt x="187" y="295"/>
                  </a:cubicBezTo>
                  <a:cubicBezTo>
                    <a:pt x="188" y="295"/>
                    <a:pt x="189" y="295"/>
                    <a:pt x="190" y="295"/>
                  </a:cubicBezTo>
                  <a:cubicBezTo>
                    <a:pt x="193" y="295"/>
                    <a:pt x="196" y="294"/>
                    <a:pt x="199" y="294"/>
                  </a:cubicBezTo>
                  <a:cubicBezTo>
                    <a:pt x="201" y="294"/>
                    <a:pt x="202" y="294"/>
                    <a:pt x="203" y="294"/>
                  </a:cubicBezTo>
                  <a:cubicBezTo>
                    <a:pt x="209" y="294"/>
                    <a:pt x="215" y="295"/>
                    <a:pt x="221" y="296"/>
                  </a:cubicBezTo>
                  <a:cubicBezTo>
                    <a:pt x="225" y="296"/>
                    <a:pt x="228" y="296"/>
                    <a:pt x="231" y="297"/>
                  </a:cubicBezTo>
                  <a:cubicBezTo>
                    <a:pt x="232" y="297"/>
                    <a:pt x="232" y="297"/>
                    <a:pt x="232" y="297"/>
                  </a:cubicBezTo>
                  <a:cubicBezTo>
                    <a:pt x="232" y="297"/>
                    <a:pt x="232" y="297"/>
                    <a:pt x="233" y="297"/>
                  </a:cubicBezTo>
                  <a:cubicBezTo>
                    <a:pt x="233" y="297"/>
                    <a:pt x="233" y="297"/>
                    <a:pt x="233" y="297"/>
                  </a:cubicBezTo>
                  <a:cubicBezTo>
                    <a:pt x="235" y="297"/>
                    <a:pt x="237" y="300"/>
                    <a:pt x="238" y="301"/>
                  </a:cubicBezTo>
                  <a:cubicBezTo>
                    <a:pt x="238" y="302"/>
                    <a:pt x="238" y="302"/>
                    <a:pt x="238" y="302"/>
                  </a:cubicBezTo>
                  <a:cubicBezTo>
                    <a:pt x="239" y="303"/>
                    <a:pt x="239" y="303"/>
                    <a:pt x="239" y="303"/>
                  </a:cubicBezTo>
                  <a:cubicBezTo>
                    <a:pt x="239" y="303"/>
                    <a:pt x="239" y="303"/>
                    <a:pt x="239" y="303"/>
                  </a:cubicBezTo>
                  <a:cubicBezTo>
                    <a:pt x="240" y="303"/>
                    <a:pt x="240" y="303"/>
                    <a:pt x="240" y="303"/>
                  </a:cubicBezTo>
                  <a:cubicBezTo>
                    <a:pt x="240" y="303"/>
                    <a:pt x="240" y="303"/>
                    <a:pt x="240" y="303"/>
                  </a:cubicBezTo>
                  <a:cubicBezTo>
                    <a:pt x="241" y="302"/>
                    <a:pt x="242" y="302"/>
                    <a:pt x="243" y="302"/>
                  </a:cubicBezTo>
                  <a:cubicBezTo>
                    <a:pt x="244" y="301"/>
                    <a:pt x="245" y="300"/>
                    <a:pt x="246" y="299"/>
                  </a:cubicBezTo>
                  <a:cubicBezTo>
                    <a:pt x="259" y="281"/>
                    <a:pt x="259" y="281"/>
                    <a:pt x="259" y="281"/>
                  </a:cubicBezTo>
                  <a:cubicBezTo>
                    <a:pt x="259" y="281"/>
                    <a:pt x="259" y="280"/>
                    <a:pt x="260" y="280"/>
                  </a:cubicBezTo>
                  <a:cubicBezTo>
                    <a:pt x="262" y="278"/>
                    <a:pt x="266" y="276"/>
                    <a:pt x="269" y="275"/>
                  </a:cubicBezTo>
                  <a:cubicBezTo>
                    <a:pt x="270" y="274"/>
                    <a:pt x="270" y="274"/>
                    <a:pt x="270" y="274"/>
                  </a:cubicBezTo>
                  <a:cubicBezTo>
                    <a:pt x="271" y="274"/>
                    <a:pt x="272" y="273"/>
                    <a:pt x="273" y="273"/>
                  </a:cubicBezTo>
                  <a:cubicBezTo>
                    <a:pt x="280" y="270"/>
                    <a:pt x="288" y="269"/>
                    <a:pt x="295" y="269"/>
                  </a:cubicBezTo>
                  <a:cubicBezTo>
                    <a:pt x="299" y="268"/>
                    <a:pt x="299" y="268"/>
                    <a:pt x="299" y="268"/>
                  </a:cubicBezTo>
                  <a:cubicBezTo>
                    <a:pt x="305" y="268"/>
                    <a:pt x="314" y="266"/>
                    <a:pt x="323" y="265"/>
                  </a:cubicBezTo>
                  <a:cubicBezTo>
                    <a:pt x="326" y="264"/>
                    <a:pt x="329" y="264"/>
                    <a:pt x="332" y="263"/>
                  </a:cubicBezTo>
                  <a:cubicBezTo>
                    <a:pt x="333" y="263"/>
                    <a:pt x="333" y="263"/>
                    <a:pt x="333" y="263"/>
                  </a:cubicBezTo>
                  <a:cubicBezTo>
                    <a:pt x="335" y="262"/>
                    <a:pt x="336" y="262"/>
                    <a:pt x="337" y="261"/>
                  </a:cubicBezTo>
                  <a:cubicBezTo>
                    <a:pt x="366" y="251"/>
                    <a:pt x="366" y="251"/>
                    <a:pt x="366" y="251"/>
                  </a:cubicBezTo>
                  <a:cubicBezTo>
                    <a:pt x="373" y="249"/>
                    <a:pt x="379" y="247"/>
                    <a:pt x="386" y="245"/>
                  </a:cubicBezTo>
                  <a:cubicBezTo>
                    <a:pt x="389" y="244"/>
                    <a:pt x="389" y="244"/>
                    <a:pt x="389" y="244"/>
                  </a:cubicBezTo>
                  <a:cubicBezTo>
                    <a:pt x="389" y="243"/>
                    <a:pt x="389" y="243"/>
                    <a:pt x="389" y="243"/>
                  </a:cubicBezTo>
                  <a:cubicBezTo>
                    <a:pt x="389" y="242"/>
                    <a:pt x="390" y="241"/>
                    <a:pt x="390" y="240"/>
                  </a:cubicBezTo>
                  <a:cubicBezTo>
                    <a:pt x="390" y="239"/>
                    <a:pt x="390" y="239"/>
                    <a:pt x="390" y="239"/>
                  </a:cubicBezTo>
                  <a:cubicBezTo>
                    <a:pt x="390" y="238"/>
                    <a:pt x="391" y="238"/>
                    <a:pt x="391" y="237"/>
                  </a:cubicBezTo>
                  <a:cubicBezTo>
                    <a:pt x="391" y="236"/>
                    <a:pt x="391" y="235"/>
                    <a:pt x="392" y="234"/>
                  </a:cubicBezTo>
                  <a:cubicBezTo>
                    <a:pt x="392" y="234"/>
                    <a:pt x="392" y="233"/>
                    <a:pt x="392" y="233"/>
                  </a:cubicBezTo>
                  <a:cubicBezTo>
                    <a:pt x="393" y="231"/>
                    <a:pt x="393" y="229"/>
                    <a:pt x="394" y="228"/>
                  </a:cubicBezTo>
                  <a:cubicBezTo>
                    <a:pt x="397" y="217"/>
                    <a:pt x="397" y="217"/>
                    <a:pt x="397" y="217"/>
                  </a:cubicBezTo>
                  <a:cubicBezTo>
                    <a:pt x="398" y="215"/>
                    <a:pt x="398" y="213"/>
                    <a:pt x="399" y="211"/>
                  </a:cubicBezTo>
                  <a:cubicBezTo>
                    <a:pt x="399" y="210"/>
                    <a:pt x="399" y="209"/>
                    <a:pt x="399" y="207"/>
                  </a:cubicBezTo>
                  <a:cubicBezTo>
                    <a:pt x="399" y="207"/>
                    <a:pt x="399" y="206"/>
                    <a:pt x="398" y="205"/>
                  </a:cubicBezTo>
                  <a:cubicBezTo>
                    <a:pt x="398" y="204"/>
                    <a:pt x="398" y="204"/>
                    <a:pt x="398" y="204"/>
                  </a:cubicBezTo>
                  <a:cubicBezTo>
                    <a:pt x="398" y="204"/>
                    <a:pt x="398" y="204"/>
                    <a:pt x="398" y="204"/>
                  </a:cubicBezTo>
                  <a:cubicBezTo>
                    <a:pt x="398" y="203"/>
                    <a:pt x="397" y="202"/>
                    <a:pt x="397" y="201"/>
                  </a:cubicBezTo>
                  <a:cubicBezTo>
                    <a:pt x="397" y="200"/>
                    <a:pt x="397" y="200"/>
                    <a:pt x="397" y="200"/>
                  </a:cubicBezTo>
                  <a:cubicBezTo>
                    <a:pt x="396" y="199"/>
                    <a:pt x="395" y="198"/>
                    <a:pt x="395" y="197"/>
                  </a:cubicBezTo>
                  <a:cubicBezTo>
                    <a:pt x="395" y="196"/>
                    <a:pt x="395" y="196"/>
                    <a:pt x="395" y="196"/>
                  </a:cubicBezTo>
                  <a:cubicBezTo>
                    <a:pt x="394" y="196"/>
                    <a:pt x="394" y="195"/>
                    <a:pt x="393" y="194"/>
                  </a:cubicBezTo>
                  <a:cubicBezTo>
                    <a:pt x="392" y="194"/>
                    <a:pt x="392" y="194"/>
                    <a:pt x="392" y="194"/>
                  </a:cubicBezTo>
                  <a:cubicBezTo>
                    <a:pt x="344" y="189"/>
                    <a:pt x="344" y="189"/>
                    <a:pt x="344" y="189"/>
                  </a:cubicBezTo>
                  <a:cubicBezTo>
                    <a:pt x="343" y="189"/>
                    <a:pt x="343" y="188"/>
                    <a:pt x="342" y="188"/>
                  </a:cubicBezTo>
                  <a:cubicBezTo>
                    <a:pt x="340" y="185"/>
                    <a:pt x="337" y="182"/>
                    <a:pt x="335" y="178"/>
                  </a:cubicBezTo>
                  <a:cubicBezTo>
                    <a:pt x="330" y="173"/>
                    <a:pt x="330" y="173"/>
                    <a:pt x="330" y="173"/>
                  </a:cubicBezTo>
                  <a:cubicBezTo>
                    <a:pt x="329" y="172"/>
                    <a:pt x="329" y="172"/>
                    <a:pt x="329" y="172"/>
                  </a:cubicBezTo>
                  <a:cubicBezTo>
                    <a:pt x="326" y="169"/>
                    <a:pt x="324" y="166"/>
                    <a:pt x="323" y="163"/>
                  </a:cubicBezTo>
                  <a:cubicBezTo>
                    <a:pt x="322" y="160"/>
                    <a:pt x="322" y="160"/>
                    <a:pt x="322" y="160"/>
                  </a:cubicBezTo>
                  <a:cubicBezTo>
                    <a:pt x="322" y="160"/>
                    <a:pt x="321" y="160"/>
                    <a:pt x="320" y="159"/>
                  </a:cubicBezTo>
                  <a:cubicBezTo>
                    <a:pt x="319" y="159"/>
                    <a:pt x="320" y="157"/>
                    <a:pt x="320" y="157"/>
                  </a:cubicBezTo>
                  <a:cubicBezTo>
                    <a:pt x="321" y="156"/>
                    <a:pt x="322" y="156"/>
                    <a:pt x="323" y="155"/>
                  </a:cubicBezTo>
                  <a:cubicBezTo>
                    <a:pt x="323" y="154"/>
                    <a:pt x="323" y="154"/>
                    <a:pt x="323" y="154"/>
                  </a:cubicBezTo>
                  <a:cubicBezTo>
                    <a:pt x="323" y="153"/>
                    <a:pt x="323" y="153"/>
                    <a:pt x="323" y="153"/>
                  </a:cubicBezTo>
                  <a:cubicBezTo>
                    <a:pt x="323" y="153"/>
                    <a:pt x="323" y="153"/>
                    <a:pt x="323" y="153"/>
                  </a:cubicBezTo>
                  <a:cubicBezTo>
                    <a:pt x="322" y="153"/>
                    <a:pt x="321" y="153"/>
                    <a:pt x="321" y="153"/>
                  </a:cubicBezTo>
                  <a:cubicBezTo>
                    <a:pt x="321" y="153"/>
                    <a:pt x="321" y="153"/>
                    <a:pt x="321" y="153"/>
                  </a:cubicBezTo>
                  <a:cubicBezTo>
                    <a:pt x="320" y="153"/>
                    <a:pt x="320" y="153"/>
                    <a:pt x="320" y="153"/>
                  </a:cubicBezTo>
                  <a:cubicBezTo>
                    <a:pt x="319" y="153"/>
                    <a:pt x="319" y="153"/>
                    <a:pt x="319" y="153"/>
                  </a:cubicBezTo>
                  <a:cubicBezTo>
                    <a:pt x="318" y="153"/>
                    <a:pt x="318" y="153"/>
                    <a:pt x="317" y="153"/>
                  </a:cubicBezTo>
                  <a:cubicBezTo>
                    <a:pt x="316" y="154"/>
                    <a:pt x="316" y="154"/>
                    <a:pt x="315" y="154"/>
                  </a:cubicBezTo>
                  <a:cubicBezTo>
                    <a:pt x="315" y="154"/>
                    <a:pt x="315" y="154"/>
                    <a:pt x="315" y="154"/>
                  </a:cubicBezTo>
                  <a:cubicBezTo>
                    <a:pt x="315" y="154"/>
                    <a:pt x="315" y="154"/>
                    <a:pt x="315" y="154"/>
                  </a:cubicBezTo>
                  <a:cubicBezTo>
                    <a:pt x="314" y="154"/>
                    <a:pt x="314" y="154"/>
                    <a:pt x="314" y="154"/>
                  </a:cubicBezTo>
                  <a:cubicBezTo>
                    <a:pt x="314" y="154"/>
                    <a:pt x="314" y="154"/>
                    <a:pt x="314" y="154"/>
                  </a:cubicBezTo>
                  <a:cubicBezTo>
                    <a:pt x="314" y="153"/>
                    <a:pt x="314" y="153"/>
                    <a:pt x="314" y="153"/>
                  </a:cubicBezTo>
                  <a:cubicBezTo>
                    <a:pt x="312" y="153"/>
                    <a:pt x="312" y="152"/>
                    <a:pt x="311" y="150"/>
                  </a:cubicBezTo>
                  <a:cubicBezTo>
                    <a:pt x="311" y="149"/>
                    <a:pt x="311" y="149"/>
                    <a:pt x="311" y="149"/>
                  </a:cubicBezTo>
                  <a:cubicBezTo>
                    <a:pt x="310" y="149"/>
                    <a:pt x="310" y="149"/>
                    <a:pt x="310" y="149"/>
                  </a:cubicBezTo>
                  <a:cubicBezTo>
                    <a:pt x="308" y="145"/>
                    <a:pt x="305" y="141"/>
                    <a:pt x="303" y="137"/>
                  </a:cubicBezTo>
                  <a:cubicBezTo>
                    <a:pt x="300" y="133"/>
                    <a:pt x="296" y="129"/>
                    <a:pt x="295" y="125"/>
                  </a:cubicBezTo>
                  <a:cubicBezTo>
                    <a:pt x="295" y="124"/>
                    <a:pt x="295" y="122"/>
                    <a:pt x="295" y="122"/>
                  </a:cubicBezTo>
                  <a:cubicBezTo>
                    <a:pt x="295" y="122"/>
                    <a:pt x="296" y="121"/>
                    <a:pt x="296" y="121"/>
                  </a:cubicBezTo>
                  <a:cubicBezTo>
                    <a:pt x="297" y="121"/>
                    <a:pt x="297" y="123"/>
                    <a:pt x="298" y="124"/>
                  </a:cubicBezTo>
                  <a:cubicBezTo>
                    <a:pt x="298" y="123"/>
                    <a:pt x="300" y="119"/>
                    <a:pt x="299" y="117"/>
                  </a:cubicBezTo>
                  <a:cubicBezTo>
                    <a:pt x="298" y="114"/>
                    <a:pt x="294" y="114"/>
                    <a:pt x="295" y="110"/>
                  </a:cubicBezTo>
                  <a:cubicBezTo>
                    <a:pt x="296" y="111"/>
                    <a:pt x="297" y="111"/>
                    <a:pt x="298" y="111"/>
                  </a:cubicBezTo>
                  <a:cubicBezTo>
                    <a:pt x="298" y="111"/>
                    <a:pt x="298" y="111"/>
                    <a:pt x="298" y="111"/>
                  </a:cubicBezTo>
                  <a:cubicBezTo>
                    <a:pt x="296" y="110"/>
                    <a:pt x="296" y="109"/>
                    <a:pt x="294" y="108"/>
                  </a:cubicBezTo>
                  <a:cubicBezTo>
                    <a:pt x="293" y="107"/>
                    <a:pt x="292" y="107"/>
                    <a:pt x="291" y="106"/>
                  </a:cubicBezTo>
                  <a:cubicBezTo>
                    <a:pt x="289" y="105"/>
                    <a:pt x="288" y="101"/>
                    <a:pt x="286" y="101"/>
                  </a:cubicBezTo>
                  <a:cubicBezTo>
                    <a:pt x="286" y="101"/>
                    <a:pt x="286" y="101"/>
                    <a:pt x="286" y="101"/>
                  </a:cubicBezTo>
                  <a:cubicBezTo>
                    <a:pt x="286" y="102"/>
                    <a:pt x="286" y="102"/>
                    <a:pt x="286" y="102"/>
                  </a:cubicBezTo>
                  <a:cubicBezTo>
                    <a:pt x="283" y="101"/>
                    <a:pt x="282" y="97"/>
                    <a:pt x="279" y="96"/>
                  </a:cubicBezTo>
                  <a:cubicBezTo>
                    <a:pt x="280" y="96"/>
                    <a:pt x="281" y="95"/>
                    <a:pt x="282" y="95"/>
                  </a:cubicBezTo>
                  <a:cubicBezTo>
                    <a:pt x="281" y="94"/>
                    <a:pt x="281" y="94"/>
                    <a:pt x="280" y="94"/>
                  </a:cubicBezTo>
                  <a:cubicBezTo>
                    <a:pt x="280" y="94"/>
                    <a:pt x="280" y="94"/>
                    <a:pt x="279" y="94"/>
                  </a:cubicBezTo>
                  <a:cubicBezTo>
                    <a:pt x="279" y="94"/>
                    <a:pt x="279" y="94"/>
                    <a:pt x="279" y="94"/>
                  </a:cubicBezTo>
                  <a:cubicBezTo>
                    <a:pt x="279" y="94"/>
                    <a:pt x="278" y="94"/>
                    <a:pt x="278" y="93"/>
                  </a:cubicBezTo>
                  <a:cubicBezTo>
                    <a:pt x="277" y="93"/>
                    <a:pt x="276" y="92"/>
                    <a:pt x="276" y="92"/>
                  </a:cubicBezTo>
                  <a:cubicBezTo>
                    <a:pt x="274" y="91"/>
                    <a:pt x="273" y="93"/>
                    <a:pt x="272" y="91"/>
                  </a:cubicBezTo>
                  <a:cubicBezTo>
                    <a:pt x="271" y="89"/>
                    <a:pt x="271" y="86"/>
                    <a:pt x="270" y="84"/>
                  </a:cubicBezTo>
                  <a:cubicBezTo>
                    <a:pt x="269" y="81"/>
                    <a:pt x="267" y="78"/>
                    <a:pt x="266" y="75"/>
                  </a:cubicBezTo>
                  <a:cubicBezTo>
                    <a:pt x="266" y="76"/>
                    <a:pt x="266" y="76"/>
                    <a:pt x="266" y="76"/>
                  </a:cubicBezTo>
                  <a:cubicBezTo>
                    <a:pt x="265" y="75"/>
                    <a:pt x="265" y="75"/>
                    <a:pt x="265" y="75"/>
                  </a:cubicBezTo>
                  <a:cubicBezTo>
                    <a:pt x="264" y="75"/>
                    <a:pt x="264" y="75"/>
                    <a:pt x="264" y="75"/>
                  </a:cubicBezTo>
                  <a:cubicBezTo>
                    <a:pt x="264" y="75"/>
                    <a:pt x="264" y="75"/>
                    <a:pt x="264" y="75"/>
                  </a:cubicBezTo>
                  <a:cubicBezTo>
                    <a:pt x="263" y="75"/>
                    <a:pt x="262" y="75"/>
                    <a:pt x="262" y="75"/>
                  </a:cubicBezTo>
                  <a:cubicBezTo>
                    <a:pt x="261" y="75"/>
                    <a:pt x="261" y="75"/>
                    <a:pt x="261" y="75"/>
                  </a:cubicBezTo>
                  <a:cubicBezTo>
                    <a:pt x="260" y="76"/>
                    <a:pt x="258" y="76"/>
                    <a:pt x="257" y="76"/>
                  </a:cubicBezTo>
                  <a:cubicBezTo>
                    <a:pt x="254" y="76"/>
                    <a:pt x="252" y="75"/>
                    <a:pt x="251" y="75"/>
                  </a:cubicBezTo>
                  <a:cubicBezTo>
                    <a:pt x="249" y="74"/>
                    <a:pt x="248" y="73"/>
                    <a:pt x="247" y="72"/>
                  </a:cubicBezTo>
                  <a:cubicBezTo>
                    <a:pt x="247" y="71"/>
                    <a:pt x="247" y="71"/>
                    <a:pt x="247" y="70"/>
                  </a:cubicBezTo>
                  <a:cubicBezTo>
                    <a:pt x="247" y="70"/>
                    <a:pt x="247" y="70"/>
                    <a:pt x="247" y="70"/>
                  </a:cubicBezTo>
                  <a:cubicBezTo>
                    <a:pt x="247" y="70"/>
                    <a:pt x="247" y="70"/>
                    <a:pt x="247" y="70"/>
                  </a:cubicBezTo>
                  <a:cubicBezTo>
                    <a:pt x="247" y="69"/>
                    <a:pt x="247" y="69"/>
                    <a:pt x="247" y="69"/>
                  </a:cubicBezTo>
                  <a:cubicBezTo>
                    <a:pt x="247" y="69"/>
                    <a:pt x="247" y="69"/>
                    <a:pt x="247" y="69"/>
                  </a:cubicBezTo>
                  <a:cubicBezTo>
                    <a:pt x="246" y="68"/>
                    <a:pt x="246" y="68"/>
                    <a:pt x="246" y="68"/>
                  </a:cubicBezTo>
                  <a:cubicBezTo>
                    <a:pt x="246" y="68"/>
                    <a:pt x="246" y="68"/>
                    <a:pt x="246" y="68"/>
                  </a:cubicBezTo>
                  <a:cubicBezTo>
                    <a:pt x="246" y="68"/>
                    <a:pt x="246" y="68"/>
                    <a:pt x="246" y="68"/>
                  </a:cubicBezTo>
                  <a:cubicBezTo>
                    <a:pt x="246" y="68"/>
                    <a:pt x="246" y="68"/>
                    <a:pt x="246" y="68"/>
                  </a:cubicBezTo>
                  <a:cubicBezTo>
                    <a:pt x="230" y="64"/>
                    <a:pt x="230" y="64"/>
                    <a:pt x="230" y="64"/>
                  </a:cubicBezTo>
                  <a:cubicBezTo>
                    <a:pt x="230" y="64"/>
                    <a:pt x="230" y="64"/>
                    <a:pt x="230" y="64"/>
                  </a:cubicBezTo>
                  <a:cubicBezTo>
                    <a:pt x="229" y="64"/>
                    <a:pt x="229" y="64"/>
                    <a:pt x="229" y="64"/>
                  </a:cubicBezTo>
                  <a:cubicBezTo>
                    <a:pt x="229" y="64"/>
                    <a:pt x="229" y="64"/>
                    <a:pt x="229" y="64"/>
                  </a:cubicBezTo>
                  <a:cubicBezTo>
                    <a:pt x="228" y="64"/>
                    <a:pt x="228" y="64"/>
                    <a:pt x="227" y="64"/>
                  </a:cubicBezTo>
                  <a:cubicBezTo>
                    <a:pt x="227" y="64"/>
                    <a:pt x="227" y="64"/>
                    <a:pt x="227" y="64"/>
                  </a:cubicBezTo>
                  <a:cubicBezTo>
                    <a:pt x="226" y="64"/>
                    <a:pt x="225" y="64"/>
                    <a:pt x="224" y="64"/>
                  </a:cubicBezTo>
                  <a:cubicBezTo>
                    <a:pt x="224" y="64"/>
                    <a:pt x="224" y="64"/>
                    <a:pt x="224" y="64"/>
                  </a:cubicBezTo>
                  <a:cubicBezTo>
                    <a:pt x="224" y="64"/>
                    <a:pt x="224" y="64"/>
                    <a:pt x="224" y="64"/>
                  </a:cubicBezTo>
                  <a:cubicBezTo>
                    <a:pt x="197" y="62"/>
                    <a:pt x="197" y="62"/>
                    <a:pt x="197" y="62"/>
                  </a:cubicBezTo>
                  <a:cubicBezTo>
                    <a:pt x="196" y="62"/>
                    <a:pt x="194" y="62"/>
                    <a:pt x="192" y="60"/>
                  </a:cubicBezTo>
                  <a:cubicBezTo>
                    <a:pt x="189" y="58"/>
                    <a:pt x="186" y="56"/>
                    <a:pt x="184" y="54"/>
                  </a:cubicBezTo>
                  <a:cubicBezTo>
                    <a:pt x="181" y="52"/>
                    <a:pt x="179" y="50"/>
                    <a:pt x="176" y="48"/>
                  </a:cubicBezTo>
                  <a:cubicBezTo>
                    <a:pt x="164" y="38"/>
                    <a:pt x="164" y="38"/>
                    <a:pt x="164" y="38"/>
                  </a:cubicBezTo>
                  <a:cubicBezTo>
                    <a:pt x="161" y="36"/>
                    <a:pt x="158" y="34"/>
                    <a:pt x="156" y="32"/>
                  </a:cubicBezTo>
                  <a:cubicBezTo>
                    <a:pt x="152" y="28"/>
                    <a:pt x="148" y="25"/>
                    <a:pt x="143" y="22"/>
                  </a:cubicBezTo>
                  <a:cubicBezTo>
                    <a:pt x="139" y="19"/>
                    <a:pt x="139" y="19"/>
                    <a:pt x="139" y="19"/>
                  </a:cubicBezTo>
                  <a:cubicBezTo>
                    <a:pt x="137" y="19"/>
                    <a:pt x="135" y="18"/>
                    <a:pt x="134" y="17"/>
                  </a:cubicBezTo>
                  <a:cubicBezTo>
                    <a:pt x="129" y="14"/>
                    <a:pt x="123" y="11"/>
                    <a:pt x="118" y="8"/>
                  </a:cubicBezTo>
                  <a:cubicBezTo>
                    <a:pt x="117" y="7"/>
                    <a:pt x="117" y="7"/>
                    <a:pt x="116" y="7"/>
                  </a:cubicBezTo>
                  <a:cubicBezTo>
                    <a:pt x="115" y="6"/>
                    <a:pt x="113" y="4"/>
                    <a:pt x="112" y="4"/>
                  </a:cubicBezTo>
                  <a:cubicBezTo>
                    <a:pt x="89" y="0"/>
                    <a:pt x="89"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Freeform 455">
              <a:extLst>
                <a:ext uri="{FF2B5EF4-FFF2-40B4-BE49-F238E27FC236}">
                  <a16:creationId xmlns:a16="http://schemas.microsoft.com/office/drawing/2014/main" id="{2289277A-D9FA-4497-A122-31DCE664AEAF}"/>
                </a:ext>
              </a:extLst>
            </p:cNvPr>
            <p:cNvSpPr>
              <a:spLocks/>
            </p:cNvSpPr>
            <p:nvPr/>
          </p:nvSpPr>
          <p:spPr bwMode="auto">
            <a:xfrm>
              <a:off x="4618766" y="6373802"/>
              <a:ext cx="259961" cy="321856"/>
            </a:xfrm>
            <a:custGeom>
              <a:avLst/>
              <a:gdLst>
                <a:gd name="T0" fmla="*/ 1 w 80"/>
                <a:gd name="T1" fmla="*/ 3 h 99"/>
                <a:gd name="T2" fmla="*/ 0 w 80"/>
                <a:gd name="T3" fmla="*/ 4 h 99"/>
                <a:gd name="T4" fmla="*/ 4 w 80"/>
                <a:gd name="T5" fmla="*/ 17 h 99"/>
                <a:gd name="T6" fmla="*/ 7 w 80"/>
                <a:gd name="T7" fmla="*/ 33 h 99"/>
                <a:gd name="T8" fmla="*/ 12 w 80"/>
                <a:gd name="T9" fmla="*/ 47 h 99"/>
                <a:gd name="T10" fmla="*/ 14 w 80"/>
                <a:gd name="T11" fmla="*/ 51 h 99"/>
                <a:gd name="T12" fmla="*/ 22 w 80"/>
                <a:gd name="T13" fmla="*/ 65 h 99"/>
                <a:gd name="T14" fmla="*/ 28 w 80"/>
                <a:gd name="T15" fmla="*/ 74 h 99"/>
                <a:gd name="T16" fmla="*/ 46 w 80"/>
                <a:gd name="T17" fmla="*/ 85 h 99"/>
                <a:gd name="T18" fmla="*/ 64 w 80"/>
                <a:gd name="T19" fmla="*/ 99 h 99"/>
                <a:gd name="T20" fmla="*/ 69 w 80"/>
                <a:gd name="T21" fmla="*/ 96 h 99"/>
                <a:gd name="T22" fmla="*/ 72 w 80"/>
                <a:gd name="T23" fmla="*/ 96 h 99"/>
                <a:gd name="T24" fmla="*/ 75 w 80"/>
                <a:gd name="T25" fmla="*/ 98 h 99"/>
                <a:gd name="T26" fmla="*/ 78 w 80"/>
                <a:gd name="T27" fmla="*/ 97 h 99"/>
                <a:gd name="T28" fmla="*/ 66 w 80"/>
                <a:gd name="T29" fmla="*/ 73 h 99"/>
                <a:gd name="T30" fmla="*/ 62 w 80"/>
                <a:gd name="T31" fmla="*/ 57 h 99"/>
                <a:gd name="T32" fmla="*/ 59 w 80"/>
                <a:gd name="T33" fmla="*/ 26 h 99"/>
                <a:gd name="T34" fmla="*/ 43 w 80"/>
                <a:gd name="T35" fmla="*/ 9 h 99"/>
                <a:gd name="T36" fmla="*/ 39 w 80"/>
                <a:gd name="T37" fmla="*/ 6 h 99"/>
                <a:gd name="T38" fmla="*/ 38 w 80"/>
                <a:gd name="T39" fmla="*/ 8 h 99"/>
                <a:gd name="T40" fmla="*/ 31 w 80"/>
                <a:gd name="T41" fmla="*/ 16 h 99"/>
                <a:gd name="T42" fmla="*/ 26 w 80"/>
                <a:gd name="T43" fmla="*/ 14 h 99"/>
                <a:gd name="T44" fmla="*/ 24 w 80"/>
                <a:gd name="T45" fmla="*/ 15 h 99"/>
                <a:gd name="T46" fmla="*/ 23 w 80"/>
                <a:gd name="T47" fmla="*/ 16 h 99"/>
                <a:gd name="T48" fmla="*/ 21 w 80"/>
                <a:gd name="T49" fmla="*/ 18 h 99"/>
                <a:gd name="T50" fmla="*/ 19 w 80"/>
                <a:gd name="T51" fmla="*/ 18 h 99"/>
                <a:gd name="T52" fmla="*/ 15 w 80"/>
                <a:gd name="T53" fmla="*/ 16 h 99"/>
                <a:gd name="T54" fmla="*/ 16 w 80"/>
                <a:gd name="T55" fmla="*/ 7 h 99"/>
                <a:gd name="T56" fmla="*/ 15 w 80"/>
                <a:gd name="T57" fmla="*/ 7 h 99"/>
                <a:gd name="T58" fmla="*/ 11 w 80"/>
                <a:gd name="T59" fmla="*/ 3 h 99"/>
                <a:gd name="T60" fmla="*/ 10 w 80"/>
                <a:gd name="T61" fmla="*/ 2 h 99"/>
                <a:gd name="T62" fmla="*/ 7 w 80"/>
                <a:gd name="T63" fmla="*/ 1 h 99"/>
                <a:gd name="T64" fmla="*/ 2 w 80"/>
                <a:gd name="T6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9">
                  <a:moveTo>
                    <a:pt x="2" y="0"/>
                  </a:moveTo>
                  <a:cubicBezTo>
                    <a:pt x="1" y="3"/>
                    <a:pt x="1" y="3"/>
                    <a:pt x="1" y="3"/>
                  </a:cubicBezTo>
                  <a:cubicBezTo>
                    <a:pt x="0" y="3"/>
                    <a:pt x="0" y="3"/>
                    <a:pt x="0" y="3"/>
                  </a:cubicBezTo>
                  <a:cubicBezTo>
                    <a:pt x="0" y="4"/>
                    <a:pt x="0" y="4"/>
                    <a:pt x="0" y="4"/>
                  </a:cubicBezTo>
                  <a:cubicBezTo>
                    <a:pt x="1" y="6"/>
                    <a:pt x="3" y="7"/>
                    <a:pt x="4" y="10"/>
                  </a:cubicBezTo>
                  <a:cubicBezTo>
                    <a:pt x="4" y="12"/>
                    <a:pt x="4" y="15"/>
                    <a:pt x="4" y="17"/>
                  </a:cubicBezTo>
                  <a:cubicBezTo>
                    <a:pt x="3" y="20"/>
                    <a:pt x="4" y="23"/>
                    <a:pt x="5" y="26"/>
                  </a:cubicBezTo>
                  <a:cubicBezTo>
                    <a:pt x="5" y="28"/>
                    <a:pt x="6" y="30"/>
                    <a:pt x="7" y="33"/>
                  </a:cubicBezTo>
                  <a:cubicBezTo>
                    <a:pt x="8" y="36"/>
                    <a:pt x="9" y="36"/>
                    <a:pt x="8" y="40"/>
                  </a:cubicBezTo>
                  <a:cubicBezTo>
                    <a:pt x="8" y="43"/>
                    <a:pt x="10" y="44"/>
                    <a:pt x="12" y="47"/>
                  </a:cubicBezTo>
                  <a:cubicBezTo>
                    <a:pt x="11" y="47"/>
                    <a:pt x="10" y="48"/>
                    <a:pt x="10" y="49"/>
                  </a:cubicBezTo>
                  <a:cubicBezTo>
                    <a:pt x="11" y="50"/>
                    <a:pt x="13" y="50"/>
                    <a:pt x="14" y="51"/>
                  </a:cubicBezTo>
                  <a:cubicBezTo>
                    <a:pt x="15" y="53"/>
                    <a:pt x="16" y="55"/>
                    <a:pt x="18" y="57"/>
                  </a:cubicBezTo>
                  <a:cubicBezTo>
                    <a:pt x="19" y="60"/>
                    <a:pt x="22" y="62"/>
                    <a:pt x="22" y="65"/>
                  </a:cubicBezTo>
                  <a:cubicBezTo>
                    <a:pt x="22" y="68"/>
                    <a:pt x="21" y="68"/>
                    <a:pt x="23" y="70"/>
                  </a:cubicBezTo>
                  <a:cubicBezTo>
                    <a:pt x="24" y="71"/>
                    <a:pt x="26" y="73"/>
                    <a:pt x="28" y="74"/>
                  </a:cubicBezTo>
                  <a:cubicBezTo>
                    <a:pt x="31" y="75"/>
                    <a:pt x="33" y="77"/>
                    <a:pt x="36" y="79"/>
                  </a:cubicBezTo>
                  <a:cubicBezTo>
                    <a:pt x="40" y="82"/>
                    <a:pt x="43" y="83"/>
                    <a:pt x="46" y="85"/>
                  </a:cubicBezTo>
                  <a:cubicBezTo>
                    <a:pt x="49" y="88"/>
                    <a:pt x="53" y="90"/>
                    <a:pt x="56" y="92"/>
                  </a:cubicBezTo>
                  <a:cubicBezTo>
                    <a:pt x="59" y="94"/>
                    <a:pt x="61" y="97"/>
                    <a:pt x="64" y="99"/>
                  </a:cubicBezTo>
                  <a:cubicBezTo>
                    <a:pt x="65" y="98"/>
                    <a:pt x="67" y="96"/>
                    <a:pt x="69" y="96"/>
                  </a:cubicBezTo>
                  <a:cubicBezTo>
                    <a:pt x="69" y="96"/>
                    <a:pt x="69" y="96"/>
                    <a:pt x="69" y="96"/>
                  </a:cubicBezTo>
                  <a:cubicBezTo>
                    <a:pt x="70" y="96"/>
                    <a:pt x="70" y="96"/>
                    <a:pt x="71" y="96"/>
                  </a:cubicBezTo>
                  <a:cubicBezTo>
                    <a:pt x="71" y="96"/>
                    <a:pt x="72" y="96"/>
                    <a:pt x="72" y="96"/>
                  </a:cubicBezTo>
                  <a:cubicBezTo>
                    <a:pt x="73" y="96"/>
                    <a:pt x="73" y="96"/>
                    <a:pt x="73" y="93"/>
                  </a:cubicBezTo>
                  <a:cubicBezTo>
                    <a:pt x="77" y="95"/>
                    <a:pt x="75" y="95"/>
                    <a:pt x="75" y="98"/>
                  </a:cubicBezTo>
                  <a:cubicBezTo>
                    <a:pt x="76" y="98"/>
                    <a:pt x="76" y="98"/>
                    <a:pt x="76" y="98"/>
                  </a:cubicBezTo>
                  <a:cubicBezTo>
                    <a:pt x="77" y="98"/>
                    <a:pt x="78" y="97"/>
                    <a:pt x="78" y="97"/>
                  </a:cubicBezTo>
                  <a:cubicBezTo>
                    <a:pt x="80" y="94"/>
                    <a:pt x="76" y="89"/>
                    <a:pt x="75" y="87"/>
                  </a:cubicBezTo>
                  <a:cubicBezTo>
                    <a:pt x="73" y="82"/>
                    <a:pt x="69" y="77"/>
                    <a:pt x="66" y="73"/>
                  </a:cubicBezTo>
                  <a:cubicBezTo>
                    <a:pt x="65" y="71"/>
                    <a:pt x="62" y="69"/>
                    <a:pt x="62" y="67"/>
                  </a:cubicBezTo>
                  <a:cubicBezTo>
                    <a:pt x="62" y="64"/>
                    <a:pt x="62" y="60"/>
                    <a:pt x="62" y="57"/>
                  </a:cubicBezTo>
                  <a:cubicBezTo>
                    <a:pt x="61" y="52"/>
                    <a:pt x="62" y="47"/>
                    <a:pt x="63" y="42"/>
                  </a:cubicBezTo>
                  <a:cubicBezTo>
                    <a:pt x="63" y="36"/>
                    <a:pt x="62" y="31"/>
                    <a:pt x="59" y="26"/>
                  </a:cubicBezTo>
                  <a:cubicBezTo>
                    <a:pt x="56" y="20"/>
                    <a:pt x="52" y="18"/>
                    <a:pt x="48" y="15"/>
                  </a:cubicBezTo>
                  <a:cubicBezTo>
                    <a:pt x="46" y="13"/>
                    <a:pt x="44" y="11"/>
                    <a:pt x="43" y="9"/>
                  </a:cubicBezTo>
                  <a:cubicBezTo>
                    <a:pt x="43" y="8"/>
                    <a:pt x="41" y="7"/>
                    <a:pt x="39" y="6"/>
                  </a:cubicBezTo>
                  <a:cubicBezTo>
                    <a:pt x="39" y="6"/>
                    <a:pt x="39" y="6"/>
                    <a:pt x="39" y="6"/>
                  </a:cubicBezTo>
                  <a:cubicBezTo>
                    <a:pt x="39" y="7"/>
                    <a:pt x="39" y="7"/>
                    <a:pt x="38" y="8"/>
                  </a:cubicBezTo>
                  <a:cubicBezTo>
                    <a:pt x="38" y="8"/>
                    <a:pt x="38" y="8"/>
                    <a:pt x="38" y="8"/>
                  </a:cubicBezTo>
                  <a:cubicBezTo>
                    <a:pt x="38" y="9"/>
                    <a:pt x="38" y="9"/>
                    <a:pt x="37" y="10"/>
                  </a:cubicBezTo>
                  <a:cubicBezTo>
                    <a:pt x="36" y="12"/>
                    <a:pt x="35" y="15"/>
                    <a:pt x="31" y="16"/>
                  </a:cubicBezTo>
                  <a:cubicBezTo>
                    <a:pt x="30" y="16"/>
                    <a:pt x="30" y="16"/>
                    <a:pt x="30" y="16"/>
                  </a:cubicBezTo>
                  <a:cubicBezTo>
                    <a:pt x="28" y="16"/>
                    <a:pt x="27" y="15"/>
                    <a:pt x="26" y="14"/>
                  </a:cubicBezTo>
                  <a:cubicBezTo>
                    <a:pt x="25" y="14"/>
                    <a:pt x="25" y="14"/>
                    <a:pt x="25" y="14"/>
                  </a:cubicBezTo>
                  <a:cubicBezTo>
                    <a:pt x="25" y="14"/>
                    <a:pt x="25" y="14"/>
                    <a:pt x="24" y="15"/>
                  </a:cubicBezTo>
                  <a:cubicBezTo>
                    <a:pt x="23" y="16"/>
                    <a:pt x="23" y="16"/>
                    <a:pt x="23" y="16"/>
                  </a:cubicBezTo>
                  <a:cubicBezTo>
                    <a:pt x="23" y="16"/>
                    <a:pt x="23" y="16"/>
                    <a:pt x="23" y="16"/>
                  </a:cubicBezTo>
                  <a:cubicBezTo>
                    <a:pt x="22" y="17"/>
                    <a:pt x="22" y="17"/>
                    <a:pt x="22" y="17"/>
                  </a:cubicBezTo>
                  <a:cubicBezTo>
                    <a:pt x="22" y="17"/>
                    <a:pt x="21" y="17"/>
                    <a:pt x="21" y="18"/>
                  </a:cubicBezTo>
                  <a:cubicBezTo>
                    <a:pt x="20" y="18"/>
                    <a:pt x="20" y="18"/>
                    <a:pt x="20" y="18"/>
                  </a:cubicBezTo>
                  <a:cubicBezTo>
                    <a:pt x="20" y="18"/>
                    <a:pt x="19" y="18"/>
                    <a:pt x="19" y="18"/>
                  </a:cubicBezTo>
                  <a:cubicBezTo>
                    <a:pt x="18" y="18"/>
                    <a:pt x="18" y="18"/>
                    <a:pt x="18" y="18"/>
                  </a:cubicBezTo>
                  <a:cubicBezTo>
                    <a:pt x="17" y="18"/>
                    <a:pt x="16" y="17"/>
                    <a:pt x="15" y="16"/>
                  </a:cubicBezTo>
                  <a:cubicBezTo>
                    <a:pt x="13" y="14"/>
                    <a:pt x="14" y="11"/>
                    <a:pt x="15" y="9"/>
                  </a:cubicBezTo>
                  <a:cubicBezTo>
                    <a:pt x="15" y="8"/>
                    <a:pt x="16" y="7"/>
                    <a:pt x="16" y="7"/>
                  </a:cubicBezTo>
                  <a:cubicBezTo>
                    <a:pt x="16" y="7"/>
                    <a:pt x="15" y="7"/>
                    <a:pt x="15" y="7"/>
                  </a:cubicBezTo>
                  <a:cubicBezTo>
                    <a:pt x="15" y="7"/>
                    <a:pt x="15" y="7"/>
                    <a:pt x="15" y="7"/>
                  </a:cubicBezTo>
                  <a:cubicBezTo>
                    <a:pt x="12" y="7"/>
                    <a:pt x="11" y="6"/>
                    <a:pt x="11" y="5"/>
                  </a:cubicBezTo>
                  <a:cubicBezTo>
                    <a:pt x="11" y="4"/>
                    <a:pt x="11" y="4"/>
                    <a:pt x="11" y="3"/>
                  </a:cubicBezTo>
                  <a:cubicBezTo>
                    <a:pt x="10" y="2"/>
                    <a:pt x="10" y="2"/>
                    <a:pt x="10" y="2"/>
                  </a:cubicBezTo>
                  <a:cubicBezTo>
                    <a:pt x="10" y="2"/>
                    <a:pt x="10" y="2"/>
                    <a:pt x="10" y="2"/>
                  </a:cubicBezTo>
                  <a:cubicBezTo>
                    <a:pt x="9" y="2"/>
                    <a:pt x="9" y="2"/>
                    <a:pt x="9" y="2"/>
                  </a:cubicBezTo>
                  <a:cubicBezTo>
                    <a:pt x="9" y="2"/>
                    <a:pt x="8" y="2"/>
                    <a:pt x="7" y="1"/>
                  </a:cubicBezTo>
                  <a:cubicBezTo>
                    <a:pt x="6" y="1"/>
                    <a:pt x="6" y="1"/>
                    <a:pt x="6" y="1"/>
                  </a:cubicBezTo>
                  <a:cubicBezTo>
                    <a:pt x="5" y="1"/>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Freeform 456">
              <a:extLst>
                <a:ext uri="{FF2B5EF4-FFF2-40B4-BE49-F238E27FC236}">
                  <a16:creationId xmlns:a16="http://schemas.microsoft.com/office/drawing/2014/main" id="{94DA185B-A1C9-4527-BFE4-974EB07D4577}"/>
                </a:ext>
              </a:extLst>
            </p:cNvPr>
            <p:cNvSpPr>
              <a:spLocks/>
            </p:cNvSpPr>
            <p:nvPr/>
          </p:nvSpPr>
          <p:spPr bwMode="auto">
            <a:xfrm>
              <a:off x="1891247" y="5105637"/>
              <a:ext cx="23383" cy="41264"/>
            </a:xfrm>
            <a:custGeom>
              <a:avLst/>
              <a:gdLst>
                <a:gd name="T0" fmla="*/ 5 w 7"/>
                <a:gd name="T1" fmla="*/ 0 h 13"/>
                <a:gd name="T2" fmla="*/ 0 w 7"/>
                <a:gd name="T3" fmla="*/ 4 h 13"/>
                <a:gd name="T4" fmla="*/ 2 w 7"/>
                <a:gd name="T5" fmla="*/ 4 h 13"/>
                <a:gd name="T6" fmla="*/ 2 w 7"/>
                <a:gd name="T7" fmla="*/ 5 h 13"/>
                <a:gd name="T8" fmla="*/ 2 w 7"/>
                <a:gd name="T9" fmla="*/ 6 h 13"/>
                <a:gd name="T10" fmla="*/ 2 w 7"/>
                <a:gd name="T11" fmla="*/ 8 h 13"/>
                <a:gd name="T12" fmla="*/ 2 w 7"/>
                <a:gd name="T13" fmla="*/ 12 h 13"/>
                <a:gd name="T14" fmla="*/ 3 w 7"/>
                <a:gd name="T15" fmla="*/ 12 h 13"/>
                <a:gd name="T16" fmla="*/ 4 w 7"/>
                <a:gd name="T17" fmla="*/ 13 h 13"/>
                <a:gd name="T18" fmla="*/ 6 w 7"/>
                <a:gd name="T19" fmla="*/ 5 h 13"/>
                <a:gd name="T20" fmla="*/ 4 w 7"/>
                <a:gd name="T21" fmla="*/ 4 h 13"/>
                <a:gd name="T22" fmla="*/ 7 w 7"/>
                <a:gd name="T23" fmla="*/ 1 h 13"/>
                <a:gd name="T24" fmla="*/ 5 w 7"/>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3">
                  <a:moveTo>
                    <a:pt x="5" y="0"/>
                  </a:moveTo>
                  <a:cubicBezTo>
                    <a:pt x="3" y="0"/>
                    <a:pt x="1" y="2"/>
                    <a:pt x="0" y="4"/>
                  </a:cubicBezTo>
                  <a:cubicBezTo>
                    <a:pt x="2" y="4"/>
                    <a:pt x="2" y="4"/>
                    <a:pt x="2" y="4"/>
                  </a:cubicBezTo>
                  <a:cubicBezTo>
                    <a:pt x="2" y="5"/>
                    <a:pt x="2" y="5"/>
                    <a:pt x="2" y="5"/>
                  </a:cubicBezTo>
                  <a:cubicBezTo>
                    <a:pt x="2" y="5"/>
                    <a:pt x="2" y="6"/>
                    <a:pt x="2" y="6"/>
                  </a:cubicBezTo>
                  <a:cubicBezTo>
                    <a:pt x="2" y="8"/>
                    <a:pt x="2" y="8"/>
                    <a:pt x="2" y="8"/>
                  </a:cubicBezTo>
                  <a:cubicBezTo>
                    <a:pt x="2" y="10"/>
                    <a:pt x="2" y="11"/>
                    <a:pt x="2" y="12"/>
                  </a:cubicBezTo>
                  <a:cubicBezTo>
                    <a:pt x="3" y="12"/>
                    <a:pt x="3" y="12"/>
                    <a:pt x="3" y="12"/>
                  </a:cubicBezTo>
                  <a:cubicBezTo>
                    <a:pt x="4" y="13"/>
                    <a:pt x="4" y="13"/>
                    <a:pt x="4" y="13"/>
                  </a:cubicBezTo>
                  <a:cubicBezTo>
                    <a:pt x="5" y="11"/>
                    <a:pt x="6" y="7"/>
                    <a:pt x="6" y="5"/>
                  </a:cubicBezTo>
                  <a:cubicBezTo>
                    <a:pt x="5" y="5"/>
                    <a:pt x="4" y="4"/>
                    <a:pt x="4" y="4"/>
                  </a:cubicBezTo>
                  <a:cubicBezTo>
                    <a:pt x="5" y="3"/>
                    <a:pt x="6" y="2"/>
                    <a:pt x="7"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 name="Freeform 457">
              <a:extLst>
                <a:ext uri="{FF2B5EF4-FFF2-40B4-BE49-F238E27FC236}">
                  <a16:creationId xmlns:a16="http://schemas.microsoft.com/office/drawing/2014/main" id="{364822D9-A4CB-4804-B261-208A0350BC4E}"/>
                </a:ext>
              </a:extLst>
            </p:cNvPr>
            <p:cNvSpPr>
              <a:spLocks/>
            </p:cNvSpPr>
            <p:nvPr/>
          </p:nvSpPr>
          <p:spPr bwMode="auto">
            <a:xfrm>
              <a:off x="1" y="1514334"/>
              <a:ext cx="360368" cy="988950"/>
            </a:xfrm>
            <a:custGeom>
              <a:avLst/>
              <a:gdLst>
                <a:gd name="T0" fmla="*/ 39 w 111"/>
                <a:gd name="T1" fmla="*/ 1 h 304"/>
                <a:gd name="T2" fmla="*/ 31 w 111"/>
                <a:gd name="T3" fmla="*/ 4 h 304"/>
                <a:gd name="T4" fmla="*/ 26 w 111"/>
                <a:gd name="T5" fmla="*/ 4 h 304"/>
                <a:gd name="T6" fmla="*/ 17 w 111"/>
                <a:gd name="T7" fmla="*/ 8 h 304"/>
                <a:gd name="T8" fmla="*/ 10 w 111"/>
                <a:gd name="T9" fmla="*/ 13 h 304"/>
                <a:gd name="T10" fmla="*/ 8 w 111"/>
                <a:gd name="T11" fmla="*/ 20 h 304"/>
                <a:gd name="T12" fmla="*/ 4 w 111"/>
                <a:gd name="T13" fmla="*/ 38 h 304"/>
                <a:gd name="T14" fmla="*/ 0 w 111"/>
                <a:gd name="T15" fmla="*/ 41 h 304"/>
                <a:gd name="T16" fmla="*/ 7 w 111"/>
                <a:gd name="T17" fmla="*/ 304 h 304"/>
                <a:gd name="T18" fmla="*/ 10 w 111"/>
                <a:gd name="T19" fmla="*/ 301 h 304"/>
                <a:gd name="T20" fmla="*/ 11 w 111"/>
                <a:gd name="T21" fmla="*/ 299 h 304"/>
                <a:gd name="T22" fmla="*/ 26 w 111"/>
                <a:gd name="T23" fmla="*/ 296 h 304"/>
                <a:gd name="T24" fmla="*/ 35 w 111"/>
                <a:gd name="T25" fmla="*/ 295 h 304"/>
                <a:gd name="T26" fmla="*/ 65 w 111"/>
                <a:gd name="T27" fmla="*/ 275 h 304"/>
                <a:gd name="T28" fmla="*/ 99 w 111"/>
                <a:gd name="T29" fmla="*/ 243 h 304"/>
                <a:gd name="T30" fmla="*/ 108 w 111"/>
                <a:gd name="T31" fmla="*/ 232 h 304"/>
                <a:gd name="T32" fmla="*/ 110 w 111"/>
                <a:gd name="T33" fmla="*/ 225 h 304"/>
                <a:gd name="T34" fmla="*/ 90 w 111"/>
                <a:gd name="T35" fmla="*/ 208 h 304"/>
                <a:gd name="T36" fmla="*/ 83 w 111"/>
                <a:gd name="T37" fmla="*/ 199 h 304"/>
                <a:gd name="T38" fmla="*/ 93 w 111"/>
                <a:gd name="T39" fmla="*/ 188 h 304"/>
                <a:gd name="T40" fmla="*/ 83 w 111"/>
                <a:gd name="T41" fmla="*/ 178 h 304"/>
                <a:gd name="T42" fmla="*/ 81 w 111"/>
                <a:gd name="T43" fmla="*/ 174 h 304"/>
                <a:gd name="T44" fmla="*/ 85 w 111"/>
                <a:gd name="T45" fmla="*/ 173 h 304"/>
                <a:gd name="T46" fmla="*/ 75 w 111"/>
                <a:gd name="T47" fmla="*/ 165 h 304"/>
                <a:gd name="T48" fmla="*/ 77 w 111"/>
                <a:gd name="T49" fmla="*/ 158 h 304"/>
                <a:gd name="T50" fmla="*/ 76 w 111"/>
                <a:gd name="T51" fmla="*/ 151 h 304"/>
                <a:gd name="T52" fmla="*/ 77 w 111"/>
                <a:gd name="T53" fmla="*/ 145 h 304"/>
                <a:gd name="T54" fmla="*/ 83 w 111"/>
                <a:gd name="T55" fmla="*/ 140 h 304"/>
                <a:gd name="T56" fmla="*/ 68 w 111"/>
                <a:gd name="T57" fmla="*/ 110 h 304"/>
                <a:gd name="T58" fmla="*/ 65 w 111"/>
                <a:gd name="T59" fmla="*/ 106 h 304"/>
                <a:gd name="T60" fmla="*/ 81 w 111"/>
                <a:gd name="T61" fmla="*/ 78 h 304"/>
                <a:gd name="T62" fmla="*/ 73 w 111"/>
                <a:gd name="T63" fmla="*/ 71 h 304"/>
                <a:gd name="T64" fmla="*/ 66 w 111"/>
                <a:gd name="T65" fmla="*/ 66 h 304"/>
                <a:gd name="T66" fmla="*/ 55 w 111"/>
                <a:gd name="T67" fmla="*/ 56 h 304"/>
                <a:gd name="T68" fmla="*/ 55 w 111"/>
                <a:gd name="T69" fmla="*/ 46 h 304"/>
                <a:gd name="T70" fmla="*/ 56 w 111"/>
                <a:gd name="T71" fmla="*/ 44 h 304"/>
                <a:gd name="T72" fmla="*/ 53 w 111"/>
                <a:gd name="T73" fmla="*/ 40 h 304"/>
                <a:gd name="T74" fmla="*/ 58 w 111"/>
                <a:gd name="T75" fmla="*/ 34 h 304"/>
                <a:gd name="T76" fmla="*/ 62 w 111"/>
                <a:gd name="T77" fmla="*/ 33 h 304"/>
                <a:gd name="T78" fmla="*/ 62 w 111"/>
                <a:gd name="T79" fmla="*/ 32 h 304"/>
                <a:gd name="T80" fmla="*/ 62 w 111"/>
                <a:gd name="T81" fmla="*/ 29 h 304"/>
                <a:gd name="T82" fmla="*/ 64 w 111"/>
                <a:gd name="T83" fmla="*/ 23 h 304"/>
                <a:gd name="T84" fmla="*/ 68 w 111"/>
                <a:gd name="T85" fmla="*/ 18 h 304"/>
                <a:gd name="T86" fmla="*/ 58 w 111"/>
                <a:gd name="T87" fmla="*/ 10 h 304"/>
                <a:gd name="T88" fmla="*/ 48 w 111"/>
                <a:gd name="T89" fmla="*/ 5 h 304"/>
                <a:gd name="T90" fmla="*/ 41 w 111"/>
                <a:gd name="T9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1" h="304">
                  <a:moveTo>
                    <a:pt x="41" y="0"/>
                  </a:moveTo>
                  <a:cubicBezTo>
                    <a:pt x="41" y="0"/>
                    <a:pt x="40" y="1"/>
                    <a:pt x="40" y="1"/>
                  </a:cubicBezTo>
                  <a:cubicBezTo>
                    <a:pt x="39" y="1"/>
                    <a:pt x="39" y="1"/>
                    <a:pt x="39" y="1"/>
                  </a:cubicBezTo>
                  <a:cubicBezTo>
                    <a:pt x="38" y="2"/>
                    <a:pt x="37" y="3"/>
                    <a:pt x="36" y="3"/>
                  </a:cubicBezTo>
                  <a:cubicBezTo>
                    <a:pt x="36" y="3"/>
                    <a:pt x="35" y="4"/>
                    <a:pt x="33" y="4"/>
                  </a:cubicBezTo>
                  <a:cubicBezTo>
                    <a:pt x="33" y="4"/>
                    <a:pt x="32" y="4"/>
                    <a:pt x="31" y="4"/>
                  </a:cubicBezTo>
                  <a:cubicBezTo>
                    <a:pt x="31" y="4"/>
                    <a:pt x="31" y="4"/>
                    <a:pt x="31" y="4"/>
                  </a:cubicBezTo>
                  <a:cubicBezTo>
                    <a:pt x="30" y="4"/>
                    <a:pt x="29" y="4"/>
                    <a:pt x="28" y="4"/>
                  </a:cubicBezTo>
                  <a:cubicBezTo>
                    <a:pt x="26" y="4"/>
                    <a:pt x="26" y="4"/>
                    <a:pt x="26" y="4"/>
                  </a:cubicBezTo>
                  <a:cubicBezTo>
                    <a:pt x="26" y="4"/>
                    <a:pt x="25" y="4"/>
                    <a:pt x="25" y="5"/>
                  </a:cubicBezTo>
                  <a:cubicBezTo>
                    <a:pt x="21" y="5"/>
                    <a:pt x="19" y="5"/>
                    <a:pt x="17" y="8"/>
                  </a:cubicBezTo>
                  <a:cubicBezTo>
                    <a:pt x="17" y="8"/>
                    <a:pt x="17" y="8"/>
                    <a:pt x="17" y="8"/>
                  </a:cubicBezTo>
                  <a:cubicBezTo>
                    <a:pt x="16" y="9"/>
                    <a:pt x="15" y="10"/>
                    <a:pt x="13" y="11"/>
                  </a:cubicBezTo>
                  <a:cubicBezTo>
                    <a:pt x="13" y="11"/>
                    <a:pt x="13" y="11"/>
                    <a:pt x="13" y="11"/>
                  </a:cubicBezTo>
                  <a:cubicBezTo>
                    <a:pt x="12" y="12"/>
                    <a:pt x="11" y="12"/>
                    <a:pt x="10" y="13"/>
                  </a:cubicBezTo>
                  <a:cubicBezTo>
                    <a:pt x="10" y="13"/>
                    <a:pt x="10" y="13"/>
                    <a:pt x="10" y="13"/>
                  </a:cubicBezTo>
                  <a:cubicBezTo>
                    <a:pt x="10" y="14"/>
                    <a:pt x="9" y="15"/>
                    <a:pt x="9" y="17"/>
                  </a:cubicBezTo>
                  <a:cubicBezTo>
                    <a:pt x="8" y="20"/>
                    <a:pt x="8" y="20"/>
                    <a:pt x="8" y="20"/>
                  </a:cubicBezTo>
                  <a:cubicBezTo>
                    <a:pt x="7" y="22"/>
                    <a:pt x="7" y="24"/>
                    <a:pt x="7" y="27"/>
                  </a:cubicBezTo>
                  <a:cubicBezTo>
                    <a:pt x="7" y="29"/>
                    <a:pt x="6" y="32"/>
                    <a:pt x="6" y="34"/>
                  </a:cubicBezTo>
                  <a:cubicBezTo>
                    <a:pt x="5" y="35"/>
                    <a:pt x="5" y="37"/>
                    <a:pt x="4" y="38"/>
                  </a:cubicBezTo>
                  <a:cubicBezTo>
                    <a:pt x="4" y="38"/>
                    <a:pt x="4" y="38"/>
                    <a:pt x="4" y="38"/>
                  </a:cubicBezTo>
                  <a:cubicBezTo>
                    <a:pt x="3" y="40"/>
                    <a:pt x="2" y="41"/>
                    <a:pt x="1" y="41"/>
                  </a:cubicBezTo>
                  <a:cubicBezTo>
                    <a:pt x="0" y="41"/>
                    <a:pt x="0" y="41"/>
                    <a:pt x="0" y="41"/>
                  </a:cubicBezTo>
                  <a:cubicBezTo>
                    <a:pt x="0" y="303"/>
                    <a:pt x="0" y="303"/>
                    <a:pt x="0" y="303"/>
                  </a:cubicBezTo>
                  <a:cubicBezTo>
                    <a:pt x="1" y="302"/>
                    <a:pt x="1" y="301"/>
                    <a:pt x="2" y="301"/>
                  </a:cubicBezTo>
                  <a:cubicBezTo>
                    <a:pt x="3" y="302"/>
                    <a:pt x="6" y="303"/>
                    <a:pt x="7" y="304"/>
                  </a:cubicBezTo>
                  <a:cubicBezTo>
                    <a:pt x="7" y="303"/>
                    <a:pt x="7" y="302"/>
                    <a:pt x="7" y="301"/>
                  </a:cubicBezTo>
                  <a:cubicBezTo>
                    <a:pt x="8" y="301"/>
                    <a:pt x="9" y="301"/>
                    <a:pt x="10" y="301"/>
                  </a:cubicBezTo>
                  <a:cubicBezTo>
                    <a:pt x="10" y="301"/>
                    <a:pt x="10" y="301"/>
                    <a:pt x="10" y="301"/>
                  </a:cubicBezTo>
                  <a:cubicBezTo>
                    <a:pt x="9" y="301"/>
                    <a:pt x="9" y="300"/>
                    <a:pt x="9" y="299"/>
                  </a:cubicBezTo>
                  <a:cubicBezTo>
                    <a:pt x="8" y="299"/>
                    <a:pt x="8" y="298"/>
                    <a:pt x="9" y="298"/>
                  </a:cubicBezTo>
                  <a:cubicBezTo>
                    <a:pt x="9" y="298"/>
                    <a:pt x="10" y="299"/>
                    <a:pt x="11" y="299"/>
                  </a:cubicBezTo>
                  <a:cubicBezTo>
                    <a:pt x="12" y="299"/>
                    <a:pt x="12" y="299"/>
                    <a:pt x="13" y="299"/>
                  </a:cubicBezTo>
                  <a:cubicBezTo>
                    <a:pt x="14" y="299"/>
                    <a:pt x="14" y="299"/>
                    <a:pt x="14" y="299"/>
                  </a:cubicBezTo>
                  <a:cubicBezTo>
                    <a:pt x="18" y="297"/>
                    <a:pt x="22" y="296"/>
                    <a:pt x="26" y="296"/>
                  </a:cubicBezTo>
                  <a:cubicBezTo>
                    <a:pt x="29" y="296"/>
                    <a:pt x="31" y="297"/>
                    <a:pt x="34" y="297"/>
                  </a:cubicBezTo>
                  <a:cubicBezTo>
                    <a:pt x="34" y="295"/>
                    <a:pt x="34" y="295"/>
                    <a:pt x="34" y="295"/>
                  </a:cubicBezTo>
                  <a:cubicBezTo>
                    <a:pt x="35" y="295"/>
                    <a:pt x="35" y="295"/>
                    <a:pt x="35" y="295"/>
                  </a:cubicBezTo>
                  <a:cubicBezTo>
                    <a:pt x="35" y="295"/>
                    <a:pt x="35" y="295"/>
                    <a:pt x="35" y="295"/>
                  </a:cubicBezTo>
                  <a:cubicBezTo>
                    <a:pt x="37" y="295"/>
                    <a:pt x="40" y="294"/>
                    <a:pt x="42" y="292"/>
                  </a:cubicBezTo>
                  <a:cubicBezTo>
                    <a:pt x="49" y="286"/>
                    <a:pt x="58" y="280"/>
                    <a:pt x="65" y="275"/>
                  </a:cubicBezTo>
                  <a:cubicBezTo>
                    <a:pt x="72" y="270"/>
                    <a:pt x="77" y="265"/>
                    <a:pt x="82" y="260"/>
                  </a:cubicBezTo>
                  <a:cubicBezTo>
                    <a:pt x="84" y="257"/>
                    <a:pt x="87" y="255"/>
                    <a:pt x="88" y="253"/>
                  </a:cubicBezTo>
                  <a:cubicBezTo>
                    <a:pt x="92" y="250"/>
                    <a:pt x="95" y="246"/>
                    <a:pt x="99" y="243"/>
                  </a:cubicBezTo>
                  <a:cubicBezTo>
                    <a:pt x="100" y="242"/>
                    <a:pt x="101" y="241"/>
                    <a:pt x="102" y="241"/>
                  </a:cubicBezTo>
                  <a:cubicBezTo>
                    <a:pt x="104" y="239"/>
                    <a:pt x="106" y="238"/>
                    <a:pt x="107" y="236"/>
                  </a:cubicBezTo>
                  <a:cubicBezTo>
                    <a:pt x="107" y="235"/>
                    <a:pt x="108" y="234"/>
                    <a:pt x="108" y="232"/>
                  </a:cubicBezTo>
                  <a:cubicBezTo>
                    <a:pt x="109" y="232"/>
                    <a:pt x="109" y="232"/>
                    <a:pt x="109" y="232"/>
                  </a:cubicBezTo>
                  <a:cubicBezTo>
                    <a:pt x="109" y="231"/>
                    <a:pt x="110" y="229"/>
                    <a:pt x="111" y="228"/>
                  </a:cubicBezTo>
                  <a:cubicBezTo>
                    <a:pt x="111" y="226"/>
                    <a:pt x="111" y="226"/>
                    <a:pt x="110" y="225"/>
                  </a:cubicBezTo>
                  <a:cubicBezTo>
                    <a:pt x="110" y="225"/>
                    <a:pt x="110" y="224"/>
                    <a:pt x="109" y="223"/>
                  </a:cubicBezTo>
                  <a:cubicBezTo>
                    <a:pt x="104" y="217"/>
                    <a:pt x="97" y="213"/>
                    <a:pt x="90" y="208"/>
                  </a:cubicBezTo>
                  <a:cubicBezTo>
                    <a:pt x="90" y="208"/>
                    <a:pt x="90" y="208"/>
                    <a:pt x="90" y="208"/>
                  </a:cubicBezTo>
                  <a:cubicBezTo>
                    <a:pt x="87" y="206"/>
                    <a:pt x="85" y="205"/>
                    <a:pt x="83" y="203"/>
                  </a:cubicBezTo>
                  <a:cubicBezTo>
                    <a:pt x="79" y="201"/>
                    <a:pt x="79" y="201"/>
                    <a:pt x="79" y="201"/>
                  </a:cubicBezTo>
                  <a:cubicBezTo>
                    <a:pt x="83" y="199"/>
                    <a:pt x="83" y="199"/>
                    <a:pt x="83" y="199"/>
                  </a:cubicBezTo>
                  <a:cubicBezTo>
                    <a:pt x="86" y="198"/>
                    <a:pt x="88" y="196"/>
                    <a:pt x="91" y="193"/>
                  </a:cubicBezTo>
                  <a:cubicBezTo>
                    <a:pt x="92" y="192"/>
                    <a:pt x="92" y="192"/>
                    <a:pt x="92" y="192"/>
                  </a:cubicBezTo>
                  <a:cubicBezTo>
                    <a:pt x="93" y="191"/>
                    <a:pt x="94" y="189"/>
                    <a:pt x="93" y="188"/>
                  </a:cubicBezTo>
                  <a:cubicBezTo>
                    <a:pt x="93" y="187"/>
                    <a:pt x="90" y="186"/>
                    <a:pt x="89" y="186"/>
                  </a:cubicBezTo>
                  <a:cubicBezTo>
                    <a:pt x="88" y="186"/>
                    <a:pt x="88" y="185"/>
                    <a:pt x="87" y="185"/>
                  </a:cubicBezTo>
                  <a:cubicBezTo>
                    <a:pt x="85" y="184"/>
                    <a:pt x="84" y="181"/>
                    <a:pt x="83" y="178"/>
                  </a:cubicBezTo>
                  <a:cubicBezTo>
                    <a:pt x="82" y="178"/>
                    <a:pt x="82" y="178"/>
                    <a:pt x="82" y="178"/>
                  </a:cubicBezTo>
                  <a:cubicBezTo>
                    <a:pt x="82" y="177"/>
                    <a:pt x="82" y="177"/>
                    <a:pt x="82" y="177"/>
                  </a:cubicBezTo>
                  <a:cubicBezTo>
                    <a:pt x="81" y="174"/>
                    <a:pt x="81" y="174"/>
                    <a:pt x="81" y="174"/>
                  </a:cubicBezTo>
                  <a:cubicBezTo>
                    <a:pt x="83" y="173"/>
                    <a:pt x="83" y="173"/>
                    <a:pt x="83" y="173"/>
                  </a:cubicBezTo>
                  <a:cubicBezTo>
                    <a:pt x="83" y="173"/>
                    <a:pt x="84" y="173"/>
                    <a:pt x="84" y="173"/>
                  </a:cubicBezTo>
                  <a:cubicBezTo>
                    <a:pt x="85" y="173"/>
                    <a:pt x="85" y="173"/>
                    <a:pt x="85" y="173"/>
                  </a:cubicBezTo>
                  <a:cubicBezTo>
                    <a:pt x="85" y="173"/>
                    <a:pt x="85" y="173"/>
                    <a:pt x="85" y="173"/>
                  </a:cubicBezTo>
                  <a:cubicBezTo>
                    <a:pt x="84" y="172"/>
                    <a:pt x="83" y="172"/>
                    <a:pt x="82" y="172"/>
                  </a:cubicBezTo>
                  <a:cubicBezTo>
                    <a:pt x="78" y="171"/>
                    <a:pt x="75" y="168"/>
                    <a:pt x="75" y="165"/>
                  </a:cubicBezTo>
                  <a:cubicBezTo>
                    <a:pt x="74" y="161"/>
                    <a:pt x="77" y="159"/>
                    <a:pt x="78" y="159"/>
                  </a:cubicBezTo>
                  <a:cubicBezTo>
                    <a:pt x="78" y="158"/>
                    <a:pt x="78" y="158"/>
                    <a:pt x="78" y="158"/>
                  </a:cubicBezTo>
                  <a:cubicBezTo>
                    <a:pt x="77" y="158"/>
                    <a:pt x="77" y="158"/>
                    <a:pt x="77" y="158"/>
                  </a:cubicBezTo>
                  <a:cubicBezTo>
                    <a:pt x="74" y="157"/>
                    <a:pt x="75" y="154"/>
                    <a:pt x="75" y="152"/>
                  </a:cubicBezTo>
                  <a:cubicBezTo>
                    <a:pt x="75" y="151"/>
                    <a:pt x="75" y="151"/>
                    <a:pt x="75" y="151"/>
                  </a:cubicBezTo>
                  <a:cubicBezTo>
                    <a:pt x="76" y="151"/>
                    <a:pt x="76" y="151"/>
                    <a:pt x="76" y="151"/>
                  </a:cubicBezTo>
                  <a:cubicBezTo>
                    <a:pt x="76" y="150"/>
                    <a:pt x="76" y="150"/>
                    <a:pt x="76" y="150"/>
                  </a:cubicBezTo>
                  <a:cubicBezTo>
                    <a:pt x="76" y="149"/>
                    <a:pt x="77" y="147"/>
                    <a:pt x="77" y="145"/>
                  </a:cubicBezTo>
                  <a:cubicBezTo>
                    <a:pt x="77" y="145"/>
                    <a:pt x="77" y="145"/>
                    <a:pt x="77" y="145"/>
                  </a:cubicBezTo>
                  <a:cubicBezTo>
                    <a:pt x="75" y="142"/>
                    <a:pt x="75" y="142"/>
                    <a:pt x="75" y="142"/>
                  </a:cubicBezTo>
                  <a:cubicBezTo>
                    <a:pt x="78" y="141"/>
                    <a:pt x="78" y="141"/>
                    <a:pt x="78" y="141"/>
                  </a:cubicBezTo>
                  <a:cubicBezTo>
                    <a:pt x="80" y="140"/>
                    <a:pt x="81" y="140"/>
                    <a:pt x="83" y="140"/>
                  </a:cubicBezTo>
                  <a:cubicBezTo>
                    <a:pt x="74" y="118"/>
                    <a:pt x="74" y="118"/>
                    <a:pt x="74" y="118"/>
                  </a:cubicBezTo>
                  <a:cubicBezTo>
                    <a:pt x="73" y="116"/>
                    <a:pt x="71" y="113"/>
                    <a:pt x="70" y="111"/>
                  </a:cubicBezTo>
                  <a:cubicBezTo>
                    <a:pt x="69" y="111"/>
                    <a:pt x="69" y="110"/>
                    <a:pt x="68" y="110"/>
                  </a:cubicBezTo>
                  <a:cubicBezTo>
                    <a:pt x="68" y="109"/>
                    <a:pt x="68" y="109"/>
                    <a:pt x="68" y="109"/>
                  </a:cubicBezTo>
                  <a:cubicBezTo>
                    <a:pt x="67" y="109"/>
                    <a:pt x="67" y="109"/>
                    <a:pt x="67" y="109"/>
                  </a:cubicBezTo>
                  <a:cubicBezTo>
                    <a:pt x="67" y="108"/>
                    <a:pt x="65" y="107"/>
                    <a:pt x="65" y="106"/>
                  </a:cubicBezTo>
                  <a:cubicBezTo>
                    <a:pt x="64" y="105"/>
                    <a:pt x="64" y="104"/>
                    <a:pt x="64" y="103"/>
                  </a:cubicBezTo>
                  <a:cubicBezTo>
                    <a:pt x="64" y="101"/>
                    <a:pt x="64" y="100"/>
                    <a:pt x="65" y="99"/>
                  </a:cubicBezTo>
                  <a:cubicBezTo>
                    <a:pt x="81" y="78"/>
                    <a:pt x="81" y="78"/>
                    <a:pt x="81" y="78"/>
                  </a:cubicBezTo>
                  <a:cubicBezTo>
                    <a:pt x="80" y="78"/>
                    <a:pt x="79" y="77"/>
                    <a:pt x="78" y="76"/>
                  </a:cubicBezTo>
                  <a:cubicBezTo>
                    <a:pt x="78" y="76"/>
                    <a:pt x="78" y="76"/>
                    <a:pt x="77" y="76"/>
                  </a:cubicBezTo>
                  <a:cubicBezTo>
                    <a:pt x="76" y="74"/>
                    <a:pt x="74" y="72"/>
                    <a:pt x="73" y="71"/>
                  </a:cubicBezTo>
                  <a:cubicBezTo>
                    <a:pt x="72" y="69"/>
                    <a:pt x="71" y="67"/>
                    <a:pt x="68" y="66"/>
                  </a:cubicBezTo>
                  <a:cubicBezTo>
                    <a:pt x="67" y="66"/>
                    <a:pt x="67" y="66"/>
                    <a:pt x="67" y="66"/>
                  </a:cubicBezTo>
                  <a:cubicBezTo>
                    <a:pt x="67" y="66"/>
                    <a:pt x="67" y="66"/>
                    <a:pt x="66" y="66"/>
                  </a:cubicBezTo>
                  <a:cubicBezTo>
                    <a:pt x="66" y="66"/>
                    <a:pt x="66" y="66"/>
                    <a:pt x="66" y="66"/>
                  </a:cubicBezTo>
                  <a:cubicBezTo>
                    <a:pt x="63" y="65"/>
                    <a:pt x="60" y="64"/>
                    <a:pt x="58" y="63"/>
                  </a:cubicBezTo>
                  <a:cubicBezTo>
                    <a:pt x="56" y="61"/>
                    <a:pt x="56" y="59"/>
                    <a:pt x="55" y="56"/>
                  </a:cubicBezTo>
                  <a:cubicBezTo>
                    <a:pt x="55" y="56"/>
                    <a:pt x="55" y="56"/>
                    <a:pt x="55" y="56"/>
                  </a:cubicBezTo>
                  <a:cubicBezTo>
                    <a:pt x="54" y="55"/>
                    <a:pt x="54" y="55"/>
                    <a:pt x="54" y="54"/>
                  </a:cubicBezTo>
                  <a:cubicBezTo>
                    <a:pt x="53" y="51"/>
                    <a:pt x="54" y="49"/>
                    <a:pt x="55" y="46"/>
                  </a:cubicBezTo>
                  <a:cubicBezTo>
                    <a:pt x="55" y="46"/>
                    <a:pt x="55" y="46"/>
                    <a:pt x="55" y="46"/>
                  </a:cubicBezTo>
                  <a:cubicBezTo>
                    <a:pt x="55" y="46"/>
                    <a:pt x="56" y="45"/>
                    <a:pt x="56" y="45"/>
                  </a:cubicBezTo>
                  <a:cubicBezTo>
                    <a:pt x="56" y="44"/>
                    <a:pt x="56" y="44"/>
                    <a:pt x="56" y="44"/>
                  </a:cubicBezTo>
                  <a:cubicBezTo>
                    <a:pt x="56" y="43"/>
                    <a:pt x="57" y="42"/>
                    <a:pt x="57" y="41"/>
                  </a:cubicBezTo>
                  <a:cubicBezTo>
                    <a:pt x="57" y="41"/>
                    <a:pt x="57" y="41"/>
                    <a:pt x="57" y="41"/>
                  </a:cubicBezTo>
                  <a:cubicBezTo>
                    <a:pt x="56" y="41"/>
                    <a:pt x="54" y="41"/>
                    <a:pt x="53" y="40"/>
                  </a:cubicBezTo>
                  <a:cubicBezTo>
                    <a:pt x="49" y="38"/>
                    <a:pt x="49" y="38"/>
                    <a:pt x="49" y="38"/>
                  </a:cubicBezTo>
                  <a:cubicBezTo>
                    <a:pt x="53" y="36"/>
                    <a:pt x="53" y="36"/>
                    <a:pt x="53" y="36"/>
                  </a:cubicBezTo>
                  <a:cubicBezTo>
                    <a:pt x="55" y="35"/>
                    <a:pt x="56" y="35"/>
                    <a:pt x="58" y="34"/>
                  </a:cubicBezTo>
                  <a:cubicBezTo>
                    <a:pt x="61" y="33"/>
                    <a:pt x="61" y="33"/>
                    <a:pt x="61" y="33"/>
                  </a:cubicBezTo>
                  <a:cubicBezTo>
                    <a:pt x="61" y="33"/>
                    <a:pt x="62" y="33"/>
                    <a:pt x="62" y="33"/>
                  </a:cubicBezTo>
                  <a:cubicBezTo>
                    <a:pt x="62" y="33"/>
                    <a:pt x="62" y="33"/>
                    <a:pt x="62" y="33"/>
                  </a:cubicBezTo>
                  <a:cubicBezTo>
                    <a:pt x="63" y="33"/>
                    <a:pt x="63" y="33"/>
                    <a:pt x="63" y="33"/>
                  </a:cubicBezTo>
                  <a:cubicBezTo>
                    <a:pt x="62" y="32"/>
                    <a:pt x="62" y="32"/>
                    <a:pt x="62" y="32"/>
                  </a:cubicBezTo>
                  <a:cubicBezTo>
                    <a:pt x="62" y="32"/>
                    <a:pt x="62" y="32"/>
                    <a:pt x="62" y="32"/>
                  </a:cubicBezTo>
                  <a:cubicBezTo>
                    <a:pt x="62" y="32"/>
                    <a:pt x="62" y="32"/>
                    <a:pt x="62" y="32"/>
                  </a:cubicBezTo>
                  <a:cubicBezTo>
                    <a:pt x="62" y="31"/>
                    <a:pt x="62" y="31"/>
                    <a:pt x="62" y="31"/>
                  </a:cubicBezTo>
                  <a:cubicBezTo>
                    <a:pt x="62" y="31"/>
                    <a:pt x="62" y="30"/>
                    <a:pt x="62" y="29"/>
                  </a:cubicBezTo>
                  <a:cubicBezTo>
                    <a:pt x="62" y="29"/>
                    <a:pt x="62" y="28"/>
                    <a:pt x="62" y="27"/>
                  </a:cubicBezTo>
                  <a:cubicBezTo>
                    <a:pt x="62" y="27"/>
                    <a:pt x="62" y="26"/>
                    <a:pt x="63" y="25"/>
                  </a:cubicBezTo>
                  <a:cubicBezTo>
                    <a:pt x="64" y="23"/>
                    <a:pt x="64" y="23"/>
                    <a:pt x="64" y="23"/>
                  </a:cubicBezTo>
                  <a:cubicBezTo>
                    <a:pt x="65" y="23"/>
                    <a:pt x="66" y="22"/>
                    <a:pt x="66" y="21"/>
                  </a:cubicBezTo>
                  <a:cubicBezTo>
                    <a:pt x="67" y="20"/>
                    <a:pt x="68" y="19"/>
                    <a:pt x="68" y="19"/>
                  </a:cubicBezTo>
                  <a:cubicBezTo>
                    <a:pt x="68" y="18"/>
                    <a:pt x="68" y="18"/>
                    <a:pt x="68" y="18"/>
                  </a:cubicBezTo>
                  <a:cubicBezTo>
                    <a:pt x="69" y="18"/>
                    <a:pt x="69" y="17"/>
                    <a:pt x="69" y="17"/>
                  </a:cubicBezTo>
                  <a:cubicBezTo>
                    <a:pt x="68" y="16"/>
                    <a:pt x="65" y="14"/>
                    <a:pt x="62" y="12"/>
                  </a:cubicBezTo>
                  <a:cubicBezTo>
                    <a:pt x="61" y="11"/>
                    <a:pt x="59" y="11"/>
                    <a:pt x="58" y="10"/>
                  </a:cubicBezTo>
                  <a:cubicBezTo>
                    <a:pt x="55" y="9"/>
                    <a:pt x="55" y="9"/>
                    <a:pt x="55" y="9"/>
                  </a:cubicBezTo>
                  <a:cubicBezTo>
                    <a:pt x="52" y="7"/>
                    <a:pt x="51" y="7"/>
                    <a:pt x="50" y="6"/>
                  </a:cubicBezTo>
                  <a:cubicBezTo>
                    <a:pt x="49" y="5"/>
                    <a:pt x="49" y="5"/>
                    <a:pt x="48" y="5"/>
                  </a:cubicBezTo>
                  <a:cubicBezTo>
                    <a:pt x="48" y="4"/>
                    <a:pt x="48" y="4"/>
                    <a:pt x="48" y="4"/>
                  </a:cubicBezTo>
                  <a:cubicBezTo>
                    <a:pt x="47" y="4"/>
                    <a:pt x="47" y="4"/>
                    <a:pt x="47" y="4"/>
                  </a:cubicBezTo>
                  <a:cubicBezTo>
                    <a:pt x="45" y="2"/>
                    <a:pt x="43"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Freeform 458">
              <a:extLst>
                <a:ext uri="{FF2B5EF4-FFF2-40B4-BE49-F238E27FC236}">
                  <a16:creationId xmlns:a16="http://schemas.microsoft.com/office/drawing/2014/main" id="{A06E20F2-B54D-4BAB-8844-D4688A35D4B4}"/>
                </a:ext>
              </a:extLst>
            </p:cNvPr>
            <p:cNvSpPr>
              <a:spLocks/>
            </p:cNvSpPr>
            <p:nvPr/>
          </p:nvSpPr>
          <p:spPr bwMode="auto">
            <a:xfrm>
              <a:off x="900922" y="3897990"/>
              <a:ext cx="396130" cy="169181"/>
            </a:xfrm>
            <a:custGeom>
              <a:avLst/>
              <a:gdLst>
                <a:gd name="T0" fmla="*/ 0 w 122"/>
                <a:gd name="T1" fmla="*/ 3 h 52"/>
                <a:gd name="T2" fmla="*/ 8 w 122"/>
                <a:gd name="T3" fmla="*/ 8 h 52"/>
                <a:gd name="T4" fmla="*/ 27 w 122"/>
                <a:gd name="T5" fmla="*/ 22 h 52"/>
                <a:gd name="T6" fmla="*/ 31 w 122"/>
                <a:gd name="T7" fmla="*/ 38 h 52"/>
                <a:gd name="T8" fmla="*/ 28 w 122"/>
                <a:gd name="T9" fmla="*/ 43 h 52"/>
                <a:gd name="T10" fmla="*/ 33 w 122"/>
                <a:gd name="T11" fmla="*/ 43 h 52"/>
                <a:gd name="T12" fmla="*/ 37 w 122"/>
                <a:gd name="T13" fmla="*/ 43 h 52"/>
                <a:gd name="T14" fmla="*/ 44 w 122"/>
                <a:gd name="T15" fmla="*/ 44 h 52"/>
                <a:gd name="T16" fmla="*/ 49 w 122"/>
                <a:gd name="T17" fmla="*/ 41 h 52"/>
                <a:gd name="T18" fmla="*/ 55 w 122"/>
                <a:gd name="T19" fmla="*/ 45 h 52"/>
                <a:gd name="T20" fmla="*/ 56 w 122"/>
                <a:gd name="T21" fmla="*/ 45 h 52"/>
                <a:gd name="T22" fmla="*/ 57 w 122"/>
                <a:gd name="T23" fmla="*/ 46 h 52"/>
                <a:gd name="T24" fmla="*/ 61 w 122"/>
                <a:gd name="T25" fmla="*/ 49 h 52"/>
                <a:gd name="T26" fmla="*/ 64 w 122"/>
                <a:gd name="T27" fmla="*/ 51 h 52"/>
                <a:gd name="T28" fmla="*/ 65 w 122"/>
                <a:gd name="T29" fmla="*/ 52 h 52"/>
                <a:gd name="T30" fmla="*/ 67 w 122"/>
                <a:gd name="T31" fmla="*/ 52 h 52"/>
                <a:gd name="T32" fmla="*/ 83 w 122"/>
                <a:gd name="T33" fmla="*/ 50 h 52"/>
                <a:gd name="T34" fmla="*/ 86 w 122"/>
                <a:gd name="T35" fmla="*/ 50 h 52"/>
                <a:gd name="T36" fmla="*/ 88 w 122"/>
                <a:gd name="T37" fmla="*/ 50 h 52"/>
                <a:gd name="T38" fmla="*/ 88 w 122"/>
                <a:gd name="T39" fmla="*/ 49 h 52"/>
                <a:gd name="T40" fmla="*/ 95 w 122"/>
                <a:gd name="T41" fmla="*/ 47 h 52"/>
                <a:gd name="T42" fmla="*/ 99 w 122"/>
                <a:gd name="T43" fmla="*/ 44 h 52"/>
                <a:gd name="T44" fmla="*/ 106 w 122"/>
                <a:gd name="T45" fmla="*/ 47 h 52"/>
                <a:gd name="T46" fmla="*/ 109 w 122"/>
                <a:gd name="T47" fmla="*/ 49 h 52"/>
                <a:gd name="T48" fmla="*/ 120 w 122"/>
                <a:gd name="T49" fmla="*/ 52 h 52"/>
                <a:gd name="T50" fmla="*/ 122 w 122"/>
                <a:gd name="T51" fmla="*/ 50 h 52"/>
                <a:gd name="T52" fmla="*/ 115 w 122"/>
                <a:gd name="T53" fmla="*/ 45 h 52"/>
                <a:gd name="T54" fmla="*/ 117 w 122"/>
                <a:gd name="T55" fmla="*/ 38 h 52"/>
                <a:gd name="T56" fmla="*/ 105 w 122"/>
                <a:gd name="T57" fmla="*/ 32 h 52"/>
                <a:gd name="T58" fmla="*/ 104 w 122"/>
                <a:gd name="T59" fmla="*/ 25 h 52"/>
                <a:gd name="T60" fmla="*/ 92 w 122"/>
                <a:gd name="T61" fmla="*/ 20 h 52"/>
                <a:gd name="T62" fmla="*/ 90 w 122"/>
                <a:gd name="T63" fmla="*/ 27 h 52"/>
                <a:gd name="T64" fmla="*/ 85 w 122"/>
                <a:gd name="T65" fmla="*/ 20 h 52"/>
                <a:gd name="T66" fmla="*/ 80 w 122"/>
                <a:gd name="T67" fmla="*/ 21 h 52"/>
                <a:gd name="T68" fmla="*/ 72 w 122"/>
                <a:gd name="T69" fmla="*/ 23 h 52"/>
                <a:gd name="T70" fmla="*/ 66 w 122"/>
                <a:gd name="T71" fmla="*/ 19 h 52"/>
                <a:gd name="T72" fmla="*/ 67 w 122"/>
                <a:gd name="T73" fmla="*/ 18 h 52"/>
                <a:gd name="T74" fmla="*/ 44 w 122"/>
                <a:gd name="T75" fmla="*/ 8 h 52"/>
                <a:gd name="T76" fmla="*/ 37 w 122"/>
                <a:gd name="T77" fmla="*/ 9 h 52"/>
                <a:gd name="T78" fmla="*/ 9 w 122"/>
                <a:gd name="T79" fmla="*/ 1 h 52"/>
                <a:gd name="T80" fmla="*/ 7 w 122"/>
                <a:gd name="T8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 h="52">
                  <a:moveTo>
                    <a:pt x="1" y="0"/>
                  </a:moveTo>
                  <a:cubicBezTo>
                    <a:pt x="1" y="1"/>
                    <a:pt x="0" y="2"/>
                    <a:pt x="0" y="3"/>
                  </a:cubicBezTo>
                  <a:cubicBezTo>
                    <a:pt x="0" y="4"/>
                    <a:pt x="0" y="4"/>
                    <a:pt x="0" y="4"/>
                  </a:cubicBezTo>
                  <a:cubicBezTo>
                    <a:pt x="2" y="6"/>
                    <a:pt x="5" y="7"/>
                    <a:pt x="8" y="8"/>
                  </a:cubicBezTo>
                  <a:cubicBezTo>
                    <a:pt x="12" y="9"/>
                    <a:pt x="17" y="10"/>
                    <a:pt x="19" y="14"/>
                  </a:cubicBezTo>
                  <a:cubicBezTo>
                    <a:pt x="20" y="18"/>
                    <a:pt x="26" y="17"/>
                    <a:pt x="27" y="22"/>
                  </a:cubicBezTo>
                  <a:cubicBezTo>
                    <a:pt x="27" y="24"/>
                    <a:pt x="28" y="31"/>
                    <a:pt x="31" y="31"/>
                  </a:cubicBezTo>
                  <a:cubicBezTo>
                    <a:pt x="29" y="33"/>
                    <a:pt x="32" y="35"/>
                    <a:pt x="31" y="38"/>
                  </a:cubicBezTo>
                  <a:cubicBezTo>
                    <a:pt x="30" y="40"/>
                    <a:pt x="30" y="41"/>
                    <a:pt x="28" y="43"/>
                  </a:cubicBezTo>
                  <a:cubicBezTo>
                    <a:pt x="28" y="43"/>
                    <a:pt x="28" y="43"/>
                    <a:pt x="28" y="43"/>
                  </a:cubicBezTo>
                  <a:cubicBezTo>
                    <a:pt x="29" y="43"/>
                    <a:pt x="30" y="44"/>
                    <a:pt x="31" y="44"/>
                  </a:cubicBezTo>
                  <a:cubicBezTo>
                    <a:pt x="31" y="44"/>
                    <a:pt x="32" y="43"/>
                    <a:pt x="33" y="43"/>
                  </a:cubicBezTo>
                  <a:cubicBezTo>
                    <a:pt x="34" y="43"/>
                    <a:pt x="34" y="43"/>
                    <a:pt x="35" y="43"/>
                  </a:cubicBezTo>
                  <a:cubicBezTo>
                    <a:pt x="36" y="43"/>
                    <a:pt x="36" y="43"/>
                    <a:pt x="37" y="43"/>
                  </a:cubicBezTo>
                  <a:cubicBezTo>
                    <a:pt x="38" y="44"/>
                    <a:pt x="38" y="44"/>
                    <a:pt x="38" y="44"/>
                  </a:cubicBezTo>
                  <a:cubicBezTo>
                    <a:pt x="40" y="44"/>
                    <a:pt x="42" y="44"/>
                    <a:pt x="44" y="44"/>
                  </a:cubicBezTo>
                  <a:cubicBezTo>
                    <a:pt x="45" y="43"/>
                    <a:pt x="46" y="42"/>
                    <a:pt x="47" y="42"/>
                  </a:cubicBezTo>
                  <a:cubicBezTo>
                    <a:pt x="48" y="41"/>
                    <a:pt x="48" y="41"/>
                    <a:pt x="49" y="41"/>
                  </a:cubicBezTo>
                  <a:cubicBezTo>
                    <a:pt x="51" y="41"/>
                    <a:pt x="54" y="42"/>
                    <a:pt x="55" y="45"/>
                  </a:cubicBezTo>
                  <a:cubicBezTo>
                    <a:pt x="55" y="45"/>
                    <a:pt x="55" y="45"/>
                    <a:pt x="55" y="45"/>
                  </a:cubicBezTo>
                  <a:cubicBezTo>
                    <a:pt x="55" y="45"/>
                    <a:pt x="55" y="45"/>
                    <a:pt x="55" y="45"/>
                  </a:cubicBezTo>
                  <a:cubicBezTo>
                    <a:pt x="56" y="45"/>
                    <a:pt x="56" y="45"/>
                    <a:pt x="56" y="45"/>
                  </a:cubicBezTo>
                  <a:cubicBezTo>
                    <a:pt x="56" y="45"/>
                    <a:pt x="56" y="46"/>
                    <a:pt x="57" y="46"/>
                  </a:cubicBezTo>
                  <a:cubicBezTo>
                    <a:pt x="57" y="46"/>
                    <a:pt x="57" y="46"/>
                    <a:pt x="57" y="46"/>
                  </a:cubicBezTo>
                  <a:cubicBezTo>
                    <a:pt x="58" y="47"/>
                    <a:pt x="58" y="47"/>
                    <a:pt x="58" y="47"/>
                  </a:cubicBezTo>
                  <a:cubicBezTo>
                    <a:pt x="59" y="48"/>
                    <a:pt x="60" y="48"/>
                    <a:pt x="61" y="49"/>
                  </a:cubicBezTo>
                  <a:cubicBezTo>
                    <a:pt x="62" y="50"/>
                    <a:pt x="62" y="50"/>
                    <a:pt x="62" y="50"/>
                  </a:cubicBezTo>
                  <a:cubicBezTo>
                    <a:pt x="63" y="50"/>
                    <a:pt x="63" y="51"/>
                    <a:pt x="64" y="51"/>
                  </a:cubicBezTo>
                  <a:cubicBezTo>
                    <a:pt x="65" y="52"/>
                    <a:pt x="65" y="52"/>
                    <a:pt x="65" y="52"/>
                  </a:cubicBezTo>
                  <a:cubicBezTo>
                    <a:pt x="65" y="52"/>
                    <a:pt x="65" y="52"/>
                    <a:pt x="65" y="52"/>
                  </a:cubicBezTo>
                  <a:cubicBezTo>
                    <a:pt x="65" y="52"/>
                    <a:pt x="65" y="52"/>
                    <a:pt x="65" y="52"/>
                  </a:cubicBezTo>
                  <a:cubicBezTo>
                    <a:pt x="67" y="52"/>
                    <a:pt x="67" y="52"/>
                    <a:pt x="67" y="52"/>
                  </a:cubicBezTo>
                  <a:cubicBezTo>
                    <a:pt x="71" y="51"/>
                    <a:pt x="75" y="51"/>
                    <a:pt x="79" y="50"/>
                  </a:cubicBezTo>
                  <a:cubicBezTo>
                    <a:pt x="80" y="50"/>
                    <a:pt x="81" y="50"/>
                    <a:pt x="83" y="50"/>
                  </a:cubicBezTo>
                  <a:cubicBezTo>
                    <a:pt x="84" y="50"/>
                    <a:pt x="84" y="50"/>
                    <a:pt x="85" y="50"/>
                  </a:cubicBezTo>
                  <a:cubicBezTo>
                    <a:pt x="86" y="50"/>
                    <a:pt x="86" y="50"/>
                    <a:pt x="86" y="50"/>
                  </a:cubicBezTo>
                  <a:cubicBezTo>
                    <a:pt x="86" y="50"/>
                    <a:pt x="87" y="50"/>
                    <a:pt x="88" y="50"/>
                  </a:cubicBezTo>
                  <a:cubicBezTo>
                    <a:pt x="88" y="50"/>
                    <a:pt x="88" y="50"/>
                    <a:pt x="88" y="50"/>
                  </a:cubicBezTo>
                  <a:cubicBezTo>
                    <a:pt x="89" y="50"/>
                    <a:pt x="89" y="50"/>
                    <a:pt x="89" y="50"/>
                  </a:cubicBezTo>
                  <a:cubicBezTo>
                    <a:pt x="88" y="49"/>
                    <a:pt x="88" y="49"/>
                    <a:pt x="88" y="49"/>
                  </a:cubicBezTo>
                  <a:cubicBezTo>
                    <a:pt x="92" y="48"/>
                    <a:pt x="92" y="48"/>
                    <a:pt x="92" y="48"/>
                  </a:cubicBezTo>
                  <a:cubicBezTo>
                    <a:pt x="93" y="48"/>
                    <a:pt x="94" y="47"/>
                    <a:pt x="95" y="47"/>
                  </a:cubicBezTo>
                  <a:cubicBezTo>
                    <a:pt x="96" y="45"/>
                    <a:pt x="96" y="45"/>
                    <a:pt x="96" y="45"/>
                  </a:cubicBezTo>
                  <a:cubicBezTo>
                    <a:pt x="97" y="45"/>
                    <a:pt x="98" y="44"/>
                    <a:pt x="99" y="44"/>
                  </a:cubicBezTo>
                  <a:cubicBezTo>
                    <a:pt x="100" y="44"/>
                    <a:pt x="100" y="44"/>
                    <a:pt x="100" y="45"/>
                  </a:cubicBezTo>
                  <a:cubicBezTo>
                    <a:pt x="103" y="45"/>
                    <a:pt x="104" y="46"/>
                    <a:pt x="106" y="47"/>
                  </a:cubicBezTo>
                  <a:cubicBezTo>
                    <a:pt x="106" y="48"/>
                    <a:pt x="106" y="48"/>
                    <a:pt x="106" y="48"/>
                  </a:cubicBezTo>
                  <a:cubicBezTo>
                    <a:pt x="107" y="48"/>
                    <a:pt x="108" y="49"/>
                    <a:pt x="109" y="49"/>
                  </a:cubicBezTo>
                  <a:cubicBezTo>
                    <a:pt x="109" y="49"/>
                    <a:pt x="109" y="50"/>
                    <a:pt x="110" y="50"/>
                  </a:cubicBezTo>
                  <a:cubicBezTo>
                    <a:pt x="113" y="51"/>
                    <a:pt x="117" y="51"/>
                    <a:pt x="120" y="52"/>
                  </a:cubicBezTo>
                  <a:cubicBezTo>
                    <a:pt x="121" y="52"/>
                    <a:pt x="121" y="52"/>
                    <a:pt x="122" y="52"/>
                  </a:cubicBezTo>
                  <a:cubicBezTo>
                    <a:pt x="122" y="50"/>
                    <a:pt x="122" y="50"/>
                    <a:pt x="122" y="50"/>
                  </a:cubicBezTo>
                  <a:cubicBezTo>
                    <a:pt x="120" y="49"/>
                    <a:pt x="119" y="48"/>
                    <a:pt x="118" y="47"/>
                  </a:cubicBezTo>
                  <a:cubicBezTo>
                    <a:pt x="117" y="46"/>
                    <a:pt x="116" y="45"/>
                    <a:pt x="115" y="45"/>
                  </a:cubicBezTo>
                  <a:cubicBezTo>
                    <a:pt x="113" y="44"/>
                    <a:pt x="113" y="44"/>
                    <a:pt x="113" y="44"/>
                  </a:cubicBezTo>
                  <a:cubicBezTo>
                    <a:pt x="117" y="38"/>
                    <a:pt x="117" y="38"/>
                    <a:pt x="117" y="38"/>
                  </a:cubicBezTo>
                  <a:cubicBezTo>
                    <a:pt x="116" y="37"/>
                    <a:pt x="116" y="37"/>
                    <a:pt x="116" y="37"/>
                  </a:cubicBezTo>
                  <a:cubicBezTo>
                    <a:pt x="112" y="36"/>
                    <a:pt x="105" y="32"/>
                    <a:pt x="105" y="32"/>
                  </a:cubicBezTo>
                  <a:cubicBezTo>
                    <a:pt x="104" y="32"/>
                    <a:pt x="104" y="31"/>
                    <a:pt x="103" y="30"/>
                  </a:cubicBezTo>
                  <a:cubicBezTo>
                    <a:pt x="103" y="28"/>
                    <a:pt x="103" y="27"/>
                    <a:pt x="104" y="25"/>
                  </a:cubicBezTo>
                  <a:cubicBezTo>
                    <a:pt x="100" y="24"/>
                    <a:pt x="95" y="22"/>
                    <a:pt x="93" y="20"/>
                  </a:cubicBezTo>
                  <a:cubicBezTo>
                    <a:pt x="92" y="20"/>
                    <a:pt x="92" y="20"/>
                    <a:pt x="92" y="20"/>
                  </a:cubicBezTo>
                  <a:cubicBezTo>
                    <a:pt x="92" y="20"/>
                    <a:pt x="92" y="20"/>
                    <a:pt x="92" y="21"/>
                  </a:cubicBezTo>
                  <a:cubicBezTo>
                    <a:pt x="90" y="27"/>
                    <a:pt x="90" y="27"/>
                    <a:pt x="90" y="27"/>
                  </a:cubicBezTo>
                  <a:cubicBezTo>
                    <a:pt x="87" y="21"/>
                    <a:pt x="87" y="21"/>
                    <a:pt x="87" y="21"/>
                  </a:cubicBezTo>
                  <a:cubicBezTo>
                    <a:pt x="87" y="20"/>
                    <a:pt x="86" y="20"/>
                    <a:pt x="85" y="20"/>
                  </a:cubicBezTo>
                  <a:cubicBezTo>
                    <a:pt x="85" y="20"/>
                    <a:pt x="85" y="20"/>
                    <a:pt x="85" y="20"/>
                  </a:cubicBezTo>
                  <a:cubicBezTo>
                    <a:pt x="83" y="20"/>
                    <a:pt x="82" y="20"/>
                    <a:pt x="80" y="21"/>
                  </a:cubicBezTo>
                  <a:cubicBezTo>
                    <a:pt x="78" y="23"/>
                    <a:pt x="75" y="23"/>
                    <a:pt x="74" y="23"/>
                  </a:cubicBezTo>
                  <a:cubicBezTo>
                    <a:pt x="73" y="23"/>
                    <a:pt x="72" y="23"/>
                    <a:pt x="72" y="23"/>
                  </a:cubicBezTo>
                  <a:cubicBezTo>
                    <a:pt x="72" y="23"/>
                    <a:pt x="68" y="22"/>
                    <a:pt x="67" y="20"/>
                  </a:cubicBezTo>
                  <a:cubicBezTo>
                    <a:pt x="66" y="19"/>
                    <a:pt x="66" y="19"/>
                    <a:pt x="66" y="19"/>
                  </a:cubicBezTo>
                  <a:cubicBezTo>
                    <a:pt x="67" y="18"/>
                    <a:pt x="67" y="18"/>
                    <a:pt x="67" y="18"/>
                  </a:cubicBezTo>
                  <a:cubicBezTo>
                    <a:pt x="67" y="18"/>
                    <a:pt x="67" y="18"/>
                    <a:pt x="67" y="18"/>
                  </a:cubicBezTo>
                  <a:cubicBezTo>
                    <a:pt x="63" y="17"/>
                    <a:pt x="54" y="13"/>
                    <a:pt x="52" y="11"/>
                  </a:cubicBezTo>
                  <a:cubicBezTo>
                    <a:pt x="52" y="10"/>
                    <a:pt x="48" y="8"/>
                    <a:pt x="44" y="8"/>
                  </a:cubicBezTo>
                  <a:cubicBezTo>
                    <a:pt x="43" y="8"/>
                    <a:pt x="42" y="8"/>
                    <a:pt x="41" y="9"/>
                  </a:cubicBezTo>
                  <a:cubicBezTo>
                    <a:pt x="40" y="9"/>
                    <a:pt x="39" y="9"/>
                    <a:pt x="37" y="9"/>
                  </a:cubicBezTo>
                  <a:cubicBezTo>
                    <a:pt x="30" y="9"/>
                    <a:pt x="17" y="5"/>
                    <a:pt x="14" y="3"/>
                  </a:cubicBezTo>
                  <a:cubicBezTo>
                    <a:pt x="13" y="2"/>
                    <a:pt x="10" y="1"/>
                    <a:pt x="9" y="1"/>
                  </a:cubicBezTo>
                  <a:cubicBezTo>
                    <a:pt x="9" y="1"/>
                    <a:pt x="9" y="1"/>
                    <a:pt x="9" y="1"/>
                  </a:cubicBezTo>
                  <a:cubicBezTo>
                    <a:pt x="9" y="2"/>
                    <a:pt x="8" y="2"/>
                    <a:pt x="7" y="2"/>
                  </a:cubicBezTo>
                  <a:cubicBezTo>
                    <a:pt x="5" y="2"/>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 name="Freeform 459">
              <a:extLst>
                <a:ext uri="{FF2B5EF4-FFF2-40B4-BE49-F238E27FC236}">
                  <a16:creationId xmlns:a16="http://schemas.microsoft.com/office/drawing/2014/main" id="{F57D13EB-2973-40C6-9C03-AFE5EA0063B5}"/>
                </a:ext>
              </a:extLst>
            </p:cNvPr>
            <p:cNvSpPr>
              <a:spLocks/>
            </p:cNvSpPr>
            <p:nvPr/>
          </p:nvSpPr>
          <p:spPr bwMode="auto">
            <a:xfrm>
              <a:off x="2229608" y="3134616"/>
              <a:ext cx="13755" cy="2751"/>
            </a:xfrm>
            <a:custGeom>
              <a:avLst/>
              <a:gdLst>
                <a:gd name="T0" fmla="*/ 0 w 4"/>
                <a:gd name="T1" fmla="*/ 0 h 1"/>
                <a:gd name="T2" fmla="*/ 0 w 4"/>
                <a:gd name="T3" fmla="*/ 1 h 1"/>
                <a:gd name="T4" fmla="*/ 1 w 4"/>
                <a:gd name="T5" fmla="*/ 1 h 1"/>
                <a:gd name="T6" fmla="*/ 2 w 4"/>
                <a:gd name="T7" fmla="*/ 1 h 1"/>
                <a:gd name="T8" fmla="*/ 2 w 4"/>
                <a:gd name="T9" fmla="*/ 1 h 1"/>
                <a:gd name="T10" fmla="*/ 3 w 4"/>
                <a:gd name="T11" fmla="*/ 1 h 1"/>
                <a:gd name="T12" fmla="*/ 3 w 4"/>
                <a:gd name="T13" fmla="*/ 1 h 1"/>
                <a:gd name="T14" fmla="*/ 4 w 4"/>
                <a:gd name="T15" fmla="*/ 1 h 1"/>
                <a:gd name="T16" fmla="*/ 2 w 4"/>
                <a:gd name="T17" fmla="*/ 0 h 1"/>
                <a:gd name="T18" fmla="*/ 0 w 4"/>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0" y="0"/>
                  </a:moveTo>
                  <a:cubicBezTo>
                    <a:pt x="0" y="1"/>
                    <a:pt x="0" y="1"/>
                    <a:pt x="0" y="1"/>
                  </a:cubicBezTo>
                  <a:cubicBezTo>
                    <a:pt x="1" y="1"/>
                    <a:pt x="1" y="1"/>
                    <a:pt x="1" y="1"/>
                  </a:cubicBezTo>
                  <a:cubicBezTo>
                    <a:pt x="2" y="1"/>
                    <a:pt x="2" y="1"/>
                    <a:pt x="2" y="1"/>
                  </a:cubicBezTo>
                  <a:cubicBezTo>
                    <a:pt x="2" y="1"/>
                    <a:pt x="2" y="1"/>
                    <a:pt x="2" y="1"/>
                  </a:cubicBezTo>
                  <a:cubicBezTo>
                    <a:pt x="2" y="1"/>
                    <a:pt x="3" y="1"/>
                    <a:pt x="3" y="1"/>
                  </a:cubicBezTo>
                  <a:cubicBezTo>
                    <a:pt x="3" y="1"/>
                    <a:pt x="3" y="1"/>
                    <a:pt x="3" y="1"/>
                  </a:cubicBezTo>
                  <a:cubicBezTo>
                    <a:pt x="4" y="1"/>
                    <a:pt x="4" y="1"/>
                    <a:pt x="4" y="1"/>
                  </a:cubicBezTo>
                  <a:cubicBezTo>
                    <a:pt x="2" y="0"/>
                    <a:pt x="2" y="0"/>
                    <a:pt x="2" y="0"/>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 name="Freeform 460">
              <a:extLst>
                <a:ext uri="{FF2B5EF4-FFF2-40B4-BE49-F238E27FC236}">
                  <a16:creationId xmlns:a16="http://schemas.microsoft.com/office/drawing/2014/main" id="{790D5CAE-5DCF-4985-9A04-9C6DE61339EC}"/>
                </a:ext>
              </a:extLst>
            </p:cNvPr>
            <p:cNvSpPr>
              <a:spLocks/>
            </p:cNvSpPr>
            <p:nvPr/>
          </p:nvSpPr>
          <p:spPr bwMode="auto">
            <a:xfrm>
              <a:off x="2486816" y="2998445"/>
              <a:ext cx="2751"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 name="Freeform 461">
              <a:extLst>
                <a:ext uri="{FF2B5EF4-FFF2-40B4-BE49-F238E27FC236}">
                  <a16:creationId xmlns:a16="http://schemas.microsoft.com/office/drawing/2014/main" id="{A320420C-E41B-4E2B-A629-E711D0D182B2}"/>
                </a:ext>
              </a:extLst>
            </p:cNvPr>
            <p:cNvSpPr>
              <a:spLocks/>
            </p:cNvSpPr>
            <p:nvPr/>
          </p:nvSpPr>
          <p:spPr bwMode="auto">
            <a:xfrm>
              <a:off x="2486816" y="2998445"/>
              <a:ext cx="2751"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Freeform 462">
              <a:extLst>
                <a:ext uri="{FF2B5EF4-FFF2-40B4-BE49-F238E27FC236}">
                  <a16:creationId xmlns:a16="http://schemas.microsoft.com/office/drawing/2014/main" id="{6C7972E8-B2A3-4247-91B4-3ABE202784DA}"/>
                </a:ext>
              </a:extLst>
            </p:cNvPr>
            <p:cNvSpPr>
              <a:spLocks/>
            </p:cNvSpPr>
            <p:nvPr/>
          </p:nvSpPr>
          <p:spPr bwMode="auto">
            <a:xfrm>
              <a:off x="1466232" y="3683420"/>
              <a:ext cx="2751" cy="412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Rectangle 463">
              <a:extLst>
                <a:ext uri="{FF2B5EF4-FFF2-40B4-BE49-F238E27FC236}">
                  <a16:creationId xmlns:a16="http://schemas.microsoft.com/office/drawing/2014/main" id="{97C23470-D02D-4C96-A08E-5B68EB8A476C}"/>
                </a:ext>
              </a:extLst>
            </p:cNvPr>
            <p:cNvSpPr>
              <a:spLocks noChangeArrowheads="1"/>
            </p:cNvSpPr>
            <p:nvPr/>
          </p:nvSpPr>
          <p:spPr bwMode="auto">
            <a:xfrm>
              <a:off x="1442850" y="3647658"/>
              <a:ext cx="1376" cy="13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Freeform 464">
              <a:extLst>
                <a:ext uri="{FF2B5EF4-FFF2-40B4-BE49-F238E27FC236}">
                  <a16:creationId xmlns:a16="http://schemas.microsoft.com/office/drawing/2014/main" id="{B8BA1A70-264B-4DA7-A311-040E48512F9B}"/>
                </a:ext>
              </a:extLst>
            </p:cNvPr>
            <p:cNvSpPr>
              <a:spLocks/>
            </p:cNvSpPr>
            <p:nvPr/>
          </p:nvSpPr>
          <p:spPr bwMode="auto">
            <a:xfrm>
              <a:off x="1442850" y="364765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 name="Freeform 468">
              <a:extLst>
                <a:ext uri="{FF2B5EF4-FFF2-40B4-BE49-F238E27FC236}">
                  <a16:creationId xmlns:a16="http://schemas.microsoft.com/office/drawing/2014/main" id="{E8F129D5-880B-42C3-9A85-A1E3BE18DD3E}"/>
                </a:ext>
              </a:extLst>
            </p:cNvPr>
            <p:cNvSpPr>
              <a:spLocks noEditPoints="1"/>
            </p:cNvSpPr>
            <p:nvPr/>
          </p:nvSpPr>
          <p:spPr bwMode="auto">
            <a:xfrm>
              <a:off x="686351" y="2493655"/>
              <a:ext cx="8298096" cy="1265415"/>
            </a:xfrm>
            <a:custGeom>
              <a:avLst/>
              <a:gdLst>
                <a:gd name="T0" fmla="*/ 0 w 2553"/>
                <a:gd name="T1" fmla="*/ 389 h 389"/>
                <a:gd name="T2" fmla="*/ 0 w 2553"/>
                <a:gd name="T3" fmla="*/ 389 h 389"/>
                <a:gd name="T4" fmla="*/ 0 w 2553"/>
                <a:gd name="T5" fmla="*/ 389 h 389"/>
                <a:gd name="T6" fmla="*/ 397 w 2553"/>
                <a:gd name="T7" fmla="*/ 252 h 389"/>
                <a:gd name="T8" fmla="*/ 397 w 2553"/>
                <a:gd name="T9" fmla="*/ 252 h 389"/>
                <a:gd name="T10" fmla="*/ 397 w 2553"/>
                <a:gd name="T11" fmla="*/ 252 h 389"/>
                <a:gd name="T12" fmla="*/ 2553 w 2553"/>
                <a:gd name="T13" fmla="*/ 0 h 389"/>
                <a:gd name="T14" fmla="*/ 2553 w 2553"/>
                <a:gd name="T15" fmla="*/ 0 h 389"/>
                <a:gd name="T16" fmla="*/ 2553 w 2553"/>
                <a:gd name="T17"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3" h="389">
                  <a:moveTo>
                    <a:pt x="0" y="389"/>
                  </a:moveTo>
                  <a:cubicBezTo>
                    <a:pt x="0" y="389"/>
                    <a:pt x="0" y="389"/>
                    <a:pt x="0" y="389"/>
                  </a:cubicBezTo>
                  <a:cubicBezTo>
                    <a:pt x="0" y="389"/>
                    <a:pt x="0" y="389"/>
                    <a:pt x="0" y="389"/>
                  </a:cubicBezTo>
                  <a:moveTo>
                    <a:pt x="397" y="252"/>
                  </a:moveTo>
                  <a:cubicBezTo>
                    <a:pt x="397" y="252"/>
                    <a:pt x="397" y="252"/>
                    <a:pt x="397" y="252"/>
                  </a:cubicBezTo>
                  <a:cubicBezTo>
                    <a:pt x="397" y="252"/>
                    <a:pt x="397" y="252"/>
                    <a:pt x="397" y="252"/>
                  </a:cubicBezTo>
                  <a:moveTo>
                    <a:pt x="2553" y="0"/>
                  </a:moveTo>
                  <a:cubicBezTo>
                    <a:pt x="2553" y="0"/>
                    <a:pt x="2553" y="0"/>
                    <a:pt x="2553" y="0"/>
                  </a:cubicBezTo>
                  <a:cubicBezTo>
                    <a:pt x="2553" y="0"/>
                    <a:pt x="2553" y="0"/>
                    <a:pt x="25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 name="Freeform 469">
              <a:extLst>
                <a:ext uri="{FF2B5EF4-FFF2-40B4-BE49-F238E27FC236}">
                  <a16:creationId xmlns:a16="http://schemas.microsoft.com/office/drawing/2014/main" id="{CFD9A9F1-F050-4758-80BC-DDFA0E86DB8D}"/>
                </a:ext>
              </a:extLst>
            </p:cNvPr>
            <p:cNvSpPr>
              <a:spLocks noEditPoints="1"/>
            </p:cNvSpPr>
            <p:nvPr/>
          </p:nvSpPr>
          <p:spPr bwMode="auto">
            <a:xfrm>
              <a:off x="314980" y="6844207"/>
              <a:ext cx="231076" cy="16505"/>
            </a:xfrm>
            <a:custGeom>
              <a:avLst/>
              <a:gdLst>
                <a:gd name="T0" fmla="*/ 64 w 71"/>
                <a:gd name="T1" fmla="*/ 1 h 5"/>
                <a:gd name="T2" fmla="*/ 63 w 71"/>
                <a:gd name="T3" fmla="*/ 5 h 5"/>
                <a:gd name="T4" fmla="*/ 60 w 71"/>
                <a:gd name="T5" fmla="*/ 4 h 5"/>
                <a:gd name="T6" fmla="*/ 60 w 71"/>
                <a:gd name="T7" fmla="*/ 4 h 5"/>
                <a:gd name="T8" fmla="*/ 60 w 71"/>
                <a:gd name="T9" fmla="*/ 5 h 5"/>
                <a:gd name="T10" fmla="*/ 71 w 71"/>
                <a:gd name="T11" fmla="*/ 5 h 5"/>
                <a:gd name="T12" fmla="*/ 64 w 71"/>
                <a:gd name="T13" fmla="*/ 1 h 5"/>
                <a:gd name="T14" fmla="*/ 22 w 71"/>
                <a:gd name="T15" fmla="*/ 0 h 5"/>
                <a:gd name="T16" fmla="*/ 21 w 71"/>
                <a:gd name="T17" fmla="*/ 0 h 5"/>
                <a:gd name="T18" fmla="*/ 0 w 71"/>
                <a:gd name="T19" fmla="*/ 1 h 5"/>
                <a:gd name="T20" fmla="*/ 2 w 71"/>
                <a:gd name="T21" fmla="*/ 5 h 5"/>
                <a:gd name="T22" fmla="*/ 21 w 71"/>
                <a:gd name="T23" fmla="*/ 5 h 5"/>
                <a:gd name="T24" fmla="*/ 22 w 71"/>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5">
                  <a:moveTo>
                    <a:pt x="64" y="1"/>
                  </a:moveTo>
                  <a:cubicBezTo>
                    <a:pt x="63" y="2"/>
                    <a:pt x="63" y="3"/>
                    <a:pt x="63" y="5"/>
                  </a:cubicBezTo>
                  <a:cubicBezTo>
                    <a:pt x="62" y="4"/>
                    <a:pt x="61" y="4"/>
                    <a:pt x="60" y="4"/>
                  </a:cubicBezTo>
                  <a:cubicBezTo>
                    <a:pt x="60" y="4"/>
                    <a:pt x="60" y="4"/>
                    <a:pt x="60" y="4"/>
                  </a:cubicBezTo>
                  <a:cubicBezTo>
                    <a:pt x="60" y="4"/>
                    <a:pt x="60" y="4"/>
                    <a:pt x="60" y="5"/>
                  </a:cubicBezTo>
                  <a:cubicBezTo>
                    <a:pt x="71" y="5"/>
                    <a:pt x="71" y="5"/>
                    <a:pt x="71" y="5"/>
                  </a:cubicBezTo>
                  <a:cubicBezTo>
                    <a:pt x="69" y="3"/>
                    <a:pt x="66" y="2"/>
                    <a:pt x="64" y="1"/>
                  </a:cubicBezTo>
                  <a:moveTo>
                    <a:pt x="22" y="0"/>
                  </a:moveTo>
                  <a:cubicBezTo>
                    <a:pt x="21" y="0"/>
                    <a:pt x="21" y="0"/>
                    <a:pt x="21" y="0"/>
                  </a:cubicBezTo>
                  <a:cubicBezTo>
                    <a:pt x="13" y="0"/>
                    <a:pt x="6" y="1"/>
                    <a:pt x="0" y="1"/>
                  </a:cubicBezTo>
                  <a:cubicBezTo>
                    <a:pt x="2" y="5"/>
                    <a:pt x="2" y="5"/>
                    <a:pt x="2" y="5"/>
                  </a:cubicBezTo>
                  <a:cubicBezTo>
                    <a:pt x="21" y="5"/>
                    <a:pt x="21" y="5"/>
                    <a:pt x="21" y="5"/>
                  </a:cubicBezTo>
                  <a:cubicBezTo>
                    <a:pt x="22" y="3"/>
                    <a:pt x="22" y="2"/>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 name="Freeform 470">
              <a:extLst>
                <a:ext uri="{FF2B5EF4-FFF2-40B4-BE49-F238E27FC236}">
                  <a16:creationId xmlns:a16="http://schemas.microsoft.com/office/drawing/2014/main" id="{ED4D516C-A6C0-4261-BD4A-5C90E8DA1DBD}"/>
                </a:ext>
              </a:extLst>
            </p:cNvPr>
            <p:cNvSpPr>
              <a:spLocks/>
            </p:cNvSpPr>
            <p:nvPr/>
          </p:nvSpPr>
          <p:spPr bwMode="auto">
            <a:xfrm>
              <a:off x="519921" y="6496218"/>
              <a:ext cx="474531" cy="364495"/>
            </a:xfrm>
            <a:custGeom>
              <a:avLst/>
              <a:gdLst>
                <a:gd name="T0" fmla="*/ 9 w 146"/>
                <a:gd name="T1" fmla="*/ 0 h 112"/>
                <a:gd name="T2" fmla="*/ 5 w 146"/>
                <a:gd name="T3" fmla="*/ 4 h 112"/>
                <a:gd name="T4" fmla="*/ 3 w 146"/>
                <a:gd name="T5" fmla="*/ 6 h 112"/>
                <a:gd name="T6" fmla="*/ 5 w 146"/>
                <a:gd name="T7" fmla="*/ 11 h 112"/>
                <a:gd name="T8" fmla="*/ 7 w 146"/>
                <a:gd name="T9" fmla="*/ 13 h 112"/>
                <a:gd name="T10" fmla="*/ 11 w 146"/>
                <a:gd name="T11" fmla="*/ 15 h 112"/>
                <a:gd name="T12" fmla="*/ 12 w 146"/>
                <a:gd name="T13" fmla="*/ 16 h 112"/>
                <a:gd name="T14" fmla="*/ 15 w 146"/>
                <a:gd name="T15" fmla="*/ 29 h 112"/>
                <a:gd name="T16" fmla="*/ 21 w 146"/>
                <a:gd name="T17" fmla="*/ 38 h 112"/>
                <a:gd name="T18" fmla="*/ 22 w 146"/>
                <a:gd name="T19" fmla="*/ 48 h 112"/>
                <a:gd name="T20" fmla="*/ 22 w 146"/>
                <a:gd name="T21" fmla="*/ 48 h 112"/>
                <a:gd name="T22" fmla="*/ 18 w 146"/>
                <a:gd name="T23" fmla="*/ 58 h 112"/>
                <a:gd name="T24" fmla="*/ 18 w 146"/>
                <a:gd name="T25" fmla="*/ 60 h 112"/>
                <a:gd name="T26" fmla="*/ 14 w 146"/>
                <a:gd name="T27" fmla="*/ 66 h 112"/>
                <a:gd name="T28" fmla="*/ 11 w 146"/>
                <a:gd name="T29" fmla="*/ 68 h 112"/>
                <a:gd name="T30" fmla="*/ 9 w 146"/>
                <a:gd name="T31" fmla="*/ 72 h 112"/>
                <a:gd name="T32" fmla="*/ 5 w 146"/>
                <a:gd name="T33" fmla="*/ 78 h 112"/>
                <a:gd name="T34" fmla="*/ 3 w 146"/>
                <a:gd name="T35" fmla="*/ 82 h 112"/>
                <a:gd name="T36" fmla="*/ 1 w 146"/>
                <a:gd name="T37" fmla="*/ 84 h 112"/>
                <a:gd name="T38" fmla="*/ 1 w 146"/>
                <a:gd name="T39" fmla="*/ 86 h 112"/>
                <a:gd name="T40" fmla="*/ 6 w 146"/>
                <a:gd name="T41" fmla="*/ 92 h 112"/>
                <a:gd name="T42" fmla="*/ 17 w 146"/>
                <a:gd name="T43" fmla="*/ 91 h 112"/>
                <a:gd name="T44" fmla="*/ 15 w 146"/>
                <a:gd name="T45" fmla="*/ 91 h 112"/>
                <a:gd name="T46" fmla="*/ 13 w 146"/>
                <a:gd name="T47" fmla="*/ 92 h 112"/>
                <a:gd name="T48" fmla="*/ 11 w 146"/>
                <a:gd name="T49" fmla="*/ 92 h 112"/>
                <a:gd name="T50" fmla="*/ 10 w 146"/>
                <a:gd name="T51" fmla="*/ 92 h 112"/>
                <a:gd name="T52" fmla="*/ 9 w 146"/>
                <a:gd name="T53" fmla="*/ 96 h 112"/>
                <a:gd name="T54" fmla="*/ 7 w 146"/>
                <a:gd name="T55" fmla="*/ 94 h 112"/>
                <a:gd name="T56" fmla="*/ 6 w 146"/>
                <a:gd name="T57" fmla="*/ 95 h 112"/>
                <a:gd name="T58" fmla="*/ 5 w 146"/>
                <a:gd name="T59" fmla="*/ 94 h 112"/>
                <a:gd name="T60" fmla="*/ 4 w 146"/>
                <a:gd name="T61" fmla="*/ 103 h 112"/>
                <a:gd name="T62" fmla="*/ 137 w 146"/>
                <a:gd name="T63" fmla="*/ 112 h 112"/>
                <a:gd name="T64" fmla="*/ 131 w 146"/>
                <a:gd name="T65" fmla="*/ 93 h 112"/>
                <a:gd name="T66" fmla="*/ 131 w 146"/>
                <a:gd name="T67" fmla="*/ 68 h 112"/>
                <a:gd name="T68" fmla="*/ 131 w 146"/>
                <a:gd name="T69" fmla="*/ 38 h 112"/>
                <a:gd name="T70" fmla="*/ 132 w 146"/>
                <a:gd name="T71" fmla="*/ 29 h 112"/>
                <a:gd name="T72" fmla="*/ 132 w 146"/>
                <a:gd name="T73" fmla="*/ 23 h 112"/>
                <a:gd name="T74" fmla="*/ 146 w 146"/>
                <a:gd name="T75" fmla="*/ 13 h 112"/>
                <a:gd name="T76" fmla="*/ 139 w 146"/>
                <a:gd name="T77" fmla="*/ 13 h 112"/>
                <a:gd name="T78" fmla="*/ 130 w 146"/>
                <a:gd name="T79" fmla="*/ 8 h 112"/>
                <a:gd name="T80" fmla="*/ 112 w 146"/>
                <a:gd name="T81" fmla="*/ 17 h 112"/>
                <a:gd name="T82" fmla="*/ 106 w 146"/>
                <a:gd name="T83" fmla="*/ 23 h 112"/>
                <a:gd name="T84" fmla="*/ 104 w 146"/>
                <a:gd name="T85" fmla="*/ 23 h 112"/>
                <a:gd name="T86" fmla="*/ 96 w 146"/>
                <a:gd name="T87" fmla="*/ 21 h 112"/>
                <a:gd name="T88" fmla="*/ 91 w 146"/>
                <a:gd name="T89" fmla="*/ 21 h 112"/>
                <a:gd name="T90" fmla="*/ 73 w 146"/>
                <a:gd name="T91" fmla="*/ 16 h 112"/>
                <a:gd name="T92" fmla="*/ 61 w 146"/>
                <a:gd name="T93" fmla="*/ 8 h 112"/>
                <a:gd name="T94" fmla="*/ 57 w 146"/>
                <a:gd name="T95" fmla="*/ 6 h 112"/>
                <a:gd name="T96" fmla="*/ 55 w 146"/>
                <a:gd name="T97" fmla="*/ 5 h 112"/>
                <a:gd name="T98" fmla="*/ 40 w 146"/>
                <a:gd name="T99" fmla="*/ 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6" h="112">
                  <a:moveTo>
                    <a:pt x="36" y="0"/>
                  </a:moveTo>
                  <a:cubicBezTo>
                    <a:pt x="33" y="0"/>
                    <a:pt x="33" y="0"/>
                    <a:pt x="33" y="0"/>
                  </a:cubicBezTo>
                  <a:cubicBezTo>
                    <a:pt x="9" y="0"/>
                    <a:pt x="9" y="0"/>
                    <a:pt x="9" y="0"/>
                  </a:cubicBezTo>
                  <a:cubicBezTo>
                    <a:pt x="9" y="0"/>
                    <a:pt x="8" y="0"/>
                    <a:pt x="7" y="1"/>
                  </a:cubicBezTo>
                  <a:cubicBezTo>
                    <a:pt x="7" y="2"/>
                    <a:pt x="7" y="2"/>
                    <a:pt x="6" y="2"/>
                  </a:cubicBezTo>
                  <a:cubicBezTo>
                    <a:pt x="6" y="3"/>
                    <a:pt x="6" y="3"/>
                    <a:pt x="5" y="4"/>
                  </a:cubicBezTo>
                  <a:cubicBezTo>
                    <a:pt x="5" y="4"/>
                    <a:pt x="5" y="4"/>
                    <a:pt x="5" y="4"/>
                  </a:cubicBezTo>
                  <a:cubicBezTo>
                    <a:pt x="3" y="6"/>
                    <a:pt x="3" y="6"/>
                    <a:pt x="3" y="6"/>
                  </a:cubicBezTo>
                  <a:cubicBezTo>
                    <a:pt x="3" y="6"/>
                    <a:pt x="3" y="6"/>
                    <a:pt x="3" y="6"/>
                  </a:cubicBezTo>
                  <a:cubicBezTo>
                    <a:pt x="3" y="7"/>
                    <a:pt x="4" y="7"/>
                    <a:pt x="4" y="8"/>
                  </a:cubicBezTo>
                  <a:cubicBezTo>
                    <a:pt x="4" y="8"/>
                    <a:pt x="4" y="8"/>
                    <a:pt x="4" y="8"/>
                  </a:cubicBezTo>
                  <a:cubicBezTo>
                    <a:pt x="4" y="9"/>
                    <a:pt x="5" y="10"/>
                    <a:pt x="5" y="11"/>
                  </a:cubicBezTo>
                  <a:cubicBezTo>
                    <a:pt x="5" y="12"/>
                    <a:pt x="5" y="12"/>
                    <a:pt x="6" y="12"/>
                  </a:cubicBezTo>
                  <a:cubicBezTo>
                    <a:pt x="6" y="12"/>
                    <a:pt x="6" y="12"/>
                    <a:pt x="6" y="12"/>
                  </a:cubicBezTo>
                  <a:cubicBezTo>
                    <a:pt x="7" y="13"/>
                    <a:pt x="7" y="13"/>
                    <a:pt x="7" y="13"/>
                  </a:cubicBezTo>
                  <a:cubicBezTo>
                    <a:pt x="8" y="13"/>
                    <a:pt x="8" y="13"/>
                    <a:pt x="9" y="13"/>
                  </a:cubicBezTo>
                  <a:cubicBezTo>
                    <a:pt x="9" y="13"/>
                    <a:pt x="9" y="13"/>
                    <a:pt x="9" y="13"/>
                  </a:cubicBezTo>
                  <a:cubicBezTo>
                    <a:pt x="10" y="14"/>
                    <a:pt x="11" y="14"/>
                    <a:pt x="11" y="15"/>
                  </a:cubicBezTo>
                  <a:cubicBezTo>
                    <a:pt x="11" y="15"/>
                    <a:pt x="11" y="15"/>
                    <a:pt x="11" y="15"/>
                  </a:cubicBezTo>
                  <a:cubicBezTo>
                    <a:pt x="12" y="16"/>
                    <a:pt x="12" y="16"/>
                    <a:pt x="12" y="16"/>
                  </a:cubicBezTo>
                  <a:cubicBezTo>
                    <a:pt x="12" y="16"/>
                    <a:pt x="12" y="16"/>
                    <a:pt x="12" y="16"/>
                  </a:cubicBezTo>
                  <a:cubicBezTo>
                    <a:pt x="12" y="18"/>
                    <a:pt x="12" y="21"/>
                    <a:pt x="13" y="23"/>
                  </a:cubicBezTo>
                  <a:cubicBezTo>
                    <a:pt x="13" y="25"/>
                    <a:pt x="13" y="25"/>
                    <a:pt x="13" y="25"/>
                  </a:cubicBezTo>
                  <a:cubicBezTo>
                    <a:pt x="13" y="26"/>
                    <a:pt x="14" y="27"/>
                    <a:pt x="15" y="29"/>
                  </a:cubicBezTo>
                  <a:cubicBezTo>
                    <a:pt x="16" y="30"/>
                    <a:pt x="16" y="30"/>
                    <a:pt x="16" y="30"/>
                  </a:cubicBezTo>
                  <a:cubicBezTo>
                    <a:pt x="16" y="30"/>
                    <a:pt x="17" y="31"/>
                    <a:pt x="17" y="31"/>
                  </a:cubicBezTo>
                  <a:cubicBezTo>
                    <a:pt x="19" y="34"/>
                    <a:pt x="21" y="36"/>
                    <a:pt x="21" y="38"/>
                  </a:cubicBezTo>
                  <a:cubicBezTo>
                    <a:pt x="20" y="41"/>
                    <a:pt x="21" y="43"/>
                    <a:pt x="21" y="46"/>
                  </a:cubicBezTo>
                  <a:cubicBezTo>
                    <a:pt x="26" y="45"/>
                    <a:pt x="26" y="45"/>
                    <a:pt x="26" y="45"/>
                  </a:cubicBezTo>
                  <a:cubicBezTo>
                    <a:pt x="22" y="48"/>
                    <a:pt x="22" y="48"/>
                    <a:pt x="22" y="48"/>
                  </a:cubicBezTo>
                  <a:cubicBezTo>
                    <a:pt x="22" y="48"/>
                    <a:pt x="22" y="48"/>
                    <a:pt x="22" y="48"/>
                  </a:cubicBezTo>
                  <a:cubicBezTo>
                    <a:pt x="22" y="48"/>
                    <a:pt x="22" y="48"/>
                    <a:pt x="22" y="48"/>
                  </a:cubicBezTo>
                  <a:cubicBezTo>
                    <a:pt x="22" y="48"/>
                    <a:pt x="22" y="48"/>
                    <a:pt x="22" y="48"/>
                  </a:cubicBezTo>
                  <a:cubicBezTo>
                    <a:pt x="22" y="50"/>
                    <a:pt x="21" y="53"/>
                    <a:pt x="20" y="56"/>
                  </a:cubicBezTo>
                  <a:cubicBezTo>
                    <a:pt x="19" y="57"/>
                    <a:pt x="19" y="57"/>
                    <a:pt x="19" y="57"/>
                  </a:cubicBezTo>
                  <a:cubicBezTo>
                    <a:pt x="19" y="58"/>
                    <a:pt x="19" y="58"/>
                    <a:pt x="18" y="58"/>
                  </a:cubicBezTo>
                  <a:cubicBezTo>
                    <a:pt x="18" y="59"/>
                    <a:pt x="18" y="59"/>
                    <a:pt x="18" y="60"/>
                  </a:cubicBezTo>
                  <a:cubicBezTo>
                    <a:pt x="18" y="60"/>
                    <a:pt x="18" y="60"/>
                    <a:pt x="18" y="60"/>
                  </a:cubicBezTo>
                  <a:cubicBezTo>
                    <a:pt x="18" y="60"/>
                    <a:pt x="18" y="60"/>
                    <a:pt x="18" y="60"/>
                  </a:cubicBezTo>
                  <a:cubicBezTo>
                    <a:pt x="18" y="61"/>
                    <a:pt x="19" y="62"/>
                    <a:pt x="18" y="64"/>
                  </a:cubicBezTo>
                  <a:cubicBezTo>
                    <a:pt x="17" y="65"/>
                    <a:pt x="15" y="65"/>
                    <a:pt x="14" y="66"/>
                  </a:cubicBezTo>
                  <a:cubicBezTo>
                    <a:pt x="14" y="66"/>
                    <a:pt x="14" y="66"/>
                    <a:pt x="14" y="66"/>
                  </a:cubicBezTo>
                  <a:cubicBezTo>
                    <a:pt x="13" y="68"/>
                    <a:pt x="13" y="68"/>
                    <a:pt x="13" y="68"/>
                  </a:cubicBezTo>
                  <a:cubicBezTo>
                    <a:pt x="11" y="67"/>
                    <a:pt x="11" y="67"/>
                    <a:pt x="11" y="67"/>
                  </a:cubicBezTo>
                  <a:cubicBezTo>
                    <a:pt x="11" y="68"/>
                    <a:pt x="11" y="68"/>
                    <a:pt x="11" y="68"/>
                  </a:cubicBezTo>
                  <a:cubicBezTo>
                    <a:pt x="11" y="68"/>
                    <a:pt x="10" y="69"/>
                    <a:pt x="10" y="70"/>
                  </a:cubicBezTo>
                  <a:cubicBezTo>
                    <a:pt x="9" y="71"/>
                    <a:pt x="9" y="71"/>
                    <a:pt x="9" y="71"/>
                  </a:cubicBezTo>
                  <a:cubicBezTo>
                    <a:pt x="9" y="71"/>
                    <a:pt x="9" y="72"/>
                    <a:pt x="9" y="72"/>
                  </a:cubicBezTo>
                  <a:cubicBezTo>
                    <a:pt x="8" y="73"/>
                    <a:pt x="8" y="73"/>
                    <a:pt x="7" y="74"/>
                  </a:cubicBezTo>
                  <a:cubicBezTo>
                    <a:pt x="7" y="74"/>
                    <a:pt x="7" y="74"/>
                    <a:pt x="7" y="74"/>
                  </a:cubicBezTo>
                  <a:cubicBezTo>
                    <a:pt x="6" y="75"/>
                    <a:pt x="5" y="76"/>
                    <a:pt x="5" y="78"/>
                  </a:cubicBezTo>
                  <a:cubicBezTo>
                    <a:pt x="4" y="78"/>
                    <a:pt x="4" y="78"/>
                    <a:pt x="4" y="79"/>
                  </a:cubicBezTo>
                  <a:cubicBezTo>
                    <a:pt x="4" y="79"/>
                    <a:pt x="3" y="80"/>
                    <a:pt x="3" y="81"/>
                  </a:cubicBezTo>
                  <a:cubicBezTo>
                    <a:pt x="3" y="82"/>
                    <a:pt x="3" y="82"/>
                    <a:pt x="3" y="82"/>
                  </a:cubicBezTo>
                  <a:cubicBezTo>
                    <a:pt x="3" y="82"/>
                    <a:pt x="3" y="82"/>
                    <a:pt x="2" y="83"/>
                  </a:cubicBezTo>
                  <a:cubicBezTo>
                    <a:pt x="2" y="84"/>
                    <a:pt x="2" y="84"/>
                    <a:pt x="2" y="84"/>
                  </a:cubicBezTo>
                  <a:cubicBezTo>
                    <a:pt x="1" y="84"/>
                    <a:pt x="1" y="84"/>
                    <a:pt x="1" y="84"/>
                  </a:cubicBezTo>
                  <a:cubicBezTo>
                    <a:pt x="1" y="85"/>
                    <a:pt x="1" y="85"/>
                    <a:pt x="1" y="85"/>
                  </a:cubicBezTo>
                  <a:cubicBezTo>
                    <a:pt x="0" y="85"/>
                    <a:pt x="0" y="85"/>
                    <a:pt x="0" y="85"/>
                  </a:cubicBezTo>
                  <a:cubicBezTo>
                    <a:pt x="0" y="85"/>
                    <a:pt x="0" y="86"/>
                    <a:pt x="1" y="86"/>
                  </a:cubicBezTo>
                  <a:cubicBezTo>
                    <a:pt x="2" y="88"/>
                    <a:pt x="3" y="90"/>
                    <a:pt x="5" y="92"/>
                  </a:cubicBezTo>
                  <a:cubicBezTo>
                    <a:pt x="5" y="92"/>
                    <a:pt x="5" y="93"/>
                    <a:pt x="6" y="93"/>
                  </a:cubicBezTo>
                  <a:cubicBezTo>
                    <a:pt x="6" y="93"/>
                    <a:pt x="6" y="93"/>
                    <a:pt x="6" y="92"/>
                  </a:cubicBezTo>
                  <a:cubicBezTo>
                    <a:pt x="8" y="91"/>
                    <a:pt x="7" y="90"/>
                    <a:pt x="7" y="90"/>
                  </a:cubicBezTo>
                  <a:cubicBezTo>
                    <a:pt x="7" y="89"/>
                    <a:pt x="13" y="88"/>
                    <a:pt x="14" y="88"/>
                  </a:cubicBezTo>
                  <a:cubicBezTo>
                    <a:pt x="14" y="89"/>
                    <a:pt x="17" y="90"/>
                    <a:pt x="17" y="91"/>
                  </a:cubicBezTo>
                  <a:cubicBezTo>
                    <a:pt x="17" y="92"/>
                    <a:pt x="16" y="92"/>
                    <a:pt x="16" y="92"/>
                  </a:cubicBezTo>
                  <a:cubicBezTo>
                    <a:pt x="16" y="92"/>
                    <a:pt x="16" y="92"/>
                    <a:pt x="16" y="91"/>
                  </a:cubicBezTo>
                  <a:cubicBezTo>
                    <a:pt x="15" y="91"/>
                    <a:pt x="15" y="91"/>
                    <a:pt x="15" y="91"/>
                  </a:cubicBezTo>
                  <a:cubicBezTo>
                    <a:pt x="15" y="91"/>
                    <a:pt x="15" y="91"/>
                    <a:pt x="15" y="91"/>
                  </a:cubicBezTo>
                  <a:cubicBezTo>
                    <a:pt x="14" y="92"/>
                    <a:pt x="15" y="92"/>
                    <a:pt x="13" y="92"/>
                  </a:cubicBezTo>
                  <a:cubicBezTo>
                    <a:pt x="13" y="92"/>
                    <a:pt x="13" y="92"/>
                    <a:pt x="13" y="92"/>
                  </a:cubicBezTo>
                  <a:cubicBezTo>
                    <a:pt x="13" y="92"/>
                    <a:pt x="13" y="92"/>
                    <a:pt x="12" y="92"/>
                  </a:cubicBezTo>
                  <a:cubicBezTo>
                    <a:pt x="12" y="92"/>
                    <a:pt x="12" y="92"/>
                    <a:pt x="12" y="92"/>
                  </a:cubicBezTo>
                  <a:cubicBezTo>
                    <a:pt x="12" y="92"/>
                    <a:pt x="12" y="92"/>
                    <a:pt x="11" y="92"/>
                  </a:cubicBezTo>
                  <a:cubicBezTo>
                    <a:pt x="11" y="92"/>
                    <a:pt x="11" y="92"/>
                    <a:pt x="11" y="92"/>
                  </a:cubicBezTo>
                  <a:cubicBezTo>
                    <a:pt x="11" y="92"/>
                    <a:pt x="11" y="92"/>
                    <a:pt x="11" y="92"/>
                  </a:cubicBezTo>
                  <a:cubicBezTo>
                    <a:pt x="11" y="92"/>
                    <a:pt x="10" y="92"/>
                    <a:pt x="10" y="92"/>
                  </a:cubicBezTo>
                  <a:cubicBezTo>
                    <a:pt x="10" y="92"/>
                    <a:pt x="10" y="92"/>
                    <a:pt x="10" y="93"/>
                  </a:cubicBezTo>
                  <a:cubicBezTo>
                    <a:pt x="10" y="94"/>
                    <a:pt x="10" y="95"/>
                    <a:pt x="9" y="95"/>
                  </a:cubicBezTo>
                  <a:cubicBezTo>
                    <a:pt x="9" y="95"/>
                    <a:pt x="9" y="96"/>
                    <a:pt x="9" y="96"/>
                  </a:cubicBezTo>
                  <a:cubicBezTo>
                    <a:pt x="8" y="96"/>
                    <a:pt x="8" y="94"/>
                    <a:pt x="8" y="94"/>
                  </a:cubicBezTo>
                  <a:cubicBezTo>
                    <a:pt x="8" y="94"/>
                    <a:pt x="8" y="94"/>
                    <a:pt x="7" y="94"/>
                  </a:cubicBezTo>
                  <a:cubicBezTo>
                    <a:pt x="7" y="94"/>
                    <a:pt x="7" y="94"/>
                    <a:pt x="7" y="94"/>
                  </a:cubicBezTo>
                  <a:cubicBezTo>
                    <a:pt x="7" y="94"/>
                    <a:pt x="7" y="95"/>
                    <a:pt x="7" y="95"/>
                  </a:cubicBezTo>
                  <a:cubicBezTo>
                    <a:pt x="7" y="95"/>
                    <a:pt x="7" y="95"/>
                    <a:pt x="6" y="94"/>
                  </a:cubicBezTo>
                  <a:cubicBezTo>
                    <a:pt x="6" y="95"/>
                    <a:pt x="6" y="95"/>
                    <a:pt x="6" y="95"/>
                  </a:cubicBezTo>
                  <a:cubicBezTo>
                    <a:pt x="6" y="95"/>
                    <a:pt x="6" y="94"/>
                    <a:pt x="6" y="94"/>
                  </a:cubicBezTo>
                  <a:cubicBezTo>
                    <a:pt x="5" y="94"/>
                    <a:pt x="5" y="94"/>
                    <a:pt x="5" y="94"/>
                  </a:cubicBezTo>
                  <a:cubicBezTo>
                    <a:pt x="5" y="94"/>
                    <a:pt x="5" y="94"/>
                    <a:pt x="5" y="94"/>
                  </a:cubicBezTo>
                  <a:cubicBezTo>
                    <a:pt x="4" y="94"/>
                    <a:pt x="4" y="94"/>
                    <a:pt x="4" y="95"/>
                  </a:cubicBezTo>
                  <a:cubicBezTo>
                    <a:pt x="3" y="96"/>
                    <a:pt x="1" y="99"/>
                    <a:pt x="1" y="100"/>
                  </a:cubicBezTo>
                  <a:cubicBezTo>
                    <a:pt x="2" y="101"/>
                    <a:pt x="4" y="101"/>
                    <a:pt x="4" y="103"/>
                  </a:cubicBezTo>
                  <a:cubicBezTo>
                    <a:pt x="4" y="103"/>
                    <a:pt x="3" y="103"/>
                    <a:pt x="3" y="104"/>
                  </a:cubicBezTo>
                  <a:cubicBezTo>
                    <a:pt x="8" y="106"/>
                    <a:pt x="13" y="109"/>
                    <a:pt x="18" y="112"/>
                  </a:cubicBezTo>
                  <a:cubicBezTo>
                    <a:pt x="137" y="112"/>
                    <a:pt x="137" y="112"/>
                    <a:pt x="137" y="112"/>
                  </a:cubicBezTo>
                  <a:cubicBezTo>
                    <a:pt x="136" y="110"/>
                    <a:pt x="135" y="108"/>
                    <a:pt x="134" y="106"/>
                  </a:cubicBezTo>
                  <a:cubicBezTo>
                    <a:pt x="133" y="105"/>
                    <a:pt x="132" y="104"/>
                    <a:pt x="132" y="103"/>
                  </a:cubicBezTo>
                  <a:cubicBezTo>
                    <a:pt x="131" y="100"/>
                    <a:pt x="131" y="96"/>
                    <a:pt x="131" y="93"/>
                  </a:cubicBezTo>
                  <a:cubicBezTo>
                    <a:pt x="131" y="92"/>
                    <a:pt x="131" y="92"/>
                    <a:pt x="131" y="92"/>
                  </a:cubicBezTo>
                  <a:cubicBezTo>
                    <a:pt x="131" y="91"/>
                    <a:pt x="131" y="90"/>
                    <a:pt x="131" y="89"/>
                  </a:cubicBezTo>
                  <a:cubicBezTo>
                    <a:pt x="131" y="82"/>
                    <a:pt x="131" y="75"/>
                    <a:pt x="131" y="68"/>
                  </a:cubicBezTo>
                  <a:cubicBezTo>
                    <a:pt x="131" y="66"/>
                    <a:pt x="131" y="66"/>
                    <a:pt x="131" y="66"/>
                  </a:cubicBezTo>
                  <a:cubicBezTo>
                    <a:pt x="131" y="59"/>
                    <a:pt x="131" y="53"/>
                    <a:pt x="131" y="47"/>
                  </a:cubicBezTo>
                  <a:cubicBezTo>
                    <a:pt x="131" y="38"/>
                    <a:pt x="131" y="38"/>
                    <a:pt x="131" y="38"/>
                  </a:cubicBezTo>
                  <a:cubicBezTo>
                    <a:pt x="131" y="38"/>
                    <a:pt x="131" y="37"/>
                    <a:pt x="131" y="37"/>
                  </a:cubicBezTo>
                  <a:cubicBezTo>
                    <a:pt x="131" y="34"/>
                    <a:pt x="131" y="32"/>
                    <a:pt x="132" y="30"/>
                  </a:cubicBezTo>
                  <a:cubicBezTo>
                    <a:pt x="132" y="29"/>
                    <a:pt x="132" y="29"/>
                    <a:pt x="132" y="29"/>
                  </a:cubicBezTo>
                  <a:cubicBezTo>
                    <a:pt x="133" y="29"/>
                    <a:pt x="134" y="28"/>
                    <a:pt x="134" y="27"/>
                  </a:cubicBezTo>
                  <a:cubicBezTo>
                    <a:pt x="135" y="26"/>
                    <a:pt x="135" y="26"/>
                    <a:pt x="135" y="26"/>
                  </a:cubicBezTo>
                  <a:cubicBezTo>
                    <a:pt x="132" y="23"/>
                    <a:pt x="132" y="23"/>
                    <a:pt x="132" y="23"/>
                  </a:cubicBezTo>
                  <a:cubicBezTo>
                    <a:pt x="136" y="25"/>
                    <a:pt x="136" y="25"/>
                    <a:pt x="136" y="25"/>
                  </a:cubicBezTo>
                  <a:cubicBezTo>
                    <a:pt x="138" y="22"/>
                    <a:pt x="138" y="22"/>
                    <a:pt x="138" y="22"/>
                  </a:cubicBezTo>
                  <a:cubicBezTo>
                    <a:pt x="138" y="22"/>
                    <a:pt x="142" y="17"/>
                    <a:pt x="146" y="13"/>
                  </a:cubicBezTo>
                  <a:cubicBezTo>
                    <a:pt x="144" y="13"/>
                    <a:pt x="143" y="13"/>
                    <a:pt x="141" y="13"/>
                  </a:cubicBezTo>
                  <a:cubicBezTo>
                    <a:pt x="141" y="13"/>
                    <a:pt x="140" y="13"/>
                    <a:pt x="140" y="13"/>
                  </a:cubicBezTo>
                  <a:cubicBezTo>
                    <a:pt x="139" y="13"/>
                    <a:pt x="139" y="13"/>
                    <a:pt x="139" y="13"/>
                  </a:cubicBezTo>
                  <a:cubicBezTo>
                    <a:pt x="138" y="13"/>
                    <a:pt x="138" y="13"/>
                    <a:pt x="137" y="13"/>
                  </a:cubicBezTo>
                  <a:cubicBezTo>
                    <a:pt x="137" y="13"/>
                    <a:pt x="136" y="12"/>
                    <a:pt x="135" y="12"/>
                  </a:cubicBezTo>
                  <a:cubicBezTo>
                    <a:pt x="134" y="11"/>
                    <a:pt x="132" y="9"/>
                    <a:pt x="130" y="8"/>
                  </a:cubicBezTo>
                  <a:cubicBezTo>
                    <a:pt x="129" y="7"/>
                    <a:pt x="129" y="7"/>
                    <a:pt x="129" y="7"/>
                  </a:cubicBezTo>
                  <a:cubicBezTo>
                    <a:pt x="115" y="13"/>
                    <a:pt x="115" y="13"/>
                    <a:pt x="115" y="13"/>
                  </a:cubicBezTo>
                  <a:cubicBezTo>
                    <a:pt x="114" y="14"/>
                    <a:pt x="113" y="16"/>
                    <a:pt x="112" y="17"/>
                  </a:cubicBezTo>
                  <a:cubicBezTo>
                    <a:pt x="111" y="19"/>
                    <a:pt x="109" y="21"/>
                    <a:pt x="107" y="22"/>
                  </a:cubicBezTo>
                  <a:cubicBezTo>
                    <a:pt x="107" y="23"/>
                    <a:pt x="107" y="23"/>
                    <a:pt x="107" y="23"/>
                  </a:cubicBezTo>
                  <a:cubicBezTo>
                    <a:pt x="106" y="23"/>
                    <a:pt x="106" y="23"/>
                    <a:pt x="106" y="23"/>
                  </a:cubicBezTo>
                  <a:cubicBezTo>
                    <a:pt x="106" y="23"/>
                    <a:pt x="106" y="23"/>
                    <a:pt x="105" y="23"/>
                  </a:cubicBezTo>
                  <a:cubicBezTo>
                    <a:pt x="104" y="23"/>
                    <a:pt x="104" y="23"/>
                    <a:pt x="104" y="23"/>
                  </a:cubicBezTo>
                  <a:cubicBezTo>
                    <a:pt x="104" y="23"/>
                    <a:pt x="104" y="23"/>
                    <a:pt x="104" y="23"/>
                  </a:cubicBezTo>
                  <a:cubicBezTo>
                    <a:pt x="103" y="23"/>
                    <a:pt x="103" y="23"/>
                    <a:pt x="103" y="23"/>
                  </a:cubicBezTo>
                  <a:cubicBezTo>
                    <a:pt x="103" y="22"/>
                    <a:pt x="103" y="22"/>
                    <a:pt x="103" y="22"/>
                  </a:cubicBezTo>
                  <a:cubicBezTo>
                    <a:pt x="101" y="22"/>
                    <a:pt x="98" y="22"/>
                    <a:pt x="96" y="21"/>
                  </a:cubicBezTo>
                  <a:cubicBezTo>
                    <a:pt x="93" y="21"/>
                    <a:pt x="93" y="21"/>
                    <a:pt x="93" y="21"/>
                  </a:cubicBezTo>
                  <a:cubicBezTo>
                    <a:pt x="93" y="21"/>
                    <a:pt x="92" y="21"/>
                    <a:pt x="92" y="21"/>
                  </a:cubicBezTo>
                  <a:cubicBezTo>
                    <a:pt x="91" y="21"/>
                    <a:pt x="91" y="21"/>
                    <a:pt x="91" y="21"/>
                  </a:cubicBezTo>
                  <a:cubicBezTo>
                    <a:pt x="86" y="21"/>
                    <a:pt x="80" y="20"/>
                    <a:pt x="77" y="18"/>
                  </a:cubicBezTo>
                  <a:cubicBezTo>
                    <a:pt x="76" y="17"/>
                    <a:pt x="75" y="17"/>
                    <a:pt x="74" y="16"/>
                  </a:cubicBezTo>
                  <a:cubicBezTo>
                    <a:pt x="73" y="16"/>
                    <a:pt x="73" y="16"/>
                    <a:pt x="73" y="16"/>
                  </a:cubicBezTo>
                  <a:cubicBezTo>
                    <a:pt x="71" y="14"/>
                    <a:pt x="69" y="12"/>
                    <a:pt x="66" y="11"/>
                  </a:cubicBezTo>
                  <a:cubicBezTo>
                    <a:pt x="65" y="10"/>
                    <a:pt x="65" y="10"/>
                    <a:pt x="65" y="10"/>
                  </a:cubicBezTo>
                  <a:cubicBezTo>
                    <a:pt x="63" y="10"/>
                    <a:pt x="62" y="9"/>
                    <a:pt x="61" y="8"/>
                  </a:cubicBezTo>
                  <a:cubicBezTo>
                    <a:pt x="60" y="8"/>
                    <a:pt x="60" y="8"/>
                    <a:pt x="60" y="8"/>
                  </a:cubicBezTo>
                  <a:cubicBezTo>
                    <a:pt x="59" y="7"/>
                    <a:pt x="58" y="7"/>
                    <a:pt x="57" y="6"/>
                  </a:cubicBezTo>
                  <a:cubicBezTo>
                    <a:pt x="57" y="6"/>
                    <a:pt x="57" y="6"/>
                    <a:pt x="57" y="6"/>
                  </a:cubicBezTo>
                  <a:cubicBezTo>
                    <a:pt x="56" y="5"/>
                    <a:pt x="56" y="5"/>
                    <a:pt x="56" y="5"/>
                  </a:cubicBezTo>
                  <a:cubicBezTo>
                    <a:pt x="56" y="5"/>
                    <a:pt x="56" y="5"/>
                    <a:pt x="56" y="5"/>
                  </a:cubicBezTo>
                  <a:cubicBezTo>
                    <a:pt x="55" y="5"/>
                    <a:pt x="55" y="5"/>
                    <a:pt x="55" y="5"/>
                  </a:cubicBezTo>
                  <a:cubicBezTo>
                    <a:pt x="54" y="4"/>
                    <a:pt x="53" y="4"/>
                    <a:pt x="53" y="4"/>
                  </a:cubicBezTo>
                  <a:cubicBezTo>
                    <a:pt x="52" y="4"/>
                    <a:pt x="51" y="3"/>
                    <a:pt x="51" y="3"/>
                  </a:cubicBezTo>
                  <a:cubicBezTo>
                    <a:pt x="40" y="3"/>
                    <a:pt x="40" y="3"/>
                    <a:pt x="40" y="3"/>
                  </a:cubicBezTo>
                  <a:cubicBezTo>
                    <a:pt x="38" y="3"/>
                    <a:pt x="37" y="2"/>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 name="Freeform 471">
              <a:extLst>
                <a:ext uri="{FF2B5EF4-FFF2-40B4-BE49-F238E27FC236}">
                  <a16:creationId xmlns:a16="http://schemas.microsoft.com/office/drawing/2014/main" id="{EA02F999-15CA-494A-A7AE-5B25F7715C32}"/>
                </a:ext>
              </a:extLst>
            </p:cNvPr>
            <p:cNvSpPr>
              <a:spLocks/>
            </p:cNvSpPr>
            <p:nvPr/>
          </p:nvSpPr>
          <p:spPr bwMode="auto">
            <a:xfrm>
              <a:off x="257211" y="3761821"/>
              <a:ext cx="2751" cy="2751"/>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 name="Freeform 472">
              <a:extLst>
                <a:ext uri="{FF2B5EF4-FFF2-40B4-BE49-F238E27FC236}">
                  <a16:creationId xmlns:a16="http://schemas.microsoft.com/office/drawing/2014/main" id="{9054B04C-0E81-4861-B1DD-DF41EB352D0E}"/>
                </a:ext>
              </a:extLst>
            </p:cNvPr>
            <p:cNvSpPr>
              <a:spLocks/>
            </p:cNvSpPr>
            <p:nvPr/>
          </p:nvSpPr>
          <p:spPr bwMode="auto">
            <a:xfrm>
              <a:off x="257211" y="3761821"/>
              <a:ext cx="2751" cy="2751"/>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 name="Freeform 473">
              <a:extLst>
                <a:ext uri="{FF2B5EF4-FFF2-40B4-BE49-F238E27FC236}">
                  <a16:creationId xmlns:a16="http://schemas.microsoft.com/office/drawing/2014/main" id="{08581874-F45E-49AE-B4F8-36EB76F7B800}"/>
                </a:ext>
              </a:extLst>
            </p:cNvPr>
            <p:cNvSpPr>
              <a:spLocks/>
            </p:cNvSpPr>
            <p:nvPr/>
          </p:nvSpPr>
          <p:spPr bwMode="auto">
            <a:xfrm>
              <a:off x="1" y="3199261"/>
              <a:ext cx="900921" cy="627206"/>
            </a:xfrm>
            <a:custGeom>
              <a:avLst/>
              <a:gdLst>
                <a:gd name="T0" fmla="*/ 129 w 277"/>
                <a:gd name="T1" fmla="*/ 6 h 193"/>
                <a:gd name="T2" fmla="*/ 114 w 277"/>
                <a:gd name="T3" fmla="*/ 7 h 193"/>
                <a:gd name="T4" fmla="*/ 106 w 277"/>
                <a:gd name="T5" fmla="*/ 8 h 193"/>
                <a:gd name="T6" fmla="*/ 97 w 277"/>
                <a:gd name="T7" fmla="*/ 16 h 193"/>
                <a:gd name="T8" fmla="*/ 88 w 277"/>
                <a:gd name="T9" fmla="*/ 23 h 193"/>
                <a:gd name="T10" fmla="*/ 70 w 277"/>
                <a:gd name="T11" fmla="*/ 23 h 193"/>
                <a:gd name="T12" fmla="*/ 66 w 277"/>
                <a:gd name="T13" fmla="*/ 19 h 193"/>
                <a:gd name="T14" fmla="*/ 59 w 277"/>
                <a:gd name="T15" fmla="*/ 24 h 193"/>
                <a:gd name="T16" fmla="*/ 33 w 277"/>
                <a:gd name="T17" fmla="*/ 30 h 193"/>
                <a:gd name="T18" fmla="*/ 0 w 277"/>
                <a:gd name="T19" fmla="*/ 108 h 193"/>
                <a:gd name="T20" fmla="*/ 27 w 277"/>
                <a:gd name="T21" fmla="*/ 97 h 193"/>
                <a:gd name="T22" fmla="*/ 39 w 277"/>
                <a:gd name="T23" fmla="*/ 96 h 193"/>
                <a:gd name="T24" fmla="*/ 66 w 277"/>
                <a:gd name="T25" fmla="*/ 107 h 193"/>
                <a:gd name="T26" fmla="*/ 69 w 277"/>
                <a:gd name="T27" fmla="*/ 119 h 193"/>
                <a:gd name="T28" fmla="*/ 78 w 277"/>
                <a:gd name="T29" fmla="*/ 126 h 193"/>
                <a:gd name="T30" fmla="*/ 82 w 277"/>
                <a:gd name="T31" fmla="*/ 134 h 193"/>
                <a:gd name="T32" fmla="*/ 87 w 277"/>
                <a:gd name="T33" fmla="*/ 145 h 193"/>
                <a:gd name="T34" fmla="*/ 81 w 277"/>
                <a:gd name="T35" fmla="*/ 149 h 193"/>
                <a:gd name="T36" fmla="*/ 78 w 277"/>
                <a:gd name="T37" fmla="*/ 148 h 193"/>
                <a:gd name="T38" fmla="*/ 70 w 277"/>
                <a:gd name="T39" fmla="*/ 148 h 193"/>
                <a:gd name="T40" fmla="*/ 66 w 277"/>
                <a:gd name="T41" fmla="*/ 146 h 193"/>
                <a:gd name="T42" fmla="*/ 65 w 277"/>
                <a:gd name="T43" fmla="*/ 155 h 193"/>
                <a:gd name="T44" fmla="*/ 59 w 277"/>
                <a:gd name="T45" fmla="*/ 162 h 193"/>
                <a:gd name="T46" fmla="*/ 56 w 277"/>
                <a:gd name="T47" fmla="*/ 171 h 193"/>
                <a:gd name="T48" fmla="*/ 79 w 277"/>
                <a:gd name="T49" fmla="*/ 170 h 193"/>
                <a:gd name="T50" fmla="*/ 85 w 277"/>
                <a:gd name="T51" fmla="*/ 160 h 193"/>
                <a:gd name="T52" fmla="*/ 88 w 277"/>
                <a:gd name="T53" fmla="*/ 147 h 193"/>
                <a:gd name="T54" fmla="*/ 90 w 277"/>
                <a:gd name="T55" fmla="*/ 147 h 193"/>
                <a:gd name="T56" fmla="*/ 102 w 277"/>
                <a:gd name="T57" fmla="*/ 142 h 193"/>
                <a:gd name="T58" fmla="*/ 111 w 277"/>
                <a:gd name="T59" fmla="*/ 140 h 193"/>
                <a:gd name="T60" fmla="*/ 121 w 277"/>
                <a:gd name="T61" fmla="*/ 134 h 193"/>
                <a:gd name="T62" fmla="*/ 120 w 277"/>
                <a:gd name="T63" fmla="*/ 132 h 193"/>
                <a:gd name="T64" fmla="*/ 119 w 277"/>
                <a:gd name="T65" fmla="*/ 128 h 193"/>
                <a:gd name="T66" fmla="*/ 122 w 277"/>
                <a:gd name="T67" fmla="*/ 135 h 193"/>
                <a:gd name="T68" fmla="*/ 128 w 277"/>
                <a:gd name="T69" fmla="*/ 145 h 193"/>
                <a:gd name="T70" fmla="*/ 117 w 277"/>
                <a:gd name="T71" fmla="*/ 145 h 193"/>
                <a:gd name="T72" fmla="*/ 118 w 277"/>
                <a:gd name="T73" fmla="*/ 148 h 193"/>
                <a:gd name="T74" fmla="*/ 133 w 277"/>
                <a:gd name="T75" fmla="*/ 153 h 193"/>
                <a:gd name="T76" fmla="*/ 149 w 277"/>
                <a:gd name="T77" fmla="*/ 155 h 193"/>
                <a:gd name="T78" fmla="*/ 149 w 277"/>
                <a:gd name="T79" fmla="*/ 160 h 193"/>
                <a:gd name="T80" fmla="*/ 138 w 277"/>
                <a:gd name="T81" fmla="*/ 166 h 193"/>
                <a:gd name="T82" fmla="*/ 152 w 277"/>
                <a:gd name="T83" fmla="*/ 178 h 193"/>
                <a:gd name="T84" fmla="*/ 150 w 277"/>
                <a:gd name="T85" fmla="*/ 191 h 193"/>
                <a:gd name="T86" fmla="*/ 190 w 277"/>
                <a:gd name="T87" fmla="*/ 177 h 193"/>
                <a:gd name="T88" fmla="*/ 203 w 277"/>
                <a:gd name="T89" fmla="*/ 179 h 193"/>
                <a:gd name="T90" fmla="*/ 208 w 277"/>
                <a:gd name="T91" fmla="*/ 171 h 193"/>
                <a:gd name="T92" fmla="*/ 195 w 277"/>
                <a:gd name="T93" fmla="*/ 171 h 193"/>
                <a:gd name="T94" fmla="*/ 176 w 277"/>
                <a:gd name="T95" fmla="*/ 154 h 193"/>
                <a:gd name="T96" fmla="*/ 185 w 277"/>
                <a:gd name="T97" fmla="*/ 147 h 193"/>
                <a:gd name="T98" fmla="*/ 198 w 277"/>
                <a:gd name="T99" fmla="*/ 140 h 193"/>
                <a:gd name="T100" fmla="*/ 213 w 277"/>
                <a:gd name="T101" fmla="*/ 138 h 193"/>
                <a:gd name="T102" fmla="*/ 234 w 277"/>
                <a:gd name="T103" fmla="*/ 130 h 193"/>
                <a:gd name="T104" fmla="*/ 241 w 277"/>
                <a:gd name="T105" fmla="*/ 129 h 193"/>
                <a:gd name="T106" fmla="*/ 266 w 277"/>
                <a:gd name="T107" fmla="*/ 110 h 193"/>
                <a:gd name="T108" fmla="*/ 269 w 277"/>
                <a:gd name="T109" fmla="*/ 95 h 193"/>
                <a:gd name="T110" fmla="*/ 266 w 277"/>
                <a:gd name="T111" fmla="*/ 84 h 193"/>
                <a:gd name="T112" fmla="*/ 263 w 277"/>
                <a:gd name="T113" fmla="*/ 65 h 193"/>
                <a:gd name="T114" fmla="*/ 251 w 277"/>
                <a:gd name="T115" fmla="*/ 62 h 193"/>
                <a:gd name="T116" fmla="*/ 236 w 277"/>
                <a:gd name="T117" fmla="*/ 62 h 193"/>
                <a:gd name="T118" fmla="*/ 197 w 277"/>
                <a:gd name="T119" fmla="*/ 50 h 193"/>
                <a:gd name="T120" fmla="*/ 178 w 277"/>
                <a:gd name="T121" fmla="*/ 30 h 193"/>
                <a:gd name="T122" fmla="*/ 164 w 277"/>
                <a:gd name="T123" fmla="*/ 28 h 193"/>
                <a:gd name="T124" fmla="*/ 161 w 277"/>
                <a:gd name="T125" fmla="*/ 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193">
                  <a:moveTo>
                    <a:pt x="154" y="0"/>
                  </a:moveTo>
                  <a:cubicBezTo>
                    <a:pt x="153" y="0"/>
                    <a:pt x="151" y="0"/>
                    <a:pt x="148" y="1"/>
                  </a:cubicBezTo>
                  <a:cubicBezTo>
                    <a:pt x="145" y="1"/>
                    <a:pt x="142" y="2"/>
                    <a:pt x="140" y="2"/>
                  </a:cubicBezTo>
                  <a:cubicBezTo>
                    <a:pt x="138" y="2"/>
                    <a:pt x="136" y="2"/>
                    <a:pt x="135" y="1"/>
                  </a:cubicBezTo>
                  <a:cubicBezTo>
                    <a:pt x="135" y="1"/>
                    <a:pt x="134" y="1"/>
                    <a:pt x="134" y="1"/>
                  </a:cubicBezTo>
                  <a:cubicBezTo>
                    <a:pt x="132" y="1"/>
                    <a:pt x="131" y="3"/>
                    <a:pt x="129" y="5"/>
                  </a:cubicBezTo>
                  <a:cubicBezTo>
                    <a:pt x="129" y="6"/>
                    <a:pt x="129" y="6"/>
                    <a:pt x="129" y="6"/>
                  </a:cubicBezTo>
                  <a:cubicBezTo>
                    <a:pt x="128" y="8"/>
                    <a:pt x="126" y="8"/>
                    <a:pt x="123" y="8"/>
                  </a:cubicBezTo>
                  <a:cubicBezTo>
                    <a:pt x="121" y="8"/>
                    <a:pt x="119" y="8"/>
                    <a:pt x="118" y="7"/>
                  </a:cubicBezTo>
                  <a:cubicBezTo>
                    <a:pt x="117" y="7"/>
                    <a:pt x="117" y="7"/>
                    <a:pt x="117" y="7"/>
                  </a:cubicBezTo>
                  <a:cubicBezTo>
                    <a:pt x="117" y="6"/>
                    <a:pt x="117" y="6"/>
                    <a:pt x="117" y="6"/>
                  </a:cubicBezTo>
                  <a:cubicBezTo>
                    <a:pt x="115" y="7"/>
                    <a:pt x="115" y="7"/>
                    <a:pt x="115" y="7"/>
                  </a:cubicBezTo>
                  <a:cubicBezTo>
                    <a:pt x="115" y="7"/>
                    <a:pt x="115" y="7"/>
                    <a:pt x="115" y="7"/>
                  </a:cubicBezTo>
                  <a:cubicBezTo>
                    <a:pt x="115" y="7"/>
                    <a:pt x="114" y="7"/>
                    <a:pt x="114" y="7"/>
                  </a:cubicBezTo>
                  <a:cubicBezTo>
                    <a:pt x="113" y="7"/>
                    <a:pt x="113" y="6"/>
                    <a:pt x="112" y="6"/>
                  </a:cubicBezTo>
                  <a:cubicBezTo>
                    <a:pt x="112" y="6"/>
                    <a:pt x="112" y="6"/>
                    <a:pt x="112" y="6"/>
                  </a:cubicBezTo>
                  <a:cubicBezTo>
                    <a:pt x="111" y="6"/>
                    <a:pt x="111" y="7"/>
                    <a:pt x="110" y="7"/>
                  </a:cubicBezTo>
                  <a:cubicBezTo>
                    <a:pt x="110" y="7"/>
                    <a:pt x="110" y="7"/>
                    <a:pt x="110" y="7"/>
                  </a:cubicBezTo>
                  <a:cubicBezTo>
                    <a:pt x="109" y="7"/>
                    <a:pt x="109" y="8"/>
                    <a:pt x="108" y="8"/>
                  </a:cubicBezTo>
                  <a:cubicBezTo>
                    <a:pt x="108" y="8"/>
                    <a:pt x="108" y="8"/>
                    <a:pt x="107" y="8"/>
                  </a:cubicBezTo>
                  <a:cubicBezTo>
                    <a:pt x="107" y="8"/>
                    <a:pt x="107" y="8"/>
                    <a:pt x="106" y="8"/>
                  </a:cubicBezTo>
                  <a:cubicBezTo>
                    <a:pt x="105" y="7"/>
                    <a:pt x="105" y="7"/>
                    <a:pt x="105" y="7"/>
                  </a:cubicBezTo>
                  <a:cubicBezTo>
                    <a:pt x="103" y="8"/>
                    <a:pt x="102" y="8"/>
                    <a:pt x="100" y="11"/>
                  </a:cubicBezTo>
                  <a:cubicBezTo>
                    <a:pt x="99" y="13"/>
                    <a:pt x="99" y="13"/>
                    <a:pt x="99" y="13"/>
                  </a:cubicBezTo>
                  <a:cubicBezTo>
                    <a:pt x="98" y="14"/>
                    <a:pt x="98" y="14"/>
                    <a:pt x="98" y="14"/>
                  </a:cubicBezTo>
                  <a:cubicBezTo>
                    <a:pt x="98" y="14"/>
                    <a:pt x="98" y="14"/>
                    <a:pt x="98" y="14"/>
                  </a:cubicBezTo>
                  <a:cubicBezTo>
                    <a:pt x="97" y="15"/>
                    <a:pt x="97" y="15"/>
                    <a:pt x="97" y="15"/>
                  </a:cubicBezTo>
                  <a:cubicBezTo>
                    <a:pt x="97" y="15"/>
                    <a:pt x="97" y="16"/>
                    <a:pt x="97" y="16"/>
                  </a:cubicBezTo>
                  <a:cubicBezTo>
                    <a:pt x="96" y="17"/>
                    <a:pt x="96" y="18"/>
                    <a:pt x="96" y="19"/>
                  </a:cubicBezTo>
                  <a:cubicBezTo>
                    <a:pt x="96" y="20"/>
                    <a:pt x="96" y="21"/>
                    <a:pt x="96" y="21"/>
                  </a:cubicBezTo>
                  <a:cubicBezTo>
                    <a:pt x="97" y="23"/>
                    <a:pt x="97" y="25"/>
                    <a:pt x="96" y="28"/>
                  </a:cubicBezTo>
                  <a:cubicBezTo>
                    <a:pt x="95" y="29"/>
                    <a:pt x="95" y="29"/>
                    <a:pt x="95" y="29"/>
                  </a:cubicBezTo>
                  <a:cubicBezTo>
                    <a:pt x="94" y="28"/>
                    <a:pt x="94" y="28"/>
                    <a:pt x="94" y="28"/>
                  </a:cubicBezTo>
                  <a:cubicBezTo>
                    <a:pt x="93" y="27"/>
                    <a:pt x="92" y="27"/>
                    <a:pt x="92" y="26"/>
                  </a:cubicBezTo>
                  <a:cubicBezTo>
                    <a:pt x="90" y="25"/>
                    <a:pt x="89" y="24"/>
                    <a:pt x="88" y="23"/>
                  </a:cubicBezTo>
                  <a:cubicBezTo>
                    <a:pt x="88" y="23"/>
                    <a:pt x="87" y="23"/>
                    <a:pt x="87" y="23"/>
                  </a:cubicBezTo>
                  <a:cubicBezTo>
                    <a:pt x="85" y="23"/>
                    <a:pt x="83" y="23"/>
                    <a:pt x="80" y="24"/>
                  </a:cubicBezTo>
                  <a:cubicBezTo>
                    <a:pt x="78" y="25"/>
                    <a:pt x="76" y="25"/>
                    <a:pt x="74" y="25"/>
                  </a:cubicBezTo>
                  <a:cubicBezTo>
                    <a:pt x="73" y="25"/>
                    <a:pt x="73" y="25"/>
                    <a:pt x="72" y="25"/>
                  </a:cubicBezTo>
                  <a:cubicBezTo>
                    <a:pt x="71" y="25"/>
                    <a:pt x="71" y="24"/>
                    <a:pt x="70" y="24"/>
                  </a:cubicBezTo>
                  <a:cubicBezTo>
                    <a:pt x="70" y="24"/>
                    <a:pt x="70" y="24"/>
                    <a:pt x="70" y="24"/>
                  </a:cubicBezTo>
                  <a:cubicBezTo>
                    <a:pt x="70" y="23"/>
                    <a:pt x="70" y="23"/>
                    <a:pt x="70" y="23"/>
                  </a:cubicBezTo>
                  <a:cubicBezTo>
                    <a:pt x="70" y="22"/>
                    <a:pt x="70" y="22"/>
                    <a:pt x="70" y="22"/>
                  </a:cubicBezTo>
                  <a:cubicBezTo>
                    <a:pt x="70" y="22"/>
                    <a:pt x="70" y="22"/>
                    <a:pt x="70" y="22"/>
                  </a:cubicBezTo>
                  <a:cubicBezTo>
                    <a:pt x="69" y="23"/>
                    <a:pt x="69" y="23"/>
                    <a:pt x="69" y="23"/>
                  </a:cubicBezTo>
                  <a:cubicBezTo>
                    <a:pt x="69" y="22"/>
                    <a:pt x="69" y="22"/>
                    <a:pt x="68" y="21"/>
                  </a:cubicBezTo>
                  <a:cubicBezTo>
                    <a:pt x="68" y="21"/>
                    <a:pt x="68" y="20"/>
                    <a:pt x="67" y="20"/>
                  </a:cubicBezTo>
                  <a:cubicBezTo>
                    <a:pt x="67" y="19"/>
                    <a:pt x="67" y="19"/>
                    <a:pt x="67" y="19"/>
                  </a:cubicBezTo>
                  <a:cubicBezTo>
                    <a:pt x="66" y="19"/>
                    <a:pt x="66" y="19"/>
                    <a:pt x="66" y="19"/>
                  </a:cubicBezTo>
                  <a:cubicBezTo>
                    <a:pt x="66" y="19"/>
                    <a:pt x="66" y="19"/>
                    <a:pt x="66" y="19"/>
                  </a:cubicBezTo>
                  <a:cubicBezTo>
                    <a:pt x="66" y="19"/>
                    <a:pt x="66" y="19"/>
                    <a:pt x="66" y="19"/>
                  </a:cubicBezTo>
                  <a:cubicBezTo>
                    <a:pt x="65" y="20"/>
                    <a:pt x="65" y="20"/>
                    <a:pt x="65" y="20"/>
                  </a:cubicBezTo>
                  <a:cubicBezTo>
                    <a:pt x="65" y="20"/>
                    <a:pt x="64" y="21"/>
                    <a:pt x="64" y="21"/>
                  </a:cubicBezTo>
                  <a:cubicBezTo>
                    <a:pt x="63" y="21"/>
                    <a:pt x="63" y="21"/>
                    <a:pt x="61" y="24"/>
                  </a:cubicBezTo>
                  <a:cubicBezTo>
                    <a:pt x="61" y="25"/>
                    <a:pt x="61" y="25"/>
                    <a:pt x="61" y="25"/>
                  </a:cubicBezTo>
                  <a:cubicBezTo>
                    <a:pt x="59" y="24"/>
                    <a:pt x="59" y="24"/>
                    <a:pt x="59" y="24"/>
                  </a:cubicBezTo>
                  <a:cubicBezTo>
                    <a:pt x="58" y="23"/>
                    <a:pt x="57" y="23"/>
                    <a:pt x="56" y="23"/>
                  </a:cubicBezTo>
                  <a:cubicBezTo>
                    <a:pt x="54" y="22"/>
                    <a:pt x="52" y="21"/>
                    <a:pt x="51" y="19"/>
                  </a:cubicBezTo>
                  <a:cubicBezTo>
                    <a:pt x="50" y="19"/>
                    <a:pt x="50" y="19"/>
                    <a:pt x="50" y="19"/>
                  </a:cubicBezTo>
                  <a:cubicBezTo>
                    <a:pt x="50" y="19"/>
                    <a:pt x="50" y="19"/>
                    <a:pt x="50" y="19"/>
                  </a:cubicBezTo>
                  <a:cubicBezTo>
                    <a:pt x="49" y="19"/>
                    <a:pt x="48" y="19"/>
                    <a:pt x="47" y="19"/>
                  </a:cubicBezTo>
                  <a:cubicBezTo>
                    <a:pt x="44" y="19"/>
                    <a:pt x="44" y="19"/>
                    <a:pt x="41" y="22"/>
                  </a:cubicBezTo>
                  <a:cubicBezTo>
                    <a:pt x="33" y="30"/>
                    <a:pt x="33" y="30"/>
                    <a:pt x="33" y="30"/>
                  </a:cubicBezTo>
                  <a:cubicBezTo>
                    <a:pt x="39" y="20"/>
                    <a:pt x="39" y="20"/>
                    <a:pt x="39" y="20"/>
                  </a:cubicBezTo>
                  <a:cubicBezTo>
                    <a:pt x="39" y="20"/>
                    <a:pt x="39" y="20"/>
                    <a:pt x="39" y="20"/>
                  </a:cubicBezTo>
                  <a:cubicBezTo>
                    <a:pt x="39" y="19"/>
                    <a:pt x="37" y="19"/>
                    <a:pt x="34" y="18"/>
                  </a:cubicBezTo>
                  <a:cubicBezTo>
                    <a:pt x="33" y="18"/>
                    <a:pt x="33" y="18"/>
                    <a:pt x="32" y="18"/>
                  </a:cubicBezTo>
                  <a:cubicBezTo>
                    <a:pt x="8" y="13"/>
                    <a:pt x="8" y="13"/>
                    <a:pt x="8" y="13"/>
                  </a:cubicBezTo>
                  <a:cubicBezTo>
                    <a:pt x="5" y="13"/>
                    <a:pt x="2" y="12"/>
                    <a:pt x="0" y="12"/>
                  </a:cubicBezTo>
                  <a:cubicBezTo>
                    <a:pt x="0" y="108"/>
                    <a:pt x="0" y="108"/>
                    <a:pt x="0" y="108"/>
                  </a:cubicBezTo>
                  <a:cubicBezTo>
                    <a:pt x="1" y="108"/>
                    <a:pt x="1" y="108"/>
                    <a:pt x="2" y="108"/>
                  </a:cubicBezTo>
                  <a:cubicBezTo>
                    <a:pt x="4" y="108"/>
                    <a:pt x="7" y="107"/>
                    <a:pt x="9" y="107"/>
                  </a:cubicBezTo>
                  <a:cubicBezTo>
                    <a:pt x="10" y="106"/>
                    <a:pt x="10" y="106"/>
                    <a:pt x="10" y="106"/>
                  </a:cubicBezTo>
                  <a:cubicBezTo>
                    <a:pt x="19" y="101"/>
                    <a:pt x="19" y="101"/>
                    <a:pt x="19" y="101"/>
                  </a:cubicBezTo>
                  <a:cubicBezTo>
                    <a:pt x="20" y="99"/>
                    <a:pt x="20" y="99"/>
                    <a:pt x="20" y="99"/>
                  </a:cubicBezTo>
                  <a:cubicBezTo>
                    <a:pt x="22" y="98"/>
                    <a:pt x="23" y="97"/>
                    <a:pt x="25" y="97"/>
                  </a:cubicBezTo>
                  <a:cubicBezTo>
                    <a:pt x="25" y="97"/>
                    <a:pt x="26" y="97"/>
                    <a:pt x="27" y="97"/>
                  </a:cubicBezTo>
                  <a:cubicBezTo>
                    <a:pt x="27" y="97"/>
                    <a:pt x="28" y="97"/>
                    <a:pt x="29" y="97"/>
                  </a:cubicBezTo>
                  <a:cubicBezTo>
                    <a:pt x="29" y="97"/>
                    <a:pt x="30" y="97"/>
                    <a:pt x="30" y="97"/>
                  </a:cubicBezTo>
                  <a:cubicBezTo>
                    <a:pt x="32" y="97"/>
                    <a:pt x="34" y="96"/>
                    <a:pt x="36" y="95"/>
                  </a:cubicBezTo>
                  <a:cubicBezTo>
                    <a:pt x="37" y="95"/>
                    <a:pt x="37" y="95"/>
                    <a:pt x="37" y="95"/>
                  </a:cubicBezTo>
                  <a:cubicBezTo>
                    <a:pt x="37" y="95"/>
                    <a:pt x="37" y="95"/>
                    <a:pt x="37" y="95"/>
                  </a:cubicBezTo>
                  <a:cubicBezTo>
                    <a:pt x="38" y="95"/>
                    <a:pt x="38" y="95"/>
                    <a:pt x="39" y="95"/>
                  </a:cubicBezTo>
                  <a:cubicBezTo>
                    <a:pt x="39" y="96"/>
                    <a:pt x="39" y="96"/>
                    <a:pt x="39" y="96"/>
                  </a:cubicBezTo>
                  <a:cubicBezTo>
                    <a:pt x="40" y="96"/>
                    <a:pt x="40" y="96"/>
                    <a:pt x="41" y="96"/>
                  </a:cubicBezTo>
                  <a:cubicBezTo>
                    <a:pt x="45" y="97"/>
                    <a:pt x="48" y="99"/>
                    <a:pt x="52" y="101"/>
                  </a:cubicBezTo>
                  <a:cubicBezTo>
                    <a:pt x="53" y="101"/>
                    <a:pt x="53" y="102"/>
                    <a:pt x="54" y="102"/>
                  </a:cubicBezTo>
                  <a:cubicBezTo>
                    <a:pt x="56" y="103"/>
                    <a:pt x="57" y="104"/>
                    <a:pt x="59" y="104"/>
                  </a:cubicBezTo>
                  <a:cubicBezTo>
                    <a:pt x="59" y="104"/>
                    <a:pt x="60" y="105"/>
                    <a:pt x="61" y="105"/>
                  </a:cubicBezTo>
                  <a:cubicBezTo>
                    <a:pt x="62" y="106"/>
                    <a:pt x="62" y="106"/>
                    <a:pt x="62" y="106"/>
                  </a:cubicBezTo>
                  <a:cubicBezTo>
                    <a:pt x="63" y="106"/>
                    <a:pt x="65" y="107"/>
                    <a:pt x="66" y="107"/>
                  </a:cubicBezTo>
                  <a:cubicBezTo>
                    <a:pt x="66" y="107"/>
                    <a:pt x="66" y="107"/>
                    <a:pt x="66" y="107"/>
                  </a:cubicBezTo>
                  <a:cubicBezTo>
                    <a:pt x="66" y="107"/>
                    <a:pt x="67" y="106"/>
                    <a:pt x="67" y="106"/>
                  </a:cubicBezTo>
                  <a:cubicBezTo>
                    <a:pt x="68" y="106"/>
                    <a:pt x="68" y="107"/>
                    <a:pt x="68" y="107"/>
                  </a:cubicBezTo>
                  <a:cubicBezTo>
                    <a:pt x="70" y="107"/>
                    <a:pt x="70" y="108"/>
                    <a:pt x="70" y="109"/>
                  </a:cubicBezTo>
                  <a:cubicBezTo>
                    <a:pt x="71" y="109"/>
                    <a:pt x="71" y="109"/>
                    <a:pt x="71" y="110"/>
                  </a:cubicBezTo>
                  <a:cubicBezTo>
                    <a:pt x="72" y="113"/>
                    <a:pt x="71" y="116"/>
                    <a:pt x="70" y="117"/>
                  </a:cubicBezTo>
                  <a:cubicBezTo>
                    <a:pt x="70" y="118"/>
                    <a:pt x="70" y="118"/>
                    <a:pt x="69" y="119"/>
                  </a:cubicBezTo>
                  <a:cubicBezTo>
                    <a:pt x="70" y="119"/>
                    <a:pt x="70" y="120"/>
                    <a:pt x="71" y="121"/>
                  </a:cubicBezTo>
                  <a:cubicBezTo>
                    <a:pt x="72" y="121"/>
                    <a:pt x="73" y="122"/>
                    <a:pt x="73" y="123"/>
                  </a:cubicBezTo>
                  <a:cubicBezTo>
                    <a:pt x="74" y="122"/>
                    <a:pt x="74" y="122"/>
                    <a:pt x="74" y="122"/>
                  </a:cubicBezTo>
                  <a:cubicBezTo>
                    <a:pt x="74" y="122"/>
                    <a:pt x="75" y="122"/>
                    <a:pt x="75" y="122"/>
                  </a:cubicBezTo>
                  <a:cubicBezTo>
                    <a:pt x="75" y="122"/>
                    <a:pt x="75" y="122"/>
                    <a:pt x="75" y="122"/>
                  </a:cubicBezTo>
                  <a:cubicBezTo>
                    <a:pt x="76" y="122"/>
                    <a:pt x="76" y="122"/>
                    <a:pt x="76" y="122"/>
                  </a:cubicBezTo>
                  <a:cubicBezTo>
                    <a:pt x="77" y="123"/>
                    <a:pt x="78" y="124"/>
                    <a:pt x="78" y="126"/>
                  </a:cubicBezTo>
                  <a:cubicBezTo>
                    <a:pt x="78" y="127"/>
                    <a:pt x="77" y="128"/>
                    <a:pt x="77" y="129"/>
                  </a:cubicBezTo>
                  <a:cubicBezTo>
                    <a:pt x="77" y="129"/>
                    <a:pt x="77" y="129"/>
                    <a:pt x="77" y="129"/>
                  </a:cubicBezTo>
                  <a:cubicBezTo>
                    <a:pt x="78" y="131"/>
                    <a:pt x="79" y="132"/>
                    <a:pt x="81" y="133"/>
                  </a:cubicBezTo>
                  <a:cubicBezTo>
                    <a:pt x="80" y="135"/>
                    <a:pt x="80" y="135"/>
                    <a:pt x="80" y="135"/>
                  </a:cubicBezTo>
                  <a:cubicBezTo>
                    <a:pt x="81" y="134"/>
                    <a:pt x="81" y="134"/>
                    <a:pt x="81" y="134"/>
                  </a:cubicBezTo>
                  <a:cubicBezTo>
                    <a:pt x="81" y="134"/>
                    <a:pt x="81" y="134"/>
                    <a:pt x="81" y="134"/>
                  </a:cubicBezTo>
                  <a:cubicBezTo>
                    <a:pt x="82" y="134"/>
                    <a:pt x="82" y="134"/>
                    <a:pt x="82" y="134"/>
                  </a:cubicBezTo>
                  <a:cubicBezTo>
                    <a:pt x="83" y="134"/>
                    <a:pt x="83" y="134"/>
                    <a:pt x="83" y="134"/>
                  </a:cubicBezTo>
                  <a:cubicBezTo>
                    <a:pt x="83" y="134"/>
                    <a:pt x="83" y="134"/>
                    <a:pt x="83" y="134"/>
                  </a:cubicBezTo>
                  <a:cubicBezTo>
                    <a:pt x="84" y="135"/>
                    <a:pt x="84" y="135"/>
                    <a:pt x="84" y="136"/>
                  </a:cubicBezTo>
                  <a:cubicBezTo>
                    <a:pt x="85" y="138"/>
                    <a:pt x="85" y="140"/>
                    <a:pt x="84" y="141"/>
                  </a:cubicBezTo>
                  <a:cubicBezTo>
                    <a:pt x="84" y="142"/>
                    <a:pt x="84" y="142"/>
                    <a:pt x="85" y="143"/>
                  </a:cubicBezTo>
                  <a:cubicBezTo>
                    <a:pt x="85" y="143"/>
                    <a:pt x="85" y="143"/>
                    <a:pt x="85" y="143"/>
                  </a:cubicBezTo>
                  <a:cubicBezTo>
                    <a:pt x="87" y="144"/>
                    <a:pt x="87" y="144"/>
                    <a:pt x="87" y="145"/>
                  </a:cubicBezTo>
                  <a:cubicBezTo>
                    <a:pt x="88" y="145"/>
                    <a:pt x="88" y="145"/>
                    <a:pt x="88" y="145"/>
                  </a:cubicBezTo>
                  <a:cubicBezTo>
                    <a:pt x="88" y="146"/>
                    <a:pt x="88" y="146"/>
                    <a:pt x="88" y="146"/>
                  </a:cubicBezTo>
                  <a:cubicBezTo>
                    <a:pt x="88" y="147"/>
                    <a:pt x="87" y="148"/>
                    <a:pt x="86" y="148"/>
                  </a:cubicBezTo>
                  <a:cubicBezTo>
                    <a:pt x="85" y="148"/>
                    <a:pt x="85" y="148"/>
                    <a:pt x="85" y="148"/>
                  </a:cubicBezTo>
                  <a:cubicBezTo>
                    <a:pt x="85" y="148"/>
                    <a:pt x="84" y="149"/>
                    <a:pt x="83" y="149"/>
                  </a:cubicBezTo>
                  <a:cubicBezTo>
                    <a:pt x="83" y="149"/>
                    <a:pt x="82" y="149"/>
                    <a:pt x="82" y="149"/>
                  </a:cubicBezTo>
                  <a:cubicBezTo>
                    <a:pt x="82" y="149"/>
                    <a:pt x="82" y="149"/>
                    <a:pt x="81" y="149"/>
                  </a:cubicBezTo>
                  <a:cubicBezTo>
                    <a:pt x="81" y="149"/>
                    <a:pt x="81" y="149"/>
                    <a:pt x="81" y="149"/>
                  </a:cubicBezTo>
                  <a:cubicBezTo>
                    <a:pt x="80" y="148"/>
                    <a:pt x="80" y="148"/>
                    <a:pt x="80" y="148"/>
                  </a:cubicBezTo>
                  <a:cubicBezTo>
                    <a:pt x="80" y="148"/>
                    <a:pt x="80" y="148"/>
                    <a:pt x="80" y="148"/>
                  </a:cubicBezTo>
                  <a:cubicBezTo>
                    <a:pt x="80" y="148"/>
                    <a:pt x="80" y="148"/>
                    <a:pt x="80" y="148"/>
                  </a:cubicBezTo>
                  <a:cubicBezTo>
                    <a:pt x="80" y="148"/>
                    <a:pt x="80" y="148"/>
                    <a:pt x="80" y="148"/>
                  </a:cubicBezTo>
                  <a:cubicBezTo>
                    <a:pt x="79" y="148"/>
                    <a:pt x="79" y="148"/>
                    <a:pt x="79" y="148"/>
                  </a:cubicBezTo>
                  <a:cubicBezTo>
                    <a:pt x="79" y="148"/>
                    <a:pt x="79" y="148"/>
                    <a:pt x="78" y="148"/>
                  </a:cubicBezTo>
                  <a:cubicBezTo>
                    <a:pt x="77" y="148"/>
                    <a:pt x="76" y="148"/>
                    <a:pt x="75" y="147"/>
                  </a:cubicBezTo>
                  <a:cubicBezTo>
                    <a:pt x="75" y="147"/>
                    <a:pt x="75" y="147"/>
                    <a:pt x="75" y="147"/>
                  </a:cubicBezTo>
                  <a:cubicBezTo>
                    <a:pt x="74" y="146"/>
                    <a:pt x="74" y="146"/>
                    <a:pt x="74" y="146"/>
                  </a:cubicBezTo>
                  <a:cubicBezTo>
                    <a:pt x="74" y="146"/>
                    <a:pt x="74" y="146"/>
                    <a:pt x="74" y="146"/>
                  </a:cubicBezTo>
                  <a:cubicBezTo>
                    <a:pt x="73" y="146"/>
                    <a:pt x="72" y="147"/>
                    <a:pt x="71" y="148"/>
                  </a:cubicBezTo>
                  <a:cubicBezTo>
                    <a:pt x="71" y="148"/>
                    <a:pt x="71" y="148"/>
                    <a:pt x="71" y="148"/>
                  </a:cubicBezTo>
                  <a:cubicBezTo>
                    <a:pt x="70" y="148"/>
                    <a:pt x="70" y="148"/>
                    <a:pt x="70" y="148"/>
                  </a:cubicBezTo>
                  <a:cubicBezTo>
                    <a:pt x="70" y="148"/>
                    <a:pt x="70" y="148"/>
                    <a:pt x="70" y="148"/>
                  </a:cubicBezTo>
                  <a:cubicBezTo>
                    <a:pt x="69" y="148"/>
                    <a:pt x="68" y="148"/>
                    <a:pt x="68" y="147"/>
                  </a:cubicBezTo>
                  <a:cubicBezTo>
                    <a:pt x="68" y="147"/>
                    <a:pt x="68" y="147"/>
                    <a:pt x="68" y="147"/>
                  </a:cubicBezTo>
                  <a:cubicBezTo>
                    <a:pt x="67" y="146"/>
                    <a:pt x="67" y="146"/>
                    <a:pt x="67" y="146"/>
                  </a:cubicBezTo>
                  <a:cubicBezTo>
                    <a:pt x="67" y="146"/>
                    <a:pt x="67" y="146"/>
                    <a:pt x="67" y="146"/>
                  </a:cubicBezTo>
                  <a:cubicBezTo>
                    <a:pt x="66" y="146"/>
                    <a:pt x="66" y="146"/>
                    <a:pt x="66" y="146"/>
                  </a:cubicBezTo>
                  <a:cubicBezTo>
                    <a:pt x="66" y="146"/>
                    <a:pt x="66" y="146"/>
                    <a:pt x="66" y="146"/>
                  </a:cubicBezTo>
                  <a:cubicBezTo>
                    <a:pt x="66" y="147"/>
                    <a:pt x="66" y="147"/>
                    <a:pt x="66" y="147"/>
                  </a:cubicBezTo>
                  <a:cubicBezTo>
                    <a:pt x="66" y="148"/>
                    <a:pt x="66" y="149"/>
                    <a:pt x="66" y="149"/>
                  </a:cubicBezTo>
                  <a:cubicBezTo>
                    <a:pt x="66" y="150"/>
                    <a:pt x="67" y="151"/>
                    <a:pt x="66" y="152"/>
                  </a:cubicBezTo>
                  <a:cubicBezTo>
                    <a:pt x="66" y="152"/>
                    <a:pt x="66" y="153"/>
                    <a:pt x="66" y="153"/>
                  </a:cubicBezTo>
                  <a:cubicBezTo>
                    <a:pt x="66" y="154"/>
                    <a:pt x="66" y="154"/>
                    <a:pt x="66" y="154"/>
                  </a:cubicBezTo>
                  <a:cubicBezTo>
                    <a:pt x="65" y="154"/>
                    <a:pt x="65" y="154"/>
                    <a:pt x="65" y="155"/>
                  </a:cubicBezTo>
                  <a:cubicBezTo>
                    <a:pt x="65" y="155"/>
                    <a:pt x="65" y="155"/>
                    <a:pt x="65" y="155"/>
                  </a:cubicBezTo>
                  <a:cubicBezTo>
                    <a:pt x="65" y="157"/>
                    <a:pt x="64" y="157"/>
                    <a:pt x="63" y="157"/>
                  </a:cubicBezTo>
                  <a:cubicBezTo>
                    <a:pt x="63" y="157"/>
                    <a:pt x="63" y="157"/>
                    <a:pt x="63" y="157"/>
                  </a:cubicBezTo>
                  <a:cubicBezTo>
                    <a:pt x="62" y="158"/>
                    <a:pt x="62" y="159"/>
                    <a:pt x="61" y="160"/>
                  </a:cubicBezTo>
                  <a:cubicBezTo>
                    <a:pt x="61" y="160"/>
                    <a:pt x="61" y="160"/>
                    <a:pt x="61" y="160"/>
                  </a:cubicBezTo>
                  <a:cubicBezTo>
                    <a:pt x="61" y="160"/>
                    <a:pt x="61" y="160"/>
                    <a:pt x="61" y="160"/>
                  </a:cubicBezTo>
                  <a:cubicBezTo>
                    <a:pt x="60" y="161"/>
                    <a:pt x="60" y="161"/>
                    <a:pt x="60" y="161"/>
                  </a:cubicBezTo>
                  <a:cubicBezTo>
                    <a:pt x="60" y="161"/>
                    <a:pt x="59" y="162"/>
                    <a:pt x="59" y="162"/>
                  </a:cubicBezTo>
                  <a:cubicBezTo>
                    <a:pt x="58" y="163"/>
                    <a:pt x="57" y="163"/>
                    <a:pt x="57" y="164"/>
                  </a:cubicBezTo>
                  <a:cubicBezTo>
                    <a:pt x="57" y="164"/>
                    <a:pt x="57" y="164"/>
                    <a:pt x="57" y="164"/>
                  </a:cubicBezTo>
                  <a:cubicBezTo>
                    <a:pt x="59" y="166"/>
                    <a:pt x="59" y="166"/>
                    <a:pt x="59" y="166"/>
                  </a:cubicBezTo>
                  <a:cubicBezTo>
                    <a:pt x="57" y="167"/>
                    <a:pt x="57" y="167"/>
                    <a:pt x="57" y="167"/>
                  </a:cubicBezTo>
                  <a:cubicBezTo>
                    <a:pt x="55" y="167"/>
                    <a:pt x="54" y="168"/>
                    <a:pt x="53" y="169"/>
                  </a:cubicBezTo>
                  <a:cubicBezTo>
                    <a:pt x="53" y="169"/>
                    <a:pt x="53" y="169"/>
                    <a:pt x="53" y="169"/>
                  </a:cubicBezTo>
                  <a:cubicBezTo>
                    <a:pt x="54" y="170"/>
                    <a:pt x="55" y="170"/>
                    <a:pt x="56" y="171"/>
                  </a:cubicBezTo>
                  <a:cubicBezTo>
                    <a:pt x="57" y="171"/>
                    <a:pt x="57" y="172"/>
                    <a:pt x="58" y="172"/>
                  </a:cubicBezTo>
                  <a:cubicBezTo>
                    <a:pt x="60" y="172"/>
                    <a:pt x="60" y="172"/>
                    <a:pt x="60" y="172"/>
                  </a:cubicBezTo>
                  <a:cubicBezTo>
                    <a:pt x="63" y="171"/>
                    <a:pt x="63" y="171"/>
                    <a:pt x="64" y="171"/>
                  </a:cubicBezTo>
                  <a:cubicBezTo>
                    <a:pt x="65" y="170"/>
                    <a:pt x="65" y="170"/>
                    <a:pt x="65" y="170"/>
                  </a:cubicBezTo>
                  <a:cubicBezTo>
                    <a:pt x="67" y="169"/>
                    <a:pt x="71" y="168"/>
                    <a:pt x="73" y="168"/>
                  </a:cubicBezTo>
                  <a:cubicBezTo>
                    <a:pt x="73" y="168"/>
                    <a:pt x="73" y="168"/>
                    <a:pt x="73" y="168"/>
                  </a:cubicBezTo>
                  <a:cubicBezTo>
                    <a:pt x="75" y="168"/>
                    <a:pt x="77" y="169"/>
                    <a:pt x="79" y="170"/>
                  </a:cubicBezTo>
                  <a:cubicBezTo>
                    <a:pt x="79" y="171"/>
                    <a:pt x="79" y="171"/>
                    <a:pt x="79" y="171"/>
                  </a:cubicBezTo>
                  <a:cubicBezTo>
                    <a:pt x="79" y="167"/>
                    <a:pt x="78" y="164"/>
                    <a:pt x="77" y="160"/>
                  </a:cubicBezTo>
                  <a:cubicBezTo>
                    <a:pt x="79" y="161"/>
                    <a:pt x="78" y="164"/>
                    <a:pt x="79" y="164"/>
                  </a:cubicBezTo>
                  <a:cubicBezTo>
                    <a:pt x="79" y="164"/>
                    <a:pt x="79" y="163"/>
                    <a:pt x="81" y="162"/>
                  </a:cubicBezTo>
                  <a:cubicBezTo>
                    <a:pt x="81" y="162"/>
                    <a:pt x="83" y="160"/>
                    <a:pt x="84" y="160"/>
                  </a:cubicBezTo>
                  <a:cubicBezTo>
                    <a:pt x="84" y="160"/>
                    <a:pt x="84" y="160"/>
                    <a:pt x="85" y="160"/>
                  </a:cubicBezTo>
                  <a:cubicBezTo>
                    <a:pt x="85" y="160"/>
                    <a:pt x="85" y="160"/>
                    <a:pt x="85" y="160"/>
                  </a:cubicBezTo>
                  <a:cubicBezTo>
                    <a:pt x="86" y="160"/>
                    <a:pt x="86" y="160"/>
                    <a:pt x="86" y="160"/>
                  </a:cubicBezTo>
                  <a:cubicBezTo>
                    <a:pt x="87" y="160"/>
                    <a:pt x="87" y="160"/>
                    <a:pt x="88" y="159"/>
                  </a:cubicBezTo>
                  <a:cubicBezTo>
                    <a:pt x="88" y="159"/>
                    <a:pt x="92" y="156"/>
                    <a:pt x="92" y="155"/>
                  </a:cubicBezTo>
                  <a:cubicBezTo>
                    <a:pt x="91" y="153"/>
                    <a:pt x="90" y="151"/>
                    <a:pt x="88" y="150"/>
                  </a:cubicBezTo>
                  <a:cubicBezTo>
                    <a:pt x="88" y="149"/>
                    <a:pt x="87" y="148"/>
                    <a:pt x="87" y="148"/>
                  </a:cubicBezTo>
                  <a:cubicBezTo>
                    <a:pt x="87" y="147"/>
                    <a:pt x="88" y="147"/>
                    <a:pt x="88" y="147"/>
                  </a:cubicBezTo>
                  <a:cubicBezTo>
                    <a:pt x="88" y="147"/>
                    <a:pt x="88" y="147"/>
                    <a:pt x="88" y="147"/>
                  </a:cubicBezTo>
                  <a:cubicBezTo>
                    <a:pt x="88" y="147"/>
                    <a:pt x="88" y="147"/>
                    <a:pt x="89" y="147"/>
                  </a:cubicBezTo>
                  <a:cubicBezTo>
                    <a:pt x="89" y="147"/>
                    <a:pt x="89" y="147"/>
                    <a:pt x="89" y="147"/>
                  </a:cubicBezTo>
                  <a:cubicBezTo>
                    <a:pt x="89" y="148"/>
                    <a:pt x="89" y="148"/>
                    <a:pt x="89" y="148"/>
                  </a:cubicBezTo>
                  <a:cubicBezTo>
                    <a:pt x="89" y="148"/>
                    <a:pt x="89" y="148"/>
                    <a:pt x="89" y="148"/>
                  </a:cubicBezTo>
                  <a:cubicBezTo>
                    <a:pt x="89" y="148"/>
                    <a:pt x="89" y="148"/>
                    <a:pt x="89" y="148"/>
                  </a:cubicBezTo>
                  <a:cubicBezTo>
                    <a:pt x="89" y="148"/>
                    <a:pt x="89" y="148"/>
                    <a:pt x="89" y="148"/>
                  </a:cubicBezTo>
                  <a:cubicBezTo>
                    <a:pt x="90" y="148"/>
                    <a:pt x="90" y="148"/>
                    <a:pt x="90" y="147"/>
                  </a:cubicBezTo>
                  <a:cubicBezTo>
                    <a:pt x="90" y="148"/>
                    <a:pt x="90" y="148"/>
                    <a:pt x="91" y="148"/>
                  </a:cubicBezTo>
                  <a:cubicBezTo>
                    <a:pt x="91" y="149"/>
                    <a:pt x="91" y="149"/>
                    <a:pt x="92" y="150"/>
                  </a:cubicBezTo>
                  <a:cubicBezTo>
                    <a:pt x="92" y="151"/>
                    <a:pt x="92" y="151"/>
                    <a:pt x="92" y="151"/>
                  </a:cubicBezTo>
                  <a:cubicBezTo>
                    <a:pt x="92" y="151"/>
                    <a:pt x="92" y="151"/>
                    <a:pt x="92" y="151"/>
                  </a:cubicBezTo>
                  <a:cubicBezTo>
                    <a:pt x="93" y="150"/>
                    <a:pt x="94" y="149"/>
                    <a:pt x="94" y="148"/>
                  </a:cubicBezTo>
                  <a:cubicBezTo>
                    <a:pt x="95" y="148"/>
                    <a:pt x="96" y="147"/>
                    <a:pt x="96" y="146"/>
                  </a:cubicBezTo>
                  <a:cubicBezTo>
                    <a:pt x="98" y="144"/>
                    <a:pt x="99" y="143"/>
                    <a:pt x="102" y="142"/>
                  </a:cubicBezTo>
                  <a:cubicBezTo>
                    <a:pt x="102" y="142"/>
                    <a:pt x="103" y="142"/>
                    <a:pt x="103" y="142"/>
                  </a:cubicBezTo>
                  <a:cubicBezTo>
                    <a:pt x="104" y="142"/>
                    <a:pt x="104" y="142"/>
                    <a:pt x="105" y="141"/>
                  </a:cubicBezTo>
                  <a:cubicBezTo>
                    <a:pt x="105" y="141"/>
                    <a:pt x="106" y="141"/>
                    <a:pt x="106" y="141"/>
                  </a:cubicBezTo>
                  <a:cubicBezTo>
                    <a:pt x="107" y="141"/>
                    <a:pt x="107" y="141"/>
                    <a:pt x="108" y="141"/>
                  </a:cubicBezTo>
                  <a:cubicBezTo>
                    <a:pt x="108" y="141"/>
                    <a:pt x="108" y="141"/>
                    <a:pt x="108" y="141"/>
                  </a:cubicBezTo>
                  <a:cubicBezTo>
                    <a:pt x="109" y="141"/>
                    <a:pt x="109" y="141"/>
                    <a:pt x="110" y="141"/>
                  </a:cubicBezTo>
                  <a:cubicBezTo>
                    <a:pt x="111" y="140"/>
                    <a:pt x="111" y="140"/>
                    <a:pt x="111" y="140"/>
                  </a:cubicBezTo>
                  <a:cubicBezTo>
                    <a:pt x="112" y="139"/>
                    <a:pt x="113" y="138"/>
                    <a:pt x="115" y="136"/>
                  </a:cubicBezTo>
                  <a:cubicBezTo>
                    <a:pt x="114" y="138"/>
                    <a:pt x="114" y="138"/>
                    <a:pt x="114" y="138"/>
                  </a:cubicBezTo>
                  <a:cubicBezTo>
                    <a:pt x="114" y="138"/>
                    <a:pt x="113" y="138"/>
                    <a:pt x="115" y="139"/>
                  </a:cubicBezTo>
                  <a:cubicBezTo>
                    <a:pt x="117" y="139"/>
                    <a:pt x="119" y="140"/>
                    <a:pt x="121" y="140"/>
                  </a:cubicBezTo>
                  <a:cubicBezTo>
                    <a:pt x="120" y="138"/>
                    <a:pt x="120" y="137"/>
                    <a:pt x="121" y="135"/>
                  </a:cubicBezTo>
                  <a:cubicBezTo>
                    <a:pt x="122" y="135"/>
                    <a:pt x="122" y="134"/>
                    <a:pt x="121" y="134"/>
                  </a:cubicBezTo>
                  <a:cubicBezTo>
                    <a:pt x="121" y="134"/>
                    <a:pt x="121" y="134"/>
                    <a:pt x="121" y="134"/>
                  </a:cubicBezTo>
                  <a:cubicBezTo>
                    <a:pt x="121" y="134"/>
                    <a:pt x="121" y="134"/>
                    <a:pt x="121" y="134"/>
                  </a:cubicBezTo>
                  <a:cubicBezTo>
                    <a:pt x="121" y="134"/>
                    <a:pt x="121" y="134"/>
                    <a:pt x="121" y="134"/>
                  </a:cubicBezTo>
                  <a:cubicBezTo>
                    <a:pt x="121" y="133"/>
                    <a:pt x="121" y="133"/>
                    <a:pt x="121" y="133"/>
                  </a:cubicBezTo>
                  <a:cubicBezTo>
                    <a:pt x="121" y="133"/>
                    <a:pt x="121" y="133"/>
                    <a:pt x="121" y="133"/>
                  </a:cubicBezTo>
                  <a:cubicBezTo>
                    <a:pt x="121" y="132"/>
                    <a:pt x="121" y="132"/>
                    <a:pt x="121" y="132"/>
                  </a:cubicBezTo>
                  <a:cubicBezTo>
                    <a:pt x="121" y="132"/>
                    <a:pt x="121" y="132"/>
                    <a:pt x="121" y="132"/>
                  </a:cubicBezTo>
                  <a:cubicBezTo>
                    <a:pt x="121" y="132"/>
                    <a:pt x="120" y="132"/>
                    <a:pt x="120" y="132"/>
                  </a:cubicBezTo>
                  <a:cubicBezTo>
                    <a:pt x="120" y="132"/>
                    <a:pt x="120" y="132"/>
                    <a:pt x="120" y="132"/>
                  </a:cubicBezTo>
                  <a:cubicBezTo>
                    <a:pt x="119" y="132"/>
                    <a:pt x="120" y="131"/>
                    <a:pt x="120" y="130"/>
                  </a:cubicBezTo>
                  <a:cubicBezTo>
                    <a:pt x="120" y="130"/>
                    <a:pt x="119" y="129"/>
                    <a:pt x="119" y="129"/>
                  </a:cubicBezTo>
                  <a:cubicBezTo>
                    <a:pt x="119" y="129"/>
                    <a:pt x="119" y="128"/>
                    <a:pt x="119" y="128"/>
                  </a:cubicBezTo>
                  <a:cubicBezTo>
                    <a:pt x="119" y="128"/>
                    <a:pt x="119" y="128"/>
                    <a:pt x="118" y="127"/>
                  </a:cubicBezTo>
                  <a:cubicBezTo>
                    <a:pt x="119" y="127"/>
                    <a:pt x="119" y="127"/>
                    <a:pt x="119" y="127"/>
                  </a:cubicBezTo>
                  <a:cubicBezTo>
                    <a:pt x="119" y="128"/>
                    <a:pt x="119" y="128"/>
                    <a:pt x="119" y="128"/>
                  </a:cubicBezTo>
                  <a:cubicBezTo>
                    <a:pt x="120" y="129"/>
                    <a:pt x="120" y="131"/>
                    <a:pt x="120" y="131"/>
                  </a:cubicBezTo>
                  <a:cubicBezTo>
                    <a:pt x="120" y="132"/>
                    <a:pt x="120" y="132"/>
                    <a:pt x="120" y="132"/>
                  </a:cubicBezTo>
                  <a:cubicBezTo>
                    <a:pt x="122" y="132"/>
                    <a:pt x="122" y="132"/>
                    <a:pt x="122" y="132"/>
                  </a:cubicBezTo>
                  <a:cubicBezTo>
                    <a:pt x="122" y="132"/>
                    <a:pt x="122" y="132"/>
                    <a:pt x="122" y="132"/>
                  </a:cubicBezTo>
                  <a:cubicBezTo>
                    <a:pt x="122" y="133"/>
                    <a:pt x="121" y="133"/>
                    <a:pt x="121" y="133"/>
                  </a:cubicBezTo>
                  <a:cubicBezTo>
                    <a:pt x="122" y="134"/>
                    <a:pt x="122" y="134"/>
                    <a:pt x="122" y="134"/>
                  </a:cubicBezTo>
                  <a:cubicBezTo>
                    <a:pt x="122" y="134"/>
                    <a:pt x="122" y="134"/>
                    <a:pt x="122" y="135"/>
                  </a:cubicBezTo>
                  <a:cubicBezTo>
                    <a:pt x="122" y="135"/>
                    <a:pt x="122" y="135"/>
                    <a:pt x="122" y="135"/>
                  </a:cubicBezTo>
                  <a:cubicBezTo>
                    <a:pt x="122" y="136"/>
                    <a:pt x="120" y="137"/>
                    <a:pt x="122" y="139"/>
                  </a:cubicBezTo>
                  <a:cubicBezTo>
                    <a:pt x="124" y="141"/>
                    <a:pt x="125" y="142"/>
                    <a:pt x="127" y="143"/>
                  </a:cubicBezTo>
                  <a:cubicBezTo>
                    <a:pt x="127" y="143"/>
                    <a:pt x="127" y="143"/>
                    <a:pt x="128" y="143"/>
                  </a:cubicBezTo>
                  <a:cubicBezTo>
                    <a:pt x="128" y="143"/>
                    <a:pt x="128" y="143"/>
                    <a:pt x="129" y="143"/>
                  </a:cubicBezTo>
                  <a:cubicBezTo>
                    <a:pt x="131" y="142"/>
                    <a:pt x="133" y="141"/>
                    <a:pt x="135" y="141"/>
                  </a:cubicBezTo>
                  <a:cubicBezTo>
                    <a:pt x="132" y="143"/>
                    <a:pt x="131" y="145"/>
                    <a:pt x="128" y="145"/>
                  </a:cubicBezTo>
                  <a:cubicBezTo>
                    <a:pt x="127" y="145"/>
                    <a:pt x="127" y="145"/>
                    <a:pt x="127" y="145"/>
                  </a:cubicBezTo>
                  <a:cubicBezTo>
                    <a:pt x="125" y="144"/>
                    <a:pt x="122" y="144"/>
                    <a:pt x="120" y="143"/>
                  </a:cubicBezTo>
                  <a:cubicBezTo>
                    <a:pt x="118" y="143"/>
                    <a:pt x="115" y="142"/>
                    <a:pt x="113" y="142"/>
                  </a:cubicBezTo>
                  <a:cubicBezTo>
                    <a:pt x="114" y="143"/>
                    <a:pt x="114" y="144"/>
                    <a:pt x="115" y="144"/>
                  </a:cubicBezTo>
                  <a:cubicBezTo>
                    <a:pt x="116" y="145"/>
                    <a:pt x="116" y="145"/>
                    <a:pt x="116" y="145"/>
                  </a:cubicBezTo>
                  <a:cubicBezTo>
                    <a:pt x="116" y="145"/>
                    <a:pt x="116" y="145"/>
                    <a:pt x="116" y="145"/>
                  </a:cubicBezTo>
                  <a:cubicBezTo>
                    <a:pt x="117" y="145"/>
                    <a:pt x="117" y="145"/>
                    <a:pt x="117" y="145"/>
                  </a:cubicBezTo>
                  <a:cubicBezTo>
                    <a:pt x="118" y="145"/>
                    <a:pt x="118" y="145"/>
                    <a:pt x="118" y="145"/>
                  </a:cubicBezTo>
                  <a:cubicBezTo>
                    <a:pt x="119" y="145"/>
                    <a:pt x="119" y="145"/>
                    <a:pt x="119" y="145"/>
                  </a:cubicBezTo>
                  <a:cubicBezTo>
                    <a:pt x="120" y="146"/>
                    <a:pt x="121" y="147"/>
                    <a:pt x="122" y="148"/>
                  </a:cubicBezTo>
                  <a:cubicBezTo>
                    <a:pt x="121" y="148"/>
                    <a:pt x="121" y="148"/>
                    <a:pt x="121" y="148"/>
                  </a:cubicBezTo>
                  <a:cubicBezTo>
                    <a:pt x="121" y="148"/>
                    <a:pt x="121" y="148"/>
                    <a:pt x="121" y="148"/>
                  </a:cubicBezTo>
                  <a:cubicBezTo>
                    <a:pt x="121" y="148"/>
                    <a:pt x="120" y="148"/>
                    <a:pt x="120" y="148"/>
                  </a:cubicBezTo>
                  <a:cubicBezTo>
                    <a:pt x="119" y="148"/>
                    <a:pt x="118" y="148"/>
                    <a:pt x="118" y="148"/>
                  </a:cubicBezTo>
                  <a:cubicBezTo>
                    <a:pt x="118" y="149"/>
                    <a:pt x="119" y="150"/>
                    <a:pt x="121" y="150"/>
                  </a:cubicBezTo>
                  <a:cubicBezTo>
                    <a:pt x="124" y="151"/>
                    <a:pt x="126" y="151"/>
                    <a:pt x="127" y="152"/>
                  </a:cubicBezTo>
                  <a:cubicBezTo>
                    <a:pt x="127" y="152"/>
                    <a:pt x="127" y="152"/>
                    <a:pt x="128" y="153"/>
                  </a:cubicBezTo>
                  <a:cubicBezTo>
                    <a:pt x="128" y="153"/>
                    <a:pt x="128" y="153"/>
                    <a:pt x="128" y="153"/>
                  </a:cubicBezTo>
                  <a:cubicBezTo>
                    <a:pt x="129" y="154"/>
                    <a:pt x="130" y="154"/>
                    <a:pt x="131" y="154"/>
                  </a:cubicBezTo>
                  <a:cubicBezTo>
                    <a:pt x="131" y="154"/>
                    <a:pt x="131" y="154"/>
                    <a:pt x="131" y="154"/>
                  </a:cubicBezTo>
                  <a:cubicBezTo>
                    <a:pt x="131" y="154"/>
                    <a:pt x="132" y="154"/>
                    <a:pt x="133" y="153"/>
                  </a:cubicBezTo>
                  <a:cubicBezTo>
                    <a:pt x="134" y="153"/>
                    <a:pt x="136" y="153"/>
                    <a:pt x="137" y="153"/>
                  </a:cubicBezTo>
                  <a:cubicBezTo>
                    <a:pt x="137" y="152"/>
                    <a:pt x="137" y="152"/>
                    <a:pt x="137" y="152"/>
                  </a:cubicBezTo>
                  <a:cubicBezTo>
                    <a:pt x="140" y="152"/>
                    <a:pt x="142" y="152"/>
                    <a:pt x="144" y="151"/>
                  </a:cubicBezTo>
                  <a:cubicBezTo>
                    <a:pt x="144" y="151"/>
                    <a:pt x="144" y="151"/>
                    <a:pt x="145" y="151"/>
                  </a:cubicBezTo>
                  <a:cubicBezTo>
                    <a:pt x="146" y="151"/>
                    <a:pt x="146" y="152"/>
                    <a:pt x="146" y="152"/>
                  </a:cubicBezTo>
                  <a:cubicBezTo>
                    <a:pt x="146" y="153"/>
                    <a:pt x="146" y="153"/>
                    <a:pt x="147" y="154"/>
                  </a:cubicBezTo>
                  <a:cubicBezTo>
                    <a:pt x="148" y="154"/>
                    <a:pt x="148" y="154"/>
                    <a:pt x="149" y="155"/>
                  </a:cubicBezTo>
                  <a:cubicBezTo>
                    <a:pt x="149" y="155"/>
                    <a:pt x="149" y="155"/>
                    <a:pt x="149" y="155"/>
                  </a:cubicBezTo>
                  <a:cubicBezTo>
                    <a:pt x="150" y="155"/>
                    <a:pt x="151" y="154"/>
                    <a:pt x="152" y="154"/>
                  </a:cubicBezTo>
                  <a:cubicBezTo>
                    <a:pt x="152" y="154"/>
                    <a:pt x="153" y="153"/>
                    <a:pt x="153" y="153"/>
                  </a:cubicBezTo>
                  <a:cubicBezTo>
                    <a:pt x="153" y="153"/>
                    <a:pt x="153" y="154"/>
                    <a:pt x="153" y="155"/>
                  </a:cubicBezTo>
                  <a:cubicBezTo>
                    <a:pt x="153" y="156"/>
                    <a:pt x="153" y="158"/>
                    <a:pt x="155" y="158"/>
                  </a:cubicBezTo>
                  <a:cubicBezTo>
                    <a:pt x="155" y="160"/>
                    <a:pt x="153" y="159"/>
                    <a:pt x="151" y="160"/>
                  </a:cubicBezTo>
                  <a:cubicBezTo>
                    <a:pt x="151" y="160"/>
                    <a:pt x="150" y="160"/>
                    <a:pt x="149" y="160"/>
                  </a:cubicBezTo>
                  <a:cubicBezTo>
                    <a:pt x="149" y="160"/>
                    <a:pt x="148" y="161"/>
                    <a:pt x="147" y="161"/>
                  </a:cubicBezTo>
                  <a:cubicBezTo>
                    <a:pt x="147" y="162"/>
                    <a:pt x="147" y="162"/>
                    <a:pt x="146" y="162"/>
                  </a:cubicBezTo>
                  <a:cubicBezTo>
                    <a:pt x="146" y="162"/>
                    <a:pt x="146" y="162"/>
                    <a:pt x="146" y="162"/>
                  </a:cubicBezTo>
                  <a:cubicBezTo>
                    <a:pt x="145" y="162"/>
                    <a:pt x="145" y="162"/>
                    <a:pt x="145" y="162"/>
                  </a:cubicBezTo>
                  <a:cubicBezTo>
                    <a:pt x="144" y="163"/>
                    <a:pt x="141" y="163"/>
                    <a:pt x="140" y="164"/>
                  </a:cubicBezTo>
                  <a:cubicBezTo>
                    <a:pt x="140" y="164"/>
                    <a:pt x="139" y="165"/>
                    <a:pt x="139" y="165"/>
                  </a:cubicBezTo>
                  <a:cubicBezTo>
                    <a:pt x="138" y="166"/>
                    <a:pt x="138" y="166"/>
                    <a:pt x="138" y="166"/>
                  </a:cubicBezTo>
                  <a:cubicBezTo>
                    <a:pt x="137" y="167"/>
                    <a:pt x="136" y="167"/>
                    <a:pt x="135" y="167"/>
                  </a:cubicBezTo>
                  <a:cubicBezTo>
                    <a:pt x="135" y="168"/>
                    <a:pt x="134" y="168"/>
                    <a:pt x="134" y="168"/>
                  </a:cubicBezTo>
                  <a:cubicBezTo>
                    <a:pt x="133" y="169"/>
                    <a:pt x="132" y="169"/>
                    <a:pt x="132" y="170"/>
                  </a:cubicBezTo>
                  <a:cubicBezTo>
                    <a:pt x="132" y="170"/>
                    <a:pt x="132" y="170"/>
                    <a:pt x="132" y="170"/>
                  </a:cubicBezTo>
                  <a:cubicBezTo>
                    <a:pt x="132" y="173"/>
                    <a:pt x="139" y="174"/>
                    <a:pt x="143" y="175"/>
                  </a:cubicBezTo>
                  <a:cubicBezTo>
                    <a:pt x="144" y="175"/>
                    <a:pt x="145" y="175"/>
                    <a:pt x="146" y="175"/>
                  </a:cubicBezTo>
                  <a:cubicBezTo>
                    <a:pt x="148" y="176"/>
                    <a:pt x="151" y="176"/>
                    <a:pt x="152" y="178"/>
                  </a:cubicBezTo>
                  <a:cubicBezTo>
                    <a:pt x="153" y="179"/>
                    <a:pt x="153" y="180"/>
                    <a:pt x="153" y="181"/>
                  </a:cubicBezTo>
                  <a:cubicBezTo>
                    <a:pt x="153" y="183"/>
                    <a:pt x="152" y="183"/>
                    <a:pt x="152" y="184"/>
                  </a:cubicBezTo>
                  <a:cubicBezTo>
                    <a:pt x="152" y="184"/>
                    <a:pt x="151" y="184"/>
                    <a:pt x="151" y="185"/>
                  </a:cubicBezTo>
                  <a:cubicBezTo>
                    <a:pt x="151" y="185"/>
                    <a:pt x="151" y="186"/>
                    <a:pt x="151" y="187"/>
                  </a:cubicBezTo>
                  <a:cubicBezTo>
                    <a:pt x="152" y="188"/>
                    <a:pt x="152" y="189"/>
                    <a:pt x="152" y="189"/>
                  </a:cubicBezTo>
                  <a:cubicBezTo>
                    <a:pt x="151" y="189"/>
                    <a:pt x="150" y="189"/>
                    <a:pt x="148" y="190"/>
                  </a:cubicBezTo>
                  <a:cubicBezTo>
                    <a:pt x="149" y="190"/>
                    <a:pt x="149" y="190"/>
                    <a:pt x="150" y="191"/>
                  </a:cubicBezTo>
                  <a:cubicBezTo>
                    <a:pt x="150" y="191"/>
                    <a:pt x="150" y="191"/>
                    <a:pt x="151" y="192"/>
                  </a:cubicBezTo>
                  <a:cubicBezTo>
                    <a:pt x="153" y="193"/>
                    <a:pt x="154" y="193"/>
                    <a:pt x="155" y="193"/>
                  </a:cubicBezTo>
                  <a:cubicBezTo>
                    <a:pt x="155" y="193"/>
                    <a:pt x="155" y="193"/>
                    <a:pt x="155" y="193"/>
                  </a:cubicBezTo>
                  <a:cubicBezTo>
                    <a:pt x="156" y="193"/>
                    <a:pt x="157" y="193"/>
                    <a:pt x="157" y="193"/>
                  </a:cubicBezTo>
                  <a:cubicBezTo>
                    <a:pt x="162" y="190"/>
                    <a:pt x="167" y="188"/>
                    <a:pt x="172" y="185"/>
                  </a:cubicBezTo>
                  <a:cubicBezTo>
                    <a:pt x="177" y="183"/>
                    <a:pt x="182" y="181"/>
                    <a:pt x="187" y="178"/>
                  </a:cubicBezTo>
                  <a:cubicBezTo>
                    <a:pt x="188" y="178"/>
                    <a:pt x="189" y="177"/>
                    <a:pt x="190" y="177"/>
                  </a:cubicBezTo>
                  <a:cubicBezTo>
                    <a:pt x="192" y="177"/>
                    <a:pt x="193" y="178"/>
                    <a:pt x="195" y="179"/>
                  </a:cubicBezTo>
                  <a:cubicBezTo>
                    <a:pt x="196" y="179"/>
                    <a:pt x="196" y="179"/>
                    <a:pt x="196" y="180"/>
                  </a:cubicBezTo>
                  <a:cubicBezTo>
                    <a:pt x="197" y="180"/>
                    <a:pt x="197" y="180"/>
                    <a:pt x="197" y="180"/>
                  </a:cubicBezTo>
                  <a:cubicBezTo>
                    <a:pt x="197" y="180"/>
                    <a:pt x="197" y="180"/>
                    <a:pt x="197" y="180"/>
                  </a:cubicBezTo>
                  <a:cubicBezTo>
                    <a:pt x="198" y="180"/>
                    <a:pt x="200" y="179"/>
                    <a:pt x="201" y="179"/>
                  </a:cubicBezTo>
                  <a:cubicBezTo>
                    <a:pt x="202" y="179"/>
                    <a:pt x="202" y="179"/>
                    <a:pt x="202" y="179"/>
                  </a:cubicBezTo>
                  <a:cubicBezTo>
                    <a:pt x="203" y="179"/>
                    <a:pt x="203" y="179"/>
                    <a:pt x="203" y="179"/>
                  </a:cubicBezTo>
                  <a:cubicBezTo>
                    <a:pt x="203" y="179"/>
                    <a:pt x="203" y="179"/>
                    <a:pt x="203" y="179"/>
                  </a:cubicBezTo>
                  <a:cubicBezTo>
                    <a:pt x="204" y="179"/>
                    <a:pt x="204" y="179"/>
                    <a:pt x="204" y="179"/>
                  </a:cubicBezTo>
                  <a:cubicBezTo>
                    <a:pt x="206" y="178"/>
                    <a:pt x="206" y="177"/>
                    <a:pt x="206" y="175"/>
                  </a:cubicBezTo>
                  <a:cubicBezTo>
                    <a:pt x="207" y="174"/>
                    <a:pt x="207" y="173"/>
                    <a:pt x="208" y="173"/>
                  </a:cubicBezTo>
                  <a:cubicBezTo>
                    <a:pt x="208" y="172"/>
                    <a:pt x="209" y="172"/>
                    <a:pt x="209" y="172"/>
                  </a:cubicBezTo>
                  <a:cubicBezTo>
                    <a:pt x="210" y="172"/>
                    <a:pt x="210" y="172"/>
                    <a:pt x="211" y="171"/>
                  </a:cubicBezTo>
                  <a:cubicBezTo>
                    <a:pt x="210" y="171"/>
                    <a:pt x="209" y="171"/>
                    <a:pt x="208" y="171"/>
                  </a:cubicBezTo>
                  <a:cubicBezTo>
                    <a:pt x="208" y="171"/>
                    <a:pt x="208" y="171"/>
                    <a:pt x="208" y="171"/>
                  </a:cubicBezTo>
                  <a:cubicBezTo>
                    <a:pt x="207" y="171"/>
                    <a:pt x="206" y="171"/>
                    <a:pt x="204" y="171"/>
                  </a:cubicBezTo>
                  <a:cubicBezTo>
                    <a:pt x="204" y="171"/>
                    <a:pt x="203" y="171"/>
                    <a:pt x="203" y="171"/>
                  </a:cubicBezTo>
                  <a:cubicBezTo>
                    <a:pt x="202" y="171"/>
                    <a:pt x="201" y="171"/>
                    <a:pt x="200" y="171"/>
                  </a:cubicBezTo>
                  <a:cubicBezTo>
                    <a:pt x="199" y="171"/>
                    <a:pt x="199" y="171"/>
                    <a:pt x="198" y="171"/>
                  </a:cubicBezTo>
                  <a:cubicBezTo>
                    <a:pt x="198" y="171"/>
                    <a:pt x="197" y="171"/>
                    <a:pt x="196" y="171"/>
                  </a:cubicBezTo>
                  <a:cubicBezTo>
                    <a:pt x="196" y="171"/>
                    <a:pt x="195" y="171"/>
                    <a:pt x="195" y="171"/>
                  </a:cubicBezTo>
                  <a:cubicBezTo>
                    <a:pt x="195" y="171"/>
                    <a:pt x="195" y="171"/>
                    <a:pt x="195" y="171"/>
                  </a:cubicBezTo>
                  <a:cubicBezTo>
                    <a:pt x="194" y="171"/>
                    <a:pt x="194" y="171"/>
                    <a:pt x="194" y="171"/>
                  </a:cubicBezTo>
                  <a:cubicBezTo>
                    <a:pt x="193" y="171"/>
                    <a:pt x="192" y="173"/>
                    <a:pt x="190" y="173"/>
                  </a:cubicBezTo>
                  <a:cubicBezTo>
                    <a:pt x="190" y="173"/>
                    <a:pt x="190" y="173"/>
                    <a:pt x="190" y="173"/>
                  </a:cubicBezTo>
                  <a:cubicBezTo>
                    <a:pt x="188" y="173"/>
                    <a:pt x="187" y="170"/>
                    <a:pt x="185" y="169"/>
                  </a:cubicBezTo>
                  <a:cubicBezTo>
                    <a:pt x="182" y="165"/>
                    <a:pt x="179" y="162"/>
                    <a:pt x="178" y="158"/>
                  </a:cubicBezTo>
                  <a:cubicBezTo>
                    <a:pt x="177" y="157"/>
                    <a:pt x="177" y="155"/>
                    <a:pt x="176" y="154"/>
                  </a:cubicBezTo>
                  <a:cubicBezTo>
                    <a:pt x="176" y="153"/>
                    <a:pt x="176" y="152"/>
                    <a:pt x="176" y="152"/>
                  </a:cubicBezTo>
                  <a:cubicBezTo>
                    <a:pt x="176" y="151"/>
                    <a:pt x="177" y="151"/>
                    <a:pt x="177" y="151"/>
                  </a:cubicBezTo>
                  <a:cubicBezTo>
                    <a:pt x="178" y="150"/>
                    <a:pt x="178" y="150"/>
                    <a:pt x="179" y="150"/>
                  </a:cubicBezTo>
                  <a:cubicBezTo>
                    <a:pt x="179" y="150"/>
                    <a:pt x="180" y="150"/>
                    <a:pt x="181" y="149"/>
                  </a:cubicBezTo>
                  <a:cubicBezTo>
                    <a:pt x="182" y="148"/>
                    <a:pt x="183" y="145"/>
                    <a:pt x="183" y="144"/>
                  </a:cubicBezTo>
                  <a:cubicBezTo>
                    <a:pt x="183" y="145"/>
                    <a:pt x="184" y="145"/>
                    <a:pt x="185" y="146"/>
                  </a:cubicBezTo>
                  <a:cubicBezTo>
                    <a:pt x="184" y="146"/>
                    <a:pt x="184" y="147"/>
                    <a:pt x="185" y="147"/>
                  </a:cubicBezTo>
                  <a:cubicBezTo>
                    <a:pt x="187" y="148"/>
                    <a:pt x="180" y="153"/>
                    <a:pt x="179" y="154"/>
                  </a:cubicBezTo>
                  <a:cubicBezTo>
                    <a:pt x="182" y="152"/>
                    <a:pt x="185" y="150"/>
                    <a:pt x="188" y="147"/>
                  </a:cubicBezTo>
                  <a:cubicBezTo>
                    <a:pt x="189" y="147"/>
                    <a:pt x="189" y="146"/>
                    <a:pt x="190" y="146"/>
                  </a:cubicBezTo>
                  <a:cubicBezTo>
                    <a:pt x="190" y="145"/>
                    <a:pt x="191" y="144"/>
                    <a:pt x="192" y="144"/>
                  </a:cubicBezTo>
                  <a:cubicBezTo>
                    <a:pt x="193" y="143"/>
                    <a:pt x="194" y="142"/>
                    <a:pt x="195" y="141"/>
                  </a:cubicBezTo>
                  <a:cubicBezTo>
                    <a:pt x="196" y="141"/>
                    <a:pt x="196" y="141"/>
                    <a:pt x="196" y="141"/>
                  </a:cubicBezTo>
                  <a:cubicBezTo>
                    <a:pt x="197" y="140"/>
                    <a:pt x="197" y="140"/>
                    <a:pt x="198" y="140"/>
                  </a:cubicBezTo>
                  <a:cubicBezTo>
                    <a:pt x="199" y="140"/>
                    <a:pt x="200" y="140"/>
                    <a:pt x="200" y="140"/>
                  </a:cubicBezTo>
                  <a:cubicBezTo>
                    <a:pt x="202" y="140"/>
                    <a:pt x="204" y="139"/>
                    <a:pt x="206" y="139"/>
                  </a:cubicBezTo>
                  <a:cubicBezTo>
                    <a:pt x="207" y="138"/>
                    <a:pt x="208" y="138"/>
                    <a:pt x="208" y="138"/>
                  </a:cubicBezTo>
                  <a:cubicBezTo>
                    <a:pt x="209" y="138"/>
                    <a:pt x="210" y="137"/>
                    <a:pt x="210" y="137"/>
                  </a:cubicBezTo>
                  <a:cubicBezTo>
                    <a:pt x="211" y="137"/>
                    <a:pt x="211" y="138"/>
                    <a:pt x="211" y="138"/>
                  </a:cubicBezTo>
                  <a:cubicBezTo>
                    <a:pt x="212" y="138"/>
                    <a:pt x="212" y="138"/>
                    <a:pt x="212" y="138"/>
                  </a:cubicBezTo>
                  <a:cubicBezTo>
                    <a:pt x="213" y="138"/>
                    <a:pt x="213" y="138"/>
                    <a:pt x="213" y="138"/>
                  </a:cubicBezTo>
                  <a:cubicBezTo>
                    <a:pt x="213" y="139"/>
                    <a:pt x="213" y="140"/>
                    <a:pt x="213" y="141"/>
                  </a:cubicBezTo>
                  <a:cubicBezTo>
                    <a:pt x="214" y="139"/>
                    <a:pt x="216" y="138"/>
                    <a:pt x="217" y="136"/>
                  </a:cubicBezTo>
                  <a:cubicBezTo>
                    <a:pt x="218" y="136"/>
                    <a:pt x="218" y="135"/>
                    <a:pt x="219" y="135"/>
                  </a:cubicBezTo>
                  <a:cubicBezTo>
                    <a:pt x="220" y="135"/>
                    <a:pt x="222" y="135"/>
                    <a:pt x="223" y="135"/>
                  </a:cubicBezTo>
                  <a:cubicBezTo>
                    <a:pt x="224" y="134"/>
                    <a:pt x="225" y="134"/>
                    <a:pt x="225" y="133"/>
                  </a:cubicBezTo>
                  <a:cubicBezTo>
                    <a:pt x="227" y="132"/>
                    <a:pt x="228" y="130"/>
                    <a:pt x="230" y="130"/>
                  </a:cubicBezTo>
                  <a:cubicBezTo>
                    <a:pt x="231" y="130"/>
                    <a:pt x="233" y="130"/>
                    <a:pt x="234" y="130"/>
                  </a:cubicBezTo>
                  <a:cubicBezTo>
                    <a:pt x="234" y="130"/>
                    <a:pt x="235" y="130"/>
                    <a:pt x="235" y="130"/>
                  </a:cubicBezTo>
                  <a:cubicBezTo>
                    <a:pt x="235" y="130"/>
                    <a:pt x="235" y="130"/>
                    <a:pt x="236" y="130"/>
                  </a:cubicBezTo>
                  <a:cubicBezTo>
                    <a:pt x="237" y="130"/>
                    <a:pt x="238" y="130"/>
                    <a:pt x="238" y="130"/>
                  </a:cubicBezTo>
                  <a:cubicBezTo>
                    <a:pt x="239" y="130"/>
                    <a:pt x="239" y="130"/>
                    <a:pt x="239" y="130"/>
                  </a:cubicBezTo>
                  <a:cubicBezTo>
                    <a:pt x="239" y="129"/>
                    <a:pt x="240" y="129"/>
                    <a:pt x="240" y="129"/>
                  </a:cubicBezTo>
                  <a:cubicBezTo>
                    <a:pt x="241" y="130"/>
                    <a:pt x="241" y="130"/>
                    <a:pt x="241" y="130"/>
                  </a:cubicBezTo>
                  <a:cubicBezTo>
                    <a:pt x="241" y="129"/>
                    <a:pt x="241" y="129"/>
                    <a:pt x="241" y="129"/>
                  </a:cubicBezTo>
                  <a:cubicBezTo>
                    <a:pt x="240" y="129"/>
                    <a:pt x="240" y="129"/>
                    <a:pt x="240" y="129"/>
                  </a:cubicBezTo>
                  <a:cubicBezTo>
                    <a:pt x="240" y="128"/>
                    <a:pt x="240" y="127"/>
                    <a:pt x="240" y="126"/>
                  </a:cubicBezTo>
                  <a:cubicBezTo>
                    <a:pt x="240" y="125"/>
                    <a:pt x="240" y="124"/>
                    <a:pt x="240" y="122"/>
                  </a:cubicBezTo>
                  <a:cubicBezTo>
                    <a:pt x="240" y="118"/>
                    <a:pt x="243" y="114"/>
                    <a:pt x="248" y="114"/>
                  </a:cubicBezTo>
                  <a:cubicBezTo>
                    <a:pt x="250" y="113"/>
                    <a:pt x="253" y="112"/>
                    <a:pt x="254" y="111"/>
                  </a:cubicBezTo>
                  <a:cubicBezTo>
                    <a:pt x="255" y="110"/>
                    <a:pt x="256" y="109"/>
                    <a:pt x="258" y="109"/>
                  </a:cubicBezTo>
                  <a:cubicBezTo>
                    <a:pt x="260" y="109"/>
                    <a:pt x="263" y="110"/>
                    <a:pt x="266" y="110"/>
                  </a:cubicBezTo>
                  <a:cubicBezTo>
                    <a:pt x="266" y="110"/>
                    <a:pt x="267" y="110"/>
                    <a:pt x="267" y="110"/>
                  </a:cubicBezTo>
                  <a:cubicBezTo>
                    <a:pt x="268" y="110"/>
                    <a:pt x="269" y="110"/>
                    <a:pt x="269" y="110"/>
                  </a:cubicBezTo>
                  <a:cubicBezTo>
                    <a:pt x="269" y="110"/>
                    <a:pt x="269" y="110"/>
                    <a:pt x="269" y="110"/>
                  </a:cubicBezTo>
                  <a:cubicBezTo>
                    <a:pt x="269" y="109"/>
                    <a:pt x="269" y="109"/>
                    <a:pt x="269" y="109"/>
                  </a:cubicBezTo>
                  <a:cubicBezTo>
                    <a:pt x="269" y="109"/>
                    <a:pt x="271" y="103"/>
                    <a:pt x="272" y="101"/>
                  </a:cubicBezTo>
                  <a:cubicBezTo>
                    <a:pt x="273" y="101"/>
                    <a:pt x="273" y="100"/>
                    <a:pt x="271" y="97"/>
                  </a:cubicBezTo>
                  <a:cubicBezTo>
                    <a:pt x="271" y="96"/>
                    <a:pt x="270" y="95"/>
                    <a:pt x="269" y="95"/>
                  </a:cubicBezTo>
                  <a:cubicBezTo>
                    <a:pt x="268" y="95"/>
                    <a:pt x="268" y="95"/>
                    <a:pt x="268" y="95"/>
                  </a:cubicBezTo>
                  <a:cubicBezTo>
                    <a:pt x="268" y="95"/>
                    <a:pt x="268" y="95"/>
                    <a:pt x="268" y="95"/>
                  </a:cubicBezTo>
                  <a:cubicBezTo>
                    <a:pt x="267" y="94"/>
                    <a:pt x="266" y="92"/>
                    <a:pt x="267" y="91"/>
                  </a:cubicBezTo>
                  <a:cubicBezTo>
                    <a:pt x="267" y="90"/>
                    <a:pt x="269" y="88"/>
                    <a:pt x="271" y="87"/>
                  </a:cubicBezTo>
                  <a:cubicBezTo>
                    <a:pt x="270" y="87"/>
                    <a:pt x="269" y="86"/>
                    <a:pt x="269" y="86"/>
                  </a:cubicBezTo>
                  <a:cubicBezTo>
                    <a:pt x="268" y="85"/>
                    <a:pt x="268" y="85"/>
                    <a:pt x="268" y="85"/>
                  </a:cubicBezTo>
                  <a:cubicBezTo>
                    <a:pt x="266" y="84"/>
                    <a:pt x="266" y="84"/>
                    <a:pt x="266" y="84"/>
                  </a:cubicBezTo>
                  <a:cubicBezTo>
                    <a:pt x="268" y="83"/>
                    <a:pt x="268" y="83"/>
                    <a:pt x="268" y="83"/>
                  </a:cubicBezTo>
                  <a:cubicBezTo>
                    <a:pt x="271" y="80"/>
                    <a:pt x="275" y="77"/>
                    <a:pt x="276" y="76"/>
                  </a:cubicBezTo>
                  <a:cubicBezTo>
                    <a:pt x="276" y="76"/>
                    <a:pt x="276" y="76"/>
                    <a:pt x="276" y="76"/>
                  </a:cubicBezTo>
                  <a:cubicBezTo>
                    <a:pt x="276" y="75"/>
                    <a:pt x="277" y="73"/>
                    <a:pt x="276" y="70"/>
                  </a:cubicBezTo>
                  <a:cubicBezTo>
                    <a:pt x="275" y="71"/>
                    <a:pt x="273" y="71"/>
                    <a:pt x="272" y="71"/>
                  </a:cubicBezTo>
                  <a:cubicBezTo>
                    <a:pt x="268" y="71"/>
                    <a:pt x="266" y="68"/>
                    <a:pt x="264" y="66"/>
                  </a:cubicBezTo>
                  <a:cubicBezTo>
                    <a:pt x="264" y="66"/>
                    <a:pt x="263" y="66"/>
                    <a:pt x="263" y="65"/>
                  </a:cubicBezTo>
                  <a:cubicBezTo>
                    <a:pt x="261" y="64"/>
                    <a:pt x="260" y="63"/>
                    <a:pt x="259" y="63"/>
                  </a:cubicBezTo>
                  <a:cubicBezTo>
                    <a:pt x="258" y="63"/>
                    <a:pt x="258" y="63"/>
                    <a:pt x="257" y="64"/>
                  </a:cubicBezTo>
                  <a:cubicBezTo>
                    <a:pt x="257" y="64"/>
                    <a:pt x="256" y="64"/>
                    <a:pt x="255" y="64"/>
                  </a:cubicBezTo>
                  <a:cubicBezTo>
                    <a:pt x="255" y="64"/>
                    <a:pt x="255" y="64"/>
                    <a:pt x="255" y="64"/>
                  </a:cubicBezTo>
                  <a:cubicBezTo>
                    <a:pt x="255" y="64"/>
                    <a:pt x="255" y="64"/>
                    <a:pt x="255" y="64"/>
                  </a:cubicBezTo>
                  <a:cubicBezTo>
                    <a:pt x="254" y="64"/>
                    <a:pt x="254" y="64"/>
                    <a:pt x="254" y="64"/>
                  </a:cubicBezTo>
                  <a:cubicBezTo>
                    <a:pt x="252" y="64"/>
                    <a:pt x="251" y="63"/>
                    <a:pt x="251" y="62"/>
                  </a:cubicBezTo>
                  <a:cubicBezTo>
                    <a:pt x="250" y="61"/>
                    <a:pt x="249" y="59"/>
                    <a:pt x="247" y="59"/>
                  </a:cubicBezTo>
                  <a:cubicBezTo>
                    <a:pt x="246" y="59"/>
                    <a:pt x="245" y="59"/>
                    <a:pt x="244" y="58"/>
                  </a:cubicBezTo>
                  <a:cubicBezTo>
                    <a:pt x="243" y="58"/>
                    <a:pt x="243" y="58"/>
                    <a:pt x="242" y="58"/>
                  </a:cubicBezTo>
                  <a:cubicBezTo>
                    <a:pt x="242" y="58"/>
                    <a:pt x="242" y="58"/>
                    <a:pt x="242" y="58"/>
                  </a:cubicBezTo>
                  <a:cubicBezTo>
                    <a:pt x="242" y="58"/>
                    <a:pt x="240" y="60"/>
                    <a:pt x="238" y="62"/>
                  </a:cubicBezTo>
                  <a:cubicBezTo>
                    <a:pt x="237" y="63"/>
                    <a:pt x="237" y="63"/>
                    <a:pt x="237" y="63"/>
                  </a:cubicBezTo>
                  <a:cubicBezTo>
                    <a:pt x="236" y="62"/>
                    <a:pt x="236" y="62"/>
                    <a:pt x="236" y="62"/>
                  </a:cubicBezTo>
                  <a:cubicBezTo>
                    <a:pt x="236" y="61"/>
                    <a:pt x="231" y="54"/>
                    <a:pt x="229" y="52"/>
                  </a:cubicBezTo>
                  <a:cubicBezTo>
                    <a:pt x="227" y="50"/>
                    <a:pt x="226" y="49"/>
                    <a:pt x="226" y="49"/>
                  </a:cubicBezTo>
                  <a:cubicBezTo>
                    <a:pt x="224" y="49"/>
                    <a:pt x="220" y="51"/>
                    <a:pt x="217" y="52"/>
                  </a:cubicBezTo>
                  <a:cubicBezTo>
                    <a:pt x="215" y="52"/>
                    <a:pt x="213" y="53"/>
                    <a:pt x="211" y="53"/>
                  </a:cubicBezTo>
                  <a:cubicBezTo>
                    <a:pt x="208" y="53"/>
                    <a:pt x="205" y="52"/>
                    <a:pt x="204" y="51"/>
                  </a:cubicBezTo>
                  <a:cubicBezTo>
                    <a:pt x="202" y="50"/>
                    <a:pt x="201" y="50"/>
                    <a:pt x="199" y="50"/>
                  </a:cubicBezTo>
                  <a:cubicBezTo>
                    <a:pt x="198" y="50"/>
                    <a:pt x="197" y="50"/>
                    <a:pt x="197" y="50"/>
                  </a:cubicBezTo>
                  <a:cubicBezTo>
                    <a:pt x="196" y="51"/>
                    <a:pt x="195" y="51"/>
                    <a:pt x="194" y="51"/>
                  </a:cubicBezTo>
                  <a:cubicBezTo>
                    <a:pt x="192" y="51"/>
                    <a:pt x="191" y="50"/>
                    <a:pt x="189" y="49"/>
                  </a:cubicBezTo>
                  <a:cubicBezTo>
                    <a:pt x="188" y="48"/>
                    <a:pt x="186" y="46"/>
                    <a:pt x="187" y="44"/>
                  </a:cubicBezTo>
                  <a:cubicBezTo>
                    <a:pt x="187" y="43"/>
                    <a:pt x="186" y="41"/>
                    <a:pt x="185" y="38"/>
                  </a:cubicBezTo>
                  <a:cubicBezTo>
                    <a:pt x="184" y="36"/>
                    <a:pt x="184" y="34"/>
                    <a:pt x="185" y="33"/>
                  </a:cubicBezTo>
                  <a:cubicBezTo>
                    <a:pt x="184" y="33"/>
                    <a:pt x="183" y="32"/>
                    <a:pt x="181" y="31"/>
                  </a:cubicBezTo>
                  <a:cubicBezTo>
                    <a:pt x="180" y="30"/>
                    <a:pt x="179" y="30"/>
                    <a:pt x="178" y="30"/>
                  </a:cubicBezTo>
                  <a:cubicBezTo>
                    <a:pt x="178" y="30"/>
                    <a:pt x="178" y="30"/>
                    <a:pt x="178" y="30"/>
                  </a:cubicBezTo>
                  <a:cubicBezTo>
                    <a:pt x="177" y="30"/>
                    <a:pt x="176" y="30"/>
                    <a:pt x="175" y="30"/>
                  </a:cubicBezTo>
                  <a:cubicBezTo>
                    <a:pt x="173" y="30"/>
                    <a:pt x="172" y="30"/>
                    <a:pt x="171" y="29"/>
                  </a:cubicBezTo>
                  <a:cubicBezTo>
                    <a:pt x="170" y="29"/>
                    <a:pt x="169" y="29"/>
                    <a:pt x="169" y="29"/>
                  </a:cubicBezTo>
                  <a:cubicBezTo>
                    <a:pt x="168" y="29"/>
                    <a:pt x="167" y="29"/>
                    <a:pt x="166" y="29"/>
                  </a:cubicBezTo>
                  <a:cubicBezTo>
                    <a:pt x="166" y="29"/>
                    <a:pt x="166" y="29"/>
                    <a:pt x="166" y="29"/>
                  </a:cubicBezTo>
                  <a:cubicBezTo>
                    <a:pt x="165" y="29"/>
                    <a:pt x="164" y="29"/>
                    <a:pt x="164" y="28"/>
                  </a:cubicBezTo>
                  <a:cubicBezTo>
                    <a:pt x="163" y="27"/>
                    <a:pt x="163" y="25"/>
                    <a:pt x="163" y="23"/>
                  </a:cubicBezTo>
                  <a:cubicBezTo>
                    <a:pt x="164" y="21"/>
                    <a:pt x="162" y="19"/>
                    <a:pt x="161" y="18"/>
                  </a:cubicBezTo>
                  <a:cubicBezTo>
                    <a:pt x="160" y="17"/>
                    <a:pt x="160" y="17"/>
                    <a:pt x="160" y="17"/>
                  </a:cubicBezTo>
                  <a:cubicBezTo>
                    <a:pt x="161" y="16"/>
                    <a:pt x="161" y="16"/>
                    <a:pt x="161" y="16"/>
                  </a:cubicBezTo>
                  <a:cubicBezTo>
                    <a:pt x="161" y="16"/>
                    <a:pt x="162" y="14"/>
                    <a:pt x="166" y="13"/>
                  </a:cubicBezTo>
                  <a:cubicBezTo>
                    <a:pt x="166" y="13"/>
                    <a:pt x="165" y="12"/>
                    <a:pt x="164" y="12"/>
                  </a:cubicBezTo>
                  <a:cubicBezTo>
                    <a:pt x="162" y="11"/>
                    <a:pt x="160" y="8"/>
                    <a:pt x="161" y="5"/>
                  </a:cubicBezTo>
                  <a:cubicBezTo>
                    <a:pt x="161" y="5"/>
                    <a:pt x="160" y="4"/>
                    <a:pt x="156" y="0"/>
                  </a:cubicBezTo>
                  <a:cubicBezTo>
                    <a:pt x="156" y="0"/>
                    <a:pt x="156" y="0"/>
                    <a:pt x="156" y="0"/>
                  </a:cubicBezTo>
                  <a:cubicBezTo>
                    <a:pt x="156" y="0"/>
                    <a:pt x="155" y="0"/>
                    <a:pt x="1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 name="Freeform 1581">
              <a:extLst>
                <a:ext uri="{FF2B5EF4-FFF2-40B4-BE49-F238E27FC236}">
                  <a16:creationId xmlns:a16="http://schemas.microsoft.com/office/drawing/2014/main" id="{3A3B5509-5E3E-4FEE-B646-1BFC76EF53BF}"/>
                </a:ext>
              </a:extLst>
            </p:cNvPr>
            <p:cNvSpPr>
              <a:spLocks noEditPoints="1"/>
            </p:cNvSpPr>
            <p:nvPr/>
          </p:nvSpPr>
          <p:spPr bwMode="auto">
            <a:xfrm>
              <a:off x="106504" y="565227"/>
              <a:ext cx="10091352" cy="3490408"/>
            </a:xfrm>
            <a:custGeom>
              <a:avLst/>
              <a:gdLst>
                <a:gd name="T0" fmla="*/ 2725 w 3101"/>
                <a:gd name="T1" fmla="*/ 301 h 1070"/>
                <a:gd name="T2" fmla="*/ 2271 w 3101"/>
                <a:gd name="T3" fmla="*/ 211 h 1070"/>
                <a:gd name="T4" fmla="*/ 1965 w 3101"/>
                <a:gd name="T5" fmla="*/ 258 h 1070"/>
                <a:gd name="T6" fmla="*/ 1937 w 3101"/>
                <a:gd name="T7" fmla="*/ 225 h 1070"/>
                <a:gd name="T8" fmla="*/ 1934 w 3101"/>
                <a:gd name="T9" fmla="*/ 181 h 1070"/>
                <a:gd name="T10" fmla="*/ 1854 w 3101"/>
                <a:gd name="T11" fmla="*/ 156 h 1070"/>
                <a:gd name="T12" fmla="*/ 1733 w 3101"/>
                <a:gd name="T13" fmla="*/ 165 h 1070"/>
                <a:gd name="T14" fmla="*/ 1628 w 3101"/>
                <a:gd name="T15" fmla="*/ 153 h 1070"/>
                <a:gd name="T16" fmla="*/ 1570 w 3101"/>
                <a:gd name="T17" fmla="*/ 134 h 1070"/>
                <a:gd name="T18" fmla="*/ 1626 w 3101"/>
                <a:gd name="T19" fmla="*/ 81 h 1070"/>
                <a:gd name="T20" fmla="*/ 1632 w 3101"/>
                <a:gd name="T21" fmla="*/ 63 h 1070"/>
                <a:gd name="T22" fmla="*/ 1566 w 3101"/>
                <a:gd name="T23" fmla="*/ 41 h 1070"/>
                <a:gd name="T24" fmla="*/ 1501 w 3101"/>
                <a:gd name="T25" fmla="*/ 28 h 1070"/>
                <a:gd name="T26" fmla="*/ 1486 w 3101"/>
                <a:gd name="T27" fmla="*/ 18 h 1070"/>
                <a:gd name="T28" fmla="*/ 1403 w 3101"/>
                <a:gd name="T29" fmla="*/ 41 h 1070"/>
                <a:gd name="T30" fmla="*/ 1362 w 3101"/>
                <a:gd name="T31" fmla="*/ 53 h 1070"/>
                <a:gd name="T32" fmla="*/ 1314 w 3101"/>
                <a:gd name="T33" fmla="*/ 73 h 1070"/>
                <a:gd name="T34" fmla="*/ 1167 w 3101"/>
                <a:gd name="T35" fmla="*/ 93 h 1070"/>
                <a:gd name="T36" fmla="*/ 1131 w 3101"/>
                <a:gd name="T37" fmla="*/ 122 h 1070"/>
                <a:gd name="T38" fmla="*/ 1134 w 3101"/>
                <a:gd name="T39" fmla="*/ 132 h 1070"/>
                <a:gd name="T40" fmla="*/ 1010 w 3101"/>
                <a:gd name="T41" fmla="*/ 161 h 1070"/>
                <a:gd name="T42" fmla="*/ 1019 w 3101"/>
                <a:gd name="T43" fmla="*/ 203 h 1070"/>
                <a:gd name="T44" fmla="*/ 946 w 3101"/>
                <a:gd name="T45" fmla="*/ 240 h 1070"/>
                <a:gd name="T46" fmla="*/ 965 w 3101"/>
                <a:gd name="T47" fmla="*/ 255 h 1070"/>
                <a:gd name="T48" fmla="*/ 912 w 3101"/>
                <a:gd name="T49" fmla="*/ 232 h 1070"/>
                <a:gd name="T50" fmla="*/ 916 w 3101"/>
                <a:gd name="T51" fmla="*/ 202 h 1070"/>
                <a:gd name="T52" fmla="*/ 892 w 3101"/>
                <a:gd name="T53" fmla="*/ 266 h 1070"/>
                <a:gd name="T54" fmla="*/ 937 w 3101"/>
                <a:gd name="T55" fmla="*/ 317 h 1070"/>
                <a:gd name="T56" fmla="*/ 969 w 3101"/>
                <a:gd name="T57" fmla="*/ 366 h 1070"/>
                <a:gd name="T58" fmla="*/ 945 w 3101"/>
                <a:gd name="T59" fmla="*/ 335 h 1070"/>
                <a:gd name="T60" fmla="*/ 880 w 3101"/>
                <a:gd name="T61" fmla="*/ 389 h 1070"/>
                <a:gd name="T62" fmla="*/ 819 w 3101"/>
                <a:gd name="T63" fmla="*/ 397 h 1070"/>
                <a:gd name="T64" fmla="*/ 877 w 3101"/>
                <a:gd name="T65" fmla="*/ 336 h 1070"/>
                <a:gd name="T66" fmla="*/ 863 w 3101"/>
                <a:gd name="T67" fmla="*/ 260 h 1070"/>
                <a:gd name="T68" fmla="*/ 830 w 3101"/>
                <a:gd name="T69" fmla="*/ 186 h 1070"/>
                <a:gd name="T70" fmla="*/ 782 w 3101"/>
                <a:gd name="T71" fmla="*/ 219 h 1070"/>
                <a:gd name="T72" fmla="*/ 746 w 3101"/>
                <a:gd name="T73" fmla="*/ 261 h 1070"/>
                <a:gd name="T74" fmla="*/ 757 w 3101"/>
                <a:gd name="T75" fmla="*/ 300 h 1070"/>
                <a:gd name="T76" fmla="*/ 790 w 3101"/>
                <a:gd name="T77" fmla="*/ 325 h 1070"/>
                <a:gd name="T78" fmla="*/ 567 w 3101"/>
                <a:gd name="T79" fmla="*/ 336 h 1070"/>
                <a:gd name="T80" fmla="*/ 303 w 3101"/>
                <a:gd name="T81" fmla="*/ 414 h 1070"/>
                <a:gd name="T82" fmla="*/ 244 w 3101"/>
                <a:gd name="T83" fmla="*/ 360 h 1070"/>
                <a:gd name="T84" fmla="*/ 53 w 3101"/>
                <a:gd name="T85" fmla="*/ 461 h 1070"/>
                <a:gd name="T86" fmla="*/ 26 w 3101"/>
                <a:gd name="T87" fmla="*/ 708 h 1070"/>
                <a:gd name="T88" fmla="*/ 189 w 3101"/>
                <a:gd name="T89" fmla="*/ 851 h 1070"/>
                <a:gd name="T90" fmla="*/ 392 w 3101"/>
                <a:gd name="T91" fmla="*/ 1064 h 1070"/>
                <a:gd name="T92" fmla="*/ 367 w 3101"/>
                <a:gd name="T93" fmla="*/ 870 h 1070"/>
                <a:gd name="T94" fmla="*/ 519 w 3101"/>
                <a:gd name="T95" fmla="*/ 836 h 1070"/>
                <a:gd name="T96" fmla="*/ 636 w 3101"/>
                <a:gd name="T97" fmla="*/ 788 h 1070"/>
                <a:gd name="T98" fmla="*/ 715 w 3101"/>
                <a:gd name="T99" fmla="*/ 748 h 1070"/>
                <a:gd name="T100" fmla="*/ 880 w 3101"/>
                <a:gd name="T101" fmla="*/ 764 h 1070"/>
                <a:gd name="T102" fmla="*/ 1098 w 3101"/>
                <a:gd name="T103" fmla="*/ 862 h 1070"/>
                <a:gd name="T104" fmla="*/ 1275 w 3101"/>
                <a:gd name="T105" fmla="*/ 850 h 1070"/>
                <a:gd name="T106" fmla="*/ 1489 w 3101"/>
                <a:gd name="T107" fmla="*/ 850 h 1070"/>
                <a:gd name="T108" fmla="*/ 1779 w 3101"/>
                <a:gd name="T109" fmla="*/ 778 h 1070"/>
                <a:gd name="T110" fmla="*/ 1970 w 3101"/>
                <a:gd name="T111" fmla="*/ 913 h 1070"/>
                <a:gd name="T112" fmla="*/ 1976 w 3101"/>
                <a:gd name="T113" fmla="*/ 1041 h 1070"/>
                <a:gd name="T114" fmla="*/ 2151 w 3101"/>
                <a:gd name="T115" fmla="*/ 660 h 1070"/>
                <a:gd name="T116" fmla="*/ 2528 w 3101"/>
                <a:gd name="T117" fmla="*/ 576 h 1070"/>
                <a:gd name="T118" fmla="*/ 2552 w 3101"/>
                <a:gd name="T119" fmla="*/ 748 h 1070"/>
                <a:gd name="T120" fmla="*/ 2853 w 3101"/>
                <a:gd name="T121" fmla="*/ 523 h 1070"/>
                <a:gd name="T122" fmla="*/ 3031 w 3101"/>
                <a:gd name="T123" fmla="*/ 462 h 1070"/>
                <a:gd name="T124" fmla="*/ 1567 w 3101"/>
                <a:gd name="T125" fmla="*/ 734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1" h="1070">
                  <a:moveTo>
                    <a:pt x="3047" y="442"/>
                  </a:moveTo>
                  <a:cubicBezTo>
                    <a:pt x="3047" y="442"/>
                    <a:pt x="3049" y="442"/>
                    <a:pt x="3049" y="442"/>
                  </a:cubicBezTo>
                  <a:cubicBezTo>
                    <a:pt x="3051" y="441"/>
                    <a:pt x="3051" y="442"/>
                    <a:pt x="3052" y="441"/>
                  </a:cubicBezTo>
                  <a:cubicBezTo>
                    <a:pt x="3053" y="440"/>
                    <a:pt x="3054" y="436"/>
                    <a:pt x="3054" y="435"/>
                  </a:cubicBezTo>
                  <a:cubicBezTo>
                    <a:pt x="3052" y="436"/>
                    <a:pt x="3051" y="437"/>
                    <a:pt x="3049" y="435"/>
                  </a:cubicBezTo>
                  <a:cubicBezTo>
                    <a:pt x="3052" y="435"/>
                    <a:pt x="3051" y="433"/>
                    <a:pt x="3049" y="431"/>
                  </a:cubicBezTo>
                  <a:cubicBezTo>
                    <a:pt x="3047" y="430"/>
                    <a:pt x="3044" y="429"/>
                    <a:pt x="3042" y="428"/>
                  </a:cubicBezTo>
                  <a:cubicBezTo>
                    <a:pt x="3044" y="429"/>
                    <a:pt x="3046" y="428"/>
                    <a:pt x="3048" y="429"/>
                  </a:cubicBezTo>
                  <a:cubicBezTo>
                    <a:pt x="3050" y="429"/>
                    <a:pt x="3052" y="430"/>
                    <a:pt x="3052" y="432"/>
                  </a:cubicBezTo>
                  <a:cubicBezTo>
                    <a:pt x="3058" y="433"/>
                    <a:pt x="3064" y="434"/>
                    <a:pt x="3070" y="434"/>
                  </a:cubicBezTo>
                  <a:cubicBezTo>
                    <a:pt x="3072" y="435"/>
                    <a:pt x="3078" y="436"/>
                    <a:pt x="3076" y="432"/>
                  </a:cubicBezTo>
                  <a:cubicBezTo>
                    <a:pt x="3075" y="430"/>
                    <a:pt x="3072" y="430"/>
                    <a:pt x="3071" y="428"/>
                  </a:cubicBezTo>
                  <a:cubicBezTo>
                    <a:pt x="3070" y="428"/>
                    <a:pt x="3070" y="428"/>
                    <a:pt x="3069" y="427"/>
                  </a:cubicBezTo>
                  <a:cubicBezTo>
                    <a:pt x="3068" y="426"/>
                    <a:pt x="3067" y="425"/>
                    <a:pt x="3067" y="424"/>
                  </a:cubicBezTo>
                  <a:cubicBezTo>
                    <a:pt x="3069" y="424"/>
                    <a:pt x="3070" y="426"/>
                    <a:pt x="3072" y="428"/>
                  </a:cubicBezTo>
                  <a:cubicBezTo>
                    <a:pt x="3075" y="429"/>
                    <a:pt x="3081" y="431"/>
                    <a:pt x="3084" y="430"/>
                  </a:cubicBezTo>
                  <a:cubicBezTo>
                    <a:pt x="3086" y="430"/>
                    <a:pt x="3085" y="429"/>
                    <a:pt x="3085" y="428"/>
                  </a:cubicBezTo>
                  <a:cubicBezTo>
                    <a:pt x="3086" y="426"/>
                    <a:pt x="3088" y="425"/>
                    <a:pt x="3090" y="424"/>
                  </a:cubicBezTo>
                  <a:cubicBezTo>
                    <a:pt x="3092" y="423"/>
                    <a:pt x="3101" y="420"/>
                    <a:pt x="3101" y="416"/>
                  </a:cubicBezTo>
                  <a:cubicBezTo>
                    <a:pt x="3101" y="413"/>
                    <a:pt x="3098" y="414"/>
                    <a:pt x="3097" y="414"/>
                  </a:cubicBezTo>
                  <a:cubicBezTo>
                    <a:pt x="3095" y="414"/>
                    <a:pt x="3094" y="413"/>
                    <a:pt x="3092" y="414"/>
                  </a:cubicBezTo>
                  <a:cubicBezTo>
                    <a:pt x="3095" y="410"/>
                    <a:pt x="3087" y="409"/>
                    <a:pt x="3085" y="408"/>
                  </a:cubicBezTo>
                  <a:cubicBezTo>
                    <a:pt x="3084" y="407"/>
                    <a:pt x="3082" y="405"/>
                    <a:pt x="3081" y="404"/>
                  </a:cubicBezTo>
                  <a:cubicBezTo>
                    <a:pt x="3079" y="402"/>
                    <a:pt x="3076" y="401"/>
                    <a:pt x="3074" y="400"/>
                  </a:cubicBezTo>
                  <a:cubicBezTo>
                    <a:pt x="3070" y="396"/>
                    <a:pt x="3066" y="391"/>
                    <a:pt x="3061" y="389"/>
                  </a:cubicBezTo>
                  <a:cubicBezTo>
                    <a:pt x="3059" y="388"/>
                    <a:pt x="3059" y="388"/>
                    <a:pt x="3057" y="388"/>
                  </a:cubicBezTo>
                  <a:cubicBezTo>
                    <a:pt x="3056" y="388"/>
                    <a:pt x="3056" y="388"/>
                    <a:pt x="3055" y="388"/>
                  </a:cubicBezTo>
                  <a:cubicBezTo>
                    <a:pt x="3050" y="388"/>
                    <a:pt x="3043" y="386"/>
                    <a:pt x="3038" y="385"/>
                  </a:cubicBezTo>
                  <a:cubicBezTo>
                    <a:pt x="3041" y="386"/>
                    <a:pt x="3045" y="386"/>
                    <a:pt x="3048" y="388"/>
                  </a:cubicBezTo>
                  <a:cubicBezTo>
                    <a:pt x="3051" y="390"/>
                    <a:pt x="3046" y="389"/>
                    <a:pt x="3045" y="389"/>
                  </a:cubicBezTo>
                  <a:cubicBezTo>
                    <a:pt x="3043" y="388"/>
                    <a:pt x="3037" y="386"/>
                    <a:pt x="3035" y="387"/>
                  </a:cubicBezTo>
                  <a:cubicBezTo>
                    <a:pt x="3034" y="388"/>
                    <a:pt x="3033" y="390"/>
                    <a:pt x="3032" y="392"/>
                  </a:cubicBezTo>
                  <a:cubicBezTo>
                    <a:pt x="3032" y="390"/>
                    <a:pt x="3031" y="389"/>
                    <a:pt x="3032" y="387"/>
                  </a:cubicBezTo>
                  <a:cubicBezTo>
                    <a:pt x="3033" y="386"/>
                    <a:pt x="3036" y="386"/>
                    <a:pt x="3035" y="385"/>
                  </a:cubicBezTo>
                  <a:cubicBezTo>
                    <a:pt x="3034" y="384"/>
                    <a:pt x="3030" y="384"/>
                    <a:pt x="3029" y="383"/>
                  </a:cubicBezTo>
                  <a:cubicBezTo>
                    <a:pt x="3027" y="383"/>
                    <a:pt x="3026" y="383"/>
                    <a:pt x="3025" y="383"/>
                  </a:cubicBezTo>
                  <a:cubicBezTo>
                    <a:pt x="3023" y="384"/>
                    <a:pt x="3023" y="384"/>
                    <a:pt x="3021" y="384"/>
                  </a:cubicBezTo>
                  <a:cubicBezTo>
                    <a:pt x="3018" y="384"/>
                    <a:pt x="3010" y="382"/>
                    <a:pt x="3007" y="385"/>
                  </a:cubicBezTo>
                  <a:cubicBezTo>
                    <a:pt x="3008" y="385"/>
                    <a:pt x="3010" y="384"/>
                    <a:pt x="3011" y="384"/>
                  </a:cubicBezTo>
                  <a:cubicBezTo>
                    <a:pt x="3011" y="385"/>
                    <a:pt x="3010" y="385"/>
                    <a:pt x="3009" y="386"/>
                  </a:cubicBezTo>
                  <a:cubicBezTo>
                    <a:pt x="3010" y="386"/>
                    <a:pt x="3013" y="384"/>
                    <a:pt x="3014" y="385"/>
                  </a:cubicBezTo>
                  <a:cubicBezTo>
                    <a:pt x="3015" y="386"/>
                    <a:pt x="3014" y="387"/>
                    <a:pt x="3013" y="387"/>
                  </a:cubicBezTo>
                  <a:cubicBezTo>
                    <a:pt x="3016" y="388"/>
                    <a:pt x="3017" y="386"/>
                    <a:pt x="3018" y="389"/>
                  </a:cubicBezTo>
                  <a:cubicBezTo>
                    <a:pt x="3018" y="390"/>
                    <a:pt x="3019" y="392"/>
                    <a:pt x="3019" y="393"/>
                  </a:cubicBezTo>
                  <a:cubicBezTo>
                    <a:pt x="3019" y="394"/>
                    <a:pt x="3020" y="396"/>
                    <a:pt x="3020" y="397"/>
                  </a:cubicBezTo>
                  <a:cubicBezTo>
                    <a:pt x="3019" y="398"/>
                    <a:pt x="3016" y="398"/>
                    <a:pt x="3015" y="399"/>
                  </a:cubicBezTo>
                  <a:cubicBezTo>
                    <a:pt x="3013" y="401"/>
                    <a:pt x="3014" y="401"/>
                    <a:pt x="3016" y="401"/>
                  </a:cubicBezTo>
                  <a:cubicBezTo>
                    <a:pt x="3018" y="402"/>
                    <a:pt x="3020" y="402"/>
                    <a:pt x="3021" y="403"/>
                  </a:cubicBezTo>
                  <a:cubicBezTo>
                    <a:pt x="3023" y="404"/>
                    <a:pt x="3025" y="405"/>
                    <a:pt x="3024" y="406"/>
                  </a:cubicBezTo>
                  <a:cubicBezTo>
                    <a:pt x="3023" y="407"/>
                    <a:pt x="3021" y="407"/>
                    <a:pt x="3021" y="408"/>
                  </a:cubicBezTo>
                  <a:cubicBezTo>
                    <a:pt x="3020" y="408"/>
                    <a:pt x="3019" y="411"/>
                    <a:pt x="3019" y="412"/>
                  </a:cubicBezTo>
                  <a:cubicBezTo>
                    <a:pt x="3019" y="410"/>
                    <a:pt x="3020" y="404"/>
                    <a:pt x="3019" y="403"/>
                  </a:cubicBezTo>
                  <a:cubicBezTo>
                    <a:pt x="3018" y="403"/>
                    <a:pt x="3016" y="404"/>
                    <a:pt x="3015" y="404"/>
                  </a:cubicBezTo>
                  <a:cubicBezTo>
                    <a:pt x="3016" y="405"/>
                    <a:pt x="3012" y="408"/>
                    <a:pt x="3010" y="409"/>
                  </a:cubicBezTo>
                  <a:cubicBezTo>
                    <a:pt x="3011" y="407"/>
                    <a:pt x="3010" y="404"/>
                    <a:pt x="3010" y="403"/>
                  </a:cubicBezTo>
                  <a:cubicBezTo>
                    <a:pt x="3010" y="400"/>
                    <a:pt x="3002" y="398"/>
                    <a:pt x="3000" y="397"/>
                  </a:cubicBezTo>
                  <a:cubicBezTo>
                    <a:pt x="3001" y="397"/>
                    <a:pt x="3002" y="397"/>
                    <a:pt x="3002" y="396"/>
                  </a:cubicBezTo>
                  <a:cubicBezTo>
                    <a:pt x="3002" y="396"/>
                    <a:pt x="3004" y="395"/>
                    <a:pt x="3004" y="395"/>
                  </a:cubicBezTo>
                  <a:cubicBezTo>
                    <a:pt x="3007" y="392"/>
                    <a:pt x="3002" y="388"/>
                    <a:pt x="3002" y="384"/>
                  </a:cubicBezTo>
                  <a:cubicBezTo>
                    <a:pt x="3001" y="381"/>
                    <a:pt x="3004" y="378"/>
                    <a:pt x="3003" y="375"/>
                  </a:cubicBezTo>
                  <a:cubicBezTo>
                    <a:pt x="3003" y="374"/>
                    <a:pt x="3000" y="372"/>
                    <a:pt x="2999" y="372"/>
                  </a:cubicBezTo>
                  <a:cubicBezTo>
                    <a:pt x="3001" y="375"/>
                    <a:pt x="2996" y="376"/>
                    <a:pt x="2993" y="375"/>
                  </a:cubicBezTo>
                  <a:cubicBezTo>
                    <a:pt x="2995" y="373"/>
                    <a:pt x="2996" y="369"/>
                    <a:pt x="2994" y="366"/>
                  </a:cubicBezTo>
                  <a:cubicBezTo>
                    <a:pt x="2993" y="364"/>
                    <a:pt x="2990" y="363"/>
                    <a:pt x="2988" y="362"/>
                  </a:cubicBezTo>
                  <a:cubicBezTo>
                    <a:pt x="2984" y="360"/>
                    <a:pt x="2980" y="359"/>
                    <a:pt x="2976" y="357"/>
                  </a:cubicBezTo>
                  <a:cubicBezTo>
                    <a:pt x="2972" y="355"/>
                    <a:pt x="2968" y="353"/>
                    <a:pt x="2964" y="351"/>
                  </a:cubicBezTo>
                  <a:cubicBezTo>
                    <a:pt x="2962" y="350"/>
                    <a:pt x="2960" y="349"/>
                    <a:pt x="2958" y="348"/>
                  </a:cubicBezTo>
                  <a:cubicBezTo>
                    <a:pt x="2956" y="346"/>
                    <a:pt x="2954" y="347"/>
                    <a:pt x="2951" y="346"/>
                  </a:cubicBezTo>
                  <a:cubicBezTo>
                    <a:pt x="2950" y="346"/>
                    <a:pt x="2949" y="346"/>
                    <a:pt x="2948" y="346"/>
                  </a:cubicBezTo>
                  <a:cubicBezTo>
                    <a:pt x="2949" y="346"/>
                    <a:pt x="2951" y="346"/>
                    <a:pt x="2953" y="345"/>
                  </a:cubicBezTo>
                  <a:cubicBezTo>
                    <a:pt x="2950" y="344"/>
                    <a:pt x="2948" y="342"/>
                    <a:pt x="2945" y="341"/>
                  </a:cubicBezTo>
                  <a:cubicBezTo>
                    <a:pt x="2942" y="339"/>
                    <a:pt x="2939" y="338"/>
                    <a:pt x="2936" y="336"/>
                  </a:cubicBezTo>
                  <a:cubicBezTo>
                    <a:pt x="2940" y="339"/>
                    <a:pt x="2945" y="341"/>
                    <a:pt x="2949" y="343"/>
                  </a:cubicBezTo>
                  <a:cubicBezTo>
                    <a:pt x="2944" y="342"/>
                    <a:pt x="2939" y="340"/>
                    <a:pt x="2935" y="339"/>
                  </a:cubicBezTo>
                  <a:cubicBezTo>
                    <a:pt x="2933" y="338"/>
                    <a:pt x="2931" y="337"/>
                    <a:pt x="2929" y="337"/>
                  </a:cubicBezTo>
                  <a:cubicBezTo>
                    <a:pt x="2929" y="337"/>
                    <a:pt x="2927" y="333"/>
                    <a:pt x="2927" y="333"/>
                  </a:cubicBezTo>
                  <a:cubicBezTo>
                    <a:pt x="2924" y="330"/>
                    <a:pt x="2921" y="328"/>
                    <a:pt x="2917" y="325"/>
                  </a:cubicBezTo>
                  <a:cubicBezTo>
                    <a:pt x="2914" y="322"/>
                    <a:pt x="2909" y="322"/>
                    <a:pt x="2905" y="322"/>
                  </a:cubicBezTo>
                  <a:cubicBezTo>
                    <a:pt x="2894" y="316"/>
                    <a:pt x="2884" y="311"/>
                    <a:pt x="2873" y="306"/>
                  </a:cubicBezTo>
                  <a:cubicBezTo>
                    <a:pt x="2869" y="304"/>
                    <a:pt x="2864" y="303"/>
                    <a:pt x="2859" y="302"/>
                  </a:cubicBezTo>
                  <a:cubicBezTo>
                    <a:pt x="2856" y="302"/>
                    <a:pt x="2852" y="301"/>
                    <a:pt x="2848" y="300"/>
                  </a:cubicBezTo>
                  <a:cubicBezTo>
                    <a:pt x="2847" y="300"/>
                    <a:pt x="2844" y="300"/>
                    <a:pt x="2843" y="299"/>
                  </a:cubicBezTo>
                  <a:cubicBezTo>
                    <a:pt x="2839" y="296"/>
                    <a:pt x="2833" y="292"/>
                    <a:pt x="2829" y="291"/>
                  </a:cubicBezTo>
                  <a:cubicBezTo>
                    <a:pt x="2826" y="291"/>
                    <a:pt x="2824" y="291"/>
                    <a:pt x="2821" y="291"/>
                  </a:cubicBezTo>
                  <a:cubicBezTo>
                    <a:pt x="2819" y="291"/>
                    <a:pt x="2818" y="293"/>
                    <a:pt x="2815" y="293"/>
                  </a:cubicBezTo>
                  <a:cubicBezTo>
                    <a:pt x="2811" y="293"/>
                    <a:pt x="2806" y="292"/>
                    <a:pt x="2802" y="292"/>
                  </a:cubicBezTo>
                  <a:cubicBezTo>
                    <a:pt x="2795" y="291"/>
                    <a:pt x="2788" y="290"/>
                    <a:pt x="2781" y="289"/>
                  </a:cubicBezTo>
                  <a:cubicBezTo>
                    <a:pt x="2779" y="289"/>
                    <a:pt x="2777" y="290"/>
                    <a:pt x="2776" y="290"/>
                  </a:cubicBezTo>
                  <a:cubicBezTo>
                    <a:pt x="2776" y="290"/>
                    <a:pt x="2778" y="291"/>
                    <a:pt x="2779" y="292"/>
                  </a:cubicBezTo>
                  <a:cubicBezTo>
                    <a:pt x="2779" y="293"/>
                    <a:pt x="2778" y="293"/>
                    <a:pt x="2777" y="294"/>
                  </a:cubicBezTo>
                  <a:cubicBezTo>
                    <a:pt x="2776" y="295"/>
                    <a:pt x="2776" y="295"/>
                    <a:pt x="2775" y="294"/>
                  </a:cubicBezTo>
                  <a:cubicBezTo>
                    <a:pt x="2772" y="293"/>
                    <a:pt x="2770" y="291"/>
                    <a:pt x="2768" y="289"/>
                  </a:cubicBezTo>
                  <a:cubicBezTo>
                    <a:pt x="2766" y="288"/>
                    <a:pt x="2766" y="289"/>
                    <a:pt x="2764" y="289"/>
                  </a:cubicBezTo>
                  <a:cubicBezTo>
                    <a:pt x="2751" y="287"/>
                    <a:pt x="2739" y="286"/>
                    <a:pt x="2726" y="284"/>
                  </a:cubicBezTo>
                  <a:cubicBezTo>
                    <a:pt x="2725" y="284"/>
                    <a:pt x="2722" y="283"/>
                    <a:pt x="2722" y="284"/>
                  </a:cubicBezTo>
                  <a:cubicBezTo>
                    <a:pt x="2722" y="284"/>
                    <a:pt x="2725" y="284"/>
                    <a:pt x="2725" y="285"/>
                  </a:cubicBezTo>
                  <a:cubicBezTo>
                    <a:pt x="2726" y="286"/>
                    <a:pt x="2724" y="288"/>
                    <a:pt x="2724" y="289"/>
                  </a:cubicBezTo>
                  <a:cubicBezTo>
                    <a:pt x="2725" y="290"/>
                    <a:pt x="2725" y="291"/>
                    <a:pt x="2725" y="292"/>
                  </a:cubicBezTo>
                  <a:cubicBezTo>
                    <a:pt x="2725" y="294"/>
                    <a:pt x="2722" y="295"/>
                    <a:pt x="2721" y="296"/>
                  </a:cubicBezTo>
                  <a:cubicBezTo>
                    <a:pt x="2719" y="297"/>
                    <a:pt x="2716" y="300"/>
                    <a:pt x="2718" y="301"/>
                  </a:cubicBezTo>
                  <a:cubicBezTo>
                    <a:pt x="2719" y="303"/>
                    <a:pt x="2723" y="300"/>
                    <a:pt x="2725" y="301"/>
                  </a:cubicBezTo>
                  <a:cubicBezTo>
                    <a:pt x="2727" y="302"/>
                    <a:pt x="2727" y="304"/>
                    <a:pt x="2728" y="305"/>
                  </a:cubicBezTo>
                  <a:cubicBezTo>
                    <a:pt x="2728" y="307"/>
                    <a:pt x="2729" y="308"/>
                    <a:pt x="2730" y="309"/>
                  </a:cubicBezTo>
                  <a:cubicBezTo>
                    <a:pt x="2731" y="311"/>
                    <a:pt x="2732" y="311"/>
                    <a:pt x="2732" y="313"/>
                  </a:cubicBezTo>
                  <a:cubicBezTo>
                    <a:pt x="2732" y="314"/>
                    <a:pt x="2732" y="315"/>
                    <a:pt x="2732" y="315"/>
                  </a:cubicBezTo>
                  <a:cubicBezTo>
                    <a:pt x="2732" y="316"/>
                    <a:pt x="2733" y="316"/>
                    <a:pt x="2733" y="317"/>
                  </a:cubicBezTo>
                  <a:cubicBezTo>
                    <a:pt x="2734" y="319"/>
                    <a:pt x="2733" y="320"/>
                    <a:pt x="2731" y="321"/>
                  </a:cubicBezTo>
                  <a:cubicBezTo>
                    <a:pt x="2727" y="324"/>
                    <a:pt x="2728" y="324"/>
                    <a:pt x="2728" y="328"/>
                  </a:cubicBezTo>
                  <a:cubicBezTo>
                    <a:pt x="2727" y="326"/>
                    <a:pt x="2724" y="326"/>
                    <a:pt x="2723" y="326"/>
                  </a:cubicBezTo>
                  <a:cubicBezTo>
                    <a:pt x="2724" y="327"/>
                    <a:pt x="2725" y="328"/>
                    <a:pt x="2726" y="329"/>
                  </a:cubicBezTo>
                  <a:cubicBezTo>
                    <a:pt x="2723" y="328"/>
                    <a:pt x="2721" y="327"/>
                    <a:pt x="2717" y="328"/>
                  </a:cubicBezTo>
                  <a:cubicBezTo>
                    <a:pt x="2714" y="328"/>
                    <a:pt x="2709" y="330"/>
                    <a:pt x="2706" y="329"/>
                  </a:cubicBezTo>
                  <a:cubicBezTo>
                    <a:pt x="2702" y="327"/>
                    <a:pt x="2706" y="320"/>
                    <a:pt x="2701" y="318"/>
                  </a:cubicBezTo>
                  <a:cubicBezTo>
                    <a:pt x="2699" y="317"/>
                    <a:pt x="2697" y="317"/>
                    <a:pt x="2695" y="316"/>
                  </a:cubicBezTo>
                  <a:cubicBezTo>
                    <a:pt x="2693" y="315"/>
                    <a:pt x="2691" y="315"/>
                    <a:pt x="2689" y="314"/>
                  </a:cubicBezTo>
                  <a:cubicBezTo>
                    <a:pt x="2684" y="314"/>
                    <a:pt x="2680" y="314"/>
                    <a:pt x="2680" y="308"/>
                  </a:cubicBezTo>
                  <a:cubicBezTo>
                    <a:pt x="2680" y="306"/>
                    <a:pt x="2682" y="304"/>
                    <a:pt x="2680" y="302"/>
                  </a:cubicBezTo>
                  <a:cubicBezTo>
                    <a:pt x="2680" y="302"/>
                    <a:pt x="2678" y="301"/>
                    <a:pt x="2677" y="301"/>
                  </a:cubicBezTo>
                  <a:cubicBezTo>
                    <a:pt x="2677" y="300"/>
                    <a:pt x="2676" y="300"/>
                    <a:pt x="2676" y="300"/>
                  </a:cubicBezTo>
                  <a:cubicBezTo>
                    <a:pt x="2675" y="299"/>
                    <a:pt x="2676" y="300"/>
                    <a:pt x="2676" y="299"/>
                  </a:cubicBezTo>
                  <a:cubicBezTo>
                    <a:pt x="2672" y="290"/>
                    <a:pt x="2664" y="302"/>
                    <a:pt x="2660" y="302"/>
                  </a:cubicBezTo>
                  <a:cubicBezTo>
                    <a:pt x="2653" y="302"/>
                    <a:pt x="2646" y="302"/>
                    <a:pt x="2638" y="302"/>
                  </a:cubicBezTo>
                  <a:cubicBezTo>
                    <a:pt x="2634" y="302"/>
                    <a:pt x="2629" y="302"/>
                    <a:pt x="2625" y="301"/>
                  </a:cubicBezTo>
                  <a:cubicBezTo>
                    <a:pt x="2618" y="300"/>
                    <a:pt x="2611" y="298"/>
                    <a:pt x="2604" y="296"/>
                  </a:cubicBezTo>
                  <a:cubicBezTo>
                    <a:pt x="2603" y="296"/>
                    <a:pt x="2601" y="296"/>
                    <a:pt x="2600" y="296"/>
                  </a:cubicBezTo>
                  <a:cubicBezTo>
                    <a:pt x="2599" y="296"/>
                    <a:pt x="2598" y="297"/>
                    <a:pt x="2597" y="297"/>
                  </a:cubicBezTo>
                  <a:cubicBezTo>
                    <a:pt x="2589" y="297"/>
                    <a:pt x="2582" y="298"/>
                    <a:pt x="2575" y="299"/>
                  </a:cubicBezTo>
                  <a:cubicBezTo>
                    <a:pt x="2573" y="299"/>
                    <a:pt x="2571" y="299"/>
                    <a:pt x="2569" y="299"/>
                  </a:cubicBezTo>
                  <a:cubicBezTo>
                    <a:pt x="2569" y="299"/>
                    <a:pt x="2569" y="299"/>
                    <a:pt x="2569" y="299"/>
                  </a:cubicBezTo>
                  <a:cubicBezTo>
                    <a:pt x="2569" y="299"/>
                    <a:pt x="2569" y="299"/>
                    <a:pt x="2569" y="299"/>
                  </a:cubicBezTo>
                  <a:cubicBezTo>
                    <a:pt x="2560" y="300"/>
                    <a:pt x="2552" y="301"/>
                    <a:pt x="2543" y="302"/>
                  </a:cubicBezTo>
                  <a:cubicBezTo>
                    <a:pt x="2540" y="302"/>
                    <a:pt x="2535" y="300"/>
                    <a:pt x="2532" y="299"/>
                  </a:cubicBezTo>
                  <a:cubicBezTo>
                    <a:pt x="2528" y="298"/>
                    <a:pt x="2524" y="297"/>
                    <a:pt x="2519" y="296"/>
                  </a:cubicBezTo>
                  <a:cubicBezTo>
                    <a:pt x="2521" y="295"/>
                    <a:pt x="2518" y="292"/>
                    <a:pt x="2518" y="290"/>
                  </a:cubicBezTo>
                  <a:cubicBezTo>
                    <a:pt x="2519" y="290"/>
                    <a:pt x="2520" y="289"/>
                    <a:pt x="2520" y="289"/>
                  </a:cubicBezTo>
                  <a:cubicBezTo>
                    <a:pt x="2521" y="287"/>
                    <a:pt x="2519" y="286"/>
                    <a:pt x="2519" y="283"/>
                  </a:cubicBezTo>
                  <a:cubicBezTo>
                    <a:pt x="2519" y="283"/>
                    <a:pt x="2521" y="283"/>
                    <a:pt x="2521" y="283"/>
                  </a:cubicBezTo>
                  <a:cubicBezTo>
                    <a:pt x="2523" y="283"/>
                    <a:pt x="2523" y="284"/>
                    <a:pt x="2524" y="282"/>
                  </a:cubicBezTo>
                  <a:cubicBezTo>
                    <a:pt x="2526" y="280"/>
                    <a:pt x="2524" y="277"/>
                    <a:pt x="2523" y="274"/>
                  </a:cubicBezTo>
                  <a:cubicBezTo>
                    <a:pt x="2522" y="271"/>
                    <a:pt x="2521" y="266"/>
                    <a:pt x="2517" y="264"/>
                  </a:cubicBezTo>
                  <a:cubicBezTo>
                    <a:pt x="2516" y="263"/>
                    <a:pt x="2514" y="262"/>
                    <a:pt x="2513" y="261"/>
                  </a:cubicBezTo>
                  <a:cubicBezTo>
                    <a:pt x="2510" y="259"/>
                    <a:pt x="2507" y="258"/>
                    <a:pt x="2504" y="257"/>
                  </a:cubicBezTo>
                  <a:cubicBezTo>
                    <a:pt x="2494" y="254"/>
                    <a:pt x="2485" y="251"/>
                    <a:pt x="2475" y="251"/>
                  </a:cubicBezTo>
                  <a:cubicBezTo>
                    <a:pt x="2469" y="250"/>
                    <a:pt x="2462" y="250"/>
                    <a:pt x="2456" y="250"/>
                  </a:cubicBezTo>
                  <a:cubicBezTo>
                    <a:pt x="2453" y="250"/>
                    <a:pt x="2450" y="250"/>
                    <a:pt x="2447" y="250"/>
                  </a:cubicBezTo>
                  <a:cubicBezTo>
                    <a:pt x="2443" y="250"/>
                    <a:pt x="2440" y="251"/>
                    <a:pt x="2436" y="251"/>
                  </a:cubicBezTo>
                  <a:cubicBezTo>
                    <a:pt x="2430" y="252"/>
                    <a:pt x="2423" y="253"/>
                    <a:pt x="2417" y="254"/>
                  </a:cubicBezTo>
                  <a:cubicBezTo>
                    <a:pt x="2414" y="255"/>
                    <a:pt x="2411" y="256"/>
                    <a:pt x="2408" y="257"/>
                  </a:cubicBezTo>
                  <a:cubicBezTo>
                    <a:pt x="2405" y="258"/>
                    <a:pt x="2402" y="257"/>
                    <a:pt x="2398" y="258"/>
                  </a:cubicBezTo>
                  <a:cubicBezTo>
                    <a:pt x="2396" y="258"/>
                    <a:pt x="2392" y="258"/>
                    <a:pt x="2389" y="259"/>
                  </a:cubicBezTo>
                  <a:cubicBezTo>
                    <a:pt x="2385" y="259"/>
                    <a:pt x="2383" y="261"/>
                    <a:pt x="2379" y="260"/>
                  </a:cubicBezTo>
                  <a:cubicBezTo>
                    <a:pt x="2375" y="258"/>
                    <a:pt x="2370" y="256"/>
                    <a:pt x="2365" y="254"/>
                  </a:cubicBezTo>
                  <a:cubicBezTo>
                    <a:pt x="2367" y="254"/>
                    <a:pt x="2368" y="254"/>
                    <a:pt x="2370" y="254"/>
                  </a:cubicBezTo>
                  <a:cubicBezTo>
                    <a:pt x="2369" y="251"/>
                    <a:pt x="2366" y="248"/>
                    <a:pt x="2364" y="245"/>
                  </a:cubicBezTo>
                  <a:cubicBezTo>
                    <a:pt x="2361" y="242"/>
                    <a:pt x="2360" y="241"/>
                    <a:pt x="2357" y="240"/>
                  </a:cubicBezTo>
                  <a:cubicBezTo>
                    <a:pt x="2351" y="239"/>
                    <a:pt x="2350" y="241"/>
                    <a:pt x="2345" y="243"/>
                  </a:cubicBezTo>
                  <a:cubicBezTo>
                    <a:pt x="2345" y="243"/>
                    <a:pt x="2347" y="239"/>
                    <a:pt x="2347" y="240"/>
                  </a:cubicBezTo>
                  <a:cubicBezTo>
                    <a:pt x="2345" y="240"/>
                    <a:pt x="2345" y="241"/>
                    <a:pt x="2344" y="242"/>
                  </a:cubicBezTo>
                  <a:cubicBezTo>
                    <a:pt x="2341" y="244"/>
                    <a:pt x="2337" y="244"/>
                    <a:pt x="2334" y="246"/>
                  </a:cubicBezTo>
                  <a:cubicBezTo>
                    <a:pt x="2334" y="244"/>
                    <a:pt x="2339" y="242"/>
                    <a:pt x="2340" y="241"/>
                  </a:cubicBezTo>
                  <a:cubicBezTo>
                    <a:pt x="2342" y="239"/>
                    <a:pt x="2344" y="238"/>
                    <a:pt x="2346" y="236"/>
                  </a:cubicBezTo>
                  <a:cubicBezTo>
                    <a:pt x="2345" y="235"/>
                    <a:pt x="2342" y="235"/>
                    <a:pt x="2341" y="235"/>
                  </a:cubicBezTo>
                  <a:cubicBezTo>
                    <a:pt x="2340" y="236"/>
                    <a:pt x="2338" y="235"/>
                    <a:pt x="2337" y="235"/>
                  </a:cubicBezTo>
                  <a:cubicBezTo>
                    <a:pt x="2336" y="235"/>
                    <a:pt x="2332" y="237"/>
                    <a:pt x="2331" y="236"/>
                  </a:cubicBezTo>
                  <a:cubicBezTo>
                    <a:pt x="2330" y="235"/>
                    <a:pt x="2333" y="232"/>
                    <a:pt x="2335" y="232"/>
                  </a:cubicBezTo>
                  <a:cubicBezTo>
                    <a:pt x="2333" y="229"/>
                    <a:pt x="2327" y="231"/>
                    <a:pt x="2324" y="230"/>
                  </a:cubicBezTo>
                  <a:cubicBezTo>
                    <a:pt x="2322" y="230"/>
                    <a:pt x="2321" y="230"/>
                    <a:pt x="2319" y="229"/>
                  </a:cubicBezTo>
                  <a:cubicBezTo>
                    <a:pt x="2317" y="229"/>
                    <a:pt x="2314" y="230"/>
                    <a:pt x="2311" y="229"/>
                  </a:cubicBezTo>
                  <a:cubicBezTo>
                    <a:pt x="2313" y="228"/>
                    <a:pt x="2312" y="226"/>
                    <a:pt x="2311" y="225"/>
                  </a:cubicBezTo>
                  <a:cubicBezTo>
                    <a:pt x="2313" y="226"/>
                    <a:pt x="2314" y="226"/>
                    <a:pt x="2316" y="226"/>
                  </a:cubicBezTo>
                  <a:cubicBezTo>
                    <a:pt x="2318" y="227"/>
                    <a:pt x="2319" y="223"/>
                    <a:pt x="2320" y="222"/>
                  </a:cubicBezTo>
                  <a:cubicBezTo>
                    <a:pt x="2324" y="220"/>
                    <a:pt x="2325" y="228"/>
                    <a:pt x="2329" y="226"/>
                  </a:cubicBezTo>
                  <a:cubicBezTo>
                    <a:pt x="2331" y="225"/>
                    <a:pt x="2335" y="223"/>
                    <a:pt x="2334" y="220"/>
                  </a:cubicBezTo>
                  <a:cubicBezTo>
                    <a:pt x="2334" y="219"/>
                    <a:pt x="2332" y="218"/>
                    <a:pt x="2331" y="217"/>
                  </a:cubicBezTo>
                  <a:cubicBezTo>
                    <a:pt x="2329" y="215"/>
                    <a:pt x="2326" y="213"/>
                    <a:pt x="2323" y="212"/>
                  </a:cubicBezTo>
                  <a:cubicBezTo>
                    <a:pt x="2319" y="210"/>
                    <a:pt x="2315" y="210"/>
                    <a:pt x="2310" y="209"/>
                  </a:cubicBezTo>
                  <a:cubicBezTo>
                    <a:pt x="2306" y="208"/>
                    <a:pt x="2302" y="207"/>
                    <a:pt x="2298" y="206"/>
                  </a:cubicBezTo>
                  <a:cubicBezTo>
                    <a:pt x="2294" y="206"/>
                    <a:pt x="2291" y="206"/>
                    <a:pt x="2288" y="206"/>
                  </a:cubicBezTo>
                  <a:cubicBezTo>
                    <a:pt x="2285" y="206"/>
                    <a:pt x="2281" y="206"/>
                    <a:pt x="2278" y="207"/>
                  </a:cubicBezTo>
                  <a:cubicBezTo>
                    <a:pt x="2275" y="209"/>
                    <a:pt x="2273" y="213"/>
                    <a:pt x="2270" y="215"/>
                  </a:cubicBezTo>
                  <a:cubicBezTo>
                    <a:pt x="2268" y="216"/>
                    <a:pt x="2266" y="220"/>
                    <a:pt x="2264" y="222"/>
                  </a:cubicBezTo>
                  <a:cubicBezTo>
                    <a:pt x="2262" y="223"/>
                    <a:pt x="2261" y="224"/>
                    <a:pt x="2260" y="225"/>
                  </a:cubicBezTo>
                  <a:cubicBezTo>
                    <a:pt x="2258" y="226"/>
                    <a:pt x="2257" y="226"/>
                    <a:pt x="2255" y="226"/>
                  </a:cubicBezTo>
                  <a:cubicBezTo>
                    <a:pt x="2253" y="227"/>
                    <a:pt x="2252" y="227"/>
                    <a:pt x="2249" y="227"/>
                  </a:cubicBezTo>
                  <a:cubicBezTo>
                    <a:pt x="2245" y="228"/>
                    <a:pt x="2241" y="229"/>
                    <a:pt x="2236" y="229"/>
                  </a:cubicBezTo>
                  <a:cubicBezTo>
                    <a:pt x="2237" y="226"/>
                    <a:pt x="2236" y="226"/>
                    <a:pt x="2239" y="226"/>
                  </a:cubicBezTo>
                  <a:cubicBezTo>
                    <a:pt x="2239" y="226"/>
                    <a:pt x="2240" y="225"/>
                    <a:pt x="2241" y="225"/>
                  </a:cubicBezTo>
                  <a:cubicBezTo>
                    <a:pt x="2243" y="225"/>
                    <a:pt x="2240" y="223"/>
                    <a:pt x="2239" y="223"/>
                  </a:cubicBezTo>
                  <a:cubicBezTo>
                    <a:pt x="2236" y="220"/>
                    <a:pt x="2238" y="219"/>
                    <a:pt x="2241" y="221"/>
                  </a:cubicBezTo>
                  <a:cubicBezTo>
                    <a:pt x="2244" y="222"/>
                    <a:pt x="2245" y="223"/>
                    <a:pt x="2248" y="222"/>
                  </a:cubicBezTo>
                  <a:cubicBezTo>
                    <a:pt x="2249" y="221"/>
                    <a:pt x="2251" y="222"/>
                    <a:pt x="2253" y="221"/>
                  </a:cubicBezTo>
                  <a:cubicBezTo>
                    <a:pt x="2256" y="220"/>
                    <a:pt x="2251" y="217"/>
                    <a:pt x="2251" y="216"/>
                  </a:cubicBezTo>
                  <a:cubicBezTo>
                    <a:pt x="2250" y="215"/>
                    <a:pt x="2252" y="210"/>
                    <a:pt x="2253" y="210"/>
                  </a:cubicBezTo>
                  <a:cubicBezTo>
                    <a:pt x="2255" y="208"/>
                    <a:pt x="2256" y="214"/>
                    <a:pt x="2256" y="215"/>
                  </a:cubicBezTo>
                  <a:cubicBezTo>
                    <a:pt x="2257" y="215"/>
                    <a:pt x="2257" y="215"/>
                    <a:pt x="2257" y="216"/>
                  </a:cubicBezTo>
                  <a:cubicBezTo>
                    <a:pt x="2258" y="213"/>
                    <a:pt x="2262" y="212"/>
                    <a:pt x="2264" y="214"/>
                  </a:cubicBezTo>
                  <a:cubicBezTo>
                    <a:pt x="2262" y="214"/>
                    <a:pt x="2261" y="216"/>
                    <a:pt x="2259" y="217"/>
                  </a:cubicBezTo>
                  <a:cubicBezTo>
                    <a:pt x="2257" y="217"/>
                    <a:pt x="2258" y="217"/>
                    <a:pt x="2257" y="219"/>
                  </a:cubicBezTo>
                  <a:cubicBezTo>
                    <a:pt x="2257" y="220"/>
                    <a:pt x="2256" y="222"/>
                    <a:pt x="2257" y="223"/>
                  </a:cubicBezTo>
                  <a:cubicBezTo>
                    <a:pt x="2257" y="224"/>
                    <a:pt x="2258" y="223"/>
                    <a:pt x="2259" y="222"/>
                  </a:cubicBezTo>
                  <a:cubicBezTo>
                    <a:pt x="2260" y="221"/>
                    <a:pt x="2261" y="220"/>
                    <a:pt x="2263" y="219"/>
                  </a:cubicBezTo>
                  <a:cubicBezTo>
                    <a:pt x="2266" y="217"/>
                    <a:pt x="2269" y="213"/>
                    <a:pt x="2271" y="211"/>
                  </a:cubicBezTo>
                  <a:cubicBezTo>
                    <a:pt x="2273" y="209"/>
                    <a:pt x="2276" y="207"/>
                    <a:pt x="2272" y="207"/>
                  </a:cubicBezTo>
                  <a:cubicBezTo>
                    <a:pt x="2271" y="207"/>
                    <a:pt x="2269" y="207"/>
                    <a:pt x="2268" y="207"/>
                  </a:cubicBezTo>
                  <a:cubicBezTo>
                    <a:pt x="2253" y="207"/>
                    <a:pt x="2238" y="210"/>
                    <a:pt x="2223" y="210"/>
                  </a:cubicBezTo>
                  <a:cubicBezTo>
                    <a:pt x="2224" y="209"/>
                    <a:pt x="2225" y="209"/>
                    <a:pt x="2227" y="208"/>
                  </a:cubicBezTo>
                  <a:cubicBezTo>
                    <a:pt x="2226" y="208"/>
                    <a:pt x="2226" y="208"/>
                    <a:pt x="2226" y="208"/>
                  </a:cubicBezTo>
                  <a:cubicBezTo>
                    <a:pt x="2226" y="208"/>
                    <a:pt x="2226" y="208"/>
                    <a:pt x="2226" y="208"/>
                  </a:cubicBezTo>
                  <a:cubicBezTo>
                    <a:pt x="2227" y="208"/>
                    <a:pt x="2228" y="207"/>
                    <a:pt x="2229" y="207"/>
                  </a:cubicBezTo>
                  <a:cubicBezTo>
                    <a:pt x="2231" y="206"/>
                    <a:pt x="2232" y="205"/>
                    <a:pt x="2233" y="204"/>
                  </a:cubicBezTo>
                  <a:cubicBezTo>
                    <a:pt x="2233" y="204"/>
                    <a:pt x="2233" y="205"/>
                    <a:pt x="2233" y="205"/>
                  </a:cubicBezTo>
                  <a:cubicBezTo>
                    <a:pt x="2236" y="203"/>
                    <a:pt x="2237" y="203"/>
                    <a:pt x="2240" y="203"/>
                  </a:cubicBezTo>
                  <a:cubicBezTo>
                    <a:pt x="2242" y="203"/>
                    <a:pt x="2243" y="205"/>
                    <a:pt x="2245" y="205"/>
                  </a:cubicBezTo>
                  <a:cubicBezTo>
                    <a:pt x="2254" y="205"/>
                    <a:pt x="2264" y="205"/>
                    <a:pt x="2273" y="206"/>
                  </a:cubicBezTo>
                  <a:cubicBezTo>
                    <a:pt x="2261" y="202"/>
                    <a:pt x="2250" y="199"/>
                    <a:pt x="2238" y="197"/>
                  </a:cubicBezTo>
                  <a:cubicBezTo>
                    <a:pt x="2238" y="197"/>
                    <a:pt x="2238" y="197"/>
                    <a:pt x="2237" y="197"/>
                  </a:cubicBezTo>
                  <a:cubicBezTo>
                    <a:pt x="2237" y="197"/>
                    <a:pt x="2237" y="197"/>
                    <a:pt x="2236" y="197"/>
                  </a:cubicBezTo>
                  <a:cubicBezTo>
                    <a:pt x="2232" y="197"/>
                    <a:pt x="2229" y="195"/>
                    <a:pt x="2225" y="195"/>
                  </a:cubicBezTo>
                  <a:cubicBezTo>
                    <a:pt x="2218" y="195"/>
                    <a:pt x="2211" y="193"/>
                    <a:pt x="2204" y="193"/>
                  </a:cubicBezTo>
                  <a:cubicBezTo>
                    <a:pt x="2201" y="193"/>
                    <a:pt x="2198" y="193"/>
                    <a:pt x="2195" y="193"/>
                  </a:cubicBezTo>
                  <a:cubicBezTo>
                    <a:pt x="2191" y="193"/>
                    <a:pt x="2188" y="193"/>
                    <a:pt x="2185" y="193"/>
                  </a:cubicBezTo>
                  <a:cubicBezTo>
                    <a:pt x="2180" y="192"/>
                    <a:pt x="2175" y="190"/>
                    <a:pt x="2171" y="188"/>
                  </a:cubicBezTo>
                  <a:cubicBezTo>
                    <a:pt x="2166" y="186"/>
                    <a:pt x="2160" y="187"/>
                    <a:pt x="2154" y="186"/>
                  </a:cubicBezTo>
                  <a:cubicBezTo>
                    <a:pt x="2157" y="190"/>
                    <a:pt x="2161" y="193"/>
                    <a:pt x="2163" y="198"/>
                  </a:cubicBezTo>
                  <a:cubicBezTo>
                    <a:pt x="2161" y="198"/>
                    <a:pt x="2158" y="199"/>
                    <a:pt x="2156" y="200"/>
                  </a:cubicBezTo>
                  <a:cubicBezTo>
                    <a:pt x="2154" y="201"/>
                    <a:pt x="2151" y="201"/>
                    <a:pt x="2149" y="201"/>
                  </a:cubicBezTo>
                  <a:cubicBezTo>
                    <a:pt x="2147" y="201"/>
                    <a:pt x="2145" y="201"/>
                    <a:pt x="2143" y="201"/>
                  </a:cubicBezTo>
                  <a:cubicBezTo>
                    <a:pt x="2140" y="201"/>
                    <a:pt x="2138" y="203"/>
                    <a:pt x="2136" y="204"/>
                  </a:cubicBezTo>
                  <a:cubicBezTo>
                    <a:pt x="2132" y="206"/>
                    <a:pt x="2129" y="208"/>
                    <a:pt x="2126" y="210"/>
                  </a:cubicBezTo>
                  <a:cubicBezTo>
                    <a:pt x="2128" y="213"/>
                    <a:pt x="2131" y="212"/>
                    <a:pt x="2133" y="211"/>
                  </a:cubicBezTo>
                  <a:cubicBezTo>
                    <a:pt x="2135" y="209"/>
                    <a:pt x="2139" y="210"/>
                    <a:pt x="2141" y="210"/>
                  </a:cubicBezTo>
                  <a:cubicBezTo>
                    <a:pt x="2143" y="210"/>
                    <a:pt x="2144" y="209"/>
                    <a:pt x="2145" y="211"/>
                  </a:cubicBezTo>
                  <a:cubicBezTo>
                    <a:pt x="2147" y="213"/>
                    <a:pt x="2145" y="213"/>
                    <a:pt x="2143" y="213"/>
                  </a:cubicBezTo>
                  <a:cubicBezTo>
                    <a:pt x="2143" y="213"/>
                    <a:pt x="2142" y="213"/>
                    <a:pt x="2141" y="214"/>
                  </a:cubicBezTo>
                  <a:cubicBezTo>
                    <a:pt x="2140" y="215"/>
                    <a:pt x="2138" y="217"/>
                    <a:pt x="2137" y="219"/>
                  </a:cubicBezTo>
                  <a:cubicBezTo>
                    <a:pt x="2135" y="221"/>
                    <a:pt x="2133" y="220"/>
                    <a:pt x="2131" y="220"/>
                  </a:cubicBezTo>
                  <a:cubicBezTo>
                    <a:pt x="2136" y="221"/>
                    <a:pt x="2137" y="221"/>
                    <a:pt x="2137" y="226"/>
                  </a:cubicBezTo>
                  <a:cubicBezTo>
                    <a:pt x="2137" y="228"/>
                    <a:pt x="2138" y="230"/>
                    <a:pt x="2139" y="232"/>
                  </a:cubicBezTo>
                  <a:cubicBezTo>
                    <a:pt x="2140" y="234"/>
                    <a:pt x="2142" y="234"/>
                    <a:pt x="2143" y="237"/>
                  </a:cubicBezTo>
                  <a:cubicBezTo>
                    <a:pt x="2141" y="236"/>
                    <a:pt x="2139" y="238"/>
                    <a:pt x="2137" y="237"/>
                  </a:cubicBezTo>
                  <a:cubicBezTo>
                    <a:pt x="2134" y="235"/>
                    <a:pt x="2133" y="236"/>
                    <a:pt x="2131" y="238"/>
                  </a:cubicBezTo>
                  <a:cubicBezTo>
                    <a:pt x="2127" y="242"/>
                    <a:pt x="2126" y="235"/>
                    <a:pt x="2124" y="233"/>
                  </a:cubicBezTo>
                  <a:cubicBezTo>
                    <a:pt x="2124" y="233"/>
                    <a:pt x="2120" y="231"/>
                    <a:pt x="2120" y="231"/>
                  </a:cubicBezTo>
                  <a:cubicBezTo>
                    <a:pt x="2119" y="231"/>
                    <a:pt x="2115" y="236"/>
                    <a:pt x="2113" y="234"/>
                  </a:cubicBezTo>
                  <a:cubicBezTo>
                    <a:pt x="2112" y="233"/>
                    <a:pt x="2115" y="232"/>
                    <a:pt x="2113" y="232"/>
                  </a:cubicBezTo>
                  <a:cubicBezTo>
                    <a:pt x="2111" y="232"/>
                    <a:pt x="2109" y="233"/>
                    <a:pt x="2107" y="233"/>
                  </a:cubicBezTo>
                  <a:cubicBezTo>
                    <a:pt x="2105" y="234"/>
                    <a:pt x="2104" y="236"/>
                    <a:pt x="2103" y="237"/>
                  </a:cubicBezTo>
                  <a:cubicBezTo>
                    <a:pt x="2102" y="239"/>
                    <a:pt x="2101" y="241"/>
                    <a:pt x="2104" y="240"/>
                  </a:cubicBezTo>
                  <a:cubicBezTo>
                    <a:pt x="2104" y="242"/>
                    <a:pt x="2109" y="241"/>
                    <a:pt x="2111" y="242"/>
                  </a:cubicBezTo>
                  <a:cubicBezTo>
                    <a:pt x="2109" y="242"/>
                    <a:pt x="2107" y="242"/>
                    <a:pt x="2105" y="243"/>
                  </a:cubicBezTo>
                  <a:cubicBezTo>
                    <a:pt x="2107" y="243"/>
                    <a:pt x="2110" y="244"/>
                    <a:pt x="2107" y="245"/>
                  </a:cubicBezTo>
                  <a:cubicBezTo>
                    <a:pt x="2105" y="246"/>
                    <a:pt x="2102" y="245"/>
                    <a:pt x="2100" y="246"/>
                  </a:cubicBezTo>
                  <a:cubicBezTo>
                    <a:pt x="2101" y="246"/>
                    <a:pt x="2101" y="246"/>
                    <a:pt x="2102" y="247"/>
                  </a:cubicBezTo>
                  <a:cubicBezTo>
                    <a:pt x="2104" y="246"/>
                    <a:pt x="2104" y="248"/>
                    <a:pt x="2104" y="249"/>
                  </a:cubicBezTo>
                  <a:cubicBezTo>
                    <a:pt x="2103" y="249"/>
                    <a:pt x="2103" y="249"/>
                    <a:pt x="2102" y="249"/>
                  </a:cubicBezTo>
                  <a:cubicBezTo>
                    <a:pt x="2101" y="249"/>
                    <a:pt x="2101" y="248"/>
                    <a:pt x="2100" y="248"/>
                  </a:cubicBezTo>
                  <a:cubicBezTo>
                    <a:pt x="2099" y="247"/>
                    <a:pt x="2099" y="247"/>
                    <a:pt x="2098" y="246"/>
                  </a:cubicBezTo>
                  <a:cubicBezTo>
                    <a:pt x="2098" y="246"/>
                    <a:pt x="2099" y="245"/>
                    <a:pt x="2100" y="245"/>
                  </a:cubicBezTo>
                  <a:cubicBezTo>
                    <a:pt x="2097" y="244"/>
                    <a:pt x="2093" y="245"/>
                    <a:pt x="2095" y="241"/>
                  </a:cubicBezTo>
                  <a:cubicBezTo>
                    <a:pt x="2093" y="241"/>
                    <a:pt x="2092" y="241"/>
                    <a:pt x="2090" y="241"/>
                  </a:cubicBezTo>
                  <a:cubicBezTo>
                    <a:pt x="2092" y="239"/>
                    <a:pt x="2087" y="239"/>
                    <a:pt x="2086" y="238"/>
                  </a:cubicBezTo>
                  <a:cubicBezTo>
                    <a:pt x="2085" y="238"/>
                    <a:pt x="2084" y="237"/>
                    <a:pt x="2083" y="237"/>
                  </a:cubicBezTo>
                  <a:cubicBezTo>
                    <a:pt x="2081" y="236"/>
                    <a:pt x="2080" y="237"/>
                    <a:pt x="2077" y="236"/>
                  </a:cubicBezTo>
                  <a:cubicBezTo>
                    <a:pt x="2076" y="234"/>
                    <a:pt x="2076" y="233"/>
                    <a:pt x="2073" y="233"/>
                  </a:cubicBezTo>
                  <a:cubicBezTo>
                    <a:pt x="2071" y="233"/>
                    <a:pt x="2069" y="231"/>
                    <a:pt x="2066" y="231"/>
                  </a:cubicBezTo>
                  <a:cubicBezTo>
                    <a:pt x="2064" y="231"/>
                    <a:pt x="2062" y="232"/>
                    <a:pt x="2059" y="233"/>
                  </a:cubicBezTo>
                  <a:cubicBezTo>
                    <a:pt x="2054" y="234"/>
                    <a:pt x="2049" y="235"/>
                    <a:pt x="2045" y="236"/>
                  </a:cubicBezTo>
                  <a:cubicBezTo>
                    <a:pt x="2043" y="237"/>
                    <a:pt x="2042" y="239"/>
                    <a:pt x="2042" y="239"/>
                  </a:cubicBezTo>
                  <a:cubicBezTo>
                    <a:pt x="2042" y="240"/>
                    <a:pt x="2043" y="241"/>
                    <a:pt x="2043" y="241"/>
                  </a:cubicBezTo>
                  <a:cubicBezTo>
                    <a:pt x="2043" y="242"/>
                    <a:pt x="2041" y="243"/>
                    <a:pt x="2041" y="244"/>
                  </a:cubicBezTo>
                  <a:cubicBezTo>
                    <a:pt x="2041" y="242"/>
                    <a:pt x="2043" y="242"/>
                    <a:pt x="2042" y="241"/>
                  </a:cubicBezTo>
                  <a:cubicBezTo>
                    <a:pt x="2042" y="239"/>
                    <a:pt x="2039" y="240"/>
                    <a:pt x="2038" y="240"/>
                  </a:cubicBezTo>
                  <a:cubicBezTo>
                    <a:pt x="2036" y="240"/>
                    <a:pt x="2034" y="240"/>
                    <a:pt x="2033" y="240"/>
                  </a:cubicBezTo>
                  <a:cubicBezTo>
                    <a:pt x="2029" y="240"/>
                    <a:pt x="2026" y="239"/>
                    <a:pt x="2023" y="238"/>
                  </a:cubicBezTo>
                  <a:cubicBezTo>
                    <a:pt x="2020" y="237"/>
                    <a:pt x="2016" y="236"/>
                    <a:pt x="2014" y="234"/>
                  </a:cubicBezTo>
                  <a:cubicBezTo>
                    <a:pt x="2010" y="231"/>
                    <a:pt x="2009" y="228"/>
                    <a:pt x="2005" y="227"/>
                  </a:cubicBezTo>
                  <a:cubicBezTo>
                    <a:pt x="2003" y="226"/>
                    <a:pt x="2005" y="224"/>
                    <a:pt x="2004" y="223"/>
                  </a:cubicBezTo>
                  <a:cubicBezTo>
                    <a:pt x="2003" y="220"/>
                    <a:pt x="2002" y="221"/>
                    <a:pt x="2000" y="223"/>
                  </a:cubicBezTo>
                  <a:cubicBezTo>
                    <a:pt x="1998" y="225"/>
                    <a:pt x="1996" y="228"/>
                    <a:pt x="1995" y="231"/>
                  </a:cubicBezTo>
                  <a:cubicBezTo>
                    <a:pt x="1993" y="234"/>
                    <a:pt x="1992" y="237"/>
                    <a:pt x="1991" y="240"/>
                  </a:cubicBezTo>
                  <a:cubicBezTo>
                    <a:pt x="1991" y="241"/>
                    <a:pt x="1990" y="242"/>
                    <a:pt x="1990" y="243"/>
                  </a:cubicBezTo>
                  <a:cubicBezTo>
                    <a:pt x="1988" y="248"/>
                    <a:pt x="1988" y="248"/>
                    <a:pt x="1988" y="248"/>
                  </a:cubicBezTo>
                  <a:cubicBezTo>
                    <a:pt x="1976" y="260"/>
                    <a:pt x="1976" y="260"/>
                    <a:pt x="1976" y="260"/>
                  </a:cubicBezTo>
                  <a:cubicBezTo>
                    <a:pt x="1975" y="261"/>
                    <a:pt x="1975" y="261"/>
                    <a:pt x="1975" y="261"/>
                  </a:cubicBezTo>
                  <a:cubicBezTo>
                    <a:pt x="1973" y="262"/>
                    <a:pt x="1973" y="262"/>
                    <a:pt x="1973" y="262"/>
                  </a:cubicBezTo>
                  <a:cubicBezTo>
                    <a:pt x="1973" y="262"/>
                    <a:pt x="1970" y="262"/>
                    <a:pt x="1969" y="261"/>
                  </a:cubicBezTo>
                  <a:cubicBezTo>
                    <a:pt x="1969" y="261"/>
                    <a:pt x="1969" y="261"/>
                    <a:pt x="1969" y="261"/>
                  </a:cubicBezTo>
                  <a:cubicBezTo>
                    <a:pt x="1969" y="261"/>
                    <a:pt x="1969" y="261"/>
                    <a:pt x="1969" y="261"/>
                  </a:cubicBezTo>
                  <a:cubicBezTo>
                    <a:pt x="1969" y="261"/>
                    <a:pt x="1969" y="261"/>
                    <a:pt x="1969" y="261"/>
                  </a:cubicBezTo>
                  <a:cubicBezTo>
                    <a:pt x="1969" y="261"/>
                    <a:pt x="1969" y="261"/>
                    <a:pt x="1969" y="261"/>
                  </a:cubicBezTo>
                  <a:cubicBezTo>
                    <a:pt x="1969" y="260"/>
                    <a:pt x="1969" y="260"/>
                    <a:pt x="1969" y="260"/>
                  </a:cubicBezTo>
                  <a:cubicBezTo>
                    <a:pt x="1970" y="260"/>
                    <a:pt x="1970" y="260"/>
                    <a:pt x="1970" y="260"/>
                  </a:cubicBezTo>
                  <a:cubicBezTo>
                    <a:pt x="1970" y="260"/>
                    <a:pt x="1970" y="260"/>
                    <a:pt x="1970" y="260"/>
                  </a:cubicBezTo>
                  <a:cubicBezTo>
                    <a:pt x="1969" y="259"/>
                    <a:pt x="1969" y="259"/>
                    <a:pt x="1969" y="259"/>
                  </a:cubicBezTo>
                  <a:cubicBezTo>
                    <a:pt x="1969" y="259"/>
                    <a:pt x="1969" y="259"/>
                    <a:pt x="1969" y="259"/>
                  </a:cubicBezTo>
                  <a:cubicBezTo>
                    <a:pt x="1969" y="259"/>
                    <a:pt x="1969" y="259"/>
                    <a:pt x="1969" y="259"/>
                  </a:cubicBezTo>
                  <a:cubicBezTo>
                    <a:pt x="1969" y="259"/>
                    <a:pt x="1969" y="259"/>
                    <a:pt x="1969" y="259"/>
                  </a:cubicBezTo>
                  <a:cubicBezTo>
                    <a:pt x="1969" y="259"/>
                    <a:pt x="1969" y="259"/>
                    <a:pt x="1969" y="259"/>
                  </a:cubicBezTo>
                  <a:cubicBezTo>
                    <a:pt x="1969" y="258"/>
                    <a:pt x="1969" y="258"/>
                    <a:pt x="1969" y="258"/>
                  </a:cubicBezTo>
                  <a:cubicBezTo>
                    <a:pt x="1969" y="258"/>
                    <a:pt x="1969" y="258"/>
                    <a:pt x="1969" y="258"/>
                  </a:cubicBezTo>
                  <a:cubicBezTo>
                    <a:pt x="1968" y="258"/>
                    <a:pt x="1968" y="258"/>
                    <a:pt x="1968" y="258"/>
                  </a:cubicBezTo>
                  <a:cubicBezTo>
                    <a:pt x="1968" y="258"/>
                    <a:pt x="1968" y="258"/>
                    <a:pt x="1968" y="258"/>
                  </a:cubicBezTo>
                  <a:cubicBezTo>
                    <a:pt x="1965" y="258"/>
                    <a:pt x="1965" y="258"/>
                    <a:pt x="1965" y="258"/>
                  </a:cubicBezTo>
                  <a:cubicBezTo>
                    <a:pt x="1964" y="258"/>
                    <a:pt x="1964" y="258"/>
                    <a:pt x="1964" y="258"/>
                  </a:cubicBezTo>
                  <a:cubicBezTo>
                    <a:pt x="1963" y="258"/>
                    <a:pt x="1963" y="258"/>
                    <a:pt x="1963" y="258"/>
                  </a:cubicBezTo>
                  <a:cubicBezTo>
                    <a:pt x="1963" y="258"/>
                    <a:pt x="1963" y="258"/>
                    <a:pt x="1963" y="258"/>
                  </a:cubicBezTo>
                  <a:cubicBezTo>
                    <a:pt x="1963" y="257"/>
                    <a:pt x="1963" y="257"/>
                    <a:pt x="1963" y="257"/>
                  </a:cubicBezTo>
                  <a:cubicBezTo>
                    <a:pt x="1962" y="257"/>
                    <a:pt x="1962" y="257"/>
                    <a:pt x="1962" y="257"/>
                  </a:cubicBezTo>
                  <a:cubicBezTo>
                    <a:pt x="1962" y="257"/>
                    <a:pt x="1962" y="257"/>
                    <a:pt x="1962" y="257"/>
                  </a:cubicBezTo>
                  <a:cubicBezTo>
                    <a:pt x="1962" y="257"/>
                    <a:pt x="1962" y="257"/>
                    <a:pt x="1962" y="257"/>
                  </a:cubicBezTo>
                  <a:cubicBezTo>
                    <a:pt x="1962" y="257"/>
                    <a:pt x="1962" y="257"/>
                    <a:pt x="1962" y="257"/>
                  </a:cubicBezTo>
                  <a:cubicBezTo>
                    <a:pt x="1962" y="257"/>
                    <a:pt x="1962" y="257"/>
                    <a:pt x="1962" y="257"/>
                  </a:cubicBezTo>
                  <a:cubicBezTo>
                    <a:pt x="1962" y="256"/>
                    <a:pt x="1962" y="256"/>
                    <a:pt x="1962" y="256"/>
                  </a:cubicBezTo>
                  <a:cubicBezTo>
                    <a:pt x="1960" y="256"/>
                    <a:pt x="1959" y="256"/>
                    <a:pt x="1957" y="255"/>
                  </a:cubicBezTo>
                  <a:cubicBezTo>
                    <a:pt x="1956" y="255"/>
                    <a:pt x="1956" y="255"/>
                    <a:pt x="1956" y="255"/>
                  </a:cubicBezTo>
                  <a:cubicBezTo>
                    <a:pt x="1956" y="255"/>
                    <a:pt x="1956" y="255"/>
                    <a:pt x="1956" y="255"/>
                  </a:cubicBezTo>
                  <a:cubicBezTo>
                    <a:pt x="1956" y="255"/>
                    <a:pt x="1956" y="255"/>
                    <a:pt x="1956" y="255"/>
                  </a:cubicBezTo>
                  <a:cubicBezTo>
                    <a:pt x="1956" y="254"/>
                    <a:pt x="1956" y="254"/>
                    <a:pt x="1956" y="254"/>
                  </a:cubicBezTo>
                  <a:cubicBezTo>
                    <a:pt x="1956" y="254"/>
                    <a:pt x="1956" y="254"/>
                    <a:pt x="1956" y="254"/>
                  </a:cubicBezTo>
                  <a:cubicBezTo>
                    <a:pt x="1957" y="254"/>
                    <a:pt x="1957" y="254"/>
                    <a:pt x="1957" y="254"/>
                  </a:cubicBezTo>
                  <a:cubicBezTo>
                    <a:pt x="1957" y="254"/>
                    <a:pt x="1957" y="254"/>
                    <a:pt x="1957" y="254"/>
                  </a:cubicBezTo>
                  <a:cubicBezTo>
                    <a:pt x="1957" y="253"/>
                    <a:pt x="1957" y="253"/>
                    <a:pt x="1957" y="253"/>
                  </a:cubicBezTo>
                  <a:cubicBezTo>
                    <a:pt x="1955" y="253"/>
                    <a:pt x="1955" y="253"/>
                    <a:pt x="1955" y="253"/>
                  </a:cubicBezTo>
                  <a:cubicBezTo>
                    <a:pt x="1953" y="252"/>
                    <a:pt x="1953" y="252"/>
                    <a:pt x="1953" y="252"/>
                  </a:cubicBezTo>
                  <a:cubicBezTo>
                    <a:pt x="1948" y="251"/>
                    <a:pt x="1948" y="251"/>
                    <a:pt x="1948" y="251"/>
                  </a:cubicBezTo>
                  <a:cubicBezTo>
                    <a:pt x="1947" y="250"/>
                    <a:pt x="1947" y="250"/>
                    <a:pt x="1947" y="250"/>
                  </a:cubicBezTo>
                  <a:cubicBezTo>
                    <a:pt x="1946" y="250"/>
                    <a:pt x="1946" y="250"/>
                    <a:pt x="1946" y="250"/>
                  </a:cubicBezTo>
                  <a:cubicBezTo>
                    <a:pt x="1946" y="250"/>
                    <a:pt x="1946" y="250"/>
                    <a:pt x="1946" y="250"/>
                  </a:cubicBezTo>
                  <a:cubicBezTo>
                    <a:pt x="1946" y="250"/>
                    <a:pt x="1946" y="250"/>
                    <a:pt x="1946" y="250"/>
                  </a:cubicBezTo>
                  <a:cubicBezTo>
                    <a:pt x="1947" y="250"/>
                    <a:pt x="1947" y="250"/>
                    <a:pt x="1947" y="250"/>
                  </a:cubicBezTo>
                  <a:cubicBezTo>
                    <a:pt x="1947" y="249"/>
                    <a:pt x="1947" y="249"/>
                    <a:pt x="1947" y="249"/>
                  </a:cubicBezTo>
                  <a:cubicBezTo>
                    <a:pt x="1947" y="249"/>
                    <a:pt x="1947" y="249"/>
                    <a:pt x="1947" y="249"/>
                  </a:cubicBezTo>
                  <a:cubicBezTo>
                    <a:pt x="1948" y="249"/>
                    <a:pt x="1948" y="249"/>
                    <a:pt x="1948" y="249"/>
                  </a:cubicBezTo>
                  <a:cubicBezTo>
                    <a:pt x="1948" y="249"/>
                    <a:pt x="1948" y="249"/>
                    <a:pt x="1948" y="249"/>
                  </a:cubicBezTo>
                  <a:cubicBezTo>
                    <a:pt x="1948" y="249"/>
                    <a:pt x="1948" y="249"/>
                    <a:pt x="1948" y="249"/>
                  </a:cubicBezTo>
                  <a:cubicBezTo>
                    <a:pt x="1948" y="248"/>
                    <a:pt x="1948" y="248"/>
                    <a:pt x="1948" y="248"/>
                  </a:cubicBezTo>
                  <a:cubicBezTo>
                    <a:pt x="1948" y="248"/>
                    <a:pt x="1948" y="248"/>
                    <a:pt x="1948" y="248"/>
                  </a:cubicBezTo>
                  <a:cubicBezTo>
                    <a:pt x="1948" y="248"/>
                    <a:pt x="1948" y="248"/>
                    <a:pt x="1948" y="248"/>
                  </a:cubicBezTo>
                  <a:cubicBezTo>
                    <a:pt x="1947" y="248"/>
                    <a:pt x="1947" y="248"/>
                    <a:pt x="1947" y="248"/>
                  </a:cubicBezTo>
                  <a:cubicBezTo>
                    <a:pt x="1947" y="247"/>
                    <a:pt x="1947" y="247"/>
                    <a:pt x="1947" y="247"/>
                  </a:cubicBezTo>
                  <a:cubicBezTo>
                    <a:pt x="1947" y="247"/>
                    <a:pt x="1947" y="247"/>
                    <a:pt x="1947" y="247"/>
                  </a:cubicBezTo>
                  <a:cubicBezTo>
                    <a:pt x="1947" y="247"/>
                    <a:pt x="1947" y="247"/>
                    <a:pt x="1947" y="247"/>
                  </a:cubicBezTo>
                  <a:cubicBezTo>
                    <a:pt x="1947" y="247"/>
                    <a:pt x="1947" y="247"/>
                    <a:pt x="1947" y="247"/>
                  </a:cubicBezTo>
                  <a:cubicBezTo>
                    <a:pt x="1947" y="246"/>
                    <a:pt x="1947" y="246"/>
                    <a:pt x="1947" y="246"/>
                  </a:cubicBezTo>
                  <a:cubicBezTo>
                    <a:pt x="1947" y="246"/>
                    <a:pt x="1947" y="246"/>
                    <a:pt x="1947" y="246"/>
                  </a:cubicBezTo>
                  <a:cubicBezTo>
                    <a:pt x="1947" y="246"/>
                    <a:pt x="1947" y="246"/>
                    <a:pt x="1947" y="246"/>
                  </a:cubicBezTo>
                  <a:cubicBezTo>
                    <a:pt x="1947" y="245"/>
                    <a:pt x="1947" y="245"/>
                    <a:pt x="1947" y="245"/>
                  </a:cubicBezTo>
                  <a:cubicBezTo>
                    <a:pt x="1946" y="245"/>
                    <a:pt x="1946" y="245"/>
                    <a:pt x="1946" y="245"/>
                  </a:cubicBezTo>
                  <a:cubicBezTo>
                    <a:pt x="1946" y="245"/>
                    <a:pt x="1946" y="245"/>
                    <a:pt x="1946" y="245"/>
                  </a:cubicBezTo>
                  <a:cubicBezTo>
                    <a:pt x="1944" y="244"/>
                    <a:pt x="1944" y="244"/>
                    <a:pt x="1944" y="244"/>
                  </a:cubicBezTo>
                  <a:cubicBezTo>
                    <a:pt x="1944" y="243"/>
                    <a:pt x="1944" y="243"/>
                    <a:pt x="1944" y="243"/>
                  </a:cubicBezTo>
                  <a:cubicBezTo>
                    <a:pt x="1943" y="243"/>
                    <a:pt x="1943" y="243"/>
                    <a:pt x="1943" y="243"/>
                  </a:cubicBezTo>
                  <a:cubicBezTo>
                    <a:pt x="1943" y="243"/>
                    <a:pt x="1943" y="243"/>
                    <a:pt x="1943" y="243"/>
                  </a:cubicBezTo>
                  <a:cubicBezTo>
                    <a:pt x="1943" y="243"/>
                    <a:pt x="1943" y="243"/>
                    <a:pt x="1943" y="243"/>
                  </a:cubicBezTo>
                  <a:cubicBezTo>
                    <a:pt x="1942" y="243"/>
                    <a:pt x="1942" y="243"/>
                    <a:pt x="1942" y="243"/>
                  </a:cubicBezTo>
                  <a:cubicBezTo>
                    <a:pt x="1942" y="242"/>
                    <a:pt x="1942" y="242"/>
                    <a:pt x="1942" y="242"/>
                  </a:cubicBezTo>
                  <a:cubicBezTo>
                    <a:pt x="1942" y="242"/>
                    <a:pt x="1942" y="242"/>
                    <a:pt x="1942" y="242"/>
                  </a:cubicBezTo>
                  <a:cubicBezTo>
                    <a:pt x="1940" y="241"/>
                    <a:pt x="1941" y="241"/>
                    <a:pt x="1940" y="240"/>
                  </a:cubicBezTo>
                  <a:cubicBezTo>
                    <a:pt x="1940" y="239"/>
                    <a:pt x="1940" y="239"/>
                    <a:pt x="1940" y="239"/>
                  </a:cubicBezTo>
                  <a:cubicBezTo>
                    <a:pt x="1940" y="239"/>
                    <a:pt x="1940" y="239"/>
                    <a:pt x="1940" y="239"/>
                  </a:cubicBezTo>
                  <a:cubicBezTo>
                    <a:pt x="1939" y="236"/>
                    <a:pt x="1939" y="237"/>
                    <a:pt x="1936" y="235"/>
                  </a:cubicBezTo>
                  <a:cubicBezTo>
                    <a:pt x="1932" y="233"/>
                    <a:pt x="1932" y="233"/>
                    <a:pt x="1932" y="233"/>
                  </a:cubicBezTo>
                  <a:cubicBezTo>
                    <a:pt x="1931" y="232"/>
                    <a:pt x="1931" y="232"/>
                    <a:pt x="1931" y="232"/>
                  </a:cubicBezTo>
                  <a:cubicBezTo>
                    <a:pt x="1930" y="232"/>
                    <a:pt x="1930" y="232"/>
                    <a:pt x="1930" y="232"/>
                  </a:cubicBezTo>
                  <a:cubicBezTo>
                    <a:pt x="1930" y="231"/>
                    <a:pt x="1930" y="231"/>
                    <a:pt x="1930" y="231"/>
                  </a:cubicBezTo>
                  <a:cubicBezTo>
                    <a:pt x="1930" y="231"/>
                    <a:pt x="1930" y="231"/>
                    <a:pt x="1930" y="231"/>
                  </a:cubicBezTo>
                  <a:cubicBezTo>
                    <a:pt x="1930" y="231"/>
                    <a:pt x="1930" y="231"/>
                    <a:pt x="1930" y="231"/>
                  </a:cubicBezTo>
                  <a:cubicBezTo>
                    <a:pt x="1930" y="230"/>
                    <a:pt x="1930" y="230"/>
                    <a:pt x="1930" y="229"/>
                  </a:cubicBezTo>
                  <a:cubicBezTo>
                    <a:pt x="1931" y="229"/>
                    <a:pt x="1931" y="229"/>
                    <a:pt x="1931" y="229"/>
                  </a:cubicBezTo>
                  <a:cubicBezTo>
                    <a:pt x="1931" y="229"/>
                    <a:pt x="1931" y="229"/>
                    <a:pt x="1931" y="229"/>
                  </a:cubicBezTo>
                  <a:cubicBezTo>
                    <a:pt x="1932" y="228"/>
                    <a:pt x="1933" y="228"/>
                    <a:pt x="1934" y="228"/>
                  </a:cubicBezTo>
                  <a:cubicBezTo>
                    <a:pt x="1934" y="228"/>
                    <a:pt x="1934" y="228"/>
                    <a:pt x="1934" y="228"/>
                  </a:cubicBezTo>
                  <a:cubicBezTo>
                    <a:pt x="1935" y="228"/>
                    <a:pt x="1935" y="228"/>
                    <a:pt x="1935" y="228"/>
                  </a:cubicBezTo>
                  <a:cubicBezTo>
                    <a:pt x="1935" y="228"/>
                    <a:pt x="1935" y="228"/>
                    <a:pt x="1935" y="228"/>
                  </a:cubicBezTo>
                  <a:cubicBezTo>
                    <a:pt x="1941" y="227"/>
                    <a:pt x="1937" y="226"/>
                    <a:pt x="1942" y="228"/>
                  </a:cubicBezTo>
                  <a:cubicBezTo>
                    <a:pt x="1943" y="228"/>
                    <a:pt x="1943" y="228"/>
                    <a:pt x="1943" y="228"/>
                  </a:cubicBezTo>
                  <a:cubicBezTo>
                    <a:pt x="1943" y="228"/>
                    <a:pt x="1943" y="228"/>
                    <a:pt x="1943" y="228"/>
                  </a:cubicBezTo>
                  <a:cubicBezTo>
                    <a:pt x="1943" y="228"/>
                    <a:pt x="1943" y="228"/>
                    <a:pt x="1943" y="228"/>
                  </a:cubicBezTo>
                  <a:cubicBezTo>
                    <a:pt x="1943" y="227"/>
                    <a:pt x="1943" y="227"/>
                    <a:pt x="1943" y="227"/>
                  </a:cubicBezTo>
                  <a:cubicBezTo>
                    <a:pt x="1942" y="227"/>
                    <a:pt x="1942" y="227"/>
                    <a:pt x="1942" y="227"/>
                  </a:cubicBezTo>
                  <a:cubicBezTo>
                    <a:pt x="1942" y="227"/>
                    <a:pt x="1942" y="227"/>
                    <a:pt x="1942" y="227"/>
                  </a:cubicBezTo>
                  <a:cubicBezTo>
                    <a:pt x="1942" y="227"/>
                    <a:pt x="1942" y="227"/>
                    <a:pt x="1942" y="227"/>
                  </a:cubicBezTo>
                  <a:cubicBezTo>
                    <a:pt x="1941" y="226"/>
                    <a:pt x="1941" y="226"/>
                    <a:pt x="1941" y="226"/>
                  </a:cubicBezTo>
                  <a:cubicBezTo>
                    <a:pt x="1940" y="226"/>
                    <a:pt x="1940" y="226"/>
                    <a:pt x="1940" y="226"/>
                  </a:cubicBezTo>
                  <a:cubicBezTo>
                    <a:pt x="1939" y="225"/>
                    <a:pt x="1939" y="225"/>
                    <a:pt x="1939" y="225"/>
                  </a:cubicBezTo>
                  <a:cubicBezTo>
                    <a:pt x="1939" y="225"/>
                    <a:pt x="1939" y="225"/>
                    <a:pt x="1939" y="225"/>
                  </a:cubicBezTo>
                  <a:cubicBezTo>
                    <a:pt x="1938" y="223"/>
                    <a:pt x="1937" y="221"/>
                    <a:pt x="1936" y="219"/>
                  </a:cubicBezTo>
                  <a:cubicBezTo>
                    <a:pt x="1935" y="218"/>
                    <a:pt x="1935" y="218"/>
                    <a:pt x="1935"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8"/>
                    <a:pt x="1934" y="218"/>
                  </a:cubicBezTo>
                  <a:cubicBezTo>
                    <a:pt x="1934" y="218"/>
                    <a:pt x="1934" y="219"/>
                    <a:pt x="1934" y="219"/>
                  </a:cubicBezTo>
                  <a:cubicBezTo>
                    <a:pt x="1935" y="219"/>
                    <a:pt x="1935" y="219"/>
                    <a:pt x="1935" y="219"/>
                  </a:cubicBezTo>
                  <a:cubicBezTo>
                    <a:pt x="1935" y="220"/>
                    <a:pt x="1935" y="220"/>
                    <a:pt x="1935" y="220"/>
                  </a:cubicBezTo>
                  <a:cubicBezTo>
                    <a:pt x="1935" y="220"/>
                    <a:pt x="1935" y="220"/>
                    <a:pt x="1935" y="221"/>
                  </a:cubicBezTo>
                  <a:cubicBezTo>
                    <a:pt x="1935" y="221"/>
                    <a:pt x="1935" y="221"/>
                    <a:pt x="1935" y="221"/>
                  </a:cubicBezTo>
                  <a:cubicBezTo>
                    <a:pt x="1935" y="221"/>
                    <a:pt x="1935" y="221"/>
                    <a:pt x="1935" y="221"/>
                  </a:cubicBezTo>
                  <a:cubicBezTo>
                    <a:pt x="1935" y="221"/>
                    <a:pt x="1935" y="221"/>
                    <a:pt x="1935" y="221"/>
                  </a:cubicBezTo>
                  <a:cubicBezTo>
                    <a:pt x="1936" y="222"/>
                    <a:pt x="1937" y="223"/>
                    <a:pt x="1937" y="224"/>
                  </a:cubicBezTo>
                  <a:cubicBezTo>
                    <a:pt x="1937" y="225"/>
                    <a:pt x="1937" y="225"/>
                    <a:pt x="1937" y="225"/>
                  </a:cubicBezTo>
                  <a:cubicBezTo>
                    <a:pt x="1937" y="225"/>
                    <a:pt x="1937" y="225"/>
                    <a:pt x="1937" y="225"/>
                  </a:cubicBezTo>
                  <a:cubicBezTo>
                    <a:pt x="1936" y="225"/>
                    <a:pt x="1936" y="225"/>
                    <a:pt x="1936" y="225"/>
                  </a:cubicBezTo>
                  <a:cubicBezTo>
                    <a:pt x="1934" y="225"/>
                    <a:pt x="1934" y="225"/>
                    <a:pt x="1934" y="225"/>
                  </a:cubicBezTo>
                  <a:cubicBezTo>
                    <a:pt x="1930" y="226"/>
                    <a:pt x="1930" y="226"/>
                    <a:pt x="1930" y="226"/>
                  </a:cubicBezTo>
                  <a:cubicBezTo>
                    <a:pt x="1928" y="226"/>
                    <a:pt x="1928" y="226"/>
                    <a:pt x="1928" y="226"/>
                  </a:cubicBezTo>
                  <a:cubicBezTo>
                    <a:pt x="1927" y="225"/>
                    <a:pt x="1927" y="225"/>
                    <a:pt x="1927" y="225"/>
                  </a:cubicBezTo>
                  <a:cubicBezTo>
                    <a:pt x="1927" y="225"/>
                    <a:pt x="1927" y="225"/>
                    <a:pt x="1927" y="225"/>
                  </a:cubicBezTo>
                  <a:cubicBezTo>
                    <a:pt x="1927" y="225"/>
                    <a:pt x="1927" y="225"/>
                    <a:pt x="1927" y="225"/>
                  </a:cubicBezTo>
                  <a:cubicBezTo>
                    <a:pt x="1927" y="224"/>
                    <a:pt x="1927" y="224"/>
                    <a:pt x="1926" y="223"/>
                  </a:cubicBezTo>
                  <a:cubicBezTo>
                    <a:pt x="1926" y="223"/>
                    <a:pt x="1926" y="223"/>
                    <a:pt x="1926" y="223"/>
                  </a:cubicBezTo>
                  <a:cubicBezTo>
                    <a:pt x="1926" y="222"/>
                    <a:pt x="1926" y="222"/>
                    <a:pt x="1926" y="222"/>
                  </a:cubicBezTo>
                  <a:cubicBezTo>
                    <a:pt x="1923" y="221"/>
                    <a:pt x="1924" y="221"/>
                    <a:pt x="1922" y="219"/>
                  </a:cubicBezTo>
                  <a:cubicBezTo>
                    <a:pt x="1919" y="214"/>
                    <a:pt x="1919" y="214"/>
                    <a:pt x="1919" y="214"/>
                  </a:cubicBezTo>
                  <a:cubicBezTo>
                    <a:pt x="1918" y="210"/>
                    <a:pt x="1918" y="210"/>
                    <a:pt x="1918" y="210"/>
                  </a:cubicBezTo>
                  <a:cubicBezTo>
                    <a:pt x="1920" y="210"/>
                    <a:pt x="1920" y="210"/>
                    <a:pt x="1920" y="210"/>
                  </a:cubicBezTo>
                  <a:cubicBezTo>
                    <a:pt x="1921" y="210"/>
                    <a:pt x="1921" y="210"/>
                    <a:pt x="1921" y="210"/>
                  </a:cubicBezTo>
                  <a:cubicBezTo>
                    <a:pt x="1921" y="211"/>
                    <a:pt x="1921" y="211"/>
                    <a:pt x="1921" y="211"/>
                  </a:cubicBezTo>
                  <a:cubicBezTo>
                    <a:pt x="1922" y="211"/>
                    <a:pt x="1922" y="211"/>
                    <a:pt x="1922" y="211"/>
                  </a:cubicBezTo>
                  <a:cubicBezTo>
                    <a:pt x="1922" y="211"/>
                    <a:pt x="1923" y="211"/>
                    <a:pt x="1924" y="211"/>
                  </a:cubicBezTo>
                  <a:cubicBezTo>
                    <a:pt x="1924" y="212"/>
                    <a:pt x="1924" y="212"/>
                    <a:pt x="1924" y="212"/>
                  </a:cubicBezTo>
                  <a:cubicBezTo>
                    <a:pt x="1924" y="212"/>
                    <a:pt x="1924" y="212"/>
                    <a:pt x="1924" y="212"/>
                  </a:cubicBezTo>
                  <a:cubicBezTo>
                    <a:pt x="1925" y="212"/>
                    <a:pt x="1925" y="212"/>
                    <a:pt x="1925" y="212"/>
                  </a:cubicBezTo>
                  <a:cubicBezTo>
                    <a:pt x="1925" y="213"/>
                    <a:pt x="1925" y="213"/>
                    <a:pt x="1925" y="213"/>
                  </a:cubicBezTo>
                  <a:cubicBezTo>
                    <a:pt x="1925" y="214"/>
                    <a:pt x="1925" y="214"/>
                    <a:pt x="1925" y="214"/>
                  </a:cubicBezTo>
                  <a:cubicBezTo>
                    <a:pt x="1926" y="214"/>
                    <a:pt x="1926" y="214"/>
                    <a:pt x="1926" y="214"/>
                  </a:cubicBezTo>
                  <a:cubicBezTo>
                    <a:pt x="1926" y="214"/>
                    <a:pt x="1926" y="214"/>
                    <a:pt x="1926" y="214"/>
                  </a:cubicBezTo>
                  <a:cubicBezTo>
                    <a:pt x="1926" y="214"/>
                    <a:pt x="1926" y="214"/>
                    <a:pt x="1926" y="214"/>
                  </a:cubicBezTo>
                  <a:cubicBezTo>
                    <a:pt x="1927" y="215"/>
                    <a:pt x="1927" y="215"/>
                    <a:pt x="1927" y="215"/>
                  </a:cubicBezTo>
                  <a:cubicBezTo>
                    <a:pt x="1927" y="215"/>
                    <a:pt x="1927" y="215"/>
                    <a:pt x="1927" y="215"/>
                  </a:cubicBezTo>
                  <a:cubicBezTo>
                    <a:pt x="1928" y="215"/>
                    <a:pt x="1928" y="215"/>
                    <a:pt x="1928" y="215"/>
                  </a:cubicBezTo>
                  <a:cubicBezTo>
                    <a:pt x="1928" y="215"/>
                    <a:pt x="1928" y="215"/>
                    <a:pt x="1928" y="215"/>
                  </a:cubicBezTo>
                  <a:cubicBezTo>
                    <a:pt x="1928" y="216"/>
                    <a:pt x="1929" y="215"/>
                    <a:pt x="1930" y="215"/>
                  </a:cubicBezTo>
                  <a:cubicBezTo>
                    <a:pt x="1930" y="215"/>
                    <a:pt x="1930" y="215"/>
                    <a:pt x="1930" y="215"/>
                  </a:cubicBezTo>
                  <a:cubicBezTo>
                    <a:pt x="1931" y="215"/>
                    <a:pt x="1931" y="215"/>
                    <a:pt x="1931" y="215"/>
                  </a:cubicBezTo>
                  <a:cubicBezTo>
                    <a:pt x="1932" y="216"/>
                    <a:pt x="1932" y="216"/>
                    <a:pt x="1933" y="216"/>
                  </a:cubicBezTo>
                  <a:cubicBezTo>
                    <a:pt x="1934" y="216"/>
                    <a:pt x="1934" y="216"/>
                    <a:pt x="1934" y="216"/>
                  </a:cubicBezTo>
                  <a:cubicBezTo>
                    <a:pt x="1934" y="215"/>
                    <a:pt x="1934" y="215"/>
                    <a:pt x="1934" y="215"/>
                  </a:cubicBezTo>
                  <a:cubicBezTo>
                    <a:pt x="1934" y="215"/>
                    <a:pt x="1934" y="215"/>
                    <a:pt x="1934" y="215"/>
                  </a:cubicBezTo>
                  <a:cubicBezTo>
                    <a:pt x="1935" y="215"/>
                    <a:pt x="1935" y="215"/>
                    <a:pt x="1935" y="215"/>
                  </a:cubicBezTo>
                  <a:cubicBezTo>
                    <a:pt x="1935" y="215"/>
                    <a:pt x="1935" y="215"/>
                    <a:pt x="1935" y="215"/>
                  </a:cubicBezTo>
                  <a:cubicBezTo>
                    <a:pt x="1935" y="215"/>
                    <a:pt x="1935" y="215"/>
                    <a:pt x="1935" y="215"/>
                  </a:cubicBezTo>
                  <a:cubicBezTo>
                    <a:pt x="1936" y="214"/>
                    <a:pt x="1937" y="215"/>
                    <a:pt x="1937" y="215"/>
                  </a:cubicBezTo>
                  <a:cubicBezTo>
                    <a:pt x="1938" y="215"/>
                    <a:pt x="1938" y="215"/>
                    <a:pt x="1938" y="215"/>
                  </a:cubicBezTo>
                  <a:cubicBezTo>
                    <a:pt x="1938" y="215"/>
                    <a:pt x="1938" y="215"/>
                    <a:pt x="1938" y="215"/>
                  </a:cubicBezTo>
                  <a:cubicBezTo>
                    <a:pt x="1939" y="215"/>
                    <a:pt x="1940" y="215"/>
                    <a:pt x="1940" y="215"/>
                  </a:cubicBezTo>
                  <a:cubicBezTo>
                    <a:pt x="1941" y="214"/>
                    <a:pt x="1941" y="214"/>
                    <a:pt x="1941" y="214"/>
                  </a:cubicBezTo>
                  <a:cubicBezTo>
                    <a:pt x="1941" y="214"/>
                    <a:pt x="1941" y="214"/>
                    <a:pt x="1941" y="214"/>
                  </a:cubicBezTo>
                  <a:cubicBezTo>
                    <a:pt x="1941" y="214"/>
                    <a:pt x="1941" y="214"/>
                    <a:pt x="1941" y="214"/>
                  </a:cubicBezTo>
                  <a:cubicBezTo>
                    <a:pt x="1942" y="214"/>
                    <a:pt x="1942" y="214"/>
                    <a:pt x="1942" y="214"/>
                  </a:cubicBezTo>
                  <a:cubicBezTo>
                    <a:pt x="1942" y="214"/>
                    <a:pt x="1942" y="214"/>
                    <a:pt x="1942" y="214"/>
                  </a:cubicBezTo>
                  <a:cubicBezTo>
                    <a:pt x="1942" y="213"/>
                    <a:pt x="1942" y="213"/>
                    <a:pt x="1942" y="213"/>
                  </a:cubicBezTo>
                  <a:cubicBezTo>
                    <a:pt x="1943" y="213"/>
                    <a:pt x="1943" y="213"/>
                    <a:pt x="1943" y="213"/>
                  </a:cubicBezTo>
                  <a:cubicBezTo>
                    <a:pt x="1944" y="211"/>
                    <a:pt x="1944" y="211"/>
                    <a:pt x="1944" y="211"/>
                  </a:cubicBezTo>
                  <a:cubicBezTo>
                    <a:pt x="1944" y="210"/>
                    <a:pt x="1944" y="210"/>
                    <a:pt x="1944" y="210"/>
                  </a:cubicBezTo>
                  <a:cubicBezTo>
                    <a:pt x="1944" y="209"/>
                    <a:pt x="1944" y="209"/>
                    <a:pt x="1944" y="209"/>
                  </a:cubicBezTo>
                  <a:cubicBezTo>
                    <a:pt x="1943" y="207"/>
                    <a:pt x="1943" y="207"/>
                    <a:pt x="1943" y="207"/>
                  </a:cubicBezTo>
                  <a:cubicBezTo>
                    <a:pt x="1942" y="206"/>
                    <a:pt x="1942" y="206"/>
                    <a:pt x="1942" y="206"/>
                  </a:cubicBezTo>
                  <a:cubicBezTo>
                    <a:pt x="1942" y="205"/>
                    <a:pt x="1942" y="205"/>
                    <a:pt x="1942" y="205"/>
                  </a:cubicBezTo>
                  <a:cubicBezTo>
                    <a:pt x="1942" y="205"/>
                    <a:pt x="1942" y="205"/>
                    <a:pt x="1942" y="205"/>
                  </a:cubicBezTo>
                  <a:cubicBezTo>
                    <a:pt x="1942" y="205"/>
                    <a:pt x="1942" y="205"/>
                    <a:pt x="1942" y="205"/>
                  </a:cubicBezTo>
                  <a:cubicBezTo>
                    <a:pt x="1941" y="204"/>
                    <a:pt x="1941" y="204"/>
                    <a:pt x="1941" y="204"/>
                  </a:cubicBezTo>
                  <a:cubicBezTo>
                    <a:pt x="1940" y="204"/>
                    <a:pt x="1940" y="204"/>
                    <a:pt x="1940" y="204"/>
                  </a:cubicBezTo>
                  <a:cubicBezTo>
                    <a:pt x="1939" y="203"/>
                    <a:pt x="1939" y="203"/>
                    <a:pt x="1939" y="203"/>
                  </a:cubicBezTo>
                  <a:cubicBezTo>
                    <a:pt x="1939" y="203"/>
                    <a:pt x="1939" y="203"/>
                    <a:pt x="1939" y="203"/>
                  </a:cubicBezTo>
                  <a:cubicBezTo>
                    <a:pt x="1939" y="202"/>
                    <a:pt x="1939" y="202"/>
                    <a:pt x="1939" y="202"/>
                  </a:cubicBezTo>
                  <a:cubicBezTo>
                    <a:pt x="1939" y="202"/>
                    <a:pt x="1939" y="202"/>
                    <a:pt x="1939" y="202"/>
                  </a:cubicBezTo>
                  <a:cubicBezTo>
                    <a:pt x="1939" y="202"/>
                    <a:pt x="1939" y="202"/>
                    <a:pt x="1939" y="202"/>
                  </a:cubicBezTo>
                  <a:cubicBezTo>
                    <a:pt x="1937" y="201"/>
                    <a:pt x="1937" y="201"/>
                    <a:pt x="1937" y="201"/>
                  </a:cubicBezTo>
                  <a:cubicBezTo>
                    <a:pt x="1936" y="201"/>
                    <a:pt x="1936" y="201"/>
                    <a:pt x="1936" y="201"/>
                  </a:cubicBezTo>
                  <a:cubicBezTo>
                    <a:pt x="1921" y="199"/>
                    <a:pt x="1921" y="199"/>
                    <a:pt x="1921" y="199"/>
                  </a:cubicBezTo>
                  <a:cubicBezTo>
                    <a:pt x="1922" y="198"/>
                    <a:pt x="1922" y="198"/>
                    <a:pt x="1922" y="198"/>
                  </a:cubicBezTo>
                  <a:cubicBezTo>
                    <a:pt x="1923" y="198"/>
                    <a:pt x="1923" y="198"/>
                    <a:pt x="1923" y="198"/>
                  </a:cubicBezTo>
                  <a:cubicBezTo>
                    <a:pt x="1924" y="198"/>
                    <a:pt x="1924" y="198"/>
                    <a:pt x="1924" y="198"/>
                  </a:cubicBezTo>
                  <a:cubicBezTo>
                    <a:pt x="1924" y="198"/>
                    <a:pt x="1924" y="198"/>
                    <a:pt x="1924" y="198"/>
                  </a:cubicBezTo>
                  <a:cubicBezTo>
                    <a:pt x="1926" y="199"/>
                    <a:pt x="1926" y="199"/>
                    <a:pt x="1927" y="199"/>
                  </a:cubicBezTo>
                  <a:cubicBezTo>
                    <a:pt x="1928" y="199"/>
                    <a:pt x="1928" y="199"/>
                    <a:pt x="1928" y="199"/>
                  </a:cubicBezTo>
                  <a:cubicBezTo>
                    <a:pt x="1928" y="199"/>
                    <a:pt x="1928" y="199"/>
                    <a:pt x="1928" y="199"/>
                  </a:cubicBezTo>
                  <a:cubicBezTo>
                    <a:pt x="1929" y="199"/>
                    <a:pt x="1929" y="198"/>
                    <a:pt x="1930" y="197"/>
                  </a:cubicBezTo>
                  <a:cubicBezTo>
                    <a:pt x="1931" y="197"/>
                    <a:pt x="1931" y="197"/>
                    <a:pt x="1931" y="197"/>
                  </a:cubicBezTo>
                  <a:cubicBezTo>
                    <a:pt x="1931" y="197"/>
                    <a:pt x="1931" y="197"/>
                    <a:pt x="1931" y="197"/>
                  </a:cubicBezTo>
                  <a:cubicBezTo>
                    <a:pt x="1931" y="197"/>
                    <a:pt x="1931" y="197"/>
                    <a:pt x="1931" y="197"/>
                  </a:cubicBezTo>
                  <a:cubicBezTo>
                    <a:pt x="1932" y="197"/>
                    <a:pt x="1932" y="197"/>
                    <a:pt x="1932" y="197"/>
                  </a:cubicBezTo>
                  <a:cubicBezTo>
                    <a:pt x="1934" y="197"/>
                    <a:pt x="1932" y="194"/>
                    <a:pt x="1935" y="194"/>
                  </a:cubicBezTo>
                  <a:cubicBezTo>
                    <a:pt x="1935" y="194"/>
                    <a:pt x="1935" y="194"/>
                    <a:pt x="1935" y="194"/>
                  </a:cubicBezTo>
                  <a:cubicBezTo>
                    <a:pt x="1936" y="195"/>
                    <a:pt x="1936" y="195"/>
                    <a:pt x="1936" y="195"/>
                  </a:cubicBezTo>
                  <a:cubicBezTo>
                    <a:pt x="1938" y="195"/>
                    <a:pt x="1937" y="194"/>
                    <a:pt x="1938" y="193"/>
                  </a:cubicBezTo>
                  <a:cubicBezTo>
                    <a:pt x="1939" y="193"/>
                    <a:pt x="1939" y="193"/>
                    <a:pt x="1939" y="193"/>
                  </a:cubicBezTo>
                  <a:cubicBezTo>
                    <a:pt x="1939" y="193"/>
                    <a:pt x="1939" y="193"/>
                    <a:pt x="1939" y="193"/>
                  </a:cubicBezTo>
                  <a:cubicBezTo>
                    <a:pt x="1940" y="193"/>
                    <a:pt x="1940" y="193"/>
                    <a:pt x="1940" y="193"/>
                  </a:cubicBezTo>
                  <a:cubicBezTo>
                    <a:pt x="1938" y="192"/>
                    <a:pt x="1938" y="192"/>
                    <a:pt x="1938" y="192"/>
                  </a:cubicBezTo>
                  <a:cubicBezTo>
                    <a:pt x="1937" y="192"/>
                    <a:pt x="1937" y="192"/>
                    <a:pt x="1937" y="192"/>
                  </a:cubicBezTo>
                  <a:cubicBezTo>
                    <a:pt x="1923" y="186"/>
                    <a:pt x="1923" y="186"/>
                    <a:pt x="1923" y="186"/>
                  </a:cubicBezTo>
                  <a:cubicBezTo>
                    <a:pt x="1923" y="185"/>
                    <a:pt x="1923" y="185"/>
                    <a:pt x="1923" y="185"/>
                  </a:cubicBezTo>
                  <a:cubicBezTo>
                    <a:pt x="1928" y="184"/>
                    <a:pt x="1928" y="184"/>
                    <a:pt x="1928" y="184"/>
                  </a:cubicBezTo>
                  <a:cubicBezTo>
                    <a:pt x="1930" y="183"/>
                    <a:pt x="1932" y="183"/>
                    <a:pt x="1933" y="182"/>
                  </a:cubicBezTo>
                  <a:cubicBezTo>
                    <a:pt x="1934" y="182"/>
                    <a:pt x="1934" y="182"/>
                    <a:pt x="1934" y="182"/>
                  </a:cubicBezTo>
                  <a:cubicBezTo>
                    <a:pt x="1934" y="182"/>
                    <a:pt x="1934" y="182"/>
                    <a:pt x="1934" y="182"/>
                  </a:cubicBezTo>
                  <a:cubicBezTo>
                    <a:pt x="1934" y="182"/>
                    <a:pt x="1934" y="182"/>
                    <a:pt x="1934" y="182"/>
                  </a:cubicBezTo>
                  <a:cubicBezTo>
                    <a:pt x="1934" y="182"/>
                    <a:pt x="1934" y="182"/>
                    <a:pt x="1934" y="182"/>
                  </a:cubicBezTo>
                  <a:cubicBezTo>
                    <a:pt x="1934" y="181"/>
                    <a:pt x="1934" y="181"/>
                    <a:pt x="1934" y="181"/>
                  </a:cubicBezTo>
                  <a:cubicBezTo>
                    <a:pt x="1934" y="181"/>
                    <a:pt x="1934" y="181"/>
                    <a:pt x="1934" y="181"/>
                  </a:cubicBezTo>
                  <a:cubicBezTo>
                    <a:pt x="1935" y="181"/>
                    <a:pt x="1935" y="181"/>
                    <a:pt x="1935" y="181"/>
                  </a:cubicBezTo>
                  <a:cubicBezTo>
                    <a:pt x="1935" y="181"/>
                    <a:pt x="1935" y="181"/>
                    <a:pt x="1935" y="181"/>
                  </a:cubicBezTo>
                  <a:cubicBezTo>
                    <a:pt x="1935" y="181"/>
                    <a:pt x="1935" y="181"/>
                    <a:pt x="1935" y="181"/>
                  </a:cubicBezTo>
                  <a:cubicBezTo>
                    <a:pt x="1935" y="180"/>
                    <a:pt x="1935" y="180"/>
                    <a:pt x="1935" y="180"/>
                  </a:cubicBezTo>
                  <a:cubicBezTo>
                    <a:pt x="1935" y="180"/>
                    <a:pt x="1935" y="180"/>
                    <a:pt x="1935" y="180"/>
                  </a:cubicBezTo>
                  <a:cubicBezTo>
                    <a:pt x="1935" y="180"/>
                    <a:pt x="1935" y="180"/>
                    <a:pt x="1935" y="180"/>
                  </a:cubicBezTo>
                  <a:cubicBezTo>
                    <a:pt x="1935" y="180"/>
                    <a:pt x="1935" y="180"/>
                    <a:pt x="1935" y="180"/>
                  </a:cubicBezTo>
                  <a:cubicBezTo>
                    <a:pt x="1935" y="179"/>
                    <a:pt x="1935" y="179"/>
                    <a:pt x="1935" y="179"/>
                  </a:cubicBezTo>
                  <a:cubicBezTo>
                    <a:pt x="1935" y="179"/>
                    <a:pt x="1935" y="179"/>
                    <a:pt x="1935" y="179"/>
                  </a:cubicBezTo>
                  <a:cubicBezTo>
                    <a:pt x="1936" y="179"/>
                    <a:pt x="1936" y="179"/>
                    <a:pt x="1936" y="179"/>
                  </a:cubicBezTo>
                  <a:cubicBezTo>
                    <a:pt x="1936" y="179"/>
                    <a:pt x="1936" y="179"/>
                    <a:pt x="1936" y="179"/>
                  </a:cubicBezTo>
                  <a:cubicBezTo>
                    <a:pt x="1936" y="178"/>
                    <a:pt x="1936" y="178"/>
                    <a:pt x="1936" y="178"/>
                  </a:cubicBezTo>
                  <a:cubicBezTo>
                    <a:pt x="1936" y="178"/>
                    <a:pt x="1936" y="178"/>
                    <a:pt x="1936" y="178"/>
                  </a:cubicBezTo>
                  <a:cubicBezTo>
                    <a:pt x="1935" y="178"/>
                    <a:pt x="1935" y="178"/>
                    <a:pt x="1935" y="178"/>
                  </a:cubicBezTo>
                  <a:cubicBezTo>
                    <a:pt x="1935" y="177"/>
                    <a:pt x="1935" y="177"/>
                    <a:pt x="1935" y="177"/>
                  </a:cubicBezTo>
                  <a:cubicBezTo>
                    <a:pt x="1935" y="177"/>
                    <a:pt x="1935" y="177"/>
                    <a:pt x="1935" y="177"/>
                  </a:cubicBezTo>
                  <a:cubicBezTo>
                    <a:pt x="1933" y="176"/>
                    <a:pt x="1933" y="176"/>
                    <a:pt x="1933" y="176"/>
                  </a:cubicBezTo>
                  <a:cubicBezTo>
                    <a:pt x="1933" y="176"/>
                    <a:pt x="1933" y="176"/>
                    <a:pt x="1933" y="176"/>
                  </a:cubicBezTo>
                  <a:cubicBezTo>
                    <a:pt x="1933" y="176"/>
                    <a:pt x="1933" y="176"/>
                    <a:pt x="1933" y="176"/>
                  </a:cubicBezTo>
                  <a:cubicBezTo>
                    <a:pt x="1932" y="175"/>
                    <a:pt x="1932" y="175"/>
                    <a:pt x="1932" y="175"/>
                  </a:cubicBezTo>
                  <a:cubicBezTo>
                    <a:pt x="1931" y="174"/>
                    <a:pt x="1931" y="174"/>
                    <a:pt x="1931" y="174"/>
                  </a:cubicBezTo>
                  <a:cubicBezTo>
                    <a:pt x="1929" y="173"/>
                    <a:pt x="1929" y="173"/>
                    <a:pt x="1929" y="173"/>
                  </a:cubicBezTo>
                  <a:cubicBezTo>
                    <a:pt x="1924" y="171"/>
                    <a:pt x="1924" y="171"/>
                    <a:pt x="1924" y="171"/>
                  </a:cubicBezTo>
                  <a:cubicBezTo>
                    <a:pt x="1921" y="169"/>
                    <a:pt x="1921" y="169"/>
                    <a:pt x="1921" y="169"/>
                  </a:cubicBezTo>
                  <a:cubicBezTo>
                    <a:pt x="1919" y="168"/>
                    <a:pt x="1919" y="168"/>
                    <a:pt x="1919" y="168"/>
                  </a:cubicBezTo>
                  <a:cubicBezTo>
                    <a:pt x="1916" y="166"/>
                    <a:pt x="1916" y="166"/>
                    <a:pt x="1916" y="166"/>
                  </a:cubicBezTo>
                  <a:cubicBezTo>
                    <a:pt x="1914" y="164"/>
                    <a:pt x="1902" y="163"/>
                    <a:pt x="1897" y="162"/>
                  </a:cubicBezTo>
                  <a:cubicBezTo>
                    <a:pt x="1897" y="162"/>
                    <a:pt x="1897" y="162"/>
                    <a:pt x="1897" y="162"/>
                  </a:cubicBezTo>
                  <a:cubicBezTo>
                    <a:pt x="1897" y="162"/>
                    <a:pt x="1897" y="162"/>
                    <a:pt x="1897" y="162"/>
                  </a:cubicBezTo>
                  <a:cubicBezTo>
                    <a:pt x="1896" y="162"/>
                    <a:pt x="1896" y="162"/>
                    <a:pt x="1896" y="162"/>
                  </a:cubicBezTo>
                  <a:cubicBezTo>
                    <a:pt x="1896" y="162"/>
                    <a:pt x="1896" y="162"/>
                    <a:pt x="1896" y="162"/>
                  </a:cubicBezTo>
                  <a:cubicBezTo>
                    <a:pt x="1895" y="162"/>
                    <a:pt x="1895" y="162"/>
                    <a:pt x="1895" y="162"/>
                  </a:cubicBezTo>
                  <a:cubicBezTo>
                    <a:pt x="1895" y="162"/>
                    <a:pt x="1895" y="162"/>
                    <a:pt x="1895" y="162"/>
                  </a:cubicBezTo>
                  <a:cubicBezTo>
                    <a:pt x="1894" y="163"/>
                    <a:pt x="1894" y="163"/>
                    <a:pt x="1894" y="163"/>
                  </a:cubicBezTo>
                  <a:cubicBezTo>
                    <a:pt x="1894" y="163"/>
                    <a:pt x="1894" y="163"/>
                    <a:pt x="1894" y="163"/>
                  </a:cubicBezTo>
                  <a:cubicBezTo>
                    <a:pt x="1894" y="164"/>
                    <a:pt x="1894" y="164"/>
                    <a:pt x="1894" y="164"/>
                  </a:cubicBezTo>
                  <a:cubicBezTo>
                    <a:pt x="1893" y="166"/>
                    <a:pt x="1893" y="166"/>
                    <a:pt x="1893" y="166"/>
                  </a:cubicBezTo>
                  <a:cubicBezTo>
                    <a:pt x="1892" y="167"/>
                    <a:pt x="1892" y="167"/>
                    <a:pt x="1892" y="167"/>
                  </a:cubicBezTo>
                  <a:cubicBezTo>
                    <a:pt x="1891" y="168"/>
                    <a:pt x="1891" y="168"/>
                    <a:pt x="1891" y="168"/>
                  </a:cubicBezTo>
                  <a:cubicBezTo>
                    <a:pt x="1887" y="168"/>
                    <a:pt x="1887" y="168"/>
                    <a:pt x="1887" y="168"/>
                  </a:cubicBezTo>
                  <a:cubicBezTo>
                    <a:pt x="1884" y="169"/>
                    <a:pt x="1884" y="169"/>
                    <a:pt x="1884" y="169"/>
                  </a:cubicBezTo>
                  <a:cubicBezTo>
                    <a:pt x="1880" y="166"/>
                    <a:pt x="1880" y="166"/>
                    <a:pt x="1880" y="166"/>
                  </a:cubicBezTo>
                  <a:cubicBezTo>
                    <a:pt x="1880" y="166"/>
                    <a:pt x="1880" y="166"/>
                    <a:pt x="1880" y="166"/>
                  </a:cubicBezTo>
                  <a:cubicBezTo>
                    <a:pt x="1880" y="165"/>
                    <a:pt x="1880" y="165"/>
                    <a:pt x="1880" y="165"/>
                  </a:cubicBezTo>
                  <a:cubicBezTo>
                    <a:pt x="1881" y="165"/>
                    <a:pt x="1881" y="165"/>
                    <a:pt x="1881" y="165"/>
                  </a:cubicBezTo>
                  <a:cubicBezTo>
                    <a:pt x="1882" y="165"/>
                    <a:pt x="1882" y="165"/>
                    <a:pt x="1882" y="165"/>
                  </a:cubicBezTo>
                  <a:cubicBezTo>
                    <a:pt x="1883" y="165"/>
                    <a:pt x="1883" y="165"/>
                    <a:pt x="1883" y="165"/>
                  </a:cubicBezTo>
                  <a:cubicBezTo>
                    <a:pt x="1884" y="164"/>
                    <a:pt x="1884" y="164"/>
                    <a:pt x="1884" y="164"/>
                  </a:cubicBezTo>
                  <a:cubicBezTo>
                    <a:pt x="1884" y="164"/>
                    <a:pt x="1884" y="164"/>
                    <a:pt x="1884" y="164"/>
                  </a:cubicBezTo>
                  <a:cubicBezTo>
                    <a:pt x="1884" y="164"/>
                    <a:pt x="1884" y="164"/>
                    <a:pt x="1884" y="164"/>
                  </a:cubicBezTo>
                  <a:cubicBezTo>
                    <a:pt x="1884" y="164"/>
                    <a:pt x="1884" y="164"/>
                    <a:pt x="1884" y="164"/>
                  </a:cubicBezTo>
                  <a:cubicBezTo>
                    <a:pt x="1884" y="163"/>
                    <a:pt x="1884" y="163"/>
                    <a:pt x="1884" y="163"/>
                  </a:cubicBezTo>
                  <a:cubicBezTo>
                    <a:pt x="1883" y="163"/>
                    <a:pt x="1883" y="163"/>
                    <a:pt x="1883" y="163"/>
                  </a:cubicBezTo>
                  <a:cubicBezTo>
                    <a:pt x="1883" y="163"/>
                    <a:pt x="1883" y="163"/>
                    <a:pt x="1883" y="163"/>
                  </a:cubicBezTo>
                  <a:cubicBezTo>
                    <a:pt x="1883" y="163"/>
                    <a:pt x="1883" y="163"/>
                    <a:pt x="1883" y="163"/>
                  </a:cubicBezTo>
                  <a:cubicBezTo>
                    <a:pt x="1882" y="162"/>
                    <a:pt x="1881" y="162"/>
                    <a:pt x="1879" y="162"/>
                  </a:cubicBezTo>
                  <a:cubicBezTo>
                    <a:pt x="1876" y="162"/>
                    <a:pt x="1876" y="162"/>
                    <a:pt x="1876" y="162"/>
                  </a:cubicBezTo>
                  <a:cubicBezTo>
                    <a:pt x="1874" y="162"/>
                    <a:pt x="1874" y="162"/>
                    <a:pt x="1874" y="162"/>
                  </a:cubicBezTo>
                  <a:cubicBezTo>
                    <a:pt x="1871" y="163"/>
                    <a:pt x="1871" y="163"/>
                    <a:pt x="1871" y="163"/>
                  </a:cubicBezTo>
                  <a:cubicBezTo>
                    <a:pt x="1870" y="163"/>
                    <a:pt x="1870" y="163"/>
                    <a:pt x="1870" y="163"/>
                  </a:cubicBezTo>
                  <a:cubicBezTo>
                    <a:pt x="1869" y="163"/>
                    <a:pt x="1869" y="163"/>
                    <a:pt x="1869" y="163"/>
                  </a:cubicBezTo>
                  <a:cubicBezTo>
                    <a:pt x="1869" y="163"/>
                    <a:pt x="1869" y="163"/>
                    <a:pt x="1869" y="163"/>
                  </a:cubicBezTo>
                  <a:cubicBezTo>
                    <a:pt x="1868" y="162"/>
                    <a:pt x="1868" y="162"/>
                    <a:pt x="1868" y="162"/>
                  </a:cubicBezTo>
                  <a:cubicBezTo>
                    <a:pt x="1868" y="162"/>
                    <a:pt x="1868" y="162"/>
                    <a:pt x="1868" y="162"/>
                  </a:cubicBezTo>
                  <a:cubicBezTo>
                    <a:pt x="1868" y="162"/>
                    <a:pt x="1868" y="162"/>
                    <a:pt x="1868" y="162"/>
                  </a:cubicBezTo>
                  <a:cubicBezTo>
                    <a:pt x="1867" y="162"/>
                    <a:pt x="1867" y="162"/>
                    <a:pt x="1867" y="162"/>
                  </a:cubicBezTo>
                  <a:cubicBezTo>
                    <a:pt x="1867" y="162"/>
                    <a:pt x="1867" y="162"/>
                    <a:pt x="1867" y="162"/>
                  </a:cubicBezTo>
                  <a:cubicBezTo>
                    <a:pt x="1866" y="162"/>
                    <a:pt x="1866" y="162"/>
                    <a:pt x="1866" y="162"/>
                  </a:cubicBezTo>
                  <a:cubicBezTo>
                    <a:pt x="1866" y="162"/>
                    <a:pt x="1866" y="162"/>
                    <a:pt x="1866" y="162"/>
                  </a:cubicBezTo>
                  <a:cubicBezTo>
                    <a:pt x="1866" y="162"/>
                    <a:pt x="1866" y="162"/>
                    <a:pt x="1866" y="162"/>
                  </a:cubicBezTo>
                  <a:cubicBezTo>
                    <a:pt x="1866" y="161"/>
                    <a:pt x="1866" y="161"/>
                    <a:pt x="1866" y="161"/>
                  </a:cubicBezTo>
                  <a:cubicBezTo>
                    <a:pt x="1866" y="161"/>
                    <a:pt x="1866" y="161"/>
                    <a:pt x="1866" y="161"/>
                  </a:cubicBezTo>
                  <a:cubicBezTo>
                    <a:pt x="1865" y="161"/>
                    <a:pt x="1865" y="161"/>
                    <a:pt x="1865" y="161"/>
                  </a:cubicBezTo>
                  <a:cubicBezTo>
                    <a:pt x="1864" y="161"/>
                    <a:pt x="1864" y="161"/>
                    <a:pt x="1864" y="161"/>
                  </a:cubicBezTo>
                  <a:cubicBezTo>
                    <a:pt x="1863" y="161"/>
                    <a:pt x="1863" y="161"/>
                    <a:pt x="1863" y="161"/>
                  </a:cubicBezTo>
                  <a:cubicBezTo>
                    <a:pt x="1862" y="161"/>
                    <a:pt x="1862" y="161"/>
                    <a:pt x="1862" y="161"/>
                  </a:cubicBezTo>
                  <a:cubicBezTo>
                    <a:pt x="1861" y="161"/>
                    <a:pt x="1861" y="161"/>
                    <a:pt x="1861" y="161"/>
                  </a:cubicBezTo>
                  <a:cubicBezTo>
                    <a:pt x="1861" y="161"/>
                    <a:pt x="1861" y="161"/>
                    <a:pt x="1861" y="161"/>
                  </a:cubicBezTo>
                  <a:cubicBezTo>
                    <a:pt x="1861" y="161"/>
                    <a:pt x="1861" y="161"/>
                    <a:pt x="1861" y="161"/>
                  </a:cubicBezTo>
                  <a:cubicBezTo>
                    <a:pt x="1861" y="160"/>
                    <a:pt x="1861" y="160"/>
                    <a:pt x="1861" y="160"/>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9"/>
                    <a:pt x="1861" y="159"/>
                    <a:pt x="1861" y="159"/>
                  </a:cubicBezTo>
                  <a:cubicBezTo>
                    <a:pt x="1861" y="158"/>
                    <a:pt x="1861" y="158"/>
                    <a:pt x="1861" y="158"/>
                  </a:cubicBezTo>
                  <a:cubicBezTo>
                    <a:pt x="1860" y="158"/>
                    <a:pt x="1860" y="158"/>
                    <a:pt x="1860" y="158"/>
                  </a:cubicBezTo>
                  <a:cubicBezTo>
                    <a:pt x="1860" y="158"/>
                    <a:pt x="1860" y="158"/>
                    <a:pt x="1860" y="158"/>
                  </a:cubicBezTo>
                  <a:cubicBezTo>
                    <a:pt x="1860" y="158"/>
                    <a:pt x="1860" y="158"/>
                    <a:pt x="1860" y="158"/>
                  </a:cubicBezTo>
                  <a:cubicBezTo>
                    <a:pt x="1860" y="158"/>
                    <a:pt x="1860" y="158"/>
                    <a:pt x="1860" y="158"/>
                  </a:cubicBezTo>
                  <a:cubicBezTo>
                    <a:pt x="1860" y="158"/>
                    <a:pt x="1860" y="158"/>
                    <a:pt x="1860" y="158"/>
                  </a:cubicBezTo>
                  <a:cubicBezTo>
                    <a:pt x="1860" y="157"/>
                    <a:pt x="1860" y="157"/>
                    <a:pt x="1860" y="157"/>
                  </a:cubicBezTo>
                  <a:cubicBezTo>
                    <a:pt x="1860" y="157"/>
                    <a:pt x="1860" y="157"/>
                    <a:pt x="1860" y="157"/>
                  </a:cubicBezTo>
                  <a:cubicBezTo>
                    <a:pt x="1860" y="157"/>
                    <a:pt x="1860" y="157"/>
                    <a:pt x="1860" y="157"/>
                  </a:cubicBezTo>
                  <a:cubicBezTo>
                    <a:pt x="1858" y="156"/>
                    <a:pt x="1856" y="157"/>
                    <a:pt x="1855" y="157"/>
                  </a:cubicBezTo>
                  <a:cubicBezTo>
                    <a:pt x="1854" y="157"/>
                    <a:pt x="1854" y="157"/>
                    <a:pt x="1854" y="157"/>
                  </a:cubicBezTo>
                  <a:cubicBezTo>
                    <a:pt x="1854" y="156"/>
                    <a:pt x="1854" y="156"/>
                    <a:pt x="1854" y="156"/>
                  </a:cubicBezTo>
                  <a:cubicBezTo>
                    <a:pt x="1854" y="156"/>
                    <a:pt x="1854" y="156"/>
                    <a:pt x="1854" y="156"/>
                  </a:cubicBezTo>
                  <a:cubicBezTo>
                    <a:pt x="1854" y="156"/>
                    <a:pt x="1854" y="156"/>
                    <a:pt x="1854" y="156"/>
                  </a:cubicBezTo>
                  <a:cubicBezTo>
                    <a:pt x="1854" y="156"/>
                    <a:pt x="1854" y="156"/>
                    <a:pt x="1854" y="156"/>
                  </a:cubicBezTo>
                  <a:cubicBezTo>
                    <a:pt x="1853" y="156"/>
                    <a:pt x="1853" y="156"/>
                    <a:pt x="1853" y="156"/>
                  </a:cubicBezTo>
                  <a:cubicBezTo>
                    <a:pt x="1850" y="156"/>
                    <a:pt x="1853" y="155"/>
                    <a:pt x="1850" y="155"/>
                  </a:cubicBezTo>
                  <a:cubicBezTo>
                    <a:pt x="1849" y="155"/>
                    <a:pt x="1849" y="155"/>
                    <a:pt x="1849" y="155"/>
                  </a:cubicBezTo>
                  <a:cubicBezTo>
                    <a:pt x="1849" y="155"/>
                    <a:pt x="1849" y="155"/>
                    <a:pt x="1849" y="155"/>
                  </a:cubicBezTo>
                  <a:cubicBezTo>
                    <a:pt x="1847" y="154"/>
                    <a:pt x="1848" y="154"/>
                    <a:pt x="1846" y="154"/>
                  </a:cubicBezTo>
                  <a:cubicBezTo>
                    <a:pt x="1846" y="153"/>
                    <a:pt x="1846" y="153"/>
                    <a:pt x="1846" y="153"/>
                  </a:cubicBezTo>
                  <a:cubicBezTo>
                    <a:pt x="1845" y="153"/>
                    <a:pt x="1845" y="153"/>
                    <a:pt x="1845" y="153"/>
                  </a:cubicBezTo>
                  <a:cubicBezTo>
                    <a:pt x="1845" y="153"/>
                    <a:pt x="1845" y="153"/>
                    <a:pt x="1845" y="153"/>
                  </a:cubicBezTo>
                  <a:cubicBezTo>
                    <a:pt x="1846" y="153"/>
                    <a:pt x="1846" y="153"/>
                    <a:pt x="1846" y="153"/>
                  </a:cubicBezTo>
                  <a:cubicBezTo>
                    <a:pt x="1846" y="153"/>
                    <a:pt x="1846" y="153"/>
                    <a:pt x="1846" y="153"/>
                  </a:cubicBezTo>
                  <a:cubicBezTo>
                    <a:pt x="1845" y="153"/>
                    <a:pt x="1845" y="153"/>
                    <a:pt x="1845" y="153"/>
                  </a:cubicBezTo>
                  <a:cubicBezTo>
                    <a:pt x="1843" y="154"/>
                    <a:pt x="1843" y="154"/>
                    <a:pt x="1843" y="154"/>
                  </a:cubicBezTo>
                  <a:cubicBezTo>
                    <a:pt x="1840" y="156"/>
                    <a:pt x="1840" y="156"/>
                    <a:pt x="1840" y="156"/>
                  </a:cubicBezTo>
                  <a:cubicBezTo>
                    <a:pt x="1839" y="156"/>
                    <a:pt x="1839" y="156"/>
                    <a:pt x="1839" y="156"/>
                  </a:cubicBezTo>
                  <a:cubicBezTo>
                    <a:pt x="1838" y="157"/>
                    <a:pt x="1838" y="157"/>
                    <a:pt x="1838" y="157"/>
                  </a:cubicBezTo>
                  <a:cubicBezTo>
                    <a:pt x="1838" y="157"/>
                    <a:pt x="1838" y="157"/>
                    <a:pt x="1838" y="157"/>
                  </a:cubicBezTo>
                  <a:cubicBezTo>
                    <a:pt x="1838" y="156"/>
                    <a:pt x="1839" y="156"/>
                    <a:pt x="1838" y="155"/>
                  </a:cubicBezTo>
                  <a:cubicBezTo>
                    <a:pt x="1838" y="155"/>
                    <a:pt x="1838" y="155"/>
                    <a:pt x="1838" y="155"/>
                  </a:cubicBezTo>
                  <a:cubicBezTo>
                    <a:pt x="1838" y="155"/>
                    <a:pt x="1838" y="155"/>
                    <a:pt x="1838" y="155"/>
                  </a:cubicBezTo>
                  <a:cubicBezTo>
                    <a:pt x="1838" y="155"/>
                    <a:pt x="1838" y="155"/>
                    <a:pt x="1838" y="155"/>
                  </a:cubicBezTo>
                  <a:cubicBezTo>
                    <a:pt x="1838" y="154"/>
                    <a:pt x="1838" y="154"/>
                    <a:pt x="1837" y="154"/>
                  </a:cubicBezTo>
                  <a:cubicBezTo>
                    <a:pt x="1836" y="154"/>
                    <a:pt x="1836" y="154"/>
                    <a:pt x="1836" y="154"/>
                  </a:cubicBezTo>
                  <a:cubicBezTo>
                    <a:pt x="1836" y="154"/>
                    <a:pt x="1836" y="154"/>
                    <a:pt x="1836" y="154"/>
                  </a:cubicBezTo>
                  <a:cubicBezTo>
                    <a:pt x="1836" y="155"/>
                    <a:pt x="1836" y="155"/>
                    <a:pt x="1836" y="155"/>
                  </a:cubicBezTo>
                  <a:cubicBezTo>
                    <a:pt x="1837" y="157"/>
                    <a:pt x="1837" y="157"/>
                    <a:pt x="1837" y="157"/>
                  </a:cubicBezTo>
                  <a:cubicBezTo>
                    <a:pt x="1837" y="158"/>
                    <a:pt x="1837" y="158"/>
                    <a:pt x="1837" y="158"/>
                  </a:cubicBezTo>
                  <a:cubicBezTo>
                    <a:pt x="1837" y="158"/>
                    <a:pt x="1837" y="158"/>
                    <a:pt x="1837" y="158"/>
                  </a:cubicBezTo>
                  <a:cubicBezTo>
                    <a:pt x="1838" y="158"/>
                    <a:pt x="1838" y="158"/>
                    <a:pt x="1838" y="158"/>
                  </a:cubicBezTo>
                  <a:cubicBezTo>
                    <a:pt x="1838" y="159"/>
                    <a:pt x="1838" y="159"/>
                    <a:pt x="1838" y="159"/>
                  </a:cubicBezTo>
                  <a:cubicBezTo>
                    <a:pt x="1837" y="159"/>
                    <a:pt x="1837" y="159"/>
                    <a:pt x="1837" y="159"/>
                  </a:cubicBezTo>
                  <a:cubicBezTo>
                    <a:pt x="1836" y="159"/>
                    <a:pt x="1834" y="159"/>
                    <a:pt x="1833" y="160"/>
                  </a:cubicBezTo>
                  <a:cubicBezTo>
                    <a:pt x="1833" y="160"/>
                    <a:pt x="1833" y="160"/>
                    <a:pt x="1833" y="160"/>
                  </a:cubicBezTo>
                  <a:cubicBezTo>
                    <a:pt x="1832" y="160"/>
                    <a:pt x="1832" y="160"/>
                    <a:pt x="1832" y="160"/>
                  </a:cubicBezTo>
                  <a:cubicBezTo>
                    <a:pt x="1832" y="160"/>
                    <a:pt x="1832" y="160"/>
                    <a:pt x="1832" y="160"/>
                  </a:cubicBezTo>
                  <a:cubicBezTo>
                    <a:pt x="1832" y="160"/>
                    <a:pt x="1832" y="160"/>
                    <a:pt x="1832" y="160"/>
                  </a:cubicBezTo>
                  <a:cubicBezTo>
                    <a:pt x="1831" y="160"/>
                    <a:pt x="1831" y="160"/>
                    <a:pt x="1831" y="160"/>
                  </a:cubicBezTo>
                  <a:cubicBezTo>
                    <a:pt x="1831" y="160"/>
                    <a:pt x="1831" y="160"/>
                    <a:pt x="1831" y="160"/>
                  </a:cubicBezTo>
                  <a:cubicBezTo>
                    <a:pt x="1831" y="160"/>
                    <a:pt x="1831" y="160"/>
                    <a:pt x="1831" y="160"/>
                  </a:cubicBezTo>
                  <a:cubicBezTo>
                    <a:pt x="1831" y="159"/>
                    <a:pt x="1831" y="159"/>
                    <a:pt x="1831" y="159"/>
                  </a:cubicBezTo>
                  <a:cubicBezTo>
                    <a:pt x="1831" y="159"/>
                    <a:pt x="1831" y="159"/>
                    <a:pt x="1831" y="159"/>
                  </a:cubicBezTo>
                  <a:cubicBezTo>
                    <a:pt x="1831" y="159"/>
                    <a:pt x="1831" y="159"/>
                    <a:pt x="1831" y="159"/>
                  </a:cubicBezTo>
                  <a:cubicBezTo>
                    <a:pt x="1830" y="159"/>
                    <a:pt x="1830" y="159"/>
                    <a:pt x="1830" y="159"/>
                  </a:cubicBezTo>
                  <a:cubicBezTo>
                    <a:pt x="1830" y="159"/>
                    <a:pt x="1830" y="159"/>
                    <a:pt x="1830" y="159"/>
                  </a:cubicBezTo>
                  <a:cubicBezTo>
                    <a:pt x="1830" y="158"/>
                    <a:pt x="1830" y="158"/>
                    <a:pt x="1830" y="158"/>
                  </a:cubicBezTo>
                  <a:cubicBezTo>
                    <a:pt x="1830" y="158"/>
                    <a:pt x="1830" y="158"/>
                    <a:pt x="1830" y="158"/>
                  </a:cubicBezTo>
                  <a:cubicBezTo>
                    <a:pt x="1830" y="157"/>
                    <a:pt x="1830" y="157"/>
                    <a:pt x="1830" y="157"/>
                  </a:cubicBezTo>
                  <a:cubicBezTo>
                    <a:pt x="1830" y="157"/>
                    <a:pt x="1830" y="157"/>
                    <a:pt x="1830" y="157"/>
                  </a:cubicBezTo>
                  <a:cubicBezTo>
                    <a:pt x="1830" y="156"/>
                    <a:pt x="1830" y="156"/>
                    <a:pt x="1830" y="156"/>
                  </a:cubicBezTo>
                  <a:cubicBezTo>
                    <a:pt x="1830" y="156"/>
                    <a:pt x="1830" y="156"/>
                    <a:pt x="1830" y="156"/>
                  </a:cubicBezTo>
                  <a:cubicBezTo>
                    <a:pt x="1830" y="156"/>
                    <a:pt x="1830" y="156"/>
                    <a:pt x="1830" y="156"/>
                  </a:cubicBezTo>
                  <a:cubicBezTo>
                    <a:pt x="1829" y="156"/>
                    <a:pt x="1829" y="156"/>
                    <a:pt x="1829" y="156"/>
                  </a:cubicBezTo>
                  <a:cubicBezTo>
                    <a:pt x="1829" y="157"/>
                    <a:pt x="1829" y="157"/>
                    <a:pt x="1829" y="157"/>
                  </a:cubicBezTo>
                  <a:cubicBezTo>
                    <a:pt x="1828" y="157"/>
                    <a:pt x="1828" y="157"/>
                    <a:pt x="1828" y="157"/>
                  </a:cubicBezTo>
                  <a:cubicBezTo>
                    <a:pt x="1828" y="157"/>
                    <a:pt x="1828" y="157"/>
                    <a:pt x="1828" y="157"/>
                  </a:cubicBezTo>
                  <a:cubicBezTo>
                    <a:pt x="1827" y="157"/>
                    <a:pt x="1827" y="157"/>
                    <a:pt x="1827" y="157"/>
                  </a:cubicBezTo>
                  <a:cubicBezTo>
                    <a:pt x="1827" y="158"/>
                    <a:pt x="1827" y="158"/>
                    <a:pt x="1827" y="158"/>
                  </a:cubicBezTo>
                  <a:cubicBezTo>
                    <a:pt x="1826" y="158"/>
                    <a:pt x="1826" y="158"/>
                    <a:pt x="1826" y="158"/>
                  </a:cubicBezTo>
                  <a:cubicBezTo>
                    <a:pt x="1826" y="159"/>
                    <a:pt x="1826" y="159"/>
                    <a:pt x="1826" y="159"/>
                  </a:cubicBezTo>
                  <a:cubicBezTo>
                    <a:pt x="1825" y="161"/>
                    <a:pt x="1825" y="161"/>
                    <a:pt x="1825" y="161"/>
                  </a:cubicBezTo>
                  <a:cubicBezTo>
                    <a:pt x="1825" y="162"/>
                    <a:pt x="1825" y="162"/>
                    <a:pt x="1825" y="162"/>
                  </a:cubicBezTo>
                  <a:cubicBezTo>
                    <a:pt x="1826" y="164"/>
                    <a:pt x="1826" y="164"/>
                    <a:pt x="1826" y="164"/>
                  </a:cubicBezTo>
                  <a:cubicBezTo>
                    <a:pt x="1826" y="165"/>
                    <a:pt x="1826" y="165"/>
                    <a:pt x="1826" y="165"/>
                  </a:cubicBezTo>
                  <a:cubicBezTo>
                    <a:pt x="1827" y="165"/>
                    <a:pt x="1827" y="165"/>
                    <a:pt x="1827" y="165"/>
                  </a:cubicBezTo>
                  <a:cubicBezTo>
                    <a:pt x="1826" y="166"/>
                    <a:pt x="1826" y="166"/>
                    <a:pt x="1826" y="166"/>
                  </a:cubicBezTo>
                  <a:cubicBezTo>
                    <a:pt x="1825" y="165"/>
                    <a:pt x="1825" y="165"/>
                    <a:pt x="1825" y="165"/>
                  </a:cubicBezTo>
                  <a:cubicBezTo>
                    <a:pt x="1825" y="165"/>
                    <a:pt x="1825" y="165"/>
                    <a:pt x="1825" y="165"/>
                  </a:cubicBezTo>
                  <a:cubicBezTo>
                    <a:pt x="1824" y="165"/>
                    <a:pt x="1824" y="165"/>
                    <a:pt x="1824" y="165"/>
                  </a:cubicBezTo>
                  <a:cubicBezTo>
                    <a:pt x="1824" y="166"/>
                    <a:pt x="1824" y="166"/>
                    <a:pt x="1824" y="166"/>
                  </a:cubicBezTo>
                  <a:cubicBezTo>
                    <a:pt x="1824" y="167"/>
                    <a:pt x="1824" y="167"/>
                    <a:pt x="1824" y="167"/>
                  </a:cubicBezTo>
                  <a:cubicBezTo>
                    <a:pt x="1824" y="167"/>
                    <a:pt x="1824" y="167"/>
                    <a:pt x="1824" y="167"/>
                  </a:cubicBezTo>
                  <a:cubicBezTo>
                    <a:pt x="1824" y="167"/>
                    <a:pt x="1824" y="167"/>
                    <a:pt x="1824" y="167"/>
                  </a:cubicBezTo>
                  <a:cubicBezTo>
                    <a:pt x="1825" y="168"/>
                    <a:pt x="1825" y="168"/>
                    <a:pt x="1825" y="168"/>
                  </a:cubicBezTo>
                  <a:cubicBezTo>
                    <a:pt x="1826" y="168"/>
                    <a:pt x="1826" y="168"/>
                    <a:pt x="1826" y="168"/>
                  </a:cubicBezTo>
                  <a:cubicBezTo>
                    <a:pt x="1827" y="168"/>
                    <a:pt x="1827" y="168"/>
                    <a:pt x="1827" y="168"/>
                  </a:cubicBezTo>
                  <a:cubicBezTo>
                    <a:pt x="1827" y="169"/>
                    <a:pt x="1827" y="169"/>
                    <a:pt x="1827" y="169"/>
                  </a:cubicBezTo>
                  <a:cubicBezTo>
                    <a:pt x="1828" y="171"/>
                    <a:pt x="1828" y="171"/>
                    <a:pt x="1828" y="171"/>
                  </a:cubicBezTo>
                  <a:cubicBezTo>
                    <a:pt x="1829" y="172"/>
                    <a:pt x="1829" y="172"/>
                    <a:pt x="1829" y="172"/>
                  </a:cubicBezTo>
                  <a:cubicBezTo>
                    <a:pt x="1829" y="174"/>
                    <a:pt x="1829" y="174"/>
                    <a:pt x="1829" y="174"/>
                  </a:cubicBezTo>
                  <a:cubicBezTo>
                    <a:pt x="1830" y="174"/>
                    <a:pt x="1830" y="174"/>
                    <a:pt x="1830" y="174"/>
                  </a:cubicBezTo>
                  <a:cubicBezTo>
                    <a:pt x="1830" y="174"/>
                    <a:pt x="1830" y="174"/>
                    <a:pt x="1830" y="174"/>
                  </a:cubicBezTo>
                  <a:cubicBezTo>
                    <a:pt x="1830" y="174"/>
                    <a:pt x="1830" y="174"/>
                    <a:pt x="1830" y="174"/>
                  </a:cubicBezTo>
                  <a:cubicBezTo>
                    <a:pt x="1831" y="174"/>
                    <a:pt x="1831" y="174"/>
                    <a:pt x="1831" y="174"/>
                  </a:cubicBezTo>
                  <a:cubicBezTo>
                    <a:pt x="1831" y="174"/>
                    <a:pt x="1831" y="174"/>
                    <a:pt x="1831" y="174"/>
                  </a:cubicBezTo>
                  <a:cubicBezTo>
                    <a:pt x="1831" y="175"/>
                    <a:pt x="1831" y="175"/>
                    <a:pt x="1831" y="175"/>
                  </a:cubicBezTo>
                  <a:cubicBezTo>
                    <a:pt x="1831" y="175"/>
                    <a:pt x="1831" y="175"/>
                    <a:pt x="1831" y="175"/>
                  </a:cubicBezTo>
                  <a:cubicBezTo>
                    <a:pt x="1826" y="176"/>
                    <a:pt x="1826" y="176"/>
                    <a:pt x="1826" y="176"/>
                  </a:cubicBezTo>
                  <a:cubicBezTo>
                    <a:pt x="1826" y="177"/>
                    <a:pt x="1826" y="177"/>
                    <a:pt x="1826" y="177"/>
                  </a:cubicBezTo>
                  <a:cubicBezTo>
                    <a:pt x="1827" y="180"/>
                    <a:pt x="1827" y="180"/>
                    <a:pt x="1827" y="180"/>
                  </a:cubicBezTo>
                  <a:cubicBezTo>
                    <a:pt x="1826" y="181"/>
                    <a:pt x="1823" y="186"/>
                    <a:pt x="1820" y="185"/>
                  </a:cubicBezTo>
                  <a:cubicBezTo>
                    <a:pt x="1820" y="185"/>
                    <a:pt x="1820" y="185"/>
                    <a:pt x="1820" y="185"/>
                  </a:cubicBezTo>
                  <a:cubicBezTo>
                    <a:pt x="1820" y="185"/>
                    <a:pt x="1820" y="185"/>
                    <a:pt x="1820" y="185"/>
                  </a:cubicBezTo>
                  <a:cubicBezTo>
                    <a:pt x="1816" y="183"/>
                    <a:pt x="1812" y="184"/>
                    <a:pt x="1808" y="183"/>
                  </a:cubicBezTo>
                  <a:cubicBezTo>
                    <a:pt x="1799" y="184"/>
                    <a:pt x="1799" y="184"/>
                    <a:pt x="1799" y="184"/>
                  </a:cubicBezTo>
                  <a:cubicBezTo>
                    <a:pt x="1762" y="182"/>
                    <a:pt x="1762" y="182"/>
                    <a:pt x="1762" y="182"/>
                  </a:cubicBezTo>
                  <a:cubicBezTo>
                    <a:pt x="1757" y="182"/>
                    <a:pt x="1757" y="182"/>
                    <a:pt x="1757" y="182"/>
                  </a:cubicBezTo>
                  <a:cubicBezTo>
                    <a:pt x="1756" y="182"/>
                    <a:pt x="1756" y="182"/>
                    <a:pt x="1756" y="182"/>
                  </a:cubicBezTo>
                  <a:cubicBezTo>
                    <a:pt x="1733" y="175"/>
                    <a:pt x="1733" y="175"/>
                    <a:pt x="1733" y="175"/>
                  </a:cubicBezTo>
                  <a:cubicBezTo>
                    <a:pt x="1732" y="174"/>
                    <a:pt x="1732" y="174"/>
                    <a:pt x="1732" y="174"/>
                  </a:cubicBezTo>
                  <a:cubicBezTo>
                    <a:pt x="1732" y="174"/>
                    <a:pt x="1732" y="174"/>
                    <a:pt x="1732" y="174"/>
                  </a:cubicBezTo>
                  <a:cubicBezTo>
                    <a:pt x="1731" y="170"/>
                    <a:pt x="1731" y="170"/>
                    <a:pt x="1731" y="170"/>
                  </a:cubicBezTo>
                  <a:cubicBezTo>
                    <a:pt x="1733" y="165"/>
                    <a:pt x="1733" y="165"/>
                    <a:pt x="1733" y="165"/>
                  </a:cubicBezTo>
                  <a:cubicBezTo>
                    <a:pt x="1734" y="165"/>
                    <a:pt x="1734" y="165"/>
                    <a:pt x="1734" y="165"/>
                  </a:cubicBezTo>
                  <a:cubicBezTo>
                    <a:pt x="1736" y="165"/>
                    <a:pt x="1736" y="165"/>
                    <a:pt x="1736" y="165"/>
                  </a:cubicBezTo>
                  <a:cubicBezTo>
                    <a:pt x="1740" y="164"/>
                    <a:pt x="1740" y="164"/>
                    <a:pt x="1740" y="164"/>
                  </a:cubicBezTo>
                  <a:cubicBezTo>
                    <a:pt x="1742" y="164"/>
                    <a:pt x="1742" y="164"/>
                    <a:pt x="1742" y="164"/>
                  </a:cubicBezTo>
                  <a:cubicBezTo>
                    <a:pt x="1742" y="164"/>
                    <a:pt x="1742" y="164"/>
                    <a:pt x="1742" y="164"/>
                  </a:cubicBezTo>
                  <a:cubicBezTo>
                    <a:pt x="1742" y="164"/>
                    <a:pt x="1742" y="164"/>
                    <a:pt x="1742" y="164"/>
                  </a:cubicBezTo>
                  <a:cubicBezTo>
                    <a:pt x="1742" y="164"/>
                    <a:pt x="1742" y="164"/>
                    <a:pt x="1742" y="164"/>
                  </a:cubicBezTo>
                  <a:cubicBezTo>
                    <a:pt x="1742" y="163"/>
                    <a:pt x="1742" y="163"/>
                    <a:pt x="1742" y="163"/>
                  </a:cubicBezTo>
                  <a:cubicBezTo>
                    <a:pt x="1741" y="163"/>
                    <a:pt x="1741" y="163"/>
                    <a:pt x="1741" y="163"/>
                  </a:cubicBezTo>
                  <a:cubicBezTo>
                    <a:pt x="1741" y="163"/>
                    <a:pt x="1741" y="163"/>
                    <a:pt x="1741" y="163"/>
                  </a:cubicBezTo>
                  <a:cubicBezTo>
                    <a:pt x="1740" y="162"/>
                    <a:pt x="1738" y="162"/>
                    <a:pt x="1737" y="161"/>
                  </a:cubicBezTo>
                  <a:cubicBezTo>
                    <a:pt x="1736" y="161"/>
                    <a:pt x="1736" y="161"/>
                    <a:pt x="1736" y="161"/>
                  </a:cubicBezTo>
                  <a:cubicBezTo>
                    <a:pt x="1735" y="161"/>
                    <a:pt x="1735" y="161"/>
                    <a:pt x="1735" y="161"/>
                  </a:cubicBezTo>
                  <a:cubicBezTo>
                    <a:pt x="1734" y="161"/>
                    <a:pt x="1733" y="161"/>
                    <a:pt x="1732" y="161"/>
                  </a:cubicBezTo>
                  <a:cubicBezTo>
                    <a:pt x="1731" y="161"/>
                    <a:pt x="1731" y="161"/>
                    <a:pt x="1731" y="161"/>
                  </a:cubicBezTo>
                  <a:cubicBezTo>
                    <a:pt x="1731" y="161"/>
                    <a:pt x="1731" y="161"/>
                    <a:pt x="1731" y="161"/>
                  </a:cubicBezTo>
                  <a:cubicBezTo>
                    <a:pt x="1731" y="161"/>
                    <a:pt x="1731" y="161"/>
                    <a:pt x="1731" y="161"/>
                  </a:cubicBezTo>
                  <a:cubicBezTo>
                    <a:pt x="1728" y="161"/>
                    <a:pt x="1725" y="161"/>
                    <a:pt x="1723" y="161"/>
                  </a:cubicBezTo>
                  <a:cubicBezTo>
                    <a:pt x="1722" y="161"/>
                    <a:pt x="1722" y="161"/>
                    <a:pt x="1722" y="161"/>
                  </a:cubicBezTo>
                  <a:cubicBezTo>
                    <a:pt x="1722" y="161"/>
                    <a:pt x="1722" y="161"/>
                    <a:pt x="1722" y="161"/>
                  </a:cubicBezTo>
                  <a:cubicBezTo>
                    <a:pt x="1722" y="161"/>
                    <a:pt x="1722" y="161"/>
                    <a:pt x="1722" y="161"/>
                  </a:cubicBezTo>
                  <a:cubicBezTo>
                    <a:pt x="1721" y="161"/>
                    <a:pt x="1721" y="161"/>
                    <a:pt x="1721" y="161"/>
                  </a:cubicBezTo>
                  <a:cubicBezTo>
                    <a:pt x="1718" y="161"/>
                    <a:pt x="1716" y="161"/>
                    <a:pt x="1712" y="161"/>
                  </a:cubicBezTo>
                  <a:cubicBezTo>
                    <a:pt x="1712" y="161"/>
                    <a:pt x="1712" y="161"/>
                    <a:pt x="1712" y="161"/>
                  </a:cubicBezTo>
                  <a:cubicBezTo>
                    <a:pt x="1711" y="161"/>
                    <a:pt x="1711" y="161"/>
                    <a:pt x="1711" y="161"/>
                  </a:cubicBezTo>
                  <a:cubicBezTo>
                    <a:pt x="1709" y="160"/>
                    <a:pt x="1707" y="160"/>
                    <a:pt x="1705" y="159"/>
                  </a:cubicBezTo>
                  <a:cubicBezTo>
                    <a:pt x="1705" y="159"/>
                    <a:pt x="1705" y="159"/>
                    <a:pt x="1705" y="159"/>
                  </a:cubicBezTo>
                  <a:cubicBezTo>
                    <a:pt x="1705" y="159"/>
                    <a:pt x="1705" y="159"/>
                    <a:pt x="1705" y="159"/>
                  </a:cubicBezTo>
                  <a:cubicBezTo>
                    <a:pt x="1705" y="159"/>
                    <a:pt x="1705" y="159"/>
                    <a:pt x="1705" y="159"/>
                  </a:cubicBezTo>
                  <a:cubicBezTo>
                    <a:pt x="1704" y="159"/>
                    <a:pt x="1704" y="159"/>
                    <a:pt x="1704" y="159"/>
                  </a:cubicBezTo>
                  <a:cubicBezTo>
                    <a:pt x="1703" y="159"/>
                    <a:pt x="1703" y="159"/>
                    <a:pt x="1703" y="159"/>
                  </a:cubicBezTo>
                  <a:cubicBezTo>
                    <a:pt x="1701" y="159"/>
                    <a:pt x="1701" y="159"/>
                    <a:pt x="1701" y="159"/>
                  </a:cubicBezTo>
                  <a:cubicBezTo>
                    <a:pt x="1699" y="158"/>
                    <a:pt x="1699" y="158"/>
                    <a:pt x="1699" y="158"/>
                  </a:cubicBezTo>
                  <a:cubicBezTo>
                    <a:pt x="1698" y="158"/>
                    <a:pt x="1698" y="158"/>
                    <a:pt x="1698" y="158"/>
                  </a:cubicBezTo>
                  <a:cubicBezTo>
                    <a:pt x="1697" y="158"/>
                    <a:pt x="1697" y="158"/>
                    <a:pt x="1697" y="158"/>
                  </a:cubicBezTo>
                  <a:cubicBezTo>
                    <a:pt x="1675" y="156"/>
                    <a:pt x="1675" y="156"/>
                    <a:pt x="1675" y="156"/>
                  </a:cubicBezTo>
                  <a:cubicBezTo>
                    <a:pt x="1674" y="156"/>
                    <a:pt x="1674" y="156"/>
                    <a:pt x="1674" y="156"/>
                  </a:cubicBezTo>
                  <a:cubicBezTo>
                    <a:pt x="1673" y="157"/>
                    <a:pt x="1673" y="157"/>
                    <a:pt x="1673" y="157"/>
                  </a:cubicBezTo>
                  <a:cubicBezTo>
                    <a:pt x="1672" y="157"/>
                    <a:pt x="1672" y="157"/>
                    <a:pt x="1672" y="157"/>
                  </a:cubicBezTo>
                  <a:cubicBezTo>
                    <a:pt x="1672" y="157"/>
                    <a:pt x="1672" y="157"/>
                    <a:pt x="1672" y="157"/>
                  </a:cubicBezTo>
                  <a:cubicBezTo>
                    <a:pt x="1671" y="157"/>
                    <a:pt x="1671" y="157"/>
                    <a:pt x="1671" y="157"/>
                  </a:cubicBezTo>
                  <a:cubicBezTo>
                    <a:pt x="1671" y="157"/>
                    <a:pt x="1671" y="157"/>
                    <a:pt x="1671" y="157"/>
                  </a:cubicBezTo>
                  <a:cubicBezTo>
                    <a:pt x="1669" y="157"/>
                    <a:pt x="1666" y="158"/>
                    <a:pt x="1665" y="159"/>
                  </a:cubicBezTo>
                  <a:cubicBezTo>
                    <a:pt x="1665" y="160"/>
                    <a:pt x="1665" y="160"/>
                    <a:pt x="1665" y="160"/>
                  </a:cubicBezTo>
                  <a:cubicBezTo>
                    <a:pt x="1665" y="160"/>
                    <a:pt x="1665" y="160"/>
                    <a:pt x="1665" y="160"/>
                  </a:cubicBezTo>
                  <a:cubicBezTo>
                    <a:pt x="1664" y="160"/>
                    <a:pt x="1664" y="160"/>
                    <a:pt x="1664" y="160"/>
                  </a:cubicBezTo>
                  <a:cubicBezTo>
                    <a:pt x="1659" y="160"/>
                    <a:pt x="1654" y="160"/>
                    <a:pt x="1650" y="161"/>
                  </a:cubicBezTo>
                  <a:cubicBezTo>
                    <a:pt x="1649" y="161"/>
                    <a:pt x="1649" y="161"/>
                    <a:pt x="1649" y="161"/>
                  </a:cubicBezTo>
                  <a:cubicBezTo>
                    <a:pt x="1649" y="161"/>
                    <a:pt x="1649" y="161"/>
                    <a:pt x="1649" y="161"/>
                  </a:cubicBezTo>
                  <a:cubicBezTo>
                    <a:pt x="1648" y="161"/>
                    <a:pt x="1648" y="161"/>
                    <a:pt x="1647" y="161"/>
                  </a:cubicBezTo>
                  <a:cubicBezTo>
                    <a:pt x="1647" y="161"/>
                    <a:pt x="1647" y="161"/>
                    <a:pt x="1647" y="161"/>
                  </a:cubicBezTo>
                  <a:cubicBezTo>
                    <a:pt x="1647" y="161"/>
                    <a:pt x="1647" y="161"/>
                    <a:pt x="1647" y="161"/>
                  </a:cubicBezTo>
                  <a:cubicBezTo>
                    <a:pt x="1647" y="162"/>
                    <a:pt x="1647" y="162"/>
                    <a:pt x="1647" y="162"/>
                  </a:cubicBezTo>
                  <a:cubicBezTo>
                    <a:pt x="1646" y="162"/>
                    <a:pt x="1646" y="162"/>
                    <a:pt x="1646" y="162"/>
                  </a:cubicBezTo>
                  <a:cubicBezTo>
                    <a:pt x="1646" y="162"/>
                    <a:pt x="1646" y="162"/>
                    <a:pt x="1646" y="162"/>
                  </a:cubicBezTo>
                  <a:cubicBezTo>
                    <a:pt x="1643" y="163"/>
                    <a:pt x="1640" y="163"/>
                    <a:pt x="1638" y="164"/>
                  </a:cubicBezTo>
                  <a:cubicBezTo>
                    <a:pt x="1637" y="164"/>
                    <a:pt x="1637" y="164"/>
                    <a:pt x="1637" y="164"/>
                  </a:cubicBezTo>
                  <a:cubicBezTo>
                    <a:pt x="1637" y="164"/>
                    <a:pt x="1637" y="164"/>
                    <a:pt x="1637" y="164"/>
                  </a:cubicBezTo>
                  <a:cubicBezTo>
                    <a:pt x="1638" y="164"/>
                    <a:pt x="1638" y="164"/>
                    <a:pt x="1638" y="164"/>
                  </a:cubicBezTo>
                  <a:cubicBezTo>
                    <a:pt x="1638" y="165"/>
                    <a:pt x="1638" y="166"/>
                    <a:pt x="1638" y="166"/>
                  </a:cubicBezTo>
                  <a:cubicBezTo>
                    <a:pt x="1639" y="166"/>
                    <a:pt x="1639" y="166"/>
                    <a:pt x="1639" y="166"/>
                  </a:cubicBezTo>
                  <a:cubicBezTo>
                    <a:pt x="1639" y="166"/>
                    <a:pt x="1639" y="166"/>
                    <a:pt x="1639" y="166"/>
                  </a:cubicBezTo>
                  <a:cubicBezTo>
                    <a:pt x="1640" y="167"/>
                    <a:pt x="1640" y="167"/>
                    <a:pt x="1641" y="168"/>
                  </a:cubicBezTo>
                  <a:cubicBezTo>
                    <a:pt x="1641" y="168"/>
                    <a:pt x="1641" y="168"/>
                    <a:pt x="1641" y="168"/>
                  </a:cubicBezTo>
                  <a:cubicBezTo>
                    <a:pt x="1642" y="168"/>
                    <a:pt x="1642" y="168"/>
                    <a:pt x="1642" y="168"/>
                  </a:cubicBezTo>
                  <a:cubicBezTo>
                    <a:pt x="1642" y="168"/>
                    <a:pt x="1642" y="168"/>
                    <a:pt x="1642" y="168"/>
                  </a:cubicBezTo>
                  <a:cubicBezTo>
                    <a:pt x="1642" y="169"/>
                    <a:pt x="1642" y="169"/>
                    <a:pt x="1642" y="169"/>
                  </a:cubicBezTo>
                  <a:cubicBezTo>
                    <a:pt x="1643" y="169"/>
                    <a:pt x="1643" y="169"/>
                    <a:pt x="1643" y="169"/>
                  </a:cubicBezTo>
                  <a:cubicBezTo>
                    <a:pt x="1642" y="169"/>
                    <a:pt x="1642" y="169"/>
                    <a:pt x="1642" y="169"/>
                  </a:cubicBezTo>
                  <a:cubicBezTo>
                    <a:pt x="1642" y="170"/>
                    <a:pt x="1642" y="170"/>
                    <a:pt x="1642" y="170"/>
                  </a:cubicBezTo>
                  <a:cubicBezTo>
                    <a:pt x="1639" y="173"/>
                    <a:pt x="1639" y="173"/>
                    <a:pt x="1639" y="173"/>
                  </a:cubicBezTo>
                  <a:cubicBezTo>
                    <a:pt x="1638" y="173"/>
                    <a:pt x="1638" y="173"/>
                    <a:pt x="1638" y="173"/>
                  </a:cubicBezTo>
                  <a:cubicBezTo>
                    <a:pt x="1633" y="167"/>
                    <a:pt x="1633" y="167"/>
                    <a:pt x="1633" y="167"/>
                  </a:cubicBezTo>
                  <a:cubicBezTo>
                    <a:pt x="1633" y="166"/>
                    <a:pt x="1633" y="166"/>
                    <a:pt x="1633" y="166"/>
                  </a:cubicBezTo>
                  <a:cubicBezTo>
                    <a:pt x="1633" y="165"/>
                    <a:pt x="1633" y="165"/>
                    <a:pt x="1633" y="165"/>
                  </a:cubicBezTo>
                  <a:cubicBezTo>
                    <a:pt x="1633" y="164"/>
                    <a:pt x="1633" y="164"/>
                    <a:pt x="1633" y="164"/>
                  </a:cubicBezTo>
                  <a:cubicBezTo>
                    <a:pt x="1633" y="164"/>
                    <a:pt x="1633" y="164"/>
                    <a:pt x="1633" y="164"/>
                  </a:cubicBezTo>
                  <a:cubicBezTo>
                    <a:pt x="1633" y="163"/>
                    <a:pt x="1633" y="163"/>
                    <a:pt x="1633" y="163"/>
                  </a:cubicBezTo>
                  <a:cubicBezTo>
                    <a:pt x="1633" y="162"/>
                    <a:pt x="1634" y="162"/>
                    <a:pt x="1634" y="162"/>
                  </a:cubicBezTo>
                  <a:cubicBezTo>
                    <a:pt x="1634" y="161"/>
                    <a:pt x="1634" y="161"/>
                    <a:pt x="1634" y="161"/>
                  </a:cubicBezTo>
                  <a:cubicBezTo>
                    <a:pt x="1635" y="161"/>
                    <a:pt x="1635" y="161"/>
                    <a:pt x="1635" y="161"/>
                  </a:cubicBezTo>
                  <a:cubicBezTo>
                    <a:pt x="1635" y="161"/>
                    <a:pt x="1635" y="161"/>
                    <a:pt x="1635" y="161"/>
                  </a:cubicBezTo>
                  <a:cubicBezTo>
                    <a:pt x="1636" y="160"/>
                    <a:pt x="1636" y="160"/>
                    <a:pt x="1636" y="160"/>
                  </a:cubicBezTo>
                  <a:cubicBezTo>
                    <a:pt x="1637" y="159"/>
                    <a:pt x="1637" y="159"/>
                    <a:pt x="1637" y="159"/>
                  </a:cubicBezTo>
                  <a:cubicBezTo>
                    <a:pt x="1637" y="158"/>
                    <a:pt x="1637" y="158"/>
                    <a:pt x="1637" y="158"/>
                  </a:cubicBezTo>
                  <a:cubicBezTo>
                    <a:pt x="1636" y="157"/>
                    <a:pt x="1636" y="157"/>
                    <a:pt x="1636" y="157"/>
                  </a:cubicBezTo>
                  <a:cubicBezTo>
                    <a:pt x="1636" y="156"/>
                    <a:pt x="1636" y="156"/>
                    <a:pt x="1636" y="156"/>
                  </a:cubicBezTo>
                  <a:cubicBezTo>
                    <a:pt x="1635" y="156"/>
                    <a:pt x="1635" y="156"/>
                    <a:pt x="1635" y="156"/>
                  </a:cubicBezTo>
                  <a:cubicBezTo>
                    <a:pt x="1635" y="155"/>
                    <a:pt x="1635" y="155"/>
                    <a:pt x="1635" y="155"/>
                  </a:cubicBezTo>
                  <a:cubicBezTo>
                    <a:pt x="1634" y="155"/>
                    <a:pt x="1634" y="155"/>
                    <a:pt x="1634" y="155"/>
                  </a:cubicBezTo>
                  <a:cubicBezTo>
                    <a:pt x="1634" y="154"/>
                    <a:pt x="1634" y="154"/>
                    <a:pt x="1634" y="154"/>
                  </a:cubicBezTo>
                  <a:cubicBezTo>
                    <a:pt x="1632" y="151"/>
                    <a:pt x="1632" y="150"/>
                    <a:pt x="1629" y="148"/>
                  </a:cubicBezTo>
                  <a:cubicBezTo>
                    <a:pt x="1627" y="146"/>
                    <a:pt x="1627" y="146"/>
                    <a:pt x="1627" y="146"/>
                  </a:cubicBezTo>
                  <a:cubicBezTo>
                    <a:pt x="1626" y="145"/>
                    <a:pt x="1626" y="145"/>
                    <a:pt x="1626" y="145"/>
                  </a:cubicBezTo>
                  <a:cubicBezTo>
                    <a:pt x="1625" y="145"/>
                    <a:pt x="1625" y="145"/>
                    <a:pt x="1625" y="145"/>
                  </a:cubicBezTo>
                  <a:cubicBezTo>
                    <a:pt x="1625" y="145"/>
                    <a:pt x="1625" y="145"/>
                    <a:pt x="1625" y="145"/>
                  </a:cubicBezTo>
                  <a:cubicBezTo>
                    <a:pt x="1625" y="145"/>
                    <a:pt x="1625" y="145"/>
                    <a:pt x="1625" y="145"/>
                  </a:cubicBezTo>
                  <a:cubicBezTo>
                    <a:pt x="1625" y="147"/>
                    <a:pt x="1627" y="150"/>
                    <a:pt x="1628" y="152"/>
                  </a:cubicBezTo>
                  <a:cubicBezTo>
                    <a:pt x="1628" y="152"/>
                    <a:pt x="1628" y="152"/>
                    <a:pt x="1628" y="152"/>
                  </a:cubicBezTo>
                  <a:cubicBezTo>
                    <a:pt x="1628" y="153"/>
                    <a:pt x="1628" y="153"/>
                    <a:pt x="1628" y="153"/>
                  </a:cubicBezTo>
                  <a:cubicBezTo>
                    <a:pt x="1628" y="153"/>
                    <a:pt x="1628" y="153"/>
                    <a:pt x="1628" y="153"/>
                  </a:cubicBezTo>
                  <a:cubicBezTo>
                    <a:pt x="1628" y="154"/>
                    <a:pt x="1628" y="154"/>
                    <a:pt x="1628" y="154"/>
                  </a:cubicBezTo>
                  <a:cubicBezTo>
                    <a:pt x="1627" y="154"/>
                    <a:pt x="1627" y="154"/>
                    <a:pt x="1627" y="154"/>
                  </a:cubicBezTo>
                  <a:cubicBezTo>
                    <a:pt x="1627" y="154"/>
                    <a:pt x="1627" y="154"/>
                    <a:pt x="1627" y="154"/>
                  </a:cubicBezTo>
                  <a:cubicBezTo>
                    <a:pt x="1627" y="154"/>
                    <a:pt x="1627" y="154"/>
                    <a:pt x="1627" y="154"/>
                  </a:cubicBezTo>
                  <a:cubicBezTo>
                    <a:pt x="1627" y="155"/>
                    <a:pt x="1627" y="155"/>
                    <a:pt x="1627" y="155"/>
                  </a:cubicBezTo>
                  <a:cubicBezTo>
                    <a:pt x="1626" y="155"/>
                    <a:pt x="1626" y="155"/>
                    <a:pt x="1626" y="155"/>
                  </a:cubicBezTo>
                  <a:cubicBezTo>
                    <a:pt x="1626" y="155"/>
                    <a:pt x="1626" y="155"/>
                    <a:pt x="1626" y="155"/>
                  </a:cubicBezTo>
                  <a:cubicBezTo>
                    <a:pt x="1626" y="156"/>
                    <a:pt x="1626" y="156"/>
                    <a:pt x="1626" y="156"/>
                  </a:cubicBezTo>
                  <a:cubicBezTo>
                    <a:pt x="1625" y="156"/>
                    <a:pt x="1625" y="156"/>
                    <a:pt x="1625" y="156"/>
                  </a:cubicBezTo>
                  <a:cubicBezTo>
                    <a:pt x="1624" y="156"/>
                    <a:pt x="1624" y="156"/>
                    <a:pt x="1624" y="156"/>
                  </a:cubicBezTo>
                  <a:cubicBezTo>
                    <a:pt x="1622" y="156"/>
                    <a:pt x="1619" y="156"/>
                    <a:pt x="1617" y="156"/>
                  </a:cubicBezTo>
                  <a:cubicBezTo>
                    <a:pt x="1616" y="157"/>
                    <a:pt x="1616" y="157"/>
                    <a:pt x="1616" y="157"/>
                  </a:cubicBezTo>
                  <a:cubicBezTo>
                    <a:pt x="1615" y="157"/>
                    <a:pt x="1615" y="157"/>
                    <a:pt x="1615" y="157"/>
                  </a:cubicBezTo>
                  <a:cubicBezTo>
                    <a:pt x="1596" y="151"/>
                    <a:pt x="1596" y="151"/>
                    <a:pt x="1596" y="151"/>
                  </a:cubicBezTo>
                  <a:cubicBezTo>
                    <a:pt x="1596" y="151"/>
                    <a:pt x="1596" y="151"/>
                    <a:pt x="1596" y="151"/>
                  </a:cubicBezTo>
                  <a:cubicBezTo>
                    <a:pt x="1596" y="150"/>
                    <a:pt x="1596" y="150"/>
                    <a:pt x="1596" y="150"/>
                  </a:cubicBezTo>
                  <a:cubicBezTo>
                    <a:pt x="1597" y="149"/>
                    <a:pt x="1600" y="146"/>
                    <a:pt x="1599" y="144"/>
                  </a:cubicBezTo>
                  <a:cubicBezTo>
                    <a:pt x="1598" y="143"/>
                    <a:pt x="1596" y="143"/>
                    <a:pt x="1595" y="144"/>
                  </a:cubicBezTo>
                  <a:cubicBezTo>
                    <a:pt x="1593" y="144"/>
                    <a:pt x="1593" y="146"/>
                    <a:pt x="1591" y="146"/>
                  </a:cubicBezTo>
                  <a:cubicBezTo>
                    <a:pt x="1584" y="146"/>
                    <a:pt x="1578" y="145"/>
                    <a:pt x="1571" y="145"/>
                  </a:cubicBezTo>
                  <a:cubicBezTo>
                    <a:pt x="1570" y="145"/>
                    <a:pt x="1562" y="151"/>
                    <a:pt x="1562" y="153"/>
                  </a:cubicBezTo>
                  <a:cubicBezTo>
                    <a:pt x="1561" y="154"/>
                    <a:pt x="1564" y="158"/>
                    <a:pt x="1565" y="158"/>
                  </a:cubicBezTo>
                  <a:cubicBezTo>
                    <a:pt x="1566" y="157"/>
                    <a:pt x="1567" y="156"/>
                    <a:pt x="1568" y="156"/>
                  </a:cubicBezTo>
                  <a:cubicBezTo>
                    <a:pt x="1569" y="157"/>
                    <a:pt x="1571" y="156"/>
                    <a:pt x="1572" y="156"/>
                  </a:cubicBezTo>
                  <a:cubicBezTo>
                    <a:pt x="1575" y="156"/>
                    <a:pt x="1579" y="155"/>
                    <a:pt x="1582" y="155"/>
                  </a:cubicBezTo>
                  <a:cubicBezTo>
                    <a:pt x="1584" y="155"/>
                    <a:pt x="1587" y="154"/>
                    <a:pt x="1588" y="154"/>
                  </a:cubicBezTo>
                  <a:cubicBezTo>
                    <a:pt x="1588" y="156"/>
                    <a:pt x="1588" y="156"/>
                    <a:pt x="1588" y="156"/>
                  </a:cubicBezTo>
                  <a:cubicBezTo>
                    <a:pt x="1588" y="157"/>
                    <a:pt x="1588" y="157"/>
                    <a:pt x="1588" y="157"/>
                  </a:cubicBezTo>
                  <a:cubicBezTo>
                    <a:pt x="1571" y="164"/>
                    <a:pt x="1571" y="164"/>
                    <a:pt x="1571" y="164"/>
                  </a:cubicBezTo>
                  <a:cubicBezTo>
                    <a:pt x="1558" y="163"/>
                    <a:pt x="1558" y="163"/>
                    <a:pt x="1558" y="163"/>
                  </a:cubicBezTo>
                  <a:cubicBezTo>
                    <a:pt x="1556" y="163"/>
                    <a:pt x="1556" y="163"/>
                    <a:pt x="1556" y="163"/>
                  </a:cubicBezTo>
                  <a:cubicBezTo>
                    <a:pt x="1555" y="163"/>
                    <a:pt x="1555" y="163"/>
                    <a:pt x="1555" y="163"/>
                  </a:cubicBezTo>
                  <a:cubicBezTo>
                    <a:pt x="1555" y="163"/>
                    <a:pt x="1555" y="163"/>
                    <a:pt x="1555" y="163"/>
                  </a:cubicBezTo>
                  <a:cubicBezTo>
                    <a:pt x="1555" y="163"/>
                    <a:pt x="1555" y="163"/>
                    <a:pt x="1555" y="163"/>
                  </a:cubicBezTo>
                  <a:cubicBezTo>
                    <a:pt x="1555" y="164"/>
                    <a:pt x="1555" y="164"/>
                    <a:pt x="1555" y="164"/>
                  </a:cubicBezTo>
                  <a:cubicBezTo>
                    <a:pt x="1556" y="167"/>
                    <a:pt x="1556" y="167"/>
                    <a:pt x="1556" y="167"/>
                  </a:cubicBezTo>
                  <a:cubicBezTo>
                    <a:pt x="1556" y="168"/>
                    <a:pt x="1556" y="168"/>
                    <a:pt x="1556" y="168"/>
                  </a:cubicBezTo>
                  <a:cubicBezTo>
                    <a:pt x="1532" y="174"/>
                    <a:pt x="1532" y="174"/>
                    <a:pt x="1532" y="174"/>
                  </a:cubicBezTo>
                  <a:cubicBezTo>
                    <a:pt x="1531" y="175"/>
                    <a:pt x="1531" y="175"/>
                    <a:pt x="1531" y="175"/>
                  </a:cubicBezTo>
                  <a:cubicBezTo>
                    <a:pt x="1497" y="179"/>
                    <a:pt x="1497" y="179"/>
                    <a:pt x="1497" y="179"/>
                  </a:cubicBezTo>
                  <a:cubicBezTo>
                    <a:pt x="1497" y="181"/>
                    <a:pt x="1497" y="181"/>
                    <a:pt x="1497" y="181"/>
                  </a:cubicBezTo>
                  <a:cubicBezTo>
                    <a:pt x="1498" y="183"/>
                    <a:pt x="1498" y="183"/>
                    <a:pt x="1498" y="183"/>
                  </a:cubicBezTo>
                  <a:cubicBezTo>
                    <a:pt x="1498" y="183"/>
                    <a:pt x="1498" y="183"/>
                    <a:pt x="1498" y="183"/>
                  </a:cubicBezTo>
                  <a:cubicBezTo>
                    <a:pt x="1498" y="184"/>
                    <a:pt x="1498" y="184"/>
                    <a:pt x="1498" y="184"/>
                  </a:cubicBezTo>
                  <a:cubicBezTo>
                    <a:pt x="1476" y="191"/>
                    <a:pt x="1476" y="191"/>
                    <a:pt x="1476" y="191"/>
                  </a:cubicBezTo>
                  <a:cubicBezTo>
                    <a:pt x="1475" y="191"/>
                    <a:pt x="1475" y="191"/>
                    <a:pt x="1475" y="191"/>
                  </a:cubicBezTo>
                  <a:cubicBezTo>
                    <a:pt x="1475" y="190"/>
                    <a:pt x="1475" y="190"/>
                    <a:pt x="1475" y="190"/>
                  </a:cubicBezTo>
                  <a:cubicBezTo>
                    <a:pt x="1485" y="186"/>
                    <a:pt x="1485" y="186"/>
                    <a:pt x="1485" y="186"/>
                  </a:cubicBezTo>
                  <a:cubicBezTo>
                    <a:pt x="1488" y="185"/>
                    <a:pt x="1488" y="185"/>
                    <a:pt x="1490" y="182"/>
                  </a:cubicBezTo>
                  <a:cubicBezTo>
                    <a:pt x="1490" y="182"/>
                    <a:pt x="1490" y="182"/>
                    <a:pt x="1490" y="182"/>
                  </a:cubicBezTo>
                  <a:cubicBezTo>
                    <a:pt x="1490" y="182"/>
                    <a:pt x="1490" y="182"/>
                    <a:pt x="1490" y="182"/>
                  </a:cubicBezTo>
                  <a:cubicBezTo>
                    <a:pt x="1490" y="182"/>
                    <a:pt x="1490" y="182"/>
                    <a:pt x="1490" y="182"/>
                  </a:cubicBezTo>
                  <a:cubicBezTo>
                    <a:pt x="1490" y="182"/>
                    <a:pt x="1490" y="182"/>
                    <a:pt x="1490" y="182"/>
                  </a:cubicBezTo>
                  <a:cubicBezTo>
                    <a:pt x="1490" y="181"/>
                    <a:pt x="1490" y="181"/>
                    <a:pt x="1490" y="181"/>
                  </a:cubicBezTo>
                  <a:cubicBezTo>
                    <a:pt x="1490" y="181"/>
                    <a:pt x="1490" y="181"/>
                    <a:pt x="1490" y="181"/>
                  </a:cubicBezTo>
                  <a:cubicBezTo>
                    <a:pt x="1490" y="181"/>
                    <a:pt x="1490" y="181"/>
                    <a:pt x="1490" y="181"/>
                  </a:cubicBezTo>
                  <a:cubicBezTo>
                    <a:pt x="1491" y="180"/>
                    <a:pt x="1491" y="180"/>
                    <a:pt x="1491" y="180"/>
                  </a:cubicBezTo>
                  <a:cubicBezTo>
                    <a:pt x="1492" y="178"/>
                    <a:pt x="1492" y="178"/>
                    <a:pt x="1492" y="178"/>
                  </a:cubicBezTo>
                  <a:cubicBezTo>
                    <a:pt x="1494" y="174"/>
                    <a:pt x="1494" y="174"/>
                    <a:pt x="1494" y="174"/>
                  </a:cubicBezTo>
                  <a:cubicBezTo>
                    <a:pt x="1495" y="173"/>
                    <a:pt x="1495" y="173"/>
                    <a:pt x="1495" y="173"/>
                  </a:cubicBezTo>
                  <a:cubicBezTo>
                    <a:pt x="1495" y="172"/>
                    <a:pt x="1495" y="172"/>
                    <a:pt x="1495" y="172"/>
                  </a:cubicBezTo>
                  <a:cubicBezTo>
                    <a:pt x="1496" y="172"/>
                    <a:pt x="1496" y="172"/>
                    <a:pt x="1496" y="172"/>
                  </a:cubicBezTo>
                  <a:cubicBezTo>
                    <a:pt x="1497" y="171"/>
                    <a:pt x="1497" y="171"/>
                    <a:pt x="1497" y="171"/>
                  </a:cubicBezTo>
                  <a:cubicBezTo>
                    <a:pt x="1497" y="171"/>
                    <a:pt x="1497" y="171"/>
                    <a:pt x="1497" y="171"/>
                  </a:cubicBezTo>
                  <a:cubicBezTo>
                    <a:pt x="1498" y="171"/>
                    <a:pt x="1498" y="171"/>
                    <a:pt x="1498" y="171"/>
                  </a:cubicBezTo>
                  <a:cubicBezTo>
                    <a:pt x="1498" y="171"/>
                    <a:pt x="1498" y="171"/>
                    <a:pt x="1498" y="171"/>
                  </a:cubicBezTo>
                  <a:cubicBezTo>
                    <a:pt x="1499" y="171"/>
                    <a:pt x="1499" y="171"/>
                    <a:pt x="1499" y="171"/>
                  </a:cubicBezTo>
                  <a:cubicBezTo>
                    <a:pt x="1499" y="171"/>
                    <a:pt x="1499" y="171"/>
                    <a:pt x="1499" y="171"/>
                  </a:cubicBezTo>
                  <a:cubicBezTo>
                    <a:pt x="1499" y="171"/>
                    <a:pt x="1499" y="171"/>
                    <a:pt x="1499" y="171"/>
                  </a:cubicBezTo>
                  <a:cubicBezTo>
                    <a:pt x="1501" y="171"/>
                    <a:pt x="1501" y="171"/>
                    <a:pt x="1501" y="171"/>
                  </a:cubicBezTo>
                  <a:cubicBezTo>
                    <a:pt x="1503" y="170"/>
                    <a:pt x="1503" y="170"/>
                    <a:pt x="1503" y="170"/>
                  </a:cubicBezTo>
                  <a:cubicBezTo>
                    <a:pt x="1507" y="170"/>
                    <a:pt x="1507" y="170"/>
                    <a:pt x="1507" y="170"/>
                  </a:cubicBezTo>
                  <a:cubicBezTo>
                    <a:pt x="1508" y="170"/>
                    <a:pt x="1508" y="170"/>
                    <a:pt x="1508" y="170"/>
                  </a:cubicBezTo>
                  <a:cubicBezTo>
                    <a:pt x="1509" y="169"/>
                    <a:pt x="1509" y="169"/>
                    <a:pt x="1509" y="169"/>
                  </a:cubicBezTo>
                  <a:cubicBezTo>
                    <a:pt x="1509" y="169"/>
                    <a:pt x="1509" y="169"/>
                    <a:pt x="1509" y="169"/>
                  </a:cubicBezTo>
                  <a:cubicBezTo>
                    <a:pt x="1509" y="169"/>
                    <a:pt x="1509" y="169"/>
                    <a:pt x="1509" y="169"/>
                  </a:cubicBezTo>
                  <a:cubicBezTo>
                    <a:pt x="1510" y="168"/>
                    <a:pt x="1510" y="168"/>
                    <a:pt x="1510" y="168"/>
                  </a:cubicBezTo>
                  <a:cubicBezTo>
                    <a:pt x="1511" y="166"/>
                    <a:pt x="1511" y="166"/>
                    <a:pt x="1511" y="166"/>
                  </a:cubicBezTo>
                  <a:cubicBezTo>
                    <a:pt x="1514" y="162"/>
                    <a:pt x="1514" y="162"/>
                    <a:pt x="1514" y="162"/>
                  </a:cubicBezTo>
                  <a:cubicBezTo>
                    <a:pt x="1515" y="160"/>
                    <a:pt x="1515" y="160"/>
                    <a:pt x="1515" y="160"/>
                  </a:cubicBezTo>
                  <a:cubicBezTo>
                    <a:pt x="1516" y="160"/>
                    <a:pt x="1516" y="160"/>
                    <a:pt x="1516" y="160"/>
                  </a:cubicBezTo>
                  <a:cubicBezTo>
                    <a:pt x="1517" y="160"/>
                    <a:pt x="1517" y="160"/>
                    <a:pt x="1517" y="160"/>
                  </a:cubicBezTo>
                  <a:cubicBezTo>
                    <a:pt x="1517" y="160"/>
                    <a:pt x="1517" y="160"/>
                    <a:pt x="1517" y="160"/>
                  </a:cubicBezTo>
                  <a:cubicBezTo>
                    <a:pt x="1518" y="160"/>
                    <a:pt x="1518" y="160"/>
                    <a:pt x="1518" y="160"/>
                  </a:cubicBezTo>
                  <a:cubicBezTo>
                    <a:pt x="1518" y="159"/>
                    <a:pt x="1518" y="159"/>
                    <a:pt x="1518" y="159"/>
                  </a:cubicBezTo>
                  <a:cubicBezTo>
                    <a:pt x="1519" y="159"/>
                    <a:pt x="1519" y="159"/>
                    <a:pt x="1519" y="159"/>
                  </a:cubicBezTo>
                  <a:cubicBezTo>
                    <a:pt x="1520" y="159"/>
                    <a:pt x="1520" y="159"/>
                    <a:pt x="1520" y="159"/>
                  </a:cubicBezTo>
                  <a:cubicBezTo>
                    <a:pt x="1520" y="159"/>
                    <a:pt x="1520" y="159"/>
                    <a:pt x="1520" y="159"/>
                  </a:cubicBezTo>
                  <a:cubicBezTo>
                    <a:pt x="1520" y="159"/>
                    <a:pt x="1520" y="159"/>
                    <a:pt x="1520" y="159"/>
                  </a:cubicBezTo>
                  <a:cubicBezTo>
                    <a:pt x="1521" y="159"/>
                    <a:pt x="1521" y="159"/>
                    <a:pt x="1521" y="159"/>
                  </a:cubicBezTo>
                  <a:cubicBezTo>
                    <a:pt x="1522" y="159"/>
                    <a:pt x="1523" y="159"/>
                    <a:pt x="1524" y="159"/>
                  </a:cubicBezTo>
                  <a:cubicBezTo>
                    <a:pt x="1524" y="159"/>
                    <a:pt x="1524" y="159"/>
                    <a:pt x="1524" y="159"/>
                  </a:cubicBezTo>
                  <a:cubicBezTo>
                    <a:pt x="1568" y="139"/>
                    <a:pt x="1568" y="139"/>
                    <a:pt x="1568" y="139"/>
                  </a:cubicBezTo>
                  <a:cubicBezTo>
                    <a:pt x="1569" y="138"/>
                    <a:pt x="1569" y="138"/>
                    <a:pt x="1569" y="137"/>
                  </a:cubicBezTo>
                  <a:cubicBezTo>
                    <a:pt x="1570" y="137"/>
                    <a:pt x="1570" y="137"/>
                    <a:pt x="1570" y="137"/>
                  </a:cubicBezTo>
                  <a:cubicBezTo>
                    <a:pt x="1570" y="137"/>
                    <a:pt x="1570" y="137"/>
                    <a:pt x="1570" y="137"/>
                  </a:cubicBezTo>
                  <a:cubicBezTo>
                    <a:pt x="1570" y="136"/>
                    <a:pt x="1570" y="136"/>
                    <a:pt x="1570" y="136"/>
                  </a:cubicBezTo>
                  <a:cubicBezTo>
                    <a:pt x="1570" y="136"/>
                    <a:pt x="1570" y="136"/>
                    <a:pt x="1570" y="136"/>
                  </a:cubicBezTo>
                  <a:cubicBezTo>
                    <a:pt x="1570" y="136"/>
                    <a:pt x="1570" y="135"/>
                    <a:pt x="1570" y="135"/>
                  </a:cubicBezTo>
                  <a:cubicBezTo>
                    <a:pt x="1570" y="134"/>
                    <a:pt x="1570" y="134"/>
                    <a:pt x="1570" y="134"/>
                  </a:cubicBezTo>
                  <a:cubicBezTo>
                    <a:pt x="1570" y="134"/>
                    <a:pt x="1570" y="134"/>
                    <a:pt x="1570" y="134"/>
                  </a:cubicBezTo>
                  <a:cubicBezTo>
                    <a:pt x="1570" y="134"/>
                    <a:pt x="1570" y="134"/>
                    <a:pt x="1570" y="134"/>
                  </a:cubicBezTo>
                  <a:cubicBezTo>
                    <a:pt x="1569" y="134"/>
                    <a:pt x="1569" y="134"/>
                    <a:pt x="1569" y="134"/>
                  </a:cubicBezTo>
                  <a:cubicBezTo>
                    <a:pt x="1569" y="134"/>
                    <a:pt x="1569" y="134"/>
                    <a:pt x="1569" y="134"/>
                  </a:cubicBezTo>
                  <a:cubicBezTo>
                    <a:pt x="1568" y="134"/>
                    <a:pt x="1568" y="134"/>
                    <a:pt x="1568" y="134"/>
                  </a:cubicBezTo>
                  <a:cubicBezTo>
                    <a:pt x="1568" y="134"/>
                    <a:pt x="1568" y="134"/>
                    <a:pt x="1568" y="134"/>
                  </a:cubicBezTo>
                  <a:cubicBezTo>
                    <a:pt x="1567" y="134"/>
                    <a:pt x="1567" y="134"/>
                    <a:pt x="1567" y="134"/>
                  </a:cubicBezTo>
                  <a:cubicBezTo>
                    <a:pt x="1566" y="134"/>
                    <a:pt x="1566" y="134"/>
                    <a:pt x="1566" y="134"/>
                  </a:cubicBezTo>
                  <a:cubicBezTo>
                    <a:pt x="1564" y="134"/>
                    <a:pt x="1564" y="134"/>
                    <a:pt x="1564" y="134"/>
                  </a:cubicBezTo>
                  <a:cubicBezTo>
                    <a:pt x="1564" y="134"/>
                    <a:pt x="1564" y="134"/>
                    <a:pt x="1564" y="134"/>
                  </a:cubicBezTo>
                  <a:cubicBezTo>
                    <a:pt x="1564" y="133"/>
                    <a:pt x="1564" y="133"/>
                    <a:pt x="1564" y="133"/>
                  </a:cubicBezTo>
                  <a:cubicBezTo>
                    <a:pt x="1564" y="133"/>
                    <a:pt x="1564" y="133"/>
                    <a:pt x="1564" y="133"/>
                  </a:cubicBezTo>
                  <a:cubicBezTo>
                    <a:pt x="1565" y="133"/>
                    <a:pt x="1565" y="133"/>
                    <a:pt x="1565" y="133"/>
                  </a:cubicBezTo>
                  <a:cubicBezTo>
                    <a:pt x="1566" y="133"/>
                    <a:pt x="1566" y="133"/>
                    <a:pt x="1566" y="133"/>
                  </a:cubicBezTo>
                  <a:cubicBezTo>
                    <a:pt x="1568" y="132"/>
                    <a:pt x="1568" y="132"/>
                    <a:pt x="1568" y="132"/>
                  </a:cubicBezTo>
                  <a:cubicBezTo>
                    <a:pt x="1574" y="129"/>
                    <a:pt x="1574" y="129"/>
                    <a:pt x="1574" y="129"/>
                  </a:cubicBezTo>
                  <a:cubicBezTo>
                    <a:pt x="1576" y="128"/>
                    <a:pt x="1576" y="128"/>
                    <a:pt x="1576" y="128"/>
                  </a:cubicBezTo>
                  <a:cubicBezTo>
                    <a:pt x="1577" y="127"/>
                    <a:pt x="1577" y="127"/>
                    <a:pt x="1577" y="127"/>
                  </a:cubicBezTo>
                  <a:cubicBezTo>
                    <a:pt x="1578" y="127"/>
                    <a:pt x="1578" y="127"/>
                    <a:pt x="1578" y="127"/>
                  </a:cubicBezTo>
                  <a:cubicBezTo>
                    <a:pt x="1578" y="127"/>
                    <a:pt x="1578" y="127"/>
                    <a:pt x="1578" y="127"/>
                  </a:cubicBezTo>
                  <a:cubicBezTo>
                    <a:pt x="1579" y="127"/>
                    <a:pt x="1579" y="127"/>
                    <a:pt x="1579" y="127"/>
                  </a:cubicBezTo>
                  <a:cubicBezTo>
                    <a:pt x="1579" y="127"/>
                    <a:pt x="1579" y="127"/>
                    <a:pt x="1579" y="127"/>
                  </a:cubicBezTo>
                  <a:cubicBezTo>
                    <a:pt x="1579" y="127"/>
                    <a:pt x="1579" y="127"/>
                    <a:pt x="1579" y="127"/>
                  </a:cubicBezTo>
                  <a:cubicBezTo>
                    <a:pt x="1580" y="128"/>
                    <a:pt x="1580" y="128"/>
                    <a:pt x="1580" y="128"/>
                  </a:cubicBezTo>
                  <a:cubicBezTo>
                    <a:pt x="1580" y="128"/>
                    <a:pt x="1580" y="128"/>
                    <a:pt x="1580" y="128"/>
                  </a:cubicBezTo>
                  <a:cubicBezTo>
                    <a:pt x="1581" y="128"/>
                    <a:pt x="1581" y="128"/>
                    <a:pt x="1581" y="128"/>
                  </a:cubicBezTo>
                  <a:cubicBezTo>
                    <a:pt x="1636" y="100"/>
                    <a:pt x="1636" y="100"/>
                    <a:pt x="1636" y="100"/>
                  </a:cubicBezTo>
                  <a:cubicBezTo>
                    <a:pt x="1637" y="100"/>
                    <a:pt x="1637" y="100"/>
                    <a:pt x="1637" y="100"/>
                  </a:cubicBezTo>
                  <a:cubicBezTo>
                    <a:pt x="1637" y="99"/>
                    <a:pt x="1637" y="99"/>
                    <a:pt x="1637" y="99"/>
                  </a:cubicBezTo>
                  <a:cubicBezTo>
                    <a:pt x="1639" y="98"/>
                    <a:pt x="1639" y="98"/>
                    <a:pt x="1639" y="98"/>
                  </a:cubicBezTo>
                  <a:cubicBezTo>
                    <a:pt x="1639" y="97"/>
                    <a:pt x="1639" y="97"/>
                    <a:pt x="1639" y="97"/>
                  </a:cubicBezTo>
                  <a:cubicBezTo>
                    <a:pt x="1640" y="97"/>
                    <a:pt x="1640" y="97"/>
                    <a:pt x="1640" y="97"/>
                  </a:cubicBezTo>
                  <a:cubicBezTo>
                    <a:pt x="1640" y="97"/>
                    <a:pt x="1640" y="97"/>
                    <a:pt x="1640" y="97"/>
                  </a:cubicBezTo>
                  <a:cubicBezTo>
                    <a:pt x="1640" y="96"/>
                    <a:pt x="1640" y="96"/>
                    <a:pt x="1640" y="96"/>
                  </a:cubicBezTo>
                  <a:cubicBezTo>
                    <a:pt x="1640" y="96"/>
                    <a:pt x="1641" y="95"/>
                    <a:pt x="1641" y="94"/>
                  </a:cubicBezTo>
                  <a:cubicBezTo>
                    <a:pt x="1641" y="94"/>
                    <a:pt x="1641" y="94"/>
                    <a:pt x="1641" y="94"/>
                  </a:cubicBezTo>
                  <a:cubicBezTo>
                    <a:pt x="1641" y="94"/>
                    <a:pt x="1641" y="94"/>
                    <a:pt x="1641" y="94"/>
                  </a:cubicBezTo>
                  <a:cubicBezTo>
                    <a:pt x="1641" y="92"/>
                    <a:pt x="1642" y="93"/>
                    <a:pt x="1642" y="91"/>
                  </a:cubicBezTo>
                  <a:cubicBezTo>
                    <a:pt x="1642" y="91"/>
                    <a:pt x="1642" y="91"/>
                    <a:pt x="1642" y="91"/>
                  </a:cubicBezTo>
                  <a:cubicBezTo>
                    <a:pt x="1642" y="91"/>
                    <a:pt x="1642" y="91"/>
                    <a:pt x="1642" y="91"/>
                  </a:cubicBezTo>
                  <a:cubicBezTo>
                    <a:pt x="1642" y="91"/>
                    <a:pt x="1642" y="91"/>
                    <a:pt x="1642" y="91"/>
                  </a:cubicBezTo>
                  <a:cubicBezTo>
                    <a:pt x="1642" y="90"/>
                    <a:pt x="1642" y="90"/>
                    <a:pt x="1642" y="90"/>
                  </a:cubicBezTo>
                  <a:cubicBezTo>
                    <a:pt x="1642" y="90"/>
                    <a:pt x="1642" y="90"/>
                    <a:pt x="1642" y="90"/>
                  </a:cubicBezTo>
                  <a:cubicBezTo>
                    <a:pt x="1642" y="90"/>
                    <a:pt x="1642" y="90"/>
                    <a:pt x="1642" y="90"/>
                  </a:cubicBezTo>
                  <a:cubicBezTo>
                    <a:pt x="1642" y="90"/>
                    <a:pt x="1642" y="90"/>
                    <a:pt x="1642" y="90"/>
                  </a:cubicBezTo>
                  <a:cubicBezTo>
                    <a:pt x="1642" y="89"/>
                    <a:pt x="1642" y="89"/>
                    <a:pt x="1642" y="89"/>
                  </a:cubicBezTo>
                  <a:cubicBezTo>
                    <a:pt x="1641" y="89"/>
                    <a:pt x="1641" y="89"/>
                    <a:pt x="1641" y="89"/>
                  </a:cubicBezTo>
                  <a:cubicBezTo>
                    <a:pt x="1641" y="89"/>
                    <a:pt x="1641" y="89"/>
                    <a:pt x="1641" y="89"/>
                  </a:cubicBezTo>
                  <a:cubicBezTo>
                    <a:pt x="1641" y="89"/>
                    <a:pt x="1641" y="89"/>
                    <a:pt x="1641" y="89"/>
                  </a:cubicBezTo>
                  <a:cubicBezTo>
                    <a:pt x="1641" y="88"/>
                    <a:pt x="1641" y="88"/>
                    <a:pt x="1641" y="88"/>
                  </a:cubicBezTo>
                  <a:cubicBezTo>
                    <a:pt x="1641" y="88"/>
                    <a:pt x="1641" y="88"/>
                    <a:pt x="1641" y="88"/>
                  </a:cubicBezTo>
                  <a:cubicBezTo>
                    <a:pt x="1641" y="88"/>
                    <a:pt x="1641" y="88"/>
                    <a:pt x="1641" y="88"/>
                  </a:cubicBezTo>
                  <a:cubicBezTo>
                    <a:pt x="1641" y="88"/>
                    <a:pt x="1641" y="88"/>
                    <a:pt x="1641" y="88"/>
                  </a:cubicBezTo>
                  <a:cubicBezTo>
                    <a:pt x="1640" y="88"/>
                    <a:pt x="1639" y="89"/>
                    <a:pt x="1638" y="88"/>
                  </a:cubicBezTo>
                  <a:cubicBezTo>
                    <a:pt x="1638" y="88"/>
                    <a:pt x="1638" y="88"/>
                    <a:pt x="1638" y="88"/>
                  </a:cubicBezTo>
                  <a:cubicBezTo>
                    <a:pt x="1637" y="88"/>
                    <a:pt x="1637" y="88"/>
                    <a:pt x="1637" y="88"/>
                  </a:cubicBezTo>
                  <a:cubicBezTo>
                    <a:pt x="1637" y="88"/>
                    <a:pt x="1637" y="88"/>
                    <a:pt x="1637" y="88"/>
                  </a:cubicBezTo>
                  <a:cubicBezTo>
                    <a:pt x="1636" y="88"/>
                    <a:pt x="1636" y="88"/>
                    <a:pt x="1636" y="88"/>
                  </a:cubicBezTo>
                  <a:cubicBezTo>
                    <a:pt x="1635" y="87"/>
                    <a:pt x="1635" y="87"/>
                    <a:pt x="1634" y="86"/>
                  </a:cubicBezTo>
                  <a:cubicBezTo>
                    <a:pt x="1634" y="86"/>
                    <a:pt x="1634" y="86"/>
                    <a:pt x="1634" y="86"/>
                  </a:cubicBezTo>
                  <a:cubicBezTo>
                    <a:pt x="1633" y="86"/>
                    <a:pt x="1633" y="86"/>
                    <a:pt x="1633" y="86"/>
                  </a:cubicBezTo>
                  <a:cubicBezTo>
                    <a:pt x="1633" y="86"/>
                    <a:pt x="1633" y="86"/>
                    <a:pt x="1633" y="86"/>
                  </a:cubicBezTo>
                  <a:cubicBezTo>
                    <a:pt x="1633" y="86"/>
                    <a:pt x="1633" y="86"/>
                    <a:pt x="1633" y="86"/>
                  </a:cubicBezTo>
                  <a:cubicBezTo>
                    <a:pt x="1634" y="85"/>
                    <a:pt x="1634" y="85"/>
                    <a:pt x="1634" y="85"/>
                  </a:cubicBezTo>
                  <a:cubicBezTo>
                    <a:pt x="1634" y="85"/>
                    <a:pt x="1634" y="85"/>
                    <a:pt x="1634" y="85"/>
                  </a:cubicBezTo>
                  <a:cubicBezTo>
                    <a:pt x="1634" y="85"/>
                    <a:pt x="1634" y="85"/>
                    <a:pt x="1634" y="85"/>
                  </a:cubicBezTo>
                  <a:cubicBezTo>
                    <a:pt x="1634" y="84"/>
                    <a:pt x="1634" y="84"/>
                    <a:pt x="1634" y="84"/>
                  </a:cubicBezTo>
                  <a:cubicBezTo>
                    <a:pt x="1634" y="84"/>
                    <a:pt x="1634" y="84"/>
                    <a:pt x="1634" y="84"/>
                  </a:cubicBezTo>
                  <a:cubicBezTo>
                    <a:pt x="1634" y="83"/>
                    <a:pt x="1634" y="83"/>
                    <a:pt x="1634" y="83"/>
                  </a:cubicBezTo>
                  <a:cubicBezTo>
                    <a:pt x="1634" y="83"/>
                    <a:pt x="1634" y="83"/>
                    <a:pt x="1634" y="83"/>
                  </a:cubicBezTo>
                  <a:cubicBezTo>
                    <a:pt x="1633" y="83"/>
                    <a:pt x="1633" y="83"/>
                    <a:pt x="1633" y="83"/>
                  </a:cubicBezTo>
                  <a:cubicBezTo>
                    <a:pt x="1632" y="84"/>
                    <a:pt x="1632" y="84"/>
                    <a:pt x="1632" y="84"/>
                  </a:cubicBezTo>
                  <a:cubicBezTo>
                    <a:pt x="1630" y="86"/>
                    <a:pt x="1630" y="86"/>
                    <a:pt x="1630" y="86"/>
                  </a:cubicBezTo>
                  <a:cubicBezTo>
                    <a:pt x="1629" y="86"/>
                    <a:pt x="1629" y="86"/>
                    <a:pt x="1629" y="86"/>
                  </a:cubicBezTo>
                  <a:cubicBezTo>
                    <a:pt x="1629" y="87"/>
                    <a:pt x="1629" y="87"/>
                    <a:pt x="1629" y="87"/>
                  </a:cubicBezTo>
                  <a:cubicBezTo>
                    <a:pt x="1628" y="87"/>
                    <a:pt x="1628" y="87"/>
                    <a:pt x="1628" y="87"/>
                  </a:cubicBezTo>
                  <a:cubicBezTo>
                    <a:pt x="1628" y="87"/>
                    <a:pt x="1628" y="87"/>
                    <a:pt x="1628" y="87"/>
                  </a:cubicBezTo>
                  <a:cubicBezTo>
                    <a:pt x="1628" y="87"/>
                    <a:pt x="1628" y="87"/>
                    <a:pt x="1628" y="87"/>
                  </a:cubicBezTo>
                  <a:cubicBezTo>
                    <a:pt x="1628" y="87"/>
                    <a:pt x="1628" y="87"/>
                    <a:pt x="1628" y="87"/>
                  </a:cubicBezTo>
                  <a:cubicBezTo>
                    <a:pt x="1628" y="87"/>
                    <a:pt x="1628" y="87"/>
                    <a:pt x="1628" y="87"/>
                  </a:cubicBezTo>
                  <a:cubicBezTo>
                    <a:pt x="1627" y="87"/>
                    <a:pt x="1627" y="87"/>
                    <a:pt x="1627" y="87"/>
                  </a:cubicBezTo>
                  <a:cubicBezTo>
                    <a:pt x="1627" y="87"/>
                    <a:pt x="1627" y="87"/>
                    <a:pt x="1627" y="87"/>
                  </a:cubicBezTo>
                  <a:cubicBezTo>
                    <a:pt x="1626" y="87"/>
                    <a:pt x="1626" y="87"/>
                    <a:pt x="1626" y="87"/>
                  </a:cubicBezTo>
                  <a:cubicBezTo>
                    <a:pt x="1626" y="87"/>
                    <a:pt x="1626" y="87"/>
                    <a:pt x="1626" y="87"/>
                  </a:cubicBezTo>
                  <a:cubicBezTo>
                    <a:pt x="1625" y="87"/>
                    <a:pt x="1625" y="87"/>
                    <a:pt x="1625" y="87"/>
                  </a:cubicBezTo>
                  <a:cubicBezTo>
                    <a:pt x="1625" y="87"/>
                    <a:pt x="1625" y="87"/>
                    <a:pt x="1625" y="87"/>
                  </a:cubicBezTo>
                  <a:cubicBezTo>
                    <a:pt x="1625" y="86"/>
                    <a:pt x="1625" y="86"/>
                    <a:pt x="1625" y="86"/>
                  </a:cubicBezTo>
                  <a:cubicBezTo>
                    <a:pt x="1625" y="86"/>
                    <a:pt x="1625" y="86"/>
                    <a:pt x="1625" y="86"/>
                  </a:cubicBezTo>
                  <a:cubicBezTo>
                    <a:pt x="1625" y="86"/>
                    <a:pt x="1625" y="86"/>
                    <a:pt x="1625" y="86"/>
                  </a:cubicBezTo>
                  <a:cubicBezTo>
                    <a:pt x="1624" y="86"/>
                    <a:pt x="1624" y="86"/>
                    <a:pt x="1624" y="86"/>
                  </a:cubicBezTo>
                  <a:cubicBezTo>
                    <a:pt x="1625" y="85"/>
                    <a:pt x="1625" y="85"/>
                    <a:pt x="1625" y="85"/>
                  </a:cubicBezTo>
                  <a:cubicBezTo>
                    <a:pt x="1625" y="85"/>
                    <a:pt x="1625" y="85"/>
                    <a:pt x="1625" y="85"/>
                  </a:cubicBezTo>
                  <a:cubicBezTo>
                    <a:pt x="1625" y="84"/>
                    <a:pt x="1625" y="84"/>
                    <a:pt x="1625" y="84"/>
                  </a:cubicBezTo>
                  <a:cubicBezTo>
                    <a:pt x="1626" y="84"/>
                    <a:pt x="1626" y="83"/>
                    <a:pt x="1626" y="83"/>
                  </a:cubicBezTo>
                  <a:cubicBezTo>
                    <a:pt x="1625" y="82"/>
                    <a:pt x="1625" y="82"/>
                    <a:pt x="1625" y="82"/>
                  </a:cubicBezTo>
                  <a:cubicBezTo>
                    <a:pt x="1625" y="82"/>
                    <a:pt x="1625" y="82"/>
                    <a:pt x="1625" y="82"/>
                  </a:cubicBezTo>
                  <a:cubicBezTo>
                    <a:pt x="1625" y="82"/>
                    <a:pt x="1625" y="82"/>
                    <a:pt x="1625" y="82"/>
                  </a:cubicBezTo>
                  <a:cubicBezTo>
                    <a:pt x="1625" y="82"/>
                    <a:pt x="1625" y="82"/>
                    <a:pt x="1625" y="82"/>
                  </a:cubicBezTo>
                  <a:cubicBezTo>
                    <a:pt x="1625" y="81"/>
                    <a:pt x="1625" y="81"/>
                    <a:pt x="1625" y="81"/>
                  </a:cubicBezTo>
                  <a:cubicBezTo>
                    <a:pt x="1625" y="81"/>
                    <a:pt x="1625" y="81"/>
                    <a:pt x="1625" y="81"/>
                  </a:cubicBezTo>
                  <a:cubicBezTo>
                    <a:pt x="1626" y="81"/>
                    <a:pt x="1626" y="81"/>
                    <a:pt x="1626" y="81"/>
                  </a:cubicBezTo>
                  <a:cubicBezTo>
                    <a:pt x="1626" y="81"/>
                    <a:pt x="1626" y="81"/>
                    <a:pt x="1626" y="81"/>
                  </a:cubicBezTo>
                  <a:cubicBezTo>
                    <a:pt x="1626" y="81"/>
                    <a:pt x="1626" y="81"/>
                    <a:pt x="1626" y="81"/>
                  </a:cubicBezTo>
                  <a:cubicBezTo>
                    <a:pt x="1626" y="81"/>
                    <a:pt x="1626" y="81"/>
                    <a:pt x="1626" y="81"/>
                  </a:cubicBezTo>
                  <a:cubicBezTo>
                    <a:pt x="1626" y="80"/>
                    <a:pt x="1626" y="80"/>
                    <a:pt x="1626" y="80"/>
                  </a:cubicBezTo>
                  <a:cubicBezTo>
                    <a:pt x="1625" y="80"/>
                    <a:pt x="1625" y="80"/>
                    <a:pt x="1625" y="80"/>
                  </a:cubicBezTo>
                  <a:cubicBezTo>
                    <a:pt x="1625" y="80"/>
                    <a:pt x="1625" y="80"/>
                    <a:pt x="1625" y="80"/>
                  </a:cubicBezTo>
                  <a:cubicBezTo>
                    <a:pt x="1625" y="80"/>
                    <a:pt x="1625" y="80"/>
                    <a:pt x="1625" y="80"/>
                  </a:cubicBezTo>
                  <a:cubicBezTo>
                    <a:pt x="1625" y="79"/>
                    <a:pt x="1625" y="79"/>
                    <a:pt x="1625" y="79"/>
                  </a:cubicBezTo>
                  <a:cubicBezTo>
                    <a:pt x="1624" y="79"/>
                    <a:pt x="1624" y="79"/>
                    <a:pt x="1624" y="79"/>
                  </a:cubicBezTo>
                  <a:cubicBezTo>
                    <a:pt x="1624" y="79"/>
                    <a:pt x="1624" y="79"/>
                    <a:pt x="1624" y="79"/>
                  </a:cubicBezTo>
                  <a:cubicBezTo>
                    <a:pt x="1623" y="79"/>
                    <a:pt x="1623" y="79"/>
                    <a:pt x="1623" y="79"/>
                  </a:cubicBezTo>
                  <a:cubicBezTo>
                    <a:pt x="1623" y="79"/>
                    <a:pt x="1623" y="79"/>
                    <a:pt x="1623" y="79"/>
                  </a:cubicBezTo>
                  <a:cubicBezTo>
                    <a:pt x="1623" y="78"/>
                    <a:pt x="1623" y="78"/>
                    <a:pt x="1623" y="78"/>
                  </a:cubicBezTo>
                  <a:cubicBezTo>
                    <a:pt x="1622" y="78"/>
                    <a:pt x="1622" y="78"/>
                    <a:pt x="1622" y="78"/>
                  </a:cubicBezTo>
                  <a:cubicBezTo>
                    <a:pt x="1622" y="78"/>
                    <a:pt x="1622" y="78"/>
                    <a:pt x="1622" y="78"/>
                  </a:cubicBezTo>
                  <a:cubicBezTo>
                    <a:pt x="1619" y="78"/>
                    <a:pt x="1620" y="78"/>
                    <a:pt x="1618" y="77"/>
                  </a:cubicBezTo>
                  <a:cubicBezTo>
                    <a:pt x="1617" y="76"/>
                    <a:pt x="1617" y="76"/>
                    <a:pt x="1617" y="76"/>
                  </a:cubicBezTo>
                  <a:cubicBezTo>
                    <a:pt x="1616" y="75"/>
                    <a:pt x="1616" y="75"/>
                    <a:pt x="1616" y="75"/>
                  </a:cubicBezTo>
                  <a:cubicBezTo>
                    <a:pt x="1616" y="75"/>
                    <a:pt x="1616" y="75"/>
                    <a:pt x="1616" y="75"/>
                  </a:cubicBezTo>
                  <a:cubicBezTo>
                    <a:pt x="1617" y="75"/>
                    <a:pt x="1617" y="75"/>
                    <a:pt x="1617" y="75"/>
                  </a:cubicBezTo>
                  <a:cubicBezTo>
                    <a:pt x="1618" y="75"/>
                    <a:pt x="1618" y="75"/>
                    <a:pt x="1618" y="75"/>
                  </a:cubicBezTo>
                  <a:cubicBezTo>
                    <a:pt x="1621" y="75"/>
                    <a:pt x="1622" y="76"/>
                    <a:pt x="1625" y="77"/>
                  </a:cubicBezTo>
                  <a:cubicBezTo>
                    <a:pt x="1625" y="77"/>
                    <a:pt x="1625" y="77"/>
                    <a:pt x="1625" y="77"/>
                  </a:cubicBezTo>
                  <a:cubicBezTo>
                    <a:pt x="1625" y="77"/>
                    <a:pt x="1625" y="77"/>
                    <a:pt x="1625" y="77"/>
                  </a:cubicBezTo>
                  <a:cubicBezTo>
                    <a:pt x="1627" y="78"/>
                    <a:pt x="1628" y="79"/>
                    <a:pt x="1630" y="80"/>
                  </a:cubicBezTo>
                  <a:cubicBezTo>
                    <a:pt x="1630" y="80"/>
                    <a:pt x="1630" y="80"/>
                    <a:pt x="1630" y="80"/>
                  </a:cubicBezTo>
                  <a:cubicBezTo>
                    <a:pt x="1630" y="80"/>
                    <a:pt x="1630" y="80"/>
                    <a:pt x="1630" y="80"/>
                  </a:cubicBezTo>
                  <a:cubicBezTo>
                    <a:pt x="1631" y="80"/>
                    <a:pt x="1631" y="80"/>
                    <a:pt x="1631" y="80"/>
                  </a:cubicBezTo>
                  <a:cubicBezTo>
                    <a:pt x="1630" y="81"/>
                    <a:pt x="1630" y="81"/>
                    <a:pt x="1630" y="81"/>
                  </a:cubicBezTo>
                  <a:cubicBezTo>
                    <a:pt x="1630" y="81"/>
                    <a:pt x="1630" y="81"/>
                    <a:pt x="1630" y="81"/>
                  </a:cubicBezTo>
                  <a:cubicBezTo>
                    <a:pt x="1630" y="82"/>
                    <a:pt x="1630" y="82"/>
                    <a:pt x="1630" y="82"/>
                  </a:cubicBezTo>
                  <a:cubicBezTo>
                    <a:pt x="1630" y="82"/>
                    <a:pt x="1630" y="82"/>
                    <a:pt x="1630" y="82"/>
                  </a:cubicBezTo>
                  <a:cubicBezTo>
                    <a:pt x="1630" y="82"/>
                    <a:pt x="1630" y="82"/>
                    <a:pt x="1630" y="82"/>
                  </a:cubicBezTo>
                  <a:cubicBezTo>
                    <a:pt x="1631" y="81"/>
                    <a:pt x="1632" y="81"/>
                    <a:pt x="1633" y="81"/>
                  </a:cubicBezTo>
                  <a:cubicBezTo>
                    <a:pt x="1634" y="81"/>
                    <a:pt x="1634" y="81"/>
                    <a:pt x="1634" y="81"/>
                  </a:cubicBezTo>
                  <a:cubicBezTo>
                    <a:pt x="1634" y="81"/>
                    <a:pt x="1634" y="81"/>
                    <a:pt x="1634" y="81"/>
                  </a:cubicBezTo>
                  <a:cubicBezTo>
                    <a:pt x="1635" y="81"/>
                    <a:pt x="1635" y="81"/>
                    <a:pt x="1635" y="81"/>
                  </a:cubicBezTo>
                  <a:cubicBezTo>
                    <a:pt x="1636" y="82"/>
                    <a:pt x="1636" y="82"/>
                    <a:pt x="1636" y="82"/>
                  </a:cubicBezTo>
                  <a:cubicBezTo>
                    <a:pt x="1636" y="82"/>
                    <a:pt x="1636" y="82"/>
                    <a:pt x="1636" y="82"/>
                  </a:cubicBezTo>
                  <a:cubicBezTo>
                    <a:pt x="1637" y="82"/>
                    <a:pt x="1637" y="82"/>
                    <a:pt x="1637" y="82"/>
                  </a:cubicBezTo>
                  <a:cubicBezTo>
                    <a:pt x="1637" y="82"/>
                    <a:pt x="1637" y="82"/>
                    <a:pt x="1637" y="82"/>
                  </a:cubicBezTo>
                  <a:cubicBezTo>
                    <a:pt x="1638" y="82"/>
                    <a:pt x="1638" y="82"/>
                    <a:pt x="1638" y="82"/>
                  </a:cubicBezTo>
                  <a:cubicBezTo>
                    <a:pt x="1638" y="82"/>
                    <a:pt x="1638" y="82"/>
                    <a:pt x="1638" y="82"/>
                  </a:cubicBezTo>
                  <a:cubicBezTo>
                    <a:pt x="1639" y="83"/>
                    <a:pt x="1639" y="83"/>
                    <a:pt x="1639" y="83"/>
                  </a:cubicBezTo>
                  <a:cubicBezTo>
                    <a:pt x="1639" y="83"/>
                    <a:pt x="1639" y="83"/>
                    <a:pt x="1639" y="83"/>
                  </a:cubicBezTo>
                  <a:cubicBezTo>
                    <a:pt x="1640" y="85"/>
                    <a:pt x="1640" y="85"/>
                    <a:pt x="1640" y="85"/>
                  </a:cubicBezTo>
                  <a:cubicBezTo>
                    <a:pt x="1641" y="85"/>
                    <a:pt x="1641" y="85"/>
                    <a:pt x="1641" y="85"/>
                  </a:cubicBezTo>
                  <a:cubicBezTo>
                    <a:pt x="1642" y="85"/>
                    <a:pt x="1642" y="85"/>
                    <a:pt x="1642" y="85"/>
                  </a:cubicBezTo>
                  <a:cubicBezTo>
                    <a:pt x="1642" y="84"/>
                    <a:pt x="1642" y="84"/>
                    <a:pt x="1642" y="84"/>
                  </a:cubicBezTo>
                  <a:cubicBezTo>
                    <a:pt x="1642" y="84"/>
                    <a:pt x="1642" y="84"/>
                    <a:pt x="1642" y="84"/>
                  </a:cubicBezTo>
                  <a:cubicBezTo>
                    <a:pt x="1642" y="84"/>
                    <a:pt x="1642" y="83"/>
                    <a:pt x="1642" y="83"/>
                  </a:cubicBezTo>
                  <a:cubicBezTo>
                    <a:pt x="1642" y="83"/>
                    <a:pt x="1642" y="83"/>
                    <a:pt x="1642" y="83"/>
                  </a:cubicBezTo>
                  <a:cubicBezTo>
                    <a:pt x="1642" y="82"/>
                    <a:pt x="1642" y="82"/>
                    <a:pt x="1642" y="82"/>
                  </a:cubicBezTo>
                  <a:cubicBezTo>
                    <a:pt x="1643" y="80"/>
                    <a:pt x="1644" y="78"/>
                    <a:pt x="1645" y="76"/>
                  </a:cubicBezTo>
                  <a:cubicBezTo>
                    <a:pt x="1645" y="75"/>
                    <a:pt x="1645" y="75"/>
                    <a:pt x="1645" y="75"/>
                  </a:cubicBezTo>
                  <a:cubicBezTo>
                    <a:pt x="1645" y="75"/>
                    <a:pt x="1645" y="75"/>
                    <a:pt x="1645" y="75"/>
                  </a:cubicBezTo>
                  <a:cubicBezTo>
                    <a:pt x="1645" y="74"/>
                    <a:pt x="1645" y="74"/>
                    <a:pt x="1645" y="74"/>
                  </a:cubicBezTo>
                  <a:cubicBezTo>
                    <a:pt x="1645" y="74"/>
                    <a:pt x="1645" y="74"/>
                    <a:pt x="1645" y="74"/>
                  </a:cubicBezTo>
                  <a:cubicBezTo>
                    <a:pt x="1645" y="73"/>
                    <a:pt x="1645" y="72"/>
                    <a:pt x="1644" y="72"/>
                  </a:cubicBezTo>
                  <a:cubicBezTo>
                    <a:pt x="1644" y="72"/>
                    <a:pt x="1644" y="72"/>
                    <a:pt x="1644" y="72"/>
                  </a:cubicBezTo>
                  <a:cubicBezTo>
                    <a:pt x="1643" y="72"/>
                    <a:pt x="1643" y="72"/>
                    <a:pt x="1643" y="72"/>
                  </a:cubicBezTo>
                  <a:cubicBezTo>
                    <a:pt x="1643" y="72"/>
                    <a:pt x="1643" y="72"/>
                    <a:pt x="1643" y="72"/>
                  </a:cubicBezTo>
                  <a:cubicBezTo>
                    <a:pt x="1643" y="72"/>
                    <a:pt x="1643" y="72"/>
                    <a:pt x="1643" y="72"/>
                  </a:cubicBezTo>
                  <a:cubicBezTo>
                    <a:pt x="1643" y="72"/>
                    <a:pt x="1643" y="72"/>
                    <a:pt x="1643" y="72"/>
                  </a:cubicBezTo>
                  <a:cubicBezTo>
                    <a:pt x="1642" y="72"/>
                    <a:pt x="1642" y="72"/>
                    <a:pt x="1642" y="72"/>
                  </a:cubicBezTo>
                  <a:cubicBezTo>
                    <a:pt x="1642" y="72"/>
                    <a:pt x="1642" y="72"/>
                    <a:pt x="1642" y="72"/>
                  </a:cubicBezTo>
                  <a:cubicBezTo>
                    <a:pt x="1642" y="72"/>
                    <a:pt x="1642" y="72"/>
                    <a:pt x="1642" y="72"/>
                  </a:cubicBezTo>
                  <a:cubicBezTo>
                    <a:pt x="1641" y="73"/>
                    <a:pt x="1641" y="73"/>
                    <a:pt x="1641" y="73"/>
                  </a:cubicBezTo>
                  <a:cubicBezTo>
                    <a:pt x="1641" y="74"/>
                    <a:pt x="1641" y="74"/>
                    <a:pt x="1641" y="74"/>
                  </a:cubicBezTo>
                  <a:cubicBezTo>
                    <a:pt x="1641" y="74"/>
                    <a:pt x="1641" y="74"/>
                    <a:pt x="1641" y="74"/>
                  </a:cubicBezTo>
                  <a:cubicBezTo>
                    <a:pt x="1640" y="74"/>
                    <a:pt x="1640" y="74"/>
                    <a:pt x="1640" y="74"/>
                  </a:cubicBezTo>
                  <a:cubicBezTo>
                    <a:pt x="1640" y="74"/>
                    <a:pt x="1640" y="74"/>
                    <a:pt x="1640" y="74"/>
                  </a:cubicBezTo>
                  <a:cubicBezTo>
                    <a:pt x="1639" y="74"/>
                    <a:pt x="1639" y="74"/>
                    <a:pt x="1639" y="74"/>
                  </a:cubicBezTo>
                  <a:cubicBezTo>
                    <a:pt x="1639" y="74"/>
                    <a:pt x="1639" y="74"/>
                    <a:pt x="1639" y="74"/>
                  </a:cubicBezTo>
                  <a:cubicBezTo>
                    <a:pt x="1639" y="74"/>
                    <a:pt x="1639" y="74"/>
                    <a:pt x="1639" y="74"/>
                  </a:cubicBezTo>
                  <a:cubicBezTo>
                    <a:pt x="1639" y="74"/>
                    <a:pt x="1639" y="74"/>
                    <a:pt x="1639" y="74"/>
                  </a:cubicBezTo>
                  <a:cubicBezTo>
                    <a:pt x="1639" y="73"/>
                    <a:pt x="1639" y="73"/>
                    <a:pt x="1639" y="73"/>
                  </a:cubicBezTo>
                  <a:cubicBezTo>
                    <a:pt x="1639" y="73"/>
                    <a:pt x="1639" y="73"/>
                    <a:pt x="1639" y="73"/>
                  </a:cubicBezTo>
                  <a:cubicBezTo>
                    <a:pt x="1639" y="72"/>
                    <a:pt x="1639" y="72"/>
                    <a:pt x="1639" y="72"/>
                  </a:cubicBezTo>
                  <a:cubicBezTo>
                    <a:pt x="1639" y="71"/>
                    <a:pt x="1639" y="71"/>
                    <a:pt x="1639" y="71"/>
                  </a:cubicBezTo>
                  <a:cubicBezTo>
                    <a:pt x="1639" y="70"/>
                    <a:pt x="1639" y="68"/>
                    <a:pt x="1638" y="68"/>
                  </a:cubicBezTo>
                  <a:cubicBezTo>
                    <a:pt x="1637" y="68"/>
                    <a:pt x="1637" y="68"/>
                    <a:pt x="1637" y="68"/>
                  </a:cubicBezTo>
                  <a:cubicBezTo>
                    <a:pt x="1637" y="67"/>
                    <a:pt x="1637" y="67"/>
                    <a:pt x="1637" y="67"/>
                  </a:cubicBezTo>
                  <a:cubicBezTo>
                    <a:pt x="1637" y="66"/>
                    <a:pt x="1637" y="66"/>
                    <a:pt x="1637" y="66"/>
                  </a:cubicBezTo>
                  <a:cubicBezTo>
                    <a:pt x="1637" y="65"/>
                    <a:pt x="1637" y="65"/>
                    <a:pt x="1637" y="65"/>
                  </a:cubicBezTo>
                  <a:cubicBezTo>
                    <a:pt x="1637" y="63"/>
                    <a:pt x="1637" y="64"/>
                    <a:pt x="1637" y="63"/>
                  </a:cubicBezTo>
                  <a:cubicBezTo>
                    <a:pt x="1636" y="62"/>
                    <a:pt x="1636" y="62"/>
                    <a:pt x="1636" y="62"/>
                  </a:cubicBezTo>
                  <a:cubicBezTo>
                    <a:pt x="1636" y="62"/>
                    <a:pt x="1635" y="61"/>
                    <a:pt x="1635" y="61"/>
                  </a:cubicBezTo>
                  <a:cubicBezTo>
                    <a:pt x="1634" y="61"/>
                    <a:pt x="1634" y="61"/>
                    <a:pt x="1634" y="61"/>
                  </a:cubicBezTo>
                  <a:cubicBezTo>
                    <a:pt x="1634" y="61"/>
                    <a:pt x="1634" y="61"/>
                    <a:pt x="1634" y="61"/>
                  </a:cubicBezTo>
                  <a:cubicBezTo>
                    <a:pt x="1634" y="61"/>
                    <a:pt x="1634" y="61"/>
                    <a:pt x="1634" y="61"/>
                  </a:cubicBezTo>
                  <a:cubicBezTo>
                    <a:pt x="1633" y="61"/>
                    <a:pt x="1633" y="61"/>
                    <a:pt x="1633" y="61"/>
                  </a:cubicBezTo>
                  <a:cubicBezTo>
                    <a:pt x="1633" y="61"/>
                    <a:pt x="1633" y="61"/>
                    <a:pt x="1633" y="61"/>
                  </a:cubicBezTo>
                  <a:cubicBezTo>
                    <a:pt x="1633" y="61"/>
                    <a:pt x="1633" y="61"/>
                    <a:pt x="1633" y="61"/>
                  </a:cubicBezTo>
                  <a:cubicBezTo>
                    <a:pt x="1636" y="58"/>
                    <a:pt x="1628" y="59"/>
                    <a:pt x="1628" y="59"/>
                  </a:cubicBezTo>
                  <a:cubicBezTo>
                    <a:pt x="1627" y="59"/>
                    <a:pt x="1627" y="59"/>
                    <a:pt x="1627" y="59"/>
                  </a:cubicBezTo>
                  <a:cubicBezTo>
                    <a:pt x="1627" y="60"/>
                    <a:pt x="1627" y="60"/>
                    <a:pt x="1627" y="60"/>
                  </a:cubicBezTo>
                  <a:cubicBezTo>
                    <a:pt x="1628" y="63"/>
                    <a:pt x="1630" y="59"/>
                    <a:pt x="1634" y="64"/>
                  </a:cubicBezTo>
                  <a:cubicBezTo>
                    <a:pt x="1633" y="64"/>
                    <a:pt x="1633" y="64"/>
                    <a:pt x="1633" y="64"/>
                  </a:cubicBezTo>
                  <a:cubicBezTo>
                    <a:pt x="1633" y="64"/>
                    <a:pt x="1633" y="64"/>
                    <a:pt x="1633" y="64"/>
                  </a:cubicBezTo>
                  <a:cubicBezTo>
                    <a:pt x="1633" y="64"/>
                    <a:pt x="1633" y="64"/>
                    <a:pt x="1633" y="64"/>
                  </a:cubicBezTo>
                  <a:cubicBezTo>
                    <a:pt x="1632" y="63"/>
                    <a:pt x="1632" y="63"/>
                    <a:pt x="1632" y="63"/>
                  </a:cubicBezTo>
                  <a:cubicBezTo>
                    <a:pt x="1631" y="63"/>
                    <a:pt x="1631" y="63"/>
                    <a:pt x="1630" y="64"/>
                  </a:cubicBezTo>
                  <a:cubicBezTo>
                    <a:pt x="1629" y="65"/>
                    <a:pt x="1629" y="65"/>
                    <a:pt x="1629" y="65"/>
                  </a:cubicBezTo>
                  <a:cubicBezTo>
                    <a:pt x="1629" y="66"/>
                    <a:pt x="1629" y="66"/>
                    <a:pt x="1629" y="66"/>
                  </a:cubicBezTo>
                  <a:cubicBezTo>
                    <a:pt x="1629" y="66"/>
                    <a:pt x="1629" y="66"/>
                    <a:pt x="1628" y="66"/>
                  </a:cubicBezTo>
                  <a:cubicBezTo>
                    <a:pt x="1628" y="66"/>
                    <a:pt x="1628" y="66"/>
                    <a:pt x="1628" y="66"/>
                  </a:cubicBezTo>
                  <a:cubicBezTo>
                    <a:pt x="1628" y="67"/>
                    <a:pt x="1628" y="67"/>
                    <a:pt x="1628" y="67"/>
                  </a:cubicBezTo>
                  <a:cubicBezTo>
                    <a:pt x="1628" y="67"/>
                    <a:pt x="1628" y="67"/>
                    <a:pt x="1628" y="67"/>
                  </a:cubicBezTo>
                  <a:cubicBezTo>
                    <a:pt x="1627" y="67"/>
                    <a:pt x="1627" y="67"/>
                    <a:pt x="1627" y="67"/>
                  </a:cubicBezTo>
                  <a:cubicBezTo>
                    <a:pt x="1627" y="67"/>
                    <a:pt x="1627" y="67"/>
                    <a:pt x="1627" y="67"/>
                  </a:cubicBezTo>
                  <a:cubicBezTo>
                    <a:pt x="1626" y="67"/>
                    <a:pt x="1626" y="67"/>
                    <a:pt x="1626" y="67"/>
                  </a:cubicBezTo>
                  <a:cubicBezTo>
                    <a:pt x="1626" y="67"/>
                    <a:pt x="1626" y="67"/>
                    <a:pt x="1626" y="67"/>
                  </a:cubicBezTo>
                  <a:cubicBezTo>
                    <a:pt x="1625" y="66"/>
                    <a:pt x="1625" y="66"/>
                    <a:pt x="1625" y="66"/>
                  </a:cubicBezTo>
                  <a:cubicBezTo>
                    <a:pt x="1625" y="64"/>
                    <a:pt x="1625" y="64"/>
                    <a:pt x="1625" y="64"/>
                  </a:cubicBezTo>
                  <a:cubicBezTo>
                    <a:pt x="1625" y="64"/>
                    <a:pt x="1625" y="64"/>
                    <a:pt x="1625" y="64"/>
                  </a:cubicBezTo>
                  <a:cubicBezTo>
                    <a:pt x="1625" y="63"/>
                    <a:pt x="1625" y="63"/>
                    <a:pt x="1625" y="63"/>
                  </a:cubicBezTo>
                  <a:cubicBezTo>
                    <a:pt x="1624" y="62"/>
                    <a:pt x="1625" y="63"/>
                    <a:pt x="1625" y="62"/>
                  </a:cubicBezTo>
                  <a:cubicBezTo>
                    <a:pt x="1624" y="62"/>
                    <a:pt x="1624" y="62"/>
                    <a:pt x="1624" y="62"/>
                  </a:cubicBezTo>
                  <a:cubicBezTo>
                    <a:pt x="1624" y="62"/>
                    <a:pt x="1624" y="62"/>
                    <a:pt x="1624" y="62"/>
                  </a:cubicBezTo>
                  <a:cubicBezTo>
                    <a:pt x="1624" y="61"/>
                    <a:pt x="1624" y="61"/>
                    <a:pt x="1624" y="61"/>
                  </a:cubicBezTo>
                  <a:cubicBezTo>
                    <a:pt x="1623" y="61"/>
                    <a:pt x="1623" y="61"/>
                    <a:pt x="1623" y="61"/>
                  </a:cubicBezTo>
                  <a:cubicBezTo>
                    <a:pt x="1623" y="59"/>
                    <a:pt x="1623" y="59"/>
                    <a:pt x="1623" y="59"/>
                  </a:cubicBezTo>
                  <a:cubicBezTo>
                    <a:pt x="1624" y="56"/>
                    <a:pt x="1623" y="56"/>
                    <a:pt x="1620" y="54"/>
                  </a:cubicBezTo>
                  <a:cubicBezTo>
                    <a:pt x="1620" y="54"/>
                    <a:pt x="1620" y="54"/>
                    <a:pt x="1620" y="54"/>
                  </a:cubicBezTo>
                  <a:cubicBezTo>
                    <a:pt x="1619" y="54"/>
                    <a:pt x="1619" y="54"/>
                    <a:pt x="1619" y="54"/>
                  </a:cubicBezTo>
                  <a:cubicBezTo>
                    <a:pt x="1618" y="53"/>
                    <a:pt x="1615" y="51"/>
                    <a:pt x="1614" y="51"/>
                  </a:cubicBezTo>
                  <a:cubicBezTo>
                    <a:pt x="1613" y="52"/>
                    <a:pt x="1613" y="52"/>
                    <a:pt x="1613" y="52"/>
                  </a:cubicBezTo>
                  <a:cubicBezTo>
                    <a:pt x="1613" y="52"/>
                    <a:pt x="1613" y="52"/>
                    <a:pt x="1613" y="52"/>
                  </a:cubicBezTo>
                  <a:cubicBezTo>
                    <a:pt x="1613" y="52"/>
                    <a:pt x="1613" y="52"/>
                    <a:pt x="1613" y="52"/>
                  </a:cubicBezTo>
                  <a:cubicBezTo>
                    <a:pt x="1613" y="51"/>
                    <a:pt x="1613" y="51"/>
                    <a:pt x="1613" y="51"/>
                  </a:cubicBezTo>
                  <a:cubicBezTo>
                    <a:pt x="1613" y="51"/>
                    <a:pt x="1613" y="51"/>
                    <a:pt x="1613" y="51"/>
                  </a:cubicBezTo>
                  <a:cubicBezTo>
                    <a:pt x="1612" y="50"/>
                    <a:pt x="1612" y="50"/>
                    <a:pt x="1612" y="50"/>
                  </a:cubicBezTo>
                  <a:cubicBezTo>
                    <a:pt x="1611" y="49"/>
                    <a:pt x="1612" y="49"/>
                    <a:pt x="1609" y="49"/>
                  </a:cubicBezTo>
                  <a:cubicBezTo>
                    <a:pt x="1609" y="49"/>
                    <a:pt x="1609" y="49"/>
                    <a:pt x="1609" y="49"/>
                  </a:cubicBezTo>
                  <a:cubicBezTo>
                    <a:pt x="1609" y="48"/>
                    <a:pt x="1609" y="48"/>
                    <a:pt x="1609" y="48"/>
                  </a:cubicBezTo>
                  <a:cubicBezTo>
                    <a:pt x="1608" y="48"/>
                    <a:pt x="1608" y="47"/>
                    <a:pt x="1607" y="46"/>
                  </a:cubicBezTo>
                  <a:cubicBezTo>
                    <a:pt x="1606" y="46"/>
                    <a:pt x="1606" y="46"/>
                    <a:pt x="1606" y="46"/>
                  </a:cubicBezTo>
                  <a:cubicBezTo>
                    <a:pt x="1606" y="46"/>
                    <a:pt x="1606" y="46"/>
                    <a:pt x="1606" y="46"/>
                  </a:cubicBezTo>
                  <a:cubicBezTo>
                    <a:pt x="1606" y="46"/>
                    <a:pt x="1606" y="46"/>
                    <a:pt x="1606" y="46"/>
                  </a:cubicBezTo>
                  <a:cubicBezTo>
                    <a:pt x="1605" y="46"/>
                    <a:pt x="1605" y="46"/>
                    <a:pt x="1605" y="46"/>
                  </a:cubicBezTo>
                  <a:cubicBezTo>
                    <a:pt x="1605" y="46"/>
                    <a:pt x="1605" y="46"/>
                    <a:pt x="1605" y="46"/>
                  </a:cubicBezTo>
                  <a:cubicBezTo>
                    <a:pt x="1605" y="45"/>
                    <a:pt x="1605" y="45"/>
                    <a:pt x="1605" y="45"/>
                  </a:cubicBezTo>
                  <a:cubicBezTo>
                    <a:pt x="1604" y="45"/>
                    <a:pt x="1604" y="45"/>
                    <a:pt x="1604" y="45"/>
                  </a:cubicBezTo>
                  <a:cubicBezTo>
                    <a:pt x="1604" y="45"/>
                    <a:pt x="1604" y="45"/>
                    <a:pt x="1604" y="45"/>
                  </a:cubicBezTo>
                  <a:cubicBezTo>
                    <a:pt x="1603" y="45"/>
                    <a:pt x="1603" y="45"/>
                    <a:pt x="1603" y="45"/>
                  </a:cubicBezTo>
                  <a:cubicBezTo>
                    <a:pt x="1603" y="45"/>
                    <a:pt x="1603" y="45"/>
                    <a:pt x="1603" y="45"/>
                  </a:cubicBezTo>
                  <a:cubicBezTo>
                    <a:pt x="1602" y="45"/>
                    <a:pt x="1602" y="45"/>
                    <a:pt x="1602" y="45"/>
                  </a:cubicBezTo>
                  <a:cubicBezTo>
                    <a:pt x="1602" y="45"/>
                    <a:pt x="1602" y="45"/>
                    <a:pt x="1602" y="45"/>
                  </a:cubicBezTo>
                  <a:cubicBezTo>
                    <a:pt x="1601" y="45"/>
                    <a:pt x="1601" y="45"/>
                    <a:pt x="1601" y="45"/>
                  </a:cubicBezTo>
                  <a:cubicBezTo>
                    <a:pt x="1601" y="45"/>
                    <a:pt x="1601" y="45"/>
                    <a:pt x="1601" y="45"/>
                  </a:cubicBezTo>
                  <a:cubicBezTo>
                    <a:pt x="1601" y="44"/>
                    <a:pt x="1601" y="44"/>
                    <a:pt x="1601" y="44"/>
                  </a:cubicBezTo>
                  <a:cubicBezTo>
                    <a:pt x="1600" y="43"/>
                    <a:pt x="1600" y="43"/>
                    <a:pt x="1600" y="43"/>
                  </a:cubicBezTo>
                  <a:cubicBezTo>
                    <a:pt x="1600" y="42"/>
                    <a:pt x="1600" y="42"/>
                    <a:pt x="1600" y="42"/>
                  </a:cubicBezTo>
                  <a:cubicBezTo>
                    <a:pt x="1600" y="42"/>
                    <a:pt x="1600" y="42"/>
                    <a:pt x="1600" y="42"/>
                  </a:cubicBezTo>
                  <a:cubicBezTo>
                    <a:pt x="1599" y="42"/>
                    <a:pt x="1599" y="42"/>
                    <a:pt x="1599" y="42"/>
                  </a:cubicBezTo>
                  <a:cubicBezTo>
                    <a:pt x="1598" y="42"/>
                    <a:pt x="1598" y="42"/>
                    <a:pt x="1598" y="42"/>
                  </a:cubicBezTo>
                  <a:cubicBezTo>
                    <a:pt x="1598" y="42"/>
                    <a:pt x="1598" y="42"/>
                    <a:pt x="1598" y="42"/>
                  </a:cubicBezTo>
                  <a:cubicBezTo>
                    <a:pt x="1597" y="42"/>
                    <a:pt x="1597" y="42"/>
                    <a:pt x="1597" y="42"/>
                  </a:cubicBezTo>
                  <a:cubicBezTo>
                    <a:pt x="1597" y="42"/>
                    <a:pt x="1597" y="42"/>
                    <a:pt x="1597" y="42"/>
                  </a:cubicBezTo>
                  <a:cubicBezTo>
                    <a:pt x="1596" y="42"/>
                    <a:pt x="1596" y="42"/>
                    <a:pt x="1596" y="42"/>
                  </a:cubicBezTo>
                  <a:cubicBezTo>
                    <a:pt x="1595" y="42"/>
                    <a:pt x="1595" y="42"/>
                    <a:pt x="1595" y="42"/>
                  </a:cubicBezTo>
                  <a:cubicBezTo>
                    <a:pt x="1595" y="41"/>
                    <a:pt x="1595" y="41"/>
                    <a:pt x="1595" y="41"/>
                  </a:cubicBezTo>
                  <a:cubicBezTo>
                    <a:pt x="1594" y="41"/>
                    <a:pt x="1594" y="41"/>
                    <a:pt x="1594" y="41"/>
                  </a:cubicBezTo>
                  <a:cubicBezTo>
                    <a:pt x="1594" y="41"/>
                    <a:pt x="1594" y="41"/>
                    <a:pt x="1594" y="41"/>
                  </a:cubicBezTo>
                  <a:cubicBezTo>
                    <a:pt x="1593" y="41"/>
                    <a:pt x="1593" y="41"/>
                    <a:pt x="1593" y="41"/>
                  </a:cubicBezTo>
                  <a:cubicBezTo>
                    <a:pt x="1593" y="42"/>
                    <a:pt x="1593" y="42"/>
                    <a:pt x="1593" y="42"/>
                  </a:cubicBezTo>
                  <a:cubicBezTo>
                    <a:pt x="1593" y="42"/>
                    <a:pt x="1593" y="42"/>
                    <a:pt x="1593" y="42"/>
                  </a:cubicBezTo>
                  <a:cubicBezTo>
                    <a:pt x="1593" y="42"/>
                    <a:pt x="1593" y="42"/>
                    <a:pt x="1593" y="42"/>
                  </a:cubicBezTo>
                  <a:cubicBezTo>
                    <a:pt x="1593" y="42"/>
                    <a:pt x="1593" y="42"/>
                    <a:pt x="1593" y="42"/>
                  </a:cubicBezTo>
                  <a:cubicBezTo>
                    <a:pt x="1592" y="40"/>
                    <a:pt x="1592" y="40"/>
                    <a:pt x="1592" y="40"/>
                  </a:cubicBezTo>
                  <a:cubicBezTo>
                    <a:pt x="1592" y="40"/>
                    <a:pt x="1592" y="40"/>
                    <a:pt x="1592" y="40"/>
                  </a:cubicBezTo>
                  <a:cubicBezTo>
                    <a:pt x="1592" y="39"/>
                    <a:pt x="1592" y="39"/>
                    <a:pt x="1592" y="39"/>
                  </a:cubicBezTo>
                  <a:cubicBezTo>
                    <a:pt x="1591" y="39"/>
                    <a:pt x="1591" y="39"/>
                    <a:pt x="1591" y="39"/>
                  </a:cubicBezTo>
                  <a:cubicBezTo>
                    <a:pt x="1589" y="39"/>
                    <a:pt x="1590" y="39"/>
                    <a:pt x="1588" y="40"/>
                  </a:cubicBezTo>
                  <a:cubicBezTo>
                    <a:pt x="1588" y="40"/>
                    <a:pt x="1588" y="40"/>
                    <a:pt x="1588" y="40"/>
                  </a:cubicBezTo>
                  <a:cubicBezTo>
                    <a:pt x="1587" y="40"/>
                    <a:pt x="1587" y="40"/>
                    <a:pt x="1587" y="40"/>
                  </a:cubicBezTo>
                  <a:cubicBezTo>
                    <a:pt x="1587" y="40"/>
                    <a:pt x="1587" y="40"/>
                    <a:pt x="1587" y="40"/>
                  </a:cubicBezTo>
                  <a:cubicBezTo>
                    <a:pt x="1586" y="40"/>
                    <a:pt x="1586" y="40"/>
                    <a:pt x="1586" y="40"/>
                  </a:cubicBezTo>
                  <a:cubicBezTo>
                    <a:pt x="1586" y="40"/>
                    <a:pt x="1586" y="40"/>
                    <a:pt x="1586" y="40"/>
                  </a:cubicBezTo>
                  <a:cubicBezTo>
                    <a:pt x="1585" y="40"/>
                    <a:pt x="1585" y="40"/>
                    <a:pt x="1585" y="40"/>
                  </a:cubicBezTo>
                  <a:cubicBezTo>
                    <a:pt x="1585" y="41"/>
                    <a:pt x="1585" y="41"/>
                    <a:pt x="1585" y="41"/>
                  </a:cubicBezTo>
                  <a:cubicBezTo>
                    <a:pt x="1584" y="40"/>
                    <a:pt x="1584" y="40"/>
                    <a:pt x="1584" y="40"/>
                  </a:cubicBezTo>
                  <a:cubicBezTo>
                    <a:pt x="1584" y="40"/>
                    <a:pt x="1584" y="40"/>
                    <a:pt x="1584" y="40"/>
                  </a:cubicBezTo>
                  <a:cubicBezTo>
                    <a:pt x="1583" y="40"/>
                    <a:pt x="1583" y="40"/>
                    <a:pt x="1583" y="40"/>
                  </a:cubicBezTo>
                  <a:cubicBezTo>
                    <a:pt x="1583" y="40"/>
                    <a:pt x="1583" y="40"/>
                    <a:pt x="1583" y="40"/>
                  </a:cubicBezTo>
                  <a:cubicBezTo>
                    <a:pt x="1583" y="39"/>
                    <a:pt x="1583" y="39"/>
                    <a:pt x="1583" y="39"/>
                  </a:cubicBezTo>
                  <a:cubicBezTo>
                    <a:pt x="1582" y="39"/>
                    <a:pt x="1582" y="39"/>
                    <a:pt x="1582" y="39"/>
                  </a:cubicBezTo>
                  <a:cubicBezTo>
                    <a:pt x="1582" y="39"/>
                    <a:pt x="1582" y="39"/>
                    <a:pt x="1582" y="39"/>
                  </a:cubicBezTo>
                  <a:cubicBezTo>
                    <a:pt x="1581" y="39"/>
                    <a:pt x="1581" y="39"/>
                    <a:pt x="1581" y="39"/>
                  </a:cubicBezTo>
                  <a:cubicBezTo>
                    <a:pt x="1581" y="39"/>
                    <a:pt x="1581" y="39"/>
                    <a:pt x="1581" y="39"/>
                  </a:cubicBezTo>
                  <a:cubicBezTo>
                    <a:pt x="1580" y="39"/>
                    <a:pt x="1580" y="39"/>
                    <a:pt x="1580" y="39"/>
                  </a:cubicBezTo>
                  <a:cubicBezTo>
                    <a:pt x="1579" y="40"/>
                    <a:pt x="1577" y="40"/>
                    <a:pt x="1576" y="40"/>
                  </a:cubicBezTo>
                  <a:cubicBezTo>
                    <a:pt x="1575" y="40"/>
                    <a:pt x="1575" y="40"/>
                    <a:pt x="1575" y="40"/>
                  </a:cubicBezTo>
                  <a:cubicBezTo>
                    <a:pt x="1575" y="41"/>
                    <a:pt x="1575" y="41"/>
                    <a:pt x="1575" y="41"/>
                  </a:cubicBezTo>
                  <a:cubicBezTo>
                    <a:pt x="1574" y="41"/>
                    <a:pt x="1573" y="42"/>
                    <a:pt x="1571" y="42"/>
                  </a:cubicBezTo>
                  <a:cubicBezTo>
                    <a:pt x="1571" y="42"/>
                    <a:pt x="1571" y="42"/>
                    <a:pt x="1571" y="42"/>
                  </a:cubicBezTo>
                  <a:cubicBezTo>
                    <a:pt x="1571" y="42"/>
                    <a:pt x="1571" y="42"/>
                    <a:pt x="1571" y="42"/>
                  </a:cubicBezTo>
                  <a:cubicBezTo>
                    <a:pt x="1571" y="42"/>
                    <a:pt x="1571" y="42"/>
                    <a:pt x="1571" y="42"/>
                  </a:cubicBezTo>
                  <a:cubicBezTo>
                    <a:pt x="1571" y="42"/>
                    <a:pt x="1571" y="42"/>
                    <a:pt x="1571" y="42"/>
                  </a:cubicBezTo>
                  <a:cubicBezTo>
                    <a:pt x="1570" y="42"/>
                    <a:pt x="1570" y="42"/>
                    <a:pt x="1570" y="42"/>
                  </a:cubicBezTo>
                  <a:cubicBezTo>
                    <a:pt x="1570" y="41"/>
                    <a:pt x="1570" y="41"/>
                    <a:pt x="1570" y="41"/>
                  </a:cubicBezTo>
                  <a:cubicBezTo>
                    <a:pt x="1567" y="42"/>
                    <a:pt x="1569" y="41"/>
                    <a:pt x="1566" y="41"/>
                  </a:cubicBezTo>
                  <a:cubicBezTo>
                    <a:pt x="1565" y="41"/>
                    <a:pt x="1565" y="41"/>
                    <a:pt x="1565" y="41"/>
                  </a:cubicBezTo>
                  <a:cubicBezTo>
                    <a:pt x="1565" y="41"/>
                    <a:pt x="1565" y="41"/>
                    <a:pt x="1565" y="41"/>
                  </a:cubicBezTo>
                  <a:cubicBezTo>
                    <a:pt x="1564" y="41"/>
                    <a:pt x="1564" y="41"/>
                    <a:pt x="1564" y="41"/>
                  </a:cubicBezTo>
                  <a:cubicBezTo>
                    <a:pt x="1564" y="41"/>
                    <a:pt x="1564" y="41"/>
                    <a:pt x="1564" y="41"/>
                  </a:cubicBezTo>
                  <a:cubicBezTo>
                    <a:pt x="1564" y="40"/>
                    <a:pt x="1564" y="40"/>
                    <a:pt x="1564" y="40"/>
                  </a:cubicBezTo>
                  <a:cubicBezTo>
                    <a:pt x="1563" y="40"/>
                    <a:pt x="1563" y="40"/>
                    <a:pt x="1563" y="40"/>
                  </a:cubicBezTo>
                  <a:cubicBezTo>
                    <a:pt x="1563" y="40"/>
                    <a:pt x="1563" y="40"/>
                    <a:pt x="1563" y="40"/>
                  </a:cubicBezTo>
                  <a:cubicBezTo>
                    <a:pt x="1562" y="40"/>
                    <a:pt x="1562" y="40"/>
                    <a:pt x="1562" y="40"/>
                  </a:cubicBezTo>
                  <a:cubicBezTo>
                    <a:pt x="1562" y="40"/>
                    <a:pt x="1562" y="40"/>
                    <a:pt x="1562" y="40"/>
                  </a:cubicBezTo>
                  <a:cubicBezTo>
                    <a:pt x="1561" y="40"/>
                    <a:pt x="1561" y="40"/>
                    <a:pt x="1561" y="40"/>
                  </a:cubicBezTo>
                  <a:cubicBezTo>
                    <a:pt x="1561" y="40"/>
                    <a:pt x="1561" y="40"/>
                    <a:pt x="1561" y="40"/>
                  </a:cubicBezTo>
                  <a:cubicBezTo>
                    <a:pt x="1560" y="40"/>
                    <a:pt x="1560" y="40"/>
                    <a:pt x="1560" y="40"/>
                  </a:cubicBezTo>
                  <a:cubicBezTo>
                    <a:pt x="1560" y="40"/>
                    <a:pt x="1560" y="40"/>
                    <a:pt x="1560" y="40"/>
                  </a:cubicBezTo>
                  <a:cubicBezTo>
                    <a:pt x="1559" y="40"/>
                    <a:pt x="1559" y="40"/>
                    <a:pt x="1559" y="40"/>
                  </a:cubicBezTo>
                  <a:cubicBezTo>
                    <a:pt x="1559" y="40"/>
                    <a:pt x="1559" y="40"/>
                    <a:pt x="1559" y="40"/>
                  </a:cubicBezTo>
                  <a:cubicBezTo>
                    <a:pt x="1559" y="39"/>
                    <a:pt x="1559" y="39"/>
                    <a:pt x="1559" y="39"/>
                  </a:cubicBezTo>
                  <a:cubicBezTo>
                    <a:pt x="1559" y="39"/>
                    <a:pt x="1559" y="39"/>
                    <a:pt x="1559" y="39"/>
                  </a:cubicBezTo>
                  <a:cubicBezTo>
                    <a:pt x="1557" y="40"/>
                    <a:pt x="1556" y="40"/>
                    <a:pt x="1554" y="41"/>
                  </a:cubicBezTo>
                  <a:cubicBezTo>
                    <a:pt x="1554" y="40"/>
                    <a:pt x="1554" y="40"/>
                    <a:pt x="1554" y="40"/>
                  </a:cubicBezTo>
                  <a:cubicBezTo>
                    <a:pt x="1554" y="40"/>
                    <a:pt x="1554" y="40"/>
                    <a:pt x="1554" y="40"/>
                  </a:cubicBezTo>
                  <a:cubicBezTo>
                    <a:pt x="1552" y="40"/>
                    <a:pt x="1552" y="40"/>
                    <a:pt x="1551" y="41"/>
                  </a:cubicBezTo>
                  <a:cubicBezTo>
                    <a:pt x="1550" y="41"/>
                    <a:pt x="1550" y="41"/>
                    <a:pt x="1550" y="41"/>
                  </a:cubicBezTo>
                  <a:cubicBezTo>
                    <a:pt x="1550" y="41"/>
                    <a:pt x="1550" y="41"/>
                    <a:pt x="1550" y="41"/>
                  </a:cubicBezTo>
                  <a:cubicBezTo>
                    <a:pt x="1549" y="41"/>
                    <a:pt x="1549" y="41"/>
                    <a:pt x="1549" y="41"/>
                  </a:cubicBezTo>
                  <a:cubicBezTo>
                    <a:pt x="1549" y="41"/>
                    <a:pt x="1549" y="41"/>
                    <a:pt x="1549" y="41"/>
                  </a:cubicBezTo>
                  <a:cubicBezTo>
                    <a:pt x="1548" y="41"/>
                    <a:pt x="1548" y="41"/>
                    <a:pt x="1548" y="41"/>
                  </a:cubicBezTo>
                  <a:cubicBezTo>
                    <a:pt x="1548" y="41"/>
                    <a:pt x="1548" y="41"/>
                    <a:pt x="1548" y="41"/>
                  </a:cubicBezTo>
                  <a:cubicBezTo>
                    <a:pt x="1547" y="41"/>
                    <a:pt x="1547" y="41"/>
                    <a:pt x="1547" y="41"/>
                  </a:cubicBezTo>
                  <a:cubicBezTo>
                    <a:pt x="1546" y="41"/>
                    <a:pt x="1546" y="41"/>
                    <a:pt x="1546" y="41"/>
                  </a:cubicBezTo>
                  <a:cubicBezTo>
                    <a:pt x="1544" y="41"/>
                    <a:pt x="1543" y="41"/>
                    <a:pt x="1541" y="41"/>
                  </a:cubicBezTo>
                  <a:cubicBezTo>
                    <a:pt x="1540" y="41"/>
                    <a:pt x="1540" y="41"/>
                    <a:pt x="1540" y="41"/>
                  </a:cubicBezTo>
                  <a:cubicBezTo>
                    <a:pt x="1540" y="41"/>
                    <a:pt x="1540" y="41"/>
                    <a:pt x="1540" y="41"/>
                  </a:cubicBezTo>
                  <a:cubicBezTo>
                    <a:pt x="1538" y="42"/>
                    <a:pt x="1539" y="39"/>
                    <a:pt x="1536" y="40"/>
                  </a:cubicBezTo>
                  <a:cubicBezTo>
                    <a:pt x="1535" y="40"/>
                    <a:pt x="1535" y="40"/>
                    <a:pt x="1535" y="40"/>
                  </a:cubicBezTo>
                  <a:cubicBezTo>
                    <a:pt x="1535" y="40"/>
                    <a:pt x="1535" y="40"/>
                    <a:pt x="1535" y="40"/>
                  </a:cubicBezTo>
                  <a:cubicBezTo>
                    <a:pt x="1534" y="40"/>
                    <a:pt x="1534" y="40"/>
                    <a:pt x="1534" y="40"/>
                  </a:cubicBezTo>
                  <a:cubicBezTo>
                    <a:pt x="1534" y="40"/>
                    <a:pt x="1534" y="40"/>
                    <a:pt x="1534" y="40"/>
                  </a:cubicBezTo>
                  <a:cubicBezTo>
                    <a:pt x="1533" y="40"/>
                    <a:pt x="1533" y="40"/>
                    <a:pt x="1533" y="40"/>
                  </a:cubicBezTo>
                  <a:cubicBezTo>
                    <a:pt x="1533" y="40"/>
                    <a:pt x="1533" y="40"/>
                    <a:pt x="1533" y="40"/>
                  </a:cubicBezTo>
                  <a:cubicBezTo>
                    <a:pt x="1531" y="41"/>
                    <a:pt x="1531" y="41"/>
                    <a:pt x="1531" y="41"/>
                  </a:cubicBezTo>
                  <a:cubicBezTo>
                    <a:pt x="1531" y="41"/>
                    <a:pt x="1531" y="41"/>
                    <a:pt x="1531" y="41"/>
                  </a:cubicBezTo>
                  <a:cubicBezTo>
                    <a:pt x="1531" y="42"/>
                    <a:pt x="1531" y="42"/>
                    <a:pt x="1531" y="42"/>
                  </a:cubicBezTo>
                  <a:cubicBezTo>
                    <a:pt x="1532" y="43"/>
                    <a:pt x="1532" y="43"/>
                    <a:pt x="1532" y="43"/>
                  </a:cubicBezTo>
                  <a:cubicBezTo>
                    <a:pt x="1532" y="44"/>
                    <a:pt x="1532" y="44"/>
                    <a:pt x="1532" y="44"/>
                  </a:cubicBezTo>
                  <a:cubicBezTo>
                    <a:pt x="1532" y="44"/>
                    <a:pt x="1532" y="44"/>
                    <a:pt x="1532" y="44"/>
                  </a:cubicBezTo>
                  <a:cubicBezTo>
                    <a:pt x="1532" y="45"/>
                    <a:pt x="1532" y="45"/>
                    <a:pt x="1532" y="45"/>
                  </a:cubicBezTo>
                  <a:cubicBezTo>
                    <a:pt x="1532" y="45"/>
                    <a:pt x="1532" y="45"/>
                    <a:pt x="1532" y="45"/>
                  </a:cubicBezTo>
                  <a:cubicBezTo>
                    <a:pt x="1531" y="45"/>
                    <a:pt x="1531" y="45"/>
                    <a:pt x="1531" y="45"/>
                  </a:cubicBezTo>
                  <a:cubicBezTo>
                    <a:pt x="1531" y="46"/>
                    <a:pt x="1531" y="46"/>
                    <a:pt x="1531" y="46"/>
                  </a:cubicBezTo>
                  <a:cubicBezTo>
                    <a:pt x="1530" y="47"/>
                    <a:pt x="1530" y="48"/>
                    <a:pt x="1528" y="48"/>
                  </a:cubicBezTo>
                  <a:cubicBezTo>
                    <a:pt x="1528" y="48"/>
                    <a:pt x="1528" y="48"/>
                    <a:pt x="1528" y="48"/>
                  </a:cubicBezTo>
                  <a:cubicBezTo>
                    <a:pt x="1528" y="49"/>
                    <a:pt x="1528" y="49"/>
                    <a:pt x="1528" y="49"/>
                  </a:cubicBezTo>
                  <a:cubicBezTo>
                    <a:pt x="1527" y="49"/>
                    <a:pt x="1527" y="49"/>
                    <a:pt x="1527" y="49"/>
                  </a:cubicBezTo>
                  <a:cubicBezTo>
                    <a:pt x="1527" y="49"/>
                    <a:pt x="1527" y="49"/>
                    <a:pt x="1527" y="49"/>
                  </a:cubicBezTo>
                  <a:cubicBezTo>
                    <a:pt x="1526" y="49"/>
                    <a:pt x="1526" y="49"/>
                    <a:pt x="1526" y="49"/>
                  </a:cubicBezTo>
                  <a:cubicBezTo>
                    <a:pt x="1521" y="50"/>
                    <a:pt x="1523" y="47"/>
                    <a:pt x="1514" y="49"/>
                  </a:cubicBezTo>
                  <a:cubicBezTo>
                    <a:pt x="1514" y="49"/>
                    <a:pt x="1514" y="49"/>
                    <a:pt x="1514" y="49"/>
                  </a:cubicBezTo>
                  <a:cubicBezTo>
                    <a:pt x="1514" y="49"/>
                    <a:pt x="1514" y="49"/>
                    <a:pt x="1514" y="49"/>
                  </a:cubicBezTo>
                  <a:cubicBezTo>
                    <a:pt x="1514" y="49"/>
                    <a:pt x="1514" y="49"/>
                    <a:pt x="1514" y="49"/>
                  </a:cubicBezTo>
                  <a:cubicBezTo>
                    <a:pt x="1512" y="50"/>
                    <a:pt x="1511" y="49"/>
                    <a:pt x="1510" y="50"/>
                  </a:cubicBezTo>
                  <a:cubicBezTo>
                    <a:pt x="1510" y="51"/>
                    <a:pt x="1510" y="51"/>
                    <a:pt x="1510" y="51"/>
                  </a:cubicBezTo>
                  <a:cubicBezTo>
                    <a:pt x="1509" y="51"/>
                    <a:pt x="1509" y="51"/>
                    <a:pt x="1509" y="51"/>
                  </a:cubicBezTo>
                  <a:cubicBezTo>
                    <a:pt x="1507" y="50"/>
                    <a:pt x="1509" y="50"/>
                    <a:pt x="1505" y="50"/>
                  </a:cubicBezTo>
                  <a:cubicBezTo>
                    <a:pt x="1504" y="50"/>
                    <a:pt x="1504" y="50"/>
                    <a:pt x="1504" y="50"/>
                  </a:cubicBezTo>
                  <a:cubicBezTo>
                    <a:pt x="1504" y="50"/>
                    <a:pt x="1504" y="50"/>
                    <a:pt x="1504" y="50"/>
                  </a:cubicBezTo>
                  <a:cubicBezTo>
                    <a:pt x="1503" y="49"/>
                    <a:pt x="1503" y="49"/>
                    <a:pt x="1503" y="49"/>
                  </a:cubicBezTo>
                  <a:cubicBezTo>
                    <a:pt x="1503" y="49"/>
                    <a:pt x="1503" y="49"/>
                    <a:pt x="1503" y="49"/>
                  </a:cubicBezTo>
                  <a:cubicBezTo>
                    <a:pt x="1501" y="48"/>
                    <a:pt x="1501" y="48"/>
                    <a:pt x="1501" y="48"/>
                  </a:cubicBezTo>
                  <a:cubicBezTo>
                    <a:pt x="1522" y="33"/>
                    <a:pt x="1522" y="33"/>
                    <a:pt x="1522" y="33"/>
                  </a:cubicBezTo>
                  <a:cubicBezTo>
                    <a:pt x="1522" y="33"/>
                    <a:pt x="1522" y="33"/>
                    <a:pt x="1522" y="33"/>
                  </a:cubicBezTo>
                  <a:cubicBezTo>
                    <a:pt x="1522" y="33"/>
                    <a:pt x="1522" y="33"/>
                    <a:pt x="1522" y="33"/>
                  </a:cubicBezTo>
                  <a:cubicBezTo>
                    <a:pt x="1522" y="33"/>
                    <a:pt x="1522" y="33"/>
                    <a:pt x="1522" y="33"/>
                  </a:cubicBezTo>
                  <a:cubicBezTo>
                    <a:pt x="1522" y="32"/>
                    <a:pt x="1522" y="32"/>
                    <a:pt x="1522" y="32"/>
                  </a:cubicBezTo>
                  <a:cubicBezTo>
                    <a:pt x="1521" y="32"/>
                    <a:pt x="1521" y="32"/>
                    <a:pt x="1521" y="32"/>
                  </a:cubicBezTo>
                  <a:cubicBezTo>
                    <a:pt x="1521" y="32"/>
                    <a:pt x="1521" y="32"/>
                    <a:pt x="1521" y="32"/>
                  </a:cubicBezTo>
                  <a:cubicBezTo>
                    <a:pt x="1520" y="32"/>
                    <a:pt x="1520" y="32"/>
                    <a:pt x="1520" y="32"/>
                  </a:cubicBezTo>
                  <a:cubicBezTo>
                    <a:pt x="1520" y="32"/>
                    <a:pt x="1520" y="32"/>
                    <a:pt x="1520" y="32"/>
                  </a:cubicBezTo>
                  <a:cubicBezTo>
                    <a:pt x="1519" y="31"/>
                    <a:pt x="1519" y="31"/>
                    <a:pt x="1519" y="31"/>
                  </a:cubicBezTo>
                  <a:cubicBezTo>
                    <a:pt x="1518" y="29"/>
                    <a:pt x="1518" y="29"/>
                    <a:pt x="1515" y="29"/>
                  </a:cubicBezTo>
                  <a:cubicBezTo>
                    <a:pt x="1515" y="29"/>
                    <a:pt x="1515" y="29"/>
                    <a:pt x="1515" y="29"/>
                  </a:cubicBezTo>
                  <a:cubicBezTo>
                    <a:pt x="1514" y="29"/>
                    <a:pt x="1514" y="29"/>
                    <a:pt x="1514" y="29"/>
                  </a:cubicBezTo>
                  <a:cubicBezTo>
                    <a:pt x="1514" y="29"/>
                    <a:pt x="1514" y="29"/>
                    <a:pt x="1514" y="29"/>
                  </a:cubicBezTo>
                  <a:cubicBezTo>
                    <a:pt x="1514" y="29"/>
                    <a:pt x="1514" y="29"/>
                    <a:pt x="1514" y="29"/>
                  </a:cubicBezTo>
                  <a:cubicBezTo>
                    <a:pt x="1513" y="29"/>
                    <a:pt x="1512" y="28"/>
                    <a:pt x="1511" y="28"/>
                  </a:cubicBezTo>
                  <a:cubicBezTo>
                    <a:pt x="1511" y="28"/>
                    <a:pt x="1511" y="28"/>
                    <a:pt x="1511" y="28"/>
                  </a:cubicBezTo>
                  <a:cubicBezTo>
                    <a:pt x="1510" y="28"/>
                    <a:pt x="1510" y="28"/>
                    <a:pt x="1510" y="28"/>
                  </a:cubicBezTo>
                  <a:cubicBezTo>
                    <a:pt x="1508" y="28"/>
                    <a:pt x="1509" y="28"/>
                    <a:pt x="1508" y="28"/>
                  </a:cubicBezTo>
                  <a:cubicBezTo>
                    <a:pt x="1507" y="28"/>
                    <a:pt x="1507" y="28"/>
                    <a:pt x="1507" y="28"/>
                  </a:cubicBezTo>
                  <a:cubicBezTo>
                    <a:pt x="1506" y="28"/>
                    <a:pt x="1506" y="28"/>
                    <a:pt x="1506" y="28"/>
                  </a:cubicBezTo>
                  <a:cubicBezTo>
                    <a:pt x="1506" y="29"/>
                    <a:pt x="1506" y="29"/>
                    <a:pt x="1506" y="29"/>
                  </a:cubicBezTo>
                  <a:cubicBezTo>
                    <a:pt x="1507" y="29"/>
                    <a:pt x="1507" y="29"/>
                    <a:pt x="1507" y="29"/>
                  </a:cubicBezTo>
                  <a:cubicBezTo>
                    <a:pt x="1508" y="29"/>
                    <a:pt x="1508" y="29"/>
                    <a:pt x="1508" y="29"/>
                  </a:cubicBezTo>
                  <a:cubicBezTo>
                    <a:pt x="1508" y="29"/>
                    <a:pt x="1508" y="29"/>
                    <a:pt x="1508" y="29"/>
                  </a:cubicBezTo>
                  <a:cubicBezTo>
                    <a:pt x="1508" y="30"/>
                    <a:pt x="1508" y="30"/>
                    <a:pt x="1508" y="30"/>
                  </a:cubicBezTo>
                  <a:cubicBezTo>
                    <a:pt x="1508" y="30"/>
                    <a:pt x="1508" y="30"/>
                    <a:pt x="1508" y="30"/>
                  </a:cubicBezTo>
                  <a:cubicBezTo>
                    <a:pt x="1508" y="30"/>
                    <a:pt x="1508" y="30"/>
                    <a:pt x="1508" y="30"/>
                  </a:cubicBezTo>
                  <a:cubicBezTo>
                    <a:pt x="1508" y="30"/>
                    <a:pt x="1508" y="30"/>
                    <a:pt x="1508" y="30"/>
                  </a:cubicBezTo>
                  <a:cubicBezTo>
                    <a:pt x="1508" y="30"/>
                    <a:pt x="1508" y="30"/>
                    <a:pt x="1508" y="30"/>
                  </a:cubicBezTo>
                  <a:cubicBezTo>
                    <a:pt x="1507" y="30"/>
                    <a:pt x="1507" y="30"/>
                    <a:pt x="1507" y="30"/>
                  </a:cubicBezTo>
                  <a:cubicBezTo>
                    <a:pt x="1506" y="30"/>
                    <a:pt x="1506" y="30"/>
                    <a:pt x="1506" y="30"/>
                  </a:cubicBezTo>
                  <a:cubicBezTo>
                    <a:pt x="1505" y="29"/>
                    <a:pt x="1503" y="28"/>
                    <a:pt x="1501" y="28"/>
                  </a:cubicBezTo>
                  <a:cubicBezTo>
                    <a:pt x="1500" y="28"/>
                    <a:pt x="1500" y="28"/>
                    <a:pt x="1500" y="28"/>
                  </a:cubicBezTo>
                  <a:cubicBezTo>
                    <a:pt x="1500" y="28"/>
                    <a:pt x="1500" y="28"/>
                    <a:pt x="1500" y="28"/>
                  </a:cubicBezTo>
                  <a:cubicBezTo>
                    <a:pt x="1499" y="27"/>
                    <a:pt x="1499" y="27"/>
                    <a:pt x="1499" y="27"/>
                  </a:cubicBezTo>
                  <a:cubicBezTo>
                    <a:pt x="1498" y="27"/>
                    <a:pt x="1498" y="27"/>
                    <a:pt x="1498" y="27"/>
                  </a:cubicBezTo>
                  <a:cubicBezTo>
                    <a:pt x="1498" y="27"/>
                    <a:pt x="1498" y="27"/>
                    <a:pt x="1498" y="27"/>
                  </a:cubicBezTo>
                  <a:cubicBezTo>
                    <a:pt x="1497" y="27"/>
                    <a:pt x="1497" y="27"/>
                    <a:pt x="1497" y="27"/>
                  </a:cubicBezTo>
                  <a:cubicBezTo>
                    <a:pt x="1497" y="27"/>
                    <a:pt x="1497" y="27"/>
                    <a:pt x="1497" y="27"/>
                  </a:cubicBezTo>
                  <a:cubicBezTo>
                    <a:pt x="1496" y="28"/>
                    <a:pt x="1496" y="28"/>
                    <a:pt x="1496" y="28"/>
                  </a:cubicBezTo>
                  <a:cubicBezTo>
                    <a:pt x="1496" y="28"/>
                    <a:pt x="1496" y="28"/>
                    <a:pt x="1496" y="28"/>
                  </a:cubicBezTo>
                  <a:cubicBezTo>
                    <a:pt x="1496" y="28"/>
                    <a:pt x="1496" y="28"/>
                    <a:pt x="1496" y="28"/>
                  </a:cubicBezTo>
                  <a:cubicBezTo>
                    <a:pt x="1495" y="28"/>
                    <a:pt x="1495" y="28"/>
                    <a:pt x="1495" y="28"/>
                  </a:cubicBezTo>
                  <a:cubicBezTo>
                    <a:pt x="1494" y="29"/>
                    <a:pt x="1493" y="29"/>
                    <a:pt x="1492" y="30"/>
                  </a:cubicBezTo>
                  <a:cubicBezTo>
                    <a:pt x="1492" y="30"/>
                    <a:pt x="1492" y="30"/>
                    <a:pt x="1492" y="30"/>
                  </a:cubicBezTo>
                  <a:cubicBezTo>
                    <a:pt x="1492" y="30"/>
                    <a:pt x="1492" y="30"/>
                    <a:pt x="1492" y="30"/>
                  </a:cubicBezTo>
                  <a:cubicBezTo>
                    <a:pt x="1492" y="30"/>
                    <a:pt x="1492" y="30"/>
                    <a:pt x="1492" y="30"/>
                  </a:cubicBezTo>
                  <a:cubicBezTo>
                    <a:pt x="1491" y="30"/>
                    <a:pt x="1491" y="30"/>
                    <a:pt x="1491" y="30"/>
                  </a:cubicBezTo>
                  <a:cubicBezTo>
                    <a:pt x="1490" y="30"/>
                    <a:pt x="1490" y="30"/>
                    <a:pt x="1490" y="30"/>
                  </a:cubicBezTo>
                  <a:cubicBezTo>
                    <a:pt x="1489" y="30"/>
                    <a:pt x="1489" y="30"/>
                    <a:pt x="1487" y="31"/>
                  </a:cubicBezTo>
                  <a:cubicBezTo>
                    <a:pt x="1486" y="31"/>
                    <a:pt x="1486" y="31"/>
                    <a:pt x="1486" y="31"/>
                  </a:cubicBezTo>
                  <a:cubicBezTo>
                    <a:pt x="1484" y="30"/>
                    <a:pt x="1484" y="30"/>
                    <a:pt x="1484" y="30"/>
                  </a:cubicBezTo>
                  <a:cubicBezTo>
                    <a:pt x="1483" y="30"/>
                    <a:pt x="1483" y="30"/>
                    <a:pt x="1483" y="30"/>
                  </a:cubicBezTo>
                  <a:cubicBezTo>
                    <a:pt x="1482" y="30"/>
                    <a:pt x="1482" y="30"/>
                    <a:pt x="1482" y="30"/>
                  </a:cubicBezTo>
                  <a:cubicBezTo>
                    <a:pt x="1482" y="30"/>
                    <a:pt x="1482" y="30"/>
                    <a:pt x="1482" y="30"/>
                  </a:cubicBezTo>
                  <a:cubicBezTo>
                    <a:pt x="1482" y="30"/>
                    <a:pt x="1482" y="30"/>
                    <a:pt x="1482" y="30"/>
                  </a:cubicBezTo>
                  <a:cubicBezTo>
                    <a:pt x="1482" y="30"/>
                    <a:pt x="1482" y="30"/>
                    <a:pt x="1482" y="30"/>
                  </a:cubicBezTo>
                  <a:cubicBezTo>
                    <a:pt x="1482" y="29"/>
                    <a:pt x="1482" y="29"/>
                    <a:pt x="1482" y="29"/>
                  </a:cubicBezTo>
                  <a:cubicBezTo>
                    <a:pt x="1482" y="29"/>
                    <a:pt x="1482" y="29"/>
                    <a:pt x="1482" y="29"/>
                  </a:cubicBezTo>
                  <a:cubicBezTo>
                    <a:pt x="1482" y="29"/>
                    <a:pt x="1482" y="29"/>
                    <a:pt x="1482" y="29"/>
                  </a:cubicBezTo>
                  <a:cubicBezTo>
                    <a:pt x="1483" y="28"/>
                    <a:pt x="1484" y="28"/>
                    <a:pt x="1485" y="29"/>
                  </a:cubicBezTo>
                  <a:cubicBezTo>
                    <a:pt x="1486" y="29"/>
                    <a:pt x="1486" y="29"/>
                    <a:pt x="1486" y="29"/>
                  </a:cubicBezTo>
                  <a:cubicBezTo>
                    <a:pt x="1487" y="29"/>
                    <a:pt x="1487" y="29"/>
                    <a:pt x="1487" y="29"/>
                  </a:cubicBezTo>
                  <a:cubicBezTo>
                    <a:pt x="1489" y="29"/>
                    <a:pt x="1487" y="27"/>
                    <a:pt x="1489" y="27"/>
                  </a:cubicBezTo>
                  <a:cubicBezTo>
                    <a:pt x="1490" y="27"/>
                    <a:pt x="1490" y="27"/>
                    <a:pt x="1490" y="27"/>
                  </a:cubicBezTo>
                  <a:cubicBezTo>
                    <a:pt x="1490" y="26"/>
                    <a:pt x="1490" y="26"/>
                    <a:pt x="1490" y="26"/>
                  </a:cubicBezTo>
                  <a:cubicBezTo>
                    <a:pt x="1491" y="25"/>
                    <a:pt x="1491" y="25"/>
                    <a:pt x="1491" y="25"/>
                  </a:cubicBezTo>
                  <a:cubicBezTo>
                    <a:pt x="1491" y="24"/>
                    <a:pt x="1491" y="24"/>
                    <a:pt x="1491" y="24"/>
                  </a:cubicBezTo>
                  <a:cubicBezTo>
                    <a:pt x="1491" y="24"/>
                    <a:pt x="1491" y="24"/>
                    <a:pt x="1491" y="24"/>
                  </a:cubicBezTo>
                  <a:cubicBezTo>
                    <a:pt x="1491" y="24"/>
                    <a:pt x="1491" y="24"/>
                    <a:pt x="1491" y="24"/>
                  </a:cubicBezTo>
                  <a:cubicBezTo>
                    <a:pt x="1491" y="25"/>
                    <a:pt x="1491" y="25"/>
                    <a:pt x="1491" y="25"/>
                  </a:cubicBezTo>
                  <a:cubicBezTo>
                    <a:pt x="1490" y="25"/>
                    <a:pt x="1490" y="25"/>
                    <a:pt x="1490" y="25"/>
                  </a:cubicBezTo>
                  <a:cubicBezTo>
                    <a:pt x="1489" y="26"/>
                    <a:pt x="1487" y="25"/>
                    <a:pt x="1485" y="25"/>
                  </a:cubicBezTo>
                  <a:cubicBezTo>
                    <a:pt x="1485" y="25"/>
                    <a:pt x="1485" y="25"/>
                    <a:pt x="1485" y="25"/>
                  </a:cubicBezTo>
                  <a:cubicBezTo>
                    <a:pt x="1484" y="26"/>
                    <a:pt x="1484" y="26"/>
                    <a:pt x="1484" y="26"/>
                  </a:cubicBezTo>
                  <a:cubicBezTo>
                    <a:pt x="1482" y="26"/>
                    <a:pt x="1480" y="27"/>
                    <a:pt x="1478" y="26"/>
                  </a:cubicBezTo>
                  <a:cubicBezTo>
                    <a:pt x="1478" y="26"/>
                    <a:pt x="1478" y="26"/>
                    <a:pt x="1478" y="26"/>
                  </a:cubicBezTo>
                  <a:cubicBezTo>
                    <a:pt x="1477" y="26"/>
                    <a:pt x="1477" y="26"/>
                    <a:pt x="1477" y="26"/>
                  </a:cubicBezTo>
                  <a:cubicBezTo>
                    <a:pt x="1477" y="25"/>
                    <a:pt x="1477" y="25"/>
                    <a:pt x="1477" y="25"/>
                  </a:cubicBezTo>
                  <a:cubicBezTo>
                    <a:pt x="1476" y="26"/>
                    <a:pt x="1476" y="26"/>
                    <a:pt x="1476" y="26"/>
                  </a:cubicBezTo>
                  <a:cubicBezTo>
                    <a:pt x="1476" y="26"/>
                    <a:pt x="1476" y="26"/>
                    <a:pt x="1476" y="26"/>
                  </a:cubicBezTo>
                  <a:cubicBezTo>
                    <a:pt x="1476" y="26"/>
                    <a:pt x="1476" y="26"/>
                    <a:pt x="1476" y="26"/>
                  </a:cubicBezTo>
                  <a:cubicBezTo>
                    <a:pt x="1476" y="26"/>
                    <a:pt x="1476" y="26"/>
                    <a:pt x="1476" y="26"/>
                  </a:cubicBezTo>
                  <a:cubicBezTo>
                    <a:pt x="1476" y="26"/>
                    <a:pt x="1476" y="26"/>
                    <a:pt x="1476" y="26"/>
                  </a:cubicBezTo>
                  <a:cubicBezTo>
                    <a:pt x="1475" y="26"/>
                    <a:pt x="1475" y="26"/>
                    <a:pt x="1475" y="26"/>
                  </a:cubicBezTo>
                  <a:cubicBezTo>
                    <a:pt x="1475" y="26"/>
                    <a:pt x="1475" y="26"/>
                    <a:pt x="1475" y="26"/>
                  </a:cubicBezTo>
                  <a:cubicBezTo>
                    <a:pt x="1474" y="26"/>
                    <a:pt x="1474" y="26"/>
                    <a:pt x="1474" y="26"/>
                  </a:cubicBezTo>
                  <a:cubicBezTo>
                    <a:pt x="1474" y="26"/>
                    <a:pt x="1474" y="26"/>
                    <a:pt x="1474" y="26"/>
                  </a:cubicBezTo>
                  <a:cubicBezTo>
                    <a:pt x="1474" y="26"/>
                    <a:pt x="1474" y="26"/>
                    <a:pt x="1474" y="26"/>
                  </a:cubicBezTo>
                  <a:cubicBezTo>
                    <a:pt x="1473" y="26"/>
                    <a:pt x="1473" y="26"/>
                    <a:pt x="1473" y="26"/>
                  </a:cubicBezTo>
                  <a:cubicBezTo>
                    <a:pt x="1473" y="26"/>
                    <a:pt x="1473" y="26"/>
                    <a:pt x="1473" y="26"/>
                  </a:cubicBezTo>
                  <a:cubicBezTo>
                    <a:pt x="1472" y="26"/>
                    <a:pt x="1472" y="26"/>
                    <a:pt x="1472" y="26"/>
                  </a:cubicBezTo>
                  <a:cubicBezTo>
                    <a:pt x="1470" y="25"/>
                    <a:pt x="1470" y="25"/>
                    <a:pt x="1470" y="25"/>
                  </a:cubicBezTo>
                  <a:cubicBezTo>
                    <a:pt x="1469" y="25"/>
                    <a:pt x="1469" y="25"/>
                    <a:pt x="1469" y="25"/>
                  </a:cubicBezTo>
                  <a:cubicBezTo>
                    <a:pt x="1468" y="25"/>
                    <a:pt x="1468" y="25"/>
                    <a:pt x="1468" y="25"/>
                  </a:cubicBezTo>
                  <a:cubicBezTo>
                    <a:pt x="1468" y="25"/>
                    <a:pt x="1468" y="25"/>
                    <a:pt x="1468" y="25"/>
                  </a:cubicBezTo>
                  <a:cubicBezTo>
                    <a:pt x="1468" y="25"/>
                    <a:pt x="1468" y="25"/>
                    <a:pt x="1468" y="25"/>
                  </a:cubicBezTo>
                  <a:cubicBezTo>
                    <a:pt x="1468" y="25"/>
                    <a:pt x="1468" y="25"/>
                    <a:pt x="1468" y="25"/>
                  </a:cubicBezTo>
                  <a:cubicBezTo>
                    <a:pt x="1467" y="26"/>
                    <a:pt x="1467" y="26"/>
                    <a:pt x="1467" y="26"/>
                  </a:cubicBezTo>
                  <a:cubicBezTo>
                    <a:pt x="1466" y="26"/>
                    <a:pt x="1466" y="26"/>
                    <a:pt x="1466" y="26"/>
                  </a:cubicBezTo>
                  <a:cubicBezTo>
                    <a:pt x="1466" y="26"/>
                    <a:pt x="1466" y="26"/>
                    <a:pt x="1466" y="26"/>
                  </a:cubicBezTo>
                  <a:cubicBezTo>
                    <a:pt x="1465" y="26"/>
                    <a:pt x="1465" y="26"/>
                    <a:pt x="1465" y="26"/>
                  </a:cubicBezTo>
                  <a:cubicBezTo>
                    <a:pt x="1464" y="26"/>
                    <a:pt x="1464" y="26"/>
                    <a:pt x="1464" y="26"/>
                  </a:cubicBezTo>
                  <a:cubicBezTo>
                    <a:pt x="1462" y="26"/>
                    <a:pt x="1462" y="26"/>
                    <a:pt x="1462" y="26"/>
                  </a:cubicBezTo>
                  <a:cubicBezTo>
                    <a:pt x="1459" y="26"/>
                    <a:pt x="1459" y="26"/>
                    <a:pt x="1459" y="26"/>
                  </a:cubicBezTo>
                  <a:cubicBezTo>
                    <a:pt x="1457" y="26"/>
                    <a:pt x="1457" y="26"/>
                    <a:pt x="1457" y="26"/>
                  </a:cubicBezTo>
                  <a:cubicBezTo>
                    <a:pt x="1457" y="26"/>
                    <a:pt x="1457" y="26"/>
                    <a:pt x="1457" y="26"/>
                  </a:cubicBezTo>
                  <a:cubicBezTo>
                    <a:pt x="1457" y="26"/>
                    <a:pt x="1457" y="26"/>
                    <a:pt x="1457" y="26"/>
                  </a:cubicBezTo>
                  <a:cubicBezTo>
                    <a:pt x="1457" y="26"/>
                    <a:pt x="1457" y="26"/>
                    <a:pt x="1457" y="26"/>
                  </a:cubicBezTo>
                  <a:cubicBezTo>
                    <a:pt x="1457" y="25"/>
                    <a:pt x="1457" y="25"/>
                    <a:pt x="1457" y="25"/>
                  </a:cubicBezTo>
                  <a:cubicBezTo>
                    <a:pt x="1458" y="25"/>
                    <a:pt x="1458" y="25"/>
                    <a:pt x="1458" y="25"/>
                  </a:cubicBezTo>
                  <a:cubicBezTo>
                    <a:pt x="1459" y="25"/>
                    <a:pt x="1460" y="25"/>
                    <a:pt x="1461" y="24"/>
                  </a:cubicBezTo>
                  <a:cubicBezTo>
                    <a:pt x="1462" y="24"/>
                    <a:pt x="1462" y="24"/>
                    <a:pt x="1462" y="24"/>
                  </a:cubicBezTo>
                  <a:cubicBezTo>
                    <a:pt x="1462" y="25"/>
                    <a:pt x="1462" y="25"/>
                    <a:pt x="1462" y="25"/>
                  </a:cubicBezTo>
                  <a:cubicBezTo>
                    <a:pt x="1465" y="25"/>
                    <a:pt x="1464" y="24"/>
                    <a:pt x="1466" y="23"/>
                  </a:cubicBezTo>
                  <a:cubicBezTo>
                    <a:pt x="1466" y="23"/>
                    <a:pt x="1466" y="23"/>
                    <a:pt x="1466" y="23"/>
                  </a:cubicBezTo>
                  <a:cubicBezTo>
                    <a:pt x="1467" y="23"/>
                    <a:pt x="1467" y="23"/>
                    <a:pt x="1467" y="23"/>
                  </a:cubicBezTo>
                  <a:cubicBezTo>
                    <a:pt x="1467" y="23"/>
                    <a:pt x="1467" y="23"/>
                    <a:pt x="1467" y="23"/>
                  </a:cubicBezTo>
                  <a:cubicBezTo>
                    <a:pt x="1468" y="23"/>
                    <a:pt x="1468" y="23"/>
                    <a:pt x="1468" y="23"/>
                  </a:cubicBezTo>
                  <a:cubicBezTo>
                    <a:pt x="1469" y="22"/>
                    <a:pt x="1470" y="23"/>
                    <a:pt x="1472" y="23"/>
                  </a:cubicBezTo>
                  <a:cubicBezTo>
                    <a:pt x="1472" y="23"/>
                    <a:pt x="1472" y="23"/>
                    <a:pt x="1472" y="23"/>
                  </a:cubicBezTo>
                  <a:cubicBezTo>
                    <a:pt x="1473" y="23"/>
                    <a:pt x="1473" y="23"/>
                    <a:pt x="1473" y="23"/>
                  </a:cubicBezTo>
                  <a:cubicBezTo>
                    <a:pt x="1474" y="22"/>
                    <a:pt x="1475" y="22"/>
                    <a:pt x="1476" y="22"/>
                  </a:cubicBezTo>
                  <a:cubicBezTo>
                    <a:pt x="1476" y="22"/>
                    <a:pt x="1476" y="22"/>
                    <a:pt x="1476" y="22"/>
                  </a:cubicBezTo>
                  <a:cubicBezTo>
                    <a:pt x="1476" y="22"/>
                    <a:pt x="1476" y="22"/>
                    <a:pt x="1476" y="22"/>
                  </a:cubicBezTo>
                  <a:cubicBezTo>
                    <a:pt x="1477" y="22"/>
                    <a:pt x="1477" y="22"/>
                    <a:pt x="1477" y="22"/>
                  </a:cubicBezTo>
                  <a:cubicBezTo>
                    <a:pt x="1477" y="22"/>
                    <a:pt x="1477" y="22"/>
                    <a:pt x="1477" y="22"/>
                  </a:cubicBezTo>
                  <a:cubicBezTo>
                    <a:pt x="1477" y="22"/>
                    <a:pt x="1477" y="22"/>
                    <a:pt x="1477" y="22"/>
                  </a:cubicBezTo>
                  <a:cubicBezTo>
                    <a:pt x="1478" y="22"/>
                    <a:pt x="1478" y="22"/>
                    <a:pt x="1478" y="22"/>
                  </a:cubicBezTo>
                  <a:cubicBezTo>
                    <a:pt x="1480" y="21"/>
                    <a:pt x="1479" y="20"/>
                    <a:pt x="1481" y="20"/>
                  </a:cubicBezTo>
                  <a:cubicBezTo>
                    <a:pt x="1481" y="20"/>
                    <a:pt x="1481" y="20"/>
                    <a:pt x="1481" y="20"/>
                  </a:cubicBezTo>
                  <a:cubicBezTo>
                    <a:pt x="1482" y="20"/>
                    <a:pt x="1482" y="20"/>
                    <a:pt x="1482" y="20"/>
                  </a:cubicBezTo>
                  <a:cubicBezTo>
                    <a:pt x="1483" y="18"/>
                    <a:pt x="1484" y="18"/>
                    <a:pt x="1486" y="18"/>
                  </a:cubicBezTo>
                  <a:cubicBezTo>
                    <a:pt x="1486" y="17"/>
                    <a:pt x="1486" y="17"/>
                    <a:pt x="1486" y="17"/>
                  </a:cubicBezTo>
                  <a:cubicBezTo>
                    <a:pt x="1486" y="17"/>
                    <a:pt x="1486" y="17"/>
                    <a:pt x="1486" y="17"/>
                  </a:cubicBezTo>
                  <a:cubicBezTo>
                    <a:pt x="1487" y="17"/>
                    <a:pt x="1487" y="17"/>
                    <a:pt x="1487" y="17"/>
                  </a:cubicBezTo>
                  <a:cubicBezTo>
                    <a:pt x="1487" y="17"/>
                    <a:pt x="1487" y="17"/>
                    <a:pt x="1487" y="17"/>
                  </a:cubicBezTo>
                  <a:cubicBezTo>
                    <a:pt x="1489" y="15"/>
                    <a:pt x="1488" y="15"/>
                    <a:pt x="1491" y="15"/>
                  </a:cubicBezTo>
                  <a:cubicBezTo>
                    <a:pt x="1492" y="15"/>
                    <a:pt x="1492" y="15"/>
                    <a:pt x="1492" y="15"/>
                  </a:cubicBezTo>
                  <a:cubicBezTo>
                    <a:pt x="1492" y="15"/>
                    <a:pt x="1492" y="15"/>
                    <a:pt x="1492" y="15"/>
                  </a:cubicBezTo>
                  <a:cubicBezTo>
                    <a:pt x="1494" y="15"/>
                    <a:pt x="1494" y="15"/>
                    <a:pt x="1495" y="15"/>
                  </a:cubicBezTo>
                  <a:cubicBezTo>
                    <a:pt x="1495" y="15"/>
                    <a:pt x="1495" y="15"/>
                    <a:pt x="1495" y="15"/>
                  </a:cubicBezTo>
                  <a:cubicBezTo>
                    <a:pt x="1496" y="15"/>
                    <a:pt x="1496" y="15"/>
                    <a:pt x="1496" y="15"/>
                  </a:cubicBezTo>
                  <a:cubicBezTo>
                    <a:pt x="1496" y="15"/>
                    <a:pt x="1496" y="15"/>
                    <a:pt x="1496" y="15"/>
                  </a:cubicBezTo>
                  <a:cubicBezTo>
                    <a:pt x="1499" y="15"/>
                    <a:pt x="1499" y="15"/>
                    <a:pt x="1499" y="15"/>
                  </a:cubicBezTo>
                  <a:cubicBezTo>
                    <a:pt x="1491" y="7"/>
                    <a:pt x="1491" y="7"/>
                    <a:pt x="1491" y="7"/>
                  </a:cubicBezTo>
                  <a:cubicBezTo>
                    <a:pt x="1469" y="1"/>
                    <a:pt x="1469" y="1"/>
                    <a:pt x="1469" y="1"/>
                  </a:cubicBezTo>
                  <a:cubicBezTo>
                    <a:pt x="1466" y="1"/>
                    <a:pt x="1466" y="1"/>
                    <a:pt x="1466" y="1"/>
                  </a:cubicBezTo>
                  <a:cubicBezTo>
                    <a:pt x="1462" y="1"/>
                    <a:pt x="1462" y="1"/>
                    <a:pt x="1462" y="1"/>
                  </a:cubicBezTo>
                  <a:cubicBezTo>
                    <a:pt x="1459" y="0"/>
                    <a:pt x="1458" y="0"/>
                    <a:pt x="1455" y="0"/>
                  </a:cubicBezTo>
                  <a:cubicBezTo>
                    <a:pt x="1455" y="0"/>
                    <a:pt x="1455" y="0"/>
                    <a:pt x="1455" y="0"/>
                  </a:cubicBezTo>
                  <a:cubicBezTo>
                    <a:pt x="1454" y="0"/>
                    <a:pt x="1454" y="0"/>
                    <a:pt x="1454" y="0"/>
                  </a:cubicBezTo>
                  <a:cubicBezTo>
                    <a:pt x="1454" y="1"/>
                    <a:pt x="1453" y="1"/>
                    <a:pt x="1452" y="1"/>
                  </a:cubicBezTo>
                  <a:cubicBezTo>
                    <a:pt x="1452" y="1"/>
                    <a:pt x="1452" y="1"/>
                    <a:pt x="1452" y="1"/>
                  </a:cubicBezTo>
                  <a:cubicBezTo>
                    <a:pt x="1451" y="1"/>
                    <a:pt x="1451" y="1"/>
                    <a:pt x="1451" y="1"/>
                  </a:cubicBezTo>
                  <a:cubicBezTo>
                    <a:pt x="1451" y="2"/>
                    <a:pt x="1451" y="2"/>
                    <a:pt x="1451" y="2"/>
                  </a:cubicBezTo>
                  <a:cubicBezTo>
                    <a:pt x="1451" y="2"/>
                    <a:pt x="1451" y="2"/>
                    <a:pt x="1451" y="2"/>
                  </a:cubicBezTo>
                  <a:cubicBezTo>
                    <a:pt x="1450" y="2"/>
                    <a:pt x="1450" y="2"/>
                    <a:pt x="1450" y="2"/>
                  </a:cubicBezTo>
                  <a:cubicBezTo>
                    <a:pt x="1449" y="3"/>
                    <a:pt x="1449" y="3"/>
                    <a:pt x="1449" y="3"/>
                  </a:cubicBezTo>
                  <a:cubicBezTo>
                    <a:pt x="1446" y="3"/>
                    <a:pt x="1446" y="3"/>
                    <a:pt x="1446" y="3"/>
                  </a:cubicBezTo>
                  <a:cubicBezTo>
                    <a:pt x="1439" y="4"/>
                    <a:pt x="1439" y="4"/>
                    <a:pt x="1439" y="4"/>
                  </a:cubicBezTo>
                  <a:cubicBezTo>
                    <a:pt x="1436" y="5"/>
                    <a:pt x="1436" y="5"/>
                    <a:pt x="1436" y="5"/>
                  </a:cubicBezTo>
                  <a:cubicBezTo>
                    <a:pt x="1433" y="6"/>
                    <a:pt x="1433" y="6"/>
                    <a:pt x="1433" y="6"/>
                  </a:cubicBezTo>
                  <a:cubicBezTo>
                    <a:pt x="1432" y="7"/>
                    <a:pt x="1432" y="7"/>
                    <a:pt x="1432" y="7"/>
                  </a:cubicBezTo>
                  <a:cubicBezTo>
                    <a:pt x="1430" y="7"/>
                    <a:pt x="1430" y="7"/>
                    <a:pt x="1430" y="7"/>
                  </a:cubicBezTo>
                  <a:cubicBezTo>
                    <a:pt x="1427" y="9"/>
                    <a:pt x="1427" y="9"/>
                    <a:pt x="1427" y="9"/>
                  </a:cubicBezTo>
                  <a:cubicBezTo>
                    <a:pt x="1424" y="10"/>
                    <a:pt x="1424" y="10"/>
                    <a:pt x="1424" y="10"/>
                  </a:cubicBezTo>
                  <a:cubicBezTo>
                    <a:pt x="1422" y="11"/>
                    <a:pt x="1422" y="11"/>
                    <a:pt x="1422" y="11"/>
                  </a:cubicBezTo>
                  <a:cubicBezTo>
                    <a:pt x="1417" y="13"/>
                    <a:pt x="1417" y="13"/>
                    <a:pt x="1417" y="13"/>
                  </a:cubicBezTo>
                  <a:cubicBezTo>
                    <a:pt x="1415" y="14"/>
                    <a:pt x="1415" y="14"/>
                    <a:pt x="1415" y="14"/>
                  </a:cubicBezTo>
                  <a:cubicBezTo>
                    <a:pt x="1414" y="15"/>
                    <a:pt x="1414" y="15"/>
                    <a:pt x="1414" y="15"/>
                  </a:cubicBezTo>
                  <a:cubicBezTo>
                    <a:pt x="1414" y="15"/>
                    <a:pt x="1414" y="15"/>
                    <a:pt x="1414" y="15"/>
                  </a:cubicBezTo>
                  <a:cubicBezTo>
                    <a:pt x="1414" y="15"/>
                    <a:pt x="1414" y="15"/>
                    <a:pt x="1414" y="15"/>
                  </a:cubicBezTo>
                  <a:cubicBezTo>
                    <a:pt x="1414" y="16"/>
                    <a:pt x="1414" y="16"/>
                    <a:pt x="1414" y="16"/>
                  </a:cubicBezTo>
                  <a:cubicBezTo>
                    <a:pt x="1414" y="16"/>
                    <a:pt x="1414" y="16"/>
                    <a:pt x="1414" y="16"/>
                  </a:cubicBezTo>
                  <a:cubicBezTo>
                    <a:pt x="1414" y="16"/>
                    <a:pt x="1414" y="16"/>
                    <a:pt x="1414" y="16"/>
                  </a:cubicBezTo>
                  <a:cubicBezTo>
                    <a:pt x="1414" y="16"/>
                    <a:pt x="1414" y="16"/>
                    <a:pt x="1414" y="16"/>
                  </a:cubicBezTo>
                  <a:cubicBezTo>
                    <a:pt x="1415" y="16"/>
                    <a:pt x="1415" y="16"/>
                    <a:pt x="1415" y="16"/>
                  </a:cubicBezTo>
                  <a:cubicBezTo>
                    <a:pt x="1417" y="16"/>
                    <a:pt x="1417" y="16"/>
                    <a:pt x="1417" y="16"/>
                  </a:cubicBezTo>
                  <a:cubicBezTo>
                    <a:pt x="1418" y="16"/>
                    <a:pt x="1418" y="16"/>
                    <a:pt x="1418" y="16"/>
                  </a:cubicBezTo>
                  <a:cubicBezTo>
                    <a:pt x="1418" y="16"/>
                    <a:pt x="1418" y="16"/>
                    <a:pt x="1418" y="16"/>
                  </a:cubicBezTo>
                  <a:cubicBezTo>
                    <a:pt x="1418" y="17"/>
                    <a:pt x="1418" y="17"/>
                    <a:pt x="1418" y="17"/>
                  </a:cubicBezTo>
                  <a:cubicBezTo>
                    <a:pt x="1418" y="17"/>
                    <a:pt x="1418" y="17"/>
                    <a:pt x="1418" y="17"/>
                  </a:cubicBezTo>
                  <a:cubicBezTo>
                    <a:pt x="1415" y="19"/>
                    <a:pt x="1412" y="19"/>
                    <a:pt x="1409" y="23"/>
                  </a:cubicBezTo>
                  <a:cubicBezTo>
                    <a:pt x="1408" y="23"/>
                    <a:pt x="1408" y="23"/>
                    <a:pt x="1408" y="23"/>
                  </a:cubicBezTo>
                  <a:cubicBezTo>
                    <a:pt x="1408" y="23"/>
                    <a:pt x="1408" y="23"/>
                    <a:pt x="1408" y="23"/>
                  </a:cubicBezTo>
                  <a:cubicBezTo>
                    <a:pt x="1408" y="24"/>
                    <a:pt x="1408" y="24"/>
                    <a:pt x="1408" y="24"/>
                  </a:cubicBezTo>
                  <a:cubicBezTo>
                    <a:pt x="1407" y="24"/>
                    <a:pt x="1406" y="24"/>
                    <a:pt x="1405" y="25"/>
                  </a:cubicBezTo>
                  <a:cubicBezTo>
                    <a:pt x="1405" y="25"/>
                    <a:pt x="1405" y="25"/>
                    <a:pt x="1405" y="25"/>
                  </a:cubicBezTo>
                  <a:cubicBezTo>
                    <a:pt x="1405" y="25"/>
                    <a:pt x="1405" y="25"/>
                    <a:pt x="1405" y="25"/>
                  </a:cubicBezTo>
                  <a:cubicBezTo>
                    <a:pt x="1404" y="25"/>
                    <a:pt x="1404" y="26"/>
                    <a:pt x="1403" y="27"/>
                  </a:cubicBezTo>
                  <a:cubicBezTo>
                    <a:pt x="1403" y="27"/>
                    <a:pt x="1403" y="27"/>
                    <a:pt x="1403" y="27"/>
                  </a:cubicBezTo>
                  <a:cubicBezTo>
                    <a:pt x="1403" y="27"/>
                    <a:pt x="1403" y="27"/>
                    <a:pt x="1403" y="27"/>
                  </a:cubicBezTo>
                  <a:cubicBezTo>
                    <a:pt x="1404" y="27"/>
                    <a:pt x="1404" y="27"/>
                    <a:pt x="1404" y="27"/>
                  </a:cubicBezTo>
                  <a:cubicBezTo>
                    <a:pt x="1403" y="28"/>
                    <a:pt x="1403" y="28"/>
                    <a:pt x="1403" y="28"/>
                  </a:cubicBezTo>
                  <a:cubicBezTo>
                    <a:pt x="1403" y="28"/>
                    <a:pt x="1403" y="28"/>
                    <a:pt x="1403" y="28"/>
                  </a:cubicBezTo>
                  <a:cubicBezTo>
                    <a:pt x="1400" y="29"/>
                    <a:pt x="1400" y="29"/>
                    <a:pt x="1400" y="29"/>
                  </a:cubicBezTo>
                  <a:cubicBezTo>
                    <a:pt x="1399" y="30"/>
                    <a:pt x="1399" y="30"/>
                    <a:pt x="1399" y="30"/>
                  </a:cubicBezTo>
                  <a:cubicBezTo>
                    <a:pt x="1398" y="31"/>
                    <a:pt x="1398" y="31"/>
                    <a:pt x="1398" y="31"/>
                  </a:cubicBezTo>
                  <a:cubicBezTo>
                    <a:pt x="1398" y="31"/>
                    <a:pt x="1398" y="31"/>
                    <a:pt x="1398" y="31"/>
                  </a:cubicBezTo>
                  <a:cubicBezTo>
                    <a:pt x="1398" y="31"/>
                    <a:pt x="1398" y="31"/>
                    <a:pt x="1398" y="31"/>
                  </a:cubicBezTo>
                  <a:cubicBezTo>
                    <a:pt x="1398" y="31"/>
                    <a:pt x="1398" y="31"/>
                    <a:pt x="1398" y="31"/>
                  </a:cubicBezTo>
                  <a:cubicBezTo>
                    <a:pt x="1398" y="32"/>
                    <a:pt x="1398" y="32"/>
                    <a:pt x="1398" y="32"/>
                  </a:cubicBezTo>
                  <a:cubicBezTo>
                    <a:pt x="1398" y="32"/>
                    <a:pt x="1398" y="32"/>
                    <a:pt x="1398" y="32"/>
                  </a:cubicBezTo>
                  <a:cubicBezTo>
                    <a:pt x="1398" y="32"/>
                    <a:pt x="1398" y="32"/>
                    <a:pt x="1398" y="32"/>
                  </a:cubicBezTo>
                  <a:cubicBezTo>
                    <a:pt x="1398" y="33"/>
                    <a:pt x="1398" y="33"/>
                    <a:pt x="1397" y="34"/>
                  </a:cubicBezTo>
                  <a:cubicBezTo>
                    <a:pt x="1397" y="34"/>
                    <a:pt x="1397" y="34"/>
                    <a:pt x="1397" y="34"/>
                  </a:cubicBezTo>
                  <a:cubicBezTo>
                    <a:pt x="1397" y="34"/>
                    <a:pt x="1397" y="34"/>
                    <a:pt x="1397" y="34"/>
                  </a:cubicBezTo>
                  <a:cubicBezTo>
                    <a:pt x="1397" y="35"/>
                    <a:pt x="1397" y="35"/>
                    <a:pt x="1397" y="35"/>
                  </a:cubicBezTo>
                  <a:cubicBezTo>
                    <a:pt x="1397" y="35"/>
                    <a:pt x="1397" y="35"/>
                    <a:pt x="1397" y="35"/>
                  </a:cubicBezTo>
                  <a:cubicBezTo>
                    <a:pt x="1398" y="35"/>
                    <a:pt x="1398" y="35"/>
                    <a:pt x="1398" y="35"/>
                  </a:cubicBezTo>
                  <a:cubicBezTo>
                    <a:pt x="1398" y="35"/>
                    <a:pt x="1398" y="35"/>
                    <a:pt x="1398" y="35"/>
                  </a:cubicBezTo>
                  <a:cubicBezTo>
                    <a:pt x="1398" y="35"/>
                    <a:pt x="1398" y="35"/>
                    <a:pt x="1398" y="35"/>
                  </a:cubicBezTo>
                  <a:cubicBezTo>
                    <a:pt x="1398" y="36"/>
                    <a:pt x="1398" y="36"/>
                    <a:pt x="1398" y="36"/>
                  </a:cubicBezTo>
                  <a:cubicBezTo>
                    <a:pt x="1397" y="36"/>
                    <a:pt x="1397" y="36"/>
                    <a:pt x="1397" y="36"/>
                  </a:cubicBezTo>
                  <a:cubicBezTo>
                    <a:pt x="1397" y="36"/>
                    <a:pt x="1397" y="36"/>
                    <a:pt x="1397" y="36"/>
                  </a:cubicBezTo>
                  <a:cubicBezTo>
                    <a:pt x="1398" y="36"/>
                    <a:pt x="1398" y="36"/>
                    <a:pt x="1398" y="36"/>
                  </a:cubicBezTo>
                  <a:cubicBezTo>
                    <a:pt x="1398" y="37"/>
                    <a:pt x="1398" y="37"/>
                    <a:pt x="1399" y="37"/>
                  </a:cubicBezTo>
                  <a:cubicBezTo>
                    <a:pt x="1399" y="38"/>
                    <a:pt x="1399" y="38"/>
                    <a:pt x="1399" y="38"/>
                  </a:cubicBezTo>
                  <a:cubicBezTo>
                    <a:pt x="1399" y="38"/>
                    <a:pt x="1399" y="38"/>
                    <a:pt x="1399" y="38"/>
                  </a:cubicBezTo>
                  <a:cubicBezTo>
                    <a:pt x="1399" y="38"/>
                    <a:pt x="1399" y="38"/>
                    <a:pt x="1399" y="38"/>
                  </a:cubicBezTo>
                  <a:cubicBezTo>
                    <a:pt x="1400" y="38"/>
                    <a:pt x="1400" y="38"/>
                    <a:pt x="1400" y="38"/>
                  </a:cubicBezTo>
                  <a:cubicBezTo>
                    <a:pt x="1400" y="38"/>
                    <a:pt x="1400" y="38"/>
                    <a:pt x="1400" y="38"/>
                  </a:cubicBezTo>
                  <a:cubicBezTo>
                    <a:pt x="1400" y="38"/>
                    <a:pt x="1400" y="38"/>
                    <a:pt x="1400" y="38"/>
                  </a:cubicBezTo>
                  <a:cubicBezTo>
                    <a:pt x="1400" y="38"/>
                    <a:pt x="1401" y="38"/>
                    <a:pt x="1401" y="38"/>
                  </a:cubicBezTo>
                  <a:cubicBezTo>
                    <a:pt x="1402" y="38"/>
                    <a:pt x="1402" y="38"/>
                    <a:pt x="1402" y="38"/>
                  </a:cubicBezTo>
                  <a:cubicBezTo>
                    <a:pt x="1402" y="38"/>
                    <a:pt x="1402" y="38"/>
                    <a:pt x="1402" y="38"/>
                  </a:cubicBezTo>
                  <a:cubicBezTo>
                    <a:pt x="1403" y="38"/>
                    <a:pt x="1403" y="38"/>
                    <a:pt x="1403" y="38"/>
                  </a:cubicBezTo>
                  <a:cubicBezTo>
                    <a:pt x="1403" y="39"/>
                    <a:pt x="1403" y="39"/>
                    <a:pt x="1403" y="39"/>
                  </a:cubicBezTo>
                  <a:cubicBezTo>
                    <a:pt x="1404" y="39"/>
                    <a:pt x="1404" y="39"/>
                    <a:pt x="1404" y="39"/>
                  </a:cubicBezTo>
                  <a:cubicBezTo>
                    <a:pt x="1404" y="39"/>
                    <a:pt x="1404" y="39"/>
                    <a:pt x="1404" y="39"/>
                  </a:cubicBezTo>
                  <a:cubicBezTo>
                    <a:pt x="1404" y="39"/>
                    <a:pt x="1404" y="39"/>
                    <a:pt x="1404" y="39"/>
                  </a:cubicBezTo>
                  <a:cubicBezTo>
                    <a:pt x="1403" y="40"/>
                    <a:pt x="1403" y="40"/>
                    <a:pt x="1403" y="40"/>
                  </a:cubicBezTo>
                  <a:cubicBezTo>
                    <a:pt x="1403" y="41"/>
                    <a:pt x="1403" y="41"/>
                    <a:pt x="1403" y="41"/>
                  </a:cubicBezTo>
                  <a:cubicBezTo>
                    <a:pt x="1402" y="41"/>
                    <a:pt x="1402" y="41"/>
                    <a:pt x="1402" y="41"/>
                  </a:cubicBezTo>
                  <a:cubicBezTo>
                    <a:pt x="1402" y="41"/>
                    <a:pt x="1402" y="41"/>
                    <a:pt x="1402" y="41"/>
                  </a:cubicBezTo>
                  <a:cubicBezTo>
                    <a:pt x="1402" y="41"/>
                    <a:pt x="1402" y="41"/>
                    <a:pt x="1402" y="41"/>
                  </a:cubicBezTo>
                  <a:cubicBezTo>
                    <a:pt x="1402" y="42"/>
                    <a:pt x="1402" y="42"/>
                    <a:pt x="1402" y="42"/>
                  </a:cubicBezTo>
                  <a:cubicBezTo>
                    <a:pt x="1402" y="42"/>
                    <a:pt x="1402" y="42"/>
                    <a:pt x="1402" y="42"/>
                  </a:cubicBezTo>
                  <a:cubicBezTo>
                    <a:pt x="1402" y="42"/>
                    <a:pt x="1402" y="42"/>
                    <a:pt x="1402" y="42"/>
                  </a:cubicBezTo>
                  <a:cubicBezTo>
                    <a:pt x="1402" y="43"/>
                    <a:pt x="1402" y="43"/>
                    <a:pt x="1402" y="43"/>
                  </a:cubicBezTo>
                  <a:cubicBezTo>
                    <a:pt x="1402" y="43"/>
                    <a:pt x="1402" y="43"/>
                    <a:pt x="1402" y="43"/>
                  </a:cubicBezTo>
                  <a:cubicBezTo>
                    <a:pt x="1402" y="44"/>
                    <a:pt x="1402" y="44"/>
                    <a:pt x="1401" y="45"/>
                  </a:cubicBezTo>
                  <a:cubicBezTo>
                    <a:pt x="1401" y="46"/>
                    <a:pt x="1401" y="46"/>
                    <a:pt x="1401" y="46"/>
                  </a:cubicBezTo>
                  <a:cubicBezTo>
                    <a:pt x="1399" y="47"/>
                    <a:pt x="1399" y="47"/>
                    <a:pt x="1399" y="47"/>
                  </a:cubicBezTo>
                  <a:cubicBezTo>
                    <a:pt x="1398" y="47"/>
                    <a:pt x="1398" y="47"/>
                    <a:pt x="1398" y="47"/>
                  </a:cubicBezTo>
                  <a:cubicBezTo>
                    <a:pt x="1398" y="48"/>
                    <a:pt x="1398" y="48"/>
                    <a:pt x="1398" y="48"/>
                  </a:cubicBezTo>
                  <a:cubicBezTo>
                    <a:pt x="1399" y="48"/>
                    <a:pt x="1399" y="48"/>
                    <a:pt x="1399" y="48"/>
                  </a:cubicBezTo>
                  <a:cubicBezTo>
                    <a:pt x="1399" y="48"/>
                    <a:pt x="1399" y="48"/>
                    <a:pt x="1399"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0" y="48"/>
                    <a:pt x="1400" y="48"/>
                    <a:pt x="1400" y="48"/>
                  </a:cubicBezTo>
                  <a:cubicBezTo>
                    <a:pt x="1402" y="49"/>
                    <a:pt x="1404" y="48"/>
                    <a:pt x="1405" y="49"/>
                  </a:cubicBezTo>
                  <a:cubicBezTo>
                    <a:pt x="1406" y="49"/>
                    <a:pt x="1406" y="49"/>
                    <a:pt x="1406" y="49"/>
                  </a:cubicBezTo>
                  <a:cubicBezTo>
                    <a:pt x="1407" y="49"/>
                    <a:pt x="1407" y="49"/>
                    <a:pt x="1407" y="49"/>
                  </a:cubicBezTo>
                  <a:cubicBezTo>
                    <a:pt x="1407" y="49"/>
                    <a:pt x="1407" y="49"/>
                    <a:pt x="1407" y="49"/>
                  </a:cubicBezTo>
                  <a:cubicBezTo>
                    <a:pt x="1408" y="49"/>
                    <a:pt x="1408" y="49"/>
                    <a:pt x="1408" y="49"/>
                  </a:cubicBezTo>
                  <a:cubicBezTo>
                    <a:pt x="1408" y="49"/>
                    <a:pt x="1408" y="49"/>
                    <a:pt x="1408" y="49"/>
                  </a:cubicBezTo>
                  <a:cubicBezTo>
                    <a:pt x="1409" y="49"/>
                    <a:pt x="1409" y="49"/>
                    <a:pt x="1409" y="49"/>
                  </a:cubicBezTo>
                  <a:cubicBezTo>
                    <a:pt x="1409" y="49"/>
                    <a:pt x="1409" y="49"/>
                    <a:pt x="1409" y="49"/>
                  </a:cubicBezTo>
                  <a:cubicBezTo>
                    <a:pt x="1410" y="50"/>
                    <a:pt x="1410" y="50"/>
                    <a:pt x="1410" y="50"/>
                  </a:cubicBezTo>
                  <a:cubicBezTo>
                    <a:pt x="1410" y="50"/>
                    <a:pt x="1410" y="50"/>
                    <a:pt x="1410" y="50"/>
                  </a:cubicBezTo>
                  <a:cubicBezTo>
                    <a:pt x="1410" y="50"/>
                    <a:pt x="1410" y="50"/>
                    <a:pt x="1410" y="50"/>
                  </a:cubicBezTo>
                  <a:cubicBezTo>
                    <a:pt x="1410" y="50"/>
                    <a:pt x="1410" y="50"/>
                    <a:pt x="1410" y="50"/>
                  </a:cubicBezTo>
                  <a:cubicBezTo>
                    <a:pt x="1410" y="50"/>
                    <a:pt x="1410" y="50"/>
                    <a:pt x="1410" y="50"/>
                  </a:cubicBezTo>
                  <a:cubicBezTo>
                    <a:pt x="1411" y="51"/>
                    <a:pt x="1411" y="51"/>
                    <a:pt x="1411" y="51"/>
                  </a:cubicBezTo>
                  <a:cubicBezTo>
                    <a:pt x="1411" y="51"/>
                    <a:pt x="1411" y="51"/>
                    <a:pt x="1411" y="51"/>
                  </a:cubicBezTo>
                  <a:cubicBezTo>
                    <a:pt x="1412" y="51"/>
                    <a:pt x="1412" y="51"/>
                    <a:pt x="1412" y="51"/>
                  </a:cubicBezTo>
                  <a:cubicBezTo>
                    <a:pt x="1415" y="50"/>
                    <a:pt x="1414" y="51"/>
                    <a:pt x="1416" y="51"/>
                  </a:cubicBezTo>
                  <a:cubicBezTo>
                    <a:pt x="1416" y="51"/>
                    <a:pt x="1416" y="51"/>
                    <a:pt x="1416" y="51"/>
                  </a:cubicBezTo>
                  <a:cubicBezTo>
                    <a:pt x="1417" y="51"/>
                    <a:pt x="1417" y="51"/>
                    <a:pt x="1417" y="51"/>
                  </a:cubicBezTo>
                  <a:cubicBezTo>
                    <a:pt x="1418" y="52"/>
                    <a:pt x="1418" y="52"/>
                    <a:pt x="1419" y="53"/>
                  </a:cubicBezTo>
                  <a:cubicBezTo>
                    <a:pt x="1420" y="53"/>
                    <a:pt x="1420" y="53"/>
                    <a:pt x="1420" y="53"/>
                  </a:cubicBezTo>
                  <a:cubicBezTo>
                    <a:pt x="1422" y="54"/>
                    <a:pt x="1422" y="54"/>
                    <a:pt x="1422" y="54"/>
                  </a:cubicBezTo>
                  <a:cubicBezTo>
                    <a:pt x="1423" y="54"/>
                    <a:pt x="1423" y="54"/>
                    <a:pt x="1423" y="54"/>
                  </a:cubicBezTo>
                  <a:cubicBezTo>
                    <a:pt x="1422" y="54"/>
                    <a:pt x="1422" y="54"/>
                    <a:pt x="1422" y="54"/>
                  </a:cubicBezTo>
                  <a:cubicBezTo>
                    <a:pt x="1422" y="54"/>
                    <a:pt x="1422" y="54"/>
                    <a:pt x="1422" y="54"/>
                  </a:cubicBezTo>
                  <a:cubicBezTo>
                    <a:pt x="1421" y="54"/>
                    <a:pt x="1421" y="54"/>
                    <a:pt x="1421" y="54"/>
                  </a:cubicBezTo>
                  <a:cubicBezTo>
                    <a:pt x="1421" y="54"/>
                    <a:pt x="1421" y="54"/>
                    <a:pt x="1421" y="54"/>
                  </a:cubicBezTo>
                  <a:cubicBezTo>
                    <a:pt x="1420" y="54"/>
                    <a:pt x="1419" y="54"/>
                    <a:pt x="1418" y="54"/>
                  </a:cubicBezTo>
                  <a:cubicBezTo>
                    <a:pt x="1418" y="54"/>
                    <a:pt x="1418" y="54"/>
                    <a:pt x="1418" y="54"/>
                  </a:cubicBezTo>
                  <a:cubicBezTo>
                    <a:pt x="1417" y="54"/>
                    <a:pt x="1417" y="54"/>
                    <a:pt x="1417" y="54"/>
                  </a:cubicBezTo>
                  <a:cubicBezTo>
                    <a:pt x="1417" y="54"/>
                    <a:pt x="1417" y="54"/>
                    <a:pt x="1417" y="54"/>
                  </a:cubicBezTo>
                  <a:cubicBezTo>
                    <a:pt x="1416" y="53"/>
                    <a:pt x="1416" y="53"/>
                    <a:pt x="1416" y="53"/>
                  </a:cubicBezTo>
                  <a:cubicBezTo>
                    <a:pt x="1416" y="53"/>
                    <a:pt x="1416" y="53"/>
                    <a:pt x="1416" y="53"/>
                  </a:cubicBezTo>
                  <a:cubicBezTo>
                    <a:pt x="1416" y="53"/>
                    <a:pt x="1416" y="53"/>
                    <a:pt x="1416" y="53"/>
                  </a:cubicBezTo>
                  <a:cubicBezTo>
                    <a:pt x="1415" y="53"/>
                    <a:pt x="1415" y="53"/>
                    <a:pt x="1415" y="53"/>
                  </a:cubicBezTo>
                  <a:cubicBezTo>
                    <a:pt x="1415" y="53"/>
                    <a:pt x="1415" y="53"/>
                    <a:pt x="1415" y="53"/>
                  </a:cubicBezTo>
                  <a:cubicBezTo>
                    <a:pt x="1415" y="53"/>
                    <a:pt x="1415" y="53"/>
                    <a:pt x="1415" y="53"/>
                  </a:cubicBezTo>
                  <a:cubicBezTo>
                    <a:pt x="1415" y="53"/>
                    <a:pt x="1415" y="53"/>
                    <a:pt x="1415" y="53"/>
                  </a:cubicBezTo>
                  <a:cubicBezTo>
                    <a:pt x="1415" y="52"/>
                    <a:pt x="1415" y="52"/>
                    <a:pt x="1415" y="52"/>
                  </a:cubicBezTo>
                  <a:cubicBezTo>
                    <a:pt x="1415" y="52"/>
                    <a:pt x="1415" y="52"/>
                    <a:pt x="1415" y="52"/>
                  </a:cubicBezTo>
                  <a:cubicBezTo>
                    <a:pt x="1415" y="52"/>
                    <a:pt x="1415" y="52"/>
                    <a:pt x="1415" y="52"/>
                  </a:cubicBezTo>
                  <a:cubicBezTo>
                    <a:pt x="1414" y="52"/>
                    <a:pt x="1414" y="52"/>
                    <a:pt x="1414" y="52"/>
                  </a:cubicBezTo>
                  <a:cubicBezTo>
                    <a:pt x="1414" y="52"/>
                    <a:pt x="1414" y="52"/>
                    <a:pt x="1414" y="52"/>
                  </a:cubicBezTo>
                  <a:cubicBezTo>
                    <a:pt x="1413" y="51"/>
                    <a:pt x="1411" y="51"/>
                    <a:pt x="1410" y="51"/>
                  </a:cubicBezTo>
                  <a:cubicBezTo>
                    <a:pt x="1409" y="51"/>
                    <a:pt x="1409" y="51"/>
                    <a:pt x="1409" y="51"/>
                  </a:cubicBezTo>
                  <a:cubicBezTo>
                    <a:pt x="1409" y="51"/>
                    <a:pt x="1409" y="51"/>
                    <a:pt x="1409" y="51"/>
                  </a:cubicBezTo>
                  <a:cubicBezTo>
                    <a:pt x="1406" y="50"/>
                    <a:pt x="1405" y="51"/>
                    <a:pt x="1403" y="51"/>
                  </a:cubicBezTo>
                  <a:cubicBezTo>
                    <a:pt x="1401" y="51"/>
                    <a:pt x="1401" y="51"/>
                    <a:pt x="1401" y="51"/>
                  </a:cubicBezTo>
                  <a:cubicBezTo>
                    <a:pt x="1401" y="51"/>
                    <a:pt x="1401" y="51"/>
                    <a:pt x="1401" y="51"/>
                  </a:cubicBezTo>
                  <a:cubicBezTo>
                    <a:pt x="1400" y="51"/>
                    <a:pt x="1400" y="51"/>
                    <a:pt x="1400" y="51"/>
                  </a:cubicBezTo>
                  <a:cubicBezTo>
                    <a:pt x="1400" y="51"/>
                    <a:pt x="1400" y="51"/>
                    <a:pt x="1400" y="51"/>
                  </a:cubicBezTo>
                  <a:cubicBezTo>
                    <a:pt x="1401" y="51"/>
                    <a:pt x="1401" y="51"/>
                    <a:pt x="1401" y="51"/>
                  </a:cubicBezTo>
                  <a:cubicBezTo>
                    <a:pt x="1401" y="50"/>
                    <a:pt x="1400" y="50"/>
                    <a:pt x="1399" y="49"/>
                  </a:cubicBezTo>
                  <a:cubicBezTo>
                    <a:pt x="1399" y="49"/>
                    <a:pt x="1399" y="49"/>
                    <a:pt x="1399" y="49"/>
                  </a:cubicBezTo>
                  <a:cubicBezTo>
                    <a:pt x="1399" y="49"/>
                    <a:pt x="1399" y="49"/>
                    <a:pt x="1399" y="49"/>
                  </a:cubicBezTo>
                  <a:cubicBezTo>
                    <a:pt x="1396" y="49"/>
                    <a:pt x="1390" y="50"/>
                    <a:pt x="1387" y="51"/>
                  </a:cubicBezTo>
                  <a:cubicBezTo>
                    <a:pt x="1386" y="51"/>
                    <a:pt x="1386" y="51"/>
                    <a:pt x="1386" y="51"/>
                  </a:cubicBezTo>
                  <a:cubicBezTo>
                    <a:pt x="1386" y="51"/>
                    <a:pt x="1386" y="51"/>
                    <a:pt x="1386" y="51"/>
                  </a:cubicBezTo>
                  <a:cubicBezTo>
                    <a:pt x="1386" y="50"/>
                    <a:pt x="1386" y="50"/>
                    <a:pt x="1386" y="50"/>
                  </a:cubicBezTo>
                  <a:cubicBezTo>
                    <a:pt x="1386" y="50"/>
                    <a:pt x="1386" y="50"/>
                    <a:pt x="1386" y="50"/>
                  </a:cubicBezTo>
                  <a:cubicBezTo>
                    <a:pt x="1381" y="50"/>
                    <a:pt x="1377" y="51"/>
                    <a:pt x="1373" y="51"/>
                  </a:cubicBezTo>
                  <a:cubicBezTo>
                    <a:pt x="1372" y="51"/>
                    <a:pt x="1372" y="51"/>
                    <a:pt x="1372" y="51"/>
                  </a:cubicBezTo>
                  <a:cubicBezTo>
                    <a:pt x="1372" y="51"/>
                    <a:pt x="1372" y="51"/>
                    <a:pt x="1372" y="51"/>
                  </a:cubicBezTo>
                  <a:cubicBezTo>
                    <a:pt x="1371" y="51"/>
                    <a:pt x="1371" y="51"/>
                    <a:pt x="1371" y="51"/>
                  </a:cubicBezTo>
                  <a:cubicBezTo>
                    <a:pt x="1371" y="51"/>
                    <a:pt x="1371" y="51"/>
                    <a:pt x="1371" y="51"/>
                  </a:cubicBezTo>
                  <a:cubicBezTo>
                    <a:pt x="1370" y="51"/>
                    <a:pt x="1370" y="51"/>
                    <a:pt x="1370" y="51"/>
                  </a:cubicBezTo>
                  <a:cubicBezTo>
                    <a:pt x="1369" y="50"/>
                    <a:pt x="1369" y="50"/>
                    <a:pt x="1369" y="50"/>
                  </a:cubicBezTo>
                  <a:cubicBezTo>
                    <a:pt x="1367" y="50"/>
                    <a:pt x="1367" y="50"/>
                    <a:pt x="1367" y="50"/>
                  </a:cubicBezTo>
                  <a:cubicBezTo>
                    <a:pt x="1362" y="49"/>
                    <a:pt x="1362" y="49"/>
                    <a:pt x="1362" y="49"/>
                  </a:cubicBezTo>
                  <a:cubicBezTo>
                    <a:pt x="1360" y="49"/>
                    <a:pt x="1360" y="49"/>
                    <a:pt x="1360" y="49"/>
                  </a:cubicBezTo>
                  <a:cubicBezTo>
                    <a:pt x="1359" y="49"/>
                    <a:pt x="1359" y="49"/>
                    <a:pt x="1359" y="49"/>
                  </a:cubicBezTo>
                  <a:cubicBezTo>
                    <a:pt x="1359" y="49"/>
                    <a:pt x="1359" y="49"/>
                    <a:pt x="1359" y="49"/>
                  </a:cubicBezTo>
                  <a:cubicBezTo>
                    <a:pt x="1358" y="50"/>
                    <a:pt x="1358" y="50"/>
                    <a:pt x="1358" y="50"/>
                  </a:cubicBezTo>
                  <a:cubicBezTo>
                    <a:pt x="1358" y="50"/>
                    <a:pt x="1358" y="50"/>
                    <a:pt x="1358" y="50"/>
                  </a:cubicBezTo>
                  <a:cubicBezTo>
                    <a:pt x="1358" y="50"/>
                    <a:pt x="1358" y="50"/>
                    <a:pt x="1358" y="50"/>
                  </a:cubicBezTo>
                  <a:cubicBezTo>
                    <a:pt x="1358" y="51"/>
                    <a:pt x="1358" y="51"/>
                    <a:pt x="1358" y="51"/>
                  </a:cubicBezTo>
                  <a:cubicBezTo>
                    <a:pt x="1359" y="51"/>
                    <a:pt x="1359" y="51"/>
                    <a:pt x="1359" y="51"/>
                  </a:cubicBezTo>
                  <a:cubicBezTo>
                    <a:pt x="1361" y="52"/>
                    <a:pt x="1360" y="51"/>
                    <a:pt x="1362" y="53"/>
                  </a:cubicBezTo>
                  <a:cubicBezTo>
                    <a:pt x="1362" y="53"/>
                    <a:pt x="1362" y="53"/>
                    <a:pt x="1362" y="53"/>
                  </a:cubicBezTo>
                  <a:cubicBezTo>
                    <a:pt x="1362" y="53"/>
                    <a:pt x="1362" y="53"/>
                    <a:pt x="1362" y="53"/>
                  </a:cubicBezTo>
                  <a:cubicBezTo>
                    <a:pt x="1362" y="53"/>
                    <a:pt x="1362" y="53"/>
                    <a:pt x="1362" y="53"/>
                  </a:cubicBezTo>
                  <a:cubicBezTo>
                    <a:pt x="1362" y="53"/>
                    <a:pt x="1362" y="53"/>
                    <a:pt x="1362" y="53"/>
                  </a:cubicBezTo>
                  <a:cubicBezTo>
                    <a:pt x="1362" y="54"/>
                    <a:pt x="1362" y="54"/>
                    <a:pt x="1362" y="54"/>
                  </a:cubicBezTo>
                  <a:cubicBezTo>
                    <a:pt x="1362" y="54"/>
                    <a:pt x="1362" y="54"/>
                    <a:pt x="1362" y="54"/>
                  </a:cubicBezTo>
                  <a:cubicBezTo>
                    <a:pt x="1362" y="54"/>
                    <a:pt x="1362" y="54"/>
                    <a:pt x="1362" y="54"/>
                  </a:cubicBezTo>
                  <a:cubicBezTo>
                    <a:pt x="1362" y="54"/>
                    <a:pt x="1362" y="54"/>
                    <a:pt x="1362" y="54"/>
                  </a:cubicBezTo>
                  <a:cubicBezTo>
                    <a:pt x="1362" y="55"/>
                    <a:pt x="1362" y="55"/>
                    <a:pt x="1362" y="55"/>
                  </a:cubicBezTo>
                  <a:cubicBezTo>
                    <a:pt x="1362" y="55"/>
                    <a:pt x="1362" y="55"/>
                    <a:pt x="1362" y="55"/>
                  </a:cubicBezTo>
                  <a:cubicBezTo>
                    <a:pt x="1362" y="55"/>
                    <a:pt x="1362" y="55"/>
                    <a:pt x="1362" y="55"/>
                  </a:cubicBezTo>
                  <a:cubicBezTo>
                    <a:pt x="1363" y="55"/>
                    <a:pt x="1363" y="55"/>
                    <a:pt x="1363" y="55"/>
                  </a:cubicBezTo>
                  <a:cubicBezTo>
                    <a:pt x="1363" y="55"/>
                    <a:pt x="1363" y="55"/>
                    <a:pt x="1363" y="55"/>
                  </a:cubicBezTo>
                  <a:cubicBezTo>
                    <a:pt x="1363" y="56"/>
                    <a:pt x="1363" y="56"/>
                    <a:pt x="1363" y="56"/>
                  </a:cubicBezTo>
                  <a:cubicBezTo>
                    <a:pt x="1364" y="55"/>
                    <a:pt x="1364" y="55"/>
                    <a:pt x="1364" y="55"/>
                  </a:cubicBezTo>
                  <a:cubicBezTo>
                    <a:pt x="1364" y="55"/>
                    <a:pt x="1364" y="55"/>
                    <a:pt x="1364" y="55"/>
                  </a:cubicBezTo>
                  <a:cubicBezTo>
                    <a:pt x="1365" y="55"/>
                    <a:pt x="1365" y="55"/>
                    <a:pt x="1365" y="55"/>
                  </a:cubicBezTo>
                  <a:cubicBezTo>
                    <a:pt x="1365" y="55"/>
                    <a:pt x="1365" y="55"/>
                    <a:pt x="1365" y="55"/>
                  </a:cubicBezTo>
                  <a:cubicBezTo>
                    <a:pt x="1366" y="55"/>
                    <a:pt x="1366" y="55"/>
                    <a:pt x="1366" y="55"/>
                  </a:cubicBezTo>
                  <a:cubicBezTo>
                    <a:pt x="1367" y="56"/>
                    <a:pt x="1368" y="56"/>
                    <a:pt x="1369" y="58"/>
                  </a:cubicBezTo>
                  <a:cubicBezTo>
                    <a:pt x="1369" y="58"/>
                    <a:pt x="1369" y="58"/>
                    <a:pt x="1369" y="58"/>
                  </a:cubicBezTo>
                  <a:cubicBezTo>
                    <a:pt x="1369" y="58"/>
                    <a:pt x="1369" y="58"/>
                    <a:pt x="1369" y="58"/>
                  </a:cubicBezTo>
                  <a:cubicBezTo>
                    <a:pt x="1370" y="58"/>
                    <a:pt x="1370" y="58"/>
                    <a:pt x="1370" y="58"/>
                  </a:cubicBezTo>
                  <a:cubicBezTo>
                    <a:pt x="1370" y="58"/>
                    <a:pt x="1370" y="58"/>
                    <a:pt x="1370" y="58"/>
                  </a:cubicBezTo>
                  <a:cubicBezTo>
                    <a:pt x="1371" y="58"/>
                    <a:pt x="1371" y="58"/>
                    <a:pt x="1371" y="58"/>
                  </a:cubicBezTo>
                  <a:cubicBezTo>
                    <a:pt x="1372" y="58"/>
                    <a:pt x="1372" y="58"/>
                    <a:pt x="1372" y="58"/>
                  </a:cubicBezTo>
                  <a:cubicBezTo>
                    <a:pt x="1372" y="58"/>
                    <a:pt x="1372" y="58"/>
                    <a:pt x="1372" y="58"/>
                  </a:cubicBezTo>
                  <a:cubicBezTo>
                    <a:pt x="1373" y="58"/>
                    <a:pt x="1373" y="58"/>
                    <a:pt x="1373" y="58"/>
                  </a:cubicBezTo>
                  <a:cubicBezTo>
                    <a:pt x="1373" y="59"/>
                    <a:pt x="1373" y="59"/>
                    <a:pt x="1373" y="59"/>
                  </a:cubicBezTo>
                  <a:cubicBezTo>
                    <a:pt x="1373" y="59"/>
                    <a:pt x="1373" y="59"/>
                    <a:pt x="1373" y="59"/>
                  </a:cubicBezTo>
                  <a:cubicBezTo>
                    <a:pt x="1374" y="59"/>
                    <a:pt x="1374" y="59"/>
                    <a:pt x="1374" y="59"/>
                  </a:cubicBezTo>
                  <a:cubicBezTo>
                    <a:pt x="1374" y="59"/>
                    <a:pt x="1374" y="59"/>
                    <a:pt x="1374" y="59"/>
                  </a:cubicBezTo>
                  <a:cubicBezTo>
                    <a:pt x="1374" y="60"/>
                    <a:pt x="1374" y="60"/>
                    <a:pt x="1374" y="60"/>
                  </a:cubicBezTo>
                  <a:cubicBezTo>
                    <a:pt x="1374" y="60"/>
                    <a:pt x="1374" y="60"/>
                    <a:pt x="1374" y="60"/>
                  </a:cubicBezTo>
                  <a:cubicBezTo>
                    <a:pt x="1374" y="60"/>
                    <a:pt x="1374" y="60"/>
                    <a:pt x="1374" y="60"/>
                  </a:cubicBezTo>
                  <a:cubicBezTo>
                    <a:pt x="1374" y="61"/>
                    <a:pt x="1374" y="61"/>
                    <a:pt x="1374" y="61"/>
                  </a:cubicBezTo>
                  <a:cubicBezTo>
                    <a:pt x="1374" y="61"/>
                    <a:pt x="1374" y="61"/>
                    <a:pt x="1374" y="61"/>
                  </a:cubicBezTo>
                  <a:cubicBezTo>
                    <a:pt x="1374" y="61"/>
                    <a:pt x="1374" y="61"/>
                    <a:pt x="1374" y="61"/>
                  </a:cubicBezTo>
                  <a:cubicBezTo>
                    <a:pt x="1374" y="61"/>
                    <a:pt x="1374" y="61"/>
                    <a:pt x="1374" y="61"/>
                  </a:cubicBezTo>
                  <a:cubicBezTo>
                    <a:pt x="1374" y="62"/>
                    <a:pt x="1374" y="62"/>
                    <a:pt x="1374" y="62"/>
                  </a:cubicBezTo>
                  <a:cubicBezTo>
                    <a:pt x="1374" y="62"/>
                    <a:pt x="1374" y="62"/>
                    <a:pt x="1374" y="62"/>
                  </a:cubicBezTo>
                  <a:cubicBezTo>
                    <a:pt x="1375" y="62"/>
                    <a:pt x="1375" y="62"/>
                    <a:pt x="1375" y="62"/>
                  </a:cubicBezTo>
                  <a:cubicBezTo>
                    <a:pt x="1375" y="62"/>
                    <a:pt x="1375" y="62"/>
                    <a:pt x="1375" y="62"/>
                  </a:cubicBezTo>
                  <a:cubicBezTo>
                    <a:pt x="1376" y="62"/>
                    <a:pt x="1376" y="62"/>
                    <a:pt x="1376" y="62"/>
                  </a:cubicBezTo>
                  <a:cubicBezTo>
                    <a:pt x="1376" y="62"/>
                    <a:pt x="1376" y="62"/>
                    <a:pt x="1376" y="62"/>
                  </a:cubicBezTo>
                  <a:cubicBezTo>
                    <a:pt x="1376" y="63"/>
                    <a:pt x="1376" y="63"/>
                    <a:pt x="1376" y="63"/>
                  </a:cubicBezTo>
                  <a:cubicBezTo>
                    <a:pt x="1377" y="63"/>
                    <a:pt x="1377" y="63"/>
                    <a:pt x="1377" y="63"/>
                  </a:cubicBezTo>
                  <a:cubicBezTo>
                    <a:pt x="1377" y="63"/>
                    <a:pt x="1377" y="63"/>
                    <a:pt x="1377" y="63"/>
                  </a:cubicBezTo>
                  <a:cubicBezTo>
                    <a:pt x="1377" y="64"/>
                    <a:pt x="1377" y="64"/>
                    <a:pt x="1377" y="64"/>
                  </a:cubicBezTo>
                  <a:cubicBezTo>
                    <a:pt x="1377" y="64"/>
                    <a:pt x="1377" y="64"/>
                    <a:pt x="1377" y="64"/>
                  </a:cubicBezTo>
                  <a:cubicBezTo>
                    <a:pt x="1378" y="67"/>
                    <a:pt x="1378" y="67"/>
                    <a:pt x="1378" y="67"/>
                  </a:cubicBezTo>
                  <a:cubicBezTo>
                    <a:pt x="1376" y="67"/>
                    <a:pt x="1376" y="67"/>
                    <a:pt x="1376" y="67"/>
                  </a:cubicBezTo>
                  <a:cubicBezTo>
                    <a:pt x="1361" y="60"/>
                    <a:pt x="1361" y="60"/>
                    <a:pt x="1361" y="60"/>
                  </a:cubicBezTo>
                  <a:cubicBezTo>
                    <a:pt x="1359" y="60"/>
                    <a:pt x="1359" y="60"/>
                    <a:pt x="1359" y="60"/>
                  </a:cubicBezTo>
                  <a:cubicBezTo>
                    <a:pt x="1357" y="59"/>
                    <a:pt x="1357" y="59"/>
                    <a:pt x="1357" y="59"/>
                  </a:cubicBezTo>
                  <a:cubicBezTo>
                    <a:pt x="1357" y="59"/>
                    <a:pt x="1357" y="59"/>
                    <a:pt x="1357" y="59"/>
                  </a:cubicBezTo>
                  <a:cubicBezTo>
                    <a:pt x="1356" y="59"/>
                    <a:pt x="1356" y="59"/>
                    <a:pt x="1356" y="59"/>
                  </a:cubicBezTo>
                  <a:cubicBezTo>
                    <a:pt x="1356" y="59"/>
                    <a:pt x="1356" y="59"/>
                    <a:pt x="1356" y="59"/>
                  </a:cubicBezTo>
                  <a:cubicBezTo>
                    <a:pt x="1356" y="59"/>
                    <a:pt x="1356" y="59"/>
                    <a:pt x="1356" y="59"/>
                  </a:cubicBezTo>
                  <a:cubicBezTo>
                    <a:pt x="1355" y="60"/>
                    <a:pt x="1355" y="60"/>
                    <a:pt x="1355" y="60"/>
                  </a:cubicBezTo>
                  <a:cubicBezTo>
                    <a:pt x="1355" y="60"/>
                    <a:pt x="1355" y="60"/>
                    <a:pt x="1355" y="60"/>
                  </a:cubicBezTo>
                  <a:cubicBezTo>
                    <a:pt x="1354" y="60"/>
                    <a:pt x="1353" y="60"/>
                    <a:pt x="1353" y="61"/>
                  </a:cubicBezTo>
                  <a:cubicBezTo>
                    <a:pt x="1352" y="61"/>
                    <a:pt x="1352" y="61"/>
                    <a:pt x="1352" y="61"/>
                  </a:cubicBezTo>
                  <a:cubicBezTo>
                    <a:pt x="1352" y="61"/>
                    <a:pt x="1352" y="61"/>
                    <a:pt x="1352" y="61"/>
                  </a:cubicBezTo>
                  <a:cubicBezTo>
                    <a:pt x="1352" y="61"/>
                    <a:pt x="1352" y="61"/>
                    <a:pt x="1352" y="61"/>
                  </a:cubicBezTo>
                  <a:cubicBezTo>
                    <a:pt x="1352" y="62"/>
                    <a:pt x="1352" y="62"/>
                    <a:pt x="1352" y="62"/>
                  </a:cubicBezTo>
                  <a:cubicBezTo>
                    <a:pt x="1349" y="62"/>
                    <a:pt x="1347" y="62"/>
                    <a:pt x="1344" y="63"/>
                  </a:cubicBezTo>
                  <a:cubicBezTo>
                    <a:pt x="1344" y="63"/>
                    <a:pt x="1344" y="63"/>
                    <a:pt x="1344" y="63"/>
                  </a:cubicBezTo>
                  <a:cubicBezTo>
                    <a:pt x="1343" y="63"/>
                    <a:pt x="1343" y="63"/>
                    <a:pt x="1343" y="63"/>
                  </a:cubicBezTo>
                  <a:cubicBezTo>
                    <a:pt x="1343" y="63"/>
                    <a:pt x="1342" y="64"/>
                    <a:pt x="1342" y="64"/>
                  </a:cubicBezTo>
                  <a:cubicBezTo>
                    <a:pt x="1342" y="64"/>
                    <a:pt x="1342" y="64"/>
                    <a:pt x="1342" y="64"/>
                  </a:cubicBezTo>
                  <a:cubicBezTo>
                    <a:pt x="1342" y="64"/>
                    <a:pt x="1342" y="64"/>
                    <a:pt x="1342" y="64"/>
                  </a:cubicBezTo>
                  <a:cubicBezTo>
                    <a:pt x="1341" y="64"/>
                    <a:pt x="1341" y="64"/>
                    <a:pt x="1341" y="64"/>
                  </a:cubicBezTo>
                  <a:cubicBezTo>
                    <a:pt x="1342" y="65"/>
                    <a:pt x="1342" y="65"/>
                    <a:pt x="1342" y="65"/>
                  </a:cubicBezTo>
                  <a:cubicBezTo>
                    <a:pt x="1341" y="65"/>
                    <a:pt x="1341" y="65"/>
                    <a:pt x="1341" y="65"/>
                  </a:cubicBezTo>
                  <a:cubicBezTo>
                    <a:pt x="1341" y="65"/>
                    <a:pt x="1341" y="65"/>
                    <a:pt x="1341" y="65"/>
                  </a:cubicBezTo>
                  <a:cubicBezTo>
                    <a:pt x="1340" y="65"/>
                    <a:pt x="1337" y="65"/>
                    <a:pt x="1336" y="66"/>
                  </a:cubicBezTo>
                  <a:cubicBezTo>
                    <a:pt x="1336" y="66"/>
                    <a:pt x="1336" y="66"/>
                    <a:pt x="1336" y="66"/>
                  </a:cubicBezTo>
                  <a:cubicBezTo>
                    <a:pt x="1336" y="66"/>
                    <a:pt x="1336" y="66"/>
                    <a:pt x="1336" y="66"/>
                  </a:cubicBezTo>
                  <a:cubicBezTo>
                    <a:pt x="1334" y="67"/>
                    <a:pt x="1333" y="68"/>
                    <a:pt x="1332" y="68"/>
                  </a:cubicBezTo>
                  <a:cubicBezTo>
                    <a:pt x="1329" y="71"/>
                    <a:pt x="1329" y="71"/>
                    <a:pt x="1329" y="71"/>
                  </a:cubicBezTo>
                  <a:cubicBezTo>
                    <a:pt x="1328" y="71"/>
                    <a:pt x="1328" y="71"/>
                    <a:pt x="1328" y="71"/>
                  </a:cubicBezTo>
                  <a:cubicBezTo>
                    <a:pt x="1328" y="70"/>
                    <a:pt x="1328" y="70"/>
                    <a:pt x="1328" y="70"/>
                  </a:cubicBezTo>
                  <a:cubicBezTo>
                    <a:pt x="1330" y="68"/>
                    <a:pt x="1330" y="68"/>
                    <a:pt x="1330" y="68"/>
                  </a:cubicBezTo>
                  <a:cubicBezTo>
                    <a:pt x="1330" y="68"/>
                    <a:pt x="1330" y="68"/>
                    <a:pt x="1330" y="68"/>
                  </a:cubicBezTo>
                  <a:cubicBezTo>
                    <a:pt x="1330" y="67"/>
                    <a:pt x="1330" y="67"/>
                    <a:pt x="1330" y="67"/>
                  </a:cubicBezTo>
                  <a:cubicBezTo>
                    <a:pt x="1329" y="68"/>
                    <a:pt x="1329" y="68"/>
                    <a:pt x="1329" y="68"/>
                  </a:cubicBezTo>
                  <a:cubicBezTo>
                    <a:pt x="1329" y="68"/>
                    <a:pt x="1329" y="68"/>
                    <a:pt x="1329" y="68"/>
                  </a:cubicBezTo>
                  <a:cubicBezTo>
                    <a:pt x="1328" y="68"/>
                    <a:pt x="1328" y="68"/>
                    <a:pt x="1328" y="68"/>
                  </a:cubicBezTo>
                  <a:cubicBezTo>
                    <a:pt x="1328" y="68"/>
                    <a:pt x="1328" y="68"/>
                    <a:pt x="1328" y="68"/>
                  </a:cubicBezTo>
                  <a:cubicBezTo>
                    <a:pt x="1328" y="68"/>
                    <a:pt x="1328" y="68"/>
                    <a:pt x="1328" y="68"/>
                  </a:cubicBezTo>
                  <a:cubicBezTo>
                    <a:pt x="1327" y="68"/>
                    <a:pt x="1327" y="68"/>
                    <a:pt x="1327" y="68"/>
                  </a:cubicBezTo>
                  <a:cubicBezTo>
                    <a:pt x="1327" y="68"/>
                    <a:pt x="1327" y="68"/>
                    <a:pt x="1327" y="68"/>
                  </a:cubicBezTo>
                  <a:cubicBezTo>
                    <a:pt x="1326" y="69"/>
                    <a:pt x="1326" y="69"/>
                    <a:pt x="1326" y="69"/>
                  </a:cubicBezTo>
                  <a:cubicBezTo>
                    <a:pt x="1323" y="70"/>
                    <a:pt x="1323" y="70"/>
                    <a:pt x="1323" y="70"/>
                  </a:cubicBezTo>
                  <a:cubicBezTo>
                    <a:pt x="1317" y="73"/>
                    <a:pt x="1317" y="73"/>
                    <a:pt x="1317" y="73"/>
                  </a:cubicBezTo>
                  <a:cubicBezTo>
                    <a:pt x="1314" y="74"/>
                    <a:pt x="1314" y="74"/>
                    <a:pt x="1314" y="74"/>
                  </a:cubicBezTo>
                  <a:cubicBezTo>
                    <a:pt x="1313" y="74"/>
                    <a:pt x="1313" y="74"/>
                    <a:pt x="1313" y="74"/>
                  </a:cubicBezTo>
                  <a:cubicBezTo>
                    <a:pt x="1313" y="74"/>
                    <a:pt x="1313" y="74"/>
                    <a:pt x="1313" y="74"/>
                  </a:cubicBezTo>
                  <a:cubicBezTo>
                    <a:pt x="1314" y="74"/>
                    <a:pt x="1314" y="74"/>
                    <a:pt x="1314" y="74"/>
                  </a:cubicBezTo>
                  <a:cubicBezTo>
                    <a:pt x="1314" y="73"/>
                    <a:pt x="1314" y="73"/>
                    <a:pt x="1314" y="73"/>
                  </a:cubicBezTo>
                  <a:cubicBezTo>
                    <a:pt x="1314" y="73"/>
                    <a:pt x="1314" y="73"/>
                    <a:pt x="1314" y="73"/>
                  </a:cubicBezTo>
                  <a:cubicBezTo>
                    <a:pt x="1314" y="73"/>
                    <a:pt x="1314" y="73"/>
                    <a:pt x="1314" y="73"/>
                  </a:cubicBezTo>
                  <a:cubicBezTo>
                    <a:pt x="1314" y="72"/>
                    <a:pt x="1314" y="72"/>
                    <a:pt x="1314" y="72"/>
                  </a:cubicBezTo>
                  <a:cubicBezTo>
                    <a:pt x="1314" y="70"/>
                    <a:pt x="1314" y="70"/>
                    <a:pt x="1314" y="70"/>
                  </a:cubicBezTo>
                  <a:cubicBezTo>
                    <a:pt x="1314" y="69"/>
                    <a:pt x="1314" y="69"/>
                    <a:pt x="1314" y="69"/>
                  </a:cubicBezTo>
                  <a:cubicBezTo>
                    <a:pt x="1313" y="69"/>
                    <a:pt x="1313" y="69"/>
                    <a:pt x="1313" y="69"/>
                  </a:cubicBezTo>
                  <a:cubicBezTo>
                    <a:pt x="1312" y="69"/>
                    <a:pt x="1312" y="69"/>
                    <a:pt x="1312" y="69"/>
                  </a:cubicBezTo>
                  <a:cubicBezTo>
                    <a:pt x="1311" y="69"/>
                    <a:pt x="1311" y="69"/>
                    <a:pt x="1311" y="69"/>
                  </a:cubicBezTo>
                  <a:cubicBezTo>
                    <a:pt x="1310" y="69"/>
                    <a:pt x="1310" y="69"/>
                    <a:pt x="1310" y="69"/>
                  </a:cubicBezTo>
                  <a:cubicBezTo>
                    <a:pt x="1309" y="70"/>
                    <a:pt x="1309" y="70"/>
                    <a:pt x="1309" y="70"/>
                  </a:cubicBezTo>
                  <a:cubicBezTo>
                    <a:pt x="1307" y="71"/>
                    <a:pt x="1307" y="71"/>
                    <a:pt x="1307" y="71"/>
                  </a:cubicBezTo>
                  <a:cubicBezTo>
                    <a:pt x="1302" y="74"/>
                    <a:pt x="1302" y="74"/>
                    <a:pt x="1302" y="74"/>
                  </a:cubicBezTo>
                  <a:cubicBezTo>
                    <a:pt x="1300" y="74"/>
                    <a:pt x="1300" y="74"/>
                    <a:pt x="1300" y="74"/>
                  </a:cubicBezTo>
                  <a:cubicBezTo>
                    <a:pt x="1299" y="75"/>
                    <a:pt x="1299" y="75"/>
                    <a:pt x="1299" y="75"/>
                  </a:cubicBezTo>
                  <a:cubicBezTo>
                    <a:pt x="1298" y="75"/>
                    <a:pt x="1298" y="75"/>
                    <a:pt x="1298" y="75"/>
                  </a:cubicBezTo>
                  <a:cubicBezTo>
                    <a:pt x="1298" y="74"/>
                    <a:pt x="1298" y="74"/>
                    <a:pt x="1298" y="74"/>
                  </a:cubicBezTo>
                  <a:cubicBezTo>
                    <a:pt x="1298" y="74"/>
                    <a:pt x="1298" y="74"/>
                    <a:pt x="1298" y="74"/>
                  </a:cubicBezTo>
                  <a:cubicBezTo>
                    <a:pt x="1297" y="74"/>
                    <a:pt x="1297" y="74"/>
                    <a:pt x="1297" y="74"/>
                  </a:cubicBezTo>
                  <a:cubicBezTo>
                    <a:pt x="1297" y="74"/>
                    <a:pt x="1297" y="74"/>
                    <a:pt x="1297" y="74"/>
                  </a:cubicBezTo>
                  <a:cubicBezTo>
                    <a:pt x="1297" y="74"/>
                    <a:pt x="1297" y="74"/>
                    <a:pt x="1297" y="74"/>
                  </a:cubicBezTo>
                  <a:cubicBezTo>
                    <a:pt x="1297" y="74"/>
                    <a:pt x="1297" y="74"/>
                    <a:pt x="1297" y="74"/>
                  </a:cubicBezTo>
                  <a:cubicBezTo>
                    <a:pt x="1297" y="73"/>
                    <a:pt x="1297" y="73"/>
                    <a:pt x="1297" y="73"/>
                  </a:cubicBezTo>
                  <a:cubicBezTo>
                    <a:pt x="1300" y="73"/>
                    <a:pt x="1299" y="72"/>
                    <a:pt x="1302" y="70"/>
                  </a:cubicBezTo>
                  <a:cubicBezTo>
                    <a:pt x="1302" y="70"/>
                    <a:pt x="1302" y="70"/>
                    <a:pt x="1302" y="70"/>
                  </a:cubicBezTo>
                  <a:cubicBezTo>
                    <a:pt x="1251" y="65"/>
                    <a:pt x="1251" y="65"/>
                    <a:pt x="1251" y="65"/>
                  </a:cubicBezTo>
                  <a:cubicBezTo>
                    <a:pt x="1250" y="65"/>
                    <a:pt x="1250" y="65"/>
                    <a:pt x="1250" y="65"/>
                  </a:cubicBezTo>
                  <a:cubicBezTo>
                    <a:pt x="1250" y="65"/>
                    <a:pt x="1250" y="65"/>
                    <a:pt x="1250" y="65"/>
                  </a:cubicBezTo>
                  <a:cubicBezTo>
                    <a:pt x="1250" y="66"/>
                    <a:pt x="1250" y="66"/>
                    <a:pt x="1250" y="66"/>
                  </a:cubicBezTo>
                  <a:cubicBezTo>
                    <a:pt x="1250" y="66"/>
                    <a:pt x="1250" y="66"/>
                    <a:pt x="1250" y="66"/>
                  </a:cubicBezTo>
                  <a:cubicBezTo>
                    <a:pt x="1249" y="66"/>
                    <a:pt x="1249" y="66"/>
                    <a:pt x="1249" y="66"/>
                  </a:cubicBezTo>
                  <a:cubicBezTo>
                    <a:pt x="1248" y="66"/>
                    <a:pt x="1248" y="66"/>
                    <a:pt x="1248" y="66"/>
                  </a:cubicBezTo>
                  <a:cubicBezTo>
                    <a:pt x="1248" y="66"/>
                    <a:pt x="1248" y="66"/>
                    <a:pt x="1248" y="66"/>
                  </a:cubicBezTo>
                  <a:cubicBezTo>
                    <a:pt x="1248" y="67"/>
                    <a:pt x="1248" y="67"/>
                    <a:pt x="1248" y="67"/>
                  </a:cubicBezTo>
                  <a:cubicBezTo>
                    <a:pt x="1247" y="67"/>
                    <a:pt x="1247" y="67"/>
                    <a:pt x="1246" y="67"/>
                  </a:cubicBezTo>
                  <a:cubicBezTo>
                    <a:pt x="1246" y="67"/>
                    <a:pt x="1246" y="67"/>
                    <a:pt x="1246" y="67"/>
                  </a:cubicBezTo>
                  <a:cubicBezTo>
                    <a:pt x="1246" y="67"/>
                    <a:pt x="1246" y="67"/>
                    <a:pt x="1246" y="67"/>
                  </a:cubicBezTo>
                  <a:cubicBezTo>
                    <a:pt x="1246" y="68"/>
                    <a:pt x="1246" y="68"/>
                    <a:pt x="1246" y="68"/>
                  </a:cubicBezTo>
                  <a:cubicBezTo>
                    <a:pt x="1246" y="68"/>
                    <a:pt x="1246" y="68"/>
                    <a:pt x="1246" y="68"/>
                  </a:cubicBezTo>
                  <a:cubicBezTo>
                    <a:pt x="1246" y="68"/>
                    <a:pt x="1246" y="69"/>
                    <a:pt x="1246" y="69"/>
                  </a:cubicBezTo>
                  <a:cubicBezTo>
                    <a:pt x="1246" y="69"/>
                    <a:pt x="1246" y="69"/>
                    <a:pt x="1246" y="69"/>
                  </a:cubicBezTo>
                  <a:cubicBezTo>
                    <a:pt x="1246" y="69"/>
                    <a:pt x="1246" y="69"/>
                    <a:pt x="1246" y="69"/>
                  </a:cubicBezTo>
                  <a:cubicBezTo>
                    <a:pt x="1246" y="70"/>
                    <a:pt x="1246" y="70"/>
                    <a:pt x="1245" y="70"/>
                  </a:cubicBezTo>
                  <a:cubicBezTo>
                    <a:pt x="1245" y="70"/>
                    <a:pt x="1245" y="70"/>
                    <a:pt x="1245" y="70"/>
                  </a:cubicBezTo>
                  <a:cubicBezTo>
                    <a:pt x="1245" y="70"/>
                    <a:pt x="1245" y="70"/>
                    <a:pt x="1245" y="70"/>
                  </a:cubicBezTo>
                  <a:cubicBezTo>
                    <a:pt x="1244" y="70"/>
                    <a:pt x="1244" y="70"/>
                    <a:pt x="1244" y="70"/>
                  </a:cubicBezTo>
                  <a:cubicBezTo>
                    <a:pt x="1244" y="71"/>
                    <a:pt x="1244" y="71"/>
                    <a:pt x="1244" y="71"/>
                  </a:cubicBezTo>
                  <a:cubicBezTo>
                    <a:pt x="1245" y="71"/>
                    <a:pt x="1245" y="71"/>
                    <a:pt x="1245" y="71"/>
                  </a:cubicBezTo>
                  <a:cubicBezTo>
                    <a:pt x="1247" y="71"/>
                    <a:pt x="1247" y="71"/>
                    <a:pt x="1247" y="71"/>
                  </a:cubicBezTo>
                  <a:cubicBezTo>
                    <a:pt x="1251" y="70"/>
                    <a:pt x="1251" y="70"/>
                    <a:pt x="1251" y="70"/>
                  </a:cubicBezTo>
                  <a:cubicBezTo>
                    <a:pt x="1252" y="70"/>
                    <a:pt x="1252" y="70"/>
                    <a:pt x="1252" y="70"/>
                  </a:cubicBezTo>
                  <a:cubicBezTo>
                    <a:pt x="1253" y="70"/>
                    <a:pt x="1253" y="70"/>
                    <a:pt x="1253" y="70"/>
                  </a:cubicBezTo>
                  <a:cubicBezTo>
                    <a:pt x="1253" y="70"/>
                    <a:pt x="1253" y="70"/>
                    <a:pt x="1253" y="70"/>
                  </a:cubicBezTo>
                  <a:cubicBezTo>
                    <a:pt x="1253" y="71"/>
                    <a:pt x="1253" y="71"/>
                    <a:pt x="1253" y="71"/>
                  </a:cubicBezTo>
                  <a:cubicBezTo>
                    <a:pt x="1253" y="71"/>
                    <a:pt x="1253" y="71"/>
                    <a:pt x="1253" y="71"/>
                  </a:cubicBezTo>
                  <a:cubicBezTo>
                    <a:pt x="1253" y="71"/>
                    <a:pt x="1253" y="71"/>
                    <a:pt x="1253" y="71"/>
                  </a:cubicBezTo>
                  <a:cubicBezTo>
                    <a:pt x="1253" y="71"/>
                    <a:pt x="1253" y="71"/>
                    <a:pt x="1253" y="71"/>
                  </a:cubicBezTo>
                  <a:cubicBezTo>
                    <a:pt x="1253" y="71"/>
                    <a:pt x="1253" y="71"/>
                    <a:pt x="1253" y="71"/>
                  </a:cubicBezTo>
                  <a:cubicBezTo>
                    <a:pt x="1255" y="72"/>
                    <a:pt x="1258" y="71"/>
                    <a:pt x="1259" y="71"/>
                  </a:cubicBezTo>
                  <a:cubicBezTo>
                    <a:pt x="1259" y="72"/>
                    <a:pt x="1259" y="72"/>
                    <a:pt x="1259" y="72"/>
                  </a:cubicBezTo>
                  <a:cubicBezTo>
                    <a:pt x="1259" y="72"/>
                    <a:pt x="1259" y="72"/>
                    <a:pt x="1259" y="72"/>
                  </a:cubicBezTo>
                  <a:cubicBezTo>
                    <a:pt x="1260" y="72"/>
                    <a:pt x="1260" y="72"/>
                    <a:pt x="1260" y="72"/>
                  </a:cubicBezTo>
                  <a:cubicBezTo>
                    <a:pt x="1262" y="72"/>
                    <a:pt x="1262" y="72"/>
                    <a:pt x="1262" y="72"/>
                  </a:cubicBezTo>
                  <a:cubicBezTo>
                    <a:pt x="1267" y="71"/>
                    <a:pt x="1267" y="71"/>
                    <a:pt x="1267" y="71"/>
                  </a:cubicBezTo>
                  <a:cubicBezTo>
                    <a:pt x="1268" y="71"/>
                    <a:pt x="1268" y="71"/>
                    <a:pt x="1268" y="71"/>
                  </a:cubicBezTo>
                  <a:cubicBezTo>
                    <a:pt x="1269" y="71"/>
                    <a:pt x="1269" y="71"/>
                    <a:pt x="1269" y="71"/>
                  </a:cubicBezTo>
                  <a:cubicBezTo>
                    <a:pt x="1269" y="72"/>
                    <a:pt x="1269" y="72"/>
                    <a:pt x="1269" y="72"/>
                  </a:cubicBezTo>
                  <a:cubicBezTo>
                    <a:pt x="1269" y="72"/>
                    <a:pt x="1269" y="72"/>
                    <a:pt x="1269" y="72"/>
                  </a:cubicBezTo>
                  <a:cubicBezTo>
                    <a:pt x="1269" y="72"/>
                    <a:pt x="1269" y="72"/>
                    <a:pt x="1269" y="72"/>
                  </a:cubicBezTo>
                  <a:cubicBezTo>
                    <a:pt x="1266" y="73"/>
                    <a:pt x="1263" y="74"/>
                    <a:pt x="1259" y="74"/>
                  </a:cubicBezTo>
                  <a:cubicBezTo>
                    <a:pt x="1223" y="79"/>
                    <a:pt x="1223" y="79"/>
                    <a:pt x="1223" y="79"/>
                  </a:cubicBezTo>
                  <a:cubicBezTo>
                    <a:pt x="1223" y="79"/>
                    <a:pt x="1223" y="79"/>
                    <a:pt x="1223" y="79"/>
                  </a:cubicBezTo>
                  <a:cubicBezTo>
                    <a:pt x="1216" y="81"/>
                    <a:pt x="1210" y="81"/>
                    <a:pt x="1203" y="83"/>
                  </a:cubicBezTo>
                  <a:cubicBezTo>
                    <a:pt x="1201" y="84"/>
                    <a:pt x="1201" y="84"/>
                    <a:pt x="1201" y="84"/>
                  </a:cubicBezTo>
                  <a:cubicBezTo>
                    <a:pt x="1195" y="84"/>
                    <a:pt x="1195" y="84"/>
                    <a:pt x="1195" y="84"/>
                  </a:cubicBezTo>
                  <a:cubicBezTo>
                    <a:pt x="1193" y="85"/>
                    <a:pt x="1193" y="85"/>
                    <a:pt x="1193" y="85"/>
                  </a:cubicBezTo>
                  <a:cubicBezTo>
                    <a:pt x="1191" y="85"/>
                    <a:pt x="1191" y="85"/>
                    <a:pt x="1191" y="85"/>
                  </a:cubicBezTo>
                  <a:cubicBezTo>
                    <a:pt x="1190" y="86"/>
                    <a:pt x="1189" y="86"/>
                    <a:pt x="1188" y="86"/>
                  </a:cubicBezTo>
                  <a:cubicBezTo>
                    <a:pt x="1185" y="87"/>
                    <a:pt x="1185" y="87"/>
                    <a:pt x="1185" y="87"/>
                  </a:cubicBezTo>
                  <a:cubicBezTo>
                    <a:pt x="1179" y="88"/>
                    <a:pt x="1179" y="88"/>
                    <a:pt x="1179" y="88"/>
                  </a:cubicBezTo>
                  <a:cubicBezTo>
                    <a:pt x="1177" y="88"/>
                    <a:pt x="1177" y="88"/>
                    <a:pt x="1177" y="88"/>
                  </a:cubicBezTo>
                  <a:cubicBezTo>
                    <a:pt x="1176" y="89"/>
                    <a:pt x="1176" y="89"/>
                    <a:pt x="1176" y="89"/>
                  </a:cubicBezTo>
                  <a:cubicBezTo>
                    <a:pt x="1175" y="89"/>
                    <a:pt x="1175" y="89"/>
                    <a:pt x="1175" y="89"/>
                  </a:cubicBezTo>
                  <a:cubicBezTo>
                    <a:pt x="1175" y="89"/>
                    <a:pt x="1175" y="89"/>
                    <a:pt x="1175" y="89"/>
                  </a:cubicBezTo>
                  <a:cubicBezTo>
                    <a:pt x="1175" y="89"/>
                    <a:pt x="1175" y="89"/>
                    <a:pt x="1175" y="89"/>
                  </a:cubicBezTo>
                  <a:cubicBezTo>
                    <a:pt x="1175" y="90"/>
                    <a:pt x="1175" y="90"/>
                    <a:pt x="1175" y="90"/>
                  </a:cubicBezTo>
                  <a:cubicBezTo>
                    <a:pt x="1174" y="90"/>
                    <a:pt x="1174" y="90"/>
                    <a:pt x="1174" y="90"/>
                  </a:cubicBezTo>
                  <a:cubicBezTo>
                    <a:pt x="1174" y="90"/>
                    <a:pt x="1174" y="90"/>
                    <a:pt x="1174" y="90"/>
                  </a:cubicBezTo>
                  <a:cubicBezTo>
                    <a:pt x="1172" y="91"/>
                    <a:pt x="1172" y="91"/>
                    <a:pt x="1172" y="91"/>
                  </a:cubicBezTo>
                  <a:cubicBezTo>
                    <a:pt x="1172" y="91"/>
                    <a:pt x="1172" y="91"/>
                    <a:pt x="1172" y="91"/>
                  </a:cubicBezTo>
                  <a:cubicBezTo>
                    <a:pt x="1171" y="91"/>
                    <a:pt x="1171" y="91"/>
                    <a:pt x="1171" y="91"/>
                  </a:cubicBezTo>
                  <a:cubicBezTo>
                    <a:pt x="1171" y="91"/>
                    <a:pt x="1171" y="91"/>
                    <a:pt x="1171" y="91"/>
                  </a:cubicBezTo>
                  <a:cubicBezTo>
                    <a:pt x="1171" y="91"/>
                    <a:pt x="1171" y="91"/>
                    <a:pt x="1171" y="91"/>
                  </a:cubicBezTo>
                  <a:cubicBezTo>
                    <a:pt x="1170" y="91"/>
                    <a:pt x="1170" y="91"/>
                    <a:pt x="1170" y="91"/>
                  </a:cubicBezTo>
                  <a:cubicBezTo>
                    <a:pt x="1171" y="91"/>
                    <a:pt x="1171" y="91"/>
                    <a:pt x="1171" y="91"/>
                  </a:cubicBezTo>
                  <a:cubicBezTo>
                    <a:pt x="1171" y="91"/>
                    <a:pt x="1171" y="91"/>
                    <a:pt x="1171" y="91"/>
                  </a:cubicBezTo>
                  <a:cubicBezTo>
                    <a:pt x="1171" y="91"/>
                    <a:pt x="1171" y="91"/>
                    <a:pt x="1171" y="91"/>
                  </a:cubicBezTo>
                  <a:cubicBezTo>
                    <a:pt x="1171" y="91"/>
                    <a:pt x="1171" y="91"/>
                    <a:pt x="1171" y="91"/>
                  </a:cubicBezTo>
                  <a:cubicBezTo>
                    <a:pt x="1172" y="91"/>
                    <a:pt x="1172" y="91"/>
                    <a:pt x="1172" y="91"/>
                  </a:cubicBezTo>
                  <a:cubicBezTo>
                    <a:pt x="1172" y="92"/>
                    <a:pt x="1172" y="92"/>
                    <a:pt x="1172" y="92"/>
                  </a:cubicBezTo>
                  <a:cubicBezTo>
                    <a:pt x="1172" y="92"/>
                    <a:pt x="1172" y="92"/>
                    <a:pt x="1172" y="92"/>
                  </a:cubicBezTo>
                  <a:cubicBezTo>
                    <a:pt x="1169" y="92"/>
                    <a:pt x="1169" y="92"/>
                    <a:pt x="1167" y="93"/>
                  </a:cubicBezTo>
                  <a:cubicBezTo>
                    <a:pt x="1167" y="93"/>
                    <a:pt x="1167" y="93"/>
                    <a:pt x="1167" y="93"/>
                  </a:cubicBezTo>
                  <a:cubicBezTo>
                    <a:pt x="1167" y="94"/>
                    <a:pt x="1167" y="94"/>
                    <a:pt x="1167" y="94"/>
                  </a:cubicBezTo>
                  <a:cubicBezTo>
                    <a:pt x="1167" y="94"/>
                    <a:pt x="1167" y="94"/>
                    <a:pt x="1167" y="94"/>
                  </a:cubicBezTo>
                  <a:cubicBezTo>
                    <a:pt x="1167" y="94"/>
                    <a:pt x="1167" y="94"/>
                    <a:pt x="1167" y="94"/>
                  </a:cubicBezTo>
                  <a:cubicBezTo>
                    <a:pt x="1166" y="94"/>
                    <a:pt x="1166" y="94"/>
                    <a:pt x="1166" y="94"/>
                  </a:cubicBezTo>
                  <a:cubicBezTo>
                    <a:pt x="1165" y="94"/>
                    <a:pt x="1165" y="94"/>
                    <a:pt x="1165" y="94"/>
                  </a:cubicBezTo>
                  <a:cubicBezTo>
                    <a:pt x="1165" y="94"/>
                    <a:pt x="1165" y="94"/>
                    <a:pt x="1165" y="94"/>
                  </a:cubicBezTo>
                  <a:cubicBezTo>
                    <a:pt x="1164" y="95"/>
                    <a:pt x="1164" y="95"/>
                    <a:pt x="1164" y="95"/>
                  </a:cubicBezTo>
                  <a:cubicBezTo>
                    <a:pt x="1164" y="95"/>
                    <a:pt x="1164" y="95"/>
                    <a:pt x="1164" y="95"/>
                  </a:cubicBezTo>
                  <a:cubicBezTo>
                    <a:pt x="1164" y="95"/>
                    <a:pt x="1164" y="95"/>
                    <a:pt x="1164" y="95"/>
                  </a:cubicBezTo>
                  <a:cubicBezTo>
                    <a:pt x="1163" y="95"/>
                    <a:pt x="1163" y="95"/>
                    <a:pt x="1163" y="95"/>
                  </a:cubicBezTo>
                  <a:cubicBezTo>
                    <a:pt x="1163" y="95"/>
                    <a:pt x="1163" y="95"/>
                    <a:pt x="1163" y="95"/>
                  </a:cubicBezTo>
                  <a:cubicBezTo>
                    <a:pt x="1163" y="95"/>
                    <a:pt x="1163" y="95"/>
                    <a:pt x="1163" y="95"/>
                  </a:cubicBezTo>
                  <a:cubicBezTo>
                    <a:pt x="1163" y="96"/>
                    <a:pt x="1163" y="96"/>
                    <a:pt x="1163" y="96"/>
                  </a:cubicBezTo>
                  <a:cubicBezTo>
                    <a:pt x="1163" y="96"/>
                    <a:pt x="1163" y="96"/>
                    <a:pt x="1163" y="96"/>
                  </a:cubicBezTo>
                  <a:cubicBezTo>
                    <a:pt x="1163" y="96"/>
                    <a:pt x="1163" y="96"/>
                    <a:pt x="1163" y="96"/>
                  </a:cubicBezTo>
                  <a:cubicBezTo>
                    <a:pt x="1163" y="96"/>
                    <a:pt x="1163" y="96"/>
                    <a:pt x="1163" y="96"/>
                  </a:cubicBezTo>
                  <a:cubicBezTo>
                    <a:pt x="1162" y="97"/>
                    <a:pt x="1162" y="97"/>
                    <a:pt x="1162" y="97"/>
                  </a:cubicBezTo>
                  <a:cubicBezTo>
                    <a:pt x="1162" y="97"/>
                    <a:pt x="1162" y="97"/>
                    <a:pt x="1162" y="97"/>
                  </a:cubicBezTo>
                  <a:cubicBezTo>
                    <a:pt x="1161" y="97"/>
                    <a:pt x="1161" y="97"/>
                    <a:pt x="1161" y="97"/>
                  </a:cubicBezTo>
                  <a:cubicBezTo>
                    <a:pt x="1161" y="97"/>
                    <a:pt x="1161" y="97"/>
                    <a:pt x="1161" y="97"/>
                  </a:cubicBezTo>
                  <a:cubicBezTo>
                    <a:pt x="1161" y="98"/>
                    <a:pt x="1161" y="98"/>
                    <a:pt x="1161" y="98"/>
                  </a:cubicBezTo>
                  <a:cubicBezTo>
                    <a:pt x="1160" y="98"/>
                    <a:pt x="1160" y="98"/>
                    <a:pt x="1159" y="98"/>
                  </a:cubicBezTo>
                  <a:cubicBezTo>
                    <a:pt x="1159" y="99"/>
                    <a:pt x="1159" y="99"/>
                    <a:pt x="1159" y="99"/>
                  </a:cubicBezTo>
                  <a:cubicBezTo>
                    <a:pt x="1158" y="99"/>
                    <a:pt x="1158" y="99"/>
                    <a:pt x="1158" y="99"/>
                  </a:cubicBezTo>
                  <a:cubicBezTo>
                    <a:pt x="1157" y="100"/>
                    <a:pt x="1157" y="100"/>
                    <a:pt x="1157" y="100"/>
                  </a:cubicBezTo>
                  <a:cubicBezTo>
                    <a:pt x="1153" y="103"/>
                    <a:pt x="1153" y="103"/>
                    <a:pt x="1153" y="103"/>
                  </a:cubicBezTo>
                  <a:cubicBezTo>
                    <a:pt x="1152" y="103"/>
                    <a:pt x="1152" y="103"/>
                    <a:pt x="1152" y="103"/>
                  </a:cubicBezTo>
                  <a:cubicBezTo>
                    <a:pt x="1151" y="104"/>
                    <a:pt x="1151" y="104"/>
                    <a:pt x="1151" y="104"/>
                  </a:cubicBezTo>
                  <a:cubicBezTo>
                    <a:pt x="1150" y="104"/>
                    <a:pt x="1150" y="104"/>
                    <a:pt x="1150" y="104"/>
                  </a:cubicBezTo>
                  <a:cubicBezTo>
                    <a:pt x="1148" y="103"/>
                    <a:pt x="1148" y="103"/>
                    <a:pt x="1148" y="103"/>
                  </a:cubicBezTo>
                  <a:cubicBezTo>
                    <a:pt x="1145" y="103"/>
                    <a:pt x="1145" y="103"/>
                    <a:pt x="1145" y="103"/>
                  </a:cubicBezTo>
                  <a:cubicBezTo>
                    <a:pt x="1137" y="102"/>
                    <a:pt x="1137" y="102"/>
                    <a:pt x="1137" y="102"/>
                  </a:cubicBezTo>
                  <a:cubicBezTo>
                    <a:pt x="1134" y="102"/>
                    <a:pt x="1134" y="102"/>
                    <a:pt x="1134" y="102"/>
                  </a:cubicBezTo>
                  <a:cubicBezTo>
                    <a:pt x="1132" y="102"/>
                    <a:pt x="1132" y="102"/>
                    <a:pt x="1132" y="102"/>
                  </a:cubicBezTo>
                  <a:cubicBezTo>
                    <a:pt x="1132" y="102"/>
                    <a:pt x="1132" y="102"/>
                    <a:pt x="1132" y="102"/>
                  </a:cubicBezTo>
                  <a:cubicBezTo>
                    <a:pt x="1132" y="103"/>
                    <a:pt x="1132" y="103"/>
                    <a:pt x="1131" y="104"/>
                  </a:cubicBezTo>
                  <a:cubicBezTo>
                    <a:pt x="1131" y="104"/>
                    <a:pt x="1131" y="104"/>
                    <a:pt x="1131" y="104"/>
                  </a:cubicBezTo>
                  <a:cubicBezTo>
                    <a:pt x="1131" y="104"/>
                    <a:pt x="1131" y="104"/>
                    <a:pt x="1131" y="104"/>
                  </a:cubicBezTo>
                  <a:cubicBezTo>
                    <a:pt x="1132" y="104"/>
                    <a:pt x="1132" y="104"/>
                    <a:pt x="1132" y="104"/>
                  </a:cubicBezTo>
                  <a:cubicBezTo>
                    <a:pt x="1132" y="105"/>
                    <a:pt x="1132" y="105"/>
                    <a:pt x="1132" y="105"/>
                  </a:cubicBezTo>
                  <a:cubicBezTo>
                    <a:pt x="1133" y="104"/>
                    <a:pt x="1133" y="104"/>
                    <a:pt x="1133" y="104"/>
                  </a:cubicBezTo>
                  <a:cubicBezTo>
                    <a:pt x="1134" y="104"/>
                    <a:pt x="1134" y="104"/>
                    <a:pt x="1134" y="104"/>
                  </a:cubicBezTo>
                  <a:cubicBezTo>
                    <a:pt x="1134" y="104"/>
                    <a:pt x="1134" y="104"/>
                    <a:pt x="1134" y="104"/>
                  </a:cubicBezTo>
                  <a:cubicBezTo>
                    <a:pt x="1135" y="104"/>
                    <a:pt x="1135" y="104"/>
                    <a:pt x="1135" y="104"/>
                  </a:cubicBezTo>
                  <a:cubicBezTo>
                    <a:pt x="1135" y="104"/>
                    <a:pt x="1135" y="104"/>
                    <a:pt x="1135" y="104"/>
                  </a:cubicBezTo>
                  <a:cubicBezTo>
                    <a:pt x="1136" y="105"/>
                    <a:pt x="1136" y="105"/>
                    <a:pt x="1136" y="105"/>
                  </a:cubicBezTo>
                  <a:cubicBezTo>
                    <a:pt x="1136" y="105"/>
                    <a:pt x="1136" y="105"/>
                    <a:pt x="1136" y="105"/>
                  </a:cubicBezTo>
                  <a:cubicBezTo>
                    <a:pt x="1137" y="105"/>
                    <a:pt x="1138" y="105"/>
                    <a:pt x="1138" y="105"/>
                  </a:cubicBezTo>
                  <a:cubicBezTo>
                    <a:pt x="1139" y="105"/>
                    <a:pt x="1139" y="105"/>
                    <a:pt x="1139" y="105"/>
                  </a:cubicBezTo>
                  <a:cubicBezTo>
                    <a:pt x="1139" y="105"/>
                    <a:pt x="1139" y="105"/>
                    <a:pt x="1139" y="105"/>
                  </a:cubicBezTo>
                  <a:cubicBezTo>
                    <a:pt x="1139" y="106"/>
                    <a:pt x="1139" y="106"/>
                    <a:pt x="1139" y="106"/>
                  </a:cubicBezTo>
                  <a:cubicBezTo>
                    <a:pt x="1140" y="106"/>
                    <a:pt x="1140" y="106"/>
                    <a:pt x="1140" y="106"/>
                  </a:cubicBezTo>
                  <a:cubicBezTo>
                    <a:pt x="1140" y="106"/>
                    <a:pt x="1140" y="106"/>
                    <a:pt x="1140" y="106"/>
                  </a:cubicBezTo>
                  <a:cubicBezTo>
                    <a:pt x="1140" y="106"/>
                    <a:pt x="1140" y="106"/>
                    <a:pt x="1140" y="106"/>
                  </a:cubicBezTo>
                  <a:cubicBezTo>
                    <a:pt x="1141" y="106"/>
                    <a:pt x="1141" y="106"/>
                    <a:pt x="1141" y="106"/>
                  </a:cubicBezTo>
                  <a:cubicBezTo>
                    <a:pt x="1142" y="106"/>
                    <a:pt x="1142" y="106"/>
                    <a:pt x="1142" y="106"/>
                  </a:cubicBezTo>
                  <a:cubicBezTo>
                    <a:pt x="1142" y="106"/>
                    <a:pt x="1142" y="106"/>
                    <a:pt x="1142" y="106"/>
                  </a:cubicBezTo>
                  <a:cubicBezTo>
                    <a:pt x="1143" y="106"/>
                    <a:pt x="1143" y="106"/>
                    <a:pt x="1143" y="106"/>
                  </a:cubicBezTo>
                  <a:cubicBezTo>
                    <a:pt x="1143" y="106"/>
                    <a:pt x="1143" y="106"/>
                    <a:pt x="1143" y="106"/>
                  </a:cubicBezTo>
                  <a:cubicBezTo>
                    <a:pt x="1143" y="106"/>
                    <a:pt x="1143" y="106"/>
                    <a:pt x="1143" y="106"/>
                  </a:cubicBezTo>
                  <a:cubicBezTo>
                    <a:pt x="1141" y="107"/>
                    <a:pt x="1139" y="107"/>
                    <a:pt x="1137" y="108"/>
                  </a:cubicBezTo>
                  <a:cubicBezTo>
                    <a:pt x="1137" y="108"/>
                    <a:pt x="1137" y="108"/>
                    <a:pt x="1137" y="108"/>
                  </a:cubicBezTo>
                  <a:cubicBezTo>
                    <a:pt x="1137" y="108"/>
                    <a:pt x="1137" y="108"/>
                    <a:pt x="1137" y="108"/>
                  </a:cubicBezTo>
                  <a:cubicBezTo>
                    <a:pt x="1137" y="109"/>
                    <a:pt x="1137" y="109"/>
                    <a:pt x="1137" y="109"/>
                  </a:cubicBezTo>
                  <a:cubicBezTo>
                    <a:pt x="1137" y="109"/>
                    <a:pt x="1137" y="109"/>
                    <a:pt x="1137" y="109"/>
                  </a:cubicBezTo>
                  <a:cubicBezTo>
                    <a:pt x="1138" y="109"/>
                    <a:pt x="1138" y="109"/>
                    <a:pt x="1140" y="109"/>
                  </a:cubicBezTo>
                  <a:cubicBezTo>
                    <a:pt x="1140" y="109"/>
                    <a:pt x="1140" y="109"/>
                    <a:pt x="1140" y="109"/>
                  </a:cubicBezTo>
                  <a:cubicBezTo>
                    <a:pt x="1140" y="110"/>
                    <a:pt x="1140" y="110"/>
                    <a:pt x="1140" y="110"/>
                  </a:cubicBezTo>
                  <a:cubicBezTo>
                    <a:pt x="1140" y="110"/>
                    <a:pt x="1140" y="110"/>
                    <a:pt x="1140" y="110"/>
                  </a:cubicBezTo>
                  <a:cubicBezTo>
                    <a:pt x="1140" y="110"/>
                    <a:pt x="1140" y="110"/>
                    <a:pt x="1140" y="110"/>
                  </a:cubicBezTo>
                  <a:cubicBezTo>
                    <a:pt x="1140" y="110"/>
                    <a:pt x="1140" y="110"/>
                    <a:pt x="1140" y="110"/>
                  </a:cubicBezTo>
                  <a:cubicBezTo>
                    <a:pt x="1140" y="110"/>
                    <a:pt x="1140" y="110"/>
                    <a:pt x="1140" y="110"/>
                  </a:cubicBezTo>
                  <a:cubicBezTo>
                    <a:pt x="1139" y="111"/>
                    <a:pt x="1139" y="111"/>
                    <a:pt x="1139" y="111"/>
                  </a:cubicBezTo>
                  <a:cubicBezTo>
                    <a:pt x="1139" y="111"/>
                    <a:pt x="1139" y="111"/>
                    <a:pt x="1139" y="111"/>
                  </a:cubicBezTo>
                  <a:cubicBezTo>
                    <a:pt x="1139" y="111"/>
                    <a:pt x="1139" y="111"/>
                    <a:pt x="1139" y="111"/>
                  </a:cubicBezTo>
                  <a:cubicBezTo>
                    <a:pt x="1139" y="111"/>
                    <a:pt x="1139" y="111"/>
                    <a:pt x="1139" y="111"/>
                  </a:cubicBezTo>
                  <a:cubicBezTo>
                    <a:pt x="1138" y="111"/>
                    <a:pt x="1138" y="111"/>
                    <a:pt x="1138" y="111"/>
                  </a:cubicBezTo>
                  <a:cubicBezTo>
                    <a:pt x="1138" y="111"/>
                    <a:pt x="1138" y="111"/>
                    <a:pt x="1138" y="111"/>
                  </a:cubicBezTo>
                  <a:cubicBezTo>
                    <a:pt x="1138" y="112"/>
                    <a:pt x="1138" y="112"/>
                    <a:pt x="1138" y="112"/>
                  </a:cubicBezTo>
                  <a:cubicBezTo>
                    <a:pt x="1137" y="112"/>
                    <a:pt x="1136" y="112"/>
                    <a:pt x="1136" y="113"/>
                  </a:cubicBezTo>
                  <a:cubicBezTo>
                    <a:pt x="1135" y="113"/>
                    <a:pt x="1135" y="113"/>
                    <a:pt x="1135" y="113"/>
                  </a:cubicBezTo>
                  <a:cubicBezTo>
                    <a:pt x="1135" y="113"/>
                    <a:pt x="1135" y="113"/>
                    <a:pt x="1135" y="113"/>
                  </a:cubicBezTo>
                  <a:cubicBezTo>
                    <a:pt x="1135" y="113"/>
                    <a:pt x="1135" y="113"/>
                    <a:pt x="1135" y="113"/>
                  </a:cubicBezTo>
                  <a:cubicBezTo>
                    <a:pt x="1134" y="114"/>
                    <a:pt x="1134" y="114"/>
                    <a:pt x="1134" y="114"/>
                  </a:cubicBezTo>
                  <a:cubicBezTo>
                    <a:pt x="1134" y="114"/>
                    <a:pt x="1134" y="114"/>
                    <a:pt x="1134" y="114"/>
                  </a:cubicBezTo>
                  <a:cubicBezTo>
                    <a:pt x="1134" y="114"/>
                    <a:pt x="1134" y="114"/>
                    <a:pt x="1134" y="114"/>
                  </a:cubicBezTo>
                  <a:cubicBezTo>
                    <a:pt x="1134" y="114"/>
                    <a:pt x="1134" y="114"/>
                    <a:pt x="1134" y="114"/>
                  </a:cubicBezTo>
                  <a:cubicBezTo>
                    <a:pt x="1134" y="115"/>
                    <a:pt x="1134" y="115"/>
                    <a:pt x="1134" y="115"/>
                  </a:cubicBezTo>
                  <a:cubicBezTo>
                    <a:pt x="1134" y="115"/>
                    <a:pt x="1134" y="115"/>
                    <a:pt x="1134" y="115"/>
                  </a:cubicBezTo>
                  <a:cubicBezTo>
                    <a:pt x="1134" y="115"/>
                    <a:pt x="1134" y="115"/>
                    <a:pt x="1134" y="115"/>
                  </a:cubicBezTo>
                  <a:cubicBezTo>
                    <a:pt x="1134" y="116"/>
                    <a:pt x="1134" y="116"/>
                    <a:pt x="1134" y="116"/>
                  </a:cubicBezTo>
                  <a:cubicBezTo>
                    <a:pt x="1134" y="116"/>
                    <a:pt x="1134" y="116"/>
                    <a:pt x="1134" y="116"/>
                  </a:cubicBezTo>
                  <a:cubicBezTo>
                    <a:pt x="1134" y="116"/>
                    <a:pt x="1134" y="116"/>
                    <a:pt x="1134" y="116"/>
                  </a:cubicBezTo>
                  <a:cubicBezTo>
                    <a:pt x="1132" y="117"/>
                    <a:pt x="1131" y="117"/>
                    <a:pt x="1129" y="119"/>
                  </a:cubicBezTo>
                  <a:cubicBezTo>
                    <a:pt x="1129" y="119"/>
                    <a:pt x="1129" y="119"/>
                    <a:pt x="1129" y="119"/>
                  </a:cubicBezTo>
                  <a:cubicBezTo>
                    <a:pt x="1129" y="119"/>
                    <a:pt x="1129" y="119"/>
                    <a:pt x="1129" y="119"/>
                  </a:cubicBezTo>
                  <a:cubicBezTo>
                    <a:pt x="1130" y="120"/>
                    <a:pt x="1130" y="120"/>
                    <a:pt x="1130" y="120"/>
                  </a:cubicBezTo>
                  <a:cubicBezTo>
                    <a:pt x="1131" y="122"/>
                    <a:pt x="1131" y="122"/>
                    <a:pt x="1131" y="122"/>
                  </a:cubicBezTo>
                  <a:cubicBezTo>
                    <a:pt x="1132" y="122"/>
                    <a:pt x="1132" y="122"/>
                    <a:pt x="1132" y="122"/>
                  </a:cubicBezTo>
                  <a:cubicBezTo>
                    <a:pt x="1132" y="122"/>
                    <a:pt x="1132" y="122"/>
                    <a:pt x="1132" y="122"/>
                  </a:cubicBezTo>
                  <a:cubicBezTo>
                    <a:pt x="1131" y="122"/>
                    <a:pt x="1131" y="122"/>
                    <a:pt x="1131" y="122"/>
                  </a:cubicBezTo>
                  <a:cubicBezTo>
                    <a:pt x="1131" y="122"/>
                    <a:pt x="1131" y="122"/>
                    <a:pt x="1131" y="122"/>
                  </a:cubicBezTo>
                  <a:cubicBezTo>
                    <a:pt x="1130" y="122"/>
                    <a:pt x="1130" y="122"/>
                    <a:pt x="1130" y="122"/>
                  </a:cubicBezTo>
                  <a:cubicBezTo>
                    <a:pt x="1129" y="122"/>
                    <a:pt x="1129" y="122"/>
                    <a:pt x="1129" y="122"/>
                  </a:cubicBezTo>
                  <a:cubicBezTo>
                    <a:pt x="1128" y="122"/>
                    <a:pt x="1128" y="122"/>
                    <a:pt x="1128" y="122"/>
                  </a:cubicBezTo>
                  <a:cubicBezTo>
                    <a:pt x="1127" y="122"/>
                    <a:pt x="1127" y="122"/>
                    <a:pt x="1127" y="122"/>
                  </a:cubicBezTo>
                  <a:cubicBezTo>
                    <a:pt x="1127" y="122"/>
                    <a:pt x="1127" y="122"/>
                    <a:pt x="1127" y="122"/>
                  </a:cubicBezTo>
                  <a:cubicBezTo>
                    <a:pt x="1127" y="122"/>
                    <a:pt x="1127" y="122"/>
                    <a:pt x="1127" y="122"/>
                  </a:cubicBezTo>
                  <a:cubicBezTo>
                    <a:pt x="1127" y="121"/>
                    <a:pt x="1127" y="121"/>
                    <a:pt x="1127" y="121"/>
                  </a:cubicBezTo>
                  <a:cubicBezTo>
                    <a:pt x="1127" y="121"/>
                    <a:pt x="1127" y="121"/>
                    <a:pt x="1127" y="121"/>
                  </a:cubicBezTo>
                  <a:cubicBezTo>
                    <a:pt x="1126" y="121"/>
                    <a:pt x="1126" y="121"/>
                    <a:pt x="1126" y="121"/>
                  </a:cubicBezTo>
                  <a:cubicBezTo>
                    <a:pt x="1124" y="120"/>
                    <a:pt x="1128" y="119"/>
                    <a:pt x="1125" y="119"/>
                  </a:cubicBezTo>
                  <a:cubicBezTo>
                    <a:pt x="1125" y="119"/>
                    <a:pt x="1125" y="119"/>
                    <a:pt x="1125" y="119"/>
                  </a:cubicBezTo>
                  <a:cubicBezTo>
                    <a:pt x="1124" y="119"/>
                    <a:pt x="1124" y="119"/>
                    <a:pt x="1124" y="119"/>
                  </a:cubicBezTo>
                  <a:cubicBezTo>
                    <a:pt x="1118" y="119"/>
                    <a:pt x="1122" y="119"/>
                    <a:pt x="1116" y="116"/>
                  </a:cubicBezTo>
                  <a:cubicBezTo>
                    <a:pt x="1115" y="115"/>
                    <a:pt x="1115" y="115"/>
                    <a:pt x="1115" y="115"/>
                  </a:cubicBezTo>
                  <a:cubicBezTo>
                    <a:pt x="1115" y="115"/>
                    <a:pt x="1115" y="115"/>
                    <a:pt x="1115" y="115"/>
                  </a:cubicBezTo>
                  <a:cubicBezTo>
                    <a:pt x="1115" y="115"/>
                    <a:pt x="1115" y="115"/>
                    <a:pt x="1115" y="115"/>
                  </a:cubicBezTo>
                  <a:cubicBezTo>
                    <a:pt x="1115" y="115"/>
                    <a:pt x="1115" y="115"/>
                    <a:pt x="1115" y="115"/>
                  </a:cubicBezTo>
                  <a:cubicBezTo>
                    <a:pt x="1116" y="116"/>
                    <a:pt x="1116" y="116"/>
                    <a:pt x="1116" y="116"/>
                  </a:cubicBezTo>
                  <a:cubicBezTo>
                    <a:pt x="1116" y="116"/>
                    <a:pt x="1116" y="116"/>
                    <a:pt x="1116" y="116"/>
                  </a:cubicBezTo>
                  <a:cubicBezTo>
                    <a:pt x="1116" y="116"/>
                    <a:pt x="1116" y="116"/>
                    <a:pt x="1116" y="116"/>
                  </a:cubicBezTo>
                  <a:cubicBezTo>
                    <a:pt x="1116" y="116"/>
                    <a:pt x="1116" y="116"/>
                    <a:pt x="1116" y="116"/>
                  </a:cubicBezTo>
                  <a:cubicBezTo>
                    <a:pt x="1116" y="117"/>
                    <a:pt x="1116" y="117"/>
                    <a:pt x="1116" y="117"/>
                  </a:cubicBezTo>
                  <a:cubicBezTo>
                    <a:pt x="1115" y="117"/>
                    <a:pt x="1115" y="117"/>
                    <a:pt x="1115" y="117"/>
                  </a:cubicBezTo>
                  <a:cubicBezTo>
                    <a:pt x="1113" y="118"/>
                    <a:pt x="1113" y="118"/>
                    <a:pt x="1113" y="118"/>
                  </a:cubicBezTo>
                  <a:cubicBezTo>
                    <a:pt x="1112" y="118"/>
                    <a:pt x="1112" y="118"/>
                    <a:pt x="1112" y="118"/>
                  </a:cubicBezTo>
                  <a:cubicBezTo>
                    <a:pt x="1112" y="119"/>
                    <a:pt x="1112" y="119"/>
                    <a:pt x="1112" y="119"/>
                  </a:cubicBezTo>
                  <a:cubicBezTo>
                    <a:pt x="1111" y="119"/>
                    <a:pt x="1111" y="119"/>
                    <a:pt x="1111" y="119"/>
                  </a:cubicBezTo>
                  <a:cubicBezTo>
                    <a:pt x="1111" y="119"/>
                    <a:pt x="1111" y="119"/>
                    <a:pt x="1111" y="119"/>
                  </a:cubicBezTo>
                  <a:cubicBezTo>
                    <a:pt x="1111" y="119"/>
                    <a:pt x="1111" y="119"/>
                    <a:pt x="1111" y="119"/>
                  </a:cubicBezTo>
                  <a:cubicBezTo>
                    <a:pt x="1111" y="120"/>
                    <a:pt x="1111" y="120"/>
                    <a:pt x="1111" y="120"/>
                  </a:cubicBezTo>
                  <a:cubicBezTo>
                    <a:pt x="1111" y="120"/>
                    <a:pt x="1111" y="120"/>
                    <a:pt x="1111" y="120"/>
                  </a:cubicBezTo>
                  <a:cubicBezTo>
                    <a:pt x="1111" y="120"/>
                    <a:pt x="1111" y="120"/>
                    <a:pt x="1111" y="120"/>
                  </a:cubicBezTo>
                  <a:cubicBezTo>
                    <a:pt x="1111" y="120"/>
                    <a:pt x="1111" y="120"/>
                    <a:pt x="1111" y="120"/>
                  </a:cubicBezTo>
                  <a:cubicBezTo>
                    <a:pt x="1111" y="120"/>
                    <a:pt x="1111" y="120"/>
                    <a:pt x="1111" y="120"/>
                  </a:cubicBezTo>
                  <a:cubicBezTo>
                    <a:pt x="1111" y="121"/>
                    <a:pt x="1111" y="121"/>
                    <a:pt x="1111" y="121"/>
                  </a:cubicBezTo>
                  <a:cubicBezTo>
                    <a:pt x="1110" y="121"/>
                    <a:pt x="1110" y="121"/>
                    <a:pt x="1110" y="121"/>
                  </a:cubicBezTo>
                  <a:cubicBezTo>
                    <a:pt x="1110" y="121"/>
                    <a:pt x="1110" y="121"/>
                    <a:pt x="1110" y="121"/>
                  </a:cubicBezTo>
                  <a:cubicBezTo>
                    <a:pt x="1110" y="121"/>
                    <a:pt x="1110" y="121"/>
                    <a:pt x="1110" y="121"/>
                  </a:cubicBezTo>
                  <a:cubicBezTo>
                    <a:pt x="1109" y="121"/>
                    <a:pt x="1109" y="121"/>
                    <a:pt x="1109" y="121"/>
                  </a:cubicBezTo>
                  <a:cubicBezTo>
                    <a:pt x="1109" y="121"/>
                    <a:pt x="1109" y="121"/>
                    <a:pt x="1109" y="121"/>
                  </a:cubicBezTo>
                  <a:cubicBezTo>
                    <a:pt x="1110" y="122"/>
                    <a:pt x="1110" y="122"/>
                    <a:pt x="1110" y="122"/>
                  </a:cubicBezTo>
                  <a:cubicBezTo>
                    <a:pt x="1110" y="122"/>
                    <a:pt x="1110" y="122"/>
                    <a:pt x="1110" y="122"/>
                  </a:cubicBezTo>
                  <a:cubicBezTo>
                    <a:pt x="1111" y="122"/>
                    <a:pt x="1111" y="122"/>
                    <a:pt x="1111" y="122"/>
                  </a:cubicBezTo>
                  <a:cubicBezTo>
                    <a:pt x="1112" y="122"/>
                    <a:pt x="1112" y="123"/>
                    <a:pt x="1114" y="122"/>
                  </a:cubicBezTo>
                  <a:cubicBezTo>
                    <a:pt x="1114" y="122"/>
                    <a:pt x="1114" y="122"/>
                    <a:pt x="1114" y="122"/>
                  </a:cubicBezTo>
                  <a:cubicBezTo>
                    <a:pt x="1115" y="122"/>
                    <a:pt x="1115" y="122"/>
                    <a:pt x="1115" y="122"/>
                  </a:cubicBezTo>
                  <a:cubicBezTo>
                    <a:pt x="1116" y="122"/>
                    <a:pt x="1116" y="122"/>
                    <a:pt x="1118" y="122"/>
                  </a:cubicBezTo>
                  <a:cubicBezTo>
                    <a:pt x="1118" y="122"/>
                    <a:pt x="1118" y="122"/>
                    <a:pt x="1118" y="122"/>
                  </a:cubicBezTo>
                  <a:cubicBezTo>
                    <a:pt x="1119" y="122"/>
                    <a:pt x="1119" y="122"/>
                    <a:pt x="1119" y="122"/>
                  </a:cubicBezTo>
                  <a:cubicBezTo>
                    <a:pt x="1119" y="123"/>
                    <a:pt x="1119" y="123"/>
                    <a:pt x="1119" y="123"/>
                  </a:cubicBezTo>
                  <a:cubicBezTo>
                    <a:pt x="1120" y="123"/>
                    <a:pt x="1120" y="123"/>
                    <a:pt x="1120" y="123"/>
                  </a:cubicBezTo>
                  <a:cubicBezTo>
                    <a:pt x="1121" y="123"/>
                    <a:pt x="1121" y="124"/>
                    <a:pt x="1122" y="124"/>
                  </a:cubicBezTo>
                  <a:cubicBezTo>
                    <a:pt x="1122" y="124"/>
                    <a:pt x="1122" y="124"/>
                    <a:pt x="1122" y="124"/>
                  </a:cubicBezTo>
                  <a:cubicBezTo>
                    <a:pt x="1123" y="124"/>
                    <a:pt x="1123" y="124"/>
                    <a:pt x="1123" y="124"/>
                  </a:cubicBezTo>
                  <a:cubicBezTo>
                    <a:pt x="1124" y="125"/>
                    <a:pt x="1125" y="124"/>
                    <a:pt x="1126" y="124"/>
                  </a:cubicBezTo>
                  <a:cubicBezTo>
                    <a:pt x="1127" y="124"/>
                    <a:pt x="1127" y="124"/>
                    <a:pt x="1127" y="124"/>
                  </a:cubicBezTo>
                  <a:cubicBezTo>
                    <a:pt x="1128" y="124"/>
                    <a:pt x="1128" y="124"/>
                    <a:pt x="1128" y="124"/>
                  </a:cubicBezTo>
                  <a:cubicBezTo>
                    <a:pt x="1128" y="124"/>
                    <a:pt x="1128" y="124"/>
                    <a:pt x="1128" y="124"/>
                  </a:cubicBezTo>
                  <a:cubicBezTo>
                    <a:pt x="1128" y="125"/>
                    <a:pt x="1128" y="125"/>
                    <a:pt x="1128" y="125"/>
                  </a:cubicBezTo>
                  <a:cubicBezTo>
                    <a:pt x="1126" y="125"/>
                    <a:pt x="1126" y="125"/>
                    <a:pt x="1126" y="125"/>
                  </a:cubicBezTo>
                  <a:cubicBezTo>
                    <a:pt x="1126" y="125"/>
                    <a:pt x="1126" y="125"/>
                    <a:pt x="1126" y="125"/>
                  </a:cubicBezTo>
                  <a:cubicBezTo>
                    <a:pt x="1125" y="126"/>
                    <a:pt x="1125" y="126"/>
                    <a:pt x="1125" y="126"/>
                  </a:cubicBezTo>
                  <a:cubicBezTo>
                    <a:pt x="1125" y="126"/>
                    <a:pt x="1125" y="126"/>
                    <a:pt x="1125" y="126"/>
                  </a:cubicBezTo>
                  <a:cubicBezTo>
                    <a:pt x="1125" y="126"/>
                    <a:pt x="1125" y="126"/>
                    <a:pt x="1125" y="126"/>
                  </a:cubicBezTo>
                  <a:cubicBezTo>
                    <a:pt x="1125" y="126"/>
                    <a:pt x="1125" y="126"/>
                    <a:pt x="1125" y="126"/>
                  </a:cubicBezTo>
                  <a:cubicBezTo>
                    <a:pt x="1125" y="126"/>
                    <a:pt x="1125" y="126"/>
                    <a:pt x="1125" y="126"/>
                  </a:cubicBezTo>
                  <a:cubicBezTo>
                    <a:pt x="1125" y="127"/>
                    <a:pt x="1125" y="127"/>
                    <a:pt x="1125" y="127"/>
                  </a:cubicBezTo>
                  <a:cubicBezTo>
                    <a:pt x="1125" y="127"/>
                    <a:pt x="1125" y="127"/>
                    <a:pt x="1125" y="127"/>
                  </a:cubicBezTo>
                  <a:cubicBezTo>
                    <a:pt x="1126" y="127"/>
                    <a:pt x="1126" y="127"/>
                    <a:pt x="1126" y="127"/>
                  </a:cubicBezTo>
                  <a:cubicBezTo>
                    <a:pt x="1126" y="127"/>
                    <a:pt x="1126" y="127"/>
                    <a:pt x="1126" y="127"/>
                  </a:cubicBezTo>
                  <a:cubicBezTo>
                    <a:pt x="1126" y="127"/>
                    <a:pt x="1126" y="127"/>
                    <a:pt x="1126" y="127"/>
                  </a:cubicBezTo>
                  <a:cubicBezTo>
                    <a:pt x="1126" y="127"/>
                    <a:pt x="1126" y="127"/>
                    <a:pt x="1126" y="127"/>
                  </a:cubicBezTo>
                  <a:cubicBezTo>
                    <a:pt x="1127" y="128"/>
                    <a:pt x="1127" y="128"/>
                    <a:pt x="1127" y="128"/>
                  </a:cubicBezTo>
                  <a:cubicBezTo>
                    <a:pt x="1127" y="128"/>
                    <a:pt x="1127" y="128"/>
                    <a:pt x="1127" y="128"/>
                  </a:cubicBezTo>
                  <a:cubicBezTo>
                    <a:pt x="1127" y="128"/>
                    <a:pt x="1127" y="128"/>
                    <a:pt x="1127" y="128"/>
                  </a:cubicBezTo>
                  <a:cubicBezTo>
                    <a:pt x="1128" y="128"/>
                    <a:pt x="1128" y="128"/>
                    <a:pt x="1128" y="128"/>
                  </a:cubicBezTo>
                  <a:cubicBezTo>
                    <a:pt x="1128" y="128"/>
                    <a:pt x="1128" y="128"/>
                    <a:pt x="1128" y="128"/>
                  </a:cubicBezTo>
                  <a:cubicBezTo>
                    <a:pt x="1128" y="129"/>
                    <a:pt x="1128" y="129"/>
                    <a:pt x="1128" y="129"/>
                  </a:cubicBezTo>
                  <a:cubicBezTo>
                    <a:pt x="1128" y="129"/>
                    <a:pt x="1128" y="129"/>
                    <a:pt x="1128" y="129"/>
                  </a:cubicBezTo>
                  <a:cubicBezTo>
                    <a:pt x="1129" y="129"/>
                    <a:pt x="1129" y="129"/>
                    <a:pt x="1129" y="129"/>
                  </a:cubicBezTo>
                  <a:cubicBezTo>
                    <a:pt x="1129" y="129"/>
                    <a:pt x="1129" y="129"/>
                    <a:pt x="1129" y="129"/>
                  </a:cubicBezTo>
                  <a:cubicBezTo>
                    <a:pt x="1129" y="129"/>
                    <a:pt x="1129" y="129"/>
                    <a:pt x="1129" y="129"/>
                  </a:cubicBezTo>
                  <a:cubicBezTo>
                    <a:pt x="1129" y="129"/>
                    <a:pt x="1129" y="129"/>
                    <a:pt x="1129" y="129"/>
                  </a:cubicBezTo>
                  <a:cubicBezTo>
                    <a:pt x="1130" y="130"/>
                    <a:pt x="1130" y="130"/>
                    <a:pt x="1130" y="130"/>
                  </a:cubicBezTo>
                  <a:cubicBezTo>
                    <a:pt x="1130" y="130"/>
                    <a:pt x="1130" y="130"/>
                    <a:pt x="1130" y="130"/>
                  </a:cubicBezTo>
                  <a:cubicBezTo>
                    <a:pt x="1131" y="129"/>
                    <a:pt x="1131" y="129"/>
                    <a:pt x="1131" y="129"/>
                  </a:cubicBezTo>
                  <a:cubicBezTo>
                    <a:pt x="1131" y="129"/>
                    <a:pt x="1131" y="129"/>
                    <a:pt x="1131" y="129"/>
                  </a:cubicBezTo>
                  <a:cubicBezTo>
                    <a:pt x="1132" y="129"/>
                    <a:pt x="1132" y="129"/>
                    <a:pt x="1132" y="129"/>
                  </a:cubicBezTo>
                  <a:cubicBezTo>
                    <a:pt x="1134" y="129"/>
                    <a:pt x="1134" y="129"/>
                    <a:pt x="1134" y="129"/>
                  </a:cubicBezTo>
                  <a:cubicBezTo>
                    <a:pt x="1134" y="129"/>
                    <a:pt x="1134" y="129"/>
                    <a:pt x="1134" y="129"/>
                  </a:cubicBezTo>
                  <a:cubicBezTo>
                    <a:pt x="1135" y="129"/>
                    <a:pt x="1135" y="129"/>
                    <a:pt x="1135" y="129"/>
                  </a:cubicBezTo>
                  <a:cubicBezTo>
                    <a:pt x="1135" y="129"/>
                    <a:pt x="1135" y="129"/>
                    <a:pt x="1135" y="129"/>
                  </a:cubicBezTo>
                  <a:cubicBezTo>
                    <a:pt x="1135" y="129"/>
                    <a:pt x="1135" y="129"/>
                    <a:pt x="1135" y="129"/>
                  </a:cubicBezTo>
                  <a:cubicBezTo>
                    <a:pt x="1135" y="130"/>
                    <a:pt x="1135" y="130"/>
                    <a:pt x="1135" y="130"/>
                  </a:cubicBezTo>
                  <a:cubicBezTo>
                    <a:pt x="1134" y="130"/>
                    <a:pt x="1134" y="130"/>
                    <a:pt x="1134" y="130"/>
                  </a:cubicBezTo>
                  <a:cubicBezTo>
                    <a:pt x="1134" y="130"/>
                    <a:pt x="1134" y="130"/>
                    <a:pt x="1134" y="130"/>
                  </a:cubicBezTo>
                  <a:cubicBezTo>
                    <a:pt x="1134" y="130"/>
                    <a:pt x="1134" y="130"/>
                    <a:pt x="1134" y="130"/>
                  </a:cubicBezTo>
                  <a:cubicBezTo>
                    <a:pt x="1134" y="131"/>
                    <a:pt x="1134" y="131"/>
                    <a:pt x="1134" y="131"/>
                  </a:cubicBezTo>
                  <a:cubicBezTo>
                    <a:pt x="1134" y="131"/>
                    <a:pt x="1134" y="131"/>
                    <a:pt x="1134" y="131"/>
                  </a:cubicBezTo>
                  <a:cubicBezTo>
                    <a:pt x="1134" y="132"/>
                    <a:pt x="1134" y="132"/>
                    <a:pt x="1134" y="132"/>
                  </a:cubicBezTo>
                  <a:cubicBezTo>
                    <a:pt x="1134" y="134"/>
                    <a:pt x="1134" y="134"/>
                    <a:pt x="1134" y="134"/>
                  </a:cubicBezTo>
                  <a:cubicBezTo>
                    <a:pt x="1133" y="135"/>
                    <a:pt x="1133" y="135"/>
                    <a:pt x="1133" y="135"/>
                  </a:cubicBezTo>
                  <a:cubicBezTo>
                    <a:pt x="1133" y="135"/>
                    <a:pt x="1133" y="135"/>
                    <a:pt x="1133" y="135"/>
                  </a:cubicBezTo>
                  <a:cubicBezTo>
                    <a:pt x="1133" y="135"/>
                    <a:pt x="1133" y="135"/>
                    <a:pt x="1133" y="135"/>
                  </a:cubicBezTo>
                  <a:cubicBezTo>
                    <a:pt x="1133" y="135"/>
                    <a:pt x="1133" y="135"/>
                    <a:pt x="1133" y="135"/>
                  </a:cubicBezTo>
                  <a:cubicBezTo>
                    <a:pt x="1133" y="135"/>
                    <a:pt x="1133" y="135"/>
                    <a:pt x="1133" y="135"/>
                  </a:cubicBezTo>
                  <a:cubicBezTo>
                    <a:pt x="1133" y="134"/>
                    <a:pt x="1133" y="134"/>
                    <a:pt x="1133" y="134"/>
                  </a:cubicBezTo>
                  <a:cubicBezTo>
                    <a:pt x="1133" y="134"/>
                    <a:pt x="1133" y="134"/>
                    <a:pt x="1133" y="134"/>
                  </a:cubicBezTo>
                  <a:cubicBezTo>
                    <a:pt x="1133" y="134"/>
                    <a:pt x="1133" y="134"/>
                    <a:pt x="1133" y="134"/>
                  </a:cubicBezTo>
                  <a:cubicBezTo>
                    <a:pt x="1132" y="134"/>
                    <a:pt x="1129" y="134"/>
                    <a:pt x="1128" y="134"/>
                  </a:cubicBezTo>
                  <a:cubicBezTo>
                    <a:pt x="1128" y="134"/>
                    <a:pt x="1128" y="134"/>
                    <a:pt x="1128" y="134"/>
                  </a:cubicBezTo>
                  <a:cubicBezTo>
                    <a:pt x="1128" y="134"/>
                    <a:pt x="1128" y="134"/>
                    <a:pt x="1128" y="134"/>
                  </a:cubicBezTo>
                  <a:cubicBezTo>
                    <a:pt x="1128" y="134"/>
                    <a:pt x="1128" y="134"/>
                    <a:pt x="1128" y="134"/>
                  </a:cubicBezTo>
                  <a:cubicBezTo>
                    <a:pt x="1129" y="133"/>
                    <a:pt x="1129" y="133"/>
                    <a:pt x="1129" y="133"/>
                  </a:cubicBezTo>
                  <a:cubicBezTo>
                    <a:pt x="1129" y="133"/>
                    <a:pt x="1129" y="133"/>
                    <a:pt x="1129" y="133"/>
                  </a:cubicBezTo>
                  <a:cubicBezTo>
                    <a:pt x="1129" y="133"/>
                    <a:pt x="1129" y="133"/>
                    <a:pt x="1129" y="133"/>
                  </a:cubicBezTo>
                  <a:cubicBezTo>
                    <a:pt x="1130" y="133"/>
                    <a:pt x="1130" y="133"/>
                    <a:pt x="1130" y="133"/>
                  </a:cubicBezTo>
                  <a:cubicBezTo>
                    <a:pt x="1130" y="133"/>
                    <a:pt x="1130" y="133"/>
                    <a:pt x="1130" y="133"/>
                  </a:cubicBezTo>
                  <a:cubicBezTo>
                    <a:pt x="1130" y="132"/>
                    <a:pt x="1130" y="132"/>
                    <a:pt x="1130" y="132"/>
                  </a:cubicBezTo>
                  <a:cubicBezTo>
                    <a:pt x="1131" y="132"/>
                    <a:pt x="1131" y="132"/>
                    <a:pt x="1131" y="132"/>
                  </a:cubicBezTo>
                  <a:cubicBezTo>
                    <a:pt x="1131" y="132"/>
                    <a:pt x="1131" y="132"/>
                    <a:pt x="1131" y="132"/>
                  </a:cubicBezTo>
                  <a:cubicBezTo>
                    <a:pt x="1131" y="132"/>
                    <a:pt x="1131" y="132"/>
                    <a:pt x="1131" y="132"/>
                  </a:cubicBezTo>
                  <a:cubicBezTo>
                    <a:pt x="1132" y="132"/>
                    <a:pt x="1132" y="132"/>
                    <a:pt x="1132" y="132"/>
                  </a:cubicBezTo>
                  <a:cubicBezTo>
                    <a:pt x="1132" y="132"/>
                    <a:pt x="1132" y="132"/>
                    <a:pt x="1132" y="132"/>
                  </a:cubicBezTo>
                  <a:cubicBezTo>
                    <a:pt x="1132" y="131"/>
                    <a:pt x="1132" y="131"/>
                    <a:pt x="1132" y="131"/>
                  </a:cubicBezTo>
                  <a:cubicBezTo>
                    <a:pt x="1132" y="131"/>
                    <a:pt x="1132" y="131"/>
                    <a:pt x="1132" y="131"/>
                  </a:cubicBezTo>
                  <a:cubicBezTo>
                    <a:pt x="1132" y="131"/>
                    <a:pt x="1132" y="131"/>
                    <a:pt x="1132" y="131"/>
                  </a:cubicBezTo>
                  <a:cubicBezTo>
                    <a:pt x="1131" y="131"/>
                    <a:pt x="1131" y="131"/>
                    <a:pt x="1131" y="131"/>
                  </a:cubicBezTo>
                  <a:cubicBezTo>
                    <a:pt x="1130" y="131"/>
                    <a:pt x="1130" y="131"/>
                    <a:pt x="1130" y="131"/>
                  </a:cubicBezTo>
                  <a:cubicBezTo>
                    <a:pt x="1129" y="131"/>
                    <a:pt x="1129" y="131"/>
                    <a:pt x="1129" y="131"/>
                  </a:cubicBezTo>
                  <a:cubicBezTo>
                    <a:pt x="1129" y="131"/>
                    <a:pt x="1129" y="131"/>
                    <a:pt x="1129" y="131"/>
                  </a:cubicBezTo>
                  <a:cubicBezTo>
                    <a:pt x="1129" y="131"/>
                    <a:pt x="1129" y="131"/>
                    <a:pt x="1129" y="131"/>
                  </a:cubicBezTo>
                  <a:cubicBezTo>
                    <a:pt x="1128" y="131"/>
                    <a:pt x="1128" y="131"/>
                    <a:pt x="1128" y="131"/>
                  </a:cubicBezTo>
                  <a:cubicBezTo>
                    <a:pt x="1126" y="131"/>
                    <a:pt x="1126" y="131"/>
                    <a:pt x="1126" y="131"/>
                  </a:cubicBezTo>
                  <a:cubicBezTo>
                    <a:pt x="1124" y="131"/>
                    <a:pt x="1124" y="131"/>
                    <a:pt x="1124" y="131"/>
                  </a:cubicBezTo>
                  <a:cubicBezTo>
                    <a:pt x="1118" y="130"/>
                    <a:pt x="1118" y="130"/>
                    <a:pt x="1118" y="130"/>
                  </a:cubicBezTo>
                  <a:cubicBezTo>
                    <a:pt x="1116" y="130"/>
                    <a:pt x="1116" y="130"/>
                    <a:pt x="1116" y="130"/>
                  </a:cubicBezTo>
                  <a:cubicBezTo>
                    <a:pt x="1115" y="130"/>
                    <a:pt x="1115" y="130"/>
                    <a:pt x="1115" y="130"/>
                  </a:cubicBezTo>
                  <a:cubicBezTo>
                    <a:pt x="1116" y="130"/>
                    <a:pt x="1116" y="130"/>
                    <a:pt x="1116" y="130"/>
                  </a:cubicBezTo>
                  <a:cubicBezTo>
                    <a:pt x="1116" y="130"/>
                    <a:pt x="1116" y="130"/>
                    <a:pt x="1116" y="130"/>
                  </a:cubicBezTo>
                  <a:cubicBezTo>
                    <a:pt x="1115" y="131"/>
                    <a:pt x="1115" y="131"/>
                    <a:pt x="1115" y="131"/>
                  </a:cubicBezTo>
                  <a:cubicBezTo>
                    <a:pt x="1114" y="131"/>
                    <a:pt x="1114" y="131"/>
                    <a:pt x="1114" y="131"/>
                  </a:cubicBezTo>
                  <a:cubicBezTo>
                    <a:pt x="1113" y="132"/>
                    <a:pt x="1113" y="132"/>
                    <a:pt x="1113" y="132"/>
                  </a:cubicBezTo>
                  <a:cubicBezTo>
                    <a:pt x="1112" y="132"/>
                    <a:pt x="1112" y="132"/>
                    <a:pt x="1112" y="132"/>
                  </a:cubicBezTo>
                  <a:cubicBezTo>
                    <a:pt x="1112" y="133"/>
                    <a:pt x="1112" y="133"/>
                    <a:pt x="1112" y="133"/>
                  </a:cubicBezTo>
                  <a:cubicBezTo>
                    <a:pt x="1113" y="133"/>
                    <a:pt x="1113" y="133"/>
                    <a:pt x="1113" y="133"/>
                  </a:cubicBezTo>
                  <a:cubicBezTo>
                    <a:pt x="1113" y="133"/>
                    <a:pt x="1113" y="133"/>
                    <a:pt x="1113" y="133"/>
                  </a:cubicBezTo>
                  <a:cubicBezTo>
                    <a:pt x="1113" y="133"/>
                    <a:pt x="1113" y="133"/>
                    <a:pt x="1113" y="133"/>
                  </a:cubicBezTo>
                  <a:cubicBezTo>
                    <a:pt x="1113" y="133"/>
                    <a:pt x="1113" y="133"/>
                    <a:pt x="1113" y="133"/>
                  </a:cubicBezTo>
                  <a:cubicBezTo>
                    <a:pt x="1113" y="134"/>
                    <a:pt x="1113" y="134"/>
                    <a:pt x="1113" y="134"/>
                  </a:cubicBezTo>
                  <a:cubicBezTo>
                    <a:pt x="1113" y="134"/>
                    <a:pt x="1113" y="134"/>
                    <a:pt x="1113" y="134"/>
                  </a:cubicBezTo>
                  <a:cubicBezTo>
                    <a:pt x="1113" y="134"/>
                    <a:pt x="1113" y="134"/>
                    <a:pt x="1113" y="134"/>
                  </a:cubicBezTo>
                  <a:cubicBezTo>
                    <a:pt x="1113" y="134"/>
                    <a:pt x="1113" y="134"/>
                    <a:pt x="1113" y="134"/>
                  </a:cubicBezTo>
                  <a:cubicBezTo>
                    <a:pt x="1113" y="135"/>
                    <a:pt x="1113" y="135"/>
                    <a:pt x="1113" y="135"/>
                  </a:cubicBezTo>
                  <a:cubicBezTo>
                    <a:pt x="1113" y="135"/>
                    <a:pt x="1113" y="135"/>
                    <a:pt x="1113" y="135"/>
                  </a:cubicBezTo>
                  <a:cubicBezTo>
                    <a:pt x="1113" y="135"/>
                    <a:pt x="1113" y="135"/>
                    <a:pt x="1113" y="135"/>
                  </a:cubicBezTo>
                  <a:cubicBezTo>
                    <a:pt x="1114" y="135"/>
                    <a:pt x="1114" y="135"/>
                    <a:pt x="1114" y="135"/>
                  </a:cubicBezTo>
                  <a:cubicBezTo>
                    <a:pt x="1115" y="136"/>
                    <a:pt x="1118" y="136"/>
                    <a:pt x="1120" y="136"/>
                  </a:cubicBezTo>
                  <a:cubicBezTo>
                    <a:pt x="1120" y="136"/>
                    <a:pt x="1120" y="136"/>
                    <a:pt x="1120" y="136"/>
                  </a:cubicBezTo>
                  <a:cubicBezTo>
                    <a:pt x="1121" y="136"/>
                    <a:pt x="1121" y="136"/>
                    <a:pt x="1121" y="136"/>
                  </a:cubicBezTo>
                  <a:cubicBezTo>
                    <a:pt x="1121" y="136"/>
                    <a:pt x="1121" y="136"/>
                    <a:pt x="1121" y="136"/>
                  </a:cubicBezTo>
                  <a:cubicBezTo>
                    <a:pt x="1122" y="136"/>
                    <a:pt x="1122" y="136"/>
                    <a:pt x="1122" y="136"/>
                  </a:cubicBezTo>
                  <a:cubicBezTo>
                    <a:pt x="1125" y="136"/>
                    <a:pt x="1124" y="135"/>
                    <a:pt x="1127" y="137"/>
                  </a:cubicBezTo>
                  <a:cubicBezTo>
                    <a:pt x="1127" y="137"/>
                    <a:pt x="1127" y="137"/>
                    <a:pt x="1127" y="137"/>
                  </a:cubicBezTo>
                  <a:cubicBezTo>
                    <a:pt x="1128" y="137"/>
                    <a:pt x="1128" y="137"/>
                    <a:pt x="1128" y="137"/>
                  </a:cubicBezTo>
                  <a:cubicBezTo>
                    <a:pt x="1128" y="137"/>
                    <a:pt x="1128" y="137"/>
                    <a:pt x="1128" y="137"/>
                  </a:cubicBezTo>
                  <a:cubicBezTo>
                    <a:pt x="1128" y="137"/>
                    <a:pt x="1128" y="137"/>
                    <a:pt x="1128" y="137"/>
                  </a:cubicBezTo>
                  <a:cubicBezTo>
                    <a:pt x="1129" y="138"/>
                    <a:pt x="1129" y="138"/>
                    <a:pt x="1129" y="138"/>
                  </a:cubicBezTo>
                  <a:cubicBezTo>
                    <a:pt x="1129" y="138"/>
                    <a:pt x="1129" y="138"/>
                    <a:pt x="1129" y="138"/>
                  </a:cubicBezTo>
                  <a:cubicBezTo>
                    <a:pt x="1129" y="138"/>
                    <a:pt x="1129" y="138"/>
                    <a:pt x="1129" y="138"/>
                  </a:cubicBezTo>
                  <a:cubicBezTo>
                    <a:pt x="1129" y="138"/>
                    <a:pt x="1129" y="138"/>
                    <a:pt x="1129" y="138"/>
                  </a:cubicBezTo>
                  <a:cubicBezTo>
                    <a:pt x="1129" y="138"/>
                    <a:pt x="1129" y="138"/>
                    <a:pt x="1129" y="138"/>
                  </a:cubicBezTo>
                  <a:cubicBezTo>
                    <a:pt x="1129" y="139"/>
                    <a:pt x="1129" y="139"/>
                    <a:pt x="1129" y="139"/>
                  </a:cubicBezTo>
                  <a:cubicBezTo>
                    <a:pt x="1129" y="139"/>
                    <a:pt x="1129" y="139"/>
                    <a:pt x="1129" y="139"/>
                  </a:cubicBezTo>
                  <a:cubicBezTo>
                    <a:pt x="1129" y="139"/>
                    <a:pt x="1129" y="139"/>
                    <a:pt x="1129" y="139"/>
                  </a:cubicBezTo>
                  <a:cubicBezTo>
                    <a:pt x="1129" y="139"/>
                    <a:pt x="1129" y="139"/>
                    <a:pt x="1129" y="139"/>
                  </a:cubicBezTo>
                  <a:cubicBezTo>
                    <a:pt x="1129" y="139"/>
                    <a:pt x="1129" y="139"/>
                    <a:pt x="1129" y="139"/>
                  </a:cubicBezTo>
                  <a:cubicBezTo>
                    <a:pt x="1128" y="140"/>
                    <a:pt x="1128" y="140"/>
                    <a:pt x="1128" y="140"/>
                  </a:cubicBezTo>
                  <a:cubicBezTo>
                    <a:pt x="1128" y="140"/>
                    <a:pt x="1128" y="140"/>
                    <a:pt x="1128" y="140"/>
                  </a:cubicBezTo>
                  <a:cubicBezTo>
                    <a:pt x="1128" y="140"/>
                    <a:pt x="1128" y="140"/>
                    <a:pt x="1128" y="140"/>
                  </a:cubicBezTo>
                  <a:cubicBezTo>
                    <a:pt x="1128" y="140"/>
                    <a:pt x="1128" y="140"/>
                    <a:pt x="1128" y="140"/>
                  </a:cubicBezTo>
                  <a:cubicBezTo>
                    <a:pt x="1128" y="140"/>
                    <a:pt x="1128" y="140"/>
                    <a:pt x="1128" y="140"/>
                  </a:cubicBezTo>
                  <a:cubicBezTo>
                    <a:pt x="1129" y="141"/>
                    <a:pt x="1130" y="141"/>
                    <a:pt x="1130" y="141"/>
                  </a:cubicBezTo>
                  <a:cubicBezTo>
                    <a:pt x="1130" y="141"/>
                    <a:pt x="1130" y="141"/>
                    <a:pt x="1130" y="141"/>
                  </a:cubicBezTo>
                  <a:cubicBezTo>
                    <a:pt x="1130" y="142"/>
                    <a:pt x="1130" y="142"/>
                    <a:pt x="1130" y="142"/>
                  </a:cubicBezTo>
                  <a:cubicBezTo>
                    <a:pt x="1130" y="143"/>
                    <a:pt x="1131" y="143"/>
                    <a:pt x="1132" y="143"/>
                  </a:cubicBezTo>
                  <a:cubicBezTo>
                    <a:pt x="1132" y="143"/>
                    <a:pt x="1132" y="143"/>
                    <a:pt x="1132" y="143"/>
                  </a:cubicBezTo>
                  <a:cubicBezTo>
                    <a:pt x="1133" y="143"/>
                    <a:pt x="1133" y="143"/>
                    <a:pt x="1133" y="143"/>
                  </a:cubicBezTo>
                  <a:cubicBezTo>
                    <a:pt x="1134" y="143"/>
                    <a:pt x="1135" y="143"/>
                    <a:pt x="1136" y="143"/>
                  </a:cubicBezTo>
                  <a:cubicBezTo>
                    <a:pt x="1137" y="144"/>
                    <a:pt x="1137" y="144"/>
                    <a:pt x="1137" y="144"/>
                  </a:cubicBezTo>
                  <a:cubicBezTo>
                    <a:pt x="1139" y="144"/>
                    <a:pt x="1139" y="144"/>
                    <a:pt x="1139" y="144"/>
                  </a:cubicBezTo>
                  <a:cubicBezTo>
                    <a:pt x="1138" y="145"/>
                    <a:pt x="1138" y="145"/>
                    <a:pt x="1138" y="145"/>
                  </a:cubicBezTo>
                  <a:cubicBezTo>
                    <a:pt x="1135" y="144"/>
                    <a:pt x="1135" y="144"/>
                    <a:pt x="1135" y="144"/>
                  </a:cubicBezTo>
                  <a:cubicBezTo>
                    <a:pt x="1133" y="144"/>
                    <a:pt x="1133" y="144"/>
                    <a:pt x="1133" y="144"/>
                  </a:cubicBezTo>
                  <a:cubicBezTo>
                    <a:pt x="1132" y="144"/>
                    <a:pt x="1132" y="144"/>
                    <a:pt x="1132" y="144"/>
                  </a:cubicBezTo>
                  <a:cubicBezTo>
                    <a:pt x="1132" y="144"/>
                    <a:pt x="1132" y="144"/>
                    <a:pt x="1132" y="144"/>
                  </a:cubicBezTo>
                  <a:cubicBezTo>
                    <a:pt x="1133" y="145"/>
                    <a:pt x="1134" y="145"/>
                    <a:pt x="1134" y="147"/>
                  </a:cubicBezTo>
                  <a:cubicBezTo>
                    <a:pt x="1136" y="149"/>
                    <a:pt x="1136" y="149"/>
                    <a:pt x="1136" y="149"/>
                  </a:cubicBezTo>
                  <a:cubicBezTo>
                    <a:pt x="1134" y="150"/>
                    <a:pt x="1134" y="150"/>
                    <a:pt x="1134" y="150"/>
                  </a:cubicBezTo>
                  <a:cubicBezTo>
                    <a:pt x="1010" y="161"/>
                    <a:pt x="1010" y="161"/>
                    <a:pt x="1010" y="161"/>
                  </a:cubicBezTo>
                  <a:cubicBezTo>
                    <a:pt x="1010" y="161"/>
                    <a:pt x="1010" y="161"/>
                    <a:pt x="1010" y="161"/>
                  </a:cubicBezTo>
                  <a:cubicBezTo>
                    <a:pt x="1010" y="162"/>
                    <a:pt x="1010" y="162"/>
                    <a:pt x="1010" y="162"/>
                  </a:cubicBezTo>
                  <a:cubicBezTo>
                    <a:pt x="1010" y="162"/>
                    <a:pt x="1010" y="162"/>
                    <a:pt x="1010" y="163"/>
                  </a:cubicBezTo>
                  <a:cubicBezTo>
                    <a:pt x="1010" y="163"/>
                    <a:pt x="1010" y="163"/>
                    <a:pt x="1010" y="163"/>
                  </a:cubicBezTo>
                  <a:cubicBezTo>
                    <a:pt x="1010" y="164"/>
                    <a:pt x="1010" y="164"/>
                    <a:pt x="1010" y="164"/>
                  </a:cubicBezTo>
                  <a:cubicBezTo>
                    <a:pt x="1010" y="164"/>
                    <a:pt x="1010" y="164"/>
                    <a:pt x="1010" y="164"/>
                  </a:cubicBezTo>
                  <a:cubicBezTo>
                    <a:pt x="1010" y="164"/>
                    <a:pt x="1010" y="164"/>
                    <a:pt x="1010" y="164"/>
                  </a:cubicBezTo>
                  <a:cubicBezTo>
                    <a:pt x="1010" y="164"/>
                    <a:pt x="1010" y="164"/>
                    <a:pt x="1010" y="164"/>
                  </a:cubicBezTo>
                  <a:cubicBezTo>
                    <a:pt x="1011" y="164"/>
                    <a:pt x="1011" y="164"/>
                    <a:pt x="1011" y="164"/>
                  </a:cubicBezTo>
                  <a:cubicBezTo>
                    <a:pt x="1011" y="164"/>
                    <a:pt x="1011" y="164"/>
                    <a:pt x="1011" y="164"/>
                  </a:cubicBezTo>
                  <a:cubicBezTo>
                    <a:pt x="1012" y="164"/>
                    <a:pt x="1012" y="164"/>
                    <a:pt x="1012" y="164"/>
                  </a:cubicBezTo>
                  <a:cubicBezTo>
                    <a:pt x="1012" y="164"/>
                    <a:pt x="1012" y="164"/>
                    <a:pt x="1012" y="164"/>
                  </a:cubicBezTo>
                  <a:cubicBezTo>
                    <a:pt x="1012" y="164"/>
                    <a:pt x="1012" y="164"/>
                    <a:pt x="1012" y="164"/>
                  </a:cubicBezTo>
                  <a:cubicBezTo>
                    <a:pt x="1012" y="164"/>
                    <a:pt x="1012" y="164"/>
                    <a:pt x="1012" y="164"/>
                  </a:cubicBezTo>
                  <a:cubicBezTo>
                    <a:pt x="1012" y="164"/>
                    <a:pt x="1012" y="164"/>
                    <a:pt x="1012" y="164"/>
                  </a:cubicBezTo>
                  <a:cubicBezTo>
                    <a:pt x="1012" y="165"/>
                    <a:pt x="1012" y="165"/>
                    <a:pt x="1012" y="165"/>
                  </a:cubicBezTo>
                  <a:cubicBezTo>
                    <a:pt x="1011" y="166"/>
                    <a:pt x="1011" y="166"/>
                    <a:pt x="1009" y="167"/>
                  </a:cubicBezTo>
                  <a:cubicBezTo>
                    <a:pt x="1009" y="167"/>
                    <a:pt x="1009" y="167"/>
                    <a:pt x="1009" y="167"/>
                  </a:cubicBezTo>
                  <a:cubicBezTo>
                    <a:pt x="1007" y="168"/>
                    <a:pt x="1007" y="168"/>
                    <a:pt x="1007" y="168"/>
                  </a:cubicBezTo>
                  <a:cubicBezTo>
                    <a:pt x="1006" y="169"/>
                    <a:pt x="1006" y="169"/>
                    <a:pt x="1006" y="169"/>
                  </a:cubicBezTo>
                  <a:cubicBezTo>
                    <a:pt x="1005" y="170"/>
                    <a:pt x="1005" y="170"/>
                    <a:pt x="1005" y="170"/>
                  </a:cubicBezTo>
                  <a:cubicBezTo>
                    <a:pt x="1005" y="170"/>
                    <a:pt x="1005" y="170"/>
                    <a:pt x="1005" y="170"/>
                  </a:cubicBezTo>
                  <a:cubicBezTo>
                    <a:pt x="1005" y="170"/>
                    <a:pt x="1005" y="170"/>
                    <a:pt x="1005" y="170"/>
                  </a:cubicBezTo>
                  <a:cubicBezTo>
                    <a:pt x="1005" y="170"/>
                    <a:pt x="1005" y="170"/>
                    <a:pt x="1005" y="170"/>
                  </a:cubicBezTo>
                  <a:cubicBezTo>
                    <a:pt x="1005" y="170"/>
                    <a:pt x="1005" y="170"/>
                    <a:pt x="1005" y="170"/>
                  </a:cubicBezTo>
                  <a:cubicBezTo>
                    <a:pt x="1005" y="171"/>
                    <a:pt x="1005" y="171"/>
                    <a:pt x="1005" y="171"/>
                  </a:cubicBezTo>
                  <a:cubicBezTo>
                    <a:pt x="1005" y="171"/>
                    <a:pt x="1005" y="171"/>
                    <a:pt x="1005" y="171"/>
                  </a:cubicBezTo>
                  <a:cubicBezTo>
                    <a:pt x="1005" y="171"/>
                    <a:pt x="1005" y="171"/>
                    <a:pt x="1005" y="171"/>
                  </a:cubicBezTo>
                  <a:cubicBezTo>
                    <a:pt x="1005" y="171"/>
                    <a:pt x="1005" y="171"/>
                    <a:pt x="1005" y="171"/>
                  </a:cubicBezTo>
                  <a:cubicBezTo>
                    <a:pt x="1006" y="171"/>
                    <a:pt x="1006" y="171"/>
                    <a:pt x="1006" y="171"/>
                  </a:cubicBezTo>
                  <a:cubicBezTo>
                    <a:pt x="1006" y="171"/>
                    <a:pt x="1006" y="171"/>
                    <a:pt x="1006" y="171"/>
                  </a:cubicBezTo>
                  <a:cubicBezTo>
                    <a:pt x="1006" y="172"/>
                    <a:pt x="1006" y="172"/>
                    <a:pt x="1006" y="172"/>
                  </a:cubicBezTo>
                  <a:cubicBezTo>
                    <a:pt x="1007" y="172"/>
                    <a:pt x="1008" y="171"/>
                    <a:pt x="1009" y="172"/>
                  </a:cubicBezTo>
                  <a:cubicBezTo>
                    <a:pt x="1009" y="172"/>
                    <a:pt x="1009" y="172"/>
                    <a:pt x="1009" y="172"/>
                  </a:cubicBezTo>
                  <a:cubicBezTo>
                    <a:pt x="1010" y="172"/>
                    <a:pt x="1010" y="172"/>
                    <a:pt x="1010" y="172"/>
                  </a:cubicBezTo>
                  <a:cubicBezTo>
                    <a:pt x="1010" y="172"/>
                    <a:pt x="1010" y="172"/>
                    <a:pt x="1010" y="172"/>
                  </a:cubicBezTo>
                  <a:cubicBezTo>
                    <a:pt x="1010" y="173"/>
                    <a:pt x="1010" y="173"/>
                    <a:pt x="1010" y="173"/>
                  </a:cubicBezTo>
                  <a:cubicBezTo>
                    <a:pt x="1009" y="173"/>
                    <a:pt x="1009" y="173"/>
                    <a:pt x="1009" y="173"/>
                  </a:cubicBezTo>
                  <a:cubicBezTo>
                    <a:pt x="1006" y="175"/>
                    <a:pt x="1006" y="175"/>
                    <a:pt x="1006" y="175"/>
                  </a:cubicBezTo>
                  <a:cubicBezTo>
                    <a:pt x="1005" y="175"/>
                    <a:pt x="1005" y="175"/>
                    <a:pt x="1005" y="175"/>
                  </a:cubicBezTo>
                  <a:cubicBezTo>
                    <a:pt x="1005" y="176"/>
                    <a:pt x="1005" y="176"/>
                    <a:pt x="1005" y="176"/>
                  </a:cubicBezTo>
                  <a:cubicBezTo>
                    <a:pt x="1005" y="176"/>
                    <a:pt x="1005" y="176"/>
                    <a:pt x="1005" y="176"/>
                  </a:cubicBezTo>
                  <a:cubicBezTo>
                    <a:pt x="1005" y="176"/>
                    <a:pt x="1005" y="176"/>
                    <a:pt x="1005" y="176"/>
                  </a:cubicBezTo>
                  <a:cubicBezTo>
                    <a:pt x="1005" y="176"/>
                    <a:pt x="1005" y="176"/>
                    <a:pt x="1005" y="176"/>
                  </a:cubicBezTo>
                  <a:cubicBezTo>
                    <a:pt x="1006" y="176"/>
                    <a:pt x="1006" y="176"/>
                    <a:pt x="1006" y="176"/>
                  </a:cubicBezTo>
                  <a:cubicBezTo>
                    <a:pt x="1006" y="176"/>
                    <a:pt x="1006" y="176"/>
                    <a:pt x="1006" y="176"/>
                  </a:cubicBezTo>
                  <a:cubicBezTo>
                    <a:pt x="1006" y="176"/>
                    <a:pt x="1006" y="176"/>
                    <a:pt x="1006" y="176"/>
                  </a:cubicBezTo>
                  <a:cubicBezTo>
                    <a:pt x="1007" y="176"/>
                    <a:pt x="1007" y="176"/>
                    <a:pt x="1007" y="176"/>
                  </a:cubicBezTo>
                  <a:cubicBezTo>
                    <a:pt x="1007" y="176"/>
                    <a:pt x="1007" y="176"/>
                    <a:pt x="1007" y="176"/>
                  </a:cubicBezTo>
                  <a:cubicBezTo>
                    <a:pt x="1008" y="176"/>
                    <a:pt x="1008" y="176"/>
                    <a:pt x="1008" y="176"/>
                  </a:cubicBezTo>
                  <a:cubicBezTo>
                    <a:pt x="1008" y="176"/>
                    <a:pt x="1008" y="176"/>
                    <a:pt x="1008" y="176"/>
                  </a:cubicBezTo>
                  <a:cubicBezTo>
                    <a:pt x="1009" y="176"/>
                    <a:pt x="1009" y="176"/>
                    <a:pt x="1009" y="176"/>
                  </a:cubicBezTo>
                  <a:cubicBezTo>
                    <a:pt x="1009" y="176"/>
                    <a:pt x="1009" y="176"/>
                    <a:pt x="1009" y="176"/>
                  </a:cubicBezTo>
                  <a:cubicBezTo>
                    <a:pt x="1009" y="177"/>
                    <a:pt x="1009" y="177"/>
                    <a:pt x="1009" y="177"/>
                  </a:cubicBezTo>
                  <a:cubicBezTo>
                    <a:pt x="1010" y="177"/>
                    <a:pt x="1010" y="177"/>
                    <a:pt x="1010" y="177"/>
                  </a:cubicBezTo>
                  <a:cubicBezTo>
                    <a:pt x="1010" y="177"/>
                    <a:pt x="1010" y="177"/>
                    <a:pt x="1010" y="177"/>
                  </a:cubicBezTo>
                  <a:cubicBezTo>
                    <a:pt x="1010" y="177"/>
                    <a:pt x="1010" y="177"/>
                    <a:pt x="1010" y="177"/>
                  </a:cubicBezTo>
                  <a:cubicBezTo>
                    <a:pt x="1010" y="177"/>
                    <a:pt x="1010" y="177"/>
                    <a:pt x="1010" y="177"/>
                  </a:cubicBezTo>
                  <a:cubicBezTo>
                    <a:pt x="1009" y="178"/>
                    <a:pt x="1009" y="178"/>
                    <a:pt x="1009" y="178"/>
                  </a:cubicBezTo>
                  <a:cubicBezTo>
                    <a:pt x="1008" y="179"/>
                    <a:pt x="1008" y="179"/>
                    <a:pt x="1008" y="179"/>
                  </a:cubicBezTo>
                  <a:cubicBezTo>
                    <a:pt x="1008" y="179"/>
                    <a:pt x="1008" y="179"/>
                    <a:pt x="1008" y="179"/>
                  </a:cubicBezTo>
                  <a:cubicBezTo>
                    <a:pt x="1009" y="179"/>
                    <a:pt x="1009" y="179"/>
                    <a:pt x="1009" y="179"/>
                  </a:cubicBezTo>
                  <a:cubicBezTo>
                    <a:pt x="1009" y="179"/>
                    <a:pt x="1009" y="179"/>
                    <a:pt x="1009" y="179"/>
                  </a:cubicBezTo>
                  <a:cubicBezTo>
                    <a:pt x="1009" y="179"/>
                    <a:pt x="1009" y="179"/>
                    <a:pt x="1009" y="179"/>
                  </a:cubicBezTo>
                  <a:cubicBezTo>
                    <a:pt x="1010" y="179"/>
                    <a:pt x="1010" y="179"/>
                    <a:pt x="1010" y="179"/>
                  </a:cubicBezTo>
                  <a:cubicBezTo>
                    <a:pt x="1011" y="180"/>
                    <a:pt x="1012" y="180"/>
                    <a:pt x="1013" y="180"/>
                  </a:cubicBezTo>
                  <a:cubicBezTo>
                    <a:pt x="1013" y="180"/>
                    <a:pt x="1013" y="180"/>
                    <a:pt x="1013" y="180"/>
                  </a:cubicBezTo>
                  <a:cubicBezTo>
                    <a:pt x="1014" y="181"/>
                    <a:pt x="1014" y="181"/>
                    <a:pt x="1014" y="181"/>
                  </a:cubicBezTo>
                  <a:cubicBezTo>
                    <a:pt x="1015" y="182"/>
                    <a:pt x="1014" y="181"/>
                    <a:pt x="1015" y="182"/>
                  </a:cubicBezTo>
                  <a:cubicBezTo>
                    <a:pt x="1015" y="183"/>
                    <a:pt x="1015" y="183"/>
                    <a:pt x="1015" y="183"/>
                  </a:cubicBezTo>
                  <a:cubicBezTo>
                    <a:pt x="1015" y="183"/>
                    <a:pt x="1015" y="183"/>
                    <a:pt x="1015" y="183"/>
                  </a:cubicBezTo>
                  <a:cubicBezTo>
                    <a:pt x="1015" y="183"/>
                    <a:pt x="1015" y="183"/>
                    <a:pt x="1015" y="183"/>
                  </a:cubicBezTo>
                  <a:cubicBezTo>
                    <a:pt x="1016" y="186"/>
                    <a:pt x="1015" y="187"/>
                    <a:pt x="1014" y="189"/>
                  </a:cubicBezTo>
                  <a:cubicBezTo>
                    <a:pt x="1014" y="190"/>
                    <a:pt x="1014" y="190"/>
                    <a:pt x="1014" y="190"/>
                  </a:cubicBezTo>
                  <a:cubicBezTo>
                    <a:pt x="1014" y="190"/>
                    <a:pt x="1014" y="190"/>
                    <a:pt x="1014" y="190"/>
                  </a:cubicBezTo>
                  <a:cubicBezTo>
                    <a:pt x="1014" y="190"/>
                    <a:pt x="1014" y="190"/>
                    <a:pt x="1014" y="190"/>
                  </a:cubicBezTo>
                  <a:cubicBezTo>
                    <a:pt x="1014" y="190"/>
                    <a:pt x="1014" y="190"/>
                    <a:pt x="1014" y="190"/>
                  </a:cubicBezTo>
                  <a:cubicBezTo>
                    <a:pt x="1014" y="190"/>
                    <a:pt x="1014" y="190"/>
                    <a:pt x="1014" y="190"/>
                  </a:cubicBezTo>
                  <a:cubicBezTo>
                    <a:pt x="1013" y="191"/>
                    <a:pt x="1012" y="191"/>
                    <a:pt x="1012" y="193"/>
                  </a:cubicBezTo>
                  <a:cubicBezTo>
                    <a:pt x="1012" y="193"/>
                    <a:pt x="1012" y="193"/>
                    <a:pt x="1012" y="193"/>
                  </a:cubicBezTo>
                  <a:cubicBezTo>
                    <a:pt x="1012" y="193"/>
                    <a:pt x="1012" y="193"/>
                    <a:pt x="1012" y="193"/>
                  </a:cubicBezTo>
                  <a:cubicBezTo>
                    <a:pt x="1013" y="194"/>
                    <a:pt x="1012" y="195"/>
                    <a:pt x="1014" y="195"/>
                  </a:cubicBezTo>
                  <a:cubicBezTo>
                    <a:pt x="1014" y="195"/>
                    <a:pt x="1014" y="195"/>
                    <a:pt x="1014" y="195"/>
                  </a:cubicBezTo>
                  <a:cubicBezTo>
                    <a:pt x="1015" y="195"/>
                    <a:pt x="1015" y="195"/>
                    <a:pt x="1015" y="195"/>
                  </a:cubicBezTo>
                  <a:cubicBezTo>
                    <a:pt x="1015" y="195"/>
                    <a:pt x="1015" y="195"/>
                    <a:pt x="1015" y="195"/>
                  </a:cubicBezTo>
                  <a:cubicBezTo>
                    <a:pt x="1015" y="196"/>
                    <a:pt x="1015" y="196"/>
                    <a:pt x="1015" y="196"/>
                  </a:cubicBezTo>
                  <a:cubicBezTo>
                    <a:pt x="1015" y="196"/>
                    <a:pt x="1015" y="196"/>
                    <a:pt x="1015" y="196"/>
                  </a:cubicBezTo>
                  <a:cubicBezTo>
                    <a:pt x="1016" y="196"/>
                    <a:pt x="1016" y="196"/>
                    <a:pt x="1016" y="196"/>
                  </a:cubicBezTo>
                  <a:cubicBezTo>
                    <a:pt x="1015" y="196"/>
                    <a:pt x="1015" y="196"/>
                    <a:pt x="1015" y="196"/>
                  </a:cubicBezTo>
                  <a:cubicBezTo>
                    <a:pt x="1015" y="196"/>
                    <a:pt x="1015" y="196"/>
                    <a:pt x="1015" y="196"/>
                  </a:cubicBezTo>
                  <a:cubicBezTo>
                    <a:pt x="1015" y="197"/>
                    <a:pt x="1015" y="197"/>
                    <a:pt x="1015" y="197"/>
                  </a:cubicBezTo>
                  <a:cubicBezTo>
                    <a:pt x="1015" y="197"/>
                    <a:pt x="1015" y="197"/>
                    <a:pt x="1015" y="197"/>
                  </a:cubicBezTo>
                  <a:cubicBezTo>
                    <a:pt x="1015" y="197"/>
                    <a:pt x="1015" y="197"/>
                    <a:pt x="1015" y="197"/>
                  </a:cubicBezTo>
                  <a:cubicBezTo>
                    <a:pt x="1014" y="197"/>
                    <a:pt x="1014" y="197"/>
                    <a:pt x="1014" y="197"/>
                  </a:cubicBezTo>
                  <a:cubicBezTo>
                    <a:pt x="1014" y="198"/>
                    <a:pt x="1014" y="198"/>
                    <a:pt x="1014" y="198"/>
                  </a:cubicBezTo>
                  <a:cubicBezTo>
                    <a:pt x="1014" y="198"/>
                    <a:pt x="1014" y="198"/>
                    <a:pt x="1014" y="198"/>
                  </a:cubicBezTo>
                  <a:cubicBezTo>
                    <a:pt x="1013" y="198"/>
                    <a:pt x="1013" y="198"/>
                    <a:pt x="1013" y="198"/>
                  </a:cubicBezTo>
                  <a:cubicBezTo>
                    <a:pt x="1013" y="199"/>
                    <a:pt x="1013" y="199"/>
                    <a:pt x="1013" y="199"/>
                  </a:cubicBezTo>
                  <a:cubicBezTo>
                    <a:pt x="1013" y="199"/>
                    <a:pt x="1015" y="200"/>
                    <a:pt x="1015" y="200"/>
                  </a:cubicBezTo>
                  <a:cubicBezTo>
                    <a:pt x="1016" y="201"/>
                    <a:pt x="1016" y="201"/>
                    <a:pt x="1016" y="201"/>
                  </a:cubicBezTo>
                  <a:cubicBezTo>
                    <a:pt x="1016" y="201"/>
                    <a:pt x="1016" y="201"/>
                    <a:pt x="1016" y="201"/>
                  </a:cubicBezTo>
                  <a:cubicBezTo>
                    <a:pt x="1019" y="203"/>
                    <a:pt x="1019" y="203"/>
                    <a:pt x="1019" y="203"/>
                  </a:cubicBezTo>
                  <a:cubicBezTo>
                    <a:pt x="1041" y="208"/>
                    <a:pt x="1041" y="208"/>
                    <a:pt x="1041" y="208"/>
                  </a:cubicBezTo>
                  <a:cubicBezTo>
                    <a:pt x="1042" y="213"/>
                    <a:pt x="1042" y="213"/>
                    <a:pt x="1042" y="213"/>
                  </a:cubicBezTo>
                  <a:cubicBezTo>
                    <a:pt x="1042" y="214"/>
                    <a:pt x="1042" y="214"/>
                    <a:pt x="1042" y="214"/>
                  </a:cubicBezTo>
                  <a:cubicBezTo>
                    <a:pt x="1043" y="215"/>
                    <a:pt x="1043" y="215"/>
                    <a:pt x="1043" y="215"/>
                  </a:cubicBezTo>
                  <a:cubicBezTo>
                    <a:pt x="1043" y="216"/>
                    <a:pt x="1043" y="216"/>
                    <a:pt x="1043" y="216"/>
                  </a:cubicBezTo>
                  <a:cubicBezTo>
                    <a:pt x="1051" y="223"/>
                    <a:pt x="1051" y="223"/>
                    <a:pt x="1051" y="223"/>
                  </a:cubicBezTo>
                  <a:cubicBezTo>
                    <a:pt x="1051" y="226"/>
                    <a:pt x="1051" y="226"/>
                    <a:pt x="1051" y="226"/>
                  </a:cubicBezTo>
                  <a:cubicBezTo>
                    <a:pt x="1045" y="228"/>
                    <a:pt x="1045" y="228"/>
                    <a:pt x="1045" y="228"/>
                  </a:cubicBezTo>
                  <a:cubicBezTo>
                    <a:pt x="1044" y="228"/>
                    <a:pt x="1044" y="228"/>
                    <a:pt x="1044" y="228"/>
                  </a:cubicBezTo>
                  <a:cubicBezTo>
                    <a:pt x="1042" y="228"/>
                    <a:pt x="1041" y="229"/>
                    <a:pt x="1038" y="229"/>
                  </a:cubicBezTo>
                  <a:cubicBezTo>
                    <a:pt x="1038" y="229"/>
                    <a:pt x="1038" y="229"/>
                    <a:pt x="1038" y="229"/>
                  </a:cubicBezTo>
                  <a:cubicBezTo>
                    <a:pt x="1038" y="229"/>
                    <a:pt x="1038" y="229"/>
                    <a:pt x="1038" y="229"/>
                  </a:cubicBezTo>
                  <a:cubicBezTo>
                    <a:pt x="1037" y="229"/>
                    <a:pt x="1037" y="229"/>
                    <a:pt x="1037" y="229"/>
                  </a:cubicBezTo>
                  <a:cubicBezTo>
                    <a:pt x="1036" y="229"/>
                    <a:pt x="1036" y="228"/>
                    <a:pt x="1035" y="229"/>
                  </a:cubicBezTo>
                  <a:cubicBezTo>
                    <a:pt x="1035" y="229"/>
                    <a:pt x="1035" y="229"/>
                    <a:pt x="1035" y="229"/>
                  </a:cubicBezTo>
                  <a:cubicBezTo>
                    <a:pt x="1034" y="229"/>
                    <a:pt x="1034" y="229"/>
                    <a:pt x="1034" y="229"/>
                  </a:cubicBezTo>
                  <a:cubicBezTo>
                    <a:pt x="1034" y="229"/>
                    <a:pt x="1034" y="229"/>
                    <a:pt x="1034" y="229"/>
                  </a:cubicBezTo>
                  <a:cubicBezTo>
                    <a:pt x="1033" y="229"/>
                    <a:pt x="1033" y="229"/>
                    <a:pt x="1033" y="229"/>
                  </a:cubicBezTo>
                  <a:cubicBezTo>
                    <a:pt x="1033" y="229"/>
                    <a:pt x="1033" y="229"/>
                    <a:pt x="1033" y="229"/>
                  </a:cubicBezTo>
                  <a:cubicBezTo>
                    <a:pt x="1033" y="229"/>
                    <a:pt x="1033" y="229"/>
                    <a:pt x="1033" y="229"/>
                  </a:cubicBezTo>
                  <a:cubicBezTo>
                    <a:pt x="1031" y="228"/>
                    <a:pt x="1031" y="228"/>
                    <a:pt x="1031" y="228"/>
                  </a:cubicBezTo>
                  <a:cubicBezTo>
                    <a:pt x="1028" y="225"/>
                    <a:pt x="1028" y="225"/>
                    <a:pt x="1028" y="225"/>
                  </a:cubicBezTo>
                  <a:cubicBezTo>
                    <a:pt x="1020" y="219"/>
                    <a:pt x="1020" y="219"/>
                    <a:pt x="1020" y="219"/>
                  </a:cubicBezTo>
                  <a:cubicBezTo>
                    <a:pt x="1017" y="217"/>
                    <a:pt x="1017" y="217"/>
                    <a:pt x="1017" y="217"/>
                  </a:cubicBezTo>
                  <a:cubicBezTo>
                    <a:pt x="1016" y="216"/>
                    <a:pt x="1016" y="216"/>
                    <a:pt x="1016" y="216"/>
                  </a:cubicBezTo>
                  <a:cubicBezTo>
                    <a:pt x="1016" y="216"/>
                    <a:pt x="1016" y="216"/>
                    <a:pt x="1016" y="216"/>
                  </a:cubicBezTo>
                  <a:cubicBezTo>
                    <a:pt x="1014" y="215"/>
                    <a:pt x="1014" y="215"/>
                    <a:pt x="1014" y="215"/>
                  </a:cubicBezTo>
                  <a:cubicBezTo>
                    <a:pt x="1013" y="214"/>
                    <a:pt x="1013" y="214"/>
                    <a:pt x="1013" y="214"/>
                  </a:cubicBezTo>
                  <a:cubicBezTo>
                    <a:pt x="1000" y="210"/>
                    <a:pt x="1000" y="210"/>
                    <a:pt x="1000" y="210"/>
                  </a:cubicBezTo>
                  <a:cubicBezTo>
                    <a:pt x="971" y="205"/>
                    <a:pt x="971" y="205"/>
                    <a:pt x="971" y="205"/>
                  </a:cubicBezTo>
                  <a:cubicBezTo>
                    <a:pt x="971" y="205"/>
                    <a:pt x="971" y="205"/>
                    <a:pt x="971" y="205"/>
                  </a:cubicBezTo>
                  <a:cubicBezTo>
                    <a:pt x="951" y="211"/>
                    <a:pt x="951" y="211"/>
                    <a:pt x="951" y="211"/>
                  </a:cubicBezTo>
                  <a:cubicBezTo>
                    <a:pt x="951" y="212"/>
                    <a:pt x="951" y="212"/>
                    <a:pt x="951" y="212"/>
                  </a:cubicBezTo>
                  <a:cubicBezTo>
                    <a:pt x="950" y="213"/>
                    <a:pt x="950" y="213"/>
                    <a:pt x="950" y="213"/>
                  </a:cubicBezTo>
                  <a:cubicBezTo>
                    <a:pt x="950" y="214"/>
                    <a:pt x="950" y="214"/>
                    <a:pt x="950" y="214"/>
                  </a:cubicBezTo>
                  <a:cubicBezTo>
                    <a:pt x="950" y="215"/>
                    <a:pt x="950" y="215"/>
                    <a:pt x="950" y="215"/>
                  </a:cubicBezTo>
                  <a:cubicBezTo>
                    <a:pt x="950" y="215"/>
                    <a:pt x="950" y="215"/>
                    <a:pt x="950" y="215"/>
                  </a:cubicBezTo>
                  <a:cubicBezTo>
                    <a:pt x="950" y="215"/>
                    <a:pt x="950" y="215"/>
                    <a:pt x="950" y="215"/>
                  </a:cubicBezTo>
                  <a:cubicBezTo>
                    <a:pt x="950" y="215"/>
                    <a:pt x="950" y="215"/>
                    <a:pt x="950" y="215"/>
                  </a:cubicBezTo>
                  <a:cubicBezTo>
                    <a:pt x="950" y="215"/>
                    <a:pt x="950" y="215"/>
                    <a:pt x="950" y="215"/>
                  </a:cubicBezTo>
                  <a:cubicBezTo>
                    <a:pt x="951" y="216"/>
                    <a:pt x="951" y="216"/>
                    <a:pt x="951" y="216"/>
                  </a:cubicBezTo>
                  <a:cubicBezTo>
                    <a:pt x="951" y="216"/>
                    <a:pt x="951" y="216"/>
                    <a:pt x="951" y="216"/>
                  </a:cubicBezTo>
                  <a:cubicBezTo>
                    <a:pt x="952" y="216"/>
                    <a:pt x="952" y="216"/>
                    <a:pt x="952" y="216"/>
                  </a:cubicBezTo>
                  <a:cubicBezTo>
                    <a:pt x="952" y="216"/>
                    <a:pt x="952" y="216"/>
                    <a:pt x="952" y="216"/>
                  </a:cubicBezTo>
                  <a:cubicBezTo>
                    <a:pt x="952" y="216"/>
                    <a:pt x="952" y="216"/>
                    <a:pt x="952" y="216"/>
                  </a:cubicBezTo>
                  <a:cubicBezTo>
                    <a:pt x="953" y="216"/>
                    <a:pt x="953" y="216"/>
                    <a:pt x="953" y="216"/>
                  </a:cubicBezTo>
                  <a:cubicBezTo>
                    <a:pt x="954" y="216"/>
                    <a:pt x="954" y="215"/>
                    <a:pt x="956" y="214"/>
                  </a:cubicBezTo>
                  <a:cubicBezTo>
                    <a:pt x="956" y="214"/>
                    <a:pt x="956" y="214"/>
                    <a:pt x="956" y="214"/>
                  </a:cubicBezTo>
                  <a:cubicBezTo>
                    <a:pt x="957" y="214"/>
                    <a:pt x="957" y="214"/>
                    <a:pt x="957" y="214"/>
                  </a:cubicBezTo>
                  <a:cubicBezTo>
                    <a:pt x="957" y="214"/>
                    <a:pt x="957" y="214"/>
                    <a:pt x="957" y="214"/>
                  </a:cubicBezTo>
                  <a:cubicBezTo>
                    <a:pt x="957" y="214"/>
                    <a:pt x="957" y="214"/>
                    <a:pt x="957" y="214"/>
                  </a:cubicBezTo>
                  <a:cubicBezTo>
                    <a:pt x="958" y="214"/>
                    <a:pt x="960" y="214"/>
                    <a:pt x="961" y="214"/>
                  </a:cubicBezTo>
                  <a:cubicBezTo>
                    <a:pt x="961" y="214"/>
                    <a:pt x="961" y="214"/>
                    <a:pt x="961" y="214"/>
                  </a:cubicBezTo>
                  <a:cubicBezTo>
                    <a:pt x="962" y="214"/>
                    <a:pt x="962" y="214"/>
                    <a:pt x="962" y="214"/>
                  </a:cubicBezTo>
                  <a:cubicBezTo>
                    <a:pt x="962" y="215"/>
                    <a:pt x="963" y="215"/>
                    <a:pt x="964" y="216"/>
                  </a:cubicBezTo>
                  <a:cubicBezTo>
                    <a:pt x="964" y="217"/>
                    <a:pt x="964" y="217"/>
                    <a:pt x="964" y="217"/>
                  </a:cubicBezTo>
                  <a:cubicBezTo>
                    <a:pt x="964" y="218"/>
                    <a:pt x="964" y="218"/>
                    <a:pt x="964" y="218"/>
                  </a:cubicBezTo>
                  <a:cubicBezTo>
                    <a:pt x="964" y="221"/>
                    <a:pt x="964" y="221"/>
                    <a:pt x="964" y="221"/>
                  </a:cubicBezTo>
                  <a:cubicBezTo>
                    <a:pt x="964" y="222"/>
                    <a:pt x="964" y="222"/>
                    <a:pt x="964" y="222"/>
                  </a:cubicBezTo>
                  <a:cubicBezTo>
                    <a:pt x="963" y="223"/>
                    <a:pt x="963" y="223"/>
                    <a:pt x="963" y="223"/>
                  </a:cubicBezTo>
                  <a:cubicBezTo>
                    <a:pt x="961" y="223"/>
                    <a:pt x="958" y="224"/>
                    <a:pt x="956" y="224"/>
                  </a:cubicBezTo>
                  <a:cubicBezTo>
                    <a:pt x="955" y="224"/>
                    <a:pt x="955" y="224"/>
                    <a:pt x="955" y="224"/>
                  </a:cubicBezTo>
                  <a:cubicBezTo>
                    <a:pt x="955" y="224"/>
                    <a:pt x="955" y="224"/>
                    <a:pt x="955" y="224"/>
                  </a:cubicBezTo>
                  <a:cubicBezTo>
                    <a:pt x="954" y="224"/>
                    <a:pt x="954" y="224"/>
                    <a:pt x="954" y="224"/>
                  </a:cubicBezTo>
                  <a:cubicBezTo>
                    <a:pt x="953" y="224"/>
                    <a:pt x="952" y="224"/>
                    <a:pt x="951" y="223"/>
                  </a:cubicBezTo>
                  <a:cubicBezTo>
                    <a:pt x="951" y="223"/>
                    <a:pt x="951" y="223"/>
                    <a:pt x="951" y="223"/>
                  </a:cubicBezTo>
                  <a:cubicBezTo>
                    <a:pt x="951" y="222"/>
                    <a:pt x="951" y="222"/>
                    <a:pt x="951" y="222"/>
                  </a:cubicBezTo>
                  <a:cubicBezTo>
                    <a:pt x="949" y="221"/>
                    <a:pt x="950" y="222"/>
                    <a:pt x="948" y="220"/>
                  </a:cubicBezTo>
                  <a:cubicBezTo>
                    <a:pt x="948" y="220"/>
                    <a:pt x="948" y="220"/>
                    <a:pt x="948" y="220"/>
                  </a:cubicBezTo>
                  <a:cubicBezTo>
                    <a:pt x="947" y="220"/>
                    <a:pt x="947" y="220"/>
                    <a:pt x="947" y="220"/>
                  </a:cubicBezTo>
                  <a:cubicBezTo>
                    <a:pt x="944" y="218"/>
                    <a:pt x="944" y="218"/>
                    <a:pt x="944" y="218"/>
                  </a:cubicBezTo>
                  <a:cubicBezTo>
                    <a:pt x="924" y="221"/>
                    <a:pt x="924" y="221"/>
                    <a:pt x="924" y="221"/>
                  </a:cubicBezTo>
                  <a:cubicBezTo>
                    <a:pt x="924" y="221"/>
                    <a:pt x="924" y="221"/>
                    <a:pt x="924" y="221"/>
                  </a:cubicBezTo>
                  <a:cubicBezTo>
                    <a:pt x="924" y="221"/>
                    <a:pt x="924" y="221"/>
                    <a:pt x="924" y="221"/>
                  </a:cubicBezTo>
                  <a:cubicBezTo>
                    <a:pt x="924" y="222"/>
                    <a:pt x="924" y="222"/>
                    <a:pt x="924" y="222"/>
                  </a:cubicBezTo>
                  <a:cubicBezTo>
                    <a:pt x="924" y="222"/>
                    <a:pt x="924" y="222"/>
                    <a:pt x="924" y="222"/>
                  </a:cubicBezTo>
                  <a:cubicBezTo>
                    <a:pt x="924" y="222"/>
                    <a:pt x="924" y="222"/>
                    <a:pt x="924" y="222"/>
                  </a:cubicBezTo>
                  <a:cubicBezTo>
                    <a:pt x="924" y="222"/>
                    <a:pt x="924" y="222"/>
                    <a:pt x="924" y="222"/>
                  </a:cubicBezTo>
                  <a:cubicBezTo>
                    <a:pt x="924" y="222"/>
                    <a:pt x="924" y="222"/>
                    <a:pt x="924" y="222"/>
                  </a:cubicBezTo>
                  <a:cubicBezTo>
                    <a:pt x="925" y="222"/>
                    <a:pt x="925" y="222"/>
                    <a:pt x="925" y="222"/>
                  </a:cubicBezTo>
                  <a:cubicBezTo>
                    <a:pt x="925" y="223"/>
                    <a:pt x="925" y="223"/>
                    <a:pt x="925" y="223"/>
                  </a:cubicBezTo>
                  <a:cubicBezTo>
                    <a:pt x="925" y="223"/>
                    <a:pt x="925" y="223"/>
                    <a:pt x="925" y="223"/>
                  </a:cubicBezTo>
                  <a:cubicBezTo>
                    <a:pt x="925" y="224"/>
                    <a:pt x="926" y="225"/>
                    <a:pt x="926" y="225"/>
                  </a:cubicBezTo>
                  <a:cubicBezTo>
                    <a:pt x="926" y="225"/>
                    <a:pt x="926" y="225"/>
                    <a:pt x="926" y="225"/>
                  </a:cubicBezTo>
                  <a:cubicBezTo>
                    <a:pt x="926" y="226"/>
                    <a:pt x="926" y="226"/>
                    <a:pt x="926" y="226"/>
                  </a:cubicBezTo>
                  <a:cubicBezTo>
                    <a:pt x="926" y="226"/>
                    <a:pt x="926" y="226"/>
                    <a:pt x="926" y="226"/>
                  </a:cubicBezTo>
                  <a:cubicBezTo>
                    <a:pt x="926" y="226"/>
                    <a:pt x="926" y="226"/>
                    <a:pt x="926" y="226"/>
                  </a:cubicBezTo>
                  <a:cubicBezTo>
                    <a:pt x="927" y="227"/>
                    <a:pt x="927" y="227"/>
                    <a:pt x="927" y="228"/>
                  </a:cubicBezTo>
                  <a:cubicBezTo>
                    <a:pt x="927" y="228"/>
                    <a:pt x="927" y="228"/>
                    <a:pt x="927" y="228"/>
                  </a:cubicBezTo>
                  <a:cubicBezTo>
                    <a:pt x="927" y="228"/>
                    <a:pt x="927" y="228"/>
                    <a:pt x="927" y="228"/>
                  </a:cubicBezTo>
                  <a:cubicBezTo>
                    <a:pt x="928" y="230"/>
                    <a:pt x="928" y="232"/>
                    <a:pt x="929" y="233"/>
                  </a:cubicBezTo>
                  <a:cubicBezTo>
                    <a:pt x="930" y="234"/>
                    <a:pt x="930" y="234"/>
                    <a:pt x="930" y="234"/>
                  </a:cubicBezTo>
                  <a:cubicBezTo>
                    <a:pt x="930" y="234"/>
                    <a:pt x="930" y="234"/>
                    <a:pt x="930" y="234"/>
                  </a:cubicBezTo>
                  <a:cubicBezTo>
                    <a:pt x="930" y="234"/>
                    <a:pt x="930" y="234"/>
                    <a:pt x="930" y="234"/>
                  </a:cubicBezTo>
                  <a:cubicBezTo>
                    <a:pt x="931" y="234"/>
                    <a:pt x="931" y="234"/>
                    <a:pt x="931" y="234"/>
                  </a:cubicBezTo>
                  <a:cubicBezTo>
                    <a:pt x="931" y="234"/>
                    <a:pt x="931" y="234"/>
                    <a:pt x="931" y="234"/>
                  </a:cubicBezTo>
                  <a:cubicBezTo>
                    <a:pt x="936" y="235"/>
                    <a:pt x="935" y="237"/>
                    <a:pt x="940" y="238"/>
                  </a:cubicBezTo>
                  <a:cubicBezTo>
                    <a:pt x="941" y="238"/>
                    <a:pt x="941" y="238"/>
                    <a:pt x="941" y="238"/>
                  </a:cubicBezTo>
                  <a:cubicBezTo>
                    <a:pt x="941" y="238"/>
                    <a:pt x="941" y="238"/>
                    <a:pt x="941" y="238"/>
                  </a:cubicBezTo>
                  <a:cubicBezTo>
                    <a:pt x="943" y="239"/>
                    <a:pt x="943" y="238"/>
                    <a:pt x="944" y="239"/>
                  </a:cubicBezTo>
                  <a:cubicBezTo>
                    <a:pt x="946" y="240"/>
                    <a:pt x="946" y="240"/>
                    <a:pt x="946" y="240"/>
                  </a:cubicBezTo>
                  <a:cubicBezTo>
                    <a:pt x="946" y="240"/>
                    <a:pt x="946" y="240"/>
                    <a:pt x="946" y="240"/>
                  </a:cubicBezTo>
                  <a:cubicBezTo>
                    <a:pt x="947" y="241"/>
                    <a:pt x="948" y="242"/>
                    <a:pt x="950" y="242"/>
                  </a:cubicBezTo>
                  <a:cubicBezTo>
                    <a:pt x="950" y="242"/>
                    <a:pt x="950" y="242"/>
                    <a:pt x="950" y="242"/>
                  </a:cubicBezTo>
                  <a:cubicBezTo>
                    <a:pt x="950" y="242"/>
                    <a:pt x="950" y="242"/>
                    <a:pt x="950" y="242"/>
                  </a:cubicBezTo>
                  <a:cubicBezTo>
                    <a:pt x="951" y="242"/>
                    <a:pt x="951" y="242"/>
                    <a:pt x="951" y="242"/>
                  </a:cubicBezTo>
                  <a:cubicBezTo>
                    <a:pt x="951" y="242"/>
                    <a:pt x="951" y="242"/>
                    <a:pt x="951" y="242"/>
                  </a:cubicBezTo>
                  <a:cubicBezTo>
                    <a:pt x="951" y="242"/>
                    <a:pt x="951" y="242"/>
                    <a:pt x="951" y="242"/>
                  </a:cubicBezTo>
                  <a:cubicBezTo>
                    <a:pt x="951" y="242"/>
                    <a:pt x="951" y="242"/>
                    <a:pt x="951" y="242"/>
                  </a:cubicBezTo>
                  <a:cubicBezTo>
                    <a:pt x="951" y="242"/>
                    <a:pt x="951" y="242"/>
                    <a:pt x="951" y="242"/>
                  </a:cubicBezTo>
                  <a:cubicBezTo>
                    <a:pt x="954" y="242"/>
                    <a:pt x="954" y="244"/>
                    <a:pt x="957" y="243"/>
                  </a:cubicBezTo>
                  <a:cubicBezTo>
                    <a:pt x="957" y="243"/>
                    <a:pt x="957" y="243"/>
                    <a:pt x="957" y="243"/>
                  </a:cubicBezTo>
                  <a:cubicBezTo>
                    <a:pt x="957" y="243"/>
                    <a:pt x="957" y="243"/>
                    <a:pt x="957" y="243"/>
                  </a:cubicBezTo>
                  <a:cubicBezTo>
                    <a:pt x="957" y="243"/>
                    <a:pt x="957" y="243"/>
                    <a:pt x="957" y="243"/>
                  </a:cubicBezTo>
                  <a:cubicBezTo>
                    <a:pt x="956" y="242"/>
                    <a:pt x="957" y="242"/>
                    <a:pt x="958" y="242"/>
                  </a:cubicBezTo>
                  <a:cubicBezTo>
                    <a:pt x="958" y="242"/>
                    <a:pt x="958" y="242"/>
                    <a:pt x="958" y="242"/>
                  </a:cubicBezTo>
                  <a:cubicBezTo>
                    <a:pt x="958" y="242"/>
                    <a:pt x="958" y="242"/>
                    <a:pt x="958" y="242"/>
                  </a:cubicBezTo>
                  <a:cubicBezTo>
                    <a:pt x="959" y="242"/>
                    <a:pt x="959" y="242"/>
                    <a:pt x="959" y="242"/>
                  </a:cubicBezTo>
                  <a:cubicBezTo>
                    <a:pt x="959" y="242"/>
                    <a:pt x="959" y="242"/>
                    <a:pt x="959" y="242"/>
                  </a:cubicBezTo>
                  <a:cubicBezTo>
                    <a:pt x="959" y="242"/>
                    <a:pt x="959" y="242"/>
                    <a:pt x="959" y="242"/>
                  </a:cubicBezTo>
                  <a:cubicBezTo>
                    <a:pt x="959" y="241"/>
                    <a:pt x="959" y="241"/>
                    <a:pt x="959" y="241"/>
                  </a:cubicBezTo>
                  <a:cubicBezTo>
                    <a:pt x="960" y="241"/>
                    <a:pt x="960" y="241"/>
                    <a:pt x="960" y="241"/>
                  </a:cubicBezTo>
                  <a:cubicBezTo>
                    <a:pt x="961" y="241"/>
                    <a:pt x="961" y="241"/>
                    <a:pt x="961" y="241"/>
                  </a:cubicBezTo>
                  <a:cubicBezTo>
                    <a:pt x="962" y="241"/>
                    <a:pt x="962" y="241"/>
                    <a:pt x="962" y="241"/>
                  </a:cubicBezTo>
                  <a:cubicBezTo>
                    <a:pt x="962" y="241"/>
                    <a:pt x="962" y="241"/>
                    <a:pt x="962" y="241"/>
                  </a:cubicBezTo>
                  <a:cubicBezTo>
                    <a:pt x="962" y="241"/>
                    <a:pt x="962" y="241"/>
                    <a:pt x="962" y="241"/>
                  </a:cubicBezTo>
                  <a:cubicBezTo>
                    <a:pt x="962" y="241"/>
                    <a:pt x="962" y="241"/>
                    <a:pt x="962" y="241"/>
                  </a:cubicBezTo>
                  <a:cubicBezTo>
                    <a:pt x="961" y="242"/>
                    <a:pt x="961" y="242"/>
                    <a:pt x="961" y="242"/>
                  </a:cubicBezTo>
                  <a:cubicBezTo>
                    <a:pt x="961" y="244"/>
                    <a:pt x="961" y="244"/>
                    <a:pt x="961" y="244"/>
                  </a:cubicBezTo>
                  <a:cubicBezTo>
                    <a:pt x="961" y="244"/>
                    <a:pt x="961" y="244"/>
                    <a:pt x="961" y="244"/>
                  </a:cubicBezTo>
                  <a:cubicBezTo>
                    <a:pt x="961" y="244"/>
                    <a:pt x="961" y="244"/>
                    <a:pt x="961" y="244"/>
                  </a:cubicBezTo>
                  <a:cubicBezTo>
                    <a:pt x="961" y="244"/>
                    <a:pt x="961" y="244"/>
                    <a:pt x="961" y="244"/>
                  </a:cubicBezTo>
                  <a:cubicBezTo>
                    <a:pt x="961" y="244"/>
                    <a:pt x="961" y="244"/>
                    <a:pt x="961" y="244"/>
                  </a:cubicBezTo>
                  <a:cubicBezTo>
                    <a:pt x="962" y="244"/>
                    <a:pt x="962" y="244"/>
                    <a:pt x="962" y="244"/>
                  </a:cubicBezTo>
                  <a:cubicBezTo>
                    <a:pt x="962" y="244"/>
                    <a:pt x="962" y="244"/>
                    <a:pt x="962" y="244"/>
                  </a:cubicBezTo>
                  <a:cubicBezTo>
                    <a:pt x="962" y="244"/>
                    <a:pt x="962" y="244"/>
                    <a:pt x="962" y="244"/>
                  </a:cubicBezTo>
                  <a:cubicBezTo>
                    <a:pt x="962" y="244"/>
                    <a:pt x="962" y="244"/>
                    <a:pt x="962" y="244"/>
                  </a:cubicBezTo>
                  <a:cubicBezTo>
                    <a:pt x="963" y="244"/>
                    <a:pt x="963" y="244"/>
                    <a:pt x="963" y="244"/>
                  </a:cubicBezTo>
                  <a:cubicBezTo>
                    <a:pt x="964" y="244"/>
                    <a:pt x="964" y="244"/>
                    <a:pt x="964" y="244"/>
                  </a:cubicBezTo>
                  <a:cubicBezTo>
                    <a:pt x="966" y="244"/>
                    <a:pt x="966" y="244"/>
                    <a:pt x="966" y="244"/>
                  </a:cubicBezTo>
                  <a:cubicBezTo>
                    <a:pt x="967" y="245"/>
                    <a:pt x="967" y="245"/>
                    <a:pt x="967" y="245"/>
                  </a:cubicBezTo>
                  <a:cubicBezTo>
                    <a:pt x="968" y="245"/>
                    <a:pt x="968" y="245"/>
                    <a:pt x="968" y="245"/>
                  </a:cubicBezTo>
                  <a:cubicBezTo>
                    <a:pt x="968" y="245"/>
                    <a:pt x="968" y="245"/>
                    <a:pt x="968" y="245"/>
                  </a:cubicBezTo>
                  <a:cubicBezTo>
                    <a:pt x="968" y="246"/>
                    <a:pt x="968" y="246"/>
                    <a:pt x="968" y="246"/>
                  </a:cubicBezTo>
                  <a:cubicBezTo>
                    <a:pt x="968" y="246"/>
                    <a:pt x="968" y="246"/>
                    <a:pt x="968" y="246"/>
                  </a:cubicBezTo>
                  <a:cubicBezTo>
                    <a:pt x="966" y="251"/>
                    <a:pt x="966" y="249"/>
                    <a:pt x="969" y="252"/>
                  </a:cubicBezTo>
                  <a:cubicBezTo>
                    <a:pt x="969" y="252"/>
                    <a:pt x="969" y="252"/>
                    <a:pt x="969" y="252"/>
                  </a:cubicBezTo>
                  <a:cubicBezTo>
                    <a:pt x="970" y="251"/>
                    <a:pt x="970" y="251"/>
                    <a:pt x="970" y="251"/>
                  </a:cubicBezTo>
                  <a:cubicBezTo>
                    <a:pt x="970" y="251"/>
                    <a:pt x="970" y="251"/>
                    <a:pt x="970" y="251"/>
                  </a:cubicBezTo>
                  <a:cubicBezTo>
                    <a:pt x="971" y="250"/>
                    <a:pt x="971" y="250"/>
                    <a:pt x="971" y="250"/>
                  </a:cubicBezTo>
                  <a:cubicBezTo>
                    <a:pt x="971" y="250"/>
                    <a:pt x="971" y="250"/>
                    <a:pt x="971" y="250"/>
                  </a:cubicBezTo>
                  <a:cubicBezTo>
                    <a:pt x="972" y="251"/>
                    <a:pt x="972" y="251"/>
                    <a:pt x="972" y="251"/>
                  </a:cubicBezTo>
                  <a:cubicBezTo>
                    <a:pt x="972" y="251"/>
                    <a:pt x="972" y="251"/>
                    <a:pt x="972" y="251"/>
                  </a:cubicBezTo>
                  <a:cubicBezTo>
                    <a:pt x="972" y="252"/>
                    <a:pt x="972" y="252"/>
                    <a:pt x="972" y="252"/>
                  </a:cubicBezTo>
                  <a:cubicBezTo>
                    <a:pt x="972" y="252"/>
                    <a:pt x="972" y="252"/>
                    <a:pt x="972" y="252"/>
                  </a:cubicBezTo>
                  <a:cubicBezTo>
                    <a:pt x="972" y="252"/>
                    <a:pt x="972" y="252"/>
                    <a:pt x="972" y="252"/>
                  </a:cubicBezTo>
                  <a:cubicBezTo>
                    <a:pt x="971" y="252"/>
                    <a:pt x="971" y="252"/>
                    <a:pt x="971" y="252"/>
                  </a:cubicBezTo>
                  <a:cubicBezTo>
                    <a:pt x="971" y="252"/>
                    <a:pt x="971" y="252"/>
                    <a:pt x="971" y="252"/>
                  </a:cubicBezTo>
                  <a:cubicBezTo>
                    <a:pt x="971" y="252"/>
                    <a:pt x="971" y="252"/>
                    <a:pt x="971" y="252"/>
                  </a:cubicBezTo>
                  <a:cubicBezTo>
                    <a:pt x="971" y="253"/>
                    <a:pt x="971" y="253"/>
                    <a:pt x="971" y="253"/>
                  </a:cubicBezTo>
                  <a:cubicBezTo>
                    <a:pt x="971" y="254"/>
                    <a:pt x="971" y="254"/>
                    <a:pt x="971" y="254"/>
                  </a:cubicBezTo>
                  <a:cubicBezTo>
                    <a:pt x="970" y="255"/>
                    <a:pt x="970" y="255"/>
                    <a:pt x="970" y="255"/>
                  </a:cubicBezTo>
                  <a:cubicBezTo>
                    <a:pt x="971" y="256"/>
                    <a:pt x="971" y="256"/>
                    <a:pt x="971" y="256"/>
                  </a:cubicBezTo>
                  <a:cubicBezTo>
                    <a:pt x="971" y="256"/>
                    <a:pt x="971" y="256"/>
                    <a:pt x="971" y="256"/>
                  </a:cubicBezTo>
                  <a:cubicBezTo>
                    <a:pt x="971" y="256"/>
                    <a:pt x="971" y="256"/>
                    <a:pt x="971" y="256"/>
                  </a:cubicBezTo>
                  <a:cubicBezTo>
                    <a:pt x="971" y="256"/>
                    <a:pt x="971" y="256"/>
                    <a:pt x="971" y="256"/>
                  </a:cubicBezTo>
                  <a:cubicBezTo>
                    <a:pt x="973" y="253"/>
                    <a:pt x="974" y="256"/>
                    <a:pt x="976" y="256"/>
                  </a:cubicBezTo>
                  <a:cubicBezTo>
                    <a:pt x="976" y="255"/>
                    <a:pt x="976" y="255"/>
                    <a:pt x="976" y="255"/>
                  </a:cubicBezTo>
                  <a:cubicBezTo>
                    <a:pt x="977" y="255"/>
                    <a:pt x="977" y="255"/>
                    <a:pt x="977" y="255"/>
                  </a:cubicBezTo>
                  <a:cubicBezTo>
                    <a:pt x="977" y="255"/>
                    <a:pt x="977" y="255"/>
                    <a:pt x="977" y="255"/>
                  </a:cubicBezTo>
                  <a:cubicBezTo>
                    <a:pt x="977" y="255"/>
                    <a:pt x="977" y="255"/>
                    <a:pt x="977" y="255"/>
                  </a:cubicBezTo>
                  <a:cubicBezTo>
                    <a:pt x="977" y="255"/>
                    <a:pt x="977" y="255"/>
                    <a:pt x="977" y="255"/>
                  </a:cubicBezTo>
                  <a:cubicBezTo>
                    <a:pt x="977" y="254"/>
                    <a:pt x="977" y="254"/>
                    <a:pt x="977" y="254"/>
                  </a:cubicBezTo>
                  <a:cubicBezTo>
                    <a:pt x="977" y="254"/>
                    <a:pt x="977" y="254"/>
                    <a:pt x="977" y="254"/>
                  </a:cubicBezTo>
                  <a:cubicBezTo>
                    <a:pt x="977" y="253"/>
                    <a:pt x="977" y="253"/>
                    <a:pt x="977" y="253"/>
                  </a:cubicBezTo>
                  <a:cubicBezTo>
                    <a:pt x="977" y="253"/>
                    <a:pt x="977" y="253"/>
                    <a:pt x="977" y="253"/>
                  </a:cubicBezTo>
                  <a:cubicBezTo>
                    <a:pt x="977" y="253"/>
                    <a:pt x="977" y="253"/>
                    <a:pt x="977" y="253"/>
                  </a:cubicBezTo>
                  <a:cubicBezTo>
                    <a:pt x="978" y="253"/>
                    <a:pt x="978" y="253"/>
                    <a:pt x="978" y="253"/>
                  </a:cubicBezTo>
                  <a:cubicBezTo>
                    <a:pt x="978" y="253"/>
                    <a:pt x="978" y="253"/>
                    <a:pt x="978" y="253"/>
                  </a:cubicBezTo>
                  <a:cubicBezTo>
                    <a:pt x="979" y="253"/>
                    <a:pt x="979" y="253"/>
                    <a:pt x="979" y="253"/>
                  </a:cubicBezTo>
                  <a:cubicBezTo>
                    <a:pt x="979" y="253"/>
                    <a:pt x="979" y="253"/>
                    <a:pt x="979" y="253"/>
                  </a:cubicBezTo>
                  <a:cubicBezTo>
                    <a:pt x="980" y="253"/>
                    <a:pt x="980" y="253"/>
                    <a:pt x="980" y="253"/>
                  </a:cubicBezTo>
                  <a:cubicBezTo>
                    <a:pt x="982" y="253"/>
                    <a:pt x="982" y="253"/>
                    <a:pt x="982" y="253"/>
                  </a:cubicBezTo>
                  <a:cubicBezTo>
                    <a:pt x="983" y="253"/>
                    <a:pt x="983" y="253"/>
                    <a:pt x="983" y="253"/>
                  </a:cubicBezTo>
                  <a:cubicBezTo>
                    <a:pt x="983" y="253"/>
                    <a:pt x="983" y="253"/>
                    <a:pt x="983" y="253"/>
                  </a:cubicBezTo>
                  <a:cubicBezTo>
                    <a:pt x="983" y="253"/>
                    <a:pt x="983" y="253"/>
                    <a:pt x="983" y="253"/>
                  </a:cubicBezTo>
                  <a:cubicBezTo>
                    <a:pt x="983" y="253"/>
                    <a:pt x="983" y="253"/>
                    <a:pt x="983" y="253"/>
                  </a:cubicBezTo>
                  <a:cubicBezTo>
                    <a:pt x="983" y="254"/>
                    <a:pt x="983" y="254"/>
                    <a:pt x="983" y="254"/>
                  </a:cubicBezTo>
                  <a:cubicBezTo>
                    <a:pt x="982" y="254"/>
                    <a:pt x="982" y="254"/>
                    <a:pt x="982" y="254"/>
                  </a:cubicBezTo>
                  <a:cubicBezTo>
                    <a:pt x="981" y="256"/>
                    <a:pt x="978" y="256"/>
                    <a:pt x="975" y="256"/>
                  </a:cubicBezTo>
                  <a:cubicBezTo>
                    <a:pt x="975" y="256"/>
                    <a:pt x="975" y="256"/>
                    <a:pt x="975" y="256"/>
                  </a:cubicBezTo>
                  <a:cubicBezTo>
                    <a:pt x="975" y="256"/>
                    <a:pt x="975" y="256"/>
                    <a:pt x="975" y="256"/>
                  </a:cubicBezTo>
                  <a:cubicBezTo>
                    <a:pt x="972" y="256"/>
                    <a:pt x="970" y="258"/>
                    <a:pt x="969" y="257"/>
                  </a:cubicBezTo>
                  <a:cubicBezTo>
                    <a:pt x="968" y="256"/>
                    <a:pt x="968" y="256"/>
                    <a:pt x="968" y="256"/>
                  </a:cubicBezTo>
                  <a:cubicBezTo>
                    <a:pt x="968" y="256"/>
                    <a:pt x="968" y="256"/>
                    <a:pt x="968" y="256"/>
                  </a:cubicBezTo>
                  <a:cubicBezTo>
                    <a:pt x="968" y="256"/>
                    <a:pt x="968" y="256"/>
                    <a:pt x="968" y="256"/>
                  </a:cubicBezTo>
                  <a:cubicBezTo>
                    <a:pt x="967" y="256"/>
                    <a:pt x="967" y="256"/>
                    <a:pt x="967" y="256"/>
                  </a:cubicBezTo>
                  <a:cubicBezTo>
                    <a:pt x="967" y="255"/>
                    <a:pt x="967" y="255"/>
                    <a:pt x="967" y="255"/>
                  </a:cubicBezTo>
                  <a:cubicBezTo>
                    <a:pt x="967" y="255"/>
                    <a:pt x="967" y="255"/>
                    <a:pt x="967" y="255"/>
                  </a:cubicBezTo>
                  <a:cubicBezTo>
                    <a:pt x="966" y="255"/>
                    <a:pt x="966" y="255"/>
                    <a:pt x="966" y="255"/>
                  </a:cubicBezTo>
                  <a:cubicBezTo>
                    <a:pt x="966" y="255"/>
                    <a:pt x="966" y="255"/>
                    <a:pt x="966" y="255"/>
                  </a:cubicBezTo>
                  <a:cubicBezTo>
                    <a:pt x="965" y="255"/>
                    <a:pt x="965" y="255"/>
                    <a:pt x="965" y="255"/>
                  </a:cubicBezTo>
                  <a:cubicBezTo>
                    <a:pt x="965" y="255"/>
                    <a:pt x="965" y="255"/>
                    <a:pt x="965" y="255"/>
                  </a:cubicBezTo>
                  <a:cubicBezTo>
                    <a:pt x="965" y="255"/>
                    <a:pt x="965" y="255"/>
                    <a:pt x="965" y="255"/>
                  </a:cubicBezTo>
                  <a:cubicBezTo>
                    <a:pt x="964" y="255"/>
                    <a:pt x="964" y="255"/>
                    <a:pt x="964" y="255"/>
                  </a:cubicBezTo>
                  <a:cubicBezTo>
                    <a:pt x="964" y="255"/>
                    <a:pt x="964" y="255"/>
                    <a:pt x="964" y="255"/>
                  </a:cubicBezTo>
                  <a:cubicBezTo>
                    <a:pt x="964" y="255"/>
                    <a:pt x="964" y="255"/>
                    <a:pt x="964" y="255"/>
                  </a:cubicBezTo>
                  <a:cubicBezTo>
                    <a:pt x="963" y="255"/>
                    <a:pt x="963" y="255"/>
                    <a:pt x="963" y="255"/>
                  </a:cubicBezTo>
                  <a:cubicBezTo>
                    <a:pt x="963" y="255"/>
                    <a:pt x="963" y="255"/>
                    <a:pt x="963" y="255"/>
                  </a:cubicBezTo>
                  <a:cubicBezTo>
                    <a:pt x="962" y="255"/>
                    <a:pt x="960" y="254"/>
                    <a:pt x="960" y="253"/>
                  </a:cubicBezTo>
                  <a:cubicBezTo>
                    <a:pt x="960" y="253"/>
                    <a:pt x="960" y="253"/>
                    <a:pt x="960" y="253"/>
                  </a:cubicBezTo>
                  <a:cubicBezTo>
                    <a:pt x="960" y="253"/>
                    <a:pt x="960" y="253"/>
                    <a:pt x="960" y="253"/>
                  </a:cubicBezTo>
                  <a:cubicBezTo>
                    <a:pt x="960" y="253"/>
                    <a:pt x="960" y="253"/>
                    <a:pt x="960" y="253"/>
                  </a:cubicBezTo>
                  <a:cubicBezTo>
                    <a:pt x="960" y="253"/>
                    <a:pt x="960" y="253"/>
                    <a:pt x="960" y="253"/>
                  </a:cubicBezTo>
                  <a:cubicBezTo>
                    <a:pt x="960" y="252"/>
                    <a:pt x="960" y="252"/>
                    <a:pt x="960" y="252"/>
                  </a:cubicBezTo>
                  <a:cubicBezTo>
                    <a:pt x="960" y="252"/>
                    <a:pt x="960" y="252"/>
                    <a:pt x="960" y="252"/>
                  </a:cubicBezTo>
                  <a:cubicBezTo>
                    <a:pt x="960" y="252"/>
                    <a:pt x="960" y="252"/>
                    <a:pt x="960" y="252"/>
                  </a:cubicBezTo>
                  <a:cubicBezTo>
                    <a:pt x="960" y="252"/>
                    <a:pt x="960" y="252"/>
                    <a:pt x="960" y="252"/>
                  </a:cubicBezTo>
                  <a:cubicBezTo>
                    <a:pt x="960" y="251"/>
                    <a:pt x="960" y="251"/>
                    <a:pt x="960" y="251"/>
                  </a:cubicBezTo>
                  <a:cubicBezTo>
                    <a:pt x="960" y="251"/>
                    <a:pt x="960" y="251"/>
                    <a:pt x="960" y="251"/>
                  </a:cubicBezTo>
                  <a:cubicBezTo>
                    <a:pt x="960" y="250"/>
                    <a:pt x="960" y="250"/>
                    <a:pt x="960" y="250"/>
                  </a:cubicBezTo>
                  <a:cubicBezTo>
                    <a:pt x="959" y="250"/>
                    <a:pt x="959" y="250"/>
                    <a:pt x="959" y="250"/>
                  </a:cubicBezTo>
                  <a:cubicBezTo>
                    <a:pt x="959" y="250"/>
                    <a:pt x="959" y="250"/>
                    <a:pt x="959" y="250"/>
                  </a:cubicBezTo>
                  <a:cubicBezTo>
                    <a:pt x="959" y="250"/>
                    <a:pt x="959" y="250"/>
                    <a:pt x="959" y="250"/>
                  </a:cubicBezTo>
                  <a:cubicBezTo>
                    <a:pt x="959" y="249"/>
                    <a:pt x="959" y="249"/>
                    <a:pt x="959" y="249"/>
                  </a:cubicBezTo>
                  <a:cubicBezTo>
                    <a:pt x="958" y="248"/>
                    <a:pt x="956" y="248"/>
                    <a:pt x="955" y="248"/>
                  </a:cubicBezTo>
                  <a:cubicBezTo>
                    <a:pt x="955" y="248"/>
                    <a:pt x="955" y="248"/>
                    <a:pt x="955" y="248"/>
                  </a:cubicBezTo>
                  <a:cubicBezTo>
                    <a:pt x="954" y="248"/>
                    <a:pt x="954" y="248"/>
                    <a:pt x="954" y="248"/>
                  </a:cubicBezTo>
                  <a:cubicBezTo>
                    <a:pt x="954" y="248"/>
                    <a:pt x="954" y="248"/>
                    <a:pt x="954" y="248"/>
                  </a:cubicBezTo>
                  <a:cubicBezTo>
                    <a:pt x="953" y="248"/>
                    <a:pt x="953" y="248"/>
                    <a:pt x="953" y="248"/>
                  </a:cubicBezTo>
                  <a:cubicBezTo>
                    <a:pt x="952" y="248"/>
                    <a:pt x="951" y="247"/>
                    <a:pt x="949" y="247"/>
                  </a:cubicBezTo>
                  <a:cubicBezTo>
                    <a:pt x="949" y="247"/>
                    <a:pt x="949" y="247"/>
                    <a:pt x="949" y="247"/>
                  </a:cubicBezTo>
                  <a:cubicBezTo>
                    <a:pt x="948" y="247"/>
                    <a:pt x="948" y="247"/>
                    <a:pt x="948" y="247"/>
                  </a:cubicBezTo>
                  <a:cubicBezTo>
                    <a:pt x="948" y="247"/>
                    <a:pt x="948" y="247"/>
                    <a:pt x="948" y="247"/>
                  </a:cubicBezTo>
                  <a:cubicBezTo>
                    <a:pt x="948" y="247"/>
                    <a:pt x="948" y="247"/>
                    <a:pt x="948" y="247"/>
                  </a:cubicBezTo>
                  <a:cubicBezTo>
                    <a:pt x="947" y="247"/>
                    <a:pt x="947" y="247"/>
                    <a:pt x="947" y="247"/>
                  </a:cubicBezTo>
                  <a:cubicBezTo>
                    <a:pt x="947" y="247"/>
                    <a:pt x="947" y="247"/>
                    <a:pt x="947" y="247"/>
                  </a:cubicBezTo>
                  <a:cubicBezTo>
                    <a:pt x="947" y="247"/>
                    <a:pt x="947" y="247"/>
                    <a:pt x="947" y="247"/>
                  </a:cubicBezTo>
                  <a:cubicBezTo>
                    <a:pt x="946" y="247"/>
                    <a:pt x="946" y="247"/>
                    <a:pt x="946" y="247"/>
                  </a:cubicBezTo>
                  <a:cubicBezTo>
                    <a:pt x="946" y="247"/>
                    <a:pt x="946" y="247"/>
                    <a:pt x="946" y="247"/>
                  </a:cubicBezTo>
                  <a:cubicBezTo>
                    <a:pt x="946" y="247"/>
                    <a:pt x="946" y="247"/>
                    <a:pt x="946" y="247"/>
                  </a:cubicBezTo>
                  <a:cubicBezTo>
                    <a:pt x="945" y="247"/>
                    <a:pt x="945" y="247"/>
                    <a:pt x="945" y="247"/>
                  </a:cubicBezTo>
                  <a:cubicBezTo>
                    <a:pt x="945" y="247"/>
                    <a:pt x="945" y="247"/>
                    <a:pt x="945" y="247"/>
                  </a:cubicBezTo>
                  <a:cubicBezTo>
                    <a:pt x="944" y="247"/>
                    <a:pt x="944" y="247"/>
                    <a:pt x="944" y="247"/>
                  </a:cubicBezTo>
                  <a:cubicBezTo>
                    <a:pt x="944" y="247"/>
                    <a:pt x="944" y="247"/>
                    <a:pt x="944" y="247"/>
                  </a:cubicBezTo>
                  <a:cubicBezTo>
                    <a:pt x="943" y="248"/>
                    <a:pt x="943" y="248"/>
                    <a:pt x="943" y="248"/>
                  </a:cubicBezTo>
                  <a:cubicBezTo>
                    <a:pt x="942" y="250"/>
                    <a:pt x="942" y="250"/>
                    <a:pt x="942" y="250"/>
                  </a:cubicBezTo>
                  <a:cubicBezTo>
                    <a:pt x="941" y="250"/>
                    <a:pt x="941" y="250"/>
                    <a:pt x="941" y="250"/>
                  </a:cubicBezTo>
                  <a:cubicBezTo>
                    <a:pt x="941" y="251"/>
                    <a:pt x="941" y="251"/>
                    <a:pt x="941" y="251"/>
                  </a:cubicBezTo>
                  <a:cubicBezTo>
                    <a:pt x="941" y="250"/>
                    <a:pt x="941" y="250"/>
                    <a:pt x="941" y="250"/>
                  </a:cubicBezTo>
                  <a:cubicBezTo>
                    <a:pt x="942" y="249"/>
                    <a:pt x="939" y="249"/>
                    <a:pt x="941" y="247"/>
                  </a:cubicBezTo>
                  <a:cubicBezTo>
                    <a:pt x="941" y="247"/>
                    <a:pt x="941" y="247"/>
                    <a:pt x="941" y="247"/>
                  </a:cubicBezTo>
                  <a:cubicBezTo>
                    <a:pt x="941" y="247"/>
                    <a:pt x="941" y="247"/>
                    <a:pt x="941" y="247"/>
                  </a:cubicBezTo>
                  <a:cubicBezTo>
                    <a:pt x="940" y="247"/>
                    <a:pt x="940" y="247"/>
                    <a:pt x="940" y="247"/>
                  </a:cubicBezTo>
                  <a:cubicBezTo>
                    <a:pt x="940" y="247"/>
                    <a:pt x="940" y="247"/>
                    <a:pt x="940" y="247"/>
                  </a:cubicBezTo>
                  <a:cubicBezTo>
                    <a:pt x="935" y="245"/>
                    <a:pt x="935" y="246"/>
                    <a:pt x="930" y="246"/>
                  </a:cubicBezTo>
                  <a:cubicBezTo>
                    <a:pt x="930" y="246"/>
                    <a:pt x="930" y="246"/>
                    <a:pt x="930" y="246"/>
                  </a:cubicBezTo>
                  <a:cubicBezTo>
                    <a:pt x="929" y="246"/>
                    <a:pt x="929" y="246"/>
                    <a:pt x="929" y="246"/>
                  </a:cubicBezTo>
                  <a:cubicBezTo>
                    <a:pt x="929" y="246"/>
                    <a:pt x="929" y="246"/>
                    <a:pt x="929" y="246"/>
                  </a:cubicBezTo>
                  <a:cubicBezTo>
                    <a:pt x="929" y="246"/>
                    <a:pt x="929" y="246"/>
                    <a:pt x="929" y="246"/>
                  </a:cubicBezTo>
                  <a:cubicBezTo>
                    <a:pt x="928" y="246"/>
                    <a:pt x="928" y="246"/>
                    <a:pt x="928" y="246"/>
                  </a:cubicBezTo>
                  <a:cubicBezTo>
                    <a:pt x="927" y="246"/>
                    <a:pt x="927" y="246"/>
                    <a:pt x="927" y="246"/>
                  </a:cubicBezTo>
                  <a:cubicBezTo>
                    <a:pt x="926" y="246"/>
                    <a:pt x="926" y="246"/>
                    <a:pt x="926" y="246"/>
                  </a:cubicBezTo>
                  <a:cubicBezTo>
                    <a:pt x="926" y="246"/>
                    <a:pt x="926" y="246"/>
                    <a:pt x="926" y="246"/>
                  </a:cubicBezTo>
                  <a:cubicBezTo>
                    <a:pt x="925" y="246"/>
                    <a:pt x="925" y="246"/>
                    <a:pt x="925" y="246"/>
                  </a:cubicBezTo>
                  <a:cubicBezTo>
                    <a:pt x="925" y="246"/>
                    <a:pt x="925" y="246"/>
                    <a:pt x="925" y="246"/>
                  </a:cubicBezTo>
                  <a:cubicBezTo>
                    <a:pt x="925" y="246"/>
                    <a:pt x="925" y="246"/>
                    <a:pt x="925" y="246"/>
                  </a:cubicBezTo>
                  <a:cubicBezTo>
                    <a:pt x="925" y="245"/>
                    <a:pt x="925" y="245"/>
                    <a:pt x="925" y="245"/>
                  </a:cubicBezTo>
                  <a:cubicBezTo>
                    <a:pt x="925" y="245"/>
                    <a:pt x="925" y="245"/>
                    <a:pt x="925" y="245"/>
                  </a:cubicBezTo>
                  <a:cubicBezTo>
                    <a:pt x="924" y="245"/>
                    <a:pt x="924" y="245"/>
                    <a:pt x="924" y="245"/>
                  </a:cubicBezTo>
                  <a:cubicBezTo>
                    <a:pt x="924" y="245"/>
                    <a:pt x="924" y="245"/>
                    <a:pt x="924" y="245"/>
                  </a:cubicBezTo>
                  <a:cubicBezTo>
                    <a:pt x="924" y="245"/>
                    <a:pt x="924" y="245"/>
                    <a:pt x="924" y="245"/>
                  </a:cubicBezTo>
                  <a:cubicBezTo>
                    <a:pt x="922" y="245"/>
                    <a:pt x="921" y="245"/>
                    <a:pt x="919" y="244"/>
                  </a:cubicBezTo>
                  <a:cubicBezTo>
                    <a:pt x="919" y="244"/>
                    <a:pt x="919" y="244"/>
                    <a:pt x="919" y="244"/>
                  </a:cubicBezTo>
                  <a:cubicBezTo>
                    <a:pt x="918" y="244"/>
                    <a:pt x="918" y="244"/>
                    <a:pt x="918" y="244"/>
                  </a:cubicBezTo>
                  <a:cubicBezTo>
                    <a:pt x="918" y="244"/>
                    <a:pt x="918" y="244"/>
                    <a:pt x="918" y="244"/>
                  </a:cubicBezTo>
                  <a:cubicBezTo>
                    <a:pt x="918" y="244"/>
                    <a:pt x="918" y="244"/>
                    <a:pt x="918" y="244"/>
                  </a:cubicBezTo>
                  <a:cubicBezTo>
                    <a:pt x="917" y="243"/>
                    <a:pt x="917" y="243"/>
                    <a:pt x="917" y="243"/>
                  </a:cubicBezTo>
                  <a:cubicBezTo>
                    <a:pt x="917" y="243"/>
                    <a:pt x="917" y="243"/>
                    <a:pt x="917" y="243"/>
                  </a:cubicBezTo>
                  <a:cubicBezTo>
                    <a:pt x="914" y="242"/>
                    <a:pt x="914" y="243"/>
                    <a:pt x="911" y="241"/>
                  </a:cubicBezTo>
                  <a:cubicBezTo>
                    <a:pt x="910" y="241"/>
                    <a:pt x="910" y="241"/>
                    <a:pt x="910" y="241"/>
                  </a:cubicBezTo>
                  <a:cubicBezTo>
                    <a:pt x="909" y="240"/>
                    <a:pt x="909" y="240"/>
                    <a:pt x="909" y="240"/>
                  </a:cubicBezTo>
                  <a:cubicBezTo>
                    <a:pt x="909" y="239"/>
                    <a:pt x="909" y="239"/>
                    <a:pt x="909" y="238"/>
                  </a:cubicBezTo>
                  <a:cubicBezTo>
                    <a:pt x="909" y="237"/>
                    <a:pt x="909" y="237"/>
                    <a:pt x="909" y="237"/>
                  </a:cubicBezTo>
                  <a:cubicBezTo>
                    <a:pt x="909" y="237"/>
                    <a:pt x="909" y="237"/>
                    <a:pt x="909" y="237"/>
                  </a:cubicBezTo>
                  <a:cubicBezTo>
                    <a:pt x="910" y="237"/>
                    <a:pt x="910" y="237"/>
                    <a:pt x="910" y="237"/>
                  </a:cubicBezTo>
                  <a:cubicBezTo>
                    <a:pt x="910" y="237"/>
                    <a:pt x="910" y="237"/>
                    <a:pt x="910" y="237"/>
                  </a:cubicBezTo>
                  <a:cubicBezTo>
                    <a:pt x="911" y="237"/>
                    <a:pt x="911" y="237"/>
                    <a:pt x="911" y="237"/>
                  </a:cubicBezTo>
                  <a:cubicBezTo>
                    <a:pt x="911" y="237"/>
                    <a:pt x="911" y="237"/>
                    <a:pt x="911" y="237"/>
                  </a:cubicBezTo>
                  <a:cubicBezTo>
                    <a:pt x="911" y="237"/>
                    <a:pt x="911" y="237"/>
                    <a:pt x="911" y="237"/>
                  </a:cubicBezTo>
                  <a:cubicBezTo>
                    <a:pt x="912" y="237"/>
                    <a:pt x="912" y="237"/>
                    <a:pt x="912" y="237"/>
                  </a:cubicBezTo>
                  <a:cubicBezTo>
                    <a:pt x="912" y="237"/>
                    <a:pt x="912" y="237"/>
                    <a:pt x="912" y="237"/>
                  </a:cubicBezTo>
                  <a:cubicBezTo>
                    <a:pt x="912" y="237"/>
                    <a:pt x="912" y="237"/>
                    <a:pt x="912" y="237"/>
                  </a:cubicBezTo>
                  <a:cubicBezTo>
                    <a:pt x="913" y="237"/>
                    <a:pt x="913" y="237"/>
                    <a:pt x="913" y="237"/>
                  </a:cubicBezTo>
                  <a:cubicBezTo>
                    <a:pt x="913" y="237"/>
                    <a:pt x="913" y="237"/>
                    <a:pt x="913" y="237"/>
                  </a:cubicBezTo>
                  <a:cubicBezTo>
                    <a:pt x="913" y="237"/>
                    <a:pt x="913" y="237"/>
                    <a:pt x="913" y="237"/>
                  </a:cubicBezTo>
                  <a:cubicBezTo>
                    <a:pt x="913" y="237"/>
                    <a:pt x="913" y="237"/>
                    <a:pt x="913" y="237"/>
                  </a:cubicBezTo>
                  <a:cubicBezTo>
                    <a:pt x="913" y="237"/>
                    <a:pt x="913" y="237"/>
                    <a:pt x="913" y="237"/>
                  </a:cubicBezTo>
                  <a:cubicBezTo>
                    <a:pt x="913" y="236"/>
                    <a:pt x="913" y="236"/>
                    <a:pt x="913" y="236"/>
                  </a:cubicBezTo>
                  <a:cubicBezTo>
                    <a:pt x="913" y="236"/>
                    <a:pt x="913" y="236"/>
                    <a:pt x="913" y="236"/>
                  </a:cubicBezTo>
                  <a:cubicBezTo>
                    <a:pt x="913" y="235"/>
                    <a:pt x="916" y="235"/>
                    <a:pt x="914" y="233"/>
                  </a:cubicBezTo>
                  <a:cubicBezTo>
                    <a:pt x="912" y="232"/>
                    <a:pt x="912" y="232"/>
                    <a:pt x="912" y="232"/>
                  </a:cubicBezTo>
                  <a:cubicBezTo>
                    <a:pt x="912" y="232"/>
                    <a:pt x="912" y="232"/>
                    <a:pt x="912" y="232"/>
                  </a:cubicBezTo>
                  <a:cubicBezTo>
                    <a:pt x="912" y="232"/>
                    <a:pt x="912" y="232"/>
                    <a:pt x="912" y="232"/>
                  </a:cubicBezTo>
                  <a:cubicBezTo>
                    <a:pt x="912" y="232"/>
                    <a:pt x="912" y="232"/>
                    <a:pt x="912" y="232"/>
                  </a:cubicBezTo>
                  <a:cubicBezTo>
                    <a:pt x="913" y="231"/>
                    <a:pt x="913" y="231"/>
                    <a:pt x="913" y="231"/>
                  </a:cubicBezTo>
                  <a:cubicBezTo>
                    <a:pt x="913" y="231"/>
                    <a:pt x="913" y="231"/>
                    <a:pt x="913" y="231"/>
                  </a:cubicBezTo>
                  <a:cubicBezTo>
                    <a:pt x="913" y="231"/>
                    <a:pt x="913" y="231"/>
                    <a:pt x="913" y="231"/>
                  </a:cubicBezTo>
                  <a:cubicBezTo>
                    <a:pt x="914" y="231"/>
                    <a:pt x="914" y="231"/>
                    <a:pt x="914" y="231"/>
                  </a:cubicBezTo>
                  <a:cubicBezTo>
                    <a:pt x="914" y="231"/>
                    <a:pt x="914" y="231"/>
                    <a:pt x="914" y="231"/>
                  </a:cubicBezTo>
                  <a:cubicBezTo>
                    <a:pt x="914" y="231"/>
                    <a:pt x="914" y="231"/>
                    <a:pt x="914" y="231"/>
                  </a:cubicBezTo>
                  <a:cubicBezTo>
                    <a:pt x="914" y="230"/>
                    <a:pt x="914" y="230"/>
                    <a:pt x="914" y="230"/>
                  </a:cubicBezTo>
                  <a:cubicBezTo>
                    <a:pt x="913" y="230"/>
                    <a:pt x="913" y="230"/>
                    <a:pt x="913" y="230"/>
                  </a:cubicBezTo>
                  <a:cubicBezTo>
                    <a:pt x="911" y="228"/>
                    <a:pt x="911" y="228"/>
                    <a:pt x="911" y="228"/>
                  </a:cubicBezTo>
                  <a:cubicBezTo>
                    <a:pt x="910" y="228"/>
                    <a:pt x="910" y="228"/>
                    <a:pt x="910" y="228"/>
                  </a:cubicBezTo>
                  <a:cubicBezTo>
                    <a:pt x="910" y="227"/>
                    <a:pt x="910" y="227"/>
                    <a:pt x="910" y="227"/>
                  </a:cubicBezTo>
                  <a:cubicBezTo>
                    <a:pt x="910" y="227"/>
                    <a:pt x="910" y="227"/>
                    <a:pt x="910" y="227"/>
                  </a:cubicBezTo>
                  <a:cubicBezTo>
                    <a:pt x="909" y="227"/>
                    <a:pt x="909" y="227"/>
                    <a:pt x="909" y="227"/>
                  </a:cubicBezTo>
                  <a:cubicBezTo>
                    <a:pt x="909" y="227"/>
                    <a:pt x="909" y="227"/>
                    <a:pt x="909" y="227"/>
                  </a:cubicBezTo>
                  <a:cubicBezTo>
                    <a:pt x="909" y="226"/>
                    <a:pt x="909" y="226"/>
                    <a:pt x="909" y="226"/>
                  </a:cubicBezTo>
                  <a:cubicBezTo>
                    <a:pt x="909" y="226"/>
                    <a:pt x="909" y="226"/>
                    <a:pt x="909" y="226"/>
                  </a:cubicBezTo>
                  <a:cubicBezTo>
                    <a:pt x="909" y="226"/>
                    <a:pt x="909" y="226"/>
                    <a:pt x="909" y="226"/>
                  </a:cubicBezTo>
                  <a:cubicBezTo>
                    <a:pt x="909" y="226"/>
                    <a:pt x="909" y="226"/>
                    <a:pt x="909" y="226"/>
                  </a:cubicBezTo>
                  <a:cubicBezTo>
                    <a:pt x="909" y="226"/>
                    <a:pt x="909" y="226"/>
                    <a:pt x="909" y="226"/>
                  </a:cubicBezTo>
                  <a:cubicBezTo>
                    <a:pt x="909" y="225"/>
                    <a:pt x="909" y="225"/>
                    <a:pt x="909" y="225"/>
                  </a:cubicBezTo>
                  <a:cubicBezTo>
                    <a:pt x="909" y="225"/>
                    <a:pt x="909" y="225"/>
                    <a:pt x="909" y="225"/>
                  </a:cubicBezTo>
                  <a:cubicBezTo>
                    <a:pt x="909" y="225"/>
                    <a:pt x="909" y="225"/>
                    <a:pt x="909" y="225"/>
                  </a:cubicBezTo>
                  <a:cubicBezTo>
                    <a:pt x="909" y="225"/>
                    <a:pt x="909" y="225"/>
                    <a:pt x="909" y="225"/>
                  </a:cubicBezTo>
                  <a:cubicBezTo>
                    <a:pt x="909" y="224"/>
                    <a:pt x="909" y="224"/>
                    <a:pt x="909" y="224"/>
                  </a:cubicBezTo>
                  <a:cubicBezTo>
                    <a:pt x="909" y="224"/>
                    <a:pt x="909" y="224"/>
                    <a:pt x="909" y="224"/>
                  </a:cubicBezTo>
                  <a:cubicBezTo>
                    <a:pt x="908" y="223"/>
                    <a:pt x="910" y="222"/>
                    <a:pt x="910" y="221"/>
                  </a:cubicBezTo>
                  <a:cubicBezTo>
                    <a:pt x="910" y="221"/>
                    <a:pt x="910" y="221"/>
                    <a:pt x="910" y="221"/>
                  </a:cubicBezTo>
                  <a:cubicBezTo>
                    <a:pt x="909" y="221"/>
                    <a:pt x="909" y="221"/>
                    <a:pt x="909" y="221"/>
                  </a:cubicBezTo>
                  <a:cubicBezTo>
                    <a:pt x="909" y="221"/>
                    <a:pt x="909" y="221"/>
                    <a:pt x="909" y="221"/>
                  </a:cubicBezTo>
                  <a:cubicBezTo>
                    <a:pt x="909" y="220"/>
                    <a:pt x="909" y="220"/>
                    <a:pt x="909" y="220"/>
                  </a:cubicBezTo>
                  <a:cubicBezTo>
                    <a:pt x="910" y="220"/>
                    <a:pt x="910" y="220"/>
                    <a:pt x="910" y="220"/>
                  </a:cubicBezTo>
                  <a:cubicBezTo>
                    <a:pt x="910" y="220"/>
                    <a:pt x="910" y="220"/>
                    <a:pt x="910" y="220"/>
                  </a:cubicBezTo>
                  <a:cubicBezTo>
                    <a:pt x="910" y="220"/>
                    <a:pt x="910" y="220"/>
                    <a:pt x="910" y="220"/>
                  </a:cubicBezTo>
                  <a:cubicBezTo>
                    <a:pt x="910" y="220"/>
                    <a:pt x="910" y="220"/>
                    <a:pt x="910" y="220"/>
                  </a:cubicBezTo>
                  <a:cubicBezTo>
                    <a:pt x="911" y="220"/>
                    <a:pt x="911" y="220"/>
                    <a:pt x="911" y="220"/>
                  </a:cubicBezTo>
                  <a:cubicBezTo>
                    <a:pt x="911" y="220"/>
                    <a:pt x="911" y="220"/>
                    <a:pt x="911" y="220"/>
                  </a:cubicBezTo>
                  <a:cubicBezTo>
                    <a:pt x="911" y="219"/>
                    <a:pt x="911" y="219"/>
                    <a:pt x="911" y="219"/>
                  </a:cubicBezTo>
                  <a:cubicBezTo>
                    <a:pt x="912" y="219"/>
                    <a:pt x="912" y="219"/>
                    <a:pt x="912" y="219"/>
                  </a:cubicBezTo>
                  <a:cubicBezTo>
                    <a:pt x="912" y="219"/>
                    <a:pt x="912" y="219"/>
                    <a:pt x="912" y="219"/>
                  </a:cubicBezTo>
                  <a:cubicBezTo>
                    <a:pt x="913" y="219"/>
                    <a:pt x="913" y="219"/>
                    <a:pt x="913" y="219"/>
                  </a:cubicBezTo>
                  <a:cubicBezTo>
                    <a:pt x="913" y="219"/>
                    <a:pt x="913" y="219"/>
                    <a:pt x="913" y="219"/>
                  </a:cubicBezTo>
                  <a:cubicBezTo>
                    <a:pt x="913" y="219"/>
                    <a:pt x="913" y="219"/>
                    <a:pt x="913" y="219"/>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8"/>
                    <a:pt x="913" y="218"/>
                    <a:pt x="913" y="218"/>
                  </a:cubicBezTo>
                  <a:cubicBezTo>
                    <a:pt x="913" y="217"/>
                    <a:pt x="913" y="217"/>
                    <a:pt x="913" y="217"/>
                  </a:cubicBezTo>
                  <a:cubicBezTo>
                    <a:pt x="913" y="217"/>
                    <a:pt x="913" y="217"/>
                    <a:pt x="913" y="217"/>
                  </a:cubicBezTo>
                  <a:cubicBezTo>
                    <a:pt x="913" y="217"/>
                    <a:pt x="913" y="217"/>
                    <a:pt x="913" y="217"/>
                  </a:cubicBezTo>
                  <a:cubicBezTo>
                    <a:pt x="913" y="216"/>
                    <a:pt x="914" y="216"/>
                    <a:pt x="914" y="216"/>
                  </a:cubicBezTo>
                  <a:cubicBezTo>
                    <a:pt x="914" y="216"/>
                    <a:pt x="914" y="216"/>
                    <a:pt x="914" y="216"/>
                  </a:cubicBezTo>
                  <a:cubicBezTo>
                    <a:pt x="914" y="215"/>
                    <a:pt x="914" y="215"/>
                    <a:pt x="914" y="215"/>
                  </a:cubicBezTo>
                  <a:cubicBezTo>
                    <a:pt x="915" y="215"/>
                    <a:pt x="915" y="215"/>
                    <a:pt x="915" y="215"/>
                  </a:cubicBezTo>
                  <a:cubicBezTo>
                    <a:pt x="915" y="215"/>
                    <a:pt x="915" y="215"/>
                    <a:pt x="915" y="215"/>
                  </a:cubicBezTo>
                  <a:cubicBezTo>
                    <a:pt x="914" y="214"/>
                    <a:pt x="914" y="214"/>
                    <a:pt x="914" y="214"/>
                  </a:cubicBezTo>
                  <a:cubicBezTo>
                    <a:pt x="914" y="214"/>
                    <a:pt x="914" y="214"/>
                    <a:pt x="914" y="214"/>
                  </a:cubicBezTo>
                  <a:cubicBezTo>
                    <a:pt x="914" y="214"/>
                    <a:pt x="914" y="214"/>
                    <a:pt x="914" y="214"/>
                  </a:cubicBezTo>
                  <a:cubicBezTo>
                    <a:pt x="914" y="214"/>
                    <a:pt x="914" y="214"/>
                    <a:pt x="914" y="214"/>
                  </a:cubicBezTo>
                  <a:cubicBezTo>
                    <a:pt x="914" y="214"/>
                    <a:pt x="914" y="214"/>
                    <a:pt x="914" y="214"/>
                  </a:cubicBezTo>
                  <a:cubicBezTo>
                    <a:pt x="914" y="213"/>
                    <a:pt x="914" y="213"/>
                    <a:pt x="914" y="213"/>
                  </a:cubicBezTo>
                  <a:cubicBezTo>
                    <a:pt x="914" y="213"/>
                    <a:pt x="914" y="213"/>
                    <a:pt x="914" y="213"/>
                  </a:cubicBezTo>
                  <a:cubicBezTo>
                    <a:pt x="914" y="213"/>
                    <a:pt x="914" y="213"/>
                    <a:pt x="914" y="213"/>
                  </a:cubicBezTo>
                  <a:cubicBezTo>
                    <a:pt x="915" y="212"/>
                    <a:pt x="915" y="212"/>
                    <a:pt x="915" y="211"/>
                  </a:cubicBezTo>
                  <a:cubicBezTo>
                    <a:pt x="916" y="211"/>
                    <a:pt x="916" y="211"/>
                    <a:pt x="916" y="211"/>
                  </a:cubicBezTo>
                  <a:cubicBezTo>
                    <a:pt x="916" y="211"/>
                    <a:pt x="916" y="211"/>
                    <a:pt x="916" y="211"/>
                  </a:cubicBezTo>
                  <a:cubicBezTo>
                    <a:pt x="916" y="211"/>
                    <a:pt x="916" y="211"/>
                    <a:pt x="916" y="211"/>
                  </a:cubicBezTo>
                  <a:cubicBezTo>
                    <a:pt x="916" y="210"/>
                    <a:pt x="917" y="210"/>
                    <a:pt x="917" y="210"/>
                  </a:cubicBezTo>
                  <a:cubicBezTo>
                    <a:pt x="918" y="210"/>
                    <a:pt x="918" y="210"/>
                    <a:pt x="918" y="210"/>
                  </a:cubicBezTo>
                  <a:cubicBezTo>
                    <a:pt x="918" y="209"/>
                    <a:pt x="918" y="209"/>
                    <a:pt x="918" y="209"/>
                  </a:cubicBezTo>
                  <a:cubicBezTo>
                    <a:pt x="918" y="209"/>
                    <a:pt x="918" y="209"/>
                    <a:pt x="918" y="209"/>
                  </a:cubicBezTo>
                  <a:cubicBezTo>
                    <a:pt x="918" y="209"/>
                    <a:pt x="918" y="209"/>
                    <a:pt x="918" y="209"/>
                  </a:cubicBezTo>
                  <a:cubicBezTo>
                    <a:pt x="919" y="209"/>
                    <a:pt x="919" y="209"/>
                    <a:pt x="919" y="209"/>
                  </a:cubicBezTo>
                  <a:cubicBezTo>
                    <a:pt x="919" y="208"/>
                    <a:pt x="919" y="208"/>
                    <a:pt x="919" y="208"/>
                  </a:cubicBezTo>
                  <a:cubicBezTo>
                    <a:pt x="919" y="208"/>
                    <a:pt x="919" y="208"/>
                    <a:pt x="919" y="208"/>
                  </a:cubicBezTo>
                  <a:cubicBezTo>
                    <a:pt x="918" y="208"/>
                    <a:pt x="918" y="208"/>
                    <a:pt x="918" y="208"/>
                  </a:cubicBezTo>
                  <a:cubicBezTo>
                    <a:pt x="918" y="207"/>
                    <a:pt x="918" y="207"/>
                    <a:pt x="918" y="207"/>
                  </a:cubicBezTo>
                  <a:cubicBezTo>
                    <a:pt x="917" y="207"/>
                    <a:pt x="917" y="207"/>
                    <a:pt x="917" y="207"/>
                  </a:cubicBezTo>
                  <a:cubicBezTo>
                    <a:pt x="917" y="206"/>
                    <a:pt x="917" y="206"/>
                    <a:pt x="917" y="206"/>
                  </a:cubicBezTo>
                  <a:cubicBezTo>
                    <a:pt x="917" y="206"/>
                    <a:pt x="917" y="206"/>
                    <a:pt x="917" y="206"/>
                  </a:cubicBezTo>
                  <a:cubicBezTo>
                    <a:pt x="917" y="206"/>
                    <a:pt x="917" y="206"/>
                    <a:pt x="917" y="206"/>
                  </a:cubicBezTo>
                  <a:cubicBezTo>
                    <a:pt x="917" y="206"/>
                    <a:pt x="917" y="206"/>
                    <a:pt x="917" y="206"/>
                  </a:cubicBezTo>
                  <a:cubicBezTo>
                    <a:pt x="917" y="205"/>
                    <a:pt x="917" y="205"/>
                    <a:pt x="917" y="205"/>
                  </a:cubicBezTo>
                  <a:cubicBezTo>
                    <a:pt x="917" y="205"/>
                    <a:pt x="917" y="205"/>
                    <a:pt x="917" y="205"/>
                  </a:cubicBezTo>
                  <a:cubicBezTo>
                    <a:pt x="917" y="205"/>
                    <a:pt x="917" y="205"/>
                    <a:pt x="917" y="205"/>
                  </a:cubicBezTo>
                  <a:cubicBezTo>
                    <a:pt x="917" y="205"/>
                    <a:pt x="917" y="205"/>
                    <a:pt x="917" y="205"/>
                  </a:cubicBezTo>
                  <a:cubicBezTo>
                    <a:pt x="917" y="204"/>
                    <a:pt x="917" y="204"/>
                    <a:pt x="917" y="204"/>
                  </a:cubicBezTo>
                  <a:cubicBezTo>
                    <a:pt x="917" y="204"/>
                    <a:pt x="917" y="204"/>
                    <a:pt x="917" y="204"/>
                  </a:cubicBezTo>
                  <a:cubicBezTo>
                    <a:pt x="916" y="204"/>
                    <a:pt x="916" y="204"/>
                    <a:pt x="916" y="204"/>
                  </a:cubicBezTo>
                  <a:cubicBezTo>
                    <a:pt x="916" y="204"/>
                    <a:pt x="916" y="204"/>
                    <a:pt x="916" y="204"/>
                  </a:cubicBezTo>
                  <a:cubicBezTo>
                    <a:pt x="916" y="203"/>
                    <a:pt x="916" y="203"/>
                    <a:pt x="916" y="203"/>
                  </a:cubicBezTo>
                  <a:cubicBezTo>
                    <a:pt x="916" y="203"/>
                    <a:pt x="916" y="203"/>
                    <a:pt x="916" y="203"/>
                  </a:cubicBezTo>
                  <a:cubicBezTo>
                    <a:pt x="916" y="203"/>
                    <a:pt x="916" y="203"/>
                    <a:pt x="916" y="203"/>
                  </a:cubicBezTo>
                  <a:cubicBezTo>
                    <a:pt x="916" y="203"/>
                    <a:pt x="916" y="203"/>
                    <a:pt x="916" y="203"/>
                  </a:cubicBezTo>
                  <a:cubicBezTo>
                    <a:pt x="916" y="202"/>
                    <a:pt x="916" y="202"/>
                    <a:pt x="916" y="202"/>
                  </a:cubicBezTo>
                  <a:cubicBezTo>
                    <a:pt x="916" y="202"/>
                    <a:pt x="916" y="202"/>
                    <a:pt x="916" y="202"/>
                  </a:cubicBezTo>
                  <a:cubicBezTo>
                    <a:pt x="916" y="202"/>
                    <a:pt x="916" y="202"/>
                    <a:pt x="916" y="202"/>
                  </a:cubicBezTo>
                  <a:cubicBezTo>
                    <a:pt x="916" y="202"/>
                    <a:pt x="916" y="202"/>
                    <a:pt x="916" y="202"/>
                  </a:cubicBezTo>
                  <a:cubicBezTo>
                    <a:pt x="915" y="202"/>
                    <a:pt x="915" y="202"/>
                    <a:pt x="915" y="202"/>
                  </a:cubicBezTo>
                  <a:cubicBezTo>
                    <a:pt x="915" y="201"/>
                    <a:pt x="915" y="201"/>
                    <a:pt x="915" y="201"/>
                  </a:cubicBezTo>
                  <a:cubicBezTo>
                    <a:pt x="915" y="201"/>
                    <a:pt x="915" y="201"/>
                    <a:pt x="915" y="201"/>
                  </a:cubicBezTo>
                  <a:cubicBezTo>
                    <a:pt x="915" y="201"/>
                    <a:pt x="915" y="201"/>
                    <a:pt x="915" y="201"/>
                  </a:cubicBezTo>
                  <a:cubicBezTo>
                    <a:pt x="915" y="201"/>
                    <a:pt x="915" y="201"/>
                    <a:pt x="915" y="201"/>
                  </a:cubicBezTo>
                  <a:cubicBezTo>
                    <a:pt x="915" y="201"/>
                    <a:pt x="915" y="201"/>
                    <a:pt x="915" y="201"/>
                  </a:cubicBezTo>
                  <a:cubicBezTo>
                    <a:pt x="915" y="200"/>
                    <a:pt x="915" y="200"/>
                    <a:pt x="915" y="200"/>
                  </a:cubicBezTo>
                  <a:cubicBezTo>
                    <a:pt x="915" y="200"/>
                    <a:pt x="915" y="200"/>
                    <a:pt x="915" y="200"/>
                  </a:cubicBezTo>
                  <a:cubicBezTo>
                    <a:pt x="915" y="200"/>
                    <a:pt x="915" y="200"/>
                    <a:pt x="915" y="200"/>
                  </a:cubicBezTo>
                  <a:cubicBezTo>
                    <a:pt x="914" y="198"/>
                    <a:pt x="914" y="198"/>
                    <a:pt x="914" y="198"/>
                  </a:cubicBezTo>
                  <a:cubicBezTo>
                    <a:pt x="912" y="196"/>
                    <a:pt x="912" y="196"/>
                    <a:pt x="912" y="196"/>
                  </a:cubicBezTo>
                  <a:cubicBezTo>
                    <a:pt x="907" y="190"/>
                    <a:pt x="907" y="190"/>
                    <a:pt x="907" y="190"/>
                  </a:cubicBezTo>
                  <a:cubicBezTo>
                    <a:pt x="905" y="188"/>
                    <a:pt x="905" y="188"/>
                    <a:pt x="905" y="188"/>
                  </a:cubicBezTo>
                  <a:cubicBezTo>
                    <a:pt x="904" y="187"/>
                    <a:pt x="904" y="187"/>
                    <a:pt x="904" y="187"/>
                  </a:cubicBezTo>
                  <a:cubicBezTo>
                    <a:pt x="903" y="187"/>
                    <a:pt x="903" y="187"/>
                    <a:pt x="903" y="187"/>
                  </a:cubicBezTo>
                  <a:cubicBezTo>
                    <a:pt x="903" y="187"/>
                    <a:pt x="903" y="187"/>
                    <a:pt x="903" y="187"/>
                  </a:cubicBezTo>
                  <a:cubicBezTo>
                    <a:pt x="902" y="188"/>
                    <a:pt x="902" y="188"/>
                    <a:pt x="902" y="188"/>
                  </a:cubicBezTo>
                  <a:cubicBezTo>
                    <a:pt x="902" y="188"/>
                    <a:pt x="902" y="188"/>
                    <a:pt x="902" y="188"/>
                  </a:cubicBezTo>
                  <a:cubicBezTo>
                    <a:pt x="902" y="188"/>
                    <a:pt x="902" y="188"/>
                    <a:pt x="902" y="188"/>
                  </a:cubicBezTo>
                  <a:cubicBezTo>
                    <a:pt x="901" y="188"/>
                    <a:pt x="898" y="189"/>
                    <a:pt x="900" y="190"/>
                  </a:cubicBezTo>
                  <a:cubicBezTo>
                    <a:pt x="901" y="190"/>
                    <a:pt x="901" y="190"/>
                    <a:pt x="901" y="190"/>
                  </a:cubicBezTo>
                  <a:cubicBezTo>
                    <a:pt x="901" y="190"/>
                    <a:pt x="901" y="190"/>
                    <a:pt x="901" y="190"/>
                  </a:cubicBezTo>
                  <a:cubicBezTo>
                    <a:pt x="902" y="191"/>
                    <a:pt x="902" y="192"/>
                    <a:pt x="903" y="192"/>
                  </a:cubicBezTo>
                  <a:cubicBezTo>
                    <a:pt x="903" y="193"/>
                    <a:pt x="903" y="193"/>
                    <a:pt x="903" y="193"/>
                  </a:cubicBezTo>
                  <a:cubicBezTo>
                    <a:pt x="903" y="193"/>
                    <a:pt x="903" y="193"/>
                    <a:pt x="903" y="193"/>
                  </a:cubicBezTo>
                  <a:cubicBezTo>
                    <a:pt x="904" y="193"/>
                    <a:pt x="904" y="193"/>
                    <a:pt x="904" y="193"/>
                  </a:cubicBezTo>
                  <a:cubicBezTo>
                    <a:pt x="904" y="193"/>
                    <a:pt x="904" y="193"/>
                    <a:pt x="904" y="193"/>
                  </a:cubicBezTo>
                  <a:cubicBezTo>
                    <a:pt x="904" y="194"/>
                    <a:pt x="905" y="194"/>
                    <a:pt x="905" y="195"/>
                  </a:cubicBezTo>
                  <a:cubicBezTo>
                    <a:pt x="905" y="195"/>
                    <a:pt x="905" y="195"/>
                    <a:pt x="905" y="195"/>
                  </a:cubicBezTo>
                  <a:cubicBezTo>
                    <a:pt x="905" y="196"/>
                    <a:pt x="905" y="196"/>
                    <a:pt x="905" y="196"/>
                  </a:cubicBezTo>
                  <a:cubicBezTo>
                    <a:pt x="906" y="197"/>
                    <a:pt x="906" y="197"/>
                    <a:pt x="906" y="198"/>
                  </a:cubicBezTo>
                  <a:cubicBezTo>
                    <a:pt x="906" y="199"/>
                    <a:pt x="906" y="199"/>
                    <a:pt x="906" y="199"/>
                  </a:cubicBezTo>
                  <a:cubicBezTo>
                    <a:pt x="906" y="199"/>
                    <a:pt x="906" y="199"/>
                    <a:pt x="906" y="199"/>
                  </a:cubicBezTo>
                  <a:cubicBezTo>
                    <a:pt x="906" y="201"/>
                    <a:pt x="906" y="202"/>
                    <a:pt x="907" y="204"/>
                  </a:cubicBezTo>
                  <a:cubicBezTo>
                    <a:pt x="907" y="205"/>
                    <a:pt x="907" y="205"/>
                    <a:pt x="907" y="205"/>
                  </a:cubicBezTo>
                  <a:cubicBezTo>
                    <a:pt x="907" y="205"/>
                    <a:pt x="907" y="205"/>
                    <a:pt x="907" y="205"/>
                  </a:cubicBezTo>
                  <a:cubicBezTo>
                    <a:pt x="907" y="206"/>
                    <a:pt x="906" y="206"/>
                    <a:pt x="907" y="207"/>
                  </a:cubicBezTo>
                  <a:cubicBezTo>
                    <a:pt x="907" y="207"/>
                    <a:pt x="907" y="207"/>
                    <a:pt x="907" y="207"/>
                  </a:cubicBezTo>
                  <a:cubicBezTo>
                    <a:pt x="906" y="208"/>
                    <a:pt x="906" y="208"/>
                    <a:pt x="906" y="208"/>
                  </a:cubicBezTo>
                  <a:cubicBezTo>
                    <a:pt x="906" y="208"/>
                    <a:pt x="906" y="209"/>
                    <a:pt x="906" y="210"/>
                  </a:cubicBezTo>
                  <a:cubicBezTo>
                    <a:pt x="906" y="210"/>
                    <a:pt x="906" y="210"/>
                    <a:pt x="906" y="210"/>
                  </a:cubicBezTo>
                  <a:cubicBezTo>
                    <a:pt x="906" y="211"/>
                    <a:pt x="906" y="211"/>
                    <a:pt x="906" y="211"/>
                  </a:cubicBezTo>
                  <a:cubicBezTo>
                    <a:pt x="906" y="211"/>
                    <a:pt x="906" y="211"/>
                    <a:pt x="906" y="211"/>
                  </a:cubicBezTo>
                  <a:cubicBezTo>
                    <a:pt x="906" y="211"/>
                    <a:pt x="906" y="211"/>
                    <a:pt x="906" y="211"/>
                  </a:cubicBezTo>
                  <a:cubicBezTo>
                    <a:pt x="905" y="211"/>
                    <a:pt x="905" y="211"/>
                    <a:pt x="905" y="211"/>
                  </a:cubicBezTo>
                  <a:cubicBezTo>
                    <a:pt x="903" y="215"/>
                    <a:pt x="904" y="215"/>
                    <a:pt x="900" y="216"/>
                  </a:cubicBezTo>
                  <a:cubicBezTo>
                    <a:pt x="900" y="216"/>
                    <a:pt x="900" y="216"/>
                    <a:pt x="900" y="216"/>
                  </a:cubicBezTo>
                  <a:cubicBezTo>
                    <a:pt x="899" y="216"/>
                    <a:pt x="899" y="216"/>
                    <a:pt x="899" y="216"/>
                  </a:cubicBezTo>
                  <a:cubicBezTo>
                    <a:pt x="899" y="216"/>
                    <a:pt x="899" y="216"/>
                    <a:pt x="899" y="216"/>
                  </a:cubicBezTo>
                  <a:cubicBezTo>
                    <a:pt x="897" y="217"/>
                    <a:pt x="897" y="217"/>
                    <a:pt x="895" y="218"/>
                  </a:cubicBezTo>
                  <a:cubicBezTo>
                    <a:pt x="895" y="218"/>
                    <a:pt x="895" y="218"/>
                    <a:pt x="895" y="218"/>
                  </a:cubicBezTo>
                  <a:cubicBezTo>
                    <a:pt x="894" y="218"/>
                    <a:pt x="894" y="218"/>
                    <a:pt x="894" y="218"/>
                  </a:cubicBezTo>
                  <a:cubicBezTo>
                    <a:pt x="890" y="220"/>
                    <a:pt x="886" y="221"/>
                    <a:pt x="882" y="222"/>
                  </a:cubicBezTo>
                  <a:cubicBezTo>
                    <a:pt x="882" y="222"/>
                    <a:pt x="882" y="222"/>
                    <a:pt x="882" y="222"/>
                  </a:cubicBezTo>
                  <a:cubicBezTo>
                    <a:pt x="882" y="222"/>
                    <a:pt x="882" y="222"/>
                    <a:pt x="882" y="222"/>
                  </a:cubicBezTo>
                  <a:cubicBezTo>
                    <a:pt x="881" y="222"/>
                    <a:pt x="881" y="222"/>
                    <a:pt x="881" y="222"/>
                  </a:cubicBezTo>
                  <a:cubicBezTo>
                    <a:pt x="881" y="223"/>
                    <a:pt x="881" y="223"/>
                    <a:pt x="881" y="223"/>
                  </a:cubicBezTo>
                  <a:cubicBezTo>
                    <a:pt x="880" y="223"/>
                    <a:pt x="880" y="223"/>
                    <a:pt x="880" y="223"/>
                  </a:cubicBezTo>
                  <a:cubicBezTo>
                    <a:pt x="880" y="223"/>
                    <a:pt x="880" y="223"/>
                    <a:pt x="880" y="223"/>
                  </a:cubicBezTo>
                  <a:cubicBezTo>
                    <a:pt x="879" y="223"/>
                    <a:pt x="878" y="224"/>
                    <a:pt x="877" y="224"/>
                  </a:cubicBezTo>
                  <a:cubicBezTo>
                    <a:pt x="876" y="225"/>
                    <a:pt x="876" y="225"/>
                    <a:pt x="876" y="225"/>
                  </a:cubicBezTo>
                  <a:cubicBezTo>
                    <a:pt x="876" y="225"/>
                    <a:pt x="876" y="225"/>
                    <a:pt x="876" y="225"/>
                  </a:cubicBezTo>
                  <a:cubicBezTo>
                    <a:pt x="875" y="226"/>
                    <a:pt x="875" y="226"/>
                    <a:pt x="876" y="227"/>
                  </a:cubicBezTo>
                  <a:cubicBezTo>
                    <a:pt x="876" y="227"/>
                    <a:pt x="876" y="227"/>
                    <a:pt x="876" y="227"/>
                  </a:cubicBezTo>
                  <a:cubicBezTo>
                    <a:pt x="876" y="228"/>
                    <a:pt x="876" y="228"/>
                    <a:pt x="876" y="228"/>
                  </a:cubicBezTo>
                  <a:cubicBezTo>
                    <a:pt x="876" y="228"/>
                    <a:pt x="876" y="228"/>
                    <a:pt x="876" y="228"/>
                  </a:cubicBezTo>
                  <a:cubicBezTo>
                    <a:pt x="877" y="229"/>
                    <a:pt x="876" y="230"/>
                    <a:pt x="876" y="230"/>
                  </a:cubicBezTo>
                  <a:cubicBezTo>
                    <a:pt x="876" y="230"/>
                    <a:pt x="876" y="230"/>
                    <a:pt x="876" y="230"/>
                  </a:cubicBezTo>
                  <a:cubicBezTo>
                    <a:pt x="875" y="231"/>
                    <a:pt x="875" y="231"/>
                    <a:pt x="875" y="231"/>
                  </a:cubicBezTo>
                  <a:cubicBezTo>
                    <a:pt x="874" y="232"/>
                    <a:pt x="874" y="232"/>
                    <a:pt x="873" y="233"/>
                  </a:cubicBezTo>
                  <a:cubicBezTo>
                    <a:pt x="872" y="234"/>
                    <a:pt x="872" y="234"/>
                    <a:pt x="872" y="234"/>
                  </a:cubicBezTo>
                  <a:cubicBezTo>
                    <a:pt x="871" y="235"/>
                    <a:pt x="871" y="235"/>
                    <a:pt x="871" y="235"/>
                  </a:cubicBezTo>
                  <a:cubicBezTo>
                    <a:pt x="868" y="237"/>
                    <a:pt x="868" y="237"/>
                    <a:pt x="868" y="237"/>
                  </a:cubicBezTo>
                  <a:cubicBezTo>
                    <a:pt x="867" y="238"/>
                    <a:pt x="867" y="238"/>
                    <a:pt x="867" y="238"/>
                  </a:cubicBezTo>
                  <a:cubicBezTo>
                    <a:pt x="867" y="239"/>
                    <a:pt x="867" y="239"/>
                    <a:pt x="867" y="239"/>
                  </a:cubicBezTo>
                  <a:cubicBezTo>
                    <a:pt x="867" y="239"/>
                    <a:pt x="867" y="239"/>
                    <a:pt x="867" y="239"/>
                  </a:cubicBezTo>
                  <a:cubicBezTo>
                    <a:pt x="868" y="239"/>
                    <a:pt x="868" y="239"/>
                    <a:pt x="868" y="239"/>
                  </a:cubicBezTo>
                  <a:cubicBezTo>
                    <a:pt x="868" y="240"/>
                    <a:pt x="868" y="240"/>
                    <a:pt x="868" y="240"/>
                  </a:cubicBezTo>
                  <a:cubicBezTo>
                    <a:pt x="868" y="240"/>
                    <a:pt x="868" y="240"/>
                    <a:pt x="868" y="240"/>
                  </a:cubicBezTo>
                  <a:cubicBezTo>
                    <a:pt x="876" y="243"/>
                    <a:pt x="877" y="243"/>
                    <a:pt x="880" y="251"/>
                  </a:cubicBezTo>
                  <a:cubicBezTo>
                    <a:pt x="880" y="251"/>
                    <a:pt x="880" y="251"/>
                    <a:pt x="880" y="251"/>
                  </a:cubicBezTo>
                  <a:cubicBezTo>
                    <a:pt x="880" y="251"/>
                    <a:pt x="880" y="251"/>
                    <a:pt x="880" y="251"/>
                  </a:cubicBezTo>
                  <a:cubicBezTo>
                    <a:pt x="880" y="251"/>
                    <a:pt x="880" y="251"/>
                    <a:pt x="880" y="251"/>
                  </a:cubicBezTo>
                  <a:cubicBezTo>
                    <a:pt x="882" y="254"/>
                    <a:pt x="884" y="253"/>
                    <a:pt x="884" y="256"/>
                  </a:cubicBezTo>
                  <a:cubicBezTo>
                    <a:pt x="884" y="257"/>
                    <a:pt x="884" y="257"/>
                    <a:pt x="884" y="257"/>
                  </a:cubicBezTo>
                  <a:cubicBezTo>
                    <a:pt x="884" y="258"/>
                    <a:pt x="884" y="259"/>
                    <a:pt x="885" y="259"/>
                  </a:cubicBezTo>
                  <a:cubicBezTo>
                    <a:pt x="885" y="259"/>
                    <a:pt x="885" y="259"/>
                    <a:pt x="885" y="259"/>
                  </a:cubicBezTo>
                  <a:cubicBezTo>
                    <a:pt x="885" y="260"/>
                    <a:pt x="885" y="260"/>
                    <a:pt x="885" y="260"/>
                  </a:cubicBezTo>
                  <a:cubicBezTo>
                    <a:pt x="886" y="260"/>
                    <a:pt x="887" y="261"/>
                    <a:pt x="888" y="262"/>
                  </a:cubicBezTo>
                  <a:cubicBezTo>
                    <a:pt x="889" y="262"/>
                    <a:pt x="889" y="262"/>
                    <a:pt x="889" y="262"/>
                  </a:cubicBezTo>
                  <a:cubicBezTo>
                    <a:pt x="889" y="262"/>
                    <a:pt x="889" y="262"/>
                    <a:pt x="889" y="262"/>
                  </a:cubicBezTo>
                  <a:cubicBezTo>
                    <a:pt x="889" y="262"/>
                    <a:pt x="889" y="262"/>
                    <a:pt x="889" y="262"/>
                  </a:cubicBezTo>
                  <a:cubicBezTo>
                    <a:pt x="889" y="262"/>
                    <a:pt x="889" y="262"/>
                    <a:pt x="889" y="262"/>
                  </a:cubicBezTo>
                  <a:cubicBezTo>
                    <a:pt x="890" y="263"/>
                    <a:pt x="890" y="263"/>
                    <a:pt x="890" y="263"/>
                  </a:cubicBezTo>
                  <a:cubicBezTo>
                    <a:pt x="890" y="263"/>
                    <a:pt x="890" y="263"/>
                    <a:pt x="890" y="263"/>
                  </a:cubicBezTo>
                  <a:cubicBezTo>
                    <a:pt x="890" y="263"/>
                    <a:pt x="890" y="263"/>
                    <a:pt x="890" y="263"/>
                  </a:cubicBezTo>
                  <a:cubicBezTo>
                    <a:pt x="890" y="263"/>
                    <a:pt x="890" y="263"/>
                    <a:pt x="890" y="263"/>
                  </a:cubicBezTo>
                  <a:cubicBezTo>
                    <a:pt x="891" y="264"/>
                    <a:pt x="891" y="264"/>
                    <a:pt x="892" y="266"/>
                  </a:cubicBezTo>
                  <a:cubicBezTo>
                    <a:pt x="892" y="266"/>
                    <a:pt x="892" y="266"/>
                    <a:pt x="892" y="266"/>
                  </a:cubicBezTo>
                  <a:cubicBezTo>
                    <a:pt x="892" y="266"/>
                    <a:pt x="892" y="266"/>
                    <a:pt x="892" y="266"/>
                  </a:cubicBezTo>
                  <a:cubicBezTo>
                    <a:pt x="892" y="267"/>
                    <a:pt x="892" y="267"/>
                    <a:pt x="892" y="267"/>
                  </a:cubicBezTo>
                  <a:cubicBezTo>
                    <a:pt x="892" y="267"/>
                    <a:pt x="892" y="267"/>
                    <a:pt x="892" y="267"/>
                  </a:cubicBezTo>
                  <a:cubicBezTo>
                    <a:pt x="892" y="267"/>
                    <a:pt x="892" y="267"/>
                    <a:pt x="892" y="267"/>
                  </a:cubicBezTo>
                  <a:cubicBezTo>
                    <a:pt x="892" y="267"/>
                    <a:pt x="892" y="267"/>
                    <a:pt x="892" y="267"/>
                  </a:cubicBezTo>
                  <a:cubicBezTo>
                    <a:pt x="892" y="268"/>
                    <a:pt x="892" y="268"/>
                    <a:pt x="892" y="268"/>
                  </a:cubicBezTo>
                  <a:cubicBezTo>
                    <a:pt x="892" y="268"/>
                    <a:pt x="892" y="268"/>
                    <a:pt x="892" y="268"/>
                  </a:cubicBezTo>
                  <a:cubicBezTo>
                    <a:pt x="891" y="270"/>
                    <a:pt x="891" y="270"/>
                    <a:pt x="891" y="270"/>
                  </a:cubicBezTo>
                  <a:cubicBezTo>
                    <a:pt x="889" y="272"/>
                    <a:pt x="889" y="272"/>
                    <a:pt x="889" y="272"/>
                  </a:cubicBezTo>
                  <a:cubicBezTo>
                    <a:pt x="883" y="279"/>
                    <a:pt x="883" y="279"/>
                    <a:pt x="883" y="279"/>
                  </a:cubicBezTo>
                  <a:cubicBezTo>
                    <a:pt x="881" y="281"/>
                    <a:pt x="881" y="281"/>
                    <a:pt x="881" y="281"/>
                  </a:cubicBezTo>
                  <a:cubicBezTo>
                    <a:pt x="880" y="283"/>
                    <a:pt x="880" y="283"/>
                    <a:pt x="880" y="283"/>
                  </a:cubicBezTo>
                  <a:cubicBezTo>
                    <a:pt x="879" y="284"/>
                    <a:pt x="881" y="283"/>
                    <a:pt x="881" y="285"/>
                  </a:cubicBezTo>
                  <a:cubicBezTo>
                    <a:pt x="881" y="285"/>
                    <a:pt x="881" y="285"/>
                    <a:pt x="881" y="285"/>
                  </a:cubicBezTo>
                  <a:cubicBezTo>
                    <a:pt x="881" y="285"/>
                    <a:pt x="881" y="285"/>
                    <a:pt x="881" y="285"/>
                  </a:cubicBezTo>
                  <a:cubicBezTo>
                    <a:pt x="881" y="286"/>
                    <a:pt x="880" y="287"/>
                    <a:pt x="880" y="288"/>
                  </a:cubicBezTo>
                  <a:cubicBezTo>
                    <a:pt x="880" y="288"/>
                    <a:pt x="880" y="288"/>
                    <a:pt x="880" y="288"/>
                  </a:cubicBezTo>
                  <a:cubicBezTo>
                    <a:pt x="880" y="288"/>
                    <a:pt x="880" y="288"/>
                    <a:pt x="880" y="288"/>
                  </a:cubicBezTo>
                  <a:cubicBezTo>
                    <a:pt x="880" y="289"/>
                    <a:pt x="880" y="289"/>
                    <a:pt x="880" y="289"/>
                  </a:cubicBezTo>
                  <a:cubicBezTo>
                    <a:pt x="879" y="290"/>
                    <a:pt x="879" y="290"/>
                    <a:pt x="879" y="290"/>
                  </a:cubicBezTo>
                  <a:cubicBezTo>
                    <a:pt x="877" y="294"/>
                    <a:pt x="877" y="294"/>
                    <a:pt x="877" y="294"/>
                  </a:cubicBezTo>
                  <a:cubicBezTo>
                    <a:pt x="877" y="296"/>
                    <a:pt x="877" y="296"/>
                    <a:pt x="877" y="296"/>
                  </a:cubicBezTo>
                  <a:cubicBezTo>
                    <a:pt x="876" y="297"/>
                    <a:pt x="876" y="297"/>
                    <a:pt x="876" y="297"/>
                  </a:cubicBezTo>
                  <a:cubicBezTo>
                    <a:pt x="877" y="297"/>
                    <a:pt x="877" y="297"/>
                    <a:pt x="877" y="297"/>
                  </a:cubicBezTo>
                  <a:cubicBezTo>
                    <a:pt x="877" y="298"/>
                    <a:pt x="877" y="298"/>
                    <a:pt x="877" y="298"/>
                  </a:cubicBezTo>
                  <a:cubicBezTo>
                    <a:pt x="877" y="298"/>
                    <a:pt x="877" y="298"/>
                    <a:pt x="877" y="298"/>
                  </a:cubicBezTo>
                  <a:cubicBezTo>
                    <a:pt x="877" y="298"/>
                    <a:pt x="877" y="298"/>
                    <a:pt x="877" y="298"/>
                  </a:cubicBezTo>
                  <a:cubicBezTo>
                    <a:pt x="877" y="298"/>
                    <a:pt x="877" y="298"/>
                    <a:pt x="877" y="298"/>
                  </a:cubicBezTo>
                  <a:cubicBezTo>
                    <a:pt x="877" y="298"/>
                    <a:pt x="877" y="298"/>
                    <a:pt x="877" y="298"/>
                  </a:cubicBezTo>
                  <a:cubicBezTo>
                    <a:pt x="877" y="299"/>
                    <a:pt x="877" y="299"/>
                    <a:pt x="877" y="299"/>
                  </a:cubicBezTo>
                  <a:cubicBezTo>
                    <a:pt x="878" y="299"/>
                    <a:pt x="878" y="299"/>
                    <a:pt x="878" y="299"/>
                  </a:cubicBezTo>
                  <a:cubicBezTo>
                    <a:pt x="878" y="299"/>
                    <a:pt x="878" y="299"/>
                    <a:pt x="878" y="299"/>
                  </a:cubicBezTo>
                  <a:cubicBezTo>
                    <a:pt x="878" y="299"/>
                    <a:pt x="878" y="299"/>
                    <a:pt x="878" y="299"/>
                  </a:cubicBezTo>
                  <a:cubicBezTo>
                    <a:pt x="878" y="299"/>
                    <a:pt x="878" y="299"/>
                    <a:pt x="878" y="299"/>
                  </a:cubicBezTo>
                  <a:cubicBezTo>
                    <a:pt x="879" y="301"/>
                    <a:pt x="879" y="301"/>
                    <a:pt x="880" y="302"/>
                  </a:cubicBezTo>
                  <a:cubicBezTo>
                    <a:pt x="880" y="302"/>
                    <a:pt x="880" y="302"/>
                    <a:pt x="880" y="302"/>
                  </a:cubicBezTo>
                  <a:cubicBezTo>
                    <a:pt x="880" y="302"/>
                    <a:pt x="880" y="302"/>
                    <a:pt x="880" y="302"/>
                  </a:cubicBezTo>
                  <a:cubicBezTo>
                    <a:pt x="881" y="302"/>
                    <a:pt x="881" y="302"/>
                    <a:pt x="881" y="302"/>
                  </a:cubicBezTo>
                  <a:cubicBezTo>
                    <a:pt x="881" y="302"/>
                    <a:pt x="881" y="302"/>
                    <a:pt x="881" y="302"/>
                  </a:cubicBezTo>
                  <a:cubicBezTo>
                    <a:pt x="881" y="303"/>
                    <a:pt x="882" y="304"/>
                    <a:pt x="882" y="305"/>
                  </a:cubicBezTo>
                  <a:cubicBezTo>
                    <a:pt x="883" y="305"/>
                    <a:pt x="883" y="305"/>
                    <a:pt x="883" y="305"/>
                  </a:cubicBezTo>
                  <a:cubicBezTo>
                    <a:pt x="883" y="305"/>
                    <a:pt x="883" y="305"/>
                    <a:pt x="883" y="305"/>
                  </a:cubicBezTo>
                  <a:cubicBezTo>
                    <a:pt x="883" y="305"/>
                    <a:pt x="883" y="305"/>
                    <a:pt x="883" y="305"/>
                  </a:cubicBezTo>
                  <a:cubicBezTo>
                    <a:pt x="883" y="305"/>
                    <a:pt x="883" y="305"/>
                    <a:pt x="883" y="305"/>
                  </a:cubicBezTo>
                  <a:cubicBezTo>
                    <a:pt x="883" y="306"/>
                    <a:pt x="883" y="306"/>
                    <a:pt x="883" y="306"/>
                  </a:cubicBezTo>
                  <a:cubicBezTo>
                    <a:pt x="883" y="306"/>
                    <a:pt x="883" y="306"/>
                    <a:pt x="883" y="306"/>
                  </a:cubicBezTo>
                  <a:cubicBezTo>
                    <a:pt x="883" y="306"/>
                    <a:pt x="883" y="306"/>
                    <a:pt x="883" y="306"/>
                  </a:cubicBezTo>
                  <a:cubicBezTo>
                    <a:pt x="883" y="306"/>
                    <a:pt x="883" y="306"/>
                    <a:pt x="883" y="306"/>
                  </a:cubicBezTo>
                  <a:cubicBezTo>
                    <a:pt x="883" y="306"/>
                    <a:pt x="883" y="306"/>
                    <a:pt x="883" y="306"/>
                  </a:cubicBezTo>
                  <a:cubicBezTo>
                    <a:pt x="883" y="307"/>
                    <a:pt x="883" y="307"/>
                    <a:pt x="883" y="307"/>
                  </a:cubicBezTo>
                  <a:cubicBezTo>
                    <a:pt x="883" y="309"/>
                    <a:pt x="883" y="309"/>
                    <a:pt x="883" y="309"/>
                  </a:cubicBezTo>
                  <a:cubicBezTo>
                    <a:pt x="881" y="313"/>
                    <a:pt x="881" y="313"/>
                    <a:pt x="881" y="313"/>
                  </a:cubicBezTo>
                  <a:cubicBezTo>
                    <a:pt x="881" y="315"/>
                    <a:pt x="881" y="315"/>
                    <a:pt x="881" y="315"/>
                  </a:cubicBezTo>
                  <a:cubicBezTo>
                    <a:pt x="881" y="316"/>
                    <a:pt x="881" y="316"/>
                    <a:pt x="881" y="316"/>
                  </a:cubicBezTo>
                  <a:cubicBezTo>
                    <a:pt x="881" y="316"/>
                    <a:pt x="881" y="316"/>
                    <a:pt x="881" y="316"/>
                  </a:cubicBezTo>
                  <a:cubicBezTo>
                    <a:pt x="881" y="316"/>
                    <a:pt x="881" y="316"/>
                    <a:pt x="881" y="316"/>
                  </a:cubicBezTo>
                  <a:cubicBezTo>
                    <a:pt x="881" y="317"/>
                    <a:pt x="881" y="317"/>
                    <a:pt x="881" y="317"/>
                  </a:cubicBezTo>
                  <a:cubicBezTo>
                    <a:pt x="882" y="317"/>
                    <a:pt x="882" y="317"/>
                    <a:pt x="882" y="317"/>
                  </a:cubicBezTo>
                  <a:cubicBezTo>
                    <a:pt x="882" y="317"/>
                    <a:pt x="882" y="317"/>
                    <a:pt x="882" y="317"/>
                  </a:cubicBezTo>
                  <a:cubicBezTo>
                    <a:pt x="882" y="317"/>
                    <a:pt x="882" y="317"/>
                    <a:pt x="882" y="317"/>
                  </a:cubicBezTo>
                  <a:cubicBezTo>
                    <a:pt x="882" y="317"/>
                    <a:pt x="882" y="317"/>
                    <a:pt x="882" y="317"/>
                  </a:cubicBezTo>
                  <a:cubicBezTo>
                    <a:pt x="882" y="318"/>
                    <a:pt x="882" y="318"/>
                    <a:pt x="882" y="318"/>
                  </a:cubicBezTo>
                  <a:cubicBezTo>
                    <a:pt x="883" y="318"/>
                    <a:pt x="883" y="318"/>
                    <a:pt x="883" y="318"/>
                  </a:cubicBezTo>
                  <a:cubicBezTo>
                    <a:pt x="884" y="319"/>
                    <a:pt x="884" y="319"/>
                    <a:pt x="886" y="318"/>
                  </a:cubicBezTo>
                  <a:cubicBezTo>
                    <a:pt x="886" y="318"/>
                    <a:pt x="886" y="318"/>
                    <a:pt x="886" y="318"/>
                  </a:cubicBezTo>
                  <a:cubicBezTo>
                    <a:pt x="886" y="318"/>
                    <a:pt x="886" y="318"/>
                    <a:pt x="886" y="318"/>
                  </a:cubicBezTo>
                  <a:cubicBezTo>
                    <a:pt x="888" y="318"/>
                    <a:pt x="889" y="317"/>
                    <a:pt x="890" y="317"/>
                  </a:cubicBezTo>
                  <a:cubicBezTo>
                    <a:pt x="890" y="317"/>
                    <a:pt x="890" y="317"/>
                    <a:pt x="890" y="317"/>
                  </a:cubicBezTo>
                  <a:cubicBezTo>
                    <a:pt x="890" y="317"/>
                    <a:pt x="890" y="317"/>
                    <a:pt x="890" y="317"/>
                  </a:cubicBezTo>
                  <a:cubicBezTo>
                    <a:pt x="891" y="317"/>
                    <a:pt x="891" y="317"/>
                    <a:pt x="891" y="317"/>
                  </a:cubicBezTo>
                  <a:cubicBezTo>
                    <a:pt x="894" y="316"/>
                    <a:pt x="896" y="317"/>
                    <a:pt x="899" y="319"/>
                  </a:cubicBezTo>
                  <a:cubicBezTo>
                    <a:pt x="900" y="319"/>
                    <a:pt x="900" y="319"/>
                    <a:pt x="900" y="319"/>
                  </a:cubicBezTo>
                  <a:cubicBezTo>
                    <a:pt x="900" y="319"/>
                    <a:pt x="900" y="319"/>
                    <a:pt x="900" y="319"/>
                  </a:cubicBezTo>
                  <a:cubicBezTo>
                    <a:pt x="900" y="319"/>
                    <a:pt x="900" y="319"/>
                    <a:pt x="900" y="319"/>
                  </a:cubicBezTo>
                  <a:cubicBezTo>
                    <a:pt x="901" y="319"/>
                    <a:pt x="901" y="319"/>
                    <a:pt x="901" y="319"/>
                  </a:cubicBezTo>
                  <a:cubicBezTo>
                    <a:pt x="901" y="319"/>
                    <a:pt x="901" y="319"/>
                    <a:pt x="901" y="319"/>
                  </a:cubicBezTo>
                  <a:cubicBezTo>
                    <a:pt x="903" y="318"/>
                    <a:pt x="903" y="318"/>
                    <a:pt x="905" y="318"/>
                  </a:cubicBezTo>
                  <a:cubicBezTo>
                    <a:pt x="905" y="318"/>
                    <a:pt x="905" y="318"/>
                    <a:pt x="905" y="318"/>
                  </a:cubicBezTo>
                  <a:cubicBezTo>
                    <a:pt x="905" y="318"/>
                    <a:pt x="905" y="318"/>
                    <a:pt x="905" y="318"/>
                  </a:cubicBezTo>
                  <a:cubicBezTo>
                    <a:pt x="907" y="318"/>
                    <a:pt x="905" y="317"/>
                    <a:pt x="908" y="316"/>
                  </a:cubicBezTo>
                  <a:cubicBezTo>
                    <a:pt x="908" y="316"/>
                    <a:pt x="908" y="316"/>
                    <a:pt x="908" y="316"/>
                  </a:cubicBezTo>
                  <a:cubicBezTo>
                    <a:pt x="909" y="315"/>
                    <a:pt x="909" y="315"/>
                    <a:pt x="909" y="315"/>
                  </a:cubicBezTo>
                  <a:cubicBezTo>
                    <a:pt x="909" y="315"/>
                    <a:pt x="909" y="315"/>
                    <a:pt x="909" y="315"/>
                  </a:cubicBezTo>
                  <a:cubicBezTo>
                    <a:pt x="909" y="315"/>
                    <a:pt x="909" y="315"/>
                    <a:pt x="909" y="315"/>
                  </a:cubicBezTo>
                  <a:cubicBezTo>
                    <a:pt x="911" y="315"/>
                    <a:pt x="910" y="314"/>
                    <a:pt x="913" y="314"/>
                  </a:cubicBezTo>
                  <a:cubicBezTo>
                    <a:pt x="913" y="313"/>
                    <a:pt x="913" y="313"/>
                    <a:pt x="913" y="313"/>
                  </a:cubicBezTo>
                  <a:cubicBezTo>
                    <a:pt x="913" y="313"/>
                    <a:pt x="913" y="313"/>
                    <a:pt x="913" y="313"/>
                  </a:cubicBezTo>
                  <a:cubicBezTo>
                    <a:pt x="914" y="313"/>
                    <a:pt x="916" y="313"/>
                    <a:pt x="917" y="313"/>
                  </a:cubicBezTo>
                  <a:cubicBezTo>
                    <a:pt x="918" y="313"/>
                    <a:pt x="918" y="313"/>
                    <a:pt x="918" y="313"/>
                  </a:cubicBezTo>
                  <a:cubicBezTo>
                    <a:pt x="918" y="313"/>
                    <a:pt x="918" y="313"/>
                    <a:pt x="918" y="313"/>
                  </a:cubicBezTo>
                  <a:cubicBezTo>
                    <a:pt x="918" y="313"/>
                    <a:pt x="918" y="313"/>
                    <a:pt x="918" y="313"/>
                  </a:cubicBezTo>
                  <a:cubicBezTo>
                    <a:pt x="919" y="314"/>
                    <a:pt x="919" y="314"/>
                    <a:pt x="919" y="314"/>
                  </a:cubicBezTo>
                  <a:cubicBezTo>
                    <a:pt x="919" y="314"/>
                    <a:pt x="919" y="314"/>
                    <a:pt x="919" y="314"/>
                  </a:cubicBezTo>
                  <a:cubicBezTo>
                    <a:pt x="919" y="314"/>
                    <a:pt x="919" y="314"/>
                    <a:pt x="919" y="314"/>
                  </a:cubicBezTo>
                  <a:cubicBezTo>
                    <a:pt x="925" y="314"/>
                    <a:pt x="922" y="312"/>
                    <a:pt x="928" y="315"/>
                  </a:cubicBezTo>
                  <a:cubicBezTo>
                    <a:pt x="928" y="315"/>
                    <a:pt x="928" y="315"/>
                    <a:pt x="928" y="315"/>
                  </a:cubicBezTo>
                  <a:cubicBezTo>
                    <a:pt x="928" y="315"/>
                    <a:pt x="928" y="315"/>
                    <a:pt x="928" y="315"/>
                  </a:cubicBezTo>
                  <a:cubicBezTo>
                    <a:pt x="929" y="315"/>
                    <a:pt x="929" y="315"/>
                    <a:pt x="929" y="315"/>
                  </a:cubicBezTo>
                  <a:cubicBezTo>
                    <a:pt x="930" y="316"/>
                    <a:pt x="930" y="316"/>
                    <a:pt x="932" y="317"/>
                  </a:cubicBezTo>
                  <a:cubicBezTo>
                    <a:pt x="933" y="317"/>
                    <a:pt x="933" y="317"/>
                    <a:pt x="933" y="317"/>
                  </a:cubicBezTo>
                  <a:cubicBezTo>
                    <a:pt x="935" y="317"/>
                    <a:pt x="934" y="316"/>
                    <a:pt x="937" y="317"/>
                  </a:cubicBezTo>
                  <a:cubicBezTo>
                    <a:pt x="937" y="317"/>
                    <a:pt x="937" y="317"/>
                    <a:pt x="937" y="317"/>
                  </a:cubicBezTo>
                  <a:cubicBezTo>
                    <a:pt x="937" y="317"/>
                    <a:pt x="937" y="317"/>
                    <a:pt x="937" y="317"/>
                  </a:cubicBezTo>
                  <a:cubicBezTo>
                    <a:pt x="938" y="317"/>
                    <a:pt x="938" y="317"/>
                    <a:pt x="938" y="317"/>
                  </a:cubicBezTo>
                  <a:cubicBezTo>
                    <a:pt x="938" y="317"/>
                    <a:pt x="938" y="317"/>
                    <a:pt x="938" y="317"/>
                  </a:cubicBezTo>
                  <a:cubicBezTo>
                    <a:pt x="938" y="318"/>
                    <a:pt x="938" y="318"/>
                    <a:pt x="938" y="318"/>
                  </a:cubicBezTo>
                  <a:cubicBezTo>
                    <a:pt x="939" y="318"/>
                    <a:pt x="939" y="318"/>
                    <a:pt x="939" y="318"/>
                  </a:cubicBezTo>
                  <a:cubicBezTo>
                    <a:pt x="940" y="318"/>
                    <a:pt x="939" y="319"/>
                    <a:pt x="940" y="320"/>
                  </a:cubicBezTo>
                  <a:cubicBezTo>
                    <a:pt x="940" y="320"/>
                    <a:pt x="940" y="320"/>
                    <a:pt x="940" y="320"/>
                  </a:cubicBezTo>
                  <a:cubicBezTo>
                    <a:pt x="941" y="321"/>
                    <a:pt x="941" y="321"/>
                    <a:pt x="941" y="321"/>
                  </a:cubicBezTo>
                  <a:cubicBezTo>
                    <a:pt x="941" y="321"/>
                    <a:pt x="942" y="321"/>
                    <a:pt x="943" y="321"/>
                  </a:cubicBezTo>
                  <a:cubicBezTo>
                    <a:pt x="943" y="321"/>
                    <a:pt x="943" y="321"/>
                    <a:pt x="943" y="321"/>
                  </a:cubicBezTo>
                  <a:cubicBezTo>
                    <a:pt x="943" y="321"/>
                    <a:pt x="943" y="321"/>
                    <a:pt x="943" y="321"/>
                  </a:cubicBezTo>
                  <a:cubicBezTo>
                    <a:pt x="944" y="322"/>
                    <a:pt x="944" y="322"/>
                    <a:pt x="944" y="322"/>
                  </a:cubicBezTo>
                  <a:cubicBezTo>
                    <a:pt x="949" y="322"/>
                    <a:pt x="948" y="324"/>
                    <a:pt x="952" y="324"/>
                  </a:cubicBezTo>
                  <a:cubicBezTo>
                    <a:pt x="952" y="324"/>
                    <a:pt x="952" y="324"/>
                    <a:pt x="952" y="324"/>
                  </a:cubicBezTo>
                  <a:cubicBezTo>
                    <a:pt x="953" y="324"/>
                    <a:pt x="953" y="324"/>
                    <a:pt x="953" y="324"/>
                  </a:cubicBezTo>
                  <a:cubicBezTo>
                    <a:pt x="953" y="324"/>
                    <a:pt x="953" y="324"/>
                    <a:pt x="953" y="324"/>
                  </a:cubicBezTo>
                  <a:cubicBezTo>
                    <a:pt x="953" y="324"/>
                    <a:pt x="953" y="324"/>
                    <a:pt x="953" y="324"/>
                  </a:cubicBezTo>
                  <a:cubicBezTo>
                    <a:pt x="954" y="324"/>
                    <a:pt x="954" y="324"/>
                    <a:pt x="954" y="324"/>
                  </a:cubicBezTo>
                  <a:cubicBezTo>
                    <a:pt x="954" y="325"/>
                    <a:pt x="954" y="325"/>
                    <a:pt x="954" y="325"/>
                  </a:cubicBezTo>
                  <a:cubicBezTo>
                    <a:pt x="955" y="327"/>
                    <a:pt x="955" y="327"/>
                    <a:pt x="955" y="327"/>
                  </a:cubicBezTo>
                  <a:cubicBezTo>
                    <a:pt x="956" y="332"/>
                    <a:pt x="956" y="332"/>
                    <a:pt x="956" y="332"/>
                  </a:cubicBezTo>
                  <a:cubicBezTo>
                    <a:pt x="956" y="333"/>
                    <a:pt x="956" y="333"/>
                    <a:pt x="956" y="333"/>
                  </a:cubicBezTo>
                  <a:cubicBezTo>
                    <a:pt x="956" y="335"/>
                    <a:pt x="956" y="335"/>
                    <a:pt x="956" y="335"/>
                  </a:cubicBezTo>
                  <a:cubicBezTo>
                    <a:pt x="957" y="335"/>
                    <a:pt x="957" y="335"/>
                    <a:pt x="957" y="335"/>
                  </a:cubicBezTo>
                  <a:cubicBezTo>
                    <a:pt x="957" y="335"/>
                    <a:pt x="957" y="335"/>
                    <a:pt x="957" y="335"/>
                  </a:cubicBezTo>
                  <a:cubicBezTo>
                    <a:pt x="957" y="336"/>
                    <a:pt x="957" y="336"/>
                    <a:pt x="957" y="336"/>
                  </a:cubicBezTo>
                  <a:cubicBezTo>
                    <a:pt x="957" y="337"/>
                    <a:pt x="957" y="337"/>
                    <a:pt x="957" y="337"/>
                  </a:cubicBezTo>
                  <a:cubicBezTo>
                    <a:pt x="958" y="337"/>
                    <a:pt x="958" y="337"/>
                    <a:pt x="958" y="337"/>
                  </a:cubicBezTo>
                  <a:cubicBezTo>
                    <a:pt x="958" y="338"/>
                    <a:pt x="958" y="338"/>
                    <a:pt x="958" y="338"/>
                  </a:cubicBezTo>
                  <a:cubicBezTo>
                    <a:pt x="958" y="338"/>
                    <a:pt x="958" y="338"/>
                    <a:pt x="958" y="338"/>
                  </a:cubicBezTo>
                  <a:cubicBezTo>
                    <a:pt x="959" y="337"/>
                    <a:pt x="959" y="337"/>
                    <a:pt x="959" y="337"/>
                  </a:cubicBezTo>
                  <a:cubicBezTo>
                    <a:pt x="959" y="338"/>
                    <a:pt x="959" y="338"/>
                    <a:pt x="959" y="338"/>
                  </a:cubicBezTo>
                  <a:cubicBezTo>
                    <a:pt x="959" y="338"/>
                    <a:pt x="959" y="338"/>
                    <a:pt x="959" y="338"/>
                  </a:cubicBezTo>
                  <a:cubicBezTo>
                    <a:pt x="960" y="339"/>
                    <a:pt x="960" y="339"/>
                    <a:pt x="960" y="339"/>
                  </a:cubicBezTo>
                  <a:cubicBezTo>
                    <a:pt x="960" y="339"/>
                    <a:pt x="960" y="339"/>
                    <a:pt x="960" y="339"/>
                  </a:cubicBezTo>
                  <a:cubicBezTo>
                    <a:pt x="960" y="340"/>
                    <a:pt x="960" y="340"/>
                    <a:pt x="960" y="340"/>
                  </a:cubicBezTo>
                  <a:cubicBezTo>
                    <a:pt x="960" y="340"/>
                    <a:pt x="960" y="340"/>
                    <a:pt x="960" y="340"/>
                  </a:cubicBezTo>
                  <a:cubicBezTo>
                    <a:pt x="961" y="341"/>
                    <a:pt x="961" y="341"/>
                    <a:pt x="961" y="341"/>
                  </a:cubicBezTo>
                  <a:cubicBezTo>
                    <a:pt x="961" y="341"/>
                    <a:pt x="961" y="341"/>
                    <a:pt x="961" y="341"/>
                  </a:cubicBezTo>
                  <a:cubicBezTo>
                    <a:pt x="961" y="342"/>
                    <a:pt x="961" y="342"/>
                    <a:pt x="961" y="342"/>
                  </a:cubicBezTo>
                  <a:cubicBezTo>
                    <a:pt x="961" y="342"/>
                    <a:pt x="961" y="342"/>
                    <a:pt x="961" y="342"/>
                  </a:cubicBezTo>
                  <a:cubicBezTo>
                    <a:pt x="962" y="342"/>
                    <a:pt x="962" y="342"/>
                    <a:pt x="963" y="343"/>
                  </a:cubicBezTo>
                  <a:cubicBezTo>
                    <a:pt x="964" y="345"/>
                    <a:pt x="964" y="345"/>
                    <a:pt x="964" y="345"/>
                  </a:cubicBezTo>
                  <a:cubicBezTo>
                    <a:pt x="965" y="346"/>
                    <a:pt x="965" y="346"/>
                    <a:pt x="965" y="346"/>
                  </a:cubicBezTo>
                  <a:cubicBezTo>
                    <a:pt x="965" y="346"/>
                    <a:pt x="965" y="346"/>
                    <a:pt x="965" y="346"/>
                  </a:cubicBezTo>
                  <a:cubicBezTo>
                    <a:pt x="964" y="346"/>
                    <a:pt x="964" y="346"/>
                    <a:pt x="964" y="346"/>
                  </a:cubicBezTo>
                  <a:cubicBezTo>
                    <a:pt x="964" y="346"/>
                    <a:pt x="964" y="346"/>
                    <a:pt x="964" y="346"/>
                  </a:cubicBezTo>
                  <a:cubicBezTo>
                    <a:pt x="962" y="347"/>
                    <a:pt x="960" y="347"/>
                    <a:pt x="958" y="347"/>
                  </a:cubicBezTo>
                  <a:cubicBezTo>
                    <a:pt x="958" y="347"/>
                    <a:pt x="958" y="347"/>
                    <a:pt x="958" y="347"/>
                  </a:cubicBezTo>
                  <a:cubicBezTo>
                    <a:pt x="958" y="347"/>
                    <a:pt x="958" y="347"/>
                    <a:pt x="958" y="347"/>
                  </a:cubicBezTo>
                  <a:cubicBezTo>
                    <a:pt x="954" y="347"/>
                    <a:pt x="952" y="352"/>
                    <a:pt x="952" y="355"/>
                  </a:cubicBezTo>
                  <a:cubicBezTo>
                    <a:pt x="952" y="356"/>
                    <a:pt x="952" y="356"/>
                    <a:pt x="952" y="356"/>
                  </a:cubicBezTo>
                  <a:cubicBezTo>
                    <a:pt x="953" y="356"/>
                    <a:pt x="953" y="356"/>
                    <a:pt x="953" y="356"/>
                  </a:cubicBezTo>
                  <a:cubicBezTo>
                    <a:pt x="953" y="357"/>
                    <a:pt x="953" y="357"/>
                    <a:pt x="953" y="357"/>
                  </a:cubicBezTo>
                  <a:cubicBezTo>
                    <a:pt x="953" y="358"/>
                    <a:pt x="953" y="358"/>
                    <a:pt x="953" y="358"/>
                  </a:cubicBezTo>
                  <a:cubicBezTo>
                    <a:pt x="952" y="361"/>
                    <a:pt x="952" y="361"/>
                    <a:pt x="952" y="361"/>
                  </a:cubicBezTo>
                  <a:cubicBezTo>
                    <a:pt x="952" y="362"/>
                    <a:pt x="952" y="362"/>
                    <a:pt x="952" y="362"/>
                  </a:cubicBezTo>
                  <a:cubicBezTo>
                    <a:pt x="952" y="362"/>
                    <a:pt x="952" y="362"/>
                    <a:pt x="952" y="362"/>
                  </a:cubicBezTo>
                  <a:cubicBezTo>
                    <a:pt x="952" y="362"/>
                    <a:pt x="952" y="362"/>
                    <a:pt x="952" y="362"/>
                  </a:cubicBezTo>
                  <a:cubicBezTo>
                    <a:pt x="952" y="363"/>
                    <a:pt x="952" y="363"/>
                    <a:pt x="952" y="363"/>
                  </a:cubicBezTo>
                  <a:cubicBezTo>
                    <a:pt x="952" y="363"/>
                    <a:pt x="952" y="363"/>
                    <a:pt x="952" y="363"/>
                  </a:cubicBezTo>
                  <a:cubicBezTo>
                    <a:pt x="952" y="363"/>
                    <a:pt x="952" y="363"/>
                    <a:pt x="952" y="363"/>
                  </a:cubicBezTo>
                  <a:cubicBezTo>
                    <a:pt x="953" y="363"/>
                    <a:pt x="953" y="363"/>
                    <a:pt x="953" y="363"/>
                  </a:cubicBezTo>
                  <a:cubicBezTo>
                    <a:pt x="953" y="363"/>
                    <a:pt x="953" y="363"/>
                    <a:pt x="953" y="363"/>
                  </a:cubicBezTo>
                  <a:cubicBezTo>
                    <a:pt x="953" y="363"/>
                    <a:pt x="953" y="363"/>
                    <a:pt x="953" y="363"/>
                  </a:cubicBezTo>
                  <a:cubicBezTo>
                    <a:pt x="954" y="363"/>
                    <a:pt x="954" y="363"/>
                    <a:pt x="954" y="363"/>
                  </a:cubicBezTo>
                  <a:cubicBezTo>
                    <a:pt x="954" y="363"/>
                    <a:pt x="954" y="363"/>
                    <a:pt x="954" y="363"/>
                  </a:cubicBezTo>
                  <a:cubicBezTo>
                    <a:pt x="954" y="363"/>
                    <a:pt x="954" y="363"/>
                    <a:pt x="954" y="363"/>
                  </a:cubicBezTo>
                  <a:cubicBezTo>
                    <a:pt x="955" y="363"/>
                    <a:pt x="955" y="363"/>
                    <a:pt x="955" y="363"/>
                  </a:cubicBezTo>
                  <a:cubicBezTo>
                    <a:pt x="955" y="363"/>
                    <a:pt x="955" y="363"/>
                    <a:pt x="955" y="363"/>
                  </a:cubicBezTo>
                  <a:cubicBezTo>
                    <a:pt x="955" y="363"/>
                    <a:pt x="955" y="363"/>
                    <a:pt x="955" y="363"/>
                  </a:cubicBezTo>
                  <a:cubicBezTo>
                    <a:pt x="956" y="363"/>
                    <a:pt x="956" y="363"/>
                    <a:pt x="956" y="363"/>
                  </a:cubicBezTo>
                  <a:cubicBezTo>
                    <a:pt x="956" y="363"/>
                    <a:pt x="956" y="363"/>
                    <a:pt x="956" y="363"/>
                  </a:cubicBezTo>
                  <a:cubicBezTo>
                    <a:pt x="956" y="363"/>
                    <a:pt x="956" y="363"/>
                    <a:pt x="956" y="363"/>
                  </a:cubicBezTo>
                  <a:cubicBezTo>
                    <a:pt x="957" y="363"/>
                    <a:pt x="957" y="363"/>
                    <a:pt x="957" y="363"/>
                  </a:cubicBezTo>
                  <a:cubicBezTo>
                    <a:pt x="957" y="363"/>
                    <a:pt x="957" y="363"/>
                    <a:pt x="957" y="363"/>
                  </a:cubicBezTo>
                  <a:cubicBezTo>
                    <a:pt x="957" y="363"/>
                    <a:pt x="957" y="363"/>
                    <a:pt x="957" y="363"/>
                  </a:cubicBezTo>
                  <a:cubicBezTo>
                    <a:pt x="957" y="362"/>
                    <a:pt x="957" y="362"/>
                    <a:pt x="957" y="362"/>
                  </a:cubicBezTo>
                  <a:cubicBezTo>
                    <a:pt x="957" y="362"/>
                    <a:pt x="957" y="362"/>
                    <a:pt x="957" y="362"/>
                  </a:cubicBezTo>
                  <a:cubicBezTo>
                    <a:pt x="957" y="362"/>
                    <a:pt x="957" y="362"/>
                    <a:pt x="957" y="362"/>
                  </a:cubicBezTo>
                  <a:cubicBezTo>
                    <a:pt x="958" y="362"/>
                    <a:pt x="958" y="362"/>
                    <a:pt x="958" y="362"/>
                  </a:cubicBezTo>
                  <a:cubicBezTo>
                    <a:pt x="958" y="362"/>
                    <a:pt x="958" y="362"/>
                    <a:pt x="958" y="362"/>
                  </a:cubicBezTo>
                  <a:cubicBezTo>
                    <a:pt x="958" y="362"/>
                    <a:pt x="958" y="362"/>
                    <a:pt x="958" y="362"/>
                  </a:cubicBezTo>
                  <a:cubicBezTo>
                    <a:pt x="960" y="365"/>
                    <a:pt x="959" y="365"/>
                    <a:pt x="961" y="364"/>
                  </a:cubicBezTo>
                  <a:cubicBezTo>
                    <a:pt x="961" y="364"/>
                    <a:pt x="961" y="364"/>
                    <a:pt x="961" y="364"/>
                  </a:cubicBezTo>
                  <a:cubicBezTo>
                    <a:pt x="962" y="364"/>
                    <a:pt x="962" y="364"/>
                    <a:pt x="962" y="364"/>
                  </a:cubicBezTo>
                  <a:cubicBezTo>
                    <a:pt x="962" y="364"/>
                    <a:pt x="962" y="364"/>
                    <a:pt x="962" y="364"/>
                  </a:cubicBezTo>
                  <a:cubicBezTo>
                    <a:pt x="963" y="365"/>
                    <a:pt x="962" y="365"/>
                    <a:pt x="963" y="365"/>
                  </a:cubicBezTo>
                  <a:cubicBezTo>
                    <a:pt x="963" y="365"/>
                    <a:pt x="963" y="365"/>
                    <a:pt x="963" y="365"/>
                  </a:cubicBezTo>
                  <a:cubicBezTo>
                    <a:pt x="964" y="366"/>
                    <a:pt x="964" y="366"/>
                    <a:pt x="964" y="366"/>
                  </a:cubicBezTo>
                  <a:cubicBezTo>
                    <a:pt x="964" y="366"/>
                    <a:pt x="965" y="366"/>
                    <a:pt x="965" y="365"/>
                  </a:cubicBezTo>
                  <a:cubicBezTo>
                    <a:pt x="965" y="365"/>
                    <a:pt x="965" y="365"/>
                    <a:pt x="965" y="365"/>
                  </a:cubicBezTo>
                  <a:cubicBezTo>
                    <a:pt x="966" y="365"/>
                    <a:pt x="966" y="365"/>
                    <a:pt x="966" y="365"/>
                  </a:cubicBezTo>
                  <a:cubicBezTo>
                    <a:pt x="966" y="365"/>
                    <a:pt x="966" y="365"/>
                    <a:pt x="966" y="365"/>
                  </a:cubicBezTo>
                  <a:cubicBezTo>
                    <a:pt x="966" y="366"/>
                    <a:pt x="966" y="366"/>
                    <a:pt x="966" y="366"/>
                  </a:cubicBezTo>
                  <a:cubicBezTo>
                    <a:pt x="967" y="366"/>
                    <a:pt x="967" y="366"/>
                    <a:pt x="967" y="366"/>
                  </a:cubicBezTo>
                  <a:cubicBezTo>
                    <a:pt x="967" y="365"/>
                    <a:pt x="967" y="365"/>
                    <a:pt x="967" y="365"/>
                  </a:cubicBezTo>
                  <a:cubicBezTo>
                    <a:pt x="967" y="365"/>
                    <a:pt x="968" y="365"/>
                    <a:pt x="968" y="365"/>
                  </a:cubicBezTo>
                  <a:cubicBezTo>
                    <a:pt x="968" y="366"/>
                    <a:pt x="968" y="366"/>
                    <a:pt x="968"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6"/>
                    <a:pt x="969" y="366"/>
                    <a:pt x="969" y="366"/>
                  </a:cubicBezTo>
                  <a:cubicBezTo>
                    <a:pt x="969" y="365"/>
                    <a:pt x="969" y="365"/>
                    <a:pt x="969" y="365"/>
                  </a:cubicBezTo>
                  <a:cubicBezTo>
                    <a:pt x="970" y="365"/>
                    <a:pt x="970" y="365"/>
                    <a:pt x="970" y="365"/>
                  </a:cubicBezTo>
                  <a:cubicBezTo>
                    <a:pt x="970" y="365"/>
                    <a:pt x="970" y="365"/>
                    <a:pt x="970" y="365"/>
                  </a:cubicBezTo>
                  <a:cubicBezTo>
                    <a:pt x="970" y="365"/>
                    <a:pt x="970" y="365"/>
                    <a:pt x="970" y="365"/>
                  </a:cubicBezTo>
                  <a:cubicBezTo>
                    <a:pt x="970" y="364"/>
                    <a:pt x="970" y="364"/>
                    <a:pt x="970" y="364"/>
                  </a:cubicBezTo>
                  <a:cubicBezTo>
                    <a:pt x="970" y="364"/>
                    <a:pt x="970" y="364"/>
                    <a:pt x="970" y="364"/>
                  </a:cubicBezTo>
                  <a:cubicBezTo>
                    <a:pt x="970" y="364"/>
                    <a:pt x="970" y="364"/>
                    <a:pt x="970" y="364"/>
                  </a:cubicBezTo>
                  <a:cubicBezTo>
                    <a:pt x="970" y="364"/>
                    <a:pt x="970" y="364"/>
                    <a:pt x="970" y="364"/>
                  </a:cubicBezTo>
                  <a:cubicBezTo>
                    <a:pt x="970" y="365"/>
                    <a:pt x="970" y="365"/>
                    <a:pt x="970" y="365"/>
                  </a:cubicBezTo>
                  <a:cubicBezTo>
                    <a:pt x="970" y="365"/>
                    <a:pt x="970" y="365"/>
                    <a:pt x="970" y="365"/>
                  </a:cubicBezTo>
                  <a:cubicBezTo>
                    <a:pt x="971" y="365"/>
                    <a:pt x="971" y="365"/>
                    <a:pt x="971" y="365"/>
                  </a:cubicBezTo>
                  <a:cubicBezTo>
                    <a:pt x="971" y="365"/>
                    <a:pt x="971" y="365"/>
                    <a:pt x="971" y="365"/>
                  </a:cubicBezTo>
                  <a:cubicBezTo>
                    <a:pt x="971" y="365"/>
                    <a:pt x="971" y="365"/>
                    <a:pt x="971" y="365"/>
                  </a:cubicBezTo>
                  <a:cubicBezTo>
                    <a:pt x="971" y="366"/>
                    <a:pt x="971" y="366"/>
                    <a:pt x="971" y="366"/>
                  </a:cubicBezTo>
                  <a:cubicBezTo>
                    <a:pt x="972" y="366"/>
                    <a:pt x="972" y="366"/>
                    <a:pt x="972" y="366"/>
                  </a:cubicBezTo>
                  <a:cubicBezTo>
                    <a:pt x="973" y="366"/>
                    <a:pt x="973" y="366"/>
                    <a:pt x="973" y="366"/>
                  </a:cubicBezTo>
                  <a:cubicBezTo>
                    <a:pt x="973" y="366"/>
                    <a:pt x="973" y="366"/>
                    <a:pt x="973" y="366"/>
                  </a:cubicBezTo>
                  <a:cubicBezTo>
                    <a:pt x="973" y="366"/>
                    <a:pt x="973" y="366"/>
                    <a:pt x="973" y="366"/>
                  </a:cubicBezTo>
                  <a:cubicBezTo>
                    <a:pt x="973" y="366"/>
                    <a:pt x="973" y="366"/>
                    <a:pt x="973" y="366"/>
                  </a:cubicBezTo>
                  <a:cubicBezTo>
                    <a:pt x="972" y="367"/>
                    <a:pt x="972" y="367"/>
                    <a:pt x="972" y="367"/>
                  </a:cubicBezTo>
                  <a:cubicBezTo>
                    <a:pt x="971" y="367"/>
                    <a:pt x="971" y="367"/>
                    <a:pt x="971" y="367"/>
                  </a:cubicBezTo>
                  <a:cubicBezTo>
                    <a:pt x="971" y="367"/>
                    <a:pt x="971" y="367"/>
                    <a:pt x="971" y="367"/>
                  </a:cubicBezTo>
                  <a:cubicBezTo>
                    <a:pt x="971" y="367"/>
                    <a:pt x="971" y="367"/>
                    <a:pt x="971" y="367"/>
                  </a:cubicBezTo>
                  <a:cubicBezTo>
                    <a:pt x="971" y="367"/>
                    <a:pt x="971" y="367"/>
                    <a:pt x="971" y="367"/>
                  </a:cubicBezTo>
                  <a:cubicBezTo>
                    <a:pt x="973" y="367"/>
                    <a:pt x="974" y="368"/>
                    <a:pt x="975" y="367"/>
                  </a:cubicBezTo>
                  <a:cubicBezTo>
                    <a:pt x="975" y="366"/>
                    <a:pt x="975" y="366"/>
                    <a:pt x="975" y="366"/>
                  </a:cubicBezTo>
                  <a:cubicBezTo>
                    <a:pt x="975" y="366"/>
                    <a:pt x="975" y="366"/>
                    <a:pt x="975" y="366"/>
                  </a:cubicBezTo>
                  <a:cubicBezTo>
                    <a:pt x="975" y="366"/>
                    <a:pt x="975" y="366"/>
                    <a:pt x="975" y="366"/>
                  </a:cubicBezTo>
                  <a:cubicBezTo>
                    <a:pt x="976" y="366"/>
                    <a:pt x="976" y="366"/>
                    <a:pt x="976" y="366"/>
                  </a:cubicBezTo>
                  <a:cubicBezTo>
                    <a:pt x="976" y="366"/>
                    <a:pt x="976" y="366"/>
                    <a:pt x="976" y="366"/>
                  </a:cubicBezTo>
                  <a:cubicBezTo>
                    <a:pt x="976" y="366"/>
                    <a:pt x="976" y="366"/>
                    <a:pt x="976" y="366"/>
                  </a:cubicBezTo>
                  <a:cubicBezTo>
                    <a:pt x="977" y="366"/>
                    <a:pt x="977" y="366"/>
                    <a:pt x="977" y="366"/>
                  </a:cubicBezTo>
                  <a:cubicBezTo>
                    <a:pt x="977" y="367"/>
                    <a:pt x="977" y="367"/>
                    <a:pt x="977" y="367"/>
                  </a:cubicBezTo>
                  <a:cubicBezTo>
                    <a:pt x="977" y="367"/>
                    <a:pt x="977" y="367"/>
                    <a:pt x="977" y="367"/>
                  </a:cubicBezTo>
                  <a:cubicBezTo>
                    <a:pt x="978" y="367"/>
                    <a:pt x="978" y="367"/>
                    <a:pt x="978" y="367"/>
                  </a:cubicBezTo>
                  <a:cubicBezTo>
                    <a:pt x="978" y="367"/>
                    <a:pt x="978" y="367"/>
                    <a:pt x="978" y="367"/>
                  </a:cubicBezTo>
                  <a:cubicBezTo>
                    <a:pt x="978" y="367"/>
                    <a:pt x="978" y="367"/>
                    <a:pt x="978" y="367"/>
                  </a:cubicBezTo>
                  <a:cubicBezTo>
                    <a:pt x="979" y="367"/>
                    <a:pt x="979" y="367"/>
                    <a:pt x="979" y="367"/>
                  </a:cubicBezTo>
                  <a:cubicBezTo>
                    <a:pt x="979" y="368"/>
                    <a:pt x="979" y="368"/>
                    <a:pt x="979" y="368"/>
                  </a:cubicBezTo>
                  <a:cubicBezTo>
                    <a:pt x="981" y="368"/>
                    <a:pt x="981" y="368"/>
                    <a:pt x="981" y="368"/>
                  </a:cubicBezTo>
                  <a:cubicBezTo>
                    <a:pt x="981" y="368"/>
                    <a:pt x="981" y="368"/>
                    <a:pt x="981" y="368"/>
                  </a:cubicBezTo>
                  <a:cubicBezTo>
                    <a:pt x="981" y="369"/>
                    <a:pt x="981" y="369"/>
                    <a:pt x="981" y="369"/>
                  </a:cubicBezTo>
                  <a:cubicBezTo>
                    <a:pt x="981" y="369"/>
                    <a:pt x="981" y="369"/>
                    <a:pt x="981" y="369"/>
                  </a:cubicBezTo>
                  <a:cubicBezTo>
                    <a:pt x="981" y="369"/>
                    <a:pt x="981" y="369"/>
                    <a:pt x="981" y="369"/>
                  </a:cubicBezTo>
                  <a:cubicBezTo>
                    <a:pt x="979" y="369"/>
                    <a:pt x="977" y="368"/>
                    <a:pt x="975" y="368"/>
                  </a:cubicBezTo>
                  <a:cubicBezTo>
                    <a:pt x="975" y="368"/>
                    <a:pt x="975" y="368"/>
                    <a:pt x="975" y="368"/>
                  </a:cubicBezTo>
                  <a:cubicBezTo>
                    <a:pt x="975" y="368"/>
                    <a:pt x="975" y="368"/>
                    <a:pt x="975" y="368"/>
                  </a:cubicBezTo>
                  <a:cubicBezTo>
                    <a:pt x="974" y="368"/>
                    <a:pt x="974" y="368"/>
                    <a:pt x="974" y="368"/>
                  </a:cubicBezTo>
                  <a:cubicBezTo>
                    <a:pt x="974" y="368"/>
                    <a:pt x="973" y="368"/>
                    <a:pt x="973" y="368"/>
                  </a:cubicBezTo>
                  <a:cubicBezTo>
                    <a:pt x="972" y="368"/>
                    <a:pt x="972" y="368"/>
                    <a:pt x="972" y="368"/>
                  </a:cubicBezTo>
                  <a:cubicBezTo>
                    <a:pt x="972" y="368"/>
                    <a:pt x="972" y="368"/>
                    <a:pt x="972" y="368"/>
                  </a:cubicBezTo>
                  <a:cubicBezTo>
                    <a:pt x="971" y="369"/>
                    <a:pt x="971" y="369"/>
                    <a:pt x="970" y="369"/>
                  </a:cubicBezTo>
                  <a:cubicBezTo>
                    <a:pt x="970" y="369"/>
                    <a:pt x="970" y="369"/>
                    <a:pt x="970" y="369"/>
                  </a:cubicBezTo>
                  <a:cubicBezTo>
                    <a:pt x="968" y="369"/>
                    <a:pt x="968" y="369"/>
                    <a:pt x="968" y="369"/>
                  </a:cubicBezTo>
                  <a:cubicBezTo>
                    <a:pt x="956" y="369"/>
                    <a:pt x="956" y="369"/>
                    <a:pt x="956" y="369"/>
                  </a:cubicBezTo>
                  <a:cubicBezTo>
                    <a:pt x="949" y="364"/>
                    <a:pt x="949" y="364"/>
                    <a:pt x="949" y="364"/>
                  </a:cubicBezTo>
                  <a:cubicBezTo>
                    <a:pt x="945" y="362"/>
                    <a:pt x="945" y="362"/>
                    <a:pt x="945" y="362"/>
                  </a:cubicBezTo>
                  <a:cubicBezTo>
                    <a:pt x="945" y="361"/>
                    <a:pt x="945" y="361"/>
                    <a:pt x="945" y="361"/>
                  </a:cubicBezTo>
                  <a:cubicBezTo>
                    <a:pt x="944" y="361"/>
                    <a:pt x="944" y="361"/>
                    <a:pt x="944" y="361"/>
                  </a:cubicBezTo>
                  <a:cubicBezTo>
                    <a:pt x="944" y="360"/>
                    <a:pt x="944" y="360"/>
                    <a:pt x="944" y="360"/>
                  </a:cubicBezTo>
                  <a:cubicBezTo>
                    <a:pt x="944" y="360"/>
                    <a:pt x="944" y="360"/>
                    <a:pt x="944" y="360"/>
                  </a:cubicBezTo>
                  <a:cubicBezTo>
                    <a:pt x="944" y="360"/>
                    <a:pt x="944" y="360"/>
                    <a:pt x="944" y="360"/>
                  </a:cubicBezTo>
                  <a:cubicBezTo>
                    <a:pt x="945" y="360"/>
                    <a:pt x="945" y="360"/>
                    <a:pt x="945" y="360"/>
                  </a:cubicBezTo>
                  <a:cubicBezTo>
                    <a:pt x="945" y="360"/>
                    <a:pt x="945" y="360"/>
                    <a:pt x="945" y="360"/>
                  </a:cubicBezTo>
                  <a:cubicBezTo>
                    <a:pt x="945" y="360"/>
                    <a:pt x="945" y="360"/>
                    <a:pt x="945" y="360"/>
                  </a:cubicBezTo>
                  <a:cubicBezTo>
                    <a:pt x="945" y="360"/>
                    <a:pt x="945" y="360"/>
                    <a:pt x="945" y="360"/>
                  </a:cubicBezTo>
                  <a:cubicBezTo>
                    <a:pt x="946" y="360"/>
                    <a:pt x="946" y="360"/>
                    <a:pt x="946" y="360"/>
                  </a:cubicBezTo>
                  <a:cubicBezTo>
                    <a:pt x="946" y="360"/>
                    <a:pt x="946" y="360"/>
                    <a:pt x="946" y="360"/>
                  </a:cubicBezTo>
                  <a:cubicBezTo>
                    <a:pt x="946" y="360"/>
                    <a:pt x="946" y="360"/>
                    <a:pt x="946" y="360"/>
                  </a:cubicBezTo>
                  <a:cubicBezTo>
                    <a:pt x="946" y="360"/>
                    <a:pt x="946" y="360"/>
                    <a:pt x="946" y="360"/>
                  </a:cubicBezTo>
                  <a:cubicBezTo>
                    <a:pt x="948" y="359"/>
                    <a:pt x="948" y="359"/>
                    <a:pt x="948" y="359"/>
                  </a:cubicBezTo>
                  <a:cubicBezTo>
                    <a:pt x="947" y="352"/>
                    <a:pt x="947" y="352"/>
                    <a:pt x="947" y="352"/>
                  </a:cubicBezTo>
                  <a:cubicBezTo>
                    <a:pt x="947" y="351"/>
                    <a:pt x="947" y="351"/>
                    <a:pt x="947" y="351"/>
                  </a:cubicBezTo>
                  <a:cubicBezTo>
                    <a:pt x="948" y="350"/>
                    <a:pt x="948" y="350"/>
                    <a:pt x="948" y="350"/>
                  </a:cubicBezTo>
                  <a:cubicBezTo>
                    <a:pt x="949" y="348"/>
                    <a:pt x="949" y="348"/>
                    <a:pt x="949" y="348"/>
                  </a:cubicBezTo>
                  <a:cubicBezTo>
                    <a:pt x="949" y="347"/>
                    <a:pt x="949" y="347"/>
                    <a:pt x="949" y="347"/>
                  </a:cubicBezTo>
                  <a:cubicBezTo>
                    <a:pt x="949" y="347"/>
                    <a:pt x="949" y="347"/>
                    <a:pt x="949" y="347"/>
                  </a:cubicBezTo>
                  <a:cubicBezTo>
                    <a:pt x="948" y="346"/>
                    <a:pt x="948" y="346"/>
                    <a:pt x="948" y="346"/>
                  </a:cubicBezTo>
                  <a:cubicBezTo>
                    <a:pt x="948" y="346"/>
                    <a:pt x="948" y="346"/>
                    <a:pt x="948" y="346"/>
                  </a:cubicBezTo>
                  <a:cubicBezTo>
                    <a:pt x="946" y="345"/>
                    <a:pt x="946" y="345"/>
                    <a:pt x="946" y="345"/>
                  </a:cubicBezTo>
                  <a:cubicBezTo>
                    <a:pt x="946" y="345"/>
                    <a:pt x="946" y="345"/>
                    <a:pt x="946" y="345"/>
                  </a:cubicBezTo>
                  <a:cubicBezTo>
                    <a:pt x="946" y="344"/>
                    <a:pt x="946" y="344"/>
                    <a:pt x="946" y="344"/>
                  </a:cubicBezTo>
                  <a:cubicBezTo>
                    <a:pt x="946" y="344"/>
                    <a:pt x="946" y="344"/>
                    <a:pt x="946" y="344"/>
                  </a:cubicBezTo>
                  <a:cubicBezTo>
                    <a:pt x="946" y="343"/>
                    <a:pt x="946" y="343"/>
                    <a:pt x="946" y="343"/>
                  </a:cubicBezTo>
                  <a:cubicBezTo>
                    <a:pt x="947" y="342"/>
                    <a:pt x="947" y="342"/>
                    <a:pt x="947" y="342"/>
                  </a:cubicBezTo>
                  <a:cubicBezTo>
                    <a:pt x="948" y="339"/>
                    <a:pt x="948" y="339"/>
                    <a:pt x="948" y="339"/>
                  </a:cubicBezTo>
                  <a:cubicBezTo>
                    <a:pt x="948" y="338"/>
                    <a:pt x="948" y="338"/>
                    <a:pt x="948" y="338"/>
                  </a:cubicBezTo>
                  <a:cubicBezTo>
                    <a:pt x="948" y="337"/>
                    <a:pt x="948" y="337"/>
                    <a:pt x="948" y="337"/>
                  </a:cubicBezTo>
                  <a:cubicBezTo>
                    <a:pt x="948" y="337"/>
                    <a:pt x="948" y="337"/>
                    <a:pt x="948" y="337"/>
                  </a:cubicBezTo>
                  <a:cubicBezTo>
                    <a:pt x="948" y="336"/>
                    <a:pt x="948" y="336"/>
                    <a:pt x="948" y="336"/>
                  </a:cubicBezTo>
                  <a:cubicBezTo>
                    <a:pt x="948" y="336"/>
                    <a:pt x="948" y="336"/>
                    <a:pt x="948" y="336"/>
                  </a:cubicBezTo>
                  <a:cubicBezTo>
                    <a:pt x="947" y="336"/>
                    <a:pt x="947" y="336"/>
                    <a:pt x="947" y="336"/>
                  </a:cubicBezTo>
                  <a:cubicBezTo>
                    <a:pt x="947" y="336"/>
                    <a:pt x="946" y="335"/>
                    <a:pt x="946" y="335"/>
                  </a:cubicBezTo>
                  <a:cubicBezTo>
                    <a:pt x="946" y="335"/>
                    <a:pt x="946" y="335"/>
                    <a:pt x="946" y="335"/>
                  </a:cubicBezTo>
                  <a:cubicBezTo>
                    <a:pt x="945" y="335"/>
                    <a:pt x="945" y="335"/>
                    <a:pt x="945" y="335"/>
                  </a:cubicBezTo>
                  <a:cubicBezTo>
                    <a:pt x="945" y="335"/>
                    <a:pt x="945" y="335"/>
                    <a:pt x="945" y="335"/>
                  </a:cubicBezTo>
                  <a:cubicBezTo>
                    <a:pt x="945" y="336"/>
                    <a:pt x="945" y="336"/>
                    <a:pt x="945" y="336"/>
                  </a:cubicBezTo>
                  <a:cubicBezTo>
                    <a:pt x="945" y="336"/>
                    <a:pt x="945" y="336"/>
                    <a:pt x="945" y="336"/>
                  </a:cubicBezTo>
                  <a:cubicBezTo>
                    <a:pt x="945" y="336"/>
                    <a:pt x="945" y="336"/>
                    <a:pt x="945" y="336"/>
                  </a:cubicBezTo>
                  <a:cubicBezTo>
                    <a:pt x="944" y="335"/>
                    <a:pt x="944" y="335"/>
                    <a:pt x="944" y="335"/>
                  </a:cubicBezTo>
                  <a:cubicBezTo>
                    <a:pt x="944" y="335"/>
                    <a:pt x="944" y="335"/>
                    <a:pt x="944" y="335"/>
                  </a:cubicBezTo>
                  <a:cubicBezTo>
                    <a:pt x="944" y="334"/>
                    <a:pt x="944" y="334"/>
                    <a:pt x="944" y="334"/>
                  </a:cubicBezTo>
                  <a:cubicBezTo>
                    <a:pt x="944" y="334"/>
                    <a:pt x="944" y="334"/>
                    <a:pt x="944" y="334"/>
                  </a:cubicBezTo>
                  <a:cubicBezTo>
                    <a:pt x="943" y="333"/>
                    <a:pt x="942" y="333"/>
                    <a:pt x="942" y="333"/>
                  </a:cubicBezTo>
                  <a:cubicBezTo>
                    <a:pt x="942" y="332"/>
                    <a:pt x="942" y="332"/>
                    <a:pt x="942" y="332"/>
                  </a:cubicBezTo>
                  <a:cubicBezTo>
                    <a:pt x="941" y="331"/>
                    <a:pt x="941" y="331"/>
                    <a:pt x="941" y="331"/>
                  </a:cubicBezTo>
                  <a:cubicBezTo>
                    <a:pt x="939" y="330"/>
                    <a:pt x="939" y="330"/>
                    <a:pt x="939" y="330"/>
                  </a:cubicBezTo>
                  <a:cubicBezTo>
                    <a:pt x="937" y="325"/>
                    <a:pt x="937" y="325"/>
                    <a:pt x="937" y="325"/>
                  </a:cubicBezTo>
                  <a:cubicBezTo>
                    <a:pt x="935" y="323"/>
                    <a:pt x="935" y="323"/>
                    <a:pt x="935" y="323"/>
                  </a:cubicBezTo>
                  <a:cubicBezTo>
                    <a:pt x="935" y="322"/>
                    <a:pt x="935" y="322"/>
                    <a:pt x="935" y="322"/>
                  </a:cubicBezTo>
                  <a:cubicBezTo>
                    <a:pt x="934" y="322"/>
                    <a:pt x="934" y="322"/>
                    <a:pt x="934" y="322"/>
                  </a:cubicBezTo>
                  <a:cubicBezTo>
                    <a:pt x="934" y="322"/>
                    <a:pt x="934" y="322"/>
                    <a:pt x="934" y="322"/>
                  </a:cubicBezTo>
                  <a:cubicBezTo>
                    <a:pt x="933" y="322"/>
                    <a:pt x="933" y="322"/>
                    <a:pt x="933" y="322"/>
                  </a:cubicBezTo>
                  <a:cubicBezTo>
                    <a:pt x="933" y="322"/>
                    <a:pt x="933" y="322"/>
                    <a:pt x="933" y="322"/>
                  </a:cubicBezTo>
                  <a:cubicBezTo>
                    <a:pt x="933" y="322"/>
                    <a:pt x="933" y="322"/>
                    <a:pt x="933" y="322"/>
                  </a:cubicBezTo>
                  <a:cubicBezTo>
                    <a:pt x="932" y="322"/>
                    <a:pt x="932" y="322"/>
                    <a:pt x="932" y="322"/>
                  </a:cubicBezTo>
                  <a:cubicBezTo>
                    <a:pt x="932" y="322"/>
                    <a:pt x="932" y="322"/>
                    <a:pt x="932" y="322"/>
                  </a:cubicBezTo>
                  <a:cubicBezTo>
                    <a:pt x="932" y="322"/>
                    <a:pt x="932" y="322"/>
                    <a:pt x="932" y="322"/>
                  </a:cubicBezTo>
                  <a:cubicBezTo>
                    <a:pt x="930" y="322"/>
                    <a:pt x="927" y="322"/>
                    <a:pt x="925" y="323"/>
                  </a:cubicBezTo>
                  <a:cubicBezTo>
                    <a:pt x="924" y="323"/>
                    <a:pt x="924" y="323"/>
                    <a:pt x="924" y="323"/>
                  </a:cubicBezTo>
                  <a:cubicBezTo>
                    <a:pt x="924" y="323"/>
                    <a:pt x="924" y="323"/>
                    <a:pt x="924" y="323"/>
                  </a:cubicBezTo>
                  <a:cubicBezTo>
                    <a:pt x="924" y="323"/>
                    <a:pt x="924" y="323"/>
                    <a:pt x="924" y="323"/>
                  </a:cubicBezTo>
                  <a:cubicBezTo>
                    <a:pt x="923" y="323"/>
                    <a:pt x="923" y="323"/>
                    <a:pt x="923" y="323"/>
                  </a:cubicBezTo>
                  <a:cubicBezTo>
                    <a:pt x="923" y="323"/>
                    <a:pt x="923" y="323"/>
                    <a:pt x="923" y="323"/>
                  </a:cubicBezTo>
                  <a:cubicBezTo>
                    <a:pt x="923" y="323"/>
                    <a:pt x="923" y="323"/>
                    <a:pt x="923" y="323"/>
                  </a:cubicBezTo>
                  <a:cubicBezTo>
                    <a:pt x="922" y="323"/>
                    <a:pt x="922" y="323"/>
                    <a:pt x="922" y="323"/>
                  </a:cubicBezTo>
                  <a:cubicBezTo>
                    <a:pt x="920" y="324"/>
                    <a:pt x="920" y="324"/>
                    <a:pt x="920" y="324"/>
                  </a:cubicBezTo>
                  <a:cubicBezTo>
                    <a:pt x="894" y="331"/>
                    <a:pt x="894" y="331"/>
                    <a:pt x="894" y="331"/>
                  </a:cubicBezTo>
                  <a:cubicBezTo>
                    <a:pt x="894" y="332"/>
                    <a:pt x="894" y="332"/>
                    <a:pt x="894" y="332"/>
                  </a:cubicBezTo>
                  <a:cubicBezTo>
                    <a:pt x="894" y="332"/>
                    <a:pt x="894" y="332"/>
                    <a:pt x="894" y="332"/>
                  </a:cubicBezTo>
                  <a:cubicBezTo>
                    <a:pt x="894" y="332"/>
                    <a:pt x="894" y="332"/>
                    <a:pt x="894" y="332"/>
                  </a:cubicBezTo>
                  <a:cubicBezTo>
                    <a:pt x="894" y="332"/>
                    <a:pt x="894" y="332"/>
                    <a:pt x="894" y="332"/>
                  </a:cubicBezTo>
                  <a:cubicBezTo>
                    <a:pt x="894" y="332"/>
                    <a:pt x="894" y="332"/>
                    <a:pt x="894" y="332"/>
                  </a:cubicBezTo>
                  <a:cubicBezTo>
                    <a:pt x="894" y="333"/>
                    <a:pt x="894" y="333"/>
                    <a:pt x="894" y="333"/>
                  </a:cubicBezTo>
                  <a:cubicBezTo>
                    <a:pt x="894" y="334"/>
                    <a:pt x="893" y="334"/>
                    <a:pt x="893" y="335"/>
                  </a:cubicBezTo>
                  <a:cubicBezTo>
                    <a:pt x="894" y="335"/>
                    <a:pt x="894" y="335"/>
                    <a:pt x="894" y="335"/>
                  </a:cubicBezTo>
                  <a:cubicBezTo>
                    <a:pt x="894" y="335"/>
                    <a:pt x="894" y="335"/>
                    <a:pt x="894" y="335"/>
                  </a:cubicBezTo>
                  <a:cubicBezTo>
                    <a:pt x="894" y="336"/>
                    <a:pt x="894" y="336"/>
                    <a:pt x="894" y="336"/>
                  </a:cubicBezTo>
                  <a:cubicBezTo>
                    <a:pt x="896" y="338"/>
                    <a:pt x="891" y="341"/>
                    <a:pt x="892" y="342"/>
                  </a:cubicBezTo>
                  <a:cubicBezTo>
                    <a:pt x="892" y="342"/>
                    <a:pt x="892" y="342"/>
                    <a:pt x="892" y="342"/>
                  </a:cubicBezTo>
                  <a:cubicBezTo>
                    <a:pt x="892" y="343"/>
                    <a:pt x="892" y="343"/>
                    <a:pt x="892" y="343"/>
                  </a:cubicBezTo>
                  <a:cubicBezTo>
                    <a:pt x="892" y="343"/>
                    <a:pt x="892" y="343"/>
                    <a:pt x="892" y="343"/>
                  </a:cubicBezTo>
                  <a:cubicBezTo>
                    <a:pt x="893" y="343"/>
                    <a:pt x="893" y="343"/>
                    <a:pt x="893" y="343"/>
                  </a:cubicBezTo>
                  <a:cubicBezTo>
                    <a:pt x="893" y="343"/>
                    <a:pt x="893" y="343"/>
                    <a:pt x="893" y="343"/>
                  </a:cubicBezTo>
                  <a:cubicBezTo>
                    <a:pt x="893" y="343"/>
                    <a:pt x="893" y="343"/>
                    <a:pt x="893" y="343"/>
                  </a:cubicBezTo>
                  <a:cubicBezTo>
                    <a:pt x="895" y="345"/>
                    <a:pt x="897" y="346"/>
                    <a:pt x="898" y="348"/>
                  </a:cubicBezTo>
                  <a:cubicBezTo>
                    <a:pt x="898" y="348"/>
                    <a:pt x="898" y="348"/>
                    <a:pt x="898" y="348"/>
                  </a:cubicBezTo>
                  <a:cubicBezTo>
                    <a:pt x="898" y="348"/>
                    <a:pt x="898" y="348"/>
                    <a:pt x="898" y="348"/>
                  </a:cubicBezTo>
                  <a:cubicBezTo>
                    <a:pt x="900" y="351"/>
                    <a:pt x="899" y="350"/>
                    <a:pt x="900" y="352"/>
                  </a:cubicBezTo>
                  <a:cubicBezTo>
                    <a:pt x="900" y="353"/>
                    <a:pt x="900" y="353"/>
                    <a:pt x="900" y="353"/>
                  </a:cubicBezTo>
                  <a:cubicBezTo>
                    <a:pt x="900" y="353"/>
                    <a:pt x="900" y="353"/>
                    <a:pt x="900" y="353"/>
                  </a:cubicBezTo>
                  <a:cubicBezTo>
                    <a:pt x="900" y="353"/>
                    <a:pt x="900" y="353"/>
                    <a:pt x="900" y="353"/>
                  </a:cubicBezTo>
                  <a:cubicBezTo>
                    <a:pt x="900" y="353"/>
                    <a:pt x="900" y="353"/>
                    <a:pt x="900" y="353"/>
                  </a:cubicBezTo>
                  <a:cubicBezTo>
                    <a:pt x="900" y="353"/>
                    <a:pt x="900" y="353"/>
                    <a:pt x="900" y="353"/>
                  </a:cubicBezTo>
                  <a:cubicBezTo>
                    <a:pt x="900" y="354"/>
                    <a:pt x="900" y="354"/>
                    <a:pt x="900" y="354"/>
                  </a:cubicBezTo>
                  <a:cubicBezTo>
                    <a:pt x="900" y="354"/>
                    <a:pt x="900" y="354"/>
                    <a:pt x="900" y="354"/>
                  </a:cubicBezTo>
                  <a:cubicBezTo>
                    <a:pt x="901" y="354"/>
                    <a:pt x="901" y="354"/>
                    <a:pt x="901" y="354"/>
                  </a:cubicBezTo>
                  <a:cubicBezTo>
                    <a:pt x="901" y="354"/>
                    <a:pt x="901" y="354"/>
                    <a:pt x="901" y="354"/>
                  </a:cubicBezTo>
                  <a:cubicBezTo>
                    <a:pt x="901" y="354"/>
                    <a:pt x="901" y="354"/>
                    <a:pt x="901" y="354"/>
                  </a:cubicBezTo>
                  <a:cubicBezTo>
                    <a:pt x="901" y="354"/>
                    <a:pt x="901" y="354"/>
                    <a:pt x="901" y="354"/>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5"/>
                    <a:pt x="901" y="355"/>
                    <a:pt x="901" y="355"/>
                  </a:cubicBezTo>
                  <a:cubicBezTo>
                    <a:pt x="901" y="356"/>
                    <a:pt x="901" y="356"/>
                    <a:pt x="901" y="356"/>
                  </a:cubicBezTo>
                  <a:cubicBezTo>
                    <a:pt x="901" y="356"/>
                    <a:pt x="901" y="356"/>
                    <a:pt x="901" y="356"/>
                  </a:cubicBezTo>
                  <a:cubicBezTo>
                    <a:pt x="901" y="357"/>
                    <a:pt x="901" y="357"/>
                    <a:pt x="901" y="357"/>
                  </a:cubicBezTo>
                  <a:cubicBezTo>
                    <a:pt x="901" y="358"/>
                    <a:pt x="901" y="358"/>
                    <a:pt x="901" y="358"/>
                  </a:cubicBezTo>
                  <a:cubicBezTo>
                    <a:pt x="900" y="362"/>
                    <a:pt x="900" y="362"/>
                    <a:pt x="900" y="362"/>
                  </a:cubicBezTo>
                  <a:cubicBezTo>
                    <a:pt x="899" y="364"/>
                    <a:pt x="899" y="364"/>
                    <a:pt x="899" y="364"/>
                  </a:cubicBezTo>
                  <a:cubicBezTo>
                    <a:pt x="899" y="365"/>
                    <a:pt x="899" y="365"/>
                    <a:pt x="899" y="365"/>
                  </a:cubicBezTo>
                  <a:cubicBezTo>
                    <a:pt x="899" y="365"/>
                    <a:pt x="899" y="365"/>
                    <a:pt x="899" y="365"/>
                  </a:cubicBezTo>
                  <a:cubicBezTo>
                    <a:pt x="899" y="365"/>
                    <a:pt x="899" y="365"/>
                    <a:pt x="899" y="365"/>
                  </a:cubicBezTo>
                  <a:cubicBezTo>
                    <a:pt x="898" y="366"/>
                    <a:pt x="898" y="366"/>
                    <a:pt x="898" y="366"/>
                  </a:cubicBezTo>
                  <a:cubicBezTo>
                    <a:pt x="896" y="367"/>
                    <a:pt x="893" y="369"/>
                    <a:pt x="891" y="371"/>
                  </a:cubicBezTo>
                  <a:cubicBezTo>
                    <a:pt x="889" y="372"/>
                    <a:pt x="889" y="372"/>
                    <a:pt x="889" y="372"/>
                  </a:cubicBezTo>
                  <a:cubicBezTo>
                    <a:pt x="886" y="376"/>
                    <a:pt x="886" y="376"/>
                    <a:pt x="886" y="376"/>
                  </a:cubicBezTo>
                  <a:cubicBezTo>
                    <a:pt x="884" y="377"/>
                    <a:pt x="884" y="377"/>
                    <a:pt x="884" y="377"/>
                  </a:cubicBezTo>
                  <a:cubicBezTo>
                    <a:pt x="884" y="378"/>
                    <a:pt x="884" y="378"/>
                    <a:pt x="884" y="378"/>
                  </a:cubicBezTo>
                  <a:cubicBezTo>
                    <a:pt x="884" y="378"/>
                    <a:pt x="884" y="378"/>
                    <a:pt x="884" y="378"/>
                  </a:cubicBezTo>
                  <a:cubicBezTo>
                    <a:pt x="884" y="378"/>
                    <a:pt x="884" y="378"/>
                    <a:pt x="884" y="378"/>
                  </a:cubicBezTo>
                  <a:cubicBezTo>
                    <a:pt x="884" y="378"/>
                    <a:pt x="884" y="378"/>
                    <a:pt x="884" y="378"/>
                  </a:cubicBezTo>
                  <a:cubicBezTo>
                    <a:pt x="884" y="379"/>
                    <a:pt x="884" y="379"/>
                    <a:pt x="884" y="379"/>
                  </a:cubicBezTo>
                  <a:cubicBezTo>
                    <a:pt x="885" y="380"/>
                    <a:pt x="884" y="381"/>
                    <a:pt x="884" y="382"/>
                  </a:cubicBezTo>
                  <a:cubicBezTo>
                    <a:pt x="883" y="385"/>
                    <a:pt x="883" y="385"/>
                    <a:pt x="883" y="385"/>
                  </a:cubicBezTo>
                  <a:cubicBezTo>
                    <a:pt x="883" y="387"/>
                    <a:pt x="883" y="387"/>
                    <a:pt x="883" y="387"/>
                  </a:cubicBezTo>
                  <a:cubicBezTo>
                    <a:pt x="882" y="388"/>
                    <a:pt x="882" y="388"/>
                    <a:pt x="882" y="388"/>
                  </a:cubicBezTo>
                  <a:cubicBezTo>
                    <a:pt x="882" y="388"/>
                    <a:pt x="882" y="388"/>
                    <a:pt x="882" y="388"/>
                  </a:cubicBezTo>
                  <a:cubicBezTo>
                    <a:pt x="882" y="388"/>
                    <a:pt x="882" y="388"/>
                    <a:pt x="882" y="388"/>
                  </a:cubicBezTo>
                  <a:cubicBezTo>
                    <a:pt x="881" y="388"/>
                    <a:pt x="881" y="388"/>
                    <a:pt x="881" y="388"/>
                  </a:cubicBezTo>
                  <a:cubicBezTo>
                    <a:pt x="881" y="388"/>
                    <a:pt x="881" y="388"/>
                    <a:pt x="881" y="388"/>
                  </a:cubicBezTo>
                  <a:cubicBezTo>
                    <a:pt x="881" y="388"/>
                    <a:pt x="881" y="388"/>
                    <a:pt x="881" y="388"/>
                  </a:cubicBezTo>
                  <a:cubicBezTo>
                    <a:pt x="881" y="389"/>
                    <a:pt x="881" y="389"/>
                    <a:pt x="881" y="389"/>
                  </a:cubicBezTo>
                  <a:cubicBezTo>
                    <a:pt x="880" y="389"/>
                    <a:pt x="880" y="389"/>
                    <a:pt x="880" y="389"/>
                  </a:cubicBezTo>
                  <a:cubicBezTo>
                    <a:pt x="880" y="389"/>
                    <a:pt x="880" y="389"/>
                    <a:pt x="880" y="389"/>
                  </a:cubicBezTo>
                  <a:cubicBezTo>
                    <a:pt x="880" y="389"/>
                    <a:pt x="880" y="389"/>
                    <a:pt x="880" y="389"/>
                  </a:cubicBezTo>
                  <a:cubicBezTo>
                    <a:pt x="878" y="390"/>
                    <a:pt x="877" y="392"/>
                    <a:pt x="876" y="392"/>
                  </a:cubicBezTo>
                  <a:cubicBezTo>
                    <a:pt x="875" y="393"/>
                    <a:pt x="875" y="393"/>
                    <a:pt x="875" y="393"/>
                  </a:cubicBezTo>
                  <a:cubicBezTo>
                    <a:pt x="875" y="393"/>
                    <a:pt x="875" y="393"/>
                    <a:pt x="875" y="393"/>
                  </a:cubicBezTo>
                  <a:cubicBezTo>
                    <a:pt x="874" y="393"/>
                    <a:pt x="874" y="393"/>
                    <a:pt x="873" y="393"/>
                  </a:cubicBezTo>
                  <a:cubicBezTo>
                    <a:pt x="873" y="393"/>
                    <a:pt x="873" y="393"/>
                    <a:pt x="873" y="393"/>
                  </a:cubicBezTo>
                  <a:cubicBezTo>
                    <a:pt x="873" y="393"/>
                    <a:pt x="873" y="393"/>
                    <a:pt x="873" y="393"/>
                  </a:cubicBezTo>
                  <a:cubicBezTo>
                    <a:pt x="872" y="393"/>
                    <a:pt x="872" y="393"/>
                    <a:pt x="872" y="393"/>
                  </a:cubicBezTo>
                  <a:cubicBezTo>
                    <a:pt x="872" y="393"/>
                    <a:pt x="872" y="393"/>
                    <a:pt x="872" y="393"/>
                  </a:cubicBezTo>
                  <a:cubicBezTo>
                    <a:pt x="872" y="394"/>
                    <a:pt x="872" y="394"/>
                    <a:pt x="872" y="394"/>
                  </a:cubicBezTo>
                  <a:cubicBezTo>
                    <a:pt x="869" y="394"/>
                    <a:pt x="868" y="396"/>
                    <a:pt x="866" y="398"/>
                  </a:cubicBezTo>
                  <a:cubicBezTo>
                    <a:pt x="865" y="398"/>
                    <a:pt x="865" y="398"/>
                    <a:pt x="865" y="398"/>
                  </a:cubicBezTo>
                  <a:cubicBezTo>
                    <a:pt x="865" y="398"/>
                    <a:pt x="865" y="398"/>
                    <a:pt x="865" y="398"/>
                  </a:cubicBezTo>
                  <a:cubicBezTo>
                    <a:pt x="864" y="398"/>
                    <a:pt x="864" y="398"/>
                    <a:pt x="864" y="398"/>
                  </a:cubicBezTo>
                  <a:cubicBezTo>
                    <a:pt x="864" y="398"/>
                    <a:pt x="864" y="398"/>
                    <a:pt x="863" y="399"/>
                  </a:cubicBezTo>
                  <a:cubicBezTo>
                    <a:pt x="862" y="399"/>
                    <a:pt x="862" y="399"/>
                    <a:pt x="862" y="399"/>
                  </a:cubicBezTo>
                  <a:cubicBezTo>
                    <a:pt x="862" y="399"/>
                    <a:pt x="862" y="399"/>
                    <a:pt x="862" y="399"/>
                  </a:cubicBezTo>
                  <a:cubicBezTo>
                    <a:pt x="862" y="399"/>
                    <a:pt x="862" y="399"/>
                    <a:pt x="862" y="399"/>
                  </a:cubicBezTo>
                  <a:cubicBezTo>
                    <a:pt x="861" y="399"/>
                    <a:pt x="861" y="399"/>
                    <a:pt x="861" y="399"/>
                  </a:cubicBezTo>
                  <a:cubicBezTo>
                    <a:pt x="861" y="399"/>
                    <a:pt x="861" y="399"/>
                    <a:pt x="861" y="399"/>
                  </a:cubicBezTo>
                  <a:cubicBezTo>
                    <a:pt x="861" y="399"/>
                    <a:pt x="861" y="399"/>
                    <a:pt x="861" y="399"/>
                  </a:cubicBezTo>
                  <a:cubicBezTo>
                    <a:pt x="861" y="399"/>
                    <a:pt x="861" y="399"/>
                    <a:pt x="861" y="399"/>
                  </a:cubicBezTo>
                  <a:cubicBezTo>
                    <a:pt x="860" y="399"/>
                    <a:pt x="860" y="399"/>
                    <a:pt x="860" y="399"/>
                  </a:cubicBezTo>
                  <a:cubicBezTo>
                    <a:pt x="858" y="400"/>
                    <a:pt x="858" y="400"/>
                    <a:pt x="858" y="400"/>
                  </a:cubicBezTo>
                  <a:cubicBezTo>
                    <a:pt x="855" y="402"/>
                    <a:pt x="855" y="402"/>
                    <a:pt x="855" y="402"/>
                  </a:cubicBezTo>
                  <a:cubicBezTo>
                    <a:pt x="854" y="402"/>
                    <a:pt x="854" y="402"/>
                    <a:pt x="854" y="402"/>
                  </a:cubicBezTo>
                  <a:cubicBezTo>
                    <a:pt x="853" y="403"/>
                    <a:pt x="853" y="403"/>
                    <a:pt x="853" y="403"/>
                  </a:cubicBezTo>
                  <a:cubicBezTo>
                    <a:pt x="853" y="403"/>
                    <a:pt x="853" y="403"/>
                    <a:pt x="853" y="403"/>
                  </a:cubicBezTo>
                  <a:cubicBezTo>
                    <a:pt x="854" y="403"/>
                    <a:pt x="854" y="403"/>
                    <a:pt x="854" y="403"/>
                  </a:cubicBezTo>
                  <a:cubicBezTo>
                    <a:pt x="854" y="403"/>
                    <a:pt x="854" y="403"/>
                    <a:pt x="854" y="403"/>
                  </a:cubicBezTo>
                  <a:cubicBezTo>
                    <a:pt x="854" y="403"/>
                    <a:pt x="854" y="403"/>
                    <a:pt x="854" y="403"/>
                  </a:cubicBezTo>
                  <a:cubicBezTo>
                    <a:pt x="855" y="403"/>
                    <a:pt x="855" y="403"/>
                    <a:pt x="855" y="403"/>
                  </a:cubicBezTo>
                  <a:cubicBezTo>
                    <a:pt x="855" y="403"/>
                    <a:pt x="855" y="403"/>
                    <a:pt x="855" y="403"/>
                  </a:cubicBezTo>
                  <a:cubicBezTo>
                    <a:pt x="854" y="403"/>
                    <a:pt x="854" y="403"/>
                    <a:pt x="854" y="403"/>
                  </a:cubicBezTo>
                  <a:cubicBezTo>
                    <a:pt x="854" y="404"/>
                    <a:pt x="854" y="404"/>
                    <a:pt x="854" y="404"/>
                  </a:cubicBezTo>
                  <a:cubicBezTo>
                    <a:pt x="854" y="404"/>
                    <a:pt x="854" y="404"/>
                    <a:pt x="854" y="404"/>
                  </a:cubicBezTo>
                  <a:cubicBezTo>
                    <a:pt x="854" y="405"/>
                    <a:pt x="854" y="405"/>
                    <a:pt x="854" y="405"/>
                  </a:cubicBezTo>
                  <a:cubicBezTo>
                    <a:pt x="854" y="406"/>
                    <a:pt x="854" y="406"/>
                    <a:pt x="854" y="406"/>
                  </a:cubicBezTo>
                  <a:cubicBezTo>
                    <a:pt x="854" y="408"/>
                    <a:pt x="854" y="408"/>
                    <a:pt x="854" y="408"/>
                  </a:cubicBezTo>
                  <a:cubicBezTo>
                    <a:pt x="854" y="409"/>
                    <a:pt x="854" y="409"/>
                    <a:pt x="854" y="409"/>
                  </a:cubicBezTo>
                  <a:cubicBezTo>
                    <a:pt x="853" y="410"/>
                    <a:pt x="853" y="410"/>
                    <a:pt x="853" y="410"/>
                  </a:cubicBezTo>
                  <a:cubicBezTo>
                    <a:pt x="853" y="410"/>
                    <a:pt x="853" y="410"/>
                    <a:pt x="853" y="410"/>
                  </a:cubicBezTo>
                  <a:cubicBezTo>
                    <a:pt x="852" y="410"/>
                    <a:pt x="852" y="410"/>
                    <a:pt x="852" y="410"/>
                  </a:cubicBezTo>
                  <a:cubicBezTo>
                    <a:pt x="851" y="410"/>
                    <a:pt x="851" y="410"/>
                    <a:pt x="851" y="410"/>
                  </a:cubicBezTo>
                  <a:cubicBezTo>
                    <a:pt x="851" y="411"/>
                    <a:pt x="851" y="411"/>
                    <a:pt x="851" y="411"/>
                  </a:cubicBezTo>
                  <a:cubicBezTo>
                    <a:pt x="850" y="411"/>
                    <a:pt x="850" y="411"/>
                    <a:pt x="850" y="411"/>
                  </a:cubicBezTo>
                  <a:cubicBezTo>
                    <a:pt x="849" y="411"/>
                    <a:pt x="849" y="411"/>
                    <a:pt x="849" y="411"/>
                  </a:cubicBezTo>
                  <a:cubicBezTo>
                    <a:pt x="848" y="411"/>
                    <a:pt x="848" y="411"/>
                    <a:pt x="848" y="411"/>
                  </a:cubicBezTo>
                  <a:cubicBezTo>
                    <a:pt x="848" y="412"/>
                    <a:pt x="848" y="412"/>
                    <a:pt x="848" y="412"/>
                  </a:cubicBezTo>
                  <a:cubicBezTo>
                    <a:pt x="847" y="412"/>
                    <a:pt x="847" y="412"/>
                    <a:pt x="847" y="412"/>
                  </a:cubicBezTo>
                  <a:cubicBezTo>
                    <a:pt x="847" y="412"/>
                    <a:pt x="847" y="412"/>
                    <a:pt x="847" y="412"/>
                  </a:cubicBezTo>
                  <a:cubicBezTo>
                    <a:pt x="847" y="411"/>
                    <a:pt x="847" y="411"/>
                    <a:pt x="847" y="411"/>
                  </a:cubicBezTo>
                  <a:cubicBezTo>
                    <a:pt x="847" y="411"/>
                    <a:pt x="847" y="411"/>
                    <a:pt x="847" y="411"/>
                  </a:cubicBezTo>
                  <a:cubicBezTo>
                    <a:pt x="847" y="411"/>
                    <a:pt x="847" y="411"/>
                    <a:pt x="847" y="411"/>
                  </a:cubicBezTo>
                  <a:cubicBezTo>
                    <a:pt x="846" y="411"/>
                    <a:pt x="846" y="411"/>
                    <a:pt x="846" y="411"/>
                  </a:cubicBezTo>
                  <a:cubicBezTo>
                    <a:pt x="846" y="411"/>
                    <a:pt x="845" y="412"/>
                    <a:pt x="844" y="411"/>
                  </a:cubicBezTo>
                  <a:cubicBezTo>
                    <a:pt x="844" y="411"/>
                    <a:pt x="844" y="411"/>
                    <a:pt x="844" y="411"/>
                  </a:cubicBezTo>
                  <a:cubicBezTo>
                    <a:pt x="843" y="411"/>
                    <a:pt x="843" y="411"/>
                    <a:pt x="843" y="411"/>
                  </a:cubicBezTo>
                  <a:cubicBezTo>
                    <a:pt x="843" y="410"/>
                    <a:pt x="843" y="409"/>
                    <a:pt x="842" y="409"/>
                  </a:cubicBezTo>
                  <a:cubicBezTo>
                    <a:pt x="842" y="409"/>
                    <a:pt x="842" y="409"/>
                    <a:pt x="842" y="409"/>
                  </a:cubicBezTo>
                  <a:cubicBezTo>
                    <a:pt x="842" y="409"/>
                    <a:pt x="842" y="409"/>
                    <a:pt x="842" y="409"/>
                  </a:cubicBezTo>
                  <a:cubicBezTo>
                    <a:pt x="841" y="409"/>
                    <a:pt x="841" y="409"/>
                    <a:pt x="841" y="409"/>
                  </a:cubicBezTo>
                  <a:cubicBezTo>
                    <a:pt x="841" y="409"/>
                    <a:pt x="841" y="409"/>
                    <a:pt x="841" y="409"/>
                  </a:cubicBezTo>
                  <a:cubicBezTo>
                    <a:pt x="841" y="408"/>
                    <a:pt x="841" y="408"/>
                    <a:pt x="841" y="408"/>
                  </a:cubicBezTo>
                  <a:cubicBezTo>
                    <a:pt x="838" y="408"/>
                    <a:pt x="837" y="407"/>
                    <a:pt x="834" y="407"/>
                  </a:cubicBezTo>
                  <a:cubicBezTo>
                    <a:pt x="833" y="407"/>
                    <a:pt x="833" y="407"/>
                    <a:pt x="833" y="407"/>
                  </a:cubicBezTo>
                  <a:cubicBezTo>
                    <a:pt x="833" y="407"/>
                    <a:pt x="833" y="407"/>
                    <a:pt x="833" y="407"/>
                  </a:cubicBezTo>
                  <a:cubicBezTo>
                    <a:pt x="831" y="407"/>
                    <a:pt x="829" y="407"/>
                    <a:pt x="827" y="407"/>
                  </a:cubicBezTo>
                  <a:cubicBezTo>
                    <a:pt x="826" y="407"/>
                    <a:pt x="826" y="407"/>
                    <a:pt x="826" y="407"/>
                  </a:cubicBezTo>
                  <a:cubicBezTo>
                    <a:pt x="826" y="407"/>
                    <a:pt x="826" y="407"/>
                    <a:pt x="826" y="407"/>
                  </a:cubicBezTo>
                  <a:cubicBezTo>
                    <a:pt x="826" y="407"/>
                    <a:pt x="826" y="407"/>
                    <a:pt x="826" y="407"/>
                  </a:cubicBezTo>
                  <a:cubicBezTo>
                    <a:pt x="825" y="407"/>
                    <a:pt x="825" y="407"/>
                    <a:pt x="825" y="407"/>
                  </a:cubicBezTo>
                  <a:cubicBezTo>
                    <a:pt x="825" y="407"/>
                    <a:pt x="825" y="407"/>
                    <a:pt x="825" y="407"/>
                  </a:cubicBezTo>
                  <a:cubicBezTo>
                    <a:pt x="817" y="408"/>
                    <a:pt x="818" y="409"/>
                    <a:pt x="810" y="406"/>
                  </a:cubicBezTo>
                  <a:cubicBezTo>
                    <a:pt x="810" y="406"/>
                    <a:pt x="810" y="406"/>
                    <a:pt x="810" y="406"/>
                  </a:cubicBezTo>
                  <a:cubicBezTo>
                    <a:pt x="810" y="406"/>
                    <a:pt x="810" y="406"/>
                    <a:pt x="810" y="406"/>
                  </a:cubicBezTo>
                  <a:cubicBezTo>
                    <a:pt x="810" y="406"/>
                    <a:pt x="810" y="406"/>
                    <a:pt x="810" y="406"/>
                  </a:cubicBezTo>
                  <a:cubicBezTo>
                    <a:pt x="806" y="406"/>
                    <a:pt x="807" y="404"/>
                    <a:pt x="803" y="403"/>
                  </a:cubicBezTo>
                  <a:cubicBezTo>
                    <a:pt x="803" y="403"/>
                    <a:pt x="803" y="403"/>
                    <a:pt x="803" y="403"/>
                  </a:cubicBezTo>
                  <a:cubicBezTo>
                    <a:pt x="803" y="403"/>
                    <a:pt x="803" y="403"/>
                    <a:pt x="803" y="403"/>
                  </a:cubicBezTo>
                  <a:cubicBezTo>
                    <a:pt x="800" y="403"/>
                    <a:pt x="798" y="403"/>
                    <a:pt x="796" y="401"/>
                  </a:cubicBezTo>
                  <a:cubicBezTo>
                    <a:pt x="795" y="401"/>
                    <a:pt x="795" y="401"/>
                    <a:pt x="795" y="401"/>
                  </a:cubicBezTo>
                  <a:cubicBezTo>
                    <a:pt x="792" y="399"/>
                    <a:pt x="792" y="399"/>
                    <a:pt x="792" y="399"/>
                  </a:cubicBezTo>
                  <a:cubicBezTo>
                    <a:pt x="790" y="394"/>
                    <a:pt x="790" y="394"/>
                    <a:pt x="790" y="394"/>
                  </a:cubicBezTo>
                  <a:cubicBezTo>
                    <a:pt x="790" y="393"/>
                    <a:pt x="790" y="393"/>
                    <a:pt x="790" y="393"/>
                  </a:cubicBezTo>
                  <a:cubicBezTo>
                    <a:pt x="796" y="393"/>
                    <a:pt x="796" y="393"/>
                    <a:pt x="796" y="393"/>
                  </a:cubicBezTo>
                  <a:cubicBezTo>
                    <a:pt x="806" y="391"/>
                    <a:pt x="806" y="391"/>
                    <a:pt x="806" y="391"/>
                  </a:cubicBezTo>
                  <a:cubicBezTo>
                    <a:pt x="807" y="391"/>
                    <a:pt x="807" y="391"/>
                    <a:pt x="807" y="391"/>
                  </a:cubicBezTo>
                  <a:cubicBezTo>
                    <a:pt x="808" y="391"/>
                    <a:pt x="808" y="391"/>
                    <a:pt x="808" y="391"/>
                  </a:cubicBezTo>
                  <a:cubicBezTo>
                    <a:pt x="808" y="392"/>
                    <a:pt x="808" y="392"/>
                    <a:pt x="808" y="392"/>
                  </a:cubicBezTo>
                  <a:cubicBezTo>
                    <a:pt x="808" y="392"/>
                    <a:pt x="808" y="392"/>
                    <a:pt x="808" y="392"/>
                  </a:cubicBezTo>
                  <a:cubicBezTo>
                    <a:pt x="809" y="392"/>
                    <a:pt x="809" y="392"/>
                    <a:pt x="809" y="392"/>
                  </a:cubicBezTo>
                  <a:cubicBezTo>
                    <a:pt x="809" y="393"/>
                    <a:pt x="809" y="393"/>
                    <a:pt x="809" y="393"/>
                  </a:cubicBezTo>
                  <a:cubicBezTo>
                    <a:pt x="811" y="394"/>
                    <a:pt x="811" y="394"/>
                    <a:pt x="811" y="394"/>
                  </a:cubicBezTo>
                  <a:cubicBezTo>
                    <a:pt x="814" y="396"/>
                    <a:pt x="814" y="396"/>
                    <a:pt x="814" y="396"/>
                  </a:cubicBezTo>
                  <a:cubicBezTo>
                    <a:pt x="815" y="397"/>
                    <a:pt x="815" y="397"/>
                    <a:pt x="815" y="397"/>
                  </a:cubicBezTo>
                  <a:cubicBezTo>
                    <a:pt x="816" y="397"/>
                    <a:pt x="816" y="397"/>
                    <a:pt x="816" y="397"/>
                  </a:cubicBezTo>
                  <a:cubicBezTo>
                    <a:pt x="817" y="397"/>
                    <a:pt x="817" y="397"/>
                    <a:pt x="817" y="397"/>
                  </a:cubicBezTo>
                  <a:cubicBezTo>
                    <a:pt x="817" y="397"/>
                    <a:pt x="817" y="397"/>
                    <a:pt x="817" y="397"/>
                  </a:cubicBezTo>
                  <a:cubicBezTo>
                    <a:pt x="818" y="397"/>
                    <a:pt x="818" y="397"/>
                    <a:pt x="818" y="397"/>
                  </a:cubicBezTo>
                  <a:cubicBezTo>
                    <a:pt x="819" y="397"/>
                    <a:pt x="819" y="397"/>
                    <a:pt x="819" y="397"/>
                  </a:cubicBezTo>
                  <a:cubicBezTo>
                    <a:pt x="819" y="397"/>
                    <a:pt x="819" y="397"/>
                    <a:pt x="819" y="397"/>
                  </a:cubicBezTo>
                  <a:cubicBezTo>
                    <a:pt x="820" y="397"/>
                    <a:pt x="820" y="397"/>
                    <a:pt x="820" y="397"/>
                  </a:cubicBezTo>
                  <a:cubicBezTo>
                    <a:pt x="820" y="396"/>
                    <a:pt x="820" y="396"/>
                    <a:pt x="820" y="396"/>
                  </a:cubicBezTo>
                  <a:cubicBezTo>
                    <a:pt x="819" y="396"/>
                    <a:pt x="819" y="396"/>
                    <a:pt x="819" y="396"/>
                  </a:cubicBezTo>
                  <a:cubicBezTo>
                    <a:pt x="819" y="396"/>
                    <a:pt x="819" y="396"/>
                    <a:pt x="819" y="396"/>
                  </a:cubicBezTo>
                  <a:cubicBezTo>
                    <a:pt x="819" y="396"/>
                    <a:pt x="819" y="396"/>
                    <a:pt x="819" y="396"/>
                  </a:cubicBezTo>
                  <a:cubicBezTo>
                    <a:pt x="818" y="396"/>
                    <a:pt x="818" y="396"/>
                    <a:pt x="818" y="396"/>
                  </a:cubicBezTo>
                  <a:cubicBezTo>
                    <a:pt x="818" y="396"/>
                    <a:pt x="818" y="396"/>
                    <a:pt x="818" y="396"/>
                  </a:cubicBezTo>
                  <a:cubicBezTo>
                    <a:pt x="818" y="396"/>
                    <a:pt x="818" y="396"/>
                    <a:pt x="818" y="396"/>
                  </a:cubicBezTo>
                  <a:cubicBezTo>
                    <a:pt x="819" y="396"/>
                    <a:pt x="820" y="396"/>
                    <a:pt x="821" y="395"/>
                  </a:cubicBezTo>
                  <a:cubicBezTo>
                    <a:pt x="821" y="395"/>
                    <a:pt x="821" y="395"/>
                    <a:pt x="821"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0" y="395"/>
                    <a:pt x="820" y="395"/>
                    <a:pt x="820" y="395"/>
                  </a:cubicBezTo>
                  <a:cubicBezTo>
                    <a:pt x="821" y="395"/>
                    <a:pt x="821" y="395"/>
                    <a:pt x="821" y="395"/>
                  </a:cubicBezTo>
                  <a:cubicBezTo>
                    <a:pt x="822" y="395"/>
                    <a:pt x="822" y="395"/>
                    <a:pt x="822" y="395"/>
                  </a:cubicBezTo>
                  <a:cubicBezTo>
                    <a:pt x="822" y="395"/>
                    <a:pt x="822" y="395"/>
                    <a:pt x="822" y="395"/>
                  </a:cubicBezTo>
                  <a:cubicBezTo>
                    <a:pt x="823" y="395"/>
                    <a:pt x="823" y="395"/>
                    <a:pt x="823" y="395"/>
                  </a:cubicBezTo>
                  <a:cubicBezTo>
                    <a:pt x="823" y="394"/>
                    <a:pt x="823" y="394"/>
                    <a:pt x="823" y="394"/>
                  </a:cubicBezTo>
                  <a:cubicBezTo>
                    <a:pt x="823" y="394"/>
                    <a:pt x="823" y="394"/>
                    <a:pt x="823" y="394"/>
                  </a:cubicBezTo>
                  <a:cubicBezTo>
                    <a:pt x="824" y="394"/>
                    <a:pt x="824" y="394"/>
                    <a:pt x="824" y="394"/>
                  </a:cubicBezTo>
                  <a:cubicBezTo>
                    <a:pt x="843" y="390"/>
                    <a:pt x="843" y="390"/>
                    <a:pt x="843" y="390"/>
                  </a:cubicBezTo>
                  <a:cubicBezTo>
                    <a:pt x="843" y="389"/>
                    <a:pt x="843" y="389"/>
                    <a:pt x="843" y="389"/>
                  </a:cubicBezTo>
                  <a:cubicBezTo>
                    <a:pt x="843" y="389"/>
                    <a:pt x="843" y="389"/>
                    <a:pt x="843" y="389"/>
                  </a:cubicBezTo>
                  <a:cubicBezTo>
                    <a:pt x="843" y="388"/>
                    <a:pt x="845" y="388"/>
                    <a:pt x="845" y="387"/>
                  </a:cubicBezTo>
                  <a:cubicBezTo>
                    <a:pt x="845" y="387"/>
                    <a:pt x="845" y="387"/>
                    <a:pt x="845" y="387"/>
                  </a:cubicBezTo>
                  <a:cubicBezTo>
                    <a:pt x="845" y="387"/>
                    <a:pt x="845" y="387"/>
                    <a:pt x="845" y="387"/>
                  </a:cubicBezTo>
                  <a:cubicBezTo>
                    <a:pt x="845" y="387"/>
                    <a:pt x="845" y="387"/>
                    <a:pt x="845" y="387"/>
                  </a:cubicBezTo>
                  <a:cubicBezTo>
                    <a:pt x="845" y="387"/>
                    <a:pt x="845" y="387"/>
                    <a:pt x="845" y="387"/>
                  </a:cubicBezTo>
                  <a:cubicBezTo>
                    <a:pt x="846" y="386"/>
                    <a:pt x="848" y="385"/>
                    <a:pt x="849" y="384"/>
                  </a:cubicBezTo>
                  <a:cubicBezTo>
                    <a:pt x="851" y="383"/>
                    <a:pt x="851" y="383"/>
                    <a:pt x="851" y="383"/>
                  </a:cubicBezTo>
                  <a:cubicBezTo>
                    <a:pt x="851" y="382"/>
                    <a:pt x="851" y="382"/>
                    <a:pt x="851" y="382"/>
                  </a:cubicBezTo>
                  <a:cubicBezTo>
                    <a:pt x="852" y="381"/>
                    <a:pt x="852" y="381"/>
                    <a:pt x="852" y="381"/>
                  </a:cubicBezTo>
                  <a:cubicBezTo>
                    <a:pt x="852" y="381"/>
                    <a:pt x="852" y="381"/>
                    <a:pt x="852" y="381"/>
                  </a:cubicBezTo>
                  <a:cubicBezTo>
                    <a:pt x="852" y="381"/>
                    <a:pt x="852" y="381"/>
                    <a:pt x="852" y="381"/>
                  </a:cubicBezTo>
                  <a:cubicBezTo>
                    <a:pt x="852" y="381"/>
                    <a:pt x="852" y="381"/>
                    <a:pt x="852" y="381"/>
                  </a:cubicBezTo>
                  <a:cubicBezTo>
                    <a:pt x="852" y="380"/>
                    <a:pt x="852" y="380"/>
                    <a:pt x="852" y="380"/>
                  </a:cubicBezTo>
                  <a:cubicBezTo>
                    <a:pt x="851" y="380"/>
                    <a:pt x="851" y="380"/>
                    <a:pt x="851" y="380"/>
                  </a:cubicBezTo>
                  <a:cubicBezTo>
                    <a:pt x="851" y="380"/>
                    <a:pt x="851" y="380"/>
                    <a:pt x="851" y="380"/>
                  </a:cubicBezTo>
                  <a:cubicBezTo>
                    <a:pt x="851" y="380"/>
                    <a:pt x="851" y="380"/>
                    <a:pt x="851" y="380"/>
                  </a:cubicBezTo>
                  <a:cubicBezTo>
                    <a:pt x="852" y="379"/>
                    <a:pt x="852" y="379"/>
                    <a:pt x="852" y="379"/>
                  </a:cubicBezTo>
                  <a:cubicBezTo>
                    <a:pt x="852" y="379"/>
                    <a:pt x="852" y="379"/>
                    <a:pt x="852" y="379"/>
                  </a:cubicBezTo>
                  <a:cubicBezTo>
                    <a:pt x="854" y="377"/>
                    <a:pt x="854" y="377"/>
                    <a:pt x="854" y="377"/>
                  </a:cubicBezTo>
                  <a:cubicBezTo>
                    <a:pt x="855" y="377"/>
                    <a:pt x="855" y="377"/>
                    <a:pt x="855" y="377"/>
                  </a:cubicBezTo>
                  <a:cubicBezTo>
                    <a:pt x="855" y="376"/>
                    <a:pt x="855" y="376"/>
                    <a:pt x="855" y="376"/>
                  </a:cubicBezTo>
                  <a:cubicBezTo>
                    <a:pt x="855" y="376"/>
                    <a:pt x="855" y="376"/>
                    <a:pt x="855" y="376"/>
                  </a:cubicBezTo>
                  <a:cubicBezTo>
                    <a:pt x="855" y="376"/>
                    <a:pt x="855" y="376"/>
                    <a:pt x="855" y="376"/>
                  </a:cubicBezTo>
                  <a:cubicBezTo>
                    <a:pt x="856" y="376"/>
                    <a:pt x="856" y="376"/>
                    <a:pt x="856" y="376"/>
                  </a:cubicBezTo>
                  <a:cubicBezTo>
                    <a:pt x="856" y="375"/>
                    <a:pt x="856" y="375"/>
                    <a:pt x="856" y="375"/>
                  </a:cubicBezTo>
                  <a:cubicBezTo>
                    <a:pt x="856" y="375"/>
                    <a:pt x="856" y="375"/>
                    <a:pt x="856" y="375"/>
                  </a:cubicBezTo>
                  <a:cubicBezTo>
                    <a:pt x="856" y="374"/>
                    <a:pt x="856" y="375"/>
                    <a:pt x="856" y="374"/>
                  </a:cubicBezTo>
                  <a:cubicBezTo>
                    <a:pt x="856" y="373"/>
                    <a:pt x="856" y="373"/>
                    <a:pt x="856" y="373"/>
                  </a:cubicBezTo>
                  <a:cubicBezTo>
                    <a:pt x="857" y="372"/>
                    <a:pt x="857" y="372"/>
                    <a:pt x="857" y="372"/>
                  </a:cubicBezTo>
                  <a:cubicBezTo>
                    <a:pt x="859" y="371"/>
                    <a:pt x="859" y="371"/>
                    <a:pt x="859" y="371"/>
                  </a:cubicBezTo>
                  <a:cubicBezTo>
                    <a:pt x="865" y="367"/>
                    <a:pt x="865" y="367"/>
                    <a:pt x="865" y="367"/>
                  </a:cubicBezTo>
                  <a:cubicBezTo>
                    <a:pt x="868" y="365"/>
                    <a:pt x="868" y="365"/>
                    <a:pt x="868" y="365"/>
                  </a:cubicBezTo>
                  <a:cubicBezTo>
                    <a:pt x="869" y="364"/>
                    <a:pt x="869" y="364"/>
                    <a:pt x="869" y="364"/>
                  </a:cubicBezTo>
                  <a:cubicBezTo>
                    <a:pt x="869" y="364"/>
                    <a:pt x="869" y="364"/>
                    <a:pt x="869" y="364"/>
                  </a:cubicBezTo>
                  <a:cubicBezTo>
                    <a:pt x="869" y="364"/>
                    <a:pt x="869" y="363"/>
                    <a:pt x="869" y="363"/>
                  </a:cubicBezTo>
                  <a:cubicBezTo>
                    <a:pt x="869" y="363"/>
                    <a:pt x="869" y="363"/>
                    <a:pt x="869" y="363"/>
                  </a:cubicBezTo>
                  <a:cubicBezTo>
                    <a:pt x="869" y="362"/>
                    <a:pt x="869" y="362"/>
                    <a:pt x="869" y="362"/>
                  </a:cubicBezTo>
                  <a:cubicBezTo>
                    <a:pt x="869" y="362"/>
                    <a:pt x="868" y="362"/>
                    <a:pt x="868" y="362"/>
                  </a:cubicBezTo>
                  <a:cubicBezTo>
                    <a:pt x="868" y="361"/>
                    <a:pt x="868" y="361"/>
                    <a:pt x="868" y="361"/>
                  </a:cubicBezTo>
                  <a:cubicBezTo>
                    <a:pt x="868" y="361"/>
                    <a:pt x="868" y="361"/>
                    <a:pt x="868" y="361"/>
                  </a:cubicBezTo>
                  <a:cubicBezTo>
                    <a:pt x="869" y="360"/>
                    <a:pt x="869" y="360"/>
                    <a:pt x="869" y="360"/>
                  </a:cubicBezTo>
                  <a:cubicBezTo>
                    <a:pt x="870" y="360"/>
                    <a:pt x="870" y="360"/>
                    <a:pt x="870" y="360"/>
                  </a:cubicBezTo>
                  <a:cubicBezTo>
                    <a:pt x="871" y="359"/>
                    <a:pt x="870" y="359"/>
                    <a:pt x="870" y="358"/>
                  </a:cubicBezTo>
                  <a:cubicBezTo>
                    <a:pt x="870" y="358"/>
                    <a:pt x="870" y="358"/>
                    <a:pt x="870" y="358"/>
                  </a:cubicBezTo>
                  <a:cubicBezTo>
                    <a:pt x="870" y="358"/>
                    <a:pt x="870" y="358"/>
                    <a:pt x="870" y="358"/>
                  </a:cubicBezTo>
                  <a:cubicBezTo>
                    <a:pt x="870" y="358"/>
                    <a:pt x="870" y="357"/>
                    <a:pt x="870" y="357"/>
                  </a:cubicBezTo>
                  <a:cubicBezTo>
                    <a:pt x="870" y="357"/>
                    <a:pt x="870" y="357"/>
                    <a:pt x="870" y="357"/>
                  </a:cubicBezTo>
                  <a:cubicBezTo>
                    <a:pt x="870" y="357"/>
                    <a:pt x="870" y="357"/>
                    <a:pt x="870" y="357"/>
                  </a:cubicBezTo>
                  <a:cubicBezTo>
                    <a:pt x="870" y="356"/>
                    <a:pt x="870" y="356"/>
                    <a:pt x="870" y="356"/>
                  </a:cubicBezTo>
                  <a:cubicBezTo>
                    <a:pt x="870" y="356"/>
                    <a:pt x="870" y="356"/>
                    <a:pt x="870" y="356"/>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5"/>
                    <a:pt x="870" y="355"/>
                    <a:pt x="870" y="355"/>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70" y="354"/>
                    <a:pt x="870" y="354"/>
                    <a:pt x="870" y="354"/>
                  </a:cubicBezTo>
                  <a:cubicBezTo>
                    <a:pt x="869" y="354"/>
                    <a:pt x="869" y="354"/>
                    <a:pt x="869" y="354"/>
                  </a:cubicBezTo>
                  <a:cubicBezTo>
                    <a:pt x="869" y="353"/>
                    <a:pt x="869" y="353"/>
                    <a:pt x="869" y="353"/>
                  </a:cubicBezTo>
                  <a:cubicBezTo>
                    <a:pt x="869" y="353"/>
                    <a:pt x="869" y="353"/>
                    <a:pt x="869" y="353"/>
                  </a:cubicBezTo>
                  <a:cubicBezTo>
                    <a:pt x="869" y="352"/>
                    <a:pt x="867" y="352"/>
                    <a:pt x="868" y="350"/>
                  </a:cubicBezTo>
                  <a:cubicBezTo>
                    <a:pt x="868" y="350"/>
                    <a:pt x="868" y="350"/>
                    <a:pt x="868" y="350"/>
                  </a:cubicBezTo>
                  <a:cubicBezTo>
                    <a:pt x="870" y="349"/>
                    <a:pt x="870" y="349"/>
                    <a:pt x="870" y="349"/>
                  </a:cubicBezTo>
                  <a:cubicBezTo>
                    <a:pt x="871" y="347"/>
                    <a:pt x="871" y="347"/>
                    <a:pt x="871" y="347"/>
                  </a:cubicBezTo>
                  <a:cubicBezTo>
                    <a:pt x="876" y="342"/>
                    <a:pt x="876" y="342"/>
                    <a:pt x="876" y="342"/>
                  </a:cubicBezTo>
                  <a:cubicBezTo>
                    <a:pt x="878" y="340"/>
                    <a:pt x="878" y="340"/>
                    <a:pt x="878" y="340"/>
                  </a:cubicBezTo>
                  <a:cubicBezTo>
                    <a:pt x="879" y="339"/>
                    <a:pt x="879" y="339"/>
                    <a:pt x="879" y="339"/>
                  </a:cubicBezTo>
                  <a:cubicBezTo>
                    <a:pt x="879" y="338"/>
                    <a:pt x="878" y="337"/>
                    <a:pt x="878" y="336"/>
                  </a:cubicBezTo>
                  <a:cubicBezTo>
                    <a:pt x="877" y="336"/>
                    <a:pt x="877" y="336"/>
                    <a:pt x="877" y="336"/>
                  </a:cubicBezTo>
                  <a:cubicBezTo>
                    <a:pt x="877" y="336"/>
                    <a:pt x="877" y="336"/>
                    <a:pt x="877" y="336"/>
                  </a:cubicBezTo>
                  <a:cubicBezTo>
                    <a:pt x="875" y="334"/>
                    <a:pt x="875" y="335"/>
                    <a:pt x="873" y="333"/>
                  </a:cubicBezTo>
                  <a:cubicBezTo>
                    <a:pt x="873" y="333"/>
                    <a:pt x="873" y="333"/>
                    <a:pt x="873" y="333"/>
                  </a:cubicBezTo>
                  <a:cubicBezTo>
                    <a:pt x="872" y="333"/>
                    <a:pt x="872" y="333"/>
                    <a:pt x="872" y="333"/>
                  </a:cubicBezTo>
                  <a:cubicBezTo>
                    <a:pt x="872" y="333"/>
                    <a:pt x="872" y="333"/>
                    <a:pt x="872" y="333"/>
                  </a:cubicBezTo>
                  <a:cubicBezTo>
                    <a:pt x="867" y="329"/>
                    <a:pt x="867" y="330"/>
                    <a:pt x="862" y="327"/>
                  </a:cubicBezTo>
                  <a:cubicBezTo>
                    <a:pt x="862" y="327"/>
                    <a:pt x="862" y="327"/>
                    <a:pt x="862" y="327"/>
                  </a:cubicBezTo>
                  <a:cubicBezTo>
                    <a:pt x="862" y="327"/>
                    <a:pt x="862" y="327"/>
                    <a:pt x="862" y="327"/>
                  </a:cubicBezTo>
                  <a:cubicBezTo>
                    <a:pt x="861" y="327"/>
                    <a:pt x="861" y="327"/>
                    <a:pt x="861" y="327"/>
                  </a:cubicBezTo>
                  <a:cubicBezTo>
                    <a:pt x="861" y="327"/>
                    <a:pt x="861" y="327"/>
                    <a:pt x="861" y="327"/>
                  </a:cubicBezTo>
                  <a:cubicBezTo>
                    <a:pt x="861" y="326"/>
                    <a:pt x="861" y="326"/>
                    <a:pt x="861" y="326"/>
                  </a:cubicBezTo>
                  <a:cubicBezTo>
                    <a:pt x="861" y="326"/>
                    <a:pt x="861" y="326"/>
                    <a:pt x="861" y="326"/>
                  </a:cubicBezTo>
                  <a:cubicBezTo>
                    <a:pt x="860" y="326"/>
                    <a:pt x="860" y="326"/>
                    <a:pt x="860" y="326"/>
                  </a:cubicBezTo>
                  <a:cubicBezTo>
                    <a:pt x="860" y="326"/>
                    <a:pt x="858" y="324"/>
                    <a:pt x="858" y="323"/>
                  </a:cubicBezTo>
                  <a:cubicBezTo>
                    <a:pt x="858" y="323"/>
                    <a:pt x="858" y="323"/>
                    <a:pt x="858" y="323"/>
                  </a:cubicBezTo>
                  <a:cubicBezTo>
                    <a:pt x="858" y="323"/>
                    <a:pt x="858" y="323"/>
                    <a:pt x="858" y="323"/>
                  </a:cubicBezTo>
                  <a:cubicBezTo>
                    <a:pt x="858" y="322"/>
                    <a:pt x="858" y="321"/>
                    <a:pt x="858" y="320"/>
                  </a:cubicBezTo>
                  <a:cubicBezTo>
                    <a:pt x="858" y="320"/>
                    <a:pt x="858" y="320"/>
                    <a:pt x="858" y="320"/>
                  </a:cubicBezTo>
                  <a:cubicBezTo>
                    <a:pt x="858" y="320"/>
                    <a:pt x="858" y="320"/>
                    <a:pt x="858" y="320"/>
                  </a:cubicBezTo>
                  <a:cubicBezTo>
                    <a:pt x="858" y="320"/>
                    <a:pt x="858" y="320"/>
                    <a:pt x="858" y="320"/>
                  </a:cubicBezTo>
                  <a:cubicBezTo>
                    <a:pt x="858" y="320"/>
                    <a:pt x="858" y="320"/>
                    <a:pt x="858" y="320"/>
                  </a:cubicBezTo>
                  <a:cubicBezTo>
                    <a:pt x="857" y="319"/>
                    <a:pt x="857" y="319"/>
                    <a:pt x="857" y="319"/>
                  </a:cubicBezTo>
                  <a:cubicBezTo>
                    <a:pt x="858" y="317"/>
                    <a:pt x="859" y="314"/>
                    <a:pt x="860" y="311"/>
                  </a:cubicBezTo>
                  <a:cubicBezTo>
                    <a:pt x="860" y="311"/>
                    <a:pt x="860" y="311"/>
                    <a:pt x="860" y="311"/>
                  </a:cubicBezTo>
                  <a:cubicBezTo>
                    <a:pt x="859" y="311"/>
                    <a:pt x="859" y="311"/>
                    <a:pt x="859" y="311"/>
                  </a:cubicBezTo>
                  <a:cubicBezTo>
                    <a:pt x="859" y="311"/>
                    <a:pt x="859" y="310"/>
                    <a:pt x="859" y="310"/>
                  </a:cubicBezTo>
                  <a:cubicBezTo>
                    <a:pt x="859" y="310"/>
                    <a:pt x="859" y="310"/>
                    <a:pt x="859" y="310"/>
                  </a:cubicBezTo>
                  <a:cubicBezTo>
                    <a:pt x="859" y="309"/>
                    <a:pt x="859" y="309"/>
                    <a:pt x="859" y="309"/>
                  </a:cubicBezTo>
                  <a:cubicBezTo>
                    <a:pt x="859" y="309"/>
                    <a:pt x="859" y="309"/>
                    <a:pt x="859" y="309"/>
                  </a:cubicBezTo>
                  <a:cubicBezTo>
                    <a:pt x="859" y="307"/>
                    <a:pt x="860" y="305"/>
                    <a:pt x="859" y="304"/>
                  </a:cubicBezTo>
                  <a:cubicBezTo>
                    <a:pt x="859" y="304"/>
                    <a:pt x="859" y="304"/>
                    <a:pt x="859" y="304"/>
                  </a:cubicBezTo>
                  <a:cubicBezTo>
                    <a:pt x="859" y="303"/>
                    <a:pt x="859" y="303"/>
                    <a:pt x="859" y="303"/>
                  </a:cubicBezTo>
                  <a:cubicBezTo>
                    <a:pt x="859" y="303"/>
                    <a:pt x="859" y="303"/>
                    <a:pt x="859" y="303"/>
                  </a:cubicBezTo>
                  <a:cubicBezTo>
                    <a:pt x="859" y="303"/>
                    <a:pt x="859" y="303"/>
                    <a:pt x="859" y="303"/>
                  </a:cubicBezTo>
                  <a:cubicBezTo>
                    <a:pt x="859" y="303"/>
                    <a:pt x="859" y="303"/>
                    <a:pt x="859" y="303"/>
                  </a:cubicBezTo>
                  <a:cubicBezTo>
                    <a:pt x="859" y="303"/>
                    <a:pt x="859" y="303"/>
                    <a:pt x="859" y="303"/>
                  </a:cubicBezTo>
                  <a:cubicBezTo>
                    <a:pt x="859" y="302"/>
                    <a:pt x="859" y="302"/>
                    <a:pt x="859" y="302"/>
                  </a:cubicBezTo>
                  <a:cubicBezTo>
                    <a:pt x="858" y="302"/>
                    <a:pt x="858" y="302"/>
                    <a:pt x="858" y="302"/>
                  </a:cubicBezTo>
                  <a:cubicBezTo>
                    <a:pt x="858" y="302"/>
                    <a:pt x="858" y="302"/>
                    <a:pt x="858" y="302"/>
                  </a:cubicBezTo>
                  <a:cubicBezTo>
                    <a:pt x="858" y="301"/>
                    <a:pt x="858" y="301"/>
                    <a:pt x="858" y="301"/>
                  </a:cubicBezTo>
                  <a:cubicBezTo>
                    <a:pt x="859" y="300"/>
                    <a:pt x="859" y="300"/>
                    <a:pt x="859" y="300"/>
                  </a:cubicBezTo>
                  <a:cubicBezTo>
                    <a:pt x="859" y="297"/>
                    <a:pt x="859" y="297"/>
                    <a:pt x="859" y="297"/>
                  </a:cubicBezTo>
                  <a:cubicBezTo>
                    <a:pt x="860" y="296"/>
                    <a:pt x="860" y="296"/>
                    <a:pt x="860" y="296"/>
                  </a:cubicBezTo>
                  <a:cubicBezTo>
                    <a:pt x="860" y="295"/>
                    <a:pt x="860" y="295"/>
                    <a:pt x="860" y="295"/>
                  </a:cubicBezTo>
                  <a:cubicBezTo>
                    <a:pt x="860" y="295"/>
                    <a:pt x="860" y="294"/>
                    <a:pt x="860" y="294"/>
                  </a:cubicBezTo>
                  <a:cubicBezTo>
                    <a:pt x="860" y="294"/>
                    <a:pt x="860" y="294"/>
                    <a:pt x="860" y="294"/>
                  </a:cubicBezTo>
                  <a:cubicBezTo>
                    <a:pt x="860" y="293"/>
                    <a:pt x="860" y="293"/>
                    <a:pt x="860" y="293"/>
                  </a:cubicBezTo>
                  <a:cubicBezTo>
                    <a:pt x="860" y="293"/>
                    <a:pt x="860" y="293"/>
                    <a:pt x="860" y="293"/>
                  </a:cubicBezTo>
                  <a:cubicBezTo>
                    <a:pt x="860" y="292"/>
                    <a:pt x="860" y="291"/>
                    <a:pt x="859" y="290"/>
                  </a:cubicBezTo>
                  <a:cubicBezTo>
                    <a:pt x="859" y="290"/>
                    <a:pt x="859" y="290"/>
                    <a:pt x="859" y="290"/>
                  </a:cubicBezTo>
                  <a:cubicBezTo>
                    <a:pt x="859" y="290"/>
                    <a:pt x="859" y="290"/>
                    <a:pt x="859" y="290"/>
                  </a:cubicBezTo>
                  <a:cubicBezTo>
                    <a:pt x="859" y="290"/>
                    <a:pt x="859" y="290"/>
                    <a:pt x="859" y="290"/>
                  </a:cubicBezTo>
                  <a:cubicBezTo>
                    <a:pt x="858" y="289"/>
                    <a:pt x="858" y="289"/>
                    <a:pt x="858" y="289"/>
                  </a:cubicBezTo>
                  <a:cubicBezTo>
                    <a:pt x="858" y="289"/>
                    <a:pt x="858" y="289"/>
                    <a:pt x="858" y="289"/>
                  </a:cubicBezTo>
                  <a:cubicBezTo>
                    <a:pt x="858" y="289"/>
                    <a:pt x="858" y="289"/>
                    <a:pt x="858" y="289"/>
                  </a:cubicBezTo>
                  <a:cubicBezTo>
                    <a:pt x="858" y="289"/>
                    <a:pt x="858" y="289"/>
                    <a:pt x="858" y="289"/>
                  </a:cubicBezTo>
                  <a:cubicBezTo>
                    <a:pt x="858" y="289"/>
                    <a:pt x="858" y="289"/>
                    <a:pt x="858" y="289"/>
                  </a:cubicBezTo>
                  <a:cubicBezTo>
                    <a:pt x="857" y="288"/>
                    <a:pt x="857" y="288"/>
                    <a:pt x="857" y="288"/>
                  </a:cubicBezTo>
                  <a:cubicBezTo>
                    <a:pt x="858" y="288"/>
                    <a:pt x="858" y="288"/>
                    <a:pt x="858" y="288"/>
                  </a:cubicBezTo>
                  <a:cubicBezTo>
                    <a:pt x="858" y="287"/>
                    <a:pt x="858" y="287"/>
                    <a:pt x="858" y="287"/>
                  </a:cubicBezTo>
                  <a:cubicBezTo>
                    <a:pt x="859" y="284"/>
                    <a:pt x="859" y="284"/>
                    <a:pt x="859" y="284"/>
                  </a:cubicBezTo>
                  <a:cubicBezTo>
                    <a:pt x="859" y="283"/>
                    <a:pt x="859" y="282"/>
                    <a:pt x="859" y="282"/>
                  </a:cubicBezTo>
                  <a:cubicBezTo>
                    <a:pt x="859" y="281"/>
                    <a:pt x="859" y="281"/>
                    <a:pt x="859" y="281"/>
                  </a:cubicBezTo>
                  <a:cubicBezTo>
                    <a:pt x="859" y="281"/>
                    <a:pt x="859" y="281"/>
                    <a:pt x="859" y="281"/>
                  </a:cubicBezTo>
                  <a:cubicBezTo>
                    <a:pt x="859" y="281"/>
                    <a:pt x="859" y="281"/>
                    <a:pt x="859" y="281"/>
                  </a:cubicBezTo>
                  <a:cubicBezTo>
                    <a:pt x="858" y="281"/>
                    <a:pt x="858" y="281"/>
                    <a:pt x="858" y="281"/>
                  </a:cubicBezTo>
                  <a:cubicBezTo>
                    <a:pt x="858" y="281"/>
                    <a:pt x="858" y="281"/>
                    <a:pt x="858" y="281"/>
                  </a:cubicBezTo>
                  <a:cubicBezTo>
                    <a:pt x="857" y="280"/>
                    <a:pt x="857" y="280"/>
                    <a:pt x="857" y="280"/>
                  </a:cubicBezTo>
                  <a:cubicBezTo>
                    <a:pt x="857" y="280"/>
                    <a:pt x="857" y="280"/>
                    <a:pt x="857" y="280"/>
                  </a:cubicBezTo>
                  <a:cubicBezTo>
                    <a:pt x="856" y="278"/>
                    <a:pt x="856" y="278"/>
                    <a:pt x="856" y="278"/>
                  </a:cubicBezTo>
                  <a:cubicBezTo>
                    <a:pt x="856" y="278"/>
                    <a:pt x="856" y="278"/>
                    <a:pt x="856" y="278"/>
                  </a:cubicBezTo>
                  <a:cubicBezTo>
                    <a:pt x="856" y="277"/>
                    <a:pt x="856" y="277"/>
                    <a:pt x="856" y="277"/>
                  </a:cubicBezTo>
                  <a:cubicBezTo>
                    <a:pt x="856" y="277"/>
                    <a:pt x="856" y="277"/>
                    <a:pt x="856" y="277"/>
                  </a:cubicBezTo>
                  <a:cubicBezTo>
                    <a:pt x="857" y="277"/>
                    <a:pt x="857" y="276"/>
                    <a:pt x="858" y="276"/>
                  </a:cubicBezTo>
                  <a:cubicBezTo>
                    <a:pt x="858" y="275"/>
                    <a:pt x="858" y="275"/>
                    <a:pt x="858" y="275"/>
                  </a:cubicBezTo>
                  <a:cubicBezTo>
                    <a:pt x="859" y="275"/>
                    <a:pt x="859" y="275"/>
                    <a:pt x="859" y="275"/>
                  </a:cubicBezTo>
                  <a:cubicBezTo>
                    <a:pt x="859" y="275"/>
                    <a:pt x="859" y="275"/>
                    <a:pt x="859" y="275"/>
                  </a:cubicBezTo>
                  <a:cubicBezTo>
                    <a:pt x="861" y="274"/>
                    <a:pt x="861" y="274"/>
                    <a:pt x="861" y="274"/>
                  </a:cubicBezTo>
                  <a:cubicBezTo>
                    <a:pt x="862" y="273"/>
                    <a:pt x="862" y="273"/>
                    <a:pt x="862" y="273"/>
                  </a:cubicBezTo>
                  <a:cubicBezTo>
                    <a:pt x="862" y="273"/>
                    <a:pt x="862" y="273"/>
                    <a:pt x="862" y="273"/>
                  </a:cubicBezTo>
                  <a:cubicBezTo>
                    <a:pt x="862" y="273"/>
                    <a:pt x="862" y="273"/>
                    <a:pt x="862" y="273"/>
                  </a:cubicBezTo>
                  <a:cubicBezTo>
                    <a:pt x="862" y="272"/>
                    <a:pt x="862" y="272"/>
                    <a:pt x="862" y="272"/>
                  </a:cubicBezTo>
                  <a:cubicBezTo>
                    <a:pt x="862" y="272"/>
                    <a:pt x="862" y="272"/>
                    <a:pt x="862" y="272"/>
                  </a:cubicBezTo>
                  <a:cubicBezTo>
                    <a:pt x="862" y="272"/>
                    <a:pt x="862" y="272"/>
                    <a:pt x="862" y="272"/>
                  </a:cubicBezTo>
                  <a:cubicBezTo>
                    <a:pt x="862" y="272"/>
                    <a:pt x="862" y="272"/>
                    <a:pt x="862" y="272"/>
                  </a:cubicBezTo>
                  <a:cubicBezTo>
                    <a:pt x="862" y="271"/>
                    <a:pt x="862" y="270"/>
                    <a:pt x="862" y="269"/>
                  </a:cubicBezTo>
                  <a:cubicBezTo>
                    <a:pt x="862" y="269"/>
                    <a:pt x="862" y="269"/>
                    <a:pt x="862" y="269"/>
                  </a:cubicBezTo>
                  <a:cubicBezTo>
                    <a:pt x="862" y="269"/>
                    <a:pt x="862" y="269"/>
                    <a:pt x="862" y="269"/>
                  </a:cubicBezTo>
                  <a:cubicBezTo>
                    <a:pt x="861" y="268"/>
                    <a:pt x="861" y="268"/>
                    <a:pt x="861" y="268"/>
                  </a:cubicBezTo>
                  <a:cubicBezTo>
                    <a:pt x="861" y="268"/>
                    <a:pt x="861" y="268"/>
                    <a:pt x="861" y="268"/>
                  </a:cubicBezTo>
                  <a:cubicBezTo>
                    <a:pt x="861" y="268"/>
                    <a:pt x="861" y="268"/>
                    <a:pt x="861" y="268"/>
                  </a:cubicBezTo>
                  <a:cubicBezTo>
                    <a:pt x="861" y="267"/>
                    <a:pt x="861" y="267"/>
                    <a:pt x="861" y="267"/>
                  </a:cubicBezTo>
                  <a:cubicBezTo>
                    <a:pt x="862" y="265"/>
                    <a:pt x="862" y="265"/>
                    <a:pt x="862" y="265"/>
                  </a:cubicBezTo>
                  <a:cubicBezTo>
                    <a:pt x="862" y="264"/>
                    <a:pt x="862" y="264"/>
                    <a:pt x="862" y="264"/>
                  </a:cubicBezTo>
                  <a:cubicBezTo>
                    <a:pt x="862" y="263"/>
                    <a:pt x="862" y="263"/>
                    <a:pt x="862" y="263"/>
                  </a:cubicBezTo>
                  <a:cubicBezTo>
                    <a:pt x="862" y="263"/>
                    <a:pt x="862" y="263"/>
                    <a:pt x="862" y="263"/>
                  </a:cubicBezTo>
                  <a:cubicBezTo>
                    <a:pt x="862" y="262"/>
                    <a:pt x="862" y="262"/>
                    <a:pt x="862" y="262"/>
                  </a:cubicBezTo>
                  <a:cubicBezTo>
                    <a:pt x="862" y="262"/>
                    <a:pt x="862" y="262"/>
                    <a:pt x="862" y="262"/>
                  </a:cubicBezTo>
                  <a:cubicBezTo>
                    <a:pt x="863" y="261"/>
                    <a:pt x="863" y="261"/>
                    <a:pt x="863" y="261"/>
                  </a:cubicBezTo>
                  <a:cubicBezTo>
                    <a:pt x="863" y="260"/>
                    <a:pt x="863" y="260"/>
                    <a:pt x="863" y="260"/>
                  </a:cubicBezTo>
                  <a:cubicBezTo>
                    <a:pt x="863" y="260"/>
                    <a:pt x="863" y="260"/>
                    <a:pt x="863" y="260"/>
                  </a:cubicBezTo>
                  <a:cubicBezTo>
                    <a:pt x="863" y="258"/>
                    <a:pt x="864" y="258"/>
                    <a:pt x="863" y="257"/>
                  </a:cubicBezTo>
                  <a:cubicBezTo>
                    <a:pt x="863" y="257"/>
                    <a:pt x="863" y="257"/>
                    <a:pt x="863" y="257"/>
                  </a:cubicBezTo>
                  <a:cubicBezTo>
                    <a:pt x="862" y="256"/>
                    <a:pt x="862" y="256"/>
                    <a:pt x="862" y="256"/>
                  </a:cubicBezTo>
                  <a:cubicBezTo>
                    <a:pt x="861" y="255"/>
                    <a:pt x="861" y="256"/>
                    <a:pt x="861" y="254"/>
                  </a:cubicBezTo>
                  <a:cubicBezTo>
                    <a:pt x="861" y="254"/>
                    <a:pt x="861" y="254"/>
                    <a:pt x="861" y="254"/>
                  </a:cubicBezTo>
                  <a:cubicBezTo>
                    <a:pt x="860" y="254"/>
                    <a:pt x="860" y="254"/>
                    <a:pt x="860" y="254"/>
                  </a:cubicBezTo>
                  <a:cubicBezTo>
                    <a:pt x="860" y="254"/>
                    <a:pt x="860" y="254"/>
                    <a:pt x="860" y="254"/>
                  </a:cubicBezTo>
                  <a:cubicBezTo>
                    <a:pt x="860" y="253"/>
                    <a:pt x="860" y="253"/>
                    <a:pt x="860" y="253"/>
                  </a:cubicBezTo>
                  <a:cubicBezTo>
                    <a:pt x="860" y="253"/>
                    <a:pt x="860" y="253"/>
                    <a:pt x="860" y="253"/>
                  </a:cubicBezTo>
                  <a:cubicBezTo>
                    <a:pt x="860" y="253"/>
                    <a:pt x="860" y="253"/>
                    <a:pt x="860" y="253"/>
                  </a:cubicBezTo>
                  <a:cubicBezTo>
                    <a:pt x="859" y="251"/>
                    <a:pt x="861" y="250"/>
                    <a:pt x="859" y="248"/>
                  </a:cubicBezTo>
                  <a:cubicBezTo>
                    <a:pt x="859" y="248"/>
                    <a:pt x="859" y="248"/>
                    <a:pt x="859" y="248"/>
                  </a:cubicBezTo>
                  <a:cubicBezTo>
                    <a:pt x="859" y="248"/>
                    <a:pt x="859" y="248"/>
                    <a:pt x="859" y="248"/>
                  </a:cubicBezTo>
                  <a:cubicBezTo>
                    <a:pt x="858" y="247"/>
                    <a:pt x="856" y="247"/>
                    <a:pt x="855" y="246"/>
                  </a:cubicBezTo>
                  <a:cubicBezTo>
                    <a:pt x="854" y="246"/>
                    <a:pt x="854" y="246"/>
                    <a:pt x="854" y="246"/>
                  </a:cubicBezTo>
                  <a:cubicBezTo>
                    <a:pt x="854" y="246"/>
                    <a:pt x="854" y="246"/>
                    <a:pt x="854" y="246"/>
                  </a:cubicBezTo>
                  <a:cubicBezTo>
                    <a:pt x="854" y="246"/>
                    <a:pt x="854" y="246"/>
                    <a:pt x="854" y="246"/>
                  </a:cubicBezTo>
                  <a:cubicBezTo>
                    <a:pt x="850" y="244"/>
                    <a:pt x="849" y="244"/>
                    <a:pt x="847" y="241"/>
                  </a:cubicBezTo>
                  <a:cubicBezTo>
                    <a:pt x="847" y="241"/>
                    <a:pt x="847" y="241"/>
                    <a:pt x="847" y="241"/>
                  </a:cubicBezTo>
                  <a:cubicBezTo>
                    <a:pt x="846" y="240"/>
                    <a:pt x="846" y="240"/>
                    <a:pt x="846" y="240"/>
                  </a:cubicBezTo>
                  <a:cubicBezTo>
                    <a:pt x="846" y="240"/>
                    <a:pt x="846" y="240"/>
                    <a:pt x="846" y="240"/>
                  </a:cubicBezTo>
                  <a:cubicBezTo>
                    <a:pt x="846" y="240"/>
                    <a:pt x="846" y="240"/>
                    <a:pt x="846" y="240"/>
                  </a:cubicBezTo>
                  <a:cubicBezTo>
                    <a:pt x="846" y="240"/>
                    <a:pt x="846" y="240"/>
                    <a:pt x="846" y="240"/>
                  </a:cubicBezTo>
                  <a:cubicBezTo>
                    <a:pt x="846" y="240"/>
                    <a:pt x="846" y="240"/>
                    <a:pt x="846" y="240"/>
                  </a:cubicBezTo>
                  <a:cubicBezTo>
                    <a:pt x="845" y="239"/>
                    <a:pt x="845" y="239"/>
                    <a:pt x="845" y="239"/>
                  </a:cubicBezTo>
                  <a:cubicBezTo>
                    <a:pt x="844" y="237"/>
                    <a:pt x="843" y="235"/>
                    <a:pt x="846" y="234"/>
                  </a:cubicBezTo>
                  <a:cubicBezTo>
                    <a:pt x="846" y="234"/>
                    <a:pt x="846" y="234"/>
                    <a:pt x="846" y="234"/>
                  </a:cubicBezTo>
                  <a:cubicBezTo>
                    <a:pt x="846" y="234"/>
                    <a:pt x="846" y="234"/>
                    <a:pt x="846" y="234"/>
                  </a:cubicBezTo>
                  <a:cubicBezTo>
                    <a:pt x="847" y="233"/>
                    <a:pt x="847" y="234"/>
                    <a:pt x="850" y="233"/>
                  </a:cubicBezTo>
                  <a:cubicBezTo>
                    <a:pt x="850" y="232"/>
                    <a:pt x="850" y="232"/>
                    <a:pt x="850" y="232"/>
                  </a:cubicBezTo>
                  <a:cubicBezTo>
                    <a:pt x="851" y="231"/>
                    <a:pt x="851" y="231"/>
                    <a:pt x="851" y="231"/>
                  </a:cubicBezTo>
                  <a:cubicBezTo>
                    <a:pt x="853" y="228"/>
                    <a:pt x="853" y="228"/>
                    <a:pt x="853" y="228"/>
                  </a:cubicBezTo>
                  <a:cubicBezTo>
                    <a:pt x="853" y="225"/>
                    <a:pt x="853" y="225"/>
                    <a:pt x="853" y="225"/>
                  </a:cubicBezTo>
                  <a:cubicBezTo>
                    <a:pt x="854" y="224"/>
                    <a:pt x="854" y="224"/>
                    <a:pt x="854" y="224"/>
                  </a:cubicBezTo>
                  <a:cubicBezTo>
                    <a:pt x="854" y="223"/>
                    <a:pt x="854" y="223"/>
                    <a:pt x="854" y="223"/>
                  </a:cubicBezTo>
                  <a:cubicBezTo>
                    <a:pt x="854" y="223"/>
                    <a:pt x="854" y="223"/>
                    <a:pt x="854" y="223"/>
                  </a:cubicBezTo>
                  <a:cubicBezTo>
                    <a:pt x="854" y="223"/>
                    <a:pt x="854" y="223"/>
                    <a:pt x="854" y="223"/>
                  </a:cubicBezTo>
                  <a:cubicBezTo>
                    <a:pt x="854" y="223"/>
                    <a:pt x="854" y="223"/>
                    <a:pt x="854" y="223"/>
                  </a:cubicBezTo>
                  <a:cubicBezTo>
                    <a:pt x="854" y="223"/>
                    <a:pt x="854" y="223"/>
                    <a:pt x="854" y="223"/>
                  </a:cubicBezTo>
                  <a:cubicBezTo>
                    <a:pt x="855" y="222"/>
                    <a:pt x="855" y="222"/>
                    <a:pt x="855" y="222"/>
                  </a:cubicBezTo>
                  <a:cubicBezTo>
                    <a:pt x="855" y="222"/>
                    <a:pt x="855" y="222"/>
                    <a:pt x="855" y="222"/>
                  </a:cubicBezTo>
                  <a:cubicBezTo>
                    <a:pt x="856" y="222"/>
                    <a:pt x="856" y="222"/>
                    <a:pt x="856" y="222"/>
                  </a:cubicBezTo>
                  <a:cubicBezTo>
                    <a:pt x="856" y="222"/>
                    <a:pt x="856" y="222"/>
                    <a:pt x="856" y="222"/>
                  </a:cubicBezTo>
                  <a:cubicBezTo>
                    <a:pt x="857" y="221"/>
                    <a:pt x="857" y="221"/>
                    <a:pt x="857" y="221"/>
                  </a:cubicBezTo>
                  <a:cubicBezTo>
                    <a:pt x="858" y="218"/>
                    <a:pt x="858" y="218"/>
                    <a:pt x="858" y="218"/>
                  </a:cubicBezTo>
                  <a:cubicBezTo>
                    <a:pt x="858" y="217"/>
                    <a:pt x="858" y="217"/>
                    <a:pt x="858" y="217"/>
                  </a:cubicBezTo>
                  <a:cubicBezTo>
                    <a:pt x="859" y="216"/>
                    <a:pt x="859" y="216"/>
                    <a:pt x="859" y="216"/>
                  </a:cubicBezTo>
                  <a:cubicBezTo>
                    <a:pt x="859" y="215"/>
                    <a:pt x="859" y="215"/>
                    <a:pt x="859" y="215"/>
                  </a:cubicBezTo>
                  <a:cubicBezTo>
                    <a:pt x="860" y="214"/>
                    <a:pt x="860" y="214"/>
                    <a:pt x="860" y="214"/>
                  </a:cubicBezTo>
                  <a:cubicBezTo>
                    <a:pt x="863" y="210"/>
                    <a:pt x="863" y="210"/>
                    <a:pt x="863" y="210"/>
                  </a:cubicBezTo>
                  <a:cubicBezTo>
                    <a:pt x="864" y="208"/>
                    <a:pt x="864" y="208"/>
                    <a:pt x="864" y="208"/>
                  </a:cubicBezTo>
                  <a:cubicBezTo>
                    <a:pt x="864" y="208"/>
                    <a:pt x="864" y="208"/>
                    <a:pt x="864" y="208"/>
                  </a:cubicBezTo>
                  <a:cubicBezTo>
                    <a:pt x="864" y="207"/>
                    <a:pt x="864" y="207"/>
                    <a:pt x="864" y="207"/>
                  </a:cubicBezTo>
                  <a:cubicBezTo>
                    <a:pt x="864" y="207"/>
                    <a:pt x="864" y="207"/>
                    <a:pt x="864" y="207"/>
                  </a:cubicBezTo>
                  <a:cubicBezTo>
                    <a:pt x="864" y="207"/>
                    <a:pt x="864" y="207"/>
                    <a:pt x="864" y="207"/>
                  </a:cubicBezTo>
                  <a:cubicBezTo>
                    <a:pt x="864" y="207"/>
                    <a:pt x="864" y="207"/>
                    <a:pt x="864" y="207"/>
                  </a:cubicBezTo>
                  <a:cubicBezTo>
                    <a:pt x="864" y="207"/>
                    <a:pt x="864" y="207"/>
                    <a:pt x="864" y="207"/>
                  </a:cubicBezTo>
                  <a:cubicBezTo>
                    <a:pt x="863" y="206"/>
                    <a:pt x="863" y="206"/>
                    <a:pt x="863" y="206"/>
                  </a:cubicBezTo>
                  <a:cubicBezTo>
                    <a:pt x="863" y="206"/>
                    <a:pt x="863" y="206"/>
                    <a:pt x="863" y="206"/>
                  </a:cubicBezTo>
                  <a:cubicBezTo>
                    <a:pt x="863" y="205"/>
                    <a:pt x="863" y="205"/>
                    <a:pt x="863" y="205"/>
                  </a:cubicBezTo>
                  <a:cubicBezTo>
                    <a:pt x="863" y="205"/>
                    <a:pt x="863" y="205"/>
                    <a:pt x="863" y="205"/>
                  </a:cubicBezTo>
                  <a:cubicBezTo>
                    <a:pt x="863" y="205"/>
                    <a:pt x="863" y="205"/>
                    <a:pt x="863" y="205"/>
                  </a:cubicBezTo>
                  <a:cubicBezTo>
                    <a:pt x="863" y="205"/>
                    <a:pt x="863" y="205"/>
                    <a:pt x="863" y="205"/>
                  </a:cubicBezTo>
                  <a:cubicBezTo>
                    <a:pt x="863" y="204"/>
                    <a:pt x="863" y="204"/>
                    <a:pt x="863" y="204"/>
                  </a:cubicBezTo>
                  <a:cubicBezTo>
                    <a:pt x="863" y="204"/>
                    <a:pt x="863" y="204"/>
                    <a:pt x="863" y="204"/>
                  </a:cubicBezTo>
                  <a:cubicBezTo>
                    <a:pt x="863" y="204"/>
                    <a:pt x="863" y="204"/>
                    <a:pt x="863" y="204"/>
                  </a:cubicBezTo>
                  <a:cubicBezTo>
                    <a:pt x="863" y="203"/>
                    <a:pt x="863" y="203"/>
                    <a:pt x="863" y="203"/>
                  </a:cubicBezTo>
                  <a:cubicBezTo>
                    <a:pt x="863" y="203"/>
                    <a:pt x="863" y="203"/>
                    <a:pt x="863" y="203"/>
                  </a:cubicBezTo>
                  <a:cubicBezTo>
                    <a:pt x="863" y="200"/>
                    <a:pt x="863" y="200"/>
                    <a:pt x="863" y="200"/>
                  </a:cubicBezTo>
                  <a:cubicBezTo>
                    <a:pt x="863" y="198"/>
                    <a:pt x="863" y="198"/>
                    <a:pt x="863" y="198"/>
                  </a:cubicBezTo>
                  <a:cubicBezTo>
                    <a:pt x="863" y="194"/>
                    <a:pt x="863" y="194"/>
                    <a:pt x="863" y="194"/>
                  </a:cubicBezTo>
                  <a:cubicBezTo>
                    <a:pt x="863" y="193"/>
                    <a:pt x="863" y="193"/>
                    <a:pt x="863" y="193"/>
                  </a:cubicBezTo>
                  <a:cubicBezTo>
                    <a:pt x="862" y="192"/>
                    <a:pt x="862" y="192"/>
                    <a:pt x="862" y="192"/>
                  </a:cubicBezTo>
                  <a:cubicBezTo>
                    <a:pt x="861" y="192"/>
                    <a:pt x="859" y="191"/>
                    <a:pt x="858" y="191"/>
                  </a:cubicBezTo>
                  <a:cubicBezTo>
                    <a:pt x="857" y="191"/>
                    <a:pt x="857" y="191"/>
                    <a:pt x="857" y="191"/>
                  </a:cubicBezTo>
                  <a:cubicBezTo>
                    <a:pt x="857" y="190"/>
                    <a:pt x="857" y="190"/>
                    <a:pt x="857" y="190"/>
                  </a:cubicBezTo>
                  <a:cubicBezTo>
                    <a:pt x="857" y="190"/>
                    <a:pt x="857" y="190"/>
                    <a:pt x="857" y="190"/>
                  </a:cubicBezTo>
                  <a:cubicBezTo>
                    <a:pt x="856" y="190"/>
                    <a:pt x="856" y="190"/>
                    <a:pt x="856" y="190"/>
                  </a:cubicBezTo>
                  <a:cubicBezTo>
                    <a:pt x="855" y="190"/>
                    <a:pt x="853" y="189"/>
                    <a:pt x="851" y="189"/>
                  </a:cubicBezTo>
                  <a:cubicBezTo>
                    <a:pt x="851" y="189"/>
                    <a:pt x="851" y="189"/>
                    <a:pt x="851" y="189"/>
                  </a:cubicBezTo>
                  <a:cubicBezTo>
                    <a:pt x="851" y="189"/>
                    <a:pt x="851" y="189"/>
                    <a:pt x="851" y="189"/>
                  </a:cubicBezTo>
                  <a:cubicBezTo>
                    <a:pt x="848" y="188"/>
                    <a:pt x="849" y="189"/>
                    <a:pt x="847" y="189"/>
                  </a:cubicBezTo>
                  <a:cubicBezTo>
                    <a:pt x="847" y="189"/>
                    <a:pt x="847" y="189"/>
                    <a:pt x="847" y="189"/>
                  </a:cubicBezTo>
                  <a:cubicBezTo>
                    <a:pt x="846" y="189"/>
                    <a:pt x="846" y="189"/>
                    <a:pt x="846" y="189"/>
                  </a:cubicBezTo>
                  <a:cubicBezTo>
                    <a:pt x="846" y="189"/>
                    <a:pt x="846" y="189"/>
                    <a:pt x="846" y="189"/>
                  </a:cubicBezTo>
                  <a:cubicBezTo>
                    <a:pt x="845" y="189"/>
                    <a:pt x="845" y="189"/>
                    <a:pt x="845" y="189"/>
                  </a:cubicBezTo>
                  <a:cubicBezTo>
                    <a:pt x="844" y="189"/>
                    <a:pt x="844" y="189"/>
                    <a:pt x="844" y="189"/>
                  </a:cubicBezTo>
                  <a:cubicBezTo>
                    <a:pt x="845" y="189"/>
                    <a:pt x="845" y="189"/>
                    <a:pt x="845" y="189"/>
                  </a:cubicBezTo>
                  <a:cubicBezTo>
                    <a:pt x="845" y="189"/>
                    <a:pt x="845" y="189"/>
                    <a:pt x="845" y="189"/>
                  </a:cubicBezTo>
                  <a:cubicBezTo>
                    <a:pt x="847" y="188"/>
                    <a:pt x="847" y="188"/>
                    <a:pt x="847" y="188"/>
                  </a:cubicBezTo>
                  <a:cubicBezTo>
                    <a:pt x="847" y="188"/>
                    <a:pt x="847" y="188"/>
                    <a:pt x="847" y="188"/>
                  </a:cubicBezTo>
                  <a:cubicBezTo>
                    <a:pt x="847" y="188"/>
                    <a:pt x="847" y="188"/>
                    <a:pt x="847" y="188"/>
                  </a:cubicBezTo>
                  <a:cubicBezTo>
                    <a:pt x="847" y="188"/>
                    <a:pt x="847" y="188"/>
                    <a:pt x="847" y="188"/>
                  </a:cubicBezTo>
                  <a:cubicBezTo>
                    <a:pt x="846" y="188"/>
                    <a:pt x="846" y="188"/>
                    <a:pt x="846" y="188"/>
                  </a:cubicBezTo>
                  <a:cubicBezTo>
                    <a:pt x="846" y="187"/>
                    <a:pt x="846" y="187"/>
                    <a:pt x="846" y="187"/>
                  </a:cubicBezTo>
                  <a:cubicBezTo>
                    <a:pt x="840" y="187"/>
                    <a:pt x="841" y="185"/>
                    <a:pt x="835" y="186"/>
                  </a:cubicBezTo>
                  <a:cubicBezTo>
                    <a:pt x="835" y="186"/>
                    <a:pt x="835" y="186"/>
                    <a:pt x="835" y="186"/>
                  </a:cubicBezTo>
                  <a:cubicBezTo>
                    <a:pt x="835" y="186"/>
                    <a:pt x="835" y="186"/>
                    <a:pt x="835" y="186"/>
                  </a:cubicBezTo>
                  <a:cubicBezTo>
                    <a:pt x="834" y="186"/>
                    <a:pt x="834" y="186"/>
                    <a:pt x="834" y="186"/>
                  </a:cubicBezTo>
                  <a:cubicBezTo>
                    <a:pt x="832" y="186"/>
                    <a:pt x="832" y="185"/>
                    <a:pt x="830" y="186"/>
                  </a:cubicBezTo>
                  <a:cubicBezTo>
                    <a:pt x="830" y="186"/>
                    <a:pt x="830" y="186"/>
                    <a:pt x="830" y="186"/>
                  </a:cubicBezTo>
                  <a:cubicBezTo>
                    <a:pt x="829" y="186"/>
                    <a:pt x="829" y="186"/>
                    <a:pt x="829" y="186"/>
                  </a:cubicBezTo>
                  <a:cubicBezTo>
                    <a:pt x="827" y="185"/>
                    <a:pt x="827" y="186"/>
                    <a:pt x="825" y="186"/>
                  </a:cubicBezTo>
                  <a:cubicBezTo>
                    <a:pt x="825" y="186"/>
                    <a:pt x="825" y="186"/>
                    <a:pt x="825" y="186"/>
                  </a:cubicBezTo>
                  <a:cubicBezTo>
                    <a:pt x="824" y="186"/>
                    <a:pt x="824" y="186"/>
                    <a:pt x="824" y="186"/>
                  </a:cubicBezTo>
                  <a:cubicBezTo>
                    <a:pt x="824" y="186"/>
                    <a:pt x="824" y="186"/>
                    <a:pt x="824" y="186"/>
                  </a:cubicBezTo>
                  <a:cubicBezTo>
                    <a:pt x="824" y="186"/>
                    <a:pt x="824" y="186"/>
                    <a:pt x="824" y="186"/>
                  </a:cubicBezTo>
                  <a:cubicBezTo>
                    <a:pt x="823" y="186"/>
                    <a:pt x="823" y="186"/>
                    <a:pt x="823" y="186"/>
                  </a:cubicBezTo>
                  <a:cubicBezTo>
                    <a:pt x="820" y="186"/>
                    <a:pt x="817" y="185"/>
                    <a:pt x="813" y="186"/>
                  </a:cubicBezTo>
                  <a:cubicBezTo>
                    <a:pt x="812" y="186"/>
                    <a:pt x="812" y="186"/>
                    <a:pt x="812" y="186"/>
                  </a:cubicBezTo>
                  <a:cubicBezTo>
                    <a:pt x="812" y="186"/>
                    <a:pt x="812" y="186"/>
                    <a:pt x="812" y="186"/>
                  </a:cubicBezTo>
                  <a:cubicBezTo>
                    <a:pt x="812" y="186"/>
                    <a:pt x="812" y="186"/>
                    <a:pt x="812" y="186"/>
                  </a:cubicBezTo>
                  <a:cubicBezTo>
                    <a:pt x="810" y="186"/>
                    <a:pt x="809" y="186"/>
                    <a:pt x="808" y="186"/>
                  </a:cubicBezTo>
                  <a:cubicBezTo>
                    <a:pt x="807" y="186"/>
                    <a:pt x="807" y="186"/>
                    <a:pt x="807" y="186"/>
                  </a:cubicBezTo>
                  <a:cubicBezTo>
                    <a:pt x="806" y="186"/>
                    <a:pt x="805" y="187"/>
                    <a:pt x="803" y="187"/>
                  </a:cubicBezTo>
                  <a:cubicBezTo>
                    <a:pt x="802" y="186"/>
                    <a:pt x="802" y="186"/>
                    <a:pt x="802" y="186"/>
                  </a:cubicBezTo>
                  <a:cubicBezTo>
                    <a:pt x="801" y="186"/>
                    <a:pt x="801" y="186"/>
                    <a:pt x="801" y="186"/>
                  </a:cubicBezTo>
                  <a:cubicBezTo>
                    <a:pt x="801" y="186"/>
                    <a:pt x="801" y="186"/>
                    <a:pt x="801" y="186"/>
                  </a:cubicBezTo>
                  <a:cubicBezTo>
                    <a:pt x="801" y="185"/>
                    <a:pt x="801" y="185"/>
                    <a:pt x="801" y="185"/>
                  </a:cubicBezTo>
                  <a:cubicBezTo>
                    <a:pt x="801" y="185"/>
                    <a:pt x="801" y="185"/>
                    <a:pt x="801" y="185"/>
                  </a:cubicBezTo>
                  <a:cubicBezTo>
                    <a:pt x="803" y="185"/>
                    <a:pt x="803" y="185"/>
                    <a:pt x="805" y="184"/>
                  </a:cubicBezTo>
                  <a:cubicBezTo>
                    <a:pt x="805" y="184"/>
                    <a:pt x="805" y="184"/>
                    <a:pt x="805" y="184"/>
                  </a:cubicBezTo>
                  <a:cubicBezTo>
                    <a:pt x="805" y="183"/>
                    <a:pt x="805" y="183"/>
                    <a:pt x="805" y="183"/>
                  </a:cubicBezTo>
                  <a:cubicBezTo>
                    <a:pt x="804" y="183"/>
                    <a:pt x="804" y="183"/>
                    <a:pt x="804" y="183"/>
                  </a:cubicBezTo>
                  <a:cubicBezTo>
                    <a:pt x="804" y="183"/>
                    <a:pt x="804" y="183"/>
                    <a:pt x="804" y="183"/>
                  </a:cubicBezTo>
                  <a:cubicBezTo>
                    <a:pt x="803" y="183"/>
                    <a:pt x="803" y="183"/>
                    <a:pt x="803" y="183"/>
                  </a:cubicBezTo>
                  <a:cubicBezTo>
                    <a:pt x="802" y="183"/>
                    <a:pt x="796" y="183"/>
                    <a:pt x="796" y="185"/>
                  </a:cubicBezTo>
                  <a:cubicBezTo>
                    <a:pt x="796" y="185"/>
                    <a:pt x="796" y="185"/>
                    <a:pt x="796" y="185"/>
                  </a:cubicBezTo>
                  <a:cubicBezTo>
                    <a:pt x="796" y="186"/>
                    <a:pt x="796" y="186"/>
                    <a:pt x="796" y="186"/>
                  </a:cubicBezTo>
                  <a:cubicBezTo>
                    <a:pt x="796" y="186"/>
                    <a:pt x="796" y="186"/>
                    <a:pt x="796" y="186"/>
                  </a:cubicBezTo>
                  <a:cubicBezTo>
                    <a:pt x="796" y="187"/>
                    <a:pt x="796" y="187"/>
                    <a:pt x="795" y="188"/>
                  </a:cubicBezTo>
                  <a:cubicBezTo>
                    <a:pt x="795" y="188"/>
                    <a:pt x="795" y="188"/>
                    <a:pt x="795" y="188"/>
                  </a:cubicBezTo>
                  <a:cubicBezTo>
                    <a:pt x="795" y="188"/>
                    <a:pt x="795" y="188"/>
                    <a:pt x="795" y="188"/>
                  </a:cubicBezTo>
                  <a:cubicBezTo>
                    <a:pt x="795" y="189"/>
                    <a:pt x="794" y="190"/>
                    <a:pt x="793" y="191"/>
                  </a:cubicBezTo>
                  <a:cubicBezTo>
                    <a:pt x="793" y="191"/>
                    <a:pt x="793" y="191"/>
                    <a:pt x="793" y="191"/>
                  </a:cubicBezTo>
                  <a:cubicBezTo>
                    <a:pt x="793" y="191"/>
                    <a:pt x="793" y="191"/>
                    <a:pt x="793" y="191"/>
                  </a:cubicBezTo>
                  <a:cubicBezTo>
                    <a:pt x="792" y="191"/>
                    <a:pt x="792" y="191"/>
                    <a:pt x="792" y="191"/>
                  </a:cubicBezTo>
                  <a:cubicBezTo>
                    <a:pt x="792" y="191"/>
                    <a:pt x="792" y="191"/>
                    <a:pt x="792" y="191"/>
                  </a:cubicBezTo>
                  <a:cubicBezTo>
                    <a:pt x="791" y="192"/>
                    <a:pt x="791" y="192"/>
                    <a:pt x="791" y="192"/>
                  </a:cubicBezTo>
                  <a:cubicBezTo>
                    <a:pt x="791" y="192"/>
                    <a:pt x="791" y="192"/>
                    <a:pt x="791" y="192"/>
                  </a:cubicBezTo>
                  <a:cubicBezTo>
                    <a:pt x="791" y="193"/>
                    <a:pt x="791" y="193"/>
                    <a:pt x="791" y="193"/>
                  </a:cubicBezTo>
                  <a:cubicBezTo>
                    <a:pt x="791" y="194"/>
                    <a:pt x="791" y="194"/>
                    <a:pt x="791" y="194"/>
                  </a:cubicBezTo>
                  <a:cubicBezTo>
                    <a:pt x="791" y="194"/>
                    <a:pt x="791" y="194"/>
                    <a:pt x="791" y="194"/>
                  </a:cubicBezTo>
                  <a:cubicBezTo>
                    <a:pt x="791" y="195"/>
                    <a:pt x="791" y="195"/>
                    <a:pt x="791"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90" y="195"/>
                    <a:pt x="790" y="195"/>
                    <a:pt x="790" y="195"/>
                  </a:cubicBezTo>
                  <a:cubicBezTo>
                    <a:pt x="789" y="196"/>
                    <a:pt x="789" y="197"/>
                    <a:pt x="789" y="197"/>
                  </a:cubicBezTo>
                  <a:cubicBezTo>
                    <a:pt x="789" y="197"/>
                    <a:pt x="789" y="197"/>
                    <a:pt x="789" y="197"/>
                  </a:cubicBezTo>
                  <a:cubicBezTo>
                    <a:pt x="789" y="198"/>
                    <a:pt x="789" y="198"/>
                    <a:pt x="789" y="198"/>
                  </a:cubicBezTo>
                  <a:cubicBezTo>
                    <a:pt x="789" y="198"/>
                    <a:pt x="789" y="198"/>
                    <a:pt x="789" y="198"/>
                  </a:cubicBezTo>
                  <a:cubicBezTo>
                    <a:pt x="789" y="198"/>
                    <a:pt x="789" y="198"/>
                    <a:pt x="789" y="198"/>
                  </a:cubicBezTo>
                  <a:cubicBezTo>
                    <a:pt x="788" y="199"/>
                    <a:pt x="788" y="199"/>
                    <a:pt x="788" y="199"/>
                  </a:cubicBezTo>
                  <a:cubicBezTo>
                    <a:pt x="788" y="199"/>
                    <a:pt x="788" y="199"/>
                    <a:pt x="788" y="199"/>
                  </a:cubicBezTo>
                  <a:cubicBezTo>
                    <a:pt x="788" y="200"/>
                    <a:pt x="788" y="200"/>
                    <a:pt x="788" y="200"/>
                  </a:cubicBezTo>
                  <a:cubicBezTo>
                    <a:pt x="788" y="201"/>
                    <a:pt x="788" y="201"/>
                    <a:pt x="788" y="201"/>
                  </a:cubicBezTo>
                  <a:cubicBezTo>
                    <a:pt x="788" y="201"/>
                    <a:pt x="788" y="201"/>
                    <a:pt x="788" y="201"/>
                  </a:cubicBezTo>
                  <a:cubicBezTo>
                    <a:pt x="788" y="201"/>
                    <a:pt x="788" y="201"/>
                    <a:pt x="788" y="201"/>
                  </a:cubicBezTo>
                  <a:cubicBezTo>
                    <a:pt x="788" y="201"/>
                    <a:pt x="788" y="201"/>
                    <a:pt x="788" y="201"/>
                  </a:cubicBezTo>
                  <a:cubicBezTo>
                    <a:pt x="788" y="202"/>
                    <a:pt x="788" y="202"/>
                    <a:pt x="788" y="202"/>
                  </a:cubicBezTo>
                  <a:cubicBezTo>
                    <a:pt x="787" y="202"/>
                    <a:pt x="787" y="202"/>
                    <a:pt x="787" y="202"/>
                  </a:cubicBezTo>
                  <a:cubicBezTo>
                    <a:pt x="787" y="202"/>
                    <a:pt x="787" y="202"/>
                    <a:pt x="787" y="202"/>
                  </a:cubicBezTo>
                  <a:cubicBezTo>
                    <a:pt x="787" y="202"/>
                    <a:pt x="787" y="202"/>
                    <a:pt x="787" y="202"/>
                  </a:cubicBezTo>
                  <a:cubicBezTo>
                    <a:pt x="787" y="202"/>
                    <a:pt x="787" y="202"/>
                    <a:pt x="787" y="202"/>
                  </a:cubicBezTo>
                  <a:cubicBezTo>
                    <a:pt x="787" y="203"/>
                    <a:pt x="787" y="203"/>
                    <a:pt x="787" y="203"/>
                  </a:cubicBezTo>
                  <a:cubicBezTo>
                    <a:pt x="787" y="203"/>
                    <a:pt x="787" y="203"/>
                    <a:pt x="787" y="203"/>
                  </a:cubicBezTo>
                  <a:cubicBezTo>
                    <a:pt x="787" y="203"/>
                    <a:pt x="787" y="203"/>
                    <a:pt x="787" y="203"/>
                  </a:cubicBezTo>
                  <a:cubicBezTo>
                    <a:pt x="787" y="203"/>
                    <a:pt x="787" y="203"/>
                    <a:pt x="787" y="203"/>
                  </a:cubicBezTo>
                  <a:cubicBezTo>
                    <a:pt x="787" y="204"/>
                    <a:pt x="787" y="204"/>
                    <a:pt x="787" y="204"/>
                  </a:cubicBezTo>
                  <a:cubicBezTo>
                    <a:pt x="787" y="204"/>
                    <a:pt x="787" y="204"/>
                    <a:pt x="787" y="204"/>
                  </a:cubicBezTo>
                  <a:cubicBezTo>
                    <a:pt x="787" y="204"/>
                    <a:pt x="787" y="204"/>
                    <a:pt x="787" y="204"/>
                  </a:cubicBezTo>
                  <a:cubicBezTo>
                    <a:pt x="787" y="204"/>
                    <a:pt x="787" y="204"/>
                    <a:pt x="787" y="204"/>
                  </a:cubicBezTo>
                  <a:cubicBezTo>
                    <a:pt x="787" y="204"/>
                    <a:pt x="787" y="204"/>
                    <a:pt x="787" y="204"/>
                  </a:cubicBezTo>
                  <a:cubicBezTo>
                    <a:pt x="787" y="205"/>
                    <a:pt x="787" y="205"/>
                    <a:pt x="787" y="205"/>
                  </a:cubicBezTo>
                  <a:cubicBezTo>
                    <a:pt x="787" y="205"/>
                    <a:pt x="787" y="205"/>
                    <a:pt x="787" y="205"/>
                  </a:cubicBezTo>
                  <a:cubicBezTo>
                    <a:pt x="787" y="205"/>
                    <a:pt x="787" y="205"/>
                    <a:pt x="787" y="205"/>
                  </a:cubicBezTo>
                  <a:cubicBezTo>
                    <a:pt x="787" y="205"/>
                    <a:pt x="787" y="205"/>
                    <a:pt x="787" y="205"/>
                  </a:cubicBezTo>
                  <a:cubicBezTo>
                    <a:pt x="787" y="206"/>
                    <a:pt x="787" y="206"/>
                    <a:pt x="787" y="206"/>
                  </a:cubicBezTo>
                  <a:cubicBezTo>
                    <a:pt x="787" y="206"/>
                    <a:pt x="787" y="206"/>
                    <a:pt x="787" y="206"/>
                  </a:cubicBezTo>
                  <a:cubicBezTo>
                    <a:pt x="787" y="206"/>
                    <a:pt x="787" y="206"/>
                    <a:pt x="787" y="206"/>
                  </a:cubicBezTo>
                  <a:cubicBezTo>
                    <a:pt x="787" y="207"/>
                    <a:pt x="786" y="206"/>
                    <a:pt x="786" y="208"/>
                  </a:cubicBezTo>
                  <a:cubicBezTo>
                    <a:pt x="786" y="208"/>
                    <a:pt x="786" y="208"/>
                    <a:pt x="786" y="208"/>
                  </a:cubicBezTo>
                  <a:cubicBezTo>
                    <a:pt x="786" y="208"/>
                    <a:pt x="786" y="208"/>
                    <a:pt x="786" y="208"/>
                  </a:cubicBezTo>
                  <a:cubicBezTo>
                    <a:pt x="785" y="209"/>
                    <a:pt x="785" y="209"/>
                    <a:pt x="785" y="210"/>
                  </a:cubicBezTo>
                  <a:cubicBezTo>
                    <a:pt x="785" y="211"/>
                    <a:pt x="785" y="211"/>
                    <a:pt x="785" y="211"/>
                  </a:cubicBezTo>
                  <a:cubicBezTo>
                    <a:pt x="785" y="211"/>
                    <a:pt x="785" y="211"/>
                    <a:pt x="785" y="211"/>
                  </a:cubicBezTo>
                  <a:cubicBezTo>
                    <a:pt x="785" y="211"/>
                    <a:pt x="785" y="211"/>
                    <a:pt x="785" y="211"/>
                  </a:cubicBezTo>
                  <a:cubicBezTo>
                    <a:pt x="785" y="211"/>
                    <a:pt x="785" y="211"/>
                    <a:pt x="785" y="211"/>
                  </a:cubicBezTo>
                  <a:cubicBezTo>
                    <a:pt x="785" y="212"/>
                    <a:pt x="784" y="213"/>
                    <a:pt x="784" y="213"/>
                  </a:cubicBezTo>
                  <a:cubicBezTo>
                    <a:pt x="784" y="214"/>
                    <a:pt x="784" y="214"/>
                    <a:pt x="784" y="214"/>
                  </a:cubicBezTo>
                  <a:cubicBezTo>
                    <a:pt x="784" y="215"/>
                    <a:pt x="784" y="215"/>
                    <a:pt x="784" y="216"/>
                  </a:cubicBezTo>
                  <a:cubicBezTo>
                    <a:pt x="784" y="216"/>
                    <a:pt x="784" y="216"/>
                    <a:pt x="784" y="216"/>
                  </a:cubicBezTo>
                  <a:cubicBezTo>
                    <a:pt x="784" y="216"/>
                    <a:pt x="784" y="216"/>
                    <a:pt x="784" y="216"/>
                  </a:cubicBezTo>
                  <a:cubicBezTo>
                    <a:pt x="784" y="217"/>
                    <a:pt x="784" y="217"/>
                    <a:pt x="784" y="217"/>
                  </a:cubicBezTo>
                  <a:cubicBezTo>
                    <a:pt x="783" y="217"/>
                    <a:pt x="783" y="217"/>
                    <a:pt x="783" y="217"/>
                  </a:cubicBezTo>
                  <a:cubicBezTo>
                    <a:pt x="783" y="217"/>
                    <a:pt x="783" y="217"/>
                    <a:pt x="783" y="217"/>
                  </a:cubicBezTo>
                  <a:cubicBezTo>
                    <a:pt x="783" y="218"/>
                    <a:pt x="782" y="218"/>
                    <a:pt x="782" y="219"/>
                  </a:cubicBezTo>
                  <a:cubicBezTo>
                    <a:pt x="782" y="219"/>
                    <a:pt x="782" y="219"/>
                    <a:pt x="782" y="219"/>
                  </a:cubicBezTo>
                  <a:cubicBezTo>
                    <a:pt x="782" y="219"/>
                    <a:pt x="782" y="219"/>
                    <a:pt x="782" y="219"/>
                  </a:cubicBezTo>
                  <a:cubicBezTo>
                    <a:pt x="782" y="221"/>
                    <a:pt x="782" y="221"/>
                    <a:pt x="781" y="221"/>
                  </a:cubicBezTo>
                  <a:cubicBezTo>
                    <a:pt x="781" y="222"/>
                    <a:pt x="781" y="222"/>
                    <a:pt x="781" y="222"/>
                  </a:cubicBezTo>
                  <a:cubicBezTo>
                    <a:pt x="781" y="222"/>
                    <a:pt x="781" y="222"/>
                    <a:pt x="781" y="222"/>
                  </a:cubicBezTo>
                  <a:cubicBezTo>
                    <a:pt x="781" y="222"/>
                    <a:pt x="781" y="222"/>
                    <a:pt x="781" y="222"/>
                  </a:cubicBezTo>
                  <a:cubicBezTo>
                    <a:pt x="780" y="226"/>
                    <a:pt x="780" y="224"/>
                    <a:pt x="778" y="227"/>
                  </a:cubicBezTo>
                  <a:cubicBezTo>
                    <a:pt x="778" y="228"/>
                    <a:pt x="778" y="228"/>
                    <a:pt x="778" y="228"/>
                  </a:cubicBezTo>
                  <a:cubicBezTo>
                    <a:pt x="778" y="228"/>
                    <a:pt x="778" y="228"/>
                    <a:pt x="778" y="228"/>
                  </a:cubicBezTo>
                  <a:cubicBezTo>
                    <a:pt x="778" y="229"/>
                    <a:pt x="778" y="229"/>
                    <a:pt x="778" y="229"/>
                  </a:cubicBezTo>
                  <a:cubicBezTo>
                    <a:pt x="778" y="229"/>
                    <a:pt x="778" y="229"/>
                    <a:pt x="778" y="229"/>
                  </a:cubicBezTo>
                  <a:cubicBezTo>
                    <a:pt x="778" y="229"/>
                    <a:pt x="778" y="229"/>
                    <a:pt x="778" y="229"/>
                  </a:cubicBezTo>
                  <a:cubicBezTo>
                    <a:pt x="777" y="229"/>
                    <a:pt x="777" y="229"/>
                    <a:pt x="777" y="229"/>
                  </a:cubicBezTo>
                  <a:cubicBezTo>
                    <a:pt x="777" y="229"/>
                    <a:pt x="777" y="229"/>
                    <a:pt x="777" y="229"/>
                  </a:cubicBezTo>
                  <a:cubicBezTo>
                    <a:pt x="777" y="229"/>
                    <a:pt x="777" y="229"/>
                    <a:pt x="777" y="229"/>
                  </a:cubicBezTo>
                  <a:cubicBezTo>
                    <a:pt x="776" y="229"/>
                    <a:pt x="776" y="229"/>
                    <a:pt x="776" y="229"/>
                  </a:cubicBezTo>
                  <a:cubicBezTo>
                    <a:pt x="775" y="230"/>
                    <a:pt x="774" y="232"/>
                    <a:pt x="773" y="232"/>
                  </a:cubicBezTo>
                  <a:cubicBezTo>
                    <a:pt x="773" y="233"/>
                    <a:pt x="773" y="233"/>
                    <a:pt x="773" y="233"/>
                  </a:cubicBezTo>
                  <a:cubicBezTo>
                    <a:pt x="772" y="233"/>
                    <a:pt x="772" y="233"/>
                    <a:pt x="772" y="233"/>
                  </a:cubicBezTo>
                  <a:cubicBezTo>
                    <a:pt x="772" y="233"/>
                    <a:pt x="772" y="233"/>
                    <a:pt x="772" y="233"/>
                  </a:cubicBezTo>
                  <a:cubicBezTo>
                    <a:pt x="772" y="233"/>
                    <a:pt x="771" y="234"/>
                    <a:pt x="771" y="234"/>
                  </a:cubicBezTo>
                  <a:cubicBezTo>
                    <a:pt x="771" y="234"/>
                    <a:pt x="771" y="234"/>
                    <a:pt x="771" y="234"/>
                  </a:cubicBezTo>
                  <a:cubicBezTo>
                    <a:pt x="771" y="234"/>
                    <a:pt x="771" y="234"/>
                    <a:pt x="771" y="234"/>
                  </a:cubicBezTo>
                  <a:cubicBezTo>
                    <a:pt x="770" y="235"/>
                    <a:pt x="770" y="235"/>
                    <a:pt x="769" y="235"/>
                  </a:cubicBezTo>
                  <a:cubicBezTo>
                    <a:pt x="769" y="235"/>
                    <a:pt x="769" y="235"/>
                    <a:pt x="769" y="235"/>
                  </a:cubicBezTo>
                  <a:cubicBezTo>
                    <a:pt x="768" y="235"/>
                    <a:pt x="768" y="235"/>
                    <a:pt x="768" y="235"/>
                  </a:cubicBezTo>
                  <a:cubicBezTo>
                    <a:pt x="768" y="236"/>
                    <a:pt x="768" y="236"/>
                    <a:pt x="768" y="236"/>
                  </a:cubicBezTo>
                  <a:cubicBezTo>
                    <a:pt x="768" y="236"/>
                    <a:pt x="768" y="236"/>
                    <a:pt x="768" y="236"/>
                  </a:cubicBezTo>
                  <a:cubicBezTo>
                    <a:pt x="768" y="236"/>
                    <a:pt x="768" y="236"/>
                    <a:pt x="768" y="236"/>
                  </a:cubicBezTo>
                  <a:cubicBezTo>
                    <a:pt x="767" y="236"/>
                    <a:pt x="767" y="236"/>
                    <a:pt x="767" y="236"/>
                  </a:cubicBezTo>
                  <a:cubicBezTo>
                    <a:pt x="767" y="237"/>
                    <a:pt x="766" y="237"/>
                    <a:pt x="766" y="237"/>
                  </a:cubicBezTo>
                  <a:cubicBezTo>
                    <a:pt x="765" y="237"/>
                    <a:pt x="765" y="237"/>
                    <a:pt x="765" y="237"/>
                  </a:cubicBezTo>
                  <a:cubicBezTo>
                    <a:pt x="765" y="237"/>
                    <a:pt x="765" y="237"/>
                    <a:pt x="765" y="237"/>
                  </a:cubicBezTo>
                  <a:cubicBezTo>
                    <a:pt x="764" y="238"/>
                    <a:pt x="764" y="238"/>
                    <a:pt x="763" y="238"/>
                  </a:cubicBezTo>
                  <a:cubicBezTo>
                    <a:pt x="763" y="238"/>
                    <a:pt x="763" y="238"/>
                    <a:pt x="763" y="238"/>
                  </a:cubicBezTo>
                  <a:cubicBezTo>
                    <a:pt x="763" y="239"/>
                    <a:pt x="763" y="239"/>
                    <a:pt x="763" y="239"/>
                  </a:cubicBezTo>
                  <a:cubicBezTo>
                    <a:pt x="763" y="239"/>
                    <a:pt x="763" y="239"/>
                    <a:pt x="763" y="239"/>
                  </a:cubicBezTo>
                  <a:cubicBezTo>
                    <a:pt x="763" y="239"/>
                    <a:pt x="763" y="239"/>
                    <a:pt x="763" y="239"/>
                  </a:cubicBezTo>
                  <a:cubicBezTo>
                    <a:pt x="762" y="239"/>
                    <a:pt x="762" y="239"/>
                    <a:pt x="761" y="239"/>
                  </a:cubicBezTo>
                  <a:cubicBezTo>
                    <a:pt x="761" y="240"/>
                    <a:pt x="761" y="240"/>
                    <a:pt x="761" y="240"/>
                  </a:cubicBezTo>
                  <a:cubicBezTo>
                    <a:pt x="761" y="240"/>
                    <a:pt x="761" y="240"/>
                    <a:pt x="761" y="240"/>
                  </a:cubicBezTo>
                  <a:cubicBezTo>
                    <a:pt x="760" y="240"/>
                    <a:pt x="760" y="240"/>
                    <a:pt x="759" y="241"/>
                  </a:cubicBezTo>
                  <a:cubicBezTo>
                    <a:pt x="758" y="241"/>
                    <a:pt x="758" y="241"/>
                    <a:pt x="758" y="241"/>
                  </a:cubicBezTo>
                  <a:cubicBezTo>
                    <a:pt x="758" y="241"/>
                    <a:pt x="758" y="241"/>
                    <a:pt x="758" y="241"/>
                  </a:cubicBezTo>
                  <a:cubicBezTo>
                    <a:pt x="758" y="241"/>
                    <a:pt x="758" y="241"/>
                    <a:pt x="758" y="241"/>
                  </a:cubicBezTo>
                  <a:cubicBezTo>
                    <a:pt x="757" y="241"/>
                    <a:pt x="757" y="241"/>
                    <a:pt x="757" y="241"/>
                  </a:cubicBezTo>
                  <a:cubicBezTo>
                    <a:pt x="757" y="241"/>
                    <a:pt x="757" y="241"/>
                    <a:pt x="757" y="241"/>
                  </a:cubicBezTo>
                  <a:cubicBezTo>
                    <a:pt x="757" y="241"/>
                    <a:pt x="757" y="241"/>
                    <a:pt x="757" y="241"/>
                  </a:cubicBezTo>
                  <a:cubicBezTo>
                    <a:pt x="756" y="242"/>
                    <a:pt x="756" y="242"/>
                    <a:pt x="756" y="242"/>
                  </a:cubicBezTo>
                  <a:cubicBezTo>
                    <a:pt x="755" y="242"/>
                    <a:pt x="754" y="243"/>
                    <a:pt x="752" y="243"/>
                  </a:cubicBezTo>
                  <a:cubicBezTo>
                    <a:pt x="752" y="243"/>
                    <a:pt x="752" y="243"/>
                    <a:pt x="752" y="243"/>
                  </a:cubicBezTo>
                  <a:cubicBezTo>
                    <a:pt x="752" y="243"/>
                    <a:pt x="752" y="243"/>
                    <a:pt x="752" y="243"/>
                  </a:cubicBezTo>
                  <a:cubicBezTo>
                    <a:pt x="750" y="243"/>
                    <a:pt x="750" y="244"/>
                    <a:pt x="749" y="246"/>
                  </a:cubicBezTo>
                  <a:cubicBezTo>
                    <a:pt x="749" y="246"/>
                    <a:pt x="749" y="246"/>
                    <a:pt x="749" y="246"/>
                  </a:cubicBezTo>
                  <a:cubicBezTo>
                    <a:pt x="749" y="246"/>
                    <a:pt x="749" y="246"/>
                    <a:pt x="749" y="246"/>
                  </a:cubicBezTo>
                  <a:cubicBezTo>
                    <a:pt x="749" y="246"/>
                    <a:pt x="749" y="246"/>
                    <a:pt x="749" y="246"/>
                  </a:cubicBezTo>
                  <a:cubicBezTo>
                    <a:pt x="749" y="247"/>
                    <a:pt x="749" y="247"/>
                    <a:pt x="749" y="247"/>
                  </a:cubicBezTo>
                  <a:cubicBezTo>
                    <a:pt x="749" y="247"/>
                    <a:pt x="749" y="247"/>
                    <a:pt x="749" y="247"/>
                  </a:cubicBezTo>
                  <a:cubicBezTo>
                    <a:pt x="749" y="247"/>
                    <a:pt x="749" y="247"/>
                    <a:pt x="749" y="247"/>
                  </a:cubicBezTo>
                  <a:cubicBezTo>
                    <a:pt x="749" y="247"/>
                    <a:pt x="749" y="247"/>
                    <a:pt x="749" y="247"/>
                  </a:cubicBezTo>
                  <a:cubicBezTo>
                    <a:pt x="749" y="248"/>
                    <a:pt x="749" y="248"/>
                    <a:pt x="749" y="248"/>
                  </a:cubicBezTo>
                  <a:cubicBezTo>
                    <a:pt x="748" y="248"/>
                    <a:pt x="748" y="248"/>
                    <a:pt x="748" y="248"/>
                  </a:cubicBezTo>
                  <a:cubicBezTo>
                    <a:pt x="748" y="248"/>
                    <a:pt x="748" y="248"/>
                    <a:pt x="748" y="248"/>
                  </a:cubicBezTo>
                  <a:cubicBezTo>
                    <a:pt x="748" y="248"/>
                    <a:pt x="748" y="248"/>
                    <a:pt x="748" y="248"/>
                  </a:cubicBezTo>
                  <a:cubicBezTo>
                    <a:pt x="748" y="248"/>
                    <a:pt x="748" y="248"/>
                    <a:pt x="748" y="248"/>
                  </a:cubicBezTo>
                  <a:cubicBezTo>
                    <a:pt x="747" y="249"/>
                    <a:pt x="747" y="249"/>
                    <a:pt x="746" y="250"/>
                  </a:cubicBezTo>
                  <a:cubicBezTo>
                    <a:pt x="745" y="252"/>
                    <a:pt x="745" y="252"/>
                    <a:pt x="745" y="252"/>
                  </a:cubicBezTo>
                  <a:cubicBezTo>
                    <a:pt x="745" y="252"/>
                    <a:pt x="745" y="252"/>
                    <a:pt x="745" y="252"/>
                  </a:cubicBezTo>
                  <a:cubicBezTo>
                    <a:pt x="745" y="253"/>
                    <a:pt x="745" y="253"/>
                    <a:pt x="745" y="253"/>
                  </a:cubicBezTo>
                  <a:cubicBezTo>
                    <a:pt x="745" y="253"/>
                    <a:pt x="745" y="253"/>
                    <a:pt x="745" y="253"/>
                  </a:cubicBezTo>
                  <a:cubicBezTo>
                    <a:pt x="746" y="253"/>
                    <a:pt x="746" y="253"/>
                    <a:pt x="746" y="253"/>
                  </a:cubicBezTo>
                  <a:cubicBezTo>
                    <a:pt x="746" y="253"/>
                    <a:pt x="746" y="253"/>
                    <a:pt x="746"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3"/>
                    <a:pt x="747" y="253"/>
                    <a:pt x="747" y="253"/>
                  </a:cubicBezTo>
                  <a:cubicBezTo>
                    <a:pt x="747" y="252"/>
                    <a:pt x="747" y="252"/>
                    <a:pt x="747" y="252"/>
                  </a:cubicBezTo>
                  <a:cubicBezTo>
                    <a:pt x="747" y="251"/>
                    <a:pt x="747" y="251"/>
                    <a:pt x="747" y="251"/>
                  </a:cubicBezTo>
                  <a:cubicBezTo>
                    <a:pt x="748" y="251"/>
                    <a:pt x="748" y="251"/>
                    <a:pt x="748" y="251"/>
                  </a:cubicBezTo>
                  <a:cubicBezTo>
                    <a:pt x="748" y="251"/>
                    <a:pt x="748" y="251"/>
                    <a:pt x="748" y="251"/>
                  </a:cubicBezTo>
                  <a:cubicBezTo>
                    <a:pt x="749" y="251"/>
                    <a:pt x="749" y="251"/>
                    <a:pt x="749" y="251"/>
                  </a:cubicBezTo>
                  <a:cubicBezTo>
                    <a:pt x="750" y="251"/>
                    <a:pt x="750" y="251"/>
                    <a:pt x="750" y="251"/>
                  </a:cubicBezTo>
                  <a:cubicBezTo>
                    <a:pt x="750" y="251"/>
                    <a:pt x="750" y="251"/>
                    <a:pt x="750" y="251"/>
                  </a:cubicBezTo>
                  <a:cubicBezTo>
                    <a:pt x="749" y="251"/>
                    <a:pt x="749" y="251"/>
                    <a:pt x="749" y="251"/>
                  </a:cubicBezTo>
                  <a:cubicBezTo>
                    <a:pt x="749" y="251"/>
                    <a:pt x="749" y="251"/>
                    <a:pt x="749" y="251"/>
                  </a:cubicBezTo>
                  <a:cubicBezTo>
                    <a:pt x="749" y="252"/>
                    <a:pt x="749" y="252"/>
                    <a:pt x="749" y="252"/>
                  </a:cubicBezTo>
                  <a:cubicBezTo>
                    <a:pt x="749" y="252"/>
                    <a:pt x="749" y="252"/>
                    <a:pt x="749" y="252"/>
                  </a:cubicBezTo>
                  <a:cubicBezTo>
                    <a:pt x="749" y="252"/>
                    <a:pt x="749" y="253"/>
                    <a:pt x="749" y="253"/>
                  </a:cubicBezTo>
                  <a:cubicBezTo>
                    <a:pt x="749" y="254"/>
                    <a:pt x="749" y="254"/>
                    <a:pt x="749" y="254"/>
                  </a:cubicBezTo>
                  <a:cubicBezTo>
                    <a:pt x="748" y="254"/>
                    <a:pt x="748" y="254"/>
                    <a:pt x="748" y="254"/>
                  </a:cubicBezTo>
                  <a:cubicBezTo>
                    <a:pt x="747" y="256"/>
                    <a:pt x="747" y="255"/>
                    <a:pt x="745" y="257"/>
                  </a:cubicBezTo>
                  <a:cubicBezTo>
                    <a:pt x="745" y="258"/>
                    <a:pt x="745" y="258"/>
                    <a:pt x="745" y="258"/>
                  </a:cubicBezTo>
                  <a:cubicBezTo>
                    <a:pt x="745" y="258"/>
                    <a:pt x="745" y="258"/>
                    <a:pt x="745" y="258"/>
                  </a:cubicBezTo>
                  <a:cubicBezTo>
                    <a:pt x="745" y="258"/>
                    <a:pt x="745" y="258"/>
                    <a:pt x="745" y="258"/>
                  </a:cubicBezTo>
                  <a:cubicBezTo>
                    <a:pt x="745" y="259"/>
                    <a:pt x="745" y="259"/>
                    <a:pt x="745" y="259"/>
                  </a:cubicBezTo>
                  <a:cubicBezTo>
                    <a:pt x="745" y="259"/>
                    <a:pt x="745" y="259"/>
                    <a:pt x="745" y="259"/>
                  </a:cubicBezTo>
                  <a:cubicBezTo>
                    <a:pt x="746" y="259"/>
                    <a:pt x="746" y="259"/>
                    <a:pt x="746" y="259"/>
                  </a:cubicBezTo>
                  <a:cubicBezTo>
                    <a:pt x="746" y="259"/>
                    <a:pt x="746" y="259"/>
                    <a:pt x="746" y="259"/>
                  </a:cubicBezTo>
                  <a:cubicBezTo>
                    <a:pt x="746" y="260"/>
                    <a:pt x="746" y="260"/>
                    <a:pt x="746" y="260"/>
                  </a:cubicBezTo>
                  <a:cubicBezTo>
                    <a:pt x="746" y="260"/>
                    <a:pt x="746" y="260"/>
                    <a:pt x="746" y="260"/>
                  </a:cubicBezTo>
                  <a:cubicBezTo>
                    <a:pt x="746" y="261"/>
                    <a:pt x="746" y="261"/>
                    <a:pt x="746" y="261"/>
                  </a:cubicBezTo>
                  <a:cubicBezTo>
                    <a:pt x="746" y="261"/>
                    <a:pt x="746" y="261"/>
                    <a:pt x="746" y="261"/>
                  </a:cubicBezTo>
                  <a:cubicBezTo>
                    <a:pt x="746" y="261"/>
                    <a:pt x="746" y="261"/>
                    <a:pt x="746" y="261"/>
                  </a:cubicBezTo>
                  <a:cubicBezTo>
                    <a:pt x="747" y="261"/>
                    <a:pt x="747" y="261"/>
                    <a:pt x="747" y="261"/>
                  </a:cubicBezTo>
                  <a:cubicBezTo>
                    <a:pt x="747" y="261"/>
                    <a:pt x="747" y="261"/>
                    <a:pt x="747" y="261"/>
                  </a:cubicBezTo>
                  <a:cubicBezTo>
                    <a:pt x="747" y="261"/>
                    <a:pt x="747" y="261"/>
                    <a:pt x="747" y="261"/>
                  </a:cubicBezTo>
                  <a:cubicBezTo>
                    <a:pt x="748" y="260"/>
                    <a:pt x="750" y="261"/>
                    <a:pt x="751" y="260"/>
                  </a:cubicBezTo>
                  <a:cubicBezTo>
                    <a:pt x="751" y="260"/>
                    <a:pt x="751" y="260"/>
                    <a:pt x="751" y="260"/>
                  </a:cubicBezTo>
                  <a:cubicBezTo>
                    <a:pt x="751" y="260"/>
                    <a:pt x="751" y="260"/>
                    <a:pt x="751" y="260"/>
                  </a:cubicBezTo>
                  <a:cubicBezTo>
                    <a:pt x="752" y="260"/>
                    <a:pt x="752" y="260"/>
                    <a:pt x="752" y="260"/>
                  </a:cubicBezTo>
                  <a:cubicBezTo>
                    <a:pt x="752" y="260"/>
                    <a:pt x="752" y="260"/>
                    <a:pt x="752" y="260"/>
                  </a:cubicBezTo>
                  <a:cubicBezTo>
                    <a:pt x="752" y="260"/>
                    <a:pt x="752" y="260"/>
                    <a:pt x="752" y="260"/>
                  </a:cubicBezTo>
                  <a:cubicBezTo>
                    <a:pt x="752" y="260"/>
                    <a:pt x="752" y="260"/>
                    <a:pt x="752" y="260"/>
                  </a:cubicBezTo>
                  <a:cubicBezTo>
                    <a:pt x="754" y="260"/>
                    <a:pt x="754" y="259"/>
                    <a:pt x="755" y="259"/>
                  </a:cubicBezTo>
                  <a:cubicBezTo>
                    <a:pt x="756" y="259"/>
                    <a:pt x="756" y="259"/>
                    <a:pt x="756" y="259"/>
                  </a:cubicBezTo>
                  <a:cubicBezTo>
                    <a:pt x="756" y="260"/>
                    <a:pt x="756" y="260"/>
                    <a:pt x="756" y="260"/>
                  </a:cubicBezTo>
                  <a:cubicBezTo>
                    <a:pt x="758" y="261"/>
                    <a:pt x="759" y="261"/>
                    <a:pt x="758" y="263"/>
                  </a:cubicBezTo>
                  <a:cubicBezTo>
                    <a:pt x="758" y="263"/>
                    <a:pt x="758" y="263"/>
                    <a:pt x="758" y="263"/>
                  </a:cubicBezTo>
                  <a:cubicBezTo>
                    <a:pt x="758" y="264"/>
                    <a:pt x="758" y="264"/>
                    <a:pt x="758" y="264"/>
                  </a:cubicBezTo>
                  <a:cubicBezTo>
                    <a:pt x="758" y="264"/>
                    <a:pt x="758" y="264"/>
                    <a:pt x="758" y="264"/>
                  </a:cubicBezTo>
                  <a:cubicBezTo>
                    <a:pt x="758" y="264"/>
                    <a:pt x="758" y="264"/>
                    <a:pt x="758" y="264"/>
                  </a:cubicBezTo>
                  <a:cubicBezTo>
                    <a:pt x="757" y="265"/>
                    <a:pt x="758" y="265"/>
                    <a:pt x="757" y="266"/>
                  </a:cubicBezTo>
                  <a:cubicBezTo>
                    <a:pt x="757" y="266"/>
                    <a:pt x="757" y="266"/>
                    <a:pt x="757" y="266"/>
                  </a:cubicBezTo>
                  <a:cubicBezTo>
                    <a:pt x="757" y="267"/>
                    <a:pt x="757" y="267"/>
                    <a:pt x="757" y="267"/>
                  </a:cubicBezTo>
                  <a:cubicBezTo>
                    <a:pt x="757" y="268"/>
                    <a:pt x="756" y="268"/>
                    <a:pt x="757" y="269"/>
                  </a:cubicBezTo>
                  <a:cubicBezTo>
                    <a:pt x="757" y="271"/>
                    <a:pt x="757" y="271"/>
                    <a:pt x="757" y="271"/>
                  </a:cubicBezTo>
                  <a:cubicBezTo>
                    <a:pt x="757" y="271"/>
                    <a:pt x="757" y="271"/>
                    <a:pt x="757" y="271"/>
                  </a:cubicBezTo>
                  <a:cubicBezTo>
                    <a:pt x="757" y="272"/>
                    <a:pt x="757" y="272"/>
                    <a:pt x="757" y="272"/>
                  </a:cubicBezTo>
                  <a:cubicBezTo>
                    <a:pt x="757" y="272"/>
                    <a:pt x="757" y="272"/>
                    <a:pt x="757" y="272"/>
                  </a:cubicBezTo>
                  <a:cubicBezTo>
                    <a:pt x="757" y="272"/>
                    <a:pt x="757" y="272"/>
                    <a:pt x="757" y="272"/>
                  </a:cubicBezTo>
                  <a:cubicBezTo>
                    <a:pt x="757" y="272"/>
                    <a:pt x="757" y="272"/>
                    <a:pt x="757" y="272"/>
                  </a:cubicBezTo>
                  <a:cubicBezTo>
                    <a:pt x="757" y="273"/>
                    <a:pt x="757" y="273"/>
                    <a:pt x="757" y="273"/>
                  </a:cubicBezTo>
                  <a:cubicBezTo>
                    <a:pt x="757" y="274"/>
                    <a:pt x="756" y="273"/>
                    <a:pt x="756" y="275"/>
                  </a:cubicBezTo>
                  <a:cubicBezTo>
                    <a:pt x="756" y="275"/>
                    <a:pt x="756" y="275"/>
                    <a:pt x="756" y="275"/>
                  </a:cubicBezTo>
                  <a:cubicBezTo>
                    <a:pt x="756" y="275"/>
                    <a:pt x="756" y="275"/>
                    <a:pt x="756" y="275"/>
                  </a:cubicBezTo>
                  <a:cubicBezTo>
                    <a:pt x="755" y="276"/>
                    <a:pt x="755" y="277"/>
                    <a:pt x="755" y="278"/>
                  </a:cubicBezTo>
                  <a:cubicBezTo>
                    <a:pt x="754" y="280"/>
                    <a:pt x="754" y="280"/>
                    <a:pt x="754" y="280"/>
                  </a:cubicBezTo>
                  <a:cubicBezTo>
                    <a:pt x="754" y="280"/>
                    <a:pt x="754" y="280"/>
                    <a:pt x="754" y="280"/>
                  </a:cubicBezTo>
                  <a:cubicBezTo>
                    <a:pt x="754" y="281"/>
                    <a:pt x="754" y="281"/>
                    <a:pt x="754" y="281"/>
                  </a:cubicBezTo>
                  <a:cubicBezTo>
                    <a:pt x="754" y="281"/>
                    <a:pt x="754" y="281"/>
                    <a:pt x="754" y="281"/>
                  </a:cubicBezTo>
                  <a:cubicBezTo>
                    <a:pt x="755" y="281"/>
                    <a:pt x="755" y="281"/>
                    <a:pt x="755" y="281"/>
                  </a:cubicBezTo>
                  <a:cubicBezTo>
                    <a:pt x="755" y="281"/>
                    <a:pt x="755" y="281"/>
                    <a:pt x="755" y="281"/>
                  </a:cubicBezTo>
                  <a:cubicBezTo>
                    <a:pt x="756" y="282"/>
                    <a:pt x="756" y="282"/>
                    <a:pt x="756" y="282"/>
                  </a:cubicBezTo>
                  <a:cubicBezTo>
                    <a:pt x="757" y="282"/>
                    <a:pt x="757" y="282"/>
                    <a:pt x="757" y="282"/>
                  </a:cubicBezTo>
                  <a:cubicBezTo>
                    <a:pt x="758" y="283"/>
                    <a:pt x="758" y="283"/>
                    <a:pt x="758" y="283"/>
                  </a:cubicBezTo>
                  <a:cubicBezTo>
                    <a:pt x="758" y="284"/>
                    <a:pt x="758" y="284"/>
                    <a:pt x="758" y="284"/>
                  </a:cubicBezTo>
                  <a:cubicBezTo>
                    <a:pt x="758" y="284"/>
                    <a:pt x="758" y="284"/>
                    <a:pt x="758" y="284"/>
                  </a:cubicBezTo>
                  <a:cubicBezTo>
                    <a:pt x="758" y="285"/>
                    <a:pt x="758" y="285"/>
                    <a:pt x="758" y="285"/>
                  </a:cubicBezTo>
                  <a:cubicBezTo>
                    <a:pt x="758" y="285"/>
                    <a:pt x="758" y="285"/>
                    <a:pt x="758" y="285"/>
                  </a:cubicBezTo>
                  <a:cubicBezTo>
                    <a:pt x="758" y="285"/>
                    <a:pt x="758" y="285"/>
                    <a:pt x="758" y="285"/>
                  </a:cubicBezTo>
                  <a:cubicBezTo>
                    <a:pt x="758" y="285"/>
                    <a:pt x="758" y="285"/>
                    <a:pt x="758" y="285"/>
                  </a:cubicBezTo>
                  <a:cubicBezTo>
                    <a:pt x="757" y="286"/>
                    <a:pt x="757" y="287"/>
                    <a:pt x="756" y="288"/>
                  </a:cubicBezTo>
                  <a:cubicBezTo>
                    <a:pt x="756" y="288"/>
                    <a:pt x="756" y="288"/>
                    <a:pt x="756" y="288"/>
                  </a:cubicBezTo>
                  <a:cubicBezTo>
                    <a:pt x="756" y="288"/>
                    <a:pt x="756" y="288"/>
                    <a:pt x="756" y="288"/>
                  </a:cubicBezTo>
                  <a:cubicBezTo>
                    <a:pt x="756" y="288"/>
                    <a:pt x="756" y="288"/>
                    <a:pt x="756" y="288"/>
                  </a:cubicBezTo>
                  <a:cubicBezTo>
                    <a:pt x="756" y="288"/>
                    <a:pt x="756" y="288"/>
                    <a:pt x="756" y="288"/>
                  </a:cubicBezTo>
                  <a:cubicBezTo>
                    <a:pt x="756" y="288"/>
                    <a:pt x="756" y="288"/>
                    <a:pt x="756" y="288"/>
                  </a:cubicBezTo>
                  <a:cubicBezTo>
                    <a:pt x="755" y="288"/>
                    <a:pt x="755" y="288"/>
                    <a:pt x="755" y="288"/>
                  </a:cubicBezTo>
                  <a:cubicBezTo>
                    <a:pt x="753" y="289"/>
                    <a:pt x="753" y="287"/>
                    <a:pt x="752" y="286"/>
                  </a:cubicBezTo>
                  <a:cubicBezTo>
                    <a:pt x="751" y="286"/>
                    <a:pt x="751" y="286"/>
                    <a:pt x="751" y="286"/>
                  </a:cubicBezTo>
                  <a:cubicBezTo>
                    <a:pt x="751" y="286"/>
                    <a:pt x="751" y="286"/>
                    <a:pt x="751" y="286"/>
                  </a:cubicBezTo>
                  <a:cubicBezTo>
                    <a:pt x="751" y="286"/>
                    <a:pt x="751" y="286"/>
                    <a:pt x="751" y="286"/>
                  </a:cubicBezTo>
                  <a:cubicBezTo>
                    <a:pt x="750" y="287"/>
                    <a:pt x="750" y="287"/>
                    <a:pt x="750" y="287"/>
                  </a:cubicBezTo>
                  <a:cubicBezTo>
                    <a:pt x="750" y="287"/>
                    <a:pt x="750" y="287"/>
                    <a:pt x="750" y="287"/>
                  </a:cubicBezTo>
                  <a:cubicBezTo>
                    <a:pt x="750" y="287"/>
                    <a:pt x="750" y="287"/>
                    <a:pt x="750" y="287"/>
                  </a:cubicBezTo>
                  <a:cubicBezTo>
                    <a:pt x="750" y="287"/>
                    <a:pt x="750" y="287"/>
                    <a:pt x="750" y="287"/>
                  </a:cubicBezTo>
                  <a:cubicBezTo>
                    <a:pt x="750" y="287"/>
                    <a:pt x="750" y="287"/>
                    <a:pt x="750" y="287"/>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50" y="288"/>
                    <a:pt x="750" y="288"/>
                    <a:pt x="750" y="288"/>
                  </a:cubicBezTo>
                  <a:cubicBezTo>
                    <a:pt x="749" y="293"/>
                    <a:pt x="747" y="294"/>
                    <a:pt x="748" y="301"/>
                  </a:cubicBezTo>
                  <a:cubicBezTo>
                    <a:pt x="748" y="302"/>
                    <a:pt x="748" y="302"/>
                    <a:pt x="748" y="302"/>
                  </a:cubicBezTo>
                  <a:cubicBezTo>
                    <a:pt x="748" y="302"/>
                    <a:pt x="748" y="302"/>
                    <a:pt x="748" y="302"/>
                  </a:cubicBezTo>
                  <a:cubicBezTo>
                    <a:pt x="749" y="302"/>
                    <a:pt x="749" y="302"/>
                    <a:pt x="749" y="302"/>
                  </a:cubicBezTo>
                  <a:cubicBezTo>
                    <a:pt x="749" y="302"/>
                    <a:pt x="749" y="302"/>
                    <a:pt x="749" y="302"/>
                  </a:cubicBezTo>
                  <a:cubicBezTo>
                    <a:pt x="749" y="302"/>
                    <a:pt x="749" y="302"/>
                    <a:pt x="749" y="302"/>
                  </a:cubicBezTo>
                  <a:cubicBezTo>
                    <a:pt x="749" y="302"/>
                    <a:pt x="749" y="302"/>
                    <a:pt x="749" y="302"/>
                  </a:cubicBezTo>
                  <a:cubicBezTo>
                    <a:pt x="749" y="301"/>
                    <a:pt x="749" y="301"/>
                    <a:pt x="749" y="301"/>
                  </a:cubicBezTo>
                  <a:cubicBezTo>
                    <a:pt x="749" y="300"/>
                    <a:pt x="749" y="300"/>
                    <a:pt x="749" y="300"/>
                  </a:cubicBezTo>
                  <a:cubicBezTo>
                    <a:pt x="750" y="300"/>
                    <a:pt x="750" y="300"/>
                    <a:pt x="750" y="300"/>
                  </a:cubicBezTo>
                  <a:cubicBezTo>
                    <a:pt x="750" y="300"/>
                    <a:pt x="750" y="300"/>
                    <a:pt x="750" y="300"/>
                  </a:cubicBezTo>
                  <a:cubicBezTo>
                    <a:pt x="750" y="300"/>
                    <a:pt x="750" y="300"/>
                    <a:pt x="750" y="300"/>
                  </a:cubicBezTo>
                  <a:cubicBezTo>
                    <a:pt x="750" y="300"/>
                    <a:pt x="750" y="300"/>
                    <a:pt x="750" y="300"/>
                  </a:cubicBezTo>
                  <a:cubicBezTo>
                    <a:pt x="751" y="300"/>
                    <a:pt x="751" y="300"/>
                    <a:pt x="751" y="300"/>
                  </a:cubicBezTo>
                  <a:cubicBezTo>
                    <a:pt x="751" y="300"/>
                    <a:pt x="751" y="300"/>
                    <a:pt x="751" y="300"/>
                  </a:cubicBezTo>
                  <a:cubicBezTo>
                    <a:pt x="751" y="300"/>
                    <a:pt x="751" y="300"/>
                    <a:pt x="751" y="300"/>
                  </a:cubicBezTo>
                  <a:cubicBezTo>
                    <a:pt x="751" y="299"/>
                    <a:pt x="751" y="299"/>
                    <a:pt x="751" y="299"/>
                  </a:cubicBezTo>
                  <a:cubicBezTo>
                    <a:pt x="752" y="299"/>
                    <a:pt x="752" y="299"/>
                    <a:pt x="752" y="299"/>
                  </a:cubicBezTo>
                  <a:cubicBezTo>
                    <a:pt x="752" y="298"/>
                    <a:pt x="752" y="298"/>
                    <a:pt x="752" y="298"/>
                  </a:cubicBezTo>
                  <a:cubicBezTo>
                    <a:pt x="752" y="298"/>
                    <a:pt x="752" y="298"/>
                    <a:pt x="752" y="298"/>
                  </a:cubicBezTo>
                  <a:cubicBezTo>
                    <a:pt x="752" y="298"/>
                    <a:pt x="752" y="298"/>
                    <a:pt x="752" y="298"/>
                  </a:cubicBezTo>
                  <a:cubicBezTo>
                    <a:pt x="752" y="298"/>
                    <a:pt x="752" y="298"/>
                    <a:pt x="752" y="298"/>
                  </a:cubicBezTo>
                  <a:cubicBezTo>
                    <a:pt x="753" y="298"/>
                    <a:pt x="753" y="298"/>
                    <a:pt x="753" y="298"/>
                  </a:cubicBezTo>
                  <a:cubicBezTo>
                    <a:pt x="753" y="298"/>
                    <a:pt x="753" y="298"/>
                    <a:pt x="753" y="298"/>
                  </a:cubicBezTo>
                  <a:cubicBezTo>
                    <a:pt x="753" y="298"/>
                    <a:pt x="753" y="298"/>
                    <a:pt x="753" y="298"/>
                  </a:cubicBezTo>
                  <a:cubicBezTo>
                    <a:pt x="754" y="298"/>
                    <a:pt x="755" y="299"/>
                    <a:pt x="756" y="299"/>
                  </a:cubicBezTo>
                  <a:cubicBezTo>
                    <a:pt x="757" y="300"/>
                    <a:pt x="757" y="300"/>
                    <a:pt x="757" y="300"/>
                  </a:cubicBezTo>
                  <a:cubicBezTo>
                    <a:pt x="757" y="300"/>
                    <a:pt x="757" y="300"/>
                    <a:pt x="757" y="300"/>
                  </a:cubicBezTo>
                  <a:cubicBezTo>
                    <a:pt x="757" y="300"/>
                    <a:pt x="757" y="300"/>
                    <a:pt x="757" y="300"/>
                  </a:cubicBezTo>
                  <a:cubicBezTo>
                    <a:pt x="758" y="300"/>
                    <a:pt x="758" y="300"/>
                    <a:pt x="758" y="300"/>
                  </a:cubicBezTo>
                  <a:cubicBezTo>
                    <a:pt x="759" y="301"/>
                    <a:pt x="759" y="301"/>
                    <a:pt x="760" y="301"/>
                  </a:cubicBezTo>
                  <a:cubicBezTo>
                    <a:pt x="761" y="301"/>
                    <a:pt x="761" y="301"/>
                    <a:pt x="761" y="301"/>
                  </a:cubicBezTo>
                  <a:cubicBezTo>
                    <a:pt x="761" y="301"/>
                    <a:pt x="761" y="301"/>
                    <a:pt x="761" y="301"/>
                  </a:cubicBezTo>
                  <a:cubicBezTo>
                    <a:pt x="763" y="301"/>
                    <a:pt x="762" y="301"/>
                    <a:pt x="764" y="302"/>
                  </a:cubicBezTo>
                  <a:cubicBezTo>
                    <a:pt x="764" y="302"/>
                    <a:pt x="764" y="302"/>
                    <a:pt x="764" y="302"/>
                  </a:cubicBezTo>
                  <a:cubicBezTo>
                    <a:pt x="765" y="302"/>
                    <a:pt x="765" y="302"/>
                    <a:pt x="765" y="302"/>
                  </a:cubicBezTo>
                  <a:cubicBezTo>
                    <a:pt x="765" y="302"/>
                    <a:pt x="765" y="302"/>
                    <a:pt x="765" y="302"/>
                  </a:cubicBezTo>
                  <a:cubicBezTo>
                    <a:pt x="765" y="302"/>
                    <a:pt x="765" y="302"/>
                    <a:pt x="765" y="302"/>
                  </a:cubicBezTo>
                  <a:cubicBezTo>
                    <a:pt x="765" y="303"/>
                    <a:pt x="765" y="303"/>
                    <a:pt x="765" y="303"/>
                  </a:cubicBezTo>
                  <a:cubicBezTo>
                    <a:pt x="765" y="303"/>
                    <a:pt x="765" y="303"/>
                    <a:pt x="765" y="303"/>
                  </a:cubicBezTo>
                  <a:cubicBezTo>
                    <a:pt x="765" y="303"/>
                    <a:pt x="765" y="303"/>
                    <a:pt x="765" y="303"/>
                  </a:cubicBezTo>
                  <a:cubicBezTo>
                    <a:pt x="766" y="303"/>
                    <a:pt x="766" y="303"/>
                    <a:pt x="766" y="303"/>
                  </a:cubicBezTo>
                  <a:cubicBezTo>
                    <a:pt x="766" y="303"/>
                    <a:pt x="766" y="303"/>
                    <a:pt x="766" y="303"/>
                  </a:cubicBezTo>
                  <a:cubicBezTo>
                    <a:pt x="766" y="303"/>
                    <a:pt x="766" y="303"/>
                    <a:pt x="766" y="303"/>
                  </a:cubicBezTo>
                  <a:cubicBezTo>
                    <a:pt x="767" y="304"/>
                    <a:pt x="767" y="304"/>
                    <a:pt x="767" y="304"/>
                  </a:cubicBezTo>
                  <a:cubicBezTo>
                    <a:pt x="767" y="304"/>
                    <a:pt x="767" y="304"/>
                    <a:pt x="767" y="304"/>
                  </a:cubicBezTo>
                  <a:cubicBezTo>
                    <a:pt x="767" y="304"/>
                    <a:pt x="767" y="304"/>
                    <a:pt x="767" y="304"/>
                  </a:cubicBezTo>
                  <a:cubicBezTo>
                    <a:pt x="768" y="304"/>
                    <a:pt x="768" y="304"/>
                    <a:pt x="768" y="304"/>
                  </a:cubicBezTo>
                  <a:cubicBezTo>
                    <a:pt x="768" y="304"/>
                    <a:pt x="768" y="304"/>
                    <a:pt x="768" y="304"/>
                  </a:cubicBezTo>
                  <a:cubicBezTo>
                    <a:pt x="768" y="304"/>
                    <a:pt x="768" y="304"/>
                    <a:pt x="768" y="304"/>
                  </a:cubicBezTo>
                  <a:cubicBezTo>
                    <a:pt x="769" y="305"/>
                    <a:pt x="769" y="305"/>
                    <a:pt x="769" y="305"/>
                  </a:cubicBezTo>
                  <a:cubicBezTo>
                    <a:pt x="769" y="305"/>
                    <a:pt x="769" y="305"/>
                    <a:pt x="769" y="305"/>
                  </a:cubicBezTo>
                  <a:cubicBezTo>
                    <a:pt x="769" y="305"/>
                    <a:pt x="769" y="305"/>
                    <a:pt x="769" y="305"/>
                  </a:cubicBezTo>
                  <a:cubicBezTo>
                    <a:pt x="770" y="305"/>
                    <a:pt x="770" y="305"/>
                    <a:pt x="770" y="305"/>
                  </a:cubicBezTo>
                  <a:cubicBezTo>
                    <a:pt x="770" y="305"/>
                    <a:pt x="770" y="305"/>
                    <a:pt x="770" y="305"/>
                  </a:cubicBezTo>
                  <a:cubicBezTo>
                    <a:pt x="771" y="305"/>
                    <a:pt x="771" y="305"/>
                    <a:pt x="771" y="305"/>
                  </a:cubicBezTo>
                  <a:cubicBezTo>
                    <a:pt x="771" y="305"/>
                    <a:pt x="771" y="305"/>
                    <a:pt x="771" y="305"/>
                  </a:cubicBezTo>
                  <a:cubicBezTo>
                    <a:pt x="771" y="305"/>
                    <a:pt x="771" y="305"/>
                    <a:pt x="771" y="305"/>
                  </a:cubicBezTo>
                  <a:cubicBezTo>
                    <a:pt x="771" y="305"/>
                    <a:pt x="771" y="305"/>
                    <a:pt x="771" y="305"/>
                  </a:cubicBezTo>
                  <a:cubicBezTo>
                    <a:pt x="771" y="304"/>
                    <a:pt x="771" y="304"/>
                    <a:pt x="771" y="304"/>
                  </a:cubicBezTo>
                  <a:cubicBezTo>
                    <a:pt x="772" y="304"/>
                    <a:pt x="772" y="304"/>
                    <a:pt x="772" y="304"/>
                  </a:cubicBezTo>
                  <a:cubicBezTo>
                    <a:pt x="773" y="304"/>
                    <a:pt x="773" y="304"/>
                    <a:pt x="773" y="304"/>
                  </a:cubicBezTo>
                  <a:cubicBezTo>
                    <a:pt x="773" y="304"/>
                    <a:pt x="773" y="304"/>
                    <a:pt x="773" y="304"/>
                  </a:cubicBezTo>
                  <a:cubicBezTo>
                    <a:pt x="773" y="304"/>
                    <a:pt x="773" y="304"/>
                    <a:pt x="773" y="304"/>
                  </a:cubicBezTo>
                  <a:cubicBezTo>
                    <a:pt x="773" y="304"/>
                    <a:pt x="773" y="304"/>
                    <a:pt x="773" y="304"/>
                  </a:cubicBezTo>
                  <a:cubicBezTo>
                    <a:pt x="773" y="305"/>
                    <a:pt x="773" y="305"/>
                    <a:pt x="773" y="305"/>
                  </a:cubicBezTo>
                  <a:cubicBezTo>
                    <a:pt x="773" y="305"/>
                    <a:pt x="773" y="305"/>
                    <a:pt x="773" y="305"/>
                  </a:cubicBezTo>
                  <a:cubicBezTo>
                    <a:pt x="773" y="306"/>
                    <a:pt x="773" y="306"/>
                    <a:pt x="773" y="306"/>
                  </a:cubicBezTo>
                  <a:cubicBezTo>
                    <a:pt x="773" y="306"/>
                    <a:pt x="773" y="306"/>
                    <a:pt x="773" y="306"/>
                  </a:cubicBezTo>
                  <a:cubicBezTo>
                    <a:pt x="773" y="306"/>
                    <a:pt x="773" y="306"/>
                    <a:pt x="773" y="306"/>
                  </a:cubicBezTo>
                  <a:cubicBezTo>
                    <a:pt x="773" y="306"/>
                    <a:pt x="773" y="306"/>
                    <a:pt x="773" y="306"/>
                  </a:cubicBezTo>
                  <a:cubicBezTo>
                    <a:pt x="773" y="306"/>
                    <a:pt x="773" y="306"/>
                    <a:pt x="773" y="306"/>
                  </a:cubicBezTo>
                  <a:cubicBezTo>
                    <a:pt x="773" y="307"/>
                    <a:pt x="773" y="307"/>
                    <a:pt x="773" y="307"/>
                  </a:cubicBezTo>
                  <a:cubicBezTo>
                    <a:pt x="773" y="307"/>
                    <a:pt x="773" y="307"/>
                    <a:pt x="773" y="307"/>
                  </a:cubicBezTo>
                  <a:cubicBezTo>
                    <a:pt x="773" y="308"/>
                    <a:pt x="773" y="308"/>
                    <a:pt x="773" y="308"/>
                  </a:cubicBezTo>
                  <a:cubicBezTo>
                    <a:pt x="773" y="309"/>
                    <a:pt x="773" y="309"/>
                    <a:pt x="773" y="309"/>
                  </a:cubicBezTo>
                  <a:cubicBezTo>
                    <a:pt x="772" y="310"/>
                    <a:pt x="772" y="310"/>
                    <a:pt x="772" y="310"/>
                  </a:cubicBezTo>
                  <a:cubicBezTo>
                    <a:pt x="772" y="310"/>
                    <a:pt x="772" y="310"/>
                    <a:pt x="772" y="310"/>
                  </a:cubicBezTo>
                  <a:cubicBezTo>
                    <a:pt x="772" y="311"/>
                    <a:pt x="772" y="311"/>
                    <a:pt x="772" y="311"/>
                  </a:cubicBezTo>
                  <a:cubicBezTo>
                    <a:pt x="772" y="311"/>
                    <a:pt x="772" y="311"/>
                    <a:pt x="772" y="311"/>
                  </a:cubicBezTo>
                  <a:cubicBezTo>
                    <a:pt x="772" y="311"/>
                    <a:pt x="772" y="311"/>
                    <a:pt x="772" y="311"/>
                  </a:cubicBezTo>
                  <a:cubicBezTo>
                    <a:pt x="772" y="311"/>
                    <a:pt x="772" y="311"/>
                    <a:pt x="772" y="311"/>
                  </a:cubicBezTo>
                  <a:cubicBezTo>
                    <a:pt x="772" y="312"/>
                    <a:pt x="772" y="312"/>
                    <a:pt x="772" y="312"/>
                  </a:cubicBezTo>
                  <a:cubicBezTo>
                    <a:pt x="772" y="312"/>
                    <a:pt x="772" y="312"/>
                    <a:pt x="772" y="312"/>
                  </a:cubicBezTo>
                  <a:cubicBezTo>
                    <a:pt x="772" y="312"/>
                    <a:pt x="772" y="312"/>
                    <a:pt x="772" y="312"/>
                  </a:cubicBezTo>
                  <a:cubicBezTo>
                    <a:pt x="772" y="312"/>
                    <a:pt x="772" y="312"/>
                    <a:pt x="772" y="312"/>
                  </a:cubicBezTo>
                  <a:cubicBezTo>
                    <a:pt x="773" y="314"/>
                    <a:pt x="775" y="315"/>
                    <a:pt x="775" y="316"/>
                  </a:cubicBezTo>
                  <a:cubicBezTo>
                    <a:pt x="776" y="316"/>
                    <a:pt x="776" y="316"/>
                    <a:pt x="776" y="316"/>
                  </a:cubicBezTo>
                  <a:cubicBezTo>
                    <a:pt x="776" y="317"/>
                    <a:pt x="776" y="317"/>
                    <a:pt x="776" y="317"/>
                  </a:cubicBezTo>
                  <a:cubicBezTo>
                    <a:pt x="777" y="318"/>
                    <a:pt x="778" y="318"/>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79" y="321"/>
                    <a:pt x="779" y="321"/>
                    <a:pt x="779" y="321"/>
                  </a:cubicBezTo>
                  <a:cubicBezTo>
                    <a:pt x="780" y="322"/>
                    <a:pt x="780" y="322"/>
                    <a:pt x="780" y="322"/>
                  </a:cubicBezTo>
                  <a:cubicBezTo>
                    <a:pt x="780" y="322"/>
                    <a:pt x="780" y="322"/>
                    <a:pt x="780" y="322"/>
                  </a:cubicBezTo>
                  <a:cubicBezTo>
                    <a:pt x="780" y="322"/>
                    <a:pt x="780" y="322"/>
                    <a:pt x="780" y="322"/>
                  </a:cubicBezTo>
                  <a:cubicBezTo>
                    <a:pt x="780" y="322"/>
                    <a:pt x="780" y="322"/>
                    <a:pt x="780" y="322"/>
                  </a:cubicBezTo>
                  <a:cubicBezTo>
                    <a:pt x="780" y="322"/>
                    <a:pt x="780" y="322"/>
                    <a:pt x="780" y="322"/>
                  </a:cubicBezTo>
                  <a:cubicBezTo>
                    <a:pt x="781" y="322"/>
                    <a:pt x="781" y="322"/>
                    <a:pt x="781" y="322"/>
                  </a:cubicBezTo>
                  <a:cubicBezTo>
                    <a:pt x="781" y="323"/>
                    <a:pt x="781" y="323"/>
                    <a:pt x="781" y="323"/>
                  </a:cubicBezTo>
                  <a:cubicBezTo>
                    <a:pt x="781" y="323"/>
                    <a:pt x="781" y="323"/>
                    <a:pt x="781" y="323"/>
                  </a:cubicBezTo>
                  <a:cubicBezTo>
                    <a:pt x="781" y="323"/>
                    <a:pt x="781" y="323"/>
                    <a:pt x="781" y="323"/>
                  </a:cubicBezTo>
                  <a:cubicBezTo>
                    <a:pt x="783" y="323"/>
                    <a:pt x="784" y="324"/>
                    <a:pt x="785" y="324"/>
                  </a:cubicBezTo>
                  <a:cubicBezTo>
                    <a:pt x="785" y="324"/>
                    <a:pt x="785" y="324"/>
                    <a:pt x="785" y="324"/>
                  </a:cubicBezTo>
                  <a:cubicBezTo>
                    <a:pt x="785" y="324"/>
                    <a:pt x="785" y="324"/>
                    <a:pt x="785" y="324"/>
                  </a:cubicBezTo>
                  <a:cubicBezTo>
                    <a:pt x="786" y="324"/>
                    <a:pt x="786" y="324"/>
                    <a:pt x="786" y="324"/>
                  </a:cubicBezTo>
                  <a:cubicBezTo>
                    <a:pt x="786" y="324"/>
                    <a:pt x="786" y="324"/>
                    <a:pt x="786" y="324"/>
                  </a:cubicBezTo>
                  <a:cubicBezTo>
                    <a:pt x="787" y="324"/>
                    <a:pt x="788" y="324"/>
                    <a:pt x="788" y="323"/>
                  </a:cubicBezTo>
                  <a:cubicBezTo>
                    <a:pt x="789" y="323"/>
                    <a:pt x="789" y="323"/>
                    <a:pt x="789" y="323"/>
                  </a:cubicBezTo>
                  <a:cubicBezTo>
                    <a:pt x="789" y="323"/>
                    <a:pt x="789" y="323"/>
                    <a:pt x="789" y="323"/>
                  </a:cubicBezTo>
                  <a:cubicBezTo>
                    <a:pt x="789" y="323"/>
                    <a:pt x="789" y="323"/>
                    <a:pt x="789" y="323"/>
                  </a:cubicBezTo>
                  <a:cubicBezTo>
                    <a:pt x="790" y="323"/>
                    <a:pt x="790" y="323"/>
                    <a:pt x="790" y="323"/>
                  </a:cubicBezTo>
                  <a:cubicBezTo>
                    <a:pt x="790" y="323"/>
                    <a:pt x="790" y="323"/>
                    <a:pt x="790" y="323"/>
                  </a:cubicBezTo>
                  <a:cubicBezTo>
                    <a:pt x="790" y="323"/>
                    <a:pt x="790" y="323"/>
                    <a:pt x="790" y="323"/>
                  </a:cubicBezTo>
                  <a:cubicBezTo>
                    <a:pt x="790" y="323"/>
                    <a:pt x="790" y="323"/>
                    <a:pt x="790" y="323"/>
                  </a:cubicBezTo>
                  <a:cubicBezTo>
                    <a:pt x="791" y="323"/>
                    <a:pt x="791" y="323"/>
                    <a:pt x="791" y="323"/>
                  </a:cubicBezTo>
                  <a:cubicBezTo>
                    <a:pt x="791" y="323"/>
                    <a:pt x="791" y="323"/>
                    <a:pt x="791" y="323"/>
                  </a:cubicBezTo>
                  <a:cubicBezTo>
                    <a:pt x="791" y="323"/>
                    <a:pt x="791" y="323"/>
                    <a:pt x="791" y="323"/>
                  </a:cubicBezTo>
                  <a:cubicBezTo>
                    <a:pt x="791" y="323"/>
                    <a:pt x="791" y="323"/>
                    <a:pt x="791" y="323"/>
                  </a:cubicBezTo>
                  <a:cubicBezTo>
                    <a:pt x="792" y="323"/>
                    <a:pt x="792" y="323"/>
                    <a:pt x="792" y="323"/>
                  </a:cubicBezTo>
                  <a:cubicBezTo>
                    <a:pt x="792" y="323"/>
                    <a:pt x="792" y="323"/>
                    <a:pt x="792" y="323"/>
                  </a:cubicBezTo>
                  <a:cubicBezTo>
                    <a:pt x="793" y="323"/>
                    <a:pt x="793" y="323"/>
                    <a:pt x="793" y="323"/>
                  </a:cubicBezTo>
                  <a:cubicBezTo>
                    <a:pt x="794" y="323"/>
                    <a:pt x="794" y="323"/>
                    <a:pt x="794" y="323"/>
                  </a:cubicBezTo>
                  <a:cubicBezTo>
                    <a:pt x="794" y="323"/>
                    <a:pt x="794" y="323"/>
                    <a:pt x="794" y="323"/>
                  </a:cubicBezTo>
                  <a:cubicBezTo>
                    <a:pt x="794" y="323"/>
                    <a:pt x="794" y="323"/>
                    <a:pt x="794" y="323"/>
                  </a:cubicBezTo>
                  <a:cubicBezTo>
                    <a:pt x="791" y="324"/>
                    <a:pt x="795" y="324"/>
                    <a:pt x="790" y="325"/>
                  </a:cubicBezTo>
                  <a:cubicBezTo>
                    <a:pt x="790" y="325"/>
                    <a:pt x="790" y="325"/>
                    <a:pt x="790" y="325"/>
                  </a:cubicBezTo>
                  <a:cubicBezTo>
                    <a:pt x="790" y="325"/>
                    <a:pt x="790" y="325"/>
                    <a:pt x="790" y="325"/>
                  </a:cubicBezTo>
                  <a:cubicBezTo>
                    <a:pt x="790" y="325"/>
                    <a:pt x="790" y="325"/>
                    <a:pt x="790" y="325"/>
                  </a:cubicBezTo>
                  <a:cubicBezTo>
                    <a:pt x="790" y="326"/>
                    <a:pt x="790" y="326"/>
                    <a:pt x="790" y="326"/>
                  </a:cubicBezTo>
                  <a:cubicBezTo>
                    <a:pt x="791" y="326"/>
                    <a:pt x="791" y="326"/>
                    <a:pt x="791" y="326"/>
                  </a:cubicBezTo>
                  <a:cubicBezTo>
                    <a:pt x="792" y="326"/>
                    <a:pt x="792" y="326"/>
                    <a:pt x="792" y="326"/>
                  </a:cubicBezTo>
                  <a:cubicBezTo>
                    <a:pt x="792" y="326"/>
                    <a:pt x="792" y="326"/>
                    <a:pt x="792" y="326"/>
                  </a:cubicBezTo>
                  <a:cubicBezTo>
                    <a:pt x="792" y="326"/>
                    <a:pt x="792" y="326"/>
                    <a:pt x="792" y="326"/>
                  </a:cubicBezTo>
                  <a:cubicBezTo>
                    <a:pt x="792" y="326"/>
                    <a:pt x="792" y="326"/>
                    <a:pt x="792" y="326"/>
                  </a:cubicBezTo>
                  <a:cubicBezTo>
                    <a:pt x="792" y="327"/>
                    <a:pt x="792" y="327"/>
                    <a:pt x="792" y="327"/>
                  </a:cubicBezTo>
                  <a:cubicBezTo>
                    <a:pt x="792" y="327"/>
                    <a:pt x="792" y="327"/>
                    <a:pt x="792" y="327"/>
                  </a:cubicBezTo>
                  <a:cubicBezTo>
                    <a:pt x="792" y="327"/>
                    <a:pt x="792" y="327"/>
                    <a:pt x="792" y="327"/>
                  </a:cubicBezTo>
                  <a:cubicBezTo>
                    <a:pt x="792" y="327"/>
                    <a:pt x="792" y="327"/>
                    <a:pt x="792" y="327"/>
                  </a:cubicBezTo>
                  <a:cubicBezTo>
                    <a:pt x="791" y="327"/>
                    <a:pt x="791" y="327"/>
                    <a:pt x="791" y="327"/>
                  </a:cubicBezTo>
                  <a:cubicBezTo>
                    <a:pt x="791" y="328"/>
                    <a:pt x="791" y="328"/>
                    <a:pt x="791" y="328"/>
                  </a:cubicBezTo>
                  <a:cubicBezTo>
                    <a:pt x="791" y="328"/>
                    <a:pt x="791" y="328"/>
                    <a:pt x="791" y="328"/>
                  </a:cubicBezTo>
                  <a:cubicBezTo>
                    <a:pt x="791" y="328"/>
                    <a:pt x="791" y="328"/>
                    <a:pt x="791" y="328"/>
                  </a:cubicBezTo>
                  <a:cubicBezTo>
                    <a:pt x="790" y="328"/>
                    <a:pt x="790" y="328"/>
                    <a:pt x="790" y="328"/>
                  </a:cubicBezTo>
                  <a:cubicBezTo>
                    <a:pt x="790" y="328"/>
                    <a:pt x="790" y="328"/>
                    <a:pt x="790" y="328"/>
                  </a:cubicBezTo>
                  <a:cubicBezTo>
                    <a:pt x="790" y="328"/>
                    <a:pt x="790" y="328"/>
                    <a:pt x="790" y="328"/>
                  </a:cubicBezTo>
                  <a:cubicBezTo>
                    <a:pt x="790" y="329"/>
                    <a:pt x="791" y="329"/>
                    <a:pt x="790" y="330"/>
                  </a:cubicBezTo>
                  <a:cubicBezTo>
                    <a:pt x="790" y="330"/>
                    <a:pt x="790" y="330"/>
                    <a:pt x="790" y="330"/>
                  </a:cubicBezTo>
                  <a:cubicBezTo>
                    <a:pt x="790" y="330"/>
                    <a:pt x="790" y="330"/>
                    <a:pt x="790" y="330"/>
                  </a:cubicBezTo>
                  <a:cubicBezTo>
                    <a:pt x="790" y="330"/>
                    <a:pt x="790" y="330"/>
                    <a:pt x="790" y="330"/>
                  </a:cubicBezTo>
                  <a:cubicBezTo>
                    <a:pt x="790" y="331"/>
                    <a:pt x="789" y="334"/>
                    <a:pt x="788" y="335"/>
                  </a:cubicBezTo>
                  <a:cubicBezTo>
                    <a:pt x="788" y="335"/>
                    <a:pt x="788" y="335"/>
                    <a:pt x="788" y="335"/>
                  </a:cubicBezTo>
                  <a:cubicBezTo>
                    <a:pt x="788" y="335"/>
                    <a:pt x="788" y="335"/>
                    <a:pt x="788" y="335"/>
                  </a:cubicBezTo>
                  <a:cubicBezTo>
                    <a:pt x="788" y="335"/>
                    <a:pt x="788" y="335"/>
                    <a:pt x="788" y="335"/>
                  </a:cubicBezTo>
                  <a:cubicBezTo>
                    <a:pt x="787" y="336"/>
                    <a:pt x="787" y="336"/>
                    <a:pt x="787" y="336"/>
                  </a:cubicBezTo>
                  <a:cubicBezTo>
                    <a:pt x="786" y="338"/>
                    <a:pt x="786" y="338"/>
                    <a:pt x="784" y="340"/>
                  </a:cubicBezTo>
                  <a:cubicBezTo>
                    <a:pt x="784" y="340"/>
                    <a:pt x="784" y="340"/>
                    <a:pt x="784" y="340"/>
                  </a:cubicBezTo>
                  <a:cubicBezTo>
                    <a:pt x="784" y="340"/>
                    <a:pt x="784" y="340"/>
                    <a:pt x="784" y="340"/>
                  </a:cubicBezTo>
                  <a:cubicBezTo>
                    <a:pt x="783" y="340"/>
                    <a:pt x="783" y="340"/>
                    <a:pt x="783" y="340"/>
                  </a:cubicBezTo>
                  <a:cubicBezTo>
                    <a:pt x="783" y="341"/>
                    <a:pt x="783" y="341"/>
                    <a:pt x="783" y="341"/>
                  </a:cubicBezTo>
                  <a:cubicBezTo>
                    <a:pt x="783" y="341"/>
                    <a:pt x="783" y="341"/>
                    <a:pt x="783" y="341"/>
                  </a:cubicBezTo>
                  <a:cubicBezTo>
                    <a:pt x="783" y="341"/>
                    <a:pt x="783" y="341"/>
                    <a:pt x="783" y="341"/>
                  </a:cubicBezTo>
                  <a:cubicBezTo>
                    <a:pt x="783" y="342"/>
                    <a:pt x="783" y="342"/>
                    <a:pt x="783" y="342"/>
                  </a:cubicBezTo>
                  <a:cubicBezTo>
                    <a:pt x="783" y="343"/>
                    <a:pt x="783" y="343"/>
                    <a:pt x="783" y="343"/>
                  </a:cubicBezTo>
                  <a:cubicBezTo>
                    <a:pt x="783" y="344"/>
                    <a:pt x="783" y="344"/>
                    <a:pt x="783" y="344"/>
                  </a:cubicBezTo>
                  <a:cubicBezTo>
                    <a:pt x="783" y="344"/>
                    <a:pt x="783" y="344"/>
                    <a:pt x="783" y="344"/>
                  </a:cubicBezTo>
                  <a:cubicBezTo>
                    <a:pt x="783" y="344"/>
                    <a:pt x="783" y="344"/>
                    <a:pt x="783" y="344"/>
                  </a:cubicBezTo>
                  <a:cubicBezTo>
                    <a:pt x="782" y="344"/>
                    <a:pt x="782" y="344"/>
                    <a:pt x="782" y="344"/>
                  </a:cubicBezTo>
                  <a:cubicBezTo>
                    <a:pt x="781" y="344"/>
                    <a:pt x="782" y="345"/>
                    <a:pt x="781" y="346"/>
                  </a:cubicBezTo>
                  <a:cubicBezTo>
                    <a:pt x="781" y="346"/>
                    <a:pt x="781" y="346"/>
                    <a:pt x="781" y="346"/>
                  </a:cubicBezTo>
                  <a:cubicBezTo>
                    <a:pt x="780" y="346"/>
                    <a:pt x="780" y="346"/>
                    <a:pt x="780" y="346"/>
                  </a:cubicBezTo>
                  <a:cubicBezTo>
                    <a:pt x="780" y="346"/>
                    <a:pt x="780" y="346"/>
                    <a:pt x="780" y="346"/>
                  </a:cubicBezTo>
                  <a:cubicBezTo>
                    <a:pt x="778" y="347"/>
                    <a:pt x="778" y="347"/>
                    <a:pt x="778" y="347"/>
                  </a:cubicBezTo>
                  <a:cubicBezTo>
                    <a:pt x="754" y="327"/>
                    <a:pt x="754" y="327"/>
                    <a:pt x="754" y="327"/>
                  </a:cubicBezTo>
                  <a:cubicBezTo>
                    <a:pt x="754" y="326"/>
                    <a:pt x="754" y="326"/>
                    <a:pt x="754" y="326"/>
                  </a:cubicBezTo>
                  <a:cubicBezTo>
                    <a:pt x="752" y="326"/>
                    <a:pt x="751" y="325"/>
                    <a:pt x="749" y="325"/>
                  </a:cubicBezTo>
                  <a:cubicBezTo>
                    <a:pt x="749" y="325"/>
                    <a:pt x="749" y="325"/>
                    <a:pt x="749" y="325"/>
                  </a:cubicBezTo>
                  <a:cubicBezTo>
                    <a:pt x="748" y="325"/>
                    <a:pt x="748" y="325"/>
                    <a:pt x="748" y="325"/>
                  </a:cubicBezTo>
                  <a:cubicBezTo>
                    <a:pt x="745" y="325"/>
                    <a:pt x="742" y="324"/>
                    <a:pt x="739" y="323"/>
                  </a:cubicBezTo>
                  <a:cubicBezTo>
                    <a:pt x="732" y="320"/>
                    <a:pt x="732" y="320"/>
                    <a:pt x="732" y="320"/>
                  </a:cubicBezTo>
                  <a:cubicBezTo>
                    <a:pt x="729" y="319"/>
                    <a:pt x="729" y="319"/>
                    <a:pt x="729" y="319"/>
                  </a:cubicBezTo>
                  <a:cubicBezTo>
                    <a:pt x="729" y="317"/>
                    <a:pt x="729" y="317"/>
                    <a:pt x="729" y="317"/>
                  </a:cubicBezTo>
                  <a:cubicBezTo>
                    <a:pt x="730" y="317"/>
                    <a:pt x="730" y="317"/>
                    <a:pt x="730" y="317"/>
                  </a:cubicBezTo>
                  <a:cubicBezTo>
                    <a:pt x="729" y="317"/>
                    <a:pt x="729" y="317"/>
                    <a:pt x="729" y="317"/>
                  </a:cubicBezTo>
                  <a:cubicBezTo>
                    <a:pt x="727" y="316"/>
                    <a:pt x="727" y="316"/>
                    <a:pt x="727" y="316"/>
                  </a:cubicBezTo>
                  <a:cubicBezTo>
                    <a:pt x="715" y="312"/>
                    <a:pt x="715" y="312"/>
                    <a:pt x="715" y="312"/>
                  </a:cubicBezTo>
                  <a:cubicBezTo>
                    <a:pt x="715" y="312"/>
                    <a:pt x="715" y="312"/>
                    <a:pt x="715" y="312"/>
                  </a:cubicBezTo>
                  <a:cubicBezTo>
                    <a:pt x="715" y="313"/>
                    <a:pt x="715" y="313"/>
                    <a:pt x="715" y="313"/>
                  </a:cubicBezTo>
                  <a:cubicBezTo>
                    <a:pt x="714" y="313"/>
                    <a:pt x="714" y="313"/>
                    <a:pt x="714" y="313"/>
                  </a:cubicBezTo>
                  <a:cubicBezTo>
                    <a:pt x="714" y="313"/>
                    <a:pt x="715" y="313"/>
                    <a:pt x="715" y="312"/>
                  </a:cubicBezTo>
                  <a:cubicBezTo>
                    <a:pt x="714" y="313"/>
                    <a:pt x="712" y="315"/>
                    <a:pt x="712" y="315"/>
                  </a:cubicBezTo>
                  <a:cubicBezTo>
                    <a:pt x="712" y="315"/>
                    <a:pt x="712" y="315"/>
                    <a:pt x="712" y="315"/>
                  </a:cubicBezTo>
                  <a:cubicBezTo>
                    <a:pt x="712" y="315"/>
                    <a:pt x="712" y="315"/>
                    <a:pt x="712" y="315"/>
                  </a:cubicBezTo>
                  <a:cubicBezTo>
                    <a:pt x="711" y="316"/>
                    <a:pt x="711" y="316"/>
                    <a:pt x="711" y="316"/>
                  </a:cubicBezTo>
                  <a:cubicBezTo>
                    <a:pt x="711" y="316"/>
                    <a:pt x="710" y="313"/>
                    <a:pt x="711" y="312"/>
                  </a:cubicBezTo>
                  <a:cubicBezTo>
                    <a:pt x="712" y="311"/>
                    <a:pt x="714" y="313"/>
                    <a:pt x="714" y="311"/>
                  </a:cubicBezTo>
                  <a:cubicBezTo>
                    <a:pt x="714" y="311"/>
                    <a:pt x="710" y="309"/>
                    <a:pt x="710" y="309"/>
                  </a:cubicBezTo>
                  <a:cubicBezTo>
                    <a:pt x="706" y="307"/>
                    <a:pt x="703" y="305"/>
                    <a:pt x="700" y="304"/>
                  </a:cubicBezTo>
                  <a:cubicBezTo>
                    <a:pt x="689" y="300"/>
                    <a:pt x="679" y="298"/>
                    <a:pt x="668" y="297"/>
                  </a:cubicBezTo>
                  <a:cubicBezTo>
                    <a:pt x="661" y="296"/>
                    <a:pt x="653" y="295"/>
                    <a:pt x="646" y="294"/>
                  </a:cubicBezTo>
                  <a:cubicBezTo>
                    <a:pt x="644" y="294"/>
                    <a:pt x="641" y="292"/>
                    <a:pt x="640" y="293"/>
                  </a:cubicBezTo>
                  <a:cubicBezTo>
                    <a:pt x="635" y="294"/>
                    <a:pt x="631" y="298"/>
                    <a:pt x="627" y="299"/>
                  </a:cubicBezTo>
                  <a:cubicBezTo>
                    <a:pt x="625" y="299"/>
                    <a:pt x="621" y="298"/>
                    <a:pt x="622" y="302"/>
                  </a:cubicBezTo>
                  <a:cubicBezTo>
                    <a:pt x="624" y="305"/>
                    <a:pt x="625" y="306"/>
                    <a:pt x="627" y="308"/>
                  </a:cubicBezTo>
                  <a:cubicBezTo>
                    <a:pt x="628" y="309"/>
                    <a:pt x="630" y="311"/>
                    <a:pt x="630" y="313"/>
                  </a:cubicBezTo>
                  <a:cubicBezTo>
                    <a:pt x="630" y="314"/>
                    <a:pt x="631" y="321"/>
                    <a:pt x="633" y="317"/>
                  </a:cubicBezTo>
                  <a:cubicBezTo>
                    <a:pt x="635" y="315"/>
                    <a:pt x="636" y="318"/>
                    <a:pt x="636" y="320"/>
                  </a:cubicBezTo>
                  <a:cubicBezTo>
                    <a:pt x="637" y="322"/>
                    <a:pt x="637" y="324"/>
                    <a:pt x="635" y="325"/>
                  </a:cubicBezTo>
                  <a:cubicBezTo>
                    <a:pt x="631" y="328"/>
                    <a:pt x="624" y="329"/>
                    <a:pt x="619" y="331"/>
                  </a:cubicBezTo>
                  <a:cubicBezTo>
                    <a:pt x="619" y="331"/>
                    <a:pt x="619" y="332"/>
                    <a:pt x="619" y="332"/>
                  </a:cubicBezTo>
                  <a:cubicBezTo>
                    <a:pt x="619" y="332"/>
                    <a:pt x="619" y="332"/>
                    <a:pt x="619" y="331"/>
                  </a:cubicBezTo>
                  <a:cubicBezTo>
                    <a:pt x="618" y="333"/>
                    <a:pt x="616" y="334"/>
                    <a:pt x="617" y="336"/>
                  </a:cubicBezTo>
                  <a:cubicBezTo>
                    <a:pt x="617" y="337"/>
                    <a:pt x="618" y="337"/>
                    <a:pt x="618" y="338"/>
                  </a:cubicBezTo>
                  <a:cubicBezTo>
                    <a:pt x="618" y="340"/>
                    <a:pt x="617" y="341"/>
                    <a:pt x="615" y="342"/>
                  </a:cubicBezTo>
                  <a:cubicBezTo>
                    <a:pt x="612" y="344"/>
                    <a:pt x="607" y="342"/>
                    <a:pt x="604" y="341"/>
                  </a:cubicBezTo>
                  <a:cubicBezTo>
                    <a:pt x="600" y="340"/>
                    <a:pt x="602" y="340"/>
                    <a:pt x="602" y="337"/>
                  </a:cubicBezTo>
                  <a:cubicBezTo>
                    <a:pt x="602" y="336"/>
                    <a:pt x="601" y="336"/>
                    <a:pt x="601" y="335"/>
                  </a:cubicBezTo>
                  <a:cubicBezTo>
                    <a:pt x="601" y="334"/>
                    <a:pt x="602" y="332"/>
                    <a:pt x="603" y="332"/>
                  </a:cubicBezTo>
                  <a:cubicBezTo>
                    <a:pt x="604" y="331"/>
                    <a:pt x="608" y="331"/>
                    <a:pt x="607" y="329"/>
                  </a:cubicBezTo>
                  <a:cubicBezTo>
                    <a:pt x="607" y="328"/>
                    <a:pt x="604" y="326"/>
                    <a:pt x="603" y="325"/>
                  </a:cubicBezTo>
                  <a:cubicBezTo>
                    <a:pt x="601" y="324"/>
                    <a:pt x="600" y="324"/>
                    <a:pt x="598" y="324"/>
                  </a:cubicBezTo>
                  <a:cubicBezTo>
                    <a:pt x="599" y="322"/>
                    <a:pt x="602" y="322"/>
                    <a:pt x="604" y="322"/>
                  </a:cubicBezTo>
                  <a:cubicBezTo>
                    <a:pt x="597" y="321"/>
                    <a:pt x="591" y="324"/>
                    <a:pt x="586" y="328"/>
                  </a:cubicBezTo>
                  <a:cubicBezTo>
                    <a:pt x="587" y="329"/>
                    <a:pt x="589" y="329"/>
                    <a:pt x="589" y="330"/>
                  </a:cubicBezTo>
                  <a:cubicBezTo>
                    <a:pt x="587" y="330"/>
                    <a:pt x="585" y="328"/>
                    <a:pt x="585" y="327"/>
                  </a:cubicBezTo>
                  <a:cubicBezTo>
                    <a:pt x="584" y="326"/>
                    <a:pt x="587" y="324"/>
                    <a:pt x="583" y="326"/>
                  </a:cubicBezTo>
                  <a:cubicBezTo>
                    <a:pt x="579" y="328"/>
                    <a:pt x="573" y="330"/>
                    <a:pt x="570" y="333"/>
                  </a:cubicBezTo>
                  <a:cubicBezTo>
                    <a:pt x="569" y="335"/>
                    <a:pt x="570" y="335"/>
                    <a:pt x="567" y="336"/>
                  </a:cubicBezTo>
                  <a:cubicBezTo>
                    <a:pt x="565" y="336"/>
                    <a:pt x="562" y="335"/>
                    <a:pt x="560" y="335"/>
                  </a:cubicBezTo>
                  <a:cubicBezTo>
                    <a:pt x="556" y="334"/>
                    <a:pt x="554" y="333"/>
                    <a:pt x="550" y="334"/>
                  </a:cubicBezTo>
                  <a:cubicBezTo>
                    <a:pt x="547" y="335"/>
                    <a:pt x="546" y="334"/>
                    <a:pt x="543" y="333"/>
                  </a:cubicBezTo>
                  <a:cubicBezTo>
                    <a:pt x="540" y="332"/>
                    <a:pt x="534" y="338"/>
                    <a:pt x="532" y="339"/>
                  </a:cubicBezTo>
                  <a:cubicBezTo>
                    <a:pt x="529" y="341"/>
                    <a:pt x="526" y="343"/>
                    <a:pt x="523" y="345"/>
                  </a:cubicBezTo>
                  <a:cubicBezTo>
                    <a:pt x="522" y="345"/>
                    <a:pt x="523" y="346"/>
                    <a:pt x="522" y="347"/>
                  </a:cubicBezTo>
                  <a:cubicBezTo>
                    <a:pt x="520" y="349"/>
                    <a:pt x="520" y="349"/>
                    <a:pt x="518" y="347"/>
                  </a:cubicBezTo>
                  <a:cubicBezTo>
                    <a:pt x="516" y="346"/>
                    <a:pt x="515" y="344"/>
                    <a:pt x="512" y="345"/>
                  </a:cubicBezTo>
                  <a:cubicBezTo>
                    <a:pt x="510" y="347"/>
                    <a:pt x="508" y="349"/>
                    <a:pt x="508" y="345"/>
                  </a:cubicBezTo>
                  <a:cubicBezTo>
                    <a:pt x="505" y="346"/>
                    <a:pt x="505" y="348"/>
                    <a:pt x="502" y="347"/>
                  </a:cubicBezTo>
                  <a:cubicBezTo>
                    <a:pt x="499" y="346"/>
                    <a:pt x="495" y="345"/>
                    <a:pt x="492" y="343"/>
                  </a:cubicBezTo>
                  <a:cubicBezTo>
                    <a:pt x="494" y="342"/>
                    <a:pt x="496" y="343"/>
                    <a:pt x="498" y="342"/>
                  </a:cubicBezTo>
                  <a:cubicBezTo>
                    <a:pt x="497" y="342"/>
                    <a:pt x="497" y="342"/>
                    <a:pt x="496" y="341"/>
                  </a:cubicBezTo>
                  <a:cubicBezTo>
                    <a:pt x="498" y="341"/>
                    <a:pt x="501" y="341"/>
                    <a:pt x="503" y="341"/>
                  </a:cubicBezTo>
                  <a:cubicBezTo>
                    <a:pt x="503" y="339"/>
                    <a:pt x="502" y="338"/>
                    <a:pt x="501" y="336"/>
                  </a:cubicBezTo>
                  <a:cubicBezTo>
                    <a:pt x="498" y="333"/>
                    <a:pt x="500" y="333"/>
                    <a:pt x="501" y="330"/>
                  </a:cubicBezTo>
                  <a:cubicBezTo>
                    <a:pt x="502" y="329"/>
                    <a:pt x="502" y="329"/>
                    <a:pt x="503" y="328"/>
                  </a:cubicBezTo>
                  <a:cubicBezTo>
                    <a:pt x="504" y="327"/>
                    <a:pt x="506" y="327"/>
                    <a:pt x="504" y="326"/>
                  </a:cubicBezTo>
                  <a:cubicBezTo>
                    <a:pt x="502" y="325"/>
                    <a:pt x="499" y="326"/>
                    <a:pt x="497" y="324"/>
                  </a:cubicBezTo>
                  <a:cubicBezTo>
                    <a:pt x="498" y="324"/>
                    <a:pt x="499" y="324"/>
                    <a:pt x="499" y="324"/>
                  </a:cubicBezTo>
                  <a:cubicBezTo>
                    <a:pt x="493" y="325"/>
                    <a:pt x="488" y="327"/>
                    <a:pt x="482" y="329"/>
                  </a:cubicBezTo>
                  <a:cubicBezTo>
                    <a:pt x="480" y="330"/>
                    <a:pt x="478" y="331"/>
                    <a:pt x="476" y="332"/>
                  </a:cubicBezTo>
                  <a:cubicBezTo>
                    <a:pt x="474" y="333"/>
                    <a:pt x="470" y="334"/>
                    <a:pt x="473" y="335"/>
                  </a:cubicBezTo>
                  <a:cubicBezTo>
                    <a:pt x="474" y="336"/>
                    <a:pt x="475" y="335"/>
                    <a:pt x="476" y="336"/>
                  </a:cubicBezTo>
                  <a:cubicBezTo>
                    <a:pt x="477" y="336"/>
                    <a:pt x="478" y="337"/>
                    <a:pt x="478" y="338"/>
                  </a:cubicBezTo>
                  <a:cubicBezTo>
                    <a:pt x="480" y="339"/>
                    <a:pt x="481" y="339"/>
                    <a:pt x="479" y="341"/>
                  </a:cubicBezTo>
                  <a:cubicBezTo>
                    <a:pt x="478" y="342"/>
                    <a:pt x="474" y="344"/>
                    <a:pt x="473" y="344"/>
                  </a:cubicBezTo>
                  <a:cubicBezTo>
                    <a:pt x="471" y="344"/>
                    <a:pt x="471" y="343"/>
                    <a:pt x="472" y="341"/>
                  </a:cubicBezTo>
                  <a:cubicBezTo>
                    <a:pt x="472" y="340"/>
                    <a:pt x="472" y="339"/>
                    <a:pt x="473" y="339"/>
                  </a:cubicBezTo>
                  <a:cubicBezTo>
                    <a:pt x="472" y="338"/>
                    <a:pt x="469" y="338"/>
                    <a:pt x="468" y="338"/>
                  </a:cubicBezTo>
                  <a:cubicBezTo>
                    <a:pt x="469" y="337"/>
                    <a:pt x="470" y="337"/>
                    <a:pt x="470" y="336"/>
                  </a:cubicBezTo>
                  <a:cubicBezTo>
                    <a:pt x="467" y="336"/>
                    <a:pt x="460" y="337"/>
                    <a:pt x="458" y="339"/>
                  </a:cubicBezTo>
                  <a:cubicBezTo>
                    <a:pt x="457" y="340"/>
                    <a:pt x="459" y="340"/>
                    <a:pt x="458" y="340"/>
                  </a:cubicBezTo>
                  <a:cubicBezTo>
                    <a:pt x="458" y="341"/>
                    <a:pt x="457" y="341"/>
                    <a:pt x="456" y="341"/>
                  </a:cubicBezTo>
                  <a:cubicBezTo>
                    <a:pt x="455" y="341"/>
                    <a:pt x="454" y="342"/>
                    <a:pt x="452" y="342"/>
                  </a:cubicBezTo>
                  <a:cubicBezTo>
                    <a:pt x="450" y="342"/>
                    <a:pt x="448" y="343"/>
                    <a:pt x="446" y="343"/>
                  </a:cubicBezTo>
                  <a:cubicBezTo>
                    <a:pt x="442" y="344"/>
                    <a:pt x="441" y="344"/>
                    <a:pt x="438" y="346"/>
                  </a:cubicBezTo>
                  <a:cubicBezTo>
                    <a:pt x="436" y="347"/>
                    <a:pt x="434" y="348"/>
                    <a:pt x="432" y="349"/>
                  </a:cubicBezTo>
                  <a:cubicBezTo>
                    <a:pt x="430" y="351"/>
                    <a:pt x="429" y="353"/>
                    <a:pt x="427" y="353"/>
                  </a:cubicBezTo>
                  <a:cubicBezTo>
                    <a:pt x="425" y="354"/>
                    <a:pt x="423" y="355"/>
                    <a:pt x="420" y="356"/>
                  </a:cubicBezTo>
                  <a:cubicBezTo>
                    <a:pt x="418" y="356"/>
                    <a:pt x="416" y="357"/>
                    <a:pt x="414" y="358"/>
                  </a:cubicBezTo>
                  <a:cubicBezTo>
                    <a:pt x="413" y="359"/>
                    <a:pt x="411" y="359"/>
                    <a:pt x="409" y="359"/>
                  </a:cubicBezTo>
                  <a:cubicBezTo>
                    <a:pt x="409" y="359"/>
                    <a:pt x="408" y="359"/>
                    <a:pt x="407" y="360"/>
                  </a:cubicBezTo>
                  <a:cubicBezTo>
                    <a:pt x="405" y="360"/>
                    <a:pt x="406" y="360"/>
                    <a:pt x="405" y="361"/>
                  </a:cubicBezTo>
                  <a:cubicBezTo>
                    <a:pt x="404" y="364"/>
                    <a:pt x="405" y="363"/>
                    <a:pt x="408" y="364"/>
                  </a:cubicBezTo>
                  <a:cubicBezTo>
                    <a:pt x="409" y="364"/>
                    <a:pt x="410" y="365"/>
                    <a:pt x="411" y="366"/>
                  </a:cubicBezTo>
                  <a:cubicBezTo>
                    <a:pt x="406" y="367"/>
                    <a:pt x="401" y="365"/>
                    <a:pt x="396" y="365"/>
                  </a:cubicBezTo>
                  <a:cubicBezTo>
                    <a:pt x="394" y="366"/>
                    <a:pt x="394" y="366"/>
                    <a:pt x="392" y="367"/>
                  </a:cubicBezTo>
                  <a:cubicBezTo>
                    <a:pt x="391" y="368"/>
                    <a:pt x="387" y="367"/>
                    <a:pt x="387" y="368"/>
                  </a:cubicBezTo>
                  <a:cubicBezTo>
                    <a:pt x="386" y="369"/>
                    <a:pt x="389" y="371"/>
                    <a:pt x="389" y="372"/>
                  </a:cubicBezTo>
                  <a:cubicBezTo>
                    <a:pt x="389" y="374"/>
                    <a:pt x="386" y="375"/>
                    <a:pt x="386" y="377"/>
                  </a:cubicBezTo>
                  <a:cubicBezTo>
                    <a:pt x="386" y="378"/>
                    <a:pt x="386" y="379"/>
                    <a:pt x="386" y="380"/>
                  </a:cubicBezTo>
                  <a:cubicBezTo>
                    <a:pt x="385" y="380"/>
                    <a:pt x="384" y="380"/>
                    <a:pt x="384" y="381"/>
                  </a:cubicBezTo>
                  <a:cubicBezTo>
                    <a:pt x="384" y="381"/>
                    <a:pt x="385" y="381"/>
                    <a:pt x="385" y="382"/>
                  </a:cubicBezTo>
                  <a:cubicBezTo>
                    <a:pt x="385" y="384"/>
                    <a:pt x="386" y="385"/>
                    <a:pt x="385" y="387"/>
                  </a:cubicBezTo>
                  <a:cubicBezTo>
                    <a:pt x="384" y="388"/>
                    <a:pt x="383" y="388"/>
                    <a:pt x="382" y="389"/>
                  </a:cubicBezTo>
                  <a:cubicBezTo>
                    <a:pt x="381" y="390"/>
                    <a:pt x="383" y="391"/>
                    <a:pt x="380" y="391"/>
                  </a:cubicBezTo>
                  <a:cubicBezTo>
                    <a:pt x="376" y="390"/>
                    <a:pt x="374" y="391"/>
                    <a:pt x="370" y="392"/>
                  </a:cubicBezTo>
                  <a:cubicBezTo>
                    <a:pt x="368" y="392"/>
                    <a:pt x="366" y="392"/>
                    <a:pt x="365" y="393"/>
                  </a:cubicBezTo>
                  <a:cubicBezTo>
                    <a:pt x="363" y="393"/>
                    <a:pt x="362" y="395"/>
                    <a:pt x="360" y="395"/>
                  </a:cubicBezTo>
                  <a:cubicBezTo>
                    <a:pt x="362" y="393"/>
                    <a:pt x="365" y="391"/>
                    <a:pt x="360" y="392"/>
                  </a:cubicBezTo>
                  <a:cubicBezTo>
                    <a:pt x="358" y="392"/>
                    <a:pt x="355" y="393"/>
                    <a:pt x="353" y="392"/>
                  </a:cubicBezTo>
                  <a:cubicBezTo>
                    <a:pt x="350" y="392"/>
                    <a:pt x="348" y="389"/>
                    <a:pt x="346" y="386"/>
                  </a:cubicBezTo>
                  <a:cubicBezTo>
                    <a:pt x="344" y="382"/>
                    <a:pt x="340" y="380"/>
                    <a:pt x="336" y="378"/>
                  </a:cubicBezTo>
                  <a:cubicBezTo>
                    <a:pt x="333" y="377"/>
                    <a:pt x="331" y="375"/>
                    <a:pt x="332" y="372"/>
                  </a:cubicBezTo>
                  <a:cubicBezTo>
                    <a:pt x="333" y="370"/>
                    <a:pt x="335" y="369"/>
                    <a:pt x="337" y="368"/>
                  </a:cubicBezTo>
                  <a:cubicBezTo>
                    <a:pt x="339" y="367"/>
                    <a:pt x="341" y="367"/>
                    <a:pt x="339" y="364"/>
                  </a:cubicBezTo>
                  <a:cubicBezTo>
                    <a:pt x="339" y="363"/>
                    <a:pt x="345" y="362"/>
                    <a:pt x="345" y="362"/>
                  </a:cubicBezTo>
                  <a:cubicBezTo>
                    <a:pt x="349" y="362"/>
                    <a:pt x="353" y="361"/>
                    <a:pt x="357" y="361"/>
                  </a:cubicBezTo>
                  <a:cubicBezTo>
                    <a:pt x="359" y="360"/>
                    <a:pt x="359" y="360"/>
                    <a:pt x="361" y="360"/>
                  </a:cubicBezTo>
                  <a:cubicBezTo>
                    <a:pt x="362" y="361"/>
                    <a:pt x="365" y="361"/>
                    <a:pt x="366" y="360"/>
                  </a:cubicBezTo>
                  <a:cubicBezTo>
                    <a:pt x="367" y="359"/>
                    <a:pt x="364" y="355"/>
                    <a:pt x="363" y="354"/>
                  </a:cubicBezTo>
                  <a:cubicBezTo>
                    <a:pt x="362" y="352"/>
                    <a:pt x="363" y="350"/>
                    <a:pt x="360" y="349"/>
                  </a:cubicBezTo>
                  <a:cubicBezTo>
                    <a:pt x="357" y="347"/>
                    <a:pt x="354" y="345"/>
                    <a:pt x="352" y="342"/>
                  </a:cubicBezTo>
                  <a:cubicBezTo>
                    <a:pt x="351" y="341"/>
                    <a:pt x="350" y="339"/>
                    <a:pt x="353" y="339"/>
                  </a:cubicBezTo>
                  <a:cubicBezTo>
                    <a:pt x="335" y="337"/>
                    <a:pt x="317" y="335"/>
                    <a:pt x="300" y="333"/>
                  </a:cubicBezTo>
                  <a:cubicBezTo>
                    <a:pt x="303" y="336"/>
                    <a:pt x="307" y="339"/>
                    <a:pt x="312" y="341"/>
                  </a:cubicBezTo>
                  <a:cubicBezTo>
                    <a:pt x="314" y="341"/>
                    <a:pt x="316" y="343"/>
                    <a:pt x="317" y="344"/>
                  </a:cubicBezTo>
                  <a:cubicBezTo>
                    <a:pt x="318" y="345"/>
                    <a:pt x="319" y="346"/>
                    <a:pt x="319" y="348"/>
                  </a:cubicBezTo>
                  <a:cubicBezTo>
                    <a:pt x="320" y="349"/>
                    <a:pt x="321" y="351"/>
                    <a:pt x="321" y="352"/>
                  </a:cubicBezTo>
                  <a:cubicBezTo>
                    <a:pt x="321" y="353"/>
                    <a:pt x="321" y="352"/>
                    <a:pt x="320" y="353"/>
                  </a:cubicBezTo>
                  <a:cubicBezTo>
                    <a:pt x="319" y="354"/>
                    <a:pt x="317" y="354"/>
                    <a:pt x="317" y="354"/>
                  </a:cubicBezTo>
                  <a:cubicBezTo>
                    <a:pt x="316" y="356"/>
                    <a:pt x="318" y="356"/>
                    <a:pt x="318" y="357"/>
                  </a:cubicBezTo>
                  <a:cubicBezTo>
                    <a:pt x="318" y="358"/>
                    <a:pt x="317" y="357"/>
                    <a:pt x="316" y="359"/>
                  </a:cubicBezTo>
                  <a:cubicBezTo>
                    <a:pt x="315" y="360"/>
                    <a:pt x="315" y="364"/>
                    <a:pt x="315" y="365"/>
                  </a:cubicBezTo>
                  <a:cubicBezTo>
                    <a:pt x="313" y="368"/>
                    <a:pt x="309" y="373"/>
                    <a:pt x="309" y="376"/>
                  </a:cubicBezTo>
                  <a:cubicBezTo>
                    <a:pt x="310" y="379"/>
                    <a:pt x="313" y="380"/>
                    <a:pt x="315" y="381"/>
                  </a:cubicBezTo>
                  <a:cubicBezTo>
                    <a:pt x="317" y="382"/>
                    <a:pt x="318" y="383"/>
                    <a:pt x="319" y="384"/>
                  </a:cubicBezTo>
                  <a:cubicBezTo>
                    <a:pt x="320" y="385"/>
                    <a:pt x="321" y="383"/>
                    <a:pt x="322" y="385"/>
                  </a:cubicBezTo>
                  <a:cubicBezTo>
                    <a:pt x="322" y="386"/>
                    <a:pt x="323" y="388"/>
                    <a:pt x="323" y="389"/>
                  </a:cubicBezTo>
                  <a:cubicBezTo>
                    <a:pt x="324" y="392"/>
                    <a:pt x="325" y="397"/>
                    <a:pt x="323" y="399"/>
                  </a:cubicBezTo>
                  <a:cubicBezTo>
                    <a:pt x="320" y="403"/>
                    <a:pt x="314" y="409"/>
                    <a:pt x="316" y="415"/>
                  </a:cubicBezTo>
                  <a:cubicBezTo>
                    <a:pt x="316" y="415"/>
                    <a:pt x="317" y="415"/>
                    <a:pt x="317" y="416"/>
                  </a:cubicBezTo>
                  <a:cubicBezTo>
                    <a:pt x="317" y="417"/>
                    <a:pt x="316" y="418"/>
                    <a:pt x="316" y="419"/>
                  </a:cubicBezTo>
                  <a:cubicBezTo>
                    <a:pt x="316" y="420"/>
                    <a:pt x="318" y="421"/>
                    <a:pt x="317" y="423"/>
                  </a:cubicBezTo>
                  <a:cubicBezTo>
                    <a:pt x="317" y="422"/>
                    <a:pt x="315" y="420"/>
                    <a:pt x="315" y="419"/>
                  </a:cubicBezTo>
                  <a:cubicBezTo>
                    <a:pt x="314" y="417"/>
                    <a:pt x="315" y="417"/>
                    <a:pt x="314" y="416"/>
                  </a:cubicBezTo>
                  <a:cubicBezTo>
                    <a:pt x="312" y="411"/>
                    <a:pt x="307" y="414"/>
                    <a:pt x="304" y="417"/>
                  </a:cubicBezTo>
                  <a:cubicBezTo>
                    <a:pt x="305" y="417"/>
                    <a:pt x="305" y="418"/>
                    <a:pt x="305" y="419"/>
                  </a:cubicBezTo>
                  <a:cubicBezTo>
                    <a:pt x="304" y="419"/>
                    <a:pt x="300" y="417"/>
                    <a:pt x="301" y="416"/>
                  </a:cubicBezTo>
                  <a:cubicBezTo>
                    <a:pt x="301" y="416"/>
                    <a:pt x="302" y="415"/>
                    <a:pt x="303" y="414"/>
                  </a:cubicBezTo>
                  <a:cubicBezTo>
                    <a:pt x="304" y="414"/>
                    <a:pt x="308" y="412"/>
                    <a:pt x="308" y="411"/>
                  </a:cubicBezTo>
                  <a:cubicBezTo>
                    <a:pt x="308" y="409"/>
                    <a:pt x="305" y="409"/>
                    <a:pt x="303" y="408"/>
                  </a:cubicBezTo>
                  <a:cubicBezTo>
                    <a:pt x="303" y="408"/>
                    <a:pt x="302" y="408"/>
                    <a:pt x="302" y="407"/>
                  </a:cubicBezTo>
                  <a:cubicBezTo>
                    <a:pt x="301" y="407"/>
                    <a:pt x="302" y="406"/>
                    <a:pt x="301" y="406"/>
                  </a:cubicBezTo>
                  <a:cubicBezTo>
                    <a:pt x="300" y="405"/>
                    <a:pt x="299" y="405"/>
                    <a:pt x="297" y="405"/>
                  </a:cubicBezTo>
                  <a:cubicBezTo>
                    <a:pt x="292" y="405"/>
                    <a:pt x="289" y="405"/>
                    <a:pt x="285" y="403"/>
                  </a:cubicBezTo>
                  <a:cubicBezTo>
                    <a:pt x="284" y="403"/>
                    <a:pt x="281" y="402"/>
                    <a:pt x="280" y="402"/>
                  </a:cubicBezTo>
                  <a:cubicBezTo>
                    <a:pt x="277" y="405"/>
                    <a:pt x="274" y="408"/>
                    <a:pt x="271" y="411"/>
                  </a:cubicBezTo>
                  <a:cubicBezTo>
                    <a:pt x="268" y="414"/>
                    <a:pt x="265" y="415"/>
                    <a:pt x="261" y="416"/>
                  </a:cubicBezTo>
                  <a:cubicBezTo>
                    <a:pt x="256" y="418"/>
                    <a:pt x="251" y="419"/>
                    <a:pt x="247" y="423"/>
                  </a:cubicBezTo>
                  <a:cubicBezTo>
                    <a:pt x="243" y="426"/>
                    <a:pt x="238" y="428"/>
                    <a:pt x="235" y="431"/>
                  </a:cubicBezTo>
                  <a:cubicBezTo>
                    <a:pt x="228" y="436"/>
                    <a:pt x="237" y="444"/>
                    <a:pt x="241" y="448"/>
                  </a:cubicBezTo>
                  <a:cubicBezTo>
                    <a:pt x="244" y="451"/>
                    <a:pt x="245" y="453"/>
                    <a:pt x="246" y="457"/>
                  </a:cubicBezTo>
                  <a:cubicBezTo>
                    <a:pt x="246" y="458"/>
                    <a:pt x="248" y="464"/>
                    <a:pt x="248" y="464"/>
                  </a:cubicBezTo>
                  <a:cubicBezTo>
                    <a:pt x="246" y="464"/>
                    <a:pt x="244" y="464"/>
                    <a:pt x="242" y="463"/>
                  </a:cubicBezTo>
                  <a:cubicBezTo>
                    <a:pt x="230" y="462"/>
                    <a:pt x="217" y="460"/>
                    <a:pt x="204" y="458"/>
                  </a:cubicBezTo>
                  <a:cubicBezTo>
                    <a:pt x="202" y="458"/>
                    <a:pt x="203" y="460"/>
                    <a:pt x="202" y="460"/>
                  </a:cubicBezTo>
                  <a:cubicBezTo>
                    <a:pt x="201" y="461"/>
                    <a:pt x="199" y="460"/>
                    <a:pt x="200" y="458"/>
                  </a:cubicBezTo>
                  <a:cubicBezTo>
                    <a:pt x="201" y="456"/>
                    <a:pt x="206" y="456"/>
                    <a:pt x="207" y="456"/>
                  </a:cubicBezTo>
                  <a:cubicBezTo>
                    <a:pt x="207" y="455"/>
                    <a:pt x="207" y="456"/>
                    <a:pt x="207" y="455"/>
                  </a:cubicBezTo>
                  <a:cubicBezTo>
                    <a:pt x="203" y="452"/>
                    <a:pt x="198" y="450"/>
                    <a:pt x="193" y="448"/>
                  </a:cubicBezTo>
                  <a:cubicBezTo>
                    <a:pt x="191" y="447"/>
                    <a:pt x="188" y="446"/>
                    <a:pt x="185" y="445"/>
                  </a:cubicBezTo>
                  <a:cubicBezTo>
                    <a:pt x="184" y="444"/>
                    <a:pt x="183" y="444"/>
                    <a:pt x="181" y="444"/>
                  </a:cubicBezTo>
                  <a:cubicBezTo>
                    <a:pt x="177" y="444"/>
                    <a:pt x="177" y="446"/>
                    <a:pt x="177" y="449"/>
                  </a:cubicBezTo>
                  <a:cubicBezTo>
                    <a:pt x="177" y="450"/>
                    <a:pt x="175" y="452"/>
                    <a:pt x="174" y="452"/>
                  </a:cubicBezTo>
                  <a:cubicBezTo>
                    <a:pt x="172" y="453"/>
                    <a:pt x="171" y="451"/>
                    <a:pt x="170" y="452"/>
                  </a:cubicBezTo>
                  <a:cubicBezTo>
                    <a:pt x="173" y="457"/>
                    <a:pt x="178" y="462"/>
                    <a:pt x="182" y="466"/>
                  </a:cubicBezTo>
                  <a:cubicBezTo>
                    <a:pt x="183" y="468"/>
                    <a:pt x="185" y="470"/>
                    <a:pt x="187" y="470"/>
                  </a:cubicBezTo>
                  <a:cubicBezTo>
                    <a:pt x="188" y="470"/>
                    <a:pt x="189" y="469"/>
                    <a:pt x="190" y="469"/>
                  </a:cubicBezTo>
                  <a:cubicBezTo>
                    <a:pt x="191" y="469"/>
                    <a:pt x="192" y="469"/>
                    <a:pt x="193" y="469"/>
                  </a:cubicBezTo>
                  <a:cubicBezTo>
                    <a:pt x="194" y="468"/>
                    <a:pt x="193" y="467"/>
                    <a:pt x="195" y="467"/>
                  </a:cubicBezTo>
                  <a:cubicBezTo>
                    <a:pt x="196" y="467"/>
                    <a:pt x="196" y="468"/>
                    <a:pt x="196" y="469"/>
                  </a:cubicBezTo>
                  <a:cubicBezTo>
                    <a:pt x="197" y="470"/>
                    <a:pt x="198" y="470"/>
                    <a:pt x="199" y="471"/>
                  </a:cubicBezTo>
                  <a:cubicBezTo>
                    <a:pt x="200" y="472"/>
                    <a:pt x="199" y="473"/>
                    <a:pt x="200" y="475"/>
                  </a:cubicBezTo>
                  <a:cubicBezTo>
                    <a:pt x="200" y="477"/>
                    <a:pt x="202" y="478"/>
                    <a:pt x="201" y="480"/>
                  </a:cubicBezTo>
                  <a:cubicBezTo>
                    <a:pt x="200" y="481"/>
                    <a:pt x="198" y="483"/>
                    <a:pt x="196" y="483"/>
                  </a:cubicBezTo>
                  <a:cubicBezTo>
                    <a:pt x="195" y="484"/>
                    <a:pt x="194" y="483"/>
                    <a:pt x="193" y="484"/>
                  </a:cubicBezTo>
                  <a:cubicBezTo>
                    <a:pt x="192" y="484"/>
                    <a:pt x="192" y="484"/>
                    <a:pt x="192" y="485"/>
                  </a:cubicBezTo>
                  <a:cubicBezTo>
                    <a:pt x="190" y="486"/>
                    <a:pt x="190" y="487"/>
                    <a:pt x="187" y="486"/>
                  </a:cubicBezTo>
                  <a:cubicBezTo>
                    <a:pt x="184" y="485"/>
                    <a:pt x="180" y="484"/>
                    <a:pt x="177" y="483"/>
                  </a:cubicBezTo>
                  <a:cubicBezTo>
                    <a:pt x="172" y="482"/>
                    <a:pt x="171" y="481"/>
                    <a:pt x="167" y="477"/>
                  </a:cubicBezTo>
                  <a:cubicBezTo>
                    <a:pt x="166" y="476"/>
                    <a:pt x="165" y="474"/>
                    <a:pt x="163" y="473"/>
                  </a:cubicBezTo>
                  <a:cubicBezTo>
                    <a:pt x="157" y="468"/>
                    <a:pt x="149" y="470"/>
                    <a:pt x="142" y="467"/>
                  </a:cubicBezTo>
                  <a:cubicBezTo>
                    <a:pt x="142" y="467"/>
                    <a:pt x="139" y="465"/>
                    <a:pt x="138" y="464"/>
                  </a:cubicBezTo>
                  <a:cubicBezTo>
                    <a:pt x="138" y="463"/>
                    <a:pt x="138" y="463"/>
                    <a:pt x="139" y="462"/>
                  </a:cubicBezTo>
                  <a:cubicBezTo>
                    <a:pt x="139" y="460"/>
                    <a:pt x="139" y="459"/>
                    <a:pt x="140" y="458"/>
                  </a:cubicBezTo>
                  <a:cubicBezTo>
                    <a:pt x="141" y="458"/>
                    <a:pt x="142" y="458"/>
                    <a:pt x="142" y="457"/>
                  </a:cubicBezTo>
                  <a:cubicBezTo>
                    <a:pt x="141" y="456"/>
                    <a:pt x="140" y="457"/>
                    <a:pt x="138" y="457"/>
                  </a:cubicBezTo>
                  <a:cubicBezTo>
                    <a:pt x="139" y="456"/>
                    <a:pt x="140" y="456"/>
                    <a:pt x="141" y="455"/>
                  </a:cubicBezTo>
                  <a:cubicBezTo>
                    <a:pt x="138" y="451"/>
                    <a:pt x="137" y="449"/>
                    <a:pt x="136" y="445"/>
                  </a:cubicBezTo>
                  <a:cubicBezTo>
                    <a:pt x="135" y="441"/>
                    <a:pt x="132" y="440"/>
                    <a:pt x="129" y="438"/>
                  </a:cubicBezTo>
                  <a:cubicBezTo>
                    <a:pt x="130" y="437"/>
                    <a:pt x="131" y="437"/>
                    <a:pt x="131" y="437"/>
                  </a:cubicBezTo>
                  <a:cubicBezTo>
                    <a:pt x="132" y="437"/>
                    <a:pt x="133" y="436"/>
                    <a:pt x="133" y="436"/>
                  </a:cubicBezTo>
                  <a:cubicBezTo>
                    <a:pt x="134" y="436"/>
                    <a:pt x="134" y="436"/>
                    <a:pt x="135" y="436"/>
                  </a:cubicBezTo>
                  <a:cubicBezTo>
                    <a:pt x="136" y="435"/>
                    <a:pt x="136" y="432"/>
                    <a:pt x="136" y="431"/>
                  </a:cubicBezTo>
                  <a:cubicBezTo>
                    <a:pt x="136" y="429"/>
                    <a:pt x="136" y="428"/>
                    <a:pt x="136" y="426"/>
                  </a:cubicBezTo>
                  <a:cubicBezTo>
                    <a:pt x="137" y="424"/>
                    <a:pt x="137" y="425"/>
                    <a:pt x="138" y="426"/>
                  </a:cubicBezTo>
                  <a:cubicBezTo>
                    <a:pt x="139" y="426"/>
                    <a:pt x="142" y="429"/>
                    <a:pt x="141" y="426"/>
                  </a:cubicBezTo>
                  <a:cubicBezTo>
                    <a:pt x="140" y="422"/>
                    <a:pt x="137" y="419"/>
                    <a:pt x="134" y="416"/>
                  </a:cubicBezTo>
                  <a:cubicBezTo>
                    <a:pt x="132" y="414"/>
                    <a:pt x="125" y="413"/>
                    <a:pt x="123" y="412"/>
                  </a:cubicBezTo>
                  <a:cubicBezTo>
                    <a:pt x="119" y="411"/>
                    <a:pt x="114" y="410"/>
                    <a:pt x="110" y="409"/>
                  </a:cubicBezTo>
                  <a:cubicBezTo>
                    <a:pt x="112" y="408"/>
                    <a:pt x="119" y="407"/>
                    <a:pt x="117" y="404"/>
                  </a:cubicBezTo>
                  <a:cubicBezTo>
                    <a:pt x="116" y="402"/>
                    <a:pt x="107" y="403"/>
                    <a:pt x="104" y="402"/>
                  </a:cubicBezTo>
                  <a:cubicBezTo>
                    <a:pt x="105" y="402"/>
                    <a:pt x="107" y="401"/>
                    <a:pt x="108" y="401"/>
                  </a:cubicBezTo>
                  <a:cubicBezTo>
                    <a:pt x="106" y="401"/>
                    <a:pt x="104" y="400"/>
                    <a:pt x="102" y="400"/>
                  </a:cubicBezTo>
                  <a:cubicBezTo>
                    <a:pt x="104" y="399"/>
                    <a:pt x="107" y="399"/>
                    <a:pt x="110" y="398"/>
                  </a:cubicBezTo>
                  <a:cubicBezTo>
                    <a:pt x="108" y="396"/>
                    <a:pt x="106" y="397"/>
                    <a:pt x="104" y="397"/>
                  </a:cubicBezTo>
                  <a:cubicBezTo>
                    <a:pt x="103" y="397"/>
                    <a:pt x="102" y="396"/>
                    <a:pt x="101" y="396"/>
                  </a:cubicBezTo>
                  <a:cubicBezTo>
                    <a:pt x="100" y="395"/>
                    <a:pt x="102" y="395"/>
                    <a:pt x="102" y="394"/>
                  </a:cubicBezTo>
                  <a:cubicBezTo>
                    <a:pt x="101" y="394"/>
                    <a:pt x="99" y="393"/>
                    <a:pt x="98" y="393"/>
                  </a:cubicBezTo>
                  <a:cubicBezTo>
                    <a:pt x="97" y="392"/>
                    <a:pt x="92" y="390"/>
                    <a:pt x="93" y="388"/>
                  </a:cubicBezTo>
                  <a:cubicBezTo>
                    <a:pt x="95" y="386"/>
                    <a:pt x="95" y="387"/>
                    <a:pt x="93" y="385"/>
                  </a:cubicBezTo>
                  <a:cubicBezTo>
                    <a:pt x="90" y="382"/>
                    <a:pt x="87" y="384"/>
                    <a:pt x="83" y="382"/>
                  </a:cubicBezTo>
                  <a:cubicBezTo>
                    <a:pt x="84" y="382"/>
                    <a:pt x="86" y="382"/>
                    <a:pt x="87" y="382"/>
                  </a:cubicBezTo>
                  <a:cubicBezTo>
                    <a:pt x="89" y="382"/>
                    <a:pt x="91" y="382"/>
                    <a:pt x="93" y="382"/>
                  </a:cubicBezTo>
                  <a:cubicBezTo>
                    <a:pt x="94" y="382"/>
                    <a:pt x="96" y="383"/>
                    <a:pt x="98" y="383"/>
                  </a:cubicBezTo>
                  <a:cubicBezTo>
                    <a:pt x="99" y="383"/>
                    <a:pt x="102" y="384"/>
                    <a:pt x="103" y="384"/>
                  </a:cubicBezTo>
                  <a:cubicBezTo>
                    <a:pt x="100" y="385"/>
                    <a:pt x="100" y="386"/>
                    <a:pt x="102" y="388"/>
                  </a:cubicBezTo>
                  <a:cubicBezTo>
                    <a:pt x="103" y="389"/>
                    <a:pt x="105" y="390"/>
                    <a:pt x="106" y="391"/>
                  </a:cubicBezTo>
                  <a:cubicBezTo>
                    <a:pt x="109" y="393"/>
                    <a:pt x="111" y="395"/>
                    <a:pt x="114" y="396"/>
                  </a:cubicBezTo>
                  <a:cubicBezTo>
                    <a:pt x="116" y="396"/>
                    <a:pt x="119" y="396"/>
                    <a:pt x="121" y="397"/>
                  </a:cubicBezTo>
                  <a:cubicBezTo>
                    <a:pt x="124" y="397"/>
                    <a:pt x="123" y="396"/>
                    <a:pt x="125" y="395"/>
                  </a:cubicBezTo>
                  <a:cubicBezTo>
                    <a:pt x="127" y="394"/>
                    <a:pt x="130" y="396"/>
                    <a:pt x="131" y="397"/>
                  </a:cubicBezTo>
                  <a:cubicBezTo>
                    <a:pt x="134" y="398"/>
                    <a:pt x="133" y="398"/>
                    <a:pt x="133" y="399"/>
                  </a:cubicBezTo>
                  <a:cubicBezTo>
                    <a:pt x="133" y="402"/>
                    <a:pt x="132" y="402"/>
                    <a:pt x="135" y="402"/>
                  </a:cubicBezTo>
                  <a:cubicBezTo>
                    <a:pt x="137" y="402"/>
                    <a:pt x="140" y="401"/>
                    <a:pt x="143" y="401"/>
                  </a:cubicBezTo>
                  <a:cubicBezTo>
                    <a:pt x="146" y="402"/>
                    <a:pt x="150" y="403"/>
                    <a:pt x="154" y="404"/>
                  </a:cubicBezTo>
                  <a:cubicBezTo>
                    <a:pt x="170" y="408"/>
                    <a:pt x="185" y="411"/>
                    <a:pt x="200" y="415"/>
                  </a:cubicBezTo>
                  <a:cubicBezTo>
                    <a:pt x="207" y="416"/>
                    <a:pt x="210" y="417"/>
                    <a:pt x="216" y="416"/>
                  </a:cubicBezTo>
                  <a:cubicBezTo>
                    <a:pt x="219" y="415"/>
                    <a:pt x="221" y="415"/>
                    <a:pt x="223" y="415"/>
                  </a:cubicBezTo>
                  <a:cubicBezTo>
                    <a:pt x="226" y="414"/>
                    <a:pt x="227" y="413"/>
                    <a:pt x="229" y="413"/>
                  </a:cubicBezTo>
                  <a:cubicBezTo>
                    <a:pt x="235" y="411"/>
                    <a:pt x="241" y="410"/>
                    <a:pt x="245" y="406"/>
                  </a:cubicBezTo>
                  <a:cubicBezTo>
                    <a:pt x="250" y="403"/>
                    <a:pt x="254" y="397"/>
                    <a:pt x="258" y="393"/>
                  </a:cubicBezTo>
                  <a:cubicBezTo>
                    <a:pt x="261" y="390"/>
                    <a:pt x="264" y="387"/>
                    <a:pt x="264" y="383"/>
                  </a:cubicBezTo>
                  <a:cubicBezTo>
                    <a:pt x="264" y="381"/>
                    <a:pt x="263" y="380"/>
                    <a:pt x="262" y="380"/>
                  </a:cubicBezTo>
                  <a:cubicBezTo>
                    <a:pt x="260" y="379"/>
                    <a:pt x="259" y="380"/>
                    <a:pt x="259" y="377"/>
                  </a:cubicBezTo>
                  <a:cubicBezTo>
                    <a:pt x="260" y="375"/>
                    <a:pt x="260" y="374"/>
                    <a:pt x="259" y="372"/>
                  </a:cubicBezTo>
                  <a:cubicBezTo>
                    <a:pt x="257" y="370"/>
                    <a:pt x="257" y="373"/>
                    <a:pt x="257" y="369"/>
                  </a:cubicBezTo>
                  <a:cubicBezTo>
                    <a:pt x="257" y="369"/>
                    <a:pt x="257" y="364"/>
                    <a:pt x="257" y="364"/>
                  </a:cubicBezTo>
                  <a:cubicBezTo>
                    <a:pt x="254" y="363"/>
                    <a:pt x="251" y="363"/>
                    <a:pt x="249" y="363"/>
                  </a:cubicBezTo>
                  <a:cubicBezTo>
                    <a:pt x="246" y="362"/>
                    <a:pt x="246" y="361"/>
                    <a:pt x="244" y="360"/>
                  </a:cubicBezTo>
                  <a:cubicBezTo>
                    <a:pt x="241" y="357"/>
                    <a:pt x="239" y="354"/>
                    <a:pt x="236" y="352"/>
                  </a:cubicBezTo>
                  <a:cubicBezTo>
                    <a:pt x="235" y="351"/>
                    <a:pt x="232" y="348"/>
                    <a:pt x="232" y="349"/>
                  </a:cubicBezTo>
                  <a:cubicBezTo>
                    <a:pt x="232" y="349"/>
                    <a:pt x="234" y="351"/>
                    <a:pt x="234" y="351"/>
                  </a:cubicBezTo>
                  <a:cubicBezTo>
                    <a:pt x="228" y="349"/>
                    <a:pt x="222" y="348"/>
                    <a:pt x="216" y="346"/>
                  </a:cubicBezTo>
                  <a:cubicBezTo>
                    <a:pt x="214" y="345"/>
                    <a:pt x="211" y="344"/>
                    <a:pt x="208" y="344"/>
                  </a:cubicBezTo>
                  <a:cubicBezTo>
                    <a:pt x="206" y="343"/>
                    <a:pt x="205" y="341"/>
                    <a:pt x="204" y="340"/>
                  </a:cubicBezTo>
                  <a:cubicBezTo>
                    <a:pt x="201" y="337"/>
                    <a:pt x="199" y="335"/>
                    <a:pt x="195" y="333"/>
                  </a:cubicBezTo>
                  <a:cubicBezTo>
                    <a:pt x="188" y="330"/>
                    <a:pt x="181" y="327"/>
                    <a:pt x="175" y="324"/>
                  </a:cubicBezTo>
                  <a:cubicBezTo>
                    <a:pt x="168" y="321"/>
                    <a:pt x="161" y="318"/>
                    <a:pt x="154" y="315"/>
                  </a:cubicBezTo>
                  <a:cubicBezTo>
                    <a:pt x="151" y="314"/>
                    <a:pt x="149" y="312"/>
                    <a:pt x="146" y="312"/>
                  </a:cubicBezTo>
                  <a:cubicBezTo>
                    <a:pt x="138" y="312"/>
                    <a:pt x="129" y="310"/>
                    <a:pt x="120" y="310"/>
                  </a:cubicBezTo>
                  <a:cubicBezTo>
                    <a:pt x="118" y="310"/>
                    <a:pt x="116" y="310"/>
                    <a:pt x="115" y="312"/>
                  </a:cubicBezTo>
                  <a:cubicBezTo>
                    <a:pt x="115" y="315"/>
                    <a:pt x="115" y="315"/>
                    <a:pt x="113" y="317"/>
                  </a:cubicBezTo>
                  <a:cubicBezTo>
                    <a:pt x="112" y="317"/>
                    <a:pt x="113" y="318"/>
                    <a:pt x="111" y="318"/>
                  </a:cubicBezTo>
                  <a:cubicBezTo>
                    <a:pt x="111" y="318"/>
                    <a:pt x="109" y="319"/>
                    <a:pt x="108" y="319"/>
                  </a:cubicBezTo>
                  <a:cubicBezTo>
                    <a:pt x="105" y="319"/>
                    <a:pt x="106" y="320"/>
                    <a:pt x="105" y="323"/>
                  </a:cubicBezTo>
                  <a:cubicBezTo>
                    <a:pt x="105" y="320"/>
                    <a:pt x="105" y="319"/>
                    <a:pt x="108" y="318"/>
                  </a:cubicBezTo>
                  <a:cubicBezTo>
                    <a:pt x="110" y="318"/>
                    <a:pt x="111" y="316"/>
                    <a:pt x="114" y="316"/>
                  </a:cubicBezTo>
                  <a:cubicBezTo>
                    <a:pt x="113" y="315"/>
                    <a:pt x="109" y="313"/>
                    <a:pt x="109" y="312"/>
                  </a:cubicBezTo>
                  <a:cubicBezTo>
                    <a:pt x="110" y="311"/>
                    <a:pt x="111" y="312"/>
                    <a:pt x="111" y="311"/>
                  </a:cubicBezTo>
                  <a:cubicBezTo>
                    <a:pt x="112" y="310"/>
                    <a:pt x="112" y="308"/>
                    <a:pt x="112" y="307"/>
                  </a:cubicBezTo>
                  <a:cubicBezTo>
                    <a:pt x="108" y="308"/>
                    <a:pt x="105" y="310"/>
                    <a:pt x="101" y="311"/>
                  </a:cubicBezTo>
                  <a:cubicBezTo>
                    <a:pt x="102" y="309"/>
                    <a:pt x="99" y="309"/>
                    <a:pt x="98" y="309"/>
                  </a:cubicBezTo>
                  <a:cubicBezTo>
                    <a:pt x="95" y="308"/>
                    <a:pt x="92" y="308"/>
                    <a:pt x="89" y="307"/>
                  </a:cubicBezTo>
                  <a:cubicBezTo>
                    <a:pt x="90" y="305"/>
                    <a:pt x="86" y="304"/>
                    <a:pt x="86" y="302"/>
                  </a:cubicBezTo>
                  <a:cubicBezTo>
                    <a:pt x="85" y="301"/>
                    <a:pt x="87" y="297"/>
                    <a:pt x="88" y="296"/>
                  </a:cubicBezTo>
                  <a:cubicBezTo>
                    <a:pt x="89" y="297"/>
                    <a:pt x="88" y="298"/>
                    <a:pt x="89" y="299"/>
                  </a:cubicBezTo>
                  <a:cubicBezTo>
                    <a:pt x="90" y="300"/>
                    <a:pt x="96" y="300"/>
                    <a:pt x="97" y="301"/>
                  </a:cubicBezTo>
                  <a:cubicBezTo>
                    <a:pt x="99" y="301"/>
                    <a:pt x="102" y="302"/>
                    <a:pt x="103" y="301"/>
                  </a:cubicBezTo>
                  <a:cubicBezTo>
                    <a:pt x="104" y="301"/>
                    <a:pt x="107" y="297"/>
                    <a:pt x="106" y="296"/>
                  </a:cubicBezTo>
                  <a:cubicBezTo>
                    <a:pt x="106" y="296"/>
                    <a:pt x="102" y="295"/>
                    <a:pt x="101" y="295"/>
                  </a:cubicBezTo>
                  <a:cubicBezTo>
                    <a:pt x="99" y="295"/>
                    <a:pt x="97" y="296"/>
                    <a:pt x="96" y="295"/>
                  </a:cubicBezTo>
                  <a:cubicBezTo>
                    <a:pt x="95" y="294"/>
                    <a:pt x="95" y="293"/>
                    <a:pt x="94" y="293"/>
                  </a:cubicBezTo>
                  <a:cubicBezTo>
                    <a:pt x="93" y="292"/>
                    <a:pt x="92" y="292"/>
                    <a:pt x="91" y="292"/>
                  </a:cubicBezTo>
                  <a:cubicBezTo>
                    <a:pt x="89" y="292"/>
                    <a:pt x="87" y="288"/>
                    <a:pt x="85" y="289"/>
                  </a:cubicBezTo>
                  <a:cubicBezTo>
                    <a:pt x="82" y="289"/>
                    <a:pt x="85" y="292"/>
                    <a:pt x="86" y="293"/>
                  </a:cubicBezTo>
                  <a:cubicBezTo>
                    <a:pt x="86" y="294"/>
                    <a:pt x="87" y="294"/>
                    <a:pt x="87" y="295"/>
                  </a:cubicBezTo>
                  <a:cubicBezTo>
                    <a:pt x="87" y="296"/>
                    <a:pt x="86" y="295"/>
                    <a:pt x="85" y="295"/>
                  </a:cubicBezTo>
                  <a:cubicBezTo>
                    <a:pt x="84" y="294"/>
                    <a:pt x="83" y="293"/>
                    <a:pt x="81" y="293"/>
                  </a:cubicBezTo>
                  <a:cubicBezTo>
                    <a:pt x="79" y="293"/>
                    <a:pt x="81" y="295"/>
                    <a:pt x="80" y="296"/>
                  </a:cubicBezTo>
                  <a:cubicBezTo>
                    <a:pt x="78" y="298"/>
                    <a:pt x="70" y="296"/>
                    <a:pt x="65" y="295"/>
                  </a:cubicBezTo>
                  <a:cubicBezTo>
                    <a:pt x="66" y="296"/>
                    <a:pt x="66" y="296"/>
                    <a:pt x="66" y="296"/>
                  </a:cubicBezTo>
                  <a:cubicBezTo>
                    <a:pt x="66" y="298"/>
                    <a:pt x="66" y="301"/>
                    <a:pt x="65" y="302"/>
                  </a:cubicBezTo>
                  <a:cubicBezTo>
                    <a:pt x="64" y="303"/>
                    <a:pt x="63" y="304"/>
                    <a:pt x="62" y="304"/>
                  </a:cubicBezTo>
                  <a:cubicBezTo>
                    <a:pt x="61" y="304"/>
                    <a:pt x="61" y="304"/>
                    <a:pt x="61" y="304"/>
                  </a:cubicBezTo>
                  <a:cubicBezTo>
                    <a:pt x="61" y="304"/>
                    <a:pt x="61" y="304"/>
                    <a:pt x="61" y="304"/>
                  </a:cubicBezTo>
                  <a:cubicBezTo>
                    <a:pt x="60" y="304"/>
                    <a:pt x="60" y="304"/>
                    <a:pt x="59" y="304"/>
                  </a:cubicBezTo>
                  <a:cubicBezTo>
                    <a:pt x="59" y="304"/>
                    <a:pt x="59" y="304"/>
                    <a:pt x="59" y="304"/>
                  </a:cubicBezTo>
                  <a:cubicBezTo>
                    <a:pt x="59" y="304"/>
                    <a:pt x="59" y="304"/>
                    <a:pt x="59" y="304"/>
                  </a:cubicBezTo>
                  <a:cubicBezTo>
                    <a:pt x="57" y="304"/>
                    <a:pt x="55" y="303"/>
                    <a:pt x="53" y="302"/>
                  </a:cubicBezTo>
                  <a:cubicBezTo>
                    <a:pt x="52" y="302"/>
                    <a:pt x="52" y="302"/>
                    <a:pt x="52" y="302"/>
                  </a:cubicBezTo>
                  <a:cubicBezTo>
                    <a:pt x="52" y="302"/>
                    <a:pt x="52" y="302"/>
                    <a:pt x="52" y="302"/>
                  </a:cubicBezTo>
                  <a:cubicBezTo>
                    <a:pt x="51" y="303"/>
                    <a:pt x="51" y="303"/>
                    <a:pt x="51" y="304"/>
                  </a:cubicBezTo>
                  <a:cubicBezTo>
                    <a:pt x="49" y="307"/>
                    <a:pt x="47" y="309"/>
                    <a:pt x="43" y="310"/>
                  </a:cubicBezTo>
                  <a:cubicBezTo>
                    <a:pt x="41" y="310"/>
                    <a:pt x="41" y="310"/>
                    <a:pt x="41" y="310"/>
                  </a:cubicBezTo>
                  <a:cubicBezTo>
                    <a:pt x="40" y="311"/>
                    <a:pt x="39" y="311"/>
                    <a:pt x="37" y="311"/>
                  </a:cubicBezTo>
                  <a:cubicBezTo>
                    <a:pt x="37" y="312"/>
                    <a:pt x="37" y="312"/>
                    <a:pt x="37" y="312"/>
                  </a:cubicBezTo>
                  <a:cubicBezTo>
                    <a:pt x="37" y="312"/>
                    <a:pt x="37" y="312"/>
                    <a:pt x="36" y="312"/>
                  </a:cubicBezTo>
                  <a:cubicBezTo>
                    <a:pt x="35" y="312"/>
                    <a:pt x="33" y="316"/>
                    <a:pt x="32" y="318"/>
                  </a:cubicBezTo>
                  <a:cubicBezTo>
                    <a:pt x="30" y="320"/>
                    <a:pt x="30" y="320"/>
                    <a:pt x="30" y="320"/>
                  </a:cubicBezTo>
                  <a:cubicBezTo>
                    <a:pt x="31" y="323"/>
                    <a:pt x="28" y="324"/>
                    <a:pt x="27" y="324"/>
                  </a:cubicBezTo>
                  <a:cubicBezTo>
                    <a:pt x="26" y="324"/>
                    <a:pt x="26" y="324"/>
                    <a:pt x="25" y="325"/>
                  </a:cubicBezTo>
                  <a:cubicBezTo>
                    <a:pt x="25" y="326"/>
                    <a:pt x="25" y="326"/>
                    <a:pt x="25" y="326"/>
                  </a:cubicBezTo>
                  <a:cubicBezTo>
                    <a:pt x="25" y="328"/>
                    <a:pt x="24" y="330"/>
                    <a:pt x="23" y="332"/>
                  </a:cubicBezTo>
                  <a:cubicBezTo>
                    <a:pt x="23" y="333"/>
                    <a:pt x="23" y="333"/>
                    <a:pt x="23" y="333"/>
                  </a:cubicBezTo>
                  <a:cubicBezTo>
                    <a:pt x="23" y="334"/>
                    <a:pt x="23" y="335"/>
                    <a:pt x="22" y="335"/>
                  </a:cubicBezTo>
                  <a:cubicBezTo>
                    <a:pt x="22" y="336"/>
                    <a:pt x="21" y="339"/>
                    <a:pt x="21" y="339"/>
                  </a:cubicBezTo>
                  <a:cubicBezTo>
                    <a:pt x="22" y="340"/>
                    <a:pt x="22" y="341"/>
                    <a:pt x="22" y="342"/>
                  </a:cubicBezTo>
                  <a:cubicBezTo>
                    <a:pt x="23" y="343"/>
                    <a:pt x="23" y="346"/>
                    <a:pt x="24" y="346"/>
                  </a:cubicBezTo>
                  <a:cubicBezTo>
                    <a:pt x="25" y="347"/>
                    <a:pt x="29" y="348"/>
                    <a:pt x="30" y="348"/>
                  </a:cubicBezTo>
                  <a:cubicBezTo>
                    <a:pt x="30" y="348"/>
                    <a:pt x="31" y="348"/>
                    <a:pt x="31" y="348"/>
                  </a:cubicBezTo>
                  <a:cubicBezTo>
                    <a:pt x="32" y="348"/>
                    <a:pt x="32" y="349"/>
                    <a:pt x="33" y="349"/>
                  </a:cubicBezTo>
                  <a:cubicBezTo>
                    <a:pt x="37" y="350"/>
                    <a:pt x="39" y="353"/>
                    <a:pt x="40" y="355"/>
                  </a:cubicBezTo>
                  <a:cubicBezTo>
                    <a:pt x="41" y="357"/>
                    <a:pt x="42" y="358"/>
                    <a:pt x="43" y="359"/>
                  </a:cubicBezTo>
                  <a:cubicBezTo>
                    <a:pt x="44" y="359"/>
                    <a:pt x="44" y="359"/>
                    <a:pt x="44" y="360"/>
                  </a:cubicBezTo>
                  <a:cubicBezTo>
                    <a:pt x="47" y="362"/>
                    <a:pt x="49" y="363"/>
                    <a:pt x="49" y="365"/>
                  </a:cubicBezTo>
                  <a:cubicBezTo>
                    <a:pt x="49" y="366"/>
                    <a:pt x="49" y="366"/>
                    <a:pt x="49" y="366"/>
                  </a:cubicBezTo>
                  <a:cubicBezTo>
                    <a:pt x="49" y="367"/>
                    <a:pt x="49" y="367"/>
                    <a:pt x="49" y="367"/>
                  </a:cubicBezTo>
                  <a:cubicBezTo>
                    <a:pt x="32" y="389"/>
                    <a:pt x="32" y="389"/>
                    <a:pt x="32" y="389"/>
                  </a:cubicBezTo>
                  <a:cubicBezTo>
                    <a:pt x="32" y="389"/>
                    <a:pt x="32" y="389"/>
                    <a:pt x="32" y="390"/>
                  </a:cubicBezTo>
                  <a:cubicBezTo>
                    <a:pt x="32" y="390"/>
                    <a:pt x="32" y="391"/>
                    <a:pt x="32" y="391"/>
                  </a:cubicBezTo>
                  <a:cubicBezTo>
                    <a:pt x="32" y="391"/>
                    <a:pt x="33" y="392"/>
                    <a:pt x="33" y="392"/>
                  </a:cubicBezTo>
                  <a:cubicBezTo>
                    <a:pt x="34" y="392"/>
                    <a:pt x="34" y="393"/>
                    <a:pt x="35" y="393"/>
                  </a:cubicBezTo>
                  <a:cubicBezTo>
                    <a:pt x="35" y="394"/>
                    <a:pt x="36" y="395"/>
                    <a:pt x="37" y="396"/>
                  </a:cubicBezTo>
                  <a:cubicBezTo>
                    <a:pt x="38" y="398"/>
                    <a:pt x="40" y="401"/>
                    <a:pt x="41" y="404"/>
                  </a:cubicBezTo>
                  <a:cubicBezTo>
                    <a:pt x="53" y="431"/>
                    <a:pt x="53" y="431"/>
                    <a:pt x="53" y="431"/>
                  </a:cubicBezTo>
                  <a:cubicBezTo>
                    <a:pt x="50" y="432"/>
                    <a:pt x="50" y="432"/>
                    <a:pt x="50" y="432"/>
                  </a:cubicBezTo>
                  <a:cubicBezTo>
                    <a:pt x="49" y="432"/>
                    <a:pt x="48" y="432"/>
                    <a:pt x="48" y="432"/>
                  </a:cubicBezTo>
                  <a:cubicBezTo>
                    <a:pt x="47" y="432"/>
                    <a:pt x="47" y="432"/>
                    <a:pt x="47" y="432"/>
                  </a:cubicBezTo>
                  <a:cubicBezTo>
                    <a:pt x="47" y="432"/>
                    <a:pt x="46" y="432"/>
                    <a:pt x="45" y="432"/>
                  </a:cubicBezTo>
                  <a:cubicBezTo>
                    <a:pt x="45" y="432"/>
                    <a:pt x="45" y="432"/>
                    <a:pt x="45" y="432"/>
                  </a:cubicBezTo>
                  <a:cubicBezTo>
                    <a:pt x="45" y="435"/>
                    <a:pt x="44" y="437"/>
                    <a:pt x="43" y="439"/>
                  </a:cubicBezTo>
                  <a:cubicBezTo>
                    <a:pt x="43" y="440"/>
                    <a:pt x="43" y="440"/>
                    <a:pt x="43" y="440"/>
                  </a:cubicBezTo>
                  <a:cubicBezTo>
                    <a:pt x="43" y="441"/>
                    <a:pt x="43" y="441"/>
                    <a:pt x="43" y="441"/>
                  </a:cubicBezTo>
                  <a:cubicBezTo>
                    <a:pt x="43" y="441"/>
                    <a:pt x="43" y="441"/>
                    <a:pt x="44" y="442"/>
                  </a:cubicBezTo>
                  <a:cubicBezTo>
                    <a:pt x="45" y="443"/>
                    <a:pt x="46" y="444"/>
                    <a:pt x="46" y="446"/>
                  </a:cubicBezTo>
                  <a:cubicBezTo>
                    <a:pt x="46" y="448"/>
                    <a:pt x="45" y="449"/>
                    <a:pt x="44" y="449"/>
                  </a:cubicBezTo>
                  <a:cubicBezTo>
                    <a:pt x="42" y="450"/>
                    <a:pt x="42" y="450"/>
                    <a:pt x="42" y="451"/>
                  </a:cubicBezTo>
                  <a:cubicBezTo>
                    <a:pt x="43" y="452"/>
                    <a:pt x="44" y="454"/>
                    <a:pt x="45" y="454"/>
                  </a:cubicBezTo>
                  <a:cubicBezTo>
                    <a:pt x="49" y="455"/>
                    <a:pt x="50" y="455"/>
                    <a:pt x="52" y="458"/>
                  </a:cubicBezTo>
                  <a:cubicBezTo>
                    <a:pt x="53" y="459"/>
                    <a:pt x="53" y="461"/>
                    <a:pt x="53" y="461"/>
                  </a:cubicBezTo>
                  <a:cubicBezTo>
                    <a:pt x="53" y="463"/>
                    <a:pt x="51" y="464"/>
                    <a:pt x="50" y="464"/>
                  </a:cubicBezTo>
                  <a:cubicBezTo>
                    <a:pt x="51" y="466"/>
                    <a:pt x="52" y="468"/>
                    <a:pt x="52" y="468"/>
                  </a:cubicBezTo>
                  <a:cubicBezTo>
                    <a:pt x="52" y="468"/>
                    <a:pt x="53" y="468"/>
                    <a:pt x="53" y="468"/>
                  </a:cubicBezTo>
                  <a:cubicBezTo>
                    <a:pt x="54" y="469"/>
                    <a:pt x="54" y="469"/>
                    <a:pt x="54" y="469"/>
                  </a:cubicBezTo>
                  <a:cubicBezTo>
                    <a:pt x="56" y="469"/>
                    <a:pt x="59" y="470"/>
                    <a:pt x="60" y="472"/>
                  </a:cubicBezTo>
                  <a:cubicBezTo>
                    <a:pt x="62" y="476"/>
                    <a:pt x="61" y="480"/>
                    <a:pt x="58" y="483"/>
                  </a:cubicBezTo>
                  <a:cubicBezTo>
                    <a:pt x="57" y="484"/>
                    <a:pt x="57" y="484"/>
                    <a:pt x="57" y="484"/>
                  </a:cubicBezTo>
                  <a:cubicBezTo>
                    <a:pt x="55" y="486"/>
                    <a:pt x="54" y="487"/>
                    <a:pt x="52" y="489"/>
                  </a:cubicBezTo>
                  <a:cubicBezTo>
                    <a:pt x="53" y="489"/>
                    <a:pt x="54" y="490"/>
                    <a:pt x="56" y="491"/>
                  </a:cubicBezTo>
                  <a:cubicBezTo>
                    <a:pt x="63" y="496"/>
                    <a:pt x="71" y="501"/>
                    <a:pt x="76" y="508"/>
                  </a:cubicBezTo>
                  <a:cubicBezTo>
                    <a:pt x="76" y="508"/>
                    <a:pt x="77" y="509"/>
                    <a:pt x="77" y="509"/>
                  </a:cubicBezTo>
                  <a:cubicBezTo>
                    <a:pt x="77" y="509"/>
                    <a:pt x="77" y="509"/>
                    <a:pt x="77" y="509"/>
                  </a:cubicBezTo>
                  <a:cubicBezTo>
                    <a:pt x="79" y="511"/>
                    <a:pt x="80" y="513"/>
                    <a:pt x="78" y="517"/>
                  </a:cubicBezTo>
                  <a:cubicBezTo>
                    <a:pt x="77" y="518"/>
                    <a:pt x="76" y="519"/>
                    <a:pt x="76" y="521"/>
                  </a:cubicBezTo>
                  <a:cubicBezTo>
                    <a:pt x="75" y="522"/>
                    <a:pt x="75" y="524"/>
                    <a:pt x="74" y="526"/>
                  </a:cubicBezTo>
                  <a:cubicBezTo>
                    <a:pt x="72" y="528"/>
                    <a:pt x="70" y="530"/>
                    <a:pt x="68" y="532"/>
                  </a:cubicBezTo>
                  <a:cubicBezTo>
                    <a:pt x="67" y="532"/>
                    <a:pt x="66" y="533"/>
                    <a:pt x="65" y="533"/>
                  </a:cubicBezTo>
                  <a:cubicBezTo>
                    <a:pt x="62" y="537"/>
                    <a:pt x="58" y="540"/>
                    <a:pt x="55" y="543"/>
                  </a:cubicBezTo>
                  <a:cubicBezTo>
                    <a:pt x="53" y="545"/>
                    <a:pt x="51" y="548"/>
                    <a:pt x="48" y="550"/>
                  </a:cubicBezTo>
                  <a:cubicBezTo>
                    <a:pt x="43" y="555"/>
                    <a:pt x="38" y="561"/>
                    <a:pt x="31" y="565"/>
                  </a:cubicBezTo>
                  <a:cubicBezTo>
                    <a:pt x="24" y="570"/>
                    <a:pt x="16" y="576"/>
                    <a:pt x="9" y="582"/>
                  </a:cubicBezTo>
                  <a:cubicBezTo>
                    <a:pt x="12" y="582"/>
                    <a:pt x="14" y="581"/>
                    <a:pt x="16" y="581"/>
                  </a:cubicBezTo>
                  <a:cubicBezTo>
                    <a:pt x="16" y="579"/>
                    <a:pt x="20" y="579"/>
                    <a:pt x="22" y="577"/>
                  </a:cubicBezTo>
                  <a:cubicBezTo>
                    <a:pt x="24" y="582"/>
                    <a:pt x="17" y="578"/>
                    <a:pt x="21" y="583"/>
                  </a:cubicBezTo>
                  <a:cubicBezTo>
                    <a:pt x="25" y="588"/>
                    <a:pt x="19" y="583"/>
                    <a:pt x="18" y="582"/>
                  </a:cubicBezTo>
                  <a:cubicBezTo>
                    <a:pt x="20" y="589"/>
                    <a:pt x="29" y="590"/>
                    <a:pt x="36" y="593"/>
                  </a:cubicBezTo>
                  <a:cubicBezTo>
                    <a:pt x="38" y="594"/>
                    <a:pt x="40" y="594"/>
                    <a:pt x="42" y="595"/>
                  </a:cubicBezTo>
                  <a:cubicBezTo>
                    <a:pt x="44" y="596"/>
                    <a:pt x="46" y="597"/>
                    <a:pt x="48" y="598"/>
                  </a:cubicBezTo>
                  <a:cubicBezTo>
                    <a:pt x="50" y="601"/>
                    <a:pt x="50" y="601"/>
                    <a:pt x="50" y="601"/>
                  </a:cubicBezTo>
                  <a:cubicBezTo>
                    <a:pt x="47" y="601"/>
                    <a:pt x="47" y="601"/>
                    <a:pt x="47" y="601"/>
                  </a:cubicBezTo>
                  <a:cubicBezTo>
                    <a:pt x="45" y="601"/>
                    <a:pt x="43" y="600"/>
                    <a:pt x="41" y="600"/>
                  </a:cubicBezTo>
                  <a:cubicBezTo>
                    <a:pt x="38" y="599"/>
                    <a:pt x="34" y="598"/>
                    <a:pt x="31" y="599"/>
                  </a:cubicBezTo>
                  <a:cubicBezTo>
                    <a:pt x="29" y="600"/>
                    <a:pt x="27" y="603"/>
                    <a:pt x="25" y="604"/>
                  </a:cubicBezTo>
                  <a:cubicBezTo>
                    <a:pt x="24" y="605"/>
                    <a:pt x="21" y="603"/>
                    <a:pt x="20" y="603"/>
                  </a:cubicBezTo>
                  <a:cubicBezTo>
                    <a:pt x="17" y="602"/>
                    <a:pt x="14" y="606"/>
                    <a:pt x="11" y="604"/>
                  </a:cubicBezTo>
                  <a:cubicBezTo>
                    <a:pt x="10" y="606"/>
                    <a:pt x="10" y="608"/>
                    <a:pt x="10" y="611"/>
                  </a:cubicBezTo>
                  <a:cubicBezTo>
                    <a:pt x="15" y="614"/>
                    <a:pt x="15" y="614"/>
                    <a:pt x="15" y="614"/>
                  </a:cubicBezTo>
                  <a:cubicBezTo>
                    <a:pt x="14" y="616"/>
                    <a:pt x="14" y="616"/>
                    <a:pt x="14" y="616"/>
                  </a:cubicBezTo>
                  <a:cubicBezTo>
                    <a:pt x="14" y="616"/>
                    <a:pt x="13" y="616"/>
                    <a:pt x="13" y="617"/>
                  </a:cubicBezTo>
                  <a:cubicBezTo>
                    <a:pt x="16" y="619"/>
                    <a:pt x="16" y="619"/>
                    <a:pt x="16" y="619"/>
                  </a:cubicBezTo>
                  <a:cubicBezTo>
                    <a:pt x="11" y="620"/>
                    <a:pt x="11" y="620"/>
                    <a:pt x="11" y="620"/>
                  </a:cubicBezTo>
                  <a:cubicBezTo>
                    <a:pt x="11" y="620"/>
                    <a:pt x="9" y="621"/>
                    <a:pt x="8" y="624"/>
                  </a:cubicBezTo>
                  <a:cubicBezTo>
                    <a:pt x="6" y="628"/>
                    <a:pt x="3" y="632"/>
                    <a:pt x="1" y="633"/>
                  </a:cubicBezTo>
                  <a:cubicBezTo>
                    <a:pt x="1" y="633"/>
                    <a:pt x="1" y="634"/>
                    <a:pt x="1" y="635"/>
                  </a:cubicBezTo>
                  <a:cubicBezTo>
                    <a:pt x="2" y="638"/>
                    <a:pt x="1" y="641"/>
                    <a:pt x="1" y="643"/>
                  </a:cubicBezTo>
                  <a:cubicBezTo>
                    <a:pt x="1" y="644"/>
                    <a:pt x="1" y="644"/>
                    <a:pt x="1" y="644"/>
                  </a:cubicBezTo>
                  <a:cubicBezTo>
                    <a:pt x="1" y="645"/>
                    <a:pt x="1" y="648"/>
                    <a:pt x="3" y="650"/>
                  </a:cubicBezTo>
                  <a:cubicBezTo>
                    <a:pt x="6" y="653"/>
                    <a:pt x="7" y="656"/>
                    <a:pt x="7" y="657"/>
                  </a:cubicBezTo>
                  <a:cubicBezTo>
                    <a:pt x="8" y="659"/>
                    <a:pt x="7" y="660"/>
                    <a:pt x="7" y="660"/>
                  </a:cubicBezTo>
                  <a:cubicBezTo>
                    <a:pt x="6" y="661"/>
                    <a:pt x="6" y="661"/>
                    <a:pt x="6" y="661"/>
                  </a:cubicBezTo>
                  <a:cubicBezTo>
                    <a:pt x="5" y="661"/>
                    <a:pt x="5" y="661"/>
                    <a:pt x="5" y="661"/>
                  </a:cubicBezTo>
                  <a:cubicBezTo>
                    <a:pt x="5" y="661"/>
                    <a:pt x="5" y="661"/>
                    <a:pt x="4" y="661"/>
                  </a:cubicBezTo>
                  <a:cubicBezTo>
                    <a:pt x="4" y="661"/>
                    <a:pt x="4" y="661"/>
                    <a:pt x="4" y="661"/>
                  </a:cubicBezTo>
                  <a:cubicBezTo>
                    <a:pt x="3" y="661"/>
                    <a:pt x="3" y="661"/>
                    <a:pt x="3" y="661"/>
                  </a:cubicBezTo>
                  <a:cubicBezTo>
                    <a:pt x="3" y="661"/>
                    <a:pt x="3" y="661"/>
                    <a:pt x="3" y="661"/>
                  </a:cubicBezTo>
                  <a:cubicBezTo>
                    <a:pt x="3" y="661"/>
                    <a:pt x="3" y="661"/>
                    <a:pt x="3" y="661"/>
                  </a:cubicBezTo>
                  <a:cubicBezTo>
                    <a:pt x="2" y="661"/>
                    <a:pt x="2" y="661"/>
                    <a:pt x="2" y="662"/>
                  </a:cubicBezTo>
                  <a:cubicBezTo>
                    <a:pt x="2" y="662"/>
                    <a:pt x="2" y="662"/>
                    <a:pt x="2" y="662"/>
                  </a:cubicBezTo>
                  <a:cubicBezTo>
                    <a:pt x="2" y="662"/>
                    <a:pt x="2" y="662"/>
                    <a:pt x="1" y="662"/>
                  </a:cubicBezTo>
                  <a:cubicBezTo>
                    <a:pt x="1" y="663"/>
                    <a:pt x="1" y="663"/>
                    <a:pt x="1" y="663"/>
                  </a:cubicBezTo>
                  <a:cubicBezTo>
                    <a:pt x="1" y="663"/>
                    <a:pt x="1" y="663"/>
                    <a:pt x="1" y="663"/>
                  </a:cubicBezTo>
                  <a:cubicBezTo>
                    <a:pt x="1" y="664"/>
                    <a:pt x="1" y="664"/>
                    <a:pt x="1" y="664"/>
                  </a:cubicBezTo>
                  <a:cubicBezTo>
                    <a:pt x="1" y="664"/>
                    <a:pt x="0" y="664"/>
                    <a:pt x="0" y="664"/>
                  </a:cubicBezTo>
                  <a:cubicBezTo>
                    <a:pt x="0" y="664"/>
                    <a:pt x="0" y="664"/>
                    <a:pt x="0" y="664"/>
                  </a:cubicBezTo>
                  <a:cubicBezTo>
                    <a:pt x="0" y="664"/>
                    <a:pt x="0" y="665"/>
                    <a:pt x="0" y="665"/>
                  </a:cubicBezTo>
                  <a:cubicBezTo>
                    <a:pt x="0" y="665"/>
                    <a:pt x="0" y="665"/>
                    <a:pt x="0" y="665"/>
                  </a:cubicBezTo>
                  <a:cubicBezTo>
                    <a:pt x="0" y="666"/>
                    <a:pt x="0" y="666"/>
                    <a:pt x="0" y="666"/>
                  </a:cubicBezTo>
                  <a:cubicBezTo>
                    <a:pt x="0" y="666"/>
                    <a:pt x="0" y="666"/>
                    <a:pt x="0" y="666"/>
                  </a:cubicBezTo>
                  <a:cubicBezTo>
                    <a:pt x="0" y="667"/>
                    <a:pt x="0" y="667"/>
                    <a:pt x="0" y="667"/>
                  </a:cubicBezTo>
                  <a:cubicBezTo>
                    <a:pt x="0" y="667"/>
                    <a:pt x="0" y="667"/>
                    <a:pt x="1" y="667"/>
                  </a:cubicBezTo>
                  <a:cubicBezTo>
                    <a:pt x="1" y="667"/>
                    <a:pt x="1" y="667"/>
                    <a:pt x="1" y="667"/>
                  </a:cubicBezTo>
                  <a:cubicBezTo>
                    <a:pt x="1" y="667"/>
                    <a:pt x="1" y="667"/>
                    <a:pt x="1" y="667"/>
                  </a:cubicBezTo>
                  <a:cubicBezTo>
                    <a:pt x="1" y="667"/>
                    <a:pt x="1" y="667"/>
                    <a:pt x="1" y="668"/>
                  </a:cubicBezTo>
                  <a:cubicBezTo>
                    <a:pt x="3" y="669"/>
                    <a:pt x="5" y="670"/>
                    <a:pt x="6" y="670"/>
                  </a:cubicBezTo>
                  <a:cubicBezTo>
                    <a:pt x="7" y="671"/>
                    <a:pt x="8" y="671"/>
                    <a:pt x="8" y="672"/>
                  </a:cubicBezTo>
                  <a:cubicBezTo>
                    <a:pt x="9" y="674"/>
                    <a:pt x="7" y="678"/>
                    <a:pt x="6" y="679"/>
                  </a:cubicBezTo>
                  <a:cubicBezTo>
                    <a:pt x="6" y="679"/>
                    <a:pt x="6" y="679"/>
                    <a:pt x="6" y="679"/>
                  </a:cubicBezTo>
                  <a:cubicBezTo>
                    <a:pt x="7" y="680"/>
                    <a:pt x="7" y="681"/>
                    <a:pt x="6" y="683"/>
                  </a:cubicBezTo>
                  <a:cubicBezTo>
                    <a:pt x="6" y="683"/>
                    <a:pt x="6" y="683"/>
                    <a:pt x="6" y="683"/>
                  </a:cubicBezTo>
                  <a:cubicBezTo>
                    <a:pt x="6" y="683"/>
                    <a:pt x="6" y="683"/>
                    <a:pt x="6" y="683"/>
                  </a:cubicBezTo>
                  <a:cubicBezTo>
                    <a:pt x="9" y="684"/>
                    <a:pt x="11" y="687"/>
                    <a:pt x="12" y="690"/>
                  </a:cubicBezTo>
                  <a:cubicBezTo>
                    <a:pt x="13" y="694"/>
                    <a:pt x="13" y="694"/>
                    <a:pt x="13" y="695"/>
                  </a:cubicBezTo>
                  <a:cubicBezTo>
                    <a:pt x="14" y="695"/>
                    <a:pt x="14" y="695"/>
                    <a:pt x="14" y="695"/>
                  </a:cubicBezTo>
                  <a:cubicBezTo>
                    <a:pt x="14" y="695"/>
                    <a:pt x="14" y="696"/>
                    <a:pt x="14" y="696"/>
                  </a:cubicBezTo>
                  <a:cubicBezTo>
                    <a:pt x="14" y="696"/>
                    <a:pt x="14" y="696"/>
                    <a:pt x="14" y="697"/>
                  </a:cubicBezTo>
                  <a:cubicBezTo>
                    <a:pt x="14" y="697"/>
                    <a:pt x="14" y="697"/>
                    <a:pt x="14" y="697"/>
                  </a:cubicBezTo>
                  <a:cubicBezTo>
                    <a:pt x="14" y="697"/>
                    <a:pt x="15" y="698"/>
                    <a:pt x="15" y="698"/>
                  </a:cubicBezTo>
                  <a:cubicBezTo>
                    <a:pt x="15" y="699"/>
                    <a:pt x="15" y="699"/>
                    <a:pt x="15" y="699"/>
                  </a:cubicBezTo>
                  <a:cubicBezTo>
                    <a:pt x="15" y="699"/>
                    <a:pt x="15" y="699"/>
                    <a:pt x="15" y="699"/>
                  </a:cubicBezTo>
                  <a:cubicBezTo>
                    <a:pt x="15" y="703"/>
                    <a:pt x="15" y="703"/>
                    <a:pt x="15" y="703"/>
                  </a:cubicBezTo>
                  <a:cubicBezTo>
                    <a:pt x="15" y="703"/>
                    <a:pt x="15" y="703"/>
                    <a:pt x="15" y="703"/>
                  </a:cubicBezTo>
                  <a:cubicBezTo>
                    <a:pt x="15" y="703"/>
                    <a:pt x="15" y="704"/>
                    <a:pt x="16" y="704"/>
                  </a:cubicBezTo>
                  <a:cubicBezTo>
                    <a:pt x="16" y="704"/>
                    <a:pt x="16" y="704"/>
                    <a:pt x="17" y="704"/>
                  </a:cubicBezTo>
                  <a:cubicBezTo>
                    <a:pt x="17" y="704"/>
                    <a:pt x="17" y="705"/>
                    <a:pt x="17" y="705"/>
                  </a:cubicBezTo>
                  <a:cubicBezTo>
                    <a:pt x="18" y="705"/>
                    <a:pt x="18" y="705"/>
                    <a:pt x="19" y="705"/>
                  </a:cubicBezTo>
                  <a:cubicBezTo>
                    <a:pt x="19" y="706"/>
                    <a:pt x="19" y="706"/>
                    <a:pt x="19" y="706"/>
                  </a:cubicBezTo>
                  <a:cubicBezTo>
                    <a:pt x="22" y="707"/>
                    <a:pt x="22" y="707"/>
                    <a:pt x="22" y="707"/>
                  </a:cubicBezTo>
                  <a:cubicBezTo>
                    <a:pt x="23" y="707"/>
                    <a:pt x="23" y="707"/>
                    <a:pt x="23" y="707"/>
                  </a:cubicBezTo>
                  <a:cubicBezTo>
                    <a:pt x="24" y="707"/>
                    <a:pt x="24" y="707"/>
                    <a:pt x="24" y="708"/>
                  </a:cubicBezTo>
                  <a:cubicBezTo>
                    <a:pt x="25" y="708"/>
                    <a:pt x="25" y="708"/>
                    <a:pt x="25" y="708"/>
                  </a:cubicBezTo>
                  <a:cubicBezTo>
                    <a:pt x="25" y="708"/>
                    <a:pt x="25" y="708"/>
                    <a:pt x="26" y="708"/>
                  </a:cubicBezTo>
                  <a:cubicBezTo>
                    <a:pt x="26" y="708"/>
                    <a:pt x="26" y="708"/>
                    <a:pt x="26" y="708"/>
                  </a:cubicBezTo>
                  <a:cubicBezTo>
                    <a:pt x="27" y="708"/>
                    <a:pt x="27" y="708"/>
                    <a:pt x="28" y="707"/>
                  </a:cubicBezTo>
                  <a:cubicBezTo>
                    <a:pt x="28" y="707"/>
                    <a:pt x="28" y="707"/>
                    <a:pt x="28" y="707"/>
                  </a:cubicBezTo>
                  <a:cubicBezTo>
                    <a:pt x="29" y="707"/>
                    <a:pt x="30" y="707"/>
                    <a:pt x="31" y="707"/>
                  </a:cubicBezTo>
                  <a:cubicBezTo>
                    <a:pt x="31" y="707"/>
                    <a:pt x="32" y="707"/>
                    <a:pt x="33" y="707"/>
                  </a:cubicBezTo>
                  <a:cubicBezTo>
                    <a:pt x="33" y="707"/>
                    <a:pt x="33" y="707"/>
                    <a:pt x="33" y="707"/>
                  </a:cubicBezTo>
                  <a:cubicBezTo>
                    <a:pt x="34" y="707"/>
                    <a:pt x="35" y="708"/>
                    <a:pt x="36" y="709"/>
                  </a:cubicBezTo>
                  <a:cubicBezTo>
                    <a:pt x="36" y="710"/>
                    <a:pt x="36" y="710"/>
                    <a:pt x="36" y="710"/>
                  </a:cubicBezTo>
                  <a:cubicBezTo>
                    <a:pt x="36" y="709"/>
                    <a:pt x="36" y="709"/>
                    <a:pt x="36" y="709"/>
                  </a:cubicBezTo>
                  <a:cubicBezTo>
                    <a:pt x="37" y="710"/>
                    <a:pt x="38" y="711"/>
                    <a:pt x="38" y="713"/>
                  </a:cubicBezTo>
                  <a:cubicBezTo>
                    <a:pt x="38" y="713"/>
                    <a:pt x="38" y="713"/>
                    <a:pt x="38" y="713"/>
                  </a:cubicBezTo>
                  <a:cubicBezTo>
                    <a:pt x="38" y="713"/>
                    <a:pt x="38" y="714"/>
                    <a:pt x="38" y="714"/>
                  </a:cubicBezTo>
                  <a:cubicBezTo>
                    <a:pt x="39" y="714"/>
                    <a:pt x="39" y="713"/>
                    <a:pt x="40" y="713"/>
                  </a:cubicBezTo>
                  <a:cubicBezTo>
                    <a:pt x="40" y="713"/>
                    <a:pt x="41" y="712"/>
                    <a:pt x="42" y="712"/>
                  </a:cubicBezTo>
                  <a:cubicBezTo>
                    <a:pt x="42" y="712"/>
                    <a:pt x="43" y="711"/>
                    <a:pt x="43" y="711"/>
                  </a:cubicBezTo>
                  <a:cubicBezTo>
                    <a:pt x="44" y="711"/>
                    <a:pt x="44" y="711"/>
                    <a:pt x="44" y="711"/>
                  </a:cubicBezTo>
                  <a:cubicBezTo>
                    <a:pt x="44" y="711"/>
                    <a:pt x="44" y="711"/>
                    <a:pt x="44" y="711"/>
                  </a:cubicBezTo>
                  <a:cubicBezTo>
                    <a:pt x="45" y="711"/>
                    <a:pt x="45" y="711"/>
                    <a:pt x="45" y="711"/>
                  </a:cubicBezTo>
                  <a:cubicBezTo>
                    <a:pt x="46" y="710"/>
                    <a:pt x="46" y="710"/>
                    <a:pt x="46" y="710"/>
                  </a:cubicBezTo>
                  <a:cubicBezTo>
                    <a:pt x="47" y="710"/>
                    <a:pt x="47" y="710"/>
                    <a:pt x="48" y="710"/>
                  </a:cubicBezTo>
                  <a:cubicBezTo>
                    <a:pt x="48" y="710"/>
                    <a:pt x="48" y="710"/>
                    <a:pt x="49" y="710"/>
                  </a:cubicBezTo>
                  <a:cubicBezTo>
                    <a:pt x="50" y="710"/>
                    <a:pt x="51" y="710"/>
                    <a:pt x="52" y="711"/>
                  </a:cubicBezTo>
                  <a:cubicBezTo>
                    <a:pt x="53" y="711"/>
                    <a:pt x="53" y="711"/>
                    <a:pt x="53" y="711"/>
                  </a:cubicBezTo>
                  <a:cubicBezTo>
                    <a:pt x="54" y="711"/>
                    <a:pt x="56" y="712"/>
                    <a:pt x="57" y="712"/>
                  </a:cubicBezTo>
                  <a:cubicBezTo>
                    <a:pt x="64" y="715"/>
                    <a:pt x="66" y="717"/>
                    <a:pt x="66" y="718"/>
                  </a:cubicBezTo>
                  <a:cubicBezTo>
                    <a:pt x="67" y="718"/>
                    <a:pt x="67" y="718"/>
                    <a:pt x="67" y="718"/>
                  </a:cubicBezTo>
                  <a:cubicBezTo>
                    <a:pt x="67" y="726"/>
                    <a:pt x="67" y="726"/>
                    <a:pt x="67" y="726"/>
                  </a:cubicBezTo>
                  <a:cubicBezTo>
                    <a:pt x="66" y="728"/>
                    <a:pt x="66" y="728"/>
                    <a:pt x="66" y="728"/>
                  </a:cubicBezTo>
                  <a:cubicBezTo>
                    <a:pt x="66" y="728"/>
                    <a:pt x="66" y="728"/>
                    <a:pt x="66" y="728"/>
                  </a:cubicBezTo>
                  <a:cubicBezTo>
                    <a:pt x="67" y="729"/>
                    <a:pt x="70" y="733"/>
                    <a:pt x="69" y="736"/>
                  </a:cubicBezTo>
                  <a:cubicBezTo>
                    <a:pt x="68" y="736"/>
                    <a:pt x="68" y="736"/>
                    <a:pt x="68" y="736"/>
                  </a:cubicBezTo>
                  <a:cubicBezTo>
                    <a:pt x="68" y="737"/>
                    <a:pt x="66" y="738"/>
                    <a:pt x="65" y="740"/>
                  </a:cubicBezTo>
                  <a:cubicBezTo>
                    <a:pt x="69" y="741"/>
                    <a:pt x="72" y="743"/>
                    <a:pt x="72" y="747"/>
                  </a:cubicBezTo>
                  <a:cubicBezTo>
                    <a:pt x="72" y="748"/>
                    <a:pt x="74" y="752"/>
                    <a:pt x="79" y="755"/>
                  </a:cubicBezTo>
                  <a:cubicBezTo>
                    <a:pt x="83" y="757"/>
                    <a:pt x="84" y="760"/>
                    <a:pt x="84" y="762"/>
                  </a:cubicBezTo>
                  <a:cubicBezTo>
                    <a:pt x="85" y="763"/>
                    <a:pt x="84" y="764"/>
                    <a:pt x="84" y="765"/>
                  </a:cubicBezTo>
                  <a:cubicBezTo>
                    <a:pt x="86" y="766"/>
                    <a:pt x="89" y="767"/>
                    <a:pt x="95" y="767"/>
                  </a:cubicBezTo>
                  <a:cubicBezTo>
                    <a:pt x="101" y="768"/>
                    <a:pt x="101" y="768"/>
                    <a:pt x="101" y="768"/>
                  </a:cubicBezTo>
                  <a:cubicBezTo>
                    <a:pt x="96" y="771"/>
                    <a:pt x="96" y="771"/>
                    <a:pt x="96" y="771"/>
                  </a:cubicBezTo>
                  <a:cubicBezTo>
                    <a:pt x="96" y="771"/>
                    <a:pt x="96" y="771"/>
                    <a:pt x="96" y="771"/>
                  </a:cubicBezTo>
                  <a:cubicBezTo>
                    <a:pt x="96" y="771"/>
                    <a:pt x="97" y="772"/>
                    <a:pt x="98" y="773"/>
                  </a:cubicBezTo>
                  <a:cubicBezTo>
                    <a:pt x="98" y="773"/>
                    <a:pt x="99" y="773"/>
                    <a:pt x="99" y="774"/>
                  </a:cubicBezTo>
                  <a:cubicBezTo>
                    <a:pt x="101" y="775"/>
                    <a:pt x="102" y="776"/>
                    <a:pt x="102" y="778"/>
                  </a:cubicBezTo>
                  <a:cubicBezTo>
                    <a:pt x="102" y="779"/>
                    <a:pt x="102" y="780"/>
                    <a:pt x="101" y="780"/>
                  </a:cubicBezTo>
                  <a:cubicBezTo>
                    <a:pt x="101" y="781"/>
                    <a:pt x="100" y="781"/>
                    <a:pt x="100" y="781"/>
                  </a:cubicBezTo>
                  <a:cubicBezTo>
                    <a:pt x="99" y="782"/>
                    <a:pt x="98" y="782"/>
                    <a:pt x="97" y="783"/>
                  </a:cubicBezTo>
                  <a:cubicBezTo>
                    <a:pt x="97" y="783"/>
                    <a:pt x="96" y="783"/>
                    <a:pt x="96" y="784"/>
                  </a:cubicBezTo>
                  <a:cubicBezTo>
                    <a:pt x="96" y="784"/>
                    <a:pt x="96" y="784"/>
                    <a:pt x="96" y="784"/>
                  </a:cubicBezTo>
                  <a:cubicBezTo>
                    <a:pt x="95" y="785"/>
                    <a:pt x="95" y="785"/>
                    <a:pt x="95" y="785"/>
                  </a:cubicBezTo>
                  <a:cubicBezTo>
                    <a:pt x="94" y="785"/>
                    <a:pt x="94" y="785"/>
                    <a:pt x="94" y="785"/>
                  </a:cubicBezTo>
                  <a:cubicBezTo>
                    <a:pt x="92" y="786"/>
                    <a:pt x="92" y="786"/>
                    <a:pt x="92" y="786"/>
                  </a:cubicBezTo>
                  <a:cubicBezTo>
                    <a:pt x="92" y="786"/>
                    <a:pt x="92" y="786"/>
                    <a:pt x="91" y="786"/>
                  </a:cubicBezTo>
                  <a:cubicBezTo>
                    <a:pt x="91" y="786"/>
                    <a:pt x="91" y="786"/>
                    <a:pt x="91" y="787"/>
                  </a:cubicBezTo>
                  <a:cubicBezTo>
                    <a:pt x="90" y="787"/>
                    <a:pt x="90" y="787"/>
                    <a:pt x="90" y="787"/>
                  </a:cubicBezTo>
                  <a:cubicBezTo>
                    <a:pt x="90" y="787"/>
                    <a:pt x="89" y="787"/>
                    <a:pt x="89" y="787"/>
                  </a:cubicBezTo>
                  <a:cubicBezTo>
                    <a:pt x="87" y="788"/>
                    <a:pt x="85" y="788"/>
                    <a:pt x="84" y="787"/>
                  </a:cubicBezTo>
                  <a:cubicBezTo>
                    <a:pt x="82" y="787"/>
                    <a:pt x="81" y="787"/>
                    <a:pt x="80" y="787"/>
                  </a:cubicBezTo>
                  <a:cubicBezTo>
                    <a:pt x="79" y="787"/>
                    <a:pt x="79" y="787"/>
                    <a:pt x="79" y="787"/>
                  </a:cubicBezTo>
                  <a:cubicBezTo>
                    <a:pt x="78" y="787"/>
                    <a:pt x="78" y="787"/>
                    <a:pt x="77" y="787"/>
                  </a:cubicBezTo>
                  <a:cubicBezTo>
                    <a:pt x="76" y="787"/>
                    <a:pt x="76" y="787"/>
                    <a:pt x="76" y="787"/>
                  </a:cubicBezTo>
                  <a:cubicBezTo>
                    <a:pt x="76" y="787"/>
                    <a:pt x="75" y="787"/>
                    <a:pt x="75" y="787"/>
                  </a:cubicBezTo>
                  <a:cubicBezTo>
                    <a:pt x="75" y="787"/>
                    <a:pt x="75" y="787"/>
                    <a:pt x="75" y="787"/>
                  </a:cubicBezTo>
                  <a:cubicBezTo>
                    <a:pt x="75" y="787"/>
                    <a:pt x="75" y="787"/>
                    <a:pt x="75" y="787"/>
                  </a:cubicBezTo>
                  <a:cubicBezTo>
                    <a:pt x="75" y="788"/>
                    <a:pt x="76" y="789"/>
                    <a:pt x="77" y="790"/>
                  </a:cubicBezTo>
                  <a:cubicBezTo>
                    <a:pt x="79" y="791"/>
                    <a:pt x="81" y="793"/>
                    <a:pt x="80" y="802"/>
                  </a:cubicBezTo>
                  <a:cubicBezTo>
                    <a:pt x="79" y="804"/>
                    <a:pt x="80" y="805"/>
                    <a:pt x="81" y="806"/>
                  </a:cubicBezTo>
                  <a:cubicBezTo>
                    <a:pt x="81" y="806"/>
                    <a:pt x="81" y="806"/>
                    <a:pt x="81" y="806"/>
                  </a:cubicBezTo>
                  <a:cubicBezTo>
                    <a:pt x="81" y="806"/>
                    <a:pt x="82" y="806"/>
                    <a:pt x="82" y="807"/>
                  </a:cubicBezTo>
                  <a:cubicBezTo>
                    <a:pt x="82" y="807"/>
                    <a:pt x="82" y="807"/>
                    <a:pt x="82" y="807"/>
                  </a:cubicBezTo>
                  <a:cubicBezTo>
                    <a:pt x="82" y="807"/>
                    <a:pt x="82" y="807"/>
                    <a:pt x="82" y="807"/>
                  </a:cubicBezTo>
                  <a:cubicBezTo>
                    <a:pt x="83" y="809"/>
                    <a:pt x="83" y="809"/>
                    <a:pt x="83" y="809"/>
                  </a:cubicBezTo>
                  <a:cubicBezTo>
                    <a:pt x="86" y="810"/>
                    <a:pt x="88" y="810"/>
                    <a:pt x="89" y="809"/>
                  </a:cubicBezTo>
                  <a:cubicBezTo>
                    <a:pt x="89" y="809"/>
                    <a:pt x="89" y="809"/>
                    <a:pt x="89" y="809"/>
                  </a:cubicBezTo>
                  <a:cubicBezTo>
                    <a:pt x="91" y="806"/>
                    <a:pt x="93" y="802"/>
                    <a:pt x="99" y="803"/>
                  </a:cubicBezTo>
                  <a:cubicBezTo>
                    <a:pt x="102" y="804"/>
                    <a:pt x="106" y="803"/>
                    <a:pt x="111" y="802"/>
                  </a:cubicBezTo>
                  <a:cubicBezTo>
                    <a:pt x="114" y="801"/>
                    <a:pt x="119" y="801"/>
                    <a:pt x="121" y="803"/>
                  </a:cubicBezTo>
                  <a:cubicBezTo>
                    <a:pt x="122" y="803"/>
                    <a:pt x="122" y="803"/>
                    <a:pt x="122" y="803"/>
                  </a:cubicBezTo>
                  <a:cubicBezTo>
                    <a:pt x="127" y="807"/>
                    <a:pt x="128" y="809"/>
                    <a:pt x="128" y="811"/>
                  </a:cubicBezTo>
                  <a:cubicBezTo>
                    <a:pt x="128" y="812"/>
                    <a:pt x="128" y="812"/>
                    <a:pt x="128" y="812"/>
                  </a:cubicBezTo>
                  <a:cubicBezTo>
                    <a:pt x="128" y="813"/>
                    <a:pt x="128" y="813"/>
                    <a:pt x="129" y="814"/>
                  </a:cubicBezTo>
                  <a:cubicBezTo>
                    <a:pt x="130" y="814"/>
                    <a:pt x="132" y="815"/>
                    <a:pt x="133" y="817"/>
                  </a:cubicBezTo>
                  <a:cubicBezTo>
                    <a:pt x="134" y="818"/>
                    <a:pt x="134" y="819"/>
                    <a:pt x="134" y="819"/>
                  </a:cubicBezTo>
                  <a:cubicBezTo>
                    <a:pt x="134" y="821"/>
                    <a:pt x="134" y="821"/>
                    <a:pt x="134" y="821"/>
                  </a:cubicBezTo>
                  <a:cubicBezTo>
                    <a:pt x="132" y="822"/>
                    <a:pt x="132" y="822"/>
                    <a:pt x="132" y="822"/>
                  </a:cubicBezTo>
                  <a:cubicBezTo>
                    <a:pt x="131" y="822"/>
                    <a:pt x="129" y="822"/>
                    <a:pt x="129" y="823"/>
                  </a:cubicBezTo>
                  <a:cubicBezTo>
                    <a:pt x="130" y="825"/>
                    <a:pt x="130" y="827"/>
                    <a:pt x="130" y="829"/>
                  </a:cubicBezTo>
                  <a:cubicBezTo>
                    <a:pt x="130" y="829"/>
                    <a:pt x="130" y="830"/>
                    <a:pt x="130" y="830"/>
                  </a:cubicBezTo>
                  <a:cubicBezTo>
                    <a:pt x="132" y="830"/>
                    <a:pt x="134" y="830"/>
                    <a:pt x="136" y="831"/>
                  </a:cubicBezTo>
                  <a:cubicBezTo>
                    <a:pt x="137" y="832"/>
                    <a:pt x="139" y="832"/>
                    <a:pt x="139" y="832"/>
                  </a:cubicBezTo>
                  <a:cubicBezTo>
                    <a:pt x="141" y="831"/>
                    <a:pt x="143" y="831"/>
                    <a:pt x="147" y="833"/>
                  </a:cubicBezTo>
                  <a:cubicBezTo>
                    <a:pt x="149" y="835"/>
                    <a:pt x="150" y="836"/>
                    <a:pt x="151" y="836"/>
                  </a:cubicBezTo>
                  <a:cubicBezTo>
                    <a:pt x="153" y="837"/>
                    <a:pt x="153" y="837"/>
                    <a:pt x="153" y="837"/>
                  </a:cubicBezTo>
                  <a:cubicBezTo>
                    <a:pt x="151" y="839"/>
                    <a:pt x="151" y="839"/>
                    <a:pt x="151" y="839"/>
                  </a:cubicBezTo>
                  <a:cubicBezTo>
                    <a:pt x="151" y="839"/>
                    <a:pt x="150" y="840"/>
                    <a:pt x="151" y="841"/>
                  </a:cubicBezTo>
                  <a:cubicBezTo>
                    <a:pt x="153" y="844"/>
                    <a:pt x="154" y="848"/>
                    <a:pt x="153" y="850"/>
                  </a:cubicBezTo>
                  <a:cubicBezTo>
                    <a:pt x="153" y="850"/>
                    <a:pt x="154" y="851"/>
                    <a:pt x="155" y="852"/>
                  </a:cubicBezTo>
                  <a:cubicBezTo>
                    <a:pt x="155" y="852"/>
                    <a:pt x="156" y="853"/>
                    <a:pt x="158" y="852"/>
                  </a:cubicBezTo>
                  <a:cubicBezTo>
                    <a:pt x="161" y="850"/>
                    <a:pt x="165" y="851"/>
                    <a:pt x="169" y="853"/>
                  </a:cubicBezTo>
                  <a:cubicBezTo>
                    <a:pt x="170" y="854"/>
                    <a:pt x="175" y="855"/>
                    <a:pt x="178" y="854"/>
                  </a:cubicBezTo>
                  <a:cubicBezTo>
                    <a:pt x="183" y="852"/>
                    <a:pt x="188" y="851"/>
                    <a:pt x="188" y="851"/>
                  </a:cubicBezTo>
                  <a:cubicBezTo>
                    <a:pt x="189" y="851"/>
                    <a:pt x="189" y="851"/>
                    <a:pt x="189" y="851"/>
                  </a:cubicBezTo>
                  <a:cubicBezTo>
                    <a:pt x="189" y="851"/>
                    <a:pt x="192" y="851"/>
                    <a:pt x="194" y="854"/>
                  </a:cubicBezTo>
                  <a:cubicBezTo>
                    <a:pt x="196" y="857"/>
                    <a:pt x="199" y="860"/>
                    <a:pt x="200" y="862"/>
                  </a:cubicBezTo>
                  <a:cubicBezTo>
                    <a:pt x="202" y="861"/>
                    <a:pt x="203" y="860"/>
                    <a:pt x="205" y="860"/>
                  </a:cubicBezTo>
                  <a:cubicBezTo>
                    <a:pt x="206" y="859"/>
                    <a:pt x="207" y="860"/>
                    <a:pt x="208" y="860"/>
                  </a:cubicBezTo>
                  <a:cubicBezTo>
                    <a:pt x="209" y="861"/>
                    <a:pt x="209" y="861"/>
                    <a:pt x="210" y="861"/>
                  </a:cubicBezTo>
                  <a:cubicBezTo>
                    <a:pt x="214" y="861"/>
                    <a:pt x="216" y="864"/>
                    <a:pt x="217" y="865"/>
                  </a:cubicBezTo>
                  <a:cubicBezTo>
                    <a:pt x="217" y="866"/>
                    <a:pt x="218" y="866"/>
                    <a:pt x="218" y="866"/>
                  </a:cubicBezTo>
                  <a:cubicBezTo>
                    <a:pt x="218" y="866"/>
                    <a:pt x="218" y="866"/>
                    <a:pt x="218" y="866"/>
                  </a:cubicBezTo>
                  <a:cubicBezTo>
                    <a:pt x="220" y="865"/>
                    <a:pt x="224" y="863"/>
                    <a:pt x="229" y="868"/>
                  </a:cubicBezTo>
                  <a:cubicBezTo>
                    <a:pt x="229" y="868"/>
                    <a:pt x="229" y="869"/>
                    <a:pt x="230" y="869"/>
                  </a:cubicBezTo>
                  <a:cubicBezTo>
                    <a:pt x="232" y="872"/>
                    <a:pt x="234" y="874"/>
                    <a:pt x="239" y="872"/>
                  </a:cubicBezTo>
                  <a:cubicBezTo>
                    <a:pt x="242" y="870"/>
                    <a:pt x="242" y="870"/>
                    <a:pt x="242" y="870"/>
                  </a:cubicBezTo>
                  <a:cubicBezTo>
                    <a:pt x="242" y="873"/>
                    <a:pt x="242" y="873"/>
                    <a:pt x="242" y="873"/>
                  </a:cubicBezTo>
                  <a:cubicBezTo>
                    <a:pt x="244" y="878"/>
                    <a:pt x="243" y="881"/>
                    <a:pt x="242" y="882"/>
                  </a:cubicBezTo>
                  <a:cubicBezTo>
                    <a:pt x="242" y="883"/>
                    <a:pt x="242" y="883"/>
                    <a:pt x="242" y="883"/>
                  </a:cubicBezTo>
                  <a:cubicBezTo>
                    <a:pt x="241" y="885"/>
                    <a:pt x="238" y="887"/>
                    <a:pt x="236" y="889"/>
                  </a:cubicBezTo>
                  <a:cubicBezTo>
                    <a:pt x="237" y="890"/>
                    <a:pt x="239" y="890"/>
                    <a:pt x="239" y="890"/>
                  </a:cubicBezTo>
                  <a:cubicBezTo>
                    <a:pt x="253" y="893"/>
                    <a:pt x="253" y="893"/>
                    <a:pt x="253" y="893"/>
                  </a:cubicBezTo>
                  <a:cubicBezTo>
                    <a:pt x="239" y="895"/>
                    <a:pt x="239" y="895"/>
                    <a:pt x="239" y="895"/>
                  </a:cubicBezTo>
                  <a:cubicBezTo>
                    <a:pt x="237" y="895"/>
                    <a:pt x="235" y="896"/>
                    <a:pt x="234" y="897"/>
                  </a:cubicBezTo>
                  <a:cubicBezTo>
                    <a:pt x="236" y="898"/>
                    <a:pt x="237" y="900"/>
                    <a:pt x="238" y="900"/>
                  </a:cubicBezTo>
                  <a:cubicBezTo>
                    <a:pt x="238" y="902"/>
                    <a:pt x="239" y="904"/>
                    <a:pt x="239" y="907"/>
                  </a:cubicBezTo>
                  <a:cubicBezTo>
                    <a:pt x="239" y="907"/>
                    <a:pt x="239" y="908"/>
                    <a:pt x="239" y="909"/>
                  </a:cubicBezTo>
                  <a:cubicBezTo>
                    <a:pt x="238" y="910"/>
                    <a:pt x="236" y="913"/>
                    <a:pt x="236" y="915"/>
                  </a:cubicBezTo>
                  <a:cubicBezTo>
                    <a:pt x="235" y="916"/>
                    <a:pt x="235" y="917"/>
                    <a:pt x="234" y="918"/>
                  </a:cubicBezTo>
                  <a:cubicBezTo>
                    <a:pt x="233" y="919"/>
                    <a:pt x="231" y="920"/>
                    <a:pt x="228" y="919"/>
                  </a:cubicBezTo>
                  <a:cubicBezTo>
                    <a:pt x="226" y="919"/>
                    <a:pt x="221" y="918"/>
                    <a:pt x="220" y="919"/>
                  </a:cubicBezTo>
                  <a:cubicBezTo>
                    <a:pt x="218" y="920"/>
                    <a:pt x="215" y="922"/>
                    <a:pt x="212" y="923"/>
                  </a:cubicBezTo>
                  <a:cubicBezTo>
                    <a:pt x="210" y="923"/>
                    <a:pt x="207" y="924"/>
                    <a:pt x="207" y="928"/>
                  </a:cubicBezTo>
                  <a:cubicBezTo>
                    <a:pt x="207" y="928"/>
                    <a:pt x="207" y="929"/>
                    <a:pt x="207" y="930"/>
                  </a:cubicBezTo>
                  <a:cubicBezTo>
                    <a:pt x="207" y="931"/>
                    <a:pt x="207" y="931"/>
                    <a:pt x="207" y="931"/>
                  </a:cubicBezTo>
                  <a:cubicBezTo>
                    <a:pt x="207" y="932"/>
                    <a:pt x="207" y="933"/>
                    <a:pt x="206" y="934"/>
                  </a:cubicBezTo>
                  <a:cubicBezTo>
                    <a:pt x="208" y="933"/>
                    <a:pt x="209" y="933"/>
                    <a:pt x="210" y="932"/>
                  </a:cubicBezTo>
                  <a:cubicBezTo>
                    <a:pt x="210" y="933"/>
                    <a:pt x="209" y="933"/>
                    <a:pt x="209" y="934"/>
                  </a:cubicBezTo>
                  <a:cubicBezTo>
                    <a:pt x="211" y="934"/>
                    <a:pt x="214" y="934"/>
                    <a:pt x="216" y="933"/>
                  </a:cubicBezTo>
                  <a:cubicBezTo>
                    <a:pt x="217" y="932"/>
                    <a:pt x="217" y="931"/>
                    <a:pt x="219" y="931"/>
                  </a:cubicBezTo>
                  <a:cubicBezTo>
                    <a:pt x="220" y="931"/>
                    <a:pt x="222" y="931"/>
                    <a:pt x="224" y="932"/>
                  </a:cubicBezTo>
                  <a:cubicBezTo>
                    <a:pt x="224" y="934"/>
                    <a:pt x="223" y="936"/>
                    <a:pt x="226" y="934"/>
                  </a:cubicBezTo>
                  <a:cubicBezTo>
                    <a:pt x="222" y="936"/>
                    <a:pt x="216" y="940"/>
                    <a:pt x="211" y="940"/>
                  </a:cubicBezTo>
                  <a:cubicBezTo>
                    <a:pt x="210" y="941"/>
                    <a:pt x="209" y="940"/>
                    <a:pt x="208" y="941"/>
                  </a:cubicBezTo>
                  <a:cubicBezTo>
                    <a:pt x="208" y="942"/>
                    <a:pt x="211" y="944"/>
                    <a:pt x="211" y="945"/>
                  </a:cubicBezTo>
                  <a:cubicBezTo>
                    <a:pt x="210" y="946"/>
                    <a:pt x="201" y="946"/>
                    <a:pt x="199" y="946"/>
                  </a:cubicBezTo>
                  <a:cubicBezTo>
                    <a:pt x="198" y="946"/>
                    <a:pt x="196" y="945"/>
                    <a:pt x="195" y="945"/>
                  </a:cubicBezTo>
                  <a:cubicBezTo>
                    <a:pt x="195" y="945"/>
                    <a:pt x="195" y="947"/>
                    <a:pt x="196" y="948"/>
                  </a:cubicBezTo>
                  <a:cubicBezTo>
                    <a:pt x="197" y="950"/>
                    <a:pt x="197" y="950"/>
                    <a:pt x="199" y="951"/>
                  </a:cubicBezTo>
                  <a:cubicBezTo>
                    <a:pt x="202" y="953"/>
                    <a:pt x="211" y="957"/>
                    <a:pt x="210" y="960"/>
                  </a:cubicBezTo>
                  <a:cubicBezTo>
                    <a:pt x="209" y="960"/>
                    <a:pt x="207" y="960"/>
                    <a:pt x="206" y="959"/>
                  </a:cubicBezTo>
                  <a:cubicBezTo>
                    <a:pt x="206" y="959"/>
                    <a:pt x="205" y="958"/>
                    <a:pt x="205" y="958"/>
                  </a:cubicBezTo>
                  <a:cubicBezTo>
                    <a:pt x="202" y="958"/>
                    <a:pt x="201" y="963"/>
                    <a:pt x="201" y="965"/>
                  </a:cubicBezTo>
                  <a:cubicBezTo>
                    <a:pt x="201" y="964"/>
                    <a:pt x="201" y="961"/>
                    <a:pt x="200" y="960"/>
                  </a:cubicBezTo>
                  <a:cubicBezTo>
                    <a:pt x="201" y="960"/>
                    <a:pt x="201" y="960"/>
                    <a:pt x="201" y="960"/>
                  </a:cubicBezTo>
                  <a:cubicBezTo>
                    <a:pt x="200" y="959"/>
                    <a:pt x="199" y="960"/>
                    <a:pt x="199" y="961"/>
                  </a:cubicBezTo>
                  <a:cubicBezTo>
                    <a:pt x="198" y="961"/>
                    <a:pt x="193" y="972"/>
                    <a:pt x="192" y="969"/>
                  </a:cubicBezTo>
                  <a:cubicBezTo>
                    <a:pt x="191" y="970"/>
                    <a:pt x="198" y="977"/>
                    <a:pt x="192" y="977"/>
                  </a:cubicBezTo>
                  <a:cubicBezTo>
                    <a:pt x="188" y="977"/>
                    <a:pt x="185" y="976"/>
                    <a:pt x="181" y="975"/>
                  </a:cubicBezTo>
                  <a:cubicBezTo>
                    <a:pt x="178" y="974"/>
                    <a:pt x="177" y="975"/>
                    <a:pt x="174" y="977"/>
                  </a:cubicBezTo>
                  <a:cubicBezTo>
                    <a:pt x="177" y="974"/>
                    <a:pt x="177" y="978"/>
                    <a:pt x="180" y="977"/>
                  </a:cubicBezTo>
                  <a:cubicBezTo>
                    <a:pt x="178" y="980"/>
                    <a:pt x="175" y="980"/>
                    <a:pt x="173" y="980"/>
                  </a:cubicBezTo>
                  <a:cubicBezTo>
                    <a:pt x="175" y="982"/>
                    <a:pt x="178" y="983"/>
                    <a:pt x="181" y="984"/>
                  </a:cubicBezTo>
                  <a:cubicBezTo>
                    <a:pt x="184" y="985"/>
                    <a:pt x="187" y="990"/>
                    <a:pt x="189" y="992"/>
                  </a:cubicBezTo>
                  <a:cubicBezTo>
                    <a:pt x="190" y="993"/>
                    <a:pt x="194" y="992"/>
                    <a:pt x="195" y="992"/>
                  </a:cubicBezTo>
                  <a:cubicBezTo>
                    <a:pt x="197" y="992"/>
                    <a:pt x="197" y="992"/>
                    <a:pt x="199" y="994"/>
                  </a:cubicBezTo>
                  <a:cubicBezTo>
                    <a:pt x="200" y="995"/>
                    <a:pt x="202" y="998"/>
                    <a:pt x="203" y="998"/>
                  </a:cubicBezTo>
                  <a:cubicBezTo>
                    <a:pt x="205" y="1000"/>
                    <a:pt x="208" y="1000"/>
                    <a:pt x="210" y="1000"/>
                  </a:cubicBezTo>
                  <a:cubicBezTo>
                    <a:pt x="214" y="1001"/>
                    <a:pt x="217" y="1005"/>
                    <a:pt x="220" y="1007"/>
                  </a:cubicBezTo>
                  <a:cubicBezTo>
                    <a:pt x="226" y="1011"/>
                    <a:pt x="231" y="1016"/>
                    <a:pt x="236" y="1021"/>
                  </a:cubicBezTo>
                  <a:cubicBezTo>
                    <a:pt x="237" y="1018"/>
                    <a:pt x="238" y="1016"/>
                    <a:pt x="239" y="1016"/>
                  </a:cubicBezTo>
                  <a:cubicBezTo>
                    <a:pt x="240" y="1015"/>
                    <a:pt x="241" y="1015"/>
                    <a:pt x="242" y="1016"/>
                  </a:cubicBezTo>
                  <a:cubicBezTo>
                    <a:pt x="242" y="1016"/>
                    <a:pt x="242" y="1016"/>
                    <a:pt x="242" y="1016"/>
                  </a:cubicBezTo>
                  <a:cubicBezTo>
                    <a:pt x="245" y="1017"/>
                    <a:pt x="247" y="1017"/>
                    <a:pt x="248" y="1017"/>
                  </a:cubicBezTo>
                  <a:cubicBezTo>
                    <a:pt x="251" y="1016"/>
                    <a:pt x="255" y="1018"/>
                    <a:pt x="257" y="1019"/>
                  </a:cubicBezTo>
                  <a:cubicBezTo>
                    <a:pt x="257" y="1019"/>
                    <a:pt x="258" y="1020"/>
                    <a:pt x="259" y="1020"/>
                  </a:cubicBezTo>
                  <a:cubicBezTo>
                    <a:pt x="264" y="1022"/>
                    <a:pt x="276" y="1025"/>
                    <a:pt x="280" y="1024"/>
                  </a:cubicBezTo>
                  <a:cubicBezTo>
                    <a:pt x="286" y="1022"/>
                    <a:pt x="294" y="1025"/>
                    <a:pt x="296" y="1028"/>
                  </a:cubicBezTo>
                  <a:cubicBezTo>
                    <a:pt x="297" y="1029"/>
                    <a:pt x="306" y="1033"/>
                    <a:pt x="308" y="1033"/>
                  </a:cubicBezTo>
                  <a:cubicBezTo>
                    <a:pt x="309" y="1033"/>
                    <a:pt x="310" y="1034"/>
                    <a:pt x="311" y="1035"/>
                  </a:cubicBezTo>
                  <a:cubicBezTo>
                    <a:pt x="312" y="1036"/>
                    <a:pt x="312" y="1037"/>
                    <a:pt x="312" y="1038"/>
                  </a:cubicBezTo>
                  <a:cubicBezTo>
                    <a:pt x="312" y="1038"/>
                    <a:pt x="312" y="1038"/>
                    <a:pt x="313" y="1038"/>
                  </a:cubicBezTo>
                  <a:cubicBezTo>
                    <a:pt x="314" y="1039"/>
                    <a:pt x="315" y="1039"/>
                    <a:pt x="318" y="1037"/>
                  </a:cubicBezTo>
                  <a:cubicBezTo>
                    <a:pt x="321" y="1035"/>
                    <a:pt x="324" y="1034"/>
                    <a:pt x="326" y="1035"/>
                  </a:cubicBezTo>
                  <a:cubicBezTo>
                    <a:pt x="327" y="1035"/>
                    <a:pt x="328" y="1036"/>
                    <a:pt x="329" y="1036"/>
                  </a:cubicBezTo>
                  <a:cubicBezTo>
                    <a:pt x="329" y="1036"/>
                    <a:pt x="330" y="1035"/>
                    <a:pt x="330" y="1035"/>
                  </a:cubicBezTo>
                  <a:cubicBezTo>
                    <a:pt x="332" y="1035"/>
                    <a:pt x="333" y="1035"/>
                    <a:pt x="335" y="1036"/>
                  </a:cubicBezTo>
                  <a:cubicBezTo>
                    <a:pt x="338" y="1038"/>
                    <a:pt x="346" y="1041"/>
                    <a:pt x="347" y="1041"/>
                  </a:cubicBezTo>
                  <a:cubicBezTo>
                    <a:pt x="352" y="1041"/>
                    <a:pt x="352" y="1041"/>
                    <a:pt x="352" y="1041"/>
                  </a:cubicBezTo>
                  <a:cubicBezTo>
                    <a:pt x="349" y="1045"/>
                    <a:pt x="349" y="1045"/>
                    <a:pt x="349" y="1045"/>
                  </a:cubicBezTo>
                  <a:cubicBezTo>
                    <a:pt x="348" y="1046"/>
                    <a:pt x="348" y="1048"/>
                    <a:pt x="348" y="1048"/>
                  </a:cubicBezTo>
                  <a:cubicBezTo>
                    <a:pt x="350" y="1050"/>
                    <a:pt x="355" y="1052"/>
                    <a:pt x="356" y="1052"/>
                  </a:cubicBezTo>
                  <a:cubicBezTo>
                    <a:pt x="357" y="1052"/>
                    <a:pt x="357" y="1052"/>
                    <a:pt x="357" y="1052"/>
                  </a:cubicBezTo>
                  <a:cubicBezTo>
                    <a:pt x="358" y="1052"/>
                    <a:pt x="358" y="1052"/>
                    <a:pt x="358" y="1052"/>
                  </a:cubicBezTo>
                  <a:cubicBezTo>
                    <a:pt x="358" y="1053"/>
                    <a:pt x="359" y="1053"/>
                    <a:pt x="360" y="1054"/>
                  </a:cubicBezTo>
                  <a:cubicBezTo>
                    <a:pt x="360" y="1054"/>
                    <a:pt x="360" y="1054"/>
                    <a:pt x="360" y="1054"/>
                  </a:cubicBezTo>
                  <a:cubicBezTo>
                    <a:pt x="361" y="1054"/>
                    <a:pt x="361" y="1054"/>
                    <a:pt x="361" y="1054"/>
                  </a:cubicBezTo>
                  <a:cubicBezTo>
                    <a:pt x="362" y="1054"/>
                    <a:pt x="363" y="1054"/>
                    <a:pt x="364" y="1054"/>
                  </a:cubicBezTo>
                  <a:cubicBezTo>
                    <a:pt x="364" y="1054"/>
                    <a:pt x="364" y="1055"/>
                    <a:pt x="365" y="1055"/>
                  </a:cubicBezTo>
                  <a:cubicBezTo>
                    <a:pt x="368" y="1055"/>
                    <a:pt x="371" y="1057"/>
                    <a:pt x="372" y="1060"/>
                  </a:cubicBezTo>
                  <a:cubicBezTo>
                    <a:pt x="372" y="1062"/>
                    <a:pt x="374" y="1063"/>
                    <a:pt x="374" y="1063"/>
                  </a:cubicBezTo>
                  <a:cubicBezTo>
                    <a:pt x="376" y="1063"/>
                    <a:pt x="378" y="1067"/>
                    <a:pt x="378" y="1067"/>
                  </a:cubicBezTo>
                  <a:cubicBezTo>
                    <a:pt x="378" y="1067"/>
                    <a:pt x="379" y="1069"/>
                    <a:pt x="382" y="1069"/>
                  </a:cubicBezTo>
                  <a:cubicBezTo>
                    <a:pt x="387" y="1070"/>
                    <a:pt x="387" y="1070"/>
                    <a:pt x="388" y="1068"/>
                  </a:cubicBezTo>
                  <a:cubicBezTo>
                    <a:pt x="389" y="1065"/>
                    <a:pt x="391" y="1064"/>
                    <a:pt x="392" y="1064"/>
                  </a:cubicBezTo>
                  <a:cubicBezTo>
                    <a:pt x="392" y="1063"/>
                    <a:pt x="392" y="1063"/>
                    <a:pt x="393" y="1063"/>
                  </a:cubicBezTo>
                  <a:cubicBezTo>
                    <a:pt x="393" y="1063"/>
                    <a:pt x="393" y="1062"/>
                    <a:pt x="394" y="1062"/>
                  </a:cubicBezTo>
                  <a:cubicBezTo>
                    <a:pt x="396" y="1061"/>
                    <a:pt x="399" y="1058"/>
                    <a:pt x="399" y="1057"/>
                  </a:cubicBezTo>
                  <a:cubicBezTo>
                    <a:pt x="399" y="1056"/>
                    <a:pt x="399" y="1056"/>
                    <a:pt x="399" y="1056"/>
                  </a:cubicBezTo>
                  <a:cubicBezTo>
                    <a:pt x="399" y="1056"/>
                    <a:pt x="399" y="1056"/>
                    <a:pt x="399" y="1056"/>
                  </a:cubicBezTo>
                  <a:cubicBezTo>
                    <a:pt x="395" y="1053"/>
                    <a:pt x="393" y="1048"/>
                    <a:pt x="390" y="1044"/>
                  </a:cubicBezTo>
                  <a:cubicBezTo>
                    <a:pt x="388" y="1042"/>
                    <a:pt x="386" y="1040"/>
                    <a:pt x="385" y="1037"/>
                  </a:cubicBezTo>
                  <a:cubicBezTo>
                    <a:pt x="385" y="1036"/>
                    <a:pt x="384" y="1035"/>
                    <a:pt x="384" y="1034"/>
                  </a:cubicBezTo>
                  <a:cubicBezTo>
                    <a:pt x="383" y="1033"/>
                    <a:pt x="381" y="1033"/>
                    <a:pt x="381" y="1032"/>
                  </a:cubicBezTo>
                  <a:cubicBezTo>
                    <a:pt x="382" y="1026"/>
                    <a:pt x="383" y="1020"/>
                    <a:pt x="383" y="1015"/>
                  </a:cubicBezTo>
                  <a:cubicBezTo>
                    <a:pt x="383" y="1014"/>
                    <a:pt x="383" y="1012"/>
                    <a:pt x="384" y="1011"/>
                  </a:cubicBezTo>
                  <a:cubicBezTo>
                    <a:pt x="380" y="1010"/>
                    <a:pt x="380" y="1016"/>
                    <a:pt x="380" y="1019"/>
                  </a:cubicBezTo>
                  <a:cubicBezTo>
                    <a:pt x="379" y="1018"/>
                    <a:pt x="378" y="1018"/>
                    <a:pt x="378" y="1017"/>
                  </a:cubicBezTo>
                  <a:cubicBezTo>
                    <a:pt x="379" y="1017"/>
                    <a:pt x="380" y="1014"/>
                    <a:pt x="380" y="1014"/>
                  </a:cubicBezTo>
                  <a:cubicBezTo>
                    <a:pt x="380" y="1012"/>
                    <a:pt x="380" y="1011"/>
                    <a:pt x="379" y="1009"/>
                  </a:cubicBezTo>
                  <a:cubicBezTo>
                    <a:pt x="377" y="1005"/>
                    <a:pt x="376" y="1003"/>
                    <a:pt x="372" y="1001"/>
                  </a:cubicBezTo>
                  <a:cubicBezTo>
                    <a:pt x="370" y="1000"/>
                    <a:pt x="368" y="1000"/>
                    <a:pt x="366" y="999"/>
                  </a:cubicBezTo>
                  <a:cubicBezTo>
                    <a:pt x="363" y="996"/>
                    <a:pt x="368" y="992"/>
                    <a:pt x="370" y="990"/>
                  </a:cubicBezTo>
                  <a:cubicBezTo>
                    <a:pt x="374" y="986"/>
                    <a:pt x="375" y="984"/>
                    <a:pt x="377" y="980"/>
                  </a:cubicBezTo>
                  <a:cubicBezTo>
                    <a:pt x="378" y="977"/>
                    <a:pt x="379" y="974"/>
                    <a:pt x="380" y="972"/>
                  </a:cubicBezTo>
                  <a:cubicBezTo>
                    <a:pt x="380" y="971"/>
                    <a:pt x="380" y="971"/>
                    <a:pt x="380" y="971"/>
                  </a:cubicBezTo>
                  <a:cubicBezTo>
                    <a:pt x="380" y="971"/>
                    <a:pt x="380" y="971"/>
                    <a:pt x="380" y="971"/>
                  </a:cubicBezTo>
                  <a:cubicBezTo>
                    <a:pt x="380" y="971"/>
                    <a:pt x="380" y="971"/>
                    <a:pt x="380" y="971"/>
                  </a:cubicBezTo>
                  <a:cubicBezTo>
                    <a:pt x="381" y="969"/>
                    <a:pt x="381" y="969"/>
                    <a:pt x="381" y="969"/>
                  </a:cubicBezTo>
                  <a:cubicBezTo>
                    <a:pt x="382" y="970"/>
                    <a:pt x="383" y="971"/>
                    <a:pt x="383" y="971"/>
                  </a:cubicBezTo>
                  <a:cubicBezTo>
                    <a:pt x="384" y="970"/>
                    <a:pt x="383" y="968"/>
                    <a:pt x="383" y="967"/>
                  </a:cubicBezTo>
                  <a:cubicBezTo>
                    <a:pt x="384" y="968"/>
                    <a:pt x="385" y="969"/>
                    <a:pt x="387" y="970"/>
                  </a:cubicBezTo>
                  <a:cubicBezTo>
                    <a:pt x="388" y="967"/>
                    <a:pt x="389" y="968"/>
                    <a:pt x="392" y="968"/>
                  </a:cubicBezTo>
                  <a:cubicBezTo>
                    <a:pt x="394" y="968"/>
                    <a:pt x="394" y="968"/>
                    <a:pt x="396" y="967"/>
                  </a:cubicBezTo>
                  <a:cubicBezTo>
                    <a:pt x="397" y="965"/>
                    <a:pt x="399" y="963"/>
                    <a:pt x="401" y="962"/>
                  </a:cubicBezTo>
                  <a:cubicBezTo>
                    <a:pt x="401" y="962"/>
                    <a:pt x="404" y="964"/>
                    <a:pt x="405" y="965"/>
                  </a:cubicBezTo>
                  <a:cubicBezTo>
                    <a:pt x="404" y="964"/>
                    <a:pt x="404" y="961"/>
                    <a:pt x="404" y="959"/>
                  </a:cubicBezTo>
                  <a:cubicBezTo>
                    <a:pt x="404" y="956"/>
                    <a:pt x="409" y="959"/>
                    <a:pt x="411" y="957"/>
                  </a:cubicBezTo>
                  <a:cubicBezTo>
                    <a:pt x="412" y="957"/>
                    <a:pt x="412" y="956"/>
                    <a:pt x="412" y="954"/>
                  </a:cubicBezTo>
                  <a:cubicBezTo>
                    <a:pt x="411" y="954"/>
                    <a:pt x="411" y="954"/>
                    <a:pt x="410" y="954"/>
                  </a:cubicBezTo>
                  <a:cubicBezTo>
                    <a:pt x="409" y="953"/>
                    <a:pt x="408" y="953"/>
                    <a:pt x="407" y="952"/>
                  </a:cubicBezTo>
                  <a:cubicBezTo>
                    <a:pt x="405" y="955"/>
                    <a:pt x="405" y="955"/>
                    <a:pt x="405" y="955"/>
                  </a:cubicBezTo>
                  <a:cubicBezTo>
                    <a:pt x="406" y="952"/>
                    <a:pt x="406" y="952"/>
                    <a:pt x="406" y="952"/>
                  </a:cubicBezTo>
                  <a:cubicBezTo>
                    <a:pt x="405" y="951"/>
                    <a:pt x="405" y="951"/>
                    <a:pt x="405" y="951"/>
                  </a:cubicBezTo>
                  <a:cubicBezTo>
                    <a:pt x="404" y="951"/>
                    <a:pt x="403" y="950"/>
                    <a:pt x="403" y="950"/>
                  </a:cubicBezTo>
                  <a:cubicBezTo>
                    <a:pt x="402" y="950"/>
                    <a:pt x="402" y="950"/>
                    <a:pt x="402" y="950"/>
                  </a:cubicBezTo>
                  <a:cubicBezTo>
                    <a:pt x="402" y="950"/>
                    <a:pt x="402" y="950"/>
                    <a:pt x="402" y="950"/>
                  </a:cubicBezTo>
                  <a:cubicBezTo>
                    <a:pt x="402" y="950"/>
                    <a:pt x="402" y="950"/>
                    <a:pt x="402" y="950"/>
                  </a:cubicBezTo>
                  <a:cubicBezTo>
                    <a:pt x="401" y="950"/>
                    <a:pt x="401" y="950"/>
                    <a:pt x="401" y="950"/>
                  </a:cubicBezTo>
                  <a:cubicBezTo>
                    <a:pt x="400" y="950"/>
                    <a:pt x="400" y="950"/>
                    <a:pt x="400" y="950"/>
                  </a:cubicBezTo>
                  <a:cubicBezTo>
                    <a:pt x="399" y="949"/>
                    <a:pt x="399" y="948"/>
                    <a:pt x="398" y="947"/>
                  </a:cubicBezTo>
                  <a:cubicBezTo>
                    <a:pt x="398" y="947"/>
                    <a:pt x="398" y="947"/>
                    <a:pt x="398" y="947"/>
                  </a:cubicBezTo>
                  <a:cubicBezTo>
                    <a:pt x="396" y="946"/>
                    <a:pt x="396" y="946"/>
                    <a:pt x="396" y="946"/>
                  </a:cubicBezTo>
                  <a:cubicBezTo>
                    <a:pt x="397" y="944"/>
                    <a:pt x="397" y="944"/>
                    <a:pt x="397" y="944"/>
                  </a:cubicBezTo>
                  <a:cubicBezTo>
                    <a:pt x="398" y="943"/>
                    <a:pt x="398" y="943"/>
                    <a:pt x="398" y="942"/>
                  </a:cubicBezTo>
                  <a:cubicBezTo>
                    <a:pt x="399" y="942"/>
                    <a:pt x="399" y="941"/>
                    <a:pt x="400" y="941"/>
                  </a:cubicBezTo>
                  <a:cubicBezTo>
                    <a:pt x="402" y="939"/>
                    <a:pt x="404" y="941"/>
                    <a:pt x="405" y="941"/>
                  </a:cubicBezTo>
                  <a:cubicBezTo>
                    <a:pt x="405" y="941"/>
                    <a:pt x="406" y="942"/>
                    <a:pt x="406" y="942"/>
                  </a:cubicBezTo>
                  <a:cubicBezTo>
                    <a:pt x="406" y="942"/>
                    <a:pt x="406" y="942"/>
                    <a:pt x="407" y="942"/>
                  </a:cubicBezTo>
                  <a:cubicBezTo>
                    <a:pt x="407" y="942"/>
                    <a:pt x="407" y="942"/>
                    <a:pt x="407" y="942"/>
                  </a:cubicBezTo>
                  <a:cubicBezTo>
                    <a:pt x="407" y="942"/>
                    <a:pt x="407" y="942"/>
                    <a:pt x="407" y="942"/>
                  </a:cubicBezTo>
                  <a:cubicBezTo>
                    <a:pt x="407" y="942"/>
                    <a:pt x="407" y="942"/>
                    <a:pt x="407" y="942"/>
                  </a:cubicBezTo>
                  <a:cubicBezTo>
                    <a:pt x="407" y="941"/>
                    <a:pt x="406" y="941"/>
                    <a:pt x="406" y="941"/>
                  </a:cubicBezTo>
                  <a:cubicBezTo>
                    <a:pt x="406" y="941"/>
                    <a:pt x="406" y="941"/>
                    <a:pt x="406" y="941"/>
                  </a:cubicBezTo>
                  <a:cubicBezTo>
                    <a:pt x="406" y="941"/>
                    <a:pt x="406" y="941"/>
                    <a:pt x="406" y="940"/>
                  </a:cubicBezTo>
                  <a:cubicBezTo>
                    <a:pt x="406" y="940"/>
                    <a:pt x="406" y="940"/>
                    <a:pt x="405" y="940"/>
                  </a:cubicBezTo>
                  <a:cubicBezTo>
                    <a:pt x="405" y="939"/>
                    <a:pt x="405" y="939"/>
                    <a:pt x="405" y="939"/>
                  </a:cubicBezTo>
                  <a:cubicBezTo>
                    <a:pt x="405" y="939"/>
                    <a:pt x="404" y="939"/>
                    <a:pt x="404" y="938"/>
                  </a:cubicBezTo>
                  <a:cubicBezTo>
                    <a:pt x="403" y="937"/>
                    <a:pt x="403" y="937"/>
                    <a:pt x="402" y="936"/>
                  </a:cubicBezTo>
                  <a:cubicBezTo>
                    <a:pt x="401" y="935"/>
                    <a:pt x="400" y="933"/>
                    <a:pt x="399" y="931"/>
                  </a:cubicBezTo>
                  <a:cubicBezTo>
                    <a:pt x="396" y="927"/>
                    <a:pt x="396" y="927"/>
                    <a:pt x="396" y="927"/>
                  </a:cubicBezTo>
                  <a:cubicBezTo>
                    <a:pt x="395" y="926"/>
                    <a:pt x="395" y="925"/>
                    <a:pt x="394" y="924"/>
                  </a:cubicBezTo>
                  <a:cubicBezTo>
                    <a:pt x="393" y="923"/>
                    <a:pt x="392" y="921"/>
                    <a:pt x="392" y="921"/>
                  </a:cubicBezTo>
                  <a:cubicBezTo>
                    <a:pt x="392" y="921"/>
                    <a:pt x="392" y="921"/>
                    <a:pt x="392" y="921"/>
                  </a:cubicBezTo>
                  <a:cubicBezTo>
                    <a:pt x="391" y="921"/>
                    <a:pt x="391" y="921"/>
                    <a:pt x="391" y="921"/>
                  </a:cubicBezTo>
                  <a:cubicBezTo>
                    <a:pt x="391" y="920"/>
                    <a:pt x="390" y="921"/>
                    <a:pt x="389" y="921"/>
                  </a:cubicBezTo>
                  <a:cubicBezTo>
                    <a:pt x="387" y="921"/>
                    <a:pt x="386" y="921"/>
                    <a:pt x="385" y="922"/>
                  </a:cubicBezTo>
                  <a:cubicBezTo>
                    <a:pt x="384" y="922"/>
                    <a:pt x="383" y="922"/>
                    <a:pt x="383" y="922"/>
                  </a:cubicBezTo>
                  <a:cubicBezTo>
                    <a:pt x="379" y="923"/>
                    <a:pt x="377" y="922"/>
                    <a:pt x="375" y="921"/>
                  </a:cubicBezTo>
                  <a:cubicBezTo>
                    <a:pt x="372" y="919"/>
                    <a:pt x="372" y="917"/>
                    <a:pt x="372" y="914"/>
                  </a:cubicBezTo>
                  <a:cubicBezTo>
                    <a:pt x="371" y="913"/>
                    <a:pt x="372" y="912"/>
                    <a:pt x="372" y="911"/>
                  </a:cubicBezTo>
                  <a:cubicBezTo>
                    <a:pt x="372" y="910"/>
                    <a:pt x="372" y="909"/>
                    <a:pt x="371" y="909"/>
                  </a:cubicBezTo>
                  <a:cubicBezTo>
                    <a:pt x="371" y="908"/>
                    <a:pt x="371" y="908"/>
                    <a:pt x="371" y="908"/>
                  </a:cubicBezTo>
                  <a:cubicBezTo>
                    <a:pt x="371" y="908"/>
                    <a:pt x="370" y="908"/>
                    <a:pt x="370" y="908"/>
                  </a:cubicBezTo>
                  <a:cubicBezTo>
                    <a:pt x="369" y="907"/>
                    <a:pt x="369" y="907"/>
                    <a:pt x="369" y="907"/>
                  </a:cubicBezTo>
                  <a:cubicBezTo>
                    <a:pt x="368" y="907"/>
                    <a:pt x="366" y="907"/>
                    <a:pt x="365" y="906"/>
                  </a:cubicBezTo>
                  <a:cubicBezTo>
                    <a:pt x="363" y="906"/>
                    <a:pt x="363" y="906"/>
                    <a:pt x="363" y="906"/>
                  </a:cubicBezTo>
                  <a:cubicBezTo>
                    <a:pt x="363" y="906"/>
                    <a:pt x="363" y="906"/>
                    <a:pt x="363" y="906"/>
                  </a:cubicBezTo>
                  <a:cubicBezTo>
                    <a:pt x="363" y="905"/>
                    <a:pt x="363" y="905"/>
                    <a:pt x="363" y="905"/>
                  </a:cubicBezTo>
                  <a:cubicBezTo>
                    <a:pt x="361" y="905"/>
                    <a:pt x="360" y="904"/>
                    <a:pt x="360" y="902"/>
                  </a:cubicBezTo>
                  <a:cubicBezTo>
                    <a:pt x="360" y="902"/>
                    <a:pt x="360" y="902"/>
                    <a:pt x="360" y="902"/>
                  </a:cubicBezTo>
                  <a:cubicBezTo>
                    <a:pt x="360" y="901"/>
                    <a:pt x="360" y="901"/>
                    <a:pt x="360" y="901"/>
                  </a:cubicBezTo>
                  <a:cubicBezTo>
                    <a:pt x="360" y="899"/>
                    <a:pt x="361" y="897"/>
                    <a:pt x="362" y="895"/>
                  </a:cubicBezTo>
                  <a:cubicBezTo>
                    <a:pt x="362" y="895"/>
                    <a:pt x="362" y="895"/>
                    <a:pt x="362" y="895"/>
                  </a:cubicBezTo>
                  <a:cubicBezTo>
                    <a:pt x="364" y="892"/>
                    <a:pt x="366" y="889"/>
                    <a:pt x="368" y="887"/>
                  </a:cubicBezTo>
                  <a:cubicBezTo>
                    <a:pt x="368" y="887"/>
                    <a:pt x="368" y="886"/>
                    <a:pt x="368" y="886"/>
                  </a:cubicBezTo>
                  <a:cubicBezTo>
                    <a:pt x="369" y="886"/>
                    <a:pt x="369" y="886"/>
                    <a:pt x="369" y="886"/>
                  </a:cubicBezTo>
                  <a:cubicBezTo>
                    <a:pt x="370" y="885"/>
                    <a:pt x="370" y="885"/>
                    <a:pt x="369" y="883"/>
                  </a:cubicBezTo>
                  <a:cubicBezTo>
                    <a:pt x="368" y="883"/>
                    <a:pt x="368" y="883"/>
                    <a:pt x="368" y="883"/>
                  </a:cubicBezTo>
                  <a:cubicBezTo>
                    <a:pt x="367" y="882"/>
                    <a:pt x="367" y="882"/>
                    <a:pt x="367" y="882"/>
                  </a:cubicBezTo>
                  <a:cubicBezTo>
                    <a:pt x="366" y="882"/>
                    <a:pt x="366" y="881"/>
                    <a:pt x="366" y="881"/>
                  </a:cubicBezTo>
                  <a:cubicBezTo>
                    <a:pt x="365" y="880"/>
                    <a:pt x="365" y="879"/>
                    <a:pt x="365" y="878"/>
                  </a:cubicBezTo>
                  <a:cubicBezTo>
                    <a:pt x="365" y="878"/>
                    <a:pt x="365" y="878"/>
                    <a:pt x="365" y="877"/>
                  </a:cubicBezTo>
                  <a:cubicBezTo>
                    <a:pt x="366" y="876"/>
                    <a:pt x="366" y="876"/>
                    <a:pt x="366" y="875"/>
                  </a:cubicBezTo>
                  <a:cubicBezTo>
                    <a:pt x="367" y="871"/>
                    <a:pt x="367" y="871"/>
                    <a:pt x="367" y="871"/>
                  </a:cubicBezTo>
                  <a:cubicBezTo>
                    <a:pt x="367" y="871"/>
                    <a:pt x="367" y="870"/>
                    <a:pt x="367" y="870"/>
                  </a:cubicBezTo>
                  <a:cubicBezTo>
                    <a:pt x="367" y="869"/>
                    <a:pt x="367" y="869"/>
                    <a:pt x="367" y="869"/>
                  </a:cubicBezTo>
                  <a:cubicBezTo>
                    <a:pt x="367" y="868"/>
                    <a:pt x="367" y="868"/>
                    <a:pt x="367" y="867"/>
                  </a:cubicBezTo>
                  <a:cubicBezTo>
                    <a:pt x="369" y="865"/>
                    <a:pt x="370" y="864"/>
                    <a:pt x="372" y="864"/>
                  </a:cubicBezTo>
                  <a:cubicBezTo>
                    <a:pt x="373" y="863"/>
                    <a:pt x="373" y="863"/>
                    <a:pt x="374" y="863"/>
                  </a:cubicBezTo>
                  <a:cubicBezTo>
                    <a:pt x="374" y="863"/>
                    <a:pt x="374" y="863"/>
                    <a:pt x="374" y="863"/>
                  </a:cubicBezTo>
                  <a:cubicBezTo>
                    <a:pt x="374" y="862"/>
                    <a:pt x="374" y="862"/>
                    <a:pt x="374" y="862"/>
                  </a:cubicBezTo>
                  <a:cubicBezTo>
                    <a:pt x="375" y="861"/>
                    <a:pt x="375" y="861"/>
                    <a:pt x="375" y="861"/>
                  </a:cubicBezTo>
                  <a:cubicBezTo>
                    <a:pt x="375" y="860"/>
                    <a:pt x="376" y="859"/>
                    <a:pt x="376" y="857"/>
                  </a:cubicBezTo>
                  <a:cubicBezTo>
                    <a:pt x="376" y="857"/>
                    <a:pt x="376" y="857"/>
                    <a:pt x="376" y="857"/>
                  </a:cubicBezTo>
                  <a:cubicBezTo>
                    <a:pt x="376" y="856"/>
                    <a:pt x="377" y="856"/>
                    <a:pt x="377" y="855"/>
                  </a:cubicBezTo>
                  <a:cubicBezTo>
                    <a:pt x="377" y="855"/>
                    <a:pt x="377" y="855"/>
                    <a:pt x="377" y="854"/>
                  </a:cubicBezTo>
                  <a:cubicBezTo>
                    <a:pt x="379" y="852"/>
                    <a:pt x="380" y="852"/>
                    <a:pt x="383" y="852"/>
                  </a:cubicBezTo>
                  <a:cubicBezTo>
                    <a:pt x="383" y="852"/>
                    <a:pt x="384" y="852"/>
                    <a:pt x="384" y="852"/>
                  </a:cubicBezTo>
                  <a:cubicBezTo>
                    <a:pt x="385" y="852"/>
                    <a:pt x="385" y="852"/>
                    <a:pt x="385" y="852"/>
                  </a:cubicBezTo>
                  <a:cubicBezTo>
                    <a:pt x="388" y="853"/>
                    <a:pt x="390" y="856"/>
                    <a:pt x="392" y="858"/>
                  </a:cubicBezTo>
                  <a:cubicBezTo>
                    <a:pt x="393" y="859"/>
                    <a:pt x="393" y="859"/>
                    <a:pt x="393" y="859"/>
                  </a:cubicBezTo>
                  <a:cubicBezTo>
                    <a:pt x="393" y="859"/>
                    <a:pt x="394" y="860"/>
                    <a:pt x="394" y="861"/>
                  </a:cubicBezTo>
                  <a:cubicBezTo>
                    <a:pt x="395" y="861"/>
                    <a:pt x="395" y="861"/>
                    <a:pt x="395" y="861"/>
                  </a:cubicBezTo>
                  <a:cubicBezTo>
                    <a:pt x="396" y="862"/>
                    <a:pt x="397" y="864"/>
                    <a:pt x="398" y="865"/>
                  </a:cubicBezTo>
                  <a:cubicBezTo>
                    <a:pt x="398" y="865"/>
                    <a:pt x="399" y="865"/>
                    <a:pt x="399" y="865"/>
                  </a:cubicBezTo>
                  <a:cubicBezTo>
                    <a:pt x="399" y="865"/>
                    <a:pt x="399" y="865"/>
                    <a:pt x="399" y="865"/>
                  </a:cubicBezTo>
                  <a:cubicBezTo>
                    <a:pt x="399" y="865"/>
                    <a:pt x="400" y="865"/>
                    <a:pt x="401" y="865"/>
                  </a:cubicBezTo>
                  <a:cubicBezTo>
                    <a:pt x="401" y="864"/>
                    <a:pt x="401" y="864"/>
                    <a:pt x="401" y="864"/>
                  </a:cubicBezTo>
                  <a:cubicBezTo>
                    <a:pt x="402" y="864"/>
                    <a:pt x="404" y="864"/>
                    <a:pt x="404" y="863"/>
                  </a:cubicBezTo>
                  <a:cubicBezTo>
                    <a:pt x="404" y="863"/>
                    <a:pt x="404" y="863"/>
                    <a:pt x="404" y="863"/>
                  </a:cubicBezTo>
                  <a:cubicBezTo>
                    <a:pt x="404" y="863"/>
                    <a:pt x="404" y="863"/>
                    <a:pt x="404" y="863"/>
                  </a:cubicBezTo>
                  <a:cubicBezTo>
                    <a:pt x="404" y="862"/>
                    <a:pt x="404" y="862"/>
                    <a:pt x="404" y="862"/>
                  </a:cubicBezTo>
                  <a:cubicBezTo>
                    <a:pt x="403" y="861"/>
                    <a:pt x="403" y="860"/>
                    <a:pt x="403" y="860"/>
                  </a:cubicBezTo>
                  <a:cubicBezTo>
                    <a:pt x="403" y="860"/>
                    <a:pt x="403" y="860"/>
                    <a:pt x="403" y="860"/>
                  </a:cubicBezTo>
                  <a:cubicBezTo>
                    <a:pt x="403" y="859"/>
                    <a:pt x="403" y="859"/>
                    <a:pt x="403" y="859"/>
                  </a:cubicBezTo>
                  <a:cubicBezTo>
                    <a:pt x="403" y="859"/>
                    <a:pt x="403" y="858"/>
                    <a:pt x="402" y="858"/>
                  </a:cubicBezTo>
                  <a:cubicBezTo>
                    <a:pt x="402" y="857"/>
                    <a:pt x="402" y="856"/>
                    <a:pt x="402" y="855"/>
                  </a:cubicBezTo>
                  <a:cubicBezTo>
                    <a:pt x="402" y="854"/>
                    <a:pt x="401" y="853"/>
                    <a:pt x="401" y="852"/>
                  </a:cubicBezTo>
                  <a:cubicBezTo>
                    <a:pt x="401" y="852"/>
                    <a:pt x="401" y="852"/>
                    <a:pt x="401" y="851"/>
                  </a:cubicBezTo>
                  <a:cubicBezTo>
                    <a:pt x="400" y="850"/>
                    <a:pt x="400" y="849"/>
                    <a:pt x="400" y="847"/>
                  </a:cubicBezTo>
                  <a:cubicBezTo>
                    <a:pt x="399" y="844"/>
                    <a:pt x="399" y="844"/>
                    <a:pt x="399" y="844"/>
                  </a:cubicBezTo>
                  <a:cubicBezTo>
                    <a:pt x="401" y="844"/>
                    <a:pt x="401" y="844"/>
                    <a:pt x="401" y="844"/>
                  </a:cubicBezTo>
                  <a:cubicBezTo>
                    <a:pt x="403" y="845"/>
                    <a:pt x="403" y="845"/>
                    <a:pt x="403" y="845"/>
                  </a:cubicBezTo>
                  <a:cubicBezTo>
                    <a:pt x="404" y="846"/>
                    <a:pt x="405" y="846"/>
                    <a:pt x="407" y="844"/>
                  </a:cubicBezTo>
                  <a:cubicBezTo>
                    <a:pt x="408" y="844"/>
                    <a:pt x="408" y="844"/>
                    <a:pt x="409" y="843"/>
                  </a:cubicBezTo>
                  <a:cubicBezTo>
                    <a:pt x="409" y="843"/>
                    <a:pt x="409" y="843"/>
                    <a:pt x="410" y="843"/>
                  </a:cubicBezTo>
                  <a:cubicBezTo>
                    <a:pt x="410" y="843"/>
                    <a:pt x="410" y="843"/>
                    <a:pt x="410" y="843"/>
                  </a:cubicBezTo>
                  <a:cubicBezTo>
                    <a:pt x="411" y="842"/>
                    <a:pt x="411" y="842"/>
                    <a:pt x="412" y="842"/>
                  </a:cubicBezTo>
                  <a:cubicBezTo>
                    <a:pt x="412" y="842"/>
                    <a:pt x="412" y="842"/>
                    <a:pt x="412" y="842"/>
                  </a:cubicBezTo>
                  <a:cubicBezTo>
                    <a:pt x="413" y="842"/>
                    <a:pt x="414" y="841"/>
                    <a:pt x="415" y="841"/>
                  </a:cubicBezTo>
                  <a:cubicBezTo>
                    <a:pt x="415" y="841"/>
                    <a:pt x="415" y="841"/>
                    <a:pt x="415" y="841"/>
                  </a:cubicBezTo>
                  <a:cubicBezTo>
                    <a:pt x="413" y="838"/>
                    <a:pt x="413" y="838"/>
                    <a:pt x="413" y="838"/>
                  </a:cubicBezTo>
                  <a:cubicBezTo>
                    <a:pt x="429" y="831"/>
                    <a:pt x="429" y="831"/>
                    <a:pt x="429" y="831"/>
                  </a:cubicBezTo>
                  <a:cubicBezTo>
                    <a:pt x="430" y="830"/>
                    <a:pt x="430" y="830"/>
                    <a:pt x="430" y="830"/>
                  </a:cubicBezTo>
                  <a:cubicBezTo>
                    <a:pt x="431" y="830"/>
                    <a:pt x="431" y="830"/>
                    <a:pt x="431" y="830"/>
                  </a:cubicBezTo>
                  <a:cubicBezTo>
                    <a:pt x="432" y="830"/>
                    <a:pt x="433" y="830"/>
                    <a:pt x="433" y="829"/>
                  </a:cubicBezTo>
                  <a:cubicBezTo>
                    <a:pt x="433" y="829"/>
                    <a:pt x="433" y="829"/>
                    <a:pt x="433" y="829"/>
                  </a:cubicBezTo>
                  <a:cubicBezTo>
                    <a:pt x="434" y="828"/>
                    <a:pt x="434" y="828"/>
                    <a:pt x="434" y="828"/>
                  </a:cubicBezTo>
                  <a:cubicBezTo>
                    <a:pt x="434" y="827"/>
                    <a:pt x="434" y="827"/>
                    <a:pt x="434" y="827"/>
                  </a:cubicBezTo>
                  <a:cubicBezTo>
                    <a:pt x="435" y="826"/>
                    <a:pt x="435" y="826"/>
                    <a:pt x="435" y="826"/>
                  </a:cubicBezTo>
                  <a:cubicBezTo>
                    <a:pt x="437" y="823"/>
                    <a:pt x="437" y="822"/>
                    <a:pt x="441" y="822"/>
                  </a:cubicBezTo>
                  <a:cubicBezTo>
                    <a:pt x="442" y="821"/>
                    <a:pt x="442" y="821"/>
                    <a:pt x="442" y="821"/>
                  </a:cubicBezTo>
                  <a:cubicBezTo>
                    <a:pt x="442" y="821"/>
                    <a:pt x="442" y="821"/>
                    <a:pt x="442" y="821"/>
                  </a:cubicBezTo>
                  <a:cubicBezTo>
                    <a:pt x="442" y="821"/>
                    <a:pt x="441" y="821"/>
                    <a:pt x="441" y="820"/>
                  </a:cubicBezTo>
                  <a:cubicBezTo>
                    <a:pt x="440" y="816"/>
                    <a:pt x="440" y="816"/>
                    <a:pt x="440" y="816"/>
                  </a:cubicBezTo>
                  <a:cubicBezTo>
                    <a:pt x="445" y="817"/>
                    <a:pt x="445" y="817"/>
                    <a:pt x="445" y="817"/>
                  </a:cubicBezTo>
                  <a:cubicBezTo>
                    <a:pt x="446" y="817"/>
                    <a:pt x="447" y="818"/>
                    <a:pt x="449" y="818"/>
                  </a:cubicBezTo>
                  <a:cubicBezTo>
                    <a:pt x="449" y="818"/>
                    <a:pt x="450" y="818"/>
                    <a:pt x="450" y="819"/>
                  </a:cubicBezTo>
                  <a:cubicBezTo>
                    <a:pt x="452" y="819"/>
                    <a:pt x="453" y="819"/>
                    <a:pt x="454" y="820"/>
                  </a:cubicBezTo>
                  <a:cubicBezTo>
                    <a:pt x="454" y="820"/>
                    <a:pt x="456" y="821"/>
                    <a:pt x="457" y="823"/>
                  </a:cubicBezTo>
                  <a:cubicBezTo>
                    <a:pt x="458" y="820"/>
                    <a:pt x="458" y="820"/>
                    <a:pt x="458" y="820"/>
                  </a:cubicBezTo>
                  <a:cubicBezTo>
                    <a:pt x="458" y="824"/>
                    <a:pt x="458" y="824"/>
                    <a:pt x="458" y="824"/>
                  </a:cubicBezTo>
                  <a:cubicBezTo>
                    <a:pt x="458" y="824"/>
                    <a:pt x="458" y="824"/>
                    <a:pt x="458" y="824"/>
                  </a:cubicBezTo>
                  <a:cubicBezTo>
                    <a:pt x="458" y="825"/>
                    <a:pt x="459" y="825"/>
                    <a:pt x="459" y="825"/>
                  </a:cubicBezTo>
                  <a:cubicBezTo>
                    <a:pt x="459" y="825"/>
                    <a:pt x="459" y="825"/>
                    <a:pt x="460" y="825"/>
                  </a:cubicBezTo>
                  <a:cubicBezTo>
                    <a:pt x="460" y="825"/>
                    <a:pt x="460" y="825"/>
                    <a:pt x="460" y="825"/>
                  </a:cubicBezTo>
                  <a:cubicBezTo>
                    <a:pt x="460" y="825"/>
                    <a:pt x="460" y="825"/>
                    <a:pt x="460" y="825"/>
                  </a:cubicBezTo>
                  <a:cubicBezTo>
                    <a:pt x="460" y="824"/>
                    <a:pt x="460" y="824"/>
                    <a:pt x="460" y="824"/>
                  </a:cubicBezTo>
                  <a:cubicBezTo>
                    <a:pt x="460" y="823"/>
                    <a:pt x="460" y="823"/>
                    <a:pt x="460" y="823"/>
                  </a:cubicBezTo>
                  <a:cubicBezTo>
                    <a:pt x="460" y="822"/>
                    <a:pt x="461" y="820"/>
                    <a:pt x="464" y="820"/>
                  </a:cubicBezTo>
                  <a:cubicBezTo>
                    <a:pt x="468" y="819"/>
                    <a:pt x="468" y="819"/>
                    <a:pt x="472" y="817"/>
                  </a:cubicBezTo>
                  <a:cubicBezTo>
                    <a:pt x="474" y="816"/>
                    <a:pt x="474" y="816"/>
                    <a:pt x="474" y="816"/>
                  </a:cubicBezTo>
                  <a:cubicBezTo>
                    <a:pt x="475" y="818"/>
                    <a:pt x="475" y="818"/>
                    <a:pt x="475" y="818"/>
                  </a:cubicBezTo>
                  <a:cubicBezTo>
                    <a:pt x="475" y="818"/>
                    <a:pt x="476" y="819"/>
                    <a:pt x="476" y="820"/>
                  </a:cubicBezTo>
                  <a:cubicBezTo>
                    <a:pt x="476" y="821"/>
                    <a:pt x="477" y="822"/>
                    <a:pt x="477" y="823"/>
                  </a:cubicBezTo>
                  <a:cubicBezTo>
                    <a:pt x="477" y="823"/>
                    <a:pt x="477" y="823"/>
                    <a:pt x="477" y="823"/>
                  </a:cubicBezTo>
                  <a:cubicBezTo>
                    <a:pt x="478" y="824"/>
                    <a:pt x="478" y="824"/>
                    <a:pt x="478" y="824"/>
                  </a:cubicBezTo>
                  <a:cubicBezTo>
                    <a:pt x="478" y="825"/>
                    <a:pt x="478" y="825"/>
                    <a:pt x="478" y="825"/>
                  </a:cubicBezTo>
                  <a:cubicBezTo>
                    <a:pt x="478" y="825"/>
                    <a:pt x="478" y="825"/>
                    <a:pt x="478" y="825"/>
                  </a:cubicBezTo>
                  <a:cubicBezTo>
                    <a:pt x="478" y="825"/>
                    <a:pt x="478" y="825"/>
                    <a:pt x="478" y="825"/>
                  </a:cubicBezTo>
                  <a:cubicBezTo>
                    <a:pt x="478" y="825"/>
                    <a:pt x="478" y="825"/>
                    <a:pt x="478" y="825"/>
                  </a:cubicBezTo>
                  <a:cubicBezTo>
                    <a:pt x="479" y="825"/>
                    <a:pt x="479" y="825"/>
                    <a:pt x="479" y="825"/>
                  </a:cubicBezTo>
                  <a:cubicBezTo>
                    <a:pt x="478" y="820"/>
                    <a:pt x="478" y="820"/>
                    <a:pt x="478" y="820"/>
                  </a:cubicBezTo>
                  <a:cubicBezTo>
                    <a:pt x="480" y="824"/>
                    <a:pt x="480" y="824"/>
                    <a:pt x="480" y="824"/>
                  </a:cubicBezTo>
                  <a:cubicBezTo>
                    <a:pt x="480" y="824"/>
                    <a:pt x="480" y="824"/>
                    <a:pt x="480" y="824"/>
                  </a:cubicBezTo>
                  <a:cubicBezTo>
                    <a:pt x="482" y="824"/>
                    <a:pt x="484" y="824"/>
                    <a:pt x="486" y="824"/>
                  </a:cubicBezTo>
                  <a:cubicBezTo>
                    <a:pt x="489" y="823"/>
                    <a:pt x="492" y="824"/>
                    <a:pt x="495" y="825"/>
                  </a:cubicBezTo>
                  <a:cubicBezTo>
                    <a:pt x="500" y="827"/>
                    <a:pt x="505" y="831"/>
                    <a:pt x="509" y="835"/>
                  </a:cubicBezTo>
                  <a:cubicBezTo>
                    <a:pt x="509" y="835"/>
                    <a:pt x="509" y="835"/>
                    <a:pt x="509" y="835"/>
                  </a:cubicBezTo>
                  <a:cubicBezTo>
                    <a:pt x="510" y="836"/>
                    <a:pt x="512" y="837"/>
                    <a:pt x="513" y="838"/>
                  </a:cubicBezTo>
                  <a:cubicBezTo>
                    <a:pt x="513" y="838"/>
                    <a:pt x="513" y="838"/>
                    <a:pt x="513" y="838"/>
                  </a:cubicBezTo>
                  <a:cubicBezTo>
                    <a:pt x="513" y="837"/>
                    <a:pt x="513" y="837"/>
                    <a:pt x="513" y="837"/>
                  </a:cubicBezTo>
                  <a:cubicBezTo>
                    <a:pt x="514" y="836"/>
                    <a:pt x="514" y="836"/>
                    <a:pt x="514" y="836"/>
                  </a:cubicBezTo>
                  <a:cubicBezTo>
                    <a:pt x="515" y="836"/>
                    <a:pt x="516" y="836"/>
                    <a:pt x="516" y="836"/>
                  </a:cubicBezTo>
                  <a:cubicBezTo>
                    <a:pt x="517" y="836"/>
                    <a:pt x="518" y="836"/>
                    <a:pt x="518" y="836"/>
                  </a:cubicBezTo>
                  <a:cubicBezTo>
                    <a:pt x="518" y="836"/>
                    <a:pt x="519" y="836"/>
                    <a:pt x="519" y="836"/>
                  </a:cubicBezTo>
                  <a:cubicBezTo>
                    <a:pt x="519" y="836"/>
                    <a:pt x="519" y="836"/>
                    <a:pt x="519" y="836"/>
                  </a:cubicBezTo>
                  <a:cubicBezTo>
                    <a:pt x="519" y="836"/>
                    <a:pt x="519" y="836"/>
                    <a:pt x="519" y="836"/>
                  </a:cubicBezTo>
                  <a:cubicBezTo>
                    <a:pt x="521" y="837"/>
                    <a:pt x="522" y="838"/>
                    <a:pt x="523" y="838"/>
                  </a:cubicBezTo>
                  <a:cubicBezTo>
                    <a:pt x="525" y="840"/>
                    <a:pt x="525" y="840"/>
                    <a:pt x="525" y="840"/>
                  </a:cubicBezTo>
                  <a:cubicBezTo>
                    <a:pt x="528" y="842"/>
                    <a:pt x="530" y="844"/>
                    <a:pt x="533" y="845"/>
                  </a:cubicBezTo>
                  <a:cubicBezTo>
                    <a:pt x="535" y="847"/>
                    <a:pt x="537" y="847"/>
                    <a:pt x="537" y="848"/>
                  </a:cubicBezTo>
                  <a:cubicBezTo>
                    <a:pt x="537" y="847"/>
                    <a:pt x="537" y="847"/>
                    <a:pt x="538" y="847"/>
                  </a:cubicBezTo>
                  <a:cubicBezTo>
                    <a:pt x="538" y="847"/>
                    <a:pt x="538" y="847"/>
                    <a:pt x="538" y="847"/>
                  </a:cubicBezTo>
                  <a:cubicBezTo>
                    <a:pt x="539" y="846"/>
                    <a:pt x="539" y="846"/>
                    <a:pt x="539" y="846"/>
                  </a:cubicBezTo>
                  <a:cubicBezTo>
                    <a:pt x="540" y="846"/>
                    <a:pt x="540" y="845"/>
                    <a:pt x="541" y="845"/>
                  </a:cubicBezTo>
                  <a:cubicBezTo>
                    <a:pt x="541" y="845"/>
                    <a:pt x="542" y="845"/>
                    <a:pt x="542" y="845"/>
                  </a:cubicBezTo>
                  <a:cubicBezTo>
                    <a:pt x="542" y="844"/>
                    <a:pt x="542" y="844"/>
                    <a:pt x="542" y="844"/>
                  </a:cubicBezTo>
                  <a:cubicBezTo>
                    <a:pt x="542" y="844"/>
                    <a:pt x="542" y="844"/>
                    <a:pt x="543" y="844"/>
                  </a:cubicBezTo>
                  <a:cubicBezTo>
                    <a:pt x="543" y="843"/>
                    <a:pt x="543" y="843"/>
                    <a:pt x="543" y="843"/>
                  </a:cubicBezTo>
                  <a:cubicBezTo>
                    <a:pt x="543" y="842"/>
                    <a:pt x="543" y="842"/>
                    <a:pt x="543" y="842"/>
                  </a:cubicBezTo>
                  <a:cubicBezTo>
                    <a:pt x="544" y="840"/>
                    <a:pt x="546" y="840"/>
                    <a:pt x="547" y="840"/>
                  </a:cubicBezTo>
                  <a:cubicBezTo>
                    <a:pt x="547" y="840"/>
                    <a:pt x="548" y="839"/>
                    <a:pt x="548" y="839"/>
                  </a:cubicBezTo>
                  <a:cubicBezTo>
                    <a:pt x="548" y="839"/>
                    <a:pt x="548" y="839"/>
                    <a:pt x="549" y="838"/>
                  </a:cubicBezTo>
                  <a:cubicBezTo>
                    <a:pt x="549" y="836"/>
                    <a:pt x="551" y="835"/>
                    <a:pt x="553" y="835"/>
                  </a:cubicBezTo>
                  <a:cubicBezTo>
                    <a:pt x="556" y="835"/>
                    <a:pt x="559" y="834"/>
                    <a:pt x="562" y="834"/>
                  </a:cubicBezTo>
                  <a:cubicBezTo>
                    <a:pt x="565" y="834"/>
                    <a:pt x="566" y="834"/>
                    <a:pt x="568" y="836"/>
                  </a:cubicBezTo>
                  <a:cubicBezTo>
                    <a:pt x="568" y="836"/>
                    <a:pt x="568" y="837"/>
                    <a:pt x="569" y="837"/>
                  </a:cubicBezTo>
                  <a:cubicBezTo>
                    <a:pt x="569" y="838"/>
                    <a:pt x="569" y="838"/>
                    <a:pt x="569" y="838"/>
                  </a:cubicBezTo>
                  <a:cubicBezTo>
                    <a:pt x="570" y="838"/>
                    <a:pt x="571" y="840"/>
                    <a:pt x="571" y="840"/>
                  </a:cubicBezTo>
                  <a:cubicBezTo>
                    <a:pt x="571" y="840"/>
                    <a:pt x="572" y="840"/>
                    <a:pt x="572" y="840"/>
                  </a:cubicBezTo>
                  <a:cubicBezTo>
                    <a:pt x="573" y="840"/>
                    <a:pt x="573" y="839"/>
                    <a:pt x="574" y="839"/>
                  </a:cubicBezTo>
                  <a:cubicBezTo>
                    <a:pt x="574" y="839"/>
                    <a:pt x="574" y="839"/>
                    <a:pt x="574" y="839"/>
                  </a:cubicBezTo>
                  <a:cubicBezTo>
                    <a:pt x="574" y="839"/>
                    <a:pt x="574" y="839"/>
                    <a:pt x="574" y="839"/>
                  </a:cubicBezTo>
                  <a:cubicBezTo>
                    <a:pt x="574" y="838"/>
                    <a:pt x="574" y="838"/>
                    <a:pt x="574" y="838"/>
                  </a:cubicBezTo>
                  <a:cubicBezTo>
                    <a:pt x="574" y="835"/>
                    <a:pt x="576" y="833"/>
                    <a:pt x="579" y="833"/>
                  </a:cubicBezTo>
                  <a:cubicBezTo>
                    <a:pt x="580" y="833"/>
                    <a:pt x="580" y="833"/>
                    <a:pt x="580" y="833"/>
                  </a:cubicBezTo>
                  <a:cubicBezTo>
                    <a:pt x="585" y="833"/>
                    <a:pt x="594" y="833"/>
                    <a:pt x="595" y="841"/>
                  </a:cubicBezTo>
                  <a:cubicBezTo>
                    <a:pt x="595" y="841"/>
                    <a:pt x="595" y="841"/>
                    <a:pt x="595" y="841"/>
                  </a:cubicBezTo>
                  <a:cubicBezTo>
                    <a:pt x="595" y="841"/>
                    <a:pt x="595" y="842"/>
                    <a:pt x="595" y="842"/>
                  </a:cubicBezTo>
                  <a:cubicBezTo>
                    <a:pt x="596" y="842"/>
                    <a:pt x="596" y="843"/>
                    <a:pt x="597" y="843"/>
                  </a:cubicBezTo>
                  <a:cubicBezTo>
                    <a:pt x="598" y="844"/>
                    <a:pt x="598" y="844"/>
                    <a:pt x="599" y="844"/>
                  </a:cubicBezTo>
                  <a:cubicBezTo>
                    <a:pt x="599" y="844"/>
                    <a:pt x="599" y="844"/>
                    <a:pt x="599" y="844"/>
                  </a:cubicBezTo>
                  <a:cubicBezTo>
                    <a:pt x="599" y="844"/>
                    <a:pt x="599" y="844"/>
                    <a:pt x="599" y="844"/>
                  </a:cubicBezTo>
                  <a:cubicBezTo>
                    <a:pt x="600" y="844"/>
                    <a:pt x="600" y="844"/>
                    <a:pt x="600" y="844"/>
                  </a:cubicBezTo>
                  <a:cubicBezTo>
                    <a:pt x="600" y="845"/>
                    <a:pt x="601" y="845"/>
                    <a:pt x="601" y="845"/>
                  </a:cubicBezTo>
                  <a:cubicBezTo>
                    <a:pt x="602" y="845"/>
                    <a:pt x="602" y="845"/>
                    <a:pt x="602" y="845"/>
                  </a:cubicBezTo>
                  <a:cubicBezTo>
                    <a:pt x="602" y="845"/>
                    <a:pt x="603" y="845"/>
                    <a:pt x="603" y="845"/>
                  </a:cubicBezTo>
                  <a:cubicBezTo>
                    <a:pt x="606" y="845"/>
                    <a:pt x="608" y="846"/>
                    <a:pt x="610" y="846"/>
                  </a:cubicBezTo>
                  <a:cubicBezTo>
                    <a:pt x="611" y="847"/>
                    <a:pt x="612" y="847"/>
                    <a:pt x="613" y="848"/>
                  </a:cubicBezTo>
                  <a:cubicBezTo>
                    <a:pt x="613" y="848"/>
                    <a:pt x="613" y="848"/>
                    <a:pt x="613" y="848"/>
                  </a:cubicBezTo>
                  <a:cubicBezTo>
                    <a:pt x="613" y="848"/>
                    <a:pt x="613" y="848"/>
                    <a:pt x="613" y="848"/>
                  </a:cubicBezTo>
                  <a:cubicBezTo>
                    <a:pt x="613" y="848"/>
                    <a:pt x="614" y="848"/>
                    <a:pt x="614" y="848"/>
                  </a:cubicBezTo>
                  <a:cubicBezTo>
                    <a:pt x="614" y="847"/>
                    <a:pt x="614" y="847"/>
                    <a:pt x="614" y="847"/>
                  </a:cubicBezTo>
                  <a:cubicBezTo>
                    <a:pt x="615" y="847"/>
                    <a:pt x="615" y="847"/>
                    <a:pt x="615" y="846"/>
                  </a:cubicBezTo>
                  <a:cubicBezTo>
                    <a:pt x="616" y="845"/>
                    <a:pt x="616" y="844"/>
                    <a:pt x="616" y="842"/>
                  </a:cubicBezTo>
                  <a:cubicBezTo>
                    <a:pt x="616" y="842"/>
                    <a:pt x="616" y="842"/>
                    <a:pt x="616" y="842"/>
                  </a:cubicBezTo>
                  <a:cubicBezTo>
                    <a:pt x="616" y="842"/>
                    <a:pt x="617" y="842"/>
                    <a:pt x="617" y="841"/>
                  </a:cubicBezTo>
                  <a:cubicBezTo>
                    <a:pt x="618" y="839"/>
                    <a:pt x="618" y="839"/>
                    <a:pt x="618" y="839"/>
                  </a:cubicBezTo>
                  <a:cubicBezTo>
                    <a:pt x="623" y="842"/>
                    <a:pt x="623" y="842"/>
                    <a:pt x="623" y="842"/>
                  </a:cubicBezTo>
                  <a:cubicBezTo>
                    <a:pt x="625" y="843"/>
                    <a:pt x="625" y="843"/>
                    <a:pt x="625" y="843"/>
                  </a:cubicBezTo>
                  <a:cubicBezTo>
                    <a:pt x="627" y="844"/>
                    <a:pt x="630" y="844"/>
                    <a:pt x="632" y="845"/>
                  </a:cubicBezTo>
                  <a:cubicBezTo>
                    <a:pt x="633" y="845"/>
                    <a:pt x="633" y="845"/>
                    <a:pt x="633" y="845"/>
                  </a:cubicBezTo>
                  <a:cubicBezTo>
                    <a:pt x="634" y="845"/>
                    <a:pt x="634" y="845"/>
                    <a:pt x="634" y="845"/>
                  </a:cubicBezTo>
                  <a:cubicBezTo>
                    <a:pt x="635" y="845"/>
                    <a:pt x="635" y="844"/>
                    <a:pt x="636" y="844"/>
                  </a:cubicBezTo>
                  <a:cubicBezTo>
                    <a:pt x="638" y="844"/>
                    <a:pt x="642" y="843"/>
                    <a:pt x="643" y="842"/>
                  </a:cubicBezTo>
                  <a:cubicBezTo>
                    <a:pt x="644" y="842"/>
                    <a:pt x="644" y="842"/>
                    <a:pt x="644" y="842"/>
                  </a:cubicBezTo>
                  <a:cubicBezTo>
                    <a:pt x="644" y="842"/>
                    <a:pt x="644" y="842"/>
                    <a:pt x="644" y="842"/>
                  </a:cubicBezTo>
                  <a:cubicBezTo>
                    <a:pt x="644" y="841"/>
                    <a:pt x="644" y="841"/>
                    <a:pt x="644" y="841"/>
                  </a:cubicBezTo>
                  <a:cubicBezTo>
                    <a:pt x="645" y="840"/>
                    <a:pt x="645" y="840"/>
                    <a:pt x="645" y="840"/>
                  </a:cubicBezTo>
                  <a:cubicBezTo>
                    <a:pt x="645" y="839"/>
                    <a:pt x="645" y="839"/>
                    <a:pt x="645" y="838"/>
                  </a:cubicBezTo>
                  <a:cubicBezTo>
                    <a:pt x="645" y="837"/>
                    <a:pt x="645" y="837"/>
                    <a:pt x="645" y="837"/>
                  </a:cubicBezTo>
                  <a:cubicBezTo>
                    <a:pt x="646" y="836"/>
                    <a:pt x="646" y="834"/>
                    <a:pt x="647" y="833"/>
                  </a:cubicBezTo>
                  <a:cubicBezTo>
                    <a:pt x="637" y="828"/>
                    <a:pt x="637" y="828"/>
                    <a:pt x="637" y="828"/>
                  </a:cubicBezTo>
                  <a:cubicBezTo>
                    <a:pt x="631" y="825"/>
                    <a:pt x="631" y="825"/>
                    <a:pt x="631" y="825"/>
                  </a:cubicBezTo>
                  <a:cubicBezTo>
                    <a:pt x="628" y="825"/>
                    <a:pt x="628" y="825"/>
                    <a:pt x="628" y="825"/>
                  </a:cubicBezTo>
                  <a:cubicBezTo>
                    <a:pt x="628" y="824"/>
                    <a:pt x="627" y="824"/>
                    <a:pt x="627" y="824"/>
                  </a:cubicBezTo>
                  <a:cubicBezTo>
                    <a:pt x="624" y="823"/>
                    <a:pt x="624" y="823"/>
                    <a:pt x="624" y="823"/>
                  </a:cubicBezTo>
                  <a:cubicBezTo>
                    <a:pt x="623" y="821"/>
                    <a:pt x="623" y="821"/>
                    <a:pt x="623" y="821"/>
                  </a:cubicBezTo>
                  <a:cubicBezTo>
                    <a:pt x="623" y="821"/>
                    <a:pt x="623" y="821"/>
                    <a:pt x="623" y="821"/>
                  </a:cubicBezTo>
                  <a:cubicBezTo>
                    <a:pt x="622" y="820"/>
                    <a:pt x="621" y="820"/>
                    <a:pt x="620" y="819"/>
                  </a:cubicBezTo>
                  <a:cubicBezTo>
                    <a:pt x="619" y="819"/>
                    <a:pt x="619" y="819"/>
                    <a:pt x="619" y="819"/>
                  </a:cubicBezTo>
                  <a:cubicBezTo>
                    <a:pt x="618" y="817"/>
                    <a:pt x="618" y="817"/>
                    <a:pt x="618" y="817"/>
                  </a:cubicBezTo>
                  <a:cubicBezTo>
                    <a:pt x="618" y="817"/>
                    <a:pt x="618" y="816"/>
                    <a:pt x="617" y="816"/>
                  </a:cubicBezTo>
                  <a:cubicBezTo>
                    <a:pt x="616" y="815"/>
                    <a:pt x="616" y="815"/>
                    <a:pt x="616" y="815"/>
                  </a:cubicBezTo>
                  <a:cubicBezTo>
                    <a:pt x="617" y="812"/>
                    <a:pt x="617" y="812"/>
                    <a:pt x="617" y="812"/>
                  </a:cubicBezTo>
                  <a:cubicBezTo>
                    <a:pt x="617" y="811"/>
                    <a:pt x="617" y="811"/>
                    <a:pt x="617" y="811"/>
                  </a:cubicBezTo>
                  <a:cubicBezTo>
                    <a:pt x="619" y="811"/>
                    <a:pt x="619" y="811"/>
                    <a:pt x="619" y="811"/>
                  </a:cubicBezTo>
                  <a:cubicBezTo>
                    <a:pt x="622" y="811"/>
                    <a:pt x="622" y="811"/>
                    <a:pt x="622" y="811"/>
                  </a:cubicBezTo>
                  <a:cubicBezTo>
                    <a:pt x="622" y="811"/>
                    <a:pt x="622" y="811"/>
                    <a:pt x="622" y="811"/>
                  </a:cubicBezTo>
                  <a:cubicBezTo>
                    <a:pt x="623" y="810"/>
                    <a:pt x="623" y="810"/>
                    <a:pt x="623" y="810"/>
                  </a:cubicBezTo>
                  <a:cubicBezTo>
                    <a:pt x="624" y="810"/>
                    <a:pt x="624" y="809"/>
                    <a:pt x="625" y="809"/>
                  </a:cubicBezTo>
                  <a:cubicBezTo>
                    <a:pt x="627" y="807"/>
                    <a:pt x="627" y="807"/>
                    <a:pt x="627" y="807"/>
                  </a:cubicBezTo>
                  <a:cubicBezTo>
                    <a:pt x="628" y="807"/>
                    <a:pt x="629" y="807"/>
                    <a:pt x="630" y="807"/>
                  </a:cubicBezTo>
                  <a:cubicBezTo>
                    <a:pt x="631" y="807"/>
                    <a:pt x="631" y="807"/>
                    <a:pt x="632" y="806"/>
                  </a:cubicBezTo>
                  <a:cubicBezTo>
                    <a:pt x="632" y="806"/>
                    <a:pt x="632" y="806"/>
                    <a:pt x="633" y="806"/>
                  </a:cubicBezTo>
                  <a:cubicBezTo>
                    <a:pt x="633" y="806"/>
                    <a:pt x="633" y="805"/>
                    <a:pt x="633" y="805"/>
                  </a:cubicBezTo>
                  <a:cubicBezTo>
                    <a:pt x="634" y="805"/>
                    <a:pt x="635" y="804"/>
                    <a:pt x="635" y="804"/>
                  </a:cubicBezTo>
                  <a:cubicBezTo>
                    <a:pt x="635" y="803"/>
                    <a:pt x="635" y="803"/>
                    <a:pt x="635" y="803"/>
                  </a:cubicBezTo>
                  <a:cubicBezTo>
                    <a:pt x="631" y="798"/>
                    <a:pt x="631" y="798"/>
                    <a:pt x="631" y="798"/>
                  </a:cubicBezTo>
                  <a:cubicBezTo>
                    <a:pt x="615" y="795"/>
                    <a:pt x="615" y="795"/>
                    <a:pt x="615" y="795"/>
                  </a:cubicBezTo>
                  <a:cubicBezTo>
                    <a:pt x="630" y="793"/>
                    <a:pt x="630" y="793"/>
                    <a:pt x="630" y="793"/>
                  </a:cubicBezTo>
                  <a:cubicBezTo>
                    <a:pt x="630" y="793"/>
                    <a:pt x="631" y="793"/>
                    <a:pt x="631" y="793"/>
                  </a:cubicBezTo>
                  <a:cubicBezTo>
                    <a:pt x="631" y="793"/>
                    <a:pt x="631" y="793"/>
                    <a:pt x="631" y="793"/>
                  </a:cubicBezTo>
                  <a:cubicBezTo>
                    <a:pt x="632" y="792"/>
                    <a:pt x="632" y="792"/>
                    <a:pt x="632" y="792"/>
                  </a:cubicBezTo>
                  <a:cubicBezTo>
                    <a:pt x="633" y="791"/>
                    <a:pt x="634" y="790"/>
                    <a:pt x="635" y="789"/>
                  </a:cubicBezTo>
                  <a:cubicBezTo>
                    <a:pt x="636" y="788"/>
                    <a:pt x="636" y="788"/>
                    <a:pt x="636" y="788"/>
                  </a:cubicBezTo>
                  <a:cubicBezTo>
                    <a:pt x="636" y="787"/>
                    <a:pt x="636" y="787"/>
                    <a:pt x="636" y="787"/>
                  </a:cubicBezTo>
                  <a:cubicBezTo>
                    <a:pt x="638" y="786"/>
                    <a:pt x="638" y="786"/>
                    <a:pt x="638" y="786"/>
                  </a:cubicBezTo>
                  <a:cubicBezTo>
                    <a:pt x="638" y="786"/>
                    <a:pt x="638" y="786"/>
                    <a:pt x="638" y="786"/>
                  </a:cubicBezTo>
                  <a:cubicBezTo>
                    <a:pt x="639" y="786"/>
                    <a:pt x="639" y="785"/>
                    <a:pt x="640" y="785"/>
                  </a:cubicBezTo>
                  <a:cubicBezTo>
                    <a:pt x="640" y="785"/>
                    <a:pt x="640" y="785"/>
                    <a:pt x="640" y="785"/>
                  </a:cubicBezTo>
                  <a:cubicBezTo>
                    <a:pt x="641" y="785"/>
                    <a:pt x="641" y="785"/>
                    <a:pt x="642" y="785"/>
                  </a:cubicBezTo>
                  <a:cubicBezTo>
                    <a:pt x="642" y="785"/>
                    <a:pt x="643" y="785"/>
                    <a:pt x="644" y="785"/>
                  </a:cubicBezTo>
                  <a:cubicBezTo>
                    <a:pt x="644" y="785"/>
                    <a:pt x="644" y="785"/>
                    <a:pt x="645" y="785"/>
                  </a:cubicBezTo>
                  <a:cubicBezTo>
                    <a:pt x="645" y="785"/>
                    <a:pt x="646" y="785"/>
                    <a:pt x="646" y="785"/>
                  </a:cubicBezTo>
                  <a:cubicBezTo>
                    <a:pt x="647" y="784"/>
                    <a:pt x="647" y="784"/>
                    <a:pt x="647" y="784"/>
                  </a:cubicBezTo>
                  <a:cubicBezTo>
                    <a:pt x="648" y="785"/>
                    <a:pt x="648" y="785"/>
                    <a:pt x="648" y="785"/>
                  </a:cubicBezTo>
                  <a:cubicBezTo>
                    <a:pt x="648" y="785"/>
                    <a:pt x="648" y="785"/>
                    <a:pt x="648" y="785"/>
                  </a:cubicBezTo>
                  <a:cubicBezTo>
                    <a:pt x="648" y="784"/>
                    <a:pt x="648" y="784"/>
                    <a:pt x="648" y="784"/>
                  </a:cubicBezTo>
                  <a:cubicBezTo>
                    <a:pt x="648" y="784"/>
                    <a:pt x="648" y="784"/>
                    <a:pt x="648" y="784"/>
                  </a:cubicBezTo>
                  <a:cubicBezTo>
                    <a:pt x="647" y="784"/>
                    <a:pt x="647" y="784"/>
                    <a:pt x="646" y="784"/>
                  </a:cubicBezTo>
                  <a:cubicBezTo>
                    <a:pt x="645" y="783"/>
                    <a:pt x="645" y="783"/>
                    <a:pt x="645" y="783"/>
                  </a:cubicBezTo>
                  <a:cubicBezTo>
                    <a:pt x="645" y="783"/>
                    <a:pt x="644" y="783"/>
                    <a:pt x="644" y="783"/>
                  </a:cubicBezTo>
                  <a:cubicBezTo>
                    <a:pt x="643" y="783"/>
                    <a:pt x="643" y="783"/>
                    <a:pt x="642" y="783"/>
                  </a:cubicBezTo>
                  <a:cubicBezTo>
                    <a:pt x="642" y="783"/>
                    <a:pt x="642" y="783"/>
                    <a:pt x="642" y="783"/>
                  </a:cubicBezTo>
                  <a:cubicBezTo>
                    <a:pt x="641" y="782"/>
                    <a:pt x="641" y="782"/>
                    <a:pt x="641" y="782"/>
                  </a:cubicBezTo>
                  <a:cubicBezTo>
                    <a:pt x="640" y="781"/>
                    <a:pt x="640" y="781"/>
                    <a:pt x="640" y="781"/>
                  </a:cubicBezTo>
                  <a:cubicBezTo>
                    <a:pt x="635" y="784"/>
                    <a:pt x="635" y="784"/>
                    <a:pt x="635" y="784"/>
                  </a:cubicBezTo>
                  <a:cubicBezTo>
                    <a:pt x="638" y="781"/>
                    <a:pt x="638" y="781"/>
                    <a:pt x="638" y="781"/>
                  </a:cubicBezTo>
                  <a:cubicBezTo>
                    <a:pt x="634" y="783"/>
                    <a:pt x="634" y="783"/>
                    <a:pt x="634" y="783"/>
                  </a:cubicBezTo>
                  <a:cubicBezTo>
                    <a:pt x="639" y="779"/>
                    <a:pt x="639" y="779"/>
                    <a:pt x="639" y="779"/>
                  </a:cubicBezTo>
                  <a:cubicBezTo>
                    <a:pt x="638" y="778"/>
                    <a:pt x="638" y="778"/>
                    <a:pt x="638" y="778"/>
                  </a:cubicBezTo>
                  <a:cubicBezTo>
                    <a:pt x="639" y="776"/>
                    <a:pt x="639" y="776"/>
                    <a:pt x="639" y="776"/>
                  </a:cubicBezTo>
                  <a:cubicBezTo>
                    <a:pt x="639" y="776"/>
                    <a:pt x="639" y="776"/>
                    <a:pt x="640" y="775"/>
                  </a:cubicBezTo>
                  <a:cubicBezTo>
                    <a:pt x="640" y="775"/>
                    <a:pt x="640" y="775"/>
                    <a:pt x="640" y="775"/>
                  </a:cubicBezTo>
                  <a:cubicBezTo>
                    <a:pt x="640" y="775"/>
                    <a:pt x="640" y="775"/>
                    <a:pt x="640" y="775"/>
                  </a:cubicBezTo>
                  <a:cubicBezTo>
                    <a:pt x="639" y="774"/>
                    <a:pt x="639" y="774"/>
                    <a:pt x="639" y="774"/>
                  </a:cubicBezTo>
                  <a:cubicBezTo>
                    <a:pt x="638" y="774"/>
                    <a:pt x="638" y="774"/>
                    <a:pt x="637" y="774"/>
                  </a:cubicBezTo>
                  <a:cubicBezTo>
                    <a:pt x="635" y="773"/>
                    <a:pt x="635" y="773"/>
                    <a:pt x="635" y="773"/>
                  </a:cubicBezTo>
                  <a:cubicBezTo>
                    <a:pt x="634" y="773"/>
                    <a:pt x="634" y="773"/>
                    <a:pt x="634" y="773"/>
                  </a:cubicBezTo>
                  <a:cubicBezTo>
                    <a:pt x="633" y="770"/>
                    <a:pt x="633" y="770"/>
                    <a:pt x="633" y="770"/>
                  </a:cubicBezTo>
                  <a:cubicBezTo>
                    <a:pt x="635" y="769"/>
                    <a:pt x="635" y="769"/>
                    <a:pt x="635" y="769"/>
                  </a:cubicBezTo>
                  <a:cubicBezTo>
                    <a:pt x="635" y="768"/>
                    <a:pt x="635" y="768"/>
                    <a:pt x="635" y="768"/>
                  </a:cubicBezTo>
                  <a:cubicBezTo>
                    <a:pt x="636" y="768"/>
                    <a:pt x="636" y="768"/>
                    <a:pt x="637" y="768"/>
                  </a:cubicBezTo>
                  <a:cubicBezTo>
                    <a:pt x="637" y="768"/>
                    <a:pt x="637" y="768"/>
                    <a:pt x="637" y="768"/>
                  </a:cubicBezTo>
                  <a:cubicBezTo>
                    <a:pt x="639" y="767"/>
                    <a:pt x="639" y="767"/>
                    <a:pt x="639" y="767"/>
                  </a:cubicBezTo>
                  <a:cubicBezTo>
                    <a:pt x="633" y="763"/>
                    <a:pt x="633" y="763"/>
                    <a:pt x="633" y="763"/>
                  </a:cubicBezTo>
                  <a:cubicBezTo>
                    <a:pt x="636" y="762"/>
                    <a:pt x="636" y="762"/>
                    <a:pt x="636" y="762"/>
                  </a:cubicBezTo>
                  <a:cubicBezTo>
                    <a:pt x="637" y="761"/>
                    <a:pt x="637" y="761"/>
                    <a:pt x="637" y="761"/>
                  </a:cubicBezTo>
                  <a:cubicBezTo>
                    <a:pt x="638" y="761"/>
                    <a:pt x="638" y="761"/>
                    <a:pt x="639" y="760"/>
                  </a:cubicBezTo>
                  <a:cubicBezTo>
                    <a:pt x="639" y="760"/>
                    <a:pt x="639" y="760"/>
                    <a:pt x="639" y="760"/>
                  </a:cubicBezTo>
                  <a:cubicBezTo>
                    <a:pt x="641" y="759"/>
                    <a:pt x="642" y="758"/>
                    <a:pt x="644" y="758"/>
                  </a:cubicBezTo>
                  <a:cubicBezTo>
                    <a:pt x="644" y="758"/>
                    <a:pt x="645" y="758"/>
                    <a:pt x="645" y="758"/>
                  </a:cubicBezTo>
                  <a:cubicBezTo>
                    <a:pt x="645" y="758"/>
                    <a:pt x="646" y="758"/>
                    <a:pt x="646" y="758"/>
                  </a:cubicBezTo>
                  <a:cubicBezTo>
                    <a:pt x="646" y="757"/>
                    <a:pt x="646" y="757"/>
                    <a:pt x="646" y="757"/>
                  </a:cubicBezTo>
                  <a:cubicBezTo>
                    <a:pt x="647" y="758"/>
                    <a:pt x="647" y="758"/>
                    <a:pt x="647" y="758"/>
                  </a:cubicBezTo>
                  <a:cubicBezTo>
                    <a:pt x="650" y="759"/>
                    <a:pt x="651" y="759"/>
                    <a:pt x="653" y="759"/>
                  </a:cubicBezTo>
                  <a:cubicBezTo>
                    <a:pt x="653" y="759"/>
                    <a:pt x="653" y="759"/>
                    <a:pt x="653" y="759"/>
                  </a:cubicBezTo>
                  <a:cubicBezTo>
                    <a:pt x="654" y="759"/>
                    <a:pt x="654" y="759"/>
                    <a:pt x="654" y="759"/>
                  </a:cubicBezTo>
                  <a:cubicBezTo>
                    <a:pt x="659" y="759"/>
                    <a:pt x="659" y="759"/>
                    <a:pt x="659" y="759"/>
                  </a:cubicBezTo>
                  <a:cubicBezTo>
                    <a:pt x="659" y="756"/>
                    <a:pt x="659" y="756"/>
                    <a:pt x="659" y="756"/>
                  </a:cubicBezTo>
                  <a:cubicBezTo>
                    <a:pt x="660" y="759"/>
                    <a:pt x="660" y="759"/>
                    <a:pt x="660" y="759"/>
                  </a:cubicBezTo>
                  <a:cubicBezTo>
                    <a:pt x="660" y="759"/>
                    <a:pt x="660" y="759"/>
                    <a:pt x="660" y="759"/>
                  </a:cubicBezTo>
                  <a:cubicBezTo>
                    <a:pt x="661" y="759"/>
                    <a:pt x="661" y="759"/>
                    <a:pt x="662" y="759"/>
                  </a:cubicBezTo>
                  <a:cubicBezTo>
                    <a:pt x="663" y="759"/>
                    <a:pt x="663" y="759"/>
                    <a:pt x="663" y="759"/>
                  </a:cubicBezTo>
                  <a:cubicBezTo>
                    <a:pt x="663" y="759"/>
                    <a:pt x="663" y="759"/>
                    <a:pt x="663" y="759"/>
                  </a:cubicBezTo>
                  <a:cubicBezTo>
                    <a:pt x="663" y="759"/>
                    <a:pt x="664" y="759"/>
                    <a:pt x="664" y="759"/>
                  </a:cubicBezTo>
                  <a:cubicBezTo>
                    <a:pt x="665" y="758"/>
                    <a:pt x="665" y="758"/>
                    <a:pt x="665" y="758"/>
                  </a:cubicBezTo>
                  <a:cubicBezTo>
                    <a:pt x="666" y="758"/>
                    <a:pt x="666" y="758"/>
                    <a:pt x="666" y="758"/>
                  </a:cubicBezTo>
                  <a:cubicBezTo>
                    <a:pt x="667" y="757"/>
                    <a:pt x="667" y="757"/>
                    <a:pt x="667" y="757"/>
                  </a:cubicBezTo>
                  <a:cubicBezTo>
                    <a:pt x="668" y="758"/>
                    <a:pt x="668" y="758"/>
                    <a:pt x="668" y="758"/>
                  </a:cubicBezTo>
                  <a:cubicBezTo>
                    <a:pt x="668" y="758"/>
                    <a:pt x="668" y="758"/>
                    <a:pt x="668" y="758"/>
                  </a:cubicBezTo>
                  <a:cubicBezTo>
                    <a:pt x="669" y="757"/>
                    <a:pt x="669" y="757"/>
                    <a:pt x="670" y="757"/>
                  </a:cubicBezTo>
                  <a:cubicBezTo>
                    <a:pt x="670" y="757"/>
                    <a:pt x="670" y="757"/>
                    <a:pt x="670" y="757"/>
                  </a:cubicBezTo>
                  <a:cubicBezTo>
                    <a:pt x="671" y="757"/>
                    <a:pt x="671" y="757"/>
                    <a:pt x="671" y="757"/>
                  </a:cubicBezTo>
                  <a:cubicBezTo>
                    <a:pt x="671" y="757"/>
                    <a:pt x="671" y="757"/>
                    <a:pt x="671" y="757"/>
                  </a:cubicBezTo>
                  <a:cubicBezTo>
                    <a:pt x="672" y="756"/>
                    <a:pt x="672" y="756"/>
                    <a:pt x="672" y="756"/>
                  </a:cubicBezTo>
                  <a:cubicBezTo>
                    <a:pt x="668" y="756"/>
                    <a:pt x="668" y="756"/>
                    <a:pt x="668" y="756"/>
                  </a:cubicBezTo>
                  <a:cubicBezTo>
                    <a:pt x="679" y="755"/>
                    <a:pt x="679" y="755"/>
                    <a:pt x="679" y="755"/>
                  </a:cubicBezTo>
                  <a:cubicBezTo>
                    <a:pt x="679" y="750"/>
                    <a:pt x="679" y="750"/>
                    <a:pt x="679" y="750"/>
                  </a:cubicBezTo>
                  <a:cubicBezTo>
                    <a:pt x="680" y="754"/>
                    <a:pt x="680" y="754"/>
                    <a:pt x="680" y="754"/>
                  </a:cubicBezTo>
                  <a:cubicBezTo>
                    <a:pt x="689" y="753"/>
                    <a:pt x="689" y="753"/>
                    <a:pt x="689" y="753"/>
                  </a:cubicBezTo>
                  <a:cubicBezTo>
                    <a:pt x="689" y="753"/>
                    <a:pt x="689" y="753"/>
                    <a:pt x="689" y="753"/>
                  </a:cubicBezTo>
                  <a:cubicBezTo>
                    <a:pt x="691" y="752"/>
                    <a:pt x="691" y="752"/>
                    <a:pt x="691" y="752"/>
                  </a:cubicBezTo>
                  <a:cubicBezTo>
                    <a:pt x="691" y="752"/>
                    <a:pt x="691" y="752"/>
                    <a:pt x="691" y="752"/>
                  </a:cubicBezTo>
                  <a:cubicBezTo>
                    <a:pt x="693" y="752"/>
                    <a:pt x="693" y="752"/>
                    <a:pt x="693" y="752"/>
                  </a:cubicBezTo>
                  <a:cubicBezTo>
                    <a:pt x="694" y="751"/>
                    <a:pt x="694" y="751"/>
                    <a:pt x="694" y="751"/>
                  </a:cubicBezTo>
                  <a:cubicBezTo>
                    <a:pt x="695" y="751"/>
                    <a:pt x="695" y="751"/>
                    <a:pt x="695" y="751"/>
                  </a:cubicBezTo>
                  <a:cubicBezTo>
                    <a:pt x="696" y="751"/>
                    <a:pt x="696" y="751"/>
                    <a:pt x="696" y="751"/>
                  </a:cubicBezTo>
                  <a:cubicBezTo>
                    <a:pt x="696" y="751"/>
                    <a:pt x="696" y="751"/>
                    <a:pt x="696" y="751"/>
                  </a:cubicBezTo>
                  <a:cubicBezTo>
                    <a:pt x="698" y="750"/>
                    <a:pt x="698" y="750"/>
                    <a:pt x="698" y="750"/>
                  </a:cubicBezTo>
                  <a:cubicBezTo>
                    <a:pt x="698" y="751"/>
                    <a:pt x="698" y="751"/>
                    <a:pt x="698" y="751"/>
                  </a:cubicBezTo>
                  <a:cubicBezTo>
                    <a:pt x="701" y="750"/>
                    <a:pt x="701" y="750"/>
                    <a:pt x="701" y="750"/>
                  </a:cubicBezTo>
                  <a:cubicBezTo>
                    <a:pt x="701" y="750"/>
                    <a:pt x="701" y="750"/>
                    <a:pt x="701" y="750"/>
                  </a:cubicBezTo>
                  <a:cubicBezTo>
                    <a:pt x="702" y="750"/>
                    <a:pt x="702" y="750"/>
                    <a:pt x="702" y="750"/>
                  </a:cubicBezTo>
                  <a:cubicBezTo>
                    <a:pt x="703" y="750"/>
                    <a:pt x="703" y="750"/>
                    <a:pt x="704" y="750"/>
                  </a:cubicBezTo>
                  <a:cubicBezTo>
                    <a:pt x="704" y="750"/>
                    <a:pt x="704" y="750"/>
                    <a:pt x="704" y="750"/>
                  </a:cubicBezTo>
                  <a:cubicBezTo>
                    <a:pt x="704" y="750"/>
                    <a:pt x="705" y="750"/>
                    <a:pt x="705" y="750"/>
                  </a:cubicBezTo>
                  <a:cubicBezTo>
                    <a:pt x="705" y="749"/>
                    <a:pt x="706" y="749"/>
                    <a:pt x="706" y="749"/>
                  </a:cubicBezTo>
                  <a:cubicBezTo>
                    <a:pt x="706" y="749"/>
                    <a:pt x="707" y="749"/>
                    <a:pt x="707" y="749"/>
                  </a:cubicBezTo>
                  <a:cubicBezTo>
                    <a:pt x="707" y="749"/>
                    <a:pt x="708" y="749"/>
                    <a:pt x="708" y="750"/>
                  </a:cubicBezTo>
                  <a:cubicBezTo>
                    <a:pt x="709" y="750"/>
                    <a:pt x="709" y="750"/>
                    <a:pt x="709" y="750"/>
                  </a:cubicBezTo>
                  <a:cubicBezTo>
                    <a:pt x="709" y="750"/>
                    <a:pt x="709" y="750"/>
                    <a:pt x="709" y="750"/>
                  </a:cubicBezTo>
                  <a:cubicBezTo>
                    <a:pt x="710" y="750"/>
                    <a:pt x="710" y="750"/>
                    <a:pt x="710" y="750"/>
                  </a:cubicBezTo>
                  <a:cubicBezTo>
                    <a:pt x="711" y="749"/>
                    <a:pt x="712" y="748"/>
                    <a:pt x="715" y="749"/>
                  </a:cubicBezTo>
                  <a:cubicBezTo>
                    <a:pt x="715" y="749"/>
                    <a:pt x="715" y="748"/>
                    <a:pt x="715" y="748"/>
                  </a:cubicBezTo>
                  <a:cubicBezTo>
                    <a:pt x="715" y="748"/>
                    <a:pt x="715" y="748"/>
                    <a:pt x="715" y="748"/>
                  </a:cubicBezTo>
                  <a:cubicBezTo>
                    <a:pt x="716" y="747"/>
                    <a:pt x="716" y="747"/>
                    <a:pt x="716" y="747"/>
                  </a:cubicBezTo>
                  <a:cubicBezTo>
                    <a:pt x="716" y="747"/>
                    <a:pt x="716" y="747"/>
                    <a:pt x="716" y="747"/>
                  </a:cubicBezTo>
                  <a:cubicBezTo>
                    <a:pt x="717" y="746"/>
                    <a:pt x="717" y="746"/>
                    <a:pt x="717" y="746"/>
                  </a:cubicBezTo>
                  <a:cubicBezTo>
                    <a:pt x="711" y="745"/>
                    <a:pt x="711" y="745"/>
                    <a:pt x="711" y="745"/>
                  </a:cubicBezTo>
                  <a:cubicBezTo>
                    <a:pt x="724" y="743"/>
                    <a:pt x="724" y="743"/>
                    <a:pt x="724" y="743"/>
                  </a:cubicBezTo>
                  <a:cubicBezTo>
                    <a:pt x="725" y="743"/>
                    <a:pt x="725" y="743"/>
                    <a:pt x="725" y="743"/>
                  </a:cubicBezTo>
                  <a:cubicBezTo>
                    <a:pt x="728" y="742"/>
                    <a:pt x="728" y="742"/>
                    <a:pt x="728" y="742"/>
                  </a:cubicBezTo>
                  <a:cubicBezTo>
                    <a:pt x="730" y="741"/>
                    <a:pt x="730" y="741"/>
                    <a:pt x="730" y="741"/>
                  </a:cubicBezTo>
                  <a:cubicBezTo>
                    <a:pt x="730" y="741"/>
                    <a:pt x="731" y="741"/>
                    <a:pt x="731" y="741"/>
                  </a:cubicBezTo>
                  <a:cubicBezTo>
                    <a:pt x="732" y="741"/>
                    <a:pt x="732" y="741"/>
                    <a:pt x="732" y="741"/>
                  </a:cubicBezTo>
                  <a:cubicBezTo>
                    <a:pt x="733" y="741"/>
                    <a:pt x="733" y="741"/>
                    <a:pt x="734" y="741"/>
                  </a:cubicBezTo>
                  <a:cubicBezTo>
                    <a:pt x="734" y="741"/>
                    <a:pt x="735" y="742"/>
                    <a:pt x="735" y="742"/>
                  </a:cubicBezTo>
                  <a:cubicBezTo>
                    <a:pt x="737" y="742"/>
                    <a:pt x="737" y="742"/>
                    <a:pt x="737" y="742"/>
                  </a:cubicBezTo>
                  <a:cubicBezTo>
                    <a:pt x="738" y="742"/>
                    <a:pt x="739" y="741"/>
                    <a:pt x="740" y="741"/>
                  </a:cubicBezTo>
                  <a:cubicBezTo>
                    <a:pt x="741" y="741"/>
                    <a:pt x="741" y="741"/>
                    <a:pt x="741" y="741"/>
                  </a:cubicBezTo>
                  <a:cubicBezTo>
                    <a:pt x="742" y="740"/>
                    <a:pt x="744" y="740"/>
                    <a:pt x="745" y="740"/>
                  </a:cubicBezTo>
                  <a:cubicBezTo>
                    <a:pt x="743" y="739"/>
                    <a:pt x="743" y="739"/>
                    <a:pt x="743" y="739"/>
                  </a:cubicBezTo>
                  <a:cubicBezTo>
                    <a:pt x="750" y="739"/>
                    <a:pt x="750" y="739"/>
                    <a:pt x="750" y="739"/>
                  </a:cubicBezTo>
                  <a:cubicBezTo>
                    <a:pt x="752" y="738"/>
                    <a:pt x="752" y="738"/>
                    <a:pt x="752" y="738"/>
                  </a:cubicBezTo>
                  <a:cubicBezTo>
                    <a:pt x="753" y="738"/>
                    <a:pt x="754" y="738"/>
                    <a:pt x="755" y="737"/>
                  </a:cubicBezTo>
                  <a:cubicBezTo>
                    <a:pt x="756" y="737"/>
                    <a:pt x="756" y="737"/>
                    <a:pt x="756" y="737"/>
                  </a:cubicBezTo>
                  <a:cubicBezTo>
                    <a:pt x="758" y="736"/>
                    <a:pt x="758" y="736"/>
                    <a:pt x="758" y="736"/>
                  </a:cubicBezTo>
                  <a:cubicBezTo>
                    <a:pt x="759" y="737"/>
                    <a:pt x="759" y="737"/>
                    <a:pt x="759" y="737"/>
                  </a:cubicBezTo>
                  <a:cubicBezTo>
                    <a:pt x="766" y="735"/>
                    <a:pt x="766" y="735"/>
                    <a:pt x="766" y="735"/>
                  </a:cubicBezTo>
                  <a:cubicBezTo>
                    <a:pt x="766" y="735"/>
                    <a:pt x="766" y="735"/>
                    <a:pt x="766" y="735"/>
                  </a:cubicBezTo>
                  <a:cubicBezTo>
                    <a:pt x="767" y="734"/>
                    <a:pt x="767" y="734"/>
                    <a:pt x="767" y="734"/>
                  </a:cubicBezTo>
                  <a:cubicBezTo>
                    <a:pt x="768" y="734"/>
                    <a:pt x="768" y="734"/>
                    <a:pt x="769" y="734"/>
                  </a:cubicBezTo>
                  <a:cubicBezTo>
                    <a:pt x="770" y="733"/>
                    <a:pt x="770" y="733"/>
                    <a:pt x="771" y="734"/>
                  </a:cubicBezTo>
                  <a:cubicBezTo>
                    <a:pt x="772" y="734"/>
                    <a:pt x="772" y="734"/>
                    <a:pt x="772" y="734"/>
                  </a:cubicBezTo>
                  <a:cubicBezTo>
                    <a:pt x="772" y="734"/>
                    <a:pt x="772" y="734"/>
                    <a:pt x="772" y="734"/>
                  </a:cubicBezTo>
                  <a:cubicBezTo>
                    <a:pt x="772" y="734"/>
                    <a:pt x="773" y="734"/>
                    <a:pt x="773" y="734"/>
                  </a:cubicBezTo>
                  <a:cubicBezTo>
                    <a:pt x="775" y="733"/>
                    <a:pt x="775" y="733"/>
                    <a:pt x="775" y="733"/>
                  </a:cubicBezTo>
                  <a:cubicBezTo>
                    <a:pt x="775" y="733"/>
                    <a:pt x="775" y="733"/>
                    <a:pt x="775" y="733"/>
                  </a:cubicBezTo>
                  <a:cubicBezTo>
                    <a:pt x="776" y="732"/>
                    <a:pt x="776" y="732"/>
                    <a:pt x="776" y="732"/>
                  </a:cubicBezTo>
                  <a:cubicBezTo>
                    <a:pt x="776" y="732"/>
                    <a:pt x="777" y="731"/>
                    <a:pt x="778" y="731"/>
                  </a:cubicBezTo>
                  <a:cubicBezTo>
                    <a:pt x="779" y="730"/>
                    <a:pt x="781" y="729"/>
                    <a:pt x="781" y="729"/>
                  </a:cubicBezTo>
                  <a:cubicBezTo>
                    <a:pt x="782" y="728"/>
                    <a:pt x="782" y="727"/>
                    <a:pt x="782" y="726"/>
                  </a:cubicBezTo>
                  <a:cubicBezTo>
                    <a:pt x="783" y="725"/>
                    <a:pt x="783" y="725"/>
                    <a:pt x="783" y="725"/>
                  </a:cubicBezTo>
                  <a:cubicBezTo>
                    <a:pt x="784" y="724"/>
                    <a:pt x="785" y="724"/>
                    <a:pt x="786" y="724"/>
                  </a:cubicBezTo>
                  <a:cubicBezTo>
                    <a:pt x="786" y="724"/>
                    <a:pt x="786" y="724"/>
                    <a:pt x="787" y="724"/>
                  </a:cubicBezTo>
                  <a:cubicBezTo>
                    <a:pt x="786" y="723"/>
                    <a:pt x="786" y="723"/>
                    <a:pt x="786" y="723"/>
                  </a:cubicBezTo>
                  <a:cubicBezTo>
                    <a:pt x="791" y="724"/>
                    <a:pt x="791" y="724"/>
                    <a:pt x="791" y="724"/>
                  </a:cubicBezTo>
                  <a:cubicBezTo>
                    <a:pt x="792" y="724"/>
                    <a:pt x="792" y="724"/>
                    <a:pt x="792" y="724"/>
                  </a:cubicBezTo>
                  <a:cubicBezTo>
                    <a:pt x="792" y="723"/>
                    <a:pt x="792" y="723"/>
                    <a:pt x="792" y="723"/>
                  </a:cubicBezTo>
                  <a:cubicBezTo>
                    <a:pt x="795" y="724"/>
                    <a:pt x="795" y="724"/>
                    <a:pt x="795" y="724"/>
                  </a:cubicBezTo>
                  <a:cubicBezTo>
                    <a:pt x="795" y="724"/>
                    <a:pt x="795" y="724"/>
                    <a:pt x="795" y="724"/>
                  </a:cubicBezTo>
                  <a:cubicBezTo>
                    <a:pt x="795" y="724"/>
                    <a:pt x="795" y="724"/>
                    <a:pt x="795" y="724"/>
                  </a:cubicBezTo>
                  <a:cubicBezTo>
                    <a:pt x="795" y="724"/>
                    <a:pt x="795" y="724"/>
                    <a:pt x="796" y="724"/>
                  </a:cubicBezTo>
                  <a:cubicBezTo>
                    <a:pt x="803" y="724"/>
                    <a:pt x="803" y="724"/>
                    <a:pt x="803" y="724"/>
                  </a:cubicBezTo>
                  <a:cubicBezTo>
                    <a:pt x="804" y="724"/>
                    <a:pt x="805" y="724"/>
                    <a:pt x="805" y="725"/>
                  </a:cubicBezTo>
                  <a:cubicBezTo>
                    <a:pt x="807" y="726"/>
                    <a:pt x="807" y="726"/>
                    <a:pt x="807" y="726"/>
                  </a:cubicBezTo>
                  <a:cubicBezTo>
                    <a:pt x="807" y="726"/>
                    <a:pt x="808" y="727"/>
                    <a:pt x="809" y="728"/>
                  </a:cubicBezTo>
                  <a:cubicBezTo>
                    <a:pt x="810" y="728"/>
                    <a:pt x="810" y="728"/>
                    <a:pt x="810" y="728"/>
                  </a:cubicBezTo>
                  <a:cubicBezTo>
                    <a:pt x="810" y="728"/>
                    <a:pt x="810" y="728"/>
                    <a:pt x="810" y="728"/>
                  </a:cubicBezTo>
                  <a:cubicBezTo>
                    <a:pt x="811" y="728"/>
                    <a:pt x="812" y="729"/>
                    <a:pt x="813" y="729"/>
                  </a:cubicBezTo>
                  <a:cubicBezTo>
                    <a:pt x="813" y="729"/>
                    <a:pt x="813" y="729"/>
                    <a:pt x="813" y="729"/>
                  </a:cubicBezTo>
                  <a:cubicBezTo>
                    <a:pt x="814" y="728"/>
                    <a:pt x="817" y="726"/>
                    <a:pt x="819" y="725"/>
                  </a:cubicBezTo>
                  <a:cubicBezTo>
                    <a:pt x="819" y="725"/>
                    <a:pt x="819" y="725"/>
                    <a:pt x="819" y="725"/>
                  </a:cubicBezTo>
                  <a:cubicBezTo>
                    <a:pt x="824" y="725"/>
                    <a:pt x="824" y="725"/>
                    <a:pt x="824" y="725"/>
                  </a:cubicBezTo>
                  <a:cubicBezTo>
                    <a:pt x="824" y="725"/>
                    <a:pt x="824" y="725"/>
                    <a:pt x="824" y="725"/>
                  </a:cubicBezTo>
                  <a:cubicBezTo>
                    <a:pt x="826" y="725"/>
                    <a:pt x="827" y="726"/>
                    <a:pt x="827" y="727"/>
                  </a:cubicBezTo>
                  <a:cubicBezTo>
                    <a:pt x="829" y="730"/>
                    <a:pt x="830" y="733"/>
                    <a:pt x="831" y="735"/>
                  </a:cubicBezTo>
                  <a:cubicBezTo>
                    <a:pt x="835" y="743"/>
                    <a:pt x="835" y="743"/>
                    <a:pt x="835" y="743"/>
                  </a:cubicBezTo>
                  <a:cubicBezTo>
                    <a:pt x="835" y="744"/>
                    <a:pt x="835" y="744"/>
                    <a:pt x="835" y="745"/>
                  </a:cubicBezTo>
                  <a:cubicBezTo>
                    <a:pt x="835" y="746"/>
                    <a:pt x="835" y="746"/>
                    <a:pt x="835" y="746"/>
                  </a:cubicBezTo>
                  <a:cubicBezTo>
                    <a:pt x="834" y="747"/>
                    <a:pt x="834" y="747"/>
                    <a:pt x="834" y="747"/>
                  </a:cubicBezTo>
                  <a:cubicBezTo>
                    <a:pt x="834" y="748"/>
                    <a:pt x="834" y="748"/>
                    <a:pt x="834" y="748"/>
                  </a:cubicBezTo>
                  <a:cubicBezTo>
                    <a:pt x="834" y="748"/>
                    <a:pt x="834" y="749"/>
                    <a:pt x="834" y="749"/>
                  </a:cubicBezTo>
                  <a:cubicBezTo>
                    <a:pt x="834" y="749"/>
                    <a:pt x="834" y="749"/>
                    <a:pt x="834" y="749"/>
                  </a:cubicBezTo>
                  <a:cubicBezTo>
                    <a:pt x="834" y="750"/>
                    <a:pt x="834" y="750"/>
                    <a:pt x="834" y="750"/>
                  </a:cubicBezTo>
                  <a:cubicBezTo>
                    <a:pt x="835" y="750"/>
                    <a:pt x="835" y="750"/>
                    <a:pt x="835" y="750"/>
                  </a:cubicBezTo>
                  <a:cubicBezTo>
                    <a:pt x="835" y="751"/>
                    <a:pt x="835" y="751"/>
                    <a:pt x="835" y="751"/>
                  </a:cubicBezTo>
                  <a:cubicBezTo>
                    <a:pt x="835" y="753"/>
                    <a:pt x="834" y="754"/>
                    <a:pt x="833" y="755"/>
                  </a:cubicBezTo>
                  <a:cubicBezTo>
                    <a:pt x="833" y="755"/>
                    <a:pt x="832" y="755"/>
                    <a:pt x="832" y="755"/>
                  </a:cubicBezTo>
                  <a:cubicBezTo>
                    <a:pt x="833" y="756"/>
                    <a:pt x="833" y="756"/>
                    <a:pt x="833" y="756"/>
                  </a:cubicBezTo>
                  <a:cubicBezTo>
                    <a:pt x="834" y="756"/>
                    <a:pt x="834" y="756"/>
                    <a:pt x="834" y="756"/>
                  </a:cubicBezTo>
                  <a:cubicBezTo>
                    <a:pt x="835" y="756"/>
                    <a:pt x="835" y="756"/>
                    <a:pt x="835" y="756"/>
                  </a:cubicBezTo>
                  <a:cubicBezTo>
                    <a:pt x="836" y="756"/>
                    <a:pt x="837" y="756"/>
                    <a:pt x="838" y="756"/>
                  </a:cubicBezTo>
                  <a:cubicBezTo>
                    <a:pt x="842" y="756"/>
                    <a:pt x="842" y="756"/>
                    <a:pt x="842" y="756"/>
                  </a:cubicBezTo>
                  <a:cubicBezTo>
                    <a:pt x="846" y="755"/>
                    <a:pt x="846" y="755"/>
                    <a:pt x="846" y="755"/>
                  </a:cubicBezTo>
                  <a:cubicBezTo>
                    <a:pt x="847" y="755"/>
                    <a:pt x="847" y="754"/>
                    <a:pt x="847" y="754"/>
                  </a:cubicBezTo>
                  <a:cubicBezTo>
                    <a:pt x="847" y="754"/>
                    <a:pt x="846" y="753"/>
                    <a:pt x="846" y="753"/>
                  </a:cubicBezTo>
                  <a:cubicBezTo>
                    <a:pt x="846" y="750"/>
                    <a:pt x="846" y="750"/>
                    <a:pt x="846" y="750"/>
                  </a:cubicBezTo>
                  <a:cubicBezTo>
                    <a:pt x="850" y="749"/>
                    <a:pt x="850" y="749"/>
                    <a:pt x="850" y="749"/>
                  </a:cubicBezTo>
                  <a:cubicBezTo>
                    <a:pt x="852" y="750"/>
                    <a:pt x="852" y="750"/>
                    <a:pt x="852" y="750"/>
                  </a:cubicBezTo>
                  <a:cubicBezTo>
                    <a:pt x="852" y="750"/>
                    <a:pt x="852" y="750"/>
                    <a:pt x="852" y="750"/>
                  </a:cubicBezTo>
                  <a:cubicBezTo>
                    <a:pt x="856" y="754"/>
                    <a:pt x="856" y="754"/>
                    <a:pt x="856" y="754"/>
                  </a:cubicBezTo>
                  <a:cubicBezTo>
                    <a:pt x="856" y="755"/>
                    <a:pt x="857" y="756"/>
                    <a:pt x="857" y="757"/>
                  </a:cubicBezTo>
                  <a:cubicBezTo>
                    <a:pt x="857" y="757"/>
                    <a:pt x="857" y="757"/>
                    <a:pt x="857" y="756"/>
                  </a:cubicBezTo>
                  <a:cubicBezTo>
                    <a:pt x="858" y="756"/>
                    <a:pt x="858" y="756"/>
                    <a:pt x="858" y="756"/>
                  </a:cubicBezTo>
                  <a:cubicBezTo>
                    <a:pt x="859" y="756"/>
                    <a:pt x="859" y="756"/>
                    <a:pt x="860" y="756"/>
                  </a:cubicBezTo>
                  <a:cubicBezTo>
                    <a:pt x="861" y="756"/>
                    <a:pt x="861" y="756"/>
                    <a:pt x="861" y="756"/>
                  </a:cubicBezTo>
                  <a:cubicBezTo>
                    <a:pt x="862" y="757"/>
                    <a:pt x="862" y="757"/>
                    <a:pt x="862" y="757"/>
                  </a:cubicBezTo>
                  <a:cubicBezTo>
                    <a:pt x="862" y="757"/>
                    <a:pt x="863" y="757"/>
                    <a:pt x="864" y="758"/>
                  </a:cubicBezTo>
                  <a:cubicBezTo>
                    <a:pt x="864" y="758"/>
                    <a:pt x="864" y="758"/>
                    <a:pt x="864" y="758"/>
                  </a:cubicBezTo>
                  <a:cubicBezTo>
                    <a:pt x="866" y="759"/>
                    <a:pt x="868" y="760"/>
                    <a:pt x="869" y="760"/>
                  </a:cubicBezTo>
                  <a:cubicBezTo>
                    <a:pt x="869" y="760"/>
                    <a:pt x="869" y="760"/>
                    <a:pt x="869" y="760"/>
                  </a:cubicBezTo>
                  <a:cubicBezTo>
                    <a:pt x="885" y="757"/>
                    <a:pt x="885" y="757"/>
                    <a:pt x="885" y="757"/>
                  </a:cubicBezTo>
                  <a:cubicBezTo>
                    <a:pt x="883" y="761"/>
                    <a:pt x="883" y="761"/>
                    <a:pt x="883" y="761"/>
                  </a:cubicBezTo>
                  <a:cubicBezTo>
                    <a:pt x="883" y="762"/>
                    <a:pt x="882" y="762"/>
                    <a:pt x="882" y="762"/>
                  </a:cubicBezTo>
                  <a:cubicBezTo>
                    <a:pt x="880" y="764"/>
                    <a:pt x="880" y="764"/>
                    <a:pt x="880" y="764"/>
                  </a:cubicBezTo>
                  <a:cubicBezTo>
                    <a:pt x="879" y="765"/>
                    <a:pt x="878" y="766"/>
                    <a:pt x="878" y="766"/>
                  </a:cubicBezTo>
                  <a:cubicBezTo>
                    <a:pt x="876" y="767"/>
                    <a:pt x="876" y="767"/>
                    <a:pt x="876" y="767"/>
                  </a:cubicBezTo>
                  <a:cubicBezTo>
                    <a:pt x="876" y="768"/>
                    <a:pt x="876" y="768"/>
                    <a:pt x="876" y="768"/>
                  </a:cubicBezTo>
                  <a:cubicBezTo>
                    <a:pt x="875" y="769"/>
                    <a:pt x="874" y="769"/>
                    <a:pt x="874" y="770"/>
                  </a:cubicBezTo>
                  <a:cubicBezTo>
                    <a:pt x="874" y="771"/>
                    <a:pt x="874" y="771"/>
                    <a:pt x="874" y="771"/>
                  </a:cubicBezTo>
                  <a:cubicBezTo>
                    <a:pt x="875" y="773"/>
                    <a:pt x="875" y="773"/>
                    <a:pt x="875" y="773"/>
                  </a:cubicBezTo>
                  <a:cubicBezTo>
                    <a:pt x="877" y="772"/>
                    <a:pt x="877" y="772"/>
                    <a:pt x="877" y="772"/>
                  </a:cubicBezTo>
                  <a:cubicBezTo>
                    <a:pt x="879" y="771"/>
                    <a:pt x="881" y="770"/>
                    <a:pt x="883" y="770"/>
                  </a:cubicBezTo>
                  <a:cubicBezTo>
                    <a:pt x="888" y="770"/>
                    <a:pt x="888" y="770"/>
                    <a:pt x="888" y="770"/>
                  </a:cubicBezTo>
                  <a:cubicBezTo>
                    <a:pt x="890" y="771"/>
                    <a:pt x="890" y="771"/>
                    <a:pt x="890" y="771"/>
                  </a:cubicBezTo>
                  <a:cubicBezTo>
                    <a:pt x="891" y="771"/>
                    <a:pt x="891" y="771"/>
                    <a:pt x="892" y="772"/>
                  </a:cubicBezTo>
                  <a:cubicBezTo>
                    <a:pt x="892" y="771"/>
                    <a:pt x="892" y="771"/>
                    <a:pt x="892" y="771"/>
                  </a:cubicBezTo>
                  <a:cubicBezTo>
                    <a:pt x="892" y="770"/>
                    <a:pt x="892" y="770"/>
                    <a:pt x="892" y="770"/>
                  </a:cubicBezTo>
                  <a:cubicBezTo>
                    <a:pt x="892" y="769"/>
                    <a:pt x="893" y="768"/>
                    <a:pt x="894" y="768"/>
                  </a:cubicBezTo>
                  <a:cubicBezTo>
                    <a:pt x="894" y="767"/>
                    <a:pt x="894" y="767"/>
                    <a:pt x="894" y="767"/>
                  </a:cubicBezTo>
                  <a:cubicBezTo>
                    <a:pt x="902" y="764"/>
                    <a:pt x="902" y="764"/>
                    <a:pt x="902" y="764"/>
                  </a:cubicBezTo>
                  <a:cubicBezTo>
                    <a:pt x="905" y="763"/>
                    <a:pt x="908" y="761"/>
                    <a:pt x="910" y="760"/>
                  </a:cubicBezTo>
                  <a:cubicBezTo>
                    <a:pt x="913" y="759"/>
                    <a:pt x="916" y="757"/>
                    <a:pt x="918" y="756"/>
                  </a:cubicBezTo>
                  <a:cubicBezTo>
                    <a:pt x="954" y="741"/>
                    <a:pt x="954" y="741"/>
                    <a:pt x="954" y="741"/>
                  </a:cubicBezTo>
                  <a:cubicBezTo>
                    <a:pt x="941" y="753"/>
                    <a:pt x="941" y="753"/>
                    <a:pt x="941" y="753"/>
                  </a:cubicBezTo>
                  <a:cubicBezTo>
                    <a:pt x="941" y="755"/>
                    <a:pt x="941" y="755"/>
                    <a:pt x="941" y="755"/>
                  </a:cubicBezTo>
                  <a:cubicBezTo>
                    <a:pt x="941" y="756"/>
                    <a:pt x="941" y="757"/>
                    <a:pt x="940" y="758"/>
                  </a:cubicBezTo>
                  <a:cubicBezTo>
                    <a:pt x="940" y="758"/>
                    <a:pt x="940" y="758"/>
                    <a:pt x="940" y="758"/>
                  </a:cubicBezTo>
                  <a:cubicBezTo>
                    <a:pt x="940" y="759"/>
                    <a:pt x="940" y="759"/>
                    <a:pt x="940" y="759"/>
                  </a:cubicBezTo>
                  <a:cubicBezTo>
                    <a:pt x="940" y="759"/>
                    <a:pt x="939" y="759"/>
                    <a:pt x="939" y="759"/>
                  </a:cubicBezTo>
                  <a:cubicBezTo>
                    <a:pt x="939" y="759"/>
                    <a:pt x="939" y="759"/>
                    <a:pt x="939" y="759"/>
                  </a:cubicBezTo>
                  <a:cubicBezTo>
                    <a:pt x="939" y="759"/>
                    <a:pt x="938" y="760"/>
                    <a:pt x="938" y="760"/>
                  </a:cubicBezTo>
                  <a:cubicBezTo>
                    <a:pt x="938" y="760"/>
                    <a:pt x="938" y="760"/>
                    <a:pt x="937" y="760"/>
                  </a:cubicBezTo>
                  <a:cubicBezTo>
                    <a:pt x="938" y="761"/>
                    <a:pt x="939" y="762"/>
                    <a:pt x="940" y="762"/>
                  </a:cubicBezTo>
                  <a:cubicBezTo>
                    <a:pt x="944" y="766"/>
                    <a:pt x="944" y="766"/>
                    <a:pt x="944" y="766"/>
                  </a:cubicBezTo>
                  <a:cubicBezTo>
                    <a:pt x="955" y="774"/>
                    <a:pt x="955" y="774"/>
                    <a:pt x="955" y="774"/>
                  </a:cubicBezTo>
                  <a:cubicBezTo>
                    <a:pt x="958" y="776"/>
                    <a:pt x="961" y="779"/>
                    <a:pt x="962" y="781"/>
                  </a:cubicBezTo>
                  <a:cubicBezTo>
                    <a:pt x="971" y="793"/>
                    <a:pt x="971" y="793"/>
                    <a:pt x="971" y="793"/>
                  </a:cubicBezTo>
                  <a:cubicBezTo>
                    <a:pt x="974" y="798"/>
                    <a:pt x="974" y="798"/>
                    <a:pt x="974" y="798"/>
                  </a:cubicBezTo>
                  <a:cubicBezTo>
                    <a:pt x="979" y="805"/>
                    <a:pt x="984" y="813"/>
                    <a:pt x="988" y="819"/>
                  </a:cubicBezTo>
                  <a:cubicBezTo>
                    <a:pt x="992" y="826"/>
                    <a:pt x="996" y="833"/>
                    <a:pt x="1001" y="839"/>
                  </a:cubicBezTo>
                  <a:cubicBezTo>
                    <a:pt x="1002" y="841"/>
                    <a:pt x="1002" y="841"/>
                    <a:pt x="1002" y="841"/>
                  </a:cubicBezTo>
                  <a:cubicBezTo>
                    <a:pt x="1002" y="840"/>
                    <a:pt x="1003" y="840"/>
                    <a:pt x="1003" y="839"/>
                  </a:cubicBezTo>
                  <a:cubicBezTo>
                    <a:pt x="1003" y="839"/>
                    <a:pt x="1003" y="839"/>
                    <a:pt x="1003" y="839"/>
                  </a:cubicBezTo>
                  <a:cubicBezTo>
                    <a:pt x="1004" y="839"/>
                    <a:pt x="1005" y="839"/>
                    <a:pt x="1006" y="838"/>
                  </a:cubicBezTo>
                  <a:cubicBezTo>
                    <a:pt x="1006" y="838"/>
                    <a:pt x="1006" y="838"/>
                    <a:pt x="1006" y="838"/>
                  </a:cubicBezTo>
                  <a:cubicBezTo>
                    <a:pt x="1007" y="838"/>
                    <a:pt x="1007" y="838"/>
                    <a:pt x="1007" y="838"/>
                  </a:cubicBezTo>
                  <a:cubicBezTo>
                    <a:pt x="1006" y="837"/>
                    <a:pt x="1006" y="837"/>
                    <a:pt x="1006" y="837"/>
                  </a:cubicBezTo>
                  <a:cubicBezTo>
                    <a:pt x="1006" y="837"/>
                    <a:pt x="1006" y="837"/>
                    <a:pt x="1006" y="837"/>
                  </a:cubicBezTo>
                  <a:cubicBezTo>
                    <a:pt x="1006" y="837"/>
                    <a:pt x="1006" y="836"/>
                    <a:pt x="1006" y="836"/>
                  </a:cubicBezTo>
                  <a:cubicBezTo>
                    <a:pt x="1006" y="835"/>
                    <a:pt x="1006" y="835"/>
                    <a:pt x="1006" y="835"/>
                  </a:cubicBezTo>
                  <a:cubicBezTo>
                    <a:pt x="1006" y="835"/>
                    <a:pt x="1006" y="835"/>
                    <a:pt x="1006" y="835"/>
                  </a:cubicBezTo>
                  <a:cubicBezTo>
                    <a:pt x="1006" y="835"/>
                    <a:pt x="1006" y="835"/>
                    <a:pt x="1006" y="834"/>
                  </a:cubicBezTo>
                  <a:cubicBezTo>
                    <a:pt x="1006" y="834"/>
                    <a:pt x="1006" y="834"/>
                    <a:pt x="1006" y="834"/>
                  </a:cubicBezTo>
                  <a:cubicBezTo>
                    <a:pt x="1006" y="833"/>
                    <a:pt x="1006" y="833"/>
                    <a:pt x="1006" y="833"/>
                  </a:cubicBezTo>
                  <a:cubicBezTo>
                    <a:pt x="1006" y="832"/>
                    <a:pt x="1007" y="832"/>
                    <a:pt x="1007" y="832"/>
                  </a:cubicBezTo>
                  <a:cubicBezTo>
                    <a:pt x="1008" y="831"/>
                    <a:pt x="1008" y="831"/>
                    <a:pt x="1009" y="831"/>
                  </a:cubicBezTo>
                  <a:cubicBezTo>
                    <a:pt x="1010" y="831"/>
                    <a:pt x="1010" y="831"/>
                    <a:pt x="1010" y="831"/>
                  </a:cubicBezTo>
                  <a:cubicBezTo>
                    <a:pt x="1010" y="831"/>
                    <a:pt x="1010" y="831"/>
                    <a:pt x="1010" y="831"/>
                  </a:cubicBezTo>
                  <a:cubicBezTo>
                    <a:pt x="1010" y="831"/>
                    <a:pt x="1010" y="831"/>
                    <a:pt x="1010" y="831"/>
                  </a:cubicBezTo>
                  <a:cubicBezTo>
                    <a:pt x="1010" y="831"/>
                    <a:pt x="1010" y="831"/>
                    <a:pt x="1010" y="831"/>
                  </a:cubicBezTo>
                  <a:cubicBezTo>
                    <a:pt x="1011" y="830"/>
                    <a:pt x="1012" y="828"/>
                    <a:pt x="1014" y="829"/>
                  </a:cubicBezTo>
                  <a:cubicBezTo>
                    <a:pt x="1021" y="831"/>
                    <a:pt x="1021" y="831"/>
                    <a:pt x="1021" y="831"/>
                  </a:cubicBezTo>
                  <a:cubicBezTo>
                    <a:pt x="1024" y="832"/>
                    <a:pt x="1024" y="833"/>
                    <a:pt x="1024" y="834"/>
                  </a:cubicBezTo>
                  <a:cubicBezTo>
                    <a:pt x="1024" y="836"/>
                    <a:pt x="1024" y="836"/>
                    <a:pt x="1024" y="836"/>
                  </a:cubicBezTo>
                  <a:cubicBezTo>
                    <a:pt x="1024" y="836"/>
                    <a:pt x="1023" y="837"/>
                    <a:pt x="1023" y="837"/>
                  </a:cubicBezTo>
                  <a:cubicBezTo>
                    <a:pt x="1023" y="837"/>
                    <a:pt x="1023" y="837"/>
                    <a:pt x="1023" y="838"/>
                  </a:cubicBezTo>
                  <a:cubicBezTo>
                    <a:pt x="1023" y="838"/>
                    <a:pt x="1023" y="838"/>
                    <a:pt x="1023" y="838"/>
                  </a:cubicBezTo>
                  <a:cubicBezTo>
                    <a:pt x="1024" y="838"/>
                    <a:pt x="1024" y="838"/>
                    <a:pt x="1024" y="838"/>
                  </a:cubicBezTo>
                  <a:cubicBezTo>
                    <a:pt x="1024" y="839"/>
                    <a:pt x="1025" y="839"/>
                    <a:pt x="1026" y="840"/>
                  </a:cubicBezTo>
                  <a:cubicBezTo>
                    <a:pt x="1026" y="840"/>
                    <a:pt x="1026" y="840"/>
                    <a:pt x="1026" y="840"/>
                  </a:cubicBezTo>
                  <a:cubicBezTo>
                    <a:pt x="1027" y="841"/>
                    <a:pt x="1028" y="842"/>
                    <a:pt x="1028" y="843"/>
                  </a:cubicBezTo>
                  <a:cubicBezTo>
                    <a:pt x="1029" y="843"/>
                    <a:pt x="1029" y="843"/>
                    <a:pt x="1029" y="843"/>
                  </a:cubicBezTo>
                  <a:cubicBezTo>
                    <a:pt x="1030" y="843"/>
                    <a:pt x="1030" y="843"/>
                    <a:pt x="1030" y="843"/>
                  </a:cubicBezTo>
                  <a:cubicBezTo>
                    <a:pt x="1030" y="843"/>
                    <a:pt x="1030" y="843"/>
                    <a:pt x="1031" y="843"/>
                  </a:cubicBezTo>
                  <a:cubicBezTo>
                    <a:pt x="1031" y="843"/>
                    <a:pt x="1031" y="843"/>
                    <a:pt x="1031" y="843"/>
                  </a:cubicBezTo>
                  <a:cubicBezTo>
                    <a:pt x="1032" y="843"/>
                    <a:pt x="1032" y="843"/>
                    <a:pt x="1032" y="843"/>
                  </a:cubicBezTo>
                  <a:cubicBezTo>
                    <a:pt x="1032" y="843"/>
                    <a:pt x="1032" y="843"/>
                    <a:pt x="1032" y="843"/>
                  </a:cubicBezTo>
                  <a:cubicBezTo>
                    <a:pt x="1034" y="842"/>
                    <a:pt x="1035" y="842"/>
                    <a:pt x="1037" y="842"/>
                  </a:cubicBezTo>
                  <a:cubicBezTo>
                    <a:pt x="1047" y="843"/>
                    <a:pt x="1047" y="843"/>
                    <a:pt x="1047" y="843"/>
                  </a:cubicBezTo>
                  <a:cubicBezTo>
                    <a:pt x="1048" y="843"/>
                    <a:pt x="1048" y="843"/>
                    <a:pt x="1048" y="843"/>
                  </a:cubicBezTo>
                  <a:cubicBezTo>
                    <a:pt x="1048" y="843"/>
                    <a:pt x="1048" y="843"/>
                    <a:pt x="1049" y="842"/>
                  </a:cubicBezTo>
                  <a:cubicBezTo>
                    <a:pt x="1049" y="842"/>
                    <a:pt x="1049" y="842"/>
                    <a:pt x="1049" y="842"/>
                  </a:cubicBezTo>
                  <a:cubicBezTo>
                    <a:pt x="1050" y="842"/>
                    <a:pt x="1050" y="842"/>
                    <a:pt x="1050" y="842"/>
                  </a:cubicBezTo>
                  <a:cubicBezTo>
                    <a:pt x="1050" y="841"/>
                    <a:pt x="1050" y="841"/>
                    <a:pt x="1050" y="841"/>
                  </a:cubicBezTo>
                  <a:cubicBezTo>
                    <a:pt x="1050" y="840"/>
                    <a:pt x="1051" y="839"/>
                    <a:pt x="1052" y="839"/>
                  </a:cubicBezTo>
                  <a:cubicBezTo>
                    <a:pt x="1053" y="838"/>
                    <a:pt x="1053" y="838"/>
                    <a:pt x="1053" y="838"/>
                  </a:cubicBezTo>
                  <a:cubicBezTo>
                    <a:pt x="1059" y="837"/>
                    <a:pt x="1059" y="837"/>
                    <a:pt x="1059" y="837"/>
                  </a:cubicBezTo>
                  <a:cubicBezTo>
                    <a:pt x="1060" y="836"/>
                    <a:pt x="1060" y="836"/>
                    <a:pt x="1060" y="836"/>
                  </a:cubicBezTo>
                  <a:cubicBezTo>
                    <a:pt x="1061" y="836"/>
                    <a:pt x="1061" y="836"/>
                    <a:pt x="1061" y="836"/>
                  </a:cubicBezTo>
                  <a:cubicBezTo>
                    <a:pt x="1070" y="838"/>
                    <a:pt x="1070" y="838"/>
                    <a:pt x="1070" y="838"/>
                  </a:cubicBezTo>
                  <a:cubicBezTo>
                    <a:pt x="1070" y="839"/>
                    <a:pt x="1071" y="839"/>
                    <a:pt x="1072" y="839"/>
                  </a:cubicBezTo>
                  <a:cubicBezTo>
                    <a:pt x="1073" y="839"/>
                    <a:pt x="1074" y="840"/>
                    <a:pt x="1075" y="840"/>
                  </a:cubicBezTo>
                  <a:cubicBezTo>
                    <a:pt x="1075" y="840"/>
                    <a:pt x="1075" y="840"/>
                    <a:pt x="1075" y="840"/>
                  </a:cubicBezTo>
                  <a:cubicBezTo>
                    <a:pt x="1076" y="841"/>
                    <a:pt x="1076" y="841"/>
                    <a:pt x="1076" y="841"/>
                  </a:cubicBezTo>
                  <a:cubicBezTo>
                    <a:pt x="1077" y="843"/>
                    <a:pt x="1077" y="843"/>
                    <a:pt x="1077" y="843"/>
                  </a:cubicBezTo>
                  <a:cubicBezTo>
                    <a:pt x="1079" y="846"/>
                    <a:pt x="1079" y="846"/>
                    <a:pt x="1079" y="846"/>
                  </a:cubicBezTo>
                  <a:cubicBezTo>
                    <a:pt x="1080" y="847"/>
                    <a:pt x="1081" y="849"/>
                    <a:pt x="1082" y="850"/>
                  </a:cubicBezTo>
                  <a:cubicBezTo>
                    <a:pt x="1082" y="851"/>
                    <a:pt x="1082" y="851"/>
                    <a:pt x="1082" y="851"/>
                  </a:cubicBezTo>
                  <a:cubicBezTo>
                    <a:pt x="1082" y="852"/>
                    <a:pt x="1082" y="853"/>
                    <a:pt x="1083" y="853"/>
                  </a:cubicBezTo>
                  <a:cubicBezTo>
                    <a:pt x="1083" y="854"/>
                    <a:pt x="1083" y="854"/>
                    <a:pt x="1083" y="854"/>
                  </a:cubicBezTo>
                  <a:cubicBezTo>
                    <a:pt x="1083" y="854"/>
                    <a:pt x="1083" y="854"/>
                    <a:pt x="1083" y="855"/>
                  </a:cubicBezTo>
                  <a:cubicBezTo>
                    <a:pt x="1083" y="855"/>
                    <a:pt x="1083" y="855"/>
                    <a:pt x="1083" y="855"/>
                  </a:cubicBezTo>
                  <a:cubicBezTo>
                    <a:pt x="1085" y="855"/>
                    <a:pt x="1085" y="855"/>
                    <a:pt x="1085" y="855"/>
                  </a:cubicBezTo>
                  <a:cubicBezTo>
                    <a:pt x="1086" y="855"/>
                    <a:pt x="1086" y="855"/>
                    <a:pt x="1086" y="855"/>
                  </a:cubicBezTo>
                  <a:cubicBezTo>
                    <a:pt x="1098" y="862"/>
                    <a:pt x="1098" y="862"/>
                    <a:pt x="1098" y="862"/>
                  </a:cubicBezTo>
                  <a:cubicBezTo>
                    <a:pt x="1098" y="863"/>
                    <a:pt x="1098" y="863"/>
                    <a:pt x="1098" y="863"/>
                  </a:cubicBezTo>
                  <a:cubicBezTo>
                    <a:pt x="1098" y="863"/>
                    <a:pt x="1098" y="863"/>
                    <a:pt x="1098" y="863"/>
                  </a:cubicBezTo>
                  <a:cubicBezTo>
                    <a:pt x="1102" y="863"/>
                    <a:pt x="1102" y="863"/>
                    <a:pt x="1102" y="863"/>
                  </a:cubicBezTo>
                  <a:cubicBezTo>
                    <a:pt x="1098" y="864"/>
                    <a:pt x="1098" y="864"/>
                    <a:pt x="1098" y="864"/>
                  </a:cubicBezTo>
                  <a:cubicBezTo>
                    <a:pt x="1098" y="864"/>
                    <a:pt x="1098" y="865"/>
                    <a:pt x="1098" y="865"/>
                  </a:cubicBezTo>
                  <a:cubicBezTo>
                    <a:pt x="1098" y="865"/>
                    <a:pt x="1098" y="865"/>
                    <a:pt x="1098" y="865"/>
                  </a:cubicBezTo>
                  <a:cubicBezTo>
                    <a:pt x="1098" y="865"/>
                    <a:pt x="1098" y="865"/>
                    <a:pt x="1099" y="866"/>
                  </a:cubicBezTo>
                  <a:cubicBezTo>
                    <a:pt x="1099" y="867"/>
                    <a:pt x="1099" y="867"/>
                    <a:pt x="1099" y="867"/>
                  </a:cubicBezTo>
                  <a:cubicBezTo>
                    <a:pt x="1099" y="867"/>
                    <a:pt x="1099" y="867"/>
                    <a:pt x="1099" y="867"/>
                  </a:cubicBezTo>
                  <a:cubicBezTo>
                    <a:pt x="1100" y="868"/>
                    <a:pt x="1100" y="868"/>
                    <a:pt x="1100" y="868"/>
                  </a:cubicBezTo>
                  <a:cubicBezTo>
                    <a:pt x="1100" y="868"/>
                    <a:pt x="1100" y="868"/>
                    <a:pt x="1100" y="868"/>
                  </a:cubicBezTo>
                  <a:cubicBezTo>
                    <a:pt x="1100" y="868"/>
                    <a:pt x="1100" y="868"/>
                    <a:pt x="1100" y="868"/>
                  </a:cubicBezTo>
                  <a:cubicBezTo>
                    <a:pt x="1100" y="869"/>
                    <a:pt x="1101" y="869"/>
                    <a:pt x="1101" y="870"/>
                  </a:cubicBezTo>
                  <a:cubicBezTo>
                    <a:pt x="1101" y="871"/>
                    <a:pt x="1101" y="871"/>
                    <a:pt x="1101" y="871"/>
                  </a:cubicBezTo>
                  <a:cubicBezTo>
                    <a:pt x="1101" y="871"/>
                    <a:pt x="1101" y="871"/>
                    <a:pt x="1101" y="871"/>
                  </a:cubicBezTo>
                  <a:cubicBezTo>
                    <a:pt x="1104" y="870"/>
                    <a:pt x="1104" y="870"/>
                    <a:pt x="1104" y="870"/>
                  </a:cubicBezTo>
                  <a:cubicBezTo>
                    <a:pt x="1103" y="872"/>
                    <a:pt x="1103" y="872"/>
                    <a:pt x="1103" y="872"/>
                  </a:cubicBezTo>
                  <a:cubicBezTo>
                    <a:pt x="1111" y="873"/>
                    <a:pt x="1111" y="873"/>
                    <a:pt x="1111" y="873"/>
                  </a:cubicBezTo>
                  <a:cubicBezTo>
                    <a:pt x="1112" y="872"/>
                    <a:pt x="1112" y="872"/>
                    <a:pt x="1112" y="872"/>
                  </a:cubicBezTo>
                  <a:cubicBezTo>
                    <a:pt x="1117" y="873"/>
                    <a:pt x="1117" y="873"/>
                    <a:pt x="1117" y="873"/>
                  </a:cubicBezTo>
                  <a:cubicBezTo>
                    <a:pt x="1116" y="874"/>
                    <a:pt x="1116" y="874"/>
                    <a:pt x="1116" y="874"/>
                  </a:cubicBezTo>
                  <a:cubicBezTo>
                    <a:pt x="1117" y="874"/>
                    <a:pt x="1117" y="874"/>
                    <a:pt x="1117" y="874"/>
                  </a:cubicBezTo>
                  <a:cubicBezTo>
                    <a:pt x="1119" y="872"/>
                    <a:pt x="1119" y="872"/>
                    <a:pt x="1119" y="872"/>
                  </a:cubicBezTo>
                  <a:cubicBezTo>
                    <a:pt x="1120" y="871"/>
                    <a:pt x="1121" y="870"/>
                    <a:pt x="1123" y="869"/>
                  </a:cubicBezTo>
                  <a:cubicBezTo>
                    <a:pt x="1128" y="863"/>
                    <a:pt x="1128" y="863"/>
                    <a:pt x="1128" y="863"/>
                  </a:cubicBezTo>
                  <a:cubicBezTo>
                    <a:pt x="1129" y="869"/>
                    <a:pt x="1129" y="869"/>
                    <a:pt x="1129" y="869"/>
                  </a:cubicBezTo>
                  <a:cubicBezTo>
                    <a:pt x="1129" y="869"/>
                    <a:pt x="1128" y="870"/>
                    <a:pt x="1128" y="871"/>
                  </a:cubicBezTo>
                  <a:cubicBezTo>
                    <a:pt x="1128" y="871"/>
                    <a:pt x="1128" y="872"/>
                    <a:pt x="1128" y="873"/>
                  </a:cubicBezTo>
                  <a:cubicBezTo>
                    <a:pt x="1128" y="873"/>
                    <a:pt x="1128" y="873"/>
                    <a:pt x="1128" y="873"/>
                  </a:cubicBezTo>
                  <a:cubicBezTo>
                    <a:pt x="1129" y="874"/>
                    <a:pt x="1129" y="874"/>
                    <a:pt x="1129" y="874"/>
                  </a:cubicBezTo>
                  <a:cubicBezTo>
                    <a:pt x="1132" y="876"/>
                    <a:pt x="1135" y="879"/>
                    <a:pt x="1138" y="882"/>
                  </a:cubicBezTo>
                  <a:cubicBezTo>
                    <a:pt x="1140" y="883"/>
                    <a:pt x="1140" y="883"/>
                    <a:pt x="1140" y="883"/>
                  </a:cubicBezTo>
                  <a:cubicBezTo>
                    <a:pt x="1141" y="883"/>
                    <a:pt x="1143" y="883"/>
                    <a:pt x="1143" y="883"/>
                  </a:cubicBezTo>
                  <a:cubicBezTo>
                    <a:pt x="1144" y="883"/>
                    <a:pt x="1145" y="883"/>
                    <a:pt x="1146" y="882"/>
                  </a:cubicBezTo>
                  <a:cubicBezTo>
                    <a:pt x="1146" y="882"/>
                    <a:pt x="1146" y="882"/>
                    <a:pt x="1146" y="882"/>
                  </a:cubicBezTo>
                  <a:cubicBezTo>
                    <a:pt x="1148" y="882"/>
                    <a:pt x="1148" y="882"/>
                    <a:pt x="1148" y="882"/>
                  </a:cubicBezTo>
                  <a:cubicBezTo>
                    <a:pt x="1154" y="880"/>
                    <a:pt x="1154" y="880"/>
                    <a:pt x="1154" y="880"/>
                  </a:cubicBezTo>
                  <a:cubicBezTo>
                    <a:pt x="1154" y="879"/>
                    <a:pt x="1154" y="879"/>
                    <a:pt x="1154" y="879"/>
                  </a:cubicBezTo>
                  <a:cubicBezTo>
                    <a:pt x="1154" y="877"/>
                    <a:pt x="1154" y="877"/>
                    <a:pt x="1154" y="877"/>
                  </a:cubicBezTo>
                  <a:cubicBezTo>
                    <a:pt x="1155" y="876"/>
                    <a:pt x="1155" y="876"/>
                    <a:pt x="1155" y="875"/>
                  </a:cubicBezTo>
                  <a:cubicBezTo>
                    <a:pt x="1156" y="875"/>
                    <a:pt x="1156" y="875"/>
                    <a:pt x="1156" y="875"/>
                  </a:cubicBezTo>
                  <a:cubicBezTo>
                    <a:pt x="1156" y="875"/>
                    <a:pt x="1156" y="875"/>
                    <a:pt x="1156" y="875"/>
                  </a:cubicBezTo>
                  <a:cubicBezTo>
                    <a:pt x="1157" y="874"/>
                    <a:pt x="1157" y="874"/>
                    <a:pt x="1157" y="874"/>
                  </a:cubicBezTo>
                  <a:cubicBezTo>
                    <a:pt x="1157" y="875"/>
                    <a:pt x="1157" y="875"/>
                    <a:pt x="1157" y="875"/>
                  </a:cubicBezTo>
                  <a:cubicBezTo>
                    <a:pt x="1157" y="875"/>
                    <a:pt x="1157" y="875"/>
                    <a:pt x="1157" y="874"/>
                  </a:cubicBezTo>
                  <a:cubicBezTo>
                    <a:pt x="1158" y="874"/>
                    <a:pt x="1158" y="874"/>
                    <a:pt x="1159" y="874"/>
                  </a:cubicBezTo>
                  <a:cubicBezTo>
                    <a:pt x="1159" y="874"/>
                    <a:pt x="1159" y="874"/>
                    <a:pt x="1159" y="874"/>
                  </a:cubicBezTo>
                  <a:cubicBezTo>
                    <a:pt x="1159" y="874"/>
                    <a:pt x="1159" y="874"/>
                    <a:pt x="1159" y="874"/>
                  </a:cubicBezTo>
                  <a:cubicBezTo>
                    <a:pt x="1159" y="874"/>
                    <a:pt x="1159" y="874"/>
                    <a:pt x="1159" y="874"/>
                  </a:cubicBezTo>
                  <a:cubicBezTo>
                    <a:pt x="1160" y="874"/>
                    <a:pt x="1160" y="874"/>
                    <a:pt x="1160" y="874"/>
                  </a:cubicBezTo>
                  <a:cubicBezTo>
                    <a:pt x="1161" y="874"/>
                    <a:pt x="1161" y="874"/>
                    <a:pt x="1161" y="874"/>
                  </a:cubicBezTo>
                  <a:cubicBezTo>
                    <a:pt x="1162" y="874"/>
                    <a:pt x="1163" y="874"/>
                    <a:pt x="1163" y="874"/>
                  </a:cubicBezTo>
                  <a:cubicBezTo>
                    <a:pt x="1164" y="874"/>
                    <a:pt x="1165" y="874"/>
                    <a:pt x="1166" y="874"/>
                  </a:cubicBezTo>
                  <a:cubicBezTo>
                    <a:pt x="1170" y="873"/>
                    <a:pt x="1170" y="873"/>
                    <a:pt x="1170" y="873"/>
                  </a:cubicBezTo>
                  <a:cubicBezTo>
                    <a:pt x="1174" y="873"/>
                    <a:pt x="1177" y="872"/>
                    <a:pt x="1181" y="870"/>
                  </a:cubicBezTo>
                  <a:cubicBezTo>
                    <a:pt x="1182" y="870"/>
                    <a:pt x="1182" y="870"/>
                    <a:pt x="1182" y="870"/>
                  </a:cubicBezTo>
                  <a:cubicBezTo>
                    <a:pt x="1182" y="870"/>
                    <a:pt x="1182" y="870"/>
                    <a:pt x="1182" y="870"/>
                  </a:cubicBezTo>
                  <a:cubicBezTo>
                    <a:pt x="1182" y="870"/>
                    <a:pt x="1182" y="870"/>
                    <a:pt x="1182" y="870"/>
                  </a:cubicBezTo>
                  <a:cubicBezTo>
                    <a:pt x="1182" y="869"/>
                    <a:pt x="1182" y="869"/>
                    <a:pt x="1182" y="869"/>
                  </a:cubicBezTo>
                  <a:cubicBezTo>
                    <a:pt x="1182" y="869"/>
                    <a:pt x="1182" y="869"/>
                    <a:pt x="1182" y="869"/>
                  </a:cubicBezTo>
                  <a:cubicBezTo>
                    <a:pt x="1181" y="866"/>
                    <a:pt x="1181" y="866"/>
                    <a:pt x="1181" y="866"/>
                  </a:cubicBezTo>
                  <a:cubicBezTo>
                    <a:pt x="1178" y="859"/>
                    <a:pt x="1178" y="859"/>
                    <a:pt x="1178" y="859"/>
                  </a:cubicBezTo>
                  <a:cubicBezTo>
                    <a:pt x="1184" y="863"/>
                    <a:pt x="1184" y="863"/>
                    <a:pt x="1184" y="863"/>
                  </a:cubicBezTo>
                  <a:cubicBezTo>
                    <a:pt x="1185" y="863"/>
                    <a:pt x="1187" y="863"/>
                    <a:pt x="1188" y="862"/>
                  </a:cubicBezTo>
                  <a:cubicBezTo>
                    <a:pt x="1188" y="862"/>
                    <a:pt x="1189" y="862"/>
                    <a:pt x="1189" y="862"/>
                  </a:cubicBezTo>
                  <a:cubicBezTo>
                    <a:pt x="1190" y="861"/>
                    <a:pt x="1190" y="861"/>
                    <a:pt x="1191" y="861"/>
                  </a:cubicBezTo>
                  <a:cubicBezTo>
                    <a:pt x="1192" y="861"/>
                    <a:pt x="1192" y="861"/>
                    <a:pt x="1192" y="861"/>
                  </a:cubicBezTo>
                  <a:cubicBezTo>
                    <a:pt x="1191" y="860"/>
                    <a:pt x="1191" y="860"/>
                    <a:pt x="1191" y="860"/>
                  </a:cubicBezTo>
                  <a:cubicBezTo>
                    <a:pt x="1192" y="859"/>
                    <a:pt x="1192" y="859"/>
                    <a:pt x="1192" y="859"/>
                  </a:cubicBezTo>
                  <a:cubicBezTo>
                    <a:pt x="1193" y="860"/>
                    <a:pt x="1193" y="860"/>
                    <a:pt x="1193" y="860"/>
                  </a:cubicBezTo>
                  <a:cubicBezTo>
                    <a:pt x="1194" y="859"/>
                    <a:pt x="1194" y="859"/>
                    <a:pt x="1194" y="859"/>
                  </a:cubicBezTo>
                  <a:cubicBezTo>
                    <a:pt x="1195" y="859"/>
                    <a:pt x="1195" y="858"/>
                    <a:pt x="1196" y="858"/>
                  </a:cubicBezTo>
                  <a:cubicBezTo>
                    <a:pt x="1199" y="856"/>
                    <a:pt x="1203" y="854"/>
                    <a:pt x="1206" y="852"/>
                  </a:cubicBezTo>
                  <a:cubicBezTo>
                    <a:pt x="1213" y="849"/>
                    <a:pt x="1213" y="849"/>
                    <a:pt x="1213" y="849"/>
                  </a:cubicBezTo>
                  <a:cubicBezTo>
                    <a:pt x="1215" y="848"/>
                    <a:pt x="1217" y="847"/>
                    <a:pt x="1219" y="847"/>
                  </a:cubicBezTo>
                  <a:cubicBezTo>
                    <a:pt x="1221" y="845"/>
                    <a:pt x="1221" y="845"/>
                    <a:pt x="1221" y="845"/>
                  </a:cubicBezTo>
                  <a:cubicBezTo>
                    <a:pt x="1223" y="844"/>
                    <a:pt x="1225" y="844"/>
                    <a:pt x="1227" y="844"/>
                  </a:cubicBezTo>
                  <a:cubicBezTo>
                    <a:pt x="1228" y="844"/>
                    <a:pt x="1228" y="844"/>
                    <a:pt x="1228" y="844"/>
                  </a:cubicBezTo>
                  <a:cubicBezTo>
                    <a:pt x="1229" y="844"/>
                    <a:pt x="1230" y="844"/>
                    <a:pt x="1230" y="844"/>
                  </a:cubicBezTo>
                  <a:cubicBezTo>
                    <a:pt x="1231" y="844"/>
                    <a:pt x="1231" y="844"/>
                    <a:pt x="1232" y="844"/>
                  </a:cubicBezTo>
                  <a:cubicBezTo>
                    <a:pt x="1232" y="844"/>
                    <a:pt x="1232" y="843"/>
                    <a:pt x="1232" y="843"/>
                  </a:cubicBezTo>
                  <a:cubicBezTo>
                    <a:pt x="1233" y="842"/>
                    <a:pt x="1233" y="842"/>
                    <a:pt x="1233" y="841"/>
                  </a:cubicBezTo>
                  <a:cubicBezTo>
                    <a:pt x="1234" y="840"/>
                    <a:pt x="1235" y="840"/>
                    <a:pt x="1236" y="840"/>
                  </a:cubicBezTo>
                  <a:cubicBezTo>
                    <a:pt x="1237" y="839"/>
                    <a:pt x="1238" y="840"/>
                    <a:pt x="1238" y="841"/>
                  </a:cubicBezTo>
                  <a:cubicBezTo>
                    <a:pt x="1239" y="841"/>
                    <a:pt x="1239" y="841"/>
                    <a:pt x="1239" y="841"/>
                  </a:cubicBezTo>
                  <a:cubicBezTo>
                    <a:pt x="1239" y="841"/>
                    <a:pt x="1240" y="841"/>
                    <a:pt x="1240" y="841"/>
                  </a:cubicBezTo>
                  <a:cubicBezTo>
                    <a:pt x="1241" y="841"/>
                    <a:pt x="1241" y="841"/>
                    <a:pt x="1241" y="841"/>
                  </a:cubicBezTo>
                  <a:cubicBezTo>
                    <a:pt x="1242" y="841"/>
                    <a:pt x="1243" y="841"/>
                    <a:pt x="1243" y="841"/>
                  </a:cubicBezTo>
                  <a:cubicBezTo>
                    <a:pt x="1244" y="841"/>
                    <a:pt x="1244" y="841"/>
                    <a:pt x="1244" y="841"/>
                  </a:cubicBezTo>
                  <a:cubicBezTo>
                    <a:pt x="1244" y="841"/>
                    <a:pt x="1245" y="841"/>
                    <a:pt x="1245" y="841"/>
                  </a:cubicBezTo>
                  <a:cubicBezTo>
                    <a:pt x="1246" y="841"/>
                    <a:pt x="1246" y="841"/>
                    <a:pt x="1246" y="841"/>
                  </a:cubicBezTo>
                  <a:cubicBezTo>
                    <a:pt x="1247" y="841"/>
                    <a:pt x="1248" y="842"/>
                    <a:pt x="1248" y="842"/>
                  </a:cubicBezTo>
                  <a:cubicBezTo>
                    <a:pt x="1249" y="843"/>
                    <a:pt x="1249" y="843"/>
                    <a:pt x="1250" y="843"/>
                  </a:cubicBezTo>
                  <a:cubicBezTo>
                    <a:pt x="1251" y="844"/>
                    <a:pt x="1251" y="844"/>
                    <a:pt x="1252" y="844"/>
                  </a:cubicBezTo>
                  <a:cubicBezTo>
                    <a:pt x="1253" y="845"/>
                    <a:pt x="1253" y="845"/>
                    <a:pt x="1254" y="845"/>
                  </a:cubicBezTo>
                  <a:cubicBezTo>
                    <a:pt x="1254" y="845"/>
                    <a:pt x="1254" y="845"/>
                    <a:pt x="1254" y="845"/>
                  </a:cubicBezTo>
                  <a:cubicBezTo>
                    <a:pt x="1255" y="845"/>
                    <a:pt x="1255" y="845"/>
                    <a:pt x="1255" y="845"/>
                  </a:cubicBezTo>
                  <a:cubicBezTo>
                    <a:pt x="1257" y="846"/>
                    <a:pt x="1259" y="846"/>
                    <a:pt x="1261" y="846"/>
                  </a:cubicBezTo>
                  <a:cubicBezTo>
                    <a:pt x="1269" y="847"/>
                    <a:pt x="1269" y="847"/>
                    <a:pt x="1269" y="847"/>
                  </a:cubicBezTo>
                  <a:cubicBezTo>
                    <a:pt x="1271" y="847"/>
                    <a:pt x="1271" y="847"/>
                    <a:pt x="1272" y="847"/>
                  </a:cubicBezTo>
                  <a:cubicBezTo>
                    <a:pt x="1273" y="848"/>
                    <a:pt x="1274" y="848"/>
                    <a:pt x="1275" y="850"/>
                  </a:cubicBezTo>
                  <a:cubicBezTo>
                    <a:pt x="1275" y="851"/>
                    <a:pt x="1276" y="853"/>
                    <a:pt x="1277" y="855"/>
                  </a:cubicBezTo>
                  <a:cubicBezTo>
                    <a:pt x="1277" y="855"/>
                    <a:pt x="1277" y="855"/>
                    <a:pt x="1277" y="855"/>
                  </a:cubicBezTo>
                  <a:cubicBezTo>
                    <a:pt x="1277" y="856"/>
                    <a:pt x="1278" y="857"/>
                    <a:pt x="1278" y="858"/>
                  </a:cubicBezTo>
                  <a:cubicBezTo>
                    <a:pt x="1278" y="859"/>
                    <a:pt x="1278" y="859"/>
                    <a:pt x="1278" y="859"/>
                  </a:cubicBezTo>
                  <a:cubicBezTo>
                    <a:pt x="1279" y="861"/>
                    <a:pt x="1279" y="861"/>
                    <a:pt x="1282" y="861"/>
                  </a:cubicBezTo>
                  <a:cubicBezTo>
                    <a:pt x="1293" y="863"/>
                    <a:pt x="1293" y="863"/>
                    <a:pt x="1293" y="863"/>
                  </a:cubicBezTo>
                  <a:cubicBezTo>
                    <a:pt x="1293" y="863"/>
                    <a:pt x="1294" y="863"/>
                    <a:pt x="1294" y="863"/>
                  </a:cubicBezTo>
                  <a:cubicBezTo>
                    <a:pt x="1295" y="863"/>
                    <a:pt x="1295" y="863"/>
                    <a:pt x="1295" y="863"/>
                  </a:cubicBezTo>
                  <a:cubicBezTo>
                    <a:pt x="1295" y="863"/>
                    <a:pt x="1296" y="863"/>
                    <a:pt x="1296" y="863"/>
                  </a:cubicBezTo>
                  <a:cubicBezTo>
                    <a:pt x="1296" y="863"/>
                    <a:pt x="1296" y="863"/>
                    <a:pt x="1296" y="863"/>
                  </a:cubicBezTo>
                  <a:cubicBezTo>
                    <a:pt x="1297" y="863"/>
                    <a:pt x="1297" y="863"/>
                    <a:pt x="1297" y="863"/>
                  </a:cubicBezTo>
                  <a:cubicBezTo>
                    <a:pt x="1299" y="862"/>
                    <a:pt x="1301" y="861"/>
                    <a:pt x="1303" y="861"/>
                  </a:cubicBezTo>
                  <a:cubicBezTo>
                    <a:pt x="1303" y="861"/>
                    <a:pt x="1303" y="861"/>
                    <a:pt x="1303" y="861"/>
                  </a:cubicBezTo>
                  <a:cubicBezTo>
                    <a:pt x="1304" y="861"/>
                    <a:pt x="1304" y="861"/>
                    <a:pt x="1304" y="861"/>
                  </a:cubicBezTo>
                  <a:cubicBezTo>
                    <a:pt x="1304" y="861"/>
                    <a:pt x="1305" y="861"/>
                    <a:pt x="1305" y="861"/>
                  </a:cubicBezTo>
                  <a:cubicBezTo>
                    <a:pt x="1306" y="861"/>
                    <a:pt x="1306" y="861"/>
                    <a:pt x="1307" y="861"/>
                  </a:cubicBezTo>
                  <a:cubicBezTo>
                    <a:pt x="1309" y="862"/>
                    <a:pt x="1310" y="862"/>
                    <a:pt x="1311" y="862"/>
                  </a:cubicBezTo>
                  <a:cubicBezTo>
                    <a:pt x="1311" y="862"/>
                    <a:pt x="1311" y="862"/>
                    <a:pt x="1311" y="862"/>
                  </a:cubicBezTo>
                  <a:cubicBezTo>
                    <a:pt x="1313" y="863"/>
                    <a:pt x="1314" y="863"/>
                    <a:pt x="1315" y="863"/>
                  </a:cubicBezTo>
                  <a:cubicBezTo>
                    <a:pt x="1315" y="864"/>
                    <a:pt x="1316" y="864"/>
                    <a:pt x="1316" y="864"/>
                  </a:cubicBezTo>
                  <a:cubicBezTo>
                    <a:pt x="1319" y="864"/>
                    <a:pt x="1319" y="864"/>
                    <a:pt x="1319" y="864"/>
                  </a:cubicBezTo>
                  <a:cubicBezTo>
                    <a:pt x="1321" y="865"/>
                    <a:pt x="1322" y="865"/>
                    <a:pt x="1324" y="865"/>
                  </a:cubicBezTo>
                  <a:cubicBezTo>
                    <a:pt x="1325" y="866"/>
                    <a:pt x="1326" y="866"/>
                    <a:pt x="1327" y="866"/>
                  </a:cubicBezTo>
                  <a:cubicBezTo>
                    <a:pt x="1327" y="867"/>
                    <a:pt x="1327" y="867"/>
                    <a:pt x="1327" y="867"/>
                  </a:cubicBezTo>
                  <a:cubicBezTo>
                    <a:pt x="1329" y="867"/>
                    <a:pt x="1330" y="868"/>
                    <a:pt x="1331" y="867"/>
                  </a:cubicBezTo>
                  <a:cubicBezTo>
                    <a:pt x="1331" y="867"/>
                    <a:pt x="1332" y="867"/>
                    <a:pt x="1332" y="866"/>
                  </a:cubicBezTo>
                  <a:cubicBezTo>
                    <a:pt x="1333" y="865"/>
                    <a:pt x="1333" y="865"/>
                    <a:pt x="1333" y="865"/>
                  </a:cubicBezTo>
                  <a:cubicBezTo>
                    <a:pt x="1333" y="864"/>
                    <a:pt x="1334" y="864"/>
                    <a:pt x="1334" y="864"/>
                  </a:cubicBezTo>
                  <a:cubicBezTo>
                    <a:pt x="1334" y="864"/>
                    <a:pt x="1335" y="863"/>
                    <a:pt x="1335" y="863"/>
                  </a:cubicBezTo>
                  <a:cubicBezTo>
                    <a:pt x="1335" y="863"/>
                    <a:pt x="1335" y="863"/>
                    <a:pt x="1336" y="863"/>
                  </a:cubicBezTo>
                  <a:cubicBezTo>
                    <a:pt x="1336" y="863"/>
                    <a:pt x="1336" y="863"/>
                    <a:pt x="1336" y="863"/>
                  </a:cubicBezTo>
                  <a:cubicBezTo>
                    <a:pt x="1337" y="863"/>
                    <a:pt x="1337" y="862"/>
                    <a:pt x="1337" y="862"/>
                  </a:cubicBezTo>
                  <a:cubicBezTo>
                    <a:pt x="1338" y="862"/>
                    <a:pt x="1339" y="862"/>
                    <a:pt x="1339" y="862"/>
                  </a:cubicBezTo>
                  <a:cubicBezTo>
                    <a:pt x="1342" y="861"/>
                    <a:pt x="1343" y="861"/>
                    <a:pt x="1344" y="860"/>
                  </a:cubicBezTo>
                  <a:cubicBezTo>
                    <a:pt x="1345" y="856"/>
                    <a:pt x="1345" y="856"/>
                    <a:pt x="1345" y="856"/>
                  </a:cubicBezTo>
                  <a:cubicBezTo>
                    <a:pt x="1345" y="855"/>
                    <a:pt x="1345" y="855"/>
                    <a:pt x="1345" y="854"/>
                  </a:cubicBezTo>
                  <a:cubicBezTo>
                    <a:pt x="1346" y="852"/>
                    <a:pt x="1346" y="852"/>
                    <a:pt x="1346" y="852"/>
                  </a:cubicBezTo>
                  <a:cubicBezTo>
                    <a:pt x="1346" y="852"/>
                    <a:pt x="1346" y="852"/>
                    <a:pt x="1346" y="852"/>
                  </a:cubicBezTo>
                  <a:cubicBezTo>
                    <a:pt x="1346" y="852"/>
                    <a:pt x="1346" y="852"/>
                    <a:pt x="1346" y="852"/>
                  </a:cubicBezTo>
                  <a:cubicBezTo>
                    <a:pt x="1345" y="851"/>
                    <a:pt x="1344" y="851"/>
                    <a:pt x="1343" y="850"/>
                  </a:cubicBezTo>
                  <a:cubicBezTo>
                    <a:pt x="1342" y="849"/>
                    <a:pt x="1341" y="847"/>
                    <a:pt x="1340" y="845"/>
                  </a:cubicBezTo>
                  <a:cubicBezTo>
                    <a:pt x="1339" y="842"/>
                    <a:pt x="1338" y="840"/>
                    <a:pt x="1339" y="838"/>
                  </a:cubicBezTo>
                  <a:cubicBezTo>
                    <a:pt x="1339" y="837"/>
                    <a:pt x="1339" y="837"/>
                    <a:pt x="1339" y="837"/>
                  </a:cubicBezTo>
                  <a:cubicBezTo>
                    <a:pt x="1339" y="836"/>
                    <a:pt x="1339" y="836"/>
                    <a:pt x="1339" y="835"/>
                  </a:cubicBezTo>
                  <a:cubicBezTo>
                    <a:pt x="1339" y="834"/>
                    <a:pt x="1339" y="834"/>
                    <a:pt x="1339" y="833"/>
                  </a:cubicBezTo>
                  <a:cubicBezTo>
                    <a:pt x="1339" y="833"/>
                    <a:pt x="1339" y="833"/>
                    <a:pt x="1340" y="832"/>
                  </a:cubicBezTo>
                  <a:cubicBezTo>
                    <a:pt x="1340" y="832"/>
                    <a:pt x="1340" y="832"/>
                    <a:pt x="1340" y="832"/>
                  </a:cubicBezTo>
                  <a:cubicBezTo>
                    <a:pt x="1340" y="830"/>
                    <a:pt x="1341" y="828"/>
                    <a:pt x="1342" y="827"/>
                  </a:cubicBezTo>
                  <a:cubicBezTo>
                    <a:pt x="1342" y="826"/>
                    <a:pt x="1342" y="826"/>
                    <a:pt x="1342" y="826"/>
                  </a:cubicBezTo>
                  <a:cubicBezTo>
                    <a:pt x="1343" y="825"/>
                    <a:pt x="1344" y="824"/>
                    <a:pt x="1345" y="824"/>
                  </a:cubicBezTo>
                  <a:cubicBezTo>
                    <a:pt x="1345" y="824"/>
                    <a:pt x="1345" y="824"/>
                    <a:pt x="1346" y="824"/>
                  </a:cubicBezTo>
                  <a:cubicBezTo>
                    <a:pt x="1346" y="824"/>
                    <a:pt x="1346" y="824"/>
                    <a:pt x="1346" y="824"/>
                  </a:cubicBezTo>
                  <a:cubicBezTo>
                    <a:pt x="1346" y="823"/>
                    <a:pt x="1346" y="822"/>
                    <a:pt x="1346" y="821"/>
                  </a:cubicBezTo>
                  <a:cubicBezTo>
                    <a:pt x="1346" y="821"/>
                    <a:pt x="1347" y="820"/>
                    <a:pt x="1347" y="820"/>
                  </a:cubicBezTo>
                  <a:cubicBezTo>
                    <a:pt x="1347" y="820"/>
                    <a:pt x="1347" y="819"/>
                    <a:pt x="1347" y="819"/>
                  </a:cubicBezTo>
                  <a:cubicBezTo>
                    <a:pt x="1348" y="819"/>
                    <a:pt x="1348" y="819"/>
                    <a:pt x="1348" y="819"/>
                  </a:cubicBezTo>
                  <a:cubicBezTo>
                    <a:pt x="1348" y="819"/>
                    <a:pt x="1348" y="819"/>
                    <a:pt x="1348" y="818"/>
                  </a:cubicBezTo>
                  <a:cubicBezTo>
                    <a:pt x="1348" y="818"/>
                    <a:pt x="1349" y="818"/>
                    <a:pt x="1349" y="817"/>
                  </a:cubicBezTo>
                  <a:cubicBezTo>
                    <a:pt x="1350" y="817"/>
                    <a:pt x="1350" y="817"/>
                    <a:pt x="1350" y="817"/>
                  </a:cubicBezTo>
                  <a:cubicBezTo>
                    <a:pt x="1351" y="815"/>
                    <a:pt x="1353" y="814"/>
                    <a:pt x="1355" y="812"/>
                  </a:cubicBezTo>
                  <a:cubicBezTo>
                    <a:pt x="1360" y="807"/>
                    <a:pt x="1360" y="807"/>
                    <a:pt x="1360" y="807"/>
                  </a:cubicBezTo>
                  <a:cubicBezTo>
                    <a:pt x="1363" y="808"/>
                    <a:pt x="1363" y="808"/>
                    <a:pt x="1363" y="808"/>
                  </a:cubicBezTo>
                  <a:cubicBezTo>
                    <a:pt x="1365" y="805"/>
                    <a:pt x="1365" y="805"/>
                    <a:pt x="1365" y="805"/>
                  </a:cubicBezTo>
                  <a:cubicBezTo>
                    <a:pt x="1364" y="809"/>
                    <a:pt x="1364" y="809"/>
                    <a:pt x="1364" y="809"/>
                  </a:cubicBezTo>
                  <a:cubicBezTo>
                    <a:pt x="1375" y="814"/>
                    <a:pt x="1375" y="814"/>
                    <a:pt x="1375" y="814"/>
                  </a:cubicBezTo>
                  <a:cubicBezTo>
                    <a:pt x="1380" y="817"/>
                    <a:pt x="1383" y="817"/>
                    <a:pt x="1389" y="818"/>
                  </a:cubicBezTo>
                  <a:cubicBezTo>
                    <a:pt x="1390" y="818"/>
                    <a:pt x="1390" y="818"/>
                    <a:pt x="1390" y="818"/>
                  </a:cubicBezTo>
                  <a:cubicBezTo>
                    <a:pt x="1390" y="818"/>
                    <a:pt x="1390" y="818"/>
                    <a:pt x="1390" y="818"/>
                  </a:cubicBezTo>
                  <a:cubicBezTo>
                    <a:pt x="1392" y="818"/>
                    <a:pt x="1392" y="818"/>
                    <a:pt x="1392" y="818"/>
                  </a:cubicBezTo>
                  <a:cubicBezTo>
                    <a:pt x="1392" y="818"/>
                    <a:pt x="1393" y="818"/>
                    <a:pt x="1393" y="819"/>
                  </a:cubicBezTo>
                  <a:cubicBezTo>
                    <a:pt x="1396" y="819"/>
                    <a:pt x="1399" y="820"/>
                    <a:pt x="1401" y="821"/>
                  </a:cubicBezTo>
                  <a:cubicBezTo>
                    <a:pt x="1403" y="822"/>
                    <a:pt x="1405" y="823"/>
                    <a:pt x="1407" y="824"/>
                  </a:cubicBezTo>
                  <a:cubicBezTo>
                    <a:pt x="1417" y="826"/>
                    <a:pt x="1417" y="826"/>
                    <a:pt x="1417" y="826"/>
                  </a:cubicBezTo>
                  <a:cubicBezTo>
                    <a:pt x="1418" y="826"/>
                    <a:pt x="1418" y="826"/>
                    <a:pt x="1418" y="827"/>
                  </a:cubicBezTo>
                  <a:cubicBezTo>
                    <a:pt x="1423" y="828"/>
                    <a:pt x="1425" y="828"/>
                    <a:pt x="1425" y="829"/>
                  </a:cubicBezTo>
                  <a:cubicBezTo>
                    <a:pt x="1425" y="829"/>
                    <a:pt x="1425" y="830"/>
                    <a:pt x="1426" y="830"/>
                  </a:cubicBezTo>
                  <a:cubicBezTo>
                    <a:pt x="1426" y="832"/>
                    <a:pt x="1425" y="833"/>
                    <a:pt x="1425" y="833"/>
                  </a:cubicBezTo>
                  <a:cubicBezTo>
                    <a:pt x="1425" y="833"/>
                    <a:pt x="1425" y="833"/>
                    <a:pt x="1425" y="833"/>
                  </a:cubicBezTo>
                  <a:cubicBezTo>
                    <a:pt x="1425" y="834"/>
                    <a:pt x="1425" y="835"/>
                    <a:pt x="1425" y="836"/>
                  </a:cubicBezTo>
                  <a:cubicBezTo>
                    <a:pt x="1425" y="837"/>
                    <a:pt x="1425" y="838"/>
                    <a:pt x="1425" y="839"/>
                  </a:cubicBezTo>
                  <a:cubicBezTo>
                    <a:pt x="1425" y="839"/>
                    <a:pt x="1425" y="840"/>
                    <a:pt x="1426" y="841"/>
                  </a:cubicBezTo>
                  <a:cubicBezTo>
                    <a:pt x="1426" y="843"/>
                    <a:pt x="1426" y="843"/>
                    <a:pt x="1426" y="843"/>
                  </a:cubicBezTo>
                  <a:cubicBezTo>
                    <a:pt x="1426" y="844"/>
                    <a:pt x="1426" y="845"/>
                    <a:pt x="1427" y="846"/>
                  </a:cubicBezTo>
                  <a:cubicBezTo>
                    <a:pt x="1427" y="847"/>
                    <a:pt x="1427" y="847"/>
                    <a:pt x="1427" y="847"/>
                  </a:cubicBezTo>
                  <a:cubicBezTo>
                    <a:pt x="1428" y="848"/>
                    <a:pt x="1428" y="848"/>
                    <a:pt x="1428" y="848"/>
                  </a:cubicBezTo>
                  <a:cubicBezTo>
                    <a:pt x="1428" y="849"/>
                    <a:pt x="1429" y="849"/>
                    <a:pt x="1430" y="850"/>
                  </a:cubicBezTo>
                  <a:cubicBezTo>
                    <a:pt x="1431" y="851"/>
                    <a:pt x="1433" y="851"/>
                    <a:pt x="1434" y="852"/>
                  </a:cubicBezTo>
                  <a:cubicBezTo>
                    <a:pt x="1456" y="857"/>
                    <a:pt x="1456" y="857"/>
                    <a:pt x="1456" y="857"/>
                  </a:cubicBezTo>
                  <a:cubicBezTo>
                    <a:pt x="1456" y="857"/>
                    <a:pt x="1457" y="857"/>
                    <a:pt x="1457" y="857"/>
                  </a:cubicBezTo>
                  <a:cubicBezTo>
                    <a:pt x="1457" y="857"/>
                    <a:pt x="1457" y="857"/>
                    <a:pt x="1457" y="857"/>
                  </a:cubicBezTo>
                  <a:cubicBezTo>
                    <a:pt x="1458" y="857"/>
                    <a:pt x="1458" y="857"/>
                    <a:pt x="1458" y="857"/>
                  </a:cubicBezTo>
                  <a:cubicBezTo>
                    <a:pt x="1458" y="857"/>
                    <a:pt x="1459" y="857"/>
                    <a:pt x="1459" y="857"/>
                  </a:cubicBezTo>
                  <a:cubicBezTo>
                    <a:pt x="1459" y="857"/>
                    <a:pt x="1459" y="857"/>
                    <a:pt x="1459" y="857"/>
                  </a:cubicBezTo>
                  <a:cubicBezTo>
                    <a:pt x="1460" y="857"/>
                    <a:pt x="1460" y="856"/>
                    <a:pt x="1461" y="856"/>
                  </a:cubicBezTo>
                  <a:cubicBezTo>
                    <a:pt x="1461" y="856"/>
                    <a:pt x="1461" y="856"/>
                    <a:pt x="1461" y="856"/>
                  </a:cubicBezTo>
                  <a:cubicBezTo>
                    <a:pt x="1462" y="855"/>
                    <a:pt x="1462" y="855"/>
                    <a:pt x="1463" y="855"/>
                  </a:cubicBezTo>
                  <a:cubicBezTo>
                    <a:pt x="1464" y="854"/>
                    <a:pt x="1464" y="854"/>
                    <a:pt x="1464" y="854"/>
                  </a:cubicBezTo>
                  <a:cubicBezTo>
                    <a:pt x="1464" y="854"/>
                    <a:pt x="1464" y="854"/>
                    <a:pt x="1465" y="854"/>
                  </a:cubicBezTo>
                  <a:cubicBezTo>
                    <a:pt x="1468" y="852"/>
                    <a:pt x="1471" y="852"/>
                    <a:pt x="1474" y="851"/>
                  </a:cubicBezTo>
                  <a:cubicBezTo>
                    <a:pt x="1478" y="850"/>
                    <a:pt x="1481" y="849"/>
                    <a:pt x="1484" y="850"/>
                  </a:cubicBezTo>
                  <a:cubicBezTo>
                    <a:pt x="1486" y="850"/>
                    <a:pt x="1488" y="850"/>
                    <a:pt x="1489" y="850"/>
                  </a:cubicBezTo>
                  <a:cubicBezTo>
                    <a:pt x="1492" y="850"/>
                    <a:pt x="1495" y="851"/>
                    <a:pt x="1497" y="852"/>
                  </a:cubicBezTo>
                  <a:cubicBezTo>
                    <a:pt x="1498" y="852"/>
                    <a:pt x="1498" y="853"/>
                    <a:pt x="1499" y="853"/>
                  </a:cubicBezTo>
                  <a:cubicBezTo>
                    <a:pt x="1504" y="853"/>
                    <a:pt x="1504" y="853"/>
                    <a:pt x="1504" y="853"/>
                  </a:cubicBezTo>
                  <a:cubicBezTo>
                    <a:pt x="1505" y="853"/>
                    <a:pt x="1505" y="853"/>
                    <a:pt x="1506" y="853"/>
                  </a:cubicBezTo>
                  <a:cubicBezTo>
                    <a:pt x="1507" y="853"/>
                    <a:pt x="1507" y="853"/>
                    <a:pt x="1507" y="853"/>
                  </a:cubicBezTo>
                  <a:cubicBezTo>
                    <a:pt x="1507" y="853"/>
                    <a:pt x="1507" y="853"/>
                    <a:pt x="1507" y="853"/>
                  </a:cubicBezTo>
                  <a:cubicBezTo>
                    <a:pt x="1508" y="853"/>
                    <a:pt x="1508" y="853"/>
                    <a:pt x="1508" y="853"/>
                  </a:cubicBezTo>
                  <a:cubicBezTo>
                    <a:pt x="1509" y="853"/>
                    <a:pt x="1510" y="853"/>
                    <a:pt x="1511" y="854"/>
                  </a:cubicBezTo>
                  <a:cubicBezTo>
                    <a:pt x="1514" y="855"/>
                    <a:pt x="1516" y="856"/>
                    <a:pt x="1517" y="858"/>
                  </a:cubicBezTo>
                  <a:cubicBezTo>
                    <a:pt x="1519" y="860"/>
                    <a:pt x="1521" y="861"/>
                    <a:pt x="1524" y="862"/>
                  </a:cubicBezTo>
                  <a:cubicBezTo>
                    <a:pt x="1525" y="862"/>
                    <a:pt x="1525" y="862"/>
                    <a:pt x="1525" y="862"/>
                  </a:cubicBezTo>
                  <a:cubicBezTo>
                    <a:pt x="1526" y="862"/>
                    <a:pt x="1526" y="862"/>
                    <a:pt x="1527" y="862"/>
                  </a:cubicBezTo>
                  <a:cubicBezTo>
                    <a:pt x="1527" y="861"/>
                    <a:pt x="1527" y="861"/>
                    <a:pt x="1527" y="861"/>
                  </a:cubicBezTo>
                  <a:cubicBezTo>
                    <a:pt x="1532" y="862"/>
                    <a:pt x="1532" y="862"/>
                    <a:pt x="1532" y="862"/>
                  </a:cubicBezTo>
                  <a:cubicBezTo>
                    <a:pt x="1532" y="862"/>
                    <a:pt x="1532" y="862"/>
                    <a:pt x="1532" y="862"/>
                  </a:cubicBezTo>
                  <a:cubicBezTo>
                    <a:pt x="1532" y="863"/>
                    <a:pt x="1532" y="863"/>
                    <a:pt x="1533" y="863"/>
                  </a:cubicBezTo>
                  <a:cubicBezTo>
                    <a:pt x="1533" y="863"/>
                    <a:pt x="1533" y="863"/>
                    <a:pt x="1533" y="863"/>
                  </a:cubicBezTo>
                  <a:cubicBezTo>
                    <a:pt x="1534" y="863"/>
                    <a:pt x="1534" y="863"/>
                    <a:pt x="1534" y="863"/>
                  </a:cubicBezTo>
                  <a:cubicBezTo>
                    <a:pt x="1535" y="864"/>
                    <a:pt x="1535" y="864"/>
                    <a:pt x="1535" y="864"/>
                  </a:cubicBezTo>
                  <a:cubicBezTo>
                    <a:pt x="1536" y="867"/>
                    <a:pt x="1536" y="867"/>
                    <a:pt x="1536" y="867"/>
                  </a:cubicBezTo>
                  <a:cubicBezTo>
                    <a:pt x="1536" y="872"/>
                    <a:pt x="1536" y="872"/>
                    <a:pt x="1536" y="872"/>
                  </a:cubicBezTo>
                  <a:cubicBezTo>
                    <a:pt x="1544" y="878"/>
                    <a:pt x="1544" y="878"/>
                    <a:pt x="1544" y="878"/>
                  </a:cubicBezTo>
                  <a:cubicBezTo>
                    <a:pt x="1556" y="877"/>
                    <a:pt x="1556" y="877"/>
                    <a:pt x="1556" y="877"/>
                  </a:cubicBezTo>
                  <a:cubicBezTo>
                    <a:pt x="1560" y="878"/>
                    <a:pt x="1560" y="878"/>
                    <a:pt x="1560" y="878"/>
                  </a:cubicBezTo>
                  <a:cubicBezTo>
                    <a:pt x="1560" y="878"/>
                    <a:pt x="1560" y="878"/>
                    <a:pt x="1560" y="878"/>
                  </a:cubicBezTo>
                  <a:cubicBezTo>
                    <a:pt x="1561" y="878"/>
                    <a:pt x="1561" y="878"/>
                    <a:pt x="1561" y="878"/>
                  </a:cubicBezTo>
                  <a:cubicBezTo>
                    <a:pt x="1587" y="882"/>
                    <a:pt x="1587" y="882"/>
                    <a:pt x="1587" y="882"/>
                  </a:cubicBezTo>
                  <a:cubicBezTo>
                    <a:pt x="1587" y="882"/>
                    <a:pt x="1588" y="882"/>
                    <a:pt x="1588" y="882"/>
                  </a:cubicBezTo>
                  <a:cubicBezTo>
                    <a:pt x="1611" y="875"/>
                    <a:pt x="1611" y="875"/>
                    <a:pt x="1611" y="875"/>
                  </a:cubicBezTo>
                  <a:cubicBezTo>
                    <a:pt x="1625" y="873"/>
                    <a:pt x="1625" y="873"/>
                    <a:pt x="1625" y="873"/>
                  </a:cubicBezTo>
                  <a:cubicBezTo>
                    <a:pt x="1625" y="873"/>
                    <a:pt x="1625" y="873"/>
                    <a:pt x="1626" y="873"/>
                  </a:cubicBezTo>
                  <a:cubicBezTo>
                    <a:pt x="1634" y="864"/>
                    <a:pt x="1634" y="864"/>
                    <a:pt x="1634" y="864"/>
                  </a:cubicBezTo>
                  <a:cubicBezTo>
                    <a:pt x="1638" y="861"/>
                    <a:pt x="1638" y="861"/>
                    <a:pt x="1638" y="861"/>
                  </a:cubicBezTo>
                  <a:cubicBezTo>
                    <a:pt x="1641" y="860"/>
                    <a:pt x="1641" y="860"/>
                    <a:pt x="1641" y="860"/>
                  </a:cubicBezTo>
                  <a:cubicBezTo>
                    <a:pt x="1642" y="860"/>
                    <a:pt x="1642" y="859"/>
                    <a:pt x="1643" y="859"/>
                  </a:cubicBezTo>
                  <a:cubicBezTo>
                    <a:pt x="1643" y="859"/>
                    <a:pt x="1643" y="859"/>
                    <a:pt x="1643" y="859"/>
                  </a:cubicBezTo>
                  <a:cubicBezTo>
                    <a:pt x="1644" y="858"/>
                    <a:pt x="1644" y="858"/>
                    <a:pt x="1645" y="858"/>
                  </a:cubicBezTo>
                  <a:cubicBezTo>
                    <a:pt x="1646" y="857"/>
                    <a:pt x="1648" y="856"/>
                    <a:pt x="1650" y="856"/>
                  </a:cubicBezTo>
                  <a:cubicBezTo>
                    <a:pt x="1650" y="855"/>
                    <a:pt x="1650" y="855"/>
                    <a:pt x="1650" y="855"/>
                  </a:cubicBezTo>
                  <a:cubicBezTo>
                    <a:pt x="1651" y="855"/>
                    <a:pt x="1652" y="855"/>
                    <a:pt x="1653" y="855"/>
                  </a:cubicBezTo>
                  <a:cubicBezTo>
                    <a:pt x="1654" y="855"/>
                    <a:pt x="1654" y="855"/>
                    <a:pt x="1654" y="855"/>
                  </a:cubicBezTo>
                  <a:cubicBezTo>
                    <a:pt x="1657" y="855"/>
                    <a:pt x="1659" y="855"/>
                    <a:pt x="1661" y="855"/>
                  </a:cubicBezTo>
                  <a:cubicBezTo>
                    <a:pt x="1664" y="855"/>
                    <a:pt x="1664" y="855"/>
                    <a:pt x="1664" y="855"/>
                  </a:cubicBezTo>
                  <a:cubicBezTo>
                    <a:pt x="1676" y="863"/>
                    <a:pt x="1676" y="863"/>
                    <a:pt x="1676" y="863"/>
                  </a:cubicBezTo>
                  <a:cubicBezTo>
                    <a:pt x="1677" y="863"/>
                    <a:pt x="1677" y="864"/>
                    <a:pt x="1677" y="864"/>
                  </a:cubicBezTo>
                  <a:cubicBezTo>
                    <a:pt x="1677" y="864"/>
                    <a:pt x="1677" y="864"/>
                    <a:pt x="1677" y="864"/>
                  </a:cubicBezTo>
                  <a:cubicBezTo>
                    <a:pt x="1677" y="864"/>
                    <a:pt x="1677" y="864"/>
                    <a:pt x="1677" y="864"/>
                  </a:cubicBezTo>
                  <a:cubicBezTo>
                    <a:pt x="1677" y="864"/>
                    <a:pt x="1677" y="864"/>
                    <a:pt x="1677" y="864"/>
                  </a:cubicBezTo>
                  <a:cubicBezTo>
                    <a:pt x="1690" y="860"/>
                    <a:pt x="1690" y="860"/>
                    <a:pt x="1690" y="860"/>
                  </a:cubicBezTo>
                  <a:cubicBezTo>
                    <a:pt x="1691" y="861"/>
                    <a:pt x="1691" y="861"/>
                    <a:pt x="1691" y="861"/>
                  </a:cubicBezTo>
                  <a:cubicBezTo>
                    <a:pt x="1693" y="861"/>
                    <a:pt x="1695" y="862"/>
                    <a:pt x="1697" y="864"/>
                  </a:cubicBezTo>
                  <a:cubicBezTo>
                    <a:pt x="1698" y="864"/>
                    <a:pt x="1698" y="864"/>
                    <a:pt x="1698" y="864"/>
                  </a:cubicBezTo>
                  <a:cubicBezTo>
                    <a:pt x="1698" y="865"/>
                    <a:pt x="1699" y="865"/>
                    <a:pt x="1699" y="865"/>
                  </a:cubicBezTo>
                  <a:cubicBezTo>
                    <a:pt x="1699" y="865"/>
                    <a:pt x="1699" y="865"/>
                    <a:pt x="1699" y="865"/>
                  </a:cubicBezTo>
                  <a:cubicBezTo>
                    <a:pt x="1700" y="865"/>
                    <a:pt x="1700" y="866"/>
                    <a:pt x="1700" y="866"/>
                  </a:cubicBezTo>
                  <a:cubicBezTo>
                    <a:pt x="1702" y="866"/>
                    <a:pt x="1703" y="867"/>
                    <a:pt x="1704" y="867"/>
                  </a:cubicBezTo>
                  <a:cubicBezTo>
                    <a:pt x="1715" y="870"/>
                    <a:pt x="1715" y="870"/>
                    <a:pt x="1715" y="870"/>
                  </a:cubicBezTo>
                  <a:cubicBezTo>
                    <a:pt x="1715" y="870"/>
                    <a:pt x="1715" y="870"/>
                    <a:pt x="1715" y="870"/>
                  </a:cubicBezTo>
                  <a:cubicBezTo>
                    <a:pt x="1721" y="872"/>
                    <a:pt x="1721" y="872"/>
                    <a:pt x="1721" y="872"/>
                  </a:cubicBezTo>
                  <a:cubicBezTo>
                    <a:pt x="1727" y="868"/>
                    <a:pt x="1727" y="868"/>
                    <a:pt x="1727" y="868"/>
                  </a:cubicBezTo>
                  <a:cubicBezTo>
                    <a:pt x="1729" y="867"/>
                    <a:pt x="1731" y="864"/>
                    <a:pt x="1734" y="863"/>
                  </a:cubicBezTo>
                  <a:cubicBezTo>
                    <a:pt x="1734" y="863"/>
                    <a:pt x="1734" y="863"/>
                    <a:pt x="1734" y="863"/>
                  </a:cubicBezTo>
                  <a:cubicBezTo>
                    <a:pt x="1742" y="862"/>
                    <a:pt x="1742" y="862"/>
                    <a:pt x="1742" y="862"/>
                  </a:cubicBezTo>
                  <a:cubicBezTo>
                    <a:pt x="1747" y="859"/>
                    <a:pt x="1747" y="859"/>
                    <a:pt x="1747" y="859"/>
                  </a:cubicBezTo>
                  <a:cubicBezTo>
                    <a:pt x="1747" y="859"/>
                    <a:pt x="1747" y="859"/>
                    <a:pt x="1747" y="859"/>
                  </a:cubicBezTo>
                  <a:cubicBezTo>
                    <a:pt x="1747" y="858"/>
                    <a:pt x="1747" y="858"/>
                    <a:pt x="1747" y="857"/>
                  </a:cubicBezTo>
                  <a:cubicBezTo>
                    <a:pt x="1747" y="857"/>
                    <a:pt x="1747" y="857"/>
                    <a:pt x="1747" y="857"/>
                  </a:cubicBezTo>
                  <a:cubicBezTo>
                    <a:pt x="1747" y="854"/>
                    <a:pt x="1747" y="854"/>
                    <a:pt x="1747" y="854"/>
                  </a:cubicBezTo>
                  <a:cubicBezTo>
                    <a:pt x="1748" y="846"/>
                    <a:pt x="1748" y="846"/>
                    <a:pt x="1748" y="846"/>
                  </a:cubicBezTo>
                  <a:cubicBezTo>
                    <a:pt x="1751" y="840"/>
                    <a:pt x="1751" y="840"/>
                    <a:pt x="1751" y="840"/>
                  </a:cubicBezTo>
                  <a:cubicBezTo>
                    <a:pt x="1755" y="834"/>
                    <a:pt x="1755" y="834"/>
                    <a:pt x="1755" y="834"/>
                  </a:cubicBezTo>
                  <a:cubicBezTo>
                    <a:pt x="1756" y="831"/>
                    <a:pt x="1757" y="829"/>
                    <a:pt x="1759" y="827"/>
                  </a:cubicBezTo>
                  <a:cubicBezTo>
                    <a:pt x="1760" y="824"/>
                    <a:pt x="1760" y="824"/>
                    <a:pt x="1760" y="824"/>
                  </a:cubicBezTo>
                  <a:cubicBezTo>
                    <a:pt x="1770" y="814"/>
                    <a:pt x="1770" y="814"/>
                    <a:pt x="1770" y="814"/>
                  </a:cubicBezTo>
                  <a:cubicBezTo>
                    <a:pt x="1772" y="812"/>
                    <a:pt x="1773" y="811"/>
                    <a:pt x="1774" y="809"/>
                  </a:cubicBezTo>
                  <a:cubicBezTo>
                    <a:pt x="1774" y="809"/>
                    <a:pt x="1774" y="809"/>
                    <a:pt x="1774" y="809"/>
                  </a:cubicBezTo>
                  <a:cubicBezTo>
                    <a:pt x="1774" y="808"/>
                    <a:pt x="1774" y="808"/>
                    <a:pt x="1774" y="808"/>
                  </a:cubicBezTo>
                  <a:cubicBezTo>
                    <a:pt x="1772" y="807"/>
                    <a:pt x="1772" y="807"/>
                    <a:pt x="1772" y="807"/>
                  </a:cubicBezTo>
                  <a:cubicBezTo>
                    <a:pt x="1772" y="806"/>
                    <a:pt x="1772" y="806"/>
                    <a:pt x="1772" y="806"/>
                  </a:cubicBezTo>
                  <a:cubicBezTo>
                    <a:pt x="1772" y="804"/>
                    <a:pt x="1772" y="804"/>
                    <a:pt x="1772" y="804"/>
                  </a:cubicBezTo>
                  <a:cubicBezTo>
                    <a:pt x="1773" y="801"/>
                    <a:pt x="1773" y="801"/>
                    <a:pt x="1773" y="801"/>
                  </a:cubicBezTo>
                  <a:cubicBezTo>
                    <a:pt x="1773" y="801"/>
                    <a:pt x="1772" y="801"/>
                    <a:pt x="1772" y="800"/>
                  </a:cubicBezTo>
                  <a:cubicBezTo>
                    <a:pt x="1771" y="800"/>
                    <a:pt x="1771" y="800"/>
                    <a:pt x="1771" y="800"/>
                  </a:cubicBezTo>
                  <a:cubicBezTo>
                    <a:pt x="1771" y="800"/>
                    <a:pt x="1771" y="800"/>
                    <a:pt x="1771" y="800"/>
                  </a:cubicBezTo>
                  <a:cubicBezTo>
                    <a:pt x="1770" y="800"/>
                    <a:pt x="1770" y="800"/>
                    <a:pt x="1770" y="800"/>
                  </a:cubicBezTo>
                  <a:cubicBezTo>
                    <a:pt x="1770" y="800"/>
                    <a:pt x="1769" y="800"/>
                    <a:pt x="1768" y="800"/>
                  </a:cubicBezTo>
                  <a:cubicBezTo>
                    <a:pt x="1768" y="800"/>
                    <a:pt x="1768" y="800"/>
                    <a:pt x="1768" y="800"/>
                  </a:cubicBezTo>
                  <a:cubicBezTo>
                    <a:pt x="1767" y="800"/>
                    <a:pt x="1766" y="800"/>
                    <a:pt x="1765" y="800"/>
                  </a:cubicBezTo>
                  <a:cubicBezTo>
                    <a:pt x="1762" y="801"/>
                    <a:pt x="1762" y="801"/>
                    <a:pt x="1762" y="801"/>
                  </a:cubicBezTo>
                  <a:cubicBezTo>
                    <a:pt x="1761" y="799"/>
                    <a:pt x="1761" y="799"/>
                    <a:pt x="1761" y="799"/>
                  </a:cubicBezTo>
                  <a:cubicBezTo>
                    <a:pt x="1761" y="798"/>
                    <a:pt x="1760" y="797"/>
                    <a:pt x="1760" y="794"/>
                  </a:cubicBezTo>
                  <a:cubicBezTo>
                    <a:pt x="1760" y="792"/>
                    <a:pt x="1760" y="792"/>
                    <a:pt x="1760" y="792"/>
                  </a:cubicBezTo>
                  <a:cubicBezTo>
                    <a:pt x="1763" y="791"/>
                    <a:pt x="1763" y="791"/>
                    <a:pt x="1763" y="791"/>
                  </a:cubicBezTo>
                  <a:cubicBezTo>
                    <a:pt x="1763" y="790"/>
                    <a:pt x="1764" y="790"/>
                    <a:pt x="1766" y="789"/>
                  </a:cubicBezTo>
                  <a:cubicBezTo>
                    <a:pt x="1766" y="788"/>
                    <a:pt x="1767" y="788"/>
                    <a:pt x="1767" y="788"/>
                  </a:cubicBezTo>
                  <a:cubicBezTo>
                    <a:pt x="1771" y="784"/>
                    <a:pt x="1771" y="784"/>
                    <a:pt x="1771" y="784"/>
                  </a:cubicBezTo>
                  <a:cubicBezTo>
                    <a:pt x="1772" y="783"/>
                    <a:pt x="1773" y="782"/>
                    <a:pt x="1775" y="780"/>
                  </a:cubicBezTo>
                  <a:cubicBezTo>
                    <a:pt x="1776" y="779"/>
                    <a:pt x="1776" y="779"/>
                    <a:pt x="1776" y="779"/>
                  </a:cubicBezTo>
                  <a:cubicBezTo>
                    <a:pt x="1777" y="779"/>
                    <a:pt x="1777" y="779"/>
                    <a:pt x="1777" y="779"/>
                  </a:cubicBezTo>
                  <a:cubicBezTo>
                    <a:pt x="1778" y="778"/>
                    <a:pt x="1778" y="778"/>
                    <a:pt x="1778" y="778"/>
                  </a:cubicBezTo>
                  <a:cubicBezTo>
                    <a:pt x="1779" y="778"/>
                    <a:pt x="1779" y="778"/>
                    <a:pt x="1779" y="778"/>
                  </a:cubicBezTo>
                  <a:cubicBezTo>
                    <a:pt x="1780" y="778"/>
                    <a:pt x="1780" y="778"/>
                    <a:pt x="1780" y="778"/>
                  </a:cubicBezTo>
                  <a:cubicBezTo>
                    <a:pt x="1781" y="778"/>
                    <a:pt x="1782" y="778"/>
                    <a:pt x="1783" y="778"/>
                  </a:cubicBezTo>
                  <a:cubicBezTo>
                    <a:pt x="1784" y="778"/>
                    <a:pt x="1784" y="778"/>
                    <a:pt x="1785" y="778"/>
                  </a:cubicBezTo>
                  <a:cubicBezTo>
                    <a:pt x="1789" y="777"/>
                    <a:pt x="1793" y="776"/>
                    <a:pt x="1797" y="775"/>
                  </a:cubicBezTo>
                  <a:cubicBezTo>
                    <a:pt x="1800" y="775"/>
                    <a:pt x="1800" y="775"/>
                    <a:pt x="1800" y="775"/>
                  </a:cubicBezTo>
                  <a:cubicBezTo>
                    <a:pt x="1810" y="774"/>
                    <a:pt x="1810" y="774"/>
                    <a:pt x="1810" y="774"/>
                  </a:cubicBezTo>
                  <a:cubicBezTo>
                    <a:pt x="1813" y="774"/>
                    <a:pt x="1816" y="773"/>
                    <a:pt x="1818" y="773"/>
                  </a:cubicBezTo>
                  <a:cubicBezTo>
                    <a:pt x="1820" y="772"/>
                    <a:pt x="1820" y="772"/>
                    <a:pt x="1820" y="772"/>
                  </a:cubicBezTo>
                  <a:cubicBezTo>
                    <a:pt x="1820" y="772"/>
                    <a:pt x="1821" y="772"/>
                    <a:pt x="1822" y="772"/>
                  </a:cubicBezTo>
                  <a:cubicBezTo>
                    <a:pt x="1823" y="771"/>
                    <a:pt x="1824" y="771"/>
                    <a:pt x="1825" y="771"/>
                  </a:cubicBezTo>
                  <a:cubicBezTo>
                    <a:pt x="1827" y="771"/>
                    <a:pt x="1827" y="771"/>
                    <a:pt x="1827" y="771"/>
                  </a:cubicBezTo>
                  <a:cubicBezTo>
                    <a:pt x="1829" y="771"/>
                    <a:pt x="1829" y="771"/>
                    <a:pt x="1829" y="771"/>
                  </a:cubicBezTo>
                  <a:cubicBezTo>
                    <a:pt x="1832" y="771"/>
                    <a:pt x="1832" y="771"/>
                    <a:pt x="1832" y="771"/>
                  </a:cubicBezTo>
                  <a:cubicBezTo>
                    <a:pt x="1833" y="772"/>
                    <a:pt x="1833" y="772"/>
                    <a:pt x="1833" y="772"/>
                  </a:cubicBezTo>
                  <a:cubicBezTo>
                    <a:pt x="1836" y="773"/>
                    <a:pt x="1839" y="775"/>
                    <a:pt x="1841" y="776"/>
                  </a:cubicBezTo>
                  <a:cubicBezTo>
                    <a:pt x="1851" y="780"/>
                    <a:pt x="1851" y="780"/>
                    <a:pt x="1851" y="780"/>
                  </a:cubicBezTo>
                  <a:cubicBezTo>
                    <a:pt x="1855" y="781"/>
                    <a:pt x="1855" y="781"/>
                    <a:pt x="1855" y="781"/>
                  </a:cubicBezTo>
                  <a:cubicBezTo>
                    <a:pt x="1855" y="781"/>
                    <a:pt x="1855" y="781"/>
                    <a:pt x="1855" y="781"/>
                  </a:cubicBezTo>
                  <a:cubicBezTo>
                    <a:pt x="1856" y="781"/>
                    <a:pt x="1856" y="781"/>
                    <a:pt x="1856" y="781"/>
                  </a:cubicBezTo>
                  <a:cubicBezTo>
                    <a:pt x="1857" y="780"/>
                    <a:pt x="1859" y="780"/>
                    <a:pt x="1860" y="780"/>
                  </a:cubicBezTo>
                  <a:cubicBezTo>
                    <a:pt x="1861" y="780"/>
                    <a:pt x="1861" y="780"/>
                    <a:pt x="1861" y="780"/>
                  </a:cubicBezTo>
                  <a:cubicBezTo>
                    <a:pt x="1862" y="781"/>
                    <a:pt x="1862" y="781"/>
                    <a:pt x="1862" y="781"/>
                  </a:cubicBezTo>
                  <a:cubicBezTo>
                    <a:pt x="1862" y="781"/>
                    <a:pt x="1862" y="781"/>
                    <a:pt x="1862" y="781"/>
                  </a:cubicBezTo>
                  <a:cubicBezTo>
                    <a:pt x="1863" y="781"/>
                    <a:pt x="1863" y="781"/>
                    <a:pt x="1863" y="782"/>
                  </a:cubicBezTo>
                  <a:cubicBezTo>
                    <a:pt x="1863" y="782"/>
                    <a:pt x="1863" y="782"/>
                    <a:pt x="1863" y="782"/>
                  </a:cubicBezTo>
                  <a:cubicBezTo>
                    <a:pt x="1863" y="782"/>
                    <a:pt x="1863" y="782"/>
                    <a:pt x="1864" y="782"/>
                  </a:cubicBezTo>
                  <a:cubicBezTo>
                    <a:pt x="1865" y="783"/>
                    <a:pt x="1865" y="783"/>
                    <a:pt x="1865" y="783"/>
                  </a:cubicBezTo>
                  <a:cubicBezTo>
                    <a:pt x="1865" y="783"/>
                    <a:pt x="1866" y="783"/>
                    <a:pt x="1866" y="783"/>
                  </a:cubicBezTo>
                  <a:cubicBezTo>
                    <a:pt x="1867" y="783"/>
                    <a:pt x="1867" y="783"/>
                    <a:pt x="1867" y="783"/>
                  </a:cubicBezTo>
                  <a:cubicBezTo>
                    <a:pt x="1868" y="784"/>
                    <a:pt x="1868" y="784"/>
                    <a:pt x="1868" y="784"/>
                  </a:cubicBezTo>
                  <a:cubicBezTo>
                    <a:pt x="1868" y="784"/>
                    <a:pt x="1868" y="784"/>
                    <a:pt x="1868" y="784"/>
                  </a:cubicBezTo>
                  <a:cubicBezTo>
                    <a:pt x="1869" y="784"/>
                    <a:pt x="1869" y="784"/>
                    <a:pt x="1869" y="784"/>
                  </a:cubicBezTo>
                  <a:cubicBezTo>
                    <a:pt x="1870" y="784"/>
                    <a:pt x="1870" y="784"/>
                    <a:pt x="1870" y="784"/>
                  </a:cubicBezTo>
                  <a:cubicBezTo>
                    <a:pt x="1875" y="789"/>
                    <a:pt x="1875" y="789"/>
                    <a:pt x="1875" y="789"/>
                  </a:cubicBezTo>
                  <a:cubicBezTo>
                    <a:pt x="1877" y="786"/>
                    <a:pt x="1877" y="786"/>
                    <a:pt x="1877" y="786"/>
                  </a:cubicBezTo>
                  <a:cubicBezTo>
                    <a:pt x="1876" y="789"/>
                    <a:pt x="1876" y="789"/>
                    <a:pt x="1876" y="789"/>
                  </a:cubicBezTo>
                  <a:cubicBezTo>
                    <a:pt x="1876" y="790"/>
                    <a:pt x="1876" y="790"/>
                    <a:pt x="1876" y="790"/>
                  </a:cubicBezTo>
                  <a:cubicBezTo>
                    <a:pt x="1876" y="790"/>
                    <a:pt x="1877" y="790"/>
                    <a:pt x="1877" y="790"/>
                  </a:cubicBezTo>
                  <a:cubicBezTo>
                    <a:pt x="1878" y="791"/>
                    <a:pt x="1878" y="791"/>
                    <a:pt x="1878" y="791"/>
                  </a:cubicBezTo>
                  <a:cubicBezTo>
                    <a:pt x="1878" y="791"/>
                    <a:pt x="1878" y="791"/>
                    <a:pt x="1878" y="791"/>
                  </a:cubicBezTo>
                  <a:cubicBezTo>
                    <a:pt x="1880" y="792"/>
                    <a:pt x="1880" y="792"/>
                    <a:pt x="1880" y="792"/>
                  </a:cubicBezTo>
                  <a:cubicBezTo>
                    <a:pt x="1880" y="794"/>
                    <a:pt x="1880" y="794"/>
                    <a:pt x="1880" y="794"/>
                  </a:cubicBezTo>
                  <a:cubicBezTo>
                    <a:pt x="1880" y="795"/>
                    <a:pt x="1880" y="795"/>
                    <a:pt x="1880" y="795"/>
                  </a:cubicBezTo>
                  <a:cubicBezTo>
                    <a:pt x="1880" y="796"/>
                    <a:pt x="1879" y="797"/>
                    <a:pt x="1879" y="797"/>
                  </a:cubicBezTo>
                  <a:cubicBezTo>
                    <a:pt x="1879" y="798"/>
                    <a:pt x="1879" y="798"/>
                    <a:pt x="1879" y="798"/>
                  </a:cubicBezTo>
                  <a:cubicBezTo>
                    <a:pt x="1879" y="799"/>
                    <a:pt x="1879" y="799"/>
                    <a:pt x="1879" y="799"/>
                  </a:cubicBezTo>
                  <a:cubicBezTo>
                    <a:pt x="1880" y="799"/>
                    <a:pt x="1880" y="799"/>
                    <a:pt x="1881" y="800"/>
                  </a:cubicBezTo>
                  <a:cubicBezTo>
                    <a:pt x="1883" y="802"/>
                    <a:pt x="1886" y="805"/>
                    <a:pt x="1887" y="808"/>
                  </a:cubicBezTo>
                  <a:cubicBezTo>
                    <a:pt x="1888" y="809"/>
                    <a:pt x="1888" y="809"/>
                    <a:pt x="1888" y="809"/>
                  </a:cubicBezTo>
                  <a:cubicBezTo>
                    <a:pt x="1888" y="811"/>
                    <a:pt x="1888" y="811"/>
                    <a:pt x="1888" y="811"/>
                  </a:cubicBezTo>
                  <a:cubicBezTo>
                    <a:pt x="1888" y="813"/>
                    <a:pt x="1888" y="813"/>
                    <a:pt x="1888" y="813"/>
                  </a:cubicBezTo>
                  <a:cubicBezTo>
                    <a:pt x="1887" y="814"/>
                    <a:pt x="1887" y="814"/>
                    <a:pt x="1887" y="814"/>
                  </a:cubicBezTo>
                  <a:cubicBezTo>
                    <a:pt x="1887" y="814"/>
                    <a:pt x="1887" y="814"/>
                    <a:pt x="1887" y="814"/>
                  </a:cubicBezTo>
                  <a:cubicBezTo>
                    <a:pt x="1888" y="815"/>
                    <a:pt x="1888" y="815"/>
                    <a:pt x="1888" y="815"/>
                  </a:cubicBezTo>
                  <a:cubicBezTo>
                    <a:pt x="1889" y="819"/>
                    <a:pt x="1891" y="823"/>
                    <a:pt x="1893" y="826"/>
                  </a:cubicBezTo>
                  <a:cubicBezTo>
                    <a:pt x="1894" y="829"/>
                    <a:pt x="1894" y="829"/>
                    <a:pt x="1894" y="829"/>
                  </a:cubicBezTo>
                  <a:cubicBezTo>
                    <a:pt x="1894" y="829"/>
                    <a:pt x="1894" y="829"/>
                    <a:pt x="1894" y="829"/>
                  </a:cubicBezTo>
                  <a:cubicBezTo>
                    <a:pt x="1897" y="828"/>
                    <a:pt x="1897" y="828"/>
                    <a:pt x="1897" y="828"/>
                  </a:cubicBezTo>
                  <a:cubicBezTo>
                    <a:pt x="1898" y="838"/>
                    <a:pt x="1898" y="838"/>
                    <a:pt x="1898" y="838"/>
                  </a:cubicBezTo>
                  <a:cubicBezTo>
                    <a:pt x="1899" y="839"/>
                    <a:pt x="1899" y="839"/>
                    <a:pt x="1899" y="839"/>
                  </a:cubicBezTo>
                  <a:cubicBezTo>
                    <a:pt x="1899" y="839"/>
                    <a:pt x="1899" y="839"/>
                    <a:pt x="1899" y="839"/>
                  </a:cubicBezTo>
                  <a:cubicBezTo>
                    <a:pt x="1899" y="839"/>
                    <a:pt x="1899" y="839"/>
                    <a:pt x="1899" y="839"/>
                  </a:cubicBezTo>
                  <a:cubicBezTo>
                    <a:pt x="1900" y="840"/>
                    <a:pt x="1900" y="840"/>
                    <a:pt x="1900" y="840"/>
                  </a:cubicBezTo>
                  <a:cubicBezTo>
                    <a:pt x="1906" y="853"/>
                    <a:pt x="1906" y="853"/>
                    <a:pt x="1906" y="853"/>
                  </a:cubicBezTo>
                  <a:cubicBezTo>
                    <a:pt x="1906" y="854"/>
                    <a:pt x="1906" y="854"/>
                    <a:pt x="1907" y="855"/>
                  </a:cubicBezTo>
                  <a:cubicBezTo>
                    <a:pt x="1906" y="856"/>
                    <a:pt x="1906" y="856"/>
                    <a:pt x="1906" y="856"/>
                  </a:cubicBezTo>
                  <a:cubicBezTo>
                    <a:pt x="1907" y="855"/>
                    <a:pt x="1907" y="855"/>
                    <a:pt x="1907" y="855"/>
                  </a:cubicBezTo>
                  <a:cubicBezTo>
                    <a:pt x="1907" y="856"/>
                    <a:pt x="1908" y="856"/>
                    <a:pt x="1908" y="857"/>
                  </a:cubicBezTo>
                  <a:cubicBezTo>
                    <a:pt x="1908" y="857"/>
                    <a:pt x="1908" y="857"/>
                    <a:pt x="1908" y="857"/>
                  </a:cubicBezTo>
                  <a:cubicBezTo>
                    <a:pt x="1909" y="858"/>
                    <a:pt x="1909" y="858"/>
                    <a:pt x="1909" y="858"/>
                  </a:cubicBezTo>
                  <a:cubicBezTo>
                    <a:pt x="1908" y="861"/>
                    <a:pt x="1908" y="861"/>
                    <a:pt x="1908" y="861"/>
                  </a:cubicBezTo>
                  <a:cubicBezTo>
                    <a:pt x="1908" y="861"/>
                    <a:pt x="1908" y="862"/>
                    <a:pt x="1908" y="862"/>
                  </a:cubicBezTo>
                  <a:cubicBezTo>
                    <a:pt x="1908" y="863"/>
                    <a:pt x="1908" y="863"/>
                    <a:pt x="1908" y="863"/>
                  </a:cubicBezTo>
                  <a:cubicBezTo>
                    <a:pt x="1908" y="864"/>
                    <a:pt x="1908" y="865"/>
                    <a:pt x="1908" y="865"/>
                  </a:cubicBezTo>
                  <a:cubicBezTo>
                    <a:pt x="1912" y="871"/>
                    <a:pt x="1912" y="871"/>
                    <a:pt x="1912" y="871"/>
                  </a:cubicBezTo>
                  <a:cubicBezTo>
                    <a:pt x="1912" y="871"/>
                    <a:pt x="1912" y="872"/>
                    <a:pt x="1914" y="872"/>
                  </a:cubicBezTo>
                  <a:cubicBezTo>
                    <a:pt x="1924" y="872"/>
                    <a:pt x="1924" y="872"/>
                    <a:pt x="1924" y="872"/>
                  </a:cubicBezTo>
                  <a:cubicBezTo>
                    <a:pt x="1926" y="872"/>
                    <a:pt x="1928" y="873"/>
                    <a:pt x="1930" y="874"/>
                  </a:cubicBezTo>
                  <a:cubicBezTo>
                    <a:pt x="1931" y="874"/>
                    <a:pt x="1931" y="874"/>
                    <a:pt x="1931" y="874"/>
                  </a:cubicBezTo>
                  <a:cubicBezTo>
                    <a:pt x="1931" y="874"/>
                    <a:pt x="1932" y="874"/>
                    <a:pt x="1932" y="875"/>
                  </a:cubicBezTo>
                  <a:cubicBezTo>
                    <a:pt x="1938" y="877"/>
                    <a:pt x="1938" y="877"/>
                    <a:pt x="1938" y="877"/>
                  </a:cubicBezTo>
                  <a:cubicBezTo>
                    <a:pt x="1941" y="875"/>
                    <a:pt x="1941" y="875"/>
                    <a:pt x="1941" y="875"/>
                  </a:cubicBezTo>
                  <a:cubicBezTo>
                    <a:pt x="1944" y="876"/>
                    <a:pt x="1944" y="876"/>
                    <a:pt x="1944" y="876"/>
                  </a:cubicBezTo>
                  <a:cubicBezTo>
                    <a:pt x="1958" y="889"/>
                    <a:pt x="1958" y="889"/>
                    <a:pt x="1958" y="889"/>
                  </a:cubicBezTo>
                  <a:cubicBezTo>
                    <a:pt x="1958" y="889"/>
                    <a:pt x="1958" y="889"/>
                    <a:pt x="1958" y="889"/>
                  </a:cubicBezTo>
                  <a:cubicBezTo>
                    <a:pt x="1959" y="889"/>
                    <a:pt x="1959" y="889"/>
                    <a:pt x="1959" y="889"/>
                  </a:cubicBezTo>
                  <a:cubicBezTo>
                    <a:pt x="1960" y="889"/>
                    <a:pt x="1960" y="889"/>
                    <a:pt x="1960" y="889"/>
                  </a:cubicBezTo>
                  <a:cubicBezTo>
                    <a:pt x="1967" y="889"/>
                    <a:pt x="1967" y="889"/>
                    <a:pt x="1967" y="889"/>
                  </a:cubicBezTo>
                  <a:cubicBezTo>
                    <a:pt x="1965" y="897"/>
                    <a:pt x="1965" y="897"/>
                    <a:pt x="1965" y="897"/>
                  </a:cubicBezTo>
                  <a:cubicBezTo>
                    <a:pt x="1965" y="897"/>
                    <a:pt x="1965" y="897"/>
                    <a:pt x="1965" y="897"/>
                  </a:cubicBezTo>
                  <a:cubicBezTo>
                    <a:pt x="1966" y="898"/>
                    <a:pt x="1966" y="898"/>
                    <a:pt x="1966" y="898"/>
                  </a:cubicBezTo>
                  <a:cubicBezTo>
                    <a:pt x="1967" y="898"/>
                    <a:pt x="1968" y="899"/>
                    <a:pt x="1968" y="899"/>
                  </a:cubicBezTo>
                  <a:cubicBezTo>
                    <a:pt x="1968" y="899"/>
                    <a:pt x="1969" y="900"/>
                    <a:pt x="1969" y="900"/>
                  </a:cubicBezTo>
                  <a:cubicBezTo>
                    <a:pt x="1970" y="901"/>
                    <a:pt x="1970" y="902"/>
                    <a:pt x="1970" y="903"/>
                  </a:cubicBezTo>
                  <a:cubicBezTo>
                    <a:pt x="1970" y="903"/>
                    <a:pt x="1970" y="904"/>
                    <a:pt x="1970" y="904"/>
                  </a:cubicBezTo>
                  <a:cubicBezTo>
                    <a:pt x="1971" y="905"/>
                    <a:pt x="1971" y="907"/>
                    <a:pt x="1969" y="908"/>
                  </a:cubicBezTo>
                  <a:cubicBezTo>
                    <a:pt x="1969" y="909"/>
                    <a:pt x="1969" y="909"/>
                    <a:pt x="1969" y="909"/>
                  </a:cubicBezTo>
                  <a:cubicBezTo>
                    <a:pt x="1968" y="910"/>
                    <a:pt x="1968" y="911"/>
                    <a:pt x="1968" y="911"/>
                  </a:cubicBezTo>
                  <a:cubicBezTo>
                    <a:pt x="1968" y="911"/>
                    <a:pt x="1969" y="911"/>
                    <a:pt x="1969" y="912"/>
                  </a:cubicBezTo>
                  <a:cubicBezTo>
                    <a:pt x="1969" y="912"/>
                    <a:pt x="1969" y="912"/>
                    <a:pt x="1970" y="912"/>
                  </a:cubicBezTo>
                  <a:cubicBezTo>
                    <a:pt x="1970" y="913"/>
                    <a:pt x="1970" y="913"/>
                    <a:pt x="1970" y="913"/>
                  </a:cubicBezTo>
                  <a:cubicBezTo>
                    <a:pt x="1970" y="913"/>
                    <a:pt x="1971" y="913"/>
                    <a:pt x="1971" y="914"/>
                  </a:cubicBezTo>
                  <a:cubicBezTo>
                    <a:pt x="1971" y="914"/>
                    <a:pt x="1971" y="914"/>
                    <a:pt x="1971" y="914"/>
                  </a:cubicBezTo>
                  <a:cubicBezTo>
                    <a:pt x="1972" y="915"/>
                    <a:pt x="1972" y="915"/>
                    <a:pt x="1972" y="915"/>
                  </a:cubicBezTo>
                  <a:cubicBezTo>
                    <a:pt x="1972" y="916"/>
                    <a:pt x="1972" y="916"/>
                    <a:pt x="1973" y="916"/>
                  </a:cubicBezTo>
                  <a:cubicBezTo>
                    <a:pt x="1973" y="917"/>
                    <a:pt x="1973" y="917"/>
                    <a:pt x="1973" y="918"/>
                  </a:cubicBezTo>
                  <a:cubicBezTo>
                    <a:pt x="1973" y="918"/>
                    <a:pt x="1973" y="918"/>
                    <a:pt x="1973" y="918"/>
                  </a:cubicBezTo>
                  <a:cubicBezTo>
                    <a:pt x="1975" y="918"/>
                    <a:pt x="1978" y="918"/>
                    <a:pt x="1980" y="918"/>
                  </a:cubicBezTo>
                  <a:cubicBezTo>
                    <a:pt x="1986" y="918"/>
                    <a:pt x="1991" y="918"/>
                    <a:pt x="1998" y="918"/>
                  </a:cubicBezTo>
                  <a:cubicBezTo>
                    <a:pt x="1999" y="918"/>
                    <a:pt x="1999" y="918"/>
                    <a:pt x="1999" y="917"/>
                  </a:cubicBezTo>
                  <a:cubicBezTo>
                    <a:pt x="2000" y="916"/>
                    <a:pt x="2000" y="915"/>
                    <a:pt x="2001" y="914"/>
                  </a:cubicBezTo>
                  <a:cubicBezTo>
                    <a:pt x="2002" y="912"/>
                    <a:pt x="2004" y="911"/>
                    <a:pt x="2006" y="910"/>
                  </a:cubicBezTo>
                  <a:cubicBezTo>
                    <a:pt x="2008" y="909"/>
                    <a:pt x="2010" y="908"/>
                    <a:pt x="2012" y="908"/>
                  </a:cubicBezTo>
                  <a:cubicBezTo>
                    <a:pt x="2014" y="908"/>
                    <a:pt x="2015" y="908"/>
                    <a:pt x="2017" y="907"/>
                  </a:cubicBezTo>
                  <a:cubicBezTo>
                    <a:pt x="2022" y="905"/>
                    <a:pt x="2022" y="905"/>
                    <a:pt x="2022" y="905"/>
                  </a:cubicBezTo>
                  <a:cubicBezTo>
                    <a:pt x="2025" y="904"/>
                    <a:pt x="2027" y="903"/>
                    <a:pt x="2030" y="903"/>
                  </a:cubicBezTo>
                  <a:cubicBezTo>
                    <a:pt x="2028" y="902"/>
                    <a:pt x="2028" y="902"/>
                    <a:pt x="2028" y="902"/>
                  </a:cubicBezTo>
                  <a:cubicBezTo>
                    <a:pt x="2038" y="901"/>
                    <a:pt x="2038" y="901"/>
                    <a:pt x="2038" y="901"/>
                  </a:cubicBezTo>
                  <a:cubicBezTo>
                    <a:pt x="2041" y="900"/>
                    <a:pt x="2043" y="900"/>
                    <a:pt x="2046" y="900"/>
                  </a:cubicBezTo>
                  <a:cubicBezTo>
                    <a:pt x="2046" y="900"/>
                    <a:pt x="2047" y="900"/>
                    <a:pt x="2047" y="900"/>
                  </a:cubicBezTo>
                  <a:cubicBezTo>
                    <a:pt x="2048" y="900"/>
                    <a:pt x="2048" y="900"/>
                    <a:pt x="2048" y="900"/>
                  </a:cubicBezTo>
                  <a:cubicBezTo>
                    <a:pt x="2054" y="900"/>
                    <a:pt x="2054" y="900"/>
                    <a:pt x="2054" y="900"/>
                  </a:cubicBezTo>
                  <a:cubicBezTo>
                    <a:pt x="2049" y="904"/>
                    <a:pt x="2049" y="904"/>
                    <a:pt x="2049" y="904"/>
                  </a:cubicBezTo>
                  <a:cubicBezTo>
                    <a:pt x="2049" y="904"/>
                    <a:pt x="2049" y="905"/>
                    <a:pt x="2048" y="905"/>
                  </a:cubicBezTo>
                  <a:cubicBezTo>
                    <a:pt x="2047" y="907"/>
                    <a:pt x="2045" y="908"/>
                    <a:pt x="2044" y="908"/>
                  </a:cubicBezTo>
                  <a:cubicBezTo>
                    <a:pt x="2044" y="908"/>
                    <a:pt x="2044" y="908"/>
                    <a:pt x="2044" y="908"/>
                  </a:cubicBezTo>
                  <a:cubicBezTo>
                    <a:pt x="2043" y="910"/>
                    <a:pt x="2042" y="912"/>
                    <a:pt x="2042" y="913"/>
                  </a:cubicBezTo>
                  <a:cubicBezTo>
                    <a:pt x="2042" y="913"/>
                    <a:pt x="2043" y="914"/>
                    <a:pt x="2043" y="915"/>
                  </a:cubicBezTo>
                  <a:cubicBezTo>
                    <a:pt x="2044" y="916"/>
                    <a:pt x="2045" y="916"/>
                    <a:pt x="2045" y="917"/>
                  </a:cubicBezTo>
                  <a:cubicBezTo>
                    <a:pt x="2045" y="917"/>
                    <a:pt x="2045" y="918"/>
                    <a:pt x="2045" y="918"/>
                  </a:cubicBezTo>
                  <a:cubicBezTo>
                    <a:pt x="2045" y="919"/>
                    <a:pt x="2045" y="919"/>
                    <a:pt x="2045" y="919"/>
                  </a:cubicBezTo>
                  <a:cubicBezTo>
                    <a:pt x="2046" y="919"/>
                    <a:pt x="2046" y="920"/>
                    <a:pt x="2045" y="920"/>
                  </a:cubicBezTo>
                  <a:cubicBezTo>
                    <a:pt x="2045" y="924"/>
                    <a:pt x="2041" y="926"/>
                    <a:pt x="2039" y="927"/>
                  </a:cubicBezTo>
                  <a:cubicBezTo>
                    <a:pt x="2038" y="928"/>
                    <a:pt x="2038" y="928"/>
                    <a:pt x="2038" y="928"/>
                  </a:cubicBezTo>
                  <a:cubicBezTo>
                    <a:pt x="2038" y="928"/>
                    <a:pt x="2037" y="928"/>
                    <a:pt x="2037" y="928"/>
                  </a:cubicBezTo>
                  <a:cubicBezTo>
                    <a:pt x="2036" y="929"/>
                    <a:pt x="2036" y="929"/>
                    <a:pt x="2036" y="929"/>
                  </a:cubicBezTo>
                  <a:cubicBezTo>
                    <a:pt x="2035" y="929"/>
                    <a:pt x="2035" y="929"/>
                    <a:pt x="2035" y="930"/>
                  </a:cubicBezTo>
                  <a:cubicBezTo>
                    <a:pt x="2035" y="930"/>
                    <a:pt x="2035" y="930"/>
                    <a:pt x="2035" y="931"/>
                  </a:cubicBezTo>
                  <a:cubicBezTo>
                    <a:pt x="2035" y="932"/>
                    <a:pt x="2035" y="933"/>
                    <a:pt x="2035" y="934"/>
                  </a:cubicBezTo>
                  <a:cubicBezTo>
                    <a:pt x="2034" y="934"/>
                    <a:pt x="2034" y="934"/>
                    <a:pt x="2034" y="934"/>
                  </a:cubicBezTo>
                  <a:cubicBezTo>
                    <a:pt x="2034" y="936"/>
                    <a:pt x="2034" y="937"/>
                    <a:pt x="2033" y="939"/>
                  </a:cubicBezTo>
                  <a:cubicBezTo>
                    <a:pt x="2033" y="939"/>
                    <a:pt x="2033" y="939"/>
                    <a:pt x="2033" y="939"/>
                  </a:cubicBezTo>
                  <a:cubicBezTo>
                    <a:pt x="2033" y="939"/>
                    <a:pt x="2033" y="940"/>
                    <a:pt x="2033" y="941"/>
                  </a:cubicBezTo>
                  <a:cubicBezTo>
                    <a:pt x="2032" y="942"/>
                    <a:pt x="2032" y="942"/>
                    <a:pt x="2032" y="942"/>
                  </a:cubicBezTo>
                  <a:cubicBezTo>
                    <a:pt x="2032" y="943"/>
                    <a:pt x="2032" y="944"/>
                    <a:pt x="2031" y="945"/>
                  </a:cubicBezTo>
                  <a:cubicBezTo>
                    <a:pt x="2031" y="945"/>
                    <a:pt x="2031" y="946"/>
                    <a:pt x="2031" y="946"/>
                  </a:cubicBezTo>
                  <a:cubicBezTo>
                    <a:pt x="2031" y="947"/>
                    <a:pt x="2030" y="948"/>
                    <a:pt x="2029" y="949"/>
                  </a:cubicBezTo>
                  <a:cubicBezTo>
                    <a:pt x="2029" y="949"/>
                    <a:pt x="2029" y="949"/>
                    <a:pt x="2029" y="949"/>
                  </a:cubicBezTo>
                  <a:cubicBezTo>
                    <a:pt x="2029" y="949"/>
                    <a:pt x="2029" y="949"/>
                    <a:pt x="2029" y="949"/>
                  </a:cubicBezTo>
                  <a:cubicBezTo>
                    <a:pt x="2029" y="950"/>
                    <a:pt x="2029" y="950"/>
                    <a:pt x="2029" y="950"/>
                  </a:cubicBezTo>
                  <a:cubicBezTo>
                    <a:pt x="2029" y="951"/>
                    <a:pt x="2029" y="951"/>
                    <a:pt x="2029" y="951"/>
                  </a:cubicBezTo>
                  <a:cubicBezTo>
                    <a:pt x="2029" y="953"/>
                    <a:pt x="2029" y="955"/>
                    <a:pt x="2028" y="957"/>
                  </a:cubicBezTo>
                  <a:cubicBezTo>
                    <a:pt x="2027" y="959"/>
                    <a:pt x="2025" y="961"/>
                    <a:pt x="2024" y="963"/>
                  </a:cubicBezTo>
                  <a:cubicBezTo>
                    <a:pt x="2023" y="963"/>
                    <a:pt x="2023" y="964"/>
                    <a:pt x="2022" y="964"/>
                  </a:cubicBezTo>
                  <a:cubicBezTo>
                    <a:pt x="2022" y="965"/>
                    <a:pt x="2022" y="966"/>
                    <a:pt x="2021" y="968"/>
                  </a:cubicBezTo>
                  <a:cubicBezTo>
                    <a:pt x="2021" y="968"/>
                    <a:pt x="2021" y="968"/>
                    <a:pt x="2021" y="968"/>
                  </a:cubicBezTo>
                  <a:cubicBezTo>
                    <a:pt x="2025" y="968"/>
                    <a:pt x="2025" y="968"/>
                    <a:pt x="2025" y="968"/>
                  </a:cubicBezTo>
                  <a:cubicBezTo>
                    <a:pt x="2021" y="969"/>
                    <a:pt x="2021" y="969"/>
                    <a:pt x="2021" y="969"/>
                  </a:cubicBezTo>
                  <a:cubicBezTo>
                    <a:pt x="2021" y="969"/>
                    <a:pt x="2021" y="969"/>
                    <a:pt x="2021" y="969"/>
                  </a:cubicBezTo>
                  <a:cubicBezTo>
                    <a:pt x="2021" y="969"/>
                    <a:pt x="2021" y="970"/>
                    <a:pt x="2021" y="970"/>
                  </a:cubicBezTo>
                  <a:cubicBezTo>
                    <a:pt x="2021" y="970"/>
                    <a:pt x="2021" y="970"/>
                    <a:pt x="2021" y="970"/>
                  </a:cubicBezTo>
                  <a:cubicBezTo>
                    <a:pt x="2021" y="971"/>
                    <a:pt x="2021" y="971"/>
                    <a:pt x="2020" y="971"/>
                  </a:cubicBezTo>
                  <a:cubicBezTo>
                    <a:pt x="2020" y="971"/>
                    <a:pt x="2020" y="972"/>
                    <a:pt x="2020" y="972"/>
                  </a:cubicBezTo>
                  <a:cubicBezTo>
                    <a:pt x="2019" y="973"/>
                    <a:pt x="2017" y="974"/>
                    <a:pt x="2016" y="975"/>
                  </a:cubicBezTo>
                  <a:cubicBezTo>
                    <a:pt x="2015" y="975"/>
                    <a:pt x="2015" y="975"/>
                    <a:pt x="2015" y="975"/>
                  </a:cubicBezTo>
                  <a:cubicBezTo>
                    <a:pt x="2015" y="976"/>
                    <a:pt x="2014" y="976"/>
                    <a:pt x="2014" y="977"/>
                  </a:cubicBezTo>
                  <a:cubicBezTo>
                    <a:pt x="2014" y="978"/>
                    <a:pt x="2014" y="978"/>
                    <a:pt x="2014" y="979"/>
                  </a:cubicBezTo>
                  <a:cubicBezTo>
                    <a:pt x="2014" y="980"/>
                    <a:pt x="2014" y="980"/>
                    <a:pt x="2014" y="980"/>
                  </a:cubicBezTo>
                  <a:cubicBezTo>
                    <a:pt x="2014" y="981"/>
                    <a:pt x="2014" y="982"/>
                    <a:pt x="2013" y="983"/>
                  </a:cubicBezTo>
                  <a:cubicBezTo>
                    <a:pt x="2012" y="985"/>
                    <a:pt x="2008" y="986"/>
                    <a:pt x="2006" y="986"/>
                  </a:cubicBezTo>
                  <a:cubicBezTo>
                    <a:pt x="2005" y="986"/>
                    <a:pt x="2003" y="985"/>
                    <a:pt x="2000" y="984"/>
                  </a:cubicBezTo>
                  <a:cubicBezTo>
                    <a:pt x="2000" y="984"/>
                    <a:pt x="2000" y="984"/>
                    <a:pt x="2000" y="984"/>
                  </a:cubicBezTo>
                  <a:cubicBezTo>
                    <a:pt x="1999" y="984"/>
                    <a:pt x="1999" y="984"/>
                    <a:pt x="1998" y="984"/>
                  </a:cubicBezTo>
                  <a:cubicBezTo>
                    <a:pt x="1998" y="983"/>
                    <a:pt x="1997" y="983"/>
                    <a:pt x="1996" y="983"/>
                  </a:cubicBezTo>
                  <a:cubicBezTo>
                    <a:pt x="1993" y="983"/>
                    <a:pt x="1990" y="982"/>
                    <a:pt x="1989" y="980"/>
                  </a:cubicBezTo>
                  <a:cubicBezTo>
                    <a:pt x="1988" y="980"/>
                    <a:pt x="1988" y="980"/>
                    <a:pt x="1988" y="980"/>
                  </a:cubicBezTo>
                  <a:cubicBezTo>
                    <a:pt x="1988" y="980"/>
                    <a:pt x="1988" y="980"/>
                    <a:pt x="1988" y="981"/>
                  </a:cubicBezTo>
                  <a:cubicBezTo>
                    <a:pt x="1991" y="984"/>
                    <a:pt x="1991" y="984"/>
                    <a:pt x="1991" y="984"/>
                  </a:cubicBezTo>
                  <a:cubicBezTo>
                    <a:pt x="1987" y="982"/>
                    <a:pt x="1987" y="982"/>
                    <a:pt x="1987" y="982"/>
                  </a:cubicBezTo>
                  <a:cubicBezTo>
                    <a:pt x="1986" y="983"/>
                    <a:pt x="1985" y="985"/>
                    <a:pt x="1983" y="986"/>
                  </a:cubicBezTo>
                  <a:cubicBezTo>
                    <a:pt x="1983" y="986"/>
                    <a:pt x="1983" y="986"/>
                    <a:pt x="1983" y="986"/>
                  </a:cubicBezTo>
                  <a:cubicBezTo>
                    <a:pt x="1981" y="988"/>
                    <a:pt x="1977" y="989"/>
                    <a:pt x="1974" y="990"/>
                  </a:cubicBezTo>
                  <a:cubicBezTo>
                    <a:pt x="1974" y="990"/>
                    <a:pt x="1974" y="990"/>
                    <a:pt x="1974" y="990"/>
                  </a:cubicBezTo>
                  <a:cubicBezTo>
                    <a:pt x="1976" y="995"/>
                    <a:pt x="1978" y="1001"/>
                    <a:pt x="1978" y="1008"/>
                  </a:cubicBezTo>
                  <a:cubicBezTo>
                    <a:pt x="1978" y="1010"/>
                    <a:pt x="1978" y="1013"/>
                    <a:pt x="1979" y="1015"/>
                  </a:cubicBezTo>
                  <a:cubicBezTo>
                    <a:pt x="1979" y="1017"/>
                    <a:pt x="1979" y="1018"/>
                    <a:pt x="1979" y="1019"/>
                  </a:cubicBezTo>
                  <a:cubicBezTo>
                    <a:pt x="1979" y="1023"/>
                    <a:pt x="1978" y="1026"/>
                    <a:pt x="1978" y="1029"/>
                  </a:cubicBezTo>
                  <a:cubicBezTo>
                    <a:pt x="1977" y="1030"/>
                    <a:pt x="1977" y="1030"/>
                    <a:pt x="1977" y="1030"/>
                  </a:cubicBezTo>
                  <a:cubicBezTo>
                    <a:pt x="1976" y="1034"/>
                    <a:pt x="1975" y="1037"/>
                    <a:pt x="1970" y="1037"/>
                  </a:cubicBezTo>
                  <a:cubicBezTo>
                    <a:pt x="1968" y="1037"/>
                    <a:pt x="1967" y="1037"/>
                    <a:pt x="1965" y="1038"/>
                  </a:cubicBezTo>
                  <a:cubicBezTo>
                    <a:pt x="1966" y="1039"/>
                    <a:pt x="1966" y="1040"/>
                    <a:pt x="1966" y="1041"/>
                  </a:cubicBezTo>
                  <a:cubicBezTo>
                    <a:pt x="1966" y="1042"/>
                    <a:pt x="1966" y="1042"/>
                    <a:pt x="1966" y="1042"/>
                  </a:cubicBezTo>
                  <a:cubicBezTo>
                    <a:pt x="1964" y="1042"/>
                    <a:pt x="1964" y="1042"/>
                    <a:pt x="1964" y="1042"/>
                  </a:cubicBezTo>
                  <a:cubicBezTo>
                    <a:pt x="1965" y="1043"/>
                    <a:pt x="1966" y="1044"/>
                    <a:pt x="1967" y="1046"/>
                  </a:cubicBezTo>
                  <a:cubicBezTo>
                    <a:pt x="1968" y="1045"/>
                    <a:pt x="1969" y="1043"/>
                    <a:pt x="1969" y="1042"/>
                  </a:cubicBezTo>
                  <a:cubicBezTo>
                    <a:pt x="1968" y="1041"/>
                    <a:pt x="1966" y="1040"/>
                    <a:pt x="1966" y="1039"/>
                  </a:cubicBezTo>
                  <a:cubicBezTo>
                    <a:pt x="1966" y="1038"/>
                    <a:pt x="1967" y="1038"/>
                    <a:pt x="1968" y="1039"/>
                  </a:cubicBezTo>
                  <a:cubicBezTo>
                    <a:pt x="1968" y="1039"/>
                    <a:pt x="1968" y="1039"/>
                    <a:pt x="1967" y="1039"/>
                  </a:cubicBezTo>
                  <a:cubicBezTo>
                    <a:pt x="1968" y="1039"/>
                    <a:pt x="1970" y="1039"/>
                    <a:pt x="1970" y="1040"/>
                  </a:cubicBezTo>
                  <a:cubicBezTo>
                    <a:pt x="1970" y="1040"/>
                    <a:pt x="1969" y="1040"/>
                    <a:pt x="1968" y="1040"/>
                  </a:cubicBezTo>
                  <a:cubicBezTo>
                    <a:pt x="1969" y="1041"/>
                    <a:pt x="1970" y="1040"/>
                    <a:pt x="1972" y="1040"/>
                  </a:cubicBezTo>
                  <a:cubicBezTo>
                    <a:pt x="1974" y="1039"/>
                    <a:pt x="1974" y="1040"/>
                    <a:pt x="1976" y="1041"/>
                  </a:cubicBezTo>
                  <a:cubicBezTo>
                    <a:pt x="1975" y="1039"/>
                    <a:pt x="1979" y="1036"/>
                    <a:pt x="1981" y="1034"/>
                  </a:cubicBezTo>
                  <a:cubicBezTo>
                    <a:pt x="1982" y="1032"/>
                    <a:pt x="1983" y="1031"/>
                    <a:pt x="1984" y="1029"/>
                  </a:cubicBezTo>
                  <a:cubicBezTo>
                    <a:pt x="1984" y="1029"/>
                    <a:pt x="1983" y="1028"/>
                    <a:pt x="1983" y="1028"/>
                  </a:cubicBezTo>
                  <a:cubicBezTo>
                    <a:pt x="1983" y="1025"/>
                    <a:pt x="1986" y="1023"/>
                    <a:pt x="1989" y="1023"/>
                  </a:cubicBezTo>
                  <a:cubicBezTo>
                    <a:pt x="1990" y="1023"/>
                    <a:pt x="1991" y="1023"/>
                    <a:pt x="1991" y="1024"/>
                  </a:cubicBezTo>
                  <a:cubicBezTo>
                    <a:pt x="1991" y="1024"/>
                    <a:pt x="1991" y="1024"/>
                    <a:pt x="1991" y="1024"/>
                  </a:cubicBezTo>
                  <a:cubicBezTo>
                    <a:pt x="1993" y="1025"/>
                    <a:pt x="1993" y="1026"/>
                    <a:pt x="1994" y="1027"/>
                  </a:cubicBezTo>
                  <a:cubicBezTo>
                    <a:pt x="1995" y="1026"/>
                    <a:pt x="1996" y="1025"/>
                    <a:pt x="1996" y="1024"/>
                  </a:cubicBezTo>
                  <a:cubicBezTo>
                    <a:pt x="1996" y="1026"/>
                    <a:pt x="1995" y="1034"/>
                    <a:pt x="1997" y="1035"/>
                  </a:cubicBezTo>
                  <a:cubicBezTo>
                    <a:pt x="1997" y="1035"/>
                    <a:pt x="1997" y="1033"/>
                    <a:pt x="1997" y="1033"/>
                  </a:cubicBezTo>
                  <a:cubicBezTo>
                    <a:pt x="1998" y="1033"/>
                    <a:pt x="1999" y="1034"/>
                    <a:pt x="2000" y="1034"/>
                  </a:cubicBezTo>
                  <a:cubicBezTo>
                    <a:pt x="2001" y="1035"/>
                    <a:pt x="2003" y="1034"/>
                    <a:pt x="2004" y="1033"/>
                  </a:cubicBezTo>
                  <a:cubicBezTo>
                    <a:pt x="2006" y="1033"/>
                    <a:pt x="2009" y="1039"/>
                    <a:pt x="2012" y="1039"/>
                  </a:cubicBezTo>
                  <a:cubicBezTo>
                    <a:pt x="2013" y="1038"/>
                    <a:pt x="2014" y="1037"/>
                    <a:pt x="2016" y="1037"/>
                  </a:cubicBezTo>
                  <a:cubicBezTo>
                    <a:pt x="2018" y="1036"/>
                    <a:pt x="2022" y="1035"/>
                    <a:pt x="2025" y="1035"/>
                  </a:cubicBezTo>
                  <a:cubicBezTo>
                    <a:pt x="2029" y="1034"/>
                    <a:pt x="2034" y="1029"/>
                    <a:pt x="2038" y="1027"/>
                  </a:cubicBezTo>
                  <a:cubicBezTo>
                    <a:pt x="2042" y="1024"/>
                    <a:pt x="2047" y="1023"/>
                    <a:pt x="2050" y="1020"/>
                  </a:cubicBezTo>
                  <a:cubicBezTo>
                    <a:pt x="2053" y="1017"/>
                    <a:pt x="2056" y="1013"/>
                    <a:pt x="2058" y="1010"/>
                  </a:cubicBezTo>
                  <a:cubicBezTo>
                    <a:pt x="2059" y="1008"/>
                    <a:pt x="2060" y="1004"/>
                    <a:pt x="2061" y="1003"/>
                  </a:cubicBezTo>
                  <a:cubicBezTo>
                    <a:pt x="2064" y="1001"/>
                    <a:pt x="2066" y="999"/>
                    <a:pt x="2069" y="997"/>
                  </a:cubicBezTo>
                  <a:cubicBezTo>
                    <a:pt x="2073" y="993"/>
                    <a:pt x="2075" y="988"/>
                    <a:pt x="2079" y="985"/>
                  </a:cubicBezTo>
                  <a:cubicBezTo>
                    <a:pt x="2083" y="980"/>
                    <a:pt x="2088" y="976"/>
                    <a:pt x="2092" y="972"/>
                  </a:cubicBezTo>
                  <a:cubicBezTo>
                    <a:pt x="2096" y="968"/>
                    <a:pt x="2099" y="965"/>
                    <a:pt x="2102" y="961"/>
                  </a:cubicBezTo>
                  <a:cubicBezTo>
                    <a:pt x="2105" y="957"/>
                    <a:pt x="2109" y="952"/>
                    <a:pt x="2112" y="947"/>
                  </a:cubicBezTo>
                  <a:cubicBezTo>
                    <a:pt x="2114" y="943"/>
                    <a:pt x="2114" y="938"/>
                    <a:pt x="2117" y="935"/>
                  </a:cubicBezTo>
                  <a:cubicBezTo>
                    <a:pt x="2120" y="931"/>
                    <a:pt x="2124" y="929"/>
                    <a:pt x="2126" y="924"/>
                  </a:cubicBezTo>
                  <a:cubicBezTo>
                    <a:pt x="2128" y="921"/>
                    <a:pt x="2129" y="917"/>
                    <a:pt x="2132" y="915"/>
                  </a:cubicBezTo>
                  <a:cubicBezTo>
                    <a:pt x="2135" y="912"/>
                    <a:pt x="2140" y="909"/>
                    <a:pt x="2143" y="905"/>
                  </a:cubicBezTo>
                  <a:cubicBezTo>
                    <a:pt x="2146" y="901"/>
                    <a:pt x="2147" y="896"/>
                    <a:pt x="2149" y="892"/>
                  </a:cubicBezTo>
                  <a:cubicBezTo>
                    <a:pt x="2150" y="890"/>
                    <a:pt x="2151" y="887"/>
                    <a:pt x="2148" y="888"/>
                  </a:cubicBezTo>
                  <a:cubicBezTo>
                    <a:pt x="2150" y="884"/>
                    <a:pt x="2153" y="879"/>
                    <a:pt x="2154" y="874"/>
                  </a:cubicBezTo>
                  <a:cubicBezTo>
                    <a:pt x="2154" y="873"/>
                    <a:pt x="2153" y="872"/>
                    <a:pt x="2153" y="870"/>
                  </a:cubicBezTo>
                  <a:cubicBezTo>
                    <a:pt x="2153" y="868"/>
                    <a:pt x="2151" y="868"/>
                    <a:pt x="2152" y="866"/>
                  </a:cubicBezTo>
                  <a:cubicBezTo>
                    <a:pt x="2153" y="864"/>
                    <a:pt x="2155" y="863"/>
                    <a:pt x="2156" y="861"/>
                  </a:cubicBezTo>
                  <a:cubicBezTo>
                    <a:pt x="2154" y="862"/>
                    <a:pt x="2153" y="861"/>
                    <a:pt x="2153" y="858"/>
                  </a:cubicBezTo>
                  <a:cubicBezTo>
                    <a:pt x="2153" y="856"/>
                    <a:pt x="2153" y="854"/>
                    <a:pt x="2153" y="852"/>
                  </a:cubicBezTo>
                  <a:cubicBezTo>
                    <a:pt x="2152" y="848"/>
                    <a:pt x="2152" y="846"/>
                    <a:pt x="2154" y="842"/>
                  </a:cubicBezTo>
                  <a:cubicBezTo>
                    <a:pt x="2156" y="839"/>
                    <a:pt x="2155" y="835"/>
                    <a:pt x="2156" y="831"/>
                  </a:cubicBezTo>
                  <a:cubicBezTo>
                    <a:pt x="2156" y="830"/>
                    <a:pt x="2158" y="829"/>
                    <a:pt x="2159" y="829"/>
                  </a:cubicBezTo>
                  <a:cubicBezTo>
                    <a:pt x="2161" y="828"/>
                    <a:pt x="2158" y="828"/>
                    <a:pt x="2158" y="827"/>
                  </a:cubicBezTo>
                  <a:cubicBezTo>
                    <a:pt x="2159" y="822"/>
                    <a:pt x="2167" y="818"/>
                    <a:pt x="2170" y="815"/>
                  </a:cubicBezTo>
                  <a:cubicBezTo>
                    <a:pt x="2166" y="812"/>
                    <a:pt x="2169" y="811"/>
                    <a:pt x="2172" y="808"/>
                  </a:cubicBezTo>
                  <a:cubicBezTo>
                    <a:pt x="2169" y="809"/>
                    <a:pt x="2166" y="804"/>
                    <a:pt x="2165" y="802"/>
                  </a:cubicBezTo>
                  <a:cubicBezTo>
                    <a:pt x="2164" y="801"/>
                    <a:pt x="2166" y="801"/>
                    <a:pt x="2166" y="801"/>
                  </a:cubicBezTo>
                  <a:cubicBezTo>
                    <a:pt x="2167" y="798"/>
                    <a:pt x="2167" y="794"/>
                    <a:pt x="2167" y="791"/>
                  </a:cubicBezTo>
                  <a:cubicBezTo>
                    <a:pt x="2165" y="792"/>
                    <a:pt x="2164" y="791"/>
                    <a:pt x="2163" y="790"/>
                  </a:cubicBezTo>
                  <a:cubicBezTo>
                    <a:pt x="2162" y="789"/>
                    <a:pt x="2161" y="788"/>
                    <a:pt x="2160" y="787"/>
                  </a:cubicBezTo>
                  <a:cubicBezTo>
                    <a:pt x="2159" y="786"/>
                    <a:pt x="2157" y="786"/>
                    <a:pt x="2157" y="785"/>
                  </a:cubicBezTo>
                  <a:cubicBezTo>
                    <a:pt x="2160" y="786"/>
                    <a:pt x="2163" y="787"/>
                    <a:pt x="2166" y="788"/>
                  </a:cubicBezTo>
                  <a:cubicBezTo>
                    <a:pt x="2166" y="788"/>
                    <a:pt x="2167" y="787"/>
                    <a:pt x="2166" y="787"/>
                  </a:cubicBezTo>
                  <a:cubicBezTo>
                    <a:pt x="2169" y="786"/>
                    <a:pt x="2170" y="785"/>
                    <a:pt x="2170" y="782"/>
                  </a:cubicBezTo>
                  <a:cubicBezTo>
                    <a:pt x="2170" y="778"/>
                    <a:pt x="2163" y="776"/>
                    <a:pt x="2160" y="774"/>
                  </a:cubicBezTo>
                  <a:cubicBezTo>
                    <a:pt x="2157" y="773"/>
                    <a:pt x="2154" y="771"/>
                    <a:pt x="2152" y="769"/>
                  </a:cubicBezTo>
                  <a:cubicBezTo>
                    <a:pt x="2147" y="765"/>
                    <a:pt x="2144" y="760"/>
                    <a:pt x="2140" y="755"/>
                  </a:cubicBezTo>
                  <a:cubicBezTo>
                    <a:pt x="2139" y="754"/>
                    <a:pt x="2133" y="755"/>
                    <a:pt x="2131" y="755"/>
                  </a:cubicBezTo>
                  <a:cubicBezTo>
                    <a:pt x="2126" y="754"/>
                    <a:pt x="2122" y="754"/>
                    <a:pt x="2117" y="754"/>
                  </a:cubicBezTo>
                  <a:cubicBezTo>
                    <a:pt x="2120" y="755"/>
                    <a:pt x="2119" y="758"/>
                    <a:pt x="2118" y="760"/>
                  </a:cubicBezTo>
                  <a:cubicBezTo>
                    <a:pt x="2122" y="757"/>
                    <a:pt x="2118" y="764"/>
                    <a:pt x="2118" y="765"/>
                  </a:cubicBezTo>
                  <a:cubicBezTo>
                    <a:pt x="2118" y="766"/>
                    <a:pt x="2118" y="766"/>
                    <a:pt x="2118" y="767"/>
                  </a:cubicBezTo>
                  <a:cubicBezTo>
                    <a:pt x="2118" y="768"/>
                    <a:pt x="2116" y="770"/>
                    <a:pt x="2115" y="772"/>
                  </a:cubicBezTo>
                  <a:cubicBezTo>
                    <a:pt x="2113" y="775"/>
                    <a:pt x="2112" y="774"/>
                    <a:pt x="2109" y="775"/>
                  </a:cubicBezTo>
                  <a:cubicBezTo>
                    <a:pt x="2109" y="774"/>
                    <a:pt x="2111" y="772"/>
                    <a:pt x="2111" y="771"/>
                  </a:cubicBezTo>
                  <a:cubicBezTo>
                    <a:pt x="2112" y="770"/>
                    <a:pt x="2114" y="769"/>
                    <a:pt x="2115" y="767"/>
                  </a:cubicBezTo>
                  <a:cubicBezTo>
                    <a:pt x="2116" y="766"/>
                    <a:pt x="2117" y="763"/>
                    <a:pt x="2115" y="762"/>
                  </a:cubicBezTo>
                  <a:cubicBezTo>
                    <a:pt x="2113" y="762"/>
                    <a:pt x="2107" y="769"/>
                    <a:pt x="2106" y="770"/>
                  </a:cubicBezTo>
                  <a:cubicBezTo>
                    <a:pt x="2104" y="772"/>
                    <a:pt x="2102" y="773"/>
                    <a:pt x="2099" y="774"/>
                  </a:cubicBezTo>
                  <a:cubicBezTo>
                    <a:pt x="2097" y="774"/>
                    <a:pt x="2090" y="774"/>
                    <a:pt x="2090" y="772"/>
                  </a:cubicBezTo>
                  <a:cubicBezTo>
                    <a:pt x="2090" y="771"/>
                    <a:pt x="2095" y="770"/>
                    <a:pt x="2095" y="770"/>
                  </a:cubicBezTo>
                  <a:cubicBezTo>
                    <a:pt x="2097" y="769"/>
                    <a:pt x="2096" y="767"/>
                    <a:pt x="2097" y="766"/>
                  </a:cubicBezTo>
                  <a:cubicBezTo>
                    <a:pt x="2098" y="766"/>
                    <a:pt x="2102" y="764"/>
                    <a:pt x="2101" y="763"/>
                  </a:cubicBezTo>
                  <a:cubicBezTo>
                    <a:pt x="2098" y="763"/>
                    <a:pt x="2097" y="763"/>
                    <a:pt x="2095" y="762"/>
                  </a:cubicBezTo>
                  <a:cubicBezTo>
                    <a:pt x="2093" y="761"/>
                    <a:pt x="2089" y="760"/>
                    <a:pt x="2094" y="760"/>
                  </a:cubicBezTo>
                  <a:cubicBezTo>
                    <a:pt x="2095" y="760"/>
                    <a:pt x="2097" y="757"/>
                    <a:pt x="2096" y="756"/>
                  </a:cubicBezTo>
                  <a:cubicBezTo>
                    <a:pt x="2093" y="753"/>
                    <a:pt x="2093" y="755"/>
                    <a:pt x="2090" y="756"/>
                  </a:cubicBezTo>
                  <a:cubicBezTo>
                    <a:pt x="2088" y="757"/>
                    <a:pt x="2087" y="758"/>
                    <a:pt x="2088" y="760"/>
                  </a:cubicBezTo>
                  <a:cubicBezTo>
                    <a:pt x="2090" y="761"/>
                    <a:pt x="2091" y="760"/>
                    <a:pt x="2091" y="762"/>
                  </a:cubicBezTo>
                  <a:cubicBezTo>
                    <a:pt x="2090" y="764"/>
                    <a:pt x="2082" y="768"/>
                    <a:pt x="2080" y="767"/>
                  </a:cubicBezTo>
                  <a:cubicBezTo>
                    <a:pt x="2077" y="765"/>
                    <a:pt x="2081" y="762"/>
                    <a:pt x="2081" y="760"/>
                  </a:cubicBezTo>
                  <a:cubicBezTo>
                    <a:pt x="2082" y="758"/>
                    <a:pt x="2082" y="757"/>
                    <a:pt x="2081" y="756"/>
                  </a:cubicBezTo>
                  <a:cubicBezTo>
                    <a:pt x="2081" y="756"/>
                    <a:pt x="2082" y="755"/>
                    <a:pt x="2082" y="755"/>
                  </a:cubicBezTo>
                  <a:cubicBezTo>
                    <a:pt x="2082" y="755"/>
                    <a:pt x="2081" y="755"/>
                    <a:pt x="2081" y="754"/>
                  </a:cubicBezTo>
                  <a:cubicBezTo>
                    <a:pt x="2081" y="754"/>
                    <a:pt x="2082" y="754"/>
                    <a:pt x="2082" y="754"/>
                  </a:cubicBezTo>
                  <a:cubicBezTo>
                    <a:pt x="2082" y="754"/>
                    <a:pt x="2082" y="753"/>
                    <a:pt x="2082" y="753"/>
                  </a:cubicBezTo>
                  <a:cubicBezTo>
                    <a:pt x="2082" y="753"/>
                    <a:pt x="2081" y="752"/>
                    <a:pt x="2081" y="751"/>
                  </a:cubicBezTo>
                  <a:cubicBezTo>
                    <a:pt x="2081" y="750"/>
                    <a:pt x="2082" y="751"/>
                    <a:pt x="2082" y="751"/>
                  </a:cubicBezTo>
                  <a:cubicBezTo>
                    <a:pt x="2082" y="751"/>
                    <a:pt x="2082" y="750"/>
                    <a:pt x="2082" y="750"/>
                  </a:cubicBezTo>
                  <a:cubicBezTo>
                    <a:pt x="2083" y="748"/>
                    <a:pt x="2082" y="747"/>
                    <a:pt x="2081" y="745"/>
                  </a:cubicBezTo>
                  <a:cubicBezTo>
                    <a:pt x="2079" y="743"/>
                    <a:pt x="2073" y="744"/>
                    <a:pt x="2069" y="744"/>
                  </a:cubicBezTo>
                  <a:cubicBezTo>
                    <a:pt x="2064" y="744"/>
                    <a:pt x="2058" y="744"/>
                    <a:pt x="2052" y="743"/>
                  </a:cubicBezTo>
                  <a:cubicBezTo>
                    <a:pt x="2053" y="742"/>
                    <a:pt x="2051" y="741"/>
                    <a:pt x="2051" y="739"/>
                  </a:cubicBezTo>
                  <a:cubicBezTo>
                    <a:pt x="2051" y="738"/>
                    <a:pt x="2053" y="736"/>
                    <a:pt x="2054" y="735"/>
                  </a:cubicBezTo>
                  <a:cubicBezTo>
                    <a:pt x="2057" y="733"/>
                    <a:pt x="2060" y="732"/>
                    <a:pt x="2063" y="730"/>
                  </a:cubicBezTo>
                  <a:cubicBezTo>
                    <a:pt x="2067" y="728"/>
                    <a:pt x="2069" y="727"/>
                    <a:pt x="2072" y="724"/>
                  </a:cubicBezTo>
                  <a:cubicBezTo>
                    <a:pt x="2076" y="720"/>
                    <a:pt x="2083" y="717"/>
                    <a:pt x="2088" y="714"/>
                  </a:cubicBezTo>
                  <a:cubicBezTo>
                    <a:pt x="2092" y="712"/>
                    <a:pt x="2096" y="709"/>
                    <a:pt x="2099" y="706"/>
                  </a:cubicBezTo>
                  <a:cubicBezTo>
                    <a:pt x="2101" y="704"/>
                    <a:pt x="2110" y="699"/>
                    <a:pt x="2109" y="696"/>
                  </a:cubicBezTo>
                  <a:cubicBezTo>
                    <a:pt x="2109" y="696"/>
                    <a:pt x="2108" y="696"/>
                    <a:pt x="2108" y="695"/>
                  </a:cubicBezTo>
                  <a:cubicBezTo>
                    <a:pt x="2107" y="694"/>
                    <a:pt x="2111" y="691"/>
                    <a:pt x="2111" y="690"/>
                  </a:cubicBezTo>
                  <a:cubicBezTo>
                    <a:pt x="2115" y="686"/>
                    <a:pt x="2117" y="682"/>
                    <a:pt x="2121" y="679"/>
                  </a:cubicBezTo>
                  <a:cubicBezTo>
                    <a:pt x="2127" y="675"/>
                    <a:pt x="2133" y="670"/>
                    <a:pt x="2140" y="665"/>
                  </a:cubicBezTo>
                  <a:cubicBezTo>
                    <a:pt x="2143" y="663"/>
                    <a:pt x="2147" y="662"/>
                    <a:pt x="2151" y="660"/>
                  </a:cubicBezTo>
                  <a:cubicBezTo>
                    <a:pt x="2153" y="659"/>
                    <a:pt x="2153" y="657"/>
                    <a:pt x="2153" y="656"/>
                  </a:cubicBezTo>
                  <a:cubicBezTo>
                    <a:pt x="2154" y="653"/>
                    <a:pt x="2156" y="650"/>
                    <a:pt x="2157" y="648"/>
                  </a:cubicBezTo>
                  <a:cubicBezTo>
                    <a:pt x="2158" y="645"/>
                    <a:pt x="2160" y="644"/>
                    <a:pt x="2162" y="642"/>
                  </a:cubicBezTo>
                  <a:cubicBezTo>
                    <a:pt x="2168" y="638"/>
                    <a:pt x="2174" y="633"/>
                    <a:pt x="2179" y="628"/>
                  </a:cubicBezTo>
                  <a:cubicBezTo>
                    <a:pt x="2183" y="626"/>
                    <a:pt x="2186" y="623"/>
                    <a:pt x="2190" y="621"/>
                  </a:cubicBezTo>
                  <a:cubicBezTo>
                    <a:pt x="2194" y="619"/>
                    <a:pt x="2200" y="616"/>
                    <a:pt x="2205" y="616"/>
                  </a:cubicBezTo>
                  <a:cubicBezTo>
                    <a:pt x="2206" y="616"/>
                    <a:pt x="2208" y="617"/>
                    <a:pt x="2209" y="617"/>
                  </a:cubicBezTo>
                  <a:cubicBezTo>
                    <a:pt x="2212" y="617"/>
                    <a:pt x="2215" y="615"/>
                    <a:pt x="2217" y="615"/>
                  </a:cubicBezTo>
                  <a:cubicBezTo>
                    <a:pt x="2220" y="615"/>
                    <a:pt x="2224" y="615"/>
                    <a:pt x="2227" y="615"/>
                  </a:cubicBezTo>
                  <a:cubicBezTo>
                    <a:pt x="2226" y="617"/>
                    <a:pt x="2231" y="616"/>
                    <a:pt x="2232" y="615"/>
                  </a:cubicBezTo>
                  <a:cubicBezTo>
                    <a:pt x="2234" y="615"/>
                    <a:pt x="2234" y="616"/>
                    <a:pt x="2237" y="616"/>
                  </a:cubicBezTo>
                  <a:cubicBezTo>
                    <a:pt x="2239" y="616"/>
                    <a:pt x="2241" y="615"/>
                    <a:pt x="2244" y="615"/>
                  </a:cubicBezTo>
                  <a:cubicBezTo>
                    <a:pt x="2244" y="615"/>
                    <a:pt x="2245" y="615"/>
                    <a:pt x="2246" y="615"/>
                  </a:cubicBezTo>
                  <a:cubicBezTo>
                    <a:pt x="2247" y="615"/>
                    <a:pt x="2248" y="615"/>
                    <a:pt x="2249" y="615"/>
                  </a:cubicBezTo>
                  <a:cubicBezTo>
                    <a:pt x="2250" y="615"/>
                    <a:pt x="2255" y="615"/>
                    <a:pt x="2256" y="615"/>
                  </a:cubicBezTo>
                  <a:cubicBezTo>
                    <a:pt x="2257" y="617"/>
                    <a:pt x="2253" y="618"/>
                    <a:pt x="2254" y="619"/>
                  </a:cubicBezTo>
                  <a:cubicBezTo>
                    <a:pt x="2254" y="621"/>
                    <a:pt x="2263" y="622"/>
                    <a:pt x="2264" y="621"/>
                  </a:cubicBezTo>
                  <a:cubicBezTo>
                    <a:pt x="2264" y="620"/>
                    <a:pt x="2263" y="620"/>
                    <a:pt x="2264" y="619"/>
                  </a:cubicBezTo>
                  <a:cubicBezTo>
                    <a:pt x="2264" y="618"/>
                    <a:pt x="2265" y="617"/>
                    <a:pt x="2266" y="615"/>
                  </a:cubicBezTo>
                  <a:cubicBezTo>
                    <a:pt x="2267" y="613"/>
                    <a:pt x="2271" y="614"/>
                    <a:pt x="2274" y="616"/>
                  </a:cubicBezTo>
                  <a:cubicBezTo>
                    <a:pt x="2280" y="618"/>
                    <a:pt x="2286" y="621"/>
                    <a:pt x="2292" y="619"/>
                  </a:cubicBezTo>
                  <a:cubicBezTo>
                    <a:pt x="2295" y="618"/>
                    <a:pt x="2297" y="616"/>
                    <a:pt x="2300" y="615"/>
                  </a:cubicBezTo>
                  <a:cubicBezTo>
                    <a:pt x="2302" y="614"/>
                    <a:pt x="2305" y="617"/>
                    <a:pt x="2307" y="617"/>
                  </a:cubicBezTo>
                  <a:cubicBezTo>
                    <a:pt x="2308" y="618"/>
                    <a:pt x="2310" y="619"/>
                    <a:pt x="2312" y="619"/>
                  </a:cubicBezTo>
                  <a:cubicBezTo>
                    <a:pt x="2314" y="619"/>
                    <a:pt x="2313" y="619"/>
                    <a:pt x="2313" y="618"/>
                  </a:cubicBezTo>
                  <a:cubicBezTo>
                    <a:pt x="2313" y="616"/>
                    <a:pt x="2312" y="617"/>
                    <a:pt x="2311" y="616"/>
                  </a:cubicBezTo>
                  <a:cubicBezTo>
                    <a:pt x="2309" y="616"/>
                    <a:pt x="2308" y="616"/>
                    <a:pt x="2309" y="614"/>
                  </a:cubicBezTo>
                  <a:cubicBezTo>
                    <a:pt x="2312" y="611"/>
                    <a:pt x="2315" y="613"/>
                    <a:pt x="2319" y="613"/>
                  </a:cubicBezTo>
                  <a:cubicBezTo>
                    <a:pt x="2319" y="611"/>
                    <a:pt x="2317" y="612"/>
                    <a:pt x="2316" y="610"/>
                  </a:cubicBezTo>
                  <a:cubicBezTo>
                    <a:pt x="2316" y="608"/>
                    <a:pt x="2321" y="605"/>
                    <a:pt x="2324" y="605"/>
                  </a:cubicBezTo>
                  <a:cubicBezTo>
                    <a:pt x="2326" y="605"/>
                    <a:pt x="2329" y="605"/>
                    <a:pt x="2331" y="606"/>
                  </a:cubicBezTo>
                  <a:cubicBezTo>
                    <a:pt x="2333" y="607"/>
                    <a:pt x="2335" y="607"/>
                    <a:pt x="2337" y="608"/>
                  </a:cubicBezTo>
                  <a:cubicBezTo>
                    <a:pt x="2339" y="609"/>
                    <a:pt x="2342" y="609"/>
                    <a:pt x="2344" y="610"/>
                  </a:cubicBezTo>
                  <a:cubicBezTo>
                    <a:pt x="2344" y="610"/>
                    <a:pt x="2345" y="612"/>
                    <a:pt x="2346" y="613"/>
                  </a:cubicBezTo>
                  <a:cubicBezTo>
                    <a:pt x="2347" y="614"/>
                    <a:pt x="2350" y="615"/>
                    <a:pt x="2354" y="610"/>
                  </a:cubicBezTo>
                  <a:cubicBezTo>
                    <a:pt x="2354" y="610"/>
                    <a:pt x="2355" y="611"/>
                    <a:pt x="2356" y="611"/>
                  </a:cubicBezTo>
                  <a:cubicBezTo>
                    <a:pt x="2359" y="612"/>
                    <a:pt x="2361" y="613"/>
                    <a:pt x="2364" y="614"/>
                  </a:cubicBezTo>
                  <a:cubicBezTo>
                    <a:pt x="2365" y="615"/>
                    <a:pt x="2365" y="615"/>
                    <a:pt x="2366" y="616"/>
                  </a:cubicBezTo>
                  <a:cubicBezTo>
                    <a:pt x="2366" y="617"/>
                    <a:pt x="2365" y="617"/>
                    <a:pt x="2366" y="618"/>
                  </a:cubicBezTo>
                  <a:cubicBezTo>
                    <a:pt x="2368" y="620"/>
                    <a:pt x="2374" y="619"/>
                    <a:pt x="2377" y="620"/>
                  </a:cubicBezTo>
                  <a:cubicBezTo>
                    <a:pt x="2374" y="622"/>
                    <a:pt x="2370" y="622"/>
                    <a:pt x="2367" y="622"/>
                  </a:cubicBezTo>
                  <a:cubicBezTo>
                    <a:pt x="2365" y="622"/>
                    <a:pt x="2362" y="622"/>
                    <a:pt x="2359" y="622"/>
                  </a:cubicBezTo>
                  <a:cubicBezTo>
                    <a:pt x="2358" y="623"/>
                    <a:pt x="2356" y="624"/>
                    <a:pt x="2354" y="624"/>
                  </a:cubicBezTo>
                  <a:cubicBezTo>
                    <a:pt x="2355" y="626"/>
                    <a:pt x="2359" y="628"/>
                    <a:pt x="2358" y="631"/>
                  </a:cubicBezTo>
                  <a:cubicBezTo>
                    <a:pt x="2365" y="629"/>
                    <a:pt x="2372" y="627"/>
                    <a:pt x="2378" y="626"/>
                  </a:cubicBezTo>
                  <a:cubicBezTo>
                    <a:pt x="2378" y="625"/>
                    <a:pt x="2378" y="625"/>
                    <a:pt x="2378" y="625"/>
                  </a:cubicBezTo>
                  <a:cubicBezTo>
                    <a:pt x="2380" y="626"/>
                    <a:pt x="2386" y="631"/>
                    <a:pt x="2389" y="629"/>
                  </a:cubicBezTo>
                  <a:cubicBezTo>
                    <a:pt x="2389" y="628"/>
                    <a:pt x="2389" y="626"/>
                    <a:pt x="2390" y="625"/>
                  </a:cubicBezTo>
                  <a:cubicBezTo>
                    <a:pt x="2392" y="623"/>
                    <a:pt x="2394" y="624"/>
                    <a:pt x="2396" y="623"/>
                  </a:cubicBezTo>
                  <a:cubicBezTo>
                    <a:pt x="2396" y="622"/>
                    <a:pt x="2397" y="620"/>
                    <a:pt x="2399" y="620"/>
                  </a:cubicBezTo>
                  <a:cubicBezTo>
                    <a:pt x="2401" y="621"/>
                    <a:pt x="2403" y="622"/>
                    <a:pt x="2405" y="622"/>
                  </a:cubicBezTo>
                  <a:cubicBezTo>
                    <a:pt x="2406" y="623"/>
                    <a:pt x="2408" y="624"/>
                    <a:pt x="2409" y="625"/>
                  </a:cubicBezTo>
                  <a:cubicBezTo>
                    <a:pt x="2412" y="625"/>
                    <a:pt x="2414" y="621"/>
                    <a:pt x="2418" y="621"/>
                  </a:cubicBezTo>
                  <a:cubicBezTo>
                    <a:pt x="2422" y="620"/>
                    <a:pt x="2427" y="621"/>
                    <a:pt x="2432" y="622"/>
                  </a:cubicBezTo>
                  <a:cubicBezTo>
                    <a:pt x="2432" y="621"/>
                    <a:pt x="2433" y="617"/>
                    <a:pt x="2432" y="616"/>
                  </a:cubicBezTo>
                  <a:cubicBezTo>
                    <a:pt x="2431" y="615"/>
                    <a:pt x="2429" y="614"/>
                    <a:pt x="2427" y="613"/>
                  </a:cubicBezTo>
                  <a:cubicBezTo>
                    <a:pt x="2426" y="613"/>
                    <a:pt x="2426" y="613"/>
                    <a:pt x="2425" y="613"/>
                  </a:cubicBezTo>
                  <a:cubicBezTo>
                    <a:pt x="2424" y="613"/>
                    <a:pt x="2423" y="612"/>
                    <a:pt x="2422" y="612"/>
                  </a:cubicBezTo>
                  <a:cubicBezTo>
                    <a:pt x="2421" y="611"/>
                    <a:pt x="2418" y="611"/>
                    <a:pt x="2418" y="612"/>
                  </a:cubicBezTo>
                  <a:cubicBezTo>
                    <a:pt x="2417" y="612"/>
                    <a:pt x="2419" y="614"/>
                    <a:pt x="2418" y="614"/>
                  </a:cubicBezTo>
                  <a:cubicBezTo>
                    <a:pt x="2418" y="615"/>
                    <a:pt x="2417" y="613"/>
                    <a:pt x="2416" y="613"/>
                  </a:cubicBezTo>
                  <a:cubicBezTo>
                    <a:pt x="2416" y="614"/>
                    <a:pt x="2414" y="614"/>
                    <a:pt x="2413" y="614"/>
                  </a:cubicBezTo>
                  <a:cubicBezTo>
                    <a:pt x="2410" y="612"/>
                    <a:pt x="2415" y="610"/>
                    <a:pt x="2416" y="610"/>
                  </a:cubicBezTo>
                  <a:cubicBezTo>
                    <a:pt x="2416" y="608"/>
                    <a:pt x="2414" y="607"/>
                    <a:pt x="2414" y="605"/>
                  </a:cubicBezTo>
                  <a:cubicBezTo>
                    <a:pt x="2414" y="604"/>
                    <a:pt x="2414" y="602"/>
                    <a:pt x="2414" y="602"/>
                  </a:cubicBezTo>
                  <a:cubicBezTo>
                    <a:pt x="2415" y="602"/>
                    <a:pt x="2417" y="602"/>
                    <a:pt x="2417" y="602"/>
                  </a:cubicBezTo>
                  <a:cubicBezTo>
                    <a:pt x="2417" y="602"/>
                    <a:pt x="2419" y="599"/>
                    <a:pt x="2420" y="598"/>
                  </a:cubicBezTo>
                  <a:cubicBezTo>
                    <a:pt x="2420" y="598"/>
                    <a:pt x="2420" y="597"/>
                    <a:pt x="2420" y="597"/>
                  </a:cubicBezTo>
                  <a:cubicBezTo>
                    <a:pt x="2426" y="593"/>
                    <a:pt x="2432" y="588"/>
                    <a:pt x="2437" y="583"/>
                  </a:cubicBezTo>
                  <a:cubicBezTo>
                    <a:pt x="2439" y="582"/>
                    <a:pt x="2441" y="580"/>
                    <a:pt x="2443" y="579"/>
                  </a:cubicBezTo>
                  <a:cubicBezTo>
                    <a:pt x="2444" y="578"/>
                    <a:pt x="2445" y="578"/>
                    <a:pt x="2446" y="577"/>
                  </a:cubicBezTo>
                  <a:cubicBezTo>
                    <a:pt x="2447" y="575"/>
                    <a:pt x="2448" y="572"/>
                    <a:pt x="2449" y="570"/>
                  </a:cubicBezTo>
                  <a:cubicBezTo>
                    <a:pt x="2450" y="568"/>
                    <a:pt x="2454" y="567"/>
                    <a:pt x="2456" y="566"/>
                  </a:cubicBezTo>
                  <a:cubicBezTo>
                    <a:pt x="2458" y="564"/>
                    <a:pt x="2460" y="564"/>
                    <a:pt x="2460" y="561"/>
                  </a:cubicBezTo>
                  <a:cubicBezTo>
                    <a:pt x="2460" y="560"/>
                    <a:pt x="2460" y="559"/>
                    <a:pt x="2460" y="558"/>
                  </a:cubicBezTo>
                  <a:cubicBezTo>
                    <a:pt x="2460" y="555"/>
                    <a:pt x="2462" y="554"/>
                    <a:pt x="2465" y="552"/>
                  </a:cubicBezTo>
                  <a:cubicBezTo>
                    <a:pt x="2474" y="548"/>
                    <a:pt x="2485" y="546"/>
                    <a:pt x="2495" y="545"/>
                  </a:cubicBezTo>
                  <a:cubicBezTo>
                    <a:pt x="2497" y="545"/>
                    <a:pt x="2500" y="546"/>
                    <a:pt x="2501" y="545"/>
                  </a:cubicBezTo>
                  <a:cubicBezTo>
                    <a:pt x="2502" y="545"/>
                    <a:pt x="2503" y="544"/>
                    <a:pt x="2504" y="543"/>
                  </a:cubicBezTo>
                  <a:cubicBezTo>
                    <a:pt x="2507" y="543"/>
                    <a:pt x="2508" y="542"/>
                    <a:pt x="2511" y="545"/>
                  </a:cubicBezTo>
                  <a:cubicBezTo>
                    <a:pt x="2512" y="546"/>
                    <a:pt x="2513" y="546"/>
                    <a:pt x="2514" y="547"/>
                  </a:cubicBezTo>
                  <a:cubicBezTo>
                    <a:pt x="2514" y="547"/>
                    <a:pt x="2514" y="548"/>
                    <a:pt x="2515" y="548"/>
                  </a:cubicBezTo>
                  <a:cubicBezTo>
                    <a:pt x="2515" y="548"/>
                    <a:pt x="2514" y="549"/>
                    <a:pt x="2514" y="549"/>
                  </a:cubicBezTo>
                  <a:cubicBezTo>
                    <a:pt x="2516" y="551"/>
                    <a:pt x="2521" y="547"/>
                    <a:pt x="2523" y="546"/>
                  </a:cubicBezTo>
                  <a:cubicBezTo>
                    <a:pt x="2524" y="545"/>
                    <a:pt x="2527" y="543"/>
                    <a:pt x="2528" y="543"/>
                  </a:cubicBezTo>
                  <a:cubicBezTo>
                    <a:pt x="2530" y="542"/>
                    <a:pt x="2530" y="541"/>
                    <a:pt x="2531" y="544"/>
                  </a:cubicBezTo>
                  <a:cubicBezTo>
                    <a:pt x="2531" y="544"/>
                    <a:pt x="2531" y="546"/>
                    <a:pt x="2531" y="547"/>
                  </a:cubicBezTo>
                  <a:cubicBezTo>
                    <a:pt x="2531" y="548"/>
                    <a:pt x="2530" y="548"/>
                    <a:pt x="2529" y="549"/>
                  </a:cubicBezTo>
                  <a:cubicBezTo>
                    <a:pt x="2529" y="549"/>
                    <a:pt x="2529" y="550"/>
                    <a:pt x="2529" y="550"/>
                  </a:cubicBezTo>
                  <a:cubicBezTo>
                    <a:pt x="2529" y="550"/>
                    <a:pt x="2528" y="551"/>
                    <a:pt x="2528" y="551"/>
                  </a:cubicBezTo>
                  <a:cubicBezTo>
                    <a:pt x="2528" y="552"/>
                    <a:pt x="2528" y="553"/>
                    <a:pt x="2528" y="553"/>
                  </a:cubicBezTo>
                  <a:cubicBezTo>
                    <a:pt x="2527" y="554"/>
                    <a:pt x="2526" y="554"/>
                    <a:pt x="2525" y="555"/>
                  </a:cubicBezTo>
                  <a:cubicBezTo>
                    <a:pt x="2525" y="555"/>
                    <a:pt x="2525" y="556"/>
                    <a:pt x="2524" y="556"/>
                  </a:cubicBezTo>
                  <a:cubicBezTo>
                    <a:pt x="2527" y="557"/>
                    <a:pt x="2520" y="560"/>
                    <a:pt x="2523" y="561"/>
                  </a:cubicBezTo>
                  <a:cubicBezTo>
                    <a:pt x="2522" y="562"/>
                    <a:pt x="2520" y="561"/>
                    <a:pt x="2519" y="562"/>
                  </a:cubicBezTo>
                  <a:cubicBezTo>
                    <a:pt x="2523" y="563"/>
                    <a:pt x="2524" y="564"/>
                    <a:pt x="2523" y="567"/>
                  </a:cubicBezTo>
                  <a:cubicBezTo>
                    <a:pt x="2521" y="570"/>
                    <a:pt x="2518" y="572"/>
                    <a:pt x="2524" y="571"/>
                  </a:cubicBezTo>
                  <a:cubicBezTo>
                    <a:pt x="2526" y="571"/>
                    <a:pt x="2527" y="571"/>
                    <a:pt x="2529" y="571"/>
                  </a:cubicBezTo>
                  <a:cubicBezTo>
                    <a:pt x="2531" y="571"/>
                    <a:pt x="2530" y="571"/>
                    <a:pt x="2530" y="572"/>
                  </a:cubicBezTo>
                  <a:cubicBezTo>
                    <a:pt x="2530" y="573"/>
                    <a:pt x="2527" y="573"/>
                    <a:pt x="2527" y="575"/>
                  </a:cubicBezTo>
                  <a:cubicBezTo>
                    <a:pt x="2527" y="575"/>
                    <a:pt x="2528" y="576"/>
                    <a:pt x="2528" y="576"/>
                  </a:cubicBezTo>
                  <a:cubicBezTo>
                    <a:pt x="2528" y="577"/>
                    <a:pt x="2528" y="577"/>
                    <a:pt x="2528" y="578"/>
                  </a:cubicBezTo>
                  <a:cubicBezTo>
                    <a:pt x="2527" y="579"/>
                    <a:pt x="2526" y="579"/>
                    <a:pt x="2527" y="581"/>
                  </a:cubicBezTo>
                  <a:cubicBezTo>
                    <a:pt x="2529" y="581"/>
                    <a:pt x="2531" y="580"/>
                    <a:pt x="2533" y="579"/>
                  </a:cubicBezTo>
                  <a:cubicBezTo>
                    <a:pt x="2534" y="578"/>
                    <a:pt x="2537" y="578"/>
                    <a:pt x="2539" y="577"/>
                  </a:cubicBezTo>
                  <a:cubicBezTo>
                    <a:pt x="2540" y="576"/>
                    <a:pt x="2540" y="574"/>
                    <a:pt x="2541" y="572"/>
                  </a:cubicBezTo>
                  <a:cubicBezTo>
                    <a:pt x="2542" y="571"/>
                    <a:pt x="2544" y="570"/>
                    <a:pt x="2545" y="569"/>
                  </a:cubicBezTo>
                  <a:cubicBezTo>
                    <a:pt x="2550" y="565"/>
                    <a:pt x="2556" y="561"/>
                    <a:pt x="2562" y="557"/>
                  </a:cubicBezTo>
                  <a:cubicBezTo>
                    <a:pt x="2564" y="556"/>
                    <a:pt x="2570" y="553"/>
                    <a:pt x="2571" y="550"/>
                  </a:cubicBezTo>
                  <a:cubicBezTo>
                    <a:pt x="2571" y="550"/>
                    <a:pt x="2571" y="550"/>
                    <a:pt x="2571" y="550"/>
                  </a:cubicBezTo>
                  <a:cubicBezTo>
                    <a:pt x="2576" y="551"/>
                    <a:pt x="2576" y="551"/>
                    <a:pt x="2576" y="551"/>
                  </a:cubicBezTo>
                  <a:cubicBezTo>
                    <a:pt x="2578" y="551"/>
                    <a:pt x="2578" y="548"/>
                    <a:pt x="2579" y="549"/>
                  </a:cubicBezTo>
                  <a:cubicBezTo>
                    <a:pt x="2580" y="550"/>
                    <a:pt x="2580" y="553"/>
                    <a:pt x="2581" y="554"/>
                  </a:cubicBezTo>
                  <a:cubicBezTo>
                    <a:pt x="2582" y="555"/>
                    <a:pt x="2587" y="550"/>
                    <a:pt x="2587" y="549"/>
                  </a:cubicBezTo>
                  <a:cubicBezTo>
                    <a:pt x="2586" y="547"/>
                    <a:pt x="2582" y="548"/>
                    <a:pt x="2581" y="547"/>
                  </a:cubicBezTo>
                  <a:cubicBezTo>
                    <a:pt x="2580" y="546"/>
                    <a:pt x="2582" y="543"/>
                    <a:pt x="2583" y="542"/>
                  </a:cubicBezTo>
                  <a:cubicBezTo>
                    <a:pt x="2584" y="540"/>
                    <a:pt x="2584" y="538"/>
                    <a:pt x="2584" y="537"/>
                  </a:cubicBezTo>
                  <a:cubicBezTo>
                    <a:pt x="2585" y="535"/>
                    <a:pt x="2587" y="533"/>
                    <a:pt x="2587" y="531"/>
                  </a:cubicBezTo>
                  <a:cubicBezTo>
                    <a:pt x="2588" y="529"/>
                    <a:pt x="2587" y="529"/>
                    <a:pt x="2586" y="526"/>
                  </a:cubicBezTo>
                  <a:cubicBezTo>
                    <a:pt x="2586" y="523"/>
                    <a:pt x="2589" y="524"/>
                    <a:pt x="2592" y="523"/>
                  </a:cubicBezTo>
                  <a:cubicBezTo>
                    <a:pt x="2595" y="522"/>
                    <a:pt x="2598" y="521"/>
                    <a:pt x="2602" y="521"/>
                  </a:cubicBezTo>
                  <a:cubicBezTo>
                    <a:pt x="2605" y="520"/>
                    <a:pt x="2609" y="518"/>
                    <a:pt x="2612" y="521"/>
                  </a:cubicBezTo>
                  <a:cubicBezTo>
                    <a:pt x="2613" y="522"/>
                    <a:pt x="2614" y="523"/>
                    <a:pt x="2616" y="524"/>
                  </a:cubicBezTo>
                  <a:cubicBezTo>
                    <a:pt x="2617" y="524"/>
                    <a:pt x="2618" y="525"/>
                    <a:pt x="2620" y="525"/>
                  </a:cubicBezTo>
                  <a:cubicBezTo>
                    <a:pt x="2624" y="526"/>
                    <a:pt x="2628" y="525"/>
                    <a:pt x="2631" y="527"/>
                  </a:cubicBezTo>
                  <a:cubicBezTo>
                    <a:pt x="2628" y="528"/>
                    <a:pt x="2625" y="525"/>
                    <a:pt x="2621" y="526"/>
                  </a:cubicBezTo>
                  <a:cubicBezTo>
                    <a:pt x="2622" y="528"/>
                    <a:pt x="2624" y="529"/>
                    <a:pt x="2625" y="531"/>
                  </a:cubicBezTo>
                  <a:cubicBezTo>
                    <a:pt x="2623" y="529"/>
                    <a:pt x="2622" y="528"/>
                    <a:pt x="2619" y="528"/>
                  </a:cubicBezTo>
                  <a:cubicBezTo>
                    <a:pt x="2617" y="528"/>
                    <a:pt x="2615" y="527"/>
                    <a:pt x="2613" y="526"/>
                  </a:cubicBezTo>
                  <a:cubicBezTo>
                    <a:pt x="2610" y="526"/>
                    <a:pt x="2609" y="528"/>
                    <a:pt x="2608" y="529"/>
                  </a:cubicBezTo>
                  <a:cubicBezTo>
                    <a:pt x="2606" y="531"/>
                    <a:pt x="2603" y="531"/>
                    <a:pt x="2602" y="533"/>
                  </a:cubicBezTo>
                  <a:cubicBezTo>
                    <a:pt x="2602" y="534"/>
                    <a:pt x="2602" y="537"/>
                    <a:pt x="2602" y="538"/>
                  </a:cubicBezTo>
                  <a:cubicBezTo>
                    <a:pt x="2601" y="539"/>
                    <a:pt x="2602" y="541"/>
                    <a:pt x="2602" y="542"/>
                  </a:cubicBezTo>
                  <a:cubicBezTo>
                    <a:pt x="2601" y="544"/>
                    <a:pt x="2602" y="546"/>
                    <a:pt x="2601" y="547"/>
                  </a:cubicBezTo>
                  <a:cubicBezTo>
                    <a:pt x="2601" y="550"/>
                    <a:pt x="2599" y="549"/>
                    <a:pt x="2598" y="551"/>
                  </a:cubicBezTo>
                  <a:cubicBezTo>
                    <a:pt x="2596" y="552"/>
                    <a:pt x="2597" y="554"/>
                    <a:pt x="2598" y="556"/>
                  </a:cubicBezTo>
                  <a:cubicBezTo>
                    <a:pt x="2600" y="558"/>
                    <a:pt x="2601" y="558"/>
                    <a:pt x="2600" y="560"/>
                  </a:cubicBezTo>
                  <a:cubicBezTo>
                    <a:pt x="2599" y="564"/>
                    <a:pt x="2594" y="564"/>
                    <a:pt x="2593" y="567"/>
                  </a:cubicBezTo>
                  <a:cubicBezTo>
                    <a:pt x="2592" y="568"/>
                    <a:pt x="2594" y="573"/>
                    <a:pt x="2594" y="573"/>
                  </a:cubicBezTo>
                  <a:cubicBezTo>
                    <a:pt x="2589" y="575"/>
                    <a:pt x="2584" y="577"/>
                    <a:pt x="2579" y="579"/>
                  </a:cubicBezTo>
                  <a:cubicBezTo>
                    <a:pt x="2573" y="581"/>
                    <a:pt x="2567" y="584"/>
                    <a:pt x="2562" y="586"/>
                  </a:cubicBezTo>
                  <a:cubicBezTo>
                    <a:pt x="2560" y="586"/>
                    <a:pt x="2560" y="587"/>
                    <a:pt x="2560" y="589"/>
                  </a:cubicBezTo>
                  <a:cubicBezTo>
                    <a:pt x="2560" y="589"/>
                    <a:pt x="2560" y="589"/>
                    <a:pt x="2561" y="589"/>
                  </a:cubicBezTo>
                  <a:cubicBezTo>
                    <a:pt x="2556" y="596"/>
                    <a:pt x="2549" y="601"/>
                    <a:pt x="2542" y="606"/>
                  </a:cubicBezTo>
                  <a:cubicBezTo>
                    <a:pt x="2536" y="611"/>
                    <a:pt x="2527" y="616"/>
                    <a:pt x="2522" y="623"/>
                  </a:cubicBezTo>
                  <a:cubicBezTo>
                    <a:pt x="2519" y="628"/>
                    <a:pt x="2515" y="633"/>
                    <a:pt x="2512" y="638"/>
                  </a:cubicBezTo>
                  <a:cubicBezTo>
                    <a:pt x="2511" y="639"/>
                    <a:pt x="2510" y="641"/>
                    <a:pt x="2509" y="642"/>
                  </a:cubicBezTo>
                  <a:cubicBezTo>
                    <a:pt x="2509" y="642"/>
                    <a:pt x="2508" y="641"/>
                    <a:pt x="2507" y="642"/>
                  </a:cubicBezTo>
                  <a:cubicBezTo>
                    <a:pt x="2502" y="646"/>
                    <a:pt x="2496" y="649"/>
                    <a:pt x="2490" y="653"/>
                  </a:cubicBezTo>
                  <a:cubicBezTo>
                    <a:pt x="2491" y="654"/>
                    <a:pt x="2492" y="655"/>
                    <a:pt x="2492" y="656"/>
                  </a:cubicBezTo>
                  <a:cubicBezTo>
                    <a:pt x="2490" y="652"/>
                    <a:pt x="2487" y="655"/>
                    <a:pt x="2484" y="655"/>
                  </a:cubicBezTo>
                  <a:cubicBezTo>
                    <a:pt x="2483" y="655"/>
                    <a:pt x="2482" y="654"/>
                    <a:pt x="2480" y="655"/>
                  </a:cubicBezTo>
                  <a:cubicBezTo>
                    <a:pt x="2478" y="655"/>
                    <a:pt x="2478" y="658"/>
                    <a:pt x="2476" y="659"/>
                  </a:cubicBezTo>
                  <a:cubicBezTo>
                    <a:pt x="2475" y="660"/>
                    <a:pt x="2471" y="660"/>
                    <a:pt x="2469" y="660"/>
                  </a:cubicBezTo>
                  <a:cubicBezTo>
                    <a:pt x="2467" y="661"/>
                    <a:pt x="2465" y="661"/>
                    <a:pt x="2462" y="662"/>
                  </a:cubicBezTo>
                  <a:cubicBezTo>
                    <a:pt x="2464" y="664"/>
                    <a:pt x="2465" y="667"/>
                    <a:pt x="2466" y="670"/>
                  </a:cubicBezTo>
                  <a:cubicBezTo>
                    <a:pt x="2466" y="671"/>
                    <a:pt x="2465" y="673"/>
                    <a:pt x="2464" y="674"/>
                  </a:cubicBezTo>
                  <a:cubicBezTo>
                    <a:pt x="2463" y="676"/>
                    <a:pt x="2462" y="679"/>
                    <a:pt x="2461" y="681"/>
                  </a:cubicBezTo>
                  <a:cubicBezTo>
                    <a:pt x="2459" y="677"/>
                    <a:pt x="2457" y="682"/>
                    <a:pt x="2456" y="683"/>
                  </a:cubicBezTo>
                  <a:cubicBezTo>
                    <a:pt x="2455" y="684"/>
                    <a:pt x="2454" y="684"/>
                    <a:pt x="2453" y="685"/>
                  </a:cubicBezTo>
                  <a:cubicBezTo>
                    <a:pt x="2452" y="686"/>
                    <a:pt x="2451" y="687"/>
                    <a:pt x="2450" y="688"/>
                  </a:cubicBezTo>
                  <a:cubicBezTo>
                    <a:pt x="2446" y="692"/>
                    <a:pt x="2446" y="696"/>
                    <a:pt x="2444" y="701"/>
                  </a:cubicBezTo>
                  <a:cubicBezTo>
                    <a:pt x="2440" y="716"/>
                    <a:pt x="2439" y="732"/>
                    <a:pt x="2442" y="748"/>
                  </a:cubicBezTo>
                  <a:cubicBezTo>
                    <a:pt x="2444" y="757"/>
                    <a:pt x="2447" y="767"/>
                    <a:pt x="2448" y="777"/>
                  </a:cubicBezTo>
                  <a:cubicBezTo>
                    <a:pt x="2449" y="783"/>
                    <a:pt x="2449" y="790"/>
                    <a:pt x="2451" y="796"/>
                  </a:cubicBezTo>
                  <a:cubicBezTo>
                    <a:pt x="2452" y="798"/>
                    <a:pt x="2453" y="798"/>
                    <a:pt x="2454" y="799"/>
                  </a:cubicBezTo>
                  <a:cubicBezTo>
                    <a:pt x="2455" y="800"/>
                    <a:pt x="2456" y="800"/>
                    <a:pt x="2456" y="801"/>
                  </a:cubicBezTo>
                  <a:cubicBezTo>
                    <a:pt x="2456" y="802"/>
                    <a:pt x="2455" y="801"/>
                    <a:pt x="2455" y="801"/>
                  </a:cubicBezTo>
                  <a:cubicBezTo>
                    <a:pt x="2456" y="808"/>
                    <a:pt x="2457" y="814"/>
                    <a:pt x="2457" y="821"/>
                  </a:cubicBezTo>
                  <a:cubicBezTo>
                    <a:pt x="2457" y="824"/>
                    <a:pt x="2457" y="829"/>
                    <a:pt x="2458" y="832"/>
                  </a:cubicBezTo>
                  <a:cubicBezTo>
                    <a:pt x="2459" y="833"/>
                    <a:pt x="2460" y="834"/>
                    <a:pt x="2461" y="835"/>
                  </a:cubicBezTo>
                  <a:cubicBezTo>
                    <a:pt x="2463" y="837"/>
                    <a:pt x="2461" y="839"/>
                    <a:pt x="2460" y="842"/>
                  </a:cubicBezTo>
                  <a:cubicBezTo>
                    <a:pt x="2465" y="838"/>
                    <a:pt x="2470" y="834"/>
                    <a:pt x="2475" y="830"/>
                  </a:cubicBezTo>
                  <a:cubicBezTo>
                    <a:pt x="2478" y="827"/>
                    <a:pt x="2481" y="824"/>
                    <a:pt x="2484" y="820"/>
                  </a:cubicBezTo>
                  <a:cubicBezTo>
                    <a:pt x="2488" y="815"/>
                    <a:pt x="2492" y="810"/>
                    <a:pt x="2496" y="806"/>
                  </a:cubicBezTo>
                  <a:cubicBezTo>
                    <a:pt x="2497" y="804"/>
                    <a:pt x="2496" y="802"/>
                    <a:pt x="2496" y="800"/>
                  </a:cubicBezTo>
                  <a:cubicBezTo>
                    <a:pt x="2496" y="800"/>
                    <a:pt x="2495" y="799"/>
                    <a:pt x="2495" y="799"/>
                  </a:cubicBezTo>
                  <a:cubicBezTo>
                    <a:pt x="2495" y="798"/>
                    <a:pt x="2495" y="798"/>
                    <a:pt x="2495" y="797"/>
                  </a:cubicBezTo>
                  <a:cubicBezTo>
                    <a:pt x="2495" y="796"/>
                    <a:pt x="2497" y="796"/>
                    <a:pt x="2497" y="795"/>
                  </a:cubicBezTo>
                  <a:cubicBezTo>
                    <a:pt x="2497" y="795"/>
                    <a:pt x="2498" y="794"/>
                    <a:pt x="2498" y="792"/>
                  </a:cubicBezTo>
                  <a:cubicBezTo>
                    <a:pt x="2495" y="792"/>
                    <a:pt x="2493" y="790"/>
                    <a:pt x="2493" y="787"/>
                  </a:cubicBezTo>
                  <a:cubicBezTo>
                    <a:pt x="2493" y="784"/>
                    <a:pt x="2495" y="782"/>
                    <a:pt x="2498" y="782"/>
                  </a:cubicBezTo>
                  <a:cubicBezTo>
                    <a:pt x="2501" y="782"/>
                    <a:pt x="2503" y="784"/>
                    <a:pt x="2503" y="787"/>
                  </a:cubicBezTo>
                  <a:cubicBezTo>
                    <a:pt x="2504" y="787"/>
                    <a:pt x="2504" y="787"/>
                    <a:pt x="2504" y="787"/>
                  </a:cubicBezTo>
                  <a:cubicBezTo>
                    <a:pt x="2506" y="785"/>
                    <a:pt x="2507" y="785"/>
                    <a:pt x="2509" y="784"/>
                  </a:cubicBezTo>
                  <a:cubicBezTo>
                    <a:pt x="2511" y="783"/>
                    <a:pt x="2513" y="782"/>
                    <a:pt x="2515" y="782"/>
                  </a:cubicBezTo>
                  <a:cubicBezTo>
                    <a:pt x="2517" y="781"/>
                    <a:pt x="2518" y="782"/>
                    <a:pt x="2520" y="781"/>
                  </a:cubicBezTo>
                  <a:cubicBezTo>
                    <a:pt x="2518" y="783"/>
                    <a:pt x="2524" y="785"/>
                    <a:pt x="2525" y="785"/>
                  </a:cubicBezTo>
                  <a:cubicBezTo>
                    <a:pt x="2525" y="784"/>
                    <a:pt x="2525" y="782"/>
                    <a:pt x="2524" y="781"/>
                  </a:cubicBezTo>
                  <a:cubicBezTo>
                    <a:pt x="2522" y="783"/>
                    <a:pt x="2523" y="781"/>
                    <a:pt x="2523" y="780"/>
                  </a:cubicBezTo>
                  <a:cubicBezTo>
                    <a:pt x="2523" y="780"/>
                    <a:pt x="2523" y="779"/>
                    <a:pt x="2523" y="779"/>
                  </a:cubicBezTo>
                  <a:cubicBezTo>
                    <a:pt x="2523" y="779"/>
                    <a:pt x="2523" y="779"/>
                    <a:pt x="2522" y="779"/>
                  </a:cubicBezTo>
                  <a:cubicBezTo>
                    <a:pt x="2522" y="778"/>
                    <a:pt x="2521" y="776"/>
                    <a:pt x="2520" y="774"/>
                  </a:cubicBezTo>
                  <a:cubicBezTo>
                    <a:pt x="2522" y="775"/>
                    <a:pt x="2525" y="775"/>
                    <a:pt x="2523" y="772"/>
                  </a:cubicBezTo>
                  <a:cubicBezTo>
                    <a:pt x="2523" y="772"/>
                    <a:pt x="2522" y="772"/>
                    <a:pt x="2521" y="771"/>
                  </a:cubicBezTo>
                  <a:cubicBezTo>
                    <a:pt x="2521" y="771"/>
                    <a:pt x="2521" y="769"/>
                    <a:pt x="2521" y="768"/>
                  </a:cubicBezTo>
                  <a:cubicBezTo>
                    <a:pt x="2521" y="765"/>
                    <a:pt x="2523" y="760"/>
                    <a:pt x="2525" y="758"/>
                  </a:cubicBezTo>
                  <a:cubicBezTo>
                    <a:pt x="2526" y="756"/>
                    <a:pt x="2530" y="754"/>
                    <a:pt x="2532" y="752"/>
                  </a:cubicBezTo>
                  <a:cubicBezTo>
                    <a:pt x="2535" y="750"/>
                    <a:pt x="2539" y="747"/>
                    <a:pt x="2543" y="747"/>
                  </a:cubicBezTo>
                  <a:cubicBezTo>
                    <a:pt x="2544" y="746"/>
                    <a:pt x="2545" y="746"/>
                    <a:pt x="2545" y="746"/>
                  </a:cubicBezTo>
                  <a:cubicBezTo>
                    <a:pt x="2547" y="747"/>
                    <a:pt x="2546" y="747"/>
                    <a:pt x="2547" y="748"/>
                  </a:cubicBezTo>
                  <a:cubicBezTo>
                    <a:pt x="2549" y="749"/>
                    <a:pt x="2550" y="749"/>
                    <a:pt x="2552" y="748"/>
                  </a:cubicBezTo>
                  <a:cubicBezTo>
                    <a:pt x="2556" y="747"/>
                    <a:pt x="2560" y="745"/>
                    <a:pt x="2563" y="742"/>
                  </a:cubicBezTo>
                  <a:cubicBezTo>
                    <a:pt x="2566" y="740"/>
                    <a:pt x="2565" y="739"/>
                    <a:pt x="2563" y="737"/>
                  </a:cubicBezTo>
                  <a:cubicBezTo>
                    <a:pt x="2562" y="736"/>
                    <a:pt x="2562" y="735"/>
                    <a:pt x="2560" y="734"/>
                  </a:cubicBezTo>
                  <a:cubicBezTo>
                    <a:pt x="2557" y="731"/>
                    <a:pt x="2558" y="724"/>
                    <a:pt x="2558" y="719"/>
                  </a:cubicBezTo>
                  <a:cubicBezTo>
                    <a:pt x="2558" y="717"/>
                    <a:pt x="2560" y="713"/>
                    <a:pt x="2561" y="711"/>
                  </a:cubicBezTo>
                  <a:cubicBezTo>
                    <a:pt x="2562" y="708"/>
                    <a:pt x="2563" y="706"/>
                    <a:pt x="2566" y="705"/>
                  </a:cubicBezTo>
                  <a:cubicBezTo>
                    <a:pt x="2568" y="704"/>
                    <a:pt x="2573" y="703"/>
                    <a:pt x="2573" y="701"/>
                  </a:cubicBezTo>
                  <a:cubicBezTo>
                    <a:pt x="2572" y="698"/>
                    <a:pt x="2568" y="699"/>
                    <a:pt x="2572" y="697"/>
                  </a:cubicBezTo>
                  <a:cubicBezTo>
                    <a:pt x="2574" y="696"/>
                    <a:pt x="2575" y="696"/>
                    <a:pt x="2577" y="696"/>
                  </a:cubicBezTo>
                  <a:cubicBezTo>
                    <a:pt x="2578" y="696"/>
                    <a:pt x="2578" y="695"/>
                    <a:pt x="2580" y="695"/>
                  </a:cubicBezTo>
                  <a:cubicBezTo>
                    <a:pt x="2580" y="695"/>
                    <a:pt x="2582" y="693"/>
                    <a:pt x="2582" y="695"/>
                  </a:cubicBezTo>
                  <a:cubicBezTo>
                    <a:pt x="2582" y="696"/>
                    <a:pt x="2580" y="698"/>
                    <a:pt x="2579" y="698"/>
                  </a:cubicBezTo>
                  <a:cubicBezTo>
                    <a:pt x="2577" y="700"/>
                    <a:pt x="2574" y="700"/>
                    <a:pt x="2573" y="703"/>
                  </a:cubicBezTo>
                  <a:cubicBezTo>
                    <a:pt x="2575" y="703"/>
                    <a:pt x="2576" y="705"/>
                    <a:pt x="2577" y="706"/>
                  </a:cubicBezTo>
                  <a:cubicBezTo>
                    <a:pt x="2580" y="709"/>
                    <a:pt x="2583" y="706"/>
                    <a:pt x="2586" y="704"/>
                  </a:cubicBezTo>
                  <a:cubicBezTo>
                    <a:pt x="2589" y="703"/>
                    <a:pt x="2588" y="701"/>
                    <a:pt x="2587" y="698"/>
                  </a:cubicBezTo>
                  <a:cubicBezTo>
                    <a:pt x="2586" y="695"/>
                    <a:pt x="2586" y="692"/>
                    <a:pt x="2585" y="690"/>
                  </a:cubicBezTo>
                  <a:cubicBezTo>
                    <a:pt x="2585" y="688"/>
                    <a:pt x="2580" y="689"/>
                    <a:pt x="2578" y="688"/>
                  </a:cubicBezTo>
                  <a:cubicBezTo>
                    <a:pt x="2577" y="686"/>
                    <a:pt x="2577" y="685"/>
                    <a:pt x="2577" y="683"/>
                  </a:cubicBezTo>
                  <a:cubicBezTo>
                    <a:pt x="2578" y="680"/>
                    <a:pt x="2577" y="677"/>
                    <a:pt x="2577" y="674"/>
                  </a:cubicBezTo>
                  <a:cubicBezTo>
                    <a:pt x="2576" y="669"/>
                    <a:pt x="2584" y="666"/>
                    <a:pt x="2585" y="662"/>
                  </a:cubicBezTo>
                  <a:cubicBezTo>
                    <a:pt x="2586" y="658"/>
                    <a:pt x="2584" y="659"/>
                    <a:pt x="2581" y="658"/>
                  </a:cubicBezTo>
                  <a:cubicBezTo>
                    <a:pt x="2579" y="657"/>
                    <a:pt x="2576" y="654"/>
                    <a:pt x="2573" y="656"/>
                  </a:cubicBezTo>
                  <a:cubicBezTo>
                    <a:pt x="2569" y="657"/>
                    <a:pt x="2573" y="661"/>
                    <a:pt x="2569" y="663"/>
                  </a:cubicBezTo>
                  <a:cubicBezTo>
                    <a:pt x="2570" y="659"/>
                    <a:pt x="2569" y="660"/>
                    <a:pt x="2567" y="658"/>
                  </a:cubicBezTo>
                  <a:cubicBezTo>
                    <a:pt x="2564" y="657"/>
                    <a:pt x="2561" y="656"/>
                    <a:pt x="2561" y="653"/>
                  </a:cubicBezTo>
                  <a:cubicBezTo>
                    <a:pt x="2561" y="650"/>
                    <a:pt x="2563" y="645"/>
                    <a:pt x="2565" y="642"/>
                  </a:cubicBezTo>
                  <a:cubicBezTo>
                    <a:pt x="2566" y="640"/>
                    <a:pt x="2568" y="638"/>
                    <a:pt x="2569" y="636"/>
                  </a:cubicBezTo>
                  <a:cubicBezTo>
                    <a:pt x="2571" y="635"/>
                    <a:pt x="2572" y="634"/>
                    <a:pt x="2573" y="633"/>
                  </a:cubicBezTo>
                  <a:cubicBezTo>
                    <a:pt x="2574" y="633"/>
                    <a:pt x="2579" y="630"/>
                    <a:pt x="2575" y="630"/>
                  </a:cubicBezTo>
                  <a:cubicBezTo>
                    <a:pt x="2577" y="629"/>
                    <a:pt x="2581" y="628"/>
                    <a:pt x="2582" y="626"/>
                  </a:cubicBezTo>
                  <a:cubicBezTo>
                    <a:pt x="2580" y="626"/>
                    <a:pt x="2579" y="624"/>
                    <a:pt x="2580" y="622"/>
                  </a:cubicBezTo>
                  <a:cubicBezTo>
                    <a:pt x="2581" y="621"/>
                    <a:pt x="2582" y="623"/>
                    <a:pt x="2582" y="623"/>
                  </a:cubicBezTo>
                  <a:cubicBezTo>
                    <a:pt x="2584" y="624"/>
                    <a:pt x="2586" y="624"/>
                    <a:pt x="2584" y="622"/>
                  </a:cubicBezTo>
                  <a:cubicBezTo>
                    <a:pt x="2582" y="620"/>
                    <a:pt x="2582" y="620"/>
                    <a:pt x="2585" y="618"/>
                  </a:cubicBezTo>
                  <a:cubicBezTo>
                    <a:pt x="2587" y="616"/>
                    <a:pt x="2587" y="616"/>
                    <a:pt x="2586" y="614"/>
                  </a:cubicBezTo>
                  <a:cubicBezTo>
                    <a:pt x="2586" y="613"/>
                    <a:pt x="2585" y="612"/>
                    <a:pt x="2585" y="611"/>
                  </a:cubicBezTo>
                  <a:cubicBezTo>
                    <a:pt x="2585" y="609"/>
                    <a:pt x="2586" y="607"/>
                    <a:pt x="2587" y="605"/>
                  </a:cubicBezTo>
                  <a:cubicBezTo>
                    <a:pt x="2588" y="604"/>
                    <a:pt x="2589" y="602"/>
                    <a:pt x="2591" y="601"/>
                  </a:cubicBezTo>
                  <a:cubicBezTo>
                    <a:pt x="2593" y="600"/>
                    <a:pt x="2594" y="601"/>
                    <a:pt x="2596" y="599"/>
                  </a:cubicBezTo>
                  <a:cubicBezTo>
                    <a:pt x="2595" y="599"/>
                    <a:pt x="2594" y="598"/>
                    <a:pt x="2593" y="597"/>
                  </a:cubicBezTo>
                  <a:cubicBezTo>
                    <a:pt x="2596" y="597"/>
                    <a:pt x="2598" y="597"/>
                    <a:pt x="2600" y="597"/>
                  </a:cubicBezTo>
                  <a:cubicBezTo>
                    <a:pt x="2601" y="598"/>
                    <a:pt x="2603" y="598"/>
                    <a:pt x="2603" y="599"/>
                  </a:cubicBezTo>
                  <a:cubicBezTo>
                    <a:pt x="2603" y="600"/>
                    <a:pt x="2599" y="603"/>
                    <a:pt x="2603" y="602"/>
                  </a:cubicBezTo>
                  <a:cubicBezTo>
                    <a:pt x="2601" y="599"/>
                    <a:pt x="2605" y="598"/>
                    <a:pt x="2607" y="597"/>
                  </a:cubicBezTo>
                  <a:cubicBezTo>
                    <a:pt x="2610" y="596"/>
                    <a:pt x="2611" y="596"/>
                    <a:pt x="2614" y="599"/>
                  </a:cubicBezTo>
                  <a:cubicBezTo>
                    <a:pt x="2615" y="601"/>
                    <a:pt x="2616" y="606"/>
                    <a:pt x="2619" y="603"/>
                  </a:cubicBezTo>
                  <a:cubicBezTo>
                    <a:pt x="2620" y="602"/>
                    <a:pt x="2622" y="600"/>
                    <a:pt x="2622" y="599"/>
                  </a:cubicBezTo>
                  <a:cubicBezTo>
                    <a:pt x="2623" y="598"/>
                    <a:pt x="2623" y="599"/>
                    <a:pt x="2623" y="598"/>
                  </a:cubicBezTo>
                  <a:cubicBezTo>
                    <a:pt x="2623" y="597"/>
                    <a:pt x="2621" y="597"/>
                    <a:pt x="2623" y="596"/>
                  </a:cubicBezTo>
                  <a:cubicBezTo>
                    <a:pt x="2625" y="595"/>
                    <a:pt x="2627" y="593"/>
                    <a:pt x="2629" y="592"/>
                  </a:cubicBezTo>
                  <a:cubicBezTo>
                    <a:pt x="2635" y="590"/>
                    <a:pt x="2640" y="587"/>
                    <a:pt x="2645" y="584"/>
                  </a:cubicBezTo>
                  <a:cubicBezTo>
                    <a:pt x="2645" y="584"/>
                    <a:pt x="2646" y="588"/>
                    <a:pt x="2643" y="587"/>
                  </a:cubicBezTo>
                  <a:cubicBezTo>
                    <a:pt x="2644" y="588"/>
                    <a:pt x="2644" y="590"/>
                    <a:pt x="2643" y="591"/>
                  </a:cubicBezTo>
                  <a:cubicBezTo>
                    <a:pt x="2643" y="593"/>
                    <a:pt x="2643" y="593"/>
                    <a:pt x="2642" y="595"/>
                  </a:cubicBezTo>
                  <a:cubicBezTo>
                    <a:pt x="2640" y="597"/>
                    <a:pt x="2640" y="604"/>
                    <a:pt x="2644" y="603"/>
                  </a:cubicBezTo>
                  <a:cubicBezTo>
                    <a:pt x="2646" y="602"/>
                    <a:pt x="2648" y="598"/>
                    <a:pt x="2650" y="597"/>
                  </a:cubicBezTo>
                  <a:cubicBezTo>
                    <a:pt x="2651" y="595"/>
                    <a:pt x="2656" y="591"/>
                    <a:pt x="2656" y="590"/>
                  </a:cubicBezTo>
                  <a:cubicBezTo>
                    <a:pt x="2659" y="589"/>
                    <a:pt x="2662" y="588"/>
                    <a:pt x="2665" y="586"/>
                  </a:cubicBezTo>
                  <a:cubicBezTo>
                    <a:pt x="2670" y="584"/>
                    <a:pt x="2672" y="583"/>
                    <a:pt x="2677" y="582"/>
                  </a:cubicBezTo>
                  <a:cubicBezTo>
                    <a:pt x="2684" y="582"/>
                    <a:pt x="2691" y="581"/>
                    <a:pt x="2698" y="581"/>
                  </a:cubicBezTo>
                  <a:cubicBezTo>
                    <a:pt x="2700" y="580"/>
                    <a:pt x="2704" y="582"/>
                    <a:pt x="2700" y="582"/>
                  </a:cubicBezTo>
                  <a:cubicBezTo>
                    <a:pt x="2702" y="583"/>
                    <a:pt x="2707" y="584"/>
                    <a:pt x="2708" y="586"/>
                  </a:cubicBezTo>
                  <a:cubicBezTo>
                    <a:pt x="2709" y="587"/>
                    <a:pt x="2709" y="589"/>
                    <a:pt x="2710" y="590"/>
                  </a:cubicBezTo>
                  <a:cubicBezTo>
                    <a:pt x="2711" y="591"/>
                    <a:pt x="2712" y="591"/>
                    <a:pt x="2714" y="592"/>
                  </a:cubicBezTo>
                  <a:cubicBezTo>
                    <a:pt x="2711" y="592"/>
                    <a:pt x="2711" y="594"/>
                    <a:pt x="2713" y="595"/>
                  </a:cubicBezTo>
                  <a:cubicBezTo>
                    <a:pt x="2714" y="597"/>
                    <a:pt x="2717" y="598"/>
                    <a:pt x="2718" y="600"/>
                  </a:cubicBezTo>
                  <a:cubicBezTo>
                    <a:pt x="2722" y="604"/>
                    <a:pt x="2723" y="595"/>
                    <a:pt x="2723" y="593"/>
                  </a:cubicBezTo>
                  <a:cubicBezTo>
                    <a:pt x="2724" y="591"/>
                    <a:pt x="2724" y="590"/>
                    <a:pt x="2726" y="590"/>
                  </a:cubicBezTo>
                  <a:cubicBezTo>
                    <a:pt x="2728" y="589"/>
                    <a:pt x="2726" y="588"/>
                    <a:pt x="2727" y="588"/>
                  </a:cubicBezTo>
                  <a:cubicBezTo>
                    <a:pt x="2727" y="588"/>
                    <a:pt x="2726" y="588"/>
                    <a:pt x="2726" y="587"/>
                  </a:cubicBezTo>
                  <a:cubicBezTo>
                    <a:pt x="2727" y="586"/>
                    <a:pt x="2727" y="587"/>
                    <a:pt x="2728" y="586"/>
                  </a:cubicBezTo>
                  <a:cubicBezTo>
                    <a:pt x="2728" y="586"/>
                    <a:pt x="2729" y="586"/>
                    <a:pt x="2729" y="586"/>
                  </a:cubicBezTo>
                  <a:cubicBezTo>
                    <a:pt x="2730" y="585"/>
                    <a:pt x="2729" y="585"/>
                    <a:pt x="2730" y="585"/>
                  </a:cubicBezTo>
                  <a:cubicBezTo>
                    <a:pt x="2730" y="584"/>
                    <a:pt x="2731" y="584"/>
                    <a:pt x="2733" y="583"/>
                  </a:cubicBezTo>
                  <a:cubicBezTo>
                    <a:pt x="2735" y="583"/>
                    <a:pt x="2738" y="582"/>
                    <a:pt x="2739" y="581"/>
                  </a:cubicBezTo>
                  <a:cubicBezTo>
                    <a:pt x="2740" y="580"/>
                    <a:pt x="2740" y="579"/>
                    <a:pt x="2741" y="578"/>
                  </a:cubicBezTo>
                  <a:cubicBezTo>
                    <a:pt x="2743" y="577"/>
                    <a:pt x="2747" y="576"/>
                    <a:pt x="2749" y="575"/>
                  </a:cubicBezTo>
                  <a:cubicBezTo>
                    <a:pt x="2750" y="575"/>
                    <a:pt x="2757" y="572"/>
                    <a:pt x="2756" y="570"/>
                  </a:cubicBezTo>
                  <a:cubicBezTo>
                    <a:pt x="2756" y="568"/>
                    <a:pt x="2754" y="568"/>
                    <a:pt x="2753" y="567"/>
                  </a:cubicBezTo>
                  <a:cubicBezTo>
                    <a:pt x="2756" y="568"/>
                    <a:pt x="2760" y="569"/>
                    <a:pt x="2762" y="567"/>
                  </a:cubicBezTo>
                  <a:cubicBezTo>
                    <a:pt x="2761" y="567"/>
                    <a:pt x="2760" y="567"/>
                    <a:pt x="2759" y="566"/>
                  </a:cubicBezTo>
                  <a:cubicBezTo>
                    <a:pt x="2761" y="566"/>
                    <a:pt x="2760" y="564"/>
                    <a:pt x="2760" y="563"/>
                  </a:cubicBezTo>
                  <a:cubicBezTo>
                    <a:pt x="2762" y="564"/>
                    <a:pt x="2767" y="562"/>
                    <a:pt x="2766" y="560"/>
                  </a:cubicBezTo>
                  <a:cubicBezTo>
                    <a:pt x="2767" y="560"/>
                    <a:pt x="2769" y="561"/>
                    <a:pt x="2771" y="560"/>
                  </a:cubicBezTo>
                  <a:cubicBezTo>
                    <a:pt x="2771" y="558"/>
                    <a:pt x="2764" y="556"/>
                    <a:pt x="2770" y="556"/>
                  </a:cubicBezTo>
                  <a:cubicBezTo>
                    <a:pt x="2770" y="556"/>
                    <a:pt x="2771" y="557"/>
                    <a:pt x="2771" y="557"/>
                  </a:cubicBezTo>
                  <a:cubicBezTo>
                    <a:pt x="2772" y="557"/>
                    <a:pt x="2774" y="556"/>
                    <a:pt x="2775" y="555"/>
                  </a:cubicBezTo>
                  <a:cubicBezTo>
                    <a:pt x="2777" y="555"/>
                    <a:pt x="2779" y="554"/>
                    <a:pt x="2780" y="554"/>
                  </a:cubicBezTo>
                  <a:cubicBezTo>
                    <a:pt x="2781" y="552"/>
                    <a:pt x="2781" y="553"/>
                    <a:pt x="2781" y="551"/>
                  </a:cubicBezTo>
                  <a:cubicBezTo>
                    <a:pt x="2782" y="550"/>
                    <a:pt x="2782" y="548"/>
                    <a:pt x="2783" y="548"/>
                  </a:cubicBezTo>
                  <a:cubicBezTo>
                    <a:pt x="2784" y="547"/>
                    <a:pt x="2784" y="549"/>
                    <a:pt x="2784" y="549"/>
                  </a:cubicBezTo>
                  <a:cubicBezTo>
                    <a:pt x="2787" y="549"/>
                    <a:pt x="2789" y="546"/>
                    <a:pt x="2791" y="545"/>
                  </a:cubicBezTo>
                  <a:cubicBezTo>
                    <a:pt x="2793" y="545"/>
                    <a:pt x="2794" y="546"/>
                    <a:pt x="2796" y="546"/>
                  </a:cubicBezTo>
                  <a:cubicBezTo>
                    <a:pt x="2799" y="546"/>
                    <a:pt x="2802" y="546"/>
                    <a:pt x="2804" y="543"/>
                  </a:cubicBezTo>
                  <a:cubicBezTo>
                    <a:pt x="2804" y="543"/>
                    <a:pt x="2802" y="541"/>
                    <a:pt x="2803" y="541"/>
                  </a:cubicBezTo>
                  <a:cubicBezTo>
                    <a:pt x="2806" y="541"/>
                    <a:pt x="2808" y="540"/>
                    <a:pt x="2811" y="540"/>
                  </a:cubicBezTo>
                  <a:cubicBezTo>
                    <a:pt x="2815" y="539"/>
                    <a:pt x="2813" y="538"/>
                    <a:pt x="2815" y="536"/>
                  </a:cubicBezTo>
                  <a:cubicBezTo>
                    <a:pt x="2816" y="534"/>
                    <a:pt x="2820" y="534"/>
                    <a:pt x="2821" y="533"/>
                  </a:cubicBezTo>
                  <a:cubicBezTo>
                    <a:pt x="2827" y="530"/>
                    <a:pt x="2834" y="528"/>
                    <a:pt x="2841" y="525"/>
                  </a:cubicBezTo>
                  <a:cubicBezTo>
                    <a:pt x="2844" y="523"/>
                    <a:pt x="2849" y="524"/>
                    <a:pt x="2853" y="523"/>
                  </a:cubicBezTo>
                  <a:cubicBezTo>
                    <a:pt x="2851" y="523"/>
                    <a:pt x="2848" y="524"/>
                    <a:pt x="2847" y="521"/>
                  </a:cubicBezTo>
                  <a:cubicBezTo>
                    <a:pt x="2847" y="520"/>
                    <a:pt x="2848" y="520"/>
                    <a:pt x="2848" y="519"/>
                  </a:cubicBezTo>
                  <a:cubicBezTo>
                    <a:pt x="2849" y="517"/>
                    <a:pt x="2848" y="516"/>
                    <a:pt x="2848" y="515"/>
                  </a:cubicBezTo>
                  <a:cubicBezTo>
                    <a:pt x="2849" y="516"/>
                    <a:pt x="2850" y="517"/>
                    <a:pt x="2851" y="517"/>
                  </a:cubicBezTo>
                  <a:cubicBezTo>
                    <a:pt x="2852" y="517"/>
                    <a:pt x="2859" y="516"/>
                    <a:pt x="2855" y="517"/>
                  </a:cubicBezTo>
                  <a:cubicBezTo>
                    <a:pt x="2854" y="518"/>
                    <a:pt x="2853" y="522"/>
                    <a:pt x="2854" y="523"/>
                  </a:cubicBezTo>
                  <a:cubicBezTo>
                    <a:pt x="2858" y="524"/>
                    <a:pt x="2863" y="523"/>
                    <a:pt x="2867" y="524"/>
                  </a:cubicBezTo>
                  <a:cubicBezTo>
                    <a:pt x="2871" y="525"/>
                    <a:pt x="2875" y="527"/>
                    <a:pt x="2879" y="528"/>
                  </a:cubicBezTo>
                  <a:cubicBezTo>
                    <a:pt x="2882" y="529"/>
                    <a:pt x="2884" y="530"/>
                    <a:pt x="2887" y="531"/>
                  </a:cubicBezTo>
                  <a:cubicBezTo>
                    <a:pt x="2889" y="532"/>
                    <a:pt x="2888" y="528"/>
                    <a:pt x="2889" y="527"/>
                  </a:cubicBezTo>
                  <a:cubicBezTo>
                    <a:pt x="2891" y="524"/>
                    <a:pt x="2898" y="523"/>
                    <a:pt x="2897" y="519"/>
                  </a:cubicBezTo>
                  <a:cubicBezTo>
                    <a:pt x="2897" y="517"/>
                    <a:pt x="2896" y="515"/>
                    <a:pt x="2894" y="514"/>
                  </a:cubicBezTo>
                  <a:cubicBezTo>
                    <a:pt x="2890" y="513"/>
                    <a:pt x="2892" y="513"/>
                    <a:pt x="2894" y="509"/>
                  </a:cubicBezTo>
                  <a:cubicBezTo>
                    <a:pt x="2894" y="507"/>
                    <a:pt x="2894" y="506"/>
                    <a:pt x="2892" y="505"/>
                  </a:cubicBezTo>
                  <a:cubicBezTo>
                    <a:pt x="2889" y="503"/>
                    <a:pt x="2884" y="503"/>
                    <a:pt x="2883" y="499"/>
                  </a:cubicBezTo>
                  <a:cubicBezTo>
                    <a:pt x="2884" y="499"/>
                    <a:pt x="2885" y="500"/>
                    <a:pt x="2886" y="501"/>
                  </a:cubicBezTo>
                  <a:cubicBezTo>
                    <a:pt x="2884" y="498"/>
                    <a:pt x="2883" y="496"/>
                    <a:pt x="2881" y="493"/>
                  </a:cubicBezTo>
                  <a:cubicBezTo>
                    <a:pt x="2881" y="495"/>
                    <a:pt x="2884" y="499"/>
                    <a:pt x="2881" y="499"/>
                  </a:cubicBezTo>
                  <a:cubicBezTo>
                    <a:pt x="2878" y="499"/>
                    <a:pt x="2882" y="495"/>
                    <a:pt x="2880" y="494"/>
                  </a:cubicBezTo>
                  <a:cubicBezTo>
                    <a:pt x="2878" y="492"/>
                    <a:pt x="2872" y="497"/>
                    <a:pt x="2873" y="493"/>
                  </a:cubicBezTo>
                  <a:cubicBezTo>
                    <a:pt x="2874" y="491"/>
                    <a:pt x="2879" y="492"/>
                    <a:pt x="2881" y="492"/>
                  </a:cubicBezTo>
                  <a:cubicBezTo>
                    <a:pt x="2880" y="492"/>
                    <a:pt x="2880" y="491"/>
                    <a:pt x="2879" y="491"/>
                  </a:cubicBezTo>
                  <a:cubicBezTo>
                    <a:pt x="2880" y="491"/>
                    <a:pt x="2881" y="491"/>
                    <a:pt x="2881" y="491"/>
                  </a:cubicBezTo>
                  <a:cubicBezTo>
                    <a:pt x="2881" y="489"/>
                    <a:pt x="2881" y="487"/>
                    <a:pt x="2880" y="485"/>
                  </a:cubicBezTo>
                  <a:cubicBezTo>
                    <a:pt x="2880" y="484"/>
                    <a:pt x="2880" y="483"/>
                    <a:pt x="2880" y="482"/>
                  </a:cubicBezTo>
                  <a:cubicBezTo>
                    <a:pt x="2879" y="482"/>
                    <a:pt x="2877" y="483"/>
                    <a:pt x="2877" y="481"/>
                  </a:cubicBezTo>
                  <a:cubicBezTo>
                    <a:pt x="2878" y="478"/>
                    <a:pt x="2877" y="478"/>
                    <a:pt x="2875" y="475"/>
                  </a:cubicBezTo>
                  <a:cubicBezTo>
                    <a:pt x="2874" y="473"/>
                    <a:pt x="2873" y="469"/>
                    <a:pt x="2870" y="472"/>
                  </a:cubicBezTo>
                  <a:cubicBezTo>
                    <a:pt x="2869" y="474"/>
                    <a:pt x="2871" y="474"/>
                    <a:pt x="2868" y="474"/>
                  </a:cubicBezTo>
                  <a:cubicBezTo>
                    <a:pt x="2867" y="474"/>
                    <a:pt x="2866" y="474"/>
                    <a:pt x="2865" y="473"/>
                  </a:cubicBezTo>
                  <a:cubicBezTo>
                    <a:pt x="2863" y="473"/>
                    <a:pt x="2861" y="472"/>
                    <a:pt x="2859" y="470"/>
                  </a:cubicBezTo>
                  <a:cubicBezTo>
                    <a:pt x="2858" y="469"/>
                    <a:pt x="2857" y="467"/>
                    <a:pt x="2857" y="465"/>
                  </a:cubicBezTo>
                  <a:cubicBezTo>
                    <a:pt x="2857" y="464"/>
                    <a:pt x="2856" y="457"/>
                    <a:pt x="2854" y="457"/>
                  </a:cubicBezTo>
                  <a:cubicBezTo>
                    <a:pt x="2854" y="457"/>
                    <a:pt x="2849" y="459"/>
                    <a:pt x="2848" y="459"/>
                  </a:cubicBezTo>
                  <a:cubicBezTo>
                    <a:pt x="2847" y="459"/>
                    <a:pt x="2846" y="460"/>
                    <a:pt x="2845" y="460"/>
                  </a:cubicBezTo>
                  <a:cubicBezTo>
                    <a:pt x="2843" y="460"/>
                    <a:pt x="2840" y="459"/>
                    <a:pt x="2838" y="459"/>
                  </a:cubicBezTo>
                  <a:cubicBezTo>
                    <a:pt x="2837" y="460"/>
                    <a:pt x="2836" y="461"/>
                    <a:pt x="2835" y="461"/>
                  </a:cubicBezTo>
                  <a:cubicBezTo>
                    <a:pt x="2834" y="462"/>
                    <a:pt x="2833" y="463"/>
                    <a:pt x="2831" y="464"/>
                  </a:cubicBezTo>
                  <a:cubicBezTo>
                    <a:pt x="2831" y="461"/>
                    <a:pt x="2833" y="461"/>
                    <a:pt x="2835" y="460"/>
                  </a:cubicBezTo>
                  <a:cubicBezTo>
                    <a:pt x="2834" y="459"/>
                    <a:pt x="2827" y="453"/>
                    <a:pt x="2829" y="452"/>
                  </a:cubicBezTo>
                  <a:cubicBezTo>
                    <a:pt x="2830" y="451"/>
                    <a:pt x="2834" y="453"/>
                    <a:pt x="2835" y="454"/>
                  </a:cubicBezTo>
                  <a:cubicBezTo>
                    <a:pt x="2837" y="455"/>
                    <a:pt x="2837" y="456"/>
                    <a:pt x="2840" y="455"/>
                  </a:cubicBezTo>
                  <a:cubicBezTo>
                    <a:pt x="2841" y="454"/>
                    <a:pt x="2844" y="454"/>
                    <a:pt x="2845" y="455"/>
                  </a:cubicBezTo>
                  <a:cubicBezTo>
                    <a:pt x="2847" y="455"/>
                    <a:pt x="2848" y="458"/>
                    <a:pt x="2850" y="457"/>
                  </a:cubicBezTo>
                  <a:cubicBezTo>
                    <a:pt x="2854" y="455"/>
                    <a:pt x="2850" y="451"/>
                    <a:pt x="2848" y="450"/>
                  </a:cubicBezTo>
                  <a:cubicBezTo>
                    <a:pt x="2846" y="448"/>
                    <a:pt x="2845" y="449"/>
                    <a:pt x="2842" y="449"/>
                  </a:cubicBezTo>
                  <a:cubicBezTo>
                    <a:pt x="2840" y="449"/>
                    <a:pt x="2838" y="448"/>
                    <a:pt x="2837" y="447"/>
                  </a:cubicBezTo>
                  <a:cubicBezTo>
                    <a:pt x="2838" y="448"/>
                    <a:pt x="2840" y="449"/>
                    <a:pt x="2841" y="449"/>
                  </a:cubicBezTo>
                  <a:cubicBezTo>
                    <a:pt x="2843" y="449"/>
                    <a:pt x="2844" y="447"/>
                    <a:pt x="2846" y="447"/>
                  </a:cubicBezTo>
                  <a:cubicBezTo>
                    <a:pt x="2847" y="447"/>
                    <a:pt x="2850" y="449"/>
                    <a:pt x="2852" y="450"/>
                  </a:cubicBezTo>
                  <a:cubicBezTo>
                    <a:pt x="2852" y="450"/>
                    <a:pt x="2852" y="451"/>
                    <a:pt x="2852" y="452"/>
                  </a:cubicBezTo>
                  <a:cubicBezTo>
                    <a:pt x="2853" y="452"/>
                    <a:pt x="2854" y="452"/>
                    <a:pt x="2854" y="452"/>
                  </a:cubicBezTo>
                  <a:cubicBezTo>
                    <a:pt x="2855" y="452"/>
                    <a:pt x="2858" y="453"/>
                    <a:pt x="2856" y="454"/>
                  </a:cubicBezTo>
                  <a:cubicBezTo>
                    <a:pt x="2854" y="456"/>
                    <a:pt x="2861" y="457"/>
                    <a:pt x="2860" y="458"/>
                  </a:cubicBezTo>
                  <a:cubicBezTo>
                    <a:pt x="2865" y="460"/>
                    <a:pt x="2870" y="460"/>
                    <a:pt x="2876" y="458"/>
                  </a:cubicBezTo>
                  <a:cubicBezTo>
                    <a:pt x="2884" y="456"/>
                    <a:pt x="2892" y="454"/>
                    <a:pt x="2899" y="452"/>
                  </a:cubicBezTo>
                  <a:cubicBezTo>
                    <a:pt x="2901" y="451"/>
                    <a:pt x="2905" y="449"/>
                    <a:pt x="2905" y="447"/>
                  </a:cubicBezTo>
                  <a:cubicBezTo>
                    <a:pt x="2905" y="447"/>
                    <a:pt x="2905" y="447"/>
                    <a:pt x="2905" y="448"/>
                  </a:cubicBezTo>
                  <a:cubicBezTo>
                    <a:pt x="2906" y="448"/>
                    <a:pt x="2906" y="448"/>
                    <a:pt x="2907" y="447"/>
                  </a:cubicBezTo>
                  <a:cubicBezTo>
                    <a:pt x="2909" y="447"/>
                    <a:pt x="2911" y="446"/>
                    <a:pt x="2912" y="445"/>
                  </a:cubicBezTo>
                  <a:cubicBezTo>
                    <a:pt x="2912" y="445"/>
                    <a:pt x="2912" y="445"/>
                    <a:pt x="2912" y="445"/>
                  </a:cubicBezTo>
                  <a:cubicBezTo>
                    <a:pt x="2914" y="443"/>
                    <a:pt x="2913" y="440"/>
                    <a:pt x="2915" y="438"/>
                  </a:cubicBezTo>
                  <a:cubicBezTo>
                    <a:pt x="2914" y="438"/>
                    <a:pt x="2913" y="438"/>
                    <a:pt x="2913" y="438"/>
                  </a:cubicBezTo>
                  <a:cubicBezTo>
                    <a:pt x="2910" y="439"/>
                    <a:pt x="2907" y="439"/>
                    <a:pt x="2905" y="440"/>
                  </a:cubicBezTo>
                  <a:cubicBezTo>
                    <a:pt x="2905" y="440"/>
                    <a:pt x="2905" y="440"/>
                    <a:pt x="2905" y="440"/>
                  </a:cubicBezTo>
                  <a:cubicBezTo>
                    <a:pt x="2905" y="439"/>
                    <a:pt x="2903" y="440"/>
                    <a:pt x="2902" y="439"/>
                  </a:cubicBezTo>
                  <a:cubicBezTo>
                    <a:pt x="2903" y="439"/>
                    <a:pt x="2904" y="438"/>
                    <a:pt x="2904" y="438"/>
                  </a:cubicBezTo>
                  <a:cubicBezTo>
                    <a:pt x="2909" y="436"/>
                    <a:pt x="2914" y="434"/>
                    <a:pt x="2918" y="433"/>
                  </a:cubicBezTo>
                  <a:cubicBezTo>
                    <a:pt x="2917" y="431"/>
                    <a:pt x="2919" y="430"/>
                    <a:pt x="2917" y="429"/>
                  </a:cubicBezTo>
                  <a:cubicBezTo>
                    <a:pt x="2915" y="429"/>
                    <a:pt x="2913" y="427"/>
                    <a:pt x="2912" y="426"/>
                  </a:cubicBezTo>
                  <a:cubicBezTo>
                    <a:pt x="2910" y="425"/>
                    <a:pt x="2910" y="423"/>
                    <a:pt x="2910" y="420"/>
                  </a:cubicBezTo>
                  <a:cubicBezTo>
                    <a:pt x="2910" y="419"/>
                    <a:pt x="2910" y="410"/>
                    <a:pt x="2912" y="414"/>
                  </a:cubicBezTo>
                  <a:cubicBezTo>
                    <a:pt x="2912" y="414"/>
                    <a:pt x="2911" y="414"/>
                    <a:pt x="2911" y="414"/>
                  </a:cubicBezTo>
                  <a:cubicBezTo>
                    <a:pt x="2912" y="416"/>
                    <a:pt x="2915" y="415"/>
                    <a:pt x="2916" y="414"/>
                  </a:cubicBezTo>
                  <a:cubicBezTo>
                    <a:pt x="2920" y="413"/>
                    <a:pt x="2919" y="411"/>
                    <a:pt x="2917" y="409"/>
                  </a:cubicBezTo>
                  <a:cubicBezTo>
                    <a:pt x="2916" y="408"/>
                    <a:pt x="2921" y="404"/>
                    <a:pt x="2922" y="407"/>
                  </a:cubicBezTo>
                  <a:cubicBezTo>
                    <a:pt x="2923" y="409"/>
                    <a:pt x="2922" y="409"/>
                    <a:pt x="2922" y="410"/>
                  </a:cubicBezTo>
                  <a:cubicBezTo>
                    <a:pt x="2922" y="411"/>
                    <a:pt x="2922" y="412"/>
                    <a:pt x="2923" y="412"/>
                  </a:cubicBezTo>
                  <a:cubicBezTo>
                    <a:pt x="2927" y="411"/>
                    <a:pt x="2930" y="408"/>
                    <a:pt x="2933" y="406"/>
                  </a:cubicBezTo>
                  <a:cubicBezTo>
                    <a:pt x="2933" y="409"/>
                    <a:pt x="2934" y="412"/>
                    <a:pt x="2932" y="414"/>
                  </a:cubicBezTo>
                  <a:cubicBezTo>
                    <a:pt x="2932" y="415"/>
                    <a:pt x="2931" y="415"/>
                    <a:pt x="2930" y="416"/>
                  </a:cubicBezTo>
                  <a:cubicBezTo>
                    <a:pt x="2930" y="416"/>
                    <a:pt x="2930" y="417"/>
                    <a:pt x="2929" y="418"/>
                  </a:cubicBezTo>
                  <a:cubicBezTo>
                    <a:pt x="2928" y="420"/>
                    <a:pt x="2926" y="418"/>
                    <a:pt x="2925" y="417"/>
                  </a:cubicBezTo>
                  <a:cubicBezTo>
                    <a:pt x="2925" y="418"/>
                    <a:pt x="2926" y="419"/>
                    <a:pt x="2926" y="419"/>
                  </a:cubicBezTo>
                  <a:cubicBezTo>
                    <a:pt x="2926" y="420"/>
                    <a:pt x="2926" y="422"/>
                    <a:pt x="2926" y="422"/>
                  </a:cubicBezTo>
                  <a:cubicBezTo>
                    <a:pt x="2927" y="423"/>
                    <a:pt x="2930" y="425"/>
                    <a:pt x="2931" y="426"/>
                  </a:cubicBezTo>
                  <a:cubicBezTo>
                    <a:pt x="2933" y="427"/>
                    <a:pt x="2935" y="426"/>
                    <a:pt x="2934" y="429"/>
                  </a:cubicBezTo>
                  <a:cubicBezTo>
                    <a:pt x="2934" y="429"/>
                    <a:pt x="2933" y="431"/>
                    <a:pt x="2933" y="431"/>
                  </a:cubicBezTo>
                  <a:cubicBezTo>
                    <a:pt x="2933" y="432"/>
                    <a:pt x="2936" y="432"/>
                    <a:pt x="2937" y="432"/>
                  </a:cubicBezTo>
                  <a:cubicBezTo>
                    <a:pt x="2949" y="432"/>
                    <a:pt x="2962" y="430"/>
                    <a:pt x="2973" y="434"/>
                  </a:cubicBezTo>
                  <a:cubicBezTo>
                    <a:pt x="2977" y="435"/>
                    <a:pt x="2982" y="436"/>
                    <a:pt x="2983" y="439"/>
                  </a:cubicBezTo>
                  <a:cubicBezTo>
                    <a:pt x="2983" y="441"/>
                    <a:pt x="2984" y="442"/>
                    <a:pt x="2985" y="444"/>
                  </a:cubicBezTo>
                  <a:cubicBezTo>
                    <a:pt x="2985" y="445"/>
                    <a:pt x="2985" y="446"/>
                    <a:pt x="2985" y="446"/>
                  </a:cubicBezTo>
                  <a:cubicBezTo>
                    <a:pt x="2986" y="448"/>
                    <a:pt x="2987" y="450"/>
                    <a:pt x="2988" y="452"/>
                  </a:cubicBezTo>
                  <a:cubicBezTo>
                    <a:pt x="2989" y="453"/>
                    <a:pt x="2990" y="456"/>
                    <a:pt x="2992" y="457"/>
                  </a:cubicBezTo>
                  <a:cubicBezTo>
                    <a:pt x="2992" y="457"/>
                    <a:pt x="2994" y="456"/>
                    <a:pt x="2995" y="456"/>
                  </a:cubicBezTo>
                  <a:cubicBezTo>
                    <a:pt x="2997" y="457"/>
                    <a:pt x="2998" y="456"/>
                    <a:pt x="3000" y="456"/>
                  </a:cubicBezTo>
                  <a:cubicBezTo>
                    <a:pt x="3002" y="456"/>
                    <a:pt x="3007" y="458"/>
                    <a:pt x="3010" y="459"/>
                  </a:cubicBezTo>
                  <a:cubicBezTo>
                    <a:pt x="3016" y="461"/>
                    <a:pt x="3018" y="470"/>
                    <a:pt x="3025" y="470"/>
                  </a:cubicBezTo>
                  <a:cubicBezTo>
                    <a:pt x="3027" y="470"/>
                    <a:pt x="3029" y="469"/>
                    <a:pt x="3030" y="468"/>
                  </a:cubicBezTo>
                  <a:cubicBezTo>
                    <a:pt x="3033" y="466"/>
                    <a:pt x="3030" y="465"/>
                    <a:pt x="3031" y="462"/>
                  </a:cubicBezTo>
                  <a:cubicBezTo>
                    <a:pt x="3034" y="465"/>
                    <a:pt x="3031" y="472"/>
                    <a:pt x="3035" y="473"/>
                  </a:cubicBezTo>
                  <a:cubicBezTo>
                    <a:pt x="3037" y="473"/>
                    <a:pt x="3039" y="471"/>
                    <a:pt x="3040" y="471"/>
                  </a:cubicBezTo>
                  <a:cubicBezTo>
                    <a:pt x="3041" y="468"/>
                    <a:pt x="3040" y="468"/>
                    <a:pt x="3038" y="466"/>
                  </a:cubicBezTo>
                  <a:cubicBezTo>
                    <a:pt x="3040" y="466"/>
                    <a:pt x="3042" y="468"/>
                    <a:pt x="3045" y="468"/>
                  </a:cubicBezTo>
                  <a:cubicBezTo>
                    <a:pt x="3047" y="469"/>
                    <a:pt x="3050" y="468"/>
                    <a:pt x="3052" y="468"/>
                  </a:cubicBezTo>
                  <a:cubicBezTo>
                    <a:pt x="3048" y="466"/>
                    <a:pt x="3043" y="465"/>
                    <a:pt x="3039" y="463"/>
                  </a:cubicBezTo>
                  <a:cubicBezTo>
                    <a:pt x="3036" y="461"/>
                    <a:pt x="3037" y="460"/>
                    <a:pt x="3039" y="459"/>
                  </a:cubicBezTo>
                  <a:cubicBezTo>
                    <a:pt x="3042" y="458"/>
                    <a:pt x="3043" y="457"/>
                    <a:pt x="3040" y="455"/>
                  </a:cubicBezTo>
                  <a:cubicBezTo>
                    <a:pt x="3039" y="454"/>
                    <a:pt x="3037" y="455"/>
                    <a:pt x="3036" y="456"/>
                  </a:cubicBezTo>
                  <a:cubicBezTo>
                    <a:pt x="3037" y="455"/>
                    <a:pt x="3037" y="454"/>
                    <a:pt x="3038" y="454"/>
                  </a:cubicBezTo>
                  <a:cubicBezTo>
                    <a:pt x="3040" y="453"/>
                    <a:pt x="3041" y="455"/>
                    <a:pt x="3043" y="454"/>
                  </a:cubicBezTo>
                  <a:cubicBezTo>
                    <a:pt x="3044" y="454"/>
                    <a:pt x="3045" y="453"/>
                    <a:pt x="3046" y="453"/>
                  </a:cubicBezTo>
                  <a:cubicBezTo>
                    <a:pt x="3048" y="453"/>
                    <a:pt x="3049" y="452"/>
                    <a:pt x="3050" y="452"/>
                  </a:cubicBezTo>
                  <a:cubicBezTo>
                    <a:pt x="3053" y="450"/>
                    <a:pt x="3056" y="448"/>
                    <a:pt x="3053" y="445"/>
                  </a:cubicBezTo>
                  <a:cubicBezTo>
                    <a:pt x="3051" y="442"/>
                    <a:pt x="3047" y="445"/>
                    <a:pt x="3044" y="442"/>
                  </a:cubicBezTo>
                  <a:cubicBezTo>
                    <a:pt x="3046" y="441"/>
                    <a:pt x="3046" y="442"/>
                    <a:pt x="3047" y="442"/>
                  </a:cubicBezTo>
                  <a:close/>
                  <a:moveTo>
                    <a:pt x="100" y="585"/>
                  </a:moveTo>
                  <a:cubicBezTo>
                    <a:pt x="99" y="584"/>
                    <a:pt x="97" y="582"/>
                    <a:pt x="98" y="586"/>
                  </a:cubicBezTo>
                  <a:cubicBezTo>
                    <a:pt x="98" y="587"/>
                    <a:pt x="98" y="587"/>
                    <a:pt x="98" y="589"/>
                  </a:cubicBezTo>
                  <a:cubicBezTo>
                    <a:pt x="98" y="589"/>
                    <a:pt x="97" y="590"/>
                    <a:pt x="97" y="590"/>
                  </a:cubicBezTo>
                  <a:cubicBezTo>
                    <a:pt x="97" y="590"/>
                    <a:pt x="97" y="591"/>
                    <a:pt x="97" y="592"/>
                  </a:cubicBezTo>
                  <a:cubicBezTo>
                    <a:pt x="97" y="593"/>
                    <a:pt x="96" y="594"/>
                    <a:pt x="94" y="593"/>
                  </a:cubicBezTo>
                  <a:cubicBezTo>
                    <a:pt x="91" y="593"/>
                    <a:pt x="87" y="592"/>
                    <a:pt x="84" y="592"/>
                  </a:cubicBezTo>
                  <a:cubicBezTo>
                    <a:pt x="83" y="592"/>
                    <a:pt x="81" y="591"/>
                    <a:pt x="81" y="592"/>
                  </a:cubicBezTo>
                  <a:cubicBezTo>
                    <a:pt x="79" y="592"/>
                    <a:pt x="78" y="597"/>
                    <a:pt x="77" y="599"/>
                  </a:cubicBezTo>
                  <a:cubicBezTo>
                    <a:pt x="77" y="599"/>
                    <a:pt x="77" y="599"/>
                    <a:pt x="77" y="599"/>
                  </a:cubicBezTo>
                  <a:cubicBezTo>
                    <a:pt x="77" y="599"/>
                    <a:pt x="76" y="601"/>
                    <a:pt x="75" y="601"/>
                  </a:cubicBezTo>
                  <a:cubicBezTo>
                    <a:pt x="73" y="602"/>
                    <a:pt x="70" y="601"/>
                    <a:pt x="67" y="600"/>
                  </a:cubicBezTo>
                  <a:cubicBezTo>
                    <a:pt x="68" y="600"/>
                    <a:pt x="68" y="599"/>
                    <a:pt x="69" y="599"/>
                  </a:cubicBezTo>
                  <a:cubicBezTo>
                    <a:pt x="66" y="594"/>
                    <a:pt x="63" y="588"/>
                    <a:pt x="61" y="583"/>
                  </a:cubicBezTo>
                  <a:cubicBezTo>
                    <a:pt x="59" y="580"/>
                    <a:pt x="58" y="576"/>
                    <a:pt x="56" y="573"/>
                  </a:cubicBezTo>
                  <a:cubicBezTo>
                    <a:pt x="54" y="570"/>
                    <a:pt x="44" y="566"/>
                    <a:pt x="45" y="564"/>
                  </a:cubicBezTo>
                  <a:cubicBezTo>
                    <a:pt x="46" y="560"/>
                    <a:pt x="46" y="564"/>
                    <a:pt x="48" y="563"/>
                  </a:cubicBezTo>
                  <a:cubicBezTo>
                    <a:pt x="49" y="563"/>
                    <a:pt x="51" y="558"/>
                    <a:pt x="52" y="557"/>
                  </a:cubicBezTo>
                  <a:cubicBezTo>
                    <a:pt x="52" y="557"/>
                    <a:pt x="51" y="555"/>
                    <a:pt x="51" y="555"/>
                  </a:cubicBezTo>
                  <a:cubicBezTo>
                    <a:pt x="52" y="554"/>
                    <a:pt x="57" y="555"/>
                    <a:pt x="58" y="554"/>
                  </a:cubicBezTo>
                  <a:cubicBezTo>
                    <a:pt x="59" y="554"/>
                    <a:pt x="62" y="549"/>
                    <a:pt x="63" y="548"/>
                  </a:cubicBezTo>
                  <a:cubicBezTo>
                    <a:pt x="63" y="547"/>
                    <a:pt x="65" y="549"/>
                    <a:pt x="66" y="549"/>
                  </a:cubicBezTo>
                  <a:cubicBezTo>
                    <a:pt x="73" y="553"/>
                    <a:pt x="79" y="557"/>
                    <a:pt x="86" y="561"/>
                  </a:cubicBezTo>
                  <a:cubicBezTo>
                    <a:pt x="90" y="564"/>
                    <a:pt x="92" y="566"/>
                    <a:pt x="95" y="570"/>
                  </a:cubicBezTo>
                  <a:cubicBezTo>
                    <a:pt x="98" y="573"/>
                    <a:pt x="100" y="576"/>
                    <a:pt x="102" y="578"/>
                  </a:cubicBezTo>
                  <a:cubicBezTo>
                    <a:pt x="103" y="580"/>
                    <a:pt x="101" y="583"/>
                    <a:pt x="100" y="585"/>
                  </a:cubicBezTo>
                  <a:close/>
                  <a:moveTo>
                    <a:pt x="159" y="572"/>
                  </a:moveTo>
                  <a:cubicBezTo>
                    <a:pt x="160" y="573"/>
                    <a:pt x="161" y="573"/>
                    <a:pt x="159" y="573"/>
                  </a:cubicBezTo>
                  <a:cubicBezTo>
                    <a:pt x="158" y="573"/>
                    <a:pt x="152" y="572"/>
                    <a:pt x="152" y="572"/>
                  </a:cubicBezTo>
                  <a:cubicBezTo>
                    <a:pt x="152" y="571"/>
                    <a:pt x="152" y="570"/>
                    <a:pt x="152" y="569"/>
                  </a:cubicBezTo>
                  <a:cubicBezTo>
                    <a:pt x="152" y="570"/>
                    <a:pt x="153" y="570"/>
                    <a:pt x="154" y="568"/>
                  </a:cubicBezTo>
                  <a:cubicBezTo>
                    <a:pt x="155" y="567"/>
                    <a:pt x="155" y="566"/>
                    <a:pt x="153" y="564"/>
                  </a:cubicBezTo>
                  <a:cubicBezTo>
                    <a:pt x="150" y="562"/>
                    <a:pt x="148" y="559"/>
                    <a:pt x="145" y="557"/>
                  </a:cubicBezTo>
                  <a:cubicBezTo>
                    <a:pt x="142" y="555"/>
                    <a:pt x="140" y="555"/>
                    <a:pt x="138" y="553"/>
                  </a:cubicBezTo>
                  <a:cubicBezTo>
                    <a:pt x="135" y="551"/>
                    <a:pt x="133" y="548"/>
                    <a:pt x="130" y="546"/>
                  </a:cubicBezTo>
                  <a:cubicBezTo>
                    <a:pt x="131" y="546"/>
                    <a:pt x="133" y="546"/>
                    <a:pt x="134" y="547"/>
                  </a:cubicBezTo>
                  <a:cubicBezTo>
                    <a:pt x="134" y="545"/>
                    <a:pt x="133" y="542"/>
                    <a:pt x="133" y="540"/>
                  </a:cubicBezTo>
                  <a:cubicBezTo>
                    <a:pt x="133" y="539"/>
                    <a:pt x="131" y="539"/>
                    <a:pt x="130" y="538"/>
                  </a:cubicBezTo>
                  <a:cubicBezTo>
                    <a:pt x="128" y="536"/>
                    <a:pt x="129" y="535"/>
                    <a:pt x="128" y="533"/>
                  </a:cubicBezTo>
                  <a:cubicBezTo>
                    <a:pt x="128" y="532"/>
                    <a:pt x="125" y="529"/>
                    <a:pt x="125" y="529"/>
                  </a:cubicBezTo>
                  <a:cubicBezTo>
                    <a:pt x="124" y="528"/>
                    <a:pt x="124" y="530"/>
                    <a:pt x="123" y="529"/>
                  </a:cubicBezTo>
                  <a:cubicBezTo>
                    <a:pt x="122" y="529"/>
                    <a:pt x="122" y="527"/>
                    <a:pt x="122" y="527"/>
                  </a:cubicBezTo>
                  <a:cubicBezTo>
                    <a:pt x="122" y="526"/>
                    <a:pt x="122" y="526"/>
                    <a:pt x="122" y="526"/>
                  </a:cubicBezTo>
                  <a:cubicBezTo>
                    <a:pt x="125" y="527"/>
                    <a:pt x="126" y="530"/>
                    <a:pt x="128" y="532"/>
                  </a:cubicBezTo>
                  <a:cubicBezTo>
                    <a:pt x="129" y="532"/>
                    <a:pt x="130" y="532"/>
                    <a:pt x="130" y="533"/>
                  </a:cubicBezTo>
                  <a:cubicBezTo>
                    <a:pt x="130" y="534"/>
                    <a:pt x="129" y="533"/>
                    <a:pt x="129" y="534"/>
                  </a:cubicBezTo>
                  <a:cubicBezTo>
                    <a:pt x="130" y="537"/>
                    <a:pt x="134" y="538"/>
                    <a:pt x="137" y="540"/>
                  </a:cubicBezTo>
                  <a:cubicBezTo>
                    <a:pt x="136" y="538"/>
                    <a:pt x="136" y="536"/>
                    <a:pt x="134" y="534"/>
                  </a:cubicBezTo>
                  <a:cubicBezTo>
                    <a:pt x="135" y="535"/>
                    <a:pt x="136" y="535"/>
                    <a:pt x="137" y="536"/>
                  </a:cubicBezTo>
                  <a:cubicBezTo>
                    <a:pt x="136" y="534"/>
                    <a:pt x="134" y="529"/>
                    <a:pt x="132" y="528"/>
                  </a:cubicBezTo>
                  <a:cubicBezTo>
                    <a:pt x="134" y="529"/>
                    <a:pt x="136" y="532"/>
                    <a:pt x="138" y="533"/>
                  </a:cubicBezTo>
                  <a:cubicBezTo>
                    <a:pt x="137" y="529"/>
                    <a:pt x="133" y="527"/>
                    <a:pt x="132" y="524"/>
                  </a:cubicBezTo>
                  <a:cubicBezTo>
                    <a:pt x="136" y="525"/>
                    <a:pt x="138" y="529"/>
                    <a:pt x="139" y="532"/>
                  </a:cubicBezTo>
                  <a:cubicBezTo>
                    <a:pt x="140" y="533"/>
                    <a:pt x="140" y="535"/>
                    <a:pt x="141" y="537"/>
                  </a:cubicBezTo>
                  <a:cubicBezTo>
                    <a:pt x="142" y="537"/>
                    <a:pt x="144" y="541"/>
                    <a:pt x="145" y="540"/>
                  </a:cubicBezTo>
                  <a:cubicBezTo>
                    <a:pt x="147" y="538"/>
                    <a:pt x="143" y="535"/>
                    <a:pt x="143" y="534"/>
                  </a:cubicBezTo>
                  <a:cubicBezTo>
                    <a:pt x="144" y="534"/>
                    <a:pt x="145" y="536"/>
                    <a:pt x="147" y="536"/>
                  </a:cubicBezTo>
                  <a:cubicBezTo>
                    <a:pt x="148" y="536"/>
                    <a:pt x="148" y="536"/>
                    <a:pt x="149" y="537"/>
                  </a:cubicBezTo>
                  <a:cubicBezTo>
                    <a:pt x="151" y="534"/>
                    <a:pt x="153" y="530"/>
                    <a:pt x="151" y="527"/>
                  </a:cubicBezTo>
                  <a:cubicBezTo>
                    <a:pt x="151" y="526"/>
                    <a:pt x="150" y="525"/>
                    <a:pt x="149" y="525"/>
                  </a:cubicBezTo>
                  <a:cubicBezTo>
                    <a:pt x="149" y="525"/>
                    <a:pt x="149" y="524"/>
                    <a:pt x="149" y="524"/>
                  </a:cubicBezTo>
                  <a:cubicBezTo>
                    <a:pt x="148" y="524"/>
                    <a:pt x="147" y="525"/>
                    <a:pt x="147" y="525"/>
                  </a:cubicBezTo>
                  <a:cubicBezTo>
                    <a:pt x="144" y="525"/>
                    <a:pt x="143" y="521"/>
                    <a:pt x="141" y="521"/>
                  </a:cubicBezTo>
                  <a:cubicBezTo>
                    <a:pt x="140" y="522"/>
                    <a:pt x="140" y="523"/>
                    <a:pt x="141" y="525"/>
                  </a:cubicBezTo>
                  <a:cubicBezTo>
                    <a:pt x="141" y="525"/>
                    <a:pt x="141" y="525"/>
                    <a:pt x="141" y="525"/>
                  </a:cubicBezTo>
                  <a:cubicBezTo>
                    <a:pt x="142" y="525"/>
                    <a:pt x="142" y="527"/>
                    <a:pt x="143" y="528"/>
                  </a:cubicBezTo>
                  <a:cubicBezTo>
                    <a:pt x="143" y="527"/>
                    <a:pt x="142" y="526"/>
                    <a:pt x="141" y="525"/>
                  </a:cubicBezTo>
                  <a:cubicBezTo>
                    <a:pt x="140" y="524"/>
                    <a:pt x="140" y="524"/>
                    <a:pt x="139" y="523"/>
                  </a:cubicBezTo>
                  <a:cubicBezTo>
                    <a:pt x="138" y="522"/>
                    <a:pt x="137" y="521"/>
                    <a:pt x="136" y="520"/>
                  </a:cubicBezTo>
                  <a:cubicBezTo>
                    <a:pt x="134" y="518"/>
                    <a:pt x="134" y="517"/>
                    <a:pt x="133" y="515"/>
                  </a:cubicBezTo>
                  <a:cubicBezTo>
                    <a:pt x="133" y="515"/>
                    <a:pt x="131" y="515"/>
                    <a:pt x="132" y="514"/>
                  </a:cubicBezTo>
                  <a:cubicBezTo>
                    <a:pt x="133" y="513"/>
                    <a:pt x="136" y="515"/>
                    <a:pt x="137" y="516"/>
                  </a:cubicBezTo>
                  <a:cubicBezTo>
                    <a:pt x="143" y="519"/>
                    <a:pt x="149" y="522"/>
                    <a:pt x="156" y="525"/>
                  </a:cubicBezTo>
                  <a:cubicBezTo>
                    <a:pt x="158" y="526"/>
                    <a:pt x="158" y="533"/>
                    <a:pt x="157" y="535"/>
                  </a:cubicBezTo>
                  <a:cubicBezTo>
                    <a:pt x="157" y="537"/>
                    <a:pt x="154" y="538"/>
                    <a:pt x="156" y="540"/>
                  </a:cubicBezTo>
                  <a:cubicBezTo>
                    <a:pt x="160" y="546"/>
                    <a:pt x="164" y="551"/>
                    <a:pt x="168" y="557"/>
                  </a:cubicBezTo>
                  <a:cubicBezTo>
                    <a:pt x="171" y="559"/>
                    <a:pt x="168" y="560"/>
                    <a:pt x="168" y="563"/>
                  </a:cubicBezTo>
                  <a:cubicBezTo>
                    <a:pt x="169" y="564"/>
                    <a:pt x="169" y="564"/>
                    <a:pt x="170" y="565"/>
                  </a:cubicBezTo>
                  <a:cubicBezTo>
                    <a:pt x="167" y="568"/>
                    <a:pt x="163" y="570"/>
                    <a:pt x="159" y="572"/>
                  </a:cubicBezTo>
                  <a:close/>
                  <a:moveTo>
                    <a:pt x="1569" y="723"/>
                  </a:moveTo>
                  <a:cubicBezTo>
                    <a:pt x="1569" y="723"/>
                    <a:pt x="1569" y="723"/>
                    <a:pt x="1569" y="723"/>
                  </a:cubicBezTo>
                  <a:cubicBezTo>
                    <a:pt x="1569" y="724"/>
                    <a:pt x="1568" y="725"/>
                    <a:pt x="1568" y="725"/>
                  </a:cubicBezTo>
                  <a:cubicBezTo>
                    <a:pt x="1567" y="727"/>
                    <a:pt x="1568" y="728"/>
                    <a:pt x="1568" y="729"/>
                  </a:cubicBezTo>
                  <a:cubicBezTo>
                    <a:pt x="1567" y="730"/>
                    <a:pt x="1567" y="730"/>
                    <a:pt x="1567" y="731"/>
                  </a:cubicBezTo>
                  <a:cubicBezTo>
                    <a:pt x="1566" y="732"/>
                    <a:pt x="1567" y="733"/>
                    <a:pt x="1567" y="734"/>
                  </a:cubicBezTo>
                  <a:cubicBezTo>
                    <a:pt x="1567" y="735"/>
                    <a:pt x="1566" y="736"/>
                    <a:pt x="1566" y="737"/>
                  </a:cubicBezTo>
                  <a:cubicBezTo>
                    <a:pt x="1566" y="738"/>
                    <a:pt x="1565" y="740"/>
                    <a:pt x="1565" y="740"/>
                  </a:cubicBezTo>
                  <a:cubicBezTo>
                    <a:pt x="1564" y="742"/>
                    <a:pt x="1564" y="743"/>
                    <a:pt x="1564" y="744"/>
                  </a:cubicBezTo>
                  <a:cubicBezTo>
                    <a:pt x="1563" y="745"/>
                    <a:pt x="1563" y="745"/>
                    <a:pt x="1562" y="747"/>
                  </a:cubicBezTo>
                  <a:cubicBezTo>
                    <a:pt x="1562" y="749"/>
                    <a:pt x="1562" y="751"/>
                    <a:pt x="1562" y="752"/>
                  </a:cubicBezTo>
                  <a:cubicBezTo>
                    <a:pt x="1562" y="756"/>
                    <a:pt x="1563" y="758"/>
                    <a:pt x="1561" y="762"/>
                  </a:cubicBezTo>
                  <a:cubicBezTo>
                    <a:pt x="1560" y="764"/>
                    <a:pt x="1557" y="771"/>
                    <a:pt x="1554" y="772"/>
                  </a:cubicBezTo>
                  <a:cubicBezTo>
                    <a:pt x="1551" y="773"/>
                    <a:pt x="1554" y="769"/>
                    <a:pt x="1553" y="768"/>
                  </a:cubicBezTo>
                  <a:cubicBezTo>
                    <a:pt x="1550" y="764"/>
                    <a:pt x="1545" y="772"/>
                    <a:pt x="1544" y="775"/>
                  </a:cubicBezTo>
                  <a:cubicBezTo>
                    <a:pt x="1546" y="774"/>
                    <a:pt x="1548" y="771"/>
                    <a:pt x="1550" y="772"/>
                  </a:cubicBezTo>
                  <a:cubicBezTo>
                    <a:pt x="1552" y="773"/>
                    <a:pt x="1552" y="777"/>
                    <a:pt x="1552" y="779"/>
                  </a:cubicBezTo>
                  <a:cubicBezTo>
                    <a:pt x="1551" y="780"/>
                    <a:pt x="1548" y="780"/>
                    <a:pt x="1547" y="781"/>
                  </a:cubicBezTo>
                  <a:cubicBezTo>
                    <a:pt x="1546" y="781"/>
                    <a:pt x="1543" y="782"/>
                    <a:pt x="1542" y="783"/>
                  </a:cubicBezTo>
                  <a:cubicBezTo>
                    <a:pt x="1539" y="785"/>
                    <a:pt x="1537" y="788"/>
                    <a:pt x="1535" y="790"/>
                  </a:cubicBezTo>
                  <a:cubicBezTo>
                    <a:pt x="1532" y="794"/>
                    <a:pt x="1530" y="795"/>
                    <a:pt x="1526" y="795"/>
                  </a:cubicBezTo>
                  <a:cubicBezTo>
                    <a:pt x="1521" y="796"/>
                    <a:pt x="1516" y="801"/>
                    <a:pt x="1512" y="804"/>
                  </a:cubicBezTo>
                  <a:cubicBezTo>
                    <a:pt x="1509" y="806"/>
                    <a:pt x="1507" y="804"/>
                    <a:pt x="1503" y="805"/>
                  </a:cubicBezTo>
                  <a:cubicBezTo>
                    <a:pt x="1501" y="805"/>
                    <a:pt x="1500" y="806"/>
                    <a:pt x="1500" y="808"/>
                  </a:cubicBezTo>
                  <a:cubicBezTo>
                    <a:pt x="1500" y="810"/>
                    <a:pt x="1501" y="809"/>
                    <a:pt x="1500" y="811"/>
                  </a:cubicBezTo>
                  <a:cubicBezTo>
                    <a:pt x="1499" y="813"/>
                    <a:pt x="1498" y="814"/>
                    <a:pt x="1497" y="815"/>
                  </a:cubicBezTo>
                  <a:cubicBezTo>
                    <a:pt x="1495" y="819"/>
                    <a:pt x="1494" y="820"/>
                    <a:pt x="1490" y="821"/>
                  </a:cubicBezTo>
                  <a:cubicBezTo>
                    <a:pt x="1481" y="824"/>
                    <a:pt x="1472" y="828"/>
                    <a:pt x="1462" y="826"/>
                  </a:cubicBezTo>
                  <a:cubicBezTo>
                    <a:pt x="1460" y="826"/>
                    <a:pt x="1458" y="824"/>
                    <a:pt x="1456" y="823"/>
                  </a:cubicBezTo>
                  <a:cubicBezTo>
                    <a:pt x="1455" y="823"/>
                    <a:pt x="1453" y="823"/>
                    <a:pt x="1452" y="822"/>
                  </a:cubicBezTo>
                  <a:cubicBezTo>
                    <a:pt x="1450" y="820"/>
                    <a:pt x="1457" y="820"/>
                    <a:pt x="1459" y="819"/>
                  </a:cubicBezTo>
                  <a:cubicBezTo>
                    <a:pt x="1469" y="818"/>
                    <a:pt x="1482" y="817"/>
                    <a:pt x="1489" y="808"/>
                  </a:cubicBezTo>
                  <a:cubicBezTo>
                    <a:pt x="1493" y="804"/>
                    <a:pt x="1495" y="800"/>
                    <a:pt x="1501" y="798"/>
                  </a:cubicBezTo>
                  <a:cubicBezTo>
                    <a:pt x="1503" y="797"/>
                    <a:pt x="1504" y="797"/>
                    <a:pt x="1505" y="795"/>
                  </a:cubicBezTo>
                  <a:cubicBezTo>
                    <a:pt x="1507" y="794"/>
                    <a:pt x="1513" y="790"/>
                    <a:pt x="1509" y="787"/>
                  </a:cubicBezTo>
                  <a:cubicBezTo>
                    <a:pt x="1519" y="779"/>
                    <a:pt x="1532" y="773"/>
                    <a:pt x="1539" y="761"/>
                  </a:cubicBezTo>
                  <a:cubicBezTo>
                    <a:pt x="1544" y="751"/>
                    <a:pt x="1551" y="741"/>
                    <a:pt x="1554" y="730"/>
                  </a:cubicBezTo>
                  <a:cubicBezTo>
                    <a:pt x="1555" y="726"/>
                    <a:pt x="1556" y="722"/>
                    <a:pt x="1559" y="719"/>
                  </a:cubicBezTo>
                  <a:cubicBezTo>
                    <a:pt x="1561" y="717"/>
                    <a:pt x="1562" y="715"/>
                    <a:pt x="1565" y="715"/>
                  </a:cubicBezTo>
                  <a:cubicBezTo>
                    <a:pt x="1566" y="715"/>
                    <a:pt x="1567" y="716"/>
                    <a:pt x="1568" y="716"/>
                  </a:cubicBezTo>
                  <a:cubicBezTo>
                    <a:pt x="1567" y="715"/>
                    <a:pt x="1565" y="715"/>
                    <a:pt x="1564" y="714"/>
                  </a:cubicBezTo>
                  <a:cubicBezTo>
                    <a:pt x="1567" y="714"/>
                    <a:pt x="1570" y="715"/>
                    <a:pt x="1571" y="718"/>
                  </a:cubicBezTo>
                  <a:cubicBezTo>
                    <a:pt x="1569" y="719"/>
                    <a:pt x="1569" y="720"/>
                    <a:pt x="1569" y="721"/>
                  </a:cubicBezTo>
                  <a:cubicBezTo>
                    <a:pt x="1569" y="722"/>
                    <a:pt x="1569" y="722"/>
                    <a:pt x="1569" y="7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3" name="Freeform 581">
              <a:extLst>
                <a:ext uri="{FF2B5EF4-FFF2-40B4-BE49-F238E27FC236}">
                  <a16:creationId xmlns:a16="http://schemas.microsoft.com/office/drawing/2014/main" id="{A017AD2E-A171-43F4-A5B8-00C193422681}"/>
                </a:ext>
              </a:extLst>
            </p:cNvPr>
            <p:cNvSpPr>
              <a:spLocks/>
            </p:cNvSpPr>
            <p:nvPr/>
          </p:nvSpPr>
          <p:spPr bwMode="auto">
            <a:xfrm>
              <a:off x="3920335" y="4977858"/>
              <a:ext cx="193703" cy="97520"/>
            </a:xfrm>
            <a:custGeom>
              <a:avLst/>
              <a:gdLst>
                <a:gd name="T0" fmla="*/ 50 w 58"/>
                <a:gd name="T1" fmla="*/ 8 h 28"/>
                <a:gd name="T2" fmla="*/ 50 w 58"/>
                <a:gd name="T3" fmla="*/ 7 h 28"/>
                <a:gd name="T4" fmla="*/ 44 w 58"/>
                <a:gd name="T5" fmla="*/ 5 h 28"/>
                <a:gd name="T6" fmla="*/ 41 w 58"/>
                <a:gd name="T7" fmla="*/ 6 h 28"/>
                <a:gd name="T8" fmla="*/ 37 w 58"/>
                <a:gd name="T9" fmla="*/ 6 h 28"/>
                <a:gd name="T10" fmla="*/ 36 w 58"/>
                <a:gd name="T11" fmla="*/ 6 h 28"/>
                <a:gd name="T12" fmla="*/ 32 w 58"/>
                <a:gd name="T13" fmla="*/ 5 h 28"/>
                <a:gd name="T14" fmla="*/ 30 w 58"/>
                <a:gd name="T15" fmla="*/ 5 h 28"/>
                <a:gd name="T16" fmla="*/ 28 w 58"/>
                <a:gd name="T17" fmla="*/ 5 h 28"/>
                <a:gd name="T18" fmla="*/ 26 w 58"/>
                <a:gd name="T19" fmla="*/ 0 h 28"/>
                <a:gd name="T20" fmla="*/ 23 w 58"/>
                <a:gd name="T21" fmla="*/ 0 h 28"/>
                <a:gd name="T22" fmla="*/ 21 w 58"/>
                <a:gd name="T23" fmla="*/ 0 h 28"/>
                <a:gd name="T24" fmla="*/ 11 w 58"/>
                <a:gd name="T25" fmla="*/ 6 h 28"/>
                <a:gd name="T26" fmla="*/ 7 w 58"/>
                <a:gd name="T27" fmla="*/ 11 h 28"/>
                <a:gd name="T28" fmla="*/ 2 w 58"/>
                <a:gd name="T29" fmla="*/ 18 h 28"/>
                <a:gd name="T30" fmla="*/ 2 w 58"/>
                <a:gd name="T31" fmla="*/ 20 h 28"/>
                <a:gd name="T32" fmla="*/ 0 w 58"/>
                <a:gd name="T33" fmla="*/ 21 h 28"/>
                <a:gd name="T34" fmla="*/ 2 w 58"/>
                <a:gd name="T35" fmla="*/ 24 h 28"/>
                <a:gd name="T36" fmla="*/ 5 w 58"/>
                <a:gd name="T37" fmla="*/ 26 h 28"/>
                <a:gd name="T38" fmla="*/ 6 w 58"/>
                <a:gd name="T39" fmla="*/ 26 h 28"/>
                <a:gd name="T40" fmla="*/ 8 w 58"/>
                <a:gd name="T41" fmla="*/ 26 h 28"/>
                <a:gd name="T42" fmla="*/ 9 w 58"/>
                <a:gd name="T43" fmla="*/ 26 h 28"/>
                <a:gd name="T44" fmla="*/ 11 w 58"/>
                <a:gd name="T45" fmla="*/ 26 h 28"/>
                <a:gd name="T46" fmla="*/ 14 w 58"/>
                <a:gd name="T47" fmla="*/ 27 h 28"/>
                <a:gd name="T48" fmla="*/ 15 w 58"/>
                <a:gd name="T49" fmla="*/ 28 h 28"/>
                <a:gd name="T50" fmla="*/ 17 w 58"/>
                <a:gd name="T51" fmla="*/ 28 h 28"/>
                <a:gd name="T52" fmla="*/ 22 w 58"/>
                <a:gd name="T53" fmla="*/ 26 h 28"/>
                <a:gd name="T54" fmla="*/ 24 w 58"/>
                <a:gd name="T55" fmla="*/ 25 h 28"/>
                <a:gd name="T56" fmla="*/ 30 w 58"/>
                <a:gd name="T57" fmla="*/ 25 h 28"/>
                <a:gd name="T58" fmla="*/ 32 w 58"/>
                <a:gd name="T59" fmla="*/ 26 h 28"/>
                <a:gd name="T60" fmla="*/ 35 w 58"/>
                <a:gd name="T61" fmla="*/ 27 h 28"/>
                <a:gd name="T62" fmla="*/ 37 w 58"/>
                <a:gd name="T63" fmla="*/ 27 h 28"/>
                <a:gd name="T64" fmla="*/ 42 w 58"/>
                <a:gd name="T65" fmla="*/ 26 h 28"/>
                <a:gd name="T66" fmla="*/ 49 w 58"/>
                <a:gd name="T67" fmla="*/ 26 h 28"/>
                <a:gd name="T68" fmla="*/ 51 w 58"/>
                <a:gd name="T69" fmla="*/ 26 h 28"/>
                <a:gd name="T70" fmla="*/ 55 w 58"/>
                <a:gd name="T71" fmla="*/ 25 h 28"/>
                <a:gd name="T72" fmla="*/ 56 w 58"/>
                <a:gd name="T73" fmla="*/ 25 h 28"/>
                <a:gd name="T74" fmla="*/ 57 w 58"/>
                <a:gd name="T75" fmla="*/ 26 h 28"/>
                <a:gd name="T76" fmla="*/ 57 w 58"/>
                <a:gd name="T77" fmla="*/ 23 h 28"/>
                <a:gd name="T78" fmla="*/ 58 w 58"/>
                <a:gd name="T79" fmla="*/ 19 h 28"/>
                <a:gd name="T80" fmla="*/ 53 w 58"/>
                <a:gd name="T81" fmla="*/ 17 h 28"/>
                <a:gd name="T82" fmla="*/ 50 w 58"/>
                <a:gd name="T83" fmla="*/ 15 h 28"/>
                <a:gd name="T84" fmla="*/ 49 w 58"/>
                <a:gd name="T85" fmla="*/ 14 h 28"/>
                <a:gd name="T86" fmla="*/ 49 w 58"/>
                <a:gd name="T87" fmla="*/ 11 h 28"/>
                <a:gd name="T88" fmla="*/ 49 w 58"/>
                <a:gd name="T89" fmla="*/ 10 h 28"/>
                <a:gd name="T90" fmla="*/ 50 w 58"/>
                <a:gd name="T91" fmla="*/ 9 h 28"/>
                <a:gd name="T92" fmla="*/ 49 w 58"/>
                <a:gd name="T93"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 h="28">
                  <a:moveTo>
                    <a:pt x="50" y="8"/>
                  </a:moveTo>
                  <a:cubicBezTo>
                    <a:pt x="50" y="8"/>
                    <a:pt x="50" y="8"/>
                    <a:pt x="50" y="8"/>
                  </a:cubicBezTo>
                  <a:cubicBezTo>
                    <a:pt x="50" y="7"/>
                    <a:pt x="50" y="7"/>
                    <a:pt x="50" y="7"/>
                  </a:cubicBezTo>
                  <a:cubicBezTo>
                    <a:pt x="50" y="7"/>
                    <a:pt x="50" y="7"/>
                    <a:pt x="50" y="7"/>
                  </a:cubicBezTo>
                  <a:cubicBezTo>
                    <a:pt x="50" y="7"/>
                    <a:pt x="49" y="6"/>
                    <a:pt x="48" y="6"/>
                  </a:cubicBezTo>
                  <a:cubicBezTo>
                    <a:pt x="46" y="5"/>
                    <a:pt x="44" y="5"/>
                    <a:pt x="44" y="5"/>
                  </a:cubicBezTo>
                  <a:cubicBezTo>
                    <a:pt x="44" y="5"/>
                    <a:pt x="43" y="5"/>
                    <a:pt x="42" y="6"/>
                  </a:cubicBezTo>
                  <a:cubicBezTo>
                    <a:pt x="41" y="6"/>
                    <a:pt x="41" y="6"/>
                    <a:pt x="41" y="6"/>
                  </a:cubicBezTo>
                  <a:cubicBezTo>
                    <a:pt x="40" y="7"/>
                    <a:pt x="40" y="7"/>
                    <a:pt x="40" y="7"/>
                  </a:cubicBezTo>
                  <a:cubicBezTo>
                    <a:pt x="39" y="7"/>
                    <a:pt x="38" y="6"/>
                    <a:pt x="37" y="6"/>
                  </a:cubicBezTo>
                  <a:cubicBezTo>
                    <a:pt x="36" y="6"/>
                    <a:pt x="36" y="6"/>
                    <a:pt x="36" y="6"/>
                  </a:cubicBezTo>
                  <a:cubicBezTo>
                    <a:pt x="36" y="6"/>
                    <a:pt x="36" y="6"/>
                    <a:pt x="36" y="6"/>
                  </a:cubicBezTo>
                  <a:cubicBezTo>
                    <a:pt x="35" y="5"/>
                    <a:pt x="35" y="5"/>
                    <a:pt x="35" y="5"/>
                  </a:cubicBezTo>
                  <a:cubicBezTo>
                    <a:pt x="34" y="5"/>
                    <a:pt x="33" y="5"/>
                    <a:pt x="32" y="5"/>
                  </a:cubicBezTo>
                  <a:cubicBezTo>
                    <a:pt x="32" y="5"/>
                    <a:pt x="31" y="5"/>
                    <a:pt x="31" y="5"/>
                  </a:cubicBezTo>
                  <a:cubicBezTo>
                    <a:pt x="30" y="5"/>
                    <a:pt x="30" y="5"/>
                    <a:pt x="30" y="5"/>
                  </a:cubicBezTo>
                  <a:cubicBezTo>
                    <a:pt x="30" y="5"/>
                    <a:pt x="29" y="5"/>
                    <a:pt x="29" y="5"/>
                  </a:cubicBezTo>
                  <a:cubicBezTo>
                    <a:pt x="28" y="5"/>
                    <a:pt x="28" y="5"/>
                    <a:pt x="28" y="5"/>
                  </a:cubicBezTo>
                  <a:cubicBezTo>
                    <a:pt x="26" y="3"/>
                    <a:pt x="26" y="2"/>
                    <a:pt x="26" y="1"/>
                  </a:cubicBezTo>
                  <a:cubicBezTo>
                    <a:pt x="26" y="1"/>
                    <a:pt x="26" y="1"/>
                    <a:pt x="26" y="0"/>
                  </a:cubicBezTo>
                  <a:cubicBezTo>
                    <a:pt x="25" y="0"/>
                    <a:pt x="25" y="0"/>
                    <a:pt x="24" y="0"/>
                  </a:cubicBezTo>
                  <a:cubicBezTo>
                    <a:pt x="23" y="0"/>
                    <a:pt x="23" y="0"/>
                    <a:pt x="23" y="0"/>
                  </a:cubicBezTo>
                  <a:cubicBezTo>
                    <a:pt x="23" y="0"/>
                    <a:pt x="23" y="0"/>
                    <a:pt x="22" y="0"/>
                  </a:cubicBezTo>
                  <a:cubicBezTo>
                    <a:pt x="21" y="0"/>
                    <a:pt x="21" y="0"/>
                    <a:pt x="21" y="0"/>
                  </a:cubicBezTo>
                  <a:cubicBezTo>
                    <a:pt x="17" y="1"/>
                    <a:pt x="14" y="3"/>
                    <a:pt x="13" y="4"/>
                  </a:cubicBezTo>
                  <a:cubicBezTo>
                    <a:pt x="12" y="5"/>
                    <a:pt x="12" y="6"/>
                    <a:pt x="11" y="6"/>
                  </a:cubicBezTo>
                  <a:cubicBezTo>
                    <a:pt x="11" y="6"/>
                    <a:pt x="11" y="6"/>
                    <a:pt x="11" y="6"/>
                  </a:cubicBezTo>
                  <a:cubicBezTo>
                    <a:pt x="9" y="8"/>
                    <a:pt x="8" y="10"/>
                    <a:pt x="7" y="11"/>
                  </a:cubicBezTo>
                  <a:cubicBezTo>
                    <a:pt x="6" y="12"/>
                    <a:pt x="5" y="14"/>
                    <a:pt x="5" y="15"/>
                  </a:cubicBezTo>
                  <a:cubicBezTo>
                    <a:pt x="4" y="16"/>
                    <a:pt x="3" y="17"/>
                    <a:pt x="2" y="18"/>
                  </a:cubicBezTo>
                  <a:cubicBezTo>
                    <a:pt x="2" y="19"/>
                    <a:pt x="2" y="19"/>
                    <a:pt x="2" y="19"/>
                  </a:cubicBezTo>
                  <a:cubicBezTo>
                    <a:pt x="2" y="20"/>
                    <a:pt x="2" y="20"/>
                    <a:pt x="2" y="20"/>
                  </a:cubicBezTo>
                  <a:cubicBezTo>
                    <a:pt x="0" y="21"/>
                    <a:pt x="0" y="21"/>
                    <a:pt x="0" y="21"/>
                  </a:cubicBezTo>
                  <a:cubicBezTo>
                    <a:pt x="0" y="21"/>
                    <a:pt x="0" y="21"/>
                    <a:pt x="0" y="21"/>
                  </a:cubicBezTo>
                  <a:cubicBezTo>
                    <a:pt x="1" y="22"/>
                    <a:pt x="2" y="23"/>
                    <a:pt x="2" y="24"/>
                  </a:cubicBezTo>
                  <a:cubicBezTo>
                    <a:pt x="2" y="24"/>
                    <a:pt x="2" y="24"/>
                    <a:pt x="2" y="24"/>
                  </a:cubicBezTo>
                  <a:cubicBezTo>
                    <a:pt x="3" y="24"/>
                    <a:pt x="3" y="25"/>
                    <a:pt x="3" y="25"/>
                  </a:cubicBezTo>
                  <a:cubicBezTo>
                    <a:pt x="4" y="25"/>
                    <a:pt x="4" y="25"/>
                    <a:pt x="5" y="26"/>
                  </a:cubicBezTo>
                  <a:cubicBezTo>
                    <a:pt x="5" y="26"/>
                    <a:pt x="5" y="26"/>
                    <a:pt x="5" y="26"/>
                  </a:cubicBezTo>
                  <a:cubicBezTo>
                    <a:pt x="5" y="26"/>
                    <a:pt x="6" y="26"/>
                    <a:pt x="6" y="26"/>
                  </a:cubicBezTo>
                  <a:cubicBezTo>
                    <a:pt x="6" y="26"/>
                    <a:pt x="6" y="26"/>
                    <a:pt x="6" y="26"/>
                  </a:cubicBezTo>
                  <a:cubicBezTo>
                    <a:pt x="8" y="26"/>
                    <a:pt x="8" y="26"/>
                    <a:pt x="8" y="26"/>
                  </a:cubicBezTo>
                  <a:cubicBezTo>
                    <a:pt x="8" y="26"/>
                    <a:pt x="8" y="26"/>
                    <a:pt x="8" y="26"/>
                  </a:cubicBezTo>
                  <a:cubicBezTo>
                    <a:pt x="8" y="26"/>
                    <a:pt x="9" y="26"/>
                    <a:pt x="9" y="26"/>
                  </a:cubicBezTo>
                  <a:cubicBezTo>
                    <a:pt x="9" y="26"/>
                    <a:pt x="9" y="26"/>
                    <a:pt x="9" y="26"/>
                  </a:cubicBezTo>
                  <a:cubicBezTo>
                    <a:pt x="10" y="26"/>
                    <a:pt x="10" y="26"/>
                    <a:pt x="11" y="26"/>
                  </a:cubicBezTo>
                  <a:cubicBezTo>
                    <a:pt x="12" y="26"/>
                    <a:pt x="13" y="27"/>
                    <a:pt x="14" y="27"/>
                  </a:cubicBezTo>
                  <a:cubicBezTo>
                    <a:pt x="14" y="27"/>
                    <a:pt x="14" y="27"/>
                    <a:pt x="14" y="27"/>
                  </a:cubicBezTo>
                  <a:cubicBezTo>
                    <a:pt x="16" y="22"/>
                    <a:pt x="16" y="22"/>
                    <a:pt x="16" y="22"/>
                  </a:cubicBezTo>
                  <a:cubicBezTo>
                    <a:pt x="15" y="28"/>
                    <a:pt x="15" y="28"/>
                    <a:pt x="15" y="28"/>
                  </a:cubicBezTo>
                  <a:cubicBezTo>
                    <a:pt x="15" y="28"/>
                    <a:pt x="15" y="28"/>
                    <a:pt x="15" y="28"/>
                  </a:cubicBezTo>
                  <a:cubicBezTo>
                    <a:pt x="16" y="28"/>
                    <a:pt x="17" y="28"/>
                    <a:pt x="17" y="28"/>
                  </a:cubicBezTo>
                  <a:cubicBezTo>
                    <a:pt x="18" y="28"/>
                    <a:pt x="18" y="28"/>
                    <a:pt x="18" y="28"/>
                  </a:cubicBezTo>
                  <a:cubicBezTo>
                    <a:pt x="19" y="28"/>
                    <a:pt x="21" y="27"/>
                    <a:pt x="22" y="26"/>
                  </a:cubicBezTo>
                  <a:cubicBezTo>
                    <a:pt x="24" y="26"/>
                    <a:pt x="24" y="26"/>
                    <a:pt x="24" y="26"/>
                  </a:cubicBezTo>
                  <a:cubicBezTo>
                    <a:pt x="24" y="25"/>
                    <a:pt x="24" y="25"/>
                    <a:pt x="24" y="25"/>
                  </a:cubicBezTo>
                  <a:cubicBezTo>
                    <a:pt x="25" y="25"/>
                    <a:pt x="25" y="25"/>
                    <a:pt x="26" y="25"/>
                  </a:cubicBezTo>
                  <a:cubicBezTo>
                    <a:pt x="27" y="24"/>
                    <a:pt x="29" y="24"/>
                    <a:pt x="30" y="25"/>
                  </a:cubicBezTo>
                  <a:cubicBezTo>
                    <a:pt x="30" y="25"/>
                    <a:pt x="30" y="26"/>
                    <a:pt x="31" y="26"/>
                  </a:cubicBezTo>
                  <a:cubicBezTo>
                    <a:pt x="32" y="26"/>
                    <a:pt x="32" y="26"/>
                    <a:pt x="32" y="26"/>
                  </a:cubicBezTo>
                  <a:cubicBezTo>
                    <a:pt x="32" y="26"/>
                    <a:pt x="33" y="26"/>
                    <a:pt x="34" y="27"/>
                  </a:cubicBezTo>
                  <a:cubicBezTo>
                    <a:pt x="35" y="27"/>
                    <a:pt x="35" y="27"/>
                    <a:pt x="35" y="27"/>
                  </a:cubicBezTo>
                  <a:cubicBezTo>
                    <a:pt x="35" y="27"/>
                    <a:pt x="35" y="27"/>
                    <a:pt x="35" y="27"/>
                  </a:cubicBezTo>
                  <a:cubicBezTo>
                    <a:pt x="36" y="27"/>
                    <a:pt x="37" y="27"/>
                    <a:pt x="37" y="27"/>
                  </a:cubicBezTo>
                  <a:cubicBezTo>
                    <a:pt x="39" y="27"/>
                    <a:pt x="40" y="27"/>
                    <a:pt x="42" y="26"/>
                  </a:cubicBezTo>
                  <a:cubicBezTo>
                    <a:pt x="42" y="26"/>
                    <a:pt x="42" y="26"/>
                    <a:pt x="42" y="26"/>
                  </a:cubicBezTo>
                  <a:cubicBezTo>
                    <a:pt x="44" y="26"/>
                    <a:pt x="45" y="26"/>
                    <a:pt x="47" y="26"/>
                  </a:cubicBezTo>
                  <a:cubicBezTo>
                    <a:pt x="48" y="26"/>
                    <a:pt x="49" y="26"/>
                    <a:pt x="49" y="26"/>
                  </a:cubicBezTo>
                  <a:cubicBezTo>
                    <a:pt x="50" y="26"/>
                    <a:pt x="50" y="26"/>
                    <a:pt x="50" y="26"/>
                  </a:cubicBezTo>
                  <a:cubicBezTo>
                    <a:pt x="51" y="26"/>
                    <a:pt x="51" y="26"/>
                    <a:pt x="51" y="26"/>
                  </a:cubicBezTo>
                  <a:cubicBezTo>
                    <a:pt x="52" y="26"/>
                    <a:pt x="53" y="26"/>
                    <a:pt x="55" y="25"/>
                  </a:cubicBezTo>
                  <a:cubicBezTo>
                    <a:pt x="55" y="25"/>
                    <a:pt x="55" y="25"/>
                    <a:pt x="55" y="25"/>
                  </a:cubicBezTo>
                  <a:cubicBezTo>
                    <a:pt x="56" y="25"/>
                    <a:pt x="56" y="25"/>
                    <a:pt x="56" y="25"/>
                  </a:cubicBezTo>
                  <a:cubicBezTo>
                    <a:pt x="56" y="25"/>
                    <a:pt x="56" y="25"/>
                    <a:pt x="56" y="25"/>
                  </a:cubicBezTo>
                  <a:cubicBezTo>
                    <a:pt x="56" y="25"/>
                    <a:pt x="56" y="25"/>
                    <a:pt x="57" y="26"/>
                  </a:cubicBezTo>
                  <a:cubicBezTo>
                    <a:pt x="57" y="26"/>
                    <a:pt x="57" y="26"/>
                    <a:pt x="57" y="26"/>
                  </a:cubicBezTo>
                  <a:cubicBezTo>
                    <a:pt x="58" y="26"/>
                    <a:pt x="58" y="26"/>
                    <a:pt x="58" y="26"/>
                  </a:cubicBezTo>
                  <a:cubicBezTo>
                    <a:pt x="57" y="25"/>
                    <a:pt x="57" y="24"/>
                    <a:pt x="57" y="23"/>
                  </a:cubicBezTo>
                  <a:cubicBezTo>
                    <a:pt x="56" y="22"/>
                    <a:pt x="56" y="22"/>
                    <a:pt x="56" y="21"/>
                  </a:cubicBezTo>
                  <a:cubicBezTo>
                    <a:pt x="57" y="20"/>
                    <a:pt x="57" y="19"/>
                    <a:pt x="58" y="19"/>
                  </a:cubicBezTo>
                  <a:cubicBezTo>
                    <a:pt x="57" y="18"/>
                    <a:pt x="57" y="18"/>
                    <a:pt x="56" y="18"/>
                  </a:cubicBezTo>
                  <a:cubicBezTo>
                    <a:pt x="55" y="18"/>
                    <a:pt x="54" y="18"/>
                    <a:pt x="53" y="17"/>
                  </a:cubicBezTo>
                  <a:cubicBezTo>
                    <a:pt x="52" y="17"/>
                    <a:pt x="52" y="17"/>
                    <a:pt x="51" y="16"/>
                  </a:cubicBezTo>
                  <a:cubicBezTo>
                    <a:pt x="51" y="16"/>
                    <a:pt x="50" y="16"/>
                    <a:pt x="50" y="15"/>
                  </a:cubicBezTo>
                  <a:cubicBezTo>
                    <a:pt x="50" y="15"/>
                    <a:pt x="50" y="15"/>
                    <a:pt x="49" y="15"/>
                  </a:cubicBezTo>
                  <a:cubicBezTo>
                    <a:pt x="49" y="14"/>
                    <a:pt x="49" y="14"/>
                    <a:pt x="49" y="14"/>
                  </a:cubicBezTo>
                  <a:cubicBezTo>
                    <a:pt x="49" y="13"/>
                    <a:pt x="49" y="13"/>
                    <a:pt x="49" y="13"/>
                  </a:cubicBezTo>
                  <a:cubicBezTo>
                    <a:pt x="49" y="12"/>
                    <a:pt x="49" y="12"/>
                    <a:pt x="49" y="11"/>
                  </a:cubicBezTo>
                  <a:cubicBezTo>
                    <a:pt x="49" y="11"/>
                    <a:pt x="49" y="11"/>
                    <a:pt x="49" y="11"/>
                  </a:cubicBezTo>
                  <a:cubicBezTo>
                    <a:pt x="49" y="10"/>
                    <a:pt x="49" y="10"/>
                    <a:pt x="49" y="10"/>
                  </a:cubicBezTo>
                  <a:cubicBezTo>
                    <a:pt x="49" y="10"/>
                    <a:pt x="49" y="9"/>
                    <a:pt x="49" y="9"/>
                  </a:cubicBezTo>
                  <a:cubicBezTo>
                    <a:pt x="50" y="9"/>
                    <a:pt x="50" y="9"/>
                    <a:pt x="50" y="9"/>
                  </a:cubicBezTo>
                  <a:cubicBezTo>
                    <a:pt x="49" y="9"/>
                    <a:pt x="49" y="9"/>
                    <a:pt x="49" y="9"/>
                  </a:cubicBezTo>
                  <a:cubicBezTo>
                    <a:pt x="49" y="9"/>
                    <a:pt x="49" y="9"/>
                    <a:pt x="49" y="9"/>
                  </a:cubicBezTo>
                  <a:cubicBezTo>
                    <a:pt x="50" y="8"/>
                    <a:pt x="50" y="8"/>
                    <a:pt x="5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4" name="Freeform 576">
              <a:extLst>
                <a:ext uri="{FF2B5EF4-FFF2-40B4-BE49-F238E27FC236}">
                  <a16:creationId xmlns:a16="http://schemas.microsoft.com/office/drawing/2014/main" id="{7E69B4EA-BA73-46FC-9B40-FA9CB4736BB0}"/>
                </a:ext>
              </a:extLst>
            </p:cNvPr>
            <p:cNvSpPr>
              <a:spLocks/>
            </p:cNvSpPr>
            <p:nvPr/>
          </p:nvSpPr>
          <p:spPr bwMode="auto">
            <a:xfrm>
              <a:off x="1117426" y="4066527"/>
              <a:ext cx="181576" cy="173196"/>
            </a:xfrm>
            <a:custGeom>
              <a:avLst/>
              <a:gdLst>
                <a:gd name="T0" fmla="*/ 49 w 52"/>
                <a:gd name="T1" fmla="*/ 50 h 50"/>
                <a:gd name="T2" fmla="*/ 51 w 52"/>
                <a:gd name="T3" fmla="*/ 49 h 50"/>
                <a:gd name="T4" fmla="*/ 52 w 52"/>
                <a:gd name="T5" fmla="*/ 49 h 50"/>
                <a:gd name="T6" fmla="*/ 51 w 52"/>
                <a:gd name="T7" fmla="*/ 47 h 50"/>
                <a:gd name="T8" fmla="*/ 50 w 52"/>
                <a:gd name="T9" fmla="*/ 46 h 50"/>
                <a:gd name="T10" fmla="*/ 50 w 52"/>
                <a:gd name="T11" fmla="*/ 40 h 50"/>
                <a:gd name="T12" fmla="*/ 36 w 52"/>
                <a:gd name="T13" fmla="*/ 30 h 50"/>
                <a:gd name="T14" fmla="*/ 36 w 52"/>
                <a:gd name="T15" fmla="*/ 25 h 50"/>
                <a:gd name="T16" fmla="*/ 40 w 52"/>
                <a:gd name="T17" fmla="*/ 24 h 50"/>
                <a:gd name="T18" fmla="*/ 40 w 52"/>
                <a:gd name="T19" fmla="*/ 23 h 50"/>
                <a:gd name="T20" fmla="*/ 38 w 52"/>
                <a:gd name="T21" fmla="*/ 20 h 50"/>
                <a:gd name="T22" fmla="*/ 35 w 52"/>
                <a:gd name="T23" fmla="*/ 18 h 50"/>
                <a:gd name="T24" fmla="*/ 33 w 52"/>
                <a:gd name="T25" fmla="*/ 8 h 50"/>
                <a:gd name="T26" fmla="*/ 34 w 52"/>
                <a:gd name="T27" fmla="*/ 7 h 50"/>
                <a:gd name="T28" fmla="*/ 32 w 52"/>
                <a:gd name="T29" fmla="*/ 6 h 50"/>
                <a:gd name="T30" fmla="*/ 28 w 52"/>
                <a:gd name="T31" fmla="*/ 5 h 50"/>
                <a:gd name="T32" fmla="*/ 21 w 52"/>
                <a:gd name="T33" fmla="*/ 7 h 50"/>
                <a:gd name="T34" fmla="*/ 26 w 52"/>
                <a:gd name="T35" fmla="*/ 1 h 50"/>
                <a:gd name="T36" fmla="*/ 25 w 52"/>
                <a:gd name="T37" fmla="*/ 0 h 50"/>
                <a:gd name="T38" fmla="*/ 22 w 52"/>
                <a:gd name="T39" fmla="*/ 1 h 50"/>
                <a:gd name="T40" fmla="*/ 20 w 52"/>
                <a:gd name="T41" fmla="*/ 1 h 50"/>
                <a:gd name="T42" fmla="*/ 17 w 52"/>
                <a:gd name="T43" fmla="*/ 2 h 50"/>
                <a:gd name="T44" fmla="*/ 12 w 52"/>
                <a:gd name="T45" fmla="*/ 2 h 50"/>
                <a:gd name="T46" fmla="*/ 1 w 52"/>
                <a:gd name="T47" fmla="*/ 4 h 50"/>
                <a:gd name="T48" fmla="*/ 1 w 52"/>
                <a:gd name="T49" fmla="*/ 5 h 50"/>
                <a:gd name="T50" fmla="*/ 2 w 52"/>
                <a:gd name="T51" fmla="*/ 6 h 50"/>
                <a:gd name="T52" fmla="*/ 2 w 52"/>
                <a:gd name="T53" fmla="*/ 8 h 50"/>
                <a:gd name="T54" fmla="*/ 2 w 52"/>
                <a:gd name="T55" fmla="*/ 10 h 50"/>
                <a:gd name="T56" fmla="*/ 2 w 52"/>
                <a:gd name="T57" fmla="*/ 15 h 50"/>
                <a:gd name="T58" fmla="*/ 0 w 52"/>
                <a:gd name="T59" fmla="*/ 16 h 50"/>
                <a:gd name="T60" fmla="*/ 2 w 52"/>
                <a:gd name="T61" fmla="*/ 20 h 50"/>
                <a:gd name="T62" fmla="*/ 5 w 52"/>
                <a:gd name="T63" fmla="*/ 23 h 50"/>
                <a:gd name="T64" fmla="*/ 9 w 52"/>
                <a:gd name="T65" fmla="*/ 24 h 50"/>
                <a:gd name="T66" fmla="*/ 21 w 52"/>
                <a:gd name="T67" fmla="*/ 31 h 50"/>
                <a:gd name="T68" fmla="*/ 26 w 52"/>
                <a:gd name="T69" fmla="*/ 29 h 50"/>
                <a:gd name="T70" fmla="*/ 29 w 52"/>
                <a:gd name="T71" fmla="*/ 31 h 50"/>
                <a:gd name="T72" fmla="*/ 31 w 52"/>
                <a:gd name="T73" fmla="*/ 33 h 50"/>
                <a:gd name="T74" fmla="*/ 33 w 52"/>
                <a:gd name="T75" fmla="*/ 34 h 50"/>
                <a:gd name="T76" fmla="*/ 34 w 52"/>
                <a:gd name="T77" fmla="*/ 35 h 50"/>
                <a:gd name="T78" fmla="*/ 37 w 52"/>
                <a:gd name="T79" fmla="*/ 34 h 50"/>
                <a:gd name="T80" fmla="*/ 41 w 52"/>
                <a:gd name="T81" fmla="*/ 35 h 50"/>
                <a:gd name="T82" fmla="*/ 42 w 52"/>
                <a:gd name="T83" fmla="*/ 39 h 50"/>
                <a:gd name="T84" fmla="*/ 43 w 52"/>
                <a:gd name="T85" fmla="*/ 40 h 50"/>
                <a:gd name="T86" fmla="*/ 49 w 52"/>
                <a:gd name="T87" fmla="*/ 4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50">
                  <a:moveTo>
                    <a:pt x="49" y="49"/>
                  </a:moveTo>
                  <a:cubicBezTo>
                    <a:pt x="49" y="50"/>
                    <a:pt x="49" y="50"/>
                    <a:pt x="49" y="50"/>
                  </a:cubicBezTo>
                  <a:cubicBezTo>
                    <a:pt x="49" y="50"/>
                    <a:pt x="49" y="50"/>
                    <a:pt x="49" y="50"/>
                  </a:cubicBezTo>
                  <a:cubicBezTo>
                    <a:pt x="50" y="49"/>
                    <a:pt x="50" y="49"/>
                    <a:pt x="51" y="49"/>
                  </a:cubicBezTo>
                  <a:cubicBezTo>
                    <a:pt x="51" y="49"/>
                    <a:pt x="51" y="49"/>
                    <a:pt x="52" y="49"/>
                  </a:cubicBezTo>
                  <a:cubicBezTo>
                    <a:pt x="52" y="49"/>
                    <a:pt x="52" y="49"/>
                    <a:pt x="52" y="49"/>
                  </a:cubicBezTo>
                  <a:cubicBezTo>
                    <a:pt x="52" y="49"/>
                    <a:pt x="51" y="48"/>
                    <a:pt x="51" y="48"/>
                  </a:cubicBezTo>
                  <a:cubicBezTo>
                    <a:pt x="51" y="48"/>
                    <a:pt x="51" y="48"/>
                    <a:pt x="51" y="47"/>
                  </a:cubicBezTo>
                  <a:cubicBezTo>
                    <a:pt x="50" y="47"/>
                    <a:pt x="50" y="47"/>
                    <a:pt x="50" y="47"/>
                  </a:cubicBezTo>
                  <a:cubicBezTo>
                    <a:pt x="50" y="46"/>
                    <a:pt x="50" y="46"/>
                    <a:pt x="50" y="46"/>
                  </a:cubicBezTo>
                  <a:cubicBezTo>
                    <a:pt x="50" y="45"/>
                    <a:pt x="50" y="44"/>
                    <a:pt x="51" y="43"/>
                  </a:cubicBezTo>
                  <a:cubicBezTo>
                    <a:pt x="50" y="42"/>
                    <a:pt x="50" y="41"/>
                    <a:pt x="50" y="40"/>
                  </a:cubicBezTo>
                  <a:cubicBezTo>
                    <a:pt x="50" y="40"/>
                    <a:pt x="50" y="39"/>
                    <a:pt x="50" y="39"/>
                  </a:cubicBezTo>
                  <a:cubicBezTo>
                    <a:pt x="45" y="36"/>
                    <a:pt x="41" y="33"/>
                    <a:pt x="36" y="30"/>
                  </a:cubicBezTo>
                  <a:cubicBezTo>
                    <a:pt x="30" y="26"/>
                    <a:pt x="30" y="26"/>
                    <a:pt x="30" y="26"/>
                  </a:cubicBezTo>
                  <a:cubicBezTo>
                    <a:pt x="36" y="25"/>
                    <a:pt x="36" y="25"/>
                    <a:pt x="36" y="25"/>
                  </a:cubicBezTo>
                  <a:cubicBezTo>
                    <a:pt x="36" y="25"/>
                    <a:pt x="37" y="25"/>
                    <a:pt x="38" y="24"/>
                  </a:cubicBezTo>
                  <a:cubicBezTo>
                    <a:pt x="39" y="24"/>
                    <a:pt x="40" y="24"/>
                    <a:pt x="40" y="24"/>
                  </a:cubicBezTo>
                  <a:cubicBezTo>
                    <a:pt x="40" y="24"/>
                    <a:pt x="40" y="24"/>
                    <a:pt x="40" y="24"/>
                  </a:cubicBezTo>
                  <a:cubicBezTo>
                    <a:pt x="40" y="23"/>
                    <a:pt x="40" y="23"/>
                    <a:pt x="40" y="23"/>
                  </a:cubicBezTo>
                  <a:cubicBezTo>
                    <a:pt x="40" y="23"/>
                    <a:pt x="40" y="22"/>
                    <a:pt x="40" y="22"/>
                  </a:cubicBezTo>
                  <a:cubicBezTo>
                    <a:pt x="39" y="22"/>
                    <a:pt x="39" y="21"/>
                    <a:pt x="38" y="20"/>
                  </a:cubicBezTo>
                  <a:cubicBezTo>
                    <a:pt x="36" y="19"/>
                    <a:pt x="36" y="19"/>
                    <a:pt x="36" y="19"/>
                  </a:cubicBezTo>
                  <a:cubicBezTo>
                    <a:pt x="36" y="18"/>
                    <a:pt x="35" y="18"/>
                    <a:pt x="35" y="18"/>
                  </a:cubicBezTo>
                  <a:cubicBezTo>
                    <a:pt x="33" y="16"/>
                    <a:pt x="29" y="14"/>
                    <a:pt x="31" y="10"/>
                  </a:cubicBezTo>
                  <a:cubicBezTo>
                    <a:pt x="32" y="9"/>
                    <a:pt x="32" y="8"/>
                    <a:pt x="33" y="8"/>
                  </a:cubicBezTo>
                  <a:cubicBezTo>
                    <a:pt x="33" y="8"/>
                    <a:pt x="33" y="8"/>
                    <a:pt x="34" y="8"/>
                  </a:cubicBezTo>
                  <a:cubicBezTo>
                    <a:pt x="34" y="7"/>
                    <a:pt x="34" y="7"/>
                    <a:pt x="34" y="7"/>
                  </a:cubicBezTo>
                  <a:cubicBezTo>
                    <a:pt x="34" y="7"/>
                    <a:pt x="33" y="7"/>
                    <a:pt x="33" y="7"/>
                  </a:cubicBezTo>
                  <a:cubicBezTo>
                    <a:pt x="33" y="7"/>
                    <a:pt x="32" y="7"/>
                    <a:pt x="32" y="6"/>
                  </a:cubicBezTo>
                  <a:cubicBezTo>
                    <a:pt x="30" y="5"/>
                    <a:pt x="29" y="5"/>
                    <a:pt x="28" y="5"/>
                  </a:cubicBezTo>
                  <a:cubicBezTo>
                    <a:pt x="28" y="5"/>
                    <a:pt x="28" y="5"/>
                    <a:pt x="28" y="5"/>
                  </a:cubicBezTo>
                  <a:cubicBezTo>
                    <a:pt x="28" y="5"/>
                    <a:pt x="28" y="5"/>
                    <a:pt x="27" y="5"/>
                  </a:cubicBezTo>
                  <a:cubicBezTo>
                    <a:pt x="21" y="7"/>
                    <a:pt x="21" y="7"/>
                    <a:pt x="21" y="7"/>
                  </a:cubicBezTo>
                  <a:cubicBezTo>
                    <a:pt x="25" y="1"/>
                    <a:pt x="25" y="1"/>
                    <a:pt x="25" y="1"/>
                  </a:cubicBezTo>
                  <a:cubicBezTo>
                    <a:pt x="25" y="1"/>
                    <a:pt x="26" y="1"/>
                    <a:pt x="26" y="1"/>
                  </a:cubicBezTo>
                  <a:cubicBezTo>
                    <a:pt x="26" y="0"/>
                    <a:pt x="25" y="0"/>
                    <a:pt x="25" y="0"/>
                  </a:cubicBezTo>
                  <a:cubicBezTo>
                    <a:pt x="25" y="0"/>
                    <a:pt x="25" y="0"/>
                    <a:pt x="25" y="0"/>
                  </a:cubicBezTo>
                  <a:cubicBezTo>
                    <a:pt x="25" y="0"/>
                    <a:pt x="24" y="0"/>
                    <a:pt x="24" y="0"/>
                  </a:cubicBezTo>
                  <a:cubicBezTo>
                    <a:pt x="23" y="1"/>
                    <a:pt x="23" y="1"/>
                    <a:pt x="22" y="1"/>
                  </a:cubicBezTo>
                  <a:cubicBezTo>
                    <a:pt x="21" y="1"/>
                    <a:pt x="21" y="1"/>
                    <a:pt x="21" y="1"/>
                  </a:cubicBezTo>
                  <a:cubicBezTo>
                    <a:pt x="21" y="1"/>
                    <a:pt x="20" y="1"/>
                    <a:pt x="20" y="1"/>
                  </a:cubicBezTo>
                  <a:cubicBezTo>
                    <a:pt x="19" y="1"/>
                    <a:pt x="19" y="1"/>
                    <a:pt x="19" y="1"/>
                  </a:cubicBezTo>
                  <a:cubicBezTo>
                    <a:pt x="18" y="2"/>
                    <a:pt x="18" y="2"/>
                    <a:pt x="17" y="2"/>
                  </a:cubicBezTo>
                  <a:cubicBezTo>
                    <a:pt x="16" y="2"/>
                    <a:pt x="15" y="2"/>
                    <a:pt x="15" y="1"/>
                  </a:cubicBezTo>
                  <a:cubicBezTo>
                    <a:pt x="14" y="2"/>
                    <a:pt x="13" y="2"/>
                    <a:pt x="12" y="2"/>
                  </a:cubicBezTo>
                  <a:cubicBezTo>
                    <a:pt x="8" y="2"/>
                    <a:pt x="4" y="3"/>
                    <a:pt x="0" y="3"/>
                  </a:cubicBezTo>
                  <a:cubicBezTo>
                    <a:pt x="1" y="4"/>
                    <a:pt x="1" y="4"/>
                    <a:pt x="1" y="4"/>
                  </a:cubicBezTo>
                  <a:cubicBezTo>
                    <a:pt x="1" y="5"/>
                    <a:pt x="1" y="5"/>
                    <a:pt x="1" y="5"/>
                  </a:cubicBezTo>
                  <a:cubicBezTo>
                    <a:pt x="1" y="5"/>
                    <a:pt x="1" y="5"/>
                    <a:pt x="1" y="5"/>
                  </a:cubicBezTo>
                  <a:cubicBezTo>
                    <a:pt x="5" y="4"/>
                    <a:pt x="5" y="4"/>
                    <a:pt x="5" y="4"/>
                  </a:cubicBezTo>
                  <a:cubicBezTo>
                    <a:pt x="2" y="6"/>
                    <a:pt x="2" y="6"/>
                    <a:pt x="2" y="6"/>
                  </a:cubicBezTo>
                  <a:cubicBezTo>
                    <a:pt x="2" y="7"/>
                    <a:pt x="2" y="7"/>
                    <a:pt x="2" y="7"/>
                  </a:cubicBezTo>
                  <a:cubicBezTo>
                    <a:pt x="2" y="7"/>
                    <a:pt x="2" y="7"/>
                    <a:pt x="2" y="8"/>
                  </a:cubicBezTo>
                  <a:cubicBezTo>
                    <a:pt x="2" y="9"/>
                    <a:pt x="2" y="9"/>
                    <a:pt x="2" y="9"/>
                  </a:cubicBezTo>
                  <a:cubicBezTo>
                    <a:pt x="2" y="9"/>
                    <a:pt x="2" y="10"/>
                    <a:pt x="2" y="10"/>
                  </a:cubicBezTo>
                  <a:cubicBezTo>
                    <a:pt x="2" y="13"/>
                    <a:pt x="2" y="13"/>
                    <a:pt x="2" y="13"/>
                  </a:cubicBezTo>
                  <a:cubicBezTo>
                    <a:pt x="3" y="14"/>
                    <a:pt x="2" y="15"/>
                    <a:pt x="2" y="15"/>
                  </a:cubicBezTo>
                  <a:cubicBezTo>
                    <a:pt x="1" y="15"/>
                    <a:pt x="1" y="16"/>
                    <a:pt x="0" y="16"/>
                  </a:cubicBezTo>
                  <a:cubicBezTo>
                    <a:pt x="0" y="16"/>
                    <a:pt x="0" y="16"/>
                    <a:pt x="0" y="16"/>
                  </a:cubicBezTo>
                  <a:cubicBezTo>
                    <a:pt x="1" y="17"/>
                    <a:pt x="1" y="17"/>
                    <a:pt x="1" y="18"/>
                  </a:cubicBezTo>
                  <a:cubicBezTo>
                    <a:pt x="2" y="19"/>
                    <a:pt x="2" y="20"/>
                    <a:pt x="2" y="20"/>
                  </a:cubicBezTo>
                  <a:cubicBezTo>
                    <a:pt x="2" y="21"/>
                    <a:pt x="2" y="22"/>
                    <a:pt x="2" y="23"/>
                  </a:cubicBezTo>
                  <a:cubicBezTo>
                    <a:pt x="3" y="23"/>
                    <a:pt x="4" y="23"/>
                    <a:pt x="5" y="23"/>
                  </a:cubicBezTo>
                  <a:cubicBezTo>
                    <a:pt x="5" y="23"/>
                    <a:pt x="6" y="23"/>
                    <a:pt x="6" y="23"/>
                  </a:cubicBezTo>
                  <a:cubicBezTo>
                    <a:pt x="7" y="24"/>
                    <a:pt x="8" y="24"/>
                    <a:pt x="9" y="24"/>
                  </a:cubicBezTo>
                  <a:cubicBezTo>
                    <a:pt x="14" y="24"/>
                    <a:pt x="15" y="25"/>
                    <a:pt x="18" y="28"/>
                  </a:cubicBezTo>
                  <a:cubicBezTo>
                    <a:pt x="21" y="31"/>
                    <a:pt x="21" y="31"/>
                    <a:pt x="21" y="31"/>
                  </a:cubicBezTo>
                  <a:cubicBezTo>
                    <a:pt x="22" y="31"/>
                    <a:pt x="22" y="30"/>
                    <a:pt x="23" y="30"/>
                  </a:cubicBezTo>
                  <a:cubicBezTo>
                    <a:pt x="24" y="30"/>
                    <a:pt x="25" y="30"/>
                    <a:pt x="26" y="29"/>
                  </a:cubicBezTo>
                  <a:cubicBezTo>
                    <a:pt x="27" y="29"/>
                    <a:pt x="27" y="29"/>
                    <a:pt x="27" y="29"/>
                  </a:cubicBezTo>
                  <a:cubicBezTo>
                    <a:pt x="29" y="31"/>
                    <a:pt x="29" y="31"/>
                    <a:pt x="29" y="31"/>
                  </a:cubicBezTo>
                  <a:cubicBezTo>
                    <a:pt x="29" y="31"/>
                    <a:pt x="30" y="32"/>
                    <a:pt x="31" y="33"/>
                  </a:cubicBezTo>
                  <a:cubicBezTo>
                    <a:pt x="31" y="33"/>
                    <a:pt x="31" y="33"/>
                    <a:pt x="31" y="33"/>
                  </a:cubicBezTo>
                  <a:cubicBezTo>
                    <a:pt x="31" y="33"/>
                    <a:pt x="31" y="33"/>
                    <a:pt x="31" y="33"/>
                  </a:cubicBezTo>
                  <a:cubicBezTo>
                    <a:pt x="32" y="34"/>
                    <a:pt x="32" y="34"/>
                    <a:pt x="33" y="34"/>
                  </a:cubicBezTo>
                  <a:cubicBezTo>
                    <a:pt x="33" y="35"/>
                    <a:pt x="33" y="35"/>
                    <a:pt x="34" y="35"/>
                  </a:cubicBezTo>
                  <a:cubicBezTo>
                    <a:pt x="34" y="35"/>
                    <a:pt x="34" y="35"/>
                    <a:pt x="34" y="35"/>
                  </a:cubicBezTo>
                  <a:cubicBezTo>
                    <a:pt x="35" y="35"/>
                    <a:pt x="35" y="35"/>
                    <a:pt x="35" y="35"/>
                  </a:cubicBezTo>
                  <a:cubicBezTo>
                    <a:pt x="35" y="35"/>
                    <a:pt x="36" y="35"/>
                    <a:pt x="37" y="34"/>
                  </a:cubicBezTo>
                  <a:cubicBezTo>
                    <a:pt x="40" y="33"/>
                    <a:pt x="40" y="33"/>
                    <a:pt x="40" y="33"/>
                  </a:cubicBezTo>
                  <a:cubicBezTo>
                    <a:pt x="41" y="35"/>
                    <a:pt x="41" y="35"/>
                    <a:pt x="41" y="35"/>
                  </a:cubicBezTo>
                  <a:cubicBezTo>
                    <a:pt x="41" y="36"/>
                    <a:pt x="41" y="37"/>
                    <a:pt x="42" y="38"/>
                  </a:cubicBezTo>
                  <a:cubicBezTo>
                    <a:pt x="42" y="39"/>
                    <a:pt x="42" y="39"/>
                    <a:pt x="42" y="39"/>
                  </a:cubicBezTo>
                  <a:cubicBezTo>
                    <a:pt x="42" y="39"/>
                    <a:pt x="42" y="40"/>
                    <a:pt x="43" y="40"/>
                  </a:cubicBezTo>
                  <a:cubicBezTo>
                    <a:pt x="43" y="40"/>
                    <a:pt x="43" y="40"/>
                    <a:pt x="43" y="40"/>
                  </a:cubicBezTo>
                  <a:cubicBezTo>
                    <a:pt x="44" y="40"/>
                    <a:pt x="45" y="41"/>
                    <a:pt x="46" y="41"/>
                  </a:cubicBezTo>
                  <a:cubicBezTo>
                    <a:pt x="47" y="43"/>
                    <a:pt x="48" y="46"/>
                    <a:pt x="49"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5" name="Freeform 577">
              <a:extLst>
                <a:ext uri="{FF2B5EF4-FFF2-40B4-BE49-F238E27FC236}">
                  <a16:creationId xmlns:a16="http://schemas.microsoft.com/office/drawing/2014/main" id="{CEA61E66-66E1-49D5-B71A-D8473A191CF0}"/>
                </a:ext>
              </a:extLst>
            </p:cNvPr>
            <p:cNvSpPr>
              <a:spLocks/>
            </p:cNvSpPr>
            <p:nvPr/>
          </p:nvSpPr>
          <p:spPr bwMode="auto">
            <a:xfrm>
              <a:off x="1201231" y="4185250"/>
              <a:ext cx="69837" cy="54473"/>
            </a:xfrm>
            <a:custGeom>
              <a:avLst/>
              <a:gdLst>
                <a:gd name="T0" fmla="*/ 17 w 20"/>
                <a:gd name="T1" fmla="*/ 10 h 16"/>
                <a:gd name="T2" fmla="*/ 17 w 20"/>
                <a:gd name="T3" fmla="*/ 10 h 16"/>
                <a:gd name="T4" fmla="*/ 14 w 20"/>
                <a:gd name="T5" fmla="*/ 7 h 16"/>
                <a:gd name="T6" fmla="*/ 13 w 20"/>
                <a:gd name="T7" fmla="*/ 5 h 16"/>
                <a:gd name="T8" fmla="*/ 11 w 20"/>
                <a:gd name="T9" fmla="*/ 6 h 16"/>
                <a:gd name="T10" fmla="*/ 10 w 20"/>
                <a:gd name="T11" fmla="*/ 6 h 16"/>
                <a:gd name="T12" fmla="*/ 8 w 20"/>
                <a:gd name="T13" fmla="*/ 5 h 16"/>
                <a:gd name="T14" fmla="*/ 8 w 20"/>
                <a:gd name="T15" fmla="*/ 5 h 16"/>
                <a:gd name="T16" fmla="*/ 6 w 20"/>
                <a:gd name="T17" fmla="*/ 4 h 16"/>
                <a:gd name="T18" fmla="*/ 4 w 20"/>
                <a:gd name="T19" fmla="*/ 3 h 16"/>
                <a:gd name="T20" fmla="*/ 3 w 20"/>
                <a:gd name="T21" fmla="*/ 2 h 16"/>
                <a:gd name="T22" fmla="*/ 2 w 20"/>
                <a:gd name="T23" fmla="*/ 0 h 16"/>
                <a:gd name="T24" fmla="*/ 2 w 20"/>
                <a:gd name="T25" fmla="*/ 0 h 16"/>
                <a:gd name="T26" fmla="*/ 0 w 20"/>
                <a:gd name="T27" fmla="*/ 1 h 16"/>
                <a:gd name="T28" fmla="*/ 0 w 20"/>
                <a:gd name="T29" fmla="*/ 1 h 16"/>
                <a:gd name="T30" fmla="*/ 1 w 20"/>
                <a:gd name="T31" fmla="*/ 2 h 16"/>
                <a:gd name="T32" fmla="*/ 6 w 20"/>
                <a:gd name="T33" fmla="*/ 8 h 16"/>
                <a:gd name="T34" fmla="*/ 7 w 20"/>
                <a:gd name="T35" fmla="*/ 9 h 16"/>
                <a:gd name="T36" fmla="*/ 7 w 20"/>
                <a:gd name="T37" fmla="*/ 9 h 16"/>
                <a:gd name="T38" fmla="*/ 11 w 20"/>
                <a:gd name="T39" fmla="*/ 13 h 16"/>
                <a:gd name="T40" fmla="*/ 17 w 20"/>
                <a:gd name="T41" fmla="*/ 15 h 16"/>
                <a:gd name="T42" fmla="*/ 19 w 20"/>
                <a:gd name="T43" fmla="*/ 15 h 16"/>
                <a:gd name="T44" fmla="*/ 20 w 20"/>
                <a:gd name="T45" fmla="*/ 16 h 16"/>
                <a:gd name="T46" fmla="*/ 20 w 20"/>
                <a:gd name="T47" fmla="*/ 16 h 16"/>
                <a:gd name="T48" fmla="*/ 18 w 20"/>
                <a:gd name="T49" fmla="*/ 11 h 16"/>
                <a:gd name="T50" fmla="*/ 17 w 20"/>
                <a:gd name="T5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16">
                  <a:moveTo>
                    <a:pt x="17" y="10"/>
                  </a:moveTo>
                  <a:cubicBezTo>
                    <a:pt x="17" y="10"/>
                    <a:pt x="17" y="10"/>
                    <a:pt x="17" y="10"/>
                  </a:cubicBezTo>
                  <a:cubicBezTo>
                    <a:pt x="15" y="9"/>
                    <a:pt x="14" y="8"/>
                    <a:pt x="14" y="7"/>
                  </a:cubicBezTo>
                  <a:cubicBezTo>
                    <a:pt x="13" y="6"/>
                    <a:pt x="13" y="6"/>
                    <a:pt x="13" y="5"/>
                  </a:cubicBezTo>
                  <a:cubicBezTo>
                    <a:pt x="12" y="6"/>
                    <a:pt x="12" y="6"/>
                    <a:pt x="11" y="6"/>
                  </a:cubicBezTo>
                  <a:cubicBezTo>
                    <a:pt x="10" y="6"/>
                    <a:pt x="10" y="6"/>
                    <a:pt x="10" y="6"/>
                  </a:cubicBezTo>
                  <a:cubicBezTo>
                    <a:pt x="10" y="6"/>
                    <a:pt x="9" y="6"/>
                    <a:pt x="8" y="5"/>
                  </a:cubicBezTo>
                  <a:cubicBezTo>
                    <a:pt x="8" y="5"/>
                    <a:pt x="8" y="5"/>
                    <a:pt x="8" y="5"/>
                  </a:cubicBezTo>
                  <a:cubicBezTo>
                    <a:pt x="8" y="5"/>
                    <a:pt x="7" y="5"/>
                    <a:pt x="6" y="4"/>
                  </a:cubicBezTo>
                  <a:cubicBezTo>
                    <a:pt x="6" y="4"/>
                    <a:pt x="5" y="3"/>
                    <a:pt x="4" y="3"/>
                  </a:cubicBezTo>
                  <a:cubicBezTo>
                    <a:pt x="4" y="2"/>
                    <a:pt x="4" y="2"/>
                    <a:pt x="3" y="2"/>
                  </a:cubicBezTo>
                  <a:cubicBezTo>
                    <a:pt x="3" y="1"/>
                    <a:pt x="2" y="1"/>
                    <a:pt x="2" y="0"/>
                  </a:cubicBezTo>
                  <a:cubicBezTo>
                    <a:pt x="2" y="0"/>
                    <a:pt x="2" y="0"/>
                    <a:pt x="2" y="0"/>
                  </a:cubicBezTo>
                  <a:cubicBezTo>
                    <a:pt x="0" y="1"/>
                    <a:pt x="0" y="1"/>
                    <a:pt x="0" y="1"/>
                  </a:cubicBezTo>
                  <a:cubicBezTo>
                    <a:pt x="0" y="1"/>
                    <a:pt x="0" y="1"/>
                    <a:pt x="0" y="1"/>
                  </a:cubicBezTo>
                  <a:cubicBezTo>
                    <a:pt x="0" y="1"/>
                    <a:pt x="0" y="2"/>
                    <a:pt x="1" y="2"/>
                  </a:cubicBezTo>
                  <a:cubicBezTo>
                    <a:pt x="1" y="2"/>
                    <a:pt x="1" y="3"/>
                    <a:pt x="6" y="8"/>
                  </a:cubicBezTo>
                  <a:cubicBezTo>
                    <a:pt x="6" y="8"/>
                    <a:pt x="6" y="8"/>
                    <a:pt x="7" y="9"/>
                  </a:cubicBezTo>
                  <a:cubicBezTo>
                    <a:pt x="7" y="9"/>
                    <a:pt x="7" y="9"/>
                    <a:pt x="7" y="9"/>
                  </a:cubicBezTo>
                  <a:cubicBezTo>
                    <a:pt x="9" y="11"/>
                    <a:pt x="10" y="12"/>
                    <a:pt x="11" y="13"/>
                  </a:cubicBezTo>
                  <a:cubicBezTo>
                    <a:pt x="11" y="13"/>
                    <a:pt x="14" y="14"/>
                    <a:pt x="17" y="15"/>
                  </a:cubicBezTo>
                  <a:cubicBezTo>
                    <a:pt x="18" y="15"/>
                    <a:pt x="18" y="15"/>
                    <a:pt x="19" y="15"/>
                  </a:cubicBezTo>
                  <a:cubicBezTo>
                    <a:pt x="19" y="15"/>
                    <a:pt x="20" y="15"/>
                    <a:pt x="20" y="16"/>
                  </a:cubicBezTo>
                  <a:cubicBezTo>
                    <a:pt x="20" y="16"/>
                    <a:pt x="20" y="16"/>
                    <a:pt x="20" y="16"/>
                  </a:cubicBezTo>
                  <a:cubicBezTo>
                    <a:pt x="20" y="14"/>
                    <a:pt x="19" y="12"/>
                    <a:pt x="18" y="11"/>
                  </a:cubicBezTo>
                  <a:cubicBezTo>
                    <a:pt x="18" y="10"/>
                    <a:pt x="18" y="10"/>
                    <a:pt x="1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6" name="Freeform 566">
              <a:extLst>
                <a:ext uri="{FF2B5EF4-FFF2-40B4-BE49-F238E27FC236}">
                  <a16:creationId xmlns:a16="http://schemas.microsoft.com/office/drawing/2014/main" id="{E6B07223-15C6-42A5-A549-3989812A61B1}"/>
                </a:ext>
              </a:extLst>
            </p:cNvPr>
            <p:cNvSpPr>
              <a:spLocks/>
            </p:cNvSpPr>
            <p:nvPr/>
          </p:nvSpPr>
          <p:spPr bwMode="auto">
            <a:xfrm>
              <a:off x="2707139" y="4087189"/>
              <a:ext cx="87409" cy="65024"/>
            </a:xfrm>
            <a:custGeom>
              <a:avLst/>
              <a:gdLst>
                <a:gd name="T0" fmla="*/ 1 w 32"/>
                <a:gd name="T1" fmla="*/ 17 h 23"/>
                <a:gd name="T2" fmla="*/ 2 w 32"/>
                <a:gd name="T3" fmla="*/ 20 h 23"/>
                <a:gd name="T4" fmla="*/ 2 w 32"/>
                <a:gd name="T5" fmla="*/ 22 h 23"/>
                <a:gd name="T6" fmla="*/ 5 w 32"/>
                <a:gd name="T7" fmla="*/ 20 h 23"/>
                <a:gd name="T8" fmla="*/ 7 w 32"/>
                <a:gd name="T9" fmla="*/ 19 h 23"/>
                <a:gd name="T10" fmla="*/ 8 w 32"/>
                <a:gd name="T11" fmla="*/ 19 h 23"/>
                <a:gd name="T12" fmla="*/ 15 w 32"/>
                <a:gd name="T13" fmla="*/ 17 h 23"/>
                <a:gd name="T14" fmla="*/ 31 w 32"/>
                <a:gd name="T15" fmla="*/ 23 h 23"/>
                <a:gd name="T16" fmla="*/ 32 w 32"/>
                <a:gd name="T17" fmla="*/ 22 h 23"/>
                <a:gd name="T18" fmla="*/ 31 w 32"/>
                <a:gd name="T19" fmla="*/ 22 h 23"/>
                <a:gd name="T20" fmla="*/ 31 w 32"/>
                <a:gd name="T21" fmla="*/ 22 h 23"/>
                <a:gd name="T22" fmla="*/ 24 w 32"/>
                <a:gd name="T23" fmla="*/ 17 h 23"/>
                <a:gd name="T24" fmla="*/ 20 w 32"/>
                <a:gd name="T25" fmla="*/ 15 h 23"/>
                <a:gd name="T26" fmla="*/ 23 w 32"/>
                <a:gd name="T27" fmla="*/ 12 h 23"/>
                <a:gd name="T28" fmla="*/ 31 w 32"/>
                <a:gd name="T29" fmla="*/ 5 h 23"/>
                <a:gd name="T30" fmla="*/ 27 w 32"/>
                <a:gd name="T31" fmla="*/ 0 h 23"/>
                <a:gd name="T32" fmla="*/ 27 w 32"/>
                <a:gd name="T33" fmla="*/ 0 h 23"/>
                <a:gd name="T34" fmla="*/ 26 w 32"/>
                <a:gd name="T35" fmla="*/ 1 h 23"/>
                <a:gd name="T36" fmla="*/ 25 w 32"/>
                <a:gd name="T37" fmla="*/ 2 h 23"/>
                <a:gd name="T38" fmla="*/ 24 w 32"/>
                <a:gd name="T39" fmla="*/ 3 h 23"/>
                <a:gd name="T40" fmla="*/ 23 w 32"/>
                <a:gd name="T41" fmla="*/ 3 h 23"/>
                <a:gd name="T42" fmla="*/ 19 w 32"/>
                <a:gd name="T43" fmla="*/ 7 h 23"/>
                <a:gd name="T44" fmla="*/ 18 w 32"/>
                <a:gd name="T45" fmla="*/ 7 h 23"/>
                <a:gd name="T46" fmla="*/ 16 w 32"/>
                <a:gd name="T47" fmla="*/ 8 h 23"/>
                <a:gd name="T48" fmla="*/ 14 w 32"/>
                <a:gd name="T49" fmla="*/ 9 h 23"/>
                <a:gd name="T50" fmla="*/ 6 w 32"/>
                <a:gd name="T51" fmla="*/ 10 h 23"/>
                <a:gd name="T52" fmla="*/ 5 w 32"/>
                <a:gd name="T53" fmla="*/ 9 h 23"/>
                <a:gd name="T54" fmla="*/ 5 w 32"/>
                <a:gd name="T55" fmla="*/ 9 h 23"/>
                <a:gd name="T56" fmla="*/ 2 w 32"/>
                <a:gd name="T57" fmla="*/ 8 h 23"/>
                <a:gd name="T58" fmla="*/ 1 w 32"/>
                <a:gd name="T59" fmla="*/ 8 h 23"/>
                <a:gd name="T60" fmla="*/ 0 w 32"/>
                <a:gd name="T61" fmla="*/ 10 h 23"/>
                <a:gd name="T62" fmla="*/ 1 w 32"/>
                <a:gd name="T63"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23">
                  <a:moveTo>
                    <a:pt x="1" y="17"/>
                  </a:moveTo>
                  <a:cubicBezTo>
                    <a:pt x="1" y="18"/>
                    <a:pt x="2" y="19"/>
                    <a:pt x="2" y="20"/>
                  </a:cubicBezTo>
                  <a:cubicBezTo>
                    <a:pt x="2" y="22"/>
                    <a:pt x="2" y="22"/>
                    <a:pt x="2" y="22"/>
                  </a:cubicBezTo>
                  <a:cubicBezTo>
                    <a:pt x="3" y="21"/>
                    <a:pt x="4" y="20"/>
                    <a:pt x="5" y="20"/>
                  </a:cubicBezTo>
                  <a:cubicBezTo>
                    <a:pt x="6" y="20"/>
                    <a:pt x="6" y="20"/>
                    <a:pt x="7" y="19"/>
                  </a:cubicBezTo>
                  <a:cubicBezTo>
                    <a:pt x="8" y="19"/>
                    <a:pt x="8" y="19"/>
                    <a:pt x="8" y="19"/>
                  </a:cubicBezTo>
                  <a:cubicBezTo>
                    <a:pt x="10" y="18"/>
                    <a:pt x="13" y="17"/>
                    <a:pt x="15" y="17"/>
                  </a:cubicBezTo>
                  <a:cubicBezTo>
                    <a:pt x="20" y="18"/>
                    <a:pt x="27" y="21"/>
                    <a:pt x="31" y="23"/>
                  </a:cubicBezTo>
                  <a:cubicBezTo>
                    <a:pt x="32" y="22"/>
                    <a:pt x="32" y="22"/>
                    <a:pt x="32" y="22"/>
                  </a:cubicBezTo>
                  <a:cubicBezTo>
                    <a:pt x="31" y="22"/>
                    <a:pt x="31" y="22"/>
                    <a:pt x="31" y="22"/>
                  </a:cubicBezTo>
                  <a:cubicBezTo>
                    <a:pt x="31" y="22"/>
                    <a:pt x="31" y="22"/>
                    <a:pt x="31" y="22"/>
                  </a:cubicBezTo>
                  <a:cubicBezTo>
                    <a:pt x="29" y="20"/>
                    <a:pt x="27" y="19"/>
                    <a:pt x="24" y="17"/>
                  </a:cubicBezTo>
                  <a:cubicBezTo>
                    <a:pt x="20" y="15"/>
                    <a:pt x="20" y="15"/>
                    <a:pt x="20" y="15"/>
                  </a:cubicBezTo>
                  <a:cubicBezTo>
                    <a:pt x="23" y="12"/>
                    <a:pt x="23" y="12"/>
                    <a:pt x="23" y="12"/>
                  </a:cubicBezTo>
                  <a:cubicBezTo>
                    <a:pt x="26" y="10"/>
                    <a:pt x="29" y="7"/>
                    <a:pt x="31" y="5"/>
                  </a:cubicBezTo>
                  <a:cubicBezTo>
                    <a:pt x="27" y="0"/>
                    <a:pt x="27" y="0"/>
                    <a:pt x="27" y="0"/>
                  </a:cubicBezTo>
                  <a:cubicBezTo>
                    <a:pt x="27" y="0"/>
                    <a:pt x="27" y="0"/>
                    <a:pt x="27" y="0"/>
                  </a:cubicBezTo>
                  <a:cubicBezTo>
                    <a:pt x="26" y="1"/>
                    <a:pt x="26" y="1"/>
                    <a:pt x="26" y="1"/>
                  </a:cubicBezTo>
                  <a:cubicBezTo>
                    <a:pt x="26" y="1"/>
                    <a:pt x="26" y="1"/>
                    <a:pt x="25" y="2"/>
                  </a:cubicBezTo>
                  <a:cubicBezTo>
                    <a:pt x="25" y="2"/>
                    <a:pt x="24" y="2"/>
                    <a:pt x="24" y="3"/>
                  </a:cubicBezTo>
                  <a:cubicBezTo>
                    <a:pt x="23" y="3"/>
                    <a:pt x="23" y="3"/>
                    <a:pt x="23" y="3"/>
                  </a:cubicBezTo>
                  <a:cubicBezTo>
                    <a:pt x="22" y="5"/>
                    <a:pt x="20" y="6"/>
                    <a:pt x="19" y="7"/>
                  </a:cubicBezTo>
                  <a:cubicBezTo>
                    <a:pt x="18" y="7"/>
                    <a:pt x="18" y="7"/>
                    <a:pt x="18" y="7"/>
                  </a:cubicBezTo>
                  <a:cubicBezTo>
                    <a:pt x="17" y="7"/>
                    <a:pt x="17" y="7"/>
                    <a:pt x="16" y="8"/>
                  </a:cubicBezTo>
                  <a:cubicBezTo>
                    <a:pt x="15" y="8"/>
                    <a:pt x="15" y="8"/>
                    <a:pt x="14" y="9"/>
                  </a:cubicBezTo>
                  <a:cubicBezTo>
                    <a:pt x="12" y="10"/>
                    <a:pt x="9" y="11"/>
                    <a:pt x="6" y="10"/>
                  </a:cubicBezTo>
                  <a:cubicBezTo>
                    <a:pt x="6" y="10"/>
                    <a:pt x="5" y="9"/>
                    <a:pt x="5" y="9"/>
                  </a:cubicBezTo>
                  <a:cubicBezTo>
                    <a:pt x="5" y="9"/>
                    <a:pt x="5" y="9"/>
                    <a:pt x="5" y="9"/>
                  </a:cubicBezTo>
                  <a:cubicBezTo>
                    <a:pt x="4" y="9"/>
                    <a:pt x="3" y="8"/>
                    <a:pt x="2" y="8"/>
                  </a:cubicBezTo>
                  <a:cubicBezTo>
                    <a:pt x="1" y="8"/>
                    <a:pt x="1" y="8"/>
                    <a:pt x="1" y="8"/>
                  </a:cubicBezTo>
                  <a:cubicBezTo>
                    <a:pt x="0" y="9"/>
                    <a:pt x="0" y="10"/>
                    <a:pt x="0" y="10"/>
                  </a:cubicBezTo>
                  <a:cubicBezTo>
                    <a:pt x="0" y="12"/>
                    <a:pt x="0" y="15"/>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Asia</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72A2A73C-6A0E-43A7-8521-388274EDCCE4}"/>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sp>
        <p:nvSpPr>
          <p:cNvPr id="478" name="Rectangle 477">
            <a:hlinkClick r:id="rId3" action="ppaction://hlinksldjump"/>
            <a:extLst>
              <a:ext uri="{FF2B5EF4-FFF2-40B4-BE49-F238E27FC236}">
                <a16:creationId xmlns:a16="http://schemas.microsoft.com/office/drawing/2014/main" id="{AAAF7204-222A-4707-8A3F-0E6C24840F0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395279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Germany</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4" name="Group 3">
            <a:extLst>
              <a:ext uri="{FF2B5EF4-FFF2-40B4-BE49-F238E27FC236}">
                <a16:creationId xmlns:a16="http://schemas.microsoft.com/office/drawing/2014/main" id="{F4BC6276-E548-4223-8616-0EA47F521907}"/>
              </a:ext>
            </a:extLst>
          </p:cNvPr>
          <p:cNvGrpSpPr/>
          <p:nvPr/>
        </p:nvGrpSpPr>
        <p:grpSpPr bwMode="auto">
          <a:xfrm>
            <a:off x="4514915" y="1430878"/>
            <a:ext cx="3309594" cy="4624406"/>
            <a:chOff x="3026602" y="2009775"/>
            <a:chExt cx="3078944" cy="4302125"/>
          </a:xfrm>
          <a:solidFill>
            <a:schemeClr val="tx2">
              <a:lumMod val="40000"/>
              <a:lumOff val="60000"/>
            </a:schemeClr>
          </a:solidFill>
        </p:grpSpPr>
        <p:grpSp>
          <p:nvGrpSpPr>
            <p:cNvPr id="5" name="Gruppieren 6">
              <a:extLst>
                <a:ext uri="{FF2B5EF4-FFF2-40B4-BE49-F238E27FC236}">
                  <a16:creationId xmlns:a16="http://schemas.microsoft.com/office/drawing/2014/main" id="{69739F3D-C846-4B53-B379-8C75AF19342F}"/>
                </a:ext>
              </a:extLst>
            </p:cNvPr>
            <p:cNvGrpSpPr/>
            <p:nvPr/>
          </p:nvGrpSpPr>
          <p:grpSpPr bwMode="auto">
            <a:xfrm>
              <a:off x="3333483" y="2710390"/>
              <a:ext cx="1650209" cy="1422944"/>
              <a:chOff x="3333483" y="2710390"/>
              <a:chExt cx="1650209" cy="1422944"/>
            </a:xfrm>
            <a:grpFill/>
          </p:grpSpPr>
          <p:sp>
            <p:nvSpPr>
              <p:cNvPr id="33" name="Freeform 7">
                <a:extLst>
                  <a:ext uri="{FF2B5EF4-FFF2-40B4-BE49-F238E27FC236}">
                    <a16:creationId xmlns:a16="http://schemas.microsoft.com/office/drawing/2014/main" id="{C6F277C3-202A-475B-9534-D5C0F9A0156C}"/>
                  </a:ext>
                </a:extLst>
              </p:cNvPr>
              <p:cNvSpPr>
                <a:spLocks noEditPoints="1"/>
              </p:cNvSpPr>
              <p:nvPr/>
            </p:nvSpPr>
            <p:spPr bwMode="auto">
              <a:xfrm>
                <a:off x="3339273" y="2710390"/>
                <a:ext cx="1644419" cy="1422944"/>
              </a:xfrm>
              <a:custGeom>
                <a:avLst/>
                <a:gdLst/>
                <a:ahLst/>
                <a:cxnLst>
                  <a:cxn ang="0">
                    <a:pos x="579" y="25"/>
                  </a:cxn>
                  <a:cxn ang="0">
                    <a:pos x="449" y="0"/>
                  </a:cxn>
                  <a:cxn ang="0">
                    <a:pos x="430" y="67"/>
                  </a:cxn>
                  <a:cxn ang="0">
                    <a:pos x="424" y="139"/>
                  </a:cxn>
                  <a:cxn ang="0">
                    <a:pos x="380" y="97"/>
                  </a:cxn>
                  <a:cxn ang="0">
                    <a:pos x="362" y="172"/>
                  </a:cxn>
                  <a:cxn ang="0">
                    <a:pos x="319" y="123"/>
                  </a:cxn>
                  <a:cxn ang="0">
                    <a:pos x="305" y="65"/>
                  </a:cxn>
                  <a:cxn ang="0">
                    <a:pos x="233" y="57"/>
                  </a:cxn>
                  <a:cxn ang="0">
                    <a:pos x="168" y="63"/>
                  </a:cxn>
                  <a:cxn ang="0">
                    <a:pos x="108" y="91"/>
                  </a:cxn>
                  <a:cxn ang="0">
                    <a:pos x="91" y="132"/>
                  </a:cxn>
                  <a:cxn ang="0">
                    <a:pos x="111" y="176"/>
                  </a:cxn>
                  <a:cxn ang="0">
                    <a:pos x="155" y="219"/>
                  </a:cxn>
                  <a:cxn ang="0">
                    <a:pos x="126" y="237"/>
                  </a:cxn>
                  <a:cxn ang="0">
                    <a:pos x="109" y="337"/>
                  </a:cxn>
                  <a:cxn ang="0">
                    <a:pos x="70" y="447"/>
                  </a:cxn>
                  <a:cxn ang="0">
                    <a:pos x="3" y="450"/>
                  </a:cxn>
                  <a:cxn ang="0">
                    <a:pos x="0" y="503"/>
                  </a:cxn>
                  <a:cxn ang="0">
                    <a:pos x="52" y="515"/>
                  </a:cxn>
                  <a:cxn ang="0">
                    <a:pos x="109" y="564"/>
                  </a:cxn>
                  <a:cxn ang="0">
                    <a:pos x="173" y="564"/>
                  </a:cxn>
                  <a:cxn ang="0">
                    <a:pos x="214" y="522"/>
                  </a:cxn>
                  <a:cxn ang="0">
                    <a:pos x="269" y="563"/>
                  </a:cxn>
                  <a:cxn ang="0">
                    <a:pos x="263" y="628"/>
                  </a:cxn>
                  <a:cxn ang="0">
                    <a:pos x="254" y="665"/>
                  </a:cxn>
                  <a:cxn ang="0">
                    <a:pos x="330" y="665"/>
                  </a:cxn>
                  <a:cxn ang="0">
                    <a:pos x="369" y="664"/>
                  </a:cxn>
                  <a:cxn ang="0">
                    <a:pos x="385" y="625"/>
                  </a:cxn>
                  <a:cxn ang="0">
                    <a:pos x="355" y="560"/>
                  </a:cxn>
                  <a:cxn ang="0">
                    <a:pos x="378" y="533"/>
                  </a:cxn>
                  <a:cxn ang="0">
                    <a:pos x="438" y="511"/>
                  </a:cxn>
                  <a:cxn ang="0">
                    <a:pos x="467" y="556"/>
                  </a:cxn>
                  <a:cxn ang="0">
                    <a:pos x="524" y="517"/>
                  </a:cxn>
                  <a:cxn ang="0">
                    <a:pos x="528" y="585"/>
                  </a:cxn>
                  <a:cxn ang="0">
                    <a:pos x="523" y="642"/>
                  </a:cxn>
                  <a:cxn ang="0">
                    <a:pos x="544" y="695"/>
                  </a:cxn>
                  <a:cxn ang="0">
                    <a:pos x="567" y="734"/>
                  </a:cxn>
                  <a:cxn ang="0">
                    <a:pos x="608" y="770"/>
                  </a:cxn>
                  <a:cxn ang="0">
                    <a:pos x="629" y="849"/>
                  </a:cxn>
                  <a:cxn ang="0">
                    <a:pos x="651" y="886"/>
                  </a:cxn>
                  <a:cxn ang="0">
                    <a:pos x="626" y="945"/>
                  </a:cxn>
                  <a:cxn ang="0">
                    <a:pos x="663" y="981"/>
                  </a:cxn>
                  <a:cxn ang="0">
                    <a:pos x="691" y="950"/>
                  </a:cxn>
                  <a:cxn ang="0">
                    <a:pos x="765" y="922"/>
                  </a:cxn>
                  <a:cxn ang="0">
                    <a:pos x="829" y="899"/>
                  </a:cxn>
                  <a:cxn ang="0">
                    <a:pos x="894" y="885"/>
                  </a:cxn>
                  <a:cxn ang="0">
                    <a:pos x="885" y="822"/>
                  </a:cxn>
                  <a:cxn ang="0">
                    <a:pos x="882" y="748"/>
                  </a:cxn>
                  <a:cxn ang="0">
                    <a:pos x="956" y="703"/>
                  </a:cxn>
                  <a:cxn ang="0">
                    <a:pos x="986" y="598"/>
                  </a:cxn>
                  <a:cxn ang="0">
                    <a:pos x="976" y="507"/>
                  </a:cxn>
                  <a:cxn ang="0">
                    <a:pos x="950" y="404"/>
                  </a:cxn>
                  <a:cxn ang="0">
                    <a:pos x="1016" y="393"/>
                  </a:cxn>
                  <a:cxn ang="0">
                    <a:pos x="1100" y="350"/>
                  </a:cxn>
                  <a:cxn ang="0">
                    <a:pos x="1011" y="284"/>
                  </a:cxn>
                  <a:cxn ang="0">
                    <a:pos x="900" y="208"/>
                  </a:cxn>
                  <a:cxn ang="0">
                    <a:pos x="842" y="203"/>
                  </a:cxn>
                  <a:cxn ang="0">
                    <a:pos x="740" y="185"/>
                  </a:cxn>
                  <a:cxn ang="0">
                    <a:pos x="442" y="271"/>
                  </a:cxn>
                  <a:cxn ang="0">
                    <a:pos x="546" y="305"/>
                  </a:cxn>
                  <a:cxn ang="0">
                    <a:pos x="493" y="353"/>
                  </a:cxn>
                  <a:cxn ang="0">
                    <a:pos x="440" y="276"/>
                  </a:cxn>
                </a:cxnLst>
                <a:rect l="0" t="0" r="r" b="b"/>
                <a:pathLst>
                  <a:path w="1136" h="983">
                    <a:moveTo>
                      <a:pt x="696" y="147"/>
                    </a:moveTo>
                    <a:lnTo>
                      <a:pt x="679" y="131"/>
                    </a:lnTo>
                    <a:lnTo>
                      <a:pt x="666" y="116"/>
                    </a:lnTo>
                    <a:lnTo>
                      <a:pt x="651" y="95"/>
                    </a:lnTo>
                    <a:lnTo>
                      <a:pt x="612" y="62"/>
                    </a:lnTo>
                    <a:lnTo>
                      <a:pt x="593" y="35"/>
                    </a:lnTo>
                    <a:lnTo>
                      <a:pt x="579" y="25"/>
                    </a:lnTo>
                    <a:lnTo>
                      <a:pt x="553" y="21"/>
                    </a:lnTo>
                    <a:lnTo>
                      <a:pt x="530" y="26"/>
                    </a:lnTo>
                    <a:lnTo>
                      <a:pt x="509" y="28"/>
                    </a:lnTo>
                    <a:lnTo>
                      <a:pt x="491" y="24"/>
                    </a:lnTo>
                    <a:lnTo>
                      <a:pt x="476" y="10"/>
                    </a:lnTo>
                    <a:lnTo>
                      <a:pt x="463" y="0"/>
                    </a:lnTo>
                    <a:lnTo>
                      <a:pt x="449" y="0"/>
                    </a:lnTo>
                    <a:lnTo>
                      <a:pt x="435" y="7"/>
                    </a:lnTo>
                    <a:lnTo>
                      <a:pt x="426" y="28"/>
                    </a:lnTo>
                    <a:lnTo>
                      <a:pt x="420" y="45"/>
                    </a:lnTo>
                    <a:lnTo>
                      <a:pt x="414" y="57"/>
                    </a:lnTo>
                    <a:lnTo>
                      <a:pt x="413" y="74"/>
                    </a:lnTo>
                    <a:lnTo>
                      <a:pt x="424" y="73"/>
                    </a:lnTo>
                    <a:lnTo>
                      <a:pt x="430" y="67"/>
                    </a:lnTo>
                    <a:lnTo>
                      <a:pt x="438" y="67"/>
                    </a:lnTo>
                    <a:lnTo>
                      <a:pt x="449" y="76"/>
                    </a:lnTo>
                    <a:lnTo>
                      <a:pt x="456" y="90"/>
                    </a:lnTo>
                    <a:lnTo>
                      <a:pt x="456" y="111"/>
                    </a:lnTo>
                    <a:lnTo>
                      <a:pt x="449" y="130"/>
                    </a:lnTo>
                    <a:lnTo>
                      <a:pt x="439" y="138"/>
                    </a:lnTo>
                    <a:lnTo>
                      <a:pt x="424" y="139"/>
                    </a:lnTo>
                    <a:lnTo>
                      <a:pt x="418" y="125"/>
                    </a:lnTo>
                    <a:lnTo>
                      <a:pt x="417" y="114"/>
                    </a:lnTo>
                    <a:lnTo>
                      <a:pt x="412" y="111"/>
                    </a:lnTo>
                    <a:lnTo>
                      <a:pt x="408" y="121"/>
                    </a:lnTo>
                    <a:lnTo>
                      <a:pt x="400" y="121"/>
                    </a:lnTo>
                    <a:lnTo>
                      <a:pt x="391" y="111"/>
                    </a:lnTo>
                    <a:lnTo>
                      <a:pt x="380" y="97"/>
                    </a:lnTo>
                    <a:lnTo>
                      <a:pt x="370" y="97"/>
                    </a:lnTo>
                    <a:lnTo>
                      <a:pt x="357" y="103"/>
                    </a:lnTo>
                    <a:lnTo>
                      <a:pt x="354" y="117"/>
                    </a:lnTo>
                    <a:lnTo>
                      <a:pt x="358" y="130"/>
                    </a:lnTo>
                    <a:lnTo>
                      <a:pt x="365" y="138"/>
                    </a:lnTo>
                    <a:lnTo>
                      <a:pt x="368" y="157"/>
                    </a:lnTo>
                    <a:lnTo>
                      <a:pt x="362" y="172"/>
                    </a:lnTo>
                    <a:lnTo>
                      <a:pt x="350" y="181"/>
                    </a:lnTo>
                    <a:lnTo>
                      <a:pt x="338" y="179"/>
                    </a:lnTo>
                    <a:lnTo>
                      <a:pt x="329" y="166"/>
                    </a:lnTo>
                    <a:lnTo>
                      <a:pt x="322" y="153"/>
                    </a:lnTo>
                    <a:lnTo>
                      <a:pt x="313" y="139"/>
                    </a:lnTo>
                    <a:lnTo>
                      <a:pt x="312" y="131"/>
                    </a:lnTo>
                    <a:lnTo>
                      <a:pt x="319" y="123"/>
                    </a:lnTo>
                    <a:lnTo>
                      <a:pt x="328" y="118"/>
                    </a:lnTo>
                    <a:lnTo>
                      <a:pt x="331" y="113"/>
                    </a:lnTo>
                    <a:lnTo>
                      <a:pt x="326" y="102"/>
                    </a:lnTo>
                    <a:lnTo>
                      <a:pt x="316" y="95"/>
                    </a:lnTo>
                    <a:lnTo>
                      <a:pt x="314" y="85"/>
                    </a:lnTo>
                    <a:lnTo>
                      <a:pt x="311" y="72"/>
                    </a:lnTo>
                    <a:lnTo>
                      <a:pt x="305" y="65"/>
                    </a:lnTo>
                    <a:lnTo>
                      <a:pt x="289" y="61"/>
                    </a:lnTo>
                    <a:lnTo>
                      <a:pt x="271" y="60"/>
                    </a:lnTo>
                    <a:lnTo>
                      <a:pt x="260" y="61"/>
                    </a:lnTo>
                    <a:lnTo>
                      <a:pt x="255" y="63"/>
                    </a:lnTo>
                    <a:lnTo>
                      <a:pt x="247" y="65"/>
                    </a:lnTo>
                    <a:lnTo>
                      <a:pt x="239" y="61"/>
                    </a:lnTo>
                    <a:lnTo>
                      <a:pt x="233" y="57"/>
                    </a:lnTo>
                    <a:lnTo>
                      <a:pt x="224" y="58"/>
                    </a:lnTo>
                    <a:lnTo>
                      <a:pt x="214" y="64"/>
                    </a:lnTo>
                    <a:lnTo>
                      <a:pt x="206" y="69"/>
                    </a:lnTo>
                    <a:lnTo>
                      <a:pt x="197" y="73"/>
                    </a:lnTo>
                    <a:lnTo>
                      <a:pt x="187" y="73"/>
                    </a:lnTo>
                    <a:lnTo>
                      <a:pt x="177" y="67"/>
                    </a:lnTo>
                    <a:lnTo>
                      <a:pt x="168" y="63"/>
                    </a:lnTo>
                    <a:lnTo>
                      <a:pt x="158" y="64"/>
                    </a:lnTo>
                    <a:lnTo>
                      <a:pt x="144" y="67"/>
                    </a:lnTo>
                    <a:lnTo>
                      <a:pt x="133" y="73"/>
                    </a:lnTo>
                    <a:lnTo>
                      <a:pt x="126" y="80"/>
                    </a:lnTo>
                    <a:lnTo>
                      <a:pt x="122" y="87"/>
                    </a:lnTo>
                    <a:lnTo>
                      <a:pt x="118" y="89"/>
                    </a:lnTo>
                    <a:lnTo>
                      <a:pt x="108" y="91"/>
                    </a:lnTo>
                    <a:lnTo>
                      <a:pt x="102" y="99"/>
                    </a:lnTo>
                    <a:lnTo>
                      <a:pt x="101" y="107"/>
                    </a:lnTo>
                    <a:lnTo>
                      <a:pt x="107" y="113"/>
                    </a:lnTo>
                    <a:lnTo>
                      <a:pt x="111" y="119"/>
                    </a:lnTo>
                    <a:lnTo>
                      <a:pt x="108" y="125"/>
                    </a:lnTo>
                    <a:lnTo>
                      <a:pt x="101" y="130"/>
                    </a:lnTo>
                    <a:lnTo>
                      <a:pt x="91" y="132"/>
                    </a:lnTo>
                    <a:lnTo>
                      <a:pt x="83" y="137"/>
                    </a:lnTo>
                    <a:lnTo>
                      <a:pt x="78" y="147"/>
                    </a:lnTo>
                    <a:lnTo>
                      <a:pt x="77" y="159"/>
                    </a:lnTo>
                    <a:lnTo>
                      <a:pt x="78" y="169"/>
                    </a:lnTo>
                    <a:lnTo>
                      <a:pt x="86" y="174"/>
                    </a:lnTo>
                    <a:lnTo>
                      <a:pt x="99" y="175"/>
                    </a:lnTo>
                    <a:lnTo>
                      <a:pt x="111" y="176"/>
                    </a:lnTo>
                    <a:lnTo>
                      <a:pt x="128" y="177"/>
                    </a:lnTo>
                    <a:lnTo>
                      <a:pt x="144" y="182"/>
                    </a:lnTo>
                    <a:lnTo>
                      <a:pt x="161" y="193"/>
                    </a:lnTo>
                    <a:lnTo>
                      <a:pt x="167" y="202"/>
                    </a:lnTo>
                    <a:lnTo>
                      <a:pt x="169" y="214"/>
                    </a:lnTo>
                    <a:lnTo>
                      <a:pt x="166" y="220"/>
                    </a:lnTo>
                    <a:lnTo>
                      <a:pt x="155" y="219"/>
                    </a:lnTo>
                    <a:lnTo>
                      <a:pt x="148" y="214"/>
                    </a:lnTo>
                    <a:lnTo>
                      <a:pt x="142" y="205"/>
                    </a:lnTo>
                    <a:lnTo>
                      <a:pt x="135" y="198"/>
                    </a:lnTo>
                    <a:lnTo>
                      <a:pt x="131" y="199"/>
                    </a:lnTo>
                    <a:lnTo>
                      <a:pt x="126" y="209"/>
                    </a:lnTo>
                    <a:lnTo>
                      <a:pt x="126" y="221"/>
                    </a:lnTo>
                    <a:lnTo>
                      <a:pt x="126" y="237"/>
                    </a:lnTo>
                    <a:lnTo>
                      <a:pt x="123" y="253"/>
                    </a:lnTo>
                    <a:lnTo>
                      <a:pt x="118" y="270"/>
                    </a:lnTo>
                    <a:lnTo>
                      <a:pt x="116" y="291"/>
                    </a:lnTo>
                    <a:lnTo>
                      <a:pt x="123" y="304"/>
                    </a:lnTo>
                    <a:lnTo>
                      <a:pt x="124" y="316"/>
                    </a:lnTo>
                    <a:lnTo>
                      <a:pt x="121" y="327"/>
                    </a:lnTo>
                    <a:lnTo>
                      <a:pt x="109" y="337"/>
                    </a:lnTo>
                    <a:lnTo>
                      <a:pt x="97" y="348"/>
                    </a:lnTo>
                    <a:lnTo>
                      <a:pt x="88" y="363"/>
                    </a:lnTo>
                    <a:lnTo>
                      <a:pt x="85" y="385"/>
                    </a:lnTo>
                    <a:lnTo>
                      <a:pt x="81" y="407"/>
                    </a:lnTo>
                    <a:lnTo>
                      <a:pt x="75" y="424"/>
                    </a:lnTo>
                    <a:lnTo>
                      <a:pt x="73" y="441"/>
                    </a:lnTo>
                    <a:lnTo>
                      <a:pt x="70" y="447"/>
                    </a:lnTo>
                    <a:lnTo>
                      <a:pt x="58" y="449"/>
                    </a:lnTo>
                    <a:lnTo>
                      <a:pt x="45" y="446"/>
                    </a:lnTo>
                    <a:lnTo>
                      <a:pt x="37" y="443"/>
                    </a:lnTo>
                    <a:lnTo>
                      <a:pt x="25" y="441"/>
                    </a:lnTo>
                    <a:lnTo>
                      <a:pt x="12" y="442"/>
                    </a:lnTo>
                    <a:lnTo>
                      <a:pt x="4" y="444"/>
                    </a:lnTo>
                    <a:lnTo>
                      <a:pt x="3" y="450"/>
                    </a:lnTo>
                    <a:lnTo>
                      <a:pt x="6" y="459"/>
                    </a:lnTo>
                    <a:lnTo>
                      <a:pt x="12" y="462"/>
                    </a:lnTo>
                    <a:lnTo>
                      <a:pt x="14" y="469"/>
                    </a:lnTo>
                    <a:lnTo>
                      <a:pt x="12" y="476"/>
                    </a:lnTo>
                    <a:lnTo>
                      <a:pt x="5" y="483"/>
                    </a:lnTo>
                    <a:lnTo>
                      <a:pt x="1" y="491"/>
                    </a:lnTo>
                    <a:lnTo>
                      <a:pt x="0" y="503"/>
                    </a:lnTo>
                    <a:lnTo>
                      <a:pt x="3" y="512"/>
                    </a:lnTo>
                    <a:lnTo>
                      <a:pt x="11" y="518"/>
                    </a:lnTo>
                    <a:lnTo>
                      <a:pt x="22" y="519"/>
                    </a:lnTo>
                    <a:lnTo>
                      <a:pt x="31" y="515"/>
                    </a:lnTo>
                    <a:lnTo>
                      <a:pt x="39" y="510"/>
                    </a:lnTo>
                    <a:lnTo>
                      <a:pt x="47" y="509"/>
                    </a:lnTo>
                    <a:lnTo>
                      <a:pt x="52" y="515"/>
                    </a:lnTo>
                    <a:lnTo>
                      <a:pt x="54" y="527"/>
                    </a:lnTo>
                    <a:lnTo>
                      <a:pt x="53" y="537"/>
                    </a:lnTo>
                    <a:lnTo>
                      <a:pt x="57" y="546"/>
                    </a:lnTo>
                    <a:lnTo>
                      <a:pt x="67" y="556"/>
                    </a:lnTo>
                    <a:lnTo>
                      <a:pt x="76" y="564"/>
                    </a:lnTo>
                    <a:lnTo>
                      <a:pt x="92" y="565"/>
                    </a:lnTo>
                    <a:lnTo>
                      <a:pt x="109" y="564"/>
                    </a:lnTo>
                    <a:lnTo>
                      <a:pt x="129" y="563"/>
                    </a:lnTo>
                    <a:lnTo>
                      <a:pt x="141" y="560"/>
                    </a:lnTo>
                    <a:lnTo>
                      <a:pt x="148" y="557"/>
                    </a:lnTo>
                    <a:lnTo>
                      <a:pt x="156" y="559"/>
                    </a:lnTo>
                    <a:lnTo>
                      <a:pt x="163" y="563"/>
                    </a:lnTo>
                    <a:lnTo>
                      <a:pt x="168" y="565"/>
                    </a:lnTo>
                    <a:lnTo>
                      <a:pt x="173" y="564"/>
                    </a:lnTo>
                    <a:lnTo>
                      <a:pt x="180" y="555"/>
                    </a:lnTo>
                    <a:lnTo>
                      <a:pt x="183" y="543"/>
                    </a:lnTo>
                    <a:lnTo>
                      <a:pt x="188" y="533"/>
                    </a:lnTo>
                    <a:lnTo>
                      <a:pt x="196" y="523"/>
                    </a:lnTo>
                    <a:lnTo>
                      <a:pt x="202" y="518"/>
                    </a:lnTo>
                    <a:lnTo>
                      <a:pt x="209" y="518"/>
                    </a:lnTo>
                    <a:lnTo>
                      <a:pt x="214" y="522"/>
                    </a:lnTo>
                    <a:lnTo>
                      <a:pt x="220" y="529"/>
                    </a:lnTo>
                    <a:lnTo>
                      <a:pt x="231" y="537"/>
                    </a:lnTo>
                    <a:lnTo>
                      <a:pt x="239" y="543"/>
                    </a:lnTo>
                    <a:lnTo>
                      <a:pt x="249" y="549"/>
                    </a:lnTo>
                    <a:lnTo>
                      <a:pt x="256" y="550"/>
                    </a:lnTo>
                    <a:lnTo>
                      <a:pt x="263" y="554"/>
                    </a:lnTo>
                    <a:lnTo>
                      <a:pt x="269" y="563"/>
                    </a:lnTo>
                    <a:lnTo>
                      <a:pt x="271" y="572"/>
                    </a:lnTo>
                    <a:lnTo>
                      <a:pt x="274" y="581"/>
                    </a:lnTo>
                    <a:lnTo>
                      <a:pt x="276" y="591"/>
                    </a:lnTo>
                    <a:lnTo>
                      <a:pt x="272" y="607"/>
                    </a:lnTo>
                    <a:lnTo>
                      <a:pt x="268" y="614"/>
                    </a:lnTo>
                    <a:lnTo>
                      <a:pt x="263" y="622"/>
                    </a:lnTo>
                    <a:lnTo>
                      <a:pt x="263" y="628"/>
                    </a:lnTo>
                    <a:lnTo>
                      <a:pt x="268" y="632"/>
                    </a:lnTo>
                    <a:lnTo>
                      <a:pt x="276" y="635"/>
                    </a:lnTo>
                    <a:lnTo>
                      <a:pt x="278" y="640"/>
                    </a:lnTo>
                    <a:lnTo>
                      <a:pt x="279" y="647"/>
                    </a:lnTo>
                    <a:lnTo>
                      <a:pt x="272" y="652"/>
                    </a:lnTo>
                    <a:lnTo>
                      <a:pt x="263" y="659"/>
                    </a:lnTo>
                    <a:lnTo>
                      <a:pt x="254" y="665"/>
                    </a:lnTo>
                    <a:lnTo>
                      <a:pt x="252" y="673"/>
                    </a:lnTo>
                    <a:lnTo>
                      <a:pt x="255" y="681"/>
                    </a:lnTo>
                    <a:lnTo>
                      <a:pt x="264" y="684"/>
                    </a:lnTo>
                    <a:lnTo>
                      <a:pt x="278" y="683"/>
                    </a:lnTo>
                    <a:lnTo>
                      <a:pt x="296" y="679"/>
                    </a:lnTo>
                    <a:lnTo>
                      <a:pt x="315" y="672"/>
                    </a:lnTo>
                    <a:lnTo>
                      <a:pt x="330" y="665"/>
                    </a:lnTo>
                    <a:lnTo>
                      <a:pt x="338" y="657"/>
                    </a:lnTo>
                    <a:lnTo>
                      <a:pt x="344" y="652"/>
                    </a:lnTo>
                    <a:lnTo>
                      <a:pt x="353" y="651"/>
                    </a:lnTo>
                    <a:lnTo>
                      <a:pt x="356" y="653"/>
                    </a:lnTo>
                    <a:lnTo>
                      <a:pt x="358" y="661"/>
                    </a:lnTo>
                    <a:lnTo>
                      <a:pt x="362" y="664"/>
                    </a:lnTo>
                    <a:lnTo>
                      <a:pt x="369" y="664"/>
                    </a:lnTo>
                    <a:lnTo>
                      <a:pt x="374" y="659"/>
                    </a:lnTo>
                    <a:lnTo>
                      <a:pt x="378" y="652"/>
                    </a:lnTo>
                    <a:lnTo>
                      <a:pt x="380" y="649"/>
                    </a:lnTo>
                    <a:lnTo>
                      <a:pt x="386" y="646"/>
                    </a:lnTo>
                    <a:lnTo>
                      <a:pt x="392" y="640"/>
                    </a:lnTo>
                    <a:lnTo>
                      <a:pt x="392" y="633"/>
                    </a:lnTo>
                    <a:lnTo>
                      <a:pt x="385" y="625"/>
                    </a:lnTo>
                    <a:lnTo>
                      <a:pt x="377" y="618"/>
                    </a:lnTo>
                    <a:lnTo>
                      <a:pt x="369" y="614"/>
                    </a:lnTo>
                    <a:lnTo>
                      <a:pt x="362" y="609"/>
                    </a:lnTo>
                    <a:lnTo>
                      <a:pt x="359" y="595"/>
                    </a:lnTo>
                    <a:lnTo>
                      <a:pt x="358" y="582"/>
                    </a:lnTo>
                    <a:lnTo>
                      <a:pt x="358" y="567"/>
                    </a:lnTo>
                    <a:lnTo>
                      <a:pt x="355" y="560"/>
                    </a:lnTo>
                    <a:lnTo>
                      <a:pt x="348" y="553"/>
                    </a:lnTo>
                    <a:lnTo>
                      <a:pt x="344" y="547"/>
                    </a:lnTo>
                    <a:lnTo>
                      <a:pt x="344" y="540"/>
                    </a:lnTo>
                    <a:lnTo>
                      <a:pt x="348" y="531"/>
                    </a:lnTo>
                    <a:lnTo>
                      <a:pt x="359" y="528"/>
                    </a:lnTo>
                    <a:lnTo>
                      <a:pt x="368" y="528"/>
                    </a:lnTo>
                    <a:lnTo>
                      <a:pt x="378" y="533"/>
                    </a:lnTo>
                    <a:lnTo>
                      <a:pt x="386" y="534"/>
                    </a:lnTo>
                    <a:lnTo>
                      <a:pt x="395" y="533"/>
                    </a:lnTo>
                    <a:lnTo>
                      <a:pt x="402" y="530"/>
                    </a:lnTo>
                    <a:lnTo>
                      <a:pt x="410" y="524"/>
                    </a:lnTo>
                    <a:lnTo>
                      <a:pt x="419" y="515"/>
                    </a:lnTo>
                    <a:lnTo>
                      <a:pt x="430" y="511"/>
                    </a:lnTo>
                    <a:lnTo>
                      <a:pt x="438" y="511"/>
                    </a:lnTo>
                    <a:lnTo>
                      <a:pt x="446" y="512"/>
                    </a:lnTo>
                    <a:lnTo>
                      <a:pt x="450" y="520"/>
                    </a:lnTo>
                    <a:lnTo>
                      <a:pt x="451" y="529"/>
                    </a:lnTo>
                    <a:lnTo>
                      <a:pt x="452" y="538"/>
                    </a:lnTo>
                    <a:lnTo>
                      <a:pt x="453" y="549"/>
                    </a:lnTo>
                    <a:lnTo>
                      <a:pt x="458" y="554"/>
                    </a:lnTo>
                    <a:lnTo>
                      <a:pt x="467" y="556"/>
                    </a:lnTo>
                    <a:lnTo>
                      <a:pt x="473" y="556"/>
                    </a:lnTo>
                    <a:lnTo>
                      <a:pt x="486" y="550"/>
                    </a:lnTo>
                    <a:lnTo>
                      <a:pt x="492" y="540"/>
                    </a:lnTo>
                    <a:lnTo>
                      <a:pt x="503" y="535"/>
                    </a:lnTo>
                    <a:lnTo>
                      <a:pt x="509" y="529"/>
                    </a:lnTo>
                    <a:lnTo>
                      <a:pt x="515" y="522"/>
                    </a:lnTo>
                    <a:lnTo>
                      <a:pt x="524" y="517"/>
                    </a:lnTo>
                    <a:lnTo>
                      <a:pt x="534" y="519"/>
                    </a:lnTo>
                    <a:lnTo>
                      <a:pt x="540" y="524"/>
                    </a:lnTo>
                    <a:lnTo>
                      <a:pt x="545" y="535"/>
                    </a:lnTo>
                    <a:lnTo>
                      <a:pt x="546" y="553"/>
                    </a:lnTo>
                    <a:lnTo>
                      <a:pt x="545" y="566"/>
                    </a:lnTo>
                    <a:lnTo>
                      <a:pt x="539" y="575"/>
                    </a:lnTo>
                    <a:lnTo>
                      <a:pt x="528" y="585"/>
                    </a:lnTo>
                    <a:lnTo>
                      <a:pt x="519" y="592"/>
                    </a:lnTo>
                    <a:lnTo>
                      <a:pt x="512" y="600"/>
                    </a:lnTo>
                    <a:lnTo>
                      <a:pt x="512" y="607"/>
                    </a:lnTo>
                    <a:lnTo>
                      <a:pt x="519" y="611"/>
                    </a:lnTo>
                    <a:lnTo>
                      <a:pt x="521" y="621"/>
                    </a:lnTo>
                    <a:lnTo>
                      <a:pt x="524" y="630"/>
                    </a:lnTo>
                    <a:lnTo>
                      <a:pt x="523" y="642"/>
                    </a:lnTo>
                    <a:lnTo>
                      <a:pt x="520" y="654"/>
                    </a:lnTo>
                    <a:lnTo>
                      <a:pt x="521" y="663"/>
                    </a:lnTo>
                    <a:lnTo>
                      <a:pt x="533" y="670"/>
                    </a:lnTo>
                    <a:lnTo>
                      <a:pt x="549" y="676"/>
                    </a:lnTo>
                    <a:lnTo>
                      <a:pt x="551" y="683"/>
                    </a:lnTo>
                    <a:lnTo>
                      <a:pt x="549" y="690"/>
                    </a:lnTo>
                    <a:lnTo>
                      <a:pt x="544" y="695"/>
                    </a:lnTo>
                    <a:lnTo>
                      <a:pt x="542" y="701"/>
                    </a:lnTo>
                    <a:lnTo>
                      <a:pt x="544" y="708"/>
                    </a:lnTo>
                    <a:lnTo>
                      <a:pt x="550" y="714"/>
                    </a:lnTo>
                    <a:lnTo>
                      <a:pt x="557" y="716"/>
                    </a:lnTo>
                    <a:lnTo>
                      <a:pt x="562" y="719"/>
                    </a:lnTo>
                    <a:lnTo>
                      <a:pt x="566" y="724"/>
                    </a:lnTo>
                    <a:lnTo>
                      <a:pt x="567" y="734"/>
                    </a:lnTo>
                    <a:lnTo>
                      <a:pt x="569" y="741"/>
                    </a:lnTo>
                    <a:lnTo>
                      <a:pt x="572" y="744"/>
                    </a:lnTo>
                    <a:lnTo>
                      <a:pt x="575" y="752"/>
                    </a:lnTo>
                    <a:lnTo>
                      <a:pt x="579" y="756"/>
                    </a:lnTo>
                    <a:lnTo>
                      <a:pt x="594" y="758"/>
                    </a:lnTo>
                    <a:lnTo>
                      <a:pt x="601" y="761"/>
                    </a:lnTo>
                    <a:lnTo>
                      <a:pt x="608" y="770"/>
                    </a:lnTo>
                    <a:lnTo>
                      <a:pt x="607" y="784"/>
                    </a:lnTo>
                    <a:lnTo>
                      <a:pt x="599" y="799"/>
                    </a:lnTo>
                    <a:lnTo>
                      <a:pt x="590" y="815"/>
                    </a:lnTo>
                    <a:lnTo>
                      <a:pt x="588" y="833"/>
                    </a:lnTo>
                    <a:lnTo>
                      <a:pt x="591" y="839"/>
                    </a:lnTo>
                    <a:lnTo>
                      <a:pt x="610" y="848"/>
                    </a:lnTo>
                    <a:lnTo>
                      <a:pt x="629" y="849"/>
                    </a:lnTo>
                    <a:lnTo>
                      <a:pt x="649" y="849"/>
                    </a:lnTo>
                    <a:lnTo>
                      <a:pt x="658" y="855"/>
                    </a:lnTo>
                    <a:lnTo>
                      <a:pt x="667" y="868"/>
                    </a:lnTo>
                    <a:lnTo>
                      <a:pt x="670" y="878"/>
                    </a:lnTo>
                    <a:lnTo>
                      <a:pt x="668" y="885"/>
                    </a:lnTo>
                    <a:lnTo>
                      <a:pt x="659" y="887"/>
                    </a:lnTo>
                    <a:lnTo>
                      <a:pt x="651" y="886"/>
                    </a:lnTo>
                    <a:lnTo>
                      <a:pt x="645" y="893"/>
                    </a:lnTo>
                    <a:lnTo>
                      <a:pt x="645" y="904"/>
                    </a:lnTo>
                    <a:lnTo>
                      <a:pt x="649" y="909"/>
                    </a:lnTo>
                    <a:lnTo>
                      <a:pt x="650" y="922"/>
                    </a:lnTo>
                    <a:lnTo>
                      <a:pt x="647" y="930"/>
                    </a:lnTo>
                    <a:lnTo>
                      <a:pt x="637" y="937"/>
                    </a:lnTo>
                    <a:lnTo>
                      <a:pt x="626" y="945"/>
                    </a:lnTo>
                    <a:lnTo>
                      <a:pt x="621" y="950"/>
                    </a:lnTo>
                    <a:lnTo>
                      <a:pt x="619" y="959"/>
                    </a:lnTo>
                    <a:lnTo>
                      <a:pt x="622" y="969"/>
                    </a:lnTo>
                    <a:lnTo>
                      <a:pt x="631" y="976"/>
                    </a:lnTo>
                    <a:lnTo>
                      <a:pt x="643" y="982"/>
                    </a:lnTo>
                    <a:lnTo>
                      <a:pt x="652" y="983"/>
                    </a:lnTo>
                    <a:lnTo>
                      <a:pt x="663" y="981"/>
                    </a:lnTo>
                    <a:lnTo>
                      <a:pt x="671" y="979"/>
                    </a:lnTo>
                    <a:lnTo>
                      <a:pt x="675" y="971"/>
                    </a:lnTo>
                    <a:lnTo>
                      <a:pt x="674" y="965"/>
                    </a:lnTo>
                    <a:lnTo>
                      <a:pt x="673" y="959"/>
                    </a:lnTo>
                    <a:lnTo>
                      <a:pt x="673" y="954"/>
                    </a:lnTo>
                    <a:lnTo>
                      <a:pt x="679" y="950"/>
                    </a:lnTo>
                    <a:lnTo>
                      <a:pt x="691" y="950"/>
                    </a:lnTo>
                    <a:lnTo>
                      <a:pt x="699" y="950"/>
                    </a:lnTo>
                    <a:lnTo>
                      <a:pt x="708" y="948"/>
                    </a:lnTo>
                    <a:lnTo>
                      <a:pt x="716" y="943"/>
                    </a:lnTo>
                    <a:lnTo>
                      <a:pt x="735" y="930"/>
                    </a:lnTo>
                    <a:lnTo>
                      <a:pt x="746" y="925"/>
                    </a:lnTo>
                    <a:lnTo>
                      <a:pt x="757" y="923"/>
                    </a:lnTo>
                    <a:lnTo>
                      <a:pt x="765" y="922"/>
                    </a:lnTo>
                    <a:lnTo>
                      <a:pt x="773" y="918"/>
                    </a:lnTo>
                    <a:lnTo>
                      <a:pt x="782" y="909"/>
                    </a:lnTo>
                    <a:lnTo>
                      <a:pt x="790" y="900"/>
                    </a:lnTo>
                    <a:lnTo>
                      <a:pt x="799" y="895"/>
                    </a:lnTo>
                    <a:lnTo>
                      <a:pt x="810" y="894"/>
                    </a:lnTo>
                    <a:lnTo>
                      <a:pt x="821" y="895"/>
                    </a:lnTo>
                    <a:lnTo>
                      <a:pt x="829" y="899"/>
                    </a:lnTo>
                    <a:lnTo>
                      <a:pt x="837" y="900"/>
                    </a:lnTo>
                    <a:lnTo>
                      <a:pt x="850" y="896"/>
                    </a:lnTo>
                    <a:lnTo>
                      <a:pt x="861" y="891"/>
                    </a:lnTo>
                    <a:lnTo>
                      <a:pt x="869" y="887"/>
                    </a:lnTo>
                    <a:lnTo>
                      <a:pt x="878" y="887"/>
                    </a:lnTo>
                    <a:lnTo>
                      <a:pt x="888" y="886"/>
                    </a:lnTo>
                    <a:lnTo>
                      <a:pt x="894" y="885"/>
                    </a:lnTo>
                    <a:lnTo>
                      <a:pt x="895" y="878"/>
                    </a:lnTo>
                    <a:lnTo>
                      <a:pt x="893" y="872"/>
                    </a:lnTo>
                    <a:lnTo>
                      <a:pt x="889" y="866"/>
                    </a:lnTo>
                    <a:lnTo>
                      <a:pt x="886" y="859"/>
                    </a:lnTo>
                    <a:lnTo>
                      <a:pt x="890" y="844"/>
                    </a:lnTo>
                    <a:lnTo>
                      <a:pt x="889" y="830"/>
                    </a:lnTo>
                    <a:lnTo>
                      <a:pt x="885" y="822"/>
                    </a:lnTo>
                    <a:lnTo>
                      <a:pt x="878" y="803"/>
                    </a:lnTo>
                    <a:lnTo>
                      <a:pt x="877" y="790"/>
                    </a:lnTo>
                    <a:lnTo>
                      <a:pt x="879" y="776"/>
                    </a:lnTo>
                    <a:lnTo>
                      <a:pt x="884" y="768"/>
                    </a:lnTo>
                    <a:lnTo>
                      <a:pt x="886" y="763"/>
                    </a:lnTo>
                    <a:lnTo>
                      <a:pt x="886" y="754"/>
                    </a:lnTo>
                    <a:lnTo>
                      <a:pt x="882" y="748"/>
                    </a:lnTo>
                    <a:lnTo>
                      <a:pt x="877" y="739"/>
                    </a:lnTo>
                    <a:lnTo>
                      <a:pt x="878" y="731"/>
                    </a:lnTo>
                    <a:lnTo>
                      <a:pt x="885" y="724"/>
                    </a:lnTo>
                    <a:lnTo>
                      <a:pt x="899" y="722"/>
                    </a:lnTo>
                    <a:lnTo>
                      <a:pt x="911" y="722"/>
                    </a:lnTo>
                    <a:lnTo>
                      <a:pt x="925" y="722"/>
                    </a:lnTo>
                    <a:lnTo>
                      <a:pt x="956" y="703"/>
                    </a:lnTo>
                    <a:lnTo>
                      <a:pt x="977" y="682"/>
                    </a:lnTo>
                    <a:lnTo>
                      <a:pt x="985" y="664"/>
                    </a:lnTo>
                    <a:lnTo>
                      <a:pt x="986" y="646"/>
                    </a:lnTo>
                    <a:lnTo>
                      <a:pt x="983" y="632"/>
                    </a:lnTo>
                    <a:lnTo>
                      <a:pt x="977" y="622"/>
                    </a:lnTo>
                    <a:lnTo>
                      <a:pt x="980" y="609"/>
                    </a:lnTo>
                    <a:lnTo>
                      <a:pt x="986" y="598"/>
                    </a:lnTo>
                    <a:lnTo>
                      <a:pt x="984" y="588"/>
                    </a:lnTo>
                    <a:lnTo>
                      <a:pt x="977" y="578"/>
                    </a:lnTo>
                    <a:lnTo>
                      <a:pt x="976" y="566"/>
                    </a:lnTo>
                    <a:lnTo>
                      <a:pt x="984" y="556"/>
                    </a:lnTo>
                    <a:lnTo>
                      <a:pt x="985" y="542"/>
                    </a:lnTo>
                    <a:lnTo>
                      <a:pt x="978" y="528"/>
                    </a:lnTo>
                    <a:lnTo>
                      <a:pt x="976" y="507"/>
                    </a:lnTo>
                    <a:lnTo>
                      <a:pt x="965" y="487"/>
                    </a:lnTo>
                    <a:lnTo>
                      <a:pt x="951" y="472"/>
                    </a:lnTo>
                    <a:lnTo>
                      <a:pt x="943" y="457"/>
                    </a:lnTo>
                    <a:lnTo>
                      <a:pt x="936" y="436"/>
                    </a:lnTo>
                    <a:lnTo>
                      <a:pt x="933" y="418"/>
                    </a:lnTo>
                    <a:lnTo>
                      <a:pt x="936" y="407"/>
                    </a:lnTo>
                    <a:lnTo>
                      <a:pt x="950" y="404"/>
                    </a:lnTo>
                    <a:lnTo>
                      <a:pt x="963" y="402"/>
                    </a:lnTo>
                    <a:lnTo>
                      <a:pt x="971" y="393"/>
                    </a:lnTo>
                    <a:lnTo>
                      <a:pt x="975" y="385"/>
                    </a:lnTo>
                    <a:lnTo>
                      <a:pt x="984" y="375"/>
                    </a:lnTo>
                    <a:lnTo>
                      <a:pt x="1000" y="375"/>
                    </a:lnTo>
                    <a:lnTo>
                      <a:pt x="1008" y="381"/>
                    </a:lnTo>
                    <a:lnTo>
                      <a:pt x="1016" y="393"/>
                    </a:lnTo>
                    <a:lnTo>
                      <a:pt x="1026" y="396"/>
                    </a:lnTo>
                    <a:lnTo>
                      <a:pt x="1039" y="390"/>
                    </a:lnTo>
                    <a:lnTo>
                      <a:pt x="1048" y="386"/>
                    </a:lnTo>
                    <a:lnTo>
                      <a:pt x="1060" y="388"/>
                    </a:lnTo>
                    <a:lnTo>
                      <a:pt x="1067" y="388"/>
                    </a:lnTo>
                    <a:lnTo>
                      <a:pt x="1080" y="372"/>
                    </a:lnTo>
                    <a:lnTo>
                      <a:pt x="1100" y="350"/>
                    </a:lnTo>
                    <a:lnTo>
                      <a:pt x="1110" y="338"/>
                    </a:lnTo>
                    <a:lnTo>
                      <a:pt x="1115" y="333"/>
                    </a:lnTo>
                    <a:lnTo>
                      <a:pt x="1124" y="325"/>
                    </a:lnTo>
                    <a:lnTo>
                      <a:pt x="1136" y="317"/>
                    </a:lnTo>
                    <a:lnTo>
                      <a:pt x="1097" y="318"/>
                    </a:lnTo>
                    <a:lnTo>
                      <a:pt x="1045" y="317"/>
                    </a:lnTo>
                    <a:lnTo>
                      <a:pt x="1011" y="284"/>
                    </a:lnTo>
                    <a:lnTo>
                      <a:pt x="1002" y="279"/>
                    </a:lnTo>
                    <a:lnTo>
                      <a:pt x="993" y="275"/>
                    </a:lnTo>
                    <a:lnTo>
                      <a:pt x="986" y="268"/>
                    </a:lnTo>
                    <a:lnTo>
                      <a:pt x="974" y="250"/>
                    </a:lnTo>
                    <a:lnTo>
                      <a:pt x="939" y="248"/>
                    </a:lnTo>
                    <a:lnTo>
                      <a:pt x="919" y="229"/>
                    </a:lnTo>
                    <a:lnTo>
                      <a:pt x="900" y="208"/>
                    </a:lnTo>
                    <a:lnTo>
                      <a:pt x="891" y="203"/>
                    </a:lnTo>
                    <a:lnTo>
                      <a:pt x="890" y="208"/>
                    </a:lnTo>
                    <a:lnTo>
                      <a:pt x="881" y="211"/>
                    </a:lnTo>
                    <a:lnTo>
                      <a:pt x="865" y="205"/>
                    </a:lnTo>
                    <a:lnTo>
                      <a:pt x="853" y="199"/>
                    </a:lnTo>
                    <a:lnTo>
                      <a:pt x="846" y="195"/>
                    </a:lnTo>
                    <a:lnTo>
                      <a:pt x="842" y="203"/>
                    </a:lnTo>
                    <a:lnTo>
                      <a:pt x="829" y="204"/>
                    </a:lnTo>
                    <a:lnTo>
                      <a:pt x="798" y="195"/>
                    </a:lnTo>
                    <a:lnTo>
                      <a:pt x="787" y="190"/>
                    </a:lnTo>
                    <a:lnTo>
                      <a:pt x="766" y="179"/>
                    </a:lnTo>
                    <a:lnTo>
                      <a:pt x="757" y="177"/>
                    </a:lnTo>
                    <a:lnTo>
                      <a:pt x="748" y="178"/>
                    </a:lnTo>
                    <a:lnTo>
                      <a:pt x="740" y="185"/>
                    </a:lnTo>
                    <a:lnTo>
                      <a:pt x="726" y="187"/>
                    </a:lnTo>
                    <a:lnTo>
                      <a:pt x="717" y="184"/>
                    </a:lnTo>
                    <a:lnTo>
                      <a:pt x="708" y="177"/>
                    </a:lnTo>
                    <a:lnTo>
                      <a:pt x="698" y="161"/>
                    </a:lnTo>
                    <a:lnTo>
                      <a:pt x="696" y="147"/>
                    </a:lnTo>
                    <a:lnTo>
                      <a:pt x="696" y="147"/>
                    </a:lnTo>
                    <a:close/>
                    <a:moveTo>
                      <a:pt x="442" y="271"/>
                    </a:moveTo>
                    <a:lnTo>
                      <a:pt x="442" y="271"/>
                    </a:lnTo>
                    <a:lnTo>
                      <a:pt x="462" y="278"/>
                    </a:lnTo>
                    <a:lnTo>
                      <a:pt x="478" y="291"/>
                    </a:lnTo>
                    <a:lnTo>
                      <a:pt x="496" y="297"/>
                    </a:lnTo>
                    <a:lnTo>
                      <a:pt x="514" y="302"/>
                    </a:lnTo>
                    <a:lnTo>
                      <a:pt x="531" y="304"/>
                    </a:lnTo>
                    <a:lnTo>
                      <a:pt x="546" y="305"/>
                    </a:lnTo>
                    <a:lnTo>
                      <a:pt x="554" y="322"/>
                    </a:lnTo>
                    <a:lnTo>
                      <a:pt x="554" y="342"/>
                    </a:lnTo>
                    <a:lnTo>
                      <a:pt x="550" y="358"/>
                    </a:lnTo>
                    <a:lnTo>
                      <a:pt x="531" y="365"/>
                    </a:lnTo>
                    <a:lnTo>
                      <a:pt x="517" y="362"/>
                    </a:lnTo>
                    <a:lnTo>
                      <a:pt x="508" y="354"/>
                    </a:lnTo>
                    <a:lnTo>
                      <a:pt x="493" y="353"/>
                    </a:lnTo>
                    <a:lnTo>
                      <a:pt x="481" y="345"/>
                    </a:lnTo>
                    <a:lnTo>
                      <a:pt x="478" y="329"/>
                    </a:lnTo>
                    <a:lnTo>
                      <a:pt x="477" y="317"/>
                    </a:lnTo>
                    <a:lnTo>
                      <a:pt x="462" y="310"/>
                    </a:lnTo>
                    <a:lnTo>
                      <a:pt x="448" y="300"/>
                    </a:lnTo>
                    <a:lnTo>
                      <a:pt x="441" y="285"/>
                    </a:lnTo>
                    <a:lnTo>
                      <a:pt x="440" y="276"/>
                    </a:lnTo>
                    <a:lnTo>
                      <a:pt x="442" y="27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Freeform 8">
                <a:extLst>
                  <a:ext uri="{FF2B5EF4-FFF2-40B4-BE49-F238E27FC236}">
                    <a16:creationId xmlns:a16="http://schemas.microsoft.com/office/drawing/2014/main" id="{E87DE5A0-73E0-436A-8DD7-B9C40DF65DC0}"/>
                  </a:ext>
                </a:extLst>
              </p:cNvPr>
              <p:cNvSpPr>
                <a:spLocks/>
              </p:cNvSpPr>
              <p:nvPr/>
            </p:nvSpPr>
            <p:spPr bwMode="auto">
              <a:xfrm>
                <a:off x="3676553" y="2740788"/>
                <a:ext cx="55007" cy="36189"/>
              </a:xfrm>
              <a:custGeom>
                <a:avLst/>
                <a:gdLst/>
                <a:ahLst/>
                <a:cxnLst>
                  <a:cxn ang="0">
                    <a:pos x="38" y="12"/>
                  </a:cxn>
                  <a:cxn ang="0">
                    <a:pos x="31" y="2"/>
                  </a:cxn>
                  <a:cxn ang="0">
                    <a:pos x="19" y="0"/>
                  </a:cxn>
                  <a:cxn ang="0">
                    <a:pos x="4" y="4"/>
                  </a:cxn>
                  <a:cxn ang="0">
                    <a:pos x="1" y="14"/>
                  </a:cxn>
                  <a:cxn ang="0">
                    <a:pos x="0" y="22"/>
                  </a:cxn>
                  <a:cxn ang="0">
                    <a:pos x="7" y="25"/>
                  </a:cxn>
                  <a:cxn ang="0">
                    <a:pos x="15" y="24"/>
                  </a:cxn>
                  <a:cxn ang="0">
                    <a:pos x="16" y="19"/>
                  </a:cxn>
                  <a:cxn ang="0">
                    <a:pos x="20" y="15"/>
                  </a:cxn>
                  <a:cxn ang="0">
                    <a:pos x="28" y="12"/>
                  </a:cxn>
                  <a:cxn ang="0">
                    <a:pos x="38" y="12"/>
                  </a:cxn>
                </a:cxnLst>
                <a:rect l="0" t="0" r="r" b="b"/>
                <a:pathLst>
                  <a:path w="38" h="25">
                    <a:moveTo>
                      <a:pt x="38" y="12"/>
                    </a:moveTo>
                    <a:lnTo>
                      <a:pt x="31" y="2"/>
                    </a:lnTo>
                    <a:lnTo>
                      <a:pt x="19" y="0"/>
                    </a:lnTo>
                    <a:lnTo>
                      <a:pt x="4" y="4"/>
                    </a:lnTo>
                    <a:lnTo>
                      <a:pt x="1" y="14"/>
                    </a:lnTo>
                    <a:lnTo>
                      <a:pt x="0" y="22"/>
                    </a:lnTo>
                    <a:lnTo>
                      <a:pt x="7" y="25"/>
                    </a:lnTo>
                    <a:lnTo>
                      <a:pt x="15" y="24"/>
                    </a:lnTo>
                    <a:lnTo>
                      <a:pt x="16" y="19"/>
                    </a:lnTo>
                    <a:lnTo>
                      <a:pt x="20" y="15"/>
                    </a:lnTo>
                    <a:lnTo>
                      <a:pt x="28" y="12"/>
                    </a:lnTo>
                    <a:lnTo>
                      <a:pt x="38" y="12"/>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5" name="Freeform 9">
                <a:extLst>
                  <a:ext uri="{FF2B5EF4-FFF2-40B4-BE49-F238E27FC236}">
                    <a16:creationId xmlns:a16="http://schemas.microsoft.com/office/drawing/2014/main" id="{C38F517A-5790-467C-B394-AE7E9D7C73A6}"/>
                  </a:ext>
                </a:extLst>
              </p:cNvPr>
              <p:cNvSpPr>
                <a:spLocks/>
              </p:cNvSpPr>
              <p:nvPr/>
            </p:nvSpPr>
            <p:spPr bwMode="auto">
              <a:xfrm>
                <a:off x="3608518" y="2752369"/>
                <a:ext cx="43427" cy="26056"/>
              </a:xfrm>
              <a:custGeom>
                <a:avLst/>
                <a:gdLst/>
                <a:ahLst/>
                <a:cxnLst>
                  <a:cxn ang="0">
                    <a:pos x="0" y="5"/>
                  </a:cxn>
                  <a:cxn ang="0">
                    <a:pos x="10" y="0"/>
                  </a:cxn>
                  <a:cxn ang="0">
                    <a:pos x="24" y="4"/>
                  </a:cxn>
                  <a:cxn ang="0">
                    <a:pos x="30" y="10"/>
                  </a:cxn>
                  <a:cxn ang="0">
                    <a:pos x="30" y="17"/>
                  </a:cxn>
                  <a:cxn ang="0">
                    <a:pos x="18" y="18"/>
                  </a:cxn>
                  <a:cxn ang="0">
                    <a:pos x="8" y="17"/>
                  </a:cxn>
                  <a:cxn ang="0">
                    <a:pos x="3" y="12"/>
                  </a:cxn>
                  <a:cxn ang="0">
                    <a:pos x="0" y="5"/>
                  </a:cxn>
                </a:cxnLst>
                <a:rect l="0" t="0" r="r" b="b"/>
                <a:pathLst>
                  <a:path w="30" h="18">
                    <a:moveTo>
                      <a:pt x="0" y="5"/>
                    </a:moveTo>
                    <a:lnTo>
                      <a:pt x="10" y="0"/>
                    </a:lnTo>
                    <a:lnTo>
                      <a:pt x="24" y="4"/>
                    </a:lnTo>
                    <a:lnTo>
                      <a:pt x="30" y="10"/>
                    </a:lnTo>
                    <a:lnTo>
                      <a:pt x="30" y="17"/>
                    </a:lnTo>
                    <a:lnTo>
                      <a:pt x="18" y="18"/>
                    </a:lnTo>
                    <a:lnTo>
                      <a:pt x="8" y="17"/>
                    </a:lnTo>
                    <a:lnTo>
                      <a:pt x="3" y="12"/>
                    </a:lnTo>
                    <a:lnTo>
                      <a:pt x="0" y="5"/>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6" name="Freeform 10">
                <a:extLst>
                  <a:ext uri="{FF2B5EF4-FFF2-40B4-BE49-F238E27FC236}">
                    <a16:creationId xmlns:a16="http://schemas.microsoft.com/office/drawing/2014/main" id="{DE83BFF5-FDD5-465E-9B6E-87F419832AFF}"/>
                  </a:ext>
                </a:extLst>
              </p:cNvPr>
              <p:cNvSpPr>
                <a:spLocks/>
              </p:cNvSpPr>
              <p:nvPr/>
            </p:nvSpPr>
            <p:spPr bwMode="auto">
              <a:xfrm>
                <a:off x="3510084" y="2765397"/>
                <a:ext cx="55007" cy="24609"/>
              </a:xfrm>
              <a:custGeom>
                <a:avLst/>
                <a:gdLst/>
                <a:ahLst/>
                <a:cxnLst>
                  <a:cxn ang="0">
                    <a:pos x="38" y="11"/>
                  </a:cxn>
                  <a:cxn ang="0">
                    <a:pos x="24" y="0"/>
                  </a:cxn>
                  <a:cxn ang="0">
                    <a:pos x="8" y="1"/>
                  </a:cxn>
                  <a:cxn ang="0">
                    <a:pos x="3" y="9"/>
                  </a:cxn>
                  <a:cxn ang="0">
                    <a:pos x="0" y="16"/>
                  </a:cxn>
                  <a:cxn ang="0">
                    <a:pos x="16" y="17"/>
                  </a:cxn>
                  <a:cxn ang="0">
                    <a:pos x="28" y="16"/>
                  </a:cxn>
                  <a:cxn ang="0">
                    <a:pos x="38" y="11"/>
                  </a:cxn>
                </a:cxnLst>
                <a:rect l="0" t="0" r="r" b="b"/>
                <a:pathLst>
                  <a:path w="38" h="17">
                    <a:moveTo>
                      <a:pt x="38" y="11"/>
                    </a:moveTo>
                    <a:lnTo>
                      <a:pt x="24" y="0"/>
                    </a:lnTo>
                    <a:lnTo>
                      <a:pt x="8" y="1"/>
                    </a:lnTo>
                    <a:lnTo>
                      <a:pt x="3" y="9"/>
                    </a:lnTo>
                    <a:lnTo>
                      <a:pt x="0" y="16"/>
                    </a:lnTo>
                    <a:lnTo>
                      <a:pt x="16" y="17"/>
                    </a:lnTo>
                    <a:lnTo>
                      <a:pt x="28" y="16"/>
                    </a:lnTo>
                    <a:lnTo>
                      <a:pt x="38" y="1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7" name="Freeform 11">
                <a:extLst>
                  <a:ext uri="{FF2B5EF4-FFF2-40B4-BE49-F238E27FC236}">
                    <a16:creationId xmlns:a16="http://schemas.microsoft.com/office/drawing/2014/main" id="{C8517005-19FF-487B-A517-37ACEC1ABEBA}"/>
                  </a:ext>
                </a:extLst>
              </p:cNvPr>
              <p:cNvSpPr>
                <a:spLocks/>
              </p:cNvSpPr>
              <p:nvPr/>
            </p:nvSpPr>
            <p:spPr bwMode="auto">
              <a:xfrm>
                <a:off x="3413099" y="2788558"/>
                <a:ext cx="83958" cy="30399"/>
              </a:xfrm>
              <a:custGeom>
                <a:avLst/>
                <a:gdLst/>
                <a:ahLst/>
                <a:cxnLst>
                  <a:cxn ang="0">
                    <a:pos x="1" y="1"/>
                  </a:cxn>
                  <a:cxn ang="0">
                    <a:pos x="25" y="0"/>
                  </a:cxn>
                  <a:cxn ang="0">
                    <a:pos x="38" y="6"/>
                  </a:cxn>
                  <a:cxn ang="0">
                    <a:pos x="51" y="9"/>
                  </a:cxn>
                  <a:cxn ang="0">
                    <a:pos x="58" y="13"/>
                  </a:cxn>
                  <a:cxn ang="0">
                    <a:pos x="50" y="18"/>
                  </a:cxn>
                  <a:cxn ang="0">
                    <a:pos x="27" y="21"/>
                  </a:cxn>
                  <a:cxn ang="0">
                    <a:pos x="10" y="20"/>
                  </a:cxn>
                  <a:cxn ang="0">
                    <a:pos x="1" y="16"/>
                  </a:cxn>
                  <a:cxn ang="0">
                    <a:pos x="0" y="10"/>
                  </a:cxn>
                  <a:cxn ang="0">
                    <a:pos x="1" y="1"/>
                  </a:cxn>
                </a:cxnLst>
                <a:rect l="0" t="0" r="r" b="b"/>
                <a:pathLst>
                  <a:path w="58" h="21">
                    <a:moveTo>
                      <a:pt x="1" y="1"/>
                    </a:moveTo>
                    <a:lnTo>
                      <a:pt x="25" y="0"/>
                    </a:lnTo>
                    <a:lnTo>
                      <a:pt x="38" y="6"/>
                    </a:lnTo>
                    <a:lnTo>
                      <a:pt x="51" y="9"/>
                    </a:lnTo>
                    <a:lnTo>
                      <a:pt x="58" y="13"/>
                    </a:lnTo>
                    <a:lnTo>
                      <a:pt x="50" y="18"/>
                    </a:lnTo>
                    <a:lnTo>
                      <a:pt x="27" y="21"/>
                    </a:lnTo>
                    <a:lnTo>
                      <a:pt x="10" y="20"/>
                    </a:lnTo>
                    <a:lnTo>
                      <a:pt x="1" y="16"/>
                    </a:lnTo>
                    <a:lnTo>
                      <a:pt x="0" y="10"/>
                    </a:lnTo>
                    <a:lnTo>
                      <a:pt x="1" y="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8" name="Freeform 12">
                <a:extLst>
                  <a:ext uri="{FF2B5EF4-FFF2-40B4-BE49-F238E27FC236}">
                    <a16:creationId xmlns:a16="http://schemas.microsoft.com/office/drawing/2014/main" id="{B1A5C11F-5933-419C-990E-C34F8070706C}"/>
                  </a:ext>
                </a:extLst>
              </p:cNvPr>
              <p:cNvSpPr>
                <a:spLocks/>
              </p:cNvSpPr>
              <p:nvPr/>
            </p:nvSpPr>
            <p:spPr bwMode="auto">
              <a:xfrm>
                <a:off x="3333483" y="2831985"/>
                <a:ext cx="53560" cy="46322"/>
              </a:xfrm>
              <a:custGeom>
                <a:avLst/>
                <a:gdLst/>
                <a:ahLst/>
                <a:cxnLst>
                  <a:cxn ang="0">
                    <a:pos x="0" y="22"/>
                  </a:cxn>
                  <a:cxn ang="0">
                    <a:pos x="13" y="11"/>
                  </a:cxn>
                  <a:cxn ang="0">
                    <a:pos x="24" y="1"/>
                  </a:cxn>
                  <a:cxn ang="0">
                    <a:pos x="34" y="0"/>
                  </a:cxn>
                  <a:cxn ang="0">
                    <a:pos x="37" y="7"/>
                  </a:cxn>
                  <a:cxn ang="0">
                    <a:pos x="31" y="20"/>
                  </a:cxn>
                  <a:cxn ang="0">
                    <a:pos x="20" y="30"/>
                  </a:cxn>
                  <a:cxn ang="0">
                    <a:pos x="10" y="32"/>
                  </a:cxn>
                  <a:cxn ang="0">
                    <a:pos x="2" y="31"/>
                  </a:cxn>
                  <a:cxn ang="0">
                    <a:pos x="1" y="30"/>
                  </a:cxn>
                  <a:cxn ang="0">
                    <a:pos x="0" y="22"/>
                  </a:cxn>
                </a:cxnLst>
                <a:rect l="0" t="0" r="r" b="b"/>
                <a:pathLst>
                  <a:path w="37" h="32">
                    <a:moveTo>
                      <a:pt x="0" y="22"/>
                    </a:moveTo>
                    <a:lnTo>
                      <a:pt x="13" y="11"/>
                    </a:lnTo>
                    <a:lnTo>
                      <a:pt x="24" y="1"/>
                    </a:lnTo>
                    <a:lnTo>
                      <a:pt x="34" y="0"/>
                    </a:lnTo>
                    <a:lnTo>
                      <a:pt x="37" y="7"/>
                    </a:lnTo>
                    <a:lnTo>
                      <a:pt x="31" y="20"/>
                    </a:lnTo>
                    <a:lnTo>
                      <a:pt x="20" y="30"/>
                    </a:lnTo>
                    <a:lnTo>
                      <a:pt x="10" y="32"/>
                    </a:lnTo>
                    <a:lnTo>
                      <a:pt x="2" y="31"/>
                    </a:lnTo>
                    <a:lnTo>
                      <a:pt x="1" y="30"/>
                    </a:lnTo>
                    <a:lnTo>
                      <a:pt x="0" y="22"/>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6" name="Freeform 13">
              <a:extLst>
                <a:ext uri="{FF2B5EF4-FFF2-40B4-BE49-F238E27FC236}">
                  <a16:creationId xmlns:a16="http://schemas.microsoft.com/office/drawing/2014/main" id="{34C51F68-B1C3-42E8-99DA-09ED817582F4}"/>
                </a:ext>
              </a:extLst>
            </p:cNvPr>
            <p:cNvSpPr>
              <a:spLocks/>
            </p:cNvSpPr>
            <p:nvPr/>
          </p:nvSpPr>
          <p:spPr bwMode="auto">
            <a:xfrm>
              <a:off x="3976196" y="3102676"/>
              <a:ext cx="165021" cy="136070"/>
            </a:xfrm>
            <a:custGeom>
              <a:avLst/>
              <a:gdLst/>
              <a:ahLst/>
              <a:cxnLst>
                <a:cxn ang="0">
                  <a:pos x="2" y="0"/>
                </a:cxn>
                <a:cxn ang="0">
                  <a:pos x="22" y="7"/>
                </a:cxn>
                <a:cxn ang="0">
                  <a:pos x="38" y="20"/>
                </a:cxn>
                <a:cxn ang="0">
                  <a:pos x="56" y="26"/>
                </a:cxn>
                <a:cxn ang="0">
                  <a:pos x="74" y="31"/>
                </a:cxn>
                <a:cxn ang="0">
                  <a:pos x="91" y="33"/>
                </a:cxn>
                <a:cxn ang="0">
                  <a:pos x="106" y="34"/>
                </a:cxn>
                <a:cxn ang="0">
                  <a:pos x="114" y="51"/>
                </a:cxn>
                <a:cxn ang="0">
                  <a:pos x="114" y="71"/>
                </a:cxn>
                <a:cxn ang="0">
                  <a:pos x="110" y="87"/>
                </a:cxn>
                <a:cxn ang="0">
                  <a:pos x="91" y="94"/>
                </a:cxn>
                <a:cxn ang="0">
                  <a:pos x="77" y="91"/>
                </a:cxn>
                <a:cxn ang="0">
                  <a:pos x="68" y="83"/>
                </a:cxn>
                <a:cxn ang="0">
                  <a:pos x="53" y="82"/>
                </a:cxn>
                <a:cxn ang="0">
                  <a:pos x="41" y="74"/>
                </a:cxn>
                <a:cxn ang="0">
                  <a:pos x="37" y="46"/>
                </a:cxn>
                <a:cxn ang="0">
                  <a:pos x="8" y="29"/>
                </a:cxn>
                <a:cxn ang="0">
                  <a:pos x="1" y="14"/>
                </a:cxn>
                <a:cxn ang="0">
                  <a:pos x="0" y="5"/>
                </a:cxn>
                <a:cxn ang="0">
                  <a:pos x="2" y="0"/>
                </a:cxn>
              </a:cxnLst>
              <a:rect l="0" t="0" r="r" b="b"/>
              <a:pathLst>
                <a:path w="114" h="94">
                  <a:moveTo>
                    <a:pt x="2" y="0"/>
                  </a:moveTo>
                  <a:lnTo>
                    <a:pt x="22" y="7"/>
                  </a:lnTo>
                  <a:lnTo>
                    <a:pt x="38" y="20"/>
                  </a:lnTo>
                  <a:lnTo>
                    <a:pt x="56" y="26"/>
                  </a:lnTo>
                  <a:lnTo>
                    <a:pt x="74" y="31"/>
                  </a:lnTo>
                  <a:lnTo>
                    <a:pt x="91" y="33"/>
                  </a:lnTo>
                  <a:lnTo>
                    <a:pt x="106" y="34"/>
                  </a:lnTo>
                  <a:lnTo>
                    <a:pt x="114" y="51"/>
                  </a:lnTo>
                  <a:lnTo>
                    <a:pt x="114" y="71"/>
                  </a:lnTo>
                  <a:lnTo>
                    <a:pt x="110" y="87"/>
                  </a:lnTo>
                  <a:lnTo>
                    <a:pt x="91" y="94"/>
                  </a:lnTo>
                  <a:lnTo>
                    <a:pt x="77" y="91"/>
                  </a:lnTo>
                  <a:lnTo>
                    <a:pt x="68" y="83"/>
                  </a:lnTo>
                  <a:lnTo>
                    <a:pt x="53" y="82"/>
                  </a:lnTo>
                  <a:lnTo>
                    <a:pt x="41" y="74"/>
                  </a:lnTo>
                  <a:lnTo>
                    <a:pt x="37" y="46"/>
                  </a:lnTo>
                  <a:lnTo>
                    <a:pt x="8" y="29"/>
                  </a:lnTo>
                  <a:lnTo>
                    <a:pt x="1" y="14"/>
                  </a:lnTo>
                  <a:lnTo>
                    <a:pt x="0" y="5"/>
                  </a:lnTo>
                  <a:lnTo>
                    <a:pt x="2"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7" name="Freeform 14">
              <a:extLst>
                <a:ext uri="{FF2B5EF4-FFF2-40B4-BE49-F238E27FC236}">
                  <a16:creationId xmlns:a16="http://schemas.microsoft.com/office/drawing/2014/main" id="{76AB0E05-5B18-4183-8B9C-B0DF645AA121}"/>
                </a:ext>
              </a:extLst>
            </p:cNvPr>
            <p:cNvSpPr>
              <a:spLocks/>
            </p:cNvSpPr>
            <p:nvPr/>
          </p:nvSpPr>
          <p:spPr bwMode="auto">
            <a:xfrm>
              <a:off x="3935665" y="2807376"/>
              <a:ext cx="63692" cy="104224"/>
            </a:xfrm>
            <a:custGeom>
              <a:avLst/>
              <a:gdLst/>
              <a:ahLst/>
              <a:cxnLst>
                <a:cxn ang="0">
                  <a:pos x="1" y="7"/>
                </a:cxn>
                <a:cxn ang="0">
                  <a:pos x="12" y="6"/>
                </a:cxn>
                <a:cxn ang="0">
                  <a:pos x="18" y="0"/>
                </a:cxn>
                <a:cxn ang="0">
                  <a:pos x="26" y="0"/>
                </a:cxn>
                <a:cxn ang="0">
                  <a:pos x="37" y="9"/>
                </a:cxn>
                <a:cxn ang="0">
                  <a:pos x="44" y="23"/>
                </a:cxn>
                <a:cxn ang="0">
                  <a:pos x="44" y="44"/>
                </a:cxn>
                <a:cxn ang="0">
                  <a:pos x="37" y="63"/>
                </a:cxn>
                <a:cxn ang="0">
                  <a:pos x="27" y="71"/>
                </a:cxn>
                <a:cxn ang="0">
                  <a:pos x="12" y="72"/>
                </a:cxn>
                <a:cxn ang="0">
                  <a:pos x="6" y="58"/>
                </a:cxn>
                <a:cxn ang="0">
                  <a:pos x="5" y="47"/>
                </a:cxn>
                <a:cxn ang="0">
                  <a:pos x="0" y="44"/>
                </a:cxn>
                <a:cxn ang="0">
                  <a:pos x="0" y="29"/>
                </a:cxn>
                <a:cxn ang="0">
                  <a:pos x="1" y="7"/>
                </a:cxn>
              </a:cxnLst>
              <a:rect l="0" t="0" r="r" b="b"/>
              <a:pathLst>
                <a:path w="44" h="72">
                  <a:moveTo>
                    <a:pt x="1" y="7"/>
                  </a:moveTo>
                  <a:lnTo>
                    <a:pt x="12" y="6"/>
                  </a:lnTo>
                  <a:lnTo>
                    <a:pt x="18" y="0"/>
                  </a:lnTo>
                  <a:lnTo>
                    <a:pt x="26" y="0"/>
                  </a:lnTo>
                  <a:lnTo>
                    <a:pt x="37" y="9"/>
                  </a:lnTo>
                  <a:lnTo>
                    <a:pt x="44" y="23"/>
                  </a:lnTo>
                  <a:lnTo>
                    <a:pt x="44" y="44"/>
                  </a:lnTo>
                  <a:lnTo>
                    <a:pt x="37" y="63"/>
                  </a:lnTo>
                  <a:lnTo>
                    <a:pt x="27" y="71"/>
                  </a:lnTo>
                  <a:lnTo>
                    <a:pt x="12" y="72"/>
                  </a:lnTo>
                  <a:lnTo>
                    <a:pt x="6" y="58"/>
                  </a:lnTo>
                  <a:lnTo>
                    <a:pt x="5" y="47"/>
                  </a:lnTo>
                  <a:lnTo>
                    <a:pt x="0" y="44"/>
                  </a:lnTo>
                  <a:lnTo>
                    <a:pt x="0" y="29"/>
                  </a:lnTo>
                  <a:lnTo>
                    <a:pt x="1" y="7"/>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8" name="Gruppieren 1">
              <a:extLst>
                <a:ext uri="{FF2B5EF4-FFF2-40B4-BE49-F238E27FC236}">
                  <a16:creationId xmlns:a16="http://schemas.microsoft.com/office/drawing/2014/main" id="{5178A8B3-B0C9-4C29-8665-1E5C17245090}"/>
                </a:ext>
              </a:extLst>
            </p:cNvPr>
            <p:cNvGrpSpPr/>
            <p:nvPr/>
          </p:nvGrpSpPr>
          <p:grpSpPr bwMode="auto">
            <a:xfrm>
              <a:off x="3886448" y="2009775"/>
              <a:ext cx="961175" cy="1006049"/>
              <a:chOff x="3886448" y="2009775"/>
              <a:chExt cx="961175" cy="1006049"/>
            </a:xfrm>
            <a:grpFill/>
          </p:grpSpPr>
          <p:sp>
            <p:nvSpPr>
              <p:cNvPr id="26" name="Freeform 15">
                <a:extLst>
                  <a:ext uri="{FF2B5EF4-FFF2-40B4-BE49-F238E27FC236}">
                    <a16:creationId xmlns:a16="http://schemas.microsoft.com/office/drawing/2014/main" id="{7DE4F320-0751-4A5C-BFCD-2C99A0AFC857}"/>
                  </a:ext>
                </a:extLst>
              </p:cNvPr>
              <p:cNvSpPr>
                <a:spLocks/>
              </p:cNvSpPr>
              <p:nvPr/>
            </p:nvSpPr>
            <p:spPr bwMode="auto">
              <a:xfrm>
                <a:off x="3995015" y="2151635"/>
                <a:ext cx="793259" cy="864189"/>
              </a:xfrm>
              <a:custGeom>
                <a:avLst/>
                <a:gdLst/>
                <a:ahLst/>
                <a:cxnLst>
                  <a:cxn ang="0">
                    <a:pos x="48" y="7"/>
                  </a:cxn>
                  <a:cxn ang="0">
                    <a:pos x="72" y="18"/>
                  </a:cxn>
                  <a:cxn ang="0">
                    <a:pos x="110" y="15"/>
                  </a:cxn>
                  <a:cxn ang="0">
                    <a:pos x="174" y="46"/>
                  </a:cxn>
                  <a:cxn ang="0">
                    <a:pos x="209" y="19"/>
                  </a:cxn>
                  <a:cxn ang="0">
                    <a:pos x="239" y="33"/>
                  </a:cxn>
                  <a:cxn ang="0">
                    <a:pos x="290" y="42"/>
                  </a:cxn>
                  <a:cxn ang="0">
                    <a:pos x="305" y="84"/>
                  </a:cxn>
                  <a:cxn ang="0">
                    <a:pos x="280" y="110"/>
                  </a:cxn>
                  <a:cxn ang="0">
                    <a:pos x="239" y="140"/>
                  </a:cxn>
                  <a:cxn ang="0">
                    <a:pos x="282" y="140"/>
                  </a:cxn>
                  <a:cxn ang="0">
                    <a:pos x="294" y="118"/>
                  </a:cxn>
                  <a:cxn ang="0">
                    <a:pos x="299" y="159"/>
                  </a:cxn>
                  <a:cxn ang="0">
                    <a:pos x="276" y="184"/>
                  </a:cxn>
                  <a:cxn ang="0">
                    <a:pos x="341" y="184"/>
                  </a:cxn>
                  <a:cxn ang="0">
                    <a:pos x="355" y="215"/>
                  </a:cxn>
                  <a:cxn ang="0">
                    <a:pos x="374" y="199"/>
                  </a:cxn>
                  <a:cxn ang="0">
                    <a:pos x="401" y="191"/>
                  </a:cxn>
                  <a:cxn ang="0">
                    <a:pos x="443" y="223"/>
                  </a:cxn>
                  <a:cxn ang="0">
                    <a:pos x="492" y="219"/>
                  </a:cxn>
                  <a:cxn ang="0">
                    <a:pos x="528" y="203"/>
                  </a:cxn>
                  <a:cxn ang="0">
                    <a:pos x="548" y="247"/>
                  </a:cxn>
                  <a:cxn ang="0">
                    <a:pos x="521" y="297"/>
                  </a:cxn>
                  <a:cxn ang="0">
                    <a:pos x="495" y="320"/>
                  </a:cxn>
                  <a:cxn ang="0">
                    <a:pos x="474" y="307"/>
                  </a:cxn>
                  <a:cxn ang="0">
                    <a:pos x="474" y="338"/>
                  </a:cxn>
                  <a:cxn ang="0">
                    <a:pos x="491" y="366"/>
                  </a:cxn>
                  <a:cxn ang="0">
                    <a:pos x="465" y="394"/>
                  </a:cxn>
                  <a:cxn ang="0">
                    <a:pos x="469" y="433"/>
                  </a:cxn>
                  <a:cxn ang="0">
                    <a:pos x="490" y="479"/>
                  </a:cxn>
                  <a:cxn ang="0">
                    <a:pos x="481" y="513"/>
                  </a:cxn>
                  <a:cxn ang="0">
                    <a:pos x="448" y="521"/>
                  </a:cxn>
                  <a:cxn ang="0">
                    <a:pos x="434" y="553"/>
                  </a:cxn>
                  <a:cxn ang="0">
                    <a:pos x="437" y="594"/>
                  </a:cxn>
                  <a:cxn ang="0">
                    <a:pos x="400" y="585"/>
                  </a:cxn>
                  <a:cxn ang="0">
                    <a:pos x="359" y="548"/>
                  </a:cxn>
                  <a:cxn ang="0">
                    <a:pos x="340" y="503"/>
                  </a:cxn>
                  <a:cxn ang="0">
                    <a:pos x="339" y="464"/>
                  </a:cxn>
                  <a:cxn ang="0">
                    <a:pos x="300" y="481"/>
                  </a:cxn>
                  <a:cxn ang="0">
                    <a:pos x="260" y="503"/>
                  </a:cxn>
                  <a:cxn ang="0">
                    <a:pos x="243" y="533"/>
                  </a:cxn>
                  <a:cxn ang="0">
                    <a:pos x="198" y="481"/>
                  </a:cxn>
                  <a:cxn ang="0">
                    <a:pos x="166" y="419"/>
                  </a:cxn>
                  <a:cxn ang="0">
                    <a:pos x="98" y="386"/>
                  </a:cxn>
                  <a:cxn ang="0">
                    <a:pos x="56" y="349"/>
                  </a:cxn>
                  <a:cxn ang="0">
                    <a:pos x="67" y="331"/>
                  </a:cxn>
                  <a:cxn ang="0">
                    <a:pos x="92" y="327"/>
                  </a:cxn>
                  <a:cxn ang="0">
                    <a:pos x="82" y="298"/>
                  </a:cxn>
                  <a:cxn ang="0">
                    <a:pos x="48" y="290"/>
                  </a:cxn>
                  <a:cxn ang="0">
                    <a:pos x="42" y="264"/>
                  </a:cxn>
                  <a:cxn ang="0">
                    <a:pos x="68" y="240"/>
                  </a:cxn>
                  <a:cxn ang="0">
                    <a:pos x="54" y="227"/>
                  </a:cxn>
                  <a:cxn ang="0">
                    <a:pos x="14" y="247"/>
                  </a:cxn>
                  <a:cxn ang="0">
                    <a:pos x="0" y="230"/>
                  </a:cxn>
                  <a:cxn ang="0">
                    <a:pos x="27" y="205"/>
                  </a:cxn>
                  <a:cxn ang="0">
                    <a:pos x="64" y="195"/>
                  </a:cxn>
                  <a:cxn ang="0">
                    <a:pos x="83" y="168"/>
                  </a:cxn>
                  <a:cxn ang="0">
                    <a:pos x="74" y="132"/>
                  </a:cxn>
                  <a:cxn ang="0">
                    <a:pos x="39" y="115"/>
                  </a:cxn>
                  <a:cxn ang="0">
                    <a:pos x="32" y="90"/>
                  </a:cxn>
                  <a:cxn ang="0">
                    <a:pos x="36" y="55"/>
                  </a:cxn>
                  <a:cxn ang="0">
                    <a:pos x="13" y="32"/>
                  </a:cxn>
                  <a:cxn ang="0">
                    <a:pos x="11" y="0"/>
                  </a:cxn>
                </a:cxnLst>
                <a:rect l="0" t="0" r="r" b="b"/>
                <a:pathLst>
                  <a:path w="548" h="597">
                    <a:moveTo>
                      <a:pt x="11" y="0"/>
                    </a:moveTo>
                    <a:lnTo>
                      <a:pt x="33" y="1"/>
                    </a:lnTo>
                    <a:lnTo>
                      <a:pt x="48" y="7"/>
                    </a:lnTo>
                    <a:lnTo>
                      <a:pt x="60" y="16"/>
                    </a:lnTo>
                    <a:lnTo>
                      <a:pt x="66" y="21"/>
                    </a:lnTo>
                    <a:lnTo>
                      <a:pt x="72" y="18"/>
                    </a:lnTo>
                    <a:lnTo>
                      <a:pt x="79" y="10"/>
                    </a:lnTo>
                    <a:lnTo>
                      <a:pt x="100" y="10"/>
                    </a:lnTo>
                    <a:lnTo>
                      <a:pt x="110" y="15"/>
                    </a:lnTo>
                    <a:lnTo>
                      <a:pt x="134" y="29"/>
                    </a:lnTo>
                    <a:lnTo>
                      <a:pt x="156" y="40"/>
                    </a:lnTo>
                    <a:lnTo>
                      <a:pt x="174" y="46"/>
                    </a:lnTo>
                    <a:lnTo>
                      <a:pt x="190" y="44"/>
                    </a:lnTo>
                    <a:lnTo>
                      <a:pt x="194" y="27"/>
                    </a:lnTo>
                    <a:lnTo>
                      <a:pt x="209" y="19"/>
                    </a:lnTo>
                    <a:lnTo>
                      <a:pt x="224" y="20"/>
                    </a:lnTo>
                    <a:lnTo>
                      <a:pt x="232" y="27"/>
                    </a:lnTo>
                    <a:lnTo>
                      <a:pt x="239" y="33"/>
                    </a:lnTo>
                    <a:lnTo>
                      <a:pt x="257" y="36"/>
                    </a:lnTo>
                    <a:lnTo>
                      <a:pt x="278" y="40"/>
                    </a:lnTo>
                    <a:lnTo>
                      <a:pt x="290" y="42"/>
                    </a:lnTo>
                    <a:lnTo>
                      <a:pt x="303" y="55"/>
                    </a:lnTo>
                    <a:lnTo>
                      <a:pt x="305" y="72"/>
                    </a:lnTo>
                    <a:lnTo>
                      <a:pt x="305" y="84"/>
                    </a:lnTo>
                    <a:lnTo>
                      <a:pt x="301" y="94"/>
                    </a:lnTo>
                    <a:lnTo>
                      <a:pt x="290" y="103"/>
                    </a:lnTo>
                    <a:lnTo>
                      <a:pt x="280" y="110"/>
                    </a:lnTo>
                    <a:lnTo>
                      <a:pt x="267" y="122"/>
                    </a:lnTo>
                    <a:lnTo>
                      <a:pt x="257" y="131"/>
                    </a:lnTo>
                    <a:lnTo>
                      <a:pt x="239" y="140"/>
                    </a:lnTo>
                    <a:lnTo>
                      <a:pt x="251" y="147"/>
                    </a:lnTo>
                    <a:lnTo>
                      <a:pt x="269" y="147"/>
                    </a:lnTo>
                    <a:lnTo>
                      <a:pt x="282" y="140"/>
                    </a:lnTo>
                    <a:lnTo>
                      <a:pt x="284" y="128"/>
                    </a:lnTo>
                    <a:lnTo>
                      <a:pt x="286" y="119"/>
                    </a:lnTo>
                    <a:lnTo>
                      <a:pt x="294" y="118"/>
                    </a:lnTo>
                    <a:lnTo>
                      <a:pt x="298" y="125"/>
                    </a:lnTo>
                    <a:lnTo>
                      <a:pt x="299" y="141"/>
                    </a:lnTo>
                    <a:lnTo>
                      <a:pt x="299" y="159"/>
                    </a:lnTo>
                    <a:lnTo>
                      <a:pt x="294" y="169"/>
                    </a:lnTo>
                    <a:lnTo>
                      <a:pt x="284" y="178"/>
                    </a:lnTo>
                    <a:lnTo>
                      <a:pt x="276" y="184"/>
                    </a:lnTo>
                    <a:lnTo>
                      <a:pt x="303" y="182"/>
                    </a:lnTo>
                    <a:lnTo>
                      <a:pt x="326" y="182"/>
                    </a:lnTo>
                    <a:lnTo>
                      <a:pt x="341" y="184"/>
                    </a:lnTo>
                    <a:lnTo>
                      <a:pt x="349" y="193"/>
                    </a:lnTo>
                    <a:lnTo>
                      <a:pt x="352" y="205"/>
                    </a:lnTo>
                    <a:lnTo>
                      <a:pt x="355" y="215"/>
                    </a:lnTo>
                    <a:lnTo>
                      <a:pt x="363" y="219"/>
                    </a:lnTo>
                    <a:lnTo>
                      <a:pt x="370" y="211"/>
                    </a:lnTo>
                    <a:lnTo>
                      <a:pt x="374" y="199"/>
                    </a:lnTo>
                    <a:lnTo>
                      <a:pt x="375" y="189"/>
                    </a:lnTo>
                    <a:lnTo>
                      <a:pt x="389" y="185"/>
                    </a:lnTo>
                    <a:lnTo>
                      <a:pt x="401" y="191"/>
                    </a:lnTo>
                    <a:lnTo>
                      <a:pt x="416" y="203"/>
                    </a:lnTo>
                    <a:lnTo>
                      <a:pt x="432" y="219"/>
                    </a:lnTo>
                    <a:lnTo>
                      <a:pt x="443" y="223"/>
                    </a:lnTo>
                    <a:lnTo>
                      <a:pt x="462" y="229"/>
                    </a:lnTo>
                    <a:lnTo>
                      <a:pt x="482" y="228"/>
                    </a:lnTo>
                    <a:lnTo>
                      <a:pt x="492" y="219"/>
                    </a:lnTo>
                    <a:lnTo>
                      <a:pt x="499" y="208"/>
                    </a:lnTo>
                    <a:lnTo>
                      <a:pt x="511" y="201"/>
                    </a:lnTo>
                    <a:lnTo>
                      <a:pt x="528" y="203"/>
                    </a:lnTo>
                    <a:lnTo>
                      <a:pt x="541" y="213"/>
                    </a:lnTo>
                    <a:lnTo>
                      <a:pt x="545" y="226"/>
                    </a:lnTo>
                    <a:lnTo>
                      <a:pt x="548" y="247"/>
                    </a:lnTo>
                    <a:lnTo>
                      <a:pt x="542" y="264"/>
                    </a:lnTo>
                    <a:lnTo>
                      <a:pt x="529" y="285"/>
                    </a:lnTo>
                    <a:lnTo>
                      <a:pt x="521" y="297"/>
                    </a:lnTo>
                    <a:lnTo>
                      <a:pt x="521" y="308"/>
                    </a:lnTo>
                    <a:lnTo>
                      <a:pt x="508" y="319"/>
                    </a:lnTo>
                    <a:lnTo>
                      <a:pt x="495" y="320"/>
                    </a:lnTo>
                    <a:lnTo>
                      <a:pt x="486" y="318"/>
                    </a:lnTo>
                    <a:lnTo>
                      <a:pt x="480" y="308"/>
                    </a:lnTo>
                    <a:lnTo>
                      <a:pt x="474" y="307"/>
                    </a:lnTo>
                    <a:lnTo>
                      <a:pt x="469" y="311"/>
                    </a:lnTo>
                    <a:lnTo>
                      <a:pt x="470" y="324"/>
                    </a:lnTo>
                    <a:lnTo>
                      <a:pt x="474" y="338"/>
                    </a:lnTo>
                    <a:lnTo>
                      <a:pt x="483" y="343"/>
                    </a:lnTo>
                    <a:lnTo>
                      <a:pt x="491" y="352"/>
                    </a:lnTo>
                    <a:lnTo>
                      <a:pt x="491" y="366"/>
                    </a:lnTo>
                    <a:lnTo>
                      <a:pt x="485" y="377"/>
                    </a:lnTo>
                    <a:lnTo>
                      <a:pt x="478" y="387"/>
                    </a:lnTo>
                    <a:lnTo>
                      <a:pt x="465" y="394"/>
                    </a:lnTo>
                    <a:lnTo>
                      <a:pt x="460" y="406"/>
                    </a:lnTo>
                    <a:lnTo>
                      <a:pt x="460" y="422"/>
                    </a:lnTo>
                    <a:lnTo>
                      <a:pt x="469" y="433"/>
                    </a:lnTo>
                    <a:lnTo>
                      <a:pt x="479" y="448"/>
                    </a:lnTo>
                    <a:lnTo>
                      <a:pt x="486" y="462"/>
                    </a:lnTo>
                    <a:lnTo>
                      <a:pt x="490" y="479"/>
                    </a:lnTo>
                    <a:lnTo>
                      <a:pt x="493" y="492"/>
                    </a:lnTo>
                    <a:lnTo>
                      <a:pt x="491" y="505"/>
                    </a:lnTo>
                    <a:lnTo>
                      <a:pt x="481" y="513"/>
                    </a:lnTo>
                    <a:lnTo>
                      <a:pt x="469" y="518"/>
                    </a:lnTo>
                    <a:lnTo>
                      <a:pt x="458" y="517"/>
                    </a:lnTo>
                    <a:lnTo>
                      <a:pt x="448" y="521"/>
                    </a:lnTo>
                    <a:lnTo>
                      <a:pt x="440" y="527"/>
                    </a:lnTo>
                    <a:lnTo>
                      <a:pt x="434" y="539"/>
                    </a:lnTo>
                    <a:lnTo>
                      <a:pt x="434" y="553"/>
                    </a:lnTo>
                    <a:lnTo>
                      <a:pt x="435" y="574"/>
                    </a:lnTo>
                    <a:lnTo>
                      <a:pt x="438" y="589"/>
                    </a:lnTo>
                    <a:lnTo>
                      <a:pt x="437" y="594"/>
                    </a:lnTo>
                    <a:lnTo>
                      <a:pt x="428" y="597"/>
                    </a:lnTo>
                    <a:lnTo>
                      <a:pt x="412" y="591"/>
                    </a:lnTo>
                    <a:lnTo>
                      <a:pt x="400" y="585"/>
                    </a:lnTo>
                    <a:lnTo>
                      <a:pt x="388" y="577"/>
                    </a:lnTo>
                    <a:lnTo>
                      <a:pt x="372" y="562"/>
                    </a:lnTo>
                    <a:lnTo>
                      <a:pt x="359" y="548"/>
                    </a:lnTo>
                    <a:lnTo>
                      <a:pt x="345" y="537"/>
                    </a:lnTo>
                    <a:lnTo>
                      <a:pt x="340" y="520"/>
                    </a:lnTo>
                    <a:lnTo>
                      <a:pt x="340" y="503"/>
                    </a:lnTo>
                    <a:lnTo>
                      <a:pt x="340" y="490"/>
                    </a:lnTo>
                    <a:lnTo>
                      <a:pt x="339" y="479"/>
                    </a:lnTo>
                    <a:lnTo>
                      <a:pt x="339" y="464"/>
                    </a:lnTo>
                    <a:lnTo>
                      <a:pt x="334" y="458"/>
                    </a:lnTo>
                    <a:lnTo>
                      <a:pt x="317" y="464"/>
                    </a:lnTo>
                    <a:lnTo>
                      <a:pt x="300" y="481"/>
                    </a:lnTo>
                    <a:lnTo>
                      <a:pt x="285" y="490"/>
                    </a:lnTo>
                    <a:lnTo>
                      <a:pt x="269" y="496"/>
                    </a:lnTo>
                    <a:lnTo>
                      <a:pt x="260" y="503"/>
                    </a:lnTo>
                    <a:lnTo>
                      <a:pt x="252" y="511"/>
                    </a:lnTo>
                    <a:lnTo>
                      <a:pt x="247" y="521"/>
                    </a:lnTo>
                    <a:lnTo>
                      <a:pt x="243" y="533"/>
                    </a:lnTo>
                    <a:lnTo>
                      <a:pt x="226" y="517"/>
                    </a:lnTo>
                    <a:lnTo>
                      <a:pt x="213" y="502"/>
                    </a:lnTo>
                    <a:lnTo>
                      <a:pt x="198" y="481"/>
                    </a:lnTo>
                    <a:lnTo>
                      <a:pt x="191" y="460"/>
                    </a:lnTo>
                    <a:lnTo>
                      <a:pt x="179" y="435"/>
                    </a:lnTo>
                    <a:lnTo>
                      <a:pt x="166" y="419"/>
                    </a:lnTo>
                    <a:lnTo>
                      <a:pt x="146" y="403"/>
                    </a:lnTo>
                    <a:lnTo>
                      <a:pt x="119" y="393"/>
                    </a:lnTo>
                    <a:lnTo>
                      <a:pt x="98" y="386"/>
                    </a:lnTo>
                    <a:lnTo>
                      <a:pt x="77" y="376"/>
                    </a:lnTo>
                    <a:lnTo>
                      <a:pt x="64" y="364"/>
                    </a:lnTo>
                    <a:lnTo>
                      <a:pt x="56" y="349"/>
                    </a:lnTo>
                    <a:lnTo>
                      <a:pt x="55" y="335"/>
                    </a:lnTo>
                    <a:lnTo>
                      <a:pt x="58" y="330"/>
                    </a:lnTo>
                    <a:lnTo>
                      <a:pt x="67" y="331"/>
                    </a:lnTo>
                    <a:lnTo>
                      <a:pt x="77" y="332"/>
                    </a:lnTo>
                    <a:lnTo>
                      <a:pt x="85" y="332"/>
                    </a:lnTo>
                    <a:lnTo>
                      <a:pt x="92" y="327"/>
                    </a:lnTo>
                    <a:lnTo>
                      <a:pt x="93" y="318"/>
                    </a:lnTo>
                    <a:lnTo>
                      <a:pt x="91" y="308"/>
                    </a:lnTo>
                    <a:lnTo>
                      <a:pt x="82" y="298"/>
                    </a:lnTo>
                    <a:lnTo>
                      <a:pt x="75" y="290"/>
                    </a:lnTo>
                    <a:lnTo>
                      <a:pt x="60" y="290"/>
                    </a:lnTo>
                    <a:lnTo>
                      <a:pt x="48" y="290"/>
                    </a:lnTo>
                    <a:lnTo>
                      <a:pt x="41" y="286"/>
                    </a:lnTo>
                    <a:lnTo>
                      <a:pt x="39" y="275"/>
                    </a:lnTo>
                    <a:lnTo>
                      <a:pt x="42" y="264"/>
                    </a:lnTo>
                    <a:lnTo>
                      <a:pt x="50" y="255"/>
                    </a:lnTo>
                    <a:lnTo>
                      <a:pt x="60" y="247"/>
                    </a:lnTo>
                    <a:lnTo>
                      <a:pt x="68" y="240"/>
                    </a:lnTo>
                    <a:lnTo>
                      <a:pt x="68" y="232"/>
                    </a:lnTo>
                    <a:lnTo>
                      <a:pt x="64" y="227"/>
                    </a:lnTo>
                    <a:lnTo>
                      <a:pt x="54" y="227"/>
                    </a:lnTo>
                    <a:lnTo>
                      <a:pt x="41" y="231"/>
                    </a:lnTo>
                    <a:lnTo>
                      <a:pt x="27" y="240"/>
                    </a:lnTo>
                    <a:lnTo>
                      <a:pt x="14" y="247"/>
                    </a:lnTo>
                    <a:lnTo>
                      <a:pt x="8" y="247"/>
                    </a:lnTo>
                    <a:lnTo>
                      <a:pt x="0" y="239"/>
                    </a:lnTo>
                    <a:lnTo>
                      <a:pt x="0" y="230"/>
                    </a:lnTo>
                    <a:lnTo>
                      <a:pt x="4" y="221"/>
                    </a:lnTo>
                    <a:lnTo>
                      <a:pt x="12" y="215"/>
                    </a:lnTo>
                    <a:lnTo>
                      <a:pt x="27" y="205"/>
                    </a:lnTo>
                    <a:lnTo>
                      <a:pt x="42" y="201"/>
                    </a:lnTo>
                    <a:lnTo>
                      <a:pt x="54" y="197"/>
                    </a:lnTo>
                    <a:lnTo>
                      <a:pt x="64" y="195"/>
                    </a:lnTo>
                    <a:lnTo>
                      <a:pt x="74" y="189"/>
                    </a:lnTo>
                    <a:lnTo>
                      <a:pt x="81" y="182"/>
                    </a:lnTo>
                    <a:lnTo>
                      <a:pt x="83" y="168"/>
                    </a:lnTo>
                    <a:lnTo>
                      <a:pt x="83" y="154"/>
                    </a:lnTo>
                    <a:lnTo>
                      <a:pt x="82" y="141"/>
                    </a:lnTo>
                    <a:lnTo>
                      <a:pt x="74" y="132"/>
                    </a:lnTo>
                    <a:lnTo>
                      <a:pt x="64" y="126"/>
                    </a:lnTo>
                    <a:lnTo>
                      <a:pt x="51" y="120"/>
                    </a:lnTo>
                    <a:lnTo>
                      <a:pt x="39" y="115"/>
                    </a:lnTo>
                    <a:lnTo>
                      <a:pt x="37" y="110"/>
                    </a:lnTo>
                    <a:lnTo>
                      <a:pt x="32" y="100"/>
                    </a:lnTo>
                    <a:lnTo>
                      <a:pt x="32" y="90"/>
                    </a:lnTo>
                    <a:lnTo>
                      <a:pt x="34" y="80"/>
                    </a:lnTo>
                    <a:lnTo>
                      <a:pt x="35" y="68"/>
                    </a:lnTo>
                    <a:lnTo>
                      <a:pt x="36" y="55"/>
                    </a:lnTo>
                    <a:lnTo>
                      <a:pt x="30" y="43"/>
                    </a:lnTo>
                    <a:lnTo>
                      <a:pt x="19" y="35"/>
                    </a:lnTo>
                    <a:lnTo>
                      <a:pt x="13" y="32"/>
                    </a:lnTo>
                    <a:lnTo>
                      <a:pt x="6" y="19"/>
                    </a:lnTo>
                    <a:lnTo>
                      <a:pt x="6" y="7"/>
                    </a:lnTo>
                    <a:lnTo>
                      <a:pt x="11"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Freeform 16">
                <a:extLst>
                  <a:ext uri="{FF2B5EF4-FFF2-40B4-BE49-F238E27FC236}">
                    <a16:creationId xmlns:a16="http://schemas.microsoft.com/office/drawing/2014/main" id="{3BF58457-A651-4416-A6E9-CB531D3D716D}"/>
                  </a:ext>
                </a:extLst>
              </p:cNvPr>
              <p:cNvSpPr>
                <a:spLocks/>
              </p:cNvSpPr>
              <p:nvPr/>
            </p:nvSpPr>
            <p:spPr bwMode="auto">
              <a:xfrm>
                <a:off x="4759322" y="2373110"/>
                <a:ext cx="88301" cy="102777"/>
              </a:xfrm>
              <a:custGeom>
                <a:avLst/>
                <a:gdLst/>
                <a:ahLst/>
                <a:cxnLst>
                  <a:cxn ang="0">
                    <a:pos x="32" y="71"/>
                  </a:cxn>
                  <a:cxn ang="0">
                    <a:pos x="25" y="53"/>
                  </a:cxn>
                  <a:cxn ang="0">
                    <a:pos x="20" y="42"/>
                  </a:cxn>
                  <a:cxn ang="0">
                    <a:pos x="8" y="38"/>
                  </a:cxn>
                  <a:cxn ang="0">
                    <a:pos x="0" y="30"/>
                  </a:cxn>
                  <a:cxn ang="0">
                    <a:pos x="0" y="17"/>
                  </a:cxn>
                  <a:cxn ang="0">
                    <a:pos x="4" y="5"/>
                  </a:cxn>
                  <a:cxn ang="0">
                    <a:pos x="15" y="0"/>
                  </a:cxn>
                  <a:cxn ang="0">
                    <a:pos x="29" y="1"/>
                  </a:cxn>
                  <a:cxn ang="0">
                    <a:pos x="39" y="9"/>
                  </a:cxn>
                  <a:cxn ang="0">
                    <a:pos x="50" y="23"/>
                  </a:cxn>
                  <a:cxn ang="0">
                    <a:pos x="60" y="29"/>
                  </a:cxn>
                  <a:cxn ang="0">
                    <a:pos x="61" y="38"/>
                  </a:cxn>
                  <a:cxn ang="0">
                    <a:pos x="58" y="43"/>
                  </a:cxn>
                  <a:cxn ang="0">
                    <a:pos x="44" y="43"/>
                  </a:cxn>
                  <a:cxn ang="0">
                    <a:pos x="35" y="43"/>
                  </a:cxn>
                  <a:cxn ang="0">
                    <a:pos x="35" y="56"/>
                  </a:cxn>
                  <a:cxn ang="0">
                    <a:pos x="36" y="64"/>
                  </a:cxn>
                  <a:cxn ang="0">
                    <a:pos x="32" y="71"/>
                  </a:cxn>
                </a:cxnLst>
                <a:rect l="0" t="0" r="r" b="b"/>
                <a:pathLst>
                  <a:path w="61" h="71">
                    <a:moveTo>
                      <a:pt x="32" y="71"/>
                    </a:moveTo>
                    <a:lnTo>
                      <a:pt x="25" y="53"/>
                    </a:lnTo>
                    <a:lnTo>
                      <a:pt x="20" y="42"/>
                    </a:lnTo>
                    <a:lnTo>
                      <a:pt x="8" y="38"/>
                    </a:lnTo>
                    <a:lnTo>
                      <a:pt x="0" y="30"/>
                    </a:lnTo>
                    <a:lnTo>
                      <a:pt x="0" y="17"/>
                    </a:lnTo>
                    <a:lnTo>
                      <a:pt x="4" y="5"/>
                    </a:lnTo>
                    <a:lnTo>
                      <a:pt x="15" y="0"/>
                    </a:lnTo>
                    <a:lnTo>
                      <a:pt x="29" y="1"/>
                    </a:lnTo>
                    <a:lnTo>
                      <a:pt x="39" y="9"/>
                    </a:lnTo>
                    <a:lnTo>
                      <a:pt x="50" y="23"/>
                    </a:lnTo>
                    <a:lnTo>
                      <a:pt x="60" y="29"/>
                    </a:lnTo>
                    <a:lnTo>
                      <a:pt x="61" y="38"/>
                    </a:lnTo>
                    <a:lnTo>
                      <a:pt x="58" y="43"/>
                    </a:lnTo>
                    <a:lnTo>
                      <a:pt x="44" y="43"/>
                    </a:lnTo>
                    <a:lnTo>
                      <a:pt x="35" y="43"/>
                    </a:lnTo>
                    <a:lnTo>
                      <a:pt x="35" y="56"/>
                    </a:lnTo>
                    <a:lnTo>
                      <a:pt x="36" y="64"/>
                    </a:lnTo>
                    <a:lnTo>
                      <a:pt x="32" y="7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8" name="Freeform 17">
                <a:extLst>
                  <a:ext uri="{FF2B5EF4-FFF2-40B4-BE49-F238E27FC236}">
                    <a16:creationId xmlns:a16="http://schemas.microsoft.com/office/drawing/2014/main" id="{3FDE1BA2-98EA-43A2-B43A-C542579F6CD9}"/>
                  </a:ext>
                </a:extLst>
              </p:cNvPr>
              <p:cNvSpPr>
                <a:spLocks/>
              </p:cNvSpPr>
              <p:nvPr/>
            </p:nvSpPr>
            <p:spPr bwMode="auto">
              <a:xfrm>
                <a:off x="4064497" y="2370215"/>
                <a:ext cx="30399" cy="36189"/>
              </a:xfrm>
              <a:custGeom>
                <a:avLst/>
                <a:gdLst/>
                <a:ahLst/>
                <a:cxnLst>
                  <a:cxn ang="0">
                    <a:pos x="2" y="1"/>
                  </a:cxn>
                  <a:cxn ang="0">
                    <a:pos x="20" y="0"/>
                  </a:cxn>
                  <a:cxn ang="0">
                    <a:pos x="21" y="11"/>
                  </a:cxn>
                  <a:cxn ang="0">
                    <a:pos x="16" y="19"/>
                  </a:cxn>
                  <a:cxn ang="0">
                    <a:pos x="12" y="25"/>
                  </a:cxn>
                  <a:cxn ang="0">
                    <a:pos x="3" y="19"/>
                  </a:cxn>
                  <a:cxn ang="0">
                    <a:pos x="0" y="8"/>
                  </a:cxn>
                  <a:cxn ang="0">
                    <a:pos x="2" y="1"/>
                  </a:cxn>
                </a:cxnLst>
                <a:rect l="0" t="0" r="r" b="b"/>
                <a:pathLst>
                  <a:path w="21" h="25">
                    <a:moveTo>
                      <a:pt x="2" y="1"/>
                    </a:moveTo>
                    <a:lnTo>
                      <a:pt x="20" y="0"/>
                    </a:lnTo>
                    <a:lnTo>
                      <a:pt x="21" y="11"/>
                    </a:lnTo>
                    <a:lnTo>
                      <a:pt x="16" y="19"/>
                    </a:lnTo>
                    <a:lnTo>
                      <a:pt x="12" y="25"/>
                    </a:lnTo>
                    <a:lnTo>
                      <a:pt x="3" y="19"/>
                    </a:lnTo>
                    <a:lnTo>
                      <a:pt x="0" y="8"/>
                    </a:lnTo>
                    <a:lnTo>
                      <a:pt x="2" y="1"/>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9" name="Freeform 18">
                <a:extLst>
                  <a:ext uri="{FF2B5EF4-FFF2-40B4-BE49-F238E27FC236}">
                    <a16:creationId xmlns:a16="http://schemas.microsoft.com/office/drawing/2014/main" id="{569C4BBD-F04F-49BA-91E3-12541C32FCBB}"/>
                  </a:ext>
                </a:extLst>
              </p:cNvPr>
              <p:cNvSpPr>
                <a:spLocks/>
              </p:cNvSpPr>
              <p:nvPr/>
            </p:nvSpPr>
            <p:spPr bwMode="auto">
              <a:xfrm>
                <a:off x="3986330" y="2339817"/>
                <a:ext cx="44875" cy="49217"/>
              </a:xfrm>
              <a:custGeom>
                <a:avLst/>
                <a:gdLst/>
                <a:ahLst/>
                <a:cxnLst>
                  <a:cxn ang="0">
                    <a:pos x="15" y="0"/>
                  </a:cxn>
                  <a:cxn ang="0">
                    <a:pos x="29" y="10"/>
                  </a:cxn>
                  <a:cxn ang="0">
                    <a:pos x="31" y="20"/>
                  </a:cxn>
                  <a:cxn ang="0">
                    <a:pos x="23" y="28"/>
                  </a:cxn>
                  <a:cxn ang="0">
                    <a:pos x="11" y="34"/>
                  </a:cxn>
                  <a:cxn ang="0">
                    <a:pos x="3" y="30"/>
                  </a:cxn>
                  <a:cxn ang="0">
                    <a:pos x="0" y="21"/>
                  </a:cxn>
                  <a:cxn ang="0">
                    <a:pos x="0" y="10"/>
                  </a:cxn>
                  <a:cxn ang="0">
                    <a:pos x="6" y="3"/>
                  </a:cxn>
                  <a:cxn ang="0">
                    <a:pos x="15" y="0"/>
                  </a:cxn>
                </a:cxnLst>
                <a:rect l="0" t="0" r="r" b="b"/>
                <a:pathLst>
                  <a:path w="31" h="34">
                    <a:moveTo>
                      <a:pt x="15" y="0"/>
                    </a:moveTo>
                    <a:lnTo>
                      <a:pt x="29" y="10"/>
                    </a:lnTo>
                    <a:lnTo>
                      <a:pt x="31" y="20"/>
                    </a:lnTo>
                    <a:lnTo>
                      <a:pt x="23" y="28"/>
                    </a:lnTo>
                    <a:lnTo>
                      <a:pt x="11" y="34"/>
                    </a:lnTo>
                    <a:lnTo>
                      <a:pt x="3" y="30"/>
                    </a:lnTo>
                    <a:lnTo>
                      <a:pt x="0" y="21"/>
                    </a:lnTo>
                    <a:lnTo>
                      <a:pt x="0" y="10"/>
                    </a:lnTo>
                    <a:lnTo>
                      <a:pt x="6" y="3"/>
                    </a:lnTo>
                    <a:lnTo>
                      <a:pt x="15"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0" name="Freeform 19">
                <a:extLst>
                  <a:ext uri="{FF2B5EF4-FFF2-40B4-BE49-F238E27FC236}">
                    <a16:creationId xmlns:a16="http://schemas.microsoft.com/office/drawing/2014/main" id="{92731D06-12C9-4FC0-818E-A0788E8CED33}"/>
                  </a:ext>
                </a:extLst>
              </p:cNvPr>
              <p:cNvSpPr>
                <a:spLocks/>
              </p:cNvSpPr>
              <p:nvPr/>
            </p:nvSpPr>
            <p:spPr bwMode="auto">
              <a:xfrm>
                <a:off x="3938560" y="2244278"/>
                <a:ext cx="37636" cy="41979"/>
              </a:xfrm>
              <a:custGeom>
                <a:avLst/>
                <a:gdLst/>
                <a:ahLst/>
                <a:cxnLst>
                  <a:cxn ang="0">
                    <a:pos x="21" y="0"/>
                  </a:cxn>
                  <a:cxn ang="0">
                    <a:pos x="8" y="5"/>
                  </a:cxn>
                  <a:cxn ang="0">
                    <a:pos x="0" y="12"/>
                  </a:cxn>
                  <a:cxn ang="0">
                    <a:pos x="0" y="20"/>
                  </a:cxn>
                  <a:cxn ang="0">
                    <a:pos x="9" y="24"/>
                  </a:cxn>
                  <a:cxn ang="0">
                    <a:pos x="25" y="29"/>
                  </a:cxn>
                  <a:cxn ang="0">
                    <a:pos x="26" y="14"/>
                  </a:cxn>
                  <a:cxn ang="0">
                    <a:pos x="24" y="3"/>
                  </a:cxn>
                  <a:cxn ang="0">
                    <a:pos x="21" y="0"/>
                  </a:cxn>
                </a:cxnLst>
                <a:rect l="0" t="0" r="r" b="b"/>
                <a:pathLst>
                  <a:path w="26" h="29">
                    <a:moveTo>
                      <a:pt x="21" y="0"/>
                    </a:moveTo>
                    <a:lnTo>
                      <a:pt x="8" y="5"/>
                    </a:lnTo>
                    <a:lnTo>
                      <a:pt x="0" y="12"/>
                    </a:lnTo>
                    <a:lnTo>
                      <a:pt x="0" y="20"/>
                    </a:lnTo>
                    <a:lnTo>
                      <a:pt x="9" y="24"/>
                    </a:lnTo>
                    <a:lnTo>
                      <a:pt x="25" y="29"/>
                    </a:lnTo>
                    <a:lnTo>
                      <a:pt x="26" y="14"/>
                    </a:lnTo>
                    <a:lnTo>
                      <a:pt x="24" y="3"/>
                    </a:lnTo>
                    <a:lnTo>
                      <a:pt x="21"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Freeform 20">
                <a:extLst>
                  <a:ext uri="{FF2B5EF4-FFF2-40B4-BE49-F238E27FC236}">
                    <a16:creationId xmlns:a16="http://schemas.microsoft.com/office/drawing/2014/main" id="{25B29A96-9019-4330-A8B8-6175D49D511F}"/>
                  </a:ext>
                </a:extLst>
              </p:cNvPr>
              <p:cNvSpPr>
                <a:spLocks/>
              </p:cNvSpPr>
              <p:nvPr/>
            </p:nvSpPr>
            <p:spPr bwMode="auto">
              <a:xfrm>
                <a:off x="3896581" y="2260201"/>
                <a:ext cx="59350" cy="68035"/>
              </a:xfrm>
              <a:custGeom>
                <a:avLst/>
                <a:gdLst/>
                <a:ahLst/>
                <a:cxnLst>
                  <a:cxn ang="0">
                    <a:pos x="8" y="0"/>
                  </a:cxn>
                  <a:cxn ang="0">
                    <a:pos x="18" y="13"/>
                  </a:cxn>
                  <a:cxn ang="0">
                    <a:pos x="37" y="29"/>
                  </a:cxn>
                  <a:cxn ang="0">
                    <a:pos x="41" y="36"/>
                  </a:cxn>
                  <a:cxn ang="0">
                    <a:pos x="35" y="44"/>
                  </a:cxn>
                  <a:cxn ang="0">
                    <a:pos x="19" y="47"/>
                  </a:cxn>
                  <a:cxn ang="0">
                    <a:pos x="3" y="46"/>
                  </a:cxn>
                  <a:cxn ang="0">
                    <a:pos x="1" y="33"/>
                  </a:cxn>
                  <a:cxn ang="0">
                    <a:pos x="0" y="17"/>
                  </a:cxn>
                  <a:cxn ang="0">
                    <a:pos x="4" y="5"/>
                  </a:cxn>
                  <a:cxn ang="0">
                    <a:pos x="8" y="0"/>
                  </a:cxn>
                </a:cxnLst>
                <a:rect l="0" t="0" r="r" b="b"/>
                <a:pathLst>
                  <a:path w="41" h="47">
                    <a:moveTo>
                      <a:pt x="8" y="0"/>
                    </a:moveTo>
                    <a:lnTo>
                      <a:pt x="18" y="13"/>
                    </a:lnTo>
                    <a:lnTo>
                      <a:pt x="37" y="29"/>
                    </a:lnTo>
                    <a:lnTo>
                      <a:pt x="41" y="36"/>
                    </a:lnTo>
                    <a:lnTo>
                      <a:pt x="35" y="44"/>
                    </a:lnTo>
                    <a:lnTo>
                      <a:pt x="19" y="47"/>
                    </a:lnTo>
                    <a:lnTo>
                      <a:pt x="3" y="46"/>
                    </a:lnTo>
                    <a:lnTo>
                      <a:pt x="1" y="33"/>
                    </a:lnTo>
                    <a:lnTo>
                      <a:pt x="0" y="17"/>
                    </a:lnTo>
                    <a:lnTo>
                      <a:pt x="4" y="5"/>
                    </a:lnTo>
                    <a:lnTo>
                      <a:pt x="8"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2" name="Freeform 21">
                <a:extLst>
                  <a:ext uri="{FF2B5EF4-FFF2-40B4-BE49-F238E27FC236}">
                    <a16:creationId xmlns:a16="http://schemas.microsoft.com/office/drawing/2014/main" id="{F0F84E78-5E3D-44FD-9497-927AE70E423A}"/>
                  </a:ext>
                </a:extLst>
              </p:cNvPr>
              <p:cNvSpPr>
                <a:spLocks/>
              </p:cNvSpPr>
              <p:nvPr/>
            </p:nvSpPr>
            <p:spPr bwMode="auto">
              <a:xfrm>
                <a:off x="3886448" y="2009775"/>
                <a:ext cx="115804" cy="214238"/>
              </a:xfrm>
              <a:custGeom>
                <a:avLst/>
                <a:gdLst/>
                <a:ahLst/>
                <a:cxnLst>
                  <a:cxn ang="0">
                    <a:pos x="68" y="0"/>
                  </a:cxn>
                  <a:cxn ang="0">
                    <a:pos x="80" y="10"/>
                  </a:cxn>
                  <a:cxn ang="0">
                    <a:pos x="75" y="22"/>
                  </a:cxn>
                  <a:cxn ang="0">
                    <a:pos x="62" y="34"/>
                  </a:cxn>
                  <a:cxn ang="0">
                    <a:pos x="56" y="47"/>
                  </a:cxn>
                  <a:cxn ang="0">
                    <a:pos x="58" y="65"/>
                  </a:cxn>
                  <a:cxn ang="0">
                    <a:pos x="63" y="78"/>
                  </a:cxn>
                  <a:cxn ang="0">
                    <a:pos x="60" y="85"/>
                  </a:cxn>
                  <a:cxn ang="0">
                    <a:pos x="47" y="81"/>
                  </a:cxn>
                  <a:cxn ang="0">
                    <a:pos x="37" y="70"/>
                  </a:cxn>
                  <a:cxn ang="0">
                    <a:pos x="22" y="91"/>
                  </a:cxn>
                  <a:cxn ang="0">
                    <a:pos x="20" y="120"/>
                  </a:cxn>
                  <a:cxn ang="0">
                    <a:pos x="16" y="142"/>
                  </a:cxn>
                  <a:cxn ang="0">
                    <a:pos x="7" y="148"/>
                  </a:cxn>
                  <a:cxn ang="0">
                    <a:pos x="0" y="144"/>
                  </a:cxn>
                  <a:cxn ang="0">
                    <a:pos x="3" y="113"/>
                  </a:cxn>
                  <a:cxn ang="0">
                    <a:pos x="8" y="82"/>
                  </a:cxn>
                  <a:cxn ang="0">
                    <a:pos x="21" y="59"/>
                  </a:cxn>
                  <a:cxn ang="0">
                    <a:pos x="41" y="40"/>
                  </a:cxn>
                  <a:cxn ang="0">
                    <a:pos x="54" y="26"/>
                  </a:cxn>
                  <a:cxn ang="0">
                    <a:pos x="59" y="10"/>
                  </a:cxn>
                  <a:cxn ang="0">
                    <a:pos x="62" y="3"/>
                  </a:cxn>
                  <a:cxn ang="0">
                    <a:pos x="68" y="0"/>
                  </a:cxn>
                </a:cxnLst>
                <a:rect l="0" t="0" r="r" b="b"/>
                <a:pathLst>
                  <a:path w="80" h="148">
                    <a:moveTo>
                      <a:pt x="68" y="0"/>
                    </a:moveTo>
                    <a:lnTo>
                      <a:pt x="80" y="10"/>
                    </a:lnTo>
                    <a:lnTo>
                      <a:pt x="75" y="22"/>
                    </a:lnTo>
                    <a:lnTo>
                      <a:pt x="62" y="34"/>
                    </a:lnTo>
                    <a:lnTo>
                      <a:pt x="56" y="47"/>
                    </a:lnTo>
                    <a:lnTo>
                      <a:pt x="58" y="65"/>
                    </a:lnTo>
                    <a:lnTo>
                      <a:pt x="63" y="78"/>
                    </a:lnTo>
                    <a:lnTo>
                      <a:pt x="60" y="85"/>
                    </a:lnTo>
                    <a:lnTo>
                      <a:pt x="47" y="81"/>
                    </a:lnTo>
                    <a:lnTo>
                      <a:pt x="37" y="70"/>
                    </a:lnTo>
                    <a:lnTo>
                      <a:pt x="22" y="91"/>
                    </a:lnTo>
                    <a:lnTo>
                      <a:pt x="20" y="120"/>
                    </a:lnTo>
                    <a:lnTo>
                      <a:pt x="16" y="142"/>
                    </a:lnTo>
                    <a:lnTo>
                      <a:pt x="7" y="148"/>
                    </a:lnTo>
                    <a:lnTo>
                      <a:pt x="0" y="144"/>
                    </a:lnTo>
                    <a:lnTo>
                      <a:pt x="3" y="113"/>
                    </a:lnTo>
                    <a:lnTo>
                      <a:pt x="8" y="82"/>
                    </a:lnTo>
                    <a:lnTo>
                      <a:pt x="21" y="59"/>
                    </a:lnTo>
                    <a:lnTo>
                      <a:pt x="41" y="40"/>
                    </a:lnTo>
                    <a:lnTo>
                      <a:pt x="54" y="26"/>
                    </a:lnTo>
                    <a:lnTo>
                      <a:pt x="59" y="10"/>
                    </a:lnTo>
                    <a:lnTo>
                      <a:pt x="62" y="3"/>
                    </a:lnTo>
                    <a:lnTo>
                      <a:pt x="68"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9" name="Gruppieren 2">
              <a:extLst>
                <a:ext uri="{FF2B5EF4-FFF2-40B4-BE49-F238E27FC236}">
                  <a16:creationId xmlns:a16="http://schemas.microsoft.com/office/drawing/2014/main" id="{0BEDB3F1-B581-453B-9CD0-642026D1F8E1}"/>
                </a:ext>
              </a:extLst>
            </p:cNvPr>
            <p:cNvGrpSpPr/>
            <p:nvPr/>
          </p:nvGrpSpPr>
          <p:grpSpPr bwMode="auto">
            <a:xfrm>
              <a:off x="4623253" y="2263096"/>
              <a:ext cx="1237658" cy="907616"/>
              <a:chOff x="4623253" y="2263096"/>
              <a:chExt cx="1237658" cy="907616"/>
            </a:xfrm>
            <a:grpFill/>
          </p:grpSpPr>
          <p:sp>
            <p:nvSpPr>
              <p:cNvPr id="23" name="Freeform 22">
                <a:extLst>
                  <a:ext uri="{FF2B5EF4-FFF2-40B4-BE49-F238E27FC236}">
                    <a16:creationId xmlns:a16="http://schemas.microsoft.com/office/drawing/2014/main" id="{3524BDEF-9586-4FAC-8539-BAD4DD355501}"/>
                  </a:ext>
                </a:extLst>
              </p:cNvPr>
              <p:cNvSpPr>
                <a:spLocks/>
              </p:cNvSpPr>
              <p:nvPr/>
            </p:nvSpPr>
            <p:spPr bwMode="auto">
              <a:xfrm>
                <a:off x="4623253" y="2394824"/>
                <a:ext cx="1237658" cy="775888"/>
              </a:xfrm>
              <a:custGeom>
                <a:avLst/>
                <a:gdLst/>
                <a:ahLst/>
                <a:cxnLst>
                  <a:cxn ang="0">
                    <a:pos x="64" y="227"/>
                  </a:cxn>
                  <a:cxn ang="0">
                    <a:pos x="117" y="175"/>
                  </a:cxn>
                  <a:cxn ang="0">
                    <a:pos x="127" y="200"/>
                  </a:cxn>
                  <a:cxn ang="0">
                    <a:pos x="151" y="215"/>
                  </a:cxn>
                  <a:cxn ang="0">
                    <a:pos x="180" y="217"/>
                  </a:cxn>
                  <a:cxn ang="0">
                    <a:pos x="210" y="208"/>
                  </a:cxn>
                  <a:cxn ang="0">
                    <a:pos x="222" y="164"/>
                  </a:cxn>
                  <a:cxn ang="0">
                    <a:pos x="225" y="142"/>
                  </a:cxn>
                  <a:cxn ang="0">
                    <a:pos x="288" y="138"/>
                  </a:cxn>
                  <a:cxn ang="0">
                    <a:pos x="320" y="112"/>
                  </a:cxn>
                  <a:cxn ang="0">
                    <a:pos x="334" y="134"/>
                  </a:cxn>
                  <a:cxn ang="0">
                    <a:pos x="350" y="98"/>
                  </a:cxn>
                  <a:cxn ang="0">
                    <a:pos x="399" y="37"/>
                  </a:cxn>
                  <a:cxn ang="0">
                    <a:pos x="425" y="3"/>
                  </a:cxn>
                  <a:cxn ang="0">
                    <a:pos x="475" y="12"/>
                  </a:cxn>
                  <a:cxn ang="0">
                    <a:pos x="453" y="23"/>
                  </a:cxn>
                  <a:cxn ang="0">
                    <a:pos x="413" y="61"/>
                  </a:cxn>
                  <a:cxn ang="0">
                    <a:pos x="424" y="85"/>
                  </a:cxn>
                  <a:cxn ang="0">
                    <a:pos x="445" y="40"/>
                  </a:cxn>
                  <a:cxn ang="0">
                    <a:pos x="481" y="46"/>
                  </a:cxn>
                  <a:cxn ang="0">
                    <a:pos x="507" y="33"/>
                  </a:cxn>
                  <a:cxn ang="0">
                    <a:pos x="534" y="29"/>
                  </a:cxn>
                  <a:cxn ang="0">
                    <a:pos x="549" y="55"/>
                  </a:cxn>
                  <a:cxn ang="0">
                    <a:pos x="557" y="90"/>
                  </a:cxn>
                  <a:cxn ang="0">
                    <a:pos x="612" y="106"/>
                  </a:cxn>
                  <a:cxn ang="0">
                    <a:pos x="640" y="129"/>
                  </a:cxn>
                  <a:cxn ang="0">
                    <a:pos x="692" y="116"/>
                  </a:cxn>
                  <a:cxn ang="0">
                    <a:pos x="704" y="148"/>
                  </a:cxn>
                  <a:cxn ang="0">
                    <a:pos x="712" y="179"/>
                  </a:cxn>
                  <a:cxn ang="0">
                    <a:pos x="717" y="211"/>
                  </a:cxn>
                  <a:cxn ang="0">
                    <a:pos x="733" y="254"/>
                  </a:cxn>
                  <a:cxn ang="0">
                    <a:pos x="772" y="268"/>
                  </a:cxn>
                  <a:cxn ang="0">
                    <a:pos x="813" y="272"/>
                  </a:cxn>
                  <a:cxn ang="0">
                    <a:pos x="832" y="318"/>
                  </a:cxn>
                  <a:cxn ang="0">
                    <a:pos x="842" y="382"/>
                  </a:cxn>
                  <a:cxn ang="0">
                    <a:pos x="851" y="423"/>
                  </a:cxn>
                  <a:cxn ang="0">
                    <a:pos x="810" y="455"/>
                  </a:cxn>
                  <a:cxn ang="0">
                    <a:pos x="777" y="401"/>
                  </a:cxn>
                  <a:cxn ang="0">
                    <a:pos x="742" y="391"/>
                  </a:cxn>
                  <a:cxn ang="0">
                    <a:pos x="694" y="397"/>
                  </a:cxn>
                  <a:cxn ang="0">
                    <a:pos x="659" y="435"/>
                  </a:cxn>
                  <a:cxn ang="0">
                    <a:pos x="616" y="468"/>
                  </a:cxn>
                  <a:cxn ang="0">
                    <a:pos x="565" y="478"/>
                  </a:cxn>
                  <a:cxn ang="0">
                    <a:pos x="527" y="486"/>
                  </a:cxn>
                  <a:cxn ang="0">
                    <a:pos x="467" y="464"/>
                  </a:cxn>
                  <a:cxn ang="0">
                    <a:pos x="396" y="459"/>
                  </a:cxn>
                  <a:cxn ang="0">
                    <a:pos x="337" y="424"/>
                  </a:cxn>
                  <a:cxn ang="0">
                    <a:pos x="293" y="457"/>
                  </a:cxn>
                  <a:cxn ang="0">
                    <a:pos x="238" y="504"/>
                  </a:cxn>
                  <a:cxn ang="0">
                    <a:pos x="249" y="535"/>
                  </a:cxn>
                  <a:cxn ang="0">
                    <a:pos x="158" y="535"/>
                  </a:cxn>
                  <a:cxn ang="0">
                    <a:pos x="99" y="486"/>
                  </a:cxn>
                  <a:cxn ang="0">
                    <a:pos x="52" y="466"/>
                  </a:cxn>
                  <a:cxn ang="0">
                    <a:pos x="13" y="426"/>
                  </a:cxn>
                  <a:cxn ang="0">
                    <a:pos x="14" y="353"/>
                  </a:cxn>
                  <a:cxn ang="0">
                    <a:pos x="57" y="337"/>
                  </a:cxn>
                  <a:cxn ang="0">
                    <a:pos x="45" y="280"/>
                  </a:cxn>
                </a:cxnLst>
                <a:rect l="0" t="0" r="r" b="b"/>
                <a:pathLst>
                  <a:path w="855" h="536">
                    <a:moveTo>
                      <a:pt x="35" y="265"/>
                    </a:moveTo>
                    <a:lnTo>
                      <a:pt x="40" y="250"/>
                    </a:lnTo>
                    <a:lnTo>
                      <a:pt x="51" y="240"/>
                    </a:lnTo>
                    <a:lnTo>
                      <a:pt x="64" y="227"/>
                    </a:lnTo>
                    <a:lnTo>
                      <a:pt x="81" y="211"/>
                    </a:lnTo>
                    <a:lnTo>
                      <a:pt x="94" y="196"/>
                    </a:lnTo>
                    <a:lnTo>
                      <a:pt x="106" y="182"/>
                    </a:lnTo>
                    <a:lnTo>
                      <a:pt x="117" y="175"/>
                    </a:lnTo>
                    <a:lnTo>
                      <a:pt x="125" y="175"/>
                    </a:lnTo>
                    <a:lnTo>
                      <a:pt x="127" y="181"/>
                    </a:lnTo>
                    <a:lnTo>
                      <a:pt x="128" y="190"/>
                    </a:lnTo>
                    <a:lnTo>
                      <a:pt x="127" y="200"/>
                    </a:lnTo>
                    <a:lnTo>
                      <a:pt x="127" y="209"/>
                    </a:lnTo>
                    <a:lnTo>
                      <a:pt x="131" y="215"/>
                    </a:lnTo>
                    <a:lnTo>
                      <a:pt x="138" y="217"/>
                    </a:lnTo>
                    <a:lnTo>
                      <a:pt x="151" y="215"/>
                    </a:lnTo>
                    <a:lnTo>
                      <a:pt x="159" y="209"/>
                    </a:lnTo>
                    <a:lnTo>
                      <a:pt x="168" y="207"/>
                    </a:lnTo>
                    <a:lnTo>
                      <a:pt x="174" y="209"/>
                    </a:lnTo>
                    <a:lnTo>
                      <a:pt x="180" y="217"/>
                    </a:lnTo>
                    <a:lnTo>
                      <a:pt x="188" y="226"/>
                    </a:lnTo>
                    <a:lnTo>
                      <a:pt x="196" y="226"/>
                    </a:lnTo>
                    <a:lnTo>
                      <a:pt x="204" y="222"/>
                    </a:lnTo>
                    <a:lnTo>
                      <a:pt x="210" y="208"/>
                    </a:lnTo>
                    <a:lnTo>
                      <a:pt x="216" y="196"/>
                    </a:lnTo>
                    <a:lnTo>
                      <a:pt x="222" y="181"/>
                    </a:lnTo>
                    <a:lnTo>
                      <a:pt x="222" y="172"/>
                    </a:lnTo>
                    <a:lnTo>
                      <a:pt x="222" y="164"/>
                    </a:lnTo>
                    <a:lnTo>
                      <a:pt x="216" y="158"/>
                    </a:lnTo>
                    <a:lnTo>
                      <a:pt x="214" y="154"/>
                    </a:lnTo>
                    <a:lnTo>
                      <a:pt x="217" y="148"/>
                    </a:lnTo>
                    <a:lnTo>
                      <a:pt x="225" y="142"/>
                    </a:lnTo>
                    <a:lnTo>
                      <a:pt x="234" y="138"/>
                    </a:lnTo>
                    <a:lnTo>
                      <a:pt x="254" y="136"/>
                    </a:lnTo>
                    <a:lnTo>
                      <a:pt x="278" y="136"/>
                    </a:lnTo>
                    <a:lnTo>
                      <a:pt x="288" y="138"/>
                    </a:lnTo>
                    <a:lnTo>
                      <a:pt x="300" y="132"/>
                    </a:lnTo>
                    <a:lnTo>
                      <a:pt x="305" y="119"/>
                    </a:lnTo>
                    <a:lnTo>
                      <a:pt x="311" y="112"/>
                    </a:lnTo>
                    <a:lnTo>
                      <a:pt x="320" y="112"/>
                    </a:lnTo>
                    <a:lnTo>
                      <a:pt x="322" y="120"/>
                    </a:lnTo>
                    <a:lnTo>
                      <a:pt x="322" y="126"/>
                    </a:lnTo>
                    <a:lnTo>
                      <a:pt x="327" y="132"/>
                    </a:lnTo>
                    <a:lnTo>
                      <a:pt x="334" y="134"/>
                    </a:lnTo>
                    <a:lnTo>
                      <a:pt x="341" y="133"/>
                    </a:lnTo>
                    <a:lnTo>
                      <a:pt x="342" y="124"/>
                    </a:lnTo>
                    <a:lnTo>
                      <a:pt x="343" y="113"/>
                    </a:lnTo>
                    <a:lnTo>
                      <a:pt x="350" y="98"/>
                    </a:lnTo>
                    <a:lnTo>
                      <a:pt x="369" y="79"/>
                    </a:lnTo>
                    <a:lnTo>
                      <a:pt x="394" y="54"/>
                    </a:lnTo>
                    <a:lnTo>
                      <a:pt x="398" y="49"/>
                    </a:lnTo>
                    <a:lnTo>
                      <a:pt x="399" y="37"/>
                    </a:lnTo>
                    <a:lnTo>
                      <a:pt x="399" y="26"/>
                    </a:lnTo>
                    <a:lnTo>
                      <a:pt x="404" y="17"/>
                    </a:lnTo>
                    <a:lnTo>
                      <a:pt x="413" y="10"/>
                    </a:lnTo>
                    <a:lnTo>
                      <a:pt x="425" y="3"/>
                    </a:lnTo>
                    <a:lnTo>
                      <a:pt x="437" y="0"/>
                    </a:lnTo>
                    <a:lnTo>
                      <a:pt x="451" y="7"/>
                    </a:lnTo>
                    <a:lnTo>
                      <a:pt x="463" y="11"/>
                    </a:lnTo>
                    <a:lnTo>
                      <a:pt x="475" y="12"/>
                    </a:lnTo>
                    <a:lnTo>
                      <a:pt x="489" y="12"/>
                    </a:lnTo>
                    <a:lnTo>
                      <a:pt x="491" y="16"/>
                    </a:lnTo>
                    <a:lnTo>
                      <a:pt x="473" y="21"/>
                    </a:lnTo>
                    <a:lnTo>
                      <a:pt x="453" y="23"/>
                    </a:lnTo>
                    <a:lnTo>
                      <a:pt x="439" y="30"/>
                    </a:lnTo>
                    <a:lnTo>
                      <a:pt x="430" y="38"/>
                    </a:lnTo>
                    <a:lnTo>
                      <a:pt x="420" y="49"/>
                    </a:lnTo>
                    <a:lnTo>
                      <a:pt x="413" y="61"/>
                    </a:lnTo>
                    <a:lnTo>
                      <a:pt x="413" y="72"/>
                    </a:lnTo>
                    <a:lnTo>
                      <a:pt x="411" y="84"/>
                    </a:lnTo>
                    <a:lnTo>
                      <a:pt x="417" y="91"/>
                    </a:lnTo>
                    <a:lnTo>
                      <a:pt x="424" y="85"/>
                    </a:lnTo>
                    <a:lnTo>
                      <a:pt x="425" y="75"/>
                    </a:lnTo>
                    <a:lnTo>
                      <a:pt x="429" y="63"/>
                    </a:lnTo>
                    <a:lnTo>
                      <a:pt x="439" y="48"/>
                    </a:lnTo>
                    <a:lnTo>
                      <a:pt x="445" y="40"/>
                    </a:lnTo>
                    <a:lnTo>
                      <a:pt x="456" y="36"/>
                    </a:lnTo>
                    <a:lnTo>
                      <a:pt x="467" y="37"/>
                    </a:lnTo>
                    <a:lnTo>
                      <a:pt x="475" y="42"/>
                    </a:lnTo>
                    <a:lnTo>
                      <a:pt x="481" y="46"/>
                    </a:lnTo>
                    <a:lnTo>
                      <a:pt x="491" y="47"/>
                    </a:lnTo>
                    <a:lnTo>
                      <a:pt x="497" y="44"/>
                    </a:lnTo>
                    <a:lnTo>
                      <a:pt x="502" y="39"/>
                    </a:lnTo>
                    <a:lnTo>
                      <a:pt x="507" y="33"/>
                    </a:lnTo>
                    <a:lnTo>
                      <a:pt x="515" y="33"/>
                    </a:lnTo>
                    <a:lnTo>
                      <a:pt x="521" y="33"/>
                    </a:lnTo>
                    <a:lnTo>
                      <a:pt x="527" y="35"/>
                    </a:lnTo>
                    <a:lnTo>
                      <a:pt x="534" y="29"/>
                    </a:lnTo>
                    <a:lnTo>
                      <a:pt x="542" y="27"/>
                    </a:lnTo>
                    <a:lnTo>
                      <a:pt x="547" y="34"/>
                    </a:lnTo>
                    <a:lnTo>
                      <a:pt x="550" y="45"/>
                    </a:lnTo>
                    <a:lnTo>
                      <a:pt x="549" y="55"/>
                    </a:lnTo>
                    <a:lnTo>
                      <a:pt x="548" y="64"/>
                    </a:lnTo>
                    <a:lnTo>
                      <a:pt x="546" y="72"/>
                    </a:lnTo>
                    <a:lnTo>
                      <a:pt x="546" y="81"/>
                    </a:lnTo>
                    <a:lnTo>
                      <a:pt x="557" y="90"/>
                    </a:lnTo>
                    <a:lnTo>
                      <a:pt x="574" y="94"/>
                    </a:lnTo>
                    <a:lnTo>
                      <a:pt x="588" y="104"/>
                    </a:lnTo>
                    <a:lnTo>
                      <a:pt x="596" y="106"/>
                    </a:lnTo>
                    <a:lnTo>
                      <a:pt x="612" y="106"/>
                    </a:lnTo>
                    <a:lnTo>
                      <a:pt x="621" y="112"/>
                    </a:lnTo>
                    <a:lnTo>
                      <a:pt x="625" y="122"/>
                    </a:lnTo>
                    <a:lnTo>
                      <a:pt x="632" y="131"/>
                    </a:lnTo>
                    <a:lnTo>
                      <a:pt x="640" y="129"/>
                    </a:lnTo>
                    <a:lnTo>
                      <a:pt x="642" y="117"/>
                    </a:lnTo>
                    <a:lnTo>
                      <a:pt x="655" y="114"/>
                    </a:lnTo>
                    <a:lnTo>
                      <a:pt x="675" y="116"/>
                    </a:lnTo>
                    <a:lnTo>
                      <a:pt x="692" y="116"/>
                    </a:lnTo>
                    <a:lnTo>
                      <a:pt x="702" y="120"/>
                    </a:lnTo>
                    <a:lnTo>
                      <a:pt x="707" y="130"/>
                    </a:lnTo>
                    <a:lnTo>
                      <a:pt x="708" y="139"/>
                    </a:lnTo>
                    <a:lnTo>
                      <a:pt x="704" y="148"/>
                    </a:lnTo>
                    <a:lnTo>
                      <a:pt x="701" y="155"/>
                    </a:lnTo>
                    <a:lnTo>
                      <a:pt x="701" y="164"/>
                    </a:lnTo>
                    <a:lnTo>
                      <a:pt x="706" y="173"/>
                    </a:lnTo>
                    <a:lnTo>
                      <a:pt x="712" y="179"/>
                    </a:lnTo>
                    <a:lnTo>
                      <a:pt x="717" y="187"/>
                    </a:lnTo>
                    <a:lnTo>
                      <a:pt x="717" y="196"/>
                    </a:lnTo>
                    <a:lnTo>
                      <a:pt x="717" y="204"/>
                    </a:lnTo>
                    <a:lnTo>
                      <a:pt x="717" y="211"/>
                    </a:lnTo>
                    <a:lnTo>
                      <a:pt x="724" y="223"/>
                    </a:lnTo>
                    <a:lnTo>
                      <a:pt x="730" y="236"/>
                    </a:lnTo>
                    <a:lnTo>
                      <a:pt x="732" y="244"/>
                    </a:lnTo>
                    <a:lnTo>
                      <a:pt x="733" y="254"/>
                    </a:lnTo>
                    <a:lnTo>
                      <a:pt x="746" y="258"/>
                    </a:lnTo>
                    <a:lnTo>
                      <a:pt x="762" y="256"/>
                    </a:lnTo>
                    <a:lnTo>
                      <a:pt x="769" y="260"/>
                    </a:lnTo>
                    <a:lnTo>
                      <a:pt x="772" y="268"/>
                    </a:lnTo>
                    <a:lnTo>
                      <a:pt x="779" y="275"/>
                    </a:lnTo>
                    <a:lnTo>
                      <a:pt x="786" y="276"/>
                    </a:lnTo>
                    <a:lnTo>
                      <a:pt x="796" y="272"/>
                    </a:lnTo>
                    <a:lnTo>
                      <a:pt x="813" y="272"/>
                    </a:lnTo>
                    <a:lnTo>
                      <a:pt x="821" y="275"/>
                    </a:lnTo>
                    <a:lnTo>
                      <a:pt x="827" y="292"/>
                    </a:lnTo>
                    <a:lnTo>
                      <a:pt x="830" y="307"/>
                    </a:lnTo>
                    <a:lnTo>
                      <a:pt x="832" y="318"/>
                    </a:lnTo>
                    <a:lnTo>
                      <a:pt x="837" y="332"/>
                    </a:lnTo>
                    <a:lnTo>
                      <a:pt x="841" y="350"/>
                    </a:lnTo>
                    <a:lnTo>
                      <a:pt x="840" y="374"/>
                    </a:lnTo>
                    <a:lnTo>
                      <a:pt x="842" y="382"/>
                    </a:lnTo>
                    <a:lnTo>
                      <a:pt x="851" y="393"/>
                    </a:lnTo>
                    <a:lnTo>
                      <a:pt x="855" y="405"/>
                    </a:lnTo>
                    <a:lnTo>
                      <a:pt x="853" y="420"/>
                    </a:lnTo>
                    <a:lnTo>
                      <a:pt x="851" y="423"/>
                    </a:lnTo>
                    <a:lnTo>
                      <a:pt x="844" y="428"/>
                    </a:lnTo>
                    <a:lnTo>
                      <a:pt x="837" y="439"/>
                    </a:lnTo>
                    <a:lnTo>
                      <a:pt x="824" y="451"/>
                    </a:lnTo>
                    <a:lnTo>
                      <a:pt x="810" y="455"/>
                    </a:lnTo>
                    <a:lnTo>
                      <a:pt x="803" y="445"/>
                    </a:lnTo>
                    <a:lnTo>
                      <a:pt x="794" y="434"/>
                    </a:lnTo>
                    <a:lnTo>
                      <a:pt x="785" y="415"/>
                    </a:lnTo>
                    <a:lnTo>
                      <a:pt x="777" y="401"/>
                    </a:lnTo>
                    <a:lnTo>
                      <a:pt x="766" y="388"/>
                    </a:lnTo>
                    <a:lnTo>
                      <a:pt x="758" y="383"/>
                    </a:lnTo>
                    <a:lnTo>
                      <a:pt x="750" y="385"/>
                    </a:lnTo>
                    <a:lnTo>
                      <a:pt x="742" y="391"/>
                    </a:lnTo>
                    <a:lnTo>
                      <a:pt x="733" y="399"/>
                    </a:lnTo>
                    <a:lnTo>
                      <a:pt x="726" y="403"/>
                    </a:lnTo>
                    <a:lnTo>
                      <a:pt x="713" y="401"/>
                    </a:lnTo>
                    <a:lnTo>
                      <a:pt x="694" y="397"/>
                    </a:lnTo>
                    <a:lnTo>
                      <a:pt x="679" y="400"/>
                    </a:lnTo>
                    <a:lnTo>
                      <a:pt x="665" y="408"/>
                    </a:lnTo>
                    <a:lnTo>
                      <a:pt x="660" y="419"/>
                    </a:lnTo>
                    <a:lnTo>
                      <a:pt x="659" y="435"/>
                    </a:lnTo>
                    <a:lnTo>
                      <a:pt x="650" y="445"/>
                    </a:lnTo>
                    <a:lnTo>
                      <a:pt x="637" y="450"/>
                    </a:lnTo>
                    <a:lnTo>
                      <a:pt x="627" y="463"/>
                    </a:lnTo>
                    <a:lnTo>
                      <a:pt x="616" y="468"/>
                    </a:lnTo>
                    <a:lnTo>
                      <a:pt x="604" y="468"/>
                    </a:lnTo>
                    <a:lnTo>
                      <a:pt x="590" y="468"/>
                    </a:lnTo>
                    <a:lnTo>
                      <a:pt x="579" y="470"/>
                    </a:lnTo>
                    <a:lnTo>
                      <a:pt x="565" y="478"/>
                    </a:lnTo>
                    <a:lnTo>
                      <a:pt x="559" y="488"/>
                    </a:lnTo>
                    <a:lnTo>
                      <a:pt x="554" y="501"/>
                    </a:lnTo>
                    <a:lnTo>
                      <a:pt x="541" y="495"/>
                    </a:lnTo>
                    <a:lnTo>
                      <a:pt x="527" y="486"/>
                    </a:lnTo>
                    <a:lnTo>
                      <a:pt x="511" y="482"/>
                    </a:lnTo>
                    <a:lnTo>
                      <a:pt x="495" y="480"/>
                    </a:lnTo>
                    <a:lnTo>
                      <a:pt x="482" y="475"/>
                    </a:lnTo>
                    <a:lnTo>
                      <a:pt x="467" y="464"/>
                    </a:lnTo>
                    <a:lnTo>
                      <a:pt x="456" y="459"/>
                    </a:lnTo>
                    <a:lnTo>
                      <a:pt x="439" y="458"/>
                    </a:lnTo>
                    <a:lnTo>
                      <a:pt x="416" y="459"/>
                    </a:lnTo>
                    <a:lnTo>
                      <a:pt x="396" y="459"/>
                    </a:lnTo>
                    <a:lnTo>
                      <a:pt x="377" y="449"/>
                    </a:lnTo>
                    <a:lnTo>
                      <a:pt x="364" y="438"/>
                    </a:lnTo>
                    <a:lnTo>
                      <a:pt x="352" y="429"/>
                    </a:lnTo>
                    <a:lnTo>
                      <a:pt x="337" y="424"/>
                    </a:lnTo>
                    <a:lnTo>
                      <a:pt x="324" y="430"/>
                    </a:lnTo>
                    <a:lnTo>
                      <a:pt x="316" y="443"/>
                    </a:lnTo>
                    <a:lnTo>
                      <a:pt x="308" y="453"/>
                    </a:lnTo>
                    <a:lnTo>
                      <a:pt x="293" y="457"/>
                    </a:lnTo>
                    <a:lnTo>
                      <a:pt x="274" y="466"/>
                    </a:lnTo>
                    <a:lnTo>
                      <a:pt x="256" y="476"/>
                    </a:lnTo>
                    <a:lnTo>
                      <a:pt x="244" y="490"/>
                    </a:lnTo>
                    <a:lnTo>
                      <a:pt x="238" y="504"/>
                    </a:lnTo>
                    <a:lnTo>
                      <a:pt x="236" y="518"/>
                    </a:lnTo>
                    <a:lnTo>
                      <a:pt x="240" y="526"/>
                    </a:lnTo>
                    <a:lnTo>
                      <a:pt x="249" y="531"/>
                    </a:lnTo>
                    <a:lnTo>
                      <a:pt x="249" y="535"/>
                    </a:lnTo>
                    <a:lnTo>
                      <a:pt x="229" y="536"/>
                    </a:lnTo>
                    <a:lnTo>
                      <a:pt x="210" y="536"/>
                    </a:lnTo>
                    <a:lnTo>
                      <a:pt x="184" y="535"/>
                    </a:lnTo>
                    <a:lnTo>
                      <a:pt x="158" y="535"/>
                    </a:lnTo>
                    <a:lnTo>
                      <a:pt x="124" y="502"/>
                    </a:lnTo>
                    <a:lnTo>
                      <a:pt x="115" y="497"/>
                    </a:lnTo>
                    <a:lnTo>
                      <a:pt x="106" y="493"/>
                    </a:lnTo>
                    <a:lnTo>
                      <a:pt x="99" y="486"/>
                    </a:lnTo>
                    <a:lnTo>
                      <a:pt x="93" y="478"/>
                    </a:lnTo>
                    <a:lnTo>
                      <a:pt x="87" y="468"/>
                    </a:lnTo>
                    <a:lnTo>
                      <a:pt x="69" y="468"/>
                    </a:lnTo>
                    <a:lnTo>
                      <a:pt x="52" y="466"/>
                    </a:lnTo>
                    <a:lnTo>
                      <a:pt x="46" y="461"/>
                    </a:lnTo>
                    <a:lnTo>
                      <a:pt x="32" y="447"/>
                    </a:lnTo>
                    <a:lnTo>
                      <a:pt x="19" y="433"/>
                    </a:lnTo>
                    <a:lnTo>
                      <a:pt x="13" y="426"/>
                    </a:lnTo>
                    <a:lnTo>
                      <a:pt x="4" y="421"/>
                    </a:lnTo>
                    <a:lnTo>
                      <a:pt x="0" y="371"/>
                    </a:lnTo>
                    <a:lnTo>
                      <a:pt x="6" y="359"/>
                    </a:lnTo>
                    <a:lnTo>
                      <a:pt x="14" y="353"/>
                    </a:lnTo>
                    <a:lnTo>
                      <a:pt x="24" y="349"/>
                    </a:lnTo>
                    <a:lnTo>
                      <a:pt x="35" y="350"/>
                    </a:lnTo>
                    <a:lnTo>
                      <a:pt x="47" y="345"/>
                    </a:lnTo>
                    <a:lnTo>
                      <a:pt x="57" y="337"/>
                    </a:lnTo>
                    <a:lnTo>
                      <a:pt x="59" y="324"/>
                    </a:lnTo>
                    <a:lnTo>
                      <a:pt x="56" y="311"/>
                    </a:lnTo>
                    <a:lnTo>
                      <a:pt x="52" y="294"/>
                    </a:lnTo>
                    <a:lnTo>
                      <a:pt x="45" y="280"/>
                    </a:lnTo>
                    <a:lnTo>
                      <a:pt x="35" y="265"/>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4" name="Freeform 23">
                <a:extLst>
                  <a:ext uri="{FF2B5EF4-FFF2-40B4-BE49-F238E27FC236}">
                    <a16:creationId xmlns:a16="http://schemas.microsoft.com/office/drawing/2014/main" id="{8BE95897-F553-4A94-96BF-79280F9D7F67}"/>
                  </a:ext>
                </a:extLst>
              </p:cNvPr>
              <p:cNvSpPr>
                <a:spLocks/>
              </p:cNvSpPr>
              <p:nvPr/>
            </p:nvSpPr>
            <p:spPr bwMode="auto">
              <a:xfrm>
                <a:off x="5665490" y="2578663"/>
                <a:ext cx="131728" cy="159231"/>
              </a:xfrm>
              <a:custGeom>
                <a:avLst/>
                <a:gdLst/>
                <a:ahLst/>
                <a:cxnLst>
                  <a:cxn ang="0">
                    <a:pos x="1" y="17"/>
                  </a:cxn>
                  <a:cxn ang="0">
                    <a:pos x="5" y="6"/>
                  </a:cxn>
                  <a:cxn ang="0">
                    <a:pos x="12" y="0"/>
                  </a:cxn>
                  <a:cxn ang="0">
                    <a:pos x="25" y="2"/>
                  </a:cxn>
                  <a:cxn ang="0">
                    <a:pos x="35" y="14"/>
                  </a:cxn>
                  <a:cxn ang="0">
                    <a:pos x="46" y="26"/>
                  </a:cxn>
                  <a:cxn ang="0">
                    <a:pos x="57" y="34"/>
                  </a:cxn>
                  <a:cxn ang="0">
                    <a:pos x="66" y="38"/>
                  </a:cxn>
                  <a:cxn ang="0">
                    <a:pos x="75" y="43"/>
                  </a:cxn>
                  <a:cxn ang="0">
                    <a:pos x="86" y="55"/>
                  </a:cxn>
                  <a:cxn ang="0">
                    <a:pos x="90" y="64"/>
                  </a:cxn>
                  <a:cxn ang="0">
                    <a:pos x="91" y="79"/>
                  </a:cxn>
                  <a:cxn ang="0">
                    <a:pos x="88" y="91"/>
                  </a:cxn>
                  <a:cxn ang="0">
                    <a:pos x="81" y="103"/>
                  </a:cxn>
                  <a:cxn ang="0">
                    <a:pos x="66" y="107"/>
                  </a:cxn>
                  <a:cxn ang="0">
                    <a:pos x="52" y="110"/>
                  </a:cxn>
                  <a:cxn ang="0">
                    <a:pos x="37" y="109"/>
                  </a:cxn>
                  <a:cxn ang="0">
                    <a:pos x="26" y="105"/>
                  </a:cxn>
                  <a:cxn ang="0">
                    <a:pos x="18" y="95"/>
                  </a:cxn>
                  <a:cxn ang="0">
                    <a:pos x="16" y="83"/>
                  </a:cxn>
                  <a:cxn ang="0">
                    <a:pos x="16" y="72"/>
                  </a:cxn>
                  <a:cxn ang="0">
                    <a:pos x="20" y="69"/>
                  </a:cxn>
                  <a:cxn ang="0">
                    <a:pos x="34" y="71"/>
                  </a:cxn>
                  <a:cxn ang="0">
                    <a:pos x="41" y="68"/>
                  </a:cxn>
                  <a:cxn ang="0">
                    <a:pos x="44" y="54"/>
                  </a:cxn>
                  <a:cxn ang="0">
                    <a:pos x="44" y="44"/>
                  </a:cxn>
                  <a:cxn ang="0">
                    <a:pos x="37" y="35"/>
                  </a:cxn>
                  <a:cxn ang="0">
                    <a:pos x="26" y="41"/>
                  </a:cxn>
                  <a:cxn ang="0">
                    <a:pos x="21" y="53"/>
                  </a:cxn>
                  <a:cxn ang="0">
                    <a:pos x="18" y="62"/>
                  </a:cxn>
                  <a:cxn ang="0">
                    <a:pos x="15" y="65"/>
                  </a:cxn>
                  <a:cxn ang="0">
                    <a:pos x="9" y="55"/>
                  </a:cxn>
                  <a:cxn ang="0">
                    <a:pos x="3" y="39"/>
                  </a:cxn>
                  <a:cxn ang="0">
                    <a:pos x="0" y="29"/>
                  </a:cxn>
                  <a:cxn ang="0">
                    <a:pos x="1" y="17"/>
                  </a:cxn>
                </a:cxnLst>
                <a:rect l="0" t="0" r="r" b="b"/>
                <a:pathLst>
                  <a:path w="91" h="110">
                    <a:moveTo>
                      <a:pt x="1" y="17"/>
                    </a:moveTo>
                    <a:lnTo>
                      <a:pt x="5" y="6"/>
                    </a:lnTo>
                    <a:lnTo>
                      <a:pt x="12" y="0"/>
                    </a:lnTo>
                    <a:lnTo>
                      <a:pt x="25" y="2"/>
                    </a:lnTo>
                    <a:lnTo>
                      <a:pt x="35" y="14"/>
                    </a:lnTo>
                    <a:lnTo>
                      <a:pt x="46" y="26"/>
                    </a:lnTo>
                    <a:lnTo>
                      <a:pt x="57" y="34"/>
                    </a:lnTo>
                    <a:lnTo>
                      <a:pt x="66" y="38"/>
                    </a:lnTo>
                    <a:lnTo>
                      <a:pt x="75" y="43"/>
                    </a:lnTo>
                    <a:lnTo>
                      <a:pt x="86" y="55"/>
                    </a:lnTo>
                    <a:lnTo>
                      <a:pt x="90" y="64"/>
                    </a:lnTo>
                    <a:lnTo>
                      <a:pt x="91" y="79"/>
                    </a:lnTo>
                    <a:lnTo>
                      <a:pt x="88" y="91"/>
                    </a:lnTo>
                    <a:lnTo>
                      <a:pt x="81" y="103"/>
                    </a:lnTo>
                    <a:lnTo>
                      <a:pt x="66" y="107"/>
                    </a:lnTo>
                    <a:lnTo>
                      <a:pt x="52" y="110"/>
                    </a:lnTo>
                    <a:lnTo>
                      <a:pt x="37" y="109"/>
                    </a:lnTo>
                    <a:lnTo>
                      <a:pt x="26" y="105"/>
                    </a:lnTo>
                    <a:lnTo>
                      <a:pt x="18" y="95"/>
                    </a:lnTo>
                    <a:lnTo>
                      <a:pt x="16" y="83"/>
                    </a:lnTo>
                    <a:lnTo>
                      <a:pt x="16" y="72"/>
                    </a:lnTo>
                    <a:lnTo>
                      <a:pt x="20" y="69"/>
                    </a:lnTo>
                    <a:lnTo>
                      <a:pt x="34" y="71"/>
                    </a:lnTo>
                    <a:lnTo>
                      <a:pt x="41" y="68"/>
                    </a:lnTo>
                    <a:lnTo>
                      <a:pt x="44" y="54"/>
                    </a:lnTo>
                    <a:lnTo>
                      <a:pt x="44" y="44"/>
                    </a:lnTo>
                    <a:lnTo>
                      <a:pt x="37" y="35"/>
                    </a:lnTo>
                    <a:lnTo>
                      <a:pt x="26" y="41"/>
                    </a:lnTo>
                    <a:lnTo>
                      <a:pt x="21" y="53"/>
                    </a:lnTo>
                    <a:lnTo>
                      <a:pt x="18" y="62"/>
                    </a:lnTo>
                    <a:lnTo>
                      <a:pt x="15" y="65"/>
                    </a:lnTo>
                    <a:lnTo>
                      <a:pt x="9" y="55"/>
                    </a:lnTo>
                    <a:lnTo>
                      <a:pt x="3" y="39"/>
                    </a:lnTo>
                    <a:lnTo>
                      <a:pt x="0" y="29"/>
                    </a:lnTo>
                    <a:lnTo>
                      <a:pt x="1" y="17"/>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5" name="Freeform 24">
                <a:extLst>
                  <a:ext uri="{FF2B5EF4-FFF2-40B4-BE49-F238E27FC236}">
                    <a16:creationId xmlns:a16="http://schemas.microsoft.com/office/drawing/2014/main" id="{F12EC703-2DAC-425F-BEDA-3DA60C471749}"/>
                  </a:ext>
                </a:extLst>
              </p:cNvPr>
              <p:cNvSpPr>
                <a:spLocks/>
              </p:cNvSpPr>
              <p:nvPr/>
            </p:nvSpPr>
            <p:spPr bwMode="auto">
              <a:xfrm>
                <a:off x="5439672" y="2263096"/>
                <a:ext cx="218581" cy="264903"/>
              </a:xfrm>
              <a:custGeom>
                <a:avLst/>
                <a:gdLst/>
                <a:ahLst/>
                <a:cxnLst>
                  <a:cxn ang="0">
                    <a:pos x="4" y="92"/>
                  </a:cxn>
                  <a:cxn ang="0">
                    <a:pos x="14" y="103"/>
                  </a:cxn>
                  <a:cxn ang="0">
                    <a:pos x="22" y="116"/>
                  </a:cxn>
                  <a:cxn ang="0">
                    <a:pos x="22" y="125"/>
                  </a:cxn>
                  <a:cxn ang="0">
                    <a:pos x="15" y="130"/>
                  </a:cxn>
                  <a:cxn ang="0">
                    <a:pos x="7" y="133"/>
                  </a:cxn>
                  <a:cxn ang="0">
                    <a:pos x="7" y="142"/>
                  </a:cxn>
                  <a:cxn ang="0">
                    <a:pos x="8" y="159"/>
                  </a:cxn>
                  <a:cxn ang="0">
                    <a:pos x="15" y="163"/>
                  </a:cxn>
                  <a:cxn ang="0">
                    <a:pos x="29" y="176"/>
                  </a:cxn>
                  <a:cxn ang="0">
                    <a:pos x="44" y="181"/>
                  </a:cxn>
                  <a:cxn ang="0">
                    <a:pos x="61" y="183"/>
                  </a:cxn>
                  <a:cxn ang="0">
                    <a:pos x="70" y="180"/>
                  </a:cxn>
                  <a:cxn ang="0">
                    <a:pos x="77" y="168"/>
                  </a:cxn>
                  <a:cxn ang="0">
                    <a:pos x="80" y="157"/>
                  </a:cxn>
                  <a:cxn ang="0">
                    <a:pos x="82" y="144"/>
                  </a:cxn>
                  <a:cxn ang="0">
                    <a:pos x="89" y="138"/>
                  </a:cxn>
                  <a:cxn ang="0">
                    <a:pos x="101" y="136"/>
                  </a:cxn>
                  <a:cxn ang="0">
                    <a:pos x="114" y="138"/>
                  </a:cxn>
                  <a:cxn ang="0">
                    <a:pos x="118" y="145"/>
                  </a:cxn>
                  <a:cxn ang="0">
                    <a:pos x="122" y="157"/>
                  </a:cxn>
                  <a:cxn ang="0">
                    <a:pos x="119" y="164"/>
                  </a:cxn>
                  <a:cxn ang="0">
                    <a:pos x="117" y="169"/>
                  </a:cxn>
                  <a:cxn ang="0">
                    <a:pos x="120" y="173"/>
                  </a:cxn>
                  <a:cxn ang="0">
                    <a:pos x="129" y="172"/>
                  </a:cxn>
                  <a:cxn ang="0">
                    <a:pos x="140" y="164"/>
                  </a:cxn>
                  <a:cxn ang="0">
                    <a:pos x="150" y="152"/>
                  </a:cxn>
                  <a:cxn ang="0">
                    <a:pos x="151" y="143"/>
                  </a:cxn>
                  <a:cxn ang="0">
                    <a:pos x="144" y="129"/>
                  </a:cxn>
                  <a:cxn ang="0">
                    <a:pos x="134" y="118"/>
                  </a:cxn>
                  <a:cxn ang="0">
                    <a:pos x="119" y="106"/>
                  </a:cxn>
                  <a:cxn ang="0">
                    <a:pos x="113" y="96"/>
                  </a:cxn>
                  <a:cxn ang="0">
                    <a:pos x="109" y="86"/>
                  </a:cxn>
                  <a:cxn ang="0">
                    <a:pos x="109" y="77"/>
                  </a:cxn>
                  <a:cxn ang="0">
                    <a:pos x="114" y="70"/>
                  </a:cxn>
                  <a:cxn ang="0">
                    <a:pos x="120" y="63"/>
                  </a:cxn>
                  <a:cxn ang="0">
                    <a:pos x="121" y="52"/>
                  </a:cxn>
                  <a:cxn ang="0">
                    <a:pos x="110" y="45"/>
                  </a:cxn>
                  <a:cxn ang="0">
                    <a:pos x="95" y="44"/>
                  </a:cxn>
                  <a:cxn ang="0">
                    <a:pos x="81" y="42"/>
                  </a:cxn>
                  <a:cxn ang="0">
                    <a:pos x="71" y="34"/>
                  </a:cxn>
                  <a:cxn ang="0">
                    <a:pos x="68" y="18"/>
                  </a:cxn>
                  <a:cxn ang="0">
                    <a:pos x="68" y="6"/>
                  </a:cxn>
                  <a:cxn ang="0">
                    <a:pos x="64" y="1"/>
                  </a:cxn>
                  <a:cxn ang="0">
                    <a:pos x="50" y="0"/>
                  </a:cxn>
                  <a:cxn ang="0">
                    <a:pos x="37" y="4"/>
                  </a:cxn>
                  <a:cxn ang="0">
                    <a:pos x="28" y="9"/>
                  </a:cxn>
                  <a:cxn ang="0">
                    <a:pos x="22" y="19"/>
                  </a:cxn>
                  <a:cxn ang="0">
                    <a:pos x="14" y="32"/>
                  </a:cxn>
                  <a:cxn ang="0">
                    <a:pos x="14" y="44"/>
                  </a:cxn>
                  <a:cxn ang="0">
                    <a:pos x="23" y="48"/>
                  </a:cxn>
                  <a:cxn ang="0">
                    <a:pos x="38" y="51"/>
                  </a:cxn>
                  <a:cxn ang="0">
                    <a:pos x="43" y="56"/>
                  </a:cxn>
                  <a:cxn ang="0">
                    <a:pos x="43" y="65"/>
                  </a:cxn>
                  <a:cxn ang="0">
                    <a:pos x="37" y="68"/>
                  </a:cxn>
                  <a:cxn ang="0">
                    <a:pos x="22" y="67"/>
                  </a:cxn>
                  <a:cxn ang="0">
                    <a:pos x="12" y="67"/>
                  </a:cxn>
                  <a:cxn ang="0">
                    <a:pos x="4" y="72"/>
                  </a:cxn>
                  <a:cxn ang="0">
                    <a:pos x="0" y="81"/>
                  </a:cxn>
                  <a:cxn ang="0">
                    <a:pos x="0" y="81"/>
                  </a:cxn>
                  <a:cxn ang="0">
                    <a:pos x="4" y="92"/>
                  </a:cxn>
                </a:cxnLst>
                <a:rect l="0" t="0" r="r" b="b"/>
                <a:pathLst>
                  <a:path w="151" h="183">
                    <a:moveTo>
                      <a:pt x="4" y="92"/>
                    </a:moveTo>
                    <a:lnTo>
                      <a:pt x="14" y="103"/>
                    </a:lnTo>
                    <a:lnTo>
                      <a:pt x="22" y="116"/>
                    </a:lnTo>
                    <a:lnTo>
                      <a:pt x="22" y="125"/>
                    </a:lnTo>
                    <a:lnTo>
                      <a:pt x="15" y="130"/>
                    </a:lnTo>
                    <a:lnTo>
                      <a:pt x="7" y="133"/>
                    </a:lnTo>
                    <a:lnTo>
                      <a:pt x="7" y="142"/>
                    </a:lnTo>
                    <a:lnTo>
                      <a:pt x="8" y="159"/>
                    </a:lnTo>
                    <a:lnTo>
                      <a:pt x="15" y="163"/>
                    </a:lnTo>
                    <a:lnTo>
                      <a:pt x="29" y="176"/>
                    </a:lnTo>
                    <a:lnTo>
                      <a:pt x="44" y="181"/>
                    </a:lnTo>
                    <a:lnTo>
                      <a:pt x="61" y="183"/>
                    </a:lnTo>
                    <a:lnTo>
                      <a:pt x="70" y="180"/>
                    </a:lnTo>
                    <a:lnTo>
                      <a:pt x="77" y="168"/>
                    </a:lnTo>
                    <a:lnTo>
                      <a:pt x="80" y="157"/>
                    </a:lnTo>
                    <a:lnTo>
                      <a:pt x="82" y="144"/>
                    </a:lnTo>
                    <a:lnTo>
                      <a:pt x="89" y="138"/>
                    </a:lnTo>
                    <a:lnTo>
                      <a:pt x="101" y="136"/>
                    </a:lnTo>
                    <a:lnTo>
                      <a:pt x="114" y="138"/>
                    </a:lnTo>
                    <a:lnTo>
                      <a:pt x="118" y="145"/>
                    </a:lnTo>
                    <a:lnTo>
                      <a:pt x="122" y="157"/>
                    </a:lnTo>
                    <a:lnTo>
                      <a:pt x="119" y="164"/>
                    </a:lnTo>
                    <a:lnTo>
                      <a:pt x="117" y="169"/>
                    </a:lnTo>
                    <a:lnTo>
                      <a:pt x="120" y="173"/>
                    </a:lnTo>
                    <a:lnTo>
                      <a:pt x="129" y="172"/>
                    </a:lnTo>
                    <a:lnTo>
                      <a:pt x="140" y="164"/>
                    </a:lnTo>
                    <a:lnTo>
                      <a:pt x="150" y="152"/>
                    </a:lnTo>
                    <a:lnTo>
                      <a:pt x="151" y="143"/>
                    </a:lnTo>
                    <a:lnTo>
                      <a:pt x="144" y="129"/>
                    </a:lnTo>
                    <a:lnTo>
                      <a:pt x="134" y="118"/>
                    </a:lnTo>
                    <a:lnTo>
                      <a:pt x="119" y="106"/>
                    </a:lnTo>
                    <a:lnTo>
                      <a:pt x="113" y="96"/>
                    </a:lnTo>
                    <a:lnTo>
                      <a:pt x="109" y="86"/>
                    </a:lnTo>
                    <a:lnTo>
                      <a:pt x="109" y="77"/>
                    </a:lnTo>
                    <a:lnTo>
                      <a:pt x="114" y="70"/>
                    </a:lnTo>
                    <a:lnTo>
                      <a:pt x="120" y="63"/>
                    </a:lnTo>
                    <a:lnTo>
                      <a:pt x="121" y="52"/>
                    </a:lnTo>
                    <a:lnTo>
                      <a:pt x="110" y="45"/>
                    </a:lnTo>
                    <a:lnTo>
                      <a:pt x="95" y="44"/>
                    </a:lnTo>
                    <a:lnTo>
                      <a:pt x="81" y="42"/>
                    </a:lnTo>
                    <a:lnTo>
                      <a:pt x="71" y="34"/>
                    </a:lnTo>
                    <a:lnTo>
                      <a:pt x="68" y="18"/>
                    </a:lnTo>
                    <a:lnTo>
                      <a:pt x="68" y="6"/>
                    </a:lnTo>
                    <a:lnTo>
                      <a:pt x="64" y="1"/>
                    </a:lnTo>
                    <a:lnTo>
                      <a:pt x="50" y="0"/>
                    </a:lnTo>
                    <a:lnTo>
                      <a:pt x="37" y="4"/>
                    </a:lnTo>
                    <a:lnTo>
                      <a:pt x="28" y="9"/>
                    </a:lnTo>
                    <a:lnTo>
                      <a:pt x="22" y="19"/>
                    </a:lnTo>
                    <a:lnTo>
                      <a:pt x="14" y="32"/>
                    </a:lnTo>
                    <a:lnTo>
                      <a:pt x="14" y="44"/>
                    </a:lnTo>
                    <a:lnTo>
                      <a:pt x="23" y="48"/>
                    </a:lnTo>
                    <a:lnTo>
                      <a:pt x="38" y="51"/>
                    </a:lnTo>
                    <a:lnTo>
                      <a:pt x="43" y="56"/>
                    </a:lnTo>
                    <a:lnTo>
                      <a:pt x="43" y="65"/>
                    </a:lnTo>
                    <a:lnTo>
                      <a:pt x="37" y="68"/>
                    </a:lnTo>
                    <a:lnTo>
                      <a:pt x="22" y="67"/>
                    </a:lnTo>
                    <a:lnTo>
                      <a:pt x="12" y="67"/>
                    </a:lnTo>
                    <a:lnTo>
                      <a:pt x="4" y="72"/>
                    </a:lnTo>
                    <a:lnTo>
                      <a:pt x="0" y="81"/>
                    </a:lnTo>
                    <a:lnTo>
                      <a:pt x="0" y="81"/>
                    </a:lnTo>
                    <a:lnTo>
                      <a:pt x="4" y="92"/>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10" name="Freeform 25">
              <a:extLst>
                <a:ext uri="{FF2B5EF4-FFF2-40B4-BE49-F238E27FC236}">
                  <a16:creationId xmlns:a16="http://schemas.microsoft.com/office/drawing/2014/main" id="{E6CF4D48-5BE0-4F5F-B2E8-9548D11C67AB}"/>
                </a:ext>
              </a:extLst>
            </p:cNvPr>
            <p:cNvSpPr>
              <a:spLocks/>
            </p:cNvSpPr>
            <p:nvPr/>
          </p:nvSpPr>
          <p:spPr bwMode="auto">
            <a:xfrm>
              <a:off x="4346770" y="2814614"/>
              <a:ext cx="217133" cy="191077"/>
            </a:xfrm>
            <a:custGeom>
              <a:avLst/>
              <a:gdLst/>
              <a:ahLst/>
              <a:cxnLst>
                <a:cxn ang="0">
                  <a:pos x="150" y="123"/>
                </a:cxn>
                <a:cxn ang="0">
                  <a:pos x="146" y="131"/>
                </a:cxn>
                <a:cxn ang="0">
                  <a:pos x="133" y="132"/>
                </a:cxn>
                <a:cxn ang="0">
                  <a:pos x="115" y="127"/>
                </a:cxn>
                <a:cxn ang="0">
                  <a:pos x="102" y="123"/>
                </a:cxn>
                <a:cxn ang="0">
                  <a:pos x="91" y="118"/>
                </a:cxn>
                <a:cxn ang="0">
                  <a:pos x="79" y="112"/>
                </a:cxn>
                <a:cxn ang="0">
                  <a:pos x="70" y="107"/>
                </a:cxn>
                <a:cxn ang="0">
                  <a:pos x="61" y="105"/>
                </a:cxn>
                <a:cxn ang="0">
                  <a:pos x="52" y="106"/>
                </a:cxn>
                <a:cxn ang="0">
                  <a:pos x="44" y="113"/>
                </a:cxn>
                <a:cxn ang="0">
                  <a:pos x="30" y="115"/>
                </a:cxn>
                <a:cxn ang="0">
                  <a:pos x="21" y="112"/>
                </a:cxn>
                <a:cxn ang="0">
                  <a:pos x="12" y="105"/>
                </a:cxn>
                <a:cxn ang="0">
                  <a:pos x="7" y="96"/>
                </a:cxn>
                <a:cxn ang="0">
                  <a:pos x="2" y="89"/>
                </a:cxn>
                <a:cxn ang="0">
                  <a:pos x="0" y="75"/>
                </a:cxn>
                <a:cxn ang="0">
                  <a:pos x="4" y="63"/>
                </a:cxn>
                <a:cxn ang="0">
                  <a:pos x="9" y="53"/>
                </a:cxn>
                <a:cxn ang="0">
                  <a:pos x="17" y="45"/>
                </a:cxn>
                <a:cxn ang="0">
                  <a:pos x="26" y="38"/>
                </a:cxn>
                <a:cxn ang="0">
                  <a:pos x="42" y="32"/>
                </a:cxn>
                <a:cxn ang="0">
                  <a:pos x="57" y="23"/>
                </a:cxn>
                <a:cxn ang="0">
                  <a:pos x="74" y="6"/>
                </a:cxn>
                <a:cxn ang="0">
                  <a:pos x="91" y="0"/>
                </a:cxn>
                <a:cxn ang="0">
                  <a:pos x="96" y="6"/>
                </a:cxn>
                <a:cxn ang="0">
                  <a:pos x="96" y="21"/>
                </a:cxn>
                <a:cxn ang="0">
                  <a:pos x="97" y="32"/>
                </a:cxn>
                <a:cxn ang="0">
                  <a:pos x="97" y="45"/>
                </a:cxn>
                <a:cxn ang="0">
                  <a:pos x="97" y="62"/>
                </a:cxn>
                <a:cxn ang="0">
                  <a:pos x="102" y="79"/>
                </a:cxn>
                <a:cxn ang="0">
                  <a:pos x="116" y="90"/>
                </a:cxn>
                <a:cxn ang="0">
                  <a:pos x="129" y="104"/>
                </a:cxn>
                <a:cxn ang="0">
                  <a:pos x="145" y="119"/>
                </a:cxn>
                <a:cxn ang="0">
                  <a:pos x="150" y="123"/>
                </a:cxn>
              </a:cxnLst>
              <a:rect l="0" t="0" r="r" b="b"/>
              <a:pathLst>
                <a:path w="150" h="132">
                  <a:moveTo>
                    <a:pt x="150" y="123"/>
                  </a:moveTo>
                  <a:lnTo>
                    <a:pt x="146" y="131"/>
                  </a:lnTo>
                  <a:lnTo>
                    <a:pt x="133" y="132"/>
                  </a:lnTo>
                  <a:lnTo>
                    <a:pt x="115" y="127"/>
                  </a:lnTo>
                  <a:lnTo>
                    <a:pt x="102" y="123"/>
                  </a:lnTo>
                  <a:lnTo>
                    <a:pt x="91" y="118"/>
                  </a:lnTo>
                  <a:lnTo>
                    <a:pt x="79" y="112"/>
                  </a:lnTo>
                  <a:lnTo>
                    <a:pt x="70" y="107"/>
                  </a:lnTo>
                  <a:lnTo>
                    <a:pt x="61" y="105"/>
                  </a:lnTo>
                  <a:lnTo>
                    <a:pt x="52" y="106"/>
                  </a:lnTo>
                  <a:lnTo>
                    <a:pt x="44" y="113"/>
                  </a:lnTo>
                  <a:lnTo>
                    <a:pt x="30" y="115"/>
                  </a:lnTo>
                  <a:lnTo>
                    <a:pt x="21" y="112"/>
                  </a:lnTo>
                  <a:lnTo>
                    <a:pt x="12" y="105"/>
                  </a:lnTo>
                  <a:lnTo>
                    <a:pt x="7" y="96"/>
                  </a:lnTo>
                  <a:lnTo>
                    <a:pt x="2" y="89"/>
                  </a:lnTo>
                  <a:lnTo>
                    <a:pt x="0" y="75"/>
                  </a:lnTo>
                  <a:lnTo>
                    <a:pt x="4" y="63"/>
                  </a:lnTo>
                  <a:lnTo>
                    <a:pt x="9" y="53"/>
                  </a:lnTo>
                  <a:lnTo>
                    <a:pt x="17" y="45"/>
                  </a:lnTo>
                  <a:lnTo>
                    <a:pt x="26" y="38"/>
                  </a:lnTo>
                  <a:lnTo>
                    <a:pt x="42" y="32"/>
                  </a:lnTo>
                  <a:lnTo>
                    <a:pt x="57" y="23"/>
                  </a:lnTo>
                  <a:lnTo>
                    <a:pt x="74" y="6"/>
                  </a:lnTo>
                  <a:lnTo>
                    <a:pt x="91" y="0"/>
                  </a:lnTo>
                  <a:lnTo>
                    <a:pt x="96" y="6"/>
                  </a:lnTo>
                  <a:lnTo>
                    <a:pt x="96" y="21"/>
                  </a:lnTo>
                  <a:lnTo>
                    <a:pt x="97" y="32"/>
                  </a:lnTo>
                  <a:lnTo>
                    <a:pt x="97" y="45"/>
                  </a:lnTo>
                  <a:lnTo>
                    <a:pt x="97" y="62"/>
                  </a:lnTo>
                  <a:lnTo>
                    <a:pt x="102" y="79"/>
                  </a:lnTo>
                  <a:lnTo>
                    <a:pt x="116" y="90"/>
                  </a:lnTo>
                  <a:lnTo>
                    <a:pt x="129" y="104"/>
                  </a:lnTo>
                  <a:lnTo>
                    <a:pt x="145" y="119"/>
                  </a:lnTo>
                  <a:lnTo>
                    <a:pt x="150" y="123"/>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26">
              <a:extLst>
                <a:ext uri="{FF2B5EF4-FFF2-40B4-BE49-F238E27FC236}">
                  <a16:creationId xmlns:a16="http://schemas.microsoft.com/office/drawing/2014/main" id="{36C4F0AA-8DBD-4BD2-ADBE-DE2E60BA43D4}"/>
                </a:ext>
              </a:extLst>
            </p:cNvPr>
            <p:cNvSpPr>
              <a:spLocks/>
            </p:cNvSpPr>
            <p:nvPr/>
          </p:nvSpPr>
          <p:spPr bwMode="auto">
            <a:xfrm>
              <a:off x="3026602" y="3450089"/>
              <a:ext cx="1192783" cy="1152252"/>
            </a:xfrm>
            <a:custGeom>
              <a:avLst/>
              <a:gdLst/>
              <a:ahLst/>
              <a:cxnLst>
                <a:cxn ang="0">
                  <a:pos x="277" y="100"/>
                </a:cxn>
                <a:cxn ang="0">
                  <a:pos x="215" y="143"/>
                </a:cxn>
                <a:cxn ang="0">
                  <a:pos x="214" y="185"/>
                </a:cxn>
                <a:cxn ang="0">
                  <a:pos x="168" y="210"/>
                </a:cxn>
                <a:cxn ang="0">
                  <a:pos x="121" y="229"/>
                </a:cxn>
                <a:cxn ang="0">
                  <a:pos x="78" y="219"/>
                </a:cxn>
                <a:cxn ang="0">
                  <a:pos x="18" y="238"/>
                </a:cxn>
                <a:cxn ang="0">
                  <a:pos x="46" y="299"/>
                </a:cxn>
                <a:cxn ang="0">
                  <a:pos x="69" y="355"/>
                </a:cxn>
                <a:cxn ang="0">
                  <a:pos x="59" y="417"/>
                </a:cxn>
                <a:cxn ang="0">
                  <a:pos x="32" y="467"/>
                </a:cxn>
                <a:cxn ang="0">
                  <a:pos x="37" y="509"/>
                </a:cxn>
                <a:cxn ang="0">
                  <a:pos x="9" y="543"/>
                </a:cxn>
                <a:cxn ang="0">
                  <a:pos x="6" y="602"/>
                </a:cxn>
                <a:cxn ang="0">
                  <a:pos x="34" y="669"/>
                </a:cxn>
                <a:cxn ang="0">
                  <a:pos x="40" y="700"/>
                </a:cxn>
                <a:cxn ang="0">
                  <a:pos x="72" y="738"/>
                </a:cxn>
                <a:cxn ang="0">
                  <a:pos x="118" y="796"/>
                </a:cxn>
                <a:cxn ang="0">
                  <a:pos x="161" y="796"/>
                </a:cxn>
                <a:cxn ang="0">
                  <a:pos x="194" y="751"/>
                </a:cxn>
                <a:cxn ang="0">
                  <a:pos x="227" y="724"/>
                </a:cxn>
                <a:cxn ang="0">
                  <a:pos x="273" y="711"/>
                </a:cxn>
                <a:cxn ang="0">
                  <a:pos x="386" y="645"/>
                </a:cxn>
                <a:cxn ang="0">
                  <a:pos x="428" y="605"/>
                </a:cxn>
                <a:cxn ang="0">
                  <a:pos x="482" y="666"/>
                </a:cxn>
                <a:cxn ang="0">
                  <a:pos x="537" y="622"/>
                </a:cxn>
                <a:cxn ang="0">
                  <a:pos x="601" y="572"/>
                </a:cxn>
                <a:cxn ang="0">
                  <a:pos x="630" y="533"/>
                </a:cxn>
                <a:cxn ang="0">
                  <a:pos x="635" y="469"/>
                </a:cxn>
                <a:cxn ang="0">
                  <a:pos x="683" y="432"/>
                </a:cxn>
                <a:cxn ang="0">
                  <a:pos x="717" y="383"/>
                </a:cxn>
                <a:cxn ang="0">
                  <a:pos x="782" y="372"/>
                </a:cxn>
                <a:cxn ang="0">
                  <a:pos x="806" y="304"/>
                </a:cxn>
                <a:cxn ang="0">
                  <a:pos x="810" y="247"/>
                </a:cxn>
                <a:cxn ang="0">
                  <a:pos x="783" y="223"/>
                </a:cxn>
                <a:cxn ang="0">
                  <a:pos x="760" y="197"/>
                </a:cxn>
                <a:cxn ang="0">
                  <a:pos x="765" y="165"/>
                </a:cxn>
                <a:cxn ang="0">
                  <a:pos x="740" y="119"/>
                </a:cxn>
                <a:cxn ang="0">
                  <a:pos x="735" y="81"/>
                </a:cxn>
                <a:cxn ang="0">
                  <a:pos x="761" y="24"/>
                </a:cxn>
                <a:cxn ang="0">
                  <a:pos x="725" y="18"/>
                </a:cxn>
                <a:cxn ang="0">
                  <a:pos x="683" y="45"/>
                </a:cxn>
                <a:cxn ang="0">
                  <a:pos x="666" y="9"/>
                </a:cxn>
                <a:cxn ang="0">
                  <a:pos x="626" y="13"/>
                </a:cxn>
                <a:cxn ang="0">
                  <a:pos x="584" y="17"/>
                </a:cxn>
                <a:cxn ang="0">
                  <a:pos x="564" y="42"/>
                </a:cxn>
                <a:cxn ang="0">
                  <a:pos x="578" y="98"/>
                </a:cxn>
                <a:cxn ang="0">
                  <a:pos x="608" y="129"/>
                </a:cxn>
                <a:cxn ang="0">
                  <a:pos x="585" y="153"/>
                </a:cxn>
                <a:cxn ang="0">
                  <a:pos x="560" y="141"/>
                </a:cxn>
                <a:cxn ang="0">
                  <a:pos x="494" y="172"/>
                </a:cxn>
                <a:cxn ang="0">
                  <a:pos x="479" y="148"/>
                </a:cxn>
                <a:cxn ang="0">
                  <a:pos x="484" y="121"/>
                </a:cxn>
                <a:cxn ang="0">
                  <a:pos x="492" y="80"/>
                </a:cxn>
                <a:cxn ang="0">
                  <a:pos x="472" y="39"/>
                </a:cxn>
                <a:cxn ang="0">
                  <a:pos x="430" y="11"/>
                </a:cxn>
                <a:cxn ang="0">
                  <a:pos x="399" y="32"/>
                </a:cxn>
                <a:cxn ang="0">
                  <a:pos x="372" y="48"/>
                </a:cxn>
                <a:cxn ang="0">
                  <a:pos x="308" y="54"/>
                </a:cxn>
              </a:cxnLst>
              <a:rect l="0" t="0" r="r" b="b"/>
              <a:pathLst>
                <a:path w="824" h="796">
                  <a:moveTo>
                    <a:pt x="292" y="53"/>
                  </a:moveTo>
                  <a:lnTo>
                    <a:pt x="289" y="67"/>
                  </a:lnTo>
                  <a:lnTo>
                    <a:pt x="287" y="81"/>
                  </a:lnTo>
                  <a:lnTo>
                    <a:pt x="285" y="91"/>
                  </a:lnTo>
                  <a:lnTo>
                    <a:pt x="277" y="100"/>
                  </a:lnTo>
                  <a:lnTo>
                    <a:pt x="261" y="103"/>
                  </a:lnTo>
                  <a:lnTo>
                    <a:pt x="250" y="106"/>
                  </a:lnTo>
                  <a:lnTo>
                    <a:pt x="235" y="120"/>
                  </a:lnTo>
                  <a:lnTo>
                    <a:pt x="226" y="136"/>
                  </a:lnTo>
                  <a:lnTo>
                    <a:pt x="215" y="143"/>
                  </a:lnTo>
                  <a:lnTo>
                    <a:pt x="202" y="148"/>
                  </a:lnTo>
                  <a:lnTo>
                    <a:pt x="198" y="153"/>
                  </a:lnTo>
                  <a:lnTo>
                    <a:pt x="202" y="162"/>
                  </a:lnTo>
                  <a:lnTo>
                    <a:pt x="210" y="168"/>
                  </a:lnTo>
                  <a:lnTo>
                    <a:pt x="214" y="185"/>
                  </a:lnTo>
                  <a:lnTo>
                    <a:pt x="207" y="203"/>
                  </a:lnTo>
                  <a:lnTo>
                    <a:pt x="197" y="215"/>
                  </a:lnTo>
                  <a:lnTo>
                    <a:pt x="187" y="217"/>
                  </a:lnTo>
                  <a:lnTo>
                    <a:pt x="177" y="213"/>
                  </a:lnTo>
                  <a:lnTo>
                    <a:pt x="168" y="210"/>
                  </a:lnTo>
                  <a:lnTo>
                    <a:pt x="158" y="215"/>
                  </a:lnTo>
                  <a:lnTo>
                    <a:pt x="151" y="223"/>
                  </a:lnTo>
                  <a:lnTo>
                    <a:pt x="138" y="226"/>
                  </a:lnTo>
                  <a:lnTo>
                    <a:pt x="130" y="223"/>
                  </a:lnTo>
                  <a:lnTo>
                    <a:pt x="121" y="229"/>
                  </a:lnTo>
                  <a:lnTo>
                    <a:pt x="118" y="239"/>
                  </a:lnTo>
                  <a:lnTo>
                    <a:pt x="109" y="241"/>
                  </a:lnTo>
                  <a:lnTo>
                    <a:pt x="98" y="237"/>
                  </a:lnTo>
                  <a:lnTo>
                    <a:pt x="90" y="226"/>
                  </a:lnTo>
                  <a:lnTo>
                    <a:pt x="78" y="219"/>
                  </a:lnTo>
                  <a:lnTo>
                    <a:pt x="67" y="219"/>
                  </a:lnTo>
                  <a:lnTo>
                    <a:pt x="61" y="225"/>
                  </a:lnTo>
                  <a:lnTo>
                    <a:pt x="54" y="234"/>
                  </a:lnTo>
                  <a:lnTo>
                    <a:pt x="29" y="235"/>
                  </a:lnTo>
                  <a:lnTo>
                    <a:pt x="18" y="238"/>
                  </a:lnTo>
                  <a:lnTo>
                    <a:pt x="16" y="252"/>
                  </a:lnTo>
                  <a:lnTo>
                    <a:pt x="21" y="264"/>
                  </a:lnTo>
                  <a:lnTo>
                    <a:pt x="37" y="276"/>
                  </a:lnTo>
                  <a:lnTo>
                    <a:pt x="43" y="287"/>
                  </a:lnTo>
                  <a:lnTo>
                    <a:pt x="46" y="299"/>
                  </a:lnTo>
                  <a:lnTo>
                    <a:pt x="42" y="315"/>
                  </a:lnTo>
                  <a:lnTo>
                    <a:pt x="40" y="327"/>
                  </a:lnTo>
                  <a:lnTo>
                    <a:pt x="46" y="342"/>
                  </a:lnTo>
                  <a:lnTo>
                    <a:pt x="60" y="350"/>
                  </a:lnTo>
                  <a:lnTo>
                    <a:pt x="69" y="355"/>
                  </a:lnTo>
                  <a:lnTo>
                    <a:pt x="71" y="366"/>
                  </a:lnTo>
                  <a:lnTo>
                    <a:pt x="66" y="381"/>
                  </a:lnTo>
                  <a:lnTo>
                    <a:pt x="63" y="394"/>
                  </a:lnTo>
                  <a:lnTo>
                    <a:pt x="62" y="405"/>
                  </a:lnTo>
                  <a:lnTo>
                    <a:pt x="59" y="417"/>
                  </a:lnTo>
                  <a:lnTo>
                    <a:pt x="50" y="427"/>
                  </a:lnTo>
                  <a:lnTo>
                    <a:pt x="37" y="441"/>
                  </a:lnTo>
                  <a:lnTo>
                    <a:pt x="30" y="450"/>
                  </a:lnTo>
                  <a:lnTo>
                    <a:pt x="29" y="460"/>
                  </a:lnTo>
                  <a:lnTo>
                    <a:pt x="32" y="467"/>
                  </a:lnTo>
                  <a:lnTo>
                    <a:pt x="41" y="468"/>
                  </a:lnTo>
                  <a:lnTo>
                    <a:pt x="47" y="473"/>
                  </a:lnTo>
                  <a:lnTo>
                    <a:pt x="49" y="485"/>
                  </a:lnTo>
                  <a:lnTo>
                    <a:pt x="46" y="500"/>
                  </a:lnTo>
                  <a:lnTo>
                    <a:pt x="37" y="509"/>
                  </a:lnTo>
                  <a:lnTo>
                    <a:pt x="23" y="512"/>
                  </a:lnTo>
                  <a:lnTo>
                    <a:pt x="8" y="512"/>
                  </a:lnTo>
                  <a:lnTo>
                    <a:pt x="0" y="520"/>
                  </a:lnTo>
                  <a:lnTo>
                    <a:pt x="0" y="532"/>
                  </a:lnTo>
                  <a:lnTo>
                    <a:pt x="9" y="543"/>
                  </a:lnTo>
                  <a:lnTo>
                    <a:pt x="19" y="553"/>
                  </a:lnTo>
                  <a:lnTo>
                    <a:pt x="22" y="569"/>
                  </a:lnTo>
                  <a:lnTo>
                    <a:pt x="20" y="584"/>
                  </a:lnTo>
                  <a:lnTo>
                    <a:pt x="12" y="591"/>
                  </a:lnTo>
                  <a:lnTo>
                    <a:pt x="6" y="602"/>
                  </a:lnTo>
                  <a:lnTo>
                    <a:pt x="6" y="615"/>
                  </a:lnTo>
                  <a:lnTo>
                    <a:pt x="16" y="626"/>
                  </a:lnTo>
                  <a:lnTo>
                    <a:pt x="26" y="632"/>
                  </a:lnTo>
                  <a:lnTo>
                    <a:pt x="30" y="660"/>
                  </a:lnTo>
                  <a:lnTo>
                    <a:pt x="34" y="669"/>
                  </a:lnTo>
                  <a:lnTo>
                    <a:pt x="42" y="674"/>
                  </a:lnTo>
                  <a:lnTo>
                    <a:pt x="50" y="678"/>
                  </a:lnTo>
                  <a:lnTo>
                    <a:pt x="51" y="686"/>
                  </a:lnTo>
                  <a:lnTo>
                    <a:pt x="47" y="694"/>
                  </a:lnTo>
                  <a:lnTo>
                    <a:pt x="40" y="700"/>
                  </a:lnTo>
                  <a:lnTo>
                    <a:pt x="38" y="713"/>
                  </a:lnTo>
                  <a:lnTo>
                    <a:pt x="39" y="722"/>
                  </a:lnTo>
                  <a:lnTo>
                    <a:pt x="48" y="730"/>
                  </a:lnTo>
                  <a:lnTo>
                    <a:pt x="65" y="729"/>
                  </a:lnTo>
                  <a:lnTo>
                    <a:pt x="72" y="738"/>
                  </a:lnTo>
                  <a:lnTo>
                    <a:pt x="75" y="750"/>
                  </a:lnTo>
                  <a:lnTo>
                    <a:pt x="74" y="766"/>
                  </a:lnTo>
                  <a:lnTo>
                    <a:pt x="73" y="774"/>
                  </a:lnTo>
                  <a:lnTo>
                    <a:pt x="86" y="795"/>
                  </a:lnTo>
                  <a:lnTo>
                    <a:pt x="118" y="796"/>
                  </a:lnTo>
                  <a:lnTo>
                    <a:pt x="124" y="786"/>
                  </a:lnTo>
                  <a:lnTo>
                    <a:pt x="134" y="777"/>
                  </a:lnTo>
                  <a:lnTo>
                    <a:pt x="145" y="782"/>
                  </a:lnTo>
                  <a:lnTo>
                    <a:pt x="153" y="792"/>
                  </a:lnTo>
                  <a:lnTo>
                    <a:pt x="161" y="796"/>
                  </a:lnTo>
                  <a:lnTo>
                    <a:pt x="171" y="793"/>
                  </a:lnTo>
                  <a:lnTo>
                    <a:pt x="175" y="780"/>
                  </a:lnTo>
                  <a:lnTo>
                    <a:pt x="177" y="763"/>
                  </a:lnTo>
                  <a:lnTo>
                    <a:pt x="182" y="753"/>
                  </a:lnTo>
                  <a:lnTo>
                    <a:pt x="194" y="751"/>
                  </a:lnTo>
                  <a:lnTo>
                    <a:pt x="203" y="757"/>
                  </a:lnTo>
                  <a:lnTo>
                    <a:pt x="209" y="755"/>
                  </a:lnTo>
                  <a:lnTo>
                    <a:pt x="214" y="746"/>
                  </a:lnTo>
                  <a:lnTo>
                    <a:pt x="215" y="736"/>
                  </a:lnTo>
                  <a:lnTo>
                    <a:pt x="227" y="724"/>
                  </a:lnTo>
                  <a:lnTo>
                    <a:pt x="239" y="719"/>
                  </a:lnTo>
                  <a:lnTo>
                    <a:pt x="250" y="723"/>
                  </a:lnTo>
                  <a:lnTo>
                    <a:pt x="257" y="727"/>
                  </a:lnTo>
                  <a:lnTo>
                    <a:pt x="263" y="724"/>
                  </a:lnTo>
                  <a:lnTo>
                    <a:pt x="273" y="711"/>
                  </a:lnTo>
                  <a:lnTo>
                    <a:pt x="300" y="697"/>
                  </a:lnTo>
                  <a:lnTo>
                    <a:pt x="315" y="692"/>
                  </a:lnTo>
                  <a:lnTo>
                    <a:pt x="342" y="665"/>
                  </a:lnTo>
                  <a:lnTo>
                    <a:pt x="369" y="652"/>
                  </a:lnTo>
                  <a:lnTo>
                    <a:pt x="386" y="645"/>
                  </a:lnTo>
                  <a:lnTo>
                    <a:pt x="398" y="619"/>
                  </a:lnTo>
                  <a:lnTo>
                    <a:pt x="407" y="601"/>
                  </a:lnTo>
                  <a:lnTo>
                    <a:pt x="417" y="592"/>
                  </a:lnTo>
                  <a:lnTo>
                    <a:pt x="425" y="593"/>
                  </a:lnTo>
                  <a:lnTo>
                    <a:pt x="428" y="605"/>
                  </a:lnTo>
                  <a:lnTo>
                    <a:pt x="430" y="611"/>
                  </a:lnTo>
                  <a:lnTo>
                    <a:pt x="451" y="626"/>
                  </a:lnTo>
                  <a:lnTo>
                    <a:pt x="472" y="636"/>
                  </a:lnTo>
                  <a:lnTo>
                    <a:pt x="478" y="647"/>
                  </a:lnTo>
                  <a:lnTo>
                    <a:pt x="482" y="666"/>
                  </a:lnTo>
                  <a:lnTo>
                    <a:pt x="493" y="679"/>
                  </a:lnTo>
                  <a:lnTo>
                    <a:pt x="505" y="678"/>
                  </a:lnTo>
                  <a:lnTo>
                    <a:pt x="512" y="662"/>
                  </a:lnTo>
                  <a:lnTo>
                    <a:pt x="519" y="642"/>
                  </a:lnTo>
                  <a:lnTo>
                    <a:pt x="537" y="622"/>
                  </a:lnTo>
                  <a:lnTo>
                    <a:pt x="558" y="616"/>
                  </a:lnTo>
                  <a:lnTo>
                    <a:pt x="568" y="609"/>
                  </a:lnTo>
                  <a:lnTo>
                    <a:pt x="578" y="589"/>
                  </a:lnTo>
                  <a:lnTo>
                    <a:pt x="584" y="581"/>
                  </a:lnTo>
                  <a:lnTo>
                    <a:pt x="601" y="572"/>
                  </a:lnTo>
                  <a:lnTo>
                    <a:pt x="603" y="562"/>
                  </a:lnTo>
                  <a:lnTo>
                    <a:pt x="597" y="548"/>
                  </a:lnTo>
                  <a:lnTo>
                    <a:pt x="596" y="536"/>
                  </a:lnTo>
                  <a:lnTo>
                    <a:pt x="611" y="533"/>
                  </a:lnTo>
                  <a:lnTo>
                    <a:pt x="630" y="533"/>
                  </a:lnTo>
                  <a:lnTo>
                    <a:pt x="638" y="521"/>
                  </a:lnTo>
                  <a:lnTo>
                    <a:pt x="643" y="507"/>
                  </a:lnTo>
                  <a:lnTo>
                    <a:pt x="646" y="489"/>
                  </a:lnTo>
                  <a:lnTo>
                    <a:pt x="645" y="473"/>
                  </a:lnTo>
                  <a:lnTo>
                    <a:pt x="635" y="469"/>
                  </a:lnTo>
                  <a:lnTo>
                    <a:pt x="626" y="465"/>
                  </a:lnTo>
                  <a:lnTo>
                    <a:pt x="629" y="454"/>
                  </a:lnTo>
                  <a:lnTo>
                    <a:pt x="640" y="444"/>
                  </a:lnTo>
                  <a:lnTo>
                    <a:pt x="657" y="433"/>
                  </a:lnTo>
                  <a:lnTo>
                    <a:pt x="683" y="432"/>
                  </a:lnTo>
                  <a:lnTo>
                    <a:pt x="696" y="432"/>
                  </a:lnTo>
                  <a:lnTo>
                    <a:pt x="705" y="421"/>
                  </a:lnTo>
                  <a:lnTo>
                    <a:pt x="707" y="406"/>
                  </a:lnTo>
                  <a:lnTo>
                    <a:pt x="708" y="394"/>
                  </a:lnTo>
                  <a:lnTo>
                    <a:pt x="717" y="383"/>
                  </a:lnTo>
                  <a:lnTo>
                    <a:pt x="731" y="380"/>
                  </a:lnTo>
                  <a:lnTo>
                    <a:pt x="741" y="388"/>
                  </a:lnTo>
                  <a:lnTo>
                    <a:pt x="750" y="394"/>
                  </a:lnTo>
                  <a:lnTo>
                    <a:pt x="767" y="387"/>
                  </a:lnTo>
                  <a:lnTo>
                    <a:pt x="782" y="372"/>
                  </a:lnTo>
                  <a:lnTo>
                    <a:pt x="796" y="354"/>
                  </a:lnTo>
                  <a:lnTo>
                    <a:pt x="801" y="337"/>
                  </a:lnTo>
                  <a:lnTo>
                    <a:pt x="807" y="328"/>
                  </a:lnTo>
                  <a:lnTo>
                    <a:pt x="804" y="322"/>
                  </a:lnTo>
                  <a:lnTo>
                    <a:pt x="806" y="304"/>
                  </a:lnTo>
                  <a:lnTo>
                    <a:pt x="815" y="288"/>
                  </a:lnTo>
                  <a:lnTo>
                    <a:pt x="823" y="273"/>
                  </a:lnTo>
                  <a:lnTo>
                    <a:pt x="824" y="259"/>
                  </a:lnTo>
                  <a:lnTo>
                    <a:pt x="817" y="250"/>
                  </a:lnTo>
                  <a:lnTo>
                    <a:pt x="810" y="247"/>
                  </a:lnTo>
                  <a:lnTo>
                    <a:pt x="795" y="245"/>
                  </a:lnTo>
                  <a:lnTo>
                    <a:pt x="791" y="241"/>
                  </a:lnTo>
                  <a:lnTo>
                    <a:pt x="788" y="233"/>
                  </a:lnTo>
                  <a:lnTo>
                    <a:pt x="785" y="230"/>
                  </a:lnTo>
                  <a:lnTo>
                    <a:pt x="783" y="223"/>
                  </a:lnTo>
                  <a:lnTo>
                    <a:pt x="782" y="213"/>
                  </a:lnTo>
                  <a:lnTo>
                    <a:pt x="778" y="208"/>
                  </a:lnTo>
                  <a:lnTo>
                    <a:pt x="773" y="205"/>
                  </a:lnTo>
                  <a:lnTo>
                    <a:pt x="766" y="203"/>
                  </a:lnTo>
                  <a:lnTo>
                    <a:pt x="760" y="197"/>
                  </a:lnTo>
                  <a:lnTo>
                    <a:pt x="758" y="190"/>
                  </a:lnTo>
                  <a:lnTo>
                    <a:pt x="760" y="184"/>
                  </a:lnTo>
                  <a:lnTo>
                    <a:pt x="765" y="179"/>
                  </a:lnTo>
                  <a:lnTo>
                    <a:pt x="767" y="172"/>
                  </a:lnTo>
                  <a:lnTo>
                    <a:pt x="765" y="165"/>
                  </a:lnTo>
                  <a:lnTo>
                    <a:pt x="749" y="159"/>
                  </a:lnTo>
                  <a:lnTo>
                    <a:pt x="737" y="152"/>
                  </a:lnTo>
                  <a:lnTo>
                    <a:pt x="736" y="143"/>
                  </a:lnTo>
                  <a:lnTo>
                    <a:pt x="739" y="131"/>
                  </a:lnTo>
                  <a:lnTo>
                    <a:pt x="740" y="119"/>
                  </a:lnTo>
                  <a:lnTo>
                    <a:pt x="737" y="110"/>
                  </a:lnTo>
                  <a:lnTo>
                    <a:pt x="735" y="100"/>
                  </a:lnTo>
                  <a:lnTo>
                    <a:pt x="728" y="96"/>
                  </a:lnTo>
                  <a:lnTo>
                    <a:pt x="728" y="89"/>
                  </a:lnTo>
                  <a:lnTo>
                    <a:pt x="735" y="81"/>
                  </a:lnTo>
                  <a:lnTo>
                    <a:pt x="744" y="74"/>
                  </a:lnTo>
                  <a:lnTo>
                    <a:pt x="755" y="64"/>
                  </a:lnTo>
                  <a:lnTo>
                    <a:pt x="761" y="55"/>
                  </a:lnTo>
                  <a:lnTo>
                    <a:pt x="762" y="42"/>
                  </a:lnTo>
                  <a:lnTo>
                    <a:pt x="761" y="24"/>
                  </a:lnTo>
                  <a:lnTo>
                    <a:pt x="756" y="13"/>
                  </a:lnTo>
                  <a:lnTo>
                    <a:pt x="750" y="8"/>
                  </a:lnTo>
                  <a:lnTo>
                    <a:pt x="740" y="6"/>
                  </a:lnTo>
                  <a:lnTo>
                    <a:pt x="731" y="11"/>
                  </a:lnTo>
                  <a:lnTo>
                    <a:pt x="725" y="18"/>
                  </a:lnTo>
                  <a:lnTo>
                    <a:pt x="719" y="24"/>
                  </a:lnTo>
                  <a:lnTo>
                    <a:pt x="708" y="29"/>
                  </a:lnTo>
                  <a:lnTo>
                    <a:pt x="702" y="39"/>
                  </a:lnTo>
                  <a:lnTo>
                    <a:pt x="689" y="45"/>
                  </a:lnTo>
                  <a:lnTo>
                    <a:pt x="683" y="45"/>
                  </a:lnTo>
                  <a:lnTo>
                    <a:pt x="674" y="43"/>
                  </a:lnTo>
                  <a:lnTo>
                    <a:pt x="669" y="38"/>
                  </a:lnTo>
                  <a:lnTo>
                    <a:pt x="668" y="27"/>
                  </a:lnTo>
                  <a:lnTo>
                    <a:pt x="667" y="18"/>
                  </a:lnTo>
                  <a:lnTo>
                    <a:pt x="666" y="9"/>
                  </a:lnTo>
                  <a:lnTo>
                    <a:pt x="662" y="1"/>
                  </a:lnTo>
                  <a:lnTo>
                    <a:pt x="654" y="0"/>
                  </a:lnTo>
                  <a:lnTo>
                    <a:pt x="646" y="0"/>
                  </a:lnTo>
                  <a:lnTo>
                    <a:pt x="635" y="4"/>
                  </a:lnTo>
                  <a:lnTo>
                    <a:pt x="626" y="13"/>
                  </a:lnTo>
                  <a:lnTo>
                    <a:pt x="618" y="19"/>
                  </a:lnTo>
                  <a:lnTo>
                    <a:pt x="611" y="22"/>
                  </a:lnTo>
                  <a:lnTo>
                    <a:pt x="602" y="23"/>
                  </a:lnTo>
                  <a:lnTo>
                    <a:pt x="594" y="22"/>
                  </a:lnTo>
                  <a:lnTo>
                    <a:pt x="584" y="17"/>
                  </a:lnTo>
                  <a:lnTo>
                    <a:pt x="575" y="17"/>
                  </a:lnTo>
                  <a:lnTo>
                    <a:pt x="564" y="20"/>
                  </a:lnTo>
                  <a:lnTo>
                    <a:pt x="560" y="29"/>
                  </a:lnTo>
                  <a:lnTo>
                    <a:pt x="560" y="36"/>
                  </a:lnTo>
                  <a:lnTo>
                    <a:pt x="564" y="42"/>
                  </a:lnTo>
                  <a:lnTo>
                    <a:pt x="571" y="49"/>
                  </a:lnTo>
                  <a:lnTo>
                    <a:pt x="574" y="56"/>
                  </a:lnTo>
                  <a:lnTo>
                    <a:pt x="574" y="71"/>
                  </a:lnTo>
                  <a:lnTo>
                    <a:pt x="575" y="84"/>
                  </a:lnTo>
                  <a:lnTo>
                    <a:pt x="578" y="98"/>
                  </a:lnTo>
                  <a:lnTo>
                    <a:pt x="585" y="103"/>
                  </a:lnTo>
                  <a:lnTo>
                    <a:pt x="593" y="107"/>
                  </a:lnTo>
                  <a:lnTo>
                    <a:pt x="601" y="114"/>
                  </a:lnTo>
                  <a:lnTo>
                    <a:pt x="608" y="122"/>
                  </a:lnTo>
                  <a:lnTo>
                    <a:pt x="608" y="129"/>
                  </a:lnTo>
                  <a:lnTo>
                    <a:pt x="602" y="135"/>
                  </a:lnTo>
                  <a:lnTo>
                    <a:pt x="596" y="138"/>
                  </a:lnTo>
                  <a:lnTo>
                    <a:pt x="594" y="141"/>
                  </a:lnTo>
                  <a:lnTo>
                    <a:pt x="590" y="148"/>
                  </a:lnTo>
                  <a:lnTo>
                    <a:pt x="585" y="153"/>
                  </a:lnTo>
                  <a:lnTo>
                    <a:pt x="578" y="153"/>
                  </a:lnTo>
                  <a:lnTo>
                    <a:pt x="574" y="150"/>
                  </a:lnTo>
                  <a:lnTo>
                    <a:pt x="572" y="142"/>
                  </a:lnTo>
                  <a:lnTo>
                    <a:pt x="569" y="140"/>
                  </a:lnTo>
                  <a:lnTo>
                    <a:pt x="560" y="141"/>
                  </a:lnTo>
                  <a:lnTo>
                    <a:pt x="554" y="146"/>
                  </a:lnTo>
                  <a:lnTo>
                    <a:pt x="546" y="154"/>
                  </a:lnTo>
                  <a:lnTo>
                    <a:pt x="531" y="161"/>
                  </a:lnTo>
                  <a:lnTo>
                    <a:pt x="512" y="168"/>
                  </a:lnTo>
                  <a:lnTo>
                    <a:pt x="494" y="172"/>
                  </a:lnTo>
                  <a:lnTo>
                    <a:pt x="480" y="173"/>
                  </a:lnTo>
                  <a:lnTo>
                    <a:pt x="471" y="170"/>
                  </a:lnTo>
                  <a:lnTo>
                    <a:pt x="468" y="162"/>
                  </a:lnTo>
                  <a:lnTo>
                    <a:pt x="470" y="154"/>
                  </a:lnTo>
                  <a:lnTo>
                    <a:pt x="479" y="148"/>
                  </a:lnTo>
                  <a:lnTo>
                    <a:pt x="488" y="141"/>
                  </a:lnTo>
                  <a:lnTo>
                    <a:pt x="495" y="136"/>
                  </a:lnTo>
                  <a:lnTo>
                    <a:pt x="494" y="129"/>
                  </a:lnTo>
                  <a:lnTo>
                    <a:pt x="492" y="124"/>
                  </a:lnTo>
                  <a:lnTo>
                    <a:pt x="484" y="121"/>
                  </a:lnTo>
                  <a:lnTo>
                    <a:pt x="479" y="117"/>
                  </a:lnTo>
                  <a:lnTo>
                    <a:pt x="479" y="111"/>
                  </a:lnTo>
                  <a:lnTo>
                    <a:pt x="484" y="103"/>
                  </a:lnTo>
                  <a:lnTo>
                    <a:pt x="488" y="96"/>
                  </a:lnTo>
                  <a:lnTo>
                    <a:pt x="492" y="80"/>
                  </a:lnTo>
                  <a:lnTo>
                    <a:pt x="490" y="70"/>
                  </a:lnTo>
                  <a:lnTo>
                    <a:pt x="487" y="61"/>
                  </a:lnTo>
                  <a:lnTo>
                    <a:pt x="485" y="52"/>
                  </a:lnTo>
                  <a:lnTo>
                    <a:pt x="479" y="43"/>
                  </a:lnTo>
                  <a:lnTo>
                    <a:pt x="472" y="39"/>
                  </a:lnTo>
                  <a:lnTo>
                    <a:pt x="465" y="38"/>
                  </a:lnTo>
                  <a:lnTo>
                    <a:pt x="455" y="32"/>
                  </a:lnTo>
                  <a:lnTo>
                    <a:pt x="447" y="26"/>
                  </a:lnTo>
                  <a:lnTo>
                    <a:pt x="436" y="18"/>
                  </a:lnTo>
                  <a:lnTo>
                    <a:pt x="430" y="11"/>
                  </a:lnTo>
                  <a:lnTo>
                    <a:pt x="425" y="7"/>
                  </a:lnTo>
                  <a:lnTo>
                    <a:pt x="418" y="7"/>
                  </a:lnTo>
                  <a:lnTo>
                    <a:pt x="412" y="12"/>
                  </a:lnTo>
                  <a:lnTo>
                    <a:pt x="404" y="22"/>
                  </a:lnTo>
                  <a:lnTo>
                    <a:pt x="399" y="32"/>
                  </a:lnTo>
                  <a:lnTo>
                    <a:pt x="396" y="44"/>
                  </a:lnTo>
                  <a:lnTo>
                    <a:pt x="389" y="53"/>
                  </a:lnTo>
                  <a:lnTo>
                    <a:pt x="384" y="54"/>
                  </a:lnTo>
                  <a:lnTo>
                    <a:pt x="379" y="52"/>
                  </a:lnTo>
                  <a:lnTo>
                    <a:pt x="372" y="48"/>
                  </a:lnTo>
                  <a:lnTo>
                    <a:pt x="364" y="46"/>
                  </a:lnTo>
                  <a:lnTo>
                    <a:pt x="357" y="49"/>
                  </a:lnTo>
                  <a:lnTo>
                    <a:pt x="345" y="52"/>
                  </a:lnTo>
                  <a:lnTo>
                    <a:pt x="325" y="53"/>
                  </a:lnTo>
                  <a:lnTo>
                    <a:pt x="308" y="54"/>
                  </a:lnTo>
                  <a:lnTo>
                    <a:pt x="292" y="53"/>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27">
              <a:extLst>
                <a:ext uri="{FF2B5EF4-FFF2-40B4-BE49-F238E27FC236}">
                  <a16:creationId xmlns:a16="http://schemas.microsoft.com/office/drawing/2014/main" id="{79C5D707-6EED-4703-9144-BCC8078DEEC4}"/>
                </a:ext>
              </a:extLst>
            </p:cNvPr>
            <p:cNvSpPr>
              <a:spLocks/>
            </p:cNvSpPr>
            <p:nvPr/>
          </p:nvSpPr>
          <p:spPr bwMode="auto">
            <a:xfrm>
              <a:off x="4608777" y="3192425"/>
              <a:ext cx="885902" cy="1104483"/>
            </a:xfrm>
            <a:custGeom>
              <a:avLst/>
              <a:gdLst/>
              <a:ahLst/>
              <a:cxnLst>
                <a:cxn ang="0">
                  <a:pos x="571" y="510"/>
                </a:cxn>
                <a:cxn ang="0">
                  <a:pos x="537" y="523"/>
                </a:cxn>
                <a:cxn ang="0">
                  <a:pos x="493" y="511"/>
                </a:cxn>
                <a:cxn ang="0">
                  <a:pos x="472" y="540"/>
                </a:cxn>
                <a:cxn ang="0">
                  <a:pos x="423" y="530"/>
                </a:cxn>
                <a:cxn ang="0">
                  <a:pos x="369" y="553"/>
                </a:cxn>
                <a:cxn ang="0">
                  <a:pos x="342" y="596"/>
                </a:cxn>
                <a:cxn ang="0">
                  <a:pos x="349" y="666"/>
                </a:cxn>
                <a:cxn ang="0">
                  <a:pos x="349" y="750"/>
                </a:cxn>
                <a:cxn ang="0">
                  <a:pos x="314" y="763"/>
                </a:cxn>
                <a:cxn ang="0">
                  <a:pos x="273" y="746"/>
                </a:cxn>
                <a:cxn ang="0">
                  <a:pos x="239" y="738"/>
                </a:cxn>
                <a:cxn ang="0">
                  <a:pos x="195" y="716"/>
                </a:cxn>
                <a:cxn ang="0">
                  <a:pos x="201" y="673"/>
                </a:cxn>
                <a:cxn ang="0">
                  <a:pos x="187" y="638"/>
                </a:cxn>
                <a:cxn ang="0">
                  <a:pos x="184" y="609"/>
                </a:cxn>
                <a:cxn ang="0">
                  <a:pos x="128" y="604"/>
                </a:cxn>
                <a:cxn ang="0">
                  <a:pos x="89" y="573"/>
                </a:cxn>
                <a:cxn ang="0">
                  <a:pos x="60" y="538"/>
                </a:cxn>
                <a:cxn ang="0">
                  <a:pos x="18" y="518"/>
                </a:cxn>
                <a:cxn ang="0">
                  <a:pos x="12" y="497"/>
                </a:cxn>
                <a:cxn ang="0">
                  <a:pos x="2" y="443"/>
                </a:cxn>
                <a:cxn ang="0">
                  <a:pos x="9" y="421"/>
                </a:cxn>
                <a:cxn ang="0">
                  <a:pos x="1" y="398"/>
                </a:cxn>
                <a:cxn ang="0">
                  <a:pos x="34" y="389"/>
                </a:cxn>
                <a:cxn ang="0">
                  <a:pos x="100" y="349"/>
                </a:cxn>
                <a:cxn ang="0">
                  <a:pos x="106" y="299"/>
                </a:cxn>
                <a:cxn ang="0">
                  <a:pos x="109" y="265"/>
                </a:cxn>
                <a:cxn ang="0">
                  <a:pos x="99" y="233"/>
                </a:cxn>
                <a:cxn ang="0">
                  <a:pos x="101" y="195"/>
                </a:cxn>
                <a:cxn ang="0">
                  <a:pos x="74" y="139"/>
                </a:cxn>
                <a:cxn ang="0">
                  <a:pos x="56" y="85"/>
                </a:cxn>
                <a:cxn ang="0">
                  <a:pos x="86" y="69"/>
                </a:cxn>
                <a:cxn ang="0">
                  <a:pos x="107" y="42"/>
                </a:cxn>
                <a:cxn ang="0">
                  <a:pos x="139" y="60"/>
                </a:cxn>
                <a:cxn ang="0">
                  <a:pos x="171" y="53"/>
                </a:cxn>
                <a:cxn ang="0">
                  <a:pos x="203" y="39"/>
                </a:cxn>
                <a:cxn ang="0">
                  <a:pos x="238" y="0"/>
                </a:cxn>
                <a:cxn ang="0">
                  <a:pos x="254" y="14"/>
                </a:cxn>
                <a:cxn ang="0">
                  <a:pos x="280" y="34"/>
                </a:cxn>
                <a:cxn ang="0">
                  <a:pos x="297" y="44"/>
                </a:cxn>
                <a:cxn ang="0">
                  <a:pos x="342" y="48"/>
                </a:cxn>
                <a:cxn ang="0">
                  <a:pos x="363" y="60"/>
                </a:cxn>
                <a:cxn ang="0">
                  <a:pos x="386" y="63"/>
                </a:cxn>
                <a:cxn ang="0">
                  <a:pos x="382" y="99"/>
                </a:cxn>
                <a:cxn ang="0">
                  <a:pos x="377" y="141"/>
                </a:cxn>
                <a:cxn ang="0">
                  <a:pos x="355" y="165"/>
                </a:cxn>
                <a:cxn ang="0">
                  <a:pos x="384" y="188"/>
                </a:cxn>
                <a:cxn ang="0">
                  <a:pos x="413" y="208"/>
                </a:cxn>
                <a:cxn ang="0">
                  <a:pos x="399" y="240"/>
                </a:cxn>
                <a:cxn ang="0">
                  <a:pos x="393" y="276"/>
                </a:cxn>
                <a:cxn ang="0">
                  <a:pos x="398" y="295"/>
                </a:cxn>
                <a:cxn ang="0">
                  <a:pos x="376" y="303"/>
                </a:cxn>
                <a:cxn ang="0">
                  <a:pos x="383" y="341"/>
                </a:cxn>
                <a:cxn ang="0">
                  <a:pos x="424" y="375"/>
                </a:cxn>
                <a:cxn ang="0">
                  <a:pos x="468" y="389"/>
                </a:cxn>
                <a:cxn ang="0">
                  <a:pos x="511" y="406"/>
                </a:cxn>
                <a:cxn ang="0">
                  <a:pos x="531" y="424"/>
                </a:cxn>
                <a:cxn ang="0">
                  <a:pos x="564" y="431"/>
                </a:cxn>
                <a:cxn ang="0">
                  <a:pos x="582" y="418"/>
                </a:cxn>
                <a:cxn ang="0">
                  <a:pos x="596" y="430"/>
                </a:cxn>
                <a:cxn ang="0">
                  <a:pos x="599" y="467"/>
                </a:cxn>
                <a:cxn ang="0">
                  <a:pos x="612" y="499"/>
                </a:cxn>
              </a:cxnLst>
              <a:rect l="0" t="0" r="r" b="b"/>
              <a:pathLst>
                <a:path w="612" h="763">
                  <a:moveTo>
                    <a:pt x="607" y="519"/>
                  </a:moveTo>
                  <a:lnTo>
                    <a:pt x="593" y="513"/>
                  </a:lnTo>
                  <a:lnTo>
                    <a:pt x="571" y="510"/>
                  </a:lnTo>
                  <a:lnTo>
                    <a:pt x="555" y="512"/>
                  </a:lnTo>
                  <a:lnTo>
                    <a:pt x="546" y="521"/>
                  </a:lnTo>
                  <a:lnTo>
                    <a:pt x="537" y="523"/>
                  </a:lnTo>
                  <a:lnTo>
                    <a:pt x="529" y="514"/>
                  </a:lnTo>
                  <a:lnTo>
                    <a:pt x="511" y="509"/>
                  </a:lnTo>
                  <a:lnTo>
                    <a:pt x="493" y="511"/>
                  </a:lnTo>
                  <a:lnTo>
                    <a:pt x="479" y="515"/>
                  </a:lnTo>
                  <a:lnTo>
                    <a:pt x="475" y="529"/>
                  </a:lnTo>
                  <a:lnTo>
                    <a:pt x="472" y="540"/>
                  </a:lnTo>
                  <a:lnTo>
                    <a:pt x="461" y="537"/>
                  </a:lnTo>
                  <a:lnTo>
                    <a:pt x="449" y="530"/>
                  </a:lnTo>
                  <a:lnTo>
                    <a:pt x="423" y="530"/>
                  </a:lnTo>
                  <a:lnTo>
                    <a:pt x="403" y="531"/>
                  </a:lnTo>
                  <a:lnTo>
                    <a:pt x="381" y="544"/>
                  </a:lnTo>
                  <a:lnTo>
                    <a:pt x="369" y="553"/>
                  </a:lnTo>
                  <a:lnTo>
                    <a:pt x="358" y="558"/>
                  </a:lnTo>
                  <a:lnTo>
                    <a:pt x="349" y="571"/>
                  </a:lnTo>
                  <a:lnTo>
                    <a:pt x="342" y="596"/>
                  </a:lnTo>
                  <a:lnTo>
                    <a:pt x="344" y="635"/>
                  </a:lnTo>
                  <a:lnTo>
                    <a:pt x="348" y="651"/>
                  </a:lnTo>
                  <a:lnTo>
                    <a:pt x="349" y="666"/>
                  </a:lnTo>
                  <a:lnTo>
                    <a:pt x="355" y="694"/>
                  </a:lnTo>
                  <a:lnTo>
                    <a:pt x="352" y="733"/>
                  </a:lnTo>
                  <a:lnTo>
                    <a:pt x="349" y="750"/>
                  </a:lnTo>
                  <a:lnTo>
                    <a:pt x="336" y="752"/>
                  </a:lnTo>
                  <a:lnTo>
                    <a:pt x="327" y="762"/>
                  </a:lnTo>
                  <a:lnTo>
                    <a:pt x="314" y="763"/>
                  </a:lnTo>
                  <a:lnTo>
                    <a:pt x="301" y="750"/>
                  </a:lnTo>
                  <a:lnTo>
                    <a:pt x="286" y="742"/>
                  </a:lnTo>
                  <a:lnTo>
                    <a:pt x="273" y="746"/>
                  </a:lnTo>
                  <a:lnTo>
                    <a:pt x="260" y="753"/>
                  </a:lnTo>
                  <a:lnTo>
                    <a:pt x="249" y="743"/>
                  </a:lnTo>
                  <a:lnTo>
                    <a:pt x="239" y="738"/>
                  </a:lnTo>
                  <a:lnTo>
                    <a:pt x="225" y="741"/>
                  </a:lnTo>
                  <a:lnTo>
                    <a:pt x="204" y="734"/>
                  </a:lnTo>
                  <a:lnTo>
                    <a:pt x="195" y="716"/>
                  </a:lnTo>
                  <a:lnTo>
                    <a:pt x="190" y="697"/>
                  </a:lnTo>
                  <a:lnTo>
                    <a:pt x="193" y="678"/>
                  </a:lnTo>
                  <a:lnTo>
                    <a:pt x="201" y="673"/>
                  </a:lnTo>
                  <a:lnTo>
                    <a:pt x="205" y="662"/>
                  </a:lnTo>
                  <a:lnTo>
                    <a:pt x="203" y="651"/>
                  </a:lnTo>
                  <a:lnTo>
                    <a:pt x="187" y="638"/>
                  </a:lnTo>
                  <a:lnTo>
                    <a:pt x="181" y="631"/>
                  </a:lnTo>
                  <a:lnTo>
                    <a:pt x="186" y="619"/>
                  </a:lnTo>
                  <a:lnTo>
                    <a:pt x="184" y="609"/>
                  </a:lnTo>
                  <a:lnTo>
                    <a:pt x="171" y="602"/>
                  </a:lnTo>
                  <a:lnTo>
                    <a:pt x="142" y="603"/>
                  </a:lnTo>
                  <a:lnTo>
                    <a:pt x="128" y="604"/>
                  </a:lnTo>
                  <a:lnTo>
                    <a:pt x="112" y="601"/>
                  </a:lnTo>
                  <a:lnTo>
                    <a:pt x="97" y="587"/>
                  </a:lnTo>
                  <a:lnTo>
                    <a:pt x="89" y="573"/>
                  </a:lnTo>
                  <a:lnTo>
                    <a:pt x="77" y="562"/>
                  </a:lnTo>
                  <a:lnTo>
                    <a:pt x="65" y="555"/>
                  </a:lnTo>
                  <a:lnTo>
                    <a:pt x="60" y="538"/>
                  </a:lnTo>
                  <a:lnTo>
                    <a:pt x="49" y="528"/>
                  </a:lnTo>
                  <a:lnTo>
                    <a:pt x="34" y="521"/>
                  </a:lnTo>
                  <a:lnTo>
                    <a:pt x="18" y="518"/>
                  </a:lnTo>
                  <a:lnTo>
                    <a:pt x="9" y="526"/>
                  </a:lnTo>
                  <a:lnTo>
                    <a:pt x="13" y="511"/>
                  </a:lnTo>
                  <a:lnTo>
                    <a:pt x="12" y="497"/>
                  </a:lnTo>
                  <a:lnTo>
                    <a:pt x="1" y="470"/>
                  </a:lnTo>
                  <a:lnTo>
                    <a:pt x="0" y="457"/>
                  </a:lnTo>
                  <a:lnTo>
                    <a:pt x="2" y="443"/>
                  </a:lnTo>
                  <a:lnTo>
                    <a:pt x="7" y="435"/>
                  </a:lnTo>
                  <a:lnTo>
                    <a:pt x="9" y="430"/>
                  </a:lnTo>
                  <a:lnTo>
                    <a:pt x="9" y="421"/>
                  </a:lnTo>
                  <a:lnTo>
                    <a:pt x="5" y="415"/>
                  </a:lnTo>
                  <a:lnTo>
                    <a:pt x="0" y="406"/>
                  </a:lnTo>
                  <a:lnTo>
                    <a:pt x="1" y="398"/>
                  </a:lnTo>
                  <a:lnTo>
                    <a:pt x="8" y="391"/>
                  </a:lnTo>
                  <a:lnTo>
                    <a:pt x="22" y="389"/>
                  </a:lnTo>
                  <a:lnTo>
                    <a:pt x="34" y="389"/>
                  </a:lnTo>
                  <a:lnTo>
                    <a:pt x="48" y="389"/>
                  </a:lnTo>
                  <a:lnTo>
                    <a:pt x="79" y="370"/>
                  </a:lnTo>
                  <a:lnTo>
                    <a:pt x="100" y="349"/>
                  </a:lnTo>
                  <a:lnTo>
                    <a:pt x="108" y="331"/>
                  </a:lnTo>
                  <a:lnTo>
                    <a:pt x="109" y="313"/>
                  </a:lnTo>
                  <a:lnTo>
                    <a:pt x="106" y="299"/>
                  </a:lnTo>
                  <a:lnTo>
                    <a:pt x="100" y="289"/>
                  </a:lnTo>
                  <a:lnTo>
                    <a:pt x="103" y="276"/>
                  </a:lnTo>
                  <a:lnTo>
                    <a:pt x="109" y="265"/>
                  </a:lnTo>
                  <a:lnTo>
                    <a:pt x="107" y="255"/>
                  </a:lnTo>
                  <a:lnTo>
                    <a:pt x="100" y="245"/>
                  </a:lnTo>
                  <a:lnTo>
                    <a:pt x="99" y="233"/>
                  </a:lnTo>
                  <a:lnTo>
                    <a:pt x="107" y="223"/>
                  </a:lnTo>
                  <a:lnTo>
                    <a:pt x="108" y="209"/>
                  </a:lnTo>
                  <a:lnTo>
                    <a:pt x="101" y="195"/>
                  </a:lnTo>
                  <a:lnTo>
                    <a:pt x="99" y="174"/>
                  </a:lnTo>
                  <a:lnTo>
                    <a:pt x="88" y="154"/>
                  </a:lnTo>
                  <a:lnTo>
                    <a:pt x="74" y="139"/>
                  </a:lnTo>
                  <a:lnTo>
                    <a:pt x="66" y="124"/>
                  </a:lnTo>
                  <a:lnTo>
                    <a:pt x="59" y="103"/>
                  </a:lnTo>
                  <a:lnTo>
                    <a:pt x="56" y="85"/>
                  </a:lnTo>
                  <a:lnTo>
                    <a:pt x="59" y="74"/>
                  </a:lnTo>
                  <a:lnTo>
                    <a:pt x="73" y="71"/>
                  </a:lnTo>
                  <a:lnTo>
                    <a:pt x="86" y="69"/>
                  </a:lnTo>
                  <a:lnTo>
                    <a:pt x="94" y="60"/>
                  </a:lnTo>
                  <a:lnTo>
                    <a:pt x="98" y="52"/>
                  </a:lnTo>
                  <a:lnTo>
                    <a:pt x="107" y="42"/>
                  </a:lnTo>
                  <a:lnTo>
                    <a:pt x="123" y="42"/>
                  </a:lnTo>
                  <a:lnTo>
                    <a:pt x="131" y="48"/>
                  </a:lnTo>
                  <a:lnTo>
                    <a:pt x="139" y="60"/>
                  </a:lnTo>
                  <a:lnTo>
                    <a:pt x="149" y="63"/>
                  </a:lnTo>
                  <a:lnTo>
                    <a:pt x="162" y="57"/>
                  </a:lnTo>
                  <a:lnTo>
                    <a:pt x="171" y="53"/>
                  </a:lnTo>
                  <a:lnTo>
                    <a:pt x="183" y="55"/>
                  </a:lnTo>
                  <a:lnTo>
                    <a:pt x="190" y="55"/>
                  </a:lnTo>
                  <a:lnTo>
                    <a:pt x="203" y="39"/>
                  </a:lnTo>
                  <a:lnTo>
                    <a:pt x="223" y="17"/>
                  </a:lnTo>
                  <a:lnTo>
                    <a:pt x="233" y="5"/>
                  </a:lnTo>
                  <a:lnTo>
                    <a:pt x="238" y="0"/>
                  </a:lnTo>
                  <a:lnTo>
                    <a:pt x="244" y="6"/>
                  </a:lnTo>
                  <a:lnTo>
                    <a:pt x="248" y="12"/>
                  </a:lnTo>
                  <a:lnTo>
                    <a:pt x="254" y="14"/>
                  </a:lnTo>
                  <a:lnTo>
                    <a:pt x="267" y="15"/>
                  </a:lnTo>
                  <a:lnTo>
                    <a:pt x="275" y="23"/>
                  </a:lnTo>
                  <a:lnTo>
                    <a:pt x="280" y="34"/>
                  </a:lnTo>
                  <a:lnTo>
                    <a:pt x="281" y="40"/>
                  </a:lnTo>
                  <a:lnTo>
                    <a:pt x="291" y="41"/>
                  </a:lnTo>
                  <a:lnTo>
                    <a:pt x="297" y="44"/>
                  </a:lnTo>
                  <a:lnTo>
                    <a:pt x="312" y="47"/>
                  </a:lnTo>
                  <a:lnTo>
                    <a:pt x="326" y="48"/>
                  </a:lnTo>
                  <a:lnTo>
                    <a:pt x="342" y="48"/>
                  </a:lnTo>
                  <a:lnTo>
                    <a:pt x="350" y="48"/>
                  </a:lnTo>
                  <a:lnTo>
                    <a:pt x="358" y="56"/>
                  </a:lnTo>
                  <a:lnTo>
                    <a:pt x="363" y="60"/>
                  </a:lnTo>
                  <a:lnTo>
                    <a:pt x="373" y="59"/>
                  </a:lnTo>
                  <a:lnTo>
                    <a:pt x="382" y="56"/>
                  </a:lnTo>
                  <a:lnTo>
                    <a:pt x="386" y="63"/>
                  </a:lnTo>
                  <a:lnTo>
                    <a:pt x="386" y="72"/>
                  </a:lnTo>
                  <a:lnTo>
                    <a:pt x="384" y="92"/>
                  </a:lnTo>
                  <a:lnTo>
                    <a:pt x="382" y="99"/>
                  </a:lnTo>
                  <a:lnTo>
                    <a:pt x="381" y="114"/>
                  </a:lnTo>
                  <a:lnTo>
                    <a:pt x="377" y="126"/>
                  </a:lnTo>
                  <a:lnTo>
                    <a:pt x="377" y="141"/>
                  </a:lnTo>
                  <a:lnTo>
                    <a:pt x="370" y="149"/>
                  </a:lnTo>
                  <a:lnTo>
                    <a:pt x="358" y="157"/>
                  </a:lnTo>
                  <a:lnTo>
                    <a:pt x="355" y="165"/>
                  </a:lnTo>
                  <a:lnTo>
                    <a:pt x="355" y="171"/>
                  </a:lnTo>
                  <a:lnTo>
                    <a:pt x="364" y="180"/>
                  </a:lnTo>
                  <a:lnTo>
                    <a:pt x="384" y="188"/>
                  </a:lnTo>
                  <a:lnTo>
                    <a:pt x="404" y="191"/>
                  </a:lnTo>
                  <a:lnTo>
                    <a:pt x="412" y="200"/>
                  </a:lnTo>
                  <a:lnTo>
                    <a:pt x="413" y="208"/>
                  </a:lnTo>
                  <a:lnTo>
                    <a:pt x="411" y="216"/>
                  </a:lnTo>
                  <a:lnTo>
                    <a:pt x="404" y="229"/>
                  </a:lnTo>
                  <a:lnTo>
                    <a:pt x="399" y="240"/>
                  </a:lnTo>
                  <a:lnTo>
                    <a:pt x="393" y="253"/>
                  </a:lnTo>
                  <a:lnTo>
                    <a:pt x="390" y="265"/>
                  </a:lnTo>
                  <a:lnTo>
                    <a:pt x="393" y="276"/>
                  </a:lnTo>
                  <a:lnTo>
                    <a:pt x="400" y="282"/>
                  </a:lnTo>
                  <a:lnTo>
                    <a:pt x="400" y="287"/>
                  </a:lnTo>
                  <a:lnTo>
                    <a:pt x="398" y="295"/>
                  </a:lnTo>
                  <a:lnTo>
                    <a:pt x="393" y="297"/>
                  </a:lnTo>
                  <a:lnTo>
                    <a:pt x="382" y="299"/>
                  </a:lnTo>
                  <a:lnTo>
                    <a:pt x="376" y="303"/>
                  </a:lnTo>
                  <a:lnTo>
                    <a:pt x="373" y="316"/>
                  </a:lnTo>
                  <a:lnTo>
                    <a:pt x="377" y="328"/>
                  </a:lnTo>
                  <a:lnTo>
                    <a:pt x="383" y="341"/>
                  </a:lnTo>
                  <a:lnTo>
                    <a:pt x="395" y="357"/>
                  </a:lnTo>
                  <a:lnTo>
                    <a:pt x="407" y="369"/>
                  </a:lnTo>
                  <a:lnTo>
                    <a:pt x="424" y="375"/>
                  </a:lnTo>
                  <a:lnTo>
                    <a:pt x="439" y="379"/>
                  </a:lnTo>
                  <a:lnTo>
                    <a:pt x="458" y="384"/>
                  </a:lnTo>
                  <a:lnTo>
                    <a:pt x="468" y="389"/>
                  </a:lnTo>
                  <a:lnTo>
                    <a:pt x="482" y="395"/>
                  </a:lnTo>
                  <a:lnTo>
                    <a:pt x="497" y="401"/>
                  </a:lnTo>
                  <a:lnTo>
                    <a:pt x="511" y="406"/>
                  </a:lnTo>
                  <a:lnTo>
                    <a:pt x="514" y="406"/>
                  </a:lnTo>
                  <a:lnTo>
                    <a:pt x="524" y="416"/>
                  </a:lnTo>
                  <a:lnTo>
                    <a:pt x="531" y="424"/>
                  </a:lnTo>
                  <a:lnTo>
                    <a:pt x="537" y="432"/>
                  </a:lnTo>
                  <a:lnTo>
                    <a:pt x="554" y="433"/>
                  </a:lnTo>
                  <a:lnTo>
                    <a:pt x="564" y="431"/>
                  </a:lnTo>
                  <a:lnTo>
                    <a:pt x="566" y="431"/>
                  </a:lnTo>
                  <a:lnTo>
                    <a:pt x="572" y="421"/>
                  </a:lnTo>
                  <a:lnTo>
                    <a:pt x="582" y="418"/>
                  </a:lnTo>
                  <a:lnTo>
                    <a:pt x="589" y="417"/>
                  </a:lnTo>
                  <a:lnTo>
                    <a:pt x="595" y="422"/>
                  </a:lnTo>
                  <a:lnTo>
                    <a:pt x="596" y="430"/>
                  </a:lnTo>
                  <a:lnTo>
                    <a:pt x="596" y="445"/>
                  </a:lnTo>
                  <a:lnTo>
                    <a:pt x="596" y="460"/>
                  </a:lnTo>
                  <a:lnTo>
                    <a:pt x="599" y="467"/>
                  </a:lnTo>
                  <a:lnTo>
                    <a:pt x="607" y="479"/>
                  </a:lnTo>
                  <a:lnTo>
                    <a:pt x="611" y="492"/>
                  </a:lnTo>
                  <a:lnTo>
                    <a:pt x="612" y="499"/>
                  </a:lnTo>
                  <a:lnTo>
                    <a:pt x="610" y="511"/>
                  </a:lnTo>
                  <a:lnTo>
                    <a:pt x="607" y="519"/>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3" name="Freeform 28">
              <a:extLst>
                <a:ext uri="{FF2B5EF4-FFF2-40B4-BE49-F238E27FC236}">
                  <a16:creationId xmlns:a16="http://schemas.microsoft.com/office/drawing/2014/main" id="{146932FC-102B-4E6A-A4B9-BE91F851F62A}"/>
                </a:ext>
              </a:extLst>
            </p:cNvPr>
            <p:cNvSpPr>
              <a:spLocks/>
            </p:cNvSpPr>
            <p:nvPr/>
          </p:nvSpPr>
          <p:spPr bwMode="auto">
            <a:xfrm>
              <a:off x="5057518" y="3929229"/>
              <a:ext cx="1048028" cy="770098"/>
            </a:xfrm>
            <a:custGeom>
              <a:avLst/>
              <a:gdLst/>
              <a:ahLst/>
              <a:cxnLst>
                <a:cxn ang="0">
                  <a:pos x="261" y="1"/>
                </a:cxn>
                <a:cxn ang="0">
                  <a:pos x="227" y="14"/>
                </a:cxn>
                <a:cxn ang="0">
                  <a:pos x="186" y="2"/>
                </a:cxn>
                <a:cxn ang="0">
                  <a:pos x="162" y="31"/>
                </a:cxn>
                <a:cxn ang="0">
                  <a:pos x="113" y="21"/>
                </a:cxn>
                <a:cxn ang="0">
                  <a:pos x="59" y="44"/>
                </a:cxn>
                <a:cxn ang="0">
                  <a:pos x="32" y="87"/>
                </a:cxn>
                <a:cxn ang="0">
                  <a:pos x="39" y="157"/>
                </a:cxn>
                <a:cxn ang="0">
                  <a:pos x="39" y="241"/>
                </a:cxn>
                <a:cxn ang="0">
                  <a:pos x="73" y="263"/>
                </a:cxn>
                <a:cxn ang="0">
                  <a:pos x="95" y="217"/>
                </a:cxn>
                <a:cxn ang="0">
                  <a:pos x="127" y="228"/>
                </a:cxn>
                <a:cxn ang="0">
                  <a:pos x="154" y="249"/>
                </a:cxn>
                <a:cxn ang="0">
                  <a:pos x="159" y="299"/>
                </a:cxn>
                <a:cxn ang="0">
                  <a:pos x="94" y="326"/>
                </a:cxn>
                <a:cxn ang="0">
                  <a:pos x="61" y="339"/>
                </a:cxn>
                <a:cxn ang="0">
                  <a:pos x="76" y="384"/>
                </a:cxn>
                <a:cxn ang="0">
                  <a:pos x="42" y="427"/>
                </a:cxn>
                <a:cxn ang="0">
                  <a:pos x="6" y="436"/>
                </a:cxn>
                <a:cxn ang="0">
                  <a:pos x="5" y="484"/>
                </a:cxn>
                <a:cxn ang="0">
                  <a:pos x="98" y="532"/>
                </a:cxn>
                <a:cxn ang="0">
                  <a:pos x="176" y="462"/>
                </a:cxn>
                <a:cxn ang="0">
                  <a:pos x="255" y="454"/>
                </a:cxn>
                <a:cxn ang="0">
                  <a:pos x="347" y="384"/>
                </a:cxn>
                <a:cxn ang="0">
                  <a:pos x="384" y="355"/>
                </a:cxn>
                <a:cxn ang="0">
                  <a:pos x="450" y="340"/>
                </a:cxn>
                <a:cxn ang="0">
                  <a:pos x="516" y="308"/>
                </a:cxn>
                <a:cxn ang="0">
                  <a:pos x="574" y="272"/>
                </a:cxn>
                <a:cxn ang="0">
                  <a:pos x="559" y="232"/>
                </a:cxn>
                <a:cxn ang="0">
                  <a:pos x="595" y="220"/>
                </a:cxn>
                <a:cxn ang="0">
                  <a:pos x="632" y="258"/>
                </a:cxn>
                <a:cxn ang="0">
                  <a:pos x="651" y="278"/>
                </a:cxn>
                <a:cxn ang="0">
                  <a:pos x="663" y="313"/>
                </a:cxn>
                <a:cxn ang="0">
                  <a:pos x="707" y="274"/>
                </a:cxn>
                <a:cxn ang="0">
                  <a:pos x="721" y="157"/>
                </a:cxn>
                <a:cxn ang="0">
                  <a:pos x="708" y="96"/>
                </a:cxn>
                <a:cxn ang="0">
                  <a:pos x="715" y="61"/>
                </a:cxn>
                <a:cxn ang="0">
                  <a:pos x="667" y="32"/>
                </a:cxn>
                <a:cxn ang="0">
                  <a:pos x="633" y="20"/>
                </a:cxn>
                <a:cxn ang="0">
                  <a:pos x="606" y="20"/>
                </a:cxn>
                <a:cxn ang="0">
                  <a:pos x="563" y="50"/>
                </a:cxn>
                <a:cxn ang="0">
                  <a:pos x="534" y="41"/>
                </a:cxn>
                <a:cxn ang="0">
                  <a:pos x="496" y="53"/>
                </a:cxn>
                <a:cxn ang="0">
                  <a:pos x="480" y="98"/>
                </a:cxn>
                <a:cxn ang="0">
                  <a:pos x="472" y="87"/>
                </a:cxn>
                <a:cxn ang="0">
                  <a:pos x="448" y="104"/>
                </a:cxn>
                <a:cxn ang="0">
                  <a:pos x="407" y="121"/>
                </a:cxn>
                <a:cxn ang="0">
                  <a:pos x="373" y="105"/>
                </a:cxn>
                <a:cxn ang="0">
                  <a:pos x="356" y="87"/>
                </a:cxn>
                <a:cxn ang="0">
                  <a:pos x="334" y="101"/>
                </a:cxn>
                <a:cxn ang="0">
                  <a:pos x="301" y="101"/>
                </a:cxn>
                <a:cxn ang="0">
                  <a:pos x="287" y="83"/>
                </a:cxn>
                <a:cxn ang="0">
                  <a:pos x="299" y="56"/>
                </a:cxn>
                <a:cxn ang="0">
                  <a:pos x="292" y="35"/>
                </a:cxn>
                <a:cxn ang="0">
                  <a:pos x="297" y="10"/>
                </a:cxn>
              </a:cxnLst>
              <a:rect l="0" t="0" r="r" b="b"/>
              <a:pathLst>
                <a:path w="724" h="532">
                  <a:moveTo>
                    <a:pt x="297" y="10"/>
                  </a:moveTo>
                  <a:lnTo>
                    <a:pt x="283" y="4"/>
                  </a:lnTo>
                  <a:lnTo>
                    <a:pt x="261" y="1"/>
                  </a:lnTo>
                  <a:lnTo>
                    <a:pt x="245" y="3"/>
                  </a:lnTo>
                  <a:lnTo>
                    <a:pt x="236" y="12"/>
                  </a:lnTo>
                  <a:lnTo>
                    <a:pt x="227" y="14"/>
                  </a:lnTo>
                  <a:lnTo>
                    <a:pt x="219" y="5"/>
                  </a:lnTo>
                  <a:lnTo>
                    <a:pt x="201" y="0"/>
                  </a:lnTo>
                  <a:lnTo>
                    <a:pt x="186" y="2"/>
                  </a:lnTo>
                  <a:lnTo>
                    <a:pt x="169" y="6"/>
                  </a:lnTo>
                  <a:lnTo>
                    <a:pt x="165" y="20"/>
                  </a:lnTo>
                  <a:lnTo>
                    <a:pt x="162" y="31"/>
                  </a:lnTo>
                  <a:lnTo>
                    <a:pt x="151" y="28"/>
                  </a:lnTo>
                  <a:lnTo>
                    <a:pt x="139" y="21"/>
                  </a:lnTo>
                  <a:lnTo>
                    <a:pt x="113" y="21"/>
                  </a:lnTo>
                  <a:lnTo>
                    <a:pt x="93" y="22"/>
                  </a:lnTo>
                  <a:lnTo>
                    <a:pt x="71" y="35"/>
                  </a:lnTo>
                  <a:lnTo>
                    <a:pt x="59" y="44"/>
                  </a:lnTo>
                  <a:lnTo>
                    <a:pt x="48" y="49"/>
                  </a:lnTo>
                  <a:lnTo>
                    <a:pt x="39" y="62"/>
                  </a:lnTo>
                  <a:lnTo>
                    <a:pt x="32" y="87"/>
                  </a:lnTo>
                  <a:lnTo>
                    <a:pt x="34" y="126"/>
                  </a:lnTo>
                  <a:lnTo>
                    <a:pt x="38" y="142"/>
                  </a:lnTo>
                  <a:lnTo>
                    <a:pt x="39" y="157"/>
                  </a:lnTo>
                  <a:lnTo>
                    <a:pt x="45" y="185"/>
                  </a:lnTo>
                  <a:lnTo>
                    <a:pt x="42" y="224"/>
                  </a:lnTo>
                  <a:lnTo>
                    <a:pt x="39" y="241"/>
                  </a:lnTo>
                  <a:lnTo>
                    <a:pt x="44" y="256"/>
                  </a:lnTo>
                  <a:lnTo>
                    <a:pt x="57" y="265"/>
                  </a:lnTo>
                  <a:lnTo>
                    <a:pt x="73" y="263"/>
                  </a:lnTo>
                  <a:lnTo>
                    <a:pt x="85" y="250"/>
                  </a:lnTo>
                  <a:lnTo>
                    <a:pt x="91" y="240"/>
                  </a:lnTo>
                  <a:lnTo>
                    <a:pt x="95" y="217"/>
                  </a:lnTo>
                  <a:lnTo>
                    <a:pt x="107" y="211"/>
                  </a:lnTo>
                  <a:lnTo>
                    <a:pt x="122" y="215"/>
                  </a:lnTo>
                  <a:lnTo>
                    <a:pt x="127" y="228"/>
                  </a:lnTo>
                  <a:lnTo>
                    <a:pt x="127" y="240"/>
                  </a:lnTo>
                  <a:lnTo>
                    <a:pt x="133" y="246"/>
                  </a:lnTo>
                  <a:lnTo>
                    <a:pt x="154" y="249"/>
                  </a:lnTo>
                  <a:lnTo>
                    <a:pt x="163" y="259"/>
                  </a:lnTo>
                  <a:lnTo>
                    <a:pt x="164" y="282"/>
                  </a:lnTo>
                  <a:lnTo>
                    <a:pt x="159" y="299"/>
                  </a:lnTo>
                  <a:lnTo>
                    <a:pt x="136" y="308"/>
                  </a:lnTo>
                  <a:lnTo>
                    <a:pt x="117" y="318"/>
                  </a:lnTo>
                  <a:lnTo>
                    <a:pt x="94" y="326"/>
                  </a:lnTo>
                  <a:lnTo>
                    <a:pt x="76" y="327"/>
                  </a:lnTo>
                  <a:lnTo>
                    <a:pt x="68" y="329"/>
                  </a:lnTo>
                  <a:lnTo>
                    <a:pt x="61" y="339"/>
                  </a:lnTo>
                  <a:lnTo>
                    <a:pt x="64" y="356"/>
                  </a:lnTo>
                  <a:lnTo>
                    <a:pt x="73" y="372"/>
                  </a:lnTo>
                  <a:lnTo>
                    <a:pt x="76" y="384"/>
                  </a:lnTo>
                  <a:lnTo>
                    <a:pt x="70" y="398"/>
                  </a:lnTo>
                  <a:lnTo>
                    <a:pt x="54" y="415"/>
                  </a:lnTo>
                  <a:lnTo>
                    <a:pt x="42" y="427"/>
                  </a:lnTo>
                  <a:lnTo>
                    <a:pt x="29" y="428"/>
                  </a:lnTo>
                  <a:lnTo>
                    <a:pt x="15" y="426"/>
                  </a:lnTo>
                  <a:lnTo>
                    <a:pt x="6" y="436"/>
                  </a:lnTo>
                  <a:lnTo>
                    <a:pt x="0" y="451"/>
                  </a:lnTo>
                  <a:lnTo>
                    <a:pt x="4" y="476"/>
                  </a:lnTo>
                  <a:lnTo>
                    <a:pt x="5" y="484"/>
                  </a:lnTo>
                  <a:lnTo>
                    <a:pt x="24" y="507"/>
                  </a:lnTo>
                  <a:lnTo>
                    <a:pt x="50" y="530"/>
                  </a:lnTo>
                  <a:lnTo>
                    <a:pt x="98" y="532"/>
                  </a:lnTo>
                  <a:lnTo>
                    <a:pt x="118" y="507"/>
                  </a:lnTo>
                  <a:lnTo>
                    <a:pt x="142" y="486"/>
                  </a:lnTo>
                  <a:lnTo>
                    <a:pt x="176" y="462"/>
                  </a:lnTo>
                  <a:lnTo>
                    <a:pt x="203" y="459"/>
                  </a:lnTo>
                  <a:lnTo>
                    <a:pt x="233" y="467"/>
                  </a:lnTo>
                  <a:lnTo>
                    <a:pt x="255" y="454"/>
                  </a:lnTo>
                  <a:lnTo>
                    <a:pt x="281" y="426"/>
                  </a:lnTo>
                  <a:lnTo>
                    <a:pt x="310" y="398"/>
                  </a:lnTo>
                  <a:lnTo>
                    <a:pt x="347" y="384"/>
                  </a:lnTo>
                  <a:lnTo>
                    <a:pt x="372" y="376"/>
                  </a:lnTo>
                  <a:lnTo>
                    <a:pt x="381" y="366"/>
                  </a:lnTo>
                  <a:lnTo>
                    <a:pt x="384" y="355"/>
                  </a:lnTo>
                  <a:lnTo>
                    <a:pt x="395" y="349"/>
                  </a:lnTo>
                  <a:lnTo>
                    <a:pt x="422" y="348"/>
                  </a:lnTo>
                  <a:lnTo>
                    <a:pt x="450" y="340"/>
                  </a:lnTo>
                  <a:lnTo>
                    <a:pt x="476" y="328"/>
                  </a:lnTo>
                  <a:lnTo>
                    <a:pt x="489" y="313"/>
                  </a:lnTo>
                  <a:lnTo>
                    <a:pt x="516" y="308"/>
                  </a:lnTo>
                  <a:lnTo>
                    <a:pt x="537" y="308"/>
                  </a:lnTo>
                  <a:lnTo>
                    <a:pt x="555" y="289"/>
                  </a:lnTo>
                  <a:lnTo>
                    <a:pt x="574" y="272"/>
                  </a:lnTo>
                  <a:lnTo>
                    <a:pt x="576" y="258"/>
                  </a:lnTo>
                  <a:lnTo>
                    <a:pt x="568" y="243"/>
                  </a:lnTo>
                  <a:lnTo>
                    <a:pt x="559" y="232"/>
                  </a:lnTo>
                  <a:lnTo>
                    <a:pt x="559" y="225"/>
                  </a:lnTo>
                  <a:lnTo>
                    <a:pt x="572" y="218"/>
                  </a:lnTo>
                  <a:lnTo>
                    <a:pt x="595" y="220"/>
                  </a:lnTo>
                  <a:lnTo>
                    <a:pt x="613" y="229"/>
                  </a:lnTo>
                  <a:lnTo>
                    <a:pt x="626" y="240"/>
                  </a:lnTo>
                  <a:lnTo>
                    <a:pt x="632" y="258"/>
                  </a:lnTo>
                  <a:lnTo>
                    <a:pt x="633" y="268"/>
                  </a:lnTo>
                  <a:lnTo>
                    <a:pt x="643" y="273"/>
                  </a:lnTo>
                  <a:lnTo>
                    <a:pt x="651" y="278"/>
                  </a:lnTo>
                  <a:lnTo>
                    <a:pt x="654" y="288"/>
                  </a:lnTo>
                  <a:lnTo>
                    <a:pt x="651" y="301"/>
                  </a:lnTo>
                  <a:lnTo>
                    <a:pt x="663" y="313"/>
                  </a:lnTo>
                  <a:lnTo>
                    <a:pt x="678" y="318"/>
                  </a:lnTo>
                  <a:lnTo>
                    <a:pt x="692" y="309"/>
                  </a:lnTo>
                  <a:lnTo>
                    <a:pt x="707" y="274"/>
                  </a:lnTo>
                  <a:lnTo>
                    <a:pt x="715" y="223"/>
                  </a:lnTo>
                  <a:lnTo>
                    <a:pt x="718" y="185"/>
                  </a:lnTo>
                  <a:lnTo>
                    <a:pt x="721" y="157"/>
                  </a:lnTo>
                  <a:lnTo>
                    <a:pt x="724" y="136"/>
                  </a:lnTo>
                  <a:lnTo>
                    <a:pt x="717" y="113"/>
                  </a:lnTo>
                  <a:lnTo>
                    <a:pt x="708" y="96"/>
                  </a:lnTo>
                  <a:lnTo>
                    <a:pt x="706" y="85"/>
                  </a:lnTo>
                  <a:lnTo>
                    <a:pt x="714" y="72"/>
                  </a:lnTo>
                  <a:lnTo>
                    <a:pt x="715" y="61"/>
                  </a:lnTo>
                  <a:lnTo>
                    <a:pt x="706" y="48"/>
                  </a:lnTo>
                  <a:lnTo>
                    <a:pt x="688" y="36"/>
                  </a:lnTo>
                  <a:lnTo>
                    <a:pt x="667" y="32"/>
                  </a:lnTo>
                  <a:lnTo>
                    <a:pt x="653" y="24"/>
                  </a:lnTo>
                  <a:lnTo>
                    <a:pt x="644" y="23"/>
                  </a:lnTo>
                  <a:lnTo>
                    <a:pt x="633" y="20"/>
                  </a:lnTo>
                  <a:lnTo>
                    <a:pt x="623" y="19"/>
                  </a:lnTo>
                  <a:lnTo>
                    <a:pt x="614" y="18"/>
                  </a:lnTo>
                  <a:lnTo>
                    <a:pt x="606" y="20"/>
                  </a:lnTo>
                  <a:lnTo>
                    <a:pt x="589" y="32"/>
                  </a:lnTo>
                  <a:lnTo>
                    <a:pt x="571" y="44"/>
                  </a:lnTo>
                  <a:lnTo>
                    <a:pt x="563" y="50"/>
                  </a:lnTo>
                  <a:lnTo>
                    <a:pt x="551" y="50"/>
                  </a:lnTo>
                  <a:lnTo>
                    <a:pt x="543" y="45"/>
                  </a:lnTo>
                  <a:lnTo>
                    <a:pt x="534" y="41"/>
                  </a:lnTo>
                  <a:lnTo>
                    <a:pt x="526" y="40"/>
                  </a:lnTo>
                  <a:lnTo>
                    <a:pt x="513" y="44"/>
                  </a:lnTo>
                  <a:lnTo>
                    <a:pt x="496" y="53"/>
                  </a:lnTo>
                  <a:lnTo>
                    <a:pt x="491" y="65"/>
                  </a:lnTo>
                  <a:lnTo>
                    <a:pt x="486" y="79"/>
                  </a:lnTo>
                  <a:lnTo>
                    <a:pt x="480" y="98"/>
                  </a:lnTo>
                  <a:lnTo>
                    <a:pt x="476" y="112"/>
                  </a:lnTo>
                  <a:lnTo>
                    <a:pt x="475" y="95"/>
                  </a:lnTo>
                  <a:lnTo>
                    <a:pt x="472" y="87"/>
                  </a:lnTo>
                  <a:lnTo>
                    <a:pt x="464" y="87"/>
                  </a:lnTo>
                  <a:lnTo>
                    <a:pt x="458" y="95"/>
                  </a:lnTo>
                  <a:lnTo>
                    <a:pt x="448" y="104"/>
                  </a:lnTo>
                  <a:lnTo>
                    <a:pt x="436" y="113"/>
                  </a:lnTo>
                  <a:lnTo>
                    <a:pt x="423" y="117"/>
                  </a:lnTo>
                  <a:lnTo>
                    <a:pt x="407" y="121"/>
                  </a:lnTo>
                  <a:lnTo>
                    <a:pt x="392" y="121"/>
                  </a:lnTo>
                  <a:lnTo>
                    <a:pt x="380" y="116"/>
                  </a:lnTo>
                  <a:lnTo>
                    <a:pt x="373" y="105"/>
                  </a:lnTo>
                  <a:lnTo>
                    <a:pt x="369" y="93"/>
                  </a:lnTo>
                  <a:lnTo>
                    <a:pt x="363" y="87"/>
                  </a:lnTo>
                  <a:lnTo>
                    <a:pt x="356" y="87"/>
                  </a:lnTo>
                  <a:lnTo>
                    <a:pt x="349" y="87"/>
                  </a:lnTo>
                  <a:lnTo>
                    <a:pt x="343" y="94"/>
                  </a:lnTo>
                  <a:lnTo>
                    <a:pt x="334" y="101"/>
                  </a:lnTo>
                  <a:lnTo>
                    <a:pt x="323" y="104"/>
                  </a:lnTo>
                  <a:lnTo>
                    <a:pt x="309" y="106"/>
                  </a:lnTo>
                  <a:lnTo>
                    <a:pt x="301" y="101"/>
                  </a:lnTo>
                  <a:lnTo>
                    <a:pt x="296" y="91"/>
                  </a:lnTo>
                  <a:lnTo>
                    <a:pt x="292" y="86"/>
                  </a:lnTo>
                  <a:lnTo>
                    <a:pt x="287" y="83"/>
                  </a:lnTo>
                  <a:lnTo>
                    <a:pt x="293" y="75"/>
                  </a:lnTo>
                  <a:lnTo>
                    <a:pt x="298" y="66"/>
                  </a:lnTo>
                  <a:lnTo>
                    <a:pt x="299" y="56"/>
                  </a:lnTo>
                  <a:lnTo>
                    <a:pt x="294" y="49"/>
                  </a:lnTo>
                  <a:lnTo>
                    <a:pt x="292" y="44"/>
                  </a:lnTo>
                  <a:lnTo>
                    <a:pt x="292" y="35"/>
                  </a:lnTo>
                  <a:lnTo>
                    <a:pt x="296" y="28"/>
                  </a:lnTo>
                  <a:lnTo>
                    <a:pt x="298" y="20"/>
                  </a:lnTo>
                  <a:lnTo>
                    <a:pt x="297" y="1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4" name="Freeform 29">
              <a:extLst>
                <a:ext uri="{FF2B5EF4-FFF2-40B4-BE49-F238E27FC236}">
                  <a16:creationId xmlns:a16="http://schemas.microsoft.com/office/drawing/2014/main" id="{F0D2E80C-19BE-4C9E-A766-2F1CFDE65DE1}"/>
                </a:ext>
              </a:extLst>
            </p:cNvPr>
            <p:cNvSpPr>
              <a:spLocks/>
            </p:cNvSpPr>
            <p:nvPr/>
          </p:nvSpPr>
          <p:spPr bwMode="auto">
            <a:xfrm>
              <a:off x="4345323" y="3942257"/>
              <a:ext cx="949594" cy="749832"/>
            </a:xfrm>
            <a:custGeom>
              <a:avLst/>
              <a:gdLst/>
              <a:ahLst/>
              <a:cxnLst>
                <a:cxn ang="0">
                  <a:pos x="198" y="21"/>
                </a:cxn>
                <a:cxn ang="0">
                  <a:pos x="193" y="35"/>
                </a:cxn>
                <a:cxn ang="0">
                  <a:pos x="155" y="45"/>
                </a:cxn>
                <a:cxn ang="0">
                  <a:pos x="126" y="44"/>
                </a:cxn>
                <a:cxn ang="0">
                  <a:pos x="95" y="49"/>
                </a:cxn>
                <a:cxn ang="0">
                  <a:pos x="70" y="71"/>
                </a:cxn>
                <a:cxn ang="0">
                  <a:pos x="40" y="79"/>
                </a:cxn>
                <a:cxn ang="0">
                  <a:pos x="4" y="99"/>
                </a:cxn>
                <a:cxn ang="0">
                  <a:pos x="11" y="131"/>
                </a:cxn>
                <a:cxn ang="0">
                  <a:pos x="43" y="141"/>
                </a:cxn>
                <a:cxn ang="0">
                  <a:pos x="52" y="183"/>
                </a:cxn>
                <a:cxn ang="0">
                  <a:pos x="59" y="227"/>
                </a:cxn>
                <a:cxn ang="0">
                  <a:pos x="47" y="250"/>
                </a:cxn>
                <a:cxn ang="0">
                  <a:pos x="18" y="312"/>
                </a:cxn>
                <a:cxn ang="0">
                  <a:pos x="1" y="360"/>
                </a:cxn>
                <a:cxn ang="0">
                  <a:pos x="15" y="391"/>
                </a:cxn>
                <a:cxn ang="0">
                  <a:pos x="37" y="361"/>
                </a:cxn>
                <a:cxn ang="0">
                  <a:pos x="37" y="396"/>
                </a:cxn>
                <a:cxn ang="0">
                  <a:pos x="68" y="403"/>
                </a:cxn>
                <a:cxn ang="0">
                  <a:pos x="95" y="420"/>
                </a:cxn>
                <a:cxn ang="0">
                  <a:pos x="141" y="476"/>
                </a:cxn>
                <a:cxn ang="0">
                  <a:pos x="170" y="505"/>
                </a:cxn>
                <a:cxn ang="0">
                  <a:pos x="200" y="518"/>
                </a:cxn>
                <a:cxn ang="0">
                  <a:pos x="200" y="485"/>
                </a:cxn>
                <a:cxn ang="0">
                  <a:pos x="226" y="473"/>
                </a:cxn>
                <a:cxn ang="0">
                  <a:pos x="263" y="482"/>
                </a:cxn>
                <a:cxn ang="0">
                  <a:pos x="303" y="497"/>
                </a:cxn>
                <a:cxn ang="0">
                  <a:pos x="331" y="493"/>
                </a:cxn>
                <a:cxn ang="0">
                  <a:pos x="334" y="433"/>
                </a:cxn>
                <a:cxn ang="0">
                  <a:pos x="369" y="441"/>
                </a:cxn>
                <a:cxn ang="0">
                  <a:pos x="399" y="466"/>
                </a:cxn>
                <a:cxn ang="0">
                  <a:pos x="454" y="465"/>
                </a:cxn>
                <a:cxn ang="0">
                  <a:pos x="497" y="475"/>
                </a:cxn>
                <a:cxn ang="0">
                  <a:pos x="507" y="417"/>
                </a:cxn>
                <a:cxn ang="0">
                  <a:pos x="546" y="406"/>
                </a:cxn>
                <a:cxn ang="0">
                  <a:pos x="565" y="363"/>
                </a:cxn>
                <a:cxn ang="0">
                  <a:pos x="560" y="320"/>
                </a:cxn>
                <a:cxn ang="0">
                  <a:pos x="609" y="309"/>
                </a:cxn>
                <a:cxn ang="0">
                  <a:pos x="656" y="273"/>
                </a:cxn>
                <a:cxn ang="0">
                  <a:pos x="625" y="237"/>
                </a:cxn>
                <a:cxn ang="0">
                  <a:pos x="614" y="206"/>
                </a:cxn>
                <a:cxn ang="0">
                  <a:pos x="583" y="231"/>
                </a:cxn>
                <a:cxn ang="0">
                  <a:pos x="549" y="256"/>
                </a:cxn>
                <a:cxn ang="0">
                  <a:pos x="518" y="234"/>
                </a:cxn>
                <a:cxn ang="0">
                  <a:pos x="483" y="232"/>
                </a:cxn>
                <a:cxn ang="0">
                  <a:pos x="442" y="235"/>
                </a:cxn>
                <a:cxn ang="0">
                  <a:pos x="407" y="223"/>
                </a:cxn>
                <a:cxn ang="0">
                  <a:pos x="372" y="179"/>
                </a:cxn>
                <a:cxn ang="0">
                  <a:pos x="387" y="144"/>
                </a:cxn>
                <a:cxn ang="0">
                  <a:pos x="363" y="113"/>
                </a:cxn>
                <a:cxn ang="0">
                  <a:pos x="353" y="84"/>
                </a:cxn>
                <a:cxn ang="0">
                  <a:pos x="294" y="83"/>
                </a:cxn>
                <a:cxn ang="0">
                  <a:pos x="259" y="44"/>
                </a:cxn>
                <a:cxn ang="0">
                  <a:pos x="231" y="10"/>
                </a:cxn>
                <a:cxn ang="0">
                  <a:pos x="191" y="8"/>
                </a:cxn>
              </a:cxnLst>
              <a:rect l="0" t="0" r="r" b="b"/>
              <a:pathLst>
                <a:path w="656" h="518">
                  <a:moveTo>
                    <a:pt x="191" y="8"/>
                  </a:moveTo>
                  <a:lnTo>
                    <a:pt x="194" y="15"/>
                  </a:lnTo>
                  <a:lnTo>
                    <a:pt x="198" y="21"/>
                  </a:lnTo>
                  <a:lnTo>
                    <a:pt x="200" y="27"/>
                  </a:lnTo>
                  <a:lnTo>
                    <a:pt x="199" y="34"/>
                  </a:lnTo>
                  <a:lnTo>
                    <a:pt x="193" y="35"/>
                  </a:lnTo>
                  <a:lnTo>
                    <a:pt x="183" y="36"/>
                  </a:lnTo>
                  <a:lnTo>
                    <a:pt x="174" y="36"/>
                  </a:lnTo>
                  <a:lnTo>
                    <a:pt x="155" y="45"/>
                  </a:lnTo>
                  <a:lnTo>
                    <a:pt x="142" y="49"/>
                  </a:lnTo>
                  <a:lnTo>
                    <a:pt x="134" y="48"/>
                  </a:lnTo>
                  <a:lnTo>
                    <a:pt x="126" y="44"/>
                  </a:lnTo>
                  <a:lnTo>
                    <a:pt x="115" y="43"/>
                  </a:lnTo>
                  <a:lnTo>
                    <a:pt x="104" y="44"/>
                  </a:lnTo>
                  <a:lnTo>
                    <a:pt x="95" y="49"/>
                  </a:lnTo>
                  <a:lnTo>
                    <a:pt x="87" y="58"/>
                  </a:lnTo>
                  <a:lnTo>
                    <a:pt x="78" y="67"/>
                  </a:lnTo>
                  <a:lnTo>
                    <a:pt x="70" y="71"/>
                  </a:lnTo>
                  <a:lnTo>
                    <a:pt x="62" y="72"/>
                  </a:lnTo>
                  <a:lnTo>
                    <a:pt x="51" y="74"/>
                  </a:lnTo>
                  <a:lnTo>
                    <a:pt x="40" y="79"/>
                  </a:lnTo>
                  <a:lnTo>
                    <a:pt x="21" y="92"/>
                  </a:lnTo>
                  <a:lnTo>
                    <a:pt x="13" y="97"/>
                  </a:lnTo>
                  <a:lnTo>
                    <a:pt x="4" y="99"/>
                  </a:lnTo>
                  <a:lnTo>
                    <a:pt x="3" y="108"/>
                  </a:lnTo>
                  <a:lnTo>
                    <a:pt x="4" y="122"/>
                  </a:lnTo>
                  <a:lnTo>
                    <a:pt x="11" y="131"/>
                  </a:lnTo>
                  <a:lnTo>
                    <a:pt x="20" y="136"/>
                  </a:lnTo>
                  <a:lnTo>
                    <a:pt x="34" y="137"/>
                  </a:lnTo>
                  <a:lnTo>
                    <a:pt x="43" y="141"/>
                  </a:lnTo>
                  <a:lnTo>
                    <a:pt x="48" y="149"/>
                  </a:lnTo>
                  <a:lnTo>
                    <a:pt x="50" y="163"/>
                  </a:lnTo>
                  <a:lnTo>
                    <a:pt x="52" y="183"/>
                  </a:lnTo>
                  <a:lnTo>
                    <a:pt x="50" y="204"/>
                  </a:lnTo>
                  <a:lnTo>
                    <a:pt x="52" y="218"/>
                  </a:lnTo>
                  <a:lnTo>
                    <a:pt x="59" y="227"/>
                  </a:lnTo>
                  <a:lnTo>
                    <a:pt x="61" y="235"/>
                  </a:lnTo>
                  <a:lnTo>
                    <a:pt x="58" y="243"/>
                  </a:lnTo>
                  <a:lnTo>
                    <a:pt x="47" y="250"/>
                  </a:lnTo>
                  <a:lnTo>
                    <a:pt x="34" y="264"/>
                  </a:lnTo>
                  <a:lnTo>
                    <a:pt x="20" y="286"/>
                  </a:lnTo>
                  <a:lnTo>
                    <a:pt x="18" y="312"/>
                  </a:lnTo>
                  <a:lnTo>
                    <a:pt x="15" y="334"/>
                  </a:lnTo>
                  <a:lnTo>
                    <a:pt x="9" y="347"/>
                  </a:lnTo>
                  <a:lnTo>
                    <a:pt x="1" y="360"/>
                  </a:lnTo>
                  <a:lnTo>
                    <a:pt x="0" y="377"/>
                  </a:lnTo>
                  <a:lnTo>
                    <a:pt x="5" y="388"/>
                  </a:lnTo>
                  <a:lnTo>
                    <a:pt x="15" y="391"/>
                  </a:lnTo>
                  <a:lnTo>
                    <a:pt x="27" y="379"/>
                  </a:lnTo>
                  <a:lnTo>
                    <a:pt x="31" y="365"/>
                  </a:lnTo>
                  <a:lnTo>
                    <a:pt x="37" y="361"/>
                  </a:lnTo>
                  <a:lnTo>
                    <a:pt x="40" y="367"/>
                  </a:lnTo>
                  <a:lnTo>
                    <a:pt x="38" y="380"/>
                  </a:lnTo>
                  <a:lnTo>
                    <a:pt x="37" y="396"/>
                  </a:lnTo>
                  <a:lnTo>
                    <a:pt x="41" y="402"/>
                  </a:lnTo>
                  <a:lnTo>
                    <a:pt x="55" y="405"/>
                  </a:lnTo>
                  <a:lnTo>
                    <a:pt x="68" y="403"/>
                  </a:lnTo>
                  <a:lnTo>
                    <a:pt x="77" y="400"/>
                  </a:lnTo>
                  <a:lnTo>
                    <a:pt x="85" y="403"/>
                  </a:lnTo>
                  <a:lnTo>
                    <a:pt x="95" y="420"/>
                  </a:lnTo>
                  <a:lnTo>
                    <a:pt x="104" y="441"/>
                  </a:lnTo>
                  <a:lnTo>
                    <a:pt x="118" y="465"/>
                  </a:lnTo>
                  <a:lnTo>
                    <a:pt x="141" y="476"/>
                  </a:lnTo>
                  <a:lnTo>
                    <a:pt x="159" y="483"/>
                  </a:lnTo>
                  <a:lnTo>
                    <a:pt x="168" y="492"/>
                  </a:lnTo>
                  <a:lnTo>
                    <a:pt x="170" y="505"/>
                  </a:lnTo>
                  <a:lnTo>
                    <a:pt x="172" y="514"/>
                  </a:lnTo>
                  <a:lnTo>
                    <a:pt x="187" y="518"/>
                  </a:lnTo>
                  <a:lnTo>
                    <a:pt x="200" y="518"/>
                  </a:lnTo>
                  <a:lnTo>
                    <a:pt x="205" y="508"/>
                  </a:lnTo>
                  <a:lnTo>
                    <a:pt x="204" y="496"/>
                  </a:lnTo>
                  <a:lnTo>
                    <a:pt x="200" y="485"/>
                  </a:lnTo>
                  <a:lnTo>
                    <a:pt x="204" y="471"/>
                  </a:lnTo>
                  <a:lnTo>
                    <a:pt x="215" y="467"/>
                  </a:lnTo>
                  <a:lnTo>
                    <a:pt x="226" y="473"/>
                  </a:lnTo>
                  <a:lnTo>
                    <a:pt x="235" y="482"/>
                  </a:lnTo>
                  <a:lnTo>
                    <a:pt x="248" y="483"/>
                  </a:lnTo>
                  <a:lnTo>
                    <a:pt x="263" y="482"/>
                  </a:lnTo>
                  <a:lnTo>
                    <a:pt x="278" y="481"/>
                  </a:lnTo>
                  <a:lnTo>
                    <a:pt x="290" y="484"/>
                  </a:lnTo>
                  <a:lnTo>
                    <a:pt x="303" y="497"/>
                  </a:lnTo>
                  <a:lnTo>
                    <a:pt x="311" y="503"/>
                  </a:lnTo>
                  <a:lnTo>
                    <a:pt x="325" y="502"/>
                  </a:lnTo>
                  <a:lnTo>
                    <a:pt x="331" y="493"/>
                  </a:lnTo>
                  <a:lnTo>
                    <a:pt x="332" y="468"/>
                  </a:lnTo>
                  <a:lnTo>
                    <a:pt x="328" y="449"/>
                  </a:lnTo>
                  <a:lnTo>
                    <a:pt x="334" y="433"/>
                  </a:lnTo>
                  <a:lnTo>
                    <a:pt x="347" y="427"/>
                  </a:lnTo>
                  <a:lnTo>
                    <a:pt x="359" y="427"/>
                  </a:lnTo>
                  <a:lnTo>
                    <a:pt x="369" y="441"/>
                  </a:lnTo>
                  <a:lnTo>
                    <a:pt x="371" y="460"/>
                  </a:lnTo>
                  <a:lnTo>
                    <a:pt x="379" y="467"/>
                  </a:lnTo>
                  <a:lnTo>
                    <a:pt x="399" y="466"/>
                  </a:lnTo>
                  <a:lnTo>
                    <a:pt x="412" y="461"/>
                  </a:lnTo>
                  <a:lnTo>
                    <a:pt x="433" y="461"/>
                  </a:lnTo>
                  <a:lnTo>
                    <a:pt x="454" y="465"/>
                  </a:lnTo>
                  <a:lnTo>
                    <a:pt x="472" y="472"/>
                  </a:lnTo>
                  <a:lnTo>
                    <a:pt x="489" y="475"/>
                  </a:lnTo>
                  <a:lnTo>
                    <a:pt x="497" y="475"/>
                  </a:lnTo>
                  <a:lnTo>
                    <a:pt x="492" y="442"/>
                  </a:lnTo>
                  <a:lnTo>
                    <a:pt x="498" y="427"/>
                  </a:lnTo>
                  <a:lnTo>
                    <a:pt x="507" y="417"/>
                  </a:lnTo>
                  <a:lnTo>
                    <a:pt x="521" y="419"/>
                  </a:lnTo>
                  <a:lnTo>
                    <a:pt x="534" y="418"/>
                  </a:lnTo>
                  <a:lnTo>
                    <a:pt x="546" y="406"/>
                  </a:lnTo>
                  <a:lnTo>
                    <a:pt x="562" y="389"/>
                  </a:lnTo>
                  <a:lnTo>
                    <a:pt x="568" y="375"/>
                  </a:lnTo>
                  <a:lnTo>
                    <a:pt x="565" y="363"/>
                  </a:lnTo>
                  <a:lnTo>
                    <a:pt x="556" y="347"/>
                  </a:lnTo>
                  <a:lnTo>
                    <a:pt x="553" y="330"/>
                  </a:lnTo>
                  <a:lnTo>
                    <a:pt x="560" y="320"/>
                  </a:lnTo>
                  <a:lnTo>
                    <a:pt x="568" y="318"/>
                  </a:lnTo>
                  <a:lnTo>
                    <a:pt x="586" y="317"/>
                  </a:lnTo>
                  <a:lnTo>
                    <a:pt x="609" y="309"/>
                  </a:lnTo>
                  <a:lnTo>
                    <a:pt x="628" y="299"/>
                  </a:lnTo>
                  <a:lnTo>
                    <a:pt x="651" y="290"/>
                  </a:lnTo>
                  <a:lnTo>
                    <a:pt x="656" y="273"/>
                  </a:lnTo>
                  <a:lnTo>
                    <a:pt x="655" y="250"/>
                  </a:lnTo>
                  <a:lnTo>
                    <a:pt x="646" y="240"/>
                  </a:lnTo>
                  <a:lnTo>
                    <a:pt x="625" y="237"/>
                  </a:lnTo>
                  <a:lnTo>
                    <a:pt x="619" y="231"/>
                  </a:lnTo>
                  <a:lnTo>
                    <a:pt x="619" y="219"/>
                  </a:lnTo>
                  <a:lnTo>
                    <a:pt x="614" y="206"/>
                  </a:lnTo>
                  <a:lnTo>
                    <a:pt x="599" y="202"/>
                  </a:lnTo>
                  <a:lnTo>
                    <a:pt x="587" y="208"/>
                  </a:lnTo>
                  <a:lnTo>
                    <a:pt x="583" y="231"/>
                  </a:lnTo>
                  <a:lnTo>
                    <a:pt x="577" y="241"/>
                  </a:lnTo>
                  <a:lnTo>
                    <a:pt x="565" y="254"/>
                  </a:lnTo>
                  <a:lnTo>
                    <a:pt x="549" y="256"/>
                  </a:lnTo>
                  <a:lnTo>
                    <a:pt x="536" y="247"/>
                  </a:lnTo>
                  <a:lnTo>
                    <a:pt x="531" y="232"/>
                  </a:lnTo>
                  <a:lnTo>
                    <a:pt x="518" y="234"/>
                  </a:lnTo>
                  <a:lnTo>
                    <a:pt x="509" y="244"/>
                  </a:lnTo>
                  <a:lnTo>
                    <a:pt x="496" y="245"/>
                  </a:lnTo>
                  <a:lnTo>
                    <a:pt x="483" y="232"/>
                  </a:lnTo>
                  <a:lnTo>
                    <a:pt x="468" y="224"/>
                  </a:lnTo>
                  <a:lnTo>
                    <a:pt x="455" y="228"/>
                  </a:lnTo>
                  <a:lnTo>
                    <a:pt x="442" y="235"/>
                  </a:lnTo>
                  <a:lnTo>
                    <a:pt x="431" y="225"/>
                  </a:lnTo>
                  <a:lnTo>
                    <a:pt x="421" y="220"/>
                  </a:lnTo>
                  <a:lnTo>
                    <a:pt x="407" y="223"/>
                  </a:lnTo>
                  <a:lnTo>
                    <a:pt x="386" y="216"/>
                  </a:lnTo>
                  <a:lnTo>
                    <a:pt x="377" y="198"/>
                  </a:lnTo>
                  <a:lnTo>
                    <a:pt x="372" y="179"/>
                  </a:lnTo>
                  <a:lnTo>
                    <a:pt x="375" y="160"/>
                  </a:lnTo>
                  <a:lnTo>
                    <a:pt x="383" y="155"/>
                  </a:lnTo>
                  <a:lnTo>
                    <a:pt x="387" y="144"/>
                  </a:lnTo>
                  <a:lnTo>
                    <a:pt x="385" y="133"/>
                  </a:lnTo>
                  <a:lnTo>
                    <a:pt x="369" y="120"/>
                  </a:lnTo>
                  <a:lnTo>
                    <a:pt x="363" y="113"/>
                  </a:lnTo>
                  <a:lnTo>
                    <a:pt x="368" y="101"/>
                  </a:lnTo>
                  <a:lnTo>
                    <a:pt x="366" y="91"/>
                  </a:lnTo>
                  <a:lnTo>
                    <a:pt x="353" y="84"/>
                  </a:lnTo>
                  <a:lnTo>
                    <a:pt x="324" y="85"/>
                  </a:lnTo>
                  <a:lnTo>
                    <a:pt x="310" y="86"/>
                  </a:lnTo>
                  <a:lnTo>
                    <a:pt x="294" y="83"/>
                  </a:lnTo>
                  <a:lnTo>
                    <a:pt x="279" y="69"/>
                  </a:lnTo>
                  <a:lnTo>
                    <a:pt x="271" y="55"/>
                  </a:lnTo>
                  <a:lnTo>
                    <a:pt x="259" y="44"/>
                  </a:lnTo>
                  <a:lnTo>
                    <a:pt x="247" y="37"/>
                  </a:lnTo>
                  <a:lnTo>
                    <a:pt x="242" y="20"/>
                  </a:lnTo>
                  <a:lnTo>
                    <a:pt x="231" y="10"/>
                  </a:lnTo>
                  <a:lnTo>
                    <a:pt x="216" y="3"/>
                  </a:lnTo>
                  <a:lnTo>
                    <a:pt x="200" y="0"/>
                  </a:lnTo>
                  <a:lnTo>
                    <a:pt x="191" y="8"/>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30">
              <a:extLst>
                <a:ext uri="{FF2B5EF4-FFF2-40B4-BE49-F238E27FC236}">
                  <a16:creationId xmlns:a16="http://schemas.microsoft.com/office/drawing/2014/main" id="{28573A48-964E-499D-81F5-0EAF7BD45AA5}"/>
                </a:ext>
              </a:extLst>
            </p:cNvPr>
            <p:cNvSpPr>
              <a:spLocks/>
            </p:cNvSpPr>
            <p:nvPr/>
          </p:nvSpPr>
          <p:spPr bwMode="auto">
            <a:xfrm>
              <a:off x="3631679" y="3924886"/>
              <a:ext cx="801944" cy="1217392"/>
            </a:xfrm>
            <a:custGeom>
              <a:avLst/>
              <a:gdLst/>
              <a:ahLst/>
              <a:cxnLst>
                <a:cxn ang="0">
                  <a:pos x="364" y="44"/>
                </a:cxn>
                <a:cxn ang="0">
                  <a:pos x="313" y="52"/>
                </a:cxn>
                <a:cxn ang="0">
                  <a:pos x="287" y="93"/>
                </a:cxn>
                <a:cxn ang="0">
                  <a:pos x="222" y="116"/>
                </a:cxn>
                <a:cxn ang="0">
                  <a:pos x="227" y="145"/>
                </a:cxn>
                <a:cxn ang="0">
                  <a:pos x="212" y="205"/>
                </a:cxn>
                <a:cxn ang="0">
                  <a:pos x="185" y="234"/>
                </a:cxn>
                <a:cxn ang="0">
                  <a:pos x="150" y="281"/>
                </a:cxn>
                <a:cxn ang="0">
                  <a:pos x="94" y="334"/>
                </a:cxn>
                <a:cxn ang="0">
                  <a:pos x="92" y="379"/>
                </a:cxn>
                <a:cxn ang="0">
                  <a:pos x="78" y="420"/>
                </a:cxn>
                <a:cxn ang="0">
                  <a:pos x="43" y="433"/>
                </a:cxn>
                <a:cxn ang="0">
                  <a:pos x="62" y="489"/>
                </a:cxn>
                <a:cxn ang="0">
                  <a:pos x="56" y="532"/>
                </a:cxn>
                <a:cxn ang="0">
                  <a:pos x="0" y="585"/>
                </a:cxn>
                <a:cxn ang="0">
                  <a:pos x="49" y="612"/>
                </a:cxn>
                <a:cxn ang="0">
                  <a:pos x="104" y="610"/>
                </a:cxn>
                <a:cxn ang="0">
                  <a:pos x="132" y="666"/>
                </a:cxn>
                <a:cxn ang="0">
                  <a:pos x="132" y="705"/>
                </a:cxn>
                <a:cxn ang="0">
                  <a:pos x="120" y="743"/>
                </a:cxn>
                <a:cxn ang="0">
                  <a:pos x="145" y="790"/>
                </a:cxn>
                <a:cxn ang="0">
                  <a:pos x="175" y="765"/>
                </a:cxn>
                <a:cxn ang="0">
                  <a:pos x="187" y="797"/>
                </a:cxn>
                <a:cxn ang="0">
                  <a:pos x="230" y="800"/>
                </a:cxn>
                <a:cxn ang="0">
                  <a:pos x="221" y="821"/>
                </a:cxn>
                <a:cxn ang="0">
                  <a:pos x="232" y="841"/>
                </a:cxn>
                <a:cxn ang="0">
                  <a:pos x="259" y="812"/>
                </a:cxn>
                <a:cxn ang="0">
                  <a:pos x="279" y="777"/>
                </a:cxn>
                <a:cxn ang="0">
                  <a:pos x="288" y="716"/>
                </a:cxn>
                <a:cxn ang="0">
                  <a:pos x="276" y="659"/>
                </a:cxn>
                <a:cxn ang="0">
                  <a:pos x="274" y="613"/>
                </a:cxn>
                <a:cxn ang="0">
                  <a:pos x="306" y="576"/>
                </a:cxn>
                <a:cxn ang="0">
                  <a:pos x="331" y="583"/>
                </a:cxn>
                <a:cxn ang="0">
                  <a:pos x="365" y="587"/>
                </a:cxn>
                <a:cxn ang="0">
                  <a:pos x="391" y="593"/>
                </a:cxn>
                <a:cxn ang="0">
                  <a:pos x="392" y="543"/>
                </a:cxn>
                <a:cxn ang="0">
                  <a:pos x="421" y="551"/>
                </a:cxn>
                <a:cxn ang="0">
                  <a:pos x="461" y="525"/>
                </a:cxn>
                <a:cxn ang="0">
                  <a:pos x="455" y="493"/>
                </a:cxn>
                <a:cxn ang="0">
                  <a:pos x="476" y="468"/>
                </a:cxn>
                <a:cxn ang="0">
                  <a:pos x="494" y="469"/>
                </a:cxn>
                <a:cxn ang="0">
                  <a:pos x="528" y="422"/>
                </a:cxn>
                <a:cxn ang="0">
                  <a:pos x="533" y="379"/>
                </a:cxn>
                <a:cxn ang="0">
                  <a:pos x="508" y="403"/>
                </a:cxn>
                <a:cxn ang="0">
                  <a:pos x="508" y="346"/>
                </a:cxn>
                <a:cxn ang="0">
                  <a:pos x="540" y="262"/>
                </a:cxn>
                <a:cxn ang="0">
                  <a:pos x="545" y="230"/>
                </a:cxn>
                <a:cxn ang="0">
                  <a:pos x="541" y="161"/>
                </a:cxn>
                <a:cxn ang="0">
                  <a:pos x="504" y="143"/>
                </a:cxn>
                <a:cxn ang="0">
                  <a:pos x="477" y="111"/>
                </a:cxn>
                <a:cxn ang="0">
                  <a:pos x="473" y="132"/>
                </a:cxn>
                <a:cxn ang="0">
                  <a:pos x="441" y="143"/>
                </a:cxn>
                <a:cxn ang="0">
                  <a:pos x="419" y="111"/>
                </a:cxn>
                <a:cxn ang="0">
                  <a:pos x="447" y="70"/>
                </a:cxn>
                <a:cxn ang="0">
                  <a:pos x="457" y="48"/>
                </a:cxn>
                <a:cxn ang="0">
                  <a:pos x="456" y="16"/>
                </a:cxn>
                <a:cxn ang="0">
                  <a:pos x="389" y="0"/>
                </a:cxn>
              </a:cxnLst>
              <a:rect l="0" t="0" r="r" b="b"/>
              <a:pathLst>
                <a:path w="554" h="841">
                  <a:moveTo>
                    <a:pt x="389" y="0"/>
                  </a:moveTo>
                  <a:lnTo>
                    <a:pt x="383" y="9"/>
                  </a:lnTo>
                  <a:lnTo>
                    <a:pt x="378" y="26"/>
                  </a:lnTo>
                  <a:lnTo>
                    <a:pt x="364" y="44"/>
                  </a:lnTo>
                  <a:lnTo>
                    <a:pt x="349" y="59"/>
                  </a:lnTo>
                  <a:lnTo>
                    <a:pt x="332" y="66"/>
                  </a:lnTo>
                  <a:lnTo>
                    <a:pt x="323" y="60"/>
                  </a:lnTo>
                  <a:lnTo>
                    <a:pt x="313" y="52"/>
                  </a:lnTo>
                  <a:lnTo>
                    <a:pt x="299" y="55"/>
                  </a:lnTo>
                  <a:lnTo>
                    <a:pt x="290" y="66"/>
                  </a:lnTo>
                  <a:lnTo>
                    <a:pt x="289" y="78"/>
                  </a:lnTo>
                  <a:lnTo>
                    <a:pt x="287" y="93"/>
                  </a:lnTo>
                  <a:lnTo>
                    <a:pt x="278" y="104"/>
                  </a:lnTo>
                  <a:lnTo>
                    <a:pt x="265" y="104"/>
                  </a:lnTo>
                  <a:lnTo>
                    <a:pt x="239" y="105"/>
                  </a:lnTo>
                  <a:lnTo>
                    <a:pt x="222" y="116"/>
                  </a:lnTo>
                  <a:lnTo>
                    <a:pt x="211" y="126"/>
                  </a:lnTo>
                  <a:lnTo>
                    <a:pt x="208" y="137"/>
                  </a:lnTo>
                  <a:lnTo>
                    <a:pt x="217" y="141"/>
                  </a:lnTo>
                  <a:lnTo>
                    <a:pt x="227" y="145"/>
                  </a:lnTo>
                  <a:lnTo>
                    <a:pt x="228" y="161"/>
                  </a:lnTo>
                  <a:lnTo>
                    <a:pt x="225" y="179"/>
                  </a:lnTo>
                  <a:lnTo>
                    <a:pt x="220" y="193"/>
                  </a:lnTo>
                  <a:lnTo>
                    <a:pt x="212" y="205"/>
                  </a:lnTo>
                  <a:lnTo>
                    <a:pt x="193" y="205"/>
                  </a:lnTo>
                  <a:lnTo>
                    <a:pt x="178" y="208"/>
                  </a:lnTo>
                  <a:lnTo>
                    <a:pt x="179" y="220"/>
                  </a:lnTo>
                  <a:lnTo>
                    <a:pt x="185" y="234"/>
                  </a:lnTo>
                  <a:lnTo>
                    <a:pt x="183" y="244"/>
                  </a:lnTo>
                  <a:lnTo>
                    <a:pt x="166" y="253"/>
                  </a:lnTo>
                  <a:lnTo>
                    <a:pt x="160" y="261"/>
                  </a:lnTo>
                  <a:lnTo>
                    <a:pt x="150" y="281"/>
                  </a:lnTo>
                  <a:lnTo>
                    <a:pt x="140" y="288"/>
                  </a:lnTo>
                  <a:lnTo>
                    <a:pt x="119" y="294"/>
                  </a:lnTo>
                  <a:lnTo>
                    <a:pt x="101" y="314"/>
                  </a:lnTo>
                  <a:lnTo>
                    <a:pt x="94" y="334"/>
                  </a:lnTo>
                  <a:lnTo>
                    <a:pt x="87" y="350"/>
                  </a:lnTo>
                  <a:lnTo>
                    <a:pt x="89" y="360"/>
                  </a:lnTo>
                  <a:lnTo>
                    <a:pt x="93" y="368"/>
                  </a:lnTo>
                  <a:lnTo>
                    <a:pt x="92" y="379"/>
                  </a:lnTo>
                  <a:lnTo>
                    <a:pt x="85" y="391"/>
                  </a:lnTo>
                  <a:lnTo>
                    <a:pt x="79" y="399"/>
                  </a:lnTo>
                  <a:lnTo>
                    <a:pt x="77" y="408"/>
                  </a:lnTo>
                  <a:lnTo>
                    <a:pt x="78" y="420"/>
                  </a:lnTo>
                  <a:lnTo>
                    <a:pt x="73" y="432"/>
                  </a:lnTo>
                  <a:lnTo>
                    <a:pt x="61" y="435"/>
                  </a:lnTo>
                  <a:lnTo>
                    <a:pt x="52" y="429"/>
                  </a:lnTo>
                  <a:lnTo>
                    <a:pt x="43" y="433"/>
                  </a:lnTo>
                  <a:lnTo>
                    <a:pt x="39" y="449"/>
                  </a:lnTo>
                  <a:lnTo>
                    <a:pt x="40" y="460"/>
                  </a:lnTo>
                  <a:lnTo>
                    <a:pt x="49" y="474"/>
                  </a:lnTo>
                  <a:lnTo>
                    <a:pt x="62" y="489"/>
                  </a:lnTo>
                  <a:lnTo>
                    <a:pt x="71" y="498"/>
                  </a:lnTo>
                  <a:lnTo>
                    <a:pt x="76" y="510"/>
                  </a:lnTo>
                  <a:lnTo>
                    <a:pt x="72" y="523"/>
                  </a:lnTo>
                  <a:lnTo>
                    <a:pt x="56" y="532"/>
                  </a:lnTo>
                  <a:lnTo>
                    <a:pt x="38" y="542"/>
                  </a:lnTo>
                  <a:lnTo>
                    <a:pt x="17" y="556"/>
                  </a:lnTo>
                  <a:lnTo>
                    <a:pt x="7" y="570"/>
                  </a:lnTo>
                  <a:lnTo>
                    <a:pt x="0" y="585"/>
                  </a:lnTo>
                  <a:lnTo>
                    <a:pt x="0" y="599"/>
                  </a:lnTo>
                  <a:lnTo>
                    <a:pt x="9" y="610"/>
                  </a:lnTo>
                  <a:lnTo>
                    <a:pt x="26" y="615"/>
                  </a:lnTo>
                  <a:lnTo>
                    <a:pt x="49" y="612"/>
                  </a:lnTo>
                  <a:lnTo>
                    <a:pt x="62" y="600"/>
                  </a:lnTo>
                  <a:lnTo>
                    <a:pt x="76" y="595"/>
                  </a:lnTo>
                  <a:lnTo>
                    <a:pt x="91" y="598"/>
                  </a:lnTo>
                  <a:lnTo>
                    <a:pt x="104" y="610"/>
                  </a:lnTo>
                  <a:lnTo>
                    <a:pt x="114" y="627"/>
                  </a:lnTo>
                  <a:lnTo>
                    <a:pt x="122" y="642"/>
                  </a:lnTo>
                  <a:lnTo>
                    <a:pt x="130" y="655"/>
                  </a:lnTo>
                  <a:lnTo>
                    <a:pt x="132" y="666"/>
                  </a:lnTo>
                  <a:lnTo>
                    <a:pt x="128" y="677"/>
                  </a:lnTo>
                  <a:lnTo>
                    <a:pt x="124" y="685"/>
                  </a:lnTo>
                  <a:lnTo>
                    <a:pt x="124" y="696"/>
                  </a:lnTo>
                  <a:lnTo>
                    <a:pt x="132" y="705"/>
                  </a:lnTo>
                  <a:lnTo>
                    <a:pt x="138" y="717"/>
                  </a:lnTo>
                  <a:lnTo>
                    <a:pt x="135" y="723"/>
                  </a:lnTo>
                  <a:lnTo>
                    <a:pt x="125" y="732"/>
                  </a:lnTo>
                  <a:lnTo>
                    <a:pt x="120" y="743"/>
                  </a:lnTo>
                  <a:lnTo>
                    <a:pt x="121" y="760"/>
                  </a:lnTo>
                  <a:lnTo>
                    <a:pt x="129" y="774"/>
                  </a:lnTo>
                  <a:lnTo>
                    <a:pt x="137" y="784"/>
                  </a:lnTo>
                  <a:lnTo>
                    <a:pt x="145" y="790"/>
                  </a:lnTo>
                  <a:lnTo>
                    <a:pt x="155" y="788"/>
                  </a:lnTo>
                  <a:lnTo>
                    <a:pt x="161" y="777"/>
                  </a:lnTo>
                  <a:lnTo>
                    <a:pt x="166" y="767"/>
                  </a:lnTo>
                  <a:lnTo>
                    <a:pt x="175" y="765"/>
                  </a:lnTo>
                  <a:lnTo>
                    <a:pt x="182" y="767"/>
                  </a:lnTo>
                  <a:lnTo>
                    <a:pt x="185" y="779"/>
                  </a:lnTo>
                  <a:lnTo>
                    <a:pt x="186" y="791"/>
                  </a:lnTo>
                  <a:lnTo>
                    <a:pt x="187" y="797"/>
                  </a:lnTo>
                  <a:lnTo>
                    <a:pt x="198" y="802"/>
                  </a:lnTo>
                  <a:lnTo>
                    <a:pt x="210" y="801"/>
                  </a:lnTo>
                  <a:lnTo>
                    <a:pt x="218" y="797"/>
                  </a:lnTo>
                  <a:lnTo>
                    <a:pt x="230" y="800"/>
                  </a:lnTo>
                  <a:lnTo>
                    <a:pt x="235" y="806"/>
                  </a:lnTo>
                  <a:lnTo>
                    <a:pt x="234" y="812"/>
                  </a:lnTo>
                  <a:lnTo>
                    <a:pt x="229" y="819"/>
                  </a:lnTo>
                  <a:lnTo>
                    <a:pt x="221" y="821"/>
                  </a:lnTo>
                  <a:lnTo>
                    <a:pt x="214" y="826"/>
                  </a:lnTo>
                  <a:lnTo>
                    <a:pt x="213" y="835"/>
                  </a:lnTo>
                  <a:lnTo>
                    <a:pt x="217" y="840"/>
                  </a:lnTo>
                  <a:lnTo>
                    <a:pt x="232" y="841"/>
                  </a:lnTo>
                  <a:lnTo>
                    <a:pt x="247" y="839"/>
                  </a:lnTo>
                  <a:lnTo>
                    <a:pt x="256" y="836"/>
                  </a:lnTo>
                  <a:lnTo>
                    <a:pt x="259" y="825"/>
                  </a:lnTo>
                  <a:lnTo>
                    <a:pt x="259" y="812"/>
                  </a:lnTo>
                  <a:lnTo>
                    <a:pt x="260" y="800"/>
                  </a:lnTo>
                  <a:lnTo>
                    <a:pt x="264" y="791"/>
                  </a:lnTo>
                  <a:lnTo>
                    <a:pt x="274" y="782"/>
                  </a:lnTo>
                  <a:lnTo>
                    <a:pt x="279" y="777"/>
                  </a:lnTo>
                  <a:lnTo>
                    <a:pt x="288" y="765"/>
                  </a:lnTo>
                  <a:lnTo>
                    <a:pt x="291" y="747"/>
                  </a:lnTo>
                  <a:lnTo>
                    <a:pt x="291" y="727"/>
                  </a:lnTo>
                  <a:lnTo>
                    <a:pt x="288" y="716"/>
                  </a:lnTo>
                  <a:lnTo>
                    <a:pt x="281" y="691"/>
                  </a:lnTo>
                  <a:lnTo>
                    <a:pt x="275" y="680"/>
                  </a:lnTo>
                  <a:lnTo>
                    <a:pt x="273" y="669"/>
                  </a:lnTo>
                  <a:lnTo>
                    <a:pt x="276" y="659"/>
                  </a:lnTo>
                  <a:lnTo>
                    <a:pt x="279" y="648"/>
                  </a:lnTo>
                  <a:lnTo>
                    <a:pt x="277" y="635"/>
                  </a:lnTo>
                  <a:lnTo>
                    <a:pt x="270" y="626"/>
                  </a:lnTo>
                  <a:lnTo>
                    <a:pt x="274" y="613"/>
                  </a:lnTo>
                  <a:lnTo>
                    <a:pt x="285" y="601"/>
                  </a:lnTo>
                  <a:lnTo>
                    <a:pt x="294" y="591"/>
                  </a:lnTo>
                  <a:lnTo>
                    <a:pt x="300" y="581"/>
                  </a:lnTo>
                  <a:lnTo>
                    <a:pt x="306" y="576"/>
                  </a:lnTo>
                  <a:lnTo>
                    <a:pt x="315" y="578"/>
                  </a:lnTo>
                  <a:lnTo>
                    <a:pt x="319" y="583"/>
                  </a:lnTo>
                  <a:lnTo>
                    <a:pt x="325" y="585"/>
                  </a:lnTo>
                  <a:lnTo>
                    <a:pt x="331" y="583"/>
                  </a:lnTo>
                  <a:lnTo>
                    <a:pt x="338" y="578"/>
                  </a:lnTo>
                  <a:lnTo>
                    <a:pt x="353" y="576"/>
                  </a:lnTo>
                  <a:lnTo>
                    <a:pt x="361" y="580"/>
                  </a:lnTo>
                  <a:lnTo>
                    <a:pt x="365" y="587"/>
                  </a:lnTo>
                  <a:lnTo>
                    <a:pt x="368" y="598"/>
                  </a:lnTo>
                  <a:lnTo>
                    <a:pt x="374" y="601"/>
                  </a:lnTo>
                  <a:lnTo>
                    <a:pt x="384" y="599"/>
                  </a:lnTo>
                  <a:lnTo>
                    <a:pt x="391" y="593"/>
                  </a:lnTo>
                  <a:lnTo>
                    <a:pt x="396" y="580"/>
                  </a:lnTo>
                  <a:lnTo>
                    <a:pt x="397" y="567"/>
                  </a:lnTo>
                  <a:lnTo>
                    <a:pt x="392" y="554"/>
                  </a:lnTo>
                  <a:lnTo>
                    <a:pt x="392" y="543"/>
                  </a:lnTo>
                  <a:lnTo>
                    <a:pt x="395" y="540"/>
                  </a:lnTo>
                  <a:lnTo>
                    <a:pt x="404" y="540"/>
                  </a:lnTo>
                  <a:lnTo>
                    <a:pt x="412" y="545"/>
                  </a:lnTo>
                  <a:lnTo>
                    <a:pt x="421" y="551"/>
                  </a:lnTo>
                  <a:lnTo>
                    <a:pt x="436" y="550"/>
                  </a:lnTo>
                  <a:lnTo>
                    <a:pt x="448" y="544"/>
                  </a:lnTo>
                  <a:lnTo>
                    <a:pt x="456" y="534"/>
                  </a:lnTo>
                  <a:lnTo>
                    <a:pt x="461" y="525"/>
                  </a:lnTo>
                  <a:lnTo>
                    <a:pt x="463" y="515"/>
                  </a:lnTo>
                  <a:lnTo>
                    <a:pt x="460" y="505"/>
                  </a:lnTo>
                  <a:lnTo>
                    <a:pt x="456" y="499"/>
                  </a:lnTo>
                  <a:lnTo>
                    <a:pt x="455" y="493"/>
                  </a:lnTo>
                  <a:lnTo>
                    <a:pt x="456" y="482"/>
                  </a:lnTo>
                  <a:lnTo>
                    <a:pt x="461" y="472"/>
                  </a:lnTo>
                  <a:lnTo>
                    <a:pt x="469" y="467"/>
                  </a:lnTo>
                  <a:lnTo>
                    <a:pt x="476" y="468"/>
                  </a:lnTo>
                  <a:lnTo>
                    <a:pt x="481" y="472"/>
                  </a:lnTo>
                  <a:lnTo>
                    <a:pt x="484" y="477"/>
                  </a:lnTo>
                  <a:lnTo>
                    <a:pt x="488" y="476"/>
                  </a:lnTo>
                  <a:lnTo>
                    <a:pt x="494" y="469"/>
                  </a:lnTo>
                  <a:lnTo>
                    <a:pt x="502" y="458"/>
                  </a:lnTo>
                  <a:lnTo>
                    <a:pt x="513" y="449"/>
                  </a:lnTo>
                  <a:lnTo>
                    <a:pt x="526" y="435"/>
                  </a:lnTo>
                  <a:lnTo>
                    <a:pt x="528" y="422"/>
                  </a:lnTo>
                  <a:lnTo>
                    <a:pt x="534" y="414"/>
                  </a:lnTo>
                  <a:lnTo>
                    <a:pt x="530" y="408"/>
                  </a:lnTo>
                  <a:lnTo>
                    <a:pt x="531" y="392"/>
                  </a:lnTo>
                  <a:lnTo>
                    <a:pt x="533" y="379"/>
                  </a:lnTo>
                  <a:lnTo>
                    <a:pt x="530" y="373"/>
                  </a:lnTo>
                  <a:lnTo>
                    <a:pt x="524" y="377"/>
                  </a:lnTo>
                  <a:lnTo>
                    <a:pt x="520" y="391"/>
                  </a:lnTo>
                  <a:lnTo>
                    <a:pt x="508" y="403"/>
                  </a:lnTo>
                  <a:lnTo>
                    <a:pt x="498" y="400"/>
                  </a:lnTo>
                  <a:lnTo>
                    <a:pt x="493" y="389"/>
                  </a:lnTo>
                  <a:lnTo>
                    <a:pt x="494" y="372"/>
                  </a:lnTo>
                  <a:lnTo>
                    <a:pt x="508" y="346"/>
                  </a:lnTo>
                  <a:lnTo>
                    <a:pt x="511" y="324"/>
                  </a:lnTo>
                  <a:lnTo>
                    <a:pt x="513" y="298"/>
                  </a:lnTo>
                  <a:lnTo>
                    <a:pt x="527" y="276"/>
                  </a:lnTo>
                  <a:lnTo>
                    <a:pt x="540" y="262"/>
                  </a:lnTo>
                  <a:lnTo>
                    <a:pt x="551" y="255"/>
                  </a:lnTo>
                  <a:lnTo>
                    <a:pt x="554" y="247"/>
                  </a:lnTo>
                  <a:lnTo>
                    <a:pt x="552" y="239"/>
                  </a:lnTo>
                  <a:lnTo>
                    <a:pt x="545" y="230"/>
                  </a:lnTo>
                  <a:lnTo>
                    <a:pt x="543" y="216"/>
                  </a:lnTo>
                  <a:lnTo>
                    <a:pt x="545" y="195"/>
                  </a:lnTo>
                  <a:lnTo>
                    <a:pt x="543" y="175"/>
                  </a:lnTo>
                  <a:lnTo>
                    <a:pt x="541" y="161"/>
                  </a:lnTo>
                  <a:lnTo>
                    <a:pt x="536" y="153"/>
                  </a:lnTo>
                  <a:lnTo>
                    <a:pt x="527" y="149"/>
                  </a:lnTo>
                  <a:lnTo>
                    <a:pt x="513" y="148"/>
                  </a:lnTo>
                  <a:lnTo>
                    <a:pt x="504" y="143"/>
                  </a:lnTo>
                  <a:lnTo>
                    <a:pt x="497" y="134"/>
                  </a:lnTo>
                  <a:lnTo>
                    <a:pt x="496" y="120"/>
                  </a:lnTo>
                  <a:lnTo>
                    <a:pt x="497" y="111"/>
                  </a:lnTo>
                  <a:lnTo>
                    <a:pt x="477" y="111"/>
                  </a:lnTo>
                  <a:lnTo>
                    <a:pt x="471" y="115"/>
                  </a:lnTo>
                  <a:lnTo>
                    <a:pt x="471" y="120"/>
                  </a:lnTo>
                  <a:lnTo>
                    <a:pt x="472" y="126"/>
                  </a:lnTo>
                  <a:lnTo>
                    <a:pt x="473" y="132"/>
                  </a:lnTo>
                  <a:lnTo>
                    <a:pt x="469" y="140"/>
                  </a:lnTo>
                  <a:lnTo>
                    <a:pt x="461" y="142"/>
                  </a:lnTo>
                  <a:lnTo>
                    <a:pt x="450" y="144"/>
                  </a:lnTo>
                  <a:lnTo>
                    <a:pt x="441" y="143"/>
                  </a:lnTo>
                  <a:lnTo>
                    <a:pt x="429" y="137"/>
                  </a:lnTo>
                  <a:lnTo>
                    <a:pt x="420" y="130"/>
                  </a:lnTo>
                  <a:lnTo>
                    <a:pt x="417" y="120"/>
                  </a:lnTo>
                  <a:lnTo>
                    <a:pt x="419" y="111"/>
                  </a:lnTo>
                  <a:lnTo>
                    <a:pt x="424" y="106"/>
                  </a:lnTo>
                  <a:lnTo>
                    <a:pt x="445" y="91"/>
                  </a:lnTo>
                  <a:lnTo>
                    <a:pt x="448" y="83"/>
                  </a:lnTo>
                  <a:lnTo>
                    <a:pt x="447" y="70"/>
                  </a:lnTo>
                  <a:lnTo>
                    <a:pt x="443" y="65"/>
                  </a:lnTo>
                  <a:lnTo>
                    <a:pt x="443" y="54"/>
                  </a:lnTo>
                  <a:lnTo>
                    <a:pt x="449" y="47"/>
                  </a:lnTo>
                  <a:lnTo>
                    <a:pt x="457" y="48"/>
                  </a:lnTo>
                  <a:lnTo>
                    <a:pt x="466" y="46"/>
                  </a:lnTo>
                  <a:lnTo>
                    <a:pt x="468" y="39"/>
                  </a:lnTo>
                  <a:lnTo>
                    <a:pt x="465" y="29"/>
                  </a:lnTo>
                  <a:lnTo>
                    <a:pt x="456" y="16"/>
                  </a:lnTo>
                  <a:lnTo>
                    <a:pt x="447" y="10"/>
                  </a:lnTo>
                  <a:lnTo>
                    <a:pt x="427" y="10"/>
                  </a:lnTo>
                  <a:lnTo>
                    <a:pt x="408" y="9"/>
                  </a:lnTo>
                  <a:lnTo>
                    <a:pt x="389" y="0"/>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reeform 31">
              <a:extLst>
                <a:ext uri="{FF2B5EF4-FFF2-40B4-BE49-F238E27FC236}">
                  <a16:creationId xmlns:a16="http://schemas.microsoft.com/office/drawing/2014/main" id="{E4318595-3016-4816-98A4-199737587F77}"/>
                </a:ext>
              </a:extLst>
            </p:cNvPr>
            <p:cNvSpPr>
              <a:spLocks/>
            </p:cNvSpPr>
            <p:nvPr/>
          </p:nvSpPr>
          <p:spPr bwMode="auto">
            <a:xfrm>
              <a:off x="3036735" y="4307040"/>
              <a:ext cx="810629" cy="1081322"/>
            </a:xfrm>
            <a:custGeom>
              <a:avLst/>
              <a:gdLst/>
              <a:ahLst/>
              <a:cxnLst>
                <a:cxn ang="0">
                  <a:pos x="475" y="74"/>
                </a:cxn>
                <a:cxn ang="0">
                  <a:pos x="444" y="34"/>
                </a:cxn>
                <a:cxn ang="0">
                  <a:pos x="418" y="1"/>
                </a:cxn>
                <a:cxn ang="0">
                  <a:pos x="391" y="27"/>
                </a:cxn>
                <a:cxn ang="0">
                  <a:pos x="335" y="73"/>
                </a:cxn>
                <a:cxn ang="0">
                  <a:pos x="266" y="119"/>
                </a:cxn>
                <a:cxn ang="0">
                  <a:pos x="243" y="131"/>
                </a:cxn>
                <a:cxn ang="0">
                  <a:pos x="208" y="144"/>
                </a:cxn>
                <a:cxn ang="0">
                  <a:pos x="196" y="165"/>
                </a:cxn>
                <a:cxn ang="0">
                  <a:pos x="170" y="171"/>
                </a:cxn>
                <a:cxn ang="0">
                  <a:pos x="154" y="204"/>
                </a:cxn>
                <a:cxn ang="0">
                  <a:pos x="127" y="185"/>
                </a:cxn>
                <a:cxn ang="0">
                  <a:pos x="79" y="203"/>
                </a:cxn>
                <a:cxn ang="0">
                  <a:pos x="44" y="219"/>
                </a:cxn>
                <a:cxn ang="0">
                  <a:pos x="15" y="261"/>
                </a:cxn>
                <a:cxn ang="0">
                  <a:pos x="7" y="289"/>
                </a:cxn>
                <a:cxn ang="0">
                  <a:pos x="1" y="329"/>
                </a:cxn>
                <a:cxn ang="0">
                  <a:pos x="26" y="362"/>
                </a:cxn>
                <a:cxn ang="0">
                  <a:pos x="62" y="394"/>
                </a:cxn>
                <a:cxn ang="0">
                  <a:pos x="81" y="429"/>
                </a:cxn>
                <a:cxn ang="0">
                  <a:pos x="61" y="467"/>
                </a:cxn>
                <a:cxn ang="0">
                  <a:pos x="71" y="491"/>
                </a:cxn>
                <a:cxn ang="0">
                  <a:pos x="108" y="496"/>
                </a:cxn>
                <a:cxn ang="0">
                  <a:pos x="157" y="489"/>
                </a:cxn>
                <a:cxn ang="0">
                  <a:pos x="189" y="477"/>
                </a:cxn>
                <a:cxn ang="0">
                  <a:pos x="227" y="481"/>
                </a:cxn>
                <a:cxn ang="0">
                  <a:pos x="266" y="499"/>
                </a:cxn>
                <a:cxn ang="0">
                  <a:pos x="278" y="538"/>
                </a:cxn>
                <a:cxn ang="0">
                  <a:pos x="271" y="557"/>
                </a:cxn>
                <a:cxn ang="0">
                  <a:pos x="281" y="593"/>
                </a:cxn>
                <a:cxn ang="0">
                  <a:pos x="266" y="630"/>
                </a:cxn>
                <a:cxn ang="0">
                  <a:pos x="286" y="653"/>
                </a:cxn>
                <a:cxn ang="0">
                  <a:pos x="304" y="684"/>
                </a:cxn>
                <a:cxn ang="0">
                  <a:pos x="352" y="709"/>
                </a:cxn>
                <a:cxn ang="0">
                  <a:pos x="393" y="694"/>
                </a:cxn>
                <a:cxn ang="0">
                  <a:pos x="432" y="714"/>
                </a:cxn>
                <a:cxn ang="0">
                  <a:pos x="466" y="733"/>
                </a:cxn>
                <a:cxn ang="0">
                  <a:pos x="491" y="737"/>
                </a:cxn>
                <a:cxn ang="0">
                  <a:pos x="525" y="680"/>
                </a:cxn>
                <a:cxn ang="0">
                  <a:pos x="542" y="632"/>
                </a:cxn>
                <a:cxn ang="0">
                  <a:pos x="543" y="609"/>
                </a:cxn>
                <a:cxn ang="0">
                  <a:pos x="560" y="579"/>
                </a:cxn>
                <a:cxn ang="0">
                  <a:pos x="547" y="546"/>
                </a:cxn>
                <a:cxn ang="0">
                  <a:pos x="548" y="520"/>
                </a:cxn>
                <a:cxn ang="0">
                  <a:pos x="531" y="479"/>
                </a:cxn>
                <a:cxn ang="0">
                  <a:pos x="549" y="453"/>
                </a:cxn>
                <a:cxn ang="0">
                  <a:pos x="535" y="421"/>
                </a:cxn>
                <a:cxn ang="0">
                  <a:pos x="541" y="391"/>
                </a:cxn>
                <a:cxn ang="0">
                  <a:pos x="515" y="346"/>
                </a:cxn>
                <a:cxn ang="0">
                  <a:pos x="473" y="336"/>
                </a:cxn>
                <a:cxn ang="0">
                  <a:pos x="420" y="346"/>
                </a:cxn>
                <a:cxn ang="0">
                  <a:pos x="418" y="306"/>
                </a:cxn>
                <a:cxn ang="0">
                  <a:pos x="467" y="268"/>
                </a:cxn>
                <a:cxn ang="0">
                  <a:pos x="482" y="234"/>
                </a:cxn>
                <a:cxn ang="0">
                  <a:pos x="451" y="196"/>
                </a:cxn>
                <a:cxn ang="0">
                  <a:pos x="463" y="165"/>
                </a:cxn>
                <a:cxn ang="0">
                  <a:pos x="489" y="156"/>
                </a:cxn>
                <a:cxn ang="0">
                  <a:pos x="496" y="127"/>
                </a:cxn>
                <a:cxn ang="0">
                  <a:pos x="500" y="96"/>
                </a:cxn>
              </a:cxnLst>
              <a:rect l="0" t="0" r="r" b="b"/>
              <a:pathLst>
                <a:path w="560" h="747">
                  <a:moveTo>
                    <a:pt x="498" y="86"/>
                  </a:moveTo>
                  <a:lnTo>
                    <a:pt x="486" y="87"/>
                  </a:lnTo>
                  <a:lnTo>
                    <a:pt x="475" y="74"/>
                  </a:lnTo>
                  <a:lnTo>
                    <a:pt x="471" y="55"/>
                  </a:lnTo>
                  <a:lnTo>
                    <a:pt x="465" y="44"/>
                  </a:lnTo>
                  <a:lnTo>
                    <a:pt x="444" y="34"/>
                  </a:lnTo>
                  <a:lnTo>
                    <a:pt x="423" y="19"/>
                  </a:lnTo>
                  <a:lnTo>
                    <a:pt x="421" y="13"/>
                  </a:lnTo>
                  <a:lnTo>
                    <a:pt x="418" y="1"/>
                  </a:lnTo>
                  <a:lnTo>
                    <a:pt x="410" y="0"/>
                  </a:lnTo>
                  <a:lnTo>
                    <a:pt x="400" y="9"/>
                  </a:lnTo>
                  <a:lnTo>
                    <a:pt x="391" y="27"/>
                  </a:lnTo>
                  <a:lnTo>
                    <a:pt x="379" y="53"/>
                  </a:lnTo>
                  <a:lnTo>
                    <a:pt x="362" y="60"/>
                  </a:lnTo>
                  <a:lnTo>
                    <a:pt x="335" y="73"/>
                  </a:lnTo>
                  <a:lnTo>
                    <a:pt x="308" y="100"/>
                  </a:lnTo>
                  <a:lnTo>
                    <a:pt x="293" y="105"/>
                  </a:lnTo>
                  <a:lnTo>
                    <a:pt x="266" y="119"/>
                  </a:lnTo>
                  <a:lnTo>
                    <a:pt x="256" y="132"/>
                  </a:lnTo>
                  <a:lnTo>
                    <a:pt x="250" y="135"/>
                  </a:lnTo>
                  <a:lnTo>
                    <a:pt x="243" y="131"/>
                  </a:lnTo>
                  <a:lnTo>
                    <a:pt x="232" y="127"/>
                  </a:lnTo>
                  <a:lnTo>
                    <a:pt x="220" y="132"/>
                  </a:lnTo>
                  <a:lnTo>
                    <a:pt x="208" y="144"/>
                  </a:lnTo>
                  <a:lnTo>
                    <a:pt x="207" y="154"/>
                  </a:lnTo>
                  <a:lnTo>
                    <a:pt x="202" y="163"/>
                  </a:lnTo>
                  <a:lnTo>
                    <a:pt x="196" y="165"/>
                  </a:lnTo>
                  <a:lnTo>
                    <a:pt x="187" y="159"/>
                  </a:lnTo>
                  <a:lnTo>
                    <a:pt x="175" y="161"/>
                  </a:lnTo>
                  <a:lnTo>
                    <a:pt x="170" y="171"/>
                  </a:lnTo>
                  <a:lnTo>
                    <a:pt x="168" y="188"/>
                  </a:lnTo>
                  <a:lnTo>
                    <a:pt x="164" y="201"/>
                  </a:lnTo>
                  <a:lnTo>
                    <a:pt x="154" y="204"/>
                  </a:lnTo>
                  <a:lnTo>
                    <a:pt x="146" y="200"/>
                  </a:lnTo>
                  <a:lnTo>
                    <a:pt x="138" y="190"/>
                  </a:lnTo>
                  <a:lnTo>
                    <a:pt x="127" y="185"/>
                  </a:lnTo>
                  <a:lnTo>
                    <a:pt x="117" y="194"/>
                  </a:lnTo>
                  <a:lnTo>
                    <a:pt x="111" y="204"/>
                  </a:lnTo>
                  <a:lnTo>
                    <a:pt x="79" y="203"/>
                  </a:lnTo>
                  <a:lnTo>
                    <a:pt x="67" y="210"/>
                  </a:lnTo>
                  <a:lnTo>
                    <a:pt x="57" y="212"/>
                  </a:lnTo>
                  <a:lnTo>
                    <a:pt x="44" y="219"/>
                  </a:lnTo>
                  <a:lnTo>
                    <a:pt x="36" y="233"/>
                  </a:lnTo>
                  <a:lnTo>
                    <a:pt x="27" y="246"/>
                  </a:lnTo>
                  <a:lnTo>
                    <a:pt x="15" y="261"/>
                  </a:lnTo>
                  <a:lnTo>
                    <a:pt x="4" y="272"/>
                  </a:lnTo>
                  <a:lnTo>
                    <a:pt x="5" y="282"/>
                  </a:lnTo>
                  <a:lnTo>
                    <a:pt x="7" y="289"/>
                  </a:lnTo>
                  <a:lnTo>
                    <a:pt x="4" y="299"/>
                  </a:lnTo>
                  <a:lnTo>
                    <a:pt x="0" y="315"/>
                  </a:lnTo>
                  <a:lnTo>
                    <a:pt x="1" y="329"/>
                  </a:lnTo>
                  <a:lnTo>
                    <a:pt x="12" y="341"/>
                  </a:lnTo>
                  <a:lnTo>
                    <a:pt x="22" y="348"/>
                  </a:lnTo>
                  <a:lnTo>
                    <a:pt x="26" y="362"/>
                  </a:lnTo>
                  <a:lnTo>
                    <a:pt x="36" y="373"/>
                  </a:lnTo>
                  <a:lnTo>
                    <a:pt x="50" y="388"/>
                  </a:lnTo>
                  <a:lnTo>
                    <a:pt x="62" y="394"/>
                  </a:lnTo>
                  <a:lnTo>
                    <a:pt x="72" y="397"/>
                  </a:lnTo>
                  <a:lnTo>
                    <a:pt x="80" y="411"/>
                  </a:lnTo>
                  <a:lnTo>
                    <a:pt x="81" y="429"/>
                  </a:lnTo>
                  <a:lnTo>
                    <a:pt x="76" y="443"/>
                  </a:lnTo>
                  <a:lnTo>
                    <a:pt x="66" y="456"/>
                  </a:lnTo>
                  <a:lnTo>
                    <a:pt x="61" y="467"/>
                  </a:lnTo>
                  <a:lnTo>
                    <a:pt x="61" y="477"/>
                  </a:lnTo>
                  <a:lnTo>
                    <a:pt x="65" y="486"/>
                  </a:lnTo>
                  <a:lnTo>
                    <a:pt x="71" y="491"/>
                  </a:lnTo>
                  <a:lnTo>
                    <a:pt x="83" y="494"/>
                  </a:lnTo>
                  <a:lnTo>
                    <a:pt x="95" y="496"/>
                  </a:lnTo>
                  <a:lnTo>
                    <a:pt x="108" y="496"/>
                  </a:lnTo>
                  <a:lnTo>
                    <a:pt x="121" y="493"/>
                  </a:lnTo>
                  <a:lnTo>
                    <a:pt x="134" y="490"/>
                  </a:lnTo>
                  <a:lnTo>
                    <a:pt x="157" y="489"/>
                  </a:lnTo>
                  <a:lnTo>
                    <a:pt x="173" y="488"/>
                  </a:lnTo>
                  <a:lnTo>
                    <a:pt x="182" y="483"/>
                  </a:lnTo>
                  <a:lnTo>
                    <a:pt x="189" y="477"/>
                  </a:lnTo>
                  <a:lnTo>
                    <a:pt x="199" y="474"/>
                  </a:lnTo>
                  <a:lnTo>
                    <a:pt x="215" y="476"/>
                  </a:lnTo>
                  <a:lnTo>
                    <a:pt x="227" y="481"/>
                  </a:lnTo>
                  <a:lnTo>
                    <a:pt x="240" y="491"/>
                  </a:lnTo>
                  <a:lnTo>
                    <a:pt x="252" y="495"/>
                  </a:lnTo>
                  <a:lnTo>
                    <a:pt x="266" y="499"/>
                  </a:lnTo>
                  <a:lnTo>
                    <a:pt x="274" y="512"/>
                  </a:lnTo>
                  <a:lnTo>
                    <a:pt x="279" y="525"/>
                  </a:lnTo>
                  <a:lnTo>
                    <a:pt x="278" y="538"/>
                  </a:lnTo>
                  <a:lnTo>
                    <a:pt x="275" y="546"/>
                  </a:lnTo>
                  <a:lnTo>
                    <a:pt x="271" y="550"/>
                  </a:lnTo>
                  <a:lnTo>
                    <a:pt x="271" y="557"/>
                  </a:lnTo>
                  <a:lnTo>
                    <a:pt x="272" y="566"/>
                  </a:lnTo>
                  <a:lnTo>
                    <a:pt x="281" y="578"/>
                  </a:lnTo>
                  <a:lnTo>
                    <a:pt x="281" y="593"/>
                  </a:lnTo>
                  <a:lnTo>
                    <a:pt x="279" y="609"/>
                  </a:lnTo>
                  <a:lnTo>
                    <a:pt x="273" y="620"/>
                  </a:lnTo>
                  <a:lnTo>
                    <a:pt x="266" y="630"/>
                  </a:lnTo>
                  <a:lnTo>
                    <a:pt x="266" y="640"/>
                  </a:lnTo>
                  <a:lnTo>
                    <a:pt x="272" y="649"/>
                  </a:lnTo>
                  <a:lnTo>
                    <a:pt x="286" y="653"/>
                  </a:lnTo>
                  <a:lnTo>
                    <a:pt x="297" y="661"/>
                  </a:lnTo>
                  <a:lnTo>
                    <a:pt x="301" y="673"/>
                  </a:lnTo>
                  <a:lnTo>
                    <a:pt x="304" y="684"/>
                  </a:lnTo>
                  <a:lnTo>
                    <a:pt x="313" y="696"/>
                  </a:lnTo>
                  <a:lnTo>
                    <a:pt x="331" y="705"/>
                  </a:lnTo>
                  <a:lnTo>
                    <a:pt x="352" y="709"/>
                  </a:lnTo>
                  <a:lnTo>
                    <a:pt x="372" y="708"/>
                  </a:lnTo>
                  <a:lnTo>
                    <a:pt x="381" y="701"/>
                  </a:lnTo>
                  <a:lnTo>
                    <a:pt x="393" y="694"/>
                  </a:lnTo>
                  <a:lnTo>
                    <a:pt x="406" y="695"/>
                  </a:lnTo>
                  <a:lnTo>
                    <a:pt x="419" y="705"/>
                  </a:lnTo>
                  <a:lnTo>
                    <a:pt x="432" y="714"/>
                  </a:lnTo>
                  <a:lnTo>
                    <a:pt x="443" y="719"/>
                  </a:lnTo>
                  <a:lnTo>
                    <a:pt x="457" y="723"/>
                  </a:lnTo>
                  <a:lnTo>
                    <a:pt x="466" y="733"/>
                  </a:lnTo>
                  <a:lnTo>
                    <a:pt x="477" y="740"/>
                  </a:lnTo>
                  <a:lnTo>
                    <a:pt x="482" y="747"/>
                  </a:lnTo>
                  <a:lnTo>
                    <a:pt x="491" y="737"/>
                  </a:lnTo>
                  <a:lnTo>
                    <a:pt x="501" y="723"/>
                  </a:lnTo>
                  <a:lnTo>
                    <a:pt x="515" y="704"/>
                  </a:lnTo>
                  <a:lnTo>
                    <a:pt x="525" y="680"/>
                  </a:lnTo>
                  <a:lnTo>
                    <a:pt x="528" y="659"/>
                  </a:lnTo>
                  <a:lnTo>
                    <a:pt x="533" y="637"/>
                  </a:lnTo>
                  <a:lnTo>
                    <a:pt x="542" y="632"/>
                  </a:lnTo>
                  <a:lnTo>
                    <a:pt x="548" y="624"/>
                  </a:lnTo>
                  <a:lnTo>
                    <a:pt x="548" y="615"/>
                  </a:lnTo>
                  <a:lnTo>
                    <a:pt x="543" y="609"/>
                  </a:lnTo>
                  <a:lnTo>
                    <a:pt x="542" y="598"/>
                  </a:lnTo>
                  <a:lnTo>
                    <a:pt x="548" y="590"/>
                  </a:lnTo>
                  <a:lnTo>
                    <a:pt x="560" y="579"/>
                  </a:lnTo>
                  <a:lnTo>
                    <a:pt x="560" y="569"/>
                  </a:lnTo>
                  <a:lnTo>
                    <a:pt x="551" y="558"/>
                  </a:lnTo>
                  <a:lnTo>
                    <a:pt x="547" y="546"/>
                  </a:lnTo>
                  <a:lnTo>
                    <a:pt x="548" y="533"/>
                  </a:lnTo>
                  <a:lnTo>
                    <a:pt x="556" y="526"/>
                  </a:lnTo>
                  <a:lnTo>
                    <a:pt x="548" y="520"/>
                  </a:lnTo>
                  <a:lnTo>
                    <a:pt x="540" y="510"/>
                  </a:lnTo>
                  <a:lnTo>
                    <a:pt x="532" y="496"/>
                  </a:lnTo>
                  <a:lnTo>
                    <a:pt x="531" y="479"/>
                  </a:lnTo>
                  <a:lnTo>
                    <a:pt x="536" y="468"/>
                  </a:lnTo>
                  <a:lnTo>
                    <a:pt x="546" y="459"/>
                  </a:lnTo>
                  <a:lnTo>
                    <a:pt x="549" y="453"/>
                  </a:lnTo>
                  <a:lnTo>
                    <a:pt x="543" y="441"/>
                  </a:lnTo>
                  <a:lnTo>
                    <a:pt x="535" y="432"/>
                  </a:lnTo>
                  <a:lnTo>
                    <a:pt x="535" y="421"/>
                  </a:lnTo>
                  <a:lnTo>
                    <a:pt x="539" y="413"/>
                  </a:lnTo>
                  <a:lnTo>
                    <a:pt x="543" y="402"/>
                  </a:lnTo>
                  <a:lnTo>
                    <a:pt x="541" y="391"/>
                  </a:lnTo>
                  <a:lnTo>
                    <a:pt x="533" y="378"/>
                  </a:lnTo>
                  <a:lnTo>
                    <a:pt x="525" y="363"/>
                  </a:lnTo>
                  <a:lnTo>
                    <a:pt x="515" y="346"/>
                  </a:lnTo>
                  <a:lnTo>
                    <a:pt x="502" y="334"/>
                  </a:lnTo>
                  <a:lnTo>
                    <a:pt x="487" y="331"/>
                  </a:lnTo>
                  <a:lnTo>
                    <a:pt x="473" y="336"/>
                  </a:lnTo>
                  <a:lnTo>
                    <a:pt x="460" y="348"/>
                  </a:lnTo>
                  <a:lnTo>
                    <a:pt x="437" y="351"/>
                  </a:lnTo>
                  <a:lnTo>
                    <a:pt x="420" y="346"/>
                  </a:lnTo>
                  <a:lnTo>
                    <a:pt x="411" y="335"/>
                  </a:lnTo>
                  <a:lnTo>
                    <a:pt x="411" y="321"/>
                  </a:lnTo>
                  <a:lnTo>
                    <a:pt x="418" y="306"/>
                  </a:lnTo>
                  <a:lnTo>
                    <a:pt x="428" y="292"/>
                  </a:lnTo>
                  <a:lnTo>
                    <a:pt x="449" y="278"/>
                  </a:lnTo>
                  <a:lnTo>
                    <a:pt x="467" y="268"/>
                  </a:lnTo>
                  <a:lnTo>
                    <a:pt x="483" y="259"/>
                  </a:lnTo>
                  <a:lnTo>
                    <a:pt x="487" y="246"/>
                  </a:lnTo>
                  <a:lnTo>
                    <a:pt x="482" y="234"/>
                  </a:lnTo>
                  <a:lnTo>
                    <a:pt x="473" y="225"/>
                  </a:lnTo>
                  <a:lnTo>
                    <a:pt x="460" y="210"/>
                  </a:lnTo>
                  <a:lnTo>
                    <a:pt x="451" y="196"/>
                  </a:lnTo>
                  <a:lnTo>
                    <a:pt x="450" y="185"/>
                  </a:lnTo>
                  <a:lnTo>
                    <a:pt x="454" y="169"/>
                  </a:lnTo>
                  <a:lnTo>
                    <a:pt x="463" y="165"/>
                  </a:lnTo>
                  <a:lnTo>
                    <a:pt x="472" y="171"/>
                  </a:lnTo>
                  <a:lnTo>
                    <a:pt x="484" y="168"/>
                  </a:lnTo>
                  <a:lnTo>
                    <a:pt x="489" y="156"/>
                  </a:lnTo>
                  <a:lnTo>
                    <a:pt x="488" y="144"/>
                  </a:lnTo>
                  <a:lnTo>
                    <a:pt x="490" y="135"/>
                  </a:lnTo>
                  <a:lnTo>
                    <a:pt x="496" y="127"/>
                  </a:lnTo>
                  <a:lnTo>
                    <a:pt x="503" y="115"/>
                  </a:lnTo>
                  <a:lnTo>
                    <a:pt x="504" y="104"/>
                  </a:lnTo>
                  <a:lnTo>
                    <a:pt x="500" y="96"/>
                  </a:lnTo>
                  <a:lnTo>
                    <a:pt x="498" y="86"/>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7" name="Freeform 32">
              <a:extLst>
                <a:ext uri="{FF2B5EF4-FFF2-40B4-BE49-F238E27FC236}">
                  <a16:creationId xmlns:a16="http://schemas.microsoft.com/office/drawing/2014/main" id="{245C386A-8019-4058-894E-B77815259706}"/>
                </a:ext>
              </a:extLst>
            </p:cNvPr>
            <p:cNvSpPr>
              <a:spLocks/>
            </p:cNvSpPr>
            <p:nvPr/>
          </p:nvSpPr>
          <p:spPr bwMode="auto">
            <a:xfrm>
              <a:off x="3091742" y="4993180"/>
              <a:ext cx="351756" cy="280825"/>
            </a:xfrm>
            <a:custGeom>
              <a:avLst/>
              <a:gdLst/>
              <a:ahLst/>
              <a:cxnLst>
                <a:cxn ang="0">
                  <a:pos x="22" y="16"/>
                </a:cxn>
                <a:cxn ang="0">
                  <a:pos x="3" y="26"/>
                </a:cxn>
                <a:cxn ang="0">
                  <a:pos x="4" y="49"/>
                </a:cxn>
                <a:cxn ang="0">
                  <a:pos x="30" y="55"/>
                </a:cxn>
                <a:cxn ang="0">
                  <a:pos x="50" y="66"/>
                </a:cxn>
                <a:cxn ang="0">
                  <a:pos x="54" y="85"/>
                </a:cxn>
                <a:cxn ang="0">
                  <a:pos x="61" y="116"/>
                </a:cxn>
                <a:cxn ang="0">
                  <a:pos x="84" y="145"/>
                </a:cxn>
                <a:cxn ang="0">
                  <a:pos x="101" y="175"/>
                </a:cxn>
                <a:cxn ang="0">
                  <a:pos x="119" y="165"/>
                </a:cxn>
                <a:cxn ang="0">
                  <a:pos x="132" y="151"/>
                </a:cxn>
                <a:cxn ang="0">
                  <a:pos x="144" y="171"/>
                </a:cxn>
                <a:cxn ang="0">
                  <a:pos x="155" y="187"/>
                </a:cxn>
                <a:cxn ang="0">
                  <a:pos x="170" y="181"/>
                </a:cxn>
                <a:cxn ang="0">
                  <a:pos x="182" y="182"/>
                </a:cxn>
                <a:cxn ang="0">
                  <a:pos x="200" y="194"/>
                </a:cxn>
                <a:cxn ang="0">
                  <a:pos x="226" y="191"/>
                </a:cxn>
                <a:cxn ang="0">
                  <a:pos x="234" y="175"/>
                </a:cxn>
                <a:cxn ang="0">
                  <a:pos x="228" y="156"/>
                </a:cxn>
                <a:cxn ang="0">
                  <a:pos x="241" y="135"/>
                </a:cxn>
                <a:cxn ang="0">
                  <a:pos x="243" y="104"/>
                </a:cxn>
                <a:cxn ang="0">
                  <a:pos x="233" y="83"/>
                </a:cxn>
                <a:cxn ang="0">
                  <a:pos x="237" y="72"/>
                </a:cxn>
                <a:cxn ang="0">
                  <a:pos x="241" y="51"/>
                </a:cxn>
                <a:cxn ang="0">
                  <a:pos x="228" y="25"/>
                </a:cxn>
                <a:cxn ang="0">
                  <a:pos x="202" y="17"/>
                </a:cxn>
                <a:cxn ang="0">
                  <a:pos x="177" y="2"/>
                </a:cxn>
                <a:cxn ang="0">
                  <a:pos x="151" y="3"/>
                </a:cxn>
                <a:cxn ang="0">
                  <a:pos x="135" y="14"/>
                </a:cxn>
                <a:cxn ang="0">
                  <a:pos x="96" y="16"/>
                </a:cxn>
                <a:cxn ang="0">
                  <a:pos x="70" y="22"/>
                </a:cxn>
                <a:cxn ang="0">
                  <a:pos x="45" y="20"/>
                </a:cxn>
                <a:cxn ang="0">
                  <a:pos x="27" y="12"/>
                </a:cxn>
              </a:cxnLst>
              <a:rect l="0" t="0" r="r" b="b"/>
              <a:pathLst>
                <a:path w="243" h="194">
                  <a:moveTo>
                    <a:pt x="27" y="12"/>
                  </a:moveTo>
                  <a:lnTo>
                    <a:pt x="22" y="16"/>
                  </a:lnTo>
                  <a:lnTo>
                    <a:pt x="9" y="21"/>
                  </a:lnTo>
                  <a:lnTo>
                    <a:pt x="3" y="26"/>
                  </a:lnTo>
                  <a:lnTo>
                    <a:pt x="0" y="38"/>
                  </a:lnTo>
                  <a:lnTo>
                    <a:pt x="4" y="49"/>
                  </a:lnTo>
                  <a:lnTo>
                    <a:pt x="18" y="57"/>
                  </a:lnTo>
                  <a:lnTo>
                    <a:pt x="30" y="55"/>
                  </a:lnTo>
                  <a:lnTo>
                    <a:pt x="42" y="58"/>
                  </a:lnTo>
                  <a:lnTo>
                    <a:pt x="50" y="66"/>
                  </a:lnTo>
                  <a:lnTo>
                    <a:pt x="54" y="74"/>
                  </a:lnTo>
                  <a:lnTo>
                    <a:pt x="54" y="85"/>
                  </a:lnTo>
                  <a:lnTo>
                    <a:pt x="52" y="99"/>
                  </a:lnTo>
                  <a:lnTo>
                    <a:pt x="61" y="116"/>
                  </a:lnTo>
                  <a:lnTo>
                    <a:pt x="75" y="133"/>
                  </a:lnTo>
                  <a:lnTo>
                    <a:pt x="84" y="145"/>
                  </a:lnTo>
                  <a:lnTo>
                    <a:pt x="90" y="165"/>
                  </a:lnTo>
                  <a:lnTo>
                    <a:pt x="101" y="175"/>
                  </a:lnTo>
                  <a:lnTo>
                    <a:pt x="111" y="173"/>
                  </a:lnTo>
                  <a:lnTo>
                    <a:pt x="119" y="165"/>
                  </a:lnTo>
                  <a:lnTo>
                    <a:pt x="124" y="152"/>
                  </a:lnTo>
                  <a:lnTo>
                    <a:pt x="132" y="151"/>
                  </a:lnTo>
                  <a:lnTo>
                    <a:pt x="141" y="160"/>
                  </a:lnTo>
                  <a:lnTo>
                    <a:pt x="144" y="171"/>
                  </a:lnTo>
                  <a:lnTo>
                    <a:pt x="148" y="179"/>
                  </a:lnTo>
                  <a:lnTo>
                    <a:pt x="155" y="187"/>
                  </a:lnTo>
                  <a:lnTo>
                    <a:pt x="163" y="187"/>
                  </a:lnTo>
                  <a:lnTo>
                    <a:pt x="170" y="181"/>
                  </a:lnTo>
                  <a:lnTo>
                    <a:pt x="176" y="178"/>
                  </a:lnTo>
                  <a:lnTo>
                    <a:pt x="182" y="182"/>
                  </a:lnTo>
                  <a:lnTo>
                    <a:pt x="187" y="190"/>
                  </a:lnTo>
                  <a:lnTo>
                    <a:pt x="200" y="194"/>
                  </a:lnTo>
                  <a:lnTo>
                    <a:pt x="217" y="194"/>
                  </a:lnTo>
                  <a:lnTo>
                    <a:pt x="226" y="191"/>
                  </a:lnTo>
                  <a:lnTo>
                    <a:pt x="232" y="184"/>
                  </a:lnTo>
                  <a:lnTo>
                    <a:pt x="234" y="175"/>
                  </a:lnTo>
                  <a:lnTo>
                    <a:pt x="228" y="166"/>
                  </a:lnTo>
                  <a:lnTo>
                    <a:pt x="228" y="156"/>
                  </a:lnTo>
                  <a:lnTo>
                    <a:pt x="235" y="146"/>
                  </a:lnTo>
                  <a:lnTo>
                    <a:pt x="241" y="135"/>
                  </a:lnTo>
                  <a:lnTo>
                    <a:pt x="243" y="119"/>
                  </a:lnTo>
                  <a:lnTo>
                    <a:pt x="243" y="104"/>
                  </a:lnTo>
                  <a:lnTo>
                    <a:pt x="234" y="92"/>
                  </a:lnTo>
                  <a:lnTo>
                    <a:pt x="233" y="83"/>
                  </a:lnTo>
                  <a:lnTo>
                    <a:pt x="233" y="76"/>
                  </a:lnTo>
                  <a:lnTo>
                    <a:pt x="237" y="72"/>
                  </a:lnTo>
                  <a:lnTo>
                    <a:pt x="240" y="64"/>
                  </a:lnTo>
                  <a:lnTo>
                    <a:pt x="241" y="51"/>
                  </a:lnTo>
                  <a:lnTo>
                    <a:pt x="236" y="38"/>
                  </a:lnTo>
                  <a:lnTo>
                    <a:pt x="228" y="25"/>
                  </a:lnTo>
                  <a:lnTo>
                    <a:pt x="214" y="21"/>
                  </a:lnTo>
                  <a:lnTo>
                    <a:pt x="202" y="17"/>
                  </a:lnTo>
                  <a:lnTo>
                    <a:pt x="189" y="7"/>
                  </a:lnTo>
                  <a:lnTo>
                    <a:pt x="177" y="2"/>
                  </a:lnTo>
                  <a:lnTo>
                    <a:pt x="161" y="0"/>
                  </a:lnTo>
                  <a:lnTo>
                    <a:pt x="151" y="3"/>
                  </a:lnTo>
                  <a:lnTo>
                    <a:pt x="144" y="9"/>
                  </a:lnTo>
                  <a:lnTo>
                    <a:pt x="135" y="14"/>
                  </a:lnTo>
                  <a:lnTo>
                    <a:pt x="119" y="15"/>
                  </a:lnTo>
                  <a:lnTo>
                    <a:pt x="96" y="16"/>
                  </a:lnTo>
                  <a:lnTo>
                    <a:pt x="83" y="19"/>
                  </a:lnTo>
                  <a:lnTo>
                    <a:pt x="70" y="22"/>
                  </a:lnTo>
                  <a:lnTo>
                    <a:pt x="57" y="22"/>
                  </a:lnTo>
                  <a:lnTo>
                    <a:pt x="45" y="20"/>
                  </a:lnTo>
                  <a:lnTo>
                    <a:pt x="33" y="17"/>
                  </a:lnTo>
                  <a:lnTo>
                    <a:pt x="27" y="12"/>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8" name="Freeform 33">
              <a:extLst>
                <a:ext uri="{FF2B5EF4-FFF2-40B4-BE49-F238E27FC236}">
                  <a16:creationId xmlns:a16="http://schemas.microsoft.com/office/drawing/2014/main" id="{EA6B8D7E-7344-4564-B3ED-427E8A525377}"/>
                </a:ext>
              </a:extLst>
            </p:cNvPr>
            <p:cNvSpPr>
              <a:spLocks/>
            </p:cNvSpPr>
            <p:nvPr/>
          </p:nvSpPr>
          <p:spPr bwMode="auto">
            <a:xfrm>
              <a:off x="3433365" y="4938173"/>
              <a:ext cx="1090007" cy="1207258"/>
            </a:xfrm>
            <a:custGeom>
              <a:avLst/>
              <a:gdLst/>
              <a:ahLst/>
              <a:cxnLst>
                <a:cxn ang="0">
                  <a:pos x="397" y="100"/>
                </a:cxn>
                <a:cxn ang="0">
                  <a:pos x="369" y="141"/>
                </a:cxn>
                <a:cxn ang="0">
                  <a:pos x="366" y="119"/>
                </a:cxn>
                <a:cxn ang="0">
                  <a:pos x="347" y="101"/>
                </a:cxn>
                <a:cxn ang="0">
                  <a:pos x="319" y="67"/>
                </a:cxn>
                <a:cxn ang="0">
                  <a:pos x="274" y="97"/>
                </a:cxn>
                <a:cxn ang="0">
                  <a:pos x="274" y="154"/>
                </a:cxn>
                <a:cxn ang="0">
                  <a:pos x="268" y="196"/>
                </a:cxn>
                <a:cxn ang="0">
                  <a:pos x="227" y="287"/>
                </a:cxn>
                <a:cxn ang="0">
                  <a:pos x="190" y="353"/>
                </a:cxn>
                <a:cxn ang="0">
                  <a:pos x="157" y="389"/>
                </a:cxn>
                <a:cxn ang="0">
                  <a:pos x="99" y="460"/>
                </a:cxn>
                <a:cxn ang="0">
                  <a:pos x="68" y="550"/>
                </a:cxn>
                <a:cxn ang="0">
                  <a:pos x="35" y="627"/>
                </a:cxn>
                <a:cxn ang="0">
                  <a:pos x="24" y="703"/>
                </a:cxn>
                <a:cxn ang="0">
                  <a:pos x="4" y="749"/>
                </a:cxn>
                <a:cxn ang="0">
                  <a:pos x="36" y="787"/>
                </a:cxn>
                <a:cxn ang="0">
                  <a:pos x="59" y="821"/>
                </a:cxn>
                <a:cxn ang="0">
                  <a:pos x="91" y="810"/>
                </a:cxn>
                <a:cxn ang="0">
                  <a:pos x="154" y="804"/>
                </a:cxn>
                <a:cxn ang="0">
                  <a:pos x="196" y="813"/>
                </a:cxn>
                <a:cxn ang="0">
                  <a:pos x="248" y="810"/>
                </a:cxn>
                <a:cxn ang="0">
                  <a:pos x="216" y="786"/>
                </a:cxn>
                <a:cxn ang="0">
                  <a:pos x="256" y="735"/>
                </a:cxn>
                <a:cxn ang="0">
                  <a:pos x="300" y="751"/>
                </a:cxn>
                <a:cxn ang="0">
                  <a:pos x="305" y="775"/>
                </a:cxn>
                <a:cxn ang="0">
                  <a:pos x="323" y="786"/>
                </a:cxn>
                <a:cxn ang="0">
                  <a:pos x="374" y="771"/>
                </a:cxn>
                <a:cxn ang="0">
                  <a:pos x="418" y="795"/>
                </a:cxn>
                <a:cxn ang="0">
                  <a:pos x="393" y="760"/>
                </a:cxn>
                <a:cxn ang="0">
                  <a:pos x="397" y="747"/>
                </a:cxn>
                <a:cxn ang="0">
                  <a:pos x="465" y="784"/>
                </a:cxn>
                <a:cxn ang="0">
                  <a:pos x="514" y="802"/>
                </a:cxn>
                <a:cxn ang="0">
                  <a:pos x="571" y="832"/>
                </a:cxn>
                <a:cxn ang="0">
                  <a:pos x="618" y="803"/>
                </a:cxn>
                <a:cxn ang="0">
                  <a:pos x="641" y="773"/>
                </a:cxn>
                <a:cxn ang="0">
                  <a:pos x="653" y="693"/>
                </a:cxn>
                <a:cxn ang="0">
                  <a:pos x="656" y="607"/>
                </a:cxn>
                <a:cxn ang="0">
                  <a:pos x="636" y="524"/>
                </a:cxn>
                <a:cxn ang="0">
                  <a:pos x="693" y="502"/>
                </a:cxn>
                <a:cxn ang="0">
                  <a:pos x="700" y="445"/>
                </a:cxn>
                <a:cxn ang="0">
                  <a:pos x="727" y="444"/>
                </a:cxn>
                <a:cxn ang="0">
                  <a:pos x="731" y="403"/>
                </a:cxn>
                <a:cxn ang="0">
                  <a:pos x="747" y="338"/>
                </a:cxn>
                <a:cxn ang="0">
                  <a:pos x="693" y="261"/>
                </a:cxn>
                <a:cxn ang="0">
                  <a:pos x="682" y="166"/>
                </a:cxn>
                <a:cxn ang="0">
                  <a:pos x="663" y="107"/>
                </a:cxn>
                <a:cxn ang="0">
                  <a:pos x="626" y="102"/>
                </a:cxn>
                <a:cxn ang="0">
                  <a:pos x="606" y="51"/>
                </a:cxn>
                <a:cxn ang="0">
                  <a:pos x="563" y="13"/>
                </a:cxn>
                <a:cxn ang="0">
                  <a:pos x="471" y="10"/>
                </a:cxn>
                <a:cxn ang="0">
                  <a:pos x="492" y="53"/>
                </a:cxn>
                <a:cxn ang="0">
                  <a:pos x="431" y="73"/>
                </a:cxn>
              </a:cxnLst>
              <a:rect l="0" t="0" r="r" b="b"/>
              <a:pathLst>
                <a:path w="753" h="834">
                  <a:moveTo>
                    <a:pt x="425" y="65"/>
                  </a:moveTo>
                  <a:lnTo>
                    <a:pt x="416" y="77"/>
                  </a:lnTo>
                  <a:lnTo>
                    <a:pt x="411" y="82"/>
                  </a:lnTo>
                  <a:lnTo>
                    <a:pt x="401" y="91"/>
                  </a:lnTo>
                  <a:lnTo>
                    <a:pt x="397" y="100"/>
                  </a:lnTo>
                  <a:lnTo>
                    <a:pt x="396" y="112"/>
                  </a:lnTo>
                  <a:lnTo>
                    <a:pt x="396" y="125"/>
                  </a:lnTo>
                  <a:lnTo>
                    <a:pt x="393" y="136"/>
                  </a:lnTo>
                  <a:lnTo>
                    <a:pt x="384" y="139"/>
                  </a:lnTo>
                  <a:lnTo>
                    <a:pt x="369" y="141"/>
                  </a:lnTo>
                  <a:lnTo>
                    <a:pt x="354" y="140"/>
                  </a:lnTo>
                  <a:lnTo>
                    <a:pt x="350" y="135"/>
                  </a:lnTo>
                  <a:lnTo>
                    <a:pt x="351" y="126"/>
                  </a:lnTo>
                  <a:lnTo>
                    <a:pt x="358" y="121"/>
                  </a:lnTo>
                  <a:lnTo>
                    <a:pt x="366" y="119"/>
                  </a:lnTo>
                  <a:lnTo>
                    <a:pt x="371" y="112"/>
                  </a:lnTo>
                  <a:lnTo>
                    <a:pt x="372" y="106"/>
                  </a:lnTo>
                  <a:lnTo>
                    <a:pt x="367" y="100"/>
                  </a:lnTo>
                  <a:lnTo>
                    <a:pt x="355" y="97"/>
                  </a:lnTo>
                  <a:lnTo>
                    <a:pt x="347" y="101"/>
                  </a:lnTo>
                  <a:lnTo>
                    <a:pt x="335" y="102"/>
                  </a:lnTo>
                  <a:lnTo>
                    <a:pt x="324" y="97"/>
                  </a:lnTo>
                  <a:lnTo>
                    <a:pt x="323" y="91"/>
                  </a:lnTo>
                  <a:lnTo>
                    <a:pt x="322" y="79"/>
                  </a:lnTo>
                  <a:lnTo>
                    <a:pt x="319" y="67"/>
                  </a:lnTo>
                  <a:lnTo>
                    <a:pt x="312" y="65"/>
                  </a:lnTo>
                  <a:lnTo>
                    <a:pt x="303" y="67"/>
                  </a:lnTo>
                  <a:lnTo>
                    <a:pt x="292" y="88"/>
                  </a:lnTo>
                  <a:lnTo>
                    <a:pt x="282" y="90"/>
                  </a:lnTo>
                  <a:lnTo>
                    <a:pt x="274" y="97"/>
                  </a:lnTo>
                  <a:lnTo>
                    <a:pt x="273" y="110"/>
                  </a:lnTo>
                  <a:lnTo>
                    <a:pt x="277" y="122"/>
                  </a:lnTo>
                  <a:lnTo>
                    <a:pt x="286" y="133"/>
                  </a:lnTo>
                  <a:lnTo>
                    <a:pt x="286" y="143"/>
                  </a:lnTo>
                  <a:lnTo>
                    <a:pt x="274" y="154"/>
                  </a:lnTo>
                  <a:lnTo>
                    <a:pt x="268" y="162"/>
                  </a:lnTo>
                  <a:lnTo>
                    <a:pt x="269" y="173"/>
                  </a:lnTo>
                  <a:lnTo>
                    <a:pt x="274" y="179"/>
                  </a:lnTo>
                  <a:lnTo>
                    <a:pt x="274" y="188"/>
                  </a:lnTo>
                  <a:lnTo>
                    <a:pt x="268" y="196"/>
                  </a:lnTo>
                  <a:lnTo>
                    <a:pt x="259" y="201"/>
                  </a:lnTo>
                  <a:lnTo>
                    <a:pt x="254" y="223"/>
                  </a:lnTo>
                  <a:lnTo>
                    <a:pt x="251" y="244"/>
                  </a:lnTo>
                  <a:lnTo>
                    <a:pt x="241" y="268"/>
                  </a:lnTo>
                  <a:lnTo>
                    <a:pt x="227" y="287"/>
                  </a:lnTo>
                  <a:lnTo>
                    <a:pt x="217" y="301"/>
                  </a:lnTo>
                  <a:lnTo>
                    <a:pt x="208" y="311"/>
                  </a:lnTo>
                  <a:lnTo>
                    <a:pt x="201" y="323"/>
                  </a:lnTo>
                  <a:lnTo>
                    <a:pt x="193" y="338"/>
                  </a:lnTo>
                  <a:lnTo>
                    <a:pt x="190" y="353"/>
                  </a:lnTo>
                  <a:lnTo>
                    <a:pt x="189" y="369"/>
                  </a:lnTo>
                  <a:lnTo>
                    <a:pt x="185" y="380"/>
                  </a:lnTo>
                  <a:lnTo>
                    <a:pt x="181" y="383"/>
                  </a:lnTo>
                  <a:lnTo>
                    <a:pt x="168" y="388"/>
                  </a:lnTo>
                  <a:lnTo>
                    <a:pt x="157" y="389"/>
                  </a:lnTo>
                  <a:lnTo>
                    <a:pt x="147" y="396"/>
                  </a:lnTo>
                  <a:lnTo>
                    <a:pt x="135" y="410"/>
                  </a:lnTo>
                  <a:lnTo>
                    <a:pt x="118" y="427"/>
                  </a:lnTo>
                  <a:lnTo>
                    <a:pt x="107" y="445"/>
                  </a:lnTo>
                  <a:lnTo>
                    <a:pt x="99" y="460"/>
                  </a:lnTo>
                  <a:lnTo>
                    <a:pt x="92" y="483"/>
                  </a:lnTo>
                  <a:lnTo>
                    <a:pt x="86" y="501"/>
                  </a:lnTo>
                  <a:lnTo>
                    <a:pt x="78" y="514"/>
                  </a:lnTo>
                  <a:lnTo>
                    <a:pt x="70" y="530"/>
                  </a:lnTo>
                  <a:lnTo>
                    <a:pt x="68" y="550"/>
                  </a:lnTo>
                  <a:lnTo>
                    <a:pt x="67" y="561"/>
                  </a:lnTo>
                  <a:lnTo>
                    <a:pt x="60" y="576"/>
                  </a:lnTo>
                  <a:lnTo>
                    <a:pt x="48" y="595"/>
                  </a:lnTo>
                  <a:lnTo>
                    <a:pt x="39" y="611"/>
                  </a:lnTo>
                  <a:lnTo>
                    <a:pt x="35" y="627"/>
                  </a:lnTo>
                  <a:lnTo>
                    <a:pt x="33" y="638"/>
                  </a:lnTo>
                  <a:lnTo>
                    <a:pt x="32" y="669"/>
                  </a:lnTo>
                  <a:lnTo>
                    <a:pt x="32" y="683"/>
                  </a:lnTo>
                  <a:lnTo>
                    <a:pt x="29" y="694"/>
                  </a:lnTo>
                  <a:lnTo>
                    <a:pt x="24" y="703"/>
                  </a:lnTo>
                  <a:lnTo>
                    <a:pt x="12" y="709"/>
                  </a:lnTo>
                  <a:lnTo>
                    <a:pt x="4" y="715"/>
                  </a:lnTo>
                  <a:lnTo>
                    <a:pt x="0" y="725"/>
                  </a:lnTo>
                  <a:lnTo>
                    <a:pt x="2" y="736"/>
                  </a:lnTo>
                  <a:lnTo>
                    <a:pt x="4" y="749"/>
                  </a:lnTo>
                  <a:lnTo>
                    <a:pt x="7" y="760"/>
                  </a:lnTo>
                  <a:lnTo>
                    <a:pt x="10" y="775"/>
                  </a:lnTo>
                  <a:lnTo>
                    <a:pt x="14" y="785"/>
                  </a:lnTo>
                  <a:lnTo>
                    <a:pt x="23" y="788"/>
                  </a:lnTo>
                  <a:lnTo>
                    <a:pt x="36" y="787"/>
                  </a:lnTo>
                  <a:lnTo>
                    <a:pt x="43" y="785"/>
                  </a:lnTo>
                  <a:lnTo>
                    <a:pt x="51" y="788"/>
                  </a:lnTo>
                  <a:lnTo>
                    <a:pt x="56" y="799"/>
                  </a:lnTo>
                  <a:lnTo>
                    <a:pt x="56" y="811"/>
                  </a:lnTo>
                  <a:lnTo>
                    <a:pt x="59" y="821"/>
                  </a:lnTo>
                  <a:lnTo>
                    <a:pt x="66" y="826"/>
                  </a:lnTo>
                  <a:lnTo>
                    <a:pt x="74" y="824"/>
                  </a:lnTo>
                  <a:lnTo>
                    <a:pt x="79" y="818"/>
                  </a:lnTo>
                  <a:lnTo>
                    <a:pt x="84" y="811"/>
                  </a:lnTo>
                  <a:lnTo>
                    <a:pt x="91" y="810"/>
                  </a:lnTo>
                  <a:lnTo>
                    <a:pt x="99" y="813"/>
                  </a:lnTo>
                  <a:lnTo>
                    <a:pt x="108" y="816"/>
                  </a:lnTo>
                  <a:lnTo>
                    <a:pt x="127" y="816"/>
                  </a:lnTo>
                  <a:lnTo>
                    <a:pt x="142" y="815"/>
                  </a:lnTo>
                  <a:lnTo>
                    <a:pt x="154" y="804"/>
                  </a:lnTo>
                  <a:lnTo>
                    <a:pt x="159" y="795"/>
                  </a:lnTo>
                  <a:lnTo>
                    <a:pt x="167" y="791"/>
                  </a:lnTo>
                  <a:lnTo>
                    <a:pt x="180" y="793"/>
                  </a:lnTo>
                  <a:lnTo>
                    <a:pt x="188" y="802"/>
                  </a:lnTo>
                  <a:lnTo>
                    <a:pt x="196" y="813"/>
                  </a:lnTo>
                  <a:lnTo>
                    <a:pt x="206" y="818"/>
                  </a:lnTo>
                  <a:lnTo>
                    <a:pt x="214" y="820"/>
                  </a:lnTo>
                  <a:lnTo>
                    <a:pt x="235" y="819"/>
                  </a:lnTo>
                  <a:lnTo>
                    <a:pt x="246" y="817"/>
                  </a:lnTo>
                  <a:lnTo>
                    <a:pt x="248" y="810"/>
                  </a:lnTo>
                  <a:lnTo>
                    <a:pt x="247" y="803"/>
                  </a:lnTo>
                  <a:lnTo>
                    <a:pt x="238" y="797"/>
                  </a:lnTo>
                  <a:lnTo>
                    <a:pt x="227" y="797"/>
                  </a:lnTo>
                  <a:lnTo>
                    <a:pt x="219" y="794"/>
                  </a:lnTo>
                  <a:lnTo>
                    <a:pt x="216" y="786"/>
                  </a:lnTo>
                  <a:lnTo>
                    <a:pt x="218" y="777"/>
                  </a:lnTo>
                  <a:lnTo>
                    <a:pt x="229" y="765"/>
                  </a:lnTo>
                  <a:lnTo>
                    <a:pt x="243" y="751"/>
                  </a:lnTo>
                  <a:lnTo>
                    <a:pt x="250" y="741"/>
                  </a:lnTo>
                  <a:lnTo>
                    <a:pt x="256" y="735"/>
                  </a:lnTo>
                  <a:lnTo>
                    <a:pt x="264" y="735"/>
                  </a:lnTo>
                  <a:lnTo>
                    <a:pt x="271" y="741"/>
                  </a:lnTo>
                  <a:lnTo>
                    <a:pt x="277" y="746"/>
                  </a:lnTo>
                  <a:lnTo>
                    <a:pt x="288" y="749"/>
                  </a:lnTo>
                  <a:lnTo>
                    <a:pt x="300" y="751"/>
                  </a:lnTo>
                  <a:lnTo>
                    <a:pt x="310" y="752"/>
                  </a:lnTo>
                  <a:lnTo>
                    <a:pt x="317" y="758"/>
                  </a:lnTo>
                  <a:lnTo>
                    <a:pt x="317" y="763"/>
                  </a:lnTo>
                  <a:lnTo>
                    <a:pt x="311" y="771"/>
                  </a:lnTo>
                  <a:lnTo>
                    <a:pt x="305" y="775"/>
                  </a:lnTo>
                  <a:lnTo>
                    <a:pt x="300" y="781"/>
                  </a:lnTo>
                  <a:lnTo>
                    <a:pt x="298" y="792"/>
                  </a:lnTo>
                  <a:lnTo>
                    <a:pt x="305" y="797"/>
                  </a:lnTo>
                  <a:lnTo>
                    <a:pt x="316" y="794"/>
                  </a:lnTo>
                  <a:lnTo>
                    <a:pt x="323" y="786"/>
                  </a:lnTo>
                  <a:lnTo>
                    <a:pt x="326" y="777"/>
                  </a:lnTo>
                  <a:lnTo>
                    <a:pt x="330" y="772"/>
                  </a:lnTo>
                  <a:lnTo>
                    <a:pt x="341" y="771"/>
                  </a:lnTo>
                  <a:lnTo>
                    <a:pt x="361" y="773"/>
                  </a:lnTo>
                  <a:lnTo>
                    <a:pt x="374" y="771"/>
                  </a:lnTo>
                  <a:lnTo>
                    <a:pt x="380" y="768"/>
                  </a:lnTo>
                  <a:lnTo>
                    <a:pt x="390" y="771"/>
                  </a:lnTo>
                  <a:lnTo>
                    <a:pt x="397" y="778"/>
                  </a:lnTo>
                  <a:lnTo>
                    <a:pt x="406" y="787"/>
                  </a:lnTo>
                  <a:lnTo>
                    <a:pt x="418" y="795"/>
                  </a:lnTo>
                  <a:lnTo>
                    <a:pt x="426" y="799"/>
                  </a:lnTo>
                  <a:lnTo>
                    <a:pt x="427" y="789"/>
                  </a:lnTo>
                  <a:lnTo>
                    <a:pt x="419" y="780"/>
                  </a:lnTo>
                  <a:lnTo>
                    <a:pt x="408" y="771"/>
                  </a:lnTo>
                  <a:lnTo>
                    <a:pt x="393" y="760"/>
                  </a:lnTo>
                  <a:lnTo>
                    <a:pt x="382" y="754"/>
                  </a:lnTo>
                  <a:lnTo>
                    <a:pt x="376" y="745"/>
                  </a:lnTo>
                  <a:lnTo>
                    <a:pt x="380" y="739"/>
                  </a:lnTo>
                  <a:lnTo>
                    <a:pt x="392" y="741"/>
                  </a:lnTo>
                  <a:lnTo>
                    <a:pt x="397" y="747"/>
                  </a:lnTo>
                  <a:lnTo>
                    <a:pt x="408" y="758"/>
                  </a:lnTo>
                  <a:lnTo>
                    <a:pt x="421" y="767"/>
                  </a:lnTo>
                  <a:lnTo>
                    <a:pt x="431" y="776"/>
                  </a:lnTo>
                  <a:lnTo>
                    <a:pt x="450" y="783"/>
                  </a:lnTo>
                  <a:lnTo>
                    <a:pt x="465" y="784"/>
                  </a:lnTo>
                  <a:lnTo>
                    <a:pt x="474" y="788"/>
                  </a:lnTo>
                  <a:lnTo>
                    <a:pt x="481" y="794"/>
                  </a:lnTo>
                  <a:lnTo>
                    <a:pt x="489" y="797"/>
                  </a:lnTo>
                  <a:lnTo>
                    <a:pt x="504" y="797"/>
                  </a:lnTo>
                  <a:lnTo>
                    <a:pt x="514" y="802"/>
                  </a:lnTo>
                  <a:lnTo>
                    <a:pt x="526" y="816"/>
                  </a:lnTo>
                  <a:lnTo>
                    <a:pt x="533" y="824"/>
                  </a:lnTo>
                  <a:lnTo>
                    <a:pt x="547" y="832"/>
                  </a:lnTo>
                  <a:lnTo>
                    <a:pt x="558" y="834"/>
                  </a:lnTo>
                  <a:lnTo>
                    <a:pt x="571" y="832"/>
                  </a:lnTo>
                  <a:lnTo>
                    <a:pt x="583" y="826"/>
                  </a:lnTo>
                  <a:lnTo>
                    <a:pt x="588" y="817"/>
                  </a:lnTo>
                  <a:lnTo>
                    <a:pt x="595" y="802"/>
                  </a:lnTo>
                  <a:lnTo>
                    <a:pt x="606" y="793"/>
                  </a:lnTo>
                  <a:lnTo>
                    <a:pt x="618" y="803"/>
                  </a:lnTo>
                  <a:lnTo>
                    <a:pt x="631" y="810"/>
                  </a:lnTo>
                  <a:lnTo>
                    <a:pt x="648" y="803"/>
                  </a:lnTo>
                  <a:lnTo>
                    <a:pt x="653" y="791"/>
                  </a:lnTo>
                  <a:lnTo>
                    <a:pt x="650" y="780"/>
                  </a:lnTo>
                  <a:lnTo>
                    <a:pt x="641" y="773"/>
                  </a:lnTo>
                  <a:lnTo>
                    <a:pt x="641" y="761"/>
                  </a:lnTo>
                  <a:lnTo>
                    <a:pt x="649" y="753"/>
                  </a:lnTo>
                  <a:lnTo>
                    <a:pt x="650" y="732"/>
                  </a:lnTo>
                  <a:lnTo>
                    <a:pt x="655" y="717"/>
                  </a:lnTo>
                  <a:lnTo>
                    <a:pt x="653" y="693"/>
                  </a:lnTo>
                  <a:lnTo>
                    <a:pt x="651" y="675"/>
                  </a:lnTo>
                  <a:lnTo>
                    <a:pt x="645" y="655"/>
                  </a:lnTo>
                  <a:lnTo>
                    <a:pt x="648" y="640"/>
                  </a:lnTo>
                  <a:lnTo>
                    <a:pt x="654" y="625"/>
                  </a:lnTo>
                  <a:lnTo>
                    <a:pt x="656" y="607"/>
                  </a:lnTo>
                  <a:lnTo>
                    <a:pt x="652" y="589"/>
                  </a:lnTo>
                  <a:lnTo>
                    <a:pt x="645" y="569"/>
                  </a:lnTo>
                  <a:lnTo>
                    <a:pt x="634" y="552"/>
                  </a:lnTo>
                  <a:lnTo>
                    <a:pt x="629" y="536"/>
                  </a:lnTo>
                  <a:lnTo>
                    <a:pt x="636" y="524"/>
                  </a:lnTo>
                  <a:lnTo>
                    <a:pt x="649" y="526"/>
                  </a:lnTo>
                  <a:lnTo>
                    <a:pt x="661" y="528"/>
                  </a:lnTo>
                  <a:lnTo>
                    <a:pt x="669" y="526"/>
                  </a:lnTo>
                  <a:lnTo>
                    <a:pt x="679" y="514"/>
                  </a:lnTo>
                  <a:lnTo>
                    <a:pt x="693" y="502"/>
                  </a:lnTo>
                  <a:lnTo>
                    <a:pt x="704" y="498"/>
                  </a:lnTo>
                  <a:lnTo>
                    <a:pt x="715" y="486"/>
                  </a:lnTo>
                  <a:lnTo>
                    <a:pt x="715" y="473"/>
                  </a:lnTo>
                  <a:lnTo>
                    <a:pt x="709" y="455"/>
                  </a:lnTo>
                  <a:lnTo>
                    <a:pt x="700" y="445"/>
                  </a:lnTo>
                  <a:lnTo>
                    <a:pt x="696" y="431"/>
                  </a:lnTo>
                  <a:lnTo>
                    <a:pt x="698" y="420"/>
                  </a:lnTo>
                  <a:lnTo>
                    <a:pt x="707" y="418"/>
                  </a:lnTo>
                  <a:lnTo>
                    <a:pt x="717" y="433"/>
                  </a:lnTo>
                  <a:lnTo>
                    <a:pt x="727" y="444"/>
                  </a:lnTo>
                  <a:lnTo>
                    <a:pt x="744" y="447"/>
                  </a:lnTo>
                  <a:lnTo>
                    <a:pt x="753" y="439"/>
                  </a:lnTo>
                  <a:lnTo>
                    <a:pt x="750" y="426"/>
                  </a:lnTo>
                  <a:lnTo>
                    <a:pt x="738" y="415"/>
                  </a:lnTo>
                  <a:lnTo>
                    <a:pt x="731" y="403"/>
                  </a:lnTo>
                  <a:lnTo>
                    <a:pt x="731" y="391"/>
                  </a:lnTo>
                  <a:lnTo>
                    <a:pt x="737" y="382"/>
                  </a:lnTo>
                  <a:lnTo>
                    <a:pt x="746" y="369"/>
                  </a:lnTo>
                  <a:lnTo>
                    <a:pt x="748" y="355"/>
                  </a:lnTo>
                  <a:lnTo>
                    <a:pt x="747" y="338"/>
                  </a:lnTo>
                  <a:lnTo>
                    <a:pt x="744" y="326"/>
                  </a:lnTo>
                  <a:lnTo>
                    <a:pt x="735" y="316"/>
                  </a:lnTo>
                  <a:lnTo>
                    <a:pt x="726" y="300"/>
                  </a:lnTo>
                  <a:lnTo>
                    <a:pt x="711" y="278"/>
                  </a:lnTo>
                  <a:lnTo>
                    <a:pt x="693" y="261"/>
                  </a:lnTo>
                  <a:lnTo>
                    <a:pt x="681" y="248"/>
                  </a:lnTo>
                  <a:lnTo>
                    <a:pt x="675" y="237"/>
                  </a:lnTo>
                  <a:lnTo>
                    <a:pt x="674" y="215"/>
                  </a:lnTo>
                  <a:lnTo>
                    <a:pt x="678" y="187"/>
                  </a:lnTo>
                  <a:lnTo>
                    <a:pt x="682" y="166"/>
                  </a:lnTo>
                  <a:lnTo>
                    <a:pt x="689" y="149"/>
                  </a:lnTo>
                  <a:lnTo>
                    <a:pt x="690" y="125"/>
                  </a:lnTo>
                  <a:lnTo>
                    <a:pt x="686" y="111"/>
                  </a:lnTo>
                  <a:lnTo>
                    <a:pt x="675" y="105"/>
                  </a:lnTo>
                  <a:lnTo>
                    <a:pt x="663" y="107"/>
                  </a:lnTo>
                  <a:lnTo>
                    <a:pt x="651" y="118"/>
                  </a:lnTo>
                  <a:lnTo>
                    <a:pt x="642" y="123"/>
                  </a:lnTo>
                  <a:lnTo>
                    <a:pt x="633" y="121"/>
                  </a:lnTo>
                  <a:lnTo>
                    <a:pt x="627" y="112"/>
                  </a:lnTo>
                  <a:lnTo>
                    <a:pt x="626" y="102"/>
                  </a:lnTo>
                  <a:lnTo>
                    <a:pt x="619" y="93"/>
                  </a:lnTo>
                  <a:lnTo>
                    <a:pt x="611" y="84"/>
                  </a:lnTo>
                  <a:lnTo>
                    <a:pt x="607" y="76"/>
                  </a:lnTo>
                  <a:lnTo>
                    <a:pt x="607" y="64"/>
                  </a:lnTo>
                  <a:lnTo>
                    <a:pt x="606" y="51"/>
                  </a:lnTo>
                  <a:lnTo>
                    <a:pt x="597" y="44"/>
                  </a:lnTo>
                  <a:lnTo>
                    <a:pt x="586" y="42"/>
                  </a:lnTo>
                  <a:lnTo>
                    <a:pt x="576" y="36"/>
                  </a:lnTo>
                  <a:lnTo>
                    <a:pt x="566" y="23"/>
                  </a:lnTo>
                  <a:lnTo>
                    <a:pt x="563" y="13"/>
                  </a:lnTo>
                  <a:lnTo>
                    <a:pt x="550" y="3"/>
                  </a:lnTo>
                  <a:lnTo>
                    <a:pt x="524" y="0"/>
                  </a:lnTo>
                  <a:lnTo>
                    <a:pt x="501" y="1"/>
                  </a:lnTo>
                  <a:lnTo>
                    <a:pt x="481" y="2"/>
                  </a:lnTo>
                  <a:lnTo>
                    <a:pt x="471" y="10"/>
                  </a:lnTo>
                  <a:lnTo>
                    <a:pt x="471" y="17"/>
                  </a:lnTo>
                  <a:lnTo>
                    <a:pt x="483" y="28"/>
                  </a:lnTo>
                  <a:lnTo>
                    <a:pt x="498" y="39"/>
                  </a:lnTo>
                  <a:lnTo>
                    <a:pt x="498" y="47"/>
                  </a:lnTo>
                  <a:lnTo>
                    <a:pt x="492" y="53"/>
                  </a:lnTo>
                  <a:lnTo>
                    <a:pt x="481" y="55"/>
                  </a:lnTo>
                  <a:lnTo>
                    <a:pt x="470" y="61"/>
                  </a:lnTo>
                  <a:lnTo>
                    <a:pt x="458" y="68"/>
                  </a:lnTo>
                  <a:lnTo>
                    <a:pt x="446" y="74"/>
                  </a:lnTo>
                  <a:lnTo>
                    <a:pt x="431" y="73"/>
                  </a:lnTo>
                  <a:lnTo>
                    <a:pt x="425" y="65"/>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9" name="Freeform 34">
              <a:extLst>
                <a:ext uri="{FF2B5EF4-FFF2-40B4-BE49-F238E27FC236}">
                  <a16:creationId xmlns:a16="http://schemas.microsoft.com/office/drawing/2014/main" id="{EA45CA45-6A3C-41DE-8681-C31153506EB9}"/>
                </a:ext>
              </a:extLst>
            </p:cNvPr>
            <p:cNvSpPr>
              <a:spLocks/>
            </p:cNvSpPr>
            <p:nvPr/>
          </p:nvSpPr>
          <p:spPr bwMode="auto">
            <a:xfrm>
              <a:off x="4022518" y="4521278"/>
              <a:ext cx="1684951" cy="1790622"/>
            </a:xfrm>
            <a:custGeom>
              <a:avLst/>
              <a:gdLst/>
              <a:ahLst/>
              <a:cxnLst>
                <a:cxn ang="0">
                  <a:pos x="74" y="343"/>
                </a:cxn>
                <a:cxn ang="0">
                  <a:pos x="64" y="298"/>
                </a:cxn>
                <a:cxn ang="0">
                  <a:pos x="160" y="313"/>
                </a:cxn>
                <a:cxn ang="0">
                  <a:pos x="200" y="364"/>
                </a:cxn>
                <a:cxn ang="0">
                  <a:pos x="235" y="411"/>
                </a:cxn>
                <a:cxn ang="0">
                  <a:pos x="282" y="437"/>
                </a:cxn>
                <a:cxn ang="0">
                  <a:pos x="286" y="549"/>
                </a:cxn>
                <a:cxn ang="0">
                  <a:pos x="341" y="643"/>
                </a:cxn>
                <a:cxn ang="0">
                  <a:pos x="343" y="714"/>
                </a:cxn>
                <a:cxn ang="0">
                  <a:pos x="291" y="708"/>
                </a:cxn>
                <a:cxn ang="0">
                  <a:pos x="297" y="786"/>
                </a:cxn>
                <a:cxn ang="0">
                  <a:pos x="229" y="812"/>
                </a:cxn>
                <a:cxn ang="0">
                  <a:pos x="247" y="913"/>
                </a:cxn>
                <a:cxn ang="0">
                  <a:pos x="243" y="1020"/>
                </a:cxn>
                <a:cxn ang="0">
                  <a:pos x="241" y="1091"/>
                </a:cxn>
                <a:cxn ang="0">
                  <a:pos x="176" y="1114"/>
                </a:cxn>
                <a:cxn ang="0">
                  <a:pos x="234" y="1163"/>
                </a:cxn>
                <a:cxn ang="0">
                  <a:pos x="273" y="1196"/>
                </a:cxn>
                <a:cxn ang="0">
                  <a:pos x="286" y="1235"/>
                </a:cxn>
                <a:cxn ang="0">
                  <a:pos x="310" y="1167"/>
                </a:cxn>
                <a:cxn ang="0">
                  <a:pos x="340" y="1109"/>
                </a:cxn>
                <a:cxn ang="0">
                  <a:pos x="392" y="1135"/>
                </a:cxn>
                <a:cxn ang="0">
                  <a:pos x="453" y="1164"/>
                </a:cxn>
                <a:cxn ang="0">
                  <a:pos x="500" y="1188"/>
                </a:cxn>
                <a:cxn ang="0">
                  <a:pos x="574" y="1164"/>
                </a:cxn>
                <a:cxn ang="0">
                  <a:pos x="665" y="1123"/>
                </a:cxn>
                <a:cxn ang="0">
                  <a:pos x="776" y="1110"/>
                </a:cxn>
                <a:cxn ang="0">
                  <a:pos x="824" y="1096"/>
                </a:cxn>
                <a:cxn ang="0">
                  <a:pos x="879" y="1106"/>
                </a:cxn>
                <a:cxn ang="0">
                  <a:pos x="927" y="1096"/>
                </a:cxn>
                <a:cxn ang="0">
                  <a:pos x="942" y="1138"/>
                </a:cxn>
                <a:cxn ang="0">
                  <a:pos x="1001" y="1165"/>
                </a:cxn>
                <a:cxn ang="0">
                  <a:pos x="971" y="1084"/>
                </a:cxn>
                <a:cxn ang="0">
                  <a:pos x="992" y="1010"/>
                </a:cxn>
                <a:cxn ang="0">
                  <a:pos x="944" y="970"/>
                </a:cxn>
                <a:cxn ang="0">
                  <a:pos x="956" y="901"/>
                </a:cxn>
                <a:cxn ang="0">
                  <a:pos x="1003" y="868"/>
                </a:cxn>
                <a:cxn ang="0">
                  <a:pos x="1088" y="800"/>
                </a:cxn>
                <a:cxn ang="0">
                  <a:pos x="1160" y="743"/>
                </a:cxn>
                <a:cxn ang="0">
                  <a:pos x="1070" y="616"/>
                </a:cxn>
                <a:cxn ang="0">
                  <a:pos x="1015" y="553"/>
                </a:cxn>
                <a:cxn ang="0">
                  <a:pos x="907" y="462"/>
                </a:cxn>
                <a:cxn ang="0">
                  <a:pos x="825" y="315"/>
                </a:cxn>
                <a:cxn ang="0">
                  <a:pos x="782" y="178"/>
                </a:cxn>
                <a:cxn ang="0">
                  <a:pos x="720" y="75"/>
                </a:cxn>
                <a:cxn ang="0">
                  <a:pos x="602" y="67"/>
                </a:cxn>
                <a:cxn ang="0">
                  <a:pos x="551" y="49"/>
                </a:cxn>
                <a:cxn ang="0">
                  <a:pos x="501" y="81"/>
                </a:cxn>
                <a:cxn ang="0">
                  <a:pos x="423" y="85"/>
                </a:cxn>
                <a:cxn ang="0">
                  <a:pos x="393" y="105"/>
                </a:cxn>
                <a:cxn ang="0">
                  <a:pos x="318" y="20"/>
                </a:cxn>
                <a:cxn ang="0">
                  <a:pos x="258" y="10"/>
                </a:cxn>
                <a:cxn ang="0">
                  <a:pos x="214" y="65"/>
                </a:cxn>
                <a:cxn ang="0">
                  <a:pos x="185" y="81"/>
                </a:cxn>
                <a:cxn ang="0">
                  <a:pos x="178" y="132"/>
                </a:cxn>
                <a:cxn ang="0">
                  <a:pos x="122" y="131"/>
                </a:cxn>
                <a:cxn ang="0">
                  <a:pos x="104" y="189"/>
                </a:cxn>
                <a:cxn ang="0">
                  <a:pos x="61" y="171"/>
                </a:cxn>
                <a:cxn ang="0">
                  <a:pos x="24" y="179"/>
                </a:cxn>
                <a:cxn ang="0">
                  <a:pos x="6" y="247"/>
                </a:cxn>
                <a:cxn ang="0">
                  <a:pos x="21" y="335"/>
                </a:cxn>
              </a:cxnLst>
              <a:rect l="0" t="0" r="r" b="b"/>
              <a:pathLst>
                <a:path w="1164" h="1237">
                  <a:moveTo>
                    <a:pt x="18" y="353"/>
                  </a:moveTo>
                  <a:lnTo>
                    <a:pt x="24" y="361"/>
                  </a:lnTo>
                  <a:lnTo>
                    <a:pt x="39" y="362"/>
                  </a:lnTo>
                  <a:lnTo>
                    <a:pt x="51" y="356"/>
                  </a:lnTo>
                  <a:lnTo>
                    <a:pt x="63" y="349"/>
                  </a:lnTo>
                  <a:lnTo>
                    <a:pt x="74" y="343"/>
                  </a:lnTo>
                  <a:lnTo>
                    <a:pt x="85" y="341"/>
                  </a:lnTo>
                  <a:lnTo>
                    <a:pt x="91" y="335"/>
                  </a:lnTo>
                  <a:lnTo>
                    <a:pt x="91" y="327"/>
                  </a:lnTo>
                  <a:lnTo>
                    <a:pt x="76" y="316"/>
                  </a:lnTo>
                  <a:lnTo>
                    <a:pt x="64" y="305"/>
                  </a:lnTo>
                  <a:lnTo>
                    <a:pt x="64" y="298"/>
                  </a:lnTo>
                  <a:lnTo>
                    <a:pt x="74" y="290"/>
                  </a:lnTo>
                  <a:lnTo>
                    <a:pt x="94" y="289"/>
                  </a:lnTo>
                  <a:lnTo>
                    <a:pt x="117" y="288"/>
                  </a:lnTo>
                  <a:lnTo>
                    <a:pt x="143" y="291"/>
                  </a:lnTo>
                  <a:lnTo>
                    <a:pt x="156" y="301"/>
                  </a:lnTo>
                  <a:lnTo>
                    <a:pt x="160" y="313"/>
                  </a:lnTo>
                  <a:lnTo>
                    <a:pt x="169" y="324"/>
                  </a:lnTo>
                  <a:lnTo>
                    <a:pt x="179" y="330"/>
                  </a:lnTo>
                  <a:lnTo>
                    <a:pt x="190" y="332"/>
                  </a:lnTo>
                  <a:lnTo>
                    <a:pt x="199" y="339"/>
                  </a:lnTo>
                  <a:lnTo>
                    <a:pt x="200" y="352"/>
                  </a:lnTo>
                  <a:lnTo>
                    <a:pt x="200" y="364"/>
                  </a:lnTo>
                  <a:lnTo>
                    <a:pt x="204" y="372"/>
                  </a:lnTo>
                  <a:lnTo>
                    <a:pt x="212" y="381"/>
                  </a:lnTo>
                  <a:lnTo>
                    <a:pt x="219" y="390"/>
                  </a:lnTo>
                  <a:lnTo>
                    <a:pt x="220" y="400"/>
                  </a:lnTo>
                  <a:lnTo>
                    <a:pt x="226" y="409"/>
                  </a:lnTo>
                  <a:lnTo>
                    <a:pt x="235" y="411"/>
                  </a:lnTo>
                  <a:lnTo>
                    <a:pt x="244" y="406"/>
                  </a:lnTo>
                  <a:lnTo>
                    <a:pt x="256" y="395"/>
                  </a:lnTo>
                  <a:lnTo>
                    <a:pt x="268" y="393"/>
                  </a:lnTo>
                  <a:lnTo>
                    <a:pt x="279" y="399"/>
                  </a:lnTo>
                  <a:lnTo>
                    <a:pt x="283" y="413"/>
                  </a:lnTo>
                  <a:lnTo>
                    <a:pt x="282" y="437"/>
                  </a:lnTo>
                  <a:lnTo>
                    <a:pt x="275" y="454"/>
                  </a:lnTo>
                  <a:lnTo>
                    <a:pt x="271" y="475"/>
                  </a:lnTo>
                  <a:lnTo>
                    <a:pt x="267" y="503"/>
                  </a:lnTo>
                  <a:lnTo>
                    <a:pt x="268" y="525"/>
                  </a:lnTo>
                  <a:lnTo>
                    <a:pt x="274" y="536"/>
                  </a:lnTo>
                  <a:lnTo>
                    <a:pt x="286" y="549"/>
                  </a:lnTo>
                  <a:lnTo>
                    <a:pt x="304" y="566"/>
                  </a:lnTo>
                  <a:lnTo>
                    <a:pt x="319" y="588"/>
                  </a:lnTo>
                  <a:lnTo>
                    <a:pt x="328" y="604"/>
                  </a:lnTo>
                  <a:lnTo>
                    <a:pt x="337" y="614"/>
                  </a:lnTo>
                  <a:lnTo>
                    <a:pt x="340" y="626"/>
                  </a:lnTo>
                  <a:lnTo>
                    <a:pt x="341" y="643"/>
                  </a:lnTo>
                  <a:lnTo>
                    <a:pt x="339" y="657"/>
                  </a:lnTo>
                  <a:lnTo>
                    <a:pt x="330" y="670"/>
                  </a:lnTo>
                  <a:lnTo>
                    <a:pt x="324" y="679"/>
                  </a:lnTo>
                  <a:lnTo>
                    <a:pt x="324" y="691"/>
                  </a:lnTo>
                  <a:lnTo>
                    <a:pt x="331" y="703"/>
                  </a:lnTo>
                  <a:lnTo>
                    <a:pt x="343" y="714"/>
                  </a:lnTo>
                  <a:lnTo>
                    <a:pt x="346" y="727"/>
                  </a:lnTo>
                  <a:lnTo>
                    <a:pt x="337" y="735"/>
                  </a:lnTo>
                  <a:lnTo>
                    <a:pt x="320" y="732"/>
                  </a:lnTo>
                  <a:lnTo>
                    <a:pt x="310" y="721"/>
                  </a:lnTo>
                  <a:lnTo>
                    <a:pt x="300" y="706"/>
                  </a:lnTo>
                  <a:lnTo>
                    <a:pt x="291" y="708"/>
                  </a:lnTo>
                  <a:lnTo>
                    <a:pt x="289" y="719"/>
                  </a:lnTo>
                  <a:lnTo>
                    <a:pt x="293" y="733"/>
                  </a:lnTo>
                  <a:lnTo>
                    <a:pt x="302" y="743"/>
                  </a:lnTo>
                  <a:lnTo>
                    <a:pt x="308" y="761"/>
                  </a:lnTo>
                  <a:lnTo>
                    <a:pt x="308" y="774"/>
                  </a:lnTo>
                  <a:lnTo>
                    <a:pt x="297" y="786"/>
                  </a:lnTo>
                  <a:lnTo>
                    <a:pt x="286" y="790"/>
                  </a:lnTo>
                  <a:lnTo>
                    <a:pt x="272" y="802"/>
                  </a:lnTo>
                  <a:lnTo>
                    <a:pt x="262" y="814"/>
                  </a:lnTo>
                  <a:lnTo>
                    <a:pt x="254" y="816"/>
                  </a:lnTo>
                  <a:lnTo>
                    <a:pt x="242" y="814"/>
                  </a:lnTo>
                  <a:lnTo>
                    <a:pt x="229" y="812"/>
                  </a:lnTo>
                  <a:lnTo>
                    <a:pt x="222" y="824"/>
                  </a:lnTo>
                  <a:lnTo>
                    <a:pt x="227" y="840"/>
                  </a:lnTo>
                  <a:lnTo>
                    <a:pt x="238" y="857"/>
                  </a:lnTo>
                  <a:lnTo>
                    <a:pt x="245" y="877"/>
                  </a:lnTo>
                  <a:lnTo>
                    <a:pt x="249" y="895"/>
                  </a:lnTo>
                  <a:lnTo>
                    <a:pt x="247" y="913"/>
                  </a:lnTo>
                  <a:lnTo>
                    <a:pt x="241" y="928"/>
                  </a:lnTo>
                  <a:lnTo>
                    <a:pt x="238" y="943"/>
                  </a:lnTo>
                  <a:lnTo>
                    <a:pt x="244" y="963"/>
                  </a:lnTo>
                  <a:lnTo>
                    <a:pt x="246" y="981"/>
                  </a:lnTo>
                  <a:lnTo>
                    <a:pt x="248" y="1005"/>
                  </a:lnTo>
                  <a:lnTo>
                    <a:pt x="243" y="1020"/>
                  </a:lnTo>
                  <a:lnTo>
                    <a:pt x="242" y="1041"/>
                  </a:lnTo>
                  <a:lnTo>
                    <a:pt x="234" y="1049"/>
                  </a:lnTo>
                  <a:lnTo>
                    <a:pt x="234" y="1061"/>
                  </a:lnTo>
                  <a:lnTo>
                    <a:pt x="243" y="1068"/>
                  </a:lnTo>
                  <a:lnTo>
                    <a:pt x="246" y="1079"/>
                  </a:lnTo>
                  <a:lnTo>
                    <a:pt x="241" y="1091"/>
                  </a:lnTo>
                  <a:lnTo>
                    <a:pt x="224" y="1098"/>
                  </a:lnTo>
                  <a:lnTo>
                    <a:pt x="211" y="1091"/>
                  </a:lnTo>
                  <a:lnTo>
                    <a:pt x="199" y="1081"/>
                  </a:lnTo>
                  <a:lnTo>
                    <a:pt x="188" y="1090"/>
                  </a:lnTo>
                  <a:lnTo>
                    <a:pt x="181" y="1105"/>
                  </a:lnTo>
                  <a:lnTo>
                    <a:pt x="176" y="1114"/>
                  </a:lnTo>
                  <a:lnTo>
                    <a:pt x="180" y="1129"/>
                  </a:lnTo>
                  <a:lnTo>
                    <a:pt x="186" y="1136"/>
                  </a:lnTo>
                  <a:lnTo>
                    <a:pt x="205" y="1137"/>
                  </a:lnTo>
                  <a:lnTo>
                    <a:pt x="214" y="1143"/>
                  </a:lnTo>
                  <a:lnTo>
                    <a:pt x="225" y="1155"/>
                  </a:lnTo>
                  <a:lnTo>
                    <a:pt x="234" y="1163"/>
                  </a:lnTo>
                  <a:lnTo>
                    <a:pt x="241" y="1167"/>
                  </a:lnTo>
                  <a:lnTo>
                    <a:pt x="243" y="1177"/>
                  </a:lnTo>
                  <a:lnTo>
                    <a:pt x="245" y="1186"/>
                  </a:lnTo>
                  <a:lnTo>
                    <a:pt x="252" y="1190"/>
                  </a:lnTo>
                  <a:lnTo>
                    <a:pt x="265" y="1191"/>
                  </a:lnTo>
                  <a:lnTo>
                    <a:pt x="273" y="1196"/>
                  </a:lnTo>
                  <a:lnTo>
                    <a:pt x="274" y="1202"/>
                  </a:lnTo>
                  <a:lnTo>
                    <a:pt x="274" y="1211"/>
                  </a:lnTo>
                  <a:lnTo>
                    <a:pt x="269" y="1218"/>
                  </a:lnTo>
                  <a:lnTo>
                    <a:pt x="270" y="1233"/>
                  </a:lnTo>
                  <a:lnTo>
                    <a:pt x="276" y="1237"/>
                  </a:lnTo>
                  <a:lnTo>
                    <a:pt x="286" y="1235"/>
                  </a:lnTo>
                  <a:lnTo>
                    <a:pt x="292" y="1225"/>
                  </a:lnTo>
                  <a:lnTo>
                    <a:pt x="306" y="1211"/>
                  </a:lnTo>
                  <a:lnTo>
                    <a:pt x="316" y="1201"/>
                  </a:lnTo>
                  <a:lnTo>
                    <a:pt x="326" y="1192"/>
                  </a:lnTo>
                  <a:lnTo>
                    <a:pt x="320" y="1182"/>
                  </a:lnTo>
                  <a:lnTo>
                    <a:pt x="310" y="1167"/>
                  </a:lnTo>
                  <a:lnTo>
                    <a:pt x="308" y="1151"/>
                  </a:lnTo>
                  <a:lnTo>
                    <a:pt x="313" y="1137"/>
                  </a:lnTo>
                  <a:lnTo>
                    <a:pt x="321" y="1126"/>
                  </a:lnTo>
                  <a:lnTo>
                    <a:pt x="327" y="1115"/>
                  </a:lnTo>
                  <a:lnTo>
                    <a:pt x="333" y="1108"/>
                  </a:lnTo>
                  <a:lnTo>
                    <a:pt x="340" y="1109"/>
                  </a:lnTo>
                  <a:lnTo>
                    <a:pt x="346" y="1124"/>
                  </a:lnTo>
                  <a:lnTo>
                    <a:pt x="351" y="1136"/>
                  </a:lnTo>
                  <a:lnTo>
                    <a:pt x="358" y="1144"/>
                  </a:lnTo>
                  <a:lnTo>
                    <a:pt x="369" y="1142"/>
                  </a:lnTo>
                  <a:lnTo>
                    <a:pt x="379" y="1136"/>
                  </a:lnTo>
                  <a:lnTo>
                    <a:pt x="392" y="1135"/>
                  </a:lnTo>
                  <a:lnTo>
                    <a:pt x="408" y="1135"/>
                  </a:lnTo>
                  <a:lnTo>
                    <a:pt x="419" y="1140"/>
                  </a:lnTo>
                  <a:lnTo>
                    <a:pt x="429" y="1150"/>
                  </a:lnTo>
                  <a:lnTo>
                    <a:pt x="440" y="1154"/>
                  </a:lnTo>
                  <a:lnTo>
                    <a:pt x="450" y="1157"/>
                  </a:lnTo>
                  <a:lnTo>
                    <a:pt x="453" y="1164"/>
                  </a:lnTo>
                  <a:lnTo>
                    <a:pt x="454" y="1175"/>
                  </a:lnTo>
                  <a:lnTo>
                    <a:pt x="456" y="1188"/>
                  </a:lnTo>
                  <a:lnTo>
                    <a:pt x="465" y="1195"/>
                  </a:lnTo>
                  <a:lnTo>
                    <a:pt x="477" y="1201"/>
                  </a:lnTo>
                  <a:lnTo>
                    <a:pt x="491" y="1196"/>
                  </a:lnTo>
                  <a:lnTo>
                    <a:pt x="500" y="1188"/>
                  </a:lnTo>
                  <a:lnTo>
                    <a:pt x="511" y="1189"/>
                  </a:lnTo>
                  <a:lnTo>
                    <a:pt x="517" y="1193"/>
                  </a:lnTo>
                  <a:lnTo>
                    <a:pt x="528" y="1193"/>
                  </a:lnTo>
                  <a:lnTo>
                    <a:pt x="542" y="1185"/>
                  </a:lnTo>
                  <a:lnTo>
                    <a:pt x="556" y="1173"/>
                  </a:lnTo>
                  <a:lnTo>
                    <a:pt x="574" y="1164"/>
                  </a:lnTo>
                  <a:lnTo>
                    <a:pt x="593" y="1159"/>
                  </a:lnTo>
                  <a:lnTo>
                    <a:pt x="606" y="1161"/>
                  </a:lnTo>
                  <a:lnTo>
                    <a:pt x="627" y="1159"/>
                  </a:lnTo>
                  <a:lnTo>
                    <a:pt x="640" y="1151"/>
                  </a:lnTo>
                  <a:lnTo>
                    <a:pt x="654" y="1134"/>
                  </a:lnTo>
                  <a:lnTo>
                    <a:pt x="665" y="1123"/>
                  </a:lnTo>
                  <a:lnTo>
                    <a:pt x="683" y="1119"/>
                  </a:lnTo>
                  <a:lnTo>
                    <a:pt x="707" y="1114"/>
                  </a:lnTo>
                  <a:lnTo>
                    <a:pt x="730" y="1117"/>
                  </a:lnTo>
                  <a:lnTo>
                    <a:pt x="750" y="1119"/>
                  </a:lnTo>
                  <a:lnTo>
                    <a:pt x="768" y="1117"/>
                  </a:lnTo>
                  <a:lnTo>
                    <a:pt x="776" y="1110"/>
                  </a:lnTo>
                  <a:lnTo>
                    <a:pt x="782" y="1099"/>
                  </a:lnTo>
                  <a:lnTo>
                    <a:pt x="789" y="1083"/>
                  </a:lnTo>
                  <a:lnTo>
                    <a:pt x="798" y="1077"/>
                  </a:lnTo>
                  <a:lnTo>
                    <a:pt x="810" y="1076"/>
                  </a:lnTo>
                  <a:lnTo>
                    <a:pt x="817" y="1085"/>
                  </a:lnTo>
                  <a:lnTo>
                    <a:pt x="824" y="1096"/>
                  </a:lnTo>
                  <a:lnTo>
                    <a:pt x="834" y="1099"/>
                  </a:lnTo>
                  <a:lnTo>
                    <a:pt x="847" y="1104"/>
                  </a:lnTo>
                  <a:lnTo>
                    <a:pt x="853" y="1112"/>
                  </a:lnTo>
                  <a:lnTo>
                    <a:pt x="866" y="1118"/>
                  </a:lnTo>
                  <a:lnTo>
                    <a:pt x="874" y="1115"/>
                  </a:lnTo>
                  <a:lnTo>
                    <a:pt x="879" y="1106"/>
                  </a:lnTo>
                  <a:lnTo>
                    <a:pt x="889" y="1099"/>
                  </a:lnTo>
                  <a:lnTo>
                    <a:pt x="900" y="1099"/>
                  </a:lnTo>
                  <a:lnTo>
                    <a:pt x="908" y="1104"/>
                  </a:lnTo>
                  <a:lnTo>
                    <a:pt x="914" y="1104"/>
                  </a:lnTo>
                  <a:lnTo>
                    <a:pt x="920" y="1100"/>
                  </a:lnTo>
                  <a:lnTo>
                    <a:pt x="927" y="1096"/>
                  </a:lnTo>
                  <a:lnTo>
                    <a:pt x="936" y="1099"/>
                  </a:lnTo>
                  <a:lnTo>
                    <a:pt x="939" y="1109"/>
                  </a:lnTo>
                  <a:lnTo>
                    <a:pt x="938" y="1119"/>
                  </a:lnTo>
                  <a:lnTo>
                    <a:pt x="932" y="1126"/>
                  </a:lnTo>
                  <a:lnTo>
                    <a:pt x="932" y="1133"/>
                  </a:lnTo>
                  <a:lnTo>
                    <a:pt x="942" y="1138"/>
                  </a:lnTo>
                  <a:lnTo>
                    <a:pt x="951" y="1142"/>
                  </a:lnTo>
                  <a:lnTo>
                    <a:pt x="957" y="1155"/>
                  </a:lnTo>
                  <a:lnTo>
                    <a:pt x="967" y="1166"/>
                  </a:lnTo>
                  <a:lnTo>
                    <a:pt x="976" y="1173"/>
                  </a:lnTo>
                  <a:lnTo>
                    <a:pt x="990" y="1173"/>
                  </a:lnTo>
                  <a:lnTo>
                    <a:pt x="1001" y="1165"/>
                  </a:lnTo>
                  <a:lnTo>
                    <a:pt x="1005" y="1140"/>
                  </a:lnTo>
                  <a:lnTo>
                    <a:pt x="1004" y="1124"/>
                  </a:lnTo>
                  <a:lnTo>
                    <a:pt x="1005" y="1110"/>
                  </a:lnTo>
                  <a:lnTo>
                    <a:pt x="999" y="1101"/>
                  </a:lnTo>
                  <a:lnTo>
                    <a:pt x="985" y="1094"/>
                  </a:lnTo>
                  <a:lnTo>
                    <a:pt x="971" y="1084"/>
                  </a:lnTo>
                  <a:lnTo>
                    <a:pt x="969" y="1076"/>
                  </a:lnTo>
                  <a:lnTo>
                    <a:pt x="973" y="1065"/>
                  </a:lnTo>
                  <a:lnTo>
                    <a:pt x="981" y="1053"/>
                  </a:lnTo>
                  <a:lnTo>
                    <a:pt x="991" y="1040"/>
                  </a:lnTo>
                  <a:lnTo>
                    <a:pt x="993" y="1025"/>
                  </a:lnTo>
                  <a:lnTo>
                    <a:pt x="992" y="1010"/>
                  </a:lnTo>
                  <a:lnTo>
                    <a:pt x="986" y="1000"/>
                  </a:lnTo>
                  <a:lnTo>
                    <a:pt x="975" y="995"/>
                  </a:lnTo>
                  <a:lnTo>
                    <a:pt x="959" y="991"/>
                  </a:lnTo>
                  <a:lnTo>
                    <a:pt x="950" y="990"/>
                  </a:lnTo>
                  <a:lnTo>
                    <a:pt x="946" y="982"/>
                  </a:lnTo>
                  <a:lnTo>
                    <a:pt x="944" y="970"/>
                  </a:lnTo>
                  <a:lnTo>
                    <a:pt x="934" y="958"/>
                  </a:lnTo>
                  <a:lnTo>
                    <a:pt x="929" y="954"/>
                  </a:lnTo>
                  <a:lnTo>
                    <a:pt x="927" y="945"/>
                  </a:lnTo>
                  <a:lnTo>
                    <a:pt x="932" y="931"/>
                  </a:lnTo>
                  <a:lnTo>
                    <a:pt x="944" y="914"/>
                  </a:lnTo>
                  <a:lnTo>
                    <a:pt x="956" y="901"/>
                  </a:lnTo>
                  <a:lnTo>
                    <a:pt x="965" y="899"/>
                  </a:lnTo>
                  <a:lnTo>
                    <a:pt x="979" y="900"/>
                  </a:lnTo>
                  <a:lnTo>
                    <a:pt x="986" y="898"/>
                  </a:lnTo>
                  <a:lnTo>
                    <a:pt x="988" y="887"/>
                  </a:lnTo>
                  <a:lnTo>
                    <a:pt x="995" y="877"/>
                  </a:lnTo>
                  <a:lnTo>
                    <a:pt x="1003" y="868"/>
                  </a:lnTo>
                  <a:lnTo>
                    <a:pt x="1018" y="863"/>
                  </a:lnTo>
                  <a:lnTo>
                    <a:pt x="1031" y="863"/>
                  </a:lnTo>
                  <a:lnTo>
                    <a:pt x="1054" y="853"/>
                  </a:lnTo>
                  <a:lnTo>
                    <a:pt x="1068" y="839"/>
                  </a:lnTo>
                  <a:lnTo>
                    <a:pt x="1082" y="819"/>
                  </a:lnTo>
                  <a:lnTo>
                    <a:pt x="1088" y="800"/>
                  </a:lnTo>
                  <a:lnTo>
                    <a:pt x="1091" y="776"/>
                  </a:lnTo>
                  <a:lnTo>
                    <a:pt x="1096" y="761"/>
                  </a:lnTo>
                  <a:lnTo>
                    <a:pt x="1111" y="753"/>
                  </a:lnTo>
                  <a:lnTo>
                    <a:pt x="1130" y="753"/>
                  </a:lnTo>
                  <a:lnTo>
                    <a:pt x="1150" y="751"/>
                  </a:lnTo>
                  <a:lnTo>
                    <a:pt x="1160" y="743"/>
                  </a:lnTo>
                  <a:lnTo>
                    <a:pt x="1164" y="720"/>
                  </a:lnTo>
                  <a:lnTo>
                    <a:pt x="1152" y="679"/>
                  </a:lnTo>
                  <a:lnTo>
                    <a:pt x="1151" y="653"/>
                  </a:lnTo>
                  <a:lnTo>
                    <a:pt x="1120" y="640"/>
                  </a:lnTo>
                  <a:lnTo>
                    <a:pt x="1096" y="629"/>
                  </a:lnTo>
                  <a:lnTo>
                    <a:pt x="1070" y="616"/>
                  </a:lnTo>
                  <a:lnTo>
                    <a:pt x="1064" y="596"/>
                  </a:lnTo>
                  <a:lnTo>
                    <a:pt x="1062" y="582"/>
                  </a:lnTo>
                  <a:lnTo>
                    <a:pt x="1058" y="568"/>
                  </a:lnTo>
                  <a:lnTo>
                    <a:pt x="1042" y="559"/>
                  </a:lnTo>
                  <a:lnTo>
                    <a:pt x="1026" y="558"/>
                  </a:lnTo>
                  <a:lnTo>
                    <a:pt x="1015" y="553"/>
                  </a:lnTo>
                  <a:lnTo>
                    <a:pt x="1005" y="544"/>
                  </a:lnTo>
                  <a:lnTo>
                    <a:pt x="989" y="513"/>
                  </a:lnTo>
                  <a:lnTo>
                    <a:pt x="956" y="471"/>
                  </a:lnTo>
                  <a:lnTo>
                    <a:pt x="949" y="468"/>
                  </a:lnTo>
                  <a:lnTo>
                    <a:pt x="920" y="467"/>
                  </a:lnTo>
                  <a:lnTo>
                    <a:pt x="907" y="462"/>
                  </a:lnTo>
                  <a:lnTo>
                    <a:pt x="891" y="441"/>
                  </a:lnTo>
                  <a:lnTo>
                    <a:pt x="874" y="411"/>
                  </a:lnTo>
                  <a:lnTo>
                    <a:pt x="863" y="387"/>
                  </a:lnTo>
                  <a:lnTo>
                    <a:pt x="858" y="371"/>
                  </a:lnTo>
                  <a:lnTo>
                    <a:pt x="837" y="336"/>
                  </a:lnTo>
                  <a:lnTo>
                    <a:pt x="825" y="315"/>
                  </a:lnTo>
                  <a:lnTo>
                    <a:pt x="823" y="305"/>
                  </a:lnTo>
                  <a:lnTo>
                    <a:pt x="837" y="266"/>
                  </a:lnTo>
                  <a:lnTo>
                    <a:pt x="839" y="250"/>
                  </a:lnTo>
                  <a:lnTo>
                    <a:pt x="831" y="232"/>
                  </a:lnTo>
                  <a:lnTo>
                    <a:pt x="809" y="204"/>
                  </a:lnTo>
                  <a:lnTo>
                    <a:pt x="782" y="178"/>
                  </a:lnTo>
                  <a:lnTo>
                    <a:pt x="762" y="154"/>
                  </a:lnTo>
                  <a:lnTo>
                    <a:pt x="761" y="142"/>
                  </a:lnTo>
                  <a:lnTo>
                    <a:pt x="762" y="125"/>
                  </a:lnTo>
                  <a:lnTo>
                    <a:pt x="765" y="121"/>
                  </a:lnTo>
                  <a:lnTo>
                    <a:pt x="739" y="98"/>
                  </a:lnTo>
                  <a:lnTo>
                    <a:pt x="720" y="75"/>
                  </a:lnTo>
                  <a:lnTo>
                    <a:pt x="695" y="72"/>
                  </a:lnTo>
                  <a:lnTo>
                    <a:pt x="677" y="65"/>
                  </a:lnTo>
                  <a:lnTo>
                    <a:pt x="656" y="61"/>
                  </a:lnTo>
                  <a:lnTo>
                    <a:pt x="635" y="61"/>
                  </a:lnTo>
                  <a:lnTo>
                    <a:pt x="622" y="66"/>
                  </a:lnTo>
                  <a:lnTo>
                    <a:pt x="602" y="67"/>
                  </a:lnTo>
                  <a:lnTo>
                    <a:pt x="594" y="60"/>
                  </a:lnTo>
                  <a:lnTo>
                    <a:pt x="592" y="41"/>
                  </a:lnTo>
                  <a:lnTo>
                    <a:pt x="582" y="27"/>
                  </a:lnTo>
                  <a:lnTo>
                    <a:pt x="570" y="27"/>
                  </a:lnTo>
                  <a:lnTo>
                    <a:pt x="557" y="33"/>
                  </a:lnTo>
                  <a:lnTo>
                    <a:pt x="551" y="49"/>
                  </a:lnTo>
                  <a:lnTo>
                    <a:pt x="555" y="68"/>
                  </a:lnTo>
                  <a:lnTo>
                    <a:pt x="554" y="93"/>
                  </a:lnTo>
                  <a:lnTo>
                    <a:pt x="548" y="102"/>
                  </a:lnTo>
                  <a:lnTo>
                    <a:pt x="534" y="103"/>
                  </a:lnTo>
                  <a:lnTo>
                    <a:pt x="513" y="84"/>
                  </a:lnTo>
                  <a:lnTo>
                    <a:pt x="501" y="81"/>
                  </a:lnTo>
                  <a:lnTo>
                    <a:pt x="471" y="83"/>
                  </a:lnTo>
                  <a:lnTo>
                    <a:pt x="458" y="82"/>
                  </a:lnTo>
                  <a:lnTo>
                    <a:pt x="449" y="73"/>
                  </a:lnTo>
                  <a:lnTo>
                    <a:pt x="438" y="67"/>
                  </a:lnTo>
                  <a:lnTo>
                    <a:pt x="427" y="71"/>
                  </a:lnTo>
                  <a:lnTo>
                    <a:pt x="423" y="85"/>
                  </a:lnTo>
                  <a:lnTo>
                    <a:pt x="427" y="96"/>
                  </a:lnTo>
                  <a:lnTo>
                    <a:pt x="428" y="108"/>
                  </a:lnTo>
                  <a:lnTo>
                    <a:pt x="423" y="118"/>
                  </a:lnTo>
                  <a:lnTo>
                    <a:pt x="410" y="118"/>
                  </a:lnTo>
                  <a:lnTo>
                    <a:pt x="395" y="114"/>
                  </a:lnTo>
                  <a:lnTo>
                    <a:pt x="393" y="105"/>
                  </a:lnTo>
                  <a:lnTo>
                    <a:pt x="391" y="92"/>
                  </a:lnTo>
                  <a:lnTo>
                    <a:pt x="382" y="83"/>
                  </a:lnTo>
                  <a:lnTo>
                    <a:pt x="364" y="76"/>
                  </a:lnTo>
                  <a:lnTo>
                    <a:pt x="341" y="65"/>
                  </a:lnTo>
                  <a:lnTo>
                    <a:pt x="327" y="41"/>
                  </a:lnTo>
                  <a:lnTo>
                    <a:pt x="318" y="20"/>
                  </a:lnTo>
                  <a:lnTo>
                    <a:pt x="308" y="3"/>
                  </a:lnTo>
                  <a:lnTo>
                    <a:pt x="300" y="0"/>
                  </a:lnTo>
                  <a:lnTo>
                    <a:pt x="291" y="3"/>
                  </a:lnTo>
                  <a:lnTo>
                    <a:pt x="278" y="5"/>
                  </a:lnTo>
                  <a:lnTo>
                    <a:pt x="264" y="2"/>
                  </a:lnTo>
                  <a:lnTo>
                    <a:pt x="258" y="10"/>
                  </a:lnTo>
                  <a:lnTo>
                    <a:pt x="256" y="23"/>
                  </a:lnTo>
                  <a:lnTo>
                    <a:pt x="243" y="37"/>
                  </a:lnTo>
                  <a:lnTo>
                    <a:pt x="232" y="46"/>
                  </a:lnTo>
                  <a:lnTo>
                    <a:pt x="224" y="57"/>
                  </a:lnTo>
                  <a:lnTo>
                    <a:pt x="218" y="64"/>
                  </a:lnTo>
                  <a:lnTo>
                    <a:pt x="214" y="65"/>
                  </a:lnTo>
                  <a:lnTo>
                    <a:pt x="211" y="60"/>
                  </a:lnTo>
                  <a:lnTo>
                    <a:pt x="206" y="56"/>
                  </a:lnTo>
                  <a:lnTo>
                    <a:pt x="199" y="55"/>
                  </a:lnTo>
                  <a:lnTo>
                    <a:pt x="191" y="60"/>
                  </a:lnTo>
                  <a:lnTo>
                    <a:pt x="186" y="70"/>
                  </a:lnTo>
                  <a:lnTo>
                    <a:pt x="185" y="81"/>
                  </a:lnTo>
                  <a:lnTo>
                    <a:pt x="186" y="87"/>
                  </a:lnTo>
                  <a:lnTo>
                    <a:pt x="190" y="93"/>
                  </a:lnTo>
                  <a:lnTo>
                    <a:pt x="193" y="103"/>
                  </a:lnTo>
                  <a:lnTo>
                    <a:pt x="191" y="113"/>
                  </a:lnTo>
                  <a:lnTo>
                    <a:pt x="186" y="122"/>
                  </a:lnTo>
                  <a:lnTo>
                    <a:pt x="178" y="132"/>
                  </a:lnTo>
                  <a:lnTo>
                    <a:pt x="166" y="138"/>
                  </a:lnTo>
                  <a:lnTo>
                    <a:pt x="151" y="139"/>
                  </a:lnTo>
                  <a:lnTo>
                    <a:pt x="142" y="133"/>
                  </a:lnTo>
                  <a:lnTo>
                    <a:pt x="134" y="128"/>
                  </a:lnTo>
                  <a:lnTo>
                    <a:pt x="125" y="128"/>
                  </a:lnTo>
                  <a:lnTo>
                    <a:pt x="122" y="131"/>
                  </a:lnTo>
                  <a:lnTo>
                    <a:pt x="122" y="142"/>
                  </a:lnTo>
                  <a:lnTo>
                    <a:pt x="127" y="155"/>
                  </a:lnTo>
                  <a:lnTo>
                    <a:pt x="126" y="168"/>
                  </a:lnTo>
                  <a:lnTo>
                    <a:pt x="121" y="181"/>
                  </a:lnTo>
                  <a:lnTo>
                    <a:pt x="114" y="187"/>
                  </a:lnTo>
                  <a:lnTo>
                    <a:pt x="104" y="189"/>
                  </a:lnTo>
                  <a:lnTo>
                    <a:pt x="98" y="186"/>
                  </a:lnTo>
                  <a:lnTo>
                    <a:pt x="95" y="175"/>
                  </a:lnTo>
                  <a:lnTo>
                    <a:pt x="91" y="168"/>
                  </a:lnTo>
                  <a:lnTo>
                    <a:pt x="83" y="164"/>
                  </a:lnTo>
                  <a:lnTo>
                    <a:pt x="68" y="166"/>
                  </a:lnTo>
                  <a:lnTo>
                    <a:pt x="61" y="171"/>
                  </a:lnTo>
                  <a:lnTo>
                    <a:pt x="55" y="173"/>
                  </a:lnTo>
                  <a:lnTo>
                    <a:pt x="49" y="171"/>
                  </a:lnTo>
                  <a:lnTo>
                    <a:pt x="45" y="166"/>
                  </a:lnTo>
                  <a:lnTo>
                    <a:pt x="36" y="164"/>
                  </a:lnTo>
                  <a:lnTo>
                    <a:pt x="30" y="169"/>
                  </a:lnTo>
                  <a:lnTo>
                    <a:pt x="24" y="179"/>
                  </a:lnTo>
                  <a:lnTo>
                    <a:pt x="15" y="189"/>
                  </a:lnTo>
                  <a:lnTo>
                    <a:pt x="4" y="201"/>
                  </a:lnTo>
                  <a:lnTo>
                    <a:pt x="0" y="214"/>
                  </a:lnTo>
                  <a:lnTo>
                    <a:pt x="7" y="223"/>
                  </a:lnTo>
                  <a:lnTo>
                    <a:pt x="9" y="236"/>
                  </a:lnTo>
                  <a:lnTo>
                    <a:pt x="6" y="247"/>
                  </a:lnTo>
                  <a:lnTo>
                    <a:pt x="3" y="257"/>
                  </a:lnTo>
                  <a:lnTo>
                    <a:pt x="5" y="268"/>
                  </a:lnTo>
                  <a:lnTo>
                    <a:pt x="11" y="279"/>
                  </a:lnTo>
                  <a:lnTo>
                    <a:pt x="18" y="304"/>
                  </a:lnTo>
                  <a:lnTo>
                    <a:pt x="21" y="315"/>
                  </a:lnTo>
                  <a:lnTo>
                    <a:pt x="21" y="335"/>
                  </a:lnTo>
                  <a:lnTo>
                    <a:pt x="18" y="353"/>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reeform 35">
              <a:extLst>
                <a:ext uri="{FF2B5EF4-FFF2-40B4-BE49-F238E27FC236}">
                  <a16:creationId xmlns:a16="http://schemas.microsoft.com/office/drawing/2014/main" id="{65210261-E835-4807-9D71-FF37C37AF22C}"/>
                </a:ext>
              </a:extLst>
            </p:cNvPr>
            <p:cNvSpPr>
              <a:spLocks noEditPoints="1"/>
            </p:cNvSpPr>
            <p:nvPr/>
          </p:nvSpPr>
          <p:spPr bwMode="auto">
            <a:xfrm>
              <a:off x="4953294" y="2949236"/>
              <a:ext cx="1065398" cy="1155147"/>
            </a:xfrm>
            <a:custGeom>
              <a:avLst/>
              <a:gdLst/>
              <a:ahLst/>
              <a:cxnLst>
                <a:cxn ang="0">
                  <a:pos x="406" y="295"/>
                </a:cxn>
                <a:cxn ang="0">
                  <a:pos x="439" y="308"/>
                </a:cxn>
                <a:cxn ang="0">
                  <a:pos x="491" y="342"/>
                </a:cxn>
                <a:cxn ang="0">
                  <a:pos x="455" y="421"/>
                </a:cxn>
                <a:cxn ang="0">
                  <a:pos x="369" y="386"/>
                </a:cxn>
                <a:cxn ang="0">
                  <a:pos x="371" y="341"/>
                </a:cxn>
                <a:cxn ang="0">
                  <a:pos x="350" y="329"/>
                </a:cxn>
                <a:cxn ang="0">
                  <a:pos x="596" y="68"/>
                </a:cxn>
                <a:cxn ang="0">
                  <a:pos x="538" y="5"/>
                </a:cxn>
                <a:cxn ang="0">
                  <a:pos x="467" y="15"/>
                </a:cxn>
                <a:cxn ang="0">
                  <a:pos x="422" y="62"/>
                </a:cxn>
                <a:cxn ang="0">
                  <a:pos x="351" y="87"/>
                </a:cxn>
                <a:cxn ang="0">
                  <a:pos x="299" y="103"/>
                </a:cxn>
                <a:cxn ang="0">
                  <a:pos x="228" y="76"/>
                </a:cxn>
                <a:cxn ang="0">
                  <a:pos x="109" y="41"/>
                </a:cxn>
                <a:cxn ang="0">
                  <a:pos x="16" y="107"/>
                </a:cxn>
                <a:cxn ang="0">
                  <a:pos x="21" y="152"/>
                </a:cxn>
                <a:cxn ang="0">
                  <a:pos x="16" y="182"/>
                </a:cxn>
                <a:cxn ang="0">
                  <a:pos x="53" y="209"/>
                </a:cxn>
                <a:cxn ang="0">
                  <a:pos x="112" y="216"/>
                </a:cxn>
                <a:cxn ang="0">
                  <a:pos x="148" y="231"/>
                </a:cxn>
                <a:cxn ang="0">
                  <a:pos x="139" y="294"/>
                </a:cxn>
                <a:cxn ang="0">
                  <a:pos x="117" y="339"/>
                </a:cxn>
                <a:cxn ang="0">
                  <a:pos x="175" y="376"/>
                </a:cxn>
                <a:cxn ang="0">
                  <a:pos x="152" y="433"/>
                </a:cxn>
                <a:cxn ang="0">
                  <a:pos x="155" y="465"/>
                </a:cxn>
                <a:cxn ang="0">
                  <a:pos x="145" y="509"/>
                </a:cxn>
                <a:cxn ang="0">
                  <a:pos x="220" y="552"/>
                </a:cxn>
                <a:cxn ang="0">
                  <a:pos x="286" y="584"/>
                </a:cxn>
                <a:cxn ang="0">
                  <a:pos x="334" y="589"/>
                </a:cxn>
                <a:cxn ang="0">
                  <a:pos x="358" y="613"/>
                </a:cxn>
                <a:cxn ang="0">
                  <a:pos x="374" y="667"/>
                </a:cxn>
                <a:cxn ang="0">
                  <a:pos x="364" y="712"/>
                </a:cxn>
                <a:cxn ang="0">
                  <a:pos x="365" y="752"/>
                </a:cxn>
                <a:cxn ang="0">
                  <a:pos x="381" y="783"/>
                </a:cxn>
                <a:cxn ang="0">
                  <a:pos x="428" y="764"/>
                </a:cxn>
                <a:cxn ang="0">
                  <a:pos x="464" y="798"/>
                </a:cxn>
                <a:cxn ang="0">
                  <a:pos x="530" y="772"/>
                </a:cxn>
                <a:cxn ang="0">
                  <a:pos x="552" y="775"/>
                </a:cxn>
                <a:cxn ang="0">
                  <a:pos x="598" y="717"/>
                </a:cxn>
                <a:cxn ang="0">
                  <a:pos x="643" y="721"/>
                </a:cxn>
                <a:cxn ang="0">
                  <a:pos x="705" y="697"/>
                </a:cxn>
                <a:cxn ang="0">
                  <a:pos x="735" y="674"/>
                </a:cxn>
                <a:cxn ang="0">
                  <a:pos x="713" y="641"/>
                </a:cxn>
                <a:cxn ang="0">
                  <a:pos x="694" y="606"/>
                </a:cxn>
                <a:cxn ang="0">
                  <a:pos x="711" y="555"/>
                </a:cxn>
                <a:cxn ang="0">
                  <a:pos x="716" y="485"/>
                </a:cxn>
                <a:cxn ang="0">
                  <a:pos x="683" y="420"/>
                </a:cxn>
                <a:cxn ang="0">
                  <a:pos x="689" y="360"/>
                </a:cxn>
                <a:cxn ang="0">
                  <a:pos x="669" y="305"/>
                </a:cxn>
                <a:cxn ang="0">
                  <a:pos x="611" y="256"/>
                </a:cxn>
                <a:cxn ang="0">
                  <a:pos x="569" y="202"/>
                </a:cxn>
                <a:cxn ang="0">
                  <a:pos x="622" y="126"/>
                </a:cxn>
                <a:cxn ang="0">
                  <a:pos x="625" y="37"/>
                </a:cxn>
              </a:cxnLst>
              <a:rect l="0" t="0" r="r" b="b"/>
              <a:pathLst>
                <a:path w="736" h="798">
                  <a:moveTo>
                    <a:pt x="350" y="329"/>
                  </a:moveTo>
                  <a:lnTo>
                    <a:pt x="367" y="309"/>
                  </a:lnTo>
                  <a:lnTo>
                    <a:pt x="378" y="303"/>
                  </a:lnTo>
                  <a:lnTo>
                    <a:pt x="403" y="302"/>
                  </a:lnTo>
                  <a:lnTo>
                    <a:pt x="406" y="295"/>
                  </a:lnTo>
                  <a:lnTo>
                    <a:pt x="414" y="292"/>
                  </a:lnTo>
                  <a:lnTo>
                    <a:pt x="421" y="294"/>
                  </a:lnTo>
                  <a:lnTo>
                    <a:pt x="424" y="302"/>
                  </a:lnTo>
                  <a:lnTo>
                    <a:pt x="428" y="308"/>
                  </a:lnTo>
                  <a:lnTo>
                    <a:pt x="439" y="308"/>
                  </a:lnTo>
                  <a:lnTo>
                    <a:pt x="455" y="303"/>
                  </a:lnTo>
                  <a:lnTo>
                    <a:pt x="468" y="310"/>
                  </a:lnTo>
                  <a:lnTo>
                    <a:pt x="477" y="332"/>
                  </a:lnTo>
                  <a:lnTo>
                    <a:pt x="489" y="335"/>
                  </a:lnTo>
                  <a:lnTo>
                    <a:pt x="491" y="342"/>
                  </a:lnTo>
                  <a:lnTo>
                    <a:pt x="485" y="355"/>
                  </a:lnTo>
                  <a:lnTo>
                    <a:pt x="486" y="394"/>
                  </a:lnTo>
                  <a:lnTo>
                    <a:pt x="482" y="407"/>
                  </a:lnTo>
                  <a:lnTo>
                    <a:pt x="468" y="419"/>
                  </a:lnTo>
                  <a:lnTo>
                    <a:pt x="455" y="421"/>
                  </a:lnTo>
                  <a:lnTo>
                    <a:pt x="443" y="410"/>
                  </a:lnTo>
                  <a:lnTo>
                    <a:pt x="441" y="399"/>
                  </a:lnTo>
                  <a:lnTo>
                    <a:pt x="428" y="393"/>
                  </a:lnTo>
                  <a:lnTo>
                    <a:pt x="371" y="392"/>
                  </a:lnTo>
                  <a:lnTo>
                    <a:pt x="369" y="386"/>
                  </a:lnTo>
                  <a:lnTo>
                    <a:pt x="373" y="380"/>
                  </a:lnTo>
                  <a:lnTo>
                    <a:pt x="381" y="374"/>
                  </a:lnTo>
                  <a:lnTo>
                    <a:pt x="385" y="341"/>
                  </a:lnTo>
                  <a:lnTo>
                    <a:pt x="380" y="334"/>
                  </a:lnTo>
                  <a:lnTo>
                    <a:pt x="371" y="341"/>
                  </a:lnTo>
                  <a:lnTo>
                    <a:pt x="363" y="352"/>
                  </a:lnTo>
                  <a:lnTo>
                    <a:pt x="354" y="353"/>
                  </a:lnTo>
                  <a:lnTo>
                    <a:pt x="350" y="342"/>
                  </a:lnTo>
                  <a:lnTo>
                    <a:pt x="350" y="329"/>
                  </a:lnTo>
                  <a:lnTo>
                    <a:pt x="350" y="329"/>
                  </a:lnTo>
                  <a:close/>
                  <a:moveTo>
                    <a:pt x="625" y="37"/>
                  </a:moveTo>
                  <a:lnTo>
                    <a:pt x="625" y="37"/>
                  </a:lnTo>
                  <a:lnTo>
                    <a:pt x="616" y="45"/>
                  </a:lnTo>
                  <a:lnTo>
                    <a:pt x="609" y="56"/>
                  </a:lnTo>
                  <a:lnTo>
                    <a:pt x="596" y="68"/>
                  </a:lnTo>
                  <a:lnTo>
                    <a:pt x="582" y="72"/>
                  </a:lnTo>
                  <a:lnTo>
                    <a:pt x="566" y="51"/>
                  </a:lnTo>
                  <a:lnTo>
                    <a:pt x="557" y="32"/>
                  </a:lnTo>
                  <a:lnTo>
                    <a:pt x="549" y="18"/>
                  </a:lnTo>
                  <a:lnTo>
                    <a:pt x="538" y="5"/>
                  </a:lnTo>
                  <a:lnTo>
                    <a:pt x="530" y="0"/>
                  </a:lnTo>
                  <a:lnTo>
                    <a:pt x="522" y="2"/>
                  </a:lnTo>
                  <a:lnTo>
                    <a:pt x="498" y="20"/>
                  </a:lnTo>
                  <a:lnTo>
                    <a:pt x="485" y="18"/>
                  </a:lnTo>
                  <a:lnTo>
                    <a:pt x="467" y="15"/>
                  </a:lnTo>
                  <a:lnTo>
                    <a:pt x="451" y="17"/>
                  </a:lnTo>
                  <a:lnTo>
                    <a:pt x="437" y="25"/>
                  </a:lnTo>
                  <a:lnTo>
                    <a:pt x="432" y="36"/>
                  </a:lnTo>
                  <a:lnTo>
                    <a:pt x="431" y="52"/>
                  </a:lnTo>
                  <a:lnTo>
                    <a:pt x="422" y="62"/>
                  </a:lnTo>
                  <a:lnTo>
                    <a:pt x="409" y="67"/>
                  </a:lnTo>
                  <a:lnTo>
                    <a:pt x="399" y="80"/>
                  </a:lnTo>
                  <a:lnTo>
                    <a:pt x="388" y="85"/>
                  </a:lnTo>
                  <a:lnTo>
                    <a:pt x="362" y="85"/>
                  </a:lnTo>
                  <a:lnTo>
                    <a:pt x="351" y="87"/>
                  </a:lnTo>
                  <a:lnTo>
                    <a:pt x="337" y="95"/>
                  </a:lnTo>
                  <a:lnTo>
                    <a:pt x="331" y="105"/>
                  </a:lnTo>
                  <a:lnTo>
                    <a:pt x="326" y="117"/>
                  </a:lnTo>
                  <a:lnTo>
                    <a:pt x="313" y="112"/>
                  </a:lnTo>
                  <a:lnTo>
                    <a:pt x="299" y="103"/>
                  </a:lnTo>
                  <a:lnTo>
                    <a:pt x="283" y="99"/>
                  </a:lnTo>
                  <a:lnTo>
                    <a:pt x="267" y="97"/>
                  </a:lnTo>
                  <a:lnTo>
                    <a:pt x="254" y="92"/>
                  </a:lnTo>
                  <a:lnTo>
                    <a:pt x="239" y="81"/>
                  </a:lnTo>
                  <a:lnTo>
                    <a:pt x="228" y="76"/>
                  </a:lnTo>
                  <a:lnTo>
                    <a:pt x="168" y="76"/>
                  </a:lnTo>
                  <a:lnTo>
                    <a:pt x="149" y="66"/>
                  </a:lnTo>
                  <a:lnTo>
                    <a:pt x="136" y="55"/>
                  </a:lnTo>
                  <a:lnTo>
                    <a:pt x="124" y="46"/>
                  </a:lnTo>
                  <a:lnTo>
                    <a:pt x="109" y="41"/>
                  </a:lnTo>
                  <a:lnTo>
                    <a:pt x="96" y="47"/>
                  </a:lnTo>
                  <a:lnTo>
                    <a:pt x="80" y="70"/>
                  </a:lnTo>
                  <a:lnTo>
                    <a:pt x="65" y="74"/>
                  </a:lnTo>
                  <a:lnTo>
                    <a:pt x="28" y="93"/>
                  </a:lnTo>
                  <a:lnTo>
                    <a:pt x="16" y="107"/>
                  </a:lnTo>
                  <a:lnTo>
                    <a:pt x="10" y="121"/>
                  </a:lnTo>
                  <a:lnTo>
                    <a:pt x="8" y="135"/>
                  </a:lnTo>
                  <a:lnTo>
                    <a:pt x="12" y="143"/>
                  </a:lnTo>
                  <a:lnTo>
                    <a:pt x="21" y="148"/>
                  </a:lnTo>
                  <a:lnTo>
                    <a:pt x="21" y="152"/>
                  </a:lnTo>
                  <a:lnTo>
                    <a:pt x="9" y="160"/>
                  </a:lnTo>
                  <a:lnTo>
                    <a:pt x="0" y="168"/>
                  </a:lnTo>
                  <a:lnTo>
                    <a:pt x="6" y="174"/>
                  </a:lnTo>
                  <a:lnTo>
                    <a:pt x="10" y="180"/>
                  </a:lnTo>
                  <a:lnTo>
                    <a:pt x="16" y="182"/>
                  </a:lnTo>
                  <a:lnTo>
                    <a:pt x="29" y="183"/>
                  </a:lnTo>
                  <a:lnTo>
                    <a:pt x="37" y="191"/>
                  </a:lnTo>
                  <a:lnTo>
                    <a:pt x="42" y="202"/>
                  </a:lnTo>
                  <a:lnTo>
                    <a:pt x="43" y="208"/>
                  </a:lnTo>
                  <a:lnTo>
                    <a:pt x="53" y="209"/>
                  </a:lnTo>
                  <a:lnTo>
                    <a:pt x="59" y="212"/>
                  </a:lnTo>
                  <a:lnTo>
                    <a:pt x="74" y="215"/>
                  </a:lnTo>
                  <a:lnTo>
                    <a:pt x="88" y="216"/>
                  </a:lnTo>
                  <a:lnTo>
                    <a:pt x="104" y="216"/>
                  </a:lnTo>
                  <a:lnTo>
                    <a:pt x="112" y="216"/>
                  </a:lnTo>
                  <a:lnTo>
                    <a:pt x="120" y="224"/>
                  </a:lnTo>
                  <a:lnTo>
                    <a:pt x="125" y="228"/>
                  </a:lnTo>
                  <a:lnTo>
                    <a:pt x="135" y="227"/>
                  </a:lnTo>
                  <a:lnTo>
                    <a:pt x="144" y="224"/>
                  </a:lnTo>
                  <a:lnTo>
                    <a:pt x="148" y="231"/>
                  </a:lnTo>
                  <a:lnTo>
                    <a:pt x="148" y="240"/>
                  </a:lnTo>
                  <a:lnTo>
                    <a:pt x="146" y="260"/>
                  </a:lnTo>
                  <a:lnTo>
                    <a:pt x="144" y="267"/>
                  </a:lnTo>
                  <a:lnTo>
                    <a:pt x="143" y="282"/>
                  </a:lnTo>
                  <a:lnTo>
                    <a:pt x="139" y="294"/>
                  </a:lnTo>
                  <a:lnTo>
                    <a:pt x="139" y="309"/>
                  </a:lnTo>
                  <a:lnTo>
                    <a:pt x="132" y="317"/>
                  </a:lnTo>
                  <a:lnTo>
                    <a:pt x="120" y="325"/>
                  </a:lnTo>
                  <a:lnTo>
                    <a:pt x="117" y="333"/>
                  </a:lnTo>
                  <a:lnTo>
                    <a:pt x="117" y="339"/>
                  </a:lnTo>
                  <a:lnTo>
                    <a:pt x="126" y="348"/>
                  </a:lnTo>
                  <a:lnTo>
                    <a:pt x="146" y="356"/>
                  </a:lnTo>
                  <a:lnTo>
                    <a:pt x="166" y="359"/>
                  </a:lnTo>
                  <a:lnTo>
                    <a:pt x="174" y="368"/>
                  </a:lnTo>
                  <a:lnTo>
                    <a:pt x="175" y="376"/>
                  </a:lnTo>
                  <a:lnTo>
                    <a:pt x="173" y="384"/>
                  </a:lnTo>
                  <a:lnTo>
                    <a:pt x="166" y="397"/>
                  </a:lnTo>
                  <a:lnTo>
                    <a:pt x="161" y="408"/>
                  </a:lnTo>
                  <a:lnTo>
                    <a:pt x="155" y="421"/>
                  </a:lnTo>
                  <a:lnTo>
                    <a:pt x="152" y="433"/>
                  </a:lnTo>
                  <a:lnTo>
                    <a:pt x="155" y="444"/>
                  </a:lnTo>
                  <a:lnTo>
                    <a:pt x="162" y="450"/>
                  </a:lnTo>
                  <a:lnTo>
                    <a:pt x="162" y="455"/>
                  </a:lnTo>
                  <a:lnTo>
                    <a:pt x="160" y="463"/>
                  </a:lnTo>
                  <a:lnTo>
                    <a:pt x="155" y="465"/>
                  </a:lnTo>
                  <a:lnTo>
                    <a:pt x="144" y="467"/>
                  </a:lnTo>
                  <a:lnTo>
                    <a:pt x="138" y="471"/>
                  </a:lnTo>
                  <a:lnTo>
                    <a:pt x="135" y="484"/>
                  </a:lnTo>
                  <a:lnTo>
                    <a:pt x="139" y="496"/>
                  </a:lnTo>
                  <a:lnTo>
                    <a:pt x="145" y="509"/>
                  </a:lnTo>
                  <a:lnTo>
                    <a:pt x="157" y="525"/>
                  </a:lnTo>
                  <a:lnTo>
                    <a:pt x="169" y="537"/>
                  </a:lnTo>
                  <a:lnTo>
                    <a:pt x="186" y="543"/>
                  </a:lnTo>
                  <a:lnTo>
                    <a:pt x="201" y="547"/>
                  </a:lnTo>
                  <a:lnTo>
                    <a:pt x="220" y="552"/>
                  </a:lnTo>
                  <a:lnTo>
                    <a:pt x="230" y="557"/>
                  </a:lnTo>
                  <a:lnTo>
                    <a:pt x="244" y="563"/>
                  </a:lnTo>
                  <a:lnTo>
                    <a:pt x="259" y="569"/>
                  </a:lnTo>
                  <a:lnTo>
                    <a:pt x="276" y="574"/>
                  </a:lnTo>
                  <a:lnTo>
                    <a:pt x="286" y="584"/>
                  </a:lnTo>
                  <a:lnTo>
                    <a:pt x="293" y="592"/>
                  </a:lnTo>
                  <a:lnTo>
                    <a:pt x="299" y="600"/>
                  </a:lnTo>
                  <a:lnTo>
                    <a:pt x="316" y="601"/>
                  </a:lnTo>
                  <a:lnTo>
                    <a:pt x="328" y="599"/>
                  </a:lnTo>
                  <a:lnTo>
                    <a:pt x="334" y="589"/>
                  </a:lnTo>
                  <a:lnTo>
                    <a:pt x="344" y="586"/>
                  </a:lnTo>
                  <a:lnTo>
                    <a:pt x="351" y="585"/>
                  </a:lnTo>
                  <a:lnTo>
                    <a:pt x="357" y="590"/>
                  </a:lnTo>
                  <a:lnTo>
                    <a:pt x="358" y="598"/>
                  </a:lnTo>
                  <a:lnTo>
                    <a:pt x="358" y="613"/>
                  </a:lnTo>
                  <a:lnTo>
                    <a:pt x="358" y="628"/>
                  </a:lnTo>
                  <a:lnTo>
                    <a:pt x="361" y="635"/>
                  </a:lnTo>
                  <a:lnTo>
                    <a:pt x="369" y="647"/>
                  </a:lnTo>
                  <a:lnTo>
                    <a:pt x="373" y="660"/>
                  </a:lnTo>
                  <a:lnTo>
                    <a:pt x="374" y="667"/>
                  </a:lnTo>
                  <a:lnTo>
                    <a:pt x="372" y="679"/>
                  </a:lnTo>
                  <a:lnTo>
                    <a:pt x="369" y="687"/>
                  </a:lnTo>
                  <a:lnTo>
                    <a:pt x="370" y="697"/>
                  </a:lnTo>
                  <a:lnTo>
                    <a:pt x="368" y="705"/>
                  </a:lnTo>
                  <a:lnTo>
                    <a:pt x="364" y="712"/>
                  </a:lnTo>
                  <a:lnTo>
                    <a:pt x="364" y="721"/>
                  </a:lnTo>
                  <a:lnTo>
                    <a:pt x="366" y="726"/>
                  </a:lnTo>
                  <a:lnTo>
                    <a:pt x="371" y="733"/>
                  </a:lnTo>
                  <a:lnTo>
                    <a:pt x="370" y="743"/>
                  </a:lnTo>
                  <a:lnTo>
                    <a:pt x="365" y="752"/>
                  </a:lnTo>
                  <a:lnTo>
                    <a:pt x="359" y="760"/>
                  </a:lnTo>
                  <a:lnTo>
                    <a:pt x="364" y="763"/>
                  </a:lnTo>
                  <a:lnTo>
                    <a:pt x="368" y="768"/>
                  </a:lnTo>
                  <a:lnTo>
                    <a:pt x="373" y="778"/>
                  </a:lnTo>
                  <a:lnTo>
                    <a:pt x="381" y="783"/>
                  </a:lnTo>
                  <a:lnTo>
                    <a:pt x="395" y="781"/>
                  </a:lnTo>
                  <a:lnTo>
                    <a:pt x="406" y="778"/>
                  </a:lnTo>
                  <a:lnTo>
                    <a:pt x="415" y="771"/>
                  </a:lnTo>
                  <a:lnTo>
                    <a:pt x="421" y="764"/>
                  </a:lnTo>
                  <a:lnTo>
                    <a:pt x="428" y="764"/>
                  </a:lnTo>
                  <a:lnTo>
                    <a:pt x="435" y="764"/>
                  </a:lnTo>
                  <a:lnTo>
                    <a:pt x="441" y="770"/>
                  </a:lnTo>
                  <a:lnTo>
                    <a:pt x="445" y="782"/>
                  </a:lnTo>
                  <a:lnTo>
                    <a:pt x="452" y="793"/>
                  </a:lnTo>
                  <a:lnTo>
                    <a:pt x="464" y="798"/>
                  </a:lnTo>
                  <a:lnTo>
                    <a:pt x="479" y="798"/>
                  </a:lnTo>
                  <a:lnTo>
                    <a:pt x="495" y="794"/>
                  </a:lnTo>
                  <a:lnTo>
                    <a:pt x="508" y="790"/>
                  </a:lnTo>
                  <a:lnTo>
                    <a:pt x="520" y="781"/>
                  </a:lnTo>
                  <a:lnTo>
                    <a:pt x="530" y="772"/>
                  </a:lnTo>
                  <a:lnTo>
                    <a:pt x="536" y="764"/>
                  </a:lnTo>
                  <a:lnTo>
                    <a:pt x="544" y="764"/>
                  </a:lnTo>
                  <a:lnTo>
                    <a:pt x="547" y="772"/>
                  </a:lnTo>
                  <a:lnTo>
                    <a:pt x="548" y="789"/>
                  </a:lnTo>
                  <a:lnTo>
                    <a:pt x="552" y="775"/>
                  </a:lnTo>
                  <a:lnTo>
                    <a:pt x="558" y="756"/>
                  </a:lnTo>
                  <a:lnTo>
                    <a:pt x="563" y="742"/>
                  </a:lnTo>
                  <a:lnTo>
                    <a:pt x="568" y="730"/>
                  </a:lnTo>
                  <a:lnTo>
                    <a:pt x="585" y="721"/>
                  </a:lnTo>
                  <a:lnTo>
                    <a:pt x="598" y="717"/>
                  </a:lnTo>
                  <a:lnTo>
                    <a:pt x="606" y="718"/>
                  </a:lnTo>
                  <a:lnTo>
                    <a:pt x="615" y="722"/>
                  </a:lnTo>
                  <a:lnTo>
                    <a:pt x="623" y="727"/>
                  </a:lnTo>
                  <a:lnTo>
                    <a:pt x="635" y="727"/>
                  </a:lnTo>
                  <a:lnTo>
                    <a:pt x="643" y="721"/>
                  </a:lnTo>
                  <a:lnTo>
                    <a:pt x="661" y="709"/>
                  </a:lnTo>
                  <a:lnTo>
                    <a:pt x="678" y="697"/>
                  </a:lnTo>
                  <a:lnTo>
                    <a:pt x="686" y="695"/>
                  </a:lnTo>
                  <a:lnTo>
                    <a:pt x="695" y="696"/>
                  </a:lnTo>
                  <a:lnTo>
                    <a:pt x="705" y="697"/>
                  </a:lnTo>
                  <a:lnTo>
                    <a:pt x="716" y="700"/>
                  </a:lnTo>
                  <a:lnTo>
                    <a:pt x="725" y="701"/>
                  </a:lnTo>
                  <a:lnTo>
                    <a:pt x="736" y="697"/>
                  </a:lnTo>
                  <a:lnTo>
                    <a:pt x="736" y="687"/>
                  </a:lnTo>
                  <a:lnTo>
                    <a:pt x="735" y="674"/>
                  </a:lnTo>
                  <a:lnTo>
                    <a:pt x="734" y="666"/>
                  </a:lnTo>
                  <a:lnTo>
                    <a:pt x="728" y="660"/>
                  </a:lnTo>
                  <a:lnTo>
                    <a:pt x="721" y="653"/>
                  </a:lnTo>
                  <a:lnTo>
                    <a:pt x="715" y="649"/>
                  </a:lnTo>
                  <a:lnTo>
                    <a:pt x="713" y="641"/>
                  </a:lnTo>
                  <a:lnTo>
                    <a:pt x="713" y="635"/>
                  </a:lnTo>
                  <a:lnTo>
                    <a:pt x="710" y="630"/>
                  </a:lnTo>
                  <a:lnTo>
                    <a:pt x="701" y="626"/>
                  </a:lnTo>
                  <a:lnTo>
                    <a:pt x="695" y="618"/>
                  </a:lnTo>
                  <a:lnTo>
                    <a:pt x="694" y="606"/>
                  </a:lnTo>
                  <a:lnTo>
                    <a:pt x="694" y="595"/>
                  </a:lnTo>
                  <a:lnTo>
                    <a:pt x="702" y="584"/>
                  </a:lnTo>
                  <a:lnTo>
                    <a:pt x="709" y="574"/>
                  </a:lnTo>
                  <a:lnTo>
                    <a:pt x="711" y="568"/>
                  </a:lnTo>
                  <a:lnTo>
                    <a:pt x="711" y="555"/>
                  </a:lnTo>
                  <a:lnTo>
                    <a:pt x="714" y="543"/>
                  </a:lnTo>
                  <a:lnTo>
                    <a:pt x="718" y="533"/>
                  </a:lnTo>
                  <a:lnTo>
                    <a:pt x="720" y="521"/>
                  </a:lnTo>
                  <a:lnTo>
                    <a:pt x="716" y="504"/>
                  </a:lnTo>
                  <a:lnTo>
                    <a:pt x="716" y="485"/>
                  </a:lnTo>
                  <a:lnTo>
                    <a:pt x="715" y="465"/>
                  </a:lnTo>
                  <a:lnTo>
                    <a:pt x="714" y="444"/>
                  </a:lnTo>
                  <a:lnTo>
                    <a:pt x="705" y="440"/>
                  </a:lnTo>
                  <a:lnTo>
                    <a:pt x="693" y="434"/>
                  </a:lnTo>
                  <a:lnTo>
                    <a:pt x="683" y="420"/>
                  </a:lnTo>
                  <a:lnTo>
                    <a:pt x="680" y="410"/>
                  </a:lnTo>
                  <a:lnTo>
                    <a:pt x="678" y="400"/>
                  </a:lnTo>
                  <a:lnTo>
                    <a:pt x="678" y="386"/>
                  </a:lnTo>
                  <a:lnTo>
                    <a:pt x="679" y="372"/>
                  </a:lnTo>
                  <a:lnTo>
                    <a:pt x="689" y="360"/>
                  </a:lnTo>
                  <a:lnTo>
                    <a:pt x="692" y="354"/>
                  </a:lnTo>
                  <a:lnTo>
                    <a:pt x="692" y="340"/>
                  </a:lnTo>
                  <a:lnTo>
                    <a:pt x="690" y="327"/>
                  </a:lnTo>
                  <a:lnTo>
                    <a:pt x="683" y="321"/>
                  </a:lnTo>
                  <a:lnTo>
                    <a:pt x="669" y="305"/>
                  </a:lnTo>
                  <a:lnTo>
                    <a:pt x="651" y="289"/>
                  </a:lnTo>
                  <a:lnTo>
                    <a:pt x="642" y="275"/>
                  </a:lnTo>
                  <a:lnTo>
                    <a:pt x="632" y="263"/>
                  </a:lnTo>
                  <a:lnTo>
                    <a:pt x="619" y="259"/>
                  </a:lnTo>
                  <a:lnTo>
                    <a:pt x="611" y="256"/>
                  </a:lnTo>
                  <a:lnTo>
                    <a:pt x="592" y="238"/>
                  </a:lnTo>
                  <a:lnTo>
                    <a:pt x="581" y="234"/>
                  </a:lnTo>
                  <a:lnTo>
                    <a:pt x="565" y="226"/>
                  </a:lnTo>
                  <a:lnTo>
                    <a:pt x="565" y="216"/>
                  </a:lnTo>
                  <a:lnTo>
                    <a:pt x="569" y="202"/>
                  </a:lnTo>
                  <a:lnTo>
                    <a:pt x="575" y="191"/>
                  </a:lnTo>
                  <a:lnTo>
                    <a:pt x="588" y="183"/>
                  </a:lnTo>
                  <a:lnTo>
                    <a:pt x="598" y="171"/>
                  </a:lnTo>
                  <a:lnTo>
                    <a:pt x="601" y="152"/>
                  </a:lnTo>
                  <a:lnTo>
                    <a:pt x="622" y="126"/>
                  </a:lnTo>
                  <a:lnTo>
                    <a:pt x="637" y="99"/>
                  </a:lnTo>
                  <a:lnTo>
                    <a:pt x="644" y="80"/>
                  </a:lnTo>
                  <a:lnTo>
                    <a:pt x="640" y="68"/>
                  </a:lnTo>
                  <a:lnTo>
                    <a:pt x="634" y="52"/>
                  </a:lnTo>
                  <a:lnTo>
                    <a:pt x="625" y="37"/>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2" name="Freeform 36">
              <a:extLst>
                <a:ext uri="{FF2B5EF4-FFF2-40B4-BE49-F238E27FC236}">
                  <a16:creationId xmlns:a16="http://schemas.microsoft.com/office/drawing/2014/main" id="{6F4C5405-0673-4219-BA42-071E661E4635}"/>
                </a:ext>
              </a:extLst>
            </p:cNvPr>
            <p:cNvSpPr>
              <a:spLocks/>
            </p:cNvSpPr>
            <p:nvPr/>
          </p:nvSpPr>
          <p:spPr bwMode="auto">
            <a:xfrm>
              <a:off x="5458490" y="3371921"/>
              <a:ext cx="205552" cy="186735"/>
            </a:xfrm>
            <a:custGeom>
              <a:avLst/>
              <a:gdLst/>
              <a:ahLst/>
              <a:cxnLst>
                <a:cxn ang="0">
                  <a:pos x="1" y="37"/>
                </a:cxn>
                <a:cxn ang="0">
                  <a:pos x="18" y="17"/>
                </a:cxn>
                <a:cxn ang="0">
                  <a:pos x="29" y="11"/>
                </a:cxn>
                <a:cxn ang="0">
                  <a:pos x="54" y="10"/>
                </a:cxn>
                <a:cxn ang="0">
                  <a:pos x="57" y="3"/>
                </a:cxn>
                <a:cxn ang="0">
                  <a:pos x="65" y="0"/>
                </a:cxn>
                <a:cxn ang="0">
                  <a:pos x="72" y="2"/>
                </a:cxn>
                <a:cxn ang="0">
                  <a:pos x="75" y="10"/>
                </a:cxn>
                <a:cxn ang="0">
                  <a:pos x="79" y="16"/>
                </a:cxn>
                <a:cxn ang="0">
                  <a:pos x="90" y="16"/>
                </a:cxn>
                <a:cxn ang="0">
                  <a:pos x="98" y="14"/>
                </a:cxn>
                <a:cxn ang="0">
                  <a:pos x="106" y="11"/>
                </a:cxn>
                <a:cxn ang="0">
                  <a:pos x="119" y="18"/>
                </a:cxn>
                <a:cxn ang="0">
                  <a:pos x="125" y="32"/>
                </a:cxn>
                <a:cxn ang="0">
                  <a:pos x="128" y="40"/>
                </a:cxn>
                <a:cxn ang="0">
                  <a:pos x="140" y="43"/>
                </a:cxn>
                <a:cxn ang="0">
                  <a:pos x="142" y="50"/>
                </a:cxn>
                <a:cxn ang="0">
                  <a:pos x="140" y="56"/>
                </a:cxn>
                <a:cxn ang="0">
                  <a:pos x="136" y="63"/>
                </a:cxn>
                <a:cxn ang="0">
                  <a:pos x="137" y="88"/>
                </a:cxn>
                <a:cxn ang="0">
                  <a:pos x="137" y="102"/>
                </a:cxn>
                <a:cxn ang="0">
                  <a:pos x="133" y="115"/>
                </a:cxn>
                <a:cxn ang="0">
                  <a:pos x="119" y="127"/>
                </a:cxn>
                <a:cxn ang="0">
                  <a:pos x="106" y="129"/>
                </a:cxn>
                <a:cxn ang="0">
                  <a:pos x="94" y="118"/>
                </a:cxn>
                <a:cxn ang="0">
                  <a:pos x="92" y="107"/>
                </a:cxn>
                <a:cxn ang="0">
                  <a:pos x="79" y="101"/>
                </a:cxn>
                <a:cxn ang="0">
                  <a:pos x="57" y="100"/>
                </a:cxn>
                <a:cxn ang="0">
                  <a:pos x="35" y="100"/>
                </a:cxn>
                <a:cxn ang="0">
                  <a:pos x="22" y="100"/>
                </a:cxn>
                <a:cxn ang="0">
                  <a:pos x="20" y="94"/>
                </a:cxn>
                <a:cxn ang="0">
                  <a:pos x="24" y="88"/>
                </a:cxn>
                <a:cxn ang="0">
                  <a:pos x="32" y="82"/>
                </a:cxn>
                <a:cxn ang="0">
                  <a:pos x="34" y="68"/>
                </a:cxn>
                <a:cxn ang="0">
                  <a:pos x="36" y="49"/>
                </a:cxn>
                <a:cxn ang="0">
                  <a:pos x="31" y="42"/>
                </a:cxn>
                <a:cxn ang="0">
                  <a:pos x="22" y="49"/>
                </a:cxn>
                <a:cxn ang="0">
                  <a:pos x="14" y="60"/>
                </a:cxn>
                <a:cxn ang="0">
                  <a:pos x="5" y="61"/>
                </a:cxn>
                <a:cxn ang="0">
                  <a:pos x="1" y="50"/>
                </a:cxn>
                <a:cxn ang="0">
                  <a:pos x="1" y="49"/>
                </a:cxn>
                <a:cxn ang="0">
                  <a:pos x="0" y="49"/>
                </a:cxn>
                <a:cxn ang="0">
                  <a:pos x="1" y="37"/>
                </a:cxn>
              </a:cxnLst>
              <a:rect l="0" t="0" r="r" b="b"/>
              <a:pathLst>
                <a:path w="142" h="129">
                  <a:moveTo>
                    <a:pt x="1" y="37"/>
                  </a:moveTo>
                  <a:lnTo>
                    <a:pt x="18" y="17"/>
                  </a:lnTo>
                  <a:lnTo>
                    <a:pt x="29" y="11"/>
                  </a:lnTo>
                  <a:lnTo>
                    <a:pt x="54" y="10"/>
                  </a:lnTo>
                  <a:lnTo>
                    <a:pt x="57" y="3"/>
                  </a:lnTo>
                  <a:lnTo>
                    <a:pt x="65" y="0"/>
                  </a:lnTo>
                  <a:lnTo>
                    <a:pt x="72" y="2"/>
                  </a:lnTo>
                  <a:lnTo>
                    <a:pt x="75" y="10"/>
                  </a:lnTo>
                  <a:lnTo>
                    <a:pt x="79" y="16"/>
                  </a:lnTo>
                  <a:lnTo>
                    <a:pt x="90" y="16"/>
                  </a:lnTo>
                  <a:lnTo>
                    <a:pt x="98" y="14"/>
                  </a:lnTo>
                  <a:lnTo>
                    <a:pt x="106" y="11"/>
                  </a:lnTo>
                  <a:lnTo>
                    <a:pt x="119" y="18"/>
                  </a:lnTo>
                  <a:lnTo>
                    <a:pt x="125" y="32"/>
                  </a:lnTo>
                  <a:lnTo>
                    <a:pt x="128" y="40"/>
                  </a:lnTo>
                  <a:lnTo>
                    <a:pt x="140" y="43"/>
                  </a:lnTo>
                  <a:lnTo>
                    <a:pt x="142" y="50"/>
                  </a:lnTo>
                  <a:lnTo>
                    <a:pt x="140" y="56"/>
                  </a:lnTo>
                  <a:lnTo>
                    <a:pt x="136" y="63"/>
                  </a:lnTo>
                  <a:lnTo>
                    <a:pt x="137" y="88"/>
                  </a:lnTo>
                  <a:lnTo>
                    <a:pt x="137" y="102"/>
                  </a:lnTo>
                  <a:lnTo>
                    <a:pt x="133" y="115"/>
                  </a:lnTo>
                  <a:lnTo>
                    <a:pt x="119" y="127"/>
                  </a:lnTo>
                  <a:lnTo>
                    <a:pt x="106" y="129"/>
                  </a:lnTo>
                  <a:lnTo>
                    <a:pt x="94" y="118"/>
                  </a:lnTo>
                  <a:lnTo>
                    <a:pt x="92" y="107"/>
                  </a:lnTo>
                  <a:lnTo>
                    <a:pt x="79" y="101"/>
                  </a:lnTo>
                  <a:lnTo>
                    <a:pt x="57" y="100"/>
                  </a:lnTo>
                  <a:lnTo>
                    <a:pt x="35" y="100"/>
                  </a:lnTo>
                  <a:lnTo>
                    <a:pt x="22" y="100"/>
                  </a:lnTo>
                  <a:lnTo>
                    <a:pt x="20" y="94"/>
                  </a:lnTo>
                  <a:lnTo>
                    <a:pt x="24" y="88"/>
                  </a:lnTo>
                  <a:lnTo>
                    <a:pt x="32" y="82"/>
                  </a:lnTo>
                  <a:lnTo>
                    <a:pt x="34" y="68"/>
                  </a:lnTo>
                  <a:lnTo>
                    <a:pt x="36" y="49"/>
                  </a:lnTo>
                  <a:lnTo>
                    <a:pt x="31" y="42"/>
                  </a:lnTo>
                  <a:lnTo>
                    <a:pt x="22" y="49"/>
                  </a:lnTo>
                  <a:lnTo>
                    <a:pt x="14" y="60"/>
                  </a:lnTo>
                  <a:lnTo>
                    <a:pt x="5" y="61"/>
                  </a:lnTo>
                  <a:lnTo>
                    <a:pt x="1" y="50"/>
                  </a:lnTo>
                  <a:lnTo>
                    <a:pt x="1" y="49"/>
                  </a:lnTo>
                  <a:lnTo>
                    <a:pt x="0" y="49"/>
                  </a:lnTo>
                  <a:lnTo>
                    <a:pt x="1" y="37"/>
                  </a:lnTo>
                  <a:close/>
                </a:path>
              </a:pathLst>
            </a:custGeom>
            <a:grpFill/>
            <a:ln w="6350" cap="rnd" cmpd="sng">
              <a:solidFill>
                <a:schemeClr val="bg1"/>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3" name="TextBox 2">
            <a:extLst>
              <a:ext uri="{FF2B5EF4-FFF2-40B4-BE49-F238E27FC236}">
                <a16:creationId xmlns:a16="http://schemas.microsoft.com/office/drawing/2014/main" id="{BF0E1D15-68B7-4F42-A3B6-9F8BD059F8DD}"/>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sp>
        <p:nvSpPr>
          <p:cNvPr id="40" name="Rectangle 39">
            <a:hlinkClick r:id="rId3" action="ppaction://hlinksldjump"/>
            <a:extLst>
              <a:ext uri="{FF2B5EF4-FFF2-40B4-BE49-F238E27FC236}">
                <a16:creationId xmlns:a16="http://schemas.microsoft.com/office/drawing/2014/main" id="{D33E0754-3CF2-47AB-B5DA-CD6E1D6452B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647388303"/>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France</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30080E07-7C7F-4C4E-824C-71DF60964B22}"/>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grpSp>
        <p:nvGrpSpPr>
          <p:cNvPr id="38" name="Gruppieren 140">
            <a:extLst>
              <a:ext uri="{FF2B5EF4-FFF2-40B4-BE49-F238E27FC236}">
                <a16:creationId xmlns:a16="http://schemas.microsoft.com/office/drawing/2014/main" id="{671E2696-4626-476E-A2DD-561676D4B143}"/>
              </a:ext>
            </a:extLst>
          </p:cNvPr>
          <p:cNvGrpSpPr/>
          <p:nvPr/>
        </p:nvGrpSpPr>
        <p:grpSpPr bwMode="auto">
          <a:xfrm>
            <a:off x="3814960" y="1108215"/>
            <a:ext cx="5279095" cy="4904238"/>
            <a:chOff x="2306638" y="-17900650"/>
            <a:chExt cx="38542913" cy="35806063"/>
          </a:xfrm>
          <a:solidFill>
            <a:srgbClr val="96968C">
              <a:lumMod val="40000"/>
              <a:lumOff val="60000"/>
            </a:srgbClr>
          </a:solidFill>
        </p:grpSpPr>
        <p:sp>
          <p:nvSpPr>
            <p:cNvPr id="39" name="Freeform 7">
              <a:extLst>
                <a:ext uri="{FF2B5EF4-FFF2-40B4-BE49-F238E27FC236}">
                  <a16:creationId xmlns:a16="http://schemas.microsoft.com/office/drawing/2014/main" id="{55AFF21C-8AEB-49D4-8A3E-FB89CEF2A5B5}"/>
                </a:ext>
              </a:extLst>
            </p:cNvPr>
            <p:cNvSpPr>
              <a:spLocks/>
            </p:cNvSpPr>
            <p:nvPr/>
          </p:nvSpPr>
          <p:spPr bwMode="auto">
            <a:xfrm>
              <a:off x="15106651" y="-9750425"/>
              <a:ext cx="7743825" cy="9740900"/>
            </a:xfrm>
            <a:custGeom>
              <a:avLst/>
              <a:gdLst>
                <a:gd name="T0" fmla="*/ 119 w 4878"/>
                <a:gd name="T1" fmla="*/ 3766 h 6136"/>
                <a:gd name="T2" fmla="*/ 256 w 4878"/>
                <a:gd name="T3" fmla="*/ 3250 h 6136"/>
                <a:gd name="T4" fmla="*/ 540 w 4878"/>
                <a:gd name="T5" fmla="*/ 3107 h 6136"/>
                <a:gd name="T6" fmla="*/ 890 w 4878"/>
                <a:gd name="T7" fmla="*/ 2976 h 6136"/>
                <a:gd name="T8" fmla="*/ 1121 w 4878"/>
                <a:gd name="T9" fmla="*/ 2626 h 6136"/>
                <a:gd name="T10" fmla="*/ 1271 w 4878"/>
                <a:gd name="T11" fmla="*/ 2301 h 6136"/>
                <a:gd name="T12" fmla="*/ 1290 w 4878"/>
                <a:gd name="T13" fmla="*/ 2017 h 6136"/>
                <a:gd name="T14" fmla="*/ 1340 w 4878"/>
                <a:gd name="T15" fmla="*/ 1836 h 6136"/>
                <a:gd name="T16" fmla="*/ 1262 w 4878"/>
                <a:gd name="T17" fmla="*/ 1636 h 6136"/>
                <a:gd name="T18" fmla="*/ 1308 w 4878"/>
                <a:gd name="T19" fmla="*/ 1405 h 6136"/>
                <a:gd name="T20" fmla="*/ 1468 w 4878"/>
                <a:gd name="T21" fmla="*/ 1024 h 6136"/>
                <a:gd name="T22" fmla="*/ 1274 w 4878"/>
                <a:gd name="T23" fmla="*/ 746 h 6136"/>
                <a:gd name="T24" fmla="*/ 1558 w 4878"/>
                <a:gd name="T25" fmla="*/ 496 h 6136"/>
                <a:gd name="T26" fmla="*/ 1924 w 4878"/>
                <a:gd name="T27" fmla="*/ 450 h 6136"/>
                <a:gd name="T28" fmla="*/ 2233 w 4878"/>
                <a:gd name="T29" fmla="*/ 190 h 6136"/>
                <a:gd name="T30" fmla="*/ 2373 w 4878"/>
                <a:gd name="T31" fmla="*/ 75 h 6136"/>
                <a:gd name="T32" fmla="*/ 2492 w 4878"/>
                <a:gd name="T33" fmla="*/ 468 h 6136"/>
                <a:gd name="T34" fmla="*/ 2564 w 4878"/>
                <a:gd name="T35" fmla="*/ 731 h 6136"/>
                <a:gd name="T36" fmla="*/ 2764 w 4878"/>
                <a:gd name="T37" fmla="*/ 1005 h 6136"/>
                <a:gd name="T38" fmla="*/ 3020 w 4878"/>
                <a:gd name="T39" fmla="*/ 1224 h 6136"/>
                <a:gd name="T40" fmla="*/ 3082 w 4878"/>
                <a:gd name="T41" fmla="*/ 1564 h 6136"/>
                <a:gd name="T42" fmla="*/ 3251 w 4878"/>
                <a:gd name="T43" fmla="*/ 1539 h 6136"/>
                <a:gd name="T44" fmla="*/ 3426 w 4878"/>
                <a:gd name="T45" fmla="*/ 1452 h 6136"/>
                <a:gd name="T46" fmla="*/ 3619 w 4878"/>
                <a:gd name="T47" fmla="*/ 1458 h 6136"/>
                <a:gd name="T48" fmla="*/ 3807 w 4878"/>
                <a:gd name="T49" fmla="*/ 1667 h 6136"/>
                <a:gd name="T50" fmla="*/ 3872 w 4878"/>
                <a:gd name="T51" fmla="*/ 1961 h 6136"/>
                <a:gd name="T52" fmla="*/ 4278 w 4878"/>
                <a:gd name="T53" fmla="*/ 1927 h 6136"/>
                <a:gd name="T54" fmla="*/ 4475 w 4878"/>
                <a:gd name="T55" fmla="*/ 1914 h 6136"/>
                <a:gd name="T56" fmla="*/ 4619 w 4878"/>
                <a:gd name="T57" fmla="*/ 1892 h 6136"/>
                <a:gd name="T58" fmla="*/ 4768 w 4878"/>
                <a:gd name="T59" fmla="*/ 2080 h 6136"/>
                <a:gd name="T60" fmla="*/ 4800 w 4878"/>
                <a:gd name="T61" fmla="*/ 2348 h 6136"/>
                <a:gd name="T62" fmla="*/ 4709 w 4878"/>
                <a:gd name="T63" fmla="*/ 2557 h 6136"/>
                <a:gd name="T64" fmla="*/ 4609 w 4878"/>
                <a:gd name="T65" fmla="*/ 2782 h 6136"/>
                <a:gd name="T66" fmla="*/ 4512 w 4878"/>
                <a:gd name="T67" fmla="*/ 2954 h 6136"/>
                <a:gd name="T68" fmla="*/ 4609 w 4878"/>
                <a:gd name="T69" fmla="*/ 3260 h 6136"/>
                <a:gd name="T70" fmla="*/ 4559 w 4878"/>
                <a:gd name="T71" fmla="*/ 3500 h 6136"/>
                <a:gd name="T72" fmla="*/ 4547 w 4878"/>
                <a:gd name="T73" fmla="*/ 3884 h 6136"/>
                <a:gd name="T74" fmla="*/ 4747 w 4878"/>
                <a:gd name="T75" fmla="*/ 4225 h 6136"/>
                <a:gd name="T76" fmla="*/ 4803 w 4878"/>
                <a:gd name="T77" fmla="*/ 4727 h 6136"/>
                <a:gd name="T78" fmla="*/ 4753 w 4878"/>
                <a:gd name="T79" fmla="*/ 5096 h 6136"/>
                <a:gd name="T80" fmla="*/ 4500 w 4878"/>
                <a:gd name="T81" fmla="*/ 5186 h 6136"/>
                <a:gd name="T82" fmla="*/ 4356 w 4878"/>
                <a:gd name="T83" fmla="*/ 5283 h 6136"/>
                <a:gd name="T84" fmla="*/ 4116 w 4878"/>
                <a:gd name="T85" fmla="*/ 5333 h 6136"/>
                <a:gd name="T86" fmla="*/ 4041 w 4878"/>
                <a:gd name="T87" fmla="*/ 5502 h 6136"/>
                <a:gd name="T88" fmla="*/ 4044 w 4878"/>
                <a:gd name="T89" fmla="*/ 5661 h 6136"/>
                <a:gd name="T90" fmla="*/ 3700 w 4878"/>
                <a:gd name="T91" fmla="*/ 5755 h 6136"/>
                <a:gd name="T92" fmla="*/ 3429 w 4878"/>
                <a:gd name="T93" fmla="*/ 5955 h 6136"/>
                <a:gd name="T94" fmla="*/ 3029 w 4878"/>
                <a:gd name="T95" fmla="*/ 5945 h 6136"/>
                <a:gd name="T96" fmla="*/ 2679 w 4878"/>
                <a:gd name="T97" fmla="*/ 5936 h 6136"/>
                <a:gd name="T98" fmla="*/ 2542 w 4878"/>
                <a:gd name="T99" fmla="*/ 6030 h 6136"/>
                <a:gd name="T100" fmla="*/ 2358 w 4878"/>
                <a:gd name="T101" fmla="*/ 5961 h 6136"/>
                <a:gd name="T102" fmla="*/ 2102 w 4878"/>
                <a:gd name="T103" fmla="*/ 6133 h 6136"/>
                <a:gd name="T104" fmla="*/ 1936 w 4878"/>
                <a:gd name="T105" fmla="*/ 6092 h 6136"/>
                <a:gd name="T106" fmla="*/ 1796 w 4878"/>
                <a:gd name="T107" fmla="*/ 5939 h 6136"/>
                <a:gd name="T108" fmla="*/ 1677 w 4878"/>
                <a:gd name="T109" fmla="*/ 5677 h 6136"/>
                <a:gd name="T110" fmla="*/ 1312 w 4878"/>
                <a:gd name="T111" fmla="*/ 5489 h 6136"/>
                <a:gd name="T112" fmla="*/ 1152 w 4878"/>
                <a:gd name="T113" fmla="*/ 5015 h 6136"/>
                <a:gd name="T114" fmla="*/ 849 w 4878"/>
                <a:gd name="T115" fmla="*/ 4584 h 6136"/>
                <a:gd name="T116" fmla="*/ 643 w 4878"/>
                <a:gd name="T117" fmla="*/ 4690 h 6136"/>
                <a:gd name="T118" fmla="*/ 381 w 4878"/>
                <a:gd name="T119" fmla="*/ 4702 h 6136"/>
                <a:gd name="T120" fmla="*/ 209 w 4878"/>
                <a:gd name="T121" fmla="*/ 4403 h 6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78" h="6136">
                  <a:moveTo>
                    <a:pt x="13" y="4181"/>
                  </a:moveTo>
                  <a:lnTo>
                    <a:pt x="6" y="4175"/>
                  </a:lnTo>
                  <a:lnTo>
                    <a:pt x="0" y="4147"/>
                  </a:lnTo>
                  <a:lnTo>
                    <a:pt x="0" y="4112"/>
                  </a:lnTo>
                  <a:lnTo>
                    <a:pt x="0" y="4072"/>
                  </a:lnTo>
                  <a:lnTo>
                    <a:pt x="3" y="4037"/>
                  </a:lnTo>
                  <a:lnTo>
                    <a:pt x="6" y="4006"/>
                  </a:lnTo>
                  <a:lnTo>
                    <a:pt x="13" y="3981"/>
                  </a:lnTo>
                  <a:lnTo>
                    <a:pt x="22" y="3947"/>
                  </a:lnTo>
                  <a:lnTo>
                    <a:pt x="31" y="3916"/>
                  </a:lnTo>
                  <a:lnTo>
                    <a:pt x="38" y="3887"/>
                  </a:lnTo>
                  <a:lnTo>
                    <a:pt x="38" y="3872"/>
                  </a:lnTo>
                  <a:lnTo>
                    <a:pt x="38" y="3853"/>
                  </a:lnTo>
                  <a:lnTo>
                    <a:pt x="41" y="3831"/>
                  </a:lnTo>
                  <a:lnTo>
                    <a:pt x="44" y="3816"/>
                  </a:lnTo>
                  <a:lnTo>
                    <a:pt x="59" y="3803"/>
                  </a:lnTo>
                  <a:lnTo>
                    <a:pt x="81" y="3791"/>
                  </a:lnTo>
                  <a:lnTo>
                    <a:pt x="103" y="3778"/>
                  </a:lnTo>
                  <a:lnTo>
                    <a:pt x="119" y="3766"/>
                  </a:lnTo>
                  <a:lnTo>
                    <a:pt x="134" y="3747"/>
                  </a:lnTo>
                  <a:lnTo>
                    <a:pt x="153" y="3719"/>
                  </a:lnTo>
                  <a:lnTo>
                    <a:pt x="169" y="3691"/>
                  </a:lnTo>
                  <a:lnTo>
                    <a:pt x="178" y="3669"/>
                  </a:lnTo>
                  <a:lnTo>
                    <a:pt x="181" y="3647"/>
                  </a:lnTo>
                  <a:lnTo>
                    <a:pt x="181" y="3619"/>
                  </a:lnTo>
                  <a:lnTo>
                    <a:pt x="181" y="3591"/>
                  </a:lnTo>
                  <a:lnTo>
                    <a:pt x="181" y="3569"/>
                  </a:lnTo>
                  <a:lnTo>
                    <a:pt x="187" y="3538"/>
                  </a:lnTo>
                  <a:lnTo>
                    <a:pt x="197" y="3500"/>
                  </a:lnTo>
                  <a:lnTo>
                    <a:pt x="206" y="3463"/>
                  </a:lnTo>
                  <a:lnTo>
                    <a:pt x="216" y="3432"/>
                  </a:lnTo>
                  <a:lnTo>
                    <a:pt x="225" y="3413"/>
                  </a:lnTo>
                  <a:lnTo>
                    <a:pt x="237" y="3391"/>
                  </a:lnTo>
                  <a:lnTo>
                    <a:pt x="250" y="3366"/>
                  </a:lnTo>
                  <a:lnTo>
                    <a:pt x="256" y="3347"/>
                  </a:lnTo>
                  <a:lnTo>
                    <a:pt x="259" y="3319"/>
                  </a:lnTo>
                  <a:lnTo>
                    <a:pt x="256" y="3285"/>
                  </a:lnTo>
                  <a:lnTo>
                    <a:pt x="256" y="3250"/>
                  </a:lnTo>
                  <a:lnTo>
                    <a:pt x="259" y="3222"/>
                  </a:lnTo>
                  <a:lnTo>
                    <a:pt x="272" y="3201"/>
                  </a:lnTo>
                  <a:lnTo>
                    <a:pt x="287" y="3182"/>
                  </a:lnTo>
                  <a:lnTo>
                    <a:pt x="306" y="3163"/>
                  </a:lnTo>
                  <a:lnTo>
                    <a:pt x="325" y="3151"/>
                  </a:lnTo>
                  <a:lnTo>
                    <a:pt x="347" y="3144"/>
                  </a:lnTo>
                  <a:lnTo>
                    <a:pt x="378" y="3147"/>
                  </a:lnTo>
                  <a:lnTo>
                    <a:pt x="403" y="3151"/>
                  </a:lnTo>
                  <a:lnTo>
                    <a:pt x="425" y="3160"/>
                  </a:lnTo>
                  <a:lnTo>
                    <a:pt x="447" y="3172"/>
                  </a:lnTo>
                  <a:lnTo>
                    <a:pt x="468" y="3179"/>
                  </a:lnTo>
                  <a:lnTo>
                    <a:pt x="478" y="3179"/>
                  </a:lnTo>
                  <a:lnTo>
                    <a:pt x="487" y="3182"/>
                  </a:lnTo>
                  <a:lnTo>
                    <a:pt x="500" y="3179"/>
                  </a:lnTo>
                  <a:lnTo>
                    <a:pt x="509" y="3179"/>
                  </a:lnTo>
                  <a:lnTo>
                    <a:pt x="515" y="3176"/>
                  </a:lnTo>
                  <a:lnTo>
                    <a:pt x="525" y="3157"/>
                  </a:lnTo>
                  <a:lnTo>
                    <a:pt x="534" y="3132"/>
                  </a:lnTo>
                  <a:lnTo>
                    <a:pt x="540" y="3107"/>
                  </a:lnTo>
                  <a:lnTo>
                    <a:pt x="550" y="3088"/>
                  </a:lnTo>
                  <a:lnTo>
                    <a:pt x="575" y="3076"/>
                  </a:lnTo>
                  <a:lnTo>
                    <a:pt x="606" y="3066"/>
                  </a:lnTo>
                  <a:lnTo>
                    <a:pt x="634" y="3063"/>
                  </a:lnTo>
                  <a:lnTo>
                    <a:pt x="653" y="3063"/>
                  </a:lnTo>
                  <a:lnTo>
                    <a:pt x="675" y="3063"/>
                  </a:lnTo>
                  <a:lnTo>
                    <a:pt x="693" y="3063"/>
                  </a:lnTo>
                  <a:lnTo>
                    <a:pt x="715" y="3051"/>
                  </a:lnTo>
                  <a:lnTo>
                    <a:pt x="740" y="3032"/>
                  </a:lnTo>
                  <a:lnTo>
                    <a:pt x="762" y="3019"/>
                  </a:lnTo>
                  <a:lnTo>
                    <a:pt x="781" y="3016"/>
                  </a:lnTo>
                  <a:lnTo>
                    <a:pt x="806" y="3019"/>
                  </a:lnTo>
                  <a:lnTo>
                    <a:pt x="831" y="3023"/>
                  </a:lnTo>
                  <a:lnTo>
                    <a:pt x="849" y="3019"/>
                  </a:lnTo>
                  <a:lnTo>
                    <a:pt x="859" y="3013"/>
                  </a:lnTo>
                  <a:lnTo>
                    <a:pt x="868" y="3007"/>
                  </a:lnTo>
                  <a:lnTo>
                    <a:pt x="874" y="2998"/>
                  </a:lnTo>
                  <a:lnTo>
                    <a:pt x="884" y="2985"/>
                  </a:lnTo>
                  <a:lnTo>
                    <a:pt x="890" y="2976"/>
                  </a:lnTo>
                  <a:lnTo>
                    <a:pt x="893" y="2969"/>
                  </a:lnTo>
                  <a:lnTo>
                    <a:pt x="896" y="2951"/>
                  </a:lnTo>
                  <a:lnTo>
                    <a:pt x="893" y="2929"/>
                  </a:lnTo>
                  <a:lnTo>
                    <a:pt x="890" y="2907"/>
                  </a:lnTo>
                  <a:lnTo>
                    <a:pt x="893" y="2888"/>
                  </a:lnTo>
                  <a:lnTo>
                    <a:pt x="903" y="2863"/>
                  </a:lnTo>
                  <a:lnTo>
                    <a:pt x="918" y="2838"/>
                  </a:lnTo>
                  <a:lnTo>
                    <a:pt x="937" y="2820"/>
                  </a:lnTo>
                  <a:lnTo>
                    <a:pt x="959" y="2813"/>
                  </a:lnTo>
                  <a:lnTo>
                    <a:pt x="984" y="2810"/>
                  </a:lnTo>
                  <a:lnTo>
                    <a:pt x="1012" y="2810"/>
                  </a:lnTo>
                  <a:lnTo>
                    <a:pt x="1034" y="2804"/>
                  </a:lnTo>
                  <a:lnTo>
                    <a:pt x="1056" y="2788"/>
                  </a:lnTo>
                  <a:lnTo>
                    <a:pt x="1081" y="2766"/>
                  </a:lnTo>
                  <a:lnTo>
                    <a:pt x="1096" y="2745"/>
                  </a:lnTo>
                  <a:lnTo>
                    <a:pt x="1105" y="2720"/>
                  </a:lnTo>
                  <a:lnTo>
                    <a:pt x="1109" y="2688"/>
                  </a:lnTo>
                  <a:lnTo>
                    <a:pt x="1115" y="2654"/>
                  </a:lnTo>
                  <a:lnTo>
                    <a:pt x="1121" y="2626"/>
                  </a:lnTo>
                  <a:lnTo>
                    <a:pt x="1130" y="2610"/>
                  </a:lnTo>
                  <a:lnTo>
                    <a:pt x="1146" y="2595"/>
                  </a:lnTo>
                  <a:lnTo>
                    <a:pt x="1162" y="2576"/>
                  </a:lnTo>
                  <a:lnTo>
                    <a:pt x="1168" y="2560"/>
                  </a:lnTo>
                  <a:lnTo>
                    <a:pt x="1168" y="2542"/>
                  </a:lnTo>
                  <a:lnTo>
                    <a:pt x="1162" y="2523"/>
                  </a:lnTo>
                  <a:lnTo>
                    <a:pt x="1152" y="2501"/>
                  </a:lnTo>
                  <a:lnTo>
                    <a:pt x="1146" y="2479"/>
                  </a:lnTo>
                  <a:lnTo>
                    <a:pt x="1149" y="2464"/>
                  </a:lnTo>
                  <a:lnTo>
                    <a:pt x="1159" y="2454"/>
                  </a:lnTo>
                  <a:lnTo>
                    <a:pt x="1180" y="2445"/>
                  </a:lnTo>
                  <a:lnTo>
                    <a:pt x="1202" y="2439"/>
                  </a:lnTo>
                  <a:lnTo>
                    <a:pt x="1224" y="2432"/>
                  </a:lnTo>
                  <a:lnTo>
                    <a:pt x="1240" y="2423"/>
                  </a:lnTo>
                  <a:lnTo>
                    <a:pt x="1252" y="2404"/>
                  </a:lnTo>
                  <a:lnTo>
                    <a:pt x="1262" y="2376"/>
                  </a:lnTo>
                  <a:lnTo>
                    <a:pt x="1271" y="2348"/>
                  </a:lnTo>
                  <a:lnTo>
                    <a:pt x="1274" y="2323"/>
                  </a:lnTo>
                  <a:lnTo>
                    <a:pt x="1271" y="2301"/>
                  </a:lnTo>
                  <a:lnTo>
                    <a:pt x="1265" y="2276"/>
                  </a:lnTo>
                  <a:lnTo>
                    <a:pt x="1262" y="2254"/>
                  </a:lnTo>
                  <a:lnTo>
                    <a:pt x="1265" y="2236"/>
                  </a:lnTo>
                  <a:lnTo>
                    <a:pt x="1274" y="2211"/>
                  </a:lnTo>
                  <a:lnTo>
                    <a:pt x="1283" y="2189"/>
                  </a:lnTo>
                  <a:lnTo>
                    <a:pt x="1290" y="2164"/>
                  </a:lnTo>
                  <a:lnTo>
                    <a:pt x="1290" y="2145"/>
                  </a:lnTo>
                  <a:lnTo>
                    <a:pt x="1280" y="2136"/>
                  </a:lnTo>
                  <a:lnTo>
                    <a:pt x="1265" y="2129"/>
                  </a:lnTo>
                  <a:lnTo>
                    <a:pt x="1246" y="2123"/>
                  </a:lnTo>
                  <a:lnTo>
                    <a:pt x="1230" y="2117"/>
                  </a:lnTo>
                  <a:lnTo>
                    <a:pt x="1221" y="2105"/>
                  </a:lnTo>
                  <a:lnTo>
                    <a:pt x="1224" y="2089"/>
                  </a:lnTo>
                  <a:lnTo>
                    <a:pt x="1234" y="2070"/>
                  </a:lnTo>
                  <a:lnTo>
                    <a:pt x="1249" y="2051"/>
                  </a:lnTo>
                  <a:lnTo>
                    <a:pt x="1262" y="2039"/>
                  </a:lnTo>
                  <a:lnTo>
                    <a:pt x="1268" y="2033"/>
                  </a:lnTo>
                  <a:lnTo>
                    <a:pt x="1280" y="2023"/>
                  </a:lnTo>
                  <a:lnTo>
                    <a:pt x="1290" y="2017"/>
                  </a:lnTo>
                  <a:lnTo>
                    <a:pt x="1302" y="2008"/>
                  </a:lnTo>
                  <a:lnTo>
                    <a:pt x="1305" y="2001"/>
                  </a:lnTo>
                  <a:lnTo>
                    <a:pt x="1308" y="1986"/>
                  </a:lnTo>
                  <a:lnTo>
                    <a:pt x="1302" y="1967"/>
                  </a:lnTo>
                  <a:lnTo>
                    <a:pt x="1299" y="1948"/>
                  </a:lnTo>
                  <a:lnTo>
                    <a:pt x="1302" y="1933"/>
                  </a:lnTo>
                  <a:lnTo>
                    <a:pt x="1315" y="1927"/>
                  </a:lnTo>
                  <a:lnTo>
                    <a:pt x="1333" y="1923"/>
                  </a:lnTo>
                  <a:lnTo>
                    <a:pt x="1352" y="1920"/>
                  </a:lnTo>
                  <a:lnTo>
                    <a:pt x="1368" y="1911"/>
                  </a:lnTo>
                  <a:lnTo>
                    <a:pt x="1374" y="1898"/>
                  </a:lnTo>
                  <a:lnTo>
                    <a:pt x="1377" y="1877"/>
                  </a:lnTo>
                  <a:lnTo>
                    <a:pt x="1377" y="1861"/>
                  </a:lnTo>
                  <a:lnTo>
                    <a:pt x="1371" y="1855"/>
                  </a:lnTo>
                  <a:lnTo>
                    <a:pt x="1365" y="1848"/>
                  </a:lnTo>
                  <a:lnTo>
                    <a:pt x="1358" y="1845"/>
                  </a:lnTo>
                  <a:lnTo>
                    <a:pt x="1352" y="1839"/>
                  </a:lnTo>
                  <a:lnTo>
                    <a:pt x="1346" y="1836"/>
                  </a:lnTo>
                  <a:lnTo>
                    <a:pt x="1340" y="1836"/>
                  </a:lnTo>
                  <a:lnTo>
                    <a:pt x="1330" y="1836"/>
                  </a:lnTo>
                  <a:lnTo>
                    <a:pt x="1321" y="1839"/>
                  </a:lnTo>
                  <a:lnTo>
                    <a:pt x="1315" y="1839"/>
                  </a:lnTo>
                  <a:lnTo>
                    <a:pt x="1305" y="1839"/>
                  </a:lnTo>
                  <a:lnTo>
                    <a:pt x="1299" y="1836"/>
                  </a:lnTo>
                  <a:lnTo>
                    <a:pt x="1290" y="1833"/>
                  </a:lnTo>
                  <a:lnTo>
                    <a:pt x="1283" y="1823"/>
                  </a:lnTo>
                  <a:lnTo>
                    <a:pt x="1274" y="1814"/>
                  </a:lnTo>
                  <a:lnTo>
                    <a:pt x="1268" y="1802"/>
                  </a:lnTo>
                  <a:lnTo>
                    <a:pt x="1259" y="1792"/>
                  </a:lnTo>
                  <a:lnTo>
                    <a:pt x="1255" y="1786"/>
                  </a:lnTo>
                  <a:lnTo>
                    <a:pt x="1252" y="1780"/>
                  </a:lnTo>
                  <a:lnTo>
                    <a:pt x="1246" y="1761"/>
                  </a:lnTo>
                  <a:lnTo>
                    <a:pt x="1237" y="1739"/>
                  </a:lnTo>
                  <a:lnTo>
                    <a:pt x="1230" y="1714"/>
                  </a:lnTo>
                  <a:lnTo>
                    <a:pt x="1230" y="1695"/>
                  </a:lnTo>
                  <a:lnTo>
                    <a:pt x="1240" y="1677"/>
                  </a:lnTo>
                  <a:lnTo>
                    <a:pt x="1252" y="1655"/>
                  </a:lnTo>
                  <a:lnTo>
                    <a:pt x="1262" y="1636"/>
                  </a:lnTo>
                  <a:lnTo>
                    <a:pt x="1262" y="1614"/>
                  </a:lnTo>
                  <a:lnTo>
                    <a:pt x="1255" y="1586"/>
                  </a:lnTo>
                  <a:lnTo>
                    <a:pt x="1246" y="1564"/>
                  </a:lnTo>
                  <a:lnTo>
                    <a:pt x="1243" y="1558"/>
                  </a:lnTo>
                  <a:lnTo>
                    <a:pt x="1234" y="1555"/>
                  </a:lnTo>
                  <a:lnTo>
                    <a:pt x="1224" y="1549"/>
                  </a:lnTo>
                  <a:lnTo>
                    <a:pt x="1215" y="1542"/>
                  </a:lnTo>
                  <a:lnTo>
                    <a:pt x="1209" y="1536"/>
                  </a:lnTo>
                  <a:lnTo>
                    <a:pt x="1196" y="1524"/>
                  </a:lnTo>
                  <a:lnTo>
                    <a:pt x="1184" y="1505"/>
                  </a:lnTo>
                  <a:lnTo>
                    <a:pt x="1174" y="1483"/>
                  </a:lnTo>
                  <a:lnTo>
                    <a:pt x="1171" y="1467"/>
                  </a:lnTo>
                  <a:lnTo>
                    <a:pt x="1177" y="1449"/>
                  </a:lnTo>
                  <a:lnTo>
                    <a:pt x="1193" y="1427"/>
                  </a:lnTo>
                  <a:lnTo>
                    <a:pt x="1215" y="1405"/>
                  </a:lnTo>
                  <a:lnTo>
                    <a:pt x="1234" y="1396"/>
                  </a:lnTo>
                  <a:lnTo>
                    <a:pt x="1255" y="1393"/>
                  </a:lnTo>
                  <a:lnTo>
                    <a:pt x="1280" y="1399"/>
                  </a:lnTo>
                  <a:lnTo>
                    <a:pt x="1308" y="1405"/>
                  </a:lnTo>
                  <a:lnTo>
                    <a:pt x="1330" y="1405"/>
                  </a:lnTo>
                  <a:lnTo>
                    <a:pt x="1358" y="1396"/>
                  </a:lnTo>
                  <a:lnTo>
                    <a:pt x="1387" y="1380"/>
                  </a:lnTo>
                  <a:lnTo>
                    <a:pt x="1408" y="1364"/>
                  </a:lnTo>
                  <a:lnTo>
                    <a:pt x="1427" y="1343"/>
                  </a:lnTo>
                  <a:lnTo>
                    <a:pt x="1449" y="1314"/>
                  </a:lnTo>
                  <a:lnTo>
                    <a:pt x="1465" y="1286"/>
                  </a:lnTo>
                  <a:lnTo>
                    <a:pt x="1477" y="1261"/>
                  </a:lnTo>
                  <a:lnTo>
                    <a:pt x="1493" y="1227"/>
                  </a:lnTo>
                  <a:lnTo>
                    <a:pt x="1505" y="1196"/>
                  </a:lnTo>
                  <a:lnTo>
                    <a:pt x="1515" y="1168"/>
                  </a:lnTo>
                  <a:lnTo>
                    <a:pt x="1515" y="1140"/>
                  </a:lnTo>
                  <a:lnTo>
                    <a:pt x="1515" y="1108"/>
                  </a:lnTo>
                  <a:lnTo>
                    <a:pt x="1511" y="1077"/>
                  </a:lnTo>
                  <a:lnTo>
                    <a:pt x="1502" y="1052"/>
                  </a:lnTo>
                  <a:lnTo>
                    <a:pt x="1496" y="1046"/>
                  </a:lnTo>
                  <a:lnTo>
                    <a:pt x="1486" y="1040"/>
                  </a:lnTo>
                  <a:lnTo>
                    <a:pt x="1477" y="1033"/>
                  </a:lnTo>
                  <a:lnTo>
                    <a:pt x="1468" y="1024"/>
                  </a:lnTo>
                  <a:lnTo>
                    <a:pt x="1461" y="1018"/>
                  </a:lnTo>
                  <a:lnTo>
                    <a:pt x="1452" y="999"/>
                  </a:lnTo>
                  <a:lnTo>
                    <a:pt x="1446" y="974"/>
                  </a:lnTo>
                  <a:lnTo>
                    <a:pt x="1440" y="949"/>
                  </a:lnTo>
                  <a:lnTo>
                    <a:pt x="1433" y="927"/>
                  </a:lnTo>
                  <a:lnTo>
                    <a:pt x="1424" y="905"/>
                  </a:lnTo>
                  <a:lnTo>
                    <a:pt x="1415" y="880"/>
                  </a:lnTo>
                  <a:lnTo>
                    <a:pt x="1402" y="855"/>
                  </a:lnTo>
                  <a:lnTo>
                    <a:pt x="1390" y="840"/>
                  </a:lnTo>
                  <a:lnTo>
                    <a:pt x="1383" y="837"/>
                  </a:lnTo>
                  <a:lnTo>
                    <a:pt x="1374" y="834"/>
                  </a:lnTo>
                  <a:lnTo>
                    <a:pt x="1365" y="834"/>
                  </a:lnTo>
                  <a:lnTo>
                    <a:pt x="1355" y="830"/>
                  </a:lnTo>
                  <a:lnTo>
                    <a:pt x="1346" y="830"/>
                  </a:lnTo>
                  <a:lnTo>
                    <a:pt x="1340" y="827"/>
                  </a:lnTo>
                  <a:lnTo>
                    <a:pt x="1318" y="812"/>
                  </a:lnTo>
                  <a:lnTo>
                    <a:pt x="1296" y="790"/>
                  </a:lnTo>
                  <a:lnTo>
                    <a:pt x="1280" y="768"/>
                  </a:lnTo>
                  <a:lnTo>
                    <a:pt x="1274" y="746"/>
                  </a:lnTo>
                  <a:lnTo>
                    <a:pt x="1268" y="721"/>
                  </a:lnTo>
                  <a:lnTo>
                    <a:pt x="1265" y="693"/>
                  </a:lnTo>
                  <a:lnTo>
                    <a:pt x="1265" y="671"/>
                  </a:lnTo>
                  <a:lnTo>
                    <a:pt x="1268" y="662"/>
                  </a:lnTo>
                  <a:lnTo>
                    <a:pt x="1271" y="653"/>
                  </a:lnTo>
                  <a:lnTo>
                    <a:pt x="1274" y="640"/>
                  </a:lnTo>
                  <a:lnTo>
                    <a:pt x="1280" y="628"/>
                  </a:lnTo>
                  <a:lnTo>
                    <a:pt x="1290" y="612"/>
                  </a:lnTo>
                  <a:lnTo>
                    <a:pt x="1299" y="599"/>
                  </a:lnTo>
                  <a:lnTo>
                    <a:pt x="1308" y="587"/>
                  </a:lnTo>
                  <a:lnTo>
                    <a:pt x="1330" y="571"/>
                  </a:lnTo>
                  <a:lnTo>
                    <a:pt x="1362" y="553"/>
                  </a:lnTo>
                  <a:lnTo>
                    <a:pt x="1387" y="543"/>
                  </a:lnTo>
                  <a:lnTo>
                    <a:pt x="1415" y="537"/>
                  </a:lnTo>
                  <a:lnTo>
                    <a:pt x="1452" y="537"/>
                  </a:lnTo>
                  <a:lnTo>
                    <a:pt x="1486" y="537"/>
                  </a:lnTo>
                  <a:lnTo>
                    <a:pt x="1515" y="531"/>
                  </a:lnTo>
                  <a:lnTo>
                    <a:pt x="1533" y="518"/>
                  </a:lnTo>
                  <a:lnTo>
                    <a:pt x="1558" y="496"/>
                  </a:lnTo>
                  <a:lnTo>
                    <a:pt x="1580" y="475"/>
                  </a:lnTo>
                  <a:lnTo>
                    <a:pt x="1599" y="459"/>
                  </a:lnTo>
                  <a:lnTo>
                    <a:pt x="1621" y="450"/>
                  </a:lnTo>
                  <a:lnTo>
                    <a:pt x="1646" y="437"/>
                  </a:lnTo>
                  <a:lnTo>
                    <a:pt x="1668" y="428"/>
                  </a:lnTo>
                  <a:lnTo>
                    <a:pt x="1693" y="425"/>
                  </a:lnTo>
                  <a:lnTo>
                    <a:pt x="1721" y="425"/>
                  </a:lnTo>
                  <a:lnTo>
                    <a:pt x="1746" y="425"/>
                  </a:lnTo>
                  <a:lnTo>
                    <a:pt x="1771" y="418"/>
                  </a:lnTo>
                  <a:lnTo>
                    <a:pt x="1799" y="412"/>
                  </a:lnTo>
                  <a:lnTo>
                    <a:pt x="1830" y="406"/>
                  </a:lnTo>
                  <a:lnTo>
                    <a:pt x="1858" y="403"/>
                  </a:lnTo>
                  <a:lnTo>
                    <a:pt x="1880" y="406"/>
                  </a:lnTo>
                  <a:lnTo>
                    <a:pt x="1886" y="412"/>
                  </a:lnTo>
                  <a:lnTo>
                    <a:pt x="1896" y="418"/>
                  </a:lnTo>
                  <a:lnTo>
                    <a:pt x="1902" y="428"/>
                  </a:lnTo>
                  <a:lnTo>
                    <a:pt x="1908" y="437"/>
                  </a:lnTo>
                  <a:lnTo>
                    <a:pt x="1917" y="446"/>
                  </a:lnTo>
                  <a:lnTo>
                    <a:pt x="1924" y="450"/>
                  </a:lnTo>
                  <a:lnTo>
                    <a:pt x="1945" y="450"/>
                  </a:lnTo>
                  <a:lnTo>
                    <a:pt x="1967" y="443"/>
                  </a:lnTo>
                  <a:lnTo>
                    <a:pt x="1986" y="434"/>
                  </a:lnTo>
                  <a:lnTo>
                    <a:pt x="2011" y="421"/>
                  </a:lnTo>
                  <a:lnTo>
                    <a:pt x="2039" y="406"/>
                  </a:lnTo>
                  <a:lnTo>
                    <a:pt x="2064" y="390"/>
                  </a:lnTo>
                  <a:lnTo>
                    <a:pt x="2086" y="371"/>
                  </a:lnTo>
                  <a:lnTo>
                    <a:pt x="2095" y="353"/>
                  </a:lnTo>
                  <a:lnTo>
                    <a:pt x="2105" y="328"/>
                  </a:lnTo>
                  <a:lnTo>
                    <a:pt x="2114" y="309"/>
                  </a:lnTo>
                  <a:lnTo>
                    <a:pt x="2120" y="290"/>
                  </a:lnTo>
                  <a:lnTo>
                    <a:pt x="2130" y="265"/>
                  </a:lnTo>
                  <a:lnTo>
                    <a:pt x="2136" y="243"/>
                  </a:lnTo>
                  <a:lnTo>
                    <a:pt x="2148" y="225"/>
                  </a:lnTo>
                  <a:lnTo>
                    <a:pt x="2164" y="215"/>
                  </a:lnTo>
                  <a:lnTo>
                    <a:pt x="2186" y="209"/>
                  </a:lnTo>
                  <a:lnTo>
                    <a:pt x="2211" y="206"/>
                  </a:lnTo>
                  <a:lnTo>
                    <a:pt x="2227" y="197"/>
                  </a:lnTo>
                  <a:lnTo>
                    <a:pt x="2233" y="190"/>
                  </a:lnTo>
                  <a:lnTo>
                    <a:pt x="2242" y="184"/>
                  </a:lnTo>
                  <a:lnTo>
                    <a:pt x="2248" y="175"/>
                  </a:lnTo>
                  <a:lnTo>
                    <a:pt x="2258" y="165"/>
                  </a:lnTo>
                  <a:lnTo>
                    <a:pt x="2261" y="156"/>
                  </a:lnTo>
                  <a:lnTo>
                    <a:pt x="2264" y="150"/>
                  </a:lnTo>
                  <a:lnTo>
                    <a:pt x="2264" y="134"/>
                  </a:lnTo>
                  <a:lnTo>
                    <a:pt x="2258" y="115"/>
                  </a:lnTo>
                  <a:lnTo>
                    <a:pt x="2252" y="97"/>
                  </a:lnTo>
                  <a:lnTo>
                    <a:pt x="2248" y="81"/>
                  </a:lnTo>
                  <a:lnTo>
                    <a:pt x="2255" y="65"/>
                  </a:lnTo>
                  <a:lnTo>
                    <a:pt x="2267" y="47"/>
                  </a:lnTo>
                  <a:lnTo>
                    <a:pt x="2280" y="31"/>
                  </a:lnTo>
                  <a:lnTo>
                    <a:pt x="2295" y="19"/>
                  </a:lnTo>
                  <a:lnTo>
                    <a:pt x="2314" y="9"/>
                  </a:lnTo>
                  <a:lnTo>
                    <a:pt x="2336" y="0"/>
                  </a:lnTo>
                  <a:lnTo>
                    <a:pt x="2351" y="19"/>
                  </a:lnTo>
                  <a:lnTo>
                    <a:pt x="2364" y="40"/>
                  </a:lnTo>
                  <a:lnTo>
                    <a:pt x="2373" y="56"/>
                  </a:lnTo>
                  <a:lnTo>
                    <a:pt x="2373" y="75"/>
                  </a:lnTo>
                  <a:lnTo>
                    <a:pt x="2370" y="100"/>
                  </a:lnTo>
                  <a:lnTo>
                    <a:pt x="2373" y="119"/>
                  </a:lnTo>
                  <a:lnTo>
                    <a:pt x="2383" y="137"/>
                  </a:lnTo>
                  <a:lnTo>
                    <a:pt x="2401" y="156"/>
                  </a:lnTo>
                  <a:lnTo>
                    <a:pt x="2420" y="178"/>
                  </a:lnTo>
                  <a:lnTo>
                    <a:pt x="2433" y="193"/>
                  </a:lnTo>
                  <a:lnTo>
                    <a:pt x="2439" y="212"/>
                  </a:lnTo>
                  <a:lnTo>
                    <a:pt x="2445" y="237"/>
                  </a:lnTo>
                  <a:lnTo>
                    <a:pt x="2445" y="256"/>
                  </a:lnTo>
                  <a:lnTo>
                    <a:pt x="2445" y="275"/>
                  </a:lnTo>
                  <a:lnTo>
                    <a:pt x="2439" y="297"/>
                  </a:lnTo>
                  <a:lnTo>
                    <a:pt x="2433" y="322"/>
                  </a:lnTo>
                  <a:lnTo>
                    <a:pt x="2433" y="340"/>
                  </a:lnTo>
                  <a:lnTo>
                    <a:pt x="2442" y="359"/>
                  </a:lnTo>
                  <a:lnTo>
                    <a:pt x="2454" y="378"/>
                  </a:lnTo>
                  <a:lnTo>
                    <a:pt x="2464" y="393"/>
                  </a:lnTo>
                  <a:lnTo>
                    <a:pt x="2473" y="415"/>
                  </a:lnTo>
                  <a:lnTo>
                    <a:pt x="2483" y="440"/>
                  </a:lnTo>
                  <a:lnTo>
                    <a:pt x="2492" y="468"/>
                  </a:lnTo>
                  <a:lnTo>
                    <a:pt x="2495" y="490"/>
                  </a:lnTo>
                  <a:lnTo>
                    <a:pt x="2492" y="509"/>
                  </a:lnTo>
                  <a:lnTo>
                    <a:pt x="2483" y="531"/>
                  </a:lnTo>
                  <a:lnTo>
                    <a:pt x="2470" y="556"/>
                  </a:lnTo>
                  <a:lnTo>
                    <a:pt x="2464" y="578"/>
                  </a:lnTo>
                  <a:lnTo>
                    <a:pt x="2464" y="596"/>
                  </a:lnTo>
                  <a:lnTo>
                    <a:pt x="2467" y="603"/>
                  </a:lnTo>
                  <a:lnTo>
                    <a:pt x="2476" y="609"/>
                  </a:lnTo>
                  <a:lnTo>
                    <a:pt x="2486" y="615"/>
                  </a:lnTo>
                  <a:lnTo>
                    <a:pt x="2498" y="621"/>
                  </a:lnTo>
                  <a:lnTo>
                    <a:pt x="2504" y="628"/>
                  </a:lnTo>
                  <a:lnTo>
                    <a:pt x="2514" y="634"/>
                  </a:lnTo>
                  <a:lnTo>
                    <a:pt x="2520" y="653"/>
                  </a:lnTo>
                  <a:lnTo>
                    <a:pt x="2526" y="674"/>
                  </a:lnTo>
                  <a:lnTo>
                    <a:pt x="2533" y="699"/>
                  </a:lnTo>
                  <a:lnTo>
                    <a:pt x="2542" y="715"/>
                  </a:lnTo>
                  <a:lnTo>
                    <a:pt x="2545" y="721"/>
                  </a:lnTo>
                  <a:lnTo>
                    <a:pt x="2554" y="724"/>
                  </a:lnTo>
                  <a:lnTo>
                    <a:pt x="2564" y="731"/>
                  </a:lnTo>
                  <a:lnTo>
                    <a:pt x="2573" y="734"/>
                  </a:lnTo>
                  <a:lnTo>
                    <a:pt x="2579" y="740"/>
                  </a:lnTo>
                  <a:lnTo>
                    <a:pt x="2598" y="756"/>
                  </a:lnTo>
                  <a:lnTo>
                    <a:pt x="2620" y="774"/>
                  </a:lnTo>
                  <a:lnTo>
                    <a:pt x="2636" y="796"/>
                  </a:lnTo>
                  <a:lnTo>
                    <a:pt x="2639" y="812"/>
                  </a:lnTo>
                  <a:lnTo>
                    <a:pt x="2642" y="837"/>
                  </a:lnTo>
                  <a:lnTo>
                    <a:pt x="2642" y="859"/>
                  </a:lnTo>
                  <a:lnTo>
                    <a:pt x="2648" y="877"/>
                  </a:lnTo>
                  <a:lnTo>
                    <a:pt x="2670" y="893"/>
                  </a:lnTo>
                  <a:lnTo>
                    <a:pt x="2698" y="909"/>
                  </a:lnTo>
                  <a:lnTo>
                    <a:pt x="2723" y="924"/>
                  </a:lnTo>
                  <a:lnTo>
                    <a:pt x="2732" y="927"/>
                  </a:lnTo>
                  <a:lnTo>
                    <a:pt x="2742" y="934"/>
                  </a:lnTo>
                  <a:lnTo>
                    <a:pt x="2754" y="943"/>
                  </a:lnTo>
                  <a:lnTo>
                    <a:pt x="2764" y="949"/>
                  </a:lnTo>
                  <a:lnTo>
                    <a:pt x="2767" y="959"/>
                  </a:lnTo>
                  <a:lnTo>
                    <a:pt x="2770" y="977"/>
                  </a:lnTo>
                  <a:lnTo>
                    <a:pt x="2764" y="1005"/>
                  </a:lnTo>
                  <a:lnTo>
                    <a:pt x="2757" y="1030"/>
                  </a:lnTo>
                  <a:lnTo>
                    <a:pt x="2754" y="1049"/>
                  </a:lnTo>
                  <a:lnTo>
                    <a:pt x="2757" y="1074"/>
                  </a:lnTo>
                  <a:lnTo>
                    <a:pt x="2770" y="1099"/>
                  </a:lnTo>
                  <a:lnTo>
                    <a:pt x="2779" y="1118"/>
                  </a:lnTo>
                  <a:lnTo>
                    <a:pt x="2795" y="1127"/>
                  </a:lnTo>
                  <a:lnTo>
                    <a:pt x="2817" y="1137"/>
                  </a:lnTo>
                  <a:lnTo>
                    <a:pt x="2835" y="1143"/>
                  </a:lnTo>
                  <a:lnTo>
                    <a:pt x="2851" y="1143"/>
                  </a:lnTo>
                  <a:lnTo>
                    <a:pt x="2873" y="1140"/>
                  </a:lnTo>
                  <a:lnTo>
                    <a:pt x="2889" y="1143"/>
                  </a:lnTo>
                  <a:lnTo>
                    <a:pt x="2907" y="1155"/>
                  </a:lnTo>
                  <a:lnTo>
                    <a:pt x="2926" y="1177"/>
                  </a:lnTo>
                  <a:lnTo>
                    <a:pt x="2942" y="1193"/>
                  </a:lnTo>
                  <a:lnTo>
                    <a:pt x="2957" y="1196"/>
                  </a:lnTo>
                  <a:lnTo>
                    <a:pt x="2976" y="1199"/>
                  </a:lnTo>
                  <a:lnTo>
                    <a:pt x="2992" y="1199"/>
                  </a:lnTo>
                  <a:lnTo>
                    <a:pt x="3004" y="1205"/>
                  </a:lnTo>
                  <a:lnTo>
                    <a:pt x="3020" y="1224"/>
                  </a:lnTo>
                  <a:lnTo>
                    <a:pt x="3032" y="1255"/>
                  </a:lnTo>
                  <a:lnTo>
                    <a:pt x="3042" y="1283"/>
                  </a:lnTo>
                  <a:lnTo>
                    <a:pt x="3048" y="1308"/>
                  </a:lnTo>
                  <a:lnTo>
                    <a:pt x="3051" y="1330"/>
                  </a:lnTo>
                  <a:lnTo>
                    <a:pt x="3048" y="1355"/>
                  </a:lnTo>
                  <a:lnTo>
                    <a:pt x="3045" y="1380"/>
                  </a:lnTo>
                  <a:lnTo>
                    <a:pt x="3048" y="1399"/>
                  </a:lnTo>
                  <a:lnTo>
                    <a:pt x="3063" y="1414"/>
                  </a:lnTo>
                  <a:lnTo>
                    <a:pt x="3085" y="1433"/>
                  </a:lnTo>
                  <a:lnTo>
                    <a:pt x="3101" y="1452"/>
                  </a:lnTo>
                  <a:lnTo>
                    <a:pt x="3104" y="1471"/>
                  </a:lnTo>
                  <a:lnTo>
                    <a:pt x="3104" y="1492"/>
                  </a:lnTo>
                  <a:lnTo>
                    <a:pt x="3101" y="1514"/>
                  </a:lnTo>
                  <a:lnTo>
                    <a:pt x="3098" y="1521"/>
                  </a:lnTo>
                  <a:lnTo>
                    <a:pt x="3092" y="1530"/>
                  </a:lnTo>
                  <a:lnTo>
                    <a:pt x="3088" y="1539"/>
                  </a:lnTo>
                  <a:lnTo>
                    <a:pt x="3082" y="1549"/>
                  </a:lnTo>
                  <a:lnTo>
                    <a:pt x="3082" y="1555"/>
                  </a:lnTo>
                  <a:lnTo>
                    <a:pt x="3082" y="1564"/>
                  </a:lnTo>
                  <a:lnTo>
                    <a:pt x="3085" y="1574"/>
                  </a:lnTo>
                  <a:lnTo>
                    <a:pt x="3088" y="1580"/>
                  </a:lnTo>
                  <a:lnTo>
                    <a:pt x="3095" y="1586"/>
                  </a:lnTo>
                  <a:lnTo>
                    <a:pt x="3113" y="1592"/>
                  </a:lnTo>
                  <a:lnTo>
                    <a:pt x="3138" y="1589"/>
                  </a:lnTo>
                  <a:lnTo>
                    <a:pt x="3160" y="1589"/>
                  </a:lnTo>
                  <a:lnTo>
                    <a:pt x="3170" y="1589"/>
                  </a:lnTo>
                  <a:lnTo>
                    <a:pt x="3179" y="1586"/>
                  </a:lnTo>
                  <a:lnTo>
                    <a:pt x="3188" y="1586"/>
                  </a:lnTo>
                  <a:lnTo>
                    <a:pt x="3198" y="1583"/>
                  </a:lnTo>
                  <a:lnTo>
                    <a:pt x="3207" y="1580"/>
                  </a:lnTo>
                  <a:lnTo>
                    <a:pt x="3210" y="1577"/>
                  </a:lnTo>
                  <a:lnTo>
                    <a:pt x="3213" y="1571"/>
                  </a:lnTo>
                  <a:lnTo>
                    <a:pt x="3213" y="1561"/>
                  </a:lnTo>
                  <a:lnTo>
                    <a:pt x="3216" y="1555"/>
                  </a:lnTo>
                  <a:lnTo>
                    <a:pt x="3216" y="1546"/>
                  </a:lnTo>
                  <a:lnTo>
                    <a:pt x="3223" y="1542"/>
                  </a:lnTo>
                  <a:lnTo>
                    <a:pt x="3235" y="1539"/>
                  </a:lnTo>
                  <a:lnTo>
                    <a:pt x="3251" y="1539"/>
                  </a:lnTo>
                  <a:lnTo>
                    <a:pt x="3270" y="1539"/>
                  </a:lnTo>
                  <a:lnTo>
                    <a:pt x="3285" y="1539"/>
                  </a:lnTo>
                  <a:lnTo>
                    <a:pt x="3304" y="1542"/>
                  </a:lnTo>
                  <a:lnTo>
                    <a:pt x="3326" y="1542"/>
                  </a:lnTo>
                  <a:lnTo>
                    <a:pt x="3341" y="1539"/>
                  </a:lnTo>
                  <a:lnTo>
                    <a:pt x="3348" y="1536"/>
                  </a:lnTo>
                  <a:lnTo>
                    <a:pt x="3357" y="1530"/>
                  </a:lnTo>
                  <a:lnTo>
                    <a:pt x="3363" y="1524"/>
                  </a:lnTo>
                  <a:lnTo>
                    <a:pt x="3369" y="1517"/>
                  </a:lnTo>
                  <a:lnTo>
                    <a:pt x="3373" y="1511"/>
                  </a:lnTo>
                  <a:lnTo>
                    <a:pt x="3373" y="1505"/>
                  </a:lnTo>
                  <a:lnTo>
                    <a:pt x="3373" y="1496"/>
                  </a:lnTo>
                  <a:lnTo>
                    <a:pt x="3373" y="1489"/>
                  </a:lnTo>
                  <a:lnTo>
                    <a:pt x="3369" y="1480"/>
                  </a:lnTo>
                  <a:lnTo>
                    <a:pt x="3369" y="1471"/>
                  </a:lnTo>
                  <a:lnTo>
                    <a:pt x="3373" y="1464"/>
                  </a:lnTo>
                  <a:lnTo>
                    <a:pt x="3388" y="1458"/>
                  </a:lnTo>
                  <a:lnTo>
                    <a:pt x="3407" y="1452"/>
                  </a:lnTo>
                  <a:lnTo>
                    <a:pt x="3426" y="1452"/>
                  </a:lnTo>
                  <a:lnTo>
                    <a:pt x="3444" y="1464"/>
                  </a:lnTo>
                  <a:lnTo>
                    <a:pt x="3466" y="1483"/>
                  </a:lnTo>
                  <a:lnTo>
                    <a:pt x="3485" y="1499"/>
                  </a:lnTo>
                  <a:lnTo>
                    <a:pt x="3491" y="1508"/>
                  </a:lnTo>
                  <a:lnTo>
                    <a:pt x="3501" y="1517"/>
                  </a:lnTo>
                  <a:lnTo>
                    <a:pt x="3507" y="1527"/>
                  </a:lnTo>
                  <a:lnTo>
                    <a:pt x="3516" y="1536"/>
                  </a:lnTo>
                  <a:lnTo>
                    <a:pt x="3522" y="1542"/>
                  </a:lnTo>
                  <a:lnTo>
                    <a:pt x="3532" y="1546"/>
                  </a:lnTo>
                  <a:lnTo>
                    <a:pt x="3547" y="1539"/>
                  </a:lnTo>
                  <a:lnTo>
                    <a:pt x="3566" y="1527"/>
                  </a:lnTo>
                  <a:lnTo>
                    <a:pt x="3582" y="1511"/>
                  </a:lnTo>
                  <a:lnTo>
                    <a:pt x="3594" y="1499"/>
                  </a:lnTo>
                  <a:lnTo>
                    <a:pt x="3594" y="1492"/>
                  </a:lnTo>
                  <a:lnTo>
                    <a:pt x="3597" y="1483"/>
                  </a:lnTo>
                  <a:lnTo>
                    <a:pt x="3601" y="1477"/>
                  </a:lnTo>
                  <a:lnTo>
                    <a:pt x="3601" y="1467"/>
                  </a:lnTo>
                  <a:lnTo>
                    <a:pt x="3604" y="1464"/>
                  </a:lnTo>
                  <a:lnTo>
                    <a:pt x="3619" y="1458"/>
                  </a:lnTo>
                  <a:lnTo>
                    <a:pt x="3641" y="1458"/>
                  </a:lnTo>
                  <a:lnTo>
                    <a:pt x="3657" y="1464"/>
                  </a:lnTo>
                  <a:lnTo>
                    <a:pt x="3666" y="1474"/>
                  </a:lnTo>
                  <a:lnTo>
                    <a:pt x="3672" y="1489"/>
                  </a:lnTo>
                  <a:lnTo>
                    <a:pt x="3679" y="1505"/>
                  </a:lnTo>
                  <a:lnTo>
                    <a:pt x="3688" y="1514"/>
                  </a:lnTo>
                  <a:lnTo>
                    <a:pt x="3700" y="1517"/>
                  </a:lnTo>
                  <a:lnTo>
                    <a:pt x="3722" y="1517"/>
                  </a:lnTo>
                  <a:lnTo>
                    <a:pt x="3741" y="1514"/>
                  </a:lnTo>
                  <a:lnTo>
                    <a:pt x="3760" y="1511"/>
                  </a:lnTo>
                  <a:lnTo>
                    <a:pt x="3775" y="1514"/>
                  </a:lnTo>
                  <a:lnTo>
                    <a:pt x="3788" y="1530"/>
                  </a:lnTo>
                  <a:lnTo>
                    <a:pt x="3797" y="1549"/>
                  </a:lnTo>
                  <a:lnTo>
                    <a:pt x="3804" y="1571"/>
                  </a:lnTo>
                  <a:lnTo>
                    <a:pt x="3807" y="1589"/>
                  </a:lnTo>
                  <a:lnTo>
                    <a:pt x="3807" y="1608"/>
                  </a:lnTo>
                  <a:lnTo>
                    <a:pt x="3804" y="1630"/>
                  </a:lnTo>
                  <a:lnTo>
                    <a:pt x="3804" y="1652"/>
                  </a:lnTo>
                  <a:lnTo>
                    <a:pt x="3807" y="1667"/>
                  </a:lnTo>
                  <a:lnTo>
                    <a:pt x="3822" y="1674"/>
                  </a:lnTo>
                  <a:lnTo>
                    <a:pt x="3844" y="1677"/>
                  </a:lnTo>
                  <a:lnTo>
                    <a:pt x="3866" y="1680"/>
                  </a:lnTo>
                  <a:lnTo>
                    <a:pt x="3882" y="1689"/>
                  </a:lnTo>
                  <a:lnTo>
                    <a:pt x="3894" y="1708"/>
                  </a:lnTo>
                  <a:lnTo>
                    <a:pt x="3903" y="1733"/>
                  </a:lnTo>
                  <a:lnTo>
                    <a:pt x="3910" y="1761"/>
                  </a:lnTo>
                  <a:lnTo>
                    <a:pt x="3913" y="1783"/>
                  </a:lnTo>
                  <a:lnTo>
                    <a:pt x="3916" y="1805"/>
                  </a:lnTo>
                  <a:lnTo>
                    <a:pt x="3916" y="1830"/>
                  </a:lnTo>
                  <a:lnTo>
                    <a:pt x="3910" y="1852"/>
                  </a:lnTo>
                  <a:lnTo>
                    <a:pt x="3894" y="1864"/>
                  </a:lnTo>
                  <a:lnTo>
                    <a:pt x="3872" y="1880"/>
                  </a:lnTo>
                  <a:lnTo>
                    <a:pt x="3857" y="1892"/>
                  </a:lnTo>
                  <a:lnTo>
                    <a:pt x="3850" y="1911"/>
                  </a:lnTo>
                  <a:lnTo>
                    <a:pt x="3850" y="1930"/>
                  </a:lnTo>
                  <a:lnTo>
                    <a:pt x="3857" y="1945"/>
                  </a:lnTo>
                  <a:lnTo>
                    <a:pt x="3863" y="1955"/>
                  </a:lnTo>
                  <a:lnTo>
                    <a:pt x="3872" y="1961"/>
                  </a:lnTo>
                  <a:lnTo>
                    <a:pt x="3882" y="1967"/>
                  </a:lnTo>
                  <a:lnTo>
                    <a:pt x="3894" y="1970"/>
                  </a:lnTo>
                  <a:lnTo>
                    <a:pt x="3900" y="1970"/>
                  </a:lnTo>
                  <a:lnTo>
                    <a:pt x="3922" y="1967"/>
                  </a:lnTo>
                  <a:lnTo>
                    <a:pt x="3944" y="1955"/>
                  </a:lnTo>
                  <a:lnTo>
                    <a:pt x="3960" y="1945"/>
                  </a:lnTo>
                  <a:lnTo>
                    <a:pt x="3981" y="1936"/>
                  </a:lnTo>
                  <a:lnTo>
                    <a:pt x="4006" y="1927"/>
                  </a:lnTo>
                  <a:lnTo>
                    <a:pt x="4028" y="1920"/>
                  </a:lnTo>
                  <a:lnTo>
                    <a:pt x="4056" y="1920"/>
                  </a:lnTo>
                  <a:lnTo>
                    <a:pt x="4091" y="1927"/>
                  </a:lnTo>
                  <a:lnTo>
                    <a:pt x="4116" y="1933"/>
                  </a:lnTo>
                  <a:lnTo>
                    <a:pt x="4141" y="1942"/>
                  </a:lnTo>
                  <a:lnTo>
                    <a:pt x="4166" y="1955"/>
                  </a:lnTo>
                  <a:lnTo>
                    <a:pt x="4191" y="1958"/>
                  </a:lnTo>
                  <a:lnTo>
                    <a:pt x="4209" y="1955"/>
                  </a:lnTo>
                  <a:lnTo>
                    <a:pt x="4234" y="1948"/>
                  </a:lnTo>
                  <a:lnTo>
                    <a:pt x="4259" y="1939"/>
                  </a:lnTo>
                  <a:lnTo>
                    <a:pt x="4278" y="1927"/>
                  </a:lnTo>
                  <a:lnTo>
                    <a:pt x="4281" y="1920"/>
                  </a:lnTo>
                  <a:lnTo>
                    <a:pt x="4288" y="1911"/>
                  </a:lnTo>
                  <a:lnTo>
                    <a:pt x="4291" y="1902"/>
                  </a:lnTo>
                  <a:lnTo>
                    <a:pt x="4297" y="1892"/>
                  </a:lnTo>
                  <a:lnTo>
                    <a:pt x="4300" y="1886"/>
                  </a:lnTo>
                  <a:lnTo>
                    <a:pt x="4306" y="1880"/>
                  </a:lnTo>
                  <a:lnTo>
                    <a:pt x="4322" y="1873"/>
                  </a:lnTo>
                  <a:lnTo>
                    <a:pt x="4344" y="1867"/>
                  </a:lnTo>
                  <a:lnTo>
                    <a:pt x="4359" y="1867"/>
                  </a:lnTo>
                  <a:lnTo>
                    <a:pt x="4378" y="1867"/>
                  </a:lnTo>
                  <a:lnTo>
                    <a:pt x="4397" y="1873"/>
                  </a:lnTo>
                  <a:lnTo>
                    <a:pt x="4412" y="1880"/>
                  </a:lnTo>
                  <a:lnTo>
                    <a:pt x="4419" y="1883"/>
                  </a:lnTo>
                  <a:lnTo>
                    <a:pt x="4428" y="1892"/>
                  </a:lnTo>
                  <a:lnTo>
                    <a:pt x="4434" y="1898"/>
                  </a:lnTo>
                  <a:lnTo>
                    <a:pt x="4444" y="1908"/>
                  </a:lnTo>
                  <a:lnTo>
                    <a:pt x="4450" y="1914"/>
                  </a:lnTo>
                  <a:lnTo>
                    <a:pt x="4456" y="1917"/>
                  </a:lnTo>
                  <a:lnTo>
                    <a:pt x="4475" y="1914"/>
                  </a:lnTo>
                  <a:lnTo>
                    <a:pt x="4497" y="1902"/>
                  </a:lnTo>
                  <a:lnTo>
                    <a:pt x="4512" y="1889"/>
                  </a:lnTo>
                  <a:lnTo>
                    <a:pt x="4519" y="1883"/>
                  </a:lnTo>
                  <a:lnTo>
                    <a:pt x="4522" y="1873"/>
                  </a:lnTo>
                  <a:lnTo>
                    <a:pt x="4525" y="1864"/>
                  </a:lnTo>
                  <a:lnTo>
                    <a:pt x="4528" y="1855"/>
                  </a:lnTo>
                  <a:lnTo>
                    <a:pt x="4534" y="1845"/>
                  </a:lnTo>
                  <a:lnTo>
                    <a:pt x="4537" y="1842"/>
                  </a:lnTo>
                  <a:lnTo>
                    <a:pt x="4547" y="1839"/>
                  </a:lnTo>
                  <a:lnTo>
                    <a:pt x="4556" y="1839"/>
                  </a:lnTo>
                  <a:lnTo>
                    <a:pt x="4565" y="1842"/>
                  </a:lnTo>
                  <a:lnTo>
                    <a:pt x="4578" y="1842"/>
                  </a:lnTo>
                  <a:lnTo>
                    <a:pt x="4587" y="1845"/>
                  </a:lnTo>
                  <a:lnTo>
                    <a:pt x="4590" y="1855"/>
                  </a:lnTo>
                  <a:lnTo>
                    <a:pt x="4594" y="1864"/>
                  </a:lnTo>
                  <a:lnTo>
                    <a:pt x="4597" y="1873"/>
                  </a:lnTo>
                  <a:lnTo>
                    <a:pt x="4603" y="1880"/>
                  </a:lnTo>
                  <a:lnTo>
                    <a:pt x="4609" y="1886"/>
                  </a:lnTo>
                  <a:lnTo>
                    <a:pt x="4619" y="1892"/>
                  </a:lnTo>
                  <a:lnTo>
                    <a:pt x="4628" y="1895"/>
                  </a:lnTo>
                  <a:lnTo>
                    <a:pt x="4637" y="1898"/>
                  </a:lnTo>
                  <a:lnTo>
                    <a:pt x="4647" y="1898"/>
                  </a:lnTo>
                  <a:lnTo>
                    <a:pt x="4656" y="1898"/>
                  </a:lnTo>
                  <a:lnTo>
                    <a:pt x="4665" y="1898"/>
                  </a:lnTo>
                  <a:lnTo>
                    <a:pt x="4675" y="1898"/>
                  </a:lnTo>
                  <a:lnTo>
                    <a:pt x="4684" y="1898"/>
                  </a:lnTo>
                  <a:lnTo>
                    <a:pt x="4693" y="1902"/>
                  </a:lnTo>
                  <a:lnTo>
                    <a:pt x="4703" y="1908"/>
                  </a:lnTo>
                  <a:lnTo>
                    <a:pt x="4715" y="1911"/>
                  </a:lnTo>
                  <a:lnTo>
                    <a:pt x="4725" y="1917"/>
                  </a:lnTo>
                  <a:lnTo>
                    <a:pt x="4731" y="1927"/>
                  </a:lnTo>
                  <a:lnTo>
                    <a:pt x="4734" y="1942"/>
                  </a:lnTo>
                  <a:lnTo>
                    <a:pt x="4731" y="1967"/>
                  </a:lnTo>
                  <a:lnTo>
                    <a:pt x="4728" y="1989"/>
                  </a:lnTo>
                  <a:lnTo>
                    <a:pt x="4728" y="2008"/>
                  </a:lnTo>
                  <a:lnTo>
                    <a:pt x="4737" y="2033"/>
                  </a:lnTo>
                  <a:lnTo>
                    <a:pt x="4753" y="2061"/>
                  </a:lnTo>
                  <a:lnTo>
                    <a:pt x="4768" y="2080"/>
                  </a:lnTo>
                  <a:lnTo>
                    <a:pt x="4790" y="2089"/>
                  </a:lnTo>
                  <a:lnTo>
                    <a:pt x="4812" y="2098"/>
                  </a:lnTo>
                  <a:lnTo>
                    <a:pt x="4834" y="2105"/>
                  </a:lnTo>
                  <a:lnTo>
                    <a:pt x="4840" y="2111"/>
                  </a:lnTo>
                  <a:lnTo>
                    <a:pt x="4850" y="2114"/>
                  </a:lnTo>
                  <a:lnTo>
                    <a:pt x="4859" y="2120"/>
                  </a:lnTo>
                  <a:lnTo>
                    <a:pt x="4865" y="2126"/>
                  </a:lnTo>
                  <a:lnTo>
                    <a:pt x="4871" y="2133"/>
                  </a:lnTo>
                  <a:lnTo>
                    <a:pt x="4878" y="2154"/>
                  </a:lnTo>
                  <a:lnTo>
                    <a:pt x="4878" y="2186"/>
                  </a:lnTo>
                  <a:lnTo>
                    <a:pt x="4875" y="2217"/>
                  </a:lnTo>
                  <a:lnTo>
                    <a:pt x="4871" y="2239"/>
                  </a:lnTo>
                  <a:lnTo>
                    <a:pt x="4862" y="2267"/>
                  </a:lnTo>
                  <a:lnTo>
                    <a:pt x="4850" y="2298"/>
                  </a:lnTo>
                  <a:lnTo>
                    <a:pt x="4834" y="2323"/>
                  </a:lnTo>
                  <a:lnTo>
                    <a:pt x="4828" y="2329"/>
                  </a:lnTo>
                  <a:lnTo>
                    <a:pt x="4818" y="2336"/>
                  </a:lnTo>
                  <a:lnTo>
                    <a:pt x="4809" y="2342"/>
                  </a:lnTo>
                  <a:lnTo>
                    <a:pt x="4800" y="2348"/>
                  </a:lnTo>
                  <a:lnTo>
                    <a:pt x="4790" y="2351"/>
                  </a:lnTo>
                  <a:lnTo>
                    <a:pt x="4784" y="2357"/>
                  </a:lnTo>
                  <a:lnTo>
                    <a:pt x="4781" y="2373"/>
                  </a:lnTo>
                  <a:lnTo>
                    <a:pt x="4781" y="2392"/>
                  </a:lnTo>
                  <a:lnTo>
                    <a:pt x="4781" y="2411"/>
                  </a:lnTo>
                  <a:lnTo>
                    <a:pt x="4778" y="2426"/>
                  </a:lnTo>
                  <a:lnTo>
                    <a:pt x="4765" y="2435"/>
                  </a:lnTo>
                  <a:lnTo>
                    <a:pt x="4743" y="2439"/>
                  </a:lnTo>
                  <a:lnTo>
                    <a:pt x="4722" y="2445"/>
                  </a:lnTo>
                  <a:lnTo>
                    <a:pt x="4700" y="2448"/>
                  </a:lnTo>
                  <a:lnTo>
                    <a:pt x="4687" y="2457"/>
                  </a:lnTo>
                  <a:lnTo>
                    <a:pt x="4684" y="2473"/>
                  </a:lnTo>
                  <a:lnTo>
                    <a:pt x="4681" y="2492"/>
                  </a:lnTo>
                  <a:lnTo>
                    <a:pt x="4684" y="2510"/>
                  </a:lnTo>
                  <a:lnTo>
                    <a:pt x="4687" y="2526"/>
                  </a:lnTo>
                  <a:lnTo>
                    <a:pt x="4690" y="2532"/>
                  </a:lnTo>
                  <a:lnTo>
                    <a:pt x="4697" y="2542"/>
                  </a:lnTo>
                  <a:lnTo>
                    <a:pt x="4703" y="2548"/>
                  </a:lnTo>
                  <a:lnTo>
                    <a:pt x="4709" y="2557"/>
                  </a:lnTo>
                  <a:lnTo>
                    <a:pt x="4715" y="2564"/>
                  </a:lnTo>
                  <a:lnTo>
                    <a:pt x="4718" y="2573"/>
                  </a:lnTo>
                  <a:lnTo>
                    <a:pt x="4718" y="2595"/>
                  </a:lnTo>
                  <a:lnTo>
                    <a:pt x="4712" y="2623"/>
                  </a:lnTo>
                  <a:lnTo>
                    <a:pt x="4706" y="2645"/>
                  </a:lnTo>
                  <a:lnTo>
                    <a:pt x="4700" y="2663"/>
                  </a:lnTo>
                  <a:lnTo>
                    <a:pt x="4690" y="2685"/>
                  </a:lnTo>
                  <a:lnTo>
                    <a:pt x="4681" y="2701"/>
                  </a:lnTo>
                  <a:lnTo>
                    <a:pt x="4675" y="2704"/>
                  </a:lnTo>
                  <a:lnTo>
                    <a:pt x="4665" y="2710"/>
                  </a:lnTo>
                  <a:lnTo>
                    <a:pt x="4656" y="2717"/>
                  </a:lnTo>
                  <a:lnTo>
                    <a:pt x="4650" y="2723"/>
                  </a:lnTo>
                  <a:lnTo>
                    <a:pt x="4647" y="2729"/>
                  </a:lnTo>
                  <a:lnTo>
                    <a:pt x="4644" y="2738"/>
                  </a:lnTo>
                  <a:lnTo>
                    <a:pt x="4640" y="2748"/>
                  </a:lnTo>
                  <a:lnTo>
                    <a:pt x="4637" y="2757"/>
                  </a:lnTo>
                  <a:lnTo>
                    <a:pt x="4634" y="2766"/>
                  </a:lnTo>
                  <a:lnTo>
                    <a:pt x="4631" y="2773"/>
                  </a:lnTo>
                  <a:lnTo>
                    <a:pt x="4609" y="2782"/>
                  </a:lnTo>
                  <a:lnTo>
                    <a:pt x="4584" y="2788"/>
                  </a:lnTo>
                  <a:lnTo>
                    <a:pt x="4562" y="2788"/>
                  </a:lnTo>
                  <a:lnTo>
                    <a:pt x="4556" y="2785"/>
                  </a:lnTo>
                  <a:lnTo>
                    <a:pt x="4550" y="2782"/>
                  </a:lnTo>
                  <a:lnTo>
                    <a:pt x="4540" y="2779"/>
                  </a:lnTo>
                  <a:lnTo>
                    <a:pt x="4534" y="2776"/>
                  </a:lnTo>
                  <a:lnTo>
                    <a:pt x="4528" y="2773"/>
                  </a:lnTo>
                  <a:lnTo>
                    <a:pt x="4506" y="2776"/>
                  </a:lnTo>
                  <a:lnTo>
                    <a:pt x="4478" y="2782"/>
                  </a:lnTo>
                  <a:lnTo>
                    <a:pt x="4456" y="2795"/>
                  </a:lnTo>
                  <a:lnTo>
                    <a:pt x="4444" y="2813"/>
                  </a:lnTo>
                  <a:lnTo>
                    <a:pt x="4434" y="2835"/>
                  </a:lnTo>
                  <a:lnTo>
                    <a:pt x="4428" y="2860"/>
                  </a:lnTo>
                  <a:lnTo>
                    <a:pt x="4434" y="2879"/>
                  </a:lnTo>
                  <a:lnTo>
                    <a:pt x="4444" y="2901"/>
                  </a:lnTo>
                  <a:lnTo>
                    <a:pt x="4459" y="2919"/>
                  </a:lnTo>
                  <a:lnTo>
                    <a:pt x="4472" y="2935"/>
                  </a:lnTo>
                  <a:lnTo>
                    <a:pt x="4487" y="2944"/>
                  </a:lnTo>
                  <a:lnTo>
                    <a:pt x="4512" y="2954"/>
                  </a:lnTo>
                  <a:lnTo>
                    <a:pt x="4534" y="2960"/>
                  </a:lnTo>
                  <a:lnTo>
                    <a:pt x="4550" y="2973"/>
                  </a:lnTo>
                  <a:lnTo>
                    <a:pt x="4559" y="2991"/>
                  </a:lnTo>
                  <a:lnTo>
                    <a:pt x="4565" y="3019"/>
                  </a:lnTo>
                  <a:lnTo>
                    <a:pt x="4569" y="3048"/>
                  </a:lnTo>
                  <a:lnTo>
                    <a:pt x="4572" y="3069"/>
                  </a:lnTo>
                  <a:lnTo>
                    <a:pt x="4572" y="3088"/>
                  </a:lnTo>
                  <a:lnTo>
                    <a:pt x="4572" y="3110"/>
                  </a:lnTo>
                  <a:lnTo>
                    <a:pt x="4569" y="3132"/>
                  </a:lnTo>
                  <a:lnTo>
                    <a:pt x="4572" y="3147"/>
                  </a:lnTo>
                  <a:lnTo>
                    <a:pt x="4578" y="3157"/>
                  </a:lnTo>
                  <a:lnTo>
                    <a:pt x="4587" y="3163"/>
                  </a:lnTo>
                  <a:lnTo>
                    <a:pt x="4597" y="3169"/>
                  </a:lnTo>
                  <a:lnTo>
                    <a:pt x="4606" y="3179"/>
                  </a:lnTo>
                  <a:lnTo>
                    <a:pt x="4612" y="3185"/>
                  </a:lnTo>
                  <a:lnTo>
                    <a:pt x="4619" y="3204"/>
                  </a:lnTo>
                  <a:lnTo>
                    <a:pt x="4622" y="3226"/>
                  </a:lnTo>
                  <a:lnTo>
                    <a:pt x="4622" y="3241"/>
                  </a:lnTo>
                  <a:lnTo>
                    <a:pt x="4609" y="3260"/>
                  </a:lnTo>
                  <a:lnTo>
                    <a:pt x="4590" y="3282"/>
                  </a:lnTo>
                  <a:lnTo>
                    <a:pt x="4572" y="3294"/>
                  </a:lnTo>
                  <a:lnTo>
                    <a:pt x="4553" y="3297"/>
                  </a:lnTo>
                  <a:lnTo>
                    <a:pt x="4531" y="3304"/>
                  </a:lnTo>
                  <a:lnTo>
                    <a:pt x="4515" y="3310"/>
                  </a:lnTo>
                  <a:lnTo>
                    <a:pt x="4509" y="3325"/>
                  </a:lnTo>
                  <a:lnTo>
                    <a:pt x="4506" y="3344"/>
                  </a:lnTo>
                  <a:lnTo>
                    <a:pt x="4506" y="3363"/>
                  </a:lnTo>
                  <a:lnTo>
                    <a:pt x="4512" y="3369"/>
                  </a:lnTo>
                  <a:lnTo>
                    <a:pt x="4519" y="3375"/>
                  </a:lnTo>
                  <a:lnTo>
                    <a:pt x="4528" y="3382"/>
                  </a:lnTo>
                  <a:lnTo>
                    <a:pt x="4534" y="3388"/>
                  </a:lnTo>
                  <a:lnTo>
                    <a:pt x="4544" y="3394"/>
                  </a:lnTo>
                  <a:lnTo>
                    <a:pt x="4547" y="3400"/>
                  </a:lnTo>
                  <a:lnTo>
                    <a:pt x="4550" y="3416"/>
                  </a:lnTo>
                  <a:lnTo>
                    <a:pt x="4550" y="3441"/>
                  </a:lnTo>
                  <a:lnTo>
                    <a:pt x="4547" y="3463"/>
                  </a:lnTo>
                  <a:lnTo>
                    <a:pt x="4547" y="3482"/>
                  </a:lnTo>
                  <a:lnTo>
                    <a:pt x="4559" y="3500"/>
                  </a:lnTo>
                  <a:lnTo>
                    <a:pt x="4575" y="3519"/>
                  </a:lnTo>
                  <a:lnTo>
                    <a:pt x="4584" y="3535"/>
                  </a:lnTo>
                  <a:lnTo>
                    <a:pt x="4587" y="3560"/>
                  </a:lnTo>
                  <a:lnTo>
                    <a:pt x="4587" y="3588"/>
                  </a:lnTo>
                  <a:lnTo>
                    <a:pt x="4581" y="3613"/>
                  </a:lnTo>
                  <a:lnTo>
                    <a:pt x="4575" y="3635"/>
                  </a:lnTo>
                  <a:lnTo>
                    <a:pt x="4559" y="3663"/>
                  </a:lnTo>
                  <a:lnTo>
                    <a:pt x="4547" y="3681"/>
                  </a:lnTo>
                  <a:lnTo>
                    <a:pt x="4540" y="3691"/>
                  </a:lnTo>
                  <a:lnTo>
                    <a:pt x="4531" y="3697"/>
                  </a:lnTo>
                  <a:lnTo>
                    <a:pt x="4522" y="3706"/>
                  </a:lnTo>
                  <a:lnTo>
                    <a:pt x="4512" y="3716"/>
                  </a:lnTo>
                  <a:lnTo>
                    <a:pt x="4506" y="3722"/>
                  </a:lnTo>
                  <a:lnTo>
                    <a:pt x="4503" y="3747"/>
                  </a:lnTo>
                  <a:lnTo>
                    <a:pt x="4503" y="3775"/>
                  </a:lnTo>
                  <a:lnTo>
                    <a:pt x="4506" y="3797"/>
                  </a:lnTo>
                  <a:lnTo>
                    <a:pt x="4515" y="3828"/>
                  </a:lnTo>
                  <a:lnTo>
                    <a:pt x="4531" y="3859"/>
                  </a:lnTo>
                  <a:lnTo>
                    <a:pt x="4547" y="3884"/>
                  </a:lnTo>
                  <a:lnTo>
                    <a:pt x="4569" y="3897"/>
                  </a:lnTo>
                  <a:lnTo>
                    <a:pt x="4597" y="3906"/>
                  </a:lnTo>
                  <a:lnTo>
                    <a:pt x="4619" y="3916"/>
                  </a:lnTo>
                  <a:lnTo>
                    <a:pt x="4634" y="3934"/>
                  </a:lnTo>
                  <a:lnTo>
                    <a:pt x="4650" y="3956"/>
                  </a:lnTo>
                  <a:lnTo>
                    <a:pt x="4659" y="3978"/>
                  </a:lnTo>
                  <a:lnTo>
                    <a:pt x="4665" y="4006"/>
                  </a:lnTo>
                  <a:lnTo>
                    <a:pt x="4668" y="4044"/>
                  </a:lnTo>
                  <a:lnTo>
                    <a:pt x="4675" y="4078"/>
                  </a:lnTo>
                  <a:lnTo>
                    <a:pt x="4684" y="4106"/>
                  </a:lnTo>
                  <a:lnTo>
                    <a:pt x="4690" y="4112"/>
                  </a:lnTo>
                  <a:lnTo>
                    <a:pt x="4700" y="4119"/>
                  </a:lnTo>
                  <a:lnTo>
                    <a:pt x="4709" y="4125"/>
                  </a:lnTo>
                  <a:lnTo>
                    <a:pt x="4718" y="4131"/>
                  </a:lnTo>
                  <a:lnTo>
                    <a:pt x="4728" y="4137"/>
                  </a:lnTo>
                  <a:lnTo>
                    <a:pt x="4734" y="4144"/>
                  </a:lnTo>
                  <a:lnTo>
                    <a:pt x="4740" y="4169"/>
                  </a:lnTo>
                  <a:lnTo>
                    <a:pt x="4743" y="4197"/>
                  </a:lnTo>
                  <a:lnTo>
                    <a:pt x="4747" y="4225"/>
                  </a:lnTo>
                  <a:lnTo>
                    <a:pt x="4747" y="4250"/>
                  </a:lnTo>
                  <a:lnTo>
                    <a:pt x="4740" y="4278"/>
                  </a:lnTo>
                  <a:lnTo>
                    <a:pt x="4731" y="4309"/>
                  </a:lnTo>
                  <a:lnTo>
                    <a:pt x="4725" y="4337"/>
                  </a:lnTo>
                  <a:lnTo>
                    <a:pt x="4725" y="4365"/>
                  </a:lnTo>
                  <a:lnTo>
                    <a:pt x="4731" y="4396"/>
                  </a:lnTo>
                  <a:lnTo>
                    <a:pt x="4737" y="4421"/>
                  </a:lnTo>
                  <a:lnTo>
                    <a:pt x="4759" y="4440"/>
                  </a:lnTo>
                  <a:lnTo>
                    <a:pt x="4787" y="4456"/>
                  </a:lnTo>
                  <a:lnTo>
                    <a:pt x="4809" y="4475"/>
                  </a:lnTo>
                  <a:lnTo>
                    <a:pt x="4825" y="4493"/>
                  </a:lnTo>
                  <a:lnTo>
                    <a:pt x="4840" y="4521"/>
                  </a:lnTo>
                  <a:lnTo>
                    <a:pt x="4846" y="4546"/>
                  </a:lnTo>
                  <a:lnTo>
                    <a:pt x="4846" y="4574"/>
                  </a:lnTo>
                  <a:lnTo>
                    <a:pt x="4843" y="4609"/>
                  </a:lnTo>
                  <a:lnTo>
                    <a:pt x="4834" y="4643"/>
                  </a:lnTo>
                  <a:lnTo>
                    <a:pt x="4828" y="4671"/>
                  </a:lnTo>
                  <a:lnTo>
                    <a:pt x="4818" y="4696"/>
                  </a:lnTo>
                  <a:lnTo>
                    <a:pt x="4803" y="4727"/>
                  </a:lnTo>
                  <a:lnTo>
                    <a:pt x="4797" y="4752"/>
                  </a:lnTo>
                  <a:lnTo>
                    <a:pt x="4793" y="4777"/>
                  </a:lnTo>
                  <a:lnTo>
                    <a:pt x="4797" y="4806"/>
                  </a:lnTo>
                  <a:lnTo>
                    <a:pt x="4800" y="4831"/>
                  </a:lnTo>
                  <a:lnTo>
                    <a:pt x="4806" y="4846"/>
                  </a:lnTo>
                  <a:lnTo>
                    <a:pt x="4815" y="4868"/>
                  </a:lnTo>
                  <a:lnTo>
                    <a:pt x="4822" y="4887"/>
                  </a:lnTo>
                  <a:lnTo>
                    <a:pt x="4825" y="4905"/>
                  </a:lnTo>
                  <a:lnTo>
                    <a:pt x="4822" y="4924"/>
                  </a:lnTo>
                  <a:lnTo>
                    <a:pt x="4815" y="4946"/>
                  </a:lnTo>
                  <a:lnTo>
                    <a:pt x="4803" y="4971"/>
                  </a:lnTo>
                  <a:lnTo>
                    <a:pt x="4793" y="4987"/>
                  </a:lnTo>
                  <a:lnTo>
                    <a:pt x="4784" y="5005"/>
                  </a:lnTo>
                  <a:lnTo>
                    <a:pt x="4772" y="5024"/>
                  </a:lnTo>
                  <a:lnTo>
                    <a:pt x="4759" y="5043"/>
                  </a:lnTo>
                  <a:lnTo>
                    <a:pt x="4750" y="5062"/>
                  </a:lnTo>
                  <a:lnTo>
                    <a:pt x="4750" y="5071"/>
                  </a:lnTo>
                  <a:lnTo>
                    <a:pt x="4750" y="5083"/>
                  </a:lnTo>
                  <a:lnTo>
                    <a:pt x="4753" y="5096"/>
                  </a:lnTo>
                  <a:lnTo>
                    <a:pt x="4740" y="5096"/>
                  </a:lnTo>
                  <a:lnTo>
                    <a:pt x="4728" y="5093"/>
                  </a:lnTo>
                  <a:lnTo>
                    <a:pt x="4718" y="5090"/>
                  </a:lnTo>
                  <a:lnTo>
                    <a:pt x="4700" y="5083"/>
                  </a:lnTo>
                  <a:lnTo>
                    <a:pt x="4678" y="5077"/>
                  </a:lnTo>
                  <a:lnTo>
                    <a:pt x="4659" y="5068"/>
                  </a:lnTo>
                  <a:lnTo>
                    <a:pt x="4640" y="5068"/>
                  </a:lnTo>
                  <a:lnTo>
                    <a:pt x="4634" y="5071"/>
                  </a:lnTo>
                  <a:lnTo>
                    <a:pt x="4628" y="5077"/>
                  </a:lnTo>
                  <a:lnTo>
                    <a:pt x="4619" y="5087"/>
                  </a:lnTo>
                  <a:lnTo>
                    <a:pt x="4612" y="5096"/>
                  </a:lnTo>
                  <a:lnTo>
                    <a:pt x="4606" y="5102"/>
                  </a:lnTo>
                  <a:lnTo>
                    <a:pt x="4600" y="5108"/>
                  </a:lnTo>
                  <a:lnTo>
                    <a:pt x="4581" y="5118"/>
                  </a:lnTo>
                  <a:lnTo>
                    <a:pt x="4556" y="5127"/>
                  </a:lnTo>
                  <a:lnTo>
                    <a:pt x="4531" y="5137"/>
                  </a:lnTo>
                  <a:lnTo>
                    <a:pt x="4512" y="5146"/>
                  </a:lnTo>
                  <a:lnTo>
                    <a:pt x="4506" y="5165"/>
                  </a:lnTo>
                  <a:lnTo>
                    <a:pt x="4500" y="5186"/>
                  </a:lnTo>
                  <a:lnTo>
                    <a:pt x="4494" y="5205"/>
                  </a:lnTo>
                  <a:lnTo>
                    <a:pt x="4484" y="5215"/>
                  </a:lnTo>
                  <a:lnTo>
                    <a:pt x="4475" y="5221"/>
                  </a:lnTo>
                  <a:lnTo>
                    <a:pt x="4466" y="5230"/>
                  </a:lnTo>
                  <a:lnTo>
                    <a:pt x="4453" y="5236"/>
                  </a:lnTo>
                  <a:lnTo>
                    <a:pt x="4444" y="5240"/>
                  </a:lnTo>
                  <a:lnTo>
                    <a:pt x="4428" y="5243"/>
                  </a:lnTo>
                  <a:lnTo>
                    <a:pt x="4409" y="5240"/>
                  </a:lnTo>
                  <a:lnTo>
                    <a:pt x="4387" y="5236"/>
                  </a:lnTo>
                  <a:lnTo>
                    <a:pt x="4366" y="5233"/>
                  </a:lnTo>
                  <a:lnTo>
                    <a:pt x="4347" y="5233"/>
                  </a:lnTo>
                  <a:lnTo>
                    <a:pt x="4337" y="5240"/>
                  </a:lnTo>
                  <a:lnTo>
                    <a:pt x="4334" y="5246"/>
                  </a:lnTo>
                  <a:lnTo>
                    <a:pt x="4337" y="5252"/>
                  </a:lnTo>
                  <a:lnTo>
                    <a:pt x="4341" y="5258"/>
                  </a:lnTo>
                  <a:lnTo>
                    <a:pt x="4347" y="5265"/>
                  </a:lnTo>
                  <a:lnTo>
                    <a:pt x="4350" y="5271"/>
                  </a:lnTo>
                  <a:lnTo>
                    <a:pt x="4353" y="5277"/>
                  </a:lnTo>
                  <a:lnTo>
                    <a:pt x="4356" y="5283"/>
                  </a:lnTo>
                  <a:lnTo>
                    <a:pt x="4356" y="5286"/>
                  </a:lnTo>
                  <a:lnTo>
                    <a:pt x="4350" y="5290"/>
                  </a:lnTo>
                  <a:lnTo>
                    <a:pt x="4344" y="5293"/>
                  </a:lnTo>
                  <a:lnTo>
                    <a:pt x="4337" y="5293"/>
                  </a:lnTo>
                  <a:lnTo>
                    <a:pt x="4328" y="5290"/>
                  </a:lnTo>
                  <a:lnTo>
                    <a:pt x="4319" y="5290"/>
                  </a:lnTo>
                  <a:lnTo>
                    <a:pt x="4313" y="5286"/>
                  </a:lnTo>
                  <a:lnTo>
                    <a:pt x="4306" y="5286"/>
                  </a:lnTo>
                  <a:lnTo>
                    <a:pt x="4284" y="5286"/>
                  </a:lnTo>
                  <a:lnTo>
                    <a:pt x="4256" y="5286"/>
                  </a:lnTo>
                  <a:lnTo>
                    <a:pt x="4234" y="5286"/>
                  </a:lnTo>
                  <a:lnTo>
                    <a:pt x="4216" y="5296"/>
                  </a:lnTo>
                  <a:lnTo>
                    <a:pt x="4194" y="5311"/>
                  </a:lnTo>
                  <a:lnTo>
                    <a:pt x="4175" y="5324"/>
                  </a:lnTo>
                  <a:lnTo>
                    <a:pt x="4163" y="5324"/>
                  </a:lnTo>
                  <a:lnTo>
                    <a:pt x="4144" y="5321"/>
                  </a:lnTo>
                  <a:lnTo>
                    <a:pt x="4128" y="5318"/>
                  </a:lnTo>
                  <a:lnTo>
                    <a:pt x="4116" y="5324"/>
                  </a:lnTo>
                  <a:lnTo>
                    <a:pt x="4116" y="5333"/>
                  </a:lnTo>
                  <a:lnTo>
                    <a:pt x="4116" y="5349"/>
                  </a:lnTo>
                  <a:lnTo>
                    <a:pt x="4119" y="5364"/>
                  </a:lnTo>
                  <a:lnTo>
                    <a:pt x="4122" y="5377"/>
                  </a:lnTo>
                  <a:lnTo>
                    <a:pt x="4116" y="5383"/>
                  </a:lnTo>
                  <a:lnTo>
                    <a:pt x="4097" y="5389"/>
                  </a:lnTo>
                  <a:lnTo>
                    <a:pt x="4069" y="5399"/>
                  </a:lnTo>
                  <a:lnTo>
                    <a:pt x="4050" y="5411"/>
                  </a:lnTo>
                  <a:lnTo>
                    <a:pt x="4047" y="5421"/>
                  </a:lnTo>
                  <a:lnTo>
                    <a:pt x="4041" y="5430"/>
                  </a:lnTo>
                  <a:lnTo>
                    <a:pt x="4038" y="5439"/>
                  </a:lnTo>
                  <a:lnTo>
                    <a:pt x="4035" y="5449"/>
                  </a:lnTo>
                  <a:lnTo>
                    <a:pt x="4035" y="5458"/>
                  </a:lnTo>
                  <a:lnTo>
                    <a:pt x="4038" y="5464"/>
                  </a:lnTo>
                  <a:lnTo>
                    <a:pt x="4044" y="5471"/>
                  </a:lnTo>
                  <a:lnTo>
                    <a:pt x="4047" y="5477"/>
                  </a:lnTo>
                  <a:lnTo>
                    <a:pt x="4050" y="5480"/>
                  </a:lnTo>
                  <a:lnTo>
                    <a:pt x="4050" y="5486"/>
                  </a:lnTo>
                  <a:lnTo>
                    <a:pt x="4044" y="5496"/>
                  </a:lnTo>
                  <a:lnTo>
                    <a:pt x="4041" y="5502"/>
                  </a:lnTo>
                  <a:lnTo>
                    <a:pt x="4038" y="5511"/>
                  </a:lnTo>
                  <a:lnTo>
                    <a:pt x="4035" y="5517"/>
                  </a:lnTo>
                  <a:lnTo>
                    <a:pt x="4038" y="5524"/>
                  </a:lnTo>
                  <a:lnTo>
                    <a:pt x="4041" y="5533"/>
                  </a:lnTo>
                  <a:lnTo>
                    <a:pt x="4047" y="5539"/>
                  </a:lnTo>
                  <a:lnTo>
                    <a:pt x="4053" y="5549"/>
                  </a:lnTo>
                  <a:lnTo>
                    <a:pt x="4060" y="5555"/>
                  </a:lnTo>
                  <a:lnTo>
                    <a:pt x="4063" y="5564"/>
                  </a:lnTo>
                  <a:lnTo>
                    <a:pt x="4069" y="5577"/>
                  </a:lnTo>
                  <a:lnTo>
                    <a:pt x="4078" y="5596"/>
                  </a:lnTo>
                  <a:lnTo>
                    <a:pt x="4085" y="5614"/>
                  </a:lnTo>
                  <a:lnTo>
                    <a:pt x="4088" y="5633"/>
                  </a:lnTo>
                  <a:lnTo>
                    <a:pt x="4085" y="5646"/>
                  </a:lnTo>
                  <a:lnTo>
                    <a:pt x="4081" y="5646"/>
                  </a:lnTo>
                  <a:lnTo>
                    <a:pt x="4075" y="5646"/>
                  </a:lnTo>
                  <a:lnTo>
                    <a:pt x="4069" y="5646"/>
                  </a:lnTo>
                  <a:lnTo>
                    <a:pt x="4063" y="5646"/>
                  </a:lnTo>
                  <a:lnTo>
                    <a:pt x="4060" y="5646"/>
                  </a:lnTo>
                  <a:lnTo>
                    <a:pt x="4044" y="5661"/>
                  </a:lnTo>
                  <a:lnTo>
                    <a:pt x="4028" y="5683"/>
                  </a:lnTo>
                  <a:lnTo>
                    <a:pt x="4016" y="5699"/>
                  </a:lnTo>
                  <a:lnTo>
                    <a:pt x="3988" y="5708"/>
                  </a:lnTo>
                  <a:lnTo>
                    <a:pt x="3950" y="5714"/>
                  </a:lnTo>
                  <a:lnTo>
                    <a:pt x="3916" y="5717"/>
                  </a:lnTo>
                  <a:lnTo>
                    <a:pt x="3885" y="5714"/>
                  </a:lnTo>
                  <a:lnTo>
                    <a:pt x="3869" y="5708"/>
                  </a:lnTo>
                  <a:lnTo>
                    <a:pt x="3853" y="5695"/>
                  </a:lnTo>
                  <a:lnTo>
                    <a:pt x="3838" y="5686"/>
                  </a:lnTo>
                  <a:lnTo>
                    <a:pt x="3822" y="5680"/>
                  </a:lnTo>
                  <a:lnTo>
                    <a:pt x="3804" y="5686"/>
                  </a:lnTo>
                  <a:lnTo>
                    <a:pt x="3785" y="5702"/>
                  </a:lnTo>
                  <a:lnTo>
                    <a:pt x="3766" y="5714"/>
                  </a:lnTo>
                  <a:lnTo>
                    <a:pt x="3760" y="5717"/>
                  </a:lnTo>
                  <a:lnTo>
                    <a:pt x="3750" y="5724"/>
                  </a:lnTo>
                  <a:lnTo>
                    <a:pt x="3741" y="5730"/>
                  </a:lnTo>
                  <a:lnTo>
                    <a:pt x="3735" y="5736"/>
                  </a:lnTo>
                  <a:lnTo>
                    <a:pt x="3725" y="5742"/>
                  </a:lnTo>
                  <a:lnTo>
                    <a:pt x="3700" y="5755"/>
                  </a:lnTo>
                  <a:lnTo>
                    <a:pt x="3669" y="5770"/>
                  </a:lnTo>
                  <a:lnTo>
                    <a:pt x="3638" y="5786"/>
                  </a:lnTo>
                  <a:lnTo>
                    <a:pt x="3610" y="5805"/>
                  </a:lnTo>
                  <a:lnTo>
                    <a:pt x="3591" y="5823"/>
                  </a:lnTo>
                  <a:lnTo>
                    <a:pt x="3588" y="5839"/>
                  </a:lnTo>
                  <a:lnTo>
                    <a:pt x="3591" y="5858"/>
                  </a:lnTo>
                  <a:lnTo>
                    <a:pt x="3594" y="5877"/>
                  </a:lnTo>
                  <a:lnTo>
                    <a:pt x="3591" y="5889"/>
                  </a:lnTo>
                  <a:lnTo>
                    <a:pt x="3579" y="5898"/>
                  </a:lnTo>
                  <a:lnTo>
                    <a:pt x="3560" y="5908"/>
                  </a:lnTo>
                  <a:lnTo>
                    <a:pt x="3541" y="5914"/>
                  </a:lnTo>
                  <a:lnTo>
                    <a:pt x="3529" y="5923"/>
                  </a:lnTo>
                  <a:lnTo>
                    <a:pt x="3497" y="5920"/>
                  </a:lnTo>
                  <a:lnTo>
                    <a:pt x="3469" y="5923"/>
                  </a:lnTo>
                  <a:lnTo>
                    <a:pt x="3448" y="5927"/>
                  </a:lnTo>
                  <a:lnTo>
                    <a:pt x="3441" y="5930"/>
                  </a:lnTo>
                  <a:lnTo>
                    <a:pt x="3438" y="5939"/>
                  </a:lnTo>
                  <a:lnTo>
                    <a:pt x="3432" y="5945"/>
                  </a:lnTo>
                  <a:lnTo>
                    <a:pt x="3429" y="5955"/>
                  </a:lnTo>
                  <a:lnTo>
                    <a:pt x="3423" y="5964"/>
                  </a:lnTo>
                  <a:lnTo>
                    <a:pt x="3419" y="5973"/>
                  </a:lnTo>
                  <a:lnTo>
                    <a:pt x="3413" y="5977"/>
                  </a:lnTo>
                  <a:lnTo>
                    <a:pt x="3385" y="5989"/>
                  </a:lnTo>
                  <a:lnTo>
                    <a:pt x="3348" y="5998"/>
                  </a:lnTo>
                  <a:lnTo>
                    <a:pt x="3307" y="6005"/>
                  </a:lnTo>
                  <a:lnTo>
                    <a:pt x="3266" y="6005"/>
                  </a:lnTo>
                  <a:lnTo>
                    <a:pt x="3238" y="5998"/>
                  </a:lnTo>
                  <a:lnTo>
                    <a:pt x="3229" y="5995"/>
                  </a:lnTo>
                  <a:lnTo>
                    <a:pt x="3223" y="5986"/>
                  </a:lnTo>
                  <a:lnTo>
                    <a:pt x="3213" y="5977"/>
                  </a:lnTo>
                  <a:lnTo>
                    <a:pt x="3207" y="5970"/>
                  </a:lnTo>
                  <a:lnTo>
                    <a:pt x="3198" y="5964"/>
                  </a:lnTo>
                  <a:lnTo>
                    <a:pt x="3173" y="5961"/>
                  </a:lnTo>
                  <a:lnTo>
                    <a:pt x="3138" y="5961"/>
                  </a:lnTo>
                  <a:lnTo>
                    <a:pt x="3104" y="5964"/>
                  </a:lnTo>
                  <a:lnTo>
                    <a:pt x="3076" y="5964"/>
                  </a:lnTo>
                  <a:lnTo>
                    <a:pt x="3054" y="5958"/>
                  </a:lnTo>
                  <a:lnTo>
                    <a:pt x="3029" y="5945"/>
                  </a:lnTo>
                  <a:lnTo>
                    <a:pt x="3001" y="5933"/>
                  </a:lnTo>
                  <a:lnTo>
                    <a:pt x="2979" y="5927"/>
                  </a:lnTo>
                  <a:lnTo>
                    <a:pt x="2951" y="5923"/>
                  </a:lnTo>
                  <a:lnTo>
                    <a:pt x="2917" y="5923"/>
                  </a:lnTo>
                  <a:lnTo>
                    <a:pt x="2889" y="5927"/>
                  </a:lnTo>
                  <a:lnTo>
                    <a:pt x="2870" y="5936"/>
                  </a:lnTo>
                  <a:lnTo>
                    <a:pt x="2848" y="5948"/>
                  </a:lnTo>
                  <a:lnTo>
                    <a:pt x="2826" y="5961"/>
                  </a:lnTo>
                  <a:lnTo>
                    <a:pt x="2807" y="5964"/>
                  </a:lnTo>
                  <a:lnTo>
                    <a:pt x="2792" y="5955"/>
                  </a:lnTo>
                  <a:lnTo>
                    <a:pt x="2773" y="5933"/>
                  </a:lnTo>
                  <a:lnTo>
                    <a:pt x="2757" y="5914"/>
                  </a:lnTo>
                  <a:lnTo>
                    <a:pt x="2742" y="5902"/>
                  </a:lnTo>
                  <a:lnTo>
                    <a:pt x="2726" y="5895"/>
                  </a:lnTo>
                  <a:lnTo>
                    <a:pt x="2707" y="5892"/>
                  </a:lnTo>
                  <a:lnTo>
                    <a:pt x="2689" y="5895"/>
                  </a:lnTo>
                  <a:lnTo>
                    <a:pt x="2676" y="5902"/>
                  </a:lnTo>
                  <a:lnTo>
                    <a:pt x="2673" y="5917"/>
                  </a:lnTo>
                  <a:lnTo>
                    <a:pt x="2679" y="5936"/>
                  </a:lnTo>
                  <a:lnTo>
                    <a:pt x="2689" y="5961"/>
                  </a:lnTo>
                  <a:lnTo>
                    <a:pt x="2698" y="5983"/>
                  </a:lnTo>
                  <a:lnTo>
                    <a:pt x="2701" y="5998"/>
                  </a:lnTo>
                  <a:lnTo>
                    <a:pt x="2698" y="6008"/>
                  </a:lnTo>
                  <a:lnTo>
                    <a:pt x="2695" y="6017"/>
                  </a:lnTo>
                  <a:lnTo>
                    <a:pt x="2692" y="6026"/>
                  </a:lnTo>
                  <a:lnTo>
                    <a:pt x="2689" y="6036"/>
                  </a:lnTo>
                  <a:lnTo>
                    <a:pt x="2682" y="6042"/>
                  </a:lnTo>
                  <a:lnTo>
                    <a:pt x="2676" y="6045"/>
                  </a:lnTo>
                  <a:lnTo>
                    <a:pt x="2664" y="6039"/>
                  </a:lnTo>
                  <a:lnTo>
                    <a:pt x="2651" y="6020"/>
                  </a:lnTo>
                  <a:lnTo>
                    <a:pt x="2642" y="5998"/>
                  </a:lnTo>
                  <a:lnTo>
                    <a:pt x="2629" y="5989"/>
                  </a:lnTo>
                  <a:lnTo>
                    <a:pt x="2608" y="5989"/>
                  </a:lnTo>
                  <a:lnTo>
                    <a:pt x="2583" y="5995"/>
                  </a:lnTo>
                  <a:lnTo>
                    <a:pt x="2558" y="6005"/>
                  </a:lnTo>
                  <a:lnTo>
                    <a:pt x="2542" y="6017"/>
                  </a:lnTo>
                  <a:lnTo>
                    <a:pt x="2542" y="6023"/>
                  </a:lnTo>
                  <a:lnTo>
                    <a:pt x="2542" y="6030"/>
                  </a:lnTo>
                  <a:lnTo>
                    <a:pt x="2542" y="6039"/>
                  </a:lnTo>
                  <a:lnTo>
                    <a:pt x="2545" y="6045"/>
                  </a:lnTo>
                  <a:lnTo>
                    <a:pt x="2545" y="6055"/>
                  </a:lnTo>
                  <a:lnTo>
                    <a:pt x="2545" y="6061"/>
                  </a:lnTo>
                  <a:lnTo>
                    <a:pt x="2542" y="6064"/>
                  </a:lnTo>
                  <a:lnTo>
                    <a:pt x="2526" y="6073"/>
                  </a:lnTo>
                  <a:lnTo>
                    <a:pt x="2501" y="6076"/>
                  </a:lnTo>
                  <a:lnTo>
                    <a:pt x="2476" y="6073"/>
                  </a:lnTo>
                  <a:lnTo>
                    <a:pt x="2458" y="6064"/>
                  </a:lnTo>
                  <a:lnTo>
                    <a:pt x="2454" y="6051"/>
                  </a:lnTo>
                  <a:lnTo>
                    <a:pt x="2454" y="6036"/>
                  </a:lnTo>
                  <a:lnTo>
                    <a:pt x="2461" y="6014"/>
                  </a:lnTo>
                  <a:lnTo>
                    <a:pt x="2461" y="5995"/>
                  </a:lnTo>
                  <a:lnTo>
                    <a:pt x="2458" y="5983"/>
                  </a:lnTo>
                  <a:lnTo>
                    <a:pt x="2442" y="5973"/>
                  </a:lnTo>
                  <a:lnTo>
                    <a:pt x="2420" y="5967"/>
                  </a:lnTo>
                  <a:lnTo>
                    <a:pt x="2401" y="5964"/>
                  </a:lnTo>
                  <a:lnTo>
                    <a:pt x="2380" y="5964"/>
                  </a:lnTo>
                  <a:lnTo>
                    <a:pt x="2358" y="5961"/>
                  </a:lnTo>
                  <a:lnTo>
                    <a:pt x="2333" y="5961"/>
                  </a:lnTo>
                  <a:lnTo>
                    <a:pt x="2314" y="5964"/>
                  </a:lnTo>
                  <a:lnTo>
                    <a:pt x="2292" y="5980"/>
                  </a:lnTo>
                  <a:lnTo>
                    <a:pt x="2270" y="5998"/>
                  </a:lnTo>
                  <a:lnTo>
                    <a:pt x="2255" y="6017"/>
                  </a:lnTo>
                  <a:lnTo>
                    <a:pt x="2255" y="6023"/>
                  </a:lnTo>
                  <a:lnTo>
                    <a:pt x="2255" y="6033"/>
                  </a:lnTo>
                  <a:lnTo>
                    <a:pt x="2255" y="6042"/>
                  </a:lnTo>
                  <a:lnTo>
                    <a:pt x="2258" y="6051"/>
                  </a:lnTo>
                  <a:lnTo>
                    <a:pt x="2258" y="6058"/>
                  </a:lnTo>
                  <a:lnTo>
                    <a:pt x="2255" y="6064"/>
                  </a:lnTo>
                  <a:lnTo>
                    <a:pt x="2239" y="6080"/>
                  </a:lnTo>
                  <a:lnTo>
                    <a:pt x="2214" y="6092"/>
                  </a:lnTo>
                  <a:lnTo>
                    <a:pt x="2189" y="6101"/>
                  </a:lnTo>
                  <a:lnTo>
                    <a:pt x="2167" y="6111"/>
                  </a:lnTo>
                  <a:lnTo>
                    <a:pt x="2152" y="6120"/>
                  </a:lnTo>
                  <a:lnTo>
                    <a:pt x="2136" y="6130"/>
                  </a:lnTo>
                  <a:lnTo>
                    <a:pt x="2117" y="6136"/>
                  </a:lnTo>
                  <a:lnTo>
                    <a:pt x="2102" y="6133"/>
                  </a:lnTo>
                  <a:lnTo>
                    <a:pt x="2092" y="6120"/>
                  </a:lnTo>
                  <a:lnTo>
                    <a:pt x="2086" y="6098"/>
                  </a:lnTo>
                  <a:lnTo>
                    <a:pt x="2083" y="6073"/>
                  </a:lnTo>
                  <a:lnTo>
                    <a:pt x="2077" y="6058"/>
                  </a:lnTo>
                  <a:lnTo>
                    <a:pt x="2061" y="6045"/>
                  </a:lnTo>
                  <a:lnTo>
                    <a:pt x="2042" y="6033"/>
                  </a:lnTo>
                  <a:lnTo>
                    <a:pt x="2020" y="6020"/>
                  </a:lnTo>
                  <a:lnTo>
                    <a:pt x="2002" y="6017"/>
                  </a:lnTo>
                  <a:lnTo>
                    <a:pt x="1995" y="6020"/>
                  </a:lnTo>
                  <a:lnTo>
                    <a:pt x="1986" y="6023"/>
                  </a:lnTo>
                  <a:lnTo>
                    <a:pt x="1977" y="6030"/>
                  </a:lnTo>
                  <a:lnTo>
                    <a:pt x="1967" y="6036"/>
                  </a:lnTo>
                  <a:lnTo>
                    <a:pt x="1961" y="6042"/>
                  </a:lnTo>
                  <a:lnTo>
                    <a:pt x="1955" y="6048"/>
                  </a:lnTo>
                  <a:lnTo>
                    <a:pt x="1952" y="6058"/>
                  </a:lnTo>
                  <a:lnTo>
                    <a:pt x="1949" y="6067"/>
                  </a:lnTo>
                  <a:lnTo>
                    <a:pt x="1945" y="6076"/>
                  </a:lnTo>
                  <a:lnTo>
                    <a:pt x="1942" y="6086"/>
                  </a:lnTo>
                  <a:lnTo>
                    <a:pt x="1936" y="6092"/>
                  </a:lnTo>
                  <a:lnTo>
                    <a:pt x="1917" y="6098"/>
                  </a:lnTo>
                  <a:lnTo>
                    <a:pt x="1889" y="6101"/>
                  </a:lnTo>
                  <a:lnTo>
                    <a:pt x="1864" y="6101"/>
                  </a:lnTo>
                  <a:lnTo>
                    <a:pt x="1842" y="6095"/>
                  </a:lnTo>
                  <a:lnTo>
                    <a:pt x="1833" y="6092"/>
                  </a:lnTo>
                  <a:lnTo>
                    <a:pt x="1821" y="6083"/>
                  </a:lnTo>
                  <a:lnTo>
                    <a:pt x="1811" y="6073"/>
                  </a:lnTo>
                  <a:lnTo>
                    <a:pt x="1802" y="6064"/>
                  </a:lnTo>
                  <a:lnTo>
                    <a:pt x="1796" y="6058"/>
                  </a:lnTo>
                  <a:lnTo>
                    <a:pt x="1786" y="6051"/>
                  </a:lnTo>
                  <a:lnTo>
                    <a:pt x="1774" y="6042"/>
                  </a:lnTo>
                  <a:lnTo>
                    <a:pt x="1764" y="6036"/>
                  </a:lnTo>
                  <a:lnTo>
                    <a:pt x="1758" y="6030"/>
                  </a:lnTo>
                  <a:lnTo>
                    <a:pt x="1752" y="6023"/>
                  </a:lnTo>
                  <a:lnTo>
                    <a:pt x="1749" y="6017"/>
                  </a:lnTo>
                  <a:lnTo>
                    <a:pt x="1755" y="5998"/>
                  </a:lnTo>
                  <a:lnTo>
                    <a:pt x="1771" y="5977"/>
                  </a:lnTo>
                  <a:lnTo>
                    <a:pt x="1786" y="5958"/>
                  </a:lnTo>
                  <a:lnTo>
                    <a:pt x="1796" y="5939"/>
                  </a:lnTo>
                  <a:lnTo>
                    <a:pt x="1792" y="5930"/>
                  </a:lnTo>
                  <a:lnTo>
                    <a:pt x="1786" y="5923"/>
                  </a:lnTo>
                  <a:lnTo>
                    <a:pt x="1780" y="5914"/>
                  </a:lnTo>
                  <a:lnTo>
                    <a:pt x="1774" y="5905"/>
                  </a:lnTo>
                  <a:lnTo>
                    <a:pt x="1768" y="5902"/>
                  </a:lnTo>
                  <a:lnTo>
                    <a:pt x="1752" y="5892"/>
                  </a:lnTo>
                  <a:lnTo>
                    <a:pt x="1727" y="5886"/>
                  </a:lnTo>
                  <a:lnTo>
                    <a:pt x="1705" y="5877"/>
                  </a:lnTo>
                  <a:lnTo>
                    <a:pt x="1693" y="5867"/>
                  </a:lnTo>
                  <a:lnTo>
                    <a:pt x="1689" y="5848"/>
                  </a:lnTo>
                  <a:lnTo>
                    <a:pt x="1696" y="5827"/>
                  </a:lnTo>
                  <a:lnTo>
                    <a:pt x="1705" y="5805"/>
                  </a:lnTo>
                  <a:lnTo>
                    <a:pt x="1714" y="5780"/>
                  </a:lnTo>
                  <a:lnTo>
                    <a:pt x="1718" y="5761"/>
                  </a:lnTo>
                  <a:lnTo>
                    <a:pt x="1718" y="5742"/>
                  </a:lnTo>
                  <a:lnTo>
                    <a:pt x="1711" y="5717"/>
                  </a:lnTo>
                  <a:lnTo>
                    <a:pt x="1702" y="5695"/>
                  </a:lnTo>
                  <a:lnTo>
                    <a:pt x="1693" y="5683"/>
                  </a:lnTo>
                  <a:lnTo>
                    <a:pt x="1677" y="5677"/>
                  </a:lnTo>
                  <a:lnTo>
                    <a:pt x="1655" y="5677"/>
                  </a:lnTo>
                  <a:lnTo>
                    <a:pt x="1633" y="5680"/>
                  </a:lnTo>
                  <a:lnTo>
                    <a:pt x="1614" y="5683"/>
                  </a:lnTo>
                  <a:lnTo>
                    <a:pt x="1599" y="5686"/>
                  </a:lnTo>
                  <a:lnTo>
                    <a:pt x="1580" y="5695"/>
                  </a:lnTo>
                  <a:lnTo>
                    <a:pt x="1558" y="5708"/>
                  </a:lnTo>
                  <a:lnTo>
                    <a:pt x="1540" y="5714"/>
                  </a:lnTo>
                  <a:lnTo>
                    <a:pt x="1524" y="5711"/>
                  </a:lnTo>
                  <a:lnTo>
                    <a:pt x="1508" y="5699"/>
                  </a:lnTo>
                  <a:lnTo>
                    <a:pt x="1496" y="5670"/>
                  </a:lnTo>
                  <a:lnTo>
                    <a:pt x="1486" y="5642"/>
                  </a:lnTo>
                  <a:lnTo>
                    <a:pt x="1477" y="5614"/>
                  </a:lnTo>
                  <a:lnTo>
                    <a:pt x="1465" y="5592"/>
                  </a:lnTo>
                  <a:lnTo>
                    <a:pt x="1443" y="5580"/>
                  </a:lnTo>
                  <a:lnTo>
                    <a:pt x="1412" y="5567"/>
                  </a:lnTo>
                  <a:lnTo>
                    <a:pt x="1380" y="5558"/>
                  </a:lnTo>
                  <a:lnTo>
                    <a:pt x="1355" y="5542"/>
                  </a:lnTo>
                  <a:lnTo>
                    <a:pt x="1333" y="5521"/>
                  </a:lnTo>
                  <a:lnTo>
                    <a:pt x="1312" y="5489"/>
                  </a:lnTo>
                  <a:lnTo>
                    <a:pt x="1293" y="5455"/>
                  </a:lnTo>
                  <a:lnTo>
                    <a:pt x="1283" y="5424"/>
                  </a:lnTo>
                  <a:lnTo>
                    <a:pt x="1287" y="5402"/>
                  </a:lnTo>
                  <a:lnTo>
                    <a:pt x="1296" y="5377"/>
                  </a:lnTo>
                  <a:lnTo>
                    <a:pt x="1305" y="5352"/>
                  </a:lnTo>
                  <a:lnTo>
                    <a:pt x="1312" y="5330"/>
                  </a:lnTo>
                  <a:lnTo>
                    <a:pt x="1315" y="5299"/>
                  </a:lnTo>
                  <a:lnTo>
                    <a:pt x="1318" y="5265"/>
                  </a:lnTo>
                  <a:lnTo>
                    <a:pt x="1312" y="5233"/>
                  </a:lnTo>
                  <a:lnTo>
                    <a:pt x="1302" y="5211"/>
                  </a:lnTo>
                  <a:lnTo>
                    <a:pt x="1287" y="5183"/>
                  </a:lnTo>
                  <a:lnTo>
                    <a:pt x="1268" y="5158"/>
                  </a:lnTo>
                  <a:lnTo>
                    <a:pt x="1252" y="5140"/>
                  </a:lnTo>
                  <a:lnTo>
                    <a:pt x="1234" y="5124"/>
                  </a:lnTo>
                  <a:lnTo>
                    <a:pt x="1209" y="5105"/>
                  </a:lnTo>
                  <a:lnTo>
                    <a:pt x="1184" y="5087"/>
                  </a:lnTo>
                  <a:lnTo>
                    <a:pt x="1165" y="5068"/>
                  </a:lnTo>
                  <a:lnTo>
                    <a:pt x="1155" y="5043"/>
                  </a:lnTo>
                  <a:lnTo>
                    <a:pt x="1152" y="5015"/>
                  </a:lnTo>
                  <a:lnTo>
                    <a:pt x="1149" y="4984"/>
                  </a:lnTo>
                  <a:lnTo>
                    <a:pt x="1146" y="4952"/>
                  </a:lnTo>
                  <a:lnTo>
                    <a:pt x="1137" y="4930"/>
                  </a:lnTo>
                  <a:lnTo>
                    <a:pt x="1118" y="4912"/>
                  </a:lnTo>
                  <a:lnTo>
                    <a:pt x="1087" y="4896"/>
                  </a:lnTo>
                  <a:lnTo>
                    <a:pt x="1059" y="4877"/>
                  </a:lnTo>
                  <a:lnTo>
                    <a:pt x="1040" y="4862"/>
                  </a:lnTo>
                  <a:lnTo>
                    <a:pt x="1024" y="4837"/>
                  </a:lnTo>
                  <a:lnTo>
                    <a:pt x="1015" y="4806"/>
                  </a:lnTo>
                  <a:lnTo>
                    <a:pt x="1006" y="4777"/>
                  </a:lnTo>
                  <a:lnTo>
                    <a:pt x="993" y="4746"/>
                  </a:lnTo>
                  <a:lnTo>
                    <a:pt x="981" y="4706"/>
                  </a:lnTo>
                  <a:lnTo>
                    <a:pt x="965" y="4671"/>
                  </a:lnTo>
                  <a:lnTo>
                    <a:pt x="946" y="4643"/>
                  </a:lnTo>
                  <a:lnTo>
                    <a:pt x="927" y="4634"/>
                  </a:lnTo>
                  <a:lnTo>
                    <a:pt x="899" y="4628"/>
                  </a:lnTo>
                  <a:lnTo>
                    <a:pt x="881" y="4618"/>
                  </a:lnTo>
                  <a:lnTo>
                    <a:pt x="865" y="4603"/>
                  </a:lnTo>
                  <a:lnTo>
                    <a:pt x="849" y="4584"/>
                  </a:lnTo>
                  <a:lnTo>
                    <a:pt x="834" y="4565"/>
                  </a:lnTo>
                  <a:lnTo>
                    <a:pt x="818" y="4553"/>
                  </a:lnTo>
                  <a:lnTo>
                    <a:pt x="799" y="4553"/>
                  </a:lnTo>
                  <a:lnTo>
                    <a:pt x="781" y="4556"/>
                  </a:lnTo>
                  <a:lnTo>
                    <a:pt x="765" y="4565"/>
                  </a:lnTo>
                  <a:lnTo>
                    <a:pt x="759" y="4578"/>
                  </a:lnTo>
                  <a:lnTo>
                    <a:pt x="762" y="4596"/>
                  </a:lnTo>
                  <a:lnTo>
                    <a:pt x="765" y="4615"/>
                  </a:lnTo>
                  <a:lnTo>
                    <a:pt x="765" y="4637"/>
                  </a:lnTo>
                  <a:lnTo>
                    <a:pt x="765" y="4649"/>
                  </a:lnTo>
                  <a:lnTo>
                    <a:pt x="759" y="4659"/>
                  </a:lnTo>
                  <a:lnTo>
                    <a:pt x="753" y="4668"/>
                  </a:lnTo>
                  <a:lnTo>
                    <a:pt x="746" y="4674"/>
                  </a:lnTo>
                  <a:lnTo>
                    <a:pt x="740" y="4681"/>
                  </a:lnTo>
                  <a:lnTo>
                    <a:pt x="718" y="4684"/>
                  </a:lnTo>
                  <a:lnTo>
                    <a:pt x="693" y="4681"/>
                  </a:lnTo>
                  <a:lnTo>
                    <a:pt x="668" y="4681"/>
                  </a:lnTo>
                  <a:lnTo>
                    <a:pt x="650" y="4684"/>
                  </a:lnTo>
                  <a:lnTo>
                    <a:pt x="643" y="4690"/>
                  </a:lnTo>
                  <a:lnTo>
                    <a:pt x="637" y="4696"/>
                  </a:lnTo>
                  <a:lnTo>
                    <a:pt x="634" y="4706"/>
                  </a:lnTo>
                  <a:lnTo>
                    <a:pt x="628" y="4715"/>
                  </a:lnTo>
                  <a:lnTo>
                    <a:pt x="621" y="4724"/>
                  </a:lnTo>
                  <a:lnTo>
                    <a:pt x="618" y="4731"/>
                  </a:lnTo>
                  <a:lnTo>
                    <a:pt x="609" y="4731"/>
                  </a:lnTo>
                  <a:lnTo>
                    <a:pt x="600" y="4731"/>
                  </a:lnTo>
                  <a:lnTo>
                    <a:pt x="590" y="4731"/>
                  </a:lnTo>
                  <a:lnTo>
                    <a:pt x="581" y="4731"/>
                  </a:lnTo>
                  <a:lnTo>
                    <a:pt x="572" y="4731"/>
                  </a:lnTo>
                  <a:lnTo>
                    <a:pt x="547" y="4724"/>
                  </a:lnTo>
                  <a:lnTo>
                    <a:pt x="515" y="4715"/>
                  </a:lnTo>
                  <a:lnTo>
                    <a:pt x="484" y="4706"/>
                  </a:lnTo>
                  <a:lnTo>
                    <a:pt x="456" y="4699"/>
                  </a:lnTo>
                  <a:lnTo>
                    <a:pt x="443" y="4702"/>
                  </a:lnTo>
                  <a:lnTo>
                    <a:pt x="428" y="4709"/>
                  </a:lnTo>
                  <a:lnTo>
                    <a:pt x="412" y="4715"/>
                  </a:lnTo>
                  <a:lnTo>
                    <a:pt x="400" y="4715"/>
                  </a:lnTo>
                  <a:lnTo>
                    <a:pt x="381" y="4702"/>
                  </a:lnTo>
                  <a:lnTo>
                    <a:pt x="359" y="4678"/>
                  </a:lnTo>
                  <a:lnTo>
                    <a:pt x="344" y="4649"/>
                  </a:lnTo>
                  <a:lnTo>
                    <a:pt x="334" y="4624"/>
                  </a:lnTo>
                  <a:lnTo>
                    <a:pt x="334" y="4606"/>
                  </a:lnTo>
                  <a:lnTo>
                    <a:pt x="340" y="4581"/>
                  </a:lnTo>
                  <a:lnTo>
                    <a:pt x="347" y="4556"/>
                  </a:lnTo>
                  <a:lnTo>
                    <a:pt x="350" y="4537"/>
                  </a:lnTo>
                  <a:lnTo>
                    <a:pt x="350" y="4512"/>
                  </a:lnTo>
                  <a:lnTo>
                    <a:pt x="347" y="4487"/>
                  </a:lnTo>
                  <a:lnTo>
                    <a:pt x="340" y="4459"/>
                  </a:lnTo>
                  <a:lnTo>
                    <a:pt x="334" y="4440"/>
                  </a:lnTo>
                  <a:lnTo>
                    <a:pt x="319" y="4428"/>
                  </a:lnTo>
                  <a:lnTo>
                    <a:pt x="297" y="4415"/>
                  </a:lnTo>
                  <a:lnTo>
                    <a:pt x="278" y="4406"/>
                  </a:lnTo>
                  <a:lnTo>
                    <a:pt x="265" y="4409"/>
                  </a:lnTo>
                  <a:lnTo>
                    <a:pt x="250" y="4412"/>
                  </a:lnTo>
                  <a:lnTo>
                    <a:pt x="234" y="4418"/>
                  </a:lnTo>
                  <a:lnTo>
                    <a:pt x="222" y="4418"/>
                  </a:lnTo>
                  <a:lnTo>
                    <a:pt x="209" y="4403"/>
                  </a:lnTo>
                  <a:lnTo>
                    <a:pt x="203" y="4381"/>
                  </a:lnTo>
                  <a:lnTo>
                    <a:pt x="194" y="4359"/>
                  </a:lnTo>
                  <a:lnTo>
                    <a:pt x="184" y="4343"/>
                  </a:lnTo>
                  <a:lnTo>
                    <a:pt x="166" y="4334"/>
                  </a:lnTo>
                  <a:lnTo>
                    <a:pt x="141" y="4328"/>
                  </a:lnTo>
                  <a:lnTo>
                    <a:pt x="119" y="4322"/>
                  </a:lnTo>
                  <a:lnTo>
                    <a:pt x="100" y="4312"/>
                  </a:lnTo>
                  <a:lnTo>
                    <a:pt x="81" y="4290"/>
                  </a:lnTo>
                  <a:lnTo>
                    <a:pt x="66" y="4262"/>
                  </a:lnTo>
                  <a:lnTo>
                    <a:pt x="50" y="4231"/>
                  </a:lnTo>
                  <a:lnTo>
                    <a:pt x="38" y="4206"/>
                  </a:lnTo>
                  <a:lnTo>
                    <a:pt x="31" y="4200"/>
                  </a:lnTo>
                  <a:lnTo>
                    <a:pt x="25" y="4194"/>
                  </a:lnTo>
                  <a:lnTo>
                    <a:pt x="19" y="4187"/>
                  </a:lnTo>
                  <a:lnTo>
                    <a:pt x="13" y="418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Freeform 9">
              <a:extLst>
                <a:ext uri="{FF2B5EF4-FFF2-40B4-BE49-F238E27FC236}">
                  <a16:creationId xmlns:a16="http://schemas.microsoft.com/office/drawing/2014/main" id="{064E296B-0686-4932-9958-3F5DEE4F7F23}"/>
                </a:ext>
              </a:extLst>
            </p:cNvPr>
            <p:cNvSpPr>
              <a:spLocks/>
            </p:cNvSpPr>
            <p:nvPr/>
          </p:nvSpPr>
          <p:spPr bwMode="auto">
            <a:xfrm>
              <a:off x="16390938" y="-396875"/>
              <a:ext cx="5121275" cy="5700713"/>
            </a:xfrm>
            <a:custGeom>
              <a:avLst/>
              <a:gdLst>
                <a:gd name="T0" fmla="*/ 3188 w 3226"/>
                <a:gd name="T1" fmla="*/ 1246 h 3591"/>
                <a:gd name="T2" fmla="*/ 3016 w 3226"/>
                <a:gd name="T3" fmla="*/ 1374 h 3591"/>
                <a:gd name="T4" fmla="*/ 2904 w 3226"/>
                <a:gd name="T5" fmla="*/ 1561 h 3591"/>
                <a:gd name="T6" fmla="*/ 3098 w 3226"/>
                <a:gd name="T7" fmla="*/ 1733 h 3591"/>
                <a:gd name="T8" fmla="*/ 3076 w 3226"/>
                <a:gd name="T9" fmla="*/ 1933 h 3591"/>
                <a:gd name="T10" fmla="*/ 3094 w 3226"/>
                <a:gd name="T11" fmla="*/ 2208 h 3591"/>
                <a:gd name="T12" fmla="*/ 3094 w 3226"/>
                <a:gd name="T13" fmla="*/ 2483 h 3591"/>
                <a:gd name="T14" fmla="*/ 2904 w 3226"/>
                <a:gd name="T15" fmla="*/ 2426 h 3591"/>
                <a:gd name="T16" fmla="*/ 2857 w 3226"/>
                <a:gd name="T17" fmla="*/ 2539 h 3591"/>
                <a:gd name="T18" fmla="*/ 2792 w 3226"/>
                <a:gd name="T19" fmla="*/ 2711 h 3591"/>
                <a:gd name="T20" fmla="*/ 2623 w 3226"/>
                <a:gd name="T21" fmla="*/ 2842 h 3591"/>
                <a:gd name="T22" fmla="*/ 2570 w 3226"/>
                <a:gd name="T23" fmla="*/ 2926 h 3591"/>
                <a:gd name="T24" fmla="*/ 2623 w 3226"/>
                <a:gd name="T25" fmla="*/ 3038 h 3591"/>
                <a:gd name="T26" fmla="*/ 2573 w 3226"/>
                <a:gd name="T27" fmla="*/ 3179 h 3591"/>
                <a:gd name="T28" fmla="*/ 2442 w 3226"/>
                <a:gd name="T29" fmla="*/ 3273 h 3591"/>
                <a:gd name="T30" fmla="*/ 2429 w 3226"/>
                <a:gd name="T31" fmla="*/ 3413 h 3591"/>
                <a:gd name="T32" fmla="*/ 2267 w 3226"/>
                <a:gd name="T33" fmla="*/ 3473 h 3591"/>
                <a:gd name="T34" fmla="*/ 2111 w 3226"/>
                <a:gd name="T35" fmla="*/ 3497 h 3591"/>
                <a:gd name="T36" fmla="*/ 1973 w 3226"/>
                <a:gd name="T37" fmla="*/ 3591 h 3591"/>
                <a:gd name="T38" fmla="*/ 1755 w 3226"/>
                <a:gd name="T39" fmla="*/ 3460 h 3591"/>
                <a:gd name="T40" fmla="*/ 1611 w 3226"/>
                <a:gd name="T41" fmla="*/ 3332 h 3591"/>
                <a:gd name="T42" fmla="*/ 1393 w 3226"/>
                <a:gd name="T43" fmla="*/ 3341 h 3591"/>
                <a:gd name="T44" fmla="*/ 1224 w 3226"/>
                <a:gd name="T45" fmla="*/ 3238 h 3591"/>
                <a:gd name="T46" fmla="*/ 1255 w 3226"/>
                <a:gd name="T47" fmla="*/ 3079 h 3591"/>
                <a:gd name="T48" fmla="*/ 1062 w 3226"/>
                <a:gd name="T49" fmla="*/ 3051 h 3591"/>
                <a:gd name="T50" fmla="*/ 1033 w 3226"/>
                <a:gd name="T51" fmla="*/ 2864 h 3591"/>
                <a:gd name="T52" fmla="*/ 1030 w 3226"/>
                <a:gd name="T53" fmla="*/ 2620 h 3591"/>
                <a:gd name="T54" fmla="*/ 1108 w 3226"/>
                <a:gd name="T55" fmla="*/ 2501 h 3591"/>
                <a:gd name="T56" fmla="*/ 1102 w 3226"/>
                <a:gd name="T57" fmla="*/ 2398 h 3591"/>
                <a:gd name="T58" fmla="*/ 940 w 3226"/>
                <a:gd name="T59" fmla="*/ 2314 h 3591"/>
                <a:gd name="T60" fmla="*/ 840 w 3226"/>
                <a:gd name="T61" fmla="*/ 2149 h 3591"/>
                <a:gd name="T62" fmla="*/ 706 w 3226"/>
                <a:gd name="T63" fmla="*/ 1986 h 3591"/>
                <a:gd name="T64" fmla="*/ 443 w 3226"/>
                <a:gd name="T65" fmla="*/ 1942 h 3591"/>
                <a:gd name="T66" fmla="*/ 231 w 3226"/>
                <a:gd name="T67" fmla="*/ 2039 h 3591"/>
                <a:gd name="T68" fmla="*/ 222 w 3226"/>
                <a:gd name="T69" fmla="*/ 1793 h 3591"/>
                <a:gd name="T70" fmla="*/ 25 w 3226"/>
                <a:gd name="T71" fmla="*/ 1708 h 3591"/>
                <a:gd name="T72" fmla="*/ 153 w 3226"/>
                <a:gd name="T73" fmla="*/ 1521 h 3591"/>
                <a:gd name="T74" fmla="*/ 293 w 3226"/>
                <a:gd name="T75" fmla="*/ 1399 h 3591"/>
                <a:gd name="T76" fmla="*/ 387 w 3226"/>
                <a:gd name="T77" fmla="*/ 1227 h 3591"/>
                <a:gd name="T78" fmla="*/ 431 w 3226"/>
                <a:gd name="T79" fmla="*/ 996 h 3591"/>
                <a:gd name="T80" fmla="*/ 306 w 3226"/>
                <a:gd name="T81" fmla="*/ 800 h 3591"/>
                <a:gd name="T82" fmla="*/ 306 w 3226"/>
                <a:gd name="T83" fmla="*/ 528 h 3591"/>
                <a:gd name="T84" fmla="*/ 478 w 3226"/>
                <a:gd name="T85" fmla="*/ 409 h 3591"/>
                <a:gd name="T86" fmla="*/ 677 w 3226"/>
                <a:gd name="T87" fmla="*/ 253 h 3591"/>
                <a:gd name="T88" fmla="*/ 880 w 3226"/>
                <a:gd name="T89" fmla="*/ 188 h 3591"/>
                <a:gd name="T90" fmla="*/ 993 w 3226"/>
                <a:gd name="T91" fmla="*/ 172 h 3591"/>
                <a:gd name="T92" fmla="*/ 1143 w 3226"/>
                <a:gd name="T93" fmla="*/ 166 h 3591"/>
                <a:gd name="T94" fmla="*/ 1274 w 3226"/>
                <a:gd name="T95" fmla="*/ 181 h 3591"/>
                <a:gd name="T96" fmla="*/ 1449 w 3226"/>
                <a:gd name="T97" fmla="*/ 166 h 3591"/>
                <a:gd name="T98" fmla="*/ 1592 w 3226"/>
                <a:gd name="T99" fmla="*/ 72 h 3591"/>
                <a:gd name="T100" fmla="*/ 1733 w 3226"/>
                <a:gd name="T101" fmla="*/ 172 h 3591"/>
                <a:gd name="T102" fmla="*/ 1833 w 3226"/>
                <a:gd name="T103" fmla="*/ 106 h 3591"/>
                <a:gd name="T104" fmla="*/ 1870 w 3226"/>
                <a:gd name="T105" fmla="*/ 44 h 3591"/>
                <a:gd name="T106" fmla="*/ 2039 w 3226"/>
                <a:gd name="T107" fmla="*/ 56 h 3591"/>
                <a:gd name="T108" fmla="*/ 2364 w 3226"/>
                <a:gd name="T109" fmla="*/ 69 h 3591"/>
                <a:gd name="T110" fmla="*/ 2610 w 3226"/>
                <a:gd name="T111" fmla="*/ 81 h 3591"/>
                <a:gd name="T112" fmla="*/ 2704 w 3226"/>
                <a:gd name="T113" fmla="*/ 75 h 3591"/>
                <a:gd name="T114" fmla="*/ 2851 w 3226"/>
                <a:gd name="T115" fmla="*/ 272 h 3591"/>
                <a:gd name="T116" fmla="*/ 2970 w 3226"/>
                <a:gd name="T117" fmla="*/ 387 h 3591"/>
                <a:gd name="T118" fmla="*/ 3123 w 3226"/>
                <a:gd name="T119" fmla="*/ 581 h 3591"/>
                <a:gd name="T120" fmla="*/ 3201 w 3226"/>
                <a:gd name="T121" fmla="*/ 899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6" h="3591">
                  <a:moveTo>
                    <a:pt x="3226" y="981"/>
                  </a:moveTo>
                  <a:lnTo>
                    <a:pt x="3226" y="999"/>
                  </a:lnTo>
                  <a:lnTo>
                    <a:pt x="3219" y="1021"/>
                  </a:lnTo>
                  <a:lnTo>
                    <a:pt x="3213" y="1046"/>
                  </a:lnTo>
                  <a:lnTo>
                    <a:pt x="3210" y="1065"/>
                  </a:lnTo>
                  <a:lnTo>
                    <a:pt x="3213" y="1090"/>
                  </a:lnTo>
                  <a:lnTo>
                    <a:pt x="3219" y="1118"/>
                  </a:lnTo>
                  <a:lnTo>
                    <a:pt x="3222" y="1140"/>
                  </a:lnTo>
                  <a:lnTo>
                    <a:pt x="3216" y="1165"/>
                  </a:lnTo>
                  <a:lnTo>
                    <a:pt x="3204" y="1196"/>
                  </a:lnTo>
                  <a:lnTo>
                    <a:pt x="3194" y="1218"/>
                  </a:lnTo>
                  <a:lnTo>
                    <a:pt x="3188" y="1246"/>
                  </a:lnTo>
                  <a:lnTo>
                    <a:pt x="3182" y="1277"/>
                  </a:lnTo>
                  <a:lnTo>
                    <a:pt x="3172" y="1309"/>
                  </a:lnTo>
                  <a:lnTo>
                    <a:pt x="3157" y="1330"/>
                  </a:lnTo>
                  <a:lnTo>
                    <a:pt x="3144" y="1334"/>
                  </a:lnTo>
                  <a:lnTo>
                    <a:pt x="3126" y="1337"/>
                  </a:lnTo>
                  <a:lnTo>
                    <a:pt x="3107" y="1340"/>
                  </a:lnTo>
                  <a:lnTo>
                    <a:pt x="3094" y="1343"/>
                  </a:lnTo>
                  <a:lnTo>
                    <a:pt x="3076" y="1352"/>
                  </a:lnTo>
                  <a:lnTo>
                    <a:pt x="3054" y="1365"/>
                  </a:lnTo>
                  <a:lnTo>
                    <a:pt x="3035" y="1374"/>
                  </a:lnTo>
                  <a:lnTo>
                    <a:pt x="3026" y="1374"/>
                  </a:lnTo>
                  <a:lnTo>
                    <a:pt x="3016" y="1374"/>
                  </a:lnTo>
                  <a:lnTo>
                    <a:pt x="3007" y="1371"/>
                  </a:lnTo>
                  <a:lnTo>
                    <a:pt x="2998" y="1371"/>
                  </a:lnTo>
                  <a:lnTo>
                    <a:pt x="2988" y="1374"/>
                  </a:lnTo>
                  <a:lnTo>
                    <a:pt x="2970" y="1383"/>
                  </a:lnTo>
                  <a:lnTo>
                    <a:pt x="2951" y="1396"/>
                  </a:lnTo>
                  <a:lnTo>
                    <a:pt x="2935" y="1412"/>
                  </a:lnTo>
                  <a:lnTo>
                    <a:pt x="2920" y="1437"/>
                  </a:lnTo>
                  <a:lnTo>
                    <a:pt x="2907" y="1471"/>
                  </a:lnTo>
                  <a:lnTo>
                    <a:pt x="2901" y="1499"/>
                  </a:lnTo>
                  <a:lnTo>
                    <a:pt x="2901" y="1518"/>
                  </a:lnTo>
                  <a:lnTo>
                    <a:pt x="2901" y="1540"/>
                  </a:lnTo>
                  <a:lnTo>
                    <a:pt x="2904" y="1561"/>
                  </a:lnTo>
                  <a:lnTo>
                    <a:pt x="2913" y="1577"/>
                  </a:lnTo>
                  <a:lnTo>
                    <a:pt x="2926" y="1583"/>
                  </a:lnTo>
                  <a:lnTo>
                    <a:pt x="2941" y="1583"/>
                  </a:lnTo>
                  <a:lnTo>
                    <a:pt x="2960" y="1583"/>
                  </a:lnTo>
                  <a:lnTo>
                    <a:pt x="2976" y="1586"/>
                  </a:lnTo>
                  <a:lnTo>
                    <a:pt x="2995" y="1599"/>
                  </a:lnTo>
                  <a:lnTo>
                    <a:pt x="3016" y="1615"/>
                  </a:lnTo>
                  <a:lnTo>
                    <a:pt x="3038" y="1633"/>
                  </a:lnTo>
                  <a:lnTo>
                    <a:pt x="3054" y="1652"/>
                  </a:lnTo>
                  <a:lnTo>
                    <a:pt x="3069" y="1677"/>
                  </a:lnTo>
                  <a:lnTo>
                    <a:pt x="3085" y="1705"/>
                  </a:lnTo>
                  <a:lnTo>
                    <a:pt x="3098" y="1733"/>
                  </a:lnTo>
                  <a:lnTo>
                    <a:pt x="3107" y="1749"/>
                  </a:lnTo>
                  <a:lnTo>
                    <a:pt x="3116" y="1771"/>
                  </a:lnTo>
                  <a:lnTo>
                    <a:pt x="3123" y="1789"/>
                  </a:lnTo>
                  <a:lnTo>
                    <a:pt x="3129" y="1814"/>
                  </a:lnTo>
                  <a:lnTo>
                    <a:pt x="3129" y="1846"/>
                  </a:lnTo>
                  <a:lnTo>
                    <a:pt x="3126" y="1877"/>
                  </a:lnTo>
                  <a:lnTo>
                    <a:pt x="3119" y="1902"/>
                  </a:lnTo>
                  <a:lnTo>
                    <a:pt x="3113" y="1908"/>
                  </a:lnTo>
                  <a:lnTo>
                    <a:pt x="3104" y="1914"/>
                  </a:lnTo>
                  <a:lnTo>
                    <a:pt x="3094" y="1921"/>
                  </a:lnTo>
                  <a:lnTo>
                    <a:pt x="3085" y="1927"/>
                  </a:lnTo>
                  <a:lnTo>
                    <a:pt x="3076" y="1933"/>
                  </a:lnTo>
                  <a:lnTo>
                    <a:pt x="3069" y="1936"/>
                  </a:lnTo>
                  <a:lnTo>
                    <a:pt x="3057" y="1958"/>
                  </a:lnTo>
                  <a:lnTo>
                    <a:pt x="3044" y="1983"/>
                  </a:lnTo>
                  <a:lnTo>
                    <a:pt x="3032" y="2011"/>
                  </a:lnTo>
                  <a:lnTo>
                    <a:pt x="3026" y="2036"/>
                  </a:lnTo>
                  <a:lnTo>
                    <a:pt x="3029" y="2061"/>
                  </a:lnTo>
                  <a:lnTo>
                    <a:pt x="3035" y="2092"/>
                  </a:lnTo>
                  <a:lnTo>
                    <a:pt x="3044" y="2124"/>
                  </a:lnTo>
                  <a:lnTo>
                    <a:pt x="3054" y="2149"/>
                  </a:lnTo>
                  <a:lnTo>
                    <a:pt x="3063" y="2167"/>
                  </a:lnTo>
                  <a:lnTo>
                    <a:pt x="3082" y="2189"/>
                  </a:lnTo>
                  <a:lnTo>
                    <a:pt x="3094" y="2208"/>
                  </a:lnTo>
                  <a:lnTo>
                    <a:pt x="3104" y="2233"/>
                  </a:lnTo>
                  <a:lnTo>
                    <a:pt x="3116" y="2261"/>
                  </a:lnTo>
                  <a:lnTo>
                    <a:pt x="3126" y="2292"/>
                  </a:lnTo>
                  <a:lnTo>
                    <a:pt x="3126" y="2317"/>
                  </a:lnTo>
                  <a:lnTo>
                    <a:pt x="3119" y="2336"/>
                  </a:lnTo>
                  <a:lnTo>
                    <a:pt x="3104" y="2351"/>
                  </a:lnTo>
                  <a:lnTo>
                    <a:pt x="3094" y="2370"/>
                  </a:lnTo>
                  <a:lnTo>
                    <a:pt x="3091" y="2389"/>
                  </a:lnTo>
                  <a:lnTo>
                    <a:pt x="3094" y="2414"/>
                  </a:lnTo>
                  <a:lnTo>
                    <a:pt x="3098" y="2439"/>
                  </a:lnTo>
                  <a:lnTo>
                    <a:pt x="3098" y="2464"/>
                  </a:lnTo>
                  <a:lnTo>
                    <a:pt x="3094" y="2483"/>
                  </a:lnTo>
                  <a:lnTo>
                    <a:pt x="3079" y="2501"/>
                  </a:lnTo>
                  <a:lnTo>
                    <a:pt x="3057" y="2517"/>
                  </a:lnTo>
                  <a:lnTo>
                    <a:pt x="3038" y="2526"/>
                  </a:lnTo>
                  <a:lnTo>
                    <a:pt x="3010" y="2526"/>
                  </a:lnTo>
                  <a:lnTo>
                    <a:pt x="2976" y="2520"/>
                  </a:lnTo>
                  <a:lnTo>
                    <a:pt x="2948" y="2508"/>
                  </a:lnTo>
                  <a:lnTo>
                    <a:pt x="2926" y="2492"/>
                  </a:lnTo>
                  <a:lnTo>
                    <a:pt x="2920" y="2480"/>
                  </a:lnTo>
                  <a:lnTo>
                    <a:pt x="2920" y="2464"/>
                  </a:lnTo>
                  <a:lnTo>
                    <a:pt x="2920" y="2448"/>
                  </a:lnTo>
                  <a:lnTo>
                    <a:pt x="2916" y="2436"/>
                  </a:lnTo>
                  <a:lnTo>
                    <a:pt x="2904" y="2426"/>
                  </a:lnTo>
                  <a:lnTo>
                    <a:pt x="2888" y="2420"/>
                  </a:lnTo>
                  <a:lnTo>
                    <a:pt x="2870" y="2417"/>
                  </a:lnTo>
                  <a:lnTo>
                    <a:pt x="2857" y="2417"/>
                  </a:lnTo>
                  <a:lnTo>
                    <a:pt x="2851" y="2423"/>
                  </a:lnTo>
                  <a:lnTo>
                    <a:pt x="2848" y="2430"/>
                  </a:lnTo>
                  <a:lnTo>
                    <a:pt x="2845" y="2439"/>
                  </a:lnTo>
                  <a:lnTo>
                    <a:pt x="2841" y="2448"/>
                  </a:lnTo>
                  <a:lnTo>
                    <a:pt x="2841" y="2458"/>
                  </a:lnTo>
                  <a:lnTo>
                    <a:pt x="2841" y="2464"/>
                  </a:lnTo>
                  <a:lnTo>
                    <a:pt x="2845" y="2486"/>
                  </a:lnTo>
                  <a:lnTo>
                    <a:pt x="2851" y="2514"/>
                  </a:lnTo>
                  <a:lnTo>
                    <a:pt x="2857" y="2539"/>
                  </a:lnTo>
                  <a:lnTo>
                    <a:pt x="2857" y="2561"/>
                  </a:lnTo>
                  <a:lnTo>
                    <a:pt x="2860" y="2586"/>
                  </a:lnTo>
                  <a:lnTo>
                    <a:pt x="2860" y="2611"/>
                  </a:lnTo>
                  <a:lnTo>
                    <a:pt x="2854" y="2629"/>
                  </a:lnTo>
                  <a:lnTo>
                    <a:pt x="2848" y="2633"/>
                  </a:lnTo>
                  <a:lnTo>
                    <a:pt x="2841" y="2636"/>
                  </a:lnTo>
                  <a:lnTo>
                    <a:pt x="2832" y="2639"/>
                  </a:lnTo>
                  <a:lnTo>
                    <a:pt x="2823" y="2642"/>
                  </a:lnTo>
                  <a:lnTo>
                    <a:pt x="2817" y="2645"/>
                  </a:lnTo>
                  <a:lnTo>
                    <a:pt x="2807" y="2664"/>
                  </a:lnTo>
                  <a:lnTo>
                    <a:pt x="2801" y="2689"/>
                  </a:lnTo>
                  <a:lnTo>
                    <a:pt x="2792" y="2711"/>
                  </a:lnTo>
                  <a:lnTo>
                    <a:pt x="2785" y="2717"/>
                  </a:lnTo>
                  <a:lnTo>
                    <a:pt x="2776" y="2723"/>
                  </a:lnTo>
                  <a:lnTo>
                    <a:pt x="2767" y="2732"/>
                  </a:lnTo>
                  <a:lnTo>
                    <a:pt x="2757" y="2739"/>
                  </a:lnTo>
                  <a:lnTo>
                    <a:pt x="2748" y="2742"/>
                  </a:lnTo>
                  <a:lnTo>
                    <a:pt x="2729" y="2751"/>
                  </a:lnTo>
                  <a:lnTo>
                    <a:pt x="2701" y="2757"/>
                  </a:lnTo>
                  <a:lnTo>
                    <a:pt x="2682" y="2767"/>
                  </a:lnTo>
                  <a:lnTo>
                    <a:pt x="2660" y="2786"/>
                  </a:lnTo>
                  <a:lnTo>
                    <a:pt x="2642" y="2811"/>
                  </a:lnTo>
                  <a:lnTo>
                    <a:pt x="2626" y="2835"/>
                  </a:lnTo>
                  <a:lnTo>
                    <a:pt x="2623" y="2842"/>
                  </a:lnTo>
                  <a:lnTo>
                    <a:pt x="2620" y="2851"/>
                  </a:lnTo>
                  <a:lnTo>
                    <a:pt x="2617" y="2860"/>
                  </a:lnTo>
                  <a:lnTo>
                    <a:pt x="2614" y="2870"/>
                  </a:lnTo>
                  <a:lnTo>
                    <a:pt x="2610" y="2876"/>
                  </a:lnTo>
                  <a:lnTo>
                    <a:pt x="2604" y="2882"/>
                  </a:lnTo>
                  <a:lnTo>
                    <a:pt x="2595" y="2885"/>
                  </a:lnTo>
                  <a:lnTo>
                    <a:pt x="2585" y="2892"/>
                  </a:lnTo>
                  <a:lnTo>
                    <a:pt x="2576" y="2898"/>
                  </a:lnTo>
                  <a:lnTo>
                    <a:pt x="2573" y="2904"/>
                  </a:lnTo>
                  <a:lnTo>
                    <a:pt x="2570" y="2910"/>
                  </a:lnTo>
                  <a:lnTo>
                    <a:pt x="2570" y="2917"/>
                  </a:lnTo>
                  <a:lnTo>
                    <a:pt x="2570" y="2926"/>
                  </a:lnTo>
                  <a:lnTo>
                    <a:pt x="2570" y="2935"/>
                  </a:lnTo>
                  <a:lnTo>
                    <a:pt x="2573" y="2942"/>
                  </a:lnTo>
                  <a:lnTo>
                    <a:pt x="2573" y="2951"/>
                  </a:lnTo>
                  <a:lnTo>
                    <a:pt x="2576" y="2964"/>
                  </a:lnTo>
                  <a:lnTo>
                    <a:pt x="2579" y="2973"/>
                  </a:lnTo>
                  <a:lnTo>
                    <a:pt x="2585" y="2982"/>
                  </a:lnTo>
                  <a:lnTo>
                    <a:pt x="2592" y="2989"/>
                  </a:lnTo>
                  <a:lnTo>
                    <a:pt x="2598" y="2995"/>
                  </a:lnTo>
                  <a:lnTo>
                    <a:pt x="2607" y="3001"/>
                  </a:lnTo>
                  <a:lnTo>
                    <a:pt x="2617" y="3010"/>
                  </a:lnTo>
                  <a:lnTo>
                    <a:pt x="2620" y="3017"/>
                  </a:lnTo>
                  <a:lnTo>
                    <a:pt x="2623" y="3038"/>
                  </a:lnTo>
                  <a:lnTo>
                    <a:pt x="2617" y="3063"/>
                  </a:lnTo>
                  <a:lnTo>
                    <a:pt x="2607" y="3088"/>
                  </a:lnTo>
                  <a:lnTo>
                    <a:pt x="2595" y="3104"/>
                  </a:lnTo>
                  <a:lnTo>
                    <a:pt x="2592" y="3107"/>
                  </a:lnTo>
                  <a:lnTo>
                    <a:pt x="2585" y="3104"/>
                  </a:lnTo>
                  <a:lnTo>
                    <a:pt x="2579" y="3104"/>
                  </a:lnTo>
                  <a:lnTo>
                    <a:pt x="2576" y="3104"/>
                  </a:lnTo>
                  <a:lnTo>
                    <a:pt x="2573" y="3104"/>
                  </a:lnTo>
                  <a:lnTo>
                    <a:pt x="2567" y="3120"/>
                  </a:lnTo>
                  <a:lnTo>
                    <a:pt x="2570" y="3142"/>
                  </a:lnTo>
                  <a:lnTo>
                    <a:pt x="2573" y="3163"/>
                  </a:lnTo>
                  <a:lnTo>
                    <a:pt x="2573" y="3179"/>
                  </a:lnTo>
                  <a:lnTo>
                    <a:pt x="2557" y="3198"/>
                  </a:lnTo>
                  <a:lnTo>
                    <a:pt x="2535" y="3216"/>
                  </a:lnTo>
                  <a:lnTo>
                    <a:pt x="2514" y="3229"/>
                  </a:lnTo>
                  <a:lnTo>
                    <a:pt x="2507" y="3235"/>
                  </a:lnTo>
                  <a:lnTo>
                    <a:pt x="2498" y="3238"/>
                  </a:lnTo>
                  <a:lnTo>
                    <a:pt x="2492" y="3241"/>
                  </a:lnTo>
                  <a:lnTo>
                    <a:pt x="2482" y="3245"/>
                  </a:lnTo>
                  <a:lnTo>
                    <a:pt x="2473" y="3248"/>
                  </a:lnTo>
                  <a:lnTo>
                    <a:pt x="2464" y="3254"/>
                  </a:lnTo>
                  <a:lnTo>
                    <a:pt x="2454" y="3260"/>
                  </a:lnTo>
                  <a:lnTo>
                    <a:pt x="2445" y="3263"/>
                  </a:lnTo>
                  <a:lnTo>
                    <a:pt x="2442" y="3273"/>
                  </a:lnTo>
                  <a:lnTo>
                    <a:pt x="2445" y="3285"/>
                  </a:lnTo>
                  <a:lnTo>
                    <a:pt x="2451" y="3301"/>
                  </a:lnTo>
                  <a:lnTo>
                    <a:pt x="2461" y="3313"/>
                  </a:lnTo>
                  <a:lnTo>
                    <a:pt x="2467" y="3329"/>
                  </a:lnTo>
                  <a:lnTo>
                    <a:pt x="2470" y="3344"/>
                  </a:lnTo>
                  <a:lnTo>
                    <a:pt x="2470" y="3363"/>
                  </a:lnTo>
                  <a:lnTo>
                    <a:pt x="2467" y="3382"/>
                  </a:lnTo>
                  <a:lnTo>
                    <a:pt x="2464" y="3388"/>
                  </a:lnTo>
                  <a:lnTo>
                    <a:pt x="2454" y="3394"/>
                  </a:lnTo>
                  <a:lnTo>
                    <a:pt x="2445" y="3401"/>
                  </a:lnTo>
                  <a:lnTo>
                    <a:pt x="2436" y="3407"/>
                  </a:lnTo>
                  <a:lnTo>
                    <a:pt x="2429" y="3413"/>
                  </a:lnTo>
                  <a:lnTo>
                    <a:pt x="2414" y="3432"/>
                  </a:lnTo>
                  <a:lnTo>
                    <a:pt x="2401" y="3454"/>
                  </a:lnTo>
                  <a:lnTo>
                    <a:pt x="2392" y="3473"/>
                  </a:lnTo>
                  <a:lnTo>
                    <a:pt x="2389" y="3482"/>
                  </a:lnTo>
                  <a:lnTo>
                    <a:pt x="2373" y="3476"/>
                  </a:lnTo>
                  <a:lnTo>
                    <a:pt x="2361" y="3473"/>
                  </a:lnTo>
                  <a:lnTo>
                    <a:pt x="2351" y="3469"/>
                  </a:lnTo>
                  <a:lnTo>
                    <a:pt x="2332" y="3466"/>
                  </a:lnTo>
                  <a:lnTo>
                    <a:pt x="2311" y="3463"/>
                  </a:lnTo>
                  <a:lnTo>
                    <a:pt x="2289" y="3463"/>
                  </a:lnTo>
                  <a:lnTo>
                    <a:pt x="2273" y="3469"/>
                  </a:lnTo>
                  <a:lnTo>
                    <a:pt x="2267" y="3473"/>
                  </a:lnTo>
                  <a:lnTo>
                    <a:pt x="2261" y="3482"/>
                  </a:lnTo>
                  <a:lnTo>
                    <a:pt x="2258" y="3491"/>
                  </a:lnTo>
                  <a:lnTo>
                    <a:pt x="2251" y="3501"/>
                  </a:lnTo>
                  <a:lnTo>
                    <a:pt x="2248" y="3507"/>
                  </a:lnTo>
                  <a:lnTo>
                    <a:pt x="2242" y="3513"/>
                  </a:lnTo>
                  <a:lnTo>
                    <a:pt x="2226" y="3522"/>
                  </a:lnTo>
                  <a:lnTo>
                    <a:pt x="2208" y="3532"/>
                  </a:lnTo>
                  <a:lnTo>
                    <a:pt x="2189" y="3535"/>
                  </a:lnTo>
                  <a:lnTo>
                    <a:pt x="2170" y="3526"/>
                  </a:lnTo>
                  <a:lnTo>
                    <a:pt x="2148" y="3510"/>
                  </a:lnTo>
                  <a:lnTo>
                    <a:pt x="2126" y="3501"/>
                  </a:lnTo>
                  <a:lnTo>
                    <a:pt x="2111" y="3497"/>
                  </a:lnTo>
                  <a:lnTo>
                    <a:pt x="2092" y="3497"/>
                  </a:lnTo>
                  <a:lnTo>
                    <a:pt x="2076" y="3497"/>
                  </a:lnTo>
                  <a:lnTo>
                    <a:pt x="2061" y="3501"/>
                  </a:lnTo>
                  <a:lnTo>
                    <a:pt x="2058" y="3507"/>
                  </a:lnTo>
                  <a:lnTo>
                    <a:pt x="2055" y="3513"/>
                  </a:lnTo>
                  <a:lnTo>
                    <a:pt x="2051" y="3522"/>
                  </a:lnTo>
                  <a:lnTo>
                    <a:pt x="2051" y="3529"/>
                  </a:lnTo>
                  <a:lnTo>
                    <a:pt x="2048" y="3535"/>
                  </a:lnTo>
                  <a:lnTo>
                    <a:pt x="2033" y="3551"/>
                  </a:lnTo>
                  <a:lnTo>
                    <a:pt x="2014" y="3569"/>
                  </a:lnTo>
                  <a:lnTo>
                    <a:pt x="1992" y="3582"/>
                  </a:lnTo>
                  <a:lnTo>
                    <a:pt x="1973" y="3591"/>
                  </a:lnTo>
                  <a:lnTo>
                    <a:pt x="1958" y="3588"/>
                  </a:lnTo>
                  <a:lnTo>
                    <a:pt x="1936" y="3582"/>
                  </a:lnTo>
                  <a:lnTo>
                    <a:pt x="1917" y="3572"/>
                  </a:lnTo>
                  <a:lnTo>
                    <a:pt x="1902" y="3566"/>
                  </a:lnTo>
                  <a:lnTo>
                    <a:pt x="1873" y="3563"/>
                  </a:lnTo>
                  <a:lnTo>
                    <a:pt x="1845" y="3560"/>
                  </a:lnTo>
                  <a:lnTo>
                    <a:pt x="1820" y="3551"/>
                  </a:lnTo>
                  <a:lnTo>
                    <a:pt x="1808" y="3532"/>
                  </a:lnTo>
                  <a:lnTo>
                    <a:pt x="1795" y="3510"/>
                  </a:lnTo>
                  <a:lnTo>
                    <a:pt x="1783" y="3485"/>
                  </a:lnTo>
                  <a:lnTo>
                    <a:pt x="1770" y="3469"/>
                  </a:lnTo>
                  <a:lnTo>
                    <a:pt x="1755" y="3460"/>
                  </a:lnTo>
                  <a:lnTo>
                    <a:pt x="1730" y="3454"/>
                  </a:lnTo>
                  <a:lnTo>
                    <a:pt x="1708" y="3448"/>
                  </a:lnTo>
                  <a:lnTo>
                    <a:pt x="1686" y="3441"/>
                  </a:lnTo>
                  <a:lnTo>
                    <a:pt x="1674" y="3429"/>
                  </a:lnTo>
                  <a:lnTo>
                    <a:pt x="1670" y="3416"/>
                  </a:lnTo>
                  <a:lnTo>
                    <a:pt x="1670" y="3401"/>
                  </a:lnTo>
                  <a:lnTo>
                    <a:pt x="1674" y="3379"/>
                  </a:lnTo>
                  <a:lnTo>
                    <a:pt x="1677" y="3363"/>
                  </a:lnTo>
                  <a:lnTo>
                    <a:pt x="1674" y="3351"/>
                  </a:lnTo>
                  <a:lnTo>
                    <a:pt x="1658" y="3341"/>
                  </a:lnTo>
                  <a:lnTo>
                    <a:pt x="1636" y="3335"/>
                  </a:lnTo>
                  <a:lnTo>
                    <a:pt x="1611" y="3332"/>
                  </a:lnTo>
                  <a:lnTo>
                    <a:pt x="1592" y="3332"/>
                  </a:lnTo>
                  <a:lnTo>
                    <a:pt x="1574" y="3335"/>
                  </a:lnTo>
                  <a:lnTo>
                    <a:pt x="1549" y="3344"/>
                  </a:lnTo>
                  <a:lnTo>
                    <a:pt x="1527" y="3351"/>
                  </a:lnTo>
                  <a:lnTo>
                    <a:pt x="1508" y="3351"/>
                  </a:lnTo>
                  <a:lnTo>
                    <a:pt x="1492" y="3341"/>
                  </a:lnTo>
                  <a:lnTo>
                    <a:pt x="1474" y="3323"/>
                  </a:lnTo>
                  <a:lnTo>
                    <a:pt x="1458" y="3307"/>
                  </a:lnTo>
                  <a:lnTo>
                    <a:pt x="1443" y="3301"/>
                  </a:lnTo>
                  <a:lnTo>
                    <a:pt x="1427" y="3307"/>
                  </a:lnTo>
                  <a:lnTo>
                    <a:pt x="1408" y="3323"/>
                  </a:lnTo>
                  <a:lnTo>
                    <a:pt x="1393" y="3341"/>
                  </a:lnTo>
                  <a:lnTo>
                    <a:pt x="1377" y="3354"/>
                  </a:lnTo>
                  <a:lnTo>
                    <a:pt x="1368" y="3357"/>
                  </a:lnTo>
                  <a:lnTo>
                    <a:pt x="1358" y="3360"/>
                  </a:lnTo>
                  <a:lnTo>
                    <a:pt x="1349" y="3335"/>
                  </a:lnTo>
                  <a:lnTo>
                    <a:pt x="1339" y="3307"/>
                  </a:lnTo>
                  <a:lnTo>
                    <a:pt x="1327" y="3288"/>
                  </a:lnTo>
                  <a:lnTo>
                    <a:pt x="1311" y="3282"/>
                  </a:lnTo>
                  <a:lnTo>
                    <a:pt x="1290" y="3276"/>
                  </a:lnTo>
                  <a:lnTo>
                    <a:pt x="1265" y="3273"/>
                  </a:lnTo>
                  <a:lnTo>
                    <a:pt x="1243" y="3266"/>
                  </a:lnTo>
                  <a:lnTo>
                    <a:pt x="1227" y="3257"/>
                  </a:lnTo>
                  <a:lnTo>
                    <a:pt x="1224" y="3238"/>
                  </a:lnTo>
                  <a:lnTo>
                    <a:pt x="1224" y="3213"/>
                  </a:lnTo>
                  <a:lnTo>
                    <a:pt x="1227" y="3195"/>
                  </a:lnTo>
                  <a:lnTo>
                    <a:pt x="1233" y="3188"/>
                  </a:lnTo>
                  <a:lnTo>
                    <a:pt x="1240" y="3179"/>
                  </a:lnTo>
                  <a:lnTo>
                    <a:pt x="1249" y="3173"/>
                  </a:lnTo>
                  <a:lnTo>
                    <a:pt x="1258" y="3163"/>
                  </a:lnTo>
                  <a:lnTo>
                    <a:pt x="1265" y="3157"/>
                  </a:lnTo>
                  <a:lnTo>
                    <a:pt x="1268" y="3148"/>
                  </a:lnTo>
                  <a:lnTo>
                    <a:pt x="1271" y="3129"/>
                  </a:lnTo>
                  <a:lnTo>
                    <a:pt x="1268" y="3104"/>
                  </a:lnTo>
                  <a:lnTo>
                    <a:pt x="1261" y="3085"/>
                  </a:lnTo>
                  <a:lnTo>
                    <a:pt x="1255" y="3079"/>
                  </a:lnTo>
                  <a:lnTo>
                    <a:pt x="1246" y="3076"/>
                  </a:lnTo>
                  <a:lnTo>
                    <a:pt x="1236" y="3076"/>
                  </a:lnTo>
                  <a:lnTo>
                    <a:pt x="1227" y="3076"/>
                  </a:lnTo>
                  <a:lnTo>
                    <a:pt x="1208" y="3079"/>
                  </a:lnTo>
                  <a:lnTo>
                    <a:pt x="1183" y="3088"/>
                  </a:lnTo>
                  <a:lnTo>
                    <a:pt x="1158" y="3098"/>
                  </a:lnTo>
                  <a:lnTo>
                    <a:pt x="1140" y="3104"/>
                  </a:lnTo>
                  <a:lnTo>
                    <a:pt x="1121" y="3101"/>
                  </a:lnTo>
                  <a:lnTo>
                    <a:pt x="1099" y="3098"/>
                  </a:lnTo>
                  <a:lnTo>
                    <a:pt x="1083" y="3088"/>
                  </a:lnTo>
                  <a:lnTo>
                    <a:pt x="1071" y="3073"/>
                  </a:lnTo>
                  <a:lnTo>
                    <a:pt x="1062" y="3051"/>
                  </a:lnTo>
                  <a:lnTo>
                    <a:pt x="1052" y="3026"/>
                  </a:lnTo>
                  <a:lnTo>
                    <a:pt x="1043" y="3007"/>
                  </a:lnTo>
                  <a:lnTo>
                    <a:pt x="1037" y="3001"/>
                  </a:lnTo>
                  <a:lnTo>
                    <a:pt x="1030" y="2995"/>
                  </a:lnTo>
                  <a:lnTo>
                    <a:pt x="1021" y="2985"/>
                  </a:lnTo>
                  <a:lnTo>
                    <a:pt x="1012" y="2979"/>
                  </a:lnTo>
                  <a:lnTo>
                    <a:pt x="1005" y="2970"/>
                  </a:lnTo>
                  <a:lnTo>
                    <a:pt x="999" y="2964"/>
                  </a:lnTo>
                  <a:lnTo>
                    <a:pt x="1002" y="2939"/>
                  </a:lnTo>
                  <a:lnTo>
                    <a:pt x="1015" y="2914"/>
                  </a:lnTo>
                  <a:lnTo>
                    <a:pt x="1024" y="2889"/>
                  </a:lnTo>
                  <a:lnTo>
                    <a:pt x="1033" y="2864"/>
                  </a:lnTo>
                  <a:lnTo>
                    <a:pt x="1037" y="2845"/>
                  </a:lnTo>
                  <a:lnTo>
                    <a:pt x="1043" y="2823"/>
                  </a:lnTo>
                  <a:lnTo>
                    <a:pt x="1043" y="2798"/>
                  </a:lnTo>
                  <a:lnTo>
                    <a:pt x="1043" y="2779"/>
                  </a:lnTo>
                  <a:lnTo>
                    <a:pt x="1030" y="2761"/>
                  </a:lnTo>
                  <a:lnTo>
                    <a:pt x="1012" y="2739"/>
                  </a:lnTo>
                  <a:lnTo>
                    <a:pt x="999" y="2720"/>
                  </a:lnTo>
                  <a:lnTo>
                    <a:pt x="999" y="2698"/>
                  </a:lnTo>
                  <a:lnTo>
                    <a:pt x="999" y="2670"/>
                  </a:lnTo>
                  <a:lnTo>
                    <a:pt x="1005" y="2642"/>
                  </a:lnTo>
                  <a:lnTo>
                    <a:pt x="1015" y="2626"/>
                  </a:lnTo>
                  <a:lnTo>
                    <a:pt x="1030" y="2620"/>
                  </a:lnTo>
                  <a:lnTo>
                    <a:pt x="1049" y="2623"/>
                  </a:lnTo>
                  <a:lnTo>
                    <a:pt x="1071" y="2626"/>
                  </a:lnTo>
                  <a:lnTo>
                    <a:pt x="1087" y="2626"/>
                  </a:lnTo>
                  <a:lnTo>
                    <a:pt x="1108" y="2611"/>
                  </a:lnTo>
                  <a:lnTo>
                    <a:pt x="1133" y="2589"/>
                  </a:lnTo>
                  <a:lnTo>
                    <a:pt x="1146" y="2570"/>
                  </a:lnTo>
                  <a:lnTo>
                    <a:pt x="1149" y="2551"/>
                  </a:lnTo>
                  <a:lnTo>
                    <a:pt x="1152" y="2529"/>
                  </a:lnTo>
                  <a:lnTo>
                    <a:pt x="1149" y="2508"/>
                  </a:lnTo>
                  <a:lnTo>
                    <a:pt x="1140" y="2495"/>
                  </a:lnTo>
                  <a:lnTo>
                    <a:pt x="1127" y="2492"/>
                  </a:lnTo>
                  <a:lnTo>
                    <a:pt x="1108" y="2501"/>
                  </a:lnTo>
                  <a:lnTo>
                    <a:pt x="1087" y="2514"/>
                  </a:lnTo>
                  <a:lnTo>
                    <a:pt x="1068" y="2523"/>
                  </a:lnTo>
                  <a:lnTo>
                    <a:pt x="1052" y="2523"/>
                  </a:lnTo>
                  <a:lnTo>
                    <a:pt x="1043" y="2511"/>
                  </a:lnTo>
                  <a:lnTo>
                    <a:pt x="1033" y="2492"/>
                  </a:lnTo>
                  <a:lnTo>
                    <a:pt x="1030" y="2473"/>
                  </a:lnTo>
                  <a:lnTo>
                    <a:pt x="1030" y="2458"/>
                  </a:lnTo>
                  <a:lnTo>
                    <a:pt x="1040" y="2445"/>
                  </a:lnTo>
                  <a:lnTo>
                    <a:pt x="1058" y="2433"/>
                  </a:lnTo>
                  <a:lnTo>
                    <a:pt x="1080" y="2420"/>
                  </a:lnTo>
                  <a:lnTo>
                    <a:pt x="1096" y="2411"/>
                  </a:lnTo>
                  <a:lnTo>
                    <a:pt x="1102" y="2398"/>
                  </a:lnTo>
                  <a:lnTo>
                    <a:pt x="1102" y="2392"/>
                  </a:lnTo>
                  <a:lnTo>
                    <a:pt x="1096" y="2386"/>
                  </a:lnTo>
                  <a:lnTo>
                    <a:pt x="1090" y="2380"/>
                  </a:lnTo>
                  <a:lnTo>
                    <a:pt x="1083" y="2373"/>
                  </a:lnTo>
                  <a:lnTo>
                    <a:pt x="1077" y="2370"/>
                  </a:lnTo>
                  <a:lnTo>
                    <a:pt x="1071" y="2364"/>
                  </a:lnTo>
                  <a:lnTo>
                    <a:pt x="1055" y="2345"/>
                  </a:lnTo>
                  <a:lnTo>
                    <a:pt x="1037" y="2323"/>
                  </a:lnTo>
                  <a:lnTo>
                    <a:pt x="1015" y="2311"/>
                  </a:lnTo>
                  <a:lnTo>
                    <a:pt x="993" y="2308"/>
                  </a:lnTo>
                  <a:lnTo>
                    <a:pt x="965" y="2311"/>
                  </a:lnTo>
                  <a:lnTo>
                    <a:pt x="940" y="2314"/>
                  </a:lnTo>
                  <a:lnTo>
                    <a:pt x="915" y="2311"/>
                  </a:lnTo>
                  <a:lnTo>
                    <a:pt x="896" y="2302"/>
                  </a:lnTo>
                  <a:lnTo>
                    <a:pt x="874" y="2289"/>
                  </a:lnTo>
                  <a:lnTo>
                    <a:pt x="852" y="2273"/>
                  </a:lnTo>
                  <a:lnTo>
                    <a:pt x="843" y="2258"/>
                  </a:lnTo>
                  <a:lnTo>
                    <a:pt x="846" y="2242"/>
                  </a:lnTo>
                  <a:lnTo>
                    <a:pt x="862" y="2223"/>
                  </a:lnTo>
                  <a:lnTo>
                    <a:pt x="877" y="2205"/>
                  </a:lnTo>
                  <a:lnTo>
                    <a:pt x="884" y="2189"/>
                  </a:lnTo>
                  <a:lnTo>
                    <a:pt x="874" y="2177"/>
                  </a:lnTo>
                  <a:lnTo>
                    <a:pt x="859" y="2161"/>
                  </a:lnTo>
                  <a:lnTo>
                    <a:pt x="840" y="2149"/>
                  </a:lnTo>
                  <a:lnTo>
                    <a:pt x="824" y="2139"/>
                  </a:lnTo>
                  <a:lnTo>
                    <a:pt x="805" y="2139"/>
                  </a:lnTo>
                  <a:lnTo>
                    <a:pt x="784" y="2139"/>
                  </a:lnTo>
                  <a:lnTo>
                    <a:pt x="765" y="2139"/>
                  </a:lnTo>
                  <a:lnTo>
                    <a:pt x="746" y="2130"/>
                  </a:lnTo>
                  <a:lnTo>
                    <a:pt x="721" y="2117"/>
                  </a:lnTo>
                  <a:lnTo>
                    <a:pt x="706" y="2102"/>
                  </a:lnTo>
                  <a:lnTo>
                    <a:pt x="702" y="2083"/>
                  </a:lnTo>
                  <a:lnTo>
                    <a:pt x="706" y="2058"/>
                  </a:lnTo>
                  <a:lnTo>
                    <a:pt x="709" y="2030"/>
                  </a:lnTo>
                  <a:lnTo>
                    <a:pt x="712" y="2005"/>
                  </a:lnTo>
                  <a:lnTo>
                    <a:pt x="706" y="1986"/>
                  </a:lnTo>
                  <a:lnTo>
                    <a:pt x="690" y="1974"/>
                  </a:lnTo>
                  <a:lnTo>
                    <a:pt x="662" y="1964"/>
                  </a:lnTo>
                  <a:lnTo>
                    <a:pt x="640" y="1958"/>
                  </a:lnTo>
                  <a:lnTo>
                    <a:pt x="621" y="1958"/>
                  </a:lnTo>
                  <a:lnTo>
                    <a:pt x="599" y="1964"/>
                  </a:lnTo>
                  <a:lnTo>
                    <a:pt x="578" y="1967"/>
                  </a:lnTo>
                  <a:lnTo>
                    <a:pt x="559" y="1971"/>
                  </a:lnTo>
                  <a:lnTo>
                    <a:pt x="537" y="1967"/>
                  </a:lnTo>
                  <a:lnTo>
                    <a:pt x="512" y="1958"/>
                  </a:lnTo>
                  <a:lnTo>
                    <a:pt x="487" y="1952"/>
                  </a:lnTo>
                  <a:lnTo>
                    <a:pt x="465" y="1946"/>
                  </a:lnTo>
                  <a:lnTo>
                    <a:pt x="443" y="1942"/>
                  </a:lnTo>
                  <a:lnTo>
                    <a:pt x="418" y="1939"/>
                  </a:lnTo>
                  <a:lnTo>
                    <a:pt x="393" y="1939"/>
                  </a:lnTo>
                  <a:lnTo>
                    <a:pt x="375" y="1946"/>
                  </a:lnTo>
                  <a:lnTo>
                    <a:pt x="365" y="1958"/>
                  </a:lnTo>
                  <a:lnTo>
                    <a:pt x="362" y="1977"/>
                  </a:lnTo>
                  <a:lnTo>
                    <a:pt x="359" y="1999"/>
                  </a:lnTo>
                  <a:lnTo>
                    <a:pt x="356" y="2017"/>
                  </a:lnTo>
                  <a:lnTo>
                    <a:pt x="346" y="2030"/>
                  </a:lnTo>
                  <a:lnTo>
                    <a:pt x="325" y="2039"/>
                  </a:lnTo>
                  <a:lnTo>
                    <a:pt x="293" y="2045"/>
                  </a:lnTo>
                  <a:lnTo>
                    <a:pt x="259" y="2045"/>
                  </a:lnTo>
                  <a:lnTo>
                    <a:pt x="231" y="2039"/>
                  </a:lnTo>
                  <a:lnTo>
                    <a:pt x="209" y="2030"/>
                  </a:lnTo>
                  <a:lnTo>
                    <a:pt x="203" y="2014"/>
                  </a:lnTo>
                  <a:lnTo>
                    <a:pt x="203" y="1989"/>
                  </a:lnTo>
                  <a:lnTo>
                    <a:pt x="206" y="1964"/>
                  </a:lnTo>
                  <a:lnTo>
                    <a:pt x="209" y="1946"/>
                  </a:lnTo>
                  <a:lnTo>
                    <a:pt x="215" y="1924"/>
                  </a:lnTo>
                  <a:lnTo>
                    <a:pt x="228" y="1902"/>
                  </a:lnTo>
                  <a:lnTo>
                    <a:pt x="240" y="1877"/>
                  </a:lnTo>
                  <a:lnTo>
                    <a:pt x="243" y="1855"/>
                  </a:lnTo>
                  <a:lnTo>
                    <a:pt x="240" y="1836"/>
                  </a:lnTo>
                  <a:lnTo>
                    <a:pt x="231" y="1814"/>
                  </a:lnTo>
                  <a:lnTo>
                    <a:pt x="222" y="1793"/>
                  </a:lnTo>
                  <a:lnTo>
                    <a:pt x="209" y="1780"/>
                  </a:lnTo>
                  <a:lnTo>
                    <a:pt x="184" y="1768"/>
                  </a:lnTo>
                  <a:lnTo>
                    <a:pt x="153" y="1758"/>
                  </a:lnTo>
                  <a:lnTo>
                    <a:pt x="128" y="1752"/>
                  </a:lnTo>
                  <a:lnTo>
                    <a:pt x="100" y="1752"/>
                  </a:lnTo>
                  <a:lnTo>
                    <a:pt x="69" y="1749"/>
                  </a:lnTo>
                  <a:lnTo>
                    <a:pt x="37" y="1746"/>
                  </a:lnTo>
                  <a:lnTo>
                    <a:pt x="12" y="1739"/>
                  </a:lnTo>
                  <a:lnTo>
                    <a:pt x="0" y="1733"/>
                  </a:lnTo>
                  <a:lnTo>
                    <a:pt x="9" y="1727"/>
                  </a:lnTo>
                  <a:lnTo>
                    <a:pt x="19" y="1718"/>
                  </a:lnTo>
                  <a:lnTo>
                    <a:pt x="25" y="1708"/>
                  </a:lnTo>
                  <a:lnTo>
                    <a:pt x="31" y="1699"/>
                  </a:lnTo>
                  <a:lnTo>
                    <a:pt x="34" y="1683"/>
                  </a:lnTo>
                  <a:lnTo>
                    <a:pt x="34" y="1661"/>
                  </a:lnTo>
                  <a:lnTo>
                    <a:pt x="37" y="1646"/>
                  </a:lnTo>
                  <a:lnTo>
                    <a:pt x="53" y="1621"/>
                  </a:lnTo>
                  <a:lnTo>
                    <a:pt x="75" y="1596"/>
                  </a:lnTo>
                  <a:lnTo>
                    <a:pt x="94" y="1574"/>
                  </a:lnTo>
                  <a:lnTo>
                    <a:pt x="106" y="1555"/>
                  </a:lnTo>
                  <a:lnTo>
                    <a:pt x="122" y="1537"/>
                  </a:lnTo>
                  <a:lnTo>
                    <a:pt x="137" y="1521"/>
                  </a:lnTo>
                  <a:lnTo>
                    <a:pt x="143" y="1521"/>
                  </a:lnTo>
                  <a:lnTo>
                    <a:pt x="153" y="1521"/>
                  </a:lnTo>
                  <a:lnTo>
                    <a:pt x="162" y="1521"/>
                  </a:lnTo>
                  <a:lnTo>
                    <a:pt x="172" y="1521"/>
                  </a:lnTo>
                  <a:lnTo>
                    <a:pt x="190" y="1524"/>
                  </a:lnTo>
                  <a:lnTo>
                    <a:pt x="215" y="1530"/>
                  </a:lnTo>
                  <a:lnTo>
                    <a:pt x="237" y="1533"/>
                  </a:lnTo>
                  <a:lnTo>
                    <a:pt x="256" y="1530"/>
                  </a:lnTo>
                  <a:lnTo>
                    <a:pt x="278" y="1518"/>
                  </a:lnTo>
                  <a:lnTo>
                    <a:pt x="296" y="1499"/>
                  </a:lnTo>
                  <a:lnTo>
                    <a:pt x="309" y="1477"/>
                  </a:lnTo>
                  <a:lnTo>
                    <a:pt x="309" y="1455"/>
                  </a:lnTo>
                  <a:lnTo>
                    <a:pt x="303" y="1427"/>
                  </a:lnTo>
                  <a:lnTo>
                    <a:pt x="293" y="1399"/>
                  </a:lnTo>
                  <a:lnTo>
                    <a:pt x="287" y="1371"/>
                  </a:lnTo>
                  <a:lnTo>
                    <a:pt x="284" y="1349"/>
                  </a:lnTo>
                  <a:lnTo>
                    <a:pt x="284" y="1324"/>
                  </a:lnTo>
                  <a:lnTo>
                    <a:pt x="284" y="1296"/>
                  </a:lnTo>
                  <a:lnTo>
                    <a:pt x="287" y="1265"/>
                  </a:lnTo>
                  <a:lnTo>
                    <a:pt x="293" y="1237"/>
                  </a:lnTo>
                  <a:lnTo>
                    <a:pt x="309" y="1218"/>
                  </a:lnTo>
                  <a:lnTo>
                    <a:pt x="321" y="1218"/>
                  </a:lnTo>
                  <a:lnTo>
                    <a:pt x="337" y="1224"/>
                  </a:lnTo>
                  <a:lnTo>
                    <a:pt x="356" y="1234"/>
                  </a:lnTo>
                  <a:lnTo>
                    <a:pt x="368" y="1234"/>
                  </a:lnTo>
                  <a:lnTo>
                    <a:pt x="387" y="1227"/>
                  </a:lnTo>
                  <a:lnTo>
                    <a:pt x="409" y="1218"/>
                  </a:lnTo>
                  <a:lnTo>
                    <a:pt x="428" y="1202"/>
                  </a:lnTo>
                  <a:lnTo>
                    <a:pt x="443" y="1190"/>
                  </a:lnTo>
                  <a:lnTo>
                    <a:pt x="456" y="1171"/>
                  </a:lnTo>
                  <a:lnTo>
                    <a:pt x="471" y="1146"/>
                  </a:lnTo>
                  <a:lnTo>
                    <a:pt x="481" y="1124"/>
                  </a:lnTo>
                  <a:lnTo>
                    <a:pt x="487" y="1102"/>
                  </a:lnTo>
                  <a:lnTo>
                    <a:pt x="484" y="1074"/>
                  </a:lnTo>
                  <a:lnTo>
                    <a:pt x="478" y="1043"/>
                  </a:lnTo>
                  <a:lnTo>
                    <a:pt x="462" y="1015"/>
                  </a:lnTo>
                  <a:lnTo>
                    <a:pt x="446" y="996"/>
                  </a:lnTo>
                  <a:lnTo>
                    <a:pt x="431" y="996"/>
                  </a:lnTo>
                  <a:lnTo>
                    <a:pt x="415" y="1003"/>
                  </a:lnTo>
                  <a:lnTo>
                    <a:pt x="396" y="1009"/>
                  </a:lnTo>
                  <a:lnTo>
                    <a:pt x="381" y="1009"/>
                  </a:lnTo>
                  <a:lnTo>
                    <a:pt x="362" y="996"/>
                  </a:lnTo>
                  <a:lnTo>
                    <a:pt x="343" y="974"/>
                  </a:lnTo>
                  <a:lnTo>
                    <a:pt x="331" y="953"/>
                  </a:lnTo>
                  <a:lnTo>
                    <a:pt x="325" y="931"/>
                  </a:lnTo>
                  <a:lnTo>
                    <a:pt x="325" y="903"/>
                  </a:lnTo>
                  <a:lnTo>
                    <a:pt x="321" y="875"/>
                  </a:lnTo>
                  <a:lnTo>
                    <a:pt x="321" y="853"/>
                  </a:lnTo>
                  <a:lnTo>
                    <a:pt x="315" y="828"/>
                  </a:lnTo>
                  <a:lnTo>
                    <a:pt x="306" y="800"/>
                  </a:lnTo>
                  <a:lnTo>
                    <a:pt x="300" y="775"/>
                  </a:lnTo>
                  <a:lnTo>
                    <a:pt x="306" y="753"/>
                  </a:lnTo>
                  <a:lnTo>
                    <a:pt x="318" y="731"/>
                  </a:lnTo>
                  <a:lnTo>
                    <a:pt x="331" y="706"/>
                  </a:lnTo>
                  <a:lnTo>
                    <a:pt x="343" y="681"/>
                  </a:lnTo>
                  <a:lnTo>
                    <a:pt x="346" y="659"/>
                  </a:lnTo>
                  <a:lnTo>
                    <a:pt x="340" y="643"/>
                  </a:lnTo>
                  <a:lnTo>
                    <a:pt x="331" y="622"/>
                  </a:lnTo>
                  <a:lnTo>
                    <a:pt x="318" y="600"/>
                  </a:lnTo>
                  <a:lnTo>
                    <a:pt x="312" y="584"/>
                  </a:lnTo>
                  <a:lnTo>
                    <a:pt x="309" y="559"/>
                  </a:lnTo>
                  <a:lnTo>
                    <a:pt x="306" y="528"/>
                  </a:lnTo>
                  <a:lnTo>
                    <a:pt x="312" y="500"/>
                  </a:lnTo>
                  <a:lnTo>
                    <a:pt x="321" y="481"/>
                  </a:lnTo>
                  <a:lnTo>
                    <a:pt x="331" y="478"/>
                  </a:lnTo>
                  <a:lnTo>
                    <a:pt x="350" y="481"/>
                  </a:lnTo>
                  <a:lnTo>
                    <a:pt x="365" y="481"/>
                  </a:lnTo>
                  <a:lnTo>
                    <a:pt x="378" y="481"/>
                  </a:lnTo>
                  <a:lnTo>
                    <a:pt x="390" y="469"/>
                  </a:lnTo>
                  <a:lnTo>
                    <a:pt x="406" y="447"/>
                  </a:lnTo>
                  <a:lnTo>
                    <a:pt x="418" y="425"/>
                  </a:lnTo>
                  <a:lnTo>
                    <a:pt x="434" y="412"/>
                  </a:lnTo>
                  <a:lnTo>
                    <a:pt x="453" y="409"/>
                  </a:lnTo>
                  <a:lnTo>
                    <a:pt x="478" y="409"/>
                  </a:lnTo>
                  <a:lnTo>
                    <a:pt x="499" y="412"/>
                  </a:lnTo>
                  <a:lnTo>
                    <a:pt x="521" y="412"/>
                  </a:lnTo>
                  <a:lnTo>
                    <a:pt x="546" y="400"/>
                  </a:lnTo>
                  <a:lnTo>
                    <a:pt x="574" y="381"/>
                  </a:lnTo>
                  <a:lnTo>
                    <a:pt x="603" y="362"/>
                  </a:lnTo>
                  <a:lnTo>
                    <a:pt x="624" y="347"/>
                  </a:lnTo>
                  <a:lnTo>
                    <a:pt x="643" y="331"/>
                  </a:lnTo>
                  <a:lnTo>
                    <a:pt x="665" y="316"/>
                  </a:lnTo>
                  <a:lnTo>
                    <a:pt x="677" y="297"/>
                  </a:lnTo>
                  <a:lnTo>
                    <a:pt x="681" y="284"/>
                  </a:lnTo>
                  <a:lnTo>
                    <a:pt x="677" y="269"/>
                  </a:lnTo>
                  <a:lnTo>
                    <a:pt x="677" y="253"/>
                  </a:lnTo>
                  <a:lnTo>
                    <a:pt x="677" y="241"/>
                  </a:lnTo>
                  <a:lnTo>
                    <a:pt x="696" y="228"/>
                  </a:lnTo>
                  <a:lnTo>
                    <a:pt x="718" y="219"/>
                  </a:lnTo>
                  <a:lnTo>
                    <a:pt x="746" y="209"/>
                  </a:lnTo>
                  <a:lnTo>
                    <a:pt x="774" y="206"/>
                  </a:lnTo>
                  <a:lnTo>
                    <a:pt x="796" y="203"/>
                  </a:lnTo>
                  <a:lnTo>
                    <a:pt x="812" y="203"/>
                  </a:lnTo>
                  <a:lnTo>
                    <a:pt x="830" y="203"/>
                  </a:lnTo>
                  <a:lnTo>
                    <a:pt x="849" y="206"/>
                  </a:lnTo>
                  <a:lnTo>
                    <a:pt x="865" y="203"/>
                  </a:lnTo>
                  <a:lnTo>
                    <a:pt x="871" y="197"/>
                  </a:lnTo>
                  <a:lnTo>
                    <a:pt x="880" y="188"/>
                  </a:lnTo>
                  <a:lnTo>
                    <a:pt x="887" y="178"/>
                  </a:lnTo>
                  <a:lnTo>
                    <a:pt x="893" y="169"/>
                  </a:lnTo>
                  <a:lnTo>
                    <a:pt x="899" y="159"/>
                  </a:lnTo>
                  <a:lnTo>
                    <a:pt x="905" y="153"/>
                  </a:lnTo>
                  <a:lnTo>
                    <a:pt x="915" y="150"/>
                  </a:lnTo>
                  <a:lnTo>
                    <a:pt x="927" y="147"/>
                  </a:lnTo>
                  <a:lnTo>
                    <a:pt x="940" y="144"/>
                  </a:lnTo>
                  <a:lnTo>
                    <a:pt x="955" y="144"/>
                  </a:lnTo>
                  <a:lnTo>
                    <a:pt x="965" y="150"/>
                  </a:lnTo>
                  <a:lnTo>
                    <a:pt x="977" y="159"/>
                  </a:lnTo>
                  <a:lnTo>
                    <a:pt x="987" y="166"/>
                  </a:lnTo>
                  <a:lnTo>
                    <a:pt x="993" y="172"/>
                  </a:lnTo>
                  <a:lnTo>
                    <a:pt x="1002" y="181"/>
                  </a:lnTo>
                  <a:lnTo>
                    <a:pt x="1012" y="191"/>
                  </a:lnTo>
                  <a:lnTo>
                    <a:pt x="1024" y="200"/>
                  </a:lnTo>
                  <a:lnTo>
                    <a:pt x="1033" y="203"/>
                  </a:lnTo>
                  <a:lnTo>
                    <a:pt x="1055" y="209"/>
                  </a:lnTo>
                  <a:lnTo>
                    <a:pt x="1080" y="209"/>
                  </a:lnTo>
                  <a:lnTo>
                    <a:pt x="1108" y="206"/>
                  </a:lnTo>
                  <a:lnTo>
                    <a:pt x="1127" y="200"/>
                  </a:lnTo>
                  <a:lnTo>
                    <a:pt x="1133" y="194"/>
                  </a:lnTo>
                  <a:lnTo>
                    <a:pt x="1136" y="184"/>
                  </a:lnTo>
                  <a:lnTo>
                    <a:pt x="1140" y="175"/>
                  </a:lnTo>
                  <a:lnTo>
                    <a:pt x="1143" y="166"/>
                  </a:lnTo>
                  <a:lnTo>
                    <a:pt x="1146" y="156"/>
                  </a:lnTo>
                  <a:lnTo>
                    <a:pt x="1152" y="150"/>
                  </a:lnTo>
                  <a:lnTo>
                    <a:pt x="1158" y="144"/>
                  </a:lnTo>
                  <a:lnTo>
                    <a:pt x="1168" y="138"/>
                  </a:lnTo>
                  <a:lnTo>
                    <a:pt x="1177" y="131"/>
                  </a:lnTo>
                  <a:lnTo>
                    <a:pt x="1186" y="128"/>
                  </a:lnTo>
                  <a:lnTo>
                    <a:pt x="1193" y="125"/>
                  </a:lnTo>
                  <a:lnTo>
                    <a:pt x="1211" y="128"/>
                  </a:lnTo>
                  <a:lnTo>
                    <a:pt x="1233" y="141"/>
                  </a:lnTo>
                  <a:lnTo>
                    <a:pt x="1252" y="153"/>
                  </a:lnTo>
                  <a:lnTo>
                    <a:pt x="1268" y="166"/>
                  </a:lnTo>
                  <a:lnTo>
                    <a:pt x="1274" y="181"/>
                  </a:lnTo>
                  <a:lnTo>
                    <a:pt x="1277" y="206"/>
                  </a:lnTo>
                  <a:lnTo>
                    <a:pt x="1283" y="228"/>
                  </a:lnTo>
                  <a:lnTo>
                    <a:pt x="1293" y="241"/>
                  </a:lnTo>
                  <a:lnTo>
                    <a:pt x="1308" y="244"/>
                  </a:lnTo>
                  <a:lnTo>
                    <a:pt x="1327" y="238"/>
                  </a:lnTo>
                  <a:lnTo>
                    <a:pt x="1343" y="228"/>
                  </a:lnTo>
                  <a:lnTo>
                    <a:pt x="1358" y="219"/>
                  </a:lnTo>
                  <a:lnTo>
                    <a:pt x="1380" y="209"/>
                  </a:lnTo>
                  <a:lnTo>
                    <a:pt x="1405" y="200"/>
                  </a:lnTo>
                  <a:lnTo>
                    <a:pt x="1430" y="188"/>
                  </a:lnTo>
                  <a:lnTo>
                    <a:pt x="1446" y="172"/>
                  </a:lnTo>
                  <a:lnTo>
                    <a:pt x="1449" y="166"/>
                  </a:lnTo>
                  <a:lnTo>
                    <a:pt x="1449" y="159"/>
                  </a:lnTo>
                  <a:lnTo>
                    <a:pt x="1446" y="150"/>
                  </a:lnTo>
                  <a:lnTo>
                    <a:pt x="1446" y="141"/>
                  </a:lnTo>
                  <a:lnTo>
                    <a:pt x="1446" y="131"/>
                  </a:lnTo>
                  <a:lnTo>
                    <a:pt x="1446" y="125"/>
                  </a:lnTo>
                  <a:lnTo>
                    <a:pt x="1461" y="106"/>
                  </a:lnTo>
                  <a:lnTo>
                    <a:pt x="1483" y="88"/>
                  </a:lnTo>
                  <a:lnTo>
                    <a:pt x="1505" y="72"/>
                  </a:lnTo>
                  <a:lnTo>
                    <a:pt x="1524" y="69"/>
                  </a:lnTo>
                  <a:lnTo>
                    <a:pt x="1549" y="69"/>
                  </a:lnTo>
                  <a:lnTo>
                    <a:pt x="1571" y="72"/>
                  </a:lnTo>
                  <a:lnTo>
                    <a:pt x="1592" y="72"/>
                  </a:lnTo>
                  <a:lnTo>
                    <a:pt x="1611" y="75"/>
                  </a:lnTo>
                  <a:lnTo>
                    <a:pt x="1633" y="81"/>
                  </a:lnTo>
                  <a:lnTo>
                    <a:pt x="1649" y="91"/>
                  </a:lnTo>
                  <a:lnTo>
                    <a:pt x="1652" y="103"/>
                  </a:lnTo>
                  <a:lnTo>
                    <a:pt x="1652" y="122"/>
                  </a:lnTo>
                  <a:lnTo>
                    <a:pt x="1645" y="144"/>
                  </a:lnTo>
                  <a:lnTo>
                    <a:pt x="1645" y="159"/>
                  </a:lnTo>
                  <a:lnTo>
                    <a:pt x="1649" y="172"/>
                  </a:lnTo>
                  <a:lnTo>
                    <a:pt x="1667" y="181"/>
                  </a:lnTo>
                  <a:lnTo>
                    <a:pt x="1692" y="184"/>
                  </a:lnTo>
                  <a:lnTo>
                    <a:pt x="1717" y="181"/>
                  </a:lnTo>
                  <a:lnTo>
                    <a:pt x="1733" y="172"/>
                  </a:lnTo>
                  <a:lnTo>
                    <a:pt x="1736" y="169"/>
                  </a:lnTo>
                  <a:lnTo>
                    <a:pt x="1736" y="163"/>
                  </a:lnTo>
                  <a:lnTo>
                    <a:pt x="1736" y="153"/>
                  </a:lnTo>
                  <a:lnTo>
                    <a:pt x="1733" y="147"/>
                  </a:lnTo>
                  <a:lnTo>
                    <a:pt x="1733" y="138"/>
                  </a:lnTo>
                  <a:lnTo>
                    <a:pt x="1733" y="131"/>
                  </a:lnTo>
                  <a:lnTo>
                    <a:pt x="1733" y="125"/>
                  </a:lnTo>
                  <a:lnTo>
                    <a:pt x="1749" y="113"/>
                  </a:lnTo>
                  <a:lnTo>
                    <a:pt x="1774" y="103"/>
                  </a:lnTo>
                  <a:lnTo>
                    <a:pt x="1799" y="97"/>
                  </a:lnTo>
                  <a:lnTo>
                    <a:pt x="1820" y="97"/>
                  </a:lnTo>
                  <a:lnTo>
                    <a:pt x="1833" y="106"/>
                  </a:lnTo>
                  <a:lnTo>
                    <a:pt x="1842" y="128"/>
                  </a:lnTo>
                  <a:lnTo>
                    <a:pt x="1855" y="147"/>
                  </a:lnTo>
                  <a:lnTo>
                    <a:pt x="1867" y="153"/>
                  </a:lnTo>
                  <a:lnTo>
                    <a:pt x="1873" y="150"/>
                  </a:lnTo>
                  <a:lnTo>
                    <a:pt x="1880" y="144"/>
                  </a:lnTo>
                  <a:lnTo>
                    <a:pt x="1883" y="134"/>
                  </a:lnTo>
                  <a:lnTo>
                    <a:pt x="1886" y="125"/>
                  </a:lnTo>
                  <a:lnTo>
                    <a:pt x="1889" y="116"/>
                  </a:lnTo>
                  <a:lnTo>
                    <a:pt x="1892" y="106"/>
                  </a:lnTo>
                  <a:lnTo>
                    <a:pt x="1889" y="91"/>
                  </a:lnTo>
                  <a:lnTo>
                    <a:pt x="1880" y="69"/>
                  </a:lnTo>
                  <a:lnTo>
                    <a:pt x="1870" y="44"/>
                  </a:lnTo>
                  <a:lnTo>
                    <a:pt x="1864" y="25"/>
                  </a:lnTo>
                  <a:lnTo>
                    <a:pt x="1867" y="10"/>
                  </a:lnTo>
                  <a:lnTo>
                    <a:pt x="1880" y="3"/>
                  </a:lnTo>
                  <a:lnTo>
                    <a:pt x="1898" y="0"/>
                  </a:lnTo>
                  <a:lnTo>
                    <a:pt x="1917" y="3"/>
                  </a:lnTo>
                  <a:lnTo>
                    <a:pt x="1933" y="10"/>
                  </a:lnTo>
                  <a:lnTo>
                    <a:pt x="1948" y="22"/>
                  </a:lnTo>
                  <a:lnTo>
                    <a:pt x="1964" y="41"/>
                  </a:lnTo>
                  <a:lnTo>
                    <a:pt x="1983" y="63"/>
                  </a:lnTo>
                  <a:lnTo>
                    <a:pt x="1998" y="72"/>
                  </a:lnTo>
                  <a:lnTo>
                    <a:pt x="2017" y="69"/>
                  </a:lnTo>
                  <a:lnTo>
                    <a:pt x="2039" y="56"/>
                  </a:lnTo>
                  <a:lnTo>
                    <a:pt x="2061" y="44"/>
                  </a:lnTo>
                  <a:lnTo>
                    <a:pt x="2080" y="35"/>
                  </a:lnTo>
                  <a:lnTo>
                    <a:pt x="2108" y="31"/>
                  </a:lnTo>
                  <a:lnTo>
                    <a:pt x="2142" y="31"/>
                  </a:lnTo>
                  <a:lnTo>
                    <a:pt x="2170" y="35"/>
                  </a:lnTo>
                  <a:lnTo>
                    <a:pt x="2192" y="41"/>
                  </a:lnTo>
                  <a:lnTo>
                    <a:pt x="2220" y="53"/>
                  </a:lnTo>
                  <a:lnTo>
                    <a:pt x="2245" y="66"/>
                  </a:lnTo>
                  <a:lnTo>
                    <a:pt x="2267" y="72"/>
                  </a:lnTo>
                  <a:lnTo>
                    <a:pt x="2295" y="72"/>
                  </a:lnTo>
                  <a:lnTo>
                    <a:pt x="2329" y="69"/>
                  </a:lnTo>
                  <a:lnTo>
                    <a:pt x="2364" y="69"/>
                  </a:lnTo>
                  <a:lnTo>
                    <a:pt x="2389" y="72"/>
                  </a:lnTo>
                  <a:lnTo>
                    <a:pt x="2398" y="78"/>
                  </a:lnTo>
                  <a:lnTo>
                    <a:pt x="2404" y="85"/>
                  </a:lnTo>
                  <a:lnTo>
                    <a:pt x="2414" y="94"/>
                  </a:lnTo>
                  <a:lnTo>
                    <a:pt x="2420" y="103"/>
                  </a:lnTo>
                  <a:lnTo>
                    <a:pt x="2429" y="106"/>
                  </a:lnTo>
                  <a:lnTo>
                    <a:pt x="2457" y="113"/>
                  </a:lnTo>
                  <a:lnTo>
                    <a:pt x="2498" y="113"/>
                  </a:lnTo>
                  <a:lnTo>
                    <a:pt x="2539" y="106"/>
                  </a:lnTo>
                  <a:lnTo>
                    <a:pt x="2576" y="97"/>
                  </a:lnTo>
                  <a:lnTo>
                    <a:pt x="2604" y="85"/>
                  </a:lnTo>
                  <a:lnTo>
                    <a:pt x="2610" y="81"/>
                  </a:lnTo>
                  <a:lnTo>
                    <a:pt x="2614" y="72"/>
                  </a:lnTo>
                  <a:lnTo>
                    <a:pt x="2620" y="63"/>
                  </a:lnTo>
                  <a:lnTo>
                    <a:pt x="2623" y="53"/>
                  </a:lnTo>
                  <a:lnTo>
                    <a:pt x="2629" y="47"/>
                  </a:lnTo>
                  <a:lnTo>
                    <a:pt x="2632" y="38"/>
                  </a:lnTo>
                  <a:lnTo>
                    <a:pt x="2639" y="35"/>
                  </a:lnTo>
                  <a:lnTo>
                    <a:pt x="2660" y="31"/>
                  </a:lnTo>
                  <a:lnTo>
                    <a:pt x="2688" y="28"/>
                  </a:lnTo>
                  <a:lnTo>
                    <a:pt x="2720" y="31"/>
                  </a:lnTo>
                  <a:lnTo>
                    <a:pt x="2717" y="35"/>
                  </a:lnTo>
                  <a:lnTo>
                    <a:pt x="2710" y="53"/>
                  </a:lnTo>
                  <a:lnTo>
                    <a:pt x="2704" y="75"/>
                  </a:lnTo>
                  <a:lnTo>
                    <a:pt x="2701" y="94"/>
                  </a:lnTo>
                  <a:lnTo>
                    <a:pt x="2710" y="119"/>
                  </a:lnTo>
                  <a:lnTo>
                    <a:pt x="2723" y="144"/>
                  </a:lnTo>
                  <a:lnTo>
                    <a:pt x="2738" y="169"/>
                  </a:lnTo>
                  <a:lnTo>
                    <a:pt x="2748" y="191"/>
                  </a:lnTo>
                  <a:lnTo>
                    <a:pt x="2754" y="209"/>
                  </a:lnTo>
                  <a:lnTo>
                    <a:pt x="2763" y="231"/>
                  </a:lnTo>
                  <a:lnTo>
                    <a:pt x="2773" y="247"/>
                  </a:lnTo>
                  <a:lnTo>
                    <a:pt x="2788" y="253"/>
                  </a:lnTo>
                  <a:lnTo>
                    <a:pt x="2810" y="259"/>
                  </a:lnTo>
                  <a:lnTo>
                    <a:pt x="2832" y="266"/>
                  </a:lnTo>
                  <a:lnTo>
                    <a:pt x="2851" y="272"/>
                  </a:lnTo>
                  <a:lnTo>
                    <a:pt x="2870" y="284"/>
                  </a:lnTo>
                  <a:lnTo>
                    <a:pt x="2888" y="303"/>
                  </a:lnTo>
                  <a:lnTo>
                    <a:pt x="2901" y="319"/>
                  </a:lnTo>
                  <a:lnTo>
                    <a:pt x="2907" y="334"/>
                  </a:lnTo>
                  <a:lnTo>
                    <a:pt x="2913" y="356"/>
                  </a:lnTo>
                  <a:lnTo>
                    <a:pt x="2920" y="375"/>
                  </a:lnTo>
                  <a:lnTo>
                    <a:pt x="2926" y="391"/>
                  </a:lnTo>
                  <a:lnTo>
                    <a:pt x="2932" y="391"/>
                  </a:lnTo>
                  <a:lnTo>
                    <a:pt x="2941" y="391"/>
                  </a:lnTo>
                  <a:lnTo>
                    <a:pt x="2951" y="391"/>
                  </a:lnTo>
                  <a:lnTo>
                    <a:pt x="2960" y="387"/>
                  </a:lnTo>
                  <a:lnTo>
                    <a:pt x="2970" y="387"/>
                  </a:lnTo>
                  <a:lnTo>
                    <a:pt x="2976" y="391"/>
                  </a:lnTo>
                  <a:lnTo>
                    <a:pt x="3001" y="400"/>
                  </a:lnTo>
                  <a:lnTo>
                    <a:pt x="3026" y="419"/>
                  </a:lnTo>
                  <a:lnTo>
                    <a:pt x="3041" y="437"/>
                  </a:lnTo>
                  <a:lnTo>
                    <a:pt x="3044" y="456"/>
                  </a:lnTo>
                  <a:lnTo>
                    <a:pt x="3041" y="481"/>
                  </a:lnTo>
                  <a:lnTo>
                    <a:pt x="3038" y="503"/>
                  </a:lnTo>
                  <a:lnTo>
                    <a:pt x="3041" y="522"/>
                  </a:lnTo>
                  <a:lnTo>
                    <a:pt x="3057" y="537"/>
                  </a:lnTo>
                  <a:lnTo>
                    <a:pt x="3082" y="553"/>
                  </a:lnTo>
                  <a:lnTo>
                    <a:pt x="3107" y="565"/>
                  </a:lnTo>
                  <a:lnTo>
                    <a:pt x="3123" y="581"/>
                  </a:lnTo>
                  <a:lnTo>
                    <a:pt x="3138" y="603"/>
                  </a:lnTo>
                  <a:lnTo>
                    <a:pt x="3151" y="631"/>
                  </a:lnTo>
                  <a:lnTo>
                    <a:pt x="3163" y="662"/>
                  </a:lnTo>
                  <a:lnTo>
                    <a:pt x="3169" y="687"/>
                  </a:lnTo>
                  <a:lnTo>
                    <a:pt x="3172" y="709"/>
                  </a:lnTo>
                  <a:lnTo>
                    <a:pt x="3169" y="734"/>
                  </a:lnTo>
                  <a:lnTo>
                    <a:pt x="3166" y="762"/>
                  </a:lnTo>
                  <a:lnTo>
                    <a:pt x="3166" y="784"/>
                  </a:lnTo>
                  <a:lnTo>
                    <a:pt x="3172" y="812"/>
                  </a:lnTo>
                  <a:lnTo>
                    <a:pt x="3182" y="846"/>
                  </a:lnTo>
                  <a:lnTo>
                    <a:pt x="3191" y="875"/>
                  </a:lnTo>
                  <a:lnTo>
                    <a:pt x="3201" y="899"/>
                  </a:lnTo>
                  <a:lnTo>
                    <a:pt x="3210" y="928"/>
                  </a:lnTo>
                  <a:lnTo>
                    <a:pt x="3219" y="956"/>
                  </a:lnTo>
                  <a:lnTo>
                    <a:pt x="3226" y="98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Freeform 11">
              <a:extLst>
                <a:ext uri="{FF2B5EF4-FFF2-40B4-BE49-F238E27FC236}">
                  <a16:creationId xmlns:a16="http://schemas.microsoft.com/office/drawing/2014/main" id="{BF36DACF-0E66-4CE1-B36B-E22285ABC70E}"/>
                </a:ext>
              </a:extLst>
            </p:cNvPr>
            <p:cNvSpPr>
              <a:spLocks/>
            </p:cNvSpPr>
            <p:nvPr/>
          </p:nvSpPr>
          <p:spPr bwMode="auto">
            <a:xfrm>
              <a:off x="27262138" y="-12328525"/>
              <a:ext cx="6811963" cy="6597650"/>
            </a:xfrm>
            <a:custGeom>
              <a:avLst/>
              <a:gdLst>
                <a:gd name="T0" fmla="*/ 1361 w 4291"/>
                <a:gd name="T1" fmla="*/ 3632 h 4156"/>
                <a:gd name="T2" fmla="*/ 1299 w 4291"/>
                <a:gd name="T3" fmla="*/ 3451 h 4156"/>
                <a:gd name="T4" fmla="*/ 1243 w 4291"/>
                <a:gd name="T5" fmla="*/ 3216 h 4156"/>
                <a:gd name="T6" fmla="*/ 1037 w 4291"/>
                <a:gd name="T7" fmla="*/ 3017 h 4156"/>
                <a:gd name="T8" fmla="*/ 918 w 4291"/>
                <a:gd name="T9" fmla="*/ 2998 h 4156"/>
                <a:gd name="T10" fmla="*/ 859 w 4291"/>
                <a:gd name="T11" fmla="*/ 2832 h 4156"/>
                <a:gd name="T12" fmla="*/ 640 w 4291"/>
                <a:gd name="T13" fmla="*/ 2570 h 4156"/>
                <a:gd name="T14" fmla="*/ 328 w 4291"/>
                <a:gd name="T15" fmla="*/ 2414 h 4156"/>
                <a:gd name="T16" fmla="*/ 150 w 4291"/>
                <a:gd name="T17" fmla="*/ 2233 h 4156"/>
                <a:gd name="T18" fmla="*/ 19 w 4291"/>
                <a:gd name="T19" fmla="*/ 1974 h 4156"/>
                <a:gd name="T20" fmla="*/ 44 w 4291"/>
                <a:gd name="T21" fmla="*/ 1827 h 4156"/>
                <a:gd name="T22" fmla="*/ 100 w 4291"/>
                <a:gd name="T23" fmla="*/ 1643 h 4156"/>
                <a:gd name="T24" fmla="*/ 144 w 4291"/>
                <a:gd name="T25" fmla="*/ 1368 h 4156"/>
                <a:gd name="T26" fmla="*/ 41 w 4291"/>
                <a:gd name="T27" fmla="*/ 1040 h 4156"/>
                <a:gd name="T28" fmla="*/ 187 w 4291"/>
                <a:gd name="T29" fmla="*/ 790 h 4156"/>
                <a:gd name="T30" fmla="*/ 297 w 4291"/>
                <a:gd name="T31" fmla="*/ 475 h 4156"/>
                <a:gd name="T32" fmla="*/ 231 w 4291"/>
                <a:gd name="T33" fmla="*/ 194 h 4156"/>
                <a:gd name="T34" fmla="*/ 403 w 4291"/>
                <a:gd name="T35" fmla="*/ 84 h 4156"/>
                <a:gd name="T36" fmla="*/ 518 w 4291"/>
                <a:gd name="T37" fmla="*/ 144 h 4156"/>
                <a:gd name="T38" fmla="*/ 681 w 4291"/>
                <a:gd name="T39" fmla="*/ 38 h 4156"/>
                <a:gd name="T40" fmla="*/ 781 w 4291"/>
                <a:gd name="T41" fmla="*/ 175 h 4156"/>
                <a:gd name="T42" fmla="*/ 996 w 4291"/>
                <a:gd name="T43" fmla="*/ 163 h 4156"/>
                <a:gd name="T44" fmla="*/ 1333 w 4291"/>
                <a:gd name="T45" fmla="*/ 106 h 4156"/>
                <a:gd name="T46" fmla="*/ 1558 w 4291"/>
                <a:gd name="T47" fmla="*/ 241 h 4156"/>
                <a:gd name="T48" fmla="*/ 1733 w 4291"/>
                <a:gd name="T49" fmla="*/ 275 h 4156"/>
                <a:gd name="T50" fmla="*/ 2030 w 4291"/>
                <a:gd name="T51" fmla="*/ 169 h 4156"/>
                <a:gd name="T52" fmla="*/ 2342 w 4291"/>
                <a:gd name="T53" fmla="*/ 222 h 4156"/>
                <a:gd name="T54" fmla="*/ 2579 w 4291"/>
                <a:gd name="T55" fmla="*/ 606 h 4156"/>
                <a:gd name="T56" fmla="*/ 2888 w 4291"/>
                <a:gd name="T57" fmla="*/ 953 h 4156"/>
                <a:gd name="T58" fmla="*/ 2985 w 4291"/>
                <a:gd name="T59" fmla="*/ 746 h 4156"/>
                <a:gd name="T60" fmla="*/ 3235 w 4291"/>
                <a:gd name="T61" fmla="*/ 931 h 4156"/>
                <a:gd name="T62" fmla="*/ 3341 w 4291"/>
                <a:gd name="T63" fmla="*/ 968 h 4156"/>
                <a:gd name="T64" fmla="*/ 3488 w 4291"/>
                <a:gd name="T65" fmla="*/ 993 h 4156"/>
                <a:gd name="T66" fmla="*/ 3760 w 4291"/>
                <a:gd name="T67" fmla="*/ 959 h 4156"/>
                <a:gd name="T68" fmla="*/ 3991 w 4291"/>
                <a:gd name="T69" fmla="*/ 887 h 4156"/>
                <a:gd name="T70" fmla="*/ 4203 w 4291"/>
                <a:gd name="T71" fmla="*/ 1087 h 4156"/>
                <a:gd name="T72" fmla="*/ 4206 w 4291"/>
                <a:gd name="T73" fmla="*/ 1252 h 4156"/>
                <a:gd name="T74" fmla="*/ 3991 w 4291"/>
                <a:gd name="T75" fmla="*/ 1396 h 4156"/>
                <a:gd name="T76" fmla="*/ 3688 w 4291"/>
                <a:gd name="T77" fmla="*/ 1390 h 4156"/>
                <a:gd name="T78" fmla="*/ 3472 w 4291"/>
                <a:gd name="T79" fmla="*/ 1302 h 4156"/>
                <a:gd name="T80" fmla="*/ 3388 w 4291"/>
                <a:gd name="T81" fmla="*/ 1168 h 4156"/>
                <a:gd name="T82" fmla="*/ 3313 w 4291"/>
                <a:gd name="T83" fmla="*/ 1383 h 4156"/>
                <a:gd name="T84" fmla="*/ 3376 w 4291"/>
                <a:gd name="T85" fmla="*/ 1615 h 4156"/>
                <a:gd name="T86" fmla="*/ 3529 w 4291"/>
                <a:gd name="T87" fmla="*/ 1805 h 4156"/>
                <a:gd name="T88" fmla="*/ 3703 w 4291"/>
                <a:gd name="T89" fmla="*/ 1761 h 4156"/>
                <a:gd name="T90" fmla="*/ 3741 w 4291"/>
                <a:gd name="T91" fmla="*/ 2108 h 4156"/>
                <a:gd name="T92" fmla="*/ 3663 w 4291"/>
                <a:gd name="T93" fmla="*/ 2320 h 4156"/>
                <a:gd name="T94" fmla="*/ 3507 w 4291"/>
                <a:gd name="T95" fmla="*/ 2576 h 4156"/>
                <a:gd name="T96" fmla="*/ 3513 w 4291"/>
                <a:gd name="T97" fmla="*/ 2867 h 4156"/>
                <a:gd name="T98" fmla="*/ 3632 w 4291"/>
                <a:gd name="T99" fmla="*/ 3048 h 4156"/>
                <a:gd name="T100" fmla="*/ 3491 w 4291"/>
                <a:gd name="T101" fmla="*/ 3298 h 4156"/>
                <a:gd name="T102" fmla="*/ 3441 w 4291"/>
                <a:gd name="T103" fmla="*/ 3535 h 4156"/>
                <a:gd name="T104" fmla="*/ 3313 w 4291"/>
                <a:gd name="T105" fmla="*/ 3847 h 4156"/>
                <a:gd name="T106" fmla="*/ 3291 w 4291"/>
                <a:gd name="T107" fmla="*/ 4075 h 4156"/>
                <a:gd name="T108" fmla="*/ 3194 w 4291"/>
                <a:gd name="T109" fmla="*/ 4150 h 4156"/>
                <a:gd name="T110" fmla="*/ 2948 w 4291"/>
                <a:gd name="T111" fmla="*/ 3997 h 4156"/>
                <a:gd name="T112" fmla="*/ 2701 w 4291"/>
                <a:gd name="T113" fmla="*/ 3941 h 4156"/>
                <a:gd name="T114" fmla="*/ 2395 w 4291"/>
                <a:gd name="T115" fmla="*/ 3841 h 4156"/>
                <a:gd name="T116" fmla="*/ 2092 w 4291"/>
                <a:gd name="T117" fmla="*/ 3860 h 4156"/>
                <a:gd name="T118" fmla="*/ 1914 w 4291"/>
                <a:gd name="T119" fmla="*/ 3757 h 4156"/>
                <a:gd name="T120" fmla="*/ 1730 w 4291"/>
                <a:gd name="T121" fmla="*/ 3866 h 4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91" h="4156">
                  <a:moveTo>
                    <a:pt x="1642" y="3913"/>
                  </a:moveTo>
                  <a:lnTo>
                    <a:pt x="1611" y="3913"/>
                  </a:lnTo>
                  <a:lnTo>
                    <a:pt x="1589" y="3910"/>
                  </a:lnTo>
                  <a:lnTo>
                    <a:pt x="1571" y="3894"/>
                  </a:lnTo>
                  <a:lnTo>
                    <a:pt x="1555" y="3872"/>
                  </a:lnTo>
                  <a:lnTo>
                    <a:pt x="1539" y="3853"/>
                  </a:lnTo>
                  <a:lnTo>
                    <a:pt x="1521" y="3838"/>
                  </a:lnTo>
                  <a:lnTo>
                    <a:pt x="1496" y="3822"/>
                  </a:lnTo>
                  <a:lnTo>
                    <a:pt x="1477" y="3803"/>
                  </a:lnTo>
                  <a:lnTo>
                    <a:pt x="1461" y="3778"/>
                  </a:lnTo>
                  <a:lnTo>
                    <a:pt x="1446" y="3744"/>
                  </a:lnTo>
                  <a:lnTo>
                    <a:pt x="1430" y="3716"/>
                  </a:lnTo>
                  <a:lnTo>
                    <a:pt x="1414" y="3694"/>
                  </a:lnTo>
                  <a:lnTo>
                    <a:pt x="1396" y="3669"/>
                  </a:lnTo>
                  <a:lnTo>
                    <a:pt x="1380" y="3650"/>
                  </a:lnTo>
                  <a:lnTo>
                    <a:pt x="1361" y="3632"/>
                  </a:lnTo>
                  <a:lnTo>
                    <a:pt x="1340" y="3613"/>
                  </a:lnTo>
                  <a:lnTo>
                    <a:pt x="1321" y="3597"/>
                  </a:lnTo>
                  <a:lnTo>
                    <a:pt x="1311" y="3594"/>
                  </a:lnTo>
                  <a:lnTo>
                    <a:pt x="1302" y="3588"/>
                  </a:lnTo>
                  <a:lnTo>
                    <a:pt x="1293" y="3585"/>
                  </a:lnTo>
                  <a:lnTo>
                    <a:pt x="1283" y="3579"/>
                  </a:lnTo>
                  <a:lnTo>
                    <a:pt x="1277" y="3572"/>
                  </a:lnTo>
                  <a:lnTo>
                    <a:pt x="1268" y="3557"/>
                  </a:lnTo>
                  <a:lnTo>
                    <a:pt x="1261" y="3532"/>
                  </a:lnTo>
                  <a:lnTo>
                    <a:pt x="1258" y="3510"/>
                  </a:lnTo>
                  <a:lnTo>
                    <a:pt x="1258" y="3488"/>
                  </a:lnTo>
                  <a:lnTo>
                    <a:pt x="1265" y="3482"/>
                  </a:lnTo>
                  <a:lnTo>
                    <a:pt x="1271" y="3472"/>
                  </a:lnTo>
                  <a:lnTo>
                    <a:pt x="1280" y="3466"/>
                  </a:lnTo>
                  <a:lnTo>
                    <a:pt x="1290" y="3460"/>
                  </a:lnTo>
                  <a:lnTo>
                    <a:pt x="1299" y="3451"/>
                  </a:lnTo>
                  <a:lnTo>
                    <a:pt x="1305" y="3444"/>
                  </a:lnTo>
                  <a:lnTo>
                    <a:pt x="1311" y="3419"/>
                  </a:lnTo>
                  <a:lnTo>
                    <a:pt x="1315" y="3391"/>
                  </a:lnTo>
                  <a:lnTo>
                    <a:pt x="1315" y="3363"/>
                  </a:lnTo>
                  <a:lnTo>
                    <a:pt x="1315" y="3338"/>
                  </a:lnTo>
                  <a:lnTo>
                    <a:pt x="1308" y="3310"/>
                  </a:lnTo>
                  <a:lnTo>
                    <a:pt x="1305" y="3285"/>
                  </a:lnTo>
                  <a:lnTo>
                    <a:pt x="1302" y="3266"/>
                  </a:lnTo>
                  <a:lnTo>
                    <a:pt x="1296" y="3248"/>
                  </a:lnTo>
                  <a:lnTo>
                    <a:pt x="1290" y="3226"/>
                  </a:lnTo>
                  <a:lnTo>
                    <a:pt x="1280" y="3213"/>
                  </a:lnTo>
                  <a:lnTo>
                    <a:pt x="1274" y="3213"/>
                  </a:lnTo>
                  <a:lnTo>
                    <a:pt x="1268" y="3213"/>
                  </a:lnTo>
                  <a:lnTo>
                    <a:pt x="1258" y="3213"/>
                  </a:lnTo>
                  <a:lnTo>
                    <a:pt x="1252" y="3216"/>
                  </a:lnTo>
                  <a:lnTo>
                    <a:pt x="1243" y="3216"/>
                  </a:lnTo>
                  <a:lnTo>
                    <a:pt x="1240" y="3213"/>
                  </a:lnTo>
                  <a:lnTo>
                    <a:pt x="1230" y="3198"/>
                  </a:lnTo>
                  <a:lnTo>
                    <a:pt x="1227" y="3176"/>
                  </a:lnTo>
                  <a:lnTo>
                    <a:pt x="1227" y="3151"/>
                  </a:lnTo>
                  <a:lnTo>
                    <a:pt x="1224" y="3129"/>
                  </a:lnTo>
                  <a:lnTo>
                    <a:pt x="1218" y="3113"/>
                  </a:lnTo>
                  <a:lnTo>
                    <a:pt x="1199" y="3107"/>
                  </a:lnTo>
                  <a:lnTo>
                    <a:pt x="1174" y="3104"/>
                  </a:lnTo>
                  <a:lnTo>
                    <a:pt x="1146" y="3104"/>
                  </a:lnTo>
                  <a:lnTo>
                    <a:pt x="1127" y="3101"/>
                  </a:lnTo>
                  <a:lnTo>
                    <a:pt x="1105" y="3095"/>
                  </a:lnTo>
                  <a:lnTo>
                    <a:pt x="1077" y="3085"/>
                  </a:lnTo>
                  <a:lnTo>
                    <a:pt x="1052" y="3073"/>
                  </a:lnTo>
                  <a:lnTo>
                    <a:pt x="1037" y="3057"/>
                  </a:lnTo>
                  <a:lnTo>
                    <a:pt x="1034" y="3042"/>
                  </a:lnTo>
                  <a:lnTo>
                    <a:pt x="1037" y="3017"/>
                  </a:lnTo>
                  <a:lnTo>
                    <a:pt x="1040" y="2995"/>
                  </a:lnTo>
                  <a:lnTo>
                    <a:pt x="1037" y="2979"/>
                  </a:lnTo>
                  <a:lnTo>
                    <a:pt x="1024" y="2967"/>
                  </a:lnTo>
                  <a:lnTo>
                    <a:pt x="1005" y="2954"/>
                  </a:lnTo>
                  <a:lnTo>
                    <a:pt x="984" y="2948"/>
                  </a:lnTo>
                  <a:lnTo>
                    <a:pt x="968" y="2945"/>
                  </a:lnTo>
                  <a:lnTo>
                    <a:pt x="959" y="2948"/>
                  </a:lnTo>
                  <a:lnTo>
                    <a:pt x="949" y="2951"/>
                  </a:lnTo>
                  <a:lnTo>
                    <a:pt x="940" y="2957"/>
                  </a:lnTo>
                  <a:lnTo>
                    <a:pt x="934" y="2963"/>
                  </a:lnTo>
                  <a:lnTo>
                    <a:pt x="927" y="2970"/>
                  </a:lnTo>
                  <a:lnTo>
                    <a:pt x="924" y="2976"/>
                  </a:lnTo>
                  <a:lnTo>
                    <a:pt x="924" y="2982"/>
                  </a:lnTo>
                  <a:lnTo>
                    <a:pt x="921" y="2988"/>
                  </a:lnTo>
                  <a:lnTo>
                    <a:pt x="918" y="2992"/>
                  </a:lnTo>
                  <a:lnTo>
                    <a:pt x="918" y="2998"/>
                  </a:lnTo>
                  <a:lnTo>
                    <a:pt x="902" y="2998"/>
                  </a:lnTo>
                  <a:lnTo>
                    <a:pt x="887" y="2995"/>
                  </a:lnTo>
                  <a:lnTo>
                    <a:pt x="871" y="2985"/>
                  </a:lnTo>
                  <a:lnTo>
                    <a:pt x="865" y="2979"/>
                  </a:lnTo>
                  <a:lnTo>
                    <a:pt x="862" y="2970"/>
                  </a:lnTo>
                  <a:lnTo>
                    <a:pt x="852" y="2954"/>
                  </a:lnTo>
                  <a:lnTo>
                    <a:pt x="840" y="2935"/>
                  </a:lnTo>
                  <a:lnTo>
                    <a:pt x="827" y="2917"/>
                  </a:lnTo>
                  <a:lnTo>
                    <a:pt x="824" y="2898"/>
                  </a:lnTo>
                  <a:lnTo>
                    <a:pt x="827" y="2892"/>
                  </a:lnTo>
                  <a:lnTo>
                    <a:pt x="831" y="2885"/>
                  </a:lnTo>
                  <a:lnTo>
                    <a:pt x="837" y="2876"/>
                  </a:lnTo>
                  <a:lnTo>
                    <a:pt x="840" y="2867"/>
                  </a:lnTo>
                  <a:lnTo>
                    <a:pt x="846" y="2860"/>
                  </a:lnTo>
                  <a:lnTo>
                    <a:pt x="849" y="2854"/>
                  </a:lnTo>
                  <a:lnTo>
                    <a:pt x="859" y="2832"/>
                  </a:lnTo>
                  <a:lnTo>
                    <a:pt x="868" y="2807"/>
                  </a:lnTo>
                  <a:lnTo>
                    <a:pt x="874" y="2785"/>
                  </a:lnTo>
                  <a:lnTo>
                    <a:pt x="871" y="2764"/>
                  </a:lnTo>
                  <a:lnTo>
                    <a:pt x="865" y="2732"/>
                  </a:lnTo>
                  <a:lnTo>
                    <a:pt x="856" y="2714"/>
                  </a:lnTo>
                  <a:lnTo>
                    <a:pt x="840" y="2704"/>
                  </a:lnTo>
                  <a:lnTo>
                    <a:pt x="818" y="2701"/>
                  </a:lnTo>
                  <a:lnTo>
                    <a:pt x="796" y="2701"/>
                  </a:lnTo>
                  <a:lnTo>
                    <a:pt x="777" y="2695"/>
                  </a:lnTo>
                  <a:lnTo>
                    <a:pt x="759" y="2686"/>
                  </a:lnTo>
                  <a:lnTo>
                    <a:pt x="740" y="2667"/>
                  </a:lnTo>
                  <a:lnTo>
                    <a:pt x="718" y="2648"/>
                  </a:lnTo>
                  <a:lnTo>
                    <a:pt x="703" y="2632"/>
                  </a:lnTo>
                  <a:lnTo>
                    <a:pt x="684" y="2614"/>
                  </a:lnTo>
                  <a:lnTo>
                    <a:pt x="662" y="2586"/>
                  </a:lnTo>
                  <a:lnTo>
                    <a:pt x="640" y="2570"/>
                  </a:lnTo>
                  <a:lnTo>
                    <a:pt x="621" y="2567"/>
                  </a:lnTo>
                  <a:lnTo>
                    <a:pt x="596" y="2567"/>
                  </a:lnTo>
                  <a:lnTo>
                    <a:pt x="578" y="2570"/>
                  </a:lnTo>
                  <a:lnTo>
                    <a:pt x="559" y="2570"/>
                  </a:lnTo>
                  <a:lnTo>
                    <a:pt x="537" y="2573"/>
                  </a:lnTo>
                  <a:lnTo>
                    <a:pt x="518" y="2570"/>
                  </a:lnTo>
                  <a:lnTo>
                    <a:pt x="503" y="2558"/>
                  </a:lnTo>
                  <a:lnTo>
                    <a:pt x="484" y="2539"/>
                  </a:lnTo>
                  <a:lnTo>
                    <a:pt x="468" y="2520"/>
                  </a:lnTo>
                  <a:lnTo>
                    <a:pt x="453" y="2508"/>
                  </a:lnTo>
                  <a:lnTo>
                    <a:pt x="428" y="2495"/>
                  </a:lnTo>
                  <a:lnTo>
                    <a:pt x="393" y="2486"/>
                  </a:lnTo>
                  <a:lnTo>
                    <a:pt x="368" y="2476"/>
                  </a:lnTo>
                  <a:lnTo>
                    <a:pt x="356" y="2458"/>
                  </a:lnTo>
                  <a:lnTo>
                    <a:pt x="340" y="2433"/>
                  </a:lnTo>
                  <a:lnTo>
                    <a:pt x="328" y="2414"/>
                  </a:lnTo>
                  <a:lnTo>
                    <a:pt x="322" y="2405"/>
                  </a:lnTo>
                  <a:lnTo>
                    <a:pt x="312" y="2395"/>
                  </a:lnTo>
                  <a:lnTo>
                    <a:pt x="303" y="2389"/>
                  </a:lnTo>
                  <a:lnTo>
                    <a:pt x="293" y="2380"/>
                  </a:lnTo>
                  <a:lnTo>
                    <a:pt x="284" y="2373"/>
                  </a:lnTo>
                  <a:lnTo>
                    <a:pt x="262" y="2364"/>
                  </a:lnTo>
                  <a:lnTo>
                    <a:pt x="237" y="2355"/>
                  </a:lnTo>
                  <a:lnTo>
                    <a:pt x="215" y="2342"/>
                  </a:lnTo>
                  <a:lnTo>
                    <a:pt x="209" y="2336"/>
                  </a:lnTo>
                  <a:lnTo>
                    <a:pt x="200" y="2326"/>
                  </a:lnTo>
                  <a:lnTo>
                    <a:pt x="194" y="2314"/>
                  </a:lnTo>
                  <a:lnTo>
                    <a:pt x="187" y="2301"/>
                  </a:lnTo>
                  <a:lnTo>
                    <a:pt x="181" y="2295"/>
                  </a:lnTo>
                  <a:lnTo>
                    <a:pt x="172" y="2277"/>
                  </a:lnTo>
                  <a:lnTo>
                    <a:pt x="159" y="2255"/>
                  </a:lnTo>
                  <a:lnTo>
                    <a:pt x="150" y="2233"/>
                  </a:lnTo>
                  <a:lnTo>
                    <a:pt x="144" y="2214"/>
                  </a:lnTo>
                  <a:lnTo>
                    <a:pt x="147" y="2192"/>
                  </a:lnTo>
                  <a:lnTo>
                    <a:pt x="156" y="2167"/>
                  </a:lnTo>
                  <a:lnTo>
                    <a:pt x="162" y="2142"/>
                  </a:lnTo>
                  <a:lnTo>
                    <a:pt x="169" y="2124"/>
                  </a:lnTo>
                  <a:lnTo>
                    <a:pt x="165" y="2102"/>
                  </a:lnTo>
                  <a:lnTo>
                    <a:pt x="162" y="2077"/>
                  </a:lnTo>
                  <a:lnTo>
                    <a:pt x="156" y="2052"/>
                  </a:lnTo>
                  <a:lnTo>
                    <a:pt x="150" y="2033"/>
                  </a:lnTo>
                  <a:lnTo>
                    <a:pt x="144" y="2024"/>
                  </a:lnTo>
                  <a:lnTo>
                    <a:pt x="134" y="2020"/>
                  </a:lnTo>
                  <a:lnTo>
                    <a:pt x="112" y="2014"/>
                  </a:lnTo>
                  <a:lnTo>
                    <a:pt x="90" y="2005"/>
                  </a:lnTo>
                  <a:lnTo>
                    <a:pt x="72" y="1999"/>
                  </a:lnTo>
                  <a:lnTo>
                    <a:pt x="47" y="1989"/>
                  </a:lnTo>
                  <a:lnTo>
                    <a:pt x="19" y="1974"/>
                  </a:lnTo>
                  <a:lnTo>
                    <a:pt x="3" y="1958"/>
                  </a:lnTo>
                  <a:lnTo>
                    <a:pt x="0" y="1936"/>
                  </a:lnTo>
                  <a:lnTo>
                    <a:pt x="3" y="1911"/>
                  </a:lnTo>
                  <a:lnTo>
                    <a:pt x="9" y="1892"/>
                  </a:lnTo>
                  <a:lnTo>
                    <a:pt x="16" y="1889"/>
                  </a:lnTo>
                  <a:lnTo>
                    <a:pt x="22" y="1886"/>
                  </a:lnTo>
                  <a:lnTo>
                    <a:pt x="28" y="1883"/>
                  </a:lnTo>
                  <a:lnTo>
                    <a:pt x="37" y="1880"/>
                  </a:lnTo>
                  <a:lnTo>
                    <a:pt x="44" y="1877"/>
                  </a:lnTo>
                  <a:lnTo>
                    <a:pt x="47" y="1871"/>
                  </a:lnTo>
                  <a:lnTo>
                    <a:pt x="50" y="1864"/>
                  </a:lnTo>
                  <a:lnTo>
                    <a:pt x="50" y="1858"/>
                  </a:lnTo>
                  <a:lnTo>
                    <a:pt x="50" y="1849"/>
                  </a:lnTo>
                  <a:lnTo>
                    <a:pt x="50" y="1839"/>
                  </a:lnTo>
                  <a:lnTo>
                    <a:pt x="47" y="1833"/>
                  </a:lnTo>
                  <a:lnTo>
                    <a:pt x="44" y="1827"/>
                  </a:lnTo>
                  <a:lnTo>
                    <a:pt x="37" y="1817"/>
                  </a:lnTo>
                  <a:lnTo>
                    <a:pt x="31" y="1808"/>
                  </a:lnTo>
                  <a:lnTo>
                    <a:pt x="28" y="1799"/>
                  </a:lnTo>
                  <a:lnTo>
                    <a:pt x="25" y="1793"/>
                  </a:lnTo>
                  <a:lnTo>
                    <a:pt x="22" y="1771"/>
                  </a:lnTo>
                  <a:lnTo>
                    <a:pt x="22" y="1746"/>
                  </a:lnTo>
                  <a:lnTo>
                    <a:pt x="25" y="1724"/>
                  </a:lnTo>
                  <a:lnTo>
                    <a:pt x="28" y="1705"/>
                  </a:lnTo>
                  <a:lnTo>
                    <a:pt x="34" y="1680"/>
                  </a:lnTo>
                  <a:lnTo>
                    <a:pt x="44" y="1658"/>
                  </a:lnTo>
                  <a:lnTo>
                    <a:pt x="56" y="1643"/>
                  </a:lnTo>
                  <a:lnTo>
                    <a:pt x="62" y="1640"/>
                  </a:lnTo>
                  <a:lnTo>
                    <a:pt x="72" y="1640"/>
                  </a:lnTo>
                  <a:lnTo>
                    <a:pt x="81" y="1643"/>
                  </a:lnTo>
                  <a:lnTo>
                    <a:pt x="90" y="1643"/>
                  </a:lnTo>
                  <a:lnTo>
                    <a:pt x="100" y="1643"/>
                  </a:lnTo>
                  <a:lnTo>
                    <a:pt x="106" y="1643"/>
                  </a:lnTo>
                  <a:lnTo>
                    <a:pt x="125" y="1627"/>
                  </a:lnTo>
                  <a:lnTo>
                    <a:pt x="147" y="1605"/>
                  </a:lnTo>
                  <a:lnTo>
                    <a:pt x="159" y="1583"/>
                  </a:lnTo>
                  <a:lnTo>
                    <a:pt x="169" y="1565"/>
                  </a:lnTo>
                  <a:lnTo>
                    <a:pt x="178" y="1540"/>
                  </a:lnTo>
                  <a:lnTo>
                    <a:pt x="184" y="1511"/>
                  </a:lnTo>
                  <a:lnTo>
                    <a:pt x="190" y="1490"/>
                  </a:lnTo>
                  <a:lnTo>
                    <a:pt x="190" y="1480"/>
                  </a:lnTo>
                  <a:lnTo>
                    <a:pt x="190" y="1471"/>
                  </a:lnTo>
                  <a:lnTo>
                    <a:pt x="190" y="1449"/>
                  </a:lnTo>
                  <a:lnTo>
                    <a:pt x="187" y="1421"/>
                  </a:lnTo>
                  <a:lnTo>
                    <a:pt x="181" y="1396"/>
                  </a:lnTo>
                  <a:lnTo>
                    <a:pt x="172" y="1377"/>
                  </a:lnTo>
                  <a:lnTo>
                    <a:pt x="159" y="1371"/>
                  </a:lnTo>
                  <a:lnTo>
                    <a:pt x="144" y="1368"/>
                  </a:lnTo>
                  <a:lnTo>
                    <a:pt x="125" y="1362"/>
                  </a:lnTo>
                  <a:lnTo>
                    <a:pt x="109" y="1355"/>
                  </a:lnTo>
                  <a:lnTo>
                    <a:pt x="100" y="1340"/>
                  </a:lnTo>
                  <a:lnTo>
                    <a:pt x="94" y="1321"/>
                  </a:lnTo>
                  <a:lnTo>
                    <a:pt x="90" y="1302"/>
                  </a:lnTo>
                  <a:lnTo>
                    <a:pt x="90" y="1280"/>
                  </a:lnTo>
                  <a:lnTo>
                    <a:pt x="94" y="1255"/>
                  </a:lnTo>
                  <a:lnTo>
                    <a:pt x="100" y="1230"/>
                  </a:lnTo>
                  <a:lnTo>
                    <a:pt x="100" y="1209"/>
                  </a:lnTo>
                  <a:lnTo>
                    <a:pt x="97" y="1177"/>
                  </a:lnTo>
                  <a:lnTo>
                    <a:pt x="87" y="1143"/>
                  </a:lnTo>
                  <a:lnTo>
                    <a:pt x="78" y="1115"/>
                  </a:lnTo>
                  <a:lnTo>
                    <a:pt x="69" y="1099"/>
                  </a:lnTo>
                  <a:lnTo>
                    <a:pt x="56" y="1077"/>
                  </a:lnTo>
                  <a:lnTo>
                    <a:pt x="44" y="1059"/>
                  </a:lnTo>
                  <a:lnTo>
                    <a:pt x="41" y="1040"/>
                  </a:lnTo>
                  <a:lnTo>
                    <a:pt x="47" y="1021"/>
                  </a:lnTo>
                  <a:lnTo>
                    <a:pt x="59" y="1002"/>
                  </a:lnTo>
                  <a:lnTo>
                    <a:pt x="72" y="987"/>
                  </a:lnTo>
                  <a:lnTo>
                    <a:pt x="81" y="971"/>
                  </a:lnTo>
                  <a:lnTo>
                    <a:pt x="87" y="953"/>
                  </a:lnTo>
                  <a:lnTo>
                    <a:pt x="90" y="928"/>
                  </a:lnTo>
                  <a:lnTo>
                    <a:pt x="94" y="906"/>
                  </a:lnTo>
                  <a:lnTo>
                    <a:pt x="100" y="890"/>
                  </a:lnTo>
                  <a:lnTo>
                    <a:pt x="109" y="884"/>
                  </a:lnTo>
                  <a:lnTo>
                    <a:pt x="119" y="878"/>
                  </a:lnTo>
                  <a:lnTo>
                    <a:pt x="128" y="868"/>
                  </a:lnTo>
                  <a:lnTo>
                    <a:pt x="140" y="862"/>
                  </a:lnTo>
                  <a:lnTo>
                    <a:pt x="147" y="856"/>
                  </a:lnTo>
                  <a:lnTo>
                    <a:pt x="162" y="840"/>
                  </a:lnTo>
                  <a:lnTo>
                    <a:pt x="175" y="815"/>
                  </a:lnTo>
                  <a:lnTo>
                    <a:pt x="187" y="790"/>
                  </a:lnTo>
                  <a:lnTo>
                    <a:pt x="194" y="768"/>
                  </a:lnTo>
                  <a:lnTo>
                    <a:pt x="190" y="750"/>
                  </a:lnTo>
                  <a:lnTo>
                    <a:pt x="181" y="725"/>
                  </a:lnTo>
                  <a:lnTo>
                    <a:pt x="172" y="703"/>
                  </a:lnTo>
                  <a:lnTo>
                    <a:pt x="169" y="684"/>
                  </a:lnTo>
                  <a:lnTo>
                    <a:pt x="175" y="659"/>
                  </a:lnTo>
                  <a:lnTo>
                    <a:pt x="184" y="634"/>
                  </a:lnTo>
                  <a:lnTo>
                    <a:pt x="200" y="609"/>
                  </a:lnTo>
                  <a:lnTo>
                    <a:pt x="215" y="590"/>
                  </a:lnTo>
                  <a:lnTo>
                    <a:pt x="231" y="581"/>
                  </a:lnTo>
                  <a:lnTo>
                    <a:pt x="250" y="572"/>
                  </a:lnTo>
                  <a:lnTo>
                    <a:pt x="265" y="559"/>
                  </a:lnTo>
                  <a:lnTo>
                    <a:pt x="281" y="540"/>
                  </a:lnTo>
                  <a:lnTo>
                    <a:pt x="293" y="515"/>
                  </a:lnTo>
                  <a:lnTo>
                    <a:pt x="300" y="494"/>
                  </a:lnTo>
                  <a:lnTo>
                    <a:pt x="297" y="475"/>
                  </a:lnTo>
                  <a:lnTo>
                    <a:pt x="287" y="450"/>
                  </a:lnTo>
                  <a:lnTo>
                    <a:pt x="278" y="425"/>
                  </a:lnTo>
                  <a:lnTo>
                    <a:pt x="268" y="406"/>
                  </a:lnTo>
                  <a:lnTo>
                    <a:pt x="265" y="397"/>
                  </a:lnTo>
                  <a:lnTo>
                    <a:pt x="265" y="384"/>
                  </a:lnTo>
                  <a:lnTo>
                    <a:pt x="268" y="362"/>
                  </a:lnTo>
                  <a:lnTo>
                    <a:pt x="268" y="337"/>
                  </a:lnTo>
                  <a:lnTo>
                    <a:pt x="268" y="312"/>
                  </a:lnTo>
                  <a:lnTo>
                    <a:pt x="265" y="291"/>
                  </a:lnTo>
                  <a:lnTo>
                    <a:pt x="262" y="284"/>
                  </a:lnTo>
                  <a:lnTo>
                    <a:pt x="253" y="275"/>
                  </a:lnTo>
                  <a:lnTo>
                    <a:pt x="247" y="266"/>
                  </a:lnTo>
                  <a:lnTo>
                    <a:pt x="240" y="256"/>
                  </a:lnTo>
                  <a:lnTo>
                    <a:pt x="234" y="250"/>
                  </a:lnTo>
                  <a:lnTo>
                    <a:pt x="231" y="225"/>
                  </a:lnTo>
                  <a:lnTo>
                    <a:pt x="231" y="194"/>
                  </a:lnTo>
                  <a:lnTo>
                    <a:pt x="237" y="163"/>
                  </a:lnTo>
                  <a:lnTo>
                    <a:pt x="247" y="141"/>
                  </a:lnTo>
                  <a:lnTo>
                    <a:pt x="259" y="134"/>
                  </a:lnTo>
                  <a:lnTo>
                    <a:pt x="278" y="131"/>
                  </a:lnTo>
                  <a:lnTo>
                    <a:pt x="300" y="128"/>
                  </a:lnTo>
                  <a:lnTo>
                    <a:pt x="312" y="122"/>
                  </a:lnTo>
                  <a:lnTo>
                    <a:pt x="325" y="109"/>
                  </a:lnTo>
                  <a:lnTo>
                    <a:pt x="337" y="94"/>
                  </a:lnTo>
                  <a:lnTo>
                    <a:pt x="350" y="75"/>
                  </a:lnTo>
                  <a:lnTo>
                    <a:pt x="362" y="66"/>
                  </a:lnTo>
                  <a:lnTo>
                    <a:pt x="368" y="66"/>
                  </a:lnTo>
                  <a:lnTo>
                    <a:pt x="378" y="69"/>
                  </a:lnTo>
                  <a:lnTo>
                    <a:pt x="384" y="72"/>
                  </a:lnTo>
                  <a:lnTo>
                    <a:pt x="393" y="75"/>
                  </a:lnTo>
                  <a:lnTo>
                    <a:pt x="400" y="78"/>
                  </a:lnTo>
                  <a:lnTo>
                    <a:pt x="403" y="84"/>
                  </a:lnTo>
                  <a:lnTo>
                    <a:pt x="409" y="91"/>
                  </a:lnTo>
                  <a:lnTo>
                    <a:pt x="412" y="97"/>
                  </a:lnTo>
                  <a:lnTo>
                    <a:pt x="415" y="103"/>
                  </a:lnTo>
                  <a:lnTo>
                    <a:pt x="421" y="106"/>
                  </a:lnTo>
                  <a:lnTo>
                    <a:pt x="434" y="106"/>
                  </a:lnTo>
                  <a:lnTo>
                    <a:pt x="453" y="103"/>
                  </a:lnTo>
                  <a:lnTo>
                    <a:pt x="475" y="97"/>
                  </a:lnTo>
                  <a:lnTo>
                    <a:pt x="490" y="94"/>
                  </a:lnTo>
                  <a:lnTo>
                    <a:pt x="506" y="97"/>
                  </a:lnTo>
                  <a:lnTo>
                    <a:pt x="509" y="100"/>
                  </a:lnTo>
                  <a:lnTo>
                    <a:pt x="512" y="106"/>
                  </a:lnTo>
                  <a:lnTo>
                    <a:pt x="512" y="116"/>
                  </a:lnTo>
                  <a:lnTo>
                    <a:pt x="512" y="125"/>
                  </a:lnTo>
                  <a:lnTo>
                    <a:pt x="512" y="131"/>
                  </a:lnTo>
                  <a:lnTo>
                    <a:pt x="515" y="141"/>
                  </a:lnTo>
                  <a:lnTo>
                    <a:pt x="518" y="144"/>
                  </a:lnTo>
                  <a:lnTo>
                    <a:pt x="534" y="150"/>
                  </a:lnTo>
                  <a:lnTo>
                    <a:pt x="559" y="156"/>
                  </a:lnTo>
                  <a:lnTo>
                    <a:pt x="581" y="153"/>
                  </a:lnTo>
                  <a:lnTo>
                    <a:pt x="596" y="147"/>
                  </a:lnTo>
                  <a:lnTo>
                    <a:pt x="606" y="134"/>
                  </a:lnTo>
                  <a:lnTo>
                    <a:pt x="609" y="116"/>
                  </a:lnTo>
                  <a:lnTo>
                    <a:pt x="615" y="97"/>
                  </a:lnTo>
                  <a:lnTo>
                    <a:pt x="621" y="81"/>
                  </a:lnTo>
                  <a:lnTo>
                    <a:pt x="628" y="78"/>
                  </a:lnTo>
                  <a:lnTo>
                    <a:pt x="637" y="75"/>
                  </a:lnTo>
                  <a:lnTo>
                    <a:pt x="646" y="72"/>
                  </a:lnTo>
                  <a:lnTo>
                    <a:pt x="656" y="69"/>
                  </a:lnTo>
                  <a:lnTo>
                    <a:pt x="662" y="66"/>
                  </a:lnTo>
                  <a:lnTo>
                    <a:pt x="668" y="59"/>
                  </a:lnTo>
                  <a:lnTo>
                    <a:pt x="674" y="50"/>
                  </a:lnTo>
                  <a:lnTo>
                    <a:pt x="681" y="38"/>
                  </a:lnTo>
                  <a:lnTo>
                    <a:pt x="684" y="28"/>
                  </a:lnTo>
                  <a:lnTo>
                    <a:pt x="690" y="22"/>
                  </a:lnTo>
                  <a:lnTo>
                    <a:pt x="706" y="10"/>
                  </a:lnTo>
                  <a:lnTo>
                    <a:pt x="724" y="0"/>
                  </a:lnTo>
                  <a:lnTo>
                    <a:pt x="743" y="0"/>
                  </a:lnTo>
                  <a:lnTo>
                    <a:pt x="746" y="3"/>
                  </a:lnTo>
                  <a:lnTo>
                    <a:pt x="746" y="6"/>
                  </a:lnTo>
                  <a:lnTo>
                    <a:pt x="746" y="13"/>
                  </a:lnTo>
                  <a:lnTo>
                    <a:pt x="746" y="16"/>
                  </a:lnTo>
                  <a:lnTo>
                    <a:pt x="746" y="19"/>
                  </a:lnTo>
                  <a:lnTo>
                    <a:pt x="746" y="44"/>
                  </a:lnTo>
                  <a:lnTo>
                    <a:pt x="743" y="72"/>
                  </a:lnTo>
                  <a:lnTo>
                    <a:pt x="746" y="94"/>
                  </a:lnTo>
                  <a:lnTo>
                    <a:pt x="752" y="122"/>
                  </a:lnTo>
                  <a:lnTo>
                    <a:pt x="765" y="150"/>
                  </a:lnTo>
                  <a:lnTo>
                    <a:pt x="781" y="175"/>
                  </a:lnTo>
                  <a:lnTo>
                    <a:pt x="784" y="181"/>
                  </a:lnTo>
                  <a:lnTo>
                    <a:pt x="793" y="184"/>
                  </a:lnTo>
                  <a:lnTo>
                    <a:pt x="802" y="191"/>
                  </a:lnTo>
                  <a:lnTo>
                    <a:pt x="812" y="197"/>
                  </a:lnTo>
                  <a:lnTo>
                    <a:pt x="818" y="200"/>
                  </a:lnTo>
                  <a:lnTo>
                    <a:pt x="827" y="200"/>
                  </a:lnTo>
                  <a:lnTo>
                    <a:pt x="846" y="194"/>
                  </a:lnTo>
                  <a:lnTo>
                    <a:pt x="871" y="178"/>
                  </a:lnTo>
                  <a:lnTo>
                    <a:pt x="893" y="159"/>
                  </a:lnTo>
                  <a:lnTo>
                    <a:pt x="915" y="153"/>
                  </a:lnTo>
                  <a:lnTo>
                    <a:pt x="927" y="153"/>
                  </a:lnTo>
                  <a:lnTo>
                    <a:pt x="946" y="163"/>
                  </a:lnTo>
                  <a:lnTo>
                    <a:pt x="965" y="169"/>
                  </a:lnTo>
                  <a:lnTo>
                    <a:pt x="977" y="172"/>
                  </a:lnTo>
                  <a:lnTo>
                    <a:pt x="987" y="169"/>
                  </a:lnTo>
                  <a:lnTo>
                    <a:pt x="996" y="163"/>
                  </a:lnTo>
                  <a:lnTo>
                    <a:pt x="1005" y="153"/>
                  </a:lnTo>
                  <a:lnTo>
                    <a:pt x="1015" y="147"/>
                  </a:lnTo>
                  <a:lnTo>
                    <a:pt x="1024" y="141"/>
                  </a:lnTo>
                  <a:lnTo>
                    <a:pt x="1043" y="122"/>
                  </a:lnTo>
                  <a:lnTo>
                    <a:pt x="1071" y="103"/>
                  </a:lnTo>
                  <a:lnTo>
                    <a:pt x="1096" y="84"/>
                  </a:lnTo>
                  <a:lnTo>
                    <a:pt x="1121" y="72"/>
                  </a:lnTo>
                  <a:lnTo>
                    <a:pt x="1140" y="72"/>
                  </a:lnTo>
                  <a:lnTo>
                    <a:pt x="1165" y="75"/>
                  </a:lnTo>
                  <a:lnTo>
                    <a:pt x="1183" y="78"/>
                  </a:lnTo>
                  <a:lnTo>
                    <a:pt x="1208" y="78"/>
                  </a:lnTo>
                  <a:lnTo>
                    <a:pt x="1240" y="78"/>
                  </a:lnTo>
                  <a:lnTo>
                    <a:pt x="1265" y="78"/>
                  </a:lnTo>
                  <a:lnTo>
                    <a:pt x="1286" y="84"/>
                  </a:lnTo>
                  <a:lnTo>
                    <a:pt x="1315" y="94"/>
                  </a:lnTo>
                  <a:lnTo>
                    <a:pt x="1333" y="106"/>
                  </a:lnTo>
                  <a:lnTo>
                    <a:pt x="1340" y="122"/>
                  </a:lnTo>
                  <a:lnTo>
                    <a:pt x="1340" y="141"/>
                  </a:lnTo>
                  <a:lnTo>
                    <a:pt x="1346" y="156"/>
                  </a:lnTo>
                  <a:lnTo>
                    <a:pt x="1361" y="175"/>
                  </a:lnTo>
                  <a:lnTo>
                    <a:pt x="1383" y="191"/>
                  </a:lnTo>
                  <a:lnTo>
                    <a:pt x="1405" y="203"/>
                  </a:lnTo>
                  <a:lnTo>
                    <a:pt x="1427" y="203"/>
                  </a:lnTo>
                  <a:lnTo>
                    <a:pt x="1452" y="200"/>
                  </a:lnTo>
                  <a:lnTo>
                    <a:pt x="1477" y="194"/>
                  </a:lnTo>
                  <a:lnTo>
                    <a:pt x="1499" y="197"/>
                  </a:lnTo>
                  <a:lnTo>
                    <a:pt x="1508" y="200"/>
                  </a:lnTo>
                  <a:lnTo>
                    <a:pt x="1518" y="206"/>
                  </a:lnTo>
                  <a:lnTo>
                    <a:pt x="1524" y="216"/>
                  </a:lnTo>
                  <a:lnTo>
                    <a:pt x="1533" y="222"/>
                  </a:lnTo>
                  <a:lnTo>
                    <a:pt x="1539" y="228"/>
                  </a:lnTo>
                  <a:lnTo>
                    <a:pt x="1558" y="241"/>
                  </a:lnTo>
                  <a:lnTo>
                    <a:pt x="1577" y="256"/>
                  </a:lnTo>
                  <a:lnTo>
                    <a:pt x="1592" y="272"/>
                  </a:lnTo>
                  <a:lnTo>
                    <a:pt x="1592" y="278"/>
                  </a:lnTo>
                  <a:lnTo>
                    <a:pt x="1596" y="284"/>
                  </a:lnTo>
                  <a:lnTo>
                    <a:pt x="1596" y="294"/>
                  </a:lnTo>
                  <a:lnTo>
                    <a:pt x="1596" y="303"/>
                  </a:lnTo>
                  <a:lnTo>
                    <a:pt x="1596" y="309"/>
                  </a:lnTo>
                  <a:lnTo>
                    <a:pt x="1599" y="316"/>
                  </a:lnTo>
                  <a:lnTo>
                    <a:pt x="1602" y="322"/>
                  </a:lnTo>
                  <a:lnTo>
                    <a:pt x="1614" y="325"/>
                  </a:lnTo>
                  <a:lnTo>
                    <a:pt x="1633" y="322"/>
                  </a:lnTo>
                  <a:lnTo>
                    <a:pt x="1652" y="319"/>
                  </a:lnTo>
                  <a:lnTo>
                    <a:pt x="1667" y="316"/>
                  </a:lnTo>
                  <a:lnTo>
                    <a:pt x="1689" y="303"/>
                  </a:lnTo>
                  <a:lnTo>
                    <a:pt x="1711" y="287"/>
                  </a:lnTo>
                  <a:lnTo>
                    <a:pt x="1733" y="275"/>
                  </a:lnTo>
                  <a:lnTo>
                    <a:pt x="1755" y="269"/>
                  </a:lnTo>
                  <a:lnTo>
                    <a:pt x="1777" y="262"/>
                  </a:lnTo>
                  <a:lnTo>
                    <a:pt x="1795" y="256"/>
                  </a:lnTo>
                  <a:lnTo>
                    <a:pt x="1814" y="234"/>
                  </a:lnTo>
                  <a:lnTo>
                    <a:pt x="1830" y="203"/>
                  </a:lnTo>
                  <a:lnTo>
                    <a:pt x="1845" y="178"/>
                  </a:lnTo>
                  <a:lnTo>
                    <a:pt x="1864" y="166"/>
                  </a:lnTo>
                  <a:lnTo>
                    <a:pt x="1886" y="150"/>
                  </a:lnTo>
                  <a:lnTo>
                    <a:pt x="1908" y="141"/>
                  </a:lnTo>
                  <a:lnTo>
                    <a:pt x="1933" y="138"/>
                  </a:lnTo>
                  <a:lnTo>
                    <a:pt x="1961" y="134"/>
                  </a:lnTo>
                  <a:lnTo>
                    <a:pt x="1989" y="138"/>
                  </a:lnTo>
                  <a:lnTo>
                    <a:pt x="2011" y="141"/>
                  </a:lnTo>
                  <a:lnTo>
                    <a:pt x="2017" y="147"/>
                  </a:lnTo>
                  <a:lnTo>
                    <a:pt x="2023" y="156"/>
                  </a:lnTo>
                  <a:lnTo>
                    <a:pt x="2030" y="169"/>
                  </a:lnTo>
                  <a:lnTo>
                    <a:pt x="2036" y="178"/>
                  </a:lnTo>
                  <a:lnTo>
                    <a:pt x="2039" y="184"/>
                  </a:lnTo>
                  <a:lnTo>
                    <a:pt x="2061" y="200"/>
                  </a:lnTo>
                  <a:lnTo>
                    <a:pt x="2089" y="219"/>
                  </a:lnTo>
                  <a:lnTo>
                    <a:pt x="2117" y="231"/>
                  </a:lnTo>
                  <a:lnTo>
                    <a:pt x="2142" y="241"/>
                  </a:lnTo>
                  <a:lnTo>
                    <a:pt x="2151" y="241"/>
                  </a:lnTo>
                  <a:lnTo>
                    <a:pt x="2161" y="237"/>
                  </a:lnTo>
                  <a:lnTo>
                    <a:pt x="2173" y="234"/>
                  </a:lnTo>
                  <a:lnTo>
                    <a:pt x="2183" y="231"/>
                  </a:lnTo>
                  <a:lnTo>
                    <a:pt x="2192" y="231"/>
                  </a:lnTo>
                  <a:lnTo>
                    <a:pt x="2220" y="225"/>
                  </a:lnTo>
                  <a:lnTo>
                    <a:pt x="2258" y="216"/>
                  </a:lnTo>
                  <a:lnTo>
                    <a:pt x="2295" y="212"/>
                  </a:lnTo>
                  <a:lnTo>
                    <a:pt x="2323" y="212"/>
                  </a:lnTo>
                  <a:lnTo>
                    <a:pt x="2342" y="222"/>
                  </a:lnTo>
                  <a:lnTo>
                    <a:pt x="2364" y="237"/>
                  </a:lnTo>
                  <a:lnTo>
                    <a:pt x="2386" y="253"/>
                  </a:lnTo>
                  <a:lnTo>
                    <a:pt x="2401" y="269"/>
                  </a:lnTo>
                  <a:lnTo>
                    <a:pt x="2426" y="287"/>
                  </a:lnTo>
                  <a:lnTo>
                    <a:pt x="2451" y="312"/>
                  </a:lnTo>
                  <a:lnTo>
                    <a:pt x="2470" y="334"/>
                  </a:lnTo>
                  <a:lnTo>
                    <a:pt x="2482" y="365"/>
                  </a:lnTo>
                  <a:lnTo>
                    <a:pt x="2492" y="403"/>
                  </a:lnTo>
                  <a:lnTo>
                    <a:pt x="2501" y="440"/>
                  </a:lnTo>
                  <a:lnTo>
                    <a:pt x="2511" y="472"/>
                  </a:lnTo>
                  <a:lnTo>
                    <a:pt x="2523" y="494"/>
                  </a:lnTo>
                  <a:lnTo>
                    <a:pt x="2539" y="518"/>
                  </a:lnTo>
                  <a:lnTo>
                    <a:pt x="2551" y="540"/>
                  </a:lnTo>
                  <a:lnTo>
                    <a:pt x="2561" y="559"/>
                  </a:lnTo>
                  <a:lnTo>
                    <a:pt x="2570" y="587"/>
                  </a:lnTo>
                  <a:lnTo>
                    <a:pt x="2579" y="606"/>
                  </a:lnTo>
                  <a:lnTo>
                    <a:pt x="2607" y="628"/>
                  </a:lnTo>
                  <a:lnTo>
                    <a:pt x="2639" y="650"/>
                  </a:lnTo>
                  <a:lnTo>
                    <a:pt x="2664" y="668"/>
                  </a:lnTo>
                  <a:lnTo>
                    <a:pt x="2682" y="690"/>
                  </a:lnTo>
                  <a:lnTo>
                    <a:pt x="2698" y="718"/>
                  </a:lnTo>
                  <a:lnTo>
                    <a:pt x="2714" y="750"/>
                  </a:lnTo>
                  <a:lnTo>
                    <a:pt x="2723" y="771"/>
                  </a:lnTo>
                  <a:lnTo>
                    <a:pt x="2735" y="803"/>
                  </a:lnTo>
                  <a:lnTo>
                    <a:pt x="2748" y="843"/>
                  </a:lnTo>
                  <a:lnTo>
                    <a:pt x="2760" y="881"/>
                  </a:lnTo>
                  <a:lnTo>
                    <a:pt x="2776" y="909"/>
                  </a:lnTo>
                  <a:lnTo>
                    <a:pt x="2792" y="921"/>
                  </a:lnTo>
                  <a:lnTo>
                    <a:pt x="2813" y="931"/>
                  </a:lnTo>
                  <a:lnTo>
                    <a:pt x="2832" y="937"/>
                  </a:lnTo>
                  <a:lnTo>
                    <a:pt x="2857" y="943"/>
                  </a:lnTo>
                  <a:lnTo>
                    <a:pt x="2888" y="953"/>
                  </a:lnTo>
                  <a:lnTo>
                    <a:pt x="2920" y="956"/>
                  </a:lnTo>
                  <a:lnTo>
                    <a:pt x="2941" y="953"/>
                  </a:lnTo>
                  <a:lnTo>
                    <a:pt x="2951" y="949"/>
                  </a:lnTo>
                  <a:lnTo>
                    <a:pt x="2960" y="943"/>
                  </a:lnTo>
                  <a:lnTo>
                    <a:pt x="2970" y="934"/>
                  </a:lnTo>
                  <a:lnTo>
                    <a:pt x="2979" y="924"/>
                  </a:lnTo>
                  <a:lnTo>
                    <a:pt x="2985" y="915"/>
                  </a:lnTo>
                  <a:lnTo>
                    <a:pt x="2991" y="906"/>
                  </a:lnTo>
                  <a:lnTo>
                    <a:pt x="2991" y="890"/>
                  </a:lnTo>
                  <a:lnTo>
                    <a:pt x="2985" y="871"/>
                  </a:lnTo>
                  <a:lnTo>
                    <a:pt x="2979" y="853"/>
                  </a:lnTo>
                  <a:lnTo>
                    <a:pt x="2976" y="837"/>
                  </a:lnTo>
                  <a:lnTo>
                    <a:pt x="2973" y="815"/>
                  </a:lnTo>
                  <a:lnTo>
                    <a:pt x="2973" y="787"/>
                  </a:lnTo>
                  <a:lnTo>
                    <a:pt x="2976" y="762"/>
                  </a:lnTo>
                  <a:lnTo>
                    <a:pt x="2985" y="746"/>
                  </a:lnTo>
                  <a:lnTo>
                    <a:pt x="3004" y="737"/>
                  </a:lnTo>
                  <a:lnTo>
                    <a:pt x="3032" y="737"/>
                  </a:lnTo>
                  <a:lnTo>
                    <a:pt x="3060" y="743"/>
                  </a:lnTo>
                  <a:lnTo>
                    <a:pt x="3082" y="746"/>
                  </a:lnTo>
                  <a:lnTo>
                    <a:pt x="3104" y="756"/>
                  </a:lnTo>
                  <a:lnTo>
                    <a:pt x="3132" y="771"/>
                  </a:lnTo>
                  <a:lnTo>
                    <a:pt x="3151" y="781"/>
                  </a:lnTo>
                  <a:lnTo>
                    <a:pt x="3169" y="790"/>
                  </a:lnTo>
                  <a:lnTo>
                    <a:pt x="3191" y="800"/>
                  </a:lnTo>
                  <a:lnTo>
                    <a:pt x="3207" y="809"/>
                  </a:lnTo>
                  <a:lnTo>
                    <a:pt x="3219" y="825"/>
                  </a:lnTo>
                  <a:lnTo>
                    <a:pt x="3232" y="849"/>
                  </a:lnTo>
                  <a:lnTo>
                    <a:pt x="3241" y="871"/>
                  </a:lnTo>
                  <a:lnTo>
                    <a:pt x="3248" y="893"/>
                  </a:lnTo>
                  <a:lnTo>
                    <a:pt x="3244" y="912"/>
                  </a:lnTo>
                  <a:lnTo>
                    <a:pt x="3235" y="931"/>
                  </a:lnTo>
                  <a:lnTo>
                    <a:pt x="3229" y="949"/>
                  </a:lnTo>
                  <a:lnTo>
                    <a:pt x="3232" y="971"/>
                  </a:lnTo>
                  <a:lnTo>
                    <a:pt x="3238" y="996"/>
                  </a:lnTo>
                  <a:lnTo>
                    <a:pt x="3248" y="1015"/>
                  </a:lnTo>
                  <a:lnTo>
                    <a:pt x="3266" y="1024"/>
                  </a:lnTo>
                  <a:lnTo>
                    <a:pt x="3291" y="1031"/>
                  </a:lnTo>
                  <a:lnTo>
                    <a:pt x="3319" y="1031"/>
                  </a:lnTo>
                  <a:lnTo>
                    <a:pt x="3338" y="1024"/>
                  </a:lnTo>
                  <a:lnTo>
                    <a:pt x="3341" y="1018"/>
                  </a:lnTo>
                  <a:lnTo>
                    <a:pt x="3344" y="1012"/>
                  </a:lnTo>
                  <a:lnTo>
                    <a:pt x="3344" y="1006"/>
                  </a:lnTo>
                  <a:lnTo>
                    <a:pt x="3344" y="996"/>
                  </a:lnTo>
                  <a:lnTo>
                    <a:pt x="3344" y="990"/>
                  </a:lnTo>
                  <a:lnTo>
                    <a:pt x="3344" y="984"/>
                  </a:lnTo>
                  <a:lnTo>
                    <a:pt x="3344" y="978"/>
                  </a:lnTo>
                  <a:lnTo>
                    <a:pt x="3341" y="968"/>
                  </a:lnTo>
                  <a:lnTo>
                    <a:pt x="3341" y="959"/>
                  </a:lnTo>
                  <a:lnTo>
                    <a:pt x="3341" y="949"/>
                  </a:lnTo>
                  <a:lnTo>
                    <a:pt x="3344" y="946"/>
                  </a:lnTo>
                  <a:lnTo>
                    <a:pt x="3347" y="943"/>
                  </a:lnTo>
                  <a:lnTo>
                    <a:pt x="3357" y="940"/>
                  </a:lnTo>
                  <a:lnTo>
                    <a:pt x="3363" y="940"/>
                  </a:lnTo>
                  <a:lnTo>
                    <a:pt x="3372" y="940"/>
                  </a:lnTo>
                  <a:lnTo>
                    <a:pt x="3379" y="940"/>
                  </a:lnTo>
                  <a:lnTo>
                    <a:pt x="3401" y="943"/>
                  </a:lnTo>
                  <a:lnTo>
                    <a:pt x="3429" y="946"/>
                  </a:lnTo>
                  <a:lnTo>
                    <a:pt x="3457" y="953"/>
                  </a:lnTo>
                  <a:lnTo>
                    <a:pt x="3479" y="962"/>
                  </a:lnTo>
                  <a:lnTo>
                    <a:pt x="3482" y="968"/>
                  </a:lnTo>
                  <a:lnTo>
                    <a:pt x="3485" y="974"/>
                  </a:lnTo>
                  <a:lnTo>
                    <a:pt x="3485" y="984"/>
                  </a:lnTo>
                  <a:lnTo>
                    <a:pt x="3488" y="993"/>
                  </a:lnTo>
                  <a:lnTo>
                    <a:pt x="3488" y="999"/>
                  </a:lnTo>
                  <a:lnTo>
                    <a:pt x="3494" y="1006"/>
                  </a:lnTo>
                  <a:lnTo>
                    <a:pt x="3507" y="1009"/>
                  </a:lnTo>
                  <a:lnTo>
                    <a:pt x="3525" y="1009"/>
                  </a:lnTo>
                  <a:lnTo>
                    <a:pt x="3547" y="1009"/>
                  </a:lnTo>
                  <a:lnTo>
                    <a:pt x="3563" y="1006"/>
                  </a:lnTo>
                  <a:lnTo>
                    <a:pt x="3588" y="996"/>
                  </a:lnTo>
                  <a:lnTo>
                    <a:pt x="3613" y="984"/>
                  </a:lnTo>
                  <a:lnTo>
                    <a:pt x="3638" y="974"/>
                  </a:lnTo>
                  <a:lnTo>
                    <a:pt x="3663" y="974"/>
                  </a:lnTo>
                  <a:lnTo>
                    <a:pt x="3694" y="971"/>
                  </a:lnTo>
                  <a:lnTo>
                    <a:pt x="3719" y="971"/>
                  </a:lnTo>
                  <a:lnTo>
                    <a:pt x="3728" y="968"/>
                  </a:lnTo>
                  <a:lnTo>
                    <a:pt x="3738" y="965"/>
                  </a:lnTo>
                  <a:lnTo>
                    <a:pt x="3750" y="962"/>
                  </a:lnTo>
                  <a:lnTo>
                    <a:pt x="3760" y="959"/>
                  </a:lnTo>
                  <a:lnTo>
                    <a:pt x="3766" y="953"/>
                  </a:lnTo>
                  <a:lnTo>
                    <a:pt x="3769" y="937"/>
                  </a:lnTo>
                  <a:lnTo>
                    <a:pt x="3766" y="918"/>
                  </a:lnTo>
                  <a:lnTo>
                    <a:pt x="3763" y="896"/>
                  </a:lnTo>
                  <a:lnTo>
                    <a:pt x="3766" y="881"/>
                  </a:lnTo>
                  <a:lnTo>
                    <a:pt x="3778" y="865"/>
                  </a:lnTo>
                  <a:lnTo>
                    <a:pt x="3797" y="853"/>
                  </a:lnTo>
                  <a:lnTo>
                    <a:pt x="3816" y="840"/>
                  </a:lnTo>
                  <a:lnTo>
                    <a:pt x="3835" y="837"/>
                  </a:lnTo>
                  <a:lnTo>
                    <a:pt x="3856" y="834"/>
                  </a:lnTo>
                  <a:lnTo>
                    <a:pt x="3875" y="831"/>
                  </a:lnTo>
                  <a:lnTo>
                    <a:pt x="3903" y="837"/>
                  </a:lnTo>
                  <a:lnTo>
                    <a:pt x="3935" y="843"/>
                  </a:lnTo>
                  <a:lnTo>
                    <a:pt x="3966" y="856"/>
                  </a:lnTo>
                  <a:lnTo>
                    <a:pt x="3984" y="871"/>
                  </a:lnTo>
                  <a:lnTo>
                    <a:pt x="3991" y="887"/>
                  </a:lnTo>
                  <a:lnTo>
                    <a:pt x="3991" y="906"/>
                  </a:lnTo>
                  <a:lnTo>
                    <a:pt x="3991" y="928"/>
                  </a:lnTo>
                  <a:lnTo>
                    <a:pt x="3994" y="943"/>
                  </a:lnTo>
                  <a:lnTo>
                    <a:pt x="4006" y="965"/>
                  </a:lnTo>
                  <a:lnTo>
                    <a:pt x="4025" y="987"/>
                  </a:lnTo>
                  <a:lnTo>
                    <a:pt x="4047" y="1009"/>
                  </a:lnTo>
                  <a:lnTo>
                    <a:pt x="4059" y="1027"/>
                  </a:lnTo>
                  <a:lnTo>
                    <a:pt x="4069" y="1043"/>
                  </a:lnTo>
                  <a:lnTo>
                    <a:pt x="4075" y="1062"/>
                  </a:lnTo>
                  <a:lnTo>
                    <a:pt x="4084" y="1081"/>
                  </a:lnTo>
                  <a:lnTo>
                    <a:pt x="4094" y="1090"/>
                  </a:lnTo>
                  <a:lnTo>
                    <a:pt x="4116" y="1093"/>
                  </a:lnTo>
                  <a:lnTo>
                    <a:pt x="4141" y="1090"/>
                  </a:lnTo>
                  <a:lnTo>
                    <a:pt x="4166" y="1084"/>
                  </a:lnTo>
                  <a:lnTo>
                    <a:pt x="4187" y="1081"/>
                  </a:lnTo>
                  <a:lnTo>
                    <a:pt x="4203" y="1087"/>
                  </a:lnTo>
                  <a:lnTo>
                    <a:pt x="4225" y="1096"/>
                  </a:lnTo>
                  <a:lnTo>
                    <a:pt x="4250" y="1109"/>
                  </a:lnTo>
                  <a:lnTo>
                    <a:pt x="4272" y="1118"/>
                  </a:lnTo>
                  <a:lnTo>
                    <a:pt x="4287" y="1127"/>
                  </a:lnTo>
                  <a:lnTo>
                    <a:pt x="4291" y="1131"/>
                  </a:lnTo>
                  <a:lnTo>
                    <a:pt x="4291" y="1137"/>
                  </a:lnTo>
                  <a:lnTo>
                    <a:pt x="4284" y="1152"/>
                  </a:lnTo>
                  <a:lnTo>
                    <a:pt x="4275" y="1174"/>
                  </a:lnTo>
                  <a:lnTo>
                    <a:pt x="4269" y="1193"/>
                  </a:lnTo>
                  <a:lnTo>
                    <a:pt x="4259" y="1209"/>
                  </a:lnTo>
                  <a:lnTo>
                    <a:pt x="4253" y="1215"/>
                  </a:lnTo>
                  <a:lnTo>
                    <a:pt x="4244" y="1218"/>
                  </a:lnTo>
                  <a:lnTo>
                    <a:pt x="4234" y="1224"/>
                  </a:lnTo>
                  <a:lnTo>
                    <a:pt x="4225" y="1230"/>
                  </a:lnTo>
                  <a:lnTo>
                    <a:pt x="4219" y="1237"/>
                  </a:lnTo>
                  <a:lnTo>
                    <a:pt x="4206" y="1252"/>
                  </a:lnTo>
                  <a:lnTo>
                    <a:pt x="4197" y="1274"/>
                  </a:lnTo>
                  <a:lnTo>
                    <a:pt x="4194" y="1296"/>
                  </a:lnTo>
                  <a:lnTo>
                    <a:pt x="4194" y="1312"/>
                  </a:lnTo>
                  <a:lnTo>
                    <a:pt x="4200" y="1330"/>
                  </a:lnTo>
                  <a:lnTo>
                    <a:pt x="4206" y="1349"/>
                  </a:lnTo>
                  <a:lnTo>
                    <a:pt x="4209" y="1365"/>
                  </a:lnTo>
                  <a:lnTo>
                    <a:pt x="4197" y="1387"/>
                  </a:lnTo>
                  <a:lnTo>
                    <a:pt x="4181" y="1405"/>
                  </a:lnTo>
                  <a:lnTo>
                    <a:pt x="4162" y="1421"/>
                  </a:lnTo>
                  <a:lnTo>
                    <a:pt x="4137" y="1427"/>
                  </a:lnTo>
                  <a:lnTo>
                    <a:pt x="4103" y="1430"/>
                  </a:lnTo>
                  <a:lnTo>
                    <a:pt x="4078" y="1427"/>
                  </a:lnTo>
                  <a:lnTo>
                    <a:pt x="4056" y="1418"/>
                  </a:lnTo>
                  <a:lnTo>
                    <a:pt x="4034" y="1405"/>
                  </a:lnTo>
                  <a:lnTo>
                    <a:pt x="4013" y="1396"/>
                  </a:lnTo>
                  <a:lnTo>
                    <a:pt x="3991" y="1396"/>
                  </a:lnTo>
                  <a:lnTo>
                    <a:pt x="3966" y="1396"/>
                  </a:lnTo>
                  <a:lnTo>
                    <a:pt x="3944" y="1399"/>
                  </a:lnTo>
                  <a:lnTo>
                    <a:pt x="3938" y="1402"/>
                  </a:lnTo>
                  <a:lnTo>
                    <a:pt x="3928" y="1408"/>
                  </a:lnTo>
                  <a:lnTo>
                    <a:pt x="3919" y="1418"/>
                  </a:lnTo>
                  <a:lnTo>
                    <a:pt x="3910" y="1424"/>
                  </a:lnTo>
                  <a:lnTo>
                    <a:pt x="3900" y="1427"/>
                  </a:lnTo>
                  <a:lnTo>
                    <a:pt x="3869" y="1430"/>
                  </a:lnTo>
                  <a:lnTo>
                    <a:pt x="3831" y="1430"/>
                  </a:lnTo>
                  <a:lnTo>
                    <a:pt x="3800" y="1424"/>
                  </a:lnTo>
                  <a:lnTo>
                    <a:pt x="3782" y="1415"/>
                  </a:lnTo>
                  <a:lnTo>
                    <a:pt x="3760" y="1399"/>
                  </a:lnTo>
                  <a:lnTo>
                    <a:pt x="3744" y="1387"/>
                  </a:lnTo>
                  <a:lnTo>
                    <a:pt x="3725" y="1387"/>
                  </a:lnTo>
                  <a:lnTo>
                    <a:pt x="3707" y="1387"/>
                  </a:lnTo>
                  <a:lnTo>
                    <a:pt x="3688" y="1390"/>
                  </a:lnTo>
                  <a:lnTo>
                    <a:pt x="3672" y="1387"/>
                  </a:lnTo>
                  <a:lnTo>
                    <a:pt x="3660" y="1374"/>
                  </a:lnTo>
                  <a:lnTo>
                    <a:pt x="3650" y="1358"/>
                  </a:lnTo>
                  <a:lnTo>
                    <a:pt x="3644" y="1340"/>
                  </a:lnTo>
                  <a:lnTo>
                    <a:pt x="3632" y="1324"/>
                  </a:lnTo>
                  <a:lnTo>
                    <a:pt x="3625" y="1321"/>
                  </a:lnTo>
                  <a:lnTo>
                    <a:pt x="3616" y="1315"/>
                  </a:lnTo>
                  <a:lnTo>
                    <a:pt x="3604" y="1312"/>
                  </a:lnTo>
                  <a:lnTo>
                    <a:pt x="3594" y="1309"/>
                  </a:lnTo>
                  <a:lnTo>
                    <a:pt x="3585" y="1309"/>
                  </a:lnTo>
                  <a:lnTo>
                    <a:pt x="3563" y="1305"/>
                  </a:lnTo>
                  <a:lnTo>
                    <a:pt x="3538" y="1305"/>
                  </a:lnTo>
                  <a:lnTo>
                    <a:pt x="3519" y="1305"/>
                  </a:lnTo>
                  <a:lnTo>
                    <a:pt x="3504" y="1305"/>
                  </a:lnTo>
                  <a:lnTo>
                    <a:pt x="3488" y="1305"/>
                  </a:lnTo>
                  <a:lnTo>
                    <a:pt x="3472" y="1302"/>
                  </a:lnTo>
                  <a:lnTo>
                    <a:pt x="3463" y="1296"/>
                  </a:lnTo>
                  <a:lnTo>
                    <a:pt x="3457" y="1284"/>
                  </a:lnTo>
                  <a:lnTo>
                    <a:pt x="3460" y="1268"/>
                  </a:lnTo>
                  <a:lnTo>
                    <a:pt x="3463" y="1249"/>
                  </a:lnTo>
                  <a:lnTo>
                    <a:pt x="3463" y="1234"/>
                  </a:lnTo>
                  <a:lnTo>
                    <a:pt x="3466" y="1218"/>
                  </a:lnTo>
                  <a:lnTo>
                    <a:pt x="3466" y="1196"/>
                  </a:lnTo>
                  <a:lnTo>
                    <a:pt x="3463" y="1184"/>
                  </a:lnTo>
                  <a:lnTo>
                    <a:pt x="3460" y="1174"/>
                  </a:lnTo>
                  <a:lnTo>
                    <a:pt x="3454" y="1168"/>
                  </a:lnTo>
                  <a:lnTo>
                    <a:pt x="3444" y="1162"/>
                  </a:lnTo>
                  <a:lnTo>
                    <a:pt x="3435" y="1156"/>
                  </a:lnTo>
                  <a:lnTo>
                    <a:pt x="3426" y="1152"/>
                  </a:lnTo>
                  <a:lnTo>
                    <a:pt x="3419" y="1152"/>
                  </a:lnTo>
                  <a:lnTo>
                    <a:pt x="3404" y="1156"/>
                  </a:lnTo>
                  <a:lnTo>
                    <a:pt x="3388" y="1168"/>
                  </a:lnTo>
                  <a:lnTo>
                    <a:pt x="3372" y="1180"/>
                  </a:lnTo>
                  <a:lnTo>
                    <a:pt x="3363" y="1196"/>
                  </a:lnTo>
                  <a:lnTo>
                    <a:pt x="3363" y="1212"/>
                  </a:lnTo>
                  <a:lnTo>
                    <a:pt x="3363" y="1234"/>
                  </a:lnTo>
                  <a:lnTo>
                    <a:pt x="3366" y="1255"/>
                  </a:lnTo>
                  <a:lnTo>
                    <a:pt x="3363" y="1271"/>
                  </a:lnTo>
                  <a:lnTo>
                    <a:pt x="3360" y="1277"/>
                  </a:lnTo>
                  <a:lnTo>
                    <a:pt x="3351" y="1284"/>
                  </a:lnTo>
                  <a:lnTo>
                    <a:pt x="3341" y="1293"/>
                  </a:lnTo>
                  <a:lnTo>
                    <a:pt x="3335" y="1299"/>
                  </a:lnTo>
                  <a:lnTo>
                    <a:pt x="3329" y="1305"/>
                  </a:lnTo>
                  <a:lnTo>
                    <a:pt x="3326" y="1321"/>
                  </a:lnTo>
                  <a:lnTo>
                    <a:pt x="3326" y="1340"/>
                  </a:lnTo>
                  <a:lnTo>
                    <a:pt x="3326" y="1358"/>
                  </a:lnTo>
                  <a:lnTo>
                    <a:pt x="3322" y="1374"/>
                  </a:lnTo>
                  <a:lnTo>
                    <a:pt x="3313" y="1383"/>
                  </a:lnTo>
                  <a:lnTo>
                    <a:pt x="3294" y="1393"/>
                  </a:lnTo>
                  <a:lnTo>
                    <a:pt x="3276" y="1402"/>
                  </a:lnTo>
                  <a:lnTo>
                    <a:pt x="3266" y="1412"/>
                  </a:lnTo>
                  <a:lnTo>
                    <a:pt x="3260" y="1437"/>
                  </a:lnTo>
                  <a:lnTo>
                    <a:pt x="3257" y="1468"/>
                  </a:lnTo>
                  <a:lnTo>
                    <a:pt x="3260" y="1499"/>
                  </a:lnTo>
                  <a:lnTo>
                    <a:pt x="3266" y="1524"/>
                  </a:lnTo>
                  <a:lnTo>
                    <a:pt x="3269" y="1543"/>
                  </a:lnTo>
                  <a:lnTo>
                    <a:pt x="3273" y="1568"/>
                  </a:lnTo>
                  <a:lnTo>
                    <a:pt x="3279" y="1590"/>
                  </a:lnTo>
                  <a:lnTo>
                    <a:pt x="3291" y="1605"/>
                  </a:lnTo>
                  <a:lnTo>
                    <a:pt x="3304" y="1608"/>
                  </a:lnTo>
                  <a:lnTo>
                    <a:pt x="3319" y="1605"/>
                  </a:lnTo>
                  <a:lnTo>
                    <a:pt x="3338" y="1602"/>
                  </a:lnTo>
                  <a:lnTo>
                    <a:pt x="3351" y="1605"/>
                  </a:lnTo>
                  <a:lnTo>
                    <a:pt x="3376" y="1615"/>
                  </a:lnTo>
                  <a:lnTo>
                    <a:pt x="3404" y="1630"/>
                  </a:lnTo>
                  <a:lnTo>
                    <a:pt x="3426" y="1652"/>
                  </a:lnTo>
                  <a:lnTo>
                    <a:pt x="3435" y="1674"/>
                  </a:lnTo>
                  <a:lnTo>
                    <a:pt x="3432" y="1686"/>
                  </a:lnTo>
                  <a:lnTo>
                    <a:pt x="3416" y="1702"/>
                  </a:lnTo>
                  <a:lnTo>
                    <a:pt x="3401" y="1718"/>
                  </a:lnTo>
                  <a:lnTo>
                    <a:pt x="3394" y="1730"/>
                  </a:lnTo>
                  <a:lnTo>
                    <a:pt x="3397" y="1736"/>
                  </a:lnTo>
                  <a:lnTo>
                    <a:pt x="3404" y="1743"/>
                  </a:lnTo>
                  <a:lnTo>
                    <a:pt x="3413" y="1749"/>
                  </a:lnTo>
                  <a:lnTo>
                    <a:pt x="3422" y="1752"/>
                  </a:lnTo>
                  <a:lnTo>
                    <a:pt x="3429" y="1758"/>
                  </a:lnTo>
                  <a:lnTo>
                    <a:pt x="3454" y="1774"/>
                  </a:lnTo>
                  <a:lnTo>
                    <a:pt x="3482" y="1789"/>
                  </a:lnTo>
                  <a:lnTo>
                    <a:pt x="3507" y="1802"/>
                  </a:lnTo>
                  <a:lnTo>
                    <a:pt x="3529" y="1805"/>
                  </a:lnTo>
                  <a:lnTo>
                    <a:pt x="3550" y="1805"/>
                  </a:lnTo>
                  <a:lnTo>
                    <a:pt x="3569" y="1802"/>
                  </a:lnTo>
                  <a:lnTo>
                    <a:pt x="3579" y="1786"/>
                  </a:lnTo>
                  <a:lnTo>
                    <a:pt x="3585" y="1768"/>
                  </a:lnTo>
                  <a:lnTo>
                    <a:pt x="3588" y="1746"/>
                  </a:lnTo>
                  <a:lnTo>
                    <a:pt x="3594" y="1730"/>
                  </a:lnTo>
                  <a:lnTo>
                    <a:pt x="3597" y="1724"/>
                  </a:lnTo>
                  <a:lnTo>
                    <a:pt x="3600" y="1714"/>
                  </a:lnTo>
                  <a:lnTo>
                    <a:pt x="3607" y="1708"/>
                  </a:lnTo>
                  <a:lnTo>
                    <a:pt x="3610" y="1702"/>
                  </a:lnTo>
                  <a:lnTo>
                    <a:pt x="3616" y="1699"/>
                  </a:lnTo>
                  <a:lnTo>
                    <a:pt x="3635" y="1699"/>
                  </a:lnTo>
                  <a:lnTo>
                    <a:pt x="3653" y="1708"/>
                  </a:lnTo>
                  <a:lnTo>
                    <a:pt x="3672" y="1718"/>
                  </a:lnTo>
                  <a:lnTo>
                    <a:pt x="3688" y="1736"/>
                  </a:lnTo>
                  <a:lnTo>
                    <a:pt x="3703" y="1761"/>
                  </a:lnTo>
                  <a:lnTo>
                    <a:pt x="3713" y="1783"/>
                  </a:lnTo>
                  <a:lnTo>
                    <a:pt x="3710" y="1802"/>
                  </a:lnTo>
                  <a:lnTo>
                    <a:pt x="3703" y="1824"/>
                  </a:lnTo>
                  <a:lnTo>
                    <a:pt x="3694" y="1849"/>
                  </a:lnTo>
                  <a:lnTo>
                    <a:pt x="3688" y="1867"/>
                  </a:lnTo>
                  <a:lnTo>
                    <a:pt x="3688" y="1892"/>
                  </a:lnTo>
                  <a:lnTo>
                    <a:pt x="3685" y="1924"/>
                  </a:lnTo>
                  <a:lnTo>
                    <a:pt x="3688" y="1952"/>
                  </a:lnTo>
                  <a:lnTo>
                    <a:pt x="3700" y="1967"/>
                  </a:lnTo>
                  <a:lnTo>
                    <a:pt x="3716" y="1986"/>
                  </a:lnTo>
                  <a:lnTo>
                    <a:pt x="3732" y="2005"/>
                  </a:lnTo>
                  <a:lnTo>
                    <a:pt x="3744" y="2020"/>
                  </a:lnTo>
                  <a:lnTo>
                    <a:pt x="3744" y="2039"/>
                  </a:lnTo>
                  <a:lnTo>
                    <a:pt x="3744" y="2061"/>
                  </a:lnTo>
                  <a:lnTo>
                    <a:pt x="3741" y="2080"/>
                  </a:lnTo>
                  <a:lnTo>
                    <a:pt x="3741" y="2108"/>
                  </a:lnTo>
                  <a:lnTo>
                    <a:pt x="3738" y="2139"/>
                  </a:lnTo>
                  <a:lnTo>
                    <a:pt x="3741" y="2167"/>
                  </a:lnTo>
                  <a:lnTo>
                    <a:pt x="3744" y="2173"/>
                  </a:lnTo>
                  <a:lnTo>
                    <a:pt x="3747" y="2180"/>
                  </a:lnTo>
                  <a:lnTo>
                    <a:pt x="3750" y="2186"/>
                  </a:lnTo>
                  <a:lnTo>
                    <a:pt x="3757" y="2192"/>
                  </a:lnTo>
                  <a:lnTo>
                    <a:pt x="3757" y="2198"/>
                  </a:lnTo>
                  <a:lnTo>
                    <a:pt x="3757" y="2227"/>
                  </a:lnTo>
                  <a:lnTo>
                    <a:pt x="3753" y="2258"/>
                  </a:lnTo>
                  <a:lnTo>
                    <a:pt x="3741" y="2283"/>
                  </a:lnTo>
                  <a:lnTo>
                    <a:pt x="3725" y="2298"/>
                  </a:lnTo>
                  <a:lnTo>
                    <a:pt x="3703" y="2311"/>
                  </a:lnTo>
                  <a:lnTo>
                    <a:pt x="3685" y="2320"/>
                  </a:lnTo>
                  <a:lnTo>
                    <a:pt x="3678" y="2320"/>
                  </a:lnTo>
                  <a:lnTo>
                    <a:pt x="3672" y="2320"/>
                  </a:lnTo>
                  <a:lnTo>
                    <a:pt x="3663" y="2320"/>
                  </a:lnTo>
                  <a:lnTo>
                    <a:pt x="3657" y="2320"/>
                  </a:lnTo>
                  <a:lnTo>
                    <a:pt x="3650" y="2320"/>
                  </a:lnTo>
                  <a:lnTo>
                    <a:pt x="3638" y="2339"/>
                  </a:lnTo>
                  <a:lnTo>
                    <a:pt x="3632" y="2364"/>
                  </a:lnTo>
                  <a:lnTo>
                    <a:pt x="3628" y="2392"/>
                  </a:lnTo>
                  <a:lnTo>
                    <a:pt x="3619" y="2411"/>
                  </a:lnTo>
                  <a:lnTo>
                    <a:pt x="3604" y="2426"/>
                  </a:lnTo>
                  <a:lnTo>
                    <a:pt x="3582" y="2439"/>
                  </a:lnTo>
                  <a:lnTo>
                    <a:pt x="3566" y="2454"/>
                  </a:lnTo>
                  <a:lnTo>
                    <a:pt x="3550" y="2470"/>
                  </a:lnTo>
                  <a:lnTo>
                    <a:pt x="3538" y="2492"/>
                  </a:lnTo>
                  <a:lnTo>
                    <a:pt x="3525" y="2514"/>
                  </a:lnTo>
                  <a:lnTo>
                    <a:pt x="3522" y="2533"/>
                  </a:lnTo>
                  <a:lnTo>
                    <a:pt x="3516" y="2558"/>
                  </a:lnTo>
                  <a:lnTo>
                    <a:pt x="3510" y="2573"/>
                  </a:lnTo>
                  <a:lnTo>
                    <a:pt x="3507" y="2576"/>
                  </a:lnTo>
                  <a:lnTo>
                    <a:pt x="3500" y="2579"/>
                  </a:lnTo>
                  <a:lnTo>
                    <a:pt x="3491" y="2579"/>
                  </a:lnTo>
                  <a:lnTo>
                    <a:pt x="3485" y="2579"/>
                  </a:lnTo>
                  <a:lnTo>
                    <a:pt x="3479" y="2583"/>
                  </a:lnTo>
                  <a:lnTo>
                    <a:pt x="3472" y="2586"/>
                  </a:lnTo>
                  <a:lnTo>
                    <a:pt x="3469" y="2604"/>
                  </a:lnTo>
                  <a:lnTo>
                    <a:pt x="3469" y="2629"/>
                  </a:lnTo>
                  <a:lnTo>
                    <a:pt x="3472" y="2657"/>
                  </a:lnTo>
                  <a:lnTo>
                    <a:pt x="3472" y="2676"/>
                  </a:lnTo>
                  <a:lnTo>
                    <a:pt x="3472" y="2707"/>
                  </a:lnTo>
                  <a:lnTo>
                    <a:pt x="3472" y="2745"/>
                  </a:lnTo>
                  <a:lnTo>
                    <a:pt x="3472" y="2773"/>
                  </a:lnTo>
                  <a:lnTo>
                    <a:pt x="3479" y="2801"/>
                  </a:lnTo>
                  <a:lnTo>
                    <a:pt x="3485" y="2829"/>
                  </a:lnTo>
                  <a:lnTo>
                    <a:pt x="3494" y="2854"/>
                  </a:lnTo>
                  <a:lnTo>
                    <a:pt x="3513" y="2867"/>
                  </a:lnTo>
                  <a:lnTo>
                    <a:pt x="3535" y="2879"/>
                  </a:lnTo>
                  <a:lnTo>
                    <a:pt x="3557" y="2885"/>
                  </a:lnTo>
                  <a:lnTo>
                    <a:pt x="3569" y="2885"/>
                  </a:lnTo>
                  <a:lnTo>
                    <a:pt x="3588" y="2882"/>
                  </a:lnTo>
                  <a:lnTo>
                    <a:pt x="3607" y="2882"/>
                  </a:lnTo>
                  <a:lnTo>
                    <a:pt x="3619" y="2885"/>
                  </a:lnTo>
                  <a:lnTo>
                    <a:pt x="3625" y="2892"/>
                  </a:lnTo>
                  <a:lnTo>
                    <a:pt x="3635" y="2898"/>
                  </a:lnTo>
                  <a:lnTo>
                    <a:pt x="3641" y="2910"/>
                  </a:lnTo>
                  <a:lnTo>
                    <a:pt x="3647" y="2920"/>
                  </a:lnTo>
                  <a:lnTo>
                    <a:pt x="3650" y="2929"/>
                  </a:lnTo>
                  <a:lnTo>
                    <a:pt x="3653" y="2954"/>
                  </a:lnTo>
                  <a:lnTo>
                    <a:pt x="3653" y="2985"/>
                  </a:lnTo>
                  <a:lnTo>
                    <a:pt x="3650" y="3010"/>
                  </a:lnTo>
                  <a:lnTo>
                    <a:pt x="3641" y="3029"/>
                  </a:lnTo>
                  <a:lnTo>
                    <a:pt x="3632" y="3048"/>
                  </a:lnTo>
                  <a:lnTo>
                    <a:pt x="3619" y="3063"/>
                  </a:lnTo>
                  <a:lnTo>
                    <a:pt x="3616" y="3073"/>
                  </a:lnTo>
                  <a:lnTo>
                    <a:pt x="3607" y="3079"/>
                  </a:lnTo>
                  <a:lnTo>
                    <a:pt x="3600" y="3088"/>
                  </a:lnTo>
                  <a:lnTo>
                    <a:pt x="3594" y="3095"/>
                  </a:lnTo>
                  <a:lnTo>
                    <a:pt x="3591" y="3104"/>
                  </a:lnTo>
                  <a:lnTo>
                    <a:pt x="3579" y="3135"/>
                  </a:lnTo>
                  <a:lnTo>
                    <a:pt x="3566" y="3173"/>
                  </a:lnTo>
                  <a:lnTo>
                    <a:pt x="3554" y="3204"/>
                  </a:lnTo>
                  <a:lnTo>
                    <a:pt x="3547" y="3210"/>
                  </a:lnTo>
                  <a:lnTo>
                    <a:pt x="3538" y="3220"/>
                  </a:lnTo>
                  <a:lnTo>
                    <a:pt x="3529" y="3226"/>
                  </a:lnTo>
                  <a:lnTo>
                    <a:pt x="3519" y="3235"/>
                  </a:lnTo>
                  <a:lnTo>
                    <a:pt x="3513" y="3245"/>
                  </a:lnTo>
                  <a:lnTo>
                    <a:pt x="3500" y="3266"/>
                  </a:lnTo>
                  <a:lnTo>
                    <a:pt x="3491" y="3298"/>
                  </a:lnTo>
                  <a:lnTo>
                    <a:pt x="3485" y="3323"/>
                  </a:lnTo>
                  <a:lnTo>
                    <a:pt x="3488" y="3341"/>
                  </a:lnTo>
                  <a:lnTo>
                    <a:pt x="3497" y="3363"/>
                  </a:lnTo>
                  <a:lnTo>
                    <a:pt x="3507" y="3385"/>
                  </a:lnTo>
                  <a:lnTo>
                    <a:pt x="3513" y="3404"/>
                  </a:lnTo>
                  <a:lnTo>
                    <a:pt x="3510" y="3422"/>
                  </a:lnTo>
                  <a:lnTo>
                    <a:pt x="3507" y="3441"/>
                  </a:lnTo>
                  <a:lnTo>
                    <a:pt x="3497" y="3457"/>
                  </a:lnTo>
                  <a:lnTo>
                    <a:pt x="3494" y="3463"/>
                  </a:lnTo>
                  <a:lnTo>
                    <a:pt x="3485" y="3466"/>
                  </a:lnTo>
                  <a:lnTo>
                    <a:pt x="3475" y="3472"/>
                  </a:lnTo>
                  <a:lnTo>
                    <a:pt x="3466" y="3476"/>
                  </a:lnTo>
                  <a:lnTo>
                    <a:pt x="3457" y="3482"/>
                  </a:lnTo>
                  <a:lnTo>
                    <a:pt x="3450" y="3485"/>
                  </a:lnTo>
                  <a:lnTo>
                    <a:pt x="3444" y="3507"/>
                  </a:lnTo>
                  <a:lnTo>
                    <a:pt x="3441" y="3535"/>
                  </a:lnTo>
                  <a:lnTo>
                    <a:pt x="3435" y="3560"/>
                  </a:lnTo>
                  <a:lnTo>
                    <a:pt x="3426" y="3582"/>
                  </a:lnTo>
                  <a:lnTo>
                    <a:pt x="3413" y="3610"/>
                  </a:lnTo>
                  <a:lnTo>
                    <a:pt x="3404" y="3632"/>
                  </a:lnTo>
                  <a:lnTo>
                    <a:pt x="3391" y="3663"/>
                  </a:lnTo>
                  <a:lnTo>
                    <a:pt x="3376" y="3697"/>
                  </a:lnTo>
                  <a:lnTo>
                    <a:pt x="3360" y="3725"/>
                  </a:lnTo>
                  <a:lnTo>
                    <a:pt x="3351" y="3735"/>
                  </a:lnTo>
                  <a:lnTo>
                    <a:pt x="3341" y="3741"/>
                  </a:lnTo>
                  <a:lnTo>
                    <a:pt x="3329" y="3750"/>
                  </a:lnTo>
                  <a:lnTo>
                    <a:pt x="3319" y="3760"/>
                  </a:lnTo>
                  <a:lnTo>
                    <a:pt x="3313" y="3769"/>
                  </a:lnTo>
                  <a:lnTo>
                    <a:pt x="3310" y="3785"/>
                  </a:lnTo>
                  <a:lnTo>
                    <a:pt x="3310" y="3807"/>
                  </a:lnTo>
                  <a:lnTo>
                    <a:pt x="3313" y="3828"/>
                  </a:lnTo>
                  <a:lnTo>
                    <a:pt x="3313" y="3847"/>
                  </a:lnTo>
                  <a:lnTo>
                    <a:pt x="3310" y="3866"/>
                  </a:lnTo>
                  <a:lnTo>
                    <a:pt x="3304" y="3891"/>
                  </a:lnTo>
                  <a:lnTo>
                    <a:pt x="3297" y="3906"/>
                  </a:lnTo>
                  <a:lnTo>
                    <a:pt x="3294" y="3913"/>
                  </a:lnTo>
                  <a:lnTo>
                    <a:pt x="3288" y="3916"/>
                  </a:lnTo>
                  <a:lnTo>
                    <a:pt x="3282" y="3922"/>
                  </a:lnTo>
                  <a:lnTo>
                    <a:pt x="3276" y="3925"/>
                  </a:lnTo>
                  <a:lnTo>
                    <a:pt x="3266" y="3944"/>
                  </a:lnTo>
                  <a:lnTo>
                    <a:pt x="3254" y="3966"/>
                  </a:lnTo>
                  <a:lnTo>
                    <a:pt x="3251" y="3988"/>
                  </a:lnTo>
                  <a:lnTo>
                    <a:pt x="3260" y="4006"/>
                  </a:lnTo>
                  <a:lnTo>
                    <a:pt x="3276" y="4028"/>
                  </a:lnTo>
                  <a:lnTo>
                    <a:pt x="3288" y="4047"/>
                  </a:lnTo>
                  <a:lnTo>
                    <a:pt x="3291" y="4056"/>
                  </a:lnTo>
                  <a:lnTo>
                    <a:pt x="3291" y="4066"/>
                  </a:lnTo>
                  <a:lnTo>
                    <a:pt x="3291" y="4075"/>
                  </a:lnTo>
                  <a:lnTo>
                    <a:pt x="3291" y="4084"/>
                  </a:lnTo>
                  <a:lnTo>
                    <a:pt x="3288" y="4091"/>
                  </a:lnTo>
                  <a:lnTo>
                    <a:pt x="3276" y="4097"/>
                  </a:lnTo>
                  <a:lnTo>
                    <a:pt x="3257" y="4103"/>
                  </a:lnTo>
                  <a:lnTo>
                    <a:pt x="3235" y="4106"/>
                  </a:lnTo>
                  <a:lnTo>
                    <a:pt x="3223" y="4113"/>
                  </a:lnTo>
                  <a:lnTo>
                    <a:pt x="3219" y="4119"/>
                  </a:lnTo>
                  <a:lnTo>
                    <a:pt x="3219" y="4128"/>
                  </a:lnTo>
                  <a:lnTo>
                    <a:pt x="3216" y="4138"/>
                  </a:lnTo>
                  <a:lnTo>
                    <a:pt x="3216" y="4147"/>
                  </a:lnTo>
                  <a:lnTo>
                    <a:pt x="3216" y="4153"/>
                  </a:lnTo>
                  <a:lnTo>
                    <a:pt x="3216" y="4156"/>
                  </a:lnTo>
                  <a:lnTo>
                    <a:pt x="3216" y="4156"/>
                  </a:lnTo>
                  <a:lnTo>
                    <a:pt x="3210" y="4153"/>
                  </a:lnTo>
                  <a:lnTo>
                    <a:pt x="3204" y="4153"/>
                  </a:lnTo>
                  <a:lnTo>
                    <a:pt x="3194" y="4150"/>
                  </a:lnTo>
                  <a:lnTo>
                    <a:pt x="3188" y="4144"/>
                  </a:lnTo>
                  <a:lnTo>
                    <a:pt x="3182" y="4141"/>
                  </a:lnTo>
                  <a:lnTo>
                    <a:pt x="3173" y="4128"/>
                  </a:lnTo>
                  <a:lnTo>
                    <a:pt x="3154" y="4113"/>
                  </a:lnTo>
                  <a:lnTo>
                    <a:pt x="3132" y="4094"/>
                  </a:lnTo>
                  <a:lnTo>
                    <a:pt x="3110" y="4075"/>
                  </a:lnTo>
                  <a:lnTo>
                    <a:pt x="3091" y="4066"/>
                  </a:lnTo>
                  <a:lnTo>
                    <a:pt x="3066" y="4056"/>
                  </a:lnTo>
                  <a:lnTo>
                    <a:pt x="3038" y="4050"/>
                  </a:lnTo>
                  <a:lnTo>
                    <a:pt x="3007" y="4044"/>
                  </a:lnTo>
                  <a:lnTo>
                    <a:pt x="2985" y="4035"/>
                  </a:lnTo>
                  <a:lnTo>
                    <a:pt x="2976" y="4028"/>
                  </a:lnTo>
                  <a:lnTo>
                    <a:pt x="2970" y="4022"/>
                  </a:lnTo>
                  <a:lnTo>
                    <a:pt x="2960" y="4013"/>
                  </a:lnTo>
                  <a:lnTo>
                    <a:pt x="2954" y="4003"/>
                  </a:lnTo>
                  <a:lnTo>
                    <a:pt x="2948" y="3997"/>
                  </a:lnTo>
                  <a:lnTo>
                    <a:pt x="2932" y="3978"/>
                  </a:lnTo>
                  <a:lnTo>
                    <a:pt x="2913" y="3953"/>
                  </a:lnTo>
                  <a:lnTo>
                    <a:pt x="2898" y="3931"/>
                  </a:lnTo>
                  <a:lnTo>
                    <a:pt x="2879" y="3916"/>
                  </a:lnTo>
                  <a:lnTo>
                    <a:pt x="2857" y="3897"/>
                  </a:lnTo>
                  <a:lnTo>
                    <a:pt x="2835" y="3882"/>
                  </a:lnTo>
                  <a:lnTo>
                    <a:pt x="2817" y="3869"/>
                  </a:lnTo>
                  <a:lnTo>
                    <a:pt x="2807" y="3869"/>
                  </a:lnTo>
                  <a:lnTo>
                    <a:pt x="2795" y="3866"/>
                  </a:lnTo>
                  <a:lnTo>
                    <a:pt x="2785" y="3866"/>
                  </a:lnTo>
                  <a:lnTo>
                    <a:pt x="2776" y="3869"/>
                  </a:lnTo>
                  <a:lnTo>
                    <a:pt x="2767" y="3869"/>
                  </a:lnTo>
                  <a:lnTo>
                    <a:pt x="2751" y="3888"/>
                  </a:lnTo>
                  <a:lnTo>
                    <a:pt x="2735" y="3913"/>
                  </a:lnTo>
                  <a:lnTo>
                    <a:pt x="2717" y="3931"/>
                  </a:lnTo>
                  <a:lnTo>
                    <a:pt x="2701" y="3941"/>
                  </a:lnTo>
                  <a:lnTo>
                    <a:pt x="2682" y="3947"/>
                  </a:lnTo>
                  <a:lnTo>
                    <a:pt x="2664" y="3950"/>
                  </a:lnTo>
                  <a:lnTo>
                    <a:pt x="2639" y="3950"/>
                  </a:lnTo>
                  <a:lnTo>
                    <a:pt x="2607" y="3950"/>
                  </a:lnTo>
                  <a:lnTo>
                    <a:pt x="2582" y="3944"/>
                  </a:lnTo>
                  <a:lnTo>
                    <a:pt x="2564" y="3931"/>
                  </a:lnTo>
                  <a:lnTo>
                    <a:pt x="2542" y="3910"/>
                  </a:lnTo>
                  <a:lnTo>
                    <a:pt x="2520" y="3888"/>
                  </a:lnTo>
                  <a:lnTo>
                    <a:pt x="2501" y="3869"/>
                  </a:lnTo>
                  <a:lnTo>
                    <a:pt x="2492" y="3866"/>
                  </a:lnTo>
                  <a:lnTo>
                    <a:pt x="2482" y="3857"/>
                  </a:lnTo>
                  <a:lnTo>
                    <a:pt x="2473" y="3850"/>
                  </a:lnTo>
                  <a:lnTo>
                    <a:pt x="2461" y="3844"/>
                  </a:lnTo>
                  <a:lnTo>
                    <a:pt x="2451" y="3841"/>
                  </a:lnTo>
                  <a:lnTo>
                    <a:pt x="2426" y="3841"/>
                  </a:lnTo>
                  <a:lnTo>
                    <a:pt x="2395" y="3841"/>
                  </a:lnTo>
                  <a:lnTo>
                    <a:pt x="2364" y="3847"/>
                  </a:lnTo>
                  <a:lnTo>
                    <a:pt x="2339" y="3853"/>
                  </a:lnTo>
                  <a:lnTo>
                    <a:pt x="2317" y="3866"/>
                  </a:lnTo>
                  <a:lnTo>
                    <a:pt x="2298" y="3878"/>
                  </a:lnTo>
                  <a:lnTo>
                    <a:pt x="2279" y="3891"/>
                  </a:lnTo>
                  <a:lnTo>
                    <a:pt x="2261" y="3900"/>
                  </a:lnTo>
                  <a:lnTo>
                    <a:pt x="2239" y="3906"/>
                  </a:lnTo>
                  <a:lnTo>
                    <a:pt x="2220" y="3913"/>
                  </a:lnTo>
                  <a:lnTo>
                    <a:pt x="2198" y="3916"/>
                  </a:lnTo>
                  <a:lnTo>
                    <a:pt x="2170" y="3919"/>
                  </a:lnTo>
                  <a:lnTo>
                    <a:pt x="2142" y="3919"/>
                  </a:lnTo>
                  <a:lnTo>
                    <a:pt x="2120" y="3916"/>
                  </a:lnTo>
                  <a:lnTo>
                    <a:pt x="2111" y="3913"/>
                  </a:lnTo>
                  <a:lnTo>
                    <a:pt x="2108" y="3903"/>
                  </a:lnTo>
                  <a:lnTo>
                    <a:pt x="2101" y="3882"/>
                  </a:lnTo>
                  <a:lnTo>
                    <a:pt x="2092" y="3860"/>
                  </a:lnTo>
                  <a:lnTo>
                    <a:pt x="2086" y="3841"/>
                  </a:lnTo>
                  <a:lnTo>
                    <a:pt x="2086" y="3822"/>
                  </a:lnTo>
                  <a:lnTo>
                    <a:pt x="2083" y="3800"/>
                  </a:lnTo>
                  <a:lnTo>
                    <a:pt x="2080" y="3778"/>
                  </a:lnTo>
                  <a:lnTo>
                    <a:pt x="2073" y="3760"/>
                  </a:lnTo>
                  <a:lnTo>
                    <a:pt x="2055" y="3744"/>
                  </a:lnTo>
                  <a:lnTo>
                    <a:pt x="2023" y="3732"/>
                  </a:lnTo>
                  <a:lnTo>
                    <a:pt x="1992" y="3722"/>
                  </a:lnTo>
                  <a:lnTo>
                    <a:pt x="1967" y="3716"/>
                  </a:lnTo>
                  <a:lnTo>
                    <a:pt x="1961" y="3716"/>
                  </a:lnTo>
                  <a:lnTo>
                    <a:pt x="1955" y="3716"/>
                  </a:lnTo>
                  <a:lnTo>
                    <a:pt x="1945" y="3716"/>
                  </a:lnTo>
                  <a:lnTo>
                    <a:pt x="1939" y="3716"/>
                  </a:lnTo>
                  <a:lnTo>
                    <a:pt x="1933" y="3716"/>
                  </a:lnTo>
                  <a:lnTo>
                    <a:pt x="1923" y="3732"/>
                  </a:lnTo>
                  <a:lnTo>
                    <a:pt x="1914" y="3757"/>
                  </a:lnTo>
                  <a:lnTo>
                    <a:pt x="1908" y="3778"/>
                  </a:lnTo>
                  <a:lnTo>
                    <a:pt x="1899" y="3797"/>
                  </a:lnTo>
                  <a:lnTo>
                    <a:pt x="1883" y="3803"/>
                  </a:lnTo>
                  <a:lnTo>
                    <a:pt x="1864" y="3810"/>
                  </a:lnTo>
                  <a:lnTo>
                    <a:pt x="1845" y="3816"/>
                  </a:lnTo>
                  <a:lnTo>
                    <a:pt x="1839" y="3822"/>
                  </a:lnTo>
                  <a:lnTo>
                    <a:pt x="1830" y="3832"/>
                  </a:lnTo>
                  <a:lnTo>
                    <a:pt x="1820" y="3841"/>
                  </a:lnTo>
                  <a:lnTo>
                    <a:pt x="1811" y="3850"/>
                  </a:lnTo>
                  <a:lnTo>
                    <a:pt x="1805" y="3853"/>
                  </a:lnTo>
                  <a:lnTo>
                    <a:pt x="1789" y="3857"/>
                  </a:lnTo>
                  <a:lnTo>
                    <a:pt x="1770" y="3853"/>
                  </a:lnTo>
                  <a:lnTo>
                    <a:pt x="1752" y="3850"/>
                  </a:lnTo>
                  <a:lnTo>
                    <a:pt x="1739" y="3853"/>
                  </a:lnTo>
                  <a:lnTo>
                    <a:pt x="1736" y="3860"/>
                  </a:lnTo>
                  <a:lnTo>
                    <a:pt x="1730" y="3866"/>
                  </a:lnTo>
                  <a:lnTo>
                    <a:pt x="1727" y="3875"/>
                  </a:lnTo>
                  <a:lnTo>
                    <a:pt x="1724" y="3885"/>
                  </a:lnTo>
                  <a:lnTo>
                    <a:pt x="1721" y="3894"/>
                  </a:lnTo>
                  <a:lnTo>
                    <a:pt x="1717" y="3897"/>
                  </a:lnTo>
                  <a:lnTo>
                    <a:pt x="1708" y="3903"/>
                  </a:lnTo>
                  <a:lnTo>
                    <a:pt x="1699" y="3903"/>
                  </a:lnTo>
                  <a:lnTo>
                    <a:pt x="1689" y="3906"/>
                  </a:lnTo>
                  <a:lnTo>
                    <a:pt x="1680" y="3906"/>
                  </a:lnTo>
                  <a:lnTo>
                    <a:pt x="1671" y="3910"/>
                  </a:lnTo>
                  <a:lnTo>
                    <a:pt x="1658" y="3910"/>
                  </a:lnTo>
                  <a:lnTo>
                    <a:pt x="1642" y="3913"/>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2" name="Freeform 13">
              <a:extLst>
                <a:ext uri="{FF2B5EF4-FFF2-40B4-BE49-F238E27FC236}">
                  <a16:creationId xmlns:a16="http://schemas.microsoft.com/office/drawing/2014/main" id="{1237D93D-36D5-427D-9545-84C866F6ABA2}"/>
                </a:ext>
              </a:extLst>
            </p:cNvPr>
            <p:cNvSpPr>
              <a:spLocks/>
            </p:cNvSpPr>
            <p:nvPr/>
          </p:nvSpPr>
          <p:spPr bwMode="auto">
            <a:xfrm>
              <a:off x="22136101" y="-7639050"/>
              <a:ext cx="6856413" cy="8297863"/>
            </a:xfrm>
            <a:custGeom>
              <a:avLst/>
              <a:gdLst>
                <a:gd name="T0" fmla="*/ 290 w 4319"/>
                <a:gd name="T1" fmla="*/ 212 h 5227"/>
                <a:gd name="T2" fmla="*/ 528 w 4319"/>
                <a:gd name="T3" fmla="*/ 34 h 5227"/>
                <a:gd name="T4" fmla="*/ 840 w 4319"/>
                <a:gd name="T5" fmla="*/ 0 h 5227"/>
                <a:gd name="T6" fmla="*/ 1230 w 4319"/>
                <a:gd name="T7" fmla="*/ 250 h 5227"/>
                <a:gd name="T8" fmla="*/ 1415 w 4319"/>
                <a:gd name="T9" fmla="*/ 534 h 5227"/>
                <a:gd name="T10" fmla="*/ 1633 w 4319"/>
                <a:gd name="T11" fmla="*/ 934 h 5227"/>
                <a:gd name="T12" fmla="*/ 1961 w 4319"/>
                <a:gd name="T13" fmla="*/ 1043 h 5227"/>
                <a:gd name="T14" fmla="*/ 2198 w 4319"/>
                <a:gd name="T15" fmla="*/ 984 h 5227"/>
                <a:gd name="T16" fmla="*/ 2479 w 4319"/>
                <a:gd name="T17" fmla="*/ 984 h 5227"/>
                <a:gd name="T18" fmla="*/ 2729 w 4319"/>
                <a:gd name="T19" fmla="*/ 959 h 5227"/>
                <a:gd name="T20" fmla="*/ 2951 w 4319"/>
                <a:gd name="T21" fmla="*/ 865 h 5227"/>
                <a:gd name="T22" fmla="*/ 3185 w 4319"/>
                <a:gd name="T23" fmla="*/ 1093 h 5227"/>
                <a:gd name="T24" fmla="*/ 3294 w 4319"/>
                <a:gd name="T25" fmla="*/ 1102 h 5227"/>
                <a:gd name="T26" fmla="*/ 3388 w 4319"/>
                <a:gd name="T27" fmla="*/ 1330 h 5227"/>
                <a:gd name="T28" fmla="*/ 3457 w 4319"/>
                <a:gd name="T29" fmla="*/ 1608 h 5227"/>
                <a:gd name="T30" fmla="*/ 3547 w 4319"/>
                <a:gd name="T31" fmla="*/ 1605 h 5227"/>
                <a:gd name="T32" fmla="*/ 3741 w 4319"/>
                <a:gd name="T33" fmla="*/ 1627 h 5227"/>
                <a:gd name="T34" fmla="*/ 3941 w 4319"/>
                <a:gd name="T35" fmla="*/ 1796 h 5227"/>
                <a:gd name="T36" fmla="*/ 4119 w 4319"/>
                <a:gd name="T37" fmla="*/ 1811 h 5227"/>
                <a:gd name="T38" fmla="*/ 4203 w 4319"/>
                <a:gd name="T39" fmla="*/ 1736 h 5227"/>
                <a:gd name="T40" fmla="*/ 4188 w 4319"/>
                <a:gd name="T41" fmla="*/ 2024 h 5227"/>
                <a:gd name="T42" fmla="*/ 4281 w 4319"/>
                <a:gd name="T43" fmla="*/ 2398 h 5227"/>
                <a:gd name="T44" fmla="*/ 4256 w 4319"/>
                <a:gd name="T45" fmla="*/ 2785 h 5227"/>
                <a:gd name="T46" fmla="*/ 4000 w 4319"/>
                <a:gd name="T47" fmla="*/ 3073 h 5227"/>
                <a:gd name="T48" fmla="*/ 3928 w 4319"/>
                <a:gd name="T49" fmla="*/ 3210 h 5227"/>
                <a:gd name="T50" fmla="*/ 4100 w 4319"/>
                <a:gd name="T51" fmla="*/ 3451 h 5227"/>
                <a:gd name="T52" fmla="*/ 4106 w 4319"/>
                <a:gd name="T53" fmla="*/ 3635 h 5227"/>
                <a:gd name="T54" fmla="*/ 4184 w 4319"/>
                <a:gd name="T55" fmla="*/ 3925 h 5227"/>
                <a:gd name="T56" fmla="*/ 4131 w 4319"/>
                <a:gd name="T57" fmla="*/ 4219 h 5227"/>
                <a:gd name="T58" fmla="*/ 4222 w 4319"/>
                <a:gd name="T59" fmla="*/ 4440 h 5227"/>
                <a:gd name="T60" fmla="*/ 3847 w 4319"/>
                <a:gd name="T61" fmla="*/ 4387 h 5227"/>
                <a:gd name="T62" fmla="*/ 3544 w 4319"/>
                <a:gd name="T63" fmla="*/ 4372 h 5227"/>
                <a:gd name="T64" fmla="*/ 3391 w 4319"/>
                <a:gd name="T65" fmla="*/ 4653 h 5227"/>
                <a:gd name="T66" fmla="*/ 3238 w 4319"/>
                <a:gd name="T67" fmla="*/ 5049 h 5227"/>
                <a:gd name="T68" fmla="*/ 3095 w 4319"/>
                <a:gd name="T69" fmla="*/ 5062 h 5227"/>
                <a:gd name="T70" fmla="*/ 2945 w 4319"/>
                <a:gd name="T71" fmla="*/ 4959 h 5227"/>
                <a:gd name="T72" fmla="*/ 2807 w 4319"/>
                <a:gd name="T73" fmla="*/ 4912 h 5227"/>
                <a:gd name="T74" fmla="*/ 2629 w 4319"/>
                <a:gd name="T75" fmla="*/ 4918 h 5227"/>
                <a:gd name="T76" fmla="*/ 2536 w 4319"/>
                <a:gd name="T77" fmla="*/ 5140 h 5227"/>
                <a:gd name="T78" fmla="*/ 2158 w 4319"/>
                <a:gd name="T79" fmla="*/ 5196 h 5227"/>
                <a:gd name="T80" fmla="*/ 1986 w 4319"/>
                <a:gd name="T81" fmla="*/ 5205 h 5227"/>
                <a:gd name="T82" fmla="*/ 1774 w 4319"/>
                <a:gd name="T83" fmla="*/ 5134 h 5227"/>
                <a:gd name="T84" fmla="*/ 1886 w 4319"/>
                <a:gd name="T85" fmla="*/ 4899 h 5227"/>
                <a:gd name="T86" fmla="*/ 1880 w 4319"/>
                <a:gd name="T87" fmla="*/ 4522 h 5227"/>
                <a:gd name="T88" fmla="*/ 1527 w 4319"/>
                <a:gd name="T89" fmla="*/ 4303 h 5227"/>
                <a:gd name="T90" fmla="*/ 1387 w 4319"/>
                <a:gd name="T91" fmla="*/ 4041 h 5227"/>
                <a:gd name="T92" fmla="*/ 1215 w 4319"/>
                <a:gd name="T93" fmla="*/ 3944 h 5227"/>
                <a:gd name="T94" fmla="*/ 1080 w 4319"/>
                <a:gd name="T95" fmla="*/ 4106 h 5227"/>
                <a:gd name="T96" fmla="*/ 856 w 4319"/>
                <a:gd name="T97" fmla="*/ 4016 h 5227"/>
                <a:gd name="T98" fmla="*/ 575 w 4319"/>
                <a:gd name="T99" fmla="*/ 4000 h 5227"/>
                <a:gd name="T100" fmla="*/ 340 w 4319"/>
                <a:gd name="T101" fmla="*/ 3835 h 5227"/>
                <a:gd name="T102" fmla="*/ 378 w 4319"/>
                <a:gd name="T103" fmla="*/ 3516 h 5227"/>
                <a:gd name="T104" fmla="*/ 303 w 4319"/>
                <a:gd name="T105" fmla="*/ 3066 h 5227"/>
                <a:gd name="T106" fmla="*/ 237 w 4319"/>
                <a:gd name="T107" fmla="*/ 2676 h 5227"/>
                <a:gd name="T108" fmla="*/ 119 w 4319"/>
                <a:gd name="T109" fmla="*/ 2351 h 5227"/>
                <a:gd name="T110" fmla="*/ 84 w 4319"/>
                <a:gd name="T111" fmla="*/ 2039 h 5227"/>
                <a:gd name="T112" fmla="*/ 144 w 4319"/>
                <a:gd name="T113" fmla="*/ 1817 h 5227"/>
                <a:gd name="T114" fmla="*/ 16 w 4319"/>
                <a:gd name="T115" fmla="*/ 1483 h 5227"/>
                <a:gd name="T116" fmla="*/ 222 w 4319"/>
                <a:gd name="T117" fmla="*/ 1393 h 5227"/>
                <a:gd name="T118" fmla="*/ 253 w 4319"/>
                <a:gd name="T119" fmla="*/ 1162 h 5227"/>
                <a:gd name="T120" fmla="*/ 422 w 4319"/>
                <a:gd name="T121" fmla="*/ 968 h 5227"/>
                <a:gd name="T122" fmla="*/ 300 w 4319"/>
                <a:gd name="T123" fmla="*/ 659 h 5227"/>
                <a:gd name="T124" fmla="*/ 169 w 4319"/>
                <a:gd name="T125" fmla="*/ 543 h 5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9" h="5227">
                  <a:moveTo>
                    <a:pt x="159" y="515"/>
                  </a:moveTo>
                  <a:lnTo>
                    <a:pt x="159" y="503"/>
                  </a:lnTo>
                  <a:lnTo>
                    <a:pt x="159" y="493"/>
                  </a:lnTo>
                  <a:lnTo>
                    <a:pt x="162" y="465"/>
                  </a:lnTo>
                  <a:lnTo>
                    <a:pt x="172" y="434"/>
                  </a:lnTo>
                  <a:lnTo>
                    <a:pt x="187" y="409"/>
                  </a:lnTo>
                  <a:lnTo>
                    <a:pt x="200" y="403"/>
                  </a:lnTo>
                  <a:lnTo>
                    <a:pt x="219" y="397"/>
                  </a:lnTo>
                  <a:lnTo>
                    <a:pt x="237" y="390"/>
                  </a:lnTo>
                  <a:lnTo>
                    <a:pt x="253" y="384"/>
                  </a:lnTo>
                  <a:lnTo>
                    <a:pt x="269" y="369"/>
                  </a:lnTo>
                  <a:lnTo>
                    <a:pt x="287" y="347"/>
                  </a:lnTo>
                  <a:lnTo>
                    <a:pt x="297" y="328"/>
                  </a:lnTo>
                  <a:lnTo>
                    <a:pt x="300" y="312"/>
                  </a:lnTo>
                  <a:lnTo>
                    <a:pt x="303" y="291"/>
                  </a:lnTo>
                  <a:lnTo>
                    <a:pt x="303" y="275"/>
                  </a:lnTo>
                  <a:lnTo>
                    <a:pt x="297" y="247"/>
                  </a:lnTo>
                  <a:lnTo>
                    <a:pt x="290" y="212"/>
                  </a:lnTo>
                  <a:lnTo>
                    <a:pt x="284" y="184"/>
                  </a:lnTo>
                  <a:lnTo>
                    <a:pt x="281" y="169"/>
                  </a:lnTo>
                  <a:lnTo>
                    <a:pt x="275" y="147"/>
                  </a:lnTo>
                  <a:lnTo>
                    <a:pt x="272" y="128"/>
                  </a:lnTo>
                  <a:lnTo>
                    <a:pt x="272" y="109"/>
                  </a:lnTo>
                  <a:lnTo>
                    <a:pt x="281" y="94"/>
                  </a:lnTo>
                  <a:lnTo>
                    <a:pt x="300" y="72"/>
                  </a:lnTo>
                  <a:lnTo>
                    <a:pt x="319" y="56"/>
                  </a:lnTo>
                  <a:lnTo>
                    <a:pt x="337" y="41"/>
                  </a:lnTo>
                  <a:lnTo>
                    <a:pt x="356" y="31"/>
                  </a:lnTo>
                  <a:lnTo>
                    <a:pt x="381" y="19"/>
                  </a:lnTo>
                  <a:lnTo>
                    <a:pt x="406" y="9"/>
                  </a:lnTo>
                  <a:lnTo>
                    <a:pt x="428" y="3"/>
                  </a:lnTo>
                  <a:lnTo>
                    <a:pt x="450" y="6"/>
                  </a:lnTo>
                  <a:lnTo>
                    <a:pt x="472" y="16"/>
                  </a:lnTo>
                  <a:lnTo>
                    <a:pt x="490" y="22"/>
                  </a:lnTo>
                  <a:lnTo>
                    <a:pt x="506" y="28"/>
                  </a:lnTo>
                  <a:lnTo>
                    <a:pt x="528" y="34"/>
                  </a:lnTo>
                  <a:lnTo>
                    <a:pt x="547" y="44"/>
                  </a:lnTo>
                  <a:lnTo>
                    <a:pt x="562" y="50"/>
                  </a:lnTo>
                  <a:lnTo>
                    <a:pt x="571" y="50"/>
                  </a:lnTo>
                  <a:lnTo>
                    <a:pt x="581" y="47"/>
                  </a:lnTo>
                  <a:lnTo>
                    <a:pt x="603" y="41"/>
                  </a:lnTo>
                  <a:lnTo>
                    <a:pt x="631" y="28"/>
                  </a:lnTo>
                  <a:lnTo>
                    <a:pt x="662" y="19"/>
                  </a:lnTo>
                  <a:lnTo>
                    <a:pt x="693" y="9"/>
                  </a:lnTo>
                  <a:lnTo>
                    <a:pt x="715" y="3"/>
                  </a:lnTo>
                  <a:lnTo>
                    <a:pt x="734" y="3"/>
                  </a:lnTo>
                  <a:lnTo>
                    <a:pt x="756" y="3"/>
                  </a:lnTo>
                  <a:lnTo>
                    <a:pt x="774" y="3"/>
                  </a:lnTo>
                  <a:lnTo>
                    <a:pt x="787" y="6"/>
                  </a:lnTo>
                  <a:lnTo>
                    <a:pt x="803" y="13"/>
                  </a:lnTo>
                  <a:lnTo>
                    <a:pt x="818" y="16"/>
                  </a:lnTo>
                  <a:lnTo>
                    <a:pt x="828" y="13"/>
                  </a:lnTo>
                  <a:lnTo>
                    <a:pt x="834" y="9"/>
                  </a:lnTo>
                  <a:lnTo>
                    <a:pt x="840" y="0"/>
                  </a:lnTo>
                  <a:lnTo>
                    <a:pt x="868" y="13"/>
                  </a:lnTo>
                  <a:lnTo>
                    <a:pt x="896" y="22"/>
                  </a:lnTo>
                  <a:lnTo>
                    <a:pt x="918" y="28"/>
                  </a:lnTo>
                  <a:lnTo>
                    <a:pt x="934" y="31"/>
                  </a:lnTo>
                  <a:lnTo>
                    <a:pt x="956" y="28"/>
                  </a:lnTo>
                  <a:lnTo>
                    <a:pt x="977" y="28"/>
                  </a:lnTo>
                  <a:lnTo>
                    <a:pt x="993" y="28"/>
                  </a:lnTo>
                  <a:lnTo>
                    <a:pt x="1012" y="47"/>
                  </a:lnTo>
                  <a:lnTo>
                    <a:pt x="1034" y="69"/>
                  </a:lnTo>
                  <a:lnTo>
                    <a:pt x="1052" y="91"/>
                  </a:lnTo>
                  <a:lnTo>
                    <a:pt x="1071" y="113"/>
                  </a:lnTo>
                  <a:lnTo>
                    <a:pt x="1093" y="141"/>
                  </a:lnTo>
                  <a:lnTo>
                    <a:pt x="1112" y="162"/>
                  </a:lnTo>
                  <a:lnTo>
                    <a:pt x="1137" y="178"/>
                  </a:lnTo>
                  <a:lnTo>
                    <a:pt x="1168" y="194"/>
                  </a:lnTo>
                  <a:lnTo>
                    <a:pt x="1199" y="209"/>
                  </a:lnTo>
                  <a:lnTo>
                    <a:pt x="1221" y="225"/>
                  </a:lnTo>
                  <a:lnTo>
                    <a:pt x="1230" y="250"/>
                  </a:lnTo>
                  <a:lnTo>
                    <a:pt x="1240" y="281"/>
                  </a:lnTo>
                  <a:lnTo>
                    <a:pt x="1246" y="315"/>
                  </a:lnTo>
                  <a:lnTo>
                    <a:pt x="1249" y="340"/>
                  </a:lnTo>
                  <a:lnTo>
                    <a:pt x="1243" y="359"/>
                  </a:lnTo>
                  <a:lnTo>
                    <a:pt x="1234" y="381"/>
                  </a:lnTo>
                  <a:lnTo>
                    <a:pt x="1224" y="403"/>
                  </a:lnTo>
                  <a:lnTo>
                    <a:pt x="1221" y="422"/>
                  </a:lnTo>
                  <a:lnTo>
                    <a:pt x="1224" y="447"/>
                  </a:lnTo>
                  <a:lnTo>
                    <a:pt x="1230" y="472"/>
                  </a:lnTo>
                  <a:lnTo>
                    <a:pt x="1243" y="497"/>
                  </a:lnTo>
                  <a:lnTo>
                    <a:pt x="1255" y="515"/>
                  </a:lnTo>
                  <a:lnTo>
                    <a:pt x="1271" y="525"/>
                  </a:lnTo>
                  <a:lnTo>
                    <a:pt x="1293" y="534"/>
                  </a:lnTo>
                  <a:lnTo>
                    <a:pt x="1312" y="540"/>
                  </a:lnTo>
                  <a:lnTo>
                    <a:pt x="1333" y="540"/>
                  </a:lnTo>
                  <a:lnTo>
                    <a:pt x="1362" y="540"/>
                  </a:lnTo>
                  <a:lnTo>
                    <a:pt x="1390" y="537"/>
                  </a:lnTo>
                  <a:lnTo>
                    <a:pt x="1415" y="534"/>
                  </a:lnTo>
                  <a:lnTo>
                    <a:pt x="1433" y="540"/>
                  </a:lnTo>
                  <a:lnTo>
                    <a:pt x="1452" y="556"/>
                  </a:lnTo>
                  <a:lnTo>
                    <a:pt x="1465" y="581"/>
                  </a:lnTo>
                  <a:lnTo>
                    <a:pt x="1477" y="606"/>
                  </a:lnTo>
                  <a:lnTo>
                    <a:pt x="1490" y="628"/>
                  </a:lnTo>
                  <a:lnTo>
                    <a:pt x="1496" y="653"/>
                  </a:lnTo>
                  <a:lnTo>
                    <a:pt x="1505" y="684"/>
                  </a:lnTo>
                  <a:lnTo>
                    <a:pt x="1515" y="715"/>
                  </a:lnTo>
                  <a:lnTo>
                    <a:pt x="1527" y="740"/>
                  </a:lnTo>
                  <a:lnTo>
                    <a:pt x="1546" y="765"/>
                  </a:lnTo>
                  <a:lnTo>
                    <a:pt x="1577" y="790"/>
                  </a:lnTo>
                  <a:lnTo>
                    <a:pt x="1602" y="818"/>
                  </a:lnTo>
                  <a:lnTo>
                    <a:pt x="1621" y="843"/>
                  </a:lnTo>
                  <a:lnTo>
                    <a:pt x="1624" y="862"/>
                  </a:lnTo>
                  <a:lnTo>
                    <a:pt x="1621" y="884"/>
                  </a:lnTo>
                  <a:lnTo>
                    <a:pt x="1618" y="906"/>
                  </a:lnTo>
                  <a:lnTo>
                    <a:pt x="1621" y="924"/>
                  </a:lnTo>
                  <a:lnTo>
                    <a:pt x="1633" y="934"/>
                  </a:lnTo>
                  <a:lnTo>
                    <a:pt x="1649" y="943"/>
                  </a:lnTo>
                  <a:lnTo>
                    <a:pt x="1668" y="952"/>
                  </a:lnTo>
                  <a:lnTo>
                    <a:pt x="1677" y="956"/>
                  </a:lnTo>
                  <a:lnTo>
                    <a:pt x="1683" y="968"/>
                  </a:lnTo>
                  <a:lnTo>
                    <a:pt x="1686" y="990"/>
                  </a:lnTo>
                  <a:lnTo>
                    <a:pt x="1689" y="1012"/>
                  </a:lnTo>
                  <a:lnTo>
                    <a:pt x="1693" y="1034"/>
                  </a:lnTo>
                  <a:lnTo>
                    <a:pt x="1696" y="1046"/>
                  </a:lnTo>
                  <a:lnTo>
                    <a:pt x="1702" y="1052"/>
                  </a:lnTo>
                  <a:lnTo>
                    <a:pt x="1721" y="1065"/>
                  </a:lnTo>
                  <a:lnTo>
                    <a:pt x="1746" y="1074"/>
                  </a:lnTo>
                  <a:lnTo>
                    <a:pt x="1771" y="1084"/>
                  </a:lnTo>
                  <a:lnTo>
                    <a:pt x="1792" y="1087"/>
                  </a:lnTo>
                  <a:lnTo>
                    <a:pt x="1827" y="1084"/>
                  </a:lnTo>
                  <a:lnTo>
                    <a:pt x="1867" y="1074"/>
                  </a:lnTo>
                  <a:lnTo>
                    <a:pt x="1908" y="1062"/>
                  </a:lnTo>
                  <a:lnTo>
                    <a:pt x="1942" y="1052"/>
                  </a:lnTo>
                  <a:lnTo>
                    <a:pt x="1961" y="1043"/>
                  </a:lnTo>
                  <a:lnTo>
                    <a:pt x="1983" y="1034"/>
                  </a:lnTo>
                  <a:lnTo>
                    <a:pt x="2002" y="1027"/>
                  </a:lnTo>
                  <a:lnTo>
                    <a:pt x="2030" y="1027"/>
                  </a:lnTo>
                  <a:lnTo>
                    <a:pt x="2064" y="1031"/>
                  </a:lnTo>
                  <a:lnTo>
                    <a:pt x="2092" y="1031"/>
                  </a:lnTo>
                  <a:lnTo>
                    <a:pt x="2111" y="1034"/>
                  </a:lnTo>
                  <a:lnTo>
                    <a:pt x="2130" y="1034"/>
                  </a:lnTo>
                  <a:lnTo>
                    <a:pt x="2148" y="1034"/>
                  </a:lnTo>
                  <a:lnTo>
                    <a:pt x="2164" y="1027"/>
                  </a:lnTo>
                  <a:lnTo>
                    <a:pt x="2164" y="1024"/>
                  </a:lnTo>
                  <a:lnTo>
                    <a:pt x="2164" y="1018"/>
                  </a:lnTo>
                  <a:lnTo>
                    <a:pt x="2164" y="1012"/>
                  </a:lnTo>
                  <a:lnTo>
                    <a:pt x="2161" y="1006"/>
                  </a:lnTo>
                  <a:lnTo>
                    <a:pt x="2161" y="996"/>
                  </a:lnTo>
                  <a:lnTo>
                    <a:pt x="2161" y="993"/>
                  </a:lnTo>
                  <a:lnTo>
                    <a:pt x="2164" y="987"/>
                  </a:lnTo>
                  <a:lnTo>
                    <a:pt x="2177" y="984"/>
                  </a:lnTo>
                  <a:lnTo>
                    <a:pt x="2198" y="984"/>
                  </a:lnTo>
                  <a:lnTo>
                    <a:pt x="2217" y="987"/>
                  </a:lnTo>
                  <a:lnTo>
                    <a:pt x="2233" y="993"/>
                  </a:lnTo>
                  <a:lnTo>
                    <a:pt x="2252" y="1002"/>
                  </a:lnTo>
                  <a:lnTo>
                    <a:pt x="2273" y="1018"/>
                  </a:lnTo>
                  <a:lnTo>
                    <a:pt x="2295" y="1034"/>
                  </a:lnTo>
                  <a:lnTo>
                    <a:pt x="2314" y="1043"/>
                  </a:lnTo>
                  <a:lnTo>
                    <a:pt x="2336" y="1046"/>
                  </a:lnTo>
                  <a:lnTo>
                    <a:pt x="2364" y="1043"/>
                  </a:lnTo>
                  <a:lnTo>
                    <a:pt x="2389" y="1037"/>
                  </a:lnTo>
                  <a:lnTo>
                    <a:pt x="2411" y="1027"/>
                  </a:lnTo>
                  <a:lnTo>
                    <a:pt x="2417" y="1024"/>
                  </a:lnTo>
                  <a:lnTo>
                    <a:pt x="2420" y="1015"/>
                  </a:lnTo>
                  <a:lnTo>
                    <a:pt x="2426" y="1009"/>
                  </a:lnTo>
                  <a:lnTo>
                    <a:pt x="2430" y="999"/>
                  </a:lnTo>
                  <a:lnTo>
                    <a:pt x="2436" y="993"/>
                  </a:lnTo>
                  <a:lnTo>
                    <a:pt x="2442" y="987"/>
                  </a:lnTo>
                  <a:lnTo>
                    <a:pt x="2458" y="984"/>
                  </a:lnTo>
                  <a:lnTo>
                    <a:pt x="2479" y="984"/>
                  </a:lnTo>
                  <a:lnTo>
                    <a:pt x="2501" y="987"/>
                  </a:lnTo>
                  <a:lnTo>
                    <a:pt x="2517" y="987"/>
                  </a:lnTo>
                  <a:lnTo>
                    <a:pt x="2536" y="990"/>
                  </a:lnTo>
                  <a:lnTo>
                    <a:pt x="2558" y="996"/>
                  </a:lnTo>
                  <a:lnTo>
                    <a:pt x="2579" y="999"/>
                  </a:lnTo>
                  <a:lnTo>
                    <a:pt x="2598" y="996"/>
                  </a:lnTo>
                  <a:lnTo>
                    <a:pt x="2601" y="993"/>
                  </a:lnTo>
                  <a:lnTo>
                    <a:pt x="2604" y="984"/>
                  </a:lnTo>
                  <a:lnTo>
                    <a:pt x="2611" y="977"/>
                  </a:lnTo>
                  <a:lnTo>
                    <a:pt x="2614" y="971"/>
                  </a:lnTo>
                  <a:lnTo>
                    <a:pt x="2617" y="968"/>
                  </a:lnTo>
                  <a:lnTo>
                    <a:pt x="2636" y="965"/>
                  </a:lnTo>
                  <a:lnTo>
                    <a:pt x="2657" y="965"/>
                  </a:lnTo>
                  <a:lnTo>
                    <a:pt x="2682" y="968"/>
                  </a:lnTo>
                  <a:lnTo>
                    <a:pt x="2701" y="968"/>
                  </a:lnTo>
                  <a:lnTo>
                    <a:pt x="2711" y="965"/>
                  </a:lnTo>
                  <a:lnTo>
                    <a:pt x="2720" y="962"/>
                  </a:lnTo>
                  <a:lnTo>
                    <a:pt x="2729" y="959"/>
                  </a:lnTo>
                  <a:lnTo>
                    <a:pt x="2739" y="956"/>
                  </a:lnTo>
                  <a:lnTo>
                    <a:pt x="2742" y="949"/>
                  </a:lnTo>
                  <a:lnTo>
                    <a:pt x="2745" y="934"/>
                  </a:lnTo>
                  <a:lnTo>
                    <a:pt x="2745" y="912"/>
                  </a:lnTo>
                  <a:lnTo>
                    <a:pt x="2742" y="893"/>
                  </a:lnTo>
                  <a:lnTo>
                    <a:pt x="2742" y="874"/>
                  </a:lnTo>
                  <a:lnTo>
                    <a:pt x="2748" y="865"/>
                  </a:lnTo>
                  <a:lnTo>
                    <a:pt x="2754" y="856"/>
                  </a:lnTo>
                  <a:lnTo>
                    <a:pt x="2761" y="843"/>
                  </a:lnTo>
                  <a:lnTo>
                    <a:pt x="2770" y="834"/>
                  </a:lnTo>
                  <a:lnTo>
                    <a:pt x="2779" y="831"/>
                  </a:lnTo>
                  <a:lnTo>
                    <a:pt x="2801" y="824"/>
                  </a:lnTo>
                  <a:lnTo>
                    <a:pt x="2826" y="824"/>
                  </a:lnTo>
                  <a:lnTo>
                    <a:pt x="2854" y="824"/>
                  </a:lnTo>
                  <a:lnTo>
                    <a:pt x="2879" y="831"/>
                  </a:lnTo>
                  <a:lnTo>
                    <a:pt x="2901" y="837"/>
                  </a:lnTo>
                  <a:lnTo>
                    <a:pt x="2926" y="853"/>
                  </a:lnTo>
                  <a:lnTo>
                    <a:pt x="2951" y="865"/>
                  </a:lnTo>
                  <a:lnTo>
                    <a:pt x="2973" y="874"/>
                  </a:lnTo>
                  <a:lnTo>
                    <a:pt x="3001" y="878"/>
                  </a:lnTo>
                  <a:lnTo>
                    <a:pt x="3032" y="874"/>
                  </a:lnTo>
                  <a:lnTo>
                    <a:pt x="3067" y="871"/>
                  </a:lnTo>
                  <a:lnTo>
                    <a:pt x="3092" y="874"/>
                  </a:lnTo>
                  <a:lnTo>
                    <a:pt x="3123" y="890"/>
                  </a:lnTo>
                  <a:lnTo>
                    <a:pt x="3154" y="918"/>
                  </a:lnTo>
                  <a:lnTo>
                    <a:pt x="3185" y="946"/>
                  </a:lnTo>
                  <a:lnTo>
                    <a:pt x="3204" y="971"/>
                  </a:lnTo>
                  <a:lnTo>
                    <a:pt x="3213" y="996"/>
                  </a:lnTo>
                  <a:lnTo>
                    <a:pt x="3220" y="1024"/>
                  </a:lnTo>
                  <a:lnTo>
                    <a:pt x="3216" y="1049"/>
                  </a:lnTo>
                  <a:lnTo>
                    <a:pt x="3213" y="1056"/>
                  </a:lnTo>
                  <a:lnTo>
                    <a:pt x="3207" y="1062"/>
                  </a:lnTo>
                  <a:lnTo>
                    <a:pt x="3198" y="1071"/>
                  </a:lnTo>
                  <a:lnTo>
                    <a:pt x="3191" y="1077"/>
                  </a:lnTo>
                  <a:lnTo>
                    <a:pt x="3188" y="1084"/>
                  </a:lnTo>
                  <a:lnTo>
                    <a:pt x="3185" y="1093"/>
                  </a:lnTo>
                  <a:lnTo>
                    <a:pt x="3188" y="1102"/>
                  </a:lnTo>
                  <a:lnTo>
                    <a:pt x="3188" y="1112"/>
                  </a:lnTo>
                  <a:lnTo>
                    <a:pt x="3195" y="1121"/>
                  </a:lnTo>
                  <a:lnTo>
                    <a:pt x="3198" y="1124"/>
                  </a:lnTo>
                  <a:lnTo>
                    <a:pt x="3210" y="1130"/>
                  </a:lnTo>
                  <a:lnTo>
                    <a:pt x="3229" y="1134"/>
                  </a:lnTo>
                  <a:lnTo>
                    <a:pt x="3248" y="1130"/>
                  </a:lnTo>
                  <a:lnTo>
                    <a:pt x="3260" y="1124"/>
                  </a:lnTo>
                  <a:lnTo>
                    <a:pt x="3263" y="1121"/>
                  </a:lnTo>
                  <a:lnTo>
                    <a:pt x="3263" y="1118"/>
                  </a:lnTo>
                  <a:lnTo>
                    <a:pt x="3260" y="1112"/>
                  </a:lnTo>
                  <a:lnTo>
                    <a:pt x="3260" y="1105"/>
                  </a:lnTo>
                  <a:lnTo>
                    <a:pt x="3260" y="1102"/>
                  </a:lnTo>
                  <a:lnTo>
                    <a:pt x="3266" y="1099"/>
                  </a:lnTo>
                  <a:lnTo>
                    <a:pt x="3273" y="1099"/>
                  </a:lnTo>
                  <a:lnTo>
                    <a:pt x="3282" y="1099"/>
                  </a:lnTo>
                  <a:lnTo>
                    <a:pt x="3288" y="1099"/>
                  </a:lnTo>
                  <a:lnTo>
                    <a:pt x="3294" y="1102"/>
                  </a:lnTo>
                  <a:lnTo>
                    <a:pt x="3301" y="1109"/>
                  </a:lnTo>
                  <a:lnTo>
                    <a:pt x="3304" y="1118"/>
                  </a:lnTo>
                  <a:lnTo>
                    <a:pt x="3307" y="1127"/>
                  </a:lnTo>
                  <a:lnTo>
                    <a:pt x="3310" y="1137"/>
                  </a:lnTo>
                  <a:lnTo>
                    <a:pt x="3313" y="1146"/>
                  </a:lnTo>
                  <a:lnTo>
                    <a:pt x="3316" y="1152"/>
                  </a:lnTo>
                  <a:lnTo>
                    <a:pt x="3335" y="1159"/>
                  </a:lnTo>
                  <a:lnTo>
                    <a:pt x="3357" y="1162"/>
                  </a:lnTo>
                  <a:lnTo>
                    <a:pt x="3379" y="1168"/>
                  </a:lnTo>
                  <a:lnTo>
                    <a:pt x="3394" y="1177"/>
                  </a:lnTo>
                  <a:lnTo>
                    <a:pt x="3401" y="1196"/>
                  </a:lnTo>
                  <a:lnTo>
                    <a:pt x="3404" y="1224"/>
                  </a:lnTo>
                  <a:lnTo>
                    <a:pt x="3407" y="1252"/>
                  </a:lnTo>
                  <a:lnTo>
                    <a:pt x="3404" y="1274"/>
                  </a:lnTo>
                  <a:lnTo>
                    <a:pt x="3404" y="1287"/>
                  </a:lnTo>
                  <a:lnTo>
                    <a:pt x="3401" y="1296"/>
                  </a:lnTo>
                  <a:lnTo>
                    <a:pt x="3394" y="1312"/>
                  </a:lnTo>
                  <a:lnTo>
                    <a:pt x="3388" y="1330"/>
                  </a:lnTo>
                  <a:lnTo>
                    <a:pt x="3382" y="1343"/>
                  </a:lnTo>
                  <a:lnTo>
                    <a:pt x="3373" y="1365"/>
                  </a:lnTo>
                  <a:lnTo>
                    <a:pt x="3366" y="1390"/>
                  </a:lnTo>
                  <a:lnTo>
                    <a:pt x="3363" y="1408"/>
                  </a:lnTo>
                  <a:lnTo>
                    <a:pt x="3373" y="1427"/>
                  </a:lnTo>
                  <a:lnTo>
                    <a:pt x="3385" y="1449"/>
                  </a:lnTo>
                  <a:lnTo>
                    <a:pt x="3391" y="1465"/>
                  </a:lnTo>
                  <a:lnTo>
                    <a:pt x="3388" y="1483"/>
                  </a:lnTo>
                  <a:lnTo>
                    <a:pt x="3382" y="1502"/>
                  </a:lnTo>
                  <a:lnTo>
                    <a:pt x="3379" y="1521"/>
                  </a:lnTo>
                  <a:lnTo>
                    <a:pt x="3376" y="1533"/>
                  </a:lnTo>
                  <a:lnTo>
                    <a:pt x="3376" y="1555"/>
                  </a:lnTo>
                  <a:lnTo>
                    <a:pt x="3376" y="1571"/>
                  </a:lnTo>
                  <a:lnTo>
                    <a:pt x="3379" y="1586"/>
                  </a:lnTo>
                  <a:lnTo>
                    <a:pt x="3394" y="1599"/>
                  </a:lnTo>
                  <a:lnTo>
                    <a:pt x="3416" y="1605"/>
                  </a:lnTo>
                  <a:lnTo>
                    <a:pt x="3438" y="1611"/>
                  </a:lnTo>
                  <a:lnTo>
                    <a:pt x="3457" y="1608"/>
                  </a:lnTo>
                  <a:lnTo>
                    <a:pt x="3463" y="1605"/>
                  </a:lnTo>
                  <a:lnTo>
                    <a:pt x="3466" y="1599"/>
                  </a:lnTo>
                  <a:lnTo>
                    <a:pt x="3469" y="1589"/>
                  </a:lnTo>
                  <a:lnTo>
                    <a:pt x="3472" y="1580"/>
                  </a:lnTo>
                  <a:lnTo>
                    <a:pt x="3476" y="1574"/>
                  </a:lnTo>
                  <a:lnTo>
                    <a:pt x="3479" y="1568"/>
                  </a:lnTo>
                  <a:lnTo>
                    <a:pt x="3485" y="1565"/>
                  </a:lnTo>
                  <a:lnTo>
                    <a:pt x="3491" y="1558"/>
                  </a:lnTo>
                  <a:lnTo>
                    <a:pt x="3497" y="1555"/>
                  </a:lnTo>
                  <a:lnTo>
                    <a:pt x="3507" y="1552"/>
                  </a:lnTo>
                  <a:lnTo>
                    <a:pt x="3513" y="1549"/>
                  </a:lnTo>
                  <a:lnTo>
                    <a:pt x="3519" y="1552"/>
                  </a:lnTo>
                  <a:lnTo>
                    <a:pt x="3529" y="1555"/>
                  </a:lnTo>
                  <a:lnTo>
                    <a:pt x="3535" y="1558"/>
                  </a:lnTo>
                  <a:lnTo>
                    <a:pt x="3544" y="1561"/>
                  </a:lnTo>
                  <a:lnTo>
                    <a:pt x="3547" y="1568"/>
                  </a:lnTo>
                  <a:lnTo>
                    <a:pt x="3551" y="1583"/>
                  </a:lnTo>
                  <a:lnTo>
                    <a:pt x="3547" y="1605"/>
                  </a:lnTo>
                  <a:lnTo>
                    <a:pt x="3544" y="1627"/>
                  </a:lnTo>
                  <a:lnTo>
                    <a:pt x="3547" y="1646"/>
                  </a:lnTo>
                  <a:lnTo>
                    <a:pt x="3554" y="1652"/>
                  </a:lnTo>
                  <a:lnTo>
                    <a:pt x="3560" y="1661"/>
                  </a:lnTo>
                  <a:lnTo>
                    <a:pt x="3566" y="1668"/>
                  </a:lnTo>
                  <a:lnTo>
                    <a:pt x="3576" y="1677"/>
                  </a:lnTo>
                  <a:lnTo>
                    <a:pt x="3585" y="1683"/>
                  </a:lnTo>
                  <a:lnTo>
                    <a:pt x="3594" y="1686"/>
                  </a:lnTo>
                  <a:lnTo>
                    <a:pt x="3622" y="1686"/>
                  </a:lnTo>
                  <a:lnTo>
                    <a:pt x="3654" y="1683"/>
                  </a:lnTo>
                  <a:lnTo>
                    <a:pt x="3688" y="1674"/>
                  </a:lnTo>
                  <a:lnTo>
                    <a:pt x="3710" y="1661"/>
                  </a:lnTo>
                  <a:lnTo>
                    <a:pt x="3713" y="1655"/>
                  </a:lnTo>
                  <a:lnTo>
                    <a:pt x="3716" y="1649"/>
                  </a:lnTo>
                  <a:lnTo>
                    <a:pt x="3719" y="1643"/>
                  </a:lnTo>
                  <a:lnTo>
                    <a:pt x="3719" y="1636"/>
                  </a:lnTo>
                  <a:lnTo>
                    <a:pt x="3725" y="1633"/>
                  </a:lnTo>
                  <a:lnTo>
                    <a:pt x="3741" y="1627"/>
                  </a:lnTo>
                  <a:lnTo>
                    <a:pt x="3763" y="1627"/>
                  </a:lnTo>
                  <a:lnTo>
                    <a:pt x="3782" y="1633"/>
                  </a:lnTo>
                  <a:lnTo>
                    <a:pt x="3785" y="1646"/>
                  </a:lnTo>
                  <a:lnTo>
                    <a:pt x="3788" y="1661"/>
                  </a:lnTo>
                  <a:lnTo>
                    <a:pt x="3788" y="1680"/>
                  </a:lnTo>
                  <a:lnTo>
                    <a:pt x="3794" y="1696"/>
                  </a:lnTo>
                  <a:lnTo>
                    <a:pt x="3800" y="1702"/>
                  </a:lnTo>
                  <a:lnTo>
                    <a:pt x="3810" y="1705"/>
                  </a:lnTo>
                  <a:lnTo>
                    <a:pt x="3822" y="1711"/>
                  </a:lnTo>
                  <a:lnTo>
                    <a:pt x="3832" y="1718"/>
                  </a:lnTo>
                  <a:lnTo>
                    <a:pt x="3838" y="1721"/>
                  </a:lnTo>
                  <a:lnTo>
                    <a:pt x="3850" y="1736"/>
                  </a:lnTo>
                  <a:lnTo>
                    <a:pt x="3860" y="1758"/>
                  </a:lnTo>
                  <a:lnTo>
                    <a:pt x="3869" y="1780"/>
                  </a:lnTo>
                  <a:lnTo>
                    <a:pt x="3882" y="1792"/>
                  </a:lnTo>
                  <a:lnTo>
                    <a:pt x="3900" y="1799"/>
                  </a:lnTo>
                  <a:lnTo>
                    <a:pt x="3919" y="1799"/>
                  </a:lnTo>
                  <a:lnTo>
                    <a:pt x="3941" y="1796"/>
                  </a:lnTo>
                  <a:lnTo>
                    <a:pt x="3960" y="1792"/>
                  </a:lnTo>
                  <a:lnTo>
                    <a:pt x="3975" y="1786"/>
                  </a:lnTo>
                  <a:lnTo>
                    <a:pt x="3994" y="1777"/>
                  </a:lnTo>
                  <a:lnTo>
                    <a:pt x="4013" y="1771"/>
                  </a:lnTo>
                  <a:lnTo>
                    <a:pt x="4019" y="1774"/>
                  </a:lnTo>
                  <a:lnTo>
                    <a:pt x="4025" y="1777"/>
                  </a:lnTo>
                  <a:lnTo>
                    <a:pt x="4035" y="1783"/>
                  </a:lnTo>
                  <a:lnTo>
                    <a:pt x="4041" y="1786"/>
                  </a:lnTo>
                  <a:lnTo>
                    <a:pt x="4047" y="1792"/>
                  </a:lnTo>
                  <a:lnTo>
                    <a:pt x="4053" y="1792"/>
                  </a:lnTo>
                  <a:lnTo>
                    <a:pt x="4063" y="1792"/>
                  </a:lnTo>
                  <a:lnTo>
                    <a:pt x="4072" y="1789"/>
                  </a:lnTo>
                  <a:lnTo>
                    <a:pt x="4085" y="1783"/>
                  </a:lnTo>
                  <a:lnTo>
                    <a:pt x="4088" y="1796"/>
                  </a:lnTo>
                  <a:lnTo>
                    <a:pt x="4094" y="1802"/>
                  </a:lnTo>
                  <a:lnTo>
                    <a:pt x="4100" y="1805"/>
                  </a:lnTo>
                  <a:lnTo>
                    <a:pt x="4110" y="1808"/>
                  </a:lnTo>
                  <a:lnTo>
                    <a:pt x="4119" y="1811"/>
                  </a:lnTo>
                  <a:lnTo>
                    <a:pt x="4128" y="1814"/>
                  </a:lnTo>
                  <a:lnTo>
                    <a:pt x="4138" y="1811"/>
                  </a:lnTo>
                  <a:lnTo>
                    <a:pt x="4144" y="1808"/>
                  </a:lnTo>
                  <a:lnTo>
                    <a:pt x="4150" y="1802"/>
                  </a:lnTo>
                  <a:lnTo>
                    <a:pt x="4153" y="1792"/>
                  </a:lnTo>
                  <a:lnTo>
                    <a:pt x="4159" y="1786"/>
                  </a:lnTo>
                  <a:lnTo>
                    <a:pt x="4163" y="1777"/>
                  </a:lnTo>
                  <a:lnTo>
                    <a:pt x="4163" y="1774"/>
                  </a:lnTo>
                  <a:lnTo>
                    <a:pt x="4163" y="1764"/>
                  </a:lnTo>
                  <a:lnTo>
                    <a:pt x="4159" y="1758"/>
                  </a:lnTo>
                  <a:lnTo>
                    <a:pt x="4159" y="1752"/>
                  </a:lnTo>
                  <a:lnTo>
                    <a:pt x="4159" y="1746"/>
                  </a:lnTo>
                  <a:lnTo>
                    <a:pt x="4163" y="1739"/>
                  </a:lnTo>
                  <a:lnTo>
                    <a:pt x="4169" y="1736"/>
                  </a:lnTo>
                  <a:lnTo>
                    <a:pt x="4175" y="1733"/>
                  </a:lnTo>
                  <a:lnTo>
                    <a:pt x="4184" y="1733"/>
                  </a:lnTo>
                  <a:lnTo>
                    <a:pt x="4194" y="1733"/>
                  </a:lnTo>
                  <a:lnTo>
                    <a:pt x="4203" y="1736"/>
                  </a:lnTo>
                  <a:lnTo>
                    <a:pt x="4209" y="1739"/>
                  </a:lnTo>
                  <a:lnTo>
                    <a:pt x="4219" y="1755"/>
                  </a:lnTo>
                  <a:lnTo>
                    <a:pt x="4222" y="1777"/>
                  </a:lnTo>
                  <a:lnTo>
                    <a:pt x="4225" y="1802"/>
                  </a:lnTo>
                  <a:lnTo>
                    <a:pt x="4228" y="1821"/>
                  </a:lnTo>
                  <a:lnTo>
                    <a:pt x="4234" y="1827"/>
                  </a:lnTo>
                  <a:lnTo>
                    <a:pt x="4241" y="1833"/>
                  </a:lnTo>
                  <a:lnTo>
                    <a:pt x="4247" y="1839"/>
                  </a:lnTo>
                  <a:lnTo>
                    <a:pt x="4253" y="1846"/>
                  </a:lnTo>
                  <a:lnTo>
                    <a:pt x="4256" y="1852"/>
                  </a:lnTo>
                  <a:lnTo>
                    <a:pt x="4263" y="1877"/>
                  </a:lnTo>
                  <a:lnTo>
                    <a:pt x="4263" y="1908"/>
                  </a:lnTo>
                  <a:lnTo>
                    <a:pt x="4263" y="1933"/>
                  </a:lnTo>
                  <a:lnTo>
                    <a:pt x="4253" y="1955"/>
                  </a:lnTo>
                  <a:lnTo>
                    <a:pt x="4241" y="1977"/>
                  </a:lnTo>
                  <a:lnTo>
                    <a:pt x="4228" y="1995"/>
                  </a:lnTo>
                  <a:lnTo>
                    <a:pt x="4209" y="2008"/>
                  </a:lnTo>
                  <a:lnTo>
                    <a:pt x="4188" y="2024"/>
                  </a:lnTo>
                  <a:lnTo>
                    <a:pt x="4172" y="2039"/>
                  </a:lnTo>
                  <a:lnTo>
                    <a:pt x="4166" y="2067"/>
                  </a:lnTo>
                  <a:lnTo>
                    <a:pt x="4163" y="2098"/>
                  </a:lnTo>
                  <a:lnTo>
                    <a:pt x="4163" y="2133"/>
                  </a:lnTo>
                  <a:lnTo>
                    <a:pt x="4163" y="2161"/>
                  </a:lnTo>
                  <a:lnTo>
                    <a:pt x="4166" y="2180"/>
                  </a:lnTo>
                  <a:lnTo>
                    <a:pt x="4169" y="2202"/>
                  </a:lnTo>
                  <a:lnTo>
                    <a:pt x="4175" y="2217"/>
                  </a:lnTo>
                  <a:lnTo>
                    <a:pt x="4188" y="2223"/>
                  </a:lnTo>
                  <a:lnTo>
                    <a:pt x="4203" y="2230"/>
                  </a:lnTo>
                  <a:lnTo>
                    <a:pt x="4222" y="2233"/>
                  </a:lnTo>
                  <a:lnTo>
                    <a:pt x="4234" y="2239"/>
                  </a:lnTo>
                  <a:lnTo>
                    <a:pt x="4253" y="2264"/>
                  </a:lnTo>
                  <a:lnTo>
                    <a:pt x="4269" y="2298"/>
                  </a:lnTo>
                  <a:lnTo>
                    <a:pt x="4278" y="2326"/>
                  </a:lnTo>
                  <a:lnTo>
                    <a:pt x="4281" y="2348"/>
                  </a:lnTo>
                  <a:lnTo>
                    <a:pt x="4281" y="2373"/>
                  </a:lnTo>
                  <a:lnTo>
                    <a:pt x="4281" y="2398"/>
                  </a:lnTo>
                  <a:lnTo>
                    <a:pt x="4284" y="2420"/>
                  </a:lnTo>
                  <a:lnTo>
                    <a:pt x="4288" y="2429"/>
                  </a:lnTo>
                  <a:lnTo>
                    <a:pt x="4297" y="2439"/>
                  </a:lnTo>
                  <a:lnTo>
                    <a:pt x="4303" y="2451"/>
                  </a:lnTo>
                  <a:lnTo>
                    <a:pt x="4309" y="2461"/>
                  </a:lnTo>
                  <a:lnTo>
                    <a:pt x="4316" y="2470"/>
                  </a:lnTo>
                  <a:lnTo>
                    <a:pt x="4319" y="2495"/>
                  </a:lnTo>
                  <a:lnTo>
                    <a:pt x="4319" y="2526"/>
                  </a:lnTo>
                  <a:lnTo>
                    <a:pt x="4316" y="2554"/>
                  </a:lnTo>
                  <a:lnTo>
                    <a:pt x="4309" y="2573"/>
                  </a:lnTo>
                  <a:lnTo>
                    <a:pt x="4294" y="2592"/>
                  </a:lnTo>
                  <a:lnTo>
                    <a:pt x="4281" y="2611"/>
                  </a:lnTo>
                  <a:lnTo>
                    <a:pt x="4272" y="2629"/>
                  </a:lnTo>
                  <a:lnTo>
                    <a:pt x="4269" y="2657"/>
                  </a:lnTo>
                  <a:lnTo>
                    <a:pt x="4269" y="2695"/>
                  </a:lnTo>
                  <a:lnTo>
                    <a:pt x="4272" y="2732"/>
                  </a:lnTo>
                  <a:lnTo>
                    <a:pt x="4269" y="2760"/>
                  </a:lnTo>
                  <a:lnTo>
                    <a:pt x="4256" y="2785"/>
                  </a:lnTo>
                  <a:lnTo>
                    <a:pt x="4241" y="2814"/>
                  </a:lnTo>
                  <a:lnTo>
                    <a:pt x="4219" y="2839"/>
                  </a:lnTo>
                  <a:lnTo>
                    <a:pt x="4203" y="2860"/>
                  </a:lnTo>
                  <a:lnTo>
                    <a:pt x="4184" y="2870"/>
                  </a:lnTo>
                  <a:lnTo>
                    <a:pt x="4166" y="2882"/>
                  </a:lnTo>
                  <a:lnTo>
                    <a:pt x="4150" y="2895"/>
                  </a:lnTo>
                  <a:lnTo>
                    <a:pt x="4141" y="2920"/>
                  </a:lnTo>
                  <a:lnTo>
                    <a:pt x="4134" y="2954"/>
                  </a:lnTo>
                  <a:lnTo>
                    <a:pt x="4128" y="2985"/>
                  </a:lnTo>
                  <a:lnTo>
                    <a:pt x="4119" y="3010"/>
                  </a:lnTo>
                  <a:lnTo>
                    <a:pt x="4103" y="3029"/>
                  </a:lnTo>
                  <a:lnTo>
                    <a:pt x="4081" y="3045"/>
                  </a:lnTo>
                  <a:lnTo>
                    <a:pt x="4063" y="3057"/>
                  </a:lnTo>
                  <a:lnTo>
                    <a:pt x="4050" y="3057"/>
                  </a:lnTo>
                  <a:lnTo>
                    <a:pt x="4035" y="3054"/>
                  </a:lnTo>
                  <a:lnTo>
                    <a:pt x="4022" y="3054"/>
                  </a:lnTo>
                  <a:lnTo>
                    <a:pt x="4010" y="3057"/>
                  </a:lnTo>
                  <a:lnTo>
                    <a:pt x="4000" y="3073"/>
                  </a:lnTo>
                  <a:lnTo>
                    <a:pt x="3994" y="3101"/>
                  </a:lnTo>
                  <a:lnTo>
                    <a:pt x="3994" y="3123"/>
                  </a:lnTo>
                  <a:lnTo>
                    <a:pt x="3997" y="3129"/>
                  </a:lnTo>
                  <a:lnTo>
                    <a:pt x="4000" y="3135"/>
                  </a:lnTo>
                  <a:lnTo>
                    <a:pt x="4006" y="3141"/>
                  </a:lnTo>
                  <a:lnTo>
                    <a:pt x="4013" y="3148"/>
                  </a:lnTo>
                  <a:lnTo>
                    <a:pt x="4016" y="3157"/>
                  </a:lnTo>
                  <a:lnTo>
                    <a:pt x="4019" y="3160"/>
                  </a:lnTo>
                  <a:lnTo>
                    <a:pt x="4016" y="3170"/>
                  </a:lnTo>
                  <a:lnTo>
                    <a:pt x="4013" y="3179"/>
                  </a:lnTo>
                  <a:lnTo>
                    <a:pt x="4006" y="3188"/>
                  </a:lnTo>
                  <a:lnTo>
                    <a:pt x="4000" y="3198"/>
                  </a:lnTo>
                  <a:lnTo>
                    <a:pt x="3994" y="3204"/>
                  </a:lnTo>
                  <a:lnTo>
                    <a:pt x="3988" y="3210"/>
                  </a:lnTo>
                  <a:lnTo>
                    <a:pt x="3975" y="3210"/>
                  </a:lnTo>
                  <a:lnTo>
                    <a:pt x="3960" y="3210"/>
                  </a:lnTo>
                  <a:lnTo>
                    <a:pt x="3941" y="3207"/>
                  </a:lnTo>
                  <a:lnTo>
                    <a:pt x="3928" y="3210"/>
                  </a:lnTo>
                  <a:lnTo>
                    <a:pt x="3922" y="3216"/>
                  </a:lnTo>
                  <a:lnTo>
                    <a:pt x="3916" y="3226"/>
                  </a:lnTo>
                  <a:lnTo>
                    <a:pt x="3907" y="3235"/>
                  </a:lnTo>
                  <a:lnTo>
                    <a:pt x="3903" y="3248"/>
                  </a:lnTo>
                  <a:lnTo>
                    <a:pt x="3900" y="3257"/>
                  </a:lnTo>
                  <a:lnTo>
                    <a:pt x="3894" y="3276"/>
                  </a:lnTo>
                  <a:lnTo>
                    <a:pt x="3891" y="3298"/>
                  </a:lnTo>
                  <a:lnTo>
                    <a:pt x="3894" y="3319"/>
                  </a:lnTo>
                  <a:lnTo>
                    <a:pt x="3900" y="3338"/>
                  </a:lnTo>
                  <a:lnTo>
                    <a:pt x="3916" y="3351"/>
                  </a:lnTo>
                  <a:lnTo>
                    <a:pt x="3941" y="3360"/>
                  </a:lnTo>
                  <a:lnTo>
                    <a:pt x="3972" y="3366"/>
                  </a:lnTo>
                  <a:lnTo>
                    <a:pt x="3997" y="3372"/>
                  </a:lnTo>
                  <a:lnTo>
                    <a:pt x="4019" y="3382"/>
                  </a:lnTo>
                  <a:lnTo>
                    <a:pt x="4041" y="3401"/>
                  </a:lnTo>
                  <a:lnTo>
                    <a:pt x="4063" y="3429"/>
                  </a:lnTo>
                  <a:lnTo>
                    <a:pt x="4081" y="3444"/>
                  </a:lnTo>
                  <a:lnTo>
                    <a:pt x="4100" y="3451"/>
                  </a:lnTo>
                  <a:lnTo>
                    <a:pt x="4125" y="3454"/>
                  </a:lnTo>
                  <a:lnTo>
                    <a:pt x="4150" y="3454"/>
                  </a:lnTo>
                  <a:lnTo>
                    <a:pt x="4169" y="3457"/>
                  </a:lnTo>
                  <a:lnTo>
                    <a:pt x="4191" y="3463"/>
                  </a:lnTo>
                  <a:lnTo>
                    <a:pt x="4219" y="3472"/>
                  </a:lnTo>
                  <a:lnTo>
                    <a:pt x="4238" y="3485"/>
                  </a:lnTo>
                  <a:lnTo>
                    <a:pt x="4244" y="3504"/>
                  </a:lnTo>
                  <a:lnTo>
                    <a:pt x="4250" y="3529"/>
                  </a:lnTo>
                  <a:lnTo>
                    <a:pt x="4247" y="3550"/>
                  </a:lnTo>
                  <a:lnTo>
                    <a:pt x="4238" y="3569"/>
                  </a:lnTo>
                  <a:lnTo>
                    <a:pt x="4219" y="3591"/>
                  </a:lnTo>
                  <a:lnTo>
                    <a:pt x="4197" y="3610"/>
                  </a:lnTo>
                  <a:lnTo>
                    <a:pt x="4178" y="3622"/>
                  </a:lnTo>
                  <a:lnTo>
                    <a:pt x="4163" y="3622"/>
                  </a:lnTo>
                  <a:lnTo>
                    <a:pt x="4144" y="3619"/>
                  </a:lnTo>
                  <a:lnTo>
                    <a:pt x="4125" y="3616"/>
                  </a:lnTo>
                  <a:lnTo>
                    <a:pt x="4113" y="3622"/>
                  </a:lnTo>
                  <a:lnTo>
                    <a:pt x="4106" y="3635"/>
                  </a:lnTo>
                  <a:lnTo>
                    <a:pt x="4106" y="3654"/>
                  </a:lnTo>
                  <a:lnTo>
                    <a:pt x="4110" y="3675"/>
                  </a:lnTo>
                  <a:lnTo>
                    <a:pt x="4113" y="3691"/>
                  </a:lnTo>
                  <a:lnTo>
                    <a:pt x="4119" y="3707"/>
                  </a:lnTo>
                  <a:lnTo>
                    <a:pt x="4131" y="3725"/>
                  </a:lnTo>
                  <a:lnTo>
                    <a:pt x="4141" y="3741"/>
                  </a:lnTo>
                  <a:lnTo>
                    <a:pt x="4141" y="3763"/>
                  </a:lnTo>
                  <a:lnTo>
                    <a:pt x="4138" y="3785"/>
                  </a:lnTo>
                  <a:lnTo>
                    <a:pt x="4134" y="3810"/>
                  </a:lnTo>
                  <a:lnTo>
                    <a:pt x="4134" y="3828"/>
                  </a:lnTo>
                  <a:lnTo>
                    <a:pt x="4141" y="3838"/>
                  </a:lnTo>
                  <a:lnTo>
                    <a:pt x="4150" y="3844"/>
                  </a:lnTo>
                  <a:lnTo>
                    <a:pt x="4159" y="3853"/>
                  </a:lnTo>
                  <a:lnTo>
                    <a:pt x="4169" y="3860"/>
                  </a:lnTo>
                  <a:lnTo>
                    <a:pt x="4178" y="3869"/>
                  </a:lnTo>
                  <a:lnTo>
                    <a:pt x="4184" y="3875"/>
                  </a:lnTo>
                  <a:lnTo>
                    <a:pt x="4188" y="3897"/>
                  </a:lnTo>
                  <a:lnTo>
                    <a:pt x="4184" y="3925"/>
                  </a:lnTo>
                  <a:lnTo>
                    <a:pt x="4184" y="3953"/>
                  </a:lnTo>
                  <a:lnTo>
                    <a:pt x="4184" y="3975"/>
                  </a:lnTo>
                  <a:lnTo>
                    <a:pt x="4194" y="3991"/>
                  </a:lnTo>
                  <a:lnTo>
                    <a:pt x="4206" y="4009"/>
                  </a:lnTo>
                  <a:lnTo>
                    <a:pt x="4219" y="4028"/>
                  </a:lnTo>
                  <a:lnTo>
                    <a:pt x="4228" y="4047"/>
                  </a:lnTo>
                  <a:lnTo>
                    <a:pt x="4228" y="4069"/>
                  </a:lnTo>
                  <a:lnTo>
                    <a:pt x="4222" y="4097"/>
                  </a:lnTo>
                  <a:lnTo>
                    <a:pt x="4216" y="4125"/>
                  </a:lnTo>
                  <a:lnTo>
                    <a:pt x="4206" y="4144"/>
                  </a:lnTo>
                  <a:lnTo>
                    <a:pt x="4200" y="4150"/>
                  </a:lnTo>
                  <a:lnTo>
                    <a:pt x="4191" y="4153"/>
                  </a:lnTo>
                  <a:lnTo>
                    <a:pt x="4181" y="4156"/>
                  </a:lnTo>
                  <a:lnTo>
                    <a:pt x="4172" y="4159"/>
                  </a:lnTo>
                  <a:lnTo>
                    <a:pt x="4163" y="4163"/>
                  </a:lnTo>
                  <a:lnTo>
                    <a:pt x="4156" y="4169"/>
                  </a:lnTo>
                  <a:lnTo>
                    <a:pt x="4141" y="4191"/>
                  </a:lnTo>
                  <a:lnTo>
                    <a:pt x="4131" y="4219"/>
                  </a:lnTo>
                  <a:lnTo>
                    <a:pt x="4125" y="4244"/>
                  </a:lnTo>
                  <a:lnTo>
                    <a:pt x="4128" y="4266"/>
                  </a:lnTo>
                  <a:lnTo>
                    <a:pt x="4134" y="4291"/>
                  </a:lnTo>
                  <a:lnTo>
                    <a:pt x="4147" y="4309"/>
                  </a:lnTo>
                  <a:lnTo>
                    <a:pt x="4153" y="4312"/>
                  </a:lnTo>
                  <a:lnTo>
                    <a:pt x="4159" y="4316"/>
                  </a:lnTo>
                  <a:lnTo>
                    <a:pt x="4169" y="4316"/>
                  </a:lnTo>
                  <a:lnTo>
                    <a:pt x="4178" y="4319"/>
                  </a:lnTo>
                  <a:lnTo>
                    <a:pt x="4188" y="4322"/>
                  </a:lnTo>
                  <a:lnTo>
                    <a:pt x="4194" y="4325"/>
                  </a:lnTo>
                  <a:lnTo>
                    <a:pt x="4209" y="4340"/>
                  </a:lnTo>
                  <a:lnTo>
                    <a:pt x="4228" y="4359"/>
                  </a:lnTo>
                  <a:lnTo>
                    <a:pt x="4238" y="4378"/>
                  </a:lnTo>
                  <a:lnTo>
                    <a:pt x="4241" y="4390"/>
                  </a:lnTo>
                  <a:lnTo>
                    <a:pt x="4244" y="4406"/>
                  </a:lnTo>
                  <a:lnTo>
                    <a:pt x="4244" y="4422"/>
                  </a:lnTo>
                  <a:lnTo>
                    <a:pt x="4238" y="4434"/>
                  </a:lnTo>
                  <a:lnTo>
                    <a:pt x="4222" y="4440"/>
                  </a:lnTo>
                  <a:lnTo>
                    <a:pt x="4197" y="4440"/>
                  </a:lnTo>
                  <a:lnTo>
                    <a:pt x="4169" y="4437"/>
                  </a:lnTo>
                  <a:lnTo>
                    <a:pt x="4144" y="4434"/>
                  </a:lnTo>
                  <a:lnTo>
                    <a:pt x="4122" y="4434"/>
                  </a:lnTo>
                  <a:lnTo>
                    <a:pt x="4100" y="4440"/>
                  </a:lnTo>
                  <a:lnTo>
                    <a:pt x="4075" y="4447"/>
                  </a:lnTo>
                  <a:lnTo>
                    <a:pt x="4060" y="4459"/>
                  </a:lnTo>
                  <a:lnTo>
                    <a:pt x="4050" y="4469"/>
                  </a:lnTo>
                  <a:lnTo>
                    <a:pt x="4044" y="4484"/>
                  </a:lnTo>
                  <a:lnTo>
                    <a:pt x="4010" y="4478"/>
                  </a:lnTo>
                  <a:lnTo>
                    <a:pt x="3981" y="4475"/>
                  </a:lnTo>
                  <a:lnTo>
                    <a:pt x="3963" y="4469"/>
                  </a:lnTo>
                  <a:lnTo>
                    <a:pt x="3938" y="4465"/>
                  </a:lnTo>
                  <a:lnTo>
                    <a:pt x="3919" y="4456"/>
                  </a:lnTo>
                  <a:lnTo>
                    <a:pt x="3900" y="4440"/>
                  </a:lnTo>
                  <a:lnTo>
                    <a:pt x="3882" y="4415"/>
                  </a:lnTo>
                  <a:lnTo>
                    <a:pt x="3863" y="4397"/>
                  </a:lnTo>
                  <a:lnTo>
                    <a:pt x="3847" y="4387"/>
                  </a:lnTo>
                  <a:lnTo>
                    <a:pt x="3828" y="4378"/>
                  </a:lnTo>
                  <a:lnTo>
                    <a:pt x="3810" y="4372"/>
                  </a:lnTo>
                  <a:lnTo>
                    <a:pt x="3788" y="4369"/>
                  </a:lnTo>
                  <a:lnTo>
                    <a:pt x="3760" y="4365"/>
                  </a:lnTo>
                  <a:lnTo>
                    <a:pt x="3735" y="4372"/>
                  </a:lnTo>
                  <a:lnTo>
                    <a:pt x="3729" y="4378"/>
                  </a:lnTo>
                  <a:lnTo>
                    <a:pt x="3719" y="4384"/>
                  </a:lnTo>
                  <a:lnTo>
                    <a:pt x="3710" y="4397"/>
                  </a:lnTo>
                  <a:lnTo>
                    <a:pt x="3700" y="4406"/>
                  </a:lnTo>
                  <a:lnTo>
                    <a:pt x="3694" y="4412"/>
                  </a:lnTo>
                  <a:lnTo>
                    <a:pt x="3675" y="4419"/>
                  </a:lnTo>
                  <a:lnTo>
                    <a:pt x="3654" y="4428"/>
                  </a:lnTo>
                  <a:lnTo>
                    <a:pt x="3635" y="4431"/>
                  </a:lnTo>
                  <a:lnTo>
                    <a:pt x="3619" y="4422"/>
                  </a:lnTo>
                  <a:lnTo>
                    <a:pt x="3597" y="4406"/>
                  </a:lnTo>
                  <a:lnTo>
                    <a:pt x="3582" y="4394"/>
                  </a:lnTo>
                  <a:lnTo>
                    <a:pt x="3563" y="4384"/>
                  </a:lnTo>
                  <a:lnTo>
                    <a:pt x="3544" y="4372"/>
                  </a:lnTo>
                  <a:lnTo>
                    <a:pt x="3522" y="4362"/>
                  </a:lnTo>
                  <a:lnTo>
                    <a:pt x="3504" y="4359"/>
                  </a:lnTo>
                  <a:lnTo>
                    <a:pt x="3494" y="4359"/>
                  </a:lnTo>
                  <a:lnTo>
                    <a:pt x="3485" y="4362"/>
                  </a:lnTo>
                  <a:lnTo>
                    <a:pt x="3472" y="4369"/>
                  </a:lnTo>
                  <a:lnTo>
                    <a:pt x="3463" y="4372"/>
                  </a:lnTo>
                  <a:lnTo>
                    <a:pt x="3454" y="4378"/>
                  </a:lnTo>
                  <a:lnTo>
                    <a:pt x="3438" y="4394"/>
                  </a:lnTo>
                  <a:lnTo>
                    <a:pt x="3419" y="4419"/>
                  </a:lnTo>
                  <a:lnTo>
                    <a:pt x="3404" y="4444"/>
                  </a:lnTo>
                  <a:lnTo>
                    <a:pt x="3391" y="4465"/>
                  </a:lnTo>
                  <a:lnTo>
                    <a:pt x="3382" y="4493"/>
                  </a:lnTo>
                  <a:lnTo>
                    <a:pt x="3376" y="4528"/>
                  </a:lnTo>
                  <a:lnTo>
                    <a:pt x="3373" y="4559"/>
                  </a:lnTo>
                  <a:lnTo>
                    <a:pt x="3376" y="4581"/>
                  </a:lnTo>
                  <a:lnTo>
                    <a:pt x="3382" y="4606"/>
                  </a:lnTo>
                  <a:lnTo>
                    <a:pt x="3391" y="4631"/>
                  </a:lnTo>
                  <a:lnTo>
                    <a:pt x="3391" y="4653"/>
                  </a:lnTo>
                  <a:lnTo>
                    <a:pt x="3382" y="4675"/>
                  </a:lnTo>
                  <a:lnTo>
                    <a:pt x="3366" y="4696"/>
                  </a:lnTo>
                  <a:lnTo>
                    <a:pt x="3348" y="4718"/>
                  </a:lnTo>
                  <a:lnTo>
                    <a:pt x="3335" y="4737"/>
                  </a:lnTo>
                  <a:lnTo>
                    <a:pt x="3319" y="4771"/>
                  </a:lnTo>
                  <a:lnTo>
                    <a:pt x="3307" y="4818"/>
                  </a:lnTo>
                  <a:lnTo>
                    <a:pt x="3291" y="4862"/>
                  </a:lnTo>
                  <a:lnTo>
                    <a:pt x="3279" y="4899"/>
                  </a:lnTo>
                  <a:lnTo>
                    <a:pt x="3273" y="4918"/>
                  </a:lnTo>
                  <a:lnTo>
                    <a:pt x="3266" y="4943"/>
                  </a:lnTo>
                  <a:lnTo>
                    <a:pt x="3257" y="4962"/>
                  </a:lnTo>
                  <a:lnTo>
                    <a:pt x="3251" y="4971"/>
                  </a:lnTo>
                  <a:lnTo>
                    <a:pt x="3245" y="4981"/>
                  </a:lnTo>
                  <a:lnTo>
                    <a:pt x="3238" y="4990"/>
                  </a:lnTo>
                  <a:lnTo>
                    <a:pt x="3232" y="4999"/>
                  </a:lnTo>
                  <a:lnTo>
                    <a:pt x="3229" y="5009"/>
                  </a:lnTo>
                  <a:lnTo>
                    <a:pt x="3232" y="5027"/>
                  </a:lnTo>
                  <a:lnTo>
                    <a:pt x="3238" y="5049"/>
                  </a:lnTo>
                  <a:lnTo>
                    <a:pt x="3241" y="5071"/>
                  </a:lnTo>
                  <a:lnTo>
                    <a:pt x="3241" y="5093"/>
                  </a:lnTo>
                  <a:lnTo>
                    <a:pt x="3238" y="5118"/>
                  </a:lnTo>
                  <a:lnTo>
                    <a:pt x="3232" y="5146"/>
                  </a:lnTo>
                  <a:lnTo>
                    <a:pt x="3223" y="5165"/>
                  </a:lnTo>
                  <a:lnTo>
                    <a:pt x="3207" y="5177"/>
                  </a:lnTo>
                  <a:lnTo>
                    <a:pt x="3185" y="5190"/>
                  </a:lnTo>
                  <a:lnTo>
                    <a:pt x="3163" y="5196"/>
                  </a:lnTo>
                  <a:lnTo>
                    <a:pt x="3145" y="5196"/>
                  </a:lnTo>
                  <a:lnTo>
                    <a:pt x="3135" y="5193"/>
                  </a:lnTo>
                  <a:lnTo>
                    <a:pt x="3126" y="5187"/>
                  </a:lnTo>
                  <a:lnTo>
                    <a:pt x="3120" y="5177"/>
                  </a:lnTo>
                  <a:lnTo>
                    <a:pt x="3113" y="5168"/>
                  </a:lnTo>
                  <a:lnTo>
                    <a:pt x="3107" y="5159"/>
                  </a:lnTo>
                  <a:lnTo>
                    <a:pt x="3098" y="5134"/>
                  </a:lnTo>
                  <a:lnTo>
                    <a:pt x="3092" y="5106"/>
                  </a:lnTo>
                  <a:lnTo>
                    <a:pt x="3088" y="5081"/>
                  </a:lnTo>
                  <a:lnTo>
                    <a:pt x="3095" y="5062"/>
                  </a:lnTo>
                  <a:lnTo>
                    <a:pt x="3104" y="5043"/>
                  </a:lnTo>
                  <a:lnTo>
                    <a:pt x="3107" y="5027"/>
                  </a:lnTo>
                  <a:lnTo>
                    <a:pt x="3098" y="5009"/>
                  </a:lnTo>
                  <a:lnTo>
                    <a:pt x="3082" y="4993"/>
                  </a:lnTo>
                  <a:lnTo>
                    <a:pt x="3063" y="4977"/>
                  </a:lnTo>
                  <a:lnTo>
                    <a:pt x="3048" y="4962"/>
                  </a:lnTo>
                  <a:lnTo>
                    <a:pt x="3042" y="4956"/>
                  </a:lnTo>
                  <a:lnTo>
                    <a:pt x="3035" y="4946"/>
                  </a:lnTo>
                  <a:lnTo>
                    <a:pt x="3026" y="4937"/>
                  </a:lnTo>
                  <a:lnTo>
                    <a:pt x="3020" y="4931"/>
                  </a:lnTo>
                  <a:lnTo>
                    <a:pt x="3004" y="4924"/>
                  </a:lnTo>
                  <a:lnTo>
                    <a:pt x="2985" y="4915"/>
                  </a:lnTo>
                  <a:lnTo>
                    <a:pt x="2967" y="4912"/>
                  </a:lnTo>
                  <a:lnTo>
                    <a:pt x="2951" y="4909"/>
                  </a:lnTo>
                  <a:lnTo>
                    <a:pt x="2935" y="4915"/>
                  </a:lnTo>
                  <a:lnTo>
                    <a:pt x="2935" y="4924"/>
                  </a:lnTo>
                  <a:lnTo>
                    <a:pt x="2939" y="4940"/>
                  </a:lnTo>
                  <a:lnTo>
                    <a:pt x="2945" y="4959"/>
                  </a:lnTo>
                  <a:lnTo>
                    <a:pt x="2948" y="4974"/>
                  </a:lnTo>
                  <a:lnTo>
                    <a:pt x="2948" y="4984"/>
                  </a:lnTo>
                  <a:lnTo>
                    <a:pt x="2932" y="4990"/>
                  </a:lnTo>
                  <a:lnTo>
                    <a:pt x="2910" y="4990"/>
                  </a:lnTo>
                  <a:lnTo>
                    <a:pt x="2885" y="4987"/>
                  </a:lnTo>
                  <a:lnTo>
                    <a:pt x="2870" y="4977"/>
                  </a:lnTo>
                  <a:lnTo>
                    <a:pt x="2867" y="4974"/>
                  </a:lnTo>
                  <a:lnTo>
                    <a:pt x="2860" y="4965"/>
                  </a:lnTo>
                  <a:lnTo>
                    <a:pt x="2857" y="4956"/>
                  </a:lnTo>
                  <a:lnTo>
                    <a:pt x="2857" y="4949"/>
                  </a:lnTo>
                  <a:lnTo>
                    <a:pt x="2851" y="4943"/>
                  </a:lnTo>
                  <a:lnTo>
                    <a:pt x="2848" y="4937"/>
                  </a:lnTo>
                  <a:lnTo>
                    <a:pt x="2842" y="4931"/>
                  </a:lnTo>
                  <a:lnTo>
                    <a:pt x="2835" y="4924"/>
                  </a:lnTo>
                  <a:lnTo>
                    <a:pt x="2829" y="4918"/>
                  </a:lnTo>
                  <a:lnTo>
                    <a:pt x="2823" y="4915"/>
                  </a:lnTo>
                  <a:lnTo>
                    <a:pt x="2817" y="4915"/>
                  </a:lnTo>
                  <a:lnTo>
                    <a:pt x="2807" y="4912"/>
                  </a:lnTo>
                  <a:lnTo>
                    <a:pt x="2798" y="4912"/>
                  </a:lnTo>
                  <a:lnTo>
                    <a:pt x="2792" y="4912"/>
                  </a:lnTo>
                  <a:lnTo>
                    <a:pt x="2785" y="4915"/>
                  </a:lnTo>
                  <a:lnTo>
                    <a:pt x="2782" y="4921"/>
                  </a:lnTo>
                  <a:lnTo>
                    <a:pt x="2779" y="4928"/>
                  </a:lnTo>
                  <a:lnTo>
                    <a:pt x="2776" y="4937"/>
                  </a:lnTo>
                  <a:lnTo>
                    <a:pt x="2776" y="4943"/>
                  </a:lnTo>
                  <a:lnTo>
                    <a:pt x="2773" y="4953"/>
                  </a:lnTo>
                  <a:lnTo>
                    <a:pt x="2770" y="4959"/>
                  </a:lnTo>
                  <a:lnTo>
                    <a:pt x="2751" y="4965"/>
                  </a:lnTo>
                  <a:lnTo>
                    <a:pt x="2729" y="4968"/>
                  </a:lnTo>
                  <a:lnTo>
                    <a:pt x="2707" y="4968"/>
                  </a:lnTo>
                  <a:lnTo>
                    <a:pt x="2692" y="4959"/>
                  </a:lnTo>
                  <a:lnTo>
                    <a:pt x="2670" y="4943"/>
                  </a:lnTo>
                  <a:lnTo>
                    <a:pt x="2654" y="4931"/>
                  </a:lnTo>
                  <a:lnTo>
                    <a:pt x="2645" y="4928"/>
                  </a:lnTo>
                  <a:lnTo>
                    <a:pt x="2639" y="4924"/>
                  </a:lnTo>
                  <a:lnTo>
                    <a:pt x="2629" y="4918"/>
                  </a:lnTo>
                  <a:lnTo>
                    <a:pt x="2620" y="4918"/>
                  </a:lnTo>
                  <a:lnTo>
                    <a:pt x="2611" y="4915"/>
                  </a:lnTo>
                  <a:lnTo>
                    <a:pt x="2604" y="4915"/>
                  </a:lnTo>
                  <a:lnTo>
                    <a:pt x="2595" y="4918"/>
                  </a:lnTo>
                  <a:lnTo>
                    <a:pt x="2586" y="4924"/>
                  </a:lnTo>
                  <a:lnTo>
                    <a:pt x="2576" y="4934"/>
                  </a:lnTo>
                  <a:lnTo>
                    <a:pt x="2570" y="4943"/>
                  </a:lnTo>
                  <a:lnTo>
                    <a:pt x="2564" y="4953"/>
                  </a:lnTo>
                  <a:lnTo>
                    <a:pt x="2564" y="4968"/>
                  </a:lnTo>
                  <a:lnTo>
                    <a:pt x="2567" y="4990"/>
                  </a:lnTo>
                  <a:lnTo>
                    <a:pt x="2564" y="5009"/>
                  </a:lnTo>
                  <a:lnTo>
                    <a:pt x="2558" y="5024"/>
                  </a:lnTo>
                  <a:lnTo>
                    <a:pt x="2542" y="5043"/>
                  </a:lnTo>
                  <a:lnTo>
                    <a:pt x="2536" y="5062"/>
                  </a:lnTo>
                  <a:lnTo>
                    <a:pt x="2533" y="5077"/>
                  </a:lnTo>
                  <a:lnTo>
                    <a:pt x="2536" y="5099"/>
                  </a:lnTo>
                  <a:lnTo>
                    <a:pt x="2539" y="5121"/>
                  </a:lnTo>
                  <a:lnTo>
                    <a:pt x="2536" y="5140"/>
                  </a:lnTo>
                  <a:lnTo>
                    <a:pt x="2523" y="5155"/>
                  </a:lnTo>
                  <a:lnTo>
                    <a:pt x="2504" y="5171"/>
                  </a:lnTo>
                  <a:lnTo>
                    <a:pt x="2483" y="5184"/>
                  </a:lnTo>
                  <a:lnTo>
                    <a:pt x="2464" y="5193"/>
                  </a:lnTo>
                  <a:lnTo>
                    <a:pt x="2439" y="5199"/>
                  </a:lnTo>
                  <a:lnTo>
                    <a:pt x="2408" y="5199"/>
                  </a:lnTo>
                  <a:lnTo>
                    <a:pt x="2373" y="5196"/>
                  </a:lnTo>
                  <a:lnTo>
                    <a:pt x="2348" y="5196"/>
                  </a:lnTo>
                  <a:lnTo>
                    <a:pt x="2317" y="5190"/>
                  </a:lnTo>
                  <a:lnTo>
                    <a:pt x="2283" y="5184"/>
                  </a:lnTo>
                  <a:lnTo>
                    <a:pt x="2252" y="5177"/>
                  </a:lnTo>
                  <a:lnTo>
                    <a:pt x="2227" y="5177"/>
                  </a:lnTo>
                  <a:lnTo>
                    <a:pt x="2198" y="5180"/>
                  </a:lnTo>
                  <a:lnTo>
                    <a:pt x="2192" y="5184"/>
                  </a:lnTo>
                  <a:lnTo>
                    <a:pt x="2183" y="5187"/>
                  </a:lnTo>
                  <a:lnTo>
                    <a:pt x="2173" y="5193"/>
                  </a:lnTo>
                  <a:lnTo>
                    <a:pt x="2164" y="5196"/>
                  </a:lnTo>
                  <a:lnTo>
                    <a:pt x="2158" y="5196"/>
                  </a:lnTo>
                  <a:lnTo>
                    <a:pt x="2136" y="5196"/>
                  </a:lnTo>
                  <a:lnTo>
                    <a:pt x="2114" y="5193"/>
                  </a:lnTo>
                  <a:lnTo>
                    <a:pt x="2095" y="5187"/>
                  </a:lnTo>
                  <a:lnTo>
                    <a:pt x="2089" y="5184"/>
                  </a:lnTo>
                  <a:lnTo>
                    <a:pt x="2083" y="5177"/>
                  </a:lnTo>
                  <a:lnTo>
                    <a:pt x="2077" y="5171"/>
                  </a:lnTo>
                  <a:lnTo>
                    <a:pt x="2070" y="5165"/>
                  </a:lnTo>
                  <a:lnTo>
                    <a:pt x="2064" y="5162"/>
                  </a:lnTo>
                  <a:lnTo>
                    <a:pt x="2055" y="5159"/>
                  </a:lnTo>
                  <a:lnTo>
                    <a:pt x="2045" y="5155"/>
                  </a:lnTo>
                  <a:lnTo>
                    <a:pt x="2033" y="5155"/>
                  </a:lnTo>
                  <a:lnTo>
                    <a:pt x="2024" y="5159"/>
                  </a:lnTo>
                  <a:lnTo>
                    <a:pt x="2014" y="5162"/>
                  </a:lnTo>
                  <a:lnTo>
                    <a:pt x="2008" y="5165"/>
                  </a:lnTo>
                  <a:lnTo>
                    <a:pt x="2002" y="5174"/>
                  </a:lnTo>
                  <a:lnTo>
                    <a:pt x="1999" y="5184"/>
                  </a:lnTo>
                  <a:lnTo>
                    <a:pt x="1992" y="5196"/>
                  </a:lnTo>
                  <a:lnTo>
                    <a:pt x="1986" y="5205"/>
                  </a:lnTo>
                  <a:lnTo>
                    <a:pt x="1980" y="5212"/>
                  </a:lnTo>
                  <a:lnTo>
                    <a:pt x="1967" y="5218"/>
                  </a:lnTo>
                  <a:lnTo>
                    <a:pt x="1949" y="5224"/>
                  </a:lnTo>
                  <a:lnTo>
                    <a:pt x="1927" y="5227"/>
                  </a:lnTo>
                  <a:lnTo>
                    <a:pt x="1914" y="5224"/>
                  </a:lnTo>
                  <a:lnTo>
                    <a:pt x="1911" y="5221"/>
                  </a:lnTo>
                  <a:lnTo>
                    <a:pt x="1908" y="5215"/>
                  </a:lnTo>
                  <a:lnTo>
                    <a:pt x="1905" y="5209"/>
                  </a:lnTo>
                  <a:lnTo>
                    <a:pt x="1905" y="5199"/>
                  </a:lnTo>
                  <a:lnTo>
                    <a:pt x="1902" y="5190"/>
                  </a:lnTo>
                  <a:lnTo>
                    <a:pt x="1902" y="5184"/>
                  </a:lnTo>
                  <a:lnTo>
                    <a:pt x="1899" y="5177"/>
                  </a:lnTo>
                  <a:lnTo>
                    <a:pt x="1880" y="5168"/>
                  </a:lnTo>
                  <a:lnTo>
                    <a:pt x="1858" y="5159"/>
                  </a:lnTo>
                  <a:lnTo>
                    <a:pt x="1839" y="5152"/>
                  </a:lnTo>
                  <a:lnTo>
                    <a:pt x="1817" y="5149"/>
                  </a:lnTo>
                  <a:lnTo>
                    <a:pt x="1792" y="5143"/>
                  </a:lnTo>
                  <a:lnTo>
                    <a:pt x="1774" y="5134"/>
                  </a:lnTo>
                  <a:lnTo>
                    <a:pt x="1761" y="5118"/>
                  </a:lnTo>
                  <a:lnTo>
                    <a:pt x="1752" y="5099"/>
                  </a:lnTo>
                  <a:lnTo>
                    <a:pt x="1743" y="5081"/>
                  </a:lnTo>
                  <a:lnTo>
                    <a:pt x="1739" y="5065"/>
                  </a:lnTo>
                  <a:lnTo>
                    <a:pt x="1736" y="5043"/>
                  </a:lnTo>
                  <a:lnTo>
                    <a:pt x="1733" y="5027"/>
                  </a:lnTo>
                  <a:lnTo>
                    <a:pt x="1727" y="5015"/>
                  </a:lnTo>
                  <a:lnTo>
                    <a:pt x="1718" y="5006"/>
                  </a:lnTo>
                  <a:lnTo>
                    <a:pt x="1708" y="4993"/>
                  </a:lnTo>
                  <a:lnTo>
                    <a:pt x="1699" y="4984"/>
                  </a:lnTo>
                  <a:lnTo>
                    <a:pt x="1727" y="4959"/>
                  </a:lnTo>
                  <a:lnTo>
                    <a:pt x="1752" y="4937"/>
                  </a:lnTo>
                  <a:lnTo>
                    <a:pt x="1777" y="4924"/>
                  </a:lnTo>
                  <a:lnTo>
                    <a:pt x="1799" y="4918"/>
                  </a:lnTo>
                  <a:lnTo>
                    <a:pt x="1824" y="4915"/>
                  </a:lnTo>
                  <a:lnTo>
                    <a:pt x="1849" y="4912"/>
                  </a:lnTo>
                  <a:lnTo>
                    <a:pt x="1871" y="4909"/>
                  </a:lnTo>
                  <a:lnTo>
                    <a:pt x="1886" y="4899"/>
                  </a:lnTo>
                  <a:lnTo>
                    <a:pt x="1905" y="4887"/>
                  </a:lnTo>
                  <a:lnTo>
                    <a:pt x="1917" y="4874"/>
                  </a:lnTo>
                  <a:lnTo>
                    <a:pt x="1924" y="4865"/>
                  </a:lnTo>
                  <a:lnTo>
                    <a:pt x="1924" y="4853"/>
                  </a:lnTo>
                  <a:lnTo>
                    <a:pt x="1914" y="4834"/>
                  </a:lnTo>
                  <a:lnTo>
                    <a:pt x="1908" y="4809"/>
                  </a:lnTo>
                  <a:lnTo>
                    <a:pt x="1899" y="4787"/>
                  </a:lnTo>
                  <a:lnTo>
                    <a:pt x="1892" y="4768"/>
                  </a:lnTo>
                  <a:lnTo>
                    <a:pt x="1889" y="4759"/>
                  </a:lnTo>
                  <a:lnTo>
                    <a:pt x="1889" y="4746"/>
                  </a:lnTo>
                  <a:lnTo>
                    <a:pt x="1889" y="4725"/>
                  </a:lnTo>
                  <a:lnTo>
                    <a:pt x="1892" y="4696"/>
                  </a:lnTo>
                  <a:lnTo>
                    <a:pt x="1892" y="4665"/>
                  </a:lnTo>
                  <a:lnTo>
                    <a:pt x="1892" y="4643"/>
                  </a:lnTo>
                  <a:lnTo>
                    <a:pt x="1892" y="4615"/>
                  </a:lnTo>
                  <a:lnTo>
                    <a:pt x="1889" y="4581"/>
                  </a:lnTo>
                  <a:lnTo>
                    <a:pt x="1886" y="4547"/>
                  </a:lnTo>
                  <a:lnTo>
                    <a:pt x="1880" y="4522"/>
                  </a:lnTo>
                  <a:lnTo>
                    <a:pt x="1864" y="4506"/>
                  </a:lnTo>
                  <a:lnTo>
                    <a:pt x="1846" y="4487"/>
                  </a:lnTo>
                  <a:lnTo>
                    <a:pt x="1824" y="4475"/>
                  </a:lnTo>
                  <a:lnTo>
                    <a:pt x="1802" y="4465"/>
                  </a:lnTo>
                  <a:lnTo>
                    <a:pt x="1783" y="4465"/>
                  </a:lnTo>
                  <a:lnTo>
                    <a:pt x="1761" y="4469"/>
                  </a:lnTo>
                  <a:lnTo>
                    <a:pt x="1739" y="4472"/>
                  </a:lnTo>
                  <a:lnTo>
                    <a:pt x="1721" y="4472"/>
                  </a:lnTo>
                  <a:lnTo>
                    <a:pt x="1711" y="4465"/>
                  </a:lnTo>
                  <a:lnTo>
                    <a:pt x="1699" y="4456"/>
                  </a:lnTo>
                  <a:lnTo>
                    <a:pt x="1677" y="4440"/>
                  </a:lnTo>
                  <a:lnTo>
                    <a:pt x="1649" y="4425"/>
                  </a:lnTo>
                  <a:lnTo>
                    <a:pt x="1618" y="4406"/>
                  </a:lnTo>
                  <a:lnTo>
                    <a:pt x="1589" y="4390"/>
                  </a:lnTo>
                  <a:lnTo>
                    <a:pt x="1568" y="4375"/>
                  </a:lnTo>
                  <a:lnTo>
                    <a:pt x="1552" y="4353"/>
                  </a:lnTo>
                  <a:lnTo>
                    <a:pt x="1540" y="4325"/>
                  </a:lnTo>
                  <a:lnTo>
                    <a:pt x="1527" y="4303"/>
                  </a:lnTo>
                  <a:lnTo>
                    <a:pt x="1521" y="4297"/>
                  </a:lnTo>
                  <a:lnTo>
                    <a:pt x="1511" y="4294"/>
                  </a:lnTo>
                  <a:lnTo>
                    <a:pt x="1502" y="4287"/>
                  </a:lnTo>
                  <a:lnTo>
                    <a:pt x="1493" y="4281"/>
                  </a:lnTo>
                  <a:lnTo>
                    <a:pt x="1486" y="4278"/>
                  </a:lnTo>
                  <a:lnTo>
                    <a:pt x="1480" y="4272"/>
                  </a:lnTo>
                  <a:lnTo>
                    <a:pt x="1477" y="4253"/>
                  </a:lnTo>
                  <a:lnTo>
                    <a:pt x="1483" y="4228"/>
                  </a:lnTo>
                  <a:lnTo>
                    <a:pt x="1490" y="4203"/>
                  </a:lnTo>
                  <a:lnTo>
                    <a:pt x="1496" y="4178"/>
                  </a:lnTo>
                  <a:lnTo>
                    <a:pt x="1496" y="4159"/>
                  </a:lnTo>
                  <a:lnTo>
                    <a:pt x="1486" y="4134"/>
                  </a:lnTo>
                  <a:lnTo>
                    <a:pt x="1474" y="4106"/>
                  </a:lnTo>
                  <a:lnTo>
                    <a:pt x="1455" y="4081"/>
                  </a:lnTo>
                  <a:lnTo>
                    <a:pt x="1440" y="4063"/>
                  </a:lnTo>
                  <a:lnTo>
                    <a:pt x="1424" y="4053"/>
                  </a:lnTo>
                  <a:lnTo>
                    <a:pt x="1402" y="4050"/>
                  </a:lnTo>
                  <a:lnTo>
                    <a:pt x="1387" y="4041"/>
                  </a:lnTo>
                  <a:lnTo>
                    <a:pt x="1374" y="4022"/>
                  </a:lnTo>
                  <a:lnTo>
                    <a:pt x="1362" y="3994"/>
                  </a:lnTo>
                  <a:lnTo>
                    <a:pt x="1352" y="3966"/>
                  </a:lnTo>
                  <a:lnTo>
                    <a:pt x="1343" y="3944"/>
                  </a:lnTo>
                  <a:lnTo>
                    <a:pt x="1327" y="3919"/>
                  </a:lnTo>
                  <a:lnTo>
                    <a:pt x="1308" y="3894"/>
                  </a:lnTo>
                  <a:lnTo>
                    <a:pt x="1290" y="3875"/>
                  </a:lnTo>
                  <a:lnTo>
                    <a:pt x="1280" y="3872"/>
                  </a:lnTo>
                  <a:lnTo>
                    <a:pt x="1271" y="3872"/>
                  </a:lnTo>
                  <a:lnTo>
                    <a:pt x="1258" y="3872"/>
                  </a:lnTo>
                  <a:lnTo>
                    <a:pt x="1249" y="3872"/>
                  </a:lnTo>
                  <a:lnTo>
                    <a:pt x="1240" y="3875"/>
                  </a:lnTo>
                  <a:lnTo>
                    <a:pt x="1234" y="3881"/>
                  </a:lnTo>
                  <a:lnTo>
                    <a:pt x="1227" y="3891"/>
                  </a:lnTo>
                  <a:lnTo>
                    <a:pt x="1221" y="3903"/>
                  </a:lnTo>
                  <a:lnTo>
                    <a:pt x="1218" y="3916"/>
                  </a:lnTo>
                  <a:lnTo>
                    <a:pt x="1215" y="3925"/>
                  </a:lnTo>
                  <a:lnTo>
                    <a:pt x="1215" y="3944"/>
                  </a:lnTo>
                  <a:lnTo>
                    <a:pt x="1218" y="3969"/>
                  </a:lnTo>
                  <a:lnTo>
                    <a:pt x="1218" y="3994"/>
                  </a:lnTo>
                  <a:lnTo>
                    <a:pt x="1215" y="4013"/>
                  </a:lnTo>
                  <a:lnTo>
                    <a:pt x="1209" y="4022"/>
                  </a:lnTo>
                  <a:lnTo>
                    <a:pt x="1199" y="4028"/>
                  </a:lnTo>
                  <a:lnTo>
                    <a:pt x="1190" y="4034"/>
                  </a:lnTo>
                  <a:lnTo>
                    <a:pt x="1180" y="4041"/>
                  </a:lnTo>
                  <a:lnTo>
                    <a:pt x="1171" y="4044"/>
                  </a:lnTo>
                  <a:lnTo>
                    <a:pt x="1159" y="4044"/>
                  </a:lnTo>
                  <a:lnTo>
                    <a:pt x="1143" y="4041"/>
                  </a:lnTo>
                  <a:lnTo>
                    <a:pt x="1127" y="4041"/>
                  </a:lnTo>
                  <a:lnTo>
                    <a:pt x="1115" y="4044"/>
                  </a:lnTo>
                  <a:lnTo>
                    <a:pt x="1112" y="4056"/>
                  </a:lnTo>
                  <a:lnTo>
                    <a:pt x="1115" y="4072"/>
                  </a:lnTo>
                  <a:lnTo>
                    <a:pt x="1118" y="4088"/>
                  </a:lnTo>
                  <a:lnTo>
                    <a:pt x="1115" y="4100"/>
                  </a:lnTo>
                  <a:lnTo>
                    <a:pt x="1099" y="4106"/>
                  </a:lnTo>
                  <a:lnTo>
                    <a:pt x="1080" y="4106"/>
                  </a:lnTo>
                  <a:lnTo>
                    <a:pt x="1062" y="4100"/>
                  </a:lnTo>
                  <a:lnTo>
                    <a:pt x="1046" y="4094"/>
                  </a:lnTo>
                  <a:lnTo>
                    <a:pt x="1037" y="4075"/>
                  </a:lnTo>
                  <a:lnTo>
                    <a:pt x="1034" y="4053"/>
                  </a:lnTo>
                  <a:lnTo>
                    <a:pt x="1027" y="4028"/>
                  </a:lnTo>
                  <a:lnTo>
                    <a:pt x="1024" y="4009"/>
                  </a:lnTo>
                  <a:lnTo>
                    <a:pt x="1009" y="3988"/>
                  </a:lnTo>
                  <a:lnTo>
                    <a:pt x="987" y="3966"/>
                  </a:lnTo>
                  <a:lnTo>
                    <a:pt x="968" y="3953"/>
                  </a:lnTo>
                  <a:lnTo>
                    <a:pt x="949" y="3953"/>
                  </a:lnTo>
                  <a:lnTo>
                    <a:pt x="927" y="3960"/>
                  </a:lnTo>
                  <a:lnTo>
                    <a:pt x="906" y="3966"/>
                  </a:lnTo>
                  <a:lnTo>
                    <a:pt x="890" y="3975"/>
                  </a:lnTo>
                  <a:lnTo>
                    <a:pt x="884" y="3981"/>
                  </a:lnTo>
                  <a:lnTo>
                    <a:pt x="878" y="3988"/>
                  </a:lnTo>
                  <a:lnTo>
                    <a:pt x="871" y="3997"/>
                  </a:lnTo>
                  <a:lnTo>
                    <a:pt x="862" y="4006"/>
                  </a:lnTo>
                  <a:lnTo>
                    <a:pt x="856" y="4016"/>
                  </a:lnTo>
                  <a:lnTo>
                    <a:pt x="849" y="4022"/>
                  </a:lnTo>
                  <a:lnTo>
                    <a:pt x="840" y="4022"/>
                  </a:lnTo>
                  <a:lnTo>
                    <a:pt x="828" y="4016"/>
                  </a:lnTo>
                  <a:lnTo>
                    <a:pt x="815" y="3997"/>
                  </a:lnTo>
                  <a:lnTo>
                    <a:pt x="803" y="3978"/>
                  </a:lnTo>
                  <a:lnTo>
                    <a:pt x="790" y="3966"/>
                  </a:lnTo>
                  <a:lnTo>
                    <a:pt x="771" y="3960"/>
                  </a:lnTo>
                  <a:lnTo>
                    <a:pt x="749" y="3956"/>
                  </a:lnTo>
                  <a:lnTo>
                    <a:pt x="728" y="3960"/>
                  </a:lnTo>
                  <a:lnTo>
                    <a:pt x="709" y="3966"/>
                  </a:lnTo>
                  <a:lnTo>
                    <a:pt x="696" y="3978"/>
                  </a:lnTo>
                  <a:lnTo>
                    <a:pt x="687" y="4000"/>
                  </a:lnTo>
                  <a:lnTo>
                    <a:pt x="675" y="4016"/>
                  </a:lnTo>
                  <a:lnTo>
                    <a:pt x="656" y="4022"/>
                  </a:lnTo>
                  <a:lnTo>
                    <a:pt x="631" y="4025"/>
                  </a:lnTo>
                  <a:lnTo>
                    <a:pt x="606" y="4022"/>
                  </a:lnTo>
                  <a:lnTo>
                    <a:pt x="587" y="4016"/>
                  </a:lnTo>
                  <a:lnTo>
                    <a:pt x="575" y="4000"/>
                  </a:lnTo>
                  <a:lnTo>
                    <a:pt x="565" y="3972"/>
                  </a:lnTo>
                  <a:lnTo>
                    <a:pt x="559" y="3947"/>
                  </a:lnTo>
                  <a:lnTo>
                    <a:pt x="547" y="3925"/>
                  </a:lnTo>
                  <a:lnTo>
                    <a:pt x="531" y="3913"/>
                  </a:lnTo>
                  <a:lnTo>
                    <a:pt x="506" y="3897"/>
                  </a:lnTo>
                  <a:lnTo>
                    <a:pt x="487" y="3888"/>
                  </a:lnTo>
                  <a:lnTo>
                    <a:pt x="478" y="3888"/>
                  </a:lnTo>
                  <a:lnTo>
                    <a:pt x="472" y="3888"/>
                  </a:lnTo>
                  <a:lnTo>
                    <a:pt x="462" y="3891"/>
                  </a:lnTo>
                  <a:lnTo>
                    <a:pt x="453" y="3891"/>
                  </a:lnTo>
                  <a:lnTo>
                    <a:pt x="447" y="3894"/>
                  </a:lnTo>
                  <a:lnTo>
                    <a:pt x="425" y="3894"/>
                  </a:lnTo>
                  <a:lnTo>
                    <a:pt x="403" y="3897"/>
                  </a:lnTo>
                  <a:lnTo>
                    <a:pt x="378" y="3897"/>
                  </a:lnTo>
                  <a:lnTo>
                    <a:pt x="362" y="3894"/>
                  </a:lnTo>
                  <a:lnTo>
                    <a:pt x="350" y="3878"/>
                  </a:lnTo>
                  <a:lnTo>
                    <a:pt x="344" y="3856"/>
                  </a:lnTo>
                  <a:lnTo>
                    <a:pt x="340" y="3835"/>
                  </a:lnTo>
                  <a:lnTo>
                    <a:pt x="334" y="3813"/>
                  </a:lnTo>
                  <a:lnTo>
                    <a:pt x="331" y="3800"/>
                  </a:lnTo>
                  <a:lnTo>
                    <a:pt x="328" y="3785"/>
                  </a:lnTo>
                  <a:lnTo>
                    <a:pt x="325" y="3766"/>
                  </a:lnTo>
                  <a:lnTo>
                    <a:pt x="322" y="3753"/>
                  </a:lnTo>
                  <a:lnTo>
                    <a:pt x="322" y="3741"/>
                  </a:lnTo>
                  <a:lnTo>
                    <a:pt x="322" y="3732"/>
                  </a:lnTo>
                  <a:lnTo>
                    <a:pt x="331" y="3713"/>
                  </a:lnTo>
                  <a:lnTo>
                    <a:pt x="344" y="3694"/>
                  </a:lnTo>
                  <a:lnTo>
                    <a:pt x="356" y="3675"/>
                  </a:lnTo>
                  <a:lnTo>
                    <a:pt x="365" y="3657"/>
                  </a:lnTo>
                  <a:lnTo>
                    <a:pt x="375" y="3641"/>
                  </a:lnTo>
                  <a:lnTo>
                    <a:pt x="387" y="3616"/>
                  </a:lnTo>
                  <a:lnTo>
                    <a:pt x="394" y="3594"/>
                  </a:lnTo>
                  <a:lnTo>
                    <a:pt x="397" y="3575"/>
                  </a:lnTo>
                  <a:lnTo>
                    <a:pt x="394" y="3557"/>
                  </a:lnTo>
                  <a:lnTo>
                    <a:pt x="387" y="3538"/>
                  </a:lnTo>
                  <a:lnTo>
                    <a:pt x="378" y="3516"/>
                  </a:lnTo>
                  <a:lnTo>
                    <a:pt x="372" y="3501"/>
                  </a:lnTo>
                  <a:lnTo>
                    <a:pt x="369" y="3476"/>
                  </a:lnTo>
                  <a:lnTo>
                    <a:pt x="365" y="3447"/>
                  </a:lnTo>
                  <a:lnTo>
                    <a:pt x="369" y="3422"/>
                  </a:lnTo>
                  <a:lnTo>
                    <a:pt x="375" y="3397"/>
                  </a:lnTo>
                  <a:lnTo>
                    <a:pt x="390" y="3366"/>
                  </a:lnTo>
                  <a:lnTo>
                    <a:pt x="400" y="3341"/>
                  </a:lnTo>
                  <a:lnTo>
                    <a:pt x="406" y="3313"/>
                  </a:lnTo>
                  <a:lnTo>
                    <a:pt x="415" y="3279"/>
                  </a:lnTo>
                  <a:lnTo>
                    <a:pt x="418" y="3244"/>
                  </a:lnTo>
                  <a:lnTo>
                    <a:pt x="418" y="3216"/>
                  </a:lnTo>
                  <a:lnTo>
                    <a:pt x="412" y="3191"/>
                  </a:lnTo>
                  <a:lnTo>
                    <a:pt x="397" y="3163"/>
                  </a:lnTo>
                  <a:lnTo>
                    <a:pt x="381" y="3145"/>
                  </a:lnTo>
                  <a:lnTo>
                    <a:pt x="359" y="3126"/>
                  </a:lnTo>
                  <a:lnTo>
                    <a:pt x="331" y="3110"/>
                  </a:lnTo>
                  <a:lnTo>
                    <a:pt x="309" y="3091"/>
                  </a:lnTo>
                  <a:lnTo>
                    <a:pt x="303" y="3066"/>
                  </a:lnTo>
                  <a:lnTo>
                    <a:pt x="297" y="3035"/>
                  </a:lnTo>
                  <a:lnTo>
                    <a:pt x="297" y="3007"/>
                  </a:lnTo>
                  <a:lnTo>
                    <a:pt x="303" y="2979"/>
                  </a:lnTo>
                  <a:lnTo>
                    <a:pt x="312" y="2948"/>
                  </a:lnTo>
                  <a:lnTo>
                    <a:pt x="319" y="2920"/>
                  </a:lnTo>
                  <a:lnTo>
                    <a:pt x="319" y="2895"/>
                  </a:lnTo>
                  <a:lnTo>
                    <a:pt x="315" y="2867"/>
                  </a:lnTo>
                  <a:lnTo>
                    <a:pt x="312" y="2839"/>
                  </a:lnTo>
                  <a:lnTo>
                    <a:pt x="306" y="2814"/>
                  </a:lnTo>
                  <a:lnTo>
                    <a:pt x="300" y="2807"/>
                  </a:lnTo>
                  <a:lnTo>
                    <a:pt x="290" y="2801"/>
                  </a:lnTo>
                  <a:lnTo>
                    <a:pt x="281" y="2795"/>
                  </a:lnTo>
                  <a:lnTo>
                    <a:pt x="272" y="2789"/>
                  </a:lnTo>
                  <a:lnTo>
                    <a:pt x="262" y="2782"/>
                  </a:lnTo>
                  <a:lnTo>
                    <a:pt x="256" y="2776"/>
                  </a:lnTo>
                  <a:lnTo>
                    <a:pt x="247" y="2748"/>
                  </a:lnTo>
                  <a:lnTo>
                    <a:pt x="240" y="2714"/>
                  </a:lnTo>
                  <a:lnTo>
                    <a:pt x="237" y="2676"/>
                  </a:lnTo>
                  <a:lnTo>
                    <a:pt x="231" y="2648"/>
                  </a:lnTo>
                  <a:lnTo>
                    <a:pt x="222" y="2626"/>
                  </a:lnTo>
                  <a:lnTo>
                    <a:pt x="206" y="2604"/>
                  </a:lnTo>
                  <a:lnTo>
                    <a:pt x="191" y="2586"/>
                  </a:lnTo>
                  <a:lnTo>
                    <a:pt x="169" y="2576"/>
                  </a:lnTo>
                  <a:lnTo>
                    <a:pt x="141" y="2567"/>
                  </a:lnTo>
                  <a:lnTo>
                    <a:pt x="119" y="2554"/>
                  </a:lnTo>
                  <a:lnTo>
                    <a:pt x="103" y="2529"/>
                  </a:lnTo>
                  <a:lnTo>
                    <a:pt x="87" y="2498"/>
                  </a:lnTo>
                  <a:lnTo>
                    <a:pt x="78" y="2467"/>
                  </a:lnTo>
                  <a:lnTo>
                    <a:pt x="75" y="2445"/>
                  </a:lnTo>
                  <a:lnTo>
                    <a:pt x="75" y="2417"/>
                  </a:lnTo>
                  <a:lnTo>
                    <a:pt x="78" y="2392"/>
                  </a:lnTo>
                  <a:lnTo>
                    <a:pt x="84" y="2386"/>
                  </a:lnTo>
                  <a:lnTo>
                    <a:pt x="94" y="2376"/>
                  </a:lnTo>
                  <a:lnTo>
                    <a:pt x="103" y="2367"/>
                  </a:lnTo>
                  <a:lnTo>
                    <a:pt x="112" y="2361"/>
                  </a:lnTo>
                  <a:lnTo>
                    <a:pt x="119" y="2351"/>
                  </a:lnTo>
                  <a:lnTo>
                    <a:pt x="131" y="2333"/>
                  </a:lnTo>
                  <a:lnTo>
                    <a:pt x="147" y="2305"/>
                  </a:lnTo>
                  <a:lnTo>
                    <a:pt x="153" y="2283"/>
                  </a:lnTo>
                  <a:lnTo>
                    <a:pt x="159" y="2258"/>
                  </a:lnTo>
                  <a:lnTo>
                    <a:pt x="159" y="2230"/>
                  </a:lnTo>
                  <a:lnTo>
                    <a:pt x="156" y="2205"/>
                  </a:lnTo>
                  <a:lnTo>
                    <a:pt x="147" y="2189"/>
                  </a:lnTo>
                  <a:lnTo>
                    <a:pt x="131" y="2170"/>
                  </a:lnTo>
                  <a:lnTo>
                    <a:pt x="119" y="2152"/>
                  </a:lnTo>
                  <a:lnTo>
                    <a:pt x="119" y="2133"/>
                  </a:lnTo>
                  <a:lnTo>
                    <a:pt x="122" y="2111"/>
                  </a:lnTo>
                  <a:lnTo>
                    <a:pt x="122" y="2086"/>
                  </a:lnTo>
                  <a:lnTo>
                    <a:pt x="119" y="2070"/>
                  </a:lnTo>
                  <a:lnTo>
                    <a:pt x="116" y="2064"/>
                  </a:lnTo>
                  <a:lnTo>
                    <a:pt x="106" y="2058"/>
                  </a:lnTo>
                  <a:lnTo>
                    <a:pt x="100" y="2052"/>
                  </a:lnTo>
                  <a:lnTo>
                    <a:pt x="91" y="2045"/>
                  </a:lnTo>
                  <a:lnTo>
                    <a:pt x="84" y="2039"/>
                  </a:lnTo>
                  <a:lnTo>
                    <a:pt x="78" y="2033"/>
                  </a:lnTo>
                  <a:lnTo>
                    <a:pt x="78" y="2014"/>
                  </a:lnTo>
                  <a:lnTo>
                    <a:pt x="81" y="1995"/>
                  </a:lnTo>
                  <a:lnTo>
                    <a:pt x="87" y="1980"/>
                  </a:lnTo>
                  <a:lnTo>
                    <a:pt x="103" y="1974"/>
                  </a:lnTo>
                  <a:lnTo>
                    <a:pt x="125" y="1967"/>
                  </a:lnTo>
                  <a:lnTo>
                    <a:pt x="144" y="1964"/>
                  </a:lnTo>
                  <a:lnTo>
                    <a:pt x="162" y="1952"/>
                  </a:lnTo>
                  <a:lnTo>
                    <a:pt x="181" y="1930"/>
                  </a:lnTo>
                  <a:lnTo>
                    <a:pt x="194" y="1911"/>
                  </a:lnTo>
                  <a:lnTo>
                    <a:pt x="194" y="1896"/>
                  </a:lnTo>
                  <a:lnTo>
                    <a:pt x="191" y="1874"/>
                  </a:lnTo>
                  <a:lnTo>
                    <a:pt x="184" y="1855"/>
                  </a:lnTo>
                  <a:lnTo>
                    <a:pt x="178" y="1849"/>
                  </a:lnTo>
                  <a:lnTo>
                    <a:pt x="169" y="1839"/>
                  </a:lnTo>
                  <a:lnTo>
                    <a:pt x="159" y="1833"/>
                  </a:lnTo>
                  <a:lnTo>
                    <a:pt x="150" y="1827"/>
                  </a:lnTo>
                  <a:lnTo>
                    <a:pt x="144" y="1817"/>
                  </a:lnTo>
                  <a:lnTo>
                    <a:pt x="141" y="1802"/>
                  </a:lnTo>
                  <a:lnTo>
                    <a:pt x="144" y="1780"/>
                  </a:lnTo>
                  <a:lnTo>
                    <a:pt x="144" y="1758"/>
                  </a:lnTo>
                  <a:lnTo>
                    <a:pt x="144" y="1739"/>
                  </a:lnTo>
                  <a:lnTo>
                    <a:pt x="141" y="1718"/>
                  </a:lnTo>
                  <a:lnTo>
                    <a:pt x="137" y="1689"/>
                  </a:lnTo>
                  <a:lnTo>
                    <a:pt x="131" y="1661"/>
                  </a:lnTo>
                  <a:lnTo>
                    <a:pt x="122" y="1643"/>
                  </a:lnTo>
                  <a:lnTo>
                    <a:pt x="106" y="1630"/>
                  </a:lnTo>
                  <a:lnTo>
                    <a:pt x="84" y="1624"/>
                  </a:lnTo>
                  <a:lnTo>
                    <a:pt x="59" y="1614"/>
                  </a:lnTo>
                  <a:lnTo>
                    <a:pt x="44" y="1605"/>
                  </a:lnTo>
                  <a:lnTo>
                    <a:pt x="31" y="1589"/>
                  </a:lnTo>
                  <a:lnTo>
                    <a:pt x="16" y="1571"/>
                  </a:lnTo>
                  <a:lnTo>
                    <a:pt x="6" y="1549"/>
                  </a:lnTo>
                  <a:lnTo>
                    <a:pt x="0" y="1530"/>
                  </a:lnTo>
                  <a:lnTo>
                    <a:pt x="6" y="1505"/>
                  </a:lnTo>
                  <a:lnTo>
                    <a:pt x="16" y="1483"/>
                  </a:lnTo>
                  <a:lnTo>
                    <a:pt x="28" y="1465"/>
                  </a:lnTo>
                  <a:lnTo>
                    <a:pt x="50" y="1452"/>
                  </a:lnTo>
                  <a:lnTo>
                    <a:pt x="78" y="1446"/>
                  </a:lnTo>
                  <a:lnTo>
                    <a:pt x="100" y="1443"/>
                  </a:lnTo>
                  <a:lnTo>
                    <a:pt x="106" y="1446"/>
                  </a:lnTo>
                  <a:lnTo>
                    <a:pt x="112" y="1449"/>
                  </a:lnTo>
                  <a:lnTo>
                    <a:pt x="122" y="1452"/>
                  </a:lnTo>
                  <a:lnTo>
                    <a:pt x="128" y="1455"/>
                  </a:lnTo>
                  <a:lnTo>
                    <a:pt x="134" y="1458"/>
                  </a:lnTo>
                  <a:lnTo>
                    <a:pt x="156" y="1458"/>
                  </a:lnTo>
                  <a:lnTo>
                    <a:pt x="181" y="1452"/>
                  </a:lnTo>
                  <a:lnTo>
                    <a:pt x="203" y="1443"/>
                  </a:lnTo>
                  <a:lnTo>
                    <a:pt x="206" y="1436"/>
                  </a:lnTo>
                  <a:lnTo>
                    <a:pt x="209" y="1427"/>
                  </a:lnTo>
                  <a:lnTo>
                    <a:pt x="212" y="1418"/>
                  </a:lnTo>
                  <a:lnTo>
                    <a:pt x="216" y="1408"/>
                  </a:lnTo>
                  <a:lnTo>
                    <a:pt x="219" y="1399"/>
                  </a:lnTo>
                  <a:lnTo>
                    <a:pt x="222" y="1393"/>
                  </a:lnTo>
                  <a:lnTo>
                    <a:pt x="228" y="1387"/>
                  </a:lnTo>
                  <a:lnTo>
                    <a:pt x="237" y="1380"/>
                  </a:lnTo>
                  <a:lnTo>
                    <a:pt x="247" y="1374"/>
                  </a:lnTo>
                  <a:lnTo>
                    <a:pt x="253" y="1371"/>
                  </a:lnTo>
                  <a:lnTo>
                    <a:pt x="262" y="1355"/>
                  </a:lnTo>
                  <a:lnTo>
                    <a:pt x="272" y="1333"/>
                  </a:lnTo>
                  <a:lnTo>
                    <a:pt x="278" y="1315"/>
                  </a:lnTo>
                  <a:lnTo>
                    <a:pt x="284" y="1293"/>
                  </a:lnTo>
                  <a:lnTo>
                    <a:pt x="290" y="1265"/>
                  </a:lnTo>
                  <a:lnTo>
                    <a:pt x="290" y="1243"/>
                  </a:lnTo>
                  <a:lnTo>
                    <a:pt x="287" y="1234"/>
                  </a:lnTo>
                  <a:lnTo>
                    <a:pt x="281" y="1227"/>
                  </a:lnTo>
                  <a:lnTo>
                    <a:pt x="275" y="1218"/>
                  </a:lnTo>
                  <a:lnTo>
                    <a:pt x="269" y="1212"/>
                  </a:lnTo>
                  <a:lnTo>
                    <a:pt x="262" y="1202"/>
                  </a:lnTo>
                  <a:lnTo>
                    <a:pt x="259" y="1196"/>
                  </a:lnTo>
                  <a:lnTo>
                    <a:pt x="256" y="1180"/>
                  </a:lnTo>
                  <a:lnTo>
                    <a:pt x="253" y="1162"/>
                  </a:lnTo>
                  <a:lnTo>
                    <a:pt x="256" y="1143"/>
                  </a:lnTo>
                  <a:lnTo>
                    <a:pt x="259" y="1127"/>
                  </a:lnTo>
                  <a:lnTo>
                    <a:pt x="272" y="1118"/>
                  </a:lnTo>
                  <a:lnTo>
                    <a:pt x="294" y="1115"/>
                  </a:lnTo>
                  <a:lnTo>
                    <a:pt x="315" y="1109"/>
                  </a:lnTo>
                  <a:lnTo>
                    <a:pt x="337" y="1105"/>
                  </a:lnTo>
                  <a:lnTo>
                    <a:pt x="350" y="1096"/>
                  </a:lnTo>
                  <a:lnTo>
                    <a:pt x="353" y="1081"/>
                  </a:lnTo>
                  <a:lnTo>
                    <a:pt x="353" y="1062"/>
                  </a:lnTo>
                  <a:lnTo>
                    <a:pt x="353" y="1043"/>
                  </a:lnTo>
                  <a:lnTo>
                    <a:pt x="356" y="1027"/>
                  </a:lnTo>
                  <a:lnTo>
                    <a:pt x="362" y="1021"/>
                  </a:lnTo>
                  <a:lnTo>
                    <a:pt x="372" y="1018"/>
                  </a:lnTo>
                  <a:lnTo>
                    <a:pt x="381" y="1012"/>
                  </a:lnTo>
                  <a:lnTo>
                    <a:pt x="390" y="1006"/>
                  </a:lnTo>
                  <a:lnTo>
                    <a:pt x="400" y="999"/>
                  </a:lnTo>
                  <a:lnTo>
                    <a:pt x="406" y="993"/>
                  </a:lnTo>
                  <a:lnTo>
                    <a:pt x="422" y="968"/>
                  </a:lnTo>
                  <a:lnTo>
                    <a:pt x="434" y="937"/>
                  </a:lnTo>
                  <a:lnTo>
                    <a:pt x="443" y="909"/>
                  </a:lnTo>
                  <a:lnTo>
                    <a:pt x="447" y="887"/>
                  </a:lnTo>
                  <a:lnTo>
                    <a:pt x="450" y="856"/>
                  </a:lnTo>
                  <a:lnTo>
                    <a:pt x="450" y="824"/>
                  </a:lnTo>
                  <a:lnTo>
                    <a:pt x="443" y="803"/>
                  </a:lnTo>
                  <a:lnTo>
                    <a:pt x="437" y="796"/>
                  </a:lnTo>
                  <a:lnTo>
                    <a:pt x="431" y="790"/>
                  </a:lnTo>
                  <a:lnTo>
                    <a:pt x="422" y="784"/>
                  </a:lnTo>
                  <a:lnTo>
                    <a:pt x="412" y="781"/>
                  </a:lnTo>
                  <a:lnTo>
                    <a:pt x="406" y="775"/>
                  </a:lnTo>
                  <a:lnTo>
                    <a:pt x="384" y="768"/>
                  </a:lnTo>
                  <a:lnTo>
                    <a:pt x="362" y="759"/>
                  </a:lnTo>
                  <a:lnTo>
                    <a:pt x="340" y="750"/>
                  </a:lnTo>
                  <a:lnTo>
                    <a:pt x="325" y="731"/>
                  </a:lnTo>
                  <a:lnTo>
                    <a:pt x="309" y="703"/>
                  </a:lnTo>
                  <a:lnTo>
                    <a:pt x="300" y="678"/>
                  </a:lnTo>
                  <a:lnTo>
                    <a:pt x="300" y="659"/>
                  </a:lnTo>
                  <a:lnTo>
                    <a:pt x="303" y="637"/>
                  </a:lnTo>
                  <a:lnTo>
                    <a:pt x="306" y="612"/>
                  </a:lnTo>
                  <a:lnTo>
                    <a:pt x="303" y="597"/>
                  </a:lnTo>
                  <a:lnTo>
                    <a:pt x="297" y="587"/>
                  </a:lnTo>
                  <a:lnTo>
                    <a:pt x="287" y="581"/>
                  </a:lnTo>
                  <a:lnTo>
                    <a:pt x="275" y="578"/>
                  </a:lnTo>
                  <a:lnTo>
                    <a:pt x="265" y="572"/>
                  </a:lnTo>
                  <a:lnTo>
                    <a:pt x="256" y="568"/>
                  </a:lnTo>
                  <a:lnTo>
                    <a:pt x="247" y="568"/>
                  </a:lnTo>
                  <a:lnTo>
                    <a:pt x="237" y="568"/>
                  </a:lnTo>
                  <a:lnTo>
                    <a:pt x="228" y="568"/>
                  </a:lnTo>
                  <a:lnTo>
                    <a:pt x="219" y="568"/>
                  </a:lnTo>
                  <a:lnTo>
                    <a:pt x="209" y="568"/>
                  </a:lnTo>
                  <a:lnTo>
                    <a:pt x="200" y="565"/>
                  </a:lnTo>
                  <a:lnTo>
                    <a:pt x="191" y="562"/>
                  </a:lnTo>
                  <a:lnTo>
                    <a:pt x="181" y="556"/>
                  </a:lnTo>
                  <a:lnTo>
                    <a:pt x="175" y="550"/>
                  </a:lnTo>
                  <a:lnTo>
                    <a:pt x="169" y="543"/>
                  </a:lnTo>
                  <a:lnTo>
                    <a:pt x="166" y="534"/>
                  </a:lnTo>
                  <a:lnTo>
                    <a:pt x="162" y="525"/>
                  </a:lnTo>
                  <a:lnTo>
                    <a:pt x="159" y="515"/>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3" name="Freeform 15">
              <a:extLst>
                <a:ext uri="{FF2B5EF4-FFF2-40B4-BE49-F238E27FC236}">
                  <a16:creationId xmlns:a16="http://schemas.microsoft.com/office/drawing/2014/main" id="{89DDED31-3AE4-47B6-B9B1-66A27DA8603F}"/>
                </a:ext>
              </a:extLst>
            </p:cNvPr>
            <p:cNvSpPr>
              <a:spLocks/>
            </p:cNvSpPr>
            <p:nvPr/>
          </p:nvSpPr>
          <p:spPr bwMode="auto">
            <a:xfrm>
              <a:off x="10452101" y="-12996863"/>
              <a:ext cx="7059613" cy="6091238"/>
            </a:xfrm>
            <a:custGeom>
              <a:avLst/>
              <a:gdLst>
                <a:gd name="T0" fmla="*/ 980 w 4447"/>
                <a:gd name="T1" fmla="*/ 2879 h 3837"/>
                <a:gd name="T2" fmla="*/ 859 w 4447"/>
                <a:gd name="T3" fmla="*/ 2941 h 3837"/>
                <a:gd name="T4" fmla="*/ 684 w 4447"/>
                <a:gd name="T5" fmla="*/ 3035 h 3837"/>
                <a:gd name="T6" fmla="*/ 468 w 4447"/>
                <a:gd name="T7" fmla="*/ 2716 h 3837"/>
                <a:gd name="T8" fmla="*/ 712 w 4447"/>
                <a:gd name="T9" fmla="*/ 2616 h 3837"/>
                <a:gd name="T10" fmla="*/ 671 w 4447"/>
                <a:gd name="T11" fmla="*/ 2529 h 3837"/>
                <a:gd name="T12" fmla="*/ 471 w 4447"/>
                <a:gd name="T13" fmla="*/ 2235 h 3837"/>
                <a:gd name="T14" fmla="*/ 515 w 4447"/>
                <a:gd name="T15" fmla="*/ 1883 h 3837"/>
                <a:gd name="T16" fmla="*/ 534 w 4447"/>
                <a:gd name="T17" fmla="*/ 1655 h 3837"/>
                <a:gd name="T18" fmla="*/ 446 w 4447"/>
                <a:gd name="T19" fmla="*/ 1555 h 3837"/>
                <a:gd name="T20" fmla="*/ 471 w 4447"/>
                <a:gd name="T21" fmla="*/ 1249 h 3837"/>
                <a:gd name="T22" fmla="*/ 403 w 4447"/>
                <a:gd name="T23" fmla="*/ 1111 h 3837"/>
                <a:gd name="T24" fmla="*/ 268 w 4447"/>
                <a:gd name="T25" fmla="*/ 896 h 3837"/>
                <a:gd name="T26" fmla="*/ 109 w 4447"/>
                <a:gd name="T27" fmla="*/ 577 h 3837"/>
                <a:gd name="T28" fmla="*/ 156 w 4447"/>
                <a:gd name="T29" fmla="*/ 352 h 3837"/>
                <a:gd name="T30" fmla="*/ 9 w 4447"/>
                <a:gd name="T31" fmla="*/ 109 h 3837"/>
                <a:gd name="T32" fmla="*/ 159 w 4447"/>
                <a:gd name="T33" fmla="*/ 28 h 3837"/>
                <a:gd name="T34" fmla="*/ 474 w 4447"/>
                <a:gd name="T35" fmla="*/ 178 h 3837"/>
                <a:gd name="T36" fmla="*/ 809 w 4447"/>
                <a:gd name="T37" fmla="*/ 90 h 3837"/>
                <a:gd name="T38" fmla="*/ 1115 w 4447"/>
                <a:gd name="T39" fmla="*/ 199 h 3837"/>
                <a:gd name="T40" fmla="*/ 1030 w 4447"/>
                <a:gd name="T41" fmla="*/ 368 h 3837"/>
                <a:gd name="T42" fmla="*/ 1049 w 4447"/>
                <a:gd name="T43" fmla="*/ 602 h 3837"/>
                <a:gd name="T44" fmla="*/ 1146 w 4447"/>
                <a:gd name="T45" fmla="*/ 843 h 3837"/>
                <a:gd name="T46" fmla="*/ 1183 w 4447"/>
                <a:gd name="T47" fmla="*/ 1124 h 3837"/>
                <a:gd name="T48" fmla="*/ 1265 w 4447"/>
                <a:gd name="T49" fmla="*/ 924 h 3837"/>
                <a:gd name="T50" fmla="*/ 1549 w 4447"/>
                <a:gd name="T51" fmla="*/ 861 h 3837"/>
                <a:gd name="T52" fmla="*/ 1989 w 4447"/>
                <a:gd name="T53" fmla="*/ 974 h 3837"/>
                <a:gd name="T54" fmla="*/ 2576 w 4447"/>
                <a:gd name="T55" fmla="*/ 1114 h 3837"/>
                <a:gd name="T56" fmla="*/ 3073 w 4447"/>
                <a:gd name="T57" fmla="*/ 989 h 3837"/>
                <a:gd name="T58" fmla="*/ 3441 w 4447"/>
                <a:gd name="T59" fmla="*/ 899 h 3837"/>
                <a:gd name="T60" fmla="*/ 3488 w 4447"/>
                <a:gd name="T61" fmla="*/ 1174 h 3837"/>
                <a:gd name="T62" fmla="*/ 3485 w 4447"/>
                <a:gd name="T63" fmla="*/ 1330 h 3837"/>
                <a:gd name="T64" fmla="*/ 3594 w 4447"/>
                <a:gd name="T65" fmla="*/ 1655 h 3837"/>
                <a:gd name="T66" fmla="*/ 3603 w 4447"/>
                <a:gd name="T67" fmla="*/ 1870 h 3837"/>
                <a:gd name="T68" fmla="*/ 3594 w 4447"/>
                <a:gd name="T69" fmla="*/ 2148 h 3837"/>
                <a:gd name="T70" fmla="*/ 3828 w 4447"/>
                <a:gd name="T71" fmla="*/ 2179 h 3837"/>
                <a:gd name="T72" fmla="*/ 3884 w 4447"/>
                <a:gd name="T73" fmla="*/ 2235 h 3837"/>
                <a:gd name="T74" fmla="*/ 4059 w 4447"/>
                <a:gd name="T75" fmla="*/ 2360 h 3837"/>
                <a:gd name="T76" fmla="*/ 4078 w 4447"/>
                <a:gd name="T77" fmla="*/ 2594 h 3837"/>
                <a:gd name="T78" fmla="*/ 4203 w 4447"/>
                <a:gd name="T79" fmla="*/ 2698 h 3837"/>
                <a:gd name="T80" fmla="*/ 4322 w 4447"/>
                <a:gd name="T81" fmla="*/ 2885 h 3837"/>
                <a:gd name="T82" fmla="*/ 4447 w 4447"/>
                <a:gd name="T83" fmla="*/ 3153 h 3837"/>
                <a:gd name="T84" fmla="*/ 4187 w 4447"/>
                <a:gd name="T85" fmla="*/ 3438 h 3837"/>
                <a:gd name="T86" fmla="*/ 4187 w 4447"/>
                <a:gd name="T87" fmla="*/ 3631 h 3837"/>
                <a:gd name="T88" fmla="*/ 4141 w 4447"/>
                <a:gd name="T89" fmla="*/ 3834 h 3837"/>
                <a:gd name="T90" fmla="*/ 3950 w 4447"/>
                <a:gd name="T91" fmla="*/ 3644 h 3837"/>
                <a:gd name="T92" fmla="*/ 3688 w 4447"/>
                <a:gd name="T93" fmla="*/ 3650 h 3837"/>
                <a:gd name="T94" fmla="*/ 3519 w 4447"/>
                <a:gd name="T95" fmla="*/ 3506 h 3837"/>
                <a:gd name="T96" fmla="*/ 3491 w 4447"/>
                <a:gd name="T97" fmla="*/ 3194 h 3837"/>
                <a:gd name="T98" fmla="*/ 3204 w 4447"/>
                <a:gd name="T99" fmla="*/ 3150 h 3837"/>
                <a:gd name="T100" fmla="*/ 3035 w 4447"/>
                <a:gd name="T101" fmla="*/ 3310 h 3837"/>
                <a:gd name="T102" fmla="*/ 2857 w 4447"/>
                <a:gd name="T103" fmla="*/ 3328 h 3837"/>
                <a:gd name="T104" fmla="*/ 2685 w 4447"/>
                <a:gd name="T105" fmla="*/ 3122 h 3837"/>
                <a:gd name="T106" fmla="*/ 2582 w 4447"/>
                <a:gd name="T107" fmla="*/ 2897 h 3837"/>
                <a:gd name="T108" fmla="*/ 2498 w 4447"/>
                <a:gd name="T109" fmla="*/ 2994 h 3837"/>
                <a:gd name="T110" fmla="*/ 2376 w 4447"/>
                <a:gd name="T111" fmla="*/ 3044 h 3837"/>
                <a:gd name="T112" fmla="*/ 2055 w 4447"/>
                <a:gd name="T113" fmla="*/ 3035 h 3837"/>
                <a:gd name="T114" fmla="*/ 1886 w 4447"/>
                <a:gd name="T115" fmla="*/ 3122 h 3837"/>
                <a:gd name="T116" fmla="*/ 1799 w 4447"/>
                <a:gd name="T117" fmla="*/ 3113 h 3837"/>
                <a:gd name="T118" fmla="*/ 1617 w 4447"/>
                <a:gd name="T119" fmla="*/ 3078 h 3837"/>
                <a:gd name="T120" fmla="*/ 1471 w 4447"/>
                <a:gd name="T121" fmla="*/ 2963 h 3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7" h="3837">
                  <a:moveTo>
                    <a:pt x="1230" y="2982"/>
                  </a:moveTo>
                  <a:lnTo>
                    <a:pt x="1218" y="2975"/>
                  </a:lnTo>
                  <a:lnTo>
                    <a:pt x="1208" y="2972"/>
                  </a:lnTo>
                  <a:lnTo>
                    <a:pt x="1186" y="2957"/>
                  </a:lnTo>
                  <a:lnTo>
                    <a:pt x="1158" y="2938"/>
                  </a:lnTo>
                  <a:lnTo>
                    <a:pt x="1130" y="2916"/>
                  </a:lnTo>
                  <a:lnTo>
                    <a:pt x="1105" y="2904"/>
                  </a:lnTo>
                  <a:lnTo>
                    <a:pt x="1083" y="2904"/>
                  </a:lnTo>
                  <a:lnTo>
                    <a:pt x="1055" y="2907"/>
                  </a:lnTo>
                  <a:lnTo>
                    <a:pt x="1030" y="2907"/>
                  </a:lnTo>
                  <a:lnTo>
                    <a:pt x="1008" y="2904"/>
                  </a:lnTo>
                  <a:lnTo>
                    <a:pt x="1002" y="2900"/>
                  </a:lnTo>
                  <a:lnTo>
                    <a:pt x="993" y="2894"/>
                  </a:lnTo>
                  <a:lnTo>
                    <a:pt x="987" y="2885"/>
                  </a:lnTo>
                  <a:lnTo>
                    <a:pt x="980" y="2879"/>
                  </a:lnTo>
                  <a:lnTo>
                    <a:pt x="971" y="2872"/>
                  </a:lnTo>
                  <a:lnTo>
                    <a:pt x="965" y="2869"/>
                  </a:lnTo>
                  <a:lnTo>
                    <a:pt x="959" y="2869"/>
                  </a:lnTo>
                  <a:lnTo>
                    <a:pt x="952" y="2872"/>
                  </a:lnTo>
                  <a:lnTo>
                    <a:pt x="946" y="2875"/>
                  </a:lnTo>
                  <a:lnTo>
                    <a:pt x="940" y="2882"/>
                  </a:lnTo>
                  <a:lnTo>
                    <a:pt x="934" y="2885"/>
                  </a:lnTo>
                  <a:lnTo>
                    <a:pt x="924" y="2904"/>
                  </a:lnTo>
                  <a:lnTo>
                    <a:pt x="912" y="2925"/>
                  </a:lnTo>
                  <a:lnTo>
                    <a:pt x="899" y="2941"/>
                  </a:lnTo>
                  <a:lnTo>
                    <a:pt x="893" y="2941"/>
                  </a:lnTo>
                  <a:lnTo>
                    <a:pt x="887" y="2941"/>
                  </a:lnTo>
                  <a:lnTo>
                    <a:pt x="877" y="2941"/>
                  </a:lnTo>
                  <a:lnTo>
                    <a:pt x="868" y="2941"/>
                  </a:lnTo>
                  <a:lnTo>
                    <a:pt x="859" y="2941"/>
                  </a:lnTo>
                  <a:lnTo>
                    <a:pt x="852" y="2944"/>
                  </a:lnTo>
                  <a:lnTo>
                    <a:pt x="827" y="2957"/>
                  </a:lnTo>
                  <a:lnTo>
                    <a:pt x="802" y="2975"/>
                  </a:lnTo>
                  <a:lnTo>
                    <a:pt x="781" y="2994"/>
                  </a:lnTo>
                  <a:lnTo>
                    <a:pt x="777" y="3004"/>
                  </a:lnTo>
                  <a:lnTo>
                    <a:pt x="774" y="3013"/>
                  </a:lnTo>
                  <a:lnTo>
                    <a:pt x="771" y="3022"/>
                  </a:lnTo>
                  <a:lnTo>
                    <a:pt x="768" y="3028"/>
                  </a:lnTo>
                  <a:lnTo>
                    <a:pt x="765" y="3032"/>
                  </a:lnTo>
                  <a:lnTo>
                    <a:pt x="759" y="3038"/>
                  </a:lnTo>
                  <a:lnTo>
                    <a:pt x="752" y="3041"/>
                  </a:lnTo>
                  <a:lnTo>
                    <a:pt x="746" y="3044"/>
                  </a:lnTo>
                  <a:lnTo>
                    <a:pt x="727" y="3044"/>
                  </a:lnTo>
                  <a:lnTo>
                    <a:pt x="706" y="3041"/>
                  </a:lnTo>
                  <a:lnTo>
                    <a:pt x="684" y="3035"/>
                  </a:lnTo>
                  <a:lnTo>
                    <a:pt x="665" y="3028"/>
                  </a:lnTo>
                  <a:lnTo>
                    <a:pt x="634" y="3022"/>
                  </a:lnTo>
                  <a:lnTo>
                    <a:pt x="599" y="3010"/>
                  </a:lnTo>
                  <a:lnTo>
                    <a:pt x="574" y="2994"/>
                  </a:lnTo>
                  <a:lnTo>
                    <a:pt x="562" y="2975"/>
                  </a:lnTo>
                  <a:lnTo>
                    <a:pt x="549" y="2947"/>
                  </a:lnTo>
                  <a:lnTo>
                    <a:pt x="537" y="2925"/>
                  </a:lnTo>
                  <a:lnTo>
                    <a:pt x="521" y="2900"/>
                  </a:lnTo>
                  <a:lnTo>
                    <a:pt x="503" y="2872"/>
                  </a:lnTo>
                  <a:lnTo>
                    <a:pt x="481" y="2844"/>
                  </a:lnTo>
                  <a:lnTo>
                    <a:pt x="468" y="2819"/>
                  </a:lnTo>
                  <a:lnTo>
                    <a:pt x="465" y="2797"/>
                  </a:lnTo>
                  <a:lnTo>
                    <a:pt x="468" y="2769"/>
                  </a:lnTo>
                  <a:lnTo>
                    <a:pt x="468" y="2738"/>
                  </a:lnTo>
                  <a:lnTo>
                    <a:pt x="468" y="2716"/>
                  </a:lnTo>
                  <a:lnTo>
                    <a:pt x="462" y="2691"/>
                  </a:lnTo>
                  <a:lnTo>
                    <a:pt x="453" y="2663"/>
                  </a:lnTo>
                  <a:lnTo>
                    <a:pt x="440" y="2632"/>
                  </a:lnTo>
                  <a:lnTo>
                    <a:pt x="434" y="2604"/>
                  </a:lnTo>
                  <a:lnTo>
                    <a:pt x="462" y="2594"/>
                  </a:lnTo>
                  <a:lnTo>
                    <a:pt x="487" y="2582"/>
                  </a:lnTo>
                  <a:lnTo>
                    <a:pt x="512" y="2579"/>
                  </a:lnTo>
                  <a:lnTo>
                    <a:pt x="531" y="2582"/>
                  </a:lnTo>
                  <a:lnTo>
                    <a:pt x="553" y="2591"/>
                  </a:lnTo>
                  <a:lnTo>
                    <a:pt x="574" y="2598"/>
                  </a:lnTo>
                  <a:lnTo>
                    <a:pt x="593" y="2604"/>
                  </a:lnTo>
                  <a:lnTo>
                    <a:pt x="624" y="2610"/>
                  </a:lnTo>
                  <a:lnTo>
                    <a:pt x="662" y="2613"/>
                  </a:lnTo>
                  <a:lnTo>
                    <a:pt x="696" y="2616"/>
                  </a:lnTo>
                  <a:lnTo>
                    <a:pt x="712" y="2616"/>
                  </a:lnTo>
                  <a:lnTo>
                    <a:pt x="731" y="2616"/>
                  </a:lnTo>
                  <a:lnTo>
                    <a:pt x="746" y="2616"/>
                  </a:lnTo>
                  <a:lnTo>
                    <a:pt x="762" y="2610"/>
                  </a:lnTo>
                  <a:lnTo>
                    <a:pt x="762" y="2607"/>
                  </a:lnTo>
                  <a:lnTo>
                    <a:pt x="765" y="2601"/>
                  </a:lnTo>
                  <a:lnTo>
                    <a:pt x="762" y="2594"/>
                  </a:lnTo>
                  <a:lnTo>
                    <a:pt x="762" y="2588"/>
                  </a:lnTo>
                  <a:lnTo>
                    <a:pt x="759" y="2582"/>
                  </a:lnTo>
                  <a:lnTo>
                    <a:pt x="749" y="2573"/>
                  </a:lnTo>
                  <a:lnTo>
                    <a:pt x="743" y="2566"/>
                  </a:lnTo>
                  <a:lnTo>
                    <a:pt x="734" y="2560"/>
                  </a:lnTo>
                  <a:lnTo>
                    <a:pt x="727" y="2554"/>
                  </a:lnTo>
                  <a:lnTo>
                    <a:pt x="709" y="2545"/>
                  </a:lnTo>
                  <a:lnTo>
                    <a:pt x="690" y="2538"/>
                  </a:lnTo>
                  <a:lnTo>
                    <a:pt x="671" y="2529"/>
                  </a:lnTo>
                  <a:lnTo>
                    <a:pt x="649" y="2520"/>
                  </a:lnTo>
                  <a:lnTo>
                    <a:pt x="618" y="2507"/>
                  </a:lnTo>
                  <a:lnTo>
                    <a:pt x="593" y="2491"/>
                  </a:lnTo>
                  <a:lnTo>
                    <a:pt x="571" y="2476"/>
                  </a:lnTo>
                  <a:lnTo>
                    <a:pt x="565" y="2460"/>
                  </a:lnTo>
                  <a:lnTo>
                    <a:pt x="562" y="2438"/>
                  </a:lnTo>
                  <a:lnTo>
                    <a:pt x="559" y="2413"/>
                  </a:lnTo>
                  <a:lnTo>
                    <a:pt x="556" y="2398"/>
                  </a:lnTo>
                  <a:lnTo>
                    <a:pt x="543" y="2379"/>
                  </a:lnTo>
                  <a:lnTo>
                    <a:pt x="524" y="2363"/>
                  </a:lnTo>
                  <a:lnTo>
                    <a:pt x="509" y="2345"/>
                  </a:lnTo>
                  <a:lnTo>
                    <a:pt x="499" y="2323"/>
                  </a:lnTo>
                  <a:lnTo>
                    <a:pt x="487" y="2292"/>
                  </a:lnTo>
                  <a:lnTo>
                    <a:pt x="481" y="2260"/>
                  </a:lnTo>
                  <a:lnTo>
                    <a:pt x="471" y="2235"/>
                  </a:lnTo>
                  <a:lnTo>
                    <a:pt x="468" y="2210"/>
                  </a:lnTo>
                  <a:lnTo>
                    <a:pt x="465" y="2182"/>
                  </a:lnTo>
                  <a:lnTo>
                    <a:pt x="462" y="2157"/>
                  </a:lnTo>
                  <a:lnTo>
                    <a:pt x="459" y="2139"/>
                  </a:lnTo>
                  <a:lnTo>
                    <a:pt x="450" y="2117"/>
                  </a:lnTo>
                  <a:lnTo>
                    <a:pt x="446" y="2095"/>
                  </a:lnTo>
                  <a:lnTo>
                    <a:pt x="450" y="2076"/>
                  </a:lnTo>
                  <a:lnTo>
                    <a:pt x="459" y="2054"/>
                  </a:lnTo>
                  <a:lnTo>
                    <a:pt x="468" y="2032"/>
                  </a:lnTo>
                  <a:lnTo>
                    <a:pt x="468" y="2014"/>
                  </a:lnTo>
                  <a:lnTo>
                    <a:pt x="471" y="1989"/>
                  </a:lnTo>
                  <a:lnTo>
                    <a:pt x="474" y="1970"/>
                  </a:lnTo>
                  <a:lnTo>
                    <a:pt x="484" y="1945"/>
                  </a:lnTo>
                  <a:lnTo>
                    <a:pt x="499" y="1914"/>
                  </a:lnTo>
                  <a:lnTo>
                    <a:pt x="515" y="1883"/>
                  </a:lnTo>
                  <a:lnTo>
                    <a:pt x="521" y="1858"/>
                  </a:lnTo>
                  <a:lnTo>
                    <a:pt x="518" y="1836"/>
                  </a:lnTo>
                  <a:lnTo>
                    <a:pt x="512" y="1808"/>
                  </a:lnTo>
                  <a:lnTo>
                    <a:pt x="509" y="1786"/>
                  </a:lnTo>
                  <a:lnTo>
                    <a:pt x="515" y="1764"/>
                  </a:lnTo>
                  <a:lnTo>
                    <a:pt x="524" y="1739"/>
                  </a:lnTo>
                  <a:lnTo>
                    <a:pt x="534" y="1720"/>
                  </a:lnTo>
                  <a:lnTo>
                    <a:pt x="543" y="1705"/>
                  </a:lnTo>
                  <a:lnTo>
                    <a:pt x="553" y="1689"/>
                  </a:lnTo>
                  <a:lnTo>
                    <a:pt x="562" y="1673"/>
                  </a:lnTo>
                  <a:lnTo>
                    <a:pt x="562" y="1661"/>
                  </a:lnTo>
                  <a:lnTo>
                    <a:pt x="559" y="1658"/>
                  </a:lnTo>
                  <a:lnTo>
                    <a:pt x="553" y="1655"/>
                  </a:lnTo>
                  <a:lnTo>
                    <a:pt x="543" y="1655"/>
                  </a:lnTo>
                  <a:lnTo>
                    <a:pt x="534" y="1655"/>
                  </a:lnTo>
                  <a:lnTo>
                    <a:pt x="528" y="1655"/>
                  </a:lnTo>
                  <a:lnTo>
                    <a:pt x="521" y="1655"/>
                  </a:lnTo>
                  <a:lnTo>
                    <a:pt x="515" y="1658"/>
                  </a:lnTo>
                  <a:lnTo>
                    <a:pt x="512" y="1664"/>
                  </a:lnTo>
                  <a:lnTo>
                    <a:pt x="506" y="1670"/>
                  </a:lnTo>
                  <a:lnTo>
                    <a:pt x="503" y="1673"/>
                  </a:lnTo>
                  <a:lnTo>
                    <a:pt x="493" y="1670"/>
                  </a:lnTo>
                  <a:lnTo>
                    <a:pt x="487" y="1667"/>
                  </a:lnTo>
                  <a:lnTo>
                    <a:pt x="478" y="1661"/>
                  </a:lnTo>
                  <a:lnTo>
                    <a:pt x="471" y="1651"/>
                  </a:lnTo>
                  <a:lnTo>
                    <a:pt x="465" y="1645"/>
                  </a:lnTo>
                  <a:lnTo>
                    <a:pt x="459" y="1639"/>
                  </a:lnTo>
                  <a:lnTo>
                    <a:pt x="450" y="1614"/>
                  </a:lnTo>
                  <a:lnTo>
                    <a:pt x="446" y="1583"/>
                  </a:lnTo>
                  <a:lnTo>
                    <a:pt x="446" y="1555"/>
                  </a:lnTo>
                  <a:lnTo>
                    <a:pt x="453" y="1536"/>
                  </a:lnTo>
                  <a:lnTo>
                    <a:pt x="462" y="1511"/>
                  </a:lnTo>
                  <a:lnTo>
                    <a:pt x="471" y="1489"/>
                  </a:lnTo>
                  <a:lnTo>
                    <a:pt x="474" y="1480"/>
                  </a:lnTo>
                  <a:lnTo>
                    <a:pt x="478" y="1470"/>
                  </a:lnTo>
                  <a:lnTo>
                    <a:pt x="481" y="1458"/>
                  </a:lnTo>
                  <a:lnTo>
                    <a:pt x="484" y="1448"/>
                  </a:lnTo>
                  <a:lnTo>
                    <a:pt x="484" y="1427"/>
                  </a:lnTo>
                  <a:lnTo>
                    <a:pt x="481" y="1402"/>
                  </a:lnTo>
                  <a:lnTo>
                    <a:pt x="478" y="1380"/>
                  </a:lnTo>
                  <a:lnTo>
                    <a:pt x="471" y="1355"/>
                  </a:lnTo>
                  <a:lnTo>
                    <a:pt x="462" y="1324"/>
                  </a:lnTo>
                  <a:lnTo>
                    <a:pt x="459" y="1299"/>
                  </a:lnTo>
                  <a:lnTo>
                    <a:pt x="462" y="1277"/>
                  </a:lnTo>
                  <a:lnTo>
                    <a:pt x="471" y="1249"/>
                  </a:lnTo>
                  <a:lnTo>
                    <a:pt x="474" y="1227"/>
                  </a:lnTo>
                  <a:lnTo>
                    <a:pt x="474" y="1217"/>
                  </a:lnTo>
                  <a:lnTo>
                    <a:pt x="471" y="1208"/>
                  </a:lnTo>
                  <a:lnTo>
                    <a:pt x="468" y="1199"/>
                  </a:lnTo>
                  <a:lnTo>
                    <a:pt x="462" y="1189"/>
                  </a:lnTo>
                  <a:lnTo>
                    <a:pt x="459" y="1183"/>
                  </a:lnTo>
                  <a:lnTo>
                    <a:pt x="453" y="1180"/>
                  </a:lnTo>
                  <a:lnTo>
                    <a:pt x="446" y="1180"/>
                  </a:lnTo>
                  <a:lnTo>
                    <a:pt x="440" y="1180"/>
                  </a:lnTo>
                  <a:lnTo>
                    <a:pt x="431" y="1177"/>
                  </a:lnTo>
                  <a:lnTo>
                    <a:pt x="425" y="1177"/>
                  </a:lnTo>
                  <a:lnTo>
                    <a:pt x="421" y="1174"/>
                  </a:lnTo>
                  <a:lnTo>
                    <a:pt x="412" y="1158"/>
                  </a:lnTo>
                  <a:lnTo>
                    <a:pt x="406" y="1136"/>
                  </a:lnTo>
                  <a:lnTo>
                    <a:pt x="403" y="1111"/>
                  </a:lnTo>
                  <a:lnTo>
                    <a:pt x="403" y="1089"/>
                  </a:lnTo>
                  <a:lnTo>
                    <a:pt x="403" y="1074"/>
                  </a:lnTo>
                  <a:lnTo>
                    <a:pt x="406" y="1055"/>
                  </a:lnTo>
                  <a:lnTo>
                    <a:pt x="406" y="1039"/>
                  </a:lnTo>
                  <a:lnTo>
                    <a:pt x="403" y="1024"/>
                  </a:lnTo>
                  <a:lnTo>
                    <a:pt x="387" y="1014"/>
                  </a:lnTo>
                  <a:lnTo>
                    <a:pt x="365" y="1008"/>
                  </a:lnTo>
                  <a:lnTo>
                    <a:pt x="340" y="1005"/>
                  </a:lnTo>
                  <a:lnTo>
                    <a:pt x="315" y="999"/>
                  </a:lnTo>
                  <a:lnTo>
                    <a:pt x="300" y="989"/>
                  </a:lnTo>
                  <a:lnTo>
                    <a:pt x="293" y="977"/>
                  </a:lnTo>
                  <a:lnTo>
                    <a:pt x="290" y="955"/>
                  </a:lnTo>
                  <a:lnTo>
                    <a:pt x="290" y="933"/>
                  </a:lnTo>
                  <a:lnTo>
                    <a:pt x="284" y="918"/>
                  </a:lnTo>
                  <a:lnTo>
                    <a:pt x="268" y="896"/>
                  </a:lnTo>
                  <a:lnTo>
                    <a:pt x="247" y="871"/>
                  </a:lnTo>
                  <a:lnTo>
                    <a:pt x="228" y="852"/>
                  </a:lnTo>
                  <a:lnTo>
                    <a:pt x="209" y="833"/>
                  </a:lnTo>
                  <a:lnTo>
                    <a:pt x="187" y="815"/>
                  </a:lnTo>
                  <a:lnTo>
                    <a:pt x="175" y="793"/>
                  </a:lnTo>
                  <a:lnTo>
                    <a:pt x="175" y="771"/>
                  </a:lnTo>
                  <a:lnTo>
                    <a:pt x="178" y="746"/>
                  </a:lnTo>
                  <a:lnTo>
                    <a:pt x="184" y="718"/>
                  </a:lnTo>
                  <a:lnTo>
                    <a:pt x="184" y="696"/>
                  </a:lnTo>
                  <a:lnTo>
                    <a:pt x="178" y="677"/>
                  </a:lnTo>
                  <a:lnTo>
                    <a:pt x="165" y="655"/>
                  </a:lnTo>
                  <a:lnTo>
                    <a:pt x="153" y="633"/>
                  </a:lnTo>
                  <a:lnTo>
                    <a:pt x="140" y="618"/>
                  </a:lnTo>
                  <a:lnTo>
                    <a:pt x="128" y="599"/>
                  </a:lnTo>
                  <a:lnTo>
                    <a:pt x="109" y="577"/>
                  </a:lnTo>
                  <a:lnTo>
                    <a:pt x="90" y="559"/>
                  </a:lnTo>
                  <a:lnTo>
                    <a:pt x="81" y="540"/>
                  </a:lnTo>
                  <a:lnTo>
                    <a:pt x="75" y="515"/>
                  </a:lnTo>
                  <a:lnTo>
                    <a:pt x="75" y="490"/>
                  </a:lnTo>
                  <a:lnTo>
                    <a:pt x="75" y="462"/>
                  </a:lnTo>
                  <a:lnTo>
                    <a:pt x="81" y="440"/>
                  </a:lnTo>
                  <a:lnTo>
                    <a:pt x="87" y="418"/>
                  </a:lnTo>
                  <a:lnTo>
                    <a:pt x="100" y="399"/>
                  </a:lnTo>
                  <a:lnTo>
                    <a:pt x="115" y="384"/>
                  </a:lnTo>
                  <a:lnTo>
                    <a:pt x="119" y="381"/>
                  </a:lnTo>
                  <a:lnTo>
                    <a:pt x="128" y="377"/>
                  </a:lnTo>
                  <a:lnTo>
                    <a:pt x="134" y="377"/>
                  </a:lnTo>
                  <a:lnTo>
                    <a:pt x="140" y="374"/>
                  </a:lnTo>
                  <a:lnTo>
                    <a:pt x="147" y="371"/>
                  </a:lnTo>
                  <a:lnTo>
                    <a:pt x="156" y="352"/>
                  </a:lnTo>
                  <a:lnTo>
                    <a:pt x="165" y="324"/>
                  </a:lnTo>
                  <a:lnTo>
                    <a:pt x="172" y="302"/>
                  </a:lnTo>
                  <a:lnTo>
                    <a:pt x="172" y="271"/>
                  </a:lnTo>
                  <a:lnTo>
                    <a:pt x="168" y="237"/>
                  </a:lnTo>
                  <a:lnTo>
                    <a:pt x="159" y="203"/>
                  </a:lnTo>
                  <a:lnTo>
                    <a:pt x="147" y="178"/>
                  </a:lnTo>
                  <a:lnTo>
                    <a:pt x="128" y="162"/>
                  </a:lnTo>
                  <a:lnTo>
                    <a:pt x="97" y="153"/>
                  </a:lnTo>
                  <a:lnTo>
                    <a:pt x="72" y="146"/>
                  </a:lnTo>
                  <a:lnTo>
                    <a:pt x="59" y="146"/>
                  </a:lnTo>
                  <a:lnTo>
                    <a:pt x="44" y="143"/>
                  </a:lnTo>
                  <a:lnTo>
                    <a:pt x="28" y="140"/>
                  </a:lnTo>
                  <a:lnTo>
                    <a:pt x="22" y="137"/>
                  </a:lnTo>
                  <a:lnTo>
                    <a:pt x="15" y="128"/>
                  </a:lnTo>
                  <a:lnTo>
                    <a:pt x="9" y="109"/>
                  </a:lnTo>
                  <a:lnTo>
                    <a:pt x="3" y="87"/>
                  </a:lnTo>
                  <a:lnTo>
                    <a:pt x="0" y="68"/>
                  </a:lnTo>
                  <a:lnTo>
                    <a:pt x="3" y="46"/>
                  </a:lnTo>
                  <a:lnTo>
                    <a:pt x="9" y="21"/>
                  </a:lnTo>
                  <a:lnTo>
                    <a:pt x="22" y="6"/>
                  </a:lnTo>
                  <a:lnTo>
                    <a:pt x="37" y="0"/>
                  </a:lnTo>
                  <a:lnTo>
                    <a:pt x="59" y="0"/>
                  </a:lnTo>
                  <a:lnTo>
                    <a:pt x="75" y="3"/>
                  </a:lnTo>
                  <a:lnTo>
                    <a:pt x="81" y="6"/>
                  </a:lnTo>
                  <a:lnTo>
                    <a:pt x="87" y="12"/>
                  </a:lnTo>
                  <a:lnTo>
                    <a:pt x="94" y="21"/>
                  </a:lnTo>
                  <a:lnTo>
                    <a:pt x="100" y="28"/>
                  </a:lnTo>
                  <a:lnTo>
                    <a:pt x="106" y="31"/>
                  </a:lnTo>
                  <a:lnTo>
                    <a:pt x="131" y="31"/>
                  </a:lnTo>
                  <a:lnTo>
                    <a:pt x="159" y="28"/>
                  </a:lnTo>
                  <a:lnTo>
                    <a:pt x="187" y="25"/>
                  </a:lnTo>
                  <a:lnTo>
                    <a:pt x="209" y="28"/>
                  </a:lnTo>
                  <a:lnTo>
                    <a:pt x="218" y="34"/>
                  </a:lnTo>
                  <a:lnTo>
                    <a:pt x="225" y="43"/>
                  </a:lnTo>
                  <a:lnTo>
                    <a:pt x="231" y="53"/>
                  </a:lnTo>
                  <a:lnTo>
                    <a:pt x="237" y="62"/>
                  </a:lnTo>
                  <a:lnTo>
                    <a:pt x="243" y="68"/>
                  </a:lnTo>
                  <a:lnTo>
                    <a:pt x="272" y="84"/>
                  </a:lnTo>
                  <a:lnTo>
                    <a:pt x="306" y="96"/>
                  </a:lnTo>
                  <a:lnTo>
                    <a:pt x="334" y="109"/>
                  </a:lnTo>
                  <a:lnTo>
                    <a:pt x="362" y="121"/>
                  </a:lnTo>
                  <a:lnTo>
                    <a:pt x="390" y="137"/>
                  </a:lnTo>
                  <a:lnTo>
                    <a:pt x="418" y="153"/>
                  </a:lnTo>
                  <a:lnTo>
                    <a:pt x="443" y="162"/>
                  </a:lnTo>
                  <a:lnTo>
                    <a:pt x="474" y="178"/>
                  </a:lnTo>
                  <a:lnTo>
                    <a:pt x="503" y="190"/>
                  </a:lnTo>
                  <a:lnTo>
                    <a:pt x="531" y="196"/>
                  </a:lnTo>
                  <a:lnTo>
                    <a:pt x="556" y="203"/>
                  </a:lnTo>
                  <a:lnTo>
                    <a:pt x="587" y="206"/>
                  </a:lnTo>
                  <a:lnTo>
                    <a:pt x="621" y="209"/>
                  </a:lnTo>
                  <a:lnTo>
                    <a:pt x="649" y="206"/>
                  </a:lnTo>
                  <a:lnTo>
                    <a:pt x="674" y="199"/>
                  </a:lnTo>
                  <a:lnTo>
                    <a:pt x="687" y="187"/>
                  </a:lnTo>
                  <a:lnTo>
                    <a:pt x="699" y="168"/>
                  </a:lnTo>
                  <a:lnTo>
                    <a:pt x="709" y="146"/>
                  </a:lnTo>
                  <a:lnTo>
                    <a:pt x="721" y="131"/>
                  </a:lnTo>
                  <a:lnTo>
                    <a:pt x="740" y="118"/>
                  </a:lnTo>
                  <a:lnTo>
                    <a:pt x="765" y="106"/>
                  </a:lnTo>
                  <a:lnTo>
                    <a:pt x="787" y="96"/>
                  </a:lnTo>
                  <a:lnTo>
                    <a:pt x="809" y="90"/>
                  </a:lnTo>
                  <a:lnTo>
                    <a:pt x="840" y="84"/>
                  </a:lnTo>
                  <a:lnTo>
                    <a:pt x="868" y="78"/>
                  </a:lnTo>
                  <a:lnTo>
                    <a:pt x="893" y="78"/>
                  </a:lnTo>
                  <a:lnTo>
                    <a:pt x="915" y="84"/>
                  </a:lnTo>
                  <a:lnTo>
                    <a:pt x="940" y="93"/>
                  </a:lnTo>
                  <a:lnTo>
                    <a:pt x="959" y="103"/>
                  </a:lnTo>
                  <a:lnTo>
                    <a:pt x="977" y="100"/>
                  </a:lnTo>
                  <a:lnTo>
                    <a:pt x="996" y="100"/>
                  </a:lnTo>
                  <a:lnTo>
                    <a:pt x="1018" y="96"/>
                  </a:lnTo>
                  <a:lnTo>
                    <a:pt x="1033" y="96"/>
                  </a:lnTo>
                  <a:lnTo>
                    <a:pt x="1058" y="112"/>
                  </a:lnTo>
                  <a:lnTo>
                    <a:pt x="1083" y="134"/>
                  </a:lnTo>
                  <a:lnTo>
                    <a:pt x="1099" y="156"/>
                  </a:lnTo>
                  <a:lnTo>
                    <a:pt x="1108" y="174"/>
                  </a:lnTo>
                  <a:lnTo>
                    <a:pt x="1115" y="199"/>
                  </a:lnTo>
                  <a:lnTo>
                    <a:pt x="1118" y="221"/>
                  </a:lnTo>
                  <a:lnTo>
                    <a:pt x="1121" y="243"/>
                  </a:lnTo>
                  <a:lnTo>
                    <a:pt x="1124" y="265"/>
                  </a:lnTo>
                  <a:lnTo>
                    <a:pt x="1124" y="290"/>
                  </a:lnTo>
                  <a:lnTo>
                    <a:pt x="1118" y="306"/>
                  </a:lnTo>
                  <a:lnTo>
                    <a:pt x="1105" y="312"/>
                  </a:lnTo>
                  <a:lnTo>
                    <a:pt x="1090" y="315"/>
                  </a:lnTo>
                  <a:lnTo>
                    <a:pt x="1074" y="318"/>
                  </a:lnTo>
                  <a:lnTo>
                    <a:pt x="1062" y="324"/>
                  </a:lnTo>
                  <a:lnTo>
                    <a:pt x="1055" y="327"/>
                  </a:lnTo>
                  <a:lnTo>
                    <a:pt x="1049" y="334"/>
                  </a:lnTo>
                  <a:lnTo>
                    <a:pt x="1043" y="343"/>
                  </a:lnTo>
                  <a:lnTo>
                    <a:pt x="1040" y="349"/>
                  </a:lnTo>
                  <a:lnTo>
                    <a:pt x="1033" y="356"/>
                  </a:lnTo>
                  <a:lnTo>
                    <a:pt x="1030" y="368"/>
                  </a:lnTo>
                  <a:lnTo>
                    <a:pt x="1024" y="377"/>
                  </a:lnTo>
                  <a:lnTo>
                    <a:pt x="1021" y="384"/>
                  </a:lnTo>
                  <a:lnTo>
                    <a:pt x="1015" y="390"/>
                  </a:lnTo>
                  <a:lnTo>
                    <a:pt x="1005" y="399"/>
                  </a:lnTo>
                  <a:lnTo>
                    <a:pt x="996" y="406"/>
                  </a:lnTo>
                  <a:lnTo>
                    <a:pt x="990" y="412"/>
                  </a:lnTo>
                  <a:lnTo>
                    <a:pt x="987" y="434"/>
                  </a:lnTo>
                  <a:lnTo>
                    <a:pt x="987" y="462"/>
                  </a:lnTo>
                  <a:lnTo>
                    <a:pt x="990" y="487"/>
                  </a:lnTo>
                  <a:lnTo>
                    <a:pt x="999" y="515"/>
                  </a:lnTo>
                  <a:lnTo>
                    <a:pt x="1012" y="546"/>
                  </a:lnTo>
                  <a:lnTo>
                    <a:pt x="1027" y="574"/>
                  </a:lnTo>
                  <a:lnTo>
                    <a:pt x="1033" y="580"/>
                  </a:lnTo>
                  <a:lnTo>
                    <a:pt x="1040" y="593"/>
                  </a:lnTo>
                  <a:lnTo>
                    <a:pt x="1049" y="602"/>
                  </a:lnTo>
                  <a:lnTo>
                    <a:pt x="1055" y="615"/>
                  </a:lnTo>
                  <a:lnTo>
                    <a:pt x="1062" y="624"/>
                  </a:lnTo>
                  <a:lnTo>
                    <a:pt x="1068" y="643"/>
                  </a:lnTo>
                  <a:lnTo>
                    <a:pt x="1077" y="668"/>
                  </a:lnTo>
                  <a:lnTo>
                    <a:pt x="1087" y="687"/>
                  </a:lnTo>
                  <a:lnTo>
                    <a:pt x="1093" y="693"/>
                  </a:lnTo>
                  <a:lnTo>
                    <a:pt x="1105" y="699"/>
                  </a:lnTo>
                  <a:lnTo>
                    <a:pt x="1118" y="708"/>
                  </a:lnTo>
                  <a:lnTo>
                    <a:pt x="1127" y="715"/>
                  </a:lnTo>
                  <a:lnTo>
                    <a:pt x="1133" y="721"/>
                  </a:lnTo>
                  <a:lnTo>
                    <a:pt x="1140" y="740"/>
                  </a:lnTo>
                  <a:lnTo>
                    <a:pt x="1146" y="758"/>
                  </a:lnTo>
                  <a:lnTo>
                    <a:pt x="1149" y="777"/>
                  </a:lnTo>
                  <a:lnTo>
                    <a:pt x="1149" y="805"/>
                  </a:lnTo>
                  <a:lnTo>
                    <a:pt x="1146" y="843"/>
                  </a:lnTo>
                  <a:lnTo>
                    <a:pt x="1143" y="874"/>
                  </a:lnTo>
                  <a:lnTo>
                    <a:pt x="1143" y="905"/>
                  </a:lnTo>
                  <a:lnTo>
                    <a:pt x="1143" y="939"/>
                  </a:lnTo>
                  <a:lnTo>
                    <a:pt x="1143" y="971"/>
                  </a:lnTo>
                  <a:lnTo>
                    <a:pt x="1149" y="993"/>
                  </a:lnTo>
                  <a:lnTo>
                    <a:pt x="1152" y="1014"/>
                  </a:lnTo>
                  <a:lnTo>
                    <a:pt x="1158" y="1033"/>
                  </a:lnTo>
                  <a:lnTo>
                    <a:pt x="1155" y="1049"/>
                  </a:lnTo>
                  <a:lnTo>
                    <a:pt x="1152" y="1068"/>
                  </a:lnTo>
                  <a:lnTo>
                    <a:pt x="1149" y="1086"/>
                  </a:lnTo>
                  <a:lnTo>
                    <a:pt x="1152" y="1099"/>
                  </a:lnTo>
                  <a:lnTo>
                    <a:pt x="1155" y="1105"/>
                  </a:lnTo>
                  <a:lnTo>
                    <a:pt x="1165" y="1111"/>
                  </a:lnTo>
                  <a:lnTo>
                    <a:pt x="1174" y="1117"/>
                  </a:lnTo>
                  <a:lnTo>
                    <a:pt x="1183" y="1124"/>
                  </a:lnTo>
                  <a:lnTo>
                    <a:pt x="1193" y="1124"/>
                  </a:lnTo>
                  <a:lnTo>
                    <a:pt x="1202" y="1124"/>
                  </a:lnTo>
                  <a:lnTo>
                    <a:pt x="1208" y="1121"/>
                  </a:lnTo>
                  <a:lnTo>
                    <a:pt x="1211" y="1114"/>
                  </a:lnTo>
                  <a:lnTo>
                    <a:pt x="1218" y="1105"/>
                  </a:lnTo>
                  <a:lnTo>
                    <a:pt x="1221" y="1096"/>
                  </a:lnTo>
                  <a:lnTo>
                    <a:pt x="1224" y="1086"/>
                  </a:lnTo>
                  <a:lnTo>
                    <a:pt x="1227" y="1068"/>
                  </a:lnTo>
                  <a:lnTo>
                    <a:pt x="1227" y="1049"/>
                  </a:lnTo>
                  <a:lnTo>
                    <a:pt x="1227" y="1030"/>
                  </a:lnTo>
                  <a:lnTo>
                    <a:pt x="1240" y="1011"/>
                  </a:lnTo>
                  <a:lnTo>
                    <a:pt x="1252" y="986"/>
                  </a:lnTo>
                  <a:lnTo>
                    <a:pt x="1261" y="964"/>
                  </a:lnTo>
                  <a:lnTo>
                    <a:pt x="1265" y="946"/>
                  </a:lnTo>
                  <a:lnTo>
                    <a:pt x="1265" y="924"/>
                  </a:lnTo>
                  <a:lnTo>
                    <a:pt x="1265" y="899"/>
                  </a:lnTo>
                  <a:lnTo>
                    <a:pt x="1268" y="880"/>
                  </a:lnTo>
                  <a:lnTo>
                    <a:pt x="1283" y="865"/>
                  </a:lnTo>
                  <a:lnTo>
                    <a:pt x="1305" y="849"/>
                  </a:lnTo>
                  <a:lnTo>
                    <a:pt x="1327" y="840"/>
                  </a:lnTo>
                  <a:lnTo>
                    <a:pt x="1355" y="836"/>
                  </a:lnTo>
                  <a:lnTo>
                    <a:pt x="1389" y="836"/>
                  </a:lnTo>
                  <a:lnTo>
                    <a:pt x="1418" y="840"/>
                  </a:lnTo>
                  <a:lnTo>
                    <a:pt x="1436" y="846"/>
                  </a:lnTo>
                  <a:lnTo>
                    <a:pt x="1458" y="855"/>
                  </a:lnTo>
                  <a:lnTo>
                    <a:pt x="1474" y="861"/>
                  </a:lnTo>
                  <a:lnTo>
                    <a:pt x="1492" y="861"/>
                  </a:lnTo>
                  <a:lnTo>
                    <a:pt x="1511" y="858"/>
                  </a:lnTo>
                  <a:lnTo>
                    <a:pt x="1527" y="855"/>
                  </a:lnTo>
                  <a:lnTo>
                    <a:pt x="1549" y="861"/>
                  </a:lnTo>
                  <a:lnTo>
                    <a:pt x="1574" y="871"/>
                  </a:lnTo>
                  <a:lnTo>
                    <a:pt x="1596" y="880"/>
                  </a:lnTo>
                  <a:lnTo>
                    <a:pt x="1617" y="893"/>
                  </a:lnTo>
                  <a:lnTo>
                    <a:pt x="1642" y="908"/>
                  </a:lnTo>
                  <a:lnTo>
                    <a:pt x="1664" y="921"/>
                  </a:lnTo>
                  <a:lnTo>
                    <a:pt x="1686" y="933"/>
                  </a:lnTo>
                  <a:lnTo>
                    <a:pt x="1711" y="943"/>
                  </a:lnTo>
                  <a:lnTo>
                    <a:pt x="1739" y="955"/>
                  </a:lnTo>
                  <a:lnTo>
                    <a:pt x="1767" y="964"/>
                  </a:lnTo>
                  <a:lnTo>
                    <a:pt x="1792" y="971"/>
                  </a:lnTo>
                  <a:lnTo>
                    <a:pt x="1830" y="974"/>
                  </a:lnTo>
                  <a:lnTo>
                    <a:pt x="1870" y="974"/>
                  </a:lnTo>
                  <a:lnTo>
                    <a:pt x="1914" y="974"/>
                  </a:lnTo>
                  <a:lnTo>
                    <a:pt x="1948" y="974"/>
                  </a:lnTo>
                  <a:lnTo>
                    <a:pt x="1989" y="974"/>
                  </a:lnTo>
                  <a:lnTo>
                    <a:pt x="2036" y="974"/>
                  </a:lnTo>
                  <a:lnTo>
                    <a:pt x="2086" y="971"/>
                  </a:lnTo>
                  <a:lnTo>
                    <a:pt x="2133" y="971"/>
                  </a:lnTo>
                  <a:lnTo>
                    <a:pt x="2173" y="974"/>
                  </a:lnTo>
                  <a:lnTo>
                    <a:pt x="2208" y="980"/>
                  </a:lnTo>
                  <a:lnTo>
                    <a:pt x="2248" y="989"/>
                  </a:lnTo>
                  <a:lnTo>
                    <a:pt x="2289" y="1002"/>
                  </a:lnTo>
                  <a:lnTo>
                    <a:pt x="2329" y="1014"/>
                  </a:lnTo>
                  <a:lnTo>
                    <a:pt x="2364" y="1024"/>
                  </a:lnTo>
                  <a:lnTo>
                    <a:pt x="2401" y="1039"/>
                  </a:lnTo>
                  <a:lnTo>
                    <a:pt x="2445" y="1055"/>
                  </a:lnTo>
                  <a:lnTo>
                    <a:pt x="2492" y="1074"/>
                  </a:lnTo>
                  <a:lnTo>
                    <a:pt x="2529" y="1089"/>
                  </a:lnTo>
                  <a:lnTo>
                    <a:pt x="2551" y="1099"/>
                  </a:lnTo>
                  <a:lnTo>
                    <a:pt x="2576" y="1114"/>
                  </a:lnTo>
                  <a:lnTo>
                    <a:pt x="2604" y="1127"/>
                  </a:lnTo>
                  <a:lnTo>
                    <a:pt x="2626" y="1133"/>
                  </a:lnTo>
                  <a:lnTo>
                    <a:pt x="2660" y="1139"/>
                  </a:lnTo>
                  <a:lnTo>
                    <a:pt x="2704" y="1139"/>
                  </a:lnTo>
                  <a:lnTo>
                    <a:pt x="2745" y="1136"/>
                  </a:lnTo>
                  <a:lnTo>
                    <a:pt x="2779" y="1133"/>
                  </a:lnTo>
                  <a:lnTo>
                    <a:pt x="2817" y="1124"/>
                  </a:lnTo>
                  <a:lnTo>
                    <a:pt x="2863" y="1111"/>
                  </a:lnTo>
                  <a:lnTo>
                    <a:pt x="2907" y="1096"/>
                  </a:lnTo>
                  <a:lnTo>
                    <a:pt x="2941" y="1080"/>
                  </a:lnTo>
                  <a:lnTo>
                    <a:pt x="2966" y="1068"/>
                  </a:lnTo>
                  <a:lnTo>
                    <a:pt x="2995" y="1049"/>
                  </a:lnTo>
                  <a:lnTo>
                    <a:pt x="3023" y="1027"/>
                  </a:lnTo>
                  <a:lnTo>
                    <a:pt x="3044" y="1011"/>
                  </a:lnTo>
                  <a:lnTo>
                    <a:pt x="3073" y="989"/>
                  </a:lnTo>
                  <a:lnTo>
                    <a:pt x="3104" y="964"/>
                  </a:lnTo>
                  <a:lnTo>
                    <a:pt x="3135" y="936"/>
                  </a:lnTo>
                  <a:lnTo>
                    <a:pt x="3163" y="915"/>
                  </a:lnTo>
                  <a:lnTo>
                    <a:pt x="3188" y="899"/>
                  </a:lnTo>
                  <a:lnTo>
                    <a:pt x="3213" y="883"/>
                  </a:lnTo>
                  <a:lnTo>
                    <a:pt x="3238" y="871"/>
                  </a:lnTo>
                  <a:lnTo>
                    <a:pt x="3263" y="858"/>
                  </a:lnTo>
                  <a:lnTo>
                    <a:pt x="3294" y="849"/>
                  </a:lnTo>
                  <a:lnTo>
                    <a:pt x="3326" y="840"/>
                  </a:lnTo>
                  <a:lnTo>
                    <a:pt x="3354" y="833"/>
                  </a:lnTo>
                  <a:lnTo>
                    <a:pt x="3382" y="833"/>
                  </a:lnTo>
                  <a:lnTo>
                    <a:pt x="3413" y="833"/>
                  </a:lnTo>
                  <a:lnTo>
                    <a:pt x="3441" y="836"/>
                  </a:lnTo>
                  <a:lnTo>
                    <a:pt x="3441" y="871"/>
                  </a:lnTo>
                  <a:lnTo>
                    <a:pt x="3441" y="899"/>
                  </a:lnTo>
                  <a:lnTo>
                    <a:pt x="3444" y="921"/>
                  </a:lnTo>
                  <a:lnTo>
                    <a:pt x="3457" y="949"/>
                  </a:lnTo>
                  <a:lnTo>
                    <a:pt x="3466" y="977"/>
                  </a:lnTo>
                  <a:lnTo>
                    <a:pt x="3472" y="1002"/>
                  </a:lnTo>
                  <a:lnTo>
                    <a:pt x="3475" y="1024"/>
                  </a:lnTo>
                  <a:lnTo>
                    <a:pt x="3466" y="1039"/>
                  </a:lnTo>
                  <a:lnTo>
                    <a:pt x="3447" y="1058"/>
                  </a:lnTo>
                  <a:lnTo>
                    <a:pt x="3432" y="1074"/>
                  </a:lnTo>
                  <a:lnTo>
                    <a:pt x="3422" y="1089"/>
                  </a:lnTo>
                  <a:lnTo>
                    <a:pt x="3422" y="1108"/>
                  </a:lnTo>
                  <a:lnTo>
                    <a:pt x="3429" y="1130"/>
                  </a:lnTo>
                  <a:lnTo>
                    <a:pt x="3438" y="1152"/>
                  </a:lnTo>
                  <a:lnTo>
                    <a:pt x="3450" y="1164"/>
                  </a:lnTo>
                  <a:lnTo>
                    <a:pt x="3466" y="1171"/>
                  </a:lnTo>
                  <a:lnTo>
                    <a:pt x="3488" y="1174"/>
                  </a:lnTo>
                  <a:lnTo>
                    <a:pt x="3504" y="1180"/>
                  </a:lnTo>
                  <a:lnTo>
                    <a:pt x="3510" y="1186"/>
                  </a:lnTo>
                  <a:lnTo>
                    <a:pt x="3513" y="1199"/>
                  </a:lnTo>
                  <a:lnTo>
                    <a:pt x="3519" y="1208"/>
                  </a:lnTo>
                  <a:lnTo>
                    <a:pt x="3519" y="1217"/>
                  </a:lnTo>
                  <a:lnTo>
                    <a:pt x="3522" y="1239"/>
                  </a:lnTo>
                  <a:lnTo>
                    <a:pt x="3522" y="1267"/>
                  </a:lnTo>
                  <a:lnTo>
                    <a:pt x="3519" y="1286"/>
                  </a:lnTo>
                  <a:lnTo>
                    <a:pt x="3513" y="1292"/>
                  </a:lnTo>
                  <a:lnTo>
                    <a:pt x="3507" y="1299"/>
                  </a:lnTo>
                  <a:lnTo>
                    <a:pt x="3500" y="1302"/>
                  </a:lnTo>
                  <a:lnTo>
                    <a:pt x="3494" y="1305"/>
                  </a:lnTo>
                  <a:lnTo>
                    <a:pt x="3488" y="1311"/>
                  </a:lnTo>
                  <a:lnTo>
                    <a:pt x="3485" y="1317"/>
                  </a:lnTo>
                  <a:lnTo>
                    <a:pt x="3485" y="1330"/>
                  </a:lnTo>
                  <a:lnTo>
                    <a:pt x="3494" y="1345"/>
                  </a:lnTo>
                  <a:lnTo>
                    <a:pt x="3504" y="1358"/>
                  </a:lnTo>
                  <a:lnTo>
                    <a:pt x="3510" y="1370"/>
                  </a:lnTo>
                  <a:lnTo>
                    <a:pt x="3522" y="1392"/>
                  </a:lnTo>
                  <a:lnTo>
                    <a:pt x="3535" y="1420"/>
                  </a:lnTo>
                  <a:lnTo>
                    <a:pt x="3547" y="1445"/>
                  </a:lnTo>
                  <a:lnTo>
                    <a:pt x="3553" y="1470"/>
                  </a:lnTo>
                  <a:lnTo>
                    <a:pt x="3557" y="1492"/>
                  </a:lnTo>
                  <a:lnTo>
                    <a:pt x="3553" y="1517"/>
                  </a:lnTo>
                  <a:lnTo>
                    <a:pt x="3553" y="1539"/>
                  </a:lnTo>
                  <a:lnTo>
                    <a:pt x="3563" y="1564"/>
                  </a:lnTo>
                  <a:lnTo>
                    <a:pt x="3575" y="1589"/>
                  </a:lnTo>
                  <a:lnTo>
                    <a:pt x="3585" y="1617"/>
                  </a:lnTo>
                  <a:lnTo>
                    <a:pt x="3594" y="1639"/>
                  </a:lnTo>
                  <a:lnTo>
                    <a:pt x="3594" y="1655"/>
                  </a:lnTo>
                  <a:lnTo>
                    <a:pt x="3597" y="1676"/>
                  </a:lnTo>
                  <a:lnTo>
                    <a:pt x="3591" y="1692"/>
                  </a:lnTo>
                  <a:lnTo>
                    <a:pt x="3578" y="1698"/>
                  </a:lnTo>
                  <a:lnTo>
                    <a:pt x="3563" y="1701"/>
                  </a:lnTo>
                  <a:lnTo>
                    <a:pt x="3544" y="1705"/>
                  </a:lnTo>
                  <a:lnTo>
                    <a:pt x="3532" y="1711"/>
                  </a:lnTo>
                  <a:lnTo>
                    <a:pt x="3525" y="1726"/>
                  </a:lnTo>
                  <a:lnTo>
                    <a:pt x="3519" y="1745"/>
                  </a:lnTo>
                  <a:lnTo>
                    <a:pt x="3519" y="1764"/>
                  </a:lnTo>
                  <a:lnTo>
                    <a:pt x="3528" y="1783"/>
                  </a:lnTo>
                  <a:lnTo>
                    <a:pt x="3544" y="1801"/>
                  </a:lnTo>
                  <a:lnTo>
                    <a:pt x="3560" y="1817"/>
                  </a:lnTo>
                  <a:lnTo>
                    <a:pt x="3572" y="1836"/>
                  </a:lnTo>
                  <a:lnTo>
                    <a:pt x="3591" y="1851"/>
                  </a:lnTo>
                  <a:lnTo>
                    <a:pt x="3603" y="1870"/>
                  </a:lnTo>
                  <a:lnTo>
                    <a:pt x="3607" y="1889"/>
                  </a:lnTo>
                  <a:lnTo>
                    <a:pt x="3603" y="1914"/>
                  </a:lnTo>
                  <a:lnTo>
                    <a:pt x="3600" y="1939"/>
                  </a:lnTo>
                  <a:lnTo>
                    <a:pt x="3594" y="1957"/>
                  </a:lnTo>
                  <a:lnTo>
                    <a:pt x="3591" y="1967"/>
                  </a:lnTo>
                  <a:lnTo>
                    <a:pt x="3585" y="1979"/>
                  </a:lnTo>
                  <a:lnTo>
                    <a:pt x="3578" y="1989"/>
                  </a:lnTo>
                  <a:lnTo>
                    <a:pt x="3572" y="1998"/>
                  </a:lnTo>
                  <a:lnTo>
                    <a:pt x="3569" y="2007"/>
                  </a:lnTo>
                  <a:lnTo>
                    <a:pt x="3563" y="2032"/>
                  </a:lnTo>
                  <a:lnTo>
                    <a:pt x="3557" y="2064"/>
                  </a:lnTo>
                  <a:lnTo>
                    <a:pt x="3553" y="2095"/>
                  </a:lnTo>
                  <a:lnTo>
                    <a:pt x="3560" y="2120"/>
                  </a:lnTo>
                  <a:lnTo>
                    <a:pt x="3572" y="2135"/>
                  </a:lnTo>
                  <a:lnTo>
                    <a:pt x="3594" y="2148"/>
                  </a:lnTo>
                  <a:lnTo>
                    <a:pt x="3613" y="2157"/>
                  </a:lnTo>
                  <a:lnTo>
                    <a:pt x="3635" y="2157"/>
                  </a:lnTo>
                  <a:lnTo>
                    <a:pt x="3657" y="2157"/>
                  </a:lnTo>
                  <a:lnTo>
                    <a:pt x="3675" y="2157"/>
                  </a:lnTo>
                  <a:lnTo>
                    <a:pt x="3682" y="2164"/>
                  </a:lnTo>
                  <a:lnTo>
                    <a:pt x="3691" y="2170"/>
                  </a:lnTo>
                  <a:lnTo>
                    <a:pt x="3697" y="2179"/>
                  </a:lnTo>
                  <a:lnTo>
                    <a:pt x="3703" y="2189"/>
                  </a:lnTo>
                  <a:lnTo>
                    <a:pt x="3713" y="2195"/>
                  </a:lnTo>
                  <a:lnTo>
                    <a:pt x="3719" y="2201"/>
                  </a:lnTo>
                  <a:lnTo>
                    <a:pt x="3744" y="2204"/>
                  </a:lnTo>
                  <a:lnTo>
                    <a:pt x="3775" y="2201"/>
                  </a:lnTo>
                  <a:lnTo>
                    <a:pt x="3803" y="2195"/>
                  </a:lnTo>
                  <a:lnTo>
                    <a:pt x="3828" y="2182"/>
                  </a:lnTo>
                  <a:lnTo>
                    <a:pt x="3828" y="2179"/>
                  </a:lnTo>
                  <a:lnTo>
                    <a:pt x="3831" y="2173"/>
                  </a:lnTo>
                  <a:lnTo>
                    <a:pt x="3835" y="2167"/>
                  </a:lnTo>
                  <a:lnTo>
                    <a:pt x="3835" y="2160"/>
                  </a:lnTo>
                  <a:lnTo>
                    <a:pt x="3838" y="2157"/>
                  </a:lnTo>
                  <a:lnTo>
                    <a:pt x="3844" y="2157"/>
                  </a:lnTo>
                  <a:lnTo>
                    <a:pt x="3853" y="2157"/>
                  </a:lnTo>
                  <a:lnTo>
                    <a:pt x="3859" y="2160"/>
                  </a:lnTo>
                  <a:lnTo>
                    <a:pt x="3869" y="2167"/>
                  </a:lnTo>
                  <a:lnTo>
                    <a:pt x="3875" y="2170"/>
                  </a:lnTo>
                  <a:lnTo>
                    <a:pt x="3878" y="2176"/>
                  </a:lnTo>
                  <a:lnTo>
                    <a:pt x="3881" y="2185"/>
                  </a:lnTo>
                  <a:lnTo>
                    <a:pt x="3878" y="2201"/>
                  </a:lnTo>
                  <a:lnTo>
                    <a:pt x="3878" y="2217"/>
                  </a:lnTo>
                  <a:lnTo>
                    <a:pt x="3878" y="2229"/>
                  </a:lnTo>
                  <a:lnTo>
                    <a:pt x="3884" y="2235"/>
                  </a:lnTo>
                  <a:lnTo>
                    <a:pt x="3891" y="2242"/>
                  </a:lnTo>
                  <a:lnTo>
                    <a:pt x="3897" y="2251"/>
                  </a:lnTo>
                  <a:lnTo>
                    <a:pt x="3906" y="2257"/>
                  </a:lnTo>
                  <a:lnTo>
                    <a:pt x="3913" y="2263"/>
                  </a:lnTo>
                  <a:lnTo>
                    <a:pt x="3919" y="2282"/>
                  </a:lnTo>
                  <a:lnTo>
                    <a:pt x="3925" y="2304"/>
                  </a:lnTo>
                  <a:lnTo>
                    <a:pt x="3931" y="2329"/>
                  </a:lnTo>
                  <a:lnTo>
                    <a:pt x="3938" y="2348"/>
                  </a:lnTo>
                  <a:lnTo>
                    <a:pt x="3953" y="2363"/>
                  </a:lnTo>
                  <a:lnTo>
                    <a:pt x="3972" y="2379"/>
                  </a:lnTo>
                  <a:lnTo>
                    <a:pt x="3991" y="2385"/>
                  </a:lnTo>
                  <a:lnTo>
                    <a:pt x="4006" y="2382"/>
                  </a:lnTo>
                  <a:lnTo>
                    <a:pt x="4025" y="2373"/>
                  </a:lnTo>
                  <a:lnTo>
                    <a:pt x="4044" y="2363"/>
                  </a:lnTo>
                  <a:lnTo>
                    <a:pt x="4059" y="2360"/>
                  </a:lnTo>
                  <a:lnTo>
                    <a:pt x="4069" y="2363"/>
                  </a:lnTo>
                  <a:lnTo>
                    <a:pt x="4075" y="2373"/>
                  </a:lnTo>
                  <a:lnTo>
                    <a:pt x="4081" y="2379"/>
                  </a:lnTo>
                  <a:lnTo>
                    <a:pt x="4084" y="2388"/>
                  </a:lnTo>
                  <a:lnTo>
                    <a:pt x="4091" y="2395"/>
                  </a:lnTo>
                  <a:lnTo>
                    <a:pt x="4097" y="2410"/>
                  </a:lnTo>
                  <a:lnTo>
                    <a:pt x="4106" y="2432"/>
                  </a:lnTo>
                  <a:lnTo>
                    <a:pt x="4116" y="2451"/>
                  </a:lnTo>
                  <a:lnTo>
                    <a:pt x="4116" y="2470"/>
                  </a:lnTo>
                  <a:lnTo>
                    <a:pt x="4106" y="2485"/>
                  </a:lnTo>
                  <a:lnTo>
                    <a:pt x="4091" y="2507"/>
                  </a:lnTo>
                  <a:lnTo>
                    <a:pt x="4078" y="2523"/>
                  </a:lnTo>
                  <a:lnTo>
                    <a:pt x="4075" y="2545"/>
                  </a:lnTo>
                  <a:lnTo>
                    <a:pt x="4072" y="2573"/>
                  </a:lnTo>
                  <a:lnTo>
                    <a:pt x="4078" y="2594"/>
                  </a:lnTo>
                  <a:lnTo>
                    <a:pt x="4084" y="2601"/>
                  </a:lnTo>
                  <a:lnTo>
                    <a:pt x="4091" y="2610"/>
                  </a:lnTo>
                  <a:lnTo>
                    <a:pt x="4100" y="2616"/>
                  </a:lnTo>
                  <a:lnTo>
                    <a:pt x="4109" y="2623"/>
                  </a:lnTo>
                  <a:lnTo>
                    <a:pt x="4119" y="2626"/>
                  </a:lnTo>
                  <a:lnTo>
                    <a:pt x="4125" y="2635"/>
                  </a:lnTo>
                  <a:lnTo>
                    <a:pt x="4134" y="2644"/>
                  </a:lnTo>
                  <a:lnTo>
                    <a:pt x="4144" y="2657"/>
                  </a:lnTo>
                  <a:lnTo>
                    <a:pt x="4153" y="2666"/>
                  </a:lnTo>
                  <a:lnTo>
                    <a:pt x="4159" y="2673"/>
                  </a:lnTo>
                  <a:lnTo>
                    <a:pt x="4175" y="2676"/>
                  </a:lnTo>
                  <a:lnTo>
                    <a:pt x="4194" y="2676"/>
                  </a:lnTo>
                  <a:lnTo>
                    <a:pt x="4212" y="2673"/>
                  </a:lnTo>
                  <a:lnTo>
                    <a:pt x="4206" y="2685"/>
                  </a:lnTo>
                  <a:lnTo>
                    <a:pt x="4203" y="2698"/>
                  </a:lnTo>
                  <a:lnTo>
                    <a:pt x="4200" y="2707"/>
                  </a:lnTo>
                  <a:lnTo>
                    <a:pt x="4197" y="2716"/>
                  </a:lnTo>
                  <a:lnTo>
                    <a:pt x="4197" y="2738"/>
                  </a:lnTo>
                  <a:lnTo>
                    <a:pt x="4200" y="2766"/>
                  </a:lnTo>
                  <a:lnTo>
                    <a:pt x="4206" y="2791"/>
                  </a:lnTo>
                  <a:lnTo>
                    <a:pt x="4212" y="2813"/>
                  </a:lnTo>
                  <a:lnTo>
                    <a:pt x="4228" y="2835"/>
                  </a:lnTo>
                  <a:lnTo>
                    <a:pt x="4250" y="2857"/>
                  </a:lnTo>
                  <a:lnTo>
                    <a:pt x="4272" y="2872"/>
                  </a:lnTo>
                  <a:lnTo>
                    <a:pt x="4278" y="2875"/>
                  </a:lnTo>
                  <a:lnTo>
                    <a:pt x="4287" y="2875"/>
                  </a:lnTo>
                  <a:lnTo>
                    <a:pt x="4297" y="2879"/>
                  </a:lnTo>
                  <a:lnTo>
                    <a:pt x="4306" y="2879"/>
                  </a:lnTo>
                  <a:lnTo>
                    <a:pt x="4315" y="2882"/>
                  </a:lnTo>
                  <a:lnTo>
                    <a:pt x="4322" y="2885"/>
                  </a:lnTo>
                  <a:lnTo>
                    <a:pt x="4334" y="2900"/>
                  </a:lnTo>
                  <a:lnTo>
                    <a:pt x="4347" y="2925"/>
                  </a:lnTo>
                  <a:lnTo>
                    <a:pt x="4356" y="2950"/>
                  </a:lnTo>
                  <a:lnTo>
                    <a:pt x="4365" y="2972"/>
                  </a:lnTo>
                  <a:lnTo>
                    <a:pt x="4372" y="2994"/>
                  </a:lnTo>
                  <a:lnTo>
                    <a:pt x="4378" y="3019"/>
                  </a:lnTo>
                  <a:lnTo>
                    <a:pt x="4384" y="3044"/>
                  </a:lnTo>
                  <a:lnTo>
                    <a:pt x="4393" y="3063"/>
                  </a:lnTo>
                  <a:lnTo>
                    <a:pt x="4400" y="3069"/>
                  </a:lnTo>
                  <a:lnTo>
                    <a:pt x="4409" y="3078"/>
                  </a:lnTo>
                  <a:lnTo>
                    <a:pt x="4418" y="3085"/>
                  </a:lnTo>
                  <a:lnTo>
                    <a:pt x="4428" y="3091"/>
                  </a:lnTo>
                  <a:lnTo>
                    <a:pt x="4434" y="3097"/>
                  </a:lnTo>
                  <a:lnTo>
                    <a:pt x="4443" y="3122"/>
                  </a:lnTo>
                  <a:lnTo>
                    <a:pt x="4447" y="3153"/>
                  </a:lnTo>
                  <a:lnTo>
                    <a:pt x="4447" y="3185"/>
                  </a:lnTo>
                  <a:lnTo>
                    <a:pt x="4447" y="3213"/>
                  </a:lnTo>
                  <a:lnTo>
                    <a:pt x="4437" y="3241"/>
                  </a:lnTo>
                  <a:lnTo>
                    <a:pt x="4425" y="3272"/>
                  </a:lnTo>
                  <a:lnTo>
                    <a:pt x="4409" y="3306"/>
                  </a:lnTo>
                  <a:lnTo>
                    <a:pt x="4397" y="3331"/>
                  </a:lnTo>
                  <a:lnTo>
                    <a:pt x="4381" y="3359"/>
                  </a:lnTo>
                  <a:lnTo>
                    <a:pt x="4359" y="3388"/>
                  </a:lnTo>
                  <a:lnTo>
                    <a:pt x="4340" y="3409"/>
                  </a:lnTo>
                  <a:lnTo>
                    <a:pt x="4319" y="3425"/>
                  </a:lnTo>
                  <a:lnTo>
                    <a:pt x="4290" y="3441"/>
                  </a:lnTo>
                  <a:lnTo>
                    <a:pt x="4262" y="3450"/>
                  </a:lnTo>
                  <a:lnTo>
                    <a:pt x="4240" y="3450"/>
                  </a:lnTo>
                  <a:lnTo>
                    <a:pt x="4212" y="3444"/>
                  </a:lnTo>
                  <a:lnTo>
                    <a:pt x="4187" y="3438"/>
                  </a:lnTo>
                  <a:lnTo>
                    <a:pt x="4166" y="3441"/>
                  </a:lnTo>
                  <a:lnTo>
                    <a:pt x="4147" y="3450"/>
                  </a:lnTo>
                  <a:lnTo>
                    <a:pt x="4125" y="3472"/>
                  </a:lnTo>
                  <a:lnTo>
                    <a:pt x="4109" y="3494"/>
                  </a:lnTo>
                  <a:lnTo>
                    <a:pt x="4103" y="3512"/>
                  </a:lnTo>
                  <a:lnTo>
                    <a:pt x="4106" y="3528"/>
                  </a:lnTo>
                  <a:lnTo>
                    <a:pt x="4116" y="3550"/>
                  </a:lnTo>
                  <a:lnTo>
                    <a:pt x="4128" y="3569"/>
                  </a:lnTo>
                  <a:lnTo>
                    <a:pt x="4141" y="3581"/>
                  </a:lnTo>
                  <a:lnTo>
                    <a:pt x="4147" y="3587"/>
                  </a:lnTo>
                  <a:lnTo>
                    <a:pt x="4156" y="3594"/>
                  </a:lnTo>
                  <a:lnTo>
                    <a:pt x="4166" y="3600"/>
                  </a:lnTo>
                  <a:lnTo>
                    <a:pt x="4175" y="3603"/>
                  </a:lnTo>
                  <a:lnTo>
                    <a:pt x="4178" y="3609"/>
                  </a:lnTo>
                  <a:lnTo>
                    <a:pt x="4187" y="3631"/>
                  </a:lnTo>
                  <a:lnTo>
                    <a:pt x="4194" y="3659"/>
                  </a:lnTo>
                  <a:lnTo>
                    <a:pt x="4194" y="3681"/>
                  </a:lnTo>
                  <a:lnTo>
                    <a:pt x="4184" y="3700"/>
                  </a:lnTo>
                  <a:lnTo>
                    <a:pt x="4172" y="3722"/>
                  </a:lnTo>
                  <a:lnTo>
                    <a:pt x="4162" y="3740"/>
                  </a:lnTo>
                  <a:lnTo>
                    <a:pt x="4162" y="3759"/>
                  </a:lnTo>
                  <a:lnTo>
                    <a:pt x="4169" y="3784"/>
                  </a:lnTo>
                  <a:lnTo>
                    <a:pt x="4178" y="3806"/>
                  </a:lnTo>
                  <a:lnTo>
                    <a:pt x="4184" y="3825"/>
                  </a:lnTo>
                  <a:lnTo>
                    <a:pt x="4187" y="3831"/>
                  </a:lnTo>
                  <a:lnTo>
                    <a:pt x="4191" y="3837"/>
                  </a:lnTo>
                  <a:lnTo>
                    <a:pt x="4181" y="3837"/>
                  </a:lnTo>
                  <a:lnTo>
                    <a:pt x="4169" y="3837"/>
                  </a:lnTo>
                  <a:lnTo>
                    <a:pt x="4159" y="3837"/>
                  </a:lnTo>
                  <a:lnTo>
                    <a:pt x="4141" y="3834"/>
                  </a:lnTo>
                  <a:lnTo>
                    <a:pt x="4116" y="3831"/>
                  </a:lnTo>
                  <a:lnTo>
                    <a:pt x="4094" y="3828"/>
                  </a:lnTo>
                  <a:lnTo>
                    <a:pt x="4075" y="3822"/>
                  </a:lnTo>
                  <a:lnTo>
                    <a:pt x="4066" y="3809"/>
                  </a:lnTo>
                  <a:lnTo>
                    <a:pt x="4059" y="3787"/>
                  </a:lnTo>
                  <a:lnTo>
                    <a:pt x="4050" y="3769"/>
                  </a:lnTo>
                  <a:lnTo>
                    <a:pt x="4041" y="3753"/>
                  </a:lnTo>
                  <a:lnTo>
                    <a:pt x="4022" y="3744"/>
                  </a:lnTo>
                  <a:lnTo>
                    <a:pt x="4000" y="3731"/>
                  </a:lnTo>
                  <a:lnTo>
                    <a:pt x="3981" y="3719"/>
                  </a:lnTo>
                  <a:lnTo>
                    <a:pt x="3978" y="3706"/>
                  </a:lnTo>
                  <a:lnTo>
                    <a:pt x="3975" y="3687"/>
                  </a:lnTo>
                  <a:lnTo>
                    <a:pt x="3972" y="3669"/>
                  </a:lnTo>
                  <a:lnTo>
                    <a:pt x="3966" y="3656"/>
                  </a:lnTo>
                  <a:lnTo>
                    <a:pt x="3950" y="3644"/>
                  </a:lnTo>
                  <a:lnTo>
                    <a:pt x="3925" y="3634"/>
                  </a:lnTo>
                  <a:lnTo>
                    <a:pt x="3900" y="3628"/>
                  </a:lnTo>
                  <a:lnTo>
                    <a:pt x="3878" y="3628"/>
                  </a:lnTo>
                  <a:lnTo>
                    <a:pt x="3869" y="3644"/>
                  </a:lnTo>
                  <a:lnTo>
                    <a:pt x="3863" y="3662"/>
                  </a:lnTo>
                  <a:lnTo>
                    <a:pt x="3853" y="3684"/>
                  </a:lnTo>
                  <a:lnTo>
                    <a:pt x="3844" y="3697"/>
                  </a:lnTo>
                  <a:lnTo>
                    <a:pt x="3831" y="3697"/>
                  </a:lnTo>
                  <a:lnTo>
                    <a:pt x="3816" y="3687"/>
                  </a:lnTo>
                  <a:lnTo>
                    <a:pt x="3800" y="3681"/>
                  </a:lnTo>
                  <a:lnTo>
                    <a:pt x="3788" y="3675"/>
                  </a:lnTo>
                  <a:lnTo>
                    <a:pt x="3769" y="3669"/>
                  </a:lnTo>
                  <a:lnTo>
                    <a:pt x="3741" y="3662"/>
                  </a:lnTo>
                  <a:lnTo>
                    <a:pt x="3713" y="3656"/>
                  </a:lnTo>
                  <a:lnTo>
                    <a:pt x="3688" y="3650"/>
                  </a:lnTo>
                  <a:lnTo>
                    <a:pt x="3669" y="3644"/>
                  </a:lnTo>
                  <a:lnTo>
                    <a:pt x="3663" y="3641"/>
                  </a:lnTo>
                  <a:lnTo>
                    <a:pt x="3663" y="3628"/>
                  </a:lnTo>
                  <a:lnTo>
                    <a:pt x="3666" y="3603"/>
                  </a:lnTo>
                  <a:lnTo>
                    <a:pt x="3669" y="3575"/>
                  </a:lnTo>
                  <a:lnTo>
                    <a:pt x="3669" y="3550"/>
                  </a:lnTo>
                  <a:lnTo>
                    <a:pt x="3663" y="3531"/>
                  </a:lnTo>
                  <a:lnTo>
                    <a:pt x="3647" y="3519"/>
                  </a:lnTo>
                  <a:lnTo>
                    <a:pt x="3622" y="3509"/>
                  </a:lnTo>
                  <a:lnTo>
                    <a:pt x="3603" y="3506"/>
                  </a:lnTo>
                  <a:lnTo>
                    <a:pt x="3585" y="3506"/>
                  </a:lnTo>
                  <a:lnTo>
                    <a:pt x="3566" y="3506"/>
                  </a:lnTo>
                  <a:lnTo>
                    <a:pt x="3544" y="3509"/>
                  </a:lnTo>
                  <a:lnTo>
                    <a:pt x="3525" y="3509"/>
                  </a:lnTo>
                  <a:lnTo>
                    <a:pt x="3519" y="3506"/>
                  </a:lnTo>
                  <a:lnTo>
                    <a:pt x="3519" y="3497"/>
                  </a:lnTo>
                  <a:lnTo>
                    <a:pt x="3513" y="3481"/>
                  </a:lnTo>
                  <a:lnTo>
                    <a:pt x="3507" y="3459"/>
                  </a:lnTo>
                  <a:lnTo>
                    <a:pt x="3504" y="3447"/>
                  </a:lnTo>
                  <a:lnTo>
                    <a:pt x="3507" y="3419"/>
                  </a:lnTo>
                  <a:lnTo>
                    <a:pt x="3513" y="3388"/>
                  </a:lnTo>
                  <a:lnTo>
                    <a:pt x="3513" y="3363"/>
                  </a:lnTo>
                  <a:lnTo>
                    <a:pt x="3510" y="3344"/>
                  </a:lnTo>
                  <a:lnTo>
                    <a:pt x="3504" y="3319"/>
                  </a:lnTo>
                  <a:lnTo>
                    <a:pt x="3497" y="3294"/>
                  </a:lnTo>
                  <a:lnTo>
                    <a:pt x="3491" y="3272"/>
                  </a:lnTo>
                  <a:lnTo>
                    <a:pt x="3491" y="3256"/>
                  </a:lnTo>
                  <a:lnTo>
                    <a:pt x="3494" y="3235"/>
                  </a:lnTo>
                  <a:lnTo>
                    <a:pt x="3494" y="3213"/>
                  </a:lnTo>
                  <a:lnTo>
                    <a:pt x="3491" y="3194"/>
                  </a:lnTo>
                  <a:lnTo>
                    <a:pt x="3479" y="3175"/>
                  </a:lnTo>
                  <a:lnTo>
                    <a:pt x="3460" y="3157"/>
                  </a:lnTo>
                  <a:lnTo>
                    <a:pt x="3444" y="3144"/>
                  </a:lnTo>
                  <a:lnTo>
                    <a:pt x="3422" y="3132"/>
                  </a:lnTo>
                  <a:lnTo>
                    <a:pt x="3397" y="3125"/>
                  </a:lnTo>
                  <a:lnTo>
                    <a:pt x="3375" y="3119"/>
                  </a:lnTo>
                  <a:lnTo>
                    <a:pt x="3347" y="3116"/>
                  </a:lnTo>
                  <a:lnTo>
                    <a:pt x="3316" y="3113"/>
                  </a:lnTo>
                  <a:lnTo>
                    <a:pt x="3279" y="3110"/>
                  </a:lnTo>
                  <a:lnTo>
                    <a:pt x="3247" y="3113"/>
                  </a:lnTo>
                  <a:lnTo>
                    <a:pt x="3222" y="3119"/>
                  </a:lnTo>
                  <a:lnTo>
                    <a:pt x="3216" y="3125"/>
                  </a:lnTo>
                  <a:lnTo>
                    <a:pt x="3213" y="3132"/>
                  </a:lnTo>
                  <a:lnTo>
                    <a:pt x="3207" y="3141"/>
                  </a:lnTo>
                  <a:lnTo>
                    <a:pt x="3204" y="3150"/>
                  </a:lnTo>
                  <a:lnTo>
                    <a:pt x="3197" y="3160"/>
                  </a:lnTo>
                  <a:lnTo>
                    <a:pt x="3191" y="3163"/>
                  </a:lnTo>
                  <a:lnTo>
                    <a:pt x="3173" y="3169"/>
                  </a:lnTo>
                  <a:lnTo>
                    <a:pt x="3151" y="3175"/>
                  </a:lnTo>
                  <a:lnTo>
                    <a:pt x="3126" y="3178"/>
                  </a:lnTo>
                  <a:lnTo>
                    <a:pt x="3110" y="3188"/>
                  </a:lnTo>
                  <a:lnTo>
                    <a:pt x="3107" y="3200"/>
                  </a:lnTo>
                  <a:lnTo>
                    <a:pt x="3110" y="3216"/>
                  </a:lnTo>
                  <a:lnTo>
                    <a:pt x="3110" y="3235"/>
                  </a:lnTo>
                  <a:lnTo>
                    <a:pt x="3110" y="3247"/>
                  </a:lnTo>
                  <a:lnTo>
                    <a:pt x="3091" y="3263"/>
                  </a:lnTo>
                  <a:lnTo>
                    <a:pt x="3066" y="3278"/>
                  </a:lnTo>
                  <a:lnTo>
                    <a:pt x="3044" y="3294"/>
                  </a:lnTo>
                  <a:lnTo>
                    <a:pt x="3041" y="3300"/>
                  </a:lnTo>
                  <a:lnTo>
                    <a:pt x="3035" y="3310"/>
                  </a:lnTo>
                  <a:lnTo>
                    <a:pt x="3032" y="3319"/>
                  </a:lnTo>
                  <a:lnTo>
                    <a:pt x="3026" y="3328"/>
                  </a:lnTo>
                  <a:lnTo>
                    <a:pt x="3019" y="3335"/>
                  </a:lnTo>
                  <a:lnTo>
                    <a:pt x="3001" y="3338"/>
                  </a:lnTo>
                  <a:lnTo>
                    <a:pt x="2976" y="3338"/>
                  </a:lnTo>
                  <a:lnTo>
                    <a:pt x="2954" y="3335"/>
                  </a:lnTo>
                  <a:lnTo>
                    <a:pt x="2938" y="3328"/>
                  </a:lnTo>
                  <a:lnTo>
                    <a:pt x="2920" y="3319"/>
                  </a:lnTo>
                  <a:lnTo>
                    <a:pt x="2904" y="3313"/>
                  </a:lnTo>
                  <a:lnTo>
                    <a:pt x="2898" y="3316"/>
                  </a:lnTo>
                  <a:lnTo>
                    <a:pt x="2888" y="3319"/>
                  </a:lnTo>
                  <a:lnTo>
                    <a:pt x="2879" y="3322"/>
                  </a:lnTo>
                  <a:lnTo>
                    <a:pt x="2873" y="3325"/>
                  </a:lnTo>
                  <a:lnTo>
                    <a:pt x="2863" y="3328"/>
                  </a:lnTo>
                  <a:lnTo>
                    <a:pt x="2857" y="3328"/>
                  </a:lnTo>
                  <a:lnTo>
                    <a:pt x="2841" y="3316"/>
                  </a:lnTo>
                  <a:lnTo>
                    <a:pt x="2829" y="3294"/>
                  </a:lnTo>
                  <a:lnTo>
                    <a:pt x="2820" y="3275"/>
                  </a:lnTo>
                  <a:lnTo>
                    <a:pt x="2813" y="3256"/>
                  </a:lnTo>
                  <a:lnTo>
                    <a:pt x="2813" y="3231"/>
                  </a:lnTo>
                  <a:lnTo>
                    <a:pt x="2813" y="3210"/>
                  </a:lnTo>
                  <a:lnTo>
                    <a:pt x="2810" y="3185"/>
                  </a:lnTo>
                  <a:lnTo>
                    <a:pt x="2801" y="3169"/>
                  </a:lnTo>
                  <a:lnTo>
                    <a:pt x="2785" y="3160"/>
                  </a:lnTo>
                  <a:lnTo>
                    <a:pt x="2760" y="3153"/>
                  </a:lnTo>
                  <a:lnTo>
                    <a:pt x="2735" y="3147"/>
                  </a:lnTo>
                  <a:lnTo>
                    <a:pt x="2717" y="3141"/>
                  </a:lnTo>
                  <a:lnTo>
                    <a:pt x="2707" y="3135"/>
                  </a:lnTo>
                  <a:lnTo>
                    <a:pt x="2698" y="3128"/>
                  </a:lnTo>
                  <a:lnTo>
                    <a:pt x="2685" y="3122"/>
                  </a:lnTo>
                  <a:lnTo>
                    <a:pt x="2679" y="3113"/>
                  </a:lnTo>
                  <a:lnTo>
                    <a:pt x="2673" y="3103"/>
                  </a:lnTo>
                  <a:lnTo>
                    <a:pt x="2673" y="3085"/>
                  </a:lnTo>
                  <a:lnTo>
                    <a:pt x="2679" y="3060"/>
                  </a:lnTo>
                  <a:lnTo>
                    <a:pt x="2685" y="3038"/>
                  </a:lnTo>
                  <a:lnTo>
                    <a:pt x="2685" y="3016"/>
                  </a:lnTo>
                  <a:lnTo>
                    <a:pt x="2682" y="2991"/>
                  </a:lnTo>
                  <a:lnTo>
                    <a:pt x="2673" y="2966"/>
                  </a:lnTo>
                  <a:lnTo>
                    <a:pt x="2660" y="2944"/>
                  </a:lnTo>
                  <a:lnTo>
                    <a:pt x="2654" y="2938"/>
                  </a:lnTo>
                  <a:lnTo>
                    <a:pt x="2645" y="2932"/>
                  </a:lnTo>
                  <a:lnTo>
                    <a:pt x="2632" y="2925"/>
                  </a:lnTo>
                  <a:lnTo>
                    <a:pt x="2626" y="2922"/>
                  </a:lnTo>
                  <a:lnTo>
                    <a:pt x="2607" y="2910"/>
                  </a:lnTo>
                  <a:lnTo>
                    <a:pt x="2582" y="2897"/>
                  </a:lnTo>
                  <a:lnTo>
                    <a:pt x="2564" y="2891"/>
                  </a:lnTo>
                  <a:lnTo>
                    <a:pt x="2551" y="2888"/>
                  </a:lnTo>
                  <a:lnTo>
                    <a:pt x="2535" y="2885"/>
                  </a:lnTo>
                  <a:lnTo>
                    <a:pt x="2520" y="2885"/>
                  </a:lnTo>
                  <a:lnTo>
                    <a:pt x="2507" y="2891"/>
                  </a:lnTo>
                  <a:lnTo>
                    <a:pt x="2504" y="2904"/>
                  </a:lnTo>
                  <a:lnTo>
                    <a:pt x="2510" y="2919"/>
                  </a:lnTo>
                  <a:lnTo>
                    <a:pt x="2517" y="2938"/>
                  </a:lnTo>
                  <a:lnTo>
                    <a:pt x="2523" y="2957"/>
                  </a:lnTo>
                  <a:lnTo>
                    <a:pt x="2523" y="2969"/>
                  </a:lnTo>
                  <a:lnTo>
                    <a:pt x="2520" y="2975"/>
                  </a:lnTo>
                  <a:lnTo>
                    <a:pt x="2514" y="2982"/>
                  </a:lnTo>
                  <a:lnTo>
                    <a:pt x="2507" y="2988"/>
                  </a:lnTo>
                  <a:lnTo>
                    <a:pt x="2501" y="2991"/>
                  </a:lnTo>
                  <a:lnTo>
                    <a:pt x="2498" y="2994"/>
                  </a:lnTo>
                  <a:lnTo>
                    <a:pt x="2479" y="2991"/>
                  </a:lnTo>
                  <a:lnTo>
                    <a:pt x="2457" y="2982"/>
                  </a:lnTo>
                  <a:lnTo>
                    <a:pt x="2442" y="2975"/>
                  </a:lnTo>
                  <a:lnTo>
                    <a:pt x="2432" y="2979"/>
                  </a:lnTo>
                  <a:lnTo>
                    <a:pt x="2420" y="2982"/>
                  </a:lnTo>
                  <a:lnTo>
                    <a:pt x="2407" y="2985"/>
                  </a:lnTo>
                  <a:lnTo>
                    <a:pt x="2398" y="2991"/>
                  </a:lnTo>
                  <a:lnTo>
                    <a:pt x="2392" y="3000"/>
                  </a:lnTo>
                  <a:lnTo>
                    <a:pt x="2389" y="3004"/>
                  </a:lnTo>
                  <a:lnTo>
                    <a:pt x="2392" y="3010"/>
                  </a:lnTo>
                  <a:lnTo>
                    <a:pt x="2392" y="3019"/>
                  </a:lnTo>
                  <a:lnTo>
                    <a:pt x="2392" y="3025"/>
                  </a:lnTo>
                  <a:lnTo>
                    <a:pt x="2392" y="3032"/>
                  </a:lnTo>
                  <a:lnTo>
                    <a:pt x="2392" y="3038"/>
                  </a:lnTo>
                  <a:lnTo>
                    <a:pt x="2376" y="3044"/>
                  </a:lnTo>
                  <a:lnTo>
                    <a:pt x="2354" y="3044"/>
                  </a:lnTo>
                  <a:lnTo>
                    <a:pt x="2332" y="3044"/>
                  </a:lnTo>
                  <a:lnTo>
                    <a:pt x="2314" y="3038"/>
                  </a:lnTo>
                  <a:lnTo>
                    <a:pt x="2295" y="3028"/>
                  </a:lnTo>
                  <a:lnTo>
                    <a:pt x="2273" y="3010"/>
                  </a:lnTo>
                  <a:lnTo>
                    <a:pt x="2254" y="2997"/>
                  </a:lnTo>
                  <a:lnTo>
                    <a:pt x="2233" y="2991"/>
                  </a:lnTo>
                  <a:lnTo>
                    <a:pt x="2204" y="2985"/>
                  </a:lnTo>
                  <a:lnTo>
                    <a:pt x="2179" y="2979"/>
                  </a:lnTo>
                  <a:lnTo>
                    <a:pt x="2158" y="2979"/>
                  </a:lnTo>
                  <a:lnTo>
                    <a:pt x="2133" y="2985"/>
                  </a:lnTo>
                  <a:lnTo>
                    <a:pt x="2101" y="2997"/>
                  </a:lnTo>
                  <a:lnTo>
                    <a:pt x="2073" y="3013"/>
                  </a:lnTo>
                  <a:lnTo>
                    <a:pt x="2055" y="3028"/>
                  </a:lnTo>
                  <a:lnTo>
                    <a:pt x="2055" y="3035"/>
                  </a:lnTo>
                  <a:lnTo>
                    <a:pt x="2055" y="3041"/>
                  </a:lnTo>
                  <a:lnTo>
                    <a:pt x="2055" y="3050"/>
                  </a:lnTo>
                  <a:lnTo>
                    <a:pt x="2058" y="3057"/>
                  </a:lnTo>
                  <a:lnTo>
                    <a:pt x="2058" y="3066"/>
                  </a:lnTo>
                  <a:lnTo>
                    <a:pt x="2058" y="3072"/>
                  </a:lnTo>
                  <a:lnTo>
                    <a:pt x="2055" y="3075"/>
                  </a:lnTo>
                  <a:lnTo>
                    <a:pt x="2039" y="3085"/>
                  </a:lnTo>
                  <a:lnTo>
                    <a:pt x="2017" y="3088"/>
                  </a:lnTo>
                  <a:lnTo>
                    <a:pt x="1989" y="3088"/>
                  </a:lnTo>
                  <a:lnTo>
                    <a:pt x="1964" y="3088"/>
                  </a:lnTo>
                  <a:lnTo>
                    <a:pt x="1945" y="3091"/>
                  </a:lnTo>
                  <a:lnTo>
                    <a:pt x="1933" y="3100"/>
                  </a:lnTo>
                  <a:lnTo>
                    <a:pt x="1917" y="3110"/>
                  </a:lnTo>
                  <a:lnTo>
                    <a:pt x="1902" y="3122"/>
                  </a:lnTo>
                  <a:lnTo>
                    <a:pt x="1886" y="3122"/>
                  </a:lnTo>
                  <a:lnTo>
                    <a:pt x="1880" y="3116"/>
                  </a:lnTo>
                  <a:lnTo>
                    <a:pt x="1873" y="3100"/>
                  </a:lnTo>
                  <a:lnTo>
                    <a:pt x="1867" y="3082"/>
                  </a:lnTo>
                  <a:lnTo>
                    <a:pt x="1864" y="3066"/>
                  </a:lnTo>
                  <a:lnTo>
                    <a:pt x="1855" y="3053"/>
                  </a:lnTo>
                  <a:lnTo>
                    <a:pt x="1848" y="3053"/>
                  </a:lnTo>
                  <a:lnTo>
                    <a:pt x="1839" y="3050"/>
                  </a:lnTo>
                  <a:lnTo>
                    <a:pt x="1830" y="3050"/>
                  </a:lnTo>
                  <a:lnTo>
                    <a:pt x="1820" y="3050"/>
                  </a:lnTo>
                  <a:lnTo>
                    <a:pt x="1814" y="3053"/>
                  </a:lnTo>
                  <a:lnTo>
                    <a:pt x="1808" y="3057"/>
                  </a:lnTo>
                  <a:lnTo>
                    <a:pt x="1802" y="3069"/>
                  </a:lnTo>
                  <a:lnTo>
                    <a:pt x="1802" y="3085"/>
                  </a:lnTo>
                  <a:lnTo>
                    <a:pt x="1799" y="3100"/>
                  </a:lnTo>
                  <a:lnTo>
                    <a:pt x="1799" y="3113"/>
                  </a:lnTo>
                  <a:lnTo>
                    <a:pt x="1792" y="3122"/>
                  </a:lnTo>
                  <a:lnTo>
                    <a:pt x="1786" y="3128"/>
                  </a:lnTo>
                  <a:lnTo>
                    <a:pt x="1780" y="3135"/>
                  </a:lnTo>
                  <a:lnTo>
                    <a:pt x="1774" y="3138"/>
                  </a:lnTo>
                  <a:lnTo>
                    <a:pt x="1752" y="3141"/>
                  </a:lnTo>
                  <a:lnTo>
                    <a:pt x="1727" y="3138"/>
                  </a:lnTo>
                  <a:lnTo>
                    <a:pt x="1702" y="3132"/>
                  </a:lnTo>
                  <a:lnTo>
                    <a:pt x="1683" y="3122"/>
                  </a:lnTo>
                  <a:lnTo>
                    <a:pt x="1680" y="3116"/>
                  </a:lnTo>
                  <a:lnTo>
                    <a:pt x="1674" y="3110"/>
                  </a:lnTo>
                  <a:lnTo>
                    <a:pt x="1667" y="3100"/>
                  </a:lnTo>
                  <a:lnTo>
                    <a:pt x="1661" y="3091"/>
                  </a:lnTo>
                  <a:lnTo>
                    <a:pt x="1655" y="3088"/>
                  </a:lnTo>
                  <a:lnTo>
                    <a:pt x="1639" y="3082"/>
                  </a:lnTo>
                  <a:lnTo>
                    <a:pt x="1617" y="3078"/>
                  </a:lnTo>
                  <a:lnTo>
                    <a:pt x="1596" y="3072"/>
                  </a:lnTo>
                  <a:lnTo>
                    <a:pt x="1580" y="3066"/>
                  </a:lnTo>
                  <a:lnTo>
                    <a:pt x="1577" y="3060"/>
                  </a:lnTo>
                  <a:lnTo>
                    <a:pt x="1574" y="3050"/>
                  </a:lnTo>
                  <a:lnTo>
                    <a:pt x="1574" y="3041"/>
                  </a:lnTo>
                  <a:lnTo>
                    <a:pt x="1571" y="3035"/>
                  </a:lnTo>
                  <a:lnTo>
                    <a:pt x="1567" y="3028"/>
                  </a:lnTo>
                  <a:lnTo>
                    <a:pt x="1561" y="3025"/>
                  </a:lnTo>
                  <a:lnTo>
                    <a:pt x="1552" y="3022"/>
                  </a:lnTo>
                  <a:lnTo>
                    <a:pt x="1546" y="3019"/>
                  </a:lnTo>
                  <a:lnTo>
                    <a:pt x="1536" y="3016"/>
                  </a:lnTo>
                  <a:lnTo>
                    <a:pt x="1530" y="3013"/>
                  </a:lnTo>
                  <a:lnTo>
                    <a:pt x="1511" y="2997"/>
                  </a:lnTo>
                  <a:lnTo>
                    <a:pt x="1489" y="2979"/>
                  </a:lnTo>
                  <a:lnTo>
                    <a:pt x="1471" y="2963"/>
                  </a:lnTo>
                  <a:lnTo>
                    <a:pt x="1452" y="2963"/>
                  </a:lnTo>
                  <a:lnTo>
                    <a:pt x="1430" y="2963"/>
                  </a:lnTo>
                  <a:lnTo>
                    <a:pt x="1411" y="2963"/>
                  </a:lnTo>
                  <a:lnTo>
                    <a:pt x="1402" y="2969"/>
                  </a:lnTo>
                  <a:lnTo>
                    <a:pt x="1393" y="2972"/>
                  </a:lnTo>
                  <a:lnTo>
                    <a:pt x="1383" y="2979"/>
                  </a:lnTo>
                  <a:lnTo>
                    <a:pt x="1374" y="2985"/>
                  </a:lnTo>
                  <a:lnTo>
                    <a:pt x="1364" y="2988"/>
                  </a:lnTo>
                  <a:lnTo>
                    <a:pt x="1339" y="2994"/>
                  </a:lnTo>
                  <a:lnTo>
                    <a:pt x="1311" y="2997"/>
                  </a:lnTo>
                  <a:lnTo>
                    <a:pt x="1286" y="2997"/>
                  </a:lnTo>
                  <a:lnTo>
                    <a:pt x="1261" y="2991"/>
                  </a:lnTo>
                  <a:lnTo>
                    <a:pt x="1230" y="298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4" name="Freeform 18">
              <a:extLst>
                <a:ext uri="{FF2B5EF4-FFF2-40B4-BE49-F238E27FC236}">
                  <a16:creationId xmlns:a16="http://schemas.microsoft.com/office/drawing/2014/main" id="{E68EC982-0F53-4CEC-919A-F3A96907E21F}"/>
                </a:ext>
              </a:extLst>
            </p:cNvPr>
            <p:cNvSpPr>
              <a:spLocks/>
            </p:cNvSpPr>
            <p:nvPr/>
          </p:nvSpPr>
          <p:spPr bwMode="auto">
            <a:xfrm>
              <a:off x="2306638" y="-8956675"/>
              <a:ext cx="233363" cy="292100"/>
            </a:xfrm>
            <a:custGeom>
              <a:avLst/>
              <a:gdLst>
                <a:gd name="T0" fmla="*/ 147 w 147"/>
                <a:gd name="T1" fmla="*/ 84 h 184"/>
                <a:gd name="T2" fmla="*/ 144 w 147"/>
                <a:gd name="T3" fmla="*/ 93 h 184"/>
                <a:gd name="T4" fmla="*/ 141 w 147"/>
                <a:gd name="T5" fmla="*/ 103 h 184"/>
                <a:gd name="T6" fmla="*/ 135 w 147"/>
                <a:gd name="T7" fmla="*/ 112 h 184"/>
                <a:gd name="T8" fmla="*/ 131 w 147"/>
                <a:gd name="T9" fmla="*/ 118 h 184"/>
                <a:gd name="T10" fmla="*/ 125 w 147"/>
                <a:gd name="T11" fmla="*/ 128 h 184"/>
                <a:gd name="T12" fmla="*/ 125 w 147"/>
                <a:gd name="T13" fmla="*/ 134 h 184"/>
                <a:gd name="T14" fmla="*/ 122 w 147"/>
                <a:gd name="T15" fmla="*/ 143 h 184"/>
                <a:gd name="T16" fmla="*/ 122 w 147"/>
                <a:gd name="T17" fmla="*/ 149 h 184"/>
                <a:gd name="T18" fmla="*/ 119 w 147"/>
                <a:gd name="T19" fmla="*/ 159 h 184"/>
                <a:gd name="T20" fmla="*/ 116 w 147"/>
                <a:gd name="T21" fmla="*/ 168 h 184"/>
                <a:gd name="T22" fmla="*/ 113 w 147"/>
                <a:gd name="T23" fmla="*/ 171 h 184"/>
                <a:gd name="T24" fmla="*/ 94 w 147"/>
                <a:gd name="T25" fmla="*/ 181 h 184"/>
                <a:gd name="T26" fmla="*/ 69 w 147"/>
                <a:gd name="T27" fmla="*/ 184 h 184"/>
                <a:gd name="T28" fmla="*/ 44 w 147"/>
                <a:gd name="T29" fmla="*/ 181 h 184"/>
                <a:gd name="T30" fmla="*/ 28 w 147"/>
                <a:gd name="T31" fmla="*/ 171 h 184"/>
                <a:gd name="T32" fmla="*/ 25 w 147"/>
                <a:gd name="T33" fmla="*/ 168 h 184"/>
                <a:gd name="T34" fmla="*/ 25 w 147"/>
                <a:gd name="T35" fmla="*/ 159 h 184"/>
                <a:gd name="T36" fmla="*/ 25 w 147"/>
                <a:gd name="T37" fmla="*/ 149 h 184"/>
                <a:gd name="T38" fmla="*/ 25 w 147"/>
                <a:gd name="T39" fmla="*/ 140 h 184"/>
                <a:gd name="T40" fmla="*/ 28 w 147"/>
                <a:gd name="T41" fmla="*/ 134 h 184"/>
                <a:gd name="T42" fmla="*/ 28 w 147"/>
                <a:gd name="T43" fmla="*/ 128 h 184"/>
                <a:gd name="T44" fmla="*/ 19 w 147"/>
                <a:gd name="T45" fmla="*/ 112 h 184"/>
                <a:gd name="T46" fmla="*/ 10 w 147"/>
                <a:gd name="T47" fmla="*/ 93 h 184"/>
                <a:gd name="T48" fmla="*/ 0 w 147"/>
                <a:gd name="T49" fmla="*/ 78 h 184"/>
                <a:gd name="T50" fmla="*/ 0 w 147"/>
                <a:gd name="T51" fmla="*/ 62 h 184"/>
                <a:gd name="T52" fmla="*/ 3 w 147"/>
                <a:gd name="T53" fmla="*/ 59 h 184"/>
                <a:gd name="T54" fmla="*/ 10 w 147"/>
                <a:gd name="T55" fmla="*/ 53 h 184"/>
                <a:gd name="T56" fmla="*/ 16 w 147"/>
                <a:gd name="T57" fmla="*/ 49 h 184"/>
                <a:gd name="T58" fmla="*/ 25 w 147"/>
                <a:gd name="T59" fmla="*/ 46 h 184"/>
                <a:gd name="T60" fmla="*/ 28 w 147"/>
                <a:gd name="T61" fmla="*/ 43 h 184"/>
                <a:gd name="T62" fmla="*/ 35 w 147"/>
                <a:gd name="T63" fmla="*/ 37 h 184"/>
                <a:gd name="T64" fmla="*/ 41 w 147"/>
                <a:gd name="T65" fmla="*/ 28 h 184"/>
                <a:gd name="T66" fmla="*/ 47 w 147"/>
                <a:gd name="T67" fmla="*/ 18 h 184"/>
                <a:gd name="T68" fmla="*/ 53 w 147"/>
                <a:gd name="T69" fmla="*/ 9 h 184"/>
                <a:gd name="T70" fmla="*/ 60 w 147"/>
                <a:gd name="T71" fmla="*/ 3 h 184"/>
                <a:gd name="T72" fmla="*/ 69 w 147"/>
                <a:gd name="T73" fmla="*/ 0 h 184"/>
                <a:gd name="T74" fmla="*/ 75 w 147"/>
                <a:gd name="T75" fmla="*/ 0 h 184"/>
                <a:gd name="T76" fmla="*/ 81 w 147"/>
                <a:gd name="T77" fmla="*/ 3 h 184"/>
                <a:gd name="T78" fmla="*/ 91 w 147"/>
                <a:gd name="T79" fmla="*/ 6 h 184"/>
                <a:gd name="T80" fmla="*/ 100 w 147"/>
                <a:gd name="T81" fmla="*/ 12 h 184"/>
                <a:gd name="T82" fmla="*/ 106 w 147"/>
                <a:gd name="T83" fmla="*/ 15 h 184"/>
                <a:gd name="T84" fmla="*/ 113 w 147"/>
                <a:gd name="T85" fmla="*/ 21 h 184"/>
                <a:gd name="T86" fmla="*/ 125 w 147"/>
                <a:gd name="T87" fmla="*/ 40 h 184"/>
                <a:gd name="T88" fmla="*/ 141 w 147"/>
                <a:gd name="T89" fmla="*/ 65 h 184"/>
                <a:gd name="T90" fmla="*/ 147 w 147"/>
                <a:gd name="T91" fmla="*/ 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184">
                  <a:moveTo>
                    <a:pt x="147" y="84"/>
                  </a:moveTo>
                  <a:lnTo>
                    <a:pt x="144" y="93"/>
                  </a:lnTo>
                  <a:lnTo>
                    <a:pt x="141" y="103"/>
                  </a:lnTo>
                  <a:lnTo>
                    <a:pt x="135" y="112"/>
                  </a:lnTo>
                  <a:lnTo>
                    <a:pt x="131" y="118"/>
                  </a:lnTo>
                  <a:lnTo>
                    <a:pt x="125" y="128"/>
                  </a:lnTo>
                  <a:lnTo>
                    <a:pt x="125" y="134"/>
                  </a:lnTo>
                  <a:lnTo>
                    <a:pt x="122" y="143"/>
                  </a:lnTo>
                  <a:lnTo>
                    <a:pt x="122" y="149"/>
                  </a:lnTo>
                  <a:lnTo>
                    <a:pt x="119" y="159"/>
                  </a:lnTo>
                  <a:lnTo>
                    <a:pt x="116" y="168"/>
                  </a:lnTo>
                  <a:lnTo>
                    <a:pt x="113" y="171"/>
                  </a:lnTo>
                  <a:lnTo>
                    <a:pt x="94" y="181"/>
                  </a:lnTo>
                  <a:lnTo>
                    <a:pt x="69" y="184"/>
                  </a:lnTo>
                  <a:lnTo>
                    <a:pt x="44" y="181"/>
                  </a:lnTo>
                  <a:lnTo>
                    <a:pt x="28" y="171"/>
                  </a:lnTo>
                  <a:lnTo>
                    <a:pt x="25" y="168"/>
                  </a:lnTo>
                  <a:lnTo>
                    <a:pt x="25" y="159"/>
                  </a:lnTo>
                  <a:lnTo>
                    <a:pt x="25" y="149"/>
                  </a:lnTo>
                  <a:lnTo>
                    <a:pt x="25" y="140"/>
                  </a:lnTo>
                  <a:lnTo>
                    <a:pt x="28" y="134"/>
                  </a:lnTo>
                  <a:lnTo>
                    <a:pt x="28" y="128"/>
                  </a:lnTo>
                  <a:lnTo>
                    <a:pt x="19" y="112"/>
                  </a:lnTo>
                  <a:lnTo>
                    <a:pt x="10" y="93"/>
                  </a:lnTo>
                  <a:lnTo>
                    <a:pt x="0" y="78"/>
                  </a:lnTo>
                  <a:lnTo>
                    <a:pt x="0" y="62"/>
                  </a:lnTo>
                  <a:lnTo>
                    <a:pt x="3" y="59"/>
                  </a:lnTo>
                  <a:lnTo>
                    <a:pt x="10" y="53"/>
                  </a:lnTo>
                  <a:lnTo>
                    <a:pt x="16" y="49"/>
                  </a:lnTo>
                  <a:lnTo>
                    <a:pt x="25" y="46"/>
                  </a:lnTo>
                  <a:lnTo>
                    <a:pt x="28" y="43"/>
                  </a:lnTo>
                  <a:lnTo>
                    <a:pt x="35" y="37"/>
                  </a:lnTo>
                  <a:lnTo>
                    <a:pt x="41" y="28"/>
                  </a:lnTo>
                  <a:lnTo>
                    <a:pt x="47" y="18"/>
                  </a:lnTo>
                  <a:lnTo>
                    <a:pt x="53" y="9"/>
                  </a:lnTo>
                  <a:lnTo>
                    <a:pt x="60" y="3"/>
                  </a:lnTo>
                  <a:lnTo>
                    <a:pt x="69" y="0"/>
                  </a:lnTo>
                  <a:lnTo>
                    <a:pt x="75" y="0"/>
                  </a:lnTo>
                  <a:lnTo>
                    <a:pt x="81" y="3"/>
                  </a:lnTo>
                  <a:lnTo>
                    <a:pt x="91" y="6"/>
                  </a:lnTo>
                  <a:lnTo>
                    <a:pt x="100" y="12"/>
                  </a:lnTo>
                  <a:lnTo>
                    <a:pt x="106" y="15"/>
                  </a:lnTo>
                  <a:lnTo>
                    <a:pt x="113" y="21"/>
                  </a:lnTo>
                  <a:lnTo>
                    <a:pt x="125" y="40"/>
                  </a:lnTo>
                  <a:lnTo>
                    <a:pt x="141" y="65"/>
                  </a:lnTo>
                  <a:lnTo>
                    <a:pt x="147" y="84"/>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5" name="Freeform 20">
              <a:extLst>
                <a:ext uri="{FF2B5EF4-FFF2-40B4-BE49-F238E27FC236}">
                  <a16:creationId xmlns:a16="http://schemas.microsoft.com/office/drawing/2014/main" id="{9CDBB6AC-8C50-4F72-9000-613E83E7A07C}"/>
                </a:ext>
              </a:extLst>
            </p:cNvPr>
            <p:cNvSpPr>
              <a:spLocks/>
            </p:cNvSpPr>
            <p:nvPr/>
          </p:nvSpPr>
          <p:spPr bwMode="auto">
            <a:xfrm>
              <a:off x="6654801" y="-4460875"/>
              <a:ext cx="495300" cy="441325"/>
            </a:xfrm>
            <a:custGeom>
              <a:avLst/>
              <a:gdLst>
                <a:gd name="T0" fmla="*/ 306 w 312"/>
                <a:gd name="T1" fmla="*/ 193 h 278"/>
                <a:gd name="T2" fmla="*/ 312 w 312"/>
                <a:gd name="T3" fmla="*/ 212 h 278"/>
                <a:gd name="T4" fmla="*/ 312 w 312"/>
                <a:gd name="T5" fmla="*/ 234 h 278"/>
                <a:gd name="T6" fmla="*/ 306 w 312"/>
                <a:gd name="T7" fmla="*/ 253 h 278"/>
                <a:gd name="T8" fmla="*/ 287 w 312"/>
                <a:gd name="T9" fmla="*/ 265 h 278"/>
                <a:gd name="T10" fmla="*/ 262 w 312"/>
                <a:gd name="T11" fmla="*/ 274 h 278"/>
                <a:gd name="T12" fmla="*/ 240 w 312"/>
                <a:gd name="T13" fmla="*/ 278 h 278"/>
                <a:gd name="T14" fmla="*/ 218 w 312"/>
                <a:gd name="T15" fmla="*/ 274 h 278"/>
                <a:gd name="T16" fmla="*/ 197 w 312"/>
                <a:gd name="T17" fmla="*/ 265 h 278"/>
                <a:gd name="T18" fmla="*/ 172 w 312"/>
                <a:gd name="T19" fmla="*/ 253 h 278"/>
                <a:gd name="T20" fmla="*/ 153 w 312"/>
                <a:gd name="T21" fmla="*/ 246 h 278"/>
                <a:gd name="T22" fmla="*/ 134 w 312"/>
                <a:gd name="T23" fmla="*/ 246 h 278"/>
                <a:gd name="T24" fmla="*/ 115 w 312"/>
                <a:gd name="T25" fmla="*/ 246 h 278"/>
                <a:gd name="T26" fmla="*/ 100 w 312"/>
                <a:gd name="T27" fmla="*/ 246 h 278"/>
                <a:gd name="T28" fmla="*/ 75 w 312"/>
                <a:gd name="T29" fmla="*/ 237 h 278"/>
                <a:gd name="T30" fmla="*/ 50 w 312"/>
                <a:gd name="T31" fmla="*/ 225 h 278"/>
                <a:gd name="T32" fmla="*/ 31 w 312"/>
                <a:gd name="T33" fmla="*/ 206 h 278"/>
                <a:gd name="T34" fmla="*/ 28 w 312"/>
                <a:gd name="T35" fmla="*/ 190 h 278"/>
                <a:gd name="T36" fmla="*/ 31 w 312"/>
                <a:gd name="T37" fmla="*/ 165 h 278"/>
                <a:gd name="T38" fmla="*/ 34 w 312"/>
                <a:gd name="T39" fmla="*/ 143 h 278"/>
                <a:gd name="T40" fmla="*/ 31 w 312"/>
                <a:gd name="T41" fmla="*/ 121 h 278"/>
                <a:gd name="T42" fmla="*/ 28 w 312"/>
                <a:gd name="T43" fmla="*/ 115 h 278"/>
                <a:gd name="T44" fmla="*/ 22 w 312"/>
                <a:gd name="T45" fmla="*/ 106 h 278"/>
                <a:gd name="T46" fmla="*/ 15 w 312"/>
                <a:gd name="T47" fmla="*/ 100 h 278"/>
                <a:gd name="T48" fmla="*/ 6 w 312"/>
                <a:gd name="T49" fmla="*/ 90 h 278"/>
                <a:gd name="T50" fmla="*/ 3 w 312"/>
                <a:gd name="T51" fmla="*/ 81 h 278"/>
                <a:gd name="T52" fmla="*/ 0 w 312"/>
                <a:gd name="T53" fmla="*/ 75 h 278"/>
                <a:gd name="T54" fmla="*/ 0 w 312"/>
                <a:gd name="T55" fmla="*/ 56 h 278"/>
                <a:gd name="T56" fmla="*/ 9 w 312"/>
                <a:gd name="T57" fmla="*/ 31 h 278"/>
                <a:gd name="T58" fmla="*/ 22 w 312"/>
                <a:gd name="T59" fmla="*/ 12 h 278"/>
                <a:gd name="T60" fmla="*/ 34 w 312"/>
                <a:gd name="T61" fmla="*/ 0 h 278"/>
                <a:gd name="T62" fmla="*/ 53 w 312"/>
                <a:gd name="T63" fmla="*/ 0 h 278"/>
                <a:gd name="T64" fmla="*/ 78 w 312"/>
                <a:gd name="T65" fmla="*/ 6 h 278"/>
                <a:gd name="T66" fmla="*/ 103 w 312"/>
                <a:gd name="T67" fmla="*/ 18 h 278"/>
                <a:gd name="T68" fmla="*/ 125 w 312"/>
                <a:gd name="T69" fmla="*/ 34 h 278"/>
                <a:gd name="T70" fmla="*/ 140 w 312"/>
                <a:gd name="T71" fmla="*/ 50 h 278"/>
                <a:gd name="T72" fmla="*/ 147 w 312"/>
                <a:gd name="T73" fmla="*/ 65 h 278"/>
                <a:gd name="T74" fmla="*/ 150 w 312"/>
                <a:gd name="T75" fmla="*/ 87 h 278"/>
                <a:gd name="T76" fmla="*/ 153 w 312"/>
                <a:gd name="T77" fmla="*/ 109 h 278"/>
                <a:gd name="T78" fmla="*/ 159 w 312"/>
                <a:gd name="T79" fmla="*/ 125 h 278"/>
                <a:gd name="T80" fmla="*/ 172 w 312"/>
                <a:gd name="T81" fmla="*/ 128 h 278"/>
                <a:gd name="T82" fmla="*/ 187 w 312"/>
                <a:gd name="T83" fmla="*/ 125 h 278"/>
                <a:gd name="T84" fmla="*/ 203 w 312"/>
                <a:gd name="T85" fmla="*/ 125 h 278"/>
                <a:gd name="T86" fmla="*/ 212 w 312"/>
                <a:gd name="T87" fmla="*/ 125 h 278"/>
                <a:gd name="T88" fmla="*/ 225 w 312"/>
                <a:gd name="T89" fmla="*/ 140 h 278"/>
                <a:gd name="T90" fmla="*/ 234 w 312"/>
                <a:gd name="T91" fmla="*/ 162 h 278"/>
                <a:gd name="T92" fmla="*/ 243 w 312"/>
                <a:gd name="T93" fmla="*/ 178 h 278"/>
                <a:gd name="T94" fmla="*/ 259 w 312"/>
                <a:gd name="T95" fmla="*/ 181 h 278"/>
                <a:gd name="T96" fmla="*/ 278 w 312"/>
                <a:gd name="T97" fmla="*/ 184 h 278"/>
                <a:gd name="T98" fmla="*/ 293 w 312"/>
                <a:gd name="T99" fmla="*/ 187 h 278"/>
                <a:gd name="T100" fmla="*/ 306 w 312"/>
                <a:gd name="T101"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278">
                  <a:moveTo>
                    <a:pt x="306" y="193"/>
                  </a:moveTo>
                  <a:lnTo>
                    <a:pt x="312" y="212"/>
                  </a:lnTo>
                  <a:lnTo>
                    <a:pt x="312" y="234"/>
                  </a:lnTo>
                  <a:lnTo>
                    <a:pt x="306" y="253"/>
                  </a:lnTo>
                  <a:lnTo>
                    <a:pt x="287" y="265"/>
                  </a:lnTo>
                  <a:lnTo>
                    <a:pt x="262" y="274"/>
                  </a:lnTo>
                  <a:lnTo>
                    <a:pt x="240" y="278"/>
                  </a:lnTo>
                  <a:lnTo>
                    <a:pt x="218" y="274"/>
                  </a:lnTo>
                  <a:lnTo>
                    <a:pt x="197" y="265"/>
                  </a:lnTo>
                  <a:lnTo>
                    <a:pt x="172" y="253"/>
                  </a:lnTo>
                  <a:lnTo>
                    <a:pt x="153" y="246"/>
                  </a:lnTo>
                  <a:lnTo>
                    <a:pt x="134" y="246"/>
                  </a:lnTo>
                  <a:lnTo>
                    <a:pt x="115" y="246"/>
                  </a:lnTo>
                  <a:lnTo>
                    <a:pt x="100" y="246"/>
                  </a:lnTo>
                  <a:lnTo>
                    <a:pt x="75" y="237"/>
                  </a:lnTo>
                  <a:lnTo>
                    <a:pt x="50" y="225"/>
                  </a:lnTo>
                  <a:lnTo>
                    <a:pt x="31" y="206"/>
                  </a:lnTo>
                  <a:lnTo>
                    <a:pt x="28" y="190"/>
                  </a:lnTo>
                  <a:lnTo>
                    <a:pt x="31" y="165"/>
                  </a:lnTo>
                  <a:lnTo>
                    <a:pt x="34" y="143"/>
                  </a:lnTo>
                  <a:lnTo>
                    <a:pt x="31" y="121"/>
                  </a:lnTo>
                  <a:lnTo>
                    <a:pt x="28" y="115"/>
                  </a:lnTo>
                  <a:lnTo>
                    <a:pt x="22" y="106"/>
                  </a:lnTo>
                  <a:lnTo>
                    <a:pt x="15" y="100"/>
                  </a:lnTo>
                  <a:lnTo>
                    <a:pt x="6" y="90"/>
                  </a:lnTo>
                  <a:lnTo>
                    <a:pt x="3" y="81"/>
                  </a:lnTo>
                  <a:lnTo>
                    <a:pt x="0" y="75"/>
                  </a:lnTo>
                  <a:lnTo>
                    <a:pt x="0" y="56"/>
                  </a:lnTo>
                  <a:lnTo>
                    <a:pt x="9" y="31"/>
                  </a:lnTo>
                  <a:lnTo>
                    <a:pt x="22" y="12"/>
                  </a:lnTo>
                  <a:lnTo>
                    <a:pt x="34" y="0"/>
                  </a:lnTo>
                  <a:lnTo>
                    <a:pt x="53" y="0"/>
                  </a:lnTo>
                  <a:lnTo>
                    <a:pt x="78" y="6"/>
                  </a:lnTo>
                  <a:lnTo>
                    <a:pt x="103" y="18"/>
                  </a:lnTo>
                  <a:lnTo>
                    <a:pt x="125" y="34"/>
                  </a:lnTo>
                  <a:lnTo>
                    <a:pt x="140" y="50"/>
                  </a:lnTo>
                  <a:lnTo>
                    <a:pt x="147" y="65"/>
                  </a:lnTo>
                  <a:lnTo>
                    <a:pt x="150" y="87"/>
                  </a:lnTo>
                  <a:lnTo>
                    <a:pt x="153" y="109"/>
                  </a:lnTo>
                  <a:lnTo>
                    <a:pt x="159" y="125"/>
                  </a:lnTo>
                  <a:lnTo>
                    <a:pt x="172" y="128"/>
                  </a:lnTo>
                  <a:lnTo>
                    <a:pt x="187" y="125"/>
                  </a:lnTo>
                  <a:lnTo>
                    <a:pt x="203" y="125"/>
                  </a:lnTo>
                  <a:lnTo>
                    <a:pt x="212" y="125"/>
                  </a:lnTo>
                  <a:lnTo>
                    <a:pt x="225" y="140"/>
                  </a:lnTo>
                  <a:lnTo>
                    <a:pt x="234" y="162"/>
                  </a:lnTo>
                  <a:lnTo>
                    <a:pt x="243" y="178"/>
                  </a:lnTo>
                  <a:lnTo>
                    <a:pt x="259" y="181"/>
                  </a:lnTo>
                  <a:lnTo>
                    <a:pt x="278" y="184"/>
                  </a:lnTo>
                  <a:lnTo>
                    <a:pt x="293" y="187"/>
                  </a:lnTo>
                  <a:lnTo>
                    <a:pt x="306" y="193"/>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6" name="Freeform 21">
              <a:extLst>
                <a:ext uri="{FF2B5EF4-FFF2-40B4-BE49-F238E27FC236}">
                  <a16:creationId xmlns:a16="http://schemas.microsoft.com/office/drawing/2014/main" id="{C72C28C0-867D-4C51-9ED1-5ACF38ED17B7}"/>
                </a:ext>
              </a:extLst>
            </p:cNvPr>
            <p:cNvSpPr>
              <a:spLocks/>
            </p:cNvSpPr>
            <p:nvPr/>
          </p:nvSpPr>
          <p:spPr bwMode="auto">
            <a:xfrm>
              <a:off x="3114676" y="-9998075"/>
              <a:ext cx="9299575" cy="5497513"/>
            </a:xfrm>
            <a:custGeom>
              <a:avLst/>
              <a:gdLst>
                <a:gd name="T0" fmla="*/ 5777 w 5858"/>
                <a:gd name="T1" fmla="*/ 2051 h 3463"/>
                <a:gd name="T2" fmla="*/ 5556 w 5858"/>
                <a:gd name="T3" fmla="*/ 2498 h 3463"/>
                <a:gd name="T4" fmla="*/ 5131 w 5858"/>
                <a:gd name="T5" fmla="*/ 2691 h 3463"/>
                <a:gd name="T6" fmla="*/ 4625 w 5858"/>
                <a:gd name="T7" fmla="*/ 2960 h 3463"/>
                <a:gd name="T8" fmla="*/ 4132 w 5858"/>
                <a:gd name="T9" fmla="*/ 3132 h 3463"/>
                <a:gd name="T10" fmla="*/ 3897 w 5858"/>
                <a:gd name="T11" fmla="*/ 3350 h 3463"/>
                <a:gd name="T12" fmla="*/ 3485 w 5858"/>
                <a:gd name="T13" fmla="*/ 3353 h 3463"/>
                <a:gd name="T14" fmla="*/ 3510 w 5858"/>
                <a:gd name="T15" fmla="*/ 3266 h 3463"/>
                <a:gd name="T16" fmla="*/ 3117 w 5858"/>
                <a:gd name="T17" fmla="*/ 3282 h 3463"/>
                <a:gd name="T18" fmla="*/ 2845 w 5858"/>
                <a:gd name="T19" fmla="*/ 3144 h 3463"/>
                <a:gd name="T20" fmla="*/ 3157 w 5858"/>
                <a:gd name="T21" fmla="*/ 3100 h 3463"/>
                <a:gd name="T22" fmla="*/ 2979 w 5858"/>
                <a:gd name="T23" fmla="*/ 2985 h 3463"/>
                <a:gd name="T24" fmla="*/ 2729 w 5858"/>
                <a:gd name="T25" fmla="*/ 2947 h 3463"/>
                <a:gd name="T26" fmla="*/ 2645 w 5858"/>
                <a:gd name="T27" fmla="*/ 3019 h 3463"/>
                <a:gd name="T28" fmla="*/ 2520 w 5858"/>
                <a:gd name="T29" fmla="*/ 3269 h 3463"/>
                <a:gd name="T30" fmla="*/ 2467 w 5858"/>
                <a:gd name="T31" fmla="*/ 3079 h 3463"/>
                <a:gd name="T32" fmla="*/ 2489 w 5858"/>
                <a:gd name="T33" fmla="*/ 2823 h 3463"/>
                <a:gd name="T34" fmla="*/ 2383 w 5858"/>
                <a:gd name="T35" fmla="*/ 2823 h 3463"/>
                <a:gd name="T36" fmla="*/ 2224 w 5858"/>
                <a:gd name="T37" fmla="*/ 2657 h 3463"/>
                <a:gd name="T38" fmla="*/ 2058 w 5858"/>
                <a:gd name="T39" fmla="*/ 2732 h 3463"/>
                <a:gd name="T40" fmla="*/ 1515 w 5858"/>
                <a:gd name="T41" fmla="*/ 2476 h 3463"/>
                <a:gd name="T42" fmla="*/ 1262 w 5858"/>
                <a:gd name="T43" fmla="*/ 2261 h 3463"/>
                <a:gd name="T44" fmla="*/ 959 w 5858"/>
                <a:gd name="T45" fmla="*/ 2207 h 3463"/>
                <a:gd name="T46" fmla="*/ 850 w 5858"/>
                <a:gd name="T47" fmla="*/ 2295 h 3463"/>
                <a:gd name="T48" fmla="*/ 559 w 5858"/>
                <a:gd name="T49" fmla="*/ 2382 h 3463"/>
                <a:gd name="T50" fmla="*/ 412 w 5858"/>
                <a:gd name="T51" fmla="*/ 2058 h 3463"/>
                <a:gd name="T52" fmla="*/ 72 w 5858"/>
                <a:gd name="T53" fmla="*/ 1745 h 3463"/>
                <a:gd name="T54" fmla="*/ 753 w 5858"/>
                <a:gd name="T55" fmla="*/ 1648 h 3463"/>
                <a:gd name="T56" fmla="*/ 447 w 5858"/>
                <a:gd name="T57" fmla="*/ 1389 h 3463"/>
                <a:gd name="T58" fmla="*/ 337 w 5858"/>
                <a:gd name="T59" fmla="*/ 1302 h 3463"/>
                <a:gd name="T60" fmla="*/ 350 w 5858"/>
                <a:gd name="T61" fmla="*/ 1105 h 3463"/>
                <a:gd name="T62" fmla="*/ 569 w 5858"/>
                <a:gd name="T63" fmla="*/ 1252 h 3463"/>
                <a:gd name="T64" fmla="*/ 803 w 5858"/>
                <a:gd name="T65" fmla="*/ 1193 h 3463"/>
                <a:gd name="T66" fmla="*/ 544 w 5858"/>
                <a:gd name="T67" fmla="*/ 1068 h 3463"/>
                <a:gd name="T68" fmla="*/ 715 w 5858"/>
                <a:gd name="T69" fmla="*/ 962 h 3463"/>
                <a:gd name="T70" fmla="*/ 250 w 5858"/>
                <a:gd name="T71" fmla="*/ 1071 h 3463"/>
                <a:gd name="T72" fmla="*/ 3 w 5858"/>
                <a:gd name="T73" fmla="*/ 921 h 3463"/>
                <a:gd name="T74" fmla="*/ 200 w 5858"/>
                <a:gd name="T75" fmla="*/ 571 h 3463"/>
                <a:gd name="T76" fmla="*/ 431 w 5858"/>
                <a:gd name="T77" fmla="*/ 443 h 3463"/>
                <a:gd name="T78" fmla="*/ 797 w 5858"/>
                <a:gd name="T79" fmla="*/ 374 h 3463"/>
                <a:gd name="T80" fmla="*/ 996 w 5858"/>
                <a:gd name="T81" fmla="*/ 349 h 3463"/>
                <a:gd name="T82" fmla="*/ 1352 w 5858"/>
                <a:gd name="T83" fmla="*/ 359 h 3463"/>
                <a:gd name="T84" fmla="*/ 1502 w 5858"/>
                <a:gd name="T85" fmla="*/ 543 h 3463"/>
                <a:gd name="T86" fmla="*/ 1730 w 5858"/>
                <a:gd name="T87" fmla="*/ 346 h 3463"/>
                <a:gd name="T88" fmla="*/ 2024 w 5858"/>
                <a:gd name="T89" fmla="*/ 281 h 3463"/>
                <a:gd name="T90" fmla="*/ 2183 w 5858"/>
                <a:gd name="T91" fmla="*/ 59 h 3463"/>
                <a:gd name="T92" fmla="*/ 2548 w 5858"/>
                <a:gd name="T93" fmla="*/ 78 h 3463"/>
                <a:gd name="T94" fmla="*/ 2589 w 5858"/>
                <a:gd name="T95" fmla="*/ 128 h 3463"/>
                <a:gd name="T96" fmla="*/ 2742 w 5858"/>
                <a:gd name="T97" fmla="*/ 97 h 3463"/>
                <a:gd name="T98" fmla="*/ 2895 w 5858"/>
                <a:gd name="T99" fmla="*/ 178 h 3463"/>
                <a:gd name="T100" fmla="*/ 2976 w 5858"/>
                <a:gd name="T101" fmla="*/ 340 h 3463"/>
                <a:gd name="T102" fmla="*/ 3173 w 5858"/>
                <a:gd name="T103" fmla="*/ 730 h 3463"/>
                <a:gd name="T104" fmla="*/ 3520 w 5858"/>
                <a:gd name="T105" fmla="*/ 765 h 3463"/>
                <a:gd name="T106" fmla="*/ 3854 w 5858"/>
                <a:gd name="T107" fmla="*/ 615 h 3463"/>
                <a:gd name="T108" fmla="*/ 3910 w 5858"/>
                <a:gd name="T109" fmla="*/ 652 h 3463"/>
                <a:gd name="T110" fmla="*/ 4107 w 5858"/>
                <a:gd name="T111" fmla="*/ 759 h 3463"/>
                <a:gd name="T112" fmla="*/ 4422 w 5858"/>
                <a:gd name="T113" fmla="*/ 590 h 3463"/>
                <a:gd name="T114" fmla="*/ 4672 w 5858"/>
                <a:gd name="T115" fmla="*/ 581 h 3463"/>
                <a:gd name="T116" fmla="*/ 5037 w 5858"/>
                <a:gd name="T117" fmla="*/ 724 h 3463"/>
                <a:gd name="T118" fmla="*/ 5390 w 5858"/>
                <a:gd name="T119" fmla="*/ 1139 h 3463"/>
                <a:gd name="T120" fmla="*/ 5630 w 5858"/>
                <a:gd name="T121" fmla="*/ 1015 h 3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8" h="3463">
                  <a:moveTo>
                    <a:pt x="5846" y="1411"/>
                  </a:moveTo>
                  <a:lnTo>
                    <a:pt x="5852" y="1433"/>
                  </a:lnTo>
                  <a:lnTo>
                    <a:pt x="5855" y="1461"/>
                  </a:lnTo>
                  <a:lnTo>
                    <a:pt x="5858" y="1489"/>
                  </a:lnTo>
                  <a:lnTo>
                    <a:pt x="5855" y="1511"/>
                  </a:lnTo>
                  <a:lnTo>
                    <a:pt x="5843" y="1530"/>
                  </a:lnTo>
                  <a:lnTo>
                    <a:pt x="5824" y="1549"/>
                  </a:lnTo>
                  <a:lnTo>
                    <a:pt x="5805" y="1567"/>
                  </a:lnTo>
                  <a:lnTo>
                    <a:pt x="5790" y="1583"/>
                  </a:lnTo>
                  <a:lnTo>
                    <a:pt x="5780" y="1605"/>
                  </a:lnTo>
                  <a:lnTo>
                    <a:pt x="5771" y="1630"/>
                  </a:lnTo>
                  <a:lnTo>
                    <a:pt x="5765" y="1652"/>
                  </a:lnTo>
                  <a:lnTo>
                    <a:pt x="5771" y="1670"/>
                  </a:lnTo>
                  <a:lnTo>
                    <a:pt x="5783" y="1695"/>
                  </a:lnTo>
                  <a:lnTo>
                    <a:pt x="5790" y="1717"/>
                  </a:lnTo>
                  <a:lnTo>
                    <a:pt x="5796" y="1752"/>
                  </a:lnTo>
                  <a:lnTo>
                    <a:pt x="5796" y="1792"/>
                  </a:lnTo>
                  <a:lnTo>
                    <a:pt x="5796" y="1833"/>
                  </a:lnTo>
                  <a:lnTo>
                    <a:pt x="5790" y="1864"/>
                  </a:lnTo>
                  <a:lnTo>
                    <a:pt x="5783" y="1880"/>
                  </a:lnTo>
                  <a:lnTo>
                    <a:pt x="5771" y="1898"/>
                  </a:lnTo>
                  <a:lnTo>
                    <a:pt x="5759" y="1914"/>
                  </a:lnTo>
                  <a:lnTo>
                    <a:pt x="5749" y="1930"/>
                  </a:lnTo>
                  <a:lnTo>
                    <a:pt x="5749" y="1958"/>
                  </a:lnTo>
                  <a:lnTo>
                    <a:pt x="5755" y="1992"/>
                  </a:lnTo>
                  <a:lnTo>
                    <a:pt x="5768" y="2023"/>
                  </a:lnTo>
                  <a:lnTo>
                    <a:pt x="5777" y="2051"/>
                  </a:lnTo>
                  <a:lnTo>
                    <a:pt x="5793" y="2073"/>
                  </a:lnTo>
                  <a:lnTo>
                    <a:pt x="5818" y="2095"/>
                  </a:lnTo>
                  <a:lnTo>
                    <a:pt x="5843" y="2120"/>
                  </a:lnTo>
                  <a:lnTo>
                    <a:pt x="5855" y="2142"/>
                  </a:lnTo>
                  <a:lnTo>
                    <a:pt x="5855" y="2164"/>
                  </a:lnTo>
                  <a:lnTo>
                    <a:pt x="5849" y="2192"/>
                  </a:lnTo>
                  <a:lnTo>
                    <a:pt x="5840" y="2217"/>
                  </a:lnTo>
                  <a:lnTo>
                    <a:pt x="5833" y="2242"/>
                  </a:lnTo>
                  <a:lnTo>
                    <a:pt x="5830" y="2257"/>
                  </a:lnTo>
                  <a:lnTo>
                    <a:pt x="5827" y="2276"/>
                  </a:lnTo>
                  <a:lnTo>
                    <a:pt x="5821" y="2295"/>
                  </a:lnTo>
                  <a:lnTo>
                    <a:pt x="5815" y="2307"/>
                  </a:lnTo>
                  <a:lnTo>
                    <a:pt x="5793" y="2314"/>
                  </a:lnTo>
                  <a:lnTo>
                    <a:pt x="5765" y="2314"/>
                  </a:lnTo>
                  <a:lnTo>
                    <a:pt x="5737" y="2310"/>
                  </a:lnTo>
                  <a:lnTo>
                    <a:pt x="5709" y="2307"/>
                  </a:lnTo>
                  <a:lnTo>
                    <a:pt x="5687" y="2307"/>
                  </a:lnTo>
                  <a:lnTo>
                    <a:pt x="5665" y="2317"/>
                  </a:lnTo>
                  <a:lnTo>
                    <a:pt x="5646" y="2329"/>
                  </a:lnTo>
                  <a:lnTo>
                    <a:pt x="5630" y="2342"/>
                  </a:lnTo>
                  <a:lnTo>
                    <a:pt x="5627" y="2360"/>
                  </a:lnTo>
                  <a:lnTo>
                    <a:pt x="5630" y="2389"/>
                  </a:lnTo>
                  <a:lnTo>
                    <a:pt x="5634" y="2414"/>
                  </a:lnTo>
                  <a:lnTo>
                    <a:pt x="5630" y="2432"/>
                  </a:lnTo>
                  <a:lnTo>
                    <a:pt x="5618" y="2448"/>
                  </a:lnTo>
                  <a:lnTo>
                    <a:pt x="5571" y="2482"/>
                  </a:lnTo>
                  <a:lnTo>
                    <a:pt x="5556" y="2498"/>
                  </a:lnTo>
                  <a:lnTo>
                    <a:pt x="5552" y="2520"/>
                  </a:lnTo>
                  <a:lnTo>
                    <a:pt x="5552" y="2545"/>
                  </a:lnTo>
                  <a:lnTo>
                    <a:pt x="5556" y="2573"/>
                  </a:lnTo>
                  <a:lnTo>
                    <a:pt x="5556" y="2595"/>
                  </a:lnTo>
                  <a:lnTo>
                    <a:pt x="5549" y="2626"/>
                  </a:lnTo>
                  <a:lnTo>
                    <a:pt x="5540" y="2663"/>
                  </a:lnTo>
                  <a:lnTo>
                    <a:pt x="5531" y="2691"/>
                  </a:lnTo>
                  <a:lnTo>
                    <a:pt x="5515" y="2716"/>
                  </a:lnTo>
                  <a:lnTo>
                    <a:pt x="5490" y="2738"/>
                  </a:lnTo>
                  <a:lnTo>
                    <a:pt x="5465" y="2760"/>
                  </a:lnTo>
                  <a:lnTo>
                    <a:pt x="5443" y="2773"/>
                  </a:lnTo>
                  <a:lnTo>
                    <a:pt x="5421" y="2776"/>
                  </a:lnTo>
                  <a:lnTo>
                    <a:pt x="5396" y="2773"/>
                  </a:lnTo>
                  <a:lnTo>
                    <a:pt x="5371" y="2769"/>
                  </a:lnTo>
                  <a:lnTo>
                    <a:pt x="5353" y="2760"/>
                  </a:lnTo>
                  <a:lnTo>
                    <a:pt x="5340" y="2748"/>
                  </a:lnTo>
                  <a:lnTo>
                    <a:pt x="5331" y="2729"/>
                  </a:lnTo>
                  <a:lnTo>
                    <a:pt x="5321" y="2710"/>
                  </a:lnTo>
                  <a:lnTo>
                    <a:pt x="5309" y="2695"/>
                  </a:lnTo>
                  <a:lnTo>
                    <a:pt x="5290" y="2685"/>
                  </a:lnTo>
                  <a:lnTo>
                    <a:pt x="5268" y="2676"/>
                  </a:lnTo>
                  <a:lnTo>
                    <a:pt x="5250" y="2673"/>
                  </a:lnTo>
                  <a:lnTo>
                    <a:pt x="5221" y="2666"/>
                  </a:lnTo>
                  <a:lnTo>
                    <a:pt x="5190" y="2663"/>
                  </a:lnTo>
                  <a:lnTo>
                    <a:pt x="5165" y="2666"/>
                  </a:lnTo>
                  <a:lnTo>
                    <a:pt x="5150" y="2676"/>
                  </a:lnTo>
                  <a:lnTo>
                    <a:pt x="5131" y="2691"/>
                  </a:lnTo>
                  <a:lnTo>
                    <a:pt x="5112" y="2707"/>
                  </a:lnTo>
                  <a:lnTo>
                    <a:pt x="5093" y="2716"/>
                  </a:lnTo>
                  <a:lnTo>
                    <a:pt x="5075" y="2720"/>
                  </a:lnTo>
                  <a:lnTo>
                    <a:pt x="5053" y="2720"/>
                  </a:lnTo>
                  <a:lnTo>
                    <a:pt x="5031" y="2723"/>
                  </a:lnTo>
                  <a:lnTo>
                    <a:pt x="5009" y="2738"/>
                  </a:lnTo>
                  <a:lnTo>
                    <a:pt x="4984" y="2757"/>
                  </a:lnTo>
                  <a:lnTo>
                    <a:pt x="4965" y="2773"/>
                  </a:lnTo>
                  <a:lnTo>
                    <a:pt x="4947" y="2782"/>
                  </a:lnTo>
                  <a:lnTo>
                    <a:pt x="4922" y="2794"/>
                  </a:lnTo>
                  <a:lnTo>
                    <a:pt x="4900" y="2804"/>
                  </a:lnTo>
                  <a:lnTo>
                    <a:pt x="4884" y="2816"/>
                  </a:lnTo>
                  <a:lnTo>
                    <a:pt x="4878" y="2838"/>
                  </a:lnTo>
                  <a:lnTo>
                    <a:pt x="4878" y="2863"/>
                  </a:lnTo>
                  <a:lnTo>
                    <a:pt x="4881" y="2891"/>
                  </a:lnTo>
                  <a:lnTo>
                    <a:pt x="4875" y="2910"/>
                  </a:lnTo>
                  <a:lnTo>
                    <a:pt x="4856" y="2929"/>
                  </a:lnTo>
                  <a:lnTo>
                    <a:pt x="4828" y="2944"/>
                  </a:lnTo>
                  <a:lnTo>
                    <a:pt x="4797" y="2957"/>
                  </a:lnTo>
                  <a:lnTo>
                    <a:pt x="4772" y="2963"/>
                  </a:lnTo>
                  <a:lnTo>
                    <a:pt x="4756" y="2960"/>
                  </a:lnTo>
                  <a:lnTo>
                    <a:pt x="4737" y="2951"/>
                  </a:lnTo>
                  <a:lnTo>
                    <a:pt x="4719" y="2941"/>
                  </a:lnTo>
                  <a:lnTo>
                    <a:pt x="4703" y="2935"/>
                  </a:lnTo>
                  <a:lnTo>
                    <a:pt x="4681" y="2941"/>
                  </a:lnTo>
                  <a:lnTo>
                    <a:pt x="4653" y="2951"/>
                  </a:lnTo>
                  <a:lnTo>
                    <a:pt x="4625" y="2960"/>
                  </a:lnTo>
                  <a:lnTo>
                    <a:pt x="4603" y="2963"/>
                  </a:lnTo>
                  <a:lnTo>
                    <a:pt x="4581" y="2957"/>
                  </a:lnTo>
                  <a:lnTo>
                    <a:pt x="4559" y="2944"/>
                  </a:lnTo>
                  <a:lnTo>
                    <a:pt x="4538" y="2932"/>
                  </a:lnTo>
                  <a:lnTo>
                    <a:pt x="4516" y="2926"/>
                  </a:lnTo>
                  <a:lnTo>
                    <a:pt x="4500" y="2926"/>
                  </a:lnTo>
                  <a:lnTo>
                    <a:pt x="4478" y="2929"/>
                  </a:lnTo>
                  <a:lnTo>
                    <a:pt x="4463" y="2935"/>
                  </a:lnTo>
                  <a:lnTo>
                    <a:pt x="4441" y="2947"/>
                  </a:lnTo>
                  <a:lnTo>
                    <a:pt x="4419" y="2966"/>
                  </a:lnTo>
                  <a:lnTo>
                    <a:pt x="4397" y="2979"/>
                  </a:lnTo>
                  <a:lnTo>
                    <a:pt x="4372" y="2979"/>
                  </a:lnTo>
                  <a:lnTo>
                    <a:pt x="4344" y="2972"/>
                  </a:lnTo>
                  <a:lnTo>
                    <a:pt x="4322" y="2969"/>
                  </a:lnTo>
                  <a:lnTo>
                    <a:pt x="4294" y="2966"/>
                  </a:lnTo>
                  <a:lnTo>
                    <a:pt x="4266" y="2966"/>
                  </a:lnTo>
                  <a:lnTo>
                    <a:pt x="4241" y="2969"/>
                  </a:lnTo>
                  <a:lnTo>
                    <a:pt x="4232" y="2972"/>
                  </a:lnTo>
                  <a:lnTo>
                    <a:pt x="4222" y="2982"/>
                  </a:lnTo>
                  <a:lnTo>
                    <a:pt x="4213" y="2988"/>
                  </a:lnTo>
                  <a:lnTo>
                    <a:pt x="4203" y="2997"/>
                  </a:lnTo>
                  <a:lnTo>
                    <a:pt x="4197" y="3007"/>
                  </a:lnTo>
                  <a:lnTo>
                    <a:pt x="4191" y="3016"/>
                  </a:lnTo>
                  <a:lnTo>
                    <a:pt x="4175" y="3044"/>
                  </a:lnTo>
                  <a:lnTo>
                    <a:pt x="4163" y="3085"/>
                  </a:lnTo>
                  <a:lnTo>
                    <a:pt x="4147" y="3116"/>
                  </a:lnTo>
                  <a:lnTo>
                    <a:pt x="4132" y="3132"/>
                  </a:lnTo>
                  <a:lnTo>
                    <a:pt x="4113" y="3154"/>
                  </a:lnTo>
                  <a:lnTo>
                    <a:pt x="4097" y="3172"/>
                  </a:lnTo>
                  <a:lnTo>
                    <a:pt x="4097" y="3191"/>
                  </a:lnTo>
                  <a:lnTo>
                    <a:pt x="4097" y="3216"/>
                  </a:lnTo>
                  <a:lnTo>
                    <a:pt x="4097" y="3235"/>
                  </a:lnTo>
                  <a:lnTo>
                    <a:pt x="4100" y="3253"/>
                  </a:lnTo>
                  <a:lnTo>
                    <a:pt x="4103" y="3275"/>
                  </a:lnTo>
                  <a:lnTo>
                    <a:pt x="4103" y="3297"/>
                  </a:lnTo>
                  <a:lnTo>
                    <a:pt x="4097" y="3313"/>
                  </a:lnTo>
                  <a:lnTo>
                    <a:pt x="4085" y="3319"/>
                  </a:lnTo>
                  <a:lnTo>
                    <a:pt x="4066" y="3322"/>
                  </a:lnTo>
                  <a:lnTo>
                    <a:pt x="4047" y="3325"/>
                  </a:lnTo>
                  <a:lnTo>
                    <a:pt x="4032" y="3328"/>
                  </a:lnTo>
                  <a:lnTo>
                    <a:pt x="4025" y="3344"/>
                  </a:lnTo>
                  <a:lnTo>
                    <a:pt x="4022" y="3363"/>
                  </a:lnTo>
                  <a:lnTo>
                    <a:pt x="4019" y="3382"/>
                  </a:lnTo>
                  <a:lnTo>
                    <a:pt x="4013" y="3397"/>
                  </a:lnTo>
                  <a:lnTo>
                    <a:pt x="4000" y="3410"/>
                  </a:lnTo>
                  <a:lnTo>
                    <a:pt x="3979" y="3422"/>
                  </a:lnTo>
                  <a:lnTo>
                    <a:pt x="3957" y="3428"/>
                  </a:lnTo>
                  <a:lnTo>
                    <a:pt x="3941" y="3428"/>
                  </a:lnTo>
                  <a:lnTo>
                    <a:pt x="3935" y="3416"/>
                  </a:lnTo>
                  <a:lnTo>
                    <a:pt x="3935" y="3400"/>
                  </a:lnTo>
                  <a:lnTo>
                    <a:pt x="3935" y="3382"/>
                  </a:lnTo>
                  <a:lnTo>
                    <a:pt x="3932" y="3369"/>
                  </a:lnTo>
                  <a:lnTo>
                    <a:pt x="3916" y="3360"/>
                  </a:lnTo>
                  <a:lnTo>
                    <a:pt x="3897" y="3350"/>
                  </a:lnTo>
                  <a:lnTo>
                    <a:pt x="3879" y="3347"/>
                  </a:lnTo>
                  <a:lnTo>
                    <a:pt x="3854" y="3344"/>
                  </a:lnTo>
                  <a:lnTo>
                    <a:pt x="3822" y="3341"/>
                  </a:lnTo>
                  <a:lnTo>
                    <a:pt x="3801" y="3347"/>
                  </a:lnTo>
                  <a:lnTo>
                    <a:pt x="3785" y="3360"/>
                  </a:lnTo>
                  <a:lnTo>
                    <a:pt x="3769" y="3382"/>
                  </a:lnTo>
                  <a:lnTo>
                    <a:pt x="3757" y="3400"/>
                  </a:lnTo>
                  <a:lnTo>
                    <a:pt x="3744" y="3422"/>
                  </a:lnTo>
                  <a:lnTo>
                    <a:pt x="3729" y="3444"/>
                  </a:lnTo>
                  <a:lnTo>
                    <a:pt x="3713" y="3460"/>
                  </a:lnTo>
                  <a:lnTo>
                    <a:pt x="3698" y="3460"/>
                  </a:lnTo>
                  <a:lnTo>
                    <a:pt x="3682" y="3450"/>
                  </a:lnTo>
                  <a:lnTo>
                    <a:pt x="3663" y="3444"/>
                  </a:lnTo>
                  <a:lnTo>
                    <a:pt x="3651" y="3441"/>
                  </a:lnTo>
                  <a:lnTo>
                    <a:pt x="3641" y="3444"/>
                  </a:lnTo>
                  <a:lnTo>
                    <a:pt x="3635" y="3447"/>
                  </a:lnTo>
                  <a:lnTo>
                    <a:pt x="3626" y="3453"/>
                  </a:lnTo>
                  <a:lnTo>
                    <a:pt x="3616" y="3460"/>
                  </a:lnTo>
                  <a:lnTo>
                    <a:pt x="3598" y="3460"/>
                  </a:lnTo>
                  <a:lnTo>
                    <a:pt x="3579" y="3463"/>
                  </a:lnTo>
                  <a:lnTo>
                    <a:pt x="3560" y="3463"/>
                  </a:lnTo>
                  <a:lnTo>
                    <a:pt x="3538" y="3450"/>
                  </a:lnTo>
                  <a:lnTo>
                    <a:pt x="3513" y="3431"/>
                  </a:lnTo>
                  <a:lnTo>
                    <a:pt x="3498" y="3413"/>
                  </a:lnTo>
                  <a:lnTo>
                    <a:pt x="3488" y="3394"/>
                  </a:lnTo>
                  <a:lnTo>
                    <a:pt x="3485" y="3372"/>
                  </a:lnTo>
                  <a:lnTo>
                    <a:pt x="3485" y="3353"/>
                  </a:lnTo>
                  <a:lnTo>
                    <a:pt x="3491" y="3347"/>
                  </a:lnTo>
                  <a:lnTo>
                    <a:pt x="3498" y="3344"/>
                  </a:lnTo>
                  <a:lnTo>
                    <a:pt x="3504" y="3338"/>
                  </a:lnTo>
                  <a:lnTo>
                    <a:pt x="3513" y="3338"/>
                  </a:lnTo>
                  <a:lnTo>
                    <a:pt x="3520" y="3335"/>
                  </a:lnTo>
                  <a:lnTo>
                    <a:pt x="3535" y="3338"/>
                  </a:lnTo>
                  <a:lnTo>
                    <a:pt x="3554" y="3344"/>
                  </a:lnTo>
                  <a:lnTo>
                    <a:pt x="3569" y="3353"/>
                  </a:lnTo>
                  <a:lnTo>
                    <a:pt x="3585" y="3357"/>
                  </a:lnTo>
                  <a:lnTo>
                    <a:pt x="3607" y="3353"/>
                  </a:lnTo>
                  <a:lnTo>
                    <a:pt x="3629" y="3347"/>
                  </a:lnTo>
                  <a:lnTo>
                    <a:pt x="3644" y="3335"/>
                  </a:lnTo>
                  <a:lnTo>
                    <a:pt x="3648" y="3328"/>
                  </a:lnTo>
                  <a:lnTo>
                    <a:pt x="3648" y="3322"/>
                  </a:lnTo>
                  <a:lnTo>
                    <a:pt x="3644" y="3313"/>
                  </a:lnTo>
                  <a:lnTo>
                    <a:pt x="3641" y="3303"/>
                  </a:lnTo>
                  <a:lnTo>
                    <a:pt x="3638" y="3300"/>
                  </a:lnTo>
                  <a:lnTo>
                    <a:pt x="3632" y="3294"/>
                  </a:lnTo>
                  <a:lnTo>
                    <a:pt x="3623" y="3288"/>
                  </a:lnTo>
                  <a:lnTo>
                    <a:pt x="3610" y="3285"/>
                  </a:lnTo>
                  <a:lnTo>
                    <a:pt x="3601" y="3282"/>
                  </a:lnTo>
                  <a:lnTo>
                    <a:pt x="3591" y="3278"/>
                  </a:lnTo>
                  <a:lnTo>
                    <a:pt x="3573" y="3278"/>
                  </a:lnTo>
                  <a:lnTo>
                    <a:pt x="3548" y="3278"/>
                  </a:lnTo>
                  <a:lnTo>
                    <a:pt x="3529" y="3278"/>
                  </a:lnTo>
                  <a:lnTo>
                    <a:pt x="3523" y="3275"/>
                  </a:lnTo>
                  <a:lnTo>
                    <a:pt x="3510" y="3266"/>
                  </a:lnTo>
                  <a:lnTo>
                    <a:pt x="3501" y="3260"/>
                  </a:lnTo>
                  <a:lnTo>
                    <a:pt x="3491" y="3253"/>
                  </a:lnTo>
                  <a:lnTo>
                    <a:pt x="3485" y="3247"/>
                  </a:lnTo>
                  <a:lnTo>
                    <a:pt x="3463" y="3247"/>
                  </a:lnTo>
                  <a:lnTo>
                    <a:pt x="3438" y="3247"/>
                  </a:lnTo>
                  <a:lnTo>
                    <a:pt x="3416" y="3247"/>
                  </a:lnTo>
                  <a:lnTo>
                    <a:pt x="3398" y="3241"/>
                  </a:lnTo>
                  <a:lnTo>
                    <a:pt x="3376" y="3232"/>
                  </a:lnTo>
                  <a:lnTo>
                    <a:pt x="3354" y="3219"/>
                  </a:lnTo>
                  <a:lnTo>
                    <a:pt x="3335" y="3213"/>
                  </a:lnTo>
                  <a:lnTo>
                    <a:pt x="3326" y="3210"/>
                  </a:lnTo>
                  <a:lnTo>
                    <a:pt x="3317" y="3210"/>
                  </a:lnTo>
                  <a:lnTo>
                    <a:pt x="3304" y="3210"/>
                  </a:lnTo>
                  <a:lnTo>
                    <a:pt x="3295" y="3210"/>
                  </a:lnTo>
                  <a:lnTo>
                    <a:pt x="3288" y="3213"/>
                  </a:lnTo>
                  <a:lnTo>
                    <a:pt x="3282" y="3216"/>
                  </a:lnTo>
                  <a:lnTo>
                    <a:pt x="3279" y="3222"/>
                  </a:lnTo>
                  <a:lnTo>
                    <a:pt x="3276" y="3229"/>
                  </a:lnTo>
                  <a:lnTo>
                    <a:pt x="3273" y="3235"/>
                  </a:lnTo>
                  <a:lnTo>
                    <a:pt x="3270" y="3241"/>
                  </a:lnTo>
                  <a:lnTo>
                    <a:pt x="3251" y="3253"/>
                  </a:lnTo>
                  <a:lnTo>
                    <a:pt x="3229" y="3266"/>
                  </a:lnTo>
                  <a:lnTo>
                    <a:pt x="3207" y="3278"/>
                  </a:lnTo>
                  <a:lnTo>
                    <a:pt x="3189" y="3288"/>
                  </a:lnTo>
                  <a:lnTo>
                    <a:pt x="3167" y="3288"/>
                  </a:lnTo>
                  <a:lnTo>
                    <a:pt x="3142" y="3285"/>
                  </a:lnTo>
                  <a:lnTo>
                    <a:pt x="3117" y="3282"/>
                  </a:lnTo>
                  <a:lnTo>
                    <a:pt x="3098" y="3285"/>
                  </a:lnTo>
                  <a:lnTo>
                    <a:pt x="3092" y="3288"/>
                  </a:lnTo>
                  <a:lnTo>
                    <a:pt x="3082" y="3291"/>
                  </a:lnTo>
                  <a:lnTo>
                    <a:pt x="3076" y="3297"/>
                  </a:lnTo>
                  <a:lnTo>
                    <a:pt x="3070" y="3300"/>
                  </a:lnTo>
                  <a:lnTo>
                    <a:pt x="3042" y="3303"/>
                  </a:lnTo>
                  <a:lnTo>
                    <a:pt x="3007" y="3307"/>
                  </a:lnTo>
                  <a:lnTo>
                    <a:pt x="2979" y="3307"/>
                  </a:lnTo>
                  <a:lnTo>
                    <a:pt x="2964" y="3307"/>
                  </a:lnTo>
                  <a:lnTo>
                    <a:pt x="2945" y="3310"/>
                  </a:lnTo>
                  <a:lnTo>
                    <a:pt x="2929" y="3310"/>
                  </a:lnTo>
                  <a:lnTo>
                    <a:pt x="2917" y="3303"/>
                  </a:lnTo>
                  <a:lnTo>
                    <a:pt x="2914" y="3300"/>
                  </a:lnTo>
                  <a:lnTo>
                    <a:pt x="2914" y="3291"/>
                  </a:lnTo>
                  <a:lnTo>
                    <a:pt x="2917" y="3285"/>
                  </a:lnTo>
                  <a:lnTo>
                    <a:pt x="2917" y="3275"/>
                  </a:lnTo>
                  <a:lnTo>
                    <a:pt x="2917" y="3269"/>
                  </a:lnTo>
                  <a:lnTo>
                    <a:pt x="2917" y="3263"/>
                  </a:lnTo>
                  <a:lnTo>
                    <a:pt x="2898" y="3244"/>
                  </a:lnTo>
                  <a:lnTo>
                    <a:pt x="2873" y="3229"/>
                  </a:lnTo>
                  <a:lnTo>
                    <a:pt x="2851" y="3213"/>
                  </a:lnTo>
                  <a:lnTo>
                    <a:pt x="2842" y="3197"/>
                  </a:lnTo>
                  <a:lnTo>
                    <a:pt x="2829" y="3175"/>
                  </a:lnTo>
                  <a:lnTo>
                    <a:pt x="2826" y="3160"/>
                  </a:lnTo>
                  <a:lnTo>
                    <a:pt x="2829" y="3154"/>
                  </a:lnTo>
                  <a:lnTo>
                    <a:pt x="2836" y="3147"/>
                  </a:lnTo>
                  <a:lnTo>
                    <a:pt x="2845" y="3144"/>
                  </a:lnTo>
                  <a:lnTo>
                    <a:pt x="2851" y="3141"/>
                  </a:lnTo>
                  <a:lnTo>
                    <a:pt x="2873" y="3135"/>
                  </a:lnTo>
                  <a:lnTo>
                    <a:pt x="2901" y="3132"/>
                  </a:lnTo>
                  <a:lnTo>
                    <a:pt x="2929" y="3132"/>
                  </a:lnTo>
                  <a:lnTo>
                    <a:pt x="2951" y="3141"/>
                  </a:lnTo>
                  <a:lnTo>
                    <a:pt x="2951" y="3144"/>
                  </a:lnTo>
                  <a:lnTo>
                    <a:pt x="2954" y="3150"/>
                  </a:lnTo>
                  <a:lnTo>
                    <a:pt x="2954" y="3160"/>
                  </a:lnTo>
                  <a:lnTo>
                    <a:pt x="2954" y="3169"/>
                  </a:lnTo>
                  <a:lnTo>
                    <a:pt x="2954" y="3175"/>
                  </a:lnTo>
                  <a:lnTo>
                    <a:pt x="2954" y="3182"/>
                  </a:lnTo>
                  <a:lnTo>
                    <a:pt x="2957" y="3188"/>
                  </a:lnTo>
                  <a:lnTo>
                    <a:pt x="2976" y="3194"/>
                  </a:lnTo>
                  <a:lnTo>
                    <a:pt x="2998" y="3194"/>
                  </a:lnTo>
                  <a:lnTo>
                    <a:pt x="3023" y="3191"/>
                  </a:lnTo>
                  <a:lnTo>
                    <a:pt x="3045" y="3188"/>
                  </a:lnTo>
                  <a:lnTo>
                    <a:pt x="3067" y="3185"/>
                  </a:lnTo>
                  <a:lnTo>
                    <a:pt x="3092" y="3179"/>
                  </a:lnTo>
                  <a:lnTo>
                    <a:pt x="3110" y="3166"/>
                  </a:lnTo>
                  <a:lnTo>
                    <a:pt x="3117" y="3154"/>
                  </a:lnTo>
                  <a:lnTo>
                    <a:pt x="3117" y="3138"/>
                  </a:lnTo>
                  <a:lnTo>
                    <a:pt x="3120" y="3119"/>
                  </a:lnTo>
                  <a:lnTo>
                    <a:pt x="3126" y="3107"/>
                  </a:lnTo>
                  <a:lnTo>
                    <a:pt x="3132" y="3104"/>
                  </a:lnTo>
                  <a:lnTo>
                    <a:pt x="3139" y="3104"/>
                  </a:lnTo>
                  <a:lnTo>
                    <a:pt x="3148" y="3100"/>
                  </a:lnTo>
                  <a:lnTo>
                    <a:pt x="3157" y="3100"/>
                  </a:lnTo>
                  <a:lnTo>
                    <a:pt x="3164" y="3097"/>
                  </a:lnTo>
                  <a:lnTo>
                    <a:pt x="3170" y="3094"/>
                  </a:lnTo>
                  <a:lnTo>
                    <a:pt x="3176" y="3088"/>
                  </a:lnTo>
                  <a:lnTo>
                    <a:pt x="3182" y="3082"/>
                  </a:lnTo>
                  <a:lnTo>
                    <a:pt x="3189" y="3072"/>
                  </a:lnTo>
                  <a:lnTo>
                    <a:pt x="3192" y="3063"/>
                  </a:lnTo>
                  <a:lnTo>
                    <a:pt x="3195" y="3047"/>
                  </a:lnTo>
                  <a:lnTo>
                    <a:pt x="3195" y="3029"/>
                  </a:lnTo>
                  <a:lnTo>
                    <a:pt x="3192" y="3013"/>
                  </a:lnTo>
                  <a:lnTo>
                    <a:pt x="3189" y="3007"/>
                  </a:lnTo>
                  <a:lnTo>
                    <a:pt x="3182" y="3001"/>
                  </a:lnTo>
                  <a:lnTo>
                    <a:pt x="3176" y="2994"/>
                  </a:lnTo>
                  <a:lnTo>
                    <a:pt x="3167" y="2988"/>
                  </a:lnTo>
                  <a:lnTo>
                    <a:pt x="3157" y="2985"/>
                  </a:lnTo>
                  <a:lnTo>
                    <a:pt x="3151" y="2985"/>
                  </a:lnTo>
                  <a:lnTo>
                    <a:pt x="3145" y="2988"/>
                  </a:lnTo>
                  <a:lnTo>
                    <a:pt x="3139" y="2991"/>
                  </a:lnTo>
                  <a:lnTo>
                    <a:pt x="3132" y="3001"/>
                  </a:lnTo>
                  <a:lnTo>
                    <a:pt x="3126" y="3004"/>
                  </a:lnTo>
                  <a:lnTo>
                    <a:pt x="3120" y="3007"/>
                  </a:lnTo>
                  <a:lnTo>
                    <a:pt x="3104" y="3007"/>
                  </a:lnTo>
                  <a:lnTo>
                    <a:pt x="3082" y="2997"/>
                  </a:lnTo>
                  <a:lnTo>
                    <a:pt x="3064" y="2991"/>
                  </a:lnTo>
                  <a:lnTo>
                    <a:pt x="3048" y="2985"/>
                  </a:lnTo>
                  <a:lnTo>
                    <a:pt x="3026" y="2982"/>
                  </a:lnTo>
                  <a:lnTo>
                    <a:pt x="2998" y="2982"/>
                  </a:lnTo>
                  <a:lnTo>
                    <a:pt x="2979" y="2985"/>
                  </a:lnTo>
                  <a:lnTo>
                    <a:pt x="2961" y="2997"/>
                  </a:lnTo>
                  <a:lnTo>
                    <a:pt x="2945" y="3019"/>
                  </a:lnTo>
                  <a:lnTo>
                    <a:pt x="2926" y="3035"/>
                  </a:lnTo>
                  <a:lnTo>
                    <a:pt x="2907" y="3038"/>
                  </a:lnTo>
                  <a:lnTo>
                    <a:pt x="2882" y="3038"/>
                  </a:lnTo>
                  <a:lnTo>
                    <a:pt x="2861" y="3035"/>
                  </a:lnTo>
                  <a:lnTo>
                    <a:pt x="2839" y="3035"/>
                  </a:lnTo>
                  <a:lnTo>
                    <a:pt x="2833" y="3032"/>
                  </a:lnTo>
                  <a:lnTo>
                    <a:pt x="2826" y="3032"/>
                  </a:lnTo>
                  <a:lnTo>
                    <a:pt x="2817" y="3032"/>
                  </a:lnTo>
                  <a:lnTo>
                    <a:pt x="2811" y="3029"/>
                  </a:lnTo>
                  <a:lnTo>
                    <a:pt x="2808" y="3026"/>
                  </a:lnTo>
                  <a:lnTo>
                    <a:pt x="2804" y="3019"/>
                  </a:lnTo>
                  <a:lnTo>
                    <a:pt x="2804" y="3013"/>
                  </a:lnTo>
                  <a:lnTo>
                    <a:pt x="2804" y="3007"/>
                  </a:lnTo>
                  <a:lnTo>
                    <a:pt x="2808" y="2997"/>
                  </a:lnTo>
                  <a:lnTo>
                    <a:pt x="2808" y="2991"/>
                  </a:lnTo>
                  <a:lnTo>
                    <a:pt x="2808" y="2985"/>
                  </a:lnTo>
                  <a:lnTo>
                    <a:pt x="2801" y="2960"/>
                  </a:lnTo>
                  <a:lnTo>
                    <a:pt x="2789" y="2932"/>
                  </a:lnTo>
                  <a:lnTo>
                    <a:pt x="2776" y="2913"/>
                  </a:lnTo>
                  <a:lnTo>
                    <a:pt x="2764" y="2910"/>
                  </a:lnTo>
                  <a:lnTo>
                    <a:pt x="2748" y="2907"/>
                  </a:lnTo>
                  <a:lnTo>
                    <a:pt x="2733" y="2907"/>
                  </a:lnTo>
                  <a:lnTo>
                    <a:pt x="2723" y="2913"/>
                  </a:lnTo>
                  <a:lnTo>
                    <a:pt x="2720" y="2929"/>
                  </a:lnTo>
                  <a:lnTo>
                    <a:pt x="2729" y="2947"/>
                  </a:lnTo>
                  <a:lnTo>
                    <a:pt x="2739" y="2969"/>
                  </a:lnTo>
                  <a:lnTo>
                    <a:pt x="2745" y="2985"/>
                  </a:lnTo>
                  <a:lnTo>
                    <a:pt x="2745" y="2994"/>
                  </a:lnTo>
                  <a:lnTo>
                    <a:pt x="2745" y="3007"/>
                  </a:lnTo>
                  <a:lnTo>
                    <a:pt x="2742" y="3016"/>
                  </a:lnTo>
                  <a:lnTo>
                    <a:pt x="2739" y="3026"/>
                  </a:lnTo>
                  <a:lnTo>
                    <a:pt x="2739" y="3032"/>
                  </a:lnTo>
                  <a:lnTo>
                    <a:pt x="2736" y="3041"/>
                  </a:lnTo>
                  <a:lnTo>
                    <a:pt x="2733" y="3047"/>
                  </a:lnTo>
                  <a:lnTo>
                    <a:pt x="2726" y="3057"/>
                  </a:lnTo>
                  <a:lnTo>
                    <a:pt x="2723" y="3060"/>
                  </a:lnTo>
                  <a:lnTo>
                    <a:pt x="2714" y="3057"/>
                  </a:lnTo>
                  <a:lnTo>
                    <a:pt x="2708" y="3054"/>
                  </a:lnTo>
                  <a:lnTo>
                    <a:pt x="2698" y="3047"/>
                  </a:lnTo>
                  <a:lnTo>
                    <a:pt x="2692" y="3041"/>
                  </a:lnTo>
                  <a:lnTo>
                    <a:pt x="2686" y="3035"/>
                  </a:lnTo>
                  <a:lnTo>
                    <a:pt x="2680" y="3029"/>
                  </a:lnTo>
                  <a:lnTo>
                    <a:pt x="2673" y="3022"/>
                  </a:lnTo>
                  <a:lnTo>
                    <a:pt x="2667" y="3016"/>
                  </a:lnTo>
                  <a:lnTo>
                    <a:pt x="2664" y="3010"/>
                  </a:lnTo>
                  <a:lnTo>
                    <a:pt x="2658" y="3004"/>
                  </a:lnTo>
                  <a:lnTo>
                    <a:pt x="2651" y="3001"/>
                  </a:lnTo>
                  <a:lnTo>
                    <a:pt x="2645" y="3001"/>
                  </a:lnTo>
                  <a:lnTo>
                    <a:pt x="2642" y="3004"/>
                  </a:lnTo>
                  <a:lnTo>
                    <a:pt x="2642" y="3007"/>
                  </a:lnTo>
                  <a:lnTo>
                    <a:pt x="2645" y="3013"/>
                  </a:lnTo>
                  <a:lnTo>
                    <a:pt x="2645" y="3019"/>
                  </a:lnTo>
                  <a:lnTo>
                    <a:pt x="2645" y="3026"/>
                  </a:lnTo>
                  <a:lnTo>
                    <a:pt x="2648" y="3032"/>
                  </a:lnTo>
                  <a:lnTo>
                    <a:pt x="2645" y="3035"/>
                  </a:lnTo>
                  <a:lnTo>
                    <a:pt x="2633" y="3041"/>
                  </a:lnTo>
                  <a:lnTo>
                    <a:pt x="2617" y="3044"/>
                  </a:lnTo>
                  <a:lnTo>
                    <a:pt x="2598" y="3044"/>
                  </a:lnTo>
                  <a:lnTo>
                    <a:pt x="2583" y="3047"/>
                  </a:lnTo>
                  <a:lnTo>
                    <a:pt x="2558" y="3054"/>
                  </a:lnTo>
                  <a:lnTo>
                    <a:pt x="2530" y="3063"/>
                  </a:lnTo>
                  <a:lnTo>
                    <a:pt x="2511" y="3075"/>
                  </a:lnTo>
                  <a:lnTo>
                    <a:pt x="2505" y="3082"/>
                  </a:lnTo>
                  <a:lnTo>
                    <a:pt x="2502" y="3091"/>
                  </a:lnTo>
                  <a:lnTo>
                    <a:pt x="2502" y="3100"/>
                  </a:lnTo>
                  <a:lnTo>
                    <a:pt x="2498" y="3113"/>
                  </a:lnTo>
                  <a:lnTo>
                    <a:pt x="2498" y="3119"/>
                  </a:lnTo>
                  <a:lnTo>
                    <a:pt x="2492" y="3141"/>
                  </a:lnTo>
                  <a:lnTo>
                    <a:pt x="2486" y="3163"/>
                  </a:lnTo>
                  <a:lnTo>
                    <a:pt x="2480" y="3188"/>
                  </a:lnTo>
                  <a:lnTo>
                    <a:pt x="2480" y="3207"/>
                  </a:lnTo>
                  <a:lnTo>
                    <a:pt x="2483" y="3216"/>
                  </a:lnTo>
                  <a:lnTo>
                    <a:pt x="2489" y="3222"/>
                  </a:lnTo>
                  <a:lnTo>
                    <a:pt x="2495" y="3232"/>
                  </a:lnTo>
                  <a:lnTo>
                    <a:pt x="2502" y="3238"/>
                  </a:lnTo>
                  <a:lnTo>
                    <a:pt x="2508" y="3247"/>
                  </a:lnTo>
                  <a:lnTo>
                    <a:pt x="2514" y="3253"/>
                  </a:lnTo>
                  <a:lnTo>
                    <a:pt x="2517" y="3260"/>
                  </a:lnTo>
                  <a:lnTo>
                    <a:pt x="2520" y="3269"/>
                  </a:lnTo>
                  <a:lnTo>
                    <a:pt x="2527" y="3275"/>
                  </a:lnTo>
                  <a:lnTo>
                    <a:pt x="2533" y="3285"/>
                  </a:lnTo>
                  <a:lnTo>
                    <a:pt x="2536" y="3294"/>
                  </a:lnTo>
                  <a:lnTo>
                    <a:pt x="2536" y="3300"/>
                  </a:lnTo>
                  <a:lnTo>
                    <a:pt x="2536" y="3307"/>
                  </a:lnTo>
                  <a:lnTo>
                    <a:pt x="2533" y="3316"/>
                  </a:lnTo>
                  <a:lnTo>
                    <a:pt x="2530" y="3322"/>
                  </a:lnTo>
                  <a:lnTo>
                    <a:pt x="2523" y="3328"/>
                  </a:lnTo>
                  <a:lnTo>
                    <a:pt x="2520" y="3332"/>
                  </a:lnTo>
                  <a:lnTo>
                    <a:pt x="2514" y="3335"/>
                  </a:lnTo>
                  <a:lnTo>
                    <a:pt x="2505" y="3335"/>
                  </a:lnTo>
                  <a:lnTo>
                    <a:pt x="2495" y="3335"/>
                  </a:lnTo>
                  <a:lnTo>
                    <a:pt x="2486" y="3335"/>
                  </a:lnTo>
                  <a:lnTo>
                    <a:pt x="2480" y="3332"/>
                  </a:lnTo>
                  <a:lnTo>
                    <a:pt x="2473" y="3328"/>
                  </a:lnTo>
                  <a:lnTo>
                    <a:pt x="2464" y="3322"/>
                  </a:lnTo>
                  <a:lnTo>
                    <a:pt x="2458" y="3313"/>
                  </a:lnTo>
                  <a:lnTo>
                    <a:pt x="2455" y="3307"/>
                  </a:lnTo>
                  <a:lnTo>
                    <a:pt x="2442" y="3285"/>
                  </a:lnTo>
                  <a:lnTo>
                    <a:pt x="2433" y="3257"/>
                  </a:lnTo>
                  <a:lnTo>
                    <a:pt x="2430" y="3232"/>
                  </a:lnTo>
                  <a:lnTo>
                    <a:pt x="2427" y="3207"/>
                  </a:lnTo>
                  <a:lnTo>
                    <a:pt x="2427" y="3179"/>
                  </a:lnTo>
                  <a:lnTo>
                    <a:pt x="2430" y="3157"/>
                  </a:lnTo>
                  <a:lnTo>
                    <a:pt x="2439" y="3132"/>
                  </a:lnTo>
                  <a:lnTo>
                    <a:pt x="2455" y="3104"/>
                  </a:lnTo>
                  <a:lnTo>
                    <a:pt x="2467" y="3079"/>
                  </a:lnTo>
                  <a:lnTo>
                    <a:pt x="2470" y="3060"/>
                  </a:lnTo>
                  <a:lnTo>
                    <a:pt x="2470" y="3038"/>
                  </a:lnTo>
                  <a:lnTo>
                    <a:pt x="2470" y="3019"/>
                  </a:lnTo>
                  <a:lnTo>
                    <a:pt x="2467" y="3010"/>
                  </a:lnTo>
                  <a:lnTo>
                    <a:pt x="2461" y="3001"/>
                  </a:lnTo>
                  <a:lnTo>
                    <a:pt x="2455" y="2991"/>
                  </a:lnTo>
                  <a:lnTo>
                    <a:pt x="2448" y="2985"/>
                  </a:lnTo>
                  <a:lnTo>
                    <a:pt x="2433" y="2976"/>
                  </a:lnTo>
                  <a:lnTo>
                    <a:pt x="2414" y="2966"/>
                  </a:lnTo>
                  <a:lnTo>
                    <a:pt x="2395" y="2957"/>
                  </a:lnTo>
                  <a:lnTo>
                    <a:pt x="2383" y="2944"/>
                  </a:lnTo>
                  <a:lnTo>
                    <a:pt x="2380" y="2935"/>
                  </a:lnTo>
                  <a:lnTo>
                    <a:pt x="2380" y="2926"/>
                  </a:lnTo>
                  <a:lnTo>
                    <a:pt x="2380" y="2916"/>
                  </a:lnTo>
                  <a:lnTo>
                    <a:pt x="2380" y="2907"/>
                  </a:lnTo>
                  <a:lnTo>
                    <a:pt x="2383" y="2898"/>
                  </a:lnTo>
                  <a:lnTo>
                    <a:pt x="2386" y="2891"/>
                  </a:lnTo>
                  <a:lnTo>
                    <a:pt x="2389" y="2882"/>
                  </a:lnTo>
                  <a:lnTo>
                    <a:pt x="2395" y="2876"/>
                  </a:lnTo>
                  <a:lnTo>
                    <a:pt x="2402" y="2866"/>
                  </a:lnTo>
                  <a:lnTo>
                    <a:pt x="2408" y="2863"/>
                  </a:lnTo>
                  <a:lnTo>
                    <a:pt x="2423" y="2857"/>
                  </a:lnTo>
                  <a:lnTo>
                    <a:pt x="2445" y="2851"/>
                  </a:lnTo>
                  <a:lnTo>
                    <a:pt x="2461" y="2844"/>
                  </a:lnTo>
                  <a:lnTo>
                    <a:pt x="2470" y="2838"/>
                  </a:lnTo>
                  <a:lnTo>
                    <a:pt x="2480" y="2832"/>
                  </a:lnTo>
                  <a:lnTo>
                    <a:pt x="2489" y="2823"/>
                  </a:lnTo>
                  <a:lnTo>
                    <a:pt x="2498" y="2816"/>
                  </a:lnTo>
                  <a:lnTo>
                    <a:pt x="2505" y="2810"/>
                  </a:lnTo>
                  <a:lnTo>
                    <a:pt x="2514" y="2791"/>
                  </a:lnTo>
                  <a:lnTo>
                    <a:pt x="2527" y="2769"/>
                  </a:lnTo>
                  <a:lnTo>
                    <a:pt x="2533" y="2748"/>
                  </a:lnTo>
                  <a:lnTo>
                    <a:pt x="2536" y="2729"/>
                  </a:lnTo>
                  <a:lnTo>
                    <a:pt x="2536" y="2723"/>
                  </a:lnTo>
                  <a:lnTo>
                    <a:pt x="2533" y="2710"/>
                  </a:lnTo>
                  <a:lnTo>
                    <a:pt x="2527" y="2701"/>
                  </a:lnTo>
                  <a:lnTo>
                    <a:pt x="2523" y="2691"/>
                  </a:lnTo>
                  <a:lnTo>
                    <a:pt x="2517" y="2685"/>
                  </a:lnTo>
                  <a:lnTo>
                    <a:pt x="2505" y="2676"/>
                  </a:lnTo>
                  <a:lnTo>
                    <a:pt x="2483" y="2666"/>
                  </a:lnTo>
                  <a:lnTo>
                    <a:pt x="2464" y="2660"/>
                  </a:lnTo>
                  <a:lnTo>
                    <a:pt x="2445" y="2660"/>
                  </a:lnTo>
                  <a:lnTo>
                    <a:pt x="2436" y="2673"/>
                  </a:lnTo>
                  <a:lnTo>
                    <a:pt x="2427" y="2695"/>
                  </a:lnTo>
                  <a:lnTo>
                    <a:pt x="2420" y="2716"/>
                  </a:lnTo>
                  <a:lnTo>
                    <a:pt x="2417" y="2738"/>
                  </a:lnTo>
                  <a:lnTo>
                    <a:pt x="2420" y="2754"/>
                  </a:lnTo>
                  <a:lnTo>
                    <a:pt x="2423" y="2776"/>
                  </a:lnTo>
                  <a:lnTo>
                    <a:pt x="2420" y="2791"/>
                  </a:lnTo>
                  <a:lnTo>
                    <a:pt x="2417" y="2798"/>
                  </a:lnTo>
                  <a:lnTo>
                    <a:pt x="2408" y="2804"/>
                  </a:lnTo>
                  <a:lnTo>
                    <a:pt x="2398" y="2813"/>
                  </a:lnTo>
                  <a:lnTo>
                    <a:pt x="2389" y="2819"/>
                  </a:lnTo>
                  <a:lnTo>
                    <a:pt x="2383" y="2823"/>
                  </a:lnTo>
                  <a:lnTo>
                    <a:pt x="2367" y="2835"/>
                  </a:lnTo>
                  <a:lnTo>
                    <a:pt x="2349" y="2851"/>
                  </a:lnTo>
                  <a:lnTo>
                    <a:pt x="2330" y="2857"/>
                  </a:lnTo>
                  <a:lnTo>
                    <a:pt x="2314" y="2857"/>
                  </a:lnTo>
                  <a:lnTo>
                    <a:pt x="2292" y="2851"/>
                  </a:lnTo>
                  <a:lnTo>
                    <a:pt x="2274" y="2841"/>
                  </a:lnTo>
                  <a:lnTo>
                    <a:pt x="2258" y="2832"/>
                  </a:lnTo>
                  <a:lnTo>
                    <a:pt x="2249" y="2819"/>
                  </a:lnTo>
                  <a:lnTo>
                    <a:pt x="2242" y="2801"/>
                  </a:lnTo>
                  <a:lnTo>
                    <a:pt x="2236" y="2782"/>
                  </a:lnTo>
                  <a:lnTo>
                    <a:pt x="2230" y="2766"/>
                  </a:lnTo>
                  <a:lnTo>
                    <a:pt x="2224" y="2763"/>
                  </a:lnTo>
                  <a:lnTo>
                    <a:pt x="2214" y="2763"/>
                  </a:lnTo>
                  <a:lnTo>
                    <a:pt x="2208" y="2763"/>
                  </a:lnTo>
                  <a:lnTo>
                    <a:pt x="2199" y="2760"/>
                  </a:lnTo>
                  <a:lnTo>
                    <a:pt x="2189" y="2757"/>
                  </a:lnTo>
                  <a:lnTo>
                    <a:pt x="2186" y="2754"/>
                  </a:lnTo>
                  <a:lnTo>
                    <a:pt x="2180" y="2738"/>
                  </a:lnTo>
                  <a:lnTo>
                    <a:pt x="2183" y="2716"/>
                  </a:lnTo>
                  <a:lnTo>
                    <a:pt x="2186" y="2698"/>
                  </a:lnTo>
                  <a:lnTo>
                    <a:pt x="2189" y="2691"/>
                  </a:lnTo>
                  <a:lnTo>
                    <a:pt x="2192" y="2682"/>
                  </a:lnTo>
                  <a:lnTo>
                    <a:pt x="2199" y="2673"/>
                  </a:lnTo>
                  <a:lnTo>
                    <a:pt x="2205" y="2666"/>
                  </a:lnTo>
                  <a:lnTo>
                    <a:pt x="2211" y="2660"/>
                  </a:lnTo>
                  <a:lnTo>
                    <a:pt x="2217" y="2657"/>
                  </a:lnTo>
                  <a:lnTo>
                    <a:pt x="2224" y="2657"/>
                  </a:lnTo>
                  <a:lnTo>
                    <a:pt x="2233" y="2654"/>
                  </a:lnTo>
                  <a:lnTo>
                    <a:pt x="2239" y="2651"/>
                  </a:lnTo>
                  <a:lnTo>
                    <a:pt x="2245" y="2648"/>
                  </a:lnTo>
                  <a:lnTo>
                    <a:pt x="2249" y="2641"/>
                  </a:lnTo>
                  <a:lnTo>
                    <a:pt x="2249" y="2632"/>
                  </a:lnTo>
                  <a:lnTo>
                    <a:pt x="2249" y="2623"/>
                  </a:lnTo>
                  <a:lnTo>
                    <a:pt x="2249" y="2616"/>
                  </a:lnTo>
                  <a:lnTo>
                    <a:pt x="2245" y="2610"/>
                  </a:lnTo>
                  <a:lnTo>
                    <a:pt x="2239" y="2607"/>
                  </a:lnTo>
                  <a:lnTo>
                    <a:pt x="2230" y="2604"/>
                  </a:lnTo>
                  <a:lnTo>
                    <a:pt x="2224" y="2604"/>
                  </a:lnTo>
                  <a:lnTo>
                    <a:pt x="2214" y="2607"/>
                  </a:lnTo>
                  <a:lnTo>
                    <a:pt x="2205" y="2607"/>
                  </a:lnTo>
                  <a:lnTo>
                    <a:pt x="2199" y="2610"/>
                  </a:lnTo>
                  <a:lnTo>
                    <a:pt x="2180" y="2613"/>
                  </a:lnTo>
                  <a:lnTo>
                    <a:pt x="2158" y="2620"/>
                  </a:lnTo>
                  <a:lnTo>
                    <a:pt x="2142" y="2629"/>
                  </a:lnTo>
                  <a:lnTo>
                    <a:pt x="2139" y="2635"/>
                  </a:lnTo>
                  <a:lnTo>
                    <a:pt x="2139" y="2641"/>
                  </a:lnTo>
                  <a:lnTo>
                    <a:pt x="2142" y="2651"/>
                  </a:lnTo>
                  <a:lnTo>
                    <a:pt x="2142" y="2657"/>
                  </a:lnTo>
                  <a:lnTo>
                    <a:pt x="2142" y="2666"/>
                  </a:lnTo>
                  <a:lnTo>
                    <a:pt x="2142" y="2670"/>
                  </a:lnTo>
                  <a:lnTo>
                    <a:pt x="2127" y="2691"/>
                  </a:lnTo>
                  <a:lnTo>
                    <a:pt x="2105" y="2713"/>
                  </a:lnTo>
                  <a:lnTo>
                    <a:pt x="2080" y="2726"/>
                  </a:lnTo>
                  <a:lnTo>
                    <a:pt x="2058" y="2732"/>
                  </a:lnTo>
                  <a:lnTo>
                    <a:pt x="2030" y="2732"/>
                  </a:lnTo>
                  <a:lnTo>
                    <a:pt x="2002" y="2732"/>
                  </a:lnTo>
                  <a:lnTo>
                    <a:pt x="1980" y="2726"/>
                  </a:lnTo>
                  <a:lnTo>
                    <a:pt x="1955" y="2716"/>
                  </a:lnTo>
                  <a:lnTo>
                    <a:pt x="1933" y="2701"/>
                  </a:lnTo>
                  <a:lnTo>
                    <a:pt x="1921" y="2679"/>
                  </a:lnTo>
                  <a:lnTo>
                    <a:pt x="1914" y="2654"/>
                  </a:lnTo>
                  <a:lnTo>
                    <a:pt x="1908" y="2626"/>
                  </a:lnTo>
                  <a:lnTo>
                    <a:pt x="1896" y="2598"/>
                  </a:lnTo>
                  <a:lnTo>
                    <a:pt x="1883" y="2576"/>
                  </a:lnTo>
                  <a:lnTo>
                    <a:pt x="1868" y="2560"/>
                  </a:lnTo>
                  <a:lnTo>
                    <a:pt x="1846" y="2548"/>
                  </a:lnTo>
                  <a:lnTo>
                    <a:pt x="1821" y="2535"/>
                  </a:lnTo>
                  <a:lnTo>
                    <a:pt x="1799" y="2526"/>
                  </a:lnTo>
                  <a:lnTo>
                    <a:pt x="1780" y="2526"/>
                  </a:lnTo>
                  <a:lnTo>
                    <a:pt x="1755" y="2526"/>
                  </a:lnTo>
                  <a:lnTo>
                    <a:pt x="1736" y="2526"/>
                  </a:lnTo>
                  <a:lnTo>
                    <a:pt x="1715" y="2529"/>
                  </a:lnTo>
                  <a:lnTo>
                    <a:pt x="1687" y="2529"/>
                  </a:lnTo>
                  <a:lnTo>
                    <a:pt x="1658" y="2529"/>
                  </a:lnTo>
                  <a:lnTo>
                    <a:pt x="1637" y="2526"/>
                  </a:lnTo>
                  <a:lnTo>
                    <a:pt x="1615" y="2513"/>
                  </a:lnTo>
                  <a:lnTo>
                    <a:pt x="1593" y="2495"/>
                  </a:lnTo>
                  <a:lnTo>
                    <a:pt x="1571" y="2482"/>
                  </a:lnTo>
                  <a:lnTo>
                    <a:pt x="1555" y="2479"/>
                  </a:lnTo>
                  <a:lnTo>
                    <a:pt x="1533" y="2476"/>
                  </a:lnTo>
                  <a:lnTo>
                    <a:pt x="1515" y="2476"/>
                  </a:lnTo>
                  <a:lnTo>
                    <a:pt x="1502" y="2482"/>
                  </a:lnTo>
                  <a:lnTo>
                    <a:pt x="1499" y="2485"/>
                  </a:lnTo>
                  <a:lnTo>
                    <a:pt x="1499" y="2492"/>
                  </a:lnTo>
                  <a:lnTo>
                    <a:pt x="1502" y="2498"/>
                  </a:lnTo>
                  <a:lnTo>
                    <a:pt x="1502" y="2504"/>
                  </a:lnTo>
                  <a:lnTo>
                    <a:pt x="1502" y="2507"/>
                  </a:lnTo>
                  <a:lnTo>
                    <a:pt x="1502" y="2513"/>
                  </a:lnTo>
                  <a:lnTo>
                    <a:pt x="1484" y="2520"/>
                  </a:lnTo>
                  <a:lnTo>
                    <a:pt x="1462" y="2520"/>
                  </a:lnTo>
                  <a:lnTo>
                    <a:pt x="1437" y="2513"/>
                  </a:lnTo>
                  <a:lnTo>
                    <a:pt x="1418" y="2507"/>
                  </a:lnTo>
                  <a:lnTo>
                    <a:pt x="1393" y="2492"/>
                  </a:lnTo>
                  <a:lnTo>
                    <a:pt x="1371" y="2470"/>
                  </a:lnTo>
                  <a:lnTo>
                    <a:pt x="1352" y="2448"/>
                  </a:lnTo>
                  <a:lnTo>
                    <a:pt x="1334" y="2432"/>
                  </a:lnTo>
                  <a:lnTo>
                    <a:pt x="1309" y="2410"/>
                  </a:lnTo>
                  <a:lnTo>
                    <a:pt x="1296" y="2389"/>
                  </a:lnTo>
                  <a:lnTo>
                    <a:pt x="1299" y="2373"/>
                  </a:lnTo>
                  <a:lnTo>
                    <a:pt x="1306" y="2354"/>
                  </a:lnTo>
                  <a:lnTo>
                    <a:pt x="1315" y="2335"/>
                  </a:lnTo>
                  <a:lnTo>
                    <a:pt x="1321" y="2317"/>
                  </a:lnTo>
                  <a:lnTo>
                    <a:pt x="1321" y="2301"/>
                  </a:lnTo>
                  <a:lnTo>
                    <a:pt x="1312" y="2289"/>
                  </a:lnTo>
                  <a:lnTo>
                    <a:pt x="1296" y="2282"/>
                  </a:lnTo>
                  <a:lnTo>
                    <a:pt x="1277" y="2276"/>
                  </a:lnTo>
                  <a:lnTo>
                    <a:pt x="1265" y="2267"/>
                  </a:lnTo>
                  <a:lnTo>
                    <a:pt x="1262" y="2261"/>
                  </a:lnTo>
                  <a:lnTo>
                    <a:pt x="1256" y="2251"/>
                  </a:lnTo>
                  <a:lnTo>
                    <a:pt x="1252" y="2242"/>
                  </a:lnTo>
                  <a:lnTo>
                    <a:pt x="1246" y="2232"/>
                  </a:lnTo>
                  <a:lnTo>
                    <a:pt x="1240" y="2223"/>
                  </a:lnTo>
                  <a:lnTo>
                    <a:pt x="1234" y="2217"/>
                  </a:lnTo>
                  <a:lnTo>
                    <a:pt x="1218" y="2214"/>
                  </a:lnTo>
                  <a:lnTo>
                    <a:pt x="1196" y="2217"/>
                  </a:lnTo>
                  <a:lnTo>
                    <a:pt x="1174" y="2223"/>
                  </a:lnTo>
                  <a:lnTo>
                    <a:pt x="1159" y="2232"/>
                  </a:lnTo>
                  <a:lnTo>
                    <a:pt x="1156" y="2245"/>
                  </a:lnTo>
                  <a:lnTo>
                    <a:pt x="1156" y="2264"/>
                  </a:lnTo>
                  <a:lnTo>
                    <a:pt x="1162" y="2285"/>
                  </a:lnTo>
                  <a:lnTo>
                    <a:pt x="1162" y="2304"/>
                  </a:lnTo>
                  <a:lnTo>
                    <a:pt x="1159" y="2317"/>
                  </a:lnTo>
                  <a:lnTo>
                    <a:pt x="1153" y="2320"/>
                  </a:lnTo>
                  <a:lnTo>
                    <a:pt x="1146" y="2323"/>
                  </a:lnTo>
                  <a:lnTo>
                    <a:pt x="1140" y="2323"/>
                  </a:lnTo>
                  <a:lnTo>
                    <a:pt x="1131" y="2320"/>
                  </a:lnTo>
                  <a:lnTo>
                    <a:pt x="1124" y="2320"/>
                  </a:lnTo>
                  <a:lnTo>
                    <a:pt x="1118" y="2317"/>
                  </a:lnTo>
                  <a:lnTo>
                    <a:pt x="1087" y="2307"/>
                  </a:lnTo>
                  <a:lnTo>
                    <a:pt x="1056" y="2295"/>
                  </a:lnTo>
                  <a:lnTo>
                    <a:pt x="1028" y="2279"/>
                  </a:lnTo>
                  <a:lnTo>
                    <a:pt x="1009" y="2267"/>
                  </a:lnTo>
                  <a:lnTo>
                    <a:pt x="990" y="2248"/>
                  </a:lnTo>
                  <a:lnTo>
                    <a:pt x="971" y="2226"/>
                  </a:lnTo>
                  <a:lnTo>
                    <a:pt x="959" y="2207"/>
                  </a:lnTo>
                  <a:lnTo>
                    <a:pt x="956" y="2195"/>
                  </a:lnTo>
                  <a:lnTo>
                    <a:pt x="959" y="2176"/>
                  </a:lnTo>
                  <a:lnTo>
                    <a:pt x="962" y="2157"/>
                  </a:lnTo>
                  <a:lnTo>
                    <a:pt x="959" y="2148"/>
                  </a:lnTo>
                  <a:lnTo>
                    <a:pt x="953" y="2142"/>
                  </a:lnTo>
                  <a:lnTo>
                    <a:pt x="943" y="2142"/>
                  </a:lnTo>
                  <a:lnTo>
                    <a:pt x="934" y="2142"/>
                  </a:lnTo>
                  <a:lnTo>
                    <a:pt x="925" y="2142"/>
                  </a:lnTo>
                  <a:lnTo>
                    <a:pt x="915" y="2145"/>
                  </a:lnTo>
                  <a:lnTo>
                    <a:pt x="909" y="2148"/>
                  </a:lnTo>
                  <a:lnTo>
                    <a:pt x="906" y="2157"/>
                  </a:lnTo>
                  <a:lnTo>
                    <a:pt x="903" y="2173"/>
                  </a:lnTo>
                  <a:lnTo>
                    <a:pt x="903" y="2192"/>
                  </a:lnTo>
                  <a:lnTo>
                    <a:pt x="900" y="2204"/>
                  </a:lnTo>
                  <a:lnTo>
                    <a:pt x="896" y="2207"/>
                  </a:lnTo>
                  <a:lnTo>
                    <a:pt x="887" y="2211"/>
                  </a:lnTo>
                  <a:lnTo>
                    <a:pt x="878" y="2211"/>
                  </a:lnTo>
                  <a:lnTo>
                    <a:pt x="871" y="2214"/>
                  </a:lnTo>
                  <a:lnTo>
                    <a:pt x="862" y="2217"/>
                  </a:lnTo>
                  <a:lnTo>
                    <a:pt x="856" y="2220"/>
                  </a:lnTo>
                  <a:lnTo>
                    <a:pt x="853" y="2226"/>
                  </a:lnTo>
                  <a:lnTo>
                    <a:pt x="846" y="2232"/>
                  </a:lnTo>
                  <a:lnTo>
                    <a:pt x="843" y="2239"/>
                  </a:lnTo>
                  <a:lnTo>
                    <a:pt x="840" y="2248"/>
                  </a:lnTo>
                  <a:lnTo>
                    <a:pt x="837" y="2254"/>
                  </a:lnTo>
                  <a:lnTo>
                    <a:pt x="840" y="2273"/>
                  </a:lnTo>
                  <a:lnTo>
                    <a:pt x="850" y="2295"/>
                  </a:lnTo>
                  <a:lnTo>
                    <a:pt x="856" y="2314"/>
                  </a:lnTo>
                  <a:lnTo>
                    <a:pt x="856" y="2335"/>
                  </a:lnTo>
                  <a:lnTo>
                    <a:pt x="853" y="2360"/>
                  </a:lnTo>
                  <a:lnTo>
                    <a:pt x="850" y="2382"/>
                  </a:lnTo>
                  <a:lnTo>
                    <a:pt x="846" y="2389"/>
                  </a:lnTo>
                  <a:lnTo>
                    <a:pt x="840" y="2398"/>
                  </a:lnTo>
                  <a:lnTo>
                    <a:pt x="834" y="2404"/>
                  </a:lnTo>
                  <a:lnTo>
                    <a:pt x="828" y="2410"/>
                  </a:lnTo>
                  <a:lnTo>
                    <a:pt x="822" y="2414"/>
                  </a:lnTo>
                  <a:lnTo>
                    <a:pt x="803" y="2417"/>
                  </a:lnTo>
                  <a:lnTo>
                    <a:pt x="778" y="2410"/>
                  </a:lnTo>
                  <a:lnTo>
                    <a:pt x="753" y="2407"/>
                  </a:lnTo>
                  <a:lnTo>
                    <a:pt x="731" y="2407"/>
                  </a:lnTo>
                  <a:lnTo>
                    <a:pt x="715" y="2417"/>
                  </a:lnTo>
                  <a:lnTo>
                    <a:pt x="700" y="2429"/>
                  </a:lnTo>
                  <a:lnTo>
                    <a:pt x="684" y="2442"/>
                  </a:lnTo>
                  <a:lnTo>
                    <a:pt x="669" y="2445"/>
                  </a:lnTo>
                  <a:lnTo>
                    <a:pt x="659" y="2442"/>
                  </a:lnTo>
                  <a:lnTo>
                    <a:pt x="650" y="2435"/>
                  </a:lnTo>
                  <a:lnTo>
                    <a:pt x="644" y="2426"/>
                  </a:lnTo>
                  <a:lnTo>
                    <a:pt x="634" y="2414"/>
                  </a:lnTo>
                  <a:lnTo>
                    <a:pt x="628" y="2407"/>
                  </a:lnTo>
                  <a:lnTo>
                    <a:pt x="619" y="2401"/>
                  </a:lnTo>
                  <a:lnTo>
                    <a:pt x="606" y="2395"/>
                  </a:lnTo>
                  <a:lnTo>
                    <a:pt x="587" y="2392"/>
                  </a:lnTo>
                  <a:lnTo>
                    <a:pt x="569" y="2389"/>
                  </a:lnTo>
                  <a:lnTo>
                    <a:pt x="559" y="2382"/>
                  </a:lnTo>
                  <a:lnTo>
                    <a:pt x="556" y="2364"/>
                  </a:lnTo>
                  <a:lnTo>
                    <a:pt x="559" y="2339"/>
                  </a:lnTo>
                  <a:lnTo>
                    <a:pt x="569" y="2317"/>
                  </a:lnTo>
                  <a:lnTo>
                    <a:pt x="578" y="2298"/>
                  </a:lnTo>
                  <a:lnTo>
                    <a:pt x="590" y="2289"/>
                  </a:lnTo>
                  <a:lnTo>
                    <a:pt x="609" y="2279"/>
                  </a:lnTo>
                  <a:lnTo>
                    <a:pt x="625" y="2270"/>
                  </a:lnTo>
                  <a:lnTo>
                    <a:pt x="634" y="2261"/>
                  </a:lnTo>
                  <a:lnTo>
                    <a:pt x="634" y="2239"/>
                  </a:lnTo>
                  <a:lnTo>
                    <a:pt x="628" y="2214"/>
                  </a:lnTo>
                  <a:lnTo>
                    <a:pt x="615" y="2189"/>
                  </a:lnTo>
                  <a:lnTo>
                    <a:pt x="603" y="2170"/>
                  </a:lnTo>
                  <a:lnTo>
                    <a:pt x="590" y="2154"/>
                  </a:lnTo>
                  <a:lnTo>
                    <a:pt x="572" y="2139"/>
                  </a:lnTo>
                  <a:lnTo>
                    <a:pt x="553" y="2126"/>
                  </a:lnTo>
                  <a:lnTo>
                    <a:pt x="534" y="2120"/>
                  </a:lnTo>
                  <a:lnTo>
                    <a:pt x="522" y="2120"/>
                  </a:lnTo>
                  <a:lnTo>
                    <a:pt x="503" y="2129"/>
                  </a:lnTo>
                  <a:lnTo>
                    <a:pt x="484" y="2139"/>
                  </a:lnTo>
                  <a:lnTo>
                    <a:pt x="472" y="2139"/>
                  </a:lnTo>
                  <a:lnTo>
                    <a:pt x="466" y="2136"/>
                  </a:lnTo>
                  <a:lnTo>
                    <a:pt x="462" y="2129"/>
                  </a:lnTo>
                  <a:lnTo>
                    <a:pt x="459" y="2123"/>
                  </a:lnTo>
                  <a:lnTo>
                    <a:pt x="456" y="2120"/>
                  </a:lnTo>
                  <a:lnTo>
                    <a:pt x="444" y="2101"/>
                  </a:lnTo>
                  <a:lnTo>
                    <a:pt x="425" y="2079"/>
                  </a:lnTo>
                  <a:lnTo>
                    <a:pt x="412" y="2058"/>
                  </a:lnTo>
                  <a:lnTo>
                    <a:pt x="403" y="2039"/>
                  </a:lnTo>
                  <a:lnTo>
                    <a:pt x="409" y="2020"/>
                  </a:lnTo>
                  <a:lnTo>
                    <a:pt x="416" y="1998"/>
                  </a:lnTo>
                  <a:lnTo>
                    <a:pt x="419" y="1979"/>
                  </a:lnTo>
                  <a:lnTo>
                    <a:pt x="412" y="1954"/>
                  </a:lnTo>
                  <a:lnTo>
                    <a:pt x="400" y="1926"/>
                  </a:lnTo>
                  <a:lnTo>
                    <a:pt x="387" y="1908"/>
                  </a:lnTo>
                  <a:lnTo>
                    <a:pt x="362" y="1892"/>
                  </a:lnTo>
                  <a:lnTo>
                    <a:pt x="331" y="1880"/>
                  </a:lnTo>
                  <a:lnTo>
                    <a:pt x="303" y="1873"/>
                  </a:lnTo>
                  <a:lnTo>
                    <a:pt x="281" y="1873"/>
                  </a:lnTo>
                  <a:lnTo>
                    <a:pt x="256" y="1873"/>
                  </a:lnTo>
                  <a:lnTo>
                    <a:pt x="234" y="1876"/>
                  </a:lnTo>
                  <a:lnTo>
                    <a:pt x="213" y="1873"/>
                  </a:lnTo>
                  <a:lnTo>
                    <a:pt x="197" y="1864"/>
                  </a:lnTo>
                  <a:lnTo>
                    <a:pt x="175" y="1848"/>
                  </a:lnTo>
                  <a:lnTo>
                    <a:pt x="160" y="1839"/>
                  </a:lnTo>
                  <a:lnTo>
                    <a:pt x="138" y="1839"/>
                  </a:lnTo>
                  <a:lnTo>
                    <a:pt x="110" y="1842"/>
                  </a:lnTo>
                  <a:lnTo>
                    <a:pt x="88" y="1839"/>
                  </a:lnTo>
                  <a:lnTo>
                    <a:pt x="72" y="1833"/>
                  </a:lnTo>
                  <a:lnTo>
                    <a:pt x="53" y="1823"/>
                  </a:lnTo>
                  <a:lnTo>
                    <a:pt x="38" y="1811"/>
                  </a:lnTo>
                  <a:lnTo>
                    <a:pt x="31" y="1798"/>
                  </a:lnTo>
                  <a:lnTo>
                    <a:pt x="38" y="1783"/>
                  </a:lnTo>
                  <a:lnTo>
                    <a:pt x="53" y="1764"/>
                  </a:lnTo>
                  <a:lnTo>
                    <a:pt x="72" y="1745"/>
                  </a:lnTo>
                  <a:lnTo>
                    <a:pt x="94" y="1730"/>
                  </a:lnTo>
                  <a:lnTo>
                    <a:pt x="113" y="1720"/>
                  </a:lnTo>
                  <a:lnTo>
                    <a:pt x="144" y="1711"/>
                  </a:lnTo>
                  <a:lnTo>
                    <a:pt x="184" y="1705"/>
                  </a:lnTo>
                  <a:lnTo>
                    <a:pt x="228" y="1702"/>
                  </a:lnTo>
                  <a:lnTo>
                    <a:pt x="272" y="1698"/>
                  </a:lnTo>
                  <a:lnTo>
                    <a:pt x="306" y="1698"/>
                  </a:lnTo>
                  <a:lnTo>
                    <a:pt x="328" y="1695"/>
                  </a:lnTo>
                  <a:lnTo>
                    <a:pt x="353" y="1695"/>
                  </a:lnTo>
                  <a:lnTo>
                    <a:pt x="375" y="1698"/>
                  </a:lnTo>
                  <a:lnTo>
                    <a:pt x="409" y="1698"/>
                  </a:lnTo>
                  <a:lnTo>
                    <a:pt x="450" y="1705"/>
                  </a:lnTo>
                  <a:lnTo>
                    <a:pt x="491" y="1708"/>
                  </a:lnTo>
                  <a:lnTo>
                    <a:pt x="525" y="1705"/>
                  </a:lnTo>
                  <a:lnTo>
                    <a:pt x="544" y="1698"/>
                  </a:lnTo>
                  <a:lnTo>
                    <a:pt x="565" y="1686"/>
                  </a:lnTo>
                  <a:lnTo>
                    <a:pt x="584" y="1673"/>
                  </a:lnTo>
                  <a:lnTo>
                    <a:pt x="603" y="1670"/>
                  </a:lnTo>
                  <a:lnTo>
                    <a:pt x="622" y="1673"/>
                  </a:lnTo>
                  <a:lnTo>
                    <a:pt x="644" y="1680"/>
                  </a:lnTo>
                  <a:lnTo>
                    <a:pt x="665" y="1689"/>
                  </a:lnTo>
                  <a:lnTo>
                    <a:pt x="687" y="1695"/>
                  </a:lnTo>
                  <a:lnTo>
                    <a:pt x="703" y="1695"/>
                  </a:lnTo>
                  <a:lnTo>
                    <a:pt x="725" y="1695"/>
                  </a:lnTo>
                  <a:lnTo>
                    <a:pt x="740" y="1689"/>
                  </a:lnTo>
                  <a:lnTo>
                    <a:pt x="750" y="1673"/>
                  </a:lnTo>
                  <a:lnTo>
                    <a:pt x="753" y="1648"/>
                  </a:lnTo>
                  <a:lnTo>
                    <a:pt x="753" y="1623"/>
                  </a:lnTo>
                  <a:lnTo>
                    <a:pt x="753" y="1599"/>
                  </a:lnTo>
                  <a:lnTo>
                    <a:pt x="750" y="1577"/>
                  </a:lnTo>
                  <a:lnTo>
                    <a:pt x="750" y="1549"/>
                  </a:lnTo>
                  <a:lnTo>
                    <a:pt x="747" y="1511"/>
                  </a:lnTo>
                  <a:lnTo>
                    <a:pt x="740" y="1480"/>
                  </a:lnTo>
                  <a:lnTo>
                    <a:pt x="728" y="1455"/>
                  </a:lnTo>
                  <a:lnTo>
                    <a:pt x="712" y="1446"/>
                  </a:lnTo>
                  <a:lnTo>
                    <a:pt x="690" y="1439"/>
                  </a:lnTo>
                  <a:lnTo>
                    <a:pt x="665" y="1436"/>
                  </a:lnTo>
                  <a:lnTo>
                    <a:pt x="644" y="1433"/>
                  </a:lnTo>
                  <a:lnTo>
                    <a:pt x="628" y="1427"/>
                  </a:lnTo>
                  <a:lnTo>
                    <a:pt x="606" y="1405"/>
                  </a:lnTo>
                  <a:lnTo>
                    <a:pt x="587" y="1380"/>
                  </a:lnTo>
                  <a:lnTo>
                    <a:pt x="569" y="1361"/>
                  </a:lnTo>
                  <a:lnTo>
                    <a:pt x="550" y="1352"/>
                  </a:lnTo>
                  <a:lnTo>
                    <a:pt x="528" y="1346"/>
                  </a:lnTo>
                  <a:lnTo>
                    <a:pt x="509" y="1346"/>
                  </a:lnTo>
                  <a:lnTo>
                    <a:pt x="494" y="1342"/>
                  </a:lnTo>
                  <a:lnTo>
                    <a:pt x="475" y="1346"/>
                  </a:lnTo>
                  <a:lnTo>
                    <a:pt x="456" y="1349"/>
                  </a:lnTo>
                  <a:lnTo>
                    <a:pt x="447" y="1355"/>
                  </a:lnTo>
                  <a:lnTo>
                    <a:pt x="444" y="1361"/>
                  </a:lnTo>
                  <a:lnTo>
                    <a:pt x="444" y="1367"/>
                  </a:lnTo>
                  <a:lnTo>
                    <a:pt x="444" y="1374"/>
                  </a:lnTo>
                  <a:lnTo>
                    <a:pt x="447" y="1383"/>
                  </a:lnTo>
                  <a:lnTo>
                    <a:pt x="447" y="1389"/>
                  </a:lnTo>
                  <a:lnTo>
                    <a:pt x="450" y="1399"/>
                  </a:lnTo>
                  <a:lnTo>
                    <a:pt x="447" y="1402"/>
                  </a:lnTo>
                  <a:lnTo>
                    <a:pt x="441" y="1427"/>
                  </a:lnTo>
                  <a:lnTo>
                    <a:pt x="425" y="1452"/>
                  </a:lnTo>
                  <a:lnTo>
                    <a:pt x="409" y="1474"/>
                  </a:lnTo>
                  <a:lnTo>
                    <a:pt x="397" y="1483"/>
                  </a:lnTo>
                  <a:lnTo>
                    <a:pt x="381" y="1492"/>
                  </a:lnTo>
                  <a:lnTo>
                    <a:pt x="362" y="1499"/>
                  </a:lnTo>
                  <a:lnTo>
                    <a:pt x="347" y="1502"/>
                  </a:lnTo>
                  <a:lnTo>
                    <a:pt x="337" y="1489"/>
                  </a:lnTo>
                  <a:lnTo>
                    <a:pt x="331" y="1474"/>
                  </a:lnTo>
                  <a:lnTo>
                    <a:pt x="325" y="1455"/>
                  </a:lnTo>
                  <a:lnTo>
                    <a:pt x="319" y="1439"/>
                  </a:lnTo>
                  <a:lnTo>
                    <a:pt x="319" y="1417"/>
                  </a:lnTo>
                  <a:lnTo>
                    <a:pt x="316" y="1392"/>
                  </a:lnTo>
                  <a:lnTo>
                    <a:pt x="319" y="1374"/>
                  </a:lnTo>
                  <a:lnTo>
                    <a:pt x="325" y="1367"/>
                  </a:lnTo>
                  <a:lnTo>
                    <a:pt x="334" y="1361"/>
                  </a:lnTo>
                  <a:lnTo>
                    <a:pt x="344" y="1355"/>
                  </a:lnTo>
                  <a:lnTo>
                    <a:pt x="350" y="1349"/>
                  </a:lnTo>
                  <a:lnTo>
                    <a:pt x="359" y="1342"/>
                  </a:lnTo>
                  <a:lnTo>
                    <a:pt x="362" y="1333"/>
                  </a:lnTo>
                  <a:lnTo>
                    <a:pt x="359" y="1327"/>
                  </a:lnTo>
                  <a:lnTo>
                    <a:pt x="356" y="1321"/>
                  </a:lnTo>
                  <a:lnTo>
                    <a:pt x="350" y="1311"/>
                  </a:lnTo>
                  <a:lnTo>
                    <a:pt x="344" y="1305"/>
                  </a:lnTo>
                  <a:lnTo>
                    <a:pt x="337" y="1302"/>
                  </a:lnTo>
                  <a:lnTo>
                    <a:pt x="331" y="1299"/>
                  </a:lnTo>
                  <a:lnTo>
                    <a:pt x="325" y="1299"/>
                  </a:lnTo>
                  <a:lnTo>
                    <a:pt x="316" y="1299"/>
                  </a:lnTo>
                  <a:lnTo>
                    <a:pt x="306" y="1302"/>
                  </a:lnTo>
                  <a:lnTo>
                    <a:pt x="297" y="1302"/>
                  </a:lnTo>
                  <a:lnTo>
                    <a:pt x="291" y="1299"/>
                  </a:lnTo>
                  <a:lnTo>
                    <a:pt x="288" y="1293"/>
                  </a:lnTo>
                  <a:lnTo>
                    <a:pt x="284" y="1286"/>
                  </a:lnTo>
                  <a:lnTo>
                    <a:pt x="281" y="1277"/>
                  </a:lnTo>
                  <a:lnTo>
                    <a:pt x="278" y="1268"/>
                  </a:lnTo>
                  <a:lnTo>
                    <a:pt x="278" y="1258"/>
                  </a:lnTo>
                  <a:lnTo>
                    <a:pt x="278" y="1252"/>
                  </a:lnTo>
                  <a:lnTo>
                    <a:pt x="284" y="1246"/>
                  </a:lnTo>
                  <a:lnTo>
                    <a:pt x="291" y="1239"/>
                  </a:lnTo>
                  <a:lnTo>
                    <a:pt x="303" y="1233"/>
                  </a:lnTo>
                  <a:lnTo>
                    <a:pt x="313" y="1227"/>
                  </a:lnTo>
                  <a:lnTo>
                    <a:pt x="319" y="1221"/>
                  </a:lnTo>
                  <a:lnTo>
                    <a:pt x="325" y="1214"/>
                  </a:lnTo>
                  <a:lnTo>
                    <a:pt x="328" y="1199"/>
                  </a:lnTo>
                  <a:lnTo>
                    <a:pt x="325" y="1180"/>
                  </a:lnTo>
                  <a:lnTo>
                    <a:pt x="322" y="1161"/>
                  </a:lnTo>
                  <a:lnTo>
                    <a:pt x="322" y="1149"/>
                  </a:lnTo>
                  <a:lnTo>
                    <a:pt x="325" y="1139"/>
                  </a:lnTo>
                  <a:lnTo>
                    <a:pt x="331" y="1127"/>
                  </a:lnTo>
                  <a:lnTo>
                    <a:pt x="337" y="1118"/>
                  </a:lnTo>
                  <a:lnTo>
                    <a:pt x="344" y="1108"/>
                  </a:lnTo>
                  <a:lnTo>
                    <a:pt x="350" y="1105"/>
                  </a:lnTo>
                  <a:lnTo>
                    <a:pt x="359" y="1105"/>
                  </a:lnTo>
                  <a:lnTo>
                    <a:pt x="366" y="1108"/>
                  </a:lnTo>
                  <a:lnTo>
                    <a:pt x="375" y="1111"/>
                  </a:lnTo>
                  <a:lnTo>
                    <a:pt x="384" y="1118"/>
                  </a:lnTo>
                  <a:lnTo>
                    <a:pt x="391" y="1127"/>
                  </a:lnTo>
                  <a:lnTo>
                    <a:pt x="397" y="1130"/>
                  </a:lnTo>
                  <a:lnTo>
                    <a:pt x="400" y="1136"/>
                  </a:lnTo>
                  <a:lnTo>
                    <a:pt x="406" y="1146"/>
                  </a:lnTo>
                  <a:lnTo>
                    <a:pt x="409" y="1155"/>
                  </a:lnTo>
                  <a:lnTo>
                    <a:pt x="412" y="1164"/>
                  </a:lnTo>
                  <a:lnTo>
                    <a:pt x="409" y="1171"/>
                  </a:lnTo>
                  <a:lnTo>
                    <a:pt x="409" y="1177"/>
                  </a:lnTo>
                  <a:lnTo>
                    <a:pt x="406" y="1186"/>
                  </a:lnTo>
                  <a:lnTo>
                    <a:pt x="403" y="1193"/>
                  </a:lnTo>
                  <a:lnTo>
                    <a:pt x="403" y="1199"/>
                  </a:lnTo>
                  <a:lnTo>
                    <a:pt x="406" y="1208"/>
                  </a:lnTo>
                  <a:lnTo>
                    <a:pt x="412" y="1218"/>
                  </a:lnTo>
                  <a:lnTo>
                    <a:pt x="419" y="1224"/>
                  </a:lnTo>
                  <a:lnTo>
                    <a:pt x="425" y="1233"/>
                  </a:lnTo>
                  <a:lnTo>
                    <a:pt x="431" y="1236"/>
                  </a:lnTo>
                  <a:lnTo>
                    <a:pt x="447" y="1236"/>
                  </a:lnTo>
                  <a:lnTo>
                    <a:pt x="462" y="1233"/>
                  </a:lnTo>
                  <a:lnTo>
                    <a:pt x="478" y="1230"/>
                  </a:lnTo>
                  <a:lnTo>
                    <a:pt x="494" y="1227"/>
                  </a:lnTo>
                  <a:lnTo>
                    <a:pt x="519" y="1233"/>
                  </a:lnTo>
                  <a:lnTo>
                    <a:pt x="547" y="1246"/>
                  </a:lnTo>
                  <a:lnTo>
                    <a:pt x="569" y="1252"/>
                  </a:lnTo>
                  <a:lnTo>
                    <a:pt x="590" y="1252"/>
                  </a:lnTo>
                  <a:lnTo>
                    <a:pt x="612" y="1252"/>
                  </a:lnTo>
                  <a:lnTo>
                    <a:pt x="631" y="1252"/>
                  </a:lnTo>
                  <a:lnTo>
                    <a:pt x="650" y="1255"/>
                  </a:lnTo>
                  <a:lnTo>
                    <a:pt x="669" y="1261"/>
                  </a:lnTo>
                  <a:lnTo>
                    <a:pt x="687" y="1268"/>
                  </a:lnTo>
                  <a:lnTo>
                    <a:pt x="715" y="1271"/>
                  </a:lnTo>
                  <a:lnTo>
                    <a:pt x="750" y="1271"/>
                  </a:lnTo>
                  <a:lnTo>
                    <a:pt x="787" y="1274"/>
                  </a:lnTo>
                  <a:lnTo>
                    <a:pt x="815" y="1274"/>
                  </a:lnTo>
                  <a:lnTo>
                    <a:pt x="837" y="1274"/>
                  </a:lnTo>
                  <a:lnTo>
                    <a:pt x="862" y="1280"/>
                  </a:lnTo>
                  <a:lnTo>
                    <a:pt x="887" y="1280"/>
                  </a:lnTo>
                  <a:lnTo>
                    <a:pt x="912" y="1280"/>
                  </a:lnTo>
                  <a:lnTo>
                    <a:pt x="928" y="1271"/>
                  </a:lnTo>
                  <a:lnTo>
                    <a:pt x="928" y="1264"/>
                  </a:lnTo>
                  <a:lnTo>
                    <a:pt x="928" y="1258"/>
                  </a:lnTo>
                  <a:lnTo>
                    <a:pt x="928" y="1249"/>
                  </a:lnTo>
                  <a:lnTo>
                    <a:pt x="921" y="1239"/>
                  </a:lnTo>
                  <a:lnTo>
                    <a:pt x="918" y="1230"/>
                  </a:lnTo>
                  <a:lnTo>
                    <a:pt x="915" y="1224"/>
                  </a:lnTo>
                  <a:lnTo>
                    <a:pt x="900" y="1214"/>
                  </a:lnTo>
                  <a:lnTo>
                    <a:pt x="881" y="1205"/>
                  </a:lnTo>
                  <a:lnTo>
                    <a:pt x="862" y="1199"/>
                  </a:lnTo>
                  <a:lnTo>
                    <a:pt x="843" y="1196"/>
                  </a:lnTo>
                  <a:lnTo>
                    <a:pt x="825" y="1193"/>
                  </a:lnTo>
                  <a:lnTo>
                    <a:pt x="803" y="1193"/>
                  </a:lnTo>
                  <a:lnTo>
                    <a:pt x="787" y="1186"/>
                  </a:lnTo>
                  <a:lnTo>
                    <a:pt x="784" y="1180"/>
                  </a:lnTo>
                  <a:lnTo>
                    <a:pt x="778" y="1174"/>
                  </a:lnTo>
                  <a:lnTo>
                    <a:pt x="772" y="1164"/>
                  </a:lnTo>
                  <a:lnTo>
                    <a:pt x="768" y="1155"/>
                  </a:lnTo>
                  <a:lnTo>
                    <a:pt x="762" y="1149"/>
                  </a:lnTo>
                  <a:lnTo>
                    <a:pt x="743" y="1136"/>
                  </a:lnTo>
                  <a:lnTo>
                    <a:pt x="725" y="1124"/>
                  </a:lnTo>
                  <a:lnTo>
                    <a:pt x="703" y="1121"/>
                  </a:lnTo>
                  <a:lnTo>
                    <a:pt x="697" y="1121"/>
                  </a:lnTo>
                  <a:lnTo>
                    <a:pt x="684" y="1124"/>
                  </a:lnTo>
                  <a:lnTo>
                    <a:pt x="675" y="1127"/>
                  </a:lnTo>
                  <a:lnTo>
                    <a:pt x="665" y="1133"/>
                  </a:lnTo>
                  <a:lnTo>
                    <a:pt x="656" y="1136"/>
                  </a:lnTo>
                  <a:lnTo>
                    <a:pt x="631" y="1139"/>
                  </a:lnTo>
                  <a:lnTo>
                    <a:pt x="600" y="1143"/>
                  </a:lnTo>
                  <a:lnTo>
                    <a:pt x="575" y="1143"/>
                  </a:lnTo>
                  <a:lnTo>
                    <a:pt x="556" y="1136"/>
                  </a:lnTo>
                  <a:lnTo>
                    <a:pt x="537" y="1127"/>
                  </a:lnTo>
                  <a:lnTo>
                    <a:pt x="525" y="1115"/>
                  </a:lnTo>
                  <a:lnTo>
                    <a:pt x="522" y="1108"/>
                  </a:lnTo>
                  <a:lnTo>
                    <a:pt x="525" y="1099"/>
                  </a:lnTo>
                  <a:lnTo>
                    <a:pt x="525" y="1090"/>
                  </a:lnTo>
                  <a:lnTo>
                    <a:pt x="528" y="1083"/>
                  </a:lnTo>
                  <a:lnTo>
                    <a:pt x="534" y="1074"/>
                  </a:lnTo>
                  <a:lnTo>
                    <a:pt x="537" y="1071"/>
                  </a:lnTo>
                  <a:lnTo>
                    <a:pt x="544" y="1068"/>
                  </a:lnTo>
                  <a:lnTo>
                    <a:pt x="550" y="1068"/>
                  </a:lnTo>
                  <a:lnTo>
                    <a:pt x="559" y="1068"/>
                  </a:lnTo>
                  <a:lnTo>
                    <a:pt x="565" y="1071"/>
                  </a:lnTo>
                  <a:lnTo>
                    <a:pt x="575" y="1071"/>
                  </a:lnTo>
                  <a:lnTo>
                    <a:pt x="581" y="1071"/>
                  </a:lnTo>
                  <a:lnTo>
                    <a:pt x="597" y="1061"/>
                  </a:lnTo>
                  <a:lnTo>
                    <a:pt x="640" y="1036"/>
                  </a:lnTo>
                  <a:lnTo>
                    <a:pt x="659" y="1030"/>
                  </a:lnTo>
                  <a:lnTo>
                    <a:pt x="678" y="1030"/>
                  </a:lnTo>
                  <a:lnTo>
                    <a:pt x="700" y="1030"/>
                  </a:lnTo>
                  <a:lnTo>
                    <a:pt x="718" y="1030"/>
                  </a:lnTo>
                  <a:lnTo>
                    <a:pt x="747" y="1021"/>
                  </a:lnTo>
                  <a:lnTo>
                    <a:pt x="778" y="1005"/>
                  </a:lnTo>
                  <a:lnTo>
                    <a:pt x="800" y="986"/>
                  </a:lnTo>
                  <a:lnTo>
                    <a:pt x="800" y="980"/>
                  </a:lnTo>
                  <a:lnTo>
                    <a:pt x="803" y="974"/>
                  </a:lnTo>
                  <a:lnTo>
                    <a:pt x="803" y="965"/>
                  </a:lnTo>
                  <a:lnTo>
                    <a:pt x="803" y="958"/>
                  </a:lnTo>
                  <a:lnTo>
                    <a:pt x="800" y="949"/>
                  </a:lnTo>
                  <a:lnTo>
                    <a:pt x="800" y="946"/>
                  </a:lnTo>
                  <a:lnTo>
                    <a:pt x="784" y="940"/>
                  </a:lnTo>
                  <a:lnTo>
                    <a:pt x="765" y="940"/>
                  </a:lnTo>
                  <a:lnTo>
                    <a:pt x="747" y="940"/>
                  </a:lnTo>
                  <a:lnTo>
                    <a:pt x="731" y="946"/>
                  </a:lnTo>
                  <a:lnTo>
                    <a:pt x="725" y="949"/>
                  </a:lnTo>
                  <a:lnTo>
                    <a:pt x="722" y="955"/>
                  </a:lnTo>
                  <a:lnTo>
                    <a:pt x="715" y="962"/>
                  </a:lnTo>
                  <a:lnTo>
                    <a:pt x="712" y="968"/>
                  </a:lnTo>
                  <a:lnTo>
                    <a:pt x="693" y="971"/>
                  </a:lnTo>
                  <a:lnTo>
                    <a:pt x="672" y="971"/>
                  </a:lnTo>
                  <a:lnTo>
                    <a:pt x="650" y="971"/>
                  </a:lnTo>
                  <a:lnTo>
                    <a:pt x="631" y="971"/>
                  </a:lnTo>
                  <a:lnTo>
                    <a:pt x="612" y="971"/>
                  </a:lnTo>
                  <a:lnTo>
                    <a:pt x="590" y="974"/>
                  </a:lnTo>
                  <a:lnTo>
                    <a:pt x="569" y="977"/>
                  </a:lnTo>
                  <a:lnTo>
                    <a:pt x="547" y="986"/>
                  </a:lnTo>
                  <a:lnTo>
                    <a:pt x="522" y="996"/>
                  </a:lnTo>
                  <a:lnTo>
                    <a:pt x="500" y="1005"/>
                  </a:lnTo>
                  <a:lnTo>
                    <a:pt x="494" y="1008"/>
                  </a:lnTo>
                  <a:lnTo>
                    <a:pt x="481" y="1011"/>
                  </a:lnTo>
                  <a:lnTo>
                    <a:pt x="472" y="1015"/>
                  </a:lnTo>
                  <a:lnTo>
                    <a:pt x="462" y="1021"/>
                  </a:lnTo>
                  <a:lnTo>
                    <a:pt x="453" y="1021"/>
                  </a:lnTo>
                  <a:lnTo>
                    <a:pt x="422" y="1024"/>
                  </a:lnTo>
                  <a:lnTo>
                    <a:pt x="387" y="1024"/>
                  </a:lnTo>
                  <a:lnTo>
                    <a:pt x="356" y="1027"/>
                  </a:lnTo>
                  <a:lnTo>
                    <a:pt x="350" y="1030"/>
                  </a:lnTo>
                  <a:lnTo>
                    <a:pt x="341" y="1033"/>
                  </a:lnTo>
                  <a:lnTo>
                    <a:pt x="331" y="1036"/>
                  </a:lnTo>
                  <a:lnTo>
                    <a:pt x="325" y="1043"/>
                  </a:lnTo>
                  <a:lnTo>
                    <a:pt x="316" y="1046"/>
                  </a:lnTo>
                  <a:lnTo>
                    <a:pt x="297" y="1055"/>
                  </a:lnTo>
                  <a:lnTo>
                    <a:pt x="272" y="1065"/>
                  </a:lnTo>
                  <a:lnTo>
                    <a:pt x="250" y="1071"/>
                  </a:lnTo>
                  <a:lnTo>
                    <a:pt x="228" y="1065"/>
                  </a:lnTo>
                  <a:lnTo>
                    <a:pt x="200" y="1055"/>
                  </a:lnTo>
                  <a:lnTo>
                    <a:pt x="178" y="1049"/>
                  </a:lnTo>
                  <a:lnTo>
                    <a:pt x="169" y="1049"/>
                  </a:lnTo>
                  <a:lnTo>
                    <a:pt x="160" y="1049"/>
                  </a:lnTo>
                  <a:lnTo>
                    <a:pt x="150" y="1049"/>
                  </a:lnTo>
                  <a:lnTo>
                    <a:pt x="141" y="1049"/>
                  </a:lnTo>
                  <a:lnTo>
                    <a:pt x="135" y="1049"/>
                  </a:lnTo>
                  <a:lnTo>
                    <a:pt x="128" y="1052"/>
                  </a:lnTo>
                  <a:lnTo>
                    <a:pt x="119" y="1065"/>
                  </a:lnTo>
                  <a:lnTo>
                    <a:pt x="116" y="1080"/>
                  </a:lnTo>
                  <a:lnTo>
                    <a:pt x="110" y="1096"/>
                  </a:lnTo>
                  <a:lnTo>
                    <a:pt x="103" y="1105"/>
                  </a:lnTo>
                  <a:lnTo>
                    <a:pt x="88" y="1111"/>
                  </a:lnTo>
                  <a:lnTo>
                    <a:pt x="66" y="1115"/>
                  </a:lnTo>
                  <a:lnTo>
                    <a:pt x="47" y="1115"/>
                  </a:lnTo>
                  <a:lnTo>
                    <a:pt x="31" y="1108"/>
                  </a:lnTo>
                  <a:lnTo>
                    <a:pt x="25" y="1102"/>
                  </a:lnTo>
                  <a:lnTo>
                    <a:pt x="22" y="1096"/>
                  </a:lnTo>
                  <a:lnTo>
                    <a:pt x="19" y="1086"/>
                  </a:lnTo>
                  <a:lnTo>
                    <a:pt x="16" y="1077"/>
                  </a:lnTo>
                  <a:lnTo>
                    <a:pt x="13" y="1068"/>
                  </a:lnTo>
                  <a:lnTo>
                    <a:pt x="13" y="1061"/>
                  </a:lnTo>
                  <a:lnTo>
                    <a:pt x="6" y="1024"/>
                  </a:lnTo>
                  <a:lnTo>
                    <a:pt x="0" y="980"/>
                  </a:lnTo>
                  <a:lnTo>
                    <a:pt x="0" y="946"/>
                  </a:lnTo>
                  <a:lnTo>
                    <a:pt x="3" y="921"/>
                  </a:lnTo>
                  <a:lnTo>
                    <a:pt x="10" y="890"/>
                  </a:lnTo>
                  <a:lnTo>
                    <a:pt x="19" y="868"/>
                  </a:lnTo>
                  <a:lnTo>
                    <a:pt x="25" y="862"/>
                  </a:lnTo>
                  <a:lnTo>
                    <a:pt x="35" y="855"/>
                  </a:lnTo>
                  <a:lnTo>
                    <a:pt x="44" y="849"/>
                  </a:lnTo>
                  <a:lnTo>
                    <a:pt x="53" y="843"/>
                  </a:lnTo>
                  <a:lnTo>
                    <a:pt x="63" y="840"/>
                  </a:lnTo>
                  <a:lnTo>
                    <a:pt x="69" y="833"/>
                  </a:lnTo>
                  <a:lnTo>
                    <a:pt x="69" y="824"/>
                  </a:lnTo>
                  <a:lnTo>
                    <a:pt x="72" y="815"/>
                  </a:lnTo>
                  <a:lnTo>
                    <a:pt x="72" y="805"/>
                  </a:lnTo>
                  <a:lnTo>
                    <a:pt x="72" y="796"/>
                  </a:lnTo>
                  <a:lnTo>
                    <a:pt x="69" y="787"/>
                  </a:lnTo>
                  <a:lnTo>
                    <a:pt x="63" y="768"/>
                  </a:lnTo>
                  <a:lnTo>
                    <a:pt x="53" y="746"/>
                  </a:lnTo>
                  <a:lnTo>
                    <a:pt x="47" y="727"/>
                  </a:lnTo>
                  <a:lnTo>
                    <a:pt x="53" y="705"/>
                  </a:lnTo>
                  <a:lnTo>
                    <a:pt x="66" y="677"/>
                  </a:lnTo>
                  <a:lnTo>
                    <a:pt x="81" y="649"/>
                  </a:lnTo>
                  <a:lnTo>
                    <a:pt x="91" y="627"/>
                  </a:lnTo>
                  <a:lnTo>
                    <a:pt x="97" y="609"/>
                  </a:lnTo>
                  <a:lnTo>
                    <a:pt x="100" y="587"/>
                  </a:lnTo>
                  <a:lnTo>
                    <a:pt x="110" y="571"/>
                  </a:lnTo>
                  <a:lnTo>
                    <a:pt x="128" y="568"/>
                  </a:lnTo>
                  <a:lnTo>
                    <a:pt x="153" y="568"/>
                  </a:lnTo>
                  <a:lnTo>
                    <a:pt x="178" y="571"/>
                  </a:lnTo>
                  <a:lnTo>
                    <a:pt x="200" y="571"/>
                  </a:lnTo>
                  <a:lnTo>
                    <a:pt x="206" y="568"/>
                  </a:lnTo>
                  <a:lnTo>
                    <a:pt x="216" y="562"/>
                  </a:lnTo>
                  <a:lnTo>
                    <a:pt x="222" y="556"/>
                  </a:lnTo>
                  <a:lnTo>
                    <a:pt x="231" y="552"/>
                  </a:lnTo>
                  <a:lnTo>
                    <a:pt x="238" y="549"/>
                  </a:lnTo>
                  <a:lnTo>
                    <a:pt x="256" y="549"/>
                  </a:lnTo>
                  <a:lnTo>
                    <a:pt x="278" y="552"/>
                  </a:lnTo>
                  <a:lnTo>
                    <a:pt x="300" y="552"/>
                  </a:lnTo>
                  <a:lnTo>
                    <a:pt x="316" y="549"/>
                  </a:lnTo>
                  <a:lnTo>
                    <a:pt x="319" y="543"/>
                  </a:lnTo>
                  <a:lnTo>
                    <a:pt x="319" y="537"/>
                  </a:lnTo>
                  <a:lnTo>
                    <a:pt x="319" y="527"/>
                  </a:lnTo>
                  <a:lnTo>
                    <a:pt x="319" y="518"/>
                  </a:lnTo>
                  <a:lnTo>
                    <a:pt x="319" y="512"/>
                  </a:lnTo>
                  <a:lnTo>
                    <a:pt x="319" y="502"/>
                  </a:lnTo>
                  <a:lnTo>
                    <a:pt x="322" y="499"/>
                  </a:lnTo>
                  <a:lnTo>
                    <a:pt x="331" y="496"/>
                  </a:lnTo>
                  <a:lnTo>
                    <a:pt x="347" y="496"/>
                  </a:lnTo>
                  <a:lnTo>
                    <a:pt x="362" y="499"/>
                  </a:lnTo>
                  <a:lnTo>
                    <a:pt x="375" y="499"/>
                  </a:lnTo>
                  <a:lnTo>
                    <a:pt x="381" y="493"/>
                  </a:lnTo>
                  <a:lnTo>
                    <a:pt x="387" y="484"/>
                  </a:lnTo>
                  <a:lnTo>
                    <a:pt x="394" y="474"/>
                  </a:lnTo>
                  <a:lnTo>
                    <a:pt x="403" y="465"/>
                  </a:lnTo>
                  <a:lnTo>
                    <a:pt x="409" y="456"/>
                  </a:lnTo>
                  <a:lnTo>
                    <a:pt x="416" y="449"/>
                  </a:lnTo>
                  <a:lnTo>
                    <a:pt x="431" y="443"/>
                  </a:lnTo>
                  <a:lnTo>
                    <a:pt x="453" y="437"/>
                  </a:lnTo>
                  <a:lnTo>
                    <a:pt x="472" y="437"/>
                  </a:lnTo>
                  <a:lnTo>
                    <a:pt x="481" y="437"/>
                  </a:lnTo>
                  <a:lnTo>
                    <a:pt x="491" y="440"/>
                  </a:lnTo>
                  <a:lnTo>
                    <a:pt x="503" y="443"/>
                  </a:lnTo>
                  <a:lnTo>
                    <a:pt x="512" y="446"/>
                  </a:lnTo>
                  <a:lnTo>
                    <a:pt x="522" y="446"/>
                  </a:lnTo>
                  <a:lnTo>
                    <a:pt x="544" y="440"/>
                  </a:lnTo>
                  <a:lnTo>
                    <a:pt x="572" y="431"/>
                  </a:lnTo>
                  <a:lnTo>
                    <a:pt x="594" y="424"/>
                  </a:lnTo>
                  <a:lnTo>
                    <a:pt x="612" y="424"/>
                  </a:lnTo>
                  <a:lnTo>
                    <a:pt x="637" y="428"/>
                  </a:lnTo>
                  <a:lnTo>
                    <a:pt x="659" y="428"/>
                  </a:lnTo>
                  <a:lnTo>
                    <a:pt x="678" y="424"/>
                  </a:lnTo>
                  <a:lnTo>
                    <a:pt x="684" y="412"/>
                  </a:lnTo>
                  <a:lnTo>
                    <a:pt x="684" y="396"/>
                  </a:lnTo>
                  <a:lnTo>
                    <a:pt x="687" y="378"/>
                  </a:lnTo>
                  <a:lnTo>
                    <a:pt x="687" y="359"/>
                  </a:lnTo>
                  <a:lnTo>
                    <a:pt x="693" y="349"/>
                  </a:lnTo>
                  <a:lnTo>
                    <a:pt x="709" y="343"/>
                  </a:lnTo>
                  <a:lnTo>
                    <a:pt x="728" y="343"/>
                  </a:lnTo>
                  <a:lnTo>
                    <a:pt x="747" y="346"/>
                  </a:lnTo>
                  <a:lnTo>
                    <a:pt x="762" y="349"/>
                  </a:lnTo>
                  <a:lnTo>
                    <a:pt x="768" y="353"/>
                  </a:lnTo>
                  <a:lnTo>
                    <a:pt x="778" y="359"/>
                  </a:lnTo>
                  <a:lnTo>
                    <a:pt x="787" y="368"/>
                  </a:lnTo>
                  <a:lnTo>
                    <a:pt x="797" y="374"/>
                  </a:lnTo>
                  <a:lnTo>
                    <a:pt x="800" y="384"/>
                  </a:lnTo>
                  <a:lnTo>
                    <a:pt x="803" y="390"/>
                  </a:lnTo>
                  <a:lnTo>
                    <a:pt x="800" y="396"/>
                  </a:lnTo>
                  <a:lnTo>
                    <a:pt x="800" y="406"/>
                  </a:lnTo>
                  <a:lnTo>
                    <a:pt x="800" y="415"/>
                  </a:lnTo>
                  <a:lnTo>
                    <a:pt x="800" y="421"/>
                  </a:lnTo>
                  <a:lnTo>
                    <a:pt x="803" y="428"/>
                  </a:lnTo>
                  <a:lnTo>
                    <a:pt x="809" y="434"/>
                  </a:lnTo>
                  <a:lnTo>
                    <a:pt x="818" y="437"/>
                  </a:lnTo>
                  <a:lnTo>
                    <a:pt x="828" y="437"/>
                  </a:lnTo>
                  <a:lnTo>
                    <a:pt x="840" y="440"/>
                  </a:lnTo>
                  <a:lnTo>
                    <a:pt x="846" y="437"/>
                  </a:lnTo>
                  <a:lnTo>
                    <a:pt x="853" y="434"/>
                  </a:lnTo>
                  <a:lnTo>
                    <a:pt x="856" y="428"/>
                  </a:lnTo>
                  <a:lnTo>
                    <a:pt x="859" y="421"/>
                  </a:lnTo>
                  <a:lnTo>
                    <a:pt x="862" y="415"/>
                  </a:lnTo>
                  <a:lnTo>
                    <a:pt x="868" y="412"/>
                  </a:lnTo>
                  <a:lnTo>
                    <a:pt x="884" y="409"/>
                  </a:lnTo>
                  <a:lnTo>
                    <a:pt x="906" y="409"/>
                  </a:lnTo>
                  <a:lnTo>
                    <a:pt x="925" y="412"/>
                  </a:lnTo>
                  <a:lnTo>
                    <a:pt x="943" y="412"/>
                  </a:lnTo>
                  <a:lnTo>
                    <a:pt x="965" y="412"/>
                  </a:lnTo>
                  <a:lnTo>
                    <a:pt x="984" y="409"/>
                  </a:lnTo>
                  <a:lnTo>
                    <a:pt x="1000" y="399"/>
                  </a:lnTo>
                  <a:lnTo>
                    <a:pt x="1003" y="387"/>
                  </a:lnTo>
                  <a:lnTo>
                    <a:pt x="1000" y="368"/>
                  </a:lnTo>
                  <a:lnTo>
                    <a:pt x="996" y="349"/>
                  </a:lnTo>
                  <a:lnTo>
                    <a:pt x="1003" y="337"/>
                  </a:lnTo>
                  <a:lnTo>
                    <a:pt x="1006" y="334"/>
                  </a:lnTo>
                  <a:lnTo>
                    <a:pt x="1015" y="334"/>
                  </a:lnTo>
                  <a:lnTo>
                    <a:pt x="1021" y="337"/>
                  </a:lnTo>
                  <a:lnTo>
                    <a:pt x="1031" y="337"/>
                  </a:lnTo>
                  <a:lnTo>
                    <a:pt x="1037" y="337"/>
                  </a:lnTo>
                  <a:lnTo>
                    <a:pt x="1068" y="337"/>
                  </a:lnTo>
                  <a:lnTo>
                    <a:pt x="1109" y="337"/>
                  </a:lnTo>
                  <a:lnTo>
                    <a:pt x="1143" y="337"/>
                  </a:lnTo>
                  <a:lnTo>
                    <a:pt x="1159" y="340"/>
                  </a:lnTo>
                  <a:lnTo>
                    <a:pt x="1181" y="346"/>
                  </a:lnTo>
                  <a:lnTo>
                    <a:pt x="1199" y="349"/>
                  </a:lnTo>
                  <a:lnTo>
                    <a:pt x="1215" y="346"/>
                  </a:lnTo>
                  <a:lnTo>
                    <a:pt x="1221" y="337"/>
                  </a:lnTo>
                  <a:lnTo>
                    <a:pt x="1227" y="321"/>
                  </a:lnTo>
                  <a:lnTo>
                    <a:pt x="1234" y="306"/>
                  </a:lnTo>
                  <a:lnTo>
                    <a:pt x="1243" y="293"/>
                  </a:lnTo>
                  <a:lnTo>
                    <a:pt x="1259" y="284"/>
                  </a:lnTo>
                  <a:lnTo>
                    <a:pt x="1281" y="275"/>
                  </a:lnTo>
                  <a:lnTo>
                    <a:pt x="1302" y="265"/>
                  </a:lnTo>
                  <a:lnTo>
                    <a:pt x="1324" y="262"/>
                  </a:lnTo>
                  <a:lnTo>
                    <a:pt x="1343" y="265"/>
                  </a:lnTo>
                  <a:lnTo>
                    <a:pt x="1352" y="281"/>
                  </a:lnTo>
                  <a:lnTo>
                    <a:pt x="1355" y="303"/>
                  </a:lnTo>
                  <a:lnTo>
                    <a:pt x="1355" y="328"/>
                  </a:lnTo>
                  <a:lnTo>
                    <a:pt x="1352" y="346"/>
                  </a:lnTo>
                  <a:lnTo>
                    <a:pt x="1352" y="359"/>
                  </a:lnTo>
                  <a:lnTo>
                    <a:pt x="1346" y="374"/>
                  </a:lnTo>
                  <a:lnTo>
                    <a:pt x="1343" y="390"/>
                  </a:lnTo>
                  <a:lnTo>
                    <a:pt x="1346" y="399"/>
                  </a:lnTo>
                  <a:lnTo>
                    <a:pt x="1359" y="406"/>
                  </a:lnTo>
                  <a:lnTo>
                    <a:pt x="1380" y="409"/>
                  </a:lnTo>
                  <a:lnTo>
                    <a:pt x="1402" y="406"/>
                  </a:lnTo>
                  <a:lnTo>
                    <a:pt x="1418" y="406"/>
                  </a:lnTo>
                  <a:lnTo>
                    <a:pt x="1440" y="409"/>
                  </a:lnTo>
                  <a:lnTo>
                    <a:pt x="1465" y="415"/>
                  </a:lnTo>
                  <a:lnTo>
                    <a:pt x="1487" y="424"/>
                  </a:lnTo>
                  <a:lnTo>
                    <a:pt x="1499" y="437"/>
                  </a:lnTo>
                  <a:lnTo>
                    <a:pt x="1499" y="440"/>
                  </a:lnTo>
                  <a:lnTo>
                    <a:pt x="1496" y="446"/>
                  </a:lnTo>
                  <a:lnTo>
                    <a:pt x="1490" y="456"/>
                  </a:lnTo>
                  <a:lnTo>
                    <a:pt x="1484" y="462"/>
                  </a:lnTo>
                  <a:lnTo>
                    <a:pt x="1480" y="468"/>
                  </a:lnTo>
                  <a:lnTo>
                    <a:pt x="1477" y="474"/>
                  </a:lnTo>
                  <a:lnTo>
                    <a:pt x="1474" y="481"/>
                  </a:lnTo>
                  <a:lnTo>
                    <a:pt x="1474" y="490"/>
                  </a:lnTo>
                  <a:lnTo>
                    <a:pt x="1474" y="499"/>
                  </a:lnTo>
                  <a:lnTo>
                    <a:pt x="1474" y="509"/>
                  </a:lnTo>
                  <a:lnTo>
                    <a:pt x="1477" y="515"/>
                  </a:lnTo>
                  <a:lnTo>
                    <a:pt x="1480" y="521"/>
                  </a:lnTo>
                  <a:lnTo>
                    <a:pt x="1484" y="527"/>
                  </a:lnTo>
                  <a:lnTo>
                    <a:pt x="1490" y="534"/>
                  </a:lnTo>
                  <a:lnTo>
                    <a:pt x="1496" y="540"/>
                  </a:lnTo>
                  <a:lnTo>
                    <a:pt x="1502" y="543"/>
                  </a:lnTo>
                  <a:lnTo>
                    <a:pt x="1515" y="543"/>
                  </a:lnTo>
                  <a:lnTo>
                    <a:pt x="1533" y="537"/>
                  </a:lnTo>
                  <a:lnTo>
                    <a:pt x="1549" y="527"/>
                  </a:lnTo>
                  <a:lnTo>
                    <a:pt x="1562" y="515"/>
                  </a:lnTo>
                  <a:lnTo>
                    <a:pt x="1565" y="496"/>
                  </a:lnTo>
                  <a:lnTo>
                    <a:pt x="1565" y="471"/>
                  </a:lnTo>
                  <a:lnTo>
                    <a:pt x="1558" y="453"/>
                  </a:lnTo>
                  <a:lnTo>
                    <a:pt x="1552" y="440"/>
                  </a:lnTo>
                  <a:lnTo>
                    <a:pt x="1540" y="424"/>
                  </a:lnTo>
                  <a:lnTo>
                    <a:pt x="1530" y="409"/>
                  </a:lnTo>
                  <a:lnTo>
                    <a:pt x="1527" y="393"/>
                  </a:lnTo>
                  <a:lnTo>
                    <a:pt x="1533" y="368"/>
                  </a:lnTo>
                  <a:lnTo>
                    <a:pt x="1546" y="343"/>
                  </a:lnTo>
                  <a:lnTo>
                    <a:pt x="1565" y="318"/>
                  </a:lnTo>
                  <a:lnTo>
                    <a:pt x="1583" y="303"/>
                  </a:lnTo>
                  <a:lnTo>
                    <a:pt x="1599" y="300"/>
                  </a:lnTo>
                  <a:lnTo>
                    <a:pt x="1621" y="300"/>
                  </a:lnTo>
                  <a:lnTo>
                    <a:pt x="1640" y="303"/>
                  </a:lnTo>
                  <a:lnTo>
                    <a:pt x="1655" y="303"/>
                  </a:lnTo>
                  <a:lnTo>
                    <a:pt x="1674" y="306"/>
                  </a:lnTo>
                  <a:lnTo>
                    <a:pt x="1693" y="309"/>
                  </a:lnTo>
                  <a:lnTo>
                    <a:pt x="1711" y="312"/>
                  </a:lnTo>
                  <a:lnTo>
                    <a:pt x="1718" y="318"/>
                  </a:lnTo>
                  <a:lnTo>
                    <a:pt x="1718" y="325"/>
                  </a:lnTo>
                  <a:lnTo>
                    <a:pt x="1721" y="331"/>
                  </a:lnTo>
                  <a:lnTo>
                    <a:pt x="1727" y="337"/>
                  </a:lnTo>
                  <a:lnTo>
                    <a:pt x="1730" y="346"/>
                  </a:lnTo>
                  <a:lnTo>
                    <a:pt x="1736" y="353"/>
                  </a:lnTo>
                  <a:lnTo>
                    <a:pt x="1740" y="356"/>
                  </a:lnTo>
                  <a:lnTo>
                    <a:pt x="1758" y="356"/>
                  </a:lnTo>
                  <a:lnTo>
                    <a:pt x="1777" y="356"/>
                  </a:lnTo>
                  <a:lnTo>
                    <a:pt x="1799" y="349"/>
                  </a:lnTo>
                  <a:lnTo>
                    <a:pt x="1821" y="346"/>
                  </a:lnTo>
                  <a:lnTo>
                    <a:pt x="1836" y="353"/>
                  </a:lnTo>
                  <a:lnTo>
                    <a:pt x="1846" y="362"/>
                  </a:lnTo>
                  <a:lnTo>
                    <a:pt x="1849" y="378"/>
                  </a:lnTo>
                  <a:lnTo>
                    <a:pt x="1855" y="393"/>
                  </a:lnTo>
                  <a:lnTo>
                    <a:pt x="1864" y="406"/>
                  </a:lnTo>
                  <a:lnTo>
                    <a:pt x="1883" y="412"/>
                  </a:lnTo>
                  <a:lnTo>
                    <a:pt x="1905" y="412"/>
                  </a:lnTo>
                  <a:lnTo>
                    <a:pt x="1924" y="406"/>
                  </a:lnTo>
                  <a:lnTo>
                    <a:pt x="1924" y="399"/>
                  </a:lnTo>
                  <a:lnTo>
                    <a:pt x="1924" y="393"/>
                  </a:lnTo>
                  <a:lnTo>
                    <a:pt x="1924" y="390"/>
                  </a:lnTo>
                  <a:lnTo>
                    <a:pt x="1924" y="384"/>
                  </a:lnTo>
                  <a:lnTo>
                    <a:pt x="1936" y="359"/>
                  </a:lnTo>
                  <a:lnTo>
                    <a:pt x="1952" y="331"/>
                  </a:lnTo>
                  <a:lnTo>
                    <a:pt x="1968" y="312"/>
                  </a:lnTo>
                  <a:lnTo>
                    <a:pt x="1983" y="306"/>
                  </a:lnTo>
                  <a:lnTo>
                    <a:pt x="2002" y="303"/>
                  </a:lnTo>
                  <a:lnTo>
                    <a:pt x="2018" y="296"/>
                  </a:lnTo>
                  <a:lnTo>
                    <a:pt x="2024" y="293"/>
                  </a:lnTo>
                  <a:lnTo>
                    <a:pt x="2024" y="290"/>
                  </a:lnTo>
                  <a:lnTo>
                    <a:pt x="2024" y="281"/>
                  </a:lnTo>
                  <a:lnTo>
                    <a:pt x="2027" y="271"/>
                  </a:lnTo>
                  <a:lnTo>
                    <a:pt x="2024" y="262"/>
                  </a:lnTo>
                  <a:lnTo>
                    <a:pt x="2024" y="253"/>
                  </a:lnTo>
                  <a:lnTo>
                    <a:pt x="2021" y="246"/>
                  </a:lnTo>
                  <a:lnTo>
                    <a:pt x="2014" y="240"/>
                  </a:lnTo>
                  <a:lnTo>
                    <a:pt x="2008" y="237"/>
                  </a:lnTo>
                  <a:lnTo>
                    <a:pt x="1999" y="234"/>
                  </a:lnTo>
                  <a:lnTo>
                    <a:pt x="1989" y="231"/>
                  </a:lnTo>
                  <a:lnTo>
                    <a:pt x="1980" y="228"/>
                  </a:lnTo>
                  <a:lnTo>
                    <a:pt x="1974" y="225"/>
                  </a:lnTo>
                  <a:lnTo>
                    <a:pt x="1968" y="209"/>
                  </a:lnTo>
                  <a:lnTo>
                    <a:pt x="1968" y="187"/>
                  </a:lnTo>
                  <a:lnTo>
                    <a:pt x="1968" y="168"/>
                  </a:lnTo>
                  <a:lnTo>
                    <a:pt x="1983" y="153"/>
                  </a:lnTo>
                  <a:lnTo>
                    <a:pt x="2005" y="140"/>
                  </a:lnTo>
                  <a:lnTo>
                    <a:pt x="2030" y="125"/>
                  </a:lnTo>
                  <a:lnTo>
                    <a:pt x="2046" y="109"/>
                  </a:lnTo>
                  <a:lnTo>
                    <a:pt x="2049" y="97"/>
                  </a:lnTo>
                  <a:lnTo>
                    <a:pt x="2049" y="78"/>
                  </a:lnTo>
                  <a:lnTo>
                    <a:pt x="2049" y="59"/>
                  </a:lnTo>
                  <a:lnTo>
                    <a:pt x="2055" y="47"/>
                  </a:lnTo>
                  <a:lnTo>
                    <a:pt x="2071" y="40"/>
                  </a:lnTo>
                  <a:lnTo>
                    <a:pt x="2092" y="40"/>
                  </a:lnTo>
                  <a:lnTo>
                    <a:pt x="2114" y="40"/>
                  </a:lnTo>
                  <a:lnTo>
                    <a:pt x="2133" y="43"/>
                  </a:lnTo>
                  <a:lnTo>
                    <a:pt x="2155" y="50"/>
                  </a:lnTo>
                  <a:lnTo>
                    <a:pt x="2183" y="59"/>
                  </a:lnTo>
                  <a:lnTo>
                    <a:pt x="2202" y="75"/>
                  </a:lnTo>
                  <a:lnTo>
                    <a:pt x="2205" y="87"/>
                  </a:lnTo>
                  <a:lnTo>
                    <a:pt x="2202" y="106"/>
                  </a:lnTo>
                  <a:lnTo>
                    <a:pt x="2202" y="125"/>
                  </a:lnTo>
                  <a:lnTo>
                    <a:pt x="2208" y="137"/>
                  </a:lnTo>
                  <a:lnTo>
                    <a:pt x="2224" y="147"/>
                  </a:lnTo>
                  <a:lnTo>
                    <a:pt x="2245" y="153"/>
                  </a:lnTo>
                  <a:lnTo>
                    <a:pt x="2270" y="153"/>
                  </a:lnTo>
                  <a:lnTo>
                    <a:pt x="2286" y="147"/>
                  </a:lnTo>
                  <a:lnTo>
                    <a:pt x="2292" y="134"/>
                  </a:lnTo>
                  <a:lnTo>
                    <a:pt x="2295" y="118"/>
                  </a:lnTo>
                  <a:lnTo>
                    <a:pt x="2302" y="103"/>
                  </a:lnTo>
                  <a:lnTo>
                    <a:pt x="2308" y="93"/>
                  </a:lnTo>
                  <a:lnTo>
                    <a:pt x="2320" y="90"/>
                  </a:lnTo>
                  <a:lnTo>
                    <a:pt x="2339" y="90"/>
                  </a:lnTo>
                  <a:lnTo>
                    <a:pt x="2358" y="93"/>
                  </a:lnTo>
                  <a:lnTo>
                    <a:pt x="2370" y="93"/>
                  </a:lnTo>
                  <a:lnTo>
                    <a:pt x="2389" y="84"/>
                  </a:lnTo>
                  <a:lnTo>
                    <a:pt x="2408" y="72"/>
                  </a:lnTo>
                  <a:lnTo>
                    <a:pt x="2427" y="62"/>
                  </a:lnTo>
                  <a:lnTo>
                    <a:pt x="2448" y="59"/>
                  </a:lnTo>
                  <a:lnTo>
                    <a:pt x="2477" y="59"/>
                  </a:lnTo>
                  <a:lnTo>
                    <a:pt x="2505" y="59"/>
                  </a:lnTo>
                  <a:lnTo>
                    <a:pt x="2530" y="62"/>
                  </a:lnTo>
                  <a:lnTo>
                    <a:pt x="2536" y="65"/>
                  </a:lnTo>
                  <a:lnTo>
                    <a:pt x="2542" y="72"/>
                  </a:lnTo>
                  <a:lnTo>
                    <a:pt x="2548" y="78"/>
                  </a:lnTo>
                  <a:lnTo>
                    <a:pt x="2555" y="84"/>
                  </a:lnTo>
                  <a:lnTo>
                    <a:pt x="2558" y="87"/>
                  </a:lnTo>
                  <a:lnTo>
                    <a:pt x="2555" y="103"/>
                  </a:lnTo>
                  <a:lnTo>
                    <a:pt x="2545" y="115"/>
                  </a:lnTo>
                  <a:lnTo>
                    <a:pt x="2536" y="131"/>
                  </a:lnTo>
                  <a:lnTo>
                    <a:pt x="2530" y="143"/>
                  </a:lnTo>
                  <a:lnTo>
                    <a:pt x="2530" y="153"/>
                  </a:lnTo>
                  <a:lnTo>
                    <a:pt x="2527" y="162"/>
                  </a:lnTo>
                  <a:lnTo>
                    <a:pt x="2527" y="172"/>
                  </a:lnTo>
                  <a:lnTo>
                    <a:pt x="2530" y="181"/>
                  </a:lnTo>
                  <a:lnTo>
                    <a:pt x="2530" y="187"/>
                  </a:lnTo>
                  <a:lnTo>
                    <a:pt x="2536" y="193"/>
                  </a:lnTo>
                  <a:lnTo>
                    <a:pt x="2542" y="196"/>
                  </a:lnTo>
                  <a:lnTo>
                    <a:pt x="2548" y="200"/>
                  </a:lnTo>
                  <a:lnTo>
                    <a:pt x="2555" y="203"/>
                  </a:lnTo>
                  <a:lnTo>
                    <a:pt x="2561" y="203"/>
                  </a:lnTo>
                  <a:lnTo>
                    <a:pt x="2567" y="200"/>
                  </a:lnTo>
                  <a:lnTo>
                    <a:pt x="2573" y="193"/>
                  </a:lnTo>
                  <a:lnTo>
                    <a:pt x="2580" y="187"/>
                  </a:lnTo>
                  <a:lnTo>
                    <a:pt x="2583" y="181"/>
                  </a:lnTo>
                  <a:lnTo>
                    <a:pt x="2586" y="175"/>
                  </a:lnTo>
                  <a:lnTo>
                    <a:pt x="2589" y="168"/>
                  </a:lnTo>
                  <a:lnTo>
                    <a:pt x="2589" y="159"/>
                  </a:lnTo>
                  <a:lnTo>
                    <a:pt x="2589" y="153"/>
                  </a:lnTo>
                  <a:lnTo>
                    <a:pt x="2589" y="143"/>
                  </a:lnTo>
                  <a:lnTo>
                    <a:pt x="2589" y="134"/>
                  </a:lnTo>
                  <a:lnTo>
                    <a:pt x="2589" y="128"/>
                  </a:lnTo>
                  <a:lnTo>
                    <a:pt x="2595" y="122"/>
                  </a:lnTo>
                  <a:lnTo>
                    <a:pt x="2605" y="115"/>
                  </a:lnTo>
                  <a:lnTo>
                    <a:pt x="2617" y="112"/>
                  </a:lnTo>
                  <a:lnTo>
                    <a:pt x="2626" y="106"/>
                  </a:lnTo>
                  <a:lnTo>
                    <a:pt x="2633" y="100"/>
                  </a:lnTo>
                  <a:lnTo>
                    <a:pt x="2636" y="93"/>
                  </a:lnTo>
                  <a:lnTo>
                    <a:pt x="2639" y="84"/>
                  </a:lnTo>
                  <a:lnTo>
                    <a:pt x="2645" y="75"/>
                  </a:lnTo>
                  <a:lnTo>
                    <a:pt x="2648" y="62"/>
                  </a:lnTo>
                  <a:lnTo>
                    <a:pt x="2651" y="56"/>
                  </a:lnTo>
                  <a:lnTo>
                    <a:pt x="2664" y="37"/>
                  </a:lnTo>
                  <a:lnTo>
                    <a:pt x="2676" y="18"/>
                  </a:lnTo>
                  <a:lnTo>
                    <a:pt x="2692" y="3"/>
                  </a:lnTo>
                  <a:lnTo>
                    <a:pt x="2708" y="0"/>
                  </a:lnTo>
                  <a:lnTo>
                    <a:pt x="2726" y="3"/>
                  </a:lnTo>
                  <a:lnTo>
                    <a:pt x="2745" y="6"/>
                  </a:lnTo>
                  <a:lnTo>
                    <a:pt x="2758" y="12"/>
                  </a:lnTo>
                  <a:lnTo>
                    <a:pt x="2761" y="18"/>
                  </a:lnTo>
                  <a:lnTo>
                    <a:pt x="2761" y="25"/>
                  </a:lnTo>
                  <a:lnTo>
                    <a:pt x="2761" y="37"/>
                  </a:lnTo>
                  <a:lnTo>
                    <a:pt x="2761" y="47"/>
                  </a:lnTo>
                  <a:lnTo>
                    <a:pt x="2758" y="53"/>
                  </a:lnTo>
                  <a:lnTo>
                    <a:pt x="2758" y="62"/>
                  </a:lnTo>
                  <a:lnTo>
                    <a:pt x="2754" y="68"/>
                  </a:lnTo>
                  <a:lnTo>
                    <a:pt x="2751" y="78"/>
                  </a:lnTo>
                  <a:lnTo>
                    <a:pt x="2745" y="87"/>
                  </a:lnTo>
                  <a:lnTo>
                    <a:pt x="2742" y="97"/>
                  </a:lnTo>
                  <a:lnTo>
                    <a:pt x="2739" y="106"/>
                  </a:lnTo>
                  <a:lnTo>
                    <a:pt x="2736" y="115"/>
                  </a:lnTo>
                  <a:lnTo>
                    <a:pt x="2733" y="125"/>
                  </a:lnTo>
                  <a:lnTo>
                    <a:pt x="2726" y="137"/>
                  </a:lnTo>
                  <a:lnTo>
                    <a:pt x="2726" y="147"/>
                  </a:lnTo>
                  <a:lnTo>
                    <a:pt x="2723" y="156"/>
                  </a:lnTo>
                  <a:lnTo>
                    <a:pt x="2723" y="162"/>
                  </a:lnTo>
                  <a:lnTo>
                    <a:pt x="2726" y="172"/>
                  </a:lnTo>
                  <a:lnTo>
                    <a:pt x="2726" y="181"/>
                  </a:lnTo>
                  <a:lnTo>
                    <a:pt x="2729" y="187"/>
                  </a:lnTo>
                  <a:lnTo>
                    <a:pt x="2733" y="196"/>
                  </a:lnTo>
                  <a:lnTo>
                    <a:pt x="2736" y="200"/>
                  </a:lnTo>
                  <a:lnTo>
                    <a:pt x="2742" y="203"/>
                  </a:lnTo>
                  <a:lnTo>
                    <a:pt x="2748" y="203"/>
                  </a:lnTo>
                  <a:lnTo>
                    <a:pt x="2754" y="200"/>
                  </a:lnTo>
                  <a:lnTo>
                    <a:pt x="2761" y="196"/>
                  </a:lnTo>
                  <a:lnTo>
                    <a:pt x="2767" y="196"/>
                  </a:lnTo>
                  <a:lnTo>
                    <a:pt x="2779" y="184"/>
                  </a:lnTo>
                  <a:lnTo>
                    <a:pt x="2792" y="165"/>
                  </a:lnTo>
                  <a:lnTo>
                    <a:pt x="2808" y="147"/>
                  </a:lnTo>
                  <a:lnTo>
                    <a:pt x="2820" y="137"/>
                  </a:lnTo>
                  <a:lnTo>
                    <a:pt x="2842" y="137"/>
                  </a:lnTo>
                  <a:lnTo>
                    <a:pt x="2870" y="143"/>
                  </a:lnTo>
                  <a:lnTo>
                    <a:pt x="2886" y="153"/>
                  </a:lnTo>
                  <a:lnTo>
                    <a:pt x="2892" y="159"/>
                  </a:lnTo>
                  <a:lnTo>
                    <a:pt x="2892" y="168"/>
                  </a:lnTo>
                  <a:lnTo>
                    <a:pt x="2895" y="178"/>
                  </a:lnTo>
                  <a:lnTo>
                    <a:pt x="2895" y="187"/>
                  </a:lnTo>
                  <a:lnTo>
                    <a:pt x="2892" y="196"/>
                  </a:lnTo>
                  <a:lnTo>
                    <a:pt x="2889" y="203"/>
                  </a:lnTo>
                  <a:lnTo>
                    <a:pt x="2879" y="209"/>
                  </a:lnTo>
                  <a:lnTo>
                    <a:pt x="2864" y="212"/>
                  </a:lnTo>
                  <a:lnTo>
                    <a:pt x="2848" y="212"/>
                  </a:lnTo>
                  <a:lnTo>
                    <a:pt x="2839" y="218"/>
                  </a:lnTo>
                  <a:lnTo>
                    <a:pt x="2836" y="225"/>
                  </a:lnTo>
                  <a:lnTo>
                    <a:pt x="2836" y="231"/>
                  </a:lnTo>
                  <a:lnTo>
                    <a:pt x="2839" y="237"/>
                  </a:lnTo>
                  <a:lnTo>
                    <a:pt x="2839" y="246"/>
                  </a:lnTo>
                  <a:lnTo>
                    <a:pt x="2842" y="253"/>
                  </a:lnTo>
                  <a:lnTo>
                    <a:pt x="2845" y="256"/>
                  </a:lnTo>
                  <a:lnTo>
                    <a:pt x="2848" y="262"/>
                  </a:lnTo>
                  <a:lnTo>
                    <a:pt x="2854" y="268"/>
                  </a:lnTo>
                  <a:lnTo>
                    <a:pt x="2861" y="271"/>
                  </a:lnTo>
                  <a:lnTo>
                    <a:pt x="2882" y="278"/>
                  </a:lnTo>
                  <a:lnTo>
                    <a:pt x="2907" y="281"/>
                  </a:lnTo>
                  <a:lnTo>
                    <a:pt x="2929" y="281"/>
                  </a:lnTo>
                  <a:lnTo>
                    <a:pt x="2936" y="281"/>
                  </a:lnTo>
                  <a:lnTo>
                    <a:pt x="2945" y="281"/>
                  </a:lnTo>
                  <a:lnTo>
                    <a:pt x="2954" y="281"/>
                  </a:lnTo>
                  <a:lnTo>
                    <a:pt x="2961" y="284"/>
                  </a:lnTo>
                  <a:lnTo>
                    <a:pt x="2967" y="287"/>
                  </a:lnTo>
                  <a:lnTo>
                    <a:pt x="2973" y="300"/>
                  </a:lnTo>
                  <a:lnTo>
                    <a:pt x="2976" y="321"/>
                  </a:lnTo>
                  <a:lnTo>
                    <a:pt x="2976" y="340"/>
                  </a:lnTo>
                  <a:lnTo>
                    <a:pt x="2976" y="356"/>
                  </a:lnTo>
                  <a:lnTo>
                    <a:pt x="2973" y="374"/>
                  </a:lnTo>
                  <a:lnTo>
                    <a:pt x="2976" y="390"/>
                  </a:lnTo>
                  <a:lnTo>
                    <a:pt x="2979" y="412"/>
                  </a:lnTo>
                  <a:lnTo>
                    <a:pt x="2986" y="437"/>
                  </a:lnTo>
                  <a:lnTo>
                    <a:pt x="2995" y="456"/>
                  </a:lnTo>
                  <a:lnTo>
                    <a:pt x="3014" y="468"/>
                  </a:lnTo>
                  <a:lnTo>
                    <a:pt x="3039" y="474"/>
                  </a:lnTo>
                  <a:lnTo>
                    <a:pt x="3064" y="481"/>
                  </a:lnTo>
                  <a:lnTo>
                    <a:pt x="3085" y="490"/>
                  </a:lnTo>
                  <a:lnTo>
                    <a:pt x="3101" y="499"/>
                  </a:lnTo>
                  <a:lnTo>
                    <a:pt x="3104" y="506"/>
                  </a:lnTo>
                  <a:lnTo>
                    <a:pt x="3104" y="512"/>
                  </a:lnTo>
                  <a:lnTo>
                    <a:pt x="3104" y="521"/>
                  </a:lnTo>
                  <a:lnTo>
                    <a:pt x="3101" y="531"/>
                  </a:lnTo>
                  <a:lnTo>
                    <a:pt x="3101" y="537"/>
                  </a:lnTo>
                  <a:lnTo>
                    <a:pt x="3101" y="543"/>
                  </a:lnTo>
                  <a:lnTo>
                    <a:pt x="3098" y="568"/>
                  </a:lnTo>
                  <a:lnTo>
                    <a:pt x="3098" y="599"/>
                  </a:lnTo>
                  <a:lnTo>
                    <a:pt x="3101" y="624"/>
                  </a:lnTo>
                  <a:lnTo>
                    <a:pt x="3101" y="643"/>
                  </a:lnTo>
                  <a:lnTo>
                    <a:pt x="3101" y="668"/>
                  </a:lnTo>
                  <a:lnTo>
                    <a:pt x="3101" y="690"/>
                  </a:lnTo>
                  <a:lnTo>
                    <a:pt x="3110" y="709"/>
                  </a:lnTo>
                  <a:lnTo>
                    <a:pt x="3126" y="718"/>
                  </a:lnTo>
                  <a:lnTo>
                    <a:pt x="3148" y="727"/>
                  </a:lnTo>
                  <a:lnTo>
                    <a:pt x="3173" y="730"/>
                  </a:lnTo>
                  <a:lnTo>
                    <a:pt x="3195" y="737"/>
                  </a:lnTo>
                  <a:lnTo>
                    <a:pt x="3214" y="743"/>
                  </a:lnTo>
                  <a:lnTo>
                    <a:pt x="3232" y="755"/>
                  </a:lnTo>
                  <a:lnTo>
                    <a:pt x="3254" y="771"/>
                  </a:lnTo>
                  <a:lnTo>
                    <a:pt x="3270" y="787"/>
                  </a:lnTo>
                  <a:lnTo>
                    <a:pt x="3276" y="809"/>
                  </a:lnTo>
                  <a:lnTo>
                    <a:pt x="3276" y="837"/>
                  </a:lnTo>
                  <a:lnTo>
                    <a:pt x="3279" y="862"/>
                  </a:lnTo>
                  <a:lnTo>
                    <a:pt x="3276" y="877"/>
                  </a:lnTo>
                  <a:lnTo>
                    <a:pt x="3273" y="896"/>
                  </a:lnTo>
                  <a:lnTo>
                    <a:pt x="3273" y="915"/>
                  </a:lnTo>
                  <a:lnTo>
                    <a:pt x="3276" y="927"/>
                  </a:lnTo>
                  <a:lnTo>
                    <a:pt x="3292" y="930"/>
                  </a:lnTo>
                  <a:lnTo>
                    <a:pt x="3310" y="930"/>
                  </a:lnTo>
                  <a:lnTo>
                    <a:pt x="3332" y="927"/>
                  </a:lnTo>
                  <a:lnTo>
                    <a:pt x="3348" y="921"/>
                  </a:lnTo>
                  <a:lnTo>
                    <a:pt x="3367" y="908"/>
                  </a:lnTo>
                  <a:lnTo>
                    <a:pt x="3382" y="890"/>
                  </a:lnTo>
                  <a:lnTo>
                    <a:pt x="3398" y="871"/>
                  </a:lnTo>
                  <a:lnTo>
                    <a:pt x="3413" y="855"/>
                  </a:lnTo>
                  <a:lnTo>
                    <a:pt x="3432" y="846"/>
                  </a:lnTo>
                  <a:lnTo>
                    <a:pt x="3457" y="840"/>
                  </a:lnTo>
                  <a:lnTo>
                    <a:pt x="3479" y="833"/>
                  </a:lnTo>
                  <a:lnTo>
                    <a:pt x="3498" y="824"/>
                  </a:lnTo>
                  <a:lnTo>
                    <a:pt x="3507" y="809"/>
                  </a:lnTo>
                  <a:lnTo>
                    <a:pt x="3513" y="787"/>
                  </a:lnTo>
                  <a:lnTo>
                    <a:pt x="3520" y="765"/>
                  </a:lnTo>
                  <a:lnTo>
                    <a:pt x="3526" y="749"/>
                  </a:lnTo>
                  <a:lnTo>
                    <a:pt x="3535" y="743"/>
                  </a:lnTo>
                  <a:lnTo>
                    <a:pt x="3545" y="740"/>
                  </a:lnTo>
                  <a:lnTo>
                    <a:pt x="3554" y="734"/>
                  </a:lnTo>
                  <a:lnTo>
                    <a:pt x="3566" y="730"/>
                  </a:lnTo>
                  <a:lnTo>
                    <a:pt x="3576" y="727"/>
                  </a:lnTo>
                  <a:lnTo>
                    <a:pt x="3594" y="724"/>
                  </a:lnTo>
                  <a:lnTo>
                    <a:pt x="3619" y="724"/>
                  </a:lnTo>
                  <a:lnTo>
                    <a:pt x="3641" y="721"/>
                  </a:lnTo>
                  <a:lnTo>
                    <a:pt x="3660" y="715"/>
                  </a:lnTo>
                  <a:lnTo>
                    <a:pt x="3666" y="699"/>
                  </a:lnTo>
                  <a:lnTo>
                    <a:pt x="3669" y="677"/>
                  </a:lnTo>
                  <a:lnTo>
                    <a:pt x="3669" y="652"/>
                  </a:lnTo>
                  <a:lnTo>
                    <a:pt x="3673" y="627"/>
                  </a:lnTo>
                  <a:lnTo>
                    <a:pt x="3682" y="615"/>
                  </a:lnTo>
                  <a:lnTo>
                    <a:pt x="3698" y="609"/>
                  </a:lnTo>
                  <a:lnTo>
                    <a:pt x="3719" y="609"/>
                  </a:lnTo>
                  <a:lnTo>
                    <a:pt x="3741" y="615"/>
                  </a:lnTo>
                  <a:lnTo>
                    <a:pt x="3760" y="618"/>
                  </a:lnTo>
                  <a:lnTo>
                    <a:pt x="3772" y="624"/>
                  </a:lnTo>
                  <a:lnTo>
                    <a:pt x="3791" y="631"/>
                  </a:lnTo>
                  <a:lnTo>
                    <a:pt x="3807" y="640"/>
                  </a:lnTo>
                  <a:lnTo>
                    <a:pt x="3822" y="640"/>
                  </a:lnTo>
                  <a:lnTo>
                    <a:pt x="3829" y="637"/>
                  </a:lnTo>
                  <a:lnTo>
                    <a:pt x="3838" y="631"/>
                  </a:lnTo>
                  <a:lnTo>
                    <a:pt x="3844" y="621"/>
                  </a:lnTo>
                  <a:lnTo>
                    <a:pt x="3854" y="615"/>
                  </a:lnTo>
                  <a:lnTo>
                    <a:pt x="3857" y="606"/>
                  </a:lnTo>
                  <a:lnTo>
                    <a:pt x="3860" y="590"/>
                  </a:lnTo>
                  <a:lnTo>
                    <a:pt x="3863" y="568"/>
                  </a:lnTo>
                  <a:lnTo>
                    <a:pt x="3869" y="549"/>
                  </a:lnTo>
                  <a:lnTo>
                    <a:pt x="3872" y="546"/>
                  </a:lnTo>
                  <a:lnTo>
                    <a:pt x="3882" y="540"/>
                  </a:lnTo>
                  <a:lnTo>
                    <a:pt x="3891" y="537"/>
                  </a:lnTo>
                  <a:lnTo>
                    <a:pt x="3900" y="531"/>
                  </a:lnTo>
                  <a:lnTo>
                    <a:pt x="3910" y="531"/>
                  </a:lnTo>
                  <a:lnTo>
                    <a:pt x="3916" y="531"/>
                  </a:lnTo>
                  <a:lnTo>
                    <a:pt x="3925" y="531"/>
                  </a:lnTo>
                  <a:lnTo>
                    <a:pt x="3935" y="534"/>
                  </a:lnTo>
                  <a:lnTo>
                    <a:pt x="3944" y="540"/>
                  </a:lnTo>
                  <a:lnTo>
                    <a:pt x="3950" y="546"/>
                  </a:lnTo>
                  <a:lnTo>
                    <a:pt x="3960" y="552"/>
                  </a:lnTo>
                  <a:lnTo>
                    <a:pt x="3963" y="559"/>
                  </a:lnTo>
                  <a:lnTo>
                    <a:pt x="3969" y="577"/>
                  </a:lnTo>
                  <a:lnTo>
                    <a:pt x="3969" y="599"/>
                  </a:lnTo>
                  <a:lnTo>
                    <a:pt x="3963" y="618"/>
                  </a:lnTo>
                  <a:lnTo>
                    <a:pt x="3957" y="621"/>
                  </a:lnTo>
                  <a:lnTo>
                    <a:pt x="3950" y="627"/>
                  </a:lnTo>
                  <a:lnTo>
                    <a:pt x="3941" y="631"/>
                  </a:lnTo>
                  <a:lnTo>
                    <a:pt x="3932" y="634"/>
                  </a:lnTo>
                  <a:lnTo>
                    <a:pt x="3922" y="637"/>
                  </a:lnTo>
                  <a:lnTo>
                    <a:pt x="3916" y="640"/>
                  </a:lnTo>
                  <a:lnTo>
                    <a:pt x="3913" y="646"/>
                  </a:lnTo>
                  <a:lnTo>
                    <a:pt x="3910" y="652"/>
                  </a:lnTo>
                  <a:lnTo>
                    <a:pt x="3913" y="662"/>
                  </a:lnTo>
                  <a:lnTo>
                    <a:pt x="3916" y="671"/>
                  </a:lnTo>
                  <a:lnTo>
                    <a:pt x="3919" y="680"/>
                  </a:lnTo>
                  <a:lnTo>
                    <a:pt x="3925" y="687"/>
                  </a:lnTo>
                  <a:lnTo>
                    <a:pt x="3944" y="696"/>
                  </a:lnTo>
                  <a:lnTo>
                    <a:pt x="3972" y="699"/>
                  </a:lnTo>
                  <a:lnTo>
                    <a:pt x="3994" y="696"/>
                  </a:lnTo>
                  <a:lnTo>
                    <a:pt x="4000" y="693"/>
                  </a:lnTo>
                  <a:lnTo>
                    <a:pt x="4007" y="687"/>
                  </a:lnTo>
                  <a:lnTo>
                    <a:pt x="4013" y="680"/>
                  </a:lnTo>
                  <a:lnTo>
                    <a:pt x="4019" y="671"/>
                  </a:lnTo>
                  <a:lnTo>
                    <a:pt x="4029" y="668"/>
                  </a:lnTo>
                  <a:lnTo>
                    <a:pt x="4032" y="668"/>
                  </a:lnTo>
                  <a:lnTo>
                    <a:pt x="4038" y="671"/>
                  </a:lnTo>
                  <a:lnTo>
                    <a:pt x="4041" y="677"/>
                  </a:lnTo>
                  <a:lnTo>
                    <a:pt x="4044" y="684"/>
                  </a:lnTo>
                  <a:lnTo>
                    <a:pt x="4044" y="693"/>
                  </a:lnTo>
                  <a:lnTo>
                    <a:pt x="4047" y="699"/>
                  </a:lnTo>
                  <a:lnTo>
                    <a:pt x="4047" y="705"/>
                  </a:lnTo>
                  <a:lnTo>
                    <a:pt x="4050" y="712"/>
                  </a:lnTo>
                  <a:lnTo>
                    <a:pt x="4054" y="721"/>
                  </a:lnTo>
                  <a:lnTo>
                    <a:pt x="4057" y="730"/>
                  </a:lnTo>
                  <a:lnTo>
                    <a:pt x="4060" y="740"/>
                  </a:lnTo>
                  <a:lnTo>
                    <a:pt x="4063" y="746"/>
                  </a:lnTo>
                  <a:lnTo>
                    <a:pt x="4066" y="752"/>
                  </a:lnTo>
                  <a:lnTo>
                    <a:pt x="4085" y="755"/>
                  </a:lnTo>
                  <a:lnTo>
                    <a:pt x="4107" y="759"/>
                  </a:lnTo>
                  <a:lnTo>
                    <a:pt x="4125" y="755"/>
                  </a:lnTo>
                  <a:lnTo>
                    <a:pt x="4135" y="749"/>
                  </a:lnTo>
                  <a:lnTo>
                    <a:pt x="4147" y="746"/>
                  </a:lnTo>
                  <a:lnTo>
                    <a:pt x="4157" y="740"/>
                  </a:lnTo>
                  <a:lnTo>
                    <a:pt x="4166" y="730"/>
                  </a:lnTo>
                  <a:lnTo>
                    <a:pt x="4172" y="724"/>
                  </a:lnTo>
                  <a:lnTo>
                    <a:pt x="4178" y="712"/>
                  </a:lnTo>
                  <a:lnTo>
                    <a:pt x="4178" y="693"/>
                  </a:lnTo>
                  <a:lnTo>
                    <a:pt x="4182" y="674"/>
                  </a:lnTo>
                  <a:lnTo>
                    <a:pt x="4185" y="662"/>
                  </a:lnTo>
                  <a:lnTo>
                    <a:pt x="4188" y="656"/>
                  </a:lnTo>
                  <a:lnTo>
                    <a:pt x="4194" y="652"/>
                  </a:lnTo>
                  <a:lnTo>
                    <a:pt x="4203" y="646"/>
                  </a:lnTo>
                  <a:lnTo>
                    <a:pt x="4210" y="643"/>
                  </a:lnTo>
                  <a:lnTo>
                    <a:pt x="4216" y="640"/>
                  </a:lnTo>
                  <a:lnTo>
                    <a:pt x="4241" y="637"/>
                  </a:lnTo>
                  <a:lnTo>
                    <a:pt x="4269" y="637"/>
                  </a:lnTo>
                  <a:lnTo>
                    <a:pt x="4291" y="640"/>
                  </a:lnTo>
                  <a:lnTo>
                    <a:pt x="4310" y="646"/>
                  </a:lnTo>
                  <a:lnTo>
                    <a:pt x="4328" y="656"/>
                  </a:lnTo>
                  <a:lnTo>
                    <a:pt x="4347" y="662"/>
                  </a:lnTo>
                  <a:lnTo>
                    <a:pt x="4366" y="665"/>
                  </a:lnTo>
                  <a:lnTo>
                    <a:pt x="4388" y="656"/>
                  </a:lnTo>
                  <a:lnTo>
                    <a:pt x="4406" y="637"/>
                  </a:lnTo>
                  <a:lnTo>
                    <a:pt x="4422" y="618"/>
                  </a:lnTo>
                  <a:lnTo>
                    <a:pt x="4422" y="606"/>
                  </a:lnTo>
                  <a:lnTo>
                    <a:pt x="4422" y="590"/>
                  </a:lnTo>
                  <a:lnTo>
                    <a:pt x="4419" y="574"/>
                  </a:lnTo>
                  <a:lnTo>
                    <a:pt x="4422" y="562"/>
                  </a:lnTo>
                  <a:lnTo>
                    <a:pt x="4438" y="549"/>
                  </a:lnTo>
                  <a:lnTo>
                    <a:pt x="4463" y="540"/>
                  </a:lnTo>
                  <a:lnTo>
                    <a:pt x="4488" y="534"/>
                  </a:lnTo>
                  <a:lnTo>
                    <a:pt x="4509" y="531"/>
                  </a:lnTo>
                  <a:lnTo>
                    <a:pt x="4528" y="534"/>
                  </a:lnTo>
                  <a:lnTo>
                    <a:pt x="4547" y="540"/>
                  </a:lnTo>
                  <a:lnTo>
                    <a:pt x="4569" y="546"/>
                  </a:lnTo>
                  <a:lnTo>
                    <a:pt x="4584" y="546"/>
                  </a:lnTo>
                  <a:lnTo>
                    <a:pt x="4591" y="543"/>
                  </a:lnTo>
                  <a:lnTo>
                    <a:pt x="4594" y="537"/>
                  </a:lnTo>
                  <a:lnTo>
                    <a:pt x="4597" y="527"/>
                  </a:lnTo>
                  <a:lnTo>
                    <a:pt x="4603" y="521"/>
                  </a:lnTo>
                  <a:lnTo>
                    <a:pt x="4606" y="512"/>
                  </a:lnTo>
                  <a:lnTo>
                    <a:pt x="4609" y="506"/>
                  </a:lnTo>
                  <a:lnTo>
                    <a:pt x="4616" y="502"/>
                  </a:lnTo>
                  <a:lnTo>
                    <a:pt x="4634" y="502"/>
                  </a:lnTo>
                  <a:lnTo>
                    <a:pt x="4653" y="509"/>
                  </a:lnTo>
                  <a:lnTo>
                    <a:pt x="4672" y="521"/>
                  </a:lnTo>
                  <a:lnTo>
                    <a:pt x="4684" y="534"/>
                  </a:lnTo>
                  <a:lnTo>
                    <a:pt x="4687" y="540"/>
                  </a:lnTo>
                  <a:lnTo>
                    <a:pt x="4684" y="549"/>
                  </a:lnTo>
                  <a:lnTo>
                    <a:pt x="4684" y="556"/>
                  </a:lnTo>
                  <a:lnTo>
                    <a:pt x="4681" y="565"/>
                  </a:lnTo>
                  <a:lnTo>
                    <a:pt x="4678" y="574"/>
                  </a:lnTo>
                  <a:lnTo>
                    <a:pt x="4672" y="581"/>
                  </a:lnTo>
                  <a:lnTo>
                    <a:pt x="4669" y="587"/>
                  </a:lnTo>
                  <a:lnTo>
                    <a:pt x="4659" y="596"/>
                  </a:lnTo>
                  <a:lnTo>
                    <a:pt x="4653" y="602"/>
                  </a:lnTo>
                  <a:lnTo>
                    <a:pt x="4647" y="612"/>
                  </a:lnTo>
                  <a:lnTo>
                    <a:pt x="4641" y="618"/>
                  </a:lnTo>
                  <a:lnTo>
                    <a:pt x="4634" y="640"/>
                  </a:lnTo>
                  <a:lnTo>
                    <a:pt x="4628" y="665"/>
                  </a:lnTo>
                  <a:lnTo>
                    <a:pt x="4631" y="690"/>
                  </a:lnTo>
                  <a:lnTo>
                    <a:pt x="4634" y="696"/>
                  </a:lnTo>
                  <a:lnTo>
                    <a:pt x="4641" y="702"/>
                  </a:lnTo>
                  <a:lnTo>
                    <a:pt x="4650" y="709"/>
                  </a:lnTo>
                  <a:lnTo>
                    <a:pt x="4656" y="712"/>
                  </a:lnTo>
                  <a:lnTo>
                    <a:pt x="4662" y="718"/>
                  </a:lnTo>
                  <a:lnTo>
                    <a:pt x="4694" y="730"/>
                  </a:lnTo>
                  <a:lnTo>
                    <a:pt x="4734" y="743"/>
                  </a:lnTo>
                  <a:lnTo>
                    <a:pt x="4769" y="749"/>
                  </a:lnTo>
                  <a:lnTo>
                    <a:pt x="4787" y="752"/>
                  </a:lnTo>
                  <a:lnTo>
                    <a:pt x="4812" y="752"/>
                  </a:lnTo>
                  <a:lnTo>
                    <a:pt x="4831" y="749"/>
                  </a:lnTo>
                  <a:lnTo>
                    <a:pt x="4865" y="743"/>
                  </a:lnTo>
                  <a:lnTo>
                    <a:pt x="4903" y="737"/>
                  </a:lnTo>
                  <a:lnTo>
                    <a:pt x="4937" y="730"/>
                  </a:lnTo>
                  <a:lnTo>
                    <a:pt x="4959" y="730"/>
                  </a:lnTo>
                  <a:lnTo>
                    <a:pt x="4984" y="734"/>
                  </a:lnTo>
                  <a:lnTo>
                    <a:pt x="5006" y="734"/>
                  </a:lnTo>
                  <a:lnTo>
                    <a:pt x="5022" y="730"/>
                  </a:lnTo>
                  <a:lnTo>
                    <a:pt x="5037" y="724"/>
                  </a:lnTo>
                  <a:lnTo>
                    <a:pt x="5056" y="715"/>
                  </a:lnTo>
                  <a:lnTo>
                    <a:pt x="5062" y="743"/>
                  </a:lnTo>
                  <a:lnTo>
                    <a:pt x="5075" y="774"/>
                  </a:lnTo>
                  <a:lnTo>
                    <a:pt x="5084" y="802"/>
                  </a:lnTo>
                  <a:lnTo>
                    <a:pt x="5090" y="827"/>
                  </a:lnTo>
                  <a:lnTo>
                    <a:pt x="5090" y="849"/>
                  </a:lnTo>
                  <a:lnTo>
                    <a:pt x="5090" y="880"/>
                  </a:lnTo>
                  <a:lnTo>
                    <a:pt x="5087" y="908"/>
                  </a:lnTo>
                  <a:lnTo>
                    <a:pt x="5090" y="930"/>
                  </a:lnTo>
                  <a:lnTo>
                    <a:pt x="5103" y="955"/>
                  </a:lnTo>
                  <a:lnTo>
                    <a:pt x="5125" y="983"/>
                  </a:lnTo>
                  <a:lnTo>
                    <a:pt x="5143" y="1011"/>
                  </a:lnTo>
                  <a:lnTo>
                    <a:pt x="5159" y="1036"/>
                  </a:lnTo>
                  <a:lnTo>
                    <a:pt x="5171" y="1058"/>
                  </a:lnTo>
                  <a:lnTo>
                    <a:pt x="5184" y="1086"/>
                  </a:lnTo>
                  <a:lnTo>
                    <a:pt x="5196" y="1105"/>
                  </a:lnTo>
                  <a:lnTo>
                    <a:pt x="5221" y="1121"/>
                  </a:lnTo>
                  <a:lnTo>
                    <a:pt x="5256" y="1133"/>
                  </a:lnTo>
                  <a:lnTo>
                    <a:pt x="5287" y="1139"/>
                  </a:lnTo>
                  <a:lnTo>
                    <a:pt x="5306" y="1146"/>
                  </a:lnTo>
                  <a:lnTo>
                    <a:pt x="5328" y="1152"/>
                  </a:lnTo>
                  <a:lnTo>
                    <a:pt x="5349" y="1155"/>
                  </a:lnTo>
                  <a:lnTo>
                    <a:pt x="5368" y="1155"/>
                  </a:lnTo>
                  <a:lnTo>
                    <a:pt x="5374" y="1152"/>
                  </a:lnTo>
                  <a:lnTo>
                    <a:pt x="5381" y="1149"/>
                  </a:lnTo>
                  <a:lnTo>
                    <a:pt x="5387" y="1143"/>
                  </a:lnTo>
                  <a:lnTo>
                    <a:pt x="5390" y="1139"/>
                  </a:lnTo>
                  <a:lnTo>
                    <a:pt x="5393" y="1133"/>
                  </a:lnTo>
                  <a:lnTo>
                    <a:pt x="5396" y="1124"/>
                  </a:lnTo>
                  <a:lnTo>
                    <a:pt x="5399" y="1115"/>
                  </a:lnTo>
                  <a:lnTo>
                    <a:pt x="5403" y="1105"/>
                  </a:lnTo>
                  <a:lnTo>
                    <a:pt x="5424" y="1086"/>
                  </a:lnTo>
                  <a:lnTo>
                    <a:pt x="5449" y="1068"/>
                  </a:lnTo>
                  <a:lnTo>
                    <a:pt x="5474" y="1055"/>
                  </a:lnTo>
                  <a:lnTo>
                    <a:pt x="5481" y="1052"/>
                  </a:lnTo>
                  <a:lnTo>
                    <a:pt x="5490" y="1052"/>
                  </a:lnTo>
                  <a:lnTo>
                    <a:pt x="5499" y="1052"/>
                  </a:lnTo>
                  <a:lnTo>
                    <a:pt x="5509" y="1052"/>
                  </a:lnTo>
                  <a:lnTo>
                    <a:pt x="5515" y="1052"/>
                  </a:lnTo>
                  <a:lnTo>
                    <a:pt x="5521" y="1052"/>
                  </a:lnTo>
                  <a:lnTo>
                    <a:pt x="5534" y="1036"/>
                  </a:lnTo>
                  <a:lnTo>
                    <a:pt x="5546" y="1015"/>
                  </a:lnTo>
                  <a:lnTo>
                    <a:pt x="5556" y="996"/>
                  </a:lnTo>
                  <a:lnTo>
                    <a:pt x="5562" y="993"/>
                  </a:lnTo>
                  <a:lnTo>
                    <a:pt x="5568" y="986"/>
                  </a:lnTo>
                  <a:lnTo>
                    <a:pt x="5574" y="983"/>
                  </a:lnTo>
                  <a:lnTo>
                    <a:pt x="5581" y="980"/>
                  </a:lnTo>
                  <a:lnTo>
                    <a:pt x="5587" y="980"/>
                  </a:lnTo>
                  <a:lnTo>
                    <a:pt x="5593" y="983"/>
                  </a:lnTo>
                  <a:lnTo>
                    <a:pt x="5602" y="990"/>
                  </a:lnTo>
                  <a:lnTo>
                    <a:pt x="5609" y="996"/>
                  </a:lnTo>
                  <a:lnTo>
                    <a:pt x="5615" y="1005"/>
                  </a:lnTo>
                  <a:lnTo>
                    <a:pt x="5624" y="1011"/>
                  </a:lnTo>
                  <a:lnTo>
                    <a:pt x="5630" y="1015"/>
                  </a:lnTo>
                  <a:lnTo>
                    <a:pt x="5652" y="1018"/>
                  </a:lnTo>
                  <a:lnTo>
                    <a:pt x="5677" y="1018"/>
                  </a:lnTo>
                  <a:lnTo>
                    <a:pt x="5705" y="1015"/>
                  </a:lnTo>
                  <a:lnTo>
                    <a:pt x="5727" y="1015"/>
                  </a:lnTo>
                  <a:lnTo>
                    <a:pt x="5752" y="1027"/>
                  </a:lnTo>
                  <a:lnTo>
                    <a:pt x="5780" y="1049"/>
                  </a:lnTo>
                  <a:lnTo>
                    <a:pt x="5808" y="1068"/>
                  </a:lnTo>
                  <a:lnTo>
                    <a:pt x="5830" y="1083"/>
                  </a:lnTo>
                  <a:lnTo>
                    <a:pt x="5840" y="1086"/>
                  </a:lnTo>
                  <a:lnTo>
                    <a:pt x="5852" y="1093"/>
                  </a:lnTo>
                  <a:lnTo>
                    <a:pt x="5840" y="1124"/>
                  </a:lnTo>
                  <a:lnTo>
                    <a:pt x="5824" y="1155"/>
                  </a:lnTo>
                  <a:lnTo>
                    <a:pt x="5815" y="1180"/>
                  </a:lnTo>
                  <a:lnTo>
                    <a:pt x="5812" y="1214"/>
                  </a:lnTo>
                  <a:lnTo>
                    <a:pt x="5812" y="1255"/>
                  </a:lnTo>
                  <a:lnTo>
                    <a:pt x="5812" y="1296"/>
                  </a:lnTo>
                  <a:lnTo>
                    <a:pt x="5815" y="1330"/>
                  </a:lnTo>
                  <a:lnTo>
                    <a:pt x="5824" y="1355"/>
                  </a:lnTo>
                  <a:lnTo>
                    <a:pt x="5837" y="1386"/>
                  </a:lnTo>
                  <a:lnTo>
                    <a:pt x="5846" y="141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Freeform 23">
              <a:extLst>
                <a:ext uri="{FF2B5EF4-FFF2-40B4-BE49-F238E27FC236}">
                  <a16:creationId xmlns:a16="http://schemas.microsoft.com/office/drawing/2014/main" id="{F034B8A5-803A-42B3-B67D-074E9EEE1E37}"/>
                </a:ext>
              </a:extLst>
            </p:cNvPr>
            <p:cNvSpPr>
              <a:spLocks/>
            </p:cNvSpPr>
            <p:nvPr/>
          </p:nvSpPr>
          <p:spPr bwMode="auto">
            <a:xfrm>
              <a:off x="19037301" y="-17900650"/>
              <a:ext cx="6435725" cy="4268788"/>
            </a:xfrm>
            <a:custGeom>
              <a:avLst/>
              <a:gdLst>
                <a:gd name="T0" fmla="*/ 3951 w 4054"/>
                <a:gd name="T1" fmla="*/ 2068 h 2689"/>
                <a:gd name="T2" fmla="*/ 3913 w 4054"/>
                <a:gd name="T3" fmla="*/ 2239 h 2689"/>
                <a:gd name="T4" fmla="*/ 3979 w 4054"/>
                <a:gd name="T5" fmla="*/ 2320 h 2689"/>
                <a:gd name="T6" fmla="*/ 4032 w 4054"/>
                <a:gd name="T7" fmla="*/ 2417 h 2689"/>
                <a:gd name="T8" fmla="*/ 3935 w 4054"/>
                <a:gd name="T9" fmla="*/ 2511 h 2689"/>
                <a:gd name="T10" fmla="*/ 3957 w 4054"/>
                <a:gd name="T11" fmla="*/ 2680 h 2689"/>
                <a:gd name="T12" fmla="*/ 3729 w 4054"/>
                <a:gd name="T13" fmla="*/ 2580 h 2689"/>
                <a:gd name="T14" fmla="*/ 3541 w 4054"/>
                <a:gd name="T15" fmla="*/ 2558 h 2689"/>
                <a:gd name="T16" fmla="*/ 3354 w 4054"/>
                <a:gd name="T17" fmla="*/ 2483 h 2689"/>
                <a:gd name="T18" fmla="*/ 3051 w 4054"/>
                <a:gd name="T19" fmla="*/ 2520 h 2689"/>
                <a:gd name="T20" fmla="*/ 2920 w 4054"/>
                <a:gd name="T21" fmla="*/ 2617 h 2689"/>
                <a:gd name="T22" fmla="*/ 2745 w 4054"/>
                <a:gd name="T23" fmla="*/ 2598 h 2689"/>
                <a:gd name="T24" fmla="*/ 2533 w 4054"/>
                <a:gd name="T25" fmla="*/ 2561 h 2689"/>
                <a:gd name="T26" fmla="*/ 2274 w 4054"/>
                <a:gd name="T27" fmla="*/ 2473 h 2689"/>
                <a:gd name="T28" fmla="*/ 2136 w 4054"/>
                <a:gd name="T29" fmla="*/ 2558 h 2689"/>
                <a:gd name="T30" fmla="*/ 1993 w 4054"/>
                <a:gd name="T31" fmla="*/ 2605 h 2689"/>
                <a:gd name="T32" fmla="*/ 1936 w 4054"/>
                <a:gd name="T33" fmla="*/ 2467 h 2689"/>
                <a:gd name="T34" fmla="*/ 1846 w 4054"/>
                <a:gd name="T35" fmla="*/ 2533 h 2689"/>
                <a:gd name="T36" fmla="*/ 1824 w 4054"/>
                <a:gd name="T37" fmla="*/ 2445 h 2689"/>
                <a:gd name="T38" fmla="*/ 1727 w 4054"/>
                <a:gd name="T39" fmla="*/ 2361 h 2689"/>
                <a:gd name="T40" fmla="*/ 1637 w 4054"/>
                <a:gd name="T41" fmla="*/ 2408 h 2689"/>
                <a:gd name="T42" fmla="*/ 1452 w 4054"/>
                <a:gd name="T43" fmla="*/ 2339 h 2689"/>
                <a:gd name="T44" fmla="*/ 1296 w 4054"/>
                <a:gd name="T45" fmla="*/ 2433 h 2689"/>
                <a:gd name="T46" fmla="*/ 1296 w 4054"/>
                <a:gd name="T47" fmla="*/ 2258 h 2689"/>
                <a:gd name="T48" fmla="*/ 1374 w 4054"/>
                <a:gd name="T49" fmla="*/ 2189 h 2689"/>
                <a:gd name="T50" fmla="*/ 1203 w 4054"/>
                <a:gd name="T51" fmla="*/ 2102 h 2689"/>
                <a:gd name="T52" fmla="*/ 937 w 4054"/>
                <a:gd name="T53" fmla="*/ 2133 h 2689"/>
                <a:gd name="T54" fmla="*/ 747 w 4054"/>
                <a:gd name="T55" fmla="*/ 2071 h 2689"/>
                <a:gd name="T56" fmla="*/ 650 w 4054"/>
                <a:gd name="T57" fmla="*/ 1918 h 2689"/>
                <a:gd name="T58" fmla="*/ 553 w 4054"/>
                <a:gd name="T59" fmla="*/ 1939 h 2689"/>
                <a:gd name="T60" fmla="*/ 425 w 4054"/>
                <a:gd name="T61" fmla="*/ 1780 h 2689"/>
                <a:gd name="T62" fmla="*/ 222 w 4054"/>
                <a:gd name="T63" fmla="*/ 1827 h 2689"/>
                <a:gd name="T64" fmla="*/ 44 w 4054"/>
                <a:gd name="T65" fmla="*/ 1733 h 2689"/>
                <a:gd name="T66" fmla="*/ 32 w 4054"/>
                <a:gd name="T67" fmla="*/ 1499 h 2689"/>
                <a:gd name="T68" fmla="*/ 41 w 4054"/>
                <a:gd name="T69" fmla="*/ 1231 h 2689"/>
                <a:gd name="T70" fmla="*/ 32 w 4054"/>
                <a:gd name="T71" fmla="*/ 853 h 2689"/>
                <a:gd name="T72" fmla="*/ 66 w 4054"/>
                <a:gd name="T73" fmla="*/ 556 h 2689"/>
                <a:gd name="T74" fmla="*/ 281 w 4054"/>
                <a:gd name="T75" fmla="*/ 372 h 2689"/>
                <a:gd name="T76" fmla="*/ 665 w 4054"/>
                <a:gd name="T77" fmla="*/ 244 h 2689"/>
                <a:gd name="T78" fmla="*/ 1143 w 4054"/>
                <a:gd name="T79" fmla="*/ 125 h 2689"/>
                <a:gd name="T80" fmla="*/ 1474 w 4054"/>
                <a:gd name="T81" fmla="*/ 0 h 2689"/>
                <a:gd name="T82" fmla="*/ 1555 w 4054"/>
                <a:gd name="T83" fmla="*/ 228 h 2689"/>
                <a:gd name="T84" fmla="*/ 1587 w 4054"/>
                <a:gd name="T85" fmla="*/ 525 h 2689"/>
                <a:gd name="T86" fmla="*/ 1740 w 4054"/>
                <a:gd name="T87" fmla="*/ 712 h 2689"/>
                <a:gd name="T88" fmla="*/ 1852 w 4054"/>
                <a:gd name="T89" fmla="*/ 843 h 2689"/>
                <a:gd name="T90" fmla="*/ 2036 w 4054"/>
                <a:gd name="T91" fmla="*/ 903 h 2689"/>
                <a:gd name="T92" fmla="*/ 2296 w 4054"/>
                <a:gd name="T93" fmla="*/ 731 h 2689"/>
                <a:gd name="T94" fmla="*/ 2480 w 4054"/>
                <a:gd name="T95" fmla="*/ 900 h 2689"/>
                <a:gd name="T96" fmla="*/ 2552 w 4054"/>
                <a:gd name="T97" fmla="*/ 1031 h 2689"/>
                <a:gd name="T98" fmla="*/ 2614 w 4054"/>
                <a:gd name="T99" fmla="*/ 1331 h 2689"/>
                <a:gd name="T100" fmla="*/ 2833 w 4054"/>
                <a:gd name="T101" fmla="*/ 1384 h 2689"/>
                <a:gd name="T102" fmla="*/ 2995 w 4054"/>
                <a:gd name="T103" fmla="*/ 1406 h 2689"/>
                <a:gd name="T104" fmla="*/ 3201 w 4054"/>
                <a:gd name="T105" fmla="*/ 1559 h 2689"/>
                <a:gd name="T106" fmla="*/ 3182 w 4054"/>
                <a:gd name="T107" fmla="*/ 1849 h 2689"/>
                <a:gd name="T108" fmla="*/ 3298 w 4054"/>
                <a:gd name="T109" fmla="*/ 1746 h 2689"/>
                <a:gd name="T110" fmla="*/ 3457 w 4054"/>
                <a:gd name="T111" fmla="*/ 1771 h 2689"/>
                <a:gd name="T112" fmla="*/ 3601 w 4054"/>
                <a:gd name="T113" fmla="*/ 1827 h 2689"/>
                <a:gd name="T114" fmla="*/ 3779 w 4054"/>
                <a:gd name="T115" fmla="*/ 1771 h 2689"/>
                <a:gd name="T116" fmla="*/ 3891 w 4054"/>
                <a:gd name="T117" fmla="*/ 192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54" h="2689">
                  <a:moveTo>
                    <a:pt x="4047" y="1943"/>
                  </a:moveTo>
                  <a:lnTo>
                    <a:pt x="4054" y="1961"/>
                  </a:lnTo>
                  <a:lnTo>
                    <a:pt x="4054" y="1986"/>
                  </a:lnTo>
                  <a:lnTo>
                    <a:pt x="4050" y="2008"/>
                  </a:lnTo>
                  <a:lnTo>
                    <a:pt x="4044" y="2018"/>
                  </a:lnTo>
                  <a:lnTo>
                    <a:pt x="4035" y="2027"/>
                  </a:lnTo>
                  <a:lnTo>
                    <a:pt x="4026" y="2036"/>
                  </a:lnTo>
                  <a:lnTo>
                    <a:pt x="4013" y="2043"/>
                  </a:lnTo>
                  <a:lnTo>
                    <a:pt x="4007" y="2049"/>
                  </a:lnTo>
                  <a:lnTo>
                    <a:pt x="3988" y="2055"/>
                  </a:lnTo>
                  <a:lnTo>
                    <a:pt x="3966" y="2058"/>
                  </a:lnTo>
                  <a:lnTo>
                    <a:pt x="3951" y="2068"/>
                  </a:lnTo>
                  <a:lnTo>
                    <a:pt x="3947" y="2083"/>
                  </a:lnTo>
                  <a:lnTo>
                    <a:pt x="3947" y="2102"/>
                  </a:lnTo>
                  <a:lnTo>
                    <a:pt x="3951" y="2124"/>
                  </a:lnTo>
                  <a:lnTo>
                    <a:pt x="3951" y="2139"/>
                  </a:lnTo>
                  <a:lnTo>
                    <a:pt x="3947" y="2149"/>
                  </a:lnTo>
                  <a:lnTo>
                    <a:pt x="3941" y="2155"/>
                  </a:lnTo>
                  <a:lnTo>
                    <a:pt x="3932" y="2164"/>
                  </a:lnTo>
                  <a:lnTo>
                    <a:pt x="3926" y="2174"/>
                  </a:lnTo>
                  <a:lnTo>
                    <a:pt x="3919" y="2183"/>
                  </a:lnTo>
                  <a:lnTo>
                    <a:pt x="3916" y="2189"/>
                  </a:lnTo>
                  <a:lnTo>
                    <a:pt x="3913" y="2211"/>
                  </a:lnTo>
                  <a:lnTo>
                    <a:pt x="3913" y="2239"/>
                  </a:lnTo>
                  <a:lnTo>
                    <a:pt x="3916" y="2267"/>
                  </a:lnTo>
                  <a:lnTo>
                    <a:pt x="3922" y="2289"/>
                  </a:lnTo>
                  <a:lnTo>
                    <a:pt x="3929" y="2292"/>
                  </a:lnTo>
                  <a:lnTo>
                    <a:pt x="3935" y="2292"/>
                  </a:lnTo>
                  <a:lnTo>
                    <a:pt x="3944" y="2295"/>
                  </a:lnTo>
                  <a:lnTo>
                    <a:pt x="3951" y="2295"/>
                  </a:lnTo>
                  <a:lnTo>
                    <a:pt x="3960" y="2295"/>
                  </a:lnTo>
                  <a:lnTo>
                    <a:pt x="3966" y="2299"/>
                  </a:lnTo>
                  <a:lnTo>
                    <a:pt x="3972" y="2302"/>
                  </a:lnTo>
                  <a:lnTo>
                    <a:pt x="3976" y="2305"/>
                  </a:lnTo>
                  <a:lnTo>
                    <a:pt x="3979" y="2314"/>
                  </a:lnTo>
                  <a:lnTo>
                    <a:pt x="3979" y="2320"/>
                  </a:lnTo>
                  <a:lnTo>
                    <a:pt x="3979" y="2330"/>
                  </a:lnTo>
                  <a:lnTo>
                    <a:pt x="3982" y="2336"/>
                  </a:lnTo>
                  <a:lnTo>
                    <a:pt x="3985" y="2342"/>
                  </a:lnTo>
                  <a:lnTo>
                    <a:pt x="3997" y="2352"/>
                  </a:lnTo>
                  <a:lnTo>
                    <a:pt x="4016" y="2361"/>
                  </a:lnTo>
                  <a:lnTo>
                    <a:pt x="4032" y="2370"/>
                  </a:lnTo>
                  <a:lnTo>
                    <a:pt x="4041" y="2383"/>
                  </a:lnTo>
                  <a:lnTo>
                    <a:pt x="4041" y="2389"/>
                  </a:lnTo>
                  <a:lnTo>
                    <a:pt x="4041" y="2395"/>
                  </a:lnTo>
                  <a:lnTo>
                    <a:pt x="4038" y="2405"/>
                  </a:lnTo>
                  <a:lnTo>
                    <a:pt x="4035" y="2411"/>
                  </a:lnTo>
                  <a:lnTo>
                    <a:pt x="4032" y="2417"/>
                  </a:lnTo>
                  <a:lnTo>
                    <a:pt x="4026" y="2423"/>
                  </a:lnTo>
                  <a:lnTo>
                    <a:pt x="4013" y="2433"/>
                  </a:lnTo>
                  <a:lnTo>
                    <a:pt x="3991" y="2439"/>
                  </a:lnTo>
                  <a:lnTo>
                    <a:pt x="3969" y="2445"/>
                  </a:lnTo>
                  <a:lnTo>
                    <a:pt x="3947" y="2452"/>
                  </a:lnTo>
                  <a:lnTo>
                    <a:pt x="3935" y="2461"/>
                  </a:lnTo>
                  <a:lnTo>
                    <a:pt x="3932" y="2467"/>
                  </a:lnTo>
                  <a:lnTo>
                    <a:pt x="3932" y="2477"/>
                  </a:lnTo>
                  <a:lnTo>
                    <a:pt x="3932" y="2486"/>
                  </a:lnTo>
                  <a:lnTo>
                    <a:pt x="3932" y="2495"/>
                  </a:lnTo>
                  <a:lnTo>
                    <a:pt x="3935" y="2505"/>
                  </a:lnTo>
                  <a:lnTo>
                    <a:pt x="3935" y="2511"/>
                  </a:lnTo>
                  <a:lnTo>
                    <a:pt x="3938" y="2536"/>
                  </a:lnTo>
                  <a:lnTo>
                    <a:pt x="3941" y="2561"/>
                  </a:lnTo>
                  <a:lnTo>
                    <a:pt x="3947" y="2586"/>
                  </a:lnTo>
                  <a:lnTo>
                    <a:pt x="3947" y="2601"/>
                  </a:lnTo>
                  <a:lnTo>
                    <a:pt x="3951" y="2623"/>
                  </a:lnTo>
                  <a:lnTo>
                    <a:pt x="3957" y="2639"/>
                  </a:lnTo>
                  <a:lnTo>
                    <a:pt x="3963" y="2645"/>
                  </a:lnTo>
                  <a:lnTo>
                    <a:pt x="3972" y="2651"/>
                  </a:lnTo>
                  <a:lnTo>
                    <a:pt x="3982" y="2655"/>
                  </a:lnTo>
                  <a:lnTo>
                    <a:pt x="3976" y="2664"/>
                  </a:lnTo>
                  <a:lnTo>
                    <a:pt x="3966" y="2673"/>
                  </a:lnTo>
                  <a:lnTo>
                    <a:pt x="3957" y="2680"/>
                  </a:lnTo>
                  <a:lnTo>
                    <a:pt x="3947" y="2686"/>
                  </a:lnTo>
                  <a:lnTo>
                    <a:pt x="3926" y="2689"/>
                  </a:lnTo>
                  <a:lnTo>
                    <a:pt x="3894" y="2686"/>
                  </a:lnTo>
                  <a:lnTo>
                    <a:pt x="3873" y="2686"/>
                  </a:lnTo>
                  <a:lnTo>
                    <a:pt x="3844" y="2683"/>
                  </a:lnTo>
                  <a:lnTo>
                    <a:pt x="3810" y="2680"/>
                  </a:lnTo>
                  <a:lnTo>
                    <a:pt x="3779" y="2670"/>
                  </a:lnTo>
                  <a:lnTo>
                    <a:pt x="3757" y="2661"/>
                  </a:lnTo>
                  <a:lnTo>
                    <a:pt x="3748" y="2642"/>
                  </a:lnTo>
                  <a:lnTo>
                    <a:pt x="3741" y="2620"/>
                  </a:lnTo>
                  <a:lnTo>
                    <a:pt x="3735" y="2598"/>
                  </a:lnTo>
                  <a:lnTo>
                    <a:pt x="3729" y="2580"/>
                  </a:lnTo>
                  <a:lnTo>
                    <a:pt x="3716" y="2558"/>
                  </a:lnTo>
                  <a:lnTo>
                    <a:pt x="3698" y="2536"/>
                  </a:lnTo>
                  <a:lnTo>
                    <a:pt x="3679" y="2520"/>
                  </a:lnTo>
                  <a:lnTo>
                    <a:pt x="3660" y="2517"/>
                  </a:lnTo>
                  <a:lnTo>
                    <a:pt x="3638" y="2517"/>
                  </a:lnTo>
                  <a:lnTo>
                    <a:pt x="3620" y="2520"/>
                  </a:lnTo>
                  <a:lnTo>
                    <a:pt x="3604" y="2530"/>
                  </a:lnTo>
                  <a:lnTo>
                    <a:pt x="3585" y="2548"/>
                  </a:lnTo>
                  <a:lnTo>
                    <a:pt x="3566" y="2558"/>
                  </a:lnTo>
                  <a:lnTo>
                    <a:pt x="3560" y="2558"/>
                  </a:lnTo>
                  <a:lnTo>
                    <a:pt x="3551" y="2558"/>
                  </a:lnTo>
                  <a:lnTo>
                    <a:pt x="3541" y="2558"/>
                  </a:lnTo>
                  <a:lnTo>
                    <a:pt x="3535" y="2555"/>
                  </a:lnTo>
                  <a:lnTo>
                    <a:pt x="3529" y="2552"/>
                  </a:lnTo>
                  <a:lnTo>
                    <a:pt x="3520" y="2548"/>
                  </a:lnTo>
                  <a:lnTo>
                    <a:pt x="3510" y="2539"/>
                  </a:lnTo>
                  <a:lnTo>
                    <a:pt x="3501" y="2533"/>
                  </a:lnTo>
                  <a:lnTo>
                    <a:pt x="3492" y="2523"/>
                  </a:lnTo>
                  <a:lnTo>
                    <a:pt x="3485" y="2520"/>
                  </a:lnTo>
                  <a:lnTo>
                    <a:pt x="3460" y="2511"/>
                  </a:lnTo>
                  <a:lnTo>
                    <a:pt x="3432" y="2498"/>
                  </a:lnTo>
                  <a:lnTo>
                    <a:pt x="3404" y="2489"/>
                  </a:lnTo>
                  <a:lnTo>
                    <a:pt x="3379" y="2486"/>
                  </a:lnTo>
                  <a:lnTo>
                    <a:pt x="3354" y="2483"/>
                  </a:lnTo>
                  <a:lnTo>
                    <a:pt x="3326" y="2480"/>
                  </a:lnTo>
                  <a:lnTo>
                    <a:pt x="3295" y="2480"/>
                  </a:lnTo>
                  <a:lnTo>
                    <a:pt x="3270" y="2486"/>
                  </a:lnTo>
                  <a:lnTo>
                    <a:pt x="3251" y="2495"/>
                  </a:lnTo>
                  <a:lnTo>
                    <a:pt x="3232" y="2508"/>
                  </a:lnTo>
                  <a:lnTo>
                    <a:pt x="3217" y="2520"/>
                  </a:lnTo>
                  <a:lnTo>
                    <a:pt x="3189" y="2530"/>
                  </a:lnTo>
                  <a:lnTo>
                    <a:pt x="3154" y="2536"/>
                  </a:lnTo>
                  <a:lnTo>
                    <a:pt x="3126" y="2542"/>
                  </a:lnTo>
                  <a:lnTo>
                    <a:pt x="3104" y="2536"/>
                  </a:lnTo>
                  <a:lnTo>
                    <a:pt x="3076" y="2530"/>
                  </a:lnTo>
                  <a:lnTo>
                    <a:pt x="3051" y="2520"/>
                  </a:lnTo>
                  <a:lnTo>
                    <a:pt x="3029" y="2517"/>
                  </a:lnTo>
                  <a:lnTo>
                    <a:pt x="3011" y="2514"/>
                  </a:lnTo>
                  <a:lnTo>
                    <a:pt x="2989" y="2514"/>
                  </a:lnTo>
                  <a:lnTo>
                    <a:pt x="2967" y="2514"/>
                  </a:lnTo>
                  <a:lnTo>
                    <a:pt x="2951" y="2520"/>
                  </a:lnTo>
                  <a:lnTo>
                    <a:pt x="2948" y="2536"/>
                  </a:lnTo>
                  <a:lnTo>
                    <a:pt x="2948" y="2555"/>
                  </a:lnTo>
                  <a:lnTo>
                    <a:pt x="2954" y="2576"/>
                  </a:lnTo>
                  <a:lnTo>
                    <a:pt x="2954" y="2595"/>
                  </a:lnTo>
                  <a:lnTo>
                    <a:pt x="2951" y="2611"/>
                  </a:lnTo>
                  <a:lnTo>
                    <a:pt x="2939" y="2614"/>
                  </a:lnTo>
                  <a:lnTo>
                    <a:pt x="2920" y="2617"/>
                  </a:lnTo>
                  <a:lnTo>
                    <a:pt x="2898" y="2614"/>
                  </a:lnTo>
                  <a:lnTo>
                    <a:pt x="2886" y="2611"/>
                  </a:lnTo>
                  <a:lnTo>
                    <a:pt x="2864" y="2595"/>
                  </a:lnTo>
                  <a:lnTo>
                    <a:pt x="2842" y="2576"/>
                  </a:lnTo>
                  <a:lnTo>
                    <a:pt x="2823" y="2561"/>
                  </a:lnTo>
                  <a:lnTo>
                    <a:pt x="2811" y="2555"/>
                  </a:lnTo>
                  <a:lnTo>
                    <a:pt x="2795" y="2548"/>
                  </a:lnTo>
                  <a:lnTo>
                    <a:pt x="2780" y="2545"/>
                  </a:lnTo>
                  <a:lnTo>
                    <a:pt x="2764" y="2545"/>
                  </a:lnTo>
                  <a:lnTo>
                    <a:pt x="2758" y="2558"/>
                  </a:lnTo>
                  <a:lnTo>
                    <a:pt x="2751" y="2576"/>
                  </a:lnTo>
                  <a:lnTo>
                    <a:pt x="2745" y="2598"/>
                  </a:lnTo>
                  <a:lnTo>
                    <a:pt x="2739" y="2611"/>
                  </a:lnTo>
                  <a:lnTo>
                    <a:pt x="2720" y="2614"/>
                  </a:lnTo>
                  <a:lnTo>
                    <a:pt x="2698" y="2614"/>
                  </a:lnTo>
                  <a:lnTo>
                    <a:pt x="2677" y="2611"/>
                  </a:lnTo>
                  <a:lnTo>
                    <a:pt x="2658" y="2608"/>
                  </a:lnTo>
                  <a:lnTo>
                    <a:pt x="2642" y="2598"/>
                  </a:lnTo>
                  <a:lnTo>
                    <a:pt x="2620" y="2586"/>
                  </a:lnTo>
                  <a:lnTo>
                    <a:pt x="2602" y="2570"/>
                  </a:lnTo>
                  <a:lnTo>
                    <a:pt x="2586" y="2561"/>
                  </a:lnTo>
                  <a:lnTo>
                    <a:pt x="2570" y="2558"/>
                  </a:lnTo>
                  <a:lnTo>
                    <a:pt x="2548" y="2558"/>
                  </a:lnTo>
                  <a:lnTo>
                    <a:pt x="2533" y="2561"/>
                  </a:lnTo>
                  <a:lnTo>
                    <a:pt x="2514" y="2564"/>
                  </a:lnTo>
                  <a:lnTo>
                    <a:pt x="2489" y="2573"/>
                  </a:lnTo>
                  <a:lnTo>
                    <a:pt x="2467" y="2580"/>
                  </a:lnTo>
                  <a:lnTo>
                    <a:pt x="2449" y="2586"/>
                  </a:lnTo>
                  <a:lnTo>
                    <a:pt x="2427" y="2583"/>
                  </a:lnTo>
                  <a:lnTo>
                    <a:pt x="2402" y="2576"/>
                  </a:lnTo>
                  <a:lnTo>
                    <a:pt x="2380" y="2570"/>
                  </a:lnTo>
                  <a:lnTo>
                    <a:pt x="2358" y="2552"/>
                  </a:lnTo>
                  <a:lnTo>
                    <a:pt x="2336" y="2530"/>
                  </a:lnTo>
                  <a:lnTo>
                    <a:pt x="2311" y="2505"/>
                  </a:lnTo>
                  <a:lnTo>
                    <a:pt x="2292" y="2486"/>
                  </a:lnTo>
                  <a:lnTo>
                    <a:pt x="2274" y="2473"/>
                  </a:lnTo>
                  <a:lnTo>
                    <a:pt x="2252" y="2461"/>
                  </a:lnTo>
                  <a:lnTo>
                    <a:pt x="2230" y="2452"/>
                  </a:lnTo>
                  <a:lnTo>
                    <a:pt x="2208" y="2445"/>
                  </a:lnTo>
                  <a:lnTo>
                    <a:pt x="2189" y="2448"/>
                  </a:lnTo>
                  <a:lnTo>
                    <a:pt x="2164" y="2452"/>
                  </a:lnTo>
                  <a:lnTo>
                    <a:pt x="2149" y="2461"/>
                  </a:lnTo>
                  <a:lnTo>
                    <a:pt x="2146" y="2480"/>
                  </a:lnTo>
                  <a:lnTo>
                    <a:pt x="2146" y="2502"/>
                  </a:lnTo>
                  <a:lnTo>
                    <a:pt x="2149" y="2523"/>
                  </a:lnTo>
                  <a:lnTo>
                    <a:pt x="2149" y="2542"/>
                  </a:lnTo>
                  <a:lnTo>
                    <a:pt x="2143" y="2548"/>
                  </a:lnTo>
                  <a:lnTo>
                    <a:pt x="2136" y="2558"/>
                  </a:lnTo>
                  <a:lnTo>
                    <a:pt x="2124" y="2567"/>
                  </a:lnTo>
                  <a:lnTo>
                    <a:pt x="2114" y="2573"/>
                  </a:lnTo>
                  <a:lnTo>
                    <a:pt x="2105" y="2580"/>
                  </a:lnTo>
                  <a:lnTo>
                    <a:pt x="2089" y="2583"/>
                  </a:lnTo>
                  <a:lnTo>
                    <a:pt x="2068" y="2580"/>
                  </a:lnTo>
                  <a:lnTo>
                    <a:pt x="2046" y="2576"/>
                  </a:lnTo>
                  <a:lnTo>
                    <a:pt x="2027" y="2580"/>
                  </a:lnTo>
                  <a:lnTo>
                    <a:pt x="2021" y="2583"/>
                  </a:lnTo>
                  <a:lnTo>
                    <a:pt x="2014" y="2586"/>
                  </a:lnTo>
                  <a:lnTo>
                    <a:pt x="2008" y="2592"/>
                  </a:lnTo>
                  <a:lnTo>
                    <a:pt x="1999" y="2598"/>
                  </a:lnTo>
                  <a:lnTo>
                    <a:pt x="1993" y="2605"/>
                  </a:lnTo>
                  <a:lnTo>
                    <a:pt x="1986" y="2608"/>
                  </a:lnTo>
                  <a:lnTo>
                    <a:pt x="1980" y="2605"/>
                  </a:lnTo>
                  <a:lnTo>
                    <a:pt x="1971" y="2595"/>
                  </a:lnTo>
                  <a:lnTo>
                    <a:pt x="1968" y="2580"/>
                  </a:lnTo>
                  <a:lnTo>
                    <a:pt x="1968" y="2561"/>
                  </a:lnTo>
                  <a:lnTo>
                    <a:pt x="1968" y="2545"/>
                  </a:lnTo>
                  <a:lnTo>
                    <a:pt x="1965" y="2527"/>
                  </a:lnTo>
                  <a:lnTo>
                    <a:pt x="1965" y="2508"/>
                  </a:lnTo>
                  <a:lnTo>
                    <a:pt x="1961" y="2486"/>
                  </a:lnTo>
                  <a:lnTo>
                    <a:pt x="1952" y="2473"/>
                  </a:lnTo>
                  <a:lnTo>
                    <a:pt x="1946" y="2470"/>
                  </a:lnTo>
                  <a:lnTo>
                    <a:pt x="1936" y="2467"/>
                  </a:lnTo>
                  <a:lnTo>
                    <a:pt x="1927" y="2470"/>
                  </a:lnTo>
                  <a:lnTo>
                    <a:pt x="1915" y="2470"/>
                  </a:lnTo>
                  <a:lnTo>
                    <a:pt x="1908" y="2473"/>
                  </a:lnTo>
                  <a:lnTo>
                    <a:pt x="1905" y="2480"/>
                  </a:lnTo>
                  <a:lnTo>
                    <a:pt x="1902" y="2486"/>
                  </a:lnTo>
                  <a:lnTo>
                    <a:pt x="1902" y="2495"/>
                  </a:lnTo>
                  <a:lnTo>
                    <a:pt x="1899" y="2502"/>
                  </a:lnTo>
                  <a:lnTo>
                    <a:pt x="1896" y="2511"/>
                  </a:lnTo>
                  <a:lnTo>
                    <a:pt x="1893" y="2517"/>
                  </a:lnTo>
                  <a:lnTo>
                    <a:pt x="1880" y="2523"/>
                  </a:lnTo>
                  <a:lnTo>
                    <a:pt x="1865" y="2530"/>
                  </a:lnTo>
                  <a:lnTo>
                    <a:pt x="1846" y="2533"/>
                  </a:lnTo>
                  <a:lnTo>
                    <a:pt x="1833" y="2530"/>
                  </a:lnTo>
                  <a:lnTo>
                    <a:pt x="1827" y="2527"/>
                  </a:lnTo>
                  <a:lnTo>
                    <a:pt x="1824" y="2520"/>
                  </a:lnTo>
                  <a:lnTo>
                    <a:pt x="1821" y="2511"/>
                  </a:lnTo>
                  <a:lnTo>
                    <a:pt x="1818" y="2502"/>
                  </a:lnTo>
                  <a:lnTo>
                    <a:pt x="1815" y="2492"/>
                  </a:lnTo>
                  <a:lnTo>
                    <a:pt x="1815" y="2486"/>
                  </a:lnTo>
                  <a:lnTo>
                    <a:pt x="1815" y="2480"/>
                  </a:lnTo>
                  <a:lnTo>
                    <a:pt x="1818" y="2470"/>
                  </a:lnTo>
                  <a:lnTo>
                    <a:pt x="1821" y="2461"/>
                  </a:lnTo>
                  <a:lnTo>
                    <a:pt x="1821" y="2455"/>
                  </a:lnTo>
                  <a:lnTo>
                    <a:pt x="1824" y="2445"/>
                  </a:lnTo>
                  <a:lnTo>
                    <a:pt x="1824" y="2423"/>
                  </a:lnTo>
                  <a:lnTo>
                    <a:pt x="1821" y="2395"/>
                  </a:lnTo>
                  <a:lnTo>
                    <a:pt x="1815" y="2374"/>
                  </a:lnTo>
                  <a:lnTo>
                    <a:pt x="1805" y="2361"/>
                  </a:lnTo>
                  <a:lnTo>
                    <a:pt x="1790" y="2349"/>
                  </a:lnTo>
                  <a:lnTo>
                    <a:pt x="1774" y="2336"/>
                  </a:lnTo>
                  <a:lnTo>
                    <a:pt x="1758" y="2333"/>
                  </a:lnTo>
                  <a:lnTo>
                    <a:pt x="1752" y="2336"/>
                  </a:lnTo>
                  <a:lnTo>
                    <a:pt x="1746" y="2342"/>
                  </a:lnTo>
                  <a:lnTo>
                    <a:pt x="1740" y="2349"/>
                  </a:lnTo>
                  <a:lnTo>
                    <a:pt x="1733" y="2355"/>
                  </a:lnTo>
                  <a:lnTo>
                    <a:pt x="1727" y="2361"/>
                  </a:lnTo>
                  <a:lnTo>
                    <a:pt x="1727" y="2380"/>
                  </a:lnTo>
                  <a:lnTo>
                    <a:pt x="1730" y="2402"/>
                  </a:lnTo>
                  <a:lnTo>
                    <a:pt x="1733" y="2423"/>
                  </a:lnTo>
                  <a:lnTo>
                    <a:pt x="1733" y="2445"/>
                  </a:lnTo>
                  <a:lnTo>
                    <a:pt x="1727" y="2461"/>
                  </a:lnTo>
                  <a:lnTo>
                    <a:pt x="1715" y="2464"/>
                  </a:lnTo>
                  <a:lnTo>
                    <a:pt x="1699" y="2464"/>
                  </a:lnTo>
                  <a:lnTo>
                    <a:pt x="1680" y="2461"/>
                  </a:lnTo>
                  <a:lnTo>
                    <a:pt x="1668" y="2458"/>
                  </a:lnTo>
                  <a:lnTo>
                    <a:pt x="1655" y="2445"/>
                  </a:lnTo>
                  <a:lnTo>
                    <a:pt x="1646" y="2427"/>
                  </a:lnTo>
                  <a:lnTo>
                    <a:pt x="1637" y="2408"/>
                  </a:lnTo>
                  <a:lnTo>
                    <a:pt x="1624" y="2392"/>
                  </a:lnTo>
                  <a:lnTo>
                    <a:pt x="1618" y="2389"/>
                  </a:lnTo>
                  <a:lnTo>
                    <a:pt x="1609" y="2386"/>
                  </a:lnTo>
                  <a:lnTo>
                    <a:pt x="1599" y="2386"/>
                  </a:lnTo>
                  <a:lnTo>
                    <a:pt x="1590" y="2383"/>
                  </a:lnTo>
                  <a:lnTo>
                    <a:pt x="1580" y="2380"/>
                  </a:lnTo>
                  <a:lnTo>
                    <a:pt x="1565" y="2361"/>
                  </a:lnTo>
                  <a:lnTo>
                    <a:pt x="1549" y="2336"/>
                  </a:lnTo>
                  <a:lnTo>
                    <a:pt x="1530" y="2324"/>
                  </a:lnTo>
                  <a:lnTo>
                    <a:pt x="1509" y="2320"/>
                  </a:lnTo>
                  <a:lnTo>
                    <a:pt x="1481" y="2330"/>
                  </a:lnTo>
                  <a:lnTo>
                    <a:pt x="1452" y="2339"/>
                  </a:lnTo>
                  <a:lnTo>
                    <a:pt x="1427" y="2342"/>
                  </a:lnTo>
                  <a:lnTo>
                    <a:pt x="1409" y="2339"/>
                  </a:lnTo>
                  <a:lnTo>
                    <a:pt x="1387" y="2333"/>
                  </a:lnTo>
                  <a:lnTo>
                    <a:pt x="1365" y="2330"/>
                  </a:lnTo>
                  <a:lnTo>
                    <a:pt x="1349" y="2333"/>
                  </a:lnTo>
                  <a:lnTo>
                    <a:pt x="1343" y="2345"/>
                  </a:lnTo>
                  <a:lnTo>
                    <a:pt x="1340" y="2367"/>
                  </a:lnTo>
                  <a:lnTo>
                    <a:pt x="1340" y="2392"/>
                  </a:lnTo>
                  <a:lnTo>
                    <a:pt x="1340" y="2414"/>
                  </a:lnTo>
                  <a:lnTo>
                    <a:pt x="1334" y="2427"/>
                  </a:lnTo>
                  <a:lnTo>
                    <a:pt x="1318" y="2433"/>
                  </a:lnTo>
                  <a:lnTo>
                    <a:pt x="1296" y="2433"/>
                  </a:lnTo>
                  <a:lnTo>
                    <a:pt x="1278" y="2427"/>
                  </a:lnTo>
                  <a:lnTo>
                    <a:pt x="1259" y="2408"/>
                  </a:lnTo>
                  <a:lnTo>
                    <a:pt x="1246" y="2380"/>
                  </a:lnTo>
                  <a:lnTo>
                    <a:pt x="1237" y="2352"/>
                  </a:lnTo>
                  <a:lnTo>
                    <a:pt x="1234" y="2336"/>
                  </a:lnTo>
                  <a:lnTo>
                    <a:pt x="1231" y="2314"/>
                  </a:lnTo>
                  <a:lnTo>
                    <a:pt x="1231" y="2295"/>
                  </a:lnTo>
                  <a:lnTo>
                    <a:pt x="1237" y="2280"/>
                  </a:lnTo>
                  <a:lnTo>
                    <a:pt x="1249" y="2274"/>
                  </a:lnTo>
                  <a:lnTo>
                    <a:pt x="1265" y="2267"/>
                  </a:lnTo>
                  <a:lnTo>
                    <a:pt x="1284" y="2264"/>
                  </a:lnTo>
                  <a:lnTo>
                    <a:pt x="1296" y="2258"/>
                  </a:lnTo>
                  <a:lnTo>
                    <a:pt x="1303" y="2242"/>
                  </a:lnTo>
                  <a:lnTo>
                    <a:pt x="1309" y="2224"/>
                  </a:lnTo>
                  <a:lnTo>
                    <a:pt x="1312" y="2205"/>
                  </a:lnTo>
                  <a:lnTo>
                    <a:pt x="1321" y="2192"/>
                  </a:lnTo>
                  <a:lnTo>
                    <a:pt x="1324" y="2192"/>
                  </a:lnTo>
                  <a:lnTo>
                    <a:pt x="1334" y="2192"/>
                  </a:lnTo>
                  <a:lnTo>
                    <a:pt x="1340" y="2192"/>
                  </a:lnTo>
                  <a:lnTo>
                    <a:pt x="1349" y="2196"/>
                  </a:lnTo>
                  <a:lnTo>
                    <a:pt x="1359" y="2196"/>
                  </a:lnTo>
                  <a:lnTo>
                    <a:pt x="1365" y="2196"/>
                  </a:lnTo>
                  <a:lnTo>
                    <a:pt x="1371" y="2192"/>
                  </a:lnTo>
                  <a:lnTo>
                    <a:pt x="1374" y="2189"/>
                  </a:lnTo>
                  <a:lnTo>
                    <a:pt x="1374" y="2180"/>
                  </a:lnTo>
                  <a:lnTo>
                    <a:pt x="1377" y="2174"/>
                  </a:lnTo>
                  <a:lnTo>
                    <a:pt x="1374" y="2164"/>
                  </a:lnTo>
                  <a:lnTo>
                    <a:pt x="1374" y="2155"/>
                  </a:lnTo>
                  <a:lnTo>
                    <a:pt x="1371" y="2149"/>
                  </a:lnTo>
                  <a:lnTo>
                    <a:pt x="1359" y="2133"/>
                  </a:lnTo>
                  <a:lnTo>
                    <a:pt x="1337" y="2121"/>
                  </a:lnTo>
                  <a:lnTo>
                    <a:pt x="1312" y="2108"/>
                  </a:lnTo>
                  <a:lnTo>
                    <a:pt x="1293" y="2102"/>
                  </a:lnTo>
                  <a:lnTo>
                    <a:pt x="1265" y="2099"/>
                  </a:lnTo>
                  <a:lnTo>
                    <a:pt x="1231" y="2099"/>
                  </a:lnTo>
                  <a:lnTo>
                    <a:pt x="1203" y="2102"/>
                  </a:lnTo>
                  <a:lnTo>
                    <a:pt x="1184" y="2111"/>
                  </a:lnTo>
                  <a:lnTo>
                    <a:pt x="1162" y="2130"/>
                  </a:lnTo>
                  <a:lnTo>
                    <a:pt x="1143" y="2139"/>
                  </a:lnTo>
                  <a:lnTo>
                    <a:pt x="1121" y="2142"/>
                  </a:lnTo>
                  <a:lnTo>
                    <a:pt x="1100" y="2142"/>
                  </a:lnTo>
                  <a:lnTo>
                    <a:pt x="1078" y="2142"/>
                  </a:lnTo>
                  <a:lnTo>
                    <a:pt x="1056" y="2139"/>
                  </a:lnTo>
                  <a:lnTo>
                    <a:pt x="1028" y="2133"/>
                  </a:lnTo>
                  <a:lnTo>
                    <a:pt x="996" y="2127"/>
                  </a:lnTo>
                  <a:lnTo>
                    <a:pt x="975" y="2124"/>
                  </a:lnTo>
                  <a:lnTo>
                    <a:pt x="956" y="2127"/>
                  </a:lnTo>
                  <a:lnTo>
                    <a:pt x="937" y="2133"/>
                  </a:lnTo>
                  <a:lnTo>
                    <a:pt x="918" y="2139"/>
                  </a:lnTo>
                  <a:lnTo>
                    <a:pt x="900" y="2146"/>
                  </a:lnTo>
                  <a:lnTo>
                    <a:pt x="872" y="2155"/>
                  </a:lnTo>
                  <a:lnTo>
                    <a:pt x="847" y="2164"/>
                  </a:lnTo>
                  <a:lnTo>
                    <a:pt x="825" y="2171"/>
                  </a:lnTo>
                  <a:lnTo>
                    <a:pt x="812" y="2171"/>
                  </a:lnTo>
                  <a:lnTo>
                    <a:pt x="803" y="2164"/>
                  </a:lnTo>
                  <a:lnTo>
                    <a:pt x="790" y="2146"/>
                  </a:lnTo>
                  <a:lnTo>
                    <a:pt x="775" y="2127"/>
                  </a:lnTo>
                  <a:lnTo>
                    <a:pt x="762" y="2105"/>
                  </a:lnTo>
                  <a:lnTo>
                    <a:pt x="750" y="2089"/>
                  </a:lnTo>
                  <a:lnTo>
                    <a:pt x="747" y="2071"/>
                  </a:lnTo>
                  <a:lnTo>
                    <a:pt x="744" y="2046"/>
                  </a:lnTo>
                  <a:lnTo>
                    <a:pt x="740" y="2024"/>
                  </a:lnTo>
                  <a:lnTo>
                    <a:pt x="731" y="2008"/>
                  </a:lnTo>
                  <a:lnTo>
                    <a:pt x="719" y="2002"/>
                  </a:lnTo>
                  <a:lnTo>
                    <a:pt x="703" y="1996"/>
                  </a:lnTo>
                  <a:lnTo>
                    <a:pt x="684" y="1993"/>
                  </a:lnTo>
                  <a:lnTo>
                    <a:pt x="672" y="1986"/>
                  </a:lnTo>
                  <a:lnTo>
                    <a:pt x="665" y="1971"/>
                  </a:lnTo>
                  <a:lnTo>
                    <a:pt x="662" y="1955"/>
                  </a:lnTo>
                  <a:lnTo>
                    <a:pt x="659" y="1936"/>
                  </a:lnTo>
                  <a:lnTo>
                    <a:pt x="653" y="1924"/>
                  </a:lnTo>
                  <a:lnTo>
                    <a:pt x="650" y="1918"/>
                  </a:lnTo>
                  <a:lnTo>
                    <a:pt x="641" y="1911"/>
                  </a:lnTo>
                  <a:lnTo>
                    <a:pt x="634" y="1905"/>
                  </a:lnTo>
                  <a:lnTo>
                    <a:pt x="625" y="1899"/>
                  </a:lnTo>
                  <a:lnTo>
                    <a:pt x="619" y="1896"/>
                  </a:lnTo>
                  <a:lnTo>
                    <a:pt x="612" y="1896"/>
                  </a:lnTo>
                  <a:lnTo>
                    <a:pt x="606" y="1905"/>
                  </a:lnTo>
                  <a:lnTo>
                    <a:pt x="603" y="1924"/>
                  </a:lnTo>
                  <a:lnTo>
                    <a:pt x="603" y="1939"/>
                  </a:lnTo>
                  <a:lnTo>
                    <a:pt x="597" y="1949"/>
                  </a:lnTo>
                  <a:lnTo>
                    <a:pt x="584" y="1952"/>
                  </a:lnTo>
                  <a:lnTo>
                    <a:pt x="569" y="1946"/>
                  </a:lnTo>
                  <a:lnTo>
                    <a:pt x="553" y="1939"/>
                  </a:lnTo>
                  <a:lnTo>
                    <a:pt x="541" y="1930"/>
                  </a:lnTo>
                  <a:lnTo>
                    <a:pt x="531" y="1915"/>
                  </a:lnTo>
                  <a:lnTo>
                    <a:pt x="525" y="1890"/>
                  </a:lnTo>
                  <a:lnTo>
                    <a:pt x="519" y="1865"/>
                  </a:lnTo>
                  <a:lnTo>
                    <a:pt x="506" y="1846"/>
                  </a:lnTo>
                  <a:lnTo>
                    <a:pt x="494" y="1843"/>
                  </a:lnTo>
                  <a:lnTo>
                    <a:pt x="472" y="1843"/>
                  </a:lnTo>
                  <a:lnTo>
                    <a:pt x="453" y="1840"/>
                  </a:lnTo>
                  <a:lnTo>
                    <a:pt x="438" y="1836"/>
                  </a:lnTo>
                  <a:lnTo>
                    <a:pt x="431" y="1821"/>
                  </a:lnTo>
                  <a:lnTo>
                    <a:pt x="428" y="1799"/>
                  </a:lnTo>
                  <a:lnTo>
                    <a:pt x="425" y="1780"/>
                  </a:lnTo>
                  <a:lnTo>
                    <a:pt x="419" y="1765"/>
                  </a:lnTo>
                  <a:lnTo>
                    <a:pt x="403" y="1758"/>
                  </a:lnTo>
                  <a:lnTo>
                    <a:pt x="384" y="1752"/>
                  </a:lnTo>
                  <a:lnTo>
                    <a:pt x="363" y="1752"/>
                  </a:lnTo>
                  <a:lnTo>
                    <a:pt x="344" y="1752"/>
                  </a:lnTo>
                  <a:lnTo>
                    <a:pt x="319" y="1752"/>
                  </a:lnTo>
                  <a:lnTo>
                    <a:pt x="291" y="1758"/>
                  </a:lnTo>
                  <a:lnTo>
                    <a:pt x="269" y="1768"/>
                  </a:lnTo>
                  <a:lnTo>
                    <a:pt x="256" y="1780"/>
                  </a:lnTo>
                  <a:lnTo>
                    <a:pt x="247" y="1799"/>
                  </a:lnTo>
                  <a:lnTo>
                    <a:pt x="235" y="1818"/>
                  </a:lnTo>
                  <a:lnTo>
                    <a:pt x="222" y="1827"/>
                  </a:lnTo>
                  <a:lnTo>
                    <a:pt x="203" y="1833"/>
                  </a:lnTo>
                  <a:lnTo>
                    <a:pt x="181" y="1830"/>
                  </a:lnTo>
                  <a:lnTo>
                    <a:pt x="160" y="1827"/>
                  </a:lnTo>
                  <a:lnTo>
                    <a:pt x="141" y="1821"/>
                  </a:lnTo>
                  <a:lnTo>
                    <a:pt x="128" y="1808"/>
                  </a:lnTo>
                  <a:lnTo>
                    <a:pt x="116" y="1786"/>
                  </a:lnTo>
                  <a:lnTo>
                    <a:pt x="103" y="1768"/>
                  </a:lnTo>
                  <a:lnTo>
                    <a:pt x="91" y="1752"/>
                  </a:lnTo>
                  <a:lnTo>
                    <a:pt x="85" y="1746"/>
                  </a:lnTo>
                  <a:lnTo>
                    <a:pt x="72" y="1743"/>
                  </a:lnTo>
                  <a:lnTo>
                    <a:pt x="57" y="1737"/>
                  </a:lnTo>
                  <a:lnTo>
                    <a:pt x="44" y="1733"/>
                  </a:lnTo>
                  <a:lnTo>
                    <a:pt x="41" y="1721"/>
                  </a:lnTo>
                  <a:lnTo>
                    <a:pt x="41" y="1705"/>
                  </a:lnTo>
                  <a:lnTo>
                    <a:pt x="38" y="1693"/>
                  </a:lnTo>
                  <a:lnTo>
                    <a:pt x="35" y="1683"/>
                  </a:lnTo>
                  <a:lnTo>
                    <a:pt x="22" y="1665"/>
                  </a:lnTo>
                  <a:lnTo>
                    <a:pt x="10" y="1643"/>
                  </a:lnTo>
                  <a:lnTo>
                    <a:pt x="0" y="1624"/>
                  </a:lnTo>
                  <a:lnTo>
                    <a:pt x="3" y="1602"/>
                  </a:lnTo>
                  <a:lnTo>
                    <a:pt x="10" y="1580"/>
                  </a:lnTo>
                  <a:lnTo>
                    <a:pt x="16" y="1562"/>
                  </a:lnTo>
                  <a:lnTo>
                    <a:pt x="22" y="1534"/>
                  </a:lnTo>
                  <a:lnTo>
                    <a:pt x="32" y="1499"/>
                  </a:lnTo>
                  <a:lnTo>
                    <a:pt x="38" y="1468"/>
                  </a:lnTo>
                  <a:lnTo>
                    <a:pt x="41" y="1440"/>
                  </a:lnTo>
                  <a:lnTo>
                    <a:pt x="41" y="1409"/>
                  </a:lnTo>
                  <a:lnTo>
                    <a:pt x="38" y="1374"/>
                  </a:lnTo>
                  <a:lnTo>
                    <a:pt x="41" y="1346"/>
                  </a:lnTo>
                  <a:lnTo>
                    <a:pt x="47" y="1331"/>
                  </a:lnTo>
                  <a:lnTo>
                    <a:pt x="60" y="1312"/>
                  </a:lnTo>
                  <a:lnTo>
                    <a:pt x="69" y="1293"/>
                  </a:lnTo>
                  <a:lnTo>
                    <a:pt x="72" y="1274"/>
                  </a:lnTo>
                  <a:lnTo>
                    <a:pt x="66" y="1262"/>
                  </a:lnTo>
                  <a:lnTo>
                    <a:pt x="53" y="1246"/>
                  </a:lnTo>
                  <a:lnTo>
                    <a:pt x="41" y="1231"/>
                  </a:lnTo>
                  <a:lnTo>
                    <a:pt x="32" y="1215"/>
                  </a:lnTo>
                  <a:lnTo>
                    <a:pt x="25" y="1187"/>
                  </a:lnTo>
                  <a:lnTo>
                    <a:pt x="22" y="1149"/>
                  </a:lnTo>
                  <a:lnTo>
                    <a:pt x="22" y="1118"/>
                  </a:lnTo>
                  <a:lnTo>
                    <a:pt x="25" y="1084"/>
                  </a:lnTo>
                  <a:lnTo>
                    <a:pt x="28" y="1046"/>
                  </a:lnTo>
                  <a:lnTo>
                    <a:pt x="32" y="1006"/>
                  </a:lnTo>
                  <a:lnTo>
                    <a:pt x="32" y="971"/>
                  </a:lnTo>
                  <a:lnTo>
                    <a:pt x="32" y="947"/>
                  </a:lnTo>
                  <a:lnTo>
                    <a:pt x="28" y="912"/>
                  </a:lnTo>
                  <a:lnTo>
                    <a:pt x="28" y="878"/>
                  </a:lnTo>
                  <a:lnTo>
                    <a:pt x="32" y="853"/>
                  </a:lnTo>
                  <a:lnTo>
                    <a:pt x="44" y="834"/>
                  </a:lnTo>
                  <a:lnTo>
                    <a:pt x="60" y="812"/>
                  </a:lnTo>
                  <a:lnTo>
                    <a:pt x="72" y="794"/>
                  </a:lnTo>
                  <a:lnTo>
                    <a:pt x="75" y="772"/>
                  </a:lnTo>
                  <a:lnTo>
                    <a:pt x="75" y="740"/>
                  </a:lnTo>
                  <a:lnTo>
                    <a:pt x="72" y="715"/>
                  </a:lnTo>
                  <a:lnTo>
                    <a:pt x="69" y="694"/>
                  </a:lnTo>
                  <a:lnTo>
                    <a:pt x="60" y="665"/>
                  </a:lnTo>
                  <a:lnTo>
                    <a:pt x="53" y="640"/>
                  </a:lnTo>
                  <a:lnTo>
                    <a:pt x="50" y="616"/>
                  </a:lnTo>
                  <a:lnTo>
                    <a:pt x="57" y="587"/>
                  </a:lnTo>
                  <a:lnTo>
                    <a:pt x="66" y="556"/>
                  </a:lnTo>
                  <a:lnTo>
                    <a:pt x="82" y="534"/>
                  </a:lnTo>
                  <a:lnTo>
                    <a:pt x="94" y="528"/>
                  </a:lnTo>
                  <a:lnTo>
                    <a:pt x="113" y="525"/>
                  </a:lnTo>
                  <a:lnTo>
                    <a:pt x="132" y="522"/>
                  </a:lnTo>
                  <a:lnTo>
                    <a:pt x="147" y="516"/>
                  </a:lnTo>
                  <a:lnTo>
                    <a:pt x="166" y="503"/>
                  </a:lnTo>
                  <a:lnTo>
                    <a:pt x="185" y="484"/>
                  </a:lnTo>
                  <a:lnTo>
                    <a:pt x="203" y="466"/>
                  </a:lnTo>
                  <a:lnTo>
                    <a:pt x="219" y="447"/>
                  </a:lnTo>
                  <a:lnTo>
                    <a:pt x="238" y="425"/>
                  </a:lnTo>
                  <a:lnTo>
                    <a:pt x="260" y="397"/>
                  </a:lnTo>
                  <a:lnTo>
                    <a:pt x="281" y="372"/>
                  </a:lnTo>
                  <a:lnTo>
                    <a:pt x="300" y="350"/>
                  </a:lnTo>
                  <a:lnTo>
                    <a:pt x="325" y="331"/>
                  </a:lnTo>
                  <a:lnTo>
                    <a:pt x="353" y="310"/>
                  </a:lnTo>
                  <a:lnTo>
                    <a:pt x="384" y="291"/>
                  </a:lnTo>
                  <a:lnTo>
                    <a:pt x="416" y="272"/>
                  </a:lnTo>
                  <a:lnTo>
                    <a:pt x="444" y="263"/>
                  </a:lnTo>
                  <a:lnTo>
                    <a:pt x="475" y="256"/>
                  </a:lnTo>
                  <a:lnTo>
                    <a:pt x="512" y="256"/>
                  </a:lnTo>
                  <a:lnTo>
                    <a:pt x="553" y="260"/>
                  </a:lnTo>
                  <a:lnTo>
                    <a:pt x="584" y="260"/>
                  </a:lnTo>
                  <a:lnTo>
                    <a:pt x="622" y="253"/>
                  </a:lnTo>
                  <a:lnTo>
                    <a:pt x="665" y="244"/>
                  </a:lnTo>
                  <a:lnTo>
                    <a:pt x="712" y="231"/>
                  </a:lnTo>
                  <a:lnTo>
                    <a:pt x="756" y="222"/>
                  </a:lnTo>
                  <a:lnTo>
                    <a:pt x="794" y="210"/>
                  </a:lnTo>
                  <a:lnTo>
                    <a:pt x="825" y="197"/>
                  </a:lnTo>
                  <a:lnTo>
                    <a:pt x="862" y="181"/>
                  </a:lnTo>
                  <a:lnTo>
                    <a:pt x="900" y="163"/>
                  </a:lnTo>
                  <a:lnTo>
                    <a:pt x="934" y="153"/>
                  </a:lnTo>
                  <a:lnTo>
                    <a:pt x="975" y="147"/>
                  </a:lnTo>
                  <a:lnTo>
                    <a:pt x="1025" y="141"/>
                  </a:lnTo>
                  <a:lnTo>
                    <a:pt x="1075" y="138"/>
                  </a:lnTo>
                  <a:lnTo>
                    <a:pt x="1115" y="135"/>
                  </a:lnTo>
                  <a:lnTo>
                    <a:pt x="1143" y="125"/>
                  </a:lnTo>
                  <a:lnTo>
                    <a:pt x="1181" y="116"/>
                  </a:lnTo>
                  <a:lnTo>
                    <a:pt x="1215" y="107"/>
                  </a:lnTo>
                  <a:lnTo>
                    <a:pt x="1243" y="97"/>
                  </a:lnTo>
                  <a:lnTo>
                    <a:pt x="1271" y="91"/>
                  </a:lnTo>
                  <a:lnTo>
                    <a:pt x="1306" y="85"/>
                  </a:lnTo>
                  <a:lnTo>
                    <a:pt x="1340" y="78"/>
                  </a:lnTo>
                  <a:lnTo>
                    <a:pt x="1368" y="69"/>
                  </a:lnTo>
                  <a:lnTo>
                    <a:pt x="1387" y="57"/>
                  </a:lnTo>
                  <a:lnTo>
                    <a:pt x="1409" y="35"/>
                  </a:lnTo>
                  <a:lnTo>
                    <a:pt x="1434" y="16"/>
                  </a:lnTo>
                  <a:lnTo>
                    <a:pt x="1456" y="0"/>
                  </a:lnTo>
                  <a:lnTo>
                    <a:pt x="1474" y="0"/>
                  </a:lnTo>
                  <a:lnTo>
                    <a:pt x="1484" y="10"/>
                  </a:lnTo>
                  <a:lnTo>
                    <a:pt x="1487" y="28"/>
                  </a:lnTo>
                  <a:lnTo>
                    <a:pt x="1487" y="50"/>
                  </a:lnTo>
                  <a:lnTo>
                    <a:pt x="1487" y="72"/>
                  </a:lnTo>
                  <a:lnTo>
                    <a:pt x="1484" y="91"/>
                  </a:lnTo>
                  <a:lnTo>
                    <a:pt x="1484" y="107"/>
                  </a:lnTo>
                  <a:lnTo>
                    <a:pt x="1484" y="125"/>
                  </a:lnTo>
                  <a:lnTo>
                    <a:pt x="1487" y="141"/>
                  </a:lnTo>
                  <a:lnTo>
                    <a:pt x="1499" y="163"/>
                  </a:lnTo>
                  <a:lnTo>
                    <a:pt x="1518" y="185"/>
                  </a:lnTo>
                  <a:lnTo>
                    <a:pt x="1540" y="210"/>
                  </a:lnTo>
                  <a:lnTo>
                    <a:pt x="1555" y="228"/>
                  </a:lnTo>
                  <a:lnTo>
                    <a:pt x="1568" y="247"/>
                  </a:lnTo>
                  <a:lnTo>
                    <a:pt x="1584" y="272"/>
                  </a:lnTo>
                  <a:lnTo>
                    <a:pt x="1593" y="294"/>
                  </a:lnTo>
                  <a:lnTo>
                    <a:pt x="1596" y="325"/>
                  </a:lnTo>
                  <a:lnTo>
                    <a:pt x="1596" y="359"/>
                  </a:lnTo>
                  <a:lnTo>
                    <a:pt x="1593" y="394"/>
                  </a:lnTo>
                  <a:lnTo>
                    <a:pt x="1584" y="413"/>
                  </a:lnTo>
                  <a:lnTo>
                    <a:pt x="1574" y="434"/>
                  </a:lnTo>
                  <a:lnTo>
                    <a:pt x="1568" y="453"/>
                  </a:lnTo>
                  <a:lnTo>
                    <a:pt x="1571" y="475"/>
                  </a:lnTo>
                  <a:lnTo>
                    <a:pt x="1580" y="503"/>
                  </a:lnTo>
                  <a:lnTo>
                    <a:pt x="1587" y="525"/>
                  </a:lnTo>
                  <a:lnTo>
                    <a:pt x="1587" y="547"/>
                  </a:lnTo>
                  <a:lnTo>
                    <a:pt x="1584" y="575"/>
                  </a:lnTo>
                  <a:lnTo>
                    <a:pt x="1587" y="597"/>
                  </a:lnTo>
                  <a:lnTo>
                    <a:pt x="1593" y="616"/>
                  </a:lnTo>
                  <a:lnTo>
                    <a:pt x="1605" y="634"/>
                  </a:lnTo>
                  <a:lnTo>
                    <a:pt x="1618" y="650"/>
                  </a:lnTo>
                  <a:lnTo>
                    <a:pt x="1640" y="656"/>
                  </a:lnTo>
                  <a:lnTo>
                    <a:pt x="1665" y="656"/>
                  </a:lnTo>
                  <a:lnTo>
                    <a:pt x="1693" y="659"/>
                  </a:lnTo>
                  <a:lnTo>
                    <a:pt x="1712" y="665"/>
                  </a:lnTo>
                  <a:lnTo>
                    <a:pt x="1727" y="684"/>
                  </a:lnTo>
                  <a:lnTo>
                    <a:pt x="1740" y="712"/>
                  </a:lnTo>
                  <a:lnTo>
                    <a:pt x="1749" y="734"/>
                  </a:lnTo>
                  <a:lnTo>
                    <a:pt x="1765" y="759"/>
                  </a:lnTo>
                  <a:lnTo>
                    <a:pt x="1783" y="787"/>
                  </a:lnTo>
                  <a:lnTo>
                    <a:pt x="1802" y="809"/>
                  </a:lnTo>
                  <a:lnTo>
                    <a:pt x="1808" y="812"/>
                  </a:lnTo>
                  <a:lnTo>
                    <a:pt x="1818" y="812"/>
                  </a:lnTo>
                  <a:lnTo>
                    <a:pt x="1827" y="815"/>
                  </a:lnTo>
                  <a:lnTo>
                    <a:pt x="1837" y="818"/>
                  </a:lnTo>
                  <a:lnTo>
                    <a:pt x="1843" y="822"/>
                  </a:lnTo>
                  <a:lnTo>
                    <a:pt x="1846" y="828"/>
                  </a:lnTo>
                  <a:lnTo>
                    <a:pt x="1849" y="834"/>
                  </a:lnTo>
                  <a:lnTo>
                    <a:pt x="1852" y="843"/>
                  </a:lnTo>
                  <a:lnTo>
                    <a:pt x="1855" y="850"/>
                  </a:lnTo>
                  <a:lnTo>
                    <a:pt x="1858" y="856"/>
                  </a:lnTo>
                  <a:lnTo>
                    <a:pt x="1874" y="881"/>
                  </a:lnTo>
                  <a:lnTo>
                    <a:pt x="1896" y="906"/>
                  </a:lnTo>
                  <a:lnTo>
                    <a:pt x="1918" y="925"/>
                  </a:lnTo>
                  <a:lnTo>
                    <a:pt x="1933" y="937"/>
                  </a:lnTo>
                  <a:lnTo>
                    <a:pt x="1958" y="950"/>
                  </a:lnTo>
                  <a:lnTo>
                    <a:pt x="1980" y="956"/>
                  </a:lnTo>
                  <a:lnTo>
                    <a:pt x="2002" y="959"/>
                  </a:lnTo>
                  <a:lnTo>
                    <a:pt x="2014" y="943"/>
                  </a:lnTo>
                  <a:lnTo>
                    <a:pt x="2027" y="922"/>
                  </a:lnTo>
                  <a:lnTo>
                    <a:pt x="2036" y="903"/>
                  </a:lnTo>
                  <a:lnTo>
                    <a:pt x="2049" y="878"/>
                  </a:lnTo>
                  <a:lnTo>
                    <a:pt x="2061" y="847"/>
                  </a:lnTo>
                  <a:lnTo>
                    <a:pt x="2077" y="825"/>
                  </a:lnTo>
                  <a:lnTo>
                    <a:pt x="2096" y="815"/>
                  </a:lnTo>
                  <a:lnTo>
                    <a:pt x="2118" y="806"/>
                  </a:lnTo>
                  <a:lnTo>
                    <a:pt x="2143" y="800"/>
                  </a:lnTo>
                  <a:lnTo>
                    <a:pt x="2161" y="794"/>
                  </a:lnTo>
                  <a:lnTo>
                    <a:pt x="2186" y="781"/>
                  </a:lnTo>
                  <a:lnTo>
                    <a:pt x="2217" y="765"/>
                  </a:lnTo>
                  <a:lnTo>
                    <a:pt x="2249" y="750"/>
                  </a:lnTo>
                  <a:lnTo>
                    <a:pt x="2274" y="737"/>
                  </a:lnTo>
                  <a:lnTo>
                    <a:pt x="2296" y="731"/>
                  </a:lnTo>
                  <a:lnTo>
                    <a:pt x="2321" y="725"/>
                  </a:lnTo>
                  <a:lnTo>
                    <a:pt x="2349" y="722"/>
                  </a:lnTo>
                  <a:lnTo>
                    <a:pt x="2367" y="722"/>
                  </a:lnTo>
                  <a:lnTo>
                    <a:pt x="2389" y="734"/>
                  </a:lnTo>
                  <a:lnTo>
                    <a:pt x="2411" y="753"/>
                  </a:lnTo>
                  <a:lnTo>
                    <a:pt x="2433" y="775"/>
                  </a:lnTo>
                  <a:lnTo>
                    <a:pt x="2445" y="794"/>
                  </a:lnTo>
                  <a:lnTo>
                    <a:pt x="2452" y="815"/>
                  </a:lnTo>
                  <a:lnTo>
                    <a:pt x="2452" y="843"/>
                  </a:lnTo>
                  <a:lnTo>
                    <a:pt x="2455" y="872"/>
                  </a:lnTo>
                  <a:lnTo>
                    <a:pt x="2461" y="890"/>
                  </a:lnTo>
                  <a:lnTo>
                    <a:pt x="2480" y="900"/>
                  </a:lnTo>
                  <a:lnTo>
                    <a:pt x="2505" y="909"/>
                  </a:lnTo>
                  <a:lnTo>
                    <a:pt x="2533" y="912"/>
                  </a:lnTo>
                  <a:lnTo>
                    <a:pt x="2558" y="918"/>
                  </a:lnTo>
                  <a:lnTo>
                    <a:pt x="2577" y="931"/>
                  </a:lnTo>
                  <a:lnTo>
                    <a:pt x="2580" y="947"/>
                  </a:lnTo>
                  <a:lnTo>
                    <a:pt x="2583" y="965"/>
                  </a:lnTo>
                  <a:lnTo>
                    <a:pt x="2580" y="987"/>
                  </a:lnTo>
                  <a:lnTo>
                    <a:pt x="2577" y="1003"/>
                  </a:lnTo>
                  <a:lnTo>
                    <a:pt x="2570" y="1009"/>
                  </a:lnTo>
                  <a:lnTo>
                    <a:pt x="2567" y="1015"/>
                  </a:lnTo>
                  <a:lnTo>
                    <a:pt x="2558" y="1025"/>
                  </a:lnTo>
                  <a:lnTo>
                    <a:pt x="2552" y="1031"/>
                  </a:lnTo>
                  <a:lnTo>
                    <a:pt x="2548" y="1037"/>
                  </a:lnTo>
                  <a:lnTo>
                    <a:pt x="2545" y="1059"/>
                  </a:lnTo>
                  <a:lnTo>
                    <a:pt x="2545" y="1087"/>
                  </a:lnTo>
                  <a:lnTo>
                    <a:pt x="2545" y="1112"/>
                  </a:lnTo>
                  <a:lnTo>
                    <a:pt x="2548" y="1137"/>
                  </a:lnTo>
                  <a:lnTo>
                    <a:pt x="2555" y="1162"/>
                  </a:lnTo>
                  <a:lnTo>
                    <a:pt x="2567" y="1193"/>
                  </a:lnTo>
                  <a:lnTo>
                    <a:pt x="2577" y="1221"/>
                  </a:lnTo>
                  <a:lnTo>
                    <a:pt x="2586" y="1246"/>
                  </a:lnTo>
                  <a:lnTo>
                    <a:pt x="2595" y="1271"/>
                  </a:lnTo>
                  <a:lnTo>
                    <a:pt x="2605" y="1302"/>
                  </a:lnTo>
                  <a:lnTo>
                    <a:pt x="2614" y="1331"/>
                  </a:lnTo>
                  <a:lnTo>
                    <a:pt x="2627" y="1352"/>
                  </a:lnTo>
                  <a:lnTo>
                    <a:pt x="2642" y="1371"/>
                  </a:lnTo>
                  <a:lnTo>
                    <a:pt x="2667" y="1396"/>
                  </a:lnTo>
                  <a:lnTo>
                    <a:pt x="2692" y="1415"/>
                  </a:lnTo>
                  <a:lnTo>
                    <a:pt x="2720" y="1431"/>
                  </a:lnTo>
                  <a:lnTo>
                    <a:pt x="2745" y="1434"/>
                  </a:lnTo>
                  <a:lnTo>
                    <a:pt x="2758" y="1424"/>
                  </a:lnTo>
                  <a:lnTo>
                    <a:pt x="2773" y="1406"/>
                  </a:lnTo>
                  <a:lnTo>
                    <a:pt x="2786" y="1387"/>
                  </a:lnTo>
                  <a:lnTo>
                    <a:pt x="2801" y="1374"/>
                  </a:lnTo>
                  <a:lnTo>
                    <a:pt x="2814" y="1377"/>
                  </a:lnTo>
                  <a:lnTo>
                    <a:pt x="2833" y="1384"/>
                  </a:lnTo>
                  <a:lnTo>
                    <a:pt x="2848" y="1390"/>
                  </a:lnTo>
                  <a:lnTo>
                    <a:pt x="2861" y="1396"/>
                  </a:lnTo>
                  <a:lnTo>
                    <a:pt x="2876" y="1390"/>
                  </a:lnTo>
                  <a:lnTo>
                    <a:pt x="2895" y="1381"/>
                  </a:lnTo>
                  <a:lnTo>
                    <a:pt x="2914" y="1371"/>
                  </a:lnTo>
                  <a:lnTo>
                    <a:pt x="2929" y="1368"/>
                  </a:lnTo>
                  <a:lnTo>
                    <a:pt x="2939" y="1371"/>
                  </a:lnTo>
                  <a:lnTo>
                    <a:pt x="2945" y="1377"/>
                  </a:lnTo>
                  <a:lnTo>
                    <a:pt x="2954" y="1384"/>
                  </a:lnTo>
                  <a:lnTo>
                    <a:pt x="2964" y="1390"/>
                  </a:lnTo>
                  <a:lnTo>
                    <a:pt x="2970" y="1396"/>
                  </a:lnTo>
                  <a:lnTo>
                    <a:pt x="2995" y="1406"/>
                  </a:lnTo>
                  <a:lnTo>
                    <a:pt x="3029" y="1415"/>
                  </a:lnTo>
                  <a:lnTo>
                    <a:pt x="3061" y="1424"/>
                  </a:lnTo>
                  <a:lnTo>
                    <a:pt x="3089" y="1431"/>
                  </a:lnTo>
                  <a:lnTo>
                    <a:pt x="3107" y="1434"/>
                  </a:lnTo>
                  <a:lnTo>
                    <a:pt x="3132" y="1434"/>
                  </a:lnTo>
                  <a:lnTo>
                    <a:pt x="3154" y="1437"/>
                  </a:lnTo>
                  <a:lnTo>
                    <a:pt x="3173" y="1443"/>
                  </a:lnTo>
                  <a:lnTo>
                    <a:pt x="3182" y="1459"/>
                  </a:lnTo>
                  <a:lnTo>
                    <a:pt x="3192" y="1484"/>
                  </a:lnTo>
                  <a:lnTo>
                    <a:pt x="3198" y="1509"/>
                  </a:lnTo>
                  <a:lnTo>
                    <a:pt x="3201" y="1530"/>
                  </a:lnTo>
                  <a:lnTo>
                    <a:pt x="3201" y="1559"/>
                  </a:lnTo>
                  <a:lnTo>
                    <a:pt x="3198" y="1593"/>
                  </a:lnTo>
                  <a:lnTo>
                    <a:pt x="3192" y="1621"/>
                  </a:lnTo>
                  <a:lnTo>
                    <a:pt x="3182" y="1643"/>
                  </a:lnTo>
                  <a:lnTo>
                    <a:pt x="3170" y="1671"/>
                  </a:lnTo>
                  <a:lnTo>
                    <a:pt x="3164" y="1693"/>
                  </a:lnTo>
                  <a:lnTo>
                    <a:pt x="3167" y="1718"/>
                  </a:lnTo>
                  <a:lnTo>
                    <a:pt x="3176" y="1743"/>
                  </a:lnTo>
                  <a:lnTo>
                    <a:pt x="3182" y="1768"/>
                  </a:lnTo>
                  <a:lnTo>
                    <a:pt x="3182" y="1786"/>
                  </a:lnTo>
                  <a:lnTo>
                    <a:pt x="3179" y="1808"/>
                  </a:lnTo>
                  <a:lnTo>
                    <a:pt x="3176" y="1830"/>
                  </a:lnTo>
                  <a:lnTo>
                    <a:pt x="3182" y="1849"/>
                  </a:lnTo>
                  <a:lnTo>
                    <a:pt x="3195" y="1865"/>
                  </a:lnTo>
                  <a:lnTo>
                    <a:pt x="3220" y="1880"/>
                  </a:lnTo>
                  <a:lnTo>
                    <a:pt x="3245" y="1890"/>
                  </a:lnTo>
                  <a:lnTo>
                    <a:pt x="3264" y="1890"/>
                  </a:lnTo>
                  <a:lnTo>
                    <a:pt x="3273" y="1880"/>
                  </a:lnTo>
                  <a:lnTo>
                    <a:pt x="3279" y="1865"/>
                  </a:lnTo>
                  <a:lnTo>
                    <a:pt x="3285" y="1846"/>
                  </a:lnTo>
                  <a:lnTo>
                    <a:pt x="3289" y="1830"/>
                  </a:lnTo>
                  <a:lnTo>
                    <a:pt x="3292" y="1811"/>
                  </a:lnTo>
                  <a:lnTo>
                    <a:pt x="3292" y="1790"/>
                  </a:lnTo>
                  <a:lnTo>
                    <a:pt x="3295" y="1768"/>
                  </a:lnTo>
                  <a:lnTo>
                    <a:pt x="3298" y="1746"/>
                  </a:lnTo>
                  <a:lnTo>
                    <a:pt x="3307" y="1733"/>
                  </a:lnTo>
                  <a:lnTo>
                    <a:pt x="3320" y="1724"/>
                  </a:lnTo>
                  <a:lnTo>
                    <a:pt x="3342" y="1721"/>
                  </a:lnTo>
                  <a:lnTo>
                    <a:pt x="3360" y="1724"/>
                  </a:lnTo>
                  <a:lnTo>
                    <a:pt x="3379" y="1727"/>
                  </a:lnTo>
                  <a:lnTo>
                    <a:pt x="3388" y="1730"/>
                  </a:lnTo>
                  <a:lnTo>
                    <a:pt x="3398" y="1740"/>
                  </a:lnTo>
                  <a:lnTo>
                    <a:pt x="3404" y="1749"/>
                  </a:lnTo>
                  <a:lnTo>
                    <a:pt x="3413" y="1758"/>
                  </a:lnTo>
                  <a:lnTo>
                    <a:pt x="3423" y="1765"/>
                  </a:lnTo>
                  <a:lnTo>
                    <a:pt x="3438" y="1768"/>
                  </a:lnTo>
                  <a:lnTo>
                    <a:pt x="3457" y="1771"/>
                  </a:lnTo>
                  <a:lnTo>
                    <a:pt x="3476" y="1774"/>
                  </a:lnTo>
                  <a:lnTo>
                    <a:pt x="3488" y="1780"/>
                  </a:lnTo>
                  <a:lnTo>
                    <a:pt x="3492" y="1786"/>
                  </a:lnTo>
                  <a:lnTo>
                    <a:pt x="3495" y="1793"/>
                  </a:lnTo>
                  <a:lnTo>
                    <a:pt x="3498" y="1802"/>
                  </a:lnTo>
                  <a:lnTo>
                    <a:pt x="3498" y="1811"/>
                  </a:lnTo>
                  <a:lnTo>
                    <a:pt x="3501" y="1821"/>
                  </a:lnTo>
                  <a:lnTo>
                    <a:pt x="3504" y="1827"/>
                  </a:lnTo>
                  <a:lnTo>
                    <a:pt x="3526" y="1833"/>
                  </a:lnTo>
                  <a:lnTo>
                    <a:pt x="3554" y="1836"/>
                  </a:lnTo>
                  <a:lnTo>
                    <a:pt x="3582" y="1833"/>
                  </a:lnTo>
                  <a:lnTo>
                    <a:pt x="3601" y="1827"/>
                  </a:lnTo>
                  <a:lnTo>
                    <a:pt x="3607" y="1815"/>
                  </a:lnTo>
                  <a:lnTo>
                    <a:pt x="3607" y="1799"/>
                  </a:lnTo>
                  <a:lnTo>
                    <a:pt x="3610" y="1780"/>
                  </a:lnTo>
                  <a:lnTo>
                    <a:pt x="3613" y="1768"/>
                  </a:lnTo>
                  <a:lnTo>
                    <a:pt x="3629" y="1755"/>
                  </a:lnTo>
                  <a:lnTo>
                    <a:pt x="3648" y="1740"/>
                  </a:lnTo>
                  <a:lnTo>
                    <a:pt x="3670" y="1733"/>
                  </a:lnTo>
                  <a:lnTo>
                    <a:pt x="3688" y="1733"/>
                  </a:lnTo>
                  <a:lnTo>
                    <a:pt x="3713" y="1740"/>
                  </a:lnTo>
                  <a:lnTo>
                    <a:pt x="3738" y="1746"/>
                  </a:lnTo>
                  <a:lnTo>
                    <a:pt x="3757" y="1755"/>
                  </a:lnTo>
                  <a:lnTo>
                    <a:pt x="3779" y="1771"/>
                  </a:lnTo>
                  <a:lnTo>
                    <a:pt x="3807" y="1790"/>
                  </a:lnTo>
                  <a:lnTo>
                    <a:pt x="3823" y="1811"/>
                  </a:lnTo>
                  <a:lnTo>
                    <a:pt x="3826" y="1830"/>
                  </a:lnTo>
                  <a:lnTo>
                    <a:pt x="3826" y="1852"/>
                  </a:lnTo>
                  <a:lnTo>
                    <a:pt x="3826" y="1871"/>
                  </a:lnTo>
                  <a:lnTo>
                    <a:pt x="3832" y="1877"/>
                  </a:lnTo>
                  <a:lnTo>
                    <a:pt x="3838" y="1890"/>
                  </a:lnTo>
                  <a:lnTo>
                    <a:pt x="3848" y="1899"/>
                  </a:lnTo>
                  <a:lnTo>
                    <a:pt x="3857" y="1908"/>
                  </a:lnTo>
                  <a:lnTo>
                    <a:pt x="3866" y="1915"/>
                  </a:lnTo>
                  <a:lnTo>
                    <a:pt x="3873" y="1921"/>
                  </a:lnTo>
                  <a:lnTo>
                    <a:pt x="3891" y="1921"/>
                  </a:lnTo>
                  <a:lnTo>
                    <a:pt x="3913" y="1918"/>
                  </a:lnTo>
                  <a:lnTo>
                    <a:pt x="3932" y="1915"/>
                  </a:lnTo>
                  <a:lnTo>
                    <a:pt x="3954" y="1918"/>
                  </a:lnTo>
                  <a:lnTo>
                    <a:pt x="3982" y="1921"/>
                  </a:lnTo>
                  <a:lnTo>
                    <a:pt x="4007" y="1924"/>
                  </a:lnTo>
                  <a:lnTo>
                    <a:pt x="4032" y="1930"/>
                  </a:lnTo>
                  <a:lnTo>
                    <a:pt x="4047" y="1943"/>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8" name="Freeform 26">
              <a:extLst>
                <a:ext uri="{FF2B5EF4-FFF2-40B4-BE49-F238E27FC236}">
                  <a16:creationId xmlns:a16="http://schemas.microsoft.com/office/drawing/2014/main" id="{D0305246-37DD-41DB-B957-D53D247E7BCB}"/>
                </a:ext>
              </a:extLst>
            </p:cNvPr>
            <p:cNvSpPr>
              <a:spLocks/>
            </p:cNvSpPr>
            <p:nvPr/>
          </p:nvSpPr>
          <p:spPr bwMode="auto">
            <a:xfrm>
              <a:off x="10809288" y="34925"/>
              <a:ext cx="757238" cy="471488"/>
            </a:xfrm>
            <a:custGeom>
              <a:avLst/>
              <a:gdLst>
                <a:gd name="T0" fmla="*/ 477 w 477"/>
                <a:gd name="T1" fmla="*/ 237 h 297"/>
                <a:gd name="T2" fmla="*/ 474 w 477"/>
                <a:gd name="T3" fmla="*/ 275 h 297"/>
                <a:gd name="T4" fmla="*/ 434 w 477"/>
                <a:gd name="T5" fmla="*/ 297 h 297"/>
                <a:gd name="T6" fmla="*/ 390 w 477"/>
                <a:gd name="T7" fmla="*/ 290 h 297"/>
                <a:gd name="T8" fmla="*/ 349 w 477"/>
                <a:gd name="T9" fmla="*/ 262 h 297"/>
                <a:gd name="T10" fmla="*/ 303 w 477"/>
                <a:gd name="T11" fmla="*/ 256 h 297"/>
                <a:gd name="T12" fmla="*/ 271 w 477"/>
                <a:gd name="T13" fmla="*/ 247 h 297"/>
                <a:gd name="T14" fmla="*/ 256 w 477"/>
                <a:gd name="T15" fmla="*/ 228 h 297"/>
                <a:gd name="T16" fmla="*/ 237 w 477"/>
                <a:gd name="T17" fmla="*/ 212 h 297"/>
                <a:gd name="T18" fmla="*/ 193 w 477"/>
                <a:gd name="T19" fmla="*/ 187 h 297"/>
                <a:gd name="T20" fmla="*/ 153 w 477"/>
                <a:gd name="T21" fmla="*/ 178 h 297"/>
                <a:gd name="T22" fmla="*/ 115 w 477"/>
                <a:gd name="T23" fmla="*/ 178 h 297"/>
                <a:gd name="T24" fmla="*/ 59 w 477"/>
                <a:gd name="T25" fmla="*/ 162 h 297"/>
                <a:gd name="T26" fmla="*/ 25 w 477"/>
                <a:gd name="T27" fmla="*/ 134 h 297"/>
                <a:gd name="T28" fmla="*/ 6 w 477"/>
                <a:gd name="T29" fmla="*/ 94 h 297"/>
                <a:gd name="T30" fmla="*/ 0 w 477"/>
                <a:gd name="T31" fmla="*/ 56 h 297"/>
                <a:gd name="T32" fmla="*/ 6 w 477"/>
                <a:gd name="T33" fmla="*/ 19 h 297"/>
                <a:gd name="T34" fmla="*/ 37 w 477"/>
                <a:gd name="T35" fmla="*/ 6 h 297"/>
                <a:gd name="T36" fmla="*/ 78 w 477"/>
                <a:gd name="T37" fmla="*/ 3 h 297"/>
                <a:gd name="T38" fmla="*/ 112 w 477"/>
                <a:gd name="T39" fmla="*/ 0 h 297"/>
                <a:gd name="T40" fmla="*/ 143 w 477"/>
                <a:gd name="T41" fmla="*/ 3 h 297"/>
                <a:gd name="T42" fmla="*/ 156 w 477"/>
                <a:gd name="T43" fmla="*/ 37 h 297"/>
                <a:gd name="T44" fmla="*/ 165 w 477"/>
                <a:gd name="T45" fmla="*/ 72 h 297"/>
                <a:gd name="T46" fmla="*/ 203 w 477"/>
                <a:gd name="T47" fmla="*/ 81 h 297"/>
                <a:gd name="T48" fmla="*/ 240 w 477"/>
                <a:gd name="T49" fmla="*/ 84 h 297"/>
                <a:gd name="T50" fmla="*/ 287 w 477"/>
                <a:gd name="T51" fmla="*/ 97 h 297"/>
                <a:gd name="T52" fmla="*/ 318 w 477"/>
                <a:gd name="T53" fmla="*/ 112 h 297"/>
                <a:gd name="T54" fmla="*/ 334 w 477"/>
                <a:gd name="T55" fmla="*/ 134 h 297"/>
                <a:gd name="T56" fmla="*/ 353 w 477"/>
                <a:gd name="T57" fmla="*/ 150 h 297"/>
                <a:gd name="T58" fmla="*/ 387 w 477"/>
                <a:gd name="T59" fmla="*/ 150 h 297"/>
                <a:gd name="T60" fmla="*/ 421 w 477"/>
                <a:gd name="T61" fmla="*/ 150 h 297"/>
                <a:gd name="T62" fmla="*/ 440 w 477"/>
                <a:gd name="T63" fmla="*/ 159 h 297"/>
                <a:gd name="T64" fmla="*/ 459 w 477"/>
                <a:gd name="T65" fmla="*/ 175 h 297"/>
                <a:gd name="T66" fmla="*/ 468 w 477"/>
                <a:gd name="T67" fmla="*/ 190 h 297"/>
                <a:gd name="T68" fmla="*/ 474 w 477"/>
                <a:gd name="T69" fmla="*/ 21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7" h="297">
                  <a:moveTo>
                    <a:pt x="474" y="222"/>
                  </a:moveTo>
                  <a:lnTo>
                    <a:pt x="477" y="237"/>
                  </a:lnTo>
                  <a:lnTo>
                    <a:pt x="477" y="259"/>
                  </a:lnTo>
                  <a:lnTo>
                    <a:pt x="474" y="275"/>
                  </a:lnTo>
                  <a:lnTo>
                    <a:pt x="456" y="287"/>
                  </a:lnTo>
                  <a:lnTo>
                    <a:pt x="434" y="297"/>
                  </a:lnTo>
                  <a:lnTo>
                    <a:pt x="412" y="297"/>
                  </a:lnTo>
                  <a:lnTo>
                    <a:pt x="390" y="290"/>
                  </a:lnTo>
                  <a:lnTo>
                    <a:pt x="368" y="275"/>
                  </a:lnTo>
                  <a:lnTo>
                    <a:pt x="349" y="262"/>
                  </a:lnTo>
                  <a:lnTo>
                    <a:pt x="328" y="259"/>
                  </a:lnTo>
                  <a:lnTo>
                    <a:pt x="303" y="256"/>
                  </a:lnTo>
                  <a:lnTo>
                    <a:pt x="281" y="253"/>
                  </a:lnTo>
                  <a:lnTo>
                    <a:pt x="271" y="247"/>
                  </a:lnTo>
                  <a:lnTo>
                    <a:pt x="262" y="237"/>
                  </a:lnTo>
                  <a:lnTo>
                    <a:pt x="256" y="228"/>
                  </a:lnTo>
                  <a:lnTo>
                    <a:pt x="246" y="218"/>
                  </a:lnTo>
                  <a:lnTo>
                    <a:pt x="237" y="212"/>
                  </a:lnTo>
                  <a:lnTo>
                    <a:pt x="218" y="200"/>
                  </a:lnTo>
                  <a:lnTo>
                    <a:pt x="193" y="187"/>
                  </a:lnTo>
                  <a:lnTo>
                    <a:pt x="171" y="178"/>
                  </a:lnTo>
                  <a:lnTo>
                    <a:pt x="153" y="178"/>
                  </a:lnTo>
                  <a:lnTo>
                    <a:pt x="134" y="178"/>
                  </a:lnTo>
                  <a:lnTo>
                    <a:pt x="115" y="178"/>
                  </a:lnTo>
                  <a:lnTo>
                    <a:pt x="90" y="172"/>
                  </a:lnTo>
                  <a:lnTo>
                    <a:pt x="59" y="162"/>
                  </a:lnTo>
                  <a:lnTo>
                    <a:pt x="37" y="150"/>
                  </a:lnTo>
                  <a:lnTo>
                    <a:pt x="25" y="134"/>
                  </a:lnTo>
                  <a:lnTo>
                    <a:pt x="12" y="112"/>
                  </a:lnTo>
                  <a:lnTo>
                    <a:pt x="6" y="94"/>
                  </a:lnTo>
                  <a:lnTo>
                    <a:pt x="0" y="78"/>
                  </a:lnTo>
                  <a:lnTo>
                    <a:pt x="0" y="56"/>
                  </a:lnTo>
                  <a:lnTo>
                    <a:pt x="0" y="34"/>
                  </a:lnTo>
                  <a:lnTo>
                    <a:pt x="6" y="19"/>
                  </a:lnTo>
                  <a:lnTo>
                    <a:pt x="18" y="12"/>
                  </a:lnTo>
                  <a:lnTo>
                    <a:pt x="37" y="6"/>
                  </a:lnTo>
                  <a:lnTo>
                    <a:pt x="59" y="3"/>
                  </a:lnTo>
                  <a:lnTo>
                    <a:pt x="78" y="3"/>
                  </a:lnTo>
                  <a:lnTo>
                    <a:pt x="93" y="0"/>
                  </a:lnTo>
                  <a:lnTo>
                    <a:pt x="112" y="0"/>
                  </a:lnTo>
                  <a:lnTo>
                    <a:pt x="128" y="0"/>
                  </a:lnTo>
                  <a:lnTo>
                    <a:pt x="143" y="3"/>
                  </a:lnTo>
                  <a:lnTo>
                    <a:pt x="150" y="15"/>
                  </a:lnTo>
                  <a:lnTo>
                    <a:pt x="156" y="37"/>
                  </a:lnTo>
                  <a:lnTo>
                    <a:pt x="159" y="56"/>
                  </a:lnTo>
                  <a:lnTo>
                    <a:pt x="165" y="72"/>
                  </a:lnTo>
                  <a:lnTo>
                    <a:pt x="181" y="78"/>
                  </a:lnTo>
                  <a:lnTo>
                    <a:pt x="203" y="81"/>
                  </a:lnTo>
                  <a:lnTo>
                    <a:pt x="221" y="81"/>
                  </a:lnTo>
                  <a:lnTo>
                    <a:pt x="240" y="84"/>
                  </a:lnTo>
                  <a:lnTo>
                    <a:pt x="262" y="87"/>
                  </a:lnTo>
                  <a:lnTo>
                    <a:pt x="287" y="97"/>
                  </a:lnTo>
                  <a:lnTo>
                    <a:pt x="309" y="106"/>
                  </a:lnTo>
                  <a:lnTo>
                    <a:pt x="318" y="112"/>
                  </a:lnTo>
                  <a:lnTo>
                    <a:pt x="324" y="125"/>
                  </a:lnTo>
                  <a:lnTo>
                    <a:pt x="334" y="134"/>
                  </a:lnTo>
                  <a:lnTo>
                    <a:pt x="343" y="143"/>
                  </a:lnTo>
                  <a:lnTo>
                    <a:pt x="353" y="150"/>
                  </a:lnTo>
                  <a:lnTo>
                    <a:pt x="365" y="153"/>
                  </a:lnTo>
                  <a:lnTo>
                    <a:pt x="387" y="150"/>
                  </a:lnTo>
                  <a:lnTo>
                    <a:pt x="406" y="150"/>
                  </a:lnTo>
                  <a:lnTo>
                    <a:pt x="421" y="150"/>
                  </a:lnTo>
                  <a:lnTo>
                    <a:pt x="431" y="153"/>
                  </a:lnTo>
                  <a:lnTo>
                    <a:pt x="440" y="159"/>
                  </a:lnTo>
                  <a:lnTo>
                    <a:pt x="449" y="168"/>
                  </a:lnTo>
                  <a:lnTo>
                    <a:pt x="459" y="175"/>
                  </a:lnTo>
                  <a:lnTo>
                    <a:pt x="465" y="184"/>
                  </a:lnTo>
                  <a:lnTo>
                    <a:pt x="468" y="190"/>
                  </a:lnTo>
                  <a:lnTo>
                    <a:pt x="471" y="203"/>
                  </a:lnTo>
                  <a:lnTo>
                    <a:pt x="474" y="212"/>
                  </a:lnTo>
                  <a:lnTo>
                    <a:pt x="474" y="222"/>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49" name="Freeform 27">
              <a:extLst>
                <a:ext uri="{FF2B5EF4-FFF2-40B4-BE49-F238E27FC236}">
                  <a16:creationId xmlns:a16="http://schemas.microsoft.com/office/drawing/2014/main" id="{AC7837E2-D3BD-47D4-874C-574EC7F62A4C}"/>
                </a:ext>
              </a:extLst>
            </p:cNvPr>
            <p:cNvSpPr>
              <a:spLocks/>
            </p:cNvSpPr>
            <p:nvPr/>
          </p:nvSpPr>
          <p:spPr bwMode="auto">
            <a:xfrm>
              <a:off x="11141076" y="838200"/>
              <a:ext cx="539750" cy="876300"/>
            </a:xfrm>
            <a:custGeom>
              <a:avLst/>
              <a:gdLst>
                <a:gd name="T0" fmla="*/ 340 w 340"/>
                <a:gd name="T1" fmla="*/ 353 h 552"/>
                <a:gd name="T2" fmla="*/ 340 w 340"/>
                <a:gd name="T3" fmla="*/ 390 h 552"/>
                <a:gd name="T4" fmla="*/ 334 w 340"/>
                <a:gd name="T5" fmla="*/ 409 h 552"/>
                <a:gd name="T6" fmla="*/ 331 w 340"/>
                <a:gd name="T7" fmla="*/ 428 h 552"/>
                <a:gd name="T8" fmla="*/ 328 w 340"/>
                <a:gd name="T9" fmla="*/ 446 h 552"/>
                <a:gd name="T10" fmla="*/ 328 w 340"/>
                <a:gd name="T11" fmla="*/ 471 h 552"/>
                <a:gd name="T12" fmla="*/ 328 w 340"/>
                <a:gd name="T13" fmla="*/ 490 h 552"/>
                <a:gd name="T14" fmla="*/ 322 w 340"/>
                <a:gd name="T15" fmla="*/ 512 h 552"/>
                <a:gd name="T16" fmla="*/ 318 w 340"/>
                <a:gd name="T17" fmla="*/ 527 h 552"/>
                <a:gd name="T18" fmla="*/ 309 w 340"/>
                <a:gd name="T19" fmla="*/ 546 h 552"/>
                <a:gd name="T20" fmla="*/ 300 w 340"/>
                <a:gd name="T21" fmla="*/ 552 h 552"/>
                <a:gd name="T22" fmla="*/ 284 w 340"/>
                <a:gd name="T23" fmla="*/ 552 h 552"/>
                <a:gd name="T24" fmla="*/ 262 w 340"/>
                <a:gd name="T25" fmla="*/ 537 h 552"/>
                <a:gd name="T26" fmla="*/ 240 w 340"/>
                <a:gd name="T27" fmla="*/ 496 h 552"/>
                <a:gd name="T28" fmla="*/ 240 w 340"/>
                <a:gd name="T29" fmla="*/ 462 h 552"/>
                <a:gd name="T30" fmla="*/ 240 w 340"/>
                <a:gd name="T31" fmla="*/ 431 h 552"/>
                <a:gd name="T32" fmla="*/ 228 w 340"/>
                <a:gd name="T33" fmla="*/ 424 h 552"/>
                <a:gd name="T34" fmla="*/ 206 w 340"/>
                <a:gd name="T35" fmla="*/ 418 h 552"/>
                <a:gd name="T36" fmla="*/ 194 w 340"/>
                <a:gd name="T37" fmla="*/ 412 h 552"/>
                <a:gd name="T38" fmla="*/ 178 w 340"/>
                <a:gd name="T39" fmla="*/ 371 h 552"/>
                <a:gd name="T40" fmla="*/ 153 w 340"/>
                <a:gd name="T41" fmla="*/ 331 h 552"/>
                <a:gd name="T42" fmla="*/ 109 w 340"/>
                <a:gd name="T43" fmla="*/ 287 h 552"/>
                <a:gd name="T44" fmla="*/ 78 w 340"/>
                <a:gd name="T45" fmla="*/ 281 h 552"/>
                <a:gd name="T46" fmla="*/ 47 w 340"/>
                <a:gd name="T47" fmla="*/ 268 h 552"/>
                <a:gd name="T48" fmla="*/ 31 w 340"/>
                <a:gd name="T49" fmla="*/ 221 h 552"/>
                <a:gd name="T50" fmla="*/ 31 w 340"/>
                <a:gd name="T51" fmla="*/ 187 h 552"/>
                <a:gd name="T52" fmla="*/ 47 w 340"/>
                <a:gd name="T53" fmla="*/ 156 h 552"/>
                <a:gd name="T54" fmla="*/ 50 w 340"/>
                <a:gd name="T55" fmla="*/ 137 h 552"/>
                <a:gd name="T56" fmla="*/ 28 w 340"/>
                <a:gd name="T57" fmla="*/ 125 h 552"/>
                <a:gd name="T58" fmla="*/ 3 w 340"/>
                <a:gd name="T59" fmla="*/ 93 h 552"/>
                <a:gd name="T60" fmla="*/ 0 w 340"/>
                <a:gd name="T61" fmla="*/ 62 h 552"/>
                <a:gd name="T62" fmla="*/ 19 w 340"/>
                <a:gd name="T63" fmla="*/ 18 h 552"/>
                <a:gd name="T64" fmla="*/ 47 w 340"/>
                <a:gd name="T65" fmla="*/ 0 h 552"/>
                <a:gd name="T66" fmla="*/ 84 w 340"/>
                <a:gd name="T67" fmla="*/ 6 h 552"/>
                <a:gd name="T68" fmla="*/ 109 w 340"/>
                <a:gd name="T69" fmla="*/ 40 h 552"/>
                <a:gd name="T70" fmla="*/ 122 w 340"/>
                <a:gd name="T71" fmla="*/ 68 h 552"/>
                <a:gd name="T72" fmla="*/ 137 w 340"/>
                <a:gd name="T73" fmla="*/ 90 h 552"/>
                <a:gd name="T74" fmla="*/ 150 w 340"/>
                <a:gd name="T75" fmla="*/ 106 h 552"/>
                <a:gd name="T76" fmla="*/ 190 w 340"/>
                <a:gd name="T77" fmla="*/ 118 h 552"/>
                <a:gd name="T78" fmla="*/ 231 w 340"/>
                <a:gd name="T79" fmla="*/ 137 h 552"/>
                <a:gd name="T80" fmla="*/ 268 w 340"/>
                <a:gd name="T81" fmla="*/ 178 h 552"/>
                <a:gd name="T82" fmla="*/ 268 w 340"/>
                <a:gd name="T83" fmla="*/ 212 h 552"/>
                <a:gd name="T84" fmla="*/ 268 w 340"/>
                <a:gd name="T85" fmla="*/ 246 h 552"/>
                <a:gd name="T86" fmla="*/ 284 w 340"/>
                <a:gd name="T87" fmla="*/ 262 h 552"/>
                <a:gd name="T88" fmla="*/ 303 w 340"/>
                <a:gd name="T89" fmla="*/ 271 h 552"/>
                <a:gd name="T90" fmla="*/ 322 w 340"/>
                <a:gd name="T91" fmla="*/ 296 h 552"/>
                <a:gd name="T92" fmla="*/ 340 w 340"/>
                <a:gd name="T93" fmla="*/ 33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552">
                  <a:moveTo>
                    <a:pt x="340" y="337"/>
                  </a:moveTo>
                  <a:lnTo>
                    <a:pt x="340" y="353"/>
                  </a:lnTo>
                  <a:lnTo>
                    <a:pt x="340" y="374"/>
                  </a:lnTo>
                  <a:lnTo>
                    <a:pt x="340" y="390"/>
                  </a:lnTo>
                  <a:lnTo>
                    <a:pt x="337" y="399"/>
                  </a:lnTo>
                  <a:lnTo>
                    <a:pt x="334" y="409"/>
                  </a:lnTo>
                  <a:lnTo>
                    <a:pt x="334" y="418"/>
                  </a:lnTo>
                  <a:lnTo>
                    <a:pt x="331" y="428"/>
                  </a:lnTo>
                  <a:lnTo>
                    <a:pt x="328" y="437"/>
                  </a:lnTo>
                  <a:lnTo>
                    <a:pt x="328" y="446"/>
                  </a:lnTo>
                  <a:lnTo>
                    <a:pt x="328" y="459"/>
                  </a:lnTo>
                  <a:lnTo>
                    <a:pt x="328" y="471"/>
                  </a:lnTo>
                  <a:lnTo>
                    <a:pt x="328" y="481"/>
                  </a:lnTo>
                  <a:lnTo>
                    <a:pt x="328" y="490"/>
                  </a:lnTo>
                  <a:lnTo>
                    <a:pt x="325" y="502"/>
                  </a:lnTo>
                  <a:lnTo>
                    <a:pt x="322" y="512"/>
                  </a:lnTo>
                  <a:lnTo>
                    <a:pt x="322" y="521"/>
                  </a:lnTo>
                  <a:lnTo>
                    <a:pt x="318" y="527"/>
                  </a:lnTo>
                  <a:lnTo>
                    <a:pt x="315" y="537"/>
                  </a:lnTo>
                  <a:lnTo>
                    <a:pt x="309" y="546"/>
                  </a:lnTo>
                  <a:lnTo>
                    <a:pt x="306" y="552"/>
                  </a:lnTo>
                  <a:lnTo>
                    <a:pt x="300" y="552"/>
                  </a:lnTo>
                  <a:lnTo>
                    <a:pt x="290" y="552"/>
                  </a:lnTo>
                  <a:lnTo>
                    <a:pt x="284" y="552"/>
                  </a:lnTo>
                  <a:lnTo>
                    <a:pt x="278" y="552"/>
                  </a:lnTo>
                  <a:lnTo>
                    <a:pt x="262" y="537"/>
                  </a:lnTo>
                  <a:lnTo>
                    <a:pt x="250" y="515"/>
                  </a:lnTo>
                  <a:lnTo>
                    <a:pt x="240" y="496"/>
                  </a:lnTo>
                  <a:lnTo>
                    <a:pt x="240" y="481"/>
                  </a:lnTo>
                  <a:lnTo>
                    <a:pt x="240" y="462"/>
                  </a:lnTo>
                  <a:lnTo>
                    <a:pt x="243" y="446"/>
                  </a:lnTo>
                  <a:lnTo>
                    <a:pt x="240" y="431"/>
                  </a:lnTo>
                  <a:lnTo>
                    <a:pt x="234" y="428"/>
                  </a:lnTo>
                  <a:lnTo>
                    <a:pt x="228" y="424"/>
                  </a:lnTo>
                  <a:lnTo>
                    <a:pt x="215" y="421"/>
                  </a:lnTo>
                  <a:lnTo>
                    <a:pt x="206" y="418"/>
                  </a:lnTo>
                  <a:lnTo>
                    <a:pt x="200" y="415"/>
                  </a:lnTo>
                  <a:lnTo>
                    <a:pt x="194" y="412"/>
                  </a:lnTo>
                  <a:lnTo>
                    <a:pt x="184" y="393"/>
                  </a:lnTo>
                  <a:lnTo>
                    <a:pt x="178" y="371"/>
                  </a:lnTo>
                  <a:lnTo>
                    <a:pt x="169" y="353"/>
                  </a:lnTo>
                  <a:lnTo>
                    <a:pt x="153" y="331"/>
                  </a:lnTo>
                  <a:lnTo>
                    <a:pt x="131" y="306"/>
                  </a:lnTo>
                  <a:lnTo>
                    <a:pt x="109" y="287"/>
                  </a:lnTo>
                  <a:lnTo>
                    <a:pt x="97" y="284"/>
                  </a:lnTo>
                  <a:lnTo>
                    <a:pt x="78" y="281"/>
                  </a:lnTo>
                  <a:lnTo>
                    <a:pt x="59" y="275"/>
                  </a:lnTo>
                  <a:lnTo>
                    <a:pt x="47" y="268"/>
                  </a:lnTo>
                  <a:lnTo>
                    <a:pt x="37" y="250"/>
                  </a:lnTo>
                  <a:lnTo>
                    <a:pt x="31" y="221"/>
                  </a:lnTo>
                  <a:lnTo>
                    <a:pt x="28" y="200"/>
                  </a:lnTo>
                  <a:lnTo>
                    <a:pt x="31" y="187"/>
                  </a:lnTo>
                  <a:lnTo>
                    <a:pt x="37" y="171"/>
                  </a:lnTo>
                  <a:lnTo>
                    <a:pt x="47" y="156"/>
                  </a:lnTo>
                  <a:lnTo>
                    <a:pt x="50" y="143"/>
                  </a:lnTo>
                  <a:lnTo>
                    <a:pt x="50" y="137"/>
                  </a:lnTo>
                  <a:lnTo>
                    <a:pt x="40" y="134"/>
                  </a:lnTo>
                  <a:lnTo>
                    <a:pt x="28" y="125"/>
                  </a:lnTo>
                  <a:lnTo>
                    <a:pt x="16" y="109"/>
                  </a:lnTo>
                  <a:lnTo>
                    <a:pt x="3" y="93"/>
                  </a:lnTo>
                  <a:lnTo>
                    <a:pt x="0" y="78"/>
                  </a:lnTo>
                  <a:lnTo>
                    <a:pt x="0" y="62"/>
                  </a:lnTo>
                  <a:lnTo>
                    <a:pt x="6" y="37"/>
                  </a:lnTo>
                  <a:lnTo>
                    <a:pt x="19" y="18"/>
                  </a:lnTo>
                  <a:lnTo>
                    <a:pt x="28" y="6"/>
                  </a:lnTo>
                  <a:lnTo>
                    <a:pt x="47" y="0"/>
                  </a:lnTo>
                  <a:lnTo>
                    <a:pt x="65" y="0"/>
                  </a:lnTo>
                  <a:lnTo>
                    <a:pt x="84" y="6"/>
                  </a:lnTo>
                  <a:lnTo>
                    <a:pt x="97" y="18"/>
                  </a:lnTo>
                  <a:lnTo>
                    <a:pt x="109" y="40"/>
                  </a:lnTo>
                  <a:lnTo>
                    <a:pt x="119" y="59"/>
                  </a:lnTo>
                  <a:lnTo>
                    <a:pt x="122" y="68"/>
                  </a:lnTo>
                  <a:lnTo>
                    <a:pt x="128" y="78"/>
                  </a:lnTo>
                  <a:lnTo>
                    <a:pt x="137" y="90"/>
                  </a:lnTo>
                  <a:lnTo>
                    <a:pt x="144" y="100"/>
                  </a:lnTo>
                  <a:lnTo>
                    <a:pt x="150" y="106"/>
                  </a:lnTo>
                  <a:lnTo>
                    <a:pt x="169" y="112"/>
                  </a:lnTo>
                  <a:lnTo>
                    <a:pt x="190" y="118"/>
                  </a:lnTo>
                  <a:lnTo>
                    <a:pt x="209" y="125"/>
                  </a:lnTo>
                  <a:lnTo>
                    <a:pt x="231" y="137"/>
                  </a:lnTo>
                  <a:lnTo>
                    <a:pt x="253" y="156"/>
                  </a:lnTo>
                  <a:lnTo>
                    <a:pt x="268" y="178"/>
                  </a:lnTo>
                  <a:lnTo>
                    <a:pt x="272" y="193"/>
                  </a:lnTo>
                  <a:lnTo>
                    <a:pt x="268" y="212"/>
                  </a:lnTo>
                  <a:lnTo>
                    <a:pt x="265" y="234"/>
                  </a:lnTo>
                  <a:lnTo>
                    <a:pt x="268" y="246"/>
                  </a:lnTo>
                  <a:lnTo>
                    <a:pt x="275" y="256"/>
                  </a:lnTo>
                  <a:lnTo>
                    <a:pt x="284" y="262"/>
                  </a:lnTo>
                  <a:lnTo>
                    <a:pt x="293" y="265"/>
                  </a:lnTo>
                  <a:lnTo>
                    <a:pt x="303" y="271"/>
                  </a:lnTo>
                  <a:lnTo>
                    <a:pt x="309" y="278"/>
                  </a:lnTo>
                  <a:lnTo>
                    <a:pt x="322" y="296"/>
                  </a:lnTo>
                  <a:lnTo>
                    <a:pt x="334" y="318"/>
                  </a:lnTo>
                  <a:lnTo>
                    <a:pt x="340" y="337"/>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Freeform 29">
              <a:extLst>
                <a:ext uri="{FF2B5EF4-FFF2-40B4-BE49-F238E27FC236}">
                  <a16:creationId xmlns:a16="http://schemas.microsoft.com/office/drawing/2014/main" id="{D603AB48-B3DE-4A6E-AA74-37664CC992BC}"/>
                </a:ext>
              </a:extLst>
            </p:cNvPr>
            <p:cNvSpPr>
              <a:spLocks/>
            </p:cNvSpPr>
            <p:nvPr/>
          </p:nvSpPr>
          <p:spPr bwMode="auto">
            <a:xfrm>
              <a:off x="11503026" y="-3157538"/>
              <a:ext cx="6454775" cy="7683500"/>
            </a:xfrm>
            <a:custGeom>
              <a:avLst/>
              <a:gdLst>
                <a:gd name="T0" fmla="*/ 2913 w 4066"/>
                <a:gd name="T1" fmla="*/ 3619 h 4840"/>
                <a:gd name="T2" fmla="*/ 2776 w 4066"/>
                <a:gd name="T3" fmla="*/ 3897 h 4840"/>
                <a:gd name="T4" fmla="*/ 2504 w 4066"/>
                <a:gd name="T5" fmla="*/ 4084 h 4840"/>
                <a:gd name="T6" fmla="*/ 2448 w 4066"/>
                <a:gd name="T7" fmla="*/ 4397 h 4840"/>
                <a:gd name="T8" fmla="*/ 2223 w 4066"/>
                <a:gd name="T9" fmla="*/ 4574 h 4840"/>
                <a:gd name="T10" fmla="*/ 2051 w 4066"/>
                <a:gd name="T11" fmla="*/ 4631 h 4840"/>
                <a:gd name="T12" fmla="*/ 1948 w 4066"/>
                <a:gd name="T13" fmla="*/ 4802 h 4840"/>
                <a:gd name="T14" fmla="*/ 1702 w 4066"/>
                <a:gd name="T15" fmla="*/ 4837 h 4840"/>
                <a:gd name="T16" fmla="*/ 1461 w 4066"/>
                <a:gd name="T17" fmla="*/ 4684 h 4840"/>
                <a:gd name="T18" fmla="*/ 1290 w 4066"/>
                <a:gd name="T19" fmla="*/ 4550 h 4840"/>
                <a:gd name="T20" fmla="*/ 1137 w 4066"/>
                <a:gd name="T21" fmla="*/ 4381 h 4840"/>
                <a:gd name="T22" fmla="*/ 999 w 4066"/>
                <a:gd name="T23" fmla="*/ 4300 h 4840"/>
                <a:gd name="T24" fmla="*/ 796 w 4066"/>
                <a:gd name="T25" fmla="*/ 4047 h 4840"/>
                <a:gd name="T26" fmla="*/ 456 w 4066"/>
                <a:gd name="T27" fmla="*/ 3706 h 4840"/>
                <a:gd name="T28" fmla="*/ 143 w 4066"/>
                <a:gd name="T29" fmla="*/ 3416 h 4840"/>
                <a:gd name="T30" fmla="*/ 47 w 4066"/>
                <a:gd name="T31" fmla="*/ 3144 h 4840"/>
                <a:gd name="T32" fmla="*/ 209 w 4066"/>
                <a:gd name="T33" fmla="*/ 2957 h 4840"/>
                <a:gd name="T34" fmla="*/ 268 w 4066"/>
                <a:gd name="T35" fmla="*/ 2738 h 4840"/>
                <a:gd name="T36" fmla="*/ 312 w 4066"/>
                <a:gd name="T37" fmla="*/ 2667 h 4840"/>
                <a:gd name="T38" fmla="*/ 306 w 4066"/>
                <a:gd name="T39" fmla="*/ 2510 h 4840"/>
                <a:gd name="T40" fmla="*/ 206 w 4066"/>
                <a:gd name="T41" fmla="*/ 2364 h 4840"/>
                <a:gd name="T42" fmla="*/ 184 w 4066"/>
                <a:gd name="T43" fmla="*/ 2123 h 4840"/>
                <a:gd name="T44" fmla="*/ 272 w 4066"/>
                <a:gd name="T45" fmla="*/ 1945 h 4840"/>
                <a:gd name="T46" fmla="*/ 543 w 4066"/>
                <a:gd name="T47" fmla="*/ 1955 h 4840"/>
                <a:gd name="T48" fmla="*/ 715 w 4066"/>
                <a:gd name="T49" fmla="*/ 1936 h 4840"/>
                <a:gd name="T50" fmla="*/ 949 w 4066"/>
                <a:gd name="T51" fmla="*/ 1945 h 4840"/>
                <a:gd name="T52" fmla="*/ 1190 w 4066"/>
                <a:gd name="T53" fmla="*/ 1852 h 4840"/>
                <a:gd name="T54" fmla="*/ 1074 w 4066"/>
                <a:gd name="T55" fmla="*/ 1786 h 4840"/>
                <a:gd name="T56" fmla="*/ 1087 w 4066"/>
                <a:gd name="T57" fmla="*/ 1592 h 4840"/>
                <a:gd name="T58" fmla="*/ 1055 w 4066"/>
                <a:gd name="T59" fmla="*/ 1271 h 4840"/>
                <a:gd name="T60" fmla="*/ 984 w 4066"/>
                <a:gd name="T61" fmla="*/ 968 h 4840"/>
                <a:gd name="T62" fmla="*/ 968 w 4066"/>
                <a:gd name="T63" fmla="*/ 852 h 4840"/>
                <a:gd name="T64" fmla="*/ 812 w 4066"/>
                <a:gd name="T65" fmla="*/ 696 h 4840"/>
                <a:gd name="T66" fmla="*/ 668 w 4066"/>
                <a:gd name="T67" fmla="*/ 384 h 4840"/>
                <a:gd name="T68" fmla="*/ 696 w 4066"/>
                <a:gd name="T69" fmla="*/ 290 h 4840"/>
                <a:gd name="T70" fmla="*/ 868 w 4066"/>
                <a:gd name="T71" fmla="*/ 375 h 4840"/>
                <a:gd name="T72" fmla="*/ 1161 w 4066"/>
                <a:gd name="T73" fmla="*/ 340 h 4840"/>
                <a:gd name="T74" fmla="*/ 1258 w 4066"/>
                <a:gd name="T75" fmla="*/ 187 h 4840"/>
                <a:gd name="T76" fmla="*/ 1558 w 4066"/>
                <a:gd name="T77" fmla="*/ 140 h 4840"/>
                <a:gd name="T78" fmla="*/ 1867 w 4066"/>
                <a:gd name="T79" fmla="*/ 140 h 4840"/>
                <a:gd name="T80" fmla="*/ 1973 w 4066"/>
                <a:gd name="T81" fmla="*/ 265 h 4840"/>
                <a:gd name="T82" fmla="*/ 2092 w 4066"/>
                <a:gd name="T83" fmla="*/ 56 h 4840"/>
                <a:gd name="T84" fmla="*/ 2283 w 4066"/>
                <a:gd name="T85" fmla="*/ 28 h 4840"/>
                <a:gd name="T86" fmla="*/ 2479 w 4066"/>
                <a:gd name="T87" fmla="*/ 250 h 4840"/>
                <a:gd name="T88" fmla="*/ 2604 w 4066"/>
                <a:gd name="T89" fmla="*/ 453 h 4840"/>
                <a:gd name="T90" fmla="*/ 2860 w 4066"/>
                <a:gd name="T91" fmla="*/ 578 h 4840"/>
                <a:gd name="T92" fmla="*/ 3023 w 4066"/>
                <a:gd name="T93" fmla="*/ 515 h 4840"/>
                <a:gd name="T94" fmla="*/ 3169 w 4066"/>
                <a:gd name="T95" fmla="*/ 475 h 4840"/>
                <a:gd name="T96" fmla="*/ 3419 w 4066"/>
                <a:gd name="T97" fmla="*/ 831 h 4840"/>
                <a:gd name="T98" fmla="*/ 3575 w 4066"/>
                <a:gd name="T99" fmla="*/ 1199 h 4840"/>
                <a:gd name="T100" fmla="*/ 3778 w 4066"/>
                <a:gd name="T101" fmla="*/ 1546 h 4840"/>
                <a:gd name="T102" fmla="*/ 3984 w 4066"/>
                <a:gd name="T103" fmla="*/ 1627 h 4840"/>
                <a:gd name="T104" fmla="*/ 4041 w 4066"/>
                <a:gd name="T105" fmla="*/ 1824 h 4840"/>
                <a:gd name="T106" fmla="*/ 3944 w 4066"/>
                <a:gd name="T107" fmla="*/ 1942 h 4840"/>
                <a:gd name="T108" fmla="*/ 3722 w 4066"/>
                <a:gd name="T109" fmla="*/ 2070 h 4840"/>
                <a:gd name="T110" fmla="*/ 3429 w 4066"/>
                <a:gd name="T111" fmla="*/ 2220 h 4840"/>
                <a:gd name="T112" fmla="*/ 3379 w 4066"/>
                <a:gd name="T113" fmla="*/ 2514 h 4840"/>
                <a:gd name="T114" fmla="*/ 3541 w 4066"/>
                <a:gd name="T115" fmla="*/ 2754 h 4840"/>
                <a:gd name="T116" fmla="*/ 3388 w 4066"/>
                <a:gd name="T117" fmla="*/ 2957 h 4840"/>
                <a:gd name="T118" fmla="*/ 3294 w 4066"/>
                <a:gd name="T119" fmla="*/ 3269 h 4840"/>
                <a:gd name="T120" fmla="*/ 3110 w 4066"/>
                <a:gd name="T121" fmla="*/ 3438 h 4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66" h="4840">
                  <a:moveTo>
                    <a:pt x="3079" y="3472"/>
                  </a:moveTo>
                  <a:lnTo>
                    <a:pt x="3069" y="3482"/>
                  </a:lnTo>
                  <a:lnTo>
                    <a:pt x="3060" y="3491"/>
                  </a:lnTo>
                  <a:lnTo>
                    <a:pt x="3051" y="3494"/>
                  </a:lnTo>
                  <a:lnTo>
                    <a:pt x="3032" y="3500"/>
                  </a:lnTo>
                  <a:lnTo>
                    <a:pt x="3013" y="3500"/>
                  </a:lnTo>
                  <a:lnTo>
                    <a:pt x="2998" y="3507"/>
                  </a:lnTo>
                  <a:lnTo>
                    <a:pt x="2991" y="3522"/>
                  </a:lnTo>
                  <a:lnTo>
                    <a:pt x="2991" y="3544"/>
                  </a:lnTo>
                  <a:lnTo>
                    <a:pt x="2991" y="3566"/>
                  </a:lnTo>
                  <a:lnTo>
                    <a:pt x="2985" y="3582"/>
                  </a:lnTo>
                  <a:lnTo>
                    <a:pt x="2966" y="3594"/>
                  </a:lnTo>
                  <a:lnTo>
                    <a:pt x="2941" y="3606"/>
                  </a:lnTo>
                  <a:lnTo>
                    <a:pt x="2920" y="3616"/>
                  </a:lnTo>
                  <a:lnTo>
                    <a:pt x="2913" y="3619"/>
                  </a:lnTo>
                  <a:lnTo>
                    <a:pt x="2904" y="3625"/>
                  </a:lnTo>
                  <a:lnTo>
                    <a:pt x="2895" y="3635"/>
                  </a:lnTo>
                  <a:lnTo>
                    <a:pt x="2888" y="3641"/>
                  </a:lnTo>
                  <a:lnTo>
                    <a:pt x="2885" y="3647"/>
                  </a:lnTo>
                  <a:lnTo>
                    <a:pt x="2882" y="3669"/>
                  </a:lnTo>
                  <a:lnTo>
                    <a:pt x="2888" y="3694"/>
                  </a:lnTo>
                  <a:lnTo>
                    <a:pt x="2895" y="3722"/>
                  </a:lnTo>
                  <a:lnTo>
                    <a:pt x="2898" y="3744"/>
                  </a:lnTo>
                  <a:lnTo>
                    <a:pt x="2891" y="3772"/>
                  </a:lnTo>
                  <a:lnTo>
                    <a:pt x="2879" y="3806"/>
                  </a:lnTo>
                  <a:lnTo>
                    <a:pt x="2866" y="3831"/>
                  </a:lnTo>
                  <a:lnTo>
                    <a:pt x="2848" y="3850"/>
                  </a:lnTo>
                  <a:lnTo>
                    <a:pt x="2823" y="3866"/>
                  </a:lnTo>
                  <a:lnTo>
                    <a:pt x="2798" y="3881"/>
                  </a:lnTo>
                  <a:lnTo>
                    <a:pt x="2776" y="3897"/>
                  </a:lnTo>
                  <a:lnTo>
                    <a:pt x="2757" y="3919"/>
                  </a:lnTo>
                  <a:lnTo>
                    <a:pt x="2735" y="3950"/>
                  </a:lnTo>
                  <a:lnTo>
                    <a:pt x="2717" y="3972"/>
                  </a:lnTo>
                  <a:lnTo>
                    <a:pt x="2695" y="3978"/>
                  </a:lnTo>
                  <a:lnTo>
                    <a:pt x="2670" y="3984"/>
                  </a:lnTo>
                  <a:lnTo>
                    <a:pt x="2648" y="3991"/>
                  </a:lnTo>
                  <a:lnTo>
                    <a:pt x="2626" y="4006"/>
                  </a:lnTo>
                  <a:lnTo>
                    <a:pt x="2601" y="4025"/>
                  </a:lnTo>
                  <a:lnTo>
                    <a:pt x="2573" y="4047"/>
                  </a:lnTo>
                  <a:lnTo>
                    <a:pt x="2551" y="4062"/>
                  </a:lnTo>
                  <a:lnTo>
                    <a:pt x="2542" y="4066"/>
                  </a:lnTo>
                  <a:lnTo>
                    <a:pt x="2532" y="4072"/>
                  </a:lnTo>
                  <a:lnTo>
                    <a:pt x="2523" y="4075"/>
                  </a:lnTo>
                  <a:lnTo>
                    <a:pt x="2514" y="4081"/>
                  </a:lnTo>
                  <a:lnTo>
                    <a:pt x="2504" y="4084"/>
                  </a:lnTo>
                  <a:lnTo>
                    <a:pt x="2498" y="4106"/>
                  </a:lnTo>
                  <a:lnTo>
                    <a:pt x="2495" y="4131"/>
                  </a:lnTo>
                  <a:lnTo>
                    <a:pt x="2492" y="4156"/>
                  </a:lnTo>
                  <a:lnTo>
                    <a:pt x="2489" y="4178"/>
                  </a:lnTo>
                  <a:lnTo>
                    <a:pt x="2476" y="4194"/>
                  </a:lnTo>
                  <a:lnTo>
                    <a:pt x="2461" y="4209"/>
                  </a:lnTo>
                  <a:lnTo>
                    <a:pt x="2442" y="4225"/>
                  </a:lnTo>
                  <a:lnTo>
                    <a:pt x="2432" y="4240"/>
                  </a:lnTo>
                  <a:lnTo>
                    <a:pt x="2436" y="4259"/>
                  </a:lnTo>
                  <a:lnTo>
                    <a:pt x="2442" y="4278"/>
                  </a:lnTo>
                  <a:lnTo>
                    <a:pt x="2448" y="4300"/>
                  </a:lnTo>
                  <a:lnTo>
                    <a:pt x="2451" y="4318"/>
                  </a:lnTo>
                  <a:lnTo>
                    <a:pt x="2451" y="4340"/>
                  </a:lnTo>
                  <a:lnTo>
                    <a:pt x="2451" y="4368"/>
                  </a:lnTo>
                  <a:lnTo>
                    <a:pt x="2448" y="4397"/>
                  </a:lnTo>
                  <a:lnTo>
                    <a:pt x="2439" y="4415"/>
                  </a:lnTo>
                  <a:lnTo>
                    <a:pt x="2436" y="4418"/>
                  </a:lnTo>
                  <a:lnTo>
                    <a:pt x="2426" y="4418"/>
                  </a:lnTo>
                  <a:lnTo>
                    <a:pt x="2420" y="4418"/>
                  </a:lnTo>
                  <a:lnTo>
                    <a:pt x="2411" y="4421"/>
                  </a:lnTo>
                  <a:lnTo>
                    <a:pt x="2404" y="4421"/>
                  </a:lnTo>
                  <a:lnTo>
                    <a:pt x="2398" y="4421"/>
                  </a:lnTo>
                  <a:lnTo>
                    <a:pt x="2376" y="4437"/>
                  </a:lnTo>
                  <a:lnTo>
                    <a:pt x="2354" y="4459"/>
                  </a:lnTo>
                  <a:lnTo>
                    <a:pt x="2336" y="4478"/>
                  </a:lnTo>
                  <a:lnTo>
                    <a:pt x="2317" y="4503"/>
                  </a:lnTo>
                  <a:lnTo>
                    <a:pt x="2292" y="4531"/>
                  </a:lnTo>
                  <a:lnTo>
                    <a:pt x="2270" y="4553"/>
                  </a:lnTo>
                  <a:lnTo>
                    <a:pt x="2248" y="4565"/>
                  </a:lnTo>
                  <a:lnTo>
                    <a:pt x="2223" y="4574"/>
                  </a:lnTo>
                  <a:lnTo>
                    <a:pt x="2198" y="4581"/>
                  </a:lnTo>
                  <a:lnTo>
                    <a:pt x="2183" y="4581"/>
                  </a:lnTo>
                  <a:lnTo>
                    <a:pt x="2164" y="4578"/>
                  </a:lnTo>
                  <a:lnTo>
                    <a:pt x="2142" y="4574"/>
                  </a:lnTo>
                  <a:lnTo>
                    <a:pt x="2123" y="4574"/>
                  </a:lnTo>
                  <a:lnTo>
                    <a:pt x="2111" y="4581"/>
                  </a:lnTo>
                  <a:lnTo>
                    <a:pt x="2108" y="4584"/>
                  </a:lnTo>
                  <a:lnTo>
                    <a:pt x="2108" y="4590"/>
                  </a:lnTo>
                  <a:lnTo>
                    <a:pt x="2111" y="4596"/>
                  </a:lnTo>
                  <a:lnTo>
                    <a:pt x="2111" y="4603"/>
                  </a:lnTo>
                  <a:lnTo>
                    <a:pt x="2111" y="4606"/>
                  </a:lnTo>
                  <a:lnTo>
                    <a:pt x="2098" y="4615"/>
                  </a:lnTo>
                  <a:lnTo>
                    <a:pt x="2083" y="4621"/>
                  </a:lnTo>
                  <a:lnTo>
                    <a:pt x="2064" y="4628"/>
                  </a:lnTo>
                  <a:lnTo>
                    <a:pt x="2051" y="4631"/>
                  </a:lnTo>
                  <a:lnTo>
                    <a:pt x="2042" y="4640"/>
                  </a:lnTo>
                  <a:lnTo>
                    <a:pt x="2030" y="4646"/>
                  </a:lnTo>
                  <a:lnTo>
                    <a:pt x="2020" y="4656"/>
                  </a:lnTo>
                  <a:lnTo>
                    <a:pt x="2011" y="4665"/>
                  </a:lnTo>
                  <a:lnTo>
                    <a:pt x="2005" y="4674"/>
                  </a:lnTo>
                  <a:lnTo>
                    <a:pt x="2002" y="4693"/>
                  </a:lnTo>
                  <a:lnTo>
                    <a:pt x="2005" y="4715"/>
                  </a:lnTo>
                  <a:lnTo>
                    <a:pt x="2008" y="4737"/>
                  </a:lnTo>
                  <a:lnTo>
                    <a:pt x="2005" y="4756"/>
                  </a:lnTo>
                  <a:lnTo>
                    <a:pt x="1998" y="4762"/>
                  </a:lnTo>
                  <a:lnTo>
                    <a:pt x="1989" y="4768"/>
                  </a:lnTo>
                  <a:lnTo>
                    <a:pt x="1980" y="4777"/>
                  </a:lnTo>
                  <a:lnTo>
                    <a:pt x="1970" y="4784"/>
                  </a:lnTo>
                  <a:lnTo>
                    <a:pt x="1961" y="4787"/>
                  </a:lnTo>
                  <a:lnTo>
                    <a:pt x="1948" y="4802"/>
                  </a:lnTo>
                  <a:lnTo>
                    <a:pt x="1933" y="4818"/>
                  </a:lnTo>
                  <a:lnTo>
                    <a:pt x="1914" y="4831"/>
                  </a:lnTo>
                  <a:lnTo>
                    <a:pt x="1898" y="4837"/>
                  </a:lnTo>
                  <a:lnTo>
                    <a:pt x="1889" y="4827"/>
                  </a:lnTo>
                  <a:lnTo>
                    <a:pt x="1880" y="4809"/>
                  </a:lnTo>
                  <a:lnTo>
                    <a:pt x="1873" y="4787"/>
                  </a:lnTo>
                  <a:lnTo>
                    <a:pt x="1861" y="4777"/>
                  </a:lnTo>
                  <a:lnTo>
                    <a:pt x="1845" y="4781"/>
                  </a:lnTo>
                  <a:lnTo>
                    <a:pt x="1827" y="4793"/>
                  </a:lnTo>
                  <a:lnTo>
                    <a:pt x="1808" y="4812"/>
                  </a:lnTo>
                  <a:lnTo>
                    <a:pt x="1792" y="4827"/>
                  </a:lnTo>
                  <a:lnTo>
                    <a:pt x="1774" y="4837"/>
                  </a:lnTo>
                  <a:lnTo>
                    <a:pt x="1755" y="4840"/>
                  </a:lnTo>
                  <a:lnTo>
                    <a:pt x="1727" y="4840"/>
                  </a:lnTo>
                  <a:lnTo>
                    <a:pt x="1702" y="4837"/>
                  </a:lnTo>
                  <a:lnTo>
                    <a:pt x="1680" y="4837"/>
                  </a:lnTo>
                  <a:lnTo>
                    <a:pt x="1664" y="4837"/>
                  </a:lnTo>
                  <a:lnTo>
                    <a:pt x="1642" y="4840"/>
                  </a:lnTo>
                  <a:lnTo>
                    <a:pt x="1627" y="4837"/>
                  </a:lnTo>
                  <a:lnTo>
                    <a:pt x="1614" y="4821"/>
                  </a:lnTo>
                  <a:lnTo>
                    <a:pt x="1605" y="4799"/>
                  </a:lnTo>
                  <a:lnTo>
                    <a:pt x="1592" y="4784"/>
                  </a:lnTo>
                  <a:lnTo>
                    <a:pt x="1577" y="4774"/>
                  </a:lnTo>
                  <a:lnTo>
                    <a:pt x="1555" y="4768"/>
                  </a:lnTo>
                  <a:lnTo>
                    <a:pt x="1536" y="4759"/>
                  </a:lnTo>
                  <a:lnTo>
                    <a:pt x="1530" y="4740"/>
                  </a:lnTo>
                  <a:lnTo>
                    <a:pt x="1524" y="4718"/>
                  </a:lnTo>
                  <a:lnTo>
                    <a:pt x="1514" y="4703"/>
                  </a:lnTo>
                  <a:lnTo>
                    <a:pt x="1493" y="4693"/>
                  </a:lnTo>
                  <a:lnTo>
                    <a:pt x="1461" y="4684"/>
                  </a:lnTo>
                  <a:lnTo>
                    <a:pt x="1436" y="4681"/>
                  </a:lnTo>
                  <a:lnTo>
                    <a:pt x="1421" y="4684"/>
                  </a:lnTo>
                  <a:lnTo>
                    <a:pt x="1402" y="4693"/>
                  </a:lnTo>
                  <a:lnTo>
                    <a:pt x="1380" y="4699"/>
                  </a:lnTo>
                  <a:lnTo>
                    <a:pt x="1361" y="4706"/>
                  </a:lnTo>
                  <a:lnTo>
                    <a:pt x="1349" y="4703"/>
                  </a:lnTo>
                  <a:lnTo>
                    <a:pt x="1339" y="4690"/>
                  </a:lnTo>
                  <a:lnTo>
                    <a:pt x="1336" y="4668"/>
                  </a:lnTo>
                  <a:lnTo>
                    <a:pt x="1333" y="4643"/>
                  </a:lnTo>
                  <a:lnTo>
                    <a:pt x="1330" y="4624"/>
                  </a:lnTo>
                  <a:lnTo>
                    <a:pt x="1321" y="4609"/>
                  </a:lnTo>
                  <a:lnTo>
                    <a:pt x="1305" y="4593"/>
                  </a:lnTo>
                  <a:lnTo>
                    <a:pt x="1290" y="4578"/>
                  </a:lnTo>
                  <a:lnTo>
                    <a:pt x="1283" y="4562"/>
                  </a:lnTo>
                  <a:lnTo>
                    <a:pt x="1290" y="4550"/>
                  </a:lnTo>
                  <a:lnTo>
                    <a:pt x="1305" y="4534"/>
                  </a:lnTo>
                  <a:lnTo>
                    <a:pt x="1321" y="4518"/>
                  </a:lnTo>
                  <a:lnTo>
                    <a:pt x="1330" y="4506"/>
                  </a:lnTo>
                  <a:lnTo>
                    <a:pt x="1333" y="4484"/>
                  </a:lnTo>
                  <a:lnTo>
                    <a:pt x="1333" y="4459"/>
                  </a:lnTo>
                  <a:lnTo>
                    <a:pt x="1330" y="4437"/>
                  </a:lnTo>
                  <a:lnTo>
                    <a:pt x="1318" y="4421"/>
                  </a:lnTo>
                  <a:lnTo>
                    <a:pt x="1299" y="4406"/>
                  </a:lnTo>
                  <a:lnTo>
                    <a:pt x="1280" y="4393"/>
                  </a:lnTo>
                  <a:lnTo>
                    <a:pt x="1261" y="4384"/>
                  </a:lnTo>
                  <a:lnTo>
                    <a:pt x="1236" y="4381"/>
                  </a:lnTo>
                  <a:lnTo>
                    <a:pt x="1208" y="4381"/>
                  </a:lnTo>
                  <a:lnTo>
                    <a:pt x="1180" y="4384"/>
                  </a:lnTo>
                  <a:lnTo>
                    <a:pt x="1155" y="4384"/>
                  </a:lnTo>
                  <a:lnTo>
                    <a:pt x="1137" y="4381"/>
                  </a:lnTo>
                  <a:lnTo>
                    <a:pt x="1112" y="4378"/>
                  </a:lnTo>
                  <a:lnTo>
                    <a:pt x="1090" y="4372"/>
                  </a:lnTo>
                  <a:lnTo>
                    <a:pt x="1074" y="4362"/>
                  </a:lnTo>
                  <a:lnTo>
                    <a:pt x="1071" y="4347"/>
                  </a:lnTo>
                  <a:lnTo>
                    <a:pt x="1074" y="4331"/>
                  </a:lnTo>
                  <a:lnTo>
                    <a:pt x="1077" y="4312"/>
                  </a:lnTo>
                  <a:lnTo>
                    <a:pt x="1074" y="4297"/>
                  </a:lnTo>
                  <a:lnTo>
                    <a:pt x="1071" y="4290"/>
                  </a:lnTo>
                  <a:lnTo>
                    <a:pt x="1065" y="4284"/>
                  </a:lnTo>
                  <a:lnTo>
                    <a:pt x="1055" y="4278"/>
                  </a:lnTo>
                  <a:lnTo>
                    <a:pt x="1049" y="4275"/>
                  </a:lnTo>
                  <a:lnTo>
                    <a:pt x="1043" y="4272"/>
                  </a:lnTo>
                  <a:lnTo>
                    <a:pt x="1027" y="4278"/>
                  </a:lnTo>
                  <a:lnTo>
                    <a:pt x="1015" y="4287"/>
                  </a:lnTo>
                  <a:lnTo>
                    <a:pt x="999" y="4300"/>
                  </a:lnTo>
                  <a:lnTo>
                    <a:pt x="987" y="4309"/>
                  </a:lnTo>
                  <a:lnTo>
                    <a:pt x="971" y="4306"/>
                  </a:lnTo>
                  <a:lnTo>
                    <a:pt x="949" y="4300"/>
                  </a:lnTo>
                  <a:lnTo>
                    <a:pt x="927" y="4293"/>
                  </a:lnTo>
                  <a:lnTo>
                    <a:pt x="912" y="4293"/>
                  </a:lnTo>
                  <a:lnTo>
                    <a:pt x="890" y="4297"/>
                  </a:lnTo>
                  <a:lnTo>
                    <a:pt x="862" y="4306"/>
                  </a:lnTo>
                  <a:lnTo>
                    <a:pt x="840" y="4318"/>
                  </a:lnTo>
                  <a:lnTo>
                    <a:pt x="827" y="4275"/>
                  </a:lnTo>
                  <a:lnTo>
                    <a:pt x="818" y="4231"/>
                  </a:lnTo>
                  <a:lnTo>
                    <a:pt x="812" y="4197"/>
                  </a:lnTo>
                  <a:lnTo>
                    <a:pt x="809" y="4162"/>
                  </a:lnTo>
                  <a:lnTo>
                    <a:pt x="806" y="4122"/>
                  </a:lnTo>
                  <a:lnTo>
                    <a:pt x="802" y="4081"/>
                  </a:lnTo>
                  <a:lnTo>
                    <a:pt x="796" y="4047"/>
                  </a:lnTo>
                  <a:lnTo>
                    <a:pt x="784" y="4019"/>
                  </a:lnTo>
                  <a:lnTo>
                    <a:pt x="768" y="3981"/>
                  </a:lnTo>
                  <a:lnTo>
                    <a:pt x="749" y="3947"/>
                  </a:lnTo>
                  <a:lnTo>
                    <a:pt x="734" y="3922"/>
                  </a:lnTo>
                  <a:lnTo>
                    <a:pt x="718" y="3891"/>
                  </a:lnTo>
                  <a:lnTo>
                    <a:pt x="699" y="3859"/>
                  </a:lnTo>
                  <a:lnTo>
                    <a:pt x="674" y="3825"/>
                  </a:lnTo>
                  <a:lnTo>
                    <a:pt x="656" y="3803"/>
                  </a:lnTo>
                  <a:lnTo>
                    <a:pt x="624" y="3784"/>
                  </a:lnTo>
                  <a:lnTo>
                    <a:pt x="590" y="3772"/>
                  </a:lnTo>
                  <a:lnTo>
                    <a:pt x="559" y="3760"/>
                  </a:lnTo>
                  <a:lnTo>
                    <a:pt x="534" y="3750"/>
                  </a:lnTo>
                  <a:lnTo>
                    <a:pt x="506" y="3735"/>
                  </a:lnTo>
                  <a:lnTo>
                    <a:pt x="478" y="3722"/>
                  </a:lnTo>
                  <a:lnTo>
                    <a:pt x="456" y="3706"/>
                  </a:lnTo>
                  <a:lnTo>
                    <a:pt x="437" y="3681"/>
                  </a:lnTo>
                  <a:lnTo>
                    <a:pt x="421" y="3650"/>
                  </a:lnTo>
                  <a:lnTo>
                    <a:pt x="406" y="3619"/>
                  </a:lnTo>
                  <a:lnTo>
                    <a:pt x="390" y="3594"/>
                  </a:lnTo>
                  <a:lnTo>
                    <a:pt x="368" y="3575"/>
                  </a:lnTo>
                  <a:lnTo>
                    <a:pt x="340" y="3557"/>
                  </a:lnTo>
                  <a:lnTo>
                    <a:pt x="318" y="3541"/>
                  </a:lnTo>
                  <a:lnTo>
                    <a:pt x="287" y="3525"/>
                  </a:lnTo>
                  <a:lnTo>
                    <a:pt x="250" y="3513"/>
                  </a:lnTo>
                  <a:lnTo>
                    <a:pt x="222" y="3494"/>
                  </a:lnTo>
                  <a:lnTo>
                    <a:pt x="206" y="3478"/>
                  </a:lnTo>
                  <a:lnTo>
                    <a:pt x="193" y="3453"/>
                  </a:lnTo>
                  <a:lnTo>
                    <a:pt x="178" y="3432"/>
                  </a:lnTo>
                  <a:lnTo>
                    <a:pt x="162" y="3419"/>
                  </a:lnTo>
                  <a:lnTo>
                    <a:pt x="143" y="3416"/>
                  </a:lnTo>
                  <a:lnTo>
                    <a:pt x="119" y="3419"/>
                  </a:lnTo>
                  <a:lnTo>
                    <a:pt x="94" y="3422"/>
                  </a:lnTo>
                  <a:lnTo>
                    <a:pt x="75" y="3419"/>
                  </a:lnTo>
                  <a:lnTo>
                    <a:pt x="53" y="3400"/>
                  </a:lnTo>
                  <a:lnTo>
                    <a:pt x="34" y="3375"/>
                  </a:lnTo>
                  <a:lnTo>
                    <a:pt x="19" y="3354"/>
                  </a:lnTo>
                  <a:lnTo>
                    <a:pt x="12" y="3335"/>
                  </a:lnTo>
                  <a:lnTo>
                    <a:pt x="9" y="3313"/>
                  </a:lnTo>
                  <a:lnTo>
                    <a:pt x="6" y="3294"/>
                  </a:lnTo>
                  <a:lnTo>
                    <a:pt x="3" y="3269"/>
                  </a:lnTo>
                  <a:lnTo>
                    <a:pt x="0" y="3238"/>
                  </a:lnTo>
                  <a:lnTo>
                    <a:pt x="0" y="3207"/>
                  </a:lnTo>
                  <a:lnTo>
                    <a:pt x="6" y="3182"/>
                  </a:lnTo>
                  <a:lnTo>
                    <a:pt x="22" y="3163"/>
                  </a:lnTo>
                  <a:lnTo>
                    <a:pt x="47" y="3144"/>
                  </a:lnTo>
                  <a:lnTo>
                    <a:pt x="72" y="3129"/>
                  </a:lnTo>
                  <a:lnTo>
                    <a:pt x="90" y="3113"/>
                  </a:lnTo>
                  <a:lnTo>
                    <a:pt x="97" y="3104"/>
                  </a:lnTo>
                  <a:lnTo>
                    <a:pt x="100" y="3091"/>
                  </a:lnTo>
                  <a:lnTo>
                    <a:pt x="103" y="3082"/>
                  </a:lnTo>
                  <a:lnTo>
                    <a:pt x="109" y="3069"/>
                  </a:lnTo>
                  <a:lnTo>
                    <a:pt x="112" y="3063"/>
                  </a:lnTo>
                  <a:lnTo>
                    <a:pt x="122" y="3054"/>
                  </a:lnTo>
                  <a:lnTo>
                    <a:pt x="131" y="3048"/>
                  </a:lnTo>
                  <a:lnTo>
                    <a:pt x="143" y="3041"/>
                  </a:lnTo>
                  <a:lnTo>
                    <a:pt x="150" y="3032"/>
                  </a:lnTo>
                  <a:lnTo>
                    <a:pt x="168" y="3013"/>
                  </a:lnTo>
                  <a:lnTo>
                    <a:pt x="187" y="2985"/>
                  </a:lnTo>
                  <a:lnTo>
                    <a:pt x="203" y="2963"/>
                  </a:lnTo>
                  <a:lnTo>
                    <a:pt x="209" y="2957"/>
                  </a:lnTo>
                  <a:lnTo>
                    <a:pt x="215" y="2948"/>
                  </a:lnTo>
                  <a:lnTo>
                    <a:pt x="225" y="2935"/>
                  </a:lnTo>
                  <a:lnTo>
                    <a:pt x="231" y="2926"/>
                  </a:lnTo>
                  <a:lnTo>
                    <a:pt x="237" y="2920"/>
                  </a:lnTo>
                  <a:lnTo>
                    <a:pt x="247" y="2916"/>
                  </a:lnTo>
                  <a:lnTo>
                    <a:pt x="256" y="2913"/>
                  </a:lnTo>
                  <a:lnTo>
                    <a:pt x="265" y="2907"/>
                  </a:lnTo>
                  <a:lnTo>
                    <a:pt x="272" y="2904"/>
                  </a:lnTo>
                  <a:lnTo>
                    <a:pt x="278" y="2898"/>
                  </a:lnTo>
                  <a:lnTo>
                    <a:pt x="284" y="2879"/>
                  </a:lnTo>
                  <a:lnTo>
                    <a:pt x="284" y="2851"/>
                  </a:lnTo>
                  <a:lnTo>
                    <a:pt x="284" y="2829"/>
                  </a:lnTo>
                  <a:lnTo>
                    <a:pt x="281" y="2801"/>
                  </a:lnTo>
                  <a:lnTo>
                    <a:pt x="275" y="2767"/>
                  </a:lnTo>
                  <a:lnTo>
                    <a:pt x="268" y="2738"/>
                  </a:lnTo>
                  <a:lnTo>
                    <a:pt x="265" y="2732"/>
                  </a:lnTo>
                  <a:lnTo>
                    <a:pt x="262" y="2723"/>
                  </a:lnTo>
                  <a:lnTo>
                    <a:pt x="259" y="2713"/>
                  </a:lnTo>
                  <a:lnTo>
                    <a:pt x="259" y="2704"/>
                  </a:lnTo>
                  <a:lnTo>
                    <a:pt x="256" y="2698"/>
                  </a:lnTo>
                  <a:lnTo>
                    <a:pt x="259" y="2692"/>
                  </a:lnTo>
                  <a:lnTo>
                    <a:pt x="262" y="2685"/>
                  </a:lnTo>
                  <a:lnTo>
                    <a:pt x="265" y="2676"/>
                  </a:lnTo>
                  <a:lnTo>
                    <a:pt x="272" y="2670"/>
                  </a:lnTo>
                  <a:lnTo>
                    <a:pt x="278" y="2667"/>
                  </a:lnTo>
                  <a:lnTo>
                    <a:pt x="281" y="2667"/>
                  </a:lnTo>
                  <a:lnTo>
                    <a:pt x="290" y="2667"/>
                  </a:lnTo>
                  <a:lnTo>
                    <a:pt x="297" y="2667"/>
                  </a:lnTo>
                  <a:lnTo>
                    <a:pt x="306" y="2670"/>
                  </a:lnTo>
                  <a:lnTo>
                    <a:pt x="312" y="2667"/>
                  </a:lnTo>
                  <a:lnTo>
                    <a:pt x="318" y="2663"/>
                  </a:lnTo>
                  <a:lnTo>
                    <a:pt x="325" y="2657"/>
                  </a:lnTo>
                  <a:lnTo>
                    <a:pt x="331" y="2648"/>
                  </a:lnTo>
                  <a:lnTo>
                    <a:pt x="334" y="2638"/>
                  </a:lnTo>
                  <a:lnTo>
                    <a:pt x="337" y="2632"/>
                  </a:lnTo>
                  <a:lnTo>
                    <a:pt x="343" y="2614"/>
                  </a:lnTo>
                  <a:lnTo>
                    <a:pt x="343" y="2589"/>
                  </a:lnTo>
                  <a:lnTo>
                    <a:pt x="340" y="2564"/>
                  </a:lnTo>
                  <a:lnTo>
                    <a:pt x="337" y="2548"/>
                  </a:lnTo>
                  <a:lnTo>
                    <a:pt x="331" y="2542"/>
                  </a:lnTo>
                  <a:lnTo>
                    <a:pt x="325" y="2539"/>
                  </a:lnTo>
                  <a:lnTo>
                    <a:pt x="318" y="2535"/>
                  </a:lnTo>
                  <a:lnTo>
                    <a:pt x="312" y="2529"/>
                  </a:lnTo>
                  <a:lnTo>
                    <a:pt x="306" y="2526"/>
                  </a:lnTo>
                  <a:lnTo>
                    <a:pt x="306" y="2510"/>
                  </a:lnTo>
                  <a:lnTo>
                    <a:pt x="309" y="2495"/>
                  </a:lnTo>
                  <a:lnTo>
                    <a:pt x="309" y="2476"/>
                  </a:lnTo>
                  <a:lnTo>
                    <a:pt x="306" y="2464"/>
                  </a:lnTo>
                  <a:lnTo>
                    <a:pt x="293" y="2451"/>
                  </a:lnTo>
                  <a:lnTo>
                    <a:pt x="247" y="2436"/>
                  </a:lnTo>
                  <a:lnTo>
                    <a:pt x="231" y="2426"/>
                  </a:lnTo>
                  <a:lnTo>
                    <a:pt x="228" y="2414"/>
                  </a:lnTo>
                  <a:lnTo>
                    <a:pt x="231" y="2395"/>
                  </a:lnTo>
                  <a:lnTo>
                    <a:pt x="234" y="2379"/>
                  </a:lnTo>
                  <a:lnTo>
                    <a:pt x="231" y="2367"/>
                  </a:lnTo>
                  <a:lnTo>
                    <a:pt x="228" y="2364"/>
                  </a:lnTo>
                  <a:lnTo>
                    <a:pt x="222" y="2364"/>
                  </a:lnTo>
                  <a:lnTo>
                    <a:pt x="215" y="2364"/>
                  </a:lnTo>
                  <a:lnTo>
                    <a:pt x="209" y="2364"/>
                  </a:lnTo>
                  <a:lnTo>
                    <a:pt x="206" y="2364"/>
                  </a:lnTo>
                  <a:lnTo>
                    <a:pt x="184" y="2357"/>
                  </a:lnTo>
                  <a:lnTo>
                    <a:pt x="156" y="2351"/>
                  </a:lnTo>
                  <a:lnTo>
                    <a:pt x="131" y="2342"/>
                  </a:lnTo>
                  <a:lnTo>
                    <a:pt x="112" y="2329"/>
                  </a:lnTo>
                  <a:lnTo>
                    <a:pt x="109" y="2317"/>
                  </a:lnTo>
                  <a:lnTo>
                    <a:pt x="106" y="2295"/>
                  </a:lnTo>
                  <a:lnTo>
                    <a:pt x="106" y="2276"/>
                  </a:lnTo>
                  <a:lnTo>
                    <a:pt x="106" y="2258"/>
                  </a:lnTo>
                  <a:lnTo>
                    <a:pt x="106" y="2236"/>
                  </a:lnTo>
                  <a:lnTo>
                    <a:pt x="109" y="2208"/>
                  </a:lnTo>
                  <a:lnTo>
                    <a:pt x="115" y="2179"/>
                  </a:lnTo>
                  <a:lnTo>
                    <a:pt x="125" y="2161"/>
                  </a:lnTo>
                  <a:lnTo>
                    <a:pt x="140" y="2145"/>
                  </a:lnTo>
                  <a:lnTo>
                    <a:pt x="162" y="2136"/>
                  </a:lnTo>
                  <a:lnTo>
                    <a:pt x="184" y="2123"/>
                  </a:lnTo>
                  <a:lnTo>
                    <a:pt x="200" y="2111"/>
                  </a:lnTo>
                  <a:lnTo>
                    <a:pt x="209" y="2095"/>
                  </a:lnTo>
                  <a:lnTo>
                    <a:pt x="218" y="2073"/>
                  </a:lnTo>
                  <a:lnTo>
                    <a:pt x="228" y="2058"/>
                  </a:lnTo>
                  <a:lnTo>
                    <a:pt x="234" y="2055"/>
                  </a:lnTo>
                  <a:lnTo>
                    <a:pt x="243" y="2051"/>
                  </a:lnTo>
                  <a:lnTo>
                    <a:pt x="253" y="2048"/>
                  </a:lnTo>
                  <a:lnTo>
                    <a:pt x="262" y="2045"/>
                  </a:lnTo>
                  <a:lnTo>
                    <a:pt x="268" y="2039"/>
                  </a:lnTo>
                  <a:lnTo>
                    <a:pt x="272" y="2033"/>
                  </a:lnTo>
                  <a:lnTo>
                    <a:pt x="275" y="2023"/>
                  </a:lnTo>
                  <a:lnTo>
                    <a:pt x="278" y="2011"/>
                  </a:lnTo>
                  <a:lnTo>
                    <a:pt x="278" y="2001"/>
                  </a:lnTo>
                  <a:lnTo>
                    <a:pt x="278" y="1977"/>
                  </a:lnTo>
                  <a:lnTo>
                    <a:pt x="272" y="1945"/>
                  </a:lnTo>
                  <a:lnTo>
                    <a:pt x="278" y="1933"/>
                  </a:lnTo>
                  <a:lnTo>
                    <a:pt x="287" y="1920"/>
                  </a:lnTo>
                  <a:lnTo>
                    <a:pt x="293" y="1914"/>
                  </a:lnTo>
                  <a:lnTo>
                    <a:pt x="309" y="1898"/>
                  </a:lnTo>
                  <a:lnTo>
                    <a:pt x="331" y="1883"/>
                  </a:lnTo>
                  <a:lnTo>
                    <a:pt x="350" y="1870"/>
                  </a:lnTo>
                  <a:lnTo>
                    <a:pt x="378" y="1864"/>
                  </a:lnTo>
                  <a:lnTo>
                    <a:pt x="412" y="1861"/>
                  </a:lnTo>
                  <a:lnTo>
                    <a:pt x="440" y="1864"/>
                  </a:lnTo>
                  <a:lnTo>
                    <a:pt x="459" y="1873"/>
                  </a:lnTo>
                  <a:lnTo>
                    <a:pt x="481" y="1886"/>
                  </a:lnTo>
                  <a:lnTo>
                    <a:pt x="496" y="1902"/>
                  </a:lnTo>
                  <a:lnTo>
                    <a:pt x="509" y="1917"/>
                  </a:lnTo>
                  <a:lnTo>
                    <a:pt x="528" y="1942"/>
                  </a:lnTo>
                  <a:lnTo>
                    <a:pt x="543" y="1955"/>
                  </a:lnTo>
                  <a:lnTo>
                    <a:pt x="549" y="1955"/>
                  </a:lnTo>
                  <a:lnTo>
                    <a:pt x="556" y="1952"/>
                  </a:lnTo>
                  <a:lnTo>
                    <a:pt x="562" y="1948"/>
                  </a:lnTo>
                  <a:lnTo>
                    <a:pt x="568" y="1945"/>
                  </a:lnTo>
                  <a:lnTo>
                    <a:pt x="574" y="1942"/>
                  </a:lnTo>
                  <a:lnTo>
                    <a:pt x="581" y="1939"/>
                  </a:lnTo>
                  <a:lnTo>
                    <a:pt x="587" y="1933"/>
                  </a:lnTo>
                  <a:lnTo>
                    <a:pt x="596" y="1927"/>
                  </a:lnTo>
                  <a:lnTo>
                    <a:pt x="603" y="1923"/>
                  </a:lnTo>
                  <a:lnTo>
                    <a:pt x="618" y="1920"/>
                  </a:lnTo>
                  <a:lnTo>
                    <a:pt x="637" y="1920"/>
                  </a:lnTo>
                  <a:lnTo>
                    <a:pt x="656" y="1920"/>
                  </a:lnTo>
                  <a:lnTo>
                    <a:pt x="674" y="1927"/>
                  </a:lnTo>
                  <a:lnTo>
                    <a:pt x="696" y="1933"/>
                  </a:lnTo>
                  <a:lnTo>
                    <a:pt x="715" y="1936"/>
                  </a:lnTo>
                  <a:lnTo>
                    <a:pt x="731" y="1936"/>
                  </a:lnTo>
                  <a:lnTo>
                    <a:pt x="752" y="1933"/>
                  </a:lnTo>
                  <a:lnTo>
                    <a:pt x="768" y="1936"/>
                  </a:lnTo>
                  <a:lnTo>
                    <a:pt x="774" y="1939"/>
                  </a:lnTo>
                  <a:lnTo>
                    <a:pt x="781" y="1948"/>
                  </a:lnTo>
                  <a:lnTo>
                    <a:pt x="787" y="1958"/>
                  </a:lnTo>
                  <a:lnTo>
                    <a:pt x="793" y="1967"/>
                  </a:lnTo>
                  <a:lnTo>
                    <a:pt x="802" y="1973"/>
                  </a:lnTo>
                  <a:lnTo>
                    <a:pt x="821" y="1977"/>
                  </a:lnTo>
                  <a:lnTo>
                    <a:pt x="849" y="1977"/>
                  </a:lnTo>
                  <a:lnTo>
                    <a:pt x="871" y="1973"/>
                  </a:lnTo>
                  <a:lnTo>
                    <a:pt x="887" y="1967"/>
                  </a:lnTo>
                  <a:lnTo>
                    <a:pt x="909" y="1955"/>
                  </a:lnTo>
                  <a:lnTo>
                    <a:pt x="924" y="1945"/>
                  </a:lnTo>
                  <a:lnTo>
                    <a:pt x="949" y="1945"/>
                  </a:lnTo>
                  <a:lnTo>
                    <a:pt x="974" y="1948"/>
                  </a:lnTo>
                  <a:lnTo>
                    <a:pt x="1002" y="1948"/>
                  </a:lnTo>
                  <a:lnTo>
                    <a:pt x="1024" y="1945"/>
                  </a:lnTo>
                  <a:lnTo>
                    <a:pt x="1033" y="1942"/>
                  </a:lnTo>
                  <a:lnTo>
                    <a:pt x="1040" y="1933"/>
                  </a:lnTo>
                  <a:lnTo>
                    <a:pt x="1049" y="1923"/>
                  </a:lnTo>
                  <a:lnTo>
                    <a:pt x="1055" y="1911"/>
                  </a:lnTo>
                  <a:lnTo>
                    <a:pt x="1065" y="1905"/>
                  </a:lnTo>
                  <a:lnTo>
                    <a:pt x="1071" y="1898"/>
                  </a:lnTo>
                  <a:lnTo>
                    <a:pt x="1090" y="1895"/>
                  </a:lnTo>
                  <a:lnTo>
                    <a:pt x="1112" y="1892"/>
                  </a:lnTo>
                  <a:lnTo>
                    <a:pt x="1133" y="1889"/>
                  </a:lnTo>
                  <a:lnTo>
                    <a:pt x="1152" y="1880"/>
                  </a:lnTo>
                  <a:lnTo>
                    <a:pt x="1174" y="1867"/>
                  </a:lnTo>
                  <a:lnTo>
                    <a:pt x="1190" y="1852"/>
                  </a:lnTo>
                  <a:lnTo>
                    <a:pt x="1186" y="1833"/>
                  </a:lnTo>
                  <a:lnTo>
                    <a:pt x="1180" y="1814"/>
                  </a:lnTo>
                  <a:lnTo>
                    <a:pt x="1171" y="1799"/>
                  </a:lnTo>
                  <a:lnTo>
                    <a:pt x="1165" y="1792"/>
                  </a:lnTo>
                  <a:lnTo>
                    <a:pt x="1155" y="1786"/>
                  </a:lnTo>
                  <a:lnTo>
                    <a:pt x="1146" y="1780"/>
                  </a:lnTo>
                  <a:lnTo>
                    <a:pt x="1137" y="1777"/>
                  </a:lnTo>
                  <a:lnTo>
                    <a:pt x="1130" y="1774"/>
                  </a:lnTo>
                  <a:lnTo>
                    <a:pt x="1121" y="1774"/>
                  </a:lnTo>
                  <a:lnTo>
                    <a:pt x="1115" y="1777"/>
                  </a:lnTo>
                  <a:lnTo>
                    <a:pt x="1105" y="1783"/>
                  </a:lnTo>
                  <a:lnTo>
                    <a:pt x="1096" y="1786"/>
                  </a:lnTo>
                  <a:lnTo>
                    <a:pt x="1087" y="1789"/>
                  </a:lnTo>
                  <a:lnTo>
                    <a:pt x="1080" y="1789"/>
                  </a:lnTo>
                  <a:lnTo>
                    <a:pt x="1074" y="1786"/>
                  </a:lnTo>
                  <a:lnTo>
                    <a:pt x="1065" y="1780"/>
                  </a:lnTo>
                  <a:lnTo>
                    <a:pt x="1055" y="1774"/>
                  </a:lnTo>
                  <a:lnTo>
                    <a:pt x="1049" y="1764"/>
                  </a:lnTo>
                  <a:lnTo>
                    <a:pt x="1043" y="1758"/>
                  </a:lnTo>
                  <a:lnTo>
                    <a:pt x="1037" y="1742"/>
                  </a:lnTo>
                  <a:lnTo>
                    <a:pt x="1030" y="1724"/>
                  </a:lnTo>
                  <a:lnTo>
                    <a:pt x="1030" y="1705"/>
                  </a:lnTo>
                  <a:lnTo>
                    <a:pt x="1033" y="1692"/>
                  </a:lnTo>
                  <a:lnTo>
                    <a:pt x="1043" y="1683"/>
                  </a:lnTo>
                  <a:lnTo>
                    <a:pt x="1058" y="1674"/>
                  </a:lnTo>
                  <a:lnTo>
                    <a:pt x="1077" y="1667"/>
                  </a:lnTo>
                  <a:lnTo>
                    <a:pt x="1087" y="1658"/>
                  </a:lnTo>
                  <a:lnTo>
                    <a:pt x="1093" y="1639"/>
                  </a:lnTo>
                  <a:lnTo>
                    <a:pt x="1090" y="1614"/>
                  </a:lnTo>
                  <a:lnTo>
                    <a:pt x="1087" y="1592"/>
                  </a:lnTo>
                  <a:lnTo>
                    <a:pt x="1074" y="1571"/>
                  </a:lnTo>
                  <a:lnTo>
                    <a:pt x="1058" y="1546"/>
                  </a:lnTo>
                  <a:lnTo>
                    <a:pt x="1046" y="1524"/>
                  </a:lnTo>
                  <a:lnTo>
                    <a:pt x="1043" y="1505"/>
                  </a:lnTo>
                  <a:lnTo>
                    <a:pt x="1043" y="1486"/>
                  </a:lnTo>
                  <a:lnTo>
                    <a:pt x="1046" y="1471"/>
                  </a:lnTo>
                  <a:lnTo>
                    <a:pt x="1062" y="1449"/>
                  </a:lnTo>
                  <a:lnTo>
                    <a:pt x="1083" y="1430"/>
                  </a:lnTo>
                  <a:lnTo>
                    <a:pt x="1099" y="1408"/>
                  </a:lnTo>
                  <a:lnTo>
                    <a:pt x="1102" y="1383"/>
                  </a:lnTo>
                  <a:lnTo>
                    <a:pt x="1102" y="1352"/>
                  </a:lnTo>
                  <a:lnTo>
                    <a:pt x="1099" y="1327"/>
                  </a:lnTo>
                  <a:lnTo>
                    <a:pt x="1087" y="1308"/>
                  </a:lnTo>
                  <a:lnTo>
                    <a:pt x="1068" y="1290"/>
                  </a:lnTo>
                  <a:lnTo>
                    <a:pt x="1055" y="1271"/>
                  </a:lnTo>
                  <a:lnTo>
                    <a:pt x="1049" y="1246"/>
                  </a:lnTo>
                  <a:lnTo>
                    <a:pt x="1052" y="1218"/>
                  </a:lnTo>
                  <a:lnTo>
                    <a:pt x="1052" y="1190"/>
                  </a:lnTo>
                  <a:lnTo>
                    <a:pt x="1055" y="1165"/>
                  </a:lnTo>
                  <a:lnTo>
                    <a:pt x="1058" y="1133"/>
                  </a:lnTo>
                  <a:lnTo>
                    <a:pt x="1055" y="1108"/>
                  </a:lnTo>
                  <a:lnTo>
                    <a:pt x="1046" y="1090"/>
                  </a:lnTo>
                  <a:lnTo>
                    <a:pt x="1030" y="1068"/>
                  </a:lnTo>
                  <a:lnTo>
                    <a:pt x="1021" y="1049"/>
                  </a:lnTo>
                  <a:lnTo>
                    <a:pt x="1015" y="1030"/>
                  </a:lnTo>
                  <a:lnTo>
                    <a:pt x="1008" y="1009"/>
                  </a:lnTo>
                  <a:lnTo>
                    <a:pt x="1002" y="990"/>
                  </a:lnTo>
                  <a:lnTo>
                    <a:pt x="993" y="974"/>
                  </a:lnTo>
                  <a:lnTo>
                    <a:pt x="990" y="971"/>
                  </a:lnTo>
                  <a:lnTo>
                    <a:pt x="984" y="968"/>
                  </a:lnTo>
                  <a:lnTo>
                    <a:pt x="974" y="965"/>
                  </a:lnTo>
                  <a:lnTo>
                    <a:pt x="968" y="962"/>
                  </a:lnTo>
                  <a:lnTo>
                    <a:pt x="959" y="959"/>
                  </a:lnTo>
                  <a:lnTo>
                    <a:pt x="955" y="955"/>
                  </a:lnTo>
                  <a:lnTo>
                    <a:pt x="952" y="952"/>
                  </a:lnTo>
                  <a:lnTo>
                    <a:pt x="949" y="946"/>
                  </a:lnTo>
                  <a:lnTo>
                    <a:pt x="940" y="927"/>
                  </a:lnTo>
                  <a:lnTo>
                    <a:pt x="934" y="905"/>
                  </a:lnTo>
                  <a:lnTo>
                    <a:pt x="930" y="890"/>
                  </a:lnTo>
                  <a:lnTo>
                    <a:pt x="934" y="884"/>
                  </a:lnTo>
                  <a:lnTo>
                    <a:pt x="940" y="877"/>
                  </a:lnTo>
                  <a:lnTo>
                    <a:pt x="949" y="871"/>
                  </a:lnTo>
                  <a:lnTo>
                    <a:pt x="959" y="865"/>
                  </a:lnTo>
                  <a:lnTo>
                    <a:pt x="965" y="859"/>
                  </a:lnTo>
                  <a:lnTo>
                    <a:pt x="968" y="852"/>
                  </a:lnTo>
                  <a:lnTo>
                    <a:pt x="971" y="834"/>
                  </a:lnTo>
                  <a:lnTo>
                    <a:pt x="968" y="809"/>
                  </a:lnTo>
                  <a:lnTo>
                    <a:pt x="962" y="787"/>
                  </a:lnTo>
                  <a:lnTo>
                    <a:pt x="952" y="768"/>
                  </a:lnTo>
                  <a:lnTo>
                    <a:pt x="940" y="746"/>
                  </a:lnTo>
                  <a:lnTo>
                    <a:pt x="927" y="734"/>
                  </a:lnTo>
                  <a:lnTo>
                    <a:pt x="912" y="731"/>
                  </a:lnTo>
                  <a:lnTo>
                    <a:pt x="890" y="734"/>
                  </a:lnTo>
                  <a:lnTo>
                    <a:pt x="871" y="737"/>
                  </a:lnTo>
                  <a:lnTo>
                    <a:pt x="855" y="734"/>
                  </a:lnTo>
                  <a:lnTo>
                    <a:pt x="846" y="731"/>
                  </a:lnTo>
                  <a:lnTo>
                    <a:pt x="837" y="721"/>
                  </a:lnTo>
                  <a:lnTo>
                    <a:pt x="824" y="712"/>
                  </a:lnTo>
                  <a:lnTo>
                    <a:pt x="818" y="706"/>
                  </a:lnTo>
                  <a:lnTo>
                    <a:pt x="812" y="696"/>
                  </a:lnTo>
                  <a:lnTo>
                    <a:pt x="809" y="674"/>
                  </a:lnTo>
                  <a:lnTo>
                    <a:pt x="809" y="649"/>
                  </a:lnTo>
                  <a:lnTo>
                    <a:pt x="806" y="628"/>
                  </a:lnTo>
                  <a:lnTo>
                    <a:pt x="799" y="618"/>
                  </a:lnTo>
                  <a:lnTo>
                    <a:pt x="793" y="609"/>
                  </a:lnTo>
                  <a:lnTo>
                    <a:pt x="787" y="599"/>
                  </a:lnTo>
                  <a:lnTo>
                    <a:pt x="781" y="590"/>
                  </a:lnTo>
                  <a:lnTo>
                    <a:pt x="774" y="581"/>
                  </a:lnTo>
                  <a:lnTo>
                    <a:pt x="759" y="546"/>
                  </a:lnTo>
                  <a:lnTo>
                    <a:pt x="743" y="503"/>
                  </a:lnTo>
                  <a:lnTo>
                    <a:pt x="727" y="465"/>
                  </a:lnTo>
                  <a:lnTo>
                    <a:pt x="715" y="443"/>
                  </a:lnTo>
                  <a:lnTo>
                    <a:pt x="699" y="418"/>
                  </a:lnTo>
                  <a:lnTo>
                    <a:pt x="687" y="400"/>
                  </a:lnTo>
                  <a:lnTo>
                    <a:pt x="668" y="384"/>
                  </a:lnTo>
                  <a:lnTo>
                    <a:pt x="649" y="365"/>
                  </a:lnTo>
                  <a:lnTo>
                    <a:pt x="634" y="350"/>
                  </a:lnTo>
                  <a:lnTo>
                    <a:pt x="628" y="337"/>
                  </a:lnTo>
                  <a:lnTo>
                    <a:pt x="624" y="322"/>
                  </a:lnTo>
                  <a:lnTo>
                    <a:pt x="621" y="303"/>
                  </a:lnTo>
                  <a:lnTo>
                    <a:pt x="624" y="293"/>
                  </a:lnTo>
                  <a:lnTo>
                    <a:pt x="628" y="287"/>
                  </a:lnTo>
                  <a:lnTo>
                    <a:pt x="637" y="284"/>
                  </a:lnTo>
                  <a:lnTo>
                    <a:pt x="646" y="281"/>
                  </a:lnTo>
                  <a:lnTo>
                    <a:pt x="656" y="278"/>
                  </a:lnTo>
                  <a:lnTo>
                    <a:pt x="665" y="278"/>
                  </a:lnTo>
                  <a:lnTo>
                    <a:pt x="671" y="278"/>
                  </a:lnTo>
                  <a:lnTo>
                    <a:pt x="681" y="281"/>
                  </a:lnTo>
                  <a:lnTo>
                    <a:pt x="687" y="284"/>
                  </a:lnTo>
                  <a:lnTo>
                    <a:pt x="696" y="290"/>
                  </a:lnTo>
                  <a:lnTo>
                    <a:pt x="702" y="297"/>
                  </a:lnTo>
                  <a:lnTo>
                    <a:pt x="709" y="300"/>
                  </a:lnTo>
                  <a:lnTo>
                    <a:pt x="727" y="312"/>
                  </a:lnTo>
                  <a:lnTo>
                    <a:pt x="749" y="325"/>
                  </a:lnTo>
                  <a:lnTo>
                    <a:pt x="765" y="340"/>
                  </a:lnTo>
                  <a:lnTo>
                    <a:pt x="768" y="347"/>
                  </a:lnTo>
                  <a:lnTo>
                    <a:pt x="774" y="356"/>
                  </a:lnTo>
                  <a:lnTo>
                    <a:pt x="777" y="365"/>
                  </a:lnTo>
                  <a:lnTo>
                    <a:pt x="784" y="375"/>
                  </a:lnTo>
                  <a:lnTo>
                    <a:pt x="790" y="381"/>
                  </a:lnTo>
                  <a:lnTo>
                    <a:pt x="809" y="384"/>
                  </a:lnTo>
                  <a:lnTo>
                    <a:pt x="830" y="384"/>
                  </a:lnTo>
                  <a:lnTo>
                    <a:pt x="849" y="381"/>
                  </a:lnTo>
                  <a:lnTo>
                    <a:pt x="859" y="378"/>
                  </a:lnTo>
                  <a:lnTo>
                    <a:pt x="868" y="375"/>
                  </a:lnTo>
                  <a:lnTo>
                    <a:pt x="880" y="368"/>
                  </a:lnTo>
                  <a:lnTo>
                    <a:pt x="890" y="365"/>
                  </a:lnTo>
                  <a:lnTo>
                    <a:pt x="899" y="365"/>
                  </a:lnTo>
                  <a:lnTo>
                    <a:pt x="918" y="368"/>
                  </a:lnTo>
                  <a:lnTo>
                    <a:pt x="940" y="375"/>
                  </a:lnTo>
                  <a:lnTo>
                    <a:pt x="965" y="384"/>
                  </a:lnTo>
                  <a:lnTo>
                    <a:pt x="984" y="387"/>
                  </a:lnTo>
                  <a:lnTo>
                    <a:pt x="1005" y="390"/>
                  </a:lnTo>
                  <a:lnTo>
                    <a:pt x="1033" y="390"/>
                  </a:lnTo>
                  <a:lnTo>
                    <a:pt x="1062" y="390"/>
                  </a:lnTo>
                  <a:lnTo>
                    <a:pt x="1083" y="387"/>
                  </a:lnTo>
                  <a:lnTo>
                    <a:pt x="1102" y="378"/>
                  </a:lnTo>
                  <a:lnTo>
                    <a:pt x="1124" y="365"/>
                  </a:lnTo>
                  <a:lnTo>
                    <a:pt x="1143" y="350"/>
                  </a:lnTo>
                  <a:lnTo>
                    <a:pt x="1161" y="340"/>
                  </a:lnTo>
                  <a:lnTo>
                    <a:pt x="1177" y="334"/>
                  </a:lnTo>
                  <a:lnTo>
                    <a:pt x="1199" y="334"/>
                  </a:lnTo>
                  <a:lnTo>
                    <a:pt x="1221" y="331"/>
                  </a:lnTo>
                  <a:lnTo>
                    <a:pt x="1240" y="325"/>
                  </a:lnTo>
                  <a:lnTo>
                    <a:pt x="1252" y="315"/>
                  </a:lnTo>
                  <a:lnTo>
                    <a:pt x="1255" y="300"/>
                  </a:lnTo>
                  <a:lnTo>
                    <a:pt x="1252" y="281"/>
                  </a:lnTo>
                  <a:lnTo>
                    <a:pt x="1246" y="259"/>
                  </a:lnTo>
                  <a:lnTo>
                    <a:pt x="1240" y="240"/>
                  </a:lnTo>
                  <a:lnTo>
                    <a:pt x="1240" y="234"/>
                  </a:lnTo>
                  <a:lnTo>
                    <a:pt x="1240" y="225"/>
                  </a:lnTo>
                  <a:lnTo>
                    <a:pt x="1240" y="215"/>
                  </a:lnTo>
                  <a:lnTo>
                    <a:pt x="1240" y="209"/>
                  </a:lnTo>
                  <a:lnTo>
                    <a:pt x="1240" y="203"/>
                  </a:lnTo>
                  <a:lnTo>
                    <a:pt x="1258" y="187"/>
                  </a:lnTo>
                  <a:lnTo>
                    <a:pt x="1283" y="175"/>
                  </a:lnTo>
                  <a:lnTo>
                    <a:pt x="1311" y="169"/>
                  </a:lnTo>
                  <a:lnTo>
                    <a:pt x="1333" y="169"/>
                  </a:lnTo>
                  <a:lnTo>
                    <a:pt x="1352" y="181"/>
                  </a:lnTo>
                  <a:lnTo>
                    <a:pt x="1368" y="203"/>
                  </a:lnTo>
                  <a:lnTo>
                    <a:pt x="1386" y="215"/>
                  </a:lnTo>
                  <a:lnTo>
                    <a:pt x="1408" y="218"/>
                  </a:lnTo>
                  <a:lnTo>
                    <a:pt x="1436" y="218"/>
                  </a:lnTo>
                  <a:lnTo>
                    <a:pt x="1464" y="215"/>
                  </a:lnTo>
                  <a:lnTo>
                    <a:pt x="1483" y="209"/>
                  </a:lnTo>
                  <a:lnTo>
                    <a:pt x="1496" y="194"/>
                  </a:lnTo>
                  <a:lnTo>
                    <a:pt x="1505" y="172"/>
                  </a:lnTo>
                  <a:lnTo>
                    <a:pt x="1514" y="153"/>
                  </a:lnTo>
                  <a:lnTo>
                    <a:pt x="1533" y="147"/>
                  </a:lnTo>
                  <a:lnTo>
                    <a:pt x="1558" y="140"/>
                  </a:lnTo>
                  <a:lnTo>
                    <a:pt x="1577" y="140"/>
                  </a:lnTo>
                  <a:lnTo>
                    <a:pt x="1596" y="147"/>
                  </a:lnTo>
                  <a:lnTo>
                    <a:pt x="1621" y="159"/>
                  </a:lnTo>
                  <a:lnTo>
                    <a:pt x="1639" y="165"/>
                  </a:lnTo>
                  <a:lnTo>
                    <a:pt x="1658" y="165"/>
                  </a:lnTo>
                  <a:lnTo>
                    <a:pt x="1683" y="159"/>
                  </a:lnTo>
                  <a:lnTo>
                    <a:pt x="1708" y="156"/>
                  </a:lnTo>
                  <a:lnTo>
                    <a:pt x="1730" y="153"/>
                  </a:lnTo>
                  <a:lnTo>
                    <a:pt x="1745" y="156"/>
                  </a:lnTo>
                  <a:lnTo>
                    <a:pt x="1764" y="162"/>
                  </a:lnTo>
                  <a:lnTo>
                    <a:pt x="1780" y="165"/>
                  </a:lnTo>
                  <a:lnTo>
                    <a:pt x="1799" y="162"/>
                  </a:lnTo>
                  <a:lnTo>
                    <a:pt x="1820" y="153"/>
                  </a:lnTo>
                  <a:lnTo>
                    <a:pt x="1845" y="144"/>
                  </a:lnTo>
                  <a:lnTo>
                    <a:pt x="1867" y="140"/>
                  </a:lnTo>
                  <a:lnTo>
                    <a:pt x="1883" y="140"/>
                  </a:lnTo>
                  <a:lnTo>
                    <a:pt x="1898" y="156"/>
                  </a:lnTo>
                  <a:lnTo>
                    <a:pt x="1914" y="181"/>
                  </a:lnTo>
                  <a:lnTo>
                    <a:pt x="1920" y="203"/>
                  </a:lnTo>
                  <a:lnTo>
                    <a:pt x="1923" y="209"/>
                  </a:lnTo>
                  <a:lnTo>
                    <a:pt x="1920" y="218"/>
                  </a:lnTo>
                  <a:lnTo>
                    <a:pt x="1920" y="228"/>
                  </a:lnTo>
                  <a:lnTo>
                    <a:pt x="1920" y="234"/>
                  </a:lnTo>
                  <a:lnTo>
                    <a:pt x="1920" y="243"/>
                  </a:lnTo>
                  <a:lnTo>
                    <a:pt x="1927" y="247"/>
                  </a:lnTo>
                  <a:lnTo>
                    <a:pt x="1930" y="253"/>
                  </a:lnTo>
                  <a:lnTo>
                    <a:pt x="1939" y="259"/>
                  </a:lnTo>
                  <a:lnTo>
                    <a:pt x="1945" y="262"/>
                  </a:lnTo>
                  <a:lnTo>
                    <a:pt x="1952" y="265"/>
                  </a:lnTo>
                  <a:lnTo>
                    <a:pt x="1973" y="265"/>
                  </a:lnTo>
                  <a:lnTo>
                    <a:pt x="2002" y="256"/>
                  </a:lnTo>
                  <a:lnTo>
                    <a:pt x="2020" y="243"/>
                  </a:lnTo>
                  <a:lnTo>
                    <a:pt x="2023" y="231"/>
                  </a:lnTo>
                  <a:lnTo>
                    <a:pt x="2026" y="215"/>
                  </a:lnTo>
                  <a:lnTo>
                    <a:pt x="2026" y="197"/>
                  </a:lnTo>
                  <a:lnTo>
                    <a:pt x="2030" y="181"/>
                  </a:lnTo>
                  <a:lnTo>
                    <a:pt x="2042" y="172"/>
                  </a:lnTo>
                  <a:lnTo>
                    <a:pt x="2061" y="165"/>
                  </a:lnTo>
                  <a:lnTo>
                    <a:pt x="2080" y="156"/>
                  </a:lnTo>
                  <a:lnTo>
                    <a:pt x="2092" y="147"/>
                  </a:lnTo>
                  <a:lnTo>
                    <a:pt x="2092" y="131"/>
                  </a:lnTo>
                  <a:lnTo>
                    <a:pt x="2089" y="112"/>
                  </a:lnTo>
                  <a:lnTo>
                    <a:pt x="2083" y="90"/>
                  </a:lnTo>
                  <a:lnTo>
                    <a:pt x="2083" y="75"/>
                  </a:lnTo>
                  <a:lnTo>
                    <a:pt x="2092" y="56"/>
                  </a:lnTo>
                  <a:lnTo>
                    <a:pt x="2108" y="34"/>
                  </a:lnTo>
                  <a:lnTo>
                    <a:pt x="2126" y="16"/>
                  </a:lnTo>
                  <a:lnTo>
                    <a:pt x="2145" y="3"/>
                  </a:lnTo>
                  <a:lnTo>
                    <a:pt x="2161" y="0"/>
                  </a:lnTo>
                  <a:lnTo>
                    <a:pt x="2179" y="0"/>
                  </a:lnTo>
                  <a:lnTo>
                    <a:pt x="2195" y="3"/>
                  </a:lnTo>
                  <a:lnTo>
                    <a:pt x="2201" y="6"/>
                  </a:lnTo>
                  <a:lnTo>
                    <a:pt x="2204" y="16"/>
                  </a:lnTo>
                  <a:lnTo>
                    <a:pt x="2211" y="25"/>
                  </a:lnTo>
                  <a:lnTo>
                    <a:pt x="2217" y="31"/>
                  </a:lnTo>
                  <a:lnTo>
                    <a:pt x="2220" y="41"/>
                  </a:lnTo>
                  <a:lnTo>
                    <a:pt x="2226" y="44"/>
                  </a:lnTo>
                  <a:lnTo>
                    <a:pt x="2242" y="44"/>
                  </a:lnTo>
                  <a:lnTo>
                    <a:pt x="2261" y="37"/>
                  </a:lnTo>
                  <a:lnTo>
                    <a:pt x="2283" y="28"/>
                  </a:lnTo>
                  <a:lnTo>
                    <a:pt x="2289" y="34"/>
                  </a:lnTo>
                  <a:lnTo>
                    <a:pt x="2295" y="41"/>
                  </a:lnTo>
                  <a:lnTo>
                    <a:pt x="2301" y="47"/>
                  </a:lnTo>
                  <a:lnTo>
                    <a:pt x="2308" y="53"/>
                  </a:lnTo>
                  <a:lnTo>
                    <a:pt x="2320" y="78"/>
                  </a:lnTo>
                  <a:lnTo>
                    <a:pt x="2336" y="109"/>
                  </a:lnTo>
                  <a:lnTo>
                    <a:pt x="2351" y="137"/>
                  </a:lnTo>
                  <a:lnTo>
                    <a:pt x="2370" y="159"/>
                  </a:lnTo>
                  <a:lnTo>
                    <a:pt x="2389" y="169"/>
                  </a:lnTo>
                  <a:lnTo>
                    <a:pt x="2411" y="175"/>
                  </a:lnTo>
                  <a:lnTo>
                    <a:pt x="2436" y="181"/>
                  </a:lnTo>
                  <a:lnTo>
                    <a:pt x="2454" y="190"/>
                  </a:lnTo>
                  <a:lnTo>
                    <a:pt x="2464" y="206"/>
                  </a:lnTo>
                  <a:lnTo>
                    <a:pt x="2473" y="228"/>
                  </a:lnTo>
                  <a:lnTo>
                    <a:pt x="2479" y="250"/>
                  </a:lnTo>
                  <a:lnTo>
                    <a:pt x="2492" y="265"/>
                  </a:lnTo>
                  <a:lnTo>
                    <a:pt x="2504" y="265"/>
                  </a:lnTo>
                  <a:lnTo>
                    <a:pt x="2520" y="259"/>
                  </a:lnTo>
                  <a:lnTo>
                    <a:pt x="2535" y="256"/>
                  </a:lnTo>
                  <a:lnTo>
                    <a:pt x="2548" y="253"/>
                  </a:lnTo>
                  <a:lnTo>
                    <a:pt x="2567" y="262"/>
                  </a:lnTo>
                  <a:lnTo>
                    <a:pt x="2589" y="275"/>
                  </a:lnTo>
                  <a:lnTo>
                    <a:pt x="2604" y="287"/>
                  </a:lnTo>
                  <a:lnTo>
                    <a:pt x="2610" y="306"/>
                  </a:lnTo>
                  <a:lnTo>
                    <a:pt x="2617" y="334"/>
                  </a:lnTo>
                  <a:lnTo>
                    <a:pt x="2620" y="359"/>
                  </a:lnTo>
                  <a:lnTo>
                    <a:pt x="2620" y="384"/>
                  </a:lnTo>
                  <a:lnTo>
                    <a:pt x="2617" y="403"/>
                  </a:lnTo>
                  <a:lnTo>
                    <a:pt x="2610" y="428"/>
                  </a:lnTo>
                  <a:lnTo>
                    <a:pt x="2604" y="453"/>
                  </a:lnTo>
                  <a:lnTo>
                    <a:pt x="2604" y="471"/>
                  </a:lnTo>
                  <a:lnTo>
                    <a:pt x="2614" y="496"/>
                  </a:lnTo>
                  <a:lnTo>
                    <a:pt x="2629" y="525"/>
                  </a:lnTo>
                  <a:lnTo>
                    <a:pt x="2651" y="549"/>
                  </a:lnTo>
                  <a:lnTo>
                    <a:pt x="2670" y="562"/>
                  </a:lnTo>
                  <a:lnTo>
                    <a:pt x="2682" y="562"/>
                  </a:lnTo>
                  <a:lnTo>
                    <a:pt x="2698" y="556"/>
                  </a:lnTo>
                  <a:lnTo>
                    <a:pt x="2713" y="549"/>
                  </a:lnTo>
                  <a:lnTo>
                    <a:pt x="2726" y="546"/>
                  </a:lnTo>
                  <a:lnTo>
                    <a:pt x="2754" y="553"/>
                  </a:lnTo>
                  <a:lnTo>
                    <a:pt x="2785" y="562"/>
                  </a:lnTo>
                  <a:lnTo>
                    <a:pt x="2817" y="571"/>
                  </a:lnTo>
                  <a:lnTo>
                    <a:pt x="2842" y="578"/>
                  </a:lnTo>
                  <a:lnTo>
                    <a:pt x="2851" y="578"/>
                  </a:lnTo>
                  <a:lnTo>
                    <a:pt x="2860" y="578"/>
                  </a:lnTo>
                  <a:lnTo>
                    <a:pt x="2870" y="578"/>
                  </a:lnTo>
                  <a:lnTo>
                    <a:pt x="2879" y="578"/>
                  </a:lnTo>
                  <a:lnTo>
                    <a:pt x="2888" y="578"/>
                  </a:lnTo>
                  <a:lnTo>
                    <a:pt x="2891" y="571"/>
                  </a:lnTo>
                  <a:lnTo>
                    <a:pt x="2898" y="562"/>
                  </a:lnTo>
                  <a:lnTo>
                    <a:pt x="2904" y="553"/>
                  </a:lnTo>
                  <a:lnTo>
                    <a:pt x="2907" y="543"/>
                  </a:lnTo>
                  <a:lnTo>
                    <a:pt x="2913" y="537"/>
                  </a:lnTo>
                  <a:lnTo>
                    <a:pt x="2920" y="531"/>
                  </a:lnTo>
                  <a:lnTo>
                    <a:pt x="2938" y="528"/>
                  </a:lnTo>
                  <a:lnTo>
                    <a:pt x="2963" y="528"/>
                  </a:lnTo>
                  <a:lnTo>
                    <a:pt x="2988" y="531"/>
                  </a:lnTo>
                  <a:lnTo>
                    <a:pt x="3010" y="528"/>
                  </a:lnTo>
                  <a:lnTo>
                    <a:pt x="3016" y="521"/>
                  </a:lnTo>
                  <a:lnTo>
                    <a:pt x="3023" y="515"/>
                  </a:lnTo>
                  <a:lnTo>
                    <a:pt x="3029" y="506"/>
                  </a:lnTo>
                  <a:lnTo>
                    <a:pt x="3035" y="496"/>
                  </a:lnTo>
                  <a:lnTo>
                    <a:pt x="3035" y="484"/>
                  </a:lnTo>
                  <a:lnTo>
                    <a:pt x="3035" y="462"/>
                  </a:lnTo>
                  <a:lnTo>
                    <a:pt x="3032" y="443"/>
                  </a:lnTo>
                  <a:lnTo>
                    <a:pt x="3029" y="425"/>
                  </a:lnTo>
                  <a:lnTo>
                    <a:pt x="3035" y="412"/>
                  </a:lnTo>
                  <a:lnTo>
                    <a:pt x="3051" y="403"/>
                  </a:lnTo>
                  <a:lnTo>
                    <a:pt x="3069" y="400"/>
                  </a:lnTo>
                  <a:lnTo>
                    <a:pt x="3088" y="400"/>
                  </a:lnTo>
                  <a:lnTo>
                    <a:pt x="3104" y="412"/>
                  </a:lnTo>
                  <a:lnTo>
                    <a:pt x="3119" y="431"/>
                  </a:lnTo>
                  <a:lnTo>
                    <a:pt x="3135" y="450"/>
                  </a:lnTo>
                  <a:lnTo>
                    <a:pt x="3151" y="465"/>
                  </a:lnTo>
                  <a:lnTo>
                    <a:pt x="3169" y="475"/>
                  </a:lnTo>
                  <a:lnTo>
                    <a:pt x="3197" y="481"/>
                  </a:lnTo>
                  <a:lnTo>
                    <a:pt x="3216" y="490"/>
                  </a:lnTo>
                  <a:lnTo>
                    <a:pt x="3235" y="518"/>
                  </a:lnTo>
                  <a:lnTo>
                    <a:pt x="3251" y="553"/>
                  </a:lnTo>
                  <a:lnTo>
                    <a:pt x="3263" y="593"/>
                  </a:lnTo>
                  <a:lnTo>
                    <a:pt x="3276" y="624"/>
                  </a:lnTo>
                  <a:lnTo>
                    <a:pt x="3285" y="653"/>
                  </a:lnTo>
                  <a:lnTo>
                    <a:pt x="3294" y="684"/>
                  </a:lnTo>
                  <a:lnTo>
                    <a:pt x="3310" y="709"/>
                  </a:lnTo>
                  <a:lnTo>
                    <a:pt x="3329" y="724"/>
                  </a:lnTo>
                  <a:lnTo>
                    <a:pt x="3357" y="743"/>
                  </a:lnTo>
                  <a:lnTo>
                    <a:pt x="3388" y="759"/>
                  </a:lnTo>
                  <a:lnTo>
                    <a:pt x="3407" y="777"/>
                  </a:lnTo>
                  <a:lnTo>
                    <a:pt x="3416" y="799"/>
                  </a:lnTo>
                  <a:lnTo>
                    <a:pt x="3419" y="831"/>
                  </a:lnTo>
                  <a:lnTo>
                    <a:pt x="3422" y="862"/>
                  </a:lnTo>
                  <a:lnTo>
                    <a:pt x="3425" y="890"/>
                  </a:lnTo>
                  <a:lnTo>
                    <a:pt x="3435" y="915"/>
                  </a:lnTo>
                  <a:lnTo>
                    <a:pt x="3454" y="934"/>
                  </a:lnTo>
                  <a:lnTo>
                    <a:pt x="3479" y="952"/>
                  </a:lnTo>
                  <a:lnTo>
                    <a:pt x="3504" y="971"/>
                  </a:lnTo>
                  <a:lnTo>
                    <a:pt x="3522" y="987"/>
                  </a:lnTo>
                  <a:lnTo>
                    <a:pt x="3538" y="1005"/>
                  </a:lnTo>
                  <a:lnTo>
                    <a:pt x="3557" y="1030"/>
                  </a:lnTo>
                  <a:lnTo>
                    <a:pt x="3572" y="1058"/>
                  </a:lnTo>
                  <a:lnTo>
                    <a:pt x="3582" y="1080"/>
                  </a:lnTo>
                  <a:lnTo>
                    <a:pt x="3588" y="1112"/>
                  </a:lnTo>
                  <a:lnTo>
                    <a:pt x="3585" y="1146"/>
                  </a:lnTo>
                  <a:lnTo>
                    <a:pt x="3582" y="1177"/>
                  </a:lnTo>
                  <a:lnTo>
                    <a:pt x="3575" y="1199"/>
                  </a:lnTo>
                  <a:lnTo>
                    <a:pt x="3566" y="1224"/>
                  </a:lnTo>
                  <a:lnTo>
                    <a:pt x="3557" y="1249"/>
                  </a:lnTo>
                  <a:lnTo>
                    <a:pt x="3553" y="1271"/>
                  </a:lnTo>
                  <a:lnTo>
                    <a:pt x="3563" y="1302"/>
                  </a:lnTo>
                  <a:lnTo>
                    <a:pt x="3582" y="1336"/>
                  </a:lnTo>
                  <a:lnTo>
                    <a:pt x="3603" y="1368"/>
                  </a:lnTo>
                  <a:lnTo>
                    <a:pt x="3625" y="1389"/>
                  </a:lnTo>
                  <a:lnTo>
                    <a:pt x="3650" y="1405"/>
                  </a:lnTo>
                  <a:lnTo>
                    <a:pt x="3682" y="1414"/>
                  </a:lnTo>
                  <a:lnTo>
                    <a:pt x="3713" y="1427"/>
                  </a:lnTo>
                  <a:lnTo>
                    <a:pt x="3735" y="1439"/>
                  </a:lnTo>
                  <a:lnTo>
                    <a:pt x="3747" y="1461"/>
                  </a:lnTo>
                  <a:lnTo>
                    <a:pt x="3756" y="1489"/>
                  </a:lnTo>
                  <a:lnTo>
                    <a:pt x="3766" y="1517"/>
                  </a:lnTo>
                  <a:lnTo>
                    <a:pt x="3778" y="1546"/>
                  </a:lnTo>
                  <a:lnTo>
                    <a:pt x="3794" y="1558"/>
                  </a:lnTo>
                  <a:lnTo>
                    <a:pt x="3810" y="1561"/>
                  </a:lnTo>
                  <a:lnTo>
                    <a:pt x="3828" y="1555"/>
                  </a:lnTo>
                  <a:lnTo>
                    <a:pt x="3850" y="1542"/>
                  </a:lnTo>
                  <a:lnTo>
                    <a:pt x="3869" y="1533"/>
                  </a:lnTo>
                  <a:lnTo>
                    <a:pt x="3884" y="1530"/>
                  </a:lnTo>
                  <a:lnTo>
                    <a:pt x="3903" y="1527"/>
                  </a:lnTo>
                  <a:lnTo>
                    <a:pt x="3925" y="1524"/>
                  </a:lnTo>
                  <a:lnTo>
                    <a:pt x="3947" y="1524"/>
                  </a:lnTo>
                  <a:lnTo>
                    <a:pt x="3963" y="1530"/>
                  </a:lnTo>
                  <a:lnTo>
                    <a:pt x="3972" y="1542"/>
                  </a:lnTo>
                  <a:lnTo>
                    <a:pt x="3981" y="1564"/>
                  </a:lnTo>
                  <a:lnTo>
                    <a:pt x="3988" y="1589"/>
                  </a:lnTo>
                  <a:lnTo>
                    <a:pt x="3988" y="1608"/>
                  </a:lnTo>
                  <a:lnTo>
                    <a:pt x="3984" y="1627"/>
                  </a:lnTo>
                  <a:lnTo>
                    <a:pt x="3975" y="1652"/>
                  </a:lnTo>
                  <a:lnTo>
                    <a:pt x="3966" y="1674"/>
                  </a:lnTo>
                  <a:lnTo>
                    <a:pt x="3959" y="1695"/>
                  </a:lnTo>
                  <a:lnTo>
                    <a:pt x="3963" y="1714"/>
                  </a:lnTo>
                  <a:lnTo>
                    <a:pt x="3975" y="1724"/>
                  </a:lnTo>
                  <a:lnTo>
                    <a:pt x="3997" y="1733"/>
                  </a:lnTo>
                  <a:lnTo>
                    <a:pt x="4022" y="1739"/>
                  </a:lnTo>
                  <a:lnTo>
                    <a:pt x="4038" y="1749"/>
                  </a:lnTo>
                  <a:lnTo>
                    <a:pt x="4044" y="1752"/>
                  </a:lnTo>
                  <a:lnTo>
                    <a:pt x="4050" y="1761"/>
                  </a:lnTo>
                  <a:lnTo>
                    <a:pt x="4056" y="1770"/>
                  </a:lnTo>
                  <a:lnTo>
                    <a:pt x="4062" y="1777"/>
                  </a:lnTo>
                  <a:lnTo>
                    <a:pt x="4066" y="1786"/>
                  </a:lnTo>
                  <a:lnTo>
                    <a:pt x="4056" y="1805"/>
                  </a:lnTo>
                  <a:lnTo>
                    <a:pt x="4041" y="1824"/>
                  </a:lnTo>
                  <a:lnTo>
                    <a:pt x="4025" y="1845"/>
                  </a:lnTo>
                  <a:lnTo>
                    <a:pt x="4019" y="1864"/>
                  </a:lnTo>
                  <a:lnTo>
                    <a:pt x="4022" y="1870"/>
                  </a:lnTo>
                  <a:lnTo>
                    <a:pt x="4028" y="1877"/>
                  </a:lnTo>
                  <a:lnTo>
                    <a:pt x="4034" y="1883"/>
                  </a:lnTo>
                  <a:lnTo>
                    <a:pt x="4019" y="1883"/>
                  </a:lnTo>
                  <a:lnTo>
                    <a:pt x="4006" y="1886"/>
                  </a:lnTo>
                  <a:lnTo>
                    <a:pt x="3994" y="1889"/>
                  </a:lnTo>
                  <a:lnTo>
                    <a:pt x="3984" y="1892"/>
                  </a:lnTo>
                  <a:lnTo>
                    <a:pt x="3978" y="1898"/>
                  </a:lnTo>
                  <a:lnTo>
                    <a:pt x="3972" y="1908"/>
                  </a:lnTo>
                  <a:lnTo>
                    <a:pt x="3966" y="1917"/>
                  </a:lnTo>
                  <a:lnTo>
                    <a:pt x="3959" y="1927"/>
                  </a:lnTo>
                  <a:lnTo>
                    <a:pt x="3950" y="1936"/>
                  </a:lnTo>
                  <a:lnTo>
                    <a:pt x="3944" y="1942"/>
                  </a:lnTo>
                  <a:lnTo>
                    <a:pt x="3928" y="1945"/>
                  </a:lnTo>
                  <a:lnTo>
                    <a:pt x="3909" y="1942"/>
                  </a:lnTo>
                  <a:lnTo>
                    <a:pt x="3891" y="1942"/>
                  </a:lnTo>
                  <a:lnTo>
                    <a:pt x="3875" y="1942"/>
                  </a:lnTo>
                  <a:lnTo>
                    <a:pt x="3853" y="1945"/>
                  </a:lnTo>
                  <a:lnTo>
                    <a:pt x="3825" y="1948"/>
                  </a:lnTo>
                  <a:lnTo>
                    <a:pt x="3797" y="1958"/>
                  </a:lnTo>
                  <a:lnTo>
                    <a:pt x="3775" y="1967"/>
                  </a:lnTo>
                  <a:lnTo>
                    <a:pt x="3756" y="1980"/>
                  </a:lnTo>
                  <a:lnTo>
                    <a:pt x="3756" y="1992"/>
                  </a:lnTo>
                  <a:lnTo>
                    <a:pt x="3756" y="2008"/>
                  </a:lnTo>
                  <a:lnTo>
                    <a:pt x="3760" y="2023"/>
                  </a:lnTo>
                  <a:lnTo>
                    <a:pt x="3756" y="2036"/>
                  </a:lnTo>
                  <a:lnTo>
                    <a:pt x="3744" y="2055"/>
                  </a:lnTo>
                  <a:lnTo>
                    <a:pt x="3722" y="2070"/>
                  </a:lnTo>
                  <a:lnTo>
                    <a:pt x="3703" y="2086"/>
                  </a:lnTo>
                  <a:lnTo>
                    <a:pt x="3682" y="2101"/>
                  </a:lnTo>
                  <a:lnTo>
                    <a:pt x="3653" y="2120"/>
                  </a:lnTo>
                  <a:lnTo>
                    <a:pt x="3625" y="2139"/>
                  </a:lnTo>
                  <a:lnTo>
                    <a:pt x="3600" y="2151"/>
                  </a:lnTo>
                  <a:lnTo>
                    <a:pt x="3578" y="2151"/>
                  </a:lnTo>
                  <a:lnTo>
                    <a:pt x="3557" y="2148"/>
                  </a:lnTo>
                  <a:lnTo>
                    <a:pt x="3532" y="2148"/>
                  </a:lnTo>
                  <a:lnTo>
                    <a:pt x="3513" y="2151"/>
                  </a:lnTo>
                  <a:lnTo>
                    <a:pt x="3497" y="2164"/>
                  </a:lnTo>
                  <a:lnTo>
                    <a:pt x="3485" y="2186"/>
                  </a:lnTo>
                  <a:lnTo>
                    <a:pt x="3469" y="2208"/>
                  </a:lnTo>
                  <a:lnTo>
                    <a:pt x="3457" y="2220"/>
                  </a:lnTo>
                  <a:lnTo>
                    <a:pt x="3444" y="2220"/>
                  </a:lnTo>
                  <a:lnTo>
                    <a:pt x="3429" y="2220"/>
                  </a:lnTo>
                  <a:lnTo>
                    <a:pt x="3410" y="2217"/>
                  </a:lnTo>
                  <a:lnTo>
                    <a:pt x="3400" y="2220"/>
                  </a:lnTo>
                  <a:lnTo>
                    <a:pt x="3391" y="2239"/>
                  </a:lnTo>
                  <a:lnTo>
                    <a:pt x="3385" y="2267"/>
                  </a:lnTo>
                  <a:lnTo>
                    <a:pt x="3388" y="2298"/>
                  </a:lnTo>
                  <a:lnTo>
                    <a:pt x="3391" y="2323"/>
                  </a:lnTo>
                  <a:lnTo>
                    <a:pt x="3397" y="2339"/>
                  </a:lnTo>
                  <a:lnTo>
                    <a:pt x="3410" y="2361"/>
                  </a:lnTo>
                  <a:lnTo>
                    <a:pt x="3419" y="2382"/>
                  </a:lnTo>
                  <a:lnTo>
                    <a:pt x="3425" y="2398"/>
                  </a:lnTo>
                  <a:lnTo>
                    <a:pt x="3422" y="2420"/>
                  </a:lnTo>
                  <a:lnTo>
                    <a:pt x="3410" y="2445"/>
                  </a:lnTo>
                  <a:lnTo>
                    <a:pt x="3397" y="2470"/>
                  </a:lnTo>
                  <a:lnTo>
                    <a:pt x="3385" y="2492"/>
                  </a:lnTo>
                  <a:lnTo>
                    <a:pt x="3379" y="2514"/>
                  </a:lnTo>
                  <a:lnTo>
                    <a:pt x="3385" y="2539"/>
                  </a:lnTo>
                  <a:lnTo>
                    <a:pt x="3394" y="2567"/>
                  </a:lnTo>
                  <a:lnTo>
                    <a:pt x="3400" y="2592"/>
                  </a:lnTo>
                  <a:lnTo>
                    <a:pt x="3400" y="2614"/>
                  </a:lnTo>
                  <a:lnTo>
                    <a:pt x="3404" y="2642"/>
                  </a:lnTo>
                  <a:lnTo>
                    <a:pt x="3404" y="2670"/>
                  </a:lnTo>
                  <a:lnTo>
                    <a:pt x="3410" y="2692"/>
                  </a:lnTo>
                  <a:lnTo>
                    <a:pt x="3422" y="2713"/>
                  </a:lnTo>
                  <a:lnTo>
                    <a:pt x="3441" y="2735"/>
                  </a:lnTo>
                  <a:lnTo>
                    <a:pt x="3460" y="2748"/>
                  </a:lnTo>
                  <a:lnTo>
                    <a:pt x="3475" y="2748"/>
                  </a:lnTo>
                  <a:lnTo>
                    <a:pt x="3494" y="2742"/>
                  </a:lnTo>
                  <a:lnTo>
                    <a:pt x="3510" y="2735"/>
                  </a:lnTo>
                  <a:lnTo>
                    <a:pt x="3525" y="2735"/>
                  </a:lnTo>
                  <a:lnTo>
                    <a:pt x="3541" y="2754"/>
                  </a:lnTo>
                  <a:lnTo>
                    <a:pt x="3557" y="2782"/>
                  </a:lnTo>
                  <a:lnTo>
                    <a:pt x="3563" y="2813"/>
                  </a:lnTo>
                  <a:lnTo>
                    <a:pt x="3566" y="2841"/>
                  </a:lnTo>
                  <a:lnTo>
                    <a:pt x="3560" y="2863"/>
                  </a:lnTo>
                  <a:lnTo>
                    <a:pt x="3550" y="2885"/>
                  </a:lnTo>
                  <a:lnTo>
                    <a:pt x="3535" y="2910"/>
                  </a:lnTo>
                  <a:lnTo>
                    <a:pt x="3522" y="2929"/>
                  </a:lnTo>
                  <a:lnTo>
                    <a:pt x="3507" y="2941"/>
                  </a:lnTo>
                  <a:lnTo>
                    <a:pt x="3488" y="2957"/>
                  </a:lnTo>
                  <a:lnTo>
                    <a:pt x="3466" y="2966"/>
                  </a:lnTo>
                  <a:lnTo>
                    <a:pt x="3447" y="2973"/>
                  </a:lnTo>
                  <a:lnTo>
                    <a:pt x="3435" y="2973"/>
                  </a:lnTo>
                  <a:lnTo>
                    <a:pt x="3416" y="2963"/>
                  </a:lnTo>
                  <a:lnTo>
                    <a:pt x="3400" y="2957"/>
                  </a:lnTo>
                  <a:lnTo>
                    <a:pt x="3388" y="2957"/>
                  </a:lnTo>
                  <a:lnTo>
                    <a:pt x="3372" y="2976"/>
                  </a:lnTo>
                  <a:lnTo>
                    <a:pt x="3366" y="3004"/>
                  </a:lnTo>
                  <a:lnTo>
                    <a:pt x="3363" y="3035"/>
                  </a:lnTo>
                  <a:lnTo>
                    <a:pt x="3363" y="3063"/>
                  </a:lnTo>
                  <a:lnTo>
                    <a:pt x="3363" y="3088"/>
                  </a:lnTo>
                  <a:lnTo>
                    <a:pt x="3366" y="3110"/>
                  </a:lnTo>
                  <a:lnTo>
                    <a:pt x="3372" y="3138"/>
                  </a:lnTo>
                  <a:lnTo>
                    <a:pt x="3382" y="3166"/>
                  </a:lnTo>
                  <a:lnTo>
                    <a:pt x="3388" y="3194"/>
                  </a:lnTo>
                  <a:lnTo>
                    <a:pt x="3388" y="3216"/>
                  </a:lnTo>
                  <a:lnTo>
                    <a:pt x="3375" y="3238"/>
                  </a:lnTo>
                  <a:lnTo>
                    <a:pt x="3357" y="3257"/>
                  </a:lnTo>
                  <a:lnTo>
                    <a:pt x="3335" y="3269"/>
                  </a:lnTo>
                  <a:lnTo>
                    <a:pt x="3316" y="3272"/>
                  </a:lnTo>
                  <a:lnTo>
                    <a:pt x="3294" y="3269"/>
                  </a:lnTo>
                  <a:lnTo>
                    <a:pt x="3269" y="3263"/>
                  </a:lnTo>
                  <a:lnTo>
                    <a:pt x="3251" y="3260"/>
                  </a:lnTo>
                  <a:lnTo>
                    <a:pt x="3241" y="3260"/>
                  </a:lnTo>
                  <a:lnTo>
                    <a:pt x="3232" y="3260"/>
                  </a:lnTo>
                  <a:lnTo>
                    <a:pt x="3222" y="3260"/>
                  </a:lnTo>
                  <a:lnTo>
                    <a:pt x="3216" y="3260"/>
                  </a:lnTo>
                  <a:lnTo>
                    <a:pt x="3201" y="3276"/>
                  </a:lnTo>
                  <a:lnTo>
                    <a:pt x="3185" y="3294"/>
                  </a:lnTo>
                  <a:lnTo>
                    <a:pt x="3173" y="3313"/>
                  </a:lnTo>
                  <a:lnTo>
                    <a:pt x="3154" y="3335"/>
                  </a:lnTo>
                  <a:lnTo>
                    <a:pt x="3132" y="3360"/>
                  </a:lnTo>
                  <a:lnTo>
                    <a:pt x="3116" y="3385"/>
                  </a:lnTo>
                  <a:lnTo>
                    <a:pt x="3113" y="3400"/>
                  </a:lnTo>
                  <a:lnTo>
                    <a:pt x="3113" y="3422"/>
                  </a:lnTo>
                  <a:lnTo>
                    <a:pt x="3110" y="3438"/>
                  </a:lnTo>
                  <a:lnTo>
                    <a:pt x="3104" y="3447"/>
                  </a:lnTo>
                  <a:lnTo>
                    <a:pt x="3098" y="3457"/>
                  </a:lnTo>
                  <a:lnTo>
                    <a:pt x="3088" y="3466"/>
                  </a:lnTo>
                  <a:lnTo>
                    <a:pt x="3079" y="347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Freeform 31">
              <a:extLst>
                <a:ext uri="{FF2B5EF4-FFF2-40B4-BE49-F238E27FC236}">
                  <a16:creationId xmlns:a16="http://schemas.microsoft.com/office/drawing/2014/main" id="{FD49AB18-67C8-4C7A-B41C-6E99FF319325}"/>
                </a:ext>
              </a:extLst>
            </p:cNvPr>
            <p:cNvSpPr>
              <a:spLocks/>
            </p:cNvSpPr>
            <p:nvPr/>
          </p:nvSpPr>
          <p:spPr bwMode="auto">
            <a:xfrm>
              <a:off x="18567401" y="-15149513"/>
              <a:ext cx="7053263" cy="5770563"/>
            </a:xfrm>
            <a:custGeom>
              <a:avLst/>
              <a:gdLst>
                <a:gd name="T0" fmla="*/ 4393 w 4443"/>
                <a:gd name="T1" fmla="*/ 1493 h 3635"/>
                <a:gd name="T2" fmla="*/ 4234 w 4443"/>
                <a:gd name="T3" fmla="*/ 1721 h 3635"/>
                <a:gd name="T4" fmla="*/ 4100 w 4443"/>
                <a:gd name="T5" fmla="*/ 1833 h 3635"/>
                <a:gd name="T6" fmla="*/ 4112 w 4443"/>
                <a:gd name="T7" fmla="*/ 2183 h 3635"/>
                <a:gd name="T8" fmla="*/ 4009 w 4443"/>
                <a:gd name="T9" fmla="*/ 2395 h 3635"/>
                <a:gd name="T10" fmla="*/ 3862 w 4443"/>
                <a:gd name="T11" fmla="*/ 2349 h 3635"/>
                <a:gd name="T12" fmla="*/ 3638 w 4443"/>
                <a:gd name="T13" fmla="*/ 2455 h 3635"/>
                <a:gd name="T14" fmla="*/ 3522 w 4443"/>
                <a:gd name="T15" fmla="*/ 2602 h 3635"/>
                <a:gd name="T16" fmla="*/ 3653 w 4443"/>
                <a:gd name="T17" fmla="*/ 2817 h 3635"/>
                <a:gd name="T18" fmla="*/ 3478 w 4443"/>
                <a:gd name="T19" fmla="*/ 2923 h 3635"/>
                <a:gd name="T20" fmla="*/ 3416 w 4443"/>
                <a:gd name="T21" fmla="*/ 3104 h 3635"/>
                <a:gd name="T22" fmla="*/ 3528 w 4443"/>
                <a:gd name="T23" fmla="*/ 3257 h 3635"/>
                <a:gd name="T24" fmla="*/ 3378 w 4443"/>
                <a:gd name="T25" fmla="*/ 3376 h 3635"/>
                <a:gd name="T26" fmla="*/ 3247 w 4443"/>
                <a:gd name="T27" fmla="*/ 3623 h 3635"/>
                <a:gd name="T28" fmla="*/ 3010 w 4443"/>
                <a:gd name="T29" fmla="*/ 3451 h 3635"/>
                <a:gd name="T30" fmla="*/ 2770 w 4443"/>
                <a:gd name="T31" fmla="*/ 3192 h 3635"/>
                <a:gd name="T32" fmla="*/ 2554 w 4443"/>
                <a:gd name="T33" fmla="*/ 3023 h 3635"/>
                <a:gd name="T34" fmla="*/ 2339 w 4443"/>
                <a:gd name="T35" fmla="*/ 3120 h 3635"/>
                <a:gd name="T36" fmla="*/ 2095 w 4443"/>
                <a:gd name="T37" fmla="*/ 3148 h 3635"/>
                <a:gd name="T38" fmla="*/ 1755 w 4443"/>
                <a:gd name="T39" fmla="*/ 3057 h 3635"/>
                <a:gd name="T40" fmla="*/ 1439 w 4443"/>
                <a:gd name="T41" fmla="*/ 2829 h 3635"/>
                <a:gd name="T42" fmla="*/ 1183 w 4443"/>
                <a:gd name="T43" fmla="*/ 2826 h 3635"/>
                <a:gd name="T44" fmla="*/ 818 w 4443"/>
                <a:gd name="T45" fmla="*/ 2895 h 3635"/>
                <a:gd name="T46" fmla="*/ 531 w 4443"/>
                <a:gd name="T47" fmla="*/ 2804 h 3635"/>
                <a:gd name="T48" fmla="*/ 521 w 4443"/>
                <a:gd name="T49" fmla="*/ 2626 h 3635"/>
                <a:gd name="T50" fmla="*/ 640 w 4443"/>
                <a:gd name="T51" fmla="*/ 2617 h 3635"/>
                <a:gd name="T52" fmla="*/ 521 w 4443"/>
                <a:gd name="T53" fmla="*/ 2364 h 3635"/>
                <a:gd name="T54" fmla="*/ 577 w 4443"/>
                <a:gd name="T55" fmla="*/ 2030 h 3635"/>
                <a:gd name="T56" fmla="*/ 477 w 4443"/>
                <a:gd name="T57" fmla="*/ 1808 h 3635"/>
                <a:gd name="T58" fmla="*/ 556 w 4443"/>
                <a:gd name="T59" fmla="*/ 1605 h 3635"/>
                <a:gd name="T60" fmla="*/ 512 w 4443"/>
                <a:gd name="T61" fmla="*/ 1530 h 3635"/>
                <a:gd name="T62" fmla="*/ 484 w 4443"/>
                <a:gd name="T63" fmla="*/ 1259 h 3635"/>
                <a:gd name="T64" fmla="*/ 306 w 4443"/>
                <a:gd name="T65" fmla="*/ 931 h 3635"/>
                <a:gd name="T66" fmla="*/ 65 w 4443"/>
                <a:gd name="T67" fmla="*/ 678 h 3635"/>
                <a:gd name="T68" fmla="*/ 268 w 4443"/>
                <a:gd name="T69" fmla="*/ 347 h 3635"/>
                <a:gd name="T70" fmla="*/ 403 w 4443"/>
                <a:gd name="T71" fmla="*/ 444 h 3635"/>
                <a:gd name="T72" fmla="*/ 387 w 4443"/>
                <a:gd name="T73" fmla="*/ 313 h 3635"/>
                <a:gd name="T74" fmla="*/ 259 w 4443"/>
                <a:gd name="T75" fmla="*/ 160 h 3635"/>
                <a:gd name="T76" fmla="*/ 412 w 4443"/>
                <a:gd name="T77" fmla="*/ 53 h 3635"/>
                <a:gd name="T78" fmla="*/ 680 w 4443"/>
                <a:gd name="T79" fmla="*/ 19 h 3635"/>
                <a:gd name="T80" fmla="*/ 849 w 4443"/>
                <a:gd name="T81" fmla="*/ 206 h 3635"/>
                <a:gd name="T82" fmla="*/ 958 w 4443"/>
                <a:gd name="T83" fmla="*/ 222 h 3635"/>
                <a:gd name="T84" fmla="*/ 1108 w 4443"/>
                <a:gd name="T85" fmla="*/ 438 h 3635"/>
                <a:gd name="T86" fmla="*/ 1439 w 4443"/>
                <a:gd name="T87" fmla="*/ 406 h 3635"/>
                <a:gd name="T88" fmla="*/ 1670 w 4443"/>
                <a:gd name="T89" fmla="*/ 456 h 3635"/>
                <a:gd name="T90" fmla="*/ 1545 w 4443"/>
                <a:gd name="T91" fmla="*/ 541 h 3635"/>
                <a:gd name="T92" fmla="*/ 1639 w 4443"/>
                <a:gd name="T93" fmla="*/ 612 h 3635"/>
                <a:gd name="T94" fmla="*/ 1905 w 4443"/>
                <a:gd name="T95" fmla="*/ 653 h 3635"/>
                <a:gd name="T96" fmla="*/ 2023 w 4443"/>
                <a:gd name="T97" fmla="*/ 628 h 3635"/>
                <a:gd name="T98" fmla="*/ 2114 w 4443"/>
                <a:gd name="T99" fmla="*/ 737 h 3635"/>
                <a:gd name="T100" fmla="*/ 2198 w 4443"/>
                <a:gd name="T101" fmla="*/ 762 h 3635"/>
                <a:gd name="T102" fmla="*/ 2267 w 4443"/>
                <a:gd name="T103" fmla="*/ 862 h 3635"/>
                <a:gd name="T104" fmla="*/ 2432 w 4443"/>
                <a:gd name="T105" fmla="*/ 825 h 3635"/>
                <a:gd name="T106" fmla="*/ 2632 w 4443"/>
                <a:gd name="T107" fmla="*/ 797 h 3635"/>
                <a:gd name="T108" fmla="*/ 2938 w 4443"/>
                <a:gd name="T109" fmla="*/ 865 h 3635"/>
                <a:gd name="T110" fmla="*/ 3160 w 4443"/>
                <a:gd name="T111" fmla="*/ 862 h 3635"/>
                <a:gd name="T112" fmla="*/ 3347 w 4443"/>
                <a:gd name="T113" fmla="*/ 787 h 3635"/>
                <a:gd name="T114" fmla="*/ 3728 w 4443"/>
                <a:gd name="T115" fmla="*/ 765 h 3635"/>
                <a:gd name="T116" fmla="*/ 3916 w 4443"/>
                <a:gd name="T117" fmla="*/ 787 h 3635"/>
                <a:gd name="T118" fmla="*/ 4190 w 4443"/>
                <a:gd name="T119" fmla="*/ 953 h 3635"/>
                <a:gd name="T120" fmla="*/ 4325 w 4443"/>
                <a:gd name="T121" fmla="*/ 981 h 3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3" h="3635">
                  <a:moveTo>
                    <a:pt x="4440" y="1165"/>
                  </a:moveTo>
                  <a:lnTo>
                    <a:pt x="4443" y="1193"/>
                  </a:lnTo>
                  <a:lnTo>
                    <a:pt x="4440" y="1228"/>
                  </a:lnTo>
                  <a:lnTo>
                    <a:pt x="4434" y="1253"/>
                  </a:lnTo>
                  <a:lnTo>
                    <a:pt x="4415" y="1268"/>
                  </a:lnTo>
                  <a:lnTo>
                    <a:pt x="4393" y="1281"/>
                  </a:lnTo>
                  <a:lnTo>
                    <a:pt x="4375" y="1296"/>
                  </a:lnTo>
                  <a:lnTo>
                    <a:pt x="4365" y="1324"/>
                  </a:lnTo>
                  <a:lnTo>
                    <a:pt x="4359" y="1359"/>
                  </a:lnTo>
                  <a:lnTo>
                    <a:pt x="4362" y="1387"/>
                  </a:lnTo>
                  <a:lnTo>
                    <a:pt x="4368" y="1406"/>
                  </a:lnTo>
                  <a:lnTo>
                    <a:pt x="4381" y="1424"/>
                  </a:lnTo>
                  <a:lnTo>
                    <a:pt x="4387" y="1443"/>
                  </a:lnTo>
                  <a:lnTo>
                    <a:pt x="4393" y="1465"/>
                  </a:lnTo>
                  <a:lnTo>
                    <a:pt x="4393" y="1493"/>
                  </a:lnTo>
                  <a:lnTo>
                    <a:pt x="4390" y="1512"/>
                  </a:lnTo>
                  <a:lnTo>
                    <a:pt x="4378" y="1534"/>
                  </a:lnTo>
                  <a:lnTo>
                    <a:pt x="4353" y="1555"/>
                  </a:lnTo>
                  <a:lnTo>
                    <a:pt x="4334" y="1574"/>
                  </a:lnTo>
                  <a:lnTo>
                    <a:pt x="4325" y="1580"/>
                  </a:lnTo>
                  <a:lnTo>
                    <a:pt x="4315" y="1590"/>
                  </a:lnTo>
                  <a:lnTo>
                    <a:pt x="4306" y="1599"/>
                  </a:lnTo>
                  <a:lnTo>
                    <a:pt x="4297" y="1609"/>
                  </a:lnTo>
                  <a:lnTo>
                    <a:pt x="4287" y="1618"/>
                  </a:lnTo>
                  <a:lnTo>
                    <a:pt x="4275" y="1640"/>
                  </a:lnTo>
                  <a:lnTo>
                    <a:pt x="4259" y="1668"/>
                  </a:lnTo>
                  <a:lnTo>
                    <a:pt x="4247" y="1693"/>
                  </a:lnTo>
                  <a:lnTo>
                    <a:pt x="4243" y="1699"/>
                  </a:lnTo>
                  <a:lnTo>
                    <a:pt x="4240" y="1712"/>
                  </a:lnTo>
                  <a:lnTo>
                    <a:pt x="4234" y="1721"/>
                  </a:lnTo>
                  <a:lnTo>
                    <a:pt x="4231" y="1730"/>
                  </a:lnTo>
                  <a:lnTo>
                    <a:pt x="4228" y="1737"/>
                  </a:lnTo>
                  <a:lnTo>
                    <a:pt x="4222" y="1743"/>
                  </a:lnTo>
                  <a:lnTo>
                    <a:pt x="4215" y="1743"/>
                  </a:lnTo>
                  <a:lnTo>
                    <a:pt x="4206" y="1743"/>
                  </a:lnTo>
                  <a:lnTo>
                    <a:pt x="4197" y="1740"/>
                  </a:lnTo>
                  <a:lnTo>
                    <a:pt x="4187" y="1737"/>
                  </a:lnTo>
                  <a:lnTo>
                    <a:pt x="4181" y="1733"/>
                  </a:lnTo>
                  <a:lnTo>
                    <a:pt x="4172" y="1733"/>
                  </a:lnTo>
                  <a:lnTo>
                    <a:pt x="4156" y="1740"/>
                  </a:lnTo>
                  <a:lnTo>
                    <a:pt x="4134" y="1752"/>
                  </a:lnTo>
                  <a:lnTo>
                    <a:pt x="4122" y="1765"/>
                  </a:lnTo>
                  <a:lnTo>
                    <a:pt x="4109" y="1787"/>
                  </a:lnTo>
                  <a:lnTo>
                    <a:pt x="4103" y="1811"/>
                  </a:lnTo>
                  <a:lnTo>
                    <a:pt x="4100" y="1833"/>
                  </a:lnTo>
                  <a:lnTo>
                    <a:pt x="4106" y="1852"/>
                  </a:lnTo>
                  <a:lnTo>
                    <a:pt x="4122" y="1871"/>
                  </a:lnTo>
                  <a:lnTo>
                    <a:pt x="4134" y="1893"/>
                  </a:lnTo>
                  <a:lnTo>
                    <a:pt x="4144" y="1908"/>
                  </a:lnTo>
                  <a:lnTo>
                    <a:pt x="4144" y="1933"/>
                  </a:lnTo>
                  <a:lnTo>
                    <a:pt x="4137" y="1961"/>
                  </a:lnTo>
                  <a:lnTo>
                    <a:pt x="4131" y="1989"/>
                  </a:lnTo>
                  <a:lnTo>
                    <a:pt x="4125" y="2014"/>
                  </a:lnTo>
                  <a:lnTo>
                    <a:pt x="4119" y="2030"/>
                  </a:lnTo>
                  <a:lnTo>
                    <a:pt x="4109" y="2052"/>
                  </a:lnTo>
                  <a:lnTo>
                    <a:pt x="4103" y="2071"/>
                  </a:lnTo>
                  <a:lnTo>
                    <a:pt x="4103" y="2096"/>
                  </a:lnTo>
                  <a:lnTo>
                    <a:pt x="4106" y="2127"/>
                  </a:lnTo>
                  <a:lnTo>
                    <a:pt x="4109" y="2158"/>
                  </a:lnTo>
                  <a:lnTo>
                    <a:pt x="4112" y="2183"/>
                  </a:lnTo>
                  <a:lnTo>
                    <a:pt x="4122" y="2208"/>
                  </a:lnTo>
                  <a:lnTo>
                    <a:pt x="4134" y="2239"/>
                  </a:lnTo>
                  <a:lnTo>
                    <a:pt x="4150" y="2271"/>
                  </a:lnTo>
                  <a:lnTo>
                    <a:pt x="4156" y="2295"/>
                  </a:lnTo>
                  <a:lnTo>
                    <a:pt x="4156" y="2317"/>
                  </a:lnTo>
                  <a:lnTo>
                    <a:pt x="4156" y="2345"/>
                  </a:lnTo>
                  <a:lnTo>
                    <a:pt x="4147" y="2364"/>
                  </a:lnTo>
                  <a:lnTo>
                    <a:pt x="4128" y="2380"/>
                  </a:lnTo>
                  <a:lnTo>
                    <a:pt x="4103" y="2392"/>
                  </a:lnTo>
                  <a:lnTo>
                    <a:pt x="4078" y="2395"/>
                  </a:lnTo>
                  <a:lnTo>
                    <a:pt x="4062" y="2392"/>
                  </a:lnTo>
                  <a:lnTo>
                    <a:pt x="4040" y="2386"/>
                  </a:lnTo>
                  <a:lnTo>
                    <a:pt x="4022" y="2383"/>
                  </a:lnTo>
                  <a:lnTo>
                    <a:pt x="4015" y="2386"/>
                  </a:lnTo>
                  <a:lnTo>
                    <a:pt x="4009" y="2395"/>
                  </a:lnTo>
                  <a:lnTo>
                    <a:pt x="4003" y="2402"/>
                  </a:lnTo>
                  <a:lnTo>
                    <a:pt x="3997" y="2405"/>
                  </a:lnTo>
                  <a:lnTo>
                    <a:pt x="3987" y="2408"/>
                  </a:lnTo>
                  <a:lnTo>
                    <a:pt x="3978" y="2408"/>
                  </a:lnTo>
                  <a:lnTo>
                    <a:pt x="3966" y="2408"/>
                  </a:lnTo>
                  <a:lnTo>
                    <a:pt x="3956" y="2405"/>
                  </a:lnTo>
                  <a:lnTo>
                    <a:pt x="3947" y="2402"/>
                  </a:lnTo>
                  <a:lnTo>
                    <a:pt x="3944" y="2399"/>
                  </a:lnTo>
                  <a:lnTo>
                    <a:pt x="3937" y="2389"/>
                  </a:lnTo>
                  <a:lnTo>
                    <a:pt x="3934" y="2383"/>
                  </a:lnTo>
                  <a:lnTo>
                    <a:pt x="3931" y="2374"/>
                  </a:lnTo>
                  <a:lnTo>
                    <a:pt x="3925" y="2370"/>
                  </a:lnTo>
                  <a:lnTo>
                    <a:pt x="3909" y="2361"/>
                  </a:lnTo>
                  <a:lnTo>
                    <a:pt x="3887" y="2352"/>
                  </a:lnTo>
                  <a:lnTo>
                    <a:pt x="3862" y="2349"/>
                  </a:lnTo>
                  <a:lnTo>
                    <a:pt x="3844" y="2349"/>
                  </a:lnTo>
                  <a:lnTo>
                    <a:pt x="3837" y="2352"/>
                  </a:lnTo>
                  <a:lnTo>
                    <a:pt x="3828" y="2361"/>
                  </a:lnTo>
                  <a:lnTo>
                    <a:pt x="3819" y="2370"/>
                  </a:lnTo>
                  <a:lnTo>
                    <a:pt x="3813" y="2380"/>
                  </a:lnTo>
                  <a:lnTo>
                    <a:pt x="3806" y="2389"/>
                  </a:lnTo>
                  <a:lnTo>
                    <a:pt x="3797" y="2405"/>
                  </a:lnTo>
                  <a:lnTo>
                    <a:pt x="3784" y="2427"/>
                  </a:lnTo>
                  <a:lnTo>
                    <a:pt x="3772" y="2439"/>
                  </a:lnTo>
                  <a:lnTo>
                    <a:pt x="3750" y="2442"/>
                  </a:lnTo>
                  <a:lnTo>
                    <a:pt x="3725" y="2439"/>
                  </a:lnTo>
                  <a:lnTo>
                    <a:pt x="3697" y="2433"/>
                  </a:lnTo>
                  <a:lnTo>
                    <a:pt x="3675" y="2433"/>
                  </a:lnTo>
                  <a:lnTo>
                    <a:pt x="3660" y="2442"/>
                  </a:lnTo>
                  <a:lnTo>
                    <a:pt x="3638" y="2455"/>
                  </a:lnTo>
                  <a:lnTo>
                    <a:pt x="3619" y="2470"/>
                  </a:lnTo>
                  <a:lnTo>
                    <a:pt x="3600" y="2480"/>
                  </a:lnTo>
                  <a:lnTo>
                    <a:pt x="3594" y="2480"/>
                  </a:lnTo>
                  <a:lnTo>
                    <a:pt x="3585" y="2480"/>
                  </a:lnTo>
                  <a:lnTo>
                    <a:pt x="3575" y="2480"/>
                  </a:lnTo>
                  <a:lnTo>
                    <a:pt x="3566" y="2480"/>
                  </a:lnTo>
                  <a:lnTo>
                    <a:pt x="3556" y="2483"/>
                  </a:lnTo>
                  <a:lnTo>
                    <a:pt x="3550" y="2489"/>
                  </a:lnTo>
                  <a:lnTo>
                    <a:pt x="3541" y="2495"/>
                  </a:lnTo>
                  <a:lnTo>
                    <a:pt x="3535" y="2505"/>
                  </a:lnTo>
                  <a:lnTo>
                    <a:pt x="3528" y="2514"/>
                  </a:lnTo>
                  <a:lnTo>
                    <a:pt x="3522" y="2523"/>
                  </a:lnTo>
                  <a:lnTo>
                    <a:pt x="3519" y="2545"/>
                  </a:lnTo>
                  <a:lnTo>
                    <a:pt x="3519" y="2573"/>
                  </a:lnTo>
                  <a:lnTo>
                    <a:pt x="3522" y="2602"/>
                  </a:lnTo>
                  <a:lnTo>
                    <a:pt x="3522" y="2626"/>
                  </a:lnTo>
                  <a:lnTo>
                    <a:pt x="3519" y="2651"/>
                  </a:lnTo>
                  <a:lnTo>
                    <a:pt x="3516" y="2680"/>
                  </a:lnTo>
                  <a:lnTo>
                    <a:pt x="3513" y="2708"/>
                  </a:lnTo>
                  <a:lnTo>
                    <a:pt x="3516" y="2730"/>
                  </a:lnTo>
                  <a:lnTo>
                    <a:pt x="3519" y="2736"/>
                  </a:lnTo>
                  <a:lnTo>
                    <a:pt x="3528" y="2745"/>
                  </a:lnTo>
                  <a:lnTo>
                    <a:pt x="3538" y="2751"/>
                  </a:lnTo>
                  <a:lnTo>
                    <a:pt x="3547" y="2758"/>
                  </a:lnTo>
                  <a:lnTo>
                    <a:pt x="3553" y="2764"/>
                  </a:lnTo>
                  <a:lnTo>
                    <a:pt x="3572" y="2773"/>
                  </a:lnTo>
                  <a:lnTo>
                    <a:pt x="3597" y="2779"/>
                  </a:lnTo>
                  <a:lnTo>
                    <a:pt x="3622" y="2792"/>
                  </a:lnTo>
                  <a:lnTo>
                    <a:pt x="3641" y="2801"/>
                  </a:lnTo>
                  <a:lnTo>
                    <a:pt x="3653" y="2817"/>
                  </a:lnTo>
                  <a:lnTo>
                    <a:pt x="3663" y="2836"/>
                  </a:lnTo>
                  <a:lnTo>
                    <a:pt x="3675" y="2858"/>
                  </a:lnTo>
                  <a:lnTo>
                    <a:pt x="3681" y="2879"/>
                  </a:lnTo>
                  <a:lnTo>
                    <a:pt x="3678" y="2895"/>
                  </a:lnTo>
                  <a:lnTo>
                    <a:pt x="3669" y="2908"/>
                  </a:lnTo>
                  <a:lnTo>
                    <a:pt x="3647" y="2917"/>
                  </a:lnTo>
                  <a:lnTo>
                    <a:pt x="3628" y="2923"/>
                  </a:lnTo>
                  <a:lnTo>
                    <a:pt x="3610" y="2926"/>
                  </a:lnTo>
                  <a:lnTo>
                    <a:pt x="3591" y="2920"/>
                  </a:lnTo>
                  <a:lnTo>
                    <a:pt x="3566" y="2914"/>
                  </a:lnTo>
                  <a:lnTo>
                    <a:pt x="3547" y="2908"/>
                  </a:lnTo>
                  <a:lnTo>
                    <a:pt x="3525" y="2908"/>
                  </a:lnTo>
                  <a:lnTo>
                    <a:pt x="3503" y="2911"/>
                  </a:lnTo>
                  <a:lnTo>
                    <a:pt x="3485" y="2917"/>
                  </a:lnTo>
                  <a:lnTo>
                    <a:pt x="3478" y="2923"/>
                  </a:lnTo>
                  <a:lnTo>
                    <a:pt x="3475" y="2933"/>
                  </a:lnTo>
                  <a:lnTo>
                    <a:pt x="3469" y="2945"/>
                  </a:lnTo>
                  <a:lnTo>
                    <a:pt x="3466" y="2954"/>
                  </a:lnTo>
                  <a:lnTo>
                    <a:pt x="3463" y="2964"/>
                  </a:lnTo>
                  <a:lnTo>
                    <a:pt x="3466" y="2982"/>
                  </a:lnTo>
                  <a:lnTo>
                    <a:pt x="3472" y="3004"/>
                  </a:lnTo>
                  <a:lnTo>
                    <a:pt x="3472" y="3020"/>
                  </a:lnTo>
                  <a:lnTo>
                    <a:pt x="3466" y="3026"/>
                  </a:lnTo>
                  <a:lnTo>
                    <a:pt x="3460" y="3032"/>
                  </a:lnTo>
                  <a:lnTo>
                    <a:pt x="3453" y="3036"/>
                  </a:lnTo>
                  <a:lnTo>
                    <a:pt x="3444" y="3042"/>
                  </a:lnTo>
                  <a:lnTo>
                    <a:pt x="3438" y="3048"/>
                  </a:lnTo>
                  <a:lnTo>
                    <a:pt x="3432" y="3051"/>
                  </a:lnTo>
                  <a:lnTo>
                    <a:pt x="3422" y="3076"/>
                  </a:lnTo>
                  <a:lnTo>
                    <a:pt x="3416" y="3104"/>
                  </a:lnTo>
                  <a:lnTo>
                    <a:pt x="3413" y="3129"/>
                  </a:lnTo>
                  <a:lnTo>
                    <a:pt x="3419" y="3148"/>
                  </a:lnTo>
                  <a:lnTo>
                    <a:pt x="3428" y="3167"/>
                  </a:lnTo>
                  <a:lnTo>
                    <a:pt x="3438" y="3179"/>
                  </a:lnTo>
                  <a:lnTo>
                    <a:pt x="3453" y="3182"/>
                  </a:lnTo>
                  <a:lnTo>
                    <a:pt x="3469" y="3182"/>
                  </a:lnTo>
                  <a:lnTo>
                    <a:pt x="3488" y="3179"/>
                  </a:lnTo>
                  <a:lnTo>
                    <a:pt x="3500" y="3179"/>
                  </a:lnTo>
                  <a:lnTo>
                    <a:pt x="3510" y="3182"/>
                  </a:lnTo>
                  <a:lnTo>
                    <a:pt x="3519" y="3189"/>
                  </a:lnTo>
                  <a:lnTo>
                    <a:pt x="3528" y="3195"/>
                  </a:lnTo>
                  <a:lnTo>
                    <a:pt x="3531" y="3201"/>
                  </a:lnTo>
                  <a:lnTo>
                    <a:pt x="3535" y="3220"/>
                  </a:lnTo>
                  <a:lnTo>
                    <a:pt x="3535" y="3242"/>
                  </a:lnTo>
                  <a:lnTo>
                    <a:pt x="3528" y="3257"/>
                  </a:lnTo>
                  <a:lnTo>
                    <a:pt x="3525" y="3267"/>
                  </a:lnTo>
                  <a:lnTo>
                    <a:pt x="3519" y="3276"/>
                  </a:lnTo>
                  <a:lnTo>
                    <a:pt x="3510" y="3285"/>
                  </a:lnTo>
                  <a:lnTo>
                    <a:pt x="3500" y="3295"/>
                  </a:lnTo>
                  <a:lnTo>
                    <a:pt x="3494" y="3304"/>
                  </a:lnTo>
                  <a:lnTo>
                    <a:pt x="3478" y="3323"/>
                  </a:lnTo>
                  <a:lnTo>
                    <a:pt x="3457" y="3345"/>
                  </a:lnTo>
                  <a:lnTo>
                    <a:pt x="3435" y="3360"/>
                  </a:lnTo>
                  <a:lnTo>
                    <a:pt x="3428" y="3360"/>
                  </a:lnTo>
                  <a:lnTo>
                    <a:pt x="3422" y="3360"/>
                  </a:lnTo>
                  <a:lnTo>
                    <a:pt x="3413" y="3357"/>
                  </a:lnTo>
                  <a:lnTo>
                    <a:pt x="3407" y="3357"/>
                  </a:lnTo>
                  <a:lnTo>
                    <a:pt x="3397" y="3357"/>
                  </a:lnTo>
                  <a:lnTo>
                    <a:pt x="3394" y="3357"/>
                  </a:lnTo>
                  <a:lnTo>
                    <a:pt x="3378" y="3376"/>
                  </a:lnTo>
                  <a:lnTo>
                    <a:pt x="3369" y="3401"/>
                  </a:lnTo>
                  <a:lnTo>
                    <a:pt x="3363" y="3426"/>
                  </a:lnTo>
                  <a:lnTo>
                    <a:pt x="3353" y="3448"/>
                  </a:lnTo>
                  <a:lnTo>
                    <a:pt x="3347" y="3470"/>
                  </a:lnTo>
                  <a:lnTo>
                    <a:pt x="3338" y="3495"/>
                  </a:lnTo>
                  <a:lnTo>
                    <a:pt x="3328" y="3510"/>
                  </a:lnTo>
                  <a:lnTo>
                    <a:pt x="3316" y="3516"/>
                  </a:lnTo>
                  <a:lnTo>
                    <a:pt x="3300" y="3513"/>
                  </a:lnTo>
                  <a:lnTo>
                    <a:pt x="3285" y="3513"/>
                  </a:lnTo>
                  <a:lnTo>
                    <a:pt x="3272" y="3516"/>
                  </a:lnTo>
                  <a:lnTo>
                    <a:pt x="3260" y="3535"/>
                  </a:lnTo>
                  <a:lnTo>
                    <a:pt x="3254" y="3560"/>
                  </a:lnTo>
                  <a:lnTo>
                    <a:pt x="3250" y="3588"/>
                  </a:lnTo>
                  <a:lnTo>
                    <a:pt x="3247" y="3610"/>
                  </a:lnTo>
                  <a:lnTo>
                    <a:pt x="3247" y="3623"/>
                  </a:lnTo>
                  <a:lnTo>
                    <a:pt x="3247" y="3635"/>
                  </a:lnTo>
                  <a:lnTo>
                    <a:pt x="3235" y="3635"/>
                  </a:lnTo>
                  <a:lnTo>
                    <a:pt x="3222" y="3635"/>
                  </a:lnTo>
                  <a:lnTo>
                    <a:pt x="3213" y="3635"/>
                  </a:lnTo>
                  <a:lnTo>
                    <a:pt x="3188" y="3632"/>
                  </a:lnTo>
                  <a:lnTo>
                    <a:pt x="3157" y="3626"/>
                  </a:lnTo>
                  <a:lnTo>
                    <a:pt x="3135" y="3613"/>
                  </a:lnTo>
                  <a:lnTo>
                    <a:pt x="3126" y="3594"/>
                  </a:lnTo>
                  <a:lnTo>
                    <a:pt x="3116" y="3570"/>
                  </a:lnTo>
                  <a:lnTo>
                    <a:pt x="3110" y="3541"/>
                  </a:lnTo>
                  <a:lnTo>
                    <a:pt x="3101" y="3523"/>
                  </a:lnTo>
                  <a:lnTo>
                    <a:pt x="3082" y="3501"/>
                  </a:lnTo>
                  <a:lnTo>
                    <a:pt x="3054" y="3476"/>
                  </a:lnTo>
                  <a:lnTo>
                    <a:pt x="3032" y="3460"/>
                  </a:lnTo>
                  <a:lnTo>
                    <a:pt x="3010" y="3451"/>
                  </a:lnTo>
                  <a:lnTo>
                    <a:pt x="2982" y="3438"/>
                  </a:lnTo>
                  <a:lnTo>
                    <a:pt x="2954" y="3429"/>
                  </a:lnTo>
                  <a:lnTo>
                    <a:pt x="2935" y="3417"/>
                  </a:lnTo>
                  <a:lnTo>
                    <a:pt x="2919" y="3398"/>
                  </a:lnTo>
                  <a:lnTo>
                    <a:pt x="2907" y="3373"/>
                  </a:lnTo>
                  <a:lnTo>
                    <a:pt x="2894" y="3348"/>
                  </a:lnTo>
                  <a:lnTo>
                    <a:pt x="2879" y="3329"/>
                  </a:lnTo>
                  <a:lnTo>
                    <a:pt x="2860" y="3320"/>
                  </a:lnTo>
                  <a:lnTo>
                    <a:pt x="2835" y="3313"/>
                  </a:lnTo>
                  <a:lnTo>
                    <a:pt x="2816" y="3304"/>
                  </a:lnTo>
                  <a:lnTo>
                    <a:pt x="2801" y="3285"/>
                  </a:lnTo>
                  <a:lnTo>
                    <a:pt x="2788" y="3263"/>
                  </a:lnTo>
                  <a:lnTo>
                    <a:pt x="2776" y="3235"/>
                  </a:lnTo>
                  <a:lnTo>
                    <a:pt x="2770" y="3214"/>
                  </a:lnTo>
                  <a:lnTo>
                    <a:pt x="2770" y="3192"/>
                  </a:lnTo>
                  <a:lnTo>
                    <a:pt x="2770" y="3167"/>
                  </a:lnTo>
                  <a:lnTo>
                    <a:pt x="2773" y="3139"/>
                  </a:lnTo>
                  <a:lnTo>
                    <a:pt x="2770" y="3117"/>
                  </a:lnTo>
                  <a:lnTo>
                    <a:pt x="2760" y="3092"/>
                  </a:lnTo>
                  <a:lnTo>
                    <a:pt x="2745" y="3064"/>
                  </a:lnTo>
                  <a:lnTo>
                    <a:pt x="2726" y="3042"/>
                  </a:lnTo>
                  <a:lnTo>
                    <a:pt x="2710" y="3026"/>
                  </a:lnTo>
                  <a:lnTo>
                    <a:pt x="2688" y="3007"/>
                  </a:lnTo>
                  <a:lnTo>
                    <a:pt x="2663" y="2995"/>
                  </a:lnTo>
                  <a:lnTo>
                    <a:pt x="2642" y="2989"/>
                  </a:lnTo>
                  <a:lnTo>
                    <a:pt x="2623" y="2989"/>
                  </a:lnTo>
                  <a:lnTo>
                    <a:pt x="2598" y="2995"/>
                  </a:lnTo>
                  <a:lnTo>
                    <a:pt x="2576" y="3007"/>
                  </a:lnTo>
                  <a:lnTo>
                    <a:pt x="2557" y="3017"/>
                  </a:lnTo>
                  <a:lnTo>
                    <a:pt x="2554" y="3023"/>
                  </a:lnTo>
                  <a:lnTo>
                    <a:pt x="2551" y="3032"/>
                  </a:lnTo>
                  <a:lnTo>
                    <a:pt x="2551" y="3042"/>
                  </a:lnTo>
                  <a:lnTo>
                    <a:pt x="2548" y="3051"/>
                  </a:lnTo>
                  <a:lnTo>
                    <a:pt x="2548" y="3057"/>
                  </a:lnTo>
                  <a:lnTo>
                    <a:pt x="2542" y="3064"/>
                  </a:lnTo>
                  <a:lnTo>
                    <a:pt x="2523" y="3073"/>
                  </a:lnTo>
                  <a:lnTo>
                    <a:pt x="2498" y="3076"/>
                  </a:lnTo>
                  <a:lnTo>
                    <a:pt x="2470" y="3076"/>
                  </a:lnTo>
                  <a:lnTo>
                    <a:pt x="2448" y="3076"/>
                  </a:lnTo>
                  <a:lnTo>
                    <a:pt x="2429" y="3076"/>
                  </a:lnTo>
                  <a:lnTo>
                    <a:pt x="2410" y="3070"/>
                  </a:lnTo>
                  <a:lnTo>
                    <a:pt x="2392" y="3073"/>
                  </a:lnTo>
                  <a:lnTo>
                    <a:pt x="2376" y="3082"/>
                  </a:lnTo>
                  <a:lnTo>
                    <a:pt x="2357" y="3101"/>
                  </a:lnTo>
                  <a:lnTo>
                    <a:pt x="2339" y="3120"/>
                  </a:lnTo>
                  <a:lnTo>
                    <a:pt x="2323" y="3135"/>
                  </a:lnTo>
                  <a:lnTo>
                    <a:pt x="2304" y="3142"/>
                  </a:lnTo>
                  <a:lnTo>
                    <a:pt x="2289" y="3135"/>
                  </a:lnTo>
                  <a:lnTo>
                    <a:pt x="2273" y="3117"/>
                  </a:lnTo>
                  <a:lnTo>
                    <a:pt x="2254" y="3095"/>
                  </a:lnTo>
                  <a:lnTo>
                    <a:pt x="2239" y="3076"/>
                  </a:lnTo>
                  <a:lnTo>
                    <a:pt x="2223" y="3064"/>
                  </a:lnTo>
                  <a:lnTo>
                    <a:pt x="2201" y="3061"/>
                  </a:lnTo>
                  <a:lnTo>
                    <a:pt x="2173" y="3057"/>
                  </a:lnTo>
                  <a:lnTo>
                    <a:pt x="2151" y="3064"/>
                  </a:lnTo>
                  <a:lnTo>
                    <a:pt x="2139" y="3076"/>
                  </a:lnTo>
                  <a:lnTo>
                    <a:pt x="2129" y="3098"/>
                  </a:lnTo>
                  <a:lnTo>
                    <a:pt x="2120" y="3120"/>
                  </a:lnTo>
                  <a:lnTo>
                    <a:pt x="2108" y="3139"/>
                  </a:lnTo>
                  <a:lnTo>
                    <a:pt x="2095" y="3148"/>
                  </a:lnTo>
                  <a:lnTo>
                    <a:pt x="2079" y="3139"/>
                  </a:lnTo>
                  <a:lnTo>
                    <a:pt x="2061" y="3120"/>
                  </a:lnTo>
                  <a:lnTo>
                    <a:pt x="2045" y="3095"/>
                  </a:lnTo>
                  <a:lnTo>
                    <a:pt x="2033" y="3079"/>
                  </a:lnTo>
                  <a:lnTo>
                    <a:pt x="2014" y="3070"/>
                  </a:lnTo>
                  <a:lnTo>
                    <a:pt x="1989" y="3064"/>
                  </a:lnTo>
                  <a:lnTo>
                    <a:pt x="1970" y="3057"/>
                  </a:lnTo>
                  <a:lnTo>
                    <a:pt x="1948" y="3051"/>
                  </a:lnTo>
                  <a:lnTo>
                    <a:pt x="1920" y="3042"/>
                  </a:lnTo>
                  <a:lnTo>
                    <a:pt x="1895" y="3036"/>
                  </a:lnTo>
                  <a:lnTo>
                    <a:pt x="1870" y="3039"/>
                  </a:lnTo>
                  <a:lnTo>
                    <a:pt x="1839" y="3048"/>
                  </a:lnTo>
                  <a:lnTo>
                    <a:pt x="1811" y="3057"/>
                  </a:lnTo>
                  <a:lnTo>
                    <a:pt x="1783" y="3061"/>
                  </a:lnTo>
                  <a:lnTo>
                    <a:pt x="1755" y="3057"/>
                  </a:lnTo>
                  <a:lnTo>
                    <a:pt x="1720" y="3045"/>
                  </a:lnTo>
                  <a:lnTo>
                    <a:pt x="1686" y="3029"/>
                  </a:lnTo>
                  <a:lnTo>
                    <a:pt x="1661" y="3017"/>
                  </a:lnTo>
                  <a:lnTo>
                    <a:pt x="1642" y="2995"/>
                  </a:lnTo>
                  <a:lnTo>
                    <a:pt x="1624" y="2964"/>
                  </a:lnTo>
                  <a:lnTo>
                    <a:pt x="1605" y="2936"/>
                  </a:lnTo>
                  <a:lnTo>
                    <a:pt x="1583" y="2914"/>
                  </a:lnTo>
                  <a:lnTo>
                    <a:pt x="1561" y="2904"/>
                  </a:lnTo>
                  <a:lnTo>
                    <a:pt x="1533" y="2895"/>
                  </a:lnTo>
                  <a:lnTo>
                    <a:pt x="1511" y="2886"/>
                  </a:lnTo>
                  <a:lnTo>
                    <a:pt x="1495" y="2870"/>
                  </a:lnTo>
                  <a:lnTo>
                    <a:pt x="1477" y="2851"/>
                  </a:lnTo>
                  <a:lnTo>
                    <a:pt x="1461" y="2833"/>
                  </a:lnTo>
                  <a:lnTo>
                    <a:pt x="1442" y="2826"/>
                  </a:lnTo>
                  <a:lnTo>
                    <a:pt x="1439" y="2829"/>
                  </a:lnTo>
                  <a:lnTo>
                    <a:pt x="1433" y="2836"/>
                  </a:lnTo>
                  <a:lnTo>
                    <a:pt x="1430" y="2842"/>
                  </a:lnTo>
                  <a:lnTo>
                    <a:pt x="1427" y="2848"/>
                  </a:lnTo>
                  <a:lnTo>
                    <a:pt x="1417" y="2867"/>
                  </a:lnTo>
                  <a:lnTo>
                    <a:pt x="1405" y="2886"/>
                  </a:lnTo>
                  <a:lnTo>
                    <a:pt x="1392" y="2901"/>
                  </a:lnTo>
                  <a:lnTo>
                    <a:pt x="1374" y="2904"/>
                  </a:lnTo>
                  <a:lnTo>
                    <a:pt x="1352" y="2901"/>
                  </a:lnTo>
                  <a:lnTo>
                    <a:pt x="1330" y="2895"/>
                  </a:lnTo>
                  <a:lnTo>
                    <a:pt x="1305" y="2883"/>
                  </a:lnTo>
                  <a:lnTo>
                    <a:pt x="1277" y="2861"/>
                  </a:lnTo>
                  <a:lnTo>
                    <a:pt x="1249" y="2839"/>
                  </a:lnTo>
                  <a:lnTo>
                    <a:pt x="1224" y="2826"/>
                  </a:lnTo>
                  <a:lnTo>
                    <a:pt x="1205" y="2826"/>
                  </a:lnTo>
                  <a:lnTo>
                    <a:pt x="1183" y="2826"/>
                  </a:lnTo>
                  <a:lnTo>
                    <a:pt x="1161" y="2826"/>
                  </a:lnTo>
                  <a:lnTo>
                    <a:pt x="1143" y="2820"/>
                  </a:lnTo>
                  <a:lnTo>
                    <a:pt x="1124" y="2811"/>
                  </a:lnTo>
                  <a:lnTo>
                    <a:pt x="1105" y="2804"/>
                  </a:lnTo>
                  <a:lnTo>
                    <a:pt x="1077" y="2801"/>
                  </a:lnTo>
                  <a:lnTo>
                    <a:pt x="1049" y="2798"/>
                  </a:lnTo>
                  <a:lnTo>
                    <a:pt x="1021" y="2804"/>
                  </a:lnTo>
                  <a:lnTo>
                    <a:pt x="1002" y="2817"/>
                  </a:lnTo>
                  <a:lnTo>
                    <a:pt x="983" y="2836"/>
                  </a:lnTo>
                  <a:lnTo>
                    <a:pt x="965" y="2851"/>
                  </a:lnTo>
                  <a:lnTo>
                    <a:pt x="933" y="2867"/>
                  </a:lnTo>
                  <a:lnTo>
                    <a:pt x="896" y="2883"/>
                  </a:lnTo>
                  <a:lnTo>
                    <a:pt x="858" y="2892"/>
                  </a:lnTo>
                  <a:lnTo>
                    <a:pt x="824" y="2898"/>
                  </a:lnTo>
                  <a:lnTo>
                    <a:pt x="818" y="2895"/>
                  </a:lnTo>
                  <a:lnTo>
                    <a:pt x="808" y="2892"/>
                  </a:lnTo>
                  <a:lnTo>
                    <a:pt x="799" y="2889"/>
                  </a:lnTo>
                  <a:lnTo>
                    <a:pt x="793" y="2886"/>
                  </a:lnTo>
                  <a:lnTo>
                    <a:pt x="783" y="2883"/>
                  </a:lnTo>
                  <a:lnTo>
                    <a:pt x="762" y="2876"/>
                  </a:lnTo>
                  <a:lnTo>
                    <a:pt x="734" y="2867"/>
                  </a:lnTo>
                  <a:lnTo>
                    <a:pt x="709" y="2861"/>
                  </a:lnTo>
                  <a:lnTo>
                    <a:pt x="684" y="2848"/>
                  </a:lnTo>
                  <a:lnTo>
                    <a:pt x="652" y="2836"/>
                  </a:lnTo>
                  <a:lnTo>
                    <a:pt x="624" y="2823"/>
                  </a:lnTo>
                  <a:lnTo>
                    <a:pt x="599" y="2817"/>
                  </a:lnTo>
                  <a:lnTo>
                    <a:pt x="581" y="2817"/>
                  </a:lnTo>
                  <a:lnTo>
                    <a:pt x="562" y="2820"/>
                  </a:lnTo>
                  <a:lnTo>
                    <a:pt x="546" y="2820"/>
                  </a:lnTo>
                  <a:lnTo>
                    <a:pt x="531" y="2804"/>
                  </a:lnTo>
                  <a:lnTo>
                    <a:pt x="512" y="2779"/>
                  </a:lnTo>
                  <a:lnTo>
                    <a:pt x="499" y="2758"/>
                  </a:lnTo>
                  <a:lnTo>
                    <a:pt x="493" y="2751"/>
                  </a:lnTo>
                  <a:lnTo>
                    <a:pt x="484" y="2745"/>
                  </a:lnTo>
                  <a:lnTo>
                    <a:pt x="477" y="2736"/>
                  </a:lnTo>
                  <a:lnTo>
                    <a:pt x="468" y="2726"/>
                  </a:lnTo>
                  <a:lnTo>
                    <a:pt x="477" y="2720"/>
                  </a:lnTo>
                  <a:lnTo>
                    <a:pt x="484" y="2711"/>
                  </a:lnTo>
                  <a:lnTo>
                    <a:pt x="487" y="2705"/>
                  </a:lnTo>
                  <a:lnTo>
                    <a:pt x="490" y="2689"/>
                  </a:lnTo>
                  <a:lnTo>
                    <a:pt x="487" y="2667"/>
                  </a:lnTo>
                  <a:lnTo>
                    <a:pt x="484" y="2648"/>
                  </a:lnTo>
                  <a:lnTo>
                    <a:pt x="487" y="2636"/>
                  </a:lnTo>
                  <a:lnTo>
                    <a:pt x="502" y="2630"/>
                  </a:lnTo>
                  <a:lnTo>
                    <a:pt x="521" y="2626"/>
                  </a:lnTo>
                  <a:lnTo>
                    <a:pt x="543" y="2630"/>
                  </a:lnTo>
                  <a:lnTo>
                    <a:pt x="559" y="2636"/>
                  </a:lnTo>
                  <a:lnTo>
                    <a:pt x="562" y="2639"/>
                  </a:lnTo>
                  <a:lnTo>
                    <a:pt x="565" y="2645"/>
                  </a:lnTo>
                  <a:lnTo>
                    <a:pt x="568" y="2655"/>
                  </a:lnTo>
                  <a:lnTo>
                    <a:pt x="571" y="2664"/>
                  </a:lnTo>
                  <a:lnTo>
                    <a:pt x="574" y="2673"/>
                  </a:lnTo>
                  <a:lnTo>
                    <a:pt x="577" y="2680"/>
                  </a:lnTo>
                  <a:lnTo>
                    <a:pt x="584" y="2683"/>
                  </a:lnTo>
                  <a:lnTo>
                    <a:pt x="599" y="2686"/>
                  </a:lnTo>
                  <a:lnTo>
                    <a:pt x="618" y="2683"/>
                  </a:lnTo>
                  <a:lnTo>
                    <a:pt x="634" y="2676"/>
                  </a:lnTo>
                  <a:lnTo>
                    <a:pt x="640" y="2661"/>
                  </a:lnTo>
                  <a:lnTo>
                    <a:pt x="640" y="2639"/>
                  </a:lnTo>
                  <a:lnTo>
                    <a:pt x="640" y="2617"/>
                  </a:lnTo>
                  <a:lnTo>
                    <a:pt x="634" y="2598"/>
                  </a:lnTo>
                  <a:lnTo>
                    <a:pt x="630" y="2592"/>
                  </a:lnTo>
                  <a:lnTo>
                    <a:pt x="621" y="2583"/>
                  </a:lnTo>
                  <a:lnTo>
                    <a:pt x="615" y="2577"/>
                  </a:lnTo>
                  <a:lnTo>
                    <a:pt x="606" y="2567"/>
                  </a:lnTo>
                  <a:lnTo>
                    <a:pt x="599" y="2561"/>
                  </a:lnTo>
                  <a:lnTo>
                    <a:pt x="593" y="2552"/>
                  </a:lnTo>
                  <a:lnTo>
                    <a:pt x="584" y="2530"/>
                  </a:lnTo>
                  <a:lnTo>
                    <a:pt x="577" y="2502"/>
                  </a:lnTo>
                  <a:lnTo>
                    <a:pt x="571" y="2480"/>
                  </a:lnTo>
                  <a:lnTo>
                    <a:pt x="559" y="2458"/>
                  </a:lnTo>
                  <a:lnTo>
                    <a:pt x="546" y="2436"/>
                  </a:lnTo>
                  <a:lnTo>
                    <a:pt x="534" y="2411"/>
                  </a:lnTo>
                  <a:lnTo>
                    <a:pt x="527" y="2392"/>
                  </a:lnTo>
                  <a:lnTo>
                    <a:pt x="521" y="2364"/>
                  </a:lnTo>
                  <a:lnTo>
                    <a:pt x="515" y="2330"/>
                  </a:lnTo>
                  <a:lnTo>
                    <a:pt x="512" y="2292"/>
                  </a:lnTo>
                  <a:lnTo>
                    <a:pt x="515" y="2261"/>
                  </a:lnTo>
                  <a:lnTo>
                    <a:pt x="521" y="2233"/>
                  </a:lnTo>
                  <a:lnTo>
                    <a:pt x="537" y="2221"/>
                  </a:lnTo>
                  <a:lnTo>
                    <a:pt x="559" y="2208"/>
                  </a:lnTo>
                  <a:lnTo>
                    <a:pt x="581" y="2196"/>
                  </a:lnTo>
                  <a:lnTo>
                    <a:pt x="596" y="2186"/>
                  </a:lnTo>
                  <a:lnTo>
                    <a:pt x="606" y="2164"/>
                  </a:lnTo>
                  <a:lnTo>
                    <a:pt x="615" y="2139"/>
                  </a:lnTo>
                  <a:lnTo>
                    <a:pt x="618" y="2118"/>
                  </a:lnTo>
                  <a:lnTo>
                    <a:pt x="615" y="2096"/>
                  </a:lnTo>
                  <a:lnTo>
                    <a:pt x="606" y="2068"/>
                  </a:lnTo>
                  <a:lnTo>
                    <a:pt x="593" y="2046"/>
                  </a:lnTo>
                  <a:lnTo>
                    <a:pt x="577" y="2030"/>
                  </a:lnTo>
                  <a:lnTo>
                    <a:pt x="565" y="2030"/>
                  </a:lnTo>
                  <a:lnTo>
                    <a:pt x="549" y="2036"/>
                  </a:lnTo>
                  <a:lnTo>
                    <a:pt x="531" y="2043"/>
                  </a:lnTo>
                  <a:lnTo>
                    <a:pt x="518" y="2043"/>
                  </a:lnTo>
                  <a:lnTo>
                    <a:pt x="499" y="2027"/>
                  </a:lnTo>
                  <a:lnTo>
                    <a:pt x="484" y="2002"/>
                  </a:lnTo>
                  <a:lnTo>
                    <a:pt x="474" y="1977"/>
                  </a:lnTo>
                  <a:lnTo>
                    <a:pt x="471" y="1961"/>
                  </a:lnTo>
                  <a:lnTo>
                    <a:pt x="474" y="1940"/>
                  </a:lnTo>
                  <a:lnTo>
                    <a:pt x="477" y="1918"/>
                  </a:lnTo>
                  <a:lnTo>
                    <a:pt x="481" y="1899"/>
                  </a:lnTo>
                  <a:lnTo>
                    <a:pt x="481" y="1877"/>
                  </a:lnTo>
                  <a:lnTo>
                    <a:pt x="477" y="1849"/>
                  </a:lnTo>
                  <a:lnTo>
                    <a:pt x="477" y="1827"/>
                  </a:lnTo>
                  <a:lnTo>
                    <a:pt x="477" y="1808"/>
                  </a:lnTo>
                  <a:lnTo>
                    <a:pt x="471" y="1783"/>
                  </a:lnTo>
                  <a:lnTo>
                    <a:pt x="471" y="1758"/>
                  </a:lnTo>
                  <a:lnTo>
                    <a:pt x="471" y="1733"/>
                  </a:lnTo>
                  <a:lnTo>
                    <a:pt x="477" y="1718"/>
                  </a:lnTo>
                  <a:lnTo>
                    <a:pt x="490" y="1712"/>
                  </a:lnTo>
                  <a:lnTo>
                    <a:pt x="509" y="1712"/>
                  </a:lnTo>
                  <a:lnTo>
                    <a:pt x="531" y="1712"/>
                  </a:lnTo>
                  <a:lnTo>
                    <a:pt x="549" y="1712"/>
                  </a:lnTo>
                  <a:lnTo>
                    <a:pt x="562" y="1705"/>
                  </a:lnTo>
                  <a:lnTo>
                    <a:pt x="571" y="1687"/>
                  </a:lnTo>
                  <a:lnTo>
                    <a:pt x="574" y="1665"/>
                  </a:lnTo>
                  <a:lnTo>
                    <a:pt x="577" y="1640"/>
                  </a:lnTo>
                  <a:lnTo>
                    <a:pt x="571" y="1618"/>
                  </a:lnTo>
                  <a:lnTo>
                    <a:pt x="562" y="1605"/>
                  </a:lnTo>
                  <a:lnTo>
                    <a:pt x="556" y="1605"/>
                  </a:lnTo>
                  <a:lnTo>
                    <a:pt x="549" y="1609"/>
                  </a:lnTo>
                  <a:lnTo>
                    <a:pt x="543" y="1612"/>
                  </a:lnTo>
                  <a:lnTo>
                    <a:pt x="537" y="1618"/>
                  </a:lnTo>
                  <a:lnTo>
                    <a:pt x="531" y="1624"/>
                  </a:lnTo>
                  <a:lnTo>
                    <a:pt x="521" y="1630"/>
                  </a:lnTo>
                  <a:lnTo>
                    <a:pt x="515" y="1634"/>
                  </a:lnTo>
                  <a:lnTo>
                    <a:pt x="496" y="1634"/>
                  </a:lnTo>
                  <a:lnTo>
                    <a:pt x="474" y="1630"/>
                  </a:lnTo>
                  <a:lnTo>
                    <a:pt x="459" y="1621"/>
                  </a:lnTo>
                  <a:lnTo>
                    <a:pt x="452" y="1605"/>
                  </a:lnTo>
                  <a:lnTo>
                    <a:pt x="456" y="1590"/>
                  </a:lnTo>
                  <a:lnTo>
                    <a:pt x="462" y="1571"/>
                  </a:lnTo>
                  <a:lnTo>
                    <a:pt x="468" y="1555"/>
                  </a:lnTo>
                  <a:lnTo>
                    <a:pt x="484" y="1543"/>
                  </a:lnTo>
                  <a:lnTo>
                    <a:pt x="512" y="1530"/>
                  </a:lnTo>
                  <a:lnTo>
                    <a:pt x="537" y="1521"/>
                  </a:lnTo>
                  <a:lnTo>
                    <a:pt x="556" y="1509"/>
                  </a:lnTo>
                  <a:lnTo>
                    <a:pt x="565" y="1493"/>
                  </a:lnTo>
                  <a:lnTo>
                    <a:pt x="571" y="1471"/>
                  </a:lnTo>
                  <a:lnTo>
                    <a:pt x="574" y="1452"/>
                  </a:lnTo>
                  <a:lnTo>
                    <a:pt x="574" y="1427"/>
                  </a:lnTo>
                  <a:lnTo>
                    <a:pt x="571" y="1396"/>
                  </a:lnTo>
                  <a:lnTo>
                    <a:pt x="565" y="1368"/>
                  </a:lnTo>
                  <a:lnTo>
                    <a:pt x="556" y="1343"/>
                  </a:lnTo>
                  <a:lnTo>
                    <a:pt x="540" y="1331"/>
                  </a:lnTo>
                  <a:lnTo>
                    <a:pt x="518" y="1318"/>
                  </a:lnTo>
                  <a:lnTo>
                    <a:pt x="496" y="1306"/>
                  </a:lnTo>
                  <a:lnTo>
                    <a:pt x="484" y="1290"/>
                  </a:lnTo>
                  <a:lnTo>
                    <a:pt x="481" y="1278"/>
                  </a:lnTo>
                  <a:lnTo>
                    <a:pt x="484" y="1259"/>
                  </a:lnTo>
                  <a:lnTo>
                    <a:pt x="487" y="1240"/>
                  </a:lnTo>
                  <a:lnTo>
                    <a:pt x="487" y="1228"/>
                  </a:lnTo>
                  <a:lnTo>
                    <a:pt x="481" y="1196"/>
                  </a:lnTo>
                  <a:lnTo>
                    <a:pt x="471" y="1162"/>
                  </a:lnTo>
                  <a:lnTo>
                    <a:pt x="456" y="1128"/>
                  </a:lnTo>
                  <a:lnTo>
                    <a:pt x="440" y="1103"/>
                  </a:lnTo>
                  <a:lnTo>
                    <a:pt x="424" y="1093"/>
                  </a:lnTo>
                  <a:lnTo>
                    <a:pt x="403" y="1084"/>
                  </a:lnTo>
                  <a:lnTo>
                    <a:pt x="378" y="1071"/>
                  </a:lnTo>
                  <a:lnTo>
                    <a:pt x="362" y="1062"/>
                  </a:lnTo>
                  <a:lnTo>
                    <a:pt x="349" y="1037"/>
                  </a:lnTo>
                  <a:lnTo>
                    <a:pt x="340" y="1009"/>
                  </a:lnTo>
                  <a:lnTo>
                    <a:pt x="331" y="978"/>
                  </a:lnTo>
                  <a:lnTo>
                    <a:pt x="321" y="953"/>
                  </a:lnTo>
                  <a:lnTo>
                    <a:pt x="306" y="931"/>
                  </a:lnTo>
                  <a:lnTo>
                    <a:pt x="284" y="903"/>
                  </a:lnTo>
                  <a:lnTo>
                    <a:pt x="262" y="878"/>
                  </a:lnTo>
                  <a:lnTo>
                    <a:pt x="240" y="862"/>
                  </a:lnTo>
                  <a:lnTo>
                    <a:pt x="221" y="853"/>
                  </a:lnTo>
                  <a:lnTo>
                    <a:pt x="193" y="847"/>
                  </a:lnTo>
                  <a:lnTo>
                    <a:pt x="168" y="840"/>
                  </a:lnTo>
                  <a:lnTo>
                    <a:pt x="150" y="834"/>
                  </a:lnTo>
                  <a:lnTo>
                    <a:pt x="125" y="815"/>
                  </a:lnTo>
                  <a:lnTo>
                    <a:pt x="100" y="790"/>
                  </a:lnTo>
                  <a:lnTo>
                    <a:pt x="78" y="772"/>
                  </a:lnTo>
                  <a:lnTo>
                    <a:pt x="53" y="762"/>
                  </a:lnTo>
                  <a:lnTo>
                    <a:pt x="25" y="750"/>
                  </a:lnTo>
                  <a:lnTo>
                    <a:pt x="0" y="737"/>
                  </a:lnTo>
                  <a:lnTo>
                    <a:pt x="31" y="712"/>
                  </a:lnTo>
                  <a:lnTo>
                    <a:pt x="65" y="678"/>
                  </a:lnTo>
                  <a:lnTo>
                    <a:pt x="97" y="647"/>
                  </a:lnTo>
                  <a:lnTo>
                    <a:pt x="118" y="619"/>
                  </a:lnTo>
                  <a:lnTo>
                    <a:pt x="134" y="584"/>
                  </a:lnTo>
                  <a:lnTo>
                    <a:pt x="150" y="544"/>
                  </a:lnTo>
                  <a:lnTo>
                    <a:pt x="165" y="500"/>
                  </a:lnTo>
                  <a:lnTo>
                    <a:pt x="178" y="466"/>
                  </a:lnTo>
                  <a:lnTo>
                    <a:pt x="187" y="438"/>
                  </a:lnTo>
                  <a:lnTo>
                    <a:pt x="203" y="403"/>
                  </a:lnTo>
                  <a:lnTo>
                    <a:pt x="218" y="378"/>
                  </a:lnTo>
                  <a:lnTo>
                    <a:pt x="225" y="372"/>
                  </a:lnTo>
                  <a:lnTo>
                    <a:pt x="231" y="366"/>
                  </a:lnTo>
                  <a:lnTo>
                    <a:pt x="240" y="359"/>
                  </a:lnTo>
                  <a:lnTo>
                    <a:pt x="250" y="353"/>
                  </a:lnTo>
                  <a:lnTo>
                    <a:pt x="259" y="350"/>
                  </a:lnTo>
                  <a:lnTo>
                    <a:pt x="268" y="347"/>
                  </a:lnTo>
                  <a:lnTo>
                    <a:pt x="287" y="350"/>
                  </a:lnTo>
                  <a:lnTo>
                    <a:pt x="309" y="359"/>
                  </a:lnTo>
                  <a:lnTo>
                    <a:pt x="328" y="372"/>
                  </a:lnTo>
                  <a:lnTo>
                    <a:pt x="331" y="375"/>
                  </a:lnTo>
                  <a:lnTo>
                    <a:pt x="331" y="381"/>
                  </a:lnTo>
                  <a:lnTo>
                    <a:pt x="334" y="391"/>
                  </a:lnTo>
                  <a:lnTo>
                    <a:pt x="334" y="400"/>
                  </a:lnTo>
                  <a:lnTo>
                    <a:pt x="334" y="406"/>
                  </a:lnTo>
                  <a:lnTo>
                    <a:pt x="337" y="409"/>
                  </a:lnTo>
                  <a:lnTo>
                    <a:pt x="346" y="416"/>
                  </a:lnTo>
                  <a:lnTo>
                    <a:pt x="356" y="422"/>
                  </a:lnTo>
                  <a:lnTo>
                    <a:pt x="365" y="425"/>
                  </a:lnTo>
                  <a:lnTo>
                    <a:pt x="378" y="431"/>
                  </a:lnTo>
                  <a:lnTo>
                    <a:pt x="387" y="434"/>
                  </a:lnTo>
                  <a:lnTo>
                    <a:pt x="403" y="444"/>
                  </a:lnTo>
                  <a:lnTo>
                    <a:pt x="421" y="453"/>
                  </a:lnTo>
                  <a:lnTo>
                    <a:pt x="443" y="459"/>
                  </a:lnTo>
                  <a:lnTo>
                    <a:pt x="456" y="459"/>
                  </a:lnTo>
                  <a:lnTo>
                    <a:pt x="462" y="447"/>
                  </a:lnTo>
                  <a:lnTo>
                    <a:pt x="459" y="431"/>
                  </a:lnTo>
                  <a:lnTo>
                    <a:pt x="456" y="416"/>
                  </a:lnTo>
                  <a:lnTo>
                    <a:pt x="452" y="400"/>
                  </a:lnTo>
                  <a:lnTo>
                    <a:pt x="446" y="381"/>
                  </a:lnTo>
                  <a:lnTo>
                    <a:pt x="440" y="356"/>
                  </a:lnTo>
                  <a:lnTo>
                    <a:pt x="428" y="335"/>
                  </a:lnTo>
                  <a:lnTo>
                    <a:pt x="418" y="316"/>
                  </a:lnTo>
                  <a:lnTo>
                    <a:pt x="412" y="316"/>
                  </a:lnTo>
                  <a:lnTo>
                    <a:pt x="403" y="313"/>
                  </a:lnTo>
                  <a:lnTo>
                    <a:pt x="396" y="313"/>
                  </a:lnTo>
                  <a:lnTo>
                    <a:pt x="387" y="313"/>
                  </a:lnTo>
                  <a:lnTo>
                    <a:pt x="381" y="313"/>
                  </a:lnTo>
                  <a:lnTo>
                    <a:pt x="374" y="313"/>
                  </a:lnTo>
                  <a:lnTo>
                    <a:pt x="362" y="297"/>
                  </a:lnTo>
                  <a:lnTo>
                    <a:pt x="353" y="278"/>
                  </a:lnTo>
                  <a:lnTo>
                    <a:pt x="340" y="260"/>
                  </a:lnTo>
                  <a:lnTo>
                    <a:pt x="331" y="244"/>
                  </a:lnTo>
                  <a:lnTo>
                    <a:pt x="324" y="241"/>
                  </a:lnTo>
                  <a:lnTo>
                    <a:pt x="315" y="238"/>
                  </a:lnTo>
                  <a:lnTo>
                    <a:pt x="306" y="235"/>
                  </a:lnTo>
                  <a:lnTo>
                    <a:pt x="296" y="235"/>
                  </a:lnTo>
                  <a:lnTo>
                    <a:pt x="287" y="231"/>
                  </a:lnTo>
                  <a:lnTo>
                    <a:pt x="281" y="228"/>
                  </a:lnTo>
                  <a:lnTo>
                    <a:pt x="271" y="206"/>
                  </a:lnTo>
                  <a:lnTo>
                    <a:pt x="262" y="182"/>
                  </a:lnTo>
                  <a:lnTo>
                    <a:pt x="259" y="160"/>
                  </a:lnTo>
                  <a:lnTo>
                    <a:pt x="262" y="138"/>
                  </a:lnTo>
                  <a:lnTo>
                    <a:pt x="268" y="113"/>
                  </a:lnTo>
                  <a:lnTo>
                    <a:pt x="274" y="91"/>
                  </a:lnTo>
                  <a:lnTo>
                    <a:pt x="287" y="75"/>
                  </a:lnTo>
                  <a:lnTo>
                    <a:pt x="309" y="57"/>
                  </a:lnTo>
                  <a:lnTo>
                    <a:pt x="328" y="38"/>
                  </a:lnTo>
                  <a:lnTo>
                    <a:pt x="337" y="19"/>
                  </a:lnTo>
                  <a:lnTo>
                    <a:pt x="340" y="10"/>
                  </a:lnTo>
                  <a:lnTo>
                    <a:pt x="340" y="0"/>
                  </a:lnTo>
                  <a:lnTo>
                    <a:pt x="353" y="4"/>
                  </a:lnTo>
                  <a:lnTo>
                    <a:pt x="368" y="10"/>
                  </a:lnTo>
                  <a:lnTo>
                    <a:pt x="381" y="13"/>
                  </a:lnTo>
                  <a:lnTo>
                    <a:pt x="387" y="19"/>
                  </a:lnTo>
                  <a:lnTo>
                    <a:pt x="399" y="35"/>
                  </a:lnTo>
                  <a:lnTo>
                    <a:pt x="412" y="53"/>
                  </a:lnTo>
                  <a:lnTo>
                    <a:pt x="424" y="75"/>
                  </a:lnTo>
                  <a:lnTo>
                    <a:pt x="437" y="88"/>
                  </a:lnTo>
                  <a:lnTo>
                    <a:pt x="456" y="94"/>
                  </a:lnTo>
                  <a:lnTo>
                    <a:pt x="477" y="97"/>
                  </a:lnTo>
                  <a:lnTo>
                    <a:pt x="499" y="100"/>
                  </a:lnTo>
                  <a:lnTo>
                    <a:pt x="518" y="94"/>
                  </a:lnTo>
                  <a:lnTo>
                    <a:pt x="531" y="85"/>
                  </a:lnTo>
                  <a:lnTo>
                    <a:pt x="543" y="66"/>
                  </a:lnTo>
                  <a:lnTo>
                    <a:pt x="552" y="47"/>
                  </a:lnTo>
                  <a:lnTo>
                    <a:pt x="565" y="35"/>
                  </a:lnTo>
                  <a:lnTo>
                    <a:pt x="587" y="25"/>
                  </a:lnTo>
                  <a:lnTo>
                    <a:pt x="615" y="19"/>
                  </a:lnTo>
                  <a:lnTo>
                    <a:pt x="640" y="19"/>
                  </a:lnTo>
                  <a:lnTo>
                    <a:pt x="659" y="19"/>
                  </a:lnTo>
                  <a:lnTo>
                    <a:pt x="680" y="19"/>
                  </a:lnTo>
                  <a:lnTo>
                    <a:pt x="699" y="25"/>
                  </a:lnTo>
                  <a:lnTo>
                    <a:pt x="715" y="32"/>
                  </a:lnTo>
                  <a:lnTo>
                    <a:pt x="721" y="47"/>
                  </a:lnTo>
                  <a:lnTo>
                    <a:pt x="724" y="66"/>
                  </a:lnTo>
                  <a:lnTo>
                    <a:pt x="727" y="88"/>
                  </a:lnTo>
                  <a:lnTo>
                    <a:pt x="734" y="103"/>
                  </a:lnTo>
                  <a:lnTo>
                    <a:pt x="749" y="107"/>
                  </a:lnTo>
                  <a:lnTo>
                    <a:pt x="768" y="110"/>
                  </a:lnTo>
                  <a:lnTo>
                    <a:pt x="790" y="110"/>
                  </a:lnTo>
                  <a:lnTo>
                    <a:pt x="802" y="113"/>
                  </a:lnTo>
                  <a:lnTo>
                    <a:pt x="815" y="132"/>
                  </a:lnTo>
                  <a:lnTo>
                    <a:pt x="821" y="157"/>
                  </a:lnTo>
                  <a:lnTo>
                    <a:pt x="827" y="182"/>
                  </a:lnTo>
                  <a:lnTo>
                    <a:pt x="837" y="197"/>
                  </a:lnTo>
                  <a:lnTo>
                    <a:pt x="849" y="206"/>
                  </a:lnTo>
                  <a:lnTo>
                    <a:pt x="865" y="213"/>
                  </a:lnTo>
                  <a:lnTo>
                    <a:pt x="880" y="219"/>
                  </a:lnTo>
                  <a:lnTo>
                    <a:pt x="893" y="216"/>
                  </a:lnTo>
                  <a:lnTo>
                    <a:pt x="899" y="206"/>
                  </a:lnTo>
                  <a:lnTo>
                    <a:pt x="899" y="191"/>
                  </a:lnTo>
                  <a:lnTo>
                    <a:pt x="902" y="172"/>
                  </a:lnTo>
                  <a:lnTo>
                    <a:pt x="908" y="163"/>
                  </a:lnTo>
                  <a:lnTo>
                    <a:pt x="915" y="163"/>
                  </a:lnTo>
                  <a:lnTo>
                    <a:pt x="921" y="166"/>
                  </a:lnTo>
                  <a:lnTo>
                    <a:pt x="930" y="172"/>
                  </a:lnTo>
                  <a:lnTo>
                    <a:pt x="937" y="178"/>
                  </a:lnTo>
                  <a:lnTo>
                    <a:pt x="946" y="185"/>
                  </a:lnTo>
                  <a:lnTo>
                    <a:pt x="949" y="191"/>
                  </a:lnTo>
                  <a:lnTo>
                    <a:pt x="955" y="203"/>
                  </a:lnTo>
                  <a:lnTo>
                    <a:pt x="958" y="222"/>
                  </a:lnTo>
                  <a:lnTo>
                    <a:pt x="961" y="238"/>
                  </a:lnTo>
                  <a:lnTo>
                    <a:pt x="968" y="253"/>
                  </a:lnTo>
                  <a:lnTo>
                    <a:pt x="980" y="260"/>
                  </a:lnTo>
                  <a:lnTo>
                    <a:pt x="999" y="263"/>
                  </a:lnTo>
                  <a:lnTo>
                    <a:pt x="1015" y="269"/>
                  </a:lnTo>
                  <a:lnTo>
                    <a:pt x="1027" y="275"/>
                  </a:lnTo>
                  <a:lnTo>
                    <a:pt x="1036" y="291"/>
                  </a:lnTo>
                  <a:lnTo>
                    <a:pt x="1040" y="313"/>
                  </a:lnTo>
                  <a:lnTo>
                    <a:pt x="1043" y="338"/>
                  </a:lnTo>
                  <a:lnTo>
                    <a:pt x="1046" y="356"/>
                  </a:lnTo>
                  <a:lnTo>
                    <a:pt x="1058" y="372"/>
                  </a:lnTo>
                  <a:lnTo>
                    <a:pt x="1071" y="394"/>
                  </a:lnTo>
                  <a:lnTo>
                    <a:pt x="1086" y="413"/>
                  </a:lnTo>
                  <a:lnTo>
                    <a:pt x="1099" y="431"/>
                  </a:lnTo>
                  <a:lnTo>
                    <a:pt x="1108" y="438"/>
                  </a:lnTo>
                  <a:lnTo>
                    <a:pt x="1121" y="438"/>
                  </a:lnTo>
                  <a:lnTo>
                    <a:pt x="1143" y="431"/>
                  </a:lnTo>
                  <a:lnTo>
                    <a:pt x="1168" y="422"/>
                  </a:lnTo>
                  <a:lnTo>
                    <a:pt x="1196" y="413"/>
                  </a:lnTo>
                  <a:lnTo>
                    <a:pt x="1214" y="406"/>
                  </a:lnTo>
                  <a:lnTo>
                    <a:pt x="1233" y="400"/>
                  </a:lnTo>
                  <a:lnTo>
                    <a:pt x="1252" y="394"/>
                  </a:lnTo>
                  <a:lnTo>
                    <a:pt x="1271" y="391"/>
                  </a:lnTo>
                  <a:lnTo>
                    <a:pt x="1292" y="394"/>
                  </a:lnTo>
                  <a:lnTo>
                    <a:pt x="1324" y="400"/>
                  </a:lnTo>
                  <a:lnTo>
                    <a:pt x="1352" y="406"/>
                  </a:lnTo>
                  <a:lnTo>
                    <a:pt x="1374" y="409"/>
                  </a:lnTo>
                  <a:lnTo>
                    <a:pt x="1396" y="409"/>
                  </a:lnTo>
                  <a:lnTo>
                    <a:pt x="1417" y="409"/>
                  </a:lnTo>
                  <a:lnTo>
                    <a:pt x="1439" y="406"/>
                  </a:lnTo>
                  <a:lnTo>
                    <a:pt x="1458" y="397"/>
                  </a:lnTo>
                  <a:lnTo>
                    <a:pt x="1480" y="378"/>
                  </a:lnTo>
                  <a:lnTo>
                    <a:pt x="1499" y="369"/>
                  </a:lnTo>
                  <a:lnTo>
                    <a:pt x="1527" y="366"/>
                  </a:lnTo>
                  <a:lnTo>
                    <a:pt x="1561" y="366"/>
                  </a:lnTo>
                  <a:lnTo>
                    <a:pt x="1589" y="369"/>
                  </a:lnTo>
                  <a:lnTo>
                    <a:pt x="1608" y="375"/>
                  </a:lnTo>
                  <a:lnTo>
                    <a:pt x="1633" y="388"/>
                  </a:lnTo>
                  <a:lnTo>
                    <a:pt x="1655" y="400"/>
                  </a:lnTo>
                  <a:lnTo>
                    <a:pt x="1667" y="416"/>
                  </a:lnTo>
                  <a:lnTo>
                    <a:pt x="1670" y="422"/>
                  </a:lnTo>
                  <a:lnTo>
                    <a:pt x="1670" y="431"/>
                  </a:lnTo>
                  <a:lnTo>
                    <a:pt x="1673" y="441"/>
                  </a:lnTo>
                  <a:lnTo>
                    <a:pt x="1670" y="447"/>
                  </a:lnTo>
                  <a:lnTo>
                    <a:pt x="1670" y="456"/>
                  </a:lnTo>
                  <a:lnTo>
                    <a:pt x="1667" y="459"/>
                  </a:lnTo>
                  <a:lnTo>
                    <a:pt x="1661" y="463"/>
                  </a:lnTo>
                  <a:lnTo>
                    <a:pt x="1655" y="463"/>
                  </a:lnTo>
                  <a:lnTo>
                    <a:pt x="1645" y="463"/>
                  </a:lnTo>
                  <a:lnTo>
                    <a:pt x="1636" y="459"/>
                  </a:lnTo>
                  <a:lnTo>
                    <a:pt x="1630" y="459"/>
                  </a:lnTo>
                  <a:lnTo>
                    <a:pt x="1620" y="459"/>
                  </a:lnTo>
                  <a:lnTo>
                    <a:pt x="1617" y="459"/>
                  </a:lnTo>
                  <a:lnTo>
                    <a:pt x="1608" y="472"/>
                  </a:lnTo>
                  <a:lnTo>
                    <a:pt x="1605" y="491"/>
                  </a:lnTo>
                  <a:lnTo>
                    <a:pt x="1599" y="509"/>
                  </a:lnTo>
                  <a:lnTo>
                    <a:pt x="1592" y="525"/>
                  </a:lnTo>
                  <a:lnTo>
                    <a:pt x="1580" y="531"/>
                  </a:lnTo>
                  <a:lnTo>
                    <a:pt x="1561" y="534"/>
                  </a:lnTo>
                  <a:lnTo>
                    <a:pt x="1545" y="541"/>
                  </a:lnTo>
                  <a:lnTo>
                    <a:pt x="1533" y="547"/>
                  </a:lnTo>
                  <a:lnTo>
                    <a:pt x="1527" y="562"/>
                  </a:lnTo>
                  <a:lnTo>
                    <a:pt x="1527" y="581"/>
                  </a:lnTo>
                  <a:lnTo>
                    <a:pt x="1530" y="603"/>
                  </a:lnTo>
                  <a:lnTo>
                    <a:pt x="1533" y="619"/>
                  </a:lnTo>
                  <a:lnTo>
                    <a:pt x="1542" y="647"/>
                  </a:lnTo>
                  <a:lnTo>
                    <a:pt x="1555" y="675"/>
                  </a:lnTo>
                  <a:lnTo>
                    <a:pt x="1574" y="694"/>
                  </a:lnTo>
                  <a:lnTo>
                    <a:pt x="1592" y="700"/>
                  </a:lnTo>
                  <a:lnTo>
                    <a:pt x="1614" y="700"/>
                  </a:lnTo>
                  <a:lnTo>
                    <a:pt x="1630" y="694"/>
                  </a:lnTo>
                  <a:lnTo>
                    <a:pt x="1636" y="681"/>
                  </a:lnTo>
                  <a:lnTo>
                    <a:pt x="1636" y="659"/>
                  </a:lnTo>
                  <a:lnTo>
                    <a:pt x="1636" y="634"/>
                  </a:lnTo>
                  <a:lnTo>
                    <a:pt x="1639" y="612"/>
                  </a:lnTo>
                  <a:lnTo>
                    <a:pt x="1645" y="600"/>
                  </a:lnTo>
                  <a:lnTo>
                    <a:pt x="1661" y="597"/>
                  </a:lnTo>
                  <a:lnTo>
                    <a:pt x="1683" y="600"/>
                  </a:lnTo>
                  <a:lnTo>
                    <a:pt x="1705" y="606"/>
                  </a:lnTo>
                  <a:lnTo>
                    <a:pt x="1723" y="609"/>
                  </a:lnTo>
                  <a:lnTo>
                    <a:pt x="1748" y="606"/>
                  </a:lnTo>
                  <a:lnTo>
                    <a:pt x="1777" y="597"/>
                  </a:lnTo>
                  <a:lnTo>
                    <a:pt x="1805" y="587"/>
                  </a:lnTo>
                  <a:lnTo>
                    <a:pt x="1826" y="591"/>
                  </a:lnTo>
                  <a:lnTo>
                    <a:pt x="1845" y="603"/>
                  </a:lnTo>
                  <a:lnTo>
                    <a:pt x="1861" y="628"/>
                  </a:lnTo>
                  <a:lnTo>
                    <a:pt x="1876" y="647"/>
                  </a:lnTo>
                  <a:lnTo>
                    <a:pt x="1886" y="650"/>
                  </a:lnTo>
                  <a:lnTo>
                    <a:pt x="1895" y="653"/>
                  </a:lnTo>
                  <a:lnTo>
                    <a:pt x="1905" y="653"/>
                  </a:lnTo>
                  <a:lnTo>
                    <a:pt x="1914" y="656"/>
                  </a:lnTo>
                  <a:lnTo>
                    <a:pt x="1920" y="659"/>
                  </a:lnTo>
                  <a:lnTo>
                    <a:pt x="1933" y="675"/>
                  </a:lnTo>
                  <a:lnTo>
                    <a:pt x="1942" y="694"/>
                  </a:lnTo>
                  <a:lnTo>
                    <a:pt x="1951" y="712"/>
                  </a:lnTo>
                  <a:lnTo>
                    <a:pt x="1964" y="725"/>
                  </a:lnTo>
                  <a:lnTo>
                    <a:pt x="1976" y="728"/>
                  </a:lnTo>
                  <a:lnTo>
                    <a:pt x="1995" y="731"/>
                  </a:lnTo>
                  <a:lnTo>
                    <a:pt x="2011" y="731"/>
                  </a:lnTo>
                  <a:lnTo>
                    <a:pt x="2023" y="728"/>
                  </a:lnTo>
                  <a:lnTo>
                    <a:pt x="2029" y="712"/>
                  </a:lnTo>
                  <a:lnTo>
                    <a:pt x="2029" y="690"/>
                  </a:lnTo>
                  <a:lnTo>
                    <a:pt x="2026" y="669"/>
                  </a:lnTo>
                  <a:lnTo>
                    <a:pt x="2023" y="647"/>
                  </a:lnTo>
                  <a:lnTo>
                    <a:pt x="2023" y="628"/>
                  </a:lnTo>
                  <a:lnTo>
                    <a:pt x="2029" y="622"/>
                  </a:lnTo>
                  <a:lnTo>
                    <a:pt x="2036" y="616"/>
                  </a:lnTo>
                  <a:lnTo>
                    <a:pt x="2042" y="609"/>
                  </a:lnTo>
                  <a:lnTo>
                    <a:pt x="2048" y="603"/>
                  </a:lnTo>
                  <a:lnTo>
                    <a:pt x="2054" y="600"/>
                  </a:lnTo>
                  <a:lnTo>
                    <a:pt x="2070" y="603"/>
                  </a:lnTo>
                  <a:lnTo>
                    <a:pt x="2086" y="616"/>
                  </a:lnTo>
                  <a:lnTo>
                    <a:pt x="2101" y="628"/>
                  </a:lnTo>
                  <a:lnTo>
                    <a:pt x="2111" y="641"/>
                  </a:lnTo>
                  <a:lnTo>
                    <a:pt x="2117" y="662"/>
                  </a:lnTo>
                  <a:lnTo>
                    <a:pt x="2120" y="690"/>
                  </a:lnTo>
                  <a:lnTo>
                    <a:pt x="2120" y="712"/>
                  </a:lnTo>
                  <a:lnTo>
                    <a:pt x="2117" y="722"/>
                  </a:lnTo>
                  <a:lnTo>
                    <a:pt x="2117" y="728"/>
                  </a:lnTo>
                  <a:lnTo>
                    <a:pt x="2114" y="737"/>
                  </a:lnTo>
                  <a:lnTo>
                    <a:pt x="2111" y="747"/>
                  </a:lnTo>
                  <a:lnTo>
                    <a:pt x="2111" y="753"/>
                  </a:lnTo>
                  <a:lnTo>
                    <a:pt x="2111" y="759"/>
                  </a:lnTo>
                  <a:lnTo>
                    <a:pt x="2114" y="769"/>
                  </a:lnTo>
                  <a:lnTo>
                    <a:pt x="2117" y="778"/>
                  </a:lnTo>
                  <a:lnTo>
                    <a:pt x="2120" y="787"/>
                  </a:lnTo>
                  <a:lnTo>
                    <a:pt x="2123" y="794"/>
                  </a:lnTo>
                  <a:lnTo>
                    <a:pt x="2129" y="797"/>
                  </a:lnTo>
                  <a:lnTo>
                    <a:pt x="2142" y="800"/>
                  </a:lnTo>
                  <a:lnTo>
                    <a:pt x="2161" y="797"/>
                  </a:lnTo>
                  <a:lnTo>
                    <a:pt x="2176" y="790"/>
                  </a:lnTo>
                  <a:lnTo>
                    <a:pt x="2189" y="784"/>
                  </a:lnTo>
                  <a:lnTo>
                    <a:pt x="2192" y="778"/>
                  </a:lnTo>
                  <a:lnTo>
                    <a:pt x="2195" y="769"/>
                  </a:lnTo>
                  <a:lnTo>
                    <a:pt x="2198" y="762"/>
                  </a:lnTo>
                  <a:lnTo>
                    <a:pt x="2198" y="753"/>
                  </a:lnTo>
                  <a:lnTo>
                    <a:pt x="2201" y="747"/>
                  </a:lnTo>
                  <a:lnTo>
                    <a:pt x="2204" y="740"/>
                  </a:lnTo>
                  <a:lnTo>
                    <a:pt x="2211" y="737"/>
                  </a:lnTo>
                  <a:lnTo>
                    <a:pt x="2223" y="737"/>
                  </a:lnTo>
                  <a:lnTo>
                    <a:pt x="2232" y="734"/>
                  </a:lnTo>
                  <a:lnTo>
                    <a:pt x="2242" y="737"/>
                  </a:lnTo>
                  <a:lnTo>
                    <a:pt x="2248" y="740"/>
                  </a:lnTo>
                  <a:lnTo>
                    <a:pt x="2257" y="753"/>
                  </a:lnTo>
                  <a:lnTo>
                    <a:pt x="2261" y="775"/>
                  </a:lnTo>
                  <a:lnTo>
                    <a:pt x="2261" y="794"/>
                  </a:lnTo>
                  <a:lnTo>
                    <a:pt x="2264" y="812"/>
                  </a:lnTo>
                  <a:lnTo>
                    <a:pt x="2264" y="828"/>
                  </a:lnTo>
                  <a:lnTo>
                    <a:pt x="2264" y="847"/>
                  </a:lnTo>
                  <a:lnTo>
                    <a:pt x="2267" y="862"/>
                  </a:lnTo>
                  <a:lnTo>
                    <a:pt x="2276" y="872"/>
                  </a:lnTo>
                  <a:lnTo>
                    <a:pt x="2282" y="875"/>
                  </a:lnTo>
                  <a:lnTo>
                    <a:pt x="2289" y="872"/>
                  </a:lnTo>
                  <a:lnTo>
                    <a:pt x="2295" y="865"/>
                  </a:lnTo>
                  <a:lnTo>
                    <a:pt x="2304" y="859"/>
                  </a:lnTo>
                  <a:lnTo>
                    <a:pt x="2310" y="853"/>
                  </a:lnTo>
                  <a:lnTo>
                    <a:pt x="2317" y="850"/>
                  </a:lnTo>
                  <a:lnTo>
                    <a:pt x="2323" y="847"/>
                  </a:lnTo>
                  <a:lnTo>
                    <a:pt x="2342" y="843"/>
                  </a:lnTo>
                  <a:lnTo>
                    <a:pt x="2364" y="847"/>
                  </a:lnTo>
                  <a:lnTo>
                    <a:pt x="2385" y="850"/>
                  </a:lnTo>
                  <a:lnTo>
                    <a:pt x="2401" y="847"/>
                  </a:lnTo>
                  <a:lnTo>
                    <a:pt x="2410" y="840"/>
                  </a:lnTo>
                  <a:lnTo>
                    <a:pt x="2420" y="834"/>
                  </a:lnTo>
                  <a:lnTo>
                    <a:pt x="2432" y="825"/>
                  </a:lnTo>
                  <a:lnTo>
                    <a:pt x="2439" y="815"/>
                  </a:lnTo>
                  <a:lnTo>
                    <a:pt x="2445" y="809"/>
                  </a:lnTo>
                  <a:lnTo>
                    <a:pt x="2445" y="790"/>
                  </a:lnTo>
                  <a:lnTo>
                    <a:pt x="2442" y="769"/>
                  </a:lnTo>
                  <a:lnTo>
                    <a:pt x="2442" y="747"/>
                  </a:lnTo>
                  <a:lnTo>
                    <a:pt x="2445" y="728"/>
                  </a:lnTo>
                  <a:lnTo>
                    <a:pt x="2460" y="719"/>
                  </a:lnTo>
                  <a:lnTo>
                    <a:pt x="2485" y="715"/>
                  </a:lnTo>
                  <a:lnTo>
                    <a:pt x="2504" y="712"/>
                  </a:lnTo>
                  <a:lnTo>
                    <a:pt x="2526" y="719"/>
                  </a:lnTo>
                  <a:lnTo>
                    <a:pt x="2548" y="728"/>
                  </a:lnTo>
                  <a:lnTo>
                    <a:pt x="2570" y="740"/>
                  </a:lnTo>
                  <a:lnTo>
                    <a:pt x="2588" y="753"/>
                  </a:lnTo>
                  <a:lnTo>
                    <a:pt x="2607" y="772"/>
                  </a:lnTo>
                  <a:lnTo>
                    <a:pt x="2632" y="797"/>
                  </a:lnTo>
                  <a:lnTo>
                    <a:pt x="2654" y="819"/>
                  </a:lnTo>
                  <a:lnTo>
                    <a:pt x="2676" y="837"/>
                  </a:lnTo>
                  <a:lnTo>
                    <a:pt x="2698" y="843"/>
                  </a:lnTo>
                  <a:lnTo>
                    <a:pt x="2723" y="850"/>
                  </a:lnTo>
                  <a:lnTo>
                    <a:pt x="2745" y="853"/>
                  </a:lnTo>
                  <a:lnTo>
                    <a:pt x="2763" y="847"/>
                  </a:lnTo>
                  <a:lnTo>
                    <a:pt x="2785" y="840"/>
                  </a:lnTo>
                  <a:lnTo>
                    <a:pt x="2810" y="831"/>
                  </a:lnTo>
                  <a:lnTo>
                    <a:pt x="2829" y="828"/>
                  </a:lnTo>
                  <a:lnTo>
                    <a:pt x="2844" y="825"/>
                  </a:lnTo>
                  <a:lnTo>
                    <a:pt x="2866" y="825"/>
                  </a:lnTo>
                  <a:lnTo>
                    <a:pt x="2882" y="828"/>
                  </a:lnTo>
                  <a:lnTo>
                    <a:pt x="2898" y="837"/>
                  </a:lnTo>
                  <a:lnTo>
                    <a:pt x="2916" y="853"/>
                  </a:lnTo>
                  <a:lnTo>
                    <a:pt x="2938" y="865"/>
                  </a:lnTo>
                  <a:lnTo>
                    <a:pt x="2954" y="875"/>
                  </a:lnTo>
                  <a:lnTo>
                    <a:pt x="2973" y="878"/>
                  </a:lnTo>
                  <a:lnTo>
                    <a:pt x="2994" y="881"/>
                  </a:lnTo>
                  <a:lnTo>
                    <a:pt x="3016" y="881"/>
                  </a:lnTo>
                  <a:lnTo>
                    <a:pt x="3035" y="878"/>
                  </a:lnTo>
                  <a:lnTo>
                    <a:pt x="3041" y="865"/>
                  </a:lnTo>
                  <a:lnTo>
                    <a:pt x="3047" y="843"/>
                  </a:lnTo>
                  <a:lnTo>
                    <a:pt x="3054" y="825"/>
                  </a:lnTo>
                  <a:lnTo>
                    <a:pt x="3060" y="812"/>
                  </a:lnTo>
                  <a:lnTo>
                    <a:pt x="3076" y="812"/>
                  </a:lnTo>
                  <a:lnTo>
                    <a:pt x="3091" y="815"/>
                  </a:lnTo>
                  <a:lnTo>
                    <a:pt x="3107" y="822"/>
                  </a:lnTo>
                  <a:lnTo>
                    <a:pt x="3119" y="828"/>
                  </a:lnTo>
                  <a:lnTo>
                    <a:pt x="3138" y="843"/>
                  </a:lnTo>
                  <a:lnTo>
                    <a:pt x="3160" y="862"/>
                  </a:lnTo>
                  <a:lnTo>
                    <a:pt x="3182" y="878"/>
                  </a:lnTo>
                  <a:lnTo>
                    <a:pt x="3194" y="881"/>
                  </a:lnTo>
                  <a:lnTo>
                    <a:pt x="3216" y="884"/>
                  </a:lnTo>
                  <a:lnTo>
                    <a:pt x="3235" y="881"/>
                  </a:lnTo>
                  <a:lnTo>
                    <a:pt x="3247" y="878"/>
                  </a:lnTo>
                  <a:lnTo>
                    <a:pt x="3250" y="862"/>
                  </a:lnTo>
                  <a:lnTo>
                    <a:pt x="3250" y="843"/>
                  </a:lnTo>
                  <a:lnTo>
                    <a:pt x="3244" y="822"/>
                  </a:lnTo>
                  <a:lnTo>
                    <a:pt x="3244" y="803"/>
                  </a:lnTo>
                  <a:lnTo>
                    <a:pt x="3247" y="787"/>
                  </a:lnTo>
                  <a:lnTo>
                    <a:pt x="3263" y="781"/>
                  </a:lnTo>
                  <a:lnTo>
                    <a:pt x="3285" y="781"/>
                  </a:lnTo>
                  <a:lnTo>
                    <a:pt x="3307" y="781"/>
                  </a:lnTo>
                  <a:lnTo>
                    <a:pt x="3325" y="784"/>
                  </a:lnTo>
                  <a:lnTo>
                    <a:pt x="3347" y="787"/>
                  </a:lnTo>
                  <a:lnTo>
                    <a:pt x="3372" y="797"/>
                  </a:lnTo>
                  <a:lnTo>
                    <a:pt x="3400" y="803"/>
                  </a:lnTo>
                  <a:lnTo>
                    <a:pt x="3422" y="809"/>
                  </a:lnTo>
                  <a:lnTo>
                    <a:pt x="3450" y="803"/>
                  </a:lnTo>
                  <a:lnTo>
                    <a:pt x="3485" y="797"/>
                  </a:lnTo>
                  <a:lnTo>
                    <a:pt x="3513" y="787"/>
                  </a:lnTo>
                  <a:lnTo>
                    <a:pt x="3528" y="775"/>
                  </a:lnTo>
                  <a:lnTo>
                    <a:pt x="3547" y="762"/>
                  </a:lnTo>
                  <a:lnTo>
                    <a:pt x="3566" y="753"/>
                  </a:lnTo>
                  <a:lnTo>
                    <a:pt x="3591" y="747"/>
                  </a:lnTo>
                  <a:lnTo>
                    <a:pt x="3622" y="747"/>
                  </a:lnTo>
                  <a:lnTo>
                    <a:pt x="3650" y="750"/>
                  </a:lnTo>
                  <a:lnTo>
                    <a:pt x="3675" y="753"/>
                  </a:lnTo>
                  <a:lnTo>
                    <a:pt x="3700" y="756"/>
                  </a:lnTo>
                  <a:lnTo>
                    <a:pt x="3728" y="765"/>
                  </a:lnTo>
                  <a:lnTo>
                    <a:pt x="3756" y="778"/>
                  </a:lnTo>
                  <a:lnTo>
                    <a:pt x="3781" y="787"/>
                  </a:lnTo>
                  <a:lnTo>
                    <a:pt x="3788" y="790"/>
                  </a:lnTo>
                  <a:lnTo>
                    <a:pt x="3797" y="800"/>
                  </a:lnTo>
                  <a:lnTo>
                    <a:pt x="3806" y="806"/>
                  </a:lnTo>
                  <a:lnTo>
                    <a:pt x="3816" y="815"/>
                  </a:lnTo>
                  <a:lnTo>
                    <a:pt x="3825" y="819"/>
                  </a:lnTo>
                  <a:lnTo>
                    <a:pt x="3831" y="822"/>
                  </a:lnTo>
                  <a:lnTo>
                    <a:pt x="3837" y="825"/>
                  </a:lnTo>
                  <a:lnTo>
                    <a:pt x="3847" y="825"/>
                  </a:lnTo>
                  <a:lnTo>
                    <a:pt x="3856" y="825"/>
                  </a:lnTo>
                  <a:lnTo>
                    <a:pt x="3862" y="825"/>
                  </a:lnTo>
                  <a:lnTo>
                    <a:pt x="3881" y="815"/>
                  </a:lnTo>
                  <a:lnTo>
                    <a:pt x="3900" y="797"/>
                  </a:lnTo>
                  <a:lnTo>
                    <a:pt x="3916" y="787"/>
                  </a:lnTo>
                  <a:lnTo>
                    <a:pt x="3934" y="784"/>
                  </a:lnTo>
                  <a:lnTo>
                    <a:pt x="3956" y="784"/>
                  </a:lnTo>
                  <a:lnTo>
                    <a:pt x="3975" y="787"/>
                  </a:lnTo>
                  <a:lnTo>
                    <a:pt x="3994" y="803"/>
                  </a:lnTo>
                  <a:lnTo>
                    <a:pt x="4012" y="825"/>
                  </a:lnTo>
                  <a:lnTo>
                    <a:pt x="4025" y="847"/>
                  </a:lnTo>
                  <a:lnTo>
                    <a:pt x="4031" y="865"/>
                  </a:lnTo>
                  <a:lnTo>
                    <a:pt x="4037" y="887"/>
                  </a:lnTo>
                  <a:lnTo>
                    <a:pt x="4044" y="909"/>
                  </a:lnTo>
                  <a:lnTo>
                    <a:pt x="4053" y="928"/>
                  </a:lnTo>
                  <a:lnTo>
                    <a:pt x="4075" y="937"/>
                  </a:lnTo>
                  <a:lnTo>
                    <a:pt x="4106" y="947"/>
                  </a:lnTo>
                  <a:lnTo>
                    <a:pt x="4140" y="950"/>
                  </a:lnTo>
                  <a:lnTo>
                    <a:pt x="4169" y="953"/>
                  </a:lnTo>
                  <a:lnTo>
                    <a:pt x="4190" y="953"/>
                  </a:lnTo>
                  <a:lnTo>
                    <a:pt x="4222" y="956"/>
                  </a:lnTo>
                  <a:lnTo>
                    <a:pt x="4243" y="953"/>
                  </a:lnTo>
                  <a:lnTo>
                    <a:pt x="4253" y="947"/>
                  </a:lnTo>
                  <a:lnTo>
                    <a:pt x="4262" y="940"/>
                  </a:lnTo>
                  <a:lnTo>
                    <a:pt x="4272" y="931"/>
                  </a:lnTo>
                  <a:lnTo>
                    <a:pt x="4278" y="922"/>
                  </a:lnTo>
                  <a:lnTo>
                    <a:pt x="4306" y="931"/>
                  </a:lnTo>
                  <a:lnTo>
                    <a:pt x="4331" y="937"/>
                  </a:lnTo>
                  <a:lnTo>
                    <a:pt x="4340" y="940"/>
                  </a:lnTo>
                  <a:lnTo>
                    <a:pt x="4353" y="937"/>
                  </a:lnTo>
                  <a:lnTo>
                    <a:pt x="4343" y="947"/>
                  </a:lnTo>
                  <a:lnTo>
                    <a:pt x="4337" y="956"/>
                  </a:lnTo>
                  <a:lnTo>
                    <a:pt x="4331" y="965"/>
                  </a:lnTo>
                  <a:lnTo>
                    <a:pt x="4328" y="972"/>
                  </a:lnTo>
                  <a:lnTo>
                    <a:pt x="4325" y="981"/>
                  </a:lnTo>
                  <a:lnTo>
                    <a:pt x="4325" y="1003"/>
                  </a:lnTo>
                  <a:lnTo>
                    <a:pt x="4331" y="1031"/>
                  </a:lnTo>
                  <a:lnTo>
                    <a:pt x="4343" y="1059"/>
                  </a:lnTo>
                  <a:lnTo>
                    <a:pt x="4356" y="1078"/>
                  </a:lnTo>
                  <a:lnTo>
                    <a:pt x="4362" y="1084"/>
                  </a:lnTo>
                  <a:lnTo>
                    <a:pt x="4371" y="1087"/>
                  </a:lnTo>
                  <a:lnTo>
                    <a:pt x="4384" y="1093"/>
                  </a:lnTo>
                  <a:lnTo>
                    <a:pt x="4393" y="1096"/>
                  </a:lnTo>
                  <a:lnTo>
                    <a:pt x="4400" y="1100"/>
                  </a:lnTo>
                  <a:lnTo>
                    <a:pt x="4415" y="1118"/>
                  </a:lnTo>
                  <a:lnTo>
                    <a:pt x="4431" y="1143"/>
                  </a:lnTo>
                  <a:lnTo>
                    <a:pt x="4440" y="1165"/>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2" name="Freeform 33">
              <a:extLst>
                <a:ext uri="{FF2B5EF4-FFF2-40B4-BE49-F238E27FC236}">
                  <a16:creationId xmlns:a16="http://schemas.microsoft.com/office/drawing/2014/main" id="{8199A9EB-4DB1-4A1E-BDA2-E2916C8720CB}"/>
                </a:ext>
              </a:extLst>
            </p:cNvPr>
            <p:cNvSpPr>
              <a:spLocks/>
            </p:cNvSpPr>
            <p:nvPr/>
          </p:nvSpPr>
          <p:spPr bwMode="auto">
            <a:xfrm>
              <a:off x="9559926" y="2354263"/>
              <a:ext cx="8986838" cy="10806113"/>
            </a:xfrm>
            <a:custGeom>
              <a:avLst/>
              <a:gdLst>
                <a:gd name="T0" fmla="*/ 5602 w 5661"/>
                <a:gd name="T1" fmla="*/ 1883 h 6807"/>
                <a:gd name="T2" fmla="*/ 5421 w 5661"/>
                <a:gd name="T3" fmla="*/ 2133 h 6807"/>
                <a:gd name="T4" fmla="*/ 5293 w 5661"/>
                <a:gd name="T5" fmla="*/ 2342 h 6807"/>
                <a:gd name="T6" fmla="*/ 5099 w 5661"/>
                <a:gd name="T7" fmla="*/ 2567 h 6807"/>
                <a:gd name="T8" fmla="*/ 4840 w 5661"/>
                <a:gd name="T9" fmla="*/ 2817 h 6807"/>
                <a:gd name="T10" fmla="*/ 4943 w 5661"/>
                <a:gd name="T11" fmla="*/ 3151 h 6807"/>
                <a:gd name="T12" fmla="*/ 4659 w 5661"/>
                <a:gd name="T13" fmla="*/ 3307 h 6807"/>
                <a:gd name="T14" fmla="*/ 4656 w 5661"/>
                <a:gd name="T15" fmla="*/ 3585 h 6807"/>
                <a:gd name="T16" fmla="*/ 4359 w 5661"/>
                <a:gd name="T17" fmla="*/ 3888 h 6807"/>
                <a:gd name="T18" fmla="*/ 3872 w 5661"/>
                <a:gd name="T19" fmla="*/ 3910 h 6807"/>
                <a:gd name="T20" fmla="*/ 3450 w 5661"/>
                <a:gd name="T21" fmla="*/ 3994 h 6807"/>
                <a:gd name="T22" fmla="*/ 3291 w 5661"/>
                <a:gd name="T23" fmla="*/ 4063 h 6807"/>
                <a:gd name="T24" fmla="*/ 3129 w 5661"/>
                <a:gd name="T25" fmla="*/ 4047 h 6807"/>
                <a:gd name="T26" fmla="*/ 2745 w 5661"/>
                <a:gd name="T27" fmla="*/ 4175 h 6807"/>
                <a:gd name="T28" fmla="*/ 2807 w 5661"/>
                <a:gd name="T29" fmla="*/ 4634 h 6807"/>
                <a:gd name="T30" fmla="*/ 2782 w 5661"/>
                <a:gd name="T31" fmla="*/ 4940 h 6807"/>
                <a:gd name="T32" fmla="*/ 3107 w 5661"/>
                <a:gd name="T33" fmla="*/ 5305 h 6807"/>
                <a:gd name="T34" fmla="*/ 3032 w 5661"/>
                <a:gd name="T35" fmla="*/ 5671 h 6807"/>
                <a:gd name="T36" fmla="*/ 2876 w 5661"/>
                <a:gd name="T37" fmla="*/ 6049 h 6807"/>
                <a:gd name="T38" fmla="*/ 2598 w 5661"/>
                <a:gd name="T39" fmla="*/ 6358 h 6807"/>
                <a:gd name="T40" fmla="*/ 2476 w 5661"/>
                <a:gd name="T41" fmla="*/ 6695 h 6807"/>
                <a:gd name="T42" fmla="*/ 2223 w 5661"/>
                <a:gd name="T43" fmla="*/ 6726 h 6807"/>
                <a:gd name="T44" fmla="*/ 1945 w 5661"/>
                <a:gd name="T45" fmla="*/ 6601 h 6807"/>
                <a:gd name="T46" fmla="*/ 1677 w 5661"/>
                <a:gd name="T47" fmla="*/ 6361 h 6807"/>
                <a:gd name="T48" fmla="*/ 1211 w 5661"/>
                <a:gd name="T49" fmla="*/ 6273 h 6807"/>
                <a:gd name="T50" fmla="*/ 890 w 5661"/>
                <a:gd name="T51" fmla="*/ 5996 h 6807"/>
                <a:gd name="T52" fmla="*/ 649 w 5661"/>
                <a:gd name="T53" fmla="*/ 6139 h 6807"/>
                <a:gd name="T54" fmla="*/ 674 w 5661"/>
                <a:gd name="T55" fmla="*/ 5793 h 6807"/>
                <a:gd name="T56" fmla="*/ 437 w 5661"/>
                <a:gd name="T57" fmla="*/ 5537 h 6807"/>
                <a:gd name="T58" fmla="*/ 156 w 5661"/>
                <a:gd name="T59" fmla="*/ 5465 h 6807"/>
                <a:gd name="T60" fmla="*/ 75 w 5661"/>
                <a:gd name="T61" fmla="*/ 5302 h 6807"/>
                <a:gd name="T62" fmla="*/ 587 w 5661"/>
                <a:gd name="T63" fmla="*/ 4809 h 6807"/>
                <a:gd name="T64" fmla="*/ 727 w 5661"/>
                <a:gd name="T65" fmla="*/ 4222 h 6807"/>
                <a:gd name="T66" fmla="*/ 968 w 5661"/>
                <a:gd name="T67" fmla="*/ 3188 h 6807"/>
                <a:gd name="T68" fmla="*/ 1152 w 5661"/>
                <a:gd name="T69" fmla="*/ 2461 h 6807"/>
                <a:gd name="T70" fmla="*/ 1405 w 5661"/>
                <a:gd name="T71" fmla="*/ 2358 h 6807"/>
                <a:gd name="T72" fmla="*/ 1186 w 5661"/>
                <a:gd name="T73" fmla="*/ 2130 h 6807"/>
                <a:gd name="T74" fmla="*/ 1071 w 5661"/>
                <a:gd name="T75" fmla="*/ 2320 h 6807"/>
                <a:gd name="T76" fmla="*/ 1211 w 5661"/>
                <a:gd name="T77" fmla="*/ 1515 h 6807"/>
                <a:gd name="T78" fmla="*/ 1355 w 5661"/>
                <a:gd name="T79" fmla="*/ 422 h 6807"/>
                <a:gd name="T80" fmla="*/ 1555 w 5661"/>
                <a:gd name="T81" fmla="*/ 375 h 6807"/>
                <a:gd name="T82" fmla="*/ 1911 w 5661"/>
                <a:gd name="T83" fmla="*/ 706 h 6807"/>
                <a:gd name="T84" fmla="*/ 2067 w 5661"/>
                <a:gd name="T85" fmla="*/ 1387 h 6807"/>
                <a:gd name="T86" fmla="*/ 2270 w 5661"/>
                <a:gd name="T87" fmla="*/ 1871 h 6807"/>
                <a:gd name="T88" fmla="*/ 2304 w 5661"/>
                <a:gd name="T89" fmla="*/ 1568 h 6807"/>
                <a:gd name="T90" fmla="*/ 2123 w 5661"/>
                <a:gd name="T91" fmla="*/ 1187 h 6807"/>
                <a:gd name="T92" fmla="*/ 2273 w 5661"/>
                <a:gd name="T93" fmla="*/ 803 h 6807"/>
                <a:gd name="T94" fmla="*/ 2554 w 5661"/>
                <a:gd name="T95" fmla="*/ 1034 h 6807"/>
                <a:gd name="T96" fmla="*/ 2760 w 5661"/>
                <a:gd name="T97" fmla="*/ 1287 h 6807"/>
                <a:gd name="T98" fmla="*/ 3138 w 5661"/>
                <a:gd name="T99" fmla="*/ 1359 h 6807"/>
                <a:gd name="T100" fmla="*/ 3335 w 5661"/>
                <a:gd name="T101" fmla="*/ 1124 h 6807"/>
                <a:gd name="T102" fmla="*/ 3663 w 5661"/>
                <a:gd name="T103" fmla="*/ 943 h 6807"/>
                <a:gd name="T104" fmla="*/ 3825 w 5661"/>
                <a:gd name="T105" fmla="*/ 553 h 6807"/>
                <a:gd name="T106" fmla="*/ 4137 w 5661"/>
                <a:gd name="T107" fmla="*/ 147 h 6807"/>
                <a:gd name="T108" fmla="*/ 4525 w 5661"/>
                <a:gd name="T109" fmla="*/ 60 h 6807"/>
                <a:gd name="T110" fmla="*/ 4721 w 5661"/>
                <a:gd name="T111" fmla="*/ 206 h 6807"/>
                <a:gd name="T112" fmla="*/ 5108 w 5661"/>
                <a:gd name="T113" fmla="*/ 406 h 6807"/>
                <a:gd name="T114" fmla="*/ 5393 w 5661"/>
                <a:gd name="T115" fmla="*/ 647 h 6807"/>
                <a:gd name="T116" fmla="*/ 5411 w 5661"/>
                <a:gd name="T117" fmla="*/ 878 h 6807"/>
                <a:gd name="T118" fmla="*/ 5324 w 5661"/>
                <a:gd name="T119" fmla="*/ 1252 h 6807"/>
                <a:gd name="T120" fmla="*/ 5561 w 5661"/>
                <a:gd name="T121" fmla="*/ 1430 h 6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61" h="6807">
                  <a:moveTo>
                    <a:pt x="5630" y="1555"/>
                  </a:moveTo>
                  <a:lnTo>
                    <a:pt x="5642" y="1574"/>
                  </a:lnTo>
                  <a:lnTo>
                    <a:pt x="5652" y="1602"/>
                  </a:lnTo>
                  <a:lnTo>
                    <a:pt x="5661" y="1627"/>
                  </a:lnTo>
                  <a:lnTo>
                    <a:pt x="5649" y="1630"/>
                  </a:lnTo>
                  <a:lnTo>
                    <a:pt x="5636" y="1633"/>
                  </a:lnTo>
                  <a:lnTo>
                    <a:pt x="5627" y="1636"/>
                  </a:lnTo>
                  <a:lnTo>
                    <a:pt x="5617" y="1640"/>
                  </a:lnTo>
                  <a:lnTo>
                    <a:pt x="5611" y="1646"/>
                  </a:lnTo>
                  <a:lnTo>
                    <a:pt x="5599" y="1665"/>
                  </a:lnTo>
                  <a:lnTo>
                    <a:pt x="5593" y="1690"/>
                  </a:lnTo>
                  <a:lnTo>
                    <a:pt x="5589" y="1711"/>
                  </a:lnTo>
                  <a:lnTo>
                    <a:pt x="5596" y="1730"/>
                  </a:lnTo>
                  <a:lnTo>
                    <a:pt x="5602" y="1752"/>
                  </a:lnTo>
                  <a:lnTo>
                    <a:pt x="5611" y="1768"/>
                  </a:lnTo>
                  <a:lnTo>
                    <a:pt x="5617" y="1789"/>
                  </a:lnTo>
                  <a:lnTo>
                    <a:pt x="5627" y="1814"/>
                  </a:lnTo>
                  <a:lnTo>
                    <a:pt x="5630" y="1836"/>
                  </a:lnTo>
                  <a:lnTo>
                    <a:pt x="5630" y="1858"/>
                  </a:lnTo>
                  <a:lnTo>
                    <a:pt x="5627" y="1864"/>
                  </a:lnTo>
                  <a:lnTo>
                    <a:pt x="5621" y="1871"/>
                  </a:lnTo>
                  <a:lnTo>
                    <a:pt x="5611" y="1877"/>
                  </a:lnTo>
                  <a:lnTo>
                    <a:pt x="5602" y="1883"/>
                  </a:lnTo>
                  <a:lnTo>
                    <a:pt x="5596" y="1889"/>
                  </a:lnTo>
                  <a:lnTo>
                    <a:pt x="5589" y="1896"/>
                  </a:lnTo>
                  <a:lnTo>
                    <a:pt x="5586" y="1914"/>
                  </a:lnTo>
                  <a:lnTo>
                    <a:pt x="5589" y="1936"/>
                  </a:lnTo>
                  <a:lnTo>
                    <a:pt x="5593" y="1958"/>
                  </a:lnTo>
                  <a:lnTo>
                    <a:pt x="5589" y="1974"/>
                  </a:lnTo>
                  <a:lnTo>
                    <a:pt x="5583" y="1983"/>
                  </a:lnTo>
                  <a:lnTo>
                    <a:pt x="5577" y="1992"/>
                  </a:lnTo>
                  <a:lnTo>
                    <a:pt x="5564" y="2002"/>
                  </a:lnTo>
                  <a:lnTo>
                    <a:pt x="5558" y="2011"/>
                  </a:lnTo>
                  <a:lnTo>
                    <a:pt x="5552" y="2017"/>
                  </a:lnTo>
                  <a:lnTo>
                    <a:pt x="5549" y="2036"/>
                  </a:lnTo>
                  <a:lnTo>
                    <a:pt x="5552" y="2055"/>
                  </a:lnTo>
                  <a:lnTo>
                    <a:pt x="5555" y="2077"/>
                  </a:lnTo>
                  <a:lnTo>
                    <a:pt x="5555" y="2099"/>
                  </a:lnTo>
                  <a:lnTo>
                    <a:pt x="5552" y="2114"/>
                  </a:lnTo>
                  <a:lnTo>
                    <a:pt x="5536" y="2124"/>
                  </a:lnTo>
                  <a:lnTo>
                    <a:pt x="5511" y="2130"/>
                  </a:lnTo>
                  <a:lnTo>
                    <a:pt x="5493" y="2133"/>
                  </a:lnTo>
                  <a:lnTo>
                    <a:pt x="5477" y="2133"/>
                  </a:lnTo>
                  <a:lnTo>
                    <a:pt x="5455" y="2130"/>
                  </a:lnTo>
                  <a:lnTo>
                    <a:pt x="5436" y="2130"/>
                  </a:lnTo>
                  <a:lnTo>
                    <a:pt x="5421" y="2133"/>
                  </a:lnTo>
                  <a:lnTo>
                    <a:pt x="5418" y="2139"/>
                  </a:lnTo>
                  <a:lnTo>
                    <a:pt x="5418" y="2142"/>
                  </a:lnTo>
                  <a:lnTo>
                    <a:pt x="5421" y="2152"/>
                  </a:lnTo>
                  <a:lnTo>
                    <a:pt x="5421" y="2158"/>
                  </a:lnTo>
                  <a:lnTo>
                    <a:pt x="5421" y="2164"/>
                  </a:lnTo>
                  <a:lnTo>
                    <a:pt x="5421" y="2170"/>
                  </a:lnTo>
                  <a:lnTo>
                    <a:pt x="5418" y="2177"/>
                  </a:lnTo>
                  <a:lnTo>
                    <a:pt x="5415" y="2186"/>
                  </a:lnTo>
                  <a:lnTo>
                    <a:pt x="5408" y="2195"/>
                  </a:lnTo>
                  <a:lnTo>
                    <a:pt x="5405" y="2205"/>
                  </a:lnTo>
                  <a:lnTo>
                    <a:pt x="5402" y="2214"/>
                  </a:lnTo>
                  <a:lnTo>
                    <a:pt x="5402" y="2230"/>
                  </a:lnTo>
                  <a:lnTo>
                    <a:pt x="5408" y="2245"/>
                  </a:lnTo>
                  <a:lnTo>
                    <a:pt x="5411" y="2264"/>
                  </a:lnTo>
                  <a:lnTo>
                    <a:pt x="5411" y="2277"/>
                  </a:lnTo>
                  <a:lnTo>
                    <a:pt x="5402" y="2295"/>
                  </a:lnTo>
                  <a:lnTo>
                    <a:pt x="5386" y="2314"/>
                  </a:lnTo>
                  <a:lnTo>
                    <a:pt x="5368" y="2330"/>
                  </a:lnTo>
                  <a:lnTo>
                    <a:pt x="5352" y="2342"/>
                  </a:lnTo>
                  <a:lnTo>
                    <a:pt x="5340" y="2342"/>
                  </a:lnTo>
                  <a:lnTo>
                    <a:pt x="5321" y="2342"/>
                  </a:lnTo>
                  <a:lnTo>
                    <a:pt x="5305" y="2339"/>
                  </a:lnTo>
                  <a:lnTo>
                    <a:pt x="5293" y="2342"/>
                  </a:lnTo>
                  <a:lnTo>
                    <a:pt x="5290" y="2345"/>
                  </a:lnTo>
                  <a:lnTo>
                    <a:pt x="5290" y="2355"/>
                  </a:lnTo>
                  <a:lnTo>
                    <a:pt x="5286" y="2361"/>
                  </a:lnTo>
                  <a:lnTo>
                    <a:pt x="5286" y="2370"/>
                  </a:lnTo>
                  <a:lnTo>
                    <a:pt x="5286" y="2380"/>
                  </a:lnTo>
                  <a:lnTo>
                    <a:pt x="5283" y="2386"/>
                  </a:lnTo>
                  <a:lnTo>
                    <a:pt x="5283" y="2392"/>
                  </a:lnTo>
                  <a:lnTo>
                    <a:pt x="5265" y="2401"/>
                  </a:lnTo>
                  <a:lnTo>
                    <a:pt x="5243" y="2405"/>
                  </a:lnTo>
                  <a:lnTo>
                    <a:pt x="5221" y="2411"/>
                  </a:lnTo>
                  <a:lnTo>
                    <a:pt x="5202" y="2417"/>
                  </a:lnTo>
                  <a:lnTo>
                    <a:pt x="5180" y="2430"/>
                  </a:lnTo>
                  <a:lnTo>
                    <a:pt x="5155" y="2445"/>
                  </a:lnTo>
                  <a:lnTo>
                    <a:pt x="5140" y="2464"/>
                  </a:lnTo>
                  <a:lnTo>
                    <a:pt x="5137" y="2480"/>
                  </a:lnTo>
                  <a:lnTo>
                    <a:pt x="5140" y="2498"/>
                  </a:lnTo>
                  <a:lnTo>
                    <a:pt x="5140" y="2517"/>
                  </a:lnTo>
                  <a:lnTo>
                    <a:pt x="5137" y="2523"/>
                  </a:lnTo>
                  <a:lnTo>
                    <a:pt x="5130" y="2536"/>
                  </a:lnTo>
                  <a:lnTo>
                    <a:pt x="5124" y="2545"/>
                  </a:lnTo>
                  <a:lnTo>
                    <a:pt x="5115" y="2554"/>
                  </a:lnTo>
                  <a:lnTo>
                    <a:pt x="5108" y="2561"/>
                  </a:lnTo>
                  <a:lnTo>
                    <a:pt x="5099" y="2567"/>
                  </a:lnTo>
                  <a:lnTo>
                    <a:pt x="5090" y="2573"/>
                  </a:lnTo>
                  <a:lnTo>
                    <a:pt x="5077" y="2579"/>
                  </a:lnTo>
                  <a:lnTo>
                    <a:pt x="5068" y="2586"/>
                  </a:lnTo>
                  <a:lnTo>
                    <a:pt x="5055" y="2604"/>
                  </a:lnTo>
                  <a:lnTo>
                    <a:pt x="5046" y="2633"/>
                  </a:lnTo>
                  <a:lnTo>
                    <a:pt x="5034" y="2658"/>
                  </a:lnTo>
                  <a:lnTo>
                    <a:pt x="5018" y="2676"/>
                  </a:lnTo>
                  <a:lnTo>
                    <a:pt x="5012" y="2676"/>
                  </a:lnTo>
                  <a:lnTo>
                    <a:pt x="5002" y="2676"/>
                  </a:lnTo>
                  <a:lnTo>
                    <a:pt x="4996" y="2676"/>
                  </a:lnTo>
                  <a:lnTo>
                    <a:pt x="4987" y="2676"/>
                  </a:lnTo>
                  <a:lnTo>
                    <a:pt x="4977" y="2676"/>
                  </a:lnTo>
                  <a:lnTo>
                    <a:pt x="4971" y="2676"/>
                  </a:lnTo>
                  <a:lnTo>
                    <a:pt x="4949" y="2683"/>
                  </a:lnTo>
                  <a:lnTo>
                    <a:pt x="4927" y="2698"/>
                  </a:lnTo>
                  <a:lnTo>
                    <a:pt x="4909" y="2708"/>
                  </a:lnTo>
                  <a:lnTo>
                    <a:pt x="4890" y="2717"/>
                  </a:lnTo>
                  <a:lnTo>
                    <a:pt x="4871" y="2726"/>
                  </a:lnTo>
                  <a:lnTo>
                    <a:pt x="4852" y="2736"/>
                  </a:lnTo>
                  <a:lnTo>
                    <a:pt x="4840" y="2748"/>
                  </a:lnTo>
                  <a:lnTo>
                    <a:pt x="4834" y="2767"/>
                  </a:lnTo>
                  <a:lnTo>
                    <a:pt x="4837" y="2792"/>
                  </a:lnTo>
                  <a:lnTo>
                    <a:pt x="4840" y="2817"/>
                  </a:lnTo>
                  <a:lnTo>
                    <a:pt x="4849" y="2836"/>
                  </a:lnTo>
                  <a:lnTo>
                    <a:pt x="4852" y="2839"/>
                  </a:lnTo>
                  <a:lnTo>
                    <a:pt x="4862" y="2842"/>
                  </a:lnTo>
                  <a:lnTo>
                    <a:pt x="4868" y="2842"/>
                  </a:lnTo>
                  <a:lnTo>
                    <a:pt x="4877" y="2845"/>
                  </a:lnTo>
                  <a:lnTo>
                    <a:pt x="4881" y="2848"/>
                  </a:lnTo>
                  <a:lnTo>
                    <a:pt x="4887" y="2861"/>
                  </a:lnTo>
                  <a:lnTo>
                    <a:pt x="4890" y="2879"/>
                  </a:lnTo>
                  <a:lnTo>
                    <a:pt x="4890" y="2895"/>
                  </a:lnTo>
                  <a:lnTo>
                    <a:pt x="4896" y="2910"/>
                  </a:lnTo>
                  <a:lnTo>
                    <a:pt x="4912" y="2926"/>
                  </a:lnTo>
                  <a:lnTo>
                    <a:pt x="4937" y="2942"/>
                  </a:lnTo>
                  <a:lnTo>
                    <a:pt x="4955" y="2957"/>
                  </a:lnTo>
                  <a:lnTo>
                    <a:pt x="4962" y="2976"/>
                  </a:lnTo>
                  <a:lnTo>
                    <a:pt x="4965" y="3001"/>
                  </a:lnTo>
                  <a:lnTo>
                    <a:pt x="4965" y="3020"/>
                  </a:lnTo>
                  <a:lnTo>
                    <a:pt x="4962" y="3038"/>
                  </a:lnTo>
                  <a:lnTo>
                    <a:pt x="4952" y="3060"/>
                  </a:lnTo>
                  <a:lnTo>
                    <a:pt x="4943" y="3085"/>
                  </a:lnTo>
                  <a:lnTo>
                    <a:pt x="4940" y="3104"/>
                  </a:lnTo>
                  <a:lnTo>
                    <a:pt x="4940" y="3117"/>
                  </a:lnTo>
                  <a:lnTo>
                    <a:pt x="4940" y="3135"/>
                  </a:lnTo>
                  <a:lnTo>
                    <a:pt x="4943" y="3151"/>
                  </a:lnTo>
                  <a:lnTo>
                    <a:pt x="4940" y="3163"/>
                  </a:lnTo>
                  <a:lnTo>
                    <a:pt x="4921" y="3179"/>
                  </a:lnTo>
                  <a:lnTo>
                    <a:pt x="4893" y="3192"/>
                  </a:lnTo>
                  <a:lnTo>
                    <a:pt x="4865" y="3201"/>
                  </a:lnTo>
                  <a:lnTo>
                    <a:pt x="4840" y="3201"/>
                  </a:lnTo>
                  <a:lnTo>
                    <a:pt x="4824" y="3188"/>
                  </a:lnTo>
                  <a:lnTo>
                    <a:pt x="4809" y="3167"/>
                  </a:lnTo>
                  <a:lnTo>
                    <a:pt x="4793" y="3148"/>
                  </a:lnTo>
                  <a:lnTo>
                    <a:pt x="4777" y="3142"/>
                  </a:lnTo>
                  <a:lnTo>
                    <a:pt x="4759" y="3132"/>
                  </a:lnTo>
                  <a:lnTo>
                    <a:pt x="4740" y="3126"/>
                  </a:lnTo>
                  <a:lnTo>
                    <a:pt x="4724" y="3126"/>
                  </a:lnTo>
                  <a:lnTo>
                    <a:pt x="4703" y="3135"/>
                  </a:lnTo>
                  <a:lnTo>
                    <a:pt x="4681" y="3157"/>
                  </a:lnTo>
                  <a:lnTo>
                    <a:pt x="4659" y="3179"/>
                  </a:lnTo>
                  <a:lnTo>
                    <a:pt x="4649" y="3201"/>
                  </a:lnTo>
                  <a:lnTo>
                    <a:pt x="4653" y="3216"/>
                  </a:lnTo>
                  <a:lnTo>
                    <a:pt x="4659" y="3232"/>
                  </a:lnTo>
                  <a:lnTo>
                    <a:pt x="4668" y="3248"/>
                  </a:lnTo>
                  <a:lnTo>
                    <a:pt x="4671" y="3263"/>
                  </a:lnTo>
                  <a:lnTo>
                    <a:pt x="4671" y="3276"/>
                  </a:lnTo>
                  <a:lnTo>
                    <a:pt x="4665" y="3291"/>
                  </a:lnTo>
                  <a:lnTo>
                    <a:pt x="4659" y="3307"/>
                  </a:lnTo>
                  <a:lnTo>
                    <a:pt x="4662" y="3320"/>
                  </a:lnTo>
                  <a:lnTo>
                    <a:pt x="4671" y="3326"/>
                  </a:lnTo>
                  <a:lnTo>
                    <a:pt x="4690" y="3329"/>
                  </a:lnTo>
                  <a:lnTo>
                    <a:pt x="4706" y="3329"/>
                  </a:lnTo>
                  <a:lnTo>
                    <a:pt x="4721" y="3335"/>
                  </a:lnTo>
                  <a:lnTo>
                    <a:pt x="4728" y="3341"/>
                  </a:lnTo>
                  <a:lnTo>
                    <a:pt x="4734" y="3348"/>
                  </a:lnTo>
                  <a:lnTo>
                    <a:pt x="4737" y="3357"/>
                  </a:lnTo>
                  <a:lnTo>
                    <a:pt x="4743" y="3366"/>
                  </a:lnTo>
                  <a:lnTo>
                    <a:pt x="4746" y="3376"/>
                  </a:lnTo>
                  <a:lnTo>
                    <a:pt x="4746" y="3385"/>
                  </a:lnTo>
                  <a:lnTo>
                    <a:pt x="4743" y="3401"/>
                  </a:lnTo>
                  <a:lnTo>
                    <a:pt x="4731" y="3419"/>
                  </a:lnTo>
                  <a:lnTo>
                    <a:pt x="4718" y="3435"/>
                  </a:lnTo>
                  <a:lnTo>
                    <a:pt x="4709" y="3451"/>
                  </a:lnTo>
                  <a:lnTo>
                    <a:pt x="4709" y="3473"/>
                  </a:lnTo>
                  <a:lnTo>
                    <a:pt x="4709" y="3498"/>
                  </a:lnTo>
                  <a:lnTo>
                    <a:pt x="4709" y="3519"/>
                  </a:lnTo>
                  <a:lnTo>
                    <a:pt x="4706" y="3541"/>
                  </a:lnTo>
                  <a:lnTo>
                    <a:pt x="4696" y="3566"/>
                  </a:lnTo>
                  <a:lnTo>
                    <a:pt x="4684" y="3585"/>
                  </a:lnTo>
                  <a:lnTo>
                    <a:pt x="4671" y="3588"/>
                  </a:lnTo>
                  <a:lnTo>
                    <a:pt x="4656" y="3585"/>
                  </a:lnTo>
                  <a:lnTo>
                    <a:pt x="4637" y="3582"/>
                  </a:lnTo>
                  <a:lnTo>
                    <a:pt x="4624" y="3585"/>
                  </a:lnTo>
                  <a:lnTo>
                    <a:pt x="4618" y="3601"/>
                  </a:lnTo>
                  <a:lnTo>
                    <a:pt x="4612" y="3622"/>
                  </a:lnTo>
                  <a:lnTo>
                    <a:pt x="4609" y="3641"/>
                  </a:lnTo>
                  <a:lnTo>
                    <a:pt x="4603" y="3657"/>
                  </a:lnTo>
                  <a:lnTo>
                    <a:pt x="4590" y="3660"/>
                  </a:lnTo>
                  <a:lnTo>
                    <a:pt x="4571" y="3657"/>
                  </a:lnTo>
                  <a:lnTo>
                    <a:pt x="4556" y="3654"/>
                  </a:lnTo>
                  <a:lnTo>
                    <a:pt x="4543" y="3657"/>
                  </a:lnTo>
                  <a:lnTo>
                    <a:pt x="4528" y="3672"/>
                  </a:lnTo>
                  <a:lnTo>
                    <a:pt x="4512" y="3697"/>
                  </a:lnTo>
                  <a:lnTo>
                    <a:pt x="4500" y="3725"/>
                  </a:lnTo>
                  <a:lnTo>
                    <a:pt x="4484" y="3744"/>
                  </a:lnTo>
                  <a:lnTo>
                    <a:pt x="4468" y="3754"/>
                  </a:lnTo>
                  <a:lnTo>
                    <a:pt x="4446" y="3763"/>
                  </a:lnTo>
                  <a:lnTo>
                    <a:pt x="4431" y="3772"/>
                  </a:lnTo>
                  <a:lnTo>
                    <a:pt x="4421" y="3788"/>
                  </a:lnTo>
                  <a:lnTo>
                    <a:pt x="4412" y="3813"/>
                  </a:lnTo>
                  <a:lnTo>
                    <a:pt x="4406" y="3838"/>
                  </a:lnTo>
                  <a:lnTo>
                    <a:pt x="4397" y="3857"/>
                  </a:lnTo>
                  <a:lnTo>
                    <a:pt x="4381" y="3872"/>
                  </a:lnTo>
                  <a:lnTo>
                    <a:pt x="4359" y="3888"/>
                  </a:lnTo>
                  <a:lnTo>
                    <a:pt x="4334" y="3903"/>
                  </a:lnTo>
                  <a:lnTo>
                    <a:pt x="4315" y="3913"/>
                  </a:lnTo>
                  <a:lnTo>
                    <a:pt x="4293" y="3919"/>
                  </a:lnTo>
                  <a:lnTo>
                    <a:pt x="4272" y="3925"/>
                  </a:lnTo>
                  <a:lnTo>
                    <a:pt x="4247" y="3928"/>
                  </a:lnTo>
                  <a:lnTo>
                    <a:pt x="4228" y="3925"/>
                  </a:lnTo>
                  <a:lnTo>
                    <a:pt x="4215" y="3910"/>
                  </a:lnTo>
                  <a:lnTo>
                    <a:pt x="4209" y="3888"/>
                  </a:lnTo>
                  <a:lnTo>
                    <a:pt x="4200" y="3863"/>
                  </a:lnTo>
                  <a:lnTo>
                    <a:pt x="4190" y="3847"/>
                  </a:lnTo>
                  <a:lnTo>
                    <a:pt x="4169" y="3838"/>
                  </a:lnTo>
                  <a:lnTo>
                    <a:pt x="4144" y="3838"/>
                  </a:lnTo>
                  <a:lnTo>
                    <a:pt x="4122" y="3838"/>
                  </a:lnTo>
                  <a:lnTo>
                    <a:pt x="4100" y="3850"/>
                  </a:lnTo>
                  <a:lnTo>
                    <a:pt x="4078" y="3866"/>
                  </a:lnTo>
                  <a:lnTo>
                    <a:pt x="4056" y="3878"/>
                  </a:lnTo>
                  <a:lnTo>
                    <a:pt x="4034" y="3878"/>
                  </a:lnTo>
                  <a:lnTo>
                    <a:pt x="4009" y="3875"/>
                  </a:lnTo>
                  <a:lnTo>
                    <a:pt x="3984" y="3872"/>
                  </a:lnTo>
                  <a:lnTo>
                    <a:pt x="3966" y="3872"/>
                  </a:lnTo>
                  <a:lnTo>
                    <a:pt x="3937" y="3882"/>
                  </a:lnTo>
                  <a:lnTo>
                    <a:pt x="3903" y="3894"/>
                  </a:lnTo>
                  <a:lnTo>
                    <a:pt x="3872" y="3910"/>
                  </a:lnTo>
                  <a:lnTo>
                    <a:pt x="3847" y="3925"/>
                  </a:lnTo>
                  <a:lnTo>
                    <a:pt x="3819" y="3941"/>
                  </a:lnTo>
                  <a:lnTo>
                    <a:pt x="3784" y="3963"/>
                  </a:lnTo>
                  <a:lnTo>
                    <a:pt x="3759" y="3982"/>
                  </a:lnTo>
                  <a:lnTo>
                    <a:pt x="3741" y="3994"/>
                  </a:lnTo>
                  <a:lnTo>
                    <a:pt x="3722" y="4010"/>
                  </a:lnTo>
                  <a:lnTo>
                    <a:pt x="3703" y="4025"/>
                  </a:lnTo>
                  <a:lnTo>
                    <a:pt x="3685" y="4031"/>
                  </a:lnTo>
                  <a:lnTo>
                    <a:pt x="3653" y="4031"/>
                  </a:lnTo>
                  <a:lnTo>
                    <a:pt x="3613" y="4022"/>
                  </a:lnTo>
                  <a:lnTo>
                    <a:pt x="3578" y="4010"/>
                  </a:lnTo>
                  <a:lnTo>
                    <a:pt x="3550" y="3991"/>
                  </a:lnTo>
                  <a:lnTo>
                    <a:pt x="3544" y="3975"/>
                  </a:lnTo>
                  <a:lnTo>
                    <a:pt x="3541" y="3953"/>
                  </a:lnTo>
                  <a:lnTo>
                    <a:pt x="3538" y="3932"/>
                  </a:lnTo>
                  <a:lnTo>
                    <a:pt x="3532" y="3919"/>
                  </a:lnTo>
                  <a:lnTo>
                    <a:pt x="3513" y="3916"/>
                  </a:lnTo>
                  <a:lnTo>
                    <a:pt x="3488" y="3919"/>
                  </a:lnTo>
                  <a:lnTo>
                    <a:pt x="3466" y="3932"/>
                  </a:lnTo>
                  <a:lnTo>
                    <a:pt x="3450" y="3941"/>
                  </a:lnTo>
                  <a:lnTo>
                    <a:pt x="3447" y="3957"/>
                  </a:lnTo>
                  <a:lnTo>
                    <a:pt x="3447" y="3975"/>
                  </a:lnTo>
                  <a:lnTo>
                    <a:pt x="3450" y="3994"/>
                  </a:lnTo>
                  <a:lnTo>
                    <a:pt x="3450" y="4010"/>
                  </a:lnTo>
                  <a:lnTo>
                    <a:pt x="3444" y="4016"/>
                  </a:lnTo>
                  <a:lnTo>
                    <a:pt x="3435" y="4025"/>
                  </a:lnTo>
                  <a:lnTo>
                    <a:pt x="3425" y="4035"/>
                  </a:lnTo>
                  <a:lnTo>
                    <a:pt x="3416" y="4041"/>
                  </a:lnTo>
                  <a:lnTo>
                    <a:pt x="3407" y="4044"/>
                  </a:lnTo>
                  <a:lnTo>
                    <a:pt x="3397" y="4047"/>
                  </a:lnTo>
                  <a:lnTo>
                    <a:pt x="3388" y="4047"/>
                  </a:lnTo>
                  <a:lnTo>
                    <a:pt x="3375" y="4047"/>
                  </a:lnTo>
                  <a:lnTo>
                    <a:pt x="3366" y="4044"/>
                  </a:lnTo>
                  <a:lnTo>
                    <a:pt x="3350" y="4031"/>
                  </a:lnTo>
                  <a:lnTo>
                    <a:pt x="3332" y="4010"/>
                  </a:lnTo>
                  <a:lnTo>
                    <a:pt x="3313" y="3991"/>
                  </a:lnTo>
                  <a:lnTo>
                    <a:pt x="3297" y="3982"/>
                  </a:lnTo>
                  <a:lnTo>
                    <a:pt x="3288" y="3985"/>
                  </a:lnTo>
                  <a:lnTo>
                    <a:pt x="3282" y="3988"/>
                  </a:lnTo>
                  <a:lnTo>
                    <a:pt x="3272" y="3994"/>
                  </a:lnTo>
                  <a:lnTo>
                    <a:pt x="3266" y="4000"/>
                  </a:lnTo>
                  <a:lnTo>
                    <a:pt x="3260" y="4006"/>
                  </a:lnTo>
                  <a:lnTo>
                    <a:pt x="3257" y="4013"/>
                  </a:lnTo>
                  <a:lnTo>
                    <a:pt x="3263" y="4028"/>
                  </a:lnTo>
                  <a:lnTo>
                    <a:pt x="3275" y="4047"/>
                  </a:lnTo>
                  <a:lnTo>
                    <a:pt x="3291" y="4063"/>
                  </a:lnTo>
                  <a:lnTo>
                    <a:pt x="3297" y="4078"/>
                  </a:lnTo>
                  <a:lnTo>
                    <a:pt x="3297" y="4100"/>
                  </a:lnTo>
                  <a:lnTo>
                    <a:pt x="3291" y="4125"/>
                  </a:lnTo>
                  <a:lnTo>
                    <a:pt x="3282" y="4153"/>
                  </a:lnTo>
                  <a:lnTo>
                    <a:pt x="3272" y="4172"/>
                  </a:lnTo>
                  <a:lnTo>
                    <a:pt x="3266" y="4178"/>
                  </a:lnTo>
                  <a:lnTo>
                    <a:pt x="3260" y="4188"/>
                  </a:lnTo>
                  <a:lnTo>
                    <a:pt x="3250" y="4197"/>
                  </a:lnTo>
                  <a:lnTo>
                    <a:pt x="3244" y="4203"/>
                  </a:lnTo>
                  <a:lnTo>
                    <a:pt x="3235" y="4209"/>
                  </a:lnTo>
                  <a:lnTo>
                    <a:pt x="3229" y="4213"/>
                  </a:lnTo>
                  <a:lnTo>
                    <a:pt x="3204" y="4213"/>
                  </a:lnTo>
                  <a:lnTo>
                    <a:pt x="3172" y="4206"/>
                  </a:lnTo>
                  <a:lnTo>
                    <a:pt x="3144" y="4197"/>
                  </a:lnTo>
                  <a:lnTo>
                    <a:pt x="3129" y="4178"/>
                  </a:lnTo>
                  <a:lnTo>
                    <a:pt x="3129" y="4166"/>
                  </a:lnTo>
                  <a:lnTo>
                    <a:pt x="3135" y="4150"/>
                  </a:lnTo>
                  <a:lnTo>
                    <a:pt x="3147" y="4135"/>
                  </a:lnTo>
                  <a:lnTo>
                    <a:pt x="3157" y="4119"/>
                  </a:lnTo>
                  <a:lnTo>
                    <a:pt x="3160" y="4106"/>
                  </a:lnTo>
                  <a:lnTo>
                    <a:pt x="3154" y="4085"/>
                  </a:lnTo>
                  <a:lnTo>
                    <a:pt x="3141" y="4063"/>
                  </a:lnTo>
                  <a:lnTo>
                    <a:pt x="3129" y="4047"/>
                  </a:lnTo>
                  <a:lnTo>
                    <a:pt x="3110" y="4041"/>
                  </a:lnTo>
                  <a:lnTo>
                    <a:pt x="3088" y="4038"/>
                  </a:lnTo>
                  <a:lnTo>
                    <a:pt x="3069" y="4038"/>
                  </a:lnTo>
                  <a:lnTo>
                    <a:pt x="3063" y="4041"/>
                  </a:lnTo>
                  <a:lnTo>
                    <a:pt x="3057" y="4044"/>
                  </a:lnTo>
                  <a:lnTo>
                    <a:pt x="3051" y="4050"/>
                  </a:lnTo>
                  <a:lnTo>
                    <a:pt x="3044" y="4056"/>
                  </a:lnTo>
                  <a:lnTo>
                    <a:pt x="3032" y="4075"/>
                  </a:lnTo>
                  <a:lnTo>
                    <a:pt x="3023" y="4103"/>
                  </a:lnTo>
                  <a:lnTo>
                    <a:pt x="3013" y="4135"/>
                  </a:lnTo>
                  <a:lnTo>
                    <a:pt x="2998" y="4156"/>
                  </a:lnTo>
                  <a:lnTo>
                    <a:pt x="2982" y="4169"/>
                  </a:lnTo>
                  <a:lnTo>
                    <a:pt x="2966" y="4166"/>
                  </a:lnTo>
                  <a:lnTo>
                    <a:pt x="2944" y="4150"/>
                  </a:lnTo>
                  <a:lnTo>
                    <a:pt x="2926" y="4135"/>
                  </a:lnTo>
                  <a:lnTo>
                    <a:pt x="2910" y="4125"/>
                  </a:lnTo>
                  <a:lnTo>
                    <a:pt x="2894" y="4122"/>
                  </a:lnTo>
                  <a:lnTo>
                    <a:pt x="2873" y="4122"/>
                  </a:lnTo>
                  <a:lnTo>
                    <a:pt x="2857" y="4122"/>
                  </a:lnTo>
                  <a:lnTo>
                    <a:pt x="2829" y="4128"/>
                  </a:lnTo>
                  <a:lnTo>
                    <a:pt x="2795" y="4141"/>
                  </a:lnTo>
                  <a:lnTo>
                    <a:pt x="2763" y="4156"/>
                  </a:lnTo>
                  <a:lnTo>
                    <a:pt x="2745" y="4175"/>
                  </a:lnTo>
                  <a:lnTo>
                    <a:pt x="2738" y="4194"/>
                  </a:lnTo>
                  <a:lnTo>
                    <a:pt x="2735" y="4216"/>
                  </a:lnTo>
                  <a:lnTo>
                    <a:pt x="2738" y="4238"/>
                  </a:lnTo>
                  <a:lnTo>
                    <a:pt x="2745" y="4253"/>
                  </a:lnTo>
                  <a:lnTo>
                    <a:pt x="2757" y="4259"/>
                  </a:lnTo>
                  <a:lnTo>
                    <a:pt x="2776" y="4266"/>
                  </a:lnTo>
                  <a:lnTo>
                    <a:pt x="2798" y="4272"/>
                  </a:lnTo>
                  <a:lnTo>
                    <a:pt x="2810" y="4278"/>
                  </a:lnTo>
                  <a:lnTo>
                    <a:pt x="2816" y="4300"/>
                  </a:lnTo>
                  <a:lnTo>
                    <a:pt x="2820" y="4328"/>
                  </a:lnTo>
                  <a:lnTo>
                    <a:pt x="2816" y="4356"/>
                  </a:lnTo>
                  <a:lnTo>
                    <a:pt x="2810" y="4378"/>
                  </a:lnTo>
                  <a:lnTo>
                    <a:pt x="2798" y="4397"/>
                  </a:lnTo>
                  <a:lnTo>
                    <a:pt x="2779" y="4416"/>
                  </a:lnTo>
                  <a:lnTo>
                    <a:pt x="2763" y="4434"/>
                  </a:lnTo>
                  <a:lnTo>
                    <a:pt x="2760" y="4459"/>
                  </a:lnTo>
                  <a:lnTo>
                    <a:pt x="2760" y="4490"/>
                  </a:lnTo>
                  <a:lnTo>
                    <a:pt x="2763" y="4519"/>
                  </a:lnTo>
                  <a:lnTo>
                    <a:pt x="2776" y="4537"/>
                  </a:lnTo>
                  <a:lnTo>
                    <a:pt x="2791" y="4562"/>
                  </a:lnTo>
                  <a:lnTo>
                    <a:pt x="2801" y="4581"/>
                  </a:lnTo>
                  <a:lnTo>
                    <a:pt x="2807" y="4606"/>
                  </a:lnTo>
                  <a:lnTo>
                    <a:pt x="2807" y="4634"/>
                  </a:lnTo>
                  <a:lnTo>
                    <a:pt x="2801" y="4659"/>
                  </a:lnTo>
                  <a:lnTo>
                    <a:pt x="2798" y="4668"/>
                  </a:lnTo>
                  <a:lnTo>
                    <a:pt x="2788" y="4675"/>
                  </a:lnTo>
                  <a:lnTo>
                    <a:pt x="2779" y="4684"/>
                  </a:lnTo>
                  <a:lnTo>
                    <a:pt x="2766" y="4690"/>
                  </a:lnTo>
                  <a:lnTo>
                    <a:pt x="2757" y="4693"/>
                  </a:lnTo>
                  <a:lnTo>
                    <a:pt x="2741" y="4693"/>
                  </a:lnTo>
                  <a:lnTo>
                    <a:pt x="2720" y="4687"/>
                  </a:lnTo>
                  <a:lnTo>
                    <a:pt x="2698" y="4681"/>
                  </a:lnTo>
                  <a:lnTo>
                    <a:pt x="2679" y="4678"/>
                  </a:lnTo>
                  <a:lnTo>
                    <a:pt x="2663" y="4681"/>
                  </a:lnTo>
                  <a:lnTo>
                    <a:pt x="2654" y="4697"/>
                  </a:lnTo>
                  <a:lnTo>
                    <a:pt x="2648" y="4718"/>
                  </a:lnTo>
                  <a:lnTo>
                    <a:pt x="2645" y="4743"/>
                  </a:lnTo>
                  <a:lnTo>
                    <a:pt x="2645" y="4772"/>
                  </a:lnTo>
                  <a:lnTo>
                    <a:pt x="2645" y="4790"/>
                  </a:lnTo>
                  <a:lnTo>
                    <a:pt x="2651" y="4818"/>
                  </a:lnTo>
                  <a:lnTo>
                    <a:pt x="2663" y="4853"/>
                  </a:lnTo>
                  <a:lnTo>
                    <a:pt x="2679" y="4884"/>
                  </a:lnTo>
                  <a:lnTo>
                    <a:pt x="2698" y="4909"/>
                  </a:lnTo>
                  <a:lnTo>
                    <a:pt x="2723" y="4921"/>
                  </a:lnTo>
                  <a:lnTo>
                    <a:pt x="2754" y="4934"/>
                  </a:lnTo>
                  <a:lnTo>
                    <a:pt x="2782" y="4940"/>
                  </a:lnTo>
                  <a:lnTo>
                    <a:pt x="2804" y="4940"/>
                  </a:lnTo>
                  <a:lnTo>
                    <a:pt x="2826" y="4937"/>
                  </a:lnTo>
                  <a:lnTo>
                    <a:pt x="2854" y="4937"/>
                  </a:lnTo>
                  <a:lnTo>
                    <a:pt x="2876" y="4934"/>
                  </a:lnTo>
                  <a:lnTo>
                    <a:pt x="2894" y="4940"/>
                  </a:lnTo>
                  <a:lnTo>
                    <a:pt x="2904" y="4956"/>
                  </a:lnTo>
                  <a:lnTo>
                    <a:pt x="2913" y="4974"/>
                  </a:lnTo>
                  <a:lnTo>
                    <a:pt x="2919" y="4996"/>
                  </a:lnTo>
                  <a:lnTo>
                    <a:pt x="2929" y="5012"/>
                  </a:lnTo>
                  <a:lnTo>
                    <a:pt x="2951" y="5031"/>
                  </a:lnTo>
                  <a:lnTo>
                    <a:pt x="2979" y="5043"/>
                  </a:lnTo>
                  <a:lnTo>
                    <a:pt x="3010" y="5059"/>
                  </a:lnTo>
                  <a:lnTo>
                    <a:pt x="3026" y="5078"/>
                  </a:lnTo>
                  <a:lnTo>
                    <a:pt x="3026" y="5096"/>
                  </a:lnTo>
                  <a:lnTo>
                    <a:pt x="3019" y="5118"/>
                  </a:lnTo>
                  <a:lnTo>
                    <a:pt x="3013" y="5140"/>
                  </a:lnTo>
                  <a:lnTo>
                    <a:pt x="3013" y="5159"/>
                  </a:lnTo>
                  <a:lnTo>
                    <a:pt x="3029" y="5177"/>
                  </a:lnTo>
                  <a:lnTo>
                    <a:pt x="3054" y="5193"/>
                  </a:lnTo>
                  <a:lnTo>
                    <a:pt x="3072" y="5209"/>
                  </a:lnTo>
                  <a:lnTo>
                    <a:pt x="3085" y="5237"/>
                  </a:lnTo>
                  <a:lnTo>
                    <a:pt x="3097" y="5268"/>
                  </a:lnTo>
                  <a:lnTo>
                    <a:pt x="3107" y="5305"/>
                  </a:lnTo>
                  <a:lnTo>
                    <a:pt x="3113" y="5334"/>
                  </a:lnTo>
                  <a:lnTo>
                    <a:pt x="3107" y="5352"/>
                  </a:lnTo>
                  <a:lnTo>
                    <a:pt x="3097" y="5377"/>
                  </a:lnTo>
                  <a:lnTo>
                    <a:pt x="3091" y="5399"/>
                  </a:lnTo>
                  <a:lnTo>
                    <a:pt x="3088" y="5421"/>
                  </a:lnTo>
                  <a:lnTo>
                    <a:pt x="3101" y="5434"/>
                  </a:lnTo>
                  <a:lnTo>
                    <a:pt x="3122" y="5449"/>
                  </a:lnTo>
                  <a:lnTo>
                    <a:pt x="3141" y="5462"/>
                  </a:lnTo>
                  <a:lnTo>
                    <a:pt x="3154" y="5477"/>
                  </a:lnTo>
                  <a:lnTo>
                    <a:pt x="3160" y="5499"/>
                  </a:lnTo>
                  <a:lnTo>
                    <a:pt x="3160" y="5524"/>
                  </a:lnTo>
                  <a:lnTo>
                    <a:pt x="3157" y="5552"/>
                  </a:lnTo>
                  <a:lnTo>
                    <a:pt x="3147" y="5568"/>
                  </a:lnTo>
                  <a:lnTo>
                    <a:pt x="3135" y="5574"/>
                  </a:lnTo>
                  <a:lnTo>
                    <a:pt x="3113" y="5571"/>
                  </a:lnTo>
                  <a:lnTo>
                    <a:pt x="3091" y="5568"/>
                  </a:lnTo>
                  <a:lnTo>
                    <a:pt x="3069" y="5565"/>
                  </a:lnTo>
                  <a:lnTo>
                    <a:pt x="3054" y="5568"/>
                  </a:lnTo>
                  <a:lnTo>
                    <a:pt x="3044" y="5583"/>
                  </a:lnTo>
                  <a:lnTo>
                    <a:pt x="3041" y="5605"/>
                  </a:lnTo>
                  <a:lnTo>
                    <a:pt x="3038" y="5624"/>
                  </a:lnTo>
                  <a:lnTo>
                    <a:pt x="3035" y="5646"/>
                  </a:lnTo>
                  <a:lnTo>
                    <a:pt x="3032" y="5671"/>
                  </a:lnTo>
                  <a:lnTo>
                    <a:pt x="3029" y="5693"/>
                  </a:lnTo>
                  <a:lnTo>
                    <a:pt x="3029" y="5715"/>
                  </a:lnTo>
                  <a:lnTo>
                    <a:pt x="3032" y="5743"/>
                  </a:lnTo>
                  <a:lnTo>
                    <a:pt x="3029" y="5761"/>
                  </a:lnTo>
                  <a:lnTo>
                    <a:pt x="3026" y="5768"/>
                  </a:lnTo>
                  <a:lnTo>
                    <a:pt x="3023" y="5774"/>
                  </a:lnTo>
                  <a:lnTo>
                    <a:pt x="3016" y="5780"/>
                  </a:lnTo>
                  <a:lnTo>
                    <a:pt x="3013" y="5786"/>
                  </a:lnTo>
                  <a:lnTo>
                    <a:pt x="3010" y="5808"/>
                  </a:lnTo>
                  <a:lnTo>
                    <a:pt x="3007" y="5833"/>
                  </a:lnTo>
                  <a:lnTo>
                    <a:pt x="3004" y="5858"/>
                  </a:lnTo>
                  <a:lnTo>
                    <a:pt x="2994" y="5880"/>
                  </a:lnTo>
                  <a:lnTo>
                    <a:pt x="2988" y="5886"/>
                  </a:lnTo>
                  <a:lnTo>
                    <a:pt x="2976" y="5893"/>
                  </a:lnTo>
                  <a:lnTo>
                    <a:pt x="2966" y="5902"/>
                  </a:lnTo>
                  <a:lnTo>
                    <a:pt x="2954" y="5908"/>
                  </a:lnTo>
                  <a:lnTo>
                    <a:pt x="2944" y="5914"/>
                  </a:lnTo>
                  <a:lnTo>
                    <a:pt x="2932" y="5936"/>
                  </a:lnTo>
                  <a:lnTo>
                    <a:pt x="2919" y="5961"/>
                  </a:lnTo>
                  <a:lnTo>
                    <a:pt x="2910" y="5986"/>
                  </a:lnTo>
                  <a:lnTo>
                    <a:pt x="2901" y="6008"/>
                  </a:lnTo>
                  <a:lnTo>
                    <a:pt x="2891" y="6033"/>
                  </a:lnTo>
                  <a:lnTo>
                    <a:pt x="2876" y="6049"/>
                  </a:lnTo>
                  <a:lnTo>
                    <a:pt x="2863" y="6052"/>
                  </a:lnTo>
                  <a:lnTo>
                    <a:pt x="2845" y="6052"/>
                  </a:lnTo>
                  <a:lnTo>
                    <a:pt x="2826" y="6049"/>
                  </a:lnTo>
                  <a:lnTo>
                    <a:pt x="2810" y="6049"/>
                  </a:lnTo>
                  <a:lnTo>
                    <a:pt x="2791" y="6064"/>
                  </a:lnTo>
                  <a:lnTo>
                    <a:pt x="2766" y="6083"/>
                  </a:lnTo>
                  <a:lnTo>
                    <a:pt x="2748" y="6108"/>
                  </a:lnTo>
                  <a:lnTo>
                    <a:pt x="2735" y="6130"/>
                  </a:lnTo>
                  <a:lnTo>
                    <a:pt x="2738" y="6145"/>
                  </a:lnTo>
                  <a:lnTo>
                    <a:pt x="2745" y="6170"/>
                  </a:lnTo>
                  <a:lnTo>
                    <a:pt x="2751" y="6192"/>
                  </a:lnTo>
                  <a:lnTo>
                    <a:pt x="2757" y="6214"/>
                  </a:lnTo>
                  <a:lnTo>
                    <a:pt x="2751" y="6230"/>
                  </a:lnTo>
                  <a:lnTo>
                    <a:pt x="2738" y="6239"/>
                  </a:lnTo>
                  <a:lnTo>
                    <a:pt x="2713" y="6239"/>
                  </a:lnTo>
                  <a:lnTo>
                    <a:pt x="2692" y="6239"/>
                  </a:lnTo>
                  <a:lnTo>
                    <a:pt x="2673" y="6242"/>
                  </a:lnTo>
                  <a:lnTo>
                    <a:pt x="2648" y="6255"/>
                  </a:lnTo>
                  <a:lnTo>
                    <a:pt x="2623" y="6273"/>
                  </a:lnTo>
                  <a:lnTo>
                    <a:pt x="2607" y="6292"/>
                  </a:lnTo>
                  <a:lnTo>
                    <a:pt x="2601" y="6311"/>
                  </a:lnTo>
                  <a:lnTo>
                    <a:pt x="2598" y="6333"/>
                  </a:lnTo>
                  <a:lnTo>
                    <a:pt x="2598" y="6358"/>
                  </a:lnTo>
                  <a:lnTo>
                    <a:pt x="2592" y="6377"/>
                  </a:lnTo>
                  <a:lnTo>
                    <a:pt x="2579" y="6386"/>
                  </a:lnTo>
                  <a:lnTo>
                    <a:pt x="2563" y="6392"/>
                  </a:lnTo>
                  <a:lnTo>
                    <a:pt x="2545" y="6402"/>
                  </a:lnTo>
                  <a:lnTo>
                    <a:pt x="2535" y="6411"/>
                  </a:lnTo>
                  <a:lnTo>
                    <a:pt x="2535" y="6430"/>
                  </a:lnTo>
                  <a:lnTo>
                    <a:pt x="2542" y="6451"/>
                  </a:lnTo>
                  <a:lnTo>
                    <a:pt x="2548" y="6473"/>
                  </a:lnTo>
                  <a:lnTo>
                    <a:pt x="2551" y="6492"/>
                  </a:lnTo>
                  <a:lnTo>
                    <a:pt x="2548" y="6498"/>
                  </a:lnTo>
                  <a:lnTo>
                    <a:pt x="2542" y="6505"/>
                  </a:lnTo>
                  <a:lnTo>
                    <a:pt x="2535" y="6511"/>
                  </a:lnTo>
                  <a:lnTo>
                    <a:pt x="2529" y="6517"/>
                  </a:lnTo>
                  <a:lnTo>
                    <a:pt x="2526" y="6520"/>
                  </a:lnTo>
                  <a:lnTo>
                    <a:pt x="2517" y="6551"/>
                  </a:lnTo>
                  <a:lnTo>
                    <a:pt x="2510" y="6592"/>
                  </a:lnTo>
                  <a:lnTo>
                    <a:pt x="2507" y="6623"/>
                  </a:lnTo>
                  <a:lnTo>
                    <a:pt x="2517" y="6651"/>
                  </a:lnTo>
                  <a:lnTo>
                    <a:pt x="2526" y="6683"/>
                  </a:lnTo>
                  <a:lnTo>
                    <a:pt x="2517" y="6683"/>
                  </a:lnTo>
                  <a:lnTo>
                    <a:pt x="2504" y="6683"/>
                  </a:lnTo>
                  <a:lnTo>
                    <a:pt x="2495" y="6686"/>
                  </a:lnTo>
                  <a:lnTo>
                    <a:pt x="2476" y="6695"/>
                  </a:lnTo>
                  <a:lnTo>
                    <a:pt x="2454" y="6714"/>
                  </a:lnTo>
                  <a:lnTo>
                    <a:pt x="2435" y="6733"/>
                  </a:lnTo>
                  <a:lnTo>
                    <a:pt x="2429" y="6748"/>
                  </a:lnTo>
                  <a:lnTo>
                    <a:pt x="2420" y="6767"/>
                  </a:lnTo>
                  <a:lnTo>
                    <a:pt x="2410" y="6786"/>
                  </a:lnTo>
                  <a:lnTo>
                    <a:pt x="2401" y="6795"/>
                  </a:lnTo>
                  <a:lnTo>
                    <a:pt x="2385" y="6792"/>
                  </a:lnTo>
                  <a:lnTo>
                    <a:pt x="2367" y="6782"/>
                  </a:lnTo>
                  <a:lnTo>
                    <a:pt x="2348" y="6770"/>
                  </a:lnTo>
                  <a:lnTo>
                    <a:pt x="2332" y="6767"/>
                  </a:lnTo>
                  <a:lnTo>
                    <a:pt x="2326" y="6770"/>
                  </a:lnTo>
                  <a:lnTo>
                    <a:pt x="2320" y="6776"/>
                  </a:lnTo>
                  <a:lnTo>
                    <a:pt x="2314" y="6782"/>
                  </a:lnTo>
                  <a:lnTo>
                    <a:pt x="2307" y="6789"/>
                  </a:lnTo>
                  <a:lnTo>
                    <a:pt x="2301" y="6795"/>
                  </a:lnTo>
                  <a:lnTo>
                    <a:pt x="2295" y="6801"/>
                  </a:lnTo>
                  <a:lnTo>
                    <a:pt x="2289" y="6801"/>
                  </a:lnTo>
                  <a:lnTo>
                    <a:pt x="2276" y="6795"/>
                  </a:lnTo>
                  <a:lnTo>
                    <a:pt x="2267" y="6779"/>
                  </a:lnTo>
                  <a:lnTo>
                    <a:pt x="2257" y="6761"/>
                  </a:lnTo>
                  <a:lnTo>
                    <a:pt x="2251" y="6742"/>
                  </a:lnTo>
                  <a:lnTo>
                    <a:pt x="2239" y="6729"/>
                  </a:lnTo>
                  <a:lnTo>
                    <a:pt x="2223" y="6726"/>
                  </a:lnTo>
                  <a:lnTo>
                    <a:pt x="2201" y="6726"/>
                  </a:lnTo>
                  <a:lnTo>
                    <a:pt x="2183" y="6729"/>
                  </a:lnTo>
                  <a:lnTo>
                    <a:pt x="2179" y="6736"/>
                  </a:lnTo>
                  <a:lnTo>
                    <a:pt x="2179" y="6742"/>
                  </a:lnTo>
                  <a:lnTo>
                    <a:pt x="2176" y="6748"/>
                  </a:lnTo>
                  <a:lnTo>
                    <a:pt x="2176" y="6754"/>
                  </a:lnTo>
                  <a:lnTo>
                    <a:pt x="2173" y="6757"/>
                  </a:lnTo>
                  <a:lnTo>
                    <a:pt x="2158" y="6773"/>
                  </a:lnTo>
                  <a:lnTo>
                    <a:pt x="2139" y="6792"/>
                  </a:lnTo>
                  <a:lnTo>
                    <a:pt x="2117" y="6804"/>
                  </a:lnTo>
                  <a:lnTo>
                    <a:pt x="2095" y="6807"/>
                  </a:lnTo>
                  <a:lnTo>
                    <a:pt x="2089" y="6804"/>
                  </a:lnTo>
                  <a:lnTo>
                    <a:pt x="2079" y="6798"/>
                  </a:lnTo>
                  <a:lnTo>
                    <a:pt x="2073" y="6792"/>
                  </a:lnTo>
                  <a:lnTo>
                    <a:pt x="2067" y="6782"/>
                  </a:lnTo>
                  <a:lnTo>
                    <a:pt x="2058" y="6773"/>
                  </a:lnTo>
                  <a:lnTo>
                    <a:pt x="2054" y="6767"/>
                  </a:lnTo>
                  <a:lnTo>
                    <a:pt x="2033" y="6742"/>
                  </a:lnTo>
                  <a:lnTo>
                    <a:pt x="2011" y="6711"/>
                  </a:lnTo>
                  <a:lnTo>
                    <a:pt x="1986" y="6679"/>
                  </a:lnTo>
                  <a:lnTo>
                    <a:pt x="1970" y="6651"/>
                  </a:lnTo>
                  <a:lnTo>
                    <a:pt x="1958" y="6629"/>
                  </a:lnTo>
                  <a:lnTo>
                    <a:pt x="1945" y="6601"/>
                  </a:lnTo>
                  <a:lnTo>
                    <a:pt x="1933" y="6576"/>
                  </a:lnTo>
                  <a:lnTo>
                    <a:pt x="1917" y="6561"/>
                  </a:lnTo>
                  <a:lnTo>
                    <a:pt x="1905" y="6555"/>
                  </a:lnTo>
                  <a:lnTo>
                    <a:pt x="1883" y="6558"/>
                  </a:lnTo>
                  <a:lnTo>
                    <a:pt x="1864" y="6558"/>
                  </a:lnTo>
                  <a:lnTo>
                    <a:pt x="1848" y="6558"/>
                  </a:lnTo>
                  <a:lnTo>
                    <a:pt x="1827" y="6548"/>
                  </a:lnTo>
                  <a:lnTo>
                    <a:pt x="1802" y="6539"/>
                  </a:lnTo>
                  <a:lnTo>
                    <a:pt x="1780" y="6523"/>
                  </a:lnTo>
                  <a:lnTo>
                    <a:pt x="1767" y="6505"/>
                  </a:lnTo>
                  <a:lnTo>
                    <a:pt x="1773" y="6489"/>
                  </a:lnTo>
                  <a:lnTo>
                    <a:pt x="1789" y="6470"/>
                  </a:lnTo>
                  <a:lnTo>
                    <a:pt x="1805" y="6455"/>
                  </a:lnTo>
                  <a:lnTo>
                    <a:pt x="1814" y="6436"/>
                  </a:lnTo>
                  <a:lnTo>
                    <a:pt x="1811" y="6420"/>
                  </a:lnTo>
                  <a:lnTo>
                    <a:pt x="1802" y="6398"/>
                  </a:lnTo>
                  <a:lnTo>
                    <a:pt x="1792" y="6380"/>
                  </a:lnTo>
                  <a:lnTo>
                    <a:pt x="1780" y="6364"/>
                  </a:lnTo>
                  <a:lnTo>
                    <a:pt x="1761" y="6355"/>
                  </a:lnTo>
                  <a:lnTo>
                    <a:pt x="1739" y="6348"/>
                  </a:lnTo>
                  <a:lnTo>
                    <a:pt x="1717" y="6345"/>
                  </a:lnTo>
                  <a:lnTo>
                    <a:pt x="1699" y="6352"/>
                  </a:lnTo>
                  <a:lnTo>
                    <a:pt x="1677" y="6361"/>
                  </a:lnTo>
                  <a:lnTo>
                    <a:pt x="1661" y="6370"/>
                  </a:lnTo>
                  <a:lnTo>
                    <a:pt x="1636" y="6380"/>
                  </a:lnTo>
                  <a:lnTo>
                    <a:pt x="1608" y="6392"/>
                  </a:lnTo>
                  <a:lnTo>
                    <a:pt x="1580" y="6402"/>
                  </a:lnTo>
                  <a:lnTo>
                    <a:pt x="1558" y="6405"/>
                  </a:lnTo>
                  <a:lnTo>
                    <a:pt x="1533" y="6395"/>
                  </a:lnTo>
                  <a:lnTo>
                    <a:pt x="1508" y="6383"/>
                  </a:lnTo>
                  <a:lnTo>
                    <a:pt x="1486" y="6370"/>
                  </a:lnTo>
                  <a:lnTo>
                    <a:pt x="1458" y="6358"/>
                  </a:lnTo>
                  <a:lnTo>
                    <a:pt x="1427" y="6342"/>
                  </a:lnTo>
                  <a:lnTo>
                    <a:pt x="1399" y="6330"/>
                  </a:lnTo>
                  <a:lnTo>
                    <a:pt x="1377" y="6327"/>
                  </a:lnTo>
                  <a:lnTo>
                    <a:pt x="1352" y="6323"/>
                  </a:lnTo>
                  <a:lnTo>
                    <a:pt x="1327" y="6317"/>
                  </a:lnTo>
                  <a:lnTo>
                    <a:pt x="1308" y="6311"/>
                  </a:lnTo>
                  <a:lnTo>
                    <a:pt x="1299" y="6305"/>
                  </a:lnTo>
                  <a:lnTo>
                    <a:pt x="1293" y="6295"/>
                  </a:lnTo>
                  <a:lnTo>
                    <a:pt x="1286" y="6286"/>
                  </a:lnTo>
                  <a:lnTo>
                    <a:pt x="1280" y="6280"/>
                  </a:lnTo>
                  <a:lnTo>
                    <a:pt x="1271" y="6273"/>
                  </a:lnTo>
                  <a:lnTo>
                    <a:pt x="1252" y="6270"/>
                  </a:lnTo>
                  <a:lnTo>
                    <a:pt x="1230" y="6273"/>
                  </a:lnTo>
                  <a:lnTo>
                    <a:pt x="1211" y="6273"/>
                  </a:lnTo>
                  <a:lnTo>
                    <a:pt x="1186" y="6267"/>
                  </a:lnTo>
                  <a:lnTo>
                    <a:pt x="1158" y="6255"/>
                  </a:lnTo>
                  <a:lnTo>
                    <a:pt x="1136" y="6239"/>
                  </a:lnTo>
                  <a:lnTo>
                    <a:pt x="1124" y="6220"/>
                  </a:lnTo>
                  <a:lnTo>
                    <a:pt x="1118" y="6195"/>
                  </a:lnTo>
                  <a:lnTo>
                    <a:pt x="1108" y="6174"/>
                  </a:lnTo>
                  <a:lnTo>
                    <a:pt x="1096" y="6155"/>
                  </a:lnTo>
                  <a:lnTo>
                    <a:pt x="1077" y="6149"/>
                  </a:lnTo>
                  <a:lnTo>
                    <a:pt x="1055" y="6149"/>
                  </a:lnTo>
                  <a:lnTo>
                    <a:pt x="1033" y="6149"/>
                  </a:lnTo>
                  <a:lnTo>
                    <a:pt x="1015" y="6149"/>
                  </a:lnTo>
                  <a:lnTo>
                    <a:pt x="990" y="6149"/>
                  </a:lnTo>
                  <a:lnTo>
                    <a:pt x="958" y="6149"/>
                  </a:lnTo>
                  <a:lnTo>
                    <a:pt x="930" y="6142"/>
                  </a:lnTo>
                  <a:lnTo>
                    <a:pt x="912" y="6130"/>
                  </a:lnTo>
                  <a:lnTo>
                    <a:pt x="890" y="6111"/>
                  </a:lnTo>
                  <a:lnTo>
                    <a:pt x="877" y="6095"/>
                  </a:lnTo>
                  <a:lnTo>
                    <a:pt x="874" y="6071"/>
                  </a:lnTo>
                  <a:lnTo>
                    <a:pt x="874" y="6042"/>
                  </a:lnTo>
                  <a:lnTo>
                    <a:pt x="877" y="6017"/>
                  </a:lnTo>
                  <a:lnTo>
                    <a:pt x="880" y="6011"/>
                  </a:lnTo>
                  <a:lnTo>
                    <a:pt x="887" y="6002"/>
                  </a:lnTo>
                  <a:lnTo>
                    <a:pt x="890" y="5996"/>
                  </a:lnTo>
                  <a:lnTo>
                    <a:pt x="893" y="5986"/>
                  </a:lnTo>
                  <a:lnTo>
                    <a:pt x="896" y="5980"/>
                  </a:lnTo>
                  <a:lnTo>
                    <a:pt x="890" y="5964"/>
                  </a:lnTo>
                  <a:lnTo>
                    <a:pt x="880" y="5942"/>
                  </a:lnTo>
                  <a:lnTo>
                    <a:pt x="868" y="5927"/>
                  </a:lnTo>
                  <a:lnTo>
                    <a:pt x="855" y="5918"/>
                  </a:lnTo>
                  <a:lnTo>
                    <a:pt x="837" y="5918"/>
                  </a:lnTo>
                  <a:lnTo>
                    <a:pt x="812" y="5924"/>
                  </a:lnTo>
                  <a:lnTo>
                    <a:pt x="790" y="5933"/>
                  </a:lnTo>
                  <a:lnTo>
                    <a:pt x="774" y="5942"/>
                  </a:lnTo>
                  <a:lnTo>
                    <a:pt x="765" y="5961"/>
                  </a:lnTo>
                  <a:lnTo>
                    <a:pt x="762" y="5986"/>
                  </a:lnTo>
                  <a:lnTo>
                    <a:pt x="759" y="6011"/>
                  </a:lnTo>
                  <a:lnTo>
                    <a:pt x="755" y="6033"/>
                  </a:lnTo>
                  <a:lnTo>
                    <a:pt x="755" y="6055"/>
                  </a:lnTo>
                  <a:lnTo>
                    <a:pt x="759" y="6077"/>
                  </a:lnTo>
                  <a:lnTo>
                    <a:pt x="755" y="6095"/>
                  </a:lnTo>
                  <a:lnTo>
                    <a:pt x="743" y="6114"/>
                  </a:lnTo>
                  <a:lnTo>
                    <a:pt x="724" y="6130"/>
                  </a:lnTo>
                  <a:lnTo>
                    <a:pt x="705" y="6139"/>
                  </a:lnTo>
                  <a:lnTo>
                    <a:pt x="687" y="6142"/>
                  </a:lnTo>
                  <a:lnTo>
                    <a:pt x="665" y="6142"/>
                  </a:lnTo>
                  <a:lnTo>
                    <a:pt x="649" y="6139"/>
                  </a:lnTo>
                  <a:lnTo>
                    <a:pt x="627" y="6130"/>
                  </a:lnTo>
                  <a:lnTo>
                    <a:pt x="602" y="6114"/>
                  </a:lnTo>
                  <a:lnTo>
                    <a:pt x="587" y="6099"/>
                  </a:lnTo>
                  <a:lnTo>
                    <a:pt x="574" y="6083"/>
                  </a:lnTo>
                  <a:lnTo>
                    <a:pt x="565" y="6061"/>
                  </a:lnTo>
                  <a:lnTo>
                    <a:pt x="559" y="6039"/>
                  </a:lnTo>
                  <a:lnTo>
                    <a:pt x="559" y="6021"/>
                  </a:lnTo>
                  <a:lnTo>
                    <a:pt x="562" y="5996"/>
                  </a:lnTo>
                  <a:lnTo>
                    <a:pt x="571" y="5971"/>
                  </a:lnTo>
                  <a:lnTo>
                    <a:pt x="581" y="5955"/>
                  </a:lnTo>
                  <a:lnTo>
                    <a:pt x="596" y="5946"/>
                  </a:lnTo>
                  <a:lnTo>
                    <a:pt x="615" y="5942"/>
                  </a:lnTo>
                  <a:lnTo>
                    <a:pt x="634" y="5939"/>
                  </a:lnTo>
                  <a:lnTo>
                    <a:pt x="649" y="5930"/>
                  </a:lnTo>
                  <a:lnTo>
                    <a:pt x="652" y="5914"/>
                  </a:lnTo>
                  <a:lnTo>
                    <a:pt x="652" y="5889"/>
                  </a:lnTo>
                  <a:lnTo>
                    <a:pt x="649" y="5864"/>
                  </a:lnTo>
                  <a:lnTo>
                    <a:pt x="646" y="5843"/>
                  </a:lnTo>
                  <a:lnTo>
                    <a:pt x="649" y="5824"/>
                  </a:lnTo>
                  <a:lnTo>
                    <a:pt x="652" y="5814"/>
                  </a:lnTo>
                  <a:lnTo>
                    <a:pt x="659" y="5808"/>
                  </a:lnTo>
                  <a:lnTo>
                    <a:pt x="668" y="5799"/>
                  </a:lnTo>
                  <a:lnTo>
                    <a:pt x="674" y="5793"/>
                  </a:lnTo>
                  <a:lnTo>
                    <a:pt x="681" y="5786"/>
                  </a:lnTo>
                  <a:lnTo>
                    <a:pt x="693" y="5761"/>
                  </a:lnTo>
                  <a:lnTo>
                    <a:pt x="702" y="5730"/>
                  </a:lnTo>
                  <a:lnTo>
                    <a:pt x="712" y="5699"/>
                  </a:lnTo>
                  <a:lnTo>
                    <a:pt x="718" y="5668"/>
                  </a:lnTo>
                  <a:lnTo>
                    <a:pt x="715" y="5643"/>
                  </a:lnTo>
                  <a:lnTo>
                    <a:pt x="712" y="5636"/>
                  </a:lnTo>
                  <a:lnTo>
                    <a:pt x="705" y="5630"/>
                  </a:lnTo>
                  <a:lnTo>
                    <a:pt x="699" y="5624"/>
                  </a:lnTo>
                  <a:lnTo>
                    <a:pt x="693" y="5621"/>
                  </a:lnTo>
                  <a:lnTo>
                    <a:pt x="687" y="5618"/>
                  </a:lnTo>
                  <a:lnTo>
                    <a:pt x="662" y="5605"/>
                  </a:lnTo>
                  <a:lnTo>
                    <a:pt x="634" y="5596"/>
                  </a:lnTo>
                  <a:lnTo>
                    <a:pt x="606" y="5590"/>
                  </a:lnTo>
                  <a:lnTo>
                    <a:pt x="587" y="5587"/>
                  </a:lnTo>
                  <a:lnTo>
                    <a:pt x="562" y="5587"/>
                  </a:lnTo>
                  <a:lnTo>
                    <a:pt x="540" y="5587"/>
                  </a:lnTo>
                  <a:lnTo>
                    <a:pt x="521" y="5577"/>
                  </a:lnTo>
                  <a:lnTo>
                    <a:pt x="496" y="5562"/>
                  </a:lnTo>
                  <a:lnTo>
                    <a:pt x="474" y="5549"/>
                  </a:lnTo>
                  <a:lnTo>
                    <a:pt x="453" y="5540"/>
                  </a:lnTo>
                  <a:lnTo>
                    <a:pt x="446" y="5540"/>
                  </a:lnTo>
                  <a:lnTo>
                    <a:pt x="437" y="5537"/>
                  </a:lnTo>
                  <a:lnTo>
                    <a:pt x="428" y="5540"/>
                  </a:lnTo>
                  <a:lnTo>
                    <a:pt x="418" y="5540"/>
                  </a:lnTo>
                  <a:lnTo>
                    <a:pt x="409" y="5543"/>
                  </a:lnTo>
                  <a:lnTo>
                    <a:pt x="403" y="5555"/>
                  </a:lnTo>
                  <a:lnTo>
                    <a:pt x="396" y="5574"/>
                  </a:lnTo>
                  <a:lnTo>
                    <a:pt x="390" y="5593"/>
                  </a:lnTo>
                  <a:lnTo>
                    <a:pt x="381" y="5602"/>
                  </a:lnTo>
                  <a:lnTo>
                    <a:pt x="362" y="5608"/>
                  </a:lnTo>
                  <a:lnTo>
                    <a:pt x="337" y="5608"/>
                  </a:lnTo>
                  <a:lnTo>
                    <a:pt x="315" y="5605"/>
                  </a:lnTo>
                  <a:lnTo>
                    <a:pt x="293" y="5596"/>
                  </a:lnTo>
                  <a:lnTo>
                    <a:pt x="268" y="5583"/>
                  </a:lnTo>
                  <a:lnTo>
                    <a:pt x="253" y="5565"/>
                  </a:lnTo>
                  <a:lnTo>
                    <a:pt x="250" y="5552"/>
                  </a:lnTo>
                  <a:lnTo>
                    <a:pt x="253" y="5533"/>
                  </a:lnTo>
                  <a:lnTo>
                    <a:pt x="259" y="5512"/>
                  </a:lnTo>
                  <a:lnTo>
                    <a:pt x="262" y="5496"/>
                  </a:lnTo>
                  <a:lnTo>
                    <a:pt x="259" y="5480"/>
                  </a:lnTo>
                  <a:lnTo>
                    <a:pt x="243" y="5468"/>
                  </a:lnTo>
                  <a:lnTo>
                    <a:pt x="221" y="5462"/>
                  </a:lnTo>
                  <a:lnTo>
                    <a:pt x="196" y="5455"/>
                  </a:lnTo>
                  <a:lnTo>
                    <a:pt x="178" y="5455"/>
                  </a:lnTo>
                  <a:lnTo>
                    <a:pt x="156" y="5465"/>
                  </a:lnTo>
                  <a:lnTo>
                    <a:pt x="134" y="5483"/>
                  </a:lnTo>
                  <a:lnTo>
                    <a:pt x="112" y="5505"/>
                  </a:lnTo>
                  <a:lnTo>
                    <a:pt x="87" y="5521"/>
                  </a:lnTo>
                  <a:lnTo>
                    <a:pt x="68" y="5524"/>
                  </a:lnTo>
                  <a:lnTo>
                    <a:pt x="53" y="5515"/>
                  </a:lnTo>
                  <a:lnTo>
                    <a:pt x="40" y="5493"/>
                  </a:lnTo>
                  <a:lnTo>
                    <a:pt x="31" y="5471"/>
                  </a:lnTo>
                  <a:lnTo>
                    <a:pt x="28" y="5449"/>
                  </a:lnTo>
                  <a:lnTo>
                    <a:pt x="28" y="5443"/>
                  </a:lnTo>
                  <a:lnTo>
                    <a:pt x="34" y="5437"/>
                  </a:lnTo>
                  <a:lnTo>
                    <a:pt x="40" y="5430"/>
                  </a:lnTo>
                  <a:lnTo>
                    <a:pt x="47" y="5424"/>
                  </a:lnTo>
                  <a:lnTo>
                    <a:pt x="53" y="5415"/>
                  </a:lnTo>
                  <a:lnTo>
                    <a:pt x="56" y="5409"/>
                  </a:lnTo>
                  <a:lnTo>
                    <a:pt x="50" y="5393"/>
                  </a:lnTo>
                  <a:lnTo>
                    <a:pt x="34" y="5374"/>
                  </a:lnTo>
                  <a:lnTo>
                    <a:pt x="15" y="5355"/>
                  </a:lnTo>
                  <a:lnTo>
                    <a:pt x="3" y="5337"/>
                  </a:lnTo>
                  <a:lnTo>
                    <a:pt x="0" y="5321"/>
                  </a:lnTo>
                  <a:lnTo>
                    <a:pt x="12" y="5312"/>
                  </a:lnTo>
                  <a:lnTo>
                    <a:pt x="31" y="5305"/>
                  </a:lnTo>
                  <a:lnTo>
                    <a:pt x="53" y="5302"/>
                  </a:lnTo>
                  <a:lnTo>
                    <a:pt x="75" y="5302"/>
                  </a:lnTo>
                  <a:lnTo>
                    <a:pt x="93" y="5302"/>
                  </a:lnTo>
                  <a:lnTo>
                    <a:pt x="128" y="5302"/>
                  </a:lnTo>
                  <a:lnTo>
                    <a:pt x="168" y="5302"/>
                  </a:lnTo>
                  <a:lnTo>
                    <a:pt x="209" y="5299"/>
                  </a:lnTo>
                  <a:lnTo>
                    <a:pt x="240" y="5293"/>
                  </a:lnTo>
                  <a:lnTo>
                    <a:pt x="268" y="5281"/>
                  </a:lnTo>
                  <a:lnTo>
                    <a:pt x="303" y="5256"/>
                  </a:lnTo>
                  <a:lnTo>
                    <a:pt x="331" y="5231"/>
                  </a:lnTo>
                  <a:lnTo>
                    <a:pt x="353" y="5209"/>
                  </a:lnTo>
                  <a:lnTo>
                    <a:pt x="378" y="5177"/>
                  </a:lnTo>
                  <a:lnTo>
                    <a:pt x="406" y="5137"/>
                  </a:lnTo>
                  <a:lnTo>
                    <a:pt x="431" y="5093"/>
                  </a:lnTo>
                  <a:lnTo>
                    <a:pt x="456" y="5049"/>
                  </a:lnTo>
                  <a:lnTo>
                    <a:pt x="478" y="5015"/>
                  </a:lnTo>
                  <a:lnTo>
                    <a:pt x="490" y="4996"/>
                  </a:lnTo>
                  <a:lnTo>
                    <a:pt x="509" y="4974"/>
                  </a:lnTo>
                  <a:lnTo>
                    <a:pt x="524" y="4950"/>
                  </a:lnTo>
                  <a:lnTo>
                    <a:pt x="537" y="4928"/>
                  </a:lnTo>
                  <a:lnTo>
                    <a:pt x="546" y="4906"/>
                  </a:lnTo>
                  <a:lnTo>
                    <a:pt x="549" y="4878"/>
                  </a:lnTo>
                  <a:lnTo>
                    <a:pt x="556" y="4850"/>
                  </a:lnTo>
                  <a:lnTo>
                    <a:pt x="565" y="4828"/>
                  </a:lnTo>
                  <a:lnTo>
                    <a:pt x="587" y="4809"/>
                  </a:lnTo>
                  <a:lnTo>
                    <a:pt x="618" y="4787"/>
                  </a:lnTo>
                  <a:lnTo>
                    <a:pt x="637" y="4768"/>
                  </a:lnTo>
                  <a:lnTo>
                    <a:pt x="646" y="4747"/>
                  </a:lnTo>
                  <a:lnTo>
                    <a:pt x="649" y="4718"/>
                  </a:lnTo>
                  <a:lnTo>
                    <a:pt x="652" y="4687"/>
                  </a:lnTo>
                  <a:lnTo>
                    <a:pt x="652" y="4662"/>
                  </a:lnTo>
                  <a:lnTo>
                    <a:pt x="652" y="4634"/>
                  </a:lnTo>
                  <a:lnTo>
                    <a:pt x="652" y="4603"/>
                  </a:lnTo>
                  <a:lnTo>
                    <a:pt x="652" y="4569"/>
                  </a:lnTo>
                  <a:lnTo>
                    <a:pt x="656" y="4540"/>
                  </a:lnTo>
                  <a:lnTo>
                    <a:pt x="665" y="4522"/>
                  </a:lnTo>
                  <a:lnTo>
                    <a:pt x="677" y="4500"/>
                  </a:lnTo>
                  <a:lnTo>
                    <a:pt x="693" y="4481"/>
                  </a:lnTo>
                  <a:lnTo>
                    <a:pt x="702" y="4462"/>
                  </a:lnTo>
                  <a:lnTo>
                    <a:pt x="702" y="4441"/>
                  </a:lnTo>
                  <a:lnTo>
                    <a:pt x="702" y="4416"/>
                  </a:lnTo>
                  <a:lnTo>
                    <a:pt x="702" y="4391"/>
                  </a:lnTo>
                  <a:lnTo>
                    <a:pt x="702" y="4369"/>
                  </a:lnTo>
                  <a:lnTo>
                    <a:pt x="702" y="4341"/>
                  </a:lnTo>
                  <a:lnTo>
                    <a:pt x="705" y="4306"/>
                  </a:lnTo>
                  <a:lnTo>
                    <a:pt x="709" y="4272"/>
                  </a:lnTo>
                  <a:lnTo>
                    <a:pt x="715" y="4244"/>
                  </a:lnTo>
                  <a:lnTo>
                    <a:pt x="727" y="4222"/>
                  </a:lnTo>
                  <a:lnTo>
                    <a:pt x="749" y="4200"/>
                  </a:lnTo>
                  <a:lnTo>
                    <a:pt x="771" y="4175"/>
                  </a:lnTo>
                  <a:lnTo>
                    <a:pt x="787" y="4156"/>
                  </a:lnTo>
                  <a:lnTo>
                    <a:pt x="796" y="4119"/>
                  </a:lnTo>
                  <a:lnTo>
                    <a:pt x="802" y="4075"/>
                  </a:lnTo>
                  <a:lnTo>
                    <a:pt x="805" y="4028"/>
                  </a:lnTo>
                  <a:lnTo>
                    <a:pt x="809" y="3982"/>
                  </a:lnTo>
                  <a:lnTo>
                    <a:pt x="812" y="3935"/>
                  </a:lnTo>
                  <a:lnTo>
                    <a:pt x="818" y="3900"/>
                  </a:lnTo>
                  <a:lnTo>
                    <a:pt x="827" y="3860"/>
                  </a:lnTo>
                  <a:lnTo>
                    <a:pt x="843" y="3810"/>
                  </a:lnTo>
                  <a:lnTo>
                    <a:pt x="862" y="3760"/>
                  </a:lnTo>
                  <a:lnTo>
                    <a:pt x="877" y="3710"/>
                  </a:lnTo>
                  <a:lnTo>
                    <a:pt x="890" y="3669"/>
                  </a:lnTo>
                  <a:lnTo>
                    <a:pt x="902" y="3622"/>
                  </a:lnTo>
                  <a:lnTo>
                    <a:pt x="912" y="3563"/>
                  </a:lnTo>
                  <a:lnTo>
                    <a:pt x="924" y="3501"/>
                  </a:lnTo>
                  <a:lnTo>
                    <a:pt x="933" y="3441"/>
                  </a:lnTo>
                  <a:lnTo>
                    <a:pt x="943" y="3394"/>
                  </a:lnTo>
                  <a:lnTo>
                    <a:pt x="946" y="3348"/>
                  </a:lnTo>
                  <a:lnTo>
                    <a:pt x="952" y="3291"/>
                  </a:lnTo>
                  <a:lnTo>
                    <a:pt x="958" y="3235"/>
                  </a:lnTo>
                  <a:lnTo>
                    <a:pt x="968" y="3188"/>
                  </a:lnTo>
                  <a:lnTo>
                    <a:pt x="977" y="3160"/>
                  </a:lnTo>
                  <a:lnTo>
                    <a:pt x="993" y="3123"/>
                  </a:lnTo>
                  <a:lnTo>
                    <a:pt x="1012" y="3088"/>
                  </a:lnTo>
                  <a:lnTo>
                    <a:pt x="1021" y="3057"/>
                  </a:lnTo>
                  <a:lnTo>
                    <a:pt x="1027" y="3029"/>
                  </a:lnTo>
                  <a:lnTo>
                    <a:pt x="1030" y="2992"/>
                  </a:lnTo>
                  <a:lnTo>
                    <a:pt x="1033" y="2957"/>
                  </a:lnTo>
                  <a:lnTo>
                    <a:pt x="1036" y="2926"/>
                  </a:lnTo>
                  <a:lnTo>
                    <a:pt x="1043" y="2889"/>
                  </a:lnTo>
                  <a:lnTo>
                    <a:pt x="1049" y="2842"/>
                  </a:lnTo>
                  <a:lnTo>
                    <a:pt x="1055" y="2798"/>
                  </a:lnTo>
                  <a:lnTo>
                    <a:pt x="1058" y="2761"/>
                  </a:lnTo>
                  <a:lnTo>
                    <a:pt x="1058" y="2729"/>
                  </a:lnTo>
                  <a:lnTo>
                    <a:pt x="1058" y="2695"/>
                  </a:lnTo>
                  <a:lnTo>
                    <a:pt x="1058" y="2658"/>
                  </a:lnTo>
                  <a:lnTo>
                    <a:pt x="1065" y="2629"/>
                  </a:lnTo>
                  <a:lnTo>
                    <a:pt x="1077" y="2604"/>
                  </a:lnTo>
                  <a:lnTo>
                    <a:pt x="1096" y="2579"/>
                  </a:lnTo>
                  <a:lnTo>
                    <a:pt x="1111" y="2558"/>
                  </a:lnTo>
                  <a:lnTo>
                    <a:pt x="1124" y="2536"/>
                  </a:lnTo>
                  <a:lnTo>
                    <a:pt x="1136" y="2514"/>
                  </a:lnTo>
                  <a:lnTo>
                    <a:pt x="1146" y="2492"/>
                  </a:lnTo>
                  <a:lnTo>
                    <a:pt x="1152" y="2461"/>
                  </a:lnTo>
                  <a:lnTo>
                    <a:pt x="1158" y="2423"/>
                  </a:lnTo>
                  <a:lnTo>
                    <a:pt x="1168" y="2395"/>
                  </a:lnTo>
                  <a:lnTo>
                    <a:pt x="1177" y="2373"/>
                  </a:lnTo>
                  <a:lnTo>
                    <a:pt x="1190" y="2348"/>
                  </a:lnTo>
                  <a:lnTo>
                    <a:pt x="1208" y="2333"/>
                  </a:lnTo>
                  <a:lnTo>
                    <a:pt x="1214" y="2333"/>
                  </a:lnTo>
                  <a:lnTo>
                    <a:pt x="1221" y="2336"/>
                  </a:lnTo>
                  <a:lnTo>
                    <a:pt x="1227" y="2339"/>
                  </a:lnTo>
                  <a:lnTo>
                    <a:pt x="1233" y="2342"/>
                  </a:lnTo>
                  <a:lnTo>
                    <a:pt x="1239" y="2345"/>
                  </a:lnTo>
                  <a:lnTo>
                    <a:pt x="1246" y="2348"/>
                  </a:lnTo>
                  <a:lnTo>
                    <a:pt x="1252" y="2352"/>
                  </a:lnTo>
                  <a:lnTo>
                    <a:pt x="1261" y="2355"/>
                  </a:lnTo>
                  <a:lnTo>
                    <a:pt x="1271" y="2361"/>
                  </a:lnTo>
                  <a:lnTo>
                    <a:pt x="1280" y="2364"/>
                  </a:lnTo>
                  <a:lnTo>
                    <a:pt x="1286" y="2367"/>
                  </a:lnTo>
                  <a:lnTo>
                    <a:pt x="1296" y="2370"/>
                  </a:lnTo>
                  <a:lnTo>
                    <a:pt x="1311" y="2358"/>
                  </a:lnTo>
                  <a:lnTo>
                    <a:pt x="1333" y="2342"/>
                  </a:lnTo>
                  <a:lnTo>
                    <a:pt x="1352" y="2333"/>
                  </a:lnTo>
                  <a:lnTo>
                    <a:pt x="1367" y="2336"/>
                  </a:lnTo>
                  <a:lnTo>
                    <a:pt x="1386" y="2345"/>
                  </a:lnTo>
                  <a:lnTo>
                    <a:pt x="1405" y="2358"/>
                  </a:lnTo>
                  <a:lnTo>
                    <a:pt x="1424" y="2364"/>
                  </a:lnTo>
                  <a:lnTo>
                    <a:pt x="1439" y="2364"/>
                  </a:lnTo>
                  <a:lnTo>
                    <a:pt x="1452" y="2348"/>
                  </a:lnTo>
                  <a:lnTo>
                    <a:pt x="1455" y="2327"/>
                  </a:lnTo>
                  <a:lnTo>
                    <a:pt x="1458" y="2302"/>
                  </a:lnTo>
                  <a:lnTo>
                    <a:pt x="1455" y="2283"/>
                  </a:lnTo>
                  <a:lnTo>
                    <a:pt x="1446" y="2261"/>
                  </a:lnTo>
                  <a:lnTo>
                    <a:pt x="1430" y="2236"/>
                  </a:lnTo>
                  <a:lnTo>
                    <a:pt x="1414" y="2217"/>
                  </a:lnTo>
                  <a:lnTo>
                    <a:pt x="1392" y="2199"/>
                  </a:lnTo>
                  <a:lnTo>
                    <a:pt x="1367" y="2180"/>
                  </a:lnTo>
                  <a:lnTo>
                    <a:pt x="1346" y="2158"/>
                  </a:lnTo>
                  <a:lnTo>
                    <a:pt x="1336" y="2142"/>
                  </a:lnTo>
                  <a:lnTo>
                    <a:pt x="1330" y="2124"/>
                  </a:lnTo>
                  <a:lnTo>
                    <a:pt x="1321" y="2102"/>
                  </a:lnTo>
                  <a:lnTo>
                    <a:pt x="1308" y="2089"/>
                  </a:lnTo>
                  <a:lnTo>
                    <a:pt x="1289" y="2077"/>
                  </a:lnTo>
                  <a:lnTo>
                    <a:pt x="1268" y="2070"/>
                  </a:lnTo>
                  <a:lnTo>
                    <a:pt x="1246" y="2070"/>
                  </a:lnTo>
                  <a:lnTo>
                    <a:pt x="1224" y="2080"/>
                  </a:lnTo>
                  <a:lnTo>
                    <a:pt x="1205" y="2092"/>
                  </a:lnTo>
                  <a:lnTo>
                    <a:pt x="1190" y="2111"/>
                  </a:lnTo>
                  <a:lnTo>
                    <a:pt x="1186" y="2130"/>
                  </a:lnTo>
                  <a:lnTo>
                    <a:pt x="1190" y="2152"/>
                  </a:lnTo>
                  <a:lnTo>
                    <a:pt x="1190" y="2174"/>
                  </a:lnTo>
                  <a:lnTo>
                    <a:pt x="1183" y="2189"/>
                  </a:lnTo>
                  <a:lnTo>
                    <a:pt x="1174" y="2208"/>
                  </a:lnTo>
                  <a:lnTo>
                    <a:pt x="1165" y="2224"/>
                  </a:lnTo>
                  <a:lnTo>
                    <a:pt x="1155" y="2242"/>
                  </a:lnTo>
                  <a:lnTo>
                    <a:pt x="1143" y="2261"/>
                  </a:lnTo>
                  <a:lnTo>
                    <a:pt x="1133" y="2280"/>
                  </a:lnTo>
                  <a:lnTo>
                    <a:pt x="1127" y="2298"/>
                  </a:lnTo>
                  <a:lnTo>
                    <a:pt x="1118" y="2320"/>
                  </a:lnTo>
                  <a:lnTo>
                    <a:pt x="1108" y="2339"/>
                  </a:lnTo>
                  <a:lnTo>
                    <a:pt x="1105" y="2342"/>
                  </a:lnTo>
                  <a:lnTo>
                    <a:pt x="1099" y="2348"/>
                  </a:lnTo>
                  <a:lnTo>
                    <a:pt x="1093" y="2355"/>
                  </a:lnTo>
                  <a:lnTo>
                    <a:pt x="1086" y="2358"/>
                  </a:lnTo>
                  <a:lnTo>
                    <a:pt x="1080" y="2361"/>
                  </a:lnTo>
                  <a:lnTo>
                    <a:pt x="1074" y="2361"/>
                  </a:lnTo>
                  <a:lnTo>
                    <a:pt x="1071" y="2358"/>
                  </a:lnTo>
                  <a:lnTo>
                    <a:pt x="1068" y="2352"/>
                  </a:lnTo>
                  <a:lnTo>
                    <a:pt x="1068" y="2342"/>
                  </a:lnTo>
                  <a:lnTo>
                    <a:pt x="1068" y="2336"/>
                  </a:lnTo>
                  <a:lnTo>
                    <a:pt x="1068" y="2327"/>
                  </a:lnTo>
                  <a:lnTo>
                    <a:pt x="1071" y="2320"/>
                  </a:lnTo>
                  <a:lnTo>
                    <a:pt x="1071" y="2314"/>
                  </a:lnTo>
                  <a:lnTo>
                    <a:pt x="1068" y="2289"/>
                  </a:lnTo>
                  <a:lnTo>
                    <a:pt x="1068" y="2261"/>
                  </a:lnTo>
                  <a:lnTo>
                    <a:pt x="1068" y="2236"/>
                  </a:lnTo>
                  <a:lnTo>
                    <a:pt x="1071" y="2205"/>
                  </a:lnTo>
                  <a:lnTo>
                    <a:pt x="1077" y="2170"/>
                  </a:lnTo>
                  <a:lnTo>
                    <a:pt x="1086" y="2133"/>
                  </a:lnTo>
                  <a:lnTo>
                    <a:pt x="1093" y="2102"/>
                  </a:lnTo>
                  <a:lnTo>
                    <a:pt x="1099" y="2074"/>
                  </a:lnTo>
                  <a:lnTo>
                    <a:pt x="1111" y="2042"/>
                  </a:lnTo>
                  <a:lnTo>
                    <a:pt x="1121" y="2008"/>
                  </a:lnTo>
                  <a:lnTo>
                    <a:pt x="1127" y="1980"/>
                  </a:lnTo>
                  <a:lnTo>
                    <a:pt x="1133" y="1946"/>
                  </a:lnTo>
                  <a:lnTo>
                    <a:pt x="1136" y="1905"/>
                  </a:lnTo>
                  <a:lnTo>
                    <a:pt x="1140" y="1861"/>
                  </a:lnTo>
                  <a:lnTo>
                    <a:pt x="1143" y="1827"/>
                  </a:lnTo>
                  <a:lnTo>
                    <a:pt x="1152" y="1793"/>
                  </a:lnTo>
                  <a:lnTo>
                    <a:pt x="1161" y="1752"/>
                  </a:lnTo>
                  <a:lnTo>
                    <a:pt x="1174" y="1708"/>
                  </a:lnTo>
                  <a:lnTo>
                    <a:pt x="1183" y="1668"/>
                  </a:lnTo>
                  <a:lnTo>
                    <a:pt x="1193" y="1633"/>
                  </a:lnTo>
                  <a:lnTo>
                    <a:pt x="1202" y="1580"/>
                  </a:lnTo>
                  <a:lnTo>
                    <a:pt x="1211" y="1515"/>
                  </a:lnTo>
                  <a:lnTo>
                    <a:pt x="1224" y="1446"/>
                  </a:lnTo>
                  <a:lnTo>
                    <a:pt x="1230" y="1380"/>
                  </a:lnTo>
                  <a:lnTo>
                    <a:pt x="1239" y="1327"/>
                  </a:lnTo>
                  <a:lnTo>
                    <a:pt x="1243" y="1284"/>
                  </a:lnTo>
                  <a:lnTo>
                    <a:pt x="1243" y="1231"/>
                  </a:lnTo>
                  <a:lnTo>
                    <a:pt x="1249" y="1181"/>
                  </a:lnTo>
                  <a:lnTo>
                    <a:pt x="1252" y="1137"/>
                  </a:lnTo>
                  <a:lnTo>
                    <a:pt x="1264" y="1099"/>
                  </a:lnTo>
                  <a:lnTo>
                    <a:pt x="1280" y="1056"/>
                  </a:lnTo>
                  <a:lnTo>
                    <a:pt x="1299" y="1009"/>
                  </a:lnTo>
                  <a:lnTo>
                    <a:pt x="1314" y="965"/>
                  </a:lnTo>
                  <a:lnTo>
                    <a:pt x="1324" y="928"/>
                  </a:lnTo>
                  <a:lnTo>
                    <a:pt x="1330" y="887"/>
                  </a:lnTo>
                  <a:lnTo>
                    <a:pt x="1333" y="834"/>
                  </a:lnTo>
                  <a:lnTo>
                    <a:pt x="1333" y="781"/>
                  </a:lnTo>
                  <a:lnTo>
                    <a:pt x="1333" y="731"/>
                  </a:lnTo>
                  <a:lnTo>
                    <a:pt x="1336" y="687"/>
                  </a:lnTo>
                  <a:lnTo>
                    <a:pt x="1336" y="640"/>
                  </a:lnTo>
                  <a:lnTo>
                    <a:pt x="1336" y="587"/>
                  </a:lnTo>
                  <a:lnTo>
                    <a:pt x="1336" y="531"/>
                  </a:lnTo>
                  <a:lnTo>
                    <a:pt x="1339" y="484"/>
                  </a:lnTo>
                  <a:lnTo>
                    <a:pt x="1346" y="456"/>
                  </a:lnTo>
                  <a:lnTo>
                    <a:pt x="1355" y="422"/>
                  </a:lnTo>
                  <a:lnTo>
                    <a:pt x="1367" y="387"/>
                  </a:lnTo>
                  <a:lnTo>
                    <a:pt x="1377" y="359"/>
                  </a:lnTo>
                  <a:lnTo>
                    <a:pt x="1386" y="331"/>
                  </a:lnTo>
                  <a:lnTo>
                    <a:pt x="1402" y="297"/>
                  </a:lnTo>
                  <a:lnTo>
                    <a:pt x="1417" y="269"/>
                  </a:lnTo>
                  <a:lnTo>
                    <a:pt x="1430" y="253"/>
                  </a:lnTo>
                  <a:lnTo>
                    <a:pt x="1446" y="238"/>
                  </a:lnTo>
                  <a:lnTo>
                    <a:pt x="1464" y="222"/>
                  </a:lnTo>
                  <a:lnTo>
                    <a:pt x="1483" y="209"/>
                  </a:lnTo>
                  <a:lnTo>
                    <a:pt x="1499" y="206"/>
                  </a:lnTo>
                  <a:lnTo>
                    <a:pt x="1505" y="209"/>
                  </a:lnTo>
                  <a:lnTo>
                    <a:pt x="1508" y="216"/>
                  </a:lnTo>
                  <a:lnTo>
                    <a:pt x="1514" y="225"/>
                  </a:lnTo>
                  <a:lnTo>
                    <a:pt x="1517" y="234"/>
                  </a:lnTo>
                  <a:lnTo>
                    <a:pt x="1517" y="241"/>
                  </a:lnTo>
                  <a:lnTo>
                    <a:pt x="1514" y="259"/>
                  </a:lnTo>
                  <a:lnTo>
                    <a:pt x="1505" y="278"/>
                  </a:lnTo>
                  <a:lnTo>
                    <a:pt x="1496" y="297"/>
                  </a:lnTo>
                  <a:lnTo>
                    <a:pt x="1496" y="316"/>
                  </a:lnTo>
                  <a:lnTo>
                    <a:pt x="1505" y="331"/>
                  </a:lnTo>
                  <a:lnTo>
                    <a:pt x="1524" y="347"/>
                  </a:lnTo>
                  <a:lnTo>
                    <a:pt x="1542" y="362"/>
                  </a:lnTo>
                  <a:lnTo>
                    <a:pt x="1555" y="375"/>
                  </a:lnTo>
                  <a:lnTo>
                    <a:pt x="1561" y="384"/>
                  </a:lnTo>
                  <a:lnTo>
                    <a:pt x="1567" y="394"/>
                  </a:lnTo>
                  <a:lnTo>
                    <a:pt x="1574" y="406"/>
                  </a:lnTo>
                  <a:lnTo>
                    <a:pt x="1580" y="416"/>
                  </a:lnTo>
                  <a:lnTo>
                    <a:pt x="1586" y="422"/>
                  </a:lnTo>
                  <a:lnTo>
                    <a:pt x="1602" y="428"/>
                  </a:lnTo>
                  <a:lnTo>
                    <a:pt x="1624" y="431"/>
                  </a:lnTo>
                  <a:lnTo>
                    <a:pt x="1642" y="434"/>
                  </a:lnTo>
                  <a:lnTo>
                    <a:pt x="1661" y="437"/>
                  </a:lnTo>
                  <a:lnTo>
                    <a:pt x="1686" y="450"/>
                  </a:lnTo>
                  <a:lnTo>
                    <a:pt x="1714" y="465"/>
                  </a:lnTo>
                  <a:lnTo>
                    <a:pt x="1742" y="487"/>
                  </a:lnTo>
                  <a:lnTo>
                    <a:pt x="1764" y="506"/>
                  </a:lnTo>
                  <a:lnTo>
                    <a:pt x="1770" y="528"/>
                  </a:lnTo>
                  <a:lnTo>
                    <a:pt x="1777" y="556"/>
                  </a:lnTo>
                  <a:lnTo>
                    <a:pt x="1783" y="584"/>
                  </a:lnTo>
                  <a:lnTo>
                    <a:pt x="1789" y="606"/>
                  </a:lnTo>
                  <a:lnTo>
                    <a:pt x="1808" y="622"/>
                  </a:lnTo>
                  <a:lnTo>
                    <a:pt x="1830" y="634"/>
                  </a:lnTo>
                  <a:lnTo>
                    <a:pt x="1855" y="647"/>
                  </a:lnTo>
                  <a:lnTo>
                    <a:pt x="1873" y="659"/>
                  </a:lnTo>
                  <a:lnTo>
                    <a:pt x="1892" y="681"/>
                  </a:lnTo>
                  <a:lnTo>
                    <a:pt x="1911" y="706"/>
                  </a:lnTo>
                  <a:lnTo>
                    <a:pt x="1923" y="728"/>
                  </a:lnTo>
                  <a:lnTo>
                    <a:pt x="1939" y="759"/>
                  </a:lnTo>
                  <a:lnTo>
                    <a:pt x="1955" y="796"/>
                  </a:lnTo>
                  <a:lnTo>
                    <a:pt x="1970" y="834"/>
                  </a:lnTo>
                  <a:lnTo>
                    <a:pt x="1983" y="865"/>
                  </a:lnTo>
                  <a:lnTo>
                    <a:pt x="1992" y="893"/>
                  </a:lnTo>
                  <a:lnTo>
                    <a:pt x="2005" y="928"/>
                  </a:lnTo>
                  <a:lnTo>
                    <a:pt x="2017" y="962"/>
                  </a:lnTo>
                  <a:lnTo>
                    <a:pt x="2023" y="990"/>
                  </a:lnTo>
                  <a:lnTo>
                    <a:pt x="2026" y="1012"/>
                  </a:lnTo>
                  <a:lnTo>
                    <a:pt x="2023" y="1043"/>
                  </a:lnTo>
                  <a:lnTo>
                    <a:pt x="2023" y="1071"/>
                  </a:lnTo>
                  <a:lnTo>
                    <a:pt x="2023" y="1096"/>
                  </a:lnTo>
                  <a:lnTo>
                    <a:pt x="2033" y="1124"/>
                  </a:lnTo>
                  <a:lnTo>
                    <a:pt x="2045" y="1152"/>
                  </a:lnTo>
                  <a:lnTo>
                    <a:pt x="2054" y="1181"/>
                  </a:lnTo>
                  <a:lnTo>
                    <a:pt x="2061" y="1206"/>
                  </a:lnTo>
                  <a:lnTo>
                    <a:pt x="2064" y="1234"/>
                  </a:lnTo>
                  <a:lnTo>
                    <a:pt x="2067" y="1259"/>
                  </a:lnTo>
                  <a:lnTo>
                    <a:pt x="2067" y="1287"/>
                  </a:lnTo>
                  <a:lnTo>
                    <a:pt x="2064" y="1324"/>
                  </a:lnTo>
                  <a:lnTo>
                    <a:pt x="2061" y="1359"/>
                  </a:lnTo>
                  <a:lnTo>
                    <a:pt x="2067" y="1387"/>
                  </a:lnTo>
                  <a:lnTo>
                    <a:pt x="2079" y="1412"/>
                  </a:lnTo>
                  <a:lnTo>
                    <a:pt x="2098" y="1437"/>
                  </a:lnTo>
                  <a:lnTo>
                    <a:pt x="2117" y="1455"/>
                  </a:lnTo>
                  <a:lnTo>
                    <a:pt x="2136" y="1474"/>
                  </a:lnTo>
                  <a:lnTo>
                    <a:pt x="2164" y="1496"/>
                  </a:lnTo>
                  <a:lnTo>
                    <a:pt x="2186" y="1515"/>
                  </a:lnTo>
                  <a:lnTo>
                    <a:pt x="2201" y="1537"/>
                  </a:lnTo>
                  <a:lnTo>
                    <a:pt x="2220" y="1565"/>
                  </a:lnTo>
                  <a:lnTo>
                    <a:pt x="2236" y="1586"/>
                  </a:lnTo>
                  <a:lnTo>
                    <a:pt x="2248" y="1608"/>
                  </a:lnTo>
                  <a:lnTo>
                    <a:pt x="2261" y="1636"/>
                  </a:lnTo>
                  <a:lnTo>
                    <a:pt x="2270" y="1658"/>
                  </a:lnTo>
                  <a:lnTo>
                    <a:pt x="2273" y="1680"/>
                  </a:lnTo>
                  <a:lnTo>
                    <a:pt x="2273" y="1708"/>
                  </a:lnTo>
                  <a:lnTo>
                    <a:pt x="2273" y="1730"/>
                  </a:lnTo>
                  <a:lnTo>
                    <a:pt x="2273" y="1749"/>
                  </a:lnTo>
                  <a:lnTo>
                    <a:pt x="2276" y="1771"/>
                  </a:lnTo>
                  <a:lnTo>
                    <a:pt x="2276" y="1789"/>
                  </a:lnTo>
                  <a:lnTo>
                    <a:pt x="2273" y="1808"/>
                  </a:lnTo>
                  <a:lnTo>
                    <a:pt x="2267" y="1830"/>
                  </a:lnTo>
                  <a:lnTo>
                    <a:pt x="2264" y="1852"/>
                  </a:lnTo>
                  <a:lnTo>
                    <a:pt x="2267" y="1868"/>
                  </a:lnTo>
                  <a:lnTo>
                    <a:pt x="2270" y="1871"/>
                  </a:lnTo>
                  <a:lnTo>
                    <a:pt x="2279" y="1874"/>
                  </a:lnTo>
                  <a:lnTo>
                    <a:pt x="2289" y="1877"/>
                  </a:lnTo>
                  <a:lnTo>
                    <a:pt x="2298" y="1877"/>
                  </a:lnTo>
                  <a:lnTo>
                    <a:pt x="2304" y="1874"/>
                  </a:lnTo>
                  <a:lnTo>
                    <a:pt x="2307" y="1871"/>
                  </a:lnTo>
                  <a:lnTo>
                    <a:pt x="2311" y="1861"/>
                  </a:lnTo>
                  <a:lnTo>
                    <a:pt x="2314" y="1855"/>
                  </a:lnTo>
                  <a:lnTo>
                    <a:pt x="2314" y="1846"/>
                  </a:lnTo>
                  <a:lnTo>
                    <a:pt x="2314" y="1839"/>
                  </a:lnTo>
                  <a:lnTo>
                    <a:pt x="2317" y="1830"/>
                  </a:lnTo>
                  <a:lnTo>
                    <a:pt x="2323" y="1821"/>
                  </a:lnTo>
                  <a:lnTo>
                    <a:pt x="2326" y="1808"/>
                  </a:lnTo>
                  <a:lnTo>
                    <a:pt x="2329" y="1799"/>
                  </a:lnTo>
                  <a:lnTo>
                    <a:pt x="2329" y="1789"/>
                  </a:lnTo>
                  <a:lnTo>
                    <a:pt x="2329" y="1761"/>
                  </a:lnTo>
                  <a:lnTo>
                    <a:pt x="2329" y="1730"/>
                  </a:lnTo>
                  <a:lnTo>
                    <a:pt x="2326" y="1702"/>
                  </a:lnTo>
                  <a:lnTo>
                    <a:pt x="2329" y="1680"/>
                  </a:lnTo>
                  <a:lnTo>
                    <a:pt x="2329" y="1655"/>
                  </a:lnTo>
                  <a:lnTo>
                    <a:pt x="2332" y="1630"/>
                  </a:lnTo>
                  <a:lnTo>
                    <a:pt x="2329" y="1608"/>
                  </a:lnTo>
                  <a:lnTo>
                    <a:pt x="2320" y="1590"/>
                  </a:lnTo>
                  <a:lnTo>
                    <a:pt x="2304" y="1568"/>
                  </a:lnTo>
                  <a:lnTo>
                    <a:pt x="2292" y="1549"/>
                  </a:lnTo>
                  <a:lnTo>
                    <a:pt x="2292" y="1543"/>
                  </a:lnTo>
                  <a:lnTo>
                    <a:pt x="2292" y="1533"/>
                  </a:lnTo>
                  <a:lnTo>
                    <a:pt x="2292" y="1524"/>
                  </a:lnTo>
                  <a:lnTo>
                    <a:pt x="2295" y="1515"/>
                  </a:lnTo>
                  <a:lnTo>
                    <a:pt x="2295" y="1505"/>
                  </a:lnTo>
                  <a:lnTo>
                    <a:pt x="2292" y="1499"/>
                  </a:lnTo>
                  <a:lnTo>
                    <a:pt x="2286" y="1490"/>
                  </a:lnTo>
                  <a:lnTo>
                    <a:pt x="2276" y="1480"/>
                  </a:lnTo>
                  <a:lnTo>
                    <a:pt x="2264" y="1474"/>
                  </a:lnTo>
                  <a:lnTo>
                    <a:pt x="2251" y="1465"/>
                  </a:lnTo>
                  <a:lnTo>
                    <a:pt x="2242" y="1462"/>
                  </a:lnTo>
                  <a:lnTo>
                    <a:pt x="2220" y="1449"/>
                  </a:lnTo>
                  <a:lnTo>
                    <a:pt x="2192" y="1440"/>
                  </a:lnTo>
                  <a:lnTo>
                    <a:pt x="2170" y="1427"/>
                  </a:lnTo>
                  <a:lnTo>
                    <a:pt x="2158" y="1409"/>
                  </a:lnTo>
                  <a:lnTo>
                    <a:pt x="2148" y="1384"/>
                  </a:lnTo>
                  <a:lnTo>
                    <a:pt x="2142" y="1362"/>
                  </a:lnTo>
                  <a:lnTo>
                    <a:pt x="2139" y="1327"/>
                  </a:lnTo>
                  <a:lnTo>
                    <a:pt x="2136" y="1290"/>
                  </a:lnTo>
                  <a:lnTo>
                    <a:pt x="2136" y="1259"/>
                  </a:lnTo>
                  <a:lnTo>
                    <a:pt x="2129" y="1224"/>
                  </a:lnTo>
                  <a:lnTo>
                    <a:pt x="2123" y="1187"/>
                  </a:lnTo>
                  <a:lnTo>
                    <a:pt x="2117" y="1146"/>
                  </a:lnTo>
                  <a:lnTo>
                    <a:pt x="2111" y="1115"/>
                  </a:lnTo>
                  <a:lnTo>
                    <a:pt x="2111" y="1078"/>
                  </a:lnTo>
                  <a:lnTo>
                    <a:pt x="2111" y="1031"/>
                  </a:lnTo>
                  <a:lnTo>
                    <a:pt x="2108" y="984"/>
                  </a:lnTo>
                  <a:lnTo>
                    <a:pt x="2104" y="946"/>
                  </a:lnTo>
                  <a:lnTo>
                    <a:pt x="2095" y="925"/>
                  </a:lnTo>
                  <a:lnTo>
                    <a:pt x="2083" y="900"/>
                  </a:lnTo>
                  <a:lnTo>
                    <a:pt x="2073" y="878"/>
                  </a:lnTo>
                  <a:lnTo>
                    <a:pt x="2070" y="862"/>
                  </a:lnTo>
                  <a:lnTo>
                    <a:pt x="2064" y="846"/>
                  </a:lnTo>
                  <a:lnTo>
                    <a:pt x="2086" y="834"/>
                  </a:lnTo>
                  <a:lnTo>
                    <a:pt x="2114" y="825"/>
                  </a:lnTo>
                  <a:lnTo>
                    <a:pt x="2136" y="821"/>
                  </a:lnTo>
                  <a:lnTo>
                    <a:pt x="2151" y="821"/>
                  </a:lnTo>
                  <a:lnTo>
                    <a:pt x="2173" y="828"/>
                  </a:lnTo>
                  <a:lnTo>
                    <a:pt x="2195" y="834"/>
                  </a:lnTo>
                  <a:lnTo>
                    <a:pt x="2211" y="837"/>
                  </a:lnTo>
                  <a:lnTo>
                    <a:pt x="2223" y="828"/>
                  </a:lnTo>
                  <a:lnTo>
                    <a:pt x="2239" y="815"/>
                  </a:lnTo>
                  <a:lnTo>
                    <a:pt x="2251" y="806"/>
                  </a:lnTo>
                  <a:lnTo>
                    <a:pt x="2267" y="800"/>
                  </a:lnTo>
                  <a:lnTo>
                    <a:pt x="2273" y="803"/>
                  </a:lnTo>
                  <a:lnTo>
                    <a:pt x="2279" y="806"/>
                  </a:lnTo>
                  <a:lnTo>
                    <a:pt x="2289" y="812"/>
                  </a:lnTo>
                  <a:lnTo>
                    <a:pt x="2295" y="818"/>
                  </a:lnTo>
                  <a:lnTo>
                    <a:pt x="2298" y="825"/>
                  </a:lnTo>
                  <a:lnTo>
                    <a:pt x="2301" y="840"/>
                  </a:lnTo>
                  <a:lnTo>
                    <a:pt x="2298" y="859"/>
                  </a:lnTo>
                  <a:lnTo>
                    <a:pt x="2295" y="875"/>
                  </a:lnTo>
                  <a:lnTo>
                    <a:pt x="2298" y="890"/>
                  </a:lnTo>
                  <a:lnTo>
                    <a:pt x="2314" y="900"/>
                  </a:lnTo>
                  <a:lnTo>
                    <a:pt x="2336" y="906"/>
                  </a:lnTo>
                  <a:lnTo>
                    <a:pt x="2361" y="909"/>
                  </a:lnTo>
                  <a:lnTo>
                    <a:pt x="2379" y="912"/>
                  </a:lnTo>
                  <a:lnTo>
                    <a:pt x="2404" y="912"/>
                  </a:lnTo>
                  <a:lnTo>
                    <a:pt x="2432" y="909"/>
                  </a:lnTo>
                  <a:lnTo>
                    <a:pt x="2460" y="909"/>
                  </a:lnTo>
                  <a:lnTo>
                    <a:pt x="2485" y="912"/>
                  </a:lnTo>
                  <a:lnTo>
                    <a:pt x="2504" y="921"/>
                  </a:lnTo>
                  <a:lnTo>
                    <a:pt x="2523" y="934"/>
                  </a:lnTo>
                  <a:lnTo>
                    <a:pt x="2542" y="949"/>
                  </a:lnTo>
                  <a:lnTo>
                    <a:pt x="2554" y="965"/>
                  </a:lnTo>
                  <a:lnTo>
                    <a:pt x="2557" y="987"/>
                  </a:lnTo>
                  <a:lnTo>
                    <a:pt x="2557" y="1012"/>
                  </a:lnTo>
                  <a:lnTo>
                    <a:pt x="2554" y="1034"/>
                  </a:lnTo>
                  <a:lnTo>
                    <a:pt x="2545" y="1046"/>
                  </a:lnTo>
                  <a:lnTo>
                    <a:pt x="2529" y="1062"/>
                  </a:lnTo>
                  <a:lnTo>
                    <a:pt x="2514" y="1078"/>
                  </a:lnTo>
                  <a:lnTo>
                    <a:pt x="2507" y="1090"/>
                  </a:lnTo>
                  <a:lnTo>
                    <a:pt x="2514" y="1106"/>
                  </a:lnTo>
                  <a:lnTo>
                    <a:pt x="2529" y="1121"/>
                  </a:lnTo>
                  <a:lnTo>
                    <a:pt x="2545" y="1137"/>
                  </a:lnTo>
                  <a:lnTo>
                    <a:pt x="2554" y="1152"/>
                  </a:lnTo>
                  <a:lnTo>
                    <a:pt x="2557" y="1171"/>
                  </a:lnTo>
                  <a:lnTo>
                    <a:pt x="2560" y="1196"/>
                  </a:lnTo>
                  <a:lnTo>
                    <a:pt x="2563" y="1218"/>
                  </a:lnTo>
                  <a:lnTo>
                    <a:pt x="2573" y="1231"/>
                  </a:lnTo>
                  <a:lnTo>
                    <a:pt x="2585" y="1234"/>
                  </a:lnTo>
                  <a:lnTo>
                    <a:pt x="2604" y="1227"/>
                  </a:lnTo>
                  <a:lnTo>
                    <a:pt x="2626" y="1221"/>
                  </a:lnTo>
                  <a:lnTo>
                    <a:pt x="2645" y="1212"/>
                  </a:lnTo>
                  <a:lnTo>
                    <a:pt x="2660" y="1209"/>
                  </a:lnTo>
                  <a:lnTo>
                    <a:pt x="2685" y="1212"/>
                  </a:lnTo>
                  <a:lnTo>
                    <a:pt x="2717" y="1221"/>
                  </a:lnTo>
                  <a:lnTo>
                    <a:pt x="2738" y="1231"/>
                  </a:lnTo>
                  <a:lnTo>
                    <a:pt x="2748" y="1246"/>
                  </a:lnTo>
                  <a:lnTo>
                    <a:pt x="2754" y="1268"/>
                  </a:lnTo>
                  <a:lnTo>
                    <a:pt x="2760" y="1287"/>
                  </a:lnTo>
                  <a:lnTo>
                    <a:pt x="2779" y="1296"/>
                  </a:lnTo>
                  <a:lnTo>
                    <a:pt x="2801" y="1302"/>
                  </a:lnTo>
                  <a:lnTo>
                    <a:pt x="2816" y="1312"/>
                  </a:lnTo>
                  <a:lnTo>
                    <a:pt x="2829" y="1327"/>
                  </a:lnTo>
                  <a:lnTo>
                    <a:pt x="2838" y="1349"/>
                  </a:lnTo>
                  <a:lnTo>
                    <a:pt x="2851" y="1365"/>
                  </a:lnTo>
                  <a:lnTo>
                    <a:pt x="2866" y="1368"/>
                  </a:lnTo>
                  <a:lnTo>
                    <a:pt x="2888" y="1365"/>
                  </a:lnTo>
                  <a:lnTo>
                    <a:pt x="2904" y="1365"/>
                  </a:lnTo>
                  <a:lnTo>
                    <a:pt x="2926" y="1365"/>
                  </a:lnTo>
                  <a:lnTo>
                    <a:pt x="2951" y="1368"/>
                  </a:lnTo>
                  <a:lnTo>
                    <a:pt x="2979" y="1368"/>
                  </a:lnTo>
                  <a:lnTo>
                    <a:pt x="2998" y="1365"/>
                  </a:lnTo>
                  <a:lnTo>
                    <a:pt x="3016" y="1355"/>
                  </a:lnTo>
                  <a:lnTo>
                    <a:pt x="3032" y="1340"/>
                  </a:lnTo>
                  <a:lnTo>
                    <a:pt x="3051" y="1321"/>
                  </a:lnTo>
                  <a:lnTo>
                    <a:pt x="3069" y="1309"/>
                  </a:lnTo>
                  <a:lnTo>
                    <a:pt x="3085" y="1305"/>
                  </a:lnTo>
                  <a:lnTo>
                    <a:pt x="3097" y="1315"/>
                  </a:lnTo>
                  <a:lnTo>
                    <a:pt x="3104" y="1337"/>
                  </a:lnTo>
                  <a:lnTo>
                    <a:pt x="3113" y="1355"/>
                  </a:lnTo>
                  <a:lnTo>
                    <a:pt x="3122" y="1365"/>
                  </a:lnTo>
                  <a:lnTo>
                    <a:pt x="3138" y="1359"/>
                  </a:lnTo>
                  <a:lnTo>
                    <a:pt x="3157" y="1346"/>
                  </a:lnTo>
                  <a:lnTo>
                    <a:pt x="3172" y="1330"/>
                  </a:lnTo>
                  <a:lnTo>
                    <a:pt x="3185" y="1315"/>
                  </a:lnTo>
                  <a:lnTo>
                    <a:pt x="3194" y="1312"/>
                  </a:lnTo>
                  <a:lnTo>
                    <a:pt x="3204" y="1305"/>
                  </a:lnTo>
                  <a:lnTo>
                    <a:pt x="3213" y="1296"/>
                  </a:lnTo>
                  <a:lnTo>
                    <a:pt x="3222" y="1290"/>
                  </a:lnTo>
                  <a:lnTo>
                    <a:pt x="3229" y="1284"/>
                  </a:lnTo>
                  <a:lnTo>
                    <a:pt x="3232" y="1265"/>
                  </a:lnTo>
                  <a:lnTo>
                    <a:pt x="3229" y="1243"/>
                  </a:lnTo>
                  <a:lnTo>
                    <a:pt x="3226" y="1221"/>
                  </a:lnTo>
                  <a:lnTo>
                    <a:pt x="3229" y="1202"/>
                  </a:lnTo>
                  <a:lnTo>
                    <a:pt x="3235" y="1193"/>
                  </a:lnTo>
                  <a:lnTo>
                    <a:pt x="3244" y="1184"/>
                  </a:lnTo>
                  <a:lnTo>
                    <a:pt x="3254" y="1174"/>
                  </a:lnTo>
                  <a:lnTo>
                    <a:pt x="3266" y="1168"/>
                  </a:lnTo>
                  <a:lnTo>
                    <a:pt x="3275" y="1159"/>
                  </a:lnTo>
                  <a:lnTo>
                    <a:pt x="3288" y="1156"/>
                  </a:lnTo>
                  <a:lnTo>
                    <a:pt x="3307" y="1149"/>
                  </a:lnTo>
                  <a:lnTo>
                    <a:pt x="3322" y="1143"/>
                  </a:lnTo>
                  <a:lnTo>
                    <a:pt x="3335" y="1134"/>
                  </a:lnTo>
                  <a:lnTo>
                    <a:pt x="3335" y="1131"/>
                  </a:lnTo>
                  <a:lnTo>
                    <a:pt x="3335" y="1124"/>
                  </a:lnTo>
                  <a:lnTo>
                    <a:pt x="3332" y="1118"/>
                  </a:lnTo>
                  <a:lnTo>
                    <a:pt x="3332" y="1112"/>
                  </a:lnTo>
                  <a:lnTo>
                    <a:pt x="3335" y="1109"/>
                  </a:lnTo>
                  <a:lnTo>
                    <a:pt x="3347" y="1102"/>
                  </a:lnTo>
                  <a:lnTo>
                    <a:pt x="3366" y="1102"/>
                  </a:lnTo>
                  <a:lnTo>
                    <a:pt x="3388" y="1106"/>
                  </a:lnTo>
                  <a:lnTo>
                    <a:pt x="3407" y="1109"/>
                  </a:lnTo>
                  <a:lnTo>
                    <a:pt x="3422" y="1109"/>
                  </a:lnTo>
                  <a:lnTo>
                    <a:pt x="3447" y="1102"/>
                  </a:lnTo>
                  <a:lnTo>
                    <a:pt x="3472" y="1093"/>
                  </a:lnTo>
                  <a:lnTo>
                    <a:pt x="3494" y="1081"/>
                  </a:lnTo>
                  <a:lnTo>
                    <a:pt x="3516" y="1059"/>
                  </a:lnTo>
                  <a:lnTo>
                    <a:pt x="3541" y="1031"/>
                  </a:lnTo>
                  <a:lnTo>
                    <a:pt x="3560" y="1006"/>
                  </a:lnTo>
                  <a:lnTo>
                    <a:pt x="3578" y="987"/>
                  </a:lnTo>
                  <a:lnTo>
                    <a:pt x="3600" y="965"/>
                  </a:lnTo>
                  <a:lnTo>
                    <a:pt x="3622" y="949"/>
                  </a:lnTo>
                  <a:lnTo>
                    <a:pt x="3628" y="949"/>
                  </a:lnTo>
                  <a:lnTo>
                    <a:pt x="3635" y="949"/>
                  </a:lnTo>
                  <a:lnTo>
                    <a:pt x="3644" y="946"/>
                  </a:lnTo>
                  <a:lnTo>
                    <a:pt x="3650" y="946"/>
                  </a:lnTo>
                  <a:lnTo>
                    <a:pt x="3660" y="946"/>
                  </a:lnTo>
                  <a:lnTo>
                    <a:pt x="3663" y="943"/>
                  </a:lnTo>
                  <a:lnTo>
                    <a:pt x="3672" y="925"/>
                  </a:lnTo>
                  <a:lnTo>
                    <a:pt x="3675" y="896"/>
                  </a:lnTo>
                  <a:lnTo>
                    <a:pt x="3675" y="868"/>
                  </a:lnTo>
                  <a:lnTo>
                    <a:pt x="3675" y="846"/>
                  </a:lnTo>
                  <a:lnTo>
                    <a:pt x="3672" y="828"/>
                  </a:lnTo>
                  <a:lnTo>
                    <a:pt x="3666" y="806"/>
                  </a:lnTo>
                  <a:lnTo>
                    <a:pt x="3660" y="787"/>
                  </a:lnTo>
                  <a:lnTo>
                    <a:pt x="3656" y="768"/>
                  </a:lnTo>
                  <a:lnTo>
                    <a:pt x="3666" y="753"/>
                  </a:lnTo>
                  <a:lnTo>
                    <a:pt x="3685" y="737"/>
                  </a:lnTo>
                  <a:lnTo>
                    <a:pt x="3700" y="722"/>
                  </a:lnTo>
                  <a:lnTo>
                    <a:pt x="3713" y="706"/>
                  </a:lnTo>
                  <a:lnTo>
                    <a:pt x="3716" y="684"/>
                  </a:lnTo>
                  <a:lnTo>
                    <a:pt x="3719" y="659"/>
                  </a:lnTo>
                  <a:lnTo>
                    <a:pt x="3722" y="634"/>
                  </a:lnTo>
                  <a:lnTo>
                    <a:pt x="3728" y="612"/>
                  </a:lnTo>
                  <a:lnTo>
                    <a:pt x="3738" y="609"/>
                  </a:lnTo>
                  <a:lnTo>
                    <a:pt x="3747" y="603"/>
                  </a:lnTo>
                  <a:lnTo>
                    <a:pt x="3756" y="600"/>
                  </a:lnTo>
                  <a:lnTo>
                    <a:pt x="3766" y="594"/>
                  </a:lnTo>
                  <a:lnTo>
                    <a:pt x="3775" y="590"/>
                  </a:lnTo>
                  <a:lnTo>
                    <a:pt x="3797" y="575"/>
                  </a:lnTo>
                  <a:lnTo>
                    <a:pt x="3825" y="553"/>
                  </a:lnTo>
                  <a:lnTo>
                    <a:pt x="3850" y="534"/>
                  </a:lnTo>
                  <a:lnTo>
                    <a:pt x="3872" y="519"/>
                  </a:lnTo>
                  <a:lnTo>
                    <a:pt x="3894" y="512"/>
                  </a:lnTo>
                  <a:lnTo>
                    <a:pt x="3919" y="506"/>
                  </a:lnTo>
                  <a:lnTo>
                    <a:pt x="3941" y="500"/>
                  </a:lnTo>
                  <a:lnTo>
                    <a:pt x="3959" y="478"/>
                  </a:lnTo>
                  <a:lnTo>
                    <a:pt x="3981" y="447"/>
                  </a:lnTo>
                  <a:lnTo>
                    <a:pt x="4000" y="425"/>
                  </a:lnTo>
                  <a:lnTo>
                    <a:pt x="4022" y="409"/>
                  </a:lnTo>
                  <a:lnTo>
                    <a:pt x="4047" y="394"/>
                  </a:lnTo>
                  <a:lnTo>
                    <a:pt x="4072" y="378"/>
                  </a:lnTo>
                  <a:lnTo>
                    <a:pt x="4090" y="359"/>
                  </a:lnTo>
                  <a:lnTo>
                    <a:pt x="4103" y="334"/>
                  </a:lnTo>
                  <a:lnTo>
                    <a:pt x="4115" y="300"/>
                  </a:lnTo>
                  <a:lnTo>
                    <a:pt x="4122" y="272"/>
                  </a:lnTo>
                  <a:lnTo>
                    <a:pt x="4119" y="250"/>
                  </a:lnTo>
                  <a:lnTo>
                    <a:pt x="4112" y="222"/>
                  </a:lnTo>
                  <a:lnTo>
                    <a:pt x="4106" y="197"/>
                  </a:lnTo>
                  <a:lnTo>
                    <a:pt x="4109" y="175"/>
                  </a:lnTo>
                  <a:lnTo>
                    <a:pt x="4112" y="169"/>
                  </a:lnTo>
                  <a:lnTo>
                    <a:pt x="4119" y="163"/>
                  </a:lnTo>
                  <a:lnTo>
                    <a:pt x="4128" y="153"/>
                  </a:lnTo>
                  <a:lnTo>
                    <a:pt x="4137" y="147"/>
                  </a:lnTo>
                  <a:lnTo>
                    <a:pt x="4144" y="144"/>
                  </a:lnTo>
                  <a:lnTo>
                    <a:pt x="4165" y="134"/>
                  </a:lnTo>
                  <a:lnTo>
                    <a:pt x="4190" y="122"/>
                  </a:lnTo>
                  <a:lnTo>
                    <a:pt x="4209" y="110"/>
                  </a:lnTo>
                  <a:lnTo>
                    <a:pt x="4215" y="94"/>
                  </a:lnTo>
                  <a:lnTo>
                    <a:pt x="4215" y="72"/>
                  </a:lnTo>
                  <a:lnTo>
                    <a:pt x="4215" y="50"/>
                  </a:lnTo>
                  <a:lnTo>
                    <a:pt x="4222" y="35"/>
                  </a:lnTo>
                  <a:lnTo>
                    <a:pt x="4237" y="28"/>
                  </a:lnTo>
                  <a:lnTo>
                    <a:pt x="4256" y="28"/>
                  </a:lnTo>
                  <a:lnTo>
                    <a:pt x="4275" y="22"/>
                  </a:lnTo>
                  <a:lnTo>
                    <a:pt x="4284" y="19"/>
                  </a:lnTo>
                  <a:lnTo>
                    <a:pt x="4293" y="10"/>
                  </a:lnTo>
                  <a:lnTo>
                    <a:pt x="4303" y="0"/>
                  </a:lnTo>
                  <a:lnTo>
                    <a:pt x="4315" y="6"/>
                  </a:lnTo>
                  <a:lnTo>
                    <a:pt x="4340" y="13"/>
                  </a:lnTo>
                  <a:lnTo>
                    <a:pt x="4372" y="16"/>
                  </a:lnTo>
                  <a:lnTo>
                    <a:pt x="4403" y="19"/>
                  </a:lnTo>
                  <a:lnTo>
                    <a:pt x="4431" y="19"/>
                  </a:lnTo>
                  <a:lnTo>
                    <a:pt x="4456" y="25"/>
                  </a:lnTo>
                  <a:lnTo>
                    <a:pt x="4487" y="35"/>
                  </a:lnTo>
                  <a:lnTo>
                    <a:pt x="4512" y="47"/>
                  </a:lnTo>
                  <a:lnTo>
                    <a:pt x="4525" y="60"/>
                  </a:lnTo>
                  <a:lnTo>
                    <a:pt x="4534" y="81"/>
                  </a:lnTo>
                  <a:lnTo>
                    <a:pt x="4543" y="103"/>
                  </a:lnTo>
                  <a:lnTo>
                    <a:pt x="4546" y="122"/>
                  </a:lnTo>
                  <a:lnTo>
                    <a:pt x="4543" y="144"/>
                  </a:lnTo>
                  <a:lnTo>
                    <a:pt x="4531" y="169"/>
                  </a:lnTo>
                  <a:lnTo>
                    <a:pt x="4518" y="191"/>
                  </a:lnTo>
                  <a:lnTo>
                    <a:pt x="4512" y="213"/>
                  </a:lnTo>
                  <a:lnTo>
                    <a:pt x="4509" y="231"/>
                  </a:lnTo>
                  <a:lnTo>
                    <a:pt x="4506" y="256"/>
                  </a:lnTo>
                  <a:lnTo>
                    <a:pt x="4506" y="281"/>
                  </a:lnTo>
                  <a:lnTo>
                    <a:pt x="4512" y="297"/>
                  </a:lnTo>
                  <a:lnTo>
                    <a:pt x="4534" y="306"/>
                  </a:lnTo>
                  <a:lnTo>
                    <a:pt x="4562" y="312"/>
                  </a:lnTo>
                  <a:lnTo>
                    <a:pt x="4596" y="312"/>
                  </a:lnTo>
                  <a:lnTo>
                    <a:pt x="4628" y="306"/>
                  </a:lnTo>
                  <a:lnTo>
                    <a:pt x="4649" y="297"/>
                  </a:lnTo>
                  <a:lnTo>
                    <a:pt x="4659" y="284"/>
                  </a:lnTo>
                  <a:lnTo>
                    <a:pt x="4662" y="266"/>
                  </a:lnTo>
                  <a:lnTo>
                    <a:pt x="4665" y="244"/>
                  </a:lnTo>
                  <a:lnTo>
                    <a:pt x="4668" y="225"/>
                  </a:lnTo>
                  <a:lnTo>
                    <a:pt x="4678" y="213"/>
                  </a:lnTo>
                  <a:lnTo>
                    <a:pt x="4696" y="206"/>
                  </a:lnTo>
                  <a:lnTo>
                    <a:pt x="4721" y="206"/>
                  </a:lnTo>
                  <a:lnTo>
                    <a:pt x="4746" y="209"/>
                  </a:lnTo>
                  <a:lnTo>
                    <a:pt x="4768" y="213"/>
                  </a:lnTo>
                  <a:lnTo>
                    <a:pt x="4790" y="219"/>
                  </a:lnTo>
                  <a:lnTo>
                    <a:pt x="4815" y="225"/>
                  </a:lnTo>
                  <a:lnTo>
                    <a:pt x="4840" y="234"/>
                  </a:lnTo>
                  <a:lnTo>
                    <a:pt x="4862" y="238"/>
                  </a:lnTo>
                  <a:lnTo>
                    <a:pt x="4881" y="234"/>
                  </a:lnTo>
                  <a:lnTo>
                    <a:pt x="4902" y="231"/>
                  </a:lnTo>
                  <a:lnTo>
                    <a:pt x="4924" y="225"/>
                  </a:lnTo>
                  <a:lnTo>
                    <a:pt x="4943" y="225"/>
                  </a:lnTo>
                  <a:lnTo>
                    <a:pt x="4965" y="231"/>
                  </a:lnTo>
                  <a:lnTo>
                    <a:pt x="4993" y="241"/>
                  </a:lnTo>
                  <a:lnTo>
                    <a:pt x="5009" y="253"/>
                  </a:lnTo>
                  <a:lnTo>
                    <a:pt x="5015" y="272"/>
                  </a:lnTo>
                  <a:lnTo>
                    <a:pt x="5012" y="297"/>
                  </a:lnTo>
                  <a:lnTo>
                    <a:pt x="5009" y="325"/>
                  </a:lnTo>
                  <a:lnTo>
                    <a:pt x="5005" y="350"/>
                  </a:lnTo>
                  <a:lnTo>
                    <a:pt x="5009" y="369"/>
                  </a:lnTo>
                  <a:lnTo>
                    <a:pt x="5024" y="384"/>
                  </a:lnTo>
                  <a:lnTo>
                    <a:pt x="5049" y="397"/>
                  </a:lnTo>
                  <a:lnTo>
                    <a:pt x="5068" y="406"/>
                  </a:lnTo>
                  <a:lnTo>
                    <a:pt x="5087" y="406"/>
                  </a:lnTo>
                  <a:lnTo>
                    <a:pt x="5108" y="406"/>
                  </a:lnTo>
                  <a:lnTo>
                    <a:pt x="5127" y="406"/>
                  </a:lnTo>
                  <a:lnTo>
                    <a:pt x="5143" y="416"/>
                  </a:lnTo>
                  <a:lnTo>
                    <a:pt x="5162" y="428"/>
                  </a:lnTo>
                  <a:lnTo>
                    <a:pt x="5177" y="444"/>
                  </a:lnTo>
                  <a:lnTo>
                    <a:pt x="5187" y="456"/>
                  </a:lnTo>
                  <a:lnTo>
                    <a:pt x="5180" y="472"/>
                  </a:lnTo>
                  <a:lnTo>
                    <a:pt x="5165" y="490"/>
                  </a:lnTo>
                  <a:lnTo>
                    <a:pt x="5149" y="509"/>
                  </a:lnTo>
                  <a:lnTo>
                    <a:pt x="5146" y="525"/>
                  </a:lnTo>
                  <a:lnTo>
                    <a:pt x="5155" y="540"/>
                  </a:lnTo>
                  <a:lnTo>
                    <a:pt x="5177" y="556"/>
                  </a:lnTo>
                  <a:lnTo>
                    <a:pt x="5199" y="569"/>
                  </a:lnTo>
                  <a:lnTo>
                    <a:pt x="5218" y="578"/>
                  </a:lnTo>
                  <a:lnTo>
                    <a:pt x="5243" y="581"/>
                  </a:lnTo>
                  <a:lnTo>
                    <a:pt x="5268" y="578"/>
                  </a:lnTo>
                  <a:lnTo>
                    <a:pt x="5296" y="575"/>
                  </a:lnTo>
                  <a:lnTo>
                    <a:pt x="5318" y="578"/>
                  </a:lnTo>
                  <a:lnTo>
                    <a:pt x="5340" y="590"/>
                  </a:lnTo>
                  <a:lnTo>
                    <a:pt x="5358" y="612"/>
                  </a:lnTo>
                  <a:lnTo>
                    <a:pt x="5374" y="631"/>
                  </a:lnTo>
                  <a:lnTo>
                    <a:pt x="5380" y="637"/>
                  </a:lnTo>
                  <a:lnTo>
                    <a:pt x="5386" y="640"/>
                  </a:lnTo>
                  <a:lnTo>
                    <a:pt x="5393" y="647"/>
                  </a:lnTo>
                  <a:lnTo>
                    <a:pt x="5399" y="653"/>
                  </a:lnTo>
                  <a:lnTo>
                    <a:pt x="5405" y="659"/>
                  </a:lnTo>
                  <a:lnTo>
                    <a:pt x="5405" y="665"/>
                  </a:lnTo>
                  <a:lnTo>
                    <a:pt x="5399" y="678"/>
                  </a:lnTo>
                  <a:lnTo>
                    <a:pt x="5383" y="687"/>
                  </a:lnTo>
                  <a:lnTo>
                    <a:pt x="5361" y="700"/>
                  </a:lnTo>
                  <a:lnTo>
                    <a:pt x="5343" y="712"/>
                  </a:lnTo>
                  <a:lnTo>
                    <a:pt x="5333" y="725"/>
                  </a:lnTo>
                  <a:lnTo>
                    <a:pt x="5333" y="740"/>
                  </a:lnTo>
                  <a:lnTo>
                    <a:pt x="5336" y="759"/>
                  </a:lnTo>
                  <a:lnTo>
                    <a:pt x="5346" y="778"/>
                  </a:lnTo>
                  <a:lnTo>
                    <a:pt x="5355" y="790"/>
                  </a:lnTo>
                  <a:lnTo>
                    <a:pt x="5371" y="790"/>
                  </a:lnTo>
                  <a:lnTo>
                    <a:pt x="5390" y="781"/>
                  </a:lnTo>
                  <a:lnTo>
                    <a:pt x="5411" y="768"/>
                  </a:lnTo>
                  <a:lnTo>
                    <a:pt x="5430" y="759"/>
                  </a:lnTo>
                  <a:lnTo>
                    <a:pt x="5443" y="762"/>
                  </a:lnTo>
                  <a:lnTo>
                    <a:pt x="5452" y="775"/>
                  </a:lnTo>
                  <a:lnTo>
                    <a:pt x="5455" y="796"/>
                  </a:lnTo>
                  <a:lnTo>
                    <a:pt x="5452" y="818"/>
                  </a:lnTo>
                  <a:lnTo>
                    <a:pt x="5449" y="837"/>
                  </a:lnTo>
                  <a:lnTo>
                    <a:pt x="5436" y="856"/>
                  </a:lnTo>
                  <a:lnTo>
                    <a:pt x="5411" y="878"/>
                  </a:lnTo>
                  <a:lnTo>
                    <a:pt x="5390" y="893"/>
                  </a:lnTo>
                  <a:lnTo>
                    <a:pt x="5374" y="893"/>
                  </a:lnTo>
                  <a:lnTo>
                    <a:pt x="5352" y="890"/>
                  </a:lnTo>
                  <a:lnTo>
                    <a:pt x="5333" y="887"/>
                  </a:lnTo>
                  <a:lnTo>
                    <a:pt x="5318" y="893"/>
                  </a:lnTo>
                  <a:lnTo>
                    <a:pt x="5308" y="909"/>
                  </a:lnTo>
                  <a:lnTo>
                    <a:pt x="5302" y="937"/>
                  </a:lnTo>
                  <a:lnTo>
                    <a:pt x="5302" y="965"/>
                  </a:lnTo>
                  <a:lnTo>
                    <a:pt x="5302" y="987"/>
                  </a:lnTo>
                  <a:lnTo>
                    <a:pt x="5315" y="1006"/>
                  </a:lnTo>
                  <a:lnTo>
                    <a:pt x="5333" y="1028"/>
                  </a:lnTo>
                  <a:lnTo>
                    <a:pt x="5346" y="1046"/>
                  </a:lnTo>
                  <a:lnTo>
                    <a:pt x="5346" y="1065"/>
                  </a:lnTo>
                  <a:lnTo>
                    <a:pt x="5346" y="1090"/>
                  </a:lnTo>
                  <a:lnTo>
                    <a:pt x="5340" y="1112"/>
                  </a:lnTo>
                  <a:lnTo>
                    <a:pt x="5336" y="1131"/>
                  </a:lnTo>
                  <a:lnTo>
                    <a:pt x="5327" y="1156"/>
                  </a:lnTo>
                  <a:lnTo>
                    <a:pt x="5318" y="1181"/>
                  </a:lnTo>
                  <a:lnTo>
                    <a:pt x="5305" y="1206"/>
                  </a:lnTo>
                  <a:lnTo>
                    <a:pt x="5302" y="1231"/>
                  </a:lnTo>
                  <a:lnTo>
                    <a:pt x="5308" y="1237"/>
                  </a:lnTo>
                  <a:lnTo>
                    <a:pt x="5315" y="1246"/>
                  </a:lnTo>
                  <a:lnTo>
                    <a:pt x="5324" y="1252"/>
                  </a:lnTo>
                  <a:lnTo>
                    <a:pt x="5333" y="1262"/>
                  </a:lnTo>
                  <a:lnTo>
                    <a:pt x="5340" y="1268"/>
                  </a:lnTo>
                  <a:lnTo>
                    <a:pt x="5346" y="1274"/>
                  </a:lnTo>
                  <a:lnTo>
                    <a:pt x="5355" y="1293"/>
                  </a:lnTo>
                  <a:lnTo>
                    <a:pt x="5365" y="1318"/>
                  </a:lnTo>
                  <a:lnTo>
                    <a:pt x="5374" y="1340"/>
                  </a:lnTo>
                  <a:lnTo>
                    <a:pt x="5386" y="1355"/>
                  </a:lnTo>
                  <a:lnTo>
                    <a:pt x="5402" y="1365"/>
                  </a:lnTo>
                  <a:lnTo>
                    <a:pt x="5424" y="1368"/>
                  </a:lnTo>
                  <a:lnTo>
                    <a:pt x="5443" y="1371"/>
                  </a:lnTo>
                  <a:lnTo>
                    <a:pt x="5461" y="1365"/>
                  </a:lnTo>
                  <a:lnTo>
                    <a:pt x="5486" y="1355"/>
                  </a:lnTo>
                  <a:lnTo>
                    <a:pt x="5511" y="1346"/>
                  </a:lnTo>
                  <a:lnTo>
                    <a:pt x="5530" y="1343"/>
                  </a:lnTo>
                  <a:lnTo>
                    <a:pt x="5539" y="1343"/>
                  </a:lnTo>
                  <a:lnTo>
                    <a:pt x="5549" y="1343"/>
                  </a:lnTo>
                  <a:lnTo>
                    <a:pt x="5558" y="1346"/>
                  </a:lnTo>
                  <a:lnTo>
                    <a:pt x="5564" y="1352"/>
                  </a:lnTo>
                  <a:lnTo>
                    <a:pt x="5571" y="1371"/>
                  </a:lnTo>
                  <a:lnTo>
                    <a:pt x="5574" y="1396"/>
                  </a:lnTo>
                  <a:lnTo>
                    <a:pt x="5571" y="1415"/>
                  </a:lnTo>
                  <a:lnTo>
                    <a:pt x="5568" y="1424"/>
                  </a:lnTo>
                  <a:lnTo>
                    <a:pt x="5561" y="1430"/>
                  </a:lnTo>
                  <a:lnTo>
                    <a:pt x="5552" y="1440"/>
                  </a:lnTo>
                  <a:lnTo>
                    <a:pt x="5543" y="1446"/>
                  </a:lnTo>
                  <a:lnTo>
                    <a:pt x="5536" y="1455"/>
                  </a:lnTo>
                  <a:lnTo>
                    <a:pt x="5530" y="1462"/>
                  </a:lnTo>
                  <a:lnTo>
                    <a:pt x="5527" y="1480"/>
                  </a:lnTo>
                  <a:lnTo>
                    <a:pt x="5527" y="1505"/>
                  </a:lnTo>
                  <a:lnTo>
                    <a:pt x="5530" y="1524"/>
                  </a:lnTo>
                  <a:lnTo>
                    <a:pt x="5546" y="1533"/>
                  </a:lnTo>
                  <a:lnTo>
                    <a:pt x="5568" y="1540"/>
                  </a:lnTo>
                  <a:lnTo>
                    <a:pt x="5593" y="1543"/>
                  </a:lnTo>
                  <a:lnTo>
                    <a:pt x="5614" y="1549"/>
                  </a:lnTo>
                  <a:lnTo>
                    <a:pt x="5630" y="1555"/>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Freeform 35">
              <a:extLst>
                <a:ext uri="{FF2B5EF4-FFF2-40B4-BE49-F238E27FC236}">
                  <a16:creationId xmlns:a16="http://schemas.microsoft.com/office/drawing/2014/main" id="{9C7A0C01-E69B-4D4C-AC8D-B85313A325C2}"/>
                </a:ext>
              </a:extLst>
            </p:cNvPr>
            <p:cNvSpPr>
              <a:spLocks/>
            </p:cNvSpPr>
            <p:nvPr/>
          </p:nvSpPr>
          <p:spPr bwMode="auto">
            <a:xfrm>
              <a:off x="28313063" y="-6429375"/>
              <a:ext cx="4778375" cy="6642100"/>
            </a:xfrm>
            <a:custGeom>
              <a:avLst/>
              <a:gdLst>
                <a:gd name="T0" fmla="*/ 225 w 3010"/>
                <a:gd name="T1" fmla="*/ 887 h 4184"/>
                <a:gd name="T2" fmla="*/ 368 w 3010"/>
                <a:gd name="T3" fmla="*/ 812 h 4184"/>
                <a:gd name="T4" fmla="*/ 546 w 3010"/>
                <a:gd name="T5" fmla="*/ 831 h 4184"/>
                <a:gd name="T6" fmla="*/ 687 w 3010"/>
                <a:gd name="T7" fmla="*/ 668 h 4184"/>
                <a:gd name="T8" fmla="*/ 699 w 3010"/>
                <a:gd name="T9" fmla="*/ 484 h 4184"/>
                <a:gd name="T10" fmla="*/ 846 w 3010"/>
                <a:gd name="T11" fmla="*/ 365 h 4184"/>
                <a:gd name="T12" fmla="*/ 980 w 3010"/>
                <a:gd name="T13" fmla="*/ 197 h 4184"/>
                <a:gd name="T14" fmla="*/ 1074 w 3010"/>
                <a:gd name="T15" fmla="*/ 144 h 4184"/>
                <a:gd name="T16" fmla="*/ 1221 w 3010"/>
                <a:gd name="T17" fmla="*/ 87 h 4184"/>
                <a:gd name="T18" fmla="*/ 1361 w 3010"/>
                <a:gd name="T19" fmla="*/ 16 h 4184"/>
                <a:gd name="T20" fmla="*/ 1480 w 3010"/>
                <a:gd name="T21" fmla="*/ 203 h 4184"/>
                <a:gd name="T22" fmla="*/ 1764 w 3010"/>
                <a:gd name="T23" fmla="*/ 125 h 4184"/>
                <a:gd name="T24" fmla="*/ 1977 w 3010"/>
                <a:gd name="T25" fmla="*/ 234 h 4184"/>
                <a:gd name="T26" fmla="*/ 2155 w 3010"/>
                <a:gd name="T27" fmla="*/ 153 h 4184"/>
                <a:gd name="T28" fmla="*/ 2323 w 3010"/>
                <a:gd name="T29" fmla="*/ 319 h 4184"/>
                <a:gd name="T30" fmla="*/ 2545 w 3010"/>
                <a:gd name="T31" fmla="*/ 437 h 4184"/>
                <a:gd name="T32" fmla="*/ 2745 w 3010"/>
                <a:gd name="T33" fmla="*/ 546 h 4184"/>
                <a:gd name="T34" fmla="*/ 2873 w 3010"/>
                <a:gd name="T35" fmla="*/ 803 h 4184"/>
                <a:gd name="T36" fmla="*/ 3004 w 3010"/>
                <a:gd name="T37" fmla="*/ 1005 h 4184"/>
                <a:gd name="T38" fmla="*/ 2810 w 3010"/>
                <a:gd name="T39" fmla="*/ 1143 h 4184"/>
                <a:gd name="T40" fmla="*/ 2760 w 3010"/>
                <a:gd name="T41" fmla="*/ 1205 h 4184"/>
                <a:gd name="T42" fmla="*/ 2645 w 3010"/>
                <a:gd name="T43" fmla="*/ 1349 h 4184"/>
                <a:gd name="T44" fmla="*/ 2604 w 3010"/>
                <a:gd name="T45" fmla="*/ 1468 h 4184"/>
                <a:gd name="T46" fmla="*/ 2845 w 3010"/>
                <a:gd name="T47" fmla="*/ 1483 h 4184"/>
                <a:gd name="T48" fmla="*/ 2717 w 3010"/>
                <a:gd name="T49" fmla="*/ 1614 h 4184"/>
                <a:gd name="T50" fmla="*/ 2539 w 3010"/>
                <a:gd name="T51" fmla="*/ 1858 h 4184"/>
                <a:gd name="T52" fmla="*/ 2342 w 3010"/>
                <a:gd name="T53" fmla="*/ 2145 h 4184"/>
                <a:gd name="T54" fmla="*/ 2183 w 3010"/>
                <a:gd name="T55" fmla="*/ 2345 h 4184"/>
                <a:gd name="T56" fmla="*/ 1945 w 3010"/>
                <a:gd name="T57" fmla="*/ 2436 h 4184"/>
                <a:gd name="T58" fmla="*/ 1970 w 3010"/>
                <a:gd name="T59" fmla="*/ 2645 h 4184"/>
                <a:gd name="T60" fmla="*/ 1920 w 3010"/>
                <a:gd name="T61" fmla="*/ 2832 h 4184"/>
                <a:gd name="T62" fmla="*/ 1624 w 3010"/>
                <a:gd name="T63" fmla="*/ 3098 h 4184"/>
                <a:gd name="T64" fmla="*/ 1461 w 3010"/>
                <a:gd name="T65" fmla="*/ 3316 h 4184"/>
                <a:gd name="T66" fmla="*/ 1452 w 3010"/>
                <a:gd name="T67" fmla="*/ 3472 h 4184"/>
                <a:gd name="T68" fmla="*/ 1327 w 3010"/>
                <a:gd name="T69" fmla="*/ 3635 h 4184"/>
                <a:gd name="T70" fmla="*/ 1374 w 3010"/>
                <a:gd name="T71" fmla="*/ 3800 h 4184"/>
                <a:gd name="T72" fmla="*/ 1202 w 3010"/>
                <a:gd name="T73" fmla="*/ 4028 h 4184"/>
                <a:gd name="T74" fmla="*/ 946 w 3010"/>
                <a:gd name="T75" fmla="*/ 4144 h 4184"/>
                <a:gd name="T76" fmla="*/ 762 w 3010"/>
                <a:gd name="T77" fmla="*/ 3975 h 4184"/>
                <a:gd name="T78" fmla="*/ 603 w 3010"/>
                <a:gd name="T79" fmla="*/ 4109 h 4184"/>
                <a:gd name="T80" fmla="*/ 440 w 3010"/>
                <a:gd name="T81" fmla="*/ 4066 h 4184"/>
                <a:gd name="T82" fmla="*/ 325 w 3010"/>
                <a:gd name="T83" fmla="*/ 3966 h 4184"/>
                <a:gd name="T84" fmla="*/ 209 w 3010"/>
                <a:gd name="T85" fmla="*/ 3853 h 4184"/>
                <a:gd name="T86" fmla="*/ 253 w 3010"/>
                <a:gd name="T87" fmla="*/ 3672 h 4184"/>
                <a:gd name="T88" fmla="*/ 297 w 3010"/>
                <a:gd name="T89" fmla="*/ 3560 h 4184"/>
                <a:gd name="T90" fmla="*/ 272 w 3010"/>
                <a:gd name="T91" fmla="*/ 3401 h 4184"/>
                <a:gd name="T92" fmla="*/ 303 w 3010"/>
                <a:gd name="T93" fmla="*/ 3229 h 4184"/>
                <a:gd name="T94" fmla="*/ 243 w 3010"/>
                <a:gd name="T95" fmla="*/ 3048 h 4184"/>
                <a:gd name="T96" fmla="*/ 253 w 3010"/>
                <a:gd name="T97" fmla="*/ 2857 h 4184"/>
                <a:gd name="T98" fmla="*/ 278 w 3010"/>
                <a:gd name="T99" fmla="*/ 2695 h 4184"/>
                <a:gd name="T100" fmla="*/ 9 w 3010"/>
                <a:gd name="T101" fmla="*/ 2576 h 4184"/>
                <a:gd name="T102" fmla="*/ 84 w 3010"/>
                <a:gd name="T103" fmla="*/ 2448 h 4184"/>
                <a:gd name="T104" fmla="*/ 106 w 3010"/>
                <a:gd name="T105" fmla="*/ 2367 h 4184"/>
                <a:gd name="T106" fmla="*/ 237 w 3010"/>
                <a:gd name="T107" fmla="*/ 2223 h 4184"/>
                <a:gd name="T108" fmla="*/ 378 w 3010"/>
                <a:gd name="T109" fmla="*/ 1933 h 4184"/>
                <a:gd name="T110" fmla="*/ 406 w 3010"/>
                <a:gd name="T111" fmla="*/ 1677 h 4184"/>
                <a:gd name="T112" fmla="*/ 297 w 3010"/>
                <a:gd name="T113" fmla="*/ 1461 h 4184"/>
                <a:gd name="T114" fmla="*/ 350 w 3010"/>
                <a:gd name="T115" fmla="*/ 1215 h 4184"/>
                <a:gd name="T116" fmla="*/ 331 w 3010"/>
                <a:gd name="T117" fmla="*/ 1015 h 4184"/>
                <a:gd name="T118" fmla="*/ 272 w 3010"/>
                <a:gd name="T119" fmla="*/ 1002 h 4184"/>
                <a:gd name="T120" fmla="*/ 203 w 3010"/>
                <a:gd name="T121" fmla="*/ 1040 h 4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0" h="4184">
                  <a:moveTo>
                    <a:pt x="194" y="1021"/>
                  </a:moveTo>
                  <a:lnTo>
                    <a:pt x="190" y="1012"/>
                  </a:lnTo>
                  <a:lnTo>
                    <a:pt x="187" y="1002"/>
                  </a:lnTo>
                  <a:lnTo>
                    <a:pt x="184" y="996"/>
                  </a:lnTo>
                  <a:lnTo>
                    <a:pt x="181" y="974"/>
                  </a:lnTo>
                  <a:lnTo>
                    <a:pt x="181" y="952"/>
                  </a:lnTo>
                  <a:lnTo>
                    <a:pt x="187" y="931"/>
                  </a:lnTo>
                  <a:lnTo>
                    <a:pt x="190" y="924"/>
                  </a:lnTo>
                  <a:lnTo>
                    <a:pt x="200" y="915"/>
                  </a:lnTo>
                  <a:lnTo>
                    <a:pt x="209" y="906"/>
                  </a:lnTo>
                  <a:lnTo>
                    <a:pt x="219" y="896"/>
                  </a:lnTo>
                  <a:lnTo>
                    <a:pt x="225" y="887"/>
                  </a:lnTo>
                  <a:lnTo>
                    <a:pt x="228" y="881"/>
                  </a:lnTo>
                  <a:lnTo>
                    <a:pt x="231" y="868"/>
                  </a:lnTo>
                  <a:lnTo>
                    <a:pt x="234" y="856"/>
                  </a:lnTo>
                  <a:lnTo>
                    <a:pt x="237" y="846"/>
                  </a:lnTo>
                  <a:lnTo>
                    <a:pt x="240" y="837"/>
                  </a:lnTo>
                  <a:lnTo>
                    <a:pt x="256" y="824"/>
                  </a:lnTo>
                  <a:lnTo>
                    <a:pt x="278" y="815"/>
                  </a:lnTo>
                  <a:lnTo>
                    <a:pt x="297" y="806"/>
                  </a:lnTo>
                  <a:lnTo>
                    <a:pt x="318" y="806"/>
                  </a:lnTo>
                  <a:lnTo>
                    <a:pt x="340" y="803"/>
                  </a:lnTo>
                  <a:lnTo>
                    <a:pt x="362" y="806"/>
                  </a:lnTo>
                  <a:lnTo>
                    <a:pt x="368" y="812"/>
                  </a:lnTo>
                  <a:lnTo>
                    <a:pt x="378" y="818"/>
                  </a:lnTo>
                  <a:lnTo>
                    <a:pt x="384" y="827"/>
                  </a:lnTo>
                  <a:lnTo>
                    <a:pt x="393" y="837"/>
                  </a:lnTo>
                  <a:lnTo>
                    <a:pt x="400" y="846"/>
                  </a:lnTo>
                  <a:lnTo>
                    <a:pt x="409" y="852"/>
                  </a:lnTo>
                  <a:lnTo>
                    <a:pt x="431" y="859"/>
                  </a:lnTo>
                  <a:lnTo>
                    <a:pt x="456" y="868"/>
                  </a:lnTo>
                  <a:lnTo>
                    <a:pt x="478" y="868"/>
                  </a:lnTo>
                  <a:lnTo>
                    <a:pt x="493" y="862"/>
                  </a:lnTo>
                  <a:lnTo>
                    <a:pt x="512" y="849"/>
                  </a:lnTo>
                  <a:lnTo>
                    <a:pt x="531" y="840"/>
                  </a:lnTo>
                  <a:lnTo>
                    <a:pt x="546" y="831"/>
                  </a:lnTo>
                  <a:lnTo>
                    <a:pt x="565" y="834"/>
                  </a:lnTo>
                  <a:lnTo>
                    <a:pt x="590" y="837"/>
                  </a:lnTo>
                  <a:lnTo>
                    <a:pt x="615" y="843"/>
                  </a:lnTo>
                  <a:lnTo>
                    <a:pt x="634" y="840"/>
                  </a:lnTo>
                  <a:lnTo>
                    <a:pt x="649" y="824"/>
                  </a:lnTo>
                  <a:lnTo>
                    <a:pt x="662" y="806"/>
                  </a:lnTo>
                  <a:lnTo>
                    <a:pt x="671" y="787"/>
                  </a:lnTo>
                  <a:lnTo>
                    <a:pt x="681" y="768"/>
                  </a:lnTo>
                  <a:lnTo>
                    <a:pt x="690" y="743"/>
                  </a:lnTo>
                  <a:lnTo>
                    <a:pt x="696" y="721"/>
                  </a:lnTo>
                  <a:lnTo>
                    <a:pt x="693" y="696"/>
                  </a:lnTo>
                  <a:lnTo>
                    <a:pt x="687" y="668"/>
                  </a:lnTo>
                  <a:lnTo>
                    <a:pt x="684" y="643"/>
                  </a:lnTo>
                  <a:lnTo>
                    <a:pt x="684" y="634"/>
                  </a:lnTo>
                  <a:lnTo>
                    <a:pt x="684" y="625"/>
                  </a:lnTo>
                  <a:lnTo>
                    <a:pt x="687" y="615"/>
                  </a:lnTo>
                  <a:lnTo>
                    <a:pt x="690" y="606"/>
                  </a:lnTo>
                  <a:lnTo>
                    <a:pt x="690" y="596"/>
                  </a:lnTo>
                  <a:lnTo>
                    <a:pt x="690" y="578"/>
                  </a:lnTo>
                  <a:lnTo>
                    <a:pt x="687" y="553"/>
                  </a:lnTo>
                  <a:lnTo>
                    <a:pt x="684" y="531"/>
                  </a:lnTo>
                  <a:lnTo>
                    <a:pt x="684" y="509"/>
                  </a:lnTo>
                  <a:lnTo>
                    <a:pt x="687" y="490"/>
                  </a:lnTo>
                  <a:lnTo>
                    <a:pt x="699" y="484"/>
                  </a:lnTo>
                  <a:lnTo>
                    <a:pt x="721" y="481"/>
                  </a:lnTo>
                  <a:lnTo>
                    <a:pt x="740" y="478"/>
                  </a:lnTo>
                  <a:lnTo>
                    <a:pt x="752" y="475"/>
                  </a:lnTo>
                  <a:lnTo>
                    <a:pt x="768" y="456"/>
                  </a:lnTo>
                  <a:lnTo>
                    <a:pt x="777" y="428"/>
                  </a:lnTo>
                  <a:lnTo>
                    <a:pt x="790" y="400"/>
                  </a:lnTo>
                  <a:lnTo>
                    <a:pt x="802" y="381"/>
                  </a:lnTo>
                  <a:lnTo>
                    <a:pt x="812" y="378"/>
                  </a:lnTo>
                  <a:lnTo>
                    <a:pt x="821" y="375"/>
                  </a:lnTo>
                  <a:lnTo>
                    <a:pt x="831" y="372"/>
                  </a:lnTo>
                  <a:lnTo>
                    <a:pt x="840" y="368"/>
                  </a:lnTo>
                  <a:lnTo>
                    <a:pt x="846" y="365"/>
                  </a:lnTo>
                  <a:lnTo>
                    <a:pt x="874" y="350"/>
                  </a:lnTo>
                  <a:lnTo>
                    <a:pt x="902" y="328"/>
                  </a:lnTo>
                  <a:lnTo>
                    <a:pt x="924" y="306"/>
                  </a:lnTo>
                  <a:lnTo>
                    <a:pt x="930" y="287"/>
                  </a:lnTo>
                  <a:lnTo>
                    <a:pt x="934" y="262"/>
                  </a:lnTo>
                  <a:lnTo>
                    <a:pt x="940" y="240"/>
                  </a:lnTo>
                  <a:lnTo>
                    <a:pt x="946" y="234"/>
                  </a:lnTo>
                  <a:lnTo>
                    <a:pt x="955" y="228"/>
                  </a:lnTo>
                  <a:lnTo>
                    <a:pt x="965" y="222"/>
                  </a:lnTo>
                  <a:lnTo>
                    <a:pt x="971" y="215"/>
                  </a:lnTo>
                  <a:lnTo>
                    <a:pt x="977" y="206"/>
                  </a:lnTo>
                  <a:lnTo>
                    <a:pt x="980" y="197"/>
                  </a:lnTo>
                  <a:lnTo>
                    <a:pt x="996" y="194"/>
                  </a:lnTo>
                  <a:lnTo>
                    <a:pt x="1009" y="194"/>
                  </a:lnTo>
                  <a:lnTo>
                    <a:pt x="1018" y="190"/>
                  </a:lnTo>
                  <a:lnTo>
                    <a:pt x="1027" y="190"/>
                  </a:lnTo>
                  <a:lnTo>
                    <a:pt x="1037" y="187"/>
                  </a:lnTo>
                  <a:lnTo>
                    <a:pt x="1046" y="187"/>
                  </a:lnTo>
                  <a:lnTo>
                    <a:pt x="1055" y="181"/>
                  </a:lnTo>
                  <a:lnTo>
                    <a:pt x="1059" y="178"/>
                  </a:lnTo>
                  <a:lnTo>
                    <a:pt x="1062" y="169"/>
                  </a:lnTo>
                  <a:lnTo>
                    <a:pt x="1065" y="159"/>
                  </a:lnTo>
                  <a:lnTo>
                    <a:pt x="1068" y="150"/>
                  </a:lnTo>
                  <a:lnTo>
                    <a:pt x="1074" y="144"/>
                  </a:lnTo>
                  <a:lnTo>
                    <a:pt x="1077" y="137"/>
                  </a:lnTo>
                  <a:lnTo>
                    <a:pt x="1090" y="134"/>
                  </a:lnTo>
                  <a:lnTo>
                    <a:pt x="1108" y="137"/>
                  </a:lnTo>
                  <a:lnTo>
                    <a:pt x="1127" y="141"/>
                  </a:lnTo>
                  <a:lnTo>
                    <a:pt x="1143" y="137"/>
                  </a:lnTo>
                  <a:lnTo>
                    <a:pt x="1149" y="134"/>
                  </a:lnTo>
                  <a:lnTo>
                    <a:pt x="1158" y="125"/>
                  </a:lnTo>
                  <a:lnTo>
                    <a:pt x="1168" y="116"/>
                  </a:lnTo>
                  <a:lnTo>
                    <a:pt x="1177" y="106"/>
                  </a:lnTo>
                  <a:lnTo>
                    <a:pt x="1183" y="100"/>
                  </a:lnTo>
                  <a:lnTo>
                    <a:pt x="1202" y="94"/>
                  </a:lnTo>
                  <a:lnTo>
                    <a:pt x="1221" y="87"/>
                  </a:lnTo>
                  <a:lnTo>
                    <a:pt x="1237" y="81"/>
                  </a:lnTo>
                  <a:lnTo>
                    <a:pt x="1246" y="62"/>
                  </a:lnTo>
                  <a:lnTo>
                    <a:pt x="1252" y="41"/>
                  </a:lnTo>
                  <a:lnTo>
                    <a:pt x="1261" y="16"/>
                  </a:lnTo>
                  <a:lnTo>
                    <a:pt x="1271" y="0"/>
                  </a:lnTo>
                  <a:lnTo>
                    <a:pt x="1277" y="0"/>
                  </a:lnTo>
                  <a:lnTo>
                    <a:pt x="1283" y="0"/>
                  </a:lnTo>
                  <a:lnTo>
                    <a:pt x="1293" y="0"/>
                  </a:lnTo>
                  <a:lnTo>
                    <a:pt x="1299" y="0"/>
                  </a:lnTo>
                  <a:lnTo>
                    <a:pt x="1305" y="0"/>
                  </a:lnTo>
                  <a:lnTo>
                    <a:pt x="1330" y="6"/>
                  </a:lnTo>
                  <a:lnTo>
                    <a:pt x="1361" y="16"/>
                  </a:lnTo>
                  <a:lnTo>
                    <a:pt x="1393" y="28"/>
                  </a:lnTo>
                  <a:lnTo>
                    <a:pt x="1411" y="44"/>
                  </a:lnTo>
                  <a:lnTo>
                    <a:pt x="1418" y="62"/>
                  </a:lnTo>
                  <a:lnTo>
                    <a:pt x="1421" y="84"/>
                  </a:lnTo>
                  <a:lnTo>
                    <a:pt x="1424" y="106"/>
                  </a:lnTo>
                  <a:lnTo>
                    <a:pt x="1424" y="125"/>
                  </a:lnTo>
                  <a:lnTo>
                    <a:pt x="1430" y="144"/>
                  </a:lnTo>
                  <a:lnTo>
                    <a:pt x="1439" y="166"/>
                  </a:lnTo>
                  <a:lnTo>
                    <a:pt x="1446" y="187"/>
                  </a:lnTo>
                  <a:lnTo>
                    <a:pt x="1449" y="197"/>
                  </a:lnTo>
                  <a:lnTo>
                    <a:pt x="1458" y="200"/>
                  </a:lnTo>
                  <a:lnTo>
                    <a:pt x="1480" y="203"/>
                  </a:lnTo>
                  <a:lnTo>
                    <a:pt x="1508" y="203"/>
                  </a:lnTo>
                  <a:lnTo>
                    <a:pt x="1536" y="200"/>
                  </a:lnTo>
                  <a:lnTo>
                    <a:pt x="1558" y="197"/>
                  </a:lnTo>
                  <a:lnTo>
                    <a:pt x="1577" y="190"/>
                  </a:lnTo>
                  <a:lnTo>
                    <a:pt x="1599" y="184"/>
                  </a:lnTo>
                  <a:lnTo>
                    <a:pt x="1617" y="175"/>
                  </a:lnTo>
                  <a:lnTo>
                    <a:pt x="1636" y="162"/>
                  </a:lnTo>
                  <a:lnTo>
                    <a:pt x="1655" y="150"/>
                  </a:lnTo>
                  <a:lnTo>
                    <a:pt x="1677" y="137"/>
                  </a:lnTo>
                  <a:lnTo>
                    <a:pt x="1702" y="131"/>
                  </a:lnTo>
                  <a:lnTo>
                    <a:pt x="1733" y="125"/>
                  </a:lnTo>
                  <a:lnTo>
                    <a:pt x="1764" y="125"/>
                  </a:lnTo>
                  <a:lnTo>
                    <a:pt x="1789" y="125"/>
                  </a:lnTo>
                  <a:lnTo>
                    <a:pt x="1799" y="128"/>
                  </a:lnTo>
                  <a:lnTo>
                    <a:pt x="1811" y="134"/>
                  </a:lnTo>
                  <a:lnTo>
                    <a:pt x="1820" y="141"/>
                  </a:lnTo>
                  <a:lnTo>
                    <a:pt x="1830" y="150"/>
                  </a:lnTo>
                  <a:lnTo>
                    <a:pt x="1839" y="153"/>
                  </a:lnTo>
                  <a:lnTo>
                    <a:pt x="1858" y="172"/>
                  </a:lnTo>
                  <a:lnTo>
                    <a:pt x="1880" y="194"/>
                  </a:lnTo>
                  <a:lnTo>
                    <a:pt x="1902" y="215"/>
                  </a:lnTo>
                  <a:lnTo>
                    <a:pt x="1920" y="228"/>
                  </a:lnTo>
                  <a:lnTo>
                    <a:pt x="1945" y="234"/>
                  </a:lnTo>
                  <a:lnTo>
                    <a:pt x="1977" y="234"/>
                  </a:lnTo>
                  <a:lnTo>
                    <a:pt x="2002" y="234"/>
                  </a:lnTo>
                  <a:lnTo>
                    <a:pt x="2020" y="231"/>
                  </a:lnTo>
                  <a:lnTo>
                    <a:pt x="2039" y="225"/>
                  </a:lnTo>
                  <a:lnTo>
                    <a:pt x="2055" y="215"/>
                  </a:lnTo>
                  <a:lnTo>
                    <a:pt x="2073" y="197"/>
                  </a:lnTo>
                  <a:lnTo>
                    <a:pt x="2089" y="172"/>
                  </a:lnTo>
                  <a:lnTo>
                    <a:pt x="2105" y="153"/>
                  </a:lnTo>
                  <a:lnTo>
                    <a:pt x="2114" y="153"/>
                  </a:lnTo>
                  <a:lnTo>
                    <a:pt x="2123" y="150"/>
                  </a:lnTo>
                  <a:lnTo>
                    <a:pt x="2133" y="150"/>
                  </a:lnTo>
                  <a:lnTo>
                    <a:pt x="2145" y="153"/>
                  </a:lnTo>
                  <a:lnTo>
                    <a:pt x="2155" y="153"/>
                  </a:lnTo>
                  <a:lnTo>
                    <a:pt x="2173" y="166"/>
                  </a:lnTo>
                  <a:lnTo>
                    <a:pt x="2195" y="181"/>
                  </a:lnTo>
                  <a:lnTo>
                    <a:pt x="2217" y="200"/>
                  </a:lnTo>
                  <a:lnTo>
                    <a:pt x="2236" y="215"/>
                  </a:lnTo>
                  <a:lnTo>
                    <a:pt x="2251" y="237"/>
                  </a:lnTo>
                  <a:lnTo>
                    <a:pt x="2270" y="262"/>
                  </a:lnTo>
                  <a:lnTo>
                    <a:pt x="2286" y="281"/>
                  </a:lnTo>
                  <a:lnTo>
                    <a:pt x="2292" y="287"/>
                  </a:lnTo>
                  <a:lnTo>
                    <a:pt x="2298" y="297"/>
                  </a:lnTo>
                  <a:lnTo>
                    <a:pt x="2308" y="306"/>
                  </a:lnTo>
                  <a:lnTo>
                    <a:pt x="2314" y="312"/>
                  </a:lnTo>
                  <a:lnTo>
                    <a:pt x="2323" y="319"/>
                  </a:lnTo>
                  <a:lnTo>
                    <a:pt x="2345" y="328"/>
                  </a:lnTo>
                  <a:lnTo>
                    <a:pt x="2376" y="334"/>
                  </a:lnTo>
                  <a:lnTo>
                    <a:pt x="2404" y="340"/>
                  </a:lnTo>
                  <a:lnTo>
                    <a:pt x="2429" y="350"/>
                  </a:lnTo>
                  <a:lnTo>
                    <a:pt x="2448" y="359"/>
                  </a:lnTo>
                  <a:lnTo>
                    <a:pt x="2470" y="378"/>
                  </a:lnTo>
                  <a:lnTo>
                    <a:pt x="2492" y="397"/>
                  </a:lnTo>
                  <a:lnTo>
                    <a:pt x="2511" y="412"/>
                  </a:lnTo>
                  <a:lnTo>
                    <a:pt x="2520" y="425"/>
                  </a:lnTo>
                  <a:lnTo>
                    <a:pt x="2529" y="431"/>
                  </a:lnTo>
                  <a:lnTo>
                    <a:pt x="2536" y="434"/>
                  </a:lnTo>
                  <a:lnTo>
                    <a:pt x="2545" y="437"/>
                  </a:lnTo>
                  <a:lnTo>
                    <a:pt x="2554" y="440"/>
                  </a:lnTo>
                  <a:lnTo>
                    <a:pt x="2564" y="443"/>
                  </a:lnTo>
                  <a:lnTo>
                    <a:pt x="2573" y="443"/>
                  </a:lnTo>
                  <a:lnTo>
                    <a:pt x="2579" y="450"/>
                  </a:lnTo>
                  <a:lnTo>
                    <a:pt x="2595" y="468"/>
                  </a:lnTo>
                  <a:lnTo>
                    <a:pt x="2611" y="497"/>
                  </a:lnTo>
                  <a:lnTo>
                    <a:pt x="2623" y="528"/>
                  </a:lnTo>
                  <a:lnTo>
                    <a:pt x="2642" y="546"/>
                  </a:lnTo>
                  <a:lnTo>
                    <a:pt x="2664" y="550"/>
                  </a:lnTo>
                  <a:lnTo>
                    <a:pt x="2692" y="546"/>
                  </a:lnTo>
                  <a:lnTo>
                    <a:pt x="2723" y="543"/>
                  </a:lnTo>
                  <a:lnTo>
                    <a:pt x="2745" y="546"/>
                  </a:lnTo>
                  <a:lnTo>
                    <a:pt x="2767" y="553"/>
                  </a:lnTo>
                  <a:lnTo>
                    <a:pt x="2788" y="568"/>
                  </a:lnTo>
                  <a:lnTo>
                    <a:pt x="2807" y="581"/>
                  </a:lnTo>
                  <a:lnTo>
                    <a:pt x="2823" y="596"/>
                  </a:lnTo>
                  <a:lnTo>
                    <a:pt x="2835" y="615"/>
                  </a:lnTo>
                  <a:lnTo>
                    <a:pt x="2845" y="631"/>
                  </a:lnTo>
                  <a:lnTo>
                    <a:pt x="2848" y="659"/>
                  </a:lnTo>
                  <a:lnTo>
                    <a:pt x="2845" y="693"/>
                  </a:lnTo>
                  <a:lnTo>
                    <a:pt x="2845" y="728"/>
                  </a:lnTo>
                  <a:lnTo>
                    <a:pt x="2845" y="756"/>
                  </a:lnTo>
                  <a:lnTo>
                    <a:pt x="2857" y="778"/>
                  </a:lnTo>
                  <a:lnTo>
                    <a:pt x="2873" y="803"/>
                  </a:lnTo>
                  <a:lnTo>
                    <a:pt x="2892" y="827"/>
                  </a:lnTo>
                  <a:lnTo>
                    <a:pt x="2904" y="849"/>
                  </a:lnTo>
                  <a:lnTo>
                    <a:pt x="2913" y="871"/>
                  </a:lnTo>
                  <a:lnTo>
                    <a:pt x="2926" y="896"/>
                  </a:lnTo>
                  <a:lnTo>
                    <a:pt x="2938" y="915"/>
                  </a:lnTo>
                  <a:lnTo>
                    <a:pt x="2945" y="921"/>
                  </a:lnTo>
                  <a:lnTo>
                    <a:pt x="2954" y="927"/>
                  </a:lnTo>
                  <a:lnTo>
                    <a:pt x="2963" y="937"/>
                  </a:lnTo>
                  <a:lnTo>
                    <a:pt x="2976" y="943"/>
                  </a:lnTo>
                  <a:lnTo>
                    <a:pt x="2982" y="949"/>
                  </a:lnTo>
                  <a:lnTo>
                    <a:pt x="2995" y="974"/>
                  </a:lnTo>
                  <a:lnTo>
                    <a:pt x="3004" y="1005"/>
                  </a:lnTo>
                  <a:lnTo>
                    <a:pt x="3010" y="1030"/>
                  </a:lnTo>
                  <a:lnTo>
                    <a:pt x="3010" y="1059"/>
                  </a:lnTo>
                  <a:lnTo>
                    <a:pt x="3010" y="1096"/>
                  </a:lnTo>
                  <a:lnTo>
                    <a:pt x="3010" y="1130"/>
                  </a:lnTo>
                  <a:lnTo>
                    <a:pt x="2998" y="1127"/>
                  </a:lnTo>
                  <a:lnTo>
                    <a:pt x="2966" y="1121"/>
                  </a:lnTo>
                  <a:lnTo>
                    <a:pt x="2932" y="1118"/>
                  </a:lnTo>
                  <a:lnTo>
                    <a:pt x="2895" y="1118"/>
                  </a:lnTo>
                  <a:lnTo>
                    <a:pt x="2867" y="1121"/>
                  </a:lnTo>
                  <a:lnTo>
                    <a:pt x="2848" y="1127"/>
                  </a:lnTo>
                  <a:lnTo>
                    <a:pt x="2829" y="1137"/>
                  </a:lnTo>
                  <a:lnTo>
                    <a:pt x="2810" y="1143"/>
                  </a:lnTo>
                  <a:lnTo>
                    <a:pt x="2804" y="1146"/>
                  </a:lnTo>
                  <a:lnTo>
                    <a:pt x="2795" y="1146"/>
                  </a:lnTo>
                  <a:lnTo>
                    <a:pt x="2785" y="1149"/>
                  </a:lnTo>
                  <a:lnTo>
                    <a:pt x="2776" y="1149"/>
                  </a:lnTo>
                  <a:lnTo>
                    <a:pt x="2770" y="1152"/>
                  </a:lnTo>
                  <a:lnTo>
                    <a:pt x="2764" y="1155"/>
                  </a:lnTo>
                  <a:lnTo>
                    <a:pt x="2760" y="1162"/>
                  </a:lnTo>
                  <a:lnTo>
                    <a:pt x="2760" y="1171"/>
                  </a:lnTo>
                  <a:lnTo>
                    <a:pt x="2760" y="1180"/>
                  </a:lnTo>
                  <a:lnTo>
                    <a:pt x="2760" y="1190"/>
                  </a:lnTo>
                  <a:lnTo>
                    <a:pt x="2760" y="1196"/>
                  </a:lnTo>
                  <a:lnTo>
                    <a:pt x="2760" y="1205"/>
                  </a:lnTo>
                  <a:lnTo>
                    <a:pt x="2751" y="1224"/>
                  </a:lnTo>
                  <a:lnTo>
                    <a:pt x="2739" y="1249"/>
                  </a:lnTo>
                  <a:lnTo>
                    <a:pt x="2726" y="1265"/>
                  </a:lnTo>
                  <a:lnTo>
                    <a:pt x="2714" y="1271"/>
                  </a:lnTo>
                  <a:lnTo>
                    <a:pt x="2695" y="1274"/>
                  </a:lnTo>
                  <a:lnTo>
                    <a:pt x="2679" y="1277"/>
                  </a:lnTo>
                  <a:lnTo>
                    <a:pt x="2667" y="1283"/>
                  </a:lnTo>
                  <a:lnTo>
                    <a:pt x="2660" y="1299"/>
                  </a:lnTo>
                  <a:lnTo>
                    <a:pt x="2657" y="1321"/>
                  </a:lnTo>
                  <a:lnTo>
                    <a:pt x="2654" y="1340"/>
                  </a:lnTo>
                  <a:lnTo>
                    <a:pt x="2648" y="1349"/>
                  </a:lnTo>
                  <a:lnTo>
                    <a:pt x="2645" y="1349"/>
                  </a:lnTo>
                  <a:lnTo>
                    <a:pt x="2639" y="1352"/>
                  </a:lnTo>
                  <a:lnTo>
                    <a:pt x="2629" y="1355"/>
                  </a:lnTo>
                  <a:lnTo>
                    <a:pt x="2620" y="1361"/>
                  </a:lnTo>
                  <a:lnTo>
                    <a:pt x="2611" y="1365"/>
                  </a:lnTo>
                  <a:lnTo>
                    <a:pt x="2604" y="1371"/>
                  </a:lnTo>
                  <a:lnTo>
                    <a:pt x="2598" y="1374"/>
                  </a:lnTo>
                  <a:lnTo>
                    <a:pt x="2589" y="1390"/>
                  </a:lnTo>
                  <a:lnTo>
                    <a:pt x="2576" y="1411"/>
                  </a:lnTo>
                  <a:lnTo>
                    <a:pt x="2567" y="1433"/>
                  </a:lnTo>
                  <a:lnTo>
                    <a:pt x="2570" y="1452"/>
                  </a:lnTo>
                  <a:lnTo>
                    <a:pt x="2582" y="1461"/>
                  </a:lnTo>
                  <a:lnTo>
                    <a:pt x="2604" y="1468"/>
                  </a:lnTo>
                  <a:lnTo>
                    <a:pt x="2629" y="1468"/>
                  </a:lnTo>
                  <a:lnTo>
                    <a:pt x="2648" y="1468"/>
                  </a:lnTo>
                  <a:lnTo>
                    <a:pt x="2664" y="1455"/>
                  </a:lnTo>
                  <a:lnTo>
                    <a:pt x="2682" y="1440"/>
                  </a:lnTo>
                  <a:lnTo>
                    <a:pt x="2701" y="1427"/>
                  </a:lnTo>
                  <a:lnTo>
                    <a:pt x="2723" y="1424"/>
                  </a:lnTo>
                  <a:lnTo>
                    <a:pt x="2754" y="1421"/>
                  </a:lnTo>
                  <a:lnTo>
                    <a:pt x="2776" y="1421"/>
                  </a:lnTo>
                  <a:lnTo>
                    <a:pt x="2801" y="1433"/>
                  </a:lnTo>
                  <a:lnTo>
                    <a:pt x="2823" y="1449"/>
                  </a:lnTo>
                  <a:lnTo>
                    <a:pt x="2842" y="1468"/>
                  </a:lnTo>
                  <a:lnTo>
                    <a:pt x="2845" y="1483"/>
                  </a:lnTo>
                  <a:lnTo>
                    <a:pt x="2848" y="1505"/>
                  </a:lnTo>
                  <a:lnTo>
                    <a:pt x="2848" y="1527"/>
                  </a:lnTo>
                  <a:lnTo>
                    <a:pt x="2842" y="1543"/>
                  </a:lnTo>
                  <a:lnTo>
                    <a:pt x="2826" y="1552"/>
                  </a:lnTo>
                  <a:lnTo>
                    <a:pt x="2801" y="1558"/>
                  </a:lnTo>
                  <a:lnTo>
                    <a:pt x="2776" y="1564"/>
                  </a:lnTo>
                  <a:lnTo>
                    <a:pt x="2757" y="1571"/>
                  </a:lnTo>
                  <a:lnTo>
                    <a:pt x="2751" y="1577"/>
                  </a:lnTo>
                  <a:lnTo>
                    <a:pt x="2742" y="1586"/>
                  </a:lnTo>
                  <a:lnTo>
                    <a:pt x="2732" y="1596"/>
                  </a:lnTo>
                  <a:lnTo>
                    <a:pt x="2723" y="1608"/>
                  </a:lnTo>
                  <a:lnTo>
                    <a:pt x="2717" y="1614"/>
                  </a:lnTo>
                  <a:lnTo>
                    <a:pt x="2717" y="1639"/>
                  </a:lnTo>
                  <a:lnTo>
                    <a:pt x="2717" y="1667"/>
                  </a:lnTo>
                  <a:lnTo>
                    <a:pt x="2720" y="1696"/>
                  </a:lnTo>
                  <a:lnTo>
                    <a:pt x="2717" y="1717"/>
                  </a:lnTo>
                  <a:lnTo>
                    <a:pt x="2707" y="1739"/>
                  </a:lnTo>
                  <a:lnTo>
                    <a:pt x="2689" y="1764"/>
                  </a:lnTo>
                  <a:lnTo>
                    <a:pt x="2670" y="1786"/>
                  </a:lnTo>
                  <a:lnTo>
                    <a:pt x="2654" y="1805"/>
                  </a:lnTo>
                  <a:lnTo>
                    <a:pt x="2629" y="1817"/>
                  </a:lnTo>
                  <a:lnTo>
                    <a:pt x="2595" y="1830"/>
                  </a:lnTo>
                  <a:lnTo>
                    <a:pt x="2564" y="1842"/>
                  </a:lnTo>
                  <a:lnTo>
                    <a:pt x="2539" y="1858"/>
                  </a:lnTo>
                  <a:lnTo>
                    <a:pt x="2517" y="1883"/>
                  </a:lnTo>
                  <a:lnTo>
                    <a:pt x="2498" y="1917"/>
                  </a:lnTo>
                  <a:lnTo>
                    <a:pt x="2479" y="1952"/>
                  </a:lnTo>
                  <a:lnTo>
                    <a:pt x="2461" y="1980"/>
                  </a:lnTo>
                  <a:lnTo>
                    <a:pt x="2442" y="1998"/>
                  </a:lnTo>
                  <a:lnTo>
                    <a:pt x="2420" y="2020"/>
                  </a:lnTo>
                  <a:lnTo>
                    <a:pt x="2401" y="2036"/>
                  </a:lnTo>
                  <a:lnTo>
                    <a:pt x="2386" y="2055"/>
                  </a:lnTo>
                  <a:lnTo>
                    <a:pt x="2367" y="2077"/>
                  </a:lnTo>
                  <a:lnTo>
                    <a:pt x="2354" y="2098"/>
                  </a:lnTo>
                  <a:lnTo>
                    <a:pt x="2348" y="2117"/>
                  </a:lnTo>
                  <a:lnTo>
                    <a:pt x="2342" y="2145"/>
                  </a:lnTo>
                  <a:lnTo>
                    <a:pt x="2339" y="2167"/>
                  </a:lnTo>
                  <a:lnTo>
                    <a:pt x="2333" y="2192"/>
                  </a:lnTo>
                  <a:lnTo>
                    <a:pt x="2323" y="2220"/>
                  </a:lnTo>
                  <a:lnTo>
                    <a:pt x="2311" y="2248"/>
                  </a:lnTo>
                  <a:lnTo>
                    <a:pt x="2295" y="2270"/>
                  </a:lnTo>
                  <a:lnTo>
                    <a:pt x="2279" y="2276"/>
                  </a:lnTo>
                  <a:lnTo>
                    <a:pt x="2261" y="2279"/>
                  </a:lnTo>
                  <a:lnTo>
                    <a:pt x="2242" y="2286"/>
                  </a:lnTo>
                  <a:lnTo>
                    <a:pt x="2230" y="2298"/>
                  </a:lnTo>
                  <a:lnTo>
                    <a:pt x="2211" y="2314"/>
                  </a:lnTo>
                  <a:lnTo>
                    <a:pt x="2195" y="2333"/>
                  </a:lnTo>
                  <a:lnTo>
                    <a:pt x="2183" y="2345"/>
                  </a:lnTo>
                  <a:lnTo>
                    <a:pt x="2176" y="2351"/>
                  </a:lnTo>
                  <a:lnTo>
                    <a:pt x="2164" y="2358"/>
                  </a:lnTo>
                  <a:lnTo>
                    <a:pt x="2142" y="2364"/>
                  </a:lnTo>
                  <a:lnTo>
                    <a:pt x="2114" y="2376"/>
                  </a:lnTo>
                  <a:lnTo>
                    <a:pt x="2086" y="2386"/>
                  </a:lnTo>
                  <a:lnTo>
                    <a:pt x="2064" y="2392"/>
                  </a:lnTo>
                  <a:lnTo>
                    <a:pt x="2048" y="2395"/>
                  </a:lnTo>
                  <a:lnTo>
                    <a:pt x="2030" y="2395"/>
                  </a:lnTo>
                  <a:lnTo>
                    <a:pt x="2014" y="2398"/>
                  </a:lnTo>
                  <a:lnTo>
                    <a:pt x="1989" y="2408"/>
                  </a:lnTo>
                  <a:lnTo>
                    <a:pt x="1964" y="2420"/>
                  </a:lnTo>
                  <a:lnTo>
                    <a:pt x="1945" y="2436"/>
                  </a:lnTo>
                  <a:lnTo>
                    <a:pt x="1939" y="2457"/>
                  </a:lnTo>
                  <a:lnTo>
                    <a:pt x="1939" y="2489"/>
                  </a:lnTo>
                  <a:lnTo>
                    <a:pt x="1939" y="2520"/>
                  </a:lnTo>
                  <a:lnTo>
                    <a:pt x="1945" y="2545"/>
                  </a:lnTo>
                  <a:lnTo>
                    <a:pt x="1948" y="2551"/>
                  </a:lnTo>
                  <a:lnTo>
                    <a:pt x="1955" y="2557"/>
                  </a:lnTo>
                  <a:lnTo>
                    <a:pt x="1961" y="2567"/>
                  </a:lnTo>
                  <a:lnTo>
                    <a:pt x="1967" y="2573"/>
                  </a:lnTo>
                  <a:lnTo>
                    <a:pt x="1970" y="2582"/>
                  </a:lnTo>
                  <a:lnTo>
                    <a:pt x="1973" y="2589"/>
                  </a:lnTo>
                  <a:lnTo>
                    <a:pt x="1977" y="2614"/>
                  </a:lnTo>
                  <a:lnTo>
                    <a:pt x="1970" y="2645"/>
                  </a:lnTo>
                  <a:lnTo>
                    <a:pt x="1964" y="2676"/>
                  </a:lnTo>
                  <a:lnTo>
                    <a:pt x="1955" y="2701"/>
                  </a:lnTo>
                  <a:lnTo>
                    <a:pt x="1936" y="2717"/>
                  </a:lnTo>
                  <a:lnTo>
                    <a:pt x="1911" y="2735"/>
                  </a:lnTo>
                  <a:lnTo>
                    <a:pt x="1895" y="2754"/>
                  </a:lnTo>
                  <a:lnTo>
                    <a:pt x="1895" y="2760"/>
                  </a:lnTo>
                  <a:lnTo>
                    <a:pt x="1895" y="2770"/>
                  </a:lnTo>
                  <a:lnTo>
                    <a:pt x="1899" y="2779"/>
                  </a:lnTo>
                  <a:lnTo>
                    <a:pt x="1899" y="2785"/>
                  </a:lnTo>
                  <a:lnTo>
                    <a:pt x="1902" y="2792"/>
                  </a:lnTo>
                  <a:lnTo>
                    <a:pt x="1911" y="2810"/>
                  </a:lnTo>
                  <a:lnTo>
                    <a:pt x="1920" y="2832"/>
                  </a:lnTo>
                  <a:lnTo>
                    <a:pt x="1924" y="2851"/>
                  </a:lnTo>
                  <a:lnTo>
                    <a:pt x="1917" y="2879"/>
                  </a:lnTo>
                  <a:lnTo>
                    <a:pt x="1899" y="2907"/>
                  </a:lnTo>
                  <a:lnTo>
                    <a:pt x="1877" y="2938"/>
                  </a:lnTo>
                  <a:lnTo>
                    <a:pt x="1858" y="2960"/>
                  </a:lnTo>
                  <a:lnTo>
                    <a:pt x="1830" y="2988"/>
                  </a:lnTo>
                  <a:lnTo>
                    <a:pt x="1792" y="3016"/>
                  </a:lnTo>
                  <a:lnTo>
                    <a:pt x="1755" y="3045"/>
                  </a:lnTo>
                  <a:lnTo>
                    <a:pt x="1721" y="3063"/>
                  </a:lnTo>
                  <a:lnTo>
                    <a:pt x="1692" y="3076"/>
                  </a:lnTo>
                  <a:lnTo>
                    <a:pt x="1658" y="3085"/>
                  </a:lnTo>
                  <a:lnTo>
                    <a:pt x="1624" y="3098"/>
                  </a:lnTo>
                  <a:lnTo>
                    <a:pt x="1602" y="3113"/>
                  </a:lnTo>
                  <a:lnTo>
                    <a:pt x="1593" y="3132"/>
                  </a:lnTo>
                  <a:lnTo>
                    <a:pt x="1589" y="3157"/>
                  </a:lnTo>
                  <a:lnTo>
                    <a:pt x="1586" y="3182"/>
                  </a:lnTo>
                  <a:lnTo>
                    <a:pt x="1577" y="3201"/>
                  </a:lnTo>
                  <a:lnTo>
                    <a:pt x="1558" y="3213"/>
                  </a:lnTo>
                  <a:lnTo>
                    <a:pt x="1530" y="3226"/>
                  </a:lnTo>
                  <a:lnTo>
                    <a:pt x="1499" y="3235"/>
                  </a:lnTo>
                  <a:lnTo>
                    <a:pt x="1480" y="3247"/>
                  </a:lnTo>
                  <a:lnTo>
                    <a:pt x="1471" y="3269"/>
                  </a:lnTo>
                  <a:lnTo>
                    <a:pt x="1468" y="3294"/>
                  </a:lnTo>
                  <a:lnTo>
                    <a:pt x="1461" y="3316"/>
                  </a:lnTo>
                  <a:lnTo>
                    <a:pt x="1461" y="3322"/>
                  </a:lnTo>
                  <a:lnTo>
                    <a:pt x="1458" y="3332"/>
                  </a:lnTo>
                  <a:lnTo>
                    <a:pt x="1458" y="3341"/>
                  </a:lnTo>
                  <a:lnTo>
                    <a:pt x="1458" y="3347"/>
                  </a:lnTo>
                  <a:lnTo>
                    <a:pt x="1458" y="3357"/>
                  </a:lnTo>
                  <a:lnTo>
                    <a:pt x="1464" y="3372"/>
                  </a:lnTo>
                  <a:lnTo>
                    <a:pt x="1474" y="3388"/>
                  </a:lnTo>
                  <a:lnTo>
                    <a:pt x="1483" y="3407"/>
                  </a:lnTo>
                  <a:lnTo>
                    <a:pt x="1486" y="3422"/>
                  </a:lnTo>
                  <a:lnTo>
                    <a:pt x="1480" y="3438"/>
                  </a:lnTo>
                  <a:lnTo>
                    <a:pt x="1468" y="3457"/>
                  </a:lnTo>
                  <a:lnTo>
                    <a:pt x="1452" y="3472"/>
                  </a:lnTo>
                  <a:lnTo>
                    <a:pt x="1443" y="3488"/>
                  </a:lnTo>
                  <a:lnTo>
                    <a:pt x="1439" y="3504"/>
                  </a:lnTo>
                  <a:lnTo>
                    <a:pt x="1439" y="3522"/>
                  </a:lnTo>
                  <a:lnTo>
                    <a:pt x="1436" y="3541"/>
                  </a:lnTo>
                  <a:lnTo>
                    <a:pt x="1430" y="3557"/>
                  </a:lnTo>
                  <a:lnTo>
                    <a:pt x="1415" y="3566"/>
                  </a:lnTo>
                  <a:lnTo>
                    <a:pt x="1393" y="3572"/>
                  </a:lnTo>
                  <a:lnTo>
                    <a:pt x="1371" y="3582"/>
                  </a:lnTo>
                  <a:lnTo>
                    <a:pt x="1349" y="3588"/>
                  </a:lnTo>
                  <a:lnTo>
                    <a:pt x="1333" y="3600"/>
                  </a:lnTo>
                  <a:lnTo>
                    <a:pt x="1330" y="3616"/>
                  </a:lnTo>
                  <a:lnTo>
                    <a:pt x="1327" y="3635"/>
                  </a:lnTo>
                  <a:lnTo>
                    <a:pt x="1330" y="3657"/>
                  </a:lnTo>
                  <a:lnTo>
                    <a:pt x="1333" y="3672"/>
                  </a:lnTo>
                  <a:lnTo>
                    <a:pt x="1340" y="3682"/>
                  </a:lnTo>
                  <a:lnTo>
                    <a:pt x="1346" y="3691"/>
                  </a:lnTo>
                  <a:lnTo>
                    <a:pt x="1352" y="3703"/>
                  </a:lnTo>
                  <a:lnTo>
                    <a:pt x="1361" y="3713"/>
                  </a:lnTo>
                  <a:lnTo>
                    <a:pt x="1368" y="3719"/>
                  </a:lnTo>
                  <a:lnTo>
                    <a:pt x="1380" y="3728"/>
                  </a:lnTo>
                  <a:lnTo>
                    <a:pt x="1393" y="3738"/>
                  </a:lnTo>
                  <a:lnTo>
                    <a:pt x="1386" y="3753"/>
                  </a:lnTo>
                  <a:lnTo>
                    <a:pt x="1380" y="3778"/>
                  </a:lnTo>
                  <a:lnTo>
                    <a:pt x="1374" y="3800"/>
                  </a:lnTo>
                  <a:lnTo>
                    <a:pt x="1368" y="3819"/>
                  </a:lnTo>
                  <a:lnTo>
                    <a:pt x="1352" y="3825"/>
                  </a:lnTo>
                  <a:lnTo>
                    <a:pt x="1333" y="3831"/>
                  </a:lnTo>
                  <a:lnTo>
                    <a:pt x="1311" y="3838"/>
                  </a:lnTo>
                  <a:lnTo>
                    <a:pt x="1296" y="3844"/>
                  </a:lnTo>
                  <a:lnTo>
                    <a:pt x="1277" y="3863"/>
                  </a:lnTo>
                  <a:lnTo>
                    <a:pt x="1255" y="3891"/>
                  </a:lnTo>
                  <a:lnTo>
                    <a:pt x="1240" y="3913"/>
                  </a:lnTo>
                  <a:lnTo>
                    <a:pt x="1230" y="3941"/>
                  </a:lnTo>
                  <a:lnTo>
                    <a:pt x="1224" y="3972"/>
                  </a:lnTo>
                  <a:lnTo>
                    <a:pt x="1215" y="4006"/>
                  </a:lnTo>
                  <a:lnTo>
                    <a:pt x="1202" y="4028"/>
                  </a:lnTo>
                  <a:lnTo>
                    <a:pt x="1180" y="4044"/>
                  </a:lnTo>
                  <a:lnTo>
                    <a:pt x="1149" y="4056"/>
                  </a:lnTo>
                  <a:lnTo>
                    <a:pt x="1115" y="4069"/>
                  </a:lnTo>
                  <a:lnTo>
                    <a:pt x="1090" y="4081"/>
                  </a:lnTo>
                  <a:lnTo>
                    <a:pt x="1084" y="4087"/>
                  </a:lnTo>
                  <a:lnTo>
                    <a:pt x="1074" y="4100"/>
                  </a:lnTo>
                  <a:lnTo>
                    <a:pt x="1065" y="4112"/>
                  </a:lnTo>
                  <a:lnTo>
                    <a:pt x="1055" y="4122"/>
                  </a:lnTo>
                  <a:lnTo>
                    <a:pt x="1046" y="4128"/>
                  </a:lnTo>
                  <a:lnTo>
                    <a:pt x="1018" y="4137"/>
                  </a:lnTo>
                  <a:lnTo>
                    <a:pt x="984" y="4144"/>
                  </a:lnTo>
                  <a:lnTo>
                    <a:pt x="946" y="4144"/>
                  </a:lnTo>
                  <a:lnTo>
                    <a:pt x="915" y="4144"/>
                  </a:lnTo>
                  <a:lnTo>
                    <a:pt x="893" y="4141"/>
                  </a:lnTo>
                  <a:lnTo>
                    <a:pt x="865" y="4134"/>
                  </a:lnTo>
                  <a:lnTo>
                    <a:pt x="837" y="4125"/>
                  </a:lnTo>
                  <a:lnTo>
                    <a:pt x="818" y="4112"/>
                  </a:lnTo>
                  <a:lnTo>
                    <a:pt x="815" y="4097"/>
                  </a:lnTo>
                  <a:lnTo>
                    <a:pt x="818" y="4072"/>
                  </a:lnTo>
                  <a:lnTo>
                    <a:pt x="821" y="4047"/>
                  </a:lnTo>
                  <a:lnTo>
                    <a:pt x="818" y="4031"/>
                  </a:lnTo>
                  <a:lnTo>
                    <a:pt x="806" y="4009"/>
                  </a:lnTo>
                  <a:lnTo>
                    <a:pt x="784" y="3988"/>
                  </a:lnTo>
                  <a:lnTo>
                    <a:pt x="762" y="3975"/>
                  </a:lnTo>
                  <a:lnTo>
                    <a:pt x="743" y="3972"/>
                  </a:lnTo>
                  <a:lnTo>
                    <a:pt x="718" y="3969"/>
                  </a:lnTo>
                  <a:lnTo>
                    <a:pt x="699" y="3972"/>
                  </a:lnTo>
                  <a:lnTo>
                    <a:pt x="678" y="3981"/>
                  </a:lnTo>
                  <a:lnTo>
                    <a:pt x="656" y="3991"/>
                  </a:lnTo>
                  <a:lnTo>
                    <a:pt x="637" y="4006"/>
                  </a:lnTo>
                  <a:lnTo>
                    <a:pt x="624" y="4022"/>
                  </a:lnTo>
                  <a:lnTo>
                    <a:pt x="621" y="4034"/>
                  </a:lnTo>
                  <a:lnTo>
                    <a:pt x="624" y="4053"/>
                  </a:lnTo>
                  <a:lnTo>
                    <a:pt x="624" y="4072"/>
                  </a:lnTo>
                  <a:lnTo>
                    <a:pt x="624" y="4087"/>
                  </a:lnTo>
                  <a:lnTo>
                    <a:pt x="603" y="4109"/>
                  </a:lnTo>
                  <a:lnTo>
                    <a:pt x="575" y="4128"/>
                  </a:lnTo>
                  <a:lnTo>
                    <a:pt x="550" y="4144"/>
                  </a:lnTo>
                  <a:lnTo>
                    <a:pt x="537" y="4153"/>
                  </a:lnTo>
                  <a:lnTo>
                    <a:pt x="521" y="4169"/>
                  </a:lnTo>
                  <a:lnTo>
                    <a:pt x="509" y="4181"/>
                  </a:lnTo>
                  <a:lnTo>
                    <a:pt x="493" y="4184"/>
                  </a:lnTo>
                  <a:lnTo>
                    <a:pt x="481" y="4175"/>
                  </a:lnTo>
                  <a:lnTo>
                    <a:pt x="468" y="4156"/>
                  </a:lnTo>
                  <a:lnTo>
                    <a:pt x="459" y="4134"/>
                  </a:lnTo>
                  <a:lnTo>
                    <a:pt x="450" y="4116"/>
                  </a:lnTo>
                  <a:lnTo>
                    <a:pt x="446" y="4094"/>
                  </a:lnTo>
                  <a:lnTo>
                    <a:pt x="440" y="4066"/>
                  </a:lnTo>
                  <a:lnTo>
                    <a:pt x="434" y="4038"/>
                  </a:lnTo>
                  <a:lnTo>
                    <a:pt x="425" y="4022"/>
                  </a:lnTo>
                  <a:lnTo>
                    <a:pt x="418" y="4019"/>
                  </a:lnTo>
                  <a:lnTo>
                    <a:pt x="412" y="4019"/>
                  </a:lnTo>
                  <a:lnTo>
                    <a:pt x="403" y="4022"/>
                  </a:lnTo>
                  <a:lnTo>
                    <a:pt x="393" y="4022"/>
                  </a:lnTo>
                  <a:lnTo>
                    <a:pt x="387" y="4022"/>
                  </a:lnTo>
                  <a:lnTo>
                    <a:pt x="381" y="4022"/>
                  </a:lnTo>
                  <a:lnTo>
                    <a:pt x="365" y="4006"/>
                  </a:lnTo>
                  <a:lnTo>
                    <a:pt x="356" y="3984"/>
                  </a:lnTo>
                  <a:lnTo>
                    <a:pt x="340" y="3969"/>
                  </a:lnTo>
                  <a:lnTo>
                    <a:pt x="325" y="3966"/>
                  </a:lnTo>
                  <a:lnTo>
                    <a:pt x="303" y="3969"/>
                  </a:lnTo>
                  <a:lnTo>
                    <a:pt x="281" y="3972"/>
                  </a:lnTo>
                  <a:lnTo>
                    <a:pt x="265" y="3969"/>
                  </a:lnTo>
                  <a:lnTo>
                    <a:pt x="256" y="3950"/>
                  </a:lnTo>
                  <a:lnTo>
                    <a:pt x="256" y="3928"/>
                  </a:lnTo>
                  <a:lnTo>
                    <a:pt x="256" y="3903"/>
                  </a:lnTo>
                  <a:lnTo>
                    <a:pt x="253" y="3885"/>
                  </a:lnTo>
                  <a:lnTo>
                    <a:pt x="247" y="3878"/>
                  </a:lnTo>
                  <a:lnTo>
                    <a:pt x="237" y="3872"/>
                  </a:lnTo>
                  <a:lnTo>
                    <a:pt x="228" y="3863"/>
                  </a:lnTo>
                  <a:lnTo>
                    <a:pt x="219" y="3856"/>
                  </a:lnTo>
                  <a:lnTo>
                    <a:pt x="209" y="3853"/>
                  </a:lnTo>
                  <a:lnTo>
                    <a:pt x="187" y="3838"/>
                  </a:lnTo>
                  <a:lnTo>
                    <a:pt x="159" y="3819"/>
                  </a:lnTo>
                  <a:lnTo>
                    <a:pt x="144" y="3800"/>
                  </a:lnTo>
                  <a:lnTo>
                    <a:pt x="140" y="3778"/>
                  </a:lnTo>
                  <a:lnTo>
                    <a:pt x="144" y="3750"/>
                  </a:lnTo>
                  <a:lnTo>
                    <a:pt x="153" y="3722"/>
                  </a:lnTo>
                  <a:lnTo>
                    <a:pt x="159" y="3707"/>
                  </a:lnTo>
                  <a:lnTo>
                    <a:pt x="169" y="3697"/>
                  </a:lnTo>
                  <a:lnTo>
                    <a:pt x="184" y="3685"/>
                  </a:lnTo>
                  <a:lnTo>
                    <a:pt x="209" y="3678"/>
                  </a:lnTo>
                  <a:lnTo>
                    <a:pt x="231" y="3672"/>
                  </a:lnTo>
                  <a:lnTo>
                    <a:pt x="253" y="3672"/>
                  </a:lnTo>
                  <a:lnTo>
                    <a:pt x="278" y="3675"/>
                  </a:lnTo>
                  <a:lnTo>
                    <a:pt x="306" y="3678"/>
                  </a:lnTo>
                  <a:lnTo>
                    <a:pt x="331" y="3678"/>
                  </a:lnTo>
                  <a:lnTo>
                    <a:pt x="347" y="3672"/>
                  </a:lnTo>
                  <a:lnTo>
                    <a:pt x="353" y="3660"/>
                  </a:lnTo>
                  <a:lnTo>
                    <a:pt x="353" y="3644"/>
                  </a:lnTo>
                  <a:lnTo>
                    <a:pt x="350" y="3628"/>
                  </a:lnTo>
                  <a:lnTo>
                    <a:pt x="347" y="3616"/>
                  </a:lnTo>
                  <a:lnTo>
                    <a:pt x="337" y="3597"/>
                  </a:lnTo>
                  <a:lnTo>
                    <a:pt x="318" y="3578"/>
                  </a:lnTo>
                  <a:lnTo>
                    <a:pt x="303" y="3563"/>
                  </a:lnTo>
                  <a:lnTo>
                    <a:pt x="297" y="3560"/>
                  </a:lnTo>
                  <a:lnTo>
                    <a:pt x="287" y="3557"/>
                  </a:lnTo>
                  <a:lnTo>
                    <a:pt x="278" y="3554"/>
                  </a:lnTo>
                  <a:lnTo>
                    <a:pt x="268" y="3554"/>
                  </a:lnTo>
                  <a:lnTo>
                    <a:pt x="262" y="3550"/>
                  </a:lnTo>
                  <a:lnTo>
                    <a:pt x="256" y="3547"/>
                  </a:lnTo>
                  <a:lnTo>
                    <a:pt x="243" y="3529"/>
                  </a:lnTo>
                  <a:lnTo>
                    <a:pt x="237" y="3504"/>
                  </a:lnTo>
                  <a:lnTo>
                    <a:pt x="234" y="3482"/>
                  </a:lnTo>
                  <a:lnTo>
                    <a:pt x="240" y="3457"/>
                  </a:lnTo>
                  <a:lnTo>
                    <a:pt x="250" y="3429"/>
                  </a:lnTo>
                  <a:lnTo>
                    <a:pt x="265" y="3407"/>
                  </a:lnTo>
                  <a:lnTo>
                    <a:pt x="272" y="3401"/>
                  </a:lnTo>
                  <a:lnTo>
                    <a:pt x="281" y="3397"/>
                  </a:lnTo>
                  <a:lnTo>
                    <a:pt x="290" y="3394"/>
                  </a:lnTo>
                  <a:lnTo>
                    <a:pt x="300" y="3391"/>
                  </a:lnTo>
                  <a:lnTo>
                    <a:pt x="309" y="3388"/>
                  </a:lnTo>
                  <a:lnTo>
                    <a:pt x="315" y="3382"/>
                  </a:lnTo>
                  <a:lnTo>
                    <a:pt x="325" y="3363"/>
                  </a:lnTo>
                  <a:lnTo>
                    <a:pt x="331" y="3335"/>
                  </a:lnTo>
                  <a:lnTo>
                    <a:pt x="337" y="3307"/>
                  </a:lnTo>
                  <a:lnTo>
                    <a:pt x="337" y="3285"/>
                  </a:lnTo>
                  <a:lnTo>
                    <a:pt x="328" y="3266"/>
                  </a:lnTo>
                  <a:lnTo>
                    <a:pt x="315" y="3247"/>
                  </a:lnTo>
                  <a:lnTo>
                    <a:pt x="303" y="3229"/>
                  </a:lnTo>
                  <a:lnTo>
                    <a:pt x="293" y="3213"/>
                  </a:lnTo>
                  <a:lnTo>
                    <a:pt x="293" y="3191"/>
                  </a:lnTo>
                  <a:lnTo>
                    <a:pt x="293" y="3163"/>
                  </a:lnTo>
                  <a:lnTo>
                    <a:pt x="297" y="3135"/>
                  </a:lnTo>
                  <a:lnTo>
                    <a:pt x="293" y="3113"/>
                  </a:lnTo>
                  <a:lnTo>
                    <a:pt x="287" y="3107"/>
                  </a:lnTo>
                  <a:lnTo>
                    <a:pt x="278" y="3098"/>
                  </a:lnTo>
                  <a:lnTo>
                    <a:pt x="268" y="3091"/>
                  </a:lnTo>
                  <a:lnTo>
                    <a:pt x="259" y="3082"/>
                  </a:lnTo>
                  <a:lnTo>
                    <a:pt x="250" y="3076"/>
                  </a:lnTo>
                  <a:lnTo>
                    <a:pt x="243" y="3066"/>
                  </a:lnTo>
                  <a:lnTo>
                    <a:pt x="243" y="3048"/>
                  </a:lnTo>
                  <a:lnTo>
                    <a:pt x="247" y="3023"/>
                  </a:lnTo>
                  <a:lnTo>
                    <a:pt x="250" y="3001"/>
                  </a:lnTo>
                  <a:lnTo>
                    <a:pt x="250" y="2979"/>
                  </a:lnTo>
                  <a:lnTo>
                    <a:pt x="240" y="2963"/>
                  </a:lnTo>
                  <a:lnTo>
                    <a:pt x="228" y="2945"/>
                  </a:lnTo>
                  <a:lnTo>
                    <a:pt x="222" y="2929"/>
                  </a:lnTo>
                  <a:lnTo>
                    <a:pt x="219" y="2913"/>
                  </a:lnTo>
                  <a:lnTo>
                    <a:pt x="215" y="2892"/>
                  </a:lnTo>
                  <a:lnTo>
                    <a:pt x="215" y="2873"/>
                  </a:lnTo>
                  <a:lnTo>
                    <a:pt x="222" y="2860"/>
                  </a:lnTo>
                  <a:lnTo>
                    <a:pt x="234" y="2854"/>
                  </a:lnTo>
                  <a:lnTo>
                    <a:pt x="253" y="2857"/>
                  </a:lnTo>
                  <a:lnTo>
                    <a:pt x="272" y="2860"/>
                  </a:lnTo>
                  <a:lnTo>
                    <a:pt x="287" y="2860"/>
                  </a:lnTo>
                  <a:lnTo>
                    <a:pt x="306" y="2848"/>
                  </a:lnTo>
                  <a:lnTo>
                    <a:pt x="328" y="2829"/>
                  </a:lnTo>
                  <a:lnTo>
                    <a:pt x="347" y="2807"/>
                  </a:lnTo>
                  <a:lnTo>
                    <a:pt x="356" y="2788"/>
                  </a:lnTo>
                  <a:lnTo>
                    <a:pt x="359" y="2767"/>
                  </a:lnTo>
                  <a:lnTo>
                    <a:pt x="353" y="2742"/>
                  </a:lnTo>
                  <a:lnTo>
                    <a:pt x="347" y="2723"/>
                  </a:lnTo>
                  <a:lnTo>
                    <a:pt x="328" y="2710"/>
                  </a:lnTo>
                  <a:lnTo>
                    <a:pt x="300" y="2701"/>
                  </a:lnTo>
                  <a:lnTo>
                    <a:pt x="278" y="2695"/>
                  </a:lnTo>
                  <a:lnTo>
                    <a:pt x="259" y="2692"/>
                  </a:lnTo>
                  <a:lnTo>
                    <a:pt x="234" y="2692"/>
                  </a:lnTo>
                  <a:lnTo>
                    <a:pt x="209" y="2689"/>
                  </a:lnTo>
                  <a:lnTo>
                    <a:pt x="190" y="2682"/>
                  </a:lnTo>
                  <a:lnTo>
                    <a:pt x="172" y="2667"/>
                  </a:lnTo>
                  <a:lnTo>
                    <a:pt x="150" y="2639"/>
                  </a:lnTo>
                  <a:lnTo>
                    <a:pt x="128" y="2620"/>
                  </a:lnTo>
                  <a:lnTo>
                    <a:pt x="106" y="2610"/>
                  </a:lnTo>
                  <a:lnTo>
                    <a:pt x="81" y="2604"/>
                  </a:lnTo>
                  <a:lnTo>
                    <a:pt x="50" y="2598"/>
                  </a:lnTo>
                  <a:lnTo>
                    <a:pt x="25" y="2589"/>
                  </a:lnTo>
                  <a:lnTo>
                    <a:pt x="9" y="2576"/>
                  </a:lnTo>
                  <a:lnTo>
                    <a:pt x="3" y="2557"/>
                  </a:lnTo>
                  <a:lnTo>
                    <a:pt x="0" y="2536"/>
                  </a:lnTo>
                  <a:lnTo>
                    <a:pt x="3" y="2514"/>
                  </a:lnTo>
                  <a:lnTo>
                    <a:pt x="9" y="2495"/>
                  </a:lnTo>
                  <a:lnTo>
                    <a:pt x="12" y="2486"/>
                  </a:lnTo>
                  <a:lnTo>
                    <a:pt x="16" y="2473"/>
                  </a:lnTo>
                  <a:lnTo>
                    <a:pt x="25" y="2464"/>
                  </a:lnTo>
                  <a:lnTo>
                    <a:pt x="31" y="2454"/>
                  </a:lnTo>
                  <a:lnTo>
                    <a:pt x="37" y="2448"/>
                  </a:lnTo>
                  <a:lnTo>
                    <a:pt x="50" y="2445"/>
                  </a:lnTo>
                  <a:lnTo>
                    <a:pt x="69" y="2448"/>
                  </a:lnTo>
                  <a:lnTo>
                    <a:pt x="84" y="2448"/>
                  </a:lnTo>
                  <a:lnTo>
                    <a:pt x="97" y="2448"/>
                  </a:lnTo>
                  <a:lnTo>
                    <a:pt x="103" y="2442"/>
                  </a:lnTo>
                  <a:lnTo>
                    <a:pt x="109" y="2436"/>
                  </a:lnTo>
                  <a:lnTo>
                    <a:pt x="115" y="2426"/>
                  </a:lnTo>
                  <a:lnTo>
                    <a:pt x="122" y="2417"/>
                  </a:lnTo>
                  <a:lnTo>
                    <a:pt x="125" y="2408"/>
                  </a:lnTo>
                  <a:lnTo>
                    <a:pt x="128" y="2398"/>
                  </a:lnTo>
                  <a:lnTo>
                    <a:pt x="125" y="2395"/>
                  </a:lnTo>
                  <a:lnTo>
                    <a:pt x="122" y="2386"/>
                  </a:lnTo>
                  <a:lnTo>
                    <a:pt x="115" y="2379"/>
                  </a:lnTo>
                  <a:lnTo>
                    <a:pt x="109" y="2373"/>
                  </a:lnTo>
                  <a:lnTo>
                    <a:pt x="106" y="2367"/>
                  </a:lnTo>
                  <a:lnTo>
                    <a:pt x="103" y="2361"/>
                  </a:lnTo>
                  <a:lnTo>
                    <a:pt x="103" y="2339"/>
                  </a:lnTo>
                  <a:lnTo>
                    <a:pt x="109" y="2311"/>
                  </a:lnTo>
                  <a:lnTo>
                    <a:pt x="119" y="2295"/>
                  </a:lnTo>
                  <a:lnTo>
                    <a:pt x="131" y="2292"/>
                  </a:lnTo>
                  <a:lnTo>
                    <a:pt x="144" y="2292"/>
                  </a:lnTo>
                  <a:lnTo>
                    <a:pt x="159" y="2295"/>
                  </a:lnTo>
                  <a:lnTo>
                    <a:pt x="172" y="2295"/>
                  </a:lnTo>
                  <a:lnTo>
                    <a:pt x="190" y="2283"/>
                  </a:lnTo>
                  <a:lnTo>
                    <a:pt x="212" y="2267"/>
                  </a:lnTo>
                  <a:lnTo>
                    <a:pt x="228" y="2248"/>
                  </a:lnTo>
                  <a:lnTo>
                    <a:pt x="237" y="2223"/>
                  </a:lnTo>
                  <a:lnTo>
                    <a:pt x="243" y="2192"/>
                  </a:lnTo>
                  <a:lnTo>
                    <a:pt x="250" y="2158"/>
                  </a:lnTo>
                  <a:lnTo>
                    <a:pt x="259" y="2133"/>
                  </a:lnTo>
                  <a:lnTo>
                    <a:pt x="275" y="2120"/>
                  </a:lnTo>
                  <a:lnTo>
                    <a:pt x="293" y="2108"/>
                  </a:lnTo>
                  <a:lnTo>
                    <a:pt x="312" y="2098"/>
                  </a:lnTo>
                  <a:lnTo>
                    <a:pt x="328" y="2077"/>
                  </a:lnTo>
                  <a:lnTo>
                    <a:pt x="350" y="2052"/>
                  </a:lnTo>
                  <a:lnTo>
                    <a:pt x="365" y="2023"/>
                  </a:lnTo>
                  <a:lnTo>
                    <a:pt x="378" y="1998"/>
                  </a:lnTo>
                  <a:lnTo>
                    <a:pt x="381" y="1970"/>
                  </a:lnTo>
                  <a:lnTo>
                    <a:pt x="378" y="1933"/>
                  </a:lnTo>
                  <a:lnTo>
                    <a:pt x="378" y="1895"/>
                  </a:lnTo>
                  <a:lnTo>
                    <a:pt x="381" y="1867"/>
                  </a:lnTo>
                  <a:lnTo>
                    <a:pt x="390" y="1849"/>
                  </a:lnTo>
                  <a:lnTo>
                    <a:pt x="403" y="1830"/>
                  </a:lnTo>
                  <a:lnTo>
                    <a:pt x="418" y="1811"/>
                  </a:lnTo>
                  <a:lnTo>
                    <a:pt x="425" y="1792"/>
                  </a:lnTo>
                  <a:lnTo>
                    <a:pt x="428" y="1764"/>
                  </a:lnTo>
                  <a:lnTo>
                    <a:pt x="428" y="1733"/>
                  </a:lnTo>
                  <a:lnTo>
                    <a:pt x="425" y="1708"/>
                  </a:lnTo>
                  <a:lnTo>
                    <a:pt x="418" y="1699"/>
                  </a:lnTo>
                  <a:lnTo>
                    <a:pt x="412" y="1689"/>
                  </a:lnTo>
                  <a:lnTo>
                    <a:pt x="406" y="1677"/>
                  </a:lnTo>
                  <a:lnTo>
                    <a:pt x="397" y="1667"/>
                  </a:lnTo>
                  <a:lnTo>
                    <a:pt x="393" y="1658"/>
                  </a:lnTo>
                  <a:lnTo>
                    <a:pt x="390" y="1636"/>
                  </a:lnTo>
                  <a:lnTo>
                    <a:pt x="390" y="1611"/>
                  </a:lnTo>
                  <a:lnTo>
                    <a:pt x="390" y="1586"/>
                  </a:lnTo>
                  <a:lnTo>
                    <a:pt x="387" y="1564"/>
                  </a:lnTo>
                  <a:lnTo>
                    <a:pt x="378" y="1536"/>
                  </a:lnTo>
                  <a:lnTo>
                    <a:pt x="362" y="1502"/>
                  </a:lnTo>
                  <a:lnTo>
                    <a:pt x="343" y="1477"/>
                  </a:lnTo>
                  <a:lnTo>
                    <a:pt x="331" y="1471"/>
                  </a:lnTo>
                  <a:lnTo>
                    <a:pt x="312" y="1468"/>
                  </a:lnTo>
                  <a:lnTo>
                    <a:pt x="297" y="1461"/>
                  </a:lnTo>
                  <a:lnTo>
                    <a:pt x="284" y="1455"/>
                  </a:lnTo>
                  <a:lnTo>
                    <a:pt x="278" y="1440"/>
                  </a:lnTo>
                  <a:lnTo>
                    <a:pt x="275" y="1418"/>
                  </a:lnTo>
                  <a:lnTo>
                    <a:pt x="272" y="1399"/>
                  </a:lnTo>
                  <a:lnTo>
                    <a:pt x="272" y="1371"/>
                  </a:lnTo>
                  <a:lnTo>
                    <a:pt x="272" y="1336"/>
                  </a:lnTo>
                  <a:lnTo>
                    <a:pt x="275" y="1305"/>
                  </a:lnTo>
                  <a:lnTo>
                    <a:pt x="281" y="1277"/>
                  </a:lnTo>
                  <a:lnTo>
                    <a:pt x="297" y="1262"/>
                  </a:lnTo>
                  <a:lnTo>
                    <a:pt x="318" y="1246"/>
                  </a:lnTo>
                  <a:lnTo>
                    <a:pt x="337" y="1233"/>
                  </a:lnTo>
                  <a:lnTo>
                    <a:pt x="350" y="1215"/>
                  </a:lnTo>
                  <a:lnTo>
                    <a:pt x="362" y="1193"/>
                  </a:lnTo>
                  <a:lnTo>
                    <a:pt x="372" y="1171"/>
                  </a:lnTo>
                  <a:lnTo>
                    <a:pt x="372" y="1146"/>
                  </a:lnTo>
                  <a:lnTo>
                    <a:pt x="372" y="1115"/>
                  </a:lnTo>
                  <a:lnTo>
                    <a:pt x="365" y="1090"/>
                  </a:lnTo>
                  <a:lnTo>
                    <a:pt x="362" y="1084"/>
                  </a:lnTo>
                  <a:lnTo>
                    <a:pt x="356" y="1077"/>
                  </a:lnTo>
                  <a:lnTo>
                    <a:pt x="350" y="1071"/>
                  </a:lnTo>
                  <a:lnTo>
                    <a:pt x="343" y="1065"/>
                  </a:lnTo>
                  <a:lnTo>
                    <a:pt x="337" y="1059"/>
                  </a:lnTo>
                  <a:lnTo>
                    <a:pt x="334" y="1040"/>
                  </a:lnTo>
                  <a:lnTo>
                    <a:pt x="331" y="1015"/>
                  </a:lnTo>
                  <a:lnTo>
                    <a:pt x="328" y="993"/>
                  </a:lnTo>
                  <a:lnTo>
                    <a:pt x="318" y="977"/>
                  </a:lnTo>
                  <a:lnTo>
                    <a:pt x="312" y="974"/>
                  </a:lnTo>
                  <a:lnTo>
                    <a:pt x="303" y="971"/>
                  </a:lnTo>
                  <a:lnTo>
                    <a:pt x="293" y="971"/>
                  </a:lnTo>
                  <a:lnTo>
                    <a:pt x="284" y="971"/>
                  </a:lnTo>
                  <a:lnTo>
                    <a:pt x="278" y="974"/>
                  </a:lnTo>
                  <a:lnTo>
                    <a:pt x="272" y="977"/>
                  </a:lnTo>
                  <a:lnTo>
                    <a:pt x="268" y="984"/>
                  </a:lnTo>
                  <a:lnTo>
                    <a:pt x="268" y="990"/>
                  </a:lnTo>
                  <a:lnTo>
                    <a:pt x="268" y="996"/>
                  </a:lnTo>
                  <a:lnTo>
                    <a:pt x="272" y="1002"/>
                  </a:lnTo>
                  <a:lnTo>
                    <a:pt x="272" y="1012"/>
                  </a:lnTo>
                  <a:lnTo>
                    <a:pt x="272" y="1015"/>
                  </a:lnTo>
                  <a:lnTo>
                    <a:pt x="268" y="1024"/>
                  </a:lnTo>
                  <a:lnTo>
                    <a:pt x="262" y="1030"/>
                  </a:lnTo>
                  <a:lnTo>
                    <a:pt x="259" y="1040"/>
                  </a:lnTo>
                  <a:lnTo>
                    <a:pt x="253" y="1046"/>
                  </a:lnTo>
                  <a:lnTo>
                    <a:pt x="247" y="1049"/>
                  </a:lnTo>
                  <a:lnTo>
                    <a:pt x="237" y="1052"/>
                  </a:lnTo>
                  <a:lnTo>
                    <a:pt x="228" y="1049"/>
                  </a:lnTo>
                  <a:lnTo>
                    <a:pt x="219" y="1046"/>
                  </a:lnTo>
                  <a:lnTo>
                    <a:pt x="209" y="1043"/>
                  </a:lnTo>
                  <a:lnTo>
                    <a:pt x="203" y="1040"/>
                  </a:lnTo>
                  <a:lnTo>
                    <a:pt x="197" y="1034"/>
                  </a:lnTo>
                  <a:lnTo>
                    <a:pt x="194" y="102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4" name="Freeform 38">
              <a:extLst>
                <a:ext uri="{FF2B5EF4-FFF2-40B4-BE49-F238E27FC236}">
                  <a16:creationId xmlns:a16="http://schemas.microsoft.com/office/drawing/2014/main" id="{42FB523A-8CA0-42E5-B516-56A23FC7618F}"/>
                </a:ext>
              </a:extLst>
            </p:cNvPr>
            <p:cNvSpPr>
              <a:spLocks/>
            </p:cNvSpPr>
            <p:nvPr/>
          </p:nvSpPr>
          <p:spPr bwMode="auto">
            <a:xfrm>
              <a:off x="9272588" y="-2657475"/>
              <a:ext cx="173038" cy="184150"/>
            </a:xfrm>
            <a:custGeom>
              <a:avLst/>
              <a:gdLst>
                <a:gd name="T0" fmla="*/ 109 w 109"/>
                <a:gd name="T1" fmla="*/ 41 h 116"/>
                <a:gd name="T2" fmla="*/ 109 w 109"/>
                <a:gd name="T3" fmla="*/ 47 h 116"/>
                <a:gd name="T4" fmla="*/ 106 w 109"/>
                <a:gd name="T5" fmla="*/ 57 h 116"/>
                <a:gd name="T6" fmla="*/ 103 w 109"/>
                <a:gd name="T7" fmla="*/ 66 h 116"/>
                <a:gd name="T8" fmla="*/ 100 w 109"/>
                <a:gd name="T9" fmla="*/ 72 h 116"/>
                <a:gd name="T10" fmla="*/ 96 w 109"/>
                <a:gd name="T11" fmla="*/ 78 h 116"/>
                <a:gd name="T12" fmla="*/ 90 w 109"/>
                <a:gd name="T13" fmla="*/ 85 h 116"/>
                <a:gd name="T14" fmla="*/ 87 w 109"/>
                <a:gd name="T15" fmla="*/ 91 h 116"/>
                <a:gd name="T16" fmla="*/ 81 w 109"/>
                <a:gd name="T17" fmla="*/ 97 h 116"/>
                <a:gd name="T18" fmla="*/ 78 w 109"/>
                <a:gd name="T19" fmla="*/ 103 h 116"/>
                <a:gd name="T20" fmla="*/ 68 w 109"/>
                <a:gd name="T21" fmla="*/ 110 h 116"/>
                <a:gd name="T22" fmla="*/ 62 w 109"/>
                <a:gd name="T23" fmla="*/ 116 h 116"/>
                <a:gd name="T24" fmla="*/ 56 w 109"/>
                <a:gd name="T25" fmla="*/ 116 h 116"/>
                <a:gd name="T26" fmla="*/ 50 w 109"/>
                <a:gd name="T27" fmla="*/ 113 h 116"/>
                <a:gd name="T28" fmla="*/ 43 w 109"/>
                <a:gd name="T29" fmla="*/ 110 h 116"/>
                <a:gd name="T30" fmla="*/ 37 w 109"/>
                <a:gd name="T31" fmla="*/ 100 h 116"/>
                <a:gd name="T32" fmla="*/ 31 w 109"/>
                <a:gd name="T33" fmla="*/ 94 h 116"/>
                <a:gd name="T34" fmla="*/ 28 w 109"/>
                <a:gd name="T35" fmla="*/ 85 h 116"/>
                <a:gd name="T36" fmla="*/ 28 w 109"/>
                <a:gd name="T37" fmla="*/ 81 h 116"/>
                <a:gd name="T38" fmla="*/ 31 w 109"/>
                <a:gd name="T39" fmla="*/ 75 h 116"/>
                <a:gd name="T40" fmla="*/ 34 w 109"/>
                <a:gd name="T41" fmla="*/ 69 h 116"/>
                <a:gd name="T42" fmla="*/ 40 w 109"/>
                <a:gd name="T43" fmla="*/ 60 h 116"/>
                <a:gd name="T44" fmla="*/ 40 w 109"/>
                <a:gd name="T45" fmla="*/ 57 h 116"/>
                <a:gd name="T46" fmla="*/ 40 w 109"/>
                <a:gd name="T47" fmla="*/ 50 h 116"/>
                <a:gd name="T48" fmla="*/ 40 w 109"/>
                <a:gd name="T49" fmla="*/ 44 h 116"/>
                <a:gd name="T50" fmla="*/ 34 w 109"/>
                <a:gd name="T51" fmla="*/ 41 h 116"/>
                <a:gd name="T52" fmla="*/ 25 w 109"/>
                <a:gd name="T53" fmla="*/ 38 h 116"/>
                <a:gd name="T54" fmla="*/ 18 w 109"/>
                <a:gd name="T55" fmla="*/ 35 h 116"/>
                <a:gd name="T56" fmla="*/ 9 w 109"/>
                <a:gd name="T57" fmla="*/ 32 h 116"/>
                <a:gd name="T58" fmla="*/ 3 w 109"/>
                <a:gd name="T59" fmla="*/ 28 h 116"/>
                <a:gd name="T60" fmla="*/ 0 w 109"/>
                <a:gd name="T61" fmla="*/ 25 h 116"/>
                <a:gd name="T62" fmla="*/ 0 w 109"/>
                <a:gd name="T63" fmla="*/ 19 h 116"/>
                <a:gd name="T64" fmla="*/ 6 w 109"/>
                <a:gd name="T65" fmla="*/ 10 h 116"/>
                <a:gd name="T66" fmla="*/ 25 w 109"/>
                <a:gd name="T67" fmla="*/ 3 h 116"/>
                <a:gd name="T68" fmla="*/ 43 w 109"/>
                <a:gd name="T69" fmla="*/ 0 h 116"/>
                <a:gd name="T70" fmla="*/ 56 w 109"/>
                <a:gd name="T71" fmla="*/ 0 h 116"/>
                <a:gd name="T72" fmla="*/ 62 w 109"/>
                <a:gd name="T73" fmla="*/ 7 h 116"/>
                <a:gd name="T74" fmla="*/ 65 w 109"/>
                <a:gd name="T75" fmla="*/ 13 h 116"/>
                <a:gd name="T76" fmla="*/ 71 w 109"/>
                <a:gd name="T77" fmla="*/ 19 h 116"/>
                <a:gd name="T78" fmla="*/ 75 w 109"/>
                <a:gd name="T79" fmla="*/ 25 h 116"/>
                <a:gd name="T80" fmla="*/ 81 w 109"/>
                <a:gd name="T81" fmla="*/ 28 h 116"/>
                <a:gd name="T82" fmla="*/ 90 w 109"/>
                <a:gd name="T83" fmla="*/ 32 h 116"/>
                <a:gd name="T84" fmla="*/ 96 w 109"/>
                <a:gd name="T85" fmla="*/ 35 h 116"/>
                <a:gd name="T86" fmla="*/ 103 w 109"/>
                <a:gd name="T87" fmla="*/ 38 h 116"/>
                <a:gd name="T88" fmla="*/ 109 w 109"/>
                <a:gd name="T89" fmla="*/ 4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16">
                  <a:moveTo>
                    <a:pt x="109" y="41"/>
                  </a:moveTo>
                  <a:lnTo>
                    <a:pt x="109" y="47"/>
                  </a:lnTo>
                  <a:lnTo>
                    <a:pt x="106" y="57"/>
                  </a:lnTo>
                  <a:lnTo>
                    <a:pt x="103" y="66"/>
                  </a:lnTo>
                  <a:lnTo>
                    <a:pt x="100" y="72"/>
                  </a:lnTo>
                  <a:lnTo>
                    <a:pt x="96" y="78"/>
                  </a:lnTo>
                  <a:lnTo>
                    <a:pt x="90" y="85"/>
                  </a:lnTo>
                  <a:lnTo>
                    <a:pt x="87" y="91"/>
                  </a:lnTo>
                  <a:lnTo>
                    <a:pt x="81" y="97"/>
                  </a:lnTo>
                  <a:lnTo>
                    <a:pt x="78" y="103"/>
                  </a:lnTo>
                  <a:lnTo>
                    <a:pt x="68" y="110"/>
                  </a:lnTo>
                  <a:lnTo>
                    <a:pt x="62" y="116"/>
                  </a:lnTo>
                  <a:lnTo>
                    <a:pt x="56" y="116"/>
                  </a:lnTo>
                  <a:lnTo>
                    <a:pt x="50" y="113"/>
                  </a:lnTo>
                  <a:lnTo>
                    <a:pt x="43" y="110"/>
                  </a:lnTo>
                  <a:lnTo>
                    <a:pt x="37" y="100"/>
                  </a:lnTo>
                  <a:lnTo>
                    <a:pt x="31" y="94"/>
                  </a:lnTo>
                  <a:lnTo>
                    <a:pt x="28" y="85"/>
                  </a:lnTo>
                  <a:lnTo>
                    <a:pt x="28" y="81"/>
                  </a:lnTo>
                  <a:lnTo>
                    <a:pt x="31" y="75"/>
                  </a:lnTo>
                  <a:lnTo>
                    <a:pt x="34" y="69"/>
                  </a:lnTo>
                  <a:lnTo>
                    <a:pt x="40" y="60"/>
                  </a:lnTo>
                  <a:lnTo>
                    <a:pt x="40" y="57"/>
                  </a:lnTo>
                  <a:lnTo>
                    <a:pt x="40" y="50"/>
                  </a:lnTo>
                  <a:lnTo>
                    <a:pt x="40" y="44"/>
                  </a:lnTo>
                  <a:lnTo>
                    <a:pt x="34" y="41"/>
                  </a:lnTo>
                  <a:lnTo>
                    <a:pt x="25" y="38"/>
                  </a:lnTo>
                  <a:lnTo>
                    <a:pt x="18" y="35"/>
                  </a:lnTo>
                  <a:lnTo>
                    <a:pt x="9" y="32"/>
                  </a:lnTo>
                  <a:lnTo>
                    <a:pt x="3" y="28"/>
                  </a:lnTo>
                  <a:lnTo>
                    <a:pt x="0" y="25"/>
                  </a:lnTo>
                  <a:lnTo>
                    <a:pt x="0" y="19"/>
                  </a:lnTo>
                  <a:lnTo>
                    <a:pt x="6" y="10"/>
                  </a:lnTo>
                  <a:lnTo>
                    <a:pt x="25" y="3"/>
                  </a:lnTo>
                  <a:lnTo>
                    <a:pt x="43" y="0"/>
                  </a:lnTo>
                  <a:lnTo>
                    <a:pt x="56" y="0"/>
                  </a:lnTo>
                  <a:lnTo>
                    <a:pt x="62" y="7"/>
                  </a:lnTo>
                  <a:lnTo>
                    <a:pt x="65" y="13"/>
                  </a:lnTo>
                  <a:lnTo>
                    <a:pt x="71" y="19"/>
                  </a:lnTo>
                  <a:lnTo>
                    <a:pt x="75" y="25"/>
                  </a:lnTo>
                  <a:lnTo>
                    <a:pt x="81" y="28"/>
                  </a:lnTo>
                  <a:lnTo>
                    <a:pt x="90" y="32"/>
                  </a:lnTo>
                  <a:lnTo>
                    <a:pt x="96" y="35"/>
                  </a:lnTo>
                  <a:lnTo>
                    <a:pt x="103" y="38"/>
                  </a:lnTo>
                  <a:lnTo>
                    <a:pt x="109" y="41"/>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5" name="Freeform 40">
              <a:extLst>
                <a:ext uri="{FF2B5EF4-FFF2-40B4-BE49-F238E27FC236}">
                  <a16:creationId xmlns:a16="http://schemas.microsoft.com/office/drawing/2014/main" id="{FEA5C5C3-90CD-4F21-881D-6F3242613028}"/>
                </a:ext>
              </a:extLst>
            </p:cNvPr>
            <p:cNvSpPr>
              <a:spLocks/>
            </p:cNvSpPr>
            <p:nvPr/>
          </p:nvSpPr>
          <p:spPr bwMode="auto">
            <a:xfrm>
              <a:off x="8726488" y="-1889125"/>
              <a:ext cx="292100" cy="233363"/>
            </a:xfrm>
            <a:custGeom>
              <a:avLst/>
              <a:gdLst>
                <a:gd name="T0" fmla="*/ 184 w 184"/>
                <a:gd name="T1" fmla="*/ 97 h 147"/>
                <a:gd name="T2" fmla="*/ 184 w 184"/>
                <a:gd name="T3" fmla="*/ 106 h 147"/>
                <a:gd name="T4" fmla="*/ 184 w 184"/>
                <a:gd name="T5" fmla="*/ 113 h 147"/>
                <a:gd name="T6" fmla="*/ 181 w 184"/>
                <a:gd name="T7" fmla="*/ 125 h 147"/>
                <a:gd name="T8" fmla="*/ 175 w 184"/>
                <a:gd name="T9" fmla="*/ 135 h 147"/>
                <a:gd name="T10" fmla="*/ 172 w 184"/>
                <a:gd name="T11" fmla="*/ 141 h 147"/>
                <a:gd name="T12" fmla="*/ 166 w 184"/>
                <a:gd name="T13" fmla="*/ 147 h 147"/>
                <a:gd name="T14" fmla="*/ 150 w 184"/>
                <a:gd name="T15" fmla="*/ 147 h 147"/>
                <a:gd name="T16" fmla="*/ 131 w 184"/>
                <a:gd name="T17" fmla="*/ 141 h 147"/>
                <a:gd name="T18" fmla="*/ 113 w 184"/>
                <a:gd name="T19" fmla="*/ 135 h 147"/>
                <a:gd name="T20" fmla="*/ 94 w 184"/>
                <a:gd name="T21" fmla="*/ 131 h 147"/>
                <a:gd name="T22" fmla="*/ 88 w 184"/>
                <a:gd name="T23" fmla="*/ 131 h 147"/>
                <a:gd name="T24" fmla="*/ 75 w 184"/>
                <a:gd name="T25" fmla="*/ 138 h 147"/>
                <a:gd name="T26" fmla="*/ 66 w 184"/>
                <a:gd name="T27" fmla="*/ 141 h 147"/>
                <a:gd name="T28" fmla="*/ 56 w 184"/>
                <a:gd name="T29" fmla="*/ 144 h 147"/>
                <a:gd name="T30" fmla="*/ 47 w 184"/>
                <a:gd name="T31" fmla="*/ 147 h 147"/>
                <a:gd name="T32" fmla="*/ 41 w 184"/>
                <a:gd name="T33" fmla="*/ 144 h 147"/>
                <a:gd name="T34" fmla="*/ 31 w 184"/>
                <a:gd name="T35" fmla="*/ 141 h 147"/>
                <a:gd name="T36" fmla="*/ 19 w 184"/>
                <a:gd name="T37" fmla="*/ 138 h 147"/>
                <a:gd name="T38" fmla="*/ 10 w 184"/>
                <a:gd name="T39" fmla="*/ 135 h 147"/>
                <a:gd name="T40" fmla="*/ 6 w 184"/>
                <a:gd name="T41" fmla="*/ 128 h 147"/>
                <a:gd name="T42" fmla="*/ 0 w 184"/>
                <a:gd name="T43" fmla="*/ 106 h 147"/>
                <a:gd name="T44" fmla="*/ 0 w 184"/>
                <a:gd name="T45" fmla="*/ 81 h 147"/>
                <a:gd name="T46" fmla="*/ 6 w 184"/>
                <a:gd name="T47" fmla="*/ 63 h 147"/>
                <a:gd name="T48" fmla="*/ 10 w 184"/>
                <a:gd name="T49" fmla="*/ 60 h 147"/>
                <a:gd name="T50" fmla="*/ 16 w 184"/>
                <a:gd name="T51" fmla="*/ 57 h 147"/>
                <a:gd name="T52" fmla="*/ 22 w 184"/>
                <a:gd name="T53" fmla="*/ 53 h 147"/>
                <a:gd name="T54" fmla="*/ 28 w 184"/>
                <a:gd name="T55" fmla="*/ 53 h 147"/>
                <a:gd name="T56" fmla="*/ 38 w 184"/>
                <a:gd name="T57" fmla="*/ 50 h 147"/>
                <a:gd name="T58" fmla="*/ 41 w 184"/>
                <a:gd name="T59" fmla="*/ 50 h 147"/>
                <a:gd name="T60" fmla="*/ 44 w 184"/>
                <a:gd name="T61" fmla="*/ 44 h 147"/>
                <a:gd name="T62" fmla="*/ 47 w 184"/>
                <a:gd name="T63" fmla="*/ 35 h 147"/>
                <a:gd name="T64" fmla="*/ 50 w 184"/>
                <a:gd name="T65" fmla="*/ 28 h 147"/>
                <a:gd name="T66" fmla="*/ 50 w 184"/>
                <a:gd name="T67" fmla="*/ 19 h 147"/>
                <a:gd name="T68" fmla="*/ 53 w 184"/>
                <a:gd name="T69" fmla="*/ 10 h 147"/>
                <a:gd name="T70" fmla="*/ 56 w 184"/>
                <a:gd name="T71" fmla="*/ 3 h 147"/>
                <a:gd name="T72" fmla="*/ 63 w 184"/>
                <a:gd name="T73" fmla="*/ 0 h 147"/>
                <a:gd name="T74" fmla="*/ 78 w 184"/>
                <a:gd name="T75" fmla="*/ 3 h 147"/>
                <a:gd name="T76" fmla="*/ 97 w 184"/>
                <a:gd name="T77" fmla="*/ 13 h 147"/>
                <a:gd name="T78" fmla="*/ 113 w 184"/>
                <a:gd name="T79" fmla="*/ 28 h 147"/>
                <a:gd name="T80" fmla="*/ 128 w 184"/>
                <a:gd name="T81" fmla="*/ 41 h 147"/>
                <a:gd name="T82" fmla="*/ 147 w 184"/>
                <a:gd name="T83" fmla="*/ 57 h 147"/>
                <a:gd name="T84" fmla="*/ 172 w 184"/>
                <a:gd name="T85" fmla="*/ 78 h 147"/>
                <a:gd name="T86" fmla="*/ 184 w 184"/>
                <a:gd name="T87" fmla="*/ 9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4" h="147">
                  <a:moveTo>
                    <a:pt x="184" y="97"/>
                  </a:moveTo>
                  <a:lnTo>
                    <a:pt x="184" y="106"/>
                  </a:lnTo>
                  <a:lnTo>
                    <a:pt x="184" y="113"/>
                  </a:lnTo>
                  <a:lnTo>
                    <a:pt x="181" y="125"/>
                  </a:lnTo>
                  <a:lnTo>
                    <a:pt x="175" y="135"/>
                  </a:lnTo>
                  <a:lnTo>
                    <a:pt x="172" y="141"/>
                  </a:lnTo>
                  <a:lnTo>
                    <a:pt x="166" y="147"/>
                  </a:lnTo>
                  <a:lnTo>
                    <a:pt x="150" y="147"/>
                  </a:lnTo>
                  <a:lnTo>
                    <a:pt x="131" y="141"/>
                  </a:lnTo>
                  <a:lnTo>
                    <a:pt x="113" y="135"/>
                  </a:lnTo>
                  <a:lnTo>
                    <a:pt x="94" y="131"/>
                  </a:lnTo>
                  <a:lnTo>
                    <a:pt x="88" y="131"/>
                  </a:lnTo>
                  <a:lnTo>
                    <a:pt x="75" y="138"/>
                  </a:lnTo>
                  <a:lnTo>
                    <a:pt x="66" y="141"/>
                  </a:lnTo>
                  <a:lnTo>
                    <a:pt x="56" y="144"/>
                  </a:lnTo>
                  <a:lnTo>
                    <a:pt x="47" y="147"/>
                  </a:lnTo>
                  <a:lnTo>
                    <a:pt x="41" y="144"/>
                  </a:lnTo>
                  <a:lnTo>
                    <a:pt x="31" y="141"/>
                  </a:lnTo>
                  <a:lnTo>
                    <a:pt x="19" y="138"/>
                  </a:lnTo>
                  <a:lnTo>
                    <a:pt x="10" y="135"/>
                  </a:lnTo>
                  <a:lnTo>
                    <a:pt x="6" y="128"/>
                  </a:lnTo>
                  <a:lnTo>
                    <a:pt x="0" y="106"/>
                  </a:lnTo>
                  <a:lnTo>
                    <a:pt x="0" y="81"/>
                  </a:lnTo>
                  <a:lnTo>
                    <a:pt x="6" y="63"/>
                  </a:lnTo>
                  <a:lnTo>
                    <a:pt x="10" y="60"/>
                  </a:lnTo>
                  <a:lnTo>
                    <a:pt x="16" y="57"/>
                  </a:lnTo>
                  <a:lnTo>
                    <a:pt x="22" y="53"/>
                  </a:lnTo>
                  <a:lnTo>
                    <a:pt x="28" y="53"/>
                  </a:lnTo>
                  <a:lnTo>
                    <a:pt x="38" y="50"/>
                  </a:lnTo>
                  <a:lnTo>
                    <a:pt x="41" y="50"/>
                  </a:lnTo>
                  <a:lnTo>
                    <a:pt x="44" y="44"/>
                  </a:lnTo>
                  <a:lnTo>
                    <a:pt x="47" y="35"/>
                  </a:lnTo>
                  <a:lnTo>
                    <a:pt x="50" y="28"/>
                  </a:lnTo>
                  <a:lnTo>
                    <a:pt x="50" y="19"/>
                  </a:lnTo>
                  <a:lnTo>
                    <a:pt x="53" y="10"/>
                  </a:lnTo>
                  <a:lnTo>
                    <a:pt x="56" y="3"/>
                  </a:lnTo>
                  <a:lnTo>
                    <a:pt x="63" y="0"/>
                  </a:lnTo>
                  <a:lnTo>
                    <a:pt x="78" y="3"/>
                  </a:lnTo>
                  <a:lnTo>
                    <a:pt x="97" y="13"/>
                  </a:lnTo>
                  <a:lnTo>
                    <a:pt x="113" y="28"/>
                  </a:lnTo>
                  <a:lnTo>
                    <a:pt x="128" y="41"/>
                  </a:lnTo>
                  <a:lnTo>
                    <a:pt x="147" y="57"/>
                  </a:lnTo>
                  <a:lnTo>
                    <a:pt x="172" y="78"/>
                  </a:lnTo>
                  <a:lnTo>
                    <a:pt x="184" y="97"/>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Freeform 42">
              <a:extLst>
                <a:ext uri="{FF2B5EF4-FFF2-40B4-BE49-F238E27FC236}">
                  <a16:creationId xmlns:a16="http://schemas.microsoft.com/office/drawing/2014/main" id="{2E192652-CDFC-4AF1-9AF3-952A2A00BEF8}"/>
                </a:ext>
              </a:extLst>
            </p:cNvPr>
            <p:cNvSpPr>
              <a:spLocks/>
            </p:cNvSpPr>
            <p:nvPr/>
          </p:nvSpPr>
          <p:spPr bwMode="auto">
            <a:xfrm>
              <a:off x="9078913" y="-2949575"/>
              <a:ext cx="238125" cy="263525"/>
            </a:xfrm>
            <a:custGeom>
              <a:avLst/>
              <a:gdLst>
                <a:gd name="T0" fmla="*/ 150 w 150"/>
                <a:gd name="T1" fmla="*/ 47 h 166"/>
                <a:gd name="T2" fmla="*/ 150 w 150"/>
                <a:gd name="T3" fmla="*/ 69 h 166"/>
                <a:gd name="T4" fmla="*/ 147 w 150"/>
                <a:gd name="T5" fmla="*/ 94 h 166"/>
                <a:gd name="T6" fmla="*/ 137 w 150"/>
                <a:gd name="T7" fmla="*/ 122 h 166"/>
                <a:gd name="T8" fmla="*/ 125 w 150"/>
                <a:gd name="T9" fmla="*/ 141 h 166"/>
                <a:gd name="T10" fmla="*/ 119 w 150"/>
                <a:gd name="T11" fmla="*/ 144 h 166"/>
                <a:gd name="T12" fmla="*/ 112 w 150"/>
                <a:gd name="T13" fmla="*/ 147 h 166"/>
                <a:gd name="T14" fmla="*/ 103 w 150"/>
                <a:gd name="T15" fmla="*/ 150 h 166"/>
                <a:gd name="T16" fmla="*/ 94 w 150"/>
                <a:gd name="T17" fmla="*/ 153 h 166"/>
                <a:gd name="T18" fmla="*/ 87 w 150"/>
                <a:gd name="T19" fmla="*/ 156 h 166"/>
                <a:gd name="T20" fmla="*/ 81 w 150"/>
                <a:gd name="T21" fmla="*/ 156 h 166"/>
                <a:gd name="T22" fmla="*/ 72 w 150"/>
                <a:gd name="T23" fmla="*/ 159 h 166"/>
                <a:gd name="T24" fmla="*/ 62 w 150"/>
                <a:gd name="T25" fmla="*/ 162 h 166"/>
                <a:gd name="T26" fmla="*/ 53 w 150"/>
                <a:gd name="T27" fmla="*/ 166 h 166"/>
                <a:gd name="T28" fmla="*/ 47 w 150"/>
                <a:gd name="T29" fmla="*/ 166 h 166"/>
                <a:gd name="T30" fmla="*/ 37 w 150"/>
                <a:gd name="T31" fmla="*/ 166 h 166"/>
                <a:gd name="T32" fmla="*/ 34 w 150"/>
                <a:gd name="T33" fmla="*/ 159 h 166"/>
                <a:gd name="T34" fmla="*/ 28 w 150"/>
                <a:gd name="T35" fmla="*/ 153 h 166"/>
                <a:gd name="T36" fmla="*/ 25 w 150"/>
                <a:gd name="T37" fmla="*/ 147 h 166"/>
                <a:gd name="T38" fmla="*/ 22 w 150"/>
                <a:gd name="T39" fmla="*/ 141 h 166"/>
                <a:gd name="T40" fmla="*/ 12 w 150"/>
                <a:gd name="T41" fmla="*/ 119 h 166"/>
                <a:gd name="T42" fmla="*/ 3 w 150"/>
                <a:gd name="T43" fmla="*/ 94 h 166"/>
                <a:gd name="T44" fmla="*/ 0 w 150"/>
                <a:gd name="T45" fmla="*/ 72 h 166"/>
                <a:gd name="T46" fmla="*/ 3 w 150"/>
                <a:gd name="T47" fmla="*/ 66 h 166"/>
                <a:gd name="T48" fmla="*/ 6 w 150"/>
                <a:gd name="T49" fmla="*/ 59 h 166"/>
                <a:gd name="T50" fmla="*/ 9 w 150"/>
                <a:gd name="T51" fmla="*/ 50 h 166"/>
                <a:gd name="T52" fmla="*/ 12 w 150"/>
                <a:gd name="T53" fmla="*/ 44 h 166"/>
                <a:gd name="T54" fmla="*/ 15 w 150"/>
                <a:gd name="T55" fmla="*/ 38 h 166"/>
                <a:gd name="T56" fmla="*/ 15 w 150"/>
                <a:gd name="T57" fmla="*/ 28 h 166"/>
                <a:gd name="T58" fmla="*/ 19 w 150"/>
                <a:gd name="T59" fmla="*/ 19 h 166"/>
                <a:gd name="T60" fmla="*/ 22 w 150"/>
                <a:gd name="T61" fmla="*/ 13 h 166"/>
                <a:gd name="T62" fmla="*/ 25 w 150"/>
                <a:gd name="T63" fmla="*/ 6 h 166"/>
                <a:gd name="T64" fmla="*/ 40 w 150"/>
                <a:gd name="T65" fmla="*/ 0 h 166"/>
                <a:gd name="T66" fmla="*/ 62 w 150"/>
                <a:gd name="T67" fmla="*/ 0 h 166"/>
                <a:gd name="T68" fmla="*/ 84 w 150"/>
                <a:gd name="T69" fmla="*/ 3 h 166"/>
                <a:gd name="T70" fmla="*/ 100 w 150"/>
                <a:gd name="T71" fmla="*/ 6 h 166"/>
                <a:gd name="T72" fmla="*/ 109 w 150"/>
                <a:gd name="T73" fmla="*/ 9 h 166"/>
                <a:gd name="T74" fmla="*/ 119 w 150"/>
                <a:gd name="T75" fmla="*/ 16 h 166"/>
                <a:gd name="T76" fmla="*/ 128 w 150"/>
                <a:gd name="T77" fmla="*/ 22 h 166"/>
                <a:gd name="T78" fmla="*/ 137 w 150"/>
                <a:gd name="T79" fmla="*/ 31 h 166"/>
                <a:gd name="T80" fmla="*/ 143 w 150"/>
                <a:gd name="T81" fmla="*/ 41 h 166"/>
                <a:gd name="T82" fmla="*/ 150 w 150"/>
                <a:gd name="T83" fmla="*/ 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66">
                  <a:moveTo>
                    <a:pt x="150" y="47"/>
                  </a:moveTo>
                  <a:lnTo>
                    <a:pt x="150" y="69"/>
                  </a:lnTo>
                  <a:lnTo>
                    <a:pt x="147" y="94"/>
                  </a:lnTo>
                  <a:lnTo>
                    <a:pt x="137" y="122"/>
                  </a:lnTo>
                  <a:lnTo>
                    <a:pt x="125" y="141"/>
                  </a:lnTo>
                  <a:lnTo>
                    <a:pt x="119" y="144"/>
                  </a:lnTo>
                  <a:lnTo>
                    <a:pt x="112" y="147"/>
                  </a:lnTo>
                  <a:lnTo>
                    <a:pt x="103" y="150"/>
                  </a:lnTo>
                  <a:lnTo>
                    <a:pt x="94" y="153"/>
                  </a:lnTo>
                  <a:lnTo>
                    <a:pt x="87" y="156"/>
                  </a:lnTo>
                  <a:lnTo>
                    <a:pt x="81" y="156"/>
                  </a:lnTo>
                  <a:lnTo>
                    <a:pt x="72" y="159"/>
                  </a:lnTo>
                  <a:lnTo>
                    <a:pt x="62" y="162"/>
                  </a:lnTo>
                  <a:lnTo>
                    <a:pt x="53" y="166"/>
                  </a:lnTo>
                  <a:lnTo>
                    <a:pt x="47" y="166"/>
                  </a:lnTo>
                  <a:lnTo>
                    <a:pt x="37" y="166"/>
                  </a:lnTo>
                  <a:lnTo>
                    <a:pt x="34" y="159"/>
                  </a:lnTo>
                  <a:lnTo>
                    <a:pt x="28" y="153"/>
                  </a:lnTo>
                  <a:lnTo>
                    <a:pt x="25" y="147"/>
                  </a:lnTo>
                  <a:lnTo>
                    <a:pt x="22" y="141"/>
                  </a:lnTo>
                  <a:lnTo>
                    <a:pt x="12" y="119"/>
                  </a:lnTo>
                  <a:lnTo>
                    <a:pt x="3" y="94"/>
                  </a:lnTo>
                  <a:lnTo>
                    <a:pt x="0" y="72"/>
                  </a:lnTo>
                  <a:lnTo>
                    <a:pt x="3" y="66"/>
                  </a:lnTo>
                  <a:lnTo>
                    <a:pt x="6" y="59"/>
                  </a:lnTo>
                  <a:lnTo>
                    <a:pt x="9" y="50"/>
                  </a:lnTo>
                  <a:lnTo>
                    <a:pt x="12" y="44"/>
                  </a:lnTo>
                  <a:lnTo>
                    <a:pt x="15" y="38"/>
                  </a:lnTo>
                  <a:lnTo>
                    <a:pt x="15" y="28"/>
                  </a:lnTo>
                  <a:lnTo>
                    <a:pt x="19" y="19"/>
                  </a:lnTo>
                  <a:lnTo>
                    <a:pt x="22" y="13"/>
                  </a:lnTo>
                  <a:lnTo>
                    <a:pt x="25" y="6"/>
                  </a:lnTo>
                  <a:lnTo>
                    <a:pt x="40" y="0"/>
                  </a:lnTo>
                  <a:lnTo>
                    <a:pt x="62" y="0"/>
                  </a:lnTo>
                  <a:lnTo>
                    <a:pt x="84" y="3"/>
                  </a:lnTo>
                  <a:lnTo>
                    <a:pt x="100" y="6"/>
                  </a:lnTo>
                  <a:lnTo>
                    <a:pt x="109" y="9"/>
                  </a:lnTo>
                  <a:lnTo>
                    <a:pt x="119" y="16"/>
                  </a:lnTo>
                  <a:lnTo>
                    <a:pt x="128" y="22"/>
                  </a:lnTo>
                  <a:lnTo>
                    <a:pt x="137" y="31"/>
                  </a:lnTo>
                  <a:lnTo>
                    <a:pt x="143" y="41"/>
                  </a:lnTo>
                  <a:lnTo>
                    <a:pt x="150" y="47"/>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Freeform 43">
              <a:extLst>
                <a:ext uri="{FF2B5EF4-FFF2-40B4-BE49-F238E27FC236}">
                  <a16:creationId xmlns:a16="http://schemas.microsoft.com/office/drawing/2014/main" id="{74A4D62E-9AA5-47A2-8834-A65BBD49A4F8}"/>
                </a:ext>
              </a:extLst>
            </p:cNvPr>
            <p:cNvSpPr>
              <a:spLocks/>
            </p:cNvSpPr>
            <p:nvPr/>
          </p:nvSpPr>
          <p:spPr bwMode="auto">
            <a:xfrm>
              <a:off x="8513763" y="-8416925"/>
              <a:ext cx="8778875" cy="8407400"/>
            </a:xfrm>
            <a:custGeom>
              <a:avLst/>
              <a:gdLst>
                <a:gd name="T0" fmla="*/ 5374 w 5530"/>
                <a:gd name="T1" fmla="*/ 1265 h 5296"/>
                <a:gd name="T2" fmla="*/ 5312 w 5530"/>
                <a:gd name="T3" fmla="*/ 1614 h 5296"/>
                <a:gd name="T4" fmla="*/ 5090 w 5530"/>
                <a:gd name="T5" fmla="*/ 1980 h 5296"/>
                <a:gd name="T6" fmla="*/ 4828 w 5530"/>
                <a:gd name="T7" fmla="*/ 2223 h 5296"/>
                <a:gd name="T8" fmla="*/ 4459 w 5530"/>
                <a:gd name="T9" fmla="*/ 2323 h 5296"/>
                <a:gd name="T10" fmla="*/ 4306 w 5530"/>
                <a:gd name="T11" fmla="*/ 2879 h 5296"/>
                <a:gd name="T12" fmla="*/ 4144 w 5530"/>
                <a:gd name="T13" fmla="*/ 3350 h 5296"/>
                <a:gd name="T14" fmla="*/ 3944 w 5530"/>
                <a:gd name="T15" fmla="*/ 3478 h 5296"/>
                <a:gd name="T16" fmla="*/ 3781 w 5530"/>
                <a:gd name="T17" fmla="*/ 3469 h 5296"/>
                <a:gd name="T18" fmla="*/ 3379 w 5530"/>
                <a:gd name="T19" fmla="*/ 3507 h 5296"/>
                <a:gd name="T20" fmla="*/ 3135 w 5530"/>
                <a:gd name="T21" fmla="*/ 3628 h 5296"/>
                <a:gd name="T22" fmla="*/ 2742 w 5530"/>
                <a:gd name="T23" fmla="*/ 3691 h 5296"/>
                <a:gd name="T24" fmla="*/ 2520 w 5530"/>
                <a:gd name="T25" fmla="*/ 3597 h 5296"/>
                <a:gd name="T26" fmla="*/ 2692 w 5530"/>
                <a:gd name="T27" fmla="*/ 3962 h 5296"/>
                <a:gd name="T28" fmla="*/ 2823 w 5530"/>
                <a:gd name="T29" fmla="*/ 4190 h 5296"/>
                <a:gd name="T30" fmla="*/ 2941 w 5530"/>
                <a:gd name="T31" fmla="*/ 4446 h 5296"/>
                <a:gd name="T32" fmla="*/ 2973 w 5530"/>
                <a:gd name="T33" fmla="*/ 4927 h 5296"/>
                <a:gd name="T34" fmla="*/ 3013 w 5530"/>
                <a:gd name="T35" fmla="*/ 5087 h 5296"/>
                <a:gd name="T36" fmla="*/ 2885 w 5530"/>
                <a:gd name="T37" fmla="*/ 5261 h 5296"/>
                <a:gd name="T38" fmla="*/ 2520 w 5530"/>
                <a:gd name="T39" fmla="*/ 5233 h 5296"/>
                <a:gd name="T40" fmla="*/ 2214 w 5530"/>
                <a:gd name="T41" fmla="*/ 5196 h 5296"/>
                <a:gd name="T42" fmla="*/ 1986 w 5530"/>
                <a:gd name="T43" fmla="*/ 5246 h 5296"/>
                <a:gd name="T44" fmla="*/ 1889 w 5530"/>
                <a:gd name="T45" fmla="*/ 5224 h 5296"/>
                <a:gd name="T46" fmla="*/ 1624 w 5530"/>
                <a:gd name="T47" fmla="*/ 5146 h 5296"/>
                <a:gd name="T48" fmla="*/ 1546 w 5530"/>
                <a:gd name="T49" fmla="*/ 4959 h 5296"/>
                <a:gd name="T50" fmla="*/ 1290 w 5530"/>
                <a:gd name="T51" fmla="*/ 4874 h 5296"/>
                <a:gd name="T52" fmla="*/ 1074 w 5530"/>
                <a:gd name="T53" fmla="*/ 4749 h 5296"/>
                <a:gd name="T54" fmla="*/ 877 w 5530"/>
                <a:gd name="T55" fmla="*/ 4287 h 5296"/>
                <a:gd name="T56" fmla="*/ 646 w 5530"/>
                <a:gd name="T57" fmla="*/ 4034 h 5296"/>
                <a:gd name="T58" fmla="*/ 696 w 5530"/>
                <a:gd name="T59" fmla="*/ 3688 h 5296"/>
                <a:gd name="T60" fmla="*/ 806 w 5530"/>
                <a:gd name="T61" fmla="*/ 3475 h 5296"/>
                <a:gd name="T62" fmla="*/ 471 w 5530"/>
                <a:gd name="T63" fmla="*/ 3238 h 5296"/>
                <a:gd name="T64" fmla="*/ 556 w 5530"/>
                <a:gd name="T65" fmla="*/ 2941 h 5296"/>
                <a:gd name="T66" fmla="*/ 946 w 5530"/>
                <a:gd name="T67" fmla="*/ 2938 h 5296"/>
                <a:gd name="T68" fmla="*/ 1265 w 5530"/>
                <a:gd name="T69" fmla="*/ 3060 h 5296"/>
                <a:gd name="T70" fmla="*/ 1068 w 5530"/>
                <a:gd name="T71" fmla="*/ 2904 h 5296"/>
                <a:gd name="T72" fmla="*/ 721 w 5530"/>
                <a:gd name="T73" fmla="*/ 2788 h 5296"/>
                <a:gd name="T74" fmla="*/ 334 w 5530"/>
                <a:gd name="T75" fmla="*/ 2951 h 5296"/>
                <a:gd name="T76" fmla="*/ 22 w 5530"/>
                <a:gd name="T77" fmla="*/ 2838 h 5296"/>
                <a:gd name="T78" fmla="*/ 119 w 5530"/>
                <a:gd name="T79" fmla="*/ 2816 h 5296"/>
                <a:gd name="T80" fmla="*/ 56 w 5530"/>
                <a:gd name="T81" fmla="*/ 2557 h 5296"/>
                <a:gd name="T82" fmla="*/ 250 w 5530"/>
                <a:gd name="T83" fmla="*/ 2445 h 5296"/>
                <a:gd name="T84" fmla="*/ 556 w 5530"/>
                <a:gd name="T85" fmla="*/ 2432 h 5296"/>
                <a:gd name="T86" fmla="*/ 746 w 5530"/>
                <a:gd name="T87" fmla="*/ 2120 h 5296"/>
                <a:gd name="T88" fmla="*/ 1115 w 5530"/>
                <a:gd name="T89" fmla="*/ 1930 h 5296"/>
                <a:gd name="T90" fmla="*/ 1499 w 5530"/>
                <a:gd name="T91" fmla="*/ 1808 h 5296"/>
                <a:gd name="T92" fmla="*/ 1930 w 5530"/>
                <a:gd name="T93" fmla="*/ 1733 h 5296"/>
                <a:gd name="T94" fmla="*/ 2233 w 5530"/>
                <a:gd name="T95" fmla="*/ 1418 h 5296"/>
                <a:gd name="T96" fmla="*/ 2417 w 5530"/>
                <a:gd name="T97" fmla="*/ 1099 h 5296"/>
                <a:gd name="T98" fmla="*/ 2404 w 5530"/>
                <a:gd name="T99" fmla="*/ 571 h 5296"/>
                <a:gd name="T100" fmla="*/ 2560 w 5530"/>
                <a:gd name="T101" fmla="*/ 109 h 5296"/>
                <a:gd name="T102" fmla="*/ 2798 w 5530"/>
                <a:gd name="T103" fmla="*/ 175 h 5296"/>
                <a:gd name="T104" fmla="*/ 3023 w 5530"/>
                <a:gd name="T105" fmla="*/ 184 h 5296"/>
                <a:gd name="T106" fmla="*/ 3276 w 5530"/>
                <a:gd name="T107" fmla="*/ 190 h 5296"/>
                <a:gd name="T108" fmla="*/ 3597 w 5530"/>
                <a:gd name="T109" fmla="*/ 159 h 5296"/>
                <a:gd name="T110" fmla="*/ 3744 w 5530"/>
                <a:gd name="T111" fmla="*/ 72 h 5296"/>
                <a:gd name="T112" fmla="*/ 3894 w 5530"/>
                <a:gd name="T113" fmla="*/ 200 h 5296"/>
                <a:gd name="T114" fmla="*/ 4100 w 5530"/>
                <a:gd name="T115" fmla="*/ 437 h 5296"/>
                <a:gd name="T116" fmla="*/ 4331 w 5530"/>
                <a:gd name="T117" fmla="*/ 303 h 5296"/>
                <a:gd name="T118" fmla="*/ 4712 w 5530"/>
                <a:gd name="T119" fmla="*/ 309 h 5296"/>
                <a:gd name="T120" fmla="*/ 4843 w 5530"/>
                <a:gd name="T121" fmla="*/ 624 h 5296"/>
                <a:gd name="T122" fmla="*/ 5099 w 5530"/>
                <a:gd name="T123" fmla="*/ 743 h 5296"/>
                <a:gd name="T124" fmla="*/ 5402 w 5530"/>
                <a:gd name="T125" fmla="*/ 952 h 5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30" h="5296">
                  <a:moveTo>
                    <a:pt x="5530" y="1021"/>
                  </a:moveTo>
                  <a:lnTo>
                    <a:pt x="5530" y="1037"/>
                  </a:lnTo>
                  <a:lnTo>
                    <a:pt x="5527" y="1058"/>
                  </a:lnTo>
                  <a:lnTo>
                    <a:pt x="5521" y="1071"/>
                  </a:lnTo>
                  <a:lnTo>
                    <a:pt x="5505" y="1080"/>
                  </a:lnTo>
                  <a:lnTo>
                    <a:pt x="5486" y="1083"/>
                  </a:lnTo>
                  <a:lnTo>
                    <a:pt x="5468" y="1087"/>
                  </a:lnTo>
                  <a:lnTo>
                    <a:pt x="5455" y="1093"/>
                  </a:lnTo>
                  <a:lnTo>
                    <a:pt x="5452" y="1108"/>
                  </a:lnTo>
                  <a:lnTo>
                    <a:pt x="5455" y="1127"/>
                  </a:lnTo>
                  <a:lnTo>
                    <a:pt x="5461" y="1146"/>
                  </a:lnTo>
                  <a:lnTo>
                    <a:pt x="5458" y="1161"/>
                  </a:lnTo>
                  <a:lnTo>
                    <a:pt x="5455" y="1168"/>
                  </a:lnTo>
                  <a:lnTo>
                    <a:pt x="5443" y="1177"/>
                  </a:lnTo>
                  <a:lnTo>
                    <a:pt x="5433" y="1183"/>
                  </a:lnTo>
                  <a:lnTo>
                    <a:pt x="5421" y="1193"/>
                  </a:lnTo>
                  <a:lnTo>
                    <a:pt x="5415" y="1199"/>
                  </a:lnTo>
                  <a:lnTo>
                    <a:pt x="5402" y="1211"/>
                  </a:lnTo>
                  <a:lnTo>
                    <a:pt x="5387" y="1230"/>
                  </a:lnTo>
                  <a:lnTo>
                    <a:pt x="5377" y="1249"/>
                  </a:lnTo>
                  <a:lnTo>
                    <a:pt x="5374" y="1265"/>
                  </a:lnTo>
                  <a:lnTo>
                    <a:pt x="5383" y="1277"/>
                  </a:lnTo>
                  <a:lnTo>
                    <a:pt x="5399" y="1283"/>
                  </a:lnTo>
                  <a:lnTo>
                    <a:pt x="5418" y="1289"/>
                  </a:lnTo>
                  <a:lnTo>
                    <a:pt x="5433" y="1296"/>
                  </a:lnTo>
                  <a:lnTo>
                    <a:pt x="5443" y="1305"/>
                  </a:lnTo>
                  <a:lnTo>
                    <a:pt x="5443" y="1324"/>
                  </a:lnTo>
                  <a:lnTo>
                    <a:pt x="5436" y="1349"/>
                  </a:lnTo>
                  <a:lnTo>
                    <a:pt x="5427" y="1371"/>
                  </a:lnTo>
                  <a:lnTo>
                    <a:pt x="5418" y="1396"/>
                  </a:lnTo>
                  <a:lnTo>
                    <a:pt x="5415" y="1414"/>
                  </a:lnTo>
                  <a:lnTo>
                    <a:pt x="5418" y="1436"/>
                  </a:lnTo>
                  <a:lnTo>
                    <a:pt x="5424" y="1461"/>
                  </a:lnTo>
                  <a:lnTo>
                    <a:pt x="5427" y="1483"/>
                  </a:lnTo>
                  <a:lnTo>
                    <a:pt x="5424" y="1508"/>
                  </a:lnTo>
                  <a:lnTo>
                    <a:pt x="5415" y="1536"/>
                  </a:lnTo>
                  <a:lnTo>
                    <a:pt x="5405" y="1564"/>
                  </a:lnTo>
                  <a:lnTo>
                    <a:pt x="5393" y="1583"/>
                  </a:lnTo>
                  <a:lnTo>
                    <a:pt x="5377" y="1592"/>
                  </a:lnTo>
                  <a:lnTo>
                    <a:pt x="5355" y="1599"/>
                  </a:lnTo>
                  <a:lnTo>
                    <a:pt x="5333" y="1605"/>
                  </a:lnTo>
                  <a:lnTo>
                    <a:pt x="5312" y="1614"/>
                  </a:lnTo>
                  <a:lnTo>
                    <a:pt x="5302" y="1624"/>
                  </a:lnTo>
                  <a:lnTo>
                    <a:pt x="5299" y="1639"/>
                  </a:lnTo>
                  <a:lnTo>
                    <a:pt x="5305" y="1661"/>
                  </a:lnTo>
                  <a:lnTo>
                    <a:pt x="5315" y="1683"/>
                  </a:lnTo>
                  <a:lnTo>
                    <a:pt x="5321" y="1702"/>
                  </a:lnTo>
                  <a:lnTo>
                    <a:pt x="5321" y="1720"/>
                  </a:lnTo>
                  <a:lnTo>
                    <a:pt x="5315" y="1736"/>
                  </a:lnTo>
                  <a:lnTo>
                    <a:pt x="5299" y="1755"/>
                  </a:lnTo>
                  <a:lnTo>
                    <a:pt x="5283" y="1770"/>
                  </a:lnTo>
                  <a:lnTo>
                    <a:pt x="5274" y="1786"/>
                  </a:lnTo>
                  <a:lnTo>
                    <a:pt x="5268" y="1814"/>
                  </a:lnTo>
                  <a:lnTo>
                    <a:pt x="5262" y="1848"/>
                  </a:lnTo>
                  <a:lnTo>
                    <a:pt x="5258" y="1880"/>
                  </a:lnTo>
                  <a:lnTo>
                    <a:pt x="5249" y="1905"/>
                  </a:lnTo>
                  <a:lnTo>
                    <a:pt x="5234" y="1926"/>
                  </a:lnTo>
                  <a:lnTo>
                    <a:pt x="5209" y="1948"/>
                  </a:lnTo>
                  <a:lnTo>
                    <a:pt x="5187" y="1964"/>
                  </a:lnTo>
                  <a:lnTo>
                    <a:pt x="5165" y="1970"/>
                  </a:lnTo>
                  <a:lnTo>
                    <a:pt x="5137" y="1970"/>
                  </a:lnTo>
                  <a:lnTo>
                    <a:pt x="5112" y="1973"/>
                  </a:lnTo>
                  <a:lnTo>
                    <a:pt x="5090" y="1980"/>
                  </a:lnTo>
                  <a:lnTo>
                    <a:pt x="5071" y="1998"/>
                  </a:lnTo>
                  <a:lnTo>
                    <a:pt x="5056" y="2023"/>
                  </a:lnTo>
                  <a:lnTo>
                    <a:pt x="5046" y="2048"/>
                  </a:lnTo>
                  <a:lnTo>
                    <a:pt x="5043" y="2067"/>
                  </a:lnTo>
                  <a:lnTo>
                    <a:pt x="5046" y="2089"/>
                  </a:lnTo>
                  <a:lnTo>
                    <a:pt x="5049" y="2111"/>
                  </a:lnTo>
                  <a:lnTo>
                    <a:pt x="5046" y="2129"/>
                  </a:lnTo>
                  <a:lnTo>
                    <a:pt x="5043" y="2136"/>
                  </a:lnTo>
                  <a:lnTo>
                    <a:pt x="5037" y="2145"/>
                  </a:lnTo>
                  <a:lnTo>
                    <a:pt x="5027" y="2158"/>
                  </a:lnTo>
                  <a:lnTo>
                    <a:pt x="5021" y="2167"/>
                  </a:lnTo>
                  <a:lnTo>
                    <a:pt x="5012" y="2173"/>
                  </a:lnTo>
                  <a:lnTo>
                    <a:pt x="5002" y="2179"/>
                  </a:lnTo>
                  <a:lnTo>
                    <a:pt x="4984" y="2183"/>
                  </a:lnTo>
                  <a:lnTo>
                    <a:pt x="4959" y="2179"/>
                  </a:lnTo>
                  <a:lnTo>
                    <a:pt x="4934" y="2176"/>
                  </a:lnTo>
                  <a:lnTo>
                    <a:pt x="4915" y="2179"/>
                  </a:lnTo>
                  <a:lnTo>
                    <a:pt x="4893" y="2192"/>
                  </a:lnTo>
                  <a:lnTo>
                    <a:pt x="4868" y="2211"/>
                  </a:lnTo>
                  <a:lnTo>
                    <a:pt x="4846" y="2223"/>
                  </a:lnTo>
                  <a:lnTo>
                    <a:pt x="4828" y="2223"/>
                  </a:lnTo>
                  <a:lnTo>
                    <a:pt x="4806" y="2223"/>
                  </a:lnTo>
                  <a:lnTo>
                    <a:pt x="4787" y="2223"/>
                  </a:lnTo>
                  <a:lnTo>
                    <a:pt x="4759" y="2226"/>
                  </a:lnTo>
                  <a:lnTo>
                    <a:pt x="4728" y="2236"/>
                  </a:lnTo>
                  <a:lnTo>
                    <a:pt x="4703" y="2248"/>
                  </a:lnTo>
                  <a:lnTo>
                    <a:pt x="4693" y="2267"/>
                  </a:lnTo>
                  <a:lnTo>
                    <a:pt x="4687" y="2292"/>
                  </a:lnTo>
                  <a:lnTo>
                    <a:pt x="4678" y="2317"/>
                  </a:lnTo>
                  <a:lnTo>
                    <a:pt x="4668" y="2336"/>
                  </a:lnTo>
                  <a:lnTo>
                    <a:pt x="4662" y="2339"/>
                  </a:lnTo>
                  <a:lnTo>
                    <a:pt x="4653" y="2339"/>
                  </a:lnTo>
                  <a:lnTo>
                    <a:pt x="4640" y="2342"/>
                  </a:lnTo>
                  <a:lnTo>
                    <a:pt x="4631" y="2339"/>
                  </a:lnTo>
                  <a:lnTo>
                    <a:pt x="4621" y="2339"/>
                  </a:lnTo>
                  <a:lnTo>
                    <a:pt x="4600" y="2332"/>
                  </a:lnTo>
                  <a:lnTo>
                    <a:pt x="4578" y="2320"/>
                  </a:lnTo>
                  <a:lnTo>
                    <a:pt x="4556" y="2311"/>
                  </a:lnTo>
                  <a:lnTo>
                    <a:pt x="4531" y="2307"/>
                  </a:lnTo>
                  <a:lnTo>
                    <a:pt x="4500" y="2304"/>
                  </a:lnTo>
                  <a:lnTo>
                    <a:pt x="4478" y="2311"/>
                  </a:lnTo>
                  <a:lnTo>
                    <a:pt x="4459" y="2323"/>
                  </a:lnTo>
                  <a:lnTo>
                    <a:pt x="4440" y="2342"/>
                  </a:lnTo>
                  <a:lnTo>
                    <a:pt x="4425" y="2361"/>
                  </a:lnTo>
                  <a:lnTo>
                    <a:pt x="4412" y="2382"/>
                  </a:lnTo>
                  <a:lnTo>
                    <a:pt x="4409" y="2410"/>
                  </a:lnTo>
                  <a:lnTo>
                    <a:pt x="4409" y="2445"/>
                  </a:lnTo>
                  <a:lnTo>
                    <a:pt x="4412" y="2479"/>
                  </a:lnTo>
                  <a:lnTo>
                    <a:pt x="4409" y="2507"/>
                  </a:lnTo>
                  <a:lnTo>
                    <a:pt x="4403" y="2526"/>
                  </a:lnTo>
                  <a:lnTo>
                    <a:pt x="4390" y="2551"/>
                  </a:lnTo>
                  <a:lnTo>
                    <a:pt x="4378" y="2573"/>
                  </a:lnTo>
                  <a:lnTo>
                    <a:pt x="4369" y="2592"/>
                  </a:lnTo>
                  <a:lnTo>
                    <a:pt x="4359" y="2623"/>
                  </a:lnTo>
                  <a:lnTo>
                    <a:pt x="4350" y="2660"/>
                  </a:lnTo>
                  <a:lnTo>
                    <a:pt x="4340" y="2698"/>
                  </a:lnTo>
                  <a:lnTo>
                    <a:pt x="4334" y="2729"/>
                  </a:lnTo>
                  <a:lnTo>
                    <a:pt x="4334" y="2751"/>
                  </a:lnTo>
                  <a:lnTo>
                    <a:pt x="4334" y="2779"/>
                  </a:lnTo>
                  <a:lnTo>
                    <a:pt x="4334" y="2807"/>
                  </a:lnTo>
                  <a:lnTo>
                    <a:pt x="4331" y="2829"/>
                  </a:lnTo>
                  <a:lnTo>
                    <a:pt x="4322" y="2851"/>
                  </a:lnTo>
                  <a:lnTo>
                    <a:pt x="4306" y="2879"/>
                  </a:lnTo>
                  <a:lnTo>
                    <a:pt x="4287" y="2907"/>
                  </a:lnTo>
                  <a:lnTo>
                    <a:pt x="4272" y="2926"/>
                  </a:lnTo>
                  <a:lnTo>
                    <a:pt x="4256" y="2938"/>
                  </a:lnTo>
                  <a:lnTo>
                    <a:pt x="4234" y="2951"/>
                  </a:lnTo>
                  <a:lnTo>
                    <a:pt x="4212" y="2963"/>
                  </a:lnTo>
                  <a:lnTo>
                    <a:pt x="4197" y="2976"/>
                  </a:lnTo>
                  <a:lnTo>
                    <a:pt x="4194" y="2991"/>
                  </a:lnTo>
                  <a:lnTo>
                    <a:pt x="4191" y="3013"/>
                  </a:lnTo>
                  <a:lnTo>
                    <a:pt x="4191" y="3032"/>
                  </a:lnTo>
                  <a:lnTo>
                    <a:pt x="4191" y="3047"/>
                  </a:lnTo>
                  <a:lnTo>
                    <a:pt x="4184" y="3076"/>
                  </a:lnTo>
                  <a:lnTo>
                    <a:pt x="4175" y="3107"/>
                  </a:lnTo>
                  <a:lnTo>
                    <a:pt x="4166" y="3141"/>
                  </a:lnTo>
                  <a:lnTo>
                    <a:pt x="4159" y="3166"/>
                  </a:lnTo>
                  <a:lnTo>
                    <a:pt x="4156" y="3197"/>
                  </a:lnTo>
                  <a:lnTo>
                    <a:pt x="4153" y="3232"/>
                  </a:lnTo>
                  <a:lnTo>
                    <a:pt x="4153" y="3272"/>
                  </a:lnTo>
                  <a:lnTo>
                    <a:pt x="4153" y="3307"/>
                  </a:lnTo>
                  <a:lnTo>
                    <a:pt x="4159" y="3335"/>
                  </a:lnTo>
                  <a:lnTo>
                    <a:pt x="4166" y="3341"/>
                  </a:lnTo>
                  <a:lnTo>
                    <a:pt x="4144" y="3350"/>
                  </a:lnTo>
                  <a:lnTo>
                    <a:pt x="4125" y="3357"/>
                  </a:lnTo>
                  <a:lnTo>
                    <a:pt x="4109" y="3357"/>
                  </a:lnTo>
                  <a:lnTo>
                    <a:pt x="4103" y="3354"/>
                  </a:lnTo>
                  <a:lnTo>
                    <a:pt x="4100" y="3344"/>
                  </a:lnTo>
                  <a:lnTo>
                    <a:pt x="4094" y="3338"/>
                  </a:lnTo>
                  <a:lnTo>
                    <a:pt x="4087" y="3329"/>
                  </a:lnTo>
                  <a:lnTo>
                    <a:pt x="4084" y="3319"/>
                  </a:lnTo>
                  <a:lnTo>
                    <a:pt x="4078" y="3316"/>
                  </a:lnTo>
                  <a:lnTo>
                    <a:pt x="4062" y="3313"/>
                  </a:lnTo>
                  <a:lnTo>
                    <a:pt x="4044" y="3313"/>
                  </a:lnTo>
                  <a:lnTo>
                    <a:pt x="4028" y="3316"/>
                  </a:lnTo>
                  <a:lnTo>
                    <a:pt x="4009" y="3329"/>
                  </a:lnTo>
                  <a:lnTo>
                    <a:pt x="3991" y="3347"/>
                  </a:lnTo>
                  <a:lnTo>
                    <a:pt x="3975" y="3369"/>
                  </a:lnTo>
                  <a:lnTo>
                    <a:pt x="3966" y="3388"/>
                  </a:lnTo>
                  <a:lnTo>
                    <a:pt x="3966" y="3403"/>
                  </a:lnTo>
                  <a:lnTo>
                    <a:pt x="3972" y="3425"/>
                  </a:lnTo>
                  <a:lnTo>
                    <a:pt x="3975" y="3444"/>
                  </a:lnTo>
                  <a:lnTo>
                    <a:pt x="3975" y="3460"/>
                  </a:lnTo>
                  <a:lnTo>
                    <a:pt x="3963" y="3469"/>
                  </a:lnTo>
                  <a:lnTo>
                    <a:pt x="3944" y="3478"/>
                  </a:lnTo>
                  <a:lnTo>
                    <a:pt x="3925" y="3485"/>
                  </a:lnTo>
                  <a:lnTo>
                    <a:pt x="3913" y="3494"/>
                  </a:lnTo>
                  <a:lnTo>
                    <a:pt x="3909" y="3510"/>
                  </a:lnTo>
                  <a:lnTo>
                    <a:pt x="3909" y="3528"/>
                  </a:lnTo>
                  <a:lnTo>
                    <a:pt x="3906" y="3544"/>
                  </a:lnTo>
                  <a:lnTo>
                    <a:pt x="3903" y="3556"/>
                  </a:lnTo>
                  <a:lnTo>
                    <a:pt x="3885" y="3569"/>
                  </a:lnTo>
                  <a:lnTo>
                    <a:pt x="3856" y="3578"/>
                  </a:lnTo>
                  <a:lnTo>
                    <a:pt x="3835" y="3578"/>
                  </a:lnTo>
                  <a:lnTo>
                    <a:pt x="3828" y="3575"/>
                  </a:lnTo>
                  <a:lnTo>
                    <a:pt x="3822" y="3572"/>
                  </a:lnTo>
                  <a:lnTo>
                    <a:pt x="3813" y="3566"/>
                  </a:lnTo>
                  <a:lnTo>
                    <a:pt x="3810" y="3560"/>
                  </a:lnTo>
                  <a:lnTo>
                    <a:pt x="3803" y="3556"/>
                  </a:lnTo>
                  <a:lnTo>
                    <a:pt x="3803" y="3547"/>
                  </a:lnTo>
                  <a:lnTo>
                    <a:pt x="3803" y="3541"/>
                  </a:lnTo>
                  <a:lnTo>
                    <a:pt x="3803" y="3531"/>
                  </a:lnTo>
                  <a:lnTo>
                    <a:pt x="3806" y="3522"/>
                  </a:lnTo>
                  <a:lnTo>
                    <a:pt x="3803" y="3516"/>
                  </a:lnTo>
                  <a:lnTo>
                    <a:pt x="3797" y="3494"/>
                  </a:lnTo>
                  <a:lnTo>
                    <a:pt x="3781" y="3469"/>
                  </a:lnTo>
                  <a:lnTo>
                    <a:pt x="3766" y="3453"/>
                  </a:lnTo>
                  <a:lnTo>
                    <a:pt x="3750" y="3453"/>
                  </a:lnTo>
                  <a:lnTo>
                    <a:pt x="3728" y="3457"/>
                  </a:lnTo>
                  <a:lnTo>
                    <a:pt x="3703" y="3466"/>
                  </a:lnTo>
                  <a:lnTo>
                    <a:pt x="3682" y="3475"/>
                  </a:lnTo>
                  <a:lnTo>
                    <a:pt x="3663" y="3478"/>
                  </a:lnTo>
                  <a:lnTo>
                    <a:pt x="3647" y="3475"/>
                  </a:lnTo>
                  <a:lnTo>
                    <a:pt x="3628" y="3469"/>
                  </a:lnTo>
                  <a:lnTo>
                    <a:pt x="3613" y="3466"/>
                  </a:lnTo>
                  <a:lnTo>
                    <a:pt x="3591" y="3469"/>
                  </a:lnTo>
                  <a:lnTo>
                    <a:pt x="3566" y="3472"/>
                  </a:lnTo>
                  <a:lnTo>
                    <a:pt x="3541" y="3478"/>
                  </a:lnTo>
                  <a:lnTo>
                    <a:pt x="3522" y="3478"/>
                  </a:lnTo>
                  <a:lnTo>
                    <a:pt x="3504" y="3472"/>
                  </a:lnTo>
                  <a:lnTo>
                    <a:pt x="3479" y="3460"/>
                  </a:lnTo>
                  <a:lnTo>
                    <a:pt x="3460" y="3453"/>
                  </a:lnTo>
                  <a:lnTo>
                    <a:pt x="3441" y="3453"/>
                  </a:lnTo>
                  <a:lnTo>
                    <a:pt x="3416" y="3460"/>
                  </a:lnTo>
                  <a:lnTo>
                    <a:pt x="3397" y="3466"/>
                  </a:lnTo>
                  <a:lnTo>
                    <a:pt x="3388" y="3485"/>
                  </a:lnTo>
                  <a:lnTo>
                    <a:pt x="3379" y="3507"/>
                  </a:lnTo>
                  <a:lnTo>
                    <a:pt x="3366" y="3522"/>
                  </a:lnTo>
                  <a:lnTo>
                    <a:pt x="3347" y="3528"/>
                  </a:lnTo>
                  <a:lnTo>
                    <a:pt x="3319" y="3531"/>
                  </a:lnTo>
                  <a:lnTo>
                    <a:pt x="3291" y="3531"/>
                  </a:lnTo>
                  <a:lnTo>
                    <a:pt x="3269" y="3528"/>
                  </a:lnTo>
                  <a:lnTo>
                    <a:pt x="3251" y="3516"/>
                  </a:lnTo>
                  <a:lnTo>
                    <a:pt x="3235" y="3494"/>
                  </a:lnTo>
                  <a:lnTo>
                    <a:pt x="3216" y="3482"/>
                  </a:lnTo>
                  <a:lnTo>
                    <a:pt x="3194" y="3482"/>
                  </a:lnTo>
                  <a:lnTo>
                    <a:pt x="3166" y="3488"/>
                  </a:lnTo>
                  <a:lnTo>
                    <a:pt x="3141" y="3500"/>
                  </a:lnTo>
                  <a:lnTo>
                    <a:pt x="3123" y="3516"/>
                  </a:lnTo>
                  <a:lnTo>
                    <a:pt x="3123" y="3522"/>
                  </a:lnTo>
                  <a:lnTo>
                    <a:pt x="3123" y="3528"/>
                  </a:lnTo>
                  <a:lnTo>
                    <a:pt x="3123" y="3538"/>
                  </a:lnTo>
                  <a:lnTo>
                    <a:pt x="3123" y="3547"/>
                  </a:lnTo>
                  <a:lnTo>
                    <a:pt x="3123" y="3553"/>
                  </a:lnTo>
                  <a:lnTo>
                    <a:pt x="3129" y="3572"/>
                  </a:lnTo>
                  <a:lnTo>
                    <a:pt x="3135" y="3594"/>
                  </a:lnTo>
                  <a:lnTo>
                    <a:pt x="3138" y="3613"/>
                  </a:lnTo>
                  <a:lnTo>
                    <a:pt x="3135" y="3628"/>
                  </a:lnTo>
                  <a:lnTo>
                    <a:pt x="3123" y="3638"/>
                  </a:lnTo>
                  <a:lnTo>
                    <a:pt x="3104" y="3644"/>
                  </a:lnTo>
                  <a:lnTo>
                    <a:pt x="3082" y="3647"/>
                  </a:lnTo>
                  <a:lnTo>
                    <a:pt x="3060" y="3647"/>
                  </a:lnTo>
                  <a:lnTo>
                    <a:pt x="3044" y="3653"/>
                  </a:lnTo>
                  <a:lnTo>
                    <a:pt x="3026" y="3663"/>
                  </a:lnTo>
                  <a:lnTo>
                    <a:pt x="3007" y="3678"/>
                  </a:lnTo>
                  <a:lnTo>
                    <a:pt x="2985" y="3691"/>
                  </a:lnTo>
                  <a:lnTo>
                    <a:pt x="2966" y="3700"/>
                  </a:lnTo>
                  <a:lnTo>
                    <a:pt x="2945" y="3703"/>
                  </a:lnTo>
                  <a:lnTo>
                    <a:pt x="2916" y="3703"/>
                  </a:lnTo>
                  <a:lnTo>
                    <a:pt x="2888" y="3703"/>
                  </a:lnTo>
                  <a:lnTo>
                    <a:pt x="2867" y="3700"/>
                  </a:lnTo>
                  <a:lnTo>
                    <a:pt x="2848" y="3697"/>
                  </a:lnTo>
                  <a:lnTo>
                    <a:pt x="2823" y="3688"/>
                  </a:lnTo>
                  <a:lnTo>
                    <a:pt x="2801" y="3681"/>
                  </a:lnTo>
                  <a:lnTo>
                    <a:pt x="2782" y="3678"/>
                  </a:lnTo>
                  <a:lnTo>
                    <a:pt x="2773" y="3678"/>
                  </a:lnTo>
                  <a:lnTo>
                    <a:pt x="2763" y="3681"/>
                  </a:lnTo>
                  <a:lnTo>
                    <a:pt x="2751" y="3688"/>
                  </a:lnTo>
                  <a:lnTo>
                    <a:pt x="2742" y="3691"/>
                  </a:lnTo>
                  <a:lnTo>
                    <a:pt x="2732" y="3694"/>
                  </a:lnTo>
                  <a:lnTo>
                    <a:pt x="2713" y="3697"/>
                  </a:lnTo>
                  <a:lnTo>
                    <a:pt x="2692" y="3697"/>
                  </a:lnTo>
                  <a:lnTo>
                    <a:pt x="2673" y="3694"/>
                  </a:lnTo>
                  <a:lnTo>
                    <a:pt x="2667" y="3688"/>
                  </a:lnTo>
                  <a:lnTo>
                    <a:pt x="2660" y="3678"/>
                  </a:lnTo>
                  <a:lnTo>
                    <a:pt x="2657" y="3669"/>
                  </a:lnTo>
                  <a:lnTo>
                    <a:pt x="2651" y="3660"/>
                  </a:lnTo>
                  <a:lnTo>
                    <a:pt x="2648" y="3653"/>
                  </a:lnTo>
                  <a:lnTo>
                    <a:pt x="2632" y="3638"/>
                  </a:lnTo>
                  <a:lnTo>
                    <a:pt x="2610" y="3625"/>
                  </a:lnTo>
                  <a:lnTo>
                    <a:pt x="2592" y="3613"/>
                  </a:lnTo>
                  <a:lnTo>
                    <a:pt x="2585" y="3610"/>
                  </a:lnTo>
                  <a:lnTo>
                    <a:pt x="2579" y="3603"/>
                  </a:lnTo>
                  <a:lnTo>
                    <a:pt x="2570" y="3597"/>
                  </a:lnTo>
                  <a:lnTo>
                    <a:pt x="2564" y="3594"/>
                  </a:lnTo>
                  <a:lnTo>
                    <a:pt x="2554" y="3591"/>
                  </a:lnTo>
                  <a:lnTo>
                    <a:pt x="2548" y="3591"/>
                  </a:lnTo>
                  <a:lnTo>
                    <a:pt x="2539" y="3591"/>
                  </a:lnTo>
                  <a:lnTo>
                    <a:pt x="2529" y="3594"/>
                  </a:lnTo>
                  <a:lnTo>
                    <a:pt x="2520" y="3597"/>
                  </a:lnTo>
                  <a:lnTo>
                    <a:pt x="2511" y="3600"/>
                  </a:lnTo>
                  <a:lnTo>
                    <a:pt x="2507" y="3606"/>
                  </a:lnTo>
                  <a:lnTo>
                    <a:pt x="2504" y="3616"/>
                  </a:lnTo>
                  <a:lnTo>
                    <a:pt x="2507" y="3635"/>
                  </a:lnTo>
                  <a:lnTo>
                    <a:pt x="2511" y="3650"/>
                  </a:lnTo>
                  <a:lnTo>
                    <a:pt x="2517" y="3663"/>
                  </a:lnTo>
                  <a:lnTo>
                    <a:pt x="2532" y="3678"/>
                  </a:lnTo>
                  <a:lnTo>
                    <a:pt x="2551" y="3697"/>
                  </a:lnTo>
                  <a:lnTo>
                    <a:pt x="2570" y="3713"/>
                  </a:lnTo>
                  <a:lnTo>
                    <a:pt x="2582" y="3731"/>
                  </a:lnTo>
                  <a:lnTo>
                    <a:pt x="2598" y="3756"/>
                  </a:lnTo>
                  <a:lnTo>
                    <a:pt x="2610" y="3778"/>
                  </a:lnTo>
                  <a:lnTo>
                    <a:pt x="2626" y="3816"/>
                  </a:lnTo>
                  <a:lnTo>
                    <a:pt x="2642" y="3859"/>
                  </a:lnTo>
                  <a:lnTo>
                    <a:pt x="2657" y="3894"/>
                  </a:lnTo>
                  <a:lnTo>
                    <a:pt x="2664" y="3903"/>
                  </a:lnTo>
                  <a:lnTo>
                    <a:pt x="2670" y="3912"/>
                  </a:lnTo>
                  <a:lnTo>
                    <a:pt x="2676" y="3922"/>
                  </a:lnTo>
                  <a:lnTo>
                    <a:pt x="2682" y="3931"/>
                  </a:lnTo>
                  <a:lnTo>
                    <a:pt x="2689" y="3941"/>
                  </a:lnTo>
                  <a:lnTo>
                    <a:pt x="2692" y="3962"/>
                  </a:lnTo>
                  <a:lnTo>
                    <a:pt x="2692" y="3987"/>
                  </a:lnTo>
                  <a:lnTo>
                    <a:pt x="2695" y="4009"/>
                  </a:lnTo>
                  <a:lnTo>
                    <a:pt x="2701" y="4019"/>
                  </a:lnTo>
                  <a:lnTo>
                    <a:pt x="2707" y="4025"/>
                  </a:lnTo>
                  <a:lnTo>
                    <a:pt x="2720" y="4034"/>
                  </a:lnTo>
                  <a:lnTo>
                    <a:pt x="2729" y="4044"/>
                  </a:lnTo>
                  <a:lnTo>
                    <a:pt x="2738" y="4047"/>
                  </a:lnTo>
                  <a:lnTo>
                    <a:pt x="2754" y="4050"/>
                  </a:lnTo>
                  <a:lnTo>
                    <a:pt x="2773" y="4047"/>
                  </a:lnTo>
                  <a:lnTo>
                    <a:pt x="2795" y="4044"/>
                  </a:lnTo>
                  <a:lnTo>
                    <a:pt x="2810" y="4047"/>
                  </a:lnTo>
                  <a:lnTo>
                    <a:pt x="2823" y="4059"/>
                  </a:lnTo>
                  <a:lnTo>
                    <a:pt x="2835" y="4081"/>
                  </a:lnTo>
                  <a:lnTo>
                    <a:pt x="2845" y="4100"/>
                  </a:lnTo>
                  <a:lnTo>
                    <a:pt x="2851" y="4122"/>
                  </a:lnTo>
                  <a:lnTo>
                    <a:pt x="2854" y="4147"/>
                  </a:lnTo>
                  <a:lnTo>
                    <a:pt x="2851" y="4165"/>
                  </a:lnTo>
                  <a:lnTo>
                    <a:pt x="2848" y="4172"/>
                  </a:lnTo>
                  <a:lnTo>
                    <a:pt x="2842" y="4178"/>
                  </a:lnTo>
                  <a:lnTo>
                    <a:pt x="2832" y="4184"/>
                  </a:lnTo>
                  <a:lnTo>
                    <a:pt x="2823" y="4190"/>
                  </a:lnTo>
                  <a:lnTo>
                    <a:pt x="2817" y="4197"/>
                  </a:lnTo>
                  <a:lnTo>
                    <a:pt x="2813" y="4203"/>
                  </a:lnTo>
                  <a:lnTo>
                    <a:pt x="2817" y="4218"/>
                  </a:lnTo>
                  <a:lnTo>
                    <a:pt x="2823" y="4240"/>
                  </a:lnTo>
                  <a:lnTo>
                    <a:pt x="2832" y="4259"/>
                  </a:lnTo>
                  <a:lnTo>
                    <a:pt x="2835" y="4265"/>
                  </a:lnTo>
                  <a:lnTo>
                    <a:pt x="2838" y="4268"/>
                  </a:lnTo>
                  <a:lnTo>
                    <a:pt x="2842" y="4272"/>
                  </a:lnTo>
                  <a:lnTo>
                    <a:pt x="2851" y="4275"/>
                  </a:lnTo>
                  <a:lnTo>
                    <a:pt x="2857" y="4278"/>
                  </a:lnTo>
                  <a:lnTo>
                    <a:pt x="2867" y="4281"/>
                  </a:lnTo>
                  <a:lnTo>
                    <a:pt x="2873" y="4284"/>
                  </a:lnTo>
                  <a:lnTo>
                    <a:pt x="2876" y="4287"/>
                  </a:lnTo>
                  <a:lnTo>
                    <a:pt x="2885" y="4303"/>
                  </a:lnTo>
                  <a:lnTo>
                    <a:pt x="2891" y="4322"/>
                  </a:lnTo>
                  <a:lnTo>
                    <a:pt x="2898" y="4343"/>
                  </a:lnTo>
                  <a:lnTo>
                    <a:pt x="2904" y="4362"/>
                  </a:lnTo>
                  <a:lnTo>
                    <a:pt x="2913" y="4381"/>
                  </a:lnTo>
                  <a:lnTo>
                    <a:pt x="2929" y="4403"/>
                  </a:lnTo>
                  <a:lnTo>
                    <a:pt x="2938" y="4421"/>
                  </a:lnTo>
                  <a:lnTo>
                    <a:pt x="2941" y="4446"/>
                  </a:lnTo>
                  <a:lnTo>
                    <a:pt x="2938" y="4478"/>
                  </a:lnTo>
                  <a:lnTo>
                    <a:pt x="2935" y="4503"/>
                  </a:lnTo>
                  <a:lnTo>
                    <a:pt x="2935" y="4531"/>
                  </a:lnTo>
                  <a:lnTo>
                    <a:pt x="2932" y="4559"/>
                  </a:lnTo>
                  <a:lnTo>
                    <a:pt x="2938" y="4584"/>
                  </a:lnTo>
                  <a:lnTo>
                    <a:pt x="2951" y="4603"/>
                  </a:lnTo>
                  <a:lnTo>
                    <a:pt x="2970" y="4621"/>
                  </a:lnTo>
                  <a:lnTo>
                    <a:pt x="2982" y="4640"/>
                  </a:lnTo>
                  <a:lnTo>
                    <a:pt x="2985" y="4665"/>
                  </a:lnTo>
                  <a:lnTo>
                    <a:pt x="2985" y="4696"/>
                  </a:lnTo>
                  <a:lnTo>
                    <a:pt x="2982" y="4721"/>
                  </a:lnTo>
                  <a:lnTo>
                    <a:pt x="2966" y="4743"/>
                  </a:lnTo>
                  <a:lnTo>
                    <a:pt x="2945" y="4762"/>
                  </a:lnTo>
                  <a:lnTo>
                    <a:pt x="2929" y="4784"/>
                  </a:lnTo>
                  <a:lnTo>
                    <a:pt x="2926" y="4799"/>
                  </a:lnTo>
                  <a:lnTo>
                    <a:pt x="2926" y="4818"/>
                  </a:lnTo>
                  <a:lnTo>
                    <a:pt x="2929" y="4837"/>
                  </a:lnTo>
                  <a:lnTo>
                    <a:pt x="2941" y="4859"/>
                  </a:lnTo>
                  <a:lnTo>
                    <a:pt x="2957" y="4884"/>
                  </a:lnTo>
                  <a:lnTo>
                    <a:pt x="2970" y="4905"/>
                  </a:lnTo>
                  <a:lnTo>
                    <a:pt x="2973" y="4927"/>
                  </a:lnTo>
                  <a:lnTo>
                    <a:pt x="2976" y="4952"/>
                  </a:lnTo>
                  <a:lnTo>
                    <a:pt x="2970" y="4971"/>
                  </a:lnTo>
                  <a:lnTo>
                    <a:pt x="2960" y="4980"/>
                  </a:lnTo>
                  <a:lnTo>
                    <a:pt x="2941" y="4987"/>
                  </a:lnTo>
                  <a:lnTo>
                    <a:pt x="2926" y="4996"/>
                  </a:lnTo>
                  <a:lnTo>
                    <a:pt x="2916" y="5005"/>
                  </a:lnTo>
                  <a:lnTo>
                    <a:pt x="2913" y="5018"/>
                  </a:lnTo>
                  <a:lnTo>
                    <a:pt x="2913" y="5037"/>
                  </a:lnTo>
                  <a:lnTo>
                    <a:pt x="2920" y="5055"/>
                  </a:lnTo>
                  <a:lnTo>
                    <a:pt x="2926" y="5071"/>
                  </a:lnTo>
                  <a:lnTo>
                    <a:pt x="2932" y="5077"/>
                  </a:lnTo>
                  <a:lnTo>
                    <a:pt x="2938" y="5087"/>
                  </a:lnTo>
                  <a:lnTo>
                    <a:pt x="2948" y="5093"/>
                  </a:lnTo>
                  <a:lnTo>
                    <a:pt x="2957" y="5099"/>
                  </a:lnTo>
                  <a:lnTo>
                    <a:pt x="2963" y="5102"/>
                  </a:lnTo>
                  <a:lnTo>
                    <a:pt x="2970" y="5102"/>
                  </a:lnTo>
                  <a:lnTo>
                    <a:pt x="2979" y="5099"/>
                  </a:lnTo>
                  <a:lnTo>
                    <a:pt x="2988" y="5096"/>
                  </a:lnTo>
                  <a:lnTo>
                    <a:pt x="2998" y="5090"/>
                  </a:lnTo>
                  <a:lnTo>
                    <a:pt x="3004" y="5087"/>
                  </a:lnTo>
                  <a:lnTo>
                    <a:pt x="3013" y="5087"/>
                  </a:lnTo>
                  <a:lnTo>
                    <a:pt x="3020" y="5090"/>
                  </a:lnTo>
                  <a:lnTo>
                    <a:pt x="3029" y="5093"/>
                  </a:lnTo>
                  <a:lnTo>
                    <a:pt x="3038" y="5099"/>
                  </a:lnTo>
                  <a:lnTo>
                    <a:pt x="3048" y="5105"/>
                  </a:lnTo>
                  <a:lnTo>
                    <a:pt x="3054" y="5112"/>
                  </a:lnTo>
                  <a:lnTo>
                    <a:pt x="3063" y="5127"/>
                  </a:lnTo>
                  <a:lnTo>
                    <a:pt x="3069" y="5146"/>
                  </a:lnTo>
                  <a:lnTo>
                    <a:pt x="3073" y="5165"/>
                  </a:lnTo>
                  <a:lnTo>
                    <a:pt x="3057" y="5180"/>
                  </a:lnTo>
                  <a:lnTo>
                    <a:pt x="3035" y="5193"/>
                  </a:lnTo>
                  <a:lnTo>
                    <a:pt x="3016" y="5202"/>
                  </a:lnTo>
                  <a:lnTo>
                    <a:pt x="2995" y="5205"/>
                  </a:lnTo>
                  <a:lnTo>
                    <a:pt x="2973" y="5208"/>
                  </a:lnTo>
                  <a:lnTo>
                    <a:pt x="2954" y="5211"/>
                  </a:lnTo>
                  <a:lnTo>
                    <a:pt x="2948" y="5218"/>
                  </a:lnTo>
                  <a:lnTo>
                    <a:pt x="2938" y="5224"/>
                  </a:lnTo>
                  <a:lnTo>
                    <a:pt x="2932" y="5236"/>
                  </a:lnTo>
                  <a:lnTo>
                    <a:pt x="2923" y="5246"/>
                  </a:lnTo>
                  <a:lnTo>
                    <a:pt x="2916" y="5255"/>
                  </a:lnTo>
                  <a:lnTo>
                    <a:pt x="2907" y="5258"/>
                  </a:lnTo>
                  <a:lnTo>
                    <a:pt x="2885" y="5261"/>
                  </a:lnTo>
                  <a:lnTo>
                    <a:pt x="2857" y="5261"/>
                  </a:lnTo>
                  <a:lnTo>
                    <a:pt x="2832" y="5258"/>
                  </a:lnTo>
                  <a:lnTo>
                    <a:pt x="2807" y="5258"/>
                  </a:lnTo>
                  <a:lnTo>
                    <a:pt x="2792" y="5268"/>
                  </a:lnTo>
                  <a:lnTo>
                    <a:pt x="2770" y="5280"/>
                  </a:lnTo>
                  <a:lnTo>
                    <a:pt x="2754" y="5286"/>
                  </a:lnTo>
                  <a:lnTo>
                    <a:pt x="2732" y="5290"/>
                  </a:lnTo>
                  <a:lnTo>
                    <a:pt x="2704" y="5290"/>
                  </a:lnTo>
                  <a:lnTo>
                    <a:pt x="2685" y="5286"/>
                  </a:lnTo>
                  <a:lnTo>
                    <a:pt x="2676" y="5280"/>
                  </a:lnTo>
                  <a:lnTo>
                    <a:pt x="2670" y="5271"/>
                  </a:lnTo>
                  <a:lnTo>
                    <a:pt x="2664" y="5261"/>
                  </a:lnTo>
                  <a:lnTo>
                    <a:pt x="2657" y="5252"/>
                  </a:lnTo>
                  <a:lnTo>
                    <a:pt x="2651" y="5249"/>
                  </a:lnTo>
                  <a:lnTo>
                    <a:pt x="2635" y="5246"/>
                  </a:lnTo>
                  <a:lnTo>
                    <a:pt x="2614" y="5249"/>
                  </a:lnTo>
                  <a:lnTo>
                    <a:pt x="2598" y="5249"/>
                  </a:lnTo>
                  <a:lnTo>
                    <a:pt x="2579" y="5246"/>
                  </a:lnTo>
                  <a:lnTo>
                    <a:pt x="2557" y="5240"/>
                  </a:lnTo>
                  <a:lnTo>
                    <a:pt x="2539" y="5233"/>
                  </a:lnTo>
                  <a:lnTo>
                    <a:pt x="2520" y="5233"/>
                  </a:lnTo>
                  <a:lnTo>
                    <a:pt x="2501" y="5233"/>
                  </a:lnTo>
                  <a:lnTo>
                    <a:pt x="2486" y="5236"/>
                  </a:lnTo>
                  <a:lnTo>
                    <a:pt x="2479" y="5240"/>
                  </a:lnTo>
                  <a:lnTo>
                    <a:pt x="2470" y="5246"/>
                  </a:lnTo>
                  <a:lnTo>
                    <a:pt x="2464" y="5252"/>
                  </a:lnTo>
                  <a:lnTo>
                    <a:pt x="2457" y="5255"/>
                  </a:lnTo>
                  <a:lnTo>
                    <a:pt x="2451" y="5258"/>
                  </a:lnTo>
                  <a:lnTo>
                    <a:pt x="2445" y="5261"/>
                  </a:lnTo>
                  <a:lnTo>
                    <a:pt x="2439" y="5265"/>
                  </a:lnTo>
                  <a:lnTo>
                    <a:pt x="2432" y="5268"/>
                  </a:lnTo>
                  <a:lnTo>
                    <a:pt x="2426" y="5268"/>
                  </a:lnTo>
                  <a:lnTo>
                    <a:pt x="2411" y="5255"/>
                  </a:lnTo>
                  <a:lnTo>
                    <a:pt x="2392" y="5230"/>
                  </a:lnTo>
                  <a:lnTo>
                    <a:pt x="2379" y="5215"/>
                  </a:lnTo>
                  <a:lnTo>
                    <a:pt x="2364" y="5199"/>
                  </a:lnTo>
                  <a:lnTo>
                    <a:pt x="2342" y="5186"/>
                  </a:lnTo>
                  <a:lnTo>
                    <a:pt x="2323" y="5177"/>
                  </a:lnTo>
                  <a:lnTo>
                    <a:pt x="2295" y="5174"/>
                  </a:lnTo>
                  <a:lnTo>
                    <a:pt x="2261" y="5177"/>
                  </a:lnTo>
                  <a:lnTo>
                    <a:pt x="2233" y="5183"/>
                  </a:lnTo>
                  <a:lnTo>
                    <a:pt x="2214" y="5196"/>
                  </a:lnTo>
                  <a:lnTo>
                    <a:pt x="2192" y="5211"/>
                  </a:lnTo>
                  <a:lnTo>
                    <a:pt x="2176" y="5227"/>
                  </a:lnTo>
                  <a:lnTo>
                    <a:pt x="2170" y="5233"/>
                  </a:lnTo>
                  <a:lnTo>
                    <a:pt x="2161" y="5246"/>
                  </a:lnTo>
                  <a:lnTo>
                    <a:pt x="2155" y="5258"/>
                  </a:lnTo>
                  <a:lnTo>
                    <a:pt x="2151" y="5246"/>
                  </a:lnTo>
                  <a:lnTo>
                    <a:pt x="2145" y="5233"/>
                  </a:lnTo>
                  <a:lnTo>
                    <a:pt x="2139" y="5230"/>
                  </a:lnTo>
                  <a:lnTo>
                    <a:pt x="2133" y="5227"/>
                  </a:lnTo>
                  <a:lnTo>
                    <a:pt x="2123" y="5221"/>
                  </a:lnTo>
                  <a:lnTo>
                    <a:pt x="2114" y="5221"/>
                  </a:lnTo>
                  <a:lnTo>
                    <a:pt x="2105" y="5218"/>
                  </a:lnTo>
                  <a:lnTo>
                    <a:pt x="2086" y="5215"/>
                  </a:lnTo>
                  <a:lnTo>
                    <a:pt x="2058" y="5211"/>
                  </a:lnTo>
                  <a:lnTo>
                    <a:pt x="2036" y="5211"/>
                  </a:lnTo>
                  <a:lnTo>
                    <a:pt x="2026" y="5215"/>
                  </a:lnTo>
                  <a:lnTo>
                    <a:pt x="2017" y="5218"/>
                  </a:lnTo>
                  <a:lnTo>
                    <a:pt x="2005" y="5224"/>
                  </a:lnTo>
                  <a:lnTo>
                    <a:pt x="1995" y="5230"/>
                  </a:lnTo>
                  <a:lnTo>
                    <a:pt x="1986" y="5240"/>
                  </a:lnTo>
                  <a:lnTo>
                    <a:pt x="1986" y="5246"/>
                  </a:lnTo>
                  <a:lnTo>
                    <a:pt x="1983" y="5252"/>
                  </a:lnTo>
                  <a:lnTo>
                    <a:pt x="1983" y="5261"/>
                  </a:lnTo>
                  <a:lnTo>
                    <a:pt x="1983" y="5271"/>
                  </a:lnTo>
                  <a:lnTo>
                    <a:pt x="1980" y="5280"/>
                  </a:lnTo>
                  <a:lnTo>
                    <a:pt x="1977" y="5283"/>
                  </a:lnTo>
                  <a:lnTo>
                    <a:pt x="1970" y="5290"/>
                  </a:lnTo>
                  <a:lnTo>
                    <a:pt x="1961" y="5293"/>
                  </a:lnTo>
                  <a:lnTo>
                    <a:pt x="1952" y="5296"/>
                  </a:lnTo>
                  <a:lnTo>
                    <a:pt x="1939" y="5296"/>
                  </a:lnTo>
                  <a:lnTo>
                    <a:pt x="1933" y="5293"/>
                  </a:lnTo>
                  <a:lnTo>
                    <a:pt x="1923" y="5293"/>
                  </a:lnTo>
                  <a:lnTo>
                    <a:pt x="1917" y="5286"/>
                  </a:lnTo>
                  <a:lnTo>
                    <a:pt x="1908" y="5280"/>
                  </a:lnTo>
                  <a:lnTo>
                    <a:pt x="1902" y="5274"/>
                  </a:lnTo>
                  <a:lnTo>
                    <a:pt x="1898" y="5268"/>
                  </a:lnTo>
                  <a:lnTo>
                    <a:pt x="1895" y="5261"/>
                  </a:lnTo>
                  <a:lnTo>
                    <a:pt x="1895" y="5252"/>
                  </a:lnTo>
                  <a:lnTo>
                    <a:pt x="1892" y="5246"/>
                  </a:lnTo>
                  <a:lnTo>
                    <a:pt x="1892" y="5236"/>
                  </a:lnTo>
                  <a:lnTo>
                    <a:pt x="1892" y="5230"/>
                  </a:lnTo>
                  <a:lnTo>
                    <a:pt x="1889" y="5224"/>
                  </a:lnTo>
                  <a:lnTo>
                    <a:pt x="1873" y="5215"/>
                  </a:lnTo>
                  <a:lnTo>
                    <a:pt x="1855" y="5208"/>
                  </a:lnTo>
                  <a:lnTo>
                    <a:pt x="1833" y="5205"/>
                  </a:lnTo>
                  <a:lnTo>
                    <a:pt x="1817" y="5196"/>
                  </a:lnTo>
                  <a:lnTo>
                    <a:pt x="1811" y="5190"/>
                  </a:lnTo>
                  <a:lnTo>
                    <a:pt x="1808" y="5180"/>
                  </a:lnTo>
                  <a:lnTo>
                    <a:pt x="1805" y="5171"/>
                  </a:lnTo>
                  <a:lnTo>
                    <a:pt x="1799" y="5165"/>
                  </a:lnTo>
                  <a:lnTo>
                    <a:pt x="1783" y="5152"/>
                  </a:lnTo>
                  <a:lnTo>
                    <a:pt x="1758" y="5140"/>
                  </a:lnTo>
                  <a:lnTo>
                    <a:pt x="1739" y="5137"/>
                  </a:lnTo>
                  <a:lnTo>
                    <a:pt x="1733" y="5137"/>
                  </a:lnTo>
                  <a:lnTo>
                    <a:pt x="1724" y="5140"/>
                  </a:lnTo>
                  <a:lnTo>
                    <a:pt x="1717" y="5146"/>
                  </a:lnTo>
                  <a:lnTo>
                    <a:pt x="1711" y="5149"/>
                  </a:lnTo>
                  <a:lnTo>
                    <a:pt x="1705" y="5152"/>
                  </a:lnTo>
                  <a:lnTo>
                    <a:pt x="1683" y="5155"/>
                  </a:lnTo>
                  <a:lnTo>
                    <a:pt x="1658" y="5158"/>
                  </a:lnTo>
                  <a:lnTo>
                    <a:pt x="1639" y="5155"/>
                  </a:lnTo>
                  <a:lnTo>
                    <a:pt x="1633" y="5152"/>
                  </a:lnTo>
                  <a:lnTo>
                    <a:pt x="1624" y="5146"/>
                  </a:lnTo>
                  <a:lnTo>
                    <a:pt x="1614" y="5140"/>
                  </a:lnTo>
                  <a:lnTo>
                    <a:pt x="1608" y="5133"/>
                  </a:lnTo>
                  <a:lnTo>
                    <a:pt x="1605" y="5124"/>
                  </a:lnTo>
                  <a:lnTo>
                    <a:pt x="1602" y="5121"/>
                  </a:lnTo>
                  <a:lnTo>
                    <a:pt x="1602" y="5112"/>
                  </a:lnTo>
                  <a:lnTo>
                    <a:pt x="1602" y="5102"/>
                  </a:lnTo>
                  <a:lnTo>
                    <a:pt x="1605" y="5096"/>
                  </a:lnTo>
                  <a:lnTo>
                    <a:pt x="1605" y="5090"/>
                  </a:lnTo>
                  <a:lnTo>
                    <a:pt x="1605" y="5083"/>
                  </a:lnTo>
                  <a:lnTo>
                    <a:pt x="1602" y="5080"/>
                  </a:lnTo>
                  <a:lnTo>
                    <a:pt x="1599" y="5077"/>
                  </a:lnTo>
                  <a:lnTo>
                    <a:pt x="1596" y="5068"/>
                  </a:lnTo>
                  <a:lnTo>
                    <a:pt x="1589" y="5062"/>
                  </a:lnTo>
                  <a:lnTo>
                    <a:pt x="1583" y="5052"/>
                  </a:lnTo>
                  <a:lnTo>
                    <a:pt x="1580" y="5046"/>
                  </a:lnTo>
                  <a:lnTo>
                    <a:pt x="1577" y="5040"/>
                  </a:lnTo>
                  <a:lnTo>
                    <a:pt x="1571" y="5018"/>
                  </a:lnTo>
                  <a:lnTo>
                    <a:pt x="1567" y="4993"/>
                  </a:lnTo>
                  <a:lnTo>
                    <a:pt x="1561" y="4974"/>
                  </a:lnTo>
                  <a:lnTo>
                    <a:pt x="1555" y="4968"/>
                  </a:lnTo>
                  <a:lnTo>
                    <a:pt x="1546" y="4959"/>
                  </a:lnTo>
                  <a:lnTo>
                    <a:pt x="1533" y="4952"/>
                  </a:lnTo>
                  <a:lnTo>
                    <a:pt x="1524" y="4943"/>
                  </a:lnTo>
                  <a:lnTo>
                    <a:pt x="1514" y="4940"/>
                  </a:lnTo>
                  <a:lnTo>
                    <a:pt x="1496" y="4937"/>
                  </a:lnTo>
                  <a:lnTo>
                    <a:pt x="1474" y="4940"/>
                  </a:lnTo>
                  <a:lnTo>
                    <a:pt x="1455" y="4940"/>
                  </a:lnTo>
                  <a:lnTo>
                    <a:pt x="1443" y="4940"/>
                  </a:lnTo>
                  <a:lnTo>
                    <a:pt x="1430" y="4940"/>
                  </a:lnTo>
                  <a:lnTo>
                    <a:pt x="1418" y="4940"/>
                  </a:lnTo>
                  <a:lnTo>
                    <a:pt x="1405" y="4940"/>
                  </a:lnTo>
                  <a:lnTo>
                    <a:pt x="1386" y="4937"/>
                  </a:lnTo>
                  <a:lnTo>
                    <a:pt x="1361" y="4937"/>
                  </a:lnTo>
                  <a:lnTo>
                    <a:pt x="1336" y="4930"/>
                  </a:lnTo>
                  <a:lnTo>
                    <a:pt x="1321" y="4924"/>
                  </a:lnTo>
                  <a:lnTo>
                    <a:pt x="1318" y="4918"/>
                  </a:lnTo>
                  <a:lnTo>
                    <a:pt x="1315" y="4912"/>
                  </a:lnTo>
                  <a:lnTo>
                    <a:pt x="1315" y="4905"/>
                  </a:lnTo>
                  <a:lnTo>
                    <a:pt x="1315" y="4899"/>
                  </a:lnTo>
                  <a:lnTo>
                    <a:pt x="1311" y="4890"/>
                  </a:lnTo>
                  <a:lnTo>
                    <a:pt x="1308" y="4887"/>
                  </a:lnTo>
                  <a:lnTo>
                    <a:pt x="1290" y="4874"/>
                  </a:lnTo>
                  <a:lnTo>
                    <a:pt x="1261" y="4868"/>
                  </a:lnTo>
                  <a:lnTo>
                    <a:pt x="1233" y="4859"/>
                  </a:lnTo>
                  <a:lnTo>
                    <a:pt x="1211" y="4849"/>
                  </a:lnTo>
                  <a:lnTo>
                    <a:pt x="1205" y="4840"/>
                  </a:lnTo>
                  <a:lnTo>
                    <a:pt x="1199" y="4830"/>
                  </a:lnTo>
                  <a:lnTo>
                    <a:pt x="1196" y="4818"/>
                  </a:lnTo>
                  <a:lnTo>
                    <a:pt x="1190" y="4809"/>
                  </a:lnTo>
                  <a:lnTo>
                    <a:pt x="1186" y="4802"/>
                  </a:lnTo>
                  <a:lnTo>
                    <a:pt x="1177" y="4793"/>
                  </a:lnTo>
                  <a:lnTo>
                    <a:pt x="1168" y="4787"/>
                  </a:lnTo>
                  <a:lnTo>
                    <a:pt x="1158" y="4781"/>
                  </a:lnTo>
                  <a:lnTo>
                    <a:pt x="1146" y="4774"/>
                  </a:lnTo>
                  <a:lnTo>
                    <a:pt x="1140" y="4771"/>
                  </a:lnTo>
                  <a:lnTo>
                    <a:pt x="1130" y="4771"/>
                  </a:lnTo>
                  <a:lnTo>
                    <a:pt x="1121" y="4771"/>
                  </a:lnTo>
                  <a:lnTo>
                    <a:pt x="1112" y="4771"/>
                  </a:lnTo>
                  <a:lnTo>
                    <a:pt x="1102" y="4774"/>
                  </a:lnTo>
                  <a:lnTo>
                    <a:pt x="1096" y="4771"/>
                  </a:lnTo>
                  <a:lnTo>
                    <a:pt x="1090" y="4765"/>
                  </a:lnTo>
                  <a:lnTo>
                    <a:pt x="1080" y="4759"/>
                  </a:lnTo>
                  <a:lnTo>
                    <a:pt x="1074" y="4749"/>
                  </a:lnTo>
                  <a:lnTo>
                    <a:pt x="1068" y="4740"/>
                  </a:lnTo>
                  <a:lnTo>
                    <a:pt x="1062" y="4731"/>
                  </a:lnTo>
                  <a:lnTo>
                    <a:pt x="1052" y="4709"/>
                  </a:lnTo>
                  <a:lnTo>
                    <a:pt x="1040" y="4684"/>
                  </a:lnTo>
                  <a:lnTo>
                    <a:pt x="1033" y="4662"/>
                  </a:lnTo>
                  <a:lnTo>
                    <a:pt x="1024" y="4637"/>
                  </a:lnTo>
                  <a:lnTo>
                    <a:pt x="1015" y="4606"/>
                  </a:lnTo>
                  <a:lnTo>
                    <a:pt x="1008" y="4578"/>
                  </a:lnTo>
                  <a:lnTo>
                    <a:pt x="1012" y="4556"/>
                  </a:lnTo>
                  <a:lnTo>
                    <a:pt x="1018" y="4531"/>
                  </a:lnTo>
                  <a:lnTo>
                    <a:pt x="1021" y="4509"/>
                  </a:lnTo>
                  <a:lnTo>
                    <a:pt x="1015" y="4481"/>
                  </a:lnTo>
                  <a:lnTo>
                    <a:pt x="1005" y="4453"/>
                  </a:lnTo>
                  <a:lnTo>
                    <a:pt x="993" y="4428"/>
                  </a:lnTo>
                  <a:lnTo>
                    <a:pt x="974" y="4415"/>
                  </a:lnTo>
                  <a:lnTo>
                    <a:pt x="952" y="4400"/>
                  </a:lnTo>
                  <a:lnTo>
                    <a:pt x="934" y="4387"/>
                  </a:lnTo>
                  <a:lnTo>
                    <a:pt x="918" y="4359"/>
                  </a:lnTo>
                  <a:lnTo>
                    <a:pt x="902" y="4325"/>
                  </a:lnTo>
                  <a:lnTo>
                    <a:pt x="884" y="4293"/>
                  </a:lnTo>
                  <a:lnTo>
                    <a:pt x="877" y="4287"/>
                  </a:lnTo>
                  <a:lnTo>
                    <a:pt x="868" y="4275"/>
                  </a:lnTo>
                  <a:lnTo>
                    <a:pt x="855" y="4265"/>
                  </a:lnTo>
                  <a:lnTo>
                    <a:pt x="843" y="4256"/>
                  </a:lnTo>
                  <a:lnTo>
                    <a:pt x="837" y="4247"/>
                  </a:lnTo>
                  <a:lnTo>
                    <a:pt x="821" y="4231"/>
                  </a:lnTo>
                  <a:lnTo>
                    <a:pt x="806" y="4212"/>
                  </a:lnTo>
                  <a:lnTo>
                    <a:pt x="793" y="4193"/>
                  </a:lnTo>
                  <a:lnTo>
                    <a:pt x="787" y="4172"/>
                  </a:lnTo>
                  <a:lnTo>
                    <a:pt x="781" y="4144"/>
                  </a:lnTo>
                  <a:lnTo>
                    <a:pt x="774" y="4122"/>
                  </a:lnTo>
                  <a:lnTo>
                    <a:pt x="768" y="4112"/>
                  </a:lnTo>
                  <a:lnTo>
                    <a:pt x="759" y="4103"/>
                  </a:lnTo>
                  <a:lnTo>
                    <a:pt x="749" y="4094"/>
                  </a:lnTo>
                  <a:lnTo>
                    <a:pt x="737" y="4087"/>
                  </a:lnTo>
                  <a:lnTo>
                    <a:pt x="731" y="4081"/>
                  </a:lnTo>
                  <a:lnTo>
                    <a:pt x="712" y="4072"/>
                  </a:lnTo>
                  <a:lnTo>
                    <a:pt x="690" y="4065"/>
                  </a:lnTo>
                  <a:lnTo>
                    <a:pt x="674" y="4059"/>
                  </a:lnTo>
                  <a:lnTo>
                    <a:pt x="665" y="4053"/>
                  </a:lnTo>
                  <a:lnTo>
                    <a:pt x="656" y="4044"/>
                  </a:lnTo>
                  <a:lnTo>
                    <a:pt x="646" y="4034"/>
                  </a:lnTo>
                  <a:lnTo>
                    <a:pt x="637" y="4025"/>
                  </a:lnTo>
                  <a:lnTo>
                    <a:pt x="631" y="4015"/>
                  </a:lnTo>
                  <a:lnTo>
                    <a:pt x="612" y="3994"/>
                  </a:lnTo>
                  <a:lnTo>
                    <a:pt x="593" y="3972"/>
                  </a:lnTo>
                  <a:lnTo>
                    <a:pt x="578" y="3947"/>
                  </a:lnTo>
                  <a:lnTo>
                    <a:pt x="571" y="3925"/>
                  </a:lnTo>
                  <a:lnTo>
                    <a:pt x="568" y="3897"/>
                  </a:lnTo>
                  <a:lnTo>
                    <a:pt x="568" y="3872"/>
                  </a:lnTo>
                  <a:lnTo>
                    <a:pt x="574" y="3853"/>
                  </a:lnTo>
                  <a:lnTo>
                    <a:pt x="584" y="3834"/>
                  </a:lnTo>
                  <a:lnTo>
                    <a:pt x="593" y="3816"/>
                  </a:lnTo>
                  <a:lnTo>
                    <a:pt x="596" y="3791"/>
                  </a:lnTo>
                  <a:lnTo>
                    <a:pt x="603" y="3759"/>
                  </a:lnTo>
                  <a:lnTo>
                    <a:pt x="612" y="3734"/>
                  </a:lnTo>
                  <a:lnTo>
                    <a:pt x="618" y="3728"/>
                  </a:lnTo>
                  <a:lnTo>
                    <a:pt x="628" y="3719"/>
                  </a:lnTo>
                  <a:lnTo>
                    <a:pt x="637" y="3713"/>
                  </a:lnTo>
                  <a:lnTo>
                    <a:pt x="649" y="3706"/>
                  </a:lnTo>
                  <a:lnTo>
                    <a:pt x="659" y="3700"/>
                  </a:lnTo>
                  <a:lnTo>
                    <a:pt x="674" y="3694"/>
                  </a:lnTo>
                  <a:lnTo>
                    <a:pt x="696" y="3688"/>
                  </a:lnTo>
                  <a:lnTo>
                    <a:pt x="715" y="3675"/>
                  </a:lnTo>
                  <a:lnTo>
                    <a:pt x="718" y="3669"/>
                  </a:lnTo>
                  <a:lnTo>
                    <a:pt x="721" y="3660"/>
                  </a:lnTo>
                  <a:lnTo>
                    <a:pt x="724" y="3650"/>
                  </a:lnTo>
                  <a:lnTo>
                    <a:pt x="727" y="3638"/>
                  </a:lnTo>
                  <a:lnTo>
                    <a:pt x="731" y="3628"/>
                  </a:lnTo>
                  <a:lnTo>
                    <a:pt x="731" y="3613"/>
                  </a:lnTo>
                  <a:lnTo>
                    <a:pt x="727" y="3591"/>
                  </a:lnTo>
                  <a:lnTo>
                    <a:pt x="731" y="3572"/>
                  </a:lnTo>
                  <a:lnTo>
                    <a:pt x="737" y="3566"/>
                  </a:lnTo>
                  <a:lnTo>
                    <a:pt x="746" y="3556"/>
                  </a:lnTo>
                  <a:lnTo>
                    <a:pt x="756" y="3550"/>
                  </a:lnTo>
                  <a:lnTo>
                    <a:pt x="765" y="3541"/>
                  </a:lnTo>
                  <a:lnTo>
                    <a:pt x="771" y="3535"/>
                  </a:lnTo>
                  <a:lnTo>
                    <a:pt x="777" y="3528"/>
                  </a:lnTo>
                  <a:lnTo>
                    <a:pt x="784" y="3522"/>
                  </a:lnTo>
                  <a:lnTo>
                    <a:pt x="790" y="3513"/>
                  </a:lnTo>
                  <a:lnTo>
                    <a:pt x="796" y="3503"/>
                  </a:lnTo>
                  <a:lnTo>
                    <a:pt x="799" y="3497"/>
                  </a:lnTo>
                  <a:lnTo>
                    <a:pt x="806" y="3488"/>
                  </a:lnTo>
                  <a:lnTo>
                    <a:pt x="806" y="3475"/>
                  </a:lnTo>
                  <a:lnTo>
                    <a:pt x="809" y="3463"/>
                  </a:lnTo>
                  <a:lnTo>
                    <a:pt x="809" y="3450"/>
                  </a:lnTo>
                  <a:lnTo>
                    <a:pt x="812" y="3432"/>
                  </a:lnTo>
                  <a:lnTo>
                    <a:pt x="812" y="3410"/>
                  </a:lnTo>
                  <a:lnTo>
                    <a:pt x="809" y="3391"/>
                  </a:lnTo>
                  <a:lnTo>
                    <a:pt x="796" y="3372"/>
                  </a:lnTo>
                  <a:lnTo>
                    <a:pt x="781" y="3350"/>
                  </a:lnTo>
                  <a:lnTo>
                    <a:pt x="759" y="3332"/>
                  </a:lnTo>
                  <a:lnTo>
                    <a:pt x="743" y="3316"/>
                  </a:lnTo>
                  <a:lnTo>
                    <a:pt x="721" y="3297"/>
                  </a:lnTo>
                  <a:lnTo>
                    <a:pt x="696" y="3279"/>
                  </a:lnTo>
                  <a:lnTo>
                    <a:pt x="668" y="3260"/>
                  </a:lnTo>
                  <a:lnTo>
                    <a:pt x="643" y="3250"/>
                  </a:lnTo>
                  <a:lnTo>
                    <a:pt x="624" y="3254"/>
                  </a:lnTo>
                  <a:lnTo>
                    <a:pt x="603" y="3263"/>
                  </a:lnTo>
                  <a:lnTo>
                    <a:pt x="587" y="3266"/>
                  </a:lnTo>
                  <a:lnTo>
                    <a:pt x="562" y="3266"/>
                  </a:lnTo>
                  <a:lnTo>
                    <a:pt x="534" y="3263"/>
                  </a:lnTo>
                  <a:lnTo>
                    <a:pt x="509" y="3260"/>
                  </a:lnTo>
                  <a:lnTo>
                    <a:pt x="487" y="3250"/>
                  </a:lnTo>
                  <a:lnTo>
                    <a:pt x="471" y="3238"/>
                  </a:lnTo>
                  <a:lnTo>
                    <a:pt x="459" y="3219"/>
                  </a:lnTo>
                  <a:lnTo>
                    <a:pt x="453" y="3201"/>
                  </a:lnTo>
                  <a:lnTo>
                    <a:pt x="453" y="3191"/>
                  </a:lnTo>
                  <a:lnTo>
                    <a:pt x="456" y="3182"/>
                  </a:lnTo>
                  <a:lnTo>
                    <a:pt x="456" y="3169"/>
                  </a:lnTo>
                  <a:lnTo>
                    <a:pt x="462" y="3160"/>
                  </a:lnTo>
                  <a:lnTo>
                    <a:pt x="465" y="3154"/>
                  </a:lnTo>
                  <a:lnTo>
                    <a:pt x="481" y="3147"/>
                  </a:lnTo>
                  <a:lnTo>
                    <a:pt x="499" y="3147"/>
                  </a:lnTo>
                  <a:lnTo>
                    <a:pt x="518" y="3151"/>
                  </a:lnTo>
                  <a:lnTo>
                    <a:pt x="540" y="3147"/>
                  </a:lnTo>
                  <a:lnTo>
                    <a:pt x="553" y="3144"/>
                  </a:lnTo>
                  <a:lnTo>
                    <a:pt x="565" y="3126"/>
                  </a:lnTo>
                  <a:lnTo>
                    <a:pt x="571" y="3104"/>
                  </a:lnTo>
                  <a:lnTo>
                    <a:pt x="574" y="3082"/>
                  </a:lnTo>
                  <a:lnTo>
                    <a:pt x="578" y="3060"/>
                  </a:lnTo>
                  <a:lnTo>
                    <a:pt x="578" y="3032"/>
                  </a:lnTo>
                  <a:lnTo>
                    <a:pt x="574" y="3007"/>
                  </a:lnTo>
                  <a:lnTo>
                    <a:pt x="571" y="2988"/>
                  </a:lnTo>
                  <a:lnTo>
                    <a:pt x="562" y="2966"/>
                  </a:lnTo>
                  <a:lnTo>
                    <a:pt x="556" y="2941"/>
                  </a:lnTo>
                  <a:lnTo>
                    <a:pt x="556" y="2923"/>
                  </a:lnTo>
                  <a:lnTo>
                    <a:pt x="562" y="2916"/>
                  </a:lnTo>
                  <a:lnTo>
                    <a:pt x="568" y="2907"/>
                  </a:lnTo>
                  <a:lnTo>
                    <a:pt x="581" y="2901"/>
                  </a:lnTo>
                  <a:lnTo>
                    <a:pt x="590" y="2894"/>
                  </a:lnTo>
                  <a:lnTo>
                    <a:pt x="599" y="2891"/>
                  </a:lnTo>
                  <a:lnTo>
                    <a:pt x="631" y="2879"/>
                  </a:lnTo>
                  <a:lnTo>
                    <a:pt x="668" y="2870"/>
                  </a:lnTo>
                  <a:lnTo>
                    <a:pt x="709" y="2863"/>
                  </a:lnTo>
                  <a:lnTo>
                    <a:pt x="743" y="2860"/>
                  </a:lnTo>
                  <a:lnTo>
                    <a:pt x="771" y="2860"/>
                  </a:lnTo>
                  <a:lnTo>
                    <a:pt x="809" y="2866"/>
                  </a:lnTo>
                  <a:lnTo>
                    <a:pt x="846" y="2873"/>
                  </a:lnTo>
                  <a:lnTo>
                    <a:pt x="871" y="2885"/>
                  </a:lnTo>
                  <a:lnTo>
                    <a:pt x="880" y="2898"/>
                  </a:lnTo>
                  <a:lnTo>
                    <a:pt x="887" y="2913"/>
                  </a:lnTo>
                  <a:lnTo>
                    <a:pt x="893" y="2929"/>
                  </a:lnTo>
                  <a:lnTo>
                    <a:pt x="899" y="2938"/>
                  </a:lnTo>
                  <a:lnTo>
                    <a:pt x="912" y="2941"/>
                  </a:lnTo>
                  <a:lnTo>
                    <a:pt x="930" y="2941"/>
                  </a:lnTo>
                  <a:lnTo>
                    <a:pt x="946" y="2938"/>
                  </a:lnTo>
                  <a:lnTo>
                    <a:pt x="959" y="2938"/>
                  </a:lnTo>
                  <a:lnTo>
                    <a:pt x="984" y="2951"/>
                  </a:lnTo>
                  <a:lnTo>
                    <a:pt x="1012" y="2969"/>
                  </a:lnTo>
                  <a:lnTo>
                    <a:pt x="1040" y="2988"/>
                  </a:lnTo>
                  <a:lnTo>
                    <a:pt x="1062" y="3007"/>
                  </a:lnTo>
                  <a:lnTo>
                    <a:pt x="1077" y="3023"/>
                  </a:lnTo>
                  <a:lnTo>
                    <a:pt x="1093" y="3044"/>
                  </a:lnTo>
                  <a:lnTo>
                    <a:pt x="1112" y="3060"/>
                  </a:lnTo>
                  <a:lnTo>
                    <a:pt x="1137" y="3072"/>
                  </a:lnTo>
                  <a:lnTo>
                    <a:pt x="1171" y="3085"/>
                  </a:lnTo>
                  <a:lnTo>
                    <a:pt x="1205" y="3094"/>
                  </a:lnTo>
                  <a:lnTo>
                    <a:pt x="1233" y="3097"/>
                  </a:lnTo>
                  <a:lnTo>
                    <a:pt x="1240" y="3097"/>
                  </a:lnTo>
                  <a:lnTo>
                    <a:pt x="1249" y="3097"/>
                  </a:lnTo>
                  <a:lnTo>
                    <a:pt x="1255" y="3094"/>
                  </a:lnTo>
                  <a:lnTo>
                    <a:pt x="1265" y="3091"/>
                  </a:lnTo>
                  <a:lnTo>
                    <a:pt x="1271" y="3088"/>
                  </a:lnTo>
                  <a:lnTo>
                    <a:pt x="1274" y="3082"/>
                  </a:lnTo>
                  <a:lnTo>
                    <a:pt x="1274" y="3076"/>
                  </a:lnTo>
                  <a:lnTo>
                    <a:pt x="1271" y="3066"/>
                  </a:lnTo>
                  <a:lnTo>
                    <a:pt x="1265" y="3060"/>
                  </a:lnTo>
                  <a:lnTo>
                    <a:pt x="1258" y="3051"/>
                  </a:lnTo>
                  <a:lnTo>
                    <a:pt x="1249" y="3044"/>
                  </a:lnTo>
                  <a:lnTo>
                    <a:pt x="1243" y="3038"/>
                  </a:lnTo>
                  <a:lnTo>
                    <a:pt x="1236" y="3035"/>
                  </a:lnTo>
                  <a:lnTo>
                    <a:pt x="1224" y="3032"/>
                  </a:lnTo>
                  <a:lnTo>
                    <a:pt x="1208" y="3032"/>
                  </a:lnTo>
                  <a:lnTo>
                    <a:pt x="1193" y="3035"/>
                  </a:lnTo>
                  <a:lnTo>
                    <a:pt x="1180" y="3032"/>
                  </a:lnTo>
                  <a:lnTo>
                    <a:pt x="1177" y="3026"/>
                  </a:lnTo>
                  <a:lnTo>
                    <a:pt x="1174" y="3019"/>
                  </a:lnTo>
                  <a:lnTo>
                    <a:pt x="1171" y="3010"/>
                  </a:lnTo>
                  <a:lnTo>
                    <a:pt x="1168" y="3001"/>
                  </a:lnTo>
                  <a:lnTo>
                    <a:pt x="1165" y="2994"/>
                  </a:lnTo>
                  <a:lnTo>
                    <a:pt x="1162" y="2988"/>
                  </a:lnTo>
                  <a:lnTo>
                    <a:pt x="1143" y="2969"/>
                  </a:lnTo>
                  <a:lnTo>
                    <a:pt x="1121" y="2954"/>
                  </a:lnTo>
                  <a:lnTo>
                    <a:pt x="1102" y="2938"/>
                  </a:lnTo>
                  <a:lnTo>
                    <a:pt x="1096" y="2929"/>
                  </a:lnTo>
                  <a:lnTo>
                    <a:pt x="1087" y="2919"/>
                  </a:lnTo>
                  <a:lnTo>
                    <a:pt x="1077" y="2913"/>
                  </a:lnTo>
                  <a:lnTo>
                    <a:pt x="1068" y="2904"/>
                  </a:lnTo>
                  <a:lnTo>
                    <a:pt x="1058" y="2894"/>
                  </a:lnTo>
                  <a:lnTo>
                    <a:pt x="1052" y="2888"/>
                  </a:lnTo>
                  <a:lnTo>
                    <a:pt x="1043" y="2882"/>
                  </a:lnTo>
                  <a:lnTo>
                    <a:pt x="1030" y="2873"/>
                  </a:lnTo>
                  <a:lnTo>
                    <a:pt x="1021" y="2863"/>
                  </a:lnTo>
                  <a:lnTo>
                    <a:pt x="1012" y="2860"/>
                  </a:lnTo>
                  <a:lnTo>
                    <a:pt x="993" y="2860"/>
                  </a:lnTo>
                  <a:lnTo>
                    <a:pt x="968" y="2860"/>
                  </a:lnTo>
                  <a:lnTo>
                    <a:pt x="949" y="2860"/>
                  </a:lnTo>
                  <a:lnTo>
                    <a:pt x="943" y="2857"/>
                  </a:lnTo>
                  <a:lnTo>
                    <a:pt x="934" y="2851"/>
                  </a:lnTo>
                  <a:lnTo>
                    <a:pt x="927" y="2841"/>
                  </a:lnTo>
                  <a:lnTo>
                    <a:pt x="921" y="2835"/>
                  </a:lnTo>
                  <a:lnTo>
                    <a:pt x="912" y="2829"/>
                  </a:lnTo>
                  <a:lnTo>
                    <a:pt x="887" y="2813"/>
                  </a:lnTo>
                  <a:lnTo>
                    <a:pt x="855" y="2795"/>
                  </a:lnTo>
                  <a:lnTo>
                    <a:pt x="818" y="2779"/>
                  </a:lnTo>
                  <a:lnTo>
                    <a:pt x="784" y="2766"/>
                  </a:lnTo>
                  <a:lnTo>
                    <a:pt x="756" y="2763"/>
                  </a:lnTo>
                  <a:lnTo>
                    <a:pt x="737" y="2773"/>
                  </a:lnTo>
                  <a:lnTo>
                    <a:pt x="721" y="2788"/>
                  </a:lnTo>
                  <a:lnTo>
                    <a:pt x="702" y="2801"/>
                  </a:lnTo>
                  <a:lnTo>
                    <a:pt x="687" y="2804"/>
                  </a:lnTo>
                  <a:lnTo>
                    <a:pt x="668" y="2801"/>
                  </a:lnTo>
                  <a:lnTo>
                    <a:pt x="649" y="2801"/>
                  </a:lnTo>
                  <a:lnTo>
                    <a:pt x="631" y="2804"/>
                  </a:lnTo>
                  <a:lnTo>
                    <a:pt x="606" y="2804"/>
                  </a:lnTo>
                  <a:lnTo>
                    <a:pt x="587" y="2810"/>
                  </a:lnTo>
                  <a:lnTo>
                    <a:pt x="562" y="2820"/>
                  </a:lnTo>
                  <a:lnTo>
                    <a:pt x="537" y="2835"/>
                  </a:lnTo>
                  <a:lnTo>
                    <a:pt x="518" y="2851"/>
                  </a:lnTo>
                  <a:lnTo>
                    <a:pt x="509" y="2857"/>
                  </a:lnTo>
                  <a:lnTo>
                    <a:pt x="499" y="2866"/>
                  </a:lnTo>
                  <a:lnTo>
                    <a:pt x="493" y="2876"/>
                  </a:lnTo>
                  <a:lnTo>
                    <a:pt x="484" y="2885"/>
                  </a:lnTo>
                  <a:lnTo>
                    <a:pt x="478" y="2894"/>
                  </a:lnTo>
                  <a:lnTo>
                    <a:pt x="459" y="2910"/>
                  </a:lnTo>
                  <a:lnTo>
                    <a:pt x="437" y="2929"/>
                  </a:lnTo>
                  <a:lnTo>
                    <a:pt x="415" y="2941"/>
                  </a:lnTo>
                  <a:lnTo>
                    <a:pt x="393" y="2948"/>
                  </a:lnTo>
                  <a:lnTo>
                    <a:pt x="362" y="2951"/>
                  </a:lnTo>
                  <a:lnTo>
                    <a:pt x="334" y="2951"/>
                  </a:lnTo>
                  <a:lnTo>
                    <a:pt x="309" y="2948"/>
                  </a:lnTo>
                  <a:lnTo>
                    <a:pt x="300" y="2941"/>
                  </a:lnTo>
                  <a:lnTo>
                    <a:pt x="300" y="2929"/>
                  </a:lnTo>
                  <a:lnTo>
                    <a:pt x="293" y="2910"/>
                  </a:lnTo>
                  <a:lnTo>
                    <a:pt x="287" y="2891"/>
                  </a:lnTo>
                  <a:lnTo>
                    <a:pt x="281" y="2879"/>
                  </a:lnTo>
                  <a:lnTo>
                    <a:pt x="262" y="2866"/>
                  </a:lnTo>
                  <a:lnTo>
                    <a:pt x="240" y="2857"/>
                  </a:lnTo>
                  <a:lnTo>
                    <a:pt x="218" y="2854"/>
                  </a:lnTo>
                  <a:lnTo>
                    <a:pt x="212" y="2854"/>
                  </a:lnTo>
                  <a:lnTo>
                    <a:pt x="203" y="2857"/>
                  </a:lnTo>
                  <a:lnTo>
                    <a:pt x="197" y="2863"/>
                  </a:lnTo>
                  <a:lnTo>
                    <a:pt x="187" y="2866"/>
                  </a:lnTo>
                  <a:lnTo>
                    <a:pt x="178" y="2870"/>
                  </a:lnTo>
                  <a:lnTo>
                    <a:pt x="172" y="2873"/>
                  </a:lnTo>
                  <a:lnTo>
                    <a:pt x="144" y="2876"/>
                  </a:lnTo>
                  <a:lnTo>
                    <a:pt x="109" y="2876"/>
                  </a:lnTo>
                  <a:lnTo>
                    <a:pt x="81" y="2873"/>
                  </a:lnTo>
                  <a:lnTo>
                    <a:pt x="59" y="2866"/>
                  </a:lnTo>
                  <a:lnTo>
                    <a:pt x="37" y="2854"/>
                  </a:lnTo>
                  <a:lnTo>
                    <a:pt x="22" y="2838"/>
                  </a:lnTo>
                  <a:lnTo>
                    <a:pt x="19" y="2835"/>
                  </a:lnTo>
                  <a:lnTo>
                    <a:pt x="15" y="2829"/>
                  </a:lnTo>
                  <a:lnTo>
                    <a:pt x="9" y="2820"/>
                  </a:lnTo>
                  <a:lnTo>
                    <a:pt x="9" y="2813"/>
                  </a:lnTo>
                  <a:lnTo>
                    <a:pt x="6" y="2804"/>
                  </a:lnTo>
                  <a:lnTo>
                    <a:pt x="9" y="2798"/>
                  </a:lnTo>
                  <a:lnTo>
                    <a:pt x="12" y="2795"/>
                  </a:lnTo>
                  <a:lnTo>
                    <a:pt x="19" y="2795"/>
                  </a:lnTo>
                  <a:lnTo>
                    <a:pt x="25" y="2791"/>
                  </a:lnTo>
                  <a:lnTo>
                    <a:pt x="31" y="2791"/>
                  </a:lnTo>
                  <a:lnTo>
                    <a:pt x="37" y="2791"/>
                  </a:lnTo>
                  <a:lnTo>
                    <a:pt x="44" y="2795"/>
                  </a:lnTo>
                  <a:lnTo>
                    <a:pt x="53" y="2798"/>
                  </a:lnTo>
                  <a:lnTo>
                    <a:pt x="62" y="2804"/>
                  </a:lnTo>
                  <a:lnTo>
                    <a:pt x="72" y="2807"/>
                  </a:lnTo>
                  <a:lnTo>
                    <a:pt x="78" y="2810"/>
                  </a:lnTo>
                  <a:lnTo>
                    <a:pt x="84" y="2813"/>
                  </a:lnTo>
                  <a:lnTo>
                    <a:pt x="94" y="2816"/>
                  </a:lnTo>
                  <a:lnTo>
                    <a:pt x="103" y="2816"/>
                  </a:lnTo>
                  <a:lnTo>
                    <a:pt x="112" y="2816"/>
                  </a:lnTo>
                  <a:lnTo>
                    <a:pt x="119" y="2816"/>
                  </a:lnTo>
                  <a:lnTo>
                    <a:pt x="125" y="2813"/>
                  </a:lnTo>
                  <a:lnTo>
                    <a:pt x="134" y="2801"/>
                  </a:lnTo>
                  <a:lnTo>
                    <a:pt x="140" y="2779"/>
                  </a:lnTo>
                  <a:lnTo>
                    <a:pt x="140" y="2763"/>
                  </a:lnTo>
                  <a:lnTo>
                    <a:pt x="128" y="2754"/>
                  </a:lnTo>
                  <a:lnTo>
                    <a:pt x="112" y="2745"/>
                  </a:lnTo>
                  <a:lnTo>
                    <a:pt x="97" y="2738"/>
                  </a:lnTo>
                  <a:lnTo>
                    <a:pt x="84" y="2732"/>
                  </a:lnTo>
                  <a:lnTo>
                    <a:pt x="75" y="2726"/>
                  </a:lnTo>
                  <a:lnTo>
                    <a:pt x="69" y="2720"/>
                  </a:lnTo>
                  <a:lnTo>
                    <a:pt x="59" y="2710"/>
                  </a:lnTo>
                  <a:lnTo>
                    <a:pt x="53" y="2701"/>
                  </a:lnTo>
                  <a:lnTo>
                    <a:pt x="47" y="2695"/>
                  </a:lnTo>
                  <a:lnTo>
                    <a:pt x="34" y="2676"/>
                  </a:lnTo>
                  <a:lnTo>
                    <a:pt x="15" y="2651"/>
                  </a:lnTo>
                  <a:lnTo>
                    <a:pt x="3" y="2629"/>
                  </a:lnTo>
                  <a:lnTo>
                    <a:pt x="0" y="2607"/>
                  </a:lnTo>
                  <a:lnTo>
                    <a:pt x="6" y="2592"/>
                  </a:lnTo>
                  <a:lnTo>
                    <a:pt x="22" y="2579"/>
                  </a:lnTo>
                  <a:lnTo>
                    <a:pt x="40" y="2567"/>
                  </a:lnTo>
                  <a:lnTo>
                    <a:pt x="56" y="2557"/>
                  </a:lnTo>
                  <a:lnTo>
                    <a:pt x="75" y="2548"/>
                  </a:lnTo>
                  <a:lnTo>
                    <a:pt x="97" y="2542"/>
                  </a:lnTo>
                  <a:lnTo>
                    <a:pt x="119" y="2542"/>
                  </a:lnTo>
                  <a:lnTo>
                    <a:pt x="137" y="2545"/>
                  </a:lnTo>
                  <a:lnTo>
                    <a:pt x="162" y="2557"/>
                  </a:lnTo>
                  <a:lnTo>
                    <a:pt x="184" y="2567"/>
                  </a:lnTo>
                  <a:lnTo>
                    <a:pt x="203" y="2567"/>
                  </a:lnTo>
                  <a:lnTo>
                    <a:pt x="209" y="2563"/>
                  </a:lnTo>
                  <a:lnTo>
                    <a:pt x="215" y="2554"/>
                  </a:lnTo>
                  <a:lnTo>
                    <a:pt x="222" y="2548"/>
                  </a:lnTo>
                  <a:lnTo>
                    <a:pt x="225" y="2542"/>
                  </a:lnTo>
                  <a:lnTo>
                    <a:pt x="228" y="2523"/>
                  </a:lnTo>
                  <a:lnTo>
                    <a:pt x="231" y="2501"/>
                  </a:lnTo>
                  <a:lnTo>
                    <a:pt x="231" y="2482"/>
                  </a:lnTo>
                  <a:lnTo>
                    <a:pt x="225" y="2467"/>
                  </a:lnTo>
                  <a:lnTo>
                    <a:pt x="222" y="2464"/>
                  </a:lnTo>
                  <a:lnTo>
                    <a:pt x="215" y="2464"/>
                  </a:lnTo>
                  <a:lnTo>
                    <a:pt x="225" y="2457"/>
                  </a:lnTo>
                  <a:lnTo>
                    <a:pt x="234" y="2451"/>
                  </a:lnTo>
                  <a:lnTo>
                    <a:pt x="240" y="2448"/>
                  </a:lnTo>
                  <a:lnTo>
                    <a:pt x="250" y="2445"/>
                  </a:lnTo>
                  <a:lnTo>
                    <a:pt x="262" y="2448"/>
                  </a:lnTo>
                  <a:lnTo>
                    <a:pt x="281" y="2454"/>
                  </a:lnTo>
                  <a:lnTo>
                    <a:pt x="297" y="2464"/>
                  </a:lnTo>
                  <a:lnTo>
                    <a:pt x="312" y="2464"/>
                  </a:lnTo>
                  <a:lnTo>
                    <a:pt x="328" y="2448"/>
                  </a:lnTo>
                  <a:lnTo>
                    <a:pt x="343" y="2426"/>
                  </a:lnTo>
                  <a:lnTo>
                    <a:pt x="356" y="2404"/>
                  </a:lnTo>
                  <a:lnTo>
                    <a:pt x="368" y="2386"/>
                  </a:lnTo>
                  <a:lnTo>
                    <a:pt x="384" y="2364"/>
                  </a:lnTo>
                  <a:lnTo>
                    <a:pt x="400" y="2351"/>
                  </a:lnTo>
                  <a:lnTo>
                    <a:pt x="421" y="2345"/>
                  </a:lnTo>
                  <a:lnTo>
                    <a:pt x="453" y="2348"/>
                  </a:lnTo>
                  <a:lnTo>
                    <a:pt x="478" y="2351"/>
                  </a:lnTo>
                  <a:lnTo>
                    <a:pt x="496" y="2354"/>
                  </a:lnTo>
                  <a:lnTo>
                    <a:pt x="515" y="2364"/>
                  </a:lnTo>
                  <a:lnTo>
                    <a:pt x="531" y="2373"/>
                  </a:lnTo>
                  <a:lnTo>
                    <a:pt x="534" y="2386"/>
                  </a:lnTo>
                  <a:lnTo>
                    <a:pt x="534" y="2404"/>
                  </a:lnTo>
                  <a:lnTo>
                    <a:pt x="534" y="2420"/>
                  </a:lnTo>
                  <a:lnTo>
                    <a:pt x="540" y="2432"/>
                  </a:lnTo>
                  <a:lnTo>
                    <a:pt x="556" y="2432"/>
                  </a:lnTo>
                  <a:lnTo>
                    <a:pt x="578" y="2426"/>
                  </a:lnTo>
                  <a:lnTo>
                    <a:pt x="599" y="2414"/>
                  </a:lnTo>
                  <a:lnTo>
                    <a:pt x="612" y="2401"/>
                  </a:lnTo>
                  <a:lnTo>
                    <a:pt x="618" y="2386"/>
                  </a:lnTo>
                  <a:lnTo>
                    <a:pt x="621" y="2367"/>
                  </a:lnTo>
                  <a:lnTo>
                    <a:pt x="624" y="2348"/>
                  </a:lnTo>
                  <a:lnTo>
                    <a:pt x="631" y="2332"/>
                  </a:lnTo>
                  <a:lnTo>
                    <a:pt x="646" y="2329"/>
                  </a:lnTo>
                  <a:lnTo>
                    <a:pt x="665" y="2326"/>
                  </a:lnTo>
                  <a:lnTo>
                    <a:pt x="684" y="2323"/>
                  </a:lnTo>
                  <a:lnTo>
                    <a:pt x="696" y="2317"/>
                  </a:lnTo>
                  <a:lnTo>
                    <a:pt x="702" y="2301"/>
                  </a:lnTo>
                  <a:lnTo>
                    <a:pt x="702" y="2279"/>
                  </a:lnTo>
                  <a:lnTo>
                    <a:pt x="699" y="2257"/>
                  </a:lnTo>
                  <a:lnTo>
                    <a:pt x="696" y="2239"/>
                  </a:lnTo>
                  <a:lnTo>
                    <a:pt x="696" y="2220"/>
                  </a:lnTo>
                  <a:lnTo>
                    <a:pt x="696" y="2195"/>
                  </a:lnTo>
                  <a:lnTo>
                    <a:pt x="696" y="2176"/>
                  </a:lnTo>
                  <a:lnTo>
                    <a:pt x="712" y="2158"/>
                  </a:lnTo>
                  <a:lnTo>
                    <a:pt x="731" y="2136"/>
                  </a:lnTo>
                  <a:lnTo>
                    <a:pt x="746" y="2120"/>
                  </a:lnTo>
                  <a:lnTo>
                    <a:pt x="762" y="2089"/>
                  </a:lnTo>
                  <a:lnTo>
                    <a:pt x="774" y="2048"/>
                  </a:lnTo>
                  <a:lnTo>
                    <a:pt x="790" y="2020"/>
                  </a:lnTo>
                  <a:lnTo>
                    <a:pt x="796" y="2011"/>
                  </a:lnTo>
                  <a:lnTo>
                    <a:pt x="802" y="2001"/>
                  </a:lnTo>
                  <a:lnTo>
                    <a:pt x="812" y="1992"/>
                  </a:lnTo>
                  <a:lnTo>
                    <a:pt x="821" y="1986"/>
                  </a:lnTo>
                  <a:lnTo>
                    <a:pt x="831" y="1976"/>
                  </a:lnTo>
                  <a:lnTo>
                    <a:pt x="840" y="1973"/>
                  </a:lnTo>
                  <a:lnTo>
                    <a:pt x="865" y="1970"/>
                  </a:lnTo>
                  <a:lnTo>
                    <a:pt x="893" y="1970"/>
                  </a:lnTo>
                  <a:lnTo>
                    <a:pt x="921" y="1973"/>
                  </a:lnTo>
                  <a:lnTo>
                    <a:pt x="943" y="1976"/>
                  </a:lnTo>
                  <a:lnTo>
                    <a:pt x="971" y="1983"/>
                  </a:lnTo>
                  <a:lnTo>
                    <a:pt x="996" y="1983"/>
                  </a:lnTo>
                  <a:lnTo>
                    <a:pt x="1018" y="1970"/>
                  </a:lnTo>
                  <a:lnTo>
                    <a:pt x="1040" y="1951"/>
                  </a:lnTo>
                  <a:lnTo>
                    <a:pt x="1062" y="1939"/>
                  </a:lnTo>
                  <a:lnTo>
                    <a:pt x="1077" y="1933"/>
                  </a:lnTo>
                  <a:lnTo>
                    <a:pt x="1099" y="1930"/>
                  </a:lnTo>
                  <a:lnTo>
                    <a:pt x="1115" y="1930"/>
                  </a:lnTo>
                  <a:lnTo>
                    <a:pt x="1137" y="1936"/>
                  </a:lnTo>
                  <a:lnTo>
                    <a:pt x="1158" y="1948"/>
                  </a:lnTo>
                  <a:lnTo>
                    <a:pt x="1180" y="1961"/>
                  </a:lnTo>
                  <a:lnTo>
                    <a:pt x="1202" y="1967"/>
                  </a:lnTo>
                  <a:lnTo>
                    <a:pt x="1224" y="1964"/>
                  </a:lnTo>
                  <a:lnTo>
                    <a:pt x="1252" y="1955"/>
                  </a:lnTo>
                  <a:lnTo>
                    <a:pt x="1280" y="1945"/>
                  </a:lnTo>
                  <a:lnTo>
                    <a:pt x="1302" y="1939"/>
                  </a:lnTo>
                  <a:lnTo>
                    <a:pt x="1318" y="1945"/>
                  </a:lnTo>
                  <a:lnTo>
                    <a:pt x="1336" y="1955"/>
                  </a:lnTo>
                  <a:lnTo>
                    <a:pt x="1355" y="1964"/>
                  </a:lnTo>
                  <a:lnTo>
                    <a:pt x="1371" y="1967"/>
                  </a:lnTo>
                  <a:lnTo>
                    <a:pt x="1396" y="1961"/>
                  </a:lnTo>
                  <a:lnTo>
                    <a:pt x="1427" y="1948"/>
                  </a:lnTo>
                  <a:lnTo>
                    <a:pt x="1455" y="1933"/>
                  </a:lnTo>
                  <a:lnTo>
                    <a:pt x="1474" y="1914"/>
                  </a:lnTo>
                  <a:lnTo>
                    <a:pt x="1480" y="1895"/>
                  </a:lnTo>
                  <a:lnTo>
                    <a:pt x="1477" y="1867"/>
                  </a:lnTo>
                  <a:lnTo>
                    <a:pt x="1477" y="1842"/>
                  </a:lnTo>
                  <a:lnTo>
                    <a:pt x="1483" y="1820"/>
                  </a:lnTo>
                  <a:lnTo>
                    <a:pt x="1499" y="1808"/>
                  </a:lnTo>
                  <a:lnTo>
                    <a:pt x="1521" y="1798"/>
                  </a:lnTo>
                  <a:lnTo>
                    <a:pt x="1546" y="1786"/>
                  </a:lnTo>
                  <a:lnTo>
                    <a:pt x="1564" y="1777"/>
                  </a:lnTo>
                  <a:lnTo>
                    <a:pt x="1583" y="1761"/>
                  </a:lnTo>
                  <a:lnTo>
                    <a:pt x="1608" y="1742"/>
                  </a:lnTo>
                  <a:lnTo>
                    <a:pt x="1630" y="1727"/>
                  </a:lnTo>
                  <a:lnTo>
                    <a:pt x="1652" y="1724"/>
                  </a:lnTo>
                  <a:lnTo>
                    <a:pt x="1674" y="1724"/>
                  </a:lnTo>
                  <a:lnTo>
                    <a:pt x="1692" y="1720"/>
                  </a:lnTo>
                  <a:lnTo>
                    <a:pt x="1711" y="1711"/>
                  </a:lnTo>
                  <a:lnTo>
                    <a:pt x="1730" y="1695"/>
                  </a:lnTo>
                  <a:lnTo>
                    <a:pt x="1749" y="1680"/>
                  </a:lnTo>
                  <a:lnTo>
                    <a:pt x="1764" y="1670"/>
                  </a:lnTo>
                  <a:lnTo>
                    <a:pt x="1789" y="1667"/>
                  </a:lnTo>
                  <a:lnTo>
                    <a:pt x="1820" y="1670"/>
                  </a:lnTo>
                  <a:lnTo>
                    <a:pt x="1849" y="1677"/>
                  </a:lnTo>
                  <a:lnTo>
                    <a:pt x="1867" y="1680"/>
                  </a:lnTo>
                  <a:lnTo>
                    <a:pt x="1889" y="1689"/>
                  </a:lnTo>
                  <a:lnTo>
                    <a:pt x="1908" y="1699"/>
                  </a:lnTo>
                  <a:lnTo>
                    <a:pt x="1920" y="1714"/>
                  </a:lnTo>
                  <a:lnTo>
                    <a:pt x="1930" y="1733"/>
                  </a:lnTo>
                  <a:lnTo>
                    <a:pt x="1939" y="1752"/>
                  </a:lnTo>
                  <a:lnTo>
                    <a:pt x="1952" y="1764"/>
                  </a:lnTo>
                  <a:lnTo>
                    <a:pt x="1970" y="1773"/>
                  </a:lnTo>
                  <a:lnTo>
                    <a:pt x="1995" y="1777"/>
                  </a:lnTo>
                  <a:lnTo>
                    <a:pt x="2020" y="1780"/>
                  </a:lnTo>
                  <a:lnTo>
                    <a:pt x="2042" y="1777"/>
                  </a:lnTo>
                  <a:lnTo>
                    <a:pt x="2064" y="1764"/>
                  </a:lnTo>
                  <a:lnTo>
                    <a:pt x="2089" y="1742"/>
                  </a:lnTo>
                  <a:lnTo>
                    <a:pt x="2114" y="1720"/>
                  </a:lnTo>
                  <a:lnTo>
                    <a:pt x="2130" y="1695"/>
                  </a:lnTo>
                  <a:lnTo>
                    <a:pt x="2139" y="1667"/>
                  </a:lnTo>
                  <a:lnTo>
                    <a:pt x="2148" y="1630"/>
                  </a:lnTo>
                  <a:lnTo>
                    <a:pt x="2155" y="1599"/>
                  </a:lnTo>
                  <a:lnTo>
                    <a:pt x="2155" y="1577"/>
                  </a:lnTo>
                  <a:lnTo>
                    <a:pt x="2151" y="1549"/>
                  </a:lnTo>
                  <a:lnTo>
                    <a:pt x="2151" y="1524"/>
                  </a:lnTo>
                  <a:lnTo>
                    <a:pt x="2155" y="1502"/>
                  </a:lnTo>
                  <a:lnTo>
                    <a:pt x="2170" y="1486"/>
                  </a:lnTo>
                  <a:lnTo>
                    <a:pt x="2217" y="1452"/>
                  </a:lnTo>
                  <a:lnTo>
                    <a:pt x="2229" y="1436"/>
                  </a:lnTo>
                  <a:lnTo>
                    <a:pt x="2233" y="1418"/>
                  </a:lnTo>
                  <a:lnTo>
                    <a:pt x="2229" y="1393"/>
                  </a:lnTo>
                  <a:lnTo>
                    <a:pt x="2226" y="1364"/>
                  </a:lnTo>
                  <a:lnTo>
                    <a:pt x="2229" y="1346"/>
                  </a:lnTo>
                  <a:lnTo>
                    <a:pt x="2245" y="1333"/>
                  </a:lnTo>
                  <a:lnTo>
                    <a:pt x="2264" y="1321"/>
                  </a:lnTo>
                  <a:lnTo>
                    <a:pt x="2286" y="1311"/>
                  </a:lnTo>
                  <a:lnTo>
                    <a:pt x="2308" y="1311"/>
                  </a:lnTo>
                  <a:lnTo>
                    <a:pt x="2336" y="1314"/>
                  </a:lnTo>
                  <a:lnTo>
                    <a:pt x="2364" y="1318"/>
                  </a:lnTo>
                  <a:lnTo>
                    <a:pt x="2392" y="1318"/>
                  </a:lnTo>
                  <a:lnTo>
                    <a:pt x="2414" y="1311"/>
                  </a:lnTo>
                  <a:lnTo>
                    <a:pt x="2420" y="1299"/>
                  </a:lnTo>
                  <a:lnTo>
                    <a:pt x="2426" y="1280"/>
                  </a:lnTo>
                  <a:lnTo>
                    <a:pt x="2429" y="1261"/>
                  </a:lnTo>
                  <a:lnTo>
                    <a:pt x="2432" y="1246"/>
                  </a:lnTo>
                  <a:lnTo>
                    <a:pt x="2439" y="1221"/>
                  </a:lnTo>
                  <a:lnTo>
                    <a:pt x="2448" y="1196"/>
                  </a:lnTo>
                  <a:lnTo>
                    <a:pt x="2454" y="1168"/>
                  </a:lnTo>
                  <a:lnTo>
                    <a:pt x="2454" y="1146"/>
                  </a:lnTo>
                  <a:lnTo>
                    <a:pt x="2442" y="1124"/>
                  </a:lnTo>
                  <a:lnTo>
                    <a:pt x="2417" y="1099"/>
                  </a:lnTo>
                  <a:lnTo>
                    <a:pt x="2392" y="1077"/>
                  </a:lnTo>
                  <a:lnTo>
                    <a:pt x="2376" y="1055"/>
                  </a:lnTo>
                  <a:lnTo>
                    <a:pt x="2367" y="1027"/>
                  </a:lnTo>
                  <a:lnTo>
                    <a:pt x="2354" y="996"/>
                  </a:lnTo>
                  <a:lnTo>
                    <a:pt x="2348" y="962"/>
                  </a:lnTo>
                  <a:lnTo>
                    <a:pt x="2348" y="934"/>
                  </a:lnTo>
                  <a:lnTo>
                    <a:pt x="2358" y="918"/>
                  </a:lnTo>
                  <a:lnTo>
                    <a:pt x="2370" y="902"/>
                  </a:lnTo>
                  <a:lnTo>
                    <a:pt x="2382" y="884"/>
                  </a:lnTo>
                  <a:lnTo>
                    <a:pt x="2389" y="868"/>
                  </a:lnTo>
                  <a:lnTo>
                    <a:pt x="2395" y="837"/>
                  </a:lnTo>
                  <a:lnTo>
                    <a:pt x="2395" y="796"/>
                  </a:lnTo>
                  <a:lnTo>
                    <a:pt x="2395" y="756"/>
                  </a:lnTo>
                  <a:lnTo>
                    <a:pt x="2389" y="721"/>
                  </a:lnTo>
                  <a:lnTo>
                    <a:pt x="2382" y="699"/>
                  </a:lnTo>
                  <a:lnTo>
                    <a:pt x="2370" y="674"/>
                  </a:lnTo>
                  <a:lnTo>
                    <a:pt x="2364" y="656"/>
                  </a:lnTo>
                  <a:lnTo>
                    <a:pt x="2370" y="634"/>
                  </a:lnTo>
                  <a:lnTo>
                    <a:pt x="2379" y="609"/>
                  </a:lnTo>
                  <a:lnTo>
                    <a:pt x="2389" y="587"/>
                  </a:lnTo>
                  <a:lnTo>
                    <a:pt x="2404" y="571"/>
                  </a:lnTo>
                  <a:lnTo>
                    <a:pt x="2423" y="553"/>
                  </a:lnTo>
                  <a:lnTo>
                    <a:pt x="2442" y="534"/>
                  </a:lnTo>
                  <a:lnTo>
                    <a:pt x="2454" y="515"/>
                  </a:lnTo>
                  <a:lnTo>
                    <a:pt x="2457" y="493"/>
                  </a:lnTo>
                  <a:lnTo>
                    <a:pt x="2454" y="465"/>
                  </a:lnTo>
                  <a:lnTo>
                    <a:pt x="2451" y="437"/>
                  </a:lnTo>
                  <a:lnTo>
                    <a:pt x="2445" y="415"/>
                  </a:lnTo>
                  <a:lnTo>
                    <a:pt x="2436" y="390"/>
                  </a:lnTo>
                  <a:lnTo>
                    <a:pt x="2423" y="359"/>
                  </a:lnTo>
                  <a:lnTo>
                    <a:pt x="2414" y="334"/>
                  </a:lnTo>
                  <a:lnTo>
                    <a:pt x="2411" y="300"/>
                  </a:lnTo>
                  <a:lnTo>
                    <a:pt x="2411" y="259"/>
                  </a:lnTo>
                  <a:lnTo>
                    <a:pt x="2411" y="218"/>
                  </a:lnTo>
                  <a:lnTo>
                    <a:pt x="2414" y="184"/>
                  </a:lnTo>
                  <a:lnTo>
                    <a:pt x="2423" y="159"/>
                  </a:lnTo>
                  <a:lnTo>
                    <a:pt x="2439" y="128"/>
                  </a:lnTo>
                  <a:lnTo>
                    <a:pt x="2451" y="97"/>
                  </a:lnTo>
                  <a:lnTo>
                    <a:pt x="2482" y="106"/>
                  </a:lnTo>
                  <a:lnTo>
                    <a:pt x="2507" y="112"/>
                  </a:lnTo>
                  <a:lnTo>
                    <a:pt x="2532" y="112"/>
                  </a:lnTo>
                  <a:lnTo>
                    <a:pt x="2560" y="109"/>
                  </a:lnTo>
                  <a:lnTo>
                    <a:pt x="2585" y="103"/>
                  </a:lnTo>
                  <a:lnTo>
                    <a:pt x="2595" y="100"/>
                  </a:lnTo>
                  <a:lnTo>
                    <a:pt x="2604" y="94"/>
                  </a:lnTo>
                  <a:lnTo>
                    <a:pt x="2614" y="87"/>
                  </a:lnTo>
                  <a:lnTo>
                    <a:pt x="2623" y="84"/>
                  </a:lnTo>
                  <a:lnTo>
                    <a:pt x="2632" y="78"/>
                  </a:lnTo>
                  <a:lnTo>
                    <a:pt x="2651" y="78"/>
                  </a:lnTo>
                  <a:lnTo>
                    <a:pt x="2673" y="78"/>
                  </a:lnTo>
                  <a:lnTo>
                    <a:pt x="2692" y="78"/>
                  </a:lnTo>
                  <a:lnTo>
                    <a:pt x="2710" y="94"/>
                  </a:lnTo>
                  <a:lnTo>
                    <a:pt x="2732" y="112"/>
                  </a:lnTo>
                  <a:lnTo>
                    <a:pt x="2751" y="128"/>
                  </a:lnTo>
                  <a:lnTo>
                    <a:pt x="2757" y="131"/>
                  </a:lnTo>
                  <a:lnTo>
                    <a:pt x="2767" y="134"/>
                  </a:lnTo>
                  <a:lnTo>
                    <a:pt x="2773" y="137"/>
                  </a:lnTo>
                  <a:lnTo>
                    <a:pt x="2782" y="140"/>
                  </a:lnTo>
                  <a:lnTo>
                    <a:pt x="2788" y="143"/>
                  </a:lnTo>
                  <a:lnTo>
                    <a:pt x="2792" y="150"/>
                  </a:lnTo>
                  <a:lnTo>
                    <a:pt x="2795" y="156"/>
                  </a:lnTo>
                  <a:lnTo>
                    <a:pt x="2795" y="165"/>
                  </a:lnTo>
                  <a:lnTo>
                    <a:pt x="2798" y="175"/>
                  </a:lnTo>
                  <a:lnTo>
                    <a:pt x="2801" y="181"/>
                  </a:lnTo>
                  <a:lnTo>
                    <a:pt x="2817" y="187"/>
                  </a:lnTo>
                  <a:lnTo>
                    <a:pt x="2838" y="193"/>
                  </a:lnTo>
                  <a:lnTo>
                    <a:pt x="2860" y="197"/>
                  </a:lnTo>
                  <a:lnTo>
                    <a:pt x="2876" y="203"/>
                  </a:lnTo>
                  <a:lnTo>
                    <a:pt x="2882" y="206"/>
                  </a:lnTo>
                  <a:lnTo>
                    <a:pt x="2888" y="215"/>
                  </a:lnTo>
                  <a:lnTo>
                    <a:pt x="2895" y="225"/>
                  </a:lnTo>
                  <a:lnTo>
                    <a:pt x="2901" y="231"/>
                  </a:lnTo>
                  <a:lnTo>
                    <a:pt x="2904" y="237"/>
                  </a:lnTo>
                  <a:lnTo>
                    <a:pt x="2923" y="247"/>
                  </a:lnTo>
                  <a:lnTo>
                    <a:pt x="2948" y="253"/>
                  </a:lnTo>
                  <a:lnTo>
                    <a:pt x="2973" y="256"/>
                  </a:lnTo>
                  <a:lnTo>
                    <a:pt x="2995" y="253"/>
                  </a:lnTo>
                  <a:lnTo>
                    <a:pt x="3001" y="250"/>
                  </a:lnTo>
                  <a:lnTo>
                    <a:pt x="3007" y="243"/>
                  </a:lnTo>
                  <a:lnTo>
                    <a:pt x="3013" y="237"/>
                  </a:lnTo>
                  <a:lnTo>
                    <a:pt x="3020" y="228"/>
                  </a:lnTo>
                  <a:lnTo>
                    <a:pt x="3020" y="215"/>
                  </a:lnTo>
                  <a:lnTo>
                    <a:pt x="3023" y="200"/>
                  </a:lnTo>
                  <a:lnTo>
                    <a:pt x="3023" y="184"/>
                  </a:lnTo>
                  <a:lnTo>
                    <a:pt x="3029" y="172"/>
                  </a:lnTo>
                  <a:lnTo>
                    <a:pt x="3035" y="168"/>
                  </a:lnTo>
                  <a:lnTo>
                    <a:pt x="3041" y="165"/>
                  </a:lnTo>
                  <a:lnTo>
                    <a:pt x="3051" y="165"/>
                  </a:lnTo>
                  <a:lnTo>
                    <a:pt x="3060" y="165"/>
                  </a:lnTo>
                  <a:lnTo>
                    <a:pt x="3069" y="168"/>
                  </a:lnTo>
                  <a:lnTo>
                    <a:pt x="3076" y="168"/>
                  </a:lnTo>
                  <a:lnTo>
                    <a:pt x="3085" y="181"/>
                  </a:lnTo>
                  <a:lnTo>
                    <a:pt x="3088" y="197"/>
                  </a:lnTo>
                  <a:lnTo>
                    <a:pt x="3094" y="215"/>
                  </a:lnTo>
                  <a:lnTo>
                    <a:pt x="3101" y="231"/>
                  </a:lnTo>
                  <a:lnTo>
                    <a:pt x="3107" y="237"/>
                  </a:lnTo>
                  <a:lnTo>
                    <a:pt x="3123" y="237"/>
                  </a:lnTo>
                  <a:lnTo>
                    <a:pt x="3138" y="225"/>
                  </a:lnTo>
                  <a:lnTo>
                    <a:pt x="3154" y="215"/>
                  </a:lnTo>
                  <a:lnTo>
                    <a:pt x="3166" y="206"/>
                  </a:lnTo>
                  <a:lnTo>
                    <a:pt x="3185" y="203"/>
                  </a:lnTo>
                  <a:lnTo>
                    <a:pt x="3210" y="203"/>
                  </a:lnTo>
                  <a:lnTo>
                    <a:pt x="3238" y="203"/>
                  </a:lnTo>
                  <a:lnTo>
                    <a:pt x="3260" y="200"/>
                  </a:lnTo>
                  <a:lnTo>
                    <a:pt x="3276" y="190"/>
                  </a:lnTo>
                  <a:lnTo>
                    <a:pt x="3279" y="187"/>
                  </a:lnTo>
                  <a:lnTo>
                    <a:pt x="3279" y="181"/>
                  </a:lnTo>
                  <a:lnTo>
                    <a:pt x="3279" y="172"/>
                  </a:lnTo>
                  <a:lnTo>
                    <a:pt x="3276" y="165"/>
                  </a:lnTo>
                  <a:lnTo>
                    <a:pt x="3276" y="156"/>
                  </a:lnTo>
                  <a:lnTo>
                    <a:pt x="3276" y="150"/>
                  </a:lnTo>
                  <a:lnTo>
                    <a:pt x="3276" y="143"/>
                  </a:lnTo>
                  <a:lnTo>
                    <a:pt x="3294" y="128"/>
                  </a:lnTo>
                  <a:lnTo>
                    <a:pt x="3322" y="112"/>
                  </a:lnTo>
                  <a:lnTo>
                    <a:pt x="3354" y="100"/>
                  </a:lnTo>
                  <a:lnTo>
                    <a:pt x="3379" y="94"/>
                  </a:lnTo>
                  <a:lnTo>
                    <a:pt x="3400" y="94"/>
                  </a:lnTo>
                  <a:lnTo>
                    <a:pt x="3425" y="100"/>
                  </a:lnTo>
                  <a:lnTo>
                    <a:pt x="3454" y="106"/>
                  </a:lnTo>
                  <a:lnTo>
                    <a:pt x="3475" y="112"/>
                  </a:lnTo>
                  <a:lnTo>
                    <a:pt x="3494" y="125"/>
                  </a:lnTo>
                  <a:lnTo>
                    <a:pt x="3516" y="143"/>
                  </a:lnTo>
                  <a:lnTo>
                    <a:pt x="3535" y="153"/>
                  </a:lnTo>
                  <a:lnTo>
                    <a:pt x="3553" y="159"/>
                  </a:lnTo>
                  <a:lnTo>
                    <a:pt x="3575" y="159"/>
                  </a:lnTo>
                  <a:lnTo>
                    <a:pt x="3597" y="159"/>
                  </a:lnTo>
                  <a:lnTo>
                    <a:pt x="3613" y="153"/>
                  </a:lnTo>
                  <a:lnTo>
                    <a:pt x="3613" y="147"/>
                  </a:lnTo>
                  <a:lnTo>
                    <a:pt x="3613" y="140"/>
                  </a:lnTo>
                  <a:lnTo>
                    <a:pt x="3613" y="134"/>
                  </a:lnTo>
                  <a:lnTo>
                    <a:pt x="3613" y="125"/>
                  </a:lnTo>
                  <a:lnTo>
                    <a:pt x="3610" y="119"/>
                  </a:lnTo>
                  <a:lnTo>
                    <a:pt x="3613" y="115"/>
                  </a:lnTo>
                  <a:lnTo>
                    <a:pt x="3619" y="106"/>
                  </a:lnTo>
                  <a:lnTo>
                    <a:pt x="3628" y="100"/>
                  </a:lnTo>
                  <a:lnTo>
                    <a:pt x="3641" y="97"/>
                  </a:lnTo>
                  <a:lnTo>
                    <a:pt x="3653" y="94"/>
                  </a:lnTo>
                  <a:lnTo>
                    <a:pt x="3663" y="90"/>
                  </a:lnTo>
                  <a:lnTo>
                    <a:pt x="3678" y="97"/>
                  </a:lnTo>
                  <a:lnTo>
                    <a:pt x="3700" y="106"/>
                  </a:lnTo>
                  <a:lnTo>
                    <a:pt x="3719" y="109"/>
                  </a:lnTo>
                  <a:lnTo>
                    <a:pt x="3722" y="106"/>
                  </a:lnTo>
                  <a:lnTo>
                    <a:pt x="3728" y="103"/>
                  </a:lnTo>
                  <a:lnTo>
                    <a:pt x="3735" y="97"/>
                  </a:lnTo>
                  <a:lnTo>
                    <a:pt x="3741" y="90"/>
                  </a:lnTo>
                  <a:lnTo>
                    <a:pt x="3744" y="84"/>
                  </a:lnTo>
                  <a:lnTo>
                    <a:pt x="3744" y="72"/>
                  </a:lnTo>
                  <a:lnTo>
                    <a:pt x="3738" y="53"/>
                  </a:lnTo>
                  <a:lnTo>
                    <a:pt x="3731" y="34"/>
                  </a:lnTo>
                  <a:lnTo>
                    <a:pt x="3725" y="19"/>
                  </a:lnTo>
                  <a:lnTo>
                    <a:pt x="3728" y="6"/>
                  </a:lnTo>
                  <a:lnTo>
                    <a:pt x="3741" y="0"/>
                  </a:lnTo>
                  <a:lnTo>
                    <a:pt x="3756" y="0"/>
                  </a:lnTo>
                  <a:lnTo>
                    <a:pt x="3772" y="3"/>
                  </a:lnTo>
                  <a:lnTo>
                    <a:pt x="3785" y="6"/>
                  </a:lnTo>
                  <a:lnTo>
                    <a:pt x="3803" y="12"/>
                  </a:lnTo>
                  <a:lnTo>
                    <a:pt x="3828" y="25"/>
                  </a:lnTo>
                  <a:lnTo>
                    <a:pt x="3847" y="37"/>
                  </a:lnTo>
                  <a:lnTo>
                    <a:pt x="3853" y="40"/>
                  </a:lnTo>
                  <a:lnTo>
                    <a:pt x="3866" y="47"/>
                  </a:lnTo>
                  <a:lnTo>
                    <a:pt x="3875" y="53"/>
                  </a:lnTo>
                  <a:lnTo>
                    <a:pt x="3881" y="59"/>
                  </a:lnTo>
                  <a:lnTo>
                    <a:pt x="3894" y="81"/>
                  </a:lnTo>
                  <a:lnTo>
                    <a:pt x="3903" y="106"/>
                  </a:lnTo>
                  <a:lnTo>
                    <a:pt x="3906" y="131"/>
                  </a:lnTo>
                  <a:lnTo>
                    <a:pt x="3906" y="153"/>
                  </a:lnTo>
                  <a:lnTo>
                    <a:pt x="3900" y="175"/>
                  </a:lnTo>
                  <a:lnTo>
                    <a:pt x="3894" y="200"/>
                  </a:lnTo>
                  <a:lnTo>
                    <a:pt x="3894" y="218"/>
                  </a:lnTo>
                  <a:lnTo>
                    <a:pt x="3900" y="228"/>
                  </a:lnTo>
                  <a:lnTo>
                    <a:pt x="3906" y="237"/>
                  </a:lnTo>
                  <a:lnTo>
                    <a:pt x="3919" y="243"/>
                  </a:lnTo>
                  <a:lnTo>
                    <a:pt x="3928" y="250"/>
                  </a:lnTo>
                  <a:lnTo>
                    <a:pt x="3938" y="256"/>
                  </a:lnTo>
                  <a:lnTo>
                    <a:pt x="3956" y="262"/>
                  </a:lnTo>
                  <a:lnTo>
                    <a:pt x="3981" y="268"/>
                  </a:lnTo>
                  <a:lnTo>
                    <a:pt x="4006" y="275"/>
                  </a:lnTo>
                  <a:lnTo>
                    <a:pt x="4022" y="284"/>
                  </a:lnTo>
                  <a:lnTo>
                    <a:pt x="4031" y="300"/>
                  </a:lnTo>
                  <a:lnTo>
                    <a:pt x="4034" y="325"/>
                  </a:lnTo>
                  <a:lnTo>
                    <a:pt x="4034" y="346"/>
                  </a:lnTo>
                  <a:lnTo>
                    <a:pt x="4034" y="371"/>
                  </a:lnTo>
                  <a:lnTo>
                    <a:pt x="4041" y="390"/>
                  </a:lnTo>
                  <a:lnTo>
                    <a:pt x="4050" y="409"/>
                  </a:lnTo>
                  <a:lnTo>
                    <a:pt x="4062" y="431"/>
                  </a:lnTo>
                  <a:lnTo>
                    <a:pt x="4078" y="443"/>
                  </a:lnTo>
                  <a:lnTo>
                    <a:pt x="4084" y="443"/>
                  </a:lnTo>
                  <a:lnTo>
                    <a:pt x="4094" y="440"/>
                  </a:lnTo>
                  <a:lnTo>
                    <a:pt x="4100" y="437"/>
                  </a:lnTo>
                  <a:lnTo>
                    <a:pt x="4109" y="434"/>
                  </a:lnTo>
                  <a:lnTo>
                    <a:pt x="4119" y="431"/>
                  </a:lnTo>
                  <a:lnTo>
                    <a:pt x="4125" y="428"/>
                  </a:lnTo>
                  <a:lnTo>
                    <a:pt x="4141" y="434"/>
                  </a:lnTo>
                  <a:lnTo>
                    <a:pt x="4159" y="443"/>
                  </a:lnTo>
                  <a:lnTo>
                    <a:pt x="4175" y="450"/>
                  </a:lnTo>
                  <a:lnTo>
                    <a:pt x="4197" y="453"/>
                  </a:lnTo>
                  <a:lnTo>
                    <a:pt x="4222" y="453"/>
                  </a:lnTo>
                  <a:lnTo>
                    <a:pt x="4240" y="450"/>
                  </a:lnTo>
                  <a:lnTo>
                    <a:pt x="4247" y="443"/>
                  </a:lnTo>
                  <a:lnTo>
                    <a:pt x="4253" y="434"/>
                  </a:lnTo>
                  <a:lnTo>
                    <a:pt x="4256" y="425"/>
                  </a:lnTo>
                  <a:lnTo>
                    <a:pt x="4262" y="415"/>
                  </a:lnTo>
                  <a:lnTo>
                    <a:pt x="4265" y="409"/>
                  </a:lnTo>
                  <a:lnTo>
                    <a:pt x="4287" y="393"/>
                  </a:lnTo>
                  <a:lnTo>
                    <a:pt x="4312" y="378"/>
                  </a:lnTo>
                  <a:lnTo>
                    <a:pt x="4331" y="362"/>
                  </a:lnTo>
                  <a:lnTo>
                    <a:pt x="4331" y="350"/>
                  </a:lnTo>
                  <a:lnTo>
                    <a:pt x="4331" y="331"/>
                  </a:lnTo>
                  <a:lnTo>
                    <a:pt x="4328" y="315"/>
                  </a:lnTo>
                  <a:lnTo>
                    <a:pt x="4331" y="303"/>
                  </a:lnTo>
                  <a:lnTo>
                    <a:pt x="4347" y="293"/>
                  </a:lnTo>
                  <a:lnTo>
                    <a:pt x="4372" y="290"/>
                  </a:lnTo>
                  <a:lnTo>
                    <a:pt x="4394" y="284"/>
                  </a:lnTo>
                  <a:lnTo>
                    <a:pt x="4412" y="278"/>
                  </a:lnTo>
                  <a:lnTo>
                    <a:pt x="4418" y="275"/>
                  </a:lnTo>
                  <a:lnTo>
                    <a:pt x="4425" y="265"/>
                  </a:lnTo>
                  <a:lnTo>
                    <a:pt x="4428" y="256"/>
                  </a:lnTo>
                  <a:lnTo>
                    <a:pt x="4434" y="247"/>
                  </a:lnTo>
                  <a:lnTo>
                    <a:pt x="4437" y="240"/>
                  </a:lnTo>
                  <a:lnTo>
                    <a:pt x="4443" y="234"/>
                  </a:lnTo>
                  <a:lnTo>
                    <a:pt x="4468" y="228"/>
                  </a:lnTo>
                  <a:lnTo>
                    <a:pt x="4500" y="225"/>
                  </a:lnTo>
                  <a:lnTo>
                    <a:pt x="4537" y="228"/>
                  </a:lnTo>
                  <a:lnTo>
                    <a:pt x="4568" y="231"/>
                  </a:lnTo>
                  <a:lnTo>
                    <a:pt x="4596" y="234"/>
                  </a:lnTo>
                  <a:lnTo>
                    <a:pt x="4618" y="240"/>
                  </a:lnTo>
                  <a:lnTo>
                    <a:pt x="4643" y="247"/>
                  </a:lnTo>
                  <a:lnTo>
                    <a:pt x="4665" y="259"/>
                  </a:lnTo>
                  <a:lnTo>
                    <a:pt x="4681" y="272"/>
                  </a:lnTo>
                  <a:lnTo>
                    <a:pt x="4700" y="290"/>
                  </a:lnTo>
                  <a:lnTo>
                    <a:pt x="4712" y="309"/>
                  </a:lnTo>
                  <a:lnTo>
                    <a:pt x="4715" y="328"/>
                  </a:lnTo>
                  <a:lnTo>
                    <a:pt x="4715" y="350"/>
                  </a:lnTo>
                  <a:lnTo>
                    <a:pt x="4712" y="371"/>
                  </a:lnTo>
                  <a:lnTo>
                    <a:pt x="4712" y="387"/>
                  </a:lnTo>
                  <a:lnTo>
                    <a:pt x="4718" y="409"/>
                  </a:lnTo>
                  <a:lnTo>
                    <a:pt x="4725" y="434"/>
                  </a:lnTo>
                  <a:lnTo>
                    <a:pt x="4731" y="459"/>
                  </a:lnTo>
                  <a:lnTo>
                    <a:pt x="4734" y="478"/>
                  </a:lnTo>
                  <a:lnTo>
                    <a:pt x="4734" y="503"/>
                  </a:lnTo>
                  <a:lnTo>
                    <a:pt x="4728" y="534"/>
                  </a:lnTo>
                  <a:lnTo>
                    <a:pt x="4725" y="562"/>
                  </a:lnTo>
                  <a:lnTo>
                    <a:pt x="4728" y="574"/>
                  </a:lnTo>
                  <a:lnTo>
                    <a:pt x="4734" y="596"/>
                  </a:lnTo>
                  <a:lnTo>
                    <a:pt x="4740" y="612"/>
                  </a:lnTo>
                  <a:lnTo>
                    <a:pt x="4740" y="621"/>
                  </a:lnTo>
                  <a:lnTo>
                    <a:pt x="4746" y="624"/>
                  </a:lnTo>
                  <a:lnTo>
                    <a:pt x="4765" y="624"/>
                  </a:lnTo>
                  <a:lnTo>
                    <a:pt x="4787" y="621"/>
                  </a:lnTo>
                  <a:lnTo>
                    <a:pt x="4806" y="621"/>
                  </a:lnTo>
                  <a:lnTo>
                    <a:pt x="4824" y="621"/>
                  </a:lnTo>
                  <a:lnTo>
                    <a:pt x="4843" y="624"/>
                  </a:lnTo>
                  <a:lnTo>
                    <a:pt x="4868" y="634"/>
                  </a:lnTo>
                  <a:lnTo>
                    <a:pt x="4884" y="646"/>
                  </a:lnTo>
                  <a:lnTo>
                    <a:pt x="4890" y="665"/>
                  </a:lnTo>
                  <a:lnTo>
                    <a:pt x="4890" y="690"/>
                  </a:lnTo>
                  <a:lnTo>
                    <a:pt x="4887" y="718"/>
                  </a:lnTo>
                  <a:lnTo>
                    <a:pt x="4884" y="743"/>
                  </a:lnTo>
                  <a:lnTo>
                    <a:pt x="4884" y="756"/>
                  </a:lnTo>
                  <a:lnTo>
                    <a:pt x="4890" y="759"/>
                  </a:lnTo>
                  <a:lnTo>
                    <a:pt x="4909" y="765"/>
                  </a:lnTo>
                  <a:lnTo>
                    <a:pt x="4934" y="771"/>
                  </a:lnTo>
                  <a:lnTo>
                    <a:pt x="4962" y="777"/>
                  </a:lnTo>
                  <a:lnTo>
                    <a:pt x="4990" y="784"/>
                  </a:lnTo>
                  <a:lnTo>
                    <a:pt x="5009" y="790"/>
                  </a:lnTo>
                  <a:lnTo>
                    <a:pt x="5021" y="796"/>
                  </a:lnTo>
                  <a:lnTo>
                    <a:pt x="5037" y="802"/>
                  </a:lnTo>
                  <a:lnTo>
                    <a:pt x="5052" y="812"/>
                  </a:lnTo>
                  <a:lnTo>
                    <a:pt x="5065" y="812"/>
                  </a:lnTo>
                  <a:lnTo>
                    <a:pt x="5074" y="799"/>
                  </a:lnTo>
                  <a:lnTo>
                    <a:pt x="5084" y="777"/>
                  </a:lnTo>
                  <a:lnTo>
                    <a:pt x="5090" y="759"/>
                  </a:lnTo>
                  <a:lnTo>
                    <a:pt x="5099" y="743"/>
                  </a:lnTo>
                  <a:lnTo>
                    <a:pt x="5121" y="743"/>
                  </a:lnTo>
                  <a:lnTo>
                    <a:pt x="5146" y="749"/>
                  </a:lnTo>
                  <a:lnTo>
                    <a:pt x="5171" y="759"/>
                  </a:lnTo>
                  <a:lnTo>
                    <a:pt x="5187" y="771"/>
                  </a:lnTo>
                  <a:lnTo>
                    <a:pt x="5193" y="784"/>
                  </a:lnTo>
                  <a:lnTo>
                    <a:pt x="5196" y="802"/>
                  </a:lnTo>
                  <a:lnTo>
                    <a:pt x="5199" y="821"/>
                  </a:lnTo>
                  <a:lnTo>
                    <a:pt x="5202" y="834"/>
                  </a:lnTo>
                  <a:lnTo>
                    <a:pt x="5221" y="846"/>
                  </a:lnTo>
                  <a:lnTo>
                    <a:pt x="5243" y="859"/>
                  </a:lnTo>
                  <a:lnTo>
                    <a:pt x="5262" y="868"/>
                  </a:lnTo>
                  <a:lnTo>
                    <a:pt x="5271" y="884"/>
                  </a:lnTo>
                  <a:lnTo>
                    <a:pt x="5280" y="902"/>
                  </a:lnTo>
                  <a:lnTo>
                    <a:pt x="5287" y="924"/>
                  </a:lnTo>
                  <a:lnTo>
                    <a:pt x="5296" y="937"/>
                  </a:lnTo>
                  <a:lnTo>
                    <a:pt x="5315" y="943"/>
                  </a:lnTo>
                  <a:lnTo>
                    <a:pt x="5337" y="946"/>
                  </a:lnTo>
                  <a:lnTo>
                    <a:pt x="5362" y="949"/>
                  </a:lnTo>
                  <a:lnTo>
                    <a:pt x="5380" y="952"/>
                  </a:lnTo>
                  <a:lnTo>
                    <a:pt x="5390" y="952"/>
                  </a:lnTo>
                  <a:lnTo>
                    <a:pt x="5402" y="952"/>
                  </a:lnTo>
                  <a:lnTo>
                    <a:pt x="5412" y="952"/>
                  </a:lnTo>
                  <a:lnTo>
                    <a:pt x="5421" y="962"/>
                  </a:lnTo>
                  <a:lnTo>
                    <a:pt x="5427" y="974"/>
                  </a:lnTo>
                  <a:lnTo>
                    <a:pt x="5436" y="983"/>
                  </a:lnTo>
                  <a:lnTo>
                    <a:pt x="5443" y="993"/>
                  </a:lnTo>
                  <a:lnTo>
                    <a:pt x="5452" y="996"/>
                  </a:lnTo>
                  <a:lnTo>
                    <a:pt x="5458" y="999"/>
                  </a:lnTo>
                  <a:lnTo>
                    <a:pt x="5468" y="999"/>
                  </a:lnTo>
                  <a:lnTo>
                    <a:pt x="5474" y="999"/>
                  </a:lnTo>
                  <a:lnTo>
                    <a:pt x="5483" y="996"/>
                  </a:lnTo>
                  <a:lnTo>
                    <a:pt x="5493" y="996"/>
                  </a:lnTo>
                  <a:lnTo>
                    <a:pt x="5499" y="996"/>
                  </a:lnTo>
                  <a:lnTo>
                    <a:pt x="5505" y="999"/>
                  </a:lnTo>
                  <a:lnTo>
                    <a:pt x="5511" y="1005"/>
                  </a:lnTo>
                  <a:lnTo>
                    <a:pt x="5518" y="1008"/>
                  </a:lnTo>
                  <a:lnTo>
                    <a:pt x="5524" y="1015"/>
                  </a:lnTo>
                  <a:lnTo>
                    <a:pt x="5530" y="1021"/>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8" name="Freeform 45">
              <a:extLst>
                <a:ext uri="{FF2B5EF4-FFF2-40B4-BE49-F238E27FC236}">
                  <a16:creationId xmlns:a16="http://schemas.microsoft.com/office/drawing/2014/main" id="{DAD82615-206F-4A78-BF80-0F3403666659}"/>
                </a:ext>
              </a:extLst>
            </p:cNvPr>
            <p:cNvSpPr>
              <a:spLocks/>
            </p:cNvSpPr>
            <p:nvPr/>
          </p:nvSpPr>
          <p:spPr bwMode="auto">
            <a:xfrm>
              <a:off x="18710276" y="-10821988"/>
              <a:ext cx="5072063" cy="4198938"/>
            </a:xfrm>
            <a:custGeom>
              <a:avLst/>
              <a:gdLst>
                <a:gd name="T0" fmla="*/ 35 w 3195"/>
                <a:gd name="T1" fmla="*/ 569 h 2645"/>
                <a:gd name="T2" fmla="*/ 10 w 3195"/>
                <a:gd name="T3" fmla="*/ 456 h 2645"/>
                <a:gd name="T4" fmla="*/ 234 w 3195"/>
                <a:gd name="T5" fmla="*/ 384 h 2645"/>
                <a:gd name="T6" fmla="*/ 313 w 3195"/>
                <a:gd name="T7" fmla="*/ 141 h 2645"/>
                <a:gd name="T8" fmla="*/ 394 w 3195"/>
                <a:gd name="T9" fmla="*/ 19 h 2645"/>
                <a:gd name="T10" fmla="*/ 562 w 3195"/>
                <a:gd name="T11" fmla="*/ 110 h 2645"/>
                <a:gd name="T12" fmla="*/ 734 w 3195"/>
                <a:gd name="T13" fmla="*/ 172 h 2645"/>
                <a:gd name="T14" fmla="*/ 1015 w 3195"/>
                <a:gd name="T15" fmla="*/ 78 h 2645"/>
                <a:gd name="T16" fmla="*/ 1240 w 3195"/>
                <a:gd name="T17" fmla="*/ 169 h 2645"/>
                <a:gd name="T18" fmla="*/ 1352 w 3195"/>
                <a:gd name="T19" fmla="*/ 100 h 2645"/>
                <a:gd name="T20" fmla="*/ 1552 w 3195"/>
                <a:gd name="T21" fmla="*/ 269 h 2645"/>
                <a:gd name="T22" fmla="*/ 1830 w 3195"/>
                <a:gd name="T23" fmla="*/ 316 h 2645"/>
                <a:gd name="T24" fmla="*/ 2018 w 3195"/>
                <a:gd name="T25" fmla="*/ 413 h 2645"/>
                <a:gd name="T26" fmla="*/ 2183 w 3195"/>
                <a:gd name="T27" fmla="*/ 391 h 2645"/>
                <a:gd name="T28" fmla="*/ 2358 w 3195"/>
                <a:gd name="T29" fmla="*/ 350 h 2645"/>
                <a:gd name="T30" fmla="*/ 2467 w 3195"/>
                <a:gd name="T31" fmla="*/ 291 h 2645"/>
                <a:gd name="T32" fmla="*/ 2670 w 3195"/>
                <a:gd name="T33" fmla="*/ 366 h 2645"/>
                <a:gd name="T34" fmla="*/ 2745 w 3195"/>
                <a:gd name="T35" fmla="*/ 587 h 2645"/>
                <a:gd name="T36" fmla="*/ 2942 w 3195"/>
                <a:gd name="T37" fmla="*/ 734 h 2645"/>
                <a:gd name="T38" fmla="*/ 3123 w 3195"/>
                <a:gd name="T39" fmla="*/ 909 h 2645"/>
                <a:gd name="T40" fmla="*/ 3085 w 3195"/>
                <a:gd name="T41" fmla="*/ 990 h 2645"/>
                <a:gd name="T42" fmla="*/ 3101 w 3195"/>
                <a:gd name="T43" fmla="*/ 1153 h 2645"/>
                <a:gd name="T44" fmla="*/ 3148 w 3195"/>
                <a:gd name="T45" fmla="*/ 1359 h 2645"/>
                <a:gd name="T46" fmla="*/ 3192 w 3195"/>
                <a:gd name="T47" fmla="*/ 1474 h 2645"/>
                <a:gd name="T48" fmla="*/ 3145 w 3195"/>
                <a:gd name="T49" fmla="*/ 1524 h 2645"/>
                <a:gd name="T50" fmla="*/ 3123 w 3195"/>
                <a:gd name="T51" fmla="*/ 1640 h 2645"/>
                <a:gd name="T52" fmla="*/ 3051 w 3195"/>
                <a:gd name="T53" fmla="*/ 1668 h 2645"/>
                <a:gd name="T54" fmla="*/ 3051 w 3195"/>
                <a:gd name="T55" fmla="*/ 1787 h 2645"/>
                <a:gd name="T56" fmla="*/ 3017 w 3195"/>
                <a:gd name="T57" fmla="*/ 1955 h 2645"/>
                <a:gd name="T58" fmla="*/ 2932 w 3195"/>
                <a:gd name="T59" fmla="*/ 2008 h 2645"/>
                <a:gd name="T60" fmla="*/ 2720 w 3195"/>
                <a:gd name="T61" fmla="*/ 2055 h 2645"/>
                <a:gd name="T62" fmla="*/ 2514 w 3195"/>
                <a:gd name="T63" fmla="*/ 2036 h 2645"/>
                <a:gd name="T64" fmla="*/ 2448 w 3195"/>
                <a:gd name="T65" fmla="*/ 2217 h 2645"/>
                <a:gd name="T66" fmla="*/ 2377 w 3195"/>
                <a:gd name="T67" fmla="*/ 2402 h 2645"/>
                <a:gd name="T68" fmla="*/ 2286 w 3195"/>
                <a:gd name="T69" fmla="*/ 2514 h 2645"/>
                <a:gd name="T70" fmla="*/ 2205 w 3195"/>
                <a:gd name="T71" fmla="*/ 2589 h 2645"/>
                <a:gd name="T72" fmla="*/ 2089 w 3195"/>
                <a:gd name="T73" fmla="*/ 2542 h 2645"/>
                <a:gd name="T74" fmla="*/ 1989 w 3195"/>
                <a:gd name="T75" fmla="*/ 2614 h 2645"/>
                <a:gd name="T76" fmla="*/ 1736 w 3195"/>
                <a:gd name="T77" fmla="*/ 2602 h 2645"/>
                <a:gd name="T78" fmla="*/ 1587 w 3195"/>
                <a:gd name="T79" fmla="*/ 2620 h 2645"/>
                <a:gd name="T80" fmla="*/ 1640 w 3195"/>
                <a:gd name="T81" fmla="*/ 2436 h 2645"/>
                <a:gd name="T82" fmla="*/ 1537 w 3195"/>
                <a:gd name="T83" fmla="*/ 2283 h 2645"/>
                <a:gd name="T84" fmla="*/ 1418 w 3195"/>
                <a:gd name="T85" fmla="*/ 2189 h 2645"/>
                <a:gd name="T86" fmla="*/ 1327 w 3195"/>
                <a:gd name="T87" fmla="*/ 2158 h 2645"/>
                <a:gd name="T88" fmla="*/ 1231 w 3195"/>
                <a:gd name="T89" fmla="*/ 2192 h 2645"/>
                <a:gd name="T90" fmla="*/ 1099 w 3195"/>
                <a:gd name="T91" fmla="*/ 2155 h 2645"/>
                <a:gd name="T92" fmla="*/ 1056 w 3195"/>
                <a:gd name="T93" fmla="*/ 2217 h 2645"/>
                <a:gd name="T94" fmla="*/ 943 w 3195"/>
                <a:gd name="T95" fmla="*/ 2246 h 2645"/>
                <a:gd name="T96" fmla="*/ 825 w 3195"/>
                <a:gd name="T97" fmla="*/ 2261 h 2645"/>
                <a:gd name="T98" fmla="*/ 834 w 3195"/>
                <a:gd name="T99" fmla="*/ 2167 h 2645"/>
                <a:gd name="T100" fmla="*/ 772 w 3195"/>
                <a:gd name="T101" fmla="*/ 1958 h 2645"/>
                <a:gd name="T102" fmla="*/ 619 w 3195"/>
                <a:gd name="T103" fmla="*/ 1818 h 2645"/>
                <a:gd name="T104" fmla="*/ 487 w 3195"/>
                <a:gd name="T105" fmla="*/ 1705 h 2645"/>
                <a:gd name="T106" fmla="*/ 400 w 3195"/>
                <a:gd name="T107" fmla="*/ 1568 h 2645"/>
                <a:gd name="T108" fmla="*/ 294 w 3195"/>
                <a:gd name="T109" fmla="*/ 1406 h 2645"/>
                <a:gd name="T110" fmla="*/ 216 w 3195"/>
                <a:gd name="T111" fmla="*/ 1290 h 2645"/>
                <a:gd name="T112" fmla="*/ 213 w 3195"/>
                <a:gd name="T113" fmla="*/ 1115 h 2645"/>
                <a:gd name="T114" fmla="*/ 175 w 3195"/>
                <a:gd name="T115" fmla="*/ 912 h 2645"/>
                <a:gd name="T116" fmla="*/ 94 w 3195"/>
                <a:gd name="T117" fmla="*/ 715 h 2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95" h="2645">
                  <a:moveTo>
                    <a:pt x="66" y="675"/>
                  </a:moveTo>
                  <a:lnTo>
                    <a:pt x="60" y="662"/>
                  </a:lnTo>
                  <a:lnTo>
                    <a:pt x="53" y="653"/>
                  </a:lnTo>
                  <a:lnTo>
                    <a:pt x="47" y="641"/>
                  </a:lnTo>
                  <a:lnTo>
                    <a:pt x="47" y="628"/>
                  </a:lnTo>
                  <a:lnTo>
                    <a:pt x="50" y="609"/>
                  </a:lnTo>
                  <a:lnTo>
                    <a:pt x="50" y="591"/>
                  </a:lnTo>
                  <a:lnTo>
                    <a:pt x="47" y="575"/>
                  </a:lnTo>
                  <a:lnTo>
                    <a:pt x="44" y="572"/>
                  </a:lnTo>
                  <a:lnTo>
                    <a:pt x="35" y="569"/>
                  </a:lnTo>
                  <a:lnTo>
                    <a:pt x="25" y="566"/>
                  </a:lnTo>
                  <a:lnTo>
                    <a:pt x="19" y="562"/>
                  </a:lnTo>
                  <a:lnTo>
                    <a:pt x="13" y="556"/>
                  </a:lnTo>
                  <a:lnTo>
                    <a:pt x="7" y="550"/>
                  </a:lnTo>
                  <a:lnTo>
                    <a:pt x="3" y="541"/>
                  </a:lnTo>
                  <a:lnTo>
                    <a:pt x="0" y="531"/>
                  </a:lnTo>
                  <a:lnTo>
                    <a:pt x="0" y="519"/>
                  </a:lnTo>
                  <a:lnTo>
                    <a:pt x="0" y="513"/>
                  </a:lnTo>
                  <a:lnTo>
                    <a:pt x="3" y="488"/>
                  </a:lnTo>
                  <a:lnTo>
                    <a:pt x="10" y="456"/>
                  </a:lnTo>
                  <a:lnTo>
                    <a:pt x="19" y="428"/>
                  </a:lnTo>
                  <a:lnTo>
                    <a:pt x="31" y="409"/>
                  </a:lnTo>
                  <a:lnTo>
                    <a:pt x="56" y="400"/>
                  </a:lnTo>
                  <a:lnTo>
                    <a:pt x="88" y="397"/>
                  </a:lnTo>
                  <a:lnTo>
                    <a:pt x="119" y="400"/>
                  </a:lnTo>
                  <a:lnTo>
                    <a:pt x="144" y="400"/>
                  </a:lnTo>
                  <a:lnTo>
                    <a:pt x="166" y="400"/>
                  </a:lnTo>
                  <a:lnTo>
                    <a:pt x="191" y="403"/>
                  </a:lnTo>
                  <a:lnTo>
                    <a:pt x="213" y="400"/>
                  </a:lnTo>
                  <a:lnTo>
                    <a:pt x="234" y="384"/>
                  </a:lnTo>
                  <a:lnTo>
                    <a:pt x="256" y="360"/>
                  </a:lnTo>
                  <a:lnTo>
                    <a:pt x="275" y="338"/>
                  </a:lnTo>
                  <a:lnTo>
                    <a:pt x="288" y="316"/>
                  </a:lnTo>
                  <a:lnTo>
                    <a:pt x="300" y="288"/>
                  </a:lnTo>
                  <a:lnTo>
                    <a:pt x="309" y="263"/>
                  </a:lnTo>
                  <a:lnTo>
                    <a:pt x="309" y="241"/>
                  </a:lnTo>
                  <a:lnTo>
                    <a:pt x="306" y="213"/>
                  </a:lnTo>
                  <a:lnTo>
                    <a:pt x="303" y="182"/>
                  </a:lnTo>
                  <a:lnTo>
                    <a:pt x="303" y="160"/>
                  </a:lnTo>
                  <a:lnTo>
                    <a:pt x="313" y="141"/>
                  </a:lnTo>
                  <a:lnTo>
                    <a:pt x="322" y="122"/>
                  </a:lnTo>
                  <a:lnTo>
                    <a:pt x="331" y="107"/>
                  </a:lnTo>
                  <a:lnTo>
                    <a:pt x="338" y="82"/>
                  </a:lnTo>
                  <a:lnTo>
                    <a:pt x="344" y="53"/>
                  </a:lnTo>
                  <a:lnTo>
                    <a:pt x="350" y="29"/>
                  </a:lnTo>
                  <a:lnTo>
                    <a:pt x="356" y="19"/>
                  </a:lnTo>
                  <a:lnTo>
                    <a:pt x="366" y="10"/>
                  </a:lnTo>
                  <a:lnTo>
                    <a:pt x="378" y="0"/>
                  </a:lnTo>
                  <a:lnTo>
                    <a:pt x="387" y="10"/>
                  </a:lnTo>
                  <a:lnTo>
                    <a:pt x="394" y="19"/>
                  </a:lnTo>
                  <a:lnTo>
                    <a:pt x="403" y="25"/>
                  </a:lnTo>
                  <a:lnTo>
                    <a:pt x="409" y="32"/>
                  </a:lnTo>
                  <a:lnTo>
                    <a:pt x="422" y="53"/>
                  </a:lnTo>
                  <a:lnTo>
                    <a:pt x="441" y="78"/>
                  </a:lnTo>
                  <a:lnTo>
                    <a:pt x="456" y="94"/>
                  </a:lnTo>
                  <a:lnTo>
                    <a:pt x="472" y="94"/>
                  </a:lnTo>
                  <a:lnTo>
                    <a:pt x="491" y="91"/>
                  </a:lnTo>
                  <a:lnTo>
                    <a:pt x="509" y="91"/>
                  </a:lnTo>
                  <a:lnTo>
                    <a:pt x="534" y="97"/>
                  </a:lnTo>
                  <a:lnTo>
                    <a:pt x="562" y="110"/>
                  </a:lnTo>
                  <a:lnTo>
                    <a:pt x="594" y="122"/>
                  </a:lnTo>
                  <a:lnTo>
                    <a:pt x="619" y="135"/>
                  </a:lnTo>
                  <a:lnTo>
                    <a:pt x="644" y="141"/>
                  </a:lnTo>
                  <a:lnTo>
                    <a:pt x="672" y="150"/>
                  </a:lnTo>
                  <a:lnTo>
                    <a:pt x="693" y="157"/>
                  </a:lnTo>
                  <a:lnTo>
                    <a:pt x="703" y="160"/>
                  </a:lnTo>
                  <a:lnTo>
                    <a:pt x="709" y="163"/>
                  </a:lnTo>
                  <a:lnTo>
                    <a:pt x="718" y="166"/>
                  </a:lnTo>
                  <a:lnTo>
                    <a:pt x="728" y="169"/>
                  </a:lnTo>
                  <a:lnTo>
                    <a:pt x="734" y="172"/>
                  </a:lnTo>
                  <a:lnTo>
                    <a:pt x="768" y="166"/>
                  </a:lnTo>
                  <a:lnTo>
                    <a:pt x="806" y="157"/>
                  </a:lnTo>
                  <a:lnTo>
                    <a:pt x="843" y="141"/>
                  </a:lnTo>
                  <a:lnTo>
                    <a:pt x="875" y="125"/>
                  </a:lnTo>
                  <a:lnTo>
                    <a:pt x="893" y="110"/>
                  </a:lnTo>
                  <a:lnTo>
                    <a:pt x="912" y="91"/>
                  </a:lnTo>
                  <a:lnTo>
                    <a:pt x="931" y="78"/>
                  </a:lnTo>
                  <a:lnTo>
                    <a:pt x="959" y="72"/>
                  </a:lnTo>
                  <a:lnTo>
                    <a:pt x="987" y="75"/>
                  </a:lnTo>
                  <a:lnTo>
                    <a:pt x="1015" y="78"/>
                  </a:lnTo>
                  <a:lnTo>
                    <a:pt x="1034" y="85"/>
                  </a:lnTo>
                  <a:lnTo>
                    <a:pt x="1053" y="94"/>
                  </a:lnTo>
                  <a:lnTo>
                    <a:pt x="1071" y="100"/>
                  </a:lnTo>
                  <a:lnTo>
                    <a:pt x="1093" y="100"/>
                  </a:lnTo>
                  <a:lnTo>
                    <a:pt x="1115" y="100"/>
                  </a:lnTo>
                  <a:lnTo>
                    <a:pt x="1134" y="100"/>
                  </a:lnTo>
                  <a:lnTo>
                    <a:pt x="1159" y="113"/>
                  </a:lnTo>
                  <a:lnTo>
                    <a:pt x="1187" y="135"/>
                  </a:lnTo>
                  <a:lnTo>
                    <a:pt x="1215" y="157"/>
                  </a:lnTo>
                  <a:lnTo>
                    <a:pt x="1240" y="169"/>
                  </a:lnTo>
                  <a:lnTo>
                    <a:pt x="1262" y="175"/>
                  </a:lnTo>
                  <a:lnTo>
                    <a:pt x="1284" y="178"/>
                  </a:lnTo>
                  <a:lnTo>
                    <a:pt x="1302" y="175"/>
                  </a:lnTo>
                  <a:lnTo>
                    <a:pt x="1315" y="160"/>
                  </a:lnTo>
                  <a:lnTo>
                    <a:pt x="1327" y="141"/>
                  </a:lnTo>
                  <a:lnTo>
                    <a:pt x="1337" y="122"/>
                  </a:lnTo>
                  <a:lnTo>
                    <a:pt x="1340" y="116"/>
                  </a:lnTo>
                  <a:lnTo>
                    <a:pt x="1343" y="110"/>
                  </a:lnTo>
                  <a:lnTo>
                    <a:pt x="1349" y="103"/>
                  </a:lnTo>
                  <a:lnTo>
                    <a:pt x="1352" y="100"/>
                  </a:lnTo>
                  <a:lnTo>
                    <a:pt x="1371" y="107"/>
                  </a:lnTo>
                  <a:lnTo>
                    <a:pt x="1387" y="125"/>
                  </a:lnTo>
                  <a:lnTo>
                    <a:pt x="1405" y="144"/>
                  </a:lnTo>
                  <a:lnTo>
                    <a:pt x="1421" y="160"/>
                  </a:lnTo>
                  <a:lnTo>
                    <a:pt x="1443" y="169"/>
                  </a:lnTo>
                  <a:lnTo>
                    <a:pt x="1471" y="178"/>
                  </a:lnTo>
                  <a:lnTo>
                    <a:pt x="1493" y="188"/>
                  </a:lnTo>
                  <a:lnTo>
                    <a:pt x="1515" y="210"/>
                  </a:lnTo>
                  <a:lnTo>
                    <a:pt x="1534" y="238"/>
                  </a:lnTo>
                  <a:lnTo>
                    <a:pt x="1552" y="269"/>
                  </a:lnTo>
                  <a:lnTo>
                    <a:pt x="1571" y="291"/>
                  </a:lnTo>
                  <a:lnTo>
                    <a:pt x="1596" y="303"/>
                  </a:lnTo>
                  <a:lnTo>
                    <a:pt x="1630" y="319"/>
                  </a:lnTo>
                  <a:lnTo>
                    <a:pt x="1665" y="331"/>
                  </a:lnTo>
                  <a:lnTo>
                    <a:pt x="1693" y="335"/>
                  </a:lnTo>
                  <a:lnTo>
                    <a:pt x="1721" y="331"/>
                  </a:lnTo>
                  <a:lnTo>
                    <a:pt x="1749" y="322"/>
                  </a:lnTo>
                  <a:lnTo>
                    <a:pt x="1780" y="313"/>
                  </a:lnTo>
                  <a:lnTo>
                    <a:pt x="1805" y="310"/>
                  </a:lnTo>
                  <a:lnTo>
                    <a:pt x="1830" y="316"/>
                  </a:lnTo>
                  <a:lnTo>
                    <a:pt x="1858" y="325"/>
                  </a:lnTo>
                  <a:lnTo>
                    <a:pt x="1880" y="331"/>
                  </a:lnTo>
                  <a:lnTo>
                    <a:pt x="1899" y="338"/>
                  </a:lnTo>
                  <a:lnTo>
                    <a:pt x="1924" y="344"/>
                  </a:lnTo>
                  <a:lnTo>
                    <a:pt x="1943" y="353"/>
                  </a:lnTo>
                  <a:lnTo>
                    <a:pt x="1955" y="369"/>
                  </a:lnTo>
                  <a:lnTo>
                    <a:pt x="1971" y="394"/>
                  </a:lnTo>
                  <a:lnTo>
                    <a:pt x="1989" y="413"/>
                  </a:lnTo>
                  <a:lnTo>
                    <a:pt x="2005" y="422"/>
                  </a:lnTo>
                  <a:lnTo>
                    <a:pt x="2018" y="413"/>
                  </a:lnTo>
                  <a:lnTo>
                    <a:pt x="2030" y="394"/>
                  </a:lnTo>
                  <a:lnTo>
                    <a:pt x="2039" y="372"/>
                  </a:lnTo>
                  <a:lnTo>
                    <a:pt x="2049" y="350"/>
                  </a:lnTo>
                  <a:lnTo>
                    <a:pt x="2061" y="338"/>
                  </a:lnTo>
                  <a:lnTo>
                    <a:pt x="2083" y="331"/>
                  </a:lnTo>
                  <a:lnTo>
                    <a:pt x="2111" y="335"/>
                  </a:lnTo>
                  <a:lnTo>
                    <a:pt x="2133" y="338"/>
                  </a:lnTo>
                  <a:lnTo>
                    <a:pt x="2149" y="350"/>
                  </a:lnTo>
                  <a:lnTo>
                    <a:pt x="2164" y="369"/>
                  </a:lnTo>
                  <a:lnTo>
                    <a:pt x="2183" y="391"/>
                  </a:lnTo>
                  <a:lnTo>
                    <a:pt x="2199" y="409"/>
                  </a:lnTo>
                  <a:lnTo>
                    <a:pt x="2214" y="416"/>
                  </a:lnTo>
                  <a:lnTo>
                    <a:pt x="2233" y="409"/>
                  </a:lnTo>
                  <a:lnTo>
                    <a:pt x="2249" y="394"/>
                  </a:lnTo>
                  <a:lnTo>
                    <a:pt x="2267" y="375"/>
                  </a:lnTo>
                  <a:lnTo>
                    <a:pt x="2286" y="356"/>
                  </a:lnTo>
                  <a:lnTo>
                    <a:pt x="2302" y="347"/>
                  </a:lnTo>
                  <a:lnTo>
                    <a:pt x="2320" y="344"/>
                  </a:lnTo>
                  <a:lnTo>
                    <a:pt x="2339" y="350"/>
                  </a:lnTo>
                  <a:lnTo>
                    <a:pt x="2358" y="350"/>
                  </a:lnTo>
                  <a:lnTo>
                    <a:pt x="2380" y="350"/>
                  </a:lnTo>
                  <a:lnTo>
                    <a:pt x="2408" y="350"/>
                  </a:lnTo>
                  <a:lnTo>
                    <a:pt x="2433" y="347"/>
                  </a:lnTo>
                  <a:lnTo>
                    <a:pt x="2452" y="338"/>
                  </a:lnTo>
                  <a:lnTo>
                    <a:pt x="2458" y="331"/>
                  </a:lnTo>
                  <a:lnTo>
                    <a:pt x="2458" y="325"/>
                  </a:lnTo>
                  <a:lnTo>
                    <a:pt x="2461" y="316"/>
                  </a:lnTo>
                  <a:lnTo>
                    <a:pt x="2461" y="306"/>
                  </a:lnTo>
                  <a:lnTo>
                    <a:pt x="2464" y="297"/>
                  </a:lnTo>
                  <a:lnTo>
                    <a:pt x="2467" y="291"/>
                  </a:lnTo>
                  <a:lnTo>
                    <a:pt x="2486" y="281"/>
                  </a:lnTo>
                  <a:lnTo>
                    <a:pt x="2508" y="269"/>
                  </a:lnTo>
                  <a:lnTo>
                    <a:pt x="2533" y="263"/>
                  </a:lnTo>
                  <a:lnTo>
                    <a:pt x="2552" y="263"/>
                  </a:lnTo>
                  <a:lnTo>
                    <a:pt x="2573" y="269"/>
                  </a:lnTo>
                  <a:lnTo>
                    <a:pt x="2598" y="281"/>
                  </a:lnTo>
                  <a:lnTo>
                    <a:pt x="2620" y="300"/>
                  </a:lnTo>
                  <a:lnTo>
                    <a:pt x="2636" y="316"/>
                  </a:lnTo>
                  <a:lnTo>
                    <a:pt x="2655" y="338"/>
                  </a:lnTo>
                  <a:lnTo>
                    <a:pt x="2670" y="366"/>
                  </a:lnTo>
                  <a:lnTo>
                    <a:pt x="2680" y="391"/>
                  </a:lnTo>
                  <a:lnTo>
                    <a:pt x="2683" y="413"/>
                  </a:lnTo>
                  <a:lnTo>
                    <a:pt x="2680" y="441"/>
                  </a:lnTo>
                  <a:lnTo>
                    <a:pt x="2680" y="466"/>
                  </a:lnTo>
                  <a:lnTo>
                    <a:pt x="2680" y="488"/>
                  </a:lnTo>
                  <a:lnTo>
                    <a:pt x="2686" y="509"/>
                  </a:lnTo>
                  <a:lnTo>
                    <a:pt x="2698" y="537"/>
                  </a:lnTo>
                  <a:lnTo>
                    <a:pt x="2711" y="559"/>
                  </a:lnTo>
                  <a:lnTo>
                    <a:pt x="2726" y="578"/>
                  </a:lnTo>
                  <a:lnTo>
                    <a:pt x="2745" y="587"/>
                  </a:lnTo>
                  <a:lnTo>
                    <a:pt x="2770" y="594"/>
                  </a:lnTo>
                  <a:lnTo>
                    <a:pt x="2789" y="603"/>
                  </a:lnTo>
                  <a:lnTo>
                    <a:pt x="2804" y="622"/>
                  </a:lnTo>
                  <a:lnTo>
                    <a:pt x="2817" y="647"/>
                  </a:lnTo>
                  <a:lnTo>
                    <a:pt x="2829" y="672"/>
                  </a:lnTo>
                  <a:lnTo>
                    <a:pt x="2845" y="691"/>
                  </a:lnTo>
                  <a:lnTo>
                    <a:pt x="2864" y="703"/>
                  </a:lnTo>
                  <a:lnTo>
                    <a:pt x="2892" y="712"/>
                  </a:lnTo>
                  <a:lnTo>
                    <a:pt x="2920" y="725"/>
                  </a:lnTo>
                  <a:lnTo>
                    <a:pt x="2942" y="734"/>
                  </a:lnTo>
                  <a:lnTo>
                    <a:pt x="2964" y="750"/>
                  </a:lnTo>
                  <a:lnTo>
                    <a:pt x="2992" y="775"/>
                  </a:lnTo>
                  <a:lnTo>
                    <a:pt x="3011" y="797"/>
                  </a:lnTo>
                  <a:lnTo>
                    <a:pt x="3020" y="815"/>
                  </a:lnTo>
                  <a:lnTo>
                    <a:pt x="3026" y="844"/>
                  </a:lnTo>
                  <a:lnTo>
                    <a:pt x="3036" y="868"/>
                  </a:lnTo>
                  <a:lnTo>
                    <a:pt x="3045" y="887"/>
                  </a:lnTo>
                  <a:lnTo>
                    <a:pt x="3067" y="900"/>
                  </a:lnTo>
                  <a:lnTo>
                    <a:pt x="3098" y="906"/>
                  </a:lnTo>
                  <a:lnTo>
                    <a:pt x="3123" y="909"/>
                  </a:lnTo>
                  <a:lnTo>
                    <a:pt x="3132" y="909"/>
                  </a:lnTo>
                  <a:lnTo>
                    <a:pt x="3145" y="909"/>
                  </a:lnTo>
                  <a:lnTo>
                    <a:pt x="3157" y="909"/>
                  </a:lnTo>
                  <a:lnTo>
                    <a:pt x="3157" y="928"/>
                  </a:lnTo>
                  <a:lnTo>
                    <a:pt x="3157" y="947"/>
                  </a:lnTo>
                  <a:lnTo>
                    <a:pt x="3154" y="959"/>
                  </a:lnTo>
                  <a:lnTo>
                    <a:pt x="3142" y="968"/>
                  </a:lnTo>
                  <a:lnTo>
                    <a:pt x="3120" y="978"/>
                  </a:lnTo>
                  <a:lnTo>
                    <a:pt x="3101" y="984"/>
                  </a:lnTo>
                  <a:lnTo>
                    <a:pt x="3085" y="990"/>
                  </a:lnTo>
                  <a:lnTo>
                    <a:pt x="3073" y="1006"/>
                  </a:lnTo>
                  <a:lnTo>
                    <a:pt x="3057" y="1025"/>
                  </a:lnTo>
                  <a:lnTo>
                    <a:pt x="3045" y="1046"/>
                  </a:lnTo>
                  <a:lnTo>
                    <a:pt x="3036" y="1062"/>
                  </a:lnTo>
                  <a:lnTo>
                    <a:pt x="3036" y="1084"/>
                  </a:lnTo>
                  <a:lnTo>
                    <a:pt x="3042" y="1106"/>
                  </a:lnTo>
                  <a:lnTo>
                    <a:pt x="3051" y="1125"/>
                  </a:lnTo>
                  <a:lnTo>
                    <a:pt x="3064" y="1134"/>
                  </a:lnTo>
                  <a:lnTo>
                    <a:pt x="3085" y="1143"/>
                  </a:lnTo>
                  <a:lnTo>
                    <a:pt x="3101" y="1153"/>
                  </a:lnTo>
                  <a:lnTo>
                    <a:pt x="3117" y="1175"/>
                  </a:lnTo>
                  <a:lnTo>
                    <a:pt x="3126" y="1206"/>
                  </a:lnTo>
                  <a:lnTo>
                    <a:pt x="3132" y="1234"/>
                  </a:lnTo>
                  <a:lnTo>
                    <a:pt x="3132" y="1256"/>
                  </a:lnTo>
                  <a:lnTo>
                    <a:pt x="3132" y="1281"/>
                  </a:lnTo>
                  <a:lnTo>
                    <a:pt x="3129" y="1306"/>
                  </a:lnTo>
                  <a:lnTo>
                    <a:pt x="3132" y="1328"/>
                  </a:lnTo>
                  <a:lnTo>
                    <a:pt x="3135" y="1337"/>
                  </a:lnTo>
                  <a:lnTo>
                    <a:pt x="3142" y="1346"/>
                  </a:lnTo>
                  <a:lnTo>
                    <a:pt x="3148" y="1359"/>
                  </a:lnTo>
                  <a:lnTo>
                    <a:pt x="3154" y="1368"/>
                  </a:lnTo>
                  <a:lnTo>
                    <a:pt x="3160" y="1377"/>
                  </a:lnTo>
                  <a:lnTo>
                    <a:pt x="3167" y="1381"/>
                  </a:lnTo>
                  <a:lnTo>
                    <a:pt x="3173" y="1387"/>
                  </a:lnTo>
                  <a:lnTo>
                    <a:pt x="3182" y="1393"/>
                  </a:lnTo>
                  <a:lnTo>
                    <a:pt x="3189" y="1399"/>
                  </a:lnTo>
                  <a:lnTo>
                    <a:pt x="3192" y="1406"/>
                  </a:lnTo>
                  <a:lnTo>
                    <a:pt x="3195" y="1424"/>
                  </a:lnTo>
                  <a:lnTo>
                    <a:pt x="3195" y="1449"/>
                  </a:lnTo>
                  <a:lnTo>
                    <a:pt x="3192" y="1474"/>
                  </a:lnTo>
                  <a:lnTo>
                    <a:pt x="3189" y="1496"/>
                  </a:lnTo>
                  <a:lnTo>
                    <a:pt x="3185" y="1505"/>
                  </a:lnTo>
                  <a:lnTo>
                    <a:pt x="3185" y="1509"/>
                  </a:lnTo>
                  <a:lnTo>
                    <a:pt x="3179" y="1509"/>
                  </a:lnTo>
                  <a:lnTo>
                    <a:pt x="3173" y="1512"/>
                  </a:lnTo>
                  <a:lnTo>
                    <a:pt x="3167" y="1512"/>
                  </a:lnTo>
                  <a:lnTo>
                    <a:pt x="3157" y="1515"/>
                  </a:lnTo>
                  <a:lnTo>
                    <a:pt x="3151" y="1518"/>
                  </a:lnTo>
                  <a:lnTo>
                    <a:pt x="3148" y="1521"/>
                  </a:lnTo>
                  <a:lnTo>
                    <a:pt x="3145" y="1524"/>
                  </a:lnTo>
                  <a:lnTo>
                    <a:pt x="3145" y="1530"/>
                  </a:lnTo>
                  <a:lnTo>
                    <a:pt x="3148" y="1540"/>
                  </a:lnTo>
                  <a:lnTo>
                    <a:pt x="3151" y="1549"/>
                  </a:lnTo>
                  <a:lnTo>
                    <a:pt x="3151" y="1555"/>
                  </a:lnTo>
                  <a:lnTo>
                    <a:pt x="3154" y="1565"/>
                  </a:lnTo>
                  <a:lnTo>
                    <a:pt x="3154" y="1571"/>
                  </a:lnTo>
                  <a:lnTo>
                    <a:pt x="3148" y="1593"/>
                  </a:lnTo>
                  <a:lnTo>
                    <a:pt x="3142" y="1618"/>
                  </a:lnTo>
                  <a:lnTo>
                    <a:pt x="3129" y="1637"/>
                  </a:lnTo>
                  <a:lnTo>
                    <a:pt x="3123" y="1640"/>
                  </a:lnTo>
                  <a:lnTo>
                    <a:pt x="3114" y="1640"/>
                  </a:lnTo>
                  <a:lnTo>
                    <a:pt x="3107" y="1637"/>
                  </a:lnTo>
                  <a:lnTo>
                    <a:pt x="3098" y="1637"/>
                  </a:lnTo>
                  <a:lnTo>
                    <a:pt x="3089" y="1637"/>
                  </a:lnTo>
                  <a:lnTo>
                    <a:pt x="3082" y="1637"/>
                  </a:lnTo>
                  <a:lnTo>
                    <a:pt x="3076" y="1640"/>
                  </a:lnTo>
                  <a:lnTo>
                    <a:pt x="3067" y="1646"/>
                  </a:lnTo>
                  <a:lnTo>
                    <a:pt x="3061" y="1652"/>
                  </a:lnTo>
                  <a:lnTo>
                    <a:pt x="3054" y="1662"/>
                  </a:lnTo>
                  <a:lnTo>
                    <a:pt x="3051" y="1668"/>
                  </a:lnTo>
                  <a:lnTo>
                    <a:pt x="3051" y="1687"/>
                  </a:lnTo>
                  <a:lnTo>
                    <a:pt x="3057" y="1708"/>
                  </a:lnTo>
                  <a:lnTo>
                    <a:pt x="3064" y="1730"/>
                  </a:lnTo>
                  <a:lnTo>
                    <a:pt x="3073" y="1749"/>
                  </a:lnTo>
                  <a:lnTo>
                    <a:pt x="3076" y="1758"/>
                  </a:lnTo>
                  <a:lnTo>
                    <a:pt x="3073" y="1762"/>
                  </a:lnTo>
                  <a:lnTo>
                    <a:pt x="3070" y="1768"/>
                  </a:lnTo>
                  <a:lnTo>
                    <a:pt x="3064" y="1774"/>
                  </a:lnTo>
                  <a:lnTo>
                    <a:pt x="3057" y="1780"/>
                  </a:lnTo>
                  <a:lnTo>
                    <a:pt x="3051" y="1787"/>
                  </a:lnTo>
                  <a:lnTo>
                    <a:pt x="3042" y="1793"/>
                  </a:lnTo>
                  <a:lnTo>
                    <a:pt x="3039" y="1802"/>
                  </a:lnTo>
                  <a:lnTo>
                    <a:pt x="3036" y="1808"/>
                  </a:lnTo>
                  <a:lnTo>
                    <a:pt x="3032" y="1827"/>
                  </a:lnTo>
                  <a:lnTo>
                    <a:pt x="3039" y="1855"/>
                  </a:lnTo>
                  <a:lnTo>
                    <a:pt x="3042" y="1880"/>
                  </a:lnTo>
                  <a:lnTo>
                    <a:pt x="3042" y="1902"/>
                  </a:lnTo>
                  <a:lnTo>
                    <a:pt x="3036" y="1921"/>
                  </a:lnTo>
                  <a:lnTo>
                    <a:pt x="3026" y="1940"/>
                  </a:lnTo>
                  <a:lnTo>
                    <a:pt x="3017" y="1955"/>
                  </a:lnTo>
                  <a:lnTo>
                    <a:pt x="3011" y="1968"/>
                  </a:lnTo>
                  <a:lnTo>
                    <a:pt x="3007" y="1980"/>
                  </a:lnTo>
                  <a:lnTo>
                    <a:pt x="3004" y="1993"/>
                  </a:lnTo>
                  <a:lnTo>
                    <a:pt x="2998" y="2005"/>
                  </a:lnTo>
                  <a:lnTo>
                    <a:pt x="2992" y="2014"/>
                  </a:lnTo>
                  <a:lnTo>
                    <a:pt x="2986" y="2018"/>
                  </a:lnTo>
                  <a:lnTo>
                    <a:pt x="2976" y="2021"/>
                  </a:lnTo>
                  <a:lnTo>
                    <a:pt x="2961" y="2018"/>
                  </a:lnTo>
                  <a:lnTo>
                    <a:pt x="2945" y="2011"/>
                  </a:lnTo>
                  <a:lnTo>
                    <a:pt x="2932" y="2008"/>
                  </a:lnTo>
                  <a:lnTo>
                    <a:pt x="2914" y="2008"/>
                  </a:lnTo>
                  <a:lnTo>
                    <a:pt x="2892" y="2008"/>
                  </a:lnTo>
                  <a:lnTo>
                    <a:pt x="2873" y="2008"/>
                  </a:lnTo>
                  <a:lnTo>
                    <a:pt x="2851" y="2014"/>
                  </a:lnTo>
                  <a:lnTo>
                    <a:pt x="2820" y="2024"/>
                  </a:lnTo>
                  <a:lnTo>
                    <a:pt x="2789" y="2033"/>
                  </a:lnTo>
                  <a:lnTo>
                    <a:pt x="2761" y="2046"/>
                  </a:lnTo>
                  <a:lnTo>
                    <a:pt x="2739" y="2052"/>
                  </a:lnTo>
                  <a:lnTo>
                    <a:pt x="2729" y="2055"/>
                  </a:lnTo>
                  <a:lnTo>
                    <a:pt x="2720" y="2055"/>
                  </a:lnTo>
                  <a:lnTo>
                    <a:pt x="2705" y="2049"/>
                  </a:lnTo>
                  <a:lnTo>
                    <a:pt x="2686" y="2039"/>
                  </a:lnTo>
                  <a:lnTo>
                    <a:pt x="2664" y="2033"/>
                  </a:lnTo>
                  <a:lnTo>
                    <a:pt x="2648" y="2027"/>
                  </a:lnTo>
                  <a:lnTo>
                    <a:pt x="2630" y="2021"/>
                  </a:lnTo>
                  <a:lnTo>
                    <a:pt x="2608" y="2011"/>
                  </a:lnTo>
                  <a:lnTo>
                    <a:pt x="2586" y="2008"/>
                  </a:lnTo>
                  <a:lnTo>
                    <a:pt x="2564" y="2014"/>
                  </a:lnTo>
                  <a:lnTo>
                    <a:pt x="2539" y="2024"/>
                  </a:lnTo>
                  <a:lnTo>
                    <a:pt x="2514" y="2036"/>
                  </a:lnTo>
                  <a:lnTo>
                    <a:pt x="2495" y="2046"/>
                  </a:lnTo>
                  <a:lnTo>
                    <a:pt x="2477" y="2061"/>
                  </a:lnTo>
                  <a:lnTo>
                    <a:pt x="2458" y="2077"/>
                  </a:lnTo>
                  <a:lnTo>
                    <a:pt x="2439" y="2099"/>
                  </a:lnTo>
                  <a:lnTo>
                    <a:pt x="2430" y="2114"/>
                  </a:lnTo>
                  <a:lnTo>
                    <a:pt x="2430" y="2133"/>
                  </a:lnTo>
                  <a:lnTo>
                    <a:pt x="2433" y="2152"/>
                  </a:lnTo>
                  <a:lnTo>
                    <a:pt x="2439" y="2174"/>
                  </a:lnTo>
                  <a:lnTo>
                    <a:pt x="2442" y="2189"/>
                  </a:lnTo>
                  <a:lnTo>
                    <a:pt x="2448" y="2217"/>
                  </a:lnTo>
                  <a:lnTo>
                    <a:pt x="2455" y="2252"/>
                  </a:lnTo>
                  <a:lnTo>
                    <a:pt x="2461" y="2280"/>
                  </a:lnTo>
                  <a:lnTo>
                    <a:pt x="2461" y="2296"/>
                  </a:lnTo>
                  <a:lnTo>
                    <a:pt x="2458" y="2317"/>
                  </a:lnTo>
                  <a:lnTo>
                    <a:pt x="2455" y="2333"/>
                  </a:lnTo>
                  <a:lnTo>
                    <a:pt x="2445" y="2352"/>
                  </a:lnTo>
                  <a:lnTo>
                    <a:pt x="2427" y="2374"/>
                  </a:lnTo>
                  <a:lnTo>
                    <a:pt x="2411" y="2389"/>
                  </a:lnTo>
                  <a:lnTo>
                    <a:pt x="2395" y="2395"/>
                  </a:lnTo>
                  <a:lnTo>
                    <a:pt x="2377" y="2402"/>
                  </a:lnTo>
                  <a:lnTo>
                    <a:pt x="2358" y="2408"/>
                  </a:lnTo>
                  <a:lnTo>
                    <a:pt x="2345" y="2414"/>
                  </a:lnTo>
                  <a:lnTo>
                    <a:pt x="2330" y="2439"/>
                  </a:lnTo>
                  <a:lnTo>
                    <a:pt x="2320" y="2470"/>
                  </a:lnTo>
                  <a:lnTo>
                    <a:pt x="2317" y="2498"/>
                  </a:lnTo>
                  <a:lnTo>
                    <a:pt x="2317" y="2508"/>
                  </a:lnTo>
                  <a:lnTo>
                    <a:pt x="2317" y="2520"/>
                  </a:lnTo>
                  <a:lnTo>
                    <a:pt x="2308" y="2517"/>
                  </a:lnTo>
                  <a:lnTo>
                    <a:pt x="2295" y="2517"/>
                  </a:lnTo>
                  <a:lnTo>
                    <a:pt x="2286" y="2514"/>
                  </a:lnTo>
                  <a:lnTo>
                    <a:pt x="2277" y="2514"/>
                  </a:lnTo>
                  <a:lnTo>
                    <a:pt x="2267" y="2517"/>
                  </a:lnTo>
                  <a:lnTo>
                    <a:pt x="2264" y="2520"/>
                  </a:lnTo>
                  <a:lnTo>
                    <a:pt x="2258" y="2530"/>
                  </a:lnTo>
                  <a:lnTo>
                    <a:pt x="2255" y="2539"/>
                  </a:lnTo>
                  <a:lnTo>
                    <a:pt x="2252" y="2548"/>
                  </a:lnTo>
                  <a:lnTo>
                    <a:pt x="2249" y="2558"/>
                  </a:lnTo>
                  <a:lnTo>
                    <a:pt x="2242" y="2564"/>
                  </a:lnTo>
                  <a:lnTo>
                    <a:pt x="2227" y="2577"/>
                  </a:lnTo>
                  <a:lnTo>
                    <a:pt x="2205" y="2589"/>
                  </a:lnTo>
                  <a:lnTo>
                    <a:pt x="2186" y="2592"/>
                  </a:lnTo>
                  <a:lnTo>
                    <a:pt x="2180" y="2589"/>
                  </a:lnTo>
                  <a:lnTo>
                    <a:pt x="2174" y="2583"/>
                  </a:lnTo>
                  <a:lnTo>
                    <a:pt x="2164" y="2573"/>
                  </a:lnTo>
                  <a:lnTo>
                    <a:pt x="2158" y="2567"/>
                  </a:lnTo>
                  <a:lnTo>
                    <a:pt x="2149" y="2558"/>
                  </a:lnTo>
                  <a:lnTo>
                    <a:pt x="2142" y="2555"/>
                  </a:lnTo>
                  <a:lnTo>
                    <a:pt x="2127" y="2548"/>
                  </a:lnTo>
                  <a:lnTo>
                    <a:pt x="2108" y="2542"/>
                  </a:lnTo>
                  <a:lnTo>
                    <a:pt x="2089" y="2542"/>
                  </a:lnTo>
                  <a:lnTo>
                    <a:pt x="2074" y="2542"/>
                  </a:lnTo>
                  <a:lnTo>
                    <a:pt x="2052" y="2548"/>
                  </a:lnTo>
                  <a:lnTo>
                    <a:pt x="2036" y="2555"/>
                  </a:lnTo>
                  <a:lnTo>
                    <a:pt x="2030" y="2561"/>
                  </a:lnTo>
                  <a:lnTo>
                    <a:pt x="2027" y="2567"/>
                  </a:lnTo>
                  <a:lnTo>
                    <a:pt x="2021" y="2577"/>
                  </a:lnTo>
                  <a:lnTo>
                    <a:pt x="2018" y="2586"/>
                  </a:lnTo>
                  <a:lnTo>
                    <a:pt x="2011" y="2595"/>
                  </a:lnTo>
                  <a:lnTo>
                    <a:pt x="2008" y="2602"/>
                  </a:lnTo>
                  <a:lnTo>
                    <a:pt x="1989" y="2614"/>
                  </a:lnTo>
                  <a:lnTo>
                    <a:pt x="1964" y="2623"/>
                  </a:lnTo>
                  <a:lnTo>
                    <a:pt x="1939" y="2630"/>
                  </a:lnTo>
                  <a:lnTo>
                    <a:pt x="1921" y="2633"/>
                  </a:lnTo>
                  <a:lnTo>
                    <a:pt x="1896" y="2630"/>
                  </a:lnTo>
                  <a:lnTo>
                    <a:pt x="1871" y="2617"/>
                  </a:lnTo>
                  <a:lnTo>
                    <a:pt x="1846" y="2608"/>
                  </a:lnTo>
                  <a:lnTo>
                    <a:pt x="1821" y="2602"/>
                  </a:lnTo>
                  <a:lnTo>
                    <a:pt x="1786" y="2595"/>
                  </a:lnTo>
                  <a:lnTo>
                    <a:pt x="1758" y="2595"/>
                  </a:lnTo>
                  <a:lnTo>
                    <a:pt x="1736" y="2602"/>
                  </a:lnTo>
                  <a:lnTo>
                    <a:pt x="1711" y="2611"/>
                  </a:lnTo>
                  <a:lnTo>
                    <a:pt x="1690" y="2620"/>
                  </a:lnTo>
                  <a:lnTo>
                    <a:pt x="1674" y="2630"/>
                  </a:lnTo>
                  <a:lnTo>
                    <a:pt x="1652" y="2642"/>
                  </a:lnTo>
                  <a:lnTo>
                    <a:pt x="1630" y="2645"/>
                  </a:lnTo>
                  <a:lnTo>
                    <a:pt x="1624" y="2645"/>
                  </a:lnTo>
                  <a:lnTo>
                    <a:pt x="1612" y="2642"/>
                  </a:lnTo>
                  <a:lnTo>
                    <a:pt x="1602" y="2636"/>
                  </a:lnTo>
                  <a:lnTo>
                    <a:pt x="1593" y="2630"/>
                  </a:lnTo>
                  <a:lnTo>
                    <a:pt x="1587" y="2620"/>
                  </a:lnTo>
                  <a:lnTo>
                    <a:pt x="1580" y="2605"/>
                  </a:lnTo>
                  <a:lnTo>
                    <a:pt x="1580" y="2586"/>
                  </a:lnTo>
                  <a:lnTo>
                    <a:pt x="1587" y="2567"/>
                  </a:lnTo>
                  <a:lnTo>
                    <a:pt x="1602" y="2555"/>
                  </a:lnTo>
                  <a:lnTo>
                    <a:pt x="1624" y="2539"/>
                  </a:lnTo>
                  <a:lnTo>
                    <a:pt x="1640" y="2527"/>
                  </a:lnTo>
                  <a:lnTo>
                    <a:pt x="1646" y="2505"/>
                  </a:lnTo>
                  <a:lnTo>
                    <a:pt x="1646" y="2480"/>
                  </a:lnTo>
                  <a:lnTo>
                    <a:pt x="1643" y="2458"/>
                  </a:lnTo>
                  <a:lnTo>
                    <a:pt x="1640" y="2436"/>
                  </a:lnTo>
                  <a:lnTo>
                    <a:pt x="1633" y="2408"/>
                  </a:lnTo>
                  <a:lnTo>
                    <a:pt x="1624" y="2383"/>
                  </a:lnTo>
                  <a:lnTo>
                    <a:pt x="1612" y="2364"/>
                  </a:lnTo>
                  <a:lnTo>
                    <a:pt x="1596" y="2355"/>
                  </a:lnTo>
                  <a:lnTo>
                    <a:pt x="1574" y="2352"/>
                  </a:lnTo>
                  <a:lnTo>
                    <a:pt x="1552" y="2349"/>
                  </a:lnTo>
                  <a:lnTo>
                    <a:pt x="1537" y="2342"/>
                  </a:lnTo>
                  <a:lnTo>
                    <a:pt x="1534" y="2327"/>
                  </a:lnTo>
                  <a:lnTo>
                    <a:pt x="1534" y="2305"/>
                  </a:lnTo>
                  <a:lnTo>
                    <a:pt x="1537" y="2283"/>
                  </a:lnTo>
                  <a:lnTo>
                    <a:pt x="1537" y="2264"/>
                  </a:lnTo>
                  <a:lnTo>
                    <a:pt x="1534" y="2246"/>
                  </a:lnTo>
                  <a:lnTo>
                    <a:pt x="1527" y="2224"/>
                  </a:lnTo>
                  <a:lnTo>
                    <a:pt x="1518" y="2205"/>
                  </a:lnTo>
                  <a:lnTo>
                    <a:pt x="1505" y="2189"/>
                  </a:lnTo>
                  <a:lnTo>
                    <a:pt x="1490" y="2186"/>
                  </a:lnTo>
                  <a:lnTo>
                    <a:pt x="1471" y="2189"/>
                  </a:lnTo>
                  <a:lnTo>
                    <a:pt x="1452" y="2192"/>
                  </a:lnTo>
                  <a:lnTo>
                    <a:pt x="1430" y="2192"/>
                  </a:lnTo>
                  <a:lnTo>
                    <a:pt x="1418" y="2189"/>
                  </a:lnTo>
                  <a:lnTo>
                    <a:pt x="1409" y="2180"/>
                  </a:lnTo>
                  <a:lnTo>
                    <a:pt x="1402" y="2164"/>
                  </a:lnTo>
                  <a:lnTo>
                    <a:pt x="1396" y="2149"/>
                  </a:lnTo>
                  <a:lnTo>
                    <a:pt x="1387" y="2139"/>
                  </a:lnTo>
                  <a:lnTo>
                    <a:pt x="1371" y="2133"/>
                  </a:lnTo>
                  <a:lnTo>
                    <a:pt x="1349" y="2133"/>
                  </a:lnTo>
                  <a:lnTo>
                    <a:pt x="1334" y="2139"/>
                  </a:lnTo>
                  <a:lnTo>
                    <a:pt x="1331" y="2142"/>
                  </a:lnTo>
                  <a:lnTo>
                    <a:pt x="1331" y="2152"/>
                  </a:lnTo>
                  <a:lnTo>
                    <a:pt x="1327" y="2158"/>
                  </a:lnTo>
                  <a:lnTo>
                    <a:pt x="1324" y="2167"/>
                  </a:lnTo>
                  <a:lnTo>
                    <a:pt x="1324" y="2174"/>
                  </a:lnTo>
                  <a:lnTo>
                    <a:pt x="1312" y="2186"/>
                  </a:lnTo>
                  <a:lnTo>
                    <a:pt x="1296" y="2202"/>
                  </a:lnTo>
                  <a:lnTo>
                    <a:pt x="1277" y="2214"/>
                  </a:lnTo>
                  <a:lnTo>
                    <a:pt x="1262" y="2221"/>
                  </a:lnTo>
                  <a:lnTo>
                    <a:pt x="1252" y="2217"/>
                  </a:lnTo>
                  <a:lnTo>
                    <a:pt x="1246" y="2211"/>
                  </a:lnTo>
                  <a:lnTo>
                    <a:pt x="1237" y="2202"/>
                  </a:lnTo>
                  <a:lnTo>
                    <a:pt x="1231" y="2192"/>
                  </a:lnTo>
                  <a:lnTo>
                    <a:pt x="1221" y="2183"/>
                  </a:lnTo>
                  <a:lnTo>
                    <a:pt x="1215" y="2174"/>
                  </a:lnTo>
                  <a:lnTo>
                    <a:pt x="1196" y="2158"/>
                  </a:lnTo>
                  <a:lnTo>
                    <a:pt x="1174" y="2139"/>
                  </a:lnTo>
                  <a:lnTo>
                    <a:pt x="1156" y="2127"/>
                  </a:lnTo>
                  <a:lnTo>
                    <a:pt x="1137" y="2127"/>
                  </a:lnTo>
                  <a:lnTo>
                    <a:pt x="1118" y="2133"/>
                  </a:lnTo>
                  <a:lnTo>
                    <a:pt x="1103" y="2139"/>
                  </a:lnTo>
                  <a:lnTo>
                    <a:pt x="1099" y="2146"/>
                  </a:lnTo>
                  <a:lnTo>
                    <a:pt x="1099" y="2155"/>
                  </a:lnTo>
                  <a:lnTo>
                    <a:pt x="1103" y="2164"/>
                  </a:lnTo>
                  <a:lnTo>
                    <a:pt x="1103" y="2171"/>
                  </a:lnTo>
                  <a:lnTo>
                    <a:pt x="1103" y="2180"/>
                  </a:lnTo>
                  <a:lnTo>
                    <a:pt x="1103" y="2186"/>
                  </a:lnTo>
                  <a:lnTo>
                    <a:pt x="1099" y="2192"/>
                  </a:lnTo>
                  <a:lnTo>
                    <a:pt x="1093" y="2199"/>
                  </a:lnTo>
                  <a:lnTo>
                    <a:pt x="1087" y="2205"/>
                  </a:lnTo>
                  <a:lnTo>
                    <a:pt x="1078" y="2211"/>
                  </a:lnTo>
                  <a:lnTo>
                    <a:pt x="1071" y="2214"/>
                  </a:lnTo>
                  <a:lnTo>
                    <a:pt x="1056" y="2217"/>
                  </a:lnTo>
                  <a:lnTo>
                    <a:pt x="1034" y="2217"/>
                  </a:lnTo>
                  <a:lnTo>
                    <a:pt x="1015" y="2214"/>
                  </a:lnTo>
                  <a:lnTo>
                    <a:pt x="1000" y="2214"/>
                  </a:lnTo>
                  <a:lnTo>
                    <a:pt x="981" y="2214"/>
                  </a:lnTo>
                  <a:lnTo>
                    <a:pt x="965" y="2214"/>
                  </a:lnTo>
                  <a:lnTo>
                    <a:pt x="953" y="2217"/>
                  </a:lnTo>
                  <a:lnTo>
                    <a:pt x="946" y="2221"/>
                  </a:lnTo>
                  <a:lnTo>
                    <a:pt x="946" y="2230"/>
                  </a:lnTo>
                  <a:lnTo>
                    <a:pt x="943" y="2236"/>
                  </a:lnTo>
                  <a:lnTo>
                    <a:pt x="943" y="2246"/>
                  </a:lnTo>
                  <a:lnTo>
                    <a:pt x="940" y="2252"/>
                  </a:lnTo>
                  <a:lnTo>
                    <a:pt x="937" y="2255"/>
                  </a:lnTo>
                  <a:lnTo>
                    <a:pt x="928" y="2258"/>
                  </a:lnTo>
                  <a:lnTo>
                    <a:pt x="918" y="2261"/>
                  </a:lnTo>
                  <a:lnTo>
                    <a:pt x="909" y="2261"/>
                  </a:lnTo>
                  <a:lnTo>
                    <a:pt x="900" y="2264"/>
                  </a:lnTo>
                  <a:lnTo>
                    <a:pt x="890" y="2264"/>
                  </a:lnTo>
                  <a:lnTo>
                    <a:pt x="868" y="2264"/>
                  </a:lnTo>
                  <a:lnTo>
                    <a:pt x="843" y="2267"/>
                  </a:lnTo>
                  <a:lnTo>
                    <a:pt x="825" y="2261"/>
                  </a:lnTo>
                  <a:lnTo>
                    <a:pt x="818" y="2255"/>
                  </a:lnTo>
                  <a:lnTo>
                    <a:pt x="815" y="2249"/>
                  </a:lnTo>
                  <a:lnTo>
                    <a:pt x="812" y="2239"/>
                  </a:lnTo>
                  <a:lnTo>
                    <a:pt x="812" y="2230"/>
                  </a:lnTo>
                  <a:lnTo>
                    <a:pt x="812" y="2224"/>
                  </a:lnTo>
                  <a:lnTo>
                    <a:pt x="818" y="2214"/>
                  </a:lnTo>
                  <a:lnTo>
                    <a:pt x="822" y="2205"/>
                  </a:lnTo>
                  <a:lnTo>
                    <a:pt x="828" y="2196"/>
                  </a:lnTo>
                  <a:lnTo>
                    <a:pt x="831" y="2189"/>
                  </a:lnTo>
                  <a:lnTo>
                    <a:pt x="834" y="2167"/>
                  </a:lnTo>
                  <a:lnTo>
                    <a:pt x="834" y="2146"/>
                  </a:lnTo>
                  <a:lnTo>
                    <a:pt x="831" y="2127"/>
                  </a:lnTo>
                  <a:lnTo>
                    <a:pt x="815" y="2108"/>
                  </a:lnTo>
                  <a:lnTo>
                    <a:pt x="793" y="2089"/>
                  </a:lnTo>
                  <a:lnTo>
                    <a:pt x="778" y="2074"/>
                  </a:lnTo>
                  <a:lnTo>
                    <a:pt x="775" y="2055"/>
                  </a:lnTo>
                  <a:lnTo>
                    <a:pt x="778" y="2030"/>
                  </a:lnTo>
                  <a:lnTo>
                    <a:pt x="781" y="2005"/>
                  </a:lnTo>
                  <a:lnTo>
                    <a:pt x="778" y="1983"/>
                  </a:lnTo>
                  <a:lnTo>
                    <a:pt x="772" y="1958"/>
                  </a:lnTo>
                  <a:lnTo>
                    <a:pt x="762" y="1930"/>
                  </a:lnTo>
                  <a:lnTo>
                    <a:pt x="750" y="1899"/>
                  </a:lnTo>
                  <a:lnTo>
                    <a:pt x="734" y="1880"/>
                  </a:lnTo>
                  <a:lnTo>
                    <a:pt x="722" y="1874"/>
                  </a:lnTo>
                  <a:lnTo>
                    <a:pt x="706" y="1874"/>
                  </a:lnTo>
                  <a:lnTo>
                    <a:pt x="687" y="1871"/>
                  </a:lnTo>
                  <a:lnTo>
                    <a:pt x="672" y="1868"/>
                  </a:lnTo>
                  <a:lnTo>
                    <a:pt x="656" y="1852"/>
                  </a:lnTo>
                  <a:lnTo>
                    <a:pt x="637" y="1830"/>
                  </a:lnTo>
                  <a:lnTo>
                    <a:pt x="619" y="1818"/>
                  </a:lnTo>
                  <a:lnTo>
                    <a:pt x="603" y="1815"/>
                  </a:lnTo>
                  <a:lnTo>
                    <a:pt x="581" y="1818"/>
                  </a:lnTo>
                  <a:lnTo>
                    <a:pt x="565" y="1818"/>
                  </a:lnTo>
                  <a:lnTo>
                    <a:pt x="547" y="1812"/>
                  </a:lnTo>
                  <a:lnTo>
                    <a:pt x="525" y="1802"/>
                  </a:lnTo>
                  <a:lnTo>
                    <a:pt x="509" y="1793"/>
                  </a:lnTo>
                  <a:lnTo>
                    <a:pt x="500" y="1774"/>
                  </a:lnTo>
                  <a:lnTo>
                    <a:pt x="487" y="1749"/>
                  </a:lnTo>
                  <a:lnTo>
                    <a:pt x="484" y="1724"/>
                  </a:lnTo>
                  <a:lnTo>
                    <a:pt x="487" y="1705"/>
                  </a:lnTo>
                  <a:lnTo>
                    <a:pt x="494" y="1680"/>
                  </a:lnTo>
                  <a:lnTo>
                    <a:pt x="500" y="1652"/>
                  </a:lnTo>
                  <a:lnTo>
                    <a:pt x="497" y="1634"/>
                  </a:lnTo>
                  <a:lnTo>
                    <a:pt x="494" y="1624"/>
                  </a:lnTo>
                  <a:lnTo>
                    <a:pt x="484" y="1618"/>
                  </a:lnTo>
                  <a:lnTo>
                    <a:pt x="472" y="1609"/>
                  </a:lnTo>
                  <a:lnTo>
                    <a:pt x="462" y="1602"/>
                  </a:lnTo>
                  <a:lnTo>
                    <a:pt x="453" y="1599"/>
                  </a:lnTo>
                  <a:lnTo>
                    <a:pt x="428" y="1584"/>
                  </a:lnTo>
                  <a:lnTo>
                    <a:pt x="400" y="1568"/>
                  </a:lnTo>
                  <a:lnTo>
                    <a:pt x="378" y="1552"/>
                  </a:lnTo>
                  <a:lnTo>
                    <a:pt x="372" y="1534"/>
                  </a:lnTo>
                  <a:lnTo>
                    <a:pt x="372" y="1512"/>
                  </a:lnTo>
                  <a:lnTo>
                    <a:pt x="369" y="1487"/>
                  </a:lnTo>
                  <a:lnTo>
                    <a:pt x="366" y="1471"/>
                  </a:lnTo>
                  <a:lnTo>
                    <a:pt x="350" y="1449"/>
                  </a:lnTo>
                  <a:lnTo>
                    <a:pt x="328" y="1431"/>
                  </a:lnTo>
                  <a:lnTo>
                    <a:pt x="309" y="1415"/>
                  </a:lnTo>
                  <a:lnTo>
                    <a:pt x="303" y="1409"/>
                  </a:lnTo>
                  <a:lnTo>
                    <a:pt x="294" y="1406"/>
                  </a:lnTo>
                  <a:lnTo>
                    <a:pt x="284" y="1399"/>
                  </a:lnTo>
                  <a:lnTo>
                    <a:pt x="275" y="1396"/>
                  </a:lnTo>
                  <a:lnTo>
                    <a:pt x="272" y="1390"/>
                  </a:lnTo>
                  <a:lnTo>
                    <a:pt x="263" y="1374"/>
                  </a:lnTo>
                  <a:lnTo>
                    <a:pt x="256" y="1349"/>
                  </a:lnTo>
                  <a:lnTo>
                    <a:pt x="250" y="1328"/>
                  </a:lnTo>
                  <a:lnTo>
                    <a:pt x="244" y="1309"/>
                  </a:lnTo>
                  <a:lnTo>
                    <a:pt x="234" y="1303"/>
                  </a:lnTo>
                  <a:lnTo>
                    <a:pt x="228" y="1296"/>
                  </a:lnTo>
                  <a:lnTo>
                    <a:pt x="216" y="1290"/>
                  </a:lnTo>
                  <a:lnTo>
                    <a:pt x="206" y="1284"/>
                  </a:lnTo>
                  <a:lnTo>
                    <a:pt x="197" y="1278"/>
                  </a:lnTo>
                  <a:lnTo>
                    <a:pt x="194" y="1271"/>
                  </a:lnTo>
                  <a:lnTo>
                    <a:pt x="194" y="1253"/>
                  </a:lnTo>
                  <a:lnTo>
                    <a:pt x="200" y="1231"/>
                  </a:lnTo>
                  <a:lnTo>
                    <a:pt x="213" y="1206"/>
                  </a:lnTo>
                  <a:lnTo>
                    <a:pt x="222" y="1184"/>
                  </a:lnTo>
                  <a:lnTo>
                    <a:pt x="225" y="1165"/>
                  </a:lnTo>
                  <a:lnTo>
                    <a:pt x="222" y="1143"/>
                  </a:lnTo>
                  <a:lnTo>
                    <a:pt x="213" y="1115"/>
                  </a:lnTo>
                  <a:lnTo>
                    <a:pt x="203" y="1090"/>
                  </a:lnTo>
                  <a:lnTo>
                    <a:pt x="194" y="1068"/>
                  </a:lnTo>
                  <a:lnTo>
                    <a:pt x="184" y="1053"/>
                  </a:lnTo>
                  <a:lnTo>
                    <a:pt x="172" y="1034"/>
                  </a:lnTo>
                  <a:lnTo>
                    <a:pt x="163" y="1015"/>
                  </a:lnTo>
                  <a:lnTo>
                    <a:pt x="163" y="997"/>
                  </a:lnTo>
                  <a:lnTo>
                    <a:pt x="169" y="972"/>
                  </a:lnTo>
                  <a:lnTo>
                    <a:pt x="175" y="950"/>
                  </a:lnTo>
                  <a:lnTo>
                    <a:pt x="175" y="931"/>
                  </a:lnTo>
                  <a:lnTo>
                    <a:pt x="175" y="912"/>
                  </a:lnTo>
                  <a:lnTo>
                    <a:pt x="169" y="887"/>
                  </a:lnTo>
                  <a:lnTo>
                    <a:pt x="163" y="868"/>
                  </a:lnTo>
                  <a:lnTo>
                    <a:pt x="150" y="853"/>
                  </a:lnTo>
                  <a:lnTo>
                    <a:pt x="131" y="831"/>
                  </a:lnTo>
                  <a:lnTo>
                    <a:pt x="113" y="812"/>
                  </a:lnTo>
                  <a:lnTo>
                    <a:pt x="103" y="794"/>
                  </a:lnTo>
                  <a:lnTo>
                    <a:pt x="100" y="775"/>
                  </a:lnTo>
                  <a:lnTo>
                    <a:pt x="103" y="750"/>
                  </a:lnTo>
                  <a:lnTo>
                    <a:pt x="103" y="731"/>
                  </a:lnTo>
                  <a:lnTo>
                    <a:pt x="94" y="715"/>
                  </a:lnTo>
                  <a:lnTo>
                    <a:pt x="81" y="694"/>
                  </a:lnTo>
                  <a:lnTo>
                    <a:pt x="66" y="675"/>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Freeform 46">
              <a:extLst>
                <a:ext uri="{FF2B5EF4-FFF2-40B4-BE49-F238E27FC236}">
                  <a16:creationId xmlns:a16="http://schemas.microsoft.com/office/drawing/2014/main" id="{7AD1A24F-E2BB-46B7-9C64-655C72278F04}"/>
                </a:ext>
              </a:extLst>
            </p:cNvPr>
            <p:cNvSpPr>
              <a:spLocks/>
            </p:cNvSpPr>
            <p:nvPr/>
          </p:nvSpPr>
          <p:spPr bwMode="auto">
            <a:xfrm>
              <a:off x="18710276" y="-10821988"/>
              <a:ext cx="5072063" cy="4198938"/>
            </a:xfrm>
            <a:custGeom>
              <a:avLst/>
              <a:gdLst>
                <a:gd name="T0" fmla="*/ 35 w 3195"/>
                <a:gd name="T1" fmla="*/ 569 h 2645"/>
                <a:gd name="T2" fmla="*/ 10 w 3195"/>
                <a:gd name="T3" fmla="*/ 456 h 2645"/>
                <a:gd name="T4" fmla="*/ 234 w 3195"/>
                <a:gd name="T5" fmla="*/ 384 h 2645"/>
                <a:gd name="T6" fmla="*/ 313 w 3195"/>
                <a:gd name="T7" fmla="*/ 141 h 2645"/>
                <a:gd name="T8" fmla="*/ 394 w 3195"/>
                <a:gd name="T9" fmla="*/ 19 h 2645"/>
                <a:gd name="T10" fmla="*/ 562 w 3195"/>
                <a:gd name="T11" fmla="*/ 110 h 2645"/>
                <a:gd name="T12" fmla="*/ 734 w 3195"/>
                <a:gd name="T13" fmla="*/ 172 h 2645"/>
                <a:gd name="T14" fmla="*/ 1015 w 3195"/>
                <a:gd name="T15" fmla="*/ 78 h 2645"/>
                <a:gd name="T16" fmla="*/ 1240 w 3195"/>
                <a:gd name="T17" fmla="*/ 169 h 2645"/>
                <a:gd name="T18" fmla="*/ 1352 w 3195"/>
                <a:gd name="T19" fmla="*/ 100 h 2645"/>
                <a:gd name="T20" fmla="*/ 1552 w 3195"/>
                <a:gd name="T21" fmla="*/ 269 h 2645"/>
                <a:gd name="T22" fmla="*/ 1830 w 3195"/>
                <a:gd name="T23" fmla="*/ 316 h 2645"/>
                <a:gd name="T24" fmla="*/ 2018 w 3195"/>
                <a:gd name="T25" fmla="*/ 413 h 2645"/>
                <a:gd name="T26" fmla="*/ 2183 w 3195"/>
                <a:gd name="T27" fmla="*/ 391 h 2645"/>
                <a:gd name="T28" fmla="*/ 2358 w 3195"/>
                <a:gd name="T29" fmla="*/ 350 h 2645"/>
                <a:gd name="T30" fmla="*/ 2467 w 3195"/>
                <a:gd name="T31" fmla="*/ 291 h 2645"/>
                <a:gd name="T32" fmla="*/ 2670 w 3195"/>
                <a:gd name="T33" fmla="*/ 366 h 2645"/>
                <a:gd name="T34" fmla="*/ 2745 w 3195"/>
                <a:gd name="T35" fmla="*/ 587 h 2645"/>
                <a:gd name="T36" fmla="*/ 2942 w 3195"/>
                <a:gd name="T37" fmla="*/ 734 h 2645"/>
                <a:gd name="T38" fmla="*/ 3123 w 3195"/>
                <a:gd name="T39" fmla="*/ 909 h 2645"/>
                <a:gd name="T40" fmla="*/ 3085 w 3195"/>
                <a:gd name="T41" fmla="*/ 990 h 2645"/>
                <a:gd name="T42" fmla="*/ 3101 w 3195"/>
                <a:gd name="T43" fmla="*/ 1153 h 2645"/>
                <a:gd name="T44" fmla="*/ 3148 w 3195"/>
                <a:gd name="T45" fmla="*/ 1359 h 2645"/>
                <a:gd name="T46" fmla="*/ 3192 w 3195"/>
                <a:gd name="T47" fmla="*/ 1474 h 2645"/>
                <a:gd name="T48" fmla="*/ 3145 w 3195"/>
                <a:gd name="T49" fmla="*/ 1524 h 2645"/>
                <a:gd name="T50" fmla="*/ 3123 w 3195"/>
                <a:gd name="T51" fmla="*/ 1640 h 2645"/>
                <a:gd name="T52" fmla="*/ 3051 w 3195"/>
                <a:gd name="T53" fmla="*/ 1668 h 2645"/>
                <a:gd name="T54" fmla="*/ 3051 w 3195"/>
                <a:gd name="T55" fmla="*/ 1787 h 2645"/>
                <a:gd name="T56" fmla="*/ 3017 w 3195"/>
                <a:gd name="T57" fmla="*/ 1955 h 2645"/>
                <a:gd name="T58" fmla="*/ 2932 w 3195"/>
                <a:gd name="T59" fmla="*/ 2008 h 2645"/>
                <a:gd name="T60" fmla="*/ 2720 w 3195"/>
                <a:gd name="T61" fmla="*/ 2055 h 2645"/>
                <a:gd name="T62" fmla="*/ 2514 w 3195"/>
                <a:gd name="T63" fmla="*/ 2036 h 2645"/>
                <a:gd name="T64" fmla="*/ 2448 w 3195"/>
                <a:gd name="T65" fmla="*/ 2217 h 2645"/>
                <a:gd name="T66" fmla="*/ 2377 w 3195"/>
                <a:gd name="T67" fmla="*/ 2402 h 2645"/>
                <a:gd name="T68" fmla="*/ 2286 w 3195"/>
                <a:gd name="T69" fmla="*/ 2514 h 2645"/>
                <a:gd name="T70" fmla="*/ 2205 w 3195"/>
                <a:gd name="T71" fmla="*/ 2589 h 2645"/>
                <a:gd name="T72" fmla="*/ 2089 w 3195"/>
                <a:gd name="T73" fmla="*/ 2542 h 2645"/>
                <a:gd name="T74" fmla="*/ 1989 w 3195"/>
                <a:gd name="T75" fmla="*/ 2614 h 2645"/>
                <a:gd name="T76" fmla="*/ 1736 w 3195"/>
                <a:gd name="T77" fmla="*/ 2602 h 2645"/>
                <a:gd name="T78" fmla="*/ 1587 w 3195"/>
                <a:gd name="T79" fmla="*/ 2620 h 2645"/>
                <a:gd name="T80" fmla="*/ 1640 w 3195"/>
                <a:gd name="T81" fmla="*/ 2436 h 2645"/>
                <a:gd name="T82" fmla="*/ 1537 w 3195"/>
                <a:gd name="T83" fmla="*/ 2283 h 2645"/>
                <a:gd name="T84" fmla="*/ 1418 w 3195"/>
                <a:gd name="T85" fmla="*/ 2189 h 2645"/>
                <a:gd name="T86" fmla="*/ 1327 w 3195"/>
                <a:gd name="T87" fmla="*/ 2158 h 2645"/>
                <a:gd name="T88" fmla="*/ 1231 w 3195"/>
                <a:gd name="T89" fmla="*/ 2192 h 2645"/>
                <a:gd name="T90" fmla="*/ 1099 w 3195"/>
                <a:gd name="T91" fmla="*/ 2155 h 2645"/>
                <a:gd name="T92" fmla="*/ 1056 w 3195"/>
                <a:gd name="T93" fmla="*/ 2217 h 2645"/>
                <a:gd name="T94" fmla="*/ 943 w 3195"/>
                <a:gd name="T95" fmla="*/ 2246 h 2645"/>
                <a:gd name="T96" fmla="*/ 825 w 3195"/>
                <a:gd name="T97" fmla="*/ 2261 h 2645"/>
                <a:gd name="T98" fmla="*/ 834 w 3195"/>
                <a:gd name="T99" fmla="*/ 2167 h 2645"/>
                <a:gd name="T100" fmla="*/ 772 w 3195"/>
                <a:gd name="T101" fmla="*/ 1958 h 2645"/>
                <a:gd name="T102" fmla="*/ 619 w 3195"/>
                <a:gd name="T103" fmla="*/ 1818 h 2645"/>
                <a:gd name="T104" fmla="*/ 487 w 3195"/>
                <a:gd name="T105" fmla="*/ 1705 h 2645"/>
                <a:gd name="T106" fmla="*/ 400 w 3195"/>
                <a:gd name="T107" fmla="*/ 1568 h 2645"/>
                <a:gd name="T108" fmla="*/ 294 w 3195"/>
                <a:gd name="T109" fmla="*/ 1406 h 2645"/>
                <a:gd name="T110" fmla="*/ 216 w 3195"/>
                <a:gd name="T111" fmla="*/ 1290 h 2645"/>
                <a:gd name="T112" fmla="*/ 213 w 3195"/>
                <a:gd name="T113" fmla="*/ 1115 h 2645"/>
                <a:gd name="T114" fmla="*/ 175 w 3195"/>
                <a:gd name="T115" fmla="*/ 912 h 2645"/>
                <a:gd name="T116" fmla="*/ 94 w 3195"/>
                <a:gd name="T117" fmla="*/ 715 h 2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95" h="2645">
                  <a:moveTo>
                    <a:pt x="66" y="675"/>
                  </a:moveTo>
                  <a:lnTo>
                    <a:pt x="60" y="662"/>
                  </a:lnTo>
                  <a:lnTo>
                    <a:pt x="53" y="653"/>
                  </a:lnTo>
                  <a:lnTo>
                    <a:pt x="47" y="641"/>
                  </a:lnTo>
                  <a:lnTo>
                    <a:pt x="47" y="628"/>
                  </a:lnTo>
                  <a:lnTo>
                    <a:pt x="50" y="609"/>
                  </a:lnTo>
                  <a:lnTo>
                    <a:pt x="50" y="591"/>
                  </a:lnTo>
                  <a:lnTo>
                    <a:pt x="47" y="575"/>
                  </a:lnTo>
                  <a:lnTo>
                    <a:pt x="44" y="572"/>
                  </a:lnTo>
                  <a:lnTo>
                    <a:pt x="35" y="569"/>
                  </a:lnTo>
                  <a:lnTo>
                    <a:pt x="25" y="566"/>
                  </a:lnTo>
                  <a:lnTo>
                    <a:pt x="19" y="562"/>
                  </a:lnTo>
                  <a:lnTo>
                    <a:pt x="13" y="556"/>
                  </a:lnTo>
                  <a:lnTo>
                    <a:pt x="7" y="550"/>
                  </a:lnTo>
                  <a:lnTo>
                    <a:pt x="3" y="541"/>
                  </a:lnTo>
                  <a:lnTo>
                    <a:pt x="0" y="531"/>
                  </a:lnTo>
                  <a:lnTo>
                    <a:pt x="0" y="519"/>
                  </a:lnTo>
                  <a:lnTo>
                    <a:pt x="0" y="513"/>
                  </a:lnTo>
                  <a:lnTo>
                    <a:pt x="3" y="488"/>
                  </a:lnTo>
                  <a:lnTo>
                    <a:pt x="10" y="456"/>
                  </a:lnTo>
                  <a:lnTo>
                    <a:pt x="19" y="428"/>
                  </a:lnTo>
                  <a:lnTo>
                    <a:pt x="31" y="409"/>
                  </a:lnTo>
                  <a:lnTo>
                    <a:pt x="56" y="400"/>
                  </a:lnTo>
                  <a:lnTo>
                    <a:pt x="88" y="397"/>
                  </a:lnTo>
                  <a:lnTo>
                    <a:pt x="119" y="400"/>
                  </a:lnTo>
                  <a:lnTo>
                    <a:pt x="144" y="400"/>
                  </a:lnTo>
                  <a:lnTo>
                    <a:pt x="166" y="400"/>
                  </a:lnTo>
                  <a:lnTo>
                    <a:pt x="191" y="403"/>
                  </a:lnTo>
                  <a:lnTo>
                    <a:pt x="213" y="400"/>
                  </a:lnTo>
                  <a:lnTo>
                    <a:pt x="234" y="384"/>
                  </a:lnTo>
                  <a:lnTo>
                    <a:pt x="256" y="360"/>
                  </a:lnTo>
                  <a:lnTo>
                    <a:pt x="275" y="338"/>
                  </a:lnTo>
                  <a:lnTo>
                    <a:pt x="288" y="316"/>
                  </a:lnTo>
                  <a:lnTo>
                    <a:pt x="300" y="288"/>
                  </a:lnTo>
                  <a:lnTo>
                    <a:pt x="309" y="263"/>
                  </a:lnTo>
                  <a:lnTo>
                    <a:pt x="309" y="241"/>
                  </a:lnTo>
                  <a:lnTo>
                    <a:pt x="306" y="213"/>
                  </a:lnTo>
                  <a:lnTo>
                    <a:pt x="303" y="182"/>
                  </a:lnTo>
                  <a:lnTo>
                    <a:pt x="303" y="160"/>
                  </a:lnTo>
                  <a:lnTo>
                    <a:pt x="313" y="141"/>
                  </a:lnTo>
                  <a:lnTo>
                    <a:pt x="322" y="122"/>
                  </a:lnTo>
                  <a:lnTo>
                    <a:pt x="331" y="107"/>
                  </a:lnTo>
                  <a:lnTo>
                    <a:pt x="338" y="82"/>
                  </a:lnTo>
                  <a:lnTo>
                    <a:pt x="344" y="53"/>
                  </a:lnTo>
                  <a:lnTo>
                    <a:pt x="350" y="29"/>
                  </a:lnTo>
                  <a:lnTo>
                    <a:pt x="356" y="19"/>
                  </a:lnTo>
                  <a:lnTo>
                    <a:pt x="366" y="10"/>
                  </a:lnTo>
                  <a:lnTo>
                    <a:pt x="378" y="0"/>
                  </a:lnTo>
                  <a:lnTo>
                    <a:pt x="387" y="10"/>
                  </a:lnTo>
                  <a:lnTo>
                    <a:pt x="394" y="19"/>
                  </a:lnTo>
                  <a:lnTo>
                    <a:pt x="403" y="25"/>
                  </a:lnTo>
                  <a:lnTo>
                    <a:pt x="409" y="32"/>
                  </a:lnTo>
                  <a:lnTo>
                    <a:pt x="422" y="53"/>
                  </a:lnTo>
                  <a:lnTo>
                    <a:pt x="441" y="78"/>
                  </a:lnTo>
                  <a:lnTo>
                    <a:pt x="456" y="94"/>
                  </a:lnTo>
                  <a:lnTo>
                    <a:pt x="472" y="94"/>
                  </a:lnTo>
                  <a:lnTo>
                    <a:pt x="491" y="91"/>
                  </a:lnTo>
                  <a:lnTo>
                    <a:pt x="509" y="91"/>
                  </a:lnTo>
                  <a:lnTo>
                    <a:pt x="534" y="97"/>
                  </a:lnTo>
                  <a:lnTo>
                    <a:pt x="562" y="110"/>
                  </a:lnTo>
                  <a:lnTo>
                    <a:pt x="594" y="122"/>
                  </a:lnTo>
                  <a:lnTo>
                    <a:pt x="619" y="135"/>
                  </a:lnTo>
                  <a:lnTo>
                    <a:pt x="644" y="141"/>
                  </a:lnTo>
                  <a:lnTo>
                    <a:pt x="672" y="150"/>
                  </a:lnTo>
                  <a:lnTo>
                    <a:pt x="693" y="157"/>
                  </a:lnTo>
                  <a:lnTo>
                    <a:pt x="703" y="160"/>
                  </a:lnTo>
                  <a:lnTo>
                    <a:pt x="709" y="163"/>
                  </a:lnTo>
                  <a:lnTo>
                    <a:pt x="718" y="166"/>
                  </a:lnTo>
                  <a:lnTo>
                    <a:pt x="728" y="169"/>
                  </a:lnTo>
                  <a:lnTo>
                    <a:pt x="734" y="172"/>
                  </a:lnTo>
                  <a:lnTo>
                    <a:pt x="768" y="166"/>
                  </a:lnTo>
                  <a:lnTo>
                    <a:pt x="806" y="157"/>
                  </a:lnTo>
                  <a:lnTo>
                    <a:pt x="843" y="141"/>
                  </a:lnTo>
                  <a:lnTo>
                    <a:pt x="875" y="125"/>
                  </a:lnTo>
                  <a:lnTo>
                    <a:pt x="893" y="110"/>
                  </a:lnTo>
                  <a:lnTo>
                    <a:pt x="912" y="91"/>
                  </a:lnTo>
                  <a:lnTo>
                    <a:pt x="931" y="78"/>
                  </a:lnTo>
                  <a:lnTo>
                    <a:pt x="959" y="72"/>
                  </a:lnTo>
                  <a:lnTo>
                    <a:pt x="987" y="75"/>
                  </a:lnTo>
                  <a:lnTo>
                    <a:pt x="1015" y="78"/>
                  </a:lnTo>
                  <a:lnTo>
                    <a:pt x="1034" y="85"/>
                  </a:lnTo>
                  <a:lnTo>
                    <a:pt x="1053" y="94"/>
                  </a:lnTo>
                  <a:lnTo>
                    <a:pt x="1071" y="100"/>
                  </a:lnTo>
                  <a:lnTo>
                    <a:pt x="1093" y="100"/>
                  </a:lnTo>
                  <a:lnTo>
                    <a:pt x="1115" y="100"/>
                  </a:lnTo>
                  <a:lnTo>
                    <a:pt x="1134" y="100"/>
                  </a:lnTo>
                  <a:lnTo>
                    <a:pt x="1159" y="113"/>
                  </a:lnTo>
                  <a:lnTo>
                    <a:pt x="1187" y="135"/>
                  </a:lnTo>
                  <a:lnTo>
                    <a:pt x="1215" y="157"/>
                  </a:lnTo>
                  <a:lnTo>
                    <a:pt x="1240" y="169"/>
                  </a:lnTo>
                  <a:lnTo>
                    <a:pt x="1262" y="175"/>
                  </a:lnTo>
                  <a:lnTo>
                    <a:pt x="1284" y="178"/>
                  </a:lnTo>
                  <a:lnTo>
                    <a:pt x="1302" y="175"/>
                  </a:lnTo>
                  <a:lnTo>
                    <a:pt x="1315" y="160"/>
                  </a:lnTo>
                  <a:lnTo>
                    <a:pt x="1327" y="141"/>
                  </a:lnTo>
                  <a:lnTo>
                    <a:pt x="1337" y="122"/>
                  </a:lnTo>
                  <a:lnTo>
                    <a:pt x="1340" y="116"/>
                  </a:lnTo>
                  <a:lnTo>
                    <a:pt x="1343" y="110"/>
                  </a:lnTo>
                  <a:lnTo>
                    <a:pt x="1349" y="103"/>
                  </a:lnTo>
                  <a:lnTo>
                    <a:pt x="1352" y="100"/>
                  </a:lnTo>
                  <a:lnTo>
                    <a:pt x="1371" y="107"/>
                  </a:lnTo>
                  <a:lnTo>
                    <a:pt x="1387" y="125"/>
                  </a:lnTo>
                  <a:lnTo>
                    <a:pt x="1405" y="144"/>
                  </a:lnTo>
                  <a:lnTo>
                    <a:pt x="1421" y="160"/>
                  </a:lnTo>
                  <a:lnTo>
                    <a:pt x="1443" y="169"/>
                  </a:lnTo>
                  <a:lnTo>
                    <a:pt x="1471" y="178"/>
                  </a:lnTo>
                  <a:lnTo>
                    <a:pt x="1493" y="188"/>
                  </a:lnTo>
                  <a:lnTo>
                    <a:pt x="1515" y="210"/>
                  </a:lnTo>
                  <a:lnTo>
                    <a:pt x="1534" y="238"/>
                  </a:lnTo>
                  <a:lnTo>
                    <a:pt x="1552" y="269"/>
                  </a:lnTo>
                  <a:lnTo>
                    <a:pt x="1571" y="291"/>
                  </a:lnTo>
                  <a:lnTo>
                    <a:pt x="1596" y="303"/>
                  </a:lnTo>
                  <a:lnTo>
                    <a:pt x="1630" y="319"/>
                  </a:lnTo>
                  <a:lnTo>
                    <a:pt x="1665" y="331"/>
                  </a:lnTo>
                  <a:lnTo>
                    <a:pt x="1693" y="335"/>
                  </a:lnTo>
                  <a:lnTo>
                    <a:pt x="1721" y="331"/>
                  </a:lnTo>
                  <a:lnTo>
                    <a:pt x="1749" y="322"/>
                  </a:lnTo>
                  <a:lnTo>
                    <a:pt x="1780" y="313"/>
                  </a:lnTo>
                  <a:lnTo>
                    <a:pt x="1805" y="310"/>
                  </a:lnTo>
                  <a:lnTo>
                    <a:pt x="1830" y="316"/>
                  </a:lnTo>
                  <a:lnTo>
                    <a:pt x="1858" y="325"/>
                  </a:lnTo>
                  <a:lnTo>
                    <a:pt x="1880" y="331"/>
                  </a:lnTo>
                  <a:lnTo>
                    <a:pt x="1899" y="338"/>
                  </a:lnTo>
                  <a:lnTo>
                    <a:pt x="1924" y="344"/>
                  </a:lnTo>
                  <a:lnTo>
                    <a:pt x="1943" y="353"/>
                  </a:lnTo>
                  <a:lnTo>
                    <a:pt x="1955" y="369"/>
                  </a:lnTo>
                  <a:lnTo>
                    <a:pt x="1971" y="394"/>
                  </a:lnTo>
                  <a:lnTo>
                    <a:pt x="1989" y="413"/>
                  </a:lnTo>
                  <a:lnTo>
                    <a:pt x="2005" y="422"/>
                  </a:lnTo>
                  <a:lnTo>
                    <a:pt x="2018" y="413"/>
                  </a:lnTo>
                  <a:lnTo>
                    <a:pt x="2030" y="394"/>
                  </a:lnTo>
                  <a:lnTo>
                    <a:pt x="2039" y="372"/>
                  </a:lnTo>
                  <a:lnTo>
                    <a:pt x="2049" y="350"/>
                  </a:lnTo>
                  <a:lnTo>
                    <a:pt x="2061" y="338"/>
                  </a:lnTo>
                  <a:lnTo>
                    <a:pt x="2083" y="331"/>
                  </a:lnTo>
                  <a:lnTo>
                    <a:pt x="2111" y="335"/>
                  </a:lnTo>
                  <a:lnTo>
                    <a:pt x="2133" y="338"/>
                  </a:lnTo>
                  <a:lnTo>
                    <a:pt x="2149" y="350"/>
                  </a:lnTo>
                  <a:lnTo>
                    <a:pt x="2164" y="369"/>
                  </a:lnTo>
                  <a:lnTo>
                    <a:pt x="2183" y="391"/>
                  </a:lnTo>
                  <a:lnTo>
                    <a:pt x="2199" y="409"/>
                  </a:lnTo>
                  <a:lnTo>
                    <a:pt x="2214" y="416"/>
                  </a:lnTo>
                  <a:lnTo>
                    <a:pt x="2233" y="409"/>
                  </a:lnTo>
                  <a:lnTo>
                    <a:pt x="2249" y="394"/>
                  </a:lnTo>
                  <a:lnTo>
                    <a:pt x="2267" y="375"/>
                  </a:lnTo>
                  <a:lnTo>
                    <a:pt x="2286" y="356"/>
                  </a:lnTo>
                  <a:lnTo>
                    <a:pt x="2302" y="347"/>
                  </a:lnTo>
                  <a:lnTo>
                    <a:pt x="2320" y="344"/>
                  </a:lnTo>
                  <a:lnTo>
                    <a:pt x="2339" y="350"/>
                  </a:lnTo>
                  <a:lnTo>
                    <a:pt x="2358" y="350"/>
                  </a:lnTo>
                  <a:lnTo>
                    <a:pt x="2380" y="350"/>
                  </a:lnTo>
                  <a:lnTo>
                    <a:pt x="2408" y="350"/>
                  </a:lnTo>
                  <a:lnTo>
                    <a:pt x="2433" y="347"/>
                  </a:lnTo>
                  <a:lnTo>
                    <a:pt x="2452" y="338"/>
                  </a:lnTo>
                  <a:lnTo>
                    <a:pt x="2458" y="331"/>
                  </a:lnTo>
                  <a:lnTo>
                    <a:pt x="2458" y="325"/>
                  </a:lnTo>
                  <a:lnTo>
                    <a:pt x="2461" y="316"/>
                  </a:lnTo>
                  <a:lnTo>
                    <a:pt x="2461" y="306"/>
                  </a:lnTo>
                  <a:lnTo>
                    <a:pt x="2464" y="297"/>
                  </a:lnTo>
                  <a:lnTo>
                    <a:pt x="2467" y="291"/>
                  </a:lnTo>
                  <a:lnTo>
                    <a:pt x="2486" y="281"/>
                  </a:lnTo>
                  <a:lnTo>
                    <a:pt x="2508" y="269"/>
                  </a:lnTo>
                  <a:lnTo>
                    <a:pt x="2533" y="263"/>
                  </a:lnTo>
                  <a:lnTo>
                    <a:pt x="2552" y="263"/>
                  </a:lnTo>
                  <a:lnTo>
                    <a:pt x="2573" y="269"/>
                  </a:lnTo>
                  <a:lnTo>
                    <a:pt x="2598" y="281"/>
                  </a:lnTo>
                  <a:lnTo>
                    <a:pt x="2620" y="300"/>
                  </a:lnTo>
                  <a:lnTo>
                    <a:pt x="2636" y="316"/>
                  </a:lnTo>
                  <a:lnTo>
                    <a:pt x="2655" y="338"/>
                  </a:lnTo>
                  <a:lnTo>
                    <a:pt x="2670" y="366"/>
                  </a:lnTo>
                  <a:lnTo>
                    <a:pt x="2680" y="391"/>
                  </a:lnTo>
                  <a:lnTo>
                    <a:pt x="2683" y="413"/>
                  </a:lnTo>
                  <a:lnTo>
                    <a:pt x="2680" y="441"/>
                  </a:lnTo>
                  <a:lnTo>
                    <a:pt x="2680" y="466"/>
                  </a:lnTo>
                  <a:lnTo>
                    <a:pt x="2680" y="488"/>
                  </a:lnTo>
                  <a:lnTo>
                    <a:pt x="2686" y="509"/>
                  </a:lnTo>
                  <a:lnTo>
                    <a:pt x="2698" y="537"/>
                  </a:lnTo>
                  <a:lnTo>
                    <a:pt x="2711" y="559"/>
                  </a:lnTo>
                  <a:lnTo>
                    <a:pt x="2726" y="578"/>
                  </a:lnTo>
                  <a:lnTo>
                    <a:pt x="2745" y="587"/>
                  </a:lnTo>
                  <a:lnTo>
                    <a:pt x="2770" y="594"/>
                  </a:lnTo>
                  <a:lnTo>
                    <a:pt x="2789" y="603"/>
                  </a:lnTo>
                  <a:lnTo>
                    <a:pt x="2804" y="622"/>
                  </a:lnTo>
                  <a:lnTo>
                    <a:pt x="2817" y="647"/>
                  </a:lnTo>
                  <a:lnTo>
                    <a:pt x="2829" y="672"/>
                  </a:lnTo>
                  <a:lnTo>
                    <a:pt x="2845" y="691"/>
                  </a:lnTo>
                  <a:lnTo>
                    <a:pt x="2864" y="703"/>
                  </a:lnTo>
                  <a:lnTo>
                    <a:pt x="2892" y="712"/>
                  </a:lnTo>
                  <a:lnTo>
                    <a:pt x="2920" y="725"/>
                  </a:lnTo>
                  <a:lnTo>
                    <a:pt x="2942" y="734"/>
                  </a:lnTo>
                  <a:lnTo>
                    <a:pt x="2964" y="750"/>
                  </a:lnTo>
                  <a:lnTo>
                    <a:pt x="2992" y="775"/>
                  </a:lnTo>
                  <a:lnTo>
                    <a:pt x="3011" y="797"/>
                  </a:lnTo>
                  <a:lnTo>
                    <a:pt x="3020" y="815"/>
                  </a:lnTo>
                  <a:lnTo>
                    <a:pt x="3026" y="844"/>
                  </a:lnTo>
                  <a:lnTo>
                    <a:pt x="3036" y="868"/>
                  </a:lnTo>
                  <a:lnTo>
                    <a:pt x="3045" y="887"/>
                  </a:lnTo>
                  <a:lnTo>
                    <a:pt x="3067" y="900"/>
                  </a:lnTo>
                  <a:lnTo>
                    <a:pt x="3098" y="906"/>
                  </a:lnTo>
                  <a:lnTo>
                    <a:pt x="3123" y="909"/>
                  </a:lnTo>
                  <a:lnTo>
                    <a:pt x="3132" y="909"/>
                  </a:lnTo>
                  <a:lnTo>
                    <a:pt x="3145" y="909"/>
                  </a:lnTo>
                  <a:lnTo>
                    <a:pt x="3157" y="909"/>
                  </a:lnTo>
                  <a:lnTo>
                    <a:pt x="3157" y="928"/>
                  </a:lnTo>
                  <a:lnTo>
                    <a:pt x="3157" y="947"/>
                  </a:lnTo>
                  <a:lnTo>
                    <a:pt x="3154" y="959"/>
                  </a:lnTo>
                  <a:lnTo>
                    <a:pt x="3142" y="968"/>
                  </a:lnTo>
                  <a:lnTo>
                    <a:pt x="3120" y="978"/>
                  </a:lnTo>
                  <a:lnTo>
                    <a:pt x="3101" y="984"/>
                  </a:lnTo>
                  <a:lnTo>
                    <a:pt x="3085" y="990"/>
                  </a:lnTo>
                  <a:lnTo>
                    <a:pt x="3073" y="1006"/>
                  </a:lnTo>
                  <a:lnTo>
                    <a:pt x="3057" y="1025"/>
                  </a:lnTo>
                  <a:lnTo>
                    <a:pt x="3045" y="1046"/>
                  </a:lnTo>
                  <a:lnTo>
                    <a:pt x="3036" y="1062"/>
                  </a:lnTo>
                  <a:lnTo>
                    <a:pt x="3036" y="1084"/>
                  </a:lnTo>
                  <a:lnTo>
                    <a:pt x="3042" y="1106"/>
                  </a:lnTo>
                  <a:lnTo>
                    <a:pt x="3051" y="1125"/>
                  </a:lnTo>
                  <a:lnTo>
                    <a:pt x="3064" y="1134"/>
                  </a:lnTo>
                  <a:lnTo>
                    <a:pt x="3085" y="1143"/>
                  </a:lnTo>
                  <a:lnTo>
                    <a:pt x="3101" y="1153"/>
                  </a:lnTo>
                  <a:lnTo>
                    <a:pt x="3117" y="1175"/>
                  </a:lnTo>
                  <a:lnTo>
                    <a:pt x="3126" y="1206"/>
                  </a:lnTo>
                  <a:lnTo>
                    <a:pt x="3132" y="1234"/>
                  </a:lnTo>
                  <a:lnTo>
                    <a:pt x="3132" y="1256"/>
                  </a:lnTo>
                  <a:lnTo>
                    <a:pt x="3132" y="1281"/>
                  </a:lnTo>
                  <a:lnTo>
                    <a:pt x="3129" y="1306"/>
                  </a:lnTo>
                  <a:lnTo>
                    <a:pt x="3132" y="1328"/>
                  </a:lnTo>
                  <a:lnTo>
                    <a:pt x="3135" y="1337"/>
                  </a:lnTo>
                  <a:lnTo>
                    <a:pt x="3142" y="1346"/>
                  </a:lnTo>
                  <a:lnTo>
                    <a:pt x="3148" y="1359"/>
                  </a:lnTo>
                  <a:lnTo>
                    <a:pt x="3154" y="1368"/>
                  </a:lnTo>
                  <a:lnTo>
                    <a:pt x="3160" y="1377"/>
                  </a:lnTo>
                  <a:lnTo>
                    <a:pt x="3167" y="1381"/>
                  </a:lnTo>
                  <a:lnTo>
                    <a:pt x="3173" y="1387"/>
                  </a:lnTo>
                  <a:lnTo>
                    <a:pt x="3182" y="1393"/>
                  </a:lnTo>
                  <a:lnTo>
                    <a:pt x="3189" y="1399"/>
                  </a:lnTo>
                  <a:lnTo>
                    <a:pt x="3192" y="1406"/>
                  </a:lnTo>
                  <a:lnTo>
                    <a:pt x="3195" y="1424"/>
                  </a:lnTo>
                  <a:lnTo>
                    <a:pt x="3195" y="1449"/>
                  </a:lnTo>
                  <a:lnTo>
                    <a:pt x="3192" y="1474"/>
                  </a:lnTo>
                  <a:lnTo>
                    <a:pt x="3189" y="1496"/>
                  </a:lnTo>
                  <a:lnTo>
                    <a:pt x="3185" y="1505"/>
                  </a:lnTo>
                  <a:lnTo>
                    <a:pt x="3185" y="1509"/>
                  </a:lnTo>
                  <a:lnTo>
                    <a:pt x="3179" y="1509"/>
                  </a:lnTo>
                  <a:lnTo>
                    <a:pt x="3173" y="1512"/>
                  </a:lnTo>
                  <a:lnTo>
                    <a:pt x="3167" y="1512"/>
                  </a:lnTo>
                  <a:lnTo>
                    <a:pt x="3157" y="1515"/>
                  </a:lnTo>
                  <a:lnTo>
                    <a:pt x="3151" y="1518"/>
                  </a:lnTo>
                  <a:lnTo>
                    <a:pt x="3148" y="1521"/>
                  </a:lnTo>
                  <a:lnTo>
                    <a:pt x="3145" y="1524"/>
                  </a:lnTo>
                  <a:lnTo>
                    <a:pt x="3145" y="1530"/>
                  </a:lnTo>
                  <a:lnTo>
                    <a:pt x="3148" y="1540"/>
                  </a:lnTo>
                  <a:lnTo>
                    <a:pt x="3151" y="1549"/>
                  </a:lnTo>
                  <a:lnTo>
                    <a:pt x="3151" y="1555"/>
                  </a:lnTo>
                  <a:lnTo>
                    <a:pt x="3154" y="1565"/>
                  </a:lnTo>
                  <a:lnTo>
                    <a:pt x="3154" y="1571"/>
                  </a:lnTo>
                  <a:lnTo>
                    <a:pt x="3148" y="1593"/>
                  </a:lnTo>
                  <a:lnTo>
                    <a:pt x="3142" y="1618"/>
                  </a:lnTo>
                  <a:lnTo>
                    <a:pt x="3129" y="1637"/>
                  </a:lnTo>
                  <a:lnTo>
                    <a:pt x="3123" y="1640"/>
                  </a:lnTo>
                  <a:lnTo>
                    <a:pt x="3114" y="1640"/>
                  </a:lnTo>
                  <a:lnTo>
                    <a:pt x="3107" y="1637"/>
                  </a:lnTo>
                  <a:lnTo>
                    <a:pt x="3098" y="1637"/>
                  </a:lnTo>
                  <a:lnTo>
                    <a:pt x="3089" y="1637"/>
                  </a:lnTo>
                  <a:lnTo>
                    <a:pt x="3082" y="1637"/>
                  </a:lnTo>
                  <a:lnTo>
                    <a:pt x="3076" y="1640"/>
                  </a:lnTo>
                  <a:lnTo>
                    <a:pt x="3067" y="1646"/>
                  </a:lnTo>
                  <a:lnTo>
                    <a:pt x="3061" y="1652"/>
                  </a:lnTo>
                  <a:lnTo>
                    <a:pt x="3054" y="1662"/>
                  </a:lnTo>
                  <a:lnTo>
                    <a:pt x="3051" y="1668"/>
                  </a:lnTo>
                  <a:lnTo>
                    <a:pt x="3051" y="1687"/>
                  </a:lnTo>
                  <a:lnTo>
                    <a:pt x="3057" y="1708"/>
                  </a:lnTo>
                  <a:lnTo>
                    <a:pt x="3064" y="1730"/>
                  </a:lnTo>
                  <a:lnTo>
                    <a:pt x="3073" y="1749"/>
                  </a:lnTo>
                  <a:lnTo>
                    <a:pt x="3076" y="1758"/>
                  </a:lnTo>
                  <a:lnTo>
                    <a:pt x="3073" y="1762"/>
                  </a:lnTo>
                  <a:lnTo>
                    <a:pt x="3070" y="1768"/>
                  </a:lnTo>
                  <a:lnTo>
                    <a:pt x="3064" y="1774"/>
                  </a:lnTo>
                  <a:lnTo>
                    <a:pt x="3057" y="1780"/>
                  </a:lnTo>
                  <a:lnTo>
                    <a:pt x="3051" y="1787"/>
                  </a:lnTo>
                  <a:lnTo>
                    <a:pt x="3042" y="1793"/>
                  </a:lnTo>
                  <a:lnTo>
                    <a:pt x="3039" y="1802"/>
                  </a:lnTo>
                  <a:lnTo>
                    <a:pt x="3036" y="1808"/>
                  </a:lnTo>
                  <a:lnTo>
                    <a:pt x="3032" y="1827"/>
                  </a:lnTo>
                  <a:lnTo>
                    <a:pt x="3039" y="1855"/>
                  </a:lnTo>
                  <a:lnTo>
                    <a:pt x="3042" y="1880"/>
                  </a:lnTo>
                  <a:lnTo>
                    <a:pt x="3042" y="1902"/>
                  </a:lnTo>
                  <a:lnTo>
                    <a:pt x="3036" y="1921"/>
                  </a:lnTo>
                  <a:lnTo>
                    <a:pt x="3026" y="1940"/>
                  </a:lnTo>
                  <a:lnTo>
                    <a:pt x="3017" y="1955"/>
                  </a:lnTo>
                  <a:lnTo>
                    <a:pt x="3011" y="1968"/>
                  </a:lnTo>
                  <a:lnTo>
                    <a:pt x="3007" y="1980"/>
                  </a:lnTo>
                  <a:lnTo>
                    <a:pt x="3004" y="1993"/>
                  </a:lnTo>
                  <a:lnTo>
                    <a:pt x="2998" y="2005"/>
                  </a:lnTo>
                  <a:lnTo>
                    <a:pt x="2992" y="2014"/>
                  </a:lnTo>
                  <a:lnTo>
                    <a:pt x="2986" y="2018"/>
                  </a:lnTo>
                  <a:lnTo>
                    <a:pt x="2976" y="2021"/>
                  </a:lnTo>
                  <a:lnTo>
                    <a:pt x="2961" y="2018"/>
                  </a:lnTo>
                  <a:lnTo>
                    <a:pt x="2945" y="2011"/>
                  </a:lnTo>
                  <a:lnTo>
                    <a:pt x="2932" y="2008"/>
                  </a:lnTo>
                  <a:lnTo>
                    <a:pt x="2914" y="2008"/>
                  </a:lnTo>
                  <a:lnTo>
                    <a:pt x="2892" y="2008"/>
                  </a:lnTo>
                  <a:lnTo>
                    <a:pt x="2873" y="2008"/>
                  </a:lnTo>
                  <a:lnTo>
                    <a:pt x="2851" y="2014"/>
                  </a:lnTo>
                  <a:lnTo>
                    <a:pt x="2820" y="2024"/>
                  </a:lnTo>
                  <a:lnTo>
                    <a:pt x="2789" y="2033"/>
                  </a:lnTo>
                  <a:lnTo>
                    <a:pt x="2761" y="2046"/>
                  </a:lnTo>
                  <a:lnTo>
                    <a:pt x="2739" y="2052"/>
                  </a:lnTo>
                  <a:lnTo>
                    <a:pt x="2729" y="2055"/>
                  </a:lnTo>
                  <a:lnTo>
                    <a:pt x="2720" y="2055"/>
                  </a:lnTo>
                  <a:lnTo>
                    <a:pt x="2705" y="2049"/>
                  </a:lnTo>
                  <a:lnTo>
                    <a:pt x="2686" y="2039"/>
                  </a:lnTo>
                  <a:lnTo>
                    <a:pt x="2664" y="2033"/>
                  </a:lnTo>
                  <a:lnTo>
                    <a:pt x="2648" y="2027"/>
                  </a:lnTo>
                  <a:lnTo>
                    <a:pt x="2630" y="2021"/>
                  </a:lnTo>
                  <a:lnTo>
                    <a:pt x="2608" y="2011"/>
                  </a:lnTo>
                  <a:lnTo>
                    <a:pt x="2586" y="2008"/>
                  </a:lnTo>
                  <a:lnTo>
                    <a:pt x="2564" y="2014"/>
                  </a:lnTo>
                  <a:lnTo>
                    <a:pt x="2539" y="2024"/>
                  </a:lnTo>
                  <a:lnTo>
                    <a:pt x="2514" y="2036"/>
                  </a:lnTo>
                  <a:lnTo>
                    <a:pt x="2495" y="2046"/>
                  </a:lnTo>
                  <a:lnTo>
                    <a:pt x="2477" y="2061"/>
                  </a:lnTo>
                  <a:lnTo>
                    <a:pt x="2458" y="2077"/>
                  </a:lnTo>
                  <a:lnTo>
                    <a:pt x="2439" y="2099"/>
                  </a:lnTo>
                  <a:lnTo>
                    <a:pt x="2430" y="2114"/>
                  </a:lnTo>
                  <a:lnTo>
                    <a:pt x="2430" y="2133"/>
                  </a:lnTo>
                  <a:lnTo>
                    <a:pt x="2433" y="2152"/>
                  </a:lnTo>
                  <a:lnTo>
                    <a:pt x="2439" y="2174"/>
                  </a:lnTo>
                  <a:lnTo>
                    <a:pt x="2442" y="2189"/>
                  </a:lnTo>
                  <a:lnTo>
                    <a:pt x="2448" y="2217"/>
                  </a:lnTo>
                  <a:lnTo>
                    <a:pt x="2455" y="2252"/>
                  </a:lnTo>
                  <a:lnTo>
                    <a:pt x="2461" y="2280"/>
                  </a:lnTo>
                  <a:lnTo>
                    <a:pt x="2461" y="2296"/>
                  </a:lnTo>
                  <a:lnTo>
                    <a:pt x="2458" y="2317"/>
                  </a:lnTo>
                  <a:lnTo>
                    <a:pt x="2455" y="2333"/>
                  </a:lnTo>
                  <a:lnTo>
                    <a:pt x="2445" y="2352"/>
                  </a:lnTo>
                  <a:lnTo>
                    <a:pt x="2427" y="2374"/>
                  </a:lnTo>
                  <a:lnTo>
                    <a:pt x="2411" y="2389"/>
                  </a:lnTo>
                  <a:lnTo>
                    <a:pt x="2395" y="2395"/>
                  </a:lnTo>
                  <a:lnTo>
                    <a:pt x="2377" y="2402"/>
                  </a:lnTo>
                  <a:lnTo>
                    <a:pt x="2358" y="2408"/>
                  </a:lnTo>
                  <a:lnTo>
                    <a:pt x="2345" y="2414"/>
                  </a:lnTo>
                  <a:lnTo>
                    <a:pt x="2330" y="2439"/>
                  </a:lnTo>
                  <a:lnTo>
                    <a:pt x="2320" y="2470"/>
                  </a:lnTo>
                  <a:lnTo>
                    <a:pt x="2317" y="2498"/>
                  </a:lnTo>
                  <a:lnTo>
                    <a:pt x="2317" y="2508"/>
                  </a:lnTo>
                  <a:lnTo>
                    <a:pt x="2317" y="2520"/>
                  </a:lnTo>
                  <a:lnTo>
                    <a:pt x="2308" y="2517"/>
                  </a:lnTo>
                  <a:lnTo>
                    <a:pt x="2295" y="2517"/>
                  </a:lnTo>
                  <a:lnTo>
                    <a:pt x="2286" y="2514"/>
                  </a:lnTo>
                  <a:lnTo>
                    <a:pt x="2277" y="2514"/>
                  </a:lnTo>
                  <a:lnTo>
                    <a:pt x="2267" y="2517"/>
                  </a:lnTo>
                  <a:lnTo>
                    <a:pt x="2264" y="2520"/>
                  </a:lnTo>
                  <a:lnTo>
                    <a:pt x="2258" y="2530"/>
                  </a:lnTo>
                  <a:lnTo>
                    <a:pt x="2255" y="2539"/>
                  </a:lnTo>
                  <a:lnTo>
                    <a:pt x="2252" y="2548"/>
                  </a:lnTo>
                  <a:lnTo>
                    <a:pt x="2249" y="2558"/>
                  </a:lnTo>
                  <a:lnTo>
                    <a:pt x="2242" y="2564"/>
                  </a:lnTo>
                  <a:lnTo>
                    <a:pt x="2227" y="2577"/>
                  </a:lnTo>
                  <a:lnTo>
                    <a:pt x="2205" y="2589"/>
                  </a:lnTo>
                  <a:lnTo>
                    <a:pt x="2186" y="2592"/>
                  </a:lnTo>
                  <a:lnTo>
                    <a:pt x="2180" y="2589"/>
                  </a:lnTo>
                  <a:lnTo>
                    <a:pt x="2174" y="2583"/>
                  </a:lnTo>
                  <a:lnTo>
                    <a:pt x="2164" y="2573"/>
                  </a:lnTo>
                  <a:lnTo>
                    <a:pt x="2158" y="2567"/>
                  </a:lnTo>
                  <a:lnTo>
                    <a:pt x="2149" y="2558"/>
                  </a:lnTo>
                  <a:lnTo>
                    <a:pt x="2142" y="2555"/>
                  </a:lnTo>
                  <a:lnTo>
                    <a:pt x="2127" y="2548"/>
                  </a:lnTo>
                  <a:lnTo>
                    <a:pt x="2108" y="2542"/>
                  </a:lnTo>
                  <a:lnTo>
                    <a:pt x="2089" y="2542"/>
                  </a:lnTo>
                  <a:lnTo>
                    <a:pt x="2074" y="2542"/>
                  </a:lnTo>
                  <a:lnTo>
                    <a:pt x="2052" y="2548"/>
                  </a:lnTo>
                  <a:lnTo>
                    <a:pt x="2036" y="2555"/>
                  </a:lnTo>
                  <a:lnTo>
                    <a:pt x="2030" y="2561"/>
                  </a:lnTo>
                  <a:lnTo>
                    <a:pt x="2027" y="2567"/>
                  </a:lnTo>
                  <a:lnTo>
                    <a:pt x="2021" y="2577"/>
                  </a:lnTo>
                  <a:lnTo>
                    <a:pt x="2018" y="2586"/>
                  </a:lnTo>
                  <a:lnTo>
                    <a:pt x="2011" y="2595"/>
                  </a:lnTo>
                  <a:lnTo>
                    <a:pt x="2008" y="2602"/>
                  </a:lnTo>
                  <a:lnTo>
                    <a:pt x="1989" y="2614"/>
                  </a:lnTo>
                  <a:lnTo>
                    <a:pt x="1964" y="2623"/>
                  </a:lnTo>
                  <a:lnTo>
                    <a:pt x="1939" y="2630"/>
                  </a:lnTo>
                  <a:lnTo>
                    <a:pt x="1921" y="2633"/>
                  </a:lnTo>
                  <a:lnTo>
                    <a:pt x="1896" y="2630"/>
                  </a:lnTo>
                  <a:lnTo>
                    <a:pt x="1871" y="2617"/>
                  </a:lnTo>
                  <a:lnTo>
                    <a:pt x="1846" y="2608"/>
                  </a:lnTo>
                  <a:lnTo>
                    <a:pt x="1821" y="2602"/>
                  </a:lnTo>
                  <a:lnTo>
                    <a:pt x="1786" y="2595"/>
                  </a:lnTo>
                  <a:lnTo>
                    <a:pt x="1758" y="2595"/>
                  </a:lnTo>
                  <a:lnTo>
                    <a:pt x="1736" y="2602"/>
                  </a:lnTo>
                  <a:lnTo>
                    <a:pt x="1711" y="2611"/>
                  </a:lnTo>
                  <a:lnTo>
                    <a:pt x="1690" y="2620"/>
                  </a:lnTo>
                  <a:lnTo>
                    <a:pt x="1674" y="2630"/>
                  </a:lnTo>
                  <a:lnTo>
                    <a:pt x="1652" y="2642"/>
                  </a:lnTo>
                  <a:lnTo>
                    <a:pt x="1630" y="2645"/>
                  </a:lnTo>
                  <a:lnTo>
                    <a:pt x="1624" y="2645"/>
                  </a:lnTo>
                  <a:lnTo>
                    <a:pt x="1612" y="2642"/>
                  </a:lnTo>
                  <a:lnTo>
                    <a:pt x="1602" y="2636"/>
                  </a:lnTo>
                  <a:lnTo>
                    <a:pt x="1593" y="2630"/>
                  </a:lnTo>
                  <a:lnTo>
                    <a:pt x="1587" y="2620"/>
                  </a:lnTo>
                  <a:lnTo>
                    <a:pt x="1580" y="2605"/>
                  </a:lnTo>
                  <a:lnTo>
                    <a:pt x="1580" y="2586"/>
                  </a:lnTo>
                  <a:lnTo>
                    <a:pt x="1587" y="2567"/>
                  </a:lnTo>
                  <a:lnTo>
                    <a:pt x="1602" y="2555"/>
                  </a:lnTo>
                  <a:lnTo>
                    <a:pt x="1624" y="2539"/>
                  </a:lnTo>
                  <a:lnTo>
                    <a:pt x="1640" y="2527"/>
                  </a:lnTo>
                  <a:lnTo>
                    <a:pt x="1646" y="2505"/>
                  </a:lnTo>
                  <a:lnTo>
                    <a:pt x="1646" y="2480"/>
                  </a:lnTo>
                  <a:lnTo>
                    <a:pt x="1643" y="2458"/>
                  </a:lnTo>
                  <a:lnTo>
                    <a:pt x="1640" y="2436"/>
                  </a:lnTo>
                  <a:lnTo>
                    <a:pt x="1633" y="2408"/>
                  </a:lnTo>
                  <a:lnTo>
                    <a:pt x="1624" y="2383"/>
                  </a:lnTo>
                  <a:lnTo>
                    <a:pt x="1612" y="2364"/>
                  </a:lnTo>
                  <a:lnTo>
                    <a:pt x="1596" y="2355"/>
                  </a:lnTo>
                  <a:lnTo>
                    <a:pt x="1574" y="2352"/>
                  </a:lnTo>
                  <a:lnTo>
                    <a:pt x="1552" y="2349"/>
                  </a:lnTo>
                  <a:lnTo>
                    <a:pt x="1537" y="2342"/>
                  </a:lnTo>
                  <a:lnTo>
                    <a:pt x="1534" y="2327"/>
                  </a:lnTo>
                  <a:lnTo>
                    <a:pt x="1534" y="2305"/>
                  </a:lnTo>
                  <a:lnTo>
                    <a:pt x="1537" y="2283"/>
                  </a:lnTo>
                  <a:lnTo>
                    <a:pt x="1537" y="2264"/>
                  </a:lnTo>
                  <a:lnTo>
                    <a:pt x="1534" y="2246"/>
                  </a:lnTo>
                  <a:lnTo>
                    <a:pt x="1527" y="2224"/>
                  </a:lnTo>
                  <a:lnTo>
                    <a:pt x="1518" y="2205"/>
                  </a:lnTo>
                  <a:lnTo>
                    <a:pt x="1505" y="2189"/>
                  </a:lnTo>
                  <a:lnTo>
                    <a:pt x="1490" y="2186"/>
                  </a:lnTo>
                  <a:lnTo>
                    <a:pt x="1471" y="2189"/>
                  </a:lnTo>
                  <a:lnTo>
                    <a:pt x="1452" y="2192"/>
                  </a:lnTo>
                  <a:lnTo>
                    <a:pt x="1430" y="2192"/>
                  </a:lnTo>
                  <a:lnTo>
                    <a:pt x="1418" y="2189"/>
                  </a:lnTo>
                  <a:lnTo>
                    <a:pt x="1409" y="2180"/>
                  </a:lnTo>
                  <a:lnTo>
                    <a:pt x="1402" y="2164"/>
                  </a:lnTo>
                  <a:lnTo>
                    <a:pt x="1396" y="2149"/>
                  </a:lnTo>
                  <a:lnTo>
                    <a:pt x="1387" y="2139"/>
                  </a:lnTo>
                  <a:lnTo>
                    <a:pt x="1371" y="2133"/>
                  </a:lnTo>
                  <a:lnTo>
                    <a:pt x="1349" y="2133"/>
                  </a:lnTo>
                  <a:lnTo>
                    <a:pt x="1334" y="2139"/>
                  </a:lnTo>
                  <a:lnTo>
                    <a:pt x="1331" y="2142"/>
                  </a:lnTo>
                  <a:lnTo>
                    <a:pt x="1331" y="2152"/>
                  </a:lnTo>
                  <a:lnTo>
                    <a:pt x="1327" y="2158"/>
                  </a:lnTo>
                  <a:lnTo>
                    <a:pt x="1324" y="2167"/>
                  </a:lnTo>
                  <a:lnTo>
                    <a:pt x="1324" y="2174"/>
                  </a:lnTo>
                  <a:lnTo>
                    <a:pt x="1312" y="2186"/>
                  </a:lnTo>
                  <a:lnTo>
                    <a:pt x="1296" y="2202"/>
                  </a:lnTo>
                  <a:lnTo>
                    <a:pt x="1277" y="2214"/>
                  </a:lnTo>
                  <a:lnTo>
                    <a:pt x="1262" y="2221"/>
                  </a:lnTo>
                  <a:lnTo>
                    <a:pt x="1252" y="2217"/>
                  </a:lnTo>
                  <a:lnTo>
                    <a:pt x="1246" y="2211"/>
                  </a:lnTo>
                  <a:lnTo>
                    <a:pt x="1237" y="2202"/>
                  </a:lnTo>
                  <a:lnTo>
                    <a:pt x="1231" y="2192"/>
                  </a:lnTo>
                  <a:lnTo>
                    <a:pt x="1221" y="2183"/>
                  </a:lnTo>
                  <a:lnTo>
                    <a:pt x="1215" y="2174"/>
                  </a:lnTo>
                  <a:lnTo>
                    <a:pt x="1196" y="2158"/>
                  </a:lnTo>
                  <a:lnTo>
                    <a:pt x="1174" y="2139"/>
                  </a:lnTo>
                  <a:lnTo>
                    <a:pt x="1156" y="2127"/>
                  </a:lnTo>
                  <a:lnTo>
                    <a:pt x="1137" y="2127"/>
                  </a:lnTo>
                  <a:lnTo>
                    <a:pt x="1118" y="2133"/>
                  </a:lnTo>
                  <a:lnTo>
                    <a:pt x="1103" y="2139"/>
                  </a:lnTo>
                  <a:lnTo>
                    <a:pt x="1099" y="2146"/>
                  </a:lnTo>
                  <a:lnTo>
                    <a:pt x="1099" y="2155"/>
                  </a:lnTo>
                  <a:lnTo>
                    <a:pt x="1103" y="2164"/>
                  </a:lnTo>
                  <a:lnTo>
                    <a:pt x="1103" y="2171"/>
                  </a:lnTo>
                  <a:lnTo>
                    <a:pt x="1103" y="2180"/>
                  </a:lnTo>
                  <a:lnTo>
                    <a:pt x="1103" y="2186"/>
                  </a:lnTo>
                  <a:lnTo>
                    <a:pt x="1099" y="2192"/>
                  </a:lnTo>
                  <a:lnTo>
                    <a:pt x="1093" y="2199"/>
                  </a:lnTo>
                  <a:lnTo>
                    <a:pt x="1087" y="2205"/>
                  </a:lnTo>
                  <a:lnTo>
                    <a:pt x="1078" y="2211"/>
                  </a:lnTo>
                  <a:lnTo>
                    <a:pt x="1071" y="2214"/>
                  </a:lnTo>
                  <a:lnTo>
                    <a:pt x="1056" y="2217"/>
                  </a:lnTo>
                  <a:lnTo>
                    <a:pt x="1034" y="2217"/>
                  </a:lnTo>
                  <a:lnTo>
                    <a:pt x="1015" y="2214"/>
                  </a:lnTo>
                  <a:lnTo>
                    <a:pt x="1000" y="2214"/>
                  </a:lnTo>
                  <a:lnTo>
                    <a:pt x="981" y="2214"/>
                  </a:lnTo>
                  <a:lnTo>
                    <a:pt x="965" y="2214"/>
                  </a:lnTo>
                  <a:lnTo>
                    <a:pt x="953" y="2217"/>
                  </a:lnTo>
                  <a:lnTo>
                    <a:pt x="946" y="2221"/>
                  </a:lnTo>
                  <a:lnTo>
                    <a:pt x="946" y="2230"/>
                  </a:lnTo>
                  <a:lnTo>
                    <a:pt x="943" y="2236"/>
                  </a:lnTo>
                  <a:lnTo>
                    <a:pt x="943" y="2246"/>
                  </a:lnTo>
                  <a:lnTo>
                    <a:pt x="940" y="2252"/>
                  </a:lnTo>
                  <a:lnTo>
                    <a:pt x="937" y="2255"/>
                  </a:lnTo>
                  <a:lnTo>
                    <a:pt x="928" y="2258"/>
                  </a:lnTo>
                  <a:lnTo>
                    <a:pt x="918" y="2261"/>
                  </a:lnTo>
                  <a:lnTo>
                    <a:pt x="909" y="2261"/>
                  </a:lnTo>
                  <a:lnTo>
                    <a:pt x="900" y="2264"/>
                  </a:lnTo>
                  <a:lnTo>
                    <a:pt x="890" y="2264"/>
                  </a:lnTo>
                  <a:lnTo>
                    <a:pt x="868" y="2264"/>
                  </a:lnTo>
                  <a:lnTo>
                    <a:pt x="843" y="2267"/>
                  </a:lnTo>
                  <a:lnTo>
                    <a:pt x="825" y="2261"/>
                  </a:lnTo>
                  <a:lnTo>
                    <a:pt x="818" y="2255"/>
                  </a:lnTo>
                  <a:lnTo>
                    <a:pt x="815" y="2249"/>
                  </a:lnTo>
                  <a:lnTo>
                    <a:pt x="812" y="2239"/>
                  </a:lnTo>
                  <a:lnTo>
                    <a:pt x="812" y="2230"/>
                  </a:lnTo>
                  <a:lnTo>
                    <a:pt x="812" y="2224"/>
                  </a:lnTo>
                  <a:lnTo>
                    <a:pt x="818" y="2214"/>
                  </a:lnTo>
                  <a:lnTo>
                    <a:pt x="822" y="2205"/>
                  </a:lnTo>
                  <a:lnTo>
                    <a:pt x="828" y="2196"/>
                  </a:lnTo>
                  <a:lnTo>
                    <a:pt x="831" y="2189"/>
                  </a:lnTo>
                  <a:lnTo>
                    <a:pt x="834" y="2167"/>
                  </a:lnTo>
                  <a:lnTo>
                    <a:pt x="834" y="2146"/>
                  </a:lnTo>
                  <a:lnTo>
                    <a:pt x="831" y="2127"/>
                  </a:lnTo>
                  <a:lnTo>
                    <a:pt x="815" y="2108"/>
                  </a:lnTo>
                  <a:lnTo>
                    <a:pt x="793" y="2089"/>
                  </a:lnTo>
                  <a:lnTo>
                    <a:pt x="778" y="2074"/>
                  </a:lnTo>
                  <a:lnTo>
                    <a:pt x="775" y="2055"/>
                  </a:lnTo>
                  <a:lnTo>
                    <a:pt x="778" y="2030"/>
                  </a:lnTo>
                  <a:lnTo>
                    <a:pt x="781" y="2005"/>
                  </a:lnTo>
                  <a:lnTo>
                    <a:pt x="778" y="1983"/>
                  </a:lnTo>
                  <a:lnTo>
                    <a:pt x="772" y="1958"/>
                  </a:lnTo>
                  <a:lnTo>
                    <a:pt x="762" y="1930"/>
                  </a:lnTo>
                  <a:lnTo>
                    <a:pt x="750" y="1899"/>
                  </a:lnTo>
                  <a:lnTo>
                    <a:pt x="734" y="1880"/>
                  </a:lnTo>
                  <a:lnTo>
                    <a:pt x="722" y="1874"/>
                  </a:lnTo>
                  <a:lnTo>
                    <a:pt x="706" y="1874"/>
                  </a:lnTo>
                  <a:lnTo>
                    <a:pt x="687" y="1871"/>
                  </a:lnTo>
                  <a:lnTo>
                    <a:pt x="672" y="1868"/>
                  </a:lnTo>
                  <a:lnTo>
                    <a:pt x="656" y="1852"/>
                  </a:lnTo>
                  <a:lnTo>
                    <a:pt x="637" y="1830"/>
                  </a:lnTo>
                  <a:lnTo>
                    <a:pt x="619" y="1818"/>
                  </a:lnTo>
                  <a:lnTo>
                    <a:pt x="603" y="1815"/>
                  </a:lnTo>
                  <a:lnTo>
                    <a:pt x="581" y="1818"/>
                  </a:lnTo>
                  <a:lnTo>
                    <a:pt x="565" y="1818"/>
                  </a:lnTo>
                  <a:lnTo>
                    <a:pt x="547" y="1812"/>
                  </a:lnTo>
                  <a:lnTo>
                    <a:pt x="525" y="1802"/>
                  </a:lnTo>
                  <a:lnTo>
                    <a:pt x="509" y="1793"/>
                  </a:lnTo>
                  <a:lnTo>
                    <a:pt x="500" y="1774"/>
                  </a:lnTo>
                  <a:lnTo>
                    <a:pt x="487" y="1749"/>
                  </a:lnTo>
                  <a:lnTo>
                    <a:pt x="484" y="1724"/>
                  </a:lnTo>
                  <a:lnTo>
                    <a:pt x="487" y="1705"/>
                  </a:lnTo>
                  <a:lnTo>
                    <a:pt x="494" y="1680"/>
                  </a:lnTo>
                  <a:lnTo>
                    <a:pt x="500" y="1652"/>
                  </a:lnTo>
                  <a:lnTo>
                    <a:pt x="497" y="1634"/>
                  </a:lnTo>
                  <a:lnTo>
                    <a:pt x="494" y="1624"/>
                  </a:lnTo>
                  <a:lnTo>
                    <a:pt x="484" y="1618"/>
                  </a:lnTo>
                  <a:lnTo>
                    <a:pt x="472" y="1609"/>
                  </a:lnTo>
                  <a:lnTo>
                    <a:pt x="462" y="1602"/>
                  </a:lnTo>
                  <a:lnTo>
                    <a:pt x="453" y="1599"/>
                  </a:lnTo>
                  <a:lnTo>
                    <a:pt x="428" y="1584"/>
                  </a:lnTo>
                  <a:lnTo>
                    <a:pt x="400" y="1568"/>
                  </a:lnTo>
                  <a:lnTo>
                    <a:pt x="378" y="1552"/>
                  </a:lnTo>
                  <a:lnTo>
                    <a:pt x="372" y="1534"/>
                  </a:lnTo>
                  <a:lnTo>
                    <a:pt x="372" y="1512"/>
                  </a:lnTo>
                  <a:lnTo>
                    <a:pt x="369" y="1487"/>
                  </a:lnTo>
                  <a:lnTo>
                    <a:pt x="366" y="1471"/>
                  </a:lnTo>
                  <a:lnTo>
                    <a:pt x="350" y="1449"/>
                  </a:lnTo>
                  <a:lnTo>
                    <a:pt x="328" y="1431"/>
                  </a:lnTo>
                  <a:lnTo>
                    <a:pt x="309" y="1415"/>
                  </a:lnTo>
                  <a:lnTo>
                    <a:pt x="303" y="1409"/>
                  </a:lnTo>
                  <a:lnTo>
                    <a:pt x="294" y="1406"/>
                  </a:lnTo>
                  <a:lnTo>
                    <a:pt x="284" y="1399"/>
                  </a:lnTo>
                  <a:lnTo>
                    <a:pt x="275" y="1396"/>
                  </a:lnTo>
                  <a:lnTo>
                    <a:pt x="272" y="1390"/>
                  </a:lnTo>
                  <a:lnTo>
                    <a:pt x="263" y="1374"/>
                  </a:lnTo>
                  <a:lnTo>
                    <a:pt x="256" y="1349"/>
                  </a:lnTo>
                  <a:lnTo>
                    <a:pt x="250" y="1328"/>
                  </a:lnTo>
                  <a:lnTo>
                    <a:pt x="244" y="1309"/>
                  </a:lnTo>
                  <a:lnTo>
                    <a:pt x="234" y="1303"/>
                  </a:lnTo>
                  <a:lnTo>
                    <a:pt x="228" y="1296"/>
                  </a:lnTo>
                  <a:lnTo>
                    <a:pt x="216" y="1290"/>
                  </a:lnTo>
                  <a:lnTo>
                    <a:pt x="206" y="1284"/>
                  </a:lnTo>
                  <a:lnTo>
                    <a:pt x="197" y="1278"/>
                  </a:lnTo>
                  <a:lnTo>
                    <a:pt x="194" y="1271"/>
                  </a:lnTo>
                  <a:lnTo>
                    <a:pt x="194" y="1253"/>
                  </a:lnTo>
                  <a:lnTo>
                    <a:pt x="200" y="1231"/>
                  </a:lnTo>
                  <a:lnTo>
                    <a:pt x="213" y="1206"/>
                  </a:lnTo>
                  <a:lnTo>
                    <a:pt x="222" y="1184"/>
                  </a:lnTo>
                  <a:lnTo>
                    <a:pt x="225" y="1165"/>
                  </a:lnTo>
                  <a:lnTo>
                    <a:pt x="222" y="1143"/>
                  </a:lnTo>
                  <a:lnTo>
                    <a:pt x="213" y="1115"/>
                  </a:lnTo>
                  <a:lnTo>
                    <a:pt x="203" y="1090"/>
                  </a:lnTo>
                  <a:lnTo>
                    <a:pt x="194" y="1068"/>
                  </a:lnTo>
                  <a:lnTo>
                    <a:pt x="184" y="1053"/>
                  </a:lnTo>
                  <a:lnTo>
                    <a:pt x="172" y="1034"/>
                  </a:lnTo>
                  <a:lnTo>
                    <a:pt x="163" y="1015"/>
                  </a:lnTo>
                  <a:lnTo>
                    <a:pt x="163" y="997"/>
                  </a:lnTo>
                  <a:lnTo>
                    <a:pt x="169" y="972"/>
                  </a:lnTo>
                  <a:lnTo>
                    <a:pt x="175" y="950"/>
                  </a:lnTo>
                  <a:lnTo>
                    <a:pt x="175" y="931"/>
                  </a:lnTo>
                  <a:lnTo>
                    <a:pt x="175" y="912"/>
                  </a:lnTo>
                  <a:lnTo>
                    <a:pt x="169" y="887"/>
                  </a:lnTo>
                  <a:lnTo>
                    <a:pt x="163" y="868"/>
                  </a:lnTo>
                  <a:lnTo>
                    <a:pt x="150" y="853"/>
                  </a:lnTo>
                  <a:lnTo>
                    <a:pt x="131" y="831"/>
                  </a:lnTo>
                  <a:lnTo>
                    <a:pt x="113" y="812"/>
                  </a:lnTo>
                  <a:lnTo>
                    <a:pt x="103" y="794"/>
                  </a:lnTo>
                  <a:lnTo>
                    <a:pt x="100" y="775"/>
                  </a:lnTo>
                  <a:lnTo>
                    <a:pt x="103" y="750"/>
                  </a:lnTo>
                  <a:lnTo>
                    <a:pt x="103" y="731"/>
                  </a:lnTo>
                  <a:lnTo>
                    <a:pt x="94" y="715"/>
                  </a:lnTo>
                  <a:lnTo>
                    <a:pt x="81" y="694"/>
                  </a:lnTo>
                  <a:lnTo>
                    <a:pt x="66" y="675"/>
                  </a:lnTo>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0" name="Freeform 47">
              <a:extLst>
                <a:ext uri="{FF2B5EF4-FFF2-40B4-BE49-F238E27FC236}">
                  <a16:creationId xmlns:a16="http://schemas.microsoft.com/office/drawing/2014/main" id="{388EA94A-B298-4CE8-A6A6-C0B128A82982}"/>
                </a:ext>
              </a:extLst>
            </p:cNvPr>
            <p:cNvSpPr>
              <a:spLocks/>
            </p:cNvSpPr>
            <p:nvPr/>
          </p:nvSpPr>
          <p:spPr bwMode="auto">
            <a:xfrm>
              <a:off x="15354301" y="-13979525"/>
              <a:ext cx="4229100" cy="5230813"/>
            </a:xfrm>
            <a:custGeom>
              <a:avLst/>
              <a:gdLst>
                <a:gd name="T0" fmla="*/ 2427 w 2664"/>
                <a:gd name="T1" fmla="*/ 2130 h 3295"/>
                <a:gd name="T2" fmla="*/ 2370 w 2664"/>
                <a:gd name="T3" fmla="*/ 2349 h 3295"/>
                <a:gd name="T4" fmla="*/ 2145 w 2664"/>
                <a:gd name="T5" fmla="*/ 2398 h 3295"/>
                <a:gd name="T6" fmla="*/ 2127 w 2664"/>
                <a:gd name="T7" fmla="*/ 2545 h 3295"/>
                <a:gd name="T8" fmla="*/ 2161 w 2664"/>
                <a:gd name="T9" fmla="*/ 2630 h 3295"/>
                <a:gd name="T10" fmla="*/ 2092 w 2664"/>
                <a:gd name="T11" fmla="*/ 2745 h 3295"/>
                <a:gd name="T12" fmla="*/ 2077 w 2664"/>
                <a:gd name="T13" fmla="*/ 2854 h 3295"/>
                <a:gd name="T14" fmla="*/ 1958 w 2664"/>
                <a:gd name="T15" fmla="*/ 2973 h 3295"/>
                <a:gd name="T16" fmla="*/ 1789 w 2664"/>
                <a:gd name="T17" fmla="*/ 3114 h 3295"/>
                <a:gd name="T18" fmla="*/ 1674 w 2664"/>
                <a:gd name="T19" fmla="*/ 3070 h 3295"/>
                <a:gd name="T20" fmla="*/ 1443 w 2664"/>
                <a:gd name="T21" fmla="*/ 3123 h 3295"/>
                <a:gd name="T22" fmla="*/ 1206 w 2664"/>
                <a:gd name="T23" fmla="*/ 3217 h 3295"/>
                <a:gd name="T24" fmla="*/ 1065 w 2664"/>
                <a:gd name="T25" fmla="*/ 3285 h 3295"/>
                <a:gd name="T26" fmla="*/ 990 w 2664"/>
                <a:gd name="T27" fmla="*/ 3213 h 3295"/>
                <a:gd name="T28" fmla="*/ 1009 w 2664"/>
                <a:gd name="T29" fmla="*/ 3029 h 3295"/>
                <a:gd name="T30" fmla="*/ 918 w 2664"/>
                <a:gd name="T31" fmla="*/ 3001 h 3295"/>
                <a:gd name="T32" fmla="*/ 818 w 2664"/>
                <a:gd name="T33" fmla="*/ 2876 h 3295"/>
                <a:gd name="T34" fmla="*/ 787 w 2664"/>
                <a:gd name="T35" fmla="*/ 2789 h 3295"/>
                <a:gd name="T36" fmla="*/ 740 w 2664"/>
                <a:gd name="T37" fmla="*/ 2798 h 3295"/>
                <a:gd name="T38" fmla="*/ 603 w 2664"/>
                <a:gd name="T39" fmla="*/ 2789 h 3295"/>
                <a:gd name="T40" fmla="*/ 465 w 2664"/>
                <a:gd name="T41" fmla="*/ 2714 h 3295"/>
                <a:gd name="T42" fmla="*/ 512 w 2664"/>
                <a:gd name="T43" fmla="*/ 2558 h 3295"/>
                <a:gd name="T44" fmla="*/ 431 w 2664"/>
                <a:gd name="T45" fmla="*/ 2383 h 3295"/>
                <a:gd name="T46" fmla="*/ 506 w 2664"/>
                <a:gd name="T47" fmla="*/ 2274 h 3295"/>
                <a:gd name="T48" fmla="*/ 459 w 2664"/>
                <a:gd name="T49" fmla="*/ 2064 h 3295"/>
                <a:gd name="T50" fmla="*/ 406 w 2664"/>
                <a:gd name="T51" fmla="*/ 1924 h 3295"/>
                <a:gd name="T52" fmla="*/ 425 w 2664"/>
                <a:gd name="T53" fmla="*/ 1818 h 3295"/>
                <a:gd name="T54" fmla="*/ 334 w 2664"/>
                <a:gd name="T55" fmla="*/ 1708 h 3295"/>
                <a:gd name="T56" fmla="*/ 353 w 2664"/>
                <a:gd name="T57" fmla="*/ 1518 h 3295"/>
                <a:gd name="T58" fmla="*/ 534 w 2664"/>
                <a:gd name="T59" fmla="*/ 1421 h 3295"/>
                <a:gd name="T60" fmla="*/ 550 w 2664"/>
                <a:gd name="T61" fmla="*/ 1362 h 3295"/>
                <a:gd name="T62" fmla="*/ 422 w 2664"/>
                <a:gd name="T63" fmla="*/ 1396 h 3295"/>
                <a:gd name="T64" fmla="*/ 166 w 2664"/>
                <a:gd name="T65" fmla="*/ 1377 h 3295"/>
                <a:gd name="T66" fmla="*/ 0 w 2664"/>
                <a:gd name="T67" fmla="*/ 1206 h 3295"/>
                <a:gd name="T68" fmla="*/ 128 w 2664"/>
                <a:gd name="T69" fmla="*/ 975 h 3295"/>
                <a:gd name="T70" fmla="*/ 262 w 2664"/>
                <a:gd name="T71" fmla="*/ 756 h 3295"/>
                <a:gd name="T72" fmla="*/ 490 w 2664"/>
                <a:gd name="T73" fmla="*/ 619 h 3295"/>
                <a:gd name="T74" fmla="*/ 700 w 2664"/>
                <a:gd name="T75" fmla="*/ 534 h 3295"/>
                <a:gd name="T76" fmla="*/ 943 w 2664"/>
                <a:gd name="T77" fmla="*/ 434 h 3295"/>
                <a:gd name="T78" fmla="*/ 1243 w 2664"/>
                <a:gd name="T79" fmla="*/ 378 h 3295"/>
                <a:gd name="T80" fmla="*/ 1577 w 2664"/>
                <a:gd name="T81" fmla="*/ 297 h 3295"/>
                <a:gd name="T82" fmla="*/ 1849 w 2664"/>
                <a:gd name="T83" fmla="*/ 131 h 3295"/>
                <a:gd name="T84" fmla="*/ 2102 w 2664"/>
                <a:gd name="T85" fmla="*/ 35 h 3295"/>
                <a:gd name="T86" fmla="*/ 2308 w 2664"/>
                <a:gd name="T87" fmla="*/ 166 h 3295"/>
                <a:gd name="T88" fmla="*/ 2448 w 2664"/>
                <a:gd name="T89" fmla="*/ 356 h 3295"/>
                <a:gd name="T90" fmla="*/ 2508 w 2664"/>
                <a:gd name="T91" fmla="*/ 553 h 3295"/>
                <a:gd name="T92" fmla="*/ 2595 w 2664"/>
                <a:gd name="T93" fmla="*/ 734 h 3295"/>
                <a:gd name="T94" fmla="*/ 2476 w 2664"/>
                <a:gd name="T95" fmla="*/ 868 h 3295"/>
                <a:gd name="T96" fmla="*/ 2573 w 2664"/>
                <a:gd name="T97" fmla="*/ 872 h 3295"/>
                <a:gd name="T98" fmla="*/ 2555 w 2664"/>
                <a:gd name="T99" fmla="*/ 975 h 3295"/>
                <a:gd name="T100" fmla="*/ 2501 w 2664"/>
                <a:gd name="T101" fmla="*/ 1112 h 3295"/>
                <a:gd name="T102" fmla="*/ 2542 w 2664"/>
                <a:gd name="T103" fmla="*/ 1306 h 3295"/>
                <a:gd name="T104" fmla="*/ 2639 w 2664"/>
                <a:gd name="T105" fmla="*/ 1402 h 3295"/>
                <a:gd name="T106" fmla="*/ 2539 w 2664"/>
                <a:gd name="T107" fmla="*/ 1593 h 3295"/>
                <a:gd name="T108" fmla="*/ 2617 w 2664"/>
                <a:gd name="T109" fmla="*/ 1815 h 3295"/>
                <a:gd name="T110" fmla="*/ 2664 w 2664"/>
                <a:gd name="T111" fmla="*/ 1924 h 3295"/>
                <a:gd name="T112" fmla="*/ 2589 w 2664"/>
                <a:gd name="T113" fmla="*/ 1908 h 3295"/>
                <a:gd name="T114" fmla="*/ 2514 w 2664"/>
                <a:gd name="T115" fmla="*/ 1952 h 3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4" h="3295">
                  <a:moveTo>
                    <a:pt x="2492" y="1989"/>
                  </a:moveTo>
                  <a:lnTo>
                    <a:pt x="2480" y="1999"/>
                  </a:lnTo>
                  <a:lnTo>
                    <a:pt x="2470" y="2008"/>
                  </a:lnTo>
                  <a:lnTo>
                    <a:pt x="2464" y="2018"/>
                  </a:lnTo>
                  <a:lnTo>
                    <a:pt x="2458" y="2042"/>
                  </a:lnTo>
                  <a:lnTo>
                    <a:pt x="2452" y="2071"/>
                  </a:lnTo>
                  <a:lnTo>
                    <a:pt x="2445" y="2096"/>
                  </a:lnTo>
                  <a:lnTo>
                    <a:pt x="2436" y="2111"/>
                  </a:lnTo>
                  <a:lnTo>
                    <a:pt x="2427" y="2130"/>
                  </a:lnTo>
                  <a:lnTo>
                    <a:pt x="2417" y="2149"/>
                  </a:lnTo>
                  <a:lnTo>
                    <a:pt x="2417" y="2171"/>
                  </a:lnTo>
                  <a:lnTo>
                    <a:pt x="2420" y="2202"/>
                  </a:lnTo>
                  <a:lnTo>
                    <a:pt x="2423" y="2230"/>
                  </a:lnTo>
                  <a:lnTo>
                    <a:pt x="2423" y="2252"/>
                  </a:lnTo>
                  <a:lnTo>
                    <a:pt x="2414" y="2277"/>
                  </a:lnTo>
                  <a:lnTo>
                    <a:pt x="2402" y="2305"/>
                  </a:lnTo>
                  <a:lnTo>
                    <a:pt x="2389" y="2327"/>
                  </a:lnTo>
                  <a:lnTo>
                    <a:pt x="2370" y="2349"/>
                  </a:lnTo>
                  <a:lnTo>
                    <a:pt x="2348" y="2373"/>
                  </a:lnTo>
                  <a:lnTo>
                    <a:pt x="2327" y="2389"/>
                  </a:lnTo>
                  <a:lnTo>
                    <a:pt x="2305" y="2392"/>
                  </a:lnTo>
                  <a:lnTo>
                    <a:pt x="2280" y="2389"/>
                  </a:lnTo>
                  <a:lnTo>
                    <a:pt x="2258" y="2389"/>
                  </a:lnTo>
                  <a:lnTo>
                    <a:pt x="2233" y="2389"/>
                  </a:lnTo>
                  <a:lnTo>
                    <a:pt x="2202" y="2386"/>
                  </a:lnTo>
                  <a:lnTo>
                    <a:pt x="2170" y="2389"/>
                  </a:lnTo>
                  <a:lnTo>
                    <a:pt x="2145" y="2398"/>
                  </a:lnTo>
                  <a:lnTo>
                    <a:pt x="2133" y="2417"/>
                  </a:lnTo>
                  <a:lnTo>
                    <a:pt x="2124" y="2445"/>
                  </a:lnTo>
                  <a:lnTo>
                    <a:pt x="2117" y="2477"/>
                  </a:lnTo>
                  <a:lnTo>
                    <a:pt x="2114" y="2502"/>
                  </a:lnTo>
                  <a:lnTo>
                    <a:pt x="2114" y="2508"/>
                  </a:lnTo>
                  <a:lnTo>
                    <a:pt x="2114" y="2520"/>
                  </a:lnTo>
                  <a:lnTo>
                    <a:pt x="2117" y="2530"/>
                  </a:lnTo>
                  <a:lnTo>
                    <a:pt x="2121" y="2539"/>
                  </a:lnTo>
                  <a:lnTo>
                    <a:pt x="2127" y="2545"/>
                  </a:lnTo>
                  <a:lnTo>
                    <a:pt x="2133" y="2551"/>
                  </a:lnTo>
                  <a:lnTo>
                    <a:pt x="2139" y="2555"/>
                  </a:lnTo>
                  <a:lnTo>
                    <a:pt x="2149" y="2558"/>
                  </a:lnTo>
                  <a:lnTo>
                    <a:pt x="2158" y="2561"/>
                  </a:lnTo>
                  <a:lnTo>
                    <a:pt x="2161" y="2564"/>
                  </a:lnTo>
                  <a:lnTo>
                    <a:pt x="2164" y="2580"/>
                  </a:lnTo>
                  <a:lnTo>
                    <a:pt x="2164" y="2598"/>
                  </a:lnTo>
                  <a:lnTo>
                    <a:pt x="2161" y="2617"/>
                  </a:lnTo>
                  <a:lnTo>
                    <a:pt x="2161" y="2630"/>
                  </a:lnTo>
                  <a:lnTo>
                    <a:pt x="2167" y="2642"/>
                  </a:lnTo>
                  <a:lnTo>
                    <a:pt x="2174" y="2651"/>
                  </a:lnTo>
                  <a:lnTo>
                    <a:pt x="2180" y="2664"/>
                  </a:lnTo>
                  <a:lnTo>
                    <a:pt x="2158" y="2673"/>
                  </a:lnTo>
                  <a:lnTo>
                    <a:pt x="2139" y="2683"/>
                  </a:lnTo>
                  <a:lnTo>
                    <a:pt x="2124" y="2695"/>
                  </a:lnTo>
                  <a:lnTo>
                    <a:pt x="2111" y="2711"/>
                  </a:lnTo>
                  <a:lnTo>
                    <a:pt x="2099" y="2729"/>
                  </a:lnTo>
                  <a:lnTo>
                    <a:pt x="2092" y="2745"/>
                  </a:lnTo>
                  <a:lnTo>
                    <a:pt x="2096" y="2761"/>
                  </a:lnTo>
                  <a:lnTo>
                    <a:pt x="2102" y="2779"/>
                  </a:lnTo>
                  <a:lnTo>
                    <a:pt x="2108" y="2798"/>
                  </a:lnTo>
                  <a:lnTo>
                    <a:pt x="2108" y="2814"/>
                  </a:lnTo>
                  <a:lnTo>
                    <a:pt x="2105" y="2820"/>
                  </a:lnTo>
                  <a:lnTo>
                    <a:pt x="2102" y="2829"/>
                  </a:lnTo>
                  <a:lnTo>
                    <a:pt x="2092" y="2839"/>
                  </a:lnTo>
                  <a:lnTo>
                    <a:pt x="2086" y="2848"/>
                  </a:lnTo>
                  <a:lnTo>
                    <a:pt x="2077" y="2854"/>
                  </a:lnTo>
                  <a:lnTo>
                    <a:pt x="2071" y="2861"/>
                  </a:lnTo>
                  <a:lnTo>
                    <a:pt x="2055" y="2870"/>
                  </a:lnTo>
                  <a:lnTo>
                    <a:pt x="2030" y="2873"/>
                  </a:lnTo>
                  <a:lnTo>
                    <a:pt x="2008" y="2879"/>
                  </a:lnTo>
                  <a:lnTo>
                    <a:pt x="1992" y="2889"/>
                  </a:lnTo>
                  <a:lnTo>
                    <a:pt x="1980" y="2907"/>
                  </a:lnTo>
                  <a:lnTo>
                    <a:pt x="1974" y="2929"/>
                  </a:lnTo>
                  <a:lnTo>
                    <a:pt x="1964" y="2954"/>
                  </a:lnTo>
                  <a:lnTo>
                    <a:pt x="1958" y="2973"/>
                  </a:lnTo>
                  <a:lnTo>
                    <a:pt x="1949" y="2992"/>
                  </a:lnTo>
                  <a:lnTo>
                    <a:pt x="1939" y="3017"/>
                  </a:lnTo>
                  <a:lnTo>
                    <a:pt x="1930" y="3035"/>
                  </a:lnTo>
                  <a:lnTo>
                    <a:pt x="1908" y="3054"/>
                  </a:lnTo>
                  <a:lnTo>
                    <a:pt x="1883" y="3070"/>
                  </a:lnTo>
                  <a:lnTo>
                    <a:pt x="1855" y="3085"/>
                  </a:lnTo>
                  <a:lnTo>
                    <a:pt x="1830" y="3098"/>
                  </a:lnTo>
                  <a:lnTo>
                    <a:pt x="1811" y="3107"/>
                  </a:lnTo>
                  <a:lnTo>
                    <a:pt x="1789" y="3114"/>
                  </a:lnTo>
                  <a:lnTo>
                    <a:pt x="1768" y="3114"/>
                  </a:lnTo>
                  <a:lnTo>
                    <a:pt x="1761" y="3110"/>
                  </a:lnTo>
                  <a:lnTo>
                    <a:pt x="1752" y="3101"/>
                  </a:lnTo>
                  <a:lnTo>
                    <a:pt x="1746" y="3092"/>
                  </a:lnTo>
                  <a:lnTo>
                    <a:pt x="1740" y="3082"/>
                  </a:lnTo>
                  <a:lnTo>
                    <a:pt x="1730" y="3076"/>
                  </a:lnTo>
                  <a:lnTo>
                    <a:pt x="1724" y="3070"/>
                  </a:lnTo>
                  <a:lnTo>
                    <a:pt x="1702" y="3067"/>
                  </a:lnTo>
                  <a:lnTo>
                    <a:pt x="1674" y="3070"/>
                  </a:lnTo>
                  <a:lnTo>
                    <a:pt x="1643" y="3076"/>
                  </a:lnTo>
                  <a:lnTo>
                    <a:pt x="1615" y="3082"/>
                  </a:lnTo>
                  <a:lnTo>
                    <a:pt x="1590" y="3089"/>
                  </a:lnTo>
                  <a:lnTo>
                    <a:pt x="1565" y="3089"/>
                  </a:lnTo>
                  <a:lnTo>
                    <a:pt x="1537" y="3089"/>
                  </a:lnTo>
                  <a:lnTo>
                    <a:pt x="1512" y="3092"/>
                  </a:lnTo>
                  <a:lnTo>
                    <a:pt x="1490" y="3101"/>
                  </a:lnTo>
                  <a:lnTo>
                    <a:pt x="1465" y="3114"/>
                  </a:lnTo>
                  <a:lnTo>
                    <a:pt x="1443" y="3123"/>
                  </a:lnTo>
                  <a:lnTo>
                    <a:pt x="1424" y="3139"/>
                  </a:lnTo>
                  <a:lnTo>
                    <a:pt x="1402" y="3160"/>
                  </a:lnTo>
                  <a:lnTo>
                    <a:pt x="1377" y="3182"/>
                  </a:lnTo>
                  <a:lnTo>
                    <a:pt x="1359" y="3195"/>
                  </a:lnTo>
                  <a:lnTo>
                    <a:pt x="1330" y="3201"/>
                  </a:lnTo>
                  <a:lnTo>
                    <a:pt x="1296" y="3201"/>
                  </a:lnTo>
                  <a:lnTo>
                    <a:pt x="1259" y="3201"/>
                  </a:lnTo>
                  <a:lnTo>
                    <a:pt x="1231" y="3207"/>
                  </a:lnTo>
                  <a:lnTo>
                    <a:pt x="1206" y="3217"/>
                  </a:lnTo>
                  <a:lnTo>
                    <a:pt x="1174" y="3235"/>
                  </a:lnTo>
                  <a:lnTo>
                    <a:pt x="1152" y="3251"/>
                  </a:lnTo>
                  <a:lnTo>
                    <a:pt x="1143" y="3263"/>
                  </a:lnTo>
                  <a:lnTo>
                    <a:pt x="1134" y="3276"/>
                  </a:lnTo>
                  <a:lnTo>
                    <a:pt x="1124" y="3292"/>
                  </a:lnTo>
                  <a:lnTo>
                    <a:pt x="1106" y="3295"/>
                  </a:lnTo>
                  <a:lnTo>
                    <a:pt x="1087" y="3295"/>
                  </a:lnTo>
                  <a:lnTo>
                    <a:pt x="1071" y="3292"/>
                  </a:lnTo>
                  <a:lnTo>
                    <a:pt x="1065" y="3285"/>
                  </a:lnTo>
                  <a:lnTo>
                    <a:pt x="1056" y="3276"/>
                  </a:lnTo>
                  <a:lnTo>
                    <a:pt x="1046" y="3263"/>
                  </a:lnTo>
                  <a:lnTo>
                    <a:pt x="1037" y="3254"/>
                  </a:lnTo>
                  <a:lnTo>
                    <a:pt x="1031" y="3245"/>
                  </a:lnTo>
                  <a:lnTo>
                    <a:pt x="1021" y="3242"/>
                  </a:lnTo>
                  <a:lnTo>
                    <a:pt x="1012" y="3235"/>
                  </a:lnTo>
                  <a:lnTo>
                    <a:pt x="1003" y="3229"/>
                  </a:lnTo>
                  <a:lnTo>
                    <a:pt x="996" y="3220"/>
                  </a:lnTo>
                  <a:lnTo>
                    <a:pt x="990" y="3213"/>
                  </a:lnTo>
                  <a:lnTo>
                    <a:pt x="984" y="3192"/>
                  </a:lnTo>
                  <a:lnTo>
                    <a:pt x="987" y="3164"/>
                  </a:lnTo>
                  <a:lnTo>
                    <a:pt x="990" y="3142"/>
                  </a:lnTo>
                  <a:lnTo>
                    <a:pt x="1003" y="3126"/>
                  </a:lnTo>
                  <a:lnTo>
                    <a:pt x="1018" y="3104"/>
                  </a:lnTo>
                  <a:lnTo>
                    <a:pt x="1028" y="3089"/>
                  </a:lnTo>
                  <a:lnTo>
                    <a:pt x="1028" y="3070"/>
                  </a:lnTo>
                  <a:lnTo>
                    <a:pt x="1018" y="3051"/>
                  </a:lnTo>
                  <a:lnTo>
                    <a:pt x="1009" y="3029"/>
                  </a:lnTo>
                  <a:lnTo>
                    <a:pt x="1003" y="3014"/>
                  </a:lnTo>
                  <a:lnTo>
                    <a:pt x="996" y="3007"/>
                  </a:lnTo>
                  <a:lnTo>
                    <a:pt x="993" y="2998"/>
                  </a:lnTo>
                  <a:lnTo>
                    <a:pt x="987" y="2992"/>
                  </a:lnTo>
                  <a:lnTo>
                    <a:pt x="981" y="2982"/>
                  </a:lnTo>
                  <a:lnTo>
                    <a:pt x="971" y="2979"/>
                  </a:lnTo>
                  <a:lnTo>
                    <a:pt x="956" y="2982"/>
                  </a:lnTo>
                  <a:lnTo>
                    <a:pt x="937" y="2992"/>
                  </a:lnTo>
                  <a:lnTo>
                    <a:pt x="918" y="3001"/>
                  </a:lnTo>
                  <a:lnTo>
                    <a:pt x="903" y="3004"/>
                  </a:lnTo>
                  <a:lnTo>
                    <a:pt x="884" y="2998"/>
                  </a:lnTo>
                  <a:lnTo>
                    <a:pt x="865" y="2982"/>
                  </a:lnTo>
                  <a:lnTo>
                    <a:pt x="850" y="2967"/>
                  </a:lnTo>
                  <a:lnTo>
                    <a:pt x="843" y="2948"/>
                  </a:lnTo>
                  <a:lnTo>
                    <a:pt x="837" y="2923"/>
                  </a:lnTo>
                  <a:lnTo>
                    <a:pt x="831" y="2901"/>
                  </a:lnTo>
                  <a:lnTo>
                    <a:pt x="825" y="2882"/>
                  </a:lnTo>
                  <a:lnTo>
                    <a:pt x="818" y="2876"/>
                  </a:lnTo>
                  <a:lnTo>
                    <a:pt x="809" y="2870"/>
                  </a:lnTo>
                  <a:lnTo>
                    <a:pt x="803" y="2861"/>
                  </a:lnTo>
                  <a:lnTo>
                    <a:pt x="796" y="2854"/>
                  </a:lnTo>
                  <a:lnTo>
                    <a:pt x="790" y="2848"/>
                  </a:lnTo>
                  <a:lnTo>
                    <a:pt x="790" y="2836"/>
                  </a:lnTo>
                  <a:lnTo>
                    <a:pt x="790" y="2820"/>
                  </a:lnTo>
                  <a:lnTo>
                    <a:pt x="793" y="2804"/>
                  </a:lnTo>
                  <a:lnTo>
                    <a:pt x="790" y="2795"/>
                  </a:lnTo>
                  <a:lnTo>
                    <a:pt x="787" y="2789"/>
                  </a:lnTo>
                  <a:lnTo>
                    <a:pt x="781" y="2786"/>
                  </a:lnTo>
                  <a:lnTo>
                    <a:pt x="771" y="2779"/>
                  </a:lnTo>
                  <a:lnTo>
                    <a:pt x="765" y="2776"/>
                  </a:lnTo>
                  <a:lnTo>
                    <a:pt x="756" y="2776"/>
                  </a:lnTo>
                  <a:lnTo>
                    <a:pt x="750" y="2776"/>
                  </a:lnTo>
                  <a:lnTo>
                    <a:pt x="747" y="2779"/>
                  </a:lnTo>
                  <a:lnTo>
                    <a:pt x="747" y="2786"/>
                  </a:lnTo>
                  <a:lnTo>
                    <a:pt x="743" y="2792"/>
                  </a:lnTo>
                  <a:lnTo>
                    <a:pt x="740" y="2798"/>
                  </a:lnTo>
                  <a:lnTo>
                    <a:pt x="740" y="2801"/>
                  </a:lnTo>
                  <a:lnTo>
                    <a:pt x="715" y="2814"/>
                  </a:lnTo>
                  <a:lnTo>
                    <a:pt x="687" y="2820"/>
                  </a:lnTo>
                  <a:lnTo>
                    <a:pt x="656" y="2823"/>
                  </a:lnTo>
                  <a:lnTo>
                    <a:pt x="631" y="2820"/>
                  </a:lnTo>
                  <a:lnTo>
                    <a:pt x="625" y="2814"/>
                  </a:lnTo>
                  <a:lnTo>
                    <a:pt x="615" y="2808"/>
                  </a:lnTo>
                  <a:lnTo>
                    <a:pt x="609" y="2798"/>
                  </a:lnTo>
                  <a:lnTo>
                    <a:pt x="603" y="2789"/>
                  </a:lnTo>
                  <a:lnTo>
                    <a:pt x="594" y="2783"/>
                  </a:lnTo>
                  <a:lnTo>
                    <a:pt x="587" y="2776"/>
                  </a:lnTo>
                  <a:lnTo>
                    <a:pt x="569" y="2776"/>
                  </a:lnTo>
                  <a:lnTo>
                    <a:pt x="547" y="2776"/>
                  </a:lnTo>
                  <a:lnTo>
                    <a:pt x="525" y="2776"/>
                  </a:lnTo>
                  <a:lnTo>
                    <a:pt x="506" y="2767"/>
                  </a:lnTo>
                  <a:lnTo>
                    <a:pt x="484" y="2754"/>
                  </a:lnTo>
                  <a:lnTo>
                    <a:pt x="472" y="2739"/>
                  </a:lnTo>
                  <a:lnTo>
                    <a:pt x="465" y="2714"/>
                  </a:lnTo>
                  <a:lnTo>
                    <a:pt x="469" y="2683"/>
                  </a:lnTo>
                  <a:lnTo>
                    <a:pt x="475" y="2651"/>
                  </a:lnTo>
                  <a:lnTo>
                    <a:pt x="481" y="2626"/>
                  </a:lnTo>
                  <a:lnTo>
                    <a:pt x="484" y="2617"/>
                  </a:lnTo>
                  <a:lnTo>
                    <a:pt x="490" y="2608"/>
                  </a:lnTo>
                  <a:lnTo>
                    <a:pt x="497" y="2598"/>
                  </a:lnTo>
                  <a:lnTo>
                    <a:pt x="503" y="2586"/>
                  </a:lnTo>
                  <a:lnTo>
                    <a:pt x="506" y="2576"/>
                  </a:lnTo>
                  <a:lnTo>
                    <a:pt x="512" y="2558"/>
                  </a:lnTo>
                  <a:lnTo>
                    <a:pt x="515" y="2533"/>
                  </a:lnTo>
                  <a:lnTo>
                    <a:pt x="519" y="2508"/>
                  </a:lnTo>
                  <a:lnTo>
                    <a:pt x="515" y="2489"/>
                  </a:lnTo>
                  <a:lnTo>
                    <a:pt x="503" y="2470"/>
                  </a:lnTo>
                  <a:lnTo>
                    <a:pt x="484" y="2455"/>
                  </a:lnTo>
                  <a:lnTo>
                    <a:pt x="472" y="2436"/>
                  </a:lnTo>
                  <a:lnTo>
                    <a:pt x="456" y="2420"/>
                  </a:lnTo>
                  <a:lnTo>
                    <a:pt x="440" y="2402"/>
                  </a:lnTo>
                  <a:lnTo>
                    <a:pt x="431" y="2383"/>
                  </a:lnTo>
                  <a:lnTo>
                    <a:pt x="431" y="2364"/>
                  </a:lnTo>
                  <a:lnTo>
                    <a:pt x="437" y="2345"/>
                  </a:lnTo>
                  <a:lnTo>
                    <a:pt x="444" y="2330"/>
                  </a:lnTo>
                  <a:lnTo>
                    <a:pt x="456" y="2324"/>
                  </a:lnTo>
                  <a:lnTo>
                    <a:pt x="475" y="2320"/>
                  </a:lnTo>
                  <a:lnTo>
                    <a:pt x="490" y="2317"/>
                  </a:lnTo>
                  <a:lnTo>
                    <a:pt x="503" y="2311"/>
                  </a:lnTo>
                  <a:lnTo>
                    <a:pt x="509" y="2295"/>
                  </a:lnTo>
                  <a:lnTo>
                    <a:pt x="506" y="2274"/>
                  </a:lnTo>
                  <a:lnTo>
                    <a:pt x="506" y="2258"/>
                  </a:lnTo>
                  <a:lnTo>
                    <a:pt x="497" y="2236"/>
                  </a:lnTo>
                  <a:lnTo>
                    <a:pt x="487" y="2208"/>
                  </a:lnTo>
                  <a:lnTo>
                    <a:pt x="475" y="2183"/>
                  </a:lnTo>
                  <a:lnTo>
                    <a:pt x="465" y="2158"/>
                  </a:lnTo>
                  <a:lnTo>
                    <a:pt x="465" y="2136"/>
                  </a:lnTo>
                  <a:lnTo>
                    <a:pt x="469" y="2111"/>
                  </a:lnTo>
                  <a:lnTo>
                    <a:pt x="465" y="2089"/>
                  </a:lnTo>
                  <a:lnTo>
                    <a:pt x="459" y="2064"/>
                  </a:lnTo>
                  <a:lnTo>
                    <a:pt x="447" y="2039"/>
                  </a:lnTo>
                  <a:lnTo>
                    <a:pt x="434" y="2011"/>
                  </a:lnTo>
                  <a:lnTo>
                    <a:pt x="422" y="1989"/>
                  </a:lnTo>
                  <a:lnTo>
                    <a:pt x="416" y="1977"/>
                  </a:lnTo>
                  <a:lnTo>
                    <a:pt x="406" y="1964"/>
                  </a:lnTo>
                  <a:lnTo>
                    <a:pt x="397" y="1949"/>
                  </a:lnTo>
                  <a:lnTo>
                    <a:pt x="397" y="1936"/>
                  </a:lnTo>
                  <a:lnTo>
                    <a:pt x="400" y="1930"/>
                  </a:lnTo>
                  <a:lnTo>
                    <a:pt x="406" y="1924"/>
                  </a:lnTo>
                  <a:lnTo>
                    <a:pt x="412" y="1921"/>
                  </a:lnTo>
                  <a:lnTo>
                    <a:pt x="419" y="1918"/>
                  </a:lnTo>
                  <a:lnTo>
                    <a:pt x="425" y="1911"/>
                  </a:lnTo>
                  <a:lnTo>
                    <a:pt x="431" y="1905"/>
                  </a:lnTo>
                  <a:lnTo>
                    <a:pt x="434" y="1886"/>
                  </a:lnTo>
                  <a:lnTo>
                    <a:pt x="434" y="1858"/>
                  </a:lnTo>
                  <a:lnTo>
                    <a:pt x="431" y="1836"/>
                  </a:lnTo>
                  <a:lnTo>
                    <a:pt x="431" y="1827"/>
                  </a:lnTo>
                  <a:lnTo>
                    <a:pt x="425" y="1818"/>
                  </a:lnTo>
                  <a:lnTo>
                    <a:pt x="422" y="1805"/>
                  </a:lnTo>
                  <a:lnTo>
                    <a:pt x="416" y="1799"/>
                  </a:lnTo>
                  <a:lnTo>
                    <a:pt x="400" y="1793"/>
                  </a:lnTo>
                  <a:lnTo>
                    <a:pt x="378" y="1790"/>
                  </a:lnTo>
                  <a:lnTo>
                    <a:pt x="362" y="1783"/>
                  </a:lnTo>
                  <a:lnTo>
                    <a:pt x="350" y="1771"/>
                  </a:lnTo>
                  <a:lnTo>
                    <a:pt x="341" y="1749"/>
                  </a:lnTo>
                  <a:lnTo>
                    <a:pt x="334" y="1727"/>
                  </a:lnTo>
                  <a:lnTo>
                    <a:pt x="334" y="1708"/>
                  </a:lnTo>
                  <a:lnTo>
                    <a:pt x="344" y="1693"/>
                  </a:lnTo>
                  <a:lnTo>
                    <a:pt x="359" y="1677"/>
                  </a:lnTo>
                  <a:lnTo>
                    <a:pt x="378" y="1658"/>
                  </a:lnTo>
                  <a:lnTo>
                    <a:pt x="387" y="1643"/>
                  </a:lnTo>
                  <a:lnTo>
                    <a:pt x="384" y="1621"/>
                  </a:lnTo>
                  <a:lnTo>
                    <a:pt x="378" y="1596"/>
                  </a:lnTo>
                  <a:lnTo>
                    <a:pt x="369" y="1568"/>
                  </a:lnTo>
                  <a:lnTo>
                    <a:pt x="356" y="1540"/>
                  </a:lnTo>
                  <a:lnTo>
                    <a:pt x="353" y="1518"/>
                  </a:lnTo>
                  <a:lnTo>
                    <a:pt x="353" y="1490"/>
                  </a:lnTo>
                  <a:lnTo>
                    <a:pt x="353" y="1455"/>
                  </a:lnTo>
                  <a:lnTo>
                    <a:pt x="362" y="1455"/>
                  </a:lnTo>
                  <a:lnTo>
                    <a:pt x="394" y="1452"/>
                  </a:lnTo>
                  <a:lnTo>
                    <a:pt x="428" y="1449"/>
                  </a:lnTo>
                  <a:lnTo>
                    <a:pt x="459" y="1446"/>
                  </a:lnTo>
                  <a:lnTo>
                    <a:pt x="484" y="1440"/>
                  </a:lnTo>
                  <a:lnTo>
                    <a:pt x="512" y="1430"/>
                  </a:lnTo>
                  <a:lnTo>
                    <a:pt x="534" y="1421"/>
                  </a:lnTo>
                  <a:lnTo>
                    <a:pt x="544" y="1415"/>
                  </a:lnTo>
                  <a:lnTo>
                    <a:pt x="550" y="1412"/>
                  </a:lnTo>
                  <a:lnTo>
                    <a:pt x="559" y="1405"/>
                  </a:lnTo>
                  <a:lnTo>
                    <a:pt x="565" y="1399"/>
                  </a:lnTo>
                  <a:lnTo>
                    <a:pt x="572" y="1393"/>
                  </a:lnTo>
                  <a:lnTo>
                    <a:pt x="578" y="1387"/>
                  </a:lnTo>
                  <a:lnTo>
                    <a:pt x="578" y="1381"/>
                  </a:lnTo>
                  <a:lnTo>
                    <a:pt x="569" y="1371"/>
                  </a:lnTo>
                  <a:lnTo>
                    <a:pt x="550" y="1362"/>
                  </a:lnTo>
                  <a:lnTo>
                    <a:pt x="528" y="1356"/>
                  </a:lnTo>
                  <a:lnTo>
                    <a:pt x="509" y="1356"/>
                  </a:lnTo>
                  <a:lnTo>
                    <a:pt x="503" y="1359"/>
                  </a:lnTo>
                  <a:lnTo>
                    <a:pt x="494" y="1365"/>
                  </a:lnTo>
                  <a:lnTo>
                    <a:pt x="487" y="1371"/>
                  </a:lnTo>
                  <a:lnTo>
                    <a:pt x="481" y="1374"/>
                  </a:lnTo>
                  <a:lnTo>
                    <a:pt x="475" y="1381"/>
                  </a:lnTo>
                  <a:lnTo>
                    <a:pt x="450" y="1390"/>
                  </a:lnTo>
                  <a:lnTo>
                    <a:pt x="422" y="1396"/>
                  </a:lnTo>
                  <a:lnTo>
                    <a:pt x="397" y="1399"/>
                  </a:lnTo>
                  <a:lnTo>
                    <a:pt x="375" y="1399"/>
                  </a:lnTo>
                  <a:lnTo>
                    <a:pt x="347" y="1396"/>
                  </a:lnTo>
                  <a:lnTo>
                    <a:pt x="322" y="1390"/>
                  </a:lnTo>
                  <a:lnTo>
                    <a:pt x="300" y="1387"/>
                  </a:lnTo>
                  <a:lnTo>
                    <a:pt x="269" y="1387"/>
                  </a:lnTo>
                  <a:lnTo>
                    <a:pt x="228" y="1387"/>
                  </a:lnTo>
                  <a:lnTo>
                    <a:pt x="197" y="1387"/>
                  </a:lnTo>
                  <a:lnTo>
                    <a:pt x="166" y="1377"/>
                  </a:lnTo>
                  <a:lnTo>
                    <a:pt x="131" y="1368"/>
                  </a:lnTo>
                  <a:lnTo>
                    <a:pt x="97" y="1356"/>
                  </a:lnTo>
                  <a:lnTo>
                    <a:pt x="69" y="1340"/>
                  </a:lnTo>
                  <a:lnTo>
                    <a:pt x="53" y="1327"/>
                  </a:lnTo>
                  <a:lnTo>
                    <a:pt x="35" y="1306"/>
                  </a:lnTo>
                  <a:lnTo>
                    <a:pt x="19" y="1284"/>
                  </a:lnTo>
                  <a:lnTo>
                    <a:pt x="10" y="1265"/>
                  </a:lnTo>
                  <a:lnTo>
                    <a:pt x="3" y="1240"/>
                  </a:lnTo>
                  <a:lnTo>
                    <a:pt x="0" y="1206"/>
                  </a:lnTo>
                  <a:lnTo>
                    <a:pt x="3" y="1181"/>
                  </a:lnTo>
                  <a:lnTo>
                    <a:pt x="6" y="1149"/>
                  </a:lnTo>
                  <a:lnTo>
                    <a:pt x="16" y="1115"/>
                  </a:lnTo>
                  <a:lnTo>
                    <a:pt x="28" y="1087"/>
                  </a:lnTo>
                  <a:lnTo>
                    <a:pt x="53" y="1068"/>
                  </a:lnTo>
                  <a:lnTo>
                    <a:pt x="81" y="1050"/>
                  </a:lnTo>
                  <a:lnTo>
                    <a:pt x="103" y="1031"/>
                  </a:lnTo>
                  <a:lnTo>
                    <a:pt x="119" y="1006"/>
                  </a:lnTo>
                  <a:lnTo>
                    <a:pt x="128" y="975"/>
                  </a:lnTo>
                  <a:lnTo>
                    <a:pt x="138" y="950"/>
                  </a:lnTo>
                  <a:lnTo>
                    <a:pt x="150" y="915"/>
                  </a:lnTo>
                  <a:lnTo>
                    <a:pt x="159" y="875"/>
                  </a:lnTo>
                  <a:lnTo>
                    <a:pt x="169" y="840"/>
                  </a:lnTo>
                  <a:lnTo>
                    <a:pt x="181" y="812"/>
                  </a:lnTo>
                  <a:lnTo>
                    <a:pt x="194" y="784"/>
                  </a:lnTo>
                  <a:lnTo>
                    <a:pt x="213" y="762"/>
                  </a:lnTo>
                  <a:lnTo>
                    <a:pt x="234" y="756"/>
                  </a:lnTo>
                  <a:lnTo>
                    <a:pt x="262" y="756"/>
                  </a:lnTo>
                  <a:lnTo>
                    <a:pt x="294" y="756"/>
                  </a:lnTo>
                  <a:lnTo>
                    <a:pt x="319" y="753"/>
                  </a:lnTo>
                  <a:lnTo>
                    <a:pt x="350" y="740"/>
                  </a:lnTo>
                  <a:lnTo>
                    <a:pt x="387" y="722"/>
                  </a:lnTo>
                  <a:lnTo>
                    <a:pt x="425" y="703"/>
                  </a:lnTo>
                  <a:lnTo>
                    <a:pt x="450" y="681"/>
                  </a:lnTo>
                  <a:lnTo>
                    <a:pt x="465" y="665"/>
                  </a:lnTo>
                  <a:lnTo>
                    <a:pt x="478" y="644"/>
                  </a:lnTo>
                  <a:lnTo>
                    <a:pt x="490" y="619"/>
                  </a:lnTo>
                  <a:lnTo>
                    <a:pt x="506" y="606"/>
                  </a:lnTo>
                  <a:lnTo>
                    <a:pt x="525" y="600"/>
                  </a:lnTo>
                  <a:lnTo>
                    <a:pt x="550" y="600"/>
                  </a:lnTo>
                  <a:lnTo>
                    <a:pt x="578" y="600"/>
                  </a:lnTo>
                  <a:lnTo>
                    <a:pt x="603" y="600"/>
                  </a:lnTo>
                  <a:lnTo>
                    <a:pt x="622" y="597"/>
                  </a:lnTo>
                  <a:lnTo>
                    <a:pt x="647" y="581"/>
                  </a:lnTo>
                  <a:lnTo>
                    <a:pt x="675" y="559"/>
                  </a:lnTo>
                  <a:lnTo>
                    <a:pt x="700" y="534"/>
                  </a:lnTo>
                  <a:lnTo>
                    <a:pt x="722" y="512"/>
                  </a:lnTo>
                  <a:lnTo>
                    <a:pt x="743" y="497"/>
                  </a:lnTo>
                  <a:lnTo>
                    <a:pt x="768" y="478"/>
                  </a:lnTo>
                  <a:lnTo>
                    <a:pt x="793" y="462"/>
                  </a:lnTo>
                  <a:lnTo>
                    <a:pt x="815" y="450"/>
                  </a:lnTo>
                  <a:lnTo>
                    <a:pt x="843" y="447"/>
                  </a:lnTo>
                  <a:lnTo>
                    <a:pt x="878" y="444"/>
                  </a:lnTo>
                  <a:lnTo>
                    <a:pt x="909" y="444"/>
                  </a:lnTo>
                  <a:lnTo>
                    <a:pt x="943" y="434"/>
                  </a:lnTo>
                  <a:lnTo>
                    <a:pt x="987" y="425"/>
                  </a:lnTo>
                  <a:lnTo>
                    <a:pt x="1034" y="413"/>
                  </a:lnTo>
                  <a:lnTo>
                    <a:pt x="1078" y="403"/>
                  </a:lnTo>
                  <a:lnTo>
                    <a:pt x="1112" y="397"/>
                  </a:lnTo>
                  <a:lnTo>
                    <a:pt x="1131" y="397"/>
                  </a:lnTo>
                  <a:lnTo>
                    <a:pt x="1149" y="400"/>
                  </a:lnTo>
                  <a:lnTo>
                    <a:pt x="1168" y="403"/>
                  </a:lnTo>
                  <a:lnTo>
                    <a:pt x="1202" y="394"/>
                  </a:lnTo>
                  <a:lnTo>
                    <a:pt x="1243" y="378"/>
                  </a:lnTo>
                  <a:lnTo>
                    <a:pt x="1284" y="363"/>
                  </a:lnTo>
                  <a:lnTo>
                    <a:pt x="1324" y="344"/>
                  </a:lnTo>
                  <a:lnTo>
                    <a:pt x="1355" y="334"/>
                  </a:lnTo>
                  <a:lnTo>
                    <a:pt x="1390" y="325"/>
                  </a:lnTo>
                  <a:lnTo>
                    <a:pt x="1427" y="313"/>
                  </a:lnTo>
                  <a:lnTo>
                    <a:pt x="1468" y="306"/>
                  </a:lnTo>
                  <a:lnTo>
                    <a:pt x="1502" y="300"/>
                  </a:lnTo>
                  <a:lnTo>
                    <a:pt x="1537" y="297"/>
                  </a:lnTo>
                  <a:lnTo>
                    <a:pt x="1577" y="297"/>
                  </a:lnTo>
                  <a:lnTo>
                    <a:pt x="1618" y="297"/>
                  </a:lnTo>
                  <a:lnTo>
                    <a:pt x="1652" y="291"/>
                  </a:lnTo>
                  <a:lnTo>
                    <a:pt x="1680" y="278"/>
                  </a:lnTo>
                  <a:lnTo>
                    <a:pt x="1711" y="260"/>
                  </a:lnTo>
                  <a:lnTo>
                    <a:pt x="1746" y="241"/>
                  </a:lnTo>
                  <a:lnTo>
                    <a:pt x="1771" y="222"/>
                  </a:lnTo>
                  <a:lnTo>
                    <a:pt x="1796" y="197"/>
                  </a:lnTo>
                  <a:lnTo>
                    <a:pt x="1821" y="166"/>
                  </a:lnTo>
                  <a:lnTo>
                    <a:pt x="1849" y="131"/>
                  </a:lnTo>
                  <a:lnTo>
                    <a:pt x="1871" y="106"/>
                  </a:lnTo>
                  <a:lnTo>
                    <a:pt x="1902" y="85"/>
                  </a:lnTo>
                  <a:lnTo>
                    <a:pt x="1943" y="57"/>
                  </a:lnTo>
                  <a:lnTo>
                    <a:pt x="1986" y="32"/>
                  </a:lnTo>
                  <a:lnTo>
                    <a:pt x="2017" y="7"/>
                  </a:lnTo>
                  <a:lnTo>
                    <a:pt x="2024" y="0"/>
                  </a:lnTo>
                  <a:lnTo>
                    <a:pt x="2049" y="13"/>
                  </a:lnTo>
                  <a:lnTo>
                    <a:pt x="2077" y="25"/>
                  </a:lnTo>
                  <a:lnTo>
                    <a:pt x="2102" y="35"/>
                  </a:lnTo>
                  <a:lnTo>
                    <a:pt x="2124" y="53"/>
                  </a:lnTo>
                  <a:lnTo>
                    <a:pt x="2149" y="78"/>
                  </a:lnTo>
                  <a:lnTo>
                    <a:pt x="2174" y="97"/>
                  </a:lnTo>
                  <a:lnTo>
                    <a:pt x="2192" y="103"/>
                  </a:lnTo>
                  <a:lnTo>
                    <a:pt x="2217" y="110"/>
                  </a:lnTo>
                  <a:lnTo>
                    <a:pt x="2245" y="116"/>
                  </a:lnTo>
                  <a:lnTo>
                    <a:pt x="2264" y="125"/>
                  </a:lnTo>
                  <a:lnTo>
                    <a:pt x="2286" y="141"/>
                  </a:lnTo>
                  <a:lnTo>
                    <a:pt x="2308" y="166"/>
                  </a:lnTo>
                  <a:lnTo>
                    <a:pt x="2330" y="194"/>
                  </a:lnTo>
                  <a:lnTo>
                    <a:pt x="2345" y="216"/>
                  </a:lnTo>
                  <a:lnTo>
                    <a:pt x="2355" y="241"/>
                  </a:lnTo>
                  <a:lnTo>
                    <a:pt x="2364" y="272"/>
                  </a:lnTo>
                  <a:lnTo>
                    <a:pt x="2373" y="300"/>
                  </a:lnTo>
                  <a:lnTo>
                    <a:pt x="2386" y="325"/>
                  </a:lnTo>
                  <a:lnTo>
                    <a:pt x="2402" y="334"/>
                  </a:lnTo>
                  <a:lnTo>
                    <a:pt x="2427" y="347"/>
                  </a:lnTo>
                  <a:lnTo>
                    <a:pt x="2448" y="356"/>
                  </a:lnTo>
                  <a:lnTo>
                    <a:pt x="2464" y="366"/>
                  </a:lnTo>
                  <a:lnTo>
                    <a:pt x="2480" y="391"/>
                  </a:lnTo>
                  <a:lnTo>
                    <a:pt x="2495" y="425"/>
                  </a:lnTo>
                  <a:lnTo>
                    <a:pt x="2505" y="459"/>
                  </a:lnTo>
                  <a:lnTo>
                    <a:pt x="2511" y="491"/>
                  </a:lnTo>
                  <a:lnTo>
                    <a:pt x="2511" y="503"/>
                  </a:lnTo>
                  <a:lnTo>
                    <a:pt x="2508" y="522"/>
                  </a:lnTo>
                  <a:lnTo>
                    <a:pt x="2505" y="541"/>
                  </a:lnTo>
                  <a:lnTo>
                    <a:pt x="2508" y="553"/>
                  </a:lnTo>
                  <a:lnTo>
                    <a:pt x="2520" y="569"/>
                  </a:lnTo>
                  <a:lnTo>
                    <a:pt x="2542" y="581"/>
                  </a:lnTo>
                  <a:lnTo>
                    <a:pt x="2564" y="594"/>
                  </a:lnTo>
                  <a:lnTo>
                    <a:pt x="2580" y="606"/>
                  </a:lnTo>
                  <a:lnTo>
                    <a:pt x="2589" y="631"/>
                  </a:lnTo>
                  <a:lnTo>
                    <a:pt x="2595" y="659"/>
                  </a:lnTo>
                  <a:lnTo>
                    <a:pt x="2598" y="690"/>
                  </a:lnTo>
                  <a:lnTo>
                    <a:pt x="2598" y="715"/>
                  </a:lnTo>
                  <a:lnTo>
                    <a:pt x="2595" y="734"/>
                  </a:lnTo>
                  <a:lnTo>
                    <a:pt x="2589" y="756"/>
                  </a:lnTo>
                  <a:lnTo>
                    <a:pt x="2580" y="772"/>
                  </a:lnTo>
                  <a:lnTo>
                    <a:pt x="2561" y="784"/>
                  </a:lnTo>
                  <a:lnTo>
                    <a:pt x="2536" y="793"/>
                  </a:lnTo>
                  <a:lnTo>
                    <a:pt x="2508" y="806"/>
                  </a:lnTo>
                  <a:lnTo>
                    <a:pt x="2492" y="818"/>
                  </a:lnTo>
                  <a:lnTo>
                    <a:pt x="2486" y="834"/>
                  </a:lnTo>
                  <a:lnTo>
                    <a:pt x="2480" y="853"/>
                  </a:lnTo>
                  <a:lnTo>
                    <a:pt x="2476" y="868"/>
                  </a:lnTo>
                  <a:lnTo>
                    <a:pt x="2483" y="884"/>
                  </a:lnTo>
                  <a:lnTo>
                    <a:pt x="2498" y="893"/>
                  </a:lnTo>
                  <a:lnTo>
                    <a:pt x="2520" y="897"/>
                  </a:lnTo>
                  <a:lnTo>
                    <a:pt x="2539" y="897"/>
                  </a:lnTo>
                  <a:lnTo>
                    <a:pt x="2545" y="893"/>
                  </a:lnTo>
                  <a:lnTo>
                    <a:pt x="2555" y="887"/>
                  </a:lnTo>
                  <a:lnTo>
                    <a:pt x="2561" y="881"/>
                  </a:lnTo>
                  <a:lnTo>
                    <a:pt x="2567" y="875"/>
                  </a:lnTo>
                  <a:lnTo>
                    <a:pt x="2573" y="872"/>
                  </a:lnTo>
                  <a:lnTo>
                    <a:pt x="2580" y="868"/>
                  </a:lnTo>
                  <a:lnTo>
                    <a:pt x="2586" y="868"/>
                  </a:lnTo>
                  <a:lnTo>
                    <a:pt x="2595" y="881"/>
                  </a:lnTo>
                  <a:lnTo>
                    <a:pt x="2601" y="903"/>
                  </a:lnTo>
                  <a:lnTo>
                    <a:pt x="2598" y="928"/>
                  </a:lnTo>
                  <a:lnTo>
                    <a:pt x="2595" y="950"/>
                  </a:lnTo>
                  <a:lnTo>
                    <a:pt x="2586" y="968"/>
                  </a:lnTo>
                  <a:lnTo>
                    <a:pt x="2573" y="975"/>
                  </a:lnTo>
                  <a:lnTo>
                    <a:pt x="2555" y="975"/>
                  </a:lnTo>
                  <a:lnTo>
                    <a:pt x="2533" y="975"/>
                  </a:lnTo>
                  <a:lnTo>
                    <a:pt x="2514" y="975"/>
                  </a:lnTo>
                  <a:lnTo>
                    <a:pt x="2501" y="981"/>
                  </a:lnTo>
                  <a:lnTo>
                    <a:pt x="2495" y="996"/>
                  </a:lnTo>
                  <a:lnTo>
                    <a:pt x="2495" y="1021"/>
                  </a:lnTo>
                  <a:lnTo>
                    <a:pt x="2495" y="1046"/>
                  </a:lnTo>
                  <a:lnTo>
                    <a:pt x="2501" y="1071"/>
                  </a:lnTo>
                  <a:lnTo>
                    <a:pt x="2501" y="1090"/>
                  </a:lnTo>
                  <a:lnTo>
                    <a:pt x="2501" y="1112"/>
                  </a:lnTo>
                  <a:lnTo>
                    <a:pt x="2505" y="1140"/>
                  </a:lnTo>
                  <a:lnTo>
                    <a:pt x="2505" y="1162"/>
                  </a:lnTo>
                  <a:lnTo>
                    <a:pt x="2501" y="1181"/>
                  </a:lnTo>
                  <a:lnTo>
                    <a:pt x="2498" y="1203"/>
                  </a:lnTo>
                  <a:lnTo>
                    <a:pt x="2495" y="1224"/>
                  </a:lnTo>
                  <a:lnTo>
                    <a:pt x="2498" y="1240"/>
                  </a:lnTo>
                  <a:lnTo>
                    <a:pt x="2508" y="1265"/>
                  </a:lnTo>
                  <a:lnTo>
                    <a:pt x="2523" y="1290"/>
                  </a:lnTo>
                  <a:lnTo>
                    <a:pt x="2542" y="1306"/>
                  </a:lnTo>
                  <a:lnTo>
                    <a:pt x="2555" y="1306"/>
                  </a:lnTo>
                  <a:lnTo>
                    <a:pt x="2573" y="1299"/>
                  </a:lnTo>
                  <a:lnTo>
                    <a:pt x="2589" y="1293"/>
                  </a:lnTo>
                  <a:lnTo>
                    <a:pt x="2601" y="1293"/>
                  </a:lnTo>
                  <a:lnTo>
                    <a:pt x="2617" y="1309"/>
                  </a:lnTo>
                  <a:lnTo>
                    <a:pt x="2630" y="1331"/>
                  </a:lnTo>
                  <a:lnTo>
                    <a:pt x="2639" y="1359"/>
                  </a:lnTo>
                  <a:lnTo>
                    <a:pt x="2642" y="1381"/>
                  </a:lnTo>
                  <a:lnTo>
                    <a:pt x="2639" y="1402"/>
                  </a:lnTo>
                  <a:lnTo>
                    <a:pt x="2630" y="1427"/>
                  </a:lnTo>
                  <a:lnTo>
                    <a:pt x="2620" y="1449"/>
                  </a:lnTo>
                  <a:lnTo>
                    <a:pt x="2605" y="1459"/>
                  </a:lnTo>
                  <a:lnTo>
                    <a:pt x="2583" y="1471"/>
                  </a:lnTo>
                  <a:lnTo>
                    <a:pt x="2561" y="1484"/>
                  </a:lnTo>
                  <a:lnTo>
                    <a:pt x="2545" y="1496"/>
                  </a:lnTo>
                  <a:lnTo>
                    <a:pt x="2539" y="1524"/>
                  </a:lnTo>
                  <a:lnTo>
                    <a:pt x="2536" y="1555"/>
                  </a:lnTo>
                  <a:lnTo>
                    <a:pt x="2539" y="1593"/>
                  </a:lnTo>
                  <a:lnTo>
                    <a:pt x="2545" y="1627"/>
                  </a:lnTo>
                  <a:lnTo>
                    <a:pt x="2551" y="1655"/>
                  </a:lnTo>
                  <a:lnTo>
                    <a:pt x="2558" y="1674"/>
                  </a:lnTo>
                  <a:lnTo>
                    <a:pt x="2570" y="1699"/>
                  </a:lnTo>
                  <a:lnTo>
                    <a:pt x="2583" y="1721"/>
                  </a:lnTo>
                  <a:lnTo>
                    <a:pt x="2595" y="1743"/>
                  </a:lnTo>
                  <a:lnTo>
                    <a:pt x="2601" y="1765"/>
                  </a:lnTo>
                  <a:lnTo>
                    <a:pt x="2608" y="1793"/>
                  </a:lnTo>
                  <a:lnTo>
                    <a:pt x="2617" y="1815"/>
                  </a:lnTo>
                  <a:lnTo>
                    <a:pt x="2623" y="1824"/>
                  </a:lnTo>
                  <a:lnTo>
                    <a:pt x="2630" y="1830"/>
                  </a:lnTo>
                  <a:lnTo>
                    <a:pt x="2639" y="1840"/>
                  </a:lnTo>
                  <a:lnTo>
                    <a:pt x="2645" y="1846"/>
                  </a:lnTo>
                  <a:lnTo>
                    <a:pt x="2654" y="1855"/>
                  </a:lnTo>
                  <a:lnTo>
                    <a:pt x="2658" y="1861"/>
                  </a:lnTo>
                  <a:lnTo>
                    <a:pt x="2664" y="1880"/>
                  </a:lnTo>
                  <a:lnTo>
                    <a:pt x="2664" y="1902"/>
                  </a:lnTo>
                  <a:lnTo>
                    <a:pt x="2664" y="1924"/>
                  </a:lnTo>
                  <a:lnTo>
                    <a:pt x="2658" y="1939"/>
                  </a:lnTo>
                  <a:lnTo>
                    <a:pt x="2642" y="1946"/>
                  </a:lnTo>
                  <a:lnTo>
                    <a:pt x="2623" y="1949"/>
                  </a:lnTo>
                  <a:lnTo>
                    <a:pt x="2608" y="1946"/>
                  </a:lnTo>
                  <a:lnTo>
                    <a:pt x="2601" y="1943"/>
                  </a:lnTo>
                  <a:lnTo>
                    <a:pt x="2598" y="1936"/>
                  </a:lnTo>
                  <a:lnTo>
                    <a:pt x="2595" y="1927"/>
                  </a:lnTo>
                  <a:lnTo>
                    <a:pt x="2592" y="1918"/>
                  </a:lnTo>
                  <a:lnTo>
                    <a:pt x="2589" y="1908"/>
                  </a:lnTo>
                  <a:lnTo>
                    <a:pt x="2586" y="1902"/>
                  </a:lnTo>
                  <a:lnTo>
                    <a:pt x="2583" y="1899"/>
                  </a:lnTo>
                  <a:lnTo>
                    <a:pt x="2567" y="1893"/>
                  </a:lnTo>
                  <a:lnTo>
                    <a:pt x="2545" y="1889"/>
                  </a:lnTo>
                  <a:lnTo>
                    <a:pt x="2526" y="1893"/>
                  </a:lnTo>
                  <a:lnTo>
                    <a:pt x="2511" y="1899"/>
                  </a:lnTo>
                  <a:lnTo>
                    <a:pt x="2508" y="1911"/>
                  </a:lnTo>
                  <a:lnTo>
                    <a:pt x="2511" y="1930"/>
                  </a:lnTo>
                  <a:lnTo>
                    <a:pt x="2514" y="1952"/>
                  </a:lnTo>
                  <a:lnTo>
                    <a:pt x="2511" y="1968"/>
                  </a:lnTo>
                  <a:lnTo>
                    <a:pt x="2508" y="1974"/>
                  </a:lnTo>
                  <a:lnTo>
                    <a:pt x="2501" y="1983"/>
                  </a:lnTo>
                  <a:lnTo>
                    <a:pt x="2492" y="198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1" name="Freeform 49">
              <a:extLst>
                <a:ext uri="{FF2B5EF4-FFF2-40B4-BE49-F238E27FC236}">
                  <a16:creationId xmlns:a16="http://schemas.microsoft.com/office/drawing/2014/main" id="{89B29022-FB24-48B4-9BFC-8D93BE58DD7A}"/>
                </a:ext>
              </a:extLst>
            </p:cNvPr>
            <p:cNvSpPr>
              <a:spLocks/>
            </p:cNvSpPr>
            <p:nvPr/>
          </p:nvSpPr>
          <p:spPr bwMode="auto">
            <a:xfrm>
              <a:off x="23469601" y="-14465300"/>
              <a:ext cx="6399213" cy="9682163"/>
            </a:xfrm>
            <a:custGeom>
              <a:avLst/>
              <a:gdLst>
                <a:gd name="T0" fmla="*/ 309 w 4031"/>
                <a:gd name="T1" fmla="*/ 2926 h 6099"/>
                <a:gd name="T2" fmla="*/ 422 w 4031"/>
                <a:gd name="T3" fmla="*/ 2751 h 6099"/>
                <a:gd name="T4" fmla="*/ 378 w 4031"/>
                <a:gd name="T5" fmla="*/ 2551 h 6099"/>
                <a:gd name="T6" fmla="*/ 575 w 4031"/>
                <a:gd name="T7" fmla="*/ 2405 h 6099"/>
                <a:gd name="T8" fmla="*/ 434 w 4031"/>
                <a:gd name="T9" fmla="*/ 2092 h 6099"/>
                <a:gd name="T10" fmla="*/ 696 w 4031"/>
                <a:gd name="T11" fmla="*/ 1996 h 6099"/>
                <a:gd name="T12" fmla="*/ 890 w 4031"/>
                <a:gd name="T13" fmla="*/ 1977 h 6099"/>
                <a:gd name="T14" fmla="*/ 1024 w 4031"/>
                <a:gd name="T15" fmla="*/ 1752 h 6099"/>
                <a:gd name="T16" fmla="*/ 1046 w 4031"/>
                <a:gd name="T17" fmla="*/ 1321 h 6099"/>
                <a:gd name="T18" fmla="*/ 1218 w 4031"/>
                <a:gd name="T19" fmla="*/ 1168 h 6099"/>
                <a:gd name="T20" fmla="*/ 1352 w 4031"/>
                <a:gd name="T21" fmla="*/ 797 h 6099"/>
                <a:gd name="T22" fmla="*/ 1265 w 4031"/>
                <a:gd name="T23" fmla="*/ 506 h 6099"/>
                <a:gd name="T24" fmla="*/ 1683 w 4031"/>
                <a:gd name="T25" fmla="*/ 562 h 6099"/>
                <a:gd name="T26" fmla="*/ 1952 w 4031"/>
                <a:gd name="T27" fmla="*/ 281 h 6099"/>
                <a:gd name="T28" fmla="*/ 2136 w 4031"/>
                <a:gd name="T29" fmla="*/ 0 h 6099"/>
                <a:gd name="T30" fmla="*/ 2195 w 4031"/>
                <a:gd name="T31" fmla="*/ 231 h 6099"/>
                <a:gd name="T32" fmla="*/ 2167 w 4031"/>
                <a:gd name="T33" fmla="*/ 544 h 6099"/>
                <a:gd name="T34" fmla="*/ 2273 w 4031"/>
                <a:gd name="T35" fmla="*/ 828 h 6099"/>
                <a:gd name="T36" fmla="*/ 2479 w 4031"/>
                <a:gd name="T37" fmla="*/ 900 h 6099"/>
                <a:gd name="T38" fmla="*/ 2726 w 4031"/>
                <a:gd name="T39" fmla="*/ 1090 h 6099"/>
                <a:gd name="T40" fmla="*/ 2923 w 4031"/>
                <a:gd name="T41" fmla="*/ 1124 h 6099"/>
                <a:gd name="T42" fmla="*/ 3101 w 4031"/>
                <a:gd name="T43" fmla="*/ 1284 h 6099"/>
                <a:gd name="T44" fmla="*/ 2995 w 4031"/>
                <a:gd name="T45" fmla="*/ 1480 h 6099"/>
                <a:gd name="T46" fmla="*/ 2801 w 4031"/>
                <a:gd name="T47" fmla="*/ 1443 h 6099"/>
                <a:gd name="T48" fmla="*/ 2620 w 4031"/>
                <a:gd name="T49" fmla="*/ 1571 h 6099"/>
                <a:gd name="T50" fmla="*/ 2654 w 4031"/>
                <a:gd name="T51" fmla="*/ 1905 h 6099"/>
                <a:gd name="T52" fmla="*/ 2498 w 4031"/>
                <a:gd name="T53" fmla="*/ 2230 h 6099"/>
                <a:gd name="T54" fmla="*/ 2479 w 4031"/>
                <a:gd name="T55" fmla="*/ 2626 h 6099"/>
                <a:gd name="T56" fmla="*/ 2536 w 4031"/>
                <a:gd name="T57" fmla="*/ 2951 h 6099"/>
                <a:gd name="T58" fmla="*/ 2433 w 4031"/>
                <a:gd name="T59" fmla="*/ 3173 h 6099"/>
                <a:gd name="T60" fmla="*/ 2479 w 4031"/>
                <a:gd name="T61" fmla="*/ 3351 h 6099"/>
                <a:gd name="T62" fmla="*/ 2589 w 4031"/>
                <a:gd name="T63" fmla="*/ 3672 h 6099"/>
                <a:gd name="T64" fmla="*/ 2892 w 4031"/>
                <a:gd name="T65" fmla="*/ 3904 h 6099"/>
                <a:gd name="T66" fmla="*/ 3254 w 4031"/>
                <a:gd name="T67" fmla="*/ 4078 h 6099"/>
                <a:gd name="T68" fmla="*/ 3291 w 4031"/>
                <a:gd name="T69" fmla="*/ 4344 h 6099"/>
                <a:gd name="T70" fmla="*/ 3426 w 4031"/>
                <a:gd name="T71" fmla="*/ 4403 h 6099"/>
                <a:gd name="T72" fmla="*/ 3669 w 4031"/>
                <a:gd name="T73" fmla="*/ 4559 h 6099"/>
                <a:gd name="T74" fmla="*/ 3657 w 4031"/>
                <a:gd name="T75" fmla="*/ 4903 h 6099"/>
                <a:gd name="T76" fmla="*/ 3944 w 4031"/>
                <a:gd name="T77" fmla="*/ 5218 h 6099"/>
                <a:gd name="T78" fmla="*/ 3872 w 4031"/>
                <a:gd name="T79" fmla="*/ 5437 h 6099"/>
                <a:gd name="T80" fmla="*/ 3735 w 4031"/>
                <a:gd name="T81" fmla="*/ 5696 h 6099"/>
                <a:gd name="T82" fmla="*/ 3507 w 4031"/>
                <a:gd name="T83" fmla="*/ 5930 h 6099"/>
                <a:gd name="T84" fmla="*/ 3276 w 4031"/>
                <a:gd name="T85" fmla="*/ 5949 h 6099"/>
                <a:gd name="T86" fmla="*/ 3179 w 4031"/>
                <a:gd name="T87" fmla="*/ 6074 h 6099"/>
                <a:gd name="T88" fmla="*/ 2948 w 4031"/>
                <a:gd name="T89" fmla="*/ 5961 h 6099"/>
                <a:gd name="T90" fmla="*/ 2714 w 4031"/>
                <a:gd name="T91" fmla="*/ 5952 h 6099"/>
                <a:gd name="T92" fmla="*/ 2626 w 4031"/>
                <a:gd name="T93" fmla="*/ 5899 h 6099"/>
                <a:gd name="T94" fmla="*/ 2542 w 4031"/>
                <a:gd name="T95" fmla="*/ 5643 h 6099"/>
                <a:gd name="T96" fmla="*/ 2454 w 4031"/>
                <a:gd name="T97" fmla="*/ 5402 h 6099"/>
                <a:gd name="T98" fmla="*/ 2348 w 4031"/>
                <a:gd name="T99" fmla="*/ 5384 h 6099"/>
                <a:gd name="T100" fmla="*/ 2061 w 4031"/>
                <a:gd name="T101" fmla="*/ 5137 h 6099"/>
                <a:gd name="T102" fmla="*/ 1861 w 4031"/>
                <a:gd name="T103" fmla="*/ 5268 h 6099"/>
                <a:gd name="T104" fmla="*/ 1590 w 4031"/>
                <a:gd name="T105" fmla="*/ 5299 h 6099"/>
                <a:gd name="T106" fmla="*/ 1321 w 4031"/>
                <a:gd name="T107" fmla="*/ 5306 h 6099"/>
                <a:gd name="T108" fmla="*/ 931 w 4031"/>
                <a:gd name="T109" fmla="*/ 5384 h 6099"/>
                <a:gd name="T110" fmla="*/ 737 w 4031"/>
                <a:gd name="T111" fmla="*/ 5090 h 6099"/>
                <a:gd name="T112" fmla="*/ 403 w 4031"/>
                <a:gd name="T113" fmla="*/ 4797 h 6099"/>
                <a:gd name="T114" fmla="*/ 194 w 4031"/>
                <a:gd name="T115" fmla="*/ 4369 h 6099"/>
                <a:gd name="T116" fmla="*/ 34 w 4031"/>
                <a:gd name="T117" fmla="*/ 4122 h 6099"/>
                <a:gd name="T118" fmla="*/ 84 w 4031"/>
                <a:gd name="T119" fmla="*/ 3932 h 6099"/>
                <a:gd name="T120" fmla="*/ 169 w 4031"/>
                <a:gd name="T121" fmla="*/ 3807 h 6099"/>
                <a:gd name="T122" fmla="*/ 134 w 4031"/>
                <a:gd name="T123" fmla="*/ 3623 h 6099"/>
                <a:gd name="T124" fmla="*/ 122 w 4031"/>
                <a:gd name="T125" fmla="*/ 3273 h 6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1" h="6099">
                  <a:moveTo>
                    <a:pt x="159" y="3204"/>
                  </a:moveTo>
                  <a:lnTo>
                    <a:pt x="159" y="3192"/>
                  </a:lnTo>
                  <a:lnTo>
                    <a:pt x="159" y="3179"/>
                  </a:lnTo>
                  <a:lnTo>
                    <a:pt x="162" y="3157"/>
                  </a:lnTo>
                  <a:lnTo>
                    <a:pt x="166" y="3129"/>
                  </a:lnTo>
                  <a:lnTo>
                    <a:pt x="172" y="3104"/>
                  </a:lnTo>
                  <a:lnTo>
                    <a:pt x="184" y="3085"/>
                  </a:lnTo>
                  <a:lnTo>
                    <a:pt x="197" y="3082"/>
                  </a:lnTo>
                  <a:lnTo>
                    <a:pt x="212" y="3082"/>
                  </a:lnTo>
                  <a:lnTo>
                    <a:pt x="228" y="3085"/>
                  </a:lnTo>
                  <a:lnTo>
                    <a:pt x="240" y="3079"/>
                  </a:lnTo>
                  <a:lnTo>
                    <a:pt x="250" y="3064"/>
                  </a:lnTo>
                  <a:lnTo>
                    <a:pt x="259" y="3039"/>
                  </a:lnTo>
                  <a:lnTo>
                    <a:pt x="265" y="3017"/>
                  </a:lnTo>
                  <a:lnTo>
                    <a:pt x="275" y="2995"/>
                  </a:lnTo>
                  <a:lnTo>
                    <a:pt x="281" y="2970"/>
                  </a:lnTo>
                  <a:lnTo>
                    <a:pt x="290" y="2945"/>
                  </a:lnTo>
                  <a:lnTo>
                    <a:pt x="306" y="2926"/>
                  </a:lnTo>
                  <a:lnTo>
                    <a:pt x="309" y="2926"/>
                  </a:lnTo>
                  <a:lnTo>
                    <a:pt x="319" y="2926"/>
                  </a:lnTo>
                  <a:lnTo>
                    <a:pt x="325" y="2926"/>
                  </a:lnTo>
                  <a:lnTo>
                    <a:pt x="334" y="2929"/>
                  </a:lnTo>
                  <a:lnTo>
                    <a:pt x="340" y="2929"/>
                  </a:lnTo>
                  <a:lnTo>
                    <a:pt x="347" y="2929"/>
                  </a:lnTo>
                  <a:lnTo>
                    <a:pt x="369" y="2914"/>
                  </a:lnTo>
                  <a:lnTo>
                    <a:pt x="390" y="2892"/>
                  </a:lnTo>
                  <a:lnTo>
                    <a:pt x="406" y="2873"/>
                  </a:lnTo>
                  <a:lnTo>
                    <a:pt x="412" y="2864"/>
                  </a:lnTo>
                  <a:lnTo>
                    <a:pt x="422" y="2854"/>
                  </a:lnTo>
                  <a:lnTo>
                    <a:pt x="431" y="2845"/>
                  </a:lnTo>
                  <a:lnTo>
                    <a:pt x="437" y="2836"/>
                  </a:lnTo>
                  <a:lnTo>
                    <a:pt x="440" y="2826"/>
                  </a:lnTo>
                  <a:lnTo>
                    <a:pt x="447" y="2811"/>
                  </a:lnTo>
                  <a:lnTo>
                    <a:pt x="447" y="2789"/>
                  </a:lnTo>
                  <a:lnTo>
                    <a:pt x="443" y="2770"/>
                  </a:lnTo>
                  <a:lnTo>
                    <a:pt x="440" y="2764"/>
                  </a:lnTo>
                  <a:lnTo>
                    <a:pt x="431" y="2758"/>
                  </a:lnTo>
                  <a:lnTo>
                    <a:pt x="422" y="2751"/>
                  </a:lnTo>
                  <a:lnTo>
                    <a:pt x="412" y="2748"/>
                  </a:lnTo>
                  <a:lnTo>
                    <a:pt x="400" y="2748"/>
                  </a:lnTo>
                  <a:lnTo>
                    <a:pt x="381" y="2751"/>
                  </a:lnTo>
                  <a:lnTo>
                    <a:pt x="365" y="2751"/>
                  </a:lnTo>
                  <a:lnTo>
                    <a:pt x="350" y="2748"/>
                  </a:lnTo>
                  <a:lnTo>
                    <a:pt x="340" y="2736"/>
                  </a:lnTo>
                  <a:lnTo>
                    <a:pt x="331" y="2717"/>
                  </a:lnTo>
                  <a:lnTo>
                    <a:pt x="325" y="2698"/>
                  </a:lnTo>
                  <a:lnTo>
                    <a:pt x="328" y="2673"/>
                  </a:lnTo>
                  <a:lnTo>
                    <a:pt x="334" y="2645"/>
                  </a:lnTo>
                  <a:lnTo>
                    <a:pt x="344" y="2620"/>
                  </a:lnTo>
                  <a:lnTo>
                    <a:pt x="350" y="2617"/>
                  </a:lnTo>
                  <a:lnTo>
                    <a:pt x="356" y="2611"/>
                  </a:lnTo>
                  <a:lnTo>
                    <a:pt x="365" y="2605"/>
                  </a:lnTo>
                  <a:lnTo>
                    <a:pt x="372" y="2601"/>
                  </a:lnTo>
                  <a:lnTo>
                    <a:pt x="378" y="2595"/>
                  </a:lnTo>
                  <a:lnTo>
                    <a:pt x="384" y="2589"/>
                  </a:lnTo>
                  <a:lnTo>
                    <a:pt x="384" y="2573"/>
                  </a:lnTo>
                  <a:lnTo>
                    <a:pt x="378" y="2551"/>
                  </a:lnTo>
                  <a:lnTo>
                    <a:pt x="375" y="2533"/>
                  </a:lnTo>
                  <a:lnTo>
                    <a:pt x="378" y="2523"/>
                  </a:lnTo>
                  <a:lnTo>
                    <a:pt x="381" y="2514"/>
                  </a:lnTo>
                  <a:lnTo>
                    <a:pt x="387" y="2502"/>
                  </a:lnTo>
                  <a:lnTo>
                    <a:pt x="390" y="2492"/>
                  </a:lnTo>
                  <a:lnTo>
                    <a:pt x="397" y="2486"/>
                  </a:lnTo>
                  <a:lnTo>
                    <a:pt x="415" y="2480"/>
                  </a:lnTo>
                  <a:lnTo>
                    <a:pt x="437" y="2477"/>
                  </a:lnTo>
                  <a:lnTo>
                    <a:pt x="459" y="2477"/>
                  </a:lnTo>
                  <a:lnTo>
                    <a:pt x="478" y="2483"/>
                  </a:lnTo>
                  <a:lnTo>
                    <a:pt x="503" y="2489"/>
                  </a:lnTo>
                  <a:lnTo>
                    <a:pt x="522" y="2495"/>
                  </a:lnTo>
                  <a:lnTo>
                    <a:pt x="540" y="2492"/>
                  </a:lnTo>
                  <a:lnTo>
                    <a:pt x="559" y="2486"/>
                  </a:lnTo>
                  <a:lnTo>
                    <a:pt x="581" y="2477"/>
                  </a:lnTo>
                  <a:lnTo>
                    <a:pt x="590" y="2464"/>
                  </a:lnTo>
                  <a:lnTo>
                    <a:pt x="593" y="2448"/>
                  </a:lnTo>
                  <a:lnTo>
                    <a:pt x="587" y="2427"/>
                  </a:lnTo>
                  <a:lnTo>
                    <a:pt x="575" y="2405"/>
                  </a:lnTo>
                  <a:lnTo>
                    <a:pt x="565" y="2386"/>
                  </a:lnTo>
                  <a:lnTo>
                    <a:pt x="553" y="2370"/>
                  </a:lnTo>
                  <a:lnTo>
                    <a:pt x="534" y="2361"/>
                  </a:lnTo>
                  <a:lnTo>
                    <a:pt x="509" y="2348"/>
                  </a:lnTo>
                  <a:lnTo>
                    <a:pt x="484" y="2342"/>
                  </a:lnTo>
                  <a:lnTo>
                    <a:pt x="465" y="2333"/>
                  </a:lnTo>
                  <a:lnTo>
                    <a:pt x="459" y="2327"/>
                  </a:lnTo>
                  <a:lnTo>
                    <a:pt x="450" y="2320"/>
                  </a:lnTo>
                  <a:lnTo>
                    <a:pt x="440" y="2314"/>
                  </a:lnTo>
                  <a:lnTo>
                    <a:pt x="431" y="2305"/>
                  </a:lnTo>
                  <a:lnTo>
                    <a:pt x="428" y="2299"/>
                  </a:lnTo>
                  <a:lnTo>
                    <a:pt x="425" y="2277"/>
                  </a:lnTo>
                  <a:lnTo>
                    <a:pt x="428" y="2249"/>
                  </a:lnTo>
                  <a:lnTo>
                    <a:pt x="431" y="2220"/>
                  </a:lnTo>
                  <a:lnTo>
                    <a:pt x="434" y="2195"/>
                  </a:lnTo>
                  <a:lnTo>
                    <a:pt x="434" y="2171"/>
                  </a:lnTo>
                  <a:lnTo>
                    <a:pt x="431" y="2142"/>
                  </a:lnTo>
                  <a:lnTo>
                    <a:pt x="431" y="2114"/>
                  </a:lnTo>
                  <a:lnTo>
                    <a:pt x="434" y="2092"/>
                  </a:lnTo>
                  <a:lnTo>
                    <a:pt x="440" y="2083"/>
                  </a:lnTo>
                  <a:lnTo>
                    <a:pt x="447" y="2074"/>
                  </a:lnTo>
                  <a:lnTo>
                    <a:pt x="453" y="2064"/>
                  </a:lnTo>
                  <a:lnTo>
                    <a:pt x="462" y="2058"/>
                  </a:lnTo>
                  <a:lnTo>
                    <a:pt x="468" y="2052"/>
                  </a:lnTo>
                  <a:lnTo>
                    <a:pt x="478" y="2049"/>
                  </a:lnTo>
                  <a:lnTo>
                    <a:pt x="487" y="2049"/>
                  </a:lnTo>
                  <a:lnTo>
                    <a:pt x="497" y="2049"/>
                  </a:lnTo>
                  <a:lnTo>
                    <a:pt x="506" y="2049"/>
                  </a:lnTo>
                  <a:lnTo>
                    <a:pt x="512" y="2049"/>
                  </a:lnTo>
                  <a:lnTo>
                    <a:pt x="531" y="2039"/>
                  </a:lnTo>
                  <a:lnTo>
                    <a:pt x="550" y="2024"/>
                  </a:lnTo>
                  <a:lnTo>
                    <a:pt x="572" y="2011"/>
                  </a:lnTo>
                  <a:lnTo>
                    <a:pt x="587" y="2002"/>
                  </a:lnTo>
                  <a:lnTo>
                    <a:pt x="609" y="2002"/>
                  </a:lnTo>
                  <a:lnTo>
                    <a:pt x="637" y="2008"/>
                  </a:lnTo>
                  <a:lnTo>
                    <a:pt x="662" y="2011"/>
                  </a:lnTo>
                  <a:lnTo>
                    <a:pt x="684" y="2008"/>
                  </a:lnTo>
                  <a:lnTo>
                    <a:pt x="696" y="1996"/>
                  </a:lnTo>
                  <a:lnTo>
                    <a:pt x="709" y="1974"/>
                  </a:lnTo>
                  <a:lnTo>
                    <a:pt x="718" y="1958"/>
                  </a:lnTo>
                  <a:lnTo>
                    <a:pt x="725" y="1949"/>
                  </a:lnTo>
                  <a:lnTo>
                    <a:pt x="731" y="1939"/>
                  </a:lnTo>
                  <a:lnTo>
                    <a:pt x="740" y="1930"/>
                  </a:lnTo>
                  <a:lnTo>
                    <a:pt x="749" y="1921"/>
                  </a:lnTo>
                  <a:lnTo>
                    <a:pt x="756" y="1918"/>
                  </a:lnTo>
                  <a:lnTo>
                    <a:pt x="774" y="1918"/>
                  </a:lnTo>
                  <a:lnTo>
                    <a:pt x="799" y="1921"/>
                  </a:lnTo>
                  <a:lnTo>
                    <a:pt x="821" y="1930"/>
                  </a:lnTo>
                  <a:lnTo>
                    <a:pt x="837" y="1939"/>
                  </a:lnTo>
                  <a:lnTo>
                    <a:pt x="843" y="1943"/>
                  </a:lnTo>
                  <a:lnTo>
                    <a:pt x="846" y="1952"/>
                  </a:lnTo>
                  <a:lnTo>
                    <a:pt x="849" y="1958"/>
                  </a:lnTo>
                  <a:lnTo>
                    <a:pt x="856" y="1968"/>
                  </a:lnTo>
                  <a:lnTo>
                    <a:pt x="859" y="1971"/>
                  </a:lnTo>
                  <a:lnTo>
                    <a:pt x="868" y="1974"/>
                  </a:lnTo>
                  <a:lnTo>
                    <a:pt x="878" y="1977"/>
                  </a:lnTo>
                  <a:lnTo>
                    <a:pt x="890" y="1977"/>
                  </a:lnTo>
                  <a:lnTo>
                    <a:pt x="899" y="1977"/>
                  </a:lnTo>
                  <a:lnTo>
                    <a:pt x="909" y="1974"/>
                  </a:lnTo>
                  <a:lnTo>
                    <a:pt x="915" y="1971"/>
                  </a:lnTo>
                  <a:lnTo>
                    <a:pt x="921" y="1964"/>
                  </a:lnTo>
                  <a:lnTo>
                    <a:pt x="927" y="1955"/>
                  </a:lnTo>
                  <a:lnTo>
                    <a:pt x="934" y="1952"/>
                  </a:lnTo>
                  <a:lnTo>
                    <a:pt x="952" y="1955"/>
                  </a:lnTo>
                  <a:lnTo>
                    <a:pt x="974" y="1961"/>
                  </a:lnTo>
                  <a:lnTo>
                    <a:pt x="990" y="1964"/>
                  </a:lnTo>
                  <a:lnTo>
                    <a:pt x="1015" y="1961"/>
                  </a:lnTo>
                  <a:lnTo>
                    <a:pt x="1040" y="1949"/>
                  </a:lnTo>
                  <a:lnTo>
                    <a:pt x="1059" y="1933"/>
                  </a:lnTo>
                  <a:lnTo>
                    <a:pt x="1068" y="1914"/>
                  </a:lnTo>
                  <a:lnTo>
                    <a:pt x="1068" y="1886"/>
                  </a:lnTo>
                  <a:lnTo>
                    <a:pt x="1068" y="1864"/>
                  </a:lnTo>
                  <a:lnTo>
                    <a:pt x="1062" y="1840"/>
                  </a:lnTo>
                  <a:lnTo>
                    <a:pt x="1046" y="1808"/>
                  </a:lnTo>
                  <a:lnTo>
                    <a:pt x="1034" y="1777"/>
                  </a:lnTo>
                  <a:lnTo>
                    <a:pt x="1024" y="1752"/>
                  </a:lnTo>
                  <a:lnTo>
                    <a:pt x="1021" y="1727"/>
                  </a:lnTo>
                  <a:lnTo>
                    <a:pt x="1018" y="1696"/>
                  </a:lnTo>
                  <a:lnTo>
                    <a:pt x="1015" y="1665"/>
                  </a:lnTo>
                  <a:lnTo>
                    <a:pt x="1015" y="1640"/>
                  </a:lnTo>
                  <a:lnTo>
                    <a:pt x="1021" y="1621"/>
                  </a:lnTo>
                  <a:lnTo>
                    <a:pt x="1031" y="1599"/>
                  </a:lnTo>
                  <a:lnTo>
                    <a:pt x="1037" y="1583"/>
                  </a:lnTo>
                  <a:lnTo>
                    <a:pt x="1043" y="1558"/>
                  </a:lnTo>
                  <a:lnTo>
                    <a:pt x="1049" y="1530"/>
                  </a:lnTo>
                  <a:lnTo>
                    <a:pt x="1056" y="1502"/>
                  </a:lnTo>
                  <a:lnTo>
                    <a:pt x="1056" y="1477"/>
                  </a:lnTo>
                  <a:lnTo>
                    <a:pt x="1046" y="1462"/>
                  </a:lnTo>
                  <a:lnTo>
                    <a:pt x="1034" y="1440"/>
                  </a:lnTo>
                  <a:lnTo>
                    <a:pt x="1018" y="1421"/>
                  </a:lnTo>
                  <a:lnTo>
                    <a:pt x="1012" y="1402"/>
                  </a:lnTo>
                  <a:lnTo>
                    <a:pt x="1015" y="1380"/>
                  </a:lnTo>
                  <a:lnTo>
                    <a:pt x="1021" y="1356"/>
                  </a:lnTo>
                  <a:lnTo>
                    <a:pt x="1034" y="1334"/>
                  </a:lnTo>
                  <a:lnTo>
                    <a:pt x="1046" y="1321"/>
                  </a:lnTo>
                  <a:lnTo>
                    <a:pt x="1068" y="1309"/>
                  </a:lnTo>
                  <a:lnTo>
                    <a:pt x="1084" y="1302"/>
                  </a:lnTo>
                  <a:lnTo>
                    <a:pt x="1093" y="1302"/>
                  </a:lnTo>
                  <a:lnTo>
                    <a:pt x="1099" y="1306"/>
                  </a:lnTo>
                  <a:lnTo>
                    <a:pt x="1109" y="1309"/>
                  </a:lnTo>
                  <a:lnTo>
                    <a:pt x="1118" y="1312"/>
                  </a:lnTo>
                  <a:lnTo>
                    <a:pt x="1127" y="1312"/>
                  </a:lnTo>
                  <a:lnTo>
                    <a:pt x="1134" y="1312"/>
                  </a:lnTo>
                  <a:lnTo>
                    <a:pt x="1140" y="1306"/>
                  </a:lnTo>
                  <a:lnTo>
                    <a:pt x="1143" y="1299"/>
                  </a:lnTo>
                  <a:lnTo>
                    <a:pt x="1146" y="1290"/>
                  </a:lnTo>
                  <a:lnTo>
                    <a:pt x="1152" y="1281"/>
                  </a:lnTo>
                  <a:lnTo>
                    <a:pt x="1155" y="1268"/>
                  </a:lnTo>
                  <a:lnTo>
                    <a:pt x="1159" y="1262"/>
                  </a:lnTo>
                  <a:lnTo>
                    <a:pt x="1171" y="1237"/>
                  </a:lnTo>
                  <a:lnTo>
                    <a:pt x="1187" y="1209"/>
                  </a:lnTo>
                  <a:lnTo>
                    <a:pt x="1199" y="1187"/>
                  </a:lnTo>
                  <a:lnTo>
                    <a:pt x="1209" y="1178"/>
                  </a:lnTo>
                  <a:lnTo>
                    <a:pt x="1218" y="1168"/>
                  </a:lnTo>
                  <a:lnTo>
                    <a:pt x="1227" y="1159"/>
                  </a:lnTo>
                  <a:lnTo>
                    <a:pt x="1237" y="1149"/>
                  </a:lnTo>
                  <a:lnTo>
                    <a:pt x="1246" y="1143"/>
                  </a:lnTo>
                  <a:lnTo>
                    <a:pt x="1265" y="1124"/>
                  </a:lnTo>
                  <a:lnTo>
                    <a:pt x="1290" y="1103"/>
                  </a:lnTo>
                  <a:lnTo>
                    <a:pt x="1302" y="1081"/>
                  </a:lnTo>
                  <a:lnTo>
                    <a:pt x="1305" y="1062"/>
                  </a:lnTo>
                  <a:lnTo>
                    <a:pt x="1305" y="1034"/>
                  </a:lnTo>
                  <a:lnTo>
                    <a:pt x="1299" y="1012"/>
                  </a:lnTo>
                  <a:lnTo>
                    <a:pt x="1293" y="993"/>
                  </a:lnTo>
                  <a:lnTo>
                    <a:pt x="1280" y="975"/>
                  </a:lnTo>
                  <a:lnTo>
                    <a:pt x="1274" y="956"/>
                  </a:lnTo>
                  <a:lnTo>
                    <a:pt x="1271" y="928"/>
                  </a:lnTo>
                  <a:lnTo>
                    <a:pt x="1277" y="893"/>
                  </a:lnTo>
                  <a:lnTo>
                    <a:pt x="1287" y="865"/>
                  </a:lnTo>
                  <a:lnTo>
                    <a:pt x="1305" y="850"/>
                  </a:lnTo>
                  <a:lnTo>
                    <a:pt x="1327" y="837"/>
                  </a:lnTo>
                  <a:lnTo>
                    <a:pt x="1346" y="822"/>
                  </a:lnTo>
                  <a:lnTo>
                    <a:pt x="1352" y="797"/>
                  </a:lnTo>
                  <a:lnTo>
                    <a:pt x="1355" y="762"/>
                  </a:lnTo>
                  <a:lnTo>
                    <a:pt x="1352" y="734"/>
                  </a:lnTo>
                  <a:lnTo>
                    <a:pt x="1343" y="712"/>
                  </a:lnTo>
                  <a:lnTo>
                    <a:pt x="1327" y="687"/>
                  </a:lnTo>
                  <a:lnTo>
                    <a:pt x="1312" y="669"/>
                  </a:lnTo>
                  <a:lnTo>
                    <a:pt x="1305" y="665"/>
                  </a:lnTo>
                  <a:lnTo>
                    <a:pt x="1296" y="662"/>
                  </a:lnTo>
                  <a:lnTo>
                    <a:pt x="1283" y="656"/>
                  </a:lnTo>
                  <a:lnTo>
                    <a:pt x="1274" y="653"/>
                  </a:lnTo>
                  <a:lnTo>
                    <a:pt x="1268" y="647"/>
                  </a:lnTo>
                  <a:lnTo>
                    <a:pt x="1255" y="628"/>
                  </a:lnTo>
                  <a:lnTo>
                    <a:pt x="1243" y="600"/>
                  </a:lnTo>
                  <a:lnTo>
                    <a:pt x="1237" y="572"/>
                  </a:lnTo>
                  <a:lnTo>
                    <a:pt x="1237" y="550"/>
                  </a:lnTo>
                  <a:lnTo>
                    <a:pt x="1240" y="541"/>
                  </a:lnTo>
                  <a:lnTo>
                    <a:pt x="1243" y="534"/>
                  </a:lnTo>
                  <a:lnTo>
                    <a:pt x="1249" y="525"/>
                  </a:lnTo>
                  <a:lnTo>
                    <a:pt x="1255" y="516"/>
                  </a:lnTo>
                  <a:lnTo>
                    <a:pt x="1265" y="506"/>
                  </a:lnTo>
                  <a:lnTo>
                    <a:pt x="1280" y="506"/>
                  </a:lnTo>
                  <a:lnTo>
                    <a:pt x="1299" y="503"/>
                  </a:lnTo>
                  <a:lnTo>
                    <a:pt x="1312" y="500"/>
                  </a:lnTo>
                  <a:lnTo>
                    <a:pt x="1330" y="494"/>
                  </a:lnTo>
                  <a:lnTo>
                    <a:pt x="1352" y="484"/>
                  </a:lnTo>
                  <a:lnTo>
                    <a:pt x="1371" y="481"/>
                  </a:lnTo>
                  <a:lnTo>
                    <a:pt x="1390" y="484"/>
                  </a:lnTo>
                  <a:lnTo>
                    <a:pt x="1415" y="491"/>
                  </a:lnTo>
                  <a:lnTo>
                    <a:pt x="1433" y="500"/>
                  </a:lnTo>
                  <a:lnTo>
                    <a:pt x="1452" y="522"/>
                  </a:lnTo>
                  <a:lnTo>
                    <a:pt x="1474" y="550"/>
                  </a:lnTo>
                  <a:lnTo>
                    <a:pt x="1493" y="572"/>
                  </a:lnTo>
                  <a:lnTo>
                    <a:pt x="1518" y="581"/>
                  </a:lnTo>
                  <a:lnTo>
                    <a:pt x="1546" y="587"/>
                  </a:lnTo>
                  <a:lnTo>
                    <a:pt x="1577" y="594"/>
                  </a:lnTo>
                  <a:lnTo>
                    <a:pt x="1602" y="594"/>
                  </a:lnTo>
                  <a:lnTo>
                    <a:pt x="1627" y="587"/>
                  </a:lnTo>
                  <a:lnTo>
                    <a:pt x="1655" y="575"/>
                  </a:lnTo>
                  <a:lnTo>
                    <a:pt x="1683" y="562"/>
                  </a:lnTo>
                  <a:lnTo>
                    <a:pt x="1702" y="547"/>
                  </a:lnTo>
                  <a:lnTo>
                    <a:pt x="1714" y="531"/>
                  </a:lnTo>
                  <a:lnTo>
                    <a:pt x="1727" y="506"/>
                  </a:lnTo>
                  <a:lnTo>
                    <a:pt x="1739" y="484"/>
                  </a:lnTo>
                  <a:lnTo>
                    <a:pt x="1752" y="466"/>
                  </a:lnTo>
                  <a:lnTo>
                    <a:pt x="1774" y="459"/>
                  </a:lnTo>
                  <a:lnTo>
                    <a:pt x="1799" y="456"/>
                  </a:lnTo>
                  <a:lnTo>
                    <a:pt x="1824" y="453"/>
                  </a:lnTo>
                  <a:lnTo>
                    <a:pt x="1849" y="444"/>
                  </a:lnTo>
                  <a:lnTo>
                    <a:pt x="1880" y="431"/>
                  </a:lnTo>
                  <a:lnTo>
                    <a:pt x="1902" y="419"/>
                  </a:lnTo>
                  <a:lnTo>
                    <a:pt x="1924" y="406"/>
                  </a:lnTo>
                  <a:lnTo>
                    <a:pt x="1952" y="394"/>
                  </a:lnTo>
                  <a:lnTo>
                    <a:pt x="1974" y="378"/>
                  </a:lnTo>
                  <a:lnTo>
                    <a:pt x="1986" y="359"/>
                  </a:lnTo>
                  <a:lnTo>
                    <a:pt x="1986" y="344"/>
                  </a:lnTo>
                  <a:lnTo>
                    <a:pt x="1977" y="322"/>
                  </a:lnTo>
                  <a:lnTo>
                    <a:pt x="1964" y="300"/>
                  </a:lnTo>
                  <a:lnTo>
                    <a:pt x="1952" y="281"/>
                  </a:lnTo>
                  <a:lnTo>
                    <a:pt x="1945" y="263"/>
                  </a:lnTo>
                  <a:lnTo>
                    <a:pt x="1942" y="244"/>
                  </a:lnTo>
                  <a:lnTo>
                    <a:pt x="1939" y="219"/>
                  </a:lnTo>
                  <a:lnTo>
                    <a:pt x="1939" y="194"/>
                  </a:lnTo>
                  <a:lnTo>
                    <a:pt x="1945" y="175"/>
                  </a:lnTo>
                  <a:lnTo>
                    <a:pt x="1952" y="172"/>
                  </a:lnTo>
                  <a:lnTo>
                    <a:pt x="1958" y="166"/>
                  </a:lnTo>
                  <a:lnTo>
                    <a:pt x="1970" y="163"/>
                  </a:lnTo>
                  <a:lnTo>
                    <a:pt x="1980" y="160"/>
                  </a:lnTo>
                  <a:lnTo>
                    <a:pt x="1989" y="156"/>
                  </a:lnTo>
                  <a:lnTo>
                    <a:pt x="1995" y="153"/>
                  </a:lnTo>
                  <a:lnTo>
                    <a:pt x="2017" y="131"/>
                  </a:lnTo>
                  <a:lnTo>
                    <a:pt x="2042" y="103"/>
                  </a:lnTo>
                  <a:lnTo>
                    <a:pt x="2061" y="78"/>
                  </a:lnTo>
                  <a:lnTo>
                    <a:pt x="2074" y="57"/>
                  </a:lnTo>
                  <a:lnTo>
                    <a:pt x="2086" y="28"/>
                  </a:lnTo>
                  <a:lnTo>
                    <a:pt x="2102" y="10"/>
                  </a:lnTo>
                  <a:lnTo>
                    <a:pt x="2117" y="3"/>
                  </a:lnTo>
                  <a:lnTo>
                    <a:pt x="2136" y="0"/>
                  </a:lnTo>
                  <a:lnTo>
                    <a:pt x="2155" y="0"/>
                  </a:lnTo>
                  <a:lnTo>
                    <a:pt x="2177" y="0"/>
                  </a:lnTo>
                  <a:lnTo>
                    <a:pt x="2205" y="3"/>
                  </a:lnTo>
                  <a:lnTo>
                    <a:pt x="2233" y="13"/>
                  </a:lnTo>
                  <a:lnTo>
                    <a:pt x="2252" y="22"/>
                  </a:lnTo>
                  <a:lnTo>
                    <a:pt x="2261" y="38"/>
                  </a:lnTo>
                  <a:lnTo>
                    <a:pt x="2264" y="60"/>
                  </a:lnTo>
                  <a:lnTo>
                    <a:pt x="2267" y="85"/>
                  </a:lnTo>
                  <a:lnTo>
                    <a:pt x="2270" y="103"/>
                  </a:lnTo>
                  <a:lnTo>
                    <a:pt x="2267" y="122"/>
                  </a:lnTo>
                  <a:lnTo>
                    <a:pt x="2261" y="147"/>
                  </a:lnTo>
                  <a:lnTo>
                    <a:pt x="2255" y="166"/>
                  </a:lnTo>
                  <a:lnTo>
                    <a:pt x="2248" y="172"/>
                  </a:lnTo>
                  <a:lnTo>
                    <a:pt x="2239" y="175"/>
                  </a:lnTo>
                  <a:lnTo>
                    <a:pt x="2227" y="178"/>
                  </a:lnTo>
                  <a:lnTo>
                    <a:pt x="2217" y="185"/>
                  </a:lnTo>
                  <a:lnTo>
                    <a:pt x="2211" y="188"/>
                  </a:lnTo>
                  <a:lnTo>
                    <a:pt x="2202" y="206"/>
                  </a:lnTo>
                  <a:lnTo>
                    <a:pt x="2195" y="231"/>
                  </a:lnTo>
                  <a:lnTo>
                    <a:pt x="2192" y="253"/>
                  </a:lnTo>
                  <a:lnTo>
                    <a:pt x="2186" y="281"/>
                  </a:lnTo>
                  <a:lnTo>
                    <a:pt x="2180" y="313"/>
                  </a:lnTo>
                  <a:lnTo>
                    <a:pt x="2173" y="344"/>
                  </a:lnTo>
                  <a:lnTo>
                    <a:pt x="2161" y="366"/>
                  </a:lnTo>
                  <a:lnTo>
                    <a:pt x="2152" y="375"/>
                  </a:lnTo>
                  <a:lnTo>
                    <a:pt x="2136" y="381"/>
                  </a:lnTo>
                  <a:lnTo>
                    <a:pt x="2120" y="388"/>
                  </a:lnTo>
                  <a:lnTo>
                    <a:pt x="2108" y="394"/>
                  </a:lnTo>
                  <a:lnTo>
                    <a:pt x="2102" y="416"/>
                  </a:lnTo>
                  <a:lnTo>
                    <a:pt x="2099" y="444"/>
                  </a:lnTo>
                  <a:lnTo>
                    <a:pt x="2102" y="472"/>
                  </a:lnTo>
                  <a:lnTo>
                    <a:pt x="2108" y="497"/>
                  </a:lnTo>
                  <a:lnTo>
                    <a:pt x="2111" y="503"/>
                  </a:lnTo>
                  <a:lnTo>
                    <a:pt x="2120" y="516"/>
                  </a:lnTo>
                  <a:lnTo>
                    <a:pt x="2130" y="525"/>
                  </a:lnTo>
                  <a:lnTo>
                    <a:pt x="2142" y="531"/>
                  </a:lnTo>
                  <a:lnTo>
                    <a:pt x="2152" y="537"/>
                  </a:lnTo>
                  <a:lnTo>
                    <a:pt x="2167" y="544"/>
                  </a:lnTo>
                  <a:lnTo>
                    <a:pt x="2189" y="547"/>
                  </a:lnTo>
                  <a:lnTo>
                    <a:pt x="2205" y="556"/>
                  </a:lnTo>
                  <a:lnTo>
                    <a:pt x="2217" y="572"/>
                  </a:lnTo>
                  <a:lnTo>
                    <a:pt x="2230" y="590"/>
                  </a:lnTo>
                  <a:lnTo>
                    <a:pt x="2239" y="615"/>
                  </a:lnTo>
                  <a:lnTo>
                    <a:pt x="2242" y="634"/>
                  </a:lnTo>
                  <a:lnTo>
                    <a:pt x="2233" y="650"/>
                  </a:lnTo>
                  <a:lnTo>
                    <a:pt x="2214" y="669"/>
                  </a:lnTo>
                  <a:lnTo>
                    <a:pt x="2195" y="684"/>
                  </a:lnTo>
                  <a:lnTo>
                    <a:pt x="2186" y="703"/>
                  </a:lnTo>
                  <a:lnTo>
                    <a:pt x="2183" y="725"/>
                  </a:lnTo>
                  <a:lnTo>
                    <a:pt x="2189" y="753"/>
                  </a:lnTo>
                  <a:lnTo>
                    <a:pt x="2198" y="778"/>
                  </a:lnTo>
                  <a:lnTo>
                    <a:pt x="2211" y="800"/>
                  </a:lnTo>
                  <a:lnTo>
                    <a:pt x="2223" y="803"/>
                  </a:lnTo>
                  <a:lnTo>
                    <a:pt x="2239" y="806"/>
                  </a:lnTo>
                  <a:lnTo>
                    <a:pt x="2258" y="809"/>
                  </a:lnTo>
                  <a:lnTo>
                    <a:pt x="2270" y="812"/>
                  </a:lnTo>
                  <a:lnTo>
                    <a:pt x="2273" y="828"/>
                  </a:lnTo>
                  <a:lnTo>
                    <a:pt x="2270" y="843"/>
                  </a:lnTo>
                  <a:lnTo>
                    <a:pt x="2267" y="865"/>
                  </a:lnTo>
                  <a:lnTo>
                    <a:pt x="2267" y="881"/>
                  </a:lnTo>
                  <a:lnTo>
                    <a:pt x="2270" y="893"/>
                  </a:lnTo>
                  <a:lnTo>
                    <a:pt x="2286" y="903"/>
                  </a:lnTo>
                  <a:lnTo>
                    <a:pt x="2308" y="903"/>
                  </a:lnTo>
                  <a:lnTo>
                    <a:pt x="2326" y="903"/>
                  </a:lnTo>
                  <a:lnTo>
                    <a:pt x="2336" y="900"/>
                  </a:lnTo>
                  <a:lnTo>
                    <a:pt x="2342" y="893"/>
                  </a:lnTo>
                  <a:lnTo>
                    <a:pt x="2351" y="887"/>
                  </a:lnTo>
                  <a:lnTo>
                    <a:pt x="2361" y="884"/>
                  </a:lnTo>
                  <a:lnTo>
                    <a:pt x="2370" y="878"/>
                  </a:lnTo>
                  <a:lnTo>
                    <a:pt x="2376" y="875"/>
                  </a:lnTo>
                  <a:lnTo>
                    <a:pt x="2401" y="872"/>
                  </a:lnTo>
                  <a:lnTo>
                    <a:pt x="2433" y="872"/>
                  </a:lnTo>
                  <a:lnTo>
                    <a:pt x="2458" y="875"/>
                  </a:lnTo>
                  <a:lnTo>
                    <a:pt x="2464" y="881"/>
                  </a:lnTo>
                  <a:lnTo>
                    <a:pt x="2473" y="890"/>
                  </a:lnTo>
                  <a:lnTo>
                    <a:pt x="2479" y="900"/>
                  </a:lnTo>
                  <a:lnTo>
                    <a:pt x="2486" y="912"/>
                  </a:lnTo>
                  <a:lnTo>
                    <a:pt x="2495" y="918"/>
                  </a:lnTo>
                  <a:lnTo>
                    <a:pt x="2517" y="925"/>
                  </a:lnTo>
                  <a:lnTo>
                    <a:pt x="2545" y="925"/>
                  </a:lnTo>
                  <a:lnTo>
                    <a:pt x="2573" y="928"/>
                  </a:lnTo>
                  <a:lnTo>
                    <a:pt x="2595" y="934"/>
                  </a:lnTo>
                  <a:lnTo>
                    <a:pt x="2604" y="937"/>
                  </a:lnTo>
                  <a:lnTo>
                    <a:pt x="2611" y="943"/>
                  </a:lnTo>
                  <a:lnTo>
                    <a:pt x="2620" y="950"/>
                  </a:lnTo>
                  <a:lnTo>
                    <a:pt x="2629" y="959"/>
                  </a:lnTo>
                  <a:lnTo>
                    <a:pt x="2636" y="968"/>
                  </a:lnTo>
                  <a:lnTo>
                    <a:pt x="2642" y="975"/>
                  </a:lnTo>
                  <a:lnTo>
                    <a:pt x="2642" y="990"/>
                  </a:lnTo>
                  <a:lnTo>
                    <a:pt x="2639" y="1012"/>
                  </a:lnTo>
                  <a:lnTo>
                    <a:pt x="2642" y="1028"/>
                  </a:lnTo>
                  <a:lnTo>
                    <a:pt x="2657" y="1046"/>
                  </a:lnTo>
                  <a:lnTo>
                    <a:pt x="2679" y="1062"/>
                  </a:lnTo>
                  <a:lnTo>
                    <a:pt x="2704" y="1078"/>
                  </a:lnTo>
                  <a:lnTo>
                    <a:pt x="2726" y="1090"/>
                  </a:lnTo>
                  <a:lnTo>
                    <a:pt x="2732" y="1093"/>
                  </a:lnTo>
                  <a:lnTo>
                    <a:pt x="2739" y="1103"/>
                  </a:lnTo>
                  <a:lnTo>
                    <a:pt x="2745" y="1109"/>
                  </a:lnTo>
                  <a:lnTo>
                    <a:pt x="2754" y="1115"/>
                  </a:lnTo>
                  <a:lnTo>
                    <a:pt x="2761" y="1118"/>
                  </a:lnTo>
                  <a:lnTo>
                    <a:pt x="2779" y="1128"/>
                  </a:lnTo>
                  <a:lnTo>
                    <a:pt x="2801" y="1140"/>
                  </a:lnTo>
                  <a:lnTo>
                    <a:pt x="2823" y="1146"/>
                  </a:lnTo>
                  <a:lnTo>
                    <a:pt x="2842" y="1146"/>
                  </a:lnTo>
                  <a:lnTo>
                    <a:pt x="2848" y="1143"/>
                  </a:lnTo>
                  <a:lnTo>
                    <a:pt x="2851" y="1137"/>
                  </a:lnTo>
                  <a:lnTo>
                    <a:pt x="2857" y="1131"/>
                  </a:lnTo>
                  <a:lnTo>
                    <a:pt x="2860" y="1121"/>
                  </a:lnTo>
                  <a:lnTo>
                    <a:pt x="2864" y="1115"/>
                  </a:lnTo>
                  <a:lnTo>
                    <a:pt x="2870" y="1109"/>
                  </a:lnTo>
                  <a:lnTo>
                    <a:pt x="2876" y="1106"/>
                  </a:lnTo>
                  <a:lnTo>
                    <a:pt x="2889" y="1106"/>
                  </a:lnTo>
                  <a:lnTo>
                    <a:pt x="2907" y="1115"/>
                  </a:lnTo>
                  <a:lnTo>
                    <a:pt x="2923" y="1124"/>
                  </a:lnTo>
                  <a:lnTo>
                    <a:pt x="2935" y="1137"/>
                  </a:lnTo>
                  <a:lnTo>
                    <a:pt x="2939" y="1149"/>
                  </a:lnTo>
                  <a:lnTo>
                    <a:pt x="2935" y="1168"/>
                  </a:lnTo>
                  <a:lnTo>
                    <a:pt x="2935" y="1184"/>
                  </a:lnTo>
                  <a:lnTo>
                    <a:pt x="2935" y="1196"/>
                  </a:lnTo>
                  <a:lnTo>
                    <a:pt x="2942" y="1206"/>
                  </a:lnTo>
                  <a:lnTo>
                    <a:pt x="2948" y="1215"/>
                  </a:lnTo>
                  <a:lnTo>
                    <a:pt x="2954" y="1224"/>
                  </a:lnTo>
                  <a:lnTo>
                    <a:pt x="2960" y="1231"/>
                  </a:lnTo>
                  <a:lnTo>
                    <a:pt x="2970" y="1240"/>
                  </a:lnTo>
                  <a:lnTo>
                    <a:pt x="2976" y="1246"/>
                  </a:lnTo>
                  <a:lnTo>
                    <a:pt x="2985" y="1249"/>
                  </a:lnTo>
                  <a:lnTo>
                    <a:pt x="2998" y="1252"/>
                  </a:lnTo>
                  <a:lnTo>
                    <a:pt x="3013" y="1256"/>
                  </a:lnTo>
                  <a:lnTo>
                    <a:pt x="3023" y="1259"/>
                  </a:lnTo>
                  <a:lnTo>
                    <a:pt x="3042" y="1265"/>
                  </a:lnTo>
                  <a:lnTo>
                    <a:pt x="3063" y="1271"/>
                  </a:lnTo>
                  <a:lnTo>
                    <a:pt x="3085" y="1277"/>
                  </a:lnTo>
                  <a:lnTo>
                    <a:pt x="3101" y="1284"/>
                  </a:lnTo>
                  <a:lnTo>
                    <a:pt x="3113" y="1302"/>
                  </a:lnTo>
                  <a:lnTo>
                    <a:pt x="3123" y="1324"/>
                  </a:lnTo>
                  <a:lnTo>
                    <a:pt x="3132" y="1346"/>
                  </a:lnTo>
                  <a:lnTo>
                    <a:pt x="3110" y="1352"/>
                  </a:lnTo>
                  <a:lnTo>
                    <a:pt x="3095" y="1359"/>
                  </a:lnTo>
                  <a:lnTo>
                    <a:pt x="3079" y="1368"/>
                  </a:lnTo>
                  <a:lnTo>
                    <a:pt x="3073" y="1374"/>
                  </a:lnTo>
                  <a:lnTo>
                    <a:pt x="3070" y="1384"/>
                  </a:lnTo>
                  <a:lnTo>
                    <a:pt x="3063" y="1396"/>
                  </a:lnTo>
                  <a:lnTo>
                    <a:pt x="3057" y="1405"/>
                  </a:lnTo>
                  <a:lnTo>
                    <a:pt x="3051" y="1412"/>
                  </a:lnTo>
                  <a:lnTo>
                    <a:pt x="3045" y="1415"/>
                  </a:lnTo>
                  <a:lnTo>
                    <a:pt x="3035" y="1418"/>
                  </a:lnTo>
                  <a:lnTo>
                    <a:pt x="3026" y="1421"/>
                  </a:lnTo>
                  <a:lnTo>
                    <a:pt x="3017" y="1424"/>
                  </a:lnTo>
                  <a:lnTo>
                    <a:pt x="3010" y="1427"/>
                  </a:lnTo>
                  <a:lnTo>
                    <a:pt x="3004" y="1443"/>
                  </a:lnTo>
                  <a:lnTo>
                    <a:pt x="2998" y="1462"/>
                  </a:lnTo>
                  <a:lnTo>
                    <a:pt x="2995" y="1480"/>
                  </a:lnTo>
                  <a:lnTo>
                    <a:pt x="2985" y="1493"/>
                  </a:lnTo>
                  <a:lnTo>
                    <a:pt x="2970" y="1499"/>
                  </a:lnTo>
                  <a:lnTo>
                    <a:pt x="2948" y="1502"/>
                  </a:lnTo>
                  <a:lnTo>
                    <a:pt x="2923" y="1496"/>
                  </a:lnTo>
                  <a:lnTo>
                    <a:pt x="2907" y="1490"/>
                  </a:lnTo>
                  <a:lnTo>
                    <a:pt x="2904" y="1487"/>
                  </a:lnTo>
                  <a:lnTo>
                    <a:pt x="2901" y="1477"/>
                  </a:lnTo>
                  <a:lnTo>
                    <a:pt x="2901" y="1471"/>
                  </a:lnTo>
                  <a:lnTo>
                    <a:pt x="2901" y="1462"/>
                  </a:lnTo>
                  <a:lnTo>
                    <a:pt x="2901" y="1452"/>
                  </a:lnTo>
                  <a:lnTo>
                    <a:pt x="2898" y="1446"/>
                  </a:lnTo>
                  <a:lnTo>
                    <a:pt x="2895" y="1443"/>
                  </a:lnTo>
                  <a:lnTo>
                    <a:pt x="2879" y="1440"/>
                  </a:lnTo>
                  <a:lnTo>
                    <a:pt x="2864" y="1443"/>
                  </a:lnTo>
                  <a:lnTo>
                    <a:pt x="2842" y="1449"/>
                  </a:lnTo>
                  <a:lnTo>
                    <a:pt x="2823" y="1452"/>
                  </a:lnTo>
                  <a:lnTo>
                    <a:pt x="2810" y="1452"/>
                  </a:lnTo>
                  <a:lnTo>
                    <a:pt x="2804" y="1449"/>
                  </a:lnTo>
                  <a:lnTo>
                    <a:pt x="2801" y="1443"/>
                  </a:lnTo>
                  <a:lnTo>
                    <a:pt x="2798" y="1437"/>
                  </a:lnTo>
                  <a:lnTo>
                    <a:pt x="2792" y="1430"/>
                  </a:lnTo>
                  <a:lnTo>
                    <a:pt x="2789" y="1424"/>
                  </a:lnTo>
                  <a:lnTo>
                    <a:pt x="2782" y="1421"/>
                  </a:lnTo>
                  <a:lnTo>
                    <a:pt x="2773" y="1418"/>
                  </a:lnTo>
                  <a:lnTo>
                    <a:pt x="2767" y="1415"/>
                  </a:lnTo>
                  <a:lnTo>
                    <a:pt x="2757" y="1412"/>
                  </a:lnTo>
                  <a:lnTo>
                    <a:pt x="2751" y="1412"/>
                  </a:lnTo>
                  <a:lnTo>
                    <a:pt x="2739" y="1421"/>
                  </a:lnTo>
                  <a:lnTo>
                    <a:pt x="2726" y="1440"/>
                  </a:lnTo>
                  <a:lnTo>
                    <a:pt x="2714" y="1455"/>
                  </a:lnTo>
                  <a:lnTo>
                    <a:pt x="2701" y="1468"/>
                  </a:lnTo>
                  <a:lnTo>
                    <a:pt x="2689" y="1474"/>
                  </a:lnTo>
                  <a:lnTo>
                    <a:pt x="2667" y="1477"/>
                  </a:lnTo>
                  <a:lnTo>
                    <a:pt x="2648" y="1480"/>
                  </a:lnTo>
                  <a:lnTo>
                    <a:pt x="2636" y="1487"/>
                  </a:lnTo>
                  <a:lnTo>
                    <a:pt x="2626" y="1509"/>
                  </a:lnTo>
                  <a:lnTo>
                    <a:pt x="2620" y="1540"/>
                  </a:lnTo>
                  <a:lnTo>
                    <a:pt x="2620" y="1571"/>
                  </a:lnTo>
                  <a:lnTo>
                    <a:pt x="2623" y="1596"/>
                  </a:lnTo>
                  <a:lnTo>
                    <a:pt x="2629" y="1602"/>
                  </a:lnTo>
                  <a:lnTo>
                    <a:pt x="2636" y="1612"/>
                  </a:lnTo>
                  <a:lnTo>
                    <a:pt x="2642" y="1621"/>
                  </a:lnTo>
                  <a:lnTo>
                    <a:pt x="2651" y="1630"/>
                  </a:lnTo>
                  <a:lnTo>
                    <a:pt x="2654" y="1637"/>
                  </a:lnTo>
                  <a:lnTo>
                    <a:pt x="2657" y="1658"/>
                  </a:lnTo>
                  <a:lnTo>
                    <a:pt x="2657" y="1683"/>
                  </a:lnTo>
                  <a:lnTo>
                    <a:pt x="2657" y="1708"/>
                  </a:lnTo>
                  <a:lnTo>
                    <a:pt x="2654" y="1730"/>
                  </a:lnTo>
                  <a:lnTo>
                    <a:pt x="2654" y="1743"/>
                  </a:lnTo>
                  <a:lnTo>
                    <a:pt x="2657" y="1752"/>
                  </a:lnTo>
                  <a:lnTo>
                    <a:pt x="2667" y="1771"/>
                  </a:lnTo>
                  <a:lnTo>
                    <a:pt x="2676" y="1796"/>
                  </a:lnTo>
                  <a:lnTo>
                    <a:pt x="2686" y="1821"/>
                  </a:lnTo>
                  <a:lnTo>
                    <a:pt x="2689" y="1840"/>
                  </a:lnTo>
                  <a:lnTo>
                    <a:pt x="2682" y="1861"/>
                  </a:lnTo>
                  <a:lnTo>
                    <a:pt x="2670" y="1886"/>
                  </a:lnTo>
                  <a:lnTo>
                    <a:pt x="2654" y="1905"/>
                  </a:lnTo>
                  <a:lnTo>
                    <a:pt x="2639" y="1918"/>
                  </a:lnTo>
                  <a:lnTo>
                    <a:pt x="2620" y="1927"/>
                  </a:lnTo>
                  <a:lnTo>
                    <a:pt x="2604" y="1936"/>
                  </a:lnTo>
                  <a:lnTo>
                    <a:pt x="2589" y="1955"/>
                  </a:lnTo>
                  <a:lnTo>
                    <a:pt x="2573" y="1980"/>
                  </a:lnTo>
                  <a:lnTo>
                    <a:pt x="2564" y="2005"/>
                  </a:lnTo>
                  <a:lnTo>
                    <a:pt x="2558" y="2030"/>
                  </a:lnTo>
                  <a:lnTo>
                    <a:pt x="2561" y="2049"/>
                  </a:lnTo>
                  <a:lnTo>
                    <a:pt x="2570" y="2071"/>
                  </a:lnTo>
                  <a:lnTo>
                    <a:pt x="2579" y="2096"/>
                  </a:lnTo>
                  <a:lnTo>
                    <a:pt x="2583" y="2114"/>
                  </a:lnTo>
                  <a:lnTo>
                    <a:pt x="2576" y="2136"/>
                  </a:lnTo>
                  <a:lnTo>
                    <a:pt x="2564" y="2161"/>
                  </a:lnTo>
                  <a:lnTo>
                    <a:pt x="2551" y="2186"/>
                  </a:lnTo>
                  <a:lnTo>
                    <a:pt x="2536" y="2202"/>
                  </a:lnTo>
                  <a:lnTo>
                    <a:pt x="2529" y="2208"/>
                  </a:lnTo>
                  <a:lnTo>
                    <a:pt x="2517" y="2214"/>
                  </a:lnTo>
                  <a:lnTo>
                    <a:pt x="2508" y="2224"/>
                  </a:lnTo>
                  <a:lnTo>
                    <a:pt x="2498" y="2230"/>
                  </a:lnTo>
                  <a:lnTo>
                    <a:pt x="2489" y="2236"/>
                  </a:lnTo>
                  <a:lnTo>
                    <a:pt x="2483" y="2252"/>
                  </a:lnTo>
                  <a:lnTo>
                    <a:pt x="2479" y="2274"/>
                  </a:lnTo>
                  <a:lnTo>
                    <a:pt x="2476" y="2299"/>
                  </a:lnTo>
                  <a:lnTo>
                    <a:pt x="2470" y="2317"/>
                  </a:lnTo>
                  <a:lnTo>
                    <a:pt x="2461" y="2333"/>
                  </a:lnTo>
                  <a:lnTo>
                    <a:pt x="2448" y="2348"/>
                  </a:lnTo>
                  <a:lnTo>
                    <a:pt x="2436" y="2367"/>
                  </a:lnTo>
                  <a:lnTo>
                    <a:pt x="2430" y="2386"/>
                  </a:lnTo>
                  <a:lnTo>
                    <a:pt x="2433" y="2405"/>
                  </a:lnTo>
                  <a:lnTo>
                    <a:pt x="2445" y="2423"/>
                  </a:lnTo>
                  <a:lnTo>
                    <a:pt x="2458" y="2445"/>
                  </a:lnTo>
                  <a:lnTo>
                    <a:pt x="2467" y="2461"/>
                  </a:lnTo>
                  <a:lnTo>
                    <a:pt x="2476" y="2489"/>
                  </a:lnTo>
                  <a:lnTo>
                    <a:pt x="2486" y="2523"/>
                  </a:lnTo>
                  <a:lnTo>
                    <a:pt x="2489" y="2555"/>
                  </a:lnTo>
                  <a:lnTo>
                    <a:pt x="2489" y="2576"/>
                  </a:lnTo>
                  <a:lnTo>
                    <a:pt x="2483" y="2601"/>
                  </a:lnTo>
                  <a:lnTo>
                    <a:pt x="2479" y="2626"/>
                  </a:lnTo>
                  <a:lnTo>
                    <a:pt x="2479" y="2648"/>
                  </a:lnTo>
                  <a:lnTo>
                    <a:pt x="2483" y="2667"/>
                  </a:lnTo>
                  <a:lnTo>
                    <a:pt x="2489" y="2686"/>
                  </a:lnTo>
                  <a:lnTo>
                    <a:pt x="2498" y="2701"/>
                  </a:lnTo>
                  <a:lnTo>
                    <a:pt x="2514" y="2708"/>
                  </a:lnTo>
                  <a:lnTo>
                    <a:pt x="2533" y="2714"/>
                  </a:lnTo>
                  <a:lnTo>
                    <a:pt x="2548" y="2717"/>
                  </a:lnTo>
                  <a:lnTo>
                    <a:pt x="2561" y="2723"/>
                  </a:lnTo>
                  <a:lnTo>
                    <a:pt x="2570" y="2742"/>
                  </a:lnTo>
                  <a:lnTo>
                    <a:pt x="2576" y="2767"/>
                  </a:lnTo>
                  <a:lnTo>
                    <a:pt x="2579" y="2795"/>
                  </a:lnTo>
                  <a:lnTo>
                    <a:pt x="2579" y="2817"/>
                  </a:lnTo>
                  <a:lnTo>
                    <a:pt x="2579" y="2826"/>
                  </a:lnTo>
                  <a:lnTo>
                    <a:pt x="2579" y="2836"/>
                  </a:lnTo>
                  <a:lnTo>
                    <a:pt x="2573" y="2857"/>
                  </a:lnTo>
                  <a:lnTo>
                    <a:pt x="2567" y="2886"/>
                  </a:lnTo>
                  <a:lnTo>
                    <a:pt x="2558" y="2911"/>
                  </a:lnTo>
                  <a:lnTo>
                    <a:pt x="2548" y="2929"/>
                  </a:lnTo>
                  <a:lnTo>
                    <a:pt x="2536" y="2951"/>
                  </a:lnTo>
                  <a:lnTo>
                    <a:pt x="2514" y="2973"/>
                  </a:lnTo>
                  <a:lnTo>
                    <a:pt x="2495" y="2989"/>
                  </a:lnTo>
                  <a:lnTo>
                    <a:pt x="2489" y="2989"/>
                  </a:lnTo>
                  <a:lnTo>
                    <a:pt x="2479" y="2989"/>
                  </a:lnTo>
                  <a:lnTo>
                    <a:pt x="2470" y="2989"/>
                  </a:lnTo>
                  <a:lnTo>
                    <a:pt x="2461" y="2986"/>
                  </a:lnTo>
                  <a:lnTo>
                    <a:pt x="2451" y="2986"/>
                  </a:lnTo>
                  <a:lnTo>
                    <a:pt x="2445" y="2989"/>
                  </a:lnTo>
                  <a:lnTo>
                    <a:pt x="2433" y="3004"/>
                  </a:lnTo>
                  <a:lnTo>
                    <a:pt x="2423" y="3026"/>
                  </a:lnTo>
                  <a:lnTo>
                    <a:pt x="2417" y="3051"/>
                  </a:lnTo>
                  <a:lnTo>
                    <a:pt x="2414" y="3070"/>
                  </a:lnTo>
                  <a:lnTo>
                    <a:pt x="2411" y="3092"/>
                  </a:lnTo>
                  <a:lnTo>
                    <a:pt x="2411" y="3117"/>
                  </a:lnTo>
                  <a:lnTo>
                    <a:pt x="2414" y="3139"/>
                  </a:lnTo>
                  <a:lnTo>
                    <a:pt x="2417" y="3145"/>
                  </a:lnTo>
                  <a:lnTo>
                    <a:pt x="2420" y="3154"/>
                  </a:lnTo>
                  <a:lnTo>
                    <a:pt x="2426" y="3163"/>
                  </a:lnTo>
                  <a:lnTo>
                    <a:pt x="2433" y="3173"/>
                  </a:lnTo>
                  <a:lnTo>
                    <a:pt x="2436" y="3179"/>
                  </a:lnTo>
                  <a:lnTo>
                    <a:pt x="2439" y="3185"/>
                  </a:lnTo>
                  <a:lnTo>
                    <a:pt x="2439" y="3195"/>
                  </a:lnTo>
                  <a:lnTo>
                    <a:pt x="2439" y="3204"/>
                  </a:lnTo>
                  <a:lnTo>
                    <a:pt x="2439" y="3210"/>
                  </a:lnTo>
                  <a:lnTo>
                    <a:pt x="2436" y="3217"/>
                  </a:lnTo>
                  <a:lnTo>
                    <a:pt x="2433" y="3223"/>
                  </a:lnTo>
                  <a:lnTo>
                    <a:pt x="2426" y="3226"/>
                  </a:lnTo>
                  <a:lnTo>
                    <a:pt x="2417" y="3229"/>
                  </a:lnTo>
                  <a:lnTo>
                    <a:pt x="2411" y="3232"/>
                  </a:lnTo>
                  <a:lnTo>
                    <a:pt x="2405" y="3235"/>
                  </a:lnTo>
                  <a:lnTo>
                    <a:pt x="2398" y="3238"/>
                  </a:lnTo>
                  <a:lnTo>
                    <a:pt x="2392" y="3257"/>
                  </a:lnTo>
                  <a:lnTo>
                    <a:pt x="2389" y="3282"/>
                  </a:lnTo>
                  <a:lnTo>
                    <a:pt x="2392" y="3304"/>
                  </a:lnTo>
                  <a:lnTo>
                    <a:pt x="2408" y="3320"/>
                  </a:lnTo>
                  <a:lnTo>
                    <a:pt x="2436" y="3335"/>
                  </a:lnTo>
                  <a:lnTo>
                    <a:pt x="2461" y="3345"/>
                  </a:lnTo>
                  <a:lnTo>
                    <a:pt x="2479" y="3351"/>
                  </a:lnTo>
                  <a:lnTo>
                    <a:pt x="2501" y="3360"/>
                  </a:lnTo>
                  <a:lnTo>
                    <a:pt x="2523" y="3366"/>
                  </a:lnTo>
                  <a:lnTo>
                    <a:pt x="2533" y="3370"/>
                  </a:lnTo>
                  <a:lnTo>
                    <a:pt x="2539" y="3379"/>
                  </a:lnTo>
                  <a:lnTo>
                    <a:pt x="2545" y="3398"/>
                  </a:lnTo>
                  <a:lnTo>
                    <a:pt x="2551" y="3423"/>
                  </a:lnTo>
                  <a:lnTo>
                    <a:pt x="2554" y="3448"/>
                  </a:lnTo>
                  <a:lnTo>
                    <a:pt x="2558" y="3470"/>
                  </a:lnTo>
                  <a:lnTo>
                    <a:pt x="2551" y="3488"/>
                  </a:lnTo>
                  <a:lnTo>
                    <a:pt x="2545" y="3513"/>
                  </a:lnTo>
                  <a:lnTo>
                    <a:pt x="2536" y="3538"/>
                  </a:lnTo>
                  <a:lnTo>
                    <a:pt x="2533" y="3560"/>
                  </a:lnTo>
                  <a:lnTo>
                    <a:pt x="2539" y="3579"/>
                  </a:lnTo>
                  <a:lnTo>
                    <a:pt x="2548" y="3601"/>
                  </a:lnTo>
                  <a:lnTo>
                    <a:pt x="2561" y="3623"/>
                  </a:lnTo>
                  <a:lnTo>
                    <a:pt x="2570" y="3641"/>
                  </a:lnTo>
                  <a:lnTo>
                    <a:pt x="2576" y="3647"/>
                  </a:lnTo>
                  <a:lnTo>
                    <a:pt x="2583" y="3660"/>
                  </a:lnTo>
                  <a:lnTo>
                    <a:pt x="2589" y="3672"/>
                  </a:lnTo>
                  <a:lnTo>
                    <a:pt x="2598" y="3682"/>
                  </a:lnTo>
                  <a:lnTo>
                    <a:pt x="2604" y="3688"/>
                  </a:lnTo>
                  <a:lnTo>
                    <a:pt x="2626" y="3701"/>
                  </a:lnTo>
                  <a:lnTo>
                    <a:pt x="2651" y="3710"/>
                  </a:lnTo>
                  <a:lnTo>
                    <a:pt x="2673" y="3719"/>
                  </a:lnTo>
                  <a:lnTo>
                    <a:pt x="2682" y="3726"/>
                  </a:lnTo>
                  <a:lnTo>
                    <a:pt x="2692" y="3735"/>
                  </a:lnTo>
                  <a:lnTo>
                    <a:pt x="2701" y="3741"/>
                  </a:lnTo>
                  <a:lnTo>
                    <a:pt x="2711" y="3751"/>
                  </a:lnTo>
                  <a:lnTo>
                    <a:pt x="2717" y="3760"/>
                  </a:lnTo>
                  <a:lnTo>
                    <a:pt x="2729" y="3779"/>
                  </a:lnTo>
                  <a:lnTo>
                    <a:pt x="2745" y="3804"/>
                  </a:lnTo>
                  <a:lnTo>
                    <a:pt x="2757" y="3822"/>
                  </a:lnTo>
                  <a:lnTo>
                    <a:pt x="2782" y="3832"/>
                  </a:lnTo>
                  <a:lnTo>
                    <a:pt x="2817" y="3841"/>
                  </a:lnTo>
                  <a:lnTo>
                    <a:pt x="2842" y="3854"/>
                  </a:lnTo>
                  <a:lnTo>
                    <a:pt x="2857" y="3866"/>
                  </a:lnTo>
                  <a:lnTo>
                    <a:pt x="2873" y="3885"/>
                  </a:lnTo>
                  <a:lnTo>
                    <a:pt x="2892" y="3904"/>
                  </a:lnTo>
                  <a:lnTo>
                    <a:pt x="2907" y="3916"/>
                  </a:lnTo>
                  <a:lnTo>
                    <a:pt x="2926" y="3919"/>
                  </a:lnTo>
                  <a:lnTo>
                    <a:pt x="2948" y="3916"/>
                  </a:lnTo>
                  <a:lnTo>
                    <a:pt x="2967" y="3916"/>
                  </a:lnTo>
                  <a:lnTo>
                    <a:pt x="2985" y="3913"/>
                  </a:lnTo>
                  <a:lnTo>
                    <a:pt x="3010" y="3913"/>
                  </a:lnTo>
                  <a:lnTo>
                    <a:pt x="3029" y="3916"/>
                  </a:lnTo>
                  <a:lnTo>
                    <a:pt x="3051" y="3932"/>
                  </a:lnTo>
                  <a:lnTo>
                    <a:pt x="3073" y="3960"/>
                  </a:lnTo>
                  <a:lnTo>
                    <a:pt x="3092" y="3978"/>
                  </a:lnTo>
                  <a:lnTo>
                    <a:pt x="3107" y="3994"/>
                  </a:lnTo>
                  <a:lnTo>
                    <a:pt x="3129" y="4013"/>
                  </a:lnTo>
                  <a:lnTo>
                    <a:pt x="3148" y="4032"/>
                  </a:lnTo>
                  <a:lnTo>
                    <a:pt x="3166" y="4041"/>
                  </a:lnTo>
                  <a:lnTo>
                    <a:pt x="3185" y="4047"/>
                  </a:lnTo>
                  <a:lnTo>
                    <a:pt x="3207" y="4047"/>
                  </a:lnTo>
                  <a:lnTo>
                    <a:pt x="3229" y="4050"/>
                  </a:lnTo>
                  <a:lnTo>
                    <a:pt x="3245" y="4060"/>
                  </a:lnTo>
                  <a:lnTo>
                    <a:pt x="3254" y="4078"/>
                  </a:lnTo>
                  <a:lnTo>
                    <a:pt x="3260" y="4110"/>
                  </a:lnTo>
                  <a:lnTo>
                    <a:pt x="3263" y="4131"/>
                  </a:lnTo>
                  <a:lnTo>
                    <a:pt x="3257" y="4153"/>
                  </a:lnTo>
                  <a:lnTo>
                    <a:pt x="3248" y="4178"/>
                  </a:lnTo>
                  <a:lnTo>
                    <a:pt x="3238" y="4200"/>
                  </a:lnTo>
                  <a:lnTo>
                    <a:pt x="3235" y="4206"/>
                  </a:lnTo>
                  <a:lnTo>
                    <a:pt x="3229" y="4213"/>
                  </a:lnTo>
                  <a:lnTo>
                    <a:pt x="3226" y="4222"/>
                  </a:lnTo>
                  <a:lnTo>
                    <a:pt x="3220" y="4231"/>
                  </a:lnTo>
                  <a:lnTo>
                    <a:pt x="3216" y="4238"/>
                  </a:lnTo>
                  <a:lnTo>
                    <a:pt x="3213" y="4244"/>
                  </a:lnTo>
                  <a:lnTo>
                    <a:pt x="3216" y="4263"/>
                  </a:lnTo>
                  <a:lnTo>
                    <a:pt x="3229" y="4281"/>
                  </a:lnTo>
                  <a:lnTo>
                    <a:pt x="3241" y="4300"/>
                  </a:lnTo>
                  <a:lnTo>
                    <a:pt x="3251" y="4316"/>
                  </a:lnTo>
                  <a:lnTo>
                    <a:pt x="3254" y="4325"/>
                  </a:lnTo>
                  <a:lnTo>
                    <a:pt x="3260" y="4331"/>
                  </a:lnTo>
                  <a:lnTo>
                    <a:pt x="3276" y="4341"/>
                  </a:lnTo>
                  <a:lnTo>
                    <a:pt x="3291" y="4344"/>
                  </a:lnTo>
                  <a:lnTo>
                    <a:pt x="3307" y="4344"/>
                  </a:lnTo>
                  <a:lnTo>
                    <a:pt x="3307" y="4338"/>
                  </a:lnTo>
                  <a:lnTo>
                    <a:pt x="3310" y="4334"/>
                  </a:lnTo>
                  <a:lnTo>
                    <a:pt x="3313" y="4328"/>
                  </a:lnTo>
                  <a:lnTo>
                    <a:pt x="3313" y="4322"/>
                  </a:lnTo>
                  <a:lnTo>
                    <a:pt x="3316" y="4316"/>
                  </a:lnTo>
                  <a:lnTo>
                    <a:pt x="3323" y="4309"/>
                  </a:lnTo>
                  <a:lnTo>
                    <a:pt x="3329" y="4303"/>
                  </a:lnTo>
                  <a:lnTo>
                    <a:pt x="3338" y="4297"/>
                  </a:lnTo>
                  <a:lnTo>
                    <a:pt x="3348" y="4294"/>
                  </a:lnTo>
                  <a:lnTo>
                    <a:pt x="3357" y="4291"/>
                  </a:lnTo>
                  <a:lnTo>
                    <a:pt x="3373" y="4294"/>
                  </a:lnTo>
                  <a:lnTo>
                    <a:pt x="3394" y="4300"/>
                  </a:lnTo>
                  <a:lnTo>
                    <a:pt x="3413" y="4313"/>
                  </a:lnTo>
                  <a:lnTo>
                    <a:pt x="3426" y="4325"/>
                  </a:lnTo>
                  <a:lnTo>
                    <a:pt x="3429" y="4341"/>
                  </a:lnTo>
                  <a:lnTo>
                    <a:pt x="3426" y="4363"/>
                  </a:lnTo>
                  <a:lnTo>
                    <a:pt x="3423" y="4388"/>
                  </a:lnTo>
                  <a:lnTo>
                    <a:pt x="3426" y="4403"/>
                  </a:lnTo>
                  <a:lnTo>
                    <a:pt x="3441" y="4419"/>
                  </a:lnTo>
                  <a:lnTo>
                    <a:pt x="3466" y="4431"/>
                  </a:lnTo>
                  <a:lnTo>
                    <a:pt x="3494" y="4441"/>
                  </a:lnTo>
                  <a:lnTo>
                    <a:pt x="3516" y="4447"/>
                  </a:lnTo>
                  <a:lnTo>
                    <a:pt x="3535" y="4450"/>
                  </a:lnTo>
                  <a:lnTo>
                    <a:pt x="3563" y="4450"/>
                  </a:lnTo>
                  <a:lnTo>
                    <a:pt x="3588" y="4453"/>
                  </a:lnTo>
                  <a:lnTo>
                    <a:pt x="3607" y="4459"/>
                  </a:lnTo>
                  <a:lnTo>
                    <a:pt x="3613" y="4475"/>
                  </a:lnTo>
                  <a:lnTo>
                    <a:pt x="3616" y="4497"/>
                  </a:lnTo>
                  <a:lnTo>
                    <a:pt x="3616" y="4522"/>
                  </a:lnTo>
                  <a:lnTo>
                    <a:pt x="3619" y="4544"/>
                  </a:lnTo>
                  <a:lnTo>
                    <a:pt x="3629" y="4559"/>
                  </a:lnTo>
                  <a:lnTo>
                    <a:pt x="3632" y="4562"/>
                  </a:lnTo>
                  <a:lnTo>
                    <a:pt x="3641" y="4562"/>
                  </a:lnTo>
                  <a:lnTo>
                    <a:pt x="3647" y="4559"/>
                  </a:lnTo>
                  <a:lnTo>
                    <a:pt x="3657" y="4559"/>
                  </a:lnTo>
                  <a:lnTo>
                    <a:pt x="3663" y="4559"/>
                  </a:lnTo>
                  <a:lnTo>
                    <a:pt x="3669" y="4559"/>
                  </a:lnTo>
                  <a:lnTo>
                    <a:pt x="3679" y="4572"/>
                  </a:lnTo>
                  <a:lnTo>
                    <a:pt x="3685" y="4594"/>
                  </a:lnTo>
                  <a:lnTo>
                    <a:pt x="3691" y="4612"/>
                  </a:lnTo>
                  <a:lnTo>
                    <a:pt x="3694" y="4631"/>
                  </a:lnTo>
                  <a:lnTo>
                    <a:pt x="3697" y="4656"/>
                  </a:lnTo>
                  <a:lnTo>
                    <a:pt x="3704" y="4684"/>
                  </a:lnTo>
                  <a:lnTo>
                    <a:pt x="3704" y="4709"/>
                  </a:lnTo>
                  <a:lnTo>
                    <a:pt x="3704" y="4737"/>
                  </a:lnTo>
                  <a:lnTo>
                    <a:pt x="3700" y="4765"/>
                  </a:lnTo>
                  <a:lnTo>
                    <a:pt x="3694" y="4790"/>
                  </a:lnTo>
                  <a:lnTo>
                    <a:pt x="3688" y="4797"/>
                  </a:lnTo>
                  <a:lnTo>
                    <a:pt x="3679" y="4806"/>
                  </a:lnTo>
                  <a:lnTo>
                    <a:pt x="3669" y="4812"/>
                  </a:lnTo>
                  <a:lnTo>
                    <a:pt x="3660" y="4818"/>
                  </a:lnTo>
                  <a:lnTo>
                    <a:pt x="3654" y="4828"/>
                  </a:lnTo>
                  <a:lnTo>
                    <a:pt x="3647" y="4834"/>
                  </a:lnTo>
                  <a:lnTo>
                    <a:pt x="3647" y="4856"/>
                  </a:lnTo>
                  <a:lnTo>
                    <a:pt x="3650" y="4878"/>
                  </a:lnTo>
                  <a:lnTo>
                    <a:pt x="3657" y="4903"/>
                  </a:lnTo>
                  <a:lnTo>
                    <a:pt x="3666" y="4918"/>
                  </a:lnTo>
                  <a:lnTo>
                    <a:pt x="3672" y="4925"/>
                  </a:lnTo>
                  <a:lnTo>
                    <a:pt x="3682" y="4931"/>
                  </a:lnTo>
                  <a:lnTo>
                    <a:pt x="3691" y="4934"/>
                  </a:lnTo>
                  <a:lnTo>
                    <a:pt x="3700" y="4940"/>
                  </a:lnTo>
                  <a:lnTo>
                    <a:pt x="3710" y="4943"/>
                  </a:lnTo>
                  <a:lnTo>
                    <a:pt x="3729" y="4959"/>
                  </a:lnTo>
                  <a:lnTo>
                    <a:pt x="3750" y="4978"/>
                  </a:lnTo>
                  <a:lnTo>
                    <a:pt x="3769" y="4996"/>
                  </a:lnTo>
                  <a:lnTo>
                    <a:pt x="3785" y="5015"/>
                  </a:lnTo>
                  <a:lnTo>
                    <a:pt x="3803" y="5040"/>
                  </a:lnTo>
                  <a:lnTo>
                    <a:pt x="3819" y="5062"/>
                  </a:lnTo>
                  <a:lnTo>
                    <a:pt x="3835" y="5090"/>
                  </a:lnTo>
                  <a:lnTo>
                    <a:pt x="3850" y="5124"/>
                  </a:lnTo>
                  <a:lnTo>
                    <a:pt x="3866" y="5149"/>
                  </a:lnTo>
                  <a:lnTo>
                    <a:pt x="3885" y="5168"/>
                  </a:lnTo>
                  <a:lnTo>
                    <a:pt x="3910" y="5184"/>
                  </a:lnTo>
                  <a:lnTo>
                    <a:pt x="3928" y="5199"/>
                  </a:lnTo>
                  <a:lnTo>
                    <a:pt x="3944" y="5218"/>
                  </a:lnTo>
                  <a:lnTo>
                    <a:pt x="3960" y="5240"/>
                  </a:lnTo>
                  <a:lnTo>
                    <a:pt x="3978" y="5256"/>
                  </a:lnTo>
                  <a:lnTo>
                    <a:pt x="4000" y="5259"/>
                  </a:lnTo>
                  <a:lnTo>
                    <a:pt x="4031" y="5259"/>
                  </a:lnTo>
                  <a:lnTo>
                    <a:pt x="4028" y="5268"/>
                  </a:lnTo>
                  <a:lnTo>
                    <a:pt x="4022" y="5277"/>
                  </a:lnTo>
                  <a:lnTo>
                    <a:pt x="4016" y="5284"/>
                  </a:lnTo>
                  <a:lnTo>
                    <a:pt x="4006" y="5290"/>
                  </a:lnTo>
                  <a:lnTo>
                    <a:pt x="3997" y="5296"/>
                  </a:lnTo>
                  <a:lnTo>
                    <a:pt x="3991" y="5302"/>
                  </a:lnTo>
                  <a:lnTo>
                    <a:pt x="3985" y="5324"/>
                  </a:lnTo>
                  <a:lnTo>
                    <a:pt x="3981" y="5349"/>
                  </a:lnTo>
                  <a:lnTo>
                    <a:pt x="3975" y="5368"/>
                  </a:lnTo>
                  <a:lnTo>
                    <a:pt x="3953" y="5390"/>
                  </a:lnTo>
                  <a:lnTo>
                    <a:pt x="3925" y="5412"/>
                  </a:lnTo>
                  <a:lnTo>
                    <a:pt x="3897" y="5427"/>
                  </a:lnTo>
                  <a:lnTo>
                    <a:pt x="3891" y="5430"/>
                  </a:lnTo>
                  <a:lnTo>
                    <a:pt x="3882" y="5434"/>
                  </a:lnTo>
                  <a:lnTo>
                    <a:pt x="3872" y="5437"/>
                  </a:lnTo>
                  <a:lnTo>
                    <a:pt x="3863" y="5440"/>
                  </a:lnTo>
                  <a:lnTo>
                    <a:pt x="3853" y="5443"/>
                  </a:lnTo>
                  <a:lnTo>
                    <a:pt x="3841" y="5462"/>
                  </a:lnTo>
                  <a:lnTo>
                    <a:pt x="3828" y="5490"/>
                  </a:lnTo>
                  <a:lnTo>
                    <a:pt x="3819" y="5518"/>
                  </a:lnTo>
                  <a:lnTo>
                    <a:pt x="3803" y="5537"/>
                  </a:lnTo>
                  <a:lnTo>
                    <a:pt x="3791" y="5540"/>
                  </a:lnTo>
                  <a:lnTo>
                    <a:pt x="3772" y="5543"/>
                  </a:lnTo>
                  <a:lnTo>
                    <a:pt x="3750" y="5546"/>
                  </a:lnTo>
                  <a:lnTo>
                    <a:pt x="3738" y="5552"/>
                  </a:lnTo>
                  <a:lnTo>
                    <a:pt x="3735" y="5571"/>
                  </a:lnTo>
                  <a:lnTo>
                    <a:pt x="3735" y="5593"/>
                  </a:lnTo>
                  <a:lnTo>
                    <a:pt x="3738" y="5615"/>
                  </a:lnTo>
                  <a:lnTo>
                    <a:pt x="3741" y="5640"/>
                  </a:lnTo>
                  <a:lnTo>
                    <a:pt x="3741" y="5658"/>
                  </a:lnTo>
                  <a:lnTo>
                    <a:pt x="3741" y="5668"/>
                  </a:lnTo>
                  <a:lnTo>
                    <a:pt x="3738" y="5677"/>
                  </a:lnTo>
                  <a:lnTo>
                    <a:pt x="3735" y="5687"/>
                  </a:lnTo>
                  <a:lnTo>
                    <a:pt x="3735" y="5696"/>
                  </a:lnTo>
                  <a:lnTo>
                    <a:pt x="3735" y="5705"/>
                  </a:lnTo>
                  <a:lnTo>
                    <a:pt x="3738" y="5730"/>
                  </a:lnTo>
                  <a:lnTo>
                    <a:pt x="3744" y="5758"/>
                  </a:lnTo>
                  <a:lnTo>
                    <a:pt x="3747" y="5783"/>
                  </a:lnTo>
                  <a:lnTo>
                    <a:pt x="3741" y="5805"/>
                  </a:lnTo>
                  <a:lnTo>
                    <a:pt x="3732" y="5830"/>
                  </a:lnTo>
                  <a:lnTo>
                    <a:pt x="3722" y="5849"/>
                  </a:lnTo>
                  <a:lnTo>
                    <a:pt x="3713" y="5868"/>
                  </a:lnTo>
                  <a:lnTo>
                    <a:pt x="3700" y="5886"/>
                  </a:lnTo>
                  <a:lnTo>
                    <a:pt x="3685" y="5902"/>
                  </a:lnTo>
                  <a:lnTo>
                    <a:pt x="3666" y="5905"/>
                  </a:lnTo>
                  <a:lnTo>
                    <a:pt x="3641" y="5899"/>
                  </a:lnTo>
                  <a:lnTo>
                    <a:pt x="3616" y="5896"/>
                  </a:lnTo>
                  <a:lnTo>
                    <a:pt x="3597" y="5893"/>
                  </a:lnTo>
                  <a:lnTo>
                    <a:pt x="3582" y="5902"/>
                  </a:lnTo>
                  <a:lnTo>
                    <a:pt x="3563" y="5911"/>
                  </a:lnTo>
                  <a:lnTo>
                    <a:pt x="3544" y="5924"/>
                  </a:lnTo>
                  <a:lnTo>
                    <a:pt x="3529" y="5930"/>
                  </a:lnTo>
                  <a:lnTo>
                    <a:pt x="3507" y="5930"/>
                  </a:lnTo>
                  <a:lnTo>
                    <a:pt x="3482" y="5921"/>
                  </a:lnTo>
                  <a:lnTo>
                    <a:pt x="3460" y="5914"/>
                  </a:lnTo>
                  <a:lnTo>
                    <a:pt x="3451" y="5908"/>
                  </a:lnTo>
                  <a:lnTo>
                    <a:pt x="3444" y="5899"/>
                  </a:lnTo>
                  <a:lnTo>
                    <a:pt x="3435" y="5889"/>
                  </a:lnTo>
                  <a:lnTo>
                    <a:pt x="3429" y="5880"/>
                  </a:lnTo>
                  <a:lnTo>
                    <a:pt x="3419" y="5874"/>
                  </a:lnTo>
                  <a:lnTo>
                    <a:pt x="3413" y="5868"/>
                  </a:lnTo>
                  <a:lnTo>
                    <a:pt x="3391" y="5865"/>
                  </a:lnTo>
                  <a:lnTo>
                    <a:pt x="3369" y="5868"/>
                  </a:lnTo>
                  <a:lnTo>
                    <a:pt x="3348" y="5868"/>
                  </a:lnTo>
                  <a:lnTo>
                    <a:pt x="3329" y="5877"/>
                  </a:lnTo>
                  <a:lnTo>
                    <a:pt x="3307" y="5886"/>
                  </a:lnTo>
                  <a:lnTo>
                    <a:pt x="3291" y="5899"/>
                  </a:lnTo>
                  <a:lnTo>
                    <a:pt x="3288" y="5908"/>
                  </a:lnTo>
                  <a:lnTo>
                    <a:pt x="3285" y="5918"/>
                  </a:lnTo>
                  <a:lnTo>
                    <a:pt x="3282" y="5930"/>
                  </a:lnTo>
                  <a:lnTo>
                    <a:pt x="3279" y="5943"/>
                  </a:lnTo>
                  <a:lnTo>
                    <a:pt x="3276" y="5949"/>
                  </a:lnTo>
                  <a:lnTo>
                    <a:pt x="3270" y="5958"/>
                  </a:lnTo>
                  <a:lnTo>
                    <a:pt x="3260" y="5968"/>
                  </a:lnTo>
                  <a:lnTo>
                    <a:pt x="3251" y="5977"/>
                  </a:lnTo>
                  <a:lnTo>
                    <a:pt x="3241" y="5986"/>
                  </a:lnTo>
                  <a:lnTo>
                    <a:pt x="3238" y="5993"/>
                  </a:lnTo>
                  <a:lnTo>
                    <a:pt x="3232" y="6014"/>
                  </a:lnTo>
                  <a:lnTo>
                    <a:pt x="3232" y="6036"/>
                  </a:lnTo>
                  <a:lnTo>
                    <a:pt x="3235" y="6058"/>
                  </a:lnTo>
                  <a:lnTo>
                    <a:pt x="3238" y="6064"/>
                  </a:lnTo>
                  <a:lnTo>
                    <a:pt x="3241" y="6074"/>
                  </a:lnTo>
                  <a:lnTo>
                    <a:pt x="3245" y="6083"/>
                  </a:lnTo>
                  <a:lnTo>
                    <a:pt x="3232" y="6089"/>
                  </a:lnTo>
                  <a:lnTo>
                    <a:pt x="3223" y="6092"/>
                  </a:lnTo>
                  <a:lnTo>
                    <a:pt x="3213" y="6092"/>
                  </a:lnTo>
                  <a:lnTo>
                    <a:pt x="3207" y="6092"/>
                  </a:lnTo>
                  <a:lnTo>
                    <a:pt x="3201" y="6086"/>
                  </a:lnTo>
                  <a:lnTo>
                    <a:pt x="3195" y="6083"/>
                  </a:lnTo>
                  <a:lnTo>
                    <a:pt x="3185" y="6077"/>
                  </a:lnTo>
                  <a:lnTo>
                    <a:pt x="3179" y="6074"/>
                  </a:lnTo>
                  <a:lnTo>
                    <a:pt x="3173" y="6071"/>
                  </a:lnTo>
                  <a:lnTo>
                    <a:pt x="3154" y="6077"/>
                  </a:lnTo>
                  <a:lnTo>
                    <a:pt x="3135" y="6086"/>
                  </a:lnTo>
                  <a:lnTo>
                    <a:pt x="3120" y="6092"/>
                  </a:lnTo>
                  <a:lnTo>
                    <a:pt x="3101" y="6096"/>
                  </a:lnTo>
                  <a:lnTo>
                    <a:pt x="3079" y="6099"/>
                  </a:lnTo>
                  <a:lnTo>
                    <a:pt x="3060" y="6099"/>
                  </a:lnTo>
                  <a:lnTo>
                    <a:pt x="3042" y="6092"/>
                  </a:lnTo>
                  <a:lnTo>
                    <a:pt x="3029" y="6080"/>
                  </a:lnTo>
                  <a:lnTo>
                    <a:pt x="3020" y="6058"/>
                  </a:lnTo>
                  <a:lnTo>
                    <a:pt x="3010" y="6036"/>
                  </a:lnTo>
                  <a:lnTo>
                    <a:pt x="2998" y="6021"/>
                  </a:lnTo>
                  <a:lnTo>
                    <a:pt x="2992" y="6018"/>
                  </a:lnTo>
                  <a:lnTo>
                    <a:pt x="2982" y="6011"/>
                  </a:lnTo>
                  <a:lnTo>
                    <a:pt x="2970" y="6005"/>
                  </a:lnTo>
                  <a:lnTo>
                    <a:pt x="2960" y="6002"/>
                  </a:lnTo>
                  <a:lnTo>
                    <a:pt x="2954" y="5996"/>
                  </a:lnTo>
                  <a:lnTo>
                    <a:pt x="2948" y="5980"/>
                  </a:lnTo>
                  <a:lnTo>
                    <a:pt x="2948" y="5961"/>
                  </a:lnTo>
                  <a:lnTo>
                    <a:pt x="2945" y="5946"/>
                  </a:lnTo>
                  <a:lnTo>
                    <a:pt x="2942" y="5933"/>
                  </a:lnTo>
                  <a:lnTo>
                    <a:pt x="2923" y="5927"/>
                  </a:lnTo>
                  <a:lnTo>
                    <a:pt x="2901" y="5927"/>
                  </a:lnTo>
                  <a:lnTo>
                    <a:pt x="2885" y="5933"/>
                  </a:lnTo>
                  <a:lnTo>
                    <a:pt x="2879" y="5936"/>
                  </a:lnTo>
                  <a:lnTo>
                    <a:pt x="2879" y="5943"/>
                  </a:lnTo>
                  <a:lnTo>
                    <a:pt x="2876" y="5949"/>
                  </a:lnTo>
                  <a:lnTo>
                    <a:pt x="2873" y="5955"/>
                  </a:lnTo>
                  <a:lnTo>
                    <a:pt x="2870" y="5961"/>
                  </a:lnTo>
                  <a:lnTo>
                    <a:pt x="2848" y="5974"/>
                  </a:lnTo>
                  <a:lnTo>
                    <a:pt x="2814" y="5983"/>
                  </a:lnTo>
                  <a:lnTo>
                    <a:pt x="2782" y="5986"/>
                  </a:lnTo>
                  <a:lnTo>
                    <a:pt x="2754" y="5986"/>
                  </a:lnTo>
                  <a:lnTo>
                    <a:pt x="2745" y="5983"/>
                  </a:lnTo>
                  <a:lnTo>
                    <a:pt x="2736" y="5977"/>
                  </a:lnTo>
                  <a:lnTo>
                    <a:pt x="2726" y="5968"/>
                  </a:lnTo>
                  <a:lnTo>
                    <a:pt x="2720" y="5961"/>
                  </a:lnTo>
                  <a:lnTo>
                    <a:pt x="2714" y="5952"/>
                  </a:lnTo>
                  <a:lnTo>
                    <a:pt x="2707" y="5946"/>
                  </a:lnTo>
                  <a:lnTo>
                    <a:pt x="2704" y="5927"/>
                  </a:lnTo>
                  <a:lnTo>
                    <a:pt x="2707" y="5905"/>
                  </a:lnTo>
                  <a:lnTo>
                    <a:pt x="2711" y="5883"/>
                  </a:lnTo>
                  <a:lnTo>
                    <a:pt x="2707" y="5868"/>
                  </a:lnTo>
                  <a:lnTo>
                    <a:pt x="2704" y="5861"/>
                  </a:lnTo>
                  <a:lnTo>
                    <a:pt x="2695" y="5858"/>
                  </a:lnTo>
                  <a:lnTo>
                    <a:pt x="2689" y="5855"/>
                  </a:lnTo>
                  <a:lnTo>
                    <a:pt x="2679" y="5852"/>
                  </a:lnTo>
                  <a:lnTo>
                    <a:pt x="2673" y="5849"/>
                  </a:lnTo>
                  <a:lnTo>
                    <a:pt x="2667" y="5852"/>
                  </a:lnTo>
                  <a:lnTo>
                    <a:pt x="2657" y="5855"/>
                  </a:lnTo>
                  <a:lnTo>
                    <a:pt x="2651" y="5858"/>
                  </a:lnTo>
                  <a:lnTo>
                    <a:pt x="2645" y="5865"/>
                  </a:lnTo>
                  <a:lnTo>
                    <a:pt x="2639" y="5868"/>
                  </a:lnTo>
                  <a:lnTo>
                    <a:pt x="2636" y="5874"/>
                  </a:lnTo>
                  <a:lnTo>
                    <a:pt x="2632" y="5880"/>
                  </a:lnTo>
                  <a:lnTo>
                    <a:pt x="2629" y="5889"/>
                  </a:lnTo>
                  <a:lnTo>
                    <a:pt x="2626" y="5899"/>
                  </a:lnTo>
                  <a:lnTo>
                    <a:pt x="2623" y="5905"/>
                  </a:lnTo>
                  <a:lnTo>
                    <a:pt x="2617" y="5908"/>
                  </a:lnTo>
                  <a:lnTo>
                    <a:pt x="2598" y="5911"/>
                  </a:lnTo>
                  <a:lnTo>
                    <a:pt x="2576" y="5905"/>
                  </a:lnTo>
                  <a:lnTo>
                    <a:pt x="2554" y="5899"/>
                  </a:lnTo>
                  <a:lnTo>
                    <a:pt x="2539" y="5886"/>
                  </a:lnTo>
                  <a:lnTo>
                    <a:pt x="2536" y="5871"/>
                  </a:lnTo>
                  <a:lnTo>
                    <a:pt x="2536" y="5855"/>
                  </a:lnTo>
                  <a:lnTo>
                    <a:pt x="2536" y="5833"/>
                  </a:lnTo>
                  <a:lnTo>
                    <a:pt x="2539" y="5821"/>
                  </a:lnTo>
                  <a:lnTo>
                    <a:pt x="2542" y="5802"/>
                  </a:lnTo>
                  <a:lnTo>
                    <a:pt x="2548" y="5783"/>
                  </a:lnTo>
                  <a:lnTo>
                    <a:pt x="2551" y="5765"/>
                  </a:lnTo>
                  <a:lnTo>
                    <a:pt x="2545" y="5749"/>
                  </a:lnTo>
                  <a:lnTo>
                    <a:pt x="2533" y="5727"/>
                  </a:lnTo>
                  <a:lnTo>
                    <a:pt x="2523" y="5708"/>
                  </a:lnTo>
                  <a:lnTo>
                    <a:pt x="2526" y="5690"/>
                  </a:lnTo>
                  <a:lnTo>
                    <a:pt x="2533" y="5665"/>
                  </a:lnTo>
                  <a:lnTo>
                    <a:pt x="2542" y="5643"/>
                  </a:lnTo>
                  <a:lnTo>
                    <a:pt x="2548" y="5630"/>
                  </a:lnTo>
                  <a:lnTo>
                    <a:pt x="2554" y="5612"/>
                  </a:lnTo>
                  <a:lnTo>
                    <a:pt x="2561" y="5596"/>
                  </a:lnTo>
                  <a:lnTo>
                    <a:pt x="2564" y="5587"/>
                  </a:lnTo>
                  <a:lnTo>
                    <a:pt x="2564" y="5574"/>
                  </a:lnTo>
                  <a:lnTo>
                    <a:pt x="2567" y="5552"/>
                  </a:lnTo>
                  <a:lnTo>
                    <a:pt x="2564" y="5524"/>
                  </a:lnTo>
                  <a:lnTo>
                    <a:pt x="2561" y="5496"/>
                  </a:lnTo>
                  <a:lnTo>
                    <a:pt x="2554" y="5477"/>
                  </a:lnTo>
                  <a:lnTo>
                    <a:pt x="2539" y="5468"/>
                  </a:lnTo>
                  <a:lnTo>
                    <a:pt x="2517" y="5462"/>
                  </a:lnTo>
                  <a:lnTo>
                    <a:pt x="2495" y="5459"/>
                  </a:lnTo>
                  <a:lnTo>
                    <a:pt x="2476" y="5452"/>
                  </a:lnTo>
                  <a:lnTo>
                    <a:pt x="2473" y="5446"/>
                  </a:lnTo>
                  <a:lnTo>
                    <a:pt x="2470" y="5437"/>
                  </a:lnTo>
                  <a:lnTo>
                    <a:pt x="2467" y="5427"/>
                  </a:lnTo>
                  <a:lnTo>
                    <a:pt x="2464" y="5418"/>
                  </a:lnTo>
                  <a:lnTo>
                    <a:pt x="2461" y="5409"/>
                  </a:lnTo>
                  <a:lnTo>
                    <a:pt x="2454" y="5402"/>
                  </a:lnTo>
                  <a:lnTo>
                    <a:pt x="2448" y="5399"/>
                  </a:lnTo>
                  <a:lnTo>
                    <a:pt x="2442" y="5399"/>
                  </a:lnTo>
                  <a:lnTo>
                    <a:pt x="2433" y="5399"/>
                  </a:lnTo>
                  <a:lnTo>
                    <a:pt x="2426" y="5399"/>
                  </a:lnTo>
                  <a:lnTo>
                    <a:pt x="2420" y="5402"/>
                  </a:lnTo>
                  <a:lnTo>
                    <a:pt x="2420" y="5405"/>
                  </a:lnTo>
                  <a:lnTo>
                    <a:pt x="2420" y="5412"/>
                  </a:lnTo>
                  <a:lnTo>
                    <a:pt x="2423" y="5418"/>
                  </a:lnTo>
                  <a:lnTo>
                    <a:pt x="2423" y="5421"/>
                  </a:lnTo>
                  <a:lnTo>
                    <a:pt x="2420" y="5424"/>
                  </a:lnTo>
                  <a:lnTo>
                    <a:pt x="2408" y="5430"/>
                  </a:lnTo>
                  <a:lnTo>
                    <a:pt x="2389" y="5434"/>
                  </a:lnTo>
                  <a:lnTo>
                    <a:pt x="2370" y="5430"/>
                  </a:lnTo>
                  <a:lnTo>
                    <a:pt x="2358" y="5424"/>
                  </a:lnTo>
                  <a:lnTo>
                    <a:pt x="2355" y="5421"/>
                  </a:lnTo>
                  <a:lnTo>
                    <a:pt x="2348" y="5412"/>
                  </a:lnTo>
                  <a:lnTo>
                    <a:pt x="2348" y="5402"/>
                  </a:lnTo>
                  <a:lnTo>
                    <a:pt x="2345" y="5393"/>
                  </a:lnTo>
                  <a:lnTo>
                    <a:pt x="2348" y="5384"/>
                  </a:lnTo>
                  <a:lnTo>
                    <a:pt x="2351" y="5377"/>
                  </a:lnTo>
                  <a:lnTo>
                    <a:pt x="2358" y="5371"/>
                  </a:lnTo>
                  <a:lnTo>
                    <a:pt x="2367" y="5362"/>
                  </a:lnTo>
                  <a:lnTo>
                    <a:pt x="2373" y="5356"/>
                  </a:lnTo>
                  <a:lnTo>
                    <a:pt x="2376" y="5349"/>
                  </a:lnTo>
                  <a:lnTo>
                    <a:pt x="2380" y="5324"/>
                  </a:lnTo>
                  <a:lnTo>
                    <a:pt x="2373" y="5296"/>
                  </a:lnTo>
                  <a:lnTo>
                    <a:pt x="2364" y="5271"/>
                  </a:lnTo>
                  <a:lnTo>
                    <a:pt x="2345" y="5246"/>
                  </a:lnTo>
                  <a:lnTo>
                    <a:pt x="2314" y="5218"/>
                  </a:lnTo>
                  <a:lnTo>
                    <a:pt x="2283" y="5190"/>
                  </a:lnTo>
                  <a:lnTo>
                    <a:pt x="2252" y="5174"/>
                  </a:lnTo>
                  <a:lnTo>
                    <a:pt x="2227" y="5171"/>
                  </a:lnTo>
                  <a:lnTo>
                    <a:pt x="2192" y="5174"/>
                  </a:lnTo>
                  <a:lnTo>
                    <a:pt x="2161" y="5178"/>
                  </a:lnTo>
                  <a:lnTo>
                    <a:pt x="2133" y="5174"/>
                  </a:lnTo>
                  <a:lnTo>
                    <a:pt x="2111" y="5165"/>
                  </a:lnTo>
                  <a:lnTo>
                    <a:pt x="2086" y="5153"/>
                  </a:lnTo>
                  <a:lnTo>
                    <a:pt x="2061" y="5137"/>
                  </a:lnTo>
                  <a:lnTo>
                    <a:pt x="2039" y="5131"/>
                  </a:lnTo>
                  <a:lnTo>
                    <a:pt x="2014" y="5124"/>
                  </a:lnTo>
                  <a:lnTo>
                    <a:pt x="1986" y="5124"/>
                  </a:lnTo>
                  <a:lnTo>
                    <a:pt x="1961" y="5124"/>
                  </a:lnTo>
                  <a:lnTo>
                    <a:pt x="1939" y="5131"/>
                  </a:lnTo>
                  <a:lnTo>
                    <a:pt x="1930" y="5134"/>
                  </a:lnTo>
                  <a:lnTo>
                    <a:pt x="1921" y="5143"/>
                  </a:lnTo>
                  <a:lnTo>
                    <a:pt x="1914" y="5156"/>
                  </a:lnTo>
                  <a:lnTo>
                    <a:pt x="1908" y="5165"/>
                  </a:lnTo>
                  <a:lnTo>
                    <a:pt x="1902" y="5174"/>
                  </a:lnTo>
                  <a:lnTo>
                    <a:pt x="1902" y="5193"/>
                  </a:lnTo>
                  <a:lnTo>
                    <a:pt x="1905" y="5212"/>
                  </a:lnTo>
                  <a:lnTo>
                    <a:pt x="1905" y="5234"/>
                  </a:lnTo>
                  <a:lnTo>
                    <a:pt x="1902" y="5249"/>
                  </a:lnTo>
                  <a:lnTo>
                    <a:pt x="1899" y="5256"/>
                  </a:lnTo>
                  <a:lnTo>
                    <a:pt x="1889" y="5259"/>
                  </a:lnTo>
                  <a:lnTo>
                    <a:pt x="1880" y="5262"/>
                  </a:lnTo>
                  <a:lnTo>
                    <a:pt x="1871" y="5265"/>
                  </a:lnTo>
                  <a:lnTo>
                    <a:pt x="1861" y="5268"/>
                  </a:lnTo>
                  <a:lnTo>
                    <a:pt x="1842" y="5268"/>
                  </a:lnTo>
                  <a:lnTo>
                    <a:pt x="1817" y="5265"/>
                  </a:lnTo>
                  <a:lnTo>
                    <a:pt x="1796" y="5265"/>
                  </a:lnTo>
                  <a:lnTo>
                    <a:pt x="1777" y="5268"/>
                  </a:lnTo>
                  <a:lnTo>
                    <a:pt x="1774" y="5271"/>
                  </a:lnTo>
                  <a:lnTo>
                    <a:pt x="1771" y="5277"/>
                  </a:lnTo>
                  <a:lnTo>
                    <a:pt x="1764" y="5284"/>
                  </a:lnTo>
                  <a:lnTo>
                    <a:pt x="1761" y="5293"/>
                  </a:lnTo>
                  <a:lnTo>
                    <a:pt x="1758" y="5296"/>
                  </a:lnTo>
                  <a:lnTo>
                    <a:pt x="1739" y="5299"/>
                  </a:lnTo>
                  <a:lnTo>
                    <a:pt x="1718" y="5296"/>
                  </a:lnTo>
                  <a:lnTo>
                    <a:pt x="1696" y="5290"/>
                  </a:lnTo>
                  <a:lnTo>
                    <a:pt x="1677" y="5287"/>
                  </a:lnTo>
                  <a:lnTo>
                    <a:pt x="1661" y="5287"/>
                  </a:lnTo>
                  <a:lnTo>
                    <a:pt x="1639" y="5284"/>
                  </a:lnTo>
                  <a:lnTo>
                    <a:pt x="1618" y="5284"/>
                  </a:lnTo>
                  <a:lnTo>
                    <a:pt x="1602" y="5287"/>
                  </a:lnTo>
                  <a:lnTo>
                    <a:pt x="1596" y="5293"/>
                  </a:lnTo>
                  <a:lnTo>
                    <a:pt x="1590" y="5299"/>
                  </a:lnTo>
                  <a:lnTo>
                    <a:pt x="1586" y="5309"/>
                  </a:lnTo>
                  <a:lnTo>
                    <a:pt x="1580" y="5315"/>
                  </a:lnTo>
                  <a:lnTo>
                    <a:pt x="1577" y="5324"/>
                  </a:lnTo>
                  <a:lnTo>
                    <a:pt x="1571" y="5327"/>
                  </a:lnTo>
                  <a:lnTo>
                    <a:pt x="1549" y="5337"/>
                  </a:lnTo>
                  <a:lnTo>
                    <a:pt x="1524" y="5343"/>
                  </a:lnTo>
                  <a:lnTo>
                    <a:pt x="1496" y="5346"/>
                  </a:lnTo>
                  <a:lnTo>
                    <a:pt x="1474" y="5343"/>
                  </a:lnTo>
                  <a:lnTo>
                    <a:pt x="1455" y="5334"/>
                  </a:lnTo>
                  <a:lnTo>
                    <a:pt x="1433" y="5318"/>
                  </a:lnTo>
                  <a:lnTo>
                    <a:pt x="1412" y="5302"/>
                  </a:lnTo>
                  <a:lnTo>
                    <a:pt x="1393" y="5293"/>
                  </a:lnTo>
                  <a:lnTo>
                    <a:pt x="1377" y="5287"/>
                  </a:lnTo>
                  <a:lnTo>
                    <a:pt x="1358" y="5284"/>
                  </a:lnTo>
                  <a:lnTo>
                    <a:pt x="1337" y="5284"/>
                  </a:lnTo>
                  <a:lnTo>
                    <a:pt x="1324" y="5287"/>
                  </a:lnTo>
                  <a:lnTo>
                    <a:pt x="1321" y="5293"/>
                  </a:lnTo>
                  <a:lnTo>
                    <a:pt x="1321" y="5296"/>
                  </a:lnTo>
                  <a:lnTo>
                    <a:pt x="1321" y="5306"/>
                  </a:lnTo>
                  <a:lnTo>
                    <a:pt x="1324" y="5312"/>
                  </a:lnTo>
                  <a:lnTo>
                    <a:pt x="1324" y="5318"/>
                  </a:lnTo>
                  <a:lnTo>
                    <a:pt x="1324" y="5324"/>
                  </a:lnTo>
                  <a:lnTo>
                    <a:pt x="1324" y="5327"/>
                  </a:lnTo>
                  <a:lnTo>
                    <a:pt x="1308" y="5334"/>
                  </a:lnTo>
                  <a:lnTo>
                    <a:pt x="1290" y="5334"/>
                  </a:lnTo>
                  <a:lnTo>
                    <a:pt x="1271" y="5334"/>
                  </a:lnTo>
                  <a:lnTo>
                    <a:pt x="1252" y="5331"/>
                  </a:lnTo>
                  <a:lnTo>
                    <a:pt x="1224" y="5331"/>
                  </a:lnTo>
                  <a:lnTo>
                    <a:pt x="1190" y="5327"/>
                  </a:lnTo>
                  <a:lnTo>
                    <a:pt x="1162" y="5327"/>
                  </a:lnTo>
                  <a:lnTo>
                    <a:pt x="1143" y="5334"/>
                  </a:lnTo>
                  <a:lnTo>
                    <a:pt x="1121" y="5343"/>
                  </a:lnTo>
                  <a:lnTo>
                    <a:pt x="1102" y="5352"/>
                  </a:lnTo>
                  <a:lnTo>
                    <a:pt x="1068" y="5362"/>
                  </a:lnTo>
                  <a:lnTo>
                    <a:pt x="1027" y="5374"/>
                  </a:lnTo>
                  <a:lnTo>
                    <a:pt x="987" y="5384"/>
                  </a:lnTo>
                  <a:lnTo>
                    <a:pt x="952" y="5387"/>
                  </a:lnTo>
                  <a:lnTo>
                    <a:pt x="931" y="5384"/>
                  </a:lnTo>
                  <a:lnTo>
                    <a:pt x="906" y="5374"/>
                  </a:lnTo>
                  <a:lnTo>
                    <a:pt x="881" y="5365"/>
                  </a:lnTo>
                  <a:lnTo>
                    <a:pt x="862" y="5352"/>
                  </a:lnTo>
                  <a:lnTo>
                    <a:pt x="856" y="5346"/>
                  </a:lnTo>
                  <a:lnTo>
                    <a:pt x="853" y="5334"/>
                  </a:lnTo>
                  <a:lnTo>
                    <a:pt x="849" y="5312"/>
                  </a:lnTo>
                  <a:lnTo>
                    <a:pt x="846" y="5290"/>
                  </a:lnTo>
                  <a:lnTo>
                    <a:pt x="843" y="5268"/>
                  </a:lnTo>
                  <a:lnTo>
                    <a:pt x="837" y="5256"/>
                  </a:lnTo>
                  <a:lnTo>
                    <a:pt x="828" y="5252"/>
                  </a:lnTo>
                  <a:lnTo>
                    <a:pt x="809" y="5243"/>
                  </a:lnTo>
                  <a:lnTo>
                    <a:pt x="793" y="5234"/>
                  </a:lnTo>
                  <a:lnTo>
                    <a:pt x="781" y="5224"/>
                  </a:lnTo>
                  <a:lnTo>
                    <a:pt x="778" y="5206"/>
                  </a:lnTo>
                  <a:lnTo>
                    <a:pt x="781" y="5184"/>
                  </a:lnTo>
                  <a:lnTo>
                    <a:pt x="784" y="5162"/>
                  </a:lnTo>
                  <a:lnTo>
                    <a:pt x="781" y="5143"/>
                  </a:lnTo>
                  <a:lnTo>
                    <a:pt x="762" y="5118"/>
                  </a:lnTo>
                  <a:lnTo>
                    <a:pt x="737" y="5090"/>
                  </a:lnTo>
                  <a:lnTo>
                    <a:pt x="706" y="5065"/>
                  </a:lnTo>
                  <a:lnTo>
                    <a:pt x="687" y="5040"/>
                  </a:lnTo>
                  <a:lnTo>
                    <a:pt x="675" y="5015"/>
                  </a:lnTo>
                  <a:lnTo>
                    <a:pt x="665" y="4984"/>
                  </a:lnTo>
                  <a:lnTo>
                    <a:pt x="656" y="4953"/>
                  </a:lnTo>
                  <a:lnTo>
                    <a:pt x="650" y="4928"/>
                  </a:lnTo>
                  <a:lnTo>
                    <a:pt x="637" y="4906"/>
                  </a:lnTo>
                  <a:lnTo>
                    <a:pt x="625" y="4881"/>
                  </a:lnTo>
                  <a:lnTo>
                    <a:pt x="612" y="4856"/>
                  </a:lnTo>
                  <a:lnTo>
                    <a:pt x="593" y="4840"/>
                  </a:lnTo>
                  <a:lnTo>
                    <a:pt x="575" y="4834"/>
                  </a:lnTo>
                  <a:lnTo>
                    <a:pt x="550" y="4837"/>
                  </a:lnTo>
                  <a:lnTo>
                    <a:pt x="522" y="4840"/>
                  </a:lnTo>
                  <a:lnTo>
                    <a:pt x="493" y="4840"/>
                  </a:lnTo>
                  <a:lnTo>
                    <a:pt x="472" y="4840"/>
                  </a:lnTo>
                  <a:lnTo>
                    <a:pt x="453" y="4834"/>
                  </a:lnTo>
                  <a:lnTo>
                    <a:pt x="431" y="4825"/>
                  </a:lnTo>
                  <a:lnTo>
                    <a:pt x="415" y="4815"/>
                  </a:lnTo>
                  <a:lnTo>
                    <a:pt x="403" y="4797"/>
                  </a:lnTo>
                  <a:lnTo>
                    <a:pt x="390" y="4772"/>
                  </a:lnTo>
                  <a:lnTo>
                    <a:pt x="384" y="4747"/>
                  </a:lnTo>
                  <a:lnTo>
                    <a:pt x="381" y="4722"/>
                  </a:lnTo>
                  <a:lnTo>
                    <a:pt x="384" y="4703"/>
                  </a:lnTo>
                  <a:lnTo>
                    <a:pt x="394" y="4681"/>
                  </a:lnTo>
                  <a:lnTo>
                    <a:pt x="403" y="4659"/>
                  </a:lnTo>
                  <a:lnTo>
                    <a:pt x="409" y="4640"/>
                  </a:lnTo>
                  <a:lnTo>
                    <a:pt x="406" y="4615"/>
                  </a:lnTo>
                  <a:lnTo>
                    <a:pt x="400" y="4581"/>
                  </a:lnTo>
                  <a:lnTo>
                    <a:pt x="390" y="4550"/>
                  </a:lnTo>
                  <a:lnTo>
                    <a:pt x="381" y="4525"/>
                  </a:lnTo>
                  <a:lnTo>
                    <a:pt x="359" y="4509"/>
                  </a:lnTo>
                  <a:lnTo>
                    <a:pt x="328" y="4494"/>
                  </a:lnTo>
                  <a:lnTo>
                    <a:pt x="297" y="4478"/>
                  </a:lnTo>
                  <a:lnTo>
                    <a:pt x="272" y="4462"/>
                  </a:lnTo>
                  <a:lnTo>
                    <a:pt x="253" y="4441"/>
                  </a:lnTo>
                  <a:lnTo>
                    <a:pt x="231" y="4413"/>
                  </a:lnTo>
                  <a:lnTo>
                    <a:pt x="212" y="4391"/>
                  </a:lnTo>
                  <a:lnTo>
                    <a:pt x="194" y="4369"/>
                  </a:lnTo>
                  <a:lnTo>
                    <a:pt x="172" y="4347"/>
                  </a:lnTo>
                  <a:lnTo>
                    <a:pt x="153" y="4328"/>
                  </a:lnTo>
                  <a:lnTo>
                    <a:pt x="137" y="4328"/>
                  </a:lnTo>
                  <a:lnTo>
                    <a:pt x="116" y="4328"/>
                  </a:lnTo>
                  <a:lnTo>
                    <a:pt x="94" y="4331"/>
                  </a:lnTo>
                  <a:lnTo>
                    <a:pt x="78" y="4328"/>
                  </a:lnTo>
                  <a:lnTo>
                    <a:pt x="56" y="4322"/>
                  </a:lnTo>
                  <a:lnTo>
                    <a:pt x="28" y="4313"/>
                  </a:lnTo>
                  <a:lnTo>
                    <a:pt x="0" y="4300"/>
                  </a:lnTo>
                  <a:lnTo>
                    <a:pt x="6" y="4288"/>
                  </a:lnTo>
                  <a:lnTo>
                    <a:pt x="9" y="4275"/>
                  </a:lnTo>
                  <a:lnTo>
                    <a:pt x="13" y="4263"/>
                  </a:lnTo>
                  <a:lnTo>
                    <a:pt x="19" y="4250"/>
                  </a:lnTo>
                  <a:lnTo>
                    <a:pt x="28" y="4235"/>
                  </a:lnTo>
                  <a:lnTo>
                    <a:pt x="38" y="4216"/>
                  </a:lnTo>
                  <a:lnTo>
                    <a:pt x="44" y="4197"/>
                  </a:lnTo>
                  <a:lnTo>
                    <a:pt x="44" y="4175"/>
                  </a:lnTo>
                  <a:lnTo>
                    <a:pt x="41" y="4150"/>
                  </a:lnTo>
                  <a:lnTo>
                    <a:pt x="34" y="4122"/>
                  </a:lnTo>
                  <a:lnTo>
                    <a:pt x="38" y="4103"/>
                  </a:lnTo>
                  <a:lnTo>
                    <a:pt x="41" y="4097"/>
                  </a:lnTo>
                  <a:lnTo>
                    <a:pt x="44" y="4088"/>
                  </a:lnTo>
                  <a:lnTo>
                    <a:pt x="53" y="4082"/>
                  </a:lnTo>
                  <a:lnTo>
                    <a:pt x="59" y="4075"/>
                  </a:lnTo>
                  <a:lnTo>
                    <a:pt x="66" y="4069"/>
                  </a:lnTo>
                  <a:lnTo>
                    <a:pt x="72" y="4063"/>
                  </a:lnTo>
                  <a:lnTo>
                    <a:pt x="75" y="4057"/>
                  </a:lnTo>
                  <a:lnTo>
                    <a:pt x="78" y="4053"/>
                  </a:lnTo>
                  <a:lnTo>
                    <a:pt x="75" y="4044"/>
                  </a:lnTo>
                  <a:lnTo>
                    <a:pt x="66" y="4025"/>
                  </a:lnTo>
                  <a:lnTo>
                    <a:pt x="59" y="4003"/>
                  </a:lnTo>
                  <a:lnTo>
                    <a:pt x="53" y="3982"/>
                  </a:lnTo>
                  <a:lnTo>
                    <a:pt x="53" y="3963"/>
                  </a:lnTo>
                  <a:lnTo>
                    <a:pt x="56" y="3957"/>
                  </a:lnTo>
                  <a:lnTo>
                    <a:pt x="63" y="3947"/>
                  </a:lnTo>
                  <a:lnTo>
                    <a:pt x="69" y="3941"/>
                  </a:lnTo>
                  <a:lnTo>
                    <a:pt x="78" y="3935"/>
                  </a:lnTo>
                  <a:lnTo>
                    <a:pt x="84" y="3932"/>
                  </a:lnTo>
                  <a:lnTo>
                    <a:pt x="91" y="3932"/>
                  </a:lnTo>
                  <a:lnTo>
                    <a:pt x="100" y="3932"/>
                  </a:lnTo>
                  <a:lnTo>
                    <a:pt x="109" y="3932"/>
                  </a:lnTo>
                  <a:lnTo>
                    <a:pt x="116" y="3935"/>
                  </a:lnTo>
                  <a:lnTo>
                    <a:pt x="125" y="3935"/>
                  </a:lnTo>
                  <a:lnTo>
                    <a:pt x="131" y="3932"/>
                  </a:lnTo>
                  <a:lnTo>
                    <a:pt x="144" y="3913"/>
                  </a:lnTo>
                  <a:lnTo>
                    <a:pt x="150" y="3888"/>
                  </a:lnTo>
                  <a:lnTo>
                    <a:pt x="156" y="3866"/>
                  </a:lnTo>
                  <a:lnTo>
                    <a:pt x="156" y="3860"/>
                  </a:lnTo>
                  <a:lnTo>
                    <a:pt x="153" y="3850"/>
                  </a:lnTo>
                  <a:lnTo>
                    <a:pt x="153" y="3844"/>
                  </a:lnTo>
                  <a:lnTo>
                    <a:pt x="150" y="3835"/>
                  </a:lnTo>
                  <a:lnTo>
                    <a:pt x="147" y="3825"/>
                  </a:lnTo>
                  <a:lnTo>
                    <a:pt x="147" y="3819"/>
                  </a:lnTo>
                  <a:lnTo>
                    <a:pt x="150" y="3816"/>
                  </a:lnTo>
                  <a:lnTo>
                    <a:pt x="153" y="3813"/>
                  </a:lnTo>
                  <a:lnTo>
                    <a:pt x="159" y="3810"/>
                  </a:lnTo>
                  <a:lnTo>
                    <a:pt x="169" y="3807"/>
                  </a:lnTo>
                  <a:lnTo>
                    <a:pt x="175" y="3807"/>
                  </a:lnTo>
                  <a:lnTo>
                    <a:pt x="181" y="3804"/>
                  </a:lnTo>
                  <a:lnTo>
                    <a:pt x="187" y="3804"/>
                  </a:lnTo>
                  <a:lnTo>
                    <a:pt x="187" y="3800"/>
                  </a:lnTo>
                  <a:lnTo>
                    <a:pt x="191" y="3791"/>
                  </a:lnTo>
                  <a:lnTo>
                    <a:pt x="194" y="3769"/>
                  </a:lnTo>
                  <a:lnTo>
                    <a:pt x="197" y="3744"/>
                  </a:lnTo>
                  <a:lnTo>
                    <a:pt x="197" y="3719"/>
                  </a:lnTo>
                  <a:lnTo>
                    <a:pt x="194" y="3701"/>
                  </a:lnTo>
                  <a:lnTo>
                    <a:pt x="191" y="3694"/>
                  </a:lnTo>
                  <a:lnTo>
                    <a:pt x="184" y="3688"/>
                  </a:lnTo>
                  <a:lnTo>
                    <a:pt x="175" y="3682"/>
                  </a:lnTo>
                  <a:lnTo>
                    <a:pt x="169" y="3676"/>
                  </a:lnTo>
                  <a:lnTo>
                    <a:pt x="162" y="3672"/>
                  </a:lnTo>
                  <a:lnTo>
                    <a:pt x="156" y="3663"/>
                  </a:lnTo>
                  <a:lnTo>
                    <a:pt x="150" y="3654"/>
                  </a:lnTo>
                  <a:lnTo>
                    <a:pt x="144" y="3641"/>
                  </a:lnTo>
                  <a:lnTo>
                    <a:pt x="137" y="3632"/>
                  </a:lnTo>
                  <a:lnTo>
                    <a:pt x="134" y="3623"/>
                  </a:lnTo>
                  <a:lnTo>
                    <a:pt x="131" y="3601"/>
                  </a:lnTo>
                  <a:lnTo>
                    <a:pt x="134" y="3576"/>
                  </a:lnTo>
                  <a:lnTo>
                    <a:pt x="134" y="3551"/>
                  </a:lnTo>
                  <a:lnTo>
                    <a:pt x="134" y="3529"/>
                  </a:lnTo>
                  <a:lnTo>
                    <a:pt x="128" y="3501"/>
                  </a:lnTo>
                  <a:lnTo>
                    <a:pt x="119" y="3470"/>
                  </a:lnTo>
                  <a:lnTo>
                    <a:pt x="103" y="3448"/>
                  </a:lnTo>
                  <a:lnTo>
                    <a:pt x="87" y="3438"/>
                  </a:lnTo>
                  <a:lnTo>
                    <a:pt x="66" y="3429"/>
                  </a:lnTo>
                  <a:lnTo>
                    <a:pt x="53" y="3420"/>
                  </a:lnTo>
                  <a:lnTo>
                    <a:pt x="44" y="3401"/>
                  </a:lnTo>
                  <a:lnTo>
                    <a:pt x="38" y="3379"/>
                  </a:lnTo>
                  <a:lnTo>
                    <a:pt x="38" y="3357"/>
                  </a:lnTo>
                  <a:lnTo>
                    <a:pt x="47" y="3341"/>
                  </a:lnTo>
                  <a:lnTo>
                    <a:pt x="59" y="3320"/>
                  </a:lnTo>
                  <a:lnTo>
                    <a:pt x="75" y="3301"/>
                  </a:lnTo>
                  <a:lnTo>
                    <a:pt x="87" y="3285"/>
                  </a:lnTo>
                  <a:lnTo>
                    <a:pt x="103" y="3279"/>
                  </a:lnTo>
                  <a:lnTo>
                    <a:pt x="122" y="3273"/>
                  </a:lnTo>
                  <a:lnTo>
                    <a:pt x="144" y="3263"/>
                  </a:lnTo>
                  <a:lnTo>
                    <a:pt x="156" y="3254"/>
                  </a:lnTo>
                  <a:lnTo>
                    <a:pt x="159" y="3242"/>
                  </a:lnTo>
                  <a:lnTo>
                    <a:pt x="159" y="3223"/>
                  </a:lnTo>
                  <a:lnTo>
                    <a:pt x="159" y="3204"/>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2" name="Freeform 51">
              <a:extLst>
                <a:ext uri="{FF2B5EF4-FFF2-40B4-BE49-F238E27FC236}">
                  <a16:creationId xmlns:a16="http://schemas.microsoft.com/office/drawing/2014/main" id="{AF6BB4A2-F3A6-4120-B12B-6FBA195C7936}"/>
                </a:ext>
              </a:extLst>
            </p:cNvPr>
            <p:cNvSpPr>
              <a:spLocks/>
            </p:cNvSpPr>
            <p:nvPr/>
          </p:nvSpPr>
          <p:spPr bwMode="auto">
            <a:xfrm>
              <a:off x="32367538" y="-10572750"/>
              <a:ext cx="3073400" cy="6196013"/>
            </a:xfrm>
            <a:custGeom>
              <a:avLst/>
              <a:gdLst>
                <a:gd name="T0" fmla="*/ 1893 w 1936"/>
                <a:gd name="T1" fmla="*/ 237 h 3903"/>
                <a:gd name="T2" fmla="*/ 1811 w 1936"/>
                <a:gd name="T3" fmla="*/ 365 h 3903"/>
                <a:gd name="T4" fmla="*/ 1733 w 1936"/>
                <a:gd name="T5" fmla="*/ 577 h 3903"/>
                <a:gd name="T6" fmla="*/ 1596 w 1936"/>
                <a:gd name="T7" fmla="*/ 677 h 3903"/>
                <a:gd name="T8" fmla="*/ 1496 w 1936"/>
                <a:gd name="T9" fmla="*/ 852 h 3903"/>
                <a:gd name="T10" fmla="*/ 1409 w 1936"/>
                <a:gd name="T11" fmla="*/ 930 h 3903"/>
                <a:gd name="T12" fmla="*/ 1334 w 1936"/>
                <a:gd name="T13" fmla="*/ 1114 h 3903"/>
                <a:gd name="T14" fmla="*/ 1287 w 1936"/>
                <a:gd name="T15" fmla="*/ 1373 h 3903"/>
                <a:gd name="T16" fmla="*/ 1265 w 1936"/>
                <a:gd name="T17" fmla="*/ 1645 h 3903"/>
                <a:gd name="T18" fmla="*/ 1165 w 1936"/>
                <a:gd name="T19" fmla="*/ 1879 h 3903"/>
                <a:gd name="T20" fmla="*/ 1075 w 1936"/>
                <a:gd name="T21" fmla="*/ 2129 h 3903"/>
                <a:gd name="T22" fmla="*/ 1040 w 1936"/>
                <a:gd name="T23" fmla="*/ 2401 h 3903"/>
                <a:gd name="T24" fmla="*/ 1093 w 1936"/>
                <a:gd name="T25" fmla="*/ 2657 h 3903"/>
                <a:gd name="T26" fmla="*/ 1028 w 1936"/>
                <a:gd name="T27" fmla="*/ 2825 h 3903"/>
                <a:gd name="T28" fmla="*/ 1043 w 1936"/>
                <a:gd name="T29" fmla="*/ 3103 h 3903"/>
                <a:gd name="T30" fmla="*/ 1025 w 1936"/>
                <a:gd name="T31" fmla="*/ 3325 h 3903"/>
                <a:gd name="T32" fmla="*/ 1071 w 1936"/>
                <a:gd name="T33" fmla="*/ 3494 h 3903"/>
                <a:gd name="T34" fmla="*/ 1034 w 1936"/>
                <a:gd name="T35" fmla="*/ 3690 h 3903"/>
                <a:gd name="T36" fmla="*/ 853 w 1936"/>
                <a:gd name="T37" fmla="*/ 3734 h 3903"/>
                <a:gd name="T38" fmla="*/ 775 w 1936"/>
                <a:gd name="T39" fmla="*/ 3850 h 3903"/>
                <a:gd name="T40" fmla="*/ 550 w 1936"/>
                <a:gd name="T41" fmla="*/ 3875 h 3903"/>
                <a:gd name="T42" fmla="*/ 456 w 1936"/>
                <a:gd name="T43" fmla="*/ 3740 h 3903"/>
                <a:gd name="T44" fmla="*/ 409 w 1936"/>
                <a:gd name="T45" fmla="*/ 3547 h 3903"/>
                <a:gd name="T46" fmla="*/ 291 w 1936"/>
                <a:gd name="T47" fmla="*/ 3366 h 3903"/>
                <a:gd name="T48" fmla="*/ 191 w 1936"/>
                <a:gd name="T49" fmla="*/ 3156 h 3903"/>
                <a:gd name="T50" fmla="*/ 16 w 1936"/>
                <a:gd name="T51" fmla="*/ 3053 h 3903"/>
                <a:gd name="T52" fmla="*/ 19 w 1936"/>
                <a:gd name="T53" fmla="*/ 3000 h 3903"/>
                <a:gd name="T54" fmla="*/ 44 w 1936"/>
                <a:gd name="T55" fmla="*/ 2900 h 3903"/>
                <a:gd name="T56" fmla="*/ 94 w 1936"/>
                <a:gd name="T57" fmla="*/ 2760 h 3903"/>
                <a:gd name="T58" fmla="*/ 144 w 1936"/>
                <a:gd name="T59" fmla="*/ 2619 h 3903"/>
                <a:gd name="T60" fmla="*/ 241 w 1936"/>
                <a:gd name="T61" fmla="*/ 2376 h 3903"/>
                <a:gd name="T62" fmla="*/ 281 w 1936"/>
                <a:gd name="T63" fmla="*/ 2257 h 3903"/>
                <a:gd name="T64" fmla="*/ 338 w 1936"/>
                <a:gd name="T65" fmla="*/ 2098 h 3903"/>
                <a:gd name="T66" fmla="*/ 425 w 1936"/>
                <a:gd name="T67" fmla="*/ 1923 h 3903"/>
                <a:gd name="T68" fmla="*/ 391 w 1936"/>
                <a:gd name="T69" fmla="*/ 1776 h 3903"/>
                <a:gd name="T70" fmla="*/ 256 w 1936"/>
                <a:gd name="T71" fmla="*/ 1639 h 3903"/>
                <a:gd name="T72" fmla="*/ 284 w 1936"/>
                <a:gd name="T73" fmla="*/ 1473 h 3903"/>
                <a:gd name="T74" fmla="*/ 388 w 1936"/>
                <a:gd name="T75" fmla="*/ 1320 h 3903"/>
                <a:gd name="T76" fmla="*/ 469 w 1936"/>
                <a:gd name="T77" fmla="*/ 1214 h 3903"/>
                <a:gd name="T78" fmla="*/ 528 w 1936"/>
                <a:gd name="T79" fmla="*/ 1067 h 3903"/>
                <a:gd name="T80" fmla="*/ 484 w 1936"/>
                <a:gd name="T81" fmla="*/ 861 h 3903"/>
                <a:gd name="T82" fmla="*/ 472 w 1936"/>
                <a:gd name="T83" fmla="*/ 630 h 3903"/>
                <a:gd name="T84" fmla="*/ 372 w 1936"/>
                <a:gd name="T85" fmla="*/ 640 h 3903"/>
                <a:gd name="T86" fmla="*/ 206 w 1936"/>
                <a:gd name="T87" fmla="*/ 646 h 3903"/>
                <a:gd name="T88" fmla="*/ 188 w 1936"/>
                <a:gd name="T89" fmla="*/ 524 h 3903"/>
                <a:gd name="T90" fmla="*/ 50 w 1936"/>
                <a:gd name="T91" fmla="*/ 418 h 3903"/>
                <a:gd name="T92" fmla="*/ 110 w 1936"/>
                <a:gd name="T93" fmla="*/ 234 h 3903"/>
                <a:gd name="T94" fmla="*/ 147 w 1936"/>
                <a:gd name="T95" fmla="*/ 106 h 3903"/>
                <a:gd name="T96" fmla="*/ 244 w 1936"/>
                <a:gd name="T97" fmla="*/ 68 h 3903"/>
                <a:gd name="T98" fmla="*/ 272 w 1936"/>
                <a:gd name="T99" fmla="*/ 199 h 3903"/>
                <a:gd name="T100" fmla="*/ 416 w 1936"/>
                <a:gd name="T101" fmla="*/ 218 h 3903"/>
                <a:gd name="T102" fmla="*/ 566 w 1936"/>
                <a:gd name="T103" fmla="*/ 309 h 3903"/>
                <a:gd name="T104" fmla="*/ 750 w 1936"/>
                <a:gd name="T105" fmla="*/ 290 h 3903"/>
                <a:gd name="T106" fmla="*/ 981 w 1936"/>
                <a:gd name="T107" fmla="*/ 281 h 3903"/>
                <a:gd name="T108" fmla="*/ 1018 w 1936"/>
                <a:gd name="T109" fmla="*/ 118 h 3903"/>
                <a:gd name="T110" fmla="*/ 1081 w 1936"/>
                <a:gd name="T111" fmla="*/ 25 h 3903"/>
                <a:gd name="T112" fmla="*/ 1224 w 1936"/>
                <a:gd name="T113" fmla="*/ 18 h 3903"/>
                <a:gd name="T114" fmla="*/ 1306 w 1936"/>
                <a:gd name="T115" fmla="*/ 46 h 3903"/>
                <a:gd name="T116" fmla="*/ 1559 w 1936"/>
                <a:gd name="T117" fmla="*/ 25 h 3903"/>
                <a:gd name="T118" fmla="*/ 1718 w 1936"/>
                <a:gd name="T119" fmla="*/ 121 h 3903"/>
                <a:gd name="T120" fmla="*/ 1905 w 1936"/>
                <a:gd name="T121" fmla="*/ 131 h 3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36" h="3903">
                  <a:moveTo>
                    <a:pt x="1915" y="134"/>
                  </a:moveTo>
                  <a:lnTo>
                    <a:pt x="1921" y="137"/>
                  </a:lnTo>
                  <a:lnTo>
                    <a:pt x="1924" y="146"/>
                  </a:lnTo>
                  <a:lnTo>
                    <a:pt x="1930" y="156"/>
                  </a:lnTo>
                  <a:lnTo>
                    <a:pt x="1933" y="165"/>
                  </a:lnTo>
                  <a:lnTo>
                    <a:pt x="1936" y="174"/>
                  </a:lnTo>
                  <a:lnTo>
                    <a:pt x="1936" y="181"/>
                  </a:lnTo>
                  <a:lnTo>
                    <a:pt x="1927" y="203"/>
                  </a:lnTo>
                  <a:lnTo>
                    <a:pt x="1908" y="221"/>
                  </a:lnTo>
                  <a:lnTo>
                    <a:pt x="1893" y="237"/>
                  </a:lnTo>
                  <a:lnTo>
                    <a:pt x="1883" y="243"/>
                  </a:lnTo>
                  <a:lnTo>
                    <a:pt x="1874" y="249"/>
                  </a:lnTo>
                  <a:lnTo>
                    <a:pt x="1861" y="252"/>
                  </a:lnTo>
                  <a:lnTo>
                    <a:pt x="1852" y="259"/>
                  </a:lnTo>
                  <a:lnTo>
                    <a:pt x="1846" y="265"/>
                  </a:lnTo>
                  <a:lnTo>
                    <a:pt x="1836" y="281"/>
                  </a:lnTo>
                  <a:lnTo>
                    <a:pt x="1833" y="306"/>
                  </a:lnTo>
                  <a:lnTo>
                    <a:pt x="1830" y="327"/>
                  </a:lnTo>
                  <a:lnTo>
                    <a:pt x="1824" y="346"/>
                  </a:lnTo>
                  <a:lnTo>
                    <a:pt x="1811" y="365"/>
                  </a:lnTo>
                  <a:lnTo>
                    <a:pt x="1793" y="384"/>
                  </a:lnTo>
                  <a:lnTo>
                    <a:pt x="1780" y="402"/>
                  </a:lnTo>
                  <a:lnTo>
                    <a:pt x="1777" y="427"/>
                  </a:lnTo>
                  <a:lnTo>
                    <a:pt x="1780" y="459"/>
                  </a:lnTo>
                  <a:lnTo>
                    <a:pt x="1777" y="484"/>
                  </a:lnTo>
                  <a:lnTo>
                    <a:pt x="1774" y="502"/>
                  </a:lnTo>
                  <a:lnTo>
                    <a:pt x="1768" y="527"/>
                  </a:lnTo>
                  <a:lnTo>
                    <a:pt x="1758" y="552"/>
                  </a:lnTo>
                  <a:lnTo>
                    <a:pt x="1749" y="568"/>
                  </a:lnTo>
                  <a:lnTo>
                    <a:pt x="1733" y="577"/>
                  </a:lnTo>
                  <a:lnTo>
                    <a:pt x="1712" y="583"/>
                  </a:lnTo>
                  <a:lnTo>
                    <a:pt x="1687" y="587"/>
                  </a:lnTo>
                  <a:lnTo>
                    <a:pt x="1665" y="590"/>
                  </a:lnTo>
                  <a:lnTo>
                    <a:pt x="1649" y="599"/>
                  </a:lnTo>
                  <a:lnTo>
                    <a:pt x="1646" y="612"/>
                  </a:lnTo>
                  <a:lnTo>
                    <a:pt x="1643" y="627"/>
                  </a:lnTo>
                  <a:lnTo>
                    <a:pt x="1643" y="646"/>
                  </a:lnTo>
                  <a:lnTo>
                    <a:pt x="1640" y="658"/>
                  </a:lnTo>
                  <a:lnTo>
                    <a:pt x="1621" y="668"/>
                  </a:lnTo>
                  <a:lnTo>
                    <a:pt x="1596" y="677"/>
                  </a:lnTo>
                  <a:lnTo>
                    <a:pt x="1568" y="683"/>
                  </a:lnTo>
                  <a:lnTo>
                    <a:pt x="1543" y="693"/>
                  </a:lnTo>
                  <a:lnTo>
                    <a:pt x="1527" y="705"/>
                  </a:lnTo>
                  <a:lnTo>
                    <a:pt x="1524" y="721"/>
                  </a:lnTo>
                  <a:lnTo>
                    <a:pt x="1524" y="740"/>
                  </a:lnTo>
                  <a:lnTo>
                    <a:pt x="1527" y="761"/>
                  </a:lnTo>
                  <a:lnTo>
                    <a:pt x="1527" y="777"/>
                  </a:lnTo>
                  <a:lnTo>
                    <a:pt x="1521" y="802"/>
                  </a:lnTo>
                  <a:lnTo>
                    <a:pt x="1509" y="830"/>
                  </a:lnTo>
                  <a:lnTo>
                    <a:pt x="1496" y="852"/>
                  </a:lnTo>
                  <a:lnTo>
                    <a:pt x="1490" y="855"/>
                  </a:lnTo>
                  <a:lnTo>
                    <a:pt x="1480" y="858"/>
                  </a:lnTo>
                  <a:lnTo>
                    <a:pt x="1471" y="861"/>
                  </a:lnTo>
                  <a:lnTo>
                    <a:pt x="1462" y="868"/>
                  </a:lnTo>
                  <a:lnTo>
                    <a:pt x="1455" y="871"/>
                  </a:lnTo>
                  <a:lnTo>
                    <a:pt x="1443" y="883"/>
                  </a:lnTo>
                  <a:lnTo>
                    <a:pt x="1427" y="902"/>
                  </a:lnTo>
                  <a:lnTo>
                    <a:pt x="1415" y="918"/>
                  </a:lnTo>
                  <a:lnTo>
                    <a:pt x="1409" y="927"/>
                  </a:lnTo>
                  <a:lnTo>
                    <a:pt x="1409" y="930"/>
                  </a:lnTo>
                  <a:lnTo>
                    <a:pt x="1402" y="936"/>
                  </a:lnTo>
                  <a:lnTo>
                    <a:pt x="1396" y="946"/>
                  </a:lnTo>
                  <a:lnTo>
                    <a:pt x="1390" y="952"/>
                  </a:lnTo>
                  <a:lnTo>
                    <a:pt x="1384" y="961"/>
                  </a:lnTo>
                  <a:lnTo>
                    <a:pt x="1377" y="968"/>
                  </a:lnTo>
                  <a:lnTo>
                    <a:pt x="1374" y="977"/>
                  </a:lnTo>
                  <a:lnTo>
                    <a:pt x="1362" y="1005"/>
                  </a:lnTo>
                  <a:lnTo>
                    <a:pt x="1349" y="1042"/>
                  </a:lnTo>
                  <a:lnTo>
                    <a:pt x="1340" y="1080"/>
                  </a:lnTo>
                  <a:lnTo>
                    <a:pt x="1334" y="1114"/>
                  </a:lnTo>
                  <a:lnTo>
                    <a:pt x="1334" y="1146"/>
                  </a:lnTo>
                  <a:lnTo>
                    <a:pt x="1334" y="1183"/>
                  </a:lnTo>
                  <a:lnTo>
                    <a:pt x="1337" y="1220"/>
                  </a:lnTo>
                  <a:lnTo>
                    <a:pt x="1334" y="1252"/>
                  </a:lnTo>
                  <a:lnTo>
                    <a:pt x="1324" y="1270"/>
                  </a:lnTo>
                  <a:lnTo>
                    <a:pt x="1312" y="1289"/>
                  </a:lnTo>
                  <a:lnTo>
                    <a:pt x="1296" y="1311"/>
                  </a:lnTo>
                  <a:lnTo>
                    <a:pt x="1290" y="1330"/>
                  </a:lnTo>
                  <a:lnTo>
                    <a:pt x="1287" y="1348"/>
                  </a:lnTo>
                  <a:lnTo>
                    <a:pt x="1287" y="1373"/>
                  </a:lnTo>
                  <a:lnTo>
                    <a:pt x="1290" y="1398"/>
                  </a:lnTo>
                  <a:lnTo>
                    <a:pt x="1290" y="1417"/>
                  </a:lnTo>
                  <a:lnTo>
                    <a:pt x="1277" y="1448"/>
                  </a:lnTo>
                  <a:lnTo>
                    <a:pt x="1262" y="1483"/>
                  </a:lnTo>
                  <a:lnTo>
                    <a:pt x="1246" y="1514"/>
                  </a:lnTo>
                  <a:lnTo>
                    <a:pt x="1237" y="1545"/>
                  </a:lnTo>
                  <a:lnTo>
                    <a:pt x="1240" y="1567"/>
                  </a:lnTo>
                  <a:lnTo>
                    <a:pt x="1249" y="1595"/>
                  </a:lnTo>
                  <a:lnTo>
                    <a:pt x="1259" y="1623"/>
                  </a:lnTo>
                  <a:lnTo>
                    <a:pt x="1265" y="1645"/>
                  </a:lnTo>
                  <a:lnTo>
                    <a:pt x="1259" y="1676"/>
                  </a:lnTo>
                  <a:lnTo>
                    <a:pt x="1249" y="1708"/>
                  </a:lnTo>
                  <a:lnTo>
                    <a:pt x="1237" y="1742"/>
                  </a:lnTo>
                  <a:lnTo>
                    <a:pt x="1224" y="1767"/>
                  </a:lnTo>
                  <a:lnTo>
                    <a:pt x="1206" y="1783"/>
                  </a:lnTo>
                  <a:lnTo>
                    <a:pt x="1181" y="1801"/>
                  </a:lnTo>
                  <a:lnTo>
                    <a:pt x="1165" y="1817"/>
                  </a:lnTo>
                  <a:lnTo>
                    <a:pt x="1162" y="1836"/>
                  </a:lnTo>
                  <a:lnTo>
                    <a:pt x="1162" y="1857"/>
                  </a:lnTo>
                  <a:lnTo>
                    <a:pt x="1165" y="1879"/>
                  </a:lnTo>
                  <a:lnTo>
                    <a:pt x="1165" y="1898"/>
                  </a:lnTo>
                  <a:lnTo>
                    <a:pt x="1159" y="1932"/>
                  </a:lnTo>
                  <a:lnTo>
                    <a:pt x="1146" y="1967"/>
                  </a:lnTo>
                  <a:lnTo>
                    <a:pt x="1134" y="1998"/>
                  </a:lnTo>
                  <a:lnTo>
                    <a:pt x="1121" y="2014"/>
                  </a:lnTo>
                  <a:lnTo>
                    <a:pt x="1103" y="2032"/>
                  </a:lnTo>
                  <a:lnTo>
                    <a:pt x="1087" y="2051"/>
                  </a:lnTo>
                  <a:lnTo>
                    <a:pt x="1078" y="2070"/>
                  </a:lnTo>
                  <a:lnTo>
                    <a:pt x="1071" y="2095"/>
                  </a:lnTo>
                  <a:lnTo>
                    <a:pt x="1075" y="2129"/>
                  </a:lnTo>
                  <a:lnTo>
                    <a:pt x="1075" y="2160"/>
                  </a:lnTo>
                  <a:lnTo>
                    <a:pt x="1075" y="2188"/>
                  </a:lnTo>
                  <a:lnTo>
                    <a:pt x="1065" y="2213"/>
                  </a:lnTo>
                  <a:lnTo>
                    <a:pt x="1050" y="2245"/>
                  </a:lnTo>
                  <a:lnTo>
                    <a:pt x="1040" y="2270"/>
                  </a:lnTo>
                  <a:lnTo>
                    <a:pt x="1034" y="2295"/>
                  </a:lnTo>
                  <a:lnTo>
                    <a:pt x="1031" y="2323"/>
                  </a:lnTo>
                  <a:lnTo>
                    <a:pt x="1028" y="2354"/>
                  </a:lnTo>
                  <a:lnTo>
                    <a:pt x="1031" y="2379"/>
                  </a:lnTo>
                  <a:lnTo>
                    <a:pt x="1040" y="2401"/>
                  </a:lnTo>
                  <a:lnTo>
                    <a:pt x="1062" y="2426"/>
                  </a:lnTo>
                  <a:lnTo>
                    <a:pt x="1084" y="2451"/>
                  </a:lnTo>
                  <a:lnTo>
                    <a:pt x="1103" y="2476"/>
                  </a:lnTo>
                  <a:lnTo>
                    <a:pt x="1115" y="2498"/>
                  </a:lnTo>
                  <a:lnTo>
                    <a:pt x="1118" y="2519"/>
                  </a:lnTo>
                  <a:lnTo>
                    <a:pt x="1115" y="2544"/>
                  </a:lnTo>
                  <a:lnTo>
                    <a:pt x="1115" y="2566"/>
                  </a:lnTo>
                  <a:lnTo>
                    <a:pt x="1109" y="2594"/>
                  </a:lnTo>
                  <a:lnTo>
                    <a:pt x="1099" y="2629"/>
                  </a:lnTo>
                  <a:lnTo>
                    <a:pt x="1093" y="2657"/>
                  </a:lnTo>
                  <a:lnTo>
                    <a:pt x="1090" y="2685"/>
                  </a:lnTo>
                  <a:lnTo>
                    <a:pt x="1084" y="2719"/>
                  </a:lnTo>
                  <a:lnTo>
                    <a:pt x="1081" y="2757"/>
                  </a:lnTo>
                  <a:lnTo>
                    <a:pt x="1071" y="2782"/>
                  </a:lnTo>
                  <a:lnTo>
                    <a:pt x="1065" y="2791"/>
                  </a:lnTo>
                  <a:lnTo>
                    <a:pt x="1056" y="2797"/>
                  </a:lnTo>
                  <a:lnTo>
                    <a:pt x="1046" y="2804"/>
                  </a:lnTo>
                  <a:lnTo>
                    <a:pt x="1040" y="2813"/>
                  </a:lnTo>
                  <a:lnTo>
                    <a:pt x="1031" y="2819"/>
                  </a:lnTo>
                  <a:lnTo>
                    <a:pt x="1028" y="2825"/>
                  </a:lnTo>
                  <a:lnTo>
                    <a:pt x="1021" y="2854"/>
                  </a:lnTo>
                  <a:lnTo>
                    <a:pt x="1021" y="2888"/>
                  </a:lnTo>
                  <a:lnTo>
                    <a:pt x="1025" y="2925"/>
                  </a:lnTo>
                  <a:lnTo>
                    <a:pt x="1025" y="2953"/>
                  </a:lnTo>
                  <a:lnTo>
                    <a:pt x="1021" y="2978"/>
                  </a:lnTo>
                  <a:lnTo>
                    <a:pt x="1015" y="3007"/>
                  </a:lnTo>
                  <a:lnTo>
                    <a:pt x="1012" y="3032"/>
                  </a:lnTo>
                  <a:lnTo>
                    <a:pt x="1021" y="3053"/>
                  </a:lnTo>
                  <a:lnTo>
                    <a:pt x="1034" y="3078"/>
                  </a:lnTo>
                  <a:lnTo>
                    <a:pt x="1043" y="3103"/>
                  </a:lnTo>
                  <a:lnTo>
                    <a:pt x="1046" y="3125"/>
                  </a:lnTo>
                  <a:lnTo>
                    <a:pt x="1037" y="3147"/>
                  </a:lnTo>
                  <a:lnTo>
                    <a:pt x="1015" y="3169"/>
                  </a:lnTo>
                  <a:lnTo>
                    <a:pt x="996" y="3194"/>
                  </a:lnTo>
                  <a:lnTo>
                    <a:pt x="981" y="3213"/>
                  </a:lnTo>
                  <a:lnTo>
                    <a:pt x="978" y="3238"/>
                  </a:lnTo>
                  <a:lnTo>
                    <a:pt x="978" y="3266"/>
                  </a:lnTo>
                  <a:lnTo>
                    <a:pt x="981" y="3291"/>
                  </a:lnTo>
                  <a:lnTo>
                    <a:pt x="1000" y="3309"/>
                  </a:lnTo>
                  <a:lnTo>
                    <a:pt x="1025" y="3325"/>
                  </a:lnTo>
                  <a:lnTo>
                    <a:pt x="1053" y="3344"/>
                  </a:lnTo>
                  <a:lnTo>
                    <a:pt x="1078" y="3359"/>
                  </a:lnTo>
                  <a:lnTo>
                    <a:pt x="1096" y="3378"/>
                  </a:lnTo>
                  <a:lnTo>
                    <a:pt x="1103" y="3400"/>
                  </a:lnTo>
                  <a:lnTo>
                    <a:pt x="1103" y="3428"/>
                  </a:lnTo>
                  <a:lnTo>
                    <a:pt x="1103" y="3453"/>
                  </a:lnTo>
                  <a:lnTo>
                    <a:pt x="1096" y="3475"/>
                  </a:lnTo>
                  <a:lnTo>
                    <a:pt x="1090" y="3481"/>
                  </a:lnTo>
                  <a:lnTo>
                    <a:pt x="1081" y="3487"/>
                  </a:lnTo>
                  <a:lnTo>
                    <a:pt x="1071" y="3494"/>
                  </a:lnTo>
                  <a:lnTo>
                    <a:pt x="1059" y="3500"/>
                  </a:lnTo>
                  <a:lnTo>
                    <a:pt x="1053" y="3506"/>
                  </a:lnTo>
                  <a:lnTo>
                    <a:pt x="1046" y="3512"/>
                  </a:lnTo>
                  <a:lnTo>
                    <a:pt x="1040" y="3534"/>
                  </a:lnTo>
                  <a:lnTo>
                    <a:pt x="1040" y="3559"/>
                  </a:lnTo>
                  <a:lnTo>
                    <a:pt x="1040" y="3581"/>
                  </a:lnTo>
                  <a:lnTo>
                    <a:pt x="1040" y="3603"/>
                  </a:lnTo>
                  <a:lnTo>
                    <a:pt x="1040" y="3634"/>
                  </a:lnTo>
                  <a:lnTo>
                    <a:pt x="1040" y="3662"/>
                  </a:lnTo>
                  <a:lnTo>
                    <a:pt x="1034" y="3690"/>
                  </a:lnTo>
                  <a:lnTo>
                    <a:pt x="1021" y="3706"/>
                  </a:lnTo>
                  <a:lnTo>
                    <a:pt x="1009" y="3709"/>
                  </a:lnTo>
                  <a:lnTo>
                    <a:pt x="990" y="3706"/>
                  </a:lnTo>
                  <a:lnTo>
                    <a:pt x="971" y="3703"/>
                  </a:lnTo>
                  <a:lnTo>
                    <a:pt x="953" y="3697"/>
                  </a:lnTo>
                  <a:lnTo>
                    <a:pt x="937" y="3694"/>
                  </a:lnTo>
                  <a:lnTo>
                    <a:pt x="915" y="3700"/>
                  </a:lnTo>
                  <a:lnTo>
                    <a:pt x="887" y="3706"/>
                  </a:lnTo>
                  <a:lnTo>
                    <a:pt x="865" y="3719"/>
                  </a:lnTo>
                  <a:lnTo>
                    <a:pt x="853" y="3734"/>
                  </a:lnTo>
                  <a:lnTo>
                    <a:pt x="853" y="3747"/>
                  </a:lnTo>
                  <a:lnTo>
                    <a:pt x="862" y="3762"/>
                  </a:lnTo>
                  <a:lnTo>
                    <a:pt x="872" y="3775"/>
                  </a:lnTo>
                  <a:lnTo>
                    <a:pt x="878" y="3790"/>
                  </a:lnTo>
                  <a:lnTo>
                    <a:pt x="872" y="3806"/>
                  </a:lnTo>
                  <a:lnTo>
                    <a:pt x="859" y="3822"/>
                  </a:lnTo>
                  <a:lnTo>
                    <a:pt x="843" y="3837"/>
                  </a:lnTo>
                  <a:lnTo>
                    <a:pt x="828" y="3850"/>
                  </a:lnTo>
                  <a:lnTo>
                    <a:pt x="806" y="3853"/>
                  </a:lnTo>
                  <a:lnTo>
                    <a:pt x="775" y="3850"/>
                  </a:lnTo>
                  <a:lnTo>
                    <a:pt x="743" y="3847"/>
                  </a:lnTo>
                  <a:lnTo>
                    <a:pt x="719" y="3850"/>
                  </a:lnTo>
                  <a:lnTo>
                    <a:pt x="697" y="3859"/>
                  </a:lnTo>
                  <a:lnTo>
                    <a:pt x="672" y="3878"/>
                  </a:lnTo>
                  <a:lnTo>
                    <a:pt x="647" y="3897"/>
                  </a:lnTo>
                  <a:lnTo>
                    <a:pt x="625" y="3903"/>
                  </a:lnTo>
                  <a:lnTo>
                    <a:pt x="606" y="3903"/>
                  </a:lnTo>
                  <a:lnTo>
                    <a:pt x="584" y="3897"/>
                  </a:lnTo>
                  <a:lnTo>
                    <a:pt x="566" y="3887"/>
                  </a:lnTo>
                  <a:lnTo>
                    <a:pt x="550" y="3875"/>
                  </a:lnTo>
                  <a:lnTo>
                    <a:pt x="544" y="3856"/>
                  </a:lnTo>
                  <a:lnTo>
                    <a:pt x="541" y="3834"/>
                  </a:lnTo>
                  <a:lnTo>
                    <a:pt x="537" y="3806"/>
                  </a:lnTo>
                  <a:lnTo>
                    <a:pt x="531" y="3781"/>
                  </a:lnTo>
                  <a:lnTo>
                    <a:pt x="525" y="3765"/>
                  </a:lnTo>
                  <a:lnTo>
                    <a:pt x="512" y="3756"/>
                  </a:lnTo>
                  <a:lnTo>
                    <a:pt x="494" y="3750"/>
                  </a:lnTo>
                  <a:lnTo>
                    <a:pt x="475" y="3744"/>
                  </a:lnTo>
                  <a:lnTo>
                    <a:pt x="462" y="3740"/>
                  </a:lnTo>
                  <a:lnTo>
                    <a:pt x="456" y="3740"/>
                  </a:lnTo>
                  <a:lnTo>
                    <a:pt x="456" y="3731"/>
                  </a:lnTo>
                  <a:lnTo>
                    <a:pt x="456" y="3712"/>
                  </a:lnTo>
                  <a:lnTo>
                    <a:pt x="456" y="3684"/>
                  </a:lnTo>
                  <a:lnTo>
                    <a:pt x="456" y="3659"/>
                  </a:lnTo>
                  <a:lnTo>
                    <a:pt x="456" y="3640"/>
                  </a:lnTo>
                  <a:lnTo>
                    <a:pt x="450" y="3615"/>
                  </a:lnTo>
                  <a:lnTo>
                    <a:pt x="441" y="3584"/>
                  </a:lnTo>
                  <a:lnTo>
                    <a:pt x="428" y="3559"/>
                  </a:lnTo>
                  <a:lnTo>
                    <a:pt x="422" y="3553"/>
                  </a:lnTo>
                  <a:lnTo>
                    <a:pt x="409" y="3547"/>
                  </a:lnTo>
                  <a:lnTo>
                    <a:pt x="400" y="3537"/>
                  </a:lnTo>
                  <a:lnTo>
                    <a:pt x="391" y="3531"/>
                  </a:lnTo>
                  <a:lnTo>
                    <a:pt x="384" y="3525"/>
                  </a:lnTo>
                  <a:lnTo>
                    <a:pt x="372" y="3506"/>
                  </a:lnTo>
                  <a:lnTo>
                    <a:pt x="359" y="3481"/>
                  </a:lnTo>
                  <a:lnTo>
                    <a:pt x="350" y="3459"/>
                  </a:lnTo>
                  <a:lnTo>
                    <a:pt x="338" y="3437"/>
                  </a:lnTo>
                  <a:lnTo>
                    <a:pt x="319" y="3413"/>
                  </a:lnTo>
                  <a:lnTo>
                    <a:pt x="303" y="3388"/>
                  </a:lnTo>
                  <a:lnTo>
                    <a:pt x="291" y="3366"/>
                  </a:lnTo>
                  <a:lnTo>
                    <a:pt x="291" y="3338"/>
                  </a:lnTo>
                  <a:lnTo>
                    <a:pt x="291" y="3303"/>
                  </a:lnTo>
                  <a:lnTo>
                    <a:pt x="294" y="3269"/>
                  </a:lnTo>
                  <a:lnTo>
                    <a:pt x="291" y="3241"/>
                  </a:lnTo>
                  <a:lnTo>
                    <a:pt x="281" y="3225"/>
                  </a:lnTo>
                  <a:lnTo>
                    <a:pt x="269" y="3206"/>
                  </a:lnTo>
                  <a:lnTo>
                    <a:pt x="253" y="3191"/>
                  </a:lnTo>
                  <a:lnTo>
                    <a:pt x="234" y="3178"/>
                  </a:lnTo>
                  <a:lnTo>
                    <a:pt x="213" y="3163"/>
                  </a:lnTo>
                  <a:lnTo>
                    <a:pt x="191" y="3156"/>
                  </a:lnTo>
                  <a:lnTo>
                    <a:pt x="169" y="3153"/>
                  </a:lnTo>
                  <a:lnTo>
                    <a:pt x="138" y="3156"/>
                  </a:lnTo>
                  <a:lnTo>
                    <a:pt x="110" y="3160"/>
                  </a:lnTo>
                  <a:lnTo>
                    <a:pt x="88" y="3156"/>
                  </a:lnTo>
                  <a:lnTo>
                    <a:pt x="69" y="3138"/>
                  </a:lnTo>
                  <a:lnTo>
                    <a:pt x="57" y="3107"/>
                  </a:lnTo>
                  <a:lnTo>
                    <a:pt x="41" y="3078"/>
                  </a:lnTo>
                  <a:lnTo>
                    <a:pt x="25" y="3060"/>
                  </a:lnTo>
                  <a:lnTo>
                    <a:pt x="22" y="3057"/>
                  </a:lnTo>
                  <a:lnTo>
                    <a:pt x="16" y="3053"/>
                  </a:lnTo>
                  <a:lnTo>
                    <a:pt x="10" y="3053"/>
                  </a:lnTo>
                  <a:lnTo>
                    <a:pt x="3" y="3050"/>
                  </a:lnTo>
                  <a:lnTo>
                    <a:pt x="0" y="3050"/>
                  </a:lnTo>
                  <a:lnTo>
                    <a:pt x="0" y="3047"/>
                  </a:lnTo>
                  <a:lnTo>
                    <a:pt x="0" y="3041"/>
                  </a:lnTo>
                  <a:lnTo>
                    <a:pt x="0" y="3032"/>
                  </a:lnTo>
                  <a:lnTo>
                    <a:pt x="3" y="3022"/>
                  </a:lnTo>
                  <a:lnTo>
                    <a:pt x="3" y="3013"/>
                  </a:lnTo>
                  <a:lnTo>
                    <a:pt x="7" y="3007"/>
                  </a:lnTo>
                  <a:lnTo>
                    <a:pt x="19" y="3000"/>
                  </a:lnTo>
                  <a:lnTo>
                    <a:pt x="41" y="2997"/>
                  </a:lnTo>
                  <a:lnTo>
                    <a:pt x="60" y="2991"/>
                  </a:lnTo>
                  <a:lnTo>
                    <a:pt x="72" y="2985"/>
                  </a:lnTo>
                  <a:lnTo>
                    <a:pt x="75" y="2978"/>
                  </a:lnTo>
                  <a:lnTo>
                    <a:pt x="75" y="2969"/>
                  </a:lnTo>
                  <a:lnTo>
                    <a:pt x="75" y="2960"/>
                  </a:lnTo>
                  <a:lnTo>
                    <a:pt x="75" y="2950"/>
                  </a:lnTo>
                  <a:lnTo>
                    <a:pt x="72" y="2941"/>
                  </a:lnTo>
                  <a:lnTo>
                    <a:pt x="60" y="2922"/>
                  </a:lnTo>
                  <a:lnTo>
                    <a:pt x="44" y="2900"/>
                  </a:lnTo>
                  <a:lnTo>
                    <a:pt x="35" y="2882"/>
                  </a:lnTo>
                  <a:lnTo>
                    <a:pt x="38" y="2860"/>
                  </a:lnTo>
                  <a:lnTo>
                    <a:pt x="50" y="2838"/>
                  </a:lnTo>
                  <a:lnTo>
                    <a:pt x="60" y="2819"/>
                  </a:lnTo>
                  <a:lnTo>
                    <a:pt x="66" y="2816"/>
                  </a:lnTo>
                  <a:lnTo>
                    <a:pt x="72" y="2810"/>
                  </a:lnTo>
                  <a:lnTo>
                    <a:pt x="78" y="2807"/>
                  </a:lnTo>
                  <a:lnTo>
                    <a:pt x="81" y="2800"/>
                  </a:lnTo>
                  <a:lnTo>
                    <a:pt x="88" y="2785"/>
                  </a:lnTo>
                  <a:lnTo>
                    <a:pt x="94" y="2760"/>
                  </a:lnTo>
                  <a:lnTo>
                    <a:pt x="97" y="2741"/>
                  </a:lnTo>
                  <a:lnTo>
                    <a:pt x="97" y="2722"/>
                  </a:lnTo>
                  <a:lnTo>
                    <a:pt x="94" y="2701"/>
                  </a:lnTo>
                  <a:lnTo>
                    <a:pt x="94" y="2679"/>
                  </a:lnTo>
                  <a:lnTo>
                    <a:pt x="97" y="2663"/>
                  </a:lnTo>
                  <a:lnTo>
                    <a:pt x="103" y="2654"/>
                  </a:lnTo>
                  <a:lnTo>
                    <a:pt x="113" y="2644"/>
                  </a:lnTo>
                  <a:lnTo>
                    <a:pt x="125" y="2635"/>
                  </a:lnTo>
                  <a:lnTo>
                    <a:pt x="135" y="2629"/>
                  </a:lnTo>
                  <a:lnTo>
                    <a:pt x="144" y="2619"/>
                  </a:lnTo>
                  <a:lnTo>
                    <a:pt x="160" y="2591"/>
                  </a:lnTo>
                  <a:lnTo>
                    <a:pt x="175" y="2557"/>
                  </a:lnTo>
                  <a:lnTo>
                    <a:pt x="188" y="2526"/>
                  </a:lnTo>
                  <a:lnTo>
                    <a:pt x="197" y="2504"/>
                  </a:lnTo>
                  <a:lnTo>
                    <a:pt x="210" y="2476"/>
                  </a:lnTo>
                  <a:lnTo>
                    <a:pt x="219" y="2454"/>
                  </a:lnTo>
                  <a:lnTo>
                    <a:pt x="225" y="2429"/>
                  </a:lnTo>
                  <a:lnTo>
                    <a:pt x="228" y="2401"/>
                  </a:lnTo>
                  <a:lnTo>
                    <a:pt x="234" y="2379"/>
                  </a:lnTo>
                  <a:lnTo>
                    <a:pt x="241" y="2376"/>
                  </a:lnTo>
                  <a:lnTo>
                    <a:pt x="250" y="2370"/>
                  </a:lnTo>
                  <a:lnTo>
                    <a:pt x="259" y="2366"/>
                  </a:lnTo>
                  <a:lnTo>
                    <a:pt x="269" y="2360"/>
                  </a:lnTo>
                  <a:lnTo>
                    <a:pt x="278" y="2357"/>
                  </a:lnTo>
                  <a:lnTo>
                    <a:pt x="281" y="2351"/>
                  </a:lnTo>
                  <a:lnTo>
                    <a:pt x="291" y="2335"/>
                  </a:lnTo>
                  <a:lnTo>
                    <a:pt x="294" y="2316"/>
                  </a:lnTo>
                  <a:lnTo>
                    <a:pt x="297" y="2298"/>
                  </a:lnTo>
                  <a:lnTo>
                    <a:pt x="291" y="2279"/>
                  </a:lnTo>
                  <a:lnTo>
                    <a:pt x="281" y="2257"/>
                  </a:lnTo>
                  <a:lnTo>
                    <a:pt x="272" y="2235"/>
                  </a:lnTo>
                  <a:lnTo>
                    <a:pt x="269" y="2217"/>
                  </a:lnTo>
                  <a:lnTo>
                    <a:pt x="275" y="2192"/>
                  </a:lnTo>
                  <a:lnTo>
                    <a:pt x="284" y="2160"/>
                  </a:lnTo>
                  <a:lnTo>
                    <a:pt x="297" y="2139"/>
                  </a:lnTo>
                  <a:lnTo>
                    <a:pt x="303" y="2129"/>
                  </a:lnTo>
                  <a:lnTo>
                    <a:pt x="313" y="2120"/>
                  </a:lnTo>
                  <a:lnTo>
                    <a:pt x="322" y="2114"/>
                  </a:lnTo>
                  <a:lnTo>
                    <a:pt x="331" y="2104"/>
                  </a:lnTo>
                  <a:lnTo>
                    <a:pt x="338" y="2098"/>
                  </a:lnTo>
                  <a:lnTo>
                    <a:pt x="350" y="2067"/>
                  </a:lnTo>
                  <a:lnTo>
                    <a:pt x="363" y="2029"/>
                  </a:lnTo>
                  <a:lnTo>
                    <a:pt x="375" y="1998"/>
                  </a:lnTo>
                  <a:lnTo>
                    <a:pt x="378" y="1989"/>
                  </a:lnTo>
                  <a:lnTo>
                    <a:pt x="384" y="1982"/>
                  </a:lnTo>
                  <a:lnTo>
                    <a:pt x="391" y="1973"/>
                  </a:lnTo>
                  <a:lnTo>
                    <a:pt x="400" y="1967"/>
                  </a:lnTo>
                  <a:lnTo>
                    <a:pt x="403" y="1957"/>
                  </a:lnTo>
                  <a:lnTo>
                    <a:pt x="416" y="1942"/>
                  </a:lnTo>
                  <a:lnTo>
                    <a:pt x="425" y="1923"/>
                  </a:lnTo>
                  <a:lnTo>
                    <a:pt x="434" y="1904"/>
                  </a:lnTo>
                  <a:lnTo>
                    <a:pt x="437" y="1879"/>
                  </a:lnTo>
                  <a:lnTo>
                    <a:pt x="437" y="1848"/>
                  </a:lnTo>
                  <a:lnTo>
                    <a:pt x="434" y="1823"/>
                  </a:lnTo>
                  <a:lnTo>
                    <a:pt x="431" y="1814"/>
                  </a:lnTo>
                  <a:lnTo>
                    <a:pt x="425" y="1804"/>
                  </a:lnTo>
                  <a:lnTo>
                    <a:pt x="419" y="1792"/>
                  </a:lnTo>
                  <a:lnTo>
                    <a:pt x="409" y="1786"/>
                  </a:lnTo>
                  <a:lnTo>
                    <a:pt x="403" y="1779"/>
                  </a:lnTo>
                  <a:lnTo>
                    <a:pt x="391" y="1776"/>
                  </a:lnTo>
                  <a:lnTo>
                    <a:pt x="372" y="1776"/>
                  </a:lnTo>
                  <a:lnTo>
                    <a:pt x="353" y="1779"/>
                  </a:lnTo>
                  <a:lnTo>
                    <a:pt x="341" y="1779"/>
                  </a:lnTo>
                  <a:lnTo>
                    <a:pt x="319" y="1773"/>
                  </a:lnTo>
                  <a:lnTo>
                    <a:pt x="297" y="1761"/>
                  </a:lnTo>
                  <a:lnTo>
                    <a:pt x="278" y="1748"/>
                  </a:lnTo>
                  <a:lnTo>
                    <a:pt x="269" y="1723"/>
                  </a:lnTo>
                  <a:lnTo>
                    <a:pt x="263" y="1695"/>
                  </a:lnTo>
                  <a:lnTo>
                    <a:pt x="256" y="1667"/>
                  </a:lnTo>
                  <a:lnTo>
                    <a:pt x="256" y="1639"/>
                  </a:lnTo>
                  <a:lnTo>
                    <a:pt x="256" y="1601"/>
                  </a:lnTo>
                  <a:lnTo>
                    <a:pt x="256" y="1570"/>
                  </a:lnTo>
                  <a:lnTo>
                    <a:pt x="256" y="1551"/>
                  </a:lnTo>
                  <a:lnTo>
                    <a:pt x="253" y="1523"/>
                  </a:lnTo>
                  <a:lnTo>
                    <a:pt x="253" y="1498"/>
                  </a:lnTo>
                  <a:lnTo>
                    <a:pt x="256" y="1480"/>
                  </a:lnTo>
                  <a:lnTo>
                    <a:pt x="263" y="1477"/>
                  </a:lnTo>
                  <a:lnTo>
                    <a:pt x="269" y="1473"/>
                  </a:lnTo>
                  <a:lnTo>
                    <a:pt x="275" y="1473"/>
                  </a:lnTo>
                  <a:lnTo>
                    <a:pt x="284" y="1473"/>
                  </a:lnTo>
                  <a:lnTo>
                    <a:pt x="291" y="1470"/>
                  </a:lnTo>
                  <a:lnTo>
                    <a:pt x="294" y="1467"/>
                  </a:lnTo>
                  <a:lnTo>
                    <a:pt x="300" y="1452"/>
                  </a:lnTo>
                  <a:lnTo>
                    <a:pt x="306" y="1427"/>
                  </a:lnTo>
                  <a:lnTo>
                    <a:pt x="309" y="1408"/>
                  </a:lnTo>
                  <a:lnTo>
                    <a:pt x="322" y="1386"/>
                  </a:lnTo>
                  <a:lnTo>
                    <a:pt x="334" y="1364"/>
                  </a:lnTo>
                  <a:lnTo>
                    <a:pt x="350" y="1348"/>
                  </a:lnTo>
                  <a:lnTo>
                    <a:pt x="366" y="1333"/>
                  </a:lnTo>
                  <a:lnTo>
                    <a:pt x="388" y="1320"/>
                  </a:lnTo>
                  <a:lnTo>
                    <a:pt x="403" y="1305"/>
                  </a:lnTo>
                  <a:lnTo>
                    <a:pt x="412" y="1286"/>
                  </a:lnTo>
                  <a:lnTo>
                    <a:pt x="416" y="1258"/>
                  </a:lnTo>
                  <a:lnTo>
                    <a:pt x="422" y="1233"/>
                  </a:lnTo>
                  <a:lnTo>
                    <a:pt x="434" y="1214"/>
                  </a:lnTo>
                  <a:lnTo>
                    <a:pt x="441" y="1214"/>
                  </a:lnTo>
                  <a:lnTo>
                    <a:pt x="447" y="1214"/>
                  </a:lnTo>
                  <a:lnTo>
                    <a:pt x="456" y="1214"/>
                  </a:lnTo>
                  <a:lnTo>
                    <a:pt x="462" y="1214"/>
                  </a:lnTo>
                  <a:lnTo>
                    <a:pt x="469" y="1214"/>
                  </a:lnTo>
                  <a:lnTo>
                    <a:pt x="487" y="1205"/>
                  </a:lnTo>
                  <a:lnTo>
                    <a:pt x="509" y="1192"/>
                  </a:lnTo>
                  <a:lnTo>
                    <a:pt x="525" y="1177"/>
                  </a:lnTo>
                  <a:lnTo>
                    <a:pt x="537" y="1152"/>
                  </a:lnTo>
                  <a:lnTo>
                    <a:pt x="541" y="1121"/>
                  </a:lnTo>
                  <a:lnTo>
                    <a:pt x="541" y="1092"/>
                  </a:lnTo>
                  <a:lnTo>
                    <a:pt x="541" y="1086"/>
                  </a:lnTo>
                  <a:lnTo>
                    <a:pt x="534" y="1080"/>
                  </a:lnTo>
                  <a:lnTo>
                    <a:pt x="531" y="1074"/>
                  </a:lnTo>
                  <a:lnTo>
                    <a:pt x="528" y="1067"/>
                  </a:lnTo>
                  <a:lnTo>
                    <a:pt x="525" y="1061"/>
                  </a:lnTo>
                  <a:lnTo>
                    <a:pt x="522" y="1033"/>
                  </a:lnTo>
                  <a:lnTo>
                    <a:pt x="525" y="1002"/>
                  </a:lnTo>
                  <a:lnTo>
                    <a:pt x="525" y="974"/>
                  </a:lnTo>
                  <a:lnTo>
                    <a:pt x="528" y="955"/>
                  </a:lnTo>
                  <a:lnTo>
                    <a:pt x="528" y="933"/>
                  </a:lnTo>
                  <a:lnTo>
                    <a:pt x="528" y="914"/>
                  </a:lnTo>
                  <a:lnTo>
                    <a:pt x="516" y="899"/>
                  </a:lnTo>
                  <a:lnTo>
                    <a:pt x="500" y="880"/>
                  </a:lnTo>
                  <a:lnTo>
                    <a:pt x="484" y="861"/>
                  </a:lnTo>
                  <a:lnTo>
                    <a:pt x="472" y="846"/>
                  </a:lnTo>
                  <a:lnTo>
                    <a:pt x="469" y="818"/>
                  </a:lnTo>
                  <a:lnTo>
                    <a:pt x="472" y="786"/>
                  </a:lnTo>
                  <a:lnTo>
                    <a:pt x="472" y="761"/>
                  </a:lnTo>
                  <a:lnTo>
                    <a:pt x="478" y="743"/>
                  </a:lnTo>
                  <a:lnTo>
                    <a:pt x="487" y="718"/>
                  </a:lnTo>
                  <a:lnTo>
                    <a:pt x="494" y="696"/>
                  </a:lnTo>
                  <a:lnTo>
                    <a:pt x="497" y="677"/>
                  </a:lnTo>
                  <a:lnTo>
                    <a:pt x="487" y="655"/>
                  </a:lnTo>
                  <a:lnTo>
                    <a:pt x="472" y="630"/>
                  </a:lnTo>
                  <a:lnTo>
                    <a:pt x="456" y="612"/>
                  </a:lnTo>
                  <a:lnTo>
                    <a:pt x="437" y="602"/>
                  </a:lnTo>
                  <a:lnTo>
                    <a:pt x="419" y="593"/>
                  </a:lnTo>
                  <a:lnTo>
                    <a:pt x="400" y="593"/>
                  </a:lnTo>
                  <a:lnTo>
                    <a:pt x="394" y="596"/>
                  </a:lnTo>
                  <a:lnTo>
                    <a:pt x="391" y="602"/>
                  </a:lnTo>
                  <a:lnTo>
                    <a:pt x="384" y="608"/>
                  </a:lnTo>
                  <a:lnTo>
                    <a:pt x="381" y="618"/>
                  </a:lnTo>
                  <a:lnTo>
                    <a:pt x="378" y="624"/>
                  </a:lnTo>
                  <a:lnTo>
                    <a:pt x="372" y="640"/>
                  </a:lnTo>
                  <a:lnTo>
                    <a:pt x="369" y="662"/>
                  </a:lnTo>
                  <a:lnTo>
                    <a:pt x="363" y="680"/>
                  </a:lnTo>
                  <a:lnTo>
                    <a:pt x="353" y="696"/>
                  </a:lnTo>
                  <a:lnTo>
                    <a:pt x="334" y="699"/>
                  </a:lnTo>
                  <a:lnTo>
                    <a:pt x="313" y="699"/>
                  </a:lnTo>
                  <a:lnTo>
                    <a:pt x="291" y="696"/>
                  </a:lnTo>
                  <a:lnTo>
                    <a:pt x="266" y="683"/>
                  </a:lnTo>
                  <a:lnTo>
                    <a:pt x="238" y="668"/>
                  </a:lnTo>
                  <a:lnTo>
                    <a:pt x="213" y="652"/>
                  </a:lnTo>
                  <a:lnTo>
                    <a:pt x="206" y="646"/>
                  </a:lnTo>
                  <a:lnTo>
                    <a:pt x="197" y="643"/>
                  </a:lnTo>
                  <a:lnTo>
                    <a:pt x="188" y="637"/>
                  </a:lnTo>
                  <a:lnTo>
                    <a:pt x="181" y="630"/>
                  </a:lnTo>
                  <a:lnTo>
                    <a:pt x="178" y="624"/>
                  </a:lnTo>
                  <a:lnTo>
                    <a:pt x="185" y="612"/>
                  </a:lnTo>
                  <a:lnTo>
                    <a:pt x="200" y="596"/>
                  </a:lnTo>
                  <a:lnTo>
                    <a:pt x="216" y="580"/>
                  </a:lnTo>
                  <a:lnTo>
                    <a:pt x="219" y="568"/>
                  </a:lnTo>
                  <a:lnTo>
                    <a:pt x="210" y="546"/>
                  </a:lnTo>
                  <a:lnTo>
                    <a:pt x="188" y="524"/>
                  </a:lnTo>
                  <a:lnTo>
                    <a:pt x="160" y="509"/>
                  </a:lnTo>
                  <a:lnTo>
                    <a:pt x="135" y="499"/>
                  </a:lnTo>
                  <a:lnTo>
                    <a:pt x="122" y="496"/>
                  </a:lnTo>
                  <a:lnTo>
                    <a:pt x="103" y="499"/>
                  </a:lnTo>
                  <a:lnTo>
                    <a:pt x="88" y="502"/>
                  </a:lnTo>
                  <a:lnTo>
                    <a:pt x="75" y="499"/>
                  </a:lnTo>
                  <a:lnTo>
                    <a:pt x="63" y="484"/>
                  </a:lnTo>
                  <a:lnTo>
                    <a:pt x="57" y="462"/>
                  </a:lnTo>
                  <a:lnTo>
                    <a:pt x="53" y="437"/>
                  </a:lnTo>
                  <a:lnTo>
                    <a:pt x="50" y="418"/>
                  </a:lnTo>
                  <a:lnTo>
                    <a:pt x="44" y="393"/>
                  </a:lnTo>
                  <a:lnTo>
                    <a:pt x="41" y="362"/>
                  </a:lnTo>
                  <a:lnTo>
                    <a:pt x="44" y="331"/>
                  </a:lnTo>
                  <a:lnTo>
                    <a:pt x="50" y="306"/>
                  </a:lnTo>
                  <a:lnTo>
                    <a:pt x="60" y="296"/>
                  </a:lnTo>
                  <a:lnTo>
                    <a:pt x="78" y="287"/>
                  </a:lnTo>
                  <a:lnTo>
                    <a:pt x="97" y="277"/>
                  </a:lnTo>
                  <a:lnTo>
                    <a:pt x="106" y="268"/>
                  </a:lnTo>
                  <a:lnTo>
                    <a:pt x="110" y="252"/>
                  </a:lnTo>
                  <a:lnTo>
                    <a:pt x="110" y="234"/>
                  </a:lnTo>
                  <a:lnTo>
                    <a:pt x="110" y="215"/>
                  </a:lnTo>
                  <a:lnTo>
                    <a:pt x="113" y="199"/>
                  </a:lnTo>
                  <a:lnTo>
                    <a:pt x="119" y="193"/>
                  </a:lnTo>
                  <a:lnTo>
                    <a:pt x="125" y="187"/>
                  </a:lnTo>
                  <a:lnTo>
                    <a:pt x="135" y="178"/>
                  </a:lnTo>
                  <a:lnTo>
                    <a:pt x="144" y="171"/>
                  </a:lnTo>
                  <a:lnTo>
                    <a:pt x="147" y="165"/>
                  </a:lnTo>
                  <a:lnTo>
                    <a:pt x="150" y="149"/>
                  </a:lnTo>
                  <a:lnTo>
                    <a:pt x="147" y="128"/>
                  </a:lnTo>
                  <a:lnTo>
                    <a:pt x="147" y="106"/>
                  </a:lnTo>
                  <a:lnTo>
                    <a:pt x="147" y="90"/>
                  </a:lnTo>
                  <a:lnTo>
                    <a:pt x="156" y="74"/>
                  </a:lnTo>
                  <a:lnTo>
                    <a:pt x="172" y="62"/>
                  </a:lnTo>
                  <a:lnTo>
                    <a:pt x="188" y="50"/>
                  </a:lnTo>
                  <a:lnTo>
                    <a:pt x="203" y="46"/>
                  </a:lnTo>
                  <a:lnTo>
                    <a:pt x="210" y="46"/>
                  </a:lnTo>
                  <a:lnTo>
                    <a:pt x="219" y="50"/>
                  </a:lnTo>
                  <a:lnTo>
                    <a:pt x="228" y="56"/>
                  </a:lnTo>
                  <a:lnTo>
                    <a:pt x="238" y="62"/>
                  </a:lnTo>
                  <a:lnTo>
                    <a:pt x="244" y="68"/>
                  </a:lnTo>
                  <a:lnTo>
                    <a:pt x="247" y="78"/>
                  </a:lnTo>
                  <a:lnTo>
                    <a:pt x="250" y="90"/>
                  </a:lnTo>
                  <a:lnTo>
                    <a:pt x="250" y="112"/>
                  </a:lnTo>
                  <a:lnTo>
                    <a:pt x="247" y="128"/>
                  </a:lnTo>
                  <a:lnTo>
                    <a:pt x="247" y="143"/>
                  </a:lnTo>
                  <a:lnTo>
                    <a:pt x="244" y="162"/>
                  </a:lnTo>
                  <a:lnTo>
                    <a:pt x="241" y="178"/>
                  </a:lnTo>
                  <a:lnTo>
                    <a:pt x="247" y="190"/>
                  </a:lnTo>
                  <a:lnTo>
                    <a:pt x="256" y="196"/>
                  </a:lnTo>
                  <a:lnTo>
                    <a:pt x="272" y="199"/>
                  </a:lnTo>
                  <a:lnTo>
                    <a:pt x="288" y="199"/>
                  </a:lnTo>
                  <a:lnTo>
                    <a:pt x="303" y="199"/>
                  </a:lnTo>
                  <a:lnTo>
                    <a:pt x="322" y="199"/>
                  </a:lnTo>
                  <a:lnTo>
                    <a:pt x="347" y="199"/>
                  </a:lnTo>
                  <a:lnTo>
                    <a:pt x="369" y="203"/>
                  </a:lnTo>
                  <a:lnTo>
                    <a:pt x="378" y="203"/>
                  </a:lnTo>
                  <a:lnTo>
                    <a:pt x="388" y="206"/>
                  </a:lnTo>
                  <a:lnTo>
                    <a:pt x="400" y="209"/>
                  </a:lnTo>
                  <a:lnTo>
                    <a:pt x="409" y="215"/>
                  </a:lnTo>
                  <a:lnTo>
                    <a:pt x="416" y="218"/>
                  </a:lnTo>
                  <a:lnTo>
                    <a:pt x="428" y="234"/>
                  </a:lnTo>
                  <a:lnTo>
                    <a:pt x="434" y="252"/>
                  </a:lnTo>
                  <a:lnTo>
                    <a:pt x="444" y="268"/>
                  </a:lnTo>
                  <a:lnTo>
                    <a:pt x="456" y="281"/>
                  </a:lnTo>
                  <a:lnTo>
                    <a:pt x="472" y="284"/>
                  </a:lnTo>
                  <a:lnTo>
                    <a:pt x="491" y="281"/>
                  </a:lnTo>
                  <a:lnTo>
                    <a:pt x="509" y="281"/>
                  </a:lnTo>
                  <a:lnTo>
                    <a:pt x="528" y="281"/>
                  </a:lnTo>
                  <a:lnTo>
                    <a:pt x="544" y="293"/>
                  </a:lnTo>
                  <a:lnTo>
                    <a:pt x="566" y="309"/>
                  </a:lnTo>
                  <a:lnTo>
                    <a:pt x="584" y="318"/>
                  </a:lnTo>
                  <a:lnTo>
                    <a:pt x="615" y="324"/>
                  </a:lnTo>
                  <a:lnTo>
                    <a:pt x="653" y="324"/>
                  </a:lnTo>
                  <a:lnTo>
                    <a:pt x="684" y="321"/>
                  </a:lnTo>
                  <a:lnTo>
                    <a:pt x="694" y="318"/>
                  </a:lnTo>
                  <a:lnTo>
                    <a:pt x="703" y="312"/>
                  </a:lnTo>
                  <a:lnTo>
                    <a:pt x="712" y="302"/>
                  </a:lnTo>
                  <a:lnTo>
                    <a:pt x="722" y="296"/>
                  </a:lnTo>
                  <a:lnTo>
                    <a:pt x="728" y="293"/>
                  </a:lnTo>
                  <a:lnTo>
                    <a:pt x="750" y="290"/>
                  </a:lnTo>
                  <a:lnTo>
                    <a:pt x="775" y="290"/>
                  </a:lnTo>
                  <a:lnTo>
                    <a:pt x="797" y="290"/>
                  </a:lnTo>
                  <a:lnTo>
                    <a:pt x="818" y="299"/>
                  </a:lnTo>
                  <a:lnTo>
                    <a:pt x="840" y="312"/>
                  </a:lnTo>
                  <a:lnTo>
                    <a:pt x="862" y="321"/>
                  </a:lnTo>
                  <a:lnTo>
                    <a:pt x="887" y="324"/>
                  </a:lnTo>
                  <a:lnTo>
                    <a:pt x="921" y="321"/>
                  </a:lnTo>
                  <a:lnTo>
                    <a:pt x="946" y="315"/>
                  </a:lnTo>
                  <a:lnTo>
                    <a:pt x="965" y="299"/>
                  </a:lnTo>
                  <a:lnTo>
                    <a:pt x="981" y="281"/>
                  </a:lnTo>
                  <a:lnTo>
                    <a:pt x="993" y="259"/>
                  </a:lnTo>
                  <a:lnTo>
                    <a:pt x="990" y="243"/>
                  </a:lnTo>
                  <a:lnTo>
                    <a:pt x="984" y="224"/>
                  </a:lnTo>
                  <a:lnTo>
                    <a:pt x="978" y="206"/>
                  </a:lnTo>
                  <a:lnTo>
                    <a:pt x="978" y="190"/>
                  </a:lnTo>
                  <a:lnTo>
                    <a:pt x="981" y="168"/>
                  </a:lnTo>
                  <a:lnTo>
                    <a:pt x="990" y="146"/>
                  </a:lnTo>
                  <a:lnTo>
                    <a:pt x="1003" y="131"/>
                  </a:lnTo>
                  <a:lnTo>
                    <a:pt x="1009" y="124"/>
                  </a:lnTo>
                  <a:lnTo>
                    <a:pt x="1018" y="118"/>
                  </a:lnTo>
                  <a:lnTo>
                    <a:pt x="1028" y="112"/>
                  </a:lnTo>
                  <a:lnTo>
                    <a:pt x="1037" y="109"/>
                  </a:lnTo>
                  <a:lnTo>
                    <a:pt x="1043" y="103"/>
                  </a:lnTo>
                  <a:lnTo>
                    <a:pt x="1053" y="87"/>
                  </a:lnTo>
                  <a:lnTo>
                    <a:pt x="1059" y="68"/>
                  </a:lnTo>
                  <a:lnTo>
                    <a:pt x="1068" y="46"/>
                  </a:lnTo>
                  <a:lnTo>
                    <a:pt x="1075" y="31"/>
                  </a:lnTo>
                  <a:lnTo>
                    <a:pt x="1075" y="25"/>
                  </a:lnTo>
                  <a:lnTo>
                    <a:pt x="1078" y="25"/>
                  </a:lnTo>
                  <a:lnTo>
                    <a:pt x="1081" y="25"/>
                  </a:lnTo>
                  <a:lnTo>
                    <a:pt x="1084" y="28"/>
                  </a:lnTo>
                  <a:lnTo>
                    <a:pt x="1106" y="34"/>
                  </a:lnTo>
                  <a:lnTo>
                    <a:pt x="1134" y="43"/>
                  </a:lnTo>
                  <a:lnTo>
                    <a:pt x="1162" y="53"/>
                  </a:lnTo>
                  <a:lnTo>
                    <a:pt x="1184" y="53"/>
                  </a:lnTo>
                  <a:lnTo>
                    <a:pt x="1190" y="50"/>
                  </a:lnTo>
                  <a:lnTo>
                    <a:pt x="1199" y="40"/>
                  </a:lnTo>
                  <a:lnTo>
                    <a:pt x="1209" y="34"/>
                  </a:lnTo>
                  <a:lnTo>
                    <a:pt x="1215" y="25"/>
                  </a:lnTo>
                  <a:lnTo>
                    <a:pt x="1224" y="18"/>
                  </a:lnTo>
                  <a:lnTo>
                    <a:pt x="1231" y="12"/>
                  </a:lnTo>
                  <a:lnTo>
                    <a:pt x="1240" y="12"/>
                  </a:lnTo>
                  <a:lnTo>
                    <a:pt x="1249" y="15"/>
                  </a:lnTo>
                  <a:lnTo>
                    <a:pt x="1259" y="18"/>
                  </a:lnTo>
                  <a:lnTo>
                    <a:pt x="1265" y="21"/>
                  </a:lnTo>
                  <a:lnTo>
                    <a:pt x="1274" y="25"/>
                  </a:lnTo>
                  <a:lnTo>
                    <a:pt x="1281" y="28"/>
                  </a:lnTo>
                  <a:lnTo>
                    <a:pt x="1290" y="34"/>
                  </a:lnTo>
                  <a:lnTo>
                    <a:pt x="1296" y="40"/>
                  </a:lnTo>
                  <a:lnTo>
                    <a:pt x="1306" y="46"/>
                  </a:lnTo>
                  <a:lnTo>
                    <a:pt x="1315" y="50"/>
                  </a:lnTo>
                  <a:lnTo>
                    <a:pt x="1321" y="53"/>
                  </a:lnTo>
                  <a:lnTo>
                    <a:pt x="1346" y="46"/>
                  </a:lnTo>
                  <a:lnTo>
                    <a:pt x="1374" y="28"/>
                  </a:lnTo>
                  <a:lnTo>
                    <a:pt x="1402" y="12"/>
                  </a:lnTo>
                  <a:lnTo>
                    <a:pt x="1424" y="3"/>
                  </a:lnTo>
                  <a:lnTo>
                    <a:pt x="1455" y="0"/>
                  </a:lnTo>
                  <a:lnTo>
                    <a:pt x="1493" y="6"/>
                  </a:lnTo>
                  <a:lnTo>
                    <a:pt x="1530" y="12"/>
                  </a:lnTo>
                  <a:lnTo>
                    <a:pt x="1559" y="25"/>
                  </a:lnTo>
                  <a:lnTo>
                    <a:pt x="1565" y="28"/>
                  </a:lnTo>
                  <a:lnTo>
                    <a:pt x="1574" y="37"/>
                  </a:lnTo>
                  <a:lnTo>
                    <a:pt x="1580" y="46"/>
                  </a:lnTo>
                  <a:lnTo>
                    <a:pt x="1587" y="56"/>
                  </a:lnTo>
                  <a:lnTo>
                    <a:pt x="1593" y="62"/>
                  </a:lnTo>
                  <a:lnTo>
                    <a:pt x="1615" y="74"/>
                  </a:lnTo>
                  <a:lnTo>
                    <a:pt x="1643" y="90"/>
                  </a:lnTo>
                  <a:lnTo>
                    <a:pt x="1671" y="103"/>
                  </a:lnTo>
                  <a:lnTo>
                    <a:pt x="1696" y="112"/>
                  </a:lnTo>
                  <a:lnTo>
                    <a:pt x="1718" y="121"/>
                  </a:lnTo>
                  <a:lnTo>
                    <a:pt x="1743" y="128"/>
                  </a:lnTo>
                  <a:lnTo>
                    <a:pt x="1771" y="137"/>
                  </a:lnTo>
                  <a:lnTo>
                    <a:pt x="1793" y="140"/>
                  </a:lnTo>
                  <a:lnTo>
                    <a:pt x="1818" y="137"/>
                  </a:lnTo>
                  <a:lnTo>
                    <a:pt x="1843" y="131"/>
                  </a:lnTo>
                  <a:lnTo>
                    <a:pt x="1865" y="128"/>
                  </a:lnTo>
                  <a:lnTo>
                    <a:pt x="1874" y="128"/>
                  </a:lnTo>
                  <a:lnTo>
                    <a:pt x="1886" y="128"/>
                  </a:lnTo>
                  <a:lnTo>
                    <a:pt x="1896" y="128"/>
                  </a:lnTo>
                  <a:lnTo>
                    <a:pt x="1905" y="131"/>
                  </a:lnTo>
                  <a:lnTo>
                    <a:pt x="1915" y="134"/>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Freeform 53">
              <a:extLst>
                <a:ext uri="{FF2B5EF4-FFF2-40B4-BE49-F238E27FC236}">
                  <a16:creationId xmlns:a16="http://schemas.microsoft.com/office/drawing/2014/main" id="{994C62ED-0767-497A-9E3B-14A030253249}"/>
                </a:ext>
              </a:extLst>
            </p:cNvPr>
            <p:cNvSpPr>
              <a:spLocks/>
            </p:cNvSpPr>
            <p:nvPr/>
          </p:nvSpPr>
          <p:spPr bwMode="auto">
            <a:xfrm>
              <a:off x="13539788" y="4843463"/>
              <a:ext cx="10331450" cy="9274175"/>
            </a:xfrm>
            <a:custGeom>
              <a:avLst/>
              <a:gdLst>
                <a:gd name="T0" fmla="*/ 3470 w 6508"/>
                <a:gd name="T1" fmla="*/ 128 h 5842"/>
                <a:gd name="T2" fmla="*/ 3854 w 6508"/>
                <a:gd name="T3" fmla="*/ 206 h 5842"/>
                <a:gd name="T4" fmla="*/ 4185 w 6508"/>
                <a:gd name="T5" fmla="*/ 181 h 5842"/>
                <a:gd name="T6" fmla="*/ 4300 w 6508"/>
                <a:gd name="T7" fmla="*/ 549 h 5842"/>
                <a:gd name="T8" fmla="*/ 4350 w 6508"/>
                <a:gd name="T9" fmla="*/ 1005 h 5842"/>
                <a:gd name="T10" fmla="*/ 4756 w 6508"/>
                <a:gd name="T11" fmla="*/ 927 h 5842"/>
                <a:gd name="T12" fmla="*/ 5206 w 6508"/>
                <a:gd name="T13" fmla="*/ 303 h 5842"/>
                <a:gd name="T14" fmla="*/ 5493 w 6508"/>
                <a:gd name="T15" fmla="*/ 609 h 5842"/>
                <a:gd name="T16" fmla="*/ 5649 w 6508"/>
                <a:gd name="T17" fmla="*/ 912 h 5842"/>
                <a:gd name="T18" fmla="*/ 5890 w 6508"/>
                <a:gd name="T19" fmla="*/ 1386 h 5842"/>
                <a:gd name="T20" fmla="*/ 5962 w 6508"/>
                <a:gd name="T21" fmla="*/ 1892 h 5842"/>
                <a:gd name="T22" fmla="*/ 6324 w 6508"/>
                <a:gd name="T23" fmla="*/ 2054 h 5842"/>
                <a:gd name="T24" fmla="*/ 6299 w 6508"/>
                <a:gd name="T25" fmla="*/ 2335 h 5842"/>
                <a:gd name="T26" fmla="*/ 6361 w 6508"/>
                <a:gd name="T27" fmla="*/ 2592 h 5842"/>
                <a:gd name="T28" fmla="*/ 6124 w 6508"/>
                <a:gd name="T29" fmla="*/ 2873 h 5842"/>
                <a:gd name="T30" fmla="*/ 5824 w 6508"/>
                <a:gd name="T31" fmla="*/ 3041 h 5842"/>
                <a:gd name="T32" fmla="*/ 5474 w 6508"/>
                <a:gd name="T33" fmla="*/ 3319 h 5842"/>
                <a:gd name="T34" fmla="*/ 5053 w 6508"/>
                <a:gd name="T35" fmla="*/ 3338 h 5842"/>
                <a:gd name="T36" fmla="*/ 5034 w 6508"/>
                <a:gd name="T37" fmla="*/ 3828 h 5842"/>
                <a:gd name="T38" fmla="*/ 4435 w 6508"/>
                <a:gd name="T39" fmla="*/ 3797 h 5842"/>
                <a:gd name="T40" fmla="*/ 4344 w 6508"/>
                <a:gd name="T41" fmla="*/ 3887 h 5842"/>
                <a:gd name="T42" fmla="*/ 3938 w 6508"/>
                <a:gd name="T43" fmla="*/ 3856 h 5842"/>
                <a:gd name="T44" fmla="*/ 3707 w 6508"/>
                <a:gd name="T45" fmla="*/ 3903 h 5842"/>
                <a:gd name="T46" fmla="*/ 3516 w 6508"/>
                <a:gd name="T47" fmla="*/ 4356 h 5842"/>
                <a:gd name="T48" fmla="*/ 3866 w 6508"/>
                <a:gd name="T49" fmla="*/ 4559 h 5842"/>
                <a:gd name="T50" fmla="*/ 3988 w 6508"/>
                <a:gd name="T51" fmla="*/ 4899 h 5842"/>
                <a:gd name="T52" fmla="*/ 3972 w 6508"/>
                <a:gd name="T53" fmla="*/ 5143 h 5842"/>
                <a:gd name="T54" fmla="*/ 3804 w 6508"/>
                <a:gd name="T55" fmla="*/ 5230 h 5842"/>
                <a:gd name="T56" fmla="*/ 3979 w 6508"/>
                <a:gd name="T57" fmla="*/ 5480 h 5842"/>
                <a:gd name="T58" fmla="*/ 4263 w 6508"/>
                <a:gd name="T59" fmla="*/ 5567 h 5842"/>
                <a:gd name="T60" fmla="*/ 3985 w 6508"/>
                <a:gd name="T61" fmla="*/ 5661 h 5842"/>
                <a:gd name="T62" fmla="*/ 3738 w 6508"/>
                <a:gd name="T63" fmla="*/ 5808 h 5842"/>
                <a:gd name="T64" fmla="*/ 3520 w 6508"/>
                <a:gd name="T65" fmla="*/ 5698 h 5842"/>
                <a:gd name="T66" fmla="*/ 3142 w 6508"/>
                <a:gd name="T67" fmla="*/ 5630 h 5842"/>
                <a:gd name="T68" fmla="*/ 2973 w 6508"/>
                <a:gd name="T69" fmla="*/ 5639 h 5842"/>
                <a:gd name="T70" fmla="*/ 2505 w 6508"/>
                <a:gd name="T71" fmla="*/ 5442 h 5842"/>
                <a:gd name="T72" fmla="*/ 1971 w 6508"/>
                <a:gd name="T73" fmla="*/ 5193 h 5842"/>
                <a:gd name="T74" fmla="*/ 1677 w 6508"/>
                <a:gd name="T75" fmla="*/ 5433 h 5842"/>
                <a:gd name="T76" fmla="*/ 1493 w 6508"/>
                <a:gd name="T77" fmla="*/ 5508 h 5842"/>
                <a:gd name="T78" fmla="*/ 1252 w 6508"/>
                <a:gd name="T79" fmla="*/ 5464 h 5842"/>
                <a:gd name="T80" fmla="*/ 993 w 6508"/>
                <a:gd name="T81" fmla="*/ 5464 h 5842"/>
                <a:gd name="T82" fmla="*/ 453 w 6508"/>
                <a:gd name="T83" fmla="*/ 5486 h 5842"/>
                <a:gd name="T84" fmla="*/ 19 w 6508"/>
                <a:gd name="T85" fmla="*/ 5115 h 5842"/>
                <a:gd name="T86" fmla="*/ 141 w 6508"/>
                <a:gd name="T87" fmla="*/ 4687 h 5842"/>
                <a:gd name="T88" fmla="*/ 437 w 6508"/>
                <a:gd name="T89" fmla="*/ 4346 h 5842"/>
                <a:gd name="T90" fmla="*/ 584 w 6508"/>
                <a:gd name="T91" fmla="*/ 4000 h 5842"/>
                <a:gd name="T92" fmla="*/ 512 w 6508"/>
                <a:gd name="T93" fmla="*/ 3550 h 5842"/>
                <a:gd name="T94" fmla="*/ 138 w 6508"/>
                <a:gd name="T95" fmla="*/ 3175 h 5842"/>
                <a:gd name="T96" fmla="*/ 291 w 6508"/>
                <a:gd name="T97" fmla="*/ 2829 h 5842"/>
                <a:gd name="T98" fmla="*/ 475 w 6508"/>
                <a:gd name="T99" fmla="*/ 2601 h 5842"/>
                <a:gd name="T100" fmla="*/ 722 w 6508"/>
                <a:gd name="T101" fmla="*/ 2645 h 5842"/>
                <a:gd name="T102" fmla="*/ 859 w 6508"/>
                <a:gd name="T103" fmla="*/ 2476 h 5842"/>
                <a:gd name="T104" fmla="*/ 1146 w 6508"/>
                <a:gd name="T105" fmla="*/ 2463 h 5842"/>
                <a:gd name="T106" fmla="*/ 1702 w 6508"/>
                <a:gd name="T107" fmla="*/ 2320 h 5842"/>
                <a:gd name="T108" fmla="*/ 2083 w 6508"/>
                <a:gd name="T109" fmla="*/ 2092 h 5842"/>
                <a:gd name="T110" fmla="*/ 2221 w 6508"/>
                <a:gd name="T111" fmla="*/ 1773 h 5842"/>
                <a:gd name="T112" fmla="*/ 2333 w 6508"/>
                <a:gd name="T113" fmla="*/ 1633 h 5842"/>
                <a:gd name="T114" fmla="*/ 2361 w 6508"/>
                <a:gd name="T115" fmla="*/ 1274 h 5842"/>
                <a:gd name="T116" fmla="*/ 2561 w 6508"/>
                <a:gd name="T117" fmla="*/ 1018 h 5842"/>
                <a:gd name="T118" fmla="*/ 2783 w 6508"/>
                <a:gd name="T119" fmla="*/ 787 h 5842"/>
                <a:gd name="T120" fmla="*/ 2911 w 6508"/>
                <a:gd name="T121" fmla="*/ 571 h 5842"/>
                <a:gd name="T122" fmla="*/ 3095 w 6508"/>
                <a:gd name="T123" fmla="*/ 315 h 5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08" h="5842">
                  <a:moveTo>
                    <a:pt x="3154" y="59"/>
                  </a:moveTo>
                  <a:lnTo>
                    <a:pt x="3164" y="56"/>
                  </a:lnTo>
                  <a:lnTo>
                    <a:pt x="3173" y="53"/>
                  </a:lnTo>
                  <a:lnTo>
                    <a:pt x="3189" y="40"/>
                  </a:lnTo>
                  <a:lnTo>
                    <a:pt x="3204" y="22"/>
                  </a:lnTo>
                  <a:lnTo>
                    <a:pt x="3223" y="6"/>
                  </a:lnTo>
                  <a:lnTo>
                    <a:pt x="3239" y="0"/>
                  </a:lnTo>
                  <a:lnTo>
                    <a:pt x="3254" y="6"/>
                  </a:lnTo>
                  <a:lnTo>
                    <a:pt x="3270" y="22"/>
                  </a:lnTo>
                  <a:lnTo>
                    <a:pt x="3288" y="40"/>
                  </a:lnTo>
                  <a:lnTo>
                    <a:pt x="3304" y="50"/>
                  </a:lnTo>
                  <a:lnTo>
                    <a:pt x="3323" y="50"/>
                  </a:lnTo>
                  <a:lnTo>
                    <a:pt x="3345" y="43"/>
                  </a:lnTo>
                  <a:lnTo>
                    <a:pt x="3370" y="34"/>
                  </a:lnTo>
                  <a:lnTo>
                    <a:pt x="3388" y="31"/>
                  </a:lnTo>
                  <a:lnTo>
                    <a:pt x="3407" y="31"/>
                  </a:lnTo>
                  <a:lnTo>
                    <a:pt x="3432" y="34"/>
                  </a:lnTo>
                  <a:lnTo>
                    <a:pt x="3454" y="40"/>
                  </a:lnTo>
                  <a:lnTo>
                    <a:pt x="3470" y="50"/>
                  </a:lnTo>
                  <a:lnTo>
                    <a:pt x="3473" y="62"/>
                  </a:lnTo>
                  <a:lnTo>
                    <a:pt x="3470" y="78"/>
                  </a:lnTo>
                  <a:lnTo>
                    <a:pt x="3466" y="100"/>
                  </a:lnTo>
                  <a:lnTo>
                    <a:pt x="3466" y="115"/>
                  </a:lnTo>
                  <a:lnTo>
                    <a:pt x="3470" y="128"/>
                  </a:lnTo>
                  <a:lnTo>
                    <a:pt x="3482" y="140"/>
                  </a:lnTo>
                  <a:lnTo>
                    <a:pt x="3504" y="147"/>
                  </a:lnTo>
                  <a:lnTo>
                    <a:pt x="3526" y="153"/>
                  </a:lnTo>
                  <a:lnTo>
                    <a:pt x="3551" y="159"/>
                  </a:lnTo>
                  <a:lnTo>
                    <a:pt x="3566" y="168"/>
                  </a:lnTo>
                  <a:lnTo>
                    <a:pt x="3579" y="184"/>
                  </a:lnTo>
                  <a:lnTo>
                    <a:pt x="3591" y="209"/>
                  </a:lnTo>
                  <a:lnTo>
                    <a:pt x="3604" y="231"/>
                  </a:lnTo>
                  <a:lnTo>
                    <a:pt x="3616" y="250"/>
                  </a:lnTo>
                  <a:lnTo>
                    <a:pt x="3641" y="259"/>
                  </a:lnTo>
                  <a:lnTo>
                    <a:pt x="3669" y="262"/>
                  </a:lnTo>
                  <a:lnTo>
                    <a:pt x="3698" y="265"/>
                  </a:lnTo>
                  <a:lnTo>
                    <a:pt x="3713" y="271"/>
                  </a:lnTo>
                  <a:lnTo>
                    <a:pt x="3732" y="281"/>
                  </a:lnTo>
                  <a:lnTo>
                    <a:pt x="3754" y="287"/>
                  </a:lnTo>
                  <a:lnTo>
                    <a:pt x="3769" y="290"/>
                  </a:lnTo>
                  <a:lnTo>
                    <a:pt x="3788" y="281"/>
                  </a:lnTo>
                  <a:lnTo>
                    <a:pt x="3810" y="268"/>
                  </a:lnTo>
                  <a:lnTo>
                    <a:pt x="3829" y="250"/>
                  </a:lnTo>
                  <a:lnTo>
                    <a:pt x="3844" y="234"/>
                  </a:lnTo>
                  <a:lnTo>
                    <a:pt x="3847" y="228"/>
                  </a:lnTo>
                  <a:lnTo>
                    <a:pt x="3847" y="221"/>
                  </a:lnTo>
                  <a:lnTo>
                    <a:pt x="3851" y="212"/>
                  </a:lnTo>
                  <a:lnTo>
                    <a:pt x="3854" y="206"/>
                  </a:lnTo>
                  <a:lnTo>
                    <a:pt x="3857" y="200"/>
                  </a:lnTo>
                  <a:lnTo>
                    <a:pt x="3872" y="196"/>
                  </a:lnTo>
                  <a:lnTo>
                    <a:pt x="3888" y="196"/>
                  </a:lnTo>
                  <a:lnTo>
                    <a:pt x="3907" y="196"/>
                  </a:lnTo>
                  <a:lnTo>
                    <a:pt x="3922" y="200"/>
                  </a:lnTo>
                  <a:lnTo>
                    <a:pt x="3944" y="209"/>
                  </a:lnTo>
                  <a:lnTo>
                    <a:pt x="3966" y="225"/>
                  </a:lnTo>
                  <a:lnTo>
                    <a:pt x="3985" y="234"/>
                  </a:lnTo>
                  <a:lnTo>
                    <a:pt x="4004" y="231"/>
                  </a:lnTo>
                  <a:lnTo>
                    <a:pt x="4022" y="221"/>
                  </a:lnTo>
                  <a:lnTo>
                    <a:pt x="4038" y="212"/>
                  </a:lnTo>
                  <a:lnTo>
                    <a:pt x="4044" y="206"/>
                  </a:lnTo>
                  <a:lnTo>
                    <a:pt x="4047" y="200"/>
                  </a:lnTo>
                  <a:lnTo>
                    <a:pt x="4054" y="190"/>
                  </a:lnTo>
                  <a:lnTo>
                    <a:pt x="4057" y="181"/>
                  </a:lnTo>
                  <a:lnTo>
                    <a:pt x="4063" y="172"/>
                  </a:lnTo>
                  <a:lnTo>
                    <a:pt x="4069" y="168"/>
                  </a:lnTo>
                  <a:lnTo>
                    <a:pt x="4085" y="162"/>
                  </a:lnTo>
                  <a:lnTo>
                    <a:pt x="4107" y="162"/>
                  </a:lnTo>
                  <a:lnTo>
                    <a:pt x="4128" y="165"/>
                  </a:lnTo>
                  <a:lnTo>
                    <a:pt x="4147" y="168"/>
                  </a:lnTo>
                  <a:lnTo>
                    <a:pt x="4157" y="172"/>
                  </a:lnTo>
                  <a:lnTo>
                    <a:pt x="4169" y="175"/>
                  </a:lnTo>
                  <a:lnTo>
                    <a:pt x="4185" y="181"/>
                  </a:lnTo>
                  <a:lnTo>
                    <a:pt x="4185" y="190"/>
                  </a:lnTo>
                  <a:lnTo>
                    <a:pt x="4185" y="203"/>
                  </a:lnTo>
                  <a:lnTo>
                    <a:pt x="4188" y="215"/>
                  </a:lnTo>
                  <a:lnTo>
                    <a:pt x="4188" y="225"/>
                  </a:lnTo>
                  <a:lnTo>
                    <a:pt x="4188" y="250"/>
                  </a:lnTo>
                  <a:lnTo>
                    <a:pt x="4191" y="278"/>
                  </a:lnTo>
                  <a:lnTo>
                    <a:pt x="4191" y="309"/>
                  </a:lnTo>
                  <a:lnTo>
                    <a:pt x="4188" y="331"/>
                  </a:lnTo>
                  <a:lnTo>
                    <a:pt x="4182" y="337"/>
                  </a:lnTo>
                  <a:lnTo>
                    <a:pt x="4178" y="343"/>
                  </a:lnTo>
                  <a:lnTo>
                    <a:pt x="4169" y="349"/>
                  </a:lnTo>
                  <a:lnTo>
                    <a:pt x="4166" y="356"/>
                  </a:lnTo>
                  <a:lnTo>
                    <a:pt x="4160" y="362"/>
                  </a:lnTo>
                  <a:lnTo>
                    <a:pt x="4157" y="378"/>
                  </a:lnTo>
                  <a:lnTo>
                    <a:pt x="4160" y="399"/>
                  </a:lnTo>
                  <a:lnTo>
                    <a:pt x="4160" y="415"/>
                  </a:lnTo>
                  <a:lnTo>
                    <a:pt x="4172" y="434"/>
                  </a:lnTo>
                  <a:lnTo>
                    <a:pt x="4185" y="453"/>
                  </a:lnTo>
                  <a:lnTo>
                    <a:pt x="4203" y="471"/>
                  </a:lnTo>
                  <a:lnTo>
                    <a:pt x="4216" y="487"/>
                  </a:lnTo>
                  <a:lnTo>
                    <a:pt x="4238" y="502"/>
                  </a:lnTo>
                  <a:lnTo>
                    <a:pt x="4263" y="515"/>
                  </a:lnTo>
                  <a:lnTo>
                    <a:pt x="4285" y="534"/>
                  </a:lnTo>
                  <a:lnTo>
                    <a:pt x="4300" y="549"/>
                  </a:lnTo>
                  <a:lnTo>
                    <a:pt x="4310" y="574"/>
                  </a:lnTo>
                  <a:lnTo>
                    <a:pt x="4310" y="602"/>
                  </a:lnTo>
                  <a:lnTo>
                    <a:pt x="4310" y="631"/>
                  </a:lnTo>
                  <a:lnTo>
                    <a:pt x="4303" y="656"/>
                  </a:lnTo>
                  <a:lnTo>
                    <a:pt x="4300" y="665"/>
                  </a:lnTo>
                  <a:lnTo>
                    <a:pt x="4291" y="671"/>
                  </a:lnTo>
                  <a:lnTo>
                    <a:pt x="4282" y="680"/>
                  </a:lnTo>
                  <a:lnTo>
                    <a:pt x="4275" y="690"/>
                  </a:lnTo>
                  <a:lnTo>
                    <a:pt x="4269" y="699"/>
                  </a:lnTo>
                  <a:lnTo>
                    <a:pt x="4263" y="721"/>
                  </a:lnTo>
                  <a:lnTo>
                    <a:pt x="4263" y="749"/>
                  </a:lnTo>
                  <a:lnTo>
                    <a:pt x="4263" y="774"/>
                  </a:lnTo>
                  <a:lnTo>
                    <a:pt x="4272" y="796"/>
                  </a:lnTo>
                  <a:lnTo>
                    <a:pt x="4285" y="824"/>
                  </a:lnTo>
                  <a:lnTo>
                    <a:pt x="4297" y="852"/>
                  </a:lnTo>
                  <a:lnTo>
                    <a:pt x="4310" y="880"/>
                  </a:lnTo>
                  <a:lnTo>
                    <a:pt x="4316" y="905"/>
                  </a:lnTo>
                  <a:lnTo>
                    <a:pt x="4316" y="918"/>
                  </a:lnTo>
                  <a:lnTo>
                    <a:pt x="4310" y="937"/>
                  </a:lnTo>
                  <a:lnTo>
                    <a:pt x="4306" y="952"/>
                  </a:lnTo>
                  <a:lnTo>
                    <a:pt x="4306" y="965"/>
                  </a:lnTo>
                  <a:lnTo>
                    <a:pt x="4316" y="980"/>
                  </a:lnTo>
                  <a:lnTo>
                    <a:pt x="4331" y="993"/>
                  </a:lnTo>
                  <a:lnTo>
                    <a:pt x="4350" y="1005"/>
                  </a:lnTo>
                  <a:lnTo>
                    <a:pt x="4366" y="1011"/>
                  </a:lnTo>
                  <a:lnTo>
                    <a:pt x="4385" y="1011"/>
                  </a:lnTo>
                  <a:lnTo>
                    <a:pt x="4406" y="1002"/>
                  </a:lnTo>
                  <a:lnTo>
                    <a:pt x="4422" y="990"/>
                  </a:lnTo>
                  <a:lnTo>
                    <a:pt x="4431" y="977"/>
                  </a:lnTo>
                  <a:lnTo>
                    <a:pt x="4441" y="958"/>
                  </a:lnTo>
                  <a:lnTo>
                    <a:pt x="4450" y="940"/>
                  </a:lnTo>
                  <a:lnTo>
                    <a:pt x="4463" y="927"/>
                  </a:lnTo>
                  <a:lnTo>
                    <a:pt x="4488" y="918"/>
                  </a:lnTo>
                  <a:lnTo>
                    <a:pt x="4522" y="915"/>
                  </a:lnTo>
                  <a:lnTo>
                    <a:pt x="4550" y="915"/>
                  </a:lnTo>
                  <a:lnTo>
                    <a:pt x="4556" y="921"/>
                  </a:lnTo>
                  <a:lnTo>
                    <a:pt x="4566" y="927"/>
                  </a:lnTo>
                  <a:lnTo>
                    <a:pt x="4575" y="933"/>
                  </a:lnTo>
                  <a:lnTo>
                    <a:pt x="4581" y="943"/>
                  </a:lnTo>
                  <a:lnTo>
                    <a:pt x="4591" y="949"/>
                  </a:lnTo>
                  <a:lnTo>
                    <a:pt x="4597" y="952"/>
                  </a:lnTo>
                  <a:lnTo>
                    <a:pt x="4616" y="949"/>
                  </a:lnTo>
                  <a:lnTo>
                    <a:pt x="4634" y="943"/>
                  </a:lnTo>
                  <a:lnTo>
                    <a:pt x="4653" y="933"/>
                  </a:lnTo>
                  <a:lnTo>
                    <a:pt x="4669" y="927"/>
                  </a:lnTo>
                  <a:lnTo>
                    <a:pt x="4697" y="927"/>
                  </a:lnTo>
                  <a:lnTo>
                    <a:pt x="4728" y="930"/>
                  </a:lnTo>
                  <a:lnTo>
                    <a:pt x="4756" y="927"/>
                  </a:lnTo>
                  <a:lnTo>
                    <a:pt x="4784" y="921"/>
                  </a:lnTo>
                  <a:lnTo>
                    <a:pt x="4815" y="912"/>
                  </a:lnTo>
                  <a:lnTo>
                    <a:pt x="4837" y="899"/>
                  </a:lnTo>
                  <a:lnTo>
                    <a:pt x="4856" y="877"/>
                  </a:lnTo>
                  <a:lnTo>
                    <a:pt x="4872" y="849"/>
                  </a:lnTo>
                  <a:lnTo>
                    <a:pt x="4890" y="821"/>
                  </a:lnTo>
                  <a:lnTo>
                    <a:pt x="4906" y="799"/>
                  </a:lnTo>
                  <a:lnTo>
                    <a:pt x="4925" y="780"/>
                  </a:lnTo>
                  <a:lnTo>
                    <a:pt x="4950" y="762"/>
                  </a:lnTo>
                  <a:lnTo>
                    <a:pt x="4968" y="743"/>
                  </a:lnTo>
                  <a:lnTo>
                    <a:pt x="4984" y="709"/>
                  </a:lnTo>
                  <a:lnTo>
                    <a:pt x="4993" y="668"/>
                  </a:lnTo>
                  <a:lnTo>
                    <a:pt x="5000" y="624"/>
                  </a:lnTo>
                  <a:lnTo>
                    <a:pt x="5006" y="590"/>
                  </a:lnTo>
                  <a:lnTo>
                    <a:pt x="5015" y="559"/>
                  </a:lnTo>
                  <a:lnTo>
                    <a:pt x="5025" y="527"/>
                  </a:lnTo>
                  <a:lnTo>
                    <a:pt x="5037" y="499"/>
                  </a:lnTo>
                  <a:lnTo>
                    <a:pt x="5056" y="471"/>
                  </a:lnTo>
                  <a:lnTo>
                    <a:pt x="5081" y="437"/>
                  </a:lnTo>
                  <a:lnTo>
                    <a:pt x="5109" y="406"/>
                  </a:lnTo>
                  <a:lnTo>
                    <a:pt x="5131" y="378"/>
                  </a:lnTo>
                  <a:lnTo>
                    <a:pt x="5153" y="356"/>
                  </a:lnTo>
                  <a:lnTo>
                    <a:pt x="5178" y="328"/>
                  </a:lnTo>
                  <a:lnTo>
                    <a:pt x="5206" y="303"/>
                  </a:lnTo>
                  <a:lnTo>
                    <a:pt x="5231" y="287"/>
                  </a:lnTo>
                  <a:lnTo>
                    <a:pt x="5256" y="284"/>
                  </a:lnTo>
                  <a:lnTo>
                    <a:pt x="5284" y="287"/>
                  </a:lnTo>
                  <a:lnTo>
                    <a:pt x="5309" y="293"/>
                  </a:lnTo>
                  <a:lnTo>
                    <a:pt x="5328" y="306"/>
                  </a:lnTo>
                  <a:lnTo>
                    <a:pt x="5331" y="309"/>
                  </a:lnTo>
                  <a:lnTo>
                    <a:pt x="5331" y="315"/>
                  </a:lnTo>
                  <a:lnTo>
                    <a:pt x="5331" y="325"/>
                  </a:lnTo>
                  <a:lnTo>
                    <a:pt x="5331" y="331"/>
                  </a:lnTo>
                  <a:lnTo>
                    <a:pt x="5331" y="337"/>
                  </a:lnTo>
                  <a:lnTo>
                    <a:pt x="5334" y="343"/>
                  </a:lnTo>
                  <a:lnTo>
                    <a:pt x="5353" y="359"/>
                  </a:lnTo>
                  <a:lnTo>
                    <a:pt x="5378" y="371"/>
                  </a:lnTo>
                  <a:lnTo>
                    <a:pt x="5406" y="381"/>
                  </a:lnTo>
                  <a:lnTo>
                    <a:pt x="5434" y="393"/>
                  </a:lnTo>
                  <a:lnTo>
                    <a:pt x="5453" y="406"/>
                  </a:lnTo>
                  <a:lnTo>
                    <a:pt x="5462" y="431"/>
                  </a:lnTo>
                  <a:lnTo>
                    <a:pt x="5471" y="462"/>
                  </a:lnTo>
                  <a:lnTo>
                    <a:pt x="5477" y="496"/>
                  </a:lnTo>
                  <a:lnTo>
                    <a:pt x="5484" y="521"/>
                  </a:lnTo>
                  <a:lnTo>
                    <a:pt x="5484" y="543"/>
                  </a:lnTo>
                  <a:lnTo>
                    <a:pt x="5484" y="568"/>
                  </a:lnTo>
                  <a:lnTo>
                    <a:pt x="5484" y="593"/>
                  </a:lnTo>
                  <a:lnTo>
                    <a:pt x="5493" y="609"/>
                  </a:lnTo>
                  <a:lnTo>
                    <a:pt x="5506" y="612"/>
                  </a:lnTo>
                  <a:lnTo>
                    <a:pt x="5524" y="612"/>
                  </a:lnTo>
                  <a:lnTo>
                    <a:pt x="5543" y="609"/>
                  </a:lnTo>
                  <a:lnTo>
                    <a:pt x="5556" y="612"/>
                  </a:lnTo>
                  <a:lnTo>
                    <a:pt x="5562" y="618"/>
                  </a:lnTo>
                  <a:lnTo>
                    <a:pt x="5571" y="624"/>
                  </a:lnTo>
                  <a:lnTo>
                    <a:pt x="5577" y="634"/>
                  </a:lnTo>
                  <a:lnTo>
                    <a:pt x="5584" y="643"/>
                  </a:lnTo>
                  <a:lnTo>
                    <a:pt x="5590" y="652"/>
                  </a:lnTo>
                  <a:lnTo>
                    <a:pt x="5593" y="662"/>
                  </a:lnTo>
                  <a:lnTo>
                    <a:pt x="5593" y="684"/>
                  </a:lnTo>
                  <a:lnTo>
                    <a:pt x="5590" y="709"/>
                  </a:lnTo>
                  <a:lnTo>
                    <a:pt x="5587" y="730"/>
                  </a:lnTo>
                  <a:lnTo>
                    <a:pt x="5587" y="755"/>
                  </a:lnTo>
                  <a:lnTo>
                    <a:pt x="5584" y="780"/>
                  </a:lnTo>
                  <a:lnTo>
                    <a:pt x="5584" y="809"/>
                  </a:lnTo>
                  <a:lnTo>
                    <a:pt x="5587" y="830"/>
                  </a:lnTo>
                  <a:lnTo>
                    <a:pt x="5593" y="837"/>
                  </a:lnTo>
                  <a:lnTo>
                    <a:pt x="5599" y="846"/>
                  </a:lnTo>
                  <a:lnTo>
                    <a:pt x="5609" y="852"/>
                  </a:lnTo>
                  <a:lnTo>
                    <a:pt x="5618" y="862"/>
                  </a:lnTo>
                  <a:lnTo>
                    <a:pt x="5624" y="868"/>
                  </a:lnTo>
                  <a:lnTo>
                    <a:pt x="5634" y="887"/>
                  </a:lnTo>
                  <a:lnTo>
                    <a:pt x="5649" y="912"/>
                  </a:lnTo>
                  <a:lnTo>
                    <a:pt x="5662" y="930"/>
                  </a:lnTo>
                  <a:lnTo>
                    <a:pt x="5668" y="937"/>
                  </a:lnTo>
                  <a:lnTo>
                    <a:pt x="5677" y="946"/>
                  </a:lnTo>
                  <a:lnTo>
                    <a:pt x="5687" y="952"/>
                  </a:lnTo>
                  <a:lnTo>
                    <a:pt x="5718" y="971"/>
                  </a:lnTo>
                  <a:lnTo>
                    <a:pt x="5740" y="990"/>
                  </a:lnTo>
                  <a:lnTo>
                    <a:pt x="5749" y="1008"/>
                  </a:lnTo>
                  <a:lnTo>
                    <a:pt x="5759" y="1033"/>
                  </a:lnTo>
                  <a:lnTo>
                    <a:pt x="5768" y="1058"/>
                  </a:lnTo>
                  <a:lnTo>
                    <a:pt x="5777" y="1080"/>
                  </a:lnTo>
                  <a:lnTo>
                    <a:pt x="5796" y="1096"/>
                  </a:lnTo>
                  <a:lnTo>
                    <a:pt x="5821" y="1115"/>
                  </a:lnTo>
                  <a:lnTo>
                    <a:pt x="5840" y="1133"/>
                  </a:lnTo>
                  <a:lnTo>
                    <a:pt x="5849" y="1152"/>
                  </a:lnTo>
                  <a:lnTo>
                    <a:pt x="5858" y="1177"/>
                  </a:lnTo>
                  <a:lnTo>
                    <a:pt x="5865" y="1202"/>
                  </a:lnTo>
                  <a:lnTo>
                    <a:pt x="5868" y="1224"/>
                  </a:lnTo>
                  <a:lnTo>
                    <a:pt x="5862" y="1243"/>
                  </a:lnTo>
                  <a:lnTo>
                    <a:pt x="5852" y="1264"/>
                  </a:lnTo>
                  <a:lnTo>
                    <a:pt x="5846" y="1286"/>
                  </a:lnTo>
                  <a:lnTo>
                    <a:pt x="5849" y="1311"/>
                  </a:lnTo>
                  <a:lnTo>
                    <a:pt x="5862" y="1339"/>
                  </a:lnTo>
                  <a:lnTo>
                    <a:pt x="5877" y="1364"/>
                  </a:lnTo>
                  <a:lnTo>
                    <a:pt x="5890" y="1386"/>
                  </a:lnTo>
                  <a:lnTo>
                    <a:pt x="5912" y="1399"/>
                  </a:lnTo>
                  <a:lnTo>
                    <a:pt x="5940" y="1411"/>
                  </a:lnTo>
                  <a:lnTo>
                    <a:pt x="5965" y="1424"/>
                  </a:lnTo>
                  <a:lnTo>
                    <a:pt x="5983" y="1436"/>
                  </a:lnTo>
                  <a:lnTo>
                    <a:pt x="5990" y="1455"/>
                  </a:lnTo>
                  <a:lnTo>
                    <a:pt x="5990" y="1480"/>
                  </a:lnTo>
                  <a:lnTo>
                    <a:pt x="5986" y="1505"/>
                  </a:lnTo>
                  <a:lnTo>
                    <a:pt x="5983" y="1527"/>
                  </a:lnTo>
                  <a:lnTo>
                    <a:pt x="5971" y="1545"/>
                  </a:lnTo>
                  <a:lnTo>
                    <a:pt x="5955" y="1564"/>
                  </a:lnTo>
                  <a:lnTo>
                    <a:pt x="5946" y="1583"/>
                  </a:lnTo>
                  <a:lnTo>
                    <a:pt x="5946" y="1602"/>
                  </a:lnTo>
                  <a:lnTo>
                    <a:pt x="5952" y="1624"/>
                  </a:lnTo>
                  <a:lnTo>
                    <a:pt x="5955" y="1645"/>
                  </a:lnTo>
                  <a:lnTo>
                    <a:pt x="5958" y="1664"/>
                  </a:lnTo>
                  <a:lnTo>
                    <a:pt x="5949" y="1686"/>
                  </a:lnTo>
                  <a:lnTo>
                    <a:pt x="5933" y="1711"/>
                  </a:lnTo>
                  <a:lnTo>
                    <a:pt x="5918" y="1736"/>
                  </a:lnTo>
                  <a:lnTo>
                    <a:pt x="5908" y="1758"/>
                  </a:lnTo>
                  <a:lnTo>
                    <a:pt x="5912" y="1786"/>
                  </a:lnTo>
                  <a:lnTo>
                    <a:pt x="5918" y="1817"/>
                  </a:lnTo>
                  <a:lnTo>
                    <a:pt x="5927" y="1842"/>
                  </a:lnTo>
                  <a:lnTo>
                    <a:pt x="5943" y="1867"/>
                  </a:lnTo>
                  <a:lnTo>
                    <a:pt x="5962" y="1892"/>
                  </a:lnTo>
                  <a:lnTo>
                    <a:pt x="5983" y="1908"/>
                  </a:lnTo>
                  <a:lnTo>
                    <a:pt x="6002" y="1911"/>
                  </a:lnTo>
                  <a:lnTo>
                    <a:pt x="6027" y="1908"/>
                  </a:lnTo>
                  <a:lnTo>
                    <a:pt x="6052" y="1905"/>
                  </a:lnTo>
                  <a:lnTo>
                    <a:pt x="6074" y="1908"/>
                  </a:lnTo>
                  <a:lnTo>
                    <a:pt x="6093" y="1920"/>
                  </a:lnTo>
                  <a:lnTo>
                    <a:pt x="6111" y="1936"/>
                  </a:lnTo>
                  <a:lnTo>
                    <a:pt x="6130" y="1958"/>
                  </a:lnTo>
                  <a:lnTo>
                    <a:pt x="6143" y="1976"/>
                  </a:lnTo>
                  <a:lnTo>
                    <a:pt x="6140" y="1989"/>
                  </a:lnTo>
                  <a:lnTo>
                    <a:pt x="6133" y="2008"/>
                  </a:lnTo>
                  <a:lnTo>
                    <a:pt x="6127" y="2023"/>
                  </a:lnTo>
                  <a:lnTo>
                    <a:pt x="6130" y="2036"/>
                  </a:lnTo>
                  <a:lnTo>
                    <a:pt x="6143" y="2045"/>
                  </a:lnTo>
                  <a:lnTo>
                    <a:pt x="6161" y="2054"/>
                  </a:lnTo>
                  <a:lnTo>
                    <a:pt x="6183" y="2058"/>
                  </a:lnTo>
                  <a:lnTo>
                    <a:pt x="6199" y="2058"/>
                  </a:lnTo>
                  <a:lnTo>
                    <a:pt x="6221" y="2051"/>
                  </a:lnTo>
                  <a:lnTo>
                    <a:pt x="6243" y="2039"/>
                  </a:lnTo>
                  <a:lnTo>
                    <a:pt x="6264" y="2029"/>
                  </a:lnTo>
                  <a:lnTo>
                    <a:pt x="6283" y="2033"/>
                  </a:lnTo>
                  <a:lnTo>
                    <a:pt x="6305" y="2039"/>
                  </a:lnTo>
                  <a:lnTo>
                    <a:pt x="6321" y="2048"/>
                  </a:lnTo>
                  <a:lnTo>
                    <a:pt x="6324" y="2054"/>
                  </a:lnTo>
                  <a:lnTo>
                    <a:pt x="6324" y="2064"/>
                  </a:lnTo>
                  <a:lnTo>
                    <a:pt x="6327" y="2073"/>
                  </a:lnTo>
                  <a:lnTo>
                    <a:pt x="6324" y="2083"/>
                  </a:lnTo>
                  <a:lnTo>
                    <a:pt x="6324" y="2089"/>
                  </a:lnTo>
                  <a:lnTo>
                    <a:pt x="6321" y="2095"/>
                  </a:lnTo>
                  <a:lnTo>
                    <a:pt x="6314" y="2101"/>
                  </a:lnTo>
                  <a:lnTo>
                    <a:pt x="6308" y="2104"/>
                  </a:lnTo>
                  <a:lnTo>
                    <a:pt x="6299" y="2111"/>
                  </a:lnTo>
                  <a:lnTo>
                    <a:pt x="6289" y="2114"/>
                  </a:lnTo>
                  <a:lnTo>
                    <a:pt x="6283" y="2117"/>
                  </a:lnTo>
                  <a:lnTo>
                    <a:pt x="6277" y="2123"/>
                  </a:lnTo>
                  <a:lnTo>
                    <a:pt x="6274" y="2139"/>
                  </a:lnTo>
                  <a:lnTo>
                    <a:pt x="6277" y="2157"/>
                  </a:lnTo>
                  <a:lnTo>
                    <a:pt x="6274" y="2176"/>
                  </a:lnTo>
                  <a:lnTo>
                    <a:pt x="6264" y="2186"/>
                  </a:lnTo>
                  <a:lnTo>
                    <a:pt x="6246" y="2198"/>
                  </a:lnTo>
                  <a:lnTo>
                    <a:pt x="6230" y="2211"/>
                  </a:lnTo>
                  <a:lnTo>
                    <a:pt x="6221" y="2223"/>
                  </a:lnTo>
                  <a:lnTo>
                    <a:pt x="6224" y="2242"/>
                  </a:lnTo>
                  <a:lnTo>
                    <a:pt x="6233" y="2270"/>
                  </a:lnTo>
                  <a:lnTo>
                    <a:pt x="6246" y="2295"/>
                  </a:lnTo>
                  <a:lnTo>
                    <a:pt x="6264" y="2317"/>
                  </a:lnTo>
                  <a:lnTo>
                    <a:pt x="6283" y="2332"/>
                  </a:lnTo>
                  <a:lnTo>
                    <a:pt x="6299" y="2335"/>
                  </a:lnTo>
                  <a:lnTo>
                    <a:pt x="6321" y="2332"/>
                  </a:lnTo>
                  <a:lnTo>
                    <a:pt x="6346" y="2329"/>
                  </a:lnTo>
                  <a:lnTo>
                    <a:pt x="6364" y="2332"/>
                  </a:lnTo>
                  <a:lnTo>
                    <a:pt x="6386" y="2342"/>
                  </a:lnTo>
                  <a:lnTo>
                    <a:pt x="6408" y="2354"/>
                  </a:lnTo>
                  <a:lnTo>
                    <a:pt x="6427" y="2367"/>
                  </a:lnTo>
                  <a:lnTo>
                    <a:pt x="6449" y="2379"/>
                  </a:lnTo>
                  <a:lnTo>
                    <a:pt x="6474" y="2395"/>
                  </a:lnTo>
                  <a:lnTo>
                    <a:pt x="6495" y="2410"/>
                  </a:lnTo>
                  <a:lnTo>
                    <a:pt x="6508" y="2429"/>
                  </a:lnTo>
                  <a:lnTo>
                    <a:pt x="6508" y="2451"/>
                  </a:lnTo>
                  <a:lnTo>
                    <a:pt x="6502" y="2476"/>
                  </a:lnTo>
                  <a:lnTo>
                    <a:pt x="6489" y="2501"/>
                  </a:lnTo>
                  <a:lnTo>
                    <a:pt x="6477" y="2517"/>
                  </a:lnTo>
                  <a:lnTo>
                    <a:pt x="6458" y="2526"/>
                  </a:lnTo>
                  <a:lnTo>
                    <a:pt x="6433" y="2532"/>
                  </a:lnTo>
                  <a:lnTo>
                    <a:pt x="6408" y="2538"/>
                  </a:lnTo>
                  <a:lnTo>
                    <a:pt x="6383" y="2545"/>
                  </a:lnTo>
                  <a:lnTo>
                    <a:pt x="6367" y="2554"/>
                  </a:lnTo>
                  <a:lnTo>
                    <a:pt x="6364" y="2560"/>
                  </a:lnTo>
                  <a:lnTo>
                    <a:pt x="6361" y="2567"/>
                  </a:lnTo>
                  <a:lnTo>
                    <a:pt x="6361" y="2576"/>
                  </a:lnTo>
                  <a:lnTo>
                    <a:pt x="6361" y="2585"/>
                  </a:lnTo>
                  <a:lnTo>
                    <a:pt x="6361" y="2592"/>
                  </a:lnTo>
                  <a:lnTo>
                    <a:pt x="6352" y="2613"/>
                  </a:lnTo>
                  <a:lnTo>
                    <a:pt x="6339" y="2641"/>
                  </a:lnTo>
                  <a:lnTo>
                    <a:pt x="6327" y="2660"/>
                  </a:lnTo>
                  <a:lnTo>
                    <a:pt x="6324" y="2670"/>
                  </a:lnTo>
                  <a:lnTo>
                    <a:pt x="6314" y="2679"/>
                  </a:lnTo>
                  <a:lnTo>
                    <a:pt x="6305" y="2685"/>
                  </a:lnTo>
                  <a:lnTo>
                    <a:pt x="6299" y="2695"/>
                  </a:lnTo>
                  <a:lnTo>
                    <a:pt x="6289" y="2701"/>
                  </a:lnTo>
                  <a:lnTo>
                    <a:pt x="6264" y="2704"/>
                  </a:lnTo>
                  <a:lnTo>
                    <a:pt x="6233" y="2707"/>
                  </a:lnTo>
                  <a:lnTo>
                    <a:pt x="6202" y="2707"/>
                  </a:lnTo>
                  <a:lnTo>
                    <a:pt x="6177" y="2713"/>
                  </a:lnTo>
                  <a:lnTo>
                    <a:pt x="6171" y="2716"/>
                  </a:lnTo>
                  <a:lnTo>
                    <a:pt x="6161" y="2723"/>
                  </a:lnTo>
                  <a:lnTo>
                    <a:pt x="6155" y="2729"/>
                  </a:lnTo>
                  <a:lnTo>
                    <a:pt x="6149" y="2735"/>
                  </a:lnTo>
                  <a:lnTo>
                    <a:pt x="6146" y="2754"/>
                  </a:lnTo>
                  <a:lnTo>
                    <a:pt x="6149" y="2776"/>
                  </a:lnTo>
                  <a:lnTo>
                    <a:pt x="6152" y="2804"/>
                  </a:lnTo>
                  <a:lnTo>
                    <a:pt x="6152" y="2826"/>
                  </a:lnTo>
                  <a:lnTo>
                    <a:pt x="6149" y="2844"/>
                  </a:lnTo>
                  <a:lnTo>
                    <a:pt x="6143" y="2854"/>
                  </a:lnTo>
                  <a:lnTo>
                    <a:pt x="6133" y="2863"/>
                  </a:lnTo>
                  <a:lnTo>
                    <a:pt x="6124" y="2873"/>
                  </a:lnTo>
                  <a:lnTo>
                    <a:pt x="6111" y="2879"/>
                  </a:lnTo>
                  <a:lnTo>
                    <a:pt x="6102" y="2885"/>
                  </a:lnTo>
                  <a:lnTo>
                    <a:pt x="6083" y="2894"/>
                  </a:lnTo>
                  <a:lnTo>
                    <a:pt x="6061" y="2904"/>
                  </a:lnTo>
                  <a:lnTo>
                    <a:pt x="6036" y="2907"/>
                  </a:lnTo>
                  <a:lnTo>
                    <a:pt x="6018" y="2910"/>
                  </a:lnTo>
                  <a:lnTo>
                    <a:pt x="5990" y="2901"/>
                  </a:lnTo>
                  <a:lnTo>
                    <a:pt x="5962" y="2882"/>
                  </a:lnTo>
                  <a:lnTo>
                    <a:pt x="5933" y="2863"/>
                  </a:lnTo>
                  <a:lnTo>
                    <a:pt x="5905" y="2851"/>
                  </a:lnTo>
                  <a:lnTo>
                    <a:pt x="5887" y="2848"/>
                  </a:lnTo>
                  <a:lnTo>
                    <a:pt x="5865" y="2844"/>
                  </a:lnTo>
                  <a:lnTo>
                    <a:pt x="5843" y="2844"/>
                  </a:lnTo>
                  <a:lnTo>
                    <a:pt x="5827" y="2851"/>
                  </a:lnTo>
                  <a:lnTo>
                    <a:pt x="5821" y="2863"/>
                  </a:lnTo>
                  <a:lnTo>
                    <a:pt x="5821" y="2885"/>
                  </a:lnTo>
                  <a:lnTo>
                    <a:pt x="5821" y="2907"/>
                  </a:lnTo>
                  <a:lnTo>
                    <a:pt x="5821" y="2926"/>
                  </a:lnTo>
                  <a:lnTo>
                    <a:pt x="5809" y="2941"/>
                  </a:lnTo>
                  <a:lnTo>
                    <a:pt x="5793" y="2960"/>
                  </a:lnTo>
                  <a:lnTo>
                    <a:pt x="5787" y="2979"/>
                  </a:lnTo>
                  <a:lnTo>
                    <a:pt x="5793" y="2997"/>
                  </a:lnTo>
                  <a:lnTo>
                    <a:pt x="5805" y="3019"/>
                  </a:lnTo>
                  <a:lnTo>
                    <a:pt x="5824" y="3041"/>
                  </a:lnTo>
                  <a:lnTo>
                    <a:pt x="5833" y="3063"/>
                  </a:lnTo>
                  <a:lnTo>
                    <a:pt x="5837" y="3085"/>
                  </a:lnTo>
                  <a:lnTo>
                    <a:pt x="5833" y="3110"/>
                  </a:lnTo>
                  <a:lnTo>
                    <a:pt x="5833" y="3135"/>
                  </a:lnTo>
                  <a:lnTo>
                    <a:pt x="5830" y="3144"/>
                  </a:lnTo>
                  <a:lnTo>
                    <a:pt x="5827" y="3154"/>
                  </a:lnTo>
                  <a:lnTo>
                    <a:pt x="5824" y="3166"/>
                  </a:lnTo>
                  <a:lnTo>
                    <a:pt x="5818" y="3175"/>
                  </a:lnTo>
                  <a:lnTo>
                    <a:pt x="5812" y="3182"/>
                  </a:lnTo>
                  <a:lnTo>
                    <a:pt x="5796" y="3188"/>
                  </a:lnTo>
                  <a:lnTo>
                    <a:pt x="5777" y="3185"/>
                  </a:lnTo>
                  <a:lnTo>
                    <a:pt x="5755" y="3185"/>
                  </a:lnTo>
                  <a:lnTo>
                    <a:pt x="5737" y="3182"/>
                  </a:lnTo>
                  <a:lnTo>
                    <a:pt x="5718" y="3182"/>
                  </a:lnTo>
                  <a:lnTo>
                    <a:pt x="5690" y="3179"/>
                  </a:lnTo>
                  <a:lnTo>
                    <a:pt x="5665" y="3179"/>
                  </a:lnTo>
                  <a:lnTo>
                    <a:pt x="5646" y="3182"/>
                  </a:lnTo>
                  <a:lnTo>
                    <a:pt x="5624" y="3204"/>
                  </a:lnTo>
                  <a:lnTo>
                    <a:pt x="5602" y="3235"/>
                  </a:lnTo>
                  <a:lnTo>
                    <a:pt x="5581" y="3269"/>
                  </a:lnTo>
                  <a:lnTo>
                    <a:pt x="5559" y="3291"/>
                  </a:lnTo>
                  <a:lnTo>
                    <a:pt x="5534" y="3303"/>
                  </a:lnTo>
                  <a:lnTo>
                    <a:pt x="5502" y="3313"/>
                  </a:lnTo>
                  <a:lnTo>
                    <a:pt x="5474" y="3319"/>
                  </a:lnTo>
                  <a:lnTo>
                    <a:pt x="5453" y="3322"/>
                  </a:lnTo>
                  <a:lnTo>
                    <a:pt x="5428" y="3325"/>
                  </a:lnTo>
                  <a:lnTo>
                    <a:pt x="5406" y="3332"/>
                  </a:lnTo>
                  <a:lnTo>
                    <a:pt x="5393" y="3347"/>
                  </a:lnTo>
                  <a:lnTo>
                    <a:pt x="5381" y="3369"/>
                  </a:lnTo>
                  <a:lnTo>
                    <a:pt x="5368" y="3388"/>
                  </a:lnTo>
                  <a:lnTo>
                    <a:pt x="5356" y="3400"/>
                  </a:lnTo>
                  <a:lnTo>
                    <a:pt x="5334" y="3400"/>
                  </a:lnTo>
                  <a:lnTo>
                    <a:pt x="5309" y="3397"/>
                  </a:lnTo>
                  <a:lnTo>
                    <a:pt x="5284" y="3388"/>
                  </a:lnTo>
                  <a:lnTo>
                    <a:pt x="5259" y="3375"/>
                  </a:lnTo>
                  <a:lnTo>
                    <a:pt x="5243" y="3363"/>
                  </a:lnTo>
                  <a:lnTo>
                    <a:pt x="5237" y="3360"/>
                  </a:lnTo>
                  <a:lnTo>
                    <a:pt x="5234" y="3350"/>
                  </a:lnTo>
                  <a:lnTo>
                    <a:pt x="5231" y="3344"/>
                  </a:lnTo>
                  <a:lnTo>
                    <a:pt x="5231" y="3335"/>
                  </a:lnTo>
                  <a:lnTo>
                    <a:pt x="5225" y="3328"/>
                  </a:lnTo>
                  <a:lnTo>
                    <a:pt x="5221" y="3322"/>
                  </a:lnTo>
                  <a:lnTo>
                    <a:pt x="5193" y="3313"/>
                  </a:lnTo>
                  <a:lnTo>
                    <a:pt x="5159" y="3307"/>
                  </a:lnTo>
                  <a:lnTo>
                    <a:pt x="5118" y="3303"/>
                  </a:lnTo>
                  <a:lnTo>
                    <a:pt x="5084" y="3310"/>
                  </a:lnTo>
                  <a:lnTo>
                    <a:pt x="5059" y="3322"/>
                  </a:lnTo>
                  <a:lnTo>
                    <a:pt x="5053" y="3338"/>
                  </a:lnTo>
                  <a:lnTo>
                    <a:pt x="5053" y="3360"/>
                  </a:lnTo>
                  <a:lnTo>
                    <a:pt x="5056" y="3382"/>
                  </a:lnTo>
                  <a:lnTo>
                    <a:pt x="5059" y="3400"/>
                  </a:lnTo>
                  <a:lnTo>
                    <a:pt x="5062" y="3425"/>
                  </a:lnTo>
                  <a:lnTo>
                    <a:pt x="5068" y="3456"/>
                  </a:lnTo>
                  <a:lnTo>
                    <a:pt x="5075" y="3481"/>
                  </a:lnTo>
                  <a:lnTo>
                    <a:pt x="5072" y="3500"/>
                  </a:lnTo>
                  <a:lnTo>
                    <a:pt x="5072" y="3522"/>
                  </a:lnTo>
                  <a:lnTo>
                    <a:pt x="5075" y="3544"/>
                  </a:lnTo>
                  <a:lnTo>
                    <a:pt x="5084" y="3563"/>
                  </a:lnTo>
                  <a:lnTo>
                    <a:pt x="5100" y="3581"/>
                  </a:lnTo>
                  <a:lnTo>
                    <a:pt x="5112" y="3600"/>
                  </a:lnTo>
                  <a:lnTo>
                    <a:pt x="5125" y="3625"/>
                  </a:lnTo>
                  <a:lnTo>
                    <a:pt x="5140" y="3656"/>
                  </a:lnTo>
                  <a:lnTo>
                    <a:pt x="5156" y="3688"/>
                  </a:lnTo>
                  <a:lnTo>
                    <a:pt x="5162" y="3719"/>
                  </a:lnTo>
                  <a:lnTo>
                    <a:pt x="5159" y="3744"/>
                  </a:lnTo>
                  <a:lnTo>
                    <a:pt x="5150" y="3756"/>
                  </a:lnTo>
                  <a:lnTo>
                    <a:pt x="5128" y="3762"/>
                  </a:lnTo>
                  <a:lnTo>
                    <a:pt x="5106" y="3772"/>
                  </a:lnTo>
                  <a:lnTo>
                    <a:pt x="5090" y="3778"/>
                  </a:lnTo>
                  <a:lnTo>
                    <a:pt x="5072" y="3794"/>
                  </a:lnTo>
                  <a:lnTo>
                    <a:pt x="5053" y="3816"/>
                  </a:lnTo>
                  <a:lnTo>
                    <a:pt x="5034" y="3828"/>
                  </a:lnTo>
                  <a:lnTo>
                    <a:pt x="5028" y="3831"/>
                  </a:lnTo>
                  <a:lnTo>
                    <a:pt x="5018" y="3831"/>
                  </a:lnTo>
                  <a:lnTo>
                    <a:pt x="5006" y="3831"/>
                  </a:lnTo>
                  <a:lnTo>
                    <a:pt x="5000" y="3828"/>
                  </a:lnTo>
                  <a:lnTo>
                    <a:pt x="4975" y="3819"/>
                  </a:lnTo>
                  <a:lnTo>
                    <a:pt x="4947" y="3806"/>
                  </a:lnTo>
                  <a:lnTo>
                    <a:pt x="4922" y="3797"/>
                  </a:lnTo>
                  <a:lnTo>
                    <a:pt x="4887" y="3794"/>
                  </a:lnTo>
                  <a:lnTo>
                    <a:pt x="4847" y="3794"/>
                  </a:lnTo>
                  <a:lnTo>
                    <a:pt x="4812" y="3797"/>
                  </a:lnTo>
                  <a:lnTo>
                    <a:pt x="4784" y="3803"/>
                  </a:lnTo>
                  <a:lnTo>
                    <a:pt x="4747" y="3812"/>
                  </a:lnTo>
                  <a:lnTo>
                    <a:pt x="4712" y="3822"/>
                  </a:lnTo>
                  <a:lnTo>
                    <a:pt x="4681" y="3828"/>
                  </a:lnTo>
                  <a:lnTo>
                    <a:pt x="4647" y="3828"/>
                  </a:lnTo>
                  <a:lnTo>
                    <a:pt x="4603" y="3822"/>
                  </a:lnTo>
                  <a:lnTo>
                    <a:pt x="4559" y="3812"/>
                  </a:lnTo>
                  <a:lnTo>
                    <a:pt x="4525" y="3806"/>
                  </a:lnTo>
                  <a:lnTo>
                    <a:pt x="4503" y="3800"/>
                  </a:lnTo>
                  <a:lnTo>
                    <a:pt x="4478" y="3791"/>
                  </a:lnTo>
                  <a:lnTo>
                    <a:pt x="4456" y="3787"/>
                  </a:lnTo>
                  <a:lnTo>
                    <a:pt x="4450" y="3791"/>
                  </a:lnTo>
                  <a:lnTo>
                    <a:pt x="4441" y="3791"/>
                  </a:lnTo>
                  <a:lnTo>
                    <a:pt x="4435" y="3797"/>
                  </a:lnTo>
                  <a:lnTo>
                    <a:pt x="4425" y="3800"/>
                  </a:lnTo>
                  <a:lnTo>
                    <a:pt x="4422" y="3806"/>
                  </a:lnTo>
                  <a:lnTo>
                    <a:pt x="4422" y="3822"/>
                  </a:lnTo>
                  <a:lnTo>
                    <a:pt x="4428" y="3844"/>
                  </a:lnTo>
                  <a:lnTo>
                    <a:pt x="4438" y="3866"/>
                  </a:lnTo>
                  <a:lnTo>
                    <a:pt x="4441" y="3884"/>
                  </a:lnTo>
                  <a:lnTo>
                    <a:pt x="4438" y="3903"/>
                  </a:lnTo>
                  <a:lnTo>
                    <a:pt x="4435" y="3928"/>
                  </a:lnTo>
                  <a:lnTo>
                    <a:pt x="4428" y="3953"/>
                  </a:lnTo>
                  <a:lnTo>
                    <a:pt x="4419" y="3972"/>
                  </a:lnTo>
                  <a:lnTo>
                    <a:pt x="4406" y="3984"/>
                  </a:lnTo>
                  <a:lnTo>
                    <a:pt x="4400" y="3984"/>
                  </a:lnTo>
                  <a:lnTo>
                    <a:pt x="4394" y="3984"/>
                  </a:lnTo>
                  <a:lnTo>
                    <a:pt x="4388" y="3981"/>
                  </a:lnTo>
                  <a:lnTo>
                    <a:pt x="4381" y="3975"/>
                  </a:lnTo>
                  <a:lnTo>
                    <a:pt x="4375" y="3972"/>
                  </a:lnTo>
                  <a:lnTo>
                    <a:pt x="4372" y="3965"/>
                  </a:lnTo>
                  <a:lnTo>
                    <a:pt x="4369" y="3953"/>
                  </a:lnTo>
                  <a:lnTo>
                    <a:pt x="4369" y="3931"/>
                  </a:lnTo>
                  <a:lnTo>
                    <a:pt x="4372" y="3912"/>
                  </a:lnTo>
                  <a:lnTo>
                    <a:pt x="4369" y="3897"/>
                  </a:lnTo>
                  <a:lnTo>
                    <a:pt x="4363" y="3894"/>
                  </a:lnTo>
                  <a:lnTo>
                    <a:pt x="4353" y="3890"/>
                  </a:lnTo>
                  <a:lnTo>
                    <a:pt x="4344" y="3887"/>
                  </a:lnTo>
                  <a:lnTo>
                    <a:pt x="4331" y="3887"/>
                  </a:lnTo>
                  <a:lnTo>
                    <a:pt x="4325" y="3887"/>
                  </a:lnTo>
                  <a:lnTo>
                    <a:pt x="4303" y="3890"/>
                  </a:lnTo>
                  <a:lnTo>
                    <a:pt x="4282" y="3894"/>
                  </a:lnTo>
                  <a:lnTo>
                    <a:pt x="4260" y="3897"/>
                  </a:lnTo>
                  <a:lnTo>
                    <a:pt x="4244" y="3903"/>
                  </a:lnTo>
                  <a:lnTo>
                    <a:pt x="4225" y="3912"/>
                  </a:lnTo>
                  <a:lnTo>
                    <a:pt x="4207" y="3919"/>
                  </a:lnTo>
                  <a:lnTo>
                    <a:pt x="4191" y="3922"/>
                  </a:lnTo>
                  <a:lnTo>
                    <a:pt x="4185" y="3919"/>
                  </a:lnTo>
                  <a:lnTo>
                    <a:pt x="4175" y="3912"/>
                  </a:lnTo>
                  <a:lnTo>
                    <a:pt x="4166" y="3903"/>
                  </a:lnTo>
                  <a:lnTo>
                    <a:pt x="4157" y="3897"/>
                  </a:lnTo>
                  <a:lnTo>
                    <a:pt x="4147" y="3890"/>
                  </a:lnTo>
                  <a:lnTo>
                    <a:pt x="4125" y="3875"/>
                  </a:lnTo>
                  <a:lnTo>
                    <a:pt x="4097" y="3859"/>
                  </a:lnTo>
                  <a:lnTo>
                    <a:pt x="4075" y="3847"/>
                  </a:lnTo>
                  <a:lnTo>
                    <a:pt x="4050" y="3841"/>
                  </a:lnTo>
                  <a:lnTo>
                    <a:pt x="4022" y="3837"/>
                  </a:lnTo>
                  <a:lnTo>
                    <a:pt x="3991" y="3834"/>
                  </a:lnTo>
                  <a:lnTo>
                    <a:pt x="3966" y="3837"/>
                  </a:lnTo>
                  <a:lnTo>
                    <a:pt x="3944" y="3844"/>
                  </a:lnTo>
                  <a:lnTo>
                    <a:pt x="3941" y="3850"/>
                  </a:lnTo>
                  <a:lnTo>
                    <a:pt x="3938" y="3856"/>
                  </a:lnTo>
                  <a:lnTo>
                    <a:pt x="3938" y="3862"/>
                  </a:lnTo>
                  <a:lnTo>
                    <a:pt x="3935" y="3872"/>
                  </a:lnTo>
                  <a:lnTo>
                    <a:pt x="3935" y="3881"/>
                  </a:lnTo>
                  <a:lnTo>
                    <a:pt x="3932" y="3884"/>
                  </a:lnTo>
                  <a:lnTo>
                    <a:pt x="3916" y="3897"/>
                  </a:lnTo>
                  <a:lnTo>
                    <a:pt x="3897" y="3909"/>
                  </a:lnTo>
                  <a:lnTo>
                    <a:pt x="3876" y="3915"/>
                  </a:lnTo>
                  <a:lnTo>
                    <a:pt x="3857" y="3915"/>
                  </a:lnTo>
                  <a:lnTo>
                    <a:pt x="3847" y="3903"/>
                  </a:lnTo>
                  <a:lnTo>
                    <a:pt x="3841" y="3881"/>
                  </a:lnTo>
                  <a:lnTo>
                    <a:pt x="3835" y="3856"/>
                  </a:lnTo>
                  <a:lnTo>
                    <a:pt x="3826" y="3841"/>
                  </a:lnTo>
                  <a:lnTo>
                    <a:pt x="3810" y="3831"/>
                  </a:lnTo>
                  <a:lnTo>
                    <a:pt x="3791" y="3822"/>
                  </a:lnTo>
                  <a:lnTo>
                    <a:pt x="3766" y="3819"/>
                  </a:lnTo>
                  <a:lnTo>
                    <a:pt x="3751" y="3819"/>
                  </a:lnTo>
                  <a:lnTo>
                    <a:pt x="3741" y="3822"/>
                  </a:lnTo>
                  <a:lnTo>
                    <a:pt x="3732" y="3828"/>
                  </a:lnTo>
                  <a:lnTo>
                    <a:pt x="3726" y="3837"/>
                  </a:lnTo>
                  <a:lnTo>
                    <a:pt x="3716" y="3847"/>
                  </a:lnTo>
                  <a:lnTo>
                    <a:pt x="3710" y="3856"/>
                  </a:lnTo>
                  <a:lnTo>
                    <a:pt x="3707" y="3866"/>
                  </a:lnTo>
                  <a:lnTo>
                    <a:pt x="3704" y="3881"/>
                  </a:lnTo>
                  <a:lnTo>
                    <a:pt x="3707" y="3903"/>
                  </a:lnTo>
                  <a:lnTo>
                    <a:pt x="3707" y="3925"/>
                  </a:lnTo>
                  <a:lnTo>
                    <a:pt x="3707" y="3944"/>
                  </a:lnTo>
                  <a:lnTo>
                    <a:pt x="3698" y="3962"/>
                  </a:lnTo>
                  <a:lnTo>
                    <a:pt x="3682" y="3984"/>
                  </a:lnTo>
                  <a:lnTo>
                    <a:pt x="3669" y="4000"/>
                  </a:lnTo>
                  <a:lnTo>
                    <a:pt x="3654" y="4009"/>
                  </a:lnTo>
                  <a:lnTo>
                    <a:pt x="3632" y="4022"/>
                  </a:lnTo>
                  <a:lnTo>
                    <a:pt x="3616" y="4031"/>
                  </a:lnTo>
                  <a:lnTo>
                    <a:pt x="3598" y="4040"/>
                  </a:lnTo>
                  <a:lnTo>
                    <a:pt x="3573" y="4053"/>
                  </a:lnTo>
                  <a:lnTo>
                    <a:pt x="3548" y="4068"/>
                  </a:lnTo>
                  <a:lnTo>
                    <a:pt x="3532" y="4084"/>
                  </a:lnTo>
                  <a:lnTo>
                    <a:pt x="3529" y="4097"/>
                  </a:lnTo>
                  <a:lnTo>
                    <a:pt x="3532" y="4115"/>
                  </a:lnTo>
                  <a:lnTo>
                    <a:pt x="3532" y="4134"/>
                  </a:lnTo>
                  <a:lnTo>
                    <a:pt x="3532" y="4147"/>
                  </a:lnTo>
                  <a:lnTo>
                    <a:pt x="3526" y="4168"/>
                  </a:lnTo>
                  <a:lnTo>
                    <a:pt x="3516" y="4197"/>
                  </a:lnTo>
                  <a:lnTo>
                    <a:pt x="3504" y="4221"/>
                  </a:lnTo>
                  <a:lnTo>
                    <a:pt x="3501" y="4243"/>
                  </a:lnTo>
                  <a:lnTo>
                    <a:pt x="3501" y="4268"/>
                  </a:lnTo>
                  <a:lnTo>
                    <a:pt x="3504" y="4300"/>
                  </a:lnTo>
                  <a:lnTo>
                    <a:pt x="3510" y="4331"/>
                  </a:lnTo>
                  <a:lnTo>
                    <a:pt x="3516" y="4356"/>
                  </a:lnTo>
                  <a:lnTo>
                    <a:pt x="3529" y="4381"/>
                  </a:lnTo>
                  <a:lnTo>
                    <a:pt x="3541" y="4412"/>
                  </a:lnTo>
                  <a:lnTo>
                    <a:pt x="3557" y="4434"/>
                  </a:lnTo>
                  <a:lnTo>
                    <a:pt x="3576" y="4456"/>
                  </a:lnTo>
                  <a:lnTo>
                    <a:pt x="3601" y="4474"/>
                  </a:lnTo>
                  <a:lnTo>
                    <a:pt x="3623" y="4490"/>
                  </a:lnTo>
                  <a:lnTo>
                    <a:pt x="3648" y="4493"/>
                  </a:lnTo>
                  <a:lnTo>
                    <a:pt x="3679" y="4490"/>
                  </a:lnTo>
                  <a:lnTo>
                    <a:pt x="3710" y="4487"/>
                  </a:lnTo>
                  <a:lnTo>
                    <a:pt x="3735" y="4490"/>
                  </a:lnTo>
                  <a:lnTo>
                    <a:pt x="3744" y="4490"/>
                  </a:lnTo>
                  <a:lnTo>
                    <a:pt x="3754" y="4493"/>
                  </a:lnTo>
                  <a:lnTo>
                    <a:pt x="3766" y="4496"/>
                  </a:lnTo>
                  <a:lnTo>
                    <a:pt x="3776" y="4503"/>
                  </a:lnTo>
                  <a:lnTo>
                    <a:pt x="3782" y="4506"/>
                  </a:lnTo>
                  <a:lnTo>
                    <a:pt x="3785" y="4512"/>
                  </a:lnTo>
                  <a:lnTo>
                    <a:pt x="3788" y="4518"/>
                  </a:lnTo>
                  <a:lnTo>
                    <a:pt x="3791" y="4527"/>
                  </a:lnTo>
                  <a:lnTo>
                    <a:pt x="3791" y="4534"/>
                  </a:lnTo>
                  <a:lnTo>
                    <a:pt x="3794" y="4543"/>
                  </a:lnTo>
                  <a:lnTo>
                    <a:pt x="3797" y="4546"/>
                  </a:lnTo>
                  <a:lnTo>
                    <a:pt x="3816" y="4552"/>
                  </a:lnTo>
                  <a:lnTo>
                    <a:pt x="3841" y="4556"/>
                  </a:lnTo>
                  <a:lnTo>
                    <a:pt x="3866" y="4559"/>
                  </a:lnTo>
                  <a:lnTo>
                    <a:pt x="3885" y="4565"/>
                  </a:lnTo>
                  <a:lnTo>
                    <a:pt x="3894" y="4574"/>
                  </a:lnTo>
                  <a:lnTo>
                    <a:pt x="3897" y="4584"/>
                  </a:lnTo>
                  <a:lnTo>
                    <a:pt x="3904" y="4593"/>
                  </a:lnTo>
                  <a:lnTo>
                    <a:pt x="3907" y="4606"/>
                  </a:lnTo>
                  <a:lnTo>
                    <a:pt x="3910" y="4615"/>
                  </a:lnTo>
                  <a:lnTo>
                    <a:pt x="3910" y="4621"/>
                  </a:lnTo>
                  <a:lnTo>
                    <a:pt x="3910" y="4631"/>
                  </a:lnTo>
                  <a:lnTo>
                    <a:pt x="3910" y="4640"/>
                  </a:lnTo>
                  <a:lnTo>
                    <a:pt x="3907" y="4649"/>
                  </a:lnTo>
                  <a:lnTo>
                    <a:pt x="3907" y="4659"/>
                  </a:lnTo>
                  <a:lnTo>
                    <a:pt x="3916" y="4684"/>
                  </a:lnTo>
                  <a:lnTo>
                    <a:pt x="3929" y="4715"/>
                  </a:lnTo>
                  <a:lnTo>
                    <a:pt x="3938" y="4740"/>
                  </a:lnTo>
                  <a:lnTo>
                    <a:pt x="3947" y="4768"/>
                  </a:lnTo>
                  <a:lnTo>
                    <a:pt x="3954" y="4793"/>
                  </a:lnTo>
                  <a:lnTo>
                    <a:pt x="3966" y="4812"/>
                  </a:lnTo>
                  <a:lnTo>
                    <a:pt x="3979" y="4830"/>
                  </a:lnTo>
                  <a:lnTo>
                    <a:pt x="3988" y="4849"/>
                  </a:lnTo>
                  <a:lnTo>
                    <a:pt x="3991" y="4858"/>
                  </a:lnTo>
                  <a:lnTo>
                    <a:pt x="3991" y="4868"/>
                  </a:lnTo>
                  <a:lnTo>
                    <a:pt x="3991" y="4880"/>
                  </a:lnTo>
                  <a:lnTo>
                    <a:pt x="3991" y="4890"/>
                  </a:lnTo>
                  <a:lnTo>
                    <a:pt x="3988" y="4899"/>
                  </a:lnTo>
                  <a:lnTo>
                    <a:pt x="3985" y="4908"/>
                  </a:lnTo>
                  <a:lnTo>
                    <a:pt x="3982" y="4918"/>
                  </a:lnTo>
                  <a:lnTo>
                    <a:pt x="3979" y="4930"/>
                  </a:lnTo>
                  <a:lnTo>
                    <a:pt x="3972" y="4937"/>
                  </a:lnTo>
                  <a:lnTo>
                    <a:pt x="3963" y="4946"/>
                  </a:lnTo>
                  <a:lnTo>
                    <a:pt x="3954" y="4952"/>
                  </a:lnTo>
                  <a:lnTo>
                    <a:pt x="3941" y="4962"/>
                  </a:lnTo>
                  <a:lnTo>
                    <a:pt x="3932" y="4968"/>
                  </a:lnTo>
                  <a:lnTo>
                    <a:pt x="3926" y="4977"/>
                  </a:lnTo>
                  <a:lnTo>
                    <a:pt x="3922" y="4983"/>
                  </a:lnTo>
                  <a:lnTo>
                    <a:pt x="3919" y="4990"/>
                  </a:lnTo>
                  <a:lnTo>
                    <a:pt x="3916" y="4999"/>
                  </a:lnTo>
                  <a:lnTo>
                    <a:pt x="3916" y="5005"/>
                  </a:lnTo>
                  <a:lnTo>
                    <a:pt x="3916" y="5011"/>
                  </a:lnTo>
                  <a:lnTo>
                    <a:pt x="3926" y="5024"/>
                  </a:lnTo>
                  <a:lnTo>
                    <a:pt x="3944" y="5033"/>
                  </a:lnTo>
                  <a:lnTo>
                    <a:pt x="3963" y="5043"/>
                  </a:lnTo>
                  <a:lnTo>
                    <a:pt x="3972" y="5052"/>
                  </a:lnTo>
                  <a:lnTo>
                    <a:pt x="3979" y="5074"/>
                  </a:lnTo>
                  <a:lnTo>
                    <a:pt x="3975" y="5099"/>
                  </a:lnTo>
                  <a:lnTo>
                    <a:pt x="3975" y="5124"/>
                  </a:lnTo>
                  <a:lnTo>
                    <a:pt x="3975" y="5130"/>
                  </a:lnTo>
                  <a:lnTo>
                    <a:pt x="3972" y="5136"/>
                  </a:lnTo>
                  <a:lnTo>
                    <a:pt x="3972" y="5143"/>
                  </a:lnTo>
                  <a:lnTo>
                    <a:pt x="3969" y="5149"/>
                  </a:lnTo>
                  <a:lnTo>
                    <a:pt x="3963" y="5152"/>
                  </a:lnTo>
                  <a:lnTo>
                    <a:pt x="3957" y="5155"/>
                  </a:lnTo>
                  <a:lnTo>
                    <a:pt x="3947" y="5155"/>
                  </a:lnTo>
                  <a:lnTo>
                    <a:pt x="3941" y="5158"/>
                  </a:lnTo>
                  <a:lnTo>
                    <a:pt x="3922" y="5155"/>
                  </a:lnTo>
                  <a:lnTo>
                    <a:pt x="3901" y="5155"/>
                  </a:lnTo>
                  <a:lnTo>
                    <a:pt x="3882" y="5158"/>
                  </a:lnTo>
                  <a:lnTo>
                    <a:pt x="3879" y="5161"/>
                  </a:lnTo>
                  <a:lnTo>
                    <a:pt x="3876" y="5168"/>
                  </a:lnTo>
                  <a:lnTo>
                    <a:pt x="3876" y="5177"/>
                  </a:lnTo>
                  <a:lnTo>
                    <a:pt x="3872" y="5186"/>
                  </a:lnTo>
                  <a:lnTo>
                    <a:pt x="3869" y="5193"/>
                  </a:lnTo>
                  <a:lnTo>
                    <a:pt x="3866" y="5196"/>
                  </a:lnTo>
                  <a:lnTo>
                    <a:pt x="3860" y="5199"/>
                  </a:lnTo>
                  <a:lnTo>
                    <a:pt x="3854" y="5199"/>
                  </a:lnTo>
                  <a:lnTo>
                    <a:pt x="3847" y="5196"/>
                  </a:lnTo>
                  <a:lnTo>
                    <a:pt x="3838" y="5196"/>
                  </a:lnTo>
                  <a:lnTo>
                    <a:pt x="3835" y="5196"/>
                  </a:lnTo>
                  <a:lnTo>
                    <a:pt x="3829" y="5202"/>
                  </a:lnTo>
                  <a:lnTo>
                    <a:pt x="3822" y="5208"/>
                  </a:lnTo>
                  <a:lnTo>
                    <a:pt x="3816" y="5214"/>
                  </a:lnTo>
                  <a:lnTo>
                    <a:pt x="3810" y="5221"/>
                  </a:lnTo>
                  <a:lnTo>
                    <a:pt x="3804" y="5230"/>
                  </a:lnTo>
                  <a:lnTo>
                    <a:pt x="3804" y="5236"/>
                  </a:lnTo>
                  <a:lnTo>
                    <a:pt x="3807" y="5252"/>
                  </a:lnTo>
                  <a:lnTo>
                    <a:pt x="3819" y="5264"/>
                  </a:lnTo>
                  <a:lnTo>
                    <a:pt x="3832" y="5280"/>
                  </a:lnTo>
                  <a:lnTo>
                    <a:pt x="3838" y="5296"/>
                  </a:lnTo>
                  <a:lnTo>
                    <a:pt x="3841" y="5311"/>
                  </a:lnTo>
                  <a:lnTo>
                    <a:pt x="3838" y="5333"/>
                  </a:lnTo>
                  <a:lnTo>
                    <a:pt x="3838" y="5352"/>
                  </a:lnTo>
                  <a:lnTo>
                    <a:pt x="3838" y="5371"/>
                  </a:lnTo>
                  <a:lnTo>
                    <a:pt x="3844" y="5392"/>
                  </a:lnTo>
                  <a:lnTo>
                    <a:pt x="3854" y="5411"/>
                  </a:lnTo>
                  <a:lnTo>
                    <a:pt x="3860" y="5414"/>
                  </a:lnTo>
                  <a:lnTo>
                    <a:pt x="3866" y="5417"/>
                  </a:lnTo>
                  <a:lnTo>
                    <a:pt x="3879" y="5421"/>
                  </a:lnTo>
                  <a:lnTo>
                    <a:pt x="3888" y="5424"/>
                  </a:lnTo>
                  <a:lnTo>
                    <a:pt x="3897" y="5427"/>
                  </a:lnTo>
                  <a:lnTo>
                    <a:pt x="3904" y="5430"/>
                  </a:lnTo>
                  <a:lnTo>
                    <a:pt x="3910" y="5439"/>
                  </a:lnTo>
                  <a:lnTo>
                    <a:pt x="3919" y="5449"/>
                  </a:lnTo>
                  <a:lnTo>
                    <a:pt x="3926" y="5461"/>
                  </a:lnTo>
                  <a:lnTo>
                    <a:pt x="3935" y="5471"/>
                  </a:lnTo>
                  <a:lnTo>
                    <a:pt x="3941" y="5477"/>
                  </a:lnTo>
                  <a:lnTo>
                    <a:pt x="3960" y="5480"/>
                  </a:lnTo>
                  <a:lnTo>
                    <a:pt x="3979" y="5480"/>
                  </a:lnTo>
                  <a:lnTo>
                    <a:pt x="3997" y="5477"/>
                  </a:lnTo>
                  <a:lnTo>
                    <a:pt x="4004" y="5471"/>
                  </a:lnTo>
                  <a:lnTo>
                    <a:pt x="4010" y="5467"/>
                  </a:lnTo>
                  <a:lnTo>
                    <a:pt x="4016" y="5458"/>
                  </a:lnTo>
                  <a:lnTo>
                    <a:pt x="4022" y="5455"/>
                  </a:lnTo>
                  <a:lnTo>
                    <a:pt x="4029" y="5449"/>
                  </a:lnTo>
                  <a:lnTo>
                    <a:pt x="4050" y="5446"/>
                  </a:lnTo>
                  <a:lnTo>
                    <a:pt x="4072" y="5446"/>
                  </a:lnTo>
                  <a:lnTo>
                    <a:pt x="4094" y="5449"/>
                  </a:lnTo>
                  <a:lnTo>
                    <a:pt x="4113" y="5455"/>
                  </a:lnTo>
                  <a:lnTo>
                    <a:pt x="4138" y="5467"/>
                  </a:lnTo>
                  <a:lnTo>
                    <a:pt x="4153" y="5480"/>
                  </a:lnTo>
                  <a:lnTo>
                    <a:pt x="4160" y="5486"/>
                  </a:lnTo>
                  <a:lnTo>
                    <a:pt x="4163" y="5492"/>
                  </a:lnTo>
                  <a:lnTo>
                    <a:pt x="4166" y="5502"/>
                  </a:lnTo>
                  <a:lnTo>
                    <a:pt x="4169" y="5508"/>
                  </a:lnTo>
                  <a:lnTo>
                    <a:pt x="4172" y="5514"/>
                  </a:lnTo>
                  <a:lnTo>
                    <a:pt x="4191" y="5524"/>
                  </a:lnTo>
                  <a:lnTo>
                    <a:pt x="4219" y="5530"/>
                  </a:lnTo>
                  <a:lnTo>
                    <a:pt x="4238" y="5536"/>
                  </a:lnTo>
                  <a:lnTo>
                    <a:pt x="4244" y="5542"/>
                  </a:lnTo>
                  <a:lnTo>
                    <a:pt x="4250" y="5549"/>
                  </a:lnTo>
                  <a:lnTo>
                    <a:pt x="4257" y="5558"/>
                  </a:lnTo>
                  <a:lnTo>
                    <a:pt x="4263" y="5567"/>
                  </a:lnTo>
                  <a:lnTo>
                    <a:pt x="4266" y="5574"/>
                  </a:lnTo>
                  <a:lnTo>
                    <a:pt x="4266" y="5583"/>
                  </a:lnTo>
                  <a:lnTo>
                    <a:pt x="4266" y="5589"/>
                  </a:lnTo>
                  <a:lnTo>
                    <a:pt x="4260" y="5595"/>
                  </a:lnTo>
                  <a:lnTo>
                    <a:pt x="4250" y="5602"/>
                  </a:lnTo>
                  <a:lnTo>
                    <a:pt x="4244" y="5608"/>
                  </a:lnTo>
                  <a:lnTo>
                    <a:pt x="4235" y="5611"/>
                  </a:lnTo>
                  <a:lnTo>
                    <a:pt x="4228" y="5617"/>
                  </a:lnTo>
                  <a:lnTo>
                    <a:pt x="4213" y="5624"/>
                  </a:lnTo>
                  <a:lnTo>
                    <a:pt x="4194" y="5630"/>
                  </a:lnTo>
                  <a:lnTo>
                    <a:pt x="4175" y="5633"/>
                  </a:lnTo>
                  <a:lnTo>
                    <a:pt x="4157" y="5630"/>
                  </a:lnTo>
                  <a:lnTo>
                    <a:pt x="4132" y="5617"/>
                  </a:lnTo>
                  <a:lnTo>
                    <a:pt x="4110" y="5611"/>
                  </a:lnTo>
                  <a:lnTo>
                    <a:pt x="4091" y="5608"/>
                  </a:lnTo>
                  <a:lnTo>
                    <a:pt x="4066" y="5605"/>
                  </a:lnTo>
                  <a:lnTo>
                    <a:pt x="4044" y="5605"/>
                  </a:lnTo>
                  <a:lnTo>
                    <a:pt x="4025" y="5611"/>
                  </a:lnTo>
                  <a:lnTo>
                    <a:pt x="4019" y="5614"/>
                  </a:lnTo>
                  <a:lnTo>
                    <a:pt x="4016" y="5620"/>
                  </a:lnTo>
                  <a:lnTo>
                    <a:pt x="4013" y="5627"/>
                  </a:lnTo>
                  <a:lnTo>
                    <a:pt x="4010" y="5636"/>
                  </a:lnTo>
                  <a:lnTo>
                    <a:pt x="4007" y="5639"/>
                  </a:lnTo>
                  <a:lnTo>
                    <a:pt x="3985" y="5661"/>
                  </a:lnTo>
                  <a:lnTo>
                    <a:pt x="3957" y="5683"/>
                  </a:lnTo>
                  <a:lnTo>
                    <a:pt x="3935" y="5702"/>
                  </a:lnTo>
                  <a:lnTo>
                    <a:pt x="3935" y="5720"/>
                  </a:lnTo>
                  <a:lnTo>
                    <a:pt x="3935" y="5739"/>
                  </a:lnTo>
                  <a:lnTo>
                    <a:pt x="3935" y="5758"/>
                  </a:lnTo>
                  <a:lnTo>
                    <a:pt x="3932" y="5777"/>
                  </a:lnTo>
                  <a:lnTo>
                    <a:pt x="3929" y="5798"/>
                  </a:lnTo>
                  <a:lnTo>
                    <a:pt x="3919" y="5814"/>
                  </a:lnTo>
                  <a:lnTo>
                    <a:pt x="3913" y="5817"/>
                  </a:lnTo>
                  <a:lnTo>
                    <a:pt x="3907" y="5817"/>
                  </a:lnTo>
                  <a:lnTo>
                    <a:pt x="3901" y="5814"/>
                  </a:lnTo>
                  <a:lnTo>
                    <a:pt x="3891" y="5814"/>
                  </a:lnTo>
                  <a:lnTo>
                    <a:pt x="3885" y="5814"/>
                  </a:lnTo>
                  <a:lnTo>
                    <a:pt x="3879" y="5814"/>
                  </a:lnTo>
                  <a:lnTo>
                    <a:pt x="3869" y="5817"/>
                  </a:lnTo>
                  <a:lnTo>
                    <a:pt x="3863" y="5826"/>
                  </a:lnTo>
                  <a:lnTo>
                    <a:pt x="3854" y="5833"/>
                  </a:lnTo>
                  <a:lnTo>
                    <a:pt x="3844" y="5839"/>
                  </a:lnTo>
                  <a:lnTo>
                    <a:pt x="3838" y="5842"/>
                  </a:lnTo>
                  <a:lnTo>
                    <a:pt x="3819" y="5842"/>
                  </a:lnTo>
                  <a:lnTo>
                    <a:pt x="3797" y="5833"/>
                  </a:lnTo>
                  <a:lnTo>
                    <a:pt x="3782" y="5823"/>
                  </a:lnTo>
                  <a:lnTo>
                    <a:pt x="3760" y="5817"/>
                  </a:lnTo>
                  <a:lnTo>
                    <a:pt x="3738" y="5808"/>
                  </a:lnTo>
                  <a:lnTo>
                    <a:pt x="3716" y="5802"/>
                  </a:lnTo>
                  <a:lnTo>
                    <a:pt x="3698" y="5805"/>
                  </a:lnTo>
                  <a:lnTo>
                    <a:pt x="3676" y="5811"/>
                  </a:lnTo>
                  <a:lnTo>
                    <a:pt x="3654" y="5817"/>
                  </a:lnTo>
                  <a:lnTo>
                    <a:pt x="3632" y="5823"/>
                  </a:lnTo>
                  <a:lnTo>
                    <a:pt x="3626" y="5826"/>
                  </a:lnTo>
                  <a:lnTo>
                    <a:pt x="3613" y="5830"/>
                  </a:lnTo>
                  <a:lnTo>
                    <a:pt x="3604" y="5833"/>
                  </a:lnTo>
                  <a:lnTo>
                    <a:pt x="3591" y="5836"/>
                  </a:lnTo>
                  <a:lnTo>
                    <a:pt x="3585" y="5836"/>
                  </a:lnTo>
                  <a:lnTo>
                    <a:pt x="3576" y="5836"/>
                  </a:lnTo>
                  <a:lnTo>
                    <a:pt x="3563" y="5836"/>
                  </a:lnTo>
                  <a:lnTo>
                    <a:pt x="3551" y="5833"/>
                  </a:lnTo>
                  <a:lnTo>
                    <a:pt x="3557" y="5826"/>
                  </a:lnTo>
                  <a:lnTo>
                    <a:pt x="3557" y="5820"/>
                  </a:lnTo>
                  <a:lnTo>
                    <a:pt x="3554" y="5814"/>
                  </a:lnTo>
                  <a:lnTo>
                    <a:pt x="3554" y="5805"/>
                  </a:lnTo>
                  <a:lnTo>
                    <a:pt x="3551" y="5795"/>
                  </a:lnTo>
                  <a:lnTo>
                    <a:pt x="3548" y="5789"/>
                  </a:lnTo>
                  <a:lnTo>
                    <a:pt x="3545" y="5780"/>
                  </a:lnTo>
                  <a:lnTo>
                    <a:pt x="3541" y="5761"/>
                  </a:lnTo>
                  <a:lnTo>
                    <a:pt x="3535" y="5739"/>
                  </a:lnTo>
                  <a:lnTo>
                    <a:pt x="3529" y="5714"/>
                  </a:lnTo>
                  <a:lnTo>
                    <a:pt x="3520" y="5698"/>
                  </a:lnTo>
                  <a:lnTo>
                    <a:pt x="3501" y="5686"/>
                  </a:lnTo>
                  <a:lnTo>
                    <a:pt x="3473" y="5680"/>
                  </a:lnTo>
                  <a:lnTo>
                    <a:pt x="3445" y="5673"/>
                  </a:lnTo>
                  <a:lnTo>
                    <a:pt x="3423" y="5677"/>
                  </a:lnTo>
                  <a:lnTo>
                    <a:pt x="3417" y="5680"/>
                  </a:lnTo>
                  <a:lnTo>
                    <a:pt x="3413" y="5686"/>
                  </a:lnTo>
                  <a:lnTo>
                    <a:pt x="3410" y="5692"/>
                  </a:lnTo>
                  <a:lnTo>
                    <a:pt x="3404" y="5695"/>
                  </a:lnTo>
                  <a:lnTo>
                    <a:pt x="3382" y="5705"/>
                  </a:lnTo>
                  <a:lnTo>
                    <a:pt x="3351" y="5708"/>
                  </a:lnTo>
                  <a:lnTo>
                    <a:pt x="3320" y="5711"/>
                  </a:lnTo>
                  <a:lnTo>
                    <a:pt x="3292" y="5708"/>
                  </a:lnTo>
                  <a:lnTo>
                    <a:pt x="3270" y="5698"/>
                  </a:lnTo>
                  <a:lnTo>
                    <a:pt x="3260" y="5683"/>
                  </a:lnTo>
                  <a:lnTo>
                    <a:pt x="3254" y="5661"/>
                  </a:lnTo>
                  <a:lnTo>
                    <a:pt x="3248" y="5636"/>
                  </a:lnTo>
                  <a:lnTo>
                    <a:pt x="3239" y="5620"/>
                  </a:lnTo>
                  <a:lnTo>
                    <a:pt x="3232" y="5617"/>
                  </a:lnTo>
                  <a:lnTo>
                    <a:pt x="3223" y="5617"/>
                  </a:lnTo>
                  <a:lnTo>
                    <a:pt x="3214" y="5617"/>
                  </a:lnTo>
                  <a:lnTo>
                    <a:pt x="3204" y="5617"/>
                  </a:lnTo>
                  <a:lnTo>
                    <a:pt x="3195" y="5620"/>
                  </a:lnTo>
                  <a:lnTo>
                    <a:pt x="3173" y="5624"/>
                  </a:lnTo>
                  <a:lnTo>
                    <a:pt x="3142" y="5630"/>
                  </a:lnTo>
                  <a:lnTo>
                    <a:pt x="3117" y="5636"/>
                  </a:lnTo>
                  <a:lnTo>
                    <a:pt x="3095" y="5649"/>
                  </a:lnTo>
                  <a:lnTo>
                    <a:pt x="3092" y="5655"/>
                  </a:lnTo>
                  <a:lnTo>
                    <a:pt x="3089" y="5661"/>
                  </a:lnTo>
                  <a:lnTo>
                    <a:pt x="3086" y="5670"/>
                  </a:lnTo>
                  <a:lnTo>
                    <a:pt x="3082" y="5680"/>
                  </a:lnTo>
                  <a:lnTo>
                    <a:pt x="3082" y="5689"/>
                  </a:lnTo>
                  <a:lnTo>
                    <a:pt x="3076" y="5695"/>
                  </a:lnTo>
                  <a:lnTo>
                    <a:pt x="3073" y="5705"/>
                  </a:lnTo>
                  <a:lnTo>
                    <a:pt x="3064" y="5711"/>
                  </a:lnTo>
                  <a:lnTo>
                    <a:pt x="3057" y="5720"/>
                  </a:lnTo>
                  <a:lnTo>
                    <a:pt x="3048" y="5727"/>
                  </a:lnTo>
                  <a:lnTo>
                    <a:pt x="3039" y="5733"/>
                  </a:lnTo>
                  <a:lnTo>
                    <a:pt x="3032" y="5736"/>
                  </a:lnTo>
                  <a:lnTo>
                    <a:pt x="3026" y="5736"/>
                  </a:lnTo>
                  <a:lnTo>
                    <a:pt x="3017" y="5733"/>
                  </a:lnTo>
                  <a:lnTo>
                    <a:pt x="3007" y="5730"/>
                  </a:lnTo>
                  <a:lnTo>
                    <a:pt x="3001" y="5727"/>
                  </a:lnTo>
                  <a:lnTo>
                    <a:pt x="2995" y="5723"/>
                  </a:lnTo>
                  <a:lnTo>
                    <a:pt x="2992" y="5720"/>
                  </a:lnTo>
                  <a:lnTo>
                    <a:pt x="2992" y="5708"/>
                  </a:lnTo>
                  <a:lnTo>
                    <a:pt x="2986" y="5689"/>
                  </a:lnTo>
                  <a:lnTo>
                    <a:pt x="2979" y="5664"/>
                  </a:lnTo>
                  <a:lnTo>
                    <a:pt x="2973" y="5639"/>
                  </a:lnTo>
                  <a:lnTo>
                    <a:pt x="2964" y="5620"/>
                  </a:lnTo>
                  <a:lnTo>
                    <a:pt x="2951" y="5599"/>
                  </a:lnTo>
                  <a:lnTo>
                    <a:pt x="2936" y="5574"/>
                  </a:lnTo>
                  <a:lnTo>
                    <a:pt x="2917" y="5552"/>
                  </a:lnTo>
                  <a:lnTo>
                    <a:pt x="2898" y="5533"/>
                  </a:lnTo>
                  <a:lnTo>
                    <a:pt x="2879" y="5517"/>
                  </a:lnTo>
                  <a:lnTo>
                    <a:pt x="2851" y="5499"/>
                  </a:lnTo>
                  <a:lnTo>
                    <a:pt x="2826" y="5483"/>
                  </a:lnTo>
                  <a:lnTo>
                    <a:pt x="2801" y="5477"/>
                  </a:lnTo>
                  <a:lnTo>
                    <a:pt x="2786" y="5483"/>
                  </a:lnTo>
                  <a:lnTo>
                    <a:pt x="2764" y="5492"/>
                  </a:lnTo>
                  <a:lnTo>
                    <a:pt x="2748" y="5499"/>
                  </a:lnTo>
                  <a:lnTo>
                    <a:pt x="2726" y="5489"/>
                  </a:lnTo>
                  <a:lnTo>
                    <a:pt x="2701" y="5471"/>
                  </a:lnTo>
                  <a:lnTo>
                    <a:pt x="2676" y="5452"/>
                  </a:lnTo>
                  <a:lnTo>
                    <a:pt x="2655" y="5442"/>
                  </a:lnTo>
                  <a:lnTo>
                    <a:pt x="2642" y="5449"/>
                  </a:lnTo>
                  <a:lnTo>
                    <a:pt x="2623" y="5464"/>
                  </a:lnTo>
                  <a:lnTo>
                    <a:pt x="2608" y="5477"/>
                  </a:lnTo>
                  <a:lnTo>
                    <a:pt x="2592" y="5483"/>
                  </a:lnTo>
                  <a:lnTo>
                    <a:pt x="2570" y="5480"/>
                  </a:lnTo>
                  <a:lnTo>
                    <a:pt x="2542" y="5471"/>
                  </a:lnTo>
                  <a:lnTo>
                    <a:pt x="2523" y="5458"/>
                  </a:lnTo>
                  <a:lnTo>
                    <a:pt x="2505" y="5442"/>
                  </a:lnTo>
                  <a:lnTo>
                    <a:pt x="2489" y="5417"/>
                  </a:lnTo>
                  <a:lnTo>
                    <a:pt x="2470" y="5389"/>
                  </a:lnTo>
                  <a:lnTo>
                    <a:pt x="2458" y="5371"/>
                  </a:lnTo>
                  <a:lnTo>
                    <a:pt x="2452" y="5361"/>
                  </a:lnTo>
                  <a:lnTo>
                    <a:pt x="2442" y="5352"/>
                  </a:lnTo>
                  <a:lnTo>
                    <a:pt x="2436" y="5342"/>
                  </a:lnTo>
                  <a:lnTo>
                    <a:pt x="2430" y="5333"/>
                  </a:lnTo>
                  <a:lnTo>
                    <a:pt x="2420" y="5327"/>
                  </a:lnTo>
                  <a:lnTo>
                    <a:pt x="2399" y="5314"/>
                  </a:lnTo>
                  <a:lnTo>
                    <a:pt x="2367" y="5302"/>
                  </a:lnTo>
                  <a:lnTo>
                    <a:pt x="2342" y="5296"/>
                  </a:lnTo>
                  <a:lnTo>
                    <a:pt x="2311" y="5289"/>
                  </a:lnTo>
                  <a:lnTo>
                    <a:pt x="2277" y="5289"/>
                  </a:lnTo>
                  <a:lnTo>
                    <a:pt x="2246" y="5286"/>
                  </a:lnTo>
                  <a:lnTo>
                    <a:pt x="2217" y="5293"/>
                  </a:lnTo>
                  <a:lnTo>
                    <a:pt x="2183" y="5299"/>
                  </a:lnTo>
                  <a:lnTo>
                    <a:pt x="2152" y="5305"/>
                  </a:lnTo>
                  <a:lnTo>
                    <a:pt x="2124" y="5302"/>
                  </a:lnTo>
                  <a:lnTo>
                    <a:pt x="2096" y="5289"/>
                  </a:lnTo>
                  <a:lnTo>
                    <a:pt x="2064" y="5268"/>
                  </a:lnTo>
                  <a:lnTo>
                    <a:pt x="2033" y="5243"/>
                  </a:lnTo>
                  <a:lnTo>
                    <a:pt x="2008" y="5221"/>
                  </a:lnTo>
                  <a:lnTo>
                    <a:pt x="1989" y="5208"/>
                  </a:lnTo>
                  <a:lnTo>
                    <a:pt x="1971" y="5193"/>
                  </a:lnTo>
                  <a:lnTo>
                    <a:pt x="1952" y="5177"/>
                  </a:lnTo>
                  <a:lnTo>
                    <a:pt x="1933" y="5168"/>
                  </a:lnTo>
                  <a:lnTo>
                    <a:pt x="1914" y="5165"/>
                  </a:lnTo>
                  <a:lnTo>
                    <a:pt x="1893" y="5168"/>
                  </a:lnTo>
                  <a:lnTo>
                    <a:pt x="1871" y="5168"/>
                  </a:lnTo>
                  <a:lnTo>
                    <a:pt x="1855" y="5168"/>
                  </a:lnTo>
                  <a:lnTo>
                    <a:pt x="1833" y="5158"/>
                  </a:lnTo>
                  <a:lnTo>
                    <a:pt x="1815" y="5146"/>
                  </a:lnTo>
                  <a:lnTo>
                    <a:pt x="1796" y="5136"/>
                  </a:lnTo>
                  <a:lnTo>
                    <a:pt x="1771" y="5133"/>
                  </a:lnTo>
                  <a:lnTo>
                    <a:pt x="1743" y="5130"/>
                  </a:lnTo>
                  <a:lnTo>
                    <a:pt x="1715" y="5130"/>
                  </a:lnTo>
                  <a:lnTo>
                    <a:pt x="1693" y="5136"/>
                  </a:lnTo>
                  <a:lnTo>
                    <a:pt x="1674" y="5152"/>
                  </a:lnTo>
                  <a:lnTo>
                    <a:pt x="1658" y="5177"/>
                  </a:lnTo>
                  <a:lnTo>
                    <a:pt x="1646" y="5202"/>
                  </a:lnTo>
                  <a:lnTo>
                    <a:pt x="1640" y="5227"/>
                  </a:lnTo>
                  <a:lnTo>
                    <a:pt x="1643" y="5252"/>
                  </a:lnTo>
                  <a:lnTo>
                    <a:pt x="1655" y="5283"/>
                  </a:lnTo>
                  <a:lnTo>
                    <a:pt x="1668" y="5314"/>
                  </a:lnTo>
                  <a:lnTo>
                    <a:pt x="1674" y="5339"/>
                  </a:lnTo>
                  <a:lnTo>
                    <a:pt x="1677" y="5367"/>
                  </a:lnTo>
                  <a:lnTo>
                    <a:pt x="1677" y="5405"/>
                  </a:lnTo>
                  <a:lnTo>
                    <a:pt x="1677" y="5433"/>
                  </a:lnTo>
                  <a:lnTo>
                    <a:pt x="1677" y="5442"/>
                  </a:lnTo>
                  <a:lnTo>
                    <a:pt x="1677" y="5455"/>
                  </a:lnTo>
                  <a:lnTo>
                    <a:pt x="1677" y="5467"/>
                  </a:lnTo>
                  <a:lnTo>
                    <a:pt x="1677" y="5477"/>
                  </a:lnTo>
                  <a:lnTo>
                    <a:pt x="1677" y="5480"/>
                  </a:lnTo>
                  <a:lnTo>
                    <a:pt x="1677" y="5486"/>
                  </a:lnTo>
                  <a:lnTo>
                    <a:pt x="1674" y="5489"/>
                  </a:lnTo>
                  <a:lnTo>
                    <a:pt x="1674" y="5495"/>
                  </a:lnTo>
                  <a:lnTo>
                    <a:pt x="1668" y="5499"/>
                  </a:lnTo>
                  <a:lnTo>
                    <a:pt x="1662" y="5499"/>
                  </a:lnTo>
                  <a:lnTo>
                    <a:pt x="1652" y="5502"/>
                  </a:lnTo>
                  <a:lnTo>
                    <a:pt x="1640" y="5502"/>
                  </a:lnTo>
                  <a:lnTo>
                    <a:pt x="1605" y="5499"/>
                  </a:lnTo>
                  <a:lnTo>
                    <a:pt x="1574" y="5489"/>
                  </a:lnTo>
                  <a:lnTo>
                    <a:pt x="1552" y="5486"/>
                  </a:lnTo>
                  <a:lnTo>
                    <a:pt x="1546" y="5492"/>
                  </a:lnTo>
                  <a:lnTo>
                    <a:pt x="1540" y="5499"/>
                  </a:lnTo>
                  <a:lnTo>
                    <a:pt x="1534" y="5508"/>
                  </a:lnTo>
                  <a:lnTo>
                    <a:pt x="1527" y="5517"/>
                  </a:lnTo>
                  <a:lnTo>
                    <a:pt x="1521" y="5524"/>
                  </a:lnTo>
                  <a:lnTo>
                    <a:pt x="1515" y="5527"/>
                  </a:lnTo>
                  <a:lnTo>
                    <a:pt x="1505" y="5524"/>
                  </a:lnTo>
                  <a:lnTo>
                    <a:pt x="1499" y="5517"/>
                  </a:lnTo>
                  <a:lnTo>
                    <a:pt x="1493" y="5508"/>
                  </a:lnTo>
                  <a:lnTo>
                    <a:pt x="1487" y="5495"/>
                  </a:lnTo>
                  <a:lnTo>
                    <a:pt x="1480" y="5486"/>
                  </a:lnTo>
                  <a:lnTo>
                    <a:pt x="1474" y="5480"/>
                  </a:lnTo>
                  <a:lnTo>
                    <a:pt x="1468" y="5477"/>
                  </a:lnTo>
                  <a:lnTo>
                    <a:pt x="1462" y="5477"/>
                  </a:lnTo>
                  <a:lnTo>
                    <a:pt x="1455" y="5483"/>
                  </a:lnTo>
                  <a:lnTo>
                    <a:pt x="1449" y="5489"/>
                  </a:lnTo>
                  <a:lnTo>
                    <a:pt x="1443" y="5495"/>
                  </a:lnTo>
                  <a:lnTo>
                    <a:pt x="1437" y="5499"/>
                  </a:lnTo>
                  <a:lnTo>
                    <a:pt x="1430" y="5502"/>
                  </a:lnTo>
                  <a:lnTo>
                    <a:pt x="1409" y="5505"/>
                  </a:lnTo>
                  <a:lnTo>
                    <a:pt x="1381" y="5505"/>
                  </a:lnTo>
                  <a:lnTo>
                    <a:pt x="1359" y="5502"/>
                  </a:lnTo>
                  <a:lnTo>
                    <a:pt x="1349" y="5499"/>
                  </a:lnTo>
                  <a:lnTo>
                    <a:pt x="1343" y="5492"/>
                  </a:lnTo>
                  <a:lnTo>
                    <a:pt x="1334" y="5483"/>
                  </a:lnTo>
                  <a:lnTo>
                    <a:pt x="1324" y="5477"/>
                  </a:lnTo>
                  <a:lnTo>
                    <a:pt x="1318" y="5471"/>
                  </a:lnTo>
                  <a:lnTo>
                    <a:pt x="1306" y="5471"/>
                  </a:lnTo>
                  <a:lnTo>
                    <a:pt x="1290" y="5474"/>
                  </a:lnTo>
                  <a:lnTo>
                    <a:pt x="1274" y="5477"/>
                  </a:lnTo>
                  <a:lnTo>
                    <a:pt x="1262" y="5477"/>
                  </a:lnTo>
                  <a:lnTo>
                    <a:pt x="1256" y="5474"/>
                  </a:lnTo>
                  <a:lnTo>
                    <a:pt x="1252" y="5464"/>
                  </a:lnTo>
                  <a:lnTo>
                    <a:pt x="1246" y="5458"/>
                  </a:lnTo>
                  <a:lnTo>
                    <a:pt x="1243" y="5449"/>
                  </a:lnTo>
                  <a:lnTo>
                    <a:pt x="1237" y="5439"/>
                  </a:lnTo>
                  <a:lnTo>
                    <a:pt x="1234" y="5436"/>
                  </a:lnTo>
                  <a:lnTo>
                    <a:pt x="1218" y="5430"/>
                  </a:lnTo>
                  <a:lnTo>
                    <a:pt x="1196" y="5430"/>
                  </a:lnTo>
                  <a:lnTo>
                    <a:pt x="1178" y="5430"/>
                  </a:lnTo>
                  <a:lnTo>
                    <a:pt x="1171" y="5433"/>
                  </a:lnTo>
                  <a:lnTo>
                    <a:pt x="1162" y="5436"/>
                  </a:lnTo>
                  <a:lnTo>
                    <a:pt x="1153" y="5439"/>
                  </a:lnTo>
                  <a:lnTo>
                    <a:pt x="1143" y="5446"/>
                  </a:lnTo>
                  <a:lnTo>
                    <a:pt x="1137" y="5449"/>
                  </a:lnTo>
                  <a:lnTo>
                    <a:pt x="1124" y="5464"/>
                  </a:lnTo>
                  <a:lnTo>
                    <a:pt x="1118" y="5483"/>
                  </a:lnTo>
                  <a:lnTo>
                    <a:pt x="1109" y="5505"/>
                  </a:lnTo>
                  <a:lnTo>
                    <a:pt x="1096" y="5517"/>
                  </a:lnTo>
                  <a:lnTo>
                    <a:pt x="1084" y="5524"/>
                  </a:lnTo>
                  <a:lnTo>
                    <a:pt x="1065" y="5530"/>
                  </a:lnTo>
                  <a:lnTo>
                    <a:pt x="1046" y="5533"/>
                  </a:lnTo>
                  <a:lnTo>
                    <a:pt x="1031" y="5530"/>
                  </a:lnTo>
                  <a:lnTo>
                    <a:pt x="1018" y="5520"/>
                  </a:lnTo>
                  <a:lnTo>
                    <a:pt x="1009" y="5502"/>
                  </a:lnTo>
                  <a:lnTo>
                    <a:pt x="1000" y="5480"/>
                  </a:lnTo>
                  <a:lnTo>
                    <a:pt x="993" y="5464"/>
                  </a:lnTo>
                  <a:lnTo>
                    <a:pt x="987" y="5449"/>
                  </a:lnTo>
                  <a:lnTo>
                    <a:pt x="981" y="5427"/>
                  </a:lnTo>
                  <a:lnTo>
                    <a:pt x="971" y="5414"/>
                  </a:lnTo>
                  <a:lnTo>
                    <a:pt x="953" y="5405"/>
                  </a:lnTo>
                  <a:lnTo>
                    <a:pt x="928" y="5402"/>
                  </a:lnTo>
                  <a:lnTo>
                    <a:pt x="900" y="5402"/>
                  </a:lnTo>
                  <a:lnTo>
                    <a:pt x="875" y="5405"/>
                  </a:lnTo>
                  <a:lnTo>
                    <a:pt x="853" y="5405"/>
                  </a:lnTo>
                  <a:lnTo>
                    <a:pt x="828" y="5405"/>
                  </a:lnTo>
                  <a:lnTo>
                    <a:pt x="797" y="5405"/>
                  </a:lnTo>
                  <a:lnTo>
                    <a:pt x="765" y="5408"/>
                  </a:lnTo>
                  <a:lnTo>
                    <a:pt x="743" y="5414"/>
                  </a:lnTo>
                  <a:lnTo>
                    <a:pt x="722" y="5424"/>
                  </a:lnTo>
                  <a:lnTo>
                    <a:pt x="700" y="5439"/>
                  </a:lnTo>
                  <a:lnTo>
                    <a:pt x="681" y="5455"/>
                  </a:lnTo>
                  <a:lnTo>
                    <a:pt x="659" y="5464"/>
                  </a:lnTo>
                  <a:lnTo>
                    <a:pt x="637" y="5480"/>
                  </a:lnTo>
                  <a:lnTo>
                    <a:pt x="609" y="5492"/>
                  </a:lnTo>
                  <a:lnTo>
                    <a:pt x="587" y="5499"/>
                  </a:lnTo>
                  <a:lnTo>
                    <a:pt x="562" y="5505"/>
                  </a:lnTo>
                  <a:lnTo>
                    <a:pt x="528" y="5508"/>
                  </a:lnTo>
                  <a:lnTo>
                    <a:pt x="497" y="5505"/>
                  </a:lnTo>
                  <a:lnTo>
                    <a:pt x="472" y="5499"/>
                  </a:lnTo>
                  <a:lnTo>
                    <a:pt x="453" y="5486"/>
                  </a:lnTo>
                  <a:lnTo>
                    <a:pt x="434" y="5461"/>
                  </a:lnTo>
                  <a:lnTo>
                    <a:pt x="419" y="5436"/>
                  </a:lnTo>
                  <a:lnTo>
                    <a:pt x="403" y="5417"/>
                  </a:lnTo>
                  <a:lnTo>
                    <a:pt x="384" y="5408"/>
                  </a:lnTo>
                  <a:lnTo>
                    <a:pt x="359" y="5396"/>
                  </a:lnTo>
                  <a:lnTo>
                    <a:pt x="344" y="5383"/>
                  </a:lnTo>
                  <a:lnTo>
                    <a:pt x="334" y="5361"/>
                  </a:lnTo>
                  <a:lnTo>
                    <a:pt x="331" y="5333"/>
                  </a:lnTo>
                  <a:lnTo>
                    <a:pt x="328" y="5305"/>
                  </a:lnTo>
                  <a:lnTo>
                    <a:pt x="322" y="5286"/>
                  </a:lnTo>
                  <a:lnTo>
                    <a:pt x="303" y="5271"/>
                  </a:lnTo>
                  <a:lnTo>
                    <a:pt x="278" y="5258"/>
                  </a:lnTo>
                  <a:lnTo>
                    <a:pt x="253" y="5246"/>
                  </a:lnTo>
                  <a:lnTo>
                    <a:pt x="231" y="5236"/>
                  </a:lnTo>
                  <a:lnTo>
                    <a:pt x="206" y="5227"/>
                  </a:lnTo>
                  <a:lnTo>
                    <a:pt x="178" y="5218"/>
                  </a:lnTo>
                  <a:lnTo>
                    <a:pt x="156" y="5205"/>
                  </a:lnTo>
                  <a:lnTo>
                    <a:pt x="144" y="5189"/>
                  </a:lnTo>
                  <a:lnTo>
                    <a:pt x="135" y="5168"/>
                  </a:lnTo>
                  <a:lnTo>
                    <a:pt x="122" y="5146"/>
                  </a:lnTo>
                  <a:lnTo>
                    <a:pt x="110" y="5133"/>
                  </a:lnTo>
                  <a:lnTo>
                    <a:pt x="85" y="5121"/>
                  </a:lnTo>
                  <a:lnTo>
                    <a:pt x="53" y="5115"/>
                  </a:lnTo>
                  <a:lnTo>
                    <a:pt x="19" y="5115"/>
                  </a:lnTo>
                  <a:lnTo>
                    <a:pt x="10" y="5083"/>
                  </a:lnTo>
                  <a:lnTo>
                    <a:pt x="0" y="5055"/>
                  </a:lnTo>
                  <a:lnTo>
                    <a:pt x="3" y="5024"/>
                  </a:lnTo>
                  <a:lnTo>
                    <a:pt x="10" y="4983"/>
                  </a:lnTo>
                  <a:lnTo>
                    <a:pt x="19" y="4952"/>
                  </a:lnTo>
                  <a:lnTo>
                    <a:pt x="22" y="4949"/>
                  </a:lnTo>
                  <a:lnTo>
                    <a:pt x="28" y="4943"/>
                  </a:lnTo>
                  <a:lnTo>
                    <a:pt x="35" y="4937"/>
                  </a:lnTo>
                  <a:lnTo>
                    <a:pt x="41" y="4930"/>
                  </a:lnTo>
                  <a:lnTo>
                    <a:pt x="44" y="4924"/>
                  </a:lnTo>
                  <a:lnTo>
                    <a:pt x="41" y="4905"/>
                  </a:lnTo>
                  <a:lnTo>
                    <a:pt x="35" y="4883"/>
                  </a:lnTo>
                  <a:lnTo>
                    <a:pt x="28" y="4862"/>
                  </a:lnTo>
                  <a:lnTo>
                    <a:pt x="28" y="4843"/>
                  </a:lnTo>
                  <a:lnTo>
                    <a:pt x="38" y="4834"/>
                  </a:lnTo>
                  <a:lnTo>
                    <a:pt x="56" y="4824"/>
                  </a:lnTo>
                  <a:lnTo>
                    <a:pt x="72" y="4818"/>
                  </a:lnTo>
                  <a:lnTo>
                    <a:pt x="85" y="4809"/>
                  </a:lnTo>
                  <a:lnTo>
                    <a:pt x="91" y="4790"/>
                  </a:lnTo>
                  <a:lnTo>
                    <a:pt x="91" y="4765"/>
                  </a:lnTo>
                  <a:lnTo>
                    <a:pt x="94" y="4743"/>
                  </a:lnTo>
                  <a:lnTo>
                    <a:pt x="100" y="4724"/>
                  </a:lnTo>
                  <a:lnTo>
                    <a:pt x="116" y="4705"/>
                  </a:lnTo>
                  <a:lnTo>
                    <a:pt x="141" y="4687"/>
                  </a:lnTo>
                  <a:lnTo>
                    <a:pt x="166" y="4674"/>
                  </a:lnTo>
                  <a:lnTo>
                    <a:pt x="185" y="4671"/>
                  </a:lnTo>
                  <a:lnTo>
                    <a:pt x="206" y="4671"/>
                  </a:lnTo>
                  <a:lnTo>
                    <a:pt x="231" y="4671"/>
                  </a:lnTo>
                  <a:lnTo>
                    <a:pt x="244" y="4662"/>
                  </a:lnTo>
                  <a:lnTo>
                    <a:pt x="250" y="4646"/>
                  </a:lnTo>
                  <a:lnTo>
                    <a:pt x="244" y="4624"/>
                  </a:lnTo>
                  <a:lnTo>
                    <a:pt x="238" y="4602"/>
                  </a:lnTo>
                  <a:lnTo>
                    <a:pt x="231" y="4577"/>
                  </a:lnTo>
                  <a:lnTo>
                    <a:pt x="228" y="4562"/>
                  </a:lnTo>
                  <a:lnTo>
                    <a:pt x="241" y="4540"/>
                  </a:lnTo>
                  <a:lnTo>
                    <a:pt x="259" y="4515"/>
                  </a:lnTo>
                  <a:lnTo>
                    <a:pt x="284" y="4496"/>
                  </a:lnTo>
                  <a:lnTo>
                    <a:pt x="303" y="4481"/>
                  </a:lnTo>
                  <a:lnTo>
                    <a:pt x="319" y="4481"/>
                  </a:lnTo>
                  <a:lnTo>
                    <a:pt x="338" y="4484"/>
                  </a:lnTo>
                  <a:lnTo>
                    <a:pt x="356" y="4484"/>
                  </a:lnTo>
                  <a:lnTo>
                    <a:pt x="369" y="4481"/>
                  </a:lnTo>
                  <a:lnTo>
                    <a:pt x="384" y="4465"/>
                  </a:lnTo>
                  <a:lnTo>
                    <a:pt x="394" y="4440"/>
                  </a:lnTo>
                  <a:lnTo>
                    <a:pt x="403" y="4418"/>
                  </a:lnTo>
                  <a:lnTo>
                    <a:pt x="412" y="4393"/>
                  </a:lnTo>
                  <a:lnTo>
                    <a:pt x="425" y="4368"/>
                  </a:lnTo>
                  <a:lnTo>
                    <a:pt x="437" y="4346"/>
                  </a:lnTo>
                  <a:lnTo>
                    <a:pt x="447" y="4340"/>
                  </a:lnTo>
                  <a:lnTo>
                    <a:pt x="459" y="4334"/>
                  </a:lnTo>
                  <a:lnTo>
                    <a:pt x="469" y="4325"/>
                  </a:lnTo>
                  <a:lnTo>
                    <a:pt x="481" y="4318"/>
                  </a:lnTo>
                  <a:lnTo>
                    <a:pt x="487" y="4312"/>
                  </a:lnTo>
                  <a:lnTo>
                    <a:pt x="497" y="4290"/>
                  </a:lnTo>
                  <a:lnTo>
                    <a:pt x="500" y="4265"/>
                  </a:lnTo>
                  <a:lnTo>
                    <a:pt x="503" y="4240"/>
                  </a:lnTo>
                  <a:lnTo>
                    <a:pt x="506" y="4218"/>
                  </a:lnTo>
                  <a:lnTo>
                    <a:pt x="509" y="4212"/>
                  </a:lnTo>
                  <a:lnTo>
                    <a:pt x="516" y="4206"/>
                  </a:lnTo>
                  <a:lnTo>
                    <a:pt x="519" y="4200"/>
                  </a:lnTo>
                  <a:lnTo>
                    <a:pt x="522" y="4193"/>
                  </a:lnTo>
                  <a:lnTo>
                    <a:pt x="525" y="4175"/>
                  </a:lnTo>
                  <a:lnTo>
                    <a:pt x="522" y="4147"/>
                  </a:lnTo>
                  <a:lnTo>
                    <a:pt x="522" y="4125"/>
                  </a:lnTo>
                  <a:lnTo>
                    <a:pt x="525" y="4103"/>
                  </a:lnTo>
                  <a:lnTo>
                    <a:pt x="528" y="4078"/>
                  </a:lnTo>
                  <a:lnTo>
                    <a:pt x="531" y="4056"/>
                  </a:lnTo>
                  <a:lnTo>
                    <a:pt x="534" y="4037"/>
                  </a:lnTo>
                  <a:lnTo>
                    <a:pt x="537" y="4015"/>
                  </a:lnTo>
                  <a:lnTo>
                    <a:pt x="547" y="4000"/>
                  </a:lnTo>
                  <a:lnTo>
                    <a:pt x="562" y="3997"/>
                  </a:lnTo>
                  <a:lnTo>
                    <a:pt x="584" y="4000"/>
                  </a:lnTo>
                  <a:lnTo>
                    <a:pt x="606" y="4003"/>
                  </a:lnTo>
                  <a:lnTo>
                    <a:pt x="628" y="4006"/>
                  </a:lnTo>
                  <a:lnTo>
                    <a:pt x="640" y="4000"/>
                  </a:lnTo>
                  <a:lnTo>
                    <a:pt x="650" y="3984"/>
                  </a:lnTo>
                  <a:lnTo>
                    <a:pt x="653" y="3956"/>
                  </a:lnTo>
                  <a:lnTo>
                    <a:pt x="653" y="3931"/>
                  </a:lnTo>
                  <a:lnTo>
                    <a:pt x="647" y="3909"/>
                  </a:lnTo>
                  <a:lnTo>
                    <a:pt x="634" y="3894"/>
                  </a:lnTo>
                  <a:lnTo>
                    <a:pt x="615" y="3881"/>
                  </a:lnTo>
                  <a:lnTo>
                    <a:pt x="594" y="3866"/>
                  </a:lnTo>
                  <a:lnTo>
                    <a:pt x="581" y="3853"/>
                  </a:lnTo>
                  <a:lnTo>
                    <a:pt x="584" y="3831"/>
                  </a:lnTo>
                  <a:lnTo>
                    <a:pt x="590" y="3809"/>
                  </a:lnTo>
                  <a:lnTo>
                    <a:pt x="600" y="3784"/>
                  </a:lnTo>
                  <a:lnTo>
                    <a:pt x="606" y="3766"/>
                  </a:lnTo>
                  <a:lnTo>
                    <a:pt x="600" y="3737"/>
                  </a:lnTo>
                  <a:lnTo>
                    <a:pt x="590" y="3700"/>
                  </a:lnTo>
                  <a:lnTo>
                    <a:pt x="578" y="3669"/>
                  </a:lnTo>
                  <a:lnTo>
                    <a:pt x="565" y="3641"/>
                  </a:lnTo>
                  <a:lnTo>
                    <a:pt x="547" y="3625"/>
                  </a:lnTo>
                  <a:lnTo>
                    <a:pt x="522" y="3609"/>
                  </a:lnTo>
                  <a:lnTo>
                    <a:pt x="506" y="3591"/>
                  </a:lnTo>
                  <a:lnTo>
                    <a:pt x="506" y="3572"/>
                  </a:lnTo>
                  <a:lnTo>
                    <a:pt x="512" y="3550"/>
                  </a:lnTo>
                  <a:lnTo>
                    <a:pt x="519" y="3528"/>
                  </a:lnTo>
                  <a:lnTo>
                    <a:pt x="519" y="3510"/>
                  </a:lnTo>
                  <a:lnTo>
                    <a:pt x="503" y="3491"/>
                  </a:lnTo>
                  <a:lnTo>
                    <a:pt x="472" y="3475"/>
                  </a:lnTo>
                  <a:lnTo>
                    <a:pt x="444" y="3463"/>
                  </a:lnTo>
                  <a:lnTo>
                    <a:pt x="422" y="3444"/>
                  </a:lnTo>
                  <a:lnTo>
                    <a:pt x="412" y="3428"/>
                  </a:lnTo>
                  <a:lnTo>
                    <a:pt x="406" y="3406"/>
                  </a:lnTo>
                  <a:lnTo>
                    <a:pt x="397" y="3388"/>
                  </a:lnTo>
                  <a:lnTo>
                    <a:pt x="387" y="3372"/>
                  </a:lnTo>
                  <a:lnTo>
                    <a:pt x="369" y="3366"/>
                  </a:lnTo>
                  <a:lnTo>
                    <a:pt x="347" y="3369"/>
                  </a:lnTo>
                  <a:lnTo>
                    <a:pt x="319" y="3369"/>
                  </a:lnTo>
                  <a:lnTo>
                    <a:pt x="297" y="3372"/>
                  </a:lnTo>
                  <a:lnTo>
                    <a:pt x="275" y="3372"/>
                  </a:lnTo>
                  <a:lnTo>
                    <a:pt x="247" y="3366"/>
                  </a:lnTo>
                  <a:lnTo>
                    <a:pt x="216" y="3353"/>
                  </a:lnTo>
                  <a:lnTo>
                    <a:pt x="191" y="3341"/>
                  </a:lnTo>
                  <a:lnTo>
                    <a:pt x="172" y="3316"/>
                  </a:lnTo>
                  <a:lnTo>
                    <a:pt x="156" y="3285"/>
                  </a:lnTo>
                  <a:lnTo>
                    <a:pt x="144" y="3250"/>
                  </a:lnTo>
                  <a:lnTo>
                    <a:pt x="138" y="3222"/>
                  </a:lnTo>
                  <a:lnTo>
                    <a:pt x="138" y="3204"/>
                  </a:lnTo>
                  <a:lnTo>
                    <a:pt x="138" y="3175"/>
                  </a:lnTo>
                  <a:lnTo>
                    <a:pt x="141" y="3150"/>
                  </a:lnTo>
                  <a:lnTo>
                    <a:pt x="147" y="3129"/>
                  </a:lnTo>
                  <a:lnTo>
                    <a:pt x="156" y="3113"/>
                  </a:lnTo>
                  <a:lnTo>
                    <a:pt x="172" y="3110"/>
                  </a:lnTo>
                  <a:lnTo>
                    <a:pt x="191" y="3113"/>
                  </a:lnTo>
                  <a:lnTo>
                    <a:pt x="213" y="3119"/>
                  </a:lnTo>
                  <a:lnTo>
                    <a:pt x="234" y="3125"/>
                  </a:lnTo>
                  <a:lnTo>
                    <a:pt x="250" y="3125"/>
                  </a:lnTo>
                  <a:lnTo>
                    <a:pt x="259" y="3122"/>
                  </a:lnTo>
                  <a:lnTo>
                    <a:pt x="272" y="3116"/>
                  </a:lnTo>
                  <a:lnTo>
                    <a:pt x="281" y="3107"/>
                  </a:lnTo>
                  <a:lnTo>
                    <a:pt x="291" y="3100"/>
                  </a:lnTo>
                  <a:lnTo>
                    <a:pt x="294" y="3091"/>
                  </a:lnTo>
                  <a:lnTo>
                    <a:pt x="300" y="3066"/>
                  </a:lnTo>
                  <a:lnTo>
                    <a:pt x="300" y="3038"/>
                  </a:lnTo>
                  <a:lnTo>
                    <a:pt x="294" y="3013"/>
                  </a:lnTo>
                  <a:lnTo>
                    <a:pt x="284" y="2994"/>
                  </a:lnTo>
                  <a:lnTo>
                    <a:pt x="269" y="2969"/>
                  </a:lnTo>
                  <a:lnTo>
                    <a:pt x="256" y="2951"/>
                  </a:lnTo>
                  <a:lnTo>
                    <a:pt x="253" y="2922"/>
                  </a:lnTo>
                  <a:lnTo>
                    <a:pt x="253" y="2891"/>
                  </a:lnTo>
                  <a:lnTo>
                    <a:pt x="256" y="2866"/>
                  </a:lnTo>
                  <a:lnTo>
                    <a:pt x="272" y="2848"/>
                  </a:lnTo>
                  <a:lnTo>
                    <a:pt x="291" y="2829"/>
                  </a:lnTo>
                  <a:lnTo>
                    <a:pt x="303" y="2810"/>
                  </a:lnTo>
                  <a:lnTo>
                    <a:pt x="309" y="2788"/>
                  </a:lnTo>
                  <a:lnTo>
                    <a:pt x="313" y="2760"/>
                  </a:lnTo>
                  <a:lnTo>
                    <a:pt x="309" y="2732"/>
                  </a:lnTo>
                  <a:lnTo>
                    <a:pt x="303" y="2710"/>
                  </a:lnTo>
                  <a:lnTo>
                    <a:pt x="291" y="2704"/>
                  </a:lnTo>
                  <a:lnTo>
                    <a:pt x="269" y="2698"/>
                  </a:lnTo>
                  <a:lnTo>
                    <a:pt x="250" y="2691"/>
                  </a:lnTo>
                  <a:lnTo>
                    <a:pt x="238" y="2685"/>
                  </a:lnTo>
                  <a:lnTo>
                    <a:pt x="231" y="2670"/>
                  </a:lnTo>
                  <a:lnTo>
                    <a:pt x="228" y="2648"/>
                  </a:lnTo>
                  <a:lnTo>
                    <a:pt x="231" y="2626"/>
                  </a:lnTo>
                  <a:lnTo>
                    <a:pt x="238" y="2607"/>
                  </a:lnTo>
                  <a:lnTo>
                    <a:pt x="256" y="2588"/>
                  </a:lnTo>
                  <a:lnTo>
                    <a:pt x="288" y="2573"/>
                  </a:lnTo>
                  <a:lnTo>
                    <a:pt x="322" y="2560"/>
                  </a:lnTo>
                  <a:lnTo>
                    <a:pt x="350" y="2554"/>
                  </a:lnTo>
                  <a:lnTo>
                    <a:pt x="366" y="2554"/>
                  </a:lnTo>
                  <a:lnTo>
                    <a:pt x="387" y="2554"/>
                  </a:lnTo>
                  <a:lnTo>
                    <a:pt x="403" y="2557"/>
                  </a:lnTo>
                  <a:lnTo>
                    <a:pt x="419" y="2567"/>
                  </a:lnTo>
                  <a:lnTo>
                    <a:pt x="437" y="2582"/>
                  </a:lnTo>
                  <a:lnTo>
                    <a:pt x="459" y="2598"/>
                  </a:lnTo>
                  <a:lnTo>
                    <a:pt x="475" y="2601"/>
                  </a:lnTo>
                  <a:lnTo>
                    <a:pt x="491" y="2588"/>
                  </a:lnTo>
                  <a:lnTo>
                    <a:pt x="506" y="2567"/>
                  </a:lnTo>
                  <a:lnTo>
                    <a:pt x="516" y="2535"/>
                  </a:lnTo>
                  <a:lnTo>
                    <a:pt x="525" y="2507"/>
                  </a:lnTo>
                  <a:lnTo>
                    <a:pt x="537" y="2488"/>
                  </a:lnTo>
                  <a:lnTo>
                    <a:pt x="544" y="2482"/>
                  </a:lnTo>
                  <a:lnTo>
                    <a:pt x="550" y="2476"/>
                  </a:lnTo>
                  <a:lnTo>
                    <a:pt x="556" y="2473"/>
                  </a:lnTo>
                  <a:lnTo>
                    <a:pt x="562" y="2470"/>
                  </a:lnTo>
                  <a:lnTo>
                    <a:pt x="581" y="2470"/>
                  </a:lnTo>
                  <a:lnTo>
                    <a:pt x="603" y="2473"/>
                  </a:lnTo>
                  <a:lnTo>
                    <a:pt x="622" y="2479"/>
                  </a:lnTo>
                  <a:lnTo>
                    <a:pt x="634" y="2495"/>
                  </a:lnTo>
                  <a:lnTo>
                    <a:pt x="647" y="2517"/>
                  </a:lnTo>
                  <a:lnTo>
                    <a:pt x="653" y="2538"/>
                  </a:lnTo>
                  <a:lnTo>
                    <a:pt x="650" y="2551"/>
                  </a:lnTo>
                  <a:lnTo>
                    <a:pt x="640" y="2567"/>
                  </a:lnTo>
                  <a:lnTo>
                    <a:pt x="628" y="2582"/>
                  </a:lnTo>
                  <a:lnTo>
                    <a:pt x="622" y="2598"/>
                  </a:lnTo>
                  <a:lnTo>
                    <a:pt x="622" y="2610"/>
                  </a:lnTo>
                  <a:lnTo>
                    <a:pt x="637" y="2629"/>
                  </a:lnTo>
                  <a:lnTo>
                    <a:pt x="665" y="2638"/>
                  </a:lnTo>
                  <a:lnTo>
                    <a:pt x="697" y="2645"/>
                  </a:lnTo>
                  <a:lnTo>
                    <a:pt x="722" y="2645"/>
                  </a:lnTo>
                  <a:lnTo>
                    <a:pt x="728" y="2641"/>
                  </a:lnTo>
                  <a:lnTo>
                    <a:pt x="737" y="2635"/>
                  </a:lnTo>
                  <a:lnTo>
                    <a:pt x="743" y="2629"/>
                  </a:lnTo>
                  <a:lnTo>
                    <a:pt x="753" y="2620"/>
                  </a:lnTo>
                  <a:lnTo>
                    <a:pt x="759" y="2610"/>
                  </a:lnTo>
                  <a:lnTo>
                    <a:pt x="765" y="2604"/>
                  </a:lnTo>
                  <a:lnTo>
                    <a:pt x="775" y="2585"/>
                  </a:lnTo>
                  <a:lnTo>
                    <a:pt x="784" y="2557"/>
                  </a:lnTo>
                  <a:lnTo>
                    <a:pt x="790" y="2532"/>
                  </a:lnTo>
                  <a:lnTo>
                    <a:pt x="790" y="2510"/>
                  </a:lnTo>
                  <a:lnTo>
                    <a:pt x="784" y="2495"/>
                  </a:lnTo>
                  <a:lnTo>
                    <a:pt x="768" y="2479"/>
                  </a:lnTo>
                  <a:lnTo>
                    <a:pt x="756" y="2460"/>
                  </a:lnTo>
                  <a:lnTo>
                    <a:pt x="750" y="2445"/>
                  </a:lnTo>
                  <a:lnTo>
                    <a:pt x="753" y="2438"/>
                  </a:lnTo>
                  <a:lnTo>
                    <a:pt x="759" y="2432"/>
                  </a:lnTo>
                  <a:lnTo>
                    <a:pt x="765" y="2426"/>
                  </a:lnTo>
                  <a:lnTo>
                    <a:pt x="775" y="2420"/>
                  </a:lnTo>
                  <a:lnTo>
                    <a:pt x="781" y="2417"/>
                  </a:lnTo>
                  <a:lnTo>
                    <a:pt x="790" y="2414"/>
                  </a:lnTo>
                  <a:lnTo>
                    <a:pt x="806" y="2423"/>
                  </a:lnTo>
                  <a:lnTo>
                    <a:pt x="825" y="2442"/>
                  </a:lnTo>
                  <a:lnTo>
                    <a:pt x="843" y="2463"/>
                  </a:lnTo>
                  <a:lnTo>
                    <a:pt x="859" y="2476"/>
                  </a:lnTo>
                  <a:lnTo>
                    <a:pt x="868" y="2479"/>
                  </a:lnTo>
                  <a:lnTo>
                    <a:pt x="881" y="2479"/>
                  </a:lnTo>
                  <a:lnTo>
                    <a:pt x="890" y="2479"/>
                  </a:lnTo>
                  <a:lnTo>
                    <a:pt x="900" y="2476"/>
                  </a:lnTo>
                  <a:lnTo>
                    <a:pt x="909" y="2473"/>
                  </a:lnTo>
                  <a:lnTo>
                    <a:pt x="918" y="2467"/>
                  </a:lnTo>
                  <a:lnTo>
                    <a:pt x="928" y="2457"/>
                  </a:lnTo>
                  <a:lnTo>
                    <a:pt x="937" y="2448"/>
                  </a:lnTo>
                  <a:lnTo>
                    <a:pt x="943" y="2442"/>
                  </a:lnTo>
                  <a:lnTo>
                    <a:pt x="943" y="2426"/>
                  </a:lnTo>
                  <a:lnTo>
                    <a:pt x="940" y="2407"/>
                  </a:lnTo>
                  <a:lnTo>
                    <a:pt x="940" y="2389"/>
                  </a:lnTo>
                  <a:lnTo>
                    <a:pt x="943" y="2373"/>
                  </a:lnTo>
                  <a:lnTo>
                    <a:pt x="959" y="2364"/>
                  </a:lnTo>
                  <a:lnTo>
                    <a:pt x="981" y="2351"/>
                  </a:lnTo>
                  <a:lnTo>
                    <a:pt x="1006" y="2348"/>
                  </a:lnTo>
                  <a:lnTo>
                    <a:pt x="1025" y="2351"/>
                  </a:lnTo>
                  <a:lnTo>
                    <a:pt x="1031" y="2364"/>
                  </a:lnTo>
                  <a:lnTo>
                    <a:pt x="1034" y="2385"/>
                  </a:lnTo>
                  <a:lnTo>
                    <a:pt x="1037" y="2407"/>
                  </a:lnTo>
                  <a:lnTo>
                    <a:pt x="1043" y="2423"/>
                  </a:lnTo>
                  <a:lnTo>
                    <a:pt x="1071" y="2442"/>
                  </a:lnTo>
                  <a:lnTo>
                    <a:pt x="1106" y="2454"/>
                  </a:lnTo>
                  <a:lnTo>
                    <a:pt x="1146" y="2463"/>
                  </a:lnTo>
                  <a:lnTo>
                    <a:pt x="1178" y="2463"/>
                  </a:lnTo>
                  <a:lnTo>
                    <a:pt x="1196" y="2457"/>
                  </a:lnTo>
                  <a:lnTo>
                    <a:pt x="1215" y="2442"/>
                  </a:lnTo>
                  <a:lnTo>
                    <a:pt x="1234" y="2426"/>
                  </a:lnTo>
                  <a:lnTo>
                    <a:pt x="1252" y="2414"/>
                  </a:lnTo>
                  <a:lnTo>
                    <a:pt x="1277" y="2395"/>
                  </a:lnTo>
                  <a:lnTo>
                    <a:pt x="1312" y="2373"/>
                  </a:lnTo>
                  <a:lnTo>
                    <a:pt x="1340" y="2357"/>
                  </a:lnTo>
                  <a:lnTo>
                    <a:pt x="1365" y="2342"/>
                  </a:lnTo>
                  <a:lnTo>
                    <a:pt x="1396" y="2326"/>
                  </a:lnTo>
                  <a:lnTo>
                    <a:pt x="1430" y="2314"/>
                  </a:lnTo>
                  <a:lnTo>
                    <a:pt x="1459" y="2304"/>
                  </a:lnTo>
                  <a:lnTo>
                    <a:pt x="1477" y="2304"/>
                  </a:lnTo>
                  <a:lnTo>
                    <a:pt x="1502" y="2307"/>
                  </a:lnTo>
                  <a:lnTo>
                    <a:pt x="1527" y="2310"/>
                  </a:lnTo>
                  <a:lnTo>
                    <a:pt x="1549" y="2310"/>
                  </a:lnTo>
                  <a:lnTo>
                    <a:pt x="1571" y="2298"/>
                  </a:lnTo>
                  <a:lnTo>
                    <a:pt x="1593" y="2282"/>
                  </a:lnTo>
                  <a:lnTo>
                    <a:pt x="1615" y="2270"/>
                  </a:lnTo>
                  <a:lnTo>
                    <a:pt x="1637" y="2270"/>
                  </a:lnTo>
                  <a:lnTo>
                    <a:pt x="1662" y="2270"/>
                  </a:lnTo>
                  <a:lnTo>
                    <a:pt x="1683" y="2279"/>
                  </a:lnTo>
                  <a:lnTo>
                    <a:pt x="1693" y="2295"/>
                  </a:lnTo>
                  <a:lnTo>
                    <a:pt x="1702" y="2320"/>
                  </a:lnTo>
                  <a:lnTo>
                    <a:pt x="1708" y="2342"/>
                  </a:lnTo>
                  <a:lnTo>
                    <a:pt x="1721" y="2357"/>
                  </a:lnTo>
                  <a:lnTo>
                    <a:pt x="1740" y="2360"/>
                  </a:lnTo>
                  <a:lnTo>
                    <a:pt x="1765" y="2357"/>
                  </a:lnTo>
                  <a:lnTo>
                    <a:pt x="1786" y="2351"/>
                  </a:lnTo>
                  <a:lnTo>
                    <a:pt x="1808" y="2345"/>
                  </a:lnTo>
                  <a:lnTo>
                    <a:pt x="1827" y="2335"/>
                  </a:lnTo>
                  <a:lnTo>
                    <a:pt x="1852" y="2320"/>
                  </a:lnTo>
                  <a:lnTo>
                    <a:pt x="1874" y="2304"/>
                  </a:lnTo>
                  <a:lnTo>
                    <a:pt x="1890" y="2289"/>
                  </a:lnTo>
                  <a:lnTo>
                    <a:pt x="1899" y="2270"/>
                  </a:lnTo>
                  <a:lnTo>
                    <a:pt x="1905" y="2245"/>
                  </a:lnTo>
                  <a:lnTo>
                    <a:pt x="1914" y="2220"/>
                  </a:lnTo>
                  <a:lnTo>
                    <a:pt x="1924" y="2204"/>
                  </a:lnTo>
                  <a:lnTo>
                    <a:pt x="1939" y="2195"/>
                  </a:lnTo>
                  <a:lnTo>
                    <a:pt x="1961" y="2186"/>
                  </a:lnTo>
                  <a:lnTo>
                    <a:pt x="1977" y="2176"/>
                  </a:lnTo>
                  <a:lnTo>
                    <a:pt x="1993" y="2157"/>
                  </a:lnTo>
                  <a:lnTo>
                    <a:pt x="2005" y="2129"/>
                  </a:lnTo>
                  <a:lnTo>
                    <a:pt x="2021" y="2104"/>
                  </a:lnTo>
                  <a:lnTo>
                    <a:pt x="2036" y="2089"/>
                  </a:lnTo>
                  <a:lnTo>
                    <a:pt x="2049" y="2086"/>
                  </a:lnTo>
                  <a:lnTo>
                    <a:pt x="2064" y="2089"/>
                  </a:lnTo>
                  <a:lnTo>
                    <a:pt x="2083" y="2092"/>
                  </a:lnTo>
                  <a:lnTo>
                    <a:pt x="2096" y="2089"/>
                  </a:lnTo>
                  <a:lnTo>
                    <a:pt x="2102" y="2073"/>
                  </a:lnTo>
                  <a:lnTo>
                    <a:pt x="2105" y="2054"/>
                  </a:lnTo>
                  <a:lnTo>
                    <a:pt x="2111" y="2033"/>
                  </a:lnTo>
                  <a:lnTo>
                    <a:pt x="2117" y="2017"/>
                  </a:lnTo>
                  <a:lnTo>
                    <a:pt x="2130" y="2014"/>
                  </a:lnTo>
                  <a:lnTo>
                    <a:pt x="2149" y="2017"/>
                  </a:lnTo>
                  <a:lnTo>
                    <a:pt x="2164" y="2020"/>
                  </a:lnTo>
                  <a:lnTo>
                    <a:pt x="2177" y="2017"/>
                  </a:lnTo>
                  <a:lnTo>
                    <a:pt x="2189" y="1998"/>
                  </a:lnTo>
                  <a:lnTo>
                    <a:pt x="2199" y="1973"/>
                  </a:lnTo>
                  <a:lnTo>
                    <a:pt x="2202" y="1951"/>
                  </a:lnTo>
                  <a:lnTo>
                    <a:pt x="2202" y="1930"/>
                  </a:lnTo>
                  <a:lnTo>
                    <a:pt x="2202" y="1905"/>
                  </a:lnTo>
                  <a:lnTo>
                    <a:pt x="2202" y="1883"/>
                  </a:lnTo>
                  <a:lnTo>
                    <a:pt x="2211" y="1867"/>
                  </a:lnTo>
                  <a:lnTo>
                    <a:pt x="2224" y="1851"/>
                  </a:lnTo>
                  <a:lnTo>
                    <a:pt x="2236" y="1833"/>
                  </a:lnTo>
                  <a:lnTo>
                    <a:pt x="2239" y="1817"/>
                  </a:lnTo>
                  <a:lnTo>
                    <a:pt x="2239" y="1808"/>
                  </a:lnTo>
                  <a:lnTo>
                    <a:pt x="2236" y="1798"/>
                  </a:lnTo>
                  <a:lnTo>
                    <a:pt x="2230" y="1789"/>
                  </a:lnTo>
                  <a:lnTo>
                    <a:pt x="2227" y="1780"/>
                  </a:lnTo>
                  <a:lnTo>
                    <a:pt x="2221" y="1773"/>
                  </a:lnTo>
                  <a:lnTo>
                    <a:pt x="2214" y="1767"/>
                  </a:lnTo>
                  <a:lnTo>
                    <a:pt x="2199" y="1761"/>
                  </a:lnTo>
                  <a:lnTo>
                    <a:pt x="2183" y="1761"/>
                  </a:lnTo>
                  <a:lnTo>
                    <a:pt x="2164" y="1758"/>
                  </a:lnTo>
                  <a:lnTo>
                    <a:pt x="2155" y="1752"/>
                  </a:lnTo>
                  <a:lnTo>
                    <a:pt x="2152" y="1739"/>
                  </a:lnTo>
                  <a:lnTo>
                    <a:pt x="2158" y="1723"/>
                  </a:lnTo>
                  <a:lnTo>
                    <a:pt x="2164" y="1708"/>
                  </a:lnTo>
                  <a:lnTo>
                    <a:pt x="2164" y="1695"/>
                  </a:lnTo>
                  <a:lnTo>
                    <a:pt x="2161" y="1680"/>
                  </a:lnTo>
                  <a:lnTo>
                    <a:pt x="2152" y="1664"/>
                  </a:lnTo>
                  <a:lnTo>
                    <a:pt x="2146" y="1648"/>
                  </a:lnTo>
                  <a:lnTo>
                    <a:pt x="2142" y="1633"/>
                  </a:lnTo>
                  <a:lnTo>
                    <a:pt x="2152" y="1611"/>
                  </a:lnTo>
                  <a:lnTo>
                    <a:pt x="2174" y="1589"/>
                  </a:lnTo>
                  <a:lnTo>
                    <a:pt x="2196" y="1567"/>
                  </a:lnTo>
                  <a:lnTo>
                    <a:pt x="2217" y="1558"/>
                  </a:lnTo>
                  <a:lnTo>
                    <a:pt x="2233" y="1558"/>
                  </a:lnTo>
                  <a:lnTo>
                    <a:pt x="2252" y="1564"/>
                  </a:lnTo>
                  <a:lnTo>
                    <a:pt x="2270" y="1574"/>
                  </a:lnTo>
                  <a:lnTo>
                    <a:pt x="2286" y="1580"/>
                  </a:lnTo>
                  <a:lnTo>
                    <a:pt x="2302" y="1599"/>
                  </a:lnTo>
                  <a:lnTo>
                    <a:pt x="2317" y="1620"/>
                  </a:lnTo>
                  <a:lnTo>
                    <a:pt x="2333" y="1633"/>
                  </a:lnTo>
                  <a:lnTo>
                    <a:pt x="2358" y="1633"/>
                  </a:lnTo>
                  <a:lnTo>
                    <a:pt x="2386" y="1624"/>
                  </a:lnTo>
                  <a:lnTo>
                    <a:pt x="2414" y="1611"/>
                  </a:lnTo>
                  <a:lnTo>
                    <a:pt x="2433" y="1595"/>
                  </a:lnTo>
                  <a:lnTo>
                    <a:pt x="2436" y="1583"/>
                  </a:lnTo>
                  <a:lnTo>
                    <a:pt x="2433" y="1567"/>
                  </a:lnTo>
                  <a:lnTo>
                    <a:pt x="2433" y="1549"/>
                  </a:lnTo>
                  <a:lnTo>
                    <a:pt x="2433" y="1536"/>
                  </a:lnTo>
                  <a:lnTo>
                    <a:pt x="2436" y="1517"/>
                  </a:lnTo>
                  <a:lnTo>
                    <a:pt x="2445" y="1492"/>
                  </a:lnTo>
                  <a:lnTo>
                    <a:pt x="2455" y="1470"/>
                  </a:lnTo>
                  <a:lnTo>
                    <a:pt x="2458" y="1452"/>
                  </a:lnTo>
                  <a:lnTo>
                    <a:pt x="2458" y="1433"/>
                  </a:lnTo>
                  <a:lnTo>
                    <a:pt x="2455" y="1408"/>
                  </a:lnTo>
                  <a:lnTo>
                    <a:pt x="2448" y="1389"/>
                  </a:lnTo>
                  <a:lnTo>
                    <a:pt x="2430" y="1374"/>
                  </a:lnTo>
                  <a:lnTo>
                    <a:pt x="2405" y="1358"/>
                  </a:lnTo>
                  <a:lnTo>
                    <a:pt x="2389" y="1342"/>
                  </a:lnTo>
                  <a:lnTo>
                    <a:pt x="2383" y="1327"/>
                  </a:lnTo>
                  <a:lnTo>
                    <a:pt x="2383" y="1311"/>
                  </a:lnTo>
                  <a:lnTo>
                    <a:pt x="2380" y="1293"/>
                  </a:lnTo>
                  <a:lnTo>
                    <a:pt x="2374" y="1280"/>
                  </a:lnTo>
                  <a:lnTo>
                    <a:pt x="2370" y="1277"/>
                  </a:lnTo>
                  <a:lnTo>
                    <a:pt x="2361" y="1274"/>
                  </a:lnTo>
                  <a:lnTo>
                    <a:pt x="2355" y="1274"/>
                  </a:lnTo>
                  <a:lnTo>
                    <a:pt x="2345" y="1271"/>
                  </a:lnTo>
                  <a:lnTo>
                    <a:pt x="2342" y="1268"/>
                  </a:lnTo>
                  <a:lnTo>
                    <a:pt x="2333" y="1249"/>
                  </a:lnTo>
                  <a:lnTo>
                    <a:pt x="2330" y="1224"/>
                  </a:lnTo>
                  <a:lnTo>
                    <a:pt x="2327" y="1199"/>
                  </a:lnTo>
                  <a:lnTo>
                    <a:pt x="2333" y="1180"/>
                  </a:lnTo>
                  <a:lnTo>
                    <a:pt x="2345" y="1168"/>
                  </a:lnTo>
                  <a:lnTo>
                    <a:pt x="2364" y="1158"/>
                  </a:lnTo>
                  <a:lnTo>
                    <a:pt x="2383" y="1149"/>
                  </a:lnTo>
                  <a:lnTo>
                    <a:pt x="2402" y="1140"/>
                  </a:lnTo>
                  <a:lnTo>
                    <a:pt x="2420" y="1130"/>
                  </a:lnTo>
                  <a:lnTo>
                    <a:pt x="2442" y="1115"/>
                  </a:lnTo>
                  <a:lnTo>
                    <a:pt x="2464" y="1108"/>
                  </a:lnTo>
                  <a:lnTo>
                    <a:pt x="2470" y="1108"/>
                  </a:lnTo>
                  <a:lnTo>
                    <a:pt x="2480" y="1108"/>
                  </a:lnTo>
                  <a:lnTo>
                    <a:pt x="2489" y="1108"/>
                  </a:lnTo>
                  <a:lnTo>
                    <a:pt x="2495" y="1108"/>
                  </a:lnTo>
                  <a:lnTo>
                    <a:pt x="2505" y="1108"/>
                  </a:lnTo>
                  <a:lnTo>
                    <a:pt x="2511" y="1108"/>
                  </a:lnTo>
                  <a:lnTo>
                    <a:pt x="2527" y="1090"/>
                  </a:lnTo>
                  <a:lnTo>
                    <a:pt x="2539" y="1065"/>
                  </a:lnTo>
                  <a:lnTo>
                    <a:pt x="2548" y="1036"/>
                  </a:lnTo>
                  <a:lnTo>
                    <a:pt x="2561" y="1018"/>
                  </a:lnTo>
                  <a:lnTo>
                    <a:pt x="2570" y="1011"/>
                  </a:lnTo>
                  <a:lnTo>
                    <a:pt x="2583" y="1005"/>
                  </a:lnTo>
                  <a:lnTo>
                    <a:pt x="2592" y="999"/>
                  </a:lnTo>
                  <a:lnTo>
                    <a:pt x="2601" y="993"/>
                  </a:lnTo>
                  <a:lnTo>
                    <a:pt x="2608" y="986"/>
                  </a:lnTo>
                  <a:lnTo>
                    <a:pt x="2617" y="977"/>
                  </a:lnTo>
                  <a:lnTo>
                    <a:pt x="2623" y="968"/>
                  </a:lnTo>
                  <a:lnTo>
                    <a:pt x="2630" y="955"/>
                  </a:lnTo>
                  <a:lnTo>
                    <a:pt x="2633" y="949"/>
                  </a:lnTo>
                  <a:lnTo>
                    <a:pt x="2633" y="930"/>
                  </a:lnTo>
                  <a:lnTo>
                    <a:pt x="2630" y="912"/>
                  </a:lnTo>
                  <a:lnTo>
                    <a:pt x="2633" y="896"/>
                  </a:lnTo>
                  <a:lnTo>
                    <a:pt x="2648" y="877"/>
                  </a:lnTo>
                  <a:lnTo>
                    <a:pt x="2673" y="862"/>
                  </a:lnTo>
                  <a:lnTo>
                    <a:pt x="2695" y="849"/>
                  </a:lnTo>
                  <a:lnTo>
                    <a:pt x="2714" y="843"/>
                  </a:lnTo>
                  <a:lnTo>
                    <a:pt x="2736" y="837"/>
                  </a:lnTo>
                  <a:lnTo>
                    <a:pt x="2758" y="833"/>
                  </a:lnTo>
                  <a:lnTo>
                    <a:pt x="2776" y="824"/>
                  </a:lnTo>
                  <a:lnTo>
                    <a:pt x="2776" y="818"/>
                  </a:lnTo>
                  <a:lnTo>
                    <a:pt x="2779" y="812"/>
                  </a:lnTo>
                  <a:lnTo>
                    <a:pt x="2779" y="802"/>
                  </a:lnTo>
                  <a:lnTo>
                    <a:pt x="2779" y="793"/>
                  </a:lnTo>
                  <a:lnTo>
                    <a:pt x="2783" y="787"/>
                  </a:lnTo>
                  <a:lnTo>
                    <a:pt x="2783" y="777"/>
                  </a:lnTo>
                  <a:lnTo>
                    <a:pt x="2786" y="774"/>
                  </a:lnTo>
                  <a:lnTo>
                    <a:pt x="2798" y="771"/>
                  </a:lnTo>
                  <a:lnTo>
                    <a:pt x="2814" y="774"/>
                  </a:lnTo>
                  <a:lnTo>
                    <a:pt x="2833" y="774"/>
                  </a:lnTo>
                  <a:lnTo>
                    <a:pt x="2845" y="774"/>
                  </a:lnTo>
                  <a:lnTo>
                    <a:pt x="2861" y="762"/>
                  </a:lnTo>
                  <a:lnTo>
                    <a:pt x="2879" y="746"/>
                  </a:lnTo>
                  <a:lnTo>
                    <a:pt x="2895" y="727"/>
                  </a:lnTo>
                  <a:lnTo>
                    <a:pt x="2904" y="709"/>
                  </a:lnTo>
                  <a:lnTo>
                    <a:pt x="2904" y="696"/>
                  </a:lnTo>
                  <a:lnTo>
                    <a:pt x="2901" y="677"/>
                  </a:lnTo>
                  <a:lnTo>
                    <a:pt x="2895" y="662"/>
                  </a:lnTo>
                  <a:lnTo>
                    <a:pt x="2895" y="646"/>
                  </a:lnTo>
                  <a:lnTo>
                    <a:pt x="2898" y="637"/>
                  </a:lnTo>
                  <a:lnTo>
                    <a:pt x="2901" y="627"/>
                  </a:lnTo>
                  <a:lnTo>
                    <a:pt x="2908" y="618"/>
                  </a:lnTo>
                  <a:lnTo>
                    <a:pt x="2911" y="609"/>
                  </a:lnTo>
                  <a:lnTo>
                    <a:pt x="2914" y="602"/>
                  </a:lnTo>
                  <a:lnTo>
                    <a:pt x="2914" y="596"/>
                  </a:lnTo>
                  <a:lnTo>
                    <a:pt x="2914" y="590"/>
                  </a:lnTo>
                  <a:lnTo>
                    <a:pt x="2914" y="584"/>
                  </a:lnTo>
                  <a:lnTo>
                    <a:pt x="2911" y="574"/>
                  </a:lnTo>
                  <a:lnTo>
                    <a:pt x="2911" y="571"/>
                  </a:lnTo>
                  <a:lnTo>
                    <a:pt x="2914" y="565"/>
                  </a:lnTo>
                  <a:lnTo>
                    <a:pt x="2929" y="562"/>
                  </a:lnTo>
                  <a:lnTo>
                    <a:pt x="2948" y="562"/>
                  </a:lnTo>
                  <a:lnTo>
                    <a:pt x="2970" y="565"/>
                  </a:lnTo>
                  <a:lnTo>
                    <a:pt x="2986" y="565"/>
                  </a:lnTo>
                  <a:lnTo>
                    <a:pt x="3004" y="562"/>
                  </a:lnTo>
                  <a:lnTo>
                    <a:pt x="3029" y="556"/>
                  </a:lnTo>
                  <a:lnTo>
                    <a:pt x="3045" y="546"/>
                  </a:lnTo>
                  <a:lnTo>
                    <a:pt x="3048" y="531"/>
                  </a:lnTo>
                  <a:lnTo>
                    <a:pt x="3048" y="509"/>
                  </a:lnTo>
                  <a:lnTo>
                    <a:pt x="3045" y="487"/>
                  </a:lnTo>
                  <a:lnTo>
                    <a:pt x="3042" y="468"/>
                  </a:lnTo>
                  <a:lnTo>
                    <a:pt x="3045" y="449"/>
                  </a:lnTo>
                  <a:lnTo>
                    <a:pt x="3051" y="443"/>
                  </a:lnTo>
                  <a:lnTo>
                    <a:pt x="3057" y="434"/>
                  </a:lnTo>
                  <a:lnTo>
                    <a:pt x="3070" y="424"/>
                  </a:lnTo>
                  <a:lnTo>
                    <a:pt x="3076" y="415"/>
                  </a:lnTo>
                  <a:lnTo>
                    <a:pt x="3082" y="406"/>
                  </a:lnTo>
                  <a:lnTo>
                    <a:pt x="3086" y="390"/>
                  </a:lnTo>
                  <a:lnTo>
                    <a:pt x="3082" y="368"/>
                  </a:lnTo>
                  <a:lnTo>
                    <a:pt x="3079" y="346"/>
                  </a:lnTo>
                  <a:lnTo>
                    <a:pt x="3082" y="328"/>
                  </a:lnTo>
                  <a:lnTo>
                    <a:pt x="3089" y="321"/>
                  </a:lnTo>
                  <a:lnTo>
                    <a:pt x="3095" y="315"/>
                  </a:lnTo>
                  <a:lnTo>
                    <a:pt x="3104" y="309"/>
                  </a:lnTo>
                  <a:lnTo>
                    <a:pt x="3114" y="303"/>
                  </a:lnTo>
                  <a:lnTo>
                    <a:pt x="3120" y="296"/>
                  </a:lnTo>
                  <a:lnTo>
                    <a:pt x="3123" y="290"/>
                  </a:lnTo>
                  <a:lnTo>
                    <a:pt x="3123" y="268"/>
                  </a:lnTo>
                  <a:lnTo>
                    <a:pt x="3120" y="246"/>
                  </a:lnTo>
                  <a:lnTo>
                    <a:pt x="3110" y="221"/>
                  </a:lnTo>
                  <a:lnTo>
                    <a:pt x="3104" y="200"/>
                  </a:lnTo>
                  <a:lnTo>
                    <a:pt x="3095" y="184"/>
                  </a:lnTo>
                  <a:lnTo>
                    <a:pt x="3089" y="162"/>
                  </a:lnTo>
                  <a:lnTo>
                    <a:pt x="3082" y="143"/>
                  </a:lnTo>
                  <a:lnTo>
                    <a:pt x="3086" y="122"/>
                  </a:lnTo>
                  <a:lnTo>
                    <a:pt x="3092" y="97"/>
                  </a:lnTo>
                  <a:lnTo>
                    <a:pt x="3104" y="78"/>
                  </a:lnTo>
                  <a:lnTo>
                    <a:pt x="3110" y="72"/>
                  </a:lnTo>
                  <a:lnTo>
                    <a:pt x="3120" y="68"/>
                  </a:lnTo>
                  <a:lnTo>
                    <a:pt x="3129" y="65"/>
                  </a:lnTo>
                  <a:lnTo>
                    <a:pt x="3142" y="62"/>
                  </a:lnTo>
                  <a:lnTo>
                    <a:pt x="3154" y="5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Freeform 55">
              <a:extLst>
                <a:ext uri="{FF2B5EF4-FFF2-40B4-BE49-F238E27FC236}">
                  <a16:creationId xmlns:a16="http://schemas.microsoft.com/office/drawing/2014/main" id="{8A993327-433D-4503-B3CC-C2EEA427F55B}"/>
                </a:ext>
              </a:extLst>
            </p:cNvPr>
            <p:cNvSpPr>
              <a:spLocks/>
            </p:cNvSpPr>
            <p:nvPr/>
          </p:nvSpPr>
          <p:spPr bwMode="auto">
            <a:xfrm>
              <a:off x="24361776" y="-738188"/>
              <a:ext cx="9191625" cy="8912225"/>
            </a:xfrm>
            <a:custGeom>
              <a:avLst/>
              <a:gdLst>
                <a:gd name="T0" fmla="*/ 593 w 5790"/>
                <a:gd name="T1" fmla="*/ 3937 h 5614"/>
                <a:gd name="T2" fmla="*/ 993 w 5790"/>
                <a:gd name="T3" fmla="*/ 3703 h 5614"/>
                <a:gd name="T4" fmla="*/ 1134 w 5790"/>
                <a:gd name="T5" fmla="*/ 3428 h 5614"/>
                <a:gd name="T6" fmla="*/ 1337 w 5790"/>
                <a:gd name="T7" fmla="*/ 3104 h 5614"/>
                <a:gd name="T8" fmla="*/ 1090 w 5790"/>
                <a:gd name="T9" fmla="*/ 2657 h 5614"/>
                <a:gd name="T10" fmla="*/ 837 w 5790"/>
                <a:gd name="T11" fmla="*/ 2713 h 5614"/>
                <a:gd name="T12" fmla="*/ 381 w 5790"/>
                <a:gd name="T13" fmla="*/ 2794 h 5614"/>
                <a:gd name="T14" fmla="*/ 400 w 5790"/>
                <a:gd name="T15" fmla="*/ 2389 h 5614"/>
                <a:gd name="T16" fmla="*/ 34 w 5790"/>
                <a:gd name="T17" fmla="*/ 1805 h 5614"/>
                <a:gd name="T18" fmla="*/ 103 w 5790"/>
                <a:gd name="T19" fmla="*/ 1333 h 5614"/>
                <a:gd name="T20" fmla="*/ 169 w 5790"/>
                <a:gd name="T21" fmla="*/ 837 h 5614"/>
                <a:gd name="T22" fmla="*/ 415 w 5790"/>
                <a:gd name="T23" fmla="*/ 802 h 5614"/>
                <a:gd name="T24" fmla="*/ 662 w 5790"/>
                <a:gd name="T25" fmla="*/ 815 h 5614"/>
                <a:gd name="T26" fmla="*/ 1134 w 5790"/>
                <a:gd name="T27" fmla="*/ 793 h 5614"/>
                <a:gd name="T28" fmla="*/ 1349 w 5790"/>
                <a:gd name="T29" fmla="*/ 618 h 5614"/>
                <a:gd name="T30" fmla="*/ 1546 w 5790"/>
                <a:gd name="T31" fmla="*/ 637 h 5614"/>
                <a:gd name="T32" fmla="*/ 1718 w 5790"/>
                <a:gd name="T33" fmla="*/ 830 h 5614"/>
                <a:gd name="T34" fmla="*/ 1933 w 5790"/>
                <a:gd name="T35" fmla="*/ 390 h 5614"/>
                <a:gd name="T36" fmla="*/ 2217 w 5790"/>
                <a:gd name="T37" fmla="*/ 75 h 5614"/>
                <a:gd name="T38" fmla="*/ 2633 w 5790"/>
                <a:gd name="T39" fmla="*/ 215 h 5614"/>
                <a:gd name="T40" fmla="*/ 2923 w 5790"/>
                <a:gd name="T41" fmla="*/ 453 h 5614"/>
                <a:gd name="T42" fmla="*/ 3273 w 5790"/>
                <a:gd name="T43" fmla="*/ 403 h 5614"/>
                <a:gd name="T44" fmla="*/ 3719 w 5790"/>
                <a:gd name="T45" fmla="*/ 356 h 5614"/>
                <a:gd name="T46" fmla="*/ 3944 w 5790"/>
                <a:gd name="T47" fmla="*/ 437 h 5614"/>
                <a:gd name="T48" fmla="*/ 3863 w 5790"/>
                <a:gd name="T49" fmla="*/ 777 h 5614"/>
                <a:gd name="T50" fmla="*/ 4138 w 5790"/>
                <a:gd name="T51" fmla="*/ 418 h 5614"/>
                <a:gd name="T52" fmla="*/ 4472 w 5790"/>
                <a:gd name="T53" fmla="*/ 65 h 5614"/>
                <a:gd name="T54" fmla="*/ 5053 w 5790"/>
                <a:gd name="T55" fmla="*/ 93 h 5614"/>
                <a:gd name="T56" fmla="*/ 5087 w 5790"/>
                <a:gd name="T57" fmla="*/ 543 h 5614"/>
                <a:gd name="T58" fmla="*/ 5196 w 5790"/>
                <a:gd name="T59" fmla="*/ 852 h 5614"/>
                <a:gd name="T60" fmla="*/ 5440 w 5790"/>
                <a:gd name="T61" fmla="*/ 1121 h 5614"/>
                <a:gd name="T62" fmla="*/ 5218 w 5790"/>
                <a:gd name="T63" fmla="*/ 1436 h 5614"/>
                <a:gd name="T64" fmla="*/ 5281 w 5790"/>
                <a:gd name="T65" fmla="*/ 1839 h 5614"/>
                <a:gd name="T66" fmla="*/ 5449 w 5790"/>
                <a:gd name="T67" fmla="*/ 2176 h 5614"/>
                <a:gd name="T68" fmla="*/ 5752 w 5790"/>
                <a:gd name="T69" fmla="*/ 2413 h 5614"/>
                <a:gd name="T70" fmla="*/ 5690 w 5790"/>
                <a:gd name="T71" fmla="*/ 2704 h 5614"/>
                <a:gd name="T72" fmla="*/ 5412 w 5790"/>
                <a:gd name="T73" fmla="*/ 3001 h 5614"/>
                <a:gd name="T74" fmla="*/ 4962 w 5790"/>
                <a:gd name="T75" fmla="*/ 3097 h 5614"/>
                <a:gd name="T76" fmla="*/ 4744 w 5790"/>
                <a:gd name="T77" fmla="*/ 3288 h 5614"/>
                <a:gd name="T78" fmla="*/ 4406 w 5790"/>
                <a:gd name="T79" fmla="*/ 3235 h 5614"/>
                <a:gd name="T80" fmla="*/ 4247 w 5790"/>
                <a:gd name="T81" fmla="*/ 3435 h 5614"/>
                <a:gd name="T82" fmla="*/ 4456 w 5790"/>
                <a:gd name="T83" fmla="*/ 3597 h 5614"/>
                <a:gd name="T84" fmla="*/ 4428 w 5790"/>
                <a:gd name="T85" fmla="*/ 3831 h 5614"/>
                <a:gd name="T86" fmla="*/ 4022 w 5790"/>
                <a:gd name="T87" fmla="*/ 3956 h 5614"/>
                <a:gd name="T88" fmla="*/ 3654 w 5790"/>
                <a:gd name="T89" fmla="*/ 4122 h 5614"/>
                <a:gd name="T90" fmla="*/ 3544 w 5790"/>
                <a:gd name="T91" fmla="*/ 4334 h 5614"/>
                <a:gd name="T92" fmla="*/ 3285 w 5790"/>
                <a:gd name="T93" fmla="*/ 4546 h 5614"/>
                <a:gd name="T94" fmla="*/ 3301 w 5790"/>
                <a:gd name="T95" fmla="*/ 4793 h 5614"/>
                <a:gd name="T96" fmla="*/ 3070 w 5790"/>
                <a:gd name="T97" fmla="*/ 4809 h 5614"/>
                <a:gd name="T98" fmla="*/ 2998 w 5790"/>
                <a:gd name="T99" fmla="*/ 4993 h 5614"/>
                <a:gd name="T100" fmla="*/ 3251 w 5790"/>
                <a:gd name="T101" fmla="*/ 5130 h 5614"/>
                <a:gd name="T102" fmla="*/ 3416 w 5790"/>
                <a:gd name="T103" fmla="*/ 5286 h 5614"/>
                <a:gd name="T104" fmla="*/ 3385 w 5790"/>
                <a:gd name="T105" fmla="*/ 5520 h 5614"/>
                <a:gd name="T106" fmla="*/ 3098 w 5790"/>
                <a:gd name="T107" fmla="*/ 5611 h 5614"/>
                <a:gd name="T108" fmla="*/ 2792 w 5790"/>
                <a:gd name="T109" fmla="*/ 5408 h 5614"/>
                <a:gd name="T110" fmla="*/ 2576 w 5790"/>
                <a:gd name="T111" fmla="*/ 5268 h 5614"/>
                <a:gd name="T112" fmla="*/ 2095 w 5790"/>
                <a:gd name="T113" fmla="*/ 5352 h 5614"/>
                <a:gd name="T114" fmla="*/ 1774 w 5790"/>
                <a:gd name="T115" fmla="*/ 5168 h 5614"/>
                <a:gd name="T116" fmla="*/ 1490 w 5790"/>
                <a:gd name="T117" fmla="*/ 5158 h 5614"/>
                <a:gd name="T118" fmla="*/ 1230 w 5790"/>
                <a:gd name="T119" fmla="*/ 5199 h 5614"/>
                <a:gd name="T120" fmla="*/ 903 w 5790"/>
                <a:gd name="T121" fmla="*/ 5261 h 5614"/>
                <a:gd name="T122" fmla="*/ 656 w 5790"/>
                <a:gd name="T123" fmla="*/ 4977 h 5614"/>
                <a:gd name="T124" fmla="*/ 390 w 5790"/>
                <a:gd name="T125" fmla="*/ 4499 h 5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90" h="5614">
                  <a:moveTo>
                    <a:pt x="359" y="4212"/>
                  </a:moveTo>
                  <a:lnTo>
                    <a:pt x="359" y="4200"/>
                  </a:lnTo>
                  <a:lnTo>
                    <a:pt x="362" y="4187"/>
                  </a:lnTo>
                  <a:lnTo>
                    <a:pt x="369" y="4178"/>
                  </a:lnTo>
                  <a:lnTo>
                    <a:pt x="381" y="4165"/>
                  </a:lnTo>
                  <a:lnTo>
                    <a:pt x="406" y="4156"/>
                  </a:lnTo>
                  <a:lnTo>
                    <a:pt x="428" y="4143"/>
                  </a:lnTo>
                  <a:lnTo>
                    <a:pt x="447" y="4134"/>
                  </a:lnTo>
                  <a:lnTo>
                    <a:pt x="456" y="4115"/>
                  </a:lnTo>
                  <a:lnTo>
                    <a:pt x="462" y="4093"/>
                  </a:lnTo>
                  <a:lnTo>
                    <a:pt x="469" y="4078"/>
                  </a:lnTo>
                  <a:lnTo>
                    <a:pt x="475" y="4068"/>
                  </a:lnTo>
                  <a:lnTo>
                    <a:pt x="481" y="4056"/>
                  </a:lnTo>
                  <a:lnTo>
                    <a:pt x="487" y="4043"/>
                  </a:lnTo>
                  <a:lnTo>
                    <a:pt x="494" y="4034"/>
                  </a:lnTo>
                  <a:lnTo>
                    <a:pt x="503" y="4028"/>
                  </a:lnTo>
                  <a:lnTo>
                    <a:pt x="519" y="4025"/>
                  </a:lnTo>
                  <a:lnTo>
                    <a:pt x="537" y="4025"/>
                  </a:lnTo>
                  <a:lnTo>
                    <a:pt x="556" y="4025"/>
                  </a:lnTo>
                  <a:lnTo>
                    <a:pt x="568" y="4022"/>
                  </a:lnTo>
                  <a:lnTo>
                    <a:pt x="575" y="4006"/>
                  </a:lnTo>
                  <a:lnTo>
                    <a:pt x="575" y="3984"/>
                  </a:lnTo>
                  <a:lnTo>
                    <a:pt x="575" y="3962"/>
                  </a:lnTo>
                  <a:lnTo>
                    <a:pt x="578" y="3947"/>
                  </a:lnTo>
                  <a:lnTo>
                    <a:pt x="584" y="3940"/>
                  </a:lnTo>
                  <a:lnTo>
                    <a:pt x="593" y="3937"/>
                  </a:lnTo>
                  <a:lnTo>
                    <a:pt x="603" y="3934"/>
                  </a:lnTo>
                  <a:lnTo>
                    <a:pt x="612" y="3934"/>
                  </a:lnTo>
                  <a:lnTo>
                    <a:pt x="634" y="3931"/>
                  </a:lnTo>
                  <a:lnTo>
                    <a:pt x="659" y="3934"/>
                  </a:lnTo>
                  <a:lnTo>
                    <a:pt x="687" y="3934"/>
                  </a:lnTo>
                  <a:lnTo>
                    <a:pt x="706" y="3934"/>
                  </a:lnTo>
                  <a:lnTo>
                    <a:pt x="734" y="3925"/>
                  </a:lnTo>
                  <a:lnTo>
                    <a:pt x="765" y="3912"/>
                  </a:lnTo>
                  <a:lnTo>
                    <a:pt x="790" y="3894"/>
                  </a:lnTo>
                  <a:lnTo>
                    <a:pt x="796" y="3881"/>
                  </a:lnTo>
                  <a:lnTo>
                    <a:pt x="800" y="3859"/>
                  </a:lnTo>
                  <a:lnTo>
                    <a:pt x="803" y="3837"/>
                  </a:lnTo>
                  <a:lnTo>
                    <a:pt x="809" y="3825"/>
                  </a:lnTo>
                  <a:lnTo>
                    <a:pt x="821" y="3819"/>
                  </a:lnTo>
                  <a:lnTo>
                    <a:pt x="840" y="3819"/>
                  </a:lnTo>
                  <a:lnTo>
                    <a:pt x="859" y="3819"/>
                  </a:lnTo>
                  <a:lnTo>
                    <a:pt x="874" y="3812"/>
                  </a:lnTo>
                  <a:lnTo>
                    <a:pt x="878" y="3800"/>
                  </a:lnTo>
                  <a:lnTo>
                    <a:pt x="878" y="3778"/>
                  </a:lnTo>
                  <a:lnTo>
                    <a:pt x="878" y="3759"/>
                  </a:lnTo>
                  <a:lnTo>
                    <a:pt x="881" y="3744"/>
                  </a:lnTo>
                  <a:lnTo>
                    <a:pt x="899" y="3731"/>
                  </a:lnTo>
                  <a:lnTo>
                    <a:pt x="928" y="3719"/>
                  </a:lnTo>
                  <a:lnTo>
                    <a:pt x="956" y="3709"/>
                  </a:lnTo>
                  <a:lnTo>
                    <a:pt x="981" y="3703"/>
                  </a:lnTo>
                  <a:lnTo>
                    <a:pt x="993" y="3703"/>
                  </a:lnTo>
                  <a:lnTo>
                    <a:pt x="1012" y="3703"/>
                  </a:lnTo>
                  <a:lnTo>
                    <a:pt x="1031" y="3703"/>
                  </a:lnTo>
                  <a:lnTo>
                    <a:pt x="1040" y="3697"/>
                  </a:lnTo>
                  <a:lnTo>
                    <a:pt x="1043" y="3684"/>
                  </a:lnTo>
                  <a:lnTo>
                    <a:pt x="1040" y="3666"/>
                  </a:lnTo>
                  <a:lnTo>
                    <a:pt x="1037" y="3647"/>
                  </a:lnTo>
                  <a:lnTo>
                    <a:pt x="1031" y="3628"/>
                  </a:lnTo>
                  <a:lnTo>
                    <a:pt x="1028" y="3613"/>
                  </a:lnTo>
                  <a:lnTo>
                    <a:pt x="1037" y="3588"/>
                  </a:lnTo>
                  <a:lnTo>
                    <a:pt x="1046" y="3563"/>
                  </a:lnTo>
                  <a:lnTo>
                    <a:pt x="1062" y="3544"/>
                  </a:lnTo>
                  <a:lnTo>
                    <a:pt x="1068" y="3544"/>
                  </a:lnTo>
                  <a:lnTo>
                    <a:pt x="1077" y="3544"/>
                  </a:lnTo>
                  <a:lnTo>
                    <a:pt x="1084" y="3544"/>
                  </a:lnTo>
                  <a:lnTo>
                    <a:pt x="1093" y="3544"/>
                  </a:lnTo>
                  <a:lnTo>
                    <a:pt x="1102" y="3547"/>
                  </a:lnTo>
                  <a:lnTo>
                    <a:pt x="1109" y="3544"/>
                  </a:lnTo>
                  <a:lnTo>
                    <a:pt x="1124" y="3541"/>
                  </a:lnTo>
                  <a:lnTo>
                    <a:pt x="1143" y="3534"/>
                  </a:lnTo>
                  <a:lnTo>
                    <a:pt x="1162" y="3525"/>
                  </a:lnTo>
                  <a:lnTo>
                    <a:pt x="1168" y="3516"/>
                  </a:lnTo>
                  <a:lnTo>
                    <a:pt x="1165" y="3500"/>
                  </a:lnTo>
                  <a:lnTo>
                    <a:pt x="1156" y="3485"/>
                  </a:lnTo>
                  <a:lnTo>
                    <a:pt x="1140" y="3469"/>
                  </a:lnTo>
                  <a:lnTo>
                    <a:pt x="1134" y="3456"/>
                  </a:lnTo>
                  <a:lnTo>
                    <a:pt x="1134" y="3428"/>
                  </a:lnTo>
                  <a:lnTo>
                    <a:pt x="1140" y="3397"/>
                  </a:lnTo>
                  <a:lnTo>
                    <a:pt x="1149" y="3372"/>
                  </a:lnTo>
                  <a:lnTo>
                    <a:pt x="1162" y="3357"/>
                  </a:lnTo>
                  <a:lnTo>
                    <a:pt x="1184" y="3344"/>
                  </a:lnTo>
                  <a:lnTo>
                    <a:pt x="1199" y="3332"/>
                  </a:lnTo>
                  <a:lnTo>
                    <a:pt x="1205" y="3332"/>
                  </a:lnTo>
                  <a:lnTo>
                    <a:pt x="1215" y="3332"/>
                  </a:lnTo>
                  <a:lnTo>
                    <a:pt x="1224" y="3332"/>
                  </a:lnTo>
                  <a:lnTo>
                    <a:pt x="1234" y="3332"/>
                  </a:lnTo>
                  <a:lnTo>
                    <a:pt x="1243" y="3332"/>
                  </a:lnTo>
                  <a:lnTo>
                    <a:pt x="1249" y="3328"/>
                  </a:lnTo>
                  <a:lnTo>
                    <a:pt x="1255" y="3322"/>
                  </a:lnTo>
                  <a:lnTo>
                    <a:pt x="1259" y="3313"/>
                  </a:lnTo>
                  <a:lnTo>
                    <a:pt x="1265" y="3303"/>
                  </a:lnTo>
                  <a:lnTo>
                    <a:pt x="1268" y="3294"/>
                  </a:lnTo>
                  <a:lnTo>
                    <a:pt x="1271" y="3288"/>
                  </a:lnTo>
                  <a:lnTo>
                    <a:pt x="1274" y="3272"/>
                  </a:lnTo>
                  <a:lnTo>
                    <a:pt x="1280" y="3250"/>
                  </a:lnTo>
                  <a:lnTo>
                    <a:pt x="1284" y="3235"/>
                  </a:lnTo>
                  <a:lnTo>
                    <a:pt x="1299" y="3222"/>
                  </a:lnTo>
                  <a:lnTo>
                    <a:pt x="1321" y="3207"/>
                  </a:lnTo>
                  <a:lnTo>
                    <a:pt x="1337" y="3191"/>
                  </a:lnTo>
                  <a:lnTo>
                    <a:pt x="1340" y="3172"/>
                  </a:lnTo>
                  <a:lnTo>
                    <a:pt x="1337" y="3147"/>
                  </a:lnTo>
                  <a:lnTo>
                    <a:pt x="1337" y="3129"/>
                  </a:lnTo>
                  <a:lnTo>
                    <a:pt x="1337" y="3104"/>
                  </a:lnTo>
                  <a:lnTo>
                    <a:pt x="1337" y="3075"/>
                  </a:lnTo>
                  <a:lnTo>
                    <a:pt x="1334" y="3047"/>
                  </a:lnTo>
                  <a:lnTo>
                    <a:pt x="1327" y="3022"/>
                  </a:lnTo>
                  <a:lnTo>
                    <a:pt x="1312" y="3001"/>
                  </a:lnTo>
                  <a:lnTo>
                    <a:pt x="1290" y="2979"/>
                  </a:lnTo>
                  <a:lnTo>
                    <a:pt x="1268" y="2966"/>
                  </a:lnTo>
                  <a:lnTo>
                    <a:pt x="1246" y="2963"/>
                  </a:lnTo>
                  <a:lnTo>
                    <a:pt x="1224" y="2963"/>
                  </a:lnTo>
                  <a:lnTo>
                    <a:pt x="1196" y="2966"/>
                  </a:lnTo>
                  <a:lnTo>
                    <a:pt x="1174" y="2969"/>
                  </a:lnTo>
                  <a:lnTo>
                    <a:pt x="1156" y="2966"/>
                  </a:lnTo>
                  <a:lnTo>
                    <a:pt x="1149" y="2960"/>
                  </a:lnTo>
                  <a:lnTo>
                    <a:pt x="1146" y="2954"/>
                  </a:lnTo>
                  <a:lnTo>
                    <a:pt x="1140" y="2947"/>
                  </a:lnTo>
                  <a:lnTo>
                    <a:pt x="1140" y="2941"/>
                  </a:lnTo>
                  <a:lnTo>
                    <a:pt x="1140" y="2919"/>
                  </a:lnTo>
                  <a:lnTo>
                    <a:pt x="1146" y="2891"/>
                  </a:lnTo>
                  <a:lnTo>
                    <a:pt x="1152" y="2860"/>
                  </a:lnTo>
                  <a:lnTo>
                    <a:pt x="1156" y="2838"/>
                  </a:lnTo>
                  <a:lnTo>
                    <a:pt x="1156" y="2810"/>
                  </a:lnTo>
                  <a:lnTo>
                    <a:pt x="1149" y="2779"/>
                  </a:lnTo>
                  <a:lnTo>
                    <a:pt x="1140" y="2751"/>
                  </a:lnTo>
                  <a:lnTo>
                    <a:pt x="1134" y="2726"/>
                  </a:lnTo>
                  <a:lnTo>
                    <a:pt x="1121" y="2698"/>
                  </a:lnTo>
                  <a:lnTo>
                    <a:pt x="1109" y="2670"/>
                  </a:lnTo>
                  <a:lnTo>
                    <a:pt x="1090" y="2657"/>
                  </a:lnTo>
                  <a:lnTo>
                    <a:pt x="1084" y="2657"/>
                  </a:lnTo>
                  <a:lnTo>
                    <a:pt x="1077" y="2657"/>
                  </a:lnTo>
                  <a:lnTo>
                    <a:pt x="1068" y="2660"/>
                  </a:lnTo>
                  <a:lnTo>
                    <a:pt x="1062" y="2666"/>
                  </a:lnTo>
                  <a:lnTo>
                    <a:pt x="1056" y="2673"/>
                  </a:lnTo>
                  <a:lnTo>
                    <a:pt x="1049" y="2676"/>
                  </a:lnTo>
                  <a:lnTo>
                    <a:pt x="1046" y="2682"/>
                  </a:lnTo>
                  <a:lnTo>
                    <a:pt x="1043" y="2688"/>
                  </a:lnTo>
                  <a:lnTo>
                    <a:pt x="1043" y="2698"/>
                  </a:lnTo>
                  <a:lnTo>
                    <a:pt x="1040" y="2707"/>
                  </a:lnTo>
                  <a:lnTo>
                    <a:pt x="1037" y="2713"/>
                  </a:lnTo>
                  <a:lnTo>
                    <a:pt x="1034" y="2720"/>
                  </a:lnTo>
                  <a:lnTo>
                    <a:pt x="1015" y="2729"/>
                  </a:lnTo>
                  <a:lnTo>
                    <a:pt x="990" y="2738"/>
                  </a:lnTo>
                  <a:lnTo>
                    <a:pt x="971" y="2738"/>
                  </a:lnTo>
                  <a:lnTo>
                    <a:pt x="962" y="2735"/>
                  </a:lnTo>
                  <a:lnTo>
                    <a:pt x="956" y="2729"/>
                  </a:lnTo>
                  <a:lnTo>
                    <a:pt x="949" y="2720"/>
                  </a:lnTo>
                  <a:lnTo>
                    <a:pt x="943" y="2713"/>
                  </a:lnTo>
                  <a:lnTo>
                    <a:pt x="937" y="2707"/>
                  </a:lnTo>
                  <a:lnTo>
                    <a:pt x="931" y="2701"/>
                  </a:lnTo>
                  <a:lnTo>
                    <a:pt x="906" y="2698"/>
                  </a:lnTo>
                  <a:lnTo>
                    <a:pt x="878" y="2698"/>
                  </a:lnTo>
                  <a:lnTo>
                    <a:pt x="853" y="2701"/>
                  </a:lnTo>
                  <a:lnTo>
                    <a:pt x="843" y="2707"/>
                  </a:lnTo>
                  <a:lnTo>
                    <a:pt x="837" y="2713"/>
                  </a:lnTo>
                  <a:lnTo>
                    <a:pt x="828" y="2723"/>
                  </a:lnTo>
                  <a:lnTo>
                    <a:pt x="818" y="2729"/>
                  </a:lnTo>
                  <a:lnTo>
                    <a:pt x="812" y="2735"/>
                  </a:lnTo>
                  <a:lnTo>
                    <a:pt x="787" y="2751"/>
                  </a:lnTo>
                  <a:lnTo>
                    <a:pt x="756" y="2769"/>
                  </a:lnTo>
                  <a:lnTo>
                    <a:pt x="731" y="2782"/>
                  </a:lnTo>
                  <a:lnTo>
                    <a:pt x="709" y="2782"/>
                  </a:lnTo>
                  <a:lnTo>
                    <a:pt x="684" y="2779"/>
                  </a:lnTo>
                  <a:lnTo>
                    <a:pt x="662" y="2779"/>
                  </a:lnTo>
                  <a:lnTo>
                    <a:pt x="643" y="2785"/>
                  </a:lnTo>
                  <a:lnTo>
                    <a:pt x="640" y="2788"/>
                  </a:lnTo>
                  <a:lnTo>
                    <a:pt x="640" y="2791"/>
                  </a:lnTo>
                  <a:lnTo>
                    <a:pt x="637" y="2794"/>
                  </a:lnTo>
                  <a:lnTo>
                    <a:pt x="634" y="2798"/>
                  </a:lnTo>
                  <a:lnTo>
                    <a:pt x="618" y="2804"/>
                  </a:lnTo>
                  <a:lnTo>
                    <a:pt x="593" y="2807"/>
                  </a:lnTo>
                  <a:lnTo>
                    <a:pt x="568" y="2807"/>
                  </a:lnTo>
                  <a:lnTo>
                    <a:pt x="550" y="2804"/>
                  </a:lnTo>
                  <a:lnTo>
                    <a:pt x="531" y="2798"/>
                  </a:lnTo>
                  <a:lnTo>
                    <a:pt x="512" y="2788"/>
                  </a:lnTo>
                  <a:lnTo>
                    <a:pt x="494" y="2782"/>
                  </a:lnTo>
                  <a:lnTo>
                    <a:pt x="475" y="2782"/>
                  </a:lnTo>
                  <a:lnTo>
                    <a:pt x="453" y="2785"/>
                  </a:lnTo>
                  <a:lnTo>
                    <a:pt x="428" y="2788"/>
                  </a:lnTo>
                  <a:lnTo>
                    <a:pt x="403" y="2794"/>
                  </a:lnTo>
                  <a:lnTo>
                    <a:pt x="381" y="2794"/>
                  </a:lnTo>
                  <a:lnTo>
                    <a:pt x="369" y="2785"/>
                  </a:lnTo>
                  <a:lnTo>
                    <a:pt x="362" y="2773"/>
                  </a:lnTo>
                  <a:lnTo>
                    <a:pt x="362" y="2754"/>
                  </a:lnTo>
                  <a:lnTo>
                    <a:pt x="365" y="2735"/>
                  </a:lnTo>
                  <a:lnTo>
                    <a:pt x="369" y="2720"/>
                  </a:lnTo>
                  <a:lnTo>
                    <a:pt x="375" y="2691"/>
                  </a:lnTo>
                  <a:lnTo>
                    <a:pt x="387" y="2660"/>
                  </a:lnTo>
                  <a:lnTo>
                    <a:pt x="403" y="2632"/>
                  </a:lnTo>
                  <a:lnTo>
                    <a:pt x="419" y="2607"/>
                  </a:lnTo>
                  <a:lnTo>
                    <a:pt x="425" y="2601"/>
                  </a:lnTo>
                  <a:lnTo>
                    <a:pt x="434" y="2595"/>
                  </a:lnTo>
                  <a:lnTo>
                    <a:pt x="444" y="2588"/>
                  </a:lnTo>
                  <a:lnTo>
                    <a:pt x="453" y="2579"/>
                  </a:lnTo>
                  <a:lnTo>
                    <a:pt x="462" y="2573"/>
                  </a:lnTo>
                  <a:lnTo>
                    <a:pt x="472" y="2560"/>
                  </a:lnTo>
                  <a:lnTo>
                    <a:pt x="484" y="2542"/>
                  </a:lnTo>
                  <a:lnTo>
                    <a:pt x="490" y="2523"/>
                  </a:lnTo>
                  <a:lnTo>
                    <a:pt x="494" y="2510"/>
                  </a:lnTo>
                  <a:lnTo>
                    <a:pt x="490" y="2495"/>
                  </a:lnTo>
                  <a:lnTo>
                    <a:pt x="484" y="2473"/>
                  </a:lnTo>
                  <a:lnTo>
                    <a:pt x="472" y="2448"/>
                  </a:lnTo>
                  <a:lnTo>
                    <a:pt x="462" y="2432"/>
                  </a:lnTo>
                  <a:lnTo>
                    <a:pt x="447" y="2420"/>
                  </a:lnTo>
                  <a:lnTo>
                    <a:pt x="428" y="2410"/>
                  </a:lnTo>
                  <a:lnTo>
                    <a:pt x="412" y="2401"/>
                  </a:lnTo>
                  <a:lnTo>
                    <a:pt x="400" y="2389"/>
                  </a:lnTo>
                  <a:lnTo>
                    <a:pt x="400" y="2370"/>
                  </a:lnTo>
                  <a:lnTo>
                    <a:pt x="403" y="2351"/>
                  </a:lnTo>
                  <a:lnTo>
                    <a:pt x="406" y="2329"/>
                  </a:lnTo>
                  <a:lnTo>
                    <a:pt x="409" y="2310"/>
                  </a:lnTo>
                  <a:lnTo>
                    <a:pt x="403" y="2289"/>
                  </a:lnTo>
                  <a:lnTo>
                    <a:pt x="397" y="2260"/>
                  </a:lnTo>
                  <a:lnTo>
                    <a:pt x="384" y="2242"/>
                  </a:lnTo>
                  <a:lnTo>
                    <a:pt x="365" y="2229"/>
                  </a:lnTo>
                  <a:lnTo>
                    <a:pt x="337" y="2217"/>
                  </a:lnTo>
                  <a:lnTo>
                    <a:pt x="309" y="2204"/>
                  </a:lnTo>
                  <a:lnTo>
                    <a:pt x="287" y="2192"/>
                  </a:lnTo>
                  <a:lnTo>
                    <a:pt x="272" y="2170"/>
                  </a:lnTo>
                  <a:lnTo>
                    <a:pt x="253" y="2139"/>
                  </a:lnTo>
                  <a:lnTo>
                    <a:pt x="241" y="2114"/>
                  </a:lnTo>
                  <a:lnTo>
                    <a:pt x="222" y="2082"/>
                  </a:lnTo>
                  <a:lnTo>
                    <a:pt x="203" y="2045"/>
                  </a:lnTo>
                  <a:lnTo>
                    <a:pt x="184" y="2004"/>
                  </a:lnTo>
                  <a:lnTo>
                    <a:pt x="169" y="1973"/>
                  </a:lnTo>
                  <a:lnTo>
                    <a:pt x="153" y="1951"/>
                  </a:lnTo>
                  <a:lnTo>
                    <a:pt x="138" y="1923"/>
                  </a:lnTo>
                  <a:lnTo>
                    <a:pt x="122" y="1901"/>
                  </a:lnTo>
                  <a:lnTo>
                    <a:pt x="103" y="1886"/>
                  </a:lnTo>
                  <a:lnTo>
                    <a:pt x="78" y="1870"/>
                  </a:lnTo>
                  <a:lnTo>
                    <a:pt x="59" y="1855"/>
                  </a:lnTo>
                  <a:lnTo>
                    <a:pt x="47" y="1833"/>
                  </a:lnTo>
                  <a:lnTo>
                    <a:pt x="34" y="1805"/>
                  </a:lnTo>
                  <a:lnTo>
                    <a:pt x="25" y="1773"/>
                  </a:lnTo>
                  <a:lnTo>
                    <a:pt x="22" y="1748"/>
                  </a:lnTo>
                  <a:lnTo>
                    <a:pt x="31" y="1733"/>
                  </a:lnTo>
                  <a:lnTo>
                    <a:pt x="44" y="1717"/>
                  </a:lnTo>
                  <a:lnTo>
                    <a:pt x="56" y="1702"/>
                  </a:lnTo>
                  <a:lnTo>
                    <a:pt x="63" y="1692"/>
                  </a:lnTo>
                  <a:lnTo>
                    <a:pt x="63" y="1680"/>
                  </a:lnTo>
                  <a:lnTo>
                    <a:pt x="56" y="1661"/>
                  </a:lnTo>
                  <a:lnTo>
                    <a:pt x="56" y="1639"/>
                  </a:lnTo>
                  <a:lnTo>
                    <a:pt x="56" y="1620"/>
                  </a:lnTo>
                  <a:lnTo>
                    <a:pt x="66" y="1605"/>
                  </a:lnTo>
                  <a:lnTo>
                    <a:pt x="78" y="1586"/>
                  </a:lnTo>
                  <a:lnTo>
                    <a:pt x="88" y="1570"/>
                  </a:lnTo>
                  <a:lnTo>
                    <a:pt x="81" y="1545"/>
                  </a:lnTo>
                  <a:lnTo>
                    <a:pt x="69" y="1520"/>
                  </a:lnTo>
                  <a:lnTo>
                    <a:pt x="50" y="1492"/>
                  </a:lnTo>
                  <a:lnTo>
                    <a:pt x="34" y="1467"/>
                  </a:lnTo>
                  <a:lnTo>
                    <a:pt x="22" y="1445"/>
                  </a:lnTo>
                  <a:lnTo>
                    <a:pt x="13" y="1430"/>
                  </a:lnTo>
                  <a:lnTo>
                    <a:pt x="3" y="1411"/>
                  </a:lnTo>
                  <a:lnTo>
                    <a:pt x="0" y="1392"/>
                  </a:lnTo>
                  <a:lnTo>
                    <a:pt x="13" y="1377"/>
                  </a:lnTo>
                  <a:lnTo>
                    <a:pt x="38" y="1358"/>
                  </a:lnTo>
                  <a:lnTo>
                    <a:pt x="63" y="1342"/>
                  </a:lnTo>
                  <a:lnTo>
                    <a:pt x="84" y="1336"/>
                  </a:lnTo>
                  <a:lnTo>
                    <a:pt x="103" y="1333"/>
                  </a:lnTo>
                  <a:lnTo>
                    <a:pt x="128" y="1336"/>
                  </a:lnTo>
                  <a:lnTo>
                    <a:pt x="153" y="1339"/>
                  </a:lnTo>
                  <a:lnTo>
                    <a:pt x="172" y="1336"/>
                  </a:lnTo>
                  <a:lnTo>
                    <a:pt x="187" y="1321"/>
                  </a:lnTo>
                  <a:lnTo>
                    <a:pt x="200" y="1296"/>
                  </a:lnTo>
                  <a:lnTo>
                    <a:pt x="209" y="1277"/>
                  </a:lnTo>
                  <a:lnTo>
                    <a:pt x="212" y="1258"/>
                  </a:lnTo>
                  <a:lnTo>
                    <a:pt x="216" y="1236"/>
                  </a:lnTo>
                  <a:lnTo>
                    <a:pt x="216" y="1221"/>
                  </a:lnTo>
                  <a:lnTo>
                    <a:pt x="209" y="1199"/>
                  </a:lnTo>
                  <a:lnTo>
                    <a:pt x="200" y="1174"/>
                  </a:lnTo>
                  <a:lnTo>
                    <a:pt x="187" y="1146"/>
                  </a:lnTo>
                  <a:lnTo>
                    <a:pt x="181" y="1124"/>
                  </a:lnTo>
                  <a:lnTo>
                    <a:pt x="178" y="1105"/>
                  </a:lnTo>
                  <a:lnTo>
                    <a:pt x="178" y="1077"/>
                  </a:lnTo>
                  <a:lnTo>
                    <a:pt x="178" y="1049"/>
                  </a:lnTo>
                  <a:lnTo>
                    <a:pt x="178" y="1024"/>
                  </a:lnTo>
                  <a:lnTo>
                    <a:pt x="178" y="1011"/>
                  </a:lnTo>
                  <a:lnTo>
                    <a:pt x="178" y="1002"/>
                  </a:lnTo>
                  <a:lnTo>
                    <a:pt x="178" y="980"/>
                  </a:lnTo>
                  <a:lnTo>
                    <a:pt x="181" y="924"/>
                  </a:lnTo>
                  <a:lnTo>
                    <a:pt x="181" y="902"/>
                  </a:lnTo>
                  <a:lnTo>
                    <a:pt x="184" y="890"/>
                  </a:lnTo>
                  <a:lnTo>
                    <a:pt x="181" y="880"/>
                  </a:lnTo>
                  <a:lnTo>
                    <a:pt x="175" y="862"/>
                  </a:lnTo>
                  <a:lnTo>
                    <a:pt x="169" y="837"/>
                  </a:lnTo>
                  <a:lnTo>
                    <a:pt x="163" y="818"/>
                  </a:lnTo>
                  <a:lnTo>
                    <a:pt x="163" y="805"/>
                  </a:lnTo>
                  <a:lnTo>
                    <a:pt x="166" y="793"/>
                  </a:lnTo>
                  <a:lnTo>
                    <a:pt x="169" y="765"/>
                  </a:lnTo>
                  <a:lnTo>
                    <a:pt x="175" y="734"/>
                  </a:lnTo>
                  <a:lnTo>
                    <a:pt x="184" y="705"/>
                  </a:lnTo>
                  <a:lnTo>
                    <a:pt x="197" y="684"/>
                  </a:lnTo>
                  <a:lnTo>
                    <a:pt x="209" y="674"/>
                  </a:lnTo>
                  <a:lnTo>
                    <a:pt x="228" y="671"/>
                  </a:lnTo>
                  <a:lnTo>
                    <a:pt x="247" y="665"/>
                  </a:lnTo>
                  <a:lnTo>
                    <a:pt x="262" y="662"/>
                  </a:lnTo>
                  <a:lnTo>
                    <a:pt x="272" y="652"/>
                  </a:lnTo>
                  <a:lnTo>
                    <a:pt x="284" y="646"/>
                  </a:lnTo>
                  <a:lnTo>
                    <a:pt x="297" y="637"/>
                  </a:lnTo>
                  <a:lnTo>
                    <a:pt x="306" y="646"/>
                  </a:lnTo>
                  <a:lnTo>
                    <a:pt x="316" y="659"/>
                  </a:lnTo>
                  <a:lnTo>
                    <a:pt x="325" y="668"/>
                  </a:lnTo>
                  <a:lnTo>
                    <a:pt x="331" y="680"/>
                  </a:lnTo>
                  <a:lnTo>
                    <a:pt x="334" y="696"/>
                  </a:lnTo>
                  <a:lnTo>
                    <a:pt x="337" y="718"/>
                  </a:lnTo>
                  <a:lnTo>
                    <a:pt x="341" y="734"/>
                  </a:lnTo>
                  <a:lnTo>
                    <a:pt x="350" y="752"/>
                  </a:lnTo>
                  <a:lnTo>
                    <a:pt x="359" y="771"/>
                  </a:lnTo>
                  <a:lnTo>
                    <a:pt x="372" y="787"/>
                  </a:lnTo>
                  <a:lnTo>
                    <a:pt x="390" y="796"/>
                  </a:lnTo>
                  <a:lnTo>
                    <a:pt x="415" y="802"/>
                  </a:lnTo>
                  <a:lnTo>
                    <a:pt x="437" y="805"/>
                  </a:lnTo>
                  <a:lnTo>
                    <a:pt x="456" y="812"/>
                  </a:lnTo>
                  <a:lnTo>
                    <a:pt x="478" y="821"/>
                  </a:lnTo>
                  <a:lnTo>
                    <a:pt x="497" y="830"/>
                  </a:lnTo>
                  <a:lnTo>
                    <a:pt x="500" y="837"/>
                  </a:lnTo>
                  <a:lnTo>
                    <a:pt x="500" y="843"/>
                  </a:lnTo>
                  <a:lnTo>
                    <a:pt x="503" y="852"/>
                  </a:lnTo>
                  <a:lnTo>
                    <a:pt x="503" y="862"/>
                  </a:lnTo>
                  <a:lnTo>
                    <a:pt x="506" y="868"/>
                  </a:lnTo>
                  <a:lnTo>
                    <a:pt x="509" y="874"/>
                  </a:lnTo>
                  <a:lnTo>
                    <a:pt x="512" y="877"/>
                  </a:lnTo>
                  <a:lnTo>
                    <a:pt x="525" y="880"/>
                  </a:lnTo>
                  <a:lnTo>
                    <a:pt x="547" y="877"/>
                  </a:lnTo>
                  <a:lnTo>
                    <a:pt x="565" y="871"/>
                  </a:lnTo>
                  <a:lnTo>
                    <a:pt x="578" y="865"/>
                  </a:lnTo>
                  <a:lnTo>
                    <a:pt x="584" y="858"/>
                  </a:lnTo>
                  <a:lnTo>
                    <a:pt x="590" y="849"/>
                  </a:lnTo>
                  <a:lnTo>
                    <a:pt x="597" y="837"/>
                  </a:lnTo>
                  <a:lnTo>
                    <a:pt x="600" y="827"/>
                  </a:lnTo>
                  <a:lnTo>
                    <a:pt x="606" y="818"/>
                  </a:lnTo>
                  <a:lnTo>
                    <a:pt x="612" y="815"/>
                  </a:lnTo>
                  <a:lnTo>
                    <a:pt x="622" y="812"/>
                  </a:lnTo>
                  <a:lnTo>
                    <a:pt x="631" y="808"/>
                  </a:lnTo>
                  <a:lnTo>
                    <a:pt x="643" y="808"/>
                  </a:lnTo>
                  <a:lnTo>
                    <a:pt x="653" y="812"/>
                  </a:lnTo>
                  <a:lnTo>
                    <a:pt x="662" y="815"/>
                  </a:lnTo>
                  <a:lnTo>
                    <a:pt x="668" y="818"/>
                  </a:lnTo>
                  <a:lnTo>
                    <a:pt x="675" y="824"/>
                  </a:lnTo>
                  <a:lnTo>
                    <a:pt x="681" y="830"/>
                  </a:lnTo>
                  <a:lnTo>
                    <a:pt x="687" y="837"/>
                  </a:lnTo>
                  <a:lnTo>
                    <a:pt x="693" y="840"/>
                  </a:lnTo>
                  <a:lnTo>
                    <a:pt x="712" y="846"/>
                  </a:lnTo>
                  <a:lnTo>
                    <a:pt x="734" y="849"/>
                  </a:lnTo>
                  <a:lnTo>
                    <a:pt x="756" y="849"/>
                  </a:lnTo>
                  <a:lnTo>
                    <a:pt x="762" y="849"/>
                  </a:lnTo>
                  <a:lnTo>
                    <a:pt x="771" y="846"/>
                  </a:lnTo>
                  <a:lnTo>
                    <a:pt x="781" y="840"/>
                  </a:lnTo>
                  <a:lnTo>
                    <a:pt x="790" y="837"/>
                  </a:lnTo>
                  <a:lnTo>
                    <a:pt x="796" y="833"/>
                  </a:lnTo>
                  <a:lnTo>
                    <a:pt x="825" y="830"/>
                  </a:lnTo>
                  <a:lnTo>
                    <a:pt x="850" y="830"/>
                  </a:lnTo>
                  <a:lnTo>
                    <a:pt x="881" y="837"/>
                  </a:lnTo>
                  <a:lnTo>
                    <a:pt x="915" y="843"/>
                  </a:lnTo>
                  <a:lnTo>
                    <a:pt x="946" y="849"/>
                  </a:lnTo>
                  <a:lnTo>
                    <a:pt x="971" y="849"/>
                  </a:lnTo>
                  <a:lnTo>
                    <a:pt x="1006" y="852"/>
                  </a:lnTo>
                  <a:lnTo>
                    <a:pt x="1037" y="852"/>
                  </a:lnTo>
                  <a:lnTo>
                    <a:pt x="1062" y="846"/>
                  </a:lnTo>
                  <a:lnTo>
                    <a:pt x="1081" y="837"/>
                  </a:lnTo>
                  <a:lnTo>
                    <a:pt x="1102" y="824"/>
                  </a:lnTo>
                  <a:lnTo>
                    <a:pt x="1121" y="808"/>
                  </a:lnTo>
                  <a:lnTo>
                    <a:pt x="1134" y="793"/>
                  </a:lnTo>
                  <a:lnTo>
                    <a:pt x="1137" y="774"/>
                  </a:lnTo>
                  <a:lnTo>
                    <a:pt x="1134" y="752"/>
                  </a:lnTo>
                  <a:lnTo>
                    <a:pt x="1131" y="730"/>
                  </a:lnTo>
                  <a:lnTo>
                    <a:pt x="1134" y="715"/>
                  </a:lnTo>
                  <a:lnTo>
                    <a:pt x="1140" y="696"/>
                  </a:lnTo>
                  <a:lnTo>
                    <a:pt x="1156" y="677"/>
                  </a:lnTo>
                  <a:lnTo>
                    <a:pt x="1162" y="662"/>
                  </a:lnTo>
                  <a:lnTo>
                    <a:pt x="1165" y="643"/>
                  </a:lnTo>
                  <a:lnTo>
                    <a:pt x="1162" y="621"/>
                  </a:lnTo>
                  <a:lnTo>
                    <a:pt x="1162" y="606"/>
                  </a:lnTo>
                  <a:lnTo>
                    <a:pt x="1168" y="596"/>
                  </a:lnTo>
                  <a:lnTo>
                    <a:pt x="1174" y="587"/>
                  </a:lnTo>
                  <a:lnTo>
                    <a:pt x="1184" y="577"/>
                  </a:lnTo>
                  <a:lnTo>
                    <a:pt x="1193" y="571"/>
                  </a:lnTo>
                  <a:lnTo>
                    <a:pt x="1202" y="568"/>
                  </a:lnTo>
                  <a:lnTo>
                    <a:pt x="1209" y="568"/>
                  </a:lnTo>
                  <a:lnTo>
                    <a:pt x="1218" y="571"/>
                  </a:lnTo>
                  <a:lnTo>
                    <a:pt x="1227" y="571"/>
                  </a:lnTo>
                  <a:lnTo>
                    <a:pt x="1237" y="577"/>
                  </a:lnTo>
                  <a:lnTo>
                    <a:pt x="1243" y="581"/>
                  </a:lnTo>
                  <a:lnTo>
                    <a:pt x="1252" y="584"/>
                  </a:lnTo>
                  <a:lnTo>
                    <a:pt x="1268" y="596"/>
                  </a:lnTo>
                  <a:lnTo>
                    <a:pt x="1290" y="612"/>
                  </a:lnTo>
                  <a:lnTo>
                    <a:pt x="1305" y="621"/>
                  </a:lnTo>
                  <a:lnTo>
                    <a:pt x="1327" y="621"/>
                  </a:lnTo>
                  <a:lnTo>
                    <a:pt x="1349" y="618"/>
                  </a:lnTo>
                  <a:lnTo>
                    <a:pt x="1368" y="612"/>
                  </a:lnTo>
                  <a:lnTo>
                    <a:pt x="1371" y="606"/>
                  </a:lnTo>
                  <a:lnTo>
                    <a:pt x="1374" y="596"/>
                  </a:lnTo>
                  <a:lnTo>
                    <a:pt x="1374" y="590"/>
                  </a:lnTo>
                  <a:lnTo>
                    <a:pt x="1377" y="581"/>
                  </a:lnTo>
                  <a:lnTo>
                    <a:pt x="1380" y="574"/>
                  </a:lnTo>
                  <a:lnTo>
                    <a:pt x="1383" y="568"/>
                  </a:lnTo>
                  <a:lnTo>
                    <a:pt x="1390" y="565"/>
                  </a:lnTo>
                  <a:lnTo>
                    <a:pt x="1396" y="565"/>
                  </a:lnTo>
                  <a:lnTo>
                    <a:pt x="1405" y="565"/>
                  </a:lnTo>
                  <a:lnTo>
                    <a:pt x="1415" y="568"/>
                  </a:lnTo>
                  <a:lnTo>
                    <a:pt x="1421" y="568"/>
                  </a:lnTo>
                  <a:lnTo>
                    <a:pt x="1427" y="571"/>
                  </a:lnTo>
                  <a:lnTo>
                    <a:pt x="1433" y="577"/>
                  </a:lnTo>
                  <a:lnTo>
                    <a:pt x="1440" y="584"/>
                  </a:lnTo>
                  <a:lnTo>
                    <a:pt x="1446" y="590"/>
                  </a:lnTo>
                  <a:lnTo>
                    <a:pt x="1449" y="596"/>
                  </a:lnTo>
                  <a:lnTo>
                    <a:pt x="1455" y="602"/>
                  </a:lnTo>
                  <a:lnTo>
                    <a:pt x="1455" y="609"/>
                  </a:lnTo>
                  <a:lnTo>
                    <a:pt x="1458" y="618"/>
                  </a:lnTo>
                  <a:lnTo>
                    <a:pt x="1465" y="627"/>
                  </a:lnTo>
                  <a:lnTo>
                    <a:pt x="1468" y="630"/>
                  </a:lnTo>
                  <a:lnTo>
                    <a:pt x="1483" y="640"/>
                  </a:lnTo>
                  <a:lnTo>
                    <a:pt x="1508" y="643"/>
                  </a:lnTo>
                  <a:lnTo>
                    <a:pt x="1530" y="643"/>
                  </a:lnTo>
                  <a:lnTo>
                    <a:pt x="1546" y="637"/>
                  </a:lnTo>
                  <a:lnTo>
                    <a:pt x="1546" y="627"/>
                  </a:lnTo>
                  <a:lnTo>
                    <a:pt x="1543" y="612"/>
                  </a:lnTo>
                  <a:lnTo>
                    <a:pt x="1537" y="593"/>
                  </a:lnTo>
                  <a:lnTo>
                    <a:pt x="1533" y="577"/>
                  </a:lnTo>
                  <a:lnTo>
                    <a:pt x="1533" y="568"/>
                  </a:lnTo>
                  <a:lnTo>
                    <a:pt x="1549" y="562"/>
                  </a:lnTo>
                  <a:lnTo>
                    <a:pt x="1565" y="565"/>
                  </a:lnTo>
                  <a:lnTo>
                    <a:pt x="1583" y="568"/>
                  </a:lnTo>
                  <a:lnTo>
                    <a:pt x="1602" y="577"/>
                  </a:lnTo>
                  <a:lnTo>
                    <a:pt x="1618" y="584"/>
                  </a:lnTo>
                  <a:lnTo>
                    <a:pt x="1624" y="590"/>
                  </a:lnTo>
                  <a:lnTo>
                    <a:pt x="1633" y="599"/>
                  </a:lnTo>
                  <a:lnTo>
                    <a:pt x="1640" y="609"/>
                  </a:lnTo>
                  <a:lnTo>
                    <a:pt x="1646" y="615"/>
                  </a:lnTo>
                  <a:lnTo>
                    <a:pt x="1661" y="630"/>
                  </a:lnTo>
                  <a:lnTo>
                    <a:pt x="1680" y="646"/>
                  </a:lnTo>
                  <a:lnTo>
                    <a:pt x="1696" y="662"/>
                  </a:lnTo>
                  <a:lnTo>
                    <a:pt x="1705" y="680"/>
                  </a:lnTo>
                  <a:lnTo>
                    <a:pt x="1702" y="696"/>
                  </a:lnTo>
                  <a:lnTo>
                    <a:pt x="1693" y="715"/>
                  </a:lnTo>
                  <a:lnTo>
                    <a:pt x="1686" y="734"/>
                  </a:lnTo>
                  <a:lnTo>
                    <a:pt x="1690" y="759"/>
                  </a:lnTo>
                  <a:lnTo>
                    <a:pt x="1696" y="787"/>
                  </a:lnTo>
                  <a:lnTo>
                    <a:pt x="1705" y="812"/>
                  </a:lnTo>
                  <a:lnTo>
                    <a:pt x="1711" y="821"/>
                  </a:lnTo>
                  <a:lnTo>
                    <a:pt x="1718" y="830"/>
                  </a:lnTo>
                  <a:lnTo>
                    <a:pt x="1724" y="840"/>
                  </a:lnTo>
                  <a:lnTo>
                    <a:pt x="1733" y="846"/>
                  </a:lnTo>
                  <a:lnTo>
                    <a:pt x="1743" y="849"/>
                  </a:lnTo>
                  <a:lnTo>
                    <a:pt x="1761" y="849"/>
                  </a:lnTo>
                  <a:lnTo>
                    <a:pt x="1783" y="843"/>
                  </a:lnTo>
                  <a:lnTo>
                    <a:pt x="1805" y="830"/>
                  </a:lnTo>
                  <a:lnTo>
                    <a:pt x="1821" y="818"/>
                  </a:lnTo>
                  <a:lnTo>
                    <a:pt x="1830" y="799"/>
                  </a:lnTo>
                  <a:lnTo>
                    <a:pt x="1836" y="771"/>
                  </a:lnTo>
                  <a:lnTo>
                    <a:pt x="1839" y="746"/>
                  </a:lnTo>
                  <a:lnTo>
                    <a:pt x="1839" y="724"/>
                  </a:lnTo>
                  <a:lnTo>
                    <a:pt x="1836" y="702"/>
                  </a:lnTo>
                  <a:lnTo>
                    <a:pt x="1830" y="680"/>
                  </a:lnTo>
                  <a:lnTo>
                    <a:pt x="1827" y="662"/>
                  </a:lnTo>
                  <a:lnTo>
                    <a:pt x="1830" y="652"/>
                  </a:lnTo>
                  <a:lnTo>
                    <a:pt x="1836" y="643"/>
                  </a:lnTo>
                  <a:lnTo>
                    <a:pt x="1843" y="634"/>
                  </a:lnTo>
                  <a:lnTo>
                    <a:pt x="1849" y="624"/>
                  </a:lnTo>
                  <a:lnTo>
                    <a:pt x="1855" y="615"/>
                  </a:lnTo>
                  <a:lnTo>
                    <a:pt x="1864" y="596"/>
                  </a:lnTo>
                  <a:lnTo>
                    <a:pt x="1871" y="571"/>
                  </a:lnTo>
                  <a:lnTo>
                    <a:pt x="1877" y="552"/>
                  </a:lnTo>
                  <a:lnTo>
                    <a:pt x="1889" y="515"/>
                  </a:lnTo>
                  <a:lnTo>
                    <a:pt x="1905" y="471"/>
                  </a:lnTo>
                  <a:lnTo>
                    <a:pt x="1917" y="424"/>
                  </a:lnTo>
                  <a:lnTo>
                    <a:pt x="1933" y="390"/>
                  </a:lnTo>
                  <a:lnTo>
                    <a:pt x="1946" y="371"/>
                  </a:lnTo>
                  <a:lnTo>
                    <a:pt x="1964" y="349"/>
                  </a:lnTo>
                  <a:lnTo>
                    <a:pt x="1980" y="328"/>
                  </a:lnTo>
                  <a:lnTo>
                    <a:pt x="1989" y="306"/>
                  </a:lnTo>
                  <a:lnTo>
                    <a:pt x="1989" y="284"/>
                  </a:lnTo>
                  <a:lnTo>
                    <a:pt x="1980" y="259"/>
                  </a:lnTo>
                  <a:lnTo>
                    <a:pt x="1974" y="234"/>
                  </a:lnTo>
                  <a:lnTo>
                    <a:pt x="1971" y="212"/>
                  </a:lnTo>
                  <a:lnTo>
                    <a:pt x="1974" y="181"/>
                  </a:lnTo>
                  <a:lnTo>
                    <a:pt x="1980" y="146"/>
                  </a:lnTo>
                  <a:lnTo>
                    <a:pt x="1989" y="118"/>
                  </a:lnTo>
                  <a:lnTo>
                    <a:pt x="2002" y="97"/>
                  </a:lnTo>
                  <a:lnTo>
                    <a:pt x="2017" y="72"/>
                  </a:lnTo>
                  <a:lnTo>
                    <a:pt x="2036" y="47"/>
                  </a:lnTo>
                  <a:lnTo>
                    <a:pt x="2052" y="31"/>
                  </a:lnTo>
                  <a:lnTo>
                    <a:pt x="2061" y="25"/>
                  </a:lnTo>
                  <a:lnTo>
                    <a:pt x="2070" y="22"/>
                  </a:lnTo>
                  <a:lnTo>
                    <a:pt x="2083" y="15"/>
                  </a:lnTo>
                  <a:lnTo>
                    <a:pt x="2092" y="12"/>
                  </a:lnTo>
                  <a:lnTo>
                    <a:pt x="2102" y="12"/>
                  </a:lnTo>
                  <a:lnTo>
                    <a:pt x="2120" y="15"/>
                  </a:lnTo>
                  <a:lnTo>
                    <a:pt x="2142" y="25"/>
                  </a:lnTo>
                  <a:lnTo>
                    <a:pt x="2161" y="37"/>
                  </a:lnTo>
                  <a:lnTo>
                    <a:pt x="2180" y="47"/>
                  </a:lnTo>
                  <a:lnTo>
                    <a:pt x="2195" y="59"/>
                  </a:lnTo>
                  <a:lnTo>
                    <a:pt x="2217" y="75"/>
                  </a:lnTo>
                  <a:lnTo>
                    <a:pt x="2233" y="84"/>
                  </a:lnTo>
                  <a:lnTo>
                    <a:pt x="2252" y="81"/>
                  </a:lnTo>
                  <a:lnTo>
                    <a:pt x="2273" y="72"/>
                  </a:lnTo>
                  <a:lnTo>
                    <a:pt x="2292" y="65"/>
                  </a:lnTo>
                  <a:lnTo>
                    <a:pt x="2298" y="59"/>
                  </a:lnTo>
                  <a:lnTo>
                    <a:pt x="2308" y="50"/>
                  </a:lnTo>
                  <a:lnTo>
                    <a:pt x="2317" y="37"/>
                  </a:lnTo>
                  <a:lnTo>
                    <a:pt x="2327" y="31"/>
                  </a:lnTo>
                  <a:lnTo>
                    <a:pt x="2333" y="25"/>
                  </a:lnTo>
                  <a:lnTo>
                    <a:pt x="2358" y="18"/>
                  </a:lnTo>
                  <a:lnTo>
                    <a:pt x="2386" y="22"/>
                  </a:lnTo>
                  <a:lnTo>
                    <a:pt x="2408" y="25"/>
                  </a:lnTo>
                  <a:lnTo>
                    <a:pt x="2426" y="31"/>
                  </a:lnTo>
                  <a:lnTo>
                    <a:pt x="2445" y="40"/>
                  </a:lnTo>
                  <a:lnTo>
                    <a:pt x="2461" y="50"/>
                  </a:lnTo>
                  <a:lnTo>
                    <a:pt x="2480" y="68"/>
                  </a:lnTo>
                  <a:lnTo>
                    <a:pt x="2498" y="93"/>
                  </a:lnTo>
                  <a:lnTo>
                    <a:pt x="2517" y="109"/>
                  </a:lnTo>
                  <a:lnTo>
                    <a:pt x="2536" y="118"/>
                  </a:lnTo>
                  <a:lnTo>
                    <a:pt x="2561" y="122"/>
                  </a:lnTo>
                  <a:lnTo>
                    <a:pt x="2579" y="128"/>
                  </a:lnTo>
                  <a:lnTo>
                    <a:pt x="2608" y="131"/>
                  </a:lnTo>
                  <a:lnTo>
                    <a:pt x="2642" y="137"/>
                  </a:lnTo>
                  <a:lnTo>
                    <a:pt x="2633" y="165"/>
                  </a:lnTo>
                  <a:lnTo>
                    <a:pt x="2629" y="193"/>
                  </a:lnTo>
                  <a:lnTo>
                    <a:pt x="2633" y="215"/>
                  </a:lnTo>
                  <a:lnTo>
                    <a:pt x="2648" y="234"/>
                  </a:lnTo>
                  <a:lnTo>
                    <a:pt x="2676" y="253"/>
                  </a:lnTo>
                  <a:lnTo>
                    <a:pt x="2698" y="268"/>
                  </a:lnTo>
                  <a:lnTo>
                    <a:pt x="2708" y="271"/>
                  </a:lnTo>
                  <a:lnTo>
                    <a:pt x="2717" y="278"/>
                  </a:lnTo>
                  <a:lnTo>
                    <a:pt x="2726" y="287"/>
                  </a:lnTo>
                  <a:lnTo>
                    <a:pt x="2736" y="293"/>
                  </a:lnTo>
                  <a:lnTo>
                    <a:pt x="2742" y="300"/>
                  </a:lnTo>
                  <a:lnTo>
                    <a:pt x="2745" y="318"/>
                  </a:lnTo>
                  <a:lnTo>
                    <a:pt x="2745" y="343"/>
                  </a:lnTo>
                  <a:lnTo>
                    <a:pt x="2745" y="365"/>
                  </a:lnTo>
                  <a:lnTo>
                    <a:pt x="2754" y="384"/>
                  </a:lnTo>
                  <a:lnTo>
                    <a:pt x="2770" y="387"/>
                  </a:lnTo>
                  <a:lnTo>
                    <a:pt x="2792" y="384"/>
                  </a:lnTo>
                  <a:lnTo>
                    <a:pt x="2814" y="381"/>
                  </a:lnTo>
                  <a:lnTo>
                    <a:pt x="2829" y="384"/>
                  </a:lnTo>
                  <a:lnTo>
                    <a:pt x="2845" y="399"/>
                  </a:lnTo>
                  <a:lnTo>
                    <a:pt x="2854" y="421"/>
                  </a:lnTo>
                  <a:lnTo>
                    <a:pt x="2870" y="437"/>
                  </a:lnTo>
                  <a:lnTo>
                    <a:pt x="2876" y="437"/>
                  </a:lnTo>
                  <a:lnTo>
                    <a:pt x="2882" y="437"/>
                  </a:lnTo>
                  <a:lnTo>
                    <a:pt x="2892" y="437"/>
                  </a:lnTo>
                  <a:lnTo>
                    <a:pt x="2901" y="434"/>
                  </a:lnTo>
                  <a:lnTo>
                    <a:pt x="2907" y="434"/>
                  </a:lnTo>
                  <a:lnTo>
                    <a:pt x="2914" y="437"/>
                  </a:lnTo>
                  <a:lnTo>
                    <a:pt x="2923" y="453"/>
                  </a:lnTo>
                  <a:lnTo>
                    <a:pt x="2929" y="481"/>
                  </a:lnTo>
                  <a:lnTo>
                    <a:pt x="2935" y="509"/>
                  </a:lnTo>
                  <a:lnTo>
                    <a:pt x="2939" y="531"/>
                  </a:lnTo>
                  <a:lnTo>
                    <a:pt x="2948" y="549"/>
                  </a:lnTo>
                  <a:lnTo>
                    <a:pt x="2957" y="571"/>
                  </a:lnTo>
                  <a:lnTo>
                    <a:pt x="2970" y="590"/>
                  </a:lnTo>
                  <a:lnTo>
                    <a:pt x="2982" y="599"/>
                  </a:lnTo>
                  <a:lnTo>
                    <a:pt x="2998" y="596"/>
                  </a:lnTo>
                  <a:lnTo>
                    <a:pt x="3010" y="584"/>
                  </a:lnTo>
                  <a:lnTo>
                    <a:pt x="3026" y="568"/>
                  </a:lnTo>
                  <a:lnTo>
                    <a:pt x="3039" y="559"/>
                  </a:lnTo>
                  <a:lnTo>
                    <a:pt x="3064" y="543"/>
                  </a:lnTo>
                  <a:lnTo>
                    <a:pt x="3092" y="524"/>
                  </a:lnTo>
                  <a:lnTo>
                    <a:pt x="3113" y="502"/>
                  </a:lnTo>
                  <a:lnTo>
                    <a:pt x="3113" y="487"/>
                  </a:lnTo>
                  <a:lnTo>
                    <a:pt x="3113" y="468"/>
                  </a:lnTo>
                  <a:lnTo>
                    <a:pt x="3110" y="449"/>
                  </a:lnTo>
                  <a:lnTo>
                    <a:pt x="3113" y="437"/>
                  </a:lnTo>
                  <a:lnTo>
                    <a:pt x="3126" y="421"/>
                  </a:lnTo>
                  <a:lnTo>
                    <a:pt x="3145" y="406"/>
                  </a:lnTo>
                  <a:lnTo>
                    <a:pt x="3167" y="396"/>
                  </a:lnTo>
                  <a:lnTo>
                    <a:pt x="3188" y="387"/>
                  </a:lnTo>
                  <a:lnTo>
                    <a:pt x="3207" y="384"/>
                  </a:lnTo>
                  <a:lnTo>
                    <a:pt x="3232" y="387"/>
                  </a:lnTo>
                  <a:lnTo>
                    <a:pt x="3251" y="390"/>
                  </a:lnTo>
                  <a:lnTo>
                    <a:pt x="3273" y="403"/>
                  </a:lnTo>
                  <a:lnTo>
                    <a:pt x="3295" y="424"/>
                  </a:lnTo>
                  <a:lnTo>
                    <a:pt x="3307" y="446"/>
                  </a:lnTo>
                  <a:lnTo>
                    <a:pt x="3310" y="462"/>
                  </a:lnTo>
                  <a:lnTo>
                    <a:pt x="3307" y="487"/>
                  </a:lnTo>
                  <a:lnTo>
                    <a:pt x="3304" y="512"/>
                  </a:lnTo>
                  <a:lnTo>
                    <a:pt x="3307" y="527"/>
                  </a:lnTo>
                  <a:lnTo>
                    <a:pt x="3326" y="540"/>
                  </a:lnTo>
                  <a:lnTo>
                    <a:pt x="3354" y="549"/>
                  </a:lnTo>
                  <a:lnTo>
                    <a:pt x="3382" y="556"/>
                  </a:lnTo>
                  <a:lnTo>
                    <a:pt x="3404" y="559"/>
                  </a:lnTo>
                  <a:lnTo>
                    <a:pt x="3435" y="559"/>
                  </a:lnTo>
                  <a:lnTo>
                    <a:pt x="3473" y="559"/>
                  </a:lnTo>
                  <a:lnTo>
                    <a:pt x="3507" y="552"/>
                  </a:lnTo>
                  <a:lnTo>
                    <a:pt x="3535" y="543"/>
                  </a:lnTo>
                  <a:lnTo>
                    <a:pt x="3544" y="537"/>
                  </a:lnTo>
                  <a:lnTo>
                    <a:pt x="3554" y="527"/>
                  </a:lnTo>
                  <a:lnTo>
                    <a:pt x="3563" y="515"/>
                  </a:lnTo>
                  <a:lnTo>
                    <a:pt x="3573" y="502"/>
                  </a:lnTo>
                  <a:lnTo>
                    <a:pt x="3579" y="496"/>
                  </a:lnTo>
                  <a:lnTo>
                    <a:pt x="3604" y="484"/>
                  </a:lnTo>
                  <a:lnTo>
                    <a:pt x="3638" y="471"/>
                  </a:lnTo>
                  <a:lnTo>
                    <a:pt x="3669" y="459"/>
                  </a:lnTo>
                  <a:lnTo>
                    <a:pt x="3691" y="443"/>
                  </a:lnTo>
                  <a:lnTo>
                    <a:pt x="3704" y="421"/>
                  </a:lnTo>
                  <a:lnTo>
                    <a:pt x="3713" y="387"/>
                  </a:lnTo>
                  <a:lnTo>
                    <a:pt x="3719" y="356"/>
                  </a:lnTo>
                  <a:lnTo>
                    <a:pt x="3729" y="328"/>
                  </a:lnTo>
                  <a:lnTo>
                    <a:pt x="3744" y="306"/>
                  </a:lnTo>
                  <a:lnTo>
                    <a:pt x="3766" y="278"/>
                  </a:lnTo>
                  <a:lnTo>
                    <a:pt x="3785" y="259"/>
                  </a:lnTo>
                  <a:lnTo>
                    <a:pt x="3800" y="253"/>
                  </a:lnTo>
                  <a:lnTo>
                    <a:pt x="3822" y="246"/>
                  </a:lnTo>
                  <a:lnTo>
                    <a:pt x="3841" y="240"/>
                  </a:lnTo>
                  <a:lnTo>
                    <a:pt x="3857" y="234"/>
                  </a:lnTo>
                  <a:lnTo>
                    <a:pt x="3863" y="215"/>
                  </a:lnTo>
                  <a:lnTo>
                    <a:pt x="3869" y="193"/>
                  </a:lnTo>
                  <a:lnTo>
                    <a:pt x="3875" y="168"/>
                  </a:lnTo>
                  <a:lnTo>
                    <a:pt x="3882" y="153"/>
                  </a:lnTo>
                  <a:lnTo>
                    <a:pt x="3894" y="159"/>
                  </a:lnTo>
                  <a:lnTo>
                    <a:pt x="3907" y="165"/>
                  </a:lnTo>
                  <a:lnTo>
                    <a:pt x="3916" y="171"/>
                  </a:lnTo>
                  <a:lnTo>
                    <a:pt x="3925" y="178"/>
                  </a:lnTo>
                  <a:lnTo>
                    <a:pt x="3938" y="203"/>
                  </a:lnTo>
                  <a:lnTo>
                    <a:pt x="3947" y="231"/>
                  </a:lnTo>
                  <a:lnTo>
                    <a:pt x="3950" y="259"/>
                  </a:lnTo>
                  <a:lnTo>
                    <a:pt x="3950" y="278"/>
                  </a:lnTo>
                  <a:lnTo>
                    <a:pt x="3944" y="303"/>
                  </a:lnTo>
                  <a:lnTo>
                    <a:pt x="3938" y="324"/>
                  </a:lnTo>
                  <a:lnTo>
                    <a:pt x="3935" y="346"/>
                  </a:lnTo>
                  <a:lnTo>
                    <a:pt x="3935" y="371"/>
                  </a:lnTo>
                  <a:lnTo>
                    <a:pt x="3938" y="406"/>
                  </a:lnTo>
                  <a:lnTo>
                    <a:pt x="3944" y="437"/>
                  </a:lnTo>
                  <a:lnTo>
                    <a:pt x="3944" y="462"/>
                  </a:lnTo>
                  <a:lnTo>
                    <a:pt x="3944" y="484"/>
                  </a:lnTo>
                  <a:lnTo>
                    <a:pt x="3944" y="509"/>
                  </a:lnTo>
                  <a:lnTo>
                    <a:pt x="3941" y="531"/>
                  </a:lnTo>
                  <a:lnTo>
                    <a:pt x="3932" y="546"/>
                  </a:lnTo>
                  <a:lnTo>
                    <a:pt x="3916" y="552"/>
                  </a:lnTo>
                  <a:lnTo>
                    <a:pt x="3891" y="552"/>
                  </a:lnTo>
                  <a:lnTo>
                    <a:pt x="3866" y="549"/>
                  </a:lnTo>
                  <a:lnTo>
                    <a:pt x="3847" y="552"/>
                  </a:lnTo>
                  <a:lnTo>
                    <a:pt x="3822" y="556"/>
                  </a:lnTo>
                  <a:lnTo>
                    <a:pt x="3794" y="568"/>
                  </a:lnTo>
                  <a:lnTo>
                    <a:pt x="3775" y="581"/>
                  </a:lnTo>
                  <a:lnTo>
                    <a:pt x="3769" y="599"/>
                  </a:lnTo>
                  <a:lnTo>
                    <a:pt x="3766" y="621"/>
                  </a:lnTo>
                  <a:lnTo>
                    <a:pt x="3763" y="643"/>
                  </a:lnTo>
                  <a:lnTo>
                    <a:pt x="3760" y="665"/>
                  </a:lnTo>
                  <a:lnTo>
                    <a:pt x="3754" y="690"/>
                  </a:lnTo>
                  <a:lnTo>
                    <a:pt x="3754" y="712"/>
                  </a:lnTo>
                  <a:lnTo>
                    <a:pt x="3757" y="721"/>
                  </a:lnTo>
                  <a:lnTo>
                    <a:pt x="3763" y="730"/>
                  </a:lnTo>
                  <a:lnTo>
                    <a:pt x="3772" y="740"/>
                  </a:lnTo>
                  <a:lnTo>
                    <a:pt x="3779" y="749"/>
                  </a:lnTo>
                  <a:lnTo>
                    <a:pt x="3788" y="755"/>
                  </a:lnTo>
                  <a:lnTo>
                    <a:pt x="3807" y="765"/>
                  </a:lnTo>
                  <a:lnTo>
                    <a:pt x="3835" y="771"/>
                  </a:lnTo>
                  <a:lnTo>
                    <a:pt x="3863" y="777"/>
                  </a:lnTo>
                  <a:lnTo>
                    <a:pt x="3888" y="780"/>
                  </a:lnTo>
                  <a:lnTo>
                    <a:pt x="3907" y="774"/>
                  </a:lnTo>
                  <a:lnTo>
                    <a:pt x="3928" y="765"/>
                  </a:lnTo>
                  <a:lnTo>
                    <a:pt x="3950" y="755"/>
                  </a:lnTo>
                  <a:lnTo>
                    <a:pt x="3969" y="749"/>
                  </a:lnTo>
                  <a:lnTo>
                    <a:pt x="3994" y="746"/>
                  </a:lnTo>
                  <a:lnTo>
                    <a:pt x="4022" y="749"/>
                  </a:lnTo>
                  <a:lnTo>
                    <a:pt x="4047" y="746"/>
                  </a:lnTo>
                  <a:lnTo>
                    <a:pt x="4066" y="734"/>
                  </a:lnTo>
                  <a:lnTo>
                    <a:pt x="4085" y="718"/>
                  </a:lnTo>
                  <a:lnTo>
                    <a:pt x="4100" y="699"/>
                  </a:lnTo>
                  <a:lnTo>
                    <a:pt x="4110" y="674"/>
                  </a:lnTo>
                  <a:lnTo>
                    <a:pt x="4119" y="643"/>
                  </a:lnTo>
                  <a:lnTo>
                    <a:pt x="4131" y="618"/>
                  </a:lnTo>
                  <a:lnTo>
                    <a:pt x="4138" y="612"/>
                  </a:lnTo>
                  <a:lnTo>
                    <a:pt x="4147" y="602"/>
                  </a:lnTo>
                  <a:lnTo>
                    <a:pt x="4156" y="596"/>
                  </a:lnTo>
                  <a:lnTo>
                    <a:pt x="4166" y="590"/>
                  </a:lnTo>
                  <a:lnTo>
                    <a:pt x="4178" y="568"/>
                  </a:lnTo>
                  <a:lnTo>
                    <a:pt x="4188" y="543"/>
                  </a:lnTo>
                  <a:lnTo>
                    <a:pt x="4194" y="521"/>
                  </a:lnTo>
                  <a:lnTo>
                    <a:pt x="4185" y="506"/>
                  </a:lnTo>
                  <a:lnTo>
                    <a:pt x="4172" y="484"/>
                  </a:lnTo>
                  <a:lnTo>
                    <a:pt x="4156" y="462"/>
                  </a:lnTo>
                  <a:lnTo>
                    <a:pt x="4144" y="446"/>
                  </a:lnTo>
                  <a:lnTo>
                    <a:pt x="4138" y="418"/>
                  </a:lnTo>
                  <a:lnTo>
                    <a:pt x="4128" y="384"/>
                  </a:lnTo>
                  <a:lnTo>
                    <a:pt x="4128" y="353"/>
                  </a:lnTo>
                  <a:lnTo>
                    <a:pt x="4131" y="328"/>
                  </a:lnTo>
                  <a:lnTo>
                    <a:pt x="4141" y="296"/>
                  </a:lnTo>
                  <a:lnTo>
                    <a:pt x="4153" y="271"/>
                  </a:lnTo>
                  <a:lnTo>
                    <a:pt x="4169" y="259"/>
                  </a:lnTo>
                  <a:lnTo>
                    <a:pt x="4191" y="250"/>
                  </a:lnTo>
                  <a:lnTo>
                    <a:pt x="4206" y="237"/>
                  </a:lnTo>
                  <a:lnTo>
                    <a:pt x="4216" y="218"/>
                  </a:lnTo>
                  <a:lnTo>
                    <a:pt x="4222" y="196"/>
                  </a:lnTo>
                  <a:lnTo>
                    <a:pt x="4228" y="178"/>
                  </a:lnTo>
                  <a:lnTo>
                    <a:pt x="4247" y="162"/>
                  </a:lnTo>
                  <a:lnTo>
                    <a:pt x="4266" y="150"/>
                  </a:lnTo>
                  <a:lnTo>
                    <a:pt x="4288" y="140"/>
                  </a:lnTo>
                  <a:lnTo>
                    <a:pt x="4309" y="140"/>
                  </a:lnTo>
                  <a:lnTo>
                    <a:pt x="4334" y="140"/>
                  </a:lnTo>
                  <a:lnTo>
                    <a:pt x="4359" y="140"/>
                  </a:lnTo>
                  <a:lnTo>
                    <a:pt x="4366" y="140"/>
                  </a:lnTo>
                  <a:lnTo>
                    <a:pt x="4378" y="140"/>
                  </a:lnTo>
                  <a:lnTo>
                    <a:pt x="4388" y="143"/>
                  </a:lnTo>
                  <a:lnTo>
                    <a:pt x="4400" y="140"/>
                  </a:lnTo>
                  <a:lnTo>
                    <a:pt x="4406" y="140"/>
                  </a:lnTo>
                  <a:lnTo>
                    <a:pt x="4425" y="125"/>
                  </a:lnTo>
                  <a:lnTo>
                    <a:pt x="4441" y="103"/>
                  </a:lnTo>
                  <a:lnTo>
                    <a:pt x="4456" y="81"/>
                  </a:lnTo>
                  <a:lnTo>
                    <a:pt x="4472" y="65"/>
                  </a:lnTo>
                  <a:lnTo>
                    <a:pt x="4494" y="50"/>
                  </a:lnTo>
                  <a:lnTo>
                    <a:pt x="4522" y="34"/>
                  </a:lnTo>
                  <a:lnTo>
                    <a:pt x="4550" y="22"/>
                  </a:lnTo>
                  <a:lnTo>
                    <a:pt x="4575" y="15"/>
                  </a:lnTo>
                  <a:lnTo>
                    <a:pt x="4597" y="12"/>
                  </a:lnTo>
                  <a:lnTo>
                    <a:pt x="4625" y="15"/>
                  </a:lnTo>
                  <a:lnTo>
                    <a:pt x="4647" y="15"/>
                  </a:lnTo>
                  <a:lnTo>
                    <a:pt x="4672" y="9"/>
                  </a:lnTo>
                  <a:lnTo>
                    <a:pt x="4706" y="6"/>
                  </a:lnTo>
                  <a:lnTo>
                    <a:pt x="4734" y="0"/>
                  </a:lnTo>
                  <a:lnTo>
                    <a:pt x="4750" y="0"/>
                  </a:lnTo>
                  <a:lnTo>
                    <a:pt x="4768" y="0"/>
                  </a:lnTo>
                  <a:lnTo>
                    <a:pt x="4784" y="0"/>
                  </a:lnTo>
                  <a:lnTo>
                    <a:pt x="4806" y="9"/>
                  </a:lnTo>
                  <a:lnTo>
                    <a:pt x="4828" y="18"/>
                  </a:lnTo>
                  <a:lnTo>
                    <a:pt x="4847" y="25"/>
                  </a:lnTo>
                  <a:lnTo>
                    <a:pt x="4872" y="28"/>
                  </a:lnTo>
                  <a:lnTo>
                    <a:pt x="4903" y="25"/>
                  </a:lnTo>
                  <a:lnTo>
                    <a:pt x="4934" y="25"/>
                  </a:lnTo>
                  <a:lnTo>
                    <a:pt x="4959" y="25"/>
                  </a:lnTo>
                  <a:lnTo>
                    <a:pt x="4981" y="28"/>
                  </a:lnTo>
                  <a:lnTo>
                    <a:pt x="5006" y="31"/>
                  </a:lnTo>
                  <a:lnTo>
                    <a:pt x="5028" y="40"/>
                  </a:lnTo>
                  <a:lnTo>
                    <a:pt x="5037" y="53"/>
                  </a:lnTo>
                  <a:lnTo>
                    <a:pt x="5046" y="75"/>
                  </a:lnTo>
                  <a:lnTo>
                    <a:pt x="5053" y="93"/>
                  </a:lnTo>
                  <a:lnTo>
                    <a:pt x="5056" y="115"/>
                  </a:lnTo>
                  <a:lnTo>
                    <a:pt x="5059" y="140"/>
                  </a:lnTo>
                  <a:lnTo>
                    <a:pt x="5059" y="168"/>
                  </a:lnTo>
                  <a:lnTo>
                    <a:pt x="5053" y="190"/>
                  </a:lnTo>
                  <a:lnTo>
                    <a:pt x="5050" y="196"/>
                  </a:lnTo>
                  <a:lnTo>
                    <a:pt x="5040" y="203"/>
                  </a:lnTo>
                  <a:lnTo>
                    <a:pt x="5034" y="212"/>
                  </a:lnTo>
                  <a:lnTo>
                    <a:pt x="5025" y="218"/>
                  </a:lnTo>
                  <a:lnTo>
                    <a:pt x="5021" y="228"/>
                  </a:lnTo>
                  <a:lnTo>
                    <a:pt x="5021" y="250"/>
                  </a:lnTo>
                  <a:lnTo>
                    <a:pt x="5028" y="278"/>
                  </a:lnTo>
                  <a:lnTo>
                    <a:pt x="5037" y="300"/>
                  </a:lnTo>
                  <a:lnTo>
                    <a:pt x="5053" y="318"/>
                  </a:lnTo>
                  <a:lnTo>
                    <a:pt x="5071" y="337"/>
                  </a:lnTo>
                  <a:lnTo>
                    <a:pt x="5087" y="353"/>
                  </a:lnTo>
                  <a:lnTo>
                    <a:pt x="5093" y="359"/>
                  </a:lnTo>
                  <a:lnTo>
                    <a:pt x="5103" y="368"/>
                  </a:lnTo>
                  <a:lnTo>
                    <a:pt x="5109" y="378"/>
                  </a:lnTo>
                  <a:lnTo>
                    <a:pt x="5115" y="390"/>
                  </a:lnTo>
                  <a:lnTo>
                    <a:pt x="5121" y="396"/>
                  </a:lnTo>
                  <a:lnTo>
                    <a:pt x="5124" y="421"/>
                  </a:lnTo>
                  <a:lnTo>
                    <a:pt x="5128" y="449"/>
                  </a:lnTo>
                  <a:lnTo>
                    <a:pt x="5124" y="477"/>
                  </a:lnTo>
                  <a:lnTo>
                    <a:pt x="5121" y="499"/>
                  </a:lnTo>
                  <a:lnTo>
                    <a:pt x="5106" y="521"/>
                  </a:lnTo>
                  <a:lnTo>
                    <a:pt x="5087" y="543"/>
                  </a:lnTo>
                  <a:lnTo>
                    <a:pt x="5071" y="565"/>
                  </a:lnTo>
                  <a:lnTo>
                    <a:pt x="5068" y="590"/>
                  </a:lnTo>
                  <a:lnTo>
                    <a:pt x="5065" y="621"/>
                  </a:lnTo>
                  <a:lnTo>
                    <a:pt x="5065" y="649"/>
                  </a:lnTo>
                  <a:lnTo>
                    <a:pt x="5059" y="668"/>
                  </a:lnTo>
                  <a:lnTo>
                    <a:pt x="5046" y="693"/>
                  </a:lnTo>
                  <a:lnTo>
                    <a:pt x="5043" y="715"/>
                  </a:lnTo>
                  <a:lnTo>
                    <a:pt x="5046" y="721"/>
                  </a:lnTo>
                  <a:lnTo>
                    <a:pt x="5053" y="730"/>
                  </a:lnTo>
                  <a:lnTo>
                    <a:pt x="5059" y="743"/>
                  </a:lnTo>
                  <a:lnTo>
                    <a:pt x="5065" y="749"/>
                  </a:lnTo>
                  <a:lnTo>
                    <a:pt x="5071" y="755"/>
                  </a:lnTo>
                  <a:lnTo>
                    <a:pt x="5078" y="759"/>
                  </a:lnTo>
                  <a:lnTo>
                    <a:pt x="5087" y="765"/>
                  </a:lnTo>
                  <a:lnTo>
                    <a:pt x="5096" y="768"/>
                  </a:lnTo>
                  <a:lnTo>
                    <a:pt x="5106" y="768"/>
                  </a:lnTo>
                  <a:lnTo>
                    <a:pt x="5115" y="768"/>
                  </a:lnTo>
                  <a:lnTo>
                    <a:pt x="5131" y="768"/>
                  </a:lnTo>
                  <a:lnTo>
                    <a:pt x="5149" y="762"/>
                  </a:lnTo>
                  <a:lnTo>
                    <a:pt x="5165" y="755"/>
                  </a:lnTo>
                  <a:lnTo>
                    <a:pt x="5181" y="755"/>
                  </a:lnTo>
                  <a:lnTo>
                    <a:pt x="5193" y="768"/>
                  </a:lnTo>
                  <a:lnTo>
                    <a:pt x="5203" y="790"/>
                  </a:lnTo>
                  <a:lnTo>
                    <a:pt x="5209" y="808"/>
                  </a:lnTo>
                  <a:lnTo>
                    <a:pt x="5206" y="827"/>
                  </a:lnTo>
                  <a:lnTo>
                    <a:pt x="5196" y="852"/>
                  </a:lnTo>
                  <a:lnTo>
                    <a:pt x="5190" y="874"/>
                  </a:lnTo>
                  <a:lnTo>
                    <a:pt x="5190" y="887"/>
                  </a:lnTo>
                  <a:lnTo>
                    <a:pt x="5187" y="905"/>
                  </a:lnTo>
                  <a:lnTo>
                    <a:pt x="5184" y="927"/>
                  </a:lnTo>
                  <a:lnTo>
                    <a:pt x="5184" y="943"/>
                  </a:lnTo>
                  <a:lnTo>
                    <a:pt x="5190" y="952"/>
                  </a:lnTo>
                  <a:lnTo>
                    <a:pt x="5196" y="955"/>
                  </a:lnTo>
                  <a:lnTo>
                    <a:pt x="5203" y="952"/>
                  </a:lnTo>
                  <a:lnTo>
                    <a:pt x="5212" y="949"/>
                  </a:lnTo>
                  <a:lnTo>
                    <a:pt x="5218" y="946"/>
                  </a:lnTo>
                  <a:lnTo>
                    <a:pt x="5228" y="943"/>
                  </a:lnTo>
                  <a:lnTo>
                    <a:pt x="5234" y="940"/>
                  </a:lnTo>
                  <a:lnTo>
                    <a:pt x="5240" y="940"/>
                  </a:lnTo>
                  <a:lnTo>
                    <a:pt x="5259" y="940"/>
                  </a:lnTo>
                  <a:lnTo>
                    <a:pt x="5277" y="946"/>
                  </a:lnTo>
                  <a:lnTo>
                    <a:pt x="5293" y="952"/>
                  </a:lnTo>
                  <a:lnTo>
                    <a:pt x="5302" y="974"/>
                  </a:lnTo>
                  <a:lnTo>
                    <a:pt x="5315" y="1027"/>
                  </a:lnTo>
                  <a:lnTo>
                    <a:pt x="5324" y="1046"/>
                  </a:lnTo>
                  <a:lnTo>
                    <a:pt x="5337" y="1055"/>
                  </a:lnTo>
                  <a:lnTo>
                    <a:pt x="5356" y="1058"/>
                  </a:lnTo>
                  <a:lnTo>
                    <a:pt x="5377" y="1061"/>
                  </a:lnTo>
                  <a:lnTo>
                    <a:pt x="5390" y="1068"/>
                  </a:lnTo>
                  <a:lnTo>
                    <a:pt x="5409" y="1080"/>
                  </a:lnTo>
                  <a:lnTo>
                    <a:pt x="5427" y="1102"/>
                  </a:lnTo>
                  <a:lnTo>
                    <a:pt x="5440" y="1121"/>
                  </a:lnTo>
                  <a:lnTo>
                    <a:pt x="5449" y="1143"/>
                  </a:lnTo>
                  <a:lnTo>
                    <a:pt x="5455" y="1171"/>
                  </a:lnTo>
                  <a:lnTo>
                    <a:pt x="5459" y="1199"/>
                  </a:lnTo>
                  <a:lnTo>
                    <a:pt x="5459" y="1221"/>
                  </a:lnTo>
                  <a:lnTo>
                    <a:pt x="5449" y="1243"/>
                  </a:lnTo>
                  <a:lnTo>
                    <a:pt x="5434" y="1264"/>
                  </a:lnTo>
                  <a:lnTo>
                    <a:pt x="5421" y="1286"/>
                  </a:lnTo>
                  <a:lnTo>
                    <a:pt x="5421" y="1305"/>
                  </a:lnTo>
                  <a:lnTo>
                    <a:pt x="5424" y="1324"/>
                  </a:lnTo>
                  <a:lnTo>
                    <a:pt x="5424" y="1346"/>
                  </a:lnTo>
                  <a:lnTo>
                    <a:pt x="5421" y="1361"/>
                  </a:lnTo>
                  <a:lnTo>
                    <a:pt x="5409" y="1374"/>
                  </a:lnTo>
                  <a:lnTo>
                    <a:pt x="5387" y="1389"/>
                  </a:lnTo>
                  <a:lnTo>
                    <a:pt x="5365" y="1399"/>
                  </a:lnTo>
                  <a:lnTo>
                    <a:pt x="5346" y="1405"/>
                  </a:lnTo>
                  <a:lnTo>
                    <a:pt x="5327" y="1405"/>
                  </a:lnTo>
                  <a:lnTo>
                    <a:pt x="5306" y="1402"/>
                  </a:lnTo>
                  <a:lnTo>
                    <a:pt x="5281" y="1399"/>
                  </a:lnTo>
                  <a:lnTo>
                    <a:pt x="5259" y="1396"/>
                  </a:lnTo>
                  <a:lnTo>
                    <a:pt x="5240" y="1399"/>
                  </a:lnTo>
                  <a:lnTo>
                    <a:pt x="5237" y="1402"/>
                  </a:lnTo>
                  <a:lnTo>
                    <a:pt x="5234" y="1408"/>
                  </a:lnTo>
                  <a:lnTo>
                    <a:pt x="5231" y="1417"/>
                  </a:lnTo>
                  <a:lnTo>
                    <a:pt x="5228" y="1424"/>
                  </a:lnTo>
                  <a:lnTo>
                    <a:pt x="5221" y="1433"/>
                  </a:lnTo>
                  <a:lnTo>
                    <a:pt x="5218" y="1436"/>
                  </a:lnTo>
                  <a:lnTo>
                    <a:pt x="5199" y="1442"/>
                  </a:lnTo>
                  <a:lnTo>
                    <a:pt x="5174" y="1442"/>
                  </a:lnTo>
                  <a:lnTo>
                    <a:pt x="5153" y="1445"/>
                  </a:lnTo>
                  <a:lnTo>
                    <a:pt x="5134" y="1452"/>
                  </a:lnTo>
                  <a:lnTo>
                    <a:pt x="5118" y="1474"/>
                  </a:lnTo>
                  <a:lnTo>
                    <a:pt x="5106" y="1505"/>
                  </a:lnTo>
                  <a:lnTo>
                    <a:pt x="5100" y="1539"/>
                  </a:lnTo>
                  <a:lnTo>
                    <a:pt x="5096" y="1567"/>
                  </a:lnTo>
                  <a:lnTo>
                    <a:pt x="5100" y="1586"/>
                  </a:lnTo>
                  <a:lnTo>
                    <a:pt x="5106" y="1611"/>
                  </a:lnTo>
                  <a:lnTo>
                    <a:pt x="5115" y="1636"/>
                  </a:lnTo>
                  <a:lnTo>
                    <a:pt x="5121" y="1655"/>
                  </a:lnTo>
                  <a:lnTo>
                    <a:pt x="5121" y="1677"/>
                  </a:lnTo>
                  <a:lnTo>
                    <a:pt x="5121" y="1702"/>
                  </a:lnTo>
                  <a:lnTo>
                    <a:pt x="5121" y="1723"/>
                  </a:lnTo>
                  <a:lnTo>
                    <a:pt x="5137" y="1748"/>
                  </a:lnTo>
                  <a:lnTo>
                    <a:pt x="5156" y="1773"/>
                  </a:lnTo>
                  <a:lnTo>
                    <a:pt x="5171" y="1792"/>
                  </a:lnTo>
                  <a:lnTo>
                    <a:pt x="5181" y="1801"/>
                  </a:lnTo>
                  <a:lnTo>
                    <a:pt x="5187" y="1814"/>
                  </a:lnTo>
                  <a:lnTo>
                    <a:pt x="5196" y="1823"/>
                  </a:lnTo>
                  <a:lnTo>
                    <a:pt x="5209" y="1833"/>
                  </a:lnTo>
                  <a:lnTo>
                    <a:pt x="5215" y="1839"/>
                  </a:lnTo>
                  <a:lnTo>
                    <a:pt x="5234" y="1842"/>
                  </a:lnTo>
                  <a:lnTo>
                    <a:pt x="5256" y="1842"/>
                  </a:lnTo>
                  <a:lnTo>
                    <a:pt x="5281" y="1839"/>
                  </a:lnTo>
                  <a:lnTo>
                    <a:pt x="5299" y="1842"/>
                  </a:lnTo>
                  <a:lnTo>
                    <a:pt x="5321" y="1848"/>
                  </a:lnTo>
                  <a:lnTo>
                    <a:pt x="5346" y="1858"/>
                  </a:lnTo>
                  <a:lnTo>
                    <a:pt x="5368" y="1867"/>
                  </a:lnTo>
                  <a:lnTo>
                    <a:pt x="5387" y="1870"/>
                  </a:lnTo>
                  <a:lnTo>
                    <a:pt x="5406" y="1873"/>
                  </a:lnTo>
                  <a:lnTo>
                    <a:pt x="5427" y="1883"/>
                  </a:lnTo>
                  <a:lnTo>
                    <a:pt x="5440" y="1892"/>
                  </a:lnTo>
                  <a:lnTo>
                    <a:pt x="5443" y="1895"/>
                  </a:lnTo>
                  <a:lnTo>
                    <a:pt x="5443" y="1905"/>
                  </a:lnTo>
                  <a:lnTo>
                    <a:pt x="5443" y="1911"/>
                  </a:lnTo>
                  <a:lnTo>
                    <a:pt x="5443" y="1920"/>
                  </a:lnTo>
                  <a:lnTo>
                    <a:pt x="5443" y="1926"/>
                  </a:lnTo>
                  <a:lnTo>
                    <a:pt x="5434" y="1939"/>
                  </a:lnTo>
                  <a:lnTo>
                    <a:pt x="5424" y="1954"/>
                  </a:lnTo>
                  <a:lnTo>
                    <a:pt x="5412" y="1970"/>
                  </a:lnTo>
                  <a:lnTo>
                    <a:pt x="5406" y="1983"/>
                  </a:lnTo>
                  <a:lnTo>
                    <a:pt x="5412" y="1998"/>
                  </a:lnTo>
                  <a:lnTo>
                    <a:pt x="5424" y="2017"/>
                  </a:lnTo>
                  <a:lnTo>
                    <a:pt x="5437" y="2036"/>
                  </a:lnTo>
                  <a:lnTo>
                    <a:pt x="5446" y="2051"/>
                  </a:lnTo>
                  <a:lnTo>
                    <a:pt x="5449" y="2073"/>
                  </a:lnTo>
                  <a:lnTo>
                    <a:pt x="5449" y="2104"/>
                  </a:lnTo>
                  <a:lnTo>
                    <a:pt x="5446" y="2132"/>
                  </a:lnTo>
                  <a:lnTo>
                    <a:pt x="5446" y="2154"/>
                  </a:lnTo>
                  <a:lnTo>
                    <a:pt x="5449" y="2176"/>
                  </a:lnTo>
                  <a:lnTo>
                    <a:pt x="5452" y="2198"/>
                  </a:lnTo>
                  <a:lnTo>
                    <a:pt x="5459" y="2217"/>
                  </a:lnTo>
                  <a:lnTo>
                    <a:pt x="5474" y="2220"/>
                  </a:lnTo>
                  <a:lnTo>
                    <a:pt x="5493" y="2223"/>
                  </a:lnTo>
                  <a:lnTo>
                    <a:pt x="5512" y="2220"/>
                  </a:lnTo>
                  <a:lnTo>
                    <a:pt x="5530" y="2223"/>
                  </a:lnTo>
                  <a:lnTo>
                    <a:pt x="5537" y="2229"/>
                  </a:lnTo>
                  <a:lnTo>
                    <a:pt x="5546" y="2239"/>
                  </a:lnTo>
                  <a:lnTo>
                    <a:pt x="5552" y="2245"/>
                  </a:lnTo>
                  <a:lnTo>
                    <a:pt x="5562" y="2254"/>
                  </a:lnTo>
                  <a:lnTo>
                    <a:pt x="5568" y="2260"/>
                  </a:lnTo>
                  <a:lnTo>
                    <a:pt x="5587" y="2270"/>
                  </a:lnTo>
                  <a:lnTo>
                    <a:pt x="5612" y="2276"/>
                  </a:lnTo>
                  <a:lnTo>
                    <a:pt x="5627" y="2285"/>
                  </a:lnTo>
                  <a:lnTo>
                    <a:pt x="5640" y="2301"/>
                  </a:lnTo>
                  <a:lnTo>
                    <a:pt x="5649" y="2320"/>
                  </a:lnTo>
                  <a:lnTo>
                    <a:pt x="5658" y="2339"/>
                  </a:lnTo>
                  <a:lnTo>
                    <a:pt x="5662" y="2348"/>
                  </a:lnTo>
                  <a:lnTo>
                    <a:pt x="5665" y="2357"/>
                  </a:lnTo>
                  <a:lnTo>
                    <a:pt x="5671" y="2370"/>
                  </a:lnTo>
                  <a:lnTo>
                    <a:pt x="5674" y="2376"/>
                  </a:lnTo>
                  <a:lnTo>
                    <a:pt x="5693" y="2392"/>
                  </a:lnTo>
                  <a:lnTo>
                    <a:pt x="5715" y="2404"/>
                  </a:lnTo>
                  <a:lnTo>
                    <a:pt x="5737" y="2410"/>
                  </a:lnTo>
                  <a:lnTo>
                    <a:pt x="5743" y="2413"/>
                  </a:lnTo>
                  <a:lnTo>
                    <a:pt x="5752" y="2413"/>
                  </a:lnTo>
                  <a:lnTo>
                    <a:pt x="5762" y="2417"/>
                  </a:lnTo>
                  <a:lnTo>
                    <a:pt x="5768" y="2417"/>
                  </a:lnTo>
                  <a:lnTo>
                    <a:pt x="5774" y="2423"/>
                  </a:lnTo>
                  <a:lnTo>
                    <a:pt x="5783" y="2435"/>
                  </a:lnTo>
                  <a:lnTo>
                    <a:pt x="5790" y="2457"/>
                  </a:lnTo>
                  <a:lnTo>
                    <a:pt x="5790" y="2476"/>
                  </a:lnTo>
                  <a:lnTo>
                    <a:pt x="5786" y="2482"/>
                  </a:lnTo>
                  <a:lnTo>
                    <a:pt x="5777" y="2485"/>
                  </a:lnTo>
                  <a:lnTo>
                    <a:pt x="5771" y="2492"/>
                  </a:lnTo>
                  <a:lnTo>
                    <a:pt x="5762" y="2495"/>
                  </a:lnTo>
                  <a:lnTo>
                    <a:pt x="5755" y="2501"/>
                  </a:lnTo>
                  <a:lnTo>
                    <a:pt x="5749" y="2507"/>
                  </a:lnTo>
                  <a:lnTo>
                    <a:pt x="5746" y="2526"/>
                  </a:lnTo>
                  <a:lnTo>
                    <a:pt x="5749" y="2548"/>
                  </a:lnTo>
                  <a:lnTo>
                    <a:pt x="5746" y="2566"/>
                  </a:lnTo>
                  <a:lnTo>
                    <a:pt x="5740" y="2573"/>
                  </a:lnTo>
                  <a:lnTo>
                    <a:pt x="5733" y="2579"/>
                  </a:lnTo>
                  <a:lnTo>
                    <a:pt x="5727" y="2588"/>
                  </a:lnTo>
                  <a:lnTo>
                    <a:pt x="5718" y="2595"/>
                  </a:lnTo>
                  <a:lnTo>
                    <a:pt x="5712" y="2601"/>
                  </a:lnTo>
                  <a:lnTo>
                    <a:pt x="5702" y="2613"/>
                  </a:lnTo>
                  <a:lnTo>
                    <a:pt x="5687" y="2632"/>
                  </a:lnTo>
                  <a:lnTo>
                    <a:pt x="5677" y="2648"/>
                  </a:lnTo>
                  <a:lnTo>
                    <a:pt x="5671" y="2663"/>
                  </a:lnTo>
                  <a:lnTo>
                    <a:pt x="5677" y="2682"/>
                  </a:lnTo>
                  <a:lnTo>
                    <a:pt x="5690" y="2704"/>
                  </a:lnTo>
                  <a:lnTo>
                    <a:pt x="5705" y="2726"/>
                  </a:lnTo>
                  <a:lnTo>
                    <a:pt x="5712" y="2744"/>
                  </a:lnTo>
                  <a:lnTo>
                    <a:pt x="5712" y="2766"/>
                  </a:lnTo>
                  <a:lnTo>
                    <a:pt x="5702" y="2794"/>
                  </a:lnTo>
                  <a:lnTo>
                    <a:pt x="5693" y="2813"/>
                  </a:lnTo>
                  <a:lnTo>
                    <a:pt x="5683" y="2832"/>
                  </a:lnTo>
                  <a:lnTo>
                    <a:pt x="5665" y="2851"/>
                  </a:lnTo>
                  <a:lnTo>
                    <a:pt x="5646" y="2866"/>
                  </a:lnTo>
                  <a:lnTo>
                    <a:pt x="5630" y="2876"/>
                  </a:lnTo>
                  <a:lnTo>
                    <a:pt x="5609" y="2879"/>
                  </a:lnTo>
                  <a:lnTo>
                    <a:pt x="5584" y="2873"/>
                  </a:lnTo>
                  <a:lnTo>
                    <a:pt x="5555" y="2869"/>
                  </a:lnTo>
                  <a:lnTo>
                    <a:pt x="5534" y="2873"/>
                  </a:lnTo>
                  <a:lnTo>
                    <a:pt x="5530" y="2876"/>
                  </a:lnTo>
                  <a:lnTo>
                    <a:pt x="5524" y="2882"/>
                  </a:lnTo>
                  <a:lnTo>
                    <a:pt x="5518" y="2891"/>
                  </a:lnTo>
                  <a:lnTo>
                    <a:pt x="5512" y="2897"/>
                  </a:lnTo>
                  <a:lnTo>
                    <a:pt x="5509" y="2904"/>
                  </a:lnTo>
                  <a:lnTo>
                    <a:pt x="5493" y="2910"/>
                  </a:lnTo>
                  <a:lnTo>
                    <a:pt x="5474" y="2916"/>
                  </a:lnTo>
                  <a:lnTo>
                    <a:pt x="5459" y="2922"/>
                  </a:lnTo>
                  <a:lnTo>
                    <a:pt x="5449" y="2926"/>
                  </a:lnTo>
                  <a:lnTo>
                    <a:pt x="5443" y="2932"/>
                  </a:lnTo>
                  <a:lnTo>
                    <a:pt x="5437" y="2951"/>
                  </a:lnTo>
                  <a:lnTo>
                    <a:pt x="5424" y="2972"/>
                  </a:lnTo>
                  <a:lnTo>
                    <a:pt x="5412" y="3001"/>
                  </a:lnTo>
                  <a:lnTo>
                    <a:pt x="5402" y="3022"/>
                  </a:lnTo>
                  <a:lnTo>
                    <a:pt x="5390" y="3038"/>
                  </a:lnTo>
                  <a:lnTo>
                    <a:pt x="5368" y="3050"/>
                  </a:lnTo>
                  <a:lnTo>
                    <a:pt x="5343" y="3057"/>
                  </a:lnTo>
                  <a:lnTo>
                    <a:pt x="5321" y="3066"/>
                  </a:lnTo>
                  <a:lnTo>
                    <a:pt x="5315" y="3072"/>
                  </a:lnTo>
                  <a:lnTo>
                    <a:pt x="5309" y="3082"/>
                  </a:lnTo>
                  <a:lnTo>
                    <a:pt x="5302" y="3091"/>
                  </a:lnTo>
                  <a:lnTo>
                    <a:pt x="5296" y="3097"/>
                  </a:lnTo>
                  <a:lnTo>
                    <a:pt x="5290" y="3100"/>
                  </a:lnTo>
                  <a:lnTo>
                    <a:pt x="5265" y="3100"/>
                  </a:lnTo>
                  <a:lnTo>
                    <a:pt x="5234" y="3094"/>
                  </a:lnTo>
                  <a:lnTo>
                    <a:pt x="5203" y="3082"/>
                  </a:lnTo>
                  <a:lnTo>
                    <a:pt x="5181" y="3069"/>
                  </a:lnTo>
                  <a:lnTo>
                    <a:pt x="5174" y="3063"/>
                  </a:lnTo>
                  <a:lnTo>
                    <a:pt x="5168" y="3057"/>
                  </a:lnTo>
                  <a:lnTo>
                    <a:pt x="5159" y="3050"/>
                  </a:lnTo>
                  <a:lnTo>
                    <a:pt x="5153" y="3044"/>
                  </a:lnTo>
                  <a:lnTo>
                    <a:pt x="5146" y="3041"/>
                  </a:lnTo>
                  <a:lnTo>
                    <a:pt x="5121" y="3038"/>
                  </a:lnTo>
                  <a:lnTo>
                    <a:pt x="5090" y="3038"/>
                  </a:lnTo>
                  <a:lnTo>
                    <a:pt x="5062" y="3044"/>
                  </a:lnTo>
                  <a:lnTo>
                    <a:pt x="5037" y="3050"/>
                  </a:lnTo>
                  <a:lnTo>
                    <a:pt x="5012" y="3060"/>
                  </a:lnTo>
                  <a:lnTo>
                    <a:pt x="4984" y="3079"/>
                  </a:lnTo>
                  <a:lnTo>
                    <a:pt x="4962" y="3097"/>
                  </a:lnTo>
                  <a:lnTo>
                    <a:pt x="4946" y="3122"/>
                  </a:lnTo>
                  <a:lnTo>
                    <a:pt x="4934" y="3157"/>
                  </a:lnTo>
                  <a:lnTo>
                    <a:pt x="4925" y="3188"/>
                  </a:lnTo>
                  <a:lnTo>
                    <a:pt x="4915" y="3188"/>
                  </a:lnTo>
                  <a:lnTo>
                    <a:pt x="4903" y="3188"/>
                  </a:lnTo>
                  <a:lnTo>
                    <a:pt x="4897" y="3191"/>
                  </a:lnTo>
                  <a:lnTo>
                    <a:pt x="4884" y="3200"/>
                  </a:lnTo>
                  <a:lnTo>
                    <a:pt x="4865" y="3238"/>
                  </a:lnTo>
                  <a:lnTo>
                    <a:pt x="4853" y="3250"/>
                  </a:lnTo>
                  <a:lnTo>
                    <a:pt x="4834" y="3253"/>
                  </a:lnTo>
                  <a:lnTo>
                    <a:pt x="4812" y="3253"/>
                  </a:lnTo>
                  <a:lnTo>
                    <a:pt x="4790" y="3250"/>
                  </a:lnTo>
                  <a:lnTo>
                    <a:pt x="4784" y="3250"/>
                  </a:lnTo>
                  <a:lnTo>
                    <a:pt x="4778" y="3247"/>
                  </a:lnTo>
                  <a:lnTo>
                    <a:pt x="4772" y="3244"/>
                  </a:lnTo>
                  <a:lnTo>
                    <a:pt x="4762" y="3241"/>
                  </a:lnTo>
                  <a:lnTo>
                    <a:pt x="4756" y="3238"/>
                  </a:lnTo>
                  <a:lnTo>
                    <a:pt x="4747" y="3238"/>
                  </a:lnTo>
                  <a:lnTo>
                    <a:pt x="4744" y="3241"/>
                  </a:lnTo>
                  <a:lnTo>
                    <a:pt x="4740" y="3244"/>
                  </a:lnTo>
                  <a:lnTo>
                    <a:pt x="4740" y="3250"/>
                  </a:lnTo>
                  <a:lnTo>
                    <a:pt x="4740" y="3257"/>
                  </a:lnTo>
                  <a:lnTo>
                    <a:pt x="4740" y="3266"/>
                  </a:lnTo>
                  <a:lnTo>
                    <a:pt x="4744" y="3275"/>
                  </a:lnTo>
                  <a:lnTo>
                    <a:pt x="4744" y="3282"/>
                  </a:lnTo>
                  <a:lnTo>
                    <a:pt x="4744" y="3288"/>
                  </a:lnTo>
                  <a:lnTo>
                    <a:pt x="4737" y="3310"/>
                  </a:lnTo>
                  <a:lnTo>
                    <a:pt x="4731" y="3338"/>
                  </a:lnTo>
                  <a:lnTo>
                    <a:pt x="4722" y="3357"/>
                  </a:lnTo>
                  <a:lnTo>
                    <a:pt x="4715" y="3363"/>
                  </a:lnTo>
                  <a:lnTo>
                    <a:pt x="4706" y="3369"/>
                  </a:lnTo>
                  <a:lnTo>
                    <a:pt x="4697" y="3372"/>
                  </a:lnTo>
                  <a:lnTo>
                    <a:pt x="4690" y="3375"/>
                  </a:lnTo>
                  <a:lnTo>
                    <a:pt x="4681" y="3378"/>
                  </a:lnTo>
                  <a:lnTo>
                    <a:pt x="4662" y="3372"/>
                  </a:lnTo>
                  <a:lnTo>
                    <a:pt x="4644" y="3360"/>
                  </a:lnTo>
                  <a:lnTo>
                    <a:pt x="4625" y="3350"/>
                  </a:lnTo>
                  <a:lnTo>
                    <a:pt x="4606" y="3350"/>
                  </a:lnTo>
                  <a:lnTo>
                    <a:pt x="4581" y="3353"/>
                  </a:lnTo>
                  <a:lnTo>
                    <a:pt x="4559" y="3353"/>
                  </a:lnTo>
                  <a:lnTo>
                    <a:pt x="4541" y="3347"/>
                  </a:lnTo>
                  <a:lnTo>
                    <a:pt x="4537" y="3338"/>
                  </a:lnTo>
                  <a:lnTo>
                    <a:pt x="4534" y="3322"/>
                  </a:lnTo>
                  <a:lnTo>
                    <a:pt x="4534" y="3307"/>
                  </a:lnTo>
                  <a:lnTo>
                    <a:pt x="4531" y="3294"/>
                  </a:lnTo>
                  <a:lnTo>
                    <a:pt x="4522" y="3272"/>
                  </a:lnTo>
                  <a:lnTo>
                    <a:pt x="4503" y="3247"/>
                  </a:lnTo>
                  <a:lnTo>
                    <a:pt x="4484" y="3232"/>
                  </a:lnTo>
                  <a:lnTo>
                    <a:pt x="4462" y="3225"/>
                  </a:lnTo>
                  <a:lnTo>
                    <a:pt x="4434" y="3225"/>
                  </a:lnTo>
                  <a:lnTo>
                    <a:pt x="4413" y="3232"/>
                  </a:lnTo>
                  <a:lnTo>
                    <a:pt x="4406" y="3235"/>
                  </a:lnTo>
                  <a:lnTo>
                    <a:pt x="4400" y="3241"/>
                  </a:lnTo>
                  <a:lnTo>
                    <a:pt x="4397" y="3247"/>
                  </a:lnTo>
                  <a:lnTo>
                    <a:pt x="4391" y="3250"/>
                  </a:lnTo>
                  <a:lnTo>
                    <a:pt x="4384" y="3257"/>
                  </a:lnTo>
                  <a:lnTo>
                    <a:pt x="4369" y="3253"/>
                  </a:lnTo>
                  <a:lnTo>
                    <a:pt x="4347" y="3247"/>
                  </a:lnTo>
                  <a:lnTo>
                    <a:pt x="4331" y="3244"/>
                  </a:lnTo>
                  <a:lnTo>
                    <a:pt x="4325" y="3247"/>
                  </a:lnTo>
                  <a:lnTo>
                    <a:pt x="4316" y="3250"/>
                  </a:lnTo>
                  <a:lnTo>
                    <a:pt x="4309" y="3253"/>
                  </a:lnTo>
                  <a:lnTo>
                    <a:pt x="4300" y="3260"/>
                  </a:lnTo>
                  <a:lnTo>
                    <a:pt x="4297" y="3266"/>
                  </a:lnTo>
                  <a:lnTo>
                    <a:pt x="4294" y="3282"/>
                  </a:lnTo>
                  <a:lnTo>
                    <a:pt x="4297" y="3303"/>
                  </a:lnTo>
                  <a:lnTo>
                    <a:pt x="4297" y="3319"/>
                  </a:lnTo>
                  <a:lnTo>
                    <a:pt x="4294" y="3328"/>
                  </a:lnTo>
                  <a:lnTo>
                    <a:pt x="4291" y="3338"/>
                  </a:lnTo>
                  <a:lnTo>
                    <a:pt x="4288" y="3347"/>
                  </a:lnTo>
                  <a:lnTo>
                    <a:pt x="4284" y="3353"/>
                  </a:lnTo>
                  <a:lnTo>
                    <a:pt x="4281" y="3363"/>
                  </a:lnTo>
                  <a:lnTo>
                    <a:pt x="4275" y="3369"/>
                  </a:lnTo>
                  <a:lnTo>
                    <a:pt x="4269" y="3378"/>
                  </a:lnTo>
                  <a:lnTo>
                    <a:pt x="4263" y="3385"/>
                  </a:lnTo>
                  <a:lnTo>
                    <a:pt x="4259" y="3394"/>
                  </a:lnTo>
                  <a:lnTo>
                    <a:pt x="4253" y="3413"/>
                  </a:lnTo>
                  <a:lnTo>
                    <a:pt x="4247" y="3435"/>
                  </a:lnTo>
                  <a:lnTo>
                    <a:pt x="4250" y="3453"/>
                  </a:lnTo>
                  <a:lnTo>
                    <a:pt x="4253" y="3460"/>
                  </a:lnTo>
                  <a:lnTo>
                    <a:pt x="4259" y="3466"/>
                  </a:lnTo>
                  <a:lnTo>
                    <a:pt x="4269" y="3469"/>
                  </a:lnTo>
                  <a:lnTo>
                    <a:pt x="4275" y="3475"/>
                  </a:lnTo>
                  <a:lnTo>
                    <a:pt x="4278" y="3481"/>
                  </a:lnTo>
                  <a:lnTo>
                    <a:pt x="4284" y="3488"/>
                  </a:lnTo>
                  <a:lnTo>
                    <a:pt x="4288" y="3494"/>
                  </a:lnTo>
                  <a:lnTo>
                    <a:pt x="4291" y="3500"/>
                  </a:lnTo>
                  <a:lnTo>
                    <a:pt x="4297" y="3503"/>
                  </a:lnTo>
                  <a:lnTo>
                    <a:pt x="4309" y="3503"/>
                  </a:lnTo>
                  <a:lnTo>
                    <a:pt x="4328" y="3500"/>
                  </a:lnTo>
                  <a:lnTo>
                    <a:pt x="4344" y="3494"/>
                  </a:lnTo>
                  <a:lnTo>
                    <a:pt x="4359" y="3488"/>
                  </a:lnTo>
                  <a:lnTo>
                    <a:pt x="4378" y="3485"/>
                  </a:lnTo>
                  <a:lnTo>
                    <a:pt x="4406" y="3478"/>
                  </a:lnTo>
                  <a:lnTo>
                    <a:pt x="4428" y="3478"/>
                  </a:lnTo>
                  <a:lnTo>
                    <a:pt x="4434" y="3485"/>
                  </a:lnTo>
                  <a:lnTo>
                    <a:pt x="4441" y="3491"/>
                  </a:lnTo>
                  <a:lnTo>
                    <a:pt x="4447" y="3497"/>
                  </a:lnTo>
                  <a:lnTo>
                    <a:pt x="4453" y="3503"/>
                  </a:lnTo>
                  <a:lnTo>
                    <a:pt x="4453" y="3519"/>
                  </a:lnTo>
                  <a:lnTo>
                    <a:pt x="4450" y="3541"/>
                  </a:lnTo>
                  <a:lnTo>
                    <a:pt x="4447" y="3556"/>
                  </a:lnTo>
                  <a:lnTo>
                    <a:pt x="4450" y="3575"/>
                  </a:lnTo>
                  <a:lnTo>
                    <a:pt x="4456" y="3597"/>
                  </a:lnTo>
                  <a:lnTo>
                    <a:pt x="4466" y="3616"/>
                  </a:lnTo>
                  <a:lnTo>
                    <a:pt x="4472" y="3619"/>
                  </a:lnTo>
                  <a:lnTo>
                    <a:pt x="4478" y="3625"/>
                  </a:lnTo>
                  <a:lnTo>
                    <a:pt x="4487" y="3628"/>
                  </a:lnTo>
                  <a:lnTo>
                    <a:pt x="4497" y="3634"/>
                  </a:lnTo>
                  <a:lnTo>
                    <a:pt x="4506" y="3638"/>
                  </a:lnTo>
                  <a:lnTo>
                    <a:pt x="4512" y="3641"/>
                  </a:lnTo>
                  <a:lnTo>
                    <a:pt x="4522" y="3663"/>
                  </a:lnTo>
                  <a:lnTo>
                    <a:pt x="4528" y="3684"/>
                  </a:lnTo>
                  <a:lnTo>
                    <a:pt x="4531" y="3706"/>
                  </a:lnTo>
                  <a:lnTo>
                    <a:pt x="4528" y="3716"/>
                  </a:lnTo>
                  <a:lnTo>
                    <a:pt x="4525" y="3725"/>
                  </a:lnTo>
                  <a:lnTo>
                    <a:pt x="4519" y="3731"/>
                  </a:lnTo>
                  <a:lnTo>
                    <a:pt x="4512" y="3741"/>
                  </a:lnTo>
                  <a:lnTo>
                    <a:pt x="4506" y="3750"/>
                  </a:lnTo>
                  <a:lnTo>
                    <a:pt x="4503" y="3756"/>
                  </a:lnTo>
                  <a:lnTo>
                    <a:pt x="4500" y="3775"/>
                  </a:lnTo>
                  <a:lnTo>
                    <a:pt x="4497" y="3794"/>
                  </a:lnTo>
                  <a:lnTo>
                    <a:pt x="4491" y="3809"/>
                  </a:lnTo>
                  <a:lnTo>
                    <a:pt x="4484" y="3816"/>
                  </a:lnTo>
                  <a:lnTo>
                    <a:pt x="4475" y="3822"/>
                  </a:lnTo>
                  <a:lnTo>
                    <a:pt x="4469" y="3828"/>
                  </a:lnTo>
                  <a:lnTo>
                    <a:pt x="4459" y="3831"/>
                  </a:lnTo>
                  <a:lnTo>
                    <a:pt x="4450" y="3834"/>
                  </a:lnTo>
                  <a:lnTo>
                    <a:pt x="4441" y="3834"/>
                  </a:lnTo>
                  <a:lnTo>
                    <a:pt x="4428" y="3831"/>
                  </a:lnTo>
                  <a:lnTo>
                    <a:pt x="4419" y="3831"/>
                  </a:lnTo>
                  <a:lnTo>
                    <a:pt x="4409" y="3831"/>
                  </a:lnTo>
                  <a:lnTo>
                    <a:pt x="4388" y="3834"/>
                  </a:lnTo>
                  <a:lnTo>
                    <a:pt x="4363" y="3837"/>
                  </a:lnTo>
                  <a:lnTo>
                    <a:pt x="4344" y="3844"/>
                  </a:lnTo>
                  <a:lnTo>
                    <a:pt x="4334" y="3847"/>
                  </a:lnTo>
                  <a:lnTo>
                    <a:pt x="4328" y="3853"/>
                  </a:lnTo>
                  <a:lnTo>
                    <a:pt x="4319" y="3862"/>
                  </a:lnTo>
                  <a:lnTo>
                    <a:pt x="4313" y="3869"/>
                  </a:lnTo>
                  <a:lnTo>
                    <a:pt x="4303" y="3875"/>
                  </a:lnTo>
                  <a:lnTo>
                    <a:pt x="4297" y="3878"/>
                  </a:lnTo>
                  <a:lnTo>
                    <a:pt x="4278" y="3878"/>
                  </a:lnTo>
                  <a:lnTo>
                    <a:pt x="4256" y="3875"/>
                  </a:lnTo>
                  <a:lnTo>
                    <a:pt x="4235" y="3869"/>
                  </a:lnTo>
                  <a:lnTo>
                    <a:pt x="4219" y="3865"/>
                  </a:lnTo>
                  <a:lnTo>
                    <a:pt x="4191" y="3859"/>
                  </a:lnTo>
                  <a:lnTo>
                    <a:pt x="4160" y="3856"/>
                  </a:lnTo>
                  <a:lnTo>
                    <a:pt x="4131" y="3856"/>
                  </a:lnTo>
                  <a:lnTo>
                    <a:pt x="4110" y="3859"/>
                  </a:lnTo>
                  <a:lnTo>
                    <a:pt x="4082" y="3865"/>
                  </a:lnTo>
                  <a:lnTo>
                    <a:pt x="4057" y="3878"/>
                  </a:lnTo>
                  <a:lnTo>
                    <a:pt x="4041" y="3890"/>
                  </a:lnTo>
                  <a:lnTo>
                    <a:pt x="4035" y="3903"/>
                  </a:lnTo>
                  <a:lnTo>
                    <a:pt x="4032" y="3922"/>
                  </a:lnTo>
                  <a:lnTo>
                    <a:pt x="4028" y="3944"/>
                  </a:lnTo>
                  <a:lnTo>
                    <a:pt x="4022" y="3956"/>
                  </a:lnTo>
                  <a:lnTo>
                    <a:pt x="4003" y="3956"/>
                  </a:lnTo>
                  <a:lnTo>
                    <a:pt x="3982" y="3953"/>
                  </a:lnTo>
                  <a:lnTo>
                    <a:pt x="3957" y="3947"/>
                  </a:lnTo>
                  <a:lnTo>
                    <a:pt x="3938" y="3944"/>
                  </a:lnTo>
                  <a:lnTo>
                    <a:pt x="3932" y="3944"/>
                  </a:lnTo>
                  <a:lnTo>
                    <a:pt x="3919" y="3944"/>
                  </a:lnTo>
                  <a:lnTo>
                    <a:pt x="3910" y="3947"/>
                  </a:lnTo>
                  <a:lnTo>
                    <a:pt x="3900" y="3950"/>
                  </a:lnTo>
                  <a:lnTo>
                    <a:pt x="3897" y="3956"/>
                  </a:lnTo>
                  <a:lnTo>
                    <a:pt x="3891" y="3969"/>
                  </a:lnTo>
                  <a:lnTo>
                    <a:pt x="3894" y="3984"/>
                  </a:lnTo>
                  <a:lnTo>
                    <a:pt x="3897" y="4003"/>
                  </a:lnTo>
                  <a:lnTo>
                    <a:pt x="3897" y="4018"/>
                  </a:lnTo>
                  <a:lnTo>
                    <a:pt x="3888" y="4040"/>
                  </a:lnTo>
                  <a:lnTo>
                    <a:pt x="3875" y="4062"/>
                  </a:lnTo>
                  <a:lnTo>
                    <a:pt x="3863" y="4078"/>
                  </a:lnTo>
                  <a:lnTo>
                    <a:pt x="3844" y="4084"/>
                  </a:lnTo>
                  <a:lnTo>
                    <a:pt x="3822" y="4087"/>
                  </a:lnTo>
                  <a:lnTo>
                    <a:pt x="3804" y="4087"/>
                  </a:lnTo>
                  <a:lnTo>
                    <a:pt x="3782" y="4097"/>
                  </a:lnTo>
                  <a:lnTo>
                    <a:pt x="3757" y="4106"/>
                  </a:lnTo>
                  <a:lnTo>
                    <a:pt x="3738" y="4112"/>
                  </a:lnTo>
                  <a:lnTo>
                    <a:pt x="3719" y="4112"/>
                  </a:lnTo>
                  <a:lnTo>
                    <a:pt x="3697" y="4109"/>
                  </a:lnTo>
                  <a:lnTo>
                    <a:pt x="3679" y="4112"/>
                  </a:lnTo>
                  <a:lnTo>
                    <a:pt x="3654" y="4122"/>
                  </a:lnTo>
                  <a:lnTo>
                    <a:pt x="3629" y="4140"/>
                  </a:lnTo>
                  <a:lnTo>
                    <a:pt x="3610" y="4159"/>
                  </a:lnTo>
                  <a:lnTo>
                    <a:pt x="3607" y="4165"/>
                  </a:lnTo>
                  <a:lnTo>
                    <a:pt x="3607" y="4175"/>
                  </a:lnTo>
                  <a:lnTo>
                    <a:pt x="3607" y="4187"/>
                  </a:lnTo>
                  <a:lnTo>
                    <a:pt x="3607" y="4196"/>
                  </a:lnTo>
                  <a:lnTo>
                    <a:pt x="3610" y="4203"/>
                  </a:lnTo>
                  <a:lnTo>
                    <a:pt x="3616" y="4209"/>
                  </a:lnTo>
                  <a:lnTo>
                    <a:pt x="3622" y="4212"/>
                  </a:lnTo>
                  <a:lnTo>
                    <a:pt x="3629" y="4218"/>
                  </a:lnTo>
                  <a:lnTo>
                    <a:pt x="3638" y="4221"/>
                  </a:lnTo>
                  <a:lnTo>
                    <a:pt x="3641" y="4228"/>
                  </a:lnTo>
                  <a:lnTo>
                    <a:pt x="3641" y="4240"/>
                  </a:lnTo>
                  <a:lnTo>
                    <a:pt x="3638" y="4259"/>
                  </a:lnTo>
                  <a:lnTo>
                    <a:pt x="3632" y="4278"/>
                  </a:lnTo>
                  <a:lnTo>
                    <a:pt x="3626" y="4293"/>
                  </a:lnTo>
                  <a:lnTo>
                    <a:pt x="3619" y="4300"/>
                  </a:lnTo>
                  <a:lnTo>
                    <a:pt x="3613" y="4312"/>
                  </a:lnTo>
                  <a:lnTo>
                    <a:pt x="3604" y="4321"/>
                  </a:lnTo>
                  <a:lnTo>
                    <a:pt x="3594" y="4328"/>
                  </a:lnTo>
                  <a:lnTo>
                    <a:pt x="3585" y="4334"/>
                  </a:lnTo>
                  <a:lnTo>
                    <a:pt x="3579" y="4334"/>
                  </a:lnTo>
                  <a:lnTo>
                    <a:pt x="3569" y="4334"/>
                  </a:lnTo>
                  <a:lnTo>
                    <a:pt x="3560" y="4334"/>
                  </a:lnTo>
                  <a:lnTo>
                    <a:pt x="3554" y="4334"/>
                  </a:lnTo>
                  <a:lnTo>
                    <a:pt x="3544" y="4334"/>
                  </a:lnTo>
                  <a:lnTo>
                    <a:pt x="3538" y="4334"/>
                  </a:lnTo>
                  <a:lnTo>
                    <a:pt x="3532" y="4340"/>
                  </a:lnTo>
                  <a:lnTo>
                    <a:pt x="3526" y="4349"/>
                  </a:lnTo>
                  <a:lnTo>
                    <a:pt x="3523" y="4359"/>
                  </a:lnTo>
                  <a:lnTo>
                    <a:pt x="3516" y="4368"/>
                  </a:lnTo>
                  <a:lnTo>
                    <a:pt x="3510" y="4378"/>
                  </a:lnTo>
                  <a:lnTo>
                    <a:pt x="3504" y="4384"/>
                  </a:lnTo>
                  <a:lnTo>
                    <a:pt x="3485" y="4387"/>
                  </a:lnTo>
                  <a:lnTo>
                    <a:pt x="3463" y="4387"/>
                  </a:lnTo>
                  <a:lnTo>
                    <a:pt x="3444" y="4384"/>
                  </a:lnTo>
                  <a:lnTo>
                    <a:pt x="3435" y="4381"/>
                  </a:lnTo>
                  <a:lnTo>
                    <a:pt x="3426" y="4378"/>
                  </a:lnTo>
                  <a:lnTo>
                    <a:pt x="3416" y="4374"/>
                  </a:lnTo>
                  <a:lnTo>
                    <a:pt x="3407" y="4371"/>
                  </a:lnTo>
                  <a:lnTo>
                    <a:pt x="3401" y="4371"/>
                  </a:lnTo>
                  <a:lnTo>
                    <a:pt x="3379" y="4381"/>
                  </a:lnTo>
                  <a:lnTo>
                    <a:pt x="3357" y="4396"/>
                  </a:lnTo>
                  <a:lnTo>
                    <a:pt x="3341" y="4415"/>
                  </a:lnTo>
                  <a:lnTo>
                    <a:pt x="3341" y="4428"/>
                  </a:lnTo>
                  <a:lnTo>
                    <a:pt x="3341" y="4446"/>
                  </a:lnTo>
                  <a:lnTo>
                    <a:pt x="3345" y="4462"/>
                  </a:lnTo>
                  <a:lnTo>
                    <a:pt x="3341" y="4474"/>
                  </a:lnTo>
                  <a:lnTo>
                    <a:pt x="3329" y="4493"/>
                  </a:lnTo>
                  <a:lnTo>
                    <a:pt x="3307" y="4512"/>
                  </a:lnTo>
                  <a:lnTo>
                    <a:pt x="3291" y="4527"/>
                  </a:lnTo>
                  <a:lnTo>
                    <a:pt x="3285" y="4546"/>
                  </a:lnTo>
                  <a:lnTo>
                    <a:pt x="3282" y="4568"/>
                  </a:lnTo>
                  <a:lnTo>
                    <a:pt x="3282" y="4584"/>
                  </a:lnTo>
                  <a:lnTo>
                    <a:pt x="3288" y="4602"/>
                  </a:lnTo>
                  <a:lnTo>
                    <a:pt x="3295" y="4621"/>
                  </a:lnTo>
                  <a:lnTo>
                    <a:pt x="3307" y="4637"/>
                  </a:lnTo>
                  <a:lnTo>
                    <a:pt x="3323" y="4643"/>
                  </a:lnTo>
                  <a:lnTo>
                    <a:pt x="3345" y="4649"/>
                  </a:lnTo>
                  <a:lnTo>
                    <a:pt x="3363" y="4656"/>
                  </a:lnTo>
                  <a:lnTo>
                    <a:pt x="3376" y="4671"/>
                  </a:lnTo>
                  <a:lnTo>
                    <a:pt x="3385" y="4693"/>
                  </a:lnTo>
                  <a:lnTo>
                    <a:pt x="3385" y="4712"/>
                  </a:lnTo>
                  <a:lnTo>
                    <a:pt x="3382" y="4718"/>
                  </a:lnTo>
                  <a:lnTo>
                    <a:pt x="3379" y="4724"/>
                  </a:lnTo>
                  <a:lnTo>
                    <a:pt x="3370" y="4730"/>
                  </a:lnTo>
                  <a:lnTo>
                    <a:pt x="3363" y="4737"/>
                  </a:lnTo>
                  <a:lnTo>
                    <a:pt x="3357" y="4740"/>
                  </a:lnTo>
                  <a:lnTo>
                    <a:pt x="3351" y="4740"/>
                  </a:lnTo>
                  <a:lnTo>
                    <a:pt x="3345" y="4740"/>
                  </a:lnTo>
                  <a:lnTo>
                    <a:pt x="3335" y="4740"/>
                  </a:lnTo>
                  <a:lnTo>
                    <a:pt x="3329" y="4737"/>
                  </a:lnTo>
                  <a:lnTo>
                    <a:pt x="3320" y="4737"/>
                  </a:lnTo>
                  <a:lnTo>
                    <a:pt x="3316" y="4740"/>
                  </a:lnTo>
                  <a:lnTo>
                    <a:pt x="3310" y="4752"/>
                  </a:lnTo>
                  <a:lnTo>
                    <a:pt x="3307" y="4771"/>
                  </a:lnTo>
                  <a:lnTo>
                    <a:pt x="3304" y="4787"/>
                  </a:lnTo>
                  <a:lnTo>
                    <a:pt x="3301" y="4793"/>
                  </a:lnTo>
                  <a:lnTo>
                    <a:pt x="3241" y="4793"/>
                  </a:lnTo>
                  <a:lnTo>
                    <a:pt x="3232" y="4793"/>
                  </a:lnTo>
                  <a:lnTo>
                    <a:pt x="3226" y="4796"/>
                  </a:lnTo>
                  <a:lnTo>
                    <a:pt x="3217" y="4796"/>
                  </a:lnTo>
                  <a:lnTo>
                    <a:pt x="3207" y="4796"/>
                  </a:lnTo>
                  <a:lnTo>
                    <a:pt x="3198" y="4796"/>
                  </a:lnTo>
                  <a:lnTo>
                    <a:pt x="3192" y="4793"/>
                  </a:lnTo>
                  <a:lnTo>
                    <a:pt x="3188" y="4790"/>
                  </a:lnTo>
                  <a:lnTo>
                    <a:pt x="3185" y="4784"/>
                  </a:lnTo>
                  <a:lnTo>
                    <a:pt x="3179" y="4774"/>
                  </a:lnTo>
                  <a:lnTo>
                    <a:pt x="3176" y="4768"/>
                  </a:lnTo>
                  <a:lnTo>
                    <a:pt x="3173" y="4759"/>
                  </a:lnTo>
                  <a:lnTo>
                    <a:pt x="3167" y="4755"/>
                  </a:lnTo>
                  <a:lnTo>
                    <a:pt x="3145" y="4749"/>
                  </a:lnTo>
                  <a:lnTo>
                    <a:pt x="3120" y="4749"/>
                  </a:lnTo>
                  <a:lnTo>
                    <a:pt x="3095" y="4752"/>
                  </a:lnTo>
                  <a:lnTo>
                    <a:pt x="3088" y="4755"/>
                  </a:lnTo>
                  <a:lnTo>
                    <a:pt x="3079" y="4759"/>
                  </a:lnTo>
                  <a:lnTo>
                    <a:pt x="3073" y="4762"/>
                  </a:lnTo>
                  <a:lnTo>
                    <a:pt x="3067" y="4768"/>
                  </a:lnTo>
                  <a:lnTo>
                    <a:pt x="3064" y="4774"/>
                  </a:lnTo>
                  <a:lnTo>
                    <a:pt x="3064" y="4780"/>
                  </a:lnTo>
                  <a:lnTo>
                    <a:pt x="3064" y="4787"/>
                  </a:lnTo>
                  <a:lnTo>
                    <a:pt x="3064" y="4796"/>
                  </a:lnTo>
                  <a:lnTo>
                    <a:pt x="3067" y="4802"/>
                  </a:lnTo>
                  <a:lnTo>
                    <a:pt x="3070" y="4809"/>
                  </a:lnTo>
                  <a:lnTo>
                    <a:pt x="3079" y="4815"/>
                  </a:lnTo>
                  <a:lnTo>
                    <a:pt x="3085" y="4821"/>
                  </a:lnTo>
                  <a:lnTo>
                    <a:pt x="3095" y="4827"/>
                  </a:lnTo>
                  <a:lnTo>
                    <a:pt x="3098" y="4833"/>
                  </a:lnTo>
                  <a:lnTo>
                    <a:pt x="3104" y="4840"/>
                  </a:lnTo>
                  <a:lnTo>
                    <a:pt x="3107" y="4849"/>
                  </a:lnTo>
                  <a:lnTo>
                    <a:pt x="3110" y="4858"/>
                  </a:lnTo>
                  <a:lnTo>
                    <a:pt x="3110" y="4868"/>
                  </a:lnTo>
                  <a:lnTo>
                    <a:pt x="3113" y="4877"/>
                  </a:lnTo>
                  <a:lnTo>
                    <a:pt x="3107" y="4899"/>
                  </a:lnTo>
                  <a:lnTo>
                    <a:pt x="3098" y="4921"/>
                  </a:lnTo>
                  <a:lnTo>
                    <a:pt x="3085" y="4937"/>
                  </a:lnTo>
                  <a:lnTo>
                    <a:pt x="3079" y="4940"/>
                  </a:lnTo>
                  <a:lnTo>
                    <a:pt x="3073" y="4937"/>
                  </a:lnTo>
                  <a:lnTo>
                    <a:pt x="3064" y="4933"/>
                  </a:lnTo>
                  <a:lnTo>
                    <a:pt x="3057" y="4930"/>
                  </a:lnTo>
                  <a:lnTo>
                    <a:pt x="3048" y="4924"/>
                  </a:lnTo>
                  <a:lnTo>
                    <a:pt x="3042" y="4924"/>
                  </a:lnTo>
                  <a:lnTo>
                    <a:pt x="3035" y="4921"/>
                  </a:lnTo>
                  <a:lnTo>
                    <a:pt x="3029" y="4924"/>
                  </a:lnTo>
                  <a:lnTo>
                    <a:pt x="3023" y="4927"/>
                  </a:lnTo>
                  <a:lnTo>
                    <a:pt x="3017" y="4933"/>
                  </a:lnTo>
                  <a:lnTo>
                    <a:pt x="3014" y="4937"/>
                  </a:lnTo>
                  <a:lnTo>
                    <a:pt x="3004" y="4955"/>
                  </a:lnTo>
                  <a:lnTo>
                    <a:pt x="2998" y="4974"/>
                  </a:lnTo>
                  <a:lnTo>
                    <a:pt x="2998" y="4993"/>
                  </a:lnTo>
                  <a:lnTo>
                    <a:pt x="3007" y="4999"/>
                  </a:lnTo>
                  <a:lnTo>
                    <a:pt x="3026" y="5005"/>
                  </a:lnTo>
                  <a:lnTo>
                    <a:pt x="3045" y="5008"/>
                  </a:lnTo>
                  <a:lnTo>
                    <a:pt x="3057" y="5015"/>
                  </a:lnTo>
                  <a:lnTo>
                    <a:pt x="3064" y="5030"/>
                  </a:lnTo>
                  <a:lnTo>
                    <a:pt x="3067" y="5049"/>
                  </a:lnTo>
                  <a:lnTo>
                    <a:pt x="3073" y="5065"/>
                  </a:lnTo>
                  <a:lnTo>
                    <a:pt x="3085" y="5077"/>
                  </a:lnTo>
                  <a:lnTo>
                    <a:pt x="3107" y="5083"/>
                  </a:lnTo>
                  <a:lnTo>
                    <a:pt x="3123" y="5086"/>
                  </a:lnTo>
                  <a:lnTo>
                    <a:pt x="3138" y="5086"/>
                  </a:lnTo>
                  <a:lnTo>
                    <a:pt x="3154" y="5083"/>
                  </a:lnTo>
                  <a:lnTo>
                    <a:pt x="3170" y="5083"/>
                  </a:lnTo>
                  <a:lnTo>
                    <a:pt x="3182" y="5086"/>
                  </a:lnTo>
                  <a:lnTo>
                    <a:pt x="3182" y="5093"/>
                  </a:lnTo>
                  <a:lnTo>
                    <a:pt x="3185" y="5096"/>
                  </a:lnTo>
                  <a:lnTo>
                    <a:pt x="3185" y="5105"/>
                  </a:lnTo>
                  <a:lnTo>
                    <a:pt x="3185" y="5111"/>
                  </a:lnTo>
                  <a:lnTo>
                    <a:pt x="3185" y="5118"/>
                  </a:lnTo>
                  <a:lnTo>
                    <a:pt x="3188" y="5121"/>
                  </a:lnTo>
                  <a:lnTo>
                    <a:pt x="3195" y="5127"/>
                  </a:lnTo>
                  <a:lnTo>
                    <a:pt x="3204" y="5127"/>
                  </a:lnTo>
                  <a:lnTo>
                    <a:pt x="3213" y="5130"/>
                  </a:lnTo>
                  <a:lnTo>
                    <a:pt x="3226" y="5130"/>
                  </a:lnTo>
                  <a:lnTo>
                    <a:pt x="3232" y="5130"/>
                  </a:lnTo>
                  <a:lnTo>
                    <a:pt x="3251" y="5130"/>
                  </a:lnTo>
                  <a:lnTo>
                    <a:pt x="3273" y="5124"/>
                  </a:lnTo>
                  <a:lnTo>
                    <a:pt x="3295" y="5121"/>
                  </a:lnTo>
                  <a:lnTo>
                    <a:pt x="3313" y="5121"/>
                  </a:lnTo>
                  <a:lnTo>
                    <a:pt x="3320" y="5124"/>
                  </a:lnTo>
                  <a:lnTo>
                    <a:pt x="3326" y="5130"/>
                  </a:lnTo>
                  <a:lnTo>
                    <a:pt x="3332" y="5136"/>
                  </a:lnTo>
                  <a:lnTo>
                    <a:pt x="3338" y="5140"/>
                  </a:lnTo>
                  <a:lnTo>
                    <a:pt x="3341" y="5146"/>
                  </a:lnTo>
                  <a:lnTo>
                    <a:pt x="3341" y="5152"/>
                  </a:lnTo>
                  <a:lnTo>
                    <a:pt x="3338" y="5161"/>
                  </a:lnTo>
                  <a:lnTo>
                    <a:pt x="3335" y="5168"/>
                  </a:lnTo>
                  <a:lnTo>
                    <a:pt x="3335" y="5177"/>
                  </a:lnTo>
                  <a:lnTo>
                    <a:pt x="3335" y="5183"/>
                  </a:lnTo>
                  <a:lnTo>
                    <a:pt x="3335" y="5189"/>
                  </a:lnTo>
                  <a:lnTo>
                    <a:pt x="3341" y="5199"/>
                  </a:lnTo>
                  <a:lnTo>
                    <a:pt x="3345" y="5208"/>
                  </a:lnTo>
                  <a:lnTo>
                    <a:pt x="3351" y="5218"/>
                  </a:lnTo>
                  <a:lnTo>
                    <a:pt x="3357" y="5224"/>
                  </a:lnTo>
                  <a:lnTo>
                    <a:pt x="3373" y="5230"/>
                  </a:lnTo>
                  <a:lnTo>
                    <a:pt x="3391" y="5236"/>
                  </a:lnTo>
                  <a:lnTo>
                    <a:pt x="3407" y="5246"/>
                  </a:lnTo>
                  <a:lnTo>
                    <a:pt x="3410" y="5252"/>
                  </a:lnTo>
                  <a:lnTo>
                    <a:pt x="3413" y="5258"/>
                  </a:lnTo>
                  <a:lnTo>
                    <a:pt x="3413" y="5271"/>
                  </a:lnTo>
                  <a:lnTo>
                    <a:pt x="3413" y="5280"/>
                  </a:lnTo>
                  <a:lnTo>
                    <a:pt x="3416" y="5286"/>
                  </a:lnTo>
                  <a:lnTo>
                    <a:pt x="3416" y="5299"/>
                  </a:lnTo>
                  <a:lnTo>
                    <a:pt x="3416" y="5311"/>
                  </a:lnTo>
                  <a:lnTo>
                    <a:pt x="3416" y="5324"/>
                  </a:lnTo>
                  <a:lnTo>
                    <a:pt x="3416" y="5333"/>
                  </a:lnTo>
                  <a:lnTo>
                    <a:pt x="3423" y="5352"/>
                  </a:lnTo>
                  <a:lnTo>
                    <a:pt x="3429" y="5377"/>
                  </a:lnTo>
                  <a:lnTo>
                    <a:pt x="3435" y="5392"/>
                  </a:lnTo>
                  <a:lnTo>
                    <a:pt x="3438" y="5402"/>
                  </a:lnTo>
                  <a:lnTo>
                    <a:pt x="3444" y="5411"/>
                  </a:lnTo>
                  <a:lnTo>
                    <a:pt x="3448" y="5421"/>
                  </a:lnTo>
                  <a:lnTo>
                    <a:pt x="3451" y="5427"/>
                  </a:lnTo>
                  <a:lnTo>
                    <a:pt x="3454" y="5436"/>
                  </a:lnTo>
                  <a:lnTo>
                    <a:pt x="3457" y="5455"/>
                  </a:lnTo>
                  <a:lnTo>
                    <a:pt x="3460" y="5477"/>
                  </a:lnTo>
                  <a:lnTo>
                    <a:pt x="3457" y="5499"/>
                  </a:lnTo>
                  <a:lnTo>
                    <a:pt x="3454" y="5514"/>
                  </a:lnTo>
                  <a:lnTo>
                    <a:pt x="3451" y="5520"/>
                  </a:lnTo>
                  <a:lnTo>
                    <a:pt x="3441" y="5527"/>
                  </a:lnTo>
                  <a:lnTo>
                    <a:pt x="3435" y="5533"/>
                  </a:lnTo>
                  <a:lnTo>
                    <a:pt x="3426" y="5539"/>
                  </a:lnTo>
                  <a:lnTo>
                    <a:pt x="3416" y="5542"/>
                  </a:lnTo>
                  <a:lnTo>
                    <a:pt x="3410" y="5542"/>
                  </a:lnTo>
                  <a:lnTo>
                    <a:pt x="3404" y="5542"/>
                  </a:lnTo>
                  <a:lnTo>
                    <a:pt x="3398" y="5536"/>
                  </a:lnTo>
                  <a:lnTo>
                    <a:pt x="3391" y="5527"/>
                  </a:lnTo>
                  <a:lnTo>
                    <a:pt x="3385" y="5520"/>
                  </a:lnTo>
                  <a:lnTo>
                    <a:pt x="3379" y="5514"/>
                  </a:lnTo>
                  <a:lnTo>
                    <a:pt x="3376" y="5508"/>
                  </a:lnTo>
                  <a:lnTo>
                    <a:pt x="3370" y="5499"/>
                  </a:lnTo>
                  <a:lnTo>
                    <a:pt x="3366" y="5489"/>
                  </a:lnTo>
                  <a:lnTo>
                    <a:pt x="3360" y="5480"/>
                  </a:lnTo>
                  <a:lnTo>
                    <a:pt x="3354" y="5474"/>
                  </a:lnTo>
                  <a:lnTo>
                    <a:pt x="3338" y="5467"/>
                  </a:lnTo>
                  <a:lnTo>
                    <a:pt x="3316" y="5464"/>
                  </a:lnTo>
                  <a:lnTo>
                    <a:pt x="3295" y="5464"/>
                  </a:lnTo>
                  <a:lnTo>
                    <a:pt x="3279" y="5470"/>
                  </a:lnTo>
                  <a:lnTo>
                    <a:pt x="3270" y="5480"/>
                  </a:lnTo>
                  <a:lnTo>
                    <a:pt x="3266" y="5499"/>
                  </a:lnTo>
                  <a:lnTo>
                    <a:pt x="3263" y="5517"/>
                  </a:lnTo>
                  <a:lnTo>
                    <a:pt x="3260" y="5530"/>
                  </a:lnTo>
                  <a:lnTo>
                    <a:pt x="3238" y="5549"/>
                  </a:lnTo>
                  <a:lnTo>
                    <a:pt x="3210" y="5564"/>
                  </a:lnTo>
                  <a:lnTo>
                    <a:pt x="3188" y="5583"/>
                  </a:lnTo>
                  <a:lnTo>
                    <a:pt x="3185" y="5586"/>
                  </a:lnTo>
                  <a:lnTo>
                    <a:pt x="3182" y="5592"/>
                  </a:lnTo>
                  <a:lnTo>
                    <a:pt x="3179" y="5599"/>
                  </a:lnTo>
                  <a:lnTo>
                    <a:pt x="3176" y="5605"/>
                  </a:lnTo>
                  <a:lnTo>
                    <a:pt x="3173" y="5611"/>
                  </a:lnTo>
                  <a:lnTo>
                    <a:pt x="3157" y="5614"/>
                  </a:lnTo>
                  <a:lnTo>
                    <a:pt x="3135" y="5614"/>
                  </a:lnTo>
                  <a:lnTo>
                    <a:pt x="3117" y="5614"/>
                  </a:lnTo>
                  <a:lnTo>
                    <a:pt x="3098" y="5611"/>
                  </a:lnTo>
                  <a:lnTo>
                    <a:pt x="3082" y="5602"/>
                  </a:lnTo>
                  <a:lnTo>
                    <a:pt x="3064" y="5586"/>
                  </a:lnTo>
                  <a:lnTo>
                    <a:pt x="3045" y="5577"/>
                  </a:lnTo>
                  <a:lnTo>
                    <a:pt x="3039" y="5577"/>
                  </a:lnTo>
                  <a:lnTo>
                    <a:pt x="3029" y="5577"/>
                  </a:lnTo>
                  <a:lnTo>
                    <a:pt x="3020" y="5577"/>
                  </a:lnTo>
                  <a:lnTo>
                    <a:pt x="3010" y="5577"/>
                  </a:lnTo>
                  <a:lnTo>
                    <a:pt x="3004" y="5577"/>
                  </a:lnTo>
                  <a:lnTo>
                    <a:pt x="2998" y="5574"/>
                  </a:lnTo>
                  <a:lnTo>
                    <a:pt x="2976" y="5558"/>
                  </a:lnTo>
                  <a:lnTo>
                    <a:pt x="2957" y="5533"/>
                  </a:lnTo>
                  <a:lnTo>
                    <a:pt x="2942" y="5511"/>
                  </a:lnTo>
                  <a:lnTo>
                    <a:pt x="2939" y="5492"/>
                  </a:lnTo>
                  <a:lnTo>
                    <a:pt x="2939" y="5474"/>
                  </a:lnTo>
                  <a:lnTo>
                    <a:pt x="2935" y="5452"/>
                  </a:lnTo>
                  <a:lnTo>
                    <a:pt x="2929" y="5439"/>
                  </a:lnTo>
                  <a:lnTo>
                    <a:pt x="2914" y="5427"/>
                  </a:lnTo>
                  <a:lnTo>
                    <a:pt x="2889" y="5421"/>
                  </a:lnTo>
                  <a:lnTo>
                    <a:pt x="2870" y="5414"/>
                  </a:lnTo>
                  <a:lnTo>
                    <a:pt x="2857" y="5414"/>
                  </a:lnTo>
                  <a:lnTo>
                    <a:pt x="2845" y="5414"/>
                  </a:lnTo>
                  <a:lnTo>
                    <a:pt x="2832" y="5414"/>
                  </a:lnTo>
                  <a:lnTo>
                    <a:pt x="2823" y="5414"/>
                  </a:lnTo>
                  <a:lnTo>
                    <a:pt x="2814" y="5411"/>
                  </a:lnTo>
                  <a:lnTo>
                    <a:pt x="2801" y="5411"/>
                  </a:lnTo>
                  <a:lnTo>
                    <a:pt x="2792" y="5408"/>
                  </a:lnTo>
                  <a:lnTo>
                    <a:pt x="2782" y="5405"/>
                  </a:lnTo>
                  <a:lnTo>
                    <a:pt x="2773" y="5402"/>
                  </a:lnTo>
                  <a:lnTo>
                    <a:pt x="2764" y="5399"/>
                  </a:lnTo>
                  <a:lnTo>
                    <a:pt x="2751" y="5392"/>
                  </a:lnTo>
                  <a:lnTo>
                    <a:pt x="2742" y="5389"/>
                  </a:lnTo>
                  <a:lnTo>
                    <a:pt x="2732" y="5386"/>
                  </a:lnTo>
                  <a:lnTo>
                    <a:pt x="2726" y="5386"/>
                  </a:lnTo>
                  <a:lnTo>
                    <a:pt x="2717" y="5389"/>
                  </a:lnTo>
                  <a:lnTo>
                    <a:pt x="2708" y="5392"/>
                  </a:lnTo>
                  <a:lnTo>
                    <a:pt x="2698" y="5392"/>
                  </a:lnTo>
                  <a:lnTo>
                    <a:pt x="2692" y="5396"/>
                  </a:lnTo>
                  <a:lnTo>
                    <a:pt x="2673" y="5402"/>
                  </a:lnTo>
                  <a:lnTo>
                    <a:pt x="2651" y="5408"/>
                  </a:lnTo>
                  <a:lnTo>
                    <a:pt x="2629" y="5414"/>
                  </a:lnTo>
                  <a:lnTo>
                    <a:pt x="2611" y="5414"/>
                  </a:lnTo>
                  <a:lnTo>
                    <a:pt x="2601" y="5414"/>
                  </a:lnTo>
                  <a:lnTo>
                    <a:pt x="2592" y="5411"/>
                  </a:lnTo>
                  <a:lnTo>
                    <a:pt x="2583" y="5408"/>
                  </a:lnTo>
                  <a:lnTo>
                    <a:pt x="2576" y="5402"/>
                  </a:lnTo>
                  <a:lnTo>
                    <a:pt x="2567" y="5383"/>
                  </a:lnTo>
                  <a:lnTo>
                    <a:pt x="2558" y="5358"/>
                  </a:lnTo>
                  <a:lnTo>
                    <a:pt x="2555" y="5333"/>
                  </a:lnTo>
                  <a:lnTo>
                    <a:pt x="2558" y="5317"/>
                  </a:lnTo>
                  <a:lnTo>
                    <a:pt x="2567" y="5302"/>
                  </a:lnTo>
                  <a:lnTo>
                    <a:pt x="2576" y="5283"/>
                  </a:lnTo>
                  <a:lnTo>
                    <a:pt x="2576" y="5268"/>
                  </a:lnTo>
                  <a:lnTo>
                    <a:pt x="2567" y="5249"/>
                  </a:lnTo>
                  <a:lnTo>
                    <a:pt x="2545" y="5227"/>
                  </a:lnTo>
                  <a:lnTo>
                    <a:pt x="2523" y="5218"/>
                  </a:lnTo>
                  <a:lnTo>
                    <a:pt x="2517" y="5214"/>
                  </a:lnTo>
                  <a:lnTo>
                    <a:pt x="2505" y="5214"/>
                  </a:lnTo>
                  <a:lnTo>
                    <a:pt x="2495" y="5218"/>
                  </a:lnTo>
                  <a:lnTo>
                    <a:pt x="2486" y="5218"/>
                  </a:lnTo>
                  <a:lnTo>
                    <a:pt x="2476" y="5221"/>
                  </a:lnTo>
                  <a:lnTo>
                    <a:pt x="2470" y="5227"/>
                  </a:lnTo>
                  <a:lnTo>
                    <a:pt x="2461" y="5233"/>
                  </a:lnTo>
                  <a:lnTo>
                    <a:pt x="2455" y="5239"/>
                  </a:lnTo>
                  <a:lnTo>
                    <a:pt x="2445" y="5246"/>
                  </a:lnTo>
                  <a:lnTo>
                    <a:pt x="2436" y="5252"/>
                  </a:lnTo>
                  <a:lnTo>
                    <a:pt x="2430" y="5258"/>
                  </a:lnTo>
                  <a:lnTo>
                    <a:pt x="2408" y="5258"/>
                  </a:lnTo>
                  <a:lnTo>
                    <a:pt x="2383" y="5258"/>
                  </a:lnTo>
                  <a:lnTo>
                    <a:pt x="2355" y="5255"/>
                  </a:lnTo>
                  <a:lnTo>
                    <a:pt x="2336" y="5258"/>
                  </a:lnTo>
                  <a:lnTo>
                    <a:pt x="2317" y="5264"/>
                  </a:lnTo>
                  <a:lnTo>
                    <a:pt x="2295" y="5277"/>
                  </a:lnTo>
                  <a:lnTo>
                    <a:pt x="2277" y="5286"/>
                  </a:lnTo>
                  <a:lnTo>
                    <a:pt x="2236" y="5302"/>
                  </a:lnTo>
                  <a:lnTo>
                    <a:pt x="2189" y="5314"/>
                  </a:lnTo>
                  <a:lnTo>
                    <a:pt x="2149" y="5327"/>
                  </a:lnTo>
                  <a:lnTo>
                    <a:pt x="2124" y="5336"/>
                  </a:lnTo>
                  <a:lnTo>
                    <a:pt x="2095" y="5352"/>
                  </a:lnTo>
                  <a:lnTo>
                    <a:pt x="2070" y="5364"/>
                  </a:lnTo>
                  <a:lnTo>
                    <a:pt x="2052" y="5377"/>
                  </a:lnTo>
                  <a:lnTo>
                    <a:pt x="2030" y="5389"/>
                  </a:lnTo>
                  <a:lnTo>
                    <a:pt x="2011" y="5396"/>
                  </a:lnTo>
                  <a:lnTo>
                    <a:pt x="1996" y="5392"/>
                  </a:lnTo>
                  <a:lnTo>
                    <a:pt x="1974" y="5383"/>
                  </a:lnTo>
                  <a:lnTo>
                    <a:pt x="1955" y="5374"/>
                  </a:lnTo>
                  <a:lnTo>
                    <a:pt x="1936" y="5361"/>
                  </a:lnTo>
                  <a:lnTo>
                    <a:pt x="1924" y="5352"/>
                  </a:lnTo>
                  <a:lnTo>
                    <a:pt x="1921" y="5342"/>
                  </a:lnTo>
                  <a:lnTo>
                    <a:pt x="1924" y="5330"/>
                  </a:lnTo>
                  <a:lnTo>
                    <a:pt x="1930" y="5308"/>
                  </a:lnTo>
                  <a:lnTo>
                    <a:pt x="1933" y="5283"/>
                  </a:lnTo>
                  <a:lnTo>
                    <a:pt x="1930" y="5261"/>
                  </a:lnTo>
                  <a:lnTo>
                    <a:pt x="1921" y="5243"/>
                  </a:lnTo>
                  <a:lnTo>
                    <a:pt x="1905" y="5218"/>
                  </a:lnTo>
                  <a:lnTo>
                    <a:pt x="1886" y="5199"/>
                  </a:lnTo>
                  <a:lnTo>
                    <a:pt x="1868" y="5186"/>
                  </a:lnTo>
                  <a:lnTo>
                    <a:pt x="1864" y="5186"/>
                  </a:lnTo>
                  <a:lnTo>
                    <a:pt x="1858" y="5186"/>
                  </a:lnTo>
                  <a:lnTo>
                    <a:pt x="1852" y="5186"/>
                  </a:lnTo>
                  <a:lnTo>
                    <a:pt x="1849" y="5186"/>
                  </a:lnTo>
                  <a:lnTo>
                    <a:pt x="1827" y="5180"/>
                  </a:lnTo>
                  <a:lnTo>
                    <a:pt x="1805" y="5171"/>
                  </a:lnTo>
                  <a:lnTo>
                    <a:pt x="1783" y="5168"/>
                  </a:lnTo>
                  <a:lnTo>
                    <a:pt x="1774" y="5168"/>
                  </a:lnTo>
                  <a:lnTo>
                    <a:pt x="1764" y="5171"/>
                  </a:lnTo>
                  <a:lnTo>
                    <a:pt x="1752" y="5174"/>
                  </a:lnTo>
                  <a:lnTo>
                    <a:pt x="1743" y="5177"/>
                  </a:lnTo>
                  <a:lnTo>
                    <a:pt x="1736" y="5183"/>
                  </a:lnTo>
                  <a:lnTo>
                    <a:pt x="1736" y="5189"/>
                  </a:lnTo>
                  <a:lnTo>
                    <a:pt x="1736" y="5196"/>
                  </a:lnTo>
                  <a:lnTo>
                    <a:pt x="1736" y="5205"/>
                  </a:lnTo>
                  <a:lnTo>
                    <a:pt x="1739" y="5214"/>
                  </a:lnTo>
                  <a:lnTo>
                    <a:pt x="1739" y="5221"/>
                  </a:lnTo>
                  <a:lnTo>
                    <a:pt x="1736" y="5227"/>
                  </a:lnTo>
                  <a:lnTo>
                    <a:pt x="1724" y="5236"/>
                  </a:lnTo>
                  <a:lnTo>
                    <a:pt x="1702" y="5243"/>
                  </a:lnTo>
                  <a:lnTo>
                    <a:pt x="1680" y="5249"/>
                  </a:lnTo>
                  <a:lnTo>
                    <a:pt x="1665" y="5252"/>
                  </a:lnTo>
                  <a:lnTo>
                    <a:pt x="1661" y="5252"/>
                  </a:lnTo>
                  <a:lnTo>
                    <a:pt x="1646" y="5255"/>
                  </a:lnTo>
                  <a:lnTo>
                    <a:pt x="1627" y="5255"/>
                  </a:lnTo>
                  <a:lnTo>
                    <a:pt x="1611" y="5255"/>
                  </a:lnTo>
                  <a:lnTo>
                    <a:pt x="1602" y="5252"/>
                  </a:lnTo>
                  <a:lnTo>
                    <a:pt x="1593" y="5243"/>
                  </a:lnTo>
                  <a:lnTo>
                    <a:pt x="1577" y="5227"/>
                  </a:lnTo>
                  <a:lnTo>
                    <a:pt x="1561" y="5211"/>
                  </a:lnTo>
                  <a:lnTo>
                    <a:pt x="1546" y="5199"/>
                  </a:lnTo>
                  <a:lnTo>
                    <a:pt x="1527" y="5183"/>
                  </a:lnTo>
                  <a:lnTo>
                    <a:pt x="1508" y="5168"/>
                  </a:lnTo>
                  <a:lnTo>
                    <a:pt x="1490" y="5158"/>
                  </a:lnTo>
                  <a:lnTo>
                    <a:pt x="1480" y="5155"/>
                  </a:lnTo>
                  <a:lnTo>
                    <a:pt x="1471" y="5155"/>
                  </a:lnTo>
                  <a:lnTo>
                    <a:pt x="1462" y="5152"/>
                  </a:lnTo>
                  <a:lnTo>
                    <a:pt x="1452" y="5152"/>
                  </a:lnTo>
                  <a:lnTo>
                    <a:pt x="1437" y="5149"/>
                  </a:lnTo>
                  <a:lnTo>
                    <a:pt x="1412" y="5146"/>
                  </a:lnTo>
                  <a:lnTo>
                    <a:pt x="1390" y="5143"/>
                  </a:lnTo>
                  <a:lnTo>
                    <a:pt x="1371" y="5146"/>
                  </a:lnTo>
                  <a:lnTo>
                    <a:pt x="1355" y="5152"/>
                  </a:lnTo>
                  <a:lnTo>
                    <a:pt x="1355" y="5164"/>
                  </a:lnTo>
                  <a:lnTo>
                    <a:pt x="1359" y="5180"/>
                  </a:lnTo>
                  <a:lnTo>
                    <a:pt x="1368" y="5199"/>
                  </a:lnTo>
                  <a:lnTo>
                    <a:pt x="1374" y="5214"/>
                  </a:lnTo>
                  <a:lnTo>
                    <a:pt x="1377" y="5230"/>
                  </a:lnTo>
                  <a:lnTo>
                    <a:pt x="1368" y="5246"/>
                  </a:lnTo>
                  <a:lnTo>
                    <a:pt x="1355" y="5264"/>
                  </a:lnTo>
                  <a:lnTo>
                    <a:pt x="1340" y="5280"/>
                  </a:lnTo>
                  <a:lnTo>
                    <a:pt x="1324" y="5289"/>
                  </a:lnTo>
                  <a:lnTo>
                    <a:pt x="1305" y="5293"/>
                  </a:lnTo>
                  <a:lnTo>
                    <a:pt x="1280" y="5293"/>
                  </a:lnTo>
                  <a:lnTo>
                    <a:pt x="1259" y="5289"/>
                  </a:lnTo>
                  <a:lnTo>
                    <a:pt x="1243" y="5283"/>
                  </a:lnTo>
                  <a:lnTo>
                    <a:pt x="1230" y="5264"/>
                  </a:lnTo>
                  <a:lnTo>
                    <a:pt x="1224" y="5236"/>
                  </a:lnTo>
                  <a:lnTo>
                    <a:pt x="1224" y="5211"/>
                  </a:lnTo>
                  <a:lnTo>
                    <a:pt x="1230" y="5199"/>
                  </a:lnTo>
                  <a:lnTo>
                    <a:pt x="1240" y="5183"/>
                  </a:lnTo>
                  <a:lnTo>
                    <a:pt x="1252" y="5168"/>
                  </a:lnTo>
                  <a:lnTo>
                    <a:pt x="1252" y="5155"/>
                  </a:lnTo>
                  <a:lnTo>
                    <a:pt x="1240" y="5149"/>
                  </a:lnTo>
                  <a:lnTo>
                    <a:pt x="1221" y="5155"/>
                  </a:lnTo>
                  <a:lnTo>
                    <a:pt x="1199" y="5161"/>
                  </a:lnTo>
                  <a:lnTo>
                    <a:pt x="1184" y="5168"/>
                  </a:lnTo>
                  <a:lnTo>
                    <a:pt x="1165" y="5180"/>
                  </a:lnTo>
                  <a:lnTo>
                    <a:pt x="1143" y="5193"/>
                  </a:lnTo>
                  <a:lnTo>
                    <a:pt x="1127" y="5205"/>
                  </a:lnTo>
                  <a:lnTo>
                    <a:pt x="1109" y="5211"/>
                  </a:lnTo>
                  <a:lnTo>
                    <a:pt x="1090" y="5218"/>
                  </a:lnTo>
                  <a:lnTo>
                    <a:pt x="1071" y="5227"/>
                  </a:lnTo>
                  <a:lnTo>
                    <a:pt x="1056" y="5236"/>
                  </a:lnTo>
                  <a:lnTo>
                    <a:pt x="1056" y="5243"/>
                  </a:lnTo>
                  <a:lnTo>
                    <a:pt x="1056" y="5249"/>
                  </a:lnTo>
                  <a:lnTo>
                    <a:pt x="1059" y="5258"/>
                  </a:lnTo>
                  <a:lnTo>
                    <a:pt x="1059" y="5264"/>
                  </a:lnTo>
                  <a:lnTo>
                    <a:pt x="1059" y="5274"/>
                  </a:lnTo>
                  <a:lnTo>
                    <a:pt x="1056" y="5277"/>
                  </a:lnTo>
                  <a:lnTo>
                    <a:pt x="1034" y="5293"/>
                  </a:lnTo>
                  <a:lnTo>
                    <a:pt x="999" y="5302"/>
                  </a:lnTo>
                  <a:lnTo>
                    <a:pt x="965" y="5305"/>
                  </a:lnTo>
                  <a:lnTo>
                    <a:pt x="937" y="5302"/>
                  </a:lnTo>
                  <a:lnTo>
                    <a:pt x="918" y="5286"/>
                  </a:lnTo>
                  <a:lnTo>
                    <a:pt x="903" y="5261"/>
                  </a:lnTo>
                  <a:lnTo>
                    <a:pt x="887" y="5243"/>
                  </a:lnTo>
                  <a:lnTo>
                    <a:pt x="865" y="5230"/>
                  </a:lnTo>
                  <a:lnTo>
                    <a:pt x="840" y="5218"/>
                  </a:lnTo>
                  <a:lnTo>
                    <a:pt x="815" y="5208"/>
                  </a:lnTo>
                  <a:lnTo>
                    <a:pt x="790" y="5202"/>
                  </a:lnTo>
                  <a:lnTo>
                    <a:pt x="775" y="5208"/>
                  </a:lnTo>
                  <a:lnTo>
                    <a:pt x="756" y="5214"/>
                  </a:lnTo>
                  <a:lnTo>
                    <a:pt x="737" y="5218"/>
                  </a:lnTo>
                  <a:lnTo>
                    <a:pt x="721" y="5218"/>
                  </a:lnTo>
                  <a:lnTo>
                    <a:pt x="700" y="5214"/>
                  </a:lnTo>
                  <a:lnTo>
                    <a:pt x="678" y="5211"/>
                  </a:lnTo>
                  <a:lnTo>
                    <a:pt x="662" y="5205"/>
                  </a:lnTo>
                  <a:lnTo>
                    <a:pt x="656" y="5202"/>
                  </a:lnTo>
                  <a:lnTo>
                    <a:pt x="656" y="5186"/>
                  </a:lnTo>
                  <a:lnTo>
                    <a:pt x="656" y="5161"/>
                  </a:lnTo>
                  <a:lnTo>
                    <a:pt x="656" y="5133"/>
                  </a:lnTo>
                  <a:lnTo>
                    <a:pt x="656" y="5111"/>
                  </a:lnTo>
                  <a:lnTo>
                    <a:pt x="662" y="5093"/>
                  </a:lnTo>
                  <a:lnTo>
                    <a:pt x="668" y="5071"/>
                  </a:lnTo>
                  <a:lnTo>
                    <a:pt x="678" y="5046"/>
                  </a:lnTo>
                  <a:lnTo>
                    <a:pt x="678" y="5027"/>
                  </a:lnTo>
                  <a:lnTo>
                    <a:pt x="678" y="5018"/>
                  </a:lnTo>
                  <a:lnTo>
                    <a:pt x="672" y="5008"/>
                  </a:lnTo>
                  <a:lnTo>
                    <a:pt x="668" y="4996"/>
                  </a:lnTo>
                  <a:lnTo>
                    <a:pt x="662" y="4986"/>
                  </a:lnTo>
                  <a:lnTo>
                    <a:pt x="656" y="4977"/>
                  </a:lnTo>
                  <a:lnTo>
                    <a:pt x="640" y="4965"/>
                  </a:lnTo>
                  <a:lnTo>
                    <a:pt x="618" y="4952"/>
                  </a:lnTo>
                  <a:lnTo>
                    <a:pt x="603" y="4937"/>
                  </a:lnTo>
                  <a:lnTo>
                    <a:pt x="587" y="4918"/>
                  </a:lnTo>
                  <a:lnTo>
                    <a:pt x="572" y="4893"/>
                  </a:lnTo>
                  <a:lnTo>
                    <a:pt x="562" y="4871"/>
                  </a:lnTo>
                  <a:lnTo>
                    <a:pt x="559" y="4849"/>
                  </a:lnTo>
                  <a:lnTo>
                    <a:pt x="562" y="4824"/>
                  </a:lnTo>
                  <a:lnTo>
                    <a:pt x="562" y="4802"/>
                  </a:lnTo>
                  <a:lnTo>
                    <a:pt x="553" y="4784"/>
                  </a:lnTo>
                  <a:lnTo>
                    <a:pt x="537" y="4762"/>
                  </a:lnTo>
                  <a:lnTo>
                    <a:pt x="525" y="4743"/>
                  </a:lnTo>
                  <a:lnTo>
                    <a:pt x="522" y="4721"/>
                  </a:lnTo>
                  <a:lnTo>
                    <a:pt x="519" y="4693"/>
                  </a:lnTo>
                  <a:lnTo>
                    <a:pt x="512" y="4665"/>
                  </a:lnTo>
                  <a:lnTo>
                    <a:pt x="503" y="4646"/>
                  </a:lnTo>
                  <a:lnTo>
                    <a:pt x="487" y="4640"/>
                  </a:lnTo>
                  <a:lnTo>
                    <a:pt x="469" y="4640"/>
                  </a:lnTo>
                  <a:lnTo>
                    <a:pt x="447" y="4640"/>
                  </a:lnTo>
                  <a:lnTo>
                    <a:pt x="428" y="4637"/>
                  </a:lnTo>
                  <a:lnTo>
                    <a:pt x="412" y="4631"/>
                  </a:lnTo>
                  <a:lnTo>
                    <a:pt x="403" y="4612"/>
                  </a:lnTo>
                  <a:lnTo>
                    <a:pt x="397" y="4584"/>
                  </a:lnTo>
                  <a:lnTo>
                    <a:pt x="394" y="4556"/>
                  </a:lnTo>
                  <a:lnTo>
                    <a:pt x="390" y="4524"/>
                  </a:lnTo>
                  <a:lnTo>
                    <a:pt x="390" y="4499"/>
                  </a:lnTo>
                  <a:lnTo>
                    <a:pt x="390" y="4471"/>
                  </a:lnTo>
                  <a:lnTo>
                    <a:pt x="390" y="4440"/>
                  </a:lnTo>
                  <a:lnTo>
                    <a:pt x="390" y="4412"/>
                  </a:lnTo>
                  <a:lnTo>
                    <a:pt x="384" y="4390"/>
                  </a:lnTo>
                  <a:lnTo>
                    <a:pt x="378" y="4362"/>
                  </a:lnTo>
                  <a:lnTo>
                    <a:pt x="372" y="4334"/>
                  </a:lnTo>
                  <a:lnTo>
                    <a:pt x="369" y="4312"/>
                  </a:lnTo>
                  <a:lnTo>
                    <a:pt x="362" y="4284"/>
                  </a:lnTo>
                  <a:lnTo>
                    <a:pt x="359" y="4246"/>
                  </a:lnTo>
                  <a:lnTo>
                    <a:pt x="359" y="421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Freeform 57">
              <a:extLst>
                <a:ext uri="{FF2B5EF4-FFF2-40B4-BE49-F238E27FC236}">
                  <a16:creationId xmlns:a16="http://schemas.microsoft.com/office/drawing/2014/main" id="{99978B11-41FD-4E05-88BF-6157AB0B0863}"/>
                </a:ext>
              </a:extLst>
            </p:cNvPr>
            <p:cNvSpPr>
              <a:spLocks/>
            </p:cNvSpPr>
            <p:nvPr/>
          </p:nvSpPr>
          <p:spPr bwMode="auto">
            <a:xfrm>
              <a:off x="20139026" y="-1704975"/>
              <a:ext cx="6350000" cy="8153400"/>
            </a:xfrm>
            <a:custGeom>
              <a:avLst/>
              <a:gdLst>
                <a:gd name="T0" fmla="*/ 84 w 4000"/>
                <a:gd name="T1" fmla="*/ 4087 h 5136"/>
                <a:gd name="T2" fmla="*/ 224 w 4000"/>
                <a:gd name="T3" fmla="*/ 3928 h 5136"/>
                <a:gd name="T4" fmla="*/ 209 w 4000"/>
                <a:gd name="T5" fmla="*/ 3741 h 5136"/>
                <a:gd name="T6" fmla="*/ 387 w 4000"/>
                <a:gd name="T7" fmla="*/ 3566 h 5136"/>
                <a:gd name="T8" fmla="*/ 490 w 4000"/>
                <a:gd name="T9" fmla="*/ 3338 h 5136"/>
                <a:gd name="T10" fmla="*/ 615 w 4000"/>
                <a:gd name="T11" fmla="*/ 3344 h 5136"/>
                <a:gd name="T12" fmla="*/ 721 w 4000"/>
                <a:gd name="T13" fmla="*/ 3013 h 5136"/>
                <a:gd name="T14" fmla="*/ 768 w 4000"/>
                <a:gd name="T15" fmla="*/ 2670 h 5136"/>
                <a:gd name="T16" fmla="*/ 540 w 4000"/>
                <a:gd name="T17" fmla="*/ 2364 h 5136"/>
                <a:gd name="T18" fmla="*/ 765 w 4000"/>
                <a:gd name="T19" fmla="*/ 2161 h 5136"/>
                <a:gd name="T20" fmla="*/ 849 w 4000"/>
                <a:gd name="T21" fmla="*/ 1752 h 5136"/>
                <a:gd name="T22" fmla="*/ 677 w 4000"/>
                <a:gd name="T23" fmla="*/ 1327 h 5136"/>
                <a:gd name="T24" fmla="*/ 509 w 4000"/>
                <a:gd name="T25" fmla="*/ 1108 h 5136"/>
                <a:gd name="T26" fmla="*/ 390 w 4000"/>
                <a:gd name="T27" fmla="*/ 840 h 5136"/>
                <a:gd name="T28" fmla="*/ 634 w 4000"/>
                <a:gd name="T29" fmla="*/ 618 h 5136"/>
                <a:gd name="T30" fmla="*/ 918 w 4000"/>
                <a:gd name="T31" fmla="*/ 565 h 5136"/>
                <a:gd name="T32" fmla="*/ 868 w 4000"/>
                <a:gd name="T33" fmla="*/ 396 h 5136"/>
                <a:gd name="T34" fmla="*/ 1005 w 4000"/>
                <a:gd name="T35" fmla="*/ 256 h 5136"/>
                <a:gd name="T36" fmla="*/ 1171 w 4000"/>
                <a:gd name="T37" fmla="*/ 190 h 5136"/>
                <a:gd name="T38" fmla="*/ 1361 w 4000"/>
                <a:gd name="T39" fmla="*/ 69 h 5136"/>
                <a:gd name="T40" fmla="*/ 1589 w 4000"/>
                <a:gd name="T41" fmla="*/ 62 h 5136"/>
                <a:gd name="T42" fmla="*/ 1817 w 4000"/>
                <a:gd name="T43" fmla="*/ 209 h 5136"/>
                <a:gd name="T44" fmla="*/ 2098 w 4000"/>
                <a:gd name="T45" fmla="*/ 284 h 5136"/>
                <a:gd name="T46" fmla="*/ 2304 w 4000"/>
                <a:gd name="T47" fmla="*/ 356 h 5136"/>
                <a:gd name="T48" fmla="*/ 2476 w 4000"/>
                <a:gd name="T49" fmla="*/ 256 h 5136"/>
                <a:gd name="T50" fmla="*/ 2620 w 4000"/>
                <a:gd name="T51" fmla="*/ 256 h 5136"/>
                <a:gd name="T52" fmla="*/ 2769 w 4000"/>
                <a:gd name="T53" fmla="*/ 556 h 5136"/>
                <a:gd name="T54" fmla="*/ 3104 w 4000"/>
                <a:gd name="T55" fmla="*/ 749 h 5136"/>
                <a:gd name="T56" fmla="*/ 3175 w 4000"/>
                <a:gd name="T57" fmla="*/ 1136 h 5136"/>
                <a:gd name="T58" fmla="*/ 2844 w 4000"/>
                <a:gd name="T59" fmla="*/ 1314 h 5136"/>
                <a:gd name="T60" fmla="*/ 2838 w 4000"/>
                <a:gd name="T61" fmla="*/ 1714 h 5136"/>
                <a:gd name="T62" fmla="*/ 2673 w 4000"/>
                <a:gd name="T63" fmla="*/ 1986 h 5136"/>
                <a:gd name="T64" fmla="*/ 2704 w 4000"/>
                <a:gd name="T65" fmla="*/ 2326 h 5136"/>
                <a:gd name="T66" fmla="*/ 2932 w 4000"/>
                <a:gd name="T67" fmla="*/ 2779 h 5136"/>
                <a:gd name="T68" fmla="*/ 3144 w 4000"/>
                <a:gd name="T69" fmla="*/ 3082 h 5136"/>
                <a:gd name="T70" fmla="*/ 3022 w 4000"/>
                <a:gd name="T71" fmla="*/ 3382 h 5136"/>
                <a:gd name="T72" fmla="*/ 3303 w 4000"/>
                <a:gd name="T73" fmla="*/ 3394 h 5136"/>
                <a:gd name="T74" fmla="*/ 3609 w 4000"/>
                <a:gd name="T75" fmla="*/ 3329 h 5136"/>
                <a:gd name="T76" fmla="*/ 3750 w 4000"/>
                <a:gd name="T77" fmla="*/ 3266 h 5136"/>
                <a:gd name="T78" fmla="*/ 3884 w 4000"/>
                <a:gd name="T79" fmla="*/ 3572 h 5136"/>
                <a:gd name="T80" fmla="*/ 3931 w 4000"/>
                <a:gd name="T81" fmla="*/ 3897 h 5136"/>
                <a:gd name="T82" fmla="*/ 3800 w 4000"/>
                <a:gd name="T83" fmla="*/ 4078 h 5136"/>
                <a:gd name="T84" fmla="*/ 3697 w 4000"/>
                <a:gd name="T85" fmla="*/ 4256 h 5136"/>
                <a:gd name="T86" fmla="*/ 3481 w 4000"/>
                <a:gd name="T87" fmla="*/ 4428 h 5136"/>
                <a:gd name="T88" fmla="*/ 3235 w 4000"/>
                <a:gd name="T89" fmla="*/ 4593 h 5136"/>
                <a:gd name="T90" fmla="*/ 3029 w 4000"/>
                <a:gd name="T91" fmla="*/ 4787 h 5136"/>
                <a:gd name="T92" fmla="*/ 2751 w 4000"/>
                <a:gd name="T93" fmla="*/ 4640 h 5136"/>
                <a:gd name="T94" fmla="*/ 2551 w 4000"/>
                <a:gd name="T95" fmla="*/ 4499 h 5136"/>
                <a:gd name="T96" fmla="*/ 2332 w 4000"/>
                <a:gd name="T97" fmla="*/ 4674 h 5136"/>
                <a:gd name="T98" fmla="*/ 2201 w 4000"/>
                <a:gd name="T99" fmla="*/ 4346 h 5136"/>
                <a:gd name="T100" fmla="*/ 1948 w 4000"/>
                <a:gd name="T101" fmla="*/ 4437 h 5136"/>
                <a:gd name="T102" fmla="*/ 1798 w 4000"/>
                <a:gd name="T103" fmla="*/ 4534 h 5136"/>
                <a:gd name="T104" fmla="*/ 1726 w 4000"/>
                <a:gd name="T105" fmla="*/ 4543 h 5136"/>
                <a:gd name="T106" fmla="*/ 1648 w 4000"/>
                <a:gd name="T107" fmla="*/ 4718 h 5136"/>
                <a:gd name="T108" fmla="*/ 1555 w 4000"/>
                <a:gd name="T109" fmla="*/ 4990 h 5136"/>
                <a:gd name="T110" fmla="*/ 1430 w 4000"/>
                <a:gd name="T111" fmla="*/ 4880 h 5136"/>
                <a:gd name="T112" fmla="*/ 1327 w 4000"/>
                <a:gd name="T113" fmla="*/ 4646 h 5136"/>
                <a:gd name="T114" fmla="*/ 1099 w 4000"/>
                <a:gd name="T115" fmla="*/ 4409 h 5136"/>
                <a:gd name="T116" fmla="*/ 768 w 4000"/>
                <a:gd name="T117" fmla="*/ 4905 h 5136"/>
                <a:gd name="T118" fmla="*/ 418 w 4000"/>
                <a:gd name="T119" fmla="*/ 5058 h 5136"/>
                <a:gd name="T120" fmla="*/ 149 w 4000"/>
                <a:gd name="T121" fmla="*/ 5077 h 5136"/>
                <a:gd name="T122" fmla="*/ 153 w 4000"/>
                <a:gd name="T123" fmla="*/ 4727 h 5136"/>
                <a:gd name="T124" fmla="*/ 31 w 4000"/>
                <a:gd name="T125" fmla="*/ 4456 h 5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00" h="5136">
                  <a:moveTo>
                    <a:pt x="28" y="4306"/>
                  </a:moveTo>
                  <a:lnTo>
                    <a:pt x="31" y="4297"/>
                  </a:lnTo>
                  <a:lnTo>
                    <a:pt x="40" y="4278"/>
                  </a:lnTo>
                  <a:lnTo>
                    <a:pt x="53" y="4256"/>
                  </a:lnTo>
                  <a:lnTo>
                    <a:pt x="68" y="4237"/>
                  </a:lnTo>
                  <a:lnTo>
                    <a:pt x="75" y="4231"/>
                  </a:lnTo>
                  <a:lnTo>
                    <a:pt x="84" y="4225"/>
                  </a:lnTo>
                  <a:lnTo>
                    <a:pt x="93" y="4218"/>
                  </a:lnTo>
                  <a:lnTo>
                    <a:pt x="103" y="4212"/>
                  </a:lnTo>
                  <a:lnTo>
                    <a:pt x="106" y="4206"/>
                  </a:lnTo>
                  <a:lnTo>
                    <a:pt x="109" y="4187"/>
                  </a:lnTo>
                  <a:lnTo>
                    <a:pt x="109" y="4168"/>
                  </a:lnTo>
                  <a:lnTo>
                    <a:pt x="106" y="4153"/>
                  </a:lnTo>
                  <a:lnTo>
                    <a:pt x="100" y="4137"/>
                  </a:lnTo>
                  <a:lnTo>
                    <a:pt x="90" y="4125"/>
                  </a:lnTo>
                  <a:lnTo>
                    <a:pt x="84" y="4109"/>
                  </a:lnTo>
                  <a:lnTo>
                    <a:pt x="81" y="4097"/>
                  </a:lnTo>
                  <a:lnTo>
                    <a:pt x="84" y="4087"/>
                  </a:lnTo>
                  <a:lnTo>
                    <a:pt x="93" y="4084"/>
                  </a:lnTo>
                  <a:lnTo>
                    <a:pt x="103" y="4078"/>
                  </a:lnTo>
                  <a:lnTo>
                    <a:pt x="112" y="4072"/>
                  </a:lnTo>
                  <a:lnTo>
                    <a:pt x="121" y="4069"/>
                  </a:lnTo>
                  <a:lnTo>
                    <a:pt x="131" y="4065"/>
                  </a:lnTo>
                  <a:lnTo>
                    <a:pt x="137" y="4062"/>
                  </a:lnTo>
                  <a:lnTo>
                    <a:pt x="146" y="4059"/>
                  </a:lnTo>
                  <a:lnTo>
                    <a:pt x="153" y="4053"/>
                  </a:lnTo>
                  <a:lnTo>
                    <a:pt x="174" y="4040"/>
                  </a:lnTo>
                  <a:lnTo>
                    <a:pt x="196" y="4022"/>
                  </a:lnTo>
                  <a:lnTo>
                    <a:pt x="212" y="4003"/>
                  </a:lnTo>
                  <a:lnTo>
                    <a:pt x="212" y="3987"/>
                  </a:lnTo>
                  <a:lnTo>
                    <a:pt x="209" y="3966"/>
                  </a:lnTo>
                  <a:lnTo>
                    <a:pt x="206" y="3944"/>
                  </a:lnTo>
                  <a:lnTo>
                    <a:pt x="212" y="3928"/>
                  </a:lnTo>
                  <a:lnTo>
                    <a:pt x="215" y="3928"/>
                  </a:lnTo>
                  <a:lnTo>
                    <a:pt x="218" y="3928"/>
                  </a:lnTo>
                  <a:lnTo>
                    <a:pt x="224" y="3928"/>
                  </a:lnTo>
                  <a:lnTo>
                    <a:pt x="231" y="3931"/>
                  </a:lnTo>
                  <a:lnTo>
                    <a:pt x="234" y="3928"/>
                  </a:lnTo>
                  <a:lnTo>
                    <a:pt x="246" y="3912"/>
                  </a:lnTo>
                  <a:lnTo>
                    <a:pt x="256" y="3887"/>
                  </a:lnTo>
                  <a:lnTo>
                    <a:pt x="262" y="3862"/>
                  </a:lnTo>
                  <a:lnTo>
                    <a:pt x="259" y="3841"/>
                  </a:lnTo>
                  <a:lnTo>
                    <a:pt x="256" y="3834"/>
                  </a:lnTo>
                  <a:lnTo>
                    <a:pt x="246" y="3825"/>
                  </a:lnTo>
                  <a:lnTo>
                    <a:pt x="237" y="3819"/>
                  </a:lnTo>
                  <a:lnTo>
                    <a:pt x="231" y="3813"/>
                  </a:lnTo>
                  <a:lnTo>
                    <a:pt x="224" y="3806"/>
                  </a:lnTo>
                  <a:lnTo>
                    <a:pt x="218" y="3797"/>
                  </a:lnTo>
                  <a:lnTo>
                    <a:pt x="215" y="3788"/>
                  </a:lnTo>
                  <a:lnTo>
                    <a:pt x="212" y="3775"/>
                  </a:lnTo>
                  <a:lnTo>
                    <a:pt x="212" y="3766"/>
                  </a:lnTo>
                  <a:lnTo>
                    <a:pt x="209" y="3759"/>
                  </a:lnTo>
                  <a:lnTo>
                    <a:pt x="209" y="3750"/>
                  </a:lnTo>
                  <a:lnTo>
                    <a:pt x="209" y="3741"/>
                  </a:lnTo>
                  <a:lnTo>
                    <a:pt x="209" y="3734"/>
                  </a:lnTo>
                  <a:lnTo>
                    <a:pt x="212" y="3728"/>
                  </a:lnTo>
                  <a:lnTo>
                    <a:pt x="215" y="3722"/>
                  </a:lnTo>
                  <a:lnTo>
                    <a:pt x="224" y="3716"/>
                  </a:lnTo>
                  <a:lnTo>
                    <a:pt x="234" y="3709"/>
                  </a:lnTo>
                  <a:lnTo>
                    <a:pt x="243" y="3706"/>
                  </a:lnTo>
                  <a:lnTo>
                    <a:pt x="249" y="3700"/>
                  </a:lnTo>
                  <a:lnTo>
                    <a:pt x="253" y="3694"/>
                  </a:lnTo>
                  <a:lnTo>
                    <a:pt x="256" y="3684"/>
                  </a:lnTo>
                  <a:lnTo>
                    <a:pt x="259" y="3675"/>
                  </a:lnTo>
                  <a:lnTo>
                    <a:pt x="262" y="3666"/>
                  </a:lnTo>
                  <a:lnTo>
                    <a:pt x="265" y="3659"/>
                  </a:lnTo>
                  <a:lnTo>
                    <a:pt x="281" y="3635"/>
                  </a:lnTo>
                  <a:lnTo>
                    <a:pt x="299" y="3610"/>
                  </a:lnTo>
                  <a:lnTo>
                    <a:pt x="321" y="3591"/>
                  </a:lnTo>
                  <a:lnTo>
                    <a:pt x="340" y="3581"/>
                  </a:lnTo>
                  <a:lnTo>
                    <a:pt x="368" y="3575"/>
                  </a:lnTo>
                  <a:lnTo>
                    <a:pt x="387" y="3566"/>
                  </a:lnTo>
                  <a:lnTo>
                    <a:pt x="396" y="3563"/>
                  </a:lnTo>
                  <a:lnTo>
                    <a:pt x="406" y="3556"/>
                  </a:lnTo>
                  <a:lnTo>
                    <a:pt x="415" y="3547"/>
                  </a:lnTo>
                  <a:lnTo>
                    <a:pt x="424" y="3541"/>
                  </a:lnTo>
                  <a:lnTo>
                    <a:pt x="431" y="3535"/>
                  </a:lnTo>
                  <a:lnTo>
                    <a:pt x="440" y="3513"/>
                  </a:lnTo>
                  <a:lnTo>
                    <a:pt x="446" y="3488"/>
                  </a:lnTo>
                  <a:lnTo>
                    <a:pt x="456" y="3469"/>
                  </a:lnTo>
                  <a:lnTo>
                    <a:pt x="462" y="3466"/>
                  </a:lnTo>
                  <a:lnTo>
                    <a:pt x="471" y="3463"/>
                  </a:lnTo>
                  <a:lnTo>
                    <a:pt x="480" y="3460"/>
                  </a:lnTo>
                  <a:lnTo>
                    <a:pt x="487" y="3457"/>
                  </a:lnTo>
                  <a:lnTo>
                    <a:pt x="493" y="3453"/>
                  </a:lnTo>
                  <a:lnTo>
                    <a:pt x="499" y="3435"/>
                  </a:lnTo>
                  <a:lnTo>
                    <a:pt x="499" y="3410"/>
                  </a:lnTo>
                  <a:lnTo>
                    <a:pt x="496" y="3385"/>
                  </a:lnTo>
                  <a:lnTo>
                    <a:pt x="496" y="3363"/>
                  </a:lnTo>
                  <a:lnTo>
                    <a:pt x="490" y="3338"/>
                  </a:lnTo>
                  <a:lnTo>
                    <a:pt x="484" y="3310"/>
                  </a:lnTo>
                  <a:lnTo>
                    <a:pt x="480" y="3288"/>
                  </a:lnTo>
                  <a:lnTo>
                    <a:pt x="480" y="3282"/>
                  </a:lnTo>
                  <a:lnTo>
                    <a:pt x="480" y="3272"/>
                  </a:lnTo>
                  <a:lnTo>
                    <a:pt x="484" y="3263"/>
                  </a:lnTo>
                  <a:lnTo>
                    <a:pt x="487" y="3254"/>
                  </a:lnTo>
                  <a:lnTo>
                    <a:pt x="490" y="3247"/>
                  </a:lnTo>
                  <a:lnTo>
                    <a:pt x="496" y="3241"/>
                  </a:lnTo>
                  <a:lnTo>
                    <a:pt x="509" y="3241"/>
                  </a:lnTo>
                  <a:lnTo>
                    <a:pt x="527" y="3244"/>
                  </a:lnTo>
                  <a:lnTo>
                    <a:pt x="543" y="3250"/>
                  </a:lnTo>
                  <a:lnTo>
                    <a:pt x="555" y="3260"/>
                  </a:lnTo>
                  <a:lnTo>
                    <a:pt x="559" y="3272"/>
                  </a:lnTo>
                  <a:lnTo>
                    <a:pt x="559" y="3288"/>
                  </a:lnTo>
                  <a:lnTo>
                    <a:pt x="559" y="3304"/>
                  </a:lnTo>
                  <a:lnTo>
                    <a:pt x="565" y="3316"/>
                  </a:lnTo>
                  <a:lnTo>
                    <a:pt x="587" y="3332"/>
                  </a:lnTo>
                  <a:lnTo>
                    <a:pt x="615" y="3344"/>
                  </a:lnTo>
                  <a:lnTo>
                    <a:pt x="649" y="3350"/>
                  </a:lnTo>
                  <a:lnTo>
                    <a:pt x="677" y="3350"/>
                  </a:lnTo>
                  <a:lnTo>
                    <a:pt x="696" y="3341"/>
                  </a:lnTo>
                  <a:lnTo>
                    <a:pt x="718" y="3325"/>
                  </a:lnTo>
                  <a:lnTo>
                    <a:pt x="733" y="3307"/>
                  </a:lnTo>
                  <a:lnTo>
                    <a:pt x="737" y="3288"/>
                  </a:lnTo>
                  <a:lnTo>
                    <a:pt x="737" y="3263"/>
                  </a:lnTo>
                  <a:lnTo>
                    <a:pt x="733" y="3238"/>
                  </a:lnTo>
                  <a:lnTo>
                    <a:pt x="730" y="3213"/>
                  </a:lnTo>
                  <a:lnTo>
                    <a:pt x="733" y="3194"/>
                  </a:lnTo>
                  <a:lnTo>
                    <a:pt x="743" y="3175"/>
                  </a:lnTo>
                  <a:lnTo>
                    <a:pt x="758" y="3160"/>
                  </a:lnTo>
                  <a:lnTo>
                    <a:pt x="765" y="3141"/>
                  </a:lnTo>
                  <a:lnTo>
                    <a:pt x="765" y="3116"/>
                  </a:lnTo>
                  <a:lnTo>
                    <a:pt x="755" y="3085"/>
                  </a:lnTo>
                  <a:lnTo>
                    <a:pt x="743" y="3057"/>
                  </a:lnTo>
                  <a:lnTo>
                    <a:pt x="733" y="3032"/>
                  </a:lnTo>
                  <a:lnTo>
                    <a:pt x="721" y="3013"/>
                  </a:lnTo>
                  <a:lnTo>
                    <a:pt x="702" y="2991"/>
                  </a:lnTo>
                  <a:lnTo>
                    <a:pt x="693" y="2973"/>
                  </a:lnTo>
                  <a:lnTo>
                    <a:pt x="683" y="2948"/>
                  </a:lnTo>
                  <a:lnTo>
                    <a:pt x="674" y="2916"/>
                  </a:lnTo>
                  <a:lnTo>
                    <a:pt x="668" y="2885"/>
                  </a:lnTo>
                  <a:lnTo>
                    <a:pt x="665" y="2860"/>
                  </a:lnTo>
                  <a:lnTo>
                    <a:pt x="671" y="2835"/>
                  </a:lnTo>
                  <a:lnTo>
                    <a:pt x="683" y="2807"/>
                  </a:lnTo>
                  <a:lnTo>
                    <a:pt x="696" y="2782"/>
                  </a:lnTo>
                  <a:lnTo>
                    <a:pt x="708" y="2760"/>
                  </a:lnTo>
                  <a:lnTo>
                    <a:pt x="715" y="2757"/>
                  </a:lnTo>
                  <a:lnTo>
                    <a:pt x="724" y="2751"/>
                  </a:lnTo>
                  <a:lnTo>
                    <a:pt x="733" y="2745"/>
                  </a:lnTo>
                  <a:lnTo>
                    <a:pt x="743" y="2738"/>
                  </a:lnTo>
                  <a:lnTo>
                    <a:pt x="752" y="2732"/>
                  </a:lnTo>
                  <a:lnTo>
                    <a:pt x="758" y="2726"/>
                  </a:lnTo>
                  <a:lnTo>
                    <a:pt x="765" y="2701"/>
                  </a:lnTo>
                  <a:lnTo>
                    <a:pt x="768" y="2670"/>
                  </a:lnTo>
                  <a:lnTo>
                    <a:pt x="768" y="2638"/>
                  </a:lnTo>
                  <a:lnTo>
                    <a:pt x="762" y="2613"/>
                  </a:lnTo>
                  <a:lnTo>
                    <a:pt x="755" y="2595"/>
                  </a:lnTo>
                  <a:lnTo>
                    <a:pt x="746" y="2573"/>
                  </a:lnTo>
                  <a:lnTo>
                    <a:pt x="737" y="2557"/>
                  </a:lnTo>
                  <a:lnTo>
                    <a:pt x="724" y="2529"/>
                  </a:lnTo>
                  <a:lnTo>
                    <a:pt x="708" y="2501"/>
                  </a:lnTo>
                  <a:lnTo>
                    <a:pt x="693" y="2476"/>
                  </a:lnTo>
                  <a:lnTo>
                    <a:pt x="677" y="2457"/>
                  </a:lnTo>
                  <a:lnTo>
                    <a:pt x="655" y="2439"/>
                  </a:lnTo>
                  <a:lnTo>
                    <a:pt x="634" y="2423"/>
                  </a:lnTo>
                  <a:lnTo>
                    <a:pt x="615" y="2410"/>
                  </a:lnTo>
                  <a:lnTo>
                    <a:pt x="599" y="2407"/>
                  </a:lnTo>
                  <a:lnTo>
                    <a:pt x="580" y="2407"/>
                  </a:lnTo>
                  <a:lnTo>
                    <a:pt x="565" y="2407"/>
                  </a:lnTo>
                  <a:lnTo>
                    <a:pt x="552" y="2401"/>
                  </a:lnTo>
                  <a:lnTo>
                    <a:pt x="543" y="2385"/>
                  </a:lnTo>
                  <a:lnTo>
                    <a:pt x="540" y="2364"/>
                  </a:lnTo>
                  <a:lnTo>
                    <a:pt x="540" y="2342"/>
                  </a:lnTo>
                  <a:lnTo>
                    <a:pt x="540" y="2323"/>
                  </a:lnTo>
                  <a:lnTo>
                    <a:pt x="546" y="2295"/>
                  </a:lnTo>
                  <a:lnTo>
                    <a:pt x="559" y="2261"/>
                  </a:lnTo>
                  <a:lnTo>
                    <a:pt x="574" y="2236"/>
                  </a:lnTo>
                  <a:lnTo>
                    <a:pt x="590" y="2220"/>
                  </a:lnTo>
                  <a:lnTo>
                    <a:pt x="609" y="2207"/>
                  </a:lnTo>
                  <a:lnTo>
                    <a:pt x="627" y="2198"/>
                  </a:lnTo>
                  <a:lnTo>
                    <a:pt x="637" y="2195"/>
                  </a:lnTo>
                  <a:lnTo>
                    <a:pt x="646" y="2195"/>
                  </a:lnTo>
                  <a:lnTo>
                    <a:pt x="655" y="2198"/>
                  </a:lnTo>
                  <a:lnTo>
                    <a:pt x="665" y="2198"/>
                  </a:lnTo>
                  <a:lnTo>
                    <a:pt x="674" y="2198"/>
                  </a:lnTo>
                  <a:lnTo>
                    <a:pt x="693" y="2189"/>
                  </a:lnTo>
                  <a:lnTo>
                    <a:pt x="715" y="2176"/>
                  </a:lnTo>
                  <a:lnTo>
                    <a:pt x="733" y="2167"/>
                  </a:lnTo>
                  <a:lnTo>
                    <a:pt x="746" y="2164"/>
                  </a:lnTo>
                  <a:lnTo>
                    <a:pt x="765" y="2161"/>
                  </a:lnTo>
                  <a:lnTo>
                    <a:pt x="783" y="2158"/>
                  </a:lnTo>
                  <a:lnTo>
                    <a:pt x="796" y="2154"/>
                  </a:lnTo>
                  <a:lnTo>
                    <a:pt x="811" y="2133"/>
                  </a:lnTo>
                  <a:lnTo>
                    <a:pt x="821" y="2101"/>
                  </a:lnTo>
                  <a:lnTo>
                    <a:pt x="827" y="2070"/>
                  </a:lnTo>
                  <a:lnTo>
                    <a:pt x="833" y="2042"/>
                  </a:lnTo>
                  <a:lnTo>
                    <a:pt x="843" y="2020"/>
                  </a:lnTo>
                  <a:lnTo>
                    <a:pt x="855" y="1989"/>
                  </a:lnTo>
                  <a:lnTo>
                    <a:pt x="861" y="1964"/>
                  </a:lnTo>
                  <a:lnTo>
                    <a:pt x="858" y="1942"/>
                  </a:lnTo>
                  <a:lnTo>
                    <a:pt x="852" y="1914"/>
                  </a:lnTo>
                  <a:lnTo>
                    <a:pt x="849" y="1889"/>
                  </a:lnTo>
                  <a:lnTo>
                    <a:pt x="852" y="1870"/>
                  </a:lnTo>
                  <a:lnTo>
                    <a:pt x="858" y="1845"/>
                  </a:lnTo>
                  <a:lnTo>
                    <a:pt x="865" y="1823"/>
                  </a:lnTo>
                  <a:lnTo>
                    <a:pt x="865" y="1805"/>
                  </a:lnTo>
                  <a:lnTo>
                    <a:pt x="858" y="1780"/>
                  </a:lnTo>
                  <a:lnTo>
                    <a:pt x="849" y="1752"/>
                  </a:lnTo>
                  <a:lnTo>
                    <a:pt x="840" y="1723"/>
                  </a:lnTo>
                  <a:lnTo>
                    <a:pt x="830" y="1699"/>
                  </a:lnTo>
                  <a:lnTo>
                    <a:pt x="821" y="1670"/>
                  </a:lnTo>
                  <a:lnTo>
                    <a:pt x="811" y="1636"/>
                  </a:lnTo>
                  <a:lnTo>
                    <a:pt x="805" y="1608"/>
                  </a:lnTo>
                  <a:lnTo>
                    <a:pt x="805" y="1586"/>
                  </a:lnTo>
                  <a:lnTo>
                    <a:pt x="808" y="1558"/>
                  </a:lnTo>
                  <a:lnTo>
                    <a:pt x="811" y="1533"/>
                  </a:lnTo>
                  <a:lnTo>
                    <a:pt x="808" y="1511"/>
                  </a:lnTo>
                  <a:lnTo>
                    <a:pt x="802" y="1486"/>
                  </a:lnTo>
                  <a:lnTo>
                    <a:pt x="790" y="1455"/>
                  </a:lnTo>
                  <a:lnTo>
                    <a:pt x="777" y="1427"/>
                  </a:lnTo>
                  <a:lnTo>
                    <a:pt x="762" y="1405"/>
                  </a:lnTo>
                  <a:lnTo>
                    <a:pt x="746" y="1389"/>
                  </a:lnTo>
                  <a:lnTo>
                    <a:pt x="721" y="1377"/>
                  </a:lnTo>
                  <a:lnTo>
                    <a:pt x="696" y="1361"/>
                  </a:lnTo>
                  <a:lnTo>
                    <a:pt x="680" y="1346"/>
                  </a:lnTo>
                  <a:lnTo>
                    <a:pt x="677" y="1327"/>
                  </a:lnTo>
                  <a:lnTo>
                    <a:pt x="680" y="1305"/>
                  </a:lnTo>
                  <a:lnTo>
                    <a:pt x="683" y="1280"/>
                  </a:lnTo>
                  <a:lnTo>
                    <a:pt x="680" y="1261"/>
                  </a:lnTo>
                  <a:lnTo>
                    <a:pt x="665" y="1243"/>
                  </a:lnTo>
                  <a:lnTo>
                    <a:pt x="640" y="1224"/>
                  </a:lnTo>
                  <a:lnTo>
                    <a:pt x="615" y="1215"/>
                  </a:lnTo>
                  <a:lnTo>
                    <a:pt x="609" y="1211"/>
                  </a:lnTo>
                  <a:lnTo>
                    <a:pt x="599" y="1211"/>
                  </a:lnTo>
                  <a:lnTo>
                    <a:pt x="590" y="1215"/>
                  </a:lnTo>
                  <a:lnTo>
                    <a:pt x="580" y="1215"/>
                  </a:lnTo>
                  <a:lnTo>
                    <a:pt x="571" y="1215"/>
                  </a:lnTo>
                  <a:lnTo>
                    <a:pt x="565" y="1215"/>
                  </a:lnTo>
                  <a:lnTo>
                    <a:pt x="559" y="1199"/>
                  </a:lnTo>
                  <a:lnTo>
                    <a:pt x="552" y="1180"/>
                  </a:lnTo>
                  <a:lnTo>
                    <a:pt x="546" y="1158"/>
                  </a:lnTo>
                  <a:lnTo>
                    <a:pt x="540" y="1143"/>
                  </a:lnTo>
                  <a:lnTo>
                    <a:pt x="527" y="1127"/>
                  </a:lnTo>
                  <a:lnTo>
                    <a:pt x="509" y="1108"/>
                  </a:lnTo>
                  <a:lnTo>
                    <a:pt x="490" y="1096"/>
                  </a:lnTo>
                  <a:lnTo>
                    <a:pt x="471" y="1090"/>
                  </a:lnTo>
                  <a:lnTo>
                    <a:pt x="449" y="1083"/>
                  </a:lnTo>
                  <a:lnTo>
                    <a:pt x="427" y="1077"/>
                  </a:lnTo>
                  <a:lnTo>
                    <a:pt x="412" y="1071"/>
                  </a:lnTo>
                  <a:lnTo>
                    <a:pt x="402" y="1055"/>
                  </a:lnTo>
                  <a:lnTo>
                    <a:pt x="393" y="1033"/>
                  </a:lnTo>
                  <a:lnTo>
                    <a:pt x="387" y="1015"/>
                  </a:lnTo>
                  <a:lnTo>
                    <a:pt x="377" y="993"/>
                  </a:lnTo>
                  <a:lnTo>
                    <a:pt x="362" y="968"/>
                  </a:lnTo>
                  <a:lnTo>
                    <a:pt x="349" y="943"/>
                  </a:lnTo>
                  <a:lnTo>
                    <a:pt x="340" y="918"/>
                  </a:lnTo>
                  <a:lnTo>
                    <a:pt x="343" y="899"/>
                  </a:lnTo>
                  <a:lnTo>
                    <a:pt x="349" y="877"/>
                  </a:lnTo>
                  <a:lnTo>
                    <a:pt x="356" y="859"/>
                  </a:lnTo>
                  <a:lnTo>
                    <a:pt x="359" y="855"/>
                  </a:lnTo>
                  <a:lnTo>
                    <a:pt x="371" y="846"/>
                  </a:lnTo>
                  <a:lnTo>
                    <a:pt x="390" y="840"/>
                  </a:lnTo>
                  <a:lnTo>
                    <a:pt x="409" y="830"/>
                  </a:lnTo>
                  <a:lnTo>
                    <a:pt x="421" y="821"/>
                  </a:lnTo>
                  <a:lnTo>
                    <a:pt x="424" y="809"/>
                  </a:lnTo>
                  <a:lnTo>
                    <a:pt x="421" y="790"/>
                  </a:lnTo>
                  <a:lnTo>
                    <a:pt x="418" y="771"/>
                  </a:lnTo>
                  <a:lnTo>
                    <a:pt x="421" y="755"/>
                  </a:lnTo>
                  <a:lnTo>
                    <a:pt x="440" y="737"/>
                  </a:lnTo>
                  <a:lnTo>
                    <a:pt x="468" y="718"/>
                  </a:lnTo>
                  <a:lnTo>
                    <a:pt x="499" y="702"/>
                  </a:lnTo>
                  <a:lnTo>
                    <a:pt x="530" y="687"/>
                  </a:lnTo>
                  <a:lnTo>
                    <a:pt x="555" y="674"/>
                  </a:lnTo>
                  <a:lnTo>
                    <a:pt x="565" y="668"/>
                  </a:lnTo>
                  <a:lnTo>
                    <a:pt x="571" y="662"/>
                  </a:lnTo>
                  <a:lnTo>
                    <a:pt x="580" y="656"/>
                  </a:lnTo>
                  <a:lnTo>
                    <a:pt x="590" y="649"/>
                  </a:lnTo>
                  <a:lnTo>
                    <a:pt x="596" y="646"/>
                  </a:lnTo>
                  <a:lnTo>
                    <a:pt x="615" y="634"/>
                  </a:lnTo>
                  <a:lnTo>
                    <a:pt x="634" y="618"/>
                  </a:lnTo>
                  <a:lnTo>
                    <a:pt x="652" y="612"/>
                  </a:lnTo>
                  <a:lnTo>
                    <a:pt x="668" y="618"/>
                  </a:lnTo>
                  <a:lnTo>
                    <a:pt x="683" y="627"/>
                  </a:lnTo>
                  <a:lnTo>
                    <a:pt x="699" y="640"/>
                  </a:lnTo>
                  <a:lnTo>
                    <a:pt x="715" y="646"/>
                  </a:lnTo>
                  <a:lnTo>
                    <a:pt x="746" y="649"/>
                  </a:lnTo>
                  <a:lnTo>
                    <a:pt x="780" y="646"/>
                  </a:lnTo>
                  <a:lnTo>
                    <a:pt x="818" y="640"/>
                  </a:lnTo>
                  <a:lnTo>
                    <a:pt x="846" y="631"/>
                  </a:lnTo>
                  <a:lnTo>
                    <a:pt x="858" y="615"/>
                  </a:lnTo>
                  <a:lnTo>
                    <a:pt x="874" y="593"/>
                  </a:lnTo>
                  <a:lnTo>
                    <a:pt x="890" y="578"/>
                  </a:lnTo>
                  <a:lnTo>
                    <a:pt x="893" y="578"/>
                  </a:lnTo>
                  <a:lnTo>
                    <a:pt x="899" y="578"/>
                  </a:lnTo>
                  <a:lnTo>
                    <a:pt x="905" y="578"/>
                  </a:lnTo>
                  <a:lnTo>
                    <a:pt x="911" y="578"/>
                  </a:lnTo>
                  <a:lnTo>
                    <a:pt x="915" y="578"/>
                  </a:lnTo>
                  <a:lnTo>
                    <a:pt x="918" y="565"/>
                  </a:lnTo>
                  <a:lnTo>
                    <a:pt x="915" y="546"/>
                  </a:lnTo>
                  <a:lnTo>
                    <a:pt x="908" y="528"/>
                  </a:lnTo>
                  <a:lnTo>
                    <a:pt x="899" y="509"/>
                  </a:lnTo>
                  <a:lnTo>
                    <a:pt x="893" y="496"/>
                  </a:lnTo>
                  <a:lnTo>
                    <a:pt x="890" y="487"/>
                  </a:lnTo>
                  <a:lnTo>
                    <a:pt x="883" y="481"/>
                  </a:lnTo>
                  <a:lnTo>
                    <a:pt x="877" y="471"/>
                  </a:lnTo>
                  <a:lnTo>
                    <a:pt x="871" y="465"/>
                  </a:lnTo>
                  <a:lnTo>
                    <a:pt x="868" y="456"/>
                  </a:lnTo>
                  <a:lnTo>
                    <a:pt x="865" y="449"/>
                  </a:lnTo>
                  <a:lnTo>
                    <a:pt x="868" y="443"/>
                  </a:lnTo>
                  <a:lnTo>
                    <a:pt x="871" y="434"/>
                  </a:lnTo>
                  <a:lnTo>
                    <a:pt x="874" y="428"/>
                  </a:lnTo>
                  <a:lnTo>
                    <a:pt x="880" y="418"/>
                  </a:lnTo>
                  <a:lnTo>
                    <a:pt x="880" y="412"/>
                  </a:lnTo>
                  <a:lnTo>
                    <a:pt x="877" y="409"/>
                  </a:lnTo>
                  <a:lnTo>
                    <a:pt x="874" y="403"/>
                  </a:lnTo>
                  <a:lnTo>
                    <a:pt x="868" y="396"/>
                  </a:lnTo>
                  <a:lnTo>
                    <a:pt x="865" y="390"/>
                  </a:lnTo>
                  <a:lnTo>
                    <a:pt x="865" y="381"/>
                  </a:lnTo>
                  <a:lnTo>
                    <a:pt x="868" y="371"/>
                  </a:lnTo>
                  <a:lnTo>
                    <a:pt x="871" y="362"/>
                  </a:lnTo>
                  <a:lnTo>
                    <a:pt x="877" y="353"/>
                  </a:lnTo>
                  <a:lnTo>
                    <a:pt x="880" y="343"/>
                  </a:lnTo>
                  <a:lnTo>
                    <a:pt x="899" y="331"/>
                  </a:lnTo>
                  <a:lnTo>
                    <a:pt x="927" y="321"/>
                  </a:lnTo>
                  <a:lnTo>
                    <a:pt x="946" y="315"/>
                  </a:lnTo>
                  <a:lnTo>
                    <a:pt x="952" y="309"/>
                  </a:lnTo>
                  <a:lnTo>
                    <a:pt x="949" y="296"/>
                  </a:lnTo>
                  <a:lnTo>
                    <a:pt x="946" y="281"/>
                  </a:lnTo>
                  <a:lnTo>
                    <a:pt x="946" y="265"/>
                  </a:lnTo>
                  <a:lnTo>
                    <a:pt x="946" y="256"/>
                  </a:lnTo>
                  <a:lnTo>
                    <a:pt x="958" y="250"/>
                  </a:lnTo>
                  <a:lnTo>
                    <a:pt x="974" y="253"/>
                  </a:lnTo>
                  <a:lnTo>
                    <a:pt x="993" y="256"/>
                  </a:lnTo>
                  <a:lnTo>
                    <a:pt x="1005" y="256"/>
                  </a:lnTo>
                  <a:lnTo>
                    <a:pt x="1024" y="243"/>
                  </a:lnTo>
                  <a:lnTo>
                    <a:pt x="1046" y="228"/>
                  </a:lnTo>
                  <a:lnTo>
                    <a:pt x="1064" y="218"/>
                  </a:lnTo>
                  <a:lnTo>
                    <a:pt x="1086" y="218"/>
                  </a:lnTo>
                  <a:lnTo>
                    <a:pt x="1114" y="218"/>
                  </a:lnTo>
                  <a:lnTo>
                    <a:pt x="1136" y="218"/>
                  </a:lnTo>
                  <a:lnTo>
                    <a:pt x="1143" y="218"/>
                  </a:lnTo>
                  <a:lnTo>
                    <a:pt x="1149" y="222"/>
                  </a:lnTo>
                  <a:lnTo>
                    <a:pt x="1158" y="222"/>
                  </a:lnTo>
                  <a:lnTo>
                    <a:pt x="1167" y="225"/>
                  </a:lnTo>
                  <a:lnTo>
                    <a:pt x="1174" y="225"/>
                  </a:lnTo>
                  <a:lnTo>
                    <a:pt x="1180" y="222"/>
                  </a:lnTo>
                  <a:lnTo>
                    <a:pt x="1186" y="218"/>
                  </a:lnTo>
                  <a:lnTo>
                    <a:pt x="1186" y="215"/>
                  </a:lnTo>
                  <a:lnTo>
                    <a:pt x="1183" y="209"/>
                  </a:lnTo>
                  <a:lnTo>
                    <a:pt x="1180" y="203"/>
                  </a:lnTo>
                  <a:lnTo>
                    <a:pt x="1177" y="197"/>
                  </a:lnTo>
                  <a:lnTo>
                    <a:pt x="1171" y="190"/>
                  </a:lnTo>
                  <a:lnTo>
                    <a:pt x="1167" y="184"/>
                  </a:lnTo>
                  <a:lnTo>
                    <a:pt x="1164" y="178"/>
                  </a:lnTo>
                  <a:lnTo>
                    <a:pt x="1167" y="172"/>
                  </a:lnTo>
                  <a:lnTo>
                    <a:pt x="1177" y="165"/>
                  </a:lnTo>
                  <a:lnTo>
                    <a:pt x="1196" y="165"/>
                  </a:lnTo>
                  <a:lnTo>
                    <a:pt x="1217" y="168"/>
                  </a:lnTo>
                  <a:lnTo>
                    <a:pt x="1239" y="172"/>
                  </a:lnTo>
                  <a:lnTo>
                    <a:pt x="1258" y="175"/>
                  </a:lnTo>
                  <a:lnTo>
                    <a:pt x="1274" y="172"/>
                  </a:lnTo>
                  <a:lnTo>
                    <a:pt x="1283" y="168"/>
                  </a:lnTo>
                  <a:lnTo>
                    <a:pt x="1296" y="162"/>
                  </a:lnTo>
                  <a:lnTo>
                    <a:pt x="1305" y="153"/>
                  </a:lnTo>
                  <a:lnTo>
                    <a:pt x="1314" y="147"/>
                  </a:lnTo>
                  <a:lnTo>
                    <a:pt x="1324" y="137"/>
                  </a:lnTo>
                  <a:lnTo>
                    <a:pt x="1330" y="118"/>
                  </a:lnTo>
                  <a:lnTo>
                    <a:pt x="1336" y="97"/>
                  </a:lnTo>
                  <a:lnTo>
                    <a:pt x="1342" y="78"/>
                  </a:lnTo>
                  <a:lnTo>
                    <a:pt x="1361" y="69"/>
                  </a:lnTo>
                  <a:lnTo>
                    <a:pt x="1386" y="59"/>
                  </a:lnTo>
                  <a:lnTo>
                    <a:pt x="1411" y="50"/>
                  </a:lnTo>
                  <a:lnTo>
                    <a:pt x="1430" y="40"/>
                  </a:lnTo>
                  <a:lnTo>
                    <a:pt x="1436" y="34"/>
                  </a:lnTo>
                  <a:lnTo>
                    <a:pt x="1442" y="28"/>
                  </a:lnTo>
                  <a:lnTo>
                    <a:pt x="1449" y="19"/>
                  </a:lnTo>
                  <a:lnTo>
                    <a:pt x="1458" y="9"/>
                  </a:lnTo>
                  <a:lnTo>
                    <a:pt x="1464" y="3"/>
                  </a:lnTo>
                  <a:lnTo>
                    <a:pt x="1470" y="0"/>
                  </a:lnTo>
                  <a:lnTo>
                    <a:pt x="1489" y="0"/>
                  </a:lnTo>
                  <a:lnTo>
                    <a:pt x="1508" y="9"/>
                  </a:lnTo>
                  <a:lnTo>
                    <a:pt x="1530" y="15"/>
                  </a:lnTo>
                  <a:lnTo>
                    <a:pt x="1548" y="22"/>
                  </a:lnTo>
                  <a:lnTo>
                    <a:pt x="1558" y="25"/>
                  </a:lnTo>
                  <a:lnTo>
                    <a:pt x="1570" y="28"/>
                  </a:lnTo>
                  <a:lnTo>
                    <a:pt x="1583" y="28"/>
                  </a:lnTo>
                  <a:lnTo>
                    <a:pt x="1586" y="47"/>
                  </a:lnTo>
                  <a:lnTo>
                    <a:pt x="1589" y="62"/>
                  </a:lnTo>
                  <a:lnTo>
                    <a:pt x="1592" y="75"/>
                  </a:lnTo>
                  <a:lnTo>
                    <a:pt x="1598" y="97"/>
                  </a:lnTo>
                  <a:lnTo>
                    <a:pt x="1602" y="118"/>
                  </a:lnTo>
                  <a:lnTo>
                    <a:pt x="1608" y="140"/>
                  </a:lnTo>
                  <a:lnTo>
                    <a:pt x="1620" y="156"/>
                  </a:lnTo>
                  <a:lnTo>
                    <a:pt x="1636" y="159"/>
                  </a:lnTo>
                  <a:lnTo>
                    <a:pt x="1661" y="159"/>
                  </a:lnTo>
                  <a:lnTo>
                    <a:pt x="1683" y="156"/>
                  </a:lnTo>
                  <a:lnTo>
                    <a:pt x="1705" y="156"/>
                  </a:lnTo>
                  <a:lnTo>
                    <a:pt x="1711" y="153"/>
                  </a:lnTo>
                  <a:lnTo>
                    <a:pt x="1720" y="153"/>
                  </a:lnTo>
                  <a:lnTo>
                    <a:pt x="1730" y="150"/>
                  </a:lnTo>
                  <a:lnTo>
                    <a:pt x="1736" y="150"/>
                  </a:lnTo>
                  <a:lnTo>
                    <a:pt x="1745" y="150"/>
                  </a:lnTo>
                  <a:lnTo>
                    <a:pt x="1764" y="159"/>
                  </a:lnTo>
                  <a:lnTo>
                    <a:pt x="1789" y="175"/>
                  </a:lnTo>
                  <a:lnTo>
                    <a:pt x="1805" y="187"/>
                  </a:lnTo>
                  <a:lnTo>
                    <a:pt x="1817" y="209"/>
                  </a:lnTo>
                  <a:lnTo>
                    <a:pt x="1823" y="234"/>
                  </a:lnTo>
                  <a:lnTo>
                    <a:pt x="1833" y="262"/>
                  </a:lnTo>
                  <a:lnTo>
                    <a:pt x="1845" y="278"/>
                  </a:lnTo>
                  <a:lnTo>
                    <a:pt x="1864" y="284"/>
                  </a:lnTo>
                  <a:lnTo>
                    <a:pt x="1889" y="287"/>
                  </a:lnTo>
                  <a:lnTo>
                    <a:pt x="1914" y="284"/>
                  </a:lnTo>
                  <a:lnTo>
                    <a:pt x="1933" y="278"/>
                  </a:lnTo>
                  <a:lnTo>
                    <a:pt x="1945" y="262"/>
                  </a:lnTo>
                  <a:lnTo>
                    <a:pt x="1954" y="240"/>
                  </a:lnTo>
                  <a:lnTo>
                    <a:pt x="1967" y="228"/>
                  </a:lnTo>
                  <a:lnTo>
                    <a:pt x="1986" y="222"/>
                  </a:lnTo>
                  <a:lnTo>
                    <a:pt x="2007" y="218"/>
                  </a:lnTo>
                  <a:lnTo>
                    <a:pt x="2029" y="222"/>
                  </a:lnTo>
                  <a:lnTo>
                    <a:pt x="2048" y="228"/>
                  </a:lnTo>
                  <a:lnTo>
                    <a:pt x="2061" y="240"/>
                  </a:lnTo>
                  <a:lnTo>
                    <a:pt x="2073" y="259"/>
                  </a:lnTo>
                  <a:lnTo>
                    <a:pt x="2086" y="278"/>
                  </a:lnTo>
                  <a:lnTo>
                    <a:pt x="2098" y="284"/>
                  </a:lnTo>
                  <a:lnTo>
                    <a:pt x="2107" y="284"/>
                  </a:lnTo>
                  <a:lnTo>
                    <a:pt x="2114" y="278"/>
                  </a:lnTo>
                  <a:lnTo>
                    <a:pt x="2120" y="268"/>
                  </a:lnTo>
                  <a:lnTo>
                    <a:pt x="2129" y="259"/>
                  </a:lnTo>
                  <a:lnTo>
                    <a:pt x="2136" y="250"/>
                  </a:lnTo>
                  <a:lnTo>
                    <a:pt x="2142" y="243"/>
                  </a:lnTo>
                  <a:lnTo>
                    <a:pt x="2148" y="237"/>
                  </a:lnTo>
                  <a:lnTo>
                    <a:pt x="2164" y="228"/>
                  </a:lnTo>
                  <a:lnTo>
                    <a:pt x="2185" y="222"/>
                  </a:lnTo>
                  <a:lnTo>
                    <a:pt x="2207" y="215"/>
                  </a:lnTo>
                  <a:lnTo>
                    <a:pt x="2226" y="215"/>
                  </a:lnTo>
                  <a:lnTo>
                    <a:pt x="2245" y="228"/>
                  </a:lnTo>
                  <a:lnTo>
                    <a:pt x="2267" y="250"/>
                  </a:lnTo>
                  <a:lnTo>
                    <a:pt x="2282" y="271"/>
                  </a:lnTo>
                  <a:lnTo>
                    <a:pt x="2285" y="290"/>
                  </a:lnTo>
                  <a:lnTo>
                    <a:pt x="2292" y="315"/>
                  </a:lnTo>
                  <a:lnTo>
                    <a:pt x="2295" y="337"/>
                  </a:lnTo>
                  <a:lnTo>
                    <a:pt x="2304" y="356"/>
                  </a:lnTo>
                  <a:lnTo>
                    <a:pt x="2320" y="362"/>
                  </a:lnTo>
                  <a:lnTo>
                    <a:pt x="2338" y="368"/>
                  </a:lnTo>
                  <a:lnTo>
                    <a:pt x="2357" y="368"/>
                  </a:lnTo>
                  <a:lnTo>
                    <a:pt x="2373" y="362"/>
                  </a:lnTo>
                  <a:lnTo>
                    <a:pt x="2376" y="350"/>
                  </a:lnTo>
                  <a:lnTo>
                    <a:pt x="2373" y="334"/>
                  </a:lnTo>
                  <a:lnTo>
                    <a:pt x="2370" y="318"/>
                  </a:lnTo>
                  <a:lnTo>
                    <a:pt x="2373" y="306"/>
                  </a:lnTo>
                  <a:lnTo>
                    <a:pt x="2385" y="303"/>
                  </a:lnTo>
                  <a:lnTo>
                    <a:pt x="2401" y="303"/>
                  </a:lnTo>
                  <a:lnTo>
                    <a:pt x="2417" y="306"/>
                  </a:lnTo>
                  <a:lnTo>
                    <a:pt x="2429" y="306"/>
                  </a:lnTo>
                  <a:lnTo>
                    <a:pt x="2438" y="303"/>
                  </a:lnTo>
                  <a:lnTo>
                    <a:pt x="2448" y="296"/>
                  </a:lnTo>
                  <a:lnTo>
                    <a:pt x="2457" y="290"/>
                  </a:lnTo>
                  <a:lnTo>
                    <a:pt x="2467" y="284"/>
                  </a:lnTo>
                  <a:lnTo>
                    <a:pt x="2473" y="275"/>
                  </a:lnTo>
                  <a:lnTo>
                    <a:pt x="2476" y="256"/>
                  </a:lnTo>
                  <a:lnTo>
                    <a:pt x="2476" y="231"/>
                  </a:lnTo>
                  <a:lnTo>
                    <a:pt x="2473" y="206"/>
                  </a:lnTo>
                  <a:lnTo>
                    <a:pt x="2473" y="187"/>
                  </a:lnTo>
                  <a:lnTo>
                    <a:pt x="2476" y="178"/>
                  </a:lnTo>
                  <a:lnTo>
                    <a:pt x="2479" y="165"/>
                  </a:lnTo>
                  <a:lnTo>
                    <a:pt x="2485" y="153"/>
                  </a:lnTo>
                  <a:lnTo>
                    <a:pt x="2492" y="143"/>
                  </a:lnTo>
                  <a:lnTo>
                    <a:pt x="2498" y="137"/>
                  </a:lnTo>
                  <a:lnTo>
                    <a:pt x="2507" y="134"/>
                  </a:lnTo>
                  <a:lnTo>
                    <a:pt x="2516" y="134"/>
                  </a:lnTo>
                  <a:lnTo>
                    <a:pt x="2529" y="134"/>
                  </a:lnTo>
                  <a:lnTo>
                    <a:pt x="2538" y="134"/>
                  </a:lnTo>
                  <a:lnTo>
                    <a:pt x="2548" y="137"/>
                  </a:lnTo>
                  <a:lnTo>
                    <a:pt x="2566" y="156"/>
                  </a:lnTo>
                  <a:lnTo>
                    <a:pt x="2585" y="181"/>
                  </a:lnTo>
                  <a:lnTo>
                    <a:pt x="2601" y="206"/>
                  </a:lnTo>
                  <a:lnTo>
                    <a:pt x="2610" y="228"/>
                  </a:lnTo>
                  <a:lnTo>
                    <a:pt x="2620" y="256"/>
                  </a:lnTo>
                  <a:lnTo>
                    <a:pt x="2632" y="284"/>
                  </a:lnTo>
                  <a:lnTo>
                    <a:pt x="2645" y="303"/>
                  </a:lnTo>
                  <a:lnTo>
                    <a:pt x="2660" y="312"/>
                  </a:lnTo>
                  <a:lnTo>
                    <a:pt x="2682" y="315"/>
                  </a:lnTo>
                  <a:lnTo>
                    <a:pt x="2698" y="325"/>
                  </a:lnTo>
                  <a:lnTo>
                    <a:pt x="2713" y="343"/>
                  </a:lnTo>
                  <a:lnTo>
                    <a:pt x="2732" y="368"/>
                  </a:lnTo>
                  <a:lnTo>
                    <a:pt x="2744" y="396"/>
                  </a:lnTo>
                  <a:lnTo>
                    <a:pt x="2754" y="421"/>
                  </a:lnTo>
                  <a:lnTo>
                    <a:pt x="2754" y="440"/>
                  </a:lnTo>
                  <a:lnTo>
                    <a:pt x="2748" y="465"/>
                  </a:lnTo>
                  <a:lnTo>
                    <a:pt x="2741" y="490"/>
                  </a:lnTo>
                  <a:lnTo>
                    <a:pt x="2735" y="515"/>
                  </a:lnTo>
                  <a:lnTo>
                    <a:pt x="2738" y="534"/>
                  </a:lnTo>
                  <a:lnTo>
                    <a:pt x="2744" y="540"/>
                  </a:lnTo>
                  <a:lnTo>
                    <a:pt x="2751" y="543"/>
                  </a:lnTo>
                  <a:lnTo>
                    <a:pt x="2760" y="549"/>
                  </a:lnTo>
                  <a:lnTo>
                    <a:pt x="2769" y="556"/>
                  </a:lnTo>
                  <a:lnTo>
                    <a:pt x="2779" y="559"/>
                  </a:lnTo>
                  <a:lnTo>
                    <a:pt x="2785" y="565"/>
                  </a:lnTo>
                  <a:lnTo>
                    <a:pt x="2798" y="587"/>
                  </a:lnTo>
                  <a:lnTo>
                    <a:pt x="2810" y="615"/>
                  </a:lnTo>
                  <a:lnTo>
                    <a:pt x="2826" y="637"/>
                  </a:lnTo>
                  <a:lnTo>
                    <a:pt x="2847" y="652"/>
                  </a:lnTo>
                  <a:lnTo>
                    <a:pt x="2876" y="668"/>
                  </a:lnTo>
                  <a:lnTo>
                    <a:pt x="2907" y="687"/>
                  </a:lnTo>
                  <a:lnTo>
                    <a:pt x="2935" y="702"/>
                  </a:lnTo>
                  <a:lnTo>
                    <a:pt x="2957" y="718"/>
                  </a:lnTo>
                  <a:lnTo>
                    <a:pt x="2969" y="727"/>
                  </a:lnTo>
                  <a:lnTo>
                    <a:pt x="2979" y="734"/>
                  </a:lnTo>
                  <a:lnTo>
                    <a:pt x="2997" y="734"/>
                  </a:lnTo>
                  <a:lnTo>
                    <a:pt x="3019" y="731"/>
                  </a:lnTo>
                  <a:lnTo>
                    <a:pt x="3041" y="727"/>
                  </a:lnTo>
                  <a:lnTo>
                    <a:pt x="3060" y="727"/>
                  </a:lnTo>
                  <a:lnTo>
                    <a:pt x="3082" y="737"/>
                  </a:lnTo>
                  <a:lnTo>
                    <a:pt x="3104" y="749"/>
                  </a:lnTo>
                  <a:lnTo>
                    <a:pt x="3122" y="768"/>
                  </a:lnTo>
                  <a:lnTo>
                    <a:pt x="3138" y="784"/>
                  </a:lnTo>
                  <a:lnTo>
                    <a:pt x="3144" y="809"/>
                  </a:lnTo>
                  <a:lnTo>
                    <a:pt x="3147" y="843"/>
                  </a:lnTo>
                  <a:lnTo>
                    <a:pt x="3150" y="877"/>
                  </a:lnTo>
                  <a:lnTo>
                    <a:pt x="3150" y="905"/>
                  </a:lnTo>
                  <a:lnTo>
                    <a:pt x="3150" y="927"/>
                  </a:lnTo>
                  <a:lnTo>
                    <a:pt x="3150" y="958"/>
                  </a:lnTo>
                  <a:lnTo>
                    <a:pt x="3147" y="987"/>
                  </a:lnTo>
                  <a:lnTo>
                    <a:pt x="3147" y="1008"/>
                  </a:lnTo>
                  <a:lnTo>
                    <a:pt x="3147" y="1021"/>
                  </a:lnTo>
                  <a:lnTo>
                    <a:pt x="3150" y="1030"/>
                  </a:lnTo>
                  <a:lnTo>
                    <a:pt x="3157" y="1049"/>
                  </a:lnTo>
                  <a:lnTo>
                    <a:pt x="3166" y="1071"/>
                  </a:lnTo>
                  <a:lnTo>
                    <a:pt x="3172" y="1096"/>
                  </a:lnTo>
                  <a:lnTo>
                    <a:pt x="3182" y="1115"/>
                  </a:lnTo>
                  <a:lnTo>
                    <a:pt x="3182" y="1127"/>
                  </a:lnTo>
                  <a:lnTo>
                    <a:pt x="3175" y="1136"/>
                  </a:lnTo>
                  <a:lnTo>
                    <a:pt x="3163" y="1149"/>
                  </a:lnTo>
                  <a:lnTo>
                    <a:pt x="3144" y="1161"/>
                  </a:lnTo>
                  <a:lnTo>
                    <a:pt x="3129" y="1171"/>
                  </a:lnTo>
                  <a:lnTo>
                    <a:pt x="3107" y="1174"/>
                  </a:lnTo>
                  <a:lnTo>
                    <a:pt x="3082" y="1177"/>
                  </a:lnTo>
                  <a:lnTo>
                    <a:pt x="3057" y="1180"/>
                  </a:lnTo>
                  <a:lnTo>
                    <a:pt x="3035" y="1186"/>
                  </a:lnTo>
                  <a:lnTo>
                    <a:pt x="3010" y="1199"/>
                  </a:lnTo>
                  <a:lnTo>
                    <a:pt x="2985" y="1221"/>
                  </a:lnTo>
                  <a:lnTo>
                    <a:pt x="2957" y="1246"/>
                  </a:lnTo>
                  <a:lnTo>
                    <a:pt x="2944" y="1255"/>
                  </a:lnTo>
                  <a:lnTo>
                    <a:pt x="2932" y="1261"/>
                  </a:lnTo>
                  <a:lnTo>
                    <a:pt x="2922" y="1271"/>
                  </a:lnTo>
                  <a:lnTo>
                    <a:pt x="2907" y="1274"/>
                  </a:lnTo>
                  <a:lnTo>
                    <a:pt x="2888" y="1280"/>
                  </a:lnTo>
                  <a:lnTo>
                    <a:pt x="2869" y="1283"/>
                  </a:lnTo>
                  <a:lnTo>
                    <a:pt x="2857" y="1293"/>
                  </a:lnTo>
                  <a:lnTo>
                    <a:pt x="2844" y="1314"/>
                  </a:lnTo>
                  <a:lnTo>
                    <a:pt x="2835" y="1343"/>
                  </a:lnTo>
                  <a:lnTo>
                    <a:pt x="2829" y="1374"/>
                  </a:lnTo>
                  <a:lnTo>
                    <a:pt x="2826" y="1402"/>
                  </a:lnTo>
                  <a:lnTo>
                    <a:pt x="2823" y="1414"/>
                  </a:lnTo>
                  <a:lnTo>
                    <a:pt x="2823" y="1427"/>
                  </a:lnTo>
                  <a:lnTo>
                    <a:pt x="2829" y="1446"/>
                  </a:lnTo>
                  <a:lnTo>
                    <a:pt x="2835" y="1471"/>
                  </a:lnTo>
                  <a:lnTo>
                    <a:pt x="2841" y="1489"/>
                  </a:lnTo>
                  <a:lnTo>
                    <a:pt x="2844" y="1499"/>
                  </a:lnTo>
                  <a:lnTo>
                    <a:pt x="2841" y="1511"/>
                  </a:lnTo>
                  <a:lnTo>
                    <a:pt x="2841" y="1533"/>
                  </a:lnTo>
                  <a:lnTo>
                    <a:pt x="2838" y="1589"/>
                  </a:lnTo>
                  <a:lnTo>
                    <a:pt x="2838" y="1611"/>
                  </a:lnTo>
                  <a:lnTo>
                    <a:pt x="2838" y="1620"/>
                  </a:lnTo>
                  <a:lnTo>
                    <a:pt x="2838" y="1633"/>
                  </a:lnTo>
                  <a:lnTo>
                    <a:pt x="2838" y="1658"/>
                  </a:lnTo>
                  <a:lnTo>
                    <a:pt x="2838" y="1686"/>
                  </a:lnTo>
                  <a:lnTo>
                    <a:pt x="2838" y="1714"/>
                  </a:lnTo>
                  <a:lnTo>
                    <a:pt x="2841" y="1733"/>
                  </a:lnTo>
                  <a:lnTo>
                    <a:pt x="2847" y="1755"/>
                  </a:lnTo>
                  <a:lnTo>
                    <a:pt x="2860" y="1783"/>
                  </a:lnTo>
                  <a:lnTo>
                    <a:pt x="2869" y="1808"/>
                  </a:lnTo>
                  <a:lnTo>
                    <a:pt x="2876" y="1830"/>
                  </a:lnTo>
                  <a:lnTo>
                    <a:pt x="2876" y="1845"/>
                  </a:lnTo>
                  <a:lnTo>
                    <a:pt x="2872" y="1867"/>
                  </a:lnTo>
                  <a:lnTo>
                    <a:pt x="2869" y="1886"/>
                  </a:lnTo>
                  <a:lnTo>
                    <a:pt x="2860" y="1905"/>
                  </a:lnTo>
                  <a:lnTo>
                    <a:pt x="2847" y="1930"/>
                  </a:lnTo>
                  <a:lnTo>
                    <a:pt x="2832" y="1945"/>
                  </a:lnTo>
                  <a:lnTo>
                    <a:pt x="2813" y="1948"/>
                  </a:lnTo>
                  <a:lnTo>
                    <a:pt x="2788" y="1945"/>
                  </a:lnTo>
                  <a:lnTo>
                    <a:pt x="2763" y="1942"/>
                  </a:lnTo>
                  <a:lnTo>
                    <a:pt x="2744" y="1945"/>
                  </a:lnTo>
                  <a:lnTo>
                    <a:pt x="2723" y="1951"/>
                  </a:lnTo>
                  <a:lnTo>
                    <a:pt x="2698" y="1967"/>
                  </a:lnTo>
                  <a:lnTo>
                    <a:pt x="2673" y="1986"/>
                  </a:lnTo>
                  <a:lnTo>
                    <a:pt x="2660" y="2001"/>
                  </a:lnTo>
                  <a:lnTo>
                    <a:pt x="2663" y="2020"/>
                  </a:lnTo>
                  <a:lnTo>
                    <a:pt x="2673" y="2039"/>
                  </a:lnTo>
                  <a:lnTo>
                    <a:pt x="2682" y="2054"/>
                  </a:lnTo>
                  <a:lnTo>
                    <a:pt x="2694" y="2076"/>
                  </a:lnTo>
                  <a:lnTo>
                    <a:pt x="2710" y="2101"/>
                  </a:lnTo>
                  <a:lnTo>
                    <a:pt x="2729" y="2129"/>
                  </a:lnTo>
                  <a:lnTo>
                    <a:pt x="2741" y="2154"/>
                  </a:lnTo>
                  <a:lnTo>
                    <a:pt x="2748" y="2179"/>
                  </a:lnTo>
                  <a:lnTo>
                    <a:pt x="2738" y="2195"/>
                  </a:lnTo>
                  <a:lnTo>
                    <a:pt x="2726" y="2214"/>
                  </a:lnTo>
                  <a:lnTo>
                    <a:pt x="2716" y="2229"/>
                  </a:lnTo>
                  <a:lnTo>
                    <a:pt x="2716" y="2248"/>
                  </a:lnTo>
                  <a:lnTo>
                    <a:pt x="2716" y="2270"/>
                  </a:lnTo>
                  <a:lnTo>
                    <a:pt x="2723" y="2289"/>
                  </a:lnTo>
                  <a:lnTo>
                    <a:pt x="2723" y="2301"/>
                  </a:lnTo>
                  <a:lnTo>
                    <a:pt x="2716" y="2311"/>
                  </a:lnTo>
                  <a:lnTo>
                    <a:pt x="2704" y="2326"/>
                  </a:lnTo>
                  <a:lnTo>
                    <a:pt x="2691" y="2342"/>
                  </a:lnTo>
                  <a:lnTo>
                    <a:pt x="2682" y="2357"/>
                  </a:lnTo>
                  <a:lnTo>
                    <a:pt x="2685" y="2382"/>
                  </a:lnTo>
                  <a:lnTo>
                    <a:pt x="2694" y="2414"/>
                  </a:lnTo>
                  <a:lnTo>
                    <a:pt x="2707" y="2442"/>
                  </a:lnTo>
                  <a:lnTo>
                    <a:pt x="2719" y="2464"/>
                  </a:lnTo>
                  <a:lnTo>
                    <a:pt x="2738" y="2479"/>
                  </a:lnTo>
                  <a:lnTo>
                    <a:pt x="2763" y="2495"/>
                  </a:lnTo>
                  <a:lnTo>
                    <a:pt x="2782" y="2510"/>
                  </a:lnTo>
                  <a:lnTo>
                    <a:pt x="2798" y="2532"/>
                  </a:lnTo>
                  <a:lnTo>
                    <a:pt x="2813" y="2560"/>
                  </a:lnTo>
                  <a:lnTo>
                    <a:pt x="2829" y="2582"/>
                  </a:lnTo>
                  <a:lnTo>
                    <a:pt x="2844" y="2613"/>
                  </a:lnTo>
                  <a:lnTo>
                    <a:pt x="2863" y="2654"/>
                  </a:lnTo>
                  <a:lnTo>
                    <a:pt x="2882" y="2691"/>
                  </a:lnTo>
                  <a:lnTo>
                    <a:pt x="2901" y="2723"/>
                  </a:lnTo>
                  <a:lnTo>
                    <a:pt x="2913" y="2748"/>
                  </a:lnTo>
                  <a:lnTo>
                    <a:pt x="2932" y="2779"/>
                  </a:lnTo>
                  <a:lnTo>
                    <a:pt x="2947" y="2801"/>
                  </a:lnTo>
                  <a:lnTo>
                    <a:pt x="2969" y="2813"/>
                  </a:lnTo>
                  <a:lnTo>
                    <a:pt x="2997" y="2826"/>
                  </a:lnTo>
                  <a:lnTo>
                    <a:pt x="3025" y="2838"/>
                  </a:lnTo>
                  <a:lnTo>
                    <a:pt x="3044" y="2851"/>
                  </a:lnTo>
                  <a:lnTo>
                    <a:pt x="3057" y="2869"/>
                  </a:lnTo>
                  <a:lnTo>
                    <a:pt x="3063" y="2898"/>
                  </a:lnTo>
                  <a:lnTo>
                    <a:pt x="3069" y="2919"/>
                  </a:lnTo>
                  <a:lnTo>
                    <a:pt x="3066" y="2938"/>
                  </a:lnTo>
                  <a:lnTo>
                    <a:pt x="3063" y="2960"/>
                  </a:lnTo>
                  <a:lnTo>
                    <a:pt x="3060" y="2979"/>
                  </a:lnTo>
                  <a:lnTo>
                    <a:pt x="3060" y="2998"/>
                  </a:lnTo>
                  <a:lnTo>
                    <a:pt x="3072" y="3010"/>
                  </a:lnTo>
                  <a:lnTo>
                    <a:pt x="3088" y="3019"/>
                  </a:lnTo>
                  <a:lnTo>
                    <a:pt x="3107" y="3029"/>
                  </a:lnTo>
                  <a:lnTo>
                    <a:pt x="3122" y="3041"/>
                  </a:lnTo>
                  <a:lnTo>
                    <a:pt x="3132" y="3057"/>
                  </a:lnTo>
                  <a:lnTo>
                    <a:pt x="3144" y="3082"/>
                  </a:lnTo>
                  <a:lnTo>
                    <a:pt x="3150" y="3104"/>
                  </a:lnTo>
                  <a:lnTo>
                    <a:pt x="3154" y="3119"/>
                  </a:lnTo>
                  <a:lnTo>
                    <a:pt x="3150" y="3132"/>
                  </a:lnTo>
                  <a:lnTo>
                    <a:pt x="3144" y="3151"/>
                  </a:lnTo>
                  <a:lnTo>
                    <a:pt x="3132" y="3169"/>
                  </a:lnTo>
                  <a:lnTo>
                    <a:pt x="3122" y="3182"/>
                  </a:lnTo>
                  <a:lnTo>
                    <a:pt x="3113" y="3188"/>
                  </a:lnTo>
                  <a:lnTo>
                    <a:pt x="3104" y="3197"/>
                  </a:lnTo>
                  <a:lnTo>
                    <a:pt x="3094" y="3204"/>
                  </a:lnTo>
                  <a:lnTo>
                    <a:pt x="3085" y="3210"/>
                  </a:lnTo>
                  <a:lnTo>
                    <a:pt x="3079" y="3216"/>
                  </a:lnTo>
                  <a:lnTo>
                    <a:pt x="3063" y="3241"/>
                  </a:lnTo>
                  <a:lnTo>
                    <a:pt x="3047" y="3269"/>
                  </a:lnTo>
                  <a:lnTo>
                    <a:pt x="3035" y="3300"/>
                  </a:lnTo>
                  <a:lnTo>
                    <a:pt x="3029" y="3329"/>
                  </a:lnTo>
                  <a:lnTo>
                    <a:pt x="3025" y="3344"/>
                  </a:lnTo>
                  <a:lnTo>
                    <a:pt x="3022" y="3363"/>
                  </a:lnTo>
                  <a:lnTo>
                    <a:pt x="3022" y="3382"/>
                  </a:lnTo>
                  <a:lnTo>
                    <a:pt x="3029" y="3394"/>
                  </a:lnTo>
                  <a:lnTo>
                    <a:pt x="3041" y="3403"/>
                  </a:lnTo>
                  <a:lnTo>
                    <a:pt x="3063" y="3403"/>
                  </a:lnTo>
                  <a:lnTo>
                    <a:pt x="3088" y="3397"/>
                  </a:lnTo>
                  <a:lnTo>
                    <a:pt x="3113" y="3394"/>
                  </a:lnTo>
                  <a:lnTo>
                    <a:pt x="3135" y="3391"/>
                  </a:lnTo>
                  <a:lnTo>
                    <a:pt x="3154" y="3391"/>
                  </a:lnTo>
                  <a:lnTo>
                    <a:pt x="3172" y="3397"/>
                  </a:lnTo>
                  <a:lnTo>
                    <a:pt x="3191" y="3407"/>
                  </a:lnTo>
                  <a:lnTo>
                    <a:pt x="3210" y="3413"/>
                  </a:lnTo>
                  <a:lnTo>
                    <a:pt x="3228" y="3416"/>
                  </a:lnTo>
                  <a:lnTo>
                    <a:pt x="3253" y="3416"/>
                  </a:lnTo>
                  <a:lnTo>
                    <a:pt x="3278" y="3413"/>
                  </a:lnTo>
                  <a:lnTo>
                    <a:pt x="3294" y="3407"/>
                  </a:lnTo>
                  <a:lnTo>
                    <a:pt x="3297" y="3403"/>
                  </a:lnTo>
                  <a:lnTo>
                    <a:pt x="3300" y="3400"/>
                  </a:lnTo>
                  <a:lnTo>
                    <a:pt x="3300" y="3397"/>
                  </a:lnTo>
                  <a:lnTo>
                    <a:pt x="3303" y="3394"/>
                  </a:lnTo>
                  <a:lnTo>
                    <a:pt x="3322" y="3388"/>
                  </a:lnTo>
                  <a:lnTo>
                    <a:pt x="3344" y="3388"/>
                  </a:lnTo>
                  <a:lnTo>
                    <a:pt x="3369" y="3391"/>
                  </a:lnTo>
                  <a:lnTo>
                    <a:pt x="3391" y="3391"/>
                  </a:lnTo>
                  <a:lnTo>
                    <a:pt x="3416" y="3378"/>
                  </a:lnTo>
                  <a:lnTo>
                    <a:pt x="3447" y="3360"/>
                  </a:lnTo>
                  <a:lnTo>
                    <a:pt x="3472" y="3344"/>
                  </a:lnTo>
                  <a:lnTo>
                    <a:pt x="3478" y="3338"/>
                  </a:lnTo>
                  <a:lnTo>
                    <a:pt x="3488" y="3332"/>
                  </a:lnTo>
                  <a:lnTo>
                    <a:pt x="3497" y="3322"/>
                  </a:lnTo>
                  <a:lnTo>
                    <a:pt x="3503" y="3316"/>
                  </a:lnTo>
                  <a:lnTo>
                    <a:pt x="3513" y="3310"/>
                  </a:lnTo>
                  <a:lnTo>
                    <a:pt x="3538" y="3307"/>
                  </a:lnTo>
                  <a:lnTo>
                    <a:pt x="3566" y="3307"/>
                  </a:lnTo>
                  <a:lnTo>
                    <a:pt x="3591" y="3310"/>
                  </a:lnTo>
                  <a:lnTo>
                    <a:pt x="3597" y="3316"/>
                  </a:lnTo>
                  <a:lnTo>
                    <a:pt x="3603" y="3322"/>
                  </a:lnTo>
                  <a:lnTo>
                    <a:pt x="3609" y="3329"/>
                  </a:lnTo>
                  <a:lnTo>
                    <a:pt x="3616" y="3338"/>
                  </a:lnTo>
                  <a:lnTo>
                    <a:pt x="3622" y="3344"/>
                  </a:lnTo>
                  <a:lnTo>
                    <a:pt x="3631" y="3347"/>
                  </a:lnTo>
                  <a:lnTo>
                    <a:pt x="3650" y="3347"/>
                  </a:lnTo>
                  <a:lnTo>
                    <a:pt x="3675" y="3338"/>
                  </a:lnTo>
                  <a:lnTo>
                    <a:pt x="3694" y="3329"/>
                  </a:lnTo>
                  <a:lnTo>
                    <a:pt x="3697" y="3322"/>
                  </a:lnTo>
                  <a:lnTo>
                    <a:pt x="3700" y="3316"/>
                  </a:lnTo>
                  <a:lnTo>
                    <a:pt x="3703" y="3307"/>
                  </a:lnTo>
                  <a:lnTo>
                    <a:pt x="3703" y="3297"/>
                  </a:lnTo>
                  <a:lnTo>
                    <a:pt x="3706" y="3291"/>
                  </a:lnTo>
                  <a:lnTo>
                    <a:pt x="3709" y="3285"/>
                  </a:lnTo>
                  <a:lnTo>
                    <a:pt x="3716" y="3282"/>
                  </a:lnTo>
                  <a:lnTo>
                    <a:pt x="3722" y="3275"/>
                  </a:lnTo>
                  <a:lnTo>
                    <a:pt x="3728" y="3269"/>
                  </a:lnTo>
                  <a:lnTo>
                    <a:pt x="3737" y="3266"/>
                  </a:lnTo>
                  <a:lnTo>
                    <a:pt x="3744" y="3266"/>
                  </a:lnTo>
                  <a:lnTo>
                    <a:pt x="3750" y="3266"/>
                  </a:lnTo>
                  <a:lnTo>
                    <a:pt x="3769" y="3279"/>
                  </a:lnTo>
                  <a:lnTo>
                    <a:pt x="3781" y="3307"/>
                  </a:lnTo>
                  <a:lnTo>
                    <a:pt x="3794" y="3335"/>
                  </a:lnTo>
                  <a:lnTo>
                    <a:pt x="3800" y="3360"/>
                  </a:lnTo>
                  <a:lnTo>
                    <a:pt x="3809" y="3388"/>
                  </a:lnTo>
                  <a:lnTo>
                    <a:pt x="3816" y="3419"/>
                  </a:lnTo>
                  <a:lnTo>
                    <a:pt x="3816" y="3447"/>
                  </a:lnTo>
                  <a:lnTo>
                    <a:pt x="3812" y="3469"/>
                  </a:lnTo>
                  <a:lnTo>
                    <a:pt x="3806" y="3500"/>
                  </a:lnTo>
                  <a:lnTo>
                    <a:pt x="3800" y="3528"/>
                  </a:lnTo>
                  <a:lnTo>
                    <a:pt x="3800" y="3550"/>
                  </a:lnTo>
                  <a:lnTo>
                    <a:pt x="3800" y="3556"/>
                  </a:lnTo>
                  <a:lnTo>
                    <a:pt x="3806" y="3563"/>
                  </a:lnTo>
                  <a:lnTo>
                    <a:pt x="3809" y="3569"/>
                  </a:lnTo>
                  <a:lnTo>
                    <a:pt x="3816" y="3575"/>
                  </a:lnTo>
                  <a:lnTo>
                    <a:pt x="3834" y="3578"/>
                  </a:lnTo>
                  <a:lnTo>
                    <a:pt x="3856" y="3575"/>
                  </a:lnTo>
                  <a:lnTo>
                    <a:pt x="3884" y="3572"/>
                  </a:lnTo>
                  <a:lnTo>
                    <a:pt x="3906" y="3572"/>
                  </a:lnTo>
                  <a:lnTo>
                    <a:pt x="3928" y="3575"/>
                  </a:lnTo>
                  <a:lnTo>
                    <a:pt x="3950" y="3588"/>
                  </a:lnTo>
                  <a:lnTo>
                    <a:pt x="3972" y="3610"/>
                  </a:lnTo>
                  <a:lnTo>
                    <a:pt x="3987" y="3631"/>
                  </a:lnTo>
                  <a:lnTo>
                    <a:pt x="3994" y="3656"/>
                  </a:lnTo>
                  <a:lnTo>
                    <a:pt x="3997" y="3684"/>
                  </a:lnTo>
                  <a:lnTo>
                    <a:pt x="3997" y="3713"/>
                  </a:lnTo>
                  <a:lnTo>
                    <a:pt x="3997" y="3738"/>
                  </a:lnTo>
                  <a:lnTo>
                    <a:pt x="3997" y="3756"/>
                  </a:lnTo>
                  <a:lnTo>
                    <a:pt x="4000" y="3781"/>
                  </a:lnTo>
                  <a:lnTo>
                    <a:pt x="3997" y="3800"/>
                  </a:lnTo>
                  <a:lnTo>
                    <a:pt x="3981" y="3816"/>
                  </a:lnTo>
                  <a:lnTo>
                    <a:pt x="3959" y="3831"/>
                  </a:lnTo>
                  <a:lnTo>
                    <a:pt x="3944" y="3844"/>
                  </a:lnTo>
                  <a:lnTo>
                    <a:pt x="3940" y="3859"/>
                  </a:lnTo>
                  <a:lnTo>
                    <a:pt x="3934" y="3881"/>
                  </a:lnTo>
                  <a:lnTo>
                    <a:pt x="3931" y="3897"/>
                  </a:lnTo>
                  <a:lnTo>
                    <a:pt x="3928" y="3903"/>
                  </a:lnTo>
                  <a:lnTo>
                    <a:pt x="3925" y="3912"/>
                  </a:lnTo>
                  <a:lnTo>
                    <a:pt x="3919" y="3922"/>
                  </a:lnTo>
                  <a:lnTo>
                    <a:pt x="3915" y="3931"/>
                  </a:lnTo>
                  <a:lnTo>
                    <a:pt x="3909" y="3937"/>
                  </a:lnTo>
                  <a:lnTo>
                    <a:pt x="3903" y="3941"/>
                  </a:lnTo>
                  <a:lnTo>
                    <a:pt x="3894" y="3941"/>
                  </a:lnTo>
                  <a:lnTo>
                    <a:pt x="3884" y="3941"/>
                  </a:lnTo>
                  <a:lnTo>
                    <a:pt x="3875" y="3941"/>
                  </a:lnTo>
                  <a:lnTo>
                    <a:pt x="3865" y="3941"/>
                  </a:lnTo>
                  <a:lnTo>
                    <a:pt x="3859" y="3941"/>
                  </a:lnTo>
                  <a:lnTo>
                    <a:pt x="3844" y="3953"/>
                  </a:lnTo>
                  <a:lnTo>
                    <a:pt x="3822" y="3966"/>
                  </a:lnTo>
                  <a:lnTo>
                    <a:pt x="3809" y="3981"/>
                  </a:lnTo>
                  <a:lnTo>
                    <a:pt x="3800" y="4006"/>
                  </a:lnTo>
                  <a:lnTo>
                    <a:pt x="3794" y="4037"/>
                  </a:lnTo>
                  <a:lnTo>
                    <a:pt x="3794" y="4065"/>
                  </a:lnTo>
                  <a:lnTo>
                    <a:pt x="3800" y="4078"/>
                  </a:lnTo>
                  <a:lnTo>
                    <a:pt x="3816" y="4094"/>
                  </a:lnTo>
                  <a:lnTo>
                    <a:pt x="3825" y="4109"/>
                  </a:lnTo>
                  <a:lnTo>
                    <a:pt x="3828" y="4125"/>
                  </a:lnTo>
                  <a:lnTo>
                    <a:pt x="3822" y="4134"/>
                  </a:lnTo>
                  <a:lnTo>
                    <a:pt x="3803" y="4143"/>
                  </a:lnTo>
                  <a:lnTo>
                    <a:pt x="3784" y="4150"/>
                  </a:lnTo>
                  <a:lnTo>
                    <a:pt x="3769" y="4153"/>
                  </a:lnTo>
                  <a:lnTo>
                    <a:pt x="3762" y="4156"/>
                  </a:lnTo>
                  <a:lnTo>
                    <a:pt x="3753" y="4153"/>
                  </a:lnTo>
                  <a:lnTo>
                    <a:pt x="3744" y="4153"/>
                  </a:lnTo>
                  <a:lnTo>
                    <a:pt x="3737" y="4153"/>
                  </a:lnTo>
                  <a:lnTo>
                    <a:pt x="3728" y="4153"/>
                  </a:lnTo>
                  <a:lnTo>
                    <a:pt x="3722" y="4153"/>
                  </a:lnTo>
                  <a:lnTo>
                    <a:pt x="3706" y="4172"/>
                  </a:lnTo>
                  <a:lnTo>
                    <a:pt x="3697" y="4197"/>
                  </a:lnTo>
                  <a:lnTo>
                    <a:pt x="3688" y="4222"/>
                  </a:lnTo>
                  <a:lnTo>
                    <a:pt x="3691" y="4237"/>
                  </a:lnTo>
                  <a:lnTo>
                    <a:pt x="3697" y="4256"/>
                  </a:lnTo>
                  <a:lnTo>
                    <a:pt x="3700" y="4275"/>
                  </a:lnTo>
                  <a:lnTo>
                    <a:pt x="3703" y="4293"/>
                  </a:lnTo>
                  <a:lnTo>
                    <a:pt x="3700" y="4306"/>
                  </a:lnTo>
                  <a:lnTo>
                    <a:pt x="3691" y="4312"/>
                  </a:lnTo>
                  <a:lnTo>
                    <a:pt x="3672" y="4312"/>
                  </a:lnTo>
                  <a:lnTo>
                    <a:pt x="3653" y="4312"/>
                  </a:lnTo>
                  <a:lnTo>
                    <a:pt x="3641" y="4312"/>
                  </a:lnTo>
                  <a:lnTo>
                    <a:pt x="3616" y="4318"/>
                  </a:lnTo>
                  <a:lnTo>
                    <a:pt x="3588" y="4328"/>
                  </a:lnTo>
                  <a:lnTo>
                    <a:pt x="3559" y="4340"/>
                  </a:lnTo>
                  <a:lnTo>
                    <a:pt x="3541" y="4353"/>
                  </a:lnTo>
                  <a:lnTo>
                    <a:pt x="3538" y="4368"/>
                  </a:lnTo>
                  <a:lnTo>
                    <a:pt x="3538" y="4387"/>
                  </a:lnTo>
                  <a:lnTo>
                    <a:pt x="3538" y="4409"/>
                  </a:lnTo>
                  <a:lnTo>
                    <a:pt x="3534" y="4421"/>
                  </a:lnTo>
                  <a:lnTo>
                    <a:pt x="3519" y="4428"/>
                  </a:lnTo>
                  <a:lnTo>
                    <a:pt x="3500" y="4428"/>
                  </a:lnTo>
                  <a:lnTo>
                    <a:pt x="3481" y="4428"/>
                  </a:lnTo>
                  <a:lnTo>
                    <a:pt x="3469" y="4434"/>
                  </a:lnTo>
                  <a:lnTo>
                    <a:pt x="3463" y="4446"/>
                  </a:lnTo>
                  <a:lnTo>
                    <a:pt x="3460" y="4468"/>
                  </a:lnTo>
                  <a:lnTo>
                    <a:pt x="3456" y="4490"/>
                  </a:lnTo>
                  <a:lnTo>
                    <a:pt x="3450" y="4503"/>
                  </a:lnTo>
                  <a:lnTo>
                    <a:pt x="3425" y="4521"/>
                  </a:lnTo>
                  <a:lnTo>
                    <a:pt x="3394" y="4534"/>
                  </a:lnTo>
                  <a:lnTo>
                    <a:pt x="3366" y="4543"/>
                  </a:lnTo>
                  <a:lnTo>
                    <a:pt x="3347" y="4543"/>
                  </a:lnTo>
                  <a:lnTo>
                    <a:pt x="3319" y="4543"/>
                  </a:lnTo>
                  <a:lnTo>
                    <a:pt x="3294" y="4540"/>
                  </a:lnTo>
                  <a:lnTo>
                    <a:pt x="3272" y="4543"/>
                  </a:lnTo>
                  <a:lnTo>
                    <a:pt x="3263" y="4543"/>
                  </a:lnTo>
                  <a:lnTo>
                    <a:pt x="3253" y="4546"/>
                  </a:lnTo>
                  <a:lnTo>
                    <a:pt x="3244" y="4549"/>
                  </a:lnTo>
                  <a:lnTo>
                    <a:pt x="3238" y="4556"/>
                  </a:lnTo>
                  <a:lnTo>
                    <a:pt x="3235" y="4571"/>
                  </a:lnTo>
                  <a:lnTo>
                    <a:pt x="3235" y="4593"/>
                  </a:lnTo>
                  <a:lnTo>
                    <a:pt x="3235" y="4615"/>
                  </a:lnTo>
                  <a:lnTo>
                    <a:pt x="3228" y="4631"/>
                  </a:lnTo>
                  <a:lnTo>
                    <a:pt x="3216" y="4634"/>
                  </a:lnTo>
                  <a:lnTo>
                    <a:pt x="3197" y="4634"/>
                  </a:lnTo>
                  <a:lnTo>
                    <a:pt x="3179" y="4634"/>
                  </a:lnTo>
                  <a:lnTo>
                    <a:pt x="3163" y="4637"/>
                  </a:lnTo>
                  <a:lnTo>
                    <a:pt x="3154" y="4643"/>
                  </a:lnTo>
                  <a:lnTo>
                    <a:pt x="3147" y="4652"/>
                  </a:lnTo>
                  <a:lnTo>
                    <a:pt x="3141" y="4665"/>
                  </a:lnTo>
                  <a:lnTo>
                    <a:pt x="3135" y="4677"/>
                  </a:lnTo>
                  <a:lnTo>
                    <a:pt x="3129" y="4687"/>
                  </a:lnTo>
                  <a:lnTo>
                    <a:pt x="3122" y="4702"/>
                  </a:lnTo>
                  <a:lnTo>
                    <a:pt x="3116" y="4724"/>
                  </a:lnTo>
                  <a:lnTo>
                    <a:pt x="3107" y="4743"/>
                  </a:lnTo>
                  <a:lnTo>
                    <a:pt x="3088" y="4752"/>
                  </a:lnTo>
                  <a:lnTo>
                    <a:pt x="3066" y="4765"/>
                  </a:lnTo>
                  <a:lnTo>
                    <a:pt x="3041" y="4774"/>
                  </a:lnTo>
                  <a:lnTo>
                    <a:pt x="3029" y="4787"/>
                  </a:lnTo>
                  <a:lnTo>
                    <a:pt x="3022" y="4796"/>
                  </a:lnTo>
                  <a:lnTo>
                    <a:pt x="3019" y="4809"/>
                  </a:lnTo>
                  <a:lnTo>
                    <a:pt x="3019" y="4821"/>
                  </a:lnTo>
                  <a:lnTo>
                    <a:pt x="2988" y="4821"/>
                  </a:lnTo>
                  <a:lnTo>
                    <a:pt x="2960" y="4821"/>
                  </a:lnTo>
                  <a:lnTo>
                    <a:pt x="2938" y="4818"/>
                  </a:lnTo>
                  <a:lnTo>
                    <a:pt x="2919" y="4805"/>
                  </a:lnTo>
                  <a:lnTo>
                    <a:pt x="2897" y="4787"/>
                  </a:lnTo>
                  <a:lnTo>
                    <a:pt x="2876" y="4768"/>
                  </a:lnTo>
                  <a:lnTo>
                    <a:pt x="2860" y="4752"/>
                  </a:lnTo>
                  <a:lnTo>
                    <a:pt x="2851" y="4727"/>
                  </a:lnTo>
                  <a:lnTo>
                    <a:pt x="2844" y="4699"/>
                  </a:lnTo>
                  <a:lnTo>
                    <a:pt x="2838" y="4671"/>
                  </a:lnTo>
                  <a:lnTo>
                    <a:pt x="2826" y="4649"/>
                  </a:lnTo>
                  <a:lnTo>
                    <a:pt x="2810" y="4643"/>
                  </a:lnTo>
                  <a:lnTo>
                    <a:pt x="2788" y="4640"/>
                  </a:lnTo>
                  <a:lnTo>
                    <a:pt x="2769" y="4640"/>
                  </a:lnTo>
                  <a:lnTo>
                    <a:pt x="2751" y="4640"/>
                  </a:lnTo>
                  <a:lnTo>
                    <a:pt x="2744" y="4640"/>
                  </a:lnTo>
                  <a:lnTo>
                    <a:pt x="2732" y="4643"/>
                  </a:lnTo>
                  <a:lnTo>
                    <a:pt x="2723" y="4646"/>
                  </a:lnTo>
                  <a:lnTo>
                    <a:pt x="2713" y="4649"/>
                  </a:lnTo>
                  <a:lnTo>
                    <a:pt x="2704" y="4649"/>
                  </a:lnTo>
                  <a:lnTo>
                    <a:pt x="2682" y="4646"/>
                  </a:lnTo>
                  <a:lnTo>
                    <a:pt x="2657" y="4637"/>
                  </a:lnTo>
                  <a:lnTo>
                    <a:pt x="2641" y="4624"/>
                  </a:lnTo>
                  <a:lnTo>
                    <a:pt x="2641" y="4606"/>
                  </a:lnTo>
                  <a:lnTo>
                    <a:pt x="2651" y="4587"/>
                  </a:lnTo>
                  <a:lnTo>
                    <a:pt x="2663" y="4565"/>
                  </a:lnTo>
                  <a:lnTo>
                    <a:pt x="2670" y="4546"/>
                  </a:lnTo>
                  <a:lnTo>
                    <a:pt x="2670" y="4528"/>
                  </a:lnTo>
                  <a:lnTo>
                    <a:pt x="2651" y="4515"/>
                  </a:lnTo>
                  <a:lnTo>
                    <a:pt x="2623" y="4506"/>
                  </a:lnTo>
                  <a:lnTo>
                    <a:pt x="2595" y="4499"/>
                  </a:lnTo>
                  <a:lnTo>
                    <a:pt x="2566" y="4499"/>
                  </a:lnTo>
                  <a:lnTo>
                    <a:pt x="2551" y="4499"/>
                  </a:lnTo>
                  <a:lnTo>
                    <a:pt x="2529" y="4506"/>
                  </a:lnTo>
                  <a:lnTo>
                    <a:pt x="2510" y="4515"/>
                  </a:lnTo>
                  <a:lnTo>
                    <a:pt x="2501" y="4524"/>
                  </a:lnTo>
                  <a:lnTo>
                    <a:pt x="2501" y="4537"/>
                  </a:lnTo>
                  <a:lnTo>
                    <a:pt x="2510" y="4553"/>
                  </a:lnTo>
                  <a:lnTo>
                    <a:pt x="2520" y="4568"/>
                  </a:lnTo>
                  <a:lnTo>
                    <a:pt x="2529" y="4581"/>
                  </a:lnTo>
                  <a:lnTo>
                    <a:pt x="2532" y="4599"/>
                  </a:lnTo>
                  <a:lnTo>
                    <a:pt x="2532" y="4618"/>
                  </a:lnTo>
                  <a:lnTo>
                    <a:pt x="2529" y="4634"/>
                  </a:lnTo>
                  <a:lnTo>
                    <a:pt x="2507" y="4649"/>
                  </a:lnTo>
                  <a:lnTo>
                    <a:pt x="2479" y="4659"/>
                  </a:lnTo>
                  <a:lnTo>
                    <a:pt x="2448" y="4665"/>
                  </a:lnTo>
                  <a:lnTo>
                    <a:pt x="2423" y="4668"/>
                  </a:lnTo>
                  <a:lnTo>
                    <a:pt x="2404" y="4671"/>
                  </a:lnTo>
                  <a:lnTo>
                    <a:pt x="2382" y="4674"/>
                  </a:lnTo>
                  <a:lnTo>
                    <a:pt x="2357" y="4677"/>
                  </a:lnTo>
                  <a:lnTo>
                    <a:pt x="2332" y="4674"/>
                  </a:lnTo>
                  <a:lnTo>
                    <a:pt x="2317" y="4668"/>
                  </a:lnTo>
                  <a:lnTo>
                    <a:pt x="2307" y="4652"/>
                  </a:lnTo>
                  <a:lnTo>
                    <a:pt x="2301" y="4627"/>
                  </a:lnTo>
                  <a:lnTo>
                    <a:pt x="2298" y="4599"/>
                  </a:lnTo>
                  <a:lnTo>
                    <a:pt x="2295" y="4578"/>
                  </a:lnTo>
                  <a:lnTo>
                    <a:pt x="2282" y="4559"/>
                  </a:lnTo>
                  <a:lnTo>
                    <a:pt x="2264" y="4540"/>
                  </a:lnTo>
                  <a:lnTo>
                    <a:pt x="2245" y="4518"/>
                  </a:lnTo>
                  <a:lnTo>
                    <a:pt x="2235" y="4499"/>
                  </a:lnTo>
                  <a:lnTo>
                    <a:pt x="2232" y="4481"/>
                  </a:lnTo>
                  <a:lnTo>
                    <a:pt x="2232" y="4459"/>
                  </a:lnTo>
                  <a:lnTo>
                    <a:pt x="2235" y="4440"/>
                  </a:lnTo>
                  <a:lnTo>
                    <a:pt x="2235" y="4425"/>
                  </a:lnTo>
                  <a:lnTo>
                    <a:pt x="2239" y="4403"/>
                  </a:lnTo>
                  <a:lnTo>
                    <a:pt x="2239" y="4384"/>
                  </a:lnTo>
                  <a:lnTo>
                    <a:pt x="2235" y="4371"/>
                  </a:lnTo>
                  <a:lnTo>
                    <a:pt x="2220" y="4359"/>
                  </a:lnTo>
                  <a:lnTo>
                    <a:pt x="2201" y="4346"/>
                  </a:lnTo>
                  <a:lnTo>
                    <a:pt x="2182" y="4340"/>
                  </a:lnTo>
                  <a:lnTo>
                    <a:pt x="2161" y="4337"/>
                  </a:lnTo>
                  <a:lnTo>
                    <a:pt x="2132" y="4331"/>
                  </a:lnTo>
                  <a:lnTo>
                    <a:pt x="2104" y="4331"/>
                  </a:lnTo>
                  <a:lnTo>
                    <a:pt x="2076" y="4334"/>
                  </a:lnTo>
                  <a:lnTo>
                    <a:pt x="2057" y="4340"/>
                  </a:lnTo>
                  <a:lnTo>
                    <a:pt x="2051" y="4353"/>
                  </a:lnTo>
                  <a:lnTo>
                    <a:pt x="2051" y="4368"/>
                  </a:lnTo>
                  <a:lnTo>
                    <a:pt x="2051" y="4387"/>
                  </a:lnTo>
                  <a:lnTo>
                    <a:pt x="2051" y="4403"/>
                  </a:lnTo>
                  <a:lnTo>
                    <a:pt x="2045" y="4415"/>
                  </a:lnTo>
                  <a:lnTo>
                    <a:pt x="2032" y="4418"/>
                  </a:lnTo>
                  <a:lnTo>
                    <a:pt x="2014" y="4418"/>
                  </a:lnTo>
                  <a:lnTo>
                    <a:pt x="1995" y="4415"/>
                  </a:lnTo>
                  <a:lnTo>
                    <a:pt x="1983" y="4418"/>
                  </a:lnTo>
                  <a:lnTo>
                    <a:pt x="1970" y="4421"/>
                  </a:lnTo>
                  <a:lnTo>
                    <a:pt x="1961" y="4428"/>
                  </a:lnTo>
                  <a:lnTo>
                    <a:pt x="1948" y="4437"/>
                  </a:lnTo>
                  <a:lnTo>
                    <a:pt x="1939" y="4446"/>
                  </a:lnTo>
                  <a:lnTo>
                    <a:pt x="1933" y="4456"/>
                  </a:lnTo>
                  <a:lnTo>
                    <a:pt x="1933" y="4459"/>
                  </a:lnTo>
                  <a:lnTo>
                    <a:pt x="1933" y="4468"/>
                  </a:lnTo>
                  <a:lnTo>
                    <a:pt x="1933" y="4478"/>
                  </a:lnTo>
                  <a:lnTo>
                    <a:pt x="1933" y="4484"/>
                  </a:lnTo>
                  <a:lnTo>
                    <a:pt x="1936" y="4493"/>
                  </a:lnTo>
                  <a:lnTo>
                    <a:pt x="1933" y="4499"/>
                  </a:lnTo>
                  <a:lnTo>
                    <a:pt x="1929" y="4506"/>
                  </a:lnTo>
                  <a:lnTo>
                    <a:pt x="1926" y="4515"/>
                  </a:lnTo>
                  <a:lnTo>
                    <a:pt x="1920" y="4521"/>
                  </a:lnTo>
                  <a:lnTo>
                    <a:pt x="1914" y="4531"/>
                  </a:lnTo>
                  <a:lnTo>
                    <a:pt x="1908" y="4534"/>
                  </a:lnTo>
                  <a:lnTo>
                    <a:pt x="1883" y="4543"/>
                  </a:lnTo>
                  <a:lnTo>
                    <a:pt x="1854" y="4546"/>
                  </a:lnTo>
                  <a:lnTo>
                    <a:pt x="1826" y="4546"/>
                  </a:lnTo>
                  <a:lnTo>
                    <a:pt x="1805" y="4540"/>
                  </a:lnTo>
                  <a:lnTo>
                    <a:pt x="1798" y="4534"/>
                  </a:lnTo>
                  <a:lnTo>
                    <a:pt x="1795" y="4528"/>
                  </a:lnTo>
                  <a:lnTo>
                    <a:pt x="1792" y="4518"/>
                  </a:lnTo>
                  <a:lnTo>
                    <a:pt x="1789" y="4509"/>
                  </a:lnTo>
                  <a:lnTo>
                    <a:pt x="1786" y="4503"/>
                  </a:lnTo>
                  <a:lnTo>
                    <a:pt x="1780" y="4496"/>
                  </a:lnTo>
                  <a:lnTo>
                    <a:pt x="1773" y="4493"/>
                  </a:lnTo>
                  <a:lnTo>
                    <a:pt x="1767" y="4493"/>
                  </a:lnTo>
                  <a:lnTo>
                    <a:pt x="1761" y="4493"/>
                  </a:lnTo>
                  <a:lnTo>
                    <a:pt x="1755" y="4493"/>
                  </a:lnTo>
                  <a:lnTo>
                    <a:pt x="1745" y="4493"/>
                  </a:lnTo>
                  <a:lnTo>
                    <a:pt x="1736" y="4496"/>
                  </a:lnTo>
                  <a:lnTo>
                    <a:pt x="1730" y="4503"/>
                  </a:lnTo>
                  <a:lnTo>
                    <a:pt x="1720" y="4506"/>
                  </a:lnTo>
                  <a:lnTo>
                    <a:pt x="1717" y="4512"/>
                  </a:lnTo>
                  <a:lnTo>
                    <a:pt x="1717" y="4518"/>
                  </a:lnTo>
                  <a:lnTo>
                    <a:pt x="1717" y="4528"/>
                  </a:lnTo>
                  <a:lnTo>
                    <a:pt x="1720" y="4537"/>
                  </a:lnTo>
                  <a:lnTo>
                    <a:pt x="1726" y="4543"/>
                  </a:lnTo>
                  <a:lnTo>
                    <a:pt x="1730" y="4553"/>
                  </a:lnTo>
                  <a:lnTo>
                    <a:pt x="1730" y="4559"/>
                  </a:lnTo>
                  <a:lnTo>
                    <a:pt x="1730" y="4584"/>
                  </a:lnTo>
                  <a:lnTo>
                    <a:pt x="1726" y="4609"/>
                  </a:lnTo>
                  <a:lnTo>
                    <a:pt x="1717" y="4627"/>
                  </a:lnTo>
                  <a:lnTo>
                    <a:pt x="1711" y="4631"/>
                  </a:lnTo>
                  <a:lnTo>
                    <a:pt x="1705" y="4634"/>
                  </a:lnTo>
                  <a:lnTo>
                    <a:pt x="1698" y="4637"/>
                  </a:lnTo>
                  <a:lnTo>
                    <a:pt x="1692" y="4637"/>
                  </a:lnTo>
                  <a:lnTo>
                    <a:pt x="1686" y="4640"/>
                  </a:lnTo>
                  <a:lnTo>
                    <a:pt x="1680" y="4643"/>
                  </a:lnTo>
                  <a:lnTo>
                    <a:pt x="1670" y="4646"/>
                  </a:lnTo>
                  <a:lnTo>
                    <a:pt x="1661" y="4652"/>
                  </a:lnTo>
                  <a:lnTo>
                    <a:pt x="1655" y="4656"/>
                  </a:lnTo>
                  <a:lnTo>
                    <a:pt x="1648" y="4662"/>
                  </a:lnTo>
                  <a:lnTo>
                    <a:pt x="1648" y="4677"/>
                  </a:lnTo>
                  <a:lnTo>
                    <a:pt x="1652" y="4699"/>
                  </a:lnTo>
                  <a:lnTo>
                    <a:pt x="1648" y="4718"/>
                  </a:lnTo>
                  <a:lnTo>
                    <a:pt x="1645" y="4724"/>
                  </a:lnTo>
                  <a:lnTo>
                    <a:pt x="1639" y="4737"/>
                  </a:lnTo>
                  <a:lnTo>
                    <a:pt x="1630" y="4746"/>
                  </a:lnTo>
                  <a:lnTo>
                    <a:pt x="1620" y="4756"/>
                  </a:lnTo>
                  <a:lnTo>
                    <a:pt x="1614" y="4762"/>
                  </a:lnTo>
                  <a:lnTo>
                    <a:pt x="1608" y="4784"/>
                  </a:lnTo>
                  <a:lnTo>
                    <a:pt x="1602" y="4805"/>
                  </a:lnTo>
                  <a:lnTo>
                    <a:pt x="1595" y="4827"/>
                  </a:lnTo>
                  <a:lnTo>
                    <a:pt x="1589" y="4846"/>
                  </a:lnTo>
                  <a:lnTo>
                    <a:pt x="1583" y="4871"/>
                  </a:lnTo>
                  <a:lnTo>
                    <a:pt x="1577" y="4890"/>
                  </a:lnTo>
                  <a:lnTo>
                    <a:pt x="1577" y="4915"/>
                  </a:lnTo>
                  <a:lnTo>
                    <a:pt x="1580" y="4940"/>
                  </a:lnTo>
                  <a:lnTo>
                    <a:pt x="1577" y="4962"/>
                  </a:lnTo>
                  <a:lnTo>
                    <a:pt x="1573" y="4968"/>
                  </a:lnTo>
                  <a:lnTo>
                    <a:pt x="1567" y="4974"/>
                  </a:lnTo>
                  <a:lnTo>
                    <a:pt x="1561" y="4983"/>
                  </a:lnTo>
                  <a:lnTo>
                    <a:pt x="1555" y="4990"/>
                  </a:lnTo>
                  <a:lnTo>
                    <a:pt x="1552" y="4996"/>
                  </a:lnTo>
                  <a:lnTo>
                    <a:pt x="1542" y="5018"/>
                  </a:lnTo>
                  <a:lnTo>
                    <a:pt x="1536" y="5046"/>
                  </a:lnTo>
                  <a:lnTo>
                    <a:pt x="1530" y="5077"/>
                  </a:lnTo>
                  <a:lnTo>
                    <a:pt x="1520" y="5071"/>
                  </a:lnTo>
                  <a:lnTo>
                    <a:pt x="1511" y="5062"/>
                  </a:lnTo>
                  <a:lnTo>
                    <a:pt x="1505" y="5055"/>
                  </a:lnTo>
                  <a:lnTo>
                    <a:pt x="1492" y="5037"/>
                  </a:lnTo>
                  <a:lnTo>
                    <a:pt x="1477" y="5012"/>
                  </a:lnTo>
                  <a:lnTo>
                    <a:pt x="1467" y="4993"/>
                  </a:lnTo>
                  <a:lnTo>
                    <a:pt x="1461" y="4987"/>
                  </a:lnTo>
                  <a:lnTo>
                    <a:pt x="1452" y="4977"/>
                  </a:lnTo>
                  <a:lnTo>
                    <a:pt x="1442" y="4971"/>
                  </a:lnTo>
                  <a:lnTo>
                    <a:pt x="1436" y="4962"/>
                  </a:lnTo>
                  <a:lnTo>
                    <a:pt x="1430" y="4955"/>
                  </a:lnTo>
                  <a:lnTo>
                    <a:pt x="1427" y="4934"/>
                  </a:lnTo>
                  <a:lnTo>
                    <a:pt x="1427" y="4905"/>
                  </a:lnTo>
                  <a:lnTo>
                    <a:pt x="1430" y="4880"/>
                  </a:lnTo>
                  <a:lnTo>
                    <a:pt x="1430" y="4855"/>
                  </a:lnTo>
                  <a:lnTo>
                    <a:pt x="1433" y="4834"/>
                  </a:lnTo>
                  <a:lnTo>
                    <a:pt x="1436" y="4809"/>
                  </a:lnTo>
                  <a:lnTo>
                    <a:pt x="1436" y="4787"/>
                  </a:lnTo>
                  <a:lnTo>
                    <a:pt x="1433" y="4777"/>
                  </a:lnTo>
                  <a:lnTo>
                    <a:pt x="1427" y="4768"/>
                  </a:lnTo>
                  <a:lnTo>
                    <a:pt x="1420" y="4759"/>
                  </a:lnTo>
                  <a:lnTo>
                    <a:pt x="1414" y="4749"/>
                  </a:lnTo>
                  <a:lnTo>
                    <a:pt x="1405" y="4743"/>
                  </a:lnTo>
                  <a:lnTo>
                    <a:pt x="1399" y="4737"/>
                  </a:lnTo>
                  <a:lnTo>
                    <a:pt x="1386" y="4734"/>
                  </a:lnTo>
                  <a:lnTo>
                    <a:pt x="1367" y="4737"/>
                  </a:lnTo>
                  <a:lnTo>
                    <a:pt x="1349" y="4737"/>
                  </a:lnTo>
                  <a:lnTo>
                    <a:pt x="1336" y="4734"/>
                  </a:lnTo>
                  <a:lnTo>
                    <a:pt x="1327" y="4718"/>
                  </a:lnTo>
                  <a:lnTo>
                    <a:pt x="1327" y="4693"/>
                  </a:lnTo>
                  <a:lnTo>
                    <a:pt x="1327" y="4668"/>
                  </a:lnTo>
                  <a:lnTo>
                    <a:pt x="1327" y="4646"/>
                  </a:lnTo>
                  <a:lnTo>
                    <a:pt x="1320" y="4621"/>
                  </a:lnTo>
                  <a:lnTo>
                    <a:pt x="1314" y="4587"/>
                  </a:lnTo>
                  <a:lnTo>
                    <a:pt x="1305" y="4556"/>
                  </a:lnTo>
                  <a:lnTo>
                    <a:pt x="1296" y="4531"/>
                  </a:lnTo>
                  <a:lnTo>
                    <a:pt x="1277" y="4518"/>
                  </a:lnTo>
                  <a:lnTo>
                    <a:pt x="1249" y="4506"/>
                  </a:lnTo>
                  <a:lnTo>
                    <a:pt x="1221" y="4496"/>
                  </a:lnTo>
                  <a:lnTo>
                    <a:pt x="1196" y="4484"/>
                  </a:lnTo>
                  <a:lnTo>
                    <a:pt x="1177" y="4468"/>
                  </a:lnTo>
                  <a:lnTo>
                    <a:pt x="1174" y="4462"/>
                  </a:lnTo>
                  <a:lnTo>
                    <a:pt x="1174" y="4456"/>
                  </a:lnTo>
                  <a:lnTo>
                    <a:pt x="1174" y="4450"/>
                  </a:lnTo>
                  <a:lnTo>
                    <a:pt x="1174" y="4440"/>
                  </a:lnTo>
                  <a:lnTo>
                    <a:pt x="1174" y="4434"/>
                  </a:lnTo>
                  <a:lnTo>
                    <a:pt x="1171" y="4431"/>
                  </a:lnTo>
                  <a:lnTo>
                    <a:pt x="1152" y="4418"/>
                  </a:lnTo>
                  <a:lnTo>
                    <a:pt x="1127" y="4412"/>
                  </a:lnTo>
                  <a:lnTo>
                    <a:pt x="1099" y="4409"/>
                  </a:lnTo>
                  <a:lnTo>
                    <a:pt x="1074" y="4412"/>
                  </a:lnTo>
                  <a:lnTo>
                    <a:pt x="1049" y="4428"/>
                  </a:lnTo>
                  <a:lnTo>
                    <a:pt x="1021" y="4453"/>
                  </a:lnTo>
                  <a:lnTo>
                    <a:pt x="996" y="4481"/>
                  </a:lnTo>
                  <a:lnTo>
                    <a:pt x="974" y="4503"/>
                  </a:lnTo>
                  <a:lnTo>
                    <a:pt x="952" y="4531"/>
                  </a:lnTo>
                  <a:lnTo>
                    <a:pt x="924" y="4562"/>
                  </a:lnTo>
                  <a:lnTo>
                    <a:pt x="899" y="4596"/>
                  </a:lnTo>
                  <a:lnTo>
                    <a:pt x="880" y="4624"/>
                  </a:lnTo>
                  <a:lnTo>
                    <a:pt x="868" y="4652"/>
                  </a:lnTo>
                  <a:lnTo>
                    <a:pt x="858" y="4684"/>
                  </a:lnTo>
                  <a:lnTo>
                    <a:pt x="849" y="4715"/>
                  </a:lnTo>
                  <a:lnTo>
                    <a:pt x="843" y="4749"/>
                  </a:lnTo>
                  <a:lnTo>
                    <a:pt x="836" y="4793"/>
                  </a:lnTo>
                  <a:lnTo>
                    <a:pt x="827" y="4834"/>
                  </a:lnTo>
                  <a:lnTo>
                    <a:pt x="811" y="4868"/>
                  </a:lnTo>
                  <a:lnTo>
                    <a:pt x="793" y="4887"/>
                  </a:lnTo>
                  <a:lnTo>
                    <a:pt x="768" y="4905"/>
                  </a:lnTo>
                  <a:lnTo>
                    <a:pt x="749" y="4924"/>
                  </a:lnTo>
                  <a:lnTo>
                    <a:pt x="733" y="4946"/>
                  </a:lnTo>
                  <a:lnTo>
                    <a:pt x="715" y="4974"/>
                  </a:lnTo>
                  <a:lnTo>
                    <a:pt x="699" y="5002"/>
                  </a:lnTo>
                  <a:lnTo>
                    <a:pt x="680" y="5024"/>
                  </a:lnTo>
                  <a:lnTo>
                    <a:pt x="658" y="5037"/>
                  </a:lnTo>
                  <a:lnTo>
                    <a:pt x="627" y="5046"/>
                  </a:lnTo>
                  <a:lnTo>
                    <a:pt x="599" y="5052"/>
                  </a:lnTo>
                  <a:lnTo>
                    <a:pt x="571" y="5055"/>
                  </a:lnTo>
                  <a:lnTo>
                    <a:pt x="540" y="5052"/>
                  </a:lnTo>
                  <a:lnTo>
                    <a:pt x="512" y="5052"/>
                  </a:lnTo>
                  <a:lnTo>
                    <a:pt x="496" y="5058"/>
                  </a:lnTo>
                  <a:lnTo>
                    <a:pt x="477" y="5068"/>
                  </a:lnTo>
                  <a:lnTo>
                    <a:pt x="459" y="5074"/>
                  </a:lnTo>
                  <a:lnTo>
                    <a:pt x="440" y="5077"/>
                  </a:lnTo>
                  <a:lnTo>
                    <a:pt x="434" y="5074"/>
                  </a:lnTo>
                  <a:lnTo>
                    <a:pt x="424" y="5068"/>
                  </a:lnTo>
                  <a:lnTo>
                    <a:pt x="418" y="5058"/>
                  </a:lnTo>
                  <a:lnTo>
                    <a:pt x="409" y="5052"/>
                  </a:lnTo>
                  <a:lnTo>
                    <a:pt x="399" y="5046"/>
                  </a:lnTo>
                  <a:lnTo>
                    <a:pt x="393" y="5040"/>
                  </a:lnTo>
                  <a:lnTo>
                    <a:pt x="365" y="5040"/>
                  </a:lnTo>
                  <a:lnTo>
                    <a:pt x="331" y="5043"/>
                  </a:lnTo>
                  <a:lnTo>
                    <a:pt x="306" y="5052"/>
                  </a:lnTo>
                  <a:lnTo>
                    <a:pt x="293" y="5065"/>
                  </a:lnTo>
                  <a:lnTo>
                    <a:pt x="284" y="5083"/>
                  </a:lnTo>
                  <a:lnTo>
                    <a:pt x="274" y="5102"/>
                  </a:lnTo>
                  <a:lnTo>
                    <a:pt x="265" y="5115"/>
                  </a:lnTo>
                  <a:lnTo>
                    <a:pt x="249" y="5127"/>
                  </a:lnTo>
                  <a:lnTo>
                    <a:pt x="228" y="5136"/>
                  </a:lnTo>
                  <a:lnTo>
                    <a:pt x="209" y="5136"/>
                  </a:lnTo>
                  <a:lnTo>
                    <a:pt x="193" y="5130"/>
                  </a:lnTo>
                  <a:lnTo>
                    <a:pt x="174" y="5118"/>
                  </a:lnTo>
                  <a:lnTo>
                    <a:pt x="159" y="5105"/>
                  </a:lnTo>
                  <a:lnTo>
                    <a:pt x="149" y="5090"/>
                  </a:lnTo>
                  <a:lnTo>
                    <a:pt x="149" y="5077"/>
                  </a:lnTo>
                  <a:lnTo>
                    <a:pt x="153" y="5062"/>
                  </a:lnTo>
                  <a:lnTo>
                    <a:pt x="159" y="5043"/>
                  </a:lnTo>
                  <a:lnTo>
                    <a:pt x="159" y="5030"/>
                  </a:lnTo>
                  <a:lnTo>
                    <a:pt x="153" y="5005"/>
                  </a:lnTo>
                  <a:lnTo>
                    <a:pt x="140" y="4977"/>
                  </a:lnTo>
                  <a:lnTo>
                    <a:pt x="128" y="4949"/>
                  </a:lnTo>
                  <a:lnTo>
                    <a:pt x="115" y="4921"/>
                  </a:lnTo>
                  <a:lnTo>
                    <a:pt x="106" y="4899"/>
                  </a:lnTo>
                  <a:lnTo>
                    <a:pt x="106" y="4874"/>
                  </a:lnTo>
                  <a:lnTo>
                    <a:pt x="106" y="4846"/>
                  </a:lnTo>
                  <a:lnTo>
                    <a:pt x="112" y="4824"/>
                  </a:lnTo>
                  <a:lnTo>
                    <a:pt x="118" y="4815"/>
                  </a:lnTo>
                  <a:lnTo>
                    <a:pt x="125" y="4805"/>
                  </a:lnTo>
                  <a:lnTo>
                    <a:pt x="134" y="4796"/>
                  </a:lnTo>
                  <a:lnTo>
                    <a:pt x="143" y="4790"/>
                  </a:lnTo>
                  <a:lnTo>
                    <a:pt x="146" y="4781"/>
                  </a:lnTo>
                  <a:lnTo>
                    <a:pt x="153" y="4756"/>
                  </a:lnTo>
                  <a:lnTo>
                    <a:pt x="153" y="4727"/>
                  </a:lnTo>
                  <a:lnTo>
                    <a:pt x="153" y="4699"/>
                  </a:lnTo>
                  <a:lnTo>
                    <a:pt x="143" y="4674"/>
                  </a:lnTo>
                  <a:lnTo>
                    <a:pt x="128" y="4659"/>
                  </a:lnTo>
                  <a:lnTo>
                    <a:pt x="106" y="4640"/>
                  </a:lnTo>
                  <a:lnTo>
                    <a:pt x="81" y="4627"/>
                  </a:lnTo>
                  <a:lnTo>
                    <a:pt x="59" y="4612"/>
                  </a:lnTo>
                  <a:lnTo>
                    <a:pt x="46" y="4596"/>
                  </a:lnTo>
                  <a:lnTo>
                    <a:pt x="28" y="4578"/>
                  </a:lnTo>
                  <a:lnTo>
                    <a:pt x="15" y="4559"/>
                  </a:lnTo>
                  <a:lnTo>
                    <a:pt x="3" y="4540"/>
                  </a:lnTo>
                  <a:lnTo>
                    <a:pt x="3" y="4524"/>
                  </a:lnTo>
                  <a:lnTo>
                    <a:pt x="0" y="4503"/>
                  </a:lnTo>
                  <a:lnTo>
                    <a:pt x="3" y="4487"/>
                  </a:lnTo>
                  <a:lnTo>
                    <a:pt x="9" y="4481"/>
                  </a:lnTo>
                  <a:lnTo>
                    <a:pt x="12" y="4474"/>
                  </a:lnTo>
                  <a:lnTo>
                    <a:pt x="21" y="4468"/>
                  </a:lnTo>
                  <a:lnTo>
                    <a:pt x="25" y="4462"/>
                  </a:lnTo>
                  <a:lnTo>
                    <a:pt x="31" y="4456"/>
                  </a:lnTo>
                  <a:lnTo>
                    <a:pt x="34" y="4434"/>
                  </a:lnTo>
                  <a:lnTo>
                    <a:pt x="34" y="4403"/>
                  </a:lnTo>
                  <a:lnTo>
                    <a:pt x="31" y="4375"/>
                  </a:lnTo>
                  <a:lnTo>
                    <a:pt x="31" y="4350"/>
                  </a:lnTo>
                  <a:lnTo>
                    <a:pt x="31" y="4340"/>
                  </a:lnTo>
                  <a:lnTo>
                    <a:pt x="28" y="4328"/>
                  </a:lnTo>
                  <a:lnTo>
                    <a:pt x="28" y="4315"/>
                  </a:lnTo>
                  <a:lnTo>
                    <a:pt x="28" y="4306"/>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6" name="Freeform 59">
              <a:extLst>
                <a:ext uri="{FF2B5EF4-FFF2-40B4-BE49-F238E27FC236}">
                  <a16:creationId xmlns:a16="http://schemas.microsoft.com/office/drawing/2014/main" id="{9DCEA27E-ECA0-476A-A022-7B1C86A7AFBE}"/>
                </a:ext>
              </a:extLst>
            </p:cNvPr>
            <p:cNvSpPr>
              <a:spLocks/>
            </p:cNvSpPr>
            <p:nvPr/>
          </p:nvSpPr>
          <p:spPr bwMode="auto">
            <a:xfrm>
              <a:off x="26012776" y="4322763"/>
              <a:ext cx="9245600" cy="8035925"/>
            </a:xfrm>
            <a:custGeom>
              <a:avLst/>
              <a:gdLst>
                <a:gd name="T0" fmla="*/ 5593 w 5824"/>
                <a:gd name="T1" fmla="*/ 2698 h 5062"/>
                <a:gd name="T2" fmla="*/ 5527 w 5824"/>
                <a:gd name="T3" fmla="*/ 2982 h 5062"/>
                <a:gd name="T4" fmla="*/ 5187 w 5824"/>
                <a:gd name="T5" fmla="*/ 3266 h 5062"/>
                <a:gd name="T6" fmla="*/ 4921 w 5824"/>
                <a:gd name="T7" fmla="*/ 3550 h 5062"/>
                <a:gd name="T8" fmla="*/ 4622 w 5824"/>
                <a:gd name="T9" fmla="*/ 3781 h 5062"/>
                <a:gd name="T10" fmla="*/ 4272 w 5824"/>
                <a:gd name="T11" fmla="*/ 4087 h 5062"/>
                <a:gd name="T12" fmla="*/ 4060 w 5824"/>
                <a:gd name="T13" fmla="*/ 4306 h 5062"/>
                <a:gd name="T14" fmla="*/ 4178 w 5824"/>
                <a:gd name="T15" fmla="*/ 4490 h 5062"/>
                <a:gd name="T16" fmla="*/ 4013 w 5824"/>
                <a:gd name="T17" fmla="*/ 4553 h 5062"/>
                <a:gd name="T18" fmla="*/ 3660 w 5824"/>
                <a:gd name="T19" fmla="*/ 4749 h 5062"/>
                <a:gd name="T20" fmla="*/ 3326 w 5824"/>
                <a:gd name="T21" fmla="*/ 4762 h 5062"/>
                <a:gd name="T22" fmla="*/ 3223 w 5824"/>
                <a:gd name="T23" fmla="*/ 5052 h 5062"/>
                <a:gd name="T24" fmla="*/ 3151 w 5824"/>
                <a:gd name="T25" fmla="*/ 4784 h 5062"/>
                <a:gd name="T26" fmla="*/ 2832 w 5824"/>
                <a:gd name="T27" fmla="*/ 4877 h 5062"/>
                <a:gd name="T28" fmla="*/ 2679 w 5824"/>
                <a:gd name="T29" fmla="*/ 4777 h 5062"/>
                <a:gd name="T30" fmla="*/ 2420 w 5824"/>
                <a:gd name="T31" fmla="*/ 4612 h 5062"/>
                <a:gd name="T32" fmla="*/ 1949 w 5824"/>
                <a:gd name="T33" fmla="*/ 4540 h 5062"/>
                <a:gd name="T34" fmla="*/ 1796 w 5824"/>
                <a:gd name="T35" fmla="*/ 4234 h 5062"/>
                <a:gd name="T36" fmla="*/ 1346 w 5824"/>
                <a:gd name="T37" fmla="*/ 4225 h 5062"/>
                <a:gd name="T38" fmla="*/ 1633 w 5824"/>
                <a:gd name="T39" fmla="*/ 4012 h 5062"/>
                <a:gd name="T40" fmla="*/ 1321 w 5824"/>
                <a:gd name="T41" fmla="*/ 3947 h 5062"/>
                <a:gd name="T42" fmla="*/ 871 w 5824"/>
                <a:gd name="T43" fmla="*/ 4106 h 5062"/>
                <a:gd name="T44" fmla="*/ 656 w 5824"/>
                <a:gd name="T45" fmla="*/ 4250 h 5062"/>
                <a:gd name="T46" fmla="*/ 431 w 5824"/>
                <a:gd name="T47" fmla="*/ 4019 h 5062"/>
                <a:gd name="T48" fmla="*/ 72 w 5824"/>
                <a:gd name="T49" fmla="*/ 3956 h 5062"/>
                <a:gd name="T50" fmla="*/ 272 w 5824"/>
                <a:gd name="T51" fmla="*/ 3819 h 5062"/>
                <a:gd name="T52" fmla="*/ 393 w 5824"/>
                <a:gd name="T53" fmla="*/ 3525 h 5062"/>
                <a:gd name="T54" fmla="*/ 596 w 5824"/>
                <a:gd name="T55" fmla="*/ 3475 h 5062"/>
                <a:gd name="T56" fmla="*/ 671 w 5824"/>
                <a:gd name="T57" fmla="*/ 3144 h 5062"/>
                <a:gd name="T58" fmla="*/ 874 w 5824"/>
                <a:gd name="T59" fmla="*/ 2910 h 5062"/>
                <a:gd name="T60" fmla="*/ 834 w 5824"/>
                <a:gd name="T61" fmla="*/ 2542 h 5062"/>
                <a:gd name="T62" fmla="*/ 687 w 5824"/>
                <a:gd name="T63" fmla="*/ 2192 h 5062"/>
                <a:gd name="T64" fmla="*/ 787 w 5824"/>
                <a:gd name="T65" fmla="*/ 1992 h 5062"/>
                <a:gd name="T66" fmla="*/ 1084 w 5824"/>
                <a:gd name="T67" fmla="*/ 2148 h 5062"/>
                <a:gd name="T68" fmla="*/ 1527 w 5824"/>
                <a:gd name="T69" fmla="*/ 2061 h 5062"/>
                <a:gd name="T70" fmla="*/ 1724 w 5824"/>
                <a:gd name="T71" fmla="*/ 2211 h 5062"/>
                <a:gd name="T72" fmla="*/ 1989 w 5824"/>
                <a:gd name="T73" fmla="*/ 2389 h 5062"/>
                <a:gd name="T74" fmla="*/ 2298 w 5824"/>
                <a:gd name="T75" fmla="*/ 2279 h 5062"/>
                <a:gd name="T76" fmla="*/ 2404 w 5824"/>
                <a:gd name="T77" fmla="*/ 2223 h 5062"/>
                <a:gd name="T78" fmla="*/ 2295 w 5824"/>
                <a:gd name="T79" fmla="*/ 1980 h 5062"/>
                <a:gd name="T80" fmla="*/ 2130 w 5824"/>
                <a:gd name="T81" fmla="*/ 1895 h 5062"/>
                <a:gd name="T82" fmla="*/ 2024 w 5824"/>
                <a:gd name="T83" fmla="*/ 1745 h 5062"/>
                <a:gd name="T84" fmla="*/ 2048 w 5824"/>
                <a:gd name="T85" fmla="*/ 1567 h 5062"/>
                <a:gd name="T86" fmla="*/ 2295 w 5824"/>
                <a:gd name="T87" fmla="*/ 1552 h 5062"/>
                <a:gd name="T88" fmla="*/ 2305 w 5824"/>
                <a:gd name="T89" fmla="*/ 1274 h 5062"/>
                <a:gd name="T90" fmla="*/ 2529 w 5824"/>
                <a:gd name="T91" fmla="*/ 1146 h 5062"/>
                <a:gd name="T92" fmla="*/ 2639 w 5824"/>
                <a:gd name="T93" fmla="*/ 924 h 5062"/>
                <a:gd name="T94" fmla="*/ 2963 w 5824"/>
                <a:gd name="T95" fmla="*/ 768 h 5062"/>
                <a:gd name="T96" fmla="*/ 3348 w 5824"/>
                <a:gd name="T97" fmla="*/ 646 h 5062"/>
                <a:gd name="T98" fmla="*/ 3457 w 5824"/>
                <a:gd name="T99" fmla="*/ 446 h 5062"/>
                <a:gd name="T100" fmla="*/ 3244 w 5824"/>
                <a:gd name="T101" fmla="*/ 300 h 5062"/>
                <a:gd name="T102" fmla="*/ 3276 w 5824"/>
                <a:gd name="T103" fmla="*/ 62 h 5062"/>
                <a:gd name="T104" fmla="*/ 3585 w 5824"/>
                <a:gd name="T105" fmla="*/ 162 h 5062"/>
                <a:gd name="T106" fmla="*/ 3744 w 5824"/>
                <a:gd name="T107" fmla="*/ 62 h 5062"/>
                <a:gd name="T108" fmla="*/ 4044 w 5824"/>
                <a:gd name="T109" fmla="*/ 206 h 5062"/>
                <a:gd name="T110" fmla="*/ 4259 w 5824"/>
                <a:gd name="T111" fmla="*/ 559 h 5062"/>
                <a:gd name="T112" fmla="*/ 4556 w 5824"/>
                <a:gd name="T113" fmla="*/ 802 h 5062"/>
                <a:gd name="T114" fmla="*/ 4478 w 5824"/>
                <a:gd name="T115" fmla="*/ 955 h 5062"/>
                <a:gd name="T116" fmla="*/ 4300 w 5824"/>
                <a:gd name="T117" fmla="*/ 1386 h 5062"/>
                <a:gd name="T118" fmla="*/ 4440 w 5824"/>
                <a:gd name="T119" fmla="*/ 1811 h 5062"/>
                <a:gd name="T120" fmla="*/ 4896 w 5824"/>
                <a:gd name="T121" fmla="*/ 2061 h 5062"/>
                <a:gd name="T122" fmla="*/ 5299 w 5824"/>
                <a:gd name="T123" fmla="*/ 2251 h 5062"/>
                <a:gd name="T124" fmla="*/ 5677 w 5824"/>
                <a:gd name="T125" fmla="*/ 2076 h 5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24" h="5062">
                  <a:moveTo>
                    <a:pt x="5818" y="2279"/>
                  </a:moveTo>
                  <a:lnTo>
                    <a:pt x="5821" y="2295"/>
                  </a:lnTo>
                  <a:lnTo>
                    <a:pt x="5824" y="2314"/>
                  </a:lnTo>
                  <a:lnTo>
                    <a:pt x="5821" y="2332"/>
                  </a:lnTo>
                  <a:lnTo>
                    <a:pt x="5818" y="2348"/>
                  </a:lnTo>
                  <a:lnTo>
                    <a:pt x="5814" y="2370"/>
                  </a:lnTo>
                  <a:lnTo>
                    <a:pt x="5808" y="2395"/>
                  </a:lnTo>
                  <a:lnTo>
                    <a:pt x="5799" y="2411"/>
                  </a:lnTo>
                  <a:lnTo>
                    <a:pt x="5783" y="2417"/>
                  </a:lnTo>
                  <a:lnTo>
                    <a:pt x="5764" y="2423"/>
                  </a:lnTo>
                  <a:lnTo>
                    <a:pt x="5749" y="2429"/>
                  </a:lnTo>
                  <a:lnTo>
                    <a:pt x="5736" y="2451"/>
                  </a:lnTo>
                  <a:lnTo>
                    <a:pt x="5727" y="2482"/>
                  </a:lnTo>
                  <a:lnTo>
                    <a:pt x="5721" y="2514"/>
                  </a:lnTo>
                  <a:lnTo>
                    <a:pt x="5711" y="2539"/>
                  </a:lnTo>
                  <a:lnTo>
                    <a:pt x="5702" y="2560"/>
                  </a:lnTo>
                  <a:lnTo>
                    <a:pt x="5690" y="2582"/>
                  </a:lnTo>
                  <a:lnTo>
                    <a:pt x="5677" y="2598"/>
                  </a:lnTo>
                  <a:lnTo>
                    <a:pt x="5661" y="2610"/>
                  </a:lnTo>
                  <a:lnTo>
                    <a:pt x="5640" y="2620"/>
                  </a:lnTo>
                  <a:lnTo>
                    <a:pt x="5621" y="2632"/>
                  </a:lnTo>
                  <a:lnTo>
                    <a:pt x="5608" y="2651"/>
                  </a:lnTo>
                  <a:lnTo>
                    <a:pt x="5599" y="2676"/>
                  </a:lnTo>
                  <a:lnTo>
                    <a:pt x="5593" y="2698"/>
                  </a:lnTo>
                  <a:lnTo>
                    <a:pt x="5593" y="2713"/>
                  </a:lnTo>
                  <a:lnTo>
                    <a:pt x="5593" y="2732"/>
                  </a:lnTo>
                  <a:lnTo>
                    <a:pt x="5593" y="2751"/>
                  </a:lnTo>
                  <a:lnTo>
                    <a:pt x="5590" y="2766"/>
                  </a:lnTo>
                  <a:lnTo>
                    <a:pt x="5574" y="2770"/>
                  </a:lnTo>
                  <a:lnTo>
                    <a:pt x="5555" y="2766"/>
                  </a:lnTo>
                  <a:lnTo>
                    <a:pt x="5533" y="2763"/>
                  </a:lnTo>
                  <a:lnTo>
                    <a:pt x="5518" y="2766"/>
                  </a:lnTo>
                  <a:lnTo>
                    <a:pt x="5502" y="2779"/>
                  </a:lnTo>
                  <a:lnTo>
                    <a:pt x="5490" y="2798"/>
                  </a:lnTo>
                  <a:lnTo>
                    <a:pt x="5483" y="2816"/>
                  </a:lnTo>
                  <a:lnTo>
                    <a:pt x="5483" y="2823"/>
                  </a:lnTo>
                  <a:lnTo>
                    <a:pt x="5487" y="2832"/>
                  </a:lnTo>
                  <a:lnTo>
                    <a:pt x="5490" y="2841"/>
                  </a:lnTo>
                  <a:lnTo>
                    <a:pt x="5493" y="2851"/>
                  </a:lnTo>
                  <a:lnTo>
                    <a:pt x="5493" y="2857"/>
                  </a:lnTo>
                  <a:lnTo>
                    <a:pt x="5493" y="2882"/>
                  </a:lnTo>
                  <a:lnTo>
                    <a:pt x="5490" y="2910"/>
                  </a:lnTo>
                  <a:lnTo>
                    <a:pt x="5493" y="2932"/>
                  </a:lnTo>
                  <a:lnTo>
                    <a:pt x="5496" y="2938"/>
                  </a:lnTo>
                  <a:lnTo>
                    <a:pt x="5505" y="2948"/>
                  </a:lnTo>
                  <a:lnTo>
                    <a:pt x="5512" y="2954"/>
                  </a:lnTo>
                  <a:lnTo>
                    <a:pt x="5515" y="2960"/>
                  </a:lnTo>
                  <a:lnTo>
                    <a:pt x="5527" y="2982"/>
                  </a:lnTo>
                  <a:lnTo>
                    <a:pt x="5537" y="3007"/>
                  </a:lnTo>
                  <a:lnTo>
                    <a:pt x="5540" y="3029"/>
                  </a:lnTo>
                  <a:lnTo>
                    <a:pt x="5540" y="3048"/>
                  </a:lnTo>
                  <a:lnTo>
                    <a:pt x="5537" y="3066"/>
                  </a:lnTo>
                  <a:lnTo>
                    <a:pt x="5527" y="3082"/>
                  </a:lnTo>
                  <a:lnTo>
                    <a:pt x="5521" y="3085"/>
                  </a:lnTo>
                  <a:lnTo>
                    <a:pt x="5512" y="3088"/>
                  </a:lnTo>
                  <a:lnTo>
                    <a:pt x="5502" y="3091"/>
                  </a:lnTo>
                  <a:lnTo>
                    <a:pt x="5493" y="3091"/>
                  </a:lnTo>
                  <a:lnTo>
                    <a:pt x="5487" y="3094"/>
                  </a:lnTo>
                  <a:lnTo>
                    <a:pt x="5471" y="3110"/>
                  </a:lnTo>
                  <a:lnTo>
                    <a:pt x="5452" y="3129"/>
                  </a:lnTo>
                  <a:lnTo>
                    <a:pt x="5437" y="3144"/>
                  </a:lnTo>
                  <a:lnTo>
                    <a:pt x="5409" y="3154"/>
                  </a:lnTo>
                  <a:lnTo>
                    <a:pt x="5377" y="3160"/>
                  </a:lnTo>
                  <a:lnTo>
                    <a:pt x="5343" y="3166"/>
                  </a:lnTo>
                  <a:lnTo>
                    <a:pt x="5318" y="3179"/>
                  </a:lnTo>
                  <a:lnTo>
                    <a:pt x="5302" y="3197"/>
                  </a:lnTo>
                  <a:lnTo>
                    <a:pt x="5284" y="3222"/>
                  </a:lnTo>
                  <a:lnTo>
                    <a:pt x="5268" y="3241"/>
                  </a:lnTo>
                  <a:lnTo>
                    <a:pt x="5249" y="3247"/>
                  </a:lnTo>
                  <a:lnTo>
                    <a:pt x="5224" y="3254"/>
                  </a:lnTo>
                  <a:lnTo>
                    <a:pt x="5202" y="3260"/>
                  </a:lnTo>
                  <a:lnTo>
                    <a:pt x="5187" y="3266"/>
                  </a:lnTo>
                  <a:lnTo>
                    <a:pt x="5181" y="3279"/>
                  </a:lnTo>
                  <a:lnTo>
                    <a:pt x="5177" y="3297"/>
                  </a:lnTo>
                  <a:lnTo>
                    <a:pt x="5174" y="3313"/>
                  </a:lnTo>
                  <a:lnTo>
                    <a:pt x="5168" y="3325"/>
                  </a:lnTo>
                  <a:lnTo>
                    <a:pt x="5149" y="3332"/>
                  </a:lnTo>
                  <a:lnTo>
                    <a:pt x="5127" y="3332"/>
                  </a:lnTo>
                  <a:lnTo>
                    <a:pt x="5109" y="3332"/>
                  </a:lnTo>
                  <a:lnTo>
                    <a:pt x="5093" y="3338"/>
                  </a:lnTo>
                  <a:lnTo>
                    <a:pt x="5071" y="3344"/>
                  </a:lnTo>
                  <a:lnTo>
                    <a:pt x="5056" y="3350"/>
                  </a:lnTo>
                  <a:lnTo>
                    <a:pt x="5031" y="3363"/>
                  </a:lnTo>
                  <a:lnTo>
                    <a:pt x="5003" y="3375"/>
                  </a:lnTo>
                  <a:lnTo>
                    <a:pt x="4981" y="3391"/>
                  </a:lnTo>
                  <a:lnTo>
                    <a:pt x="4971" y="3394"/>
                  </a:lnTo>
                  <a:lnTo>
                    <a:pt x="4959" y="3400"/>
                  </a:lnTo>
                  <a:lnTo>
                    <a:pt x="4949" y="3410"/>
                  </a:lnTo>
                  <a:lnTo>
                    <a:pt x="4940" y="3416"/>
                  </a:lnTo>
                  <a:lnTo>
                    <a:pt x="4934" y="3422"/>
                  </a:lnTo>
                  <a:lnTo>
                    <a:pt x="4928" y="3438"/>
                  </a:lnTo>
                  <a:lnTo>
                    <a:pt x="4924" y="3460"/>
                  </a:lnTo>
                  <a:lnTo>
                    <a:pt x="4921" y="3478"/>
                  </a:lnTo>
                  <a:lnTo>
                    <a:pt x="4921" y="3500"/>
                  </a:lnTo>
                  <a:lnTo>
                    <a:pt x="4921" y="3525"/>
                  </a:lnTo>
                  <a:lnTo>
                    <a:pt x="4921" y="3550"/>
                  </a:lnTo>
                  <a:lnTo>
                    <a:pt x="4915" y="3569"/>
                  </a:lnTo>
                  <a:lnTo>
                    <a:pt x="4909" y="3575"/>
                  </a:lnTo>
                  <a:lnTo>
                    <a:pt x="4900" y="3581"/>
                  </a:lnTo>
                  <a:lnTo>
                    <a:pt x="4890" y="3585"/>
                  </a:lnTo>
                  <a:lnTo>
                    <a:pt x="4881" y="3591"/>
                  </a:lnTo>
                  <a:lnTo>
                    <a:pt x="4859" y="3597"/>
                  </a:lnTo>
                  <a:lnTo>
                    <a:pt x="4831" y="3606"/>
                  </a:lnTo>
                  <a:lnTo>
                    <a:pt x="4809" y="3616"/>
                  </a:lnTo>
                  <a:lnTo>
                    <a:pt x="4784" y="3622"/>
                  </a:lnTo>
                  <a:lnTo>
                    <a:pt x="4756" y="3635"/>
                  </a:lnTo>
                  <a:lnTo>
                    <a:pt x="4731" y="3641"/>
                  </a:lnTo>
                  <a:lnTo>
                    <a:pt x="4712" y="3644"/>
                  </a:lnTo>
                  <a:lnTo>
                    <a:pt x="4693" y="3647"/>
                  </a:lnTo>
                  <a:lnTo>
                    <a:pt x="4678" y="3653"/>
                  </a:lnTo>
                  <a:lnTo>
                    <a:pt x="4672" y="3660"/>
                  </a:lnTo>
                  <a:lnTo>
                    <a:pt x="4668" y="3666"/>
                  </a:lnTo>
                  <a:lnTo>
                    <a:pt x="4665" y="3675"/>
                  </a:lnTo>
                  <a:lnTo>
                    <a:pt x="4662" y="3681"/>
                  </a:lnTo>
                  <a:lnTo>
                    <a:pt x="4659" y="3688"/>
                  </a:lnTo>
                  <a:lnTo>
                    <a:pt x="4647" y="3706"/>
                  </a:lnTo>
                  <a:lnTo>
                    <a:pt x="4631" y="3725"/>
                  </a:lnTo>
                  <a:lnTo>
                    <a:pt x="4622" y="3744"/>
                  </a:lnTo>
                  <a:lnTo>
                    <a:pt x="4622" y="3759"/>
                  </a:lnTo>
                  <a:lnTo>
                    <a:pt x="4622" y="3781"/>
                  </a:lnTo>
                  <a:lnTo>
                    <a:pt x="4625" y="3803"/>
                  </a:lnTo>
                  <a:lnTo>
                    <a:pt x="4622" y="3822"/>
                  </a:lnTo>
                  <a:lnTo>
                    <a:pt x="4606" y="3847"/>
                  </a:lnTo>
                  <a:lnTo>
                    <a:pt x="4581" y="3872"/>
                  </a:lnTo>
                  <a:lnTo>
                    <a:pt x="4556" y="3897"/>
                  </a:lnTo>
                  <a:lnTo>
                    <a:pt x="4534" y="3916"/>
                  </a:lnTo>
                  <a:lnTo>
                    <a:pt x="4519" y="3934"/>
                  </a:lnTo>
                  <a:lnTo>
                    <a:pt x="4497" y="3956"/>
                  </a:lnTo>
                  <a:lnTo>
                    <a:pt x="4475" y="3969"/>
                  </a:lnTo>
                  <a:lnTo>
                    <a:pt x="4453" y="3972"/>
                  </a:lnTo>
                  <a:lnTo>
                    <a:pt x="4425" y="3972"/>
                  </a:lnTo>
                  <a:lnTo>
                    <a:pt x="4403" y="3969"/>
                  </a:lnTo>
                  <a:lnTo>
                    <a:pt x="4384" y="3969"/>
                  </a:lnTo>
                  <a:lnTo>
                    <a:pt x="4359" y="3966"/>
                  </a:lnTo>
                  <a:lnTo>
                    <a:pt x="4337" y="3966"/>
                  </a:lnTo>
                  <a:lnTo>
                    <a:pt x="4319" y="3969"/>
                  </a:lnTo>
                  <a:lnTo>
                    <a:pt x="4312" y="3975"/>
                  </a:lnTo>
                  <a:lnTo>
                    <a:pt x="4306" y="3981"/>
                  </a:lnTo>
                  <a:lnTo>
                    <a:pt x="4300" y="3987"/>
                  </a:lnTo>
                  <a:lnTo>
                    <a:pt x="4294" y="3997"/>
                  </a:lnTo>
                  <a:lnTo>
                    <a:pt x="4291" y="4003"/>
                  </a:lnTo>
                  <a:lnTo>
                    <a:pt x="4281" y="4028"/>
                  </a:lnTo>
                  <a:lnTo>
                    <a:pt x="4275" y="4062"/>
                  </a:lnTo>
                  <a:lnTo>
                    <a:pt x="4272" y="4087"/>
                  </a:lnTo>
                  <a:lnTo>
                    <a:pt x="4269" y="4106"/>
                  </a:lnTo>
                  <a:lnTo>
                    <a:pt x="4266" y="4125"/>
                  </a:lnTo>
                  <a:lnTo>
                    <a:pt x="4259" y="4147"/>
                  </a:lnTo>
                  <a:lnTo>
                    <a:pt x="4250" y="4159"/>
                  </a:lnTo>
                  <a:lnTo>
                    <a:pt x="4241" y="4162"/>
                  </a:lnTo>
                  <a:lnTo>
                    <a:pt x="4225" y="4159"/>
                  </a:lnTo>
                  <a:lnTo>
                    <a:pt x="4209" y="4156"/>
                  </a:lnTo>
                  <a:lnTo>
                    <a:pt x="4200" y="4159"/>
                  </a:lnTo>
                  <a:lnTo>
                    <a:pt x="4197" y="4169"/>
                  </a:lnTo>
                  <a:lnTo>
                    <a:pt x="4197" y="4184"/>
                  </a:lnTo>
                  <a:lnTo>
                    <a:pt x="4203" y="4203"/>
                  </a:lnTo>
                  <a:lnTo>
                    <a:pt x="4203" y="4218"/>
                  </a:lnTo>
                  <a:lnTo>
                    <a:pt x="4200" y="4228"/>
                  </a:lnTo>
                  <a:lnTo>
                    <a:pt x="4188" y="4234"/>
                  </a:lnTo>
                  <a:lnTo>
                    <a:pt x="4169" y="4234"/>
                  </a:lnTo>
                  <a:lnTo>
                    <a:pt x="4147" y="4231"/>
                  </a:lnTo>
                  <a:lnTo>
                    <a:pt x="4128" y="4228"/>
                  </a:lnTo>
                  <a:lnTo>
                    <a:pt x="4113" y="4228"/>
                  </a:lnTo>
                  <a:lnTo>
                    <a:pt x="4091" y="4237"/>
                  </a:lnTo>
                  <a:lnTo>
                    <a:pt x="4066" y="4253"/>
                  </a:lnTo>
                  <a:lnTo>
                    <a:pt x="4044" y="4268"/>
                  </a:lnTo>
                  <a:lnTo>
                    <a:pt x="4038" y="4287"/>
                  </a:lnTo>
                  <a:lnTo>
                    <a:pt x="4044" y="4300"/>
                  </a:lnTo>
                  <a:lnTo>
                    <a:pt x="4060" y="4306"/>
                  </a:lnTo>
                  <a:lnTo>
                    <a:pt x="4078" y="4312"/>
                  </a:lnTo>
                  <a:lnTo>
                    <a:pt x="4094" y="4318"/>
                  </a:lnTo>
                  <a:lnTo>
                    <a:pt x="4113" y="4318"/>
                  </a:lnTo>
                  <a:lnTo>
                    <a:pt x="4131" y="4315"/>
                  </a:lnTo>
                  <a:lnTo>
                    <a:pt x="4147" y="4318"/>
                  </a:lnTo>
                  <a:lnTo>
                    <a:pt x="4156" y="4322"/>
                  </a:lnTo>
                  <a:lnTo>
                    <a:pt x="4166" y="4328"/>
                  </a:lnTo>
                  <a:lnTo>
                    <a:pt x="4178" y="4337"/>
                  </a:lnTo>
                  <a:lnTo>
                    <a:pt x="4188" y="4347"/>
                  </a:lnTo>
                  <a:lnTo>
                    <a:pt x="4194" y="4353"/>
                  </a:lnTo>
                  <a:lnTo>
                    <a:pt x="4194" y="4362"/>
                  </a:lnTo>
                  <a:lnTo>
                    <a:pt x="4194" y="4371"/>
                  </a:lnTo>
                  <a:lnTo>
                    <a:pt x="4194" y="4384"/>
                  </a:lnTo>
                  <a:lnTo>
                    <a:pt x="4191" y="4393"/>
                  </a:lnTo>
                  <a:lnTo>
                    <a:pt x="4188" y="4403"/>
                  </a:lnTo>
                  <a:lnTo>
                    <a:pt x="4184" y="4406"/>
                  </a:lnTo>
                  <a:lnTo>
                    <a:pt x="4178" y="4412"/>
                  </a:lnTo>
                  <a:lnTo>
                    <a:pt x="4172" y="4418"/>
                  </a:lnTo>
                  <a:lnTo>
                    <a:pt x="4166" y="4425"/>
                  </a:lnTo>
                  <a:lnTo>
                    <a:pt x="4166" y="4431"/>
                  </a:lnTo>
                  <a:lnTo>
                    <a:pt x="4166" y="4443"/>
                  </a:lnTo>
                  <a:lnTo>
                    <a:pt x="4172" y="4462"/>
                  </a:lnTo>
                  <a:lnTo>
                    <a:pt x="4181" y="4478"/>
                  </a:lnTo>
                  <a:lnTo>
                    <a:pt x="4178" y="4490"/>
                  </a:lnTo>
                  <a:lnTo>
                    <a:pt x="4175" y="4496"/>
                  </a:lnTo>
                  <a:lnTo>
                    <a:pt x="4169" y="4500"/>
                  </a:lnTo>
                  <a:lnTo>
                    <a:pt x="4159" y="4500"/>
                  </a:lnTo>
                  <a:lnTo>
                    <a:pt x="4150" y="4503"/>
                  </a:lnTo>
                  <a:lnTo>
                    <a:pt x="4144" y="4506"/>
                  </a:lnTo>
                  <a:lnTo>
                    <a:pt x="4138" y="4509"/>
                  </a:lnTo>
                  <a:lnTo>
                    <a:pt x="4134" y="4515"/>
                  </a:lnTo>
                  <a:lnTo>
                    <a:pt x="4134" y="4521"/>
                  </a:lnTo>
                  <a:lnTo>
                    <a:pt x="4134" y="4531"/>
                  </a:lnTo>
                  <a:lnTo>
                    <a:pt x="4134" y="4537"/>
                  </a:lnTo>
                  <a:lnTo>
                    <a:pt x="4131" y="4546"/>
                  </a:lnTo>
                  <a:lnTo>
                    <a:pt x="4131" y="4553"/>
                  </a:lnTo>
                  <a:lnTo>
                    <a:pt x="4116" y="4568"/>
                  </a:lnTo>
                  <a:lnTo>
                    <a:pt x="4097" y="4584"/>
                  </a:lnTo>
                  <a:lnTo>
                    <a:pt x="4078" y="4593"/>
                  </a:lnTo>
                  <a:lnTo>
                    <a:pt x="4072" y="4590"/>
                  </a:lnTo>
                  <a:lnTo>
                    <a:pt x="4066" y="4587"/>
                  </a:lnTo>
                  <a:lnTo>
                    <a:pt x="4056" y="4584"/>
                  </a:lnTo>
                  <a:lnTo>
                    <a:pt x="4050" y="4578"/>
                  </a:lnTo>
                  <a:lnTo>
                    <a:pt x="4044" y="4571"/>
                  </a:lnTo>
                  <a:lnTo>
                    <a:pt x="4038" y="4568"/>
                  </a:lnTo>
                  <a:lnTo>
                    <a:pt x="4028" y="4565"/>
                  </a:lnTo>
                  <a:lnTo>
                    <a:pt x="4022" y="4559"/>
                  </a:lnTo>
                  <a:lnTo>
                    <a:pt x="4013" y="4553"/>
                  </a:lnTo>
                  <a:lnTo>
                    <a:pt x="4003" y="4549"/>
                  </a:lnTo>
                  <a:lnTo>
                    <a:pt x="3981" y="4546"/>
                  </a:lnTo>
                  <a:lnTo>
                    <a:pt x="3950" y="4546"/>
                  </a:lnTo>
                  <a:lnTo>
                    <a:pt x="3928" y="4549"/>
                  </a:lnTo>
                  <a:lnTo>
                    <a:pt x="3910" y="4562"/>
                  </a:lnTo>
                  <a:lnTo>
                    <a:pt x="3888" y="4578"/>
                  </a:lnTo>
                  <a:lnTo>
                    <a:pt x="3869" y="4593"/>
                  </a:lnTo>
                  <a:lnTo>
                    <a:pt x="3847" y="4596"/>
                  </a:lnTo>
                  <a:lnTo>
                    <a:pt x="3822" y="4599"/>
                  </a:lnTo>
                  <a:lnTo>
                    <a:pt x="3794" y="4603"/>
                  </a:lnTo>
                  <a:lnTo>
                    <a:pt x="3772" y="4606"/>
                  </a:lnTo>
                  <a:lnTo>
                    <a:pt x="3747" y="4615"/>
                  </a:lnTo>
                  <a:lnTo>
                    <a:pt x="3722" y="4624"/>
                  </a:lnTo>
                  <a:lnTo>
                    <a:pt x="3700" y="4634"/>
                  </a:lnTo>
                  <a:lnTo>
                    <a:pt x="3691" y="4640"/>
                  </a:lnTo>
                  <a:lnTo>
                    <a:pt x="3685" y="4646"/>
                  </a:lnTo>
                  <a:lnTo>
                    <a:pt x="3675" y="4653"/>
                  </a:lnTo>
                  <a:lnTo>
                    <a:pt x="3666" y="4662"/>
                  </a:lnTo>
                  <a:lnTo>
                    <a:pt x="3663" y="4668"/>
                  </a:lnTo>
                  <a:lnTo>
                    <a:pt x="3660" y="4687"/>
                  </a:lnTo>
                  <a:lnTo>
                    <a:pt x="3663" y="4712"/>
                  </a:lnTo>
                  <a:lnTo>
                    <a:pt x="3663" y="4731"/>
                  </a:lnTo>
                  <a:lnTo>
                    <a:pt x="3663" y="4740"/>
                  </a:lnTo>
                  <a:lnTo>
                    <a:pt x="3660" y="4749"/>
                  </a:lnTo>
                  <a:lnTo>
                    <a:pt x="3660" y="4759"/>
                  </a:lnTo>
                  <a:lnTo>
                    <a:pt x="3657" y="4768"/>
                  </a:lnTo>
                  <a:lnTo>
                    <a:pt x="3654" y="4777"/>
                  </a:lnTo>
                  <a:lnTo>
                    <a:pt x="3647" y="4781"/>
                  </a:lnTo>
                  <a:lnTo>
                    <a:pt x="3629" y="4787"/>
                  </a:lnTo>
                  <a:lnTo>
                    <a:pt x="3607" y="4787"/>
                  </a:lnTo>
                  <a:lnTo>
                    <a:pt x="3588" y="4781"/>
                  </a:lnTo>
                  <a:lnTo>
                    <a:pt x="3569" y="4771"/>
                  </a:lnTo>
                  <a:lnTo>
                    <a:pt x="3551" y="4752"/>
                  </a:lnTo>
                  <a:lnTo>
                    <a:pt x="3532" y="4740"/>
                  </a:lnTo>
                  <a:lnTo>
                    <a:pt x="3522" y="4734"/>
                  </a:lnTo>
                  <a:lnTo>
                    <a:pt x="3513" y="4727"/>
                  </a:lnTo>
                  <a:lnTo>
                    <a:pt x="3501" y="4724"/>
                  </a:lnTo>
                  <a:lnTo>
                    <a:pt x="3491" y="4721"/>
                  </a:lnTo>
                  <a:lnTo>
                    <a:pt x="3466" y="4715"/>
                  </a:lnTo>
                  <a:lnTo>
                    <a:pt x="3438" y="4709"/>
                  </a:lnTo>
                  <a:lnTo>
                    <a:pt x="3413" y="4706"/>
                  </a:lnTo>
                  <a:lnTo>
                    <a:pt x="3391" y="4709"/>
                  </a:lnTo>
                  <a:lnTo>
                    <a:pt x="3366" y="4715"/>
                  </a:lnTo>
                  <a:lnTo>
                    <a:pt x="3348" y="4724"/>
                  </a:lnTo>
                  <a:lnTo>
                    <a:pt x="3341" y="4734"/>
                  </a:lnTo>
                  <a:lnTo>
                    <a:pt x="3335" y="4743"/>
                  </a:lnTo>
                  <a:lnTo>
                    <a:pt x="3329" y="4752"/>
                  </a:lnTo>
                  <a:lnTo>
                    <a:pt x="3326" y="4762"/>
                  </a:lnTo>
                  <a:lnTo>
                    <a:pt x="3323" y="4771"/>
                  </a:lnTo>
                  <a:lnTo>
                    <a:pt x="3319" y="4790"/>
                  </a:lnTo>
                  <a:lnTo>
                    <a:pt x="3319" y="4812"/>
                  </a:lnTo>
                  <a:lnTo>
                    <a:pt x="3323" y="4831"/>
                  </a:lnTo>
                  <a:lnTo>
                    <a:pt x="3332" y="4852"/>
                  </a:lnTo>
                  <a:lnTo>
                    <a:pt x="3344" y="4874"/>
                  </a:lnTo>
                  <a:lnTo>
                    <a:pt x="3354" y="4896"/>
                  </a:lnTo>
                  <a:lnTo>
                    <a:pt x="3348" y="4915"/>
                  </a:lnTo>
                  <a:lnTo>
                    <a:pt x="3341" y="4934"/>
                  </a:lnTo>
                  <a:lnTo>
                    <a:pt x="3332" y="4952"/>
                  </a:lnTo>
                  <a:lnTo>
                    <a:pt x="3329" y="4974"/>
                  </a:lnTo>
                  <a:lnTo>
                    <a:pt x="3329" y="5002"/>
                  </a:lnTo>
                  <a:lnTo>
                    <a:pt x="3323" y="5024"/>
                  </a:lnTo>
                  <a:lnTo>
                    <a:pt x="3316" y="5030"/>
                  </a:lnTo>
                  <a:lnTo>
                    <a:pt x="3310" y="5040"/>
                  </a:lnTo>
                  <a:lnTo>
                    <a:pt x="3304" y="5046"/>
                  </a:lnTo>
                  <a:lnTo>
                    <a:pt x="3298" y="5052"/>
                  </a:lnTo>
                  <a:lnTo>
                    <a:pt x="3288" y="5058"/>
                  </a:lnTo>
                  <a:lnTo>
                    <a:pt x="3282" y="5058"/>
                  </a:lnTo>
                  <a:lnTo>
                    <a:pt x="3273" y="5062"/>
                  </a:lnTo>
                  <a:lnTo>
                    <a:pt x="3260" y="5058"/>
                  </a:lnTo>
                  <a:lnTo>
                    <a:pt x="3251" y="5058"/>
                  </a:lnTo>
                  <a:lnTo>
                    <a:pt x="3244" y="5058"/>
                  </a:lnTo>
                  <a:lnTo>
                    <a:pt x="3223" y="5052"/>
                  </a:lnTo>
                  <a:lnTo>
                    <a:pt x="3198" y="5040"/>
                  </a:lnTo>
                  <a:lnTo>
                    <a:pt x="3176" y="5027"/>
                  </a:lnTo>
                  <a:lnTo>
                    <a:pt x="3160" y="5015"/>
                  </a:lnTo>
                  <a:lnTo>
                    <a:pt x="3157" y="4996"/>
                  </a:lnTo>
                  <a:lnTo>
                    <a:pt x="3157" y="4977"/>
                  </a:lnTo>
                  <a:lnTo>
                    <a:pt x="3160" y="4959"/>
                  </a:lnTo>
                  <a:lnTo>
                    <a:pt x="3166" y="4952"/>
                  </a:lnTo>
                  <a:lnTo>
                    <a:pt x="3176" y="4943"/>
                  </a:lnTo>
                  <a:lnTo>
                    <a:pt x="3185" y="4934"/>
                  </a:lnTo>
                  <a:lnTo>
                    <a:pt x="3195" y="4927"/>
                  </a:lnTo>
                  <a:lnTo>
                    <a:pt x="3201" y="4918"/>
                  </a:lnTo>
                  <a:lnTo>
                    <a:pt x="3207" y="4912"/>
                  </a:lnTo>
                  <a:lnTo>
                    <a:pt x="3216" y="4905"/>
                  </a:lnTo>
                  <a:lnTo>
                    <a:pt x="3226" y="4896"/>
                  </a:lnTo>
                  <a:lnTo>
                    <a:pt x="3232" y="4887"/>
                  </a:lnTo>
                  <a:lnTo>
                    <a:pt x="3238" y="4880"/>
                  </a:lnTo>
                  <a:lnTo>
                    <a:pt x="3241" y="4862"/>
                  </a:lnTo>
                  <a:lnTo>
                    <a:pt x="3244" y="4840"/>
                  </a:lnTo>
                  <a:lnTo>
                    <a:pt x="3244" y="4818"/>
                  </a:lnTo>
                  <a:lnTo>
                    <a:pt x="3238" y="4799"/>
                  </a:lnTo>
                  <a:lnTo>
                    <a:pt x="3219" y="4790"/>
                  </a:lnTo>
                  <a:lnTo>
                    <a:pt x="3195" y="4784"/>
                  </a:lnTo>
                  <a:lnTo>
                    <a:pt x="3170" y="4781"/>
                  </a:lnTo>
                  <a:lnTo>
                    <a:pt x="3151" y="4784"/>
                  </a:lnTo>
                  <a:lnTo>
                    <a:pt x="3126" y="4790"/>
                  </a:lnTo>
                  <a:lnTo>
                    <a:pt x="3101" y="4796"/>
                  </a:lnTo>
                  <a:lnTo>
                    <a:pt x="3079" y="4799"/>
                  </a:lnTo>
                  <a:lnTo>
                    <a:pt x="3070" y="4796"/>
                  </a:lnTo>
                  <a:lnTo>
                    <a:pt x="3060" y="4793"/>
                  </a:lnTo>
                  <a:lnTo>
                    <a:pt x="3048" y="4790"/>
                  </a:lnTo>
                  <a:lnTo>
                    <a:pt x="3038" y="4784"/>
                  </a:lnTo>
                  <a:lnTo>
                    <a:pt x="3029" y="4781"/>
                  </a:lnTo>
                  <a:lnTo>
                    <a:pt x="3013" y="4774"/>
                  </a:lnTo>
                  <a:lnTo>
                    <a:pt x="2992" y="4765"/>
                  </a:lnTo>
                  <a:lnTo>
                    <a:pt x="2970" y="4762"/>
                  </a:lnTo>
                  <a:lnTo>
                    <a:pt x="2963" y="4765"/>
                  </a:lnTo>
                  <a:lnTo>
                    <a:pt x="2951" y="4768"/>
                  </a:lnTo>
                  <a:lnTo>
                    <a:pt x="2942" y="4774"/>
                  </a:lnTo>
                  <a:lnTo>
                    <a:pt x="2932" y="4781"/>
                  </a:lnTo>
                  <a:lnTo>
                    <a:pt x="2923" y="4784"/>
                  </a:lnTo>
                  <a:lnTo>
                    <a:pt x="2913" y="4787"/>
                  </a:lnTo>
                  <a:lnTo>
                    <a:pt x="2901" y="4793"/>
                  </a:lnTo>
                  <a:lnTo>
                    <a:pt x="2888" y="4796"/>
                  </a:lnTo>
                  <a:lnTo>
                    <a:pt x="2882" y="4802"/>
                  </a:lnTo>
                  <a:lnTo>
                    <a:pt x="2867" y="4821"/>
                  </a:lnTo>
                  <a:lnTo>
                    <a:pt x="2851" y="4849"/>
                  </a:lnTo>
                  <a:lnTo>
                    <a:pt x="2839" y="4871"/>
                  </a:lnTo>
                  <a:lnTo>
                    <a:pt x="2832" y="4877"/>
                  </a:lnTo>
                  <a:lnTo>
                    <a:pt x="2826" y="4884"/>
                  </a:lnTo>
                  <a:lnTo>
                    <a:pt x="2817" y="4893"/>
                  </a:lnTo>
                  <a:lnTo>
                    <a:pt x="2807" y="4899"/>
                  </a:lnTo>
                  <a:lnTo>
                    <a:pt x="2798" y="4902"/>
                  </a:lnTo>
                  <a:lnTo>
                    <a:pt x="2782" y="4899"/>
                  </a:lnTo>
                  <a:lnTo>
                    <a:pt x="2764" y="4893"/>
                  </a:lnTo>
                  <a:lnTo>
                    <a:pt x="2745" y="4884"/>
                  </a:lnTo>
                  <a:lnTo>
                    <a:pt x="2726" y="4877"/>
                  </a:lnTo>
                  <a:lnTo>
                    <a:pt x="2720" y="4874"/>
                  </a:lnTo>
                  <a:lnTo>
                    <a:pt x="2710" y="4874"/>
                  </a:lnTo>
                  <a:lnTo>
                    <a:pt x="2701" y="4871"/>
                  </a:lnTo>
                  <a:lnTo>
                    <a:pt x="2692" y="4871"/>
                  </a:lnTo>
                  <a:lnTo>
                    <a:pt x="2682" y="4868"/>
                  </a:lnTo>
                  <a:lnTo>
                    <a:pt x="2679" y="4862"/>
                  </a:lnTo>
                  <a:lnTo>
                    <a:pt x="2676" y="4855"/>
                  </a:lnTo>
                  <a:lnTo>
                    <a:pt x="2676" y="4846"/>
                  </a:lnTo>
                  <a:lnTo>
                    <a:pt x="2676" y="4837"/>
                  </a:lnTo>
                  <a:lnTo>
                    <a:pt x="2676" y="4831"/>
                  </a:lnTo>
                  <a:lnTo>
                    <a:pt x="2679" y="4821"/>
                  </a:lnTo>
                  <a:lnTo>
                    <a:pt x="2679" y="4815"/>
                  </a:lnTo>
                  <a:lnTo>
                    <a:pt x="2679" y="4806"/>
                  </a:lnTo>
                  <a:lnTo>
                    <a:pt x="2679" y="4793"/>
                  </a:lnTo>
                  <a:lnTo>
                    <a:pt x="2679" y="4784"/>
                  </a:lnTo>
                  <a:lnTo>
                    <a:pt x="2679" y="4777"/>
                  </a:lnTo>
                  <a:lnTo>
                    <a:pt x="2673" y="4768"/>
                  </a:lnTo>
                  <a:lnTo>
                    <a:pt x="2667" y="4759"/>
                  </a:lnTo>
                  <a:lnTo>
                    <a:pt x="2657" y="4749"/>
                  </a:lnTo>
                  <a:lnTo>
                    <a:pt x="2648" y="4740"/>
                  </a:lnTo>
                  <a:lnTo>
                    <a:pt x="2642" y="4734"/>
                  </a:lnTo>
                  <a:lnTo>
                    <a:pt x="2636" y="4727"/>
                  </a:lnTo>
                  <a:lnTo>
                    <a:pt x="2626" y="4718"/>
                  </a:lnTo>
                  <a:lnTo>
                    <a:pt x="2617" y="4709"/>
                  </a:lnTo>
                  <a:lnTo>
                    <a:pt x="2611" y="4699"/>
                  </a:lnTo>
                  <a:lnTo>
                    <a:pt x="2601" y="4696"/>
                  </a:lnTo>
                  <a:lnTo>
                    <a:pt x="2582" y="4693"/>
                  </a:lnTo>
                  <a:lnTo>
                    <a:pt x="2554" y="4693"/>
                  </a:lnTo>
                  <a:lnTo>
                    <a:pt x="2529" y="4693"/>
                  </a:lnTo>
                  <a:lnTo>
                    <a:pt x="2511" y="4690"/>
                  </a:lnTo>
                  <a:lnTo>
                    <a:pt x="2504" y="4678"/>
                  </a:lnTo>
                  <a:lnTo>
                    <a:pt x="2498" y="4662"/>
                  </a:lnTo>
                  <a:lnTo>
                    <a:pt x="2492" y="4643"/>
                  </a:lnTo>
                  <a:lnTo>
                    <a:pt x="2486" y="4631"/>
                  </a:lnTo>
                  <a:lnTo>
                    <a:pt x="2479" y="4624"/>
                  </a:lnTo>
                  <a:lnTo>
                    <a:pt x="2470" y="4621"/>
                  </a:lnTo>
                  <a:lnTo>
                    <a:pt x="2458" y="4618"/>
                  </a:lnTo>
                  <a:lnTo>
                    <a:pt x="2448" y="4615"/>
                  </a:lnTo>
                  <a:lnTo>
                    <a:pt x="2439" y="4612"/>
                  </a:lnTo>
                  <a:lnTo>
                    <a:pt x="2420" y="4612"/>
                  </a:lnTo>
                  <a:lnTo>
                    <a:pt x="2398" y="4615"/>
                  </a:lnTo>
                  <a:lnTo>
                    <a:pt x="2376" y="4618"/>
                  </a:lnTo>
                  <a:lnTo>
                    <a:pt x="2361" y="4621"/>
                  </a:lnTo>
                  <a:lnTo>
                    <a:pt x="2339" y="4624"/>
                  </a:lnTo>
                  <a:lnTo>
                    <a:pt x="2317" y="4628"/>
                  </a:lnTo>
                  <a:lnTo>
                    <a:pt x="2301" y="4628"/>
                  </a:lnTo>
                  <a:lnTo>
                    <a:pt x="2295" y="4621"/>
                  </a:lnTo>
                  <a:lnTo>
                    <a:pt x="2286" y="4612"/>
                  </a:lnTo>
                  <a:lnTo>
                    <a:pt x="2280" y="4599"/>
                  </a:lnTo>
                  <a:lnTo>
                    <a:pt x="2270" y="4590"/>
                  </a:lnTo>
                  <a:lnTo>
                    <a:pt x="2264" y="4581"/>
                  </a:lnTo>
                  <a:lnTo>
                    <a:pt x="2245" y="4571"/>
                  </a:lnTo>
                  <a:lnTo>
                    <a:pt x="2223" y="4559"/>
                  </a:lnTo>
                  <a:lnTo>
                    <a:pt x="2198" y="4549"/>
                  </a:lnTo>
                  <a:lnTo>
                    <a:pt x="2177" y="4546"/>
                  </a:lnTo>
                  <a:lnTo>
                    <a:pt x="2158" y="4549"/>
                  </a:lnTo>
                  <a:lnTo>
                    <a:pt x="2136" y="4556"/>
                  </a:lnTo>
                  <a:lnTo>
                    <a:pt x="2111" y="4562"/>
                  </a:lnTo>
                  <a:lnTo>
                    <a:pt x="2092" y="4568"/>
                  </a:lnTo>
                  <a:lnTo>
                    <a:pt x="2061" y="4565"/>
                  </a:lnTo>
                  <a:lnTo>
                    <a:pt x="2024" y="4559"/>
                  </a:lnTo>
                  <a:lnTo>
                    <a:pt x="1992" y="4553"/>
                  </a:lnTo>
                  <a:lnTo>
                    <a:pt x="1974" y="4549"/>
                  </a:lnTo>
                  <a:lnTo>
                    <a:pt x="1949" y="4540"/>
                  </a:lnTo>
                  <a:lnTo>
                    <a:pt x="1930" y="4531"/>
                  </a:lnTo>
                  <a:lnTo>
                    <a:pt x="1914" y="4509"/>
                  </a:lnTo>
                  <a:lnTo>
                    <a:pt x="1902" y="4481"/>
                  </a:lnTo>
                  <a:lnTo>
                    <a:pt x="1895" y="4459"/>
                  </a:lnTo>
                  <a:lnTo>
                    <a:pt x="1892" y="4437"/>
                  </a:lnTo>
                  <a:lnTo>
                    <a:pt x="1892" y="4409"/>
                  </a:lnTo>
                  <a:lnTo>
                    <a:pt x="1895" y="4387"/>
                  </a:lnTo>
                  <a:lnTo>
                    <a:pt x="1899" y="4371"/>
                  </a:lnTo>
                  <a:lnTo>
                    <a:pt x="1908" y="4350"/>
                  </a:lnTo>
                  <a:lnTo>
                    <a:pt x="1914" y="4331"/>
                  </a:lnTo>
                  <a:lnTo>
                    <a:pt x="1917" y="4312"/>
                  </a:lnTo>
                  <a:lnTo>
                    <a:pt x="1914" y="4303"/>
                  </a:lnTo>
                  <a:lnTo>
                    <a:pt x="1911" y="4290"/>
                  </a:lnTo>
                  <a:lnTo>
                    <a:pt x="1905" y="4281"/>
                  </a:lnTo>
                  <a:lnTo>
                    <a:pt x="1899" y="4268"/>
                  </a:lnTo>
                  <a:lnTo>
                    <a:pt x="1895" y="4262"/>
                  </a:lnTo>
                  <a:lnTo>
                    <a:pt x="1886" y="4256"/>
                  </a:lnTo>
                  <a:lnTo>
                    <a:pt x="1877" y="4250"/>
                  </a:lnTo>
                  <a:lnTo>
                    <a:pt x="1867" y="4243"/>
                  </a:lnTo>
                  <a:lnTo>
                    <a:pt x="1858" y="4237"/>
                  </a:lnTo>
                  <a:lnTo>
                    <a:pt x="1849" y="4234"/>
                  </a:lnTo>
                  <a:lnTo>
                    <a:pt x="1833" y="4234"/>
                  </a:lnTo>
                  <a:lnTo>
                    <a:pt x="1814" y="4234"/>
                  </a:lnTo>
                  <a:lnTo>
                    <a:pt x="1796" y="4234"/>
                  </a:lnTo>
                  <a:lnTo>
                    <a:pt x="1777" y="4240"/>
                  </a:lnTo>
                  <a:lnTo>
                    <a:pt x="1755" y="4247"/>
                  </a:lnTo>
                  <a:lnTo>
                    <a:pt x="1739" y="4256"/>
                  </a:lnTo>
                  <a:lnTo>
                    <a:pt x="1730" y="4259"/>
                  </a:lnTo>
                  <a:lnTo>
                    <a:pt x="1724" y="4265"/>
                  </a:lnTo>
                  <a:lnTo>
                    <a:pt x="1714" y="4272"/>
                  </a:lnTo>
                  <a:lnTo>
                    <a:pt x="1705" y="4278"/>
                  </a:lnTo>
                  <a:lnTo>
                    <a:pt x="1696" y="4281"/>
                  </a:lnTo>
                  <a:lnTo>
                    <a:pt x="1674" y="4281"/>
                  </a:lnTo>
                  <a:lnTo>
                    <a:pt x="1646" y="4278"/>
                  </a:lnTo>
                  <a:lnTo>
                    <a:pt x="1624" y="4275"/>
                  </a:lnTo>
                  <a:lnTo>
                    <a:pt x="1608" y="4278"/>
                  </a:lnTo>
                  <a:lnTo>
                    <a:pt x="1586" y="4284"/>
                  </a:lnTo>
                  <a:lnTo>
                    <a:pt x="1571" y="4290"/>
                  </a:lnTo>
                  <a:lnTo>
                    <a:pt x="1543" y="4290"/>
                  </a:lnTo>
                  <a:lnTo>
                    <a:pt x="1511" y="4287"/>
                  </a:lnTo>
                  <a:lnTo>
                    <a:pt x="1483" y="4287"/>
                  </a:lnTo>
                  <a:lnTo>
                    <a:pt x="1468" y="4287"/>
                  </a:lnTo>
                  <a:lnTo>
                    <a:pt x="1446" y="4287"/>
                  </a:lnTo>
                  <a:lnTo>
                    <a:pt x="1427" y="4284"/>
                  </a:lnTo>
                  <a:lnTo>
                    <a:pt x="1405" y="4275"/>
                  </a:lnTo>
                  <a:lnTo>
                    <a:pt x="1380" y="4259"/>
                  </a:lnTo>
                  <a:lnTo>
                    <a:pt x="1361" y="4243"/>
                  </a:lnTo>
                  <a:lnTo>
                    <a:pt x="1346" y="4225"/>
                  </a:lnTo>
                  <a:lnTo>
                    <a:pt x="1333" y="4203"/>
                  </a:lnTo>
                  <a:lnTo>
                    <a:pt x="1324" y="4184"/>
                  </a:lnTo>
                  <a:lnTo>
                    <a:pt x="1321" y="4169"/>
                  </a:lnTo>
                  <a:lnTo>
                    <a:pt x="1321" y="4150"/>
                  </a:lnTo>
                  <a:lnTo>
                    <a:pt x="1321" y="4131"/>
                  </a:lnTo>
                  <a:lnTo>
                    <a:pt x="1324" y="4119"/>
                  </a:lnTo>
                  <a:lnTo>
                    <a:pt x="1343" y="4106"/>
                  </a:lnTo>
                  <a:lnTo>
                    <a:pt x="1368" y="4103"/>
                  </a:lnTo>
                  <a:lnTo>
                    <a:pt x="1386" y="4100"/>
                  </a:lnTo>
                  <a:lnTo>
                    <a:pt x="1408" y="4103"/>
                  </a:lnTo>
                  <a:lnTo>
                    <a:pt x="1433" y="4109"/>
                  </a:lnTo>
                  <a:lnTo>
                    <a:pt x="1458" y="4119"/>
                  </a:lnTo>
                  <a:lnTo>
                    <a:pt x="1480" y="4122"/>
                  </a:lnTo>
                  <a:lnTo>
                    <a:pt x="1499" y="4115"/>
                  </a:lnTo>
                  <a:lnTo>
                    <a:pt x="1518" y="4103"/>
                  </a:lnTo>
                  <a:lnTo>
                    <a:pt x="1536" y="4097"/>
                  </a:lnTo>
                  <a:lnTo>
                    <a:pt x="1561" y="4084"/>
                  </a:lnTo>
                  <a:lnTo>
                    <a:pt x="1589" y="4072"/>
                  </a:lnTo>
                  <a:lnTo>
                    <a:pt x="1611" y="4059"/>
                  </a:lnTo>
                  <a:lnTo>
                    <a:pt x="1618" y="4053"/>
                  </a:lnTo>
                  <a:lnTo>
                    <a:pt x="1621" y="4041"/>
                  </a:lnTo>
                  <a:lnTo>
                    <a:pt x="1627" y="4031"/>
                  </a:lnTo>
                  <a:lnTo>
                    <a:pt x="1630" y="4019"/>
                  </a:lnTo>
                  <a:lnTo>
                    <a:pt x="1633" y="4012"/>
                  </a:lnTo>
                  <a:lnTo>
                    <a:pt x="1636" y="3987"/>
                  </a:lnTo>
                  <a:lnTo>
                    <a:pt x="1633" y="3962"/>
                  </a:lnTo>
                  <a:lnTo>
                    <a:pt x="1630" y="3937"/>
                  </a:lnTo>
                  <a:lnTo>
                    <a:pt x="1618" y="3919"/>
                  </a:lnTo>
                  <a:lnTo>
                    <a:pt x="1605" y="3916"/>
                  </a:lnTo>
                  <a:lnTo>
                    <a:pt x="1586" y="3919"/>
                  </a:lnTo>
                  <a:lnTo>
                    <a:pt x="1571" y="3922"/>
                  </a:lnTo>
                  <a:lnTo>
                    <a:pt x="1555" y="3925"/>
                  </a:lnTo>
                  <a:lnTo>
                    <a:pt x="1533" y="3922"/>
                  </a:lnTo>
                  <a:lnTo>
                    <a:pt x="1505" y="3919"/>
                  </a:lnTo>
                  <a:lnTo>
                    <a:pt x="1480" y="3916"/>
                  </a:lnTo>
                  <a:lnTo>
                    <a:pt x="1458" y="3912"/>
                  </a:lnTo>
                  <a:lnTo>
                    <a:pt x="1449" y="3916"/>
                  </a:lnTo>
                  <a:lnTo>
                    <a:pt x="1436" y="3919"/>
                  </a:lnTo>
                  <a:lnTo>
                    <a:pt x="1427" y="3922"/>
                  </a:lnTo>
                  <a:lnTo>
                    <a:pt x="1415" y="3925"/>
                  </a:lnTo>
                  <a:lnTo>
                    <a:pt x="1408" y="3928"/>
                  </a:lnTo>
                  <a:lnTo>
                    <a:pt x="1399" y="3931"/>
                  </a:lnTo>
                  <a:lnTo>
                    <a:pt x="1390" y="3934"/>
                  </a:lnTo>
                  <a:lnTo>
                    <a:pt x="1377" y="3941"/>
                  </a:lnTo>
                  <a:lnTo>
                    <a:pt x="1368" y="3944"/>
                  </a:lnTo>
                  <a:lnTo>
                    <a:pt x="1358" y="3947"/>
                  </a:lnTo>
                  <a:lnTo>
                    <a:pt x="1343" y="3947"/>
                  </a:lnTo>
                  <a:lnTo>
                    <a:pt x="1321" y="3947"/>
                  </a:lnTo>
                  <a:lnTo>
                    <a:pt x="1302" y="3947"/>
                  </a:lnTo>
                  <a:lnTo>
                    <a:pt x="1274" y="3944"/>
                  </a:lnTo>
                  <a:lnTo>
                    <a:pt x="1240" y="3937"/>
                  </a:lnTo>
                  <a:lnTo>
                    <a:pt x="1205" y="3934"/>
                  </a:lnTo>
                  <a:lnTo>
                    <a:pt x="1174" y="3931"/>
                  </a:lnTo>
                  <a:lnTo>
                    <a:pt x="1152" y="3931"/>
                  </a:lnTo>
                  <a:lnTo>
                    <a:pt x="1127" y="3931"/>
                  </a:lnTo>
                  <a:lnTo>
                    <a:pt x="1105" y="3934"/>
                  </a:lnTo>
                  <a:lnTo>
                    <a:pt x="1096" y="3937"/>
                  </a:lnTo>
                  <a:lnTo>
                    <a:pt x="1087" y="3941"/>
                  </a:lnTo>
                  <a:lnTo>
                    <a:pt x="1074" y="3947"/>
                  </a:lnTo>
                  <a:lnTo>
                    <a:pt x="1065" y="3953"/>
                  </a:lnTo>
                  <a:lnTo>
                    <a:pt x="1055" y="3956"/>
                  </a:lnTo>
                  <a:lnTo>
                    <a:pt x="1037" y="3959"/>
                  </a:lnTo>
                  <a:lnTo>
                    <a:pt x="1015" y="3966"/>
                  </a:lnTo>
                  <a:lnTo>
                    <a:pt x="996" y="3972"/>
                  </a:lnTo>
                  <a:lnTo>
                    <a:pt x="968" y="3978"/>
                  </a:lnTo>
                  <a:lnTo>
                    <a:pt x="943" y="3987"/>
                  </a:lnTo>
                  <a:lnTo>
                    <a:pt x="921" y="4003"/>
                  </a:lnTo>
                  <a:lnTo>
                    <a:pt x="899" y="4025"/>
                  </a:lnTo>
                  <a:lnTo>
                    <a:pt x="884" y="4047"/>
                  </a:lnTo>
                  <a:lnTo>
                    <a:pt x="877" y="4065"/>
                  </a:lnTo>
                  <a:lnTo>
                    <a:pt x="871" y="4087"/>
                  </a:lnTo>
                  <a:lnTo>
                    <a:pt x="871" y="4106"/>
                  </a:lnTo>
                  <a:lnTo>
                    <a:pt x="877" y="4115"/>
                  </a:lnTo>
                  <a:lnTo>
                    <a:pt x="884" y="4122"/>
                  </a:lnTo>
                  <a:lnTo>
                    <a:pt x="896" y="4131"/>
                  </a:lnTo>
                  <a:lnTo>
                    <a:pt x="906" y="4137"/>
                  </a:lnTo>
                  <a:lnTo>
                    <a:pt x="915" y="4147"/>
                  </a:lnTo>
                  <a:lnTo>
                    <a:pt x="921" y="4153"/>
                  </a:lnTo>
                  <a:lnTo>
                    <a:pt x="934" y="4165"/>
                  </a:lnTo>
                  <a:lnTo>
                    <a:pt x="946" y="4181"/>
                  </a:lnTo>
                  <a:lnTo>
                    <a:pt x="959" y="4197"/>
                  </a:lnTo>
                  <a:lnTo>
                    <a:pt x="962" y="4212"/>
                  </a:lnTo>
                  <a:lnTo>
                    <a:pt x="962" y="4218"/>
                  </a:lnTo>
                  <a:lnTo>
                    <a:pt x="959" y="4228"/>
                  </a:lnTo>
                  <a:lnTo>
                    <a:pt x="952" y="4234"/>
                  </a:lnTo>
                  <a:lnTo>
                    <a:pt x="946" y="4243"/>
                  </a:lnTo>
                  <a:lnTo>
                    <a:pt x="940" y="4247"/>
                  </a:lnTo>
                  <a:lnTo>
                    <a:pt x="918" y="4256"/>
                  </a:lnTo>
                  <a:lnTo>
                    <a:pt x="887" y="4259"/>
                  </a:lnTo>
                  <a:lnTo>
                    <a:pt x="856" y="4262"/>
                  </a:lnTo>
                  <a:lnTo>
                    <a:pt x="831" y="4262"/>
                  </a:lnTo>
                  <a:lnTo>
                    <a:pt x="790" y="4262"/>
                  </a:lnTo>
                  <a:lnTo>
                    <a:pt x="743" y="4262"/>
                  </a:lnTo>
                  <a:lnTo>
                    <a:pt x="703" y="4259"/>
                  </a:lnTo>
                  <a:lnTo>
                    <a:pt x="681" y="4256"/>
                  </a:lnTo>
                  <a:lnTo>
                    <a:pt x="656" y="4250"/>
                  </a:lnTo>
                  <a:lnTo>
                    <a:pt x="634" y="4247"/>
                  </a:lnTo>
                  <a:lnTo>
                    <a:pt x="621" y="4250"/>
                  </a:lnTo>
                  <a:lnTo>
                    <a:pt x="603" y="4253"/>
                  </a:lnTo>
                  <a:lnTo>
                    <a:pt x="587" y="4253"/>
                  </a:lnTo>
                  <a:lnTo>
                    <a:pt x="575" y="4250"/>
                  </a:lnTo>
                  <a:lnTo>
                    <a:pt x="568" y="4240"/>
                  </a:lnTo>
                  <a:lnTo>
                    <a:pt x="568" y="4222"/>
                  </a:lnTo>
                  <a:lnTo>
                    <a:pt x="568" y="4206"/>
                  </a:lnTo>
                  <a:lnTo>
                    <a:pt x="575" y="4190"/>
                  </a:lnTo>
                  <a:lnTo>
                    <a:pt x="578" y="4184"/>
                  </a:lnTo>
                  <a:lnTo>
                    <a:pt x="587" y="4175"/>
                  </a:lnTo>
                  <a:lnTo>
                    <a:pt x="593" y="4169"/>
                  </a:lnTo>
                  <a:lnTo>
                    <a:pt x="603" y="4159"/>
                  </a:lnTo>
                  <a:lnTo>
                    <a:pt x="606" y="4153"/>
                  </a:lnTo>
                  <a:lnTo>
                    <a:pt x="606" y="4131"/>
                  </a:lnTo>
                  <a:lnTo>
                    <a:pt x="596" y="4103"/>
                  </a:lnTo>
                  <a:lnTo>
                    <a:pt x="587" y="4078"/>
                  </a:lnTo>
                  <a:lnTo>
                    <a:pt x="575" y="4059"/>
                  </a:lnTo>
                  <a:lnTo>
                    <a:pt x="556" y="4047"/>
                  </a:lnTo>
                  <a:lnTo>
                    <a:pt x="534" y="4041"/>
                  </a:lnTo>
                  <a:lnTo>
                    <a:pt x="512" y="4034"/>
                  </a:lnTo>
                  <a:lnTo>
                    <a:pt x="487" y="4028"/>
                  </a:lnTo>
                  <a:lnTo>
                    <a:pt x="456" y="4022"/>
                  </a:lnTo>
                  <a:lnTo>
                    <a:pt x="431" y="4019"/>
                  </a:lnTo>
                  <a:lnTo>
                    <a:pt x="406" y="4025"/>
                  </a:lnTo>
                  <a:lnTo>
                    <a:pt x="378" y="4034"/>
                  </a:lnTo>
                  <a:lnTo>
                    <a:pt x="353" y="4041"/>
                  </a:lnTo>
                  <a:lnTo>
                    <a:pt x="331" y="4050"/>
                  </a:lnTo>
                  <a:lnTo>
                    <a:pt x="306" y="4056"/>
                  </a:lnTo>
                  <a:lnTo>
                    <a:pt x="284" y="4062"/>
                  </a:lnTo>
                  <a:lnTo>
                    <a:pt x="244" y="4062"/>
                  </a:lnTo>
                  <a:lnTo>
                    <a:pt x="194" y="4059"/>
                  </a:lnTo>
                  <a:lnTo>
                    <a:pt x="144" y="4053"/>
                  </a:lnTo>
                  <a:lnTo>
                    <a:pt x="103" y="4047"/>
                  </a:lnTo>
                  <a:lnTo>
                    <a:pt x="78" y="4041"/>
                  </a:lnTo>
                  <a:lnTo>
                    <a:pt x="50" y="4028"/>
                  </a:lnTo>
                  <a:lnTo>
                    <a:pt x="25" y="4022"/>
                  </a:lnTo>
                  <a:lnTo>
                    <a:pt x="16" y="4022"/>
                  </a:lnTo>
                  <a:lnTo>
                    <a:pt x="6" y="4022"/>
                  </a:lnTo>
                  <a:lnTo>
                    <a:pt x="3" y="4012"/>
                  </a:lnTo>
                  <a:lnTo>
                    <a:pt x="0" y="4003"/>
                  </a:lnTo>
                  <a:lnTo>
                    <a:pt x="0" y="3997"/>
                  </a:lnTo>
                  <a:lnTo>
                    <a:pt x="0" y="3991"/>
                  </a:lnTo>
                  <a:lnTo>
                    <a:pt x="12" y="3981"/>
                  </a:lnTo>
                  <a:lnTo>
                    <a:pt x="31" y="3975"/>
                  </a:lnTo>
                  <a:lnTo>
                    <a:pt x="53" y="3969"/>
                  </a:lnTo>
                  <a:lnTo>
                    <a:pt x="69" y="3962"/>
                  </a:lnTo>
                  <a:lnTo>
                    <a:pt x="72" y="3956"/>
                  </a:lnTo>
                  <a:lnTo>
                    <a:pt x="72" y="3950"/>
                  </a:lnTo>
                  <a:lnTo>
                    <a:pt x="72" y="3941"/>
                  </a:lnTo>
                  <a:lnTo>
                    <a:pt x="75" y="3931"/>
                  </a:lnTo>
                  <a:lnTo>
                    <a:pt x="75" y="3922"/>
                  </a:lnTo>
                  <a:lnTo>
                    <a:pt x="78" y="3916"/>
                  </a:lnTo>
                  <a:lnTo>
                    <a:pt x="81" y="3912"/>
                  </a:lnTo>
                  <a:lnTo>
                    <a:pt x="84" y="3909"/>
                  </a:lnTo>
                  <a:lnTo>
                    <a:pt x="91" y="3909"/>
                  </a:lnTo>
                  <a:lnTo>
                    <a:pt x="97" y="3912"/>
                  </a:lnTo>
                  <a:lnTo>
                    <a:pt x="100" y="3912"/>
                  </a:lnTo>
                  <a:lnTo>
                    <a:pt x="116" y="3906"/>
                  </a:lnTo>
                  <a:lnTo>
                    <a:pt x="137" y="3900"/>
                  </a:lnTo>
                  <a:lnTo>
                    <a:pt x="153" y="3894"/>
                  </a:lnTo>
                  <a:lnTo>
                    <a:pt x="159" y="3884"/>
                  </a:lnTo>
                  <a:lnTo>
                    <a:pt x="165" y="3875"/>
                  </a:lnTo>
                  <a:lnTo>
                    <a:pt x="175" y="3866"/>
                  </a:lnTo>
                  <a:lnTo>
                    <a:pt x="181" y="3856"/>
                  </a:lnTo>
                  <a:lnTo>
                    <a:pt x="187" y="3850"/>
                  </a:lnTo>
                  <a:lnTo>
                    <a:pt x="197" y="3844"/>
                  </a:lnTo>
                  <a:lnTo>
                    <a:pt x="209" y="3841"/>
                  </a:lnTo>
                  <a:lnTo>
                    <a:pt x="225" y="3834"/>
                  </a:lnTo>
                  <a:lnTo>
                    <a:pt x="234" y="3831"/>
                  </a:lnTo>
                  <a:lnTo>
                    <a:pt x="253" y="3825"/>
                  </a:lnTo>
                  <a:lnTo>
                    <a:pt x="272" y="3819"/>
                  </a:lnTo>
                  <a:lnTo>
                    <a:pt x="287" y="3809"/>
                  </a:lnTo>
                  <a:lnTo>
                    <a:pt x="294" y="3803"/>
                  </a:lnTo>
                  <a:lnTo>
                    <a:pt x="303" y="3797"/>
                  </a:lnTo>
                  <a:lnTo>
                    <a:pt x="309" y="3788"/>
                  </a:lnTo>
                  <a:lnTo>
                    <a:pt x="319" y="3778"/>
                  </a:lnTo>
                  <a:lnTo>
                    <a:pt x="322" y="3772"/>
                  </a:lnTo>
                  <a:lnTo>
                    <a:pt x="331" y="3756"/>
                  </a:lnTo>
                  <a:lnTo>
                    <a:pt x="337" y="3734"/>
                  </a:lnTo>
                  <a:lnTo>
                    <a:pt x="337" y="3719"/>
                  </a:lnTo>
                  <a:lnTo>
                    <a:pt x="334" y="3710"/>
                  </a:lnTo>
                  <a:lnTo>
                    <a:pt x="328" y="3703"/>
                  </a:lnTo>
                  <a:lnTo>
                    <a:pt x="319" y="3694"/>
                  </a:lnTo>
                  <a:lnTo>
                    <a:pt x="312" y="3685"/>
                  </a:lnTo>
                  <a:lnTo>
                    <a:pt x="303" y="3678"/>
                  </a:lnTo>
                  <a:lnTo>
                    <a:pt x="300" y="3669"/>
                  </a:lnTo>
                  <a:lnTo>
                    <a:pt x="306" y="3653"/>
                  </a:lnTo>
                  <a:lnTo>
                    <a:pt x="319" y="3635"/>
                  </a:lnTo>
                  <a:lnTo>
                    <a:pt x="328" y="3616"/>
                  </a:lnTo>
                  <a:lnTo>
                    <a:pt x="331" y="3597"/>
                  </a:lnTo>
                  <a:lnTo>
                    <a:pt x="331" y="3572"/>
                  </a:lnTo>
                  <a:lnTo>
                    <a:pt x="337" y="3553"/>
                  </a:lnTo>
                  <a:lnTo>
                    <a:pt x="353" y="3541"/>
                  </a:lnTo>
                  <a:lnTo>
                    <a:pt x="372" y="3535"/>
                  </a:lnTo>
                  <a:lnTo>
                    <a:pt x="393" y="3525"/>
                  </a:lnTo>
                  <a:lnTo>
                    <a:pt x="406" y="3516"/>
                  </a:lnTo>
                  <a:lnTo>
                    <a:pt x="409" y="3507"/>
                  </a:lnTo>
                  <a:lnTo>
                    <a:pt x="412" y="3500"/>
                  </a:lnTo>
                  <a:lnTo>
                    <a:pt x="415" y="3488"/>
                  </a:lnTo>
                  <a:lnTo>
                    <a:pt x="418" y="3478"/>
                  </a:lnTo>
                  <a:lnTo>
                    <a:pt x="422" y="3469"/>
                  </a:lnTo>
                  <a:lnTo>
                    <a:pt x="425" y="3466"/>
                  </a:lnTo>
                  <a:lnTo>
                    <a:pt x="431" y="3463"/>
                  </a:lnTo>
                  <a:lnTo>
                    <a:pt x="437" y="3463"/>
                  </a:lnTo>
                  <a:lnTo>
                    <a:pt x="443" y="3463"/>
                  </a:lnTo>
                  <a:lnTo>
                    <a:pt x="450" y="3466"/>
                  </a:lnTo>
                  <a:lnTo>
                    <a:pt x="456" y="3466"/>
                  </a:lnTo>
                  <a:lnTo>
                    <a:pt x="472" y="3460"/>
                  </a:lnTo>
                  <a:lnTo>
                    <a:pt x="493" y="3453"/>
                  </a:lnTo>
                  <a:lnTo>
                    <a:pt x="512" y="3450"/>
                  </a:lnTo>
                  <a:lnTo>
                    <a:pt x="531" y="3450"/>
                  </a:lnTo>
                  <a:lnTo>
                    <a:pt x="537" y="3453"/>
                  </a:lnTo>
                  <a:lnTo>
                    <a:pt x="543" y="3457"/>
                  </a:lnTo>
                  <a:lnTo>
                    <a:pt x="553" y="3466"/>
                  </a:lnTo>
                  <a:lnTo>
                    <a:pt x="559" y="3472"/>
                  </a:lnTo>
                  <a:lnTo>
                    <a:pt x="568" y="3475"/>
                  </a:lnTo>
                  <a:lnTo>
                    <a:pt x="575" y="3475"/>
                  </a:lnTo>
                  <a:lnTo>
                    <a:pt x="587" y="3475"/>
                  </a:lnTo>
                  <a:lnTo>
                    <a:pt x="596" y="3475"/>
                  </a:lnTo>
                  <a:lnTo>
                    <a:pt x="606" y="3475"/>
                  </a:lnTo>
                  <a:lnTo>
                    <a:pt x="615" y="3469"/>
                  </a:lnTo>
                  <a:lnTo>
                    <a:pt x="625" y="3457"/>
                  </a:lnTo>
                  <a:lnTo>
                    <a:pt x="631" y="3438"/>
                  </a:lnTo>
                  <a:lnTo>
                    <a:pt x="637" y="3416"/>
                  </a:lnTo>
                  <a:lnTo>
                    <a:pt x="637" y="3397"/>
                  </a:lnTo>
                  <a:lnTo>
                    <a:pt x="634" y="3382"/>
                  </a:lnTo>
                  <a:lnTo>
                    <a:pt x="628" y="3363"/>
                  </a:lnTo>
                  <a:lnTo>
                    <a:pt x="625" y="3344"/>
                  </a:lnTo>
                  <a:lnTo>
                    <a:pt x="631" y="3325"/>
                  </a:lnTo>
                  <a:lnTo>
                    <a:pt x="640" y="3300"/>
                  </a:lnTo>
                  <a:lnTo>
                    <a:pt x="650" y="3275"/>
                  </a:lnTo>
                  <a:lnTo>
                    <a:pt x="659" y="3257"/>
                  </a:lnTo>
                  <a:lnTo>
                    <a:pt x="662" y="3247"/>
                  </a:lnTo>
                  <a:lnTo>
                    <a:pt x="665" y="3238"/>
                  </a:lnTo>
                  <a:lnTo>
                    <a:pt x="668" y="3222"/>
                  </a:lnTo>
                  <a:lnTo>
                    <a:pt x="674" y="3201"/>
                  </a:lnTo>
                  <a:lnTo>
                    <a:pt x="681" y="3182"/>
                  </a:lnTo>
                  <a:lnTo>
                    <a:pt x="681" y="3176"/>
                  </a:lnTo>
                  <a:lnTo>
                    <a:pt x="681" y="3172"/>
                  </a:lnTo>
                  <a:lnTo>
                    <a:pt x="678" y="3166"/>
                  </a:lnTo>
                  <a:lnTo>
                    <a:pt x="674" y="3160"/>
                  </a:lnTo>
                  <a:lnTo>
                    <a:pt x="671" y="3151"/>
                  </a:lnTo>
                  <a:lnTo>
                    <a:pt x="671" y="3144"/>
                  </a:lnTo>
                  <a:lnTo>
                    <a:pt x="668" y="3141"/>
                  </a:lnTo>
                  <a:lnTo>
                    <a:pt x="665" y="3116"/>
                  </a:lnTo>
                  <a:lnTo>
                    <a:pt x="665" y="3085"/>
                  </a:lnTo>
                  <a:lnTo>
                    <a:pt x="668" y="3063"/>
                  </a:lnTo>
                  <a:lnTo>
                    <a:pt x="674" y="3054"/>
                  </a:lnTo>
                  <a:lnTo>
                    <a:pt x="681" y="3044"/>
                  </a:lnTo>
                  <a:lnTo>
                    <a:pt x="687" y="3035"/>
                  </a:lnTo>
                  <a:lnTo>
                    <a:pt x="696" y="3026"/>
                  </a:lnTo>
                  <a:lnTo>
                    <a:pt x="706" y="3023"/>
                  </a:lnTo>
                  <a:lnTo>
                    <a:pt x="718" y="3023"/>
                  </a:lnTo>
                  <a:lnTo>
                    <a:pt x="737" y="3023"/>
                  </a:lnTo>
                  <a:lnTo>
                    <a:pt x="753" y="3026"/>
                  </a:lnTo>
                  <a:lnTo>
                    <a:pt x="762" y="3023"/>
                  </a:lnTo>
                  <a:lnTo>
                    <a:pt x="762" y="3007"/>
                  </a:lnTo>
                  <a:lnTo>
                    <a:pt x="765" y="2985"/>
                  </a:lnTo>
                  <a:lnTo>
                    <a:pt x="771" y="2966"/>
                  </a:lnTo>
                  <a:lnTo>
                    <a:pt x="778" y="2960"/>
                  </a:lnTo>
                  <a:lnTo>
                    <a:pt x="790" y="2957"/>
                  </a:lnTo>
                  <a:lnTo>
                    <a:pt x="799" y="2951"/>
                  </a:lnTo>
                  <a:lnTo>
                    <a:pt x="809" y="2948"/>
                  </a:lnTo>
                  <a:lnTo>
                    <a:pt x="818" y="2944"/>
                  </a:lnTo>
                  <a:lnTo>
                    <a:pt x="837" y="2935"/>
                  </a:lnTo>
                  <a:lnTo>
                    <a:pt x="859" y="2923"/>
                  </a:lnTo>
                  <a:lnTo>
                    <a:pt x="874" y="2910"/>
                  </a:lnTo>
                  <a:lnTo>
                    <a:pt x="884" y="2895"/>
                  </a:lnTo>
                  <a:lnTo>
                    <a:pt x="890" y="2873"/>
                  </a:lnTo>
                  <a:lnTo>
                    <a:pt x="896" y="2857"/>
                  </a:lnTo>
                  <a:lnTo>
                    <a:pt x="902" y="2848"/>
                  </a:lnTo>
                  <a:lnTo>
                    <a:pt x="915" y="2838"/>
                  </a:lnTo>
                  <a:lnTo>
                    <a:pt x="927" y="2829"/>
                  </a:lnTo>
                  <a:lnTo>
                    <a:pt x="937" y="2823"/>
                  </a:lnTo>
                  <a:lnTo>
                    <a:pt x="946" y="2816"/>
                  </a:lnTo>
                  <a:lnTo>
                    <a:pt x="962" y="2804"/>
                  </a:lnTo>
                  <a:lnTo>
                    <a:pt x="984" y="2788"/>
                  </a:lnTo>
                  <a:lnTo>
                    <a:pt x="999" y="2773"/>
                  </a:lnTo>
                  <a:lnTo>
                    <a:pt x="1012" y="2754"/>
                  </a:lnTo>
                  <a:lnTo>
                    <a:pt x="1012" y="2735"/>
                  </a:lnTo>
                  <a:lnTo>
                    <a:pt x="1006" y="2710"/>
                  </a:lnTo>
                  <a:lnTo>
                    <a:pt x="999" y="2692"/>
                  </a:lnTo>
                  <a:lnTo>
                    <a:pt x="981" y="2673"/>
                  </a:lnTo>
                  <a:lnTo>
                    <a:pt x="952" y="2651"/>
                  </a:lnTo>
                  <a:lnTo>
                    <a:pt x="924" y="2632"/>
                  </a:lnTo>
                  <a:lnTo>
                    <a:pt x="902" y="2613"/>
                  </a:lnTo>
                  <a:lnTo>
                    <a:pt x="893" y="2598"/>
                  </a:lnTo>
                  <a:lnTo>
                    <a:pt x="884" y="2576"/>
                  </a:lnTo>
                  <a:lnTo>
                    <a:pt x="871" y="2557"/>
                  </a:lnTo>
                  <a:lnTo>
                    <a:pt x="856" y="2548"/>
                  </a:lnTo>
                  <a:lnTo>
                    <a:pt x="834" y="2542"/>
                  </a:lnTo>
                  <a:lnTo>
                    <a:pt x="818" y="2539"/>
                  </a:lnTo>
                  <a:lnTo>
                    <a:pt x="812" y="2539"/>
                  </a:lnTo>
                  <a:lnTo>
                    <a:pt x="809" y="2539"/>
                  </a:lnTo>
                  <a:lnTo>
                    <a:pt x="803" y="2539"/>
                  </a:lnTo>
                  <a:lnTo>
                    <a:pt x="799" y="2539"/>
                  </a:lnTo>
                  <a:lnTo>
                    <a:pt x="793" y="2532"/>
                  </a:lnTo>
                  <a:lnTo>
                    <a:pt x="787" y="2526"/>
                  </a:lnTo>
                  <a:lnTo>
                    <a:pt x="781" y="2517"/>
                  </a:lnTo>
                  <a:lnTo>
                    <a:pt x="774" y="2510"/>
                  </a:lnTo>
                  <a:lnTo>
                    <a:pt x="771" y="2501"/>
                  </a:lnTo>
                  <a:lnTo>
                    <a:pt x="768" y="2492"/>
                  </a:lnTo>
                  <a:lnTo>
                    <a:pt x="771" y="2473"/>
                  </a:lnTo>
                  <a:lnTo>
                    <a:pt x="784" y="2451"/>
                  </a:lnTo>
                  <a:lnTo>
                    <a:pt x="790" y="2432"/>
                  </a:lnTo>
                  <a:lnTo>
                    <a:pt x="793" y="2407"/>
                  </a:lnTo>
                  <a:lnTo>
                    <a:pt x="799" y="2376"/>
                  </a:lnTo>
                  <a:lnTo>
                    <a:pt x="799" y="2345"/>
                  </a:lnTo>
                  <a:lnTo>
                    <a:pt x="793" y="2320"/>
                  </a:lnTo>
                  <a:lnTo>
                    <a:pt x="781" y="2304"/>
                  </a:lnTo>
                  <a:lnTo>
                    <a:pt x="762" y="2289"/>
                  </a:lnTo>
                  <a:lnTo>
                    <a:pt x="740" y="2273"/>
                  </a:lnTo>
                  <a:lnTo>
                    <a:pt x="724" y="2258"/>
                  </a:lnTo>
                  <a:lnTo>
                    <a:pt x="706" y="2226"/>
                  </a:lnTo>
                  <a:lnTo>
                    <a:pt x="687" y="2192"/>
                  </a:lnTo>
                  <a:lnTo>
                    <a:pt x="671" y="2161"/>
                  </a:lnTo>
                  <a:lnTo>
                    <a:pt x="656" y="2139"/>
                  </a:lnTo>
                  <a:lnTo>
                    <a:pt x="640" y="2114"/>
                  </a:lnTo>
                  <a:lnTo>
                    <a:pt x="628" y="2092"/>
                  </a:lnTo>
                  <a:lnTo>
                    <a:pt x="625" y="2080"/>
                  </a:lnTo>
                  <a:lnTo>
                    <a:pt x="621" y="2064"/>
                  </a:lnTo>
                  <a:lnTo>
                    <a:pt x="625" y="2064"/>
                  </a:lnTo>
                  <a:lnTo>
                    <a:pt x="640" y="2061"/>
                  </a:lnTo>
                  <a:lnTo>
                    <a:pt x="662" y="2055"/>
                  </a:lnTo>
                  <a:lnTo>
                    <a:pt x="684" y="2048"/>
                  </a:lnTo>
                  <a:lnTo>
                    <a:pt x="696" y="2039"/>
                  </a:lnTo>
                  <a:lnTo>
                    <a:pt x="699" y="2033"/>
                  </a:lnTo>
                  <a:lnTo>
                    <a:pt x="699" y="2026"/>
                  </a:lnTo>
                  <a:lnTo>
                    <a:pt x="696" y="2017"/>
                  </a:lnTo>
                  <a:lnTo>
                    <a:pt x="696" y="2008"/>
                  </a:lnTo>
                  <a:lnTo>
                    <a:pt x="696" y="2001"/>
                  </a:lnTo>
                  <a:lnTo>
                    <a:pt x="696" y="1995"/>
                  </a:lnTo>
                  <a:lnTo>
                    <a:pt x="703" y="1989"/>
                  </a:lnTo>
                  <a:lnTo>
                    <a:pt x="712" y="1986"/>
                  </a:lnTo>
                  <a:lnTo>
                    <a:pt x="724" y="1983"/>
                  </a:lnTo>
                  <a:lnTo>
                    <a:pt x="734" y="1980"/>
                  </a:lnTo>
                  <a:lnTo>
                    <a:pt x="743" y="1980"/>
                  </a:lnTo>
                  <a:lnTo>
                    <a:pt x="765" y="1983"/>
                  </a:lnTo>
                  <a:lnTo>
                    <a:pt x="787" y="1992"/>
                  </a:lnTo>
                  <a:lnTo>
                    <a:pt x="809" y="1998"/>
                  </a:lnTo>
                  <a:lnTo>
                    <a:pt x="812" y="1998"/>
                  </a:lnTo>
                  <a:lnTo>
                    <a:pt x="818" y="1998"/>
                  </a:lnTo>
                  <a:lnTo>
                    <a:pt x="824" y="1998"/>
                  </a:lnTo>
                  <a:lnTo>
                    <a:pt x="828" y="1998"/>
                  </a:lnTo>
                  <a:lnTo>
                    <a:pt x="846" y="2011"/>
                  </a:lnTo>
                  <a:lnTo>
                    <a:pt x="865" y="2030"/>
                  </a:lnTo>
                  <a:lnTo>
                    <a:pt x="881" y="2055"/>
                  </a:lnTo>
                  <a:lnTo>
                    <a:pt x="890" y="2073"/>
                  </a:lnTo>
                  <a:lnTo>
                    <a:pt x="893" y="2095"/>
                  </a:lnTo>
                  <a:lnTo>
                    <a:pt x="890" y="2120"/>
                  </a:lnTo>
                  <a:lnTo>
                    <a:pt x="884" y="2142"/>
                  </a:lnTo>
                  <a:lnTo>
                    <a:pt x="881" y="2154"/>
                  </a:lnTo>
                  <a:lnTo>
                    <a:pt x="884" y="2164"/>
                  </a:lnTo>
                  <a:lnTo>
                    <a:pt x="896" y="2173"/>
                  </a:lnTo>
                  <a:lnTo>
                    <a:pt x="915" y="2186"/>
                  </a:lnTo>
                  <a:lnTo>
                    <a:pt x="934" y="2195"/>
                  </a:lnTo>
                  <a:lnTo>
                    <a:pt x="956" y="2204"/>
                  </a:lnTo>
                  <a:lnTo>
                    <a:pt x="971" y="2208"/>
                  </a:lnTo>
                  <a:lnTo>
                    <a:pt x="990" y="2201"/>
                  </a:lnTo>
                  <a:lnTo>
                    <a:pt x="1012" y="2189"/>
                  </a:lnTo>
                  <a:lnTo>
                    <a:pt x="1030" y="2176"/>
                  </a:lnTo>
                  <a:lnTo>
                    <a:pt x="1055" y="2164"/>
                  </a:lnTo>
                  <a:lnTo>
                    <a:pt x="1084" y="2148"/>
                  </a:lnTo>
                  <a:lnTo>
                    <a:pt x="1109" y="2139"/>
                  </a:lnTo>
                  <a:lnTo>
                    <a:pt x="1149" y="2126"/>
                  </a:lnTo>
                  <a:lnTo>
                    <a:pt x="1196" y="2114"/>
                  </a:lnTo>
                  <a:lnTo>
                    <a:pt x="1237" y="2098"/>
                  </a:lnTo>
                  <a:lnTo>
                    <a:pt x="1255" y="2089"/>
                  </a:lnTo>
                  <a:lnTo>
                    <a:pt x="1277" y="2076"/>
                  </a:lnTo>
                  <a:lnTo>
                    <a:pt x="1296" y="2070"/>
                  </a:lnTo>
                  <a:lnTo>
                    <a:pt x="1315" y="2067"/>
                  </a:lnTo>
                  <a:lnTo>
                    <a:pt x="1343" y="2070"/>
                  </a:lnTo>
                  <a:lnTo>
                    <a:pt x="1368" y="2070"/>
                  </a:lnTo>
                  <a:lnTo>
                    <a:pt x="1390" y="2070"/>
                  </a:lnTo>
                  <a:lnTo>
                    <a:pt x="1396" y="2064"/>
                  </a:lnTo>
                  <a:lnTo>
                    <a:pt x="1405" y="2058"/>
                  </a:lnTo>
                  <a:lnTo>
                    <a:pt x="1415" y="2051"/>
                  </a:lnTo>
                  <a:lnTo>
                    <a:pt x="1421" y="2045"/>
                  </a:lnTo>
                  <a:lnTo>
                    <a:pt x="1430" y="2039"/>
                  </a:lnTo>
                  <a:lnTo>
                    <a:pt x="1436" y="2033"/>
                  </a:lnTo>
                  <a:lnTo>
                    <a:pt x="1446" y="2030"/>
                  </a:lnTo>
                  <a:lnTo>
                    <a:pt x="1455" y="2030"/>
                  </a:lnTo>
                  <a:lnTo>
                    <a:pt x="1465" y="2026"/>
                  </a:lnTo>
                  <a:lnTo>
                    <a:pt x="1477" y="2026"/>
                  </a:lnTo>
                  <a:lnTo>
                    <a:pt x="1483" y="2030"/>
                  </a:lnTo>
                  <a:lnTo>
                    <a:pt x="1505" y="2039"/>
                  </a:lnTo>
                  <a:lnTo>
                    <a:pt x="1527" y="2061"/>
                  </a:lnTo>
                  <a:lnTo>
                    <a:pt x="1536" y="2080"/>
                  </a:lnTo>
                  <a:lnTo>
                    <a:pt x="1536" y="2095"/>
                  </a:lnTo>
                  <a:lnTo>
                    <a:pt x="1527" y="2114"/>
                  </a:lnTo>
                  <a:lnTo>
                    <a:pt x="1518" y="2129"/>
                  </a:lnTo>
                  <a:lnTo>
                    <a:pt x="1515" y="2145"/>
                  </a:lnTo>
                  <a:lnTo>
                    <a:pt x="1518" y="2170"/>
                  </a:lnTo>
                  <a:lnTo>
                    <a:pt x="1527" y="2195"/>
                  </a:lnTo>
                  <a:lnTo>
                    <a:pt x="1536" y="2214"/>
                  </a:lnTo>
                  <a:lnTo>
                    <a:pt x="1543" y="2220"/>
                  </a:lnTo>
                  <a:lnTo>
                    <a:pt x="1552" y="2223"/>
                  </a:lnTo>
                  <a:lnTo>
                    <a:pt x="1561" y="2226"/>
                  </a:lnTo>
                  <a:lnTo>
                    <a:pt x="1571" y="2226"/>
                  </a:lnTo>
                  <a:lnTo>
                    <a:pt x="1589" y="2226"/>
                  </a:lnTo>
                  <a:lnTo>
                    <a:pt x="1611" y="2220"/>
                  </a:lnTo>
                  <a:lnTo>
                    <a:pt x="1633" y="2214"/>
                  </a:lnTo>
                  <a:lnTo>
                    <a:pt x="1652" y="2208"/>
                  </a:lnTo>
                  <a:lnTo>
                    <a:pt x="1658" y="2204"/>
                  </a:lnTo>
                  <a:lnTo>
                    <a:pt x="1668" y="2204"/>
                  </a:lnTo>
                  <a:lnTo>
                    <a:pt x="1677" y="2201"/>
                  </a:lnTo>
                  <a:lnTo>
                    <a:pt x="1686" y="2198"/>
                  </a:lnTo>
                  <a:lnTo>
                    <a:pt x="1692" y="2198"/>
                  </a:lnTo>
                  <a:lnTo>
                    <a:pt x="1702" y="2201"/>
                  </a:lnTo>
                  <a:lnTo>
                    <a:pt x="1711" y="2204"/>
                  </a:lnTo>
                  <a:lnTo>
                    <a:pt x="1724" y="2211"/>
                  </a:lnTo>
                  <a:lnTo>
                    <a:pt x="1733" y="2214"/>
                  </a:lnTo>
                  <a:lnTo>
                    <a:pt x="1742" y="2217"/>
                  </a:lnTo>
                  <a:lnTo>
                    <a:pt x="1752" y="2220"/>
                  </a:lnTo>
                  <a:lnTo>
                    <a:pt x="1761" y="2223"/>
                  </a:lnTo>
                  <a:lnTo>
                    <a:pt x="1774" y="2223"/>
                  </a:lnTo>
                  <a:lnTo>
                    <a:pt x="1783" y="2226"/>
                  </a:lnTo>
                  <a:lnTo>
                    <a:pt x="1792" y="2226"/>
                  </a:lnTo>
                  <a:lnTo>
                    <a:pt x="1805" y="2226"/>
                  </a:lnTo>
                  <a:lnTo>
                    <a:pt x="1817" y="2226"/>
                  </a:lnTo>
                  <a:lnTo>
                    <a:pt x="1830" y="2226"/>
                  </a:lnTo>
                  <a:lnTo>
                    <a:pt x="1849" y="2233"/>
                  </a:lnTo>
                  <a:lnTo>
                    <a:pt x="1874" y="2239"/>
                  </a:lnTo>
                  <a:lnTo>
                    <a:pt x="1889" y="2251"/>
                  </a:lnTo>
                  <a:lnTo>
                    <a:pt x="1895" y="2264"/>
                  </a:lnTo>
                  <a:lnTo>
                    <a:pt x="1899" y="2286"/>
                  </a:lnTo>
                  <a:lnTo>
                    <a:pt x="1899" y="2304"/>
                  </a:lnTo>
                  <a:lnTo>
                    <a:pt x="1902" y="2323"/>
                  </a:lnTo>
                  <a:lnTo>
                    <a:pt x="1917" y="2345"/>
                  </a:lnTo>
                  <a:lnTo>
                    <a:pt x="1936" y="2370"/>
                  </a:lnTo>
                  <a:lnTo>
                    <a:pt x="1958" y="2386"/>
                  </a:lnTo>
                  <a:lnTo>
                    <a:pt x="1964" y="2389"/>
                  </a:lnTo>
                  <a:lnTo>
                    <a:pt x="1970" y="2389"/>
                  </a:lnTo>
                  <a:lnTo>
                    <a:pt x="1980" y="2389"/>
                  </a:lnTo>
                  <a:lnTo>
                    <a:pt x="1989" y="2389"/>
                  </a:lnTo>
                  <a:lnTo>
                    <a:pt x="1999" y="2389"/>
                  </a:lnTo>
                  <a:lnTo>
                    <a:pt x="2005" y="2389"/>
                  </a:lnTo>
                  <a:lnTo>
                    <a:pt x="2024" y="2398"/>
                  </a:lnTo>
                  <a:lnTo>
                    <a:pt x="2042" y="2414"/>
                  </a:lnTo>
                  <a:lnTo>
                    <a:pt x="2058" y="2423"/>
                  </a:lnTo>
                  <a:lnTo>
                    <a:pt x="2077" y="2426"/>
                  </a:lnTo>
                  <a:lnTo>
                    <a:pt x="2095" y="2426"/>
                  </a:lnTo>
                  <a:lnTo>
                    <a:pt x="2117" y="2426"/>
                  </a:lnTo>
                  <a:lnTo>
                    <a:pt x="2133" y="2423"/>
                  </a:lnTo>
                  <a:lnTo>
                    <a:pt x="2136" y="2417"/>
                  </a:lnTo>
                  <a:lnTo>
                    <a:pt x="2139" y="2411"/>
                  </a:lnTo>
                  <a:lnTo>
                    <a:pt x="2142" y="2404"/>
                  </a:lnTo>
                  <a:lnTo>
                    <a:pt x="2145" y="2398"/>
                  </a:lnTo>
                  <a:lnTo>
                    <a:pt x="2148" y="2395"/>
                  </a:lnTo>
                  <a:lnTo>
                    <a:pt x="2170" y="2376"/>
                  </a:lnTo>
                  <a:lnTo>
                    <a:pt x="2198" y="2361"/>
                  </a:lnTo>
                  <a:lnTo>
                    <a:pt x="2220" y="2342"/>
                  </a:lnTo>
                  <a:lnTo>
                    <a:pt x="2223" y="2329"/>
                  </a:lnTo>
                  <a:lnTo>
                    <a:pt x="2226" y="2311"/>
                  </a:lnTo>
                  <a:lnTo>
                    <a:pt x="2230" y="2292"/>
                  </a:lnTo>
                  <a:lnTo>
                    <a:pt x="2239" y="2282"/>
                  </a:lnTo>
                  <a:lnTo>
                    <a:pt x="2255" y="2276"/>
                  </a:lnTo>
                  <a:lnTo>
                    <a:pt x="2276" y="2276"/>
                  </a:lnTo>
                  <a:lnTo>
                    <a:pt x="2298" y="2279"/>
                  </a:lnTo>
                  <a:lnTo>
                    <a:pt x="2314" y="2286"/>
                  </a:lnTo>
                  <a:lnTo>
                    <a:pt x="2320" y="2292"/>
                  </a:lnTo>
                  <a:lnTo>
                    <a:pt x="2326" y="2301"/>
                  </a:lnTo>
                  <a:lnTo>
                    <a:pt x="2330" y="2311"/>
                  </a:lnTo>
                  <a:lnTo>
                    <a:pt x="2336" y="2320"/>
                  </a:lnTo>
                  <a:lnTo>
                    <a:pt x="2339" y="2326"/>
                  </a:lnTo>
                  <a:lnTo>
                    <a:pt x="2345" y="2332"/>
                  </a:lnTo>
                  <a:lnTo>
                    <a:pt x="2351" y="2339"/>
                  </a:lnTo>
                  <a:lnTo>
                    <a:pt x="2358" y="2348"/>
                  </a:lnTo>
                  <a:lnTo>
                    <a:pt x="2364" y="2354"/>
                  </a:lnTo>
                  <a:lnTo>
                    <a:pt x="2370" y="2354"/>
                  </a:lnTo>
                  <a:lnTo>
                    <a:pt x="2376" y="2354"/>
                  </a:lnTo>
                  <a:lnTo>
                    <a:pt x="2386" y="2351"/>
                  </a:lnTo>
                  <a:lnTo>
                    <a:pt x="2395" y="2345"/>
                  </a:lnTo>
                  <a:lnTo>
                    <a:pt x="2401" y="2339"/>
                  </a:lnTo>
                  <a:lnTo>
                    <a:pt x="2411" y="2332"/>
                  </a:lnTo>
                  <a:lnTo>
                    <a:pt x="2414" y="2326"/>
                  </a:lnTo>
                  <a:lnTo>
                    <a:pt x="2417" y="2311"/>
                  </a:lnTo>
                  <a:lnTo>
                    <a:pt x="2420" y="2289"/>
                  </a:lnTo>
                  <a:lnTo>
                    <a:pt x="2417" y="2267"/>
                  </a:lnTo>
                  <a:lnTo>
                    <a:pt x="2414" y="2248"/>
                  </a:lnTo>
                  <a:lnTo>
                    <a:pt x="2411" y="2239"/>
                  </a:lnTo>
                  <a:lnTo>
                    <a:pt x="2408" y="2233"/>
                  </a:lnTo>
                  <a:lnTo>
                    <a:pt x="2404" y="2223"/>
                  </a:lnTo>
                  <a:lnTo>
                    <a:pt x="2398" y="2214"/>
                  </a:lnTo>
                  <a:lnTo>
                    <a:pt x="2395" y="2204"/>
                  </a:lnTo>
                  <a:lnTo>
                    <a:pt x="2389" y="2189"/>
                  </a:lnTo>
                  <a:lnTo>
                    <a:pt x="2383" y="2164"/>
                  </a:lnTo>
                  <a:lnTo>
                    <a:pt x="2376" y="2145"/>
                  </a:lnTo>
                  <a:lnTo>
                    <a:pt x="2376" y="2136"/>
                  </a:lnTo>
                  <a:lnTo>
                    <a:pt x="2376" y="2123"/>
                  </a:lnTo>
                  <a:lnTo>
                    <a:pt x="2376" y="2111"/>
                  </a:lnTo>
                  <a:lnTo>
                    <a:pt x="2376" y="2098"/>
                  </a:lnTo>
                  <a:lnTo>
                    <a:pt x="2373" y="2092"/>
                  </a:lnTo>
                  <a:lnTo>
                    <a:pt x="2373" y="2083"/>
                  </a:lnTo>
                  <a:lnTo>
                    <a:pt x="2373" y="2070"/>
                  </a:lnTo>
                  <a:lnTo>
                    <a:pt x="2370" y="2064"/>
                  </a:lnTo>
                  <a:lnTo>
                    <a:pt x="2367" y="2058"/>
                  </a:lnTo>
                  <a:lnTo>
                    <a:pt x="2351" y="2048"/>
                  </a:lnTo>
                  <a:lnTo>
                    <a:pt x="2333" y="2042"/>
                  </a:lnTo>
                  <a:lnTo>
                    <a:pt x="2317" y="2036"/>
                  </a:lnTo>
                  <a:lnTo>
                    <a:pt x="2311" y="2030"/>
                  </a:lnTo>
                  <a:lnTo>
                    <a:pt x="2305" y="2020"/>
                  </a:lnTo>
                  <a:lnTo>
                    <a:pt x="2301" y="2011"/>
                  </a:lnTo>
                  <a:lnTo>
                    <a:pt x="2295" y="2001"/>
                  </a:lnTo>
                  <a:lnTo>
                    <a:pt x="2295" y="1995"/>
                  </a:lnTo>
                  <a:lnTo>
                    <a:pt x="2295" y="1989"/>
                  </a:lnTo>
                  <a:lnTo>
                    <a:pt x="2295" y="1980"/>
                  </a:lnTo>
                  <a:lnTo>
                    <a:pt x="2298" y="1973"/>
                  </a:lnTo>
                  <a:lnTo>
                    <a:pt x="2301" y="1964"/>
                  </a:lnTo>
                  <a:lnTo>
                    <a:pt x="2301" y="1958"/>
                  </a:lnTo>
                  <a:lnTo>
                    <a:pt x="2298" y="1952"/>
                  </a:lnTo>
                  <a:lnTo>
                    <a:pt x="2292" y="1948"/>
                  </a:lnTo>
                  <a:lnTo>
                    <a:pt x="2286" y="1942"/>
                  </a:lnTo>
                  <a:lnTo>
                    <a:pt x="2280" y="1936"/>
                  </a:lnTo>
                  <a:lnTo>
                    <a:pt x="2273" y="1933"/>
                  </a:lnTo>
                  <a:lnTo>
                    <a:pt x="2255" y="1933"/>
                  </a:lnTo>
                  <a:lnTo>
                    <a:pt x="2233" y="1936"/>
                  </a:lnTo>
                  <a:lnTo>
                    <a:pt x="2211" y="1942"/>
                  </a:lnTo>
                  <a:lnTo>
                    <a:pt x="2192" y="1942"/>
                  </a:lnTo>
                  <a:lnTo>
                    <a:pt x="2186" y="1942"/>
                  </a:lnTo>
                  <a:lnTo>
                    <a:pt x="2173" y="1942"/>
                  </a:lnTo>
                  <a:lnTo>
                    <a:pt x="2164" y="1939"/>
                  </a:lnTo>
                  <a:lnTo>
                    <a:pt x="2155" y="1939"/>
                  </a:lnTo>
                  <a:lnTo>
                    <a:pt x="2148" y="1933"/>
                  </a:lnTo>
                  <a:lnTo>
                    <a:pt x="2145" y="1930"/>
                  </a:lnTo>
                  <a:lnTo>
                    <a:pt x="2145" y="1923"/>
                  </a:lnTo>
                  <a:lnTo>
                    <a:pt x="2145" y="1917"/>
                  </a:lnTo>
                  <a:lnTo>
                    <a:pt x="2145" y="1908"/>
                  </a:lnTo>
                  <a:lnTo>
                    <a:pt x="2142" y="1905"/>
                  </a:lnTo>
                  <a:lnTo>
                    <a:pt x="2142" y="1898"/>
                  </a:lnTo>
                  <a:lnTo>
                    <a:pt x="2130" y="1895"/>
                  </a:lnTo>
                  <a:lnTo>
                    <a:pt x="2114" y="1895"/>
                  </a:lnTo>
                  <a:lnTo>
                    <a:pt x="2098" y="1898"/>
                  </a:lnTo>
                  <a:lnTo>
                    <a:pt x="2083" y="1898"/>
                  </a:lnTo>
                  <a:lnTo>
                    <a:pt x="2067" y="1895"/>
                  </a:lnTo>
                  <a:lnTo>
                    <a:pt x="2045" y="1889"/>
                  </a:lnTo>
                  <a:lnTo>
                    <a:pt x="2033" y="1877"/>
                  </a:lnTo>
                  <a:lnTo>
                    <a:pt x="2027" y="1861"/>
                  </a:lnTo>
                  <a:lnTo>
                    <a:pt x="2024" y="1842"/>
                  </a:lnTo>
                  <a:lnTo>
                    <a:pt x="2017" y="1827"/>
                  </a:lnTo>
                  <a:lnTo>
                    <a:pt x="2005" y="1820"/>
                  </a:lnTo>
                  <a:lnTo>
                    <a:pt x="1986" y="1817"/>
                  </a:lnTo>
                  <a:lnTo>
                    <a:pt x="1967" y="1811"/>
                  </a:lnTo>
                  <a:lnTo>
                    <a:pt x="1958" y="1805"/>
                  </a:lnTo>
                  <a:lnTo>
                    <a:pt x="1958" y="1786"/>
                  </a:lnTo>
                  <a:lnTo>
                    <a:pt x="1964" y="1767"/>
                  </a:lnTo>
                  <a:lnTo>
                    <a:pt x="1974" y="1749"/>
                  </a:lnTo>
                  <a:lnTo>
                    <a:pt x="1977" y="1745"/>
                  </a:lnTo>
                  <a:lnTo>
                    <a:pt x="1983" y="1739"/>
                  </a:lnTo>
                  <a:lnTo>
                    <a:pt x="1989" y="1736"/>
                  </a:lnTo>
                  <a:lnTo>
                    <a:pt x="1995" y="1733"/>
                  </a:lnTo>
                  <a:lnTo>
                    <a:pt x="2002" y="1736"/>
                  </a:lnTo>
                  <a:lnTo>
                    <a:pt x="2008" y="1736"/>
                  </a:lnTo>
                  <a:lnTo>
                    <a:pt x="2017" y="1742"/>
                  </a:lnTo>
                  <a:lnTo>
                    <a:pt x="2024" y="1745"/>
                  </a:lnTo>
                  <a:lnTo>
                    <a:pt x="2033" y="1749"/>
                  </a:lnTo>
                  <a:lnTo>
                    <a:pt x="2039" y="1752"/>
                  </a:lnTo>
                  <a:lnTo>
                    <a:pt x="2045" y="1749"/>
                  </a:lnTo>
                  <a:lnTo>
                    <a:pt x="2058" y="1733"/>
                  </a:lnTo>
                  <a:lnTo>
                    <a:pt x="2067" y="1711"/>
                  </a:lnTo>
                  <a:lnTo>
                    <a:pt x="2073" y="1689"/>
                  </a:lnTo>
                  <a:lnTo>
                    <a:pt x="2070" y="1680"/>
                  </a:lnTo>
                  <a:lnTo>
                    <a:pt x="2070" y="1670"/>
                  </a:lnTo>
                  <a:lnTo>
                    <a:pt x="2067" y="1661"/>
                  </a:lnTo>
                  <a:lnTo>
                    <a:pt x="2064" y="1652"/>
                  </a:lnTo>
                  <a:lnTo>
                    <a:pt x="2058" y="1645"/>
                  </a:lnTo>
                  <a:lnTo>
                    <a:pt x="2055" y="1639"/>
                  </a:lnTo>
                  <a:lnTo>
                    <a:pt x="2045" y="1633"/>
                  </a:lnTo>
                  <a:lnTo>
                    <a:pt x="2039" y="1627"/>
                  </a:lnTo>
                  <a:lnTo>
                    <a:pt x="2030" y="1621"/>
                  </a:lnTo>
                  <a:lnTo>
                    <a:pt x="2027" y="1614"/>
                  </a:lnTo>
                  <a:lnTo>
                    <a:pt x="2024" y="1608"/>
                  </a:lnTo>
                  <a:lnTo>
                    <a:pt x="2024" y="1599"/>
                  </a:lnTo>
                  <a:lnTo>
                    <a:pt x="2024" y="1592"/>
                  </a:lnTo>
                  <a:lnTo>
                    <a:pt x="2024" y="1586"/>
                  </a:lnTo>
                  <a:lnTo>
                    <a:pt x="2027" y="1580"/>
                  </a:lnTo>
                  <a:lnTo>
                    <a:pt x="2033" y="1574"/>
                  </a:lnTo>
                  <a:lnTo>
                    <a:pt x="2039" y="1571"/>
                  </a:lnTo>
                  <a:lnTo>
                    <a:pt x="2048" y="1567"/>
                  </a:lnTo>
                  <a:lnTo>
                    <a:pt x="2055" y="1564"/>
                  </a:lnTo>
                  <a:lnTo>
                    <a:pt x="2080" y="1561"/>
                  </a:lnTo>
                  <a:lnTo>
                    <a:pt x="2105" y="1561"/>
                  </a:lnTo>
                  <a:lnTo>
                    <a:pt x="2127" y="1567"/>
                  </a:lnTo>
                  <a:lnTo>
                    <a:pt x="2133" y="1571"/>
                  </a:lnTo>
                  <a:lnTo>
                    <a:pt x="2136" y="1580"/>
                  </a:lnTo>
                  <a:lnTo>
                    <a:pt x="2139" y="1586"/>
                  </a:lnTo>
                  <a:lnTo>
                    <a:pt x="2145" y="1596"/>
                  </a:lnTo>
                  <a:lnTo>
                    <a:pt x="2148" y="1602"/>
                  </a:lnTo>
                  <a:lnTo>
                    <a:pt x="2152" y="1605"/>
                  </a:lnTo>
                  <a:lnTo>
                    <a:pt x="2158" y="1608"/>
                  </a:lnTo>
                  <a:lnTo>
                    <a:pt x="2167" y="1608"/>
                  </a:lnTo>
                  <a:lnTo>
                    <a:pt x="2177" y="1608"/>
                  </a:lnTo>
                  <a:lnTo>
                    <a:pt x="2186" y="1608"/>
                  </a:lnTo>
                  <a:lnTo>
                    <a:pt x="2192" y="1605"/>
                  </a:lnTo>
                  <a:lnTo>
                    <a:pt x="2201" y="1605"/>
                  </a:lnTo>
                  <a:lnTo>
                    <a:pt x="2261" y="1605"/>
                  </a:lnTo>
                  <a:lnTo>
                    <a:pt x="2264" y="1599"/>
                  </a:lnTo>
                  <a:lnTo>
                    <a:pt x="2267" y="1583"/>
                  </a:lnTo>
                  <a:lnTo>
                    <a:pt x="2270" y="1564"/>
                  </a:lnTo>
                  <a:lnTo>
                    <a:pt x="2276" y="1552"/>
                  </a:lnTo>
                  <a:lnTo>
                    <a:pt x="2280" y="1549"/>
                  </a:lnTo>
                  <a:lnTo>
                    <a:pt x="2289" y="1549"/>
                  </a:lnTo>
                  <a:lnTo>
                    <a:pt x="2295" y="1552"/>
                  </a:lnTo>
                  <a:lnTo>
                    <a:pt x="2305" y="1552"/>
                  </a:lnTo>
                  <a:lnTo>
                    <a:pt x="2311" y="1552"/>
                  </a:lnTo>
                  <a:lnTo>
                    <a:pt x="2317" y="1552"/>
                  </a:lnTo>
                  <a:lnTo>
                    <a:pt x="2323" y="1549"/>
                  </a:lnTo>
                  <a:lnTo>
                    <a:pt x="2330" y="1542"/>
                  </a:lnTo>
                  <a:lnTo>
                    <a:pt x="2339" y="1536"/>
                  </a:lnTo>
                  <a:lnTo>
                    <a:pt x="2342" y="1530"/>
                  </a:lnTo>
                  <a:lnTo>
                    <a:pt x="2345" y="1524"/>
                  </a:lnTo>
                  <a:lnTo>
                    <a:pt x="2345" y="1505"/>
                  </a:lnTo>
                  <a:lnTo>
                    <a:pt x="2336" y="1483"/>
                  </a:lnTo>
                  <a:lnTo>
                    <a:pt x="2323" y="1468"/>
                  </a:lnTo>
                  <a:lnTo>
                    <a:pt x="2305" y="1461"/>
                  </a:lnTo>
                  <a:lnTo>
                    <a:pt x="2283" y="1455"/>
                  </a:lnTo>
                  <a:lnTo>
                    <a:pt x="2267" y="1449"/>
                  </a:lnTo>
                  <a:lnTo>
                    <a:pt x="2255" y="1433"/>
                  </a:lnTo>
                  <a:lnTo>
                    <a:pt x="2248" y="1414"/>
                  </a:lnTo>
                  <a:lnTo>
                    <a:pt x="2242" y="1396"/>
                  </a:lnTo>
                  <a:lnTo>
                    <a:pt x="2242" y="1380"/>
                  </a:lnTo>
                  <a:lnTo>
                    <a:pt x="2245" y="1358"/>
                  </a:lnTo>
                  <a:lnTo>
                    <a:pt x="2251" y="1339"/>
                  </a:lnTo>
                  <a:lnTo>
                    <a:pt x="2267" y="1324"/>
                  </a:lnTo>
                  <a:lnTo>
                    <a:pt x="2289" y="1305"/>
                  </a:lnTo>
                  <a:lnTo>
                    <a:pt x="2301" y="1286"/>
                  </a:lnTo>
                  <a:lnTo>
                    <a:pt x="2305" y="1274"/>
                  </a:lnTo>
                  <a:lnTo>
                    <a:pt x="2301" y="1258"/>
                  </a:lnTo>
                  <a:lnTo>
                    <a:pt x="2301" y="1240"/>
                  </a:lnTo>
                  <a:lnTo>
                    <a:pt x="2301" y="1227"/>
                  </a:lnTo>
                  <a:lnTo>
                    <a:pt x="2317" y="1208"/>
                  </a:lnTo>
                  <a:lnTo>
                    <a:pt x="2339" y="1193"/>
                  </a:lnTo>
                  <a:lnTo>
                    <a:pt x="2361" y="1183"/>
                  </a:lnTo>
                  <a:lnTo>
                    <a:pt x="2367" y="1183"/>
                  </a:lnTo>
                  <a:lnTo>
                    <a:pt x="2376" y="1186"/>
                  </a:lnTo>
                  <a:lnTo>
                    <a:pt x="2386" y="1190"/>
                  </a:lnTo>
                  <a:lnTo>
                    <a:pt x="2395" y="1193"/>
                  </a:lnTo>
                  <a:lnTo>
                    <a:pt x="2404" y="1196"/>
                  </a:lnTo>
                  <a:lnTo>
                    <a:pt x="2423" y="1199"/>
                  </a:lnTo>
                  <a:lnTo>
                    <a:pt x="2445" y="1199"/>
                  </a:lnTo>
                  <a:lnTo>
                    <a:pt x="2464" y="1196"/>
                  </a:lnTo>
                  <a:lnTo>
                    <a:pt x="2470" y="1190"/>
                  </a:lnTo>
                  <a:lnTo>
                    <a:pt x="2476" y="1180"/>
                  </a:lnTo>
                  <a:lnTo>
                    <a:pt x="2483" y="1171"/>
                  </a:lnTo>
                  <a:lnTo>
                    <a:pt x="2486" y="1161"/>
                  </a:lnTo>
                  <a:lnTo>
                    <a:pt x="2492" y="1152"/>
                  </a:lnTo>
                  <a:lnTo>
                    <a:pt x="2498" y="1146"/>
                  </a:lnTo>
                  <a:lnTo>
                    <a:pt x="2504" y="1146"/>
                  </a:lnTo>
                  <a:lnTo>
                    <a:pt x="2514" y="1146"/>
                  </a:lnTo>
                  <a:lnTo>
                    <a:pt x="2520" y="1146"/>
                  </a:lnTo>
                  <a:lnTo>
                    <a:pt x="2529" y="1146"/>
                  </a:lnTo>
                  <a:lnTo>
                    <a:pt x="2539" y="1146"/>
                  </a:lnTo>
                  <a:lnTo>
                    <a:pt x="2545" y="1146"/>
                  </a:lnTo>
                  <a:lnTo>
                    <a:pt x="2554" y="1140"/>
                  </a:lnTo>
                  <a:lnTo>
                    <a:pt x="2564" y="1133"/>
                  </a:lnTo>
                  <a:lnTo>
                    <a:pt x="2573" y="1124"/>
                  </a:lnTo>
                  <a:lnTo>
                    <a:pt x="2579" y="1112"/>
                  </a:lnTo>
                  <a:lnTo>
                    <a:pt x="2586" y="1105"/>
                  </a:lnTo>
                  <a:lnTo>
                    <a:pt x="2592" y="1090"/>
                  </a:lnTo>
                  <a:lnTo>
                    <a:pt x="2598" y="1071"/>
                  </a:lnTo>
                  <a:lnTo>
                    <a:pt x="2601" y="1052"/>
                  </a:lnTo>
                  <a:lnTo>
                    <a:pt x="2601" y="1040"/>
                  </a:lnTo>
                  <a:lnTo>
                    <a:pt x="2598" y="1033"/>
                  </a:lnTo>
                  <a:lnTo>
                    <a:pt x="2589" y="1030"/>
                  </a:lnTo>
                  <a:lnTo>
                    <a:pt x="2582" y="1024"/>
                  </a:lnTo>
                  <a:lnTo>
                    <a:pt x="2576" y="1021"/>
                  </a:lnTo>
                  <a:lnTo>
                    <a:pt x="2570" y="1015"/>
                  </a:lnTo>
                  <a:lnTo>
                    <a:pt x="2567" y="1008"/>
                  </a:lnTo>
                  <a:lnTo>
                    <a:pt x="2567" y="999"/>
                  </a:lnTo>
                  <a:lnTo>
                    <a:pt x="2567" y="987"/>
                  </a:lnTo>
                  <a:lnTo>
                    <a:pt x="2567" y="977"/>
                  </a:lnTo>
                  <a:lnTo>
                    <a:pt x="2570" y="971"/>
                  </a:lnTo>
                  <a:lnTo>
                    <a:pt x="2589" y="952"/>
                  </a:lnTo>
                  <a:lnTo>
                    <a:pt x="2614" y="934"/>
                  </a:lnTo>
                  <a:lnTo>
                    <a:pt x="2639" y="924"/>
                  </a:lnTo>
                  <a:lnTo>
                    <a:pt x="2657" y="921"/>
                  </a:lnTo>
                  <a:lnTo>
                    <a:pt x="2679" y="924"/>
                  </a:lnTo>
                  <a:lnTo>
                    <a:pt x="2698" y="924"/>
                  </a:lnTo>
                  <a:lnTo>
                    <a:pt x="2717" y="918"/>
                  </a:lnTo>
                  <a:lnTo>
                    <a:pt x="2742" y="909"/>
                  </a:lnTo>
                  <a:lnTo>
                    <a:pt x="2764" y="899"/>
                  </a:lnTo>
                  <a:lnTo>
                    <a:pt x="2782" y="899"/>
                  </a:lnTo>
                  <a:lnTo>
                    <a:pt x="2804" y="896"/>
                  </a:lnTo>
                  <a:lnTo>
                    <a:pt x="2823" y="890"/>
                  </a:lnTo>
                  <a:lnTo>
                    <a:pt x="2835" y="874"/>
                  </a:lnTo>
                  <a:lnTo>
                    <a:pt x="2848" y="852"/>
                  </a:lnTo>
                  <a:lnTo>
                    <a:pt x="2857" y="830"/>
                  </a:lnTo>
                  <a:lnTo>
                    <a:pt x="2857" y="815"/>
                  </a:lnTo>
                  <a:lnTo>
                    <a:pt x="2854" y="796"/>
                  </a:lnTo>
                  <a:lnTo>
                    <a:pt x="2851" y="781"/>
                  </a:lnTo>
                  <a:lnTo>
                    <a:pt x="2857" y="768"/>
                  </a:lnTo>
                  <a:lnTo>
                    <a:pt x="2860" y="762"/>
                  </a:lnTo>
                  <a:lnTo>
                    <a:pt x="2870" y="759"/>
                  </a:lnTo>
                  <a:lnTo>
                    <a:pt x="2879" y="756"/>
                  </a:lnTo>
                  <a:lnTo>
                    <a:pt x="2892" y="756"/>
                  </a:lnTo>
                  <a:lnTo>
                    <a:pt x="2898" y="756"/>
                  </a:lnTo>
                  <a:lnTo>
                    <a:pt x="2917" y="759"/>
                  </a:lnTo>
                  <a:lnTo>
                    <a:pt x="2942" y="765"/>
                  </a:lnTo>
                  <a:lnTo>
                    <a:pt x="2963" y="768"/>
                  </a:lnTo>
                  <a:lnTo>
                    <a:pt x="2982" y="768"/>
                  </a:lnTo>
                  <a:lnTo>
                    <a:pt x="2988" y="756"/>
                  </a:lnTo>
                  <a:lnTo>
                    <a:pt x="2992" y="734"/>
                  </a:lnTo>
                  <a:lnTo>
                    <a:pt x="2995" y="715"/>
                  </a:lnTo>
                  <a:lnTo>
                    <a:pt x="3001" y="702"/>
                  </a:lnTo>
                  <a:lnTo>
                    <a:pt x="3017" y="690"/>
                  </a:lnTo>
                  <a:lnTo>
                    <a:pt x="3042" y="677"/>
                  </a:lnTo>
                  <a:lnTo>
                    <a:pt x="3070" y="671"/>
                  </a:lnTo>
                  <a:lnTo>
                    <a:pt x="3091" y="668"/>
                  </a:lnTo>
                  <a:lnTo>
                    <a:pt x="3120" y="668"/>
                  </a:lnTo>
                  <a:lnTo>
                    <a:pt x="3151" y="671"/>
                  </a:lnTo>
                  <a:lnTo>
                    <a:pt x="3179" y="677"/>
                  </a:lnTo>
                  <a:lnTo>
                    <a:pt x="3195" y="681"/>
                  </a:lnTo>
                  <a:lnTo>
                    <a:pt x="3216" y="687"/>
                  </a:lnTo>
                  <a:lnTo>
                    <a:pt x="3238" y="690"/>
                  </a:lnTo>
                  <a:lnTo>
                    <a:pt x="3257" y="690"/>
                  </a:lnTo>
                  <a:lnTo>
                    <a:pt x="3263" y="687"/>
                  </a:lnTo>
                  <a:lnTo>
                    <a:pt x="3273" y="681"/>
                  </a:lnTo>
                  <a:lnTo>
                    <a:pt x="3279" y="674"/>
                  </a:lnTo>
                  <a:lnTo>
                    <a:pt x="3288" y="665"/>
                  </a:lnTo>
                  <a:lnTo>
                    <a:pt x="3294" y="659"/>
                  </a:lnTo>
                  <a:lnTo>
                    <a:pt x="3304" y="656"/>
                  </a:lnTo>
                  <a:lnTo>
                    <a:pt x="3323" y="649"/>
                  </a:lnTo>
                  <a:lnTo>
                    <a:pt x="3348" y="646"/>
                  </a:lnTo>
                  <a:lnTo>
                    <a:pt x="3369" y="643"/>
                  </a:lnTo>
                  <a:lnTo>
                    <a:pt x="3379" y="643"/>
                  </a:lnTo>
                  <a:lnTo>
                    <a:pt x="3388" y="643"/>
                  </a:lnTo>
                  <a:lnTo>
                    <a:pt x="3401" y="646"/>
                  </a:lnTo>
                  <a:lnTo>
                    <a:pt x="3410" y="646"/>
                  </a:lnTo>
                  <a:lnTo>
                    <a:pt x="3419" y="643"/>
                  </a:lnTo>
                  <a:lnTo>
                    <a:pt x="3429" y="640"/>
                  </a:lnTo>
                  <a:lnTo>
                    <a:pt x="3435" y="634"/>
                  </a:lnTo>
                  <a:lnTo>
                    <a:pt x="3444" y="628"/>
                  </a:lnTo>
                  <a:lnTo>
                    <a:pt x="3451" y="621"/>
                  </a:lnTo>
                  <a:lnTo>
                    <a:pt x="3457" y="606"/>
                  </a:lnTo>
                  <a:lnTo>
                    <a:pt x="3460" y="587"/>
                  </a:lnTo>
                  <a:lnTo>
                    <a:pt x="3463" y="568"/>
                  </a:lnTo>
                  <a:lnTo>
                    <a:pt x="3466" y="562"/>
                  </a:lnTo>
                  <a:lnTo>
                    <a:pt x="3472" y="553"/>
                  </a:lnTo>
                  <a:lnTo>
                    <a:pt x="3479" y="543"/>
                  </a:lnTo>
                  <a:lnTo>
                    <a:pt x="3485" y="537"/>
                  </a:lnTo>
                  <a:lnTo>
                    <a:pt x="3488" y="528"/>
                  </a:lnTo>
                  <a:lnTo>
                    <a:pt x="3491" y="518"/>
                  </a:lnTo>
                  <a:lnTo>
                    <a:pt x="3488" y="496"/>
                  </a:lnTo>
                  <a:lnTo>
                    <a:pt x="3482" y="475"/>
                  </a:lnTo>
                  <a:lnTo>
                    <a:pt x="3472" y="453"/>
                  </a:lnTo>
                  <a:lnTo>
                    <a:pt x="3466" y="450"/>
                  </a:lnTo>
                  <a:lnTo>
                    <a:pt x="3457" y="446"/>
                  </a:lnTo>
                  <a:lnTo>
                    <a:pt x="3447" y="440"/>
                  </a:lnTo>
                  <a:lnTo>
                    <a:pt x="3438" y="437"/>
                  </a:lnTo>
                  <a:lnTo>
                    <a:pt x="3432" y="431"/>
                  </a:lnTo>
                  <a:lnTo>
                    <a:pt x="3426" y="428"/>
                  </a:lnTo>
                  <a:lnTo>
                    <a:pt x="3416" y="409"/>
                  </a:lnTo>
                  <a:lnTo>
                    <a:pt x="3410" y="387"/>
                  </a:lnTo>
                  <a:lnTo>
                    <a:pt x="3407" y="368"/>
                  </a:lnTo>
                  <a:lnTo>
                    <a:pt x="3410" y="353"/>
                  </a:lnTo>
                  <a:lnTo>
                    <a:pt x="3413" y="331"/>
                  </a:lnTo>
                  <a:lnTo>
                    <a:pt x="3413" y="315"/>
                  </a:lnTo>
                  <a:lnTo>
                    <a:pt x="3407" y="309"/>
                  </a:lnTo>
                  <a:lnTo>
                    <a:pt x="3401" y="303"/>
                  </a:lnTo>
                  <a:lnTo>
                    <a:pt x="3394" y="297"/>
                  </a:lnTo>
                  <a:lnTo>
                    <a:pt x="3388" y="290"/>
                  </a:lnTo>
                  <a:lnTo>
                    <a:pt x="3366" y="290"/>
                  </a:lnTo>
                  <a:lnTo>
                    <a:pt x="3338" y="297"/>
                  </a:lnTo>
                  <a:lnTo>
                    <a:pt x="3319" y="300"/>
                  </a:lnTo>
                  <a:lnTo>
                    <a:pt x="3304" y="306"/>
                  </a:lnTo>
                  <a:lnTo>
                    <a:pt x="3288" y="312"/>
                  </a:lnTo>
                  <a:lnTo>
                    <a:pt x="3269" y="315"/>
                  </a:lnTo>
                  <a:lnTo>
                    <a:pt x="3257" y="315"/>
                  </a:lnTo>
                  <a:lnTo>
                    <a:pt x="3251" y="312"/>
                  </a:lnTo>
                  <a:lnTo>
                    <a:pt x="3248" y="306"/>
                  </a:lnTo>
                  <a:lnTo>
                    <a:pt x="3244" y="300"/>
                  </a:lnTo>
                  <a:lnTo>
                    <a:pt x="3238" y="293"/>
                  </a:lnTo>
                  <a:lnTo>
                    <a:pt x="3235" y="287"/>
                  </a:lnTo>
                  <a:lnTo>
                    <a:pt x="3229" y="281"/>
                  </a:lnTo>
                  <a:lnTo>
                    <a:pt x="3219" y="278"/>
                  </a:lnTo>
                  <a:lnTo>
                    <a:pt x="3213" y="272"/>
                  </a:lnTo>
                  <a:lnTo>
                    <a:pt x="3210" y="265"/>
                  </a:lnTo>
                  <a:lnTo>
                    <a:pt x="3207" y="247"/>
                  </a:lnTo>
                  <a:lnTo>
                    <a:pt x="3213" y="225"/>
                  </a:lnTo>
                  <a:lnTo>
                    <a:pt x="3219" y="206"/>
                  </a:lnTo>
                  <a:lnTo>
                    <a:pt x="3223" y="197"/>
                  </a:lnTo>
                  <a:lnTo>
                    <a:pt x="3229" y="190"/>
                  </a:lnTo>
                  <a:lnTo>
                    <a:pt x="3235" y="181"/>
                  </a:lnTo>
                  <a:lnTo>
                    <a:pt x="3241" y="175"/>
                  </a:lnTo>
                  <a:lnTo>
                    <a:pt x="3244" y="165"/>
                  </a:lnTo>
                  <a:lnTo>
                    <a:pt x="3248" y="159"/>
                  </a:lnTo>
                  <a:lnTo>
                    <a:pt x="3251" y="150"/>
                  </a:lnTo>
                  <a:lnTo>
                    <a:pt x="3254" y="140"/>
                  </a:lnTo>
                  <a:lnTo>
                    <a:pt x="3257" y="131"/>
                  </a:lnTo>
                  <a:lnTo>
                    <a:pt x="3257" y="115"/>
                  </a:lnTo>
                  <a:lnTo>
                    <a:pt x="3254" y="94"/>
                  </a:lnTo>
                  <a:lnTo>
                    <a:pt x="3257" y="78"/>
                  </a:lnTo>
                  <a:lnTo>
                    <a:pt x="3260" y="72"/>
                  </a:lnTo>
                  <a:lnTo>
                    <a:pt x="3269" y="65"/>
                  </a:lnTo>
                  <a:lnTo>
                    <a:pt x="3276" y="62"/>
                  </a:lnTo>
                  <a:lnTo>
                    <a:pt x="3285" y="59"/>
                  </a:lnTo>
                  <a:lnTo>
                    <a:pt x="3291" y="56"/>
                  </a:lnTo>
                  <a:lnTo>
                    <a:pt x="3307" y="59"/>
                  </a:lnTo>
                  <a:lnTo>
                    <a:pt x="3329" y="65"/>
                  </a:lnTo>
                  <a:lnTo>
                    <a:pt x="3344" y="69"/>
                  </a:lnTo>
                  <a:lnTo>
                    <a:pt x="3351" y="62"/>
                  </a:lnTo>
                  <a:lnTo>
                    <a:pt x="3357" y="59"/>
                  </a:lnTo>
                  <a:lnTo>
                    <a:pt x="3360" y="53"/>
                  </a:lnTo>
                  <a:lnTo>
                    <a:pt x="3366" y="47"/>
                  </a:lnTo>
                  <a:lnTo>
                    <a:pt x="3373" y="44"/>
                  </a:lnTo>
                  <a:lnTo>
                    <a:pt x="3394" y="37"/>
                  </a:lnTo>
                  <a:lnTo>
                    <a:pt x="3422" y="37"/>
                  </a:lnTo>
                  <a:lnTo>
                    <a:pt x="3444" y="44"/>
                  </a:lnTo>
                  <a:lnTo>
                    <a:pt x="3463" y="59"/>
                  </a:lnTo>
                  <a:lnTo>
                    <a:pt x="3482" y="84"/>
                  </a:lnTo>
                  <a:lnTo>
                    <a:pt x="3491" y="106"/>
                  </a:lnTo>
                  <a:lnTo>
                    <a:pt x="3494" y="119"/>
                  </a:lnTo>
                  <a:lnTo>
                    <a:pt x="3494" y="134"/>
                  </a:lnTo>
                  <a:lnTo>
                    <a:pt x="3497" y="150"/>
                  </a:lnTo>
                  <a:lnTo>
                    <a:pt x="3501" y="159"/>
                  </a:lnTo>
                  <a:lnTo>
                    <a:pt x="3519" y="165"/>
                  </a:lnTo>
                  <a:lnTo>
                    <a:pt x="3541" y="165"/>
                  </a:lnTo>
                  <a:lnTo>
                    <a:pt x="3566" y="162"/>
                  </a:lnTo>
                  <a:lnTo>
                    <a:pt x="3585" y="162"/>
                  </a:lnTo>
                  <a:lnTo>
                    <a:pt x="3604" y="172"/>
                  </a:lnTo>
                  <a:lnTo>
                    <a:pt x="3622" y="184"/>
                  </a:lnTo>
                  <a:lnTo>
                    <a:pt x="3641" y="190"/>
                  </a:lnTo>
                  <a:lnTo>
                    <a:pt x="3650" y="187"/>
                  </a:lnTo>
                  <a:lnTo>
                    <a:pt x="3657" y="184"/>
                  </a:lnTo>
                  <a:lnTo>
                    <a:pt x="3666" y="181"/>
                  </a:lnTo>
                  <a:lnTo>
                    <a:pt x="3675" y="175"/>
                  </a:lnTo>
                  <a:lnTo>
                    <a:pt x="3682" y="169"/>
                  </a:lnTo>
                  <a:lnTo>
                    <a:pt x="3691" y="150"/>
                  </a:lnTo>
                  <a:lnTo>
                    <a:pt x="3697" y="122"/>
                  </a:lnTo>
                  <a:lnTo>
                    <a:pt x="3704" y="100"/>
                  </a:lnTo>
                  <a:lnTo>
                    <a:pt x="3704" y="94"/>
                  </a:lnTo>
                  <a:lnTo>
                    <a:pt x="3704" y="87"/>
                  </a:lnTo>
                  <a:lnTo>
                    <a:pt x="3700" y="78"/>
                  </a:lnTo>
                  <a:lnTo>
                    <a:pt x="3700" y="69"/>
                  </a:lnTo>
                  <a:lnTo>
                    <a:pt x="3700" y="62"/>
                  </a:lnTo>
                  <a:lnTo>
                    <a:pt x="3700" y="56"/>
                  </a:lnTo>
                  <a:lnTo>
                    <a:pt x="3704" y="53"/>
                  </a:lnTo>
                  <a:lnTo>
                    <a:pt x="3707" y="50"/>
                  </a:lnTo>
                  <a:lnTo>
                    <a:pt x="3716" y="50"/>
                  </a:lnTo>
                  <a:lnTo>
                    <a:pt x="3722" y="53"/>
                  </a:lnTo>
                  <a:lnTo>
                    <a:pt x="3732" y="56"/>
                  </a:lnTo>
                  <a:lnTo>
                    <a:pt x="3738" y="59"/>
                  </a:lnTo>
                  <a:lnTo>
                    <a:pt x="3744" y="62"/>
                  </a:lnTo>
                  <a:lnTo>
                    <a:pt x="3750" y="62"/>
                  </a:lnTo>
                  <a:lnTo>
                    <a:pt x="3772" y="65"/>
                  </a:lnTo>
                  <a:lnTo>
                    <a:pt x="3794" y="65"/>
                  </a:lnTo>
                  <a:lnTo>
                    <a:pt x="3813" y="62"/>
                  </a:lnTo>
                  <a:lnTo>
                    <a:pt x="3825" y="50"/>
                  </a:lnTo>
                  <a:lnTo>
                    <a:pt x="3844" y="12"/>
                  </a:lnTo>
                  <a:lnTo>
                    <a:pt x="3857" y="3"/>
                  </a:lnTo>
                  <a:lnTo>
                    <a:pt x="3863" y="0"/>
                  </a:lnTo>
                  <a:lnTo>
                    <a:pt x="3875" y="0"/>
                  </a:lnTo>
                  <a:lnTo>
                    <a:pt x="3885" y="0"/>
                  </a:lnTo>
                  <a:lnTo>
                    <a:pt x="3885" y="12"/>
                  </a:lnTo>
                  <a:lnTo>
                    <a:pt x="3878" y="34"/>
                  </a:lnTo>
                  <a:lnTo>
                    <a:pt x="3875" y="65"/>
                  </a:lnTo>
                  <a:lnTo>
                    <a:pt x="3875" y="94"/>
                  </a:lnTo>
                  <a:lnTo>
                    <a:pt x="3878" y="115"/>
                  </a:lnTo>
                  <a:lnTo>
                    <a:pt x="3891" y="137"/>
                  </a:lnTo>
                  <a:lnTo>
                    <a:pt x="3906" y="162"/>
                  </a:lnTo>
                  <a:lnTo>
                    <a:pt x="3925" y="181"/>
                  </a:lnTo>
                  <a:lnTo>
                    <a:pt x="3944" y="197"/>
                  </a:lnTo>
                  <a:lnTo>
                    <a:pt x="3966" y="200"/>
                  </a:lnTo>
                  <a:lnTo>
                    <a:pt x="3991" y="200"/>
                  </a:lnTo>
                  <a:lnTo>
                    <a:pt x="4016" y="197"/>
                  </a:lnTo>
                  <a:lnTo>
                    <a:pt x="4038" y="200"/>
                  </a:lnTo>
                  <a:lnTo>
                    <a:pt x="4044" y="206"/>
                  </a:lnTo>
                  <a:lnTo>
                    <a:pt x="4050" y="209"/>
                  </a:lnTo>
                  <a:lnTo>
                    <a:pt x="4056" y="218"/>
                  </a:lnTo>
                  <a:lnTo>
                    <a:pt x="4063" y="225"/>
                  </a:lnTo>
                  <a:lnTo>
                    <a:pt x="4066" y="231"/>
                  </a:lnTo>
                  <a:lnTo>
                    <a:pt x="4078" y="250"/>
                  </a:lnTo>
                  <a:lnTo>
                    <a:pt x="4084" y="272"/>
                  </a:lnTo>
                  <a:lnTo>
                    <a:pt x="4091" y="297"/>
                  </a:lnTo>
                  <a:lnTo>
                    <a:pt x="4094" y="318"/>
                  </a:lnTo>
                  <a:lnTo>
                    <a:pt x="4088" y="337"/>
                  </a:lnTo>
                  <a:lnTo>
                    <a:pt x="4072" y="362"/>
                  </a:lnTo>
                  <a:lnTo>
                    <a:pt x="4060" y="384"/>
                  </a:lnTo>
                  <a:lnTo>
                    <a:pt x="4053" y="406"/>
                  </a:lnTo>
                  <a:lnTo>
                    <a:pt x="4056" y="425"/>
                  </a:lnTo>
                  <a:lnTo>
                    <a:pt x="4066" y="446"/>
                  </a:lnTo>
                  <a:lnTo>
                    <a:pt x="4075" y="468"/>
                  </a:lnTo>
                  <a:lnTo>
                    <a:pt x="4088" y="484"/>
                  </a:lnTo>
                  <a:lnTo>
                    <a:pt x="4103" y="487"/>
                  </a:lnTo>
                  <a:lnTo>
                    <a:pt x="4125" y="490"/>
                  </a:lnTo>
                  <a:lnTo>
                    <a:pt x="4147" y="490"/>
                  </a:lnTo>
                  <a:lnTo>
                    <a:pt x="4166" y="493"/>
                  </a:lnTo>
                  <a:lnTo>
                    <a:pt x="4194" y="506"/>
                  </a:lnTo>
                  <a:lnTo>
                    <a:pt x="4222" y="524"/>
                  </a:lnTo>
                  <a:lnTo>
                    <a:pt x="4247" y="543"/>
                  </a:lnTo>
                  <a:lnTo>
                    <a:pt x="4259" y="559"/>
                  </a:lnTo>
                  <a:lnTo>
                    <a:pt x="4272" y="581"/>
                  </a:lnTo>
                  <a:lnTo>
                    <a:pt x="4287" y="599"/>
                  </a:lnTo>
                  <a:lnTo>
                    <a:pt x="4303" y="609"/>
                  </a:lnTo>
                  <a:lnTo>
                    <a:pt x="4319" y="606"/>
                  </a:lnTo>
                  <a:lnTo>
                    <a:pt x="4334" y="599"/>
                  </a:lnTo>
                  <a:lnTo>
                    <a:pt x="4353" y="587"/>
                  </a:lnTo>
                  <a:lnTo>
                    <a:pt x="4369" y="578"/>
                  </a:lnTo>
                  <a:lnTo>
                    <a:pt x="4387" y="571"/>
                  </a:lnTo>
                  <a:lnTo>
                    <a:pt x="4412" y="562"/>
                  </a:lnTo>
                  <a:lnTo>
                    <a:pt x="4437" y="553"/>
                  </a:lnTo>
                  <a:lnTo>
                    <a:pt x="4459" y="549"/>
                  </a:lnTo>
                  <a:lnTo>
                    <a:pt x="4487" y="553"/>
                  </a:lnTo>
                  <a:lnTo>
                    <a:pt x="4519" y="562"/>
                  </a:lnTo>
                  <a:lnTo>
                    <a:pt x="4544" y="578"/>
                  </a:lnTo>
                  <a:lnTo>
                    <a:pt x="4559" y="596"/>
                  </a:lnTo>
                  <a:lnTo>
                    <a:pt x="4569" y="628"/>
                  </a:lnTo>
                  <a:lnTo>
                    <a:pt x="4575" y="653"/>
                  </a:lnTo>
                  <a:lnTo>
                    <a:pt x="4569" y="671"/>
                  </a:lnTo>
                  <a:lnTo>
                    <a:pt x="4556" y="696"/>
                  </a:lnTo>
                  <a:lnTo>
                    <a:pt x="4544" y="718"/>
                  </a:lnTo>
                  <a:lnTo>
                    <a:pt x="4537" y="737"/>
                  </a:lnTo>
                  <a:lnTo>
                    <a:pt x="4540" y="759"/>
                  </a:lnTo>
                  <a:lnTo>
                    <a:pt x="4547" y="784"/>
                  </a:lnTo>
                  <a:lnTo>
                    <a:pt x="4556" y="802"/>
                  </a:lnTo>
                  <a:lnTo>
                    <a:pt x="4581" y="824"/>
                  </a:lnTo>
                  <a:lnTo>
                    <a:pt x="4612" y="843"/>
                  </a:lnTo>
                  <a:lnTo>
                    <a:pt x="4637" y="862"/>
                  </a:lnTo>
                  <a:lnTo>
                    <a:pt x="4643" y="865"/>
                  </a:lnTo>
                  <a:lnTo>
                    <a:pt x="4653" y="871"/>
                  </a:lnTo>
                  <a:lnTo>
                    <a:pt x="4659" y="880"/>
                  </a:lnTo>
                  <a:lnTo>
                    <a:pt x="4665" y="887"/>
                  </a:lnTo>
                  <a:lnTo>
                    <a:pt x="4672" y="896"/>
                  </a:lnTo>
                  <a:lnTo>
                    <a:pt x="4672" y="902"/>
                  </a:lnTo>
                  <a:lnTo>
                    <a:pt x="4672" y="909"/>
                  </a:lnTo>
                  <a:lnTo>
                    <a:pt x="4668" y="918"/>
                  </a:lnTo>
                  <a:lnTo>
                    <a:pt x="4665" y="924"/>
                  </a:lnTo>
                  <a:lnTo>
                    <a:pt x="4659" y="930"/>
                  </a:lnTo>
                  <a:lnTo>
                    <a:pt x="4653" y="937"/>
                  </a:lnTo>
                  <a:lnTo>
                    <a:pt x="4647" y="943"/>
                  </a:lnTo>
                  <a:lnTo>
                    <a:pt x="4631" y="955"/>
                  </a:lnTo>
                  <a:lnTo>
                    <a:pt x="4609" y="965"/>
                  </a:lnTo>
                  <a:lnTo>
                    <a:pt x="4587" y="971"/>
                  </a:lnTo>
                  <a:lnTo>
                    <a:pt x="4569" y="968"/>
                  </a:lnTo>
                  <a:lnTo>
                    <a:pt x="4547" y="962"/>
                  </a:lnTo>
                  <a:lnTo>
                    <a:pt x="4525" y="952"/>
                  </a:lnTo>
                  <a:lnTo>
                    <a:pt x="4503" y="946"/>
                  </a:lnTo>
                  <a:lnTo>
                    <a:pt x="4484" y="946"/>
                  </a:lnTo>
                  <a:lnTo>
                    <a:pt x="4478" y="955"/>
                  </a:lnTo>
                  <a:lnTo>
                    <a:pt x="4472" y="971"/>
                  </a:lnTo>
                  <a:lnTo>
                    <a:pt x="4469" y="990"/>
                  </a:lnTo>
                  <a:lnTo>
                    <a:pt x="4465" y="1002"/>
                  </a:lnTo>
                  <a:lnTo>
                    <a:pt x="4459" y="1024"/>
                  </a:lnTo>
                  <a:lnTo>
                    <a:pt x="4453" y="1049"/>
                  </a:lnTo>
                  <a:lnTo>
                    <a:pt x="4450" y="1068"/>
                  </a:lnTo>
                  <a:lnTo>
                    <a:pt x="4447" y="1099"/>
                  </a:lnTo>
                  <a:lnTo>
                    <a:pt x="4444" y="1137"/>
                  </a:lnTo>
                  <a:lnTo>
                    <a:pt x="4440" y="1165"/>
                  </a:lnTo>
                  <a:lnTo>
                    <a:pt x="4434" y="1193"/>
                  </a:lnTo>
                  <a:lnTo>
                    <a:pt x="4428" y="1227"/>
                  </a:lnTo>
                  <a:lnTo>
                    <a:pt x="4415" y="1252"/>
                  </a:lnTo>
                  <a:lnTo>
                    <a:pt x="4400" y="1261"/>
                  </a:lnTo>
                  <a:lnTo>
                    <a:pt x="4378" y="1271"/>
                  </a:lnTo>
                  <a:lnTo>
                    <a:pt x="4356" y="1277"/>
                  </a:lnTo>
                  <a:lnTo>
                    <a:pt x="4341" y="1286"/>
                  </a:lnTo>
                  <a:lnTo>
                    <a:pt x="4334" y="1296"/>
                  </a:lnTo>
                  <a:lnTo>
                    <a:pt x="4328" y="1305"/>
                  </a:lnTo>
                  <a:lnTo>
                    <a:pt x="4325" y="1318"/>
                  </a:lnTo>
                  <a:lnTo>
                    <a:pt x="4322" y="1327"/>
                  </a:lnTo>
                  <a:lnTo>
                    <a:pt x="4319" y="1336"/>
                  </a:lnTo>
                  <a:lnTo>
                    <a:pt x="4312" y="1352"/>
                  </a:lnTo>
                  <a:lnTo>
                    <a:pt x="4306" y="1371"/>
                  </a:lnTo>
                  <a:lnTo>
                    <a:pt x="4300" y="1386"/>
                  </a:lnTo>
                  <a:lnTo>
                    <a:pt x="4300" y="1402"/>
                  </a:lnTo>
                  <a:lnTo>
                    <a:pt x="4312" y="1414"/>
                  </a:lnTo>
                  <a:lnTo>
                    <a:pt x="4331" y="1430"/>
                  </a:lnTo>
                  <a:lnTo>
                    <a:pt x="4350" y="1443"/>
                  </a:lnTo>
                  <a:lnTo>
                    <a:pt x="4366" y="1455"/>
                  </a:lnTo>
                  <a:lnTo>
                    <a:pt x="4387" y="1471"/>
                  </a:lnTo>
                  <a:lnTo>
                    <a:pt x="4409" y="1492"/>
                  </a:lnTo>
                  <a:lnTo>
                    <a:pt x="4425" y="1514"/>
                  </a:lnTo>
                  <a:lnTo>
                    <a:pt x="4425" y="1521"/>
                  </a:lnTo>
                  <a:lnTo>
                    <a:pt x="4425" y="1530"/>
                  </a:lnTo>
                  <a:lnTo>
                    <a:pt x="4425" y="1539"/>
                  </a:lnTo>
                  <a:lnTo>
                    <a:pt x="4425" y="1549"/>
                  </a:lnTo>
                  <a:lnTo>
                    <a:pt x="4425" y="1555"/>
                  </a:lnTo>
                  <a:lnTo>
                    <a:pt x="4412" y="1574"/>
                  </a:lnTo>
                  <a:lnTo>
                    <a:pt x="4397" y="1592"/>
                  </a:lnTo>
                  <a:lnTo>
                    <a:pt x="4387" y="1611"/>
                  </a:lnTo>
                  <a:lnTo>
                    <a:pt x="4384" y="1636"/>
                  </a:lnTo>
                  <a:lnTo>
                    <a:pt x="4384" y="1664"/>
                  </a:lnTo>
                  <a:lnTo>
                    <a:pt x="4387" y="1686"/>
                  </a:lnTo>
                  <a:lnTo>
                    <a:pt x="4397" y="1711"/>
                  </a:lnTo>
                  <a:lnTo>
                    <a:pt x="4412" y="1739"/>
                  </a:lnTo>
                  <a:lnTo>
                    <a:pt x="4428" y="1767"/>
                  </a:lnTo>
                  <a:lnTo>
                    <a:pt x="4437" y="1792"/>
                  </a:lnTo>
                  <a:lnTo>
                    <a:pt x="4440" y="1811"/>
                  </a:lnTo>
                  <a:lnTo>
                    <a:pt x="4444" y="1839"/>
                  </a:lnTo>
                  <a:lnTo>
                    <a:pt x="4447" y="1864"/>
                  </a:lnTo>
                  <a:lnTo>
                    <a:pt x="4453" y="1883"/>
                  </a:lnTo>
                  <a:lnTo>
                    <a:pt x="4472" y="1902"/>
                  </a:lnTo>
                  <a:lnTo>
                    <a:pt x="4497" y="1917"/>
                  </a:lnTo>
                  <a:lnTo>
                    <a:pt x="4525" y="1936"/>
                  </a:lnTo>
                  <a:lnTo>
                    <a:pt x="4544" y="1952"/>
                  </a:lnTo>
                  <a:lnTo>
                    <a:pt x="4553" y="1967"/>
                  </a:lnTo>
                  <a:lnTo>
                    <a:pt x="4562" y="1989"/>
                  </a:lnTo>
                  <a:lnTo>
                    <a:pt x="4572" y="2008"/>
                  </a:lnTo>
                  <a:lnTo>
                    <a:pt x="4584" y="2020"/>
                  </a:lnTo>
                  <a:lnTo>
                    <a:pt x="4606" y="2026"/>
                  </a:lnTo>
                  <a:lnTo>
                    <a:pt x="4634" y="2026"/>
                  </a:lnTo>
                  <a:lnTo>
                    <a:pt x="4665" y="2026"/>
                  </a:lnTo>
                  <a:lnTo>
                    <a:pt x="4693" y="2023"/>
                  </a:lnTo>
                  <a:lnTo>
                    <a:pt x="4718" y="2026"/>
                  </a:lnTo>
                  <a:lnTo>
                    <a:pt x="4737" y="2033"/>
                  </a:lnTo>
                  <a:lnTo>
                    <a:pt x="4756" y="2042"/>
                  </a:lnTo>
                  <a:lnTo>
                    <a:pt x="4771" y="2051"/>
                  </a:lnTo>
                  <a:lnTo>
                    <a:pt x="4800" y="2051"/>
                  </a:lnTo>
                  <a:lnTo>
                    <a:pt x="4831" y="2051"/>
                  </a:lnTo>
                  <a:lnTo>
                    <a:pt x="4865" y="2051"/>
                  </a:lnTo>
                  <a:lnTo>
                    <a:pt x="4890" y="2058"/>
                  </a:lnTo>
                  <a:lnTo>
                    <a:pt x="4896" y="2061"/>
                  </a:lnTo>
                  <a:lnTo>
                    <a:pt x="4903" y="2070"/>
                  </a:lnTo>
                  <a:lnTo>
                    <a:pt x="4912" y="2080"/>
                  </a:lnTo>
                  <a:lnTo>
                    <a:pt x="4915" y="2086"/>
                  </a:lnTo>
                  <a:lnTo>
                    <a:pt x="4931" y="2108"/>
                  </a:lnTo>
                  <a:lnTo>
                    <a:pt x="4946" y="2136"/>
                  </a:lnTo>
                  <a:lnTo>
                    <a:pt x="4965" y="2161"/>
                  </a:lnTo>
                  <a:lnTo>
                    <a:pt x="4984" y="2176"/>
                  </a:lnTo>
                  <a:lnTo>
                    <a:pt x="5006" y="2183"/>
                  </a:lnTo>
                  <a:lnTo>
                    <a:pt x="5037" y="2186"/>
                  </a:lnTo>
                  <a:lnTo>
                    <a:pt x="5062" y="2186"/>
                  </a:lnTo>
                  <a:lnTo>
                    <a:pt x="5084" y="2189"/>
                  </a:lnTo>
                  <a:lnTo>
                    <a:pt x="5112" y="2189"/>
                  </a:lnTo>
                  <a:lnTo>
                    <a:pt x="5134" y="2192"/>
                  </a:lnTo>
                  <a:lnTo>
                    <a:pt x="5156" y="2192"/>
                  </a:lnTo>
                  <a:lnTo>
                    <a:pt x="5177" y="2195"/>
                  </a:lnTo>
                  <a:lnTo>
                    <a:pt x="5196" y="2201"/>
                  </a:lnTo>
                  <a:lnTo>
                    <a:pt x="5202" y="2208"/>
                  </a:lnTo>
                  <a:lnTo>
                    <a:pt x="5209" y="2217"/>
                  </a:lnTo>
                  <a:lnTo>
                    <a:pt x="5218" y="2226"/>
                  </a:lnTo>
                  <a:lnTo>
                    <a:pt x="5224" y="2236"/>
                  </a:lnTo>
                  <a:lnTo>
                    <a:pt x="5231" y="2242"/>
                  </a:lnTo>
                  <a:lnTo>
                    <a:pt x="5252" y="2248"/>
                  </a:lnTo>
                  <a:lnTo>
                    <a:pt x="5277" y="2251"/>
                  </a:lnTo>
                  <a:lnTo>
                    <a:pt x="5299" y="2251"/>
                  </a:lnTo>
                  <a:lnTo>
                    <a:pt x="5324" y="2245"/>
                  </a:lnTo>
                  <a:lnTo>
                    <a:pt x="5352" y="2233"/>
                  </a:lnTo>
                  <a:lnTo>
                    <a:pt x="5377" y="2220"/>
                  </a:lnTo>
                  <a:lnTo>
                    <a:pt x="5384" y="2217"/>
                  </a:lnTo>
                  <a:lnTo>
                    <a:pt x="5393" y="2208"/>
                  </a:lnTo>
                  <a:lnTo>
                    <a:pt x="5402" y="2201"/>
                  </a:lnTo>
                  <a:lnTo>
                    <a:pt x="5409" y="2192"/>
                  </a:lnTo>
                  <a:lnTo>
                    <a:pt x="5418" y="2186"/>
                  </a:lnTo>
                  <a:lnTo>
                    <a:pt x="5427" y="2183"/>
                  </a:lnTo>
                  <a:lnTo>
                    <a:pt x="5449" y="2179"/>
                  </a:lnTo>
                  <a:lnTo>
                    <a:pt x="5477" y="2179"/>
                  </a:lnTo>
                  <a:lnTo>
                    <a:pt x="5502" y="2179"/>
                  </a:lnTo>
                  <a:lnTo>
                    <a:pt x="5530" y="2173"/>
                  </a:lnTo>
                  <a:lnTo>
                    <a:pt x="5565" y="2161"/>
                  </a:lnTo>
                  <a:lnTo>
                    <a:pt x="5590" y="2148"/>
                  </a:lnTo>
                  <a:lnTo>
                    <a:pt x="5593" y="2142"/>
                  </a:lnTo>
                  <a:lnTo>
                    <a:pt x="5596" y="2133"/>
                  </a:lnTo>
                  <a:lnTo>
                    <a:pt x="5599" y="2123"/>
                  </a:lnTo>
                  <a:lnTo>
                    <a:pt x="5605" y="2114"/>
                  </a:lnTo>
                  <a:lnTo>
                    <a:pt x="5608" y="2108"/>
                  </a:lnTo>
                  <a:lnTo>
                    <a:pt x="5621" y="2095"/>
                  </a:lnTo>
                  <a:lnTo>
                    <a:pt x="5640" y="2086"/>
                  </a:lnTo>
                  <a:lnTo>
                    <a:pt x="5661" y="2076"/>
                  </a:lnTo>
                  <a:lnTo>
                    <a:pt x="5677" y="2076"/>
                  </a:lnTo>
                  <a:lnTo>
                    <a:pt x="5693" y="2080"/>
                  </a:lnTo>
                  <a:lnTo>
                    <a:pt x="5715" y="2092"/>
                  </a:lnTo>
                  <a:lnTo>
                    <a:pt x="5730" y="2105"/>
                  </a:lnTo>
                  <a:lnTo>
                    <a:pt x="5740" y="2120"/>
                  </a:lnTo>
                  <a:lnTo>
                    <a:pt x="5743" y="2136"/>
                  </a:lnTo>
                  <a:lnTo>
                    <a:pt x="5736" y="2154"/>
                  </a:lnTo>
                  <a:lnTo>
                    <a:pt x="5730" y="2176"/>
                  </a:lnTo>
                  <a:lnTo>
                    <a:pt x="5724" y="2195"/>
                  </a:lnTo>
                  <a:lnTo>
                    <a:pt x="5724" y="2211"/>
                  </a:lnTo>
                  <a:lnTo>
                    <a:pt x="5730" y="2220"/>
                  </a:lnTo>
                  <a:lnTo>
                    <a:pt x="5736" y="2229"/>
                  </a:lnTo>
                  <a:lnTo>
                    <a:pt x="5746" y="2239"/>
                  </a:lnTo>
                  <a:lnTo>
                    <a:pt x="5755" y="2245"/>
                  </a:lnTo>
                  <a:lnTo>
                    <a:pt x="5764" y="2254"/>
                  </a:lnTo>
                  <a:lnTo>
                    <a:pt x="5771" y="2261"/>
                  </a:lnTo>
                  <a:lnTo>
                    <a:pt x="5777" y="2264"/>
                  </a:lnTo>
                  <a:lnTo>
                    <a:pt x="5786" y="2267"/>
                  </a:lnTo>
                  <a:lnTo>
                    <a:pt x="5796" y="2270"/>
                  </a:lnTo>
                  <a:lnTo>
                    <a:pt x="5805" y="2273"/>
                  </a:lnTo>
                  <a:lnTo>
                    <a:pt x="5811" y="2276"/>
                  </a:lnTo>
                  <a:lnTo>
                    <a:pt x="5818" y="227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7" name="Freeform 61">
              <a:extLst>
                <a:ext uri="{FF2B5EF4-FFF2-40B4-BE49-F238E27FC236}">
                  <a16:creationId xmlns:a16="http://schemas.microsoft.com/office/drawing/2014/main" id="{9A0B0811-3BF9-42FD-BA46-72BD0A8BE970}"/>
                </a:ext>
              </a:extLst>
            </p:cNvPr>
            <p:cNvSpPr>
              <a:spLocks/>
            </p:cNvSpPr>
            <p:nvPr/>
          </p:nvSpPr>
          <p:spPr bwMode="auto">
            <a:xfrm>
              <a:off x="19097626" y="5170488"/>
              <a:ext cx="8521700" cy="9848850"/>
            </a:xfrm>
            <a:custGeom>
              <a:avLst/>
              <a:gdLst>
                <a:gd name="T0" fmla="*/ 5127 w 5368"/>
                <a:gd name="T1" fmla="*/ 2432 h 6204"/>
                <a:gd name="T2" fmla="*/ 5024 w 5368"/>
                <a:gd name="T3" fmla="*/ 2688 h 6204"/>
                <a:gd name="T4" fmla="*/ 4887 w 5368"/>
                <a:gd name="T5" fmla="*/ 2916 h 6204"/>
                <a:gd name="T6" fmla="*/ 4662 w 5368"/>
                <a:gd name="T7" fmla="*/ 3119 h 6204"/>
                <a:gd name="T8" fmla="*/ 4531 w 5368"/>
                <a:gd name="T9" fmla="*/ 3332 h 6204"/>
                <a:gd name="T10" fmla="*/ 4359 w 5368"/>
                <a:gd name="T11" fmla="*/ 3478 h 6204"/>
                <a:gd name="T12" fmla="*/ 3897 w 5368"/>
                <a:gd name="T13" fmla="*/ 3329 h 6204"/>
                <a:gd name="T14" fmla="*/ 3385 w 5368"/>
                <a:gd name="T15" fmla="*/ 3653 h 6204"/>
                <a:gd name="T16" fmla="*/ 2860 w 5368"/>
                <a:gd name="T17" fmla="*/ 3891 h 6204"/>
                <a:gd name="T18" fmla="*/ 2454 w 5368"/>
                <a:gd name="T19" fmla="*/ 4381 h 6204"/>
                <a:gd name="T20" fmla="*/ 2286 w 5368"/>
                <a:gd name="T21" fmla="*/ 4471 h 6204"/>
                <a:gd name="T22" fmla="*/ 2320 w 5368"/>
                <a:gd name="T23" fmla="*/ 4637 h 6204"/>
                <a:gd name="T24" fmla="*/ 2245 w 5368"/>
                <a:gd name="T25" fmla="*/ 4693 h 6204"/>
                <a:gd name="T26" fmla="*/ 2261 w 5368"/>
                <a:gd name="T27" fmla="*/ 4868 h 6204"/>
                <a:gd name="T28" fmla="*/ 2167 w 5368"/>
                <a:gd name="T29" fmla="*/ 5052 h 6204"/>
                <a:gd name="T30" fmla="*/ 2332 w 5368"/>
                <a:gd name="T31" fmla="*/ 5274 h 6204"/>
                <a:gd name="T32" fmla="*/ 2332 w 5368"/>
                <a:gd name="T33" fmla="*/ 5739 h 6204"/>
                <a:gd name="T34" fmla="*/ 2417 w 5368"/>
                <a:gd name="T35" fmla="*/ 5967 h 6204"/>
                <a:gd name="T36" fmla="*/ 2023 w 5368"/>
                <a:gd name="T37" fmla="*/ 5880 h 6204"/>
                <a:gd name="T38" fmla="*/ 1645 w 5368"/>
                <a:gd name="T39" fmla="*/ 6033 h 6204"/>
                <a:gd name="T40" fmla="*/ 1471 w 5368"/>
                <a:gd name="T41" fmla="*/ 6114 h 6204"/>
                <a:gd name="T42" fmla="*/ 1193 w 5368"/>
                <a:gd name="T43" fmla="*/ 6026 h 6204"/>
                <a:gd name="T44" fmla="*/ 802 w 5368"/>
                <a:gd name="T45" fmla="*/ 5992 h 6204"/>
                <a:gd name="T46" fmla="*/ 421 w 5368"/>
                <a:gd name="T47" fmla="*/ 6036 h 6204"/>
                <a:gd name="T48" fmla="*/ 428 w 5368"/>
                <a:gd name="T49" fmla="*/ 5752 h 6204"/>
                <a:gd name="T50" fmla="*/ 78 w 5368"/>
                <a:gd name="T51" fmla="*/ 5808 h 6204"/>
                <a:gd name="T52" fmla="*/ 215 w 5368"/>
                <a:gd name="T53" fmla="*/ 5596 h 6204"/>
                <a:gd name="T54" fmla="*/ 456 w 5368"/>
                <a:gd name="T55" fmla="*/ 5477 h 6204"/>
                <a:gd name="T56" fmla="*/ 765 w 5368"/>
                <a:gd name="T57" fmla="*/ 5368 h 6204"/>
                <a:gd name="T58" fmla="*/ 496 w 5368"/>
                <a:gd name="T59" fmla="*/ 5271 h 6204"/>
                <a:gd name="T60" fmla="*/ 303 w 5368"/>
                <a:gd name="T61" fmla="*/ 5030 h 6204"/>
                <a:gd name="T62" fmla="*/ 468 w 5368"/>
                <a:gd name="T63" fmla="*/ 4943 h 6204"/>
                <a:gd name="T64" fmla="*/ 484 w 5368"/>
                <a:gd name="T65" fmla="*/ 4702 h 6204"/>
                <a:gd name="T66" fmla="*/ 384 w 5368"/>
                <a:gd name="T67" fmla="*/ 4359 h 6204"/>
                <a:gd name="T68" fmla="*/ 28 w 5368"/>
                <a:gd name="T69" fmla="*/ 4175 h 6204"/>
                <a:gd name="T70" fmla="*/ 206 w 5368"/>
                <a:gd name="T71" fmla="*/ 3719 h 6204"/>
                <a:gd name="T72" fmla="*/ 437 w 5368"/>
                <a:gd name="T73" fmla="*/ 3656 h 6204"/>
                <a:gd name="T74" fmla="*/ 830 w 5368"/>
                <a:gd name="T75" fmla="*/ 3681 h 6204"/>
                <a:gd name="T76" fmla="*/ 924 w 5368"/>
                <a:gd name="T77" fmla="*/ 3594 h 6204"/>
                <a:gd name="T78" fmla="*/ 1527 w 5368"/>
                <a:gd name="T79" fmla="*/ 3625 h 6204"/>
                <a:gd name="T80" fmla="*/ 1552 w 5368"/>
                <a:gd name="T81" fmla="*/ 3154 h 6204"/>
                <a:gd name="T82" fmla="*/ 1952 w 5368"/>
                <a:gd name="T83" fmla="*/ 3116 h 6204"/>
                <a:gd name="T84" fmla="*/ 2332 w 5368"/>
                <a:gd name="T85" fmla="*/ 2857 h 6204"/>
                <a:gd name="T86" fmla="*/ 2610 w 5368"/>
                <a:gd name="T87" fmla="*/ 2673 h 6204"/>
                <a:gd name="T88" fmla="*/ 2851 w 5368"/>
                <a:gd name="T89" fmla="*/ 2407 h 6204"/>
                <a:gd name="T90" fmla="*/ 2820 w 5368"/>
                <a:gd name="T91" fmla="*/ 2126 h 6204"/>
                <a:gd name="T92" fmla="*/ 2823 w 5368"/>
                <a:gd name="T93" fmla="*/ 1858 h 6204"/>
                <a:gd name="T94" fmla="*/ 2482 w 5368"/>
                <a:gd name="T95" fmla="*/ 1702 h 6204"/>
                <a:gd name="T96" fmla="*/ 2411 w 5368"/>
                <a:gd name="T97" fmla="*/ 1193 h 6204"/>
                <a:gd name="T98" fmla="*/ 2208 w 5368"/>
                <a:gd name="T99" fmla="*/ 665 h 6204"/>
                <a:gd name="T100" fmla="*/ 2317 w 5368"/>
                <a:gd name="T101" fmla="*/ 321 h 6204"/>
                <a:gd name="T102" fmla="*/ 2423 w 5368"/>
                <a:gd name="T103" fmla="*/ 162 h 6204"/>
                <a:gd name="T104" fmla="*/ 2595 w 5368"/>
                <a:gd name="T105" fmla="*/ 115 h 6204"/>
                <a:gd name="T106" fmla="*/ 2891 w 5368"/>
                <a:gd name="T107" fmla="*/ 94 h 6204"/>
                <a:gd name="T108" fmla="*/ 3185 w 5368"/>
                <a:gd name="T109" fmla="*/ 250 h 6204"/>
                <a:gd name="T110" fmla="*/ 3400 w 5368"/>
                <a:gd name="T111" fmla="*/ 309 h 6204"/>
                <a:gd name="T112" fmla="*/ 3706 w 5368"/>
                <a:gd name="T113" fmla="*/ 718 h 6204"/>
                <a:gd name="T114" fmla="*/ 3903 w 5368"/>
                <a:gd name="T115" fmla="*/ 1196 h 6204"/>
                <a:gd name="T116" fmla="*/ 4091 w 5368"/>
                <a:gd name="T117" fmla="*/ 1486 h 6204"/>
                <a:gd name="T118" fmla="*/ 4481 w 5368"/>
                <a:gd name="T119" fmla="*/ 1458 h 6204"/>
                <a:gd name="T120" fmla="*/ 4671 w 5368"/>
                <a:gd name="T121" fmla="*/ 1442 h 6204"/>
                <a:gd name="T122" fmla="*/ 4996 w 5368"/>
                <a:gd name="T123" fmla="*/ 1580 h 6204"/>
                <a:gd name="T124" fmla="*/ 5165 w 5368"/>
                <a:gd name="T125" fmla="*/ 2005 h 6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68" h="6204">
                  <a:moveTo>
                    <a:pt x="5355" y="2158"/>
                  </a:moveTo>
                  <a:lnTo>
                    <a:pt x="5362" y="2176"/>
                  </a:lnTo>
                  <a:lnTo>
                    <a:pt x="5368" y="2201"/>
                  </a:lnTo>
                  <a:lnTo>
                    <a:pt x="5368" y="2220"/>
                  </a:lnTo>
                  <a:lnTo>
                    <a:pt x="5355" y="2239"/>
                  </a:lnTo>
                  <a:lnTo>
                    <a:pt x="5340" y="2254"/>
                  </a:lnTo>
                  <a:lnTo>
                    <a:pt x="5318" y="2270"/>
                  </a:lnTo>
                  <a:lnTo>
                    <a:pt x="5302" y="2282"/>
                  </a:lnTo>
                  <a:lnTo>
                    <a:pt x="5293" y="2289"/>
                  </a:lnTo>
                  <a:lnTo>
                    <a:pt x="5283" y="2295"/>
                  </a:lnTo>
                  <a:lnTo>
                    <a:pt x="5271" y="2304"/>
                  </a:lnTo>
                  <a:lnTo>
                    <a:pt x="5258" y="2314"/>
                  </a:lnTo>
                  <a:lnTo>
                    <a:pt x="5252" y="2323"/>
                  </a:lnTo>
                  <a:lnTo>
                    <a:pt x="5246" y="2339"/>
                  </a:lnTo>
                  <a:lnTo>
                    <a:pt x="5240" y="2361"/>
                  </a:lnTo>
                  <a:lnTo>
                    <a:pt x="5230" y="2376"/>
                  </a:lnTo>
                  <a:lnTo>
                    <a:pt x="5215" y="2389"/>
                  </a:lnTo>
                  <a:lnTo>
                    <a:pt x="5193" y="2401"/>
                  </a:lnTo>
                  <a:lnTo>
                    <a:pt x="5174" y="2410"/>
                  </a:lnTo>
                  <a:lnTo>
                    <a:pt x="5165" y="2414"/>
                  </a:lnTo>
                  <a:lnTo>
                    <a:pt x="5155" y="2417"/>
                  </a:lnTo>
                  <a:lnTo>
                    <a:pt x="5146" y="2423"/>
                  </a:lnTo>
                  <a:lnTo>
                    <a:pt x="5134" y="2426"/>
                  </a:lnTo>
                  <a:lnTo>
                    <a:pt x="5127" y="2432"/>
                  </a:lnTo>
                  <a:lnTo>
                    <a:pt x="5121" y="2451"/>
                  </a:lnTo>
                  <a:lnTo>
                    <a:pt x="5118" y="2473"/>
                  </a:lnTo>
                  <a:lnTo>
                    <a:pt x="5118" y="2489"/>
                  </a:lnTo>
                  <a:lnTo>
                    <a:pt x="5109" y="2492"/>
                  </a:lnTo>
                  <a:lnTo>
                    <a:pt x="5093" y="2489"/>
                  </a:lnTo>
                  <a:lnTo>
                    <a:pt x="5074" y="2489"/>
                  </a:lnTo>
                  <a:lnTo>
                    <a:pt x="5062" y="2489"/>
                  </a:lnTo>
                  <a:lnTo>
                    <a:pt x="5052" y="2492"/>
                  </a:lnTo>
                  <a:lnTo>
                    <a:pt x="5043" y="2501"/>
                  </a:lnTo>
                  <a:lnTo>
                    <a:pt x="5037" y="2510"/>
                  </a:lnTo>
                  <a:lnTo>
                    <a:pt x="5030" y="2520"/>
                  </a:lnTo>
                  <a:lnTo>
                    <a:pt x="5024" y="2529"/>
                  </a:lnTo>
                  <a:lnTo>
                    <a:pt x="5021" y="2551"/>
                  </a:lnTo>
                  <a:lnTo>
                    <a:pt x="5021" y="2582"/>
                  </a:lnTo>
                  <a:lnTo>
                    <a:pt x="5024" y="2607"/>
                  </a:lnTo>
                  <a:lnTo>
                    <a:pt x="5027" y="2610"/>
                  </a:lnTo>
                  <a:lnTo>
                    <a:pt x="5027" y="2617"/>
                  </a:lnTo>
                  <a:lnTo>
                    <a:pt x="5030" y="2626"/>
                  </a:lnTo>
                  <a:lnTo>
                    <a:pt x="5034" y="2632"/>
                  </a:lnTo>
                  <a:lnTo>
                    <a:pt x="5037" y="2638"/>
                  </a:lnTo>
                  <a:lnTo>
                    <a:pt x="5037" y="2642"/>
                  </a:lnTo>
                  <a:lnTo>
                    <a:pt x="5037" y="2648"/>
                  </a:lnTo>
                  <a:lnTo>
                    <a:pt x="5030" y="2667"/>
                  </a:lnTo>
                  <a:lnTo>
                    <a:pt x="5024" y="2688"/>
                  </a:lnTo>
                  <a:lnTo>
                    <a:pt x="5021" y="2704"/>
                  </a:lnTo>
                  <a:lnTo>
                    <a:pt x="5018" y="2713"/>
                  </a:lnTo>
                  <a:lnTo>
                    <a:pt x="5015" y="2723"/>
                  </a:lnTo>
                  <a:lnTo>
                    <a:pt x="5006" y="2741"/>
                  </a:lnTo>
                  <a:lnTo>
                    <a:pt x="4996" y="2766"/>
                  </a:lnTo>
                  <a:lnTo>
                    <a:pt x="4987" y="2791"/>
                  </a:lnTo>
                  <a:lnTo>
                    <a:pt x="4981" y="2810"/>
                  </a:lnTo>
                  <a:lnTo>
                    <a:pt x="4984" y="2829"/>
                  </a:lnTo>
                  <a:lnTo>
                    <a:pt x="4990" y="2848"/>
                  </a:lnTo>
                  <a:lnTo>
                    <a:pt x="4993" y="2863"/>
                  </a:lnTo>
                  <a:lnTo>
                    <a:pt x="4993" y="2882"/>
                  </a:lnTo>
                  <a:lnTo>
                    <a:pt x="4987" y="2904"/>
                  </a:lnTo>
                  <a:lnTo>
                    <a:pt x="4981" y="2923"/>
                  </a:lnTo>
                  <a:lnTo>
                    <a:pt x="4971" y="2935"/>
                  </a:lnTo>
                  <a:lnTo>
                    <a:pt x="4962" y="2941"/>
                  </a:lnTo>
                  <a:lnTo>
                    <a:pt x="4952" y="2941"/>
                  </a:lnTo>
                  <a:lnTo>
                    <a:pt x="4943" y="2941"/>
                  </a:lnTo>
                  <a:lnTo>
                    <a:pt x="4931" y="2941"/>
                  </a:lnTo>
                  <a:lnTo>
                    <a:pt x="4924" y="2941"/>
                  </a:lnTo>
                  <a:lnTo>
                    <a:pt x="4915" y="2938"/>
                  </a:lnTo>
                  <a:lnTo>
                    <a:pt x="4909" y="2932"/>
                  </a:lnTo>
                  <a:lnTo>
                    <a:pt x="4899" y="2923"/>
                  </a:lnTo>
                  <a:lnTo>
                    <a:pt x="4893" y="2919"/>
                  </a:lnTo>
                  <a:lnTo>
                    <a:pt x="4887" y="2916"/>
                  </a:lnTo>
                  <a:lnTo>
                    <a:pt x="4868" y="2916"/>
                  </a:lnTo>
                  <a:lnTo>
                    <a:pt x="4849" y="2919"/>
                  </a:lnTo>
                  <a:lnTo>
                    <a:pt x="4828" y="2926"/>
                  </a:lnTo>
                  <a:lnTo>
                    <a:pt x="4812" y="2932"/>
                  </a:lnTo>
                  <a:lnTo>
                    <a:pt x="4806" y="2932"/>
                  </a:lnTo>
                  <a:lnTo>
                    <a:pt x="4799" y="2929"/>
                  </a:lnTo>
                  <a:lnTo>
                    <a:pt x="4793" y="2929"/>
                  </a:lnTo>
                  <a:lnTo>
                    <a:pt x="4787" y="2929"/>
                  </a:lnTo>
                  <a:lnTo>
                    <a:pt x="4781" y="2932"/>
                  </a:lnTo>
                  <a:lnTo>
                    <a:pt x="4778" y="2935"/>
                  </a:lnTo>
                  <a:lnTo>
                    <a:pt x="4774" y="2944"/>
                  </a:lnTo>
                  <a:lnTo>
                    <a:pt x="4771" y="2954"/>
                  </a:lnTo>
                  <a:lnTo>
                    <a:pt x="4768" y="2966"/>
                  </a:lnTo>
                  <a:lnTo>
                    <a:pt x="4765" y="2973"/>
                  </a:lnTo>
                  <a:lnTo>
                    <a:pt x="4762" y="2982"/>
                  </a:lnTo>
                  <a:lnTo>
                    <a:pt x="4749" y="2991"/>
                  </a:lnTo>
                  <a:lnTo>
                    <a:pt x="4728" y="3001"/>
                  </a:lnTo>
                  <a:lnTo>
                    <a:pt x="4709" y="3007"/>
                  </a:lnTo>
                  <a:lnTo>
                    <a:pt x="4693" y="3019"/>
                  </a:lnTo>
                  <a:lnTo>
                    <a:pt x="4687" y="3038"/>
                  </a:lnTo>
                  <a:lnTo>
                    <a:pt x="4687" y="3063"/>
                  </a:lnTo>
                  <a:lnTo>
                    <a:pt x="4684" y="3082"/>
                  </a:lnTo>
                  <a:lnTo>
                    <a:pt x="4675" y="3101"/>
                  </a:lnTo>
                  <a:lnTo>
                    <a:pt x="4662" y="3119"/>
                  </a:lnTo>
                  <a:lnTo>
                    <a:pt x="4656" y="3135"/>
                  </a:lnTo>
                  <a:lnTo>
                    <a:pt x="4659" y="3144"/>
                  </a:lnTo>
                  <a:lnTo>
                    <a:pt x="4668" y="3151"/>
                  </a:lnTo>
                  <a:lnTo>
                    <a:pt x="4675" y="3160"/>
                  </a:lnTo>
                  <a:lnTo>
                    <a:pt x="4684" y="3169"/>
                  </a:lnTo>
                  <a:lnTo>
                    <a:pt x="4690" y="3176"/>
                  </a:lnTo>
                  <a:lnTo>
                    <a:pt x="4693" y="3185"/>
                  </a:lnTo>
                  <a:lnTo>
                    <a:pt x="4693" y="3200"/>
                  </a:lnTo>
                  <a:lnTo>
                    <a:pt x="4687" y="3222"/>
                  </a:lnTo>
                  <a:lnTo>
                    <a:pt x="4678" y="3238"/>
                  </a:lnTo>
                  <a:lnTo>
                    <a:pt x="4675" y="3244"/>
                  </a:lnTo>
                  <a:lnTo>
                    <a:pt x="4665" y="3254"/>
                  </a:lnTo>
                  <a:lnTo>
                    <a:pt x="4659" y="3263"/>
                  </a:lnTo>
                  <a:lnTo>
                    <a:pt x="4650" y="3269"/>
                  </a:lnTo>
                  <a:lnTo>
                    <a:pt x="4643" y="3275"/>
                  </a:lnTo>
                  <a:lnTo>
                    <a:pt x="4628" y="3285"/>
                  </a:lnTo>
                  <a:lnTo>
                    <a:pt x="4609" y="3291"/>
                  </a:lnTo>
                  <a:lnTo>
                    <a:pt x="4590" y="3297"/>
                  </a:lnTo>
                  <a:lnTo>
                    <a:pt x="4581" y="3300"/>
                  </a:lnTo>
                  <a:lnTo>
                    <a:pt x="4565" y="3307"/>
                  </a:lnTo>
                  <a:lnTo>
                    <a:pt x="4553" y="3310"/>
                  </a:lnTo>
                  <a:lnTo>
                    <a:pt x="4543" y="3316"/>
                  </a:lnTo>
                  <a:lnTo>
                    <a:pt x="4537" y="3322"/>
                  </a:lnTo>
                  <a:lnTo>
                    <a:pt x="4531" y="3332"/>
                  </a:lnTo>
                  <a:lnTo>
                    <a:pt x="4521" y="3341"/>
                  </a:lnTo>
                  <a:lnTo>
                    <a:pt x="4515" y="3350"/>
                  </a:lnTo>
                  <a:lnTo>
                    <a:pt x="4509" y="3360"/>
                  </a:lnTo>
                  <a:lnTo>
                    <a:pt x="4493" y="3366"/>
                  </a:lnTo>
                  <a:lnTo>
                    <a:pt x="4472" y="3372"/>
                  </a:lnTo>
                  <a:lnTo>
                    <a:pt x="4456" y="3378"/>
                  </a:lnTo>
                  <a:lnTo>
                    <a:pt x="4453" y="3378"/>
                  </a:lnTo>
                  <a:lnTo>
                    <a:pt x="4447" y="3375"/>
                  </a:lnTo>
                  <a:lnTo>
                    <a:pt x="4440" y="3375"/>
                  </a:lnTo>
                  <a:lnTo>
                    <a:pt x="4437" y="3378"/>
                  </a:lnTo>
                  <a:lnTo>
                    <a:pt x="4434" y="3382"/>
                  </a:lnTo>
                  <a:lnTo>
                    <a:pt x="4431" y="3388"/>
                  </a:lnTo>
                  <a:lnTo>
                    <a:pt x="4431" y="3397"/>
                  </a:lnTo>
                  <a:lnTo>
                    <a:pt x="4428" y="3407"/>
                  </a:lnTo>
                  <a:lnTo>
                    <a:pt x="4428" y="3416"/>
                  </a:lnTo>
                  <a:lnTo>
                    <a:pt x="4428" y="3422"/>
                  </a:lnTo>
                  <a:lnTo>
                    <a:pt x="4425" y="3428"/>
                  </a:lnTo>
                  <a:lnTo>
                    <a:pt x="4409" y="3435"/>
                  </a:lnTo>
                  <a:lnTo>
                    <a:pt x="4387" y="3441"/>
                  </a:lnTo>
                  <a:lnTo>
                    <a:pt x="4368" y="3447"/>
                  </a:lnTo>
                  <a:lnTo>
                    <a:pt x="4356" y="3457"/>
                  </a:lnTo>
                  <a:lnTo>
                    <a:pt x="4356" y="3463"/>
                  </a:lnTo>
                  <a:lnTo>
                    <a:pt x="4356" y="3469"/>
                  </a:lnTo>
                  <a:lnTo>
                    <a:pt x="4359" y="3478"/>
                  </a:lnTo>
                  <a:lnTo>
                    <a:pt x="4362" y="3488"/>
                  </a:lnTo>
                  <a:lnTo>
                    <a:pt x="4334" y="3488"/>
                  </a:lnTo>
                  <a:lnTo>
                    <a:pt x="4306" y="3488"/>
                  </a:lnTo>
                  <a:lnTo>
                    <a:pt x="4281" y="3488"/>
                  </a:lnTo>
                  <a:lnTo>
                    <a:pt x="4256" y="3485"/>
                  </a:lnTo>
                  <a:lnTo>
                    <a:pt x="4225" y="3478"/>
                  </a:lnTo>
                  <a:lnTo>
                    <a:pt x="4200" y="3472"/>
                  </a:lnTo>
                  <a:lnTo>
                    <a:pt x="4181" y="3466"/>
                  </a:lnTo>
                  <a:lnTo>
                    <a:pt x="4162" y="3457"/>
                  </a:lnTo>
                  <a:lnTo>
                    <a:pt x="4147" y="3444"/>
                  </a:lnTo>
                  <a:lnTo>
                    <a:pt x="4147" y="3425"/>
                  </a:lnTo>
                  <a:lnTo>
                    <a:pt x="4156" y="3403"/>
                  </a:lnTo>
                  <a:lnTo>
                    <a:pt x="4166" y="3382"/>
                  </a:lnTo>
                  <a:lnTo>
                    <a:pt x="4169" y="3363"/>
                  </a:lnTo>
                  <a:lnTo>
                    <a:pt x="4156" y="3341"/>
                  </a:lnTo>
                  <a:lnTo>
                    <a:pt x="4137" y="3316"/>
                  </a:lnTo>
                  <a:lnTo>
                    <a:pt x="4119" y="3300"/>
                  </a:lnTo>
                  <a:lnTo>
                    <a:pt x="4091" y="3291"/>
                  </a:lnTo>
                  <a:lnTo>
                    <a:pt x="4056" y="3285"/>
                  </a:lnTo>
                  <a:lnTo>
                    <a:pt x="4025" y="3285"/>
                  </a:lnTo>
                  <a:lnTo>
                    <a:pt x="3997" y="3288"/>
                  </a:lnTo>
                  <a:lnTo>
                    <a:pt x="3966" y="3300"/>
                  </a:lnTo>
                  <a:lnTo>
                    <a:pt x="3931" y="3313"/>
                  </a:lnTo>
                  <a:lnTo>
                    <a:pt x="3897" y="3329"/>
                  </a:lnTo>
                  <a:lnTo>
                    <a:pt x="3872" y="3338"/>
                  </a:lnTo>
                  <a:lnTo>
                    <a:pt x="3841" y="3350"/>
                  </a:lnTo>
                  <a:lnTo>
                    <a:pt x="3806" y="3363"/>
                  </a:lnTo>
                  <a:lnTo>
                    <a:pt x="3778" y="3378"/>
                  </a:lnTo>
                  <a:lnTo>
                    <a:pt x="3756" y="3394"/>
                  </a:lnTo>
                  <a:lnTo>
                    <a:pt x="3738" y="3419"/>
                  </a:lnTo>
                  <a:lnTo>
                    <a:pt x="3716" y="3444"/>
                  </a:lnTo>
                  <a:lnTo>
                    <a:pt x="3697" y="3466"/>
                  </a:lnTo>
                  <a:lnTo>
                    <a:pt x="3678" y="3482"/>
                  </a:lnTo>
                  <a:lnTo>
                    <a:pt x="3657" y="3503"/>
                  </a:lnTo>
                  <a:lnTo>
                    <a:pt x="3635" y="3516"/>
                  </a:lnTo>
                  <a:lnTo>
                    <a:pt x="3613" y="3531"/>
                  </a:lnTo>
                  <a:lnTo>
                    <a:pt x="3585" y="3547"/>
                  </a:lnTo>
                  <a:lnTo>
                    <a:pt x="3560" y="3560"/>
                  </a:lnTo>
                  <a:lnTo>
                    <a:pt x="3541" y="3563"/>
                  </a:lnTo>
                  <a:lnTo>
                    <a:pt x="3516" y="3563"/>
                  </a:lnTo>
                  <a:lnTo>
                    <a:pt x="3488" y="3566"/>
                  </a:lnTo>
                  <a:lnTo>
                    <a:pt x="3469" y="3572"/>
                  </a:lnTo>
                  <a:lnTo>
                    <a:pt x="3450" y="3588"/>
                  </a:lnTo>
                  <a:lnTo>
                    <a:pt x="3432" y="3610"/>
                  </a:lnTo>
                  <a:lnTo>
                    <a:pt x="3413" y="3625"/>
                  </a:lnTo>
                  <a:lnTo>
                    <a:pt x="3404" y="3635"/>
                  </a:lnTo>
                  <a:lnTo>
                    <a:pt x="3394" y="3644"/>
                  </a:lnTo>
                  <a:lnTo>
                    <a:pt x="3385" y="3653"/>
                  </a:lnTo>
                  <a:lnTo>
                    <a:pt x="3372" y="3663"/>
                  </a:lnTo>
                  <a:lnTo>
                    <a:pt x="3366" y="3672"/>
                  </a:lnTo>
                  <a:lnTo>
                    <a:pt x="3354" y="3691"/>
                  </a:lnTo>
                  <a:lnTo>
                    <a:pt x="3341" y="3719"/>
                  </a:lnTo>
                  <a:lnTo>
                    <a:pt x="3329" y="3744"/>
                  </a:lnTo>
                  <a:lnTo>
                    <a:pt x="3313" y="3766"/>
                  </a:lnTo>
                  <a:lnTo>
                    <a:pt x="3294" y="3775"/>
                  </a:lnTo>
                  <a:lnTo>
                    <a:pt x="3269" y="3784"/>
                  </a:lnTo>
                  <a:lnTo>
                    <a:pt x="3244" y="3791"/>
                  </a:lnTo>
                  <a:lnTo>
                    <a:pt x="3226" y="3800"/>
                  </a:lnTo>
                  <a:lnTo>
                    <a:pt x="3204" y="3816"/>
                  </a:lnTo>
                  <a:lnTo>
                    <a:pt x="3182" y="3837"/>
                  </a:lnTo>
                  <a:lnTo>
                    <a:pt x="3157" y="3856"/>
                  </a:lnTo>
                  <a:lnTo>
                    <a:pt x="3135" y="3872"/>
                  </a:lnTo>
                  <a:lnTo>
                    <a:pt x="3110" y="3881"/>
                  </a:lnTo>
                  <a:lnTo>
                    <a:pt x="3082" y="3891"/>
                  </a:lnTo>
                  <a:lnTo>
                    <a:pt x="3051" y="3897"/>
                  </a:lnTo>
                  <a:lnTo>
                    <a:pt x="3026" y="3900"/>
                  </a:lnTo>
                  <a:lnTo>
                    <a:pt x="3007" y="3900"/>
                  </a:lnTo>
                  <a:lnTo>
                    <a:pt x="2985" y="3897"/>
                  </a:lnTo>
                  <a:lnTo>
                    <a:pt x="2966" y="3894"/>
                  </a:lnTo>
                  <a:lnTo>
                    <a:pt x="2935" y="3894"/>
                  </a:lnTo>
                  <a:lnTo>
                    <a:pt x="2898" y="3891"/>
                  </a:lnTo>
                  <a:lnTo>
                    <a:pt x="2860" y="3891"/>
                  </a:lnTo>
                  <a:lnTo>
                    <a:pt x="2829" y="3894"/>
                  </a:lnTo>
                  <a:lnTo>
                    <a:pt x="2807" y="3906"/>
                  </a:lnTo>
                  <a:lnTo>
                    <a:pt x="2785" y="3922"/>
                  </a:lnTo>
                  <a:lnTo>
                    <a:pt x="2763" y="3937"/>
                  </a:lnTo>
                  <a:lnTo>
                    <a:pt x="2748" y="3953"/>
                  </a:lnTo>
                  <a:lnTo>
                    <a:pt x="2726" y="3981"/>
                  </a:lnTo>
                  <a:lnTo>
                    <a:pt x="2704" y="4019"/>
                  </a:lnTo>
                  <a:lnTo>
                    <a:pt x="2682" y="4056"/>
                  </a:lnTo>
                  <a:lnTo>
                    <a:pt x="2660" y="4084"/>
                  </a:lnTo>
                  <a:lnTo>
                    <a:pt x="2642" y="4097"/>
                  </a:lnTo>
                  <a:lnTo>
                    <a:pt x="2620" y="4112"/>
                  </a:lnTo>
                  <a:lnTo>
                    <a:pt x="2601" y="4125"/>
                  </a:lnTo>
                  <a:lnTo>
                    <a:pt x="2585" y="4147"/>
                  </a:lnTo>
                  <a:lnTo>
                    <a:pt x="2570" y="4178"/>
                  </a:lnTo>
                  <a:lnTo>
                    <a:pt x="2551" y="4206"/>
                  </a:lnTo>
                  <a:lnTo>
                    <a:pt x="2539" y="4231"/>
                  </a:lnTo>
                  <a:lnTo>
                    <a:pt x="2520" y="4247"/>
                  </a:lnTo>
                  <a:lnTo>
                    <a:pt x="2501" y="4265"/>
                  </a:lnTo>
                  <a:lnTo>
                    <a:pt x="2485" y="4284"/>
                  </a:lnTo>
                  <a:lnTo>
                    <a:pt x="2482" y="4300"/>
                  </a:lnTo>
                  <a:lnTo>
                    <a:pt x="2479" y="4321"/>
                  </a:lnTo>
                  <a:lnTo>
                    <a:pt x="2476" y="4340"/>
                  </a:lnTo>
                  <a:lnTo>
                    <a:pt x="2467" y="4359"/>
                  </a:lnTo>
                  <a:lnTo>
                    <a:pt x="2454" y="4381"/>
                  </a:lnTo>
                  <a:lnTo>
                    <a:pt x="2439" y="4396"/>
                  </a:lnTo>
                  <a:lnTo>
                    <a:pt x="2423" y="4412"/>
                  </a:lnTo>
                  <a:lnTo>
                    <a:pt x="2404" y="4428"/>
                  </a:lnTo>
                  <a:lnTo>
                    <a:pt x="2386" y="4434"/>
                  </a:lnTo>
                  <a:lnTo>
                    <a:pt x="2376" y="4434"/>
                  </a:lnTo>
                  <a:lnTo>
                    <a:pt x="2367" y="4431"/>
                  </a:lnTo>
                  <a:lnTo>
                    <a:pt x="2357" y="4428"/>
                  </a:lnTo>
                  <a:lnTo>
                    <a:pt x="2348" y="4425"/>
                  </a:lnTo>
                  <a:lnTo>
                    <a:pt x="2339" y="4418"/>
                  </a:lnTo>
                  <a:lnTo>
                    <a:pt x="2339" y="4415"/>
                  </a:lnTo>
                  <a:lnTo>
                    <a:pt x="2336" y="4409"/>
                  </a:lnTo>
                  <a:lnTo>
                    <a:pt x="2336" y="4400"/>
                  </a:lnTo>
                  <a:lnTo>
                    <a:pt x="2332" y="4393"/>
                  </a:lnTo>
                  <a:lnTo>
                    <a:pt x="2332" y="4390"/>
                  </a:lnTo>
                  <a:lnTo>
                    <a:pt x="2329" y="4384"/>
                  </a:lnTo>
                  <a:lnTo>
                    <a:pt x="2317" y="4384"/>
                  </a:lnTo>
                  <a:lnTo>
                    <a:pt x="2301" y="4387"/>
                  </a:lnTo>
                  <a:lnTo>
                    <a:pt x="2286" y="4393"/>
                  </a:lnTo>
                  <a:lnTo>
                    <a:pt x="2276" y="4400"/>
                  </a:lnTo>
                  <a:lnTo>
                    <a:pt x="2270" y="4418"/>
                  </a:lnTo>
                  <a:lnTo>
                    <a:pt x="2270" y="4440"/>
                  </a:lnTo>
                  <a:lnTo>
                    <a:pt x="2276" y="4459"/>
                  </a:lnTo>
                  <a:lnTo>
                    <a:pt x="2279" y="4465"/>
                  </a:lnTo>
                  <a:lnTo>
                    <a:pt x="2286" y="4471"/>
                  </a:lnTo>
                  <a:lnTo>
                    <a:pt x="2295" y="4478"/>
                  </a:lnTo>
                  <a:lnTo>
                    <a:pt x="2301" y="4484"/>
                  </a:lnTo>
                  <a:lnTo>
                    <a:pt x="2308" y="4487"/>
                  </a:lnTo>
                  <a:lnTo>
                    <a:pt x="2314" y="4490"/>
                  </a:lnTo>
                  <a:lnTo>
                    <a:pt x="2320" y="4490"/>
                  </a:lnTo>
                  <a:lnTo>
                    <a:pt x="2326" y="4493"/>
                  </a:lnTo>
                  <a:lnTo>
                    <a:pt x="2329" y="4493"/>
                  </a:lnTo>
                  <a:lnTo>
                    <a:pt x="2332" y="4499"/>
                  </a:lnTo>
                  <a:lnTo>
                    <a:pt x="2332" y="4509"/>
                  </a:lnTo>
                  <a:lnTo>
                    <a:pt x="2332" y="4518"/>
                  </a:lnTo>
                  <a:lnTo>
                    <a:pt x="2332" y="4528"/>
                  </a:lnTo>
                  <a:lnTo>
                    <a:pt x="2332" y="4534"/>
                  </a:lnTo>
                  <a:lnTo>
                    <a:pt x="2332" y="4543"/>
                  </a:lnTo>
                  <a:lnTo>
                    <a:pt x="2332" y="4556"/>
                  </a:lnTo>
                  <a:lnTo>
                    <a:pt x="2332" y="4565"/>
                  </a:lnTo>
                  <a:lnTo>
                    <a:pt x="2332" y="4574"/>
                  </a:lnTo>
                  <a:lnTo>
                    <a:pt x="2329" y="4581"/>
                  </a:lnTo>
                  <a:lnTo>
                    <a:pt x="2326" y="4584"/>
                  </a:lnTo>
                  <a:lnTo>
                    <a:pt x="2323" y="4590"/>
                  </a:lnTo>
                  <a:lnTo>
                    <a:pt x="2320" y="4593"/>
                  </a:lnTo>
                  <a:lnTo>
                    <a:pt x="2317" y="4603"/>
                  </a:lnTo>
                  <a:lnTo>
                    <a:pt x="2317" y="4612"/>
                  </a:lnTo>
                  <a:lnTo>
                    <a:pt x="2317" y="4624"/>
                  </a:lnTo>
                  <a:lnTo>
                    <a:pt x="2320" y="4637"/>
                  </a:lnTo>
                  <a:lnTo>
                    <a:pt x="2320" y="4643"/>
                  </a:lnTo>
                  <a:lnTo>
                    <a:pt x="2320" y="4652"/>
                  </a:lnTo>
                  <a:lnTo>
                    <a:pt x="2320" y="4665"/>
                  </a:lnTo>
                  <a:lnTo>
                    <a:pt x="2320" y="4677"/>
                  </a:lnTo>
                  <a:lnTo>
                    <a:pt x="2320" y="4687"/>
                  </a:lnTo>
                  <a:lnTo>
                    <a:pt x="2317" y="4693"/>
                  </a:lnTo>
                  <a:lnTo>
                    <a:pt x="2317" y="4699"/>
                  </a:lnTo>
                  <a:lnTo>
                    <a:pt x="2314" y="4709"/>
                  </a:lnTo>
                  <a:lnTo>
                    <a:pt x="2311" y="4715"/>
                  </a:lnTo>
                  <a:lnTo>
                    <a:pt x="2304" y="4718"/>
                  </a:lnTo>
                  <a:lnTo>
                    <a:pt x="2301" y="4721"/>
                  </a:lnTo>
                  <a:lnTo>
                    <a:pt x="2295" y="4718"/>
                  </a:lnTo>
                  <a:lnTo>
                    <a:pt x="2286" y="4718"/>
                  </a:lnTo>
                  <a:lnTo>
                    <a:pt x="2279" y="4715"/>
                  </a:lnTo>
                  <a:lnTo>
                    <a:pt x="2276" y="4712"/>
                  </a:lnTo>
                  <a:lnTo>
                    <a:pt x="2270" y="4706"/>
                  </a:lnTo>
                  <a:lnTo>
                    <a:pt x="2267" y="4699"/>
                  </a:lnTo>
                  <a:lnTo>
                    <a:pt x="2264" y="4693"/>
                  </a:lnTo>
                  <a:lnTo>
                    <a:pt x="2258" y="4684"/>
                  </a:lnTo>
                  <a:lnTo>
                    <a:pt x="2254" y="4681"/>
                  </a:lnTo>
                  <a:lnTo>
                    <a:pt x="2251" y="4677"/>
                  </a:lnTo>
                  <a:lnTo>
                    <a:pt x="2248" y="4681"/>
                  </a:lnTo>
                  <a:lnTo>
                    <a:pt x="2245" y="4687"/>
                  </a:lnTo>
                  <a:lnTo>
                    <a:pt x="2245" y="4693"/>
                  </a:lnTo>
                  <a:lnTo>
                    <a:pt x="2245" y="4699"/>
                  </a:lnTo>
                  <a:lnTo>
                    <a:pt x="2248" y="4709"/>
                  </a:lnTo>
                  <a:lnTo>
                    <a:pt x="2248" y="4715"/>
                  </a:lnTo>
                  <a:lnTo>
                    <a:pt x="2251" y="4718"/>
                  </a:lnTo>
                  <a:lnTo>
                    <a:pt x="2261" y="4743"/>
                  </a:lnTo>
                  <a:lnTo>
                    <a:pt x="2276" y="4774"/>
                  </a:lnTo>
                  <a:lnTo>
                    <a:pt x="2295" y="4796"/>
                  </a:lnTo>
                  <a:lnTo>
                    <a:pt x="2301" y="4802"/>
                  </a:lnTo>
                  <a:lnTo>
                    <a:pt x="2311" y="4809"/>
                  </a:lnTo>
                  <a:lnTo>
                    <a:pt x="2320" y="4815"/>
                  </a:lnTo>
                  <a:lnTo>
                    <a:pt x="2329" y="4821"/>
                  </a:lnTo>
                  <a:lnTo>
                    <a:pt x="2336" y="4827"/>
                  </a:lnTo>
                  <a:lnTo>
                    <a:pt x="2342" y="4834"/>
                  </a:lnTo>
                  <a:lnTo>
                    <a:pt x="2342" y="4840"/>
                  </a:lnTo>
                  <a:lnTo>
                    <a:pt x="2345" y="4849"/>
                  </a:lnTo>
                  <a:lnTo>
                    <a:pt x="2342" y="4855"/>
                  </a:lnTo>
                  <a:lnTo>
                    <a:pt x="2342" y="4865"/>
                  </a:lnTo>
                  <a:lnTo>
                    <a:pt x="2339" y="4871"/>
                  </a:lnTo>
                  <a:lnTo>
                    <a:pt x="2323" y="4880"/>
                  </a:lnTo>
                  <a:lnTo>
                    <a:pt x="2298" y="4887"/>
                  </a:lnTo>
                  <a:lnTo>
                    <a:pt x="2276" y="4887"/>
                  </a:lnTo>
                  <a:lnTo>
                    <a:pt x="2273" y="4884"/>
                  </a:lnTo>
                  <a:lnTo>
                    <a:pt x="2267" y="4877"/>
                  </a:lnTo>
                  <a:lnTo>
                    <a:pt x="2261" y="4868"/>
                  </a:lnTo>
                  <a:lnTo>
                    <a:pt x="2258" y="4859"/>
                  </a:lnTo>
                  <a:lnTo>
                    <a:pt x="2251" y="4849"/>
                  </a:lnTo>
                  <a:lnTo>
                    <a:pt x="2245" y="4843"/>
                  </a:lnTo>
                  <a:lnTo>
                    <a:pt x="2239" y="4840"/>
                  </a:lnTo>
                  <a:lnTo>
                    <a:pt x="2220" y="4843"/>
                  </a:lnTo>
                  <a:lnTo>
                    <a:pt x="2198" y="4855"/>
                  </a:lnTo>
                  <a:lnTo>
                    <a:pt x="2176" y="4871"/>
                  </a:lnTo>
                  <a:lnTo>
                    <a:pt x="2167" y="4887"/>
                  </a:lnTo>
                  <a:lnTo>
                    <a:pt x="2170" y="4893"/>
                  </a:lnTo>
                  <a:lnTo>
                    <a:pt x="2173" y="4899"/>
                  </a:lnTo>
                  <a:lnTo>
                    <a:pt x="2179" y="4905"/>
                  </a:lnTo>
                  <a:lnTo>
                    <a:pt x="2186" y="4915"/>
                  </a:lnTo>
                  <a:lnTo>
                    <a:pt x="2192" y="4921"/>
                  </a:lnTo>
                  <a:lnTo>
                    <a:pt x="2192" y="4927"/>
                  </a:lnTo>
                  <a:lnTo>
                    <a:pt x="2192" y="4934"/>
                  </a:lnTo>
                  <a:lnTo>
                    <a:pt x="2189" y="4943"/>
                  </a:lnTo>
                  <a:lnTo>
                    <a:pt x="2183" y="4949"/>
                  </a:lnTo>
                  <a:lnTo>
                    <a:pt x="2176" y="4959"/>
                  </a:lnTo>
                  <a:lnTo>
                    <a:pt x="2170" y="4968"/>
                  </a:lnTo>
                  <a:lnTo>
                    <a:pt x="2167" y="4974"/>
                  </a:lnTo>
                  <a:lnTo>
                    <a:pt x="2164" y="4993"/>
                  </a:lnTo>
                  <a:lnTo>
                    <a:pt x="2164" y="5015"/>
                  </a:lnTo>
                  <a:lnTo>
                    <a:pt x="2164" y="5037"/>
                  </a:lnTo>
                  <a:lnTo>
                    <a:pt x="2167" y="5052"/>
                  </a:lnTo>
                  <a:lnTo>
                    <a:pt x="2173" y="5062"/>
                  </a:lnTo>
                  <a:lnTo>
                    <a:pt x="2179" y="5068"/>
                  </a:lnTo>
                  <a:lnTo>
                    <a:pt x="2189" y="5074"/>
                  </a:lnTo>
                  <a:lnTo>
                    <a:pt x="2198" y="5080"/>
                  </a:lnTo>
                  <a:lnTo>
                    <a:pt x="2208" y="5087"/>
                  </a:lnTo>
                  <a:lnTo>
                    <a:pt x="2217" y="5090"/>
                  </a:lnTo>
                  <a:lnTo>
                    <a:pt x="2236" y="5090"/>
                  </a:lnTo>
                  <a:lnTo>
                    <a:pt x="2258" y="5083"/>
                  </a:lnTo>
                  <a:lnTo>
                    <a:pt x="2283" y="5077"/>
                  </a:lnTo>
                  <a:lnTo>
                    <a:pt x="2301" y="5077"/>
                  </a:lnTo>
                  <a:lnTo>
                    <a:pt x="2317" y="5087"/>
                  </a:lnTo>
                  <a:lnTo>
                    <a:pt x="2336" y="5102"/>
                  </a:lnTo>
                  <a:lnTo>
                    <a:pt x="2354" y="5121"/>
                  </a:lnTo>
                  <a:lnTo>
                    <a:pt x="2364" y="5136"/>
                  </a:lnTo>
                  <a:lnTo>
                    <a:pt x="2370" y="5146"/>
                  </a:lnTo>
                  <a:lnTo>
                    <a:pt x="2373" y="5158"/>
                  </a:lnTo>
                  <a:lnTo>
                    <a:pt x="2373" y="5171"/>
                  </a:lnTo>
                  <a:lnTo>
                    <a:pt x="2376" y="5180"/>
                  </a:lnTo>
                  <a:lnTo>
                    <a:pt x="2373" y="5205"/>
                  </a:lnTo>
                  <a:lnTo>
                    <a:pt x="2367" y="5230"/>
                  </a:lnTo>
                  <a:lnTo>
                    <a:pt x="2357" y="5252"/>
                  </a:lnTo>
                  <a:lnTo>
                    <a:pt x="2351" y="5258"/>
                  </a:lnTo>
                  <a:lnTo>
                    <a:pt x="2342" y="5265"/>
                  </a:lnTo>
                  <a:lnTo>
                    <a:pt x="2332" y="5274"/>
                  </a:lnTo>
                  <a:lnTo>
                    <a:pt x="2326" y="5280"/>
                  </a:lnTo>
                  <a:lnTo>
                    <a:pt x="2320" y="5286"/>
                  </a:lnTo>
                  <a:lnTo>
                    <a:pt x="2320" y="5308"/>
                  </a:lnTo>
                  <a:lnTo>
                    <a:pt x="2329" y="5333"/>
                  </a:lnTo>
                  <a:lnTo>
                    <a:pt x="2339" y="5358"/>
                  </a:lnTo>
                  <a:lnTo>
                    <a:pt x="2342" y="5377"/>
                  </a:lnTo>
                  <a:lnTo>
                    <a:pt x="2339" y="5386"/>
                  </a:lnTo>
                  <a:lnTo>
                    <a:pt x="2336" y="5396"/>
                  </a:lnTo>
                  <a:lnTo>
                    <a:pt x="2332" y="5408"/>
                  </a:lnTo>
                  <a:lnTo>
                    <a:pt x="2329" y="5418"/>
                  </a:lnTo>
                  <a:lnTo>
                    <a:pt x="2326" y="5427"/>
                  </a:lnTo>
                  <a:lnTo>
                    <a:pt x="2326" y="5436"/>
                  </a:lnTo>
                  <a:lnTo>
                    <a:pt x="2326" y="5446"/>
                  </a:lnTo>
                  <a:lnTo>
                    <a:pt x="2326" y="5455"/>
                  </a:lnTo>
                  <a:lnTo>
                    <a:pt x="2326" y="5464"/>
                  </a:lnTo>
                  <a:lnTo>
                    <a:pt x="2320" y="5496"/>
                  </a:lnTo>
                  <a:lnTo>
                    <a:pt x="2311" y="5530"/>
                  </a:lnTo>
                  <a:lnTo>
                    <a:pt x="2298" y="5564"/>
                  </a:lnTo>
                  <a:lnTo>
                    <a:pt x="2295" y="5592"/>
                  </a:lnTo>
                  <a:lnTo>
                    <a:pt x="2298" y="5620"/>
                  </a:lnTo>
                  <a:lnTo>
                    <a:pt x="2301" y="5655"/>
                  </a:lnTo>
                  <a:lnTo>
                    <a:pt x="2308" y="5689"/>
                  </a:lnTo>
                  <a:lnTo>
                    <a:pt x="2320" y="5717"/>
                  </a:lnTo>
                  <a:lnTo>
                    <a:pt x="2332" y="5739"/>
                  </a:lnTo>
                  <a:lnTo>
                    <a:pt x="2348" y="5742"/>
                  </a:lnTo>
                  <a:lnTo>
                    <a:pt x="2370" y="5742"/>
                  </a:lnTo>
                  <a:lnTo>
                    <a:pt x="2392" y="5739"/>
                  </a:lnTo>
                  <a:lnTo>
                    <a:pt x="2411" y="5739"/>
                  </a:lnTo>
                  <a:lnTo>
                    <a:pt x="2429" y="5742"/>
                  </a:lnTo>
                  <a:lnTo>
                    <a:pt x="2448" y="5745"/>
                  </a:lnTo>
                  <a:lnTo>
                    <a:pt x="2470" y="5752"/>
                  </a:lnTo>
                  <a:lnTo>
                    <a:pt x="2482" y="5761"/>
                  </a:lnTo>
                  <a:lnTo>
                    <a:pt x="2489" y="5777"/>
                  </a:lnTo>
                  <a:lnTo>
                    <a:pt x="2489" y="5798"/>
                  </a:lnTo>
                  <a:lnTo>
                    <a:pt x="2489" y="5820"/>
                  </a:lnTo>
                  <a:lnTo>
                    <a:pt x="2492" y="5836"/>
                  </a:lnTo>
                  <a:lnTo>
                    <a:pt x="2507" y="5848"/>
                  </a:lnTo>
                  <a:lnTo>
                    <a:pt x="2529" y="5861"/>
                  </a:lnTo>
                  <a:lnTo>
                    <a:pt x="2545" y="5873"/>
                  </a:lnTo>
                  <a:lnTo>
                    <a:pt x="2545" y="5889"/>
                  </a:lnTo>
                  <a:lnTo>
                    <a:pt x="2542" y="5911"/>
                  </a:lnTo>
                  <a:lnTo>
                    <a:pt x="2535" y="5930"/>
                  </a:lnTo>
                  <a:lnTo>
                    <a:pt x="2529" y="5942"/>
                  </a:lnTo>
                  <a:lnTo>
                    <a:pt x="2510" y="5955"/>
                  </a:lnTo>
                  <a:lnTo>
                    <a:pt x="2489" y="5964"/>
                  </a:lnTo>
                  <a:lnTo>
                    <a:pt x="2464" y="5970"/>
                  </a:lnTo>
                  <a:lnTo>
                    <a:pt x="2442" y="5970"/>
                  </a:lnTo>
                  <a:lnTo>
                    <a:pt x="2417" y="5967"/>
                  </a:lnTo>
                  <a:lnTo>
                    <a:pt x="2389" y="5955"/>
                  </a:lnTo>
                  <a:lnTo>
                    <a:pt x="2364" y="5942"/>
                  </a:lnTo>
                  <a:lnTo>
                    <a:pt x="2342" y="5927"/>
                  </a:lnTo>
                  <a:lnTo>
                    <a:pt x="2336" y="5920"/>
                  </a:lnTo>
                  <a:lnTo>
                    <a:pt x="2329" y="5911"/>
                  </a:lnTo>
                  <a:lnTo>
                    <a:pt x="2323" y="5898"/>
                  </a:lnTo>
                  <a:lnTo>
                    <a:pt x="2314" y="5889"/>
                  </a:lnTo>
                  <a:lnTo>
                    <a:pt x="2308" y="5883"/>
                  </a:lnTo>
                  <a:lnTo>
                    <a:pt x="2292" y="5873"/>
                  </a:lnTo>
                  <a:lnTo>
                    <a:pt x="2270" y="5864"/>
                  </a:lnTo>
                  <a:lnTo>
                    <a:pt x="2245" y="5858"/>
                  </a:lnTo>
                  <a:lnTo>
                    <a:pt x="2226" y="5855"/>
                  </a:lnTo>
                  <a:lnTo>
                    <a:pt x="2220" y="5858"/>
                  </a:lnTo>
                  <a:lnTo>
                    <a:pt x="2211" y="5864"/>
                  </a:lnTo>
                  <a:lnTo>
                    <a:pt x="2201" y="5870"/>
                  </a:lnTo>
                  <a:lnTo>
                    <a:pt x="2192" y="5877"/>
                  </a:lnTo>
                  <a:lnTo>
                    <a:pt x="2186" y="5880"/>
                  </a:lnTo>
                  <a:lnTo>
                    <a:pt x="2179" y="5883"/>
                  </a:lnTo>
                  <a:lnTo>
                    <a:pt x="2154" y="5886"/>
                  </a:lnTo>
                  <a:lnTo>
                    <a:pt x="2126" y="5886"/>
                  </a:lnTo>
                  <a:lnTo>
                    <a:pt x="2105" y="5886"/>
                  </a:lnTo>
                  <a:lnTo>
                    <a:pt x="2080" y="5883"/>
                  </a:lnTo>
                  <a:lnTo>
                    <a:pt x="2048" y="5880"/>
                  </a:lnTo>
                  <a:lnTo>
                    <a:pt x="2023" y="5880"/>
                  </a:lnTo>
                  <a:lnTo>
                    <a:pt x="2014" y="5883"/>
                  </a:lnTo>
                  <a:lnTo>
                    <a:pt x="2005" y="5886"/>
                  </a:lnTo>
                  <a:lnTo>
                    <a:pt x="1995" y="5892"/>
                  </a:lnTo>
                  <a:lnTo>
                    <a:pt x="1989" y="5898"/>
                  </a:lnTo>
                  <a:lnTo>
                    <a:pt x="1983" y="5902"/>
                  </a:lnTo>
                  <a:lnTo>
                    <a:pt x="1961" y="5923"/>
                  </a:lnTo>
                  <a:lnTo>
                    <a:pt x="1942" y="5951"/>
                  </a:lnTo>
                  <a:lnTo>
                    <a:pt x="1920" y="5970"/>
                  </a:lnTo>
                  <a:lnTo>
                    <a:pt x="1889" y="5983"/>
                  </a:lnTo>
                  <a:lnTo>
                    <a:pt x="1852" y="5986"/>
                  </a:lnTo>
                  <a:lnTo>
                    <a:pt x="1820" y="5989"/>
                  </a:lnTo>
                  <a:lnTo>
                    <a:pt x="1805" y="5986"/>
                  </a:lnTo>
                  <a:lnTo>
                    <a:pt x="1789" y="5980"/>
                  </a:lnTo>
                  <a:lnTo>
                    <a:pt x="1770" y="5973"/>
                  </a:lnTo>
                  <a:lnTo>
                    <a:pt x="1758" y="5973"/>
                  </a:lnTo>
                  <a:lnTo>
                    <a:pt x="1749" y="5986"/>
                  </a:lnTo>
                  <a:lnTo>
                    <a:pt x="1739" y="6001"/>
                  </a:lnTo>
                  <a:lnTo>
                    <a:pt x="1733" y="6020"/>
                  </a:lnTo>
                  <a:lnTo>
                    <a:pt x="1727" y="6033"/>
                  </a:lnTo>
                  <a:lnTo>
                    <a:pt x="1711" y="6036"/>
                  </a:lnTo>
                  <a:lnTo>
                    <a:pt x="1695" y="6033"/>
                  </a:lnTo>
                  <a:lnTo>
                    <a:pt x="1677" y="6030"/>
                  </a:lnTo>
                  <a:lnTo>
                    <a:pt x="1658" y="6026"/>
                  </a:lnTo>
                  <a:lnTo>
                    <a:pt x="1645" y="6033"/>
                  </a:lnTo>
                  <a:lnTo>
                    <a:pt x="1639" y="6045"/>
                  </a:lnTo>
                  <a:lnTo>
                    <a:pt x="1639" y="6067"/>
                  </a:lnTo>
                  <a:lnTo>
                    <a:pt x="1642" y="6086"/>
                  </a:lnTo>
                  <a:lnTo>
                    <a:pt x="1645" y="6104"/>
                  </a:lnTo>
                  <a:lnTo>
                    <a:pt x="1655" y="6120"/>
                  </a:lnTo>
                  <a:lnTo>
                    <a:pt x="1670" y="6139"/>
                  </a:lnTo>
                  <a:lnTo>
                    <a:pt x="1686" y="6161"/>
                  </a:lnTo>
                  <a:lnTo>
                    <a:pt x="1695" y="6179"/>
                  </a:lnTo>
                  <a:lnTo>
                    <a:pt x="1695" y="6192"/>
                  </a:lnTo>
                  <a:lnTo>
                    <a:pt x="1683" y="6201"/>
                  </a:lnTo>
                  <a:lnTo>
                    <a:pt x="1667" y="6204"/>
                  </a:lnTo>
                  <a:lnTo>
                    <a:pt x="1645" y="6201"/>
                  </a:lnTo>
                  <a:lnTo>
                    <a:pt x="1627" y="6198"/>
                  </a:lnTo>
                  <a:lnTo>
                    <a:pt x="1611" y="6192"/>
                  </a:lnTo>
                  <a:lnTo>
                    <a:pt x="1592" y="6179"/>
                  </a:lnTo>
                  <a:lnTo>
                    <a:pt x="1577" y="6158"/>
                  </a:lnTo>
                  <a:lnTo>
                    <a:pt x="1558" y="6139"/>
                  </a:lnTo>
                  <a:lnTo>
                    <a:pt x="1552" y="6136"/>
                  </a:lnTo>
                  <a:lnTo>
                    <a:pt x="1542" y="6129"/>
                  </a:lnTo>
                  <a:lnTo>
                    <a:pt x="1530" y="6126"/>
                  </a:lnTo>
                  <a:lnTo>
                    <a:pt x="1521" y="6123"/>
                  </a:lnTo>
                  <a:lnTo>
                    <a:pt x="1511" y="6123"/>
                  </a:lnTo>
                  <a:lnTo>
                    <a:pt x="1492" y="6117"/>
                  </a:lnTo>
                  <a:lnTo>
                    <a:pt x="1471" y="6114"/>
                  </a:lnTo>
                  <a:lnTo>
                    <a:pt x="1449" y="6117"/>
                  </a:lnTo>
                  <a:lnTo>
                    <a:pt x="1433" y="6123"/>
                  </a:lnTo>
                  <a:lnTo>
                    <a:pt x="1430" y="6133"/>
                  </a:lnTo>
                  <a:lnTo>
                    <a:pt x="1433" y="6151"/>
                  </a:lnTo>
                  <a:lnTo>
                    <a:pt x="1436" y="6167"/>
                  </a:lnTo>
                  <a:lnTo>
                    <a:pt x="1433" y="6179"/>
                  </a:lnTo>
                  <a:lnTo>
                    <a:pt x="1421" y="6189"/>
                  </a:lnTo>
                  <a:lnTo>
                    <a:pt x="1399" y="6195"/>
                  </a:lnTo>
                  <a:lnTo>
                    <a:pt x="1374" y="6198"/>
                  </a:lnTo>
                  <a:lnTo>
                    <a:pt x="1358" y="6192"/>
                  </a:lnTo>
                  <a:lnTo>
                    <a:pt x="1349" y="6179"/>
                  </a:lnTo>
                  <a:lnTo>
                    <a:pt x="1346" y="6158"/>
                  </a:lnTo>
                  <a:lnTo>
                    <a:pt x="1343" y="6136"/>
                  </a:lnTo>
                  <a:lnTo>
                    <a:pt x="1333" y="6120"/>
                  </a:lnTo>
                  <a:lnTo>
                    <a:pt x="1318" y="6111"/>
                  </a:lnTo>
                  <a:lnTo>
                    <a:pt x="1296" y="6104"/>
                  </a:lnTo>
                  <a:lnTo>
                    <a:pt x="1271" y="6101"/>
                  </a:lnTo>
                  <a:lnTo>
                    <a:pt x="1249" y="6098"/>
                  </a:lnTo>
                  <a:lnTo>
                    <a:pt x="1233" y="6089"/>
                  </a:lnTo>
                  <a:lnTo>
                    <a:pt x="1227" y="6076"/>
                  </a:lnTo>
                  <a:lnTo>
                    <a:pt x="1221" y="6061"/>
                  </a:lnTo>
                  <a:lnTo>
                    <a:pt x="1218" y="6042"/>
                  </a:lnTo>
                  <a:lnTo>
                    <a:pt x="1208" y="6033"/>
                  </a:lnTo>
                  <a:lnTo>
                    <a:pt x="1193" y="6026"/>
                  </a:lnTo>
                  <a:lnTo>
                    <a:pt x="1171" y="6023"/>
                  </a:lnTo>
                  <a:lnTo>
                    <a:pt x="1146" y="6023"/>
                  </a:lnTo>
                  <a:lnTo>
                    <a:pt x="1124" y="6023"/>
                  </a:lnTo>
                  <a:lnTo>
                    <a:pt x="1108" y="6020"/>
                  </a:lnTo>
                  <a:lnTo>
                    <a:pt x="1090" y="6005"/>
                  </a:lnTo>
                  <a:lnTo>
                    <a:pt x="1071" y="5980"/>
                  </a:lnTo>
                  <a:lnTo>
                    <a:pt x="1052" y="5964"/>
                  </a:lnTo>
                  <a:lnTo>
                    <a:pt x="1027" y="5955"/>
                  </a:lnTo>
                  <a:lnTo>
                    <a:pt x="996" y="5951"/>
                  </a:lnTo>
                  <a:lnTo>
                    <a:pt x="971" y="5948"/>
                  </a:lnTo>
                  <a:lnTo>
                    <a:pt x="949" y="5945"/>
                  </a:lnTo>
                  <a:lnTo>
                    <a:pt x="921" y="5945"/>
                  </a:lnTo>
                  <a:lnTo>
                    <a:pt x="899" y="5948"/>
                  </a:lnTo>
                  <a:lnTo>
                    <a:pt x="890" y="5955"/>
                  </a:lnTo>
                  <a:lnTo>
                    <a:pt x="884" y="5964"/>
                  </a:lnTo>
                  <a:lnTo>
                    <a:pt x="877" y="5973"/>
                  </a:lnTo>
                  <a:lnTo>
                    <a:pt x="871" y="5983"/>
                  </a:lnTo>
                  <a:lnTo>
                    <a:pt x="865" y="5989"/>
                  </a:lnTo>
                  <a:lnTo>
                    <a:pt x="859" y="5992"/>
                  </a:lnTo>
                  <a:lnTo>
                    <a:pt x="852" y="5992"/>
                  </a:lnTo>
                  <a:lnTo>
                    <a:pt x="843" y="5992"/>
                  </a:lnTo>
                  <a:lnTo>
                    <a:pt x="837" y="5992"/>
                  </a:lnTo>
                  <a:lnTo>
                    <a:pt x="827" y="5992"/>
                  </a:lnTo>
                  <a:lnTo>
                    <a:pt x="802" y="5992"/>
                  </a:lnTo>
                  <a:lnTo>
                    <a:pt x="768" y="5989"/>
                  </a:lnTo>
                  <a:lnTo>
                    <a:pt x="743" y="5992"/>
                  </a:lnTo>
                  <a:lnTo>
                    <a:pt x="724" y="5995"/>
                  </a:lnTo>
                  <a:lnTo>
                    <a:pt x="706" y="6001"/>
                  </a:lnTo>
                  <a:lnTo>
                    <a:pt x="690" y="6011"/>
                  </a:lnTo>
                  <a:lnTo>
                    <a:pt x="690" y="6017"/>
                  </a:lnTo>
                  <a:lnTo>
                    <a:pt x="690" y="6023"/>
                  </a:lnTo>
                  <a:lnTo>
                    <a:pt x="690" y="6033"/>
                  </a:lnTo>
                  <a:lnTo>
                    <a:pt x="693" y="6039"/>
                  </a:lnTo>
                  <a:lnTo>
                    <a:pt x="690" y="6045"/>
                  </a:lnTo>
                  <a:lnTo>
                    <a:pt x="677" y="6064"/>
                  </a:lnTo>
                  <a:lnTo>
                    <a:pt x="659" y="6086"/>
                  </a:lnTo>
                  <a:lnTo>
                    <a:pt x="637" y="6104"/>
                  </a:lnTo>
                  <a:lnTo>
                    <a:pt x="618" y="6120"/>
                  </a:lnTo>
                  <a:lnTo>
                    <a:pt x="603" y="6126"/>
                  </a:lnTo>
                  <a:lnTo>
                    <a:pt x="584" y="6133"/>
                  </a:lnTo>
                  <a:lnTo>
                    <a:pt x="565" y="6136"/>
                  </a:lnTo>
                  <a:lnTo>
                    <a:pt x="537" y="6129"/>
                  </a:lnTo>
                  <a:lnTo>
                    <a:pt x="506" y="6120"/>
                  </a:lnTo>
                  <a:lnTo>
                    <a:pt x="478" y="6108"/>
                  </a:lnTo>
                  <a:lnTo>
                    <a:pt x="462" y="6092"/>
                  </a:lnTo>
                  <a:lnTo>
                    <a:pt x="443" y="6070"/>
                  </a:lnTo>
                  <a:lnTo>
                    <a:pt x="431" y="6051"/>
                  </a:lnTo>
                  <a:lnTo>
                    <a:pt x="421" y="6036"/>
                  </a:lnTo>
                  <a:lnTo>
                    <a:pt x="409" y="6017"/>
                  </a:lnTo>
                  <a:lnTo>
                    <a:pt x="403" y="5998"/>
                  </a:lnTo>
                  <a:lnTo>
                    <a:pt x="403" y="5983"/>
                  </a:lnTo>
                  <a:lnTo>
                    <a:pt x="406" y="5976"/>
                  </a:lnTo>
                  <a:lnTo>
                    <a:pt x="412" y="5970"/>
                  </a:lnTo>
                  <a:lnTo>
                    <a:pt x="421" y="5964"/>
                  </a:lnTo>
                  <a:lnTo>
                    <a:pt x="428" y="5961"/>
                  </a:lnTo>
                  <a:lnTo>
                    <a:pt x="446" y="5955"/>
                  </a:lnTo>
                  <a:lnTo>
                    <a:pt x="465" y="5951"/>
                  </a:lnTo>
                  <a:lnTo>
                    <a:pt x="481" y="5945"/>
                  </a:lnTo>
                  <a:lnTo>
                    <a:pt x="490" y="5930"/>
                  </a:lnTo>
                  <a:lnTo>
                    <a:pt x="493" y="5905"/>
                  </a:lnTo>
                  <a:lnTo>
                    <a:pt x="496" y="5886"/>
                  </a:lnTo>
                  <a:lnTo>
                    <a:pt x="496" y="5867"/>
                  </a:lnTo>
                  <a:lnTo>
                    <a:pt x="493" y="5842"/>
                  </a:lnTo>
                  <a:lnTo>
                    <a:pt x="490" y="5823"/>
                  </a:lnTo>
                  <a:lnTo>
                    <a:pt x="487" y="5802"/>
                  </a:lnTo>
                  <a:lnTo>
                    <a:pt x="481" y="5777"/>
                  </a:lnTo>
                  <a:lnTo>
                    <a:pt x="474" y="5755"/>
                  </a:lnTo>
                  <a:lnTo>
                    <a:pt x="462" y="5742"/>
                  </a:lnTo>
                  <a:lnTo>
                    <a:pt x="453" y="5739"/>
                  </a:lnTo>
                  <a:lnTo>
                    <a:pt x="446" y="5742"/>
                  </a:lnTo>
                  <a:lnTo>
                    <a:pt x="437" y="5745"/>
                  </a:lnTo>
                  <a:lnTo>
                    <a:pt x="428" y="5752"/>
                  </a:lnTo>
                  <a:lnTo>
                    <a:pt x="421" y="5755"/>
                  </a:lnTo>
                  <a:lnTo>
                    <a:pt x="415" y="5761"/>
                  </a:lnTo>
                  <a:lnTo>
                    <a:pt x="409" y="5780"/>
                  </a:lnTo>
                  <a:lnTo>
                    <a:pt x="406" y="5802"/>
                  </a:lnTo>
                  <a:lnTo>
                    <a:pt x="406" y="5823"/>
                  </a:lnTo>
                  <a:lnTo>
                    <a:pt x="403" y="5842"/>
                  </a:lnTo>
                  <a:lnTo>
                    <a:pt x="400" y="5852"/>
                  </a:lnTo>
                  <a:lnTo>
                    <a:pt x="393" y="5861"/>
                  </a:lnTo>
                  <a:lnTo>
                    <a:pt x="387" y="5873"/>
                  </a:lnTo>
                  <a:lnTo>
                    <a:pt x="378" y="5880"/>
                  </a:lnTo>
                  <a:lnTo>
                    <a:pt x="371" y="5886"/>
                  </a:lnTo>
                  <a:lnTo>
                    <a:pt x="353" y="5889"/>
                  </a:lnTo>
                  <a:lnTo>
                    <a:pt x="328" y="5889"/>
                  </a:lnTo>
                  <a:lnTo>
                    <a:pt x="309" y="5886"/>
                  </a:lnTo>
                  <a:lnTo>
                    <a:pt x="284" y="5886"/>
                  </a:lnTo>
                  <a:lnTo>
                    <a:pt x="259" y="5880"/>
                  </a:lnTo>
                  <a:lnTo>
                    <a:pt x="234" y="5870"/>
                  </a:lnTo>
                  <a:lnTo>
                    <a:pt x="209" y="5852"/>
                  </a:lnTo>
                  <a:lnTo>
                    <a:pt x="181" y="5830"/>
                  </a:lnTo>
                  <a:lnTo>
                    <a:pt x="153" y="5814"/>
                  </a:lnTo>
                  <a:lnTo>
                    <a:pt x="137" y="5814"/>
                  </a:lnTo>
                  <a:lnTo>
                    <a:pt x="118" y="5814"/>
                  </a:lnTo>
                  <a:lnTo>
                    <a:pt x="103" y="5811"/>
                  </a:lnTo>
                  <a:lnTo>
                    <a:pt x="78" y="5808"/>
                  </a:lnTo>
                  <a:lnTo>
                    <a:pt x="47" y="5798"/>
                  </a:lnTo>
                  <a:lnTo>
                    <a:pt x="25" y="5786"/>
                  </a:lnTo>
                  <a:lnTo>
                    <a:pt x="15" y="5767"/>
                  </a:lnTo>
                  <a:lnTo>
                    <a:pt x="9" y="5742"/>
                  </a:lnTo>
                  <a:lnTo>
                    <a:pt x="6" y="5724"/>
                  </a:lnTo>
                  <a:lnTo>
                    <a:pt x="9" y="5699"/>
                  </a:lnTo>
                  <a:lnTo>
                    <a:pt x="15" y="5670"/>
                  </a:lnTo>
                  <a:lnTo>
                    <a:pt x="25" y="5645"/>
                  </a:lnTo>
                  <a:lnTo>
                    <a:pt x="28" y="5642"/>
                  </a:lnTo>
                  <a:lnTo>
                    <a:pt x="37" y="5636"/>
                  </a:lnTo>
                  <a:lnTo>
                    <a:pt x="44" y="5633"/>
                  </a:lnTo>
                  <a:lnTo>
                    <a:pt x="50" y="5627"/>
                  </a:lnTo>
                  <a:lnTo>
                    <a:pt x="62" y="5630"/>
                  </a:lnTo>
                  <a:lnTo>
                    <a:pt x="75" y="5630"/>
                  </a:lnTo>
                  <a:lnTo>
                    <a:pt x="84" y="5630"/>
                  </a:lnTo>
                  <a:lnTo>
                    <a:pt x="90" y="5630"/>
                  </a:lnTo>
                  <a:lnTo>
                    <a:pt x="103" y="5627"/>
                  </a:lnTo>
                  <a:lnTo>
                    <a:pt x="112" y="5624"/>
                  </a:lnTo>
                  <a:lnTo>
                    <a:pt x="125" y="5620"/>
                  </a:lnTo>
                  <a:lnTo>
                    <a:pt x="131" y="5617"/>
                  </a:lnTo>
                  <a:lnTo>
                    <a:pt x="153" y="5611"/>
                  </a:lnTo>
                  <a:lnTo>
                    <a:pt x="175" y="5605"/>
                  </a:lnTo>
                  <a:lnTo>
                    <a:pt x="197" y="5599"/>
                  </a:lnTo>
                  <a:lnTo>
                    <a:pt x="215" y="5596"/>
                  </a:lnTo>
                  <a:lnTo>
                    <a:pt x="237" y="5602"/>
                  </a:lnTo>
                  <a:lnTo>
                    <a:pt x="259" y="5611"/>
                  </a:lnTo>
                  <a:lnTo>
                    <a:pt x="281" y="5617"/>
                  </a:lnTo>
                  <a:lnTo>
                    <a:pt x="296" y="5627"/>
                  </a:lnTo>
                  <a:lnTo>
                    <a:pt x="318" y="5636"/>
                  </a:lnTo>
                  <a:lnTo>
                    <a:pt x="337" y="5636"/>
                  </a:lnTo>
                  <a:lnTo>
                    <a:pt x="343" y="5633"/>
                  </a:lnTo>
                  <a:lnTo>
                    <a:pt x="353" y="5627"/>
                  </a:lnTo>
                  <a:lnTo>
                    <a:pt x="362" y="5620"/>
                  </a:lnTo>
                  <a:lnTo>
                    <a:pt x="368" y="5611"/>
                  </a:lnTo>
                  <a:lnTo>
                    <a:pt x="378" y="5608"/>
                  </a:lnTo>
                  <a:lnTo>
                    <a:pt x="384" y="5608"/>
                  </a:lnTo>
                  <a:lnTo>
                    <a:pt x="390" y="5608"/>
                  </a:lnTo>
                  <a:lnTo>
                    <a:pt x="400" y="5608"/>
                  </a:lnTo>
                  <a:lnTo>
                    <a:pt x="406" y="5611"/>
                  </a:lnTo>
                  <a:lnTo>
                    <a:pt x="412" y="5611"/>
                  </a:lnTo>
                  <a:lnTo>
                    <a:pt x="418" y="5608"/>
                  </a:lnTo>
                  <a:lnTo>
                    <a:pt x="428" y="5592"/>
                  </a:lnTo>
                  <a:lnTo>
                    <a:pt x="431" y="5571"/>
                  </a:lnTo>
                  <a:lnTo>
                    <a:pt x="434" y="5552"/>
                  </a:lnTo>
                  <a:lnTo>
                    <a:pt x="434" y="5533"/>
                  </a:lnTo>
                  <a:lnTo>
                    <a:pt x="434" y="5514"/>
                  </a:lnTo>
                  <a:lnTo>
                    <a:pt x="434" y="5496"/>
                  </a:lnTo>
                  <a:lnTo>
                    <a:pt x="456" y="5477"/>
                  </a:lnTo>
                  <a:lnTo>
                    <a:pt x="484" y="5455"/>
                  </a:lnTo>
                  <a:lnTo>
                    <a:pt x="506" y="5433"/>
                  </a:lnTo>
                  <a:lnTo>
                    <a:pt x="509" y="5430"/>
                  </a:lnTo>
                  <a:lnTo>
                    <a:pt x="512" y="5421"/>
                  </a:lnTo>
                  <a:lnTo>
                    <a:pt x="515" y="5414"/>
                  </a:lnTo>
                  <a:lnTo>
                    <a:pt x="518" y="5408"/>
                  </a:lnTo>
                  <a:lnTo>
                    <a:pt x="524" y="5405"/>
                  </a:lnTo>
                  <a:lnTo>
                    <a:pt x="543" y="5399"/>
                  </a:lnTo>
                  <a:lnTo>
                    <a:pt x="565" y="5399"/>
                  </a:lnTo>
                  <a:lnTo>
                    <a:pt x="590" y="5402"/>
                  </a:lnTo>
                  <a:lnTo>
                    <a:pt x="609" y="5405"/>
                  </a:lnTo>
                  <a:lnTo>
                    <a:pt x="631" y="5411"/>
                  </a:lnTo>
                  <a:lnTo>
                    <a:pt x="656" y="5424"/>
                  </a:lnTo>
                  <a:lnTo>
                    <a:pt x="674" y="5427"/>
                  </a:lnTo>
                  <a:lnTo>
                    <a:pt x="693" y="5424"/>
                  </a:lnTo>
                  <a:lnTo>
                    <a:pt x="712" y="5418"/>
                  </a:lnTo>
                  <a:lnTo>
                    <a:pt x="727" y="5411"/>
                  </a:lnTo>
                  <a:lnTo>
                    <a:pt x="734" y="5405"/>
                  </a:lnTo>
                  <a:lnTo>
                    <a:pt x="743" y="5402"/>
                  </a:lnTo>
                  <a:lnTo>
                    <a:pt x="749" y="5396"/>
                  </a:lnTo>
                  <a:lnTo>
                    <a:pt x="759" y="5389"/>
                  </a:lnTo>
                  <a:lnTo>
                    <a:pt x="765" y="5383"/>
                  </a:lnTo>
                  <a:lnTo>
                    <a:pt x="765" y="5377"/>
                  </a:lnTo>
                  <a:lnTo>
                    <a:pt x="765" y="5368"/>
                  </a:lnTo>
                  <a:lnTo>
                    <a:pt x="762" y="5361"/>
                  </a:lnTo>
                  <a:lnTo>
                    <a:pt x="756" y="5352"/>
                  </a:lnTo>
                  <a:lnTo>
                    <a:pt x="749" y="5343"/>
                  </a:lnTo>
                  <a:lnTo>
                    <a:pt x="743" y="5336"/>
                  </a:lnTo>
                  <a:lnTo>
                    <a:pt x="737" y="5330"/>
                  </a:lnTo>
                  <a:lnTo>
                    <a:pt x="718" y="5324"/>
                  </a:lnTo>
                  <a:lnTo>
                    <a:pt x="690" y="5318"/>
                  </a:lnTo>
                  <a:lnTo>
                    <a:pt x="671" y="5308"/>
                  </a:lnTo>
                  <a:lnTo>
                    <a:pt x="668" y="5302"/>
                  </a:lnTo>
                  <a:lnTo>
                    <a:pt x="665" y="5296"/>
                  </a:lnTo>
                  <a:lnTo>
                    <a:pt x="662" y="5286"/>
                  </a:lnTo>
                  <a:lnTo>
                    <a:pt x="659" y="5280"/>
                  </a:lnTo>
                  <a:lnTo>
                    <a:pt x="652" y="5274"/>
                  </a:lnTo>
                  <a:lnTo>
                    <a:pt x="637" y="5261"/>
                  </a:lnTo>
                  <a:lnTo>
                    <a:pt x="612" y="5249"/>
                  </a:lnTo>
                  <a:lnTo>
                    <a:pt x="593" y="5243"/>
                  </a:lnTo>
                  <a:lnTo>
                    <a:pt x="571" y="5240"/>
                  </a:lnTo>
                  <a:lnTo>
                    <a:pt x="549" y="5240"/>
                  </a:lnTo>
                  <a:lnTo>
                    <a:pt x="528" y="5243"/>
                  </a:lnTo>
                  <a:lnTo>
                    <a:pt x="521" y="5249"/>
                  </a:lnTo>
                  <a:lnTo>
                    <a:pt x="515" y="5252"/>
                  </a:lnTo>
                  <a:lnTo>
                    <a:pt x="509" y="5261"/>
                  </a:lnTo>
                  <a:lnTo>
                    <a:pt x="503" y="5265"/>
                  </a:lnTo>
                  <a:lnTo>
                    <a:pt x="496" y="5271"/>
                  </a:lnTo>
                  <a:lnTo>
                    <a:pt x="478" y="5274"/>
                  </a:lnTo>
                  <a:lnTo>
                    <a:pt x="459" y="5274"/>
                  </a:lnTo>
                  <a:lnTo>
                    <a:pt x="440" y="5271"/>
                  </a:lnTo>
                  <a:lnTo>
                    <a:pt x="434" y="5265"/>
                  </a:lnTo>
                  <a:lnTo>
                    <a:pt x="425" y="5255"/>
                  </a:lnTo>
                  <a:lnTo>
                    <a:pt x="418" y="5243"/>
                  </a:lnTo>
                  <a:lnTo>
                    <a:pt x="409" y="5233"/>
                  </a:lnTo>
                  <a:lnTo>
                    <a:pt x="403" y="5224"/>
                  </a:lnTo>
                  <a:lnTo>
                    <a:pt x="396" y="5221"/>
                  </a:lnTo>
                  <a:lnTo>
                    <a:pt x="387" y="5218"/>
                  </a:lnTo>
                  <a:lnTo>
                    <a:pt x="378" y="5215"/>
                  </a:lnTo>
                  <a:lnTo>
                    <a:pt x="365" y="5211"/>
                  </a:lnTo>
                  <a:lnTo>
                    <a:pt x="359" y="5208"/>
                  </a:lnTo>
                  <a:lnTo>
                    <a:pt x="353" y="5205"/>
                  </a:lnTo>
                  <a:lnTo>
                    <a:pt x="343" y="5186"/>
                  </a:lnTo>
                  <a:lnTo>
                    <a:pt x="337" y="5165"/>
                  </a:lnTo>
                  <a:lnTo>
                    <a:pt x="337" y="5146"/>
                  </a:lnTo>
                  <a:lnTo>
                    <a:pt x="337" y="5127"/>
                  </a:lnTo>
                  <a:lnTo>
                    <a:pt x="340" y="5105"/>
                  </a:lnTo>
                  <a:lnTo>
                    <a:pt x="337" y="5090"/>
                  </a:lnTo>
                  <a:lnTo>
                    <a:pt x="331" y="5074"/>
                  </a:lnTo>
                  <a:lnTo>
                    <a:pt x="318" y="5058"/>
                  </a:lnTo>
                  <a:lnTo>
                    <a:pt x="306" y="5046"/>
                  </a:lnTo>
                  <a:lnTo>
                    <a:pt x="303" y="5030"/>
                  </a:lnTo>
                  <a:lnTo>
                    <a:pt x="303" y="5024"/>
                  </a:lnTo>
                  <a:lnTo>
                    <a:pt x="309" y="5015"/>
                  </a:lnTo>
                  <a:lnTo>
                    <a:pt x="315" y="5008"/>
                  </a:lnTo>
                  <a:lnTo>
                    <a:pt x="321" y="5002"/>
                  </a:lnTo>
                  <a:lnTo>
                    <a:pt x="328" y="4996"/>
                  </a:lnTo>
                  <a:lnTo>
                    <a:pt x="334" y="4990"/>
                  </a:lnTo>
                  <a:lnTo>
                    <a:pt x="337" y="4990"/>
                  </a:lnTo>
                  <a:lnTo>
                    <a:pt x="346" y="4990"/>
                  </a:lnTo>
                  <a:lnTo>
                    <a:pt x="353" y="4993"/>
                  </a:lnTo>
                  <a:lnTo>
                    <a:pt x="359" y="4993"/>
                  </a:lnTo>
                  <a:lnTo>
                    <a:pt x="365" y="4990"/>
                  </a:lnTo>
                  <a:lnTo>
                    <a:pt x="368" y="4987"/>
                  </a:lnTo>
                  <a:lnTo>
                    <a:pt x="371" y="4980"/>
                  </a:lnTo>
                  <a:lnTo>
                    <a:pt x="375" y="4971"/>
                  </a:lnTo>
                  <a:lnTo>
                    <a:pt x="375" y="4962"/>
                  </a:lnTo>
                  <a:lnTo>
                    <a:pt x="378" y="4955"/>
                  </a:lnTo>
                  <a:lnTo>
                    <a:pt x="381" y="4952"/>
                  </a:lnTo>
                  <a:lnTo>
                    <a:pt x="400" y="4949"/>
                  </a:lnTo>
                  <a:lnTo>
                    <a:pt x="421" y="4949"/>
                  </a:lnTo>
                  <a:lnTo>
                    <a:pt x="440" y="4952"/>
                  </a:lnTo>
                  <a:lnTo>
                    <a:pt x="446" y="4949"/>
                  </a:lnTo>
                  <a:lnTo>
                    <a:pt x="456" y="4949"/>
                  </a:lnTo>
                  <a:lnTo>
                    <a:pt x="462" y="4946"/>
                  </a:lnTo>
                  <a:lnTo>
                    <a:pt x="468" y="4943"/>
                  </a:lnTo>
                  <a:lnTo>
                    <a:pt x="471" y="4937"/>
                  </a:lnTo>
                  <a:lnTo>
                    <a:pt x="471" y="4930"/>
                  </a:lnTo>
                  <a:lnTo>
                    <a:pt x="474" y="4924"/>
                  </a:lnTo>
                  <a:lnTo>
                    <a:pt x="474" y="4918"/>
                  </a:lnTo>
                  <a:lnTo>
                    <a:pt x="474" y="4893"/>
                  </a:lnTo>
                  <a:lnTo>
                    <a:pt x="478" y="4868"/>
                  </a:lnTo>
                  <a:lnTo>
                    <a:pt x="471" y="4846"/>
                  </a:lnTo>
                  <a:lnTo>
                    <a:pt x="462" y="4837"/>
                  </a:lnTo>
                  <a:lnTo>
                    <a:pt x="443" y="4827"/>
                  </a:lnTo>
                  <a:lnTo>
                    <a:pt x="425" y="4818"/>
                  </a:lnTo>
                  <a:lnTo>
                    <a:pt x="415" y="4805"/>
                  </a:lnTo>
                  <a:lnTo>
                    <a:pt x="415" y="4799"/>
                  </a:lnTo>
                  <a:lnTo>
                    <a:pt x="415" y="4793"/>
                  </a:lnTo>
                  <a:lnTo>
                    <a:pt x="418" y="4784"/>
                  </a:lnTo>
                  <a:lnTo>
                    <a:pt x="421" y="4777"/>
                  </a:lnTo>
                  <a:lnTo>
                    <a:pt x="425" y="4771"/>
                  </a:lnTo>
                  <a:lnTo>
                    <a:pt x="431" y="4762"/>
                  </a:lnTo>
                  <a:lnTo>
                    <a:pt x="440" y="4756"/>
                  </a:lnTo>
                  <a:lnTo>
                    <a:pt x="453" y="4746"/>
                  </a:lnTo>
                  <a:lnTo>
                    <a:pt x="462" y="4740"/>
                  </a:lnTo>
                  <a:lnTo>
                    <a:pt x="471" y="4731"/>
                  </a:lnTo>
                  <a:lnTo>
                    <a:pt x="478" y="4724"/>
                  </a:lnTo>
                  <a:lnTo>
                    <a:pt x="481" y="4712"/>
                  </a:lnTo>
                  <a:lnTo>
                    <a:pt x="484" y="4702"/>
                  </a:lnTo>
                  <a:lnTo>
                    <a:pt x="487" y="4693"/>
                  </a:lnTo>
                  <a:lnTo>
                    <a:pt x="490" y="4684"/>
                  </a:lnTo>
                  <a:lnTo>
                    <a:pt x="490" y="4674"/>
                  </a:lnTo>
                  <a:lnTo>
                    <a:pt x="490" y="4662"/>
                  </a:lnTo>
                  <a:lnTo>
                    <a:pt x="490" y="4652"/>
                  </a:lnTo>
                  <a:lnTo>
                    <a:pt x="487" y="4643"/>
                  </a:lnTo>
                  <a:lnTo>
                    <a:pt x="478" y="4624"/>
                  </a:lnTo>
                  <a:lnTo>
                    <a:pt x="465" y="4606"/>
                  </a:lnTo>
                  <a:lnTo>
                    <a:pt x="453" y="4587"/>
                  </a:lnTo>
                  <a:lnTo>
                    <a:pt x="446" y="4562"/>
                  </a:lnTo>
                  <a:lnTo>
                    <a:pt x="437" y="4534"/>
                  </a:lnTo>
                  <a:lnTo>
                    <a:pt x="428" y="4509"/>
                  </a:lnTo>
                  <a:lnTo>
                    <a:pt x="415" y="4478"/>
                  </a:lnTo>
                  <a:lnTo>
                    <a:pt x="406" y="4453"/>
                  </a:lnTo>
                  <a:lnTo>
                    <a:pt x="406" y="4443"/>
                  </a:lnTo>
                  <a:lnTo>
                    <a:pt x="409" y="4434"/>
                  </a:lnTo>
                  <a:lnTo>
                    <a:pt x="409" y="4425"/>
                  </a:lnTo>
                  <a:lnTo>
                    <a:pt x="409" y="4415"/>
                  </a:lnTo>
                  <a:lnTo>
                    <a:pt x="409" y="4409"/>
                  </a:lnTo>
                  <a:lnTo>
                    <a:pt x="406" y="4400"/>
                  </a:lnTo>
                  <a:lnTo>
                    <a:pt x="403" y="4387"/>
                  </a:lnTo>
                  <a:lnTo>
                    <a:pt x="396" y="4378"/>
                  </a:lnTo>
                  <a:lnTo>
                    <a:pt x="393" y="4368"/>
                  </a:lnTo>
                  <a:lnTo>
                    <a:pt x="384" y="4359"/>
                  </a:lnTo>
                  <a:lnTo>
                    <a:pt x="365" y="4353"/>
                  </a:lnTo>
                  <a:lnTo>
                    <a:pt x="340" y="4350"/>
                  </a:lnTo>
                  <a:lnTo>
                    <a:pt x="315" y="4346"/>
                  </a:lnTo>
                  <a:lnTo>
                    <a:pt x="296" y="4340"/>
                  </a:lnTo>
                  <a:lnTo>
                    <a:pt x="293" y="4337"/>
                  </a:lnTo>
                  <a:lnTo>
                    <a:pt x="290" y="4328"/>
                  </a:lnTo>
                  <a:lnTo>
                    <a:pt x="290" y="4321"/>
                  </a:lnTo>
                  <a:lnTo>
                    <a:pt x="287" y="4312"/>
                  </a:lnTo>
                  <a:lnTo>
                    <a:pt x="284" y="4306"/>
                  </a:lnTo>
                  <a:lnTo>
                    <a:pt x="281" y="4300"/>
                  </a:lnTo>
                  <a:lnTo>
                    <a:pt x="275" y="4297"/>
                  </a:lnTo>
                  <a:lnTo>
                    <a:pt x="265" y="4290"/>
                  </a:lnTo>
                  <a:lnTo>
                    <a:pt x="253" y="4287"/>
                  </a:lnTo>
                  <a:lnTo>
                    <a:pt x="243" y="4284"/>
                  </a:lnTo>
                  <a:lnTo>
                    <a:pt x="234" y="4284"/>
                  </a:lnTo>
                  <a:lnTo>
                    <a:pt x="209" y="4281"/>
                  </a:lnTo>
                  <a:lnTo>
                    <a:pt x="178" y="4284"/>
                  </a:lnTo>
                  <a:lnTo>
                    <a:pt x="147" y="4287"/>
                  </a:lnTo>
                  <a:lnTo>
                    <a:pt x="122" y="4284"/>
                  </a:lnTo>
                  <a:lnTo>
                    <a:pt x="100" y="4268"/>
                  </a:lnTo>
                  <a:lnTo>
                    <a:pt x="75" y="4250"/>
                  </a:lnTo>
                  <a:lnTo>
                    <a:pt x="56" y="4228"/>
                  </a:lnTo>
                  <a:lnTo>
                    <a:pt x="40" y="4206"/>
                  </a:lnTo>
                  <a:lnTo>
                    <a:pt x="28" y="4175"/>
                  </a:lnTo>
                  <a:lnTo>
                    <a:pt x="15" y="4150"/>
                  </a:lnTo>
                  <a:lnTo>
                    <a:pt x="9" y="4125"/>
                  </a:lnTo>
                  <a:lnTo>
                    <a:pt x="3" y="4094"/>
                  </a:lnTo>
                  <a:lnTo>
                    <a:pt x="0" y="4062"/>
                  </a:lnTo>
                  <a:lnTo>
                    <a:pt x="0" y="4037"/>
                  </a:lnTo>
                  <a:lnTo>
                    <a:pt x="3" y="4015"/>
                  </a:lnTo>
                  <a:lnTo>
                    <a:pt x="15" y="3991"/>
                  </a:lnTo>
                  <a:lnTo>
                    <a:pt x="25" y="3962"/>
                  </a:lnTo>
                  <a:lnTo>
                    <a:pt x="31" y="3941"/>
                  </a:lnTo>
                  <a:lnTo>
                    <a:pt x="31" y="3928"/>
                  </a:lnTo>
                  <a:lnTo>
                    <a:pt x="31" y="3909"/>
                  </a:lnTo>
                  <a:lnTo>
                    <a:pt x="28" y="3891"/>
                  </a:lnTo>
                  <a:lnTo>
                    <a:pt x="31" y="3878"/>
                  </a:lnTo>
                  <a:lnTo>
                    <a:pt x="47" y="3862"/>
                  </a:lnTo>
                  <a:lnTo>
                    <a:pt x="72" y="3847"/>
                  </a:lnTo>
                  <a:lnTo>
                    <a:pt x="97" y="3834"/>
                  </a:lnTo>
                  <a:lnTo>
                    <a:pt x="115" y="3825"/>
                  </a:lnTo>
                  <a:lnTo>
                    <a:pt x="131" y="3816"/>
                  </a:lnTo>
                  <a:lnTo>
                    <a:pt x="153" y="3803"/>
                  </a:lnTo>
                  <a:lnTo>
                    <a:pt x="168" y="3794"/>
                  </a:lnTo>
                  <a:lnTo>
                    <a:pt x="181" y="3778"/>
                  </a:lnTo>
                  <a:lnTo>
                    <a:pt x="197" y="3756"/>
                  </a:lnTo>
                  <a:lnTo>
                    <a:pt x="206" y="3738"/>
                  </a:lnTo>
                  <a:lnTo>
                    <a:pt x="206" y="3719"/>
                  </a:lnTo>
                  <a:lnTo>
                    <a:pt x="206" y="3697"/>
                  </a:lnTo>
                  <a:lnTo>
                    <a:pt x="203" y="3675"/>
                  </a:lnTo>
                  <a:lnTo>
                    <a:pt x="206" y="3660"/>
                  </a:lnTo>
                  <a:lnTo>
                    <a:pt x="209" y="3650"/>
                  </a:lnTo>
                  <a:lnTo>
                    <a:pt x="215" y="3641"/>
                  </a:lnTo>
                  <a:lnTo>
                    <a:pt x="225" y="3631"/>
                  </a:lnTo>
                  <a:lnTo>
                    <a:pt x="231" y="3622"/>
                  </a:lnTo>
                  <a:lnTo>
                    <a:pt x="240" y="3616"/>
                  </a:lnTo>
                  <a:lnTo>
                    <a:pt x="250" y="3613"/>
                  </a:lnTo>
                  <a:lnTo>
                    <a:pt x="265" y="3613"/>
                  </a:lnTo>
                  <a:lnTo>
                    <a:pt x="290" y="3616"/>
                  </a:lnTo>
                  <a:lnTo>
                    <a:pt x="309" y="3625"/>
                  </a:lnTo>
                  <a:lnTo>
                    <a:pt x="325" y="3635"/>
                  </a:lnTo>
                  <a:lnTo>
                    <a:pt x="334" y="3650"/>
                  </a:lnTo>
                  <a:lnTo>
                    <a:pt x="340" y="3675"/>
                  </a:lnTo>
                  <a:lnTo>
                    <a:pt x="346" y="3697"/>
                  </a:lnTo>
                  <a:lnTo>
                    <a:pt x="356" y="3709"/>
                  </a:lnTo>
                  <a:lnTo>
                    <a:pt x="375" y="3709"/>
                  </a:lnTo>
                  <a:lnTo>
                    <a:pt x="396" y="3703"/>
                  </a:lnTo>
                  <a:lnTo>
                    <a:pt x="415" y="3691"/>
                  </a:lnTo>
                  <a:lnTo>
                    <a:pt x="431" y="3678"/>
                  </a:lnTo>
                  <a:lnTo>
                    <a:pt x="434" y="3675"/>
                  </a:lnTo>
                  <a:lnTo>
                    <a:pt x="434" y="3666"/>
                  </a:lnTo>
                  <a:lnTo>
                    <a:pt x="437" y="3656"/>
                  </a:lnTo>
                  <a:lnTo>
                    <a:pt x="437" y="3650"/>
                  </a:lnTo>
                  <a:lnTo>
                    <a:pt x="440" y="3644"/>
                  </a:lnTo>
                  <a:lnTo>
                    <a:pt x="443" y="3638"/>
                  </a:lnTo>
                  <a:lnTo>
                    <a:pt x="465" y="3631"/>
                  </a:lnTo>
                  <a:lnTo>
                    <a:pt x="490" y="3628"/>
                  </a:lnTo>
                  <a:lnTo>
                    <a:pt x="521" y="3631"/>
                  </a:lnTo>
                  <a:lnTo>
                    <a:pt x="549" y="3635"/>
                  </a:lnTo>
                  <a:lnTo>
                    <a:pt x="574" y="3641"/>
                  </a:lnTo>
                  <a:lnTo>
                    <a:pt x="596" y="3653"/>
                  </a:lnTo>
                  <a:lnTo>
                    <a:pt x="624" y="3669"/>
                  </a:lnTo>
                  <a:lnTo>
                    <a:pt x="646" y="3684"/>
                  </a:lnTo>
                  <a:lnTo>
                    <a:pt x="656" y="3691"/>
                  </a:lnTo>
                  <a:lnTo>
                    <a:pt x="665" y="3697"/>
                  </a:lnTo>
                  <a:lnTo>
                    <a:pt x="674" y="3706"/>
                  </a:lnTo>
                  <a:lnTo>
                    <a:pt x="684" y="3713"/>
                  </a:lnTo>
                  <a:lnTo>
                    <a:pt x="690" y="3716"/>
                  </a:lnTo>
                  <a:lnTo>
                    <a:pt x="706" y="3713"/>
                  </a:lnTo>
                  <a:lnTo>
                    <a:pt x="724" y="3706"/>
                  </a:lnTo>
                  <a:lnTo>
                    <a:pt x="743" y="3697"/>
                  </a:lnTo>
                  <a:lnTo>
                    <a:pt x="759" y="3691"/>
                  </a:lnTo>
                  <a:lnTo>
                    <a:pt x="781" y="3688"/>
                  </a:lnTo>
                  <a:lnTo>
                    <a:pt x="802" y="3684"/>
                  </a:lnTo>
                  <a:lnTo>
                    <a:pt x="824" y="3681"/>
                  </a:lnTo>
                  <a:lnTo>
                    <a:pt x="830" y="3681"/>
                  </a:lnTo>
                  <a:lnTo>
                    <a:pt x="843" y="3681"/>
                  </a:lnTo>
                  <a:lnTo>
                    <a:pt x="852" y="3684"/>
                  </a:lnTo>
                  <a:lnTo>
                    <a:pt x="862" y="3688"/>
                  </a:lnTo>
                  <a:lnTo>
                    <a:pt x="868" y="3691"/>
                  </a:lnTo>
                  <a:lnTo>
                    <a:pt x="871" y="3706"/>
                  </a:lnTo>
                  <a:lnTo>
                    <a:pt x="868" y="3725"/>
                  </a:lnTo>
                  <a:lnTo>
                    <a:pt x="868" y="3747"/>
                  </a:lnTo>
                  <a:lnTo>
                    <a:pt x="871" y="3759"/>
                  </a:lnTo>
                  <a:lnTo>
                    <a:pt x="874" y="3766"/>
                  </a:lnTo>
                  <a:lnTo>
                    <a:pt x="880" y="3769"/>
                  </a:lnTo>
                  <a:lnTo>
                    <a:pt x="887" y="3775"/>
                  </a:lnTo>
                  <a:lnTo>
                    <a:pt x="893" y="3778"/>
                  </a:lnTo>
                  <a:lnTo>
                    <a:pt x="899" y="3778"/>
                  </a:lnTo>
                  <a:lnTo>
                    <a:pt x="905" y="3778"/>
                  </a:lnTo>
                  <a:lnTo>
                    <a:pt x="918" y="3766"/>
                  </a:lnTo>
                  <a:lnTo>
                    <a:pt x="927" y="3747"/>
                  </a:lnTo>
                  <a:lnTo>
                    <a:pt x="934" y="3722"/>
                  </a:lnTo>
                  <a:lnTo>
                    <a:pt x="937" y="3697"/>
                  </a:lnTo>
                  <a:lnTo>
                    <a:pt x="940" y="3678"/>
                  </a:lnTo>
                  <a:lnTo>
                    <a:pt x="937" y="3660"/>
                  </a:lnTo>
                  <a:lnTo>
                    <a:pt x="927" y="3638"/>
                  </a:lnTo>
                  <a:lnTo>
                    <a:pt x="921" y="3616"/>
                  </a:lnTo>
                  <a:lnTo>
                    <a:pt x="921" y="3600"/>
                  </a:lnTo>
                  <a:lnTo>
                    <a:pt x="924" y="3594"/>
                  </a:lnTo>
                  <a:lnTo>
                    <a:pt x="934" y="3591"/>
                  </a:lnTo>
                  <a:lnTo>
                    <a:pt x="940" y="3585"/>
                  </a:lnTo>
                  <a:lnTo>
                    <a:pt x="949" y="3585"/>
                  </a:lnTo>
                  <a:lnTo>
                    <a:pt x="955" y="3581"/>
                  </a:lnTo>
                  <a:lnTo>
                    <a:pt x="977" y="3585"/>
                  </a:lnTo>
                  <a:lnTo>
                    <a:pt x="1002" y="3594"/>
                  </a:lnTo>
                  <a:lnTo>
                    <a:pt x="1024" y="3600"/>
                  </a:lnTo>
                  <a:lnTo>
                    <a:pt x="1058" y="3606"/>
                  </a:lnTo>
                  <a:lnTo>
                    <a:pt x="1102" y="3616"/>
                  </a:lnTo>
                  <a:lnTo>
                    <a:pt x="1146" y="3622"/>
                  </a:lnTo>
                  <a:lnTo>
                    <a:pt x="1180" y="3622"/>
                  </a:lnTo>
                  <a:lnTo>
                    <a:pt x="1211" y="3616"/>
                  </a:lnTo>
                  <a:lnTo>
                    <a:pt x="1246" y="3606"/>
                  </a:lnTo>
                  <a:lnTo>
                    <a:pt x="1283" y="3597"/>
                  </a:lnTo>
                  <a:lnTo>
                    <a:pt x="1311" y="3591"/>
                  </a:lnTo>
                  <a:lnTo>
                    <a:pt x="1346" y="3588"/>
                  </a:lnTo>
                  <a:lnTo>
                    <a:pt x="1386" y="3588"/>
                  </a:lnTo>
                  <a:lnTo>
                    <a:pt x="1421" y="3591"/>
                  </a:lnTo>
                  <a:lnTo>
                    <a:pt x="1446" y="3600"/>
                  </a:lnTo>
                  <a:lnTo>
                    <a:pt x="1474" y="3613"/>
                  </a:lnTo>
                  <a:lnTo>
                    <a:pt x="1499" y="3622"/>
                  </a:lnTo>
                  <a:lnTo>
                    <a:pt x="1505" y="3625"/>
                  </a:lnTo>
                  <a:lnTo>
                    <a:pt x="1517" y="3625"/>
                  </a:lnTo>
                  <a:lnTo>
                    <a:pt x="1527" y="3625"/>
                  </a:lnTo>
                  <a:lnTo>
                    <a:pt x="1533" y="3622"/>
                  </a:lnTo>
                  <a:lnTo>
                    <a:pt x="1552" y="3610"/>
                  </a:lnTo>
                  <a:lnTo>
                    <a:pt x="1571" y="3588"/>
                  </a:lnTo>
                  <a:lnTo>
                    <a:pt x="1589" y="3572"/>
                  </a:lnTo>
                  <a:lnTo>
                    <a:pt x="1605" y="3566"/>
                  </a:lnTo>
                  <a:lnTo>
                    <a:pt x="1627" y="3556"/>
                  </a:lnTo>
                  <a:lnTo>
                    <a:pt x="1649" y="3550"/>
                  </a:lnTo>
                  <a:lnTo>
                    <a:pt x="1658" y="3538"/>
                  </a:lnTo>
                  <a:lnTo>
                    <a:pt x="1661" y="3513"/>
                  </a:lnTo>
                  <a:lnTo>
                    <a:pt x="1655" y="3482"/>
                  </a:lnTo>
                  <a:lnTo>
                    <a:pt x="1639" y="3450"/>
                  </a:lnTo>
                  <a:lnTo>
                    <a:pt x="1624" y="3419"/>
                  </a:lnTo>
                  <a:lnTo>
                    <a:pt x="1611" y="3394"/>
                  </a:lnTo>
                  <a:lnTo>
                    <a:pt x="1599" y="3375"/>
                  </a:lnTo>
                  <a:lnTo>
                    <a:pt x="1583" y="3357"/>
                  </a:lnTo>
                  <a:lnTo>
                    <a:pt x="1574" y="3338"/>
                  </a:lnTo>
                  <a:lnTo>
                    <a:pt x="1571" y="3316"/>
                  </a:lnTo>
                  <a:lnTo>
                    <a:pt x="1571" y="3294"/>
                  </a:lnTo>
                  <a:lnTo>
                    <a:pt x="1574" y="3275"/>
                  </a:lnTo>
                  <a:lnTo>
                    <a:pt x="1567" y="3250"/>
                  </a:lnTo>
                  <a:lnTo>
                    <a:pt x="1561" y="3219"/>
                  </a:lnTo>
                  <a:lnTo>
                    <a:pt x="1558" y="3194"/>
                  </a:lnTo>
                  <a:lnTo>
                    <a:pt x="1555" y="3176"/>
                  </a:lnTo>
                  <a:lnTo>
                    <a:pt x="1552" y="3154"/>
                  </a:lnTo>
                  <a:lnTo>
                    <a:pt x="1552" y="3132"/>
                  </a:lnTo>
                  <a:lnTo>
                    <a:pt x="1558" y="3116"/>
                  </a:lnTo>
                  <a:lnTo>
                    <a:pt x="1583" y="3104"/>
                  </a:lnTo>
                  <a:lnTo>
                    <a:pt x="1617" y="3097"/>
                  </a:lnTo>
                  <a:lnTo>
                    <a:pt x="1658" y="3101"/>
                  </a:lnTo>
                  <a:lnTo>
                    <a:pt x="1692" y="3107"/>
                  </a:lnTo>
                  <a:lnTo>
                    <a:pt x="1720" y="3116"/>
                  </a:lnTo>
                  <a:lnTo>
                    <a:pt x="1724" y="3122"/>
                  </a:lnTo>
                  <a:lnTo>
                    <a:pt x="1730" y="3129"/>
                  </a:lnTo>
                  <a:lnTo>
                    <a:pt x="1730" y="3138"/>
                  </a:lnTo>
                  <a:lnTo>
                    <a:pt x="1733" y="3144"/>
                  </a:lnTo>
                  <a:lnTo>
                    <a:pt x="1736" y="3154"/>
                  </a:lnTo>
                  <a:lnTo>
                    <a:pt x="1742" y="3157"/>
                  </a:lnTo>
                  <a:lnTo>
                    <a:pt x="1758" y="3169"/>
                  </a:lnTo>
                  <a:lnTo>
                    <a:pt x="1783" y="3182"/>
                  </a:lnTo>
                  <a:lnTo>
                    <a:pt x="1808" y="3191"/>
                  </a:lnTo>
                  <a:lnTo>
                    <a:pt x="1833" y="3194"/>
                  </a:lnTo>
                  <a:lnTo>
                    <a:pt x="1855" y="3194"/>
                  </a:lnTo>
                  <a:lnTo>
                    <a:pt x="1867" y="3182"/>
                  </a:lnTo>
                  <a:lnTo>
                    <a:pt x="1880" y="3163"/>
                  </a:lnTo>
                  <a:lnTo>
                    <a:pt x="1892" y="3141"/>
                  </a:lnTo>
                  <a:lnTo>
                    <a:pt x="1905" y="3126"/>
                  </a:lnTo>
                  <a:lnTo>
                    <a:pt x="1927" y="3119"/>
                  </a:lnTo>
                  <a:lnTo>
                    <a:pt x="1952" y="3116"/>
                  </a:lnTo>
                  <a:lnTo>
                    <a:pt x="1973" y="3113"/>
                  </a:lnTo>
                  <a:lnTo>
                    <a:pt x="2001" y="3107"/>
                  </a:lnTo>
                  <a:lnTo>
                    <a:pt x="2033" y="3097"/>
                  </a:lnTo>
                  <a:lnTo>
                    <a:pt x="2058" y="3085"/>
                  </a:lnTo>
                  <a:lnTo>
                    <a:pt x="2080" y="3063"/>
                  </a:lnTo>
                  <a:lnTo>
                    <a:pt x="2101" y="3029"/>
                  </a:lnTo>
                  <a:lnTo>
                    <a:pt x="2123" y="2998"/>
                  </a:lnTo>
                  <a:lnTo>
                    <a:pt x="2145" y="2976"/>
                  </a:lnTo>
                  <a:lnTo>
                    <a:pt x="2164" y="2973"/>
                  </a:lnTo>
                  <a:lnTo>
                    <a:pt x="2189" y="2973"/>
                  </a:lnTo>
                  <a:lnTo>
                    <a:pt x="2217" y="2976"/>
                  </a:lnTo>
                  <a:lnTo>
                    <a:pt x="2236" y="2976"/>
                  </a:lnTo>
                  <a:lnTo>
                    <a:pt x="2254" y="2979"/>
                  </a:lnTo>
                  <a:lnTo>
                    <a:pt x="2276" y="2979"/>
                  </a:lnTo>
                  <a:lnTo>
                    <a:pt x="2295" y="2982"/>
                  </a:lnTo>
                  <a:lnTo>
                    <a:pt x="2311" y="2976"/>
                  </a:lnTo>
                  <a:lnTo>
                    <a:pt x="2317" y="2969"/>
                  </a:lnTo>
                  <a:lnTo>
                    <a:pt x="2323" y="2960"/>
                  </a:lnTo>
                  <a:lnTo>
                    <a:pt x="2326" y="2948"/>
                  </a:lnTo>
                  <a:lnTo>
                    <a:pt x="2329" y="2938"/>
                  </a:lnTo>
                  <a:lnTo>
                    <a:pt x="2332" y="2929"/>
                  </a:lnTo>
                  <a:lnTo>
                    <a:pt x="2332" y="2904"/>
                  </a:lnTo>
                  <a:lnTo>
                    <a:pt x="2336" y="2879"/>
                  </a:lnTo>
                  <a:lnTo>
                    <a:pt x="2332" y="2857"/>
                  </a:lnTo>
                  <a:lnTo>
                    <a:pt x="2323" y="2835"/>
                  </a:lnTo>
                  <a:lnTo>
                    <a:pt x="2304" y="2813"/>
                  </a:lnTo>
                  <a:lnTo>
                    <a:pt x="2292" y="2791"/>
                  </a:lnTo>
                  <a:lnTo>
                    <a:pt x="2286" y="2773"/>
                  </a:lnTo>
                  <a:lnTo>
                    <a:pt x="2292" y="2754"/>
                  </a:lnTo>
                  <a:lnTo>
                    <a:pt x="2308" y="2735"/>
                  </a:lnTo>
                  <a:lnTo>
                    <a:pt x="2320" y="2720"/>
                  </a:lnTo>
                  <a:lnTo>
                    <a:pt x="2320" y="2701"/>
                  </a:lnTo>
                  <a:lnTo>
                    <a:pt x="2320" y="2679"/>
                  </a:lnTo>
                  <a:lnTo>
                    <a:pt x="2320" y="2657"/>
                  </a:lnTo>
                  <a:lnTo>
                    <a:pt x="2326" y="2645"/>
                  </a:lnTo>
                  <a:lnTo>
                    <a:pt x="2342" y="2638"/>
                  </a:lnTo>
                  <a:lnTo>
                    <a:pt x="2364" y="2638"/>
                  </a:lnTo>
                  <a:lnTo>
                    <a:pt x="2386" y="2642"/>
                  </a:lnTo>
                  <a:lnTo>
                    <a:pt x="2404" y="2645"/>
                  </a:lnTo>
                  <a:lnTo>
                    <a:pt x="2432" y="2657"/>
                  </a:lnTo>
                  <a:lnTo>
                    <a:pt x="2461" y="2676"/>
                  </a:lnTo>
                  <a:lnTo>
                    <a:pt x="2489" y="2695"/>
                  </a:lnTo>
                  <a:lnTo>
                    <a:pt x="2517" y="2704"/>
                  </a:lnTo>
                  <a:lnTo>
                    <a:pt x="2535" y="2701"/>
                  </a:lnTo>
                  <a:lnTo>
                    <a:pt x="2560" y="2698"/>
                  </a:lnTo>
                  <a:lnTo>
                    <a:pt x="2582" y="2688"/>
                  </a:lnTo>
                  <a:lnTo>
                    <a:pt x="2601" y="2679"/>
                  </a:lnTo>
                  <a:lnTo>
                    <a:pt x="2610" y="2673"/>
                  </a:lnTo>
                  <a:lnTo>
                    <a:pt x="2623" y="2667"/>
                  </a:lnTo>
                  <a:lnTo>
                    <a:pt x="2632" y="2657"/>
                  </a:lnTo>
                  <a:lnTo>
                    <a:pt x="2642" y="2648"/>
                  </a:lnTo>
                  <a:lnTo>
                    <a:pt x="2648" y="2638"/>
                  </a:lnTo>
                  <a:lnTo>
                    <a:pt x="2651" y="2620"/>
                  </a:lnTo>
                  <a:lnTo>
                    <a:pt x="2651" y="2598"/>
                  </a:lnTo>
                  <a:lnTo>
                    <a:pt x="2648" y="2570"/>
                  </a:lnTo>
                  <a:lnTo>
                    <a:pt x="2645" y="2548"/>
                  </a:lnTo>
                  <a:lnTo>
                    <a:pt x="2648" y="2529"/>
                  </a:lnTo>
                  <a:lnTo>
                    <a:pt x="2654" y="2523"/>
                  </a:lnTo>
                  <a:lnTo>
                    <a:pt x="2660" y="2517"/>
                  </a:lnTo>
                  <a:lnTo>
                    <a:pt x="2670" y="2510"/>
                  </a:lnTo>
                  <a:lnTo>
                    <a:pt x="2676" y="2507"/>
                  </a:lnTo>
                  <a:lnTo>
                    <a:pt x="2701" y="2501"/>
                  </a:lnTo>
                  <a:lnTo>
                    <a:pt x="2732" y="2501"/>
                  </a:lnTo>
                  <a:lnTo>
                    <a:pt x="2763" y="2498"/>
                  </a:lnTo>
                  <a:lnTo>
                    <a:pt x="2788" y="2495"/>
                  </a:lnTo>
                  <a:lnTo>
                    <a:pt x="2798" y="2489"/>
                  </a:lnTo>
                  <a:lnTo>
                    <a:pt x="2804" y="2479"/>
                  </a:lnTo>
                  <a:lnTo>
                    <a:pt x="2813" y="2473"/>
                  </a:lnTo>
                  <a:lnTo>
                    <a:pt x="2823" y="2464"/>
                  </a:lnTo>
                  <a:lnTo>
                    <a:pt x="2826" y="2454"/>
                  </a:lnTo>
                  <a:lnTo>
                    <a:pt x="2838" y="2435"/>
                  </a:lnTo>
                  <a:lnTo>
                    <a:pt x="2851" y="2407"/>
                  </a:lnTo>
                  <a:lnTo>
                    <a:pt x="2860" y="2386"/>
                  </a:lnTo>
                  <a:lnTo>
                    <a:pt x="2860" y="2379"/>
                  </a:lnTo>
                  <a:lnTo>
                    <a:pt x="2860" y="2370"/>
                  </a:lnTo>
                  <a:lnTo>
                    <a:pt x="2860" y="2361"/>
                  </a:lnTo>
                  <a:lnTo>
                    <a:pt x="2863" y="2354"/>
                  </a:lnTo>
                  <a:lnTo>
                    <a:pt x="2866" y="2348"/>
                  </a:lnTo>
                  <a:lnTo>
                    <a:pt x="2882" y="2339"/>
                  </a:lnTo>
                  <a:lnTo>
                    <a:pt x="2907" y="2332"/>
                  </a:lnTo>
                  <a:lnTo>
                    <a:pt x="2932" y="2326"/>
                  </a:lnTo>
                  <a:lnTo>
                    <a:pt x="2957" y="2320"/>
                  </a:lnTo>
                  <a:lnTo>
                    <a:pt x="2976" y="2311"/>
                  </a:lnTo>
                  <a:lnTo>
                    <a:pt x="2988" y="2295"/>
                  </a:lnTo>
                  <a:lnTo>
                    <a:pt x="3001" y="2270"/>
                  </a:lnTo>
                  <a:lnTo>
                    <a:pt x="3007" y="2245"/>
                  </a:lnTo>
                  <a:lnTo>
                    <a:pt x="3007" y="2223"/>
                  </a:lnTo>
                  <a:lnTo>
                    <a:pt x="2994" y="2204"/>
                  </a:lnTo>
                  <a:lnTo>
                    <a:pt x="2973" y="2189"/>
                  </a:lnTo>
                  <a:lnTo>
                    <a:pt x="2948" y="2173"/>
                  </a:lnTo>
                  <a:lnTo>
                    <a:pt x="2926" y="2161"/>
                  </a:lnTo>
                  <a:lnTo>
                    <a:pt x="2907" y="2148"/>
                  </a:lnTo>
                  <a:lnTo>
                    <a:pt x="2885" y="2136"/>
                  </a:lnTo>
                  <a:lnTo>
                    <a:pt x="2863" y="2126"/>
                  </a:lnTo>
                  <a:lnTo>
                    <a:pt x="2845" y="2123"/>
                  </a:lnTo>
                  <a:lnTo>
                    <a:pt x="2820" y="2126"/>
                  </a:lnTo>
                  <a:lnTo>
                    <a:pt x="2798" y="2129"/>
                  </a:lnTo>
                  <a:lnTo>
                    <a:pt x="2782" y="2126"/>
                  </a:lnTo>
                  <a:lnTo>
                    <a:pt x="2763" y="2111"/>
                  </a:lnTo>
                  <a:lnTo>
                    <a:pt x="2745" y="2089"/>
                  </a:lnTo>
                  <a:lnTo>
                    <a:pt x="2732" y="2064"/>
                  </a:lnTo>
                  <a:lnTo>
                    <a:pt x="2723" y="2036"/>
                  </a:lnTo>
                  <a:lnTo>
                    <a:pt x="2720" y="2017"/>
                  </a:lnTo>
                  <a:lnTo>
                    <a:pt x="2729" y="2005"/>
                  </a:lnTo>
                  <a:lnTo>
                    <a:pt x="2745" y="1992"/>
                  </a:lnTo>
                  <a:lnTo>
                    <a:pt x="2763" y="1980"/>
                  </a:lnTo>
                  <a:lnTo>
                    <a:pt x="2773" y="1970"/>
                  </a:lnTo>
                  <a:lnTo>
                    <a:pt x="2776" y="1951"/>
                  </a:lnTo>
                  <a:lnTo>
                    <a:pt x="2773" y="1933"/>
                  </a:lnTo>
                  <a:lnTo>
                    <a:pt x="2776" y="1917"/>
                  </a:lnTo>
                  <a:lnTo>
                    <a:pt x="2782" y="1911"/>
                  </a:lnTo>
                  <a:lnTo>
                    <a:pt x="2788" y="1908"/>
                  </a:lnTo>
                  <a:lnTo>
                    <a:pt x="2798" y="1905"/>
                  </a:lnTo>
                  <a:lnTo>
                    <a:pt x="2807" y="1898"/>
                  </a:lnTo>
                  <a:lnTo>
                    <a:pt x="2813" y="1895"/>
                  </a:lnTo>
                  <a:lnTo>
                    <a:pt x="2820" y="1889"/>
                  </a:lnTo>
                  <a:lnTo>
                    <a:pt x="2823" y="1883"/>
                  </a:lnTo>
                  <a:lnTo>
                    <a:pt x="2823" y="1877"/>
                  </a:lnTo>
                  <a:lnTo>
                    <a:pt x="2826" y="1867"/>
                  </a:lnTo>
                  <a:lnTo>
                    <a:pt x="2823" y="1858"/>
                  </a:lnTo>
                  <a:lnTo>
                    <a:pt x="2823" y="1848"/>
                  </a:lnTo>
                  <a:lnTo>
                    <a:pt x="2820" y="1842"/>
                  </a:lnTo>
                  <a:lnTo>
                    <a:pt x="2804" y="1833"/>
                  </a:lnTo>
                  <a:lnTo>
                    <a:pt x="2782" y="1827"/>
                  </a:lnTo>
                  <a:lnTo>
                    <a:pt x="2763" y="1823"/>
                  </a:lnTo>
                  <a:lnTo>
                    <a:pt x="2742" y="1833"/>
                  </a:lnTo>
                  <a:lnTo>
                    <a:pt x="2720" y="1845"/>
                  </a:lnTo>
                  <a:lnTo>
                    <a:pt x="2698" y="1852"/>
                  </a:lnTo>
                  <a:lnTo>
                    <a:pt x="2682" y="1852"/>
                  </a:lnTo>
                  <a:lnTo>
                    <a:pt x="2660" y="1848"/>
                  </a:lnTo>
                  <a:lnTo>
                    <a:pt x="2642" y="1839"/>
                  </a:lnTo>
                  <a:lnTo>
                    <a:pt x="2629" y="1830"/>
                  </a:lnTo>
                  <a:lnTo>
                    <a:pt x="2626" y="1817"/>
                  </a:lnTo>
                  <a:lnTo>
                    <a:pt x="2632" y="1802"/>
                  </a:lnTo>
                  <a:lnTo>
                    <a:pt x="2639" y="1783"/>
                  </a:lnTo>
                  <a:lnTo>
                    <a:pt x="2642" y="1770"/>
                  </a:lnTo>
                  <a:lnTo>
                    <a:pt x="2629" y="1752"/>
                  </a:lnTo>
                  <a:lnTo>
                    <a:pt x="2610" y="1730"/>
                  </a:lnTo>
                  <a:lnTo>
                    <a:pt x="2592" y="1714"/>
                  </a:lnTo>
                  <a:lnTo>
                    <a:pt x="2573" y="1702"/>
                  </a:lnTo>
                  <a:lnTo>
                    <a:pt x="2551" y="1699"/>
                  </a:lnTo>
                  <a:lnTo>
                    <a:pt x="2526" y="1702"/>
                  </a:lnTo>
                  <a:lnTo>
                    <a:pt x="2501" y="1705"/>
                  </a:lnTo>
                  <a:lnTo>
                    <a:pt x="2482" y="1702"/>
                  </a:lnTo>
                  <a:lnTo>
                    <a:pt x="2461" y="1686"/>
                  </a:lnTo>
                  <a:lnTo>
                    <a:pt x="2442" y="1661"/>
                  </a:lnTo>
                  <a:lnTo>
                    <a:pt x="2426" y="1636"/>
                  </a:lnTo>
                  <a:lnTo>
                    <a:pt x="2417" y="1611"/>
                  </a:lnTo>
                  <a:lnTo>
                    <a:pt x="2411" y="1580"/>
                  </a:lnTo>
                  <a:lnTo>
                    <a:pt x="2407" y="1552"/>
                  </a:lnTo>
                  <a:lnTo>
                    <a:pt x="2417" y="1530"/>
                  </a:lnTo>
                  <a:lnTo>
                    <a:pt x="2432" y="1505"/>
                  </a:lnTo>
                  <a:lnTo>
                    <a:pt x="2448" y="1480"/>
                  </a:lnTo>
                  <a:lnTo>
                    <a:pt x="2457" y="1458"/>
                  </a:lnTo>
                  <a:lnTo>
                    <a:pt x="2454" y="1439"/>
                  </a:lnTo>
                  <a:lnTo>
                    <a:pt x="2451" y="1418"/>
                  </a:lnTo>
                  <a:lnTo>
                    <a:pt x="2445" y="1396"/>
                  </a:lnTo>
                  <a:lnTo>
                    <a:pt x="2445" y="1377"/>
                  </a:lnTo>
                  <a:lnTo>
                    <a:pt x="2454" y="1358"/>
                  </a:lnTo>
                  <a:lnTo>
                    <a:pt x="2470" y="1339"/>
                  </a:lnTo>
                  <a:lnTo>
                    <a:pt x="2482" y="1321"/>
                  </a:lnTo>
                  <a:lnTo>
                    <a:pt x="2485" y="1299"/>
                  </a:lnTo>
                  <a:lnTo>
                    <a:pt x="2489" y="1274"/>
                  </a:lnTo>
                  <a:lnTo>
                    <a:pt x="2489" y="1249"/>
                  </a:lnTo>
                  <a:lnTo>
                    <a:pt x="2482" y="1230"/>
                  </a:lnTo>
                  <a:lnTo>
                    <a:pt x="2464" y="1218"/>
                  </a:lnTo>
                  <a:lnTo>
                    <a:pt x="2439" y="1205"/>
                  </a:lnTo>
                  <a:lnTo>
                    <a:pt x="2411" y="1193"/>
                  </a:lnTo>
                  <a:lnTo>
                    <a:pt x="2389" y="1180"/>
                  </a:lnTo>
                  <a:lnTo>
                    <a:pt x="2376" y="1158"/>
                  </a:lnTo>
                  <a:lnTo>
                    <a:pt x="2361" y="1133"/>
                  </a:lnTo>
                  <a:lnTo>
                    <a:pt x="2348" y="1105"/>
                  </a:lnTo>
                  <a:lnTo>
                    <a:pt x="2345" y="1080"/>
                  </a:lnTo>
                  <a:lnTo>
                    <a:pt x="2351" y="1058"/>
                  </a:lnTo>
                  <a:lnTo>
                    <a:pt x="2361" y="1037"/>
                  </a:lnTo>
                  <a:lnTo>
                    <a:pt x="2367" y="1018"/>
                  </a:lnTo>
                  <a:lnTo>
                    <a:pt x="2364" y="996"/>
                  </a:lnTo>
                  <a:lnTo>
                    <a:pt x="2357" y="971"/>
                  </a:lnTo>
                  <a:lnTo>
                    <a:pt x="2348" y="946"/>
                  </a:lnTo>
                  <a:lnTo>
                    <a:pt x="2339" y="927"/>
                  </a:lnTo>
                  <a:lnTo>
                    <a:pt x="2320" y="909"/>
                  </a:lnTo>
                  <a:lnTo>
                    <a:pt x="2295" y="890"/>
                  </a:lnTo>
                  <a:lnTo>
                    <a:pt x="2276" y="874"/>
                  </a:lnTo>
                  <a:lnTo>
                    <a:pt x="2267" y="852"/>
                  </a:lnTo>
                  <a:lnTo>
                    <a:pt x="2258" y="827"/>
                  </a:lnTo>
                  <a:lnTo>
                    <a:pt x="2248" y="802"/>
                  </a:lnTo>
                  <a:lnTo>
                    <a:pt x="2239" y="784"/>
                  </a:lnTo>
                  <a:lnTo>
                    <a:pt x="2217" y="765"/>
                  </a:lnTo>
                  <a:lnTo>
                    <a:pt x="2186" y="746"/>
                  </a:lnTo>
                  <a:lnTo>
                    <a:pt x="2192" y="715"/>
                  </a:lnTo>
                  <a:lnTo>
                    <a:pt x="2198" y="687"/>
                  </a:lnTo>
                  <a:lnTo>
                    <a:pt x="2208" y="665"/>
                  </a:lnTo>
                  <a:lnTo>
                    <a:pt x="2211" y="659"/>
                  </a:lnTo>
                  <a:lnTo>
                    <a:pt x="2217" y="652"/>
                  </a:lnTo>
                  <a:lnTo>
                    <a:pt x="2223" y="643"/>
                  </a:lnTo>
                  <a:lnTo>
                    <a:pt x="2229" y="637"/>
                  </a:lnTo>
                  <a:lnTo>
                    <a:pt x="2233" y="631"/>
                  </a:lnTo>
                  <a:lnTo>
                    <a:pt x="2236" y="609"/>
                  </a:lnTo>
                  <a:lnTo>
                    <a:pt x="2233" y="584"/>
                  </a:lnTo>
                  <a:lnTo>
                    <a:pt x="2233" y="559"/>
                  </a:lnTo>
                  <a:lnTo>
                    <a:pt x="2239" y="540"/>
                  </a:lnTo>
                  <a:lnTo>
                    <a:pt x="2245" y="515"/>
                  </a:lnTo>
                  <a:lnTo>
                    <a:pt x="2251" y="496"/>
                  </a:lnTo>
                  <a:lnTo>
                    <a:pt x="2258" y="474"/>
                  </a:lnTo>
                  <a:lnTo>
                    <a:pt x="2264" y="453"/>
                  </a:lnTo>
                  <a:lnTo>
                    <a:pt x="2270" y="431"/>
                  </a:lnTo>
                  <a:lnTo>
                    <a:pt x="2276" y="425"/>
                  </a:lnTo>
                  <a:lnTo>
                    <a:pt x="2286" y="415"/>
                  </a:lnTo>
                  <a:lnTo>
                    <a:pt x="2295" y="406"/>
                  </a:lnTo>
                  <a:lnTo>
                    <a:pt x="2301" y="393"/>
                  </a:lnTo>
                  <a:lnTo>
                    <a:pt x="2304" y="387"/>
                  </a:lnTo>
                  <a:lnTo>
                    <a:pt x="2308" y="368"/>
                  </a:lnTo>
                  <a:lnTo>
                    <a:pt x="2304" y="346"/>
                  </a:lnTo>
                  <a:lnTo>
                    <a:pt x="2304" y="331"/>
                  </a:lnTo>
                  <a:lnTo>
                    <a:pt x="2311" y="325"/>
                  </a:lnTo>
                  <a:lnTo>
                    <a:pt x="2317" y="321"/>
                  </a:lnTo>
                  <a:lnTo>
                    <a:pt x="2326" y="315"/>
                  </a:lnTo>
                  <a:lnTo>
                    <a:pt x="2336" y="312"/>
                  </a:lnTo>
                  <a:lnTo>
                    <a:pt x="2342" y="309"/>
                  </a:lnTo>
                  <a:lnTo>
                    <a:pt x="2348" y="306"/>
                  </a:lnTo>
                  <a:lnTo>
                    <a:pt x="2354" y="306"/>
                  </a:lnTo>
                  <a:lnTo>
                    <a:pt x="2361" y="303"/>
                  </a:lnTo>
                  <a:lnTo>
                    <a:pt x="2367" y="300"/>
                  </a:lnTo>
                  <a:lnTo>
                    <a:pt x="2373" y="296"/>
                  </a:lnTo>
                  <a:lnTo>
                    <a:pt x="2382" y="278"/>
                  </a:lnTo>
                  <a:lnTo>
                    <a:pt x="2386" y="253"/>
                  </a:lnTo>
                  <a:lnTo>
                    <a:pt x="2386" y="228"/>
                  </a:lnTo>
                  <a:lnTo>
                    <a:pt x="2386" y="222"/>
                  </a:lnTo>
                  <a:lnTo>
                    <a:pt x="2382" y="212"/>
                  </a:lnTo>
                  <a:lnTo>
                    <a:pt x="2376" y="206"/>
                  </a:lnTo>
                  <a:lnTo>
                    <a:pt x="2373" y="197"/>
                  </a:lnTo>
                  <a:lnTo>
                    <a:pt x="2373" y="187"/>
                  </a:lnTo>
                  <a:lnTo>
                    <a:pt x="2373" y="181"/>
                  </a:lnTo>
                  <a:lnTo>
                    <a:pt x="2376" y="175"/>
                  </a:lnTo>
                  <a:lnTo>
                    <a:pt x="2386" y="172"/>
                  </a:lnTo>
                  <a:lnTo>
                    <a:pt x="2392" y="165"/>
                  </a:lnTo>
                  <a:lnTo>
                    <a:pt x="2401" y="162"/>
                  </a:lnTo>
                  <a:lnTo>
                    <a:pt x="2411" y="162"/>
                  </a:lnTo>
                  <a:lnTo>
                    <a:pt x="2417" y="162"/>
                  </a:lnTo>
                  <a:lnTo>
                    <a:pt x="2423" y="162"/>
                  </a:lnTo>
                  <a:lnTo>
                    <a:pt x="2429" y="162"/>
                  </a:lnTo>
                  <a:lnTo>
                    <a:pt x="2436" y="165"/>
                  </a:lnTo>
                  <a:lnTo>
                    <a:pt x="2442" y="172"/>
                  </a:lnTo>
                  <a:lnTo>
                    <a:pt x="2445" y="178"/>
                  </a:lnTo>
                  <a:lnTo>
                    <a:pt x="2448" y="187"/>
                  </a:lnTo>
                  <a:lnTo>
                    <a:pt x="2451" y="197"/>
                  </a:lnTo>
                  <a:lnTo>
                    <a:pt x="2454" y="203"/>
                  </a:lnTo>
                  <a:lnTo>
                    <a:pt x="2461" y="209"/>
                  </a:lnTo>
                  <a:lnTo>
                    <a:pt x="2482" y="215"/>
                  </a:lnTo>
                  <a:lnTo>
                    <a:pt x="2510" y="215"/>
                  </a:lnTo>
                  <a:lnTo>
                    <a:pt x="2539" y="212"/>
                  </a:lnTo>
                  <a:lnTo>
                    <a:pt x="2564" y="203"/>
                  </a:lnTo>
                  <a:lnTo>
                    <a:pt x="2570" y="200"/>
                  </a:lnTo>
                  <a:lnTo>
                    <a:pt x="2576" y="190"/>
                  </a:lnTo>
                  <a:lnTo>
                    <a:pt x="2582" y="184"/>
                  </a:lnTo>
                  <a:lnTo>
                    <a:pt x="2585" y="175"/>
                  </a:lnTo>
                  <a:lnTo>
                    <a:pt x="2589" y="168"/>
                  </a:lnTo>
                  <a:lnTo>
                    <a:pt x="2592" y="162"/>
                  </a:lnTo>
                  <a:lnTo>
                    <a:pt x="2589" y="153"/>
                  </a:lnTo>
                  <a:lnTo>
                    <a:pt x="2589" y="147"/>
                  </a:lnTo>
                  <a:lnTo>
                    <a:pt x="2589" y="137"/>
                  </a:lnTo>
                  <a:lnTo>
                    <a:pt x="2589" y="128"/>
                  </a:lnTo>
                  <a:lnTo>
                    <a:pt x="2589" y="125"/>
                  </a:lnTo>
                  <a:lnTo>
                    <a:pt x="2595" y="115"/>
                  </a:lnTo>
                  <a:lnTo>
                    <a:pt x="2604" y="106"/>
                  </a:lnTo>
                  <a:lnTo>
                    <a:pt x="2617" y="97"/>
                  </a:lnTo>
                  <a:lnTo>
                    <a:pt x="2626" y="90"/>
                  </a:lnTo>
                  <a:lnTo>
                    <a:pt x="2639" y="87"/>
                  </a:lnTo>
                  <a:lnTo>
                    <a:pt x="2651" y="84"/>
                  </a:lnTo>
                  <a:lnTo>
                    <a:pt x="2670" y="87"/>
                  </a:lnTo>
                  <a:lnTo>
                    <a:pt x="2688" y="87"/>
                  </a:lnTo>
                  <a:lnTo>
                    <a:pt x="2701" y="84"/>
                  </a:lnTo>
                  <a:lnTo>
                    <a:pt x="2707" y="72"/>
                  </a:lnTo>
                  <a:lnTo>
                    <a:pt x="2707" y="56"/>
                  </a:lnTo>
                  <a:lnTo>
                    <a:pt x="2707" y="37"/>
                  </a:lnTo>
                  <a:lnTo>
                    <a:pt x="2707" y="22"/>
                  </a:lnTo>
                  <a:lnTo>
                    <a:pt x="2713" y="9"/>
                  </a:lnTo>
                  <a:lnTo>
                    <a:pt x="2732" y="3"/>
                  </a:lnTo>
                  <a:lnTo>
                    <a:pt x="2760" y="0"/>
                  </a:lnTo>
                  <a:lnTo>
                    <a:pt x="2788" y="0"/>
                  </a:lnTo>
                  <a:lnTo>
                    <a:pt x="2817" y="6"/>
                  </a:lnTo>
                  <a:lnTo>
                    <a:pt x="2838" y="9"/>
                  </a:lnTo>
                  <a:lnTo>
                    <a:pt x="2857" y="15"/>
                  </a:lnTo>
                  <a:lnTo>
                    <a:pt x="2876" y="28"/>
                  </a:lnTo>
                  <a:lnTo>
                    <a:pt x="2891" y="40"/>
                  </a:lnTo>
                  <a:lnTo>
                    <a:pt x="2895" y="53"/>
                  </a:lnTo>
                  <a:lnTo>
                    <a:pt x="2895" y="72"/>
                  </a:lnTo>
                  <a:lnTo>
                    <a:pt x="2891" y="94"/>
                  </a:lnTo>
                  <a:lnTo>
                    <a:pt x="2891" y="109"/>
                  </a:lnTo>
                  <a:lnTo>
                    <a:pt x="2888" y="128"/>
                  </a:lnTo>
                  <a:lnTo>
                    <a:pt x="2888" y="150"/>
                  </a:lnTo>
                  <a:lnTo>
                    <a:pt x="2891" y="168"/>
                  </a:lnTo>
                  <a:lnTo>
                    <a:pt x="2901" y="187"/>
                  </a:lnTo>
                  <a:lnTo>
                    <a:pt x="2920" y="209"/>
                  </a:lnTo>
                  <a:lnTo>
                    <a:pt x="2938" y="228"/>
                  </a:lnTo>
                  <a:lnTo>
                    <a:pt x="2951" y="247"/>
                  </a:lnTo>
                  <a:lnTo>
                    <a:pt x="2954" y="268"/>
                  </a:lnTo>
                  <a:lnTo>
                    <a:pt x="2957" y="296"/>
                  </a:lnTo>
                  <a:lnTo>
                    <a:pt x="2963" y="321"/>
                  </a:lnTo>
                  <a:lnTo>
                    <a:pt x="2973" y="337"/>
                  </a:lnTo>
                  <a:lnTo>
                    <a:pt x="2988" y="343"/>
                  </a:lnTo>
                  <a:lnTo>
                    <a:pt x="3013" y="346"/>
                  </a:lnTo>
                  <a:lnTo>
                    <a:pt x="3038" y="343"/>
                  </a:lnTo>
                  <a:lnTo>
                    <a:pt x="3060" y="340"/>
                  </a:lnTo>
                  <a:lnTo>
                    <a:pt x="3079" y="337"/>
                  </a:lnTo>
                  <a:lnTo>
                    <a:pt x="3104" y="334"/>
                  </a:lnTo>
                  <a:lnTo>
                    <a:pt x="3135" y="328"/>
                  </a:lnTo>
                  <a:lnTo>
                    <a:pt x="3163" y="318"/>
                  </a:lnTo>
                  <a:lnTo>
                    <a:pt x="3185" y="303"/>
                  </a:lnTo>
                  <a:lnTo>
                    <a:pt x="3188" y="287"/>
                  </a:lnTo>
                  <a:lnTo>
                    <a:pt x="3188" y="268"/>
                  </a:lnTo>
                  <a:lnTo>
                    <a:pt x="3185" y="250"/>
                  </a:lnTo>
                  <a:lnTo>
                    <a:pt x="3176" y="237"/>
                  </a:lnTo>
                  <a:lnTo>
                    <a:pt x="3166" y="222"/>
                  </a:lnTo>
                  <a:lnTo>
                    <a:pt x="3157" y="206"/>
                  </a:lnTo>
                  <a:lnTo>
                    <a:pt x="3157" y="193"/>
                  </a:lnTo>
                  <a:lnTo>
                    <a:pt x="3166" y="184"/>
                  </a:lnTo>
                  <a:lnTo>
                    <a:pt x="3185" y="175"/>
                  </a:lnTo>
                  <a:lnTo>
                    <a:pt x="3207" y="168"/>
                  </a:lnTo>
                  <a:lnTo>
                    <a:pt x="3222" y="168"/>
                  </a:lnTo>
                  <a:lnTo>
                    <a:pt x="3251" y="168"/>
                  </a:lnTo>
                  <a:lnTo>
                    <a:pt x="3279" y="175"/>
                  </a:lnTo>
                  <a:lnTo>
                    <a:pt x="3307" y="184"/>
                  </a:lnTo>
                  <a:lnTo>
                    <a:pt x="3326" y="197"/>
                  </a:lnTo>
                  <a:lnTo>
                    <a:pt x="3326" y="215"/>
                  </a:lnTo>
                  <a:lnTo>
                    <a:pt x="3319" y="234"/>
                  </a:lnTo>
                  <a:lnTo>
                    <a:pt x="3307" y="256"/>
                  </a:lnTo>
                  <a:lnTo>
                    <a:pt x="3297" y="275"/>
                  </a:lnTo>
                  <a:lnTo>
                    <a:pt x="3297" y="293"/>
                  </a:lnTo>
                  <a:lnTo>
                    <a:pt x="3313" y="306"/>
                  </a:lnTo>
                  <a:lnTo>
                    <a:pt x="3338" y="315"/>
                  </a:lnTo>
                  <a:lnTo>
                    <a:pt x="3360" y="318"/>
                  </a:lnTo>
                  <a:lnTo>
                    <a:pt x="3369" y="318"/>
                  </a:lnTo>
                  <a:lnTo>
                    <a:pt x="3379" y="315"/>
                  </a:lnTo>
                  <a:lnTo>
                    <a:pt x="3388" y="312"/>
                  </a:lnTo>
                  <a:lnTo>
                    <a:pt x="3400" y="309"/>
                  </a:lnTo>
                  <a:lnTo>
                    <a:pt x="3407" y="309"/>
                  </a:lnTo>
                  <a:lnTo>
                    <a:pt x="3425" y="309"/>
                  </a:lnTo>
                  <a:lnTo>
                    <a:pt x="3444" y="309"/>
                  </a:lnTo>
                  <a:lnTo>
                    <a:pt x="3466" y="312"/>
                  </a:lnTo>
                  <a:lnTo>
                    <a:pt x="3482" y="318"/>
                  </a:lnTo>
                  <a:lnTo>
                    <a:pt x="3494" y="340"/>
                  </a:lnTo>
                  <a:lnTo>
                    <a:pt x="3500" y="368"/>
                  </a:lnTo>
                  <a:lnTo>
                    <a:pt x="3507" y="396"/>
                  </a:lnTo>
                  <a:lnTo>
                    <a:pt x="3516" y="421"/>
                  </a:lnTo>
                  <a:lnTo>
                    <a:pt x="3532" y="437"/>
                  </a:lnTo>
                  <a:lnTo>
                    <a:pt x="3553" y="456"/>
                  </a:lnTo>
                  <a:lnTo>
                    <a:pt x="3575" y="474"/>
                  </a:lnTo>
                  <a:lnTo>
                    <a:pt x="3594" y="487"/>
                  </a:lnTo>
                  <a:lnTo>
                    <a:pt x="3616" y="490"/>
                  </a:lnTo>
                  <a:lnTo>
                    <a:pt x="3644" y="490"/>
                  </a:lnTo>
                  <a:lnTo>
                    <a:pt x="3675" y="490"/>
                  </a:lnTo>
                  <a:lnTo>
                    <a:pt x="3675" y="524"/>
                  </a:lnTo>
                  <a:lnTo>
                    <a:pt x="3678" y="562"/>
                  </a:lnTo>
                  <a:lnTo>
                    <a:pt x="3685" y="590"/>
                  </a:lnTo>
                  <a:lnTo>
                    <a:pt x="3688" y="612"/>
                  </a:lnTo>
                  <a:lnTo>
                    <a:pt x="3694" y="640"/>
                  </a:lnTo>
                  <a:lnTo>
                    <a:pt x="3700" y="668"/>
                  </a:lnTo>
                  <a:lnTo>
                    <a:pt x="3706" y="690"/>
                  </a:lnTo>
                  <a:lnTo>
                    <a:pt x="3706" y="718"/>
                  </a:lnTo>
                  <a:lnTo>
                    <a:pt x="3706" y="749"/>
                  </a:lnTo>
                  <a:lnTo>
                    <a:pt x="3706" y="777"/>
                  </a:lnTo>
                  <a:lnTo>
                    <a:pt x="3706" y="802"/>
                  </a:lnTo>
                  <a:lnTo>
                    <a:pt x="3710" y="834"/>
                  </a:lnTo>
                  <a:lnTo>
                    <a:pt x="3713" y="862"/>
                  </a:lnTo>
                  <a:lnTo>
                    <a:pt x="3719" y="890"/>
                  </a:lnTo>
                  <a:lnTo>
                    <a:pt x="3728" y="909"/>
                  </a:lnTo>
                  <a:lnTo>
                    <a:pt x="3744" y="915"/>
                  </a:lnTo>
                  <a:lnTo>
                    <a:pt x="3763" y="918"/>
                  </a:lnTo>
                  <a:lnTo>
                    <a:pt x="3785" y="918"/>
                  </a:lnTo>
                  <a:lnTo>
                    <a:pt x="3803" y="918"/>
                  </a:lnTo>
                  <a:lnTo>
                    <a:pt x="3819" y="924"/>
                  </a:lnTo>
                  <a:lnTo>
                    <a:pt x="3828" y="943"/>
                  </a:lnTo>
                  <a:lnTo>
                    <a:pt x="3835" y="971"/>
                  </a:lnTo>
                  <a:lnTo>
                    <a:pt x="3838" y="999"/>
                  </a:lnTo>
                  <a:lnTo>
                    <a:pt x="3841" y="1021"/>
                  </a:lnTo>
                  <a:lnTo>
                    <a:pt x="3853" y="1040"/>
                  </a:lnTo>
                  <a:lnTo>
                    <a:pt x="3869" y="1062"/>
                  </a:lnTo>
                  <a:lnTo>
                    <a:pt x="3878" y="1080"/>
                  </a:lnTo>
                  <a:lnTo>
                    <a:pt x="3878" y="1102"/>
                  </a:lnTo>
                  <a:lnTo>
                    <a:pt x="3875" y="1127"/>
                  </a:lnTo>
                  <a:lnTo>
                    <a:pt x="3878" y="1149"/>
                  </a:lnTo>
                  <a:lnTo>
                    <a:pt x="3888" y="1171"/>
                  </a:lnTo>
                  <a:lnTo>
                    <a:pt x="3903" y="1196"/>
                  </a:lnTo>
                  <a:lnTo>
                    <a:pt x="3919" y="1215"/>
                  </a:lnTo>
                  <a:lnTo>
                    <a:pt x="3934" y="1230"/>
                  </a:lnTo>
                  <a:lnTo>
                    <a:pt x="3956" y="1243"/>
                  </a:lnTo>
                  <a:lnTo>
                    <a:pt x="3972" y="1255"/>
                  </a:lnTo>
                  <a:lnTo>
                    <a:pt x="3978" y="1264"/>
                  </a:lnTo>
                  <a:lnTo>
                    <a:pt x="3984" y="1274"/>
                  </a:lnTo>
                  <a:lnTo>
                    <a:pt x="3988" y="1286"/>
                  </a:lnTo>
                  <a:lnTo>
                    <a:pt x="3994" y="1296"/>
                  </a:lnTo>
                  <a:lnTo>
                    <a:pt x="3994" y="1305"/>
                  </a:lnTo>
                  <a:lnTo>
                    <a:pt x="3994" y="1324"/>
                  </a:lnTo>
                  <a:lnTo>
                    <a:pt x="3984" y="1349"/>
                  </a:lnTo>
                  <a:lnTo>
                    <a:pt x="3978" y="1371"/>
                  </a:lnTo>
                  <a:lnTo>
                    <a:pt x="3972" y="1389"/>
                  </a:lnTo>
                  <a:lnTo>
                    <a:pt x="3972" y="1411"/>
                  </a:lnTo>
                  <a:lnTo>
                    <a:pt x="3972" y="1439"/>
                  </a:lnTo>
                  <a:lnTo>
                    <a:pt x="3972" y="1464"/>
                  </a:lnTo>
                  <a:lnTo>
                    <a:pt x="3972" y="1480"/>
                  </a:lnTo>
                  <a:lnTo>
                    <a:pt x="3978" y="1483"/>
                  </a:lnTo>
                  <a:lnTo>
                    <a:pt x="3994" y="1489"/>
                  </a:lnTo>
                  <a:lnTo>
                    <a:pt x="4016" y="1492"/>
                  </a:lnTo>
                  <a:lnTo>
                    <a:pt x="4037" y="1496"/>
                  </a:lnTo>
                  <a:lnTo>
                    <a:pt x="4053" y="1496"/>
                  </a:lnTo>
                  <a:lnTo>
                    <a:pt x="4072" y="1492"/>
                  </a:lnTo>
                  <a:lnTo>
                    <a:pt x="4091" y="1486"/>
                  </a:lnTo>
                  <a:lnTo>
                    <a:pt x="4106" y="1480"/>
                  </a:lnTo>
                  <a:lnTo>
                    <a:pt x="4131" y="1486"/>
                  </a:lnTo>
                  <a:lnTo>
                    <a:pt x="4156" y="1496"/>
                  </a:lnTo>
                  <a:lnTo>
                    <a:pt x="4181" y="1508"/>
                  </a:lnTo>
                  <a:lnTo>
                    <a:pt x="4203" y="1521"/>
                  </a:lnTo>
                  <a:lnTo>
                    <a:pt x="4219" y="1539"/>
                  </a:lnTo>
                  <a:lnTo>
                    <a:pt x="4234" y="1564"/>
                  </a:lnTo>
                  <a:lnTo>
                    <a:pt x="4253" y="1580"/>
                  </a:lnTo>
                  <a:lnTo>
                    <a:pt x="4281" y="1583"/>
                  </a:lnTo>
                  <a:lnTo>
                    <a:pt x="4315" y="1580"/>
                  </a:lnTo>
                  <a:lnTo>
                    <a:pt x="4350" y="1571"/>
                  </a:lnTo>
                  <a:lnTo>
                    <a:pt x="4372" y="1555"/>
                  </a:lnTo>
                  <a:lnTo>
                    <a:pt x="4375" y="1552"/>
                  </a:lnTo>
                  <a:lnTo>
                    <a:pt x="4375" y="1542"/>
                  </a:lnTo>
                  <a:lnTo>
                    <a:pt x="4375" y="1536"/>
                  </a:lnTo>
                  <a:lnTo>
                    <a:pt x="4372" y="1527"/>
                  </a:lnTo>
                  <a:lnTo>
                    <a:pt x="4372" y="1521"/>
                  </a:lnTo>
                  <a:lnTo>
                    <a:pt x="4372" y="1514"/>
                  </a:lnTo>
                  <a:lnTo>
                    <a:pt x="4387" y="1505"/>
                  </a:lnTo>
                  <a:lnTo>
                    <a:pt x="4406" y="1496"/>
                  </a:lnTo>
                  <a:lnTo>
                    <a:pt x="4425" y="1489"/>
                  </a:lnTo>
                  <a:lnTo>
                    <a:pt x="4443" y="1483"/>
                  </a:lnTo>
                  <a:lnTo>
                    <a:pt x="4459" y="1471"/>
                  </a:lnTo>
                  <a:lnTo>
                    <a:pt x="4481" y="1458"/>
                  </a:lnTo>
                  <a:lnTo>
                    <a:pt x="4500" y="1446"/>
                  </a:lnTo>
                  <a:lnTo>
                    <a:pt x="4515" y="1439"/>
                  </a:lnTo>
                  <a:lnTo>
                    <a:pt x="4537" y="1433"/>
                  </a:lnTo>
                  <a:lnTo>
                    <a:pt x="4556" y="1427"/>
                  </a:lnTo>
                  <a:lnTo>
                    <a:pt x="4568" y="1433"/>
                  </a:lnTo>
                  <a:lnTo>
                    <a:pt x="4568" y="1446"/>
                  </a:lnTo>
                  <a:lnTo>
                    <a:pt x="4556" y="1461"/>
                  </a:lnTo>
                  <a:lnTo>
                    <a:pt x="4546" y="1477"/>
                  </a:lnTo>
                  <a:lnTo>
                    <a:pt x="4540" y="1489"/>
                  </a:lnTo>
                  <a:lnTo>
                    <a:pt x="4540" y="1514"/>
                  </a:lnTo>
                  <a:lnTo>
                    <a:pt x="4546" y="1542"/>
                  </a:lnTo>
                  <a:lnTo>
                    <a:pt x="4559" y="1561"/>
                  </a:lnTo>
                  <a:lnTo>
                    <a:pt x="4575" y="1567"/>
                  </a:lnTo>
                  <a:lnTo>
                    <a:pt x="4596" y="1571"/>
                  </a:lnTo>
                  <a:lnTo>
                    <a:pt x="4621" y="1571"/>
                  </a:lnTo>
                  <a:lnTo>
                    <a:pt x="4640" y="1567"/>
                  </a:lnTo>
                  <a:lnTo>
                    <a:pt x="4656" y="1558"/>
                  </a:lnTo>
                  <a:lnTo>
                    <a:pt x="4671" y="1542"/>
                  </a:lnTo>
                  <a:lnTo>
                    <a:pt x="4684" y="1524"/>
                  </a:lnTo>
                  <a:lnTo>
                    <a:pt x="4693" y="1508"/>
                  </a:lnTo>
                  <a:lnTo>
                    <a:pt x="4690" y="1492"/>
                  </a:lnTo>
                  <a:lnTo>
                    <a:pt x="4684" y="1477"/>
                  </a:lnTo>
                  <a:lnTo>
                    <a:pt x="4675" y="1458"/>
                  </a:lnTo>
                  <a:lnTo>
                    <a:pt x="4671" y="1442"/>
                  </a:lnTo>
                  <a:lnTo>
                    <a:pt x="4671" y="1430"/>
                  </a:lnTo>
                  <a:lnTo>
                    <a:pt x="4687" y="1424"/>
                  </a:lnTo>
                  <a:lnTo>
                    <a:pt x="4706" y="1421"/>
                  </a:lnTo>
                  <a:lnTo>
                    <a:pt x="4728" y="1424"/>
                  </a:lnTo>
                  <a:lnTo>
                    <a:pt x="4753" y="1427"/>
                  </a:lnTo>
                  <a:lnTo>
                    <a:pt x="4768" y="1430"/>
                  </a:lnTo>
                  <a:lnTo>
                    <a:pt x="4778" y="1430"/>
                  </a:lnTo>
                  <a:lnTo>
                    <a:pt x="4787" y="1433"/>
                  </a:lnTo>
                  <a:lnTo>
                    <a:pt x="4796" y="1433"/>
                  </a:lnTo>
                  <a:lnTo>
                    <a:pt x="4806" y="1436"/>
                  </a:lnTo>
                  <a:lnTo>
                    <a:pt x="4824" y="1446"/>
                  </a:lnTo>
                  <a:lnTo>
                    <a:pt x="4843" y="1461"/>
                  </a:lnTo>
                  <a:lnTo>
                    <a:pt x="4862" y="1477"/>
                  </a:lnTo>
                  <a:lnTo>
                    <a:pt x="4877" y="1489"/>
                  </a:lnTo>
                  <a:lnTo>
                    <a:pt x="4893" y="1505"/>
                  </a:lnTo>
                  <a:lnTo>
                    <a:pt x="4909" y="1521"/>
                  </a:lnTo>
                  <a:lnTo>
                    <a:pt x="4918" y="1530"/>
                  </a:lnTo>
                  <a:lnTo>
                    <a:pt x="4927" y="1533"/>
                  </a:lnTo>
                  <a:lnTo>
                    <a:pt x="4943" y="1533"/>
                  </a:lnTo>
                  <a:lnTo>
                    <a:pt x="4962" y="1533"/>
                  </a:lnTo>
                  <a:lnTo>
                    <a:pt x="4977" y="1530"/>
                  </a:lnTo>
                  <a:lnTo>
                    <a:pt x="4981" y="1546"/>
                  </a:lnTo>
                  <a:lnTo>
                    <a:pt x="4984" y="1558"/>
                  </a:lnTo>
                  <a:lnTo>
                    <a:pt x="4996" y="1580"/>
                  </a:lnTo>
                  <a:lnTo>
                    <a:pt x="5012" y="1605"/>
                  </a:lnTo>
                  <a:lnTo>
                    <a:pt x="5027" y="1627"/>
                  </a:lnTo>
                  <a:lnTo>
                    <a:pt x="5043" y="1658"/>
                  </a:lnTo>
                  <a:lnTo>
                    <a:pt x="5062" y="1692"/>
                  </a:lnTo>
                  <a:lnTo>
                    <a:pt x="5080" y="1724"/>
                  </a:lnTo>
                  <a:lnTo>
                    <a:pt x="5096" y="1739"/>
                  </a:lnTo>
                  <a:lnTo>
                    <a:pt x="5118" y="1755"/>
                  </a:lnTo>
                  <a:lnTo>
                    <a:pt x="5137" y="1770"/>
                  </a:lnTo>
                  <a:lnTo>
                    <a:pt x="5149" y="1786"/>
                  </a:lnTo>
                  <a:lnTo>
                    <a:pt x="5155" y="1811"/>
                  </a:lnTo>
                  <a:lnTo>
                    <a:pt x="5155" y="1842"/>
                  </a:lnTo>
                  <a:lnTo>
                    <a:pt x="5149" y="1873"/>
                  </a:lnTo>
                  <a:lnTo>
                    <a:pt x="5146" y="1898"/>
                  </a:lnTo>
                  <a:lnTo>
                    <a:pt x="5140" y="1917"/>
                  </a:lnTo>
                  <a:lnTo>
                    <a:pt x="5127" y="1939"/>
                  </a:lnTo>
                  <a:lnTo>
                    <a:pt x="5124" y="1958"/>
                  </a:lnTo>
                  <a:lnTo>
                    <a:pt x="5127" y="1967"/>
                  </a:lnTo>
                  <a:lnTo>
                    <a:pt x="5130" y="1976"/>
                  </a:lnTo>
                  <a:lnTo>
                    <a:pt x="5137" y="1983"/>
                  </a:lnTo>
                  <a:lnTo>
                    <a:pt x="5143" y="1992"/>
                  </a:lnTo>
                  <a:lnTo>
                    <a:pt x="5149" y="1998"/>
                  </a:lnTo>
                  <a:lnTo>
                    <a:pt x="5155" y="2005"/>
                  </a:lnTo>
                  <a:lnTo>
                    <a:pt x="5159" y="2005"/>
                  </a:lnTo>
                  <a:lnTo>
                    <a:pt x="5165" y="2005"/>
                  </a:lnTo>
                  <a:lnTo>
                    <a:pt x="5168" y="2005"/>
                  </a:lnTo>
                  <a:lnTo>
                    <a:pt x="5174" y="2005"/>
                  </a:lnTo>
                  <a:lnTo>
                    <a:pt x="5190" y="2008"/>
                  </a:lnTo>
                  <a:lnTo>
                    <a:pt x="5212" y="2014"/>
                  </a:lnTo>
                  <a:lnTo>
                    <a:pt x="5227" y="2023"/>
                  </a:lnTo>
                  <a:lnTo>
                    <a:pt x="5240" y="2042"/>
                  </a:lnTo>
                  <a:lnTo>
                    <a:pt x="5249" y="2064"/>
                  </a:lnTo>
                  <a:lnTo>
                    <a:pt x="5258" y="2079"/>
                  </a:lnTo>
                  <a:lnTo>
                    <a:pt x="5280" y="2098"/>
                  </a:lnTo>
                  <a:lnTo>
                    <a:pt x="5308" y="2117"/>
                  </a:lnTo>
                  <a:lnTo>
                    <a:pt x="5337" y="2139"/>
                  </a:lnTo>
                  <a:lnTo>
                    <a:pt x="5355" y="2158"/>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sp>
          <p:nvSpPr>
            <p:cNvPr id="68" name="Freeform 63">
              <a:extLst>
                <a:ext uri="{FF2B5EF4-FFF2-40B4-BE49-F238E27FC236}">
                  <a16:creationId xmlns:a16="http://schemas.microsoft.com/office/drawing/2014/main" id="{C4B537E4-9A47-4DBA-AB73-5DEA77467814}"/>
                </a:ext>
              </a:extLst>
            </p:cNvPr>
            <p:cNvSpPr>
              <a:spLocks/>
            </p:cNvSpPr>
            <p:nvPr/>
          </p:nvSpPr>
          <p:spPr bwMode="auto">
            <a:xfrm>
              <a:off x="37999988" y="11763375"/>
              <a:ext cx="2849563" cy="6142038"/>
            </a:xfrm>
            <a:custGeom>
              <a:avLst/>
              <a:gdLst>
                <a:gd name="T0" fmla="*/ 1683 w 1795"/>
                <a:gd name="T1" fmla="*/ 2242 h 3869"/>
                <a:gd name="T2" fmla="*/ 1542 w 1795"/>
                <a:gd name="T3" fmla="*/ 2623 h 3869"/>
                <a:gd name="T4" fmla="*/ 1545 w 1795"/>
                <a:gd name="T5" fmla="*/ 3057 h 3869"/>
                <a:gd name="T6" fmla="*/ 1486 w 1795"/>
                <a:gd name="T7" fmla="*/ 3222 h 3869"/>
                <a:gd name="T8" fmla="*/ 1386 w 1795"/>
                <a:gd name="T9" fmla="*/ 3332 h 3869"/>
                <a:gd name="T10" fmla="*/ 1489 w 1795"/>
                <a:gd name="T11" fmla="*/ 3304 h 3869"/>
                <a:gd name="T12" fmla="*/ 1452 w 1795"/>
                <a:gd name="T13" fmla="*/ 3447 h 3869"/>
                <a:gd name="T14" fmla="*/ 1377 w 1795"/>
                <a:gd name="T15" fmla="*/ 3616 h 3869"/>
                <a:gd name="T16" fmla="*/ 1349 w 1795"/>
                <a:gd name="T17" fmla="*/ 3753 h 3869"/>
                <a:gd name="T18" fmla="*/ 1202 w 1795"/>
                <a:gd name="T19" fmla="*/ 3838 h 3869"/>
                <a:gd name="T20" fmla="*/ 1061 w 1795"/>
                <a:gd name="T21" fmla="*/ 3666 h 3869"/>
                <a:gd name="T22" fmla="*/ 852 w 1795"/>
                <a:gd name="T23" fmla="*/ 3622 h 3869"/>
                <a:gd name="T24" fmla="*/ 574 w 1795"/>
                <a:gd name="T25" fmla="*/ 3478 h 3869"/>
                <a:gd name="T26" fmla="*/ 540 w 1795"/>
                <a:gd name="T27" fmla="*/ 3300 h 3869"/>
                <a:gd name="T28" fmla="*/ 637 w 1795"/>
                <a:gd name="T29" fmla="*/ 3254 h 3869"/>
                <a:gd name="T30" fmla="*/ 746 w 1795"/>
                <a:gd name="T31" fmla="*/ 3210 h 3869"/>
                <a:gd name="T32" fmla="*/ 684 w 1795"/>
                <a:gd name="T33" fmla="*/ 3122 h 3869"/>
                <a:gd name="T34" fmla="*/ 468 w 1795"/>
                <a:gd name="T35" fmla="*/ 3094 h 3869"/>
                <a:gd name="T36" fmla="*/ 415 w 1795"/>
                <a:gd name="T37" fmla="*/ 3051 h 3869"/>
                <a:gd name="T38" fmla="*/ 328 w 1795"/>
                <a:gd name="T39" fmla="*/ 3088 h 3869"/>
                <a:gd name="T40" fmla="*/ 368 w 1795"/>
                <a:gd name="T41" fmla="*/ 2988 h 3869"/>
                <a:gd name="T42" fmla="*/ 496 w 1795"/>
                <a:gd name="T43" fmla="*/ 2870 h 3869"/>
                <a:gd name="T44" fmla="*/ 477 w 1795"/>
                <a:gd name="T45" fmla="*/ 2779 h 3869"/>
                <a:gd name="T46" fmla="*/ 440 w 1795"/>
                <a:gd name="T47" fmla="*/ 2692 h 3869"/>
                <a:gd name="T48" fmla="*/ 303 w 1795"/>
                <a:gd name="T49" fmla="*/ 2676 h 3869"/>
                <a:gd name="T50" fmla="*/ 137 w 1795"/>
                <a:gd name="T51" fmla="*/ 2595 h 3869"/>
                <a:gd name="T52" fmla="*/ 156 w 1795"/>
                <a:gd name="T53" fmla="*/ 2523 h 3869"/>
                <a:gd name="T54" fmla="*/ 256 w 1795"/>
                <a:gd name="T55" fmla="*/ 2386 h 3869"/>
                <a:gd name="T56" fmla="*/ 321 w 1795"/>
                <a:gd name="T57" fmla="*/ 2251 h 3869"/>
                <a:gd name="T58" fmla="*/ 115 w 1795"/>
                <a:gd name="T59" fmla="*/ 2151 h 3869"/>
                <a:gd name="T60" fmla="*/ 15 w 1795"/>
                <a:gd name="T61" fmla="*/ 1936 h 3869"/>
                <a:gd name="T62" fmla="*/ 175 w 1795"/>
                <a:gd name="T63" fmla="*/ 1873 h 3869"/>
                <a:gd name="T64" fmla="*/ 215 w 1795"/>
                <a:gd name="T65" fmla="*/ 1764 h 3869"/>
                <a:gd name="T66" fmla="*/ 115 w 1795"/>
                <a:gd name="T67" fmla="*/ 1692 h 3869"/>
                <a:gd name="T68" fmla="*/ 75 w 1795"/>
                <a:gd name="T69" fmla="*/ 1630 h 3869"/>
                <a:gd name="T70" fmla="*/ 0 w 1795"/>
                <a:gd name="T71" fmla="*/ 1642 h 3869"/>
                <a:gd name="T72" fmla="*/ 15 w 1795"/>
                <a:gd name="T73" fmla="*/ 1571 h 3869"/>
                <a:gd name="T74" fmla="*/ 90 w 1795"/>
                <a:gd name="T75" fmla="*/ 1467 h 3869"/>
                <a:gd name="T76" fmla="*/ 175 w 1795"/>
                <a:gd name="T77" fmla="*/ 1393 h 3869"/>
                <a:gd name="T78" fmla="*/ 209 w 1795"/>
                <a:gd name="T79" fmla="*/ 1215 h 3869"/>
                <a:gd name="T80" fmla="*/ 221 w 1795"/>
                <a:gd name="T81" fmla="*/ 1080 h 3869"/>
                <a:gd name="T82" fmla="*/ 290 w 1795"/>
                <a:gd name="T83" fmla="*/ 1108 h 3869"/>
                <a:gd name="T84" fmla="*/ 390 w 1795"/>
                <a:gd name="T85" fmla="*/ 1024 h 3869"/>
                <a:gd name="T86" fmla="*/ 540 w 1795"/>
                <a:gd name="T87" fmla="*/ 949 h 3869"/>
                <a:gd name="T88" fmla="*/ 702 w 1795"/>
                <a:gd name="T89" fmla="*/ 921 h 3869"/>
                <a:gd name="T90" fmla="*/ 843 w 1795"/>
                <a:gd name="T91" fmla="*/ 721 h 3869"/>
                <a:gd name="T92" fmla="*/ 1002 w 1795"/>
                <a:gd name="T93" fmla="*/ 665 h 3869"/>
                <a:gd name="T94" fmla="*/ 1124 w 1795"/>
                <a:gd name="T95" fmla="*/ 690 h 3869"/>
                <a:gd name="T96" fmla="*/ 1252 w 1795"/>
                <a:gd name="T97" fmla="*/ 715 h 3869"/>
                <a:gd name="T98" fmla="*/ 1280 w 1795"/>
                <a:gd name="T99" fmla="*/ 606 h 3869"/>
                <a:gd name="T100" fmla="*/ 1246 w 1795"/>
                <a:gd name="T101" fmla="*/ 340 h 3869"/>
                <a:gd name="T102" fmla="*/ 1280 w 1795"/>
                <a:gd name="T103" fmla="*/ 200 h 3869"/>
                <a:gd name="T104" fmla="*/ 1249 w 1795"/>
                <a:gd name="T105" fmla="*/ 34 h 3869"/>
                <a:gd name="T106" fmla="*/ 1371 w 1795"/>
                <a:gd name="T107" fmla="*/ 3 h 3869"/>
                <a:gd name="T108" fmla="*/ 1489 w 1795"/>
                <a:gd name="T109" fmla="*/ 222 h 3869"/>
                <a:gd name="T110" fmla="*/ 1542 w 1795"/>
                <a:gd name="T111" fmla="*/ 481 h 3869"/>
                <a:gd name="T112" fmla="*/ 1542 w 1795"/>
                <a:gd name="T113" fmla="*/ 634 h 3869"/>
                <a:gd name="T114" fmla="*/ 1545 w 1795"/>
                <a:gd name="T115" fmla="*/ 918 h 3869"/>
                <a:gd name="T116" fmla="*/ 1664 w 1795"/>
                <a:gd name="T117" fmla="*/ 1124 h 3869"/>
                <a:gd name="T118" fmla="*/ 1680 w 1795"/>
                <a:gd name="T119" fmla="*/ 1396 h 3869"/>
                <a:gd name="T120" fmla="*/ 1748 w 1795"/>
                <a:gd name="T121" fmla="*/ 1714 h 3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95" h="3869">
                  <a:moveTo>
                    <a:pt x="1795" y="1992"/>
                  </a:moveTo>
                  <a:lnTo>
                    <a:pt x="1795" y="2020"/>
                  </a:lnTo>
                  <a:lnTo>
                    <a:pt x="1795" y="2058"/>
                  </a:lnTo>
                  <a:lnTo>
                    <a:pt x="1789" y="2086"/>
                  </a:lnTo>
                  <a:lnTo>
                    <a:pt x="1776" y="2108"/>
                  </a:lnTo>
                  <a:lnTo>
                    <a:pt x="1755" y="2133"/>
                  </a:lnTo>
                  <a:lnTo>
                    <a:pt x="1733" y="2158"/>
                  </a:lnTo>
                  <a:lnTo>
                    <a:pt x="1717" y="2176"/>
                  </a:lnTo>
                  <a:lnTo>
                    <a:pt x="1708" y="2198"/>
                  </a:lnTo>
                  <a:lnTo>
                    <a:pt x="1695" y="2223"/>
                  </a:lnTo>
                  <a:lnTo>
                    <a:pt x="1683" y="2242"/>
                  </a:lnTo>
                  <a:lnTo>
                    <a:pt x="1664" y="2273"/>
                  </a:lnTo>
                  <a:lnTo>
                    <a:pt x="1642" y="2307"/>
                  </a:lnTo>
                  <a:lnTo>
                    <a:pt x="1620" y="2342"/>
                  </a:lnTo>
                  <a:lnTo>
                    <a:pt x="1602" y="2373"/>
                  </a:lnTo>
                  <a:lnTo>
                    <a:pt x="1586" y="2398"/>
                  </a:lnTo>
                  <a:lnTo>
                    <a:pt x="1570" y="2426"/>
                  </a:lnTo>
                  <a:lnTo>
                    <a:pt x="1555" y="2457"/>
                  </a:lnTo>
                  <a:lnTo>
                    <a:pt x="1545" y="2485"/>
                  </a:lnTo>
                  <a:lnTo>
                    <a:pt x="1539" y="2526"/>
                  </a:lnTo>
                  <a:lnTo>
                    <a:pt x="1539" y="2573"/>
                  </a:lnTo>
                  <a:lnTo>
                    <a:pt x="1542" y="2623"/>
                  </a:lnTo>
                  <a:lnTo>
                    <a:pt x="1545" y="2663"/>
                  </a:lnTo>
                  <a:lnTo>
                    <a:pt x="1549" y="2710"/>
                  </a:lnTo>
                  <a:lnTo>
                    <a:pt x="1558" y="2766"/>
                  </a:lnTo>
                  <a:lnTo>
                    <a:pt x="1564" y="2823"/>
                  </a:lnTo>
                  <a:lnTo>
                    <a:pt x="1567" y="2870"/>
                  </a:lnTo>
                  <a:lnTo>
                    <a:pt x="1570" y="2901"/>
                  </a:lnTo>
                  <a:lnTo>
                    <a:pt x="1570" y="2941"/>
                  </a:lnTo>
                  <a:lnTo>
                    <a:pt x="1570" y="2982"/>
                  </a:lnTo>
                  <a:lnTo>
                    <a:pt x="1567" y="3013"/>
                  </a:lnTo>
                  <a:lnTo>
                    <a:pt x="1561" y="3035"/>
                  </a:lnTo>
                  <a:lnTo>
                    <a:pt x="1545" y="3057"/>
                  </a:lnTo>
                  <a:lnTo>
                    <a:pt x="1533" y="3082"/>
                  </a:lnTo>
                  <a:lnTo>
                    <a:pt x="1527" y="3101"/>
                  </a:lnTo>
                  <a:lnTo>
                    <a:pt x="1530" y="3119"/>
                  </a:lnTo>
                  <a:lnTo>
                    <a:pt x="1536" y="3138"/>
                  </a:lnTo>
                  <a:lnTo>
                    <a:pt x="1545" y="3160"/>
                  </a:lnTo>
                  <a:lnTo>
                    <a:pt x="1552" y="3182"/>
                  </a:lnTo>
                  <a:lnTo>
                    <a:pt x="1552" y="3197"/>
                  </a:lnTo>
                  <a:lnTo>
                    <a:pt x="1539" y="3207"/>
                  </a:lnTo>
                  <a:lnTo>
                    <a:pt x="1520" y="3213"/>
                  </a:lnTo>
                  <a:lnTo>
                    <a:pt x="1502" y="3219"/>
                  </a:lnTo>
                  <a:lnTo>
                    <a:pt x="1486" y="3222"/>
                  </a:lnTo>
                  <a:lnTo>
                    <a:pt x="1467" y="3222"/>
                  </a:lnTo>
                  <a:lnTo>
                    <a:pt x="1445" y="3219"/>
                  </a:lnTo>
                  <a:lnTo>
                    <a:pt x="1427" y="3222"/>
                  </a:lnTo>
                  <a:lnTo>
                    <a:pt x="1417" y="3229"/>
                  </a:lnTo>
                  <a:lnTo>
                    <a:pt x="1411" y="3238"/>
                  </a:lnTo>
                  <a:lnTo>
                    <a:pt x="1402" y="3250"/>
                  </a:lnTo>
                  <a:lnTo>
                    <a:pt x="1396" y="3263"/>
                  </a:lnTo>
                  <a:lnTo>
                    <a:pt x="1392" y="3272"/>
                  </a:lnTo>
                  <a:lnTo>
                    <a:pt x="1386" y="3288"/>
                  </a:lnTo>
                  <a:lnTo>
                    <a:pt x="1383" y="3313"/>
                  </a:lnTo>
                  <a:lnTo>
                    <a:pt x="1386" y="3332"/>
                  </a:lnTo>
                  <a:lnTo>
                    <a:pt x="1392" y="3347"/>
                  </a:lnTo>
                  <a:lnTo>
                    <a:pt x="1402" y="3350"/>
                  </a:lnTo>
                  <a:lnTo>
                    <a:pt x="1417" y="3344"/>
                  </a:lnTo>
                  <a:lnTo>
                    <a:pt x="1433" y="3338"/>
                  </a:lnTo>
                  <a:lnTo>
                    <a:pt x="1445" y="3332"/>
                  </a:lnTo>
                  <a:lnTo>
                    <a:pt x="1452" y="3329"/>
                  </a:lnTo>
                  <a:lnTo>
                    <a:pt x="1458" y="3322"/>
                  </a:lnTo>
                  <a:lnTo>
                    <a:pt x="1467" y="3316"/>
                  </a:lnTo>
                  <a:lnTo>
                    <a:pt x="1474" y="3310"/>
                  </a:lnTo>
                  <a:lnTo>
                    <a:pt x="1480" y="3307"/>
                  </a:lnTo>
                  <a:lnTo>
                    <a:pt x="1489" y="3304"/>
                  </a:lnTo>
                  <a:lnTo>
                    <a:pt x="1502" y="3316"/>
                  </a:lnTo>
                  <a:lnTo>
                    <a:pt x="1514" y="3338"/>
                  </a:lnTo>
                  <a:lnTo>
                    <a:pt x="1524" y="3357"/>
                  </a:lnTo>
                  <a:lnTo>
                    <a:pt x="1524" y="3366"/>
                  </a:lnTo>
                  <a:lnTo>
                    <a:pt x="1524" y="3379"/>
                  </a:lnTo>
                  <a:lnTo>
                    <a:pt x="1524" y="3388"/>
                  </a:lnTo>
                  <a:lnTo>
                    <a:pt x="1524" y="3400"/>
                  </a:lnTo>
                  <a:lnTo>
                    <a:pt x="1520" y="3407"/>
                  </a:lnTo>
                  <a:lnTo>
                    <a:pt x="1502" y="3422"/>
                  </a:lnTo>
                  <a:lnTo>
                    <a:pt x="1474" y="3438"/>
                  </a:lnTo>
                  <a:lnTo>
                    <a:pt x="1452" y="3447"/>
                  </a:lnTo>
                  <a:lnTo>
                    <a:pt x="1433" y="3450"/>
                  </a:lnTo>
                  <a:lnTo>
                    <a:pt x="1414" y="3457"/>
                  </a:lnTo>
                  <a:lnTo>
                    <a:pt x="1392" y="3463"/>
                  </a:lnTo>
                  <a:lnTo>
                    <a:pt x="1380" y="3472"/>
                  </a:lnTo>
                  <a:lnTo>
                    <a:pt x="1377" y="3491"/>
                  </a:lnTo>
                  <a:lnTo>
                    <a:pt x="1383" y="3510"/>
                  </a:lnTo>
                  <a:lnTo>
                    <a:pt x="1389" y="3535"/>
                  </a:lnTo>
                  <a:lnTo>
                    <a:pt x="1396" y="3556"/>
                  </a:lnTo>
                  <a:lnTo>
                    <a:pt x="1399" y="3575"/>
                  </a:lnTo>
                  <a:lnTo>
                    <a:pt x="1389" y="3594"/>
                  </a:lnTo>
                  <a:lnTo>
                    <a:pt x="1377" y="3616"/>
                  </a:lnTo>
                  <a:lnTo>
                    <a:pt x="1364" y="3631"/>
                  </a:lnTo>
                  <a:lnTo>
                    <a:pt x="1358" y="3638"/>
                  </a:lnTo>
                  <a:lnTo>
                    <a:pt x="1349" y="3647"/>
                  </a:lnTo>
                  <a:lnTo>
                    <a:pt x="1339" y="3653"/>
                  </a:lnTo>
                  <a:lnTo>
                    <a:pt x="1333" y="3660"/>
                  </a:lnTo>
                  <a:lnTo>
                    <a:pt x="1324" y="3669"/>
                  </a:lnTo>
                  <a:lnTo>
                    <a:pt x="1321" y="3675"/>
                  </a:lnTo>
                  <a:lnTo>
                    <a:pt x="1324" y="3694"/>
                  </a:lnTo>
                  <a:lnTo>
                    <a:pt x="1333" y="3716"/>
                  </a:lnTo>
                  <a:lnTo>
                    <a:pt x="1342" y="3734"/>
                  </a:lnTo>
                  <a:lnTo>
                    <a:pt x="1349" y="3753"/>
                  </a:lnTo>
                  <a:lnTo>
                    <a:pt x="1358" y="3775"/>
                  </a:lnTo>
                  <a:lnTo>
                    <a:pt x="1361" y="3794"/>
                  </a:lnTo>
                  <a:lnTo>
                    <a:pt x="1355" y="3813"/>
                  </a:lnTo>
                  <a:lnTo>
                    <a:pt x="1346" y="3834"/>
                  </a:lnTo>
                  <a:lnTo>
                    <a:pt x="1333" y="3850"/>
                  </a:lnTo>
                  <a:lnTo>
                    <a:pt x="1314" y="3859"/>
                  </a:lnTo>
                  <a:lnTo>
                    <a:pt x="1289" y="3866"/>
                  </a:lnTo>
                  <a:lnTo>
                    <a:pt x="1264" y="3869"/>
                  </a:lnTo>
                  <a:lnTo>
                    <a:pt x="1246" y="3866"/>
                  </a:lnTo>
                  <a:lnTo>
                    <a:pt x="1224" y="3856"/>
                  </a:lnTo>
                  <a:lnTo>
                    <a:pt x="1202" y="3838"/>
                  </a:lnTo>
                  <a:lnTo>
                    <a:pt x="1183" y="3822"/>
                  </a:lnTo>
                  <a:lnTo>
                    <a:pt x="1164" y="3816"/>
                  </a:lnTo>
                  <a:lnTo>
                    <a:pt x="1143" y="3809"/>
                  </a:lnTo>
                  <a:lnTo>
                    <a:pt x="1127" y="3800"/>
                  </a:lnTo>
                  <a:lnTo>
                    <a:pt x="1121" y="3781"/>
                  </a:lnTo>
                  <a:lnTo>
                    <a:pt x="1124" y="3759"/>
                  </a:lnTo>
                  <a:lnTo>
                    <a:pt x="1127" y="3738"/>
                  </a:lnTo>
                  <a:lnTo>
                    <a:pt x="1124" y="3719"/>
                  </a:lnTo>
                  <a:lnTo>
                    <a:pt x="1108" y="3700"/>
                  </a:lnTo>
                  <a:lnTo>
                    <a:pt x="1083" y="3681"/>
                  </a:lnTo>
                  <a:lnTo>
                    <a:pt x="1061" y="3666"/>
                  </a:lnTo>
                  <a:lnTo>
                    <a:pt x="1055" y="3666"/>
                  </a:lnTo>
                  <a:lnTo>
                    <a:pt x="1046" y="3663"/>
                  </a:lnTo>
                  <a:lnTo>
                    <a:pt x="1036" y="3663"/>
                  </a:lnTo>
                  <a:lnTo>
                    <a:pt x="1027" y="3660"/>
                  </a:lnTo>
                  <a:lnTo>
                    <a:pt x="1018" y="3660"/>
                  </a:lnTo>
                  <a:lnTo>
                    <a:pt x="996" y="3650"/>
                  </a:lnTo>
                  <a:lnTo>
                    <a:pt x="968" y="3641"/>
                  </a:lnTo>
                  <a:lnTo>
                    <a:pt x="943" y="3631"/>
                  </a:lnTo>
                  <a:lnTo>
                    <a:pt x="918" y="3625"/>
                  </a:lnTo>
                  <a:lnTo>
                    <a:pt x="890" y="3622"/>
                  </a:lnTo>
                  <a:lnTo>
                    <a:pt x="852" y="3622"/>
                  </a:lnTo>
                  <a:lnTo>
                    <a:pt x="824" y="3622"/>
                  </a:lnTo>
                  <a:lnTo>
                    <a:pt x="793" y="3613"/>
                  </a:lnTo>
                  <a:lnTo>
                    <a:pt x="758" y="3603"/>
                  </a:lnTo>
                  <a:lnTo>
                    <a:pt x="734" y="3591"/>
                  </a:lnTo>
                  <a:lnTo>
                    <a:pt x="712" y="3575"/>
                  </a:lnTo>
                  <a:lnTo>
                    <a:pt x="690" y="3550"/>
                  </a:lnTo>
                  <a:lnTo>
                    <a:pt x="671" y="3528"/>
                  </a:lnTo>
                  <a:lnTo>
                    <a:pt x="649" y="3513"/>
                  </a:lnTo>
                  <a:lnTo>
                    <a:pt x="627" y="3500"/>
                  </a:lnTo>
                  <a:lnTo>
                    <a:pt x="599" y="3491"/>
                  </a:lnTo>
                  <a:lnTo>
                    <a:pt x="574" y="3478"/>
                  </a:lnTo>
                  <a:lnTo>
                    <a:pt x="552" y="3466"/>
                  </a:lnTo>
                  <a:lnTo>
                    <a:pt x="537" y="3447"/>
                  </a:lnTo>
                  <a:lnTo>
                    <a:pt x="524" y="3425"/>
                  </a:lnTo>
                  <a:lnTo>
                    <a:pt x="515" y="3407"/>
                  </a:lnTo>
                  <a:lnTo>
                    <a:pt x="512" y="3385"/>
                  </a:lnTo>
                  <a:lnTo>
                    <a:pt x="512" y="3360"/>
                  </a:lnTo>
                  <a:lnTo>
                    <a:pt x="515" y="3341"/>
                  </a:lnTo>
                  <a:lnTo>
                    <a:pt x="518" y="3332"/>
                  </a:lnTo>
                  <a:lnTo>
                    <a:pt x="524" y="3319"/>
                  </a:lnTo>
                  <a:lnTo>
                    <a:pt x="531" y="3310"/>
                  </a:lnTo>
                  <a:lnTo>
                    <a:pt x="540" y="3300"/>
                  </a:lnTo>
                  <a:lnTo>
                    <a:pt x="549" y="3294"/>
                  </a:lnTo>
                  <a:lnTo>
                    <a:pt x="565" y="3291"/>
                  </a:lnTo>
                  <a:lnTo>
                    <a:pt x="584" y="3291"/>
                  </a:lnTo>
                  <a:lnTo>
                    <a:pt x="605" y="3294"/>
                  </a:lnTo>
                  <a:lnTo>
                    <a:pt x="624" y="3297"/>
                  </a:lnTo>
                  <a:lnTo>
                    <a:pt x="637" y="3291"/>
                  </a:lnTo>
                  <a:lnTo>
                    <a:pt x="640" y="3285"/>
                  </a:lnTo>
                  <a:lnTo>
                    <a:pt x="640" y="3279"/>
                  </a:lnTo>
                  <a:lnTo>
                    <a:pt x="640" y="3272"/>
                  </a:lnTo>
                  <a:lnTo>
                    <a:pt x="637" y="3263"/>
                  </a:lnTo>
                  <a:lnTo>
                    <a:pt x="637" y="3254"/>
                  </a:lnTo>
                  <a:lnTo>
                    <a:pt x="637" y="3247"/>
                  </a:lnTo>
                  <a:lnTo>
                    <a:pt x="640" y="3241"/>
                  </a:lnTo>
                  <a:lnTo>
                    <a:pt x="643" y="3238"/>
                  </a:lnTo>
                  <a:lnTo>
                    <a:pt x="649" y="3235"/>
                  </a:lnTo>
                  <a:lnTo>
                    <a:pt x="659" y="3235"/>
                  </a:lnTo>
                  <a:lnTo>
                    <a:pt x="668" y="3235"/>
                  </a:lnTo>
                  <a:lnTo>
                    <a:pt x="674" y="3232"/>
                  </a:lnTo>
                  <a:lnTo>
                    <a:pt x="680" y="3232"/>
                  </a:lnTo>
                  <a:lnTo>
                    <a:pt x="699" y="3226"/>
                  </a:lnTo>
                  <a:lnTo>
                    <a:pt x="724" y="3219"/>
                  </a:lnTo>
                  <a:lnTo>
                    <a:pt x="746" y="3210"/>
                  </a:lnTo>
                  <a:lnTo>
                    <a:pt x="758" y="3201"/>
                  </a:lnTo>
                  <a:lnTo>
                    <a:pt x="765" y="3185"/>
                  </a:lnTo>
                  <a:lnTo>
                    <a:pt x="762" y="3163"/>
                  </a:lnTo>
                  <a:lnTo>
                    <a:pt x="758" y="3144"/>
                  </a:lnTo>
                  <a:lnTo>
                    <a:pt x="752" y="3129"/>
                  </a:lnTo>
                  <a:lnTo>
                    <a:pt x="746" y="3126"/>
                  </a:lnTo>
                  <a:lnTo>
                    <a:pt x="734" y="3119"/>
                  </a:lnTo>
                  <a:lnTo>
                    <a:pt x="724" y="3116"/>
                  </a:lnTo>
                  <a:lnTo>
                    <a:pt x="712" y="3116"/>
                  </a:lnTo>
                  <a:lnTo>
                    <a:pt x="702" y="3116"/>
                  </a:lnTo>
                  <a:lnTo>
                    <a:pt x="684" y="3122"/>
                  </a:lnTo>
                  <a:lnTo>
                    <a:pt x="662" y="3132"/>
                  </a:lnTo>
                  <a:lnTo>
                    <a:pt x="643" y="3141"/>
                  </a:lnTo>
                  <a:lnTo>
                    <a:pt x="621" y="3138"/>
                  </a:lnTo>
                  <a:lnTo>
                    <a:pt x="596" y="3135"/>
                  </a:lnTo>
                  <a:lnTo>
                    <a:pt x="574" y="3129"/>
                  </a:lnTo>
                  <a:lnTo>
                    <a:pt x="556" y="3119"/>
                  </a:lnTo>
                  <a:lnTo>
                    <a:pt x="534" y="3107"/>
                  </a:lnTo>
                  <a:lnTo>
                    <a:pt x="515" y="3097"/>
                  </a:lnTo>
                  <a:lnTo>
                    <a:pt x="499" y="3097"/>
                  </a:lnTo>
                  <a:lnTo>
                    <a:pt x="484" y="3097"/>
                  </a:lnTo>
                  <a:lnTo>
                    <a:pt x="468" y="3094"/>
                  </a:lnTo>
                  <a:lnTo>
                    <a:pt x="456" y="3091"/>
                  </a:lnTo>
                  <a:lnTo>
                    <a:pt x="456" y="3085"/>
                  </a:lnTo>
                  <a:lnTo>
                    <a:pt x="456" y="3079"/>
                  </a:lnTo>
                  <a:lnTo>
                    <a:pt x="456" y="3072"/>
                  </a:lnTo>
                  <a:lnTo>
                    <a:pt x="459" y="3063"/>
                  </a:lnTo>
                  <a:lnTo>
                    <a:pt x="459" y="3057"/>
                  </a:lnTo>
                  <a:lnTo>
                    <a:pt x="459" y="3051"/>
                  </a:lnTo>
                  <a:lnTo>
                    <a:pt x="456" y="3048"/>
                  </a:lnTo>
                  <a:lnTo>
                    <a:pt x="446" y="3044"/>
                  </a:lnTo>
                  <a:lnTo>
                    <a:pt x="431" y="3044"/>
                  </a:lnTo>
                  <a:lnTo>
                    <a:pt x="415" y="3051"/>
                  </a:lnTo>
                  <a:lnTo>
                    <a:pt x="403" y="3057"/>
                  </a:lnTo>
                  <a:lnTo>
                    <a:pt x="403" y="3060"/>
                  </a:lnTo>
                  <a:lnTo>
                    <a:pt x="403" y="3066"/>
                  </a:lnTo>
                  <a:lnTo>
                    <a:pt x="403" y="3072"/>
                  </a:lnTo>
                  <a:lnTo>
                    <a:pt x="403" y="3079"/>
                  </a:lnTo>
                  <a:lnTo>
                    <a:pt x="403" y="3082"/>
                  </a:lnTo>
                  <a:lnTo>
                    <a:pt x="403" y="3085"/>
                  </a:lnTo>
                  <a:lnTo>
                    <a:pt x="387" y="3094"/>
                  </a:lnTo>
                  <a:lnTo>
                    <a:pt x="365" y="3097"/>
                  </a:lnTo>
                  <a:lnTo>
                    <a:pt x="343" y="3094"/>
                  </a:lnTo>
                  <a:lnTo>
                    <a:pt x="328" y="3088"/>
                  </a:lnTo>
                  <a:lnTo>
                    <a:pt x="318" y="3072"/>
                  </a:lnTo>
                  <a:lnTo>
                    <a:pt x="315" y="3048"/>
                  </a:lnTo>
                  <a:lnTo>
                    <a:pt x="318" y="3029"/>
                  </a:lnTo>
                  <a:lnTo>
                    <a:pt x="321" y="3026"/>
                  </a:lnTo>
                  <a:lnTo>
                    <a:pt x="331" y="3023"/>
                  </a:lnTo>
                  <a:lnTo>
                    <a:pt x="337" y="3019"/>
                  </a:lnTo>
                  <a:lnTo>
                    <a:pt x="346" y="3016"/>
                  </a:lnTo>
                  <a:lnTo>
                    <a:pt x="356" y="3013"/>
                  </a:lnTo>
                  <a:lnTo>
                    <a:pt x="362" y="3010"/>
                  </a:lnTo>
                  <a:lnTo>
                    <a:pt x="365" y="3007"/>
                  </a:lnTo>
                  <a:lnTo>
                    <a:pt x="368" y="2988"/>
                  </a:lnTo>
                  <a:lnTo>
                    <a:pt x="365" y="2966"/>
                  </a:lnTo>
                  <a:lnTo>
                    <a:pt x="362" y="2941"/>
                  </a:lnTo>
                  <a:lnTo>
                    <a:pt x="362" y="2923"/>
                  </a:lnTo>
                  <a:lnTo>
                    <a:pt x="378" y="2907"/>
                  </a:lnTo>
                  <a:lnTo>
                    <a:pt x="403" y="2891"/>
                  </a:lnTo>
                  <a:lnTo>
                    <a:pt x="424" y="2882"/>
                  </a:lnTo>
                  <a:lnTo>
                    <a:pt x="437" y="2879"/>
                  </a:lnTo>
                  <a:lnTo>
                    <a:pt x="456" y="2879"/>
                  </a:lnTo>
                  <a:lnTo>
                    <a:pt x="471" y="2879"/>
                  </a:lnTo>
                  <a:lnTo>
                    <a:pt x="487" y="2876"/>
                  </a:lnTo>
                  <a:lnTo>
                    <a:pt x="496" y="2870"/>
                  </a:lnTo>
                  <a:lnTo>
                    <a:pt x="496" y="2863"/>
                  </a:lnTo>
                  <a:lnTo>
                    <a:pt x="490" y="2857"/>
                  </a:lnTo>
                  <a:lnTo>
                    <a:pt x="484" y="2851"/>
                  </a:lnTo>
                  <a:lnTo>
                    <a:pt x="477" y="2845"/>
                  </a:lnTo>
                  <a:lnTo>
                    <a:pt x="468" y="2838"/>
                  </a:lnTo>
                  <a:lnTo>
                    <a:pt x="462" y="2832"/>
                  </a:lnTo>
                  <a:lnTo>
                    <a:pt x="456" y="2826"/>
                  </a:lnTo>
                  <a:lnTo>
                    <a:pt x="452" y="2820"/>
                  </a:lnTo>
                  <a:lnTo>
                    <a:pt x="456" y="2807"/>
                  </a:lnTo>
                  <a:lnTo>
                    <a:pt x="465" y="2791"/>
                  </a:lnTo>
                  <a:lnTo>
                    <a:pt x="477" y="2779"/>
                  </a:lnTo>
                  <a:lnTo>
                    <a:pt x="484" y="2766"/>
                  </a:lnTo>
                  <a:lnTo>
                    <a:pt x="487" y="2748"/>
                  </a:lnTo>
                  <a:lnTo>
                    <a:pt x="487" y="2729"/>
                  </a:lnTo>
                  <a:lnTo>
                    <a:pt x="484" y="2713"/>
                  </a:lnTo>
                  <a:lnTo>
                    <a:pt x="481" y="2707"/>
                  </a:lnTo>
                  <a:lnTo>
                    <a:pt x="474" y="2701"/>
                  </a:lnTo>
                  <a:lnTo>
                    <a:pt x="465" y="2695"/>
                  </a:lnTo>
                  <a:lnTo>
                    <a:pt x="459" y="2688"/>
                  </a:lnTo>
                  <a:lnTo>
                    <a:pt x="452" y="2688"/>
                  </a:lnTo>
                  <a:lnTo>
                    <a:pt x="446" y="2688"/>
                  </a:lnTo>
                  <a:lnTo>
                    <a:pt x="440" y="2692"/>
                  </a:lnTo>
                  <a:lnTo>
                    <a:pt x="434" y="2695"/>
                  </a:lnTo>
                  <a:lnTo>
                    <a:pt x="427" y="2698"/>
                  </a:lnTo>
                  <a:lnTo>
                    <a:pt x="421" y="2698"/>
                  </a:lnTo>
                  <a:lnTo>
                    <a:pt x="399" y="2701"/>
                  </a:lnTo>
                  <a:lnTo>
                    <a:pt x="371" y="2704"/>
                  </a:lnTo>
                  <a:lnTo>
                    <a:pt x="343" y="2704"/>
                  </a:lnTo>
                  <a:lnTo>
                    <a:pt x="321" y="2698"/>
                  </a:lnTo>
                  <a:lnTo>
                    <a:pt x="318" y="2695"/>
                  </a:lnTo>
                  <a:lnTo>
                    <a:pt x="312" y="2688"/>
                  </a:lnTo>
                  <a:lnTo>
                    <a:pt x="309" y="2679"/>
                  </a:lnTo>
                  <a:lnTo>
                    <a:pt x="303" y="2676"/>
                  </a:lnTo>
                  <a:lnTo>
                    <a:pt x="284" y="2673"/>
                  </a:lnTo>
                  <a:lnTo>
                    <a:pt x="262" y="2676"/>
                  </a:lnTo>
                  <a:lnTo>
                    <a:pt x="237" y="2679"/>
                  </a:lnTo>
                  <a:lnTo>
                    <a:pt x="218" y="2676"/>
                  </a:lnTo>
                  <a:lnTo>
                    <a:pt x="209" y="2670"/>
                  </a:lnTo>
                  <a:lnTo>
                    <a:pt x="200" y="2663"/>
                  </a:lnTo>
                  <a:lnTo>
                    <a:pt x="190" y="2654"/>
                  </a:lnTo>
                  <a:lnTo>
                    <a:pt x="181" y="2645"/>
                  </a:lnTo>
                  <a:lnTo>
                    <a:pt x="175" y="2638"/>
                  </a:lnTo>
                  <a:lnTo>
                    <a:pt x="156" y="2617"/>
                  </a:lnTo>
                  <a:lnTo>
                    <a:pt x="137" y="2595"/>
                  </a:lnTo>
                  <a:lnTo>
                    <a:pt x="125" y="2570"/>
                  </a:lnTo>
                  <a:lnTo>
                    <a:pt x="125" y="2564"/>
                  </a:lnTo>
                  <a:lnTo>
                    <a:pt x="121" y="2554"/>
                  </a:lnTo>
                  <a:lnTo>
                    <a:pt x="121" y="2548"/>
                  </a:lnTo>
                  <a:lnTo>
                    <a:pt x="121" y="2539"/>
                  </a:lnTo>
                  <a:lnTo>
                    <a:pt x="121" y="2529"/>
                  </a:lnTo>
                  <a:lnTo>
                    <a:pt x="125" y="2526"/>
                  </a:lnTo>
                  <a:lnTo>
                    <a:pt x="131" y="2523"/>
                  </a:lnTo>
                  <a:lnTo>
                    <a:pt x="137" y="2520"/>
                  </a:lnTo>
                  <a:lnTo>
                    <a:pt x="146" y="2523"/>
                  </a:lnTo>
                  <a:lnTo>
                    <a:pt x="156" y="2523"/>
                  </a:lnTo>
                  <a:lnTo>
                    <a:pt x="165" y="2526"/>
                  </a:lnTo>
                  <a:lnTo>
                    <a:pt x="171" y="2526"/>
                  </a:lnTo>
                  <a:lnTo>
                    <a:pt x="190" y="2520"/>
                  </a:lnTo>
                  <a:lnTo>
                    <a:pt x="212" y="2514"/>
                  </a:lnTo>
                  <a:lnTo>
                    <a:pt x="228" y="2504"/>
                  </a:lnTo>
                  <a:lnTo>
                    <a:pt x="234" y="2485"/>
                  </a:lnTo>
                  <a:lnTo>
                    <a:pt x="237" y="2464"/>
                  </a:lnTo>
                  <a:lnTo>
                    <a:pt x="240" y="2445"/>
                  </a:lnTo>
                  <a:lnTo>
                    <a:pt x="243" y="2426"/>
                  </a:lnTo>
                  <a:lnTo>
                    <a:pt x="249" y="2407"/>
                  </a:lnTo>
                  <a:lnTo>
                    <a:pt x="256" y="2386"/>
                  </a:lnTo>
                  <a:lnTo>
                    <a:pt x="265" y="2373"/>
                  </a:lnTo>
                  <a:lnTo>
                    <a:pt x="278" y="2370"/>
                  </a:lnTo>
                  <a:lnTo>
                    <a:pt x="293" y="2373"/>
                  </a:lnTo>
                  <a:lnTo>
                    <a:pt x="312" y="2376"/>
                  </a:lnTo>
                  <a:lnTo>
                    <a:pt x="324" y="2373"/>
                  </a:lnTo>
                  <a:lnTo>
                    <a:pt x="334" y="2357"/>
                  </a:lnTo>
                  <a:lnTo>
                    <a:pt x="340" y="2336"/>
                  </a:lnTo>
                  <a:lnTo>
                    <a:pt x="343" y="2317"/>
                  </a:lnTo>
                  <a:lnTo>
                    <a:pt x="340" y="2298"/>
                  </a:lnTo>
                  <a:lnTo>
                    <a:pt x="331" y="2276"/>
                  </a:lnTo>
                  <a:lnTo>
                    <a:pt x="321" y="2251"/>
                  </a:lnTo>
                  <a:lnTo>
                    <a:pt x="309" y="2236"/>
                  </a:lnTo>
                  <a:lnTo>
                    <a:pt x="296" y="2220"/>
                  </a:lnTo>
                  <a:lnTo>
                    <a:pt x="278" y="2201"/>
                  </a:lnTo>
                  <a:lnTo>
                    <a:pt x="259" y="2189"/>
                  </a:lnTo>
                  <a:lnTo>
                    <a:pt x="237" y="2179"/>
                  </a:lnTo>
                  <a:lnTo>
                    <a:pt x="212" y="2170"/>
                  </a:lnTo>
                  <a:lnTo>
                    <a:pt x="190" y="2164"/>
                  </a:lnTo>
                  <a:lnTo>
                    <a:pt x="175" y="2161"/>
                  </a:lnTo>
                  <a:lnTo>
                    <a:pt x="156" y="2164"/>
                  </a:lnTo>
                  <a:lnTo>
                    <a:pt x="137" y="2164"/>
                  </a:lnTo>
                  <a:lnTo>
                    <a:pt x="115" y="2151"/>
                  </a:lnTo>
                  <a:lnTo>
                    <a:pt x="90" y="2136"/>
                  </a:lnTo>
                  <a:lnTo>
                    <a:pt x="72" y="2117"/>
                  </a:lnTo>
                  <a:lnTo>
                    <a:pt x="68" y="2101"/>
                  </a:lnTo>
                  <a:lnTo>
                    <a:pt x="72" y="2080"/>
                  </a:lnTo>
                  <a:lnTo>
                    <a:pt x="72" y="2058"/>
                  </a:lnTo>
                  <a:lnTo>
                    <a:pt x="72" y="2042"/>
                  </a:lnTo>
                  <a:lnTo>
                    <a:pt x="59" y="2023"/>
                  </a:lnTo>
                  <a:lnTo>
                    <a:pt x="40" y="2005"/>
                  </a:lnTo>
                  <a:lnTo>
                    <a:pt x="25" y="1986"/>
                  </a:lnTo>
                  <a:lnTo>
                    <a:pt x="18" y="1964"/>
                  </a:lnTo>
                  <a:lnTo>
                    <a:pt x="15" y="1936"/>
                  </a:lnTo>
                  <a:lnTo>
                    <a:pt x="15" y="1911"/>
                  </a:lnTo>
                  <a:lnTo>
                    <a:pt x="18" y="1902"/>
                  </a:lnTo>
                  <a:lnTo>
                    <a:pt x="25" y="1895"/>
                  </a:lnTo>
                  <a:lnTo>
                    <a:pt x="28" y="1886"/>
                  </a:lnTo>
                  <a:lnTo>
                    <a:pt x="34" y="1880"/>
                  </a:lnTo>
                  <a:lnTo>
                    <a:pt x="59" y="1864"/>
                  </a:lnTo>
                  <a:lnTo>
                    <a:pt x="87" y="1852"/>
                  </a:lnTo>
                  <a:lnTo>
                    <a:pt x="112" y="1848"/>
                  </a:lnTo>
                  <a:lnTo>
                    <a:pt x="131" y="1852"/>
                  </a:lnTo>
                  <a:lnTo>
                    <a:pt x="153" y="1864"/>
                  </a:lnTo>
                  <a:lnTo>
                    <a:pt x="175" y="1873"/>
                  </a:lnTo>
                  <a:lnTo>
                    <a:pt x="193" y="1877"/>
                  </a:lnTo>
                  <a:lnTo>
                    <a:pt x="200" y="1873"/>
                  </a:lnTo>
                  <a:lnTo>
                    <a:pt x="209" y="1867"/>
                  </a:lnTo>
                  <a:lnTo>
                    <a:pt x="218" y="1861"/>
                  </a:lnTo>
                  <a:lnTo>
                    <a:pt x="225" y="1855"/>
                  </a:lnTo>
                  <a:lnTo>
                    <a:pt x="231" y="1845"/>
                  </a:lnTo>
                  <a:lnTo>
                    <a:pt x="234" y="1839"/>
                  </a:lnTo>
                  <a:lnTo>
                    <a:pt x="234" y="1820"/>
                  </a:lnTo>
                  <a:lnTo>
                    <a:pt x="231" y="1802"/>
                  </a:lnTo>
                  <a:lnTo>
                    <a:pt x="225" y="1780"/>
                  </a:lnTo>
                  <a:lnTo>
                    <a:pt x="215" y="1764"/>
                  </a:lnTo>
                  <a:lnTo>
                    <a:pt x="209" y="1755"/>
                  </a:lnTo>
                  <a:lnTo>
                    <a:pt x="200" y="1745"/>
                  </a:lnTo>
                  <a:lnTo>
                    <a:pt x="190" y="1736"/>
                  </a:lnTo>
                  <a:lnTo>
                    <a:pt x="181" y="1730"/>
                  </a:lnTo>
                  <a:lnTo>
                    <a:pt x="171" y="1727"/>
                  </a:lnTo>
                  <a:lnTo>
                    <a:pt x="159" y="1724"/>
                  </a:lnTo>
                  <a:lnTo>
                    <a:pt x="143" y="1727"/>
                  </a:lnTo>
                  <a:lnTo>
                    <a:pt x="131" y="1730"/>
                  </a:lnTo>
                  <a:lnTo>
                    <a:pt x="118" y="1727"/>
                  </a:lnTo>
                  <a:lnTo>
                    <a:pt x="115" y="1711"/>
                  </a:lnTo>
                  <a:lnTo>
                    <a:pt x="115" y="1692"/>
                  </a:lnTo>
                  <a:lnTo>
                    <a:pt x="118" y="1670"/>
                  </a:lnTo>
                  <a:lnTo>
                    <a:pt x="118" y="1655"/>
                  </a:lnTo>
                  <a:lnTo>
                    <a:pt x="118" y="1649"/>
                  </a:lnTo>
                  <a:lnTo>
                    <a:pt x="115" y="1639"/>
                  </a:lnTo>
                  <a:lnTo>
                    <a:pt x="109" y="1633"/>
                  </a:lnTo>
                  <a:lnTo>
                    <a:pt x="106" y="1630"/>
                  </a:lnTo>
                  <a:lnTo>
                    <a:pt x="100" y="1627"/>
                  </a:lnTo>
                  <a:lnTo>
                    <a:pt x="93" y="1627"/>
                  </a:lnTo>
                  <a:lnTo>
                    <a:pt x="87" y="1627"/>
                  </a:lnTo>
                  <a:lnTo>
                    <a:pt x="78" y="1627"/>
                  </a:lnTo>
                  <a:lnTo>
                    <a:pt x="75" y="1630"/>
                  </a:lnTo>
                  <a:lnTo>
                    <a:pt x="72" y="1633"/>
                  </a:lnTo>
                  <a:lnTo>
                    <a:pt x="68" y="1639"/>
                  </a:lnTo>
                  <a:lnTo>
                    <a:pt x="65" y="1645"/>
                  </a:lnTo>
                  <a:lnTo>
                    <a:pt x="65" y="1652"/>
                  </a:lnTo>
                  <a:lnTo>
                    <a:pt x="62" y="1655"/>
                  </a:lnTo>
                  <a:lnTo>
                    <a:pt x="50" y="1661"/>
                  </a:lnTo>
                  <a:lnTo>
                    <a:pt x="31" y="1664"/>
                  </a:lnTo>
                  <a:lnTo>
                    <a:pt x="15" y="1661"/>
                  </a:lnTo>
                  <a:lnTo>
                    <a:pt x="3" y="1655"/>
                  </a:lnTo>
                  <a:lnTo>
                    <a:pt x="3" y="1652"/>
                  </a:lnTo>
                  <a:lnTo>
                    <a:pt x="0" y="1642"/>
                  </a:lnTo>
                  <a:lnTo>
                    <a:pt x="3" y="1636"/>
                  </a:lnTo>
                  <a:lnTo>
                    <a:pt x="3" y="1627"/>
                  </a:lnTo>
                  <a:lnTo>
                    <a:pt x="3" y="1617"/>
                  </a:lnTo>
                  <a:lnTo>
                    <a:pt x="3" y="1611"/>
                  </a:lnTo>
                  <a:lnTo>
                    <a:pt x="3" y="1605"/>
                  </a:lnTo>
                  <a:lnTo>
                    <a:pt x="3" y="1599"/>
                  </a:lnTo>
                  <a:lnTo>
                    <a:pt x="3" y="1589"/>
                  </a:lnTo>
                  <a:lnTo>
                    <a:pt x="3" y="1583"/>
                  </a:lnTo>
                  <a:lnTo>
                    <a:pt x="3" y="1577"/>
                  </a:lnTo>
                  <a:lnTo>
                    <a:pt x="9" y="1574"/>
                  </a:lnTo>
                  <a:lnTo>
                    <a:pt x="15" y="1571"/>
                  </a:lnTo>
                  <a:lnTo>
                    <a:pt x="22" y="1567"/>
                  </a:lnTo>
                  <a:lnTo>
                    <a:pt x="31" y="1564"/>
                  </a:lnTo>
                  <a:lnTo>
                    <a:pt x="37" y="1561"/>
                  </a:lnTo>
                  <a:lnTo>
                    <a:pt x="40" y="1558"/>
                  </a:lnTo>
                  <a:lnTo>
                    <a:pt x="43" y="1552"/>
                  </a:lnTo>
                  <a:lnTo>
                    <a:pt x="47" y="1539"/>
                  </a:lnTo>
                  <a:lnTo>
                    <a:pt x="50" y="1530"/>
                  </a:lnTo>
                  <a:lnTo>
                    <a:pt x="53" y="1517"/>
                  </a:lnTo>
                  <a:lnTo>
                    <a:pt x="56" y="1511"/>
                  </a:lnTo>
                  <a:lnTo>
                    <a:pt x="72" y="1489"/>
                  </a:lnTo>
                  <a:lnTo>
                    <a:pt x="90" y="1467"/>
                  </a:lnTo>
                  <a:lnTo>
                    <a:pt x="112" y="1452"/>
                  </a:lnTo>
                  <a:lnTo>
                    <a:pt x="118" y="1449"/>
                  </a:lnTo>
                  <a:lnTo>
                    <a:pt x="125" y="1452"/>
                  </a:lnTo>
                  <a:lnTo>
                    <a:pt x="134" y="1452"/>
                  </a:lnTo>
                  <a:lnTo>
                    <a:pt x="140" y="1452"/>
                  </a:lnTo>
                  <a:lnTo>
                    <a:pt x="150" y="1455"/>
                  </a:lnTo>
                  <a:lnTo>
                    <a:pt x="156" y="1455"/>
                  </a:lnTo>
                  <a:lnTo>
                    <a:pt x="162" y="1452"/>
                  </a:lnTo>
                  <a:lnTo>
                    <a:pt x="171" y="1436"/>
                  </a:lnTo>
                  <a:lnTo>
                    <a:pt x="175" y="1414"/>
                  </a:lnTo>
                  <a:lnTo>
                    <a:pt x="175" y="1393"/>
                  </a:lnTo>
                  <a:lnTo>
                    <a:pt x="175" y="1374"/>
                  </a:lnTo>
                  <a:lnTo>
                    <a:pt x="171" y="1352"/>
                  </a:lnTo>
                  <a:lnTo>
                    <a:pt x="162" y="1327"/>
                  </a:lnTo>
                  <a:lnTo>
                    <a:pt x="159" y="1305"/>
                  </a:lnTo>
                  <a:lnTo>
                    <a:pt x="162" y="1283"/>
                  </a:lnTo>
                  <a:lnTo>
                    <a:pt x="165" y="1261"/>
                  </a:lnTo>
                  <a:lnTo>
                    <a:pt x="171" y="1240"/>
                  </a:lnTo>
                  <a:lnTo>
                    <a:pt x="181" y="1233"/>
                  </a:lnTo>
                  <a:lnTo>
                    <a:pt x="190" y="1227"/>
                  </a:lnTo>
                  <a:lnTo>
                    <a:pt x="200" y="1221"/>
                  </a:lnTo>
                  <a:lnTo>
                    <a:pt x="209" y="1215"/>
                  </a:lnTo>
                  <a:lnTo>
                    <a:pt x="215" y="1211"/>
                  </a:lnTo>
                  <a:lnTo>
                    <a:pt x="221" y="1202"/>
                  </a:lnTo>
                  <a:lnTo>
                    <a:pt x="231" y="1196"/>
                  </a:lnTo>
                  <a:lnTo>
                    <a:pt x="240" y="1190"/>
                  </a:lnTo>
                  <a:lnTo>
                    <a:pt x="246" y="1180"/>
                  </a:lnTo>
                  <a:lnTo>
                    <a:pt x="249" y="1174"/>
                  </a:lnTo>
                  <a:lnTo>
                    <a:pt x="246" y="1155"/>
                  </a:lnTo>
                  <a:lnTo>
                    <a:pt x="240" y="1136"/>
                  </a:lnTo>
                  <a:lnTo>
                    <a:pt x="228" y="1115"/>
                  </a:lnTo>
                  <a:lnTo>
                    <a:pt x="221" y="1096"/>
                  </a:lnTo>
                  <a:lnTo>
                    <a:pt x="221" y="1080"/>
                  </a:lnTo>
                  <a:lnTo>
                    <a:pt x="228" y="1077"/>
                  </a:lnTo>
                  <a:lnTo>
                    <a:pt x="234" y="1077"/>
                  </a:lnTo>
                  <a:lnTo>
                    <a:pt x="243" y="1074"/>
                  </a:lnTo>
                  <a:lnTo>
                    <a:pt x="249" y="1077"/>
                  </a:lnTo>
                  <a:lnTo>
                    <a:pt x="259" y="1077"/>
                  </a:lnTo>
                  <a:lnTo>
                    <a:pt x="268" y="1080"/>
                  </a:lnTo>
                  <a:lnTo>
                    <a:pt x="271" y="1080"/>
                  </a:lnTo>
                  <a:lnTo>
                    <a:pt x="278" y="1087"/>
                  </a:lnTo>
                  <a:lnTo>
                    <a:pt x="281" y="1093"/>
                  </a:lnTo>
                  <a:lnTo>
                    <a:pt x="287" y="1099"/>
                  </a:lnTo>
                  <a:lnTo>
                    <a:pt x="290" y="1108"/>
                  </a:lnTo>
                  <a:lnTo>
                    <a:pt x="296" y="1112"/>
                  </a:lnTo>
                  <a:lnTo>
                    <a:pt x="309" y="1118"/>
                  </a:lnTo>
                  <a:lnTo>
                    <a:pt x="328" y="1121"/>
                  </a:lnTo>
                  <a:lnTo>
                    <a:pt x="346" y="1124"/>
                  </a:lnTo>
                  <a:lnTo>
                    <a:pt x="359" y="1121"/>
                  </a:lnTo>
                  <a:lnTo>
                    <a:pt x="371" y="1105"/>
                  </a:lnTo>
                  <a:lnTo>
                    <a:pt x="378" y="1083"/>
                  </a:lnTo>
                  <a:lnTo>
                    <a:pt x="384" y="1062"/>
                  </a:lnTo>
                  <a:lnTo>
                    <a:pt x="387" y="1040"/>
                  </a:lnTo>
                  <a:lnTo>
                    <a:pt x="390" y="1033"/>
                  </a:lnTo>
                  <a:lnTo>
                    <a:pt x="390" y="1024"/>
                  </a:lnTo>
                  <a:lnTo>
                    <a:pt x="393" y="1015"/>
                  </a:lnTo>
                  <a:lnTo>
                    <a:pt x="396" y="1005"/>
                  </a:lnTo>
                  <a:lnTo>
                    <a:pt x="399" y="996"/>
                  </a:lnTo>
                  <a:lnTo>
                    <a:pt x="403" y="993"/>
                  </a:lnTo>
                  <a:lnTo>
                    <a:pt x="418" y="987"/>
                  </a:lnTo>
                  <a:lnTo>
                    <a:pt x="437" y="990"/>
                  </a:lnTo>
                  <a:lnTo>
                    <a:pt x="459" y="993"/>
                  </a:lnTo>
                  <a:lnTo>
                    <a:pt x="474" y="993"/>
                  </a:lnTo>
                  <a:lnTo>
                    <a:pt x="496" y="980"/>
                  </a:lnTo>
                  <a:lnTo>
                    <a:pt x="518" y="965"/>
                  </a:lnTo>
                  <a:lnTo>
                    <a:pt x="540" y="949"/>
                  </a:lnTo>
                  <a:lnTo>
                    <a:pt x="546" y="943"/>
                  </a:lnTo>
                  <a:lnTo>
                    <a:pt x="556" y="937"/>
                  </a:lnTo>
                  <a:lnTo>
                    <a:pt x="568" y="930"/>
                  </a:lnTo>
                  <a:lnTo>
                    <a:pt x="577" y="927"/>
                  </a:lnTo>
                  <a:lnTo>
                    <a:pt x="584" y="921"/>
                  </a:lnTo>
                  <a:lnTo>
                    <a:pt x="602" y="921"/>
                  </a:lnTo>
                  <a:lnTo>
                    <a:pt x="624" y="921"/>
                  </a:lnTo>
                  <a:lnTo>
                    <a:pt x="640" y="921"/>
                  </a:lnTo>
                  <a:lnTo>
                    <a:pt x="659" y="924"/>
                  </a:lnTo>
                  <a:lnTo>
                    <a:pt x="684" y="924"/>
                  </a:lnTo>
                  <a:lnTo>
                    <a:pt x="702" y="921"/>
                  </a:lnTo>
                  <a:lnTo>
                    <a:pt x="727" y="912"/>
                  </a:lnTo>
                  <a:lnTo>
                    <a:pt x="752" y="899"/>
                  </a:lnTo>
                  <a:lnTo>
                    <a:pt x="771" y="884"/>
                  </a:lnTo>
                  <a:lnTo>
                    <a:pt x="777" y="862"/>
                  </a:lnTo>
                  <a:lnTo>
                    <a:pt x="783" y="837"/>
                  </a:lnTo>
                  <a:lnTo>
                    <a:pt x="787" y="812"/>
                  </a:lnTo>
                  <a:lnTo>
                    <a:pt x="790" y="793"/>
                  </a:lnTo>
                  <a:lnTo>
                    <a:pt x="799" y="774"/>
                  </a:lnTo>
                  <a:lnTo>
                    <a:pt x="815" y="756"/>
                  </a:lnTo>
                  <a:lnTo>
                    <a:pt x="827" y="740"/>
                  </a:lnTo>
                  <a:lnTo>
                    <a:pt x="843" y="721"/>
                  </a:lnTo>
                  <a:lnTo>
                    <a:pt x="868" y="699"/>
                  </a:lnTo>
                  <a:lnTo>
                    <a:pt x="890" y="684"/>
                  </a:lnTo>
                  <a:lnTo>
                    <a:pt x="912" y="674"/>
                  </a:lnTo>
                  <a:lnTo>
                    <a:pt x="921" y="674"/>
                  </a:lnTo>
                  <a:lnTo>
                    <a:pt x="927" y="674"/>
                  </a:lnTo>
                  <a:lnTo>
                    <a:pt x="936" y="681"/>
                  </a:lnTo>
                  <a:lnTo>
                    <a:pt x="946" y="684"/>
                  </a:lnTo>
                  <a:lnTo>
                    <a:pt x="955" y="687"/>
                  </a:lnTo>
                  <a:lnTo>
                    <a:pt x="961" y="687"/>
                  </a:lnTo>
                  <a:lnTo>
                    <a:pt x="980" y="681"/>
                  </a:lnTo>
                  <a:lnTo>
                    <a:pt x="1002" y="665"/>
                  </a:lnTo>
                  <a:lnTo>
                    <a:pt x="1024" y="652"/>
                  </a:lnTo>
                  <a:lnTo>
                    <a:pt x="1043" y="646"/>
                  </a:lnTo>
                  <a:lnTo>
                    <a:pt x="1052" y="646"/>
                  </a:lnTo>
                  <a:lnTo>
                    <a:pt x="1061" y="649"/>
                  </a:lnTo>
                  <a:lnTo>
                    <a:pt x="1074" y="652"/>
                  </a:lnTo>
                  <a:lnTo>
                    <a:pt x="1083" y="659"/>
                  </a:lnTo>
                  <a:lnTo>
                    <a:pt x="1093" y="662"/>
                  </a:lnTo>
                  <a:lnTo>
                    <a:pt x="1099" y="668"/>
                  </a:lnTo>
                  <a:lnTo>
                    <a:pt x="1108" y="674"/>
                  </a:lnTo>
                  <a:lnTo>
                    <a:pt x="1114" y="681"/>
                  </a:lnTo>
                  <a:lnTo>
                    <a:pt x="1124" y="690"/>
                  </a:lnTo>
                  <a:lnTo>
                    <a:pt x="1130" y="696"/>
                  </a:lnTo>
                  <a:lnTo>
                    <a:pt x="1143" y="715"/>
                  </a:lnTo>
                  <a:lnTo>
                    <a:pt x="1161" y="737"/>
                  </a:lnTo>
                  <a:lnTo>
                    <a:pt x="1180" y="752"/>
                  </a:lnTo>
                  <a:lnTo>
                    <a:pt x="1199" y="756"/>
                  </a:lnTo>
                  <a:lnTo>
                    <a:pt x="1221" y="752"/>
                  </a:lnTo>
                  <a:lnTo>
                    <a:pt x="1236" y="746"/>
                  </a:lnTo>
                  <a:lnTo>
                    <a:pt x="1243" y="740"/>
                  </a:lnTo>
                  <a:lnTo>
                    <a:pt x="1246" y="734"/>
                  </a:lnTo>
                  <a:lnTo>
                    <a:pt x="1249" y="721"/>
                  </a:lnTo>
                  <a:lnTo>
                    <a:pt x="1252" y="715"/>
                  </a:lnTo>
                  <a:lnTo>
                    <a:pt x="1255" y="706"/>
                  </a:lnTo>
                  <a:lnTo>
                    <a:pt x="1255" y="696"/>
                  </a:lnTo>
                  <a:lnTo>
                    <a:pt x="1255" y="687"/>
                  </a:lnTo>
                  <a:lnTo>
                    <a:pt x="1252" y="674"/>
                  </a:lnTo>
                  <a:lnTo>
                    <a:pt x="1252" y="665"/>
                  </a:lnTo>
                  <a:lnTo>
                    <a:pt x="1255" y="656"/>
                  </a:lnTo>
                  <a:lnTo>
                    <a:pt x="1258" y="646"/>
                  </a:lnTo>
                  <a:lnTo>
                    <a:pt x="1264" y="637"/>
                  </a:lnTo>
                  <a:lnTo>
                    <a:pt x="1271" y="624"/>
                  </a:lnTo>
                  <a:lnTo>
                    <a:pt x="1274" y="615"/>
                  </a:lnTo>
                  <a:lnTo>
                    <a:pt x="1280" y="606"/>
                  </a:lnTo>
                  <a:lnTo>
                    <a:pt x="1280" y="590"/>
                  </a:lnTo>
                  <a:lnTo>
                    <a:pt x="1280" y="568"/>
                  </a:lnTo>
                  <a:lnTo>
                    <a:pt x="1280" y="553"/>
                  </a:lnTo>
                  <a:lnTo>
                    <a:pt x="1271" y="521"/>
                  </a:lnTo>
                  <a:lnTo>
                    <a:pt x="1261" y="487"/>
                  </a:lnTo>
                  <a:lnTo>
                    <a:pt x="1252" y="456"/>
                  </a:lnTo>
                  <a:lnTo>
                    <a:pt x="1246" y="434"/>
                  </a:lnTo>
                  <a:lnTo>
                    <a:pt x="1236" y="409"/>
                  </a:lnTo>
                  <a:lnTo>
                    <a:pt x="1230" y="387"/>
                  </a:lnTo>
                  <a:lnTo>
                    <a:pt x="1236" y="365"/>
                  </a:lnTo>
                  <a:lnTo>
                    <a:pt x="1246" y="340"/>
                  </a:lnTo>
                  <a:lnTo>
                    <a:pt x="1252" y="315"/>
                  </a:lnTo>
                  <a:lnTo>
                    <a:pt x="1249" y="297"/>
                  </a:lnTo>
                  <a:lnTo>
                    <a:pt x="1243" y="268"/>
                  </a:lnTo>
                  <a:lnTo>
                    <a:pt x="1236" y="243"/>
                  </a:lnTo>
                  <a:lnTo>
                    <a:pt x="1239" y="222"/>
                  </a:lnTo>
                  <a:lnTo>
                    <a:pt x="1243" y="218"/>
                  </a:lnTo>
                  <a:lnTo>
                    <a:pt x="1249" y="215"/>
                  </a:lnTo>
                  <a:lnTo>
                    <a:pt x="1258" y="212"/>
                  </a:lnTo>
                  <a:lnTo>
                    <a:pt x="1267" y="209"/>
                  </a:lnTo>
                  <a:lnTo>
                    <a:pt x="1274" y="203"/>
                  </a:lnTo>
                  <a:lnTo>
                    <a:pt x="1280" y="200"/>
                  </a:lnTo>
                  <a:lnTo>
                    <a:pt x="1283" y="181"/>
                  </a:lnTo>
                  <a:lnTo>
                    <a:pt x="1283" y="159"/>
                  </a:lnTo>
                  <a:lnTo>
                    <a:pt x="1280" y="140"/>
                  </a:lnTo>
                  <a:lnTo>
                    <a:pt x="1274" y="134"/>
                  </a:lnTo>
                  <a:lnTo>
                    <a:pt x="1267" y="125"/>
                  </a:lnTo>
                  <a:lnTo>
                    <a:pt x="1261" y="115"/>
                  </a:lnTo>
                  <a:lnTo>
                    <a:pt x="1255" y="106"/>
                  </a:lnTo>
                  <a:lnTo>
                    <a:pt x="1252" y="100"/>
                  </a:lnTo>
                  <a:lnTo>
                    <a:pt x="1249" y="78"/>
                  </a:lnTo>
                  <a:lnTo>
                    <a:pt x="1246" y="53"/>
                  </a:lnTo>
                  <a:lnTo>
                    <a:pt x="1249" y="34"/>
                  </a:lnTo>
                  <a:lnTo>
                    <a:pt x="1255" y="25"/>
                  </a:lnTo>
                  <a:lnTo>
                    <a:pt x="1267" y="19"/>
                  </a:lnTo>
                  <a:lnTo>
                    <a:pt x="1277" y="9"/>
                  </a:lnTo>
                  <a:lnTo>
                    <a:pt x="1289" y="3"/>
                  </a:lnTo>
                  <a:lnTo>
                    <a:pt x="1299" y="0"/>
                  </a:lnTo>
                  <a:lnTo>
                    <a:pt x="1308" y="0"/>
                  </a:lnTo>
                  <a:lnTo>
                    <a:pt x="1317" y="0"/>
                  </a:lnTo>
                  <a:lnTo>
                    <a:pt x="1330" y="0"/>
                  </a:lnTo>
                  <a:lnTo>
                    <a:pt x="1339" y="0"/>
                  </a:lnTo>
                  <a:lnTo>
                    <a:pt x="1349" y="0"/>
                  </a:lnTo>
                  <a:lnTo>
                    <a:pt x="1371" y="3"/>
                  </a:lnTo>
                  <a:lnTo>
                    <a:pt x="1392" y="6"/>
                  </a:lnTo>
                  <a:lnTo>
                    <a:pt x="1411" y="15"/>
                  </a:lnTo>
                  <a:lnTo>
                    <a:pt x="1421" y="31"/>
                  </a:lnTo>
                  <a:lnTo>
                    <a:pt x="1427" y="53"/>
                  </a:lnTo>
                  <a:lnTo>
                    <a:pt x="1433" y="72"/>
                  </a:lnTo>
                  <a:lnTo>
                    <a:pt x="1445" y="94"/>
                  </a:lnTo>
                  <a:lnTo>
                    <a:pt x="1461" y="115"/>
                  </a:lnTo>
                  <a:lnTo>
                    <a:pt x="1480" y="140"/>
                  </a:lnTo>
                  <a:lnTo>
                    <a:pt x="1489" y="162"/>
                  </a:lnTo>
                  <a:lnTo>
                    <a:pt x="1492" y="190"/>
                  </a:lnTo>
                  <a:lnTo>
                    <a:pt x="1489" y="222"/>
                  </a:lnTo>
                  <a:lnTo>
                    <a:pt x="1489" y="250"/>
                  </a:lnTo>
                  <a:lnTo>
                    <a:pt x="1492" y="275"/>
                  </a:lnTo>
                  <a:lnTo>
                    <a:pt x="1495" y="303"/>
                  </a:lnTo>
                  <a:lnTo>
                    <a:pt x="1502" y="328"/>
                  </a:lnTo>
                  <a:lnTo>
                    <a:pt x="1511" y="350"/>
                  </a:lnTo>
                  <a:lnTo>
                    <a:pt x="1520" y="375"/>
                  </a:lnTo>
                  <a:lnTo>
                    <a:pt x="1533" y="400"/>
                  </a:lnTo>
                  <a:lnTo>
                    <a:pt x="1542" y="421"/>
                  </a:lnTo>
                  <a:lnTo>
                    <a:pt x="1542" y="440"/>
                  </a:lnTo>
                  <a:lnTo>
                    <a:pt x="1542" y="462"/>
                  </a:lnTo>
                  <a:lnTo>
                    <a:pt x="1542" y="481"/>
                  </a:lnTo>
                  <a:lnTo>
                    <a:pt x="1539" y="490"/>
                  </a:lnTo>
                  <a:lnTo>
                    <a:pt x="1533" y="496"/>
                  </a:lnTo>
                  <a:lnTo>
                    <a:pt x="1527" y="506"/>
                  </a:lnTo>
                  <a:lnTo>
                    <a:pt x="1524" y="515"/>
                  </a:lnTo>
                  <a:lnTo>
                    <a:pt x="1517" y="524"/>
                  </a:lnTo>
                  <a:lnTo>
                    <a:pt x="1517" y="531"/>
                  </a:lnTo>
                  <a:lnTo>
                    <a:pt x="1520" y="549"/>
                  </a:lnTo>
                  <a:lnTo>
                    <a:pt x="1527" y="568"/>
                  </a:lnTo>
                  <a:lnTo>
                    <a:pt x="1536" y="590"/>
                  </a:lnTo>
                  <a:lnTo>
                    <a:pt x="1542" y="606"/>
                  </a:lnTo>
                  <a:lnTo>
                    <a:pt x="1542" y="634"/>
                  </a:lnTo>
                  <a:lnTo>
                    <a:pt x="1542" y="668"/>
                  </a:lnTo>
                  <a:lnTo>
                    <a:pt x="1542" y="693"/>
                  </a:lnTo>
                  <a:lnTo>
                    <a:pt x="1536" y="718"/>
                  </a:lnTo>
                  <a:lnTo>
                    <a:pt x="1527" y="743"/>
                  </a:lnTo>
                  <a:lnTo>
                    <a:pt x="1520" y="765"/>
                  </a:lnTo>
                  <a:lnTo>
                    <a:pt x="1517" y="790"/>
                  </a:lnTo>
                  <a:lnTo>
                    <a:pt x="1514" y="821"/>
                  </a:lnTo>
                  <a:lnTo>
                    <a:pt x="1517" y="852"/>
                  </a:lnTo>
                  <a:lnTo>
                    <a:pt x="1520" y="877"/>
                  </a:lnTo>
                  <a:lnTo>
                    <a:pt x="1530" y="896"/>
                  </a:lnTo>
                  <a:lnTo>
                    <a:pt x="1545" y="918"/>
                  </a:lnTo>
                  <a:lnTo>
                    <a:pt x="1561" y="940"/>
                  </a:lnTo>
                  <a:lnTo>
                    <a:pt x="1577" y="955"/>
                  </a:lnTo>
                  <a:lnTo>
                    <a:pt x="1595" y="968"/>
                  </a:lnTo>
                  <a:lnTo>
                    <a:pt x="1620" y="983"/>
                  </a:lnTo>
                  <a:lnTo>
                    <a:pt x="1642" y="999"/>
                  </a:lnTo>
                  <a:lnTo>
                    <a:pt x="1655" y="1018"/>
                  </a:lnTo>
                  <a:lnTo>
                    <a:pt x="1664" y="1043"/>
                  </a:lnTo>
                  <a:lnTo>
                    <a:pt x="1673" y="1068"/>
                  </a:lnTo>
                  <a:lnTo>
                    <a:pt x="1677" y="1090"/>
                  </a:lnTo>
                  <a:lnTo>
                    <a:pt x="1673" y="1108"/>
                  </a:lnTo>
                  <a:lnTo>
                    <a:pt x="1664" y="1124"/>
                  </a:lnTo>
                  <a:lnTo>
                    <a:pt x="1655" y="1143"/>
                  </a:lnTo>
                  <a:lnTo>
                    <a:pt x="1652" y="1161"/>
                  </a:lnTo>
                  <a:lnTo>
                    <a:pt x="1655" y="1177"/>
                  </a:lnTo>
                  <a:lnTo>
                    <a:pt x="1664" y="1199"/>
                  </a:lnTo>
                  <a:lnTo>
                    <a:pt x="1673" y="1221"/>
                  </a:lnTo>
                  <a:lnTo>
                    <a:pt x="1680" y="1240"/>
                  </a:lnTo>
                  <a:lnTo>
                    <a:pt x="1683" y="1271"/>
                  </a:lnTo>
                  <a:lnTo>
                    <a:pt x="1683" y="1308"/>
                  </a:lnTo>
                  <a:lnTo>
                    <a:pt x="1680" y="1339"/>
                  </a:lnTo>
                  <a:lnTo>
                    <a:pt x="1680" y="1364"/>
                  </a:lnTo>
                  <a:lnTo>
                    <a:pt x="1680" y="1396"/>
                  </a:lnTo>
                  <a:lnTo>
                    <a:pt x="1680" y="1427"/>
                  </a:lnTo>
                  <a:lnTo>
                    <a:pt x="1680" y="1452"/>
                  </a:lnTo>
                  <a:lnTo>
                    <a:pt x="1689" y="1477"/>
                  </a:lnTo>
                  <a:lnTo>
                    <a:pt x="1698" y="1505"/>
                  </a:lnTo>
                  <a:lnTo>
                    <a:pt x="1705" y="1527"/>
                  </a:lnTo>
                  <a:lnTo>
                    <a:pt x="1717" y="1558"/>
                  </a:lnTo>
                  <a:lnTo>
                    <a:pt x="1727" y="1592"/>
                  </a:lnTo>
                  <a:lnTo>
                    <a:pt x="1736" y="1620"/>
                  </a:lnTo>
                  <a:lnTo>
                    <a:pt x="1739" y="1652"/>
                  </a:lnTo>
                  <a:lnTo>
                    <a:pt x="1745" y="1686"/>
                  </a:lnTo>
                  <a:lnTo>
                    <a:pt x="1748" y="1714"/>
                  </a:lnTo>
                  <a:lnTo>
                    <a:pt x="1748" y="1742"/>
                  </a:lnTo>
                  <a:lnTo>
                    <a:pt x="1745" y="1777"/>
                  </a:lnTo>
                  <a:lnTo>
                    <a:pt x="1742" y="1814"/>
                  </a:lnTo>
                  <a:lnTo>
                    <a:pt x="1742" y="1842"/>
                  </a:lnTo>
                  <a:lnTo>
                    <a:pt x="1748" y="1870"/>
                  </a:lnTo>
                  <a:lnTo>
                    <a:pt x="1761" y="1902"/>
                  </a:lnTo>
                  <a:lnTo>
                    <a:pt x="1776" y="1933"/>
                  </a:lnTo>
                  <a:lnTo>
                    <a:pt x="1786" y="1964"/>
                  </a:lnTo>
                  <a:lnTo>
                    <a:pt x="1795" y="199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4" name="Rectangle 3">
            <a:hlinkClick r:id="rId3" action="ppaction://hlinksldjump"/>
            <a:extLst>
              <a:ext uri="{FF2B5EF4-FFF2-40B4-BE49-F238E27FC236}">
                <a16:creationId xmlns:a16="http://schemas.microsoft.com/office/drawing/2014/main" id="{347F20F9-AABD-4E63-A4B1-B88F3F899C5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74255626"/>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United Kingdom</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grpSp>
        <p:nvGrpSpPr>
          <p:cNvPr id="6" name="Group 5">
            <a:extLst>
              <a:ext uri="{FF2B5EF4-FFF2-40B4-BE49-F238E27FC236}">
                <a16:creationId xmlns:a16="http://schemas.microsoft.com/office/drawing/2014/main" id="{FB39C892-9785-4191-9374-0C91B6D00CF4}"/>
              </a:ext>
            </a:extLst>
          </p:cNvPr>
          <p:cNvGrpSpPr/>
          <p:nvPr/>
        </p:nvGrpSpPr>
        <p:grpSpPr bwMode="auto">
          <a:xfrm>
            <a:off x="4679950" y="208756"/>
            <a:ext cx="3370262" cy="6530975"/>
            <a:chOff x="4679950" y="208756"/>
            <a:chExt cx="3370262" cy="6530975"/>
          </a:xfrm>
          <a:solidFill>
            <a:srgbClr val="96968C">
              <a:lumMod val="40000"/>
              <a:lumOff val="60000"/>
            </a:srgbClr>
          </a:solidFill>
        </p:grpSpPr>
        <p:sp>
          <p:nvSpPr>
            <p:cNvPr id="7" name="Freeform 47">
              <a:extLst>
                <a:ext uri="{FF2B5EF4-FFF2-40B4-BE49-F238E27FC236}">
                  <a16:creationId xmlns:a16="http://schemas.microsoft.com/office/drawing/2014/main" id="{CA431401-309E-4193-9463-0F488E28CCB5}"/>
                </a:ext>
              </a:extLst>
            </p:cNvPr>
            <p:cNvSpPr/>
            <p:nvPr/>
          </p:nvSpPr>
          <p:spPr bwMode="auto">
            <a:xfrm>
              <a:off x="4679950" y="3491706"/>
              <a:ext cx="900112" cy="744537"/>
            </a:xfrm>
            <a:custGeom>
              <a:avLst/>
              <a:gdLst>
                <a:gd name="connsiteX0" fmla="*/ 841248 w 901100"/>
                <a:gd name="connsiteY0" fmla="*/ 428937 h 744820"/>
                <a:gd name="connsiteX1" fmla="*/ 834598 w 901100"/>
                <a:gd name="connsiteY1" fmla="*/ 502089 h 744820"/>
                <a:gd name="connsiteX2" fmla="*/ 824622 w 901100"/>
                <a:gd name="connsiteY2" fmla="*/ 551965 h 744820"/>
                <a:gd name="connsiteX3" fmla="*/ 861198 w 901100"/>
                <a:gd name="connsiteY3" fmla="*/ 488788 h 744820"/>
                <a:gd name="connsiteX4" fmla="*/ 841248 w 901100"/>
                <a:gd name="connsiteY4" fmla="*/ 428937 h 744820"/>
                <a:gd name="connsiteX5" fmla="*/ 545315 w 901100"/>
                <a:gd name="connsiteY5" fmla="*/ 322534 h 744820"/>
                <a:gd name="connsiteX6" fmla="*/ 548640 w 901100"/>
                <a:gd name="connsiteY6" fmla="*/ 389035 h 744820"/>
                <a:gd name="connsiteX7" fmla="*/ 512064 w 901100"/>
                <a:gd name="connsiteY7" fmla="*/ 432262 h 744820"/>
                <a:gd name="connsiteX8" fmla="*/ 568590 w 901100"/>
                <a:gd name="connsiteY8" fmla="*/ 458862 h 744820"/>
                <a:gd name="connsiteX9" fmla="*/ 588541 w 901100"/>
                <a:gd name="connsiteY9" fmla="*/ 422286 h 744820"/>
                <a:gd name="connsiteX10" fmla="*/ 608492 w 901100"/>
                <a:gd name="connsiteY10" fmla="*/ 392361 h 744820"/>
                <a:gd name="connsiteX11" fmla="*/ 611817 w 901100"/>
                <a:gd name="connsiteY11" fmla="*/ 335834 h 744820"/>
                <a:gd name="connsiteX12" fmla="*/ 545315 w 901100"/>
                <a:gd name="connsiteY12" fmla="*/ 322534 h 744820"/>
                <a:gd name="connsiteX13" fmla="*/ 615142 w 901100"/>
                <a:gd name="connsiteY13" fmla="*/ 0 h 744820"/>
                <a:gd name="connsiteX14" fmla="*/ 668343 w 901100"/>
                <a:gd name="connsiteY14" fmla="*/ 19950 h 744820"/>
                <a:gd name="connsiteX15" fmla="*/ 714894 w 901100"/>
                <a:gd name="connsiteY15" fmla="*/ 33251 h 744820"/>
                <a:gd name="connsiteX16" fmla="*/ 708244 w 901100"/>
                <a:gd name="connsiteY16" fmla="*/ 113053 h 744820"/>
                <a:gd name="connsiteX17" fmla="*/ 758121 w 901100"/>
                <a:gd name="connsiteY17" fmla="*/ 136329 h 744820"/>
                <a:gd name="connsiteX18" fmla="*/ 748145 w 901100"/>
                <a:gd name="connsiteY18" fmla="*/ 159604 h 744820"/>
                <a:gd name="connsiteX19" fmla="*/ 804672 w 901100"/>
                <a:gd name="connsiteY19" fmla="*/ 232756 h 744820"/>
                <a:gd name="connsiteX20" fmla="*/ 824622 w 901100"/>
                <a:gd name="connsiteY20" fmla="*/ 309233 h 744820"/>
                <a:gd name="connsiteX21" fmla="*/ 761446 w 901100"/>
                <a:gd name="connsiteY21" fmla="*/ 379060 h 744820"/>
                <a:gd name="connsiteX22" fmla="*/ 874499 w 901100"/>
                <a:gd name="connsiteY22" fmla="*/ 349134 h 744820"/>
                <a:gd name="connsiteX23" fmla="*/ 901100 w 901100"/>
                <a:gd name="connsiteY23" fmla="*/ 462187 h 744820"/>
                <a:gd name="connsiteX24" fmla="*/ 894449 w 901100"/>
                <a:gd name="connsiteY24" fmla="*/ 568590 h 744820"/>
                <a:gd name="connsiteX25" fmla="*/ 841248 w 901100"/>
                <a:gd name="connsiteY25" fmla="*/ 645067 h 744820"/>
                <a:gd name="connsiteX26" fmla="*/ 814647 w 901100"/>
                <a:gd name="connsiteY26" fmla="*/ 628442 h 744820"/>
                <a:gd name="connsiteX27" fmla="*/ 764771 w 901100"/>
                <a:gd name="connsiteY27" fmla="*/ 635092 h 744820"/>
                <a:gd name="connsiteX28" fmla="*/ 724870 w 901100"/>
                <a:gd name="connsiteY28" fmla="*/ 744820 h 744820"/>
                <a:gd name="connsiteX29" fmla="*/ 645068 w 901100"/>
                <a:gd name="connsiteY29" fmla="*/ 741495 h 744820"/>
                <a:gd name="connsiteX30" fmla="*/ 631767 w 901100"/>
                <a:gd name="connsiteY30" fmla="*/ 701594 h 744820"/>
                <a:gd name="connsiteX31" fmla="*/ 498764 w 901100"/>
                <a:gd name="connsiteY31" fmla="*/ 728195 h 744820"/>
                <a:gd name="connsiteX32" fmla="*/ 512064 w 901100"/>
                <a:gd name="connsiteY32" fmla="*/ 684969 h 744820"/>
                <a:gd name="connsiteX33" fmla="*/ 472163 w 901100"/>
                <a:gd name="connsiteY33" fmla="*/ 655043 h 744820"/>
                <a:gd name="connsiteX34" fmla="*/ 428937 w 901100"/>
                <a:gd name="connsiteY34" fmla="*/ 631767 h 744820"/>
                <a:gd name="connsiteX35" fmla="*/ 428937 w 901100"/>
                <a:gd name="connsiteY35" fmla="*/ 565265 h 744820"/>
                <a:gd name="connsiteX36" fmla="*/ 385710 w 901100"/>
                <a:gd name="connsiteY36" fmla="*/ 508739 h 744820"/>
                <a:gd name="connsiteX37" fmla="*/ 305908 w 901100"/>
                <a:gd name="connsiteY37" fmla="*/ 548640 h 744820"/>
                <a:gd name="connsiteX38" fmla="*/ 329184 w 901100"/>
                <a:gd name="connsiteY38" fmla="*/ 598516 h 744820"/>
                <a:gd name="connsiteX39" fmla="*/ 302583 w 901100"/>
                <a:gd name="connsiteY39" fmla="*/ 645067 h 744820"/>
                <a:gd name="connsiteX40" fmla="*/ 262682 w 901100"/>
                <a:gd name="connsiteY40" fmla="*/ 698269 h 744820"/>
                <a:gd name="connsiteX41" fmla="*/ 239406 w 901100"/>
                <a:gd name="connsiteY41" fmla="*/ 681643 h 744820"/>
                <a:gd name="connsiteX42" fmla="*/ 182880 w 901100"/>
                <a:gd name="connsiteY42" fmla="*/ 681643 h 744820"/>
                <a:gd name="connsiteX43" fmla="*/ 152954 w 901100"/>
                <a:gd name="connsiteY43" fmla="*/ 638417 h 744820"/>
                <a:gd name="connsiteX44" fmla="*/ 103078 w 901100"/>
                <a:gd name="connsiteY44" fmla="*/ 645067 h 744820"/>
                <a:gd name="connsiteX45" fmla="*/ 96428 w 901100"/>
                <a:gd name="connsiteY45" fmla="*/ 591866 h 744820"/>
                <a:gd name="connsiteX46" fmla="*/ 0 w 901100"/>
                <a:gd name="connsiteY46" fmla="*/ 478813 h 744820"/>
                <a:gd name="connsiteX47" fmla="*/ 53201 w 901100"/>
                <a:gd name="connsiteY47" fmla="*/ 418961 h 744820"/>
                <a:gd name="connsiteX48" fmla="*/ 101640 w 901100"/>
                <a:gd name="connsiteY48" fmla="*/ 413705 h 744820"/>
                <a:gd name="connsiteX49" fmla="*/ 162929 w 901100"/>
                <a:gd name="connsiteY49" fmla="*/ 379060 h 744820"/>
                <a:gd name="connsiteX50" fmla="*/ 96428 w 901100"/>
                <a:gd name="connsiteY50" fmla="*/ 309233 h 744820"/>
                <a:gd name="connsiteX51" fmla="*/ 202830 w 901100"/>
                <a:gd name="connsiteY51" fmla="*/ 289283 h 744820"/>
                <a:gd name="connsiteX52" fmla="*/ 259357 w 901100"/>
                <a:gd name="connsiteY52" fmla="*/ 152954 h 744820"/>
                <a:gd name="connsiteX53" fmla="*/ 325859 w 901100"/>
                <a:gd name="connsiteY53" fmla="*/ 103078 h 744820"/>
                <a:gd name="connsiteX54" fmla="*/ 379060 w 901100"/>
                <a:gd name="connsiteY54" fmla="*/ 96427 h 744820"/>
                <a:gd name="connsiteX55" fmla="*/ 428937 w 901100"/>
                <a:gd name="connsiteY55" fmla="*/ 39901 h 744820"/>
                <a:gd name="connsiteX56" fmla="*/ 522039 w 901100"/>
                <a:gd name="connsiteY56" fmla="*/ 19950 h 744820"/>
                <a:gd name="connsiteX57" fmla="*/ 615142 w 901100"/>
                <a:gd name="connsiteY57" fmla="*/ 0 h 74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01100" h="744820">
                  <a:moveTo>
                    <a:pt x="841248" y="428937"/>
                  </a:moveTo>
                  <a:lnTo>
                    <a:pt x="834598" y="502089"/>
                  </a:lnTo>
                  <a:lnTo>
                    <a:pt x="824622" y="551965"/>
                  </a:lnTo>
                  <a:lnTo>
                    <a:pt x="861198" y="488788"/>
                  </a:lnTo>
                  <a:lnTo>
                    <a:pt x="841248" y="428937"/>
                  </a:lnTo>
                  <a:close/>
                  <a:moveTo>
                    <a:pt x="545315" y="322534"/>
                  </a:moveTo>
                  <a:lnTo>
                    <a:pt x="548640" y="389035"/>
                  </a:lnTo>
                  <a:lnTo>
                    <a:pt x="512064" y="432262"/>
                  </a:lnTo>
                  <a:lnTo>
                    <a:pt x="568590" y="458862"/>
                  </a:lnTo>
                  <a:lnTo>
                    <a:pt x="588541" y="422286"/>
                  </a:lnTo>
                  <a:lnTo>
                    <a:pt x="608492" y="392361"/>
                  </a:lnTo>
                  <a:lnTo>
                    <a:pt x="611817" y="335834"/>
                  </a:lnTo>
                  <a:lnTo>
                    <a:pt x="545315" y="322534"/>
                  </a:lnTo>
                  <a:close/>
                  <a:moveTo>
                    <a:pt x="615142" y="0"/>
                  </a:moveTo>
                  <a:lnTo>
                    <a:pt x="668343" y="19950"/>
                  </a:lnTo>
                  <a:lnTo>
                    <a:pt x="714894" y="33251"/>
                  </a:lnTo>
                  <a:lnTo>
                    <a:pt x="708244" y="113053"/>
                  </a:lnTo>
                  <a:lnTo>
                    <a:pt x="758121" y="136329"/>
                  </a:lnTo>
                  <a:lnTo>
                    <a:pt x="748145" y="159604"/>
                  </a:lnTo>
                  <a:lnTo>
                    <a:pt x="804672" y="232756"/>
                  </a:lnTo>
                  <a:lnTo>
                    <a:pt x="824622" y="309233"/>
                  </a:lnTo>
                  <a:lnTo>
                    <a:pt x="761446" y="379060"/>
                  </a:lnTo>
                  <a:lnTo>
                    <a:pt x="874499" y="349134"/>
                  </a:lnTo>
                  <a:lnTo>
                    <a:pt x="901100" y="462187"/>
                  </a:lnTo>
                  <a:lnTo>
                    <a:pt x="894449" y="568590"/>
                  </a:lnTo>
                  <a:lnTo>
                    <a:pt x="841248" y="645067"/>
                  </a:lnTo>
                  <a:lnTo>
                    <a:pt x="814647" y="628442"/>
                  </a:lnTo>
                  <a:lnTo>
                    <a:pt x="764771" y="635092"/>
                  </a:lnTo>
                  <a:lnTo>
                    <a:pt x="724870" y="744820"/>
                  </a:lnTo>
                  <a:lnTo>
                    <a:pt x="645068" y="741495"/>
                  </a:lnTo>
                  <a:lnTo>
                    <a:pt x="631767" y="701594"/>
                  </a:lnTo>
                  <a:lnTo>
                    <a:pt x="498764" y="728195"/>
                  </a:lnTo>
                  <a:lnTo>
                    <a:pt x="512064" y="684969"/>
                  </a:lnTo>
                  <a:lnTo>
                    <a:pt x="472163" y="655043"/>
                  </a:lnTo>
                  <a:lnTo>
                    <a:pt x="428937" y="631767"/>
                  </a:lnTo>
                  <a:lnTo>
                    <a:pt x="428937" y="565265"/>
                  </a:lnTo>
                  <a:lnTo>
                    <a:pt x="385710" y="508739"/>
                  </a:lnTo>
                  <a:lnTo>
                    <a:pt x="305908" y="548640"/>
                  </a:lnTo>
                  <a:lnTo>
                    <a:pt x="329184" y="598516"/>
                  </a:lnTo>
                  <a:lnTo>
                    <a:pt x="302583" y="645067"/>
                  </a:lnTo>
                  <a:lnTo>
                    <a:pt x="262682" y="698269"/>
                  </a:lnTo>
                  <a:lnTo>
                    <a:pt x="239406" y="681643"/>
                  </a:lnTo>
                  <a:lnTo>
                    <a:pt x="182880" y="681643"/>
                  </a:lnTo>
                  <a:lnTo>
                    <a:pt x="152954" y="638417"/>
                  </a:lnTo>
                  <a:lnTo>
                    <a:pt x="103078" y="645067"/>
                  </a:lnTo>
                  <a:lnTo>
                    <a:pt x="96428" y="591866"/>
                  </a:lnTo>
                  <a:lnTo>
                    <a:pt x="0" y="478813"/>
                  </a:lnTo>
                  <a:lnTo>
                    <a:pt x="53201" y="418961"/>
                  </a:lnTo>
                  <a:lnTo>
                    <a:pt x="101640" y="413705"/>
                  </a:lnTo>
                  <a:lnTo>
                    <a:pt x="162929" y="379060"/>
                  </a:lnTo>
                  <a:lnTo>
                    <a:pt x="96428" y="309233"/>
                  </a:lnTo>
                  <a:lnTo>
                    <a:pt x="202830" y="289283"/>
                  </a:lnTo>
                  <a:lnTo>
                    <a:pt x="259357" y="152954"/>
                  </a:lnTo>
                  <a:lnTo>
                    <a:pt x="325859" y="103078"/>
                  </a:lnTo>
                  <a:lnTo>
                    <a:pt x="379060" y="96427"/>
                  </a:lnTo>
                  <a:lnTo>
                    <a:pt x="428937" y="39901"/>
                  </a:lnTo>
                  <a:lnTo>
                    <a:pt x="522039" y="19950"/>
                  </a:lnTo>
                  <a:lnTo>
                    <a:pt x="615142"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8" name="Freeform 48">
              <a:extLst>
                <a:ext uri="{FF2B5EF4-FFF2-40B4-BE49-F238E27FC236}">
                  <a16:creationId xmlns:a16="http://schemas.microsoft.com/office/drawing/2014/main" id="{46B5F4BC-0172-447F-9516-1C8D8436F113}"/>
                </a:ext>
              </a:extLst>
            </p:cNvPr>
            <p:cNvSpPr/>
            <p:nvPr/>
          </p:nvSpPr>
          <p:spPr bwMode="auto">
            <a:xfrm>
              <a:off x="5524500" y="4622006"/>
              <a:ext cx="957262" cy="1289050"/>
            </a:xfrm>
            <a:custGeom>
              <a:avLst/>
              <a:gdLst>
                <a:gd name="connsiteX0" fmla="*/ 927700 w 957626"/>
                <a:gd name="connsiteY0" fmla="*/ 282632 h 1290135"/>
                <a:gd name="connsiteX1" fmla="*/ 854548 w 957626"/>
                <a:gd name="connsiteY1" fmla="*/ 182880 h 1290135"/>
                <a:gd name="connsiteX2" fmla="*/ 881149 w 957626"/>
                <a:gd name="connsiteY2" fmla="*/ 149629 h 1290135"/>
                <a:gd name="connsiteX3" fmla="*/ 837923 w 957626"/>
                <a:gd name="connsiteY3" fmla="*/ 113053 h 1290135"/>
                <a:gd name="connsiteX4" fmla="*/ 771421 w 957626"/>
                <a:gd name="connsiteY4" fmla="*/ 116378 h 1290135"/>
                <a:gd name="connsiteX5" fmla="*/ 751471 w 957626"/>
                <a:gd name="connsiteY5" fmla="*/ 89777 h 1290135"/>
                <a:gd name="connsiteX6" fmla="*/ 764771 w 957626"/>
                <a:gd name="connsiteY6" fmla="*/ 59851 h 1290135"/>
                <a:gd name="connsiteX7" fmla="*/ 694944 w 957626"/>
                <a:gd name="connsiteY7" fmla="*/ 59851 h 1290135"/>
                <a:gd name="connsiteX8" fmla="*/ 691619 w 957626"/>
                <a:gd name="connsiteY8" fmla="*/ 106403 h 1290135"/>
                <a:gd name="connsiteX9" fmla="*/ 625117 w 957626"/>
                <a:gd name="connsiteY9" fmla="*/ 99752 h 1290135"/>
                <a:gd name="connsiteX10" fmla="*/ 591866 w 957626"/>
                <a:gd name="connsiteY10" fmla="*/ 73152 h 1290135"/>
                <a:gd name="connsiteX11" fmla="*/ 535340 w 957626"/>
                <a:gd name="connsiteY11" fmla="*/ 69827 h 1290135"/>
                <a:gd name="connsiteX12" fmla="*/ 545315 w 957626"/>
                <a:gd name="connsiteY12" fmla="*/ 96427 h 1290135"/>
                <a:gd name="connsiteX13" fmla="*/ 472163 w 957626"/>
                <a:gd name="connsiteY13" fmla="*/ 126353 h 1290135"/>
                <a:gd name="connsiteX14" fmla="*/ 485463 w 957626"/>
                <a:gd name="connsiteY14" fmla="*/ 86452 h 1290135"/>
                <a:gd name="connsiteX15" fmla="*/ 485463 w 957626"/>
                <a:gd name="connsiteY15" fmla="*/ 63176 h 1290135"/>
                <a:gd name="connsiteX16" fmla="*/ 435587 w 957626"/>
                <a:gd name="connsiteY16" fmla="*/ 83127 h 1290135"/>
                <a:gd name="connsiteX17" fmla="*/ 435587 w 957626"/>
                <a:gd name="connsiteY17" fmla="*/ 29926 h 1290135"/>
                <a:gd name="connsiteX18" fmla="*/ 365760 w 957626"/>
                <a:gd name="connsiteY18" fmla="*/ 0 h 1290135"/>
                <a:gd name="connsiteX19" fmla="*/ 319209 w 957626"/>
                <a:gd name="connsiteY19" fmla="*/ 9975 h 1290135"/>
                <a:gd name="connsiteX20" fmla="*/ 305908 w 957626"/>
                <a:gd name="connsiteY20" fmla="*/ 63176 h 1290135"/>
                <a:gd name="connsiteX21" fmla="*/ 249382 w 957626"/>
                <a:gd name="connsiteY21" fmla="*/ 69827 h 1290135"/>
                <a:gd name="connsiteX22" fmla="*/ 285958 w 957626"/>
                <a:gd name="connsiteY22" fmla="*/ 116378 h 1290135"/>
                <a:gd name="connsiteX23" fmla="*/ 375735 w 957626"/>
                <a:gd name="connsiteY23" fmla="*/ 209480 h 1290135"/>
                <a:gd name="connsiteX24" fmla="*/ 349135 w 957626"/>
                <a:gd name="connsiteY24" fmla="*/ 262682 h 1290135"/>
                <a:gd name="connsiteX25" fmla="*/ 229431 w 957626"/>
                <a:gd name="connsiteY25" fmla="*/ 355784 h 1290135"/>
                <a:gd name="connsiteX26" fmla="*/ 229431 w 957626"/>
                <a:gd name="connsiteY26" fmla="*/ 412311 h 1290135"/>
                <a:gd name="connsiteX27" fmla="*/ 272657 w 957626"/>
                <a:gd name="connsiteY27" fmla="*/ 428936 h 1290135"/>
                <a:gd name="connsiteX28" fmla="*/ 295933 w 957626"/>
                <a:gd name="connsiteY28" fmla="*/ 375735 h 1290135"/>
                <a:gd name="connsiteX29" fmla="*/ 305908 w 957626"/>
                <a:gd name="connsiteY29" fmla="*/ 415636 h 1290135"/>
                <a:gd name="connsiteX30" fmla="*/ 349135 w 957626"/>
                <a:gd name="connsiteY30" fmla="*/ 422286 h 1290135"/>
                <a:gd name="connsiteX31" fmla="*/ 352460 w 957626"/>
                <a:gd name="connsiteY31" fmla="*/ 359110 h 1290135"/>
                <a:gd name="connsiteX32" fmla="*/ 418961 w 957626"/>
                <a:gd name="connsiteY32" fmla="*/ 319208 h 1290135"/>
                <a:gd name="connsiteX33" fmla="*/ 452212 w 957626"/>
                <a:gd name="connsiteY33" fmla="*/ 369085 h 1290135"/>
                <a:gd name="connsiteX34" fmla="*/ 445562 w 957626"/>
                <a:gd name="connsiteY34" fmla="*/ 412311 h 1290135"/>
                <a:gd name="connsiteX35" fmla="*/ 468838 w 957626"/>
                <a:gd name="connsiteY35" fmla="*/ 462187 h 1290135"/>
                <a:gd name="connsiteX36" fmla="*/ 455537 w 957626"/>
                <a:gd name="connsiteY36" fmla="*/ 505414 h 1290135"/>
                <a:gd name="connsiteX37" fmla="*/ 485463 w 957626"/>
                <a:gd name="connsiteY37" fmla="*/ 575240 h 1290135"/>
                <a:gd name="connsiteX38" fmla="*/ 455537 w 957626"/>
                <a:gd name="connsiteY38" fmla="*/ 671668 h 1290135"/>
                <a:gd name="connsiteX39" fmla="*/ 405661 w 957626"/>
                <a:gd name="connsiteY39" fmla="*/ 738170 h 1290135"/>
                <a:gd name="connsiteX40" fmla="*/ 342484 w 957626"/>
                <a:gd name="connsiteY40" fmla="*/ 751470 h 1290135"/>
                <a:gd name="connsiteX41" fmla="*/ 295933 w 957626"/>
                <a:gd name="connsiteY41" fmla="*/ 794696 h 1290135"/>
                <a:gd name="connsiteX42" fmla="*/ 262682 w 957626"/>
                <a:gd name="connsiteY42" fmla="*/ 778071 h 1290135"/>
                <a:gd name="connsiteX43" fmla="*/ 176230 w 957626"/>
                <a:gd name="connsiteY43" fmla="*/ 837923 h 1290135"/>
                <a:gd name="connsiteX44" fmla="*/ 179555 w 957626"/>
                <a:gd name="connsiteY44" fmla="*/ 854548 h 1290135"/>
                <a:gd name="connsiteX45" fmla="*/ 99753 w 957626"/>
                <a:gd name="connsiteY45" fmla="*/ 854548 h 1290135"/>
                <a:gd name="connsiteX46" fmla="*/ 39901 w 957626"/>
                <a:gd name="connsiteY46" fmla="*/ 907750 h 1290135"/>
                <a:gd name="connsiteX47" fmla="*/ 0 w 957626"/>
                <a:gd name="connsiteY47" fmla="*/ 917725 h 1290135"/>
                <a:gd name="connsiteX48" fmla="*/ 13300 w 957626"/>
                <a:gd name="connsiteY48" fmla="*/ 964276 h 1290135"/>
                <a:gd name="connsiteX49" fmla="*/ 63177 w 957626"/>
                <a:gd name="connsiteY49" fmla="*/ 974251 h 1290135"/>
                <a:gd name="connsiteX50" fmla="*/ 83127 w 957626"/>
                <a:gd name="connsiteY50" fmla="*/ 990877 h 1290135"/>
                <a:gd name="connsiteX51" fmla="*/ 53201 w 957626"/>
                <a:gd name="connsiteY51" fmla="*/ 1034103 h 1290135"/>
                <a:gd name="connsiteX52" fmla="*/ 49876 w 957626"/>
                <a:gd name="connsiteY52" fmla="*/ 1064029 h 1290135"/>
                <a:gd name="connsiteX53" fmla="*/ 109728 w 957626"/>
                <a:gd name="connsiteY53" fmla="*/ 1083979 h 1290135"/>
                <a:gd name="connsiteX54" fmla="*/ 126353 w 957626"/>
                <a:gd name="connsiteY54" fmla="*/ 1133856 h 1290135"/>
                <a:gd name="connsiteX55" fmla="*/ 189530 w 957626"/>
                <a:gd name="connsiteY55" fmla="*/ 1107255 h 1290135"/>
                <a:gd name="connsiteX56" fmla="*/ 262682 w 957626"/>
                <a:gd name="connsiteY56" fmla="*/ 1087304 h 1290135"/>
                <a:gd name="connsiteX57" fmla="*/ 246057 w 957626"/>
                <a:gd name="connsiteY57" fmla="*/ 1047403 h 1290135"/>
                <a:gd name="connsiteX58" fmla="*/ 299258 w 957626"/>
                <a:gd name="connsiteY58" fmla="*/ 1044078 h 1290135"/>
                <a:gd name="connsiteX59" fmla="*/ 332509 w 957626"/>
                <a:gd name="connsiteY59" fmla="*/ 1054054 h 1290135"/>
                <a:gd name="connsiteX60" fmla="*/ 352460 w 957626"/>
                <a:gd name="connsiteY60" fmla="*/ 1087304 h 1290135"/>
                <a:gd name="connsiteX61" fmla="*/ 422287 w 957626"/>
                <a:gd name="connsiteY61" fmla="*/ 1097280 h 1290135"/>
                <a:gd name="connsiteX62" fmla="*/ 372410 w 957626"/>
                <a:gd name="connsiteY62" fmla="*/ 1120555 h 1290135"/>
                <a:gd name="connsiteX63" fmla="*/ 365760 w 957626"/>
                <a:gd name="connsiteY63" fmla="*/ 1180407 h 1290135"/>
                <a:gd name="connsiteX64" fmla="*/ 432262 w 957626"/>
                <a:gd name="connsiteY64" fmla="*/ 1167107 h 1290135"/>
                <a:gd name="connsiteX65" fmla="*/ 538665 w 957626"/>
                <a:gd name="connsiteY65" fmla="*/ 1117230 h 1290135"/>
                <a:gd name="connsiteX66" fmla="*/ 535340 w 957626"/>
                <a:gd name="connsiteY66" fmla="*/ 1173757 h 1290135"/>
                <a:gd name="connsiteX67" fmla="*/ 558615 w 957626"/>
                <a:gd name="connsiteY67" fmla="*/ 1173757 h 1290135"/>
                <a:gd name="connsiteX68" fmla="*/ 558615 w 957626"/>
                <a:gd name="connsiteY68" fmla="*/ 1216983 h 1290135"/>
                <a:gd name="connsiteX69" fmla="*/ 621792 w 957626"/>
                <a:gd name="connsiteY69" fmla="*/ 1250234 h 1290135"/>
                <a:gd name="connsiteX70" fmla="*/ 688294 w 957626"/>
                <a:gd name="connsiteY70" fmla="*/ 1290135 h 1290135"/>
                <a:gd name="connsiteX71" fmla="*/ 774746 w 957626"/>
                <a:gd name="connsiteY71" fmla="*/ 1266859 h 1290135"/>
                <a:gd name="connsiteX72" fmla="*/ 814647 w 957626"/>
                <a:gd name="connsiteY72" fmla="*/ 1210333 h 1290135"/>
                <a:gd name="connsiteX73" fmla="*/ 877824 w 957626"/>
                <a:gd name="connsiteY73" fmla="*/ 1190382 h 1290135"/>
                <a:gd name="connsiteX74" fmla="*/ 911075 w 957626"/>
                <a:gd name="connsiteY74" fmla="*/ 1200358 h 1290135"/>
                <a:gd name="connsiteX75" fmla="*/ 957626 w 957626"/>
                <a:gd name="connsiteY75" fmla="*/ 1143831 h 1290135"/>
                <a:gd name="connsiteX76" fmla="*/ 957626 w 957626"/>
                <a:gd name="connsiteY76" fmla="*/ 1097280 h 1290135"/>
                <a:gd name="connsiteX77" fmla="*/ 957626 w 957626"/>
                <a:gd name="connsiteY77" fmla="*/ 1000852 h 1290135"/>
                <a:gd name="connsiteX78" fmla="*/ 871174 w 957626"/>
                <a:gd name="connsiteY78" fmla="*/ 934350 h 1290135"/>
                <a:gd name="connsiteX79" fmla="*/ 837923 w 957626"/>
                <a:gd name="connsiteY79" fmla="*/ 947651 h 1290135"/>
                <a:gd name="connsiteX80" fmla="*/ 798022 w 957626"/>
                <a:gd name="connsiteY80" fmla="*/ 874499 h 1290135"/>
                <a:gd name="connsiteX81" fmla="*/ 798022 w 957626"/>
                <a:gd name="connsiteY81" fmla="*/ 804672 h 1290135"/>
                <a:gd name="connsiteX82" fmla="*/ 814647 w 957626"/>
                <a:gd name="connsiteY82" fmla="*/ 744820 h 1290135"/>
                <a:gd name="connsiteX83" fmla="*/ 824623 w 957626"/>
                <a:gd name="connsiteY83" fmla="*/ 718219 h 1290135"/>
                <a:gd name="connsiteX84" fmla="*/ 831273 w 957626"/>
                <a:gd name="connsiteY84" fmla="*/ 674993 h 1290135"/>
                <a:gd name="connsiteX85" fmla="*/ 794697 w 957626"/>
                <a:gd name="connsiteY85" fmla="*/ 665018 h 1290135"/>
                <a:gd name="connsiteX86" fmla="*/ 754796 w 957626"/>
                <a:gd name="connsiteY86" fmla="*/ 625117 h 1290135"/>
                <a:gd name="connsiteX87" fmla="*/ 768096 w 957626"/>
                <a:gd name="connsiteY87" fmla="*/ 591866 h 1290135"/>
                <a:gd name="connsiteX88" fmla="*/ 814647 w 957626"/>
                <a:gd name="connsiteY88" fmla="*/ 585216 h 1290135"/>
                <a:gd name="connsiteX89" fmla="*/ 844573 w 957626"/>
                <a:gd name="connsiteY89" fmla="*/ 555290 h 1290135"/>
                <a:gd name="connsiteX90" fmla="*/ 807997 w 957626"/>
                <a:gd name="connsiteY90" fmla="*/ 528689 h 1290135"/>
                <a:gd name="connsiteX91" fmla="*/ 844573 w 957626"/>
                <a:gd name="connsiteY91" fmla="*/ 438912 h 1290135"/>
                <a:gd name="connsiteX92" fmla="*/ 854548 w 957626"/>
                <a:gd name="connsiteY92" fmla="*/ 428936 h 1290135"/>
                <a:gd name="connsiteX93" fmla="*/ 814647 w 957626"/>
                <a:gd name="connsiteY93" fmla="*/ 399011 h 1290135"/>
                <a:gd name="connsiteX94" fmla="*/ 791372 w 957626"/>
                <a:gd name="connsiteY94" fmla="*/ 385710 h 1290135"/>
                <a:gd name="connsiteX95" fmla="*/ 811322 w 957626"/>
                <a:gd name="connsiteY95" fmla="*/ 302583 h 1290135"/>
                <a:gd name="connsiteX96" fmla="*/ 877824 w 957626"/>
                <a:gd name="connsiteY96" fmla="*/ 305908 h 1290135"/>
                <a:gd name="connsiteX97" fmla="*/ 927700 w 957626"/>
                <a:gd name="connsiteY97" fmla="*/ 282632 h 129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57626" h="1290135">
                  <a:moveTo>
                    <a:pt x="927700" y="282632"/>
                  </a:moveTo>
                  <a:lnTo>
                    <a:pt x="854548" y="182880"/>
                  </a:lnTo>
                  <a:lnTo>
                    <a:pt x="881149" y="149629"/>
                  </a:lnTo>
                  <a:lnTo>
                    <a:pt x="837923" y="113053"/>
                  </a:lnTo>
                  <a:lnTo>
                    <a:pt x="771421" y="116378"/>
                  </a:lnTo>
                  <a:lnTo>
                    <a:pt x="751471" y="89777"/>
                  </a:lnTo>
                  <a:lnTo>
                    <a:pt x="764771" y="59851"/>
                  </a:lnTo>
                  <a:lnTo>
                    <a:pt x="694944" y="59851"/>
                  </a:lnTo>
                  <a:lnTo>
                    <a:pt x="691619" y="106403"/>
                  </a:lnTo>
                  <a:lnTo>
                    <a:pt x="625117" y="99752"/>
                  </a:lnTo>
                  <a:lnTo>
                    <a:pt x="591866" y="73152"/>
                  </a:lnTo>
                  <a:lnTo>
                    <a:pt x="535340" y="69827"/>
                  </a:lnTo>
                  <a:lnTo>
                    <a:pt x="545315" y="96427"/>
                  </a:lnTo>
                  <a:lnTo>
                    <a:pt x="472163" y="126353"/>
                  </a:lnTo>
                  <a:lnTo>
                    <a:pt x="485463" y="86452"/>
                  </a:lnTo>
                  <a:lnTo>
                    <a:pt x="485463" y="63176"/>
                  </a:lnTo>
                  <a:lnTo>
                    <a:pt x="435587" y="83127"/>
                  </a:lnTo>
                  <a:lnTo>
                    <a:pt x="435587" y="29926"/>
                  </a:lnTo>
                  <a:lnTo>
                    <a:pt x="365760" y="0"/>
                  </a:lnTo>
                  <a:lnTo>
                    <a:pt x="319209" y="9975"/>
                  </a:lnTo>
                  <a:lnTo>
                    <a:pt x="305908" y="63176"/>
                  </a:lnTo>
                  <a:lnTo>
                    <a:pt x="249382" y="69827"/>
                  </a:lnTo>
                  <a:lnTo>
                    <a:pt x="285958" y="116378"/>
                  </a:lnTo>
                  <a:lnTo>
                    <a:pt x="375735" y="209480"/>
                  </a:lnTo>
                  <a:lnTo>
                    <a:pt x="349135" y="262682"/>
                  </a:lnTo>
                  <a:lnTo>
                    <a:pt x="229431" y="355784"/>
                  </a:lnTo>
                  <a:lnTo>
                    <a:pt x="229431" y="412311"/>
                  </a:lnTo>
                  <a:lnTo>
                    <a:pt x="272657" y="428936"/>
                  </a:lnTo>
                  <a:lnTo>
                    <a:pt x="295933" y="375735"/>
                  </a:lnTo>
                  <a:lnTo>
                    <a:pt x="305908" y="415636"/>
                  </a:lnTo>
                  <a:lnTo>
                    <a:pt x="349135" y="422286"/>
                  </a:lnTo>
                  <a:lnTo>
                    <a:pt x="352460" y="359110"/>
                  </a:lnTo>
                  <a:lnTo>
                    <a:pt x="418961" y="319208"/>
                  </a:lnTo>
                  <a:lnTo>
                    <a:pt x="452212" y="369085"/>
                  </a:lnTo>
                  <a:lnTo>
                    <a:pt x="445562" y="412311"/>
                  </a:lnTo>
                  <a:lnTo>
                    <a:pt x="468838" y="462187"/>
                  </a:lnTo>
                  <a:lnTo>
                    <a:pt x="455537" y="505414"/>
                  </a:lnTo>
                  <a:lnTo>
                    <a:pt x="485463" y="575240"/>
                  </a:lnTo>
                  <a:lnTo>
                    <a:pt x="455537" y="671668"/>
                  </a:lnTo>
                  <a:lnTo>
                    <a:pt x="405661" y="738170"/>
                  </a:lnTo>
                  <a:lnTo>
                    <a:pt x="342484" y="751470"/>
                  </a:lnTo>
                  <a:lnTo>
                    <a:pt x="295933" y="794696"/>
                  </a:lnTo>
                  <a:lnTo>
                    <a:pt x="262682" y="778071"/>
                  </a:lnTo>
                  <a:lnTo>
                    <a:pt x="176230" y="837923"/>
                  </a:lnTo>
                  <a:lnTo>
                    <a:pt x="179555" y="854548"/>
                  </a:lnTo>
                  <a:lnTo>
                    <a:pt x="99753" y="854548"/>
                  </a:lnTo>
                  <a:lnTo>
                    <a:pt x="39901" y="907750"/>
                  </a:lnTo>
                  <a:lnTo>
                    <a:pt x="0" y="917725"/>
                  </a:lnTo>
                  <a:lnTo>
                    <a:pt x="13300" y="964276"/>
                  </a:lnTo>
                  <a:lnTo>
                    <a:pt x="63177" y="974251"/>
                  </a:lnTo>
                  <a:lnTo>
                    <a:pt x="83127" y="990877"/>
                  </a:lnTo>
                  <a:lnTo>
                    <a:pt x="53201" y="1034103"/>
                  </a:lnTo>
                  <a:lnTo>
                    <a:pt x="49876" y="1064029"/>
                  </a:lnTo>
                  <a:lnTo>
                    <a:pt x="109728" y="1083979"/>
                  </a:lnTo>
                  <a:lnTo>
                    <a:pt x="126353" y="1133856"/>
                  </a:lnTo>
                  <a:lnTo>
                    <a:pt x="189530" y="1107255"/>
                  </a:lnTo>
                  <a:lnTo>
                    <a:pt x="262682" y="1087304"/>
                  </a:lnTo>
                  <a:lnTo>
                    <a:pt x="246057" y="1047403"/>
                  </a:lnTo>
                  <a:lnTo>
                    <a:pt x="299258" y="1044078"/>
                  </a:lnTo>
                  <a:lnTo>
                    <a:pt x="332509" y="1054054"/>
                  </a:lnTo>
                  <a:lnTo>
                    <a:pt x="352460" y="1087304"/>
                  </a:lnTo>
                  <a:lnTo>
                    <a:pt x="422287" y="1097280"/>
                  </a:lnTo>
                  <a:lnTo>
                    <a:pt x="372410" y="1120555"/>
                  </a:lnTo>
                  <a:lnTo>
                    <a:pt x="365760" y="1180407"/>
                  </a:lnTo>
                  <a:lnTo>
                    <a:pt x="432262" y="1167107"/>
                  </a:lnTo>
                  <a:lnTo>
                    <a:pt x="538665" y="1117230"/>
                  </a:lnTo>
                  <a:lnTo>
                    <a:pt x="535340" y="1173757"/>
                  </a:lnTo>
                  <a:lnTo>
                    <a:pt x="558615" y="1173757"/>
                  </a:lnTo>
                  <a:lnTo>
                    <a:pt x="558615" y="1216983"/>
                  </a:lnTo>
                  <a:lnTo>
                    <a:pt x="621792" y="1250234"/>
                  </a:lnTo>
                  <a:lnTo>
                    <a:pt x="688294" y="1290135"/>
                  </a:lnTo>
                  <a:lnTo>
                    <a:pt x="774746" y="1266859"/>
                  </a:lnTo>
                  <a:lnTo>
                    <a:pt x="814647" y="1210333"/>
                  </a:lnTo>
                  <a:lnTo>
                    <a:pt x="877824" y="1190382"/>
                  </a:lnTo>
                  <a:lnTo>
                    <a:pt x="911075" y="1200358"/>
                  </a:lnTo>
                  <a:lnTo>
                    <a:pt x="957626" y="1143831"/>
                  </a:lnTo>
                  <a:lnTo>
                    <a:pt x="957626" y="1097280"/>
                  </a:lnTo>
                  <a:lnTo>
                    <a:pt x="957626" y="1000852"/>
                  </a:lnTo>
                  <a:lnTo>
                    <a:pt x="871174" y="934350"/>
                  </a:lnTo>
                  <a:lnTo>
                    <a:pt x="837923" y="947651"/>
                  </a:lnTo>
                  <a:lnTo>
                    <a:pt x="798022" y="874499"/>
                  </a:lnTo>
                  <a:lnTo>
                    <a:pt x="798022" y="804672"/>
                  </a:lnTo>
                  <a:lnTo>
                    <a:pt x="814647" y="744820"/>
                  </a:lnTo>
                  <a:lnTo>
                    <a:pt x="824623" y="718219"/>
                  </a:lnTo>
                  <a:lnTo>
                    <a:pt x="831273" y="674993"/>
                  </a:lnTo>
                  <a:lnTo>
                    <a:pt x="794697" y="665018"/>
                  </a:lnTo>
                  <a:lnTo>
                    <a:pt x="754796" y="625117"/>
                  </a:lnTo>
                  <a:lnTo>
                    <a:pt x="768096" y="591866"/>
                  </a:lnTo>
                  <a:lnTo>
                    <a:pt x="814647" y="585216"/>
                  </a:lnTo>
                  <a:lnTo>
                    <a:pt x="844573" y="555290"/>
                  </a:lnTo>
                  <a:lnTo>
                    <a:pt x="807997" y="528689"/>
                  </a:lnTo>
                  <a:lnTo>
                    <a:pt x="844573" y="438912"/>
                  </a:lnTo>
                  <a:lnTo>
                    <a:pt x="854548" y="428936"/>
                  </a:lnTo>
                  <a:lnTo>
                    <a:pt x="814647" y="399011"/>
                  </a:lnTo>
                  <a:lnTo>
                    <a:pt x="791372" y="385710"/>
                  </a:lnTo>
                  <a:lnTo>
                    <a:pt x="811322" y="302583"/>
                  </a:lnTo>
                  <a:lnTo>
                    <a:pt x="877824" y="305908"/>
                  </a:lnTo>
                  <a:lnTo>
                    <a:pt x="927700" y="28263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9" name="Freeform 49">
              <a:extLst>
                <a:ext uri="{FF2B5EF4-FFF2-40B4-BE49-F238E27FC236}">
                  <a16:creationId xmlns:a16="http://schemas.microsoft.com/office/drawing/2014/main" id="{F81A882C-53DE-434F-94EA-873CF497681D}"/>
                </a:ext>
              </a:extLst>
            </p:cNvPr>
            <p:cNvSpPr/>
            <p:nvPr/>
          </p:nvSpPr>
          <p:spPr bwMode="auto">
            <a:xfrm>
              <a:off x="5348287" y="3104356"/>
              <a:ext cx="2701925" cy="3635375"/>
            </a:xfrm>
            <a:custGeom>
              <a:avLst/>
              <a:gdLst>
                <a:gd name="connsiteX0" fmla="*/ 927041 w 2701062"/>
                <a:gd name="connsiteY0" fmla="*/ 0 h 3004457"/>
                <a:gd name="connsiteX1" fmla="*/ 876475 w 2701062"/>
                <a:gd name="connsiteY1" fmla="*/ 80062 h 3004457"/>
                <a:gd name="connsiteX2" fmla="*/ 804840 w 2701062"/>
                <a:gd name="connsiteY2" fmla="*/ 151697 h 3004457"/>
                <a:gd name="connsiteX3" fmla="*/ 813268 w 2701062"/>
                <a:gd name="connsiteY3" fmla="*/ 282326 h 3004457"/>
                <a:gd name="connsiteX4" fmla="*/ 897545 w 2701062"/>
                <a:gd name="connsiteY4" fmla="*/ 450879 h 3004457"/>
                <a:gd name="connsiteX5" fmla="*/ 943897 w 2701062"/>
                <a:gd name="connsiteY5" fmla="*/ 535155 h 3004457"/>
                <a:gd name="connsiteX6" fmla="*/ 964966 w 2701062"/>
                <a:gd name="connsiteY6" fmla="*/ 564652 h 3004457"/>
                <a:gd name="connsiteX7" fmla="*/ 994463 w 2701062"/>
                <a:gd name="connsiteY7" fmla="*/ 539369 h 3004457"/>
                <a:gd name="connsiteX8" fmla="*/ 1011318 w 2701062"/>
                <a:gd name="connsiteY8" fmla="*/ 484590 h 3004457"/>
                <a:gd name="connsiteX9" fmla="*/ 1057670 w 2701062"/>
                <a:gd name="connsiteY9" fmla="*/ 476162 h 3004457"/>
                <a:gd name="connsiteX10" fmla="*/ 1053456 w 2701062"/>
                <a:gd name="connsiteY10" fmla="*/ 539369 h 3004457"/>
                <a:gd name="connsiteX11" fmla="*/ 1040815 w 2701062"/>
                <a:gd name="connsiteY11" fmla="*/ 573080 h 3004457"/>
                <a:gd name="connsiteX12" fmla="*/ 1049242 w 2701062"/>
                <a:gd name="connsiteY12" fmla="*/ 598363 h 3004457"/>
                <a:gd name="connsiteX13" fmla="*/ 986035 w 2701062"/>
                <a:gd name="connsiteY13" fmla="*/ 615218 h 3004457"/>
                <a:gd name="connsiteX14" fmla="*/ 1011318 w 2701062"/>
                <a:gd name="connsiteY14" fmla="*/ 750061 h 3004457"/>
                <a:gd name="connsiteX15" fmla="*/ 1049242 w 2701062"/>
                <a:gd name="connsiteY15" fmla="*/ 745847 h 3004457"/>
                <a:gd name="connsiteX16" fmla="*/ 1040815 w 2701062"/>
                <a:gd name="connsiteY16" fmla="*/ 809054 h 3004457"/>
                <a:gd name="connsiteX17" fmla="*/ 981821 w 2701062"/>
                <a:gd name="connsiteY17" fmla="*/ 842765 h 3004457"/>
                <a:gd name="connsiteX18" fmla="*/ 931255 w 2701062"/>
                <a:gd name="connsiteY18" fmla="*/ 842765 h 3004457"/>
                <a:gd name="connsiteX19" fmla="*/ 897545 w 2701062"/>
                <a:gd name="connsiteY19" fmla="*/ 905972 h 3004457"/>
                <a:gd name="connsiteX20" fmla="*/ 901758 w 2701062"/>
                <a:gd name="connsiteY20" fmla="*/ 935469 h 3004457"/>
                <a:gd name="connsiteX21" fmla="*/ 948110 w 2701062"/>
                <a:gd name="connsiteY21" fmla="*/ 943896 h 3004457"/>
                <a:gd name="connsiteX22" fmla="*/ 931255 w 2701062"/>
                <a:gd name="connsiteY22" fmla="*/ 981821 h 3004457"/>
                <a:gd name="connsiteX23" fmla="*/ 952324 w 2701062"/>
                <a:gd name="connsiteY23" fmla="*/ 990249 h 3004457"/>
                <a:gd name="connsiteX24" fmla="*/ 1015532 w 2701062"/>
                <a:gd name="connsiteY24" fmla="*/ 994462 h 3004457"/>
                <a:gd name="connsiteX25" fmla="*/ 1040815 w 2701062"/>
                <a:gd name="connsiteY25" fmla="*/ 1032387 h 3004457"/>
                <a:gd name="connsiteX26" fmla="*/ 1036601 w 2701062"/>
                <a:gd name="connsiteY26" fmla="*/ 1070311 h 3004457"/>
                <a:gd name="connsiteX27" fmla="*/ 1104022 w 2701062"/>
                <a:gd name="connsiteY27" fmla="*/ 1171443 h 3004457"/>
                <a:gd name="connsiteX28" fmla="*/ 1053456 w 2701062"/>
                <a:gd name="connsiteY28" fmla="*/ 1196726 h 3004457"/>
                <a:gd name="connsiteX29" fmla="*/ 998676 w 2701062"/>
                <a:gd name="connsiteY29" fmla="*/ 1192512 h 3004457"/>
                <a:gd name="connsiteX30" fmla="*/ 964966 w 2701062"/>
                <a:gd name="connsiteY30" fmla="*/ 1272575 h 3004457"/>
                <a:gd name="connsiteX31" fmla="*/ 1015532 w 2701062"/>
                <a:gd name="connsiteY31" fmla="*/ 1314713 h 3004457"/>
                <a:gd name="connsiteX32" fmla="*/ 994463 w 2701062"/>
                <a:gd name="connsiteY32" fmla="*/ 1411631 h 3004457"/>
                <a:gd name="connsiteX33" fmla="*/ 1019746 w 2701062"/>
                <a:gd name="connsiteY33" fmla="*/ 1445342 h 3004457"/>
                <a:gd name="connsiteX34" fmla="*/ 990249 w 2701062"/>
                <a:gd name="connsiteY34" fmla="*/ 1479052 h 3004457"/>
                <a:gd name="connsiteX35" fmla="*/ 948110 w 2701062"/>
                <a:gd name="connsiteY35" fmla="*/ 1479052 h 3004457"/>
                <a:gd name="connsiteX36" fmla="*/ 939683 w 2701062"/>
                <a:gd name="connsiteY36" fmla="*/ 1516977 h 3004457"/>
                <a:gd name="connsiteX37" fmla="*/ 994463 w 2701062"/>
                <a:gd name="connsiteY37" fmla="*/ 1563329 h 3004457"/>
                <a:gd name="connsiteX38" fmla="*/ 981821 w 2701062"/>
                <a:gd name="connsiteY38" fmla="*/ 1744523 h 3004457"/>
                <a:gd name="connsiteX39" fmla="*/ 1015532 w 2701062"/>
                <a:gd name="connsiteY39" fmla="*/ 1824586 h 3004457"/>
                <a:gd name="connsiteX40" fmla="*/ 1049242 w 2701062"/>
                <a:gd name="connsiteY40" fmla="*/ 1824586 h 3004457"/>
                <a:gd name="connsiteX41" fmla="*/ 1129305 w 2701062"/>
                <a:gd name="connsiteY41" fmla="*/ 1892007 h 3004457"/>
                <a:gd name="connsiteX42" fmla="*/ 1125091 w 2701062"/>
                <a:gd name="connsiteY42" fmla="*/ 2022636 h 3004457"/>
                <a:gd name="connsiteX43" fmla="*/ 1087167 w 2701062"/>
                <a:gd name="connsiteY43" fmla="*/ 2085843 h 3004457"/>
                <a:gd name="connsiteX44" fmla="*/ 1015532 w 2701062"/>
                <a:gd name="connsiteY44" fmla="*/ 2153264 h 3004457"/>
                <a:gd name="connsiteX45" fmla="*/ 1007104 w 2701062"/>
                <a:gd name="connsiteY45" fmla="*/ 2241755 h 3004457"/>
                <a:gd name="connsiteX46" fmla="*/ 922828 w 2701062"/>
                <a:gd name="connsiteY46" fmla="*/ 2254396 h 3004457"/>
                <a:gd name="connsiteX47" fmla="*/ 868048 w 2701062"/>
                <a:gd name="connsiteY47" fmla="*/ 2258610 h 3004457"/>
                <a:gd name="connsiteX48" fmla="*/ 830123 w 2701062"/>
                <a:gd name="connsiteY48" fmla="*/ 2220685 h 3004457"/>
                <a:gd name="connsiteX49" fmla="*/ 577294 w 2701062"/>
                <a:gd name="connsiteY49" fmla="*/ 2241755 h 3004457"/>
                <a:gd name="connsiteX50" fmla="*/ 568866 w 2701062"/>
                <a:gd name="connsiteY50" fmla="*/ 2347100 h 3004457"/>
                <a:gd name="connsiteX51" fmla="*/ 514087 w 2701062"/>
                <a:gd name="connsiteY51" fmla="*/ 2380811 h 3004457"/>
                <a:gd name="connsiteX52" fmla="*/ 484590 w 2701062"/>
                <a:gd name="connsiteY52" fmla="*/ 2347100 h 3004457"/>
                <a:gd name="connsiteX53" fmla="*/ 446665 w 2701062"/>
                <a:gd name="connsiteY53" fmla="*/ 2372383 h 3004457"/>
                <a:gd name="connsiteX54" fmla="*/ 434024 w 2701062"/>
                <a:gd name="connsiteY54" fmla="*/ 2490370 h 3004457"/>
                <a:gd name="connsiteX55" fmla="*/ 328678 w 2701062"/>
                <a:gd name="connsiteY55" fmla="*/ 2616785 h 3004457"/>
                <a:gd name="connsiteX56" fmla="*/ 273899 w 2701062"/>
                <a:gd name="connsiteY56" fmla="*/ 2629426 h 3004457"/>
                <a:gd name="connsiteX57" fmla="*/ 252829 w 2701062"/>
                <a:gd name="connsiteY57" fmla="*/ 2679992 h 3004457"/>
                <a:gd name="connsiteX58" fmla="*/ 202263 w 2701062"/>
                <a:gd name="connsiteY58" fmla="*/ 2760055 h 3004457"/>
                <a:gd name="connsiteX59" fmla="*/ 164339 w 2701062"/>
                <a:gd name="connsiteY59" fmla="*/ 2789552 h 3004457"/>
                <a:gd name="connsiteX60" fmla="*/ 75849 w 2701062"/>
                <a:gd name="connsiteY60" fmla="*/ 2819049 h 3004457"/>
                <a:gd name="connsiteX61" fmla="*/ 12641 w 2701062"/>
                <a:gd name="connsiteY61" fmla="*/ 2852759 h 3004457"/>
                <a:gd name="connsiteX62" fmla="*/ 0 w 2701062"/>
                <a:gd name="connsiteY62" fmla="*/ 2932822 h 3004457"/>
                <a:gd name="connsiteX63" fmla="*/ 63207 w 2701062"/>
                <a:gd name="connsiteY63" fmla="*/ 2928608 h 3004457"/>
                <a:gd name="connsiteX64" fmla="*/ 96918 w 2701062"/>
                <a:gd name="connsiteY64" fmla="*/ 2882256 h 3004457"/>
                <a:gd name="connsiteX65" fmla="*/ 155911 w 2701062"/>
                <a:gd name="connsiteY65" fmla="*/ 2924394 h 3004457"/>
                <a:gd name="connsiteX66" fmla="*/ 164339 w 2701062"/>
                <a:gd name="connsiteY66" fmla="*/ 3004457 h 3004457"/>
                <a:gd name="connsiteX67" fmla="*/ 265471 w 2701062"/>
                <a:gd name="connsiteY67" fmla="*/ 2953891 h 3004457"/>
                <a:gd name="connsiteX68" fmla="*/ 252829 w 2701062"/>
                <a:gd name="connsiteY68" fmla="*/ 2894897 h 3004457"/>
                <a:gd name="connsiteX69" fmla="*/ 307609 w 2701062"/>
                <a:gd name="connsiteY69" fmla="*/ 2852759 h 3004457"/>
                <a:gd name="connsiteX70" fmla="*/ 345534 w 2701062"/>
                <a:gd name="connsiteY70" fmla="*/ 2814835 h 3004457"/>
                <a:gd name="connsiteX71" fmla="*/ 375030 w 2701062"/>
                <a:gd name="connsiteY71" fmla="*/ 2772696 h 3004457"/>
                <a:gd name="connsiteX72" fmla="*/ 497231 w 2701062"/>
                <a:gd name="connsiteY72" fmla="*/ 2781124 h 3004457"/>
                <a:gd name="connsiteX73" fmla="*/ 497231 w 2701062"/>
                <a:gd name="connsiteY73" fmla="*/ 2781124 h 3004457"/>
                <a:gd name="connsiteX74" fmla="*/ 568866 w 2701062"/>
                <a:gd name="connsiteY74" fmla="*/ 2814835 h 3004457"/>
                <a:gd name="connsiteX75" fmla="*/ 589935 w 2701062"/>
                <a:gd name="connsiteY75" fmla="*/ 2793766 h 3004457"/>
                <a:gd name="connsiteX76" fmla="*/ 648929 w 2701062"/>
                <a:gd name="connsiteY76" fmla="*/ 2823262 h 3004457"/>
                <a:gd name="connsiteX77" fmla="*/ 674212 w 2701062"/>
                <a:gd name="connsiteY77" fmla="*/ 2819049 h 3004457"/>
                <a:gd name="connsiteX78" fmla="*/ 720564 w 2701062"/>
                <a:gd name="connsiteY78" fmla="*/ 2882256 h 3004457"/>
                <a:gd name="connsiteX79" fmla="*/ 754275 w 2701062"/>
                <a:gd name="connsiteY79" fmla="*/ 2873828 h 3004457"/>
                <a:gd name="connsiteX80" fmla="*/ 804840 w 2701062"/>
                <a:gd name="connsiteY80" fmla="*/ 2797979 h 3004457"/>
                <a:gd name="connsiteX81" fmla="*/ 842765 w 2701062"/>
                <a:gd name="connsiteY81" fmla="*/ 2764269 h 3004457"/>
                <a:gd name="connsiteX82" fmla="*/ 830123 w 2701062"/>
                <a:gd name="connsiteY82" fmla="*/ 2709489 h 3004457"/>
                <a:gd name="connsiteX83" fmla="*/ 859620 w 2701062"/>
                <a:gd name="connsiteY83" fmla="*/ 2654709 h 3004457"/>
                <a:gd name="connsiteX84" fmla="*/ 918614 w 2701062"/>
                <a:gd name="connsiteY84" fmla="*/ 2604144 h 3004457"/>
                <a:gd name="connsiteX85" fmla="*/ 1011318 w 2701062"/>
                <a:gd name="connsiteY85" fmla="*/ 2587288 h 3004457"/>
                <a:gd name="connsiteX86" fmla="*/ 1078739 w 2701062"/>
                <a:gd name="connsiteY86" fmla="*/ 2574647 h 3004457"/>
                <a:gd name="connsiteX87" fmla="*/ 1163016 w 2701062"/>
                <a:gd name="connsiteY87" fmla="*/ 2646282 h 3004457"/>
                <a:gd name="connsiteX88" fmla="*/ 1222009 w 2701062"/>
                <a:gd name="connsiteY88" fmla="*/ 2679992 h 3004457"/>
                <a:gd name="connsiteX89" fmla="*/ 1226223 w 2701062"/>
                <a:gd name="connsiteY89" fmla="*/ 2633640 h 3004457"/>
                <a:gd name="connsiteX90" fmla="*/ 1243078 w 2701062"/>
                <a:gd name="connsiteY90" fmla="*/ 2625213 h 3004457"/>
                <a:gd name="connsiteX91" fmla="*/ 1344210 w 2701062"/>
                <a:gd name="connsiteY91" fmla="*/ 2646282 h 3004457"/>
                <a:gd name="connsiteX92" fmla="*/ 1398990 w 2701062"/>
                <a:gd name="connsiteY92" fmla="*/ 2654709 h 3004457"/>
                <a:gd name="connsiteX93" fmla="*/ 1436914 w 2701062"/>
                <a:gd name="connsiteY93" fmla="*/ 2583074 h 3004457"/>
                <a:gd name="connsiteX94" fmla="*/ 1495908 w 2701062"/>
                <a:gd name="connsiteY94" fmla="*/ 2574647 h 3004457"/>
                <a:gd name="connsiteX95" fmla="*/ 1597040 w 2701062"/>
                <a:gd name="connsiteY95" fmla="*/ 2629426 h 3004457"/>
                <a:gd name="connsiteX96" fmla="*/ 1656033 w 2701062"/>
                <a:gd name="connsiteY96" fmla="*/ 2650496 h 3004457"/>
                <a:gd name="connsiteX97" fmla="*/ 1719240 w 2701062"/>
                <a:gd name="connsiteY97" fmla="*/ 2591502 h 3004457"/>
                <a:gd name="connsiteX98" fmla="*/ 1715027 w 2701062"/>
                <a:gd name="connsiteY98" fmla="*/ 2519867 h 3004457"/>
                <a:gd name="connsiteX99" fmla="*/ 1833014 w 2701062"/>
                <a:gd name="connsiteY99" fmla="*/ 2570433 h 3004457"/>
                <a:gd name="connsiteX100" fmla="*/ 1862510 w 2701062"/>
                <a:gd name="connsiteY100" fmla="*/ 2519867 h 3004457"/>
                <a:gd name="connsiteX101" fmla="*/ 2018422 w 2701062"/>
                <a:gd name="connsiteY101" fmla="*/ 2498798 h 3004457"/>
                <a:gd name="connsiteX102" fmla="*/ 2186975 w 2701062"/>
                <a:gd name="connsiteY102" fmla="*/ 2557791 h 3004457"/>
                <a:gd name="connsiteX103" fmla="*/ 2254396 w 2701062"/>
                <a:gd name="connsiteY103" fmla="*/ 2473515 h 3004457"/>
                <a:gd name="connsiteX104" fmla="*/ 2338673 w 2701062"/>
                <a:gd name="connsiteY104" fmla="*/ 2473515 h 3004457"/>
                <a:gd name="connsiteX105" fmla="*/ 2380811 w 2701062"/>
                <a:gd name="connsiteY105" fmla="*/ 2418735 h 3004457"/>
                <a:gd name="connsiteX106" fmla="*/ 2456660 w 2701062"/>
                <a:gd name="connsiteY106" fmla="*/ 2422949 h 3004457"/>
                <a:gd name="connsiteX107" fmla="*/ 2469301 w 2701062"/>
                <a:gd name="connsiteY107" fmla="*/ 2342886 h 3004457"/>
                <a:gd name="connsiteX108" fmla="*/ 2595716 w 2701062"/>
                <a:gd name="connsiteY108" fmla="*/ 2275465 h 3004457"/>
                <a:gd name="connsiteX109" fmla="*/ 2595716 w 2701062"/>
                <a:gd name="connsiteY109" fmla="*/ 2174333 h 3004457"/>
                <a:gd name="connsiteX110" fmla="*/ 2616785 w 2701062"/>
                <a:gd name="connsiteY110" fmla="*/ 2136409 h 3004457"/>
                <a:gd name="connsiteX111" fmla="*/ 2591502 w 2701062"/>
                <a:gd name="connsiteY111" fmla="*/ 2111126 h 3004457"/>
                <a:gd name="connsiteX112" fmla="*/ 2515653 w 2701062"/>
                <a:gd name="connsiteY112" fmla="*/ 2111126 h 3004457"/>
                <a:gd name="connsiteX113" fmla="*/ 2460874 w 2701062"/>
                <a:gd name="connsiteY113" fmla="*/ 2123767 h 3004457"/>
                <a:gd name="connsiteX114" fmla="*/ 2435591 w 2701062"/>
                <a:gd name="connsiteY114" fmla="*/ 2136409 h 3004457"/>
                <a:gd name="connsiteX115" fmla="*/ 2397666 w 2701062"/>
                <a:gd name="connsiteY115" fmla="*/ 2085843 h 3004457"/>
                <a:gd name="connsiteX116" fmla="*/ 2347100 w 2701062"/>
                <a:gd name="connsiteY116" fmla="*/ 2060560 h 3004457"/>
                <a:gd name="connsiteX117" fmla="*/ 2410308 w 2701062"/>
                <a:gd name="connsiteY117" fmla="*/ 2022636 h 3004457"/>
                <a:gd name="connsiteX118" fmla="*/ 2439804 w 2701062"/>
                <a:gd name="connsiteY118" fmla="*/ 1875152 h 3004457"/>
                <a:gd name="connsiteX119" fmla="*/ 2481943 w 2701062"/>
                <a:gd name="connsiteY119" fmla="*/ 1908862 h 3004457"/>
                <a:gd name="connsiteX120" fmla="*/ 2532509 w 2701062"/>
                <a:gd name="connsiteY120" fmla="*/ 1837227 h 3004457"/>
                <a:gd name="connsiteX121" fmla="*/ 2545150 w 2701062"/>
                <a:gd name="connsiteY121" fmla="*/ 1799303 h 3004457"/>
                <a:gd name="connsiteX122" fmla="*/ 2633640 w 2701062"/>
                <a:gd name="connsiteY122" fmla="*/ 1685530 h 3004457"/>
                <a:gd name="connsiteX123" fmla="*/ 2650496 w 2701062"/>
                <a:gd name="connsiteY123" fmla="*/ 1592826 h 3004457"/>
                <a:gd name="connsiteX124" fmla="*/ 2696848 w 2701062"/>
                <a:gd name="connsiteY124" fmla="*/ 1516977 h 3004457"/>
                <a:gd name="connsiteX125" fmla="*/ 2701062 w 2701062"/>
                <a:gd name="connsiteY125" fmla="*/ 1310499 h 3004457"/>
                <a:gd name="connsiteX126" fmla="*/ 2503012 w 2701062"/>
                <a:gd name="connsiteY126" fmla="*/ 1175657 h 3004457"/>
                <a:gd name="connsiteX127" fmla="*/ 2237541 w 2701062"/>
                <a:gd name="connsiteY127" fmla="*/ 1146160 h 3004457"/>
                <a:gd name="connsiteX128" fmla="*/ 2161692 w 2701062"/>
                <a:gd name="connsiteY128" fmla="*/ 1234650 h 3004457"/>
                <a:gd name="connsiteX129" fmla="*/ 2123768 w 2701062"/>
                <a:gd name="connsiteY129" fmla="*/ 1226223 h 3004457"/>
                <a:gd name="connsiteX130" fmla="*/ 2111126 w 2701062"/>
                <a:gd name="connsiteY130" fmla="*/ 1175657 h 3004457"/>
                <a:gd name="connsiteX131" fmla="*/ 2203830 w 2701062"/>
                <a:gd name="connsiteY131" fmla="*/ 1078739 h 3004457"/>
                <a:gd name="connsiteX132" fmla="*/ 2178547 w 2701062"/>
                <a:gd name="connsiteY132" fmla="*/ 939683 h 3004457"/>
                <a:gd name="connsiteX133" fmla="*/ 2090057 w 2701062"/>
                <a:gd name="connsiteY133" fmla="*/ 846979 h 3004457"/>
                <a:gd name="connsiteX134" fmla="*/ 2056346 w 2701062"/>
                <a:gd name="connsiteY134" fmla="*/ 817482 h 3004457"/>
                <a:gd name="connsiteX135" fmla="*/ 2127981 w 2701062"/>
                <a:gd name="connsiteY135" fmla="*/ 804840 h 3004457"/>
                <a:gd name="connsiteX136" fmla="*/ 2127981 w 2701062"/>
                <a:gd name="connsiteY136" fmla="*/ 771130 h 3004457"/>
                <a:gd name="connsiteX137" fmla="*/ 2031063 w 2701062"/>
                <a:gd name="connsiteY137" fmla="*/ 644715 h 3004457"/>
                <a:gd name="connsiteX138" fmla="*/ 2022636 w 2701062"/>
                <a:gd name="connsiteY138" fmla="*/ 560438 h 3004457"/>
                <a:gd name="connsiteX139" fmla="*/ 2056346 w 2701062"/>
                <a:gd name="connsiteY139" fmla="*/ 497231 h 3004457"/>
                <a:gd name="connsiteX140" fmla="*/ 2039491 w 2701062"/>
                <a:gd name="connsiteY140" fmla="*/ 463520 h 3004457"/>
                <a:gd name="connsiteX141" fmla="*/ 1967856 w 2701062"/>
                <a:gd name="connsiteY141" fmla="*/ 442451 h 3004457"/>
                <a:gd name="connsiteX142" fmla="*/ 1929932 w 2701062"/>
                <a:gd name="connsiteY142" fmla="*/ 383458 h 3004457"/>
                <a:gd name="connsiteX143" fmla="*/ 1934146 w 2701062"/>
                <a:gd name="connsiteY143" fmla="*/ 324464 h 3004457"/>
                <a:gd name="connsiteX144" fmla="*/ 1727668 w 2701062"/>
                <a:gd name="connsiteY144" fmla="*/ 206477 h 3004457"/>
                <a:gd name="connsiteX145" fmla="*/ 1664461 w 2701062"/>
                <a:gd name="connsiteY145" fmla="*/ 147484 h 3004457"/>
                <a:gd name="connsiteX146" fmla="*/ 1630750 w 2701062"/>
                <a:gd name="connsiteY146" fmla="*/ 117987 h 3004457"/>
                <a:gd name="connsiteX0" fmla="*/ 927041 w 2701062"/>
                <a:gd name="connsiteY0" fmla="*/ 172767 h 3177224"/>
                <a:gd name="connsiteX1" fmla="*/ 876475 w 2701062"/>
                <a:gd name="connsiteY1" fmla="*/ 252829 h 3177224"/>
                <a:gd name="connsiteX2" fmla="*/ 804840 w 2701062"/>
                <a:gd name="connsiteY2" fmla="*/ 324464 h 3177224"/>
                <a:gd name="connsiteX3" fmla="*/ 813268 w 2701062"/>
                <a:gd name="connsiteY3" fmla="*/ 455093 h 3177224"/>
                <a:gd name="connsiteX4" fmla="*/ 897545 w 2701062"/>
                <a:gd name="connsiteY4" fmla="*/ 623646 h 3177224"/>
                <a:gd name="connsiteX5" fmla="*/ 943897 w 2701062"/>
                <a:gd name="connsiteY5" fmla="*/ 707922 h 3177224"/>
                <a:gd name="connsiteX6" fmla="*/ 964966 w 2701062"/>
                <a:gd name="connsiteY6" fmla="*/ 737419 h 3177224"/>
                <a:gd name="connsiteX7" fmla="*/ 994463 w 2701062"/>
                <a:gd name="connsiteY7" fmla="*/ 712136 h 3177224"/>
                <a:gd name="connsiteX8" fmla="*/ 1011318 w 2701062"/>
                <a:gd name="connsiteY8" fmla="*/ 657357 h 3177224"/>
                <a:gd name="connsiteX9" fmla="*/ 1057670 w 2701062"/>
                <a:gd name="connsiteY9" fmla="*/ 648929 h 3177224"/>
                <a:gd name="connsiteX10" fmla="*/ 1053456 w 2701062"/>
                <a:gd name="connsiteY10" fmla="*/ 712136 h 3177224"/>
                <a:gd name="connsiteX11" fmla="*/ 1040815 w 2701062"/>
                <a:gd name="connsiteY11" fmla="*/ 745847 h 3177224"/>
                <a:gd name="connsiteX12" fmla="*/ 1049242 w 2701062"/>
                <a:gd name="connsiteY12" fmla="*/ 771130 h 3177224"/>
                <a:gd name="connsiteX13" fmla="*/ 986035 w 2701062"/>
                <a:gd name="connsiteY13" fmla="*/ 787985 h 3177224"/>
                <a:gd name="connsiteX14" fmla="*/ 1011318 w 2701062"/>
                <a:gd name="connsiteY14" fmla="*/ 922828 h 3177224"/>
                <a:gd name="connsiteX15" fmla="*/ 1049242 w 2701062"/>
                <a:gd name="connsiteY15" fmla="*/ 918614 h 3177224"/>
                <a:gd name="connsiteX16" fmla="*/ 1040815 w 2701062"/>
                <a:gd name="connsiteY16" fmla="*/ 981821 h 3177224"/>
                <a:gd name="connsiteX17" fmla="*/ 981821 w 2701062"/>
                <a:gd name="connsiteY17" fmla="*/ 1015532 h 3177224"/>
                <a:gd name="connsiteX18" fmla="*/ 931255 w 2701062"/>
                <a:gd name="connsiteY18" fmla="*/ 1015532 h 3177224"/>
                <a:gd name="connsiteX19" fmla="*/ 897545 w 2701062"/>
                <a:gd name="connsiteY19" fmla="*/ 1078739 h 3177224"/>
                <a:gd name="connsiteX20" fmla="*/ 901758 w 2701062"/>
                <a:gd name="connsiteY20" fmla="*/ 1108236 h 3177224"/>
                <a:gd name="connsiteX21" fmla="*/ 948110 w 2701062"/>
                <a:gd name="connsiteY21" fmla="*/ 1116663 h 3177224"/>
                <a:gd name="connsiteX22" fmla="*/ 931255 w 2701062"/>
                <a:gd name="connsiteY22" fmla="*/ 1154588 h 3177224"/>
                <a:gd name="connsiteX23" fmla="*/ 952324 w 2701062"/>
                <a:gd name="connsiteY23" fmla="*/ 1163016 h 3177224"/>
                <a:gd name="connsiteX24" fmla="*/ 1015532 w 2701062"/>
                <a:gd name="connsiteY24" fmla="*/ 1167229 h 3177224"/>
                <a:gd name="connsiteX25" fmla="*/ 1040815 w 2701062"/>
                <a:gd name="connsiteY25" fmla="*/ 1205154 h 3177224"/>
                <a:gd name="connsiteX26" fmla="*/ 1036601 w 2701062"/>
                <a:gd name="connsiteY26" fmla="*/ 1243078 h 3177224"/>
                <a:gd name="connsiteX27" fmla="*/ 1104022 w 2701062"/>
                <a:gd name="connsiteY27" fmla="*/ 1344210 h 3177224"/>
                <a:gd name="connsiteX28" fmla="*/ 1053456 w 2701062"/>
                <a:gd name="connsiteY28" fmla="*/ 1369493 h 3177224"/>
                <a:gd name="connsiteX29" fmla="*/ 998676 w 2701062"/>
                <a:gd name="connsiteY29" fmla="*/ 1365279 h 3177224"/>
                <a:gd name="connsiteX30" fmla="*/ 964966 w 2701062"/>
                <a:gd name="connsiteY30" fmla="*/ 1445342 h 3177224"/>
                <a:gd name="connsiteX31" fmla="*/ 1015532 w 2701062"/>
                <a:gd name="connsiteY31" fmla="*/ 1487480 h 3177224"/>
                <a:gd name="connsiteX32" fmla="*/ 994463 w 2701062"/>
                <a:gd name="connsiteY32" fmla="*/ 1584398 h 3177224"/>
                <a:gd name="connsiteX33" fmla="*/ 1019746 w 2701062"/>
                <a:gd name="connsiteY33" fmla="*/ 1618109 h 3177224"/>
                <a:gd name="connsiteX34" fmla="*/ 990249 w 2701062"/>
                <a:gd name="connsiteY34" fmla="*/ 1651819 h 3177224"/>
                <a:gd name="connsiteX35" fmla="*/ 948110 w 2701062"/>
                <a:gd name="connsiteY35" fmla="*/ 1651819 h 3177224"/>
                <a:gd name="connsiteX36" fmla="*/ 939683 w 2701062"/>
                <a:gd name="connsiteY36" fmla="*/ 1689744 h 3177224"/>
                <a:gd name="connsiteX37" fmla="*/ 994463 w 2701062"/>
                <a:gd name="connsiteY37" fmla="*/ 1736096 h 3177224"/>
                <a:gd name="connsiteX38" fmla="*/ 981821 w 2701062"/>
                <a:gd name="connsiteY38" fmla="*/ 1917290 h 3177224"/>
                <a:gd name="connsiteX39" fmla="*/ 1015532 w 2701062"/>
                <a:gd name="connsiteY39" fmla="*/ 1997353 h 3177224"/>
                <a:gd name="connsiteX40" fmla="*/ 1049242 w 2701062"/>
                <a:gd name="connsiteY40" fmla="*/ 1997353 h 3177224"/>
                <a:gd name="connsiteX41" fmla="*/ 1129305 w 2701062"/>
                <a:gd name="connsiteY41" fmla="*/ 2064774 h 3177224"/>
                <a:gd name="connsiteX42" fmla="*/ 1125091 w 2701062"/>
                <a:gd name="connsiteY42" fmla="*/ 2195403 h 3177224"/>
                <a:gd name="connsiteX43" fmla="*/ 1087167 w 2701062"/>
                <a:gd name="connsiteY43" fmla="*/ 2258610 h 3177224"/>
                <a:gd name="connsiteX44" fmla="*/ 1015532 w 2701062"/>
                <a:gd name="connsiteY44" fmla="*/ 2326031 h 3177224"/>
                <a:gd name="connsiteX45" fmla="*/ 1007104 w 2701062"/>
                <a:gd name="connsiteY45" fmla="*/ 2414522 h 3177224"/>
                <a:gd name="connsiteX46" fmla="*/ 922828 w 2701062"/>
                <a:gd name="connsiteY46" fmla="*/ 2427163 h 3177224"/>
                <a:gd name="connsiteX47" fmla="*/ 868048 w 2701062"/>
                <a:gd name="connsiteY47" fmla="*/ 2431377 h 3177224"/>
                <a:gd name="connsiteX48" fmla="*/ 830123 w 2701062"/>
                <a:gd name="connsiteY48" fmla="*/ 2393452 h 3177224"/>
                <a:gd name="connsiteX49" fmla="*/ 577294 w 2701062"/>
                <a:gd name="connsiteY49" fmla="*/ 2414522 h 3177224"/>
                <a:gd name="connsiteX50" fmla="*/ 568866 w 2701062"/>
                <a:gd name="connsiteY50" fmla="*/ 2519867 h 3177224"/>
                <a:gd name="connsiteX51" fmla="*/ 514087 w 2701062"/>
                <a:gd name="connsiteY51" fmla="*/ 2553578 h 3177224"/>
                <a:gd name="connsiteX52" fmla="*/ 484590 w 2701062"/>
                <a:gd name="connsiteY52" fmla="*/ 2519867 h 3177224"/>
                <a:gd name="connsiteX53" fmla="*/ 446665 w 2701062"/>
                <a:gd name="connsiteY53" fmla="*/ 2545150 h 3177224"/>
                <a:gd name="connsiteX54" fmla="*/ 434024 w 2701062"/>
                <a:gd name="connsiteY54" fmla="*/ 2663137 h 3177224"/>
                <a:gd name="connsiteX55" fmla="*/ 328678 w 2701062"/>
                <a:gd name="connsiteY55" fmla="*/ 2789552 h 3177224"/>
                <a:gd name="connsiteX56" fmla="*/ 273899 w 2701062"/>
                <a:gd name="connsiteY56" fmla="*/ 2802193 h 3177224"/>
                <a:gd name="connsiteX57" fmla="*/ 252829 w 2701062"/>
                <a:gd name="connsiteY57" fmla="*/ 2852759 h 3177224"/>
                <a:gd name="connsiteX58" fmla="*/ 202263 w 2701062"/>
                <a:gd name="connsiteY58" fmla="*/ 2932822 h 3177224"/>
                <a:gd name="connsiteX59" fmla="*/ 164339 w 2701062"/>
                <a:gd name="connsiteY59" fmla="*/ 2962319 h 3177224"/>
                <a:gd name="connsiteX60" fmla="*/ 75849 w 2701062"/>
                <a:gd name="connsiteY60" fmla="*/ 2991816 h 3177224"/>
                <a:gd name="connsiteX61" fmla="*/ 12641 w 2701062"/>
                <a:gd name="connsiteY61" fmla="*/ 3025526 h 3177224"/>
                <a:gd name="connsiteX62" fmla="*/ 0 w 2701062"/>
                <a:gd name="connsiteY62" fmla="*/ 3105589 h 3177224"/>
                <a:gd name="connsiteX63" fmla="*/ 63207 w 2701062"/>
                <a:gd name="connsiteY63" fmla="*/ 3101375 h 3177224"/>
                <a:gd name="connsiteX64" fmla="*/ 96918 w 2701062"/>
                <a:gd name="connsiteY64" fmla="*/ 3055023 h 3177224"/>
                <a:gd name="connsiteX65" fmla="*/ 155911 w 2701062"/>
                <a:gd name="connsiteY65" fmla="*/ 3097161 h 3177224"/>
                <a:gd name="connsiteX66" fmla="*/ 164339 w 2701062"/>
                <a:gd name="connsiteY66" fmla="*/ 3177224 h 3177224"/>
                <a:gd name="connsiteX67" fmla="*/ 265471 w 2701062"/>
                <a:gd name="connsiteY67" fmla="*/ 3126658 h 3177224"/>
                <a:gd name="connsiteX68" fmla="*/ 252829 w 2701062"/>
                <a:gd name="connsiteY68" fmla="*/ 3067664 h 3177224"/>
                <a:gd name="connsiteX69" fmla="*/ 307609 w 2701062"/>
                <a:gd name="connsiteY69" fmla="*/ 3025526 h 3177224"/>
                <a:gd name="connsiteX70" fmla="*/ 345534 w 2701062"/>
                <a:gd name="connsiteY70" fmla="*/ 2987602 h 3177224"/>
                <a:gd name="connsiteX71" fmla="*/ 375030 w 2701062"/>
                <a:gd name="connsiteY71" fmla="*/ 2945463 h 3177224"/>
                <a:gd name="connsiteX72" fmla="*/ 497231 w 2701062"/>
                <a:gd name="connsiteY72" fmla="*/ 2953891 h 3177224"/>
                <a:gd name="connsiteX73" fmla="*/ 497231 w 2701062"/>
                <a:gd name="connsiteY73" fmla="*/ 2953891 h 3177224"/>
                <a:gd name="connsiteX74" fmla="*/ 568866 w 2701062"/>
                <a:gd name="connsiteY74" fmla="*/ 2987602 h 3177224"/>
                <a:gd name="connsiteX75" fmla="*/ 589935 w 2701062"/>
                <a:gd name="connsiteY75" fmla="*/ 2966533 h 3177224"/>
                <a:gd name="connsiteX76" fmla="*/ 648929 w 2701062"/>
                <a:gd name="connsiteY76" fmla="*/ 2996029 h 3177224"/>
                <a:gd name="connsiteX77" fmla="*/ 674212 w 2701062"/>
                <a:gd name="connsiteY77" fmla="*/ 2991816 h 3177224"/>
                <a:gd name="connsiteX78" fmla="*/ 720564 w 2701062"/>
                <a:gd name="connsiteY78" fmla="*/ 3055023 h 3177224"/>
                <a:gd name="connsiteX79" fmla="*/ 754275 w 2701062"/>
                <a:gd name="connsiteY79" fmla="*/ 3046595 h 3177224"/>
                <a:gd name="connsiteX80" fmla="*/ 804840 w 2701062"/>
                <a:gd name="connsiteY80" fmla="*/ 2970746 h 3177224"/>
                <a:gd name="connsiteX81" fmla="*/ 842765 w 2701062"/>
                <a:gd name="connsiteY81" fmla="*/ 2937036 h 3177224"/>
                <a:gd name="connsiteX82" fmla="*/ 830123 w 2701062"/>
                <a:gd name="connsiteY82" fmla="*/ 2882256 h 3177224"/>
                <a:gd name="connsiteX83" fmla="*/ 859620 w 2701062"/>
                <a:gd name="connsiteY83" fmla="*/ 2827476 h 3177224"/>
                <a:gd name="connsiteX84" fmla="*/ 918614 w 2701062"/>
                <a:gd name="connsiteY84" fmla="*/ 2776911 h 3177224"/>
                <a:gd name="connsiteX85" fmla="*/ 1011318 w 2701062"/>
                <a:gd name="connsiteY85" fmla="*/ 2760055 h 3177224"/>
                <a:gd name="connsiteX86" fmla="*/ 1078739 w 2701062"/>
                <a:gd name="connsiteY86" fmla="*/ 2747414 h 3177224"/>
                <a:gd name="connsiteX87" fmla="*/ 1163016 w 2701062"/>
                <a:gd name="connsiteY87" fmla="*/ 2819049 h 3177224"/>
                <a:gd name="connsiteX88" fmla="*/ 1222009 w 2701062"/>
                <a:gd name="connsiteY88" fmla="*/ 2852759 h 3177224"/>
                <a:gd name="connsiteX89" fmla="*/ 1226223 w 2701062"/>
                <a:gd name="connsiteY89" fmla="*/ 2806407 h 3177224"/>
                <a:gd name="connsiteX90" fmla="*/ 1243078 w 2701062"/>
                <a:gd name="connsiteY90" fmla="*/ 2797980 h 3177224"/>
                <a:gd name="connsiteX91" fmla="*/ 1344210 w 2701062"/>
                <a:gd name="connsiteY91" fmla="*/ 2819049 h 3177224"/>
                <a:gd name="connsiteX92" fmla="*/ 1398990 w 2701062"/>
                <a:gd name="connsiteY92" fmla="*/ 2827476 h 3177224"/>
                <a:gd name="connsiteX93" fmla="*/ 1436914 w 2701062"/>
                <a:gd name="connsiteY93" fmla="*/ 2755841 h 3177224"/>
                <a:gd name="connsiteX94" fmla="*/ 1495908 w 2701062"/>
                <a:gd name="connsiteY94" fmla="*/ 2747414 h 3177224"/>
                <a:gd name="connsiteX95" fmla="*/ 1597040 w 2701062"/>
                <a:gd name="connsiteY95" fmla="*/ 2802193 h 3177224"/>
                <a:gd name="connsiteX96" fmla="*/ 1656033 w 2701062"/>
                <a:gd name="connsiteY96" fmla="*/ 2823263 h 3177224"/>
                <a:gd name="connsiteX97" fmla="*/ 1719240 w 2701062"/>
                <a:gd name="connsiteY97" fmla="*/ 2764269 h 3177224"/>
                <a:gd name="connsiteX98" fmla="*/ 1715027 w 2701062"/>
                <a:gd name="connsiteY98" fmla="*/ 2692634 h 3177224"/>
                <a:gd name="connsiteX99" fmla="*/ 1833014 w 2701062"/>
                <a:gd name="connsiteY99" fmla="*/ 2743200 h 3177224"/>
                <a:gd name="connsiteX100" fmla="*/ 1862510 w 2701062"/>
                <a:gd name="connsiteY100" fmla="*/ 2692634 h 3177224"/>
                <a:gd name="connsiteX101" fmla="*/ 2018422 w 2701062"/>
                <a:gd name="connsiteY101" fmla="*/ 2671565 h 3177224"/>
                <a:gd name="connsiteX102" fmla="*/ 2186975 w 2701062"/>
                <a:gd name="connsiteY102" fmla="*/ 2730558 h 3177224"/>
                <a:gd name="connsiteX103" fmla="*/ 2254396 w 2701062"/>
                <a:gd name="connsiteY103" fmla="*/ 2646282 h 3177224"/>
                <a:gd name="connsiteX104" fmla="*/ 2338673 w 2701062"/>
                <a:gd name="connsiteY104" fmla="*/ 2646282 h 3177224"/>
                <a:gd name="connsiteX105" fmla="*/ 2380811 w 2701062"/>
                <a:gd name="connsiteY105" fmla="*/ 2591502 h 3177224"/>
                <a:gd name="connsiteX106" fmla="*/ 2456660 w 2701062"/>
                <a:gd name="connsiteY106" fmla="*/ 2595716 h 3177224"/>
                <a:gd name="connsiteX107" fmla="*/ 2469301 w 2701062"/>
                <a:gd name="connsiteY107" fmla="*/ 2515653 h 3177224"/>
                <a:gd name="connsiteX108" fmla="*/ 2595716 w 2701062"/>
                <a:gd name="connsiteY108" fmla="*/ 2448232 h 3177224"/>
                <a:gd name="connsiteX109" fmla="*/ 2595716 w 2701062"/>
                <a:gd name="connsiteY109" fmla="*/ 2347100 h 3177224"/>
                <a:gd name="connsiteX110" fmla="*/ 2616785 w 2701062"/>
                <a:gd name="connsiteY110" fmla="*/ 2309176 h 3177224"/>
                <a:gd name="connsiteX111" fmla="*/ 2591502 w 2701062"/>
                <a:gd name="connsiteY111" fmla="*/ 2283893 h 3177224"/>
                <a:gd name="connsiteX112" fmla="*/ 2515653 w 2701062"/>
                <a:gd name="connsiteY112" fmla="*/ 2283893 h 3177224"/>
                <a:gd name="connsiteX113" fmla="*/ 2460874 w 2701062"/>
                <a:gd name="connsiteY113" fmla="*/ 2296534 h 3177224"/>
                <a:gd name="connsiteX114" fmla="*/ 2435591 w 2701062"/>
                <a:gd name="connsiteY114" fmla="*/ 2309176 h 3177224"/>
                <a:gd name="connsiteX115" fmla="*/ 2397666 w 2701062"/>
                <a:gd name="connsiteY115" fmla="*/ 2258610 h 3177224"/>
                <a:gd name="connsiteX116" fmla="*/ 2347100 w 2701062"/>
                <a:gd name="connsiteY116" fmla="*/ 2233327 h 3177224"/>
                <a:gd name="connsiteX117" fmla="*/ 2410308 w 2701062"/>
                <a:gd name="connsiteY117" fmla="*/ 2195403 h 3177224"/>
                <a:gd name="connsiteX118" fmla="*/ 2439804 w 2701062"/>
                <a:gd name="connsiteY118" fmla="*/ 2047919 h 3177224"/>
                <a:gd name="connsiteX119" fmla="*/ 2481943 w 2701062"/>
                <a:gd name="connsiteY119" fmla="*/ 2081629 h 3177224"/>
                <a:gd name="connsiteX120" fmla="*/ 2532509 w 2701062"/>
                <a:gd name="connsiteY120" fmla="*/ 2009994 h 3177224"/>
                <a:gd name="connsiteX121" fmla="*/ 2545150 w 2701062"/>
                <a:gd name="connsiteY121" fmla="*/ 1972070 h 3177224"/>
                <a:gd name="connsiteX122" fmla="*/ 2633640 w 2701062"/>
                <a:gd name="connsiteY122" fmla="*/ 1858297 h 3177224"/>
                <a:gd name="connsiteX123" fmla="*/ 2650496 w 2701062"/>
                <a:gd name="connsiteY123" fmla="*/ 1765593 h 3177224"/>
                <a:gd name="connsiteX124" fmla="*/ 2696848 w 2701062"/>
                <a:gd name="connsiteY124" fmla="*/ 1689744 h 3177224"/>
                <a:gd name="connsiteX125" fmla="*/ 2701062 w 2701062"/>
                <a:gd name="connsiteY125" fmla="*/ 1483266 h 3177224"/>
                <a:gd name="connsiteX126" fmla="*/ 2503012 w 2701062"/>
                <a:gd name="connsiteY126" fmla="*/ 1348424 h 3177224"/>
                <a:gd name="connsiteX127" fmla="*/ 2237541 w 2701062"/>
                <a:gd name="connsiteY127" fmla="*/ 1318927 h 3177224"/>
                <a:gd name="connsiteX128" fmla="*/ 2161692 w 2701062"/>
                <a:gd name="connsiteY128" fmla="*/ 1407417 h 3177224"/>
                <a:gd name="connsiteX129" fmla="*/ 2123768 w 2701062"/>
                <a:gd name="connsiteY129" fmla="*/ 1398990 h 3177224"/>
                <a:gd name="connsiteX130" fmla="*/ 2111126 w 2701062"/>
                <a:gd name="connsiteY130" fmla="*/ 1348424 h 3177224"/>
                <a:gd name="connsiteX131" fmla="*/ 2203830 w 2701062"/>
                <a:gd name="connsiteY131" fmla="*/ 1251506 h 3177224"/>
                <a:gd name="connsiteX132" fmla="*/ 2178547 w 2701062"/>
                <a:gd name="connsiteY132" fmla="*/ 1112450 h 3177224"/>
                <a:gd name="connsiteX133" fmla="*/ 2090057 w 2701062"/>
                <a:gd name="connsiteY133" fmla="*/ 1019746 h 3177224"/>
                <a:gd name="connsiteX134" fmla="*/ 2056346 w 2701062"/>
                <a:gd name="connsiteY134" fmla="*/ 990249 h 3177224"/>
                <a:gd name="connsiteX135" fmla="*/ 2127981 w 2701062"/>
                <a:gd name="connsiteY135" fmla="*/ 977607 h 3177224"/>
                <a:gd name="connsiteX136" fmla="*/ 2127981 w 2701062"/>
                <a:gd name="connsiteY136" fmla="*/ 943897 h 3177224"/>
                <a:gd name="connsiteX137" fmla="*/ 2031063 w 2701062"/>
                <a:gd name="connsiteY137" fmla="*/ 817482 h 3177224"/>
                <a:gd name="connsiteX138" fmla="*/ 2022636 w 2701062"/>
                <a:gd name="connsiteY138" fmla="*/ 733205 h 3177224"/>
                <a:gd name="connsiteX139" fmla="*/ 2056346 w 2701062"/>
                <a:gd name="connsiteY139" fmla="*/ 669998 h 3177224"/>
                <a:gd name="connsiteX140" fmla="*/ 2039491 w 2701062"/>
                <a:gd name="connsiteY140" fmla="*/ 636287 h 3177224"/>
                <a:gd name="connsiteX141" fmla="*/ 1967856 w 2701062"/>
                <a:gd name="connsiteY141" fmla="*/ 615218 h 3177224"/>
                <a:gd name="connsiteX142" fmla="*/ 1929932 w 2701062"/>
                <a:gd name="connsiteY142" fmla="*/ 556225 h 3177224"/>
                <a:gd name="connsiteX143" fmla="*/ 1934146 w 2701062"/>
                <a:gd name="connsiteY143" fmla="*/ 497231 h 3177224"/>
                <a:gd name="connsiteX144" fmla="*/ 1727668 w 2701062"/>
                <a:gd name="connsiteY144" fmla="*/ 379244 h 3177224"/>
                <a:gd name="connsiteX145" fmla="*/ 1664461 w 2701062"/>
                <a:gd name="connsiteY145" fmla="*/ 320251 h 3177224"/>
                <a:gd name="connsiteX146" fmla="*/ 1563329 w 2701062"/>
                <a:gd name="connsiteY146" fmla="*/ 0 h 3177224"/>
                <a:gd name="connsiteX0" fmla="*/ 1356851 w 2701062"/>
                <a:gd name="connsiteY0" fmla="*/ 0 h 3564895"/>
                <a:gd name="connsiteX1" fmla="*/ 876475 w 2701062"/>
                <a:gd name="connsiteY1" fmla="*/ 640500 h 3564895"/>
                <a:gd name="connsiteX2" fmla="*/ 804840 w 2701062"/>
                <a:gd name="connsiteY2" fmla="*/ 712135 h 3564895"/>
                <a:gd name="connsiteX3" fmla="*/ 813268 w 2701062"/>
                <a:gd name="connsiteY3" fmla="*/ 842764 h 3564895"/>
                <a:gd name="connsiteX4" fmla="*/ 897545 w 2701062"/>
                <a:gd name="connsiteY4" fmla="*/ 1011317 h 3564895"/>
                <a:gd name="connsiteX5" fmla="*/ 943897 w 2701062"/>
                <a:gd name="connsiteY5" fmla="*/ 1095593 h 3564895"/>
                <a:gd name="connsiteX6" fmla="*/ 964966 w 2701062"/>
                <a:gd name="connsiteY6" fmla="*/ 1125090 h 3564895"/>
                <a:gd name="connsiteX7" fmla="*/ 994463 w 2701062"/>
                <a:gd name="connsiteY7" fmla="*/ 1099807 h 3564895"/>
                <a:gd name="connsiteX8" fmla="*/ 1011318 w 2701062"/>
                <a:gd name="connsiteY8" fmla="*/ 1045028 h 3564895"/>
                <a:gd name="connsiteX9" fmla="*/ 1057670 w 2701062"/>
                <a:gd name="connsiteY9" fmla="*/ 1036600 h 3564895"/>
                <a:gd name="connsiteX10" fmla="*/ 1053456 w 2701062"/>
                <a:gd name="connsiteY10" fmla="*/ 1099807 h 3564895"/>
                <a:gd name="connsiteX11" fmla="*/ 1040815 w 2701062"/>
                <a:gd name="connsiteY11" fmla="*/ 1133518 h 3564895"/>
                <a:gd name="connsiteX12" fmla="*/ 1049242 w 2701062"/>
                <a:gd name="connsiteY12" fmla="*/ 1158801 h 3564895"/>
                <a:gd name="connsiteX13" fmla="*/ 986035 w 2701062"/>
                <a:gd name="connsiteY13" fmla="*/ 1175656 h 3564895"/>
                <a:gd name="connsiteX14" fmla="*/ 1011318 w 2701062"/>
                <a:gd name="connsiteY14" fmla="*/ 1310499 h 3564895"/>
                <a:gd name="connsiteX15" fmla="*/ 1049242 w 2701062"/>
                <a:gd name="connsiteY15" fmla="*/ 1306285 h 3564895"/>
                <a:gd name="connsiteX16" fmla="*/ 1040815 w 2701062"/>
                <a:gd name="connsiteY16" fmla="*/ 1369492 h 3564895"/>
                <a:gd name="connsiteX17" fmla="*/ 981821 w 2701062"/>
                <a:gd name="connsiteY17" fmla="*/ 1403203 h 3564895"/>
                <a:gd name="connsiteX18" fmla="*/ 931255 w 2701062"/>
                <a:gd name="connsiteY18" fmla="*/ 1403203 h 3564895"/>
                <a:gd name="connsiteX19" fmla="*/ 897545 w 2701062"/>
                <a:gd name="connsiteY19" fmla="*/ 1466410 h 3564895"/>
                <a:gd name="connsiteX20" fmla="*/ 901758 w 2701062"/>
                <a:gd name="connsiteY20" fmla="*/ 1495907 h 3564895"/>
                <a:gd name="connsiteX21" fmla="*/ 948110 w 2701062"/>
                <a:gd name="connsiteY21" fmla="*/ 1504334 h 3564895"/>
                <a:gd name="connsiteX22" fmla="*/ 931255 w 2701062"/>
                <a:gd name="connsiteY22" fmla="*/ 1542259 h 3564895"/>
                <a:gd name="connsiteX23" fmla="*/ 952324 w 2701062"/>
                <a:gd name="connsiteY23" fmla="*/ 1550687 h 3564895"/>
                <a:gd name="connsiteX24" fmla="*/ 1015532 w 2701062"/>
                <a:gd name="connsiteY24" fmla="*/ 1554900 h 3564895"/>
                <a:gd name="connsiteX25" fmla="*/ 1040815 w 2701062"/>
                <a:gd name="connsiteY25" fmla="*/ 1592825 h 3564895"/>
                <a:gd name="connsiteX26" fmla="*/ 1036601 w 2701062"/>
                <a:gd name="connsiteY26" fmla="*/ 1630749 h 3564895"/>
                <a:gd name="connsiteX27" fmla="*/ 1104022 w 2701062"/>
                <a:gd name="connsiteY27" fmla="*/ 1731881 h 3564895"/>
                <a:gd name="connsiteX28" fmla="*/ 1053456 w 2701062"/>
                <a:gd name="connsiteY28" fmla="*/ 1757164 h 3564895"/>
                <a:gd name="connsiteX29" fmla="*/ 998676 w 2701062"/>
                <a:gd name="connsiteY29" fmla="*/ 1752950 h 3564895"/>
                <a:gd name="connsiteX30" fmla="*/ 964966 w 2701062"/>
                <a:gd name="connsiteY30" fmla="*/ 1833013 h 3564895"/>
                <a:gd name="connsiteX31" fmla="*/ 1015532 w 2701062"/>
                <a:gd name="connsiteY31" fmla="*/ 1875151 h 3564895"/>
                <a:gd name="connsiteX32" fmla="*/ 994463 w 2701062"/>
                <a:gd name="connsiteY32" fmla="*/ 1972069 h 3564895"/>
                <a:gd name="connsiteX33" fmla="*/ 1019746 w 2701062"/>
                <a:gd name="connsiteY33" fmla="*/ 2005780 h 3564895"/>
                <a:gd name="connsiteX34" fmla="*/ 990249 w 2701062"/>
                <a:gd name="connsiteY34" fmla="*/ 2039490 h 3564895"/>
                <a:gd name="connsiteX35" fmla="*/ 948110 w 2701062"/>
                <a:gd name="connsiteY35" fmla="*/ 2039490 h 3564895"/>
                <a:gd name="connsiteX36" fmla="*/ 939683 w 2701062"/>
                <a:gd name="connsiteY36" fmla="*/ 2077415 h 3564895"/>
                <a:gd name="connsiteX37" fmla="*/ 994463 w 2701062"/>
                <a:gd name="connsiteY37" fmla="*/ 2123767 h 3564895"/>
                <a:gd name="connsiteX38" fmla="*/ 981821 w 2701062"/>
                <a:gd name="connsiteY38" fmla="*/ 2304961 h 3564895"/>
                <a:gd name="connsiteX39" fmla="*/ 1015532 w 2701062"/>
                <a:gd name="connsiteY39" fmla="*/ 2385024 h 3564895"/>
                <a:gd name="connsiteX40" fmla="*/ 1049242 w 2701062"/>
                <a:gd name="connsiteY40" fmla="*/ 2385024 h 3564895"/>
                <a:gd name="connsiteX41" fmla="*/ 1129305 w 2701062"/>
                <a:gd name="connsiteY41" fmla="*/ 2452445 h 3564895"/>
                <a:gd name="connsiteX42" fmla="*/ 1125091 w 2701062"/>
                <a:gd name="connsiteY42" fmla="*/ 2583074 h 3564895"/>
                <a:gd name="connsiteX43" fmla="*/ 1087167 w 2701062"/>
                <a:gd name="connsiteY43" fmla="*/ 2646281 h 3564895"/>
                <a:gd name="connsiteX44" fmla="*/ 1015532 w 2701062"/>
                <a:gd name="connsiteY44" fmla="*/ 2713702 h 3564895"/>
                <a:gd name="connsiteX45" fmla="*/ 1007104 w 2701062"/>
                <a:gd name="connsiteY45" fmla="*/ 2802193 h 3564895"/>
                <a:gd name="connsiteX46" fmla="*/ 922828 w 2701062"/>
                <a:gd name="connsiteY46" fmla="*/ 2814834 h 3564895"/>
                <a:gd name="connsiteX47" fmla="*/ 868048 w 2701062"/>
                <a:gd name="connsiteY47" fmla="*/ 2819048 h 3564895"/>
                <a:gd name="connsiteX48" fmla="*/ 830123 w 2701062"/>
                <a:gd name="connsiteY48" fmla="*/ 2781123 h 3564895"/>
                <a:gd name="connsiteX49" fmla="*/ 577294 w 2701062"/>
                <a:gd name="connsiteY49" fmla="*/ 2802193 h 3564895"/>
                <a:gd name="connsiteX50" fmla="*/ 568866 w 2701062"/>
                <a:gd name="connsiteY50" fmla="*/ 2907538 h 3564895"/>
                <a:gd name="connsiteX51" fmla="*/ 514087 w 2701062"/>
                <a:gd name="connsiteY51" fmla="*/ 2941249 h 3564895"/>
                <a:gd name="connsiteX52" fmla="*/ 484590 w 2701062"/>
                <a:gd name="connsiteY52" fmla="*/ 2907538 h 3564895"/>
                <a:gd name="connsiteX53" fmla="*/ 446665 w 2701062"/>
                <a:gd name="connsiteY53" fmla="*/ 2932821 h 3564895"/>
                <a:gd name="connsiteX54" fmla="*/ 434024 w 2701062"/>
                <a:gd name="connsiteY54" fmla="*/ 3050808 h 3564895"/>
                <a:gd name="connsiteX55" fmla="*/ 328678 w 2701062"/>
                <a:gd name="connsiteY55" fmla="*/ 3177223 h 3564895"/>
                <a:gd name="connsiteX56" fmla="*/ 273899 w 2701062"/>
                <a:gd name="connsiteY56" fmla="*/ 3189864 h 3564895"/>
                <a:gd name="connsiteX57" fmla="*/ 252829 w 2701062"/>
                <a:gd name="connsiteY57" fmla="*/ 3240430 h 3564895"/>
                <a:gd name="connsiteX58" fmla="*/ 202263 w 2701062"/>
                <a:gd name="connsiteY58" fmla="*/ 3320493 h 3564895"/>
                <a:gd name="connsiteX59" fmla="*/ 164339 w 2701062"/>
                <a:gd name="connsiteY59" fmla="*/ 3349990 h 3564895"/>
                <a:gd name="connsiteX60" fmla="*/ 75849 w 2701062"/>
                <a:gd name="connsiteY60" fmla="*/ 3379487 h 3564895"/>
                <a:gd name="connsiteX61" fmla="*/ 12641 w 2701062"/>
                <a:gd name="connsiteY61" fmla="*/ 3413197 h 3564895"/>
                <a:gd name="connsiteX62" fmla="*/ 0 w 2701062"/>
                <a:gd name="connsiteY62" fmla="*/ 3493260 h 3564895"/>
                <a:gd name="connsiteX63" fmla="*/ 63207 w 2701062"/>
                <a:gd name="connsiteY63" fmla="*/ 3489046 h 3564895"/>
                <a:gd name="connsiteX64" fmla="*/ 96918 w 2701062"/>
                <a:gd name="connsiteY64" fmla="*/ 3442694 h 3564895"/>
                <a:gd name="connsiteX65" fmla="*/ 155911 w 2701062"/>
                <a:gd name="connsiteY65" fmla="*/ 3484832 h 3564895"/>
                <a:gd name="connsiteX66" fmla="*/ 164339 w 2701062"/>
                <a:gd name="connsiteY66" fmla="*/ 3564895 h 3564895"/>
                <a:gd name="connsiteX67" fmla="*/ 265471 w 2701062"/>
                <a:gd name="connsiteY67" fmla="*/ 3514329 h 3564895"/>
                <a:gd name="connsiteX68" fmla="*/ 252829 w 2701062"/>
                <a:gd name="connsiteY68" fmla="*/ 3455335 h 3564895"/>
                <a:gd name="connsiteX69" fmla="*/ 307609 w 2701062"/>
                <a:gd name="connsiteY69" fmla="*/ 3413197 h 3564895"/>
                <a:gd name="connsiteX70" fmla="*/ 345534 w 2701062"/>
                <a:gd name="connsiteY70" fmla="*/ 3375273 h 3564895"/>
                <a:gd name="connsiteX71" fmla="*/ 375030 w 2701062"/>
                <a:gd name="connsiteY71" fmla="*/ 3333134 h 3564895"/>
                <a:gd name="connsiteX72" fmla="*/ 497231 w 2701062"/>
                <a:gd name="connsiteY72" fmla="*/ 3341562 h 3564895"/>
                <a:gd name="connsiteX73" fmla="*/ 497231 w 2701062"/>
                <a:gd name="connsiteY73" fmla="*/ 3341562 h 3564895"/>
                <a:gd name="connsiteX74" fmla="*/ 568866 w 2701062"/>
                <a:gd name="connsiteY74" fmla="*/ 3375273 h 3564895"/>
                <a:gd name="connsiteX75" fmla="*/ 589935 w 2701062"/>
                <a:gd name="connsiteY75" fmla="*/ 3354204 h 3564895"/>
                <a:gd name="connsiteX76" fmla="*/ 648929 w 2701062"/>
                <a:gd name="connsiteY76" fmla="*/ 3383700 h 3564895"/>
                <a:gd name="connsiteX77" fmla="*/ 674212 w 2701062"/>
                <a:gd name="connsiteY77" fmla="*/ 3379487 h 3564895"/>
                <a:gd name="connsiteX78" fmla="*/ 720564 w 2701062"/>
                <a:gd name="connsiteY78" fmla="*/ 3442694 h 3564895"/>
                <a:gd name="connsiteX79" fmla="*/ 754275 w 2701062"/>
                <a:gd name="connsiteY79" fmla="*/ 3434266 h 3564895"/>
                <a:gd name="connsiteX80" fmla="*/ 804840 w 2701062"/>
                <a:gd name="connsiteY80" fmla="*/ 3358417 h 3564895"/>
                <a:gd name="connsiteX81" fmla="*/ 842765 w 2701062"/>
                <a:gd name="connsiteY81" fmla="*/ 3324707 h 3564895"/>
                <a:gd name="connsiteX82" fmla="*/ 830123 w 2701062"/>
                <a:gd name="connsiteY82" fmla="*/ 3269927 h 3564895"/>
                <a:gd name="connsiteX83" fmla="*/ 859620 w 2701062"/>
                <a:gd name="connsiteY83" fmla="*/ 3215147 h 3564895"/>
                <a:gd name="connsiteX84" fmla="*/ 918614 w 2701062"/>
                <a:gd name="connsiteY84" fmla="*/ 3164582 h 3564895"/>
                <a:gd name="connsiteX85" fmla="*/ 1011318 w 2701062"/>
                <a:gd name="connsiteY85" fmla="*/ 3147726 h 3564895"/>
                <a:gd name="connsiteX86" fmla="*/ 1078739 w 2701062"/>
                <a:gd name="connsiteY86" fmla="*/ 3135085 h 3564895"/>
                <a:gd name="connsiteX87" fmla="*/ 1163016 w 2701062"/>
                <a:gd name="connsiteY87" fmla="*/ 3206720 h 3564895"/>
                <a:gd name="connsiteX88" fmla="*/ 1222009 w 2701062"/>
                <a:gd name="connsiteY88" fmla="*/ 3240430 h 3564895"/>
                <a:gd name="connsiteX89" fmla="*/ 1226223 w 2701062"/>
                <a:gd name="connsiteY89" fmla="*/ 3194078 h 3564895"/>
                <a:gd name="connsiteX90" fmla="*/ 1243078 w 2701062"/>
                <a:gd name="connsiteY90" fmla="*/ 3185651 h 3564895"/>
                <a:gd name="connsiteX91" fmla="*/ 1344210 w 2701062"/>
                <a:gd name="connsiteY91" fmla="*/ 3206720 h 3564895"/>
                <a:gd name="connsiteX92" fmla="*/ 1398990 w 2701062"/>
                <a:gd name="connsiteY92" fmla="*/ 3215147 h 3564895"/>
                <a:gd name="connsiteX93" fmla="*/ 1436914 w 2701062"/>
                <a:gd name="connsiteY93" fmla="*/ 3143512 h 3564895"/>
                <a:gd name="connsiteX94" fmla="*/ 1495908 w 2701062"/>
                <a:gd name="connsiteY94" fmla="*/ 3135085 h 3564895"/>
                <a:gd name="connsiteX95" fmla="*/ 1597040 w 2701062"/>
                <a:gd name="connsiteY95" fmla="*/ 3189864 h 3564895"/>
                <a:gd name="connsiteX96" fmla="*/ 1656033 w 2701062"/>
                <a:gd name="connsiteY96" fmla="*/ 3210934 h 3564895"/>
                <a:gd name="connsiteX97" fmla="*/ 1719240 w 2701062"/>
                <a:gd name="connsiteY97" fmla="*/ 3151940 h 3564895"/>
                <a:gd name="connsiteX98" fmla="*/ 1715027 w 2701062"/>
                <a:gd name="connsiteY98" fmla="*/ 3080305 h 3564895"/>
                <a:gd name="connsiteX99" fmla="*/ 1833014 w 2701062"/>
                <a:gd name="connsiteY99" fmla="*/ 3130871 h 3564895"/>
                <a:gd name="connsiteX100" fmla="*/ 1862510 w 2701062"/>
                <a:gd name="connsiteY100" fmla="*/ 3080305 h 3564895"/>
                <a:gd name="connsiteX101" fmla="*/ 2018422 w 2701062"/>
                <a:gd name="connsiteY101" fmla="*/ 3059236 h 3564895"/>
                <a:gd name="connsiteX102" fmla="*/ 2186975 w 2701062"/>
                <a:gd name="connsiteY102" fmla="*/ 3118229 h 3564895"/>
                <a:gd name="connsiteX103" fmla="*/ 2254396 w 2701062"/>
                <a:gd name="connsiteY103" fmla="*/ 3033953 h 3564895"/>
                <a:gd name="connsiteX104" fmla="*/ 2338673 w 2701062"/>
                <a:gd name="connsiteY104" fmla="*/ 3033953 h 3564895"/>
                <a:gd name="connsiteX105" fmla="*/ 2380811 w 2701062"/>
                <a:gd name="connsiteY105" fmla="*/ 2979173 h 3564895"/>
                <a:gd name="connsiteX106" fmla="*/ 2456660 w 2701062"/>
                <a:gd name="connsiteY106" fmla="*/ 2983387 h 3564895"/>
                <a:gd name="connsiteX107" fmla="*/ 2469301 w 2701062"/>
                <a:gd name="connsiteY107" fmla="*/ 2903324 h 3564895"/>
                <a:gd name="connsiteX108" fmla="*/ 2595716 w 2701062"/>
                <a:gd name="connsiteY108" fmla="*/ 2835903 h 3564895"/>
                <a:gd name="connsiteX109" fmla="*/ 2595716 w 2701062"/>
                <a:gd name="connsiteY109" fmla="*/ 2734771 h 3564895"/>
                <a:gd name="connsiteX110" fmla="*/ 2616785 w 2701062"/>
                <a:gd name="connsiteY110" fmla="*/ 2696847 h 3564895"/>
                <a:gd name="connsiteX111" fmla="*/ 2591502 w 2701062"/>
                <a:gd name="connsiteY111" fmla="*/ 2671564 h 3564895"/>
                <a:gd name="connsiteX112" fmla="*/ 2515653 w 2701062"/>
                <a:gd name="connsiteY112" fmla="*/ 2671564 h 3564895"/>
                <a:gd name="connsiteX113" fmla="*/ 2460874 w 2701062"/>
                <a:gd name="connsiteY113" fmla="*/ 2684205 h 3564895"/>
                <a:gd name="connsiteX114" fmla="*/ 2435591 w 2701062"/>
                <a:gd name="connsiteY114" fmla="*/ 2696847 h 3564895"/>
                <a:gd name="connsiteX115" fmla="*/ 2397666 w 2701062"/>
                <a:gd name="connsiteY115" fmla="*/ 2646281 h 3564895"/>
                <a:gd name="connsiteX116" fmla="*/ 2347100 w 2701062"/>
                <a:gd name="connsiteY116" fmla="*/ 2620998 h 3564895"/>
                <a:gd name="connsiteX117" fmla="*/ 2410308 w 2701062"/>
                <a:gd name="connsiteY117" fmla="*/ 2583074 h 3564895"/>
                <a:gd name="connsiteX118" fmla="*/ 2439804 w 2701062"/>
                <a:gd name="connsiteY118" fmla="*/ 2435590 h 3564895"/>
                <a:gd name="connsiteX119" fmla="*/ 2481943 w 2701062"/>
                <a:gd name="connsiteY119" fmla="*/ 2469300 h 3564895"/>
                <a:gd name="connsiteX120" fmla="*/ 2532509 w 2701062"/>
                <a:gd name="connsiteY120" fmla="*/ 2397665 h 3564895"/>
                <a:gd name="connsiteX121" fmla="*/ 2545150 w 2701062"/>
                <a:gd name="connsiteY121" fmla="*/ 2359741 h 3564895"/>
                <a:gd name="connsiteX122" fmla="*/ 2633640 w 2701062"/>
                <a:gd name="connsiteY122" fmla="*/ 2245968 h 3564895"/>
                <a:gd name="connsiteX123" fmla="*/ 2650496 w 2701062"/>
                <a:gd name="connsiteY123" fmla="*/ 2153264 h 3564895"/>
                <a:gd name="connsiteX124" fmla="*/ 2696848 w 2701062"/>
                <a:gd name="connsiteY124" fmla="*/ 2077415 h 3564895"/>
                <a:gd name="connsiteX125" fmla="*/ 2701062 w 2701062"/>
                <a:gd name="connsiteY125" fmla="*/ 1870937 h 3564895"/>
                <a:gd name="connsiteX126" fmla="*/ 2503012 w 2701062"/>
                <a:gd name="connsiteY126" fmla="*/ 1736095 h 3564895"/>
                <a:gd name="connsiteX127" fmla="*/ 2237541 w 2701062"/>
                <a:gd name="connsiteY127" fmla="*/ 1706598 h 3564895"/>
                <a:gd name="connsiteX128" fmla="*/ 2161692 w 2701062"/>
                <a:gd name="connsiteY128" fmla="*/ 1795088 h 3564895"/>
                <a:gd name="connsiteX129" fmla="*/ 2123768 w 2701062"/>
                <a:gd name="connsiteY129" fmla="*/ 1786661 h 3564895"/>
                <a:gd name="connsiteX130" fmla="*/ 2111126 w 2701062"/>
                <a:gd name="connsiteY130" fmla="*/ 1736095 h 3564895"/>
                <a:gd name="connsiteX131" fmla="*/ 2203830 w 2701062"/>
                <a:gd name="connsiteY131" fmla="*/ 1639177 h 3564895"/>
                <a:gd name="connsiteX132" fmla="*/ 2178547 w 2701062"/>
                <a:gd name="connsiteY132" fmla="*/ 1500121 h 3564895"/>
                <a:gd name="connsiteX133" fmla="*/ 2090057 w 2701062"/>
                <a:gd name="connsiteY133" fmla="*/ 1407417 h 3564895"/>
                <a:gd name="connsiteX134" fmla="*/ 2056346 w 2701062"/>
                <a:gd name="connsiteY134" fmla="*/ 1377920 h 3564895"/>
                <a:gd name="connsiteX135" fmla="*/ 2127981 w 2701062"/>
                <a:gd name="connsiteY135" fmla="*/ 1365278 h 3564895"/>
                <a:gd name="connsiteX136" fmla="*/ 2127981 w 2701062"/>
                <a:gd name="connsiteY136" fmla="*/ 1331568 h 3564895"/>
                <a:gd name="connsiteX137" fmla="*/ 2031063 w 2701062"/>
                <a:gd name="connsiteY137" fmla="*/ 1205153 h 3564895"/>
                <a:gd name="connsiteX138" fmla="*/ 2022636 w 2701062"/>
                <a:gd name="connsiteY138" fmla="*/ 1120876 h 3564895"/>
                <a:gd name="connsiteX139" fmla="*/ 2056346 w 2701062"/>
                <a:gd name="connsiteY139" fmla="*/ 1057669 h 3564895"/>
                <a:gd name="connsiteX140" fmla="*/ 2039491 w 2701062"/>
                <a:gd name="connsiteY140" fmla="*/ 1023958 h 3564895"/>
                <a:gd name="connsiteX141" fmla="*/ 1967856 w 2701062"/>
                <a:gd name="connsiteY141" fmla="*/ 1002889 h 3564895"/>
                <a:gd name="connsiteX142" fmla="*/ 1929932 w 2701062"/>
                <a:gd name="connsiteY142" fmla="*/ 943896 h 3564895"/>
                <a:gd name="connsiteX143" fmla="*/ 1934146 w 2701062"/>
                <a:gd name="connsiteY143" fmla="*/ 884902 h 3564895"/>
                <a:gd name="connsiteX144" fmla="*/ 1727668 w 2701062"/>
                <a:gd name="connsiteY144" fmla="*/ 766915 h 3564895"/>
                <a:gd name="connsiteX145" fmla="*/ 1664461 w 2701062"/>
                <a:gd name="connsiteY145" fmla="*/ 707922 h 3564895"/>
                <a:gd name="connsiteX146" fmla="*/ 1563329 w 2701062"/>
                <a:gd name="connsiteY146" fmla="*/ 387671 h 3564895"/>
                <a:gd name="connsiteX0" fmla="*/ 1356851 w 2701062"/>
                <a:gd name="connsiteY0" fmla="*/ 8428 h 3573323"/>
                <a:gd name="connsiteX1" fmla="*/ 876475 w 2701062"/>
                <a:gd name="connsiteY1" fmla="*/ 648928 h 3573323"/>
                <a:gd name="connsiteX2" fmla="*/ 804840 w 2701062"/>
                <a:gd name="connsiteY2" fmla="*/ 720563 h 3573323"/>
                <a:gd name="connsiteX3" fmla="*/ 813268 w 2701062"/>
                <a:gd name="connsiteY3" fmla="*/ 851192 h 3573323"/>
                <a:gd name="connsiteX4" fmla="*/ 897545 w 2701062"/>
                <a:gd name="connsiteY4" fmla="*/ 1019745 h 3573323"/>
                <a:gd name="connsiteX5" fmla="*/ 943897 w 2701062"/>
                <a:gd name="connsiteY5" fmla="*/ 1104021 h 3573323"/>
                <a:gd name="connsiteX6" fmla="*/ 964966 w 2701062"/>
                <a:gd name="connsiteY6" fmla="*/ 1133518 h 3573323"/>
                <a:gd name="connsiteX7" fmla="*/ 994463 w 2701062"/>
                <a:gd name="connsiteY7" fmla="*/ 1108235 h 3573323"/>
                <a:gd name="connsiteX8" fmla="*/ 1011318 w 2701062"/>
                <a:gd name="connsiteY8" fmla="*/ 1053456 h 3573323"/>
                <a:gd name="connsiteX9" fmla="*/ 1057670 w 2701062"/>
                <a:gd name="connsiteY9" fmla="*/ 1045028 h 3573323"/>
                <a:gd name="connsiteX10" fmla="*/ 1053456 w 2701062"/>
                <a:gd name="connsiteY10" fmla="*/ 1108235 h 3573323"/>
                <a:gd name="connsiteX11" fmla="*/ 1040815 w 2701062"/>
                <a:gd name="connsiteY11" fmla="*/ 1141946 h 3573323"/>
                <a:gd name="connsiteX12" fmla="*/ 1049242 w 2701062"/>
                <a:gd name="connsiteY12" fmla="*/ 1167229 h 3573323"/>
                <a:gd name="connsiteX13" fmla="*/ 986035 w 2701062"/>
                <a:gd name="connsiteY13" fmla="*/ 1184084 h 3573323"/>
                <a:gd name="connsiteX14" fmla="*/ 1011318 w 2701062"/>
                <a:gd name="connsiteY14" fmla="*/ 1318927 h 3573323"/>
                <a:gd name="connsiteX15" fmla="*/ 1049242 w 2701062"/>
                <a:gd name="connsiteY15" fmla="*/ 1314713 h 3573323"/>
                <a:gd name="connsiteX16" fmla="*/ 1040815 w 2701062"/>
                <a:gd name="connsiteY16" fmla="*/ 1377920 h 3573323"/>
                <a:gd name="connsiteX17" fmla="*/ 981821 w 2701062"/>
                <a:gd name="connsiteY17" fmla="*/ 1411631 h 3573323"/>
                <a:gd name="connsiteX18" fmla="*/ 931255 w 2701062"/>
                <a:gd name="connsiteY18" fmla="*/ 1411631 h 3573323"/>
                <a:gd name="connsiteX19" fmla="*/ 897545 w 2701062"/>
                <a:gd name="connsiteY19" fmla="*/ 1474838 h 3573323"/>
                <a:gd name="connsiteX20" fmla="*/ 901758 w 2701062"/>
                <a:gd name="connsiteY20" fmla="*/ 1504335 h 3573323"/>
                <a:gd name="connsiteX21" fmla="*/ 948110 w 2701062"/>
                <a:gd name="connsiteY21" fmla="*/ 1512762 h 3573323"/>
                <a:gd name="connsiteX22" fmla="*/ 931255 w 2701062"/>
                <a:gd name="connsiteY22" fmla="*/ 1550687 h 3573323"/>
                <a:gd name="connsiteX23" fmla="*/ 952324 w 2701062"/>
                <a:gd name="connsiteY23" fmla="*/ 1559115 h 3573323"/>
                <a:gd name="connsiteX24" fmla="*/ 1015532 w 2701062"/>
                <a:gd name="connsiteY24" fmla="*/ 1563328 h 3573323"/>
                <a:gd name="connsiteX25" fmla="*/ 1040815 w 2701062"/>
                <a:gd name="connsiteY25" fmla="*/ 1601253 h 3573323"/>
                <a:gd name="connsiteX26" fmla="*/ 1036601 w 2701062"/>
                <a:gd name="connsiteY26" fmla="*/ 1639177 h 3573323"/>
                <a:gd name="connsiteX27" fmla="*/ 1104022 w 2701062"/>
                <a:gd name="connsiteY27" fmla="*/ 1740309 h 3573323"/>
                <a:gd name="connsiteX28" fmla="*/ 1053456 w 2701062"/>
                <a:gd name="connsiteY28" fmla="*/ 1765592 h 3573323"/>
                <a:gd name="connsiteX29" fmla="*/ 998676 w 2701062"/>
                <a:gd name="connsiteY29" fmla="*/ 1761378 h 3573323"/>
                <a:gd name="connsiteX30" fmla="*/ 964966 w 2701062"/>
                <a:gd name="connsiteY30" fmla="*/ 1841441 h 3573323"/>
                <a:gd name="connsiteX31" fmla="*/ 1015532 w 2701062"/>
                <a:gd name="connsiteY31" fmla="*/ 1883579 h 3573323"/>
                <a:gd name="connsiteX32" fmla="*/ 994463 w 2701062"/>
                <a:gd name="connsiteY32" fmla="*/ 1980497 h 3573323"/>
                <a:gd name="connsiteX33" fmla="*/ 1019746 w 2701062"/>
                <a:gd name="connsiteY33" fmla="*/ 2014208 h 3573323"/>
                <a:gd name="connsiteX34" fmla="*/ 990249 w 2701062"/>
                <a:gd name="connsiteY34" fmla="*/ 2047918 h 3573323"/>
                <a:gd name="connsiteX35" fmla="*/ 948110 w 2701062"/>
                <a:gd name="connsiteY35" fmla="*/ 2047918 h 3573323"/>
                <a:gd name="connsiteX36" fmla="*/ 939683 w 2701062"/>
                <a:gd name="connsiteY36" fmla="*/ 2085843 h 3573323"/>
                <a:gd name="connsiteX37" fmla="*/ 994463 w 2701062"/>
                <a:gd name="connsiteY37" fmla="*/ 2132195 h 3573323"/>
                <a:gd name="connsiteX38" fmla="*/ 981821 w 2701062"/>
                <a:gd name="connsiteY38" fmla="*/ 2313389 h 3573323"/>
                <a:gd name="connsiteX39" fmla="*/ 1015532 w 2701062"/>
                <a:gd name="connsiteY39" fmla="*/ 2393452 h 3573323"/>
                <a:gd name="connsiteX40" fmla="*/ 1049242 w 2701062"/>
                <a:gd name="connsiteY40" fmla="*/ 2393452 h 3573323"/>
                <a:gd name="connsiteX41" fmla="*/ 1129305 w 2701062"/>
                <a:gd name="connsiteY41" fmla="*/ 2460873 h 3573323"/>
                <a:gd name="connsiteX42" fmla="*/ 1125091 w 2701062"/>
                <a:gd name="connsiteY42" fmla="*/ 2591502 h 3573323"/>
                <a:gd name="connsiteX43" fmla="*/ 1087167 w 2701062"/>
                <a:gd name="connsiteY43" fmla="*/ 2654709 h 3573323"/>
                <a:gd name="connsiteX44" fmla="*/ 1015532 w 2701062"/>
                <a:gd name="connsiteY44" fmla="*/ 2722130 h 3573323"/>
                <a:gd name="connsiteX45" fmla="*/ 1007104 w 2701062"/>
                <a:gd name="connsiteY45" fmla="*/ 2810621 h 3573323"/>
                <a:gd name="connsiteX46" fmla="*/ 922828 w 2701062"/>
                <a:gd name="connsiteY46" fmla="*/ 2823262 h 3573323"/>
                <a:gd name="connsiteX47" fmla="*/ 868048 w 2701062"/>
                <a:gd name="connsiteY47" fmla="*/ 2827476 h 3573323"/>
                <a:gd name="connsiteX48" fmla="*/ 830123 w 2701062"/>
                <a:gd name="connsiteY48" fmla="*/ 2789551 h 3573323"/>
                <a:gd name="connsiteX49" fmla="*/ 577294 w 2701062"/>
                <a:gd name="connsiteY49" fmla="*/ 2810621 h 3573323"/>
                <a:gd name="connsiteX50" fmla="*/ 568866 w 2701062"/>
                <a:gd name="connsiteY50" fmla="*/ 2915966 h 3573323"/>
                <a:gd name="connsiteX51" fmla="*/ 514087 w 2701062"/>
                <a:gd name="connsiteY51" fmla="*/ 2949677 h 3573323"/>
                <a:gd name="connsiteX52" fmla="*/ 484590 w 2701062"/>
                <a:gd name="connsiteY52" fmla="*/ 2915966 h 3573323"/>
                <a:gd name="connsiteX53" fmla="*/ 446665 w 2701062"/>
                <a:gd name="connsiteY53" fmla="*/ 2941249 h 3573323"/>
                <a:gd name="connsiteX54" fmla="*/ 434024 w 2701062"/>
                <a:gd name="connsiteY54" fmla="*/ 3059236 h 3573323"/>
                <a:gd name="connsiteX55" fmla="*/ 328678 w 2701062"/>
                <a:gd name="connsiteY55" fmla="*/ 3185651 h 3573323"/>
                <a:gd name="connsiteX56" fmla="*/ 273899 w 2701062"/>
                <a:gd name="connsiteY56" fmla="*/ 3198292 h 3573323"/>
                <a:gd name="connsiteX57" fmla="*/ 252829 w 2701062"/>
                <a:gd name="connsiteY57" fmla="*/ 3248858 h 3573323"/>
                <a:gd name="connsiteX58" fmla="*/ 202263 w 2701062"/>
                <a:gd name="connsiteY58" fmla="*/ 3328921 h 3573323"/>
                <a:gd name="connsiteX59" fmla="*/ 164339 w 2701062"/>
                <a:gd name="connsiteY59" fmla="*/ 3358418 h 3573323"/>
                <a:gd name="connsiteX60" fmla="*/ 75849 w 2701062"/>
                <a:gd name="connsiteY60" fmla="*/ 3387915 h 3573323"/>
                <a:gd name="connsiteX61" fmla="*/ 12641 w 2701062"/>
                <a:gd name="connsiteY61" fmla="*/ 3421625 h 3573323"/>
                <a:gd name="connsiteX62" fmla="*/ 0 w 2701062"/>
                <a:gd name="connsiteY62" fmla="*/ 3501688 h 3573323"/>
                <a:gd name="connsiteX63" fmla="*/ 63207 w 2701062"/>
                <a:gd name="connsiteY63" fmla="*/ 3497474 h 3573323"/>
                <a:gd name="connsiteX64" fmla="*/ 96918 w 2701062"/>
                <a:gd name="connsiteY64" fmla="*/ 3451122 h 3573323"/>
                <a:gd name="connsiteX65" fmla="*/ 155911 w 2701062"/>
                <a:gd name="connsiteY65" fmla="*/ 3493260 h 3573323"/>
                <a:gd name="connsiteX66" fmla="*/ 164339 w 2701062"/>
                <a:gd name="connsiteY66" fmla="*/ 3573323 h 3573323"/>
                <a:gd name="connsiteX67" fmla="*/ 265471 w 2701062"/>
                <a:gd name="connsiteY67" fmla="*/ 3522757 h 3573323"/>
                <a:gd name="connsiteX68" fmla="*/ 252829 w 2701062"/>
                <a:gd name="connsiteY68" fmla="*/ 3463763 h 3573323"/>
                <a:gd name="connsiteX69" fmla="*/ 307609 w 2701062"/>
                <a:gd name="connsiteY69" fmla="*/ 3421625 h 3573323"/>
                <a:gd name="connsiteX70" fmla="*/ 345534 w 2701062"/>
                <a:gd name="connsiteY70" fmla="*/ 3383701 h 3573323"/>
                <a:gd name="connsiteX71" fmla="*/ 375030 w 2701062"/>
                <a:gd name="connsiteY71" fmla="*/ 3341562 h 3573323"/>
                <a:gd name="connsiteX72" fmla="*/ 497231 w 2701062"/>
                <a:gd name="connsiteY72" fmla="*/ 3349990 h 3573323"/>
                <a:gd name="connsiteX73" fmla="*/ 497231 w 2701062"/>
                <a:gd name="connsiteY73" fmla="*/ 3349990 h 3573323"/>
                <a:gd name="connsiteX74" fmla="*/ 568866 w 2701062"/>
                <a:gd name="connsiteY74" fmla="*/ 3383701 h 3573323"/>
                <a:gd name="connsiteX75" fmla="*/ 589935 w 2701062"/>
                <a:gd name="connsiteY75" fmla="*/ 3362632 h 3573323"/>
                <a:gd name="connsiteX76" fmla="*/ 648929 w 2701062"/>
                <a:gd name="connsiteY76" fmla="*/ 3392128 h 3573323"/>
                <a:gd name="connsiteX77" fmla="*/ 674212 w 2701062"/>
                <a:gd name="connsiteY77" fmla="*/ 3387915 h 3573323"/>
                <a:gd name="connsiteX78" fmla="*/ 720564 w 2701062"/>
                <a:gd name="connsiteY78" fmla="*/ 3451122 h 3573323"/>
                <a:gd name="connsiteX79" fmla="*/ 754275 w 2701062"/>
                <a:gd name="connsiteY79" fmla="*/ 3442694 h 3573323"/>
                <a:gd name="connsiteX80" fmla="*/ 804840 w 2701062"/>
                <a:gd name="connsiteY80" fmla="*/ 3366845 h 3573323"/>
                <a:gd name="connsiteX81" fmla="*/ 842765 w 2701062"/>
                <a:gd name="connsiteY81" fmla="*/ 3333135 h 3573323"/>
                <a:gd name="connsiteX82" fmla="*/ 830123 w 2701062"/>
                <a:gd name="connsiteY82" fmla="*/ 3278355 h 3573323"/>
                <a:gd name="connsiteX83" fmla="*/ 859620 w 2701062"/>
                <a:gd name="connsiteY83" fmla="*/ 3223575 h 3573323"/>
                <a:gd name="connsiteX84" fmla="*/ 918614 w 2701062"/>
                <a:gd name="connsiteY84" fmla="*/ 3173010 h 3573323"/>
                <a:gd name="connsiteX85" fmla="*/ 1011318 w 2701062"/>
                <a:gd name="connsiteY85" fmla="*/ 3156154 h 3573323"/>
                <a:gd name="connsiteX86" fmla="*/ 1078739 w 2701062"/>
                <a:gd name="connsiteY86" fmla="*/ 3143513 h 3573323"/>
                <a:gd name="connsiteX87" fmla="*/ 1163016 w 2701062"/>
                <a:gd name="connsiteY87" fmla="*/ 3215148 h 3573323"/>
                <a:gd name="connsiteX88" fmla="*/ 1222009 w 2701062"/>
                <a:gd name="connsiteY88" fmla="*/ 3248858 h 3573323"/>
                <a:gd name="connsiteX89" fmla="*/ 1226223 w 2701062"/>
                <a:gd name="connsiteY89" fmla="*/ 3202506 h 3573323"/>
                <a:gd name="connsiteX90" fmla="*/ 1243078 w 2701062"/>
                <a:gd name="connsiteY90" fmla="*/ 3194079 h 3573323"/>
                <a:gd name="connsiteX91" fmla="*/ 1344210 w 2701062"/>
                <a:gd name="connsiteY91" fmla="*/ 3215148 h 3573323"/>
                <a:gd name="connsiteX92" fmla="*/ 1398990 w 2701062"/>
                <a:gd name="connsiteY92" fmla="*/ 3223575 h 3573323"/>
                <a:gd name="connsiteX93" fmla="*/ 1436914 w 2701062"/>
                <a:gd name="connsiteY93" fmla="*/ 3151940 h 3573323"/>
                <a:gd name="connsiteX94" fmla="*/ 1495908 w 2701062"/>
                <a:gd name="connsiteY94" fmla="*/ 3143513 h 3573323"/>
                <a:gd name="connsiteX95" fmla="*/ 1597040 w 2701062"/>
                <a:gd name="connsiteY95" fmla="*/ 3198292 h 3573323"/>
                <a:gd name="connsiteX96" fmla="*/ 1656033 w 2701062"/>
                <a:gd name="connsiteY96" fmla="*/ 3219362 h 3573323"/>
                <a:gd name="connsiteX97" fmla="*/ 1719240 w 2701062"/>
                <a:gd name="connsiteY97" fmla="*/ 3160368 h 3573323"/>
                <a:gd name="connsiteX98" fmla="*/ 1715027 w 2701062"/>
                <a:gd name="connsiteY98" fmla="*/ 3088733 h 3573323"/>
                <a:gd name="connsiteX99" fmla="*/ 1833014 w 2701062"/>
                <a:gd name="connsiteY99" fmla="*/ 3139299 h 3573323"/>
                <a:gd name="connsiteX100" fmla="*/ 1862510 w 2701062"/>
                <a:gd name="connsiteY100" fmla="*/ 3088733 h 3573323"/>
                <a:gd name="connsiteX101" fmla="*/ 2018422 w 2701062"/>
                <a:gd name="connsiteY101" fmla="*/ 3067664 h 3573323"/>
                <a:gd name="connsiteX102" fmla="*/ 2186975 w 2701062"/>
                <a:gd name="connsiteY102" fmla="*/ 3126657 h 3573323"/>
                <a:gd name="connsiteX103" fmla="*/ 2254396 w 2701062"/>
                <a:gd name="connsiteY103" fmla="*/ 3042381 h 3573323"/>
                <a:gd name="connsiteX104" fmla="*/ 2338673 w 2701062"/>
                <a:gd name="connsiteY104" fmla="*/ 3042381 h 3573323"/>
                <a:gd name="connsiteX105" fmla="*/ 2380811 w 2701062"/>
                <a:gd name="connsiteY105" fmla="*/ 2987601 h 3573323"/>
                <a:gd name="connsiteX106" fmla="*/ 2456660 w 2701062"/>
                <a:gd name="connsiteY106" fmla="*/ 2991815 h 3573323"/>
                <a:gd name="connsiteX107" fmla="*/ 2469301 w 2701062"/>
                <a:gd name="connsiteY107" fmla="*/ 2911752 h 3573323"/>
                <a:gd name="connsiteX108" fmla="*/ 2595716 w 2701062"/>
                <a:gd name="connsiteY108" fmla="*/ 2844331 h 3573323"/>
                <a:gd name="connsiteX109" fmla="*/ 2595716 w 2701062"/>
                <a:gd name="connsiteY109" fmla="*/ 2743199 h 3573323"/>
                <a:gd name="connsiteX110" fmla="*/ 2616785 w 2701062"/>
                <a:gd name="connsiteY110" fmla="*/ 2705275 h 3573323"/>
                <a:gd name="connsiteX111" fmla="*/ 2591502 w 2701062"/>
                <a:gd name="connsiteY111" fmla="*/ 2679992 h 3573323"/>
                <a:gd name="connsiteX112" fmla="*/ 2515653 w 2701062"/>
                <a:gd name="connsiteY112" fmla="*/ 2679992 h 3573323"/>
                <a:gd name="connsiteX113" fmla="*/ 2460874 w 2701062"/>
                <a:gd name="connsiteY113" fmla="*/ 2692633 h 3573323"/>
                <a:gd name="connsiteX114" fmla="*/ 2435591 w 2701062"/>
                <a:gd name="connsiteY114" fmla="*/ 2705275 h 3573323"/>
                <a:gd name="connsiteX115" fmla="*/ 2397666 w 2701062"/>
                <a:gd name="connsiteY115" fmla="*/ 2654709 h 3573323"/>
                <a:gd name="connsiteX116" fmla="*/ 2347100 w 2701062"/>
                <a:gd name="connsiteY116" fmla="*/ 2629426 h 3573323"/>
                <a:gd name="connsiteX117" fmla="*/ 2410308 w 2701062"/>
                <a:gd name="connsiteY117" fmla="*/ 2591502 h 3573323"/>
                <a:gd name="connsiteX118" fmla="*/ 2439804 w 2701062"/>
                <a:gd name="connsiteY118" fmla="*/ 2444018 h 3573323"/>
                <a:gd name="connsiteX119" fmla="*/ 2481943 w 2701062"/>
                <a:gd name="connsiteY119" fmla="*/ 2477728 h 3573323"/>
                <a:gd name="connsiteX120" fmla="*/ 2532509 w 2701062"/>
                <a:gd name="connsiteY120" fmla="*/ 2406093 h 3573323"/>
                <a:gd name="connsiteX121" fmla="*/ 2545150 w 2701062"/>
                <a:gd name="connsiteY121" fmla="*/ 2368169 h 3573323"/>
                <a:gd name="connsiteX122" fmla="*/ 2633640 w 2701062"/>
                <a:gd name="connsiteY122" fmla="*/ 2254396 h 3573323"/>
                <a:gd name="connsiteX123" fmla="*/ 2650496 w 2701062"/>
                <a:gd name="connsiteY123" fmla="*/ 2161692 h 3573323"/>
                <a:gd name="connsiteX124" fmla="*/ 2696848 w 2701062"/>
                <a:gd name="connsiteY124" fmla="*/ 2085843 h 3573323"/>
                <a:gd name="connsiteX125" fmla="*/ 2701062 w 2701062"/>
                <a:gd name="connsiteY125" fmla="*/ 1879365 h 3573323"/>
                <a:gd name="connsiteX126" fmla="*/ 2503012 w 2701062"/>
                <a:gd name="connsiteY126" fmla="*/ 1744523 h 3573323"/>
                <a:gd name="connsiteX127" fmla="*/ 2237541 w 2701062"/>
                <a:gd name="connsiteY127" fmla="*/ 1715026 h 3573323"/>
                <a:gd name="connsiteX128" fmla="*/ 2161692 w 2701062"/>
                <a:gd name="connsiteY128" fmla="*/ 1803516 h 3573323"/>
                <a:gd name="connsiteX129" fmla="*/ 2123768 w 2701062"/>
                <a:gd name="connsiteY129" fmla="*/ 1795089 h 3573323"/>
                <a:gd name="connsiteX130" fmla="*/ 2111126 w 2701062"/>
                <a:gd name="connsiteY130" fmla="*/ 1744523 h 3573323"/>
                <a:gd name="connsiteX131" fmla="*/ 2203830 w 2701062"/>
                <a:gd name="connsiteY131" fmla="*/ 1647605 h 3573323"/>
                <a:gd name="connsiteX132" fmla="*/ 2178547 w 2701062"/>
                <a:gd name="connsiteY132" fmla="*/ 1508549 h 3573323"/>
                <a:gd name="connsiteX133" fmla="*/ 2090057 w 2701062"/>
                <a:gd name="connsiteY133" fmla="*/ 1415845 h 3573323"/>
                <a:gd name="connsiteX134" fmla="*/ 2056346 w 2701062"/>
                <a:gd name="connsiteY134" fmla="*/ 1386348 h 3573323"/>
                <a:gd name="connsiteX135" fmla="*/ 2127981 w 2701062"/>
                <a:gd name="connsiteY135" fmla="*/ 1373706 h 3573323"/>
                <a:gd name="connsiteX136" fmla="*/ 2127981 w 2701062"/>
                <a:gd name="connsiteY136" fmla="*/ 1339996 h 3573323"/>
                <a:gd name="connsiteX137" fmla="*/ 2031063 w 2701062"/>
                <a:gd name="connsiteY137" fmla="*/ 1213581 h 3573323"/>
                <a:gd name="connsiteX138" fmla="*/ 2022636 w 2701062"/>
                <a:gd name="connsiteY138" fmla="*/ 1129304 h 3573323"/>
                <a:gd name="connsiteX139" fmla="*/ 2056346 w 2701062"/>
                <a:gd name="connsiteY139" fmla="*/ 1066097 h 3573323"/>
                <a:gd name="connsiteX140" fmla="*/ 2039491 w 2701062"/>
                <a:gd name="connsiteY140" fmla="*/ 1032386 h 3573323"/>
                <a:gd name="connsiteX141" fmla="*/ 1967856 w 2701062"/>
                <a:gd name="connsiteY141" fmla="*/ 1011317 h 3573323"/>
                <a:gd name="connsiteX142" fmla="*/ 1929932 w 2701062"/>
                <a:gd name="connsiteY142" fmla="*/ 952324 h 3573323"/>
                <a:gd name="connsiteX143" fmla="*/ 1934146 w 2701062"/>
                <a:gd name="connsiteY143" fmla="*/ 893330 h 3573323"/>
                <a:gd name="connsiteX144" fmla="*/ 1727668 w 2701062"/>
                <a:gd name="connsiteY144" fmla="*/ 775343 h 3573323"/>
                <a:gd name="connsiteX145" fmla="*/ 1664461 w 2701062"/>
                <a:gd name="connsiteY145" fmla="*/ 716350 h 3573323"/>
                <a:gd name="connsiteX146" fmla="*/ 1356851 w 2701062"/>
                <a:gd name="connsiteY146" fmla="*/ 0 h 3573323"/>
                <a:gd name="connsiteX0" fmla="*/ 1356851 w 2701062"/>
                <a:gd name="connsiteY0" fmla="*/ 8428 h 3573323"/>
                <a:gd name="connsiteX1" fmla="*/ 876475 w 2701062"/>
                <a:gd name="connsiteY1" fmla="*/ 648928 h 3573323"/>
                <a:gd name="connsiteX2" fmla="*/ 804840 w 2701062"/>
                <a:gd name="connsiteY2" fmla="*/ 720563 h 3573323"/>
                <a:gd name="connsiteX3" fmla="*/ 813268 w 2701062"/>
                <a:gd name="connsiteY3" fmla="*/ 851192 h 3573323"/>
                <a:gd name="connsiteX4" fmla="*/ 897545 w 2701062"/>
                <a:gd name="connsiteY4" fmla="*/ 1019745 h 3573323"/>
                <a:gd name="connsiteX5" fmla="*/ 943897 w 2701062"/>
                <a:gd name="connsiteY5" fmla="*/ 1104021 h 3573323"/>
                <a:gd name="connsiteX6" fmla="*/ 964966 w 2701062"/>
                <a:gd name="connsiteY6" fmla="*/ 1133518 h 3573323"/>
                <a:gd name="connsiteX7" fmla="*/ 994463 w 2701062"/>
                <a:gd name="connsiteY7" fmla="*/ 1108235 h 3573323"/>
                <a:gd name="connsiteX8" fmla="*/ 1011318 w 2701062"/>
                <a:gd name="connsiteY8" fmla="*/ 1053456 h 3573323"/>
                <a:gd name="connsiteX9" fmla="*/ 1057670 w 2701062"/>
                <a:gd name="connsiteY9" fmla="*/ 1045028 h 3573323"/>
                <a:gd name="connsiteX10" fmla="*/ 1053456 w 2701062"/>
                <a:gd name="connsiteY10" fmla="*/ 1108235 h 3573323"/>
                <a:gd name="connsiteX11" fmla="*/ 1040815 w 2701062"/>
                <a:gd name="connsiteY11" fmla="*/ 1141946 h 3573323"/>
                <a:gd name="connsiteX12" fmla="*/ 1049242 w 2701062"/>
                <a:gd name="connsiteY12" fmla="*/ 1167229 h 3573323"/>
                <a:gd name="connsiteX13" fmla="*/ 986035 w 2701062"/>
                <a:gd name="connsiteY13" fmla="*/ 1184084 h 3573323"/>
                <a:gd name="connsiteX14" fmla="*/ 1011318 w 2701062"/>
                <a:gd name="connsiteY14" fmla="*/ 1318927 h 3573323"/>
                <a:gd name="connsiteX15" fmla="*/ 1049242 w 2701062"/>
                <a:gd name="connsiteY15" fmla="*/ 1314713 h 3573323"/>
                <a:gd name="connsiteX16" fmla="*/ 1040815 w 2701062"/>
                <a:gd name="connsiteY16" fmla="*/ 1377920 h 3573323"/>
                <a:gd name="connsiteX17" fmla="*/ 981821 w 2701062"/>
                <a:gd name="connsiteY17" fmla="*/ 1411631 h 3573323"/>
                <a:gd name="connsiteX18" fmla="*/ 931255 w 2701062"/>
                <a:gd name="connsiteY18" fmla="*/ 1411631 h 3573323"/>
                <a:gd name="connsiteX19" fmla="*/ 897545 w 2701062"/>
                <a:gd name="connsiteY19" fmla="*/ 1474838 h 3573323"/>
                <a:gd name="connsiteX20" fmla="*/ 901758 w 2701062"/>
                <a:gd name="connsiteY20" fmla="*/ 1504335 h 3573323"/>
                <a:gd name="connsiteX21" fmla="*/ 948110 w 2701062"/>
                <a:gd name="connsiteY21" fmla="*/ 1512762 h 3573323"/>
                <a:gd name="connsiteX22" fmla="*/ 931255 w 2701062"/>
                <a:gd name="connsiteY22" fmla="*/ 1550687 h 3573323"/>
                <a:gd name="connsiteX23" fmla="*/ 952324 w 2701062"/>
                <a:gd name="connsiteY23" fmla="*/ 1559115 h 3573323"/>
                <a:gd name="connsiteX24" fmla="*/ 1015532 w 2701062"/>
                <a:gd name="connsiteY24" fmla="*/ 1563328 h 3573323"/>
                <a:gd name="connsiteX25" fmla="*/ 1040815 w 2701062"/>
                <a:gd name="connsiteY25" fmla="*/ 1601253 h 3573323"/>
                <a:gd name="connsiteX26" fmla="*/ 1036601 w 2701062"/>
                <a:gd name="connsiteY26" fmla="*/ 1639177 h 3573323"/>
                <a:gd name="connsiteX27" fmla="*/ 1104022 w 2701062"/>
                <a:gd name="connsiteY27" fmla="*/ 1740309 h 3573323"/>
                <a:gd name="connsiteX28" fmla="*/ 1053456 w 2701062"/>
                <a:gd name="connsiteY28" fmla="*/ 1765592 h 3573323"/>
                <a:gd name="connsiteX29" fmla="*/ 998676 w 2701062"/>
                <a:gd name="connsiteY29" fmla="*/ 1761378 h 3573323"/>
                <a:gd name="connsiteX30" fmla="*/ 964966 w 2701062"/>
                <a:gd name="connsiteY30" fmla="*/ 1841441 h 3573323"/>
                <a:gd name="connsiteX31" fmla="*/ 1015532 w 2701062"/>
                <a:gd name="connsiteY31" fmla="*/ 1883579 h 3573323"/>
                <a:gd name="connsiteX32" fmla="*/ 994463 w 2701062"/>
                <a:gd name="connsiteY32" fmla="*/ 1980497 h 3573323"/>
                <a:gd name="connsiteX33" fmla="*/ 1019746 w 2701062"/>
                <a:gd name="connsiteY33" fmla="*/ 2014208 h 3573323"/>
                <a:gd name="connsiteX34" fmla="*/ 990249 w 2701062"/>
                <a:gd name="connsiteY34" fmla="*/ 2047918 h 3573323"/>
                <a:gd name="connsiteX35" fmla="*/ 948110 w 2701062"/>
                <a:gd name="connsiteY35" fmla="*/ 2047918 h 3573323"/>
                <a:gd name="connsiteX36" fmla="*/ 939683 w 2701062"/>
                <a:gd name="connsiteY36" fmla="*/ 2085843 h 3573323"/>
                <a:gd name="connsiteX37" fmla="*/ 994463 w 2701062"/>
                <a:gd name="connsiteY37" fmla="*/ 2132195 h 3573323"/>
                <a:gd name="connsiteX38" fmla="*/ 981821 w 2701062"/>
                <a:gd name="connsiteY38" fmla="*/ 2313389 h 3573323"/>
                <a:gd name="connsiteX39" fmla="*/ 1015532 w 2701062"/>
                <a:gd name="connsiteY39" fmla="*/ 2393452 h 3573323"/>
                <a:gd name="connsiteX40" fmla="*/ 1049242 w 2701062"/>
                <a:gd name="connsiteY40" fmla="*/ 2393452 h 3573323"/>
                <a:gd name="connsiteX41" fmla="*/ 1129305 w 2701062"/>
                <a:gd name="connsiteY41" fmla="*/ 2460873 h 3573323"/>
                <a:gd name="connsiteX42" fmla="*/ 1125091 w 2701062"/>
                <a:gd name="connsiteY42" fmla="*/ 2591502 h 3573323"/>
                <a:gd name="connsiteX43" fmla="*/ 1087167 w 2701062"/>
                <a:gd name="connsiteY43" fmla="*/ 2654709 h 3573323"/>
                <a:gd name="connsiteX44" fmla="*/ 1015532 w 2701062"/>
                <a:gd name="connsiteY44" fmla="*/ 2722130 h 3573323"/>
                <a:gd name="connsiteX45" fmla="*/ 1007104 w 2701062"/>
                <a:gd name="connsiteY45" fmla="*/ 2810621 h 3573323"/>
                <a:gd name="connsiteX46" fmla="*/ 922828 w 2701062"/>
                <a:gd name="connsiteY46" fmla="*/ 2823262 h 3573323"/>
                <a:gd name="connsiteX47" fmla="*/ 868048 w 2701062"/>
                <a:gd name="connsiteY47" fmla="*/ 2827476 h 3573323"/>
                <a:gd name="connsiteX48" fmla="*/ 830123 w 2701062"/>
                <a:gd name="connsiteY48" fmla="*/ 2789551 h 3573323"/>
                <a:gd name="connsiteX49" fmla="*/ 577294 w 2701062"/>
                <a:gd name="connsiteY49" fmla="*/ 2810621 h 3573323"/>
                <a:gd name="connsiteX50" fmla="*/ 568866 w 2701062"/>
                <a:gd name="connsiteY50" fmla="*/ 2915966 h 3573323"/>
                <a:gd name="connsiteX51" fmla="*/ 514087 w 2701062"/>
                <a:gd name="connsiteY51" fmla="*/ 2949677 h 3573323"/>
                <a:gd name="connsiteX52" fmla="*/ 484590 w 2701062"/>
                <a:gd name="connsiteY52" fmla="*/ 2915966 h 3573323"/>
                <a:gd name="connsiteX53" fmla="*/ 446665 w 2701062"/>
                <a:gd name="connsiteY53" fmla="*/ 2941249 h 3573323"/>
                <a:gd name="connsiteX54" fmla="*/ 434024 w 2701062"/>
                <a:gd name="connsiteY54" fmla="*/ 3059236 h 3573323"/>
                <a:gd name="connsiteX55" fmla="*/ 328678 w 2701062"/>
                <a:gd name="connsiteY55" fmla="*/ 3185651 h 3573323"/>
                <a:gd name="connsiteX56" fmla="*/ 273899 w 2701062"/>
                <a:gd name="connsiteY56" fmla="*/ 3198292 h 3573323"/>
                <a:gd name="connsiteX57" fmla="*/ 252829 w 2701062"/>
                <a:gd name="connsiteY57" fmla="*/ 3248858 h 3573323"/>
                <a:gd name="connsiteX58" fmla="*/ 202263 w 2701062"/>
                <a:gd name="connsiteY58" fmla="*/ 3328921 h 3573323"/>
                <a:gd name="connsiteX59" fmla="*/ 164339 w 2701062"/>
                <a:gd name="connsiteY59" fmla="*/ 3358418 h 3573323"/>
                <a:gd name="connsiteX60" fmla="*/ 75849 w 2701062"/>
                <a:gd name="connsiteY60" fmla="*/ 3387915 h 3573323"/>
                <a:gd name="connsiteX61" fmla="*/ 12641 w 2701062"/>
                <a:gd name="connsiteY61" fmla="*/ 3421625 h 3573323"/>
                <a:gd name="connsiteX62" fmla="*/ 0 w 2701062"/>
                <a:gd name="connsiteY62" fmla="*/ 3501688 h 3573323"/>
                <a:gd name="connsiteX63" fmla="*/ 63207 w 2701062"/>
                <a:gd name="connsiteY63" fmla="*/ 3497474 h 3573323"/>
                <a:gd name="connsiteX64" fmla="*/ 96918 w 2701062"/>
                <a:gd name="connsiteY64" fmla="*/ 3451122 h 3573323"/>
                <a:gd name="connsiteX65" fmla="*/ 155911 w 2701062"/>
                <a:gd name="connsiteY65" fmla="*/ 3493260 h 3573323"/>
                <a:gd name="connsiteX66" fmla="*/ 164339 w 2701062"/>
                <a:gd name="connsiteY66" fmla="*/ 3573323 h 3573323"/>
                <a:gd name="connsiteX67" fmla="*/ 265471 w 2701062"/>
                <a:gd name="connsiteY67" fmla="*/ 3522757 h 3573323"/>
                <a:gd name="connsiteX68" fmla="*/ 252829 w 2701062"/>
                <a:gd name="connsiteY68" fmla="*/ 3463763 h 3573323"/>
                <a:gd name="connsiteX69" fmla="*/ 307609 w 2701062"/>
                <a:gd name="connsiteY69" fmla="*/ 3421625 h 3573323"/>
                <a:gd name="connsiteX70" fmla="*/ 345534 w 2701062"/>
                <a:gd name="connsiteY70" fmla="*/ 3383701 h 3573323"/>
                <a:gd name="connsiteX71" fmla="*/ 375030 w 2701062"/>
                <a:gd name="connsiteY71" fmla="*/ 3341562 h 3573323"/>
                <a:gd name="connsiteX72" fmla="*/ 497231 w 2701062"/>
                <a:gd name="connsiteY72" fmla="*/ 3349990 h 3573323"/>
                <a:gd name="connsiteX73" fmla="*/ 497231 w 2701062"/>
                <a:gd name="connsiteY73" fmla="*/ 3349990 h 3573323"/>
                <a:gd name="connsiteX74" fmla="*/ 568866 w 2701062"/>
                <a:gd name="connsiteY74" fmla="*/ 3383701 h 3573323"/>
                <a:gd name="connsiteX75" fmla="*/ 589935 w 2701062"/>
                <a:gd name="connsiteY75" fmla="*/ 3362632 h 3573323"/>
                <a:gd name="connsiteX76" fmla="*/ 648929 w 2701062"/>
                <a:gd name="connsiteY76" fmla="*/ 3392128 h 3573323"/>
                <a:gd name="connsiteX77" fmla="*/ 674212 w 2701062"/>
                <a:gd name="connsiteY77" fmla="*/ 3387915 h 3573323"/>
                <a:gd name="connsiteX78" fmla="*/ 720564 w 2701062"/>
                <a:gd name="connsiteY78" fmla="*/ 3451122 h 3573323"/>
                <a:gd name="connsiteX79" fmla="*/ 754275 w 2701062"/>
                <a:gd name="connsiteY79" fmla="*/ 3442694 h 3573323"/>
                <a:gd name="connsiteX80" fmla="*/ 804840 w 2701062"/>
                <a:gd name="connsiteY80" fmla="*/ 3366845 h 3573323"/>
                <a:gd name="connsiteX81" fmla="*/ 842765 w 2701062"/>
                <a:gd name="connsiteY81" fmla="*/ 3333135 h 3573323"/>
                <a:gd name="connsiteX82" fmla="*/ 830123 w 2701062"/>
                <a:gd name="connsiteY82" fmla="*/ 3278355 h 3573323"/>
                <a:gd name="connsiteX83" fmla="*/ 859620 w 2701062"/>
                <a:gd name="connsiteY83" fmla="*/ 3223575 h 3573323"/>
                <a:gd name="connsiteX84" fmla="*/ 918614 w 2701062"/>
                <a:gd name="connsiteY84" fmla="*/ 3173010 h 3573323"/>
                <a:gd name="connsiteX85" fmla="*/ 1011318 w 2701062"/>
                <a:gd name="connsiteY85" fmla="*/ 3156154 h 3573323"/>
                <a:gd name="connsiteX86" fmla="*/ 1078739 w 2701062"/>
                <a:gd name="connsiteY86" fmla="*/ 3143513 h 3573323"/>
                <a:gd name="connsiteX87" fmla="*/ 1163016 w 2701062"/>
                <a:gd name="connsiteY87" fmla="*/ 3215148 h 3573323"/>
                <a:gd name="connsiteX88" fmla="*/ 1222009 w 2701062"/>
                <a:gd name="connsiteY88" fmla="*/ 3248858 h 3573323"/>
                <a:gd name="connsiteX89" fmla="*/ 1226223 w 2701062"/>
                <a:gd name="connsiteY89" fmla="*/ 3202506 h 3573323"/>
                <a:gd name="connsiteX90" fmla="*/ 1243078 w 2701062"/>
                <a:gd name="connsiteY90" fmla="*/ 3194079 h 3573323"/>
                <a:gd name="connsiteX91" fmla="*/ 1344210 w 2701062"/>
                <a:gd name="connsiteY91" fmla="*/ 3215148 h 3573323"/>
                <a:gd name="connsiteX92" fmla="*/ 1398990 w 2701062"/>
                <a:gd name="connsiteY92" fmla="*/ 3223575 h 3573323"/>
                <a:gd name="connsiteX93" fmla="*/ 1436914 w 2701062"/>
                <a:gd name="connsiteY93" fmla="*/ 3151940 h 3573323"/>
                <a:gd name="connsiteX94" fmla="*/ 1495908 w 2701062"/>
                <a:gd name="connsiteY94" fmla="*/ 3143513 h 3573323"/>
                <a:gd name="connsiteX95" fmla="*/ 1597040 w 2701062"/>
                <a:gd name="connsiteY95" fmla="*/ 3198292 h 3573323"/>
                <a:gd name="connsiteX96" fmla="*/ 1656033 w 2701062"/>
                <a:gd name="connsiteY96" fmla="*/ 3219362 h 3573323"/>
                <a:gd name="connsiteX97" fmla="*/ 1719240 w 2701062"/>
                <a:gd name="connsiteY97" fmla="*/ 3160368 h 3573323"/>
                <a:gd name="connsiteX98" fmla="*/ 1715027 w 2701062"/>
                <a:gd name="connsiteY98" fmla="*/ 3088733 h 3573323"/>
                <a:gd name="connsiteX99" fmla="*/ 1833014 w 2701062"/>
                <a:gd name="connsiteY99" fmla="*/ 3139299 h 3573323"/>
                <a:gd name="connsiteX100" fmla="*/ 1862510 w 2701062"/>
                <a:gd name="connsiteY100" fmla="*/ 3088733 h 3573323"/>
                <a:gd name="connsiteX101" fmla="*/ 2018422 w 2701062"/>
                <a:gd name="connsiteY101" fmla="*/ 3067664 h 3573323"/>
                <a:gd name="connsiteX102" fmla="*/ 2186975 w 2701062"/>
                <a:gd name="connsiteY102" fmla="*/ 3126657 h 3573323"/>
                <a:gd name="connsiteX103" fmla="*/ 2254396 w 2701062"/>
                <a:gd name="connsiteY103" fmla="*/ 3042381 h 3573323"/>
                <a:gd name="connsiteX104" fmla="*/ 2338673 w 2701062"/>
                <a:gd name="connsiteY104" fmla="*/ 3042381 h 3573323"/>
                <a:gd name="connsiteX105" fmla="*/ 2380811 w 2701062"/>
                <a:gd name="connsiteY105" fmla="*/ 2987601 h 3573323"/>
                <a:gd name="connsiteX106" fmla="*/ 2456660 w 2701062"/>
                <a:gd name="connsiteY106" fmla="*/ 2991815 h 3573323"/>
                <a:gd name="connsiteX107" fmla="*/ 2469301 w 2701062"/>
                <a:gd name="connsiteY107" fmla="*/ 2911752 h 3573323"/>
                <a:gd name="connsiteX108" fmla="*/ 2595716 w 2701062"/>
                <a:gd name="connsiteY108" fmla="*/ 2844331 h 3573323"/>
                <a:gd name="connsiteX109" fmla="*/ 2595716 w 2701062"/>
                <a:gd name="connsiteY109" fmla="*/ 2743199 h 3573323"/>
                <a:gd name="connsiteX110" fmla="*/ 2616785 w 2701062"/>
                <a:gd name="connsiteY110" fmla="*/ 2705275 h 3573323"/>
                <a:gd name="connsiteX111" fmla="*/ 2591502 w 2701062"/>
                <a:gd name="connsiteY111" fmla="*/ 2679992 h 3573323"/>
                <a:gd name="connsiteX112" fmla="*/ 2515653 w 2701062"/>
                <a:gd name="connsiteY112" fmla="*/ 2679992 h 3573323"/>
                <a:gd name="connsiteX113" fmla="*/ 2460874 w 2701062"/>
                <a:gd name="connsiteY113" fmla="*/ 2692633 h 3573323"/>
                <a:gd name="connsiteX114" fmla="*/ 2435591 w 2701062"/>
                <a:gd name="connsiteY114" fmla="*/ 2705275 h 3573323"/>
                <a:gd name="connsiteX115" fmla="*/ 2397666 w 2701062"/>
                <a:gd name="connsiteY115" fmla="*/ 2654709 h 3573323"/>
                <a:gd name="connsiteX116" fmla="*/ 2347100 w 2701062"/>
                <a:gd name="connsiteY116" fmla="*/ 2629426 h 3573323"/>
                <a:gd name="connsiteX117" fmla="*/ 2410308 w 2701062"/>
                <a:gd name="connsiteY117" fmla="*/ 2591502 h 3573323"/>
                <a:gd name="connsiteX118" fmla="*/ 2439804 w 2701062"/>
                <a:gd name="connsiteY118" fmla="*/ 2444018 h 3573323"/>
                <a:gd name="connsiteX119" fmla="*/ 2481943 w 2701062"/>
                <a:gd name="connsiteY119" fmla="*/ 2477728 h 3573323"/>
                <a:gd name="connsiteX120" fmla="*/ 2532509 w 2701062"/>
                <a:gd name="connsiteY120" fmla="*/ 2406093 h 3573323"/>
                <a:gd name="connsiteX121" fmla="*/ 2545150 w 2701062"/>
                <a:gd name="connsiteY121" fmla="*/ 2368169 h 3573323"/>
                <a:gd name="connsiteX122" fmla="*/ 2633640 w 2701062"/>
                <a:gd name="connsiteY122" fmla="*/ 2254396 h 3573323"/>
                <a:gd name="connsiteX123" fmla="*/ 2650496 w 2701062"/>
                <a:gd name="connsiteY123" fmla="*/ 2161692 h 3573323"/>
                <a:gd name="connsiteX124" fmla="*/ 2696848 w 2701062"/>
                <a:gd name="connsiteY124" fmla="*/ 2085843 h 3573323"/>
                <a:gd name="connsiteX125" fmla="*/ 2701062 w 2701062"/>
                <a:gd name="connsiteY125" fmla="*/ 1879365 h 3573323"/>
                <a:gd name="connsiteX126" fmla="*/ 2503012 w 2701062"/>
                <a:gd name="connsiteY126" fmla="*/ 1744523 h 3573323"/>
                <a:gd name="connsiteX127" fmla="*/ 2237541 w 2701062"/>
                <a:gd name="connsiteY127" fmla="*/ 1715026 h 3573323"/>
                <a:gd name="connsiteX128" fmla="*/ 2161692 w 2701062"/>
                <a:gd name="connsiteY128" fmla="*/ 1803516 h 3573323"/>
                <a:gd name="connsiteX129" fmla="*/ 2123768 w 2701062"/>
                <a:gd name="connsiteY129" fmla="*/ 1795089 h 3573323"/>
                <a:gd name="connsiteX130" fmla="*/ 2111126 w 2701062"/>
                <a:gd name="connsiteY130" fmla="*/ 1744523 h 3573323"/>
                <a:gd name="connsiteX131" fmla="*/ 2203830 w 2701062"/>
                <a:gd name="connsiteY131" fmla="*/ 1647605 h 3573323"/>
                <a:gd name="connsiteX132" fmla="*/ 2178547 w 2701062"/>
                <a:gd name="connsiteY132" fmla="*/ 1508549 h 3573323"/>
                <a:gd name="connsiteX133" fmla="*/ 2090057 w 2701062"/>
                <a:gd name="connsiteY133" fmla="*/ 1415845 h 3573323"/>
                <a:gd name="connsiteX134" fmla="*/ 2056346 w 2701062"/>
                <a:gd name="connsiteY134" fmla="*/ 1386348 h 3573323"/>
                <a:gd name="connsiteX135" fmla="*/ 2127981 w 2701062"/>
                <a:gd name="connsiteY135" fmla="*/ 1373706 h 3573323"/>
                <a:gd name="connsiteX136" fmla="*/ 2127981 w 2701062"/>
                <a:gd name="connsiteY136" fmla="*/ 1339996 h 3573323"/>
                <a:gd name="connsiteX137" fmla="*/ 2031063 w 2701062"/>
                <a:gd name="connsiteY137" fmla="*/ 1213581 h 3573323"/>
                <a:gd name="connsiteX138" fmla="*/ 2022636 w 2701062"/>
                <a:gd name="connsiteY138" fmla="*/ 1129304 h 3573323"/>
                <a:gd name="connsiteX139" fmla="*/ 2056346 w 2701062"/>
                <a:gd name="connsiteY139" fmla="*/ 1066097 h 3573323"/>
                <a:gd name="connsiteX140" fmla="*/ 2039491 w 2701062"/>
                <a:gd name="connsiteY140" fmla="*/ 1032386 h 3573323"/>
                <a:gd name="connsiteX141" fmla="*/ 1967856 w 2701062"/>
                <a:gd name="connsiteY141" fmla="*/ 1011317 h 3573323"/>
                <a:gd name="connsiteX142" fmla="*/ 1929932 w 2701062"/>
                <a:gd name="connsiteY142" fmla="*/ 952324 h 3573323"/>
                <a:gd name="connsiteX143" fmla="*/ 1934146 w 2701062"/>
                <a:gd name="connsiteY143" fmla="*/ 893330 h 3573323"/>
                <a:gd name="connsiteX144" fmla="*/ 1727668 w 2701062"/>
                <a:gd name="connsiteY144" fmla="*/ 775343 h 3573323"/>
                <a:gd name="connsiteX145" fmla="*/ 1664461 w 2701062"/>
                <a:gd name="connsiteY145" fmla="*/ 716350 h 3573323"/>
                <a:gd name="connsiteX146" fmla="*/ 1500122 w 2701062"/>
                <a:gd name="connsiteY146" fmla="*/ 307610 h 3573323"/>
                <a:gd name="connsiteX147" fmla="*/ 1356851 w 2701062"/>
                <a:gd name="connsiteY147" fmla="*/ 0 h 3573323"/>
                <a:gd name="connsiteX0" fmla="*/ 1356851 w 2701062"/>
                <a:gd name="connsiteY0" fmla="*/ 8428 h 3573323"/>
                <a:gd name="connsiteX1" fmla="*/ 876475 w 2701062"/>
                <a:gd name="connsiteY1" fmla="*/ 648928 h 3573323"/>
                <a:gd name="connsiteX2" fmla="*/ 804840 w 2701062"/>
                <a:gd name="connsiteY2" fmla="*/ 720563 h 3573323"/>
                <a:gd name="connsiteX3" fmla="*/ 813268 w 2701062"/>
                <a:gd name="connsiteY3" fmla="*/ 851192 h 3573323"/>
                <a:gd name="connsiteX4" fmla="*/ 897545 w 2701062"/>
                <a:gd name="connsiteY4" fmla="*/ 1019745 h 3573323"/>
                <a:gd name="connsiteX5" fmla="*/ 943897 w 2701062"/>
                <a:gd name="connsiteY5" fmla="*/ 1104021 h 3573323"/>
                <a:gd name="connsiteX6" fmla="*/ 964966 w 2701062"/>
                <a:gd name="connsiteY6" fmla="*/ 1133518 h 3573323"/>
                <a:gd name="connsiteX7" fmla="*/ 994463 w 2701062"/>
                <a:gd name="connsiteY7" fmla="*/ 1108235 h 3573323"/>
                <a:gd name="connsiteX8" fmla="*/ 1011318 w 2701062"/>
                <a:gd name="connsiteY8" fmla="*/ 1053456 h 3573323"/>
                <a:gd name="connsiteX9" fmla="*/ 1057670 w 2701062"/>
                <a:gd name="connsiteY9" fmla="*/ 1045028 h 3573323"/>
                <a:gd name="connsiteX10" fmla="*/ 1053456 w 2701062"/>
                <a:gd name="connsiteY10" fmla="*/ 1108235 h 3573323"/>
                <a:gd name="connsiteX11" fmla="*/ 1040815 w 2701062"/>
                <a:gd name="connsiteY11" fmla="*/ 1141946 h 3573323"/>
                <a:gd name="connsiteX12" fmla="*/ 1049242 w 2701062"/>
                <a:gd name="connsiteY12" fmla="*/ 1167229 h 3573323"/>
                <a:gd name="connsiteX13" fmla="*/ 986035 w 2701062"/>
                <a:gd name="connsiteY13" fmla="*/ 1184084 h 3573323"/>
                <a:gd name="connsiteX14" fmla="*/ 1011318 w 2701062"/>
                <a:gd name="connsiteY14" fmla="*/ 1318927 h 3573323"/>
                <a:gd name="connsiteX15" fmla="*/ 1049242 w 2701062"/>
                <a:gd name="connsiteY15" fmla="*/ 1314713 h 3573323"/>
                <a:gd name="connsiteX16" fmla="*/ 1040815 w 2701062"/>
                <a:gd name="connsiteY16" fmla="*/ 1377920 h 3573323"/>
                <a:gd name="connsiteX17" fmla="*/ 981821 w 2701062"/>
                <a:gd name="connsiteY17" fmla="*/ 1411631 h 3573323"/>
                <a:gd name="connsiteX18" fmla="*/ 931255 w 2701062"/>
                <a:gd name="connsiteY18" fmla="*/ 1411631 h 3573323"/>
                <a:gd name="connsiteX19" fmla="*/ 897545 w 2701062"/>
                <a:gd name="connsiteY19" fmla="*/ 1474838 h 3573323"/>
                <a:gd name="connsiteX20" fmla="*/ 901758 w 2701062"/>
                <a:gd name="connsiteY20" fmla="*/ 1504335 h 3573323"/>
                <a:gd name="connsiteX21" fmla="*/ 948110 w 2701062"/>
                <a:gd name="connsiteY21" fmla="*/ 1512762 h 3573323"/>
                <a:gd name="connsiteX22" fmla="*/ 931255 w 2701062"/>
                <a:gd name="connsiteY22" fmla="*/ 1550687 h 3573323"/>
                <a:gd name="connsiteX23" fmla="*/ 952324 w 2701062"/>
                <a:gd name="connsiteY23" fmla="*/ 1559115 h 3573323"/>
                <a:gd name="connsiteX24" fmla="*/ 1015532 w 2701062"/>
                <a:gd name="connsiteY24" fmla="*/ 1563328 h 3573323"/>
                <a:gd name="connsiteX25" fmla="*/ 1040815 w 2701062"/>
                <a:gd name="connsiteY25" fmla="*/ 1601253 h 3573323"/>
                <a:gd name="connsiteX26" fmla="*/ 1036601 w 2701062"/>
                <a:gd name="connsiteY26" fmla="*/ 1639177 h 3573323"/>
                <a:gd name="connsiteX27" fmla="*/ 1104022 w 2701062"/>
                <a:gd name="connsiteY27" fmla="*/ 1740309 h 3573323"/>
                <a:gd name="connsiteX28" fmla="*/ 1053456 w 2701062"/>
                <a:gd name="connsiteY28" fmla="*/ 1765592 h 3573323"/>
                <a:gd name="connsiteX29" fmla="*/ 998676 w 2701062"/>
                <a:gd name="connsiteY29" fmla="*/ 1761378 h 3573323"/>
                <a:gd name="connsiteX30" fmla="*/ 964966 w 2701062"/>
                <a:gd name="connsiteY30" fmla="*/ 1841441 h 3573323"/>
                <a:gd name="connsiteX31" fmla="*/ 1015532 w 2701062"/>
                <a:gd name="connsiteY31" fmla="*/ 1883579 h 3573323"/>
                <a:gd name="connsiteX32" fmla="*/ 994463 w 2701062"/>
                <a:gd name="connsiteY32" fmla="*/ 1980497 h 3573323"/>
                <a:gd name="connsiteX33" fmla="*/ 1019746 w 2701062"/>
                <a:gd name="connsiteY33" fmla="*/ 2014208 h 3573323"/>
                <a:gd name="connsiteX34" fmla="*/ 990249 w 2701062"/>
                <a:gd name="connsiteY34" fmla="*/ 2047918 h 3573323"/>
                <a:gd name="connsiteX35" fmla="*/ 948110 w 2701062"/>
                <a:gd name="connsiteY35" fmla="*/ 2047918 h 3573323"/>
                <a:gd name="connsiteX36" fmla="*/ 939683 w 2701062"/>
                <a:gd name="connsiteY36" fmla="*/ 2085843 h 3573323"/>
                <a:gd name="connsiteX37" fmla="*/ 994463 w 2701062"/>
                <a:gd name="connsiteY37" fmla="*/ 2132195 h 3573323"/>
                <a:gd name="connsiteX38" fmla="*/ 981821 w 2701062"/>
                <a:gd name="connsiteY38" fmla="*/ 2313389 h 3573323"/>
                <a:gd name="connsiteX39" fmla="*/ 1015532 w 2701062"/>
                <a:gd name="connsiteY39" fmla="*/ 2393452 h 3573323"/>
                <a:gd name="connsiteX40" fmla="*/ 1049242 w 2701062"/>
                <a:gd name="connsiteY40" fmla="*/ 2393452 h 3573323"/>
                <a:gd name="connsiteX41" fmla="*/ 1129305 w 2701062"/>
                <a:gd name="connsiteY41" fmla="*/ 2460873 h 3573323"/>
                <a:gd name="connsiteX42" fmla="*/ 1125091 w 2701062"/>
                <a:gd name="connsiteY42" fmla="*/ 2591502 h 3573323"/>
                <a:gd name="connsiteX43" fmla="*/ 1087167 w 2701062"/>
                <a:gd name="connsiteY43" fmla="*/ 2654709 h 3573323"/>
                <a:gd name="connsiteX44" fmla="*/ 1015532 w 2701062"/>
                <a:gd name="connsiteY44" fmla="*/ 2722130 h 3573323"/>
                <a:gd name="connsiteX45" fmla="*/ 1007104 w 2701062"/>
                <a:gd name="connsiteY45" fmla="*/ 2810621 h 3573323"/>
                <a:gd name="connsiteX46" fmla="*/ 922828 w 2701062"/>
                <a:gd name="connsiteY46" fmla="*/ 2823262 h 3573323"/>
                <a:gd name="connsiteX47" fmla="*/ 868048 w 2701062"/>
                <a:gd name="connsiteY47" fmla="*/ 2827476 h 3573323"/>
                <a:gd name="connsiteX48" fmla="*/ 830123 w 2701062"/>
                <a:gd name="connsiteY48" fmla="*/ 2789551 h 3573323"/>
                <a:gd name="connsiteX49" fmla="*/ 577294 w 2701062"/>
                <a:gd name="connsiteY49" fmla="*/ 2810621 h 3573323"/>
                <a:gd name="connsiteX50" fmla="*/ 568866 w 2701062"/>
                <a:gd name="connsiteY50" fmla="*/ 2915966 h 3573323"/>
                <a:gd name="connsiteX51" fmla="*/ 514087 w 2701062"/>
                <a:gd name="connsiteY51" fmla="*/ 2949677 h 3573323"/>
                <a:gd name="connsiteX52" fmla="*/ 484590 w 2701062"/>
                <a:gd name="connsiteY52" fmla="*/ 2915966 h 3573323"/>
                <a:gd name="connsiteX53" fmla="*/ 446665 w 2701062"/>
                <a:gd name="connsiteY53" fmla="*/ 2941249 h 3573323"/>
                <a:gd name="connsiteX54" fmla="*/ 434024 w 2701062"/>
                <a:gd name="connsiteY54" fmla="*/ 3059236 h 3573323"/>
                <a:gd name="connsiteX55" fmla="*/ 328678 w 2701062"/>
                <a:gd name="connsiteY55" fmla="*/ 3185651 h 3573323"/>
                <a:gd name="connsiteX56" fmla="*/ 273899 w 2701062"/>
                <a:gd name="connsiteY56" fmla="*/ 3198292 h 3573323"/>
                <a:gd name="connsiteX57" fmla="*/ 252829 w 2701062"/>
                <a:gd name="connsiteY57" fmla="*/ 3248858 h 3573323"/>
                <a:gd name="connsiteX58" fmla="*/ 202263 w 2701062"/>
                <a:gd name="connsiteY58" fmla="*/ 3328921 h 3573323"/>
                <a:gd name="connsiteX59" fmla="*/ 164339 w 2701062"/>
                <a:gd name="connsiteY59" fmla="*/ 3358418 h 3573323"/>
                <a:gd name="connsiteX60" fmla="*/ 75849 w 2701062"/>
                <a:gd name="connsiteY60" fmla="*/ 3387915 h 3573323"/>
                <a:gd name="connsiteX61" fmla="*/ 12641 w 2701062"/>
                <a:gd name="connsiteY61" fmla="*/ 3421625 h 3573323"/>
                <a:gd name="connsiteX62" fmla="*/ 0 w 2701062"/>
                <a:gd name="connsiteY62" fmla="*/ 3501688 h 3573323"/>
                <a:gd name="connsiteX63" fmla="*/ 63207 w 2701062"/>
                <a:gd name="connsiteY63" fmla="*/ 3497474 h 3573323"/>
                <a:gd name="connsiteX64" fmla="*/ 96918 w 2701062"/>
                <a:gd name="connsiteY64" fmla="*/ 3451122 h 3573323"/>
                <a:gd name="connsiteX65" fmla="*/ 155911 w 2701062"/>
                <a:gd name="connsiteY65" fmla="*/ 3493260 h 3573323"/>
                <a:gd name="connsiteX66" fmla="*/ 164339 w 2701062"/>
                <a:gd name="connsiteY66" fmla="*/ 3573323 h 3573323"/>
                <a:gd name="connsiteX67" fmla="*/ 265471 w 2701062"/>
                <a:gd name="connsiteY67" fmla="*/ 3522757 h 3573323"/>
                <a:gd name="connsiteX68" fmla="*/ 252829 w 2701062"/>
                <a:gd name="connsiteY68" fmla="*/ 3463763 h 3573323"/>
                <a:gd name="connsiteX69" fmla="*/ 307609 w 2701062"/>
                <a:gd name="connsiteY69" fmla="*/ 3421625 h 3573323"/>
                <a:gd name="connsiteX70" fmla="*/ 345534 w 2701062"/>
                <a:gd name="connsiteY70" fmla="*/ 3383701 h 3573323"/>
                <a:gd name="connsiteX71" fmla="*/ 375030 w 2701062"/>
                <a:gd name="connsiteY71" fmla="*/ 3341562 h 3573323"/>
                <a:gd name="connsiteX72" fmla="*/ 497231 w 2701062"/>
                <a:gd name="connsiteY72" fmla="*/ 3349990 h 3573323"/>
                <a:gd name="connsiteX73" fmla="*/ 497231 w 2701062"/>
                <a:gd name="connsiteY73" fmla="*/ 3349990 h 3573323"/>
                <a:gd name="connsiteX74" fmla="*/ 568866 w 2701062"/>
                <a:gd name="connsiteY74" fmla="*/ 3383701 h 3573323"/>
                <a:gd name="connsiteX75" fmla="*/ 589935 w 2701062"/>
                <a:gd name="connsiteY75" fmla="*/ 3362632 h 3573323"/>
                <a:gd name="connsiteX76" fmla="*/ 648929 w 2701062"/>
                <a:gd name="connsiteY76" fmla="*/ 3392128 h 3573323"/>
                <a:gd name="connsiteX77" fmla="*/ 674212 w 2701062"/>
                <a:gd name="connsiteY77" fmla="*/ 3387915 h 3573323"/>
                <a:gd name="connsiteX78" fmla="*/ 720564 w 2701062"/>
                <a:gd name="connsiteY78" fmla="*/ 3451122 h 3573323"/>
                <a:gd name="connsiteX79" fmla="*/ 754275 w 2701062"/>
                <a:gd name="connsiteY79" fmla="*/ 3442694 h 3573323"/>
                <a:gd name="connsiteX80" fmla="*/ 804840 w 2701062"/>
                <a:gd name="connsiteY80" fmla="*/ 3366845 h 3573323"/>
                <a:gd name="connsiteX81" fmla="*/ 842765 w 2701062"/>
                <a:gd name="connsiteY81" fmla="*/ 3333135 h 3573323"/>
                <a:gd name="connsiteX82" fmla="*/ 830123 w 2701062"/>
                <a:gd name="connsiteY82" fmla="*/ 3278355 h 3573323"/>
                <a:gd name="connsiteX83" fmla="*/ 859620 w 2701062"/>
                <a:gd name="connsiteY83" fmla="*/ 3223575 h 3573323"/>
                <a:gd name="connsiteX84" fmla="*/ 918614 w 2701062"/>
                <a:gd name="connsiteY84" fmla="*/ 3173010 h 3573323"/>
                <a:gd name="connsiteX85" fmla="*/ 1011318 w 2701062"/>
                <a:gd name="connsiteY85" fmla="*/ 3156154 h 3573323"/>
                <a:gd name="connsiteX86" fmla="*/ 1078739 w 2701062"/>
                <a:gd name="connsiteY86" fmla="*/ 3143513 h 3573323"/>
                <a:gd name="connsiteX87" fmla="*/ 1163016 w 2701062"/>
                <a:gd name="connsiteY87" fmla="*/ 3215148 h 3573323"/>
                <a:gd name="connsiteX88" fmla="*/ 1222009 w 2701062"/>
                <a:gd name="connsiteY88" fmla="*/ 3248858 h 3573323"/>
                <a:gd name="connsiteX89" fmla="*/ 1226223 w 2701062"/>
                <a:gd name="connsiteY89" fmla="*/ 3202506 h 3573323"/>
                <a:gd name="connsiteX90" fmla="*/ 1243078 w 2701062"/>
                <a:gd name="connsiteY90" fmla="*/ 3194079 h 3573323"/>
                <a:gd name="connsiteX91" fmla="*/ 1344210 w 2701062"/>
                <a:gd name="connsiteY91" fmla="*/ 3215148 h 3573323"/>
                <a:gd name="connsiteX92" fmla="*/ 1398990 w 2701062"/>
                <a:gd name="connsiteY92" fmla="*/ 3223575 h 3573323"/>
                <a:gd name="connsiteX93" fmla="*/ 1436914 w 2701062"/>
                <a:gd name="connsiteY93" fmla="*/ 3151940 h 3573323"/>
                <a:gd name="connsiteX94" fmla="*/ 1495908 w 2701062"/>
                <a:gd name="connsiteY94" fmla="*/ 3143513 h 3573323"/>
                <a:gd name="connsiteX95" fmla="*/ 1597040 w 2701062"/>
                <a:gd name="connsiteY95" fmla="*/ 3198292 h 3573323"/>
                <a:gd name="connsiteX96" fmla="*/ 1656033 w 2701062"/>
                <a:gd name="connsiteY96" fmla="*/ 3219362 h 3573323"/>
                <a:gd name="connsiteX97" fmla="*/ 1719240 w 2701062"/>
                <a:gd name="connsiteY97" fmla="*/ 3160368 h 3573323"/>
                <a:gd name="connsiteX98" fmla="*/ 1715027 w 2701062"/>
                <a:gd name="connsiteY98" fmla="*/ 3088733 h 3573323"/>
                <a:gd name="connsiteX99" fmla="*/ 1833014 w 2701062"/>
                <a:gd name="connsiteY99" fmla="*/ 3139299 h 3573323"/>
                <a:gd name="connsiteX100" fmla="*/ 1862510 w 2701062"/>
                <a:gd name="connsiteY100" fmla="*/ 3088733 h 3573323"/>
                <a:gd name="connsiteX101" fmla="*/ 2018422 w 2701062"/>
                <a:gd name="connsiteY101" fmla="*/ 3067664 h 3573323"/>
                <a:gd name="connsiteX102" fmla="*/ 2186975 w 2701062"/>
                <a:gd name="connsiteY102" fmla="*/ 3126657 h 3573323"/>
                <a:gd name="connsiteX103" fmla="*/ 2254396 w 2701062"/>
                <a:gd name="connsiteY103" fmla="*/ 3042381 h 3573323"/>
                <a:gd name="connsiteX104" fmla="*/ 2338673 w 2701062"/>
                <a:gd name="connsiteY104" fmla="*/ 3042381 h 3573323"/>
                <a:gd name="connsiteX105" fmla="*/ 2380811 w 2701062"/>
                <a:gd name="connsiteY105" fmla="*/ 2987601 h 3573323"/>
                <a:gd name="connsiteX106" fmla="*/ 2456660 w 2701062"/>
                <a:gd name="connsiteY106" fmla="*/ 2991815 h 3573323"/>
                <a:gd name="connsiteX107" fmla="*/ 2469301 w 2701062"/>
                <a:gd name="connsiteY107" fmla="*/ 2911752 h 3573323"/>
                <a:gd name="connsiteX108" fmla="*/ 2595716 w 2701062"/>
                <a:gd name="connsiteY108" fmla="*/ 2844331 h 3573323"/>
                <a:gd name="connsiteX109" fmla="*/ 2595716 w 2701062"/>
                <a:gd name="connsiteY109" fmla="*/ 2743199 h 3573323"/>
                <a:gd name="connsiteX110" fmla="*/ 2616785 w 2701062"/>
                <a:gd name="connsiteY110" fmla="*/ 2705275 h 3573323"/>
                <a:gd name="connsiteX111" fmla="*/ 2591502 w 2701062"/>
                <a:gd name="connsiteY111" fmla="*/ 2679992 h 3573323"/>
                <a:gd name="connsiteX112" fmla="*/ 2515653 w 2701062"/>
                <a:gd name="connsiteY112" fmla="*/ 2679992 h 3573323"/>
                <a:gd name="connsiteX113" fmla="*/ 2460874 w 2701062"/>
                <a:gd name="connsiteY113" fmla="*/ 2692633 h 3573323"/>
                <a:gd name="connsiteX114" fmla="*/ 2435591 w 2701062"/>
                <a:gd name="connsiteY114" fmla="*/ 2705275 h 3573323"/>
                <a:gd name="connsiteX115" fmla="*/ 2397666 w 2701062"/>
                <a:gd name="connsiteY115" fmla="*/ 2654709 h 3573323"/>
                <a:gd name="connsiteX116" fmla="*/ 2347100 w 2701062"/>
                <a:gd name="connsiteY116" fmla="*/ 2629426 h 3573323"/>
                <a:gd name="connsiteX117" fmla="*/ 2410308 w 2701062"/>
                <a:gd name="connsiteY117" fmla="*/ 2591502 h 3573323"/>
                <a:gd name="connsiteX118" fmla="*/ 2439804 w 2701062"/>
                <a:gd name="connsiteY118" fmla="*/ 2444018 h 3573323"/>
                <a:gd name="connsiteX119" fmla="*/ 2481943 w 2701062"/>
                <a:gd name="connsiteY119" fmla="*/ 2477728 h 3573323"/>
                <a:gd name="connsiteX120" fmla="*/ 2532509 w 2701062"/>
                <a:gd name="connsiteY120" fmla="*/ 2406093 h 3573323"/>
                <a:gd name="connsiteX121" fmla="*/ 2545150 w 2701062"/>
                <a:gd name="connsiteY121" fmla="*/ 2368169 h 3573323"/>
                <a:gd name="connsiteX122" fmla="*/ 2633640 w 2701062"/>
                <a:gd name="connsiteY122" fmla="*/ 2254396 h 3573323"/>
                <a:gd name="connsiteX123" fmla="*/ 2650496 w 2701062"/>
                <a:gd name="connsiteY123" fmla="*/ 2161692 h 3573323"/>
                <a:gd name="connsiteX124" fmla="*/ 2696848 w 2701062"/>
                <a:gd name="connsiteY124" fmla="*/ 2085843 h 3573323"/>
                <a:gd name="connsiteX125" fmla="*/ 2701062 w 2701062"/>
                <a:gd name="connsiteY125" fmla="*/ 1879365 h 3573323"/>
                <a:gd name="connsiteX126" fmla="*/ 2503012 w 2701062"/>
                <a:gd name="connsiteY126" fmla="*/ 1744523 h 3573323"/>
                <a:gd name="connsiteX127" fmla="*/ 2237541 w 2701062"/>
                <a:gd name="connsiteY127" fmla="*/ 1715026 h 3573323"/>
                <a:gd name="connsiteX128" fmla="*/ 2161692 w 2701062"/>
                <a:gd name="connsiteY128" fmla="*/ 1803516 h 3573323"/>
                <a:gd name="connsiteX129" fmla="*/ 2123768 w 2701062"/>
                <a:gd name="connsiteY129" fmla="*/ 1795089 h 3573323"/>
                <a:gd name="connsiteX130" fmla="*/ 2111126 w 2701062"/>
                <a:gd name="connsiteY130" fmla="*/ 1744523 h 3573323"/>
                <a:gd name="connsiteX131" fmla="*/ 2203830 w 2701062"/>
                <a:gd name="connsiteY131" fmla="*/ 1647605 h 3573323"/>
                <a:gd name="connsiteX132" fmla="*/ 2178547 w 2701062"/>
                <a:gd name="connsiteY132" fmla="*/ 1508549 h 3573323"/>
                <a:gd name="connsiteX133" fmla="*/ 2090057 w 2701062"/>
                <a:gd name="connsiteY133" fmla="*/ 1415845 h 3573323"/>
                <a:gd name="connsiteX134" fmla="*/ 2056346 w 2701062"/>
                <a:gd name="connsiteY134" fmla="*/ 1386348 h 3573323"/>
                <a:gd name="connsiteX135" fmla="*/ 2127981 w 2701062"/>
                <a:gd name="connsiteY135" fmla="*/ 1373706 h 3573323"/>
                <a:gd name="connsiteX136" fmla="*/ 2127981 w 2701062"/>
                <a:gd name="connsiteY136" fmla="*/ 1339996 h 3573323"/>
                <a:gd name="connsiteX137" fmla="*/ 2031063 w 2701062"/>
                <a:gd name="connsiteY137" fmla="*/ 1213581 h 3573323"/>
                <a:gd name="connsiteX138" fmla="*/ 2022636 w 2701062"/>
                <a:gd name="connsiteY138" fmla="*/ 1129304 h 3573323"/>
                <a:gd name="connsiteX139" fmla="*/ 2056346 w 2701062"/>
                <a:gd name="connsiteY139" fmla="*/ 1066097 h 3573323"/>
                <a:gd name="connsiteX140" fmla="*/ 2039491 w 2701062"/>
                <a:gd name="connsiteY140" fmla="*/ 1032386 h 3573323"/>
                <a:gd name="connsiteX141" fmla="*/ 1967856 w 2701062"/>
                <a:gd name="connsiteY141" fmla="*/ 1011317 h 3573323"/>
                <a:gd name="connsiteX142" fmla="*/ 1929932 w 2701062"/>
                <a:gd name="connsiteY142" fmla="*/ 952324 h 3573323"/>
                <a:gd name="connsiteX143" fmla="*/ 1934146 w 2701062"/>
                <a:gd name="connsiteY143" fmla="*/ 893330 h 3573323"/>
                <a:gd name="connsiteX144" fmla="*/ 1727668 w 2701062"/>
                <a:gd name="connsiteY144" fmla="*/ 775343 h 3573323"/>
                <a:gd name="connsiteX145" fmla="*/ 1664461 w 2701062"/>
                <a:gd name="connsiteY145" fmla="*/ 716350 h 3573323"/>
                <a:gd name="connsiteX146" fmla="*/ 1516977 w 2701062"/>
                <a:gd name="connsiteY146" fmla="*/ 176981 h 3573323"/>
                <a:gd name="connsiteX147" fmla="*/ 1356851 w 2701062"/>
                <a:gd name="connsiteY147" fmla="*/ 0 h 3573323"/>
                <a:gd name="connsiteX0" fmla="*/ 1356851 w 2701062"/>
                <a:gd name="connsiteY0" fmla="*/ 8428 h 3573323"/>
                <a:gd name="connsiteX1" fmla="*/ 1082953 w 2701062"/>
                <a:gd name="connsiteY1" fmla="*/ 370817 h 3573323"/>
                <a:gd name="connsiteX2" fmla="*/ 876475 w 2701062"/>
                <a:gd name="connsiteY2" fmla="*/ 648928 h 3573323"/>
                <a:gd name="connsiteX3" fmla="*/ 804840 w 2701062"/>
                <a:gd name="connsiteY3" fmla="*/ 720563 h 3573323"/>
                <a:gd name="connsiteX4" fmla="*/ 813268 w 2701062"/>
                <a:gd name="connsiteY4" fmla="*/ 851192 h 3573323"/>
                <a:gd name="connsiteX5" fmla="*/ 897545 w 2701062"/>
                <a:gd name="connsiteY5" fmla="*/ 1019745 h 3573323"/>
                <a:gd name="connsiteX6" fmla="*/ 943897 w 2701062"/>
                <a:gd name="connsiteY6" fmla="*/ 1104021 h 3573323"/>
                <a:gd name="connsiteX7" fmla="*/ 964966 w 2701062"/>
                <a:gd name="connsiteY7" fmla="*/ 1133518 h 3573323"/>
                <a:gd name="connsiteX8" fmla="*/ 994463 w 2701062"/>
                <a:gd name="connsiteY8" fmla="*/ 1108235 h 3573323"/>
                <a:gd name="connsiteX9" fmla="*/ 1011318 w 2701062"/>
                <a:gd name="connsiteY9" fmla="*/ 1053456 h 3573323"/>
                <a:gd name="connsiteX10" fmla="*/ 1057670 w 2701062"/>
                <a:gd name="connsiteY10" fmla="*/ 1045028 h 3573323"/>
                <a:gd name="connsiteX11" fmla="*/ 1053456 w 2701062"/>
                <a:gd name="connsiteY11" fmla="*/ 1108235 h 3573323"/>
                <a:gd name="connsiteX12" fmla="*/ 1040815 w 2701062"/>
                <a:gd name="connsiteY12" fmla="*/ 1141946 h 3573323"/>
                <a:gd name="connsiteX13" fmla="*/ 1049242 w 2701062"/>
                <a:gd name="connsiteY13" fmla="*/ 1167229 h 3573323"/>
                <a:gd name="connsiteX14" fmla="*/ 986035 w 2701062"/>
                <a:gd name="connsiteY14" fmla="*/ 1184084 h 3573323"/>
                <a:gd name="connsiteX15" fmla="*/ 1011318 w 2701062"/>
                <a:gd name="connsiteY15" fmla="*/ 1318927 h 3573323"/>
                <a:gd name="connsiteX16" fmla="*/ 1049242 w 2701062"/>
                <a:gd name="connsiteY16" fmla="*/ 1314713 h 3573323"/>
                <a:gd name="connsiteX17" fmla="*/ 1040815 w 2701062"/>
                <a:gd name="connsiteY17" fmla="*/ 1377920 h 3573323"/>
                <a:gd name="connsiteX18" fmla="*/ 981821 w 2701062"/>
                <a:gd name="connsiteY18" fmla="*/ 1411631 h 3573323"/>
                <a:gd name="connsiteX19" fmla="*/ 931255 w 2701062"/>
                <a:gd name="connsiteY19" fmla="*/ 1411631 h 3573323"/>
                <a:gd name="connsiteX20" fmla="*/ 897545 w 2701062"/>
                <a:gd name="connsiteY20" fmla="*/ 1474838 h 3573323"/>
                <a:gd name="connsiteX21" fmla="*/ 901758 w 2701062"/>
                <a:gd name="connsiteY21" fmla="*/ 1504335 h 3573323"/>
                <a:gd name="connsiteX22" fmla="*/ 948110 w 2701062"/>
                <a:gd name="connsiteY22" fmla="*/ 1512762 h 3573323"/>
                <a:gd name="connsiteX23" fmla="*/ 931255 w 2701062"/>
                <a:gd name="connsiteY23" fmla="*/ 1550687 h 3573323"/>
                <a:gd name="connsiteX24" fmla="*/ 952324 w 2701062"/>
                <a:gd name="connsiteY24" fmla="*/ 1559115 h 3573323"/>
                <a:gd name="connsiteX25" fmla="*/ 1015532 w 2701062"/>
                <a:gd name="connsiteY25" fmla="*/ 1563328 h 3573323"/>
                <a:gd name="connsiteX26" fmla="*/ 1040815 w 2701062"/>
                <a:gd name="connsiteY26" fmla="*/ 1601253 h 3573323"/>
                <a:gd name="connsiteX27" fmla="*/ 1036601 w 2701062"/>
                <a:gd name="connsiteY27" fmla="*/ 1639177 h 3573323"/>
                <a:gd name="connsiteX28" fmla="*/ 1104022 w 2701062"/>
                <a:gd name="connsiteY28" fmla="*/ 1740309 h 3573323"/>
                <a:gd name="connsiteX29" fmla="*/ 1053456 w 2701062"/>
                <a:gd name="connsiteY29" fmla="*/ 1765592 h 3573323"/>
                <a:gd name="connsiteX30" fmla="*/ 998676 w 2701062"/>
                <a:gd name="connsiteY30" fmla="*/ 1761378 h 3573323"/>
                <a:gd name="connsiteX31" fmla="*/ 964966 w 2701062"/>
                <a:gd name="connsiteY31" fmla="*/ 1841441 h 3573323"/>
                <a:gd name="connsiteX32" fmla="*/ 1015532 w 2701062"/>
                <a:gd name="connsiteY32" fmla="*/ 1883579 h 3573323"/>
                <a:gd name="connsiteX33" fmla="*/ 994463 w 2701062"/>
                <a:gd name="connsiteY33" fmla="*/ 1980497 h 3573323"/>
                <a:gd name="connsiteX34" fmla="*/ 1019746 w 2701062"/>
                <a:gd name="connsiteY34" fmla="*/ 2014208 h 3573323"/>
                <a:gd name="connsiteX35" fmla="*/ 990249 w 2701062"/>
                <a:gd name="connsiteY35" fmla="*/ 2047918 h 3573323"/>
                <a:gd name="connsiteX36" fmla="*/ 948110 w 2701062"/>
                <a:gd name="connsiteY36" fmla="*/ 2047918 h 3573323"/>
                <a:gd name="connsiteX37" fmla="*/ 939683 w 2701062"/>
                <a:gd name="connsiteY37" fmla="*/ 2085843 h 3573323"/>
                <a:gd name="connsiteX38" fmla="*/ 994463 w 2701062"/>
                <a:gd name="connsiteY38" fmla="*/ 2132195 h 3573323"/>
                <a:gd name="connsiteX39" fmla="*/ 981821 w 2701062"/>
                <a:gd name="connsiteY39" fmla="*/ 2313389 h 3573323"/>
                <a:gd name="connsiteX40" fmla="*/ 1015532 w 2701062"/>
                <a:gd name="connsiteY40" fmla="*/ 2393452 h 3573323"/>
                <a:gd name="connsiteX41" fmla="*/ 1049242 w 2701062"/>
                <a:gd name="connsiteY41" fmla="*/ 2393452 h 3573323"/>
                <a:gd name="connsiteX42" fmla="*/ 1129305 w 2701062"/>
                <a:gd name="connsiteY42" fmla="*/ 2460873 h 3573323"/>
                <a:gd name="connsiteX43" fmla="*/ 1125091 w 2701062"/>
                <a:gd name="connsiteY43" fmla="*/ 2591502 h 3573323"/>
                <a:gd name="connsiteX44" fmla="*/ 1087167 w 2701062"/>
                <a:gd name="connsiteY44" fmla="*/ 2654709 h 3573323"/>
                <a:gd name="connsiteX45" fmla="*/ 1015532 w 2701062"/>
                <a:gd name="connsiteY45" fmla="*/ 2722130 h 3573323"/>
                <a:gd name="connsiteX46" fmla="*/ 1007104 w 2701062"/>
                <a:gd name="connsiteY46" fmla="*/ 2810621 h 3573323"/>
                <a:gd name="connsiteX47" fmla="*/ 922828 w 2701062"/>
                <a:gd name="connsiteY47" fmla="*/ 2823262 h 3573323"/>
                <a:gd name="connsiteX48" fmla="*/ 868048 w 2701062"/>
                <a:gd name="connsiteY48" fmla="*/ 2827476 h 3573323"/>
                <a:gd name="connsiteX49" fmla="*/ 830123 w 2701062"/>
                <a:gd name="connsiteY49" fmla="*/ 2789551 h 3573323"/>
                <a:gd name="connsiteX50" fmla="*/ 577294 w 2701062"/>
                <a:gd name="connsiteY50" fmla="*/ 2810621 h 3573323"/>
                <a:gd name="connsiteX51" fmla="*/ 568866 w 2701062"/>
                <a:gd name="connsiteY51" fmla="*/ 2915966 h 3573323"/>
                <a:gd name="connsiteX52" fmla="*/ 514087 w 2701062"/>
                <a:gd name="connsiteY52" fmla="*/ 2949677 h 3573323"/>
                <a:gd name="connsiteX53" fmla="*/ 484590 w 2701062"/>
                <a:gd name="connsiteY53" fmla="*/ 2915966 h 3573323"/>
                <a:gd name="connsiteX54" fmla="*/ 446665 w 2701062"/>
                <a:gd name="connsiteY54" fmla="*/ 2941249 h 3573323"/>
                <a:gd name="connsiteX55" fmla="*/ 434024 w 2701062"/>
                <a:gd name="connsiteY55" fmla="*/ 3059236 h 3573323"/>
                <a:gd name="connsiteX56" fmla="*/ 328678 w 2701062"/>
                <a:gd name="connsiteY56" fmla="*/ 3185651 h 3573323"/>
                <a:gd name="connsiteX57" fmla="*/ 273899 w 2701062"/>
                <a:gd name="connsiteY57" fmla="*/ 3198292 h 3573323"/>
                <a:gd name="connsiteX58" fmla="*/ 252829 w 2701062"/>
                <a:gd name="connsiteY58" fmla="*/ 3248858 h 3573323"/>
                <a:gd name="connsiteX59" fmla="*/ 202263 w 2701062"/>
                <a:gd name="connsiteY59" fmla="*/ 3328921 h 3573323"/>
                <a:gd name="connsiteX60" fmla="*/ 164339 w 2701062"/>
                <a:gd name="connsiteY60" fmla="*/ 3358418 h 3573323"/>
                <a:gd name="connsiteX61" fmla="*/ 75849 w 2701062"/>
                <a:gd name="connsiteY61" fmla="*/ 3387915 h 3573323"/>
                <a:gd name="connsiteX62" fmla="*/ 12641 w 2701062"/>
                <a:gd name="connsiteY62" fmla="*/ 3421625 h 3573323"/>
                <a:gd name="connsiteX63" fmla="*/ 0 w 2701062"/>
                <a:gd name="connsiteY63" fmla="*/ 3501688 h 3573323"/>
                <a:gd name="connsiteX64" fmla="*/ 63207 w 2701062"/>
                <a:gd name="connsiteY64" fmla="*/ 3497474 h 3573323"/>
                <a:gd name="connsiteX65" fmla="*/ 96918 w 2701062"/>
                <a:gd name="connsiteY65" fmla="*/ 3451122 h 3573323"/>
                <a:gd name="connsiteX66" fmla="*/ 155911 w 2701062"/>
                <a:gd name="connsiteY66" fmla="*/ 3493260 h 3573323"/>
                <a:gd name="connsiteX67" fmla="*/ 164339 w 2701062"/>
                <a:gd name="connsiteY67" fmla="*/ 3573323 h 3573323"/>
                <a:gd name="connsiteX68" fmla="*/ 265471 w 2701062"/>
                <a:gd name="connsiteY68" fmla="*/ 3522757 h 3573323"/>
                <a:gd name="connsiteX69" fmla="*/ 252829 w 2701062"/>
                <a:gd name="connsiteY69" fmla="*/ 3463763 h 3573323"/>
                <a:gd name="connsiteX70" fmla="*/ 307609 w 2701062"/>
                <a:gd name="connsiteY70" fmla="*/ 3421625 h 3573323"/>
                <a:gd name="connsiteX71" fmla="*/ 345534 w 2701062"/>
                <a:gd name="connsiteY71" fmla="*/ 3383701 h 3573323"/>
                <a:gd name="connsiteX72" fmla="*/ 375030 w 2701062"/>
                <a:gd name="connsiteY72" fmla="*/ 3341562 h 3573323"/>
                <a:gd name="connsiteX73" fmla="*/ 497231 w 2701062"/>
                <a:gd name="connsiteY73" fmla="*/ 3349990 h 3573323"/>
                <a:gd name="connsiteX74" fmla="*/ 497231 w 2701062"/>
                <a:gd name="connsiteY74" fmla="*/ 3349990 h 3573323"/>
                <a:gd name="connsiteX75" fmla="*/ 568866 w 2701062"/>
                <a:gd name="connsiteY75" fmla="*/ 3383701 h 3573323"/>
                <a:gd name="connsiteX76" fmla="*/ 589935 w 2701062"/>
                <a:gd name="connsiteY76" fmla="*/ 3362632 h 3573323"/>
                <a:gd name="connsiteX77" fmla="*/ 648929 w 2701062"/>
                <a:gd name="connsiteY77" fmla="*/ 3392128 h 3573323"/>
                <a:gd name="connsiteX78" fmla="*/ 674212 w 2701062"/>
                <a:gd name="connsiteY78" fmla="*/ 3387915 h 3573323"/>
                <a:gd name="connsiteX79" fmla="*/ 720564 w 2701062"/>
                <a:gd name="connsiteY79" fmla="*/ 3451122 h 3573323"/>
                <a:gd name="connsiteX80" fmla="*/ 754275 w 2701062"/>
                <a:gd name="connsiteY80" fmla="*/ 3442694 h 3573323"/>
                <a:gd name="connsiteX81" fmla="*/ 804840 w 2701062"/>
                <a:gd name="connsiteY81" fmla="*/ 3366845 h 3573323"/>
                <a:gd name="connsiteX82" fmla="*/ 842765 w 2701062"/>
                <a:gd name="connsiteY82" fmla="*/ 3333135 h 3573323"/>
                <a:gd name="connsiteX83" fmla="*/ 830123 w 2701062"/>
                <a:gd name="connsiteY83" fmla="*/ 3278355 h 3573323"/>
                <a:gd name="connsiteX84" fmla="*/ 859620 w 2701062"/>
                <a:gd name="connsiteY84" fmla="*/ 3223575 h 3573323"/>
                <a:gd name="connsiteX85" fmla="*/ 918614 w 2701062"/>
                <a:gd name="connsiteY85" fmla="*/ 3173010 h 3573323"/>
                <a:gd name="connsiteX86" fmla="*/ 1011318 w 2701062"/>
                <a:gd name="connsiteY86" fmla="*/ 3156154 h 3573323"/>
                <a:gd name="connsiteX87" fmla="*/ 1078739 w 2701062"/>
                <a:gd name="connsiteY87" fmla="*/ 3143513 h 3573323"/>
                <a:gd name="connsiteX88" fmla="*/ 1163016 w 2701062"/>
                <a:gd name="connsiteY88" fmla="*/ 3215148 h 3573323"/>
                <a:gd name="connsiteX89" fmla="*/ 1222009 w 2701062"/>
                <a:gd name="connsiteY89" fmla="*/ 3248858 h 3573323"/>
                <a:gd name="connsiteX90" fmla="*/ 1226223 w 2701062"/>
                <a:gd name="connsiteY90" fmla="*/ 3202506 h 3573323"/>
                <a:gd name="connsiteX91" fmla="*/ 1243078 w 2701062"/>
                <a:gd name="connsiteY91" fmla="*/ 3194079 h 3573323"/>
                <a:gd name="connsiteX92" fmla="*/ 1344210 w 2701062"/>
                <a:gd name="connsiteY92" fmla="*/ 3215148 h 3573323"/>
                <a:gd name="connsiteX93" fmla="*/ 1398990 w 2701062"/>
                <a:gd name="connsiteY93" fmla="*/ 3223575 h 3573323"/>
                <a:gd name="connsiteX94" fmla="*/ 1436914 w 2701062"/>
                <a:gd name="connsiteY94" fmla="*/ 3151940 h 3573323"/>
                <a:gd name="connsiteX95" fmla="*/ 1495908 w 2701062"/>
                <a:gd name="connsiteY95" fmla="*/ 3143513 h 3573323"/>
                <a:gd name="connsiteX96" fmla="*/ 1597040 w 2701062"/>
                <a:gd name="connsiteY96" fmla="*/ 3198292 h 3573323"/>
                <a:gd name="connsiteX97" fmla="*/ 1656033 w 2701062"/>
                <a:gd name="connsiteY97" fmla="*/ 3219362 h 3573323"/>
                <a:gd name="connsiteX98" fmla="*/ 1719240 w 2701062"/>
                <a:gd name="connsiteY98" fmla="*/ 3160368 h 3573323"/>
                <a:gd name="connsiteX99" fmla="*/ 1715027 w 2701062"/>
                <a:gd name="connsiteY99" fmla="*/ 3088733 h 3573323"/>
                <a:gd name="connsiteX100" fmla="*/ 1833014 w 2701062"/>
                <a:gd name="connsiteY100" fmla="*/ 3139299 h 3573323"/>
                <a:gd name="connsiteX101" fmla="*/ 1862510 w 2701062"/>
                <a:gd name="connsiteY101" fmla="*/ 3088733 h 3573323"/>
                <a:gd name="connsiteX102" fmla="*/ 2018422 w 2701062"/>
                <a:gd name="connsiteY102" fmla="*/ 3067664 h 3573323"/>
                <a:gd name="connsiteX103" fmla="*/ 2186975 w 2701062"/>
                <a:gd name="connsiteY103" fmla="*/ 3126657 h 3573323"/>
                <a:gd name="connsiteX104" fmla="*/ 2254396 w 2701062"/>
                <a:gd name="connsiteY104" fmla="*/ 3042381 h 3573323"/>
                <a:gd name="connsiteX105" fmla="*/ 2338673 w 2701062"/>
                <a:gd name="connsiteY105" fmla="*/ 3042381 h 3573323"/>
                <a:gd name="connsiteX106" fmla="*/ 2380811 w 2701062"/>
                <a:gd name="connsiteY106" fmla="*/ 2987601 h 3573323"/>
                <a:gd name="connsiteX107" fmla="*/ 2456660 w 2701062"/>
                <a:gd name="connsiteY107" fmla="*/ 2991815 h 3573323"/>
                <a:gd name="connsiteX108" fmla="*/ 2469301 w 2701062"/>
                <a:gd name="connsiteY108" fmla="*/ 2911752 h 3573323"/>
                <a:gd name="connsiteX109" fmla="*/ 2595716 w 2701062"/>
                <a:gd name="connsiteY109" fmla="*/ 2844331 h 3573323"/>
                <a:gd name="connsiteX110" fmla="*/ 2595716 w 2701062"/>
                <a:gd name="connsiteY110" fmla="*/ 2743199 h 3573323"/>
                <a:gd name="connsiteX111" fmla="*/ 2616785 w 2701062"/>
                <a:gd name="connsiteY111" fmla="*/ 2705275 h 3573323"/>
                <a:gd name="connsiteX112" fmla="*/ 2591502 w 2701062"/>
                <a:gd name="connsiteY112" fmla="*/ 2679992 h 3573323"/>
                <a:gd name="connsiteX113" fmla="*/ 2515653 w 2701062"/>
                <a:gd name="connsiteY113" fmla="*/ 2679992 h 3573323"/>
                <a:gd name="connsiteX114" fmla="*/ 2460874 w 2701062"/>
                <a:gd name="connsiteY114" fmla="*/ 2692633 h 3573323"/>
                <a:gd name="connsiteX115" fmla="*/ 2435591 w 2701062"/>
                <a:gd name="connsiteY115" fmla="*/ 2705275 h 3573323"/>
                <a:gd name="connsiteX116" fmla="*/ 2397666 w 2701062"/>
                <a:gd name="connsiteY116" fmla="*/ 2654709 h 3573323"/>
                <a:gd name="connsiteX117" fmla="*/ 2347100 w 2701062"/>
                <a:gd name="connsiteY117" fmla="*/ 2629426 h 3573323"/>
                <a:gd name="connsiteX118" fmla="*/ 2410308 w 2701062"/>
                <a:gd name="connsiteY118" fmla="*/ 2591502 h 3573323"/>
                <a:gd name="connsiteX119" fmla="*/ 2439804 w 2701062"/>
                <a:gd name="connsiteY119" fmla="*/ 2444018 h 3573323"/>
                <a:gd name="connsiteX120" fmla="*/ 2481943 w 2701062"/>
                <a:gd name="connsiteY120" fmla="*/ 2477728 h 3573323"/>
                <a:gd name="connsiteX121" fmla="*/ 2532509 w 2701062"/>
                <a:gd name="connsiteY121" fmla="*/ 2406093 h 3573323"/>
                <a:gd name="connsiteX122" fmla="*/ 2545150 w 2701062"/>
                <a:gd name="connsiteY122" fmla="*/ 2368169 h 3573323"/>
                <a:gd name="connsiteX123" fmla="*/ 2633640 w 2701062"/>
                <a:gd name="connsiteY123" fmla="*/ 2254396 h 3573323"/>
                <a:gd name="connsiteX124" fmla="*/ 2650496 w 2701062"/>
                <a:gd name="connsiteY124" fmla="*/ 2161692 h 3573323"/>
                <a:gd name="connsiteX125" fmla="*/ 2696848 w 2701062"/>
                <a:gd name="connsiteY125" fmla="*/ 2085843 h 3573323"/>
                <a:gd name="connsiteX126" fmla="*/ 2701062 w 2701062"/>
                <a:gd name="connsiteY126" fmla="*/ 1879365 h 3573323"/>
                <a:gd name="connsiteX127" fmla="*/ 2503012 w 2701062"/>
                <a:gd name="connsiteY127" fmla="*/ 1744523 h 3573323"/>
                <a:gd name="connsiteX128" fmla="*/ 2237541 w 2701062"/>
                <a:gd name="connsiteY128" fmla="*/ 1715026 h 3573323"/>
                <a:gd name="connsiteX129" fmla="*/ 2161692 w 2701062"/>
                <a:gd name="connsiteY129" fmla="*/ 1803516 h 3573323"/>
                <a:gd name="connsiteX130" fmla="*/ 2123768 w 2701062"/>
                <a:gd name="connsiteY130" fmla="*/ 1795089 h 3573323"/>
                <a:gd name="connsiteX131" fmla="*/ 2111126 w 2701062"/>
                <a:gd name="connsiteY131" fmla="*/ 1744523 h 3573323"/>
                <a:gd name="connsiteX132" fmla="*/ 2203830 w 2701062"/>
                <a:gd name="connsiteY132" fmla="*/ 1647605 h 3573323"/>
                <a:gd name="connsiteX133" fmla="*/ 2178547 w 2701062"/>
                <a:gd name="connsiteY133" fmla="*/ 1508549 h 3573323"/>
                <a:gd name="connsiteX134" fmla="*/ 2090057 w 2701062"/>
                <a:gd name="connsiteY134" fmla="*/ 1415845 h 3573323"/>
                <a:gd name="connsiteX135" fmla="*/ 2056346 w 2701062"/>
                <a:gd name="connsiteY135" fmla="*/ 1386348 h 3573323"/>
                <a:gd name="connsiteX136" fmla="*/ 2127981 w 2701062"/>
                <a:gd name="connsiteY136" fmla="*/ 1373706 h 3573323"/>
                <a:gd name="connsiteX137" fmla="*/ 2127981 w 2701062"/>
                <a:gd name="connsiteY137" fmla="*/ 1339996 h 3573323"/>
                <a:gd name="connsiteX138" fmla="*/ 2031063 w 2701062"/>
                <a:gd name="connsiteY138" fmla="*/ 1213581 h 3573323"/>
                <a:gd name="connsiteX139" fmla="*/ 2022636 w 2701062"/>
                <a:gd name="connsiteY139" fmla="*/ 1129304 h 3573323"/>
                <a:gd name="connsiteX140" fmla="*/ 2056346 w 2701062"/>
                <a:gd name="connsiteY140" fmla="*/ 1066097 h 3573323"/>
                <a:gd name="connsiteX141" fmla="*/ 2039491 w 2701062"/>
                <a:gd name="connsiteY141" fmla="*/ 1032386 h 3573323"/>
                <a:gd name="connsiteX142" fmla="*/ 1967856 w 2701062"/>
                <a:gd name="connsiteY142" fmla="*/ 1011317 h 3573323"/>
                <a:gd name="connsiteX143" fmla="*/ 1929932 w 2701062"/>
                <a:gd name="connsiteY143" fmla="*/ 952324 h 3573323"/>
                <a:gd name="connsiteX144" fmla="*/ 1934146 w 2701062"/>
                <a:gd name="connsiteY144" fmla="*/ 893330 h 3573323"/>
                <a:gd name="connsiteX145" fmla="*/ 1727668 w 2701062"/>
                <a:gd name="connsiteY145" fmla="*/ 775343 h 3573323"/>
                <a:gd name="connsiteX146" fmla="*/ 1664461 w 2701062"/>
                <a:gd name="connsiteY146" fmla="*/ 716350 h 3573323"/>
                <a:gd name="connsiteX147" fmla="*/ 1516977 w 2701062"/>
                <a:gd name="connsiteY147" fmla="*/ 176981 h 3573323"/>
                <a:gd name="connsiteX148" fmla="*/ 1356851 w 2701062"/>
                <a:gd name="connsiteY148" fmla="*/ 0 h 3573323"/>
                <a:gd name="connsiteX0" fmla="*/ 1356851 w 2701062"/>
                <a:gd name="connsiteY0" fmla="*/ 8428 h 3573323"/>
                <a:gd name="connsiteX1" fmla="*/ 1141946 w 2701062"/>
                <a:gd name="connsiteY1" fmla="*/ 391886 h 3573323"/>
                <a:gd name="connsiteX2" fmla="*/ 876475 w 2701062"/>
                <a:gd name="connsiteY2" fmla="*/ 648928 h 3573323"/>
                <a:gd name="connsiteX3" fmla="*/ 804840 w 2701062"/>
                <a:gd name="connsiteY3" fmla="*/ 720563 h 3573323"/>
                <a:gd name="connsiteX4" fmla="*/ 813268 w 2701062"/>
                <a:gd name="connsiteY4" fmla="*/ 851192 h 3573323"/>
                <a:gd name="connsiteX5" fmla="*/ 897545 w 2701062"/>
                <a:gd name="connsiteY5" fmla="*/ 1019745 h 3573323"/>
                <a:gd name="connsiteX6" fmla="*/ 943897 w 2701062"/>
                <a:gd name="connsiteY6" fmla="*/ 1104021 h 3573323"/>
                <a:gd name="connsiteX7" fmla="*/ 964966 w 2701062"/>
                <a:gd name="connsiteY7" fmla="*/ 1133518 h 3573323"/>
                <a:gd name="connsiteX8" fmla="*/ 994463 w 2701062"/>
                <a:gd name="connsiteY8" fmla="*/ 1108235 h 3573323"/>
                <a:gd name="connsiteX9" fmla="*/ 1011318 w 2701062"/>
                <a:gd name="connsiteY9" fmla="*/ 1053456 h 3573323"/>
                <a:gd name="connsiteX10" fmla="*/ 1057670 w 2701062"/>
                <a:gd name="connsiteY10" fmla="*/ 1045028 h 3573323"/>
                <a:gd name="connsiteX11" fmla="*/ 1053456 w 2701062"/>
                <a:gd name="connsiteY11" fmla="*/ 1108235 h 3573323"/>
                <a:gd name="connsiteX12" fmla="*/ 1040815 w 2701062"/>
                <a:gd name="connsiteY12" fmla="*/ 1141946 h 3573323"/>
                <a:gd name="connsiteX13" fmla="*/ 1049242 w 2701062"/>
                <a:gd name="connsiteY13" fmla="*/ 1167229 h 3573323"/>
                <a:gd name="connsiteX14" fmla="*/ 986035 w 2701062"/>
                <a:gd name="connsiteY14" fmla="*/ 1184084 h 3573323"/>
                <a:gd name="connsiteX15" fmla="*/ 1011318 w 2701062"/>
                <a:gd name="connsiteY15" fmla="*/ 1318927 h 3573323"/>
                <a:gd name="connsiteX16" fmla="*/ 1049242 w 2701062"/>
                <a:gd name="connsiteY16" fmla="*/ 1314713 h 3573323"/>
                <a:gd name="connsiteX17" fmla="*/ 1040815 w 2701062"/>
                <a:gd name="connsiteY17" fmla="*/ 1377920 h 3573323"/>
                <a:gd name="connsiteX18" fmla="*/ 981821 w 2701062"/>
                <a:gd name="connsiteY18" fmla="*/ 1411631 h 3573323"/>
                <a:gd name="connsiteX19" fmla="*/ 931255 w 2701062"/>
                <a:gd name="connsiteY19" fmla="*/ 1411631 h 3573323"/>
                <a:gd name="connsiteX20" fmla="*/ 897545 w 2701062"/>
                <a:gd name="connsiteY20" fmla="*/ 1474838 h 3573323"/>
                <a:gd name="connsiteX21" fmla="*/ 901758 w 2701062"/>
                <a:gd name="connsiteY21" fmla="*/ 1504335 h 3573323"/>
                <a:gd name="connsiteX22" fmla="*/ 948110 w 2701062"/>
                <a:gd name="connsiteY22" fmla="*/ 1512762 h 3573323"/>
                <a:gd name="connsiteX23" fmla="*/ 931255 w 2701062"/>
                <a:gd name="connsiteY23" fmla="*/ 1550687 h 3573323"/>
                <a:gd name="connsiteX24" fmla="*/ 952324 w 2701062"/>
                <a:gd name="connsiteY24" fmla="*/ 1559115 h 3573323"/>
                <a:gd name="connsiteX25" fmla="*/ 1015532 w 2701062"/>
                <a:gd name="connsiteY25" fmla="*/ 1563328 h 3573323"/>
                <a:gd name="connsiteX26" fmla="*/ 1040815 w 2701062"/>
                <a:gd name="connsiteY26" fmla="*/ 1601253 h 3573323"/>
                <a:gd name="connsiteX27" fmla="*/ 1036601 w 2701062"/>
                <a:gd name="connsiteY27" fmla="*/ 1639177 h 3573323"/>
                <a:gd name="connsiteX28" fmla="*/ 1104022 w 2701062"/>
                <a:gd name="connsiteY28" fmla="*/ 1740309 h 3573323"/>
                <a:gd name="connsiteX29" fmla="*/ 1053456 w 2701062"/>
                <a:gd name="connsiteY29" fmla="*/ 1765592 h 3573323"/>
                <a:gd name="connsiteX30" fmla="*/ 998676 w 2701062"/>
                <a:gd name="connsiteY30" fmla="*/ 1761378 h 3573323"/>
                <a:gd name="connsiteX31" fmla="*/ 964966 w 2701062"/>
                <a:gd name="connsiteY31" fmla="*/ 1841441 h 3573323"/>
                <a:gd name="connsiteX32" fmla="*/ 1015532 w 2701062"/>
                <a:gd name="connsiteY32" fmla="*/ 1883579 h 3573323"/>
                <a:gd name="connsiteX33" fmla="*/ 994463 w 2701062"/>
                <a:gd name="connsiteY33" fmla="*/ 1980497 h 3573323"/>
                <a:gd name="connsiteX34" fmla="*/ 1019746 w 2701062"/>
                <a:gd name="connsiteY34" fmla="*/ 2014208 h 3573323"/>
                <a:gd name="connsiteX35" fmla="*/ 990249 w 2701062"/>
                <a:gd name="connsiteY35" fmla="*/ 2047918 h 3573323"/>
                <a:gd name="connsiteX36" fmla="*/ 948110 w 2701062"/>
                <a:gd name="connsiteY36" fmla="*/ 2047918 h 3573323"/>
                <a:gd name="connsiteX37" fmla="*/ 939683 w 2701062"/>
                <a:gd name="connsiteY37" fmla="*/ 2085843 h 3573323"/>
                <a:gd name="connsiteX38" fmla="*/ 994463 w 2701062"/>
                <a:gd name="connsiteY38" fmla="*/ 2132195 h 3573323"/>
                <a:gd name="connsiteX39" fmla="*/ 981821 w 2701062"/>
                <a:gd name="connsiteY39" fmla="*/ 2313389 h 3573323"/>
                <a:gd name="connsiteX40" fmla="*/ 1015532 w 2701062"/>
                <a:gd name="connsiteY40" fmla="*/ 2393452 h 3573323"/>
                <a:gd name="connsiteX41" fmla="*/ 1049242 w 2701062"/>
                <a:gd name="connsiteY41" fmla="*/ 2393452 h 3573323"/>
                <a:gd name="connsiteX42" fmla="*/ 1129305 w 2701062"/>
                <a:gd name="connsiteY42" fmla="*/ 2460873 h 3573323"/>
                <a:gd name="connsiteX43" fmla="*/ 1125091 w 2701062"/>
                <a:gd name="connsiteY43" fmla="*/ 2591502 h 3573323"/>
                <a:gd name="connsiteX44" fmla="*/ 1087167 w 2701062"/>
                <a:gd name="connsiteY44" fmla="*/ 2654709 h 3573323"/>
                <a:gd name="connsiteX45" fmla="*/ 1015532 w 2701062"/>
                <a:gd name="connsiteY45" fmla="*/ 2722130 h 3573323"/>
                <a:gd name="connsiteX46" fmla="*/ 1007104 w 2701062"/>
                <a:gd name="connsiteY46" fmla="*/ 2810621 h 3573323"/>
                <a:gd name="connsiteX47" fmla="*/ 922828 w 2701062"/>
                <a:gd name="connsiteY47" fmla="*/ 2823262 h 3573323"/>
                <a:gd name="connsiteX48" fmla="*/ 868048 w 2701062"/>
                <a:gd name="connsiteY48" fmla="*/ 2827476 h 3573323"/>
                <a:gd name="connsiteX49" fmla="*/ 830123 w 2701062"/>
                <a:gd name="connsiteY49" fmla="*/ 2789551 h 3573323"/>
                <a:gd name="connsiteX50" fmla="*/ 577294 w 2701062"/>
                <a:gd name="connsiteY50" fmla="*/ 2810621 h 3573323"/>
                <a:gd name="connsiteX51" fmla="*/ 568866 w 2701062"/>
                <a:gd name="connsiteY51" fmla="*/ 2915966 h 3573323"/>
                <a:gd name="connsiteX52" fmla="*/ 514087 w 2701062"/>
                <a:gd name="connsiteY52" fmla="*/ 2949677 h 3573323"/>
                <a:gd name="connsiteX53" fmla="*/ 484590 w 2701062"/>
                <a:gd name="connsiteY53" fmla="*/ 2915966 h 3573323"/>
                <a:gd name="connsiteX54" fmla="*/ 446665 w 2701062"/>
                <a:gd name="connsiteY54" fmla="*/ 2941249 h 3573323"/>
                <a:gd name="connsiteX55" fmla="*/ 434024 w 2701062"/>
                <a:gd name="connsiteY55" fmla="*/ 3059236 h 3573323"/>
                <a:gd name="connsiteX56" fmla="*/ 328678 w 2701062"/>
                <a:gd name="connsiteY56" fmla="*/ 3185651 h 3573323"/>
                <a:gd name="connsiteX57" fmla="*/ 273899 w 2701062"/>
                <a:gd name="connsiteY57" fmla="*/ 3198292 h 3573323"/>
                <a:gd name="connsiteX58" fmla="*/ 252829 w 2701062"/>
                <a:gd name="connsiteY58" fmla="*/ 3248858 h 3573323"/>
                <a:gd name="connsiteX59" fmla="*/ 202263 w 2701062"/>
                <a:gd name="connsiteY59" fmla="*/ 3328921 h 3573323"/>
                <a:gd name="connsiteX60" fmla="*/ 164339 w 2701062"/>
                <a:gd name="connsiteY60" fmla="*/ 3358418 h 3573323"/>
                <a:gd name="connsiteX61" fmla="*/ 75849 w 2701062"/>
                <a:gd name="connsiteY61" fmla="*/ 3387915 h 3573323"/>
                <a:gd name="connsiteX62" fmla="*/ 12641 w 2701062"/>
                <a:gd name="connsiteY62" fmla="*/ 3421625 h 3573323"/>
                <a:gd name="connsiteX63" fmla="*/ 0 w 2701062"/>
                <a:gd name="connsiteY63" fmla="*/ 3501688 h 3573323"/>
                <a:gd name="connsiteX64" fmla="*/ 63207 w 2701062"/>
                <a:gd name="connsiteY64" fmla="*/ 3497474 h 3573323"/>
                <a:gd name="connsiteX65" fmla="*/ 96918 w 2701062"/>
                <a:gd name="connsiteY65" fmla="*/ 3451122 h 3573323"/>
                <a:gd name="connsiteX66" fmla="*/ 155911 w 2701062"/>
                <a:gd name="connsiteY66" fmla="*/ 3493260 h 3573323"/>
                <a:gd name="connsiteX67" fmla="*/ 164339 w 2701062"/>
                <a:gd name="connsiteY67" fmla="*/ 3573323 h 3573323"/>
                <a:gd name="connsiteX68" fmla="*/ 265471 w 2701062"/>
                <a:gd name="connsiteY68" fmla="*/ 3522757 h 3573323"/>
                <a:gd name="connsiteX69" fmla="*/ 252829 w 2701062"/>
                <a:gd name="connsiteY69" fmla="*/ 3463763 h 3573323"/>
                <a:gd name="connsiteX70" fmla="*/ 307609 w 2701062"/>
                <a:gd name="connsiteY70" fmla="*/ 3421625 h 3573323"/>
                <a:gd name="connsiteX71" fmla="*/ 345534 w 2701062"/>
                <a:gd name="connsiteY71" fmla="*/ 3383701 h 3573323"/>
                <a:gd name="connsiteX72" fmla="*/ 375030 w 2701062"/>
                <a:gd name="connsiteY72" fmla="*/ 3341562 h 3573323"/>
                <a:gd name="connsiteX73" fmla="*/ 497231 w 2701062"/>
                <a:gd name="connsiteY73" fmla="*/ 3349990 h 3573323"/>
                <a:gd name="connsiteX74" fmla="*/ 497231 w 2701062"/>
                <a:gd name="connsiteY74" fmla="*/ 3349990 h 3573323"/>
                <a:gd name="connsiteX75" fmla="*/ 568866 w 2701062"/>
                <a:gd name="connsiteY75" fmla="*/ 3383701 h 3573323"/>
                <a:gd name="connsiteX76" fmla="*/ 589935 w 2701062"/>
                <a:gd name="connsiteY76" fmla="*/ 3362632 h 3573323"/>
                <a:gd name="connsiteX77" fmla="*/ 648929 w 2701062"/>
                <a:gd name="connsiteY77" fmla="*/ 3392128 h 3573323"/>
                <a:gd name="connsiteX78" fmla="*/ 674212 w 2701062"/>
                <a:gd name="connsiteY78" fmla="*/ 3387915 h 3573323"/>
                <a:gd name="connsiteX79" fmla="*/ 720564 w 2701062"/>
                <a:gd name="connsiteY79" fmla="*/ 3451122 h 3573323"/>
                <a:gd name="connsiteX80" fmla="*/ 754275 w 2701062"/>
                <a:gd name="connsiteY80" fmla="*/ 3442694 h 3573323"/>
                <a:gd name="connsiteX81" fmla="*/ 804840 w 2701062"/>
                <a:gd name="connsiteY81" fmla="*/ 3366845 h 3573323"/>
                <a:gd name="connsiteX82" fmla="*/ 842765 w 2701062"/>
                <a:gd name="connsiteY82" fmla="*/ 3333135 h 3573323"/>
                <a:gd name="connsiteX83" fmla="*/ 830123 w 2701062"/>
                <a:gd name="connsiteY83" fmla="*/ 3278355 h 3573323"/>
                <a:gd name="connsiteX84" fmla="*/ 859620 w 2701062"/>
                <a:gd name="connsiteY84" fmla="*/ 3223575 h 3573323"/>
                <a:gd name="connsiteX85" fmla="*/ 918614 w 2701062"/>
                <a:gd name="connsiteY85" fmla="*/ 3173010 h 3573323"/>
                <a:gd name="connsiteX86" fmla="*/ 1011318 w 2701062"/>
                <a:gd name="connsiteY86" fmla="*/ 3156154 h 3573323"/>
                <a:gd name="connsiteX87" fmla="*/ 1078739 w 2701062"/>
                <a:gd name="connsiteY87" fmla="*/ 3143513 h 3573323"/>
                <a:gd name="connsiteX88" fmla="*/ 1163016 w 2701062"/>
                <a:gd name="connsiteY88" fmla="*/ 3215148 h 3573323"/>
                <a:gd name="connsiteX89" fmla="*/ 1222009 w 2701062"/>
                <a:gd name="connsiteY89" fmla="*/ 3248858 h 3573323"/>
                <a:gd name="connsiteX90" fmla="*/ 1226223 w 2701062"/>
                <a:gd name="connsiteY90" fmla="*/ 3202506 h 3573323"/>
                <a:gd name="connsiteX91" fmla="*/ 1243078 w 2701062"/>
                <a:gd name="connsiteY91" fmla="*/ 3194079 h 3573323"/>
                <a:gd name="connsiteX92" fmla="*/ 1344210 w 2701062"/>
                <a:gd name="connsiteY92" fmla="*/ 3215148 h 3573323"/>
                <a:gd name="connsiteX93" fmla="*/ 1398990 w 2701062"/>
                <a:gd name="connsiteY93" fmla="*/ 3223575 h 3573323"/>
                <a:gd name="connsiteX94" fmla="*/ 1436914 w 2701062"/>
                <a:gd name="connsiteY94" fmla="*/ 3151940 h 3573323"/>
                <a:gd name="connsiteX95" fmla="*/ 1495908 w 2701062"/>
                <a:gd name="connsiteY95" fmla="*/ 3143513 h 3573323"/>
                <a:gd name="connsiteX96" fmla="*/ 1597040 w 2701062"/>
                <a:gd name="connsiteY96" fmla="*/ 3198292 h 3573323"/>
                <a:gd name="connsiteX97" fmla="*/ 1656033 w 2701062"/>
                <a:gd name="connsiteY97" fmla="*/ 3219362 h 3573323"/>
                <a:gd name="connsiteX98" fmla="*/ 1719240 w 2701062"/>
                <a:gd name="connsiteY98" fmla="*/ 3160368 h 3573323"/>
                <a:gd name="connsiteX99" fmla="*/ 1715027 w 2701062"/>
                <a:gd name="connsiteY99" fmla="*/ 3088733 h 3573323"/>
                <a:gd name="connsiteX100" fmla="*/ 1833014 w 2701062"/>
                <a:gd name="connsiteY100" fmla="*/ 3139299 h 3573323"/>
                <a:gd name="connsiteX101" fmla="*/ 1862510 w 2701062"/>
                <a:gd name="connsiteY101" fmla="*/ 3088733 h 3573323"/>
                <a:gd name="connsiteX102" fmla="*/ 2018422 w 2701062"/>
                <a:gd name="connsiteY102" fmla="*/ 3067664 h 3573323"/>
                <a:gd name="connsiteX103" fmla="*/ 2186975 w 2701062"/>
                <a:gd name="connsiteY103" fmla="*/ 3126657 h 3573323"/>
                <a:gd name="connsiteX104" fmla="*/ 2254396 w 2701062"/>
                <a:gd name="connsiteY104" fmla="*/ 3042381 h 3573323"/>
                <a:gd name="connsiteX105" fmla="*/ 2338673 w 2701062"/>
                <a:gd name="connsiteY105" fmla="*/ 3042381 h 3573323"/>
                <a:gd name="connsiteX106" fmla="*/ 2380811 w 2701062"/>
                <a:gd name="connsiteY106" fmla="*/ 2987601 h 3573323"/>
                <a:gd name="connsiteX107" fmla="*/ 2456660 w 2701062"/>
                <a:gd name="connsiteY107" fmla="*/ 2991815 h 3573323"/>
                <a:gd name="connsiteX108" fmla="*/ 2469301 w 2701062"/>
                <a:gd name="connsiteY108" fmla="*/ 2911752 h 3573323"/>
                <a:gd name="connsiteX109" fmla="*/ 2595716 w 2701062"/>
                <a:gd name="connsiteY109" fmla="*/ 2844331 h 3573323"/>
                <a:gd name="connsiteX110" fmla="*/ 2595716 w 2701062"/>
                <a:gd name="connsiteY110" fmla="*/ 2743199 h 3573323"/>
                <a:gd name="connsiteX111" fmla="*/ 2616785 w 2701062"/>
                <a:gd name="connsiteY111" fmla="*/ 2705275 h 3573323"/>
                <a:gd name="connsiteX112" fmla="*/ 2591502 w 2701062"/>
                <a:gd name="connsiteY112" fmla="*/ 2679992 h 3573323"/>
                <a:gd name="connsiteX113" fmla="*/ 2515653 w 2701062"/>
                <a:gd name="connsiteY113" fmla="*/ 2679992 h 3573323"/>
                <a:gd name="connsiteX114" fmla="*/ 2460874 w 2701062"/>
                <a:gd name="connsiteY114" fmla="*/ 2692633 h 3573323"/>
                <a:gd name="connsiteX115" fmla="*/ 2435591 w 2701062"/>
                <a:gd name="connsiteY115" fmla="*/ 2705275 h 3573323"/>
                <a:gd name="connsiteX116" fmla="*/ 2397666 w 2701062"/>
                <a:gd name="connsiteY116" fmla="*/ 2654709 h 3573323"/>
                <a:gd name="connsiteX117" fmla="*/ 2347100 w 2701062"/>
                <a:gd name="connsiteY117" fmla="*/ 2629426 h 3573323"/>
                <a:gd name="connsiteX118" fmla="*/ 2410308 w 2701062"/>
                <a:gd name="connsiteY118" fmla="*/ 2591502 h 3573323"/>
                <a:gd name="connsiteX119" fmla="*/ 2439804 w 2701062"/>
                <a:gd name="connsiteY119" fmla="*/ 2444018 h 3573323"/>
                <a:gd name="connsiteX120" fmla="*/ 2481943 w 2701062"/>
                <a:gd name="connsiteY120" fmla="*/ 2477728 h 3573323"/>
                <a:gd name="connsiteX121" fmla="*/ 2532509 w 2701062"/>
                <a:gd name="connsiteY121" fmla="*/ 2406093 h 3573323"/>
                <a:gd name="connsiteX122" fmla="*/ 2545150 w 2701062"/>
                <a:gd name="connsiteY122" fmla="*/ 2368169 h 3573323"/>
                <a:gd name="connsiteX123" fmla="*/ 2633640 w 2701062"/>
                <a:gd name="connsiteY123" fmla="*/ 2254396 h 3573323"/>
                <a:gd name="connsiteX124" fmla="*/ 2650496 w 2701062"/>
                <a:gd name="connsiteY124" fmla="*/ 2161692 h 3573323"/>
                <a:gd name="connsiteX125" fmla="*/ 2696848 w 2701062"/>
                <a:gd name="connsiteY125" fmla="*/ 2085843 h 3573323"/>
                <a:gd name="connsiteX126" fmla="*/ 2701062 w 2701062"/>
                <a:gd name="connsiteY126" fmla="*/ 1879365 h 3573323"/>
                <a:gd name="connsiteX127" fmla="*/ 2503012 w 2701062"/>
                <a:gd name="connsiteY127" fmla="*/ 1744523 h 3573323"/>
                <a:gd name="connsiteX128" fmla="*/ 2237541 w 2701062"/>
                <a:gd name="connsiteY128" fmla="*/ 1715026 h 3573323"/>
                <a:gd name="connsiteX129" fmla="*/ 2161692 w 2701062"/>
                <a:gd name="connsiteY129" fmla="*/ 1803516 h 3573323"/>
                <a:gd name="connsiteX130" fmla="*/ 2123768 w 2701062"/>
                <a:gd name="connsiteY130" fmla="*/ 1795089 h 3573323"/>
                <a:gd name="connsiteX131" fmla="*/ 2111126 w 2701062"/>
                <a:gd name="connsiteY131" fmla="*/ 1744523 h 3573323"/>
                <a:gd name="connsiteX132" fmla="*/ 2203830 w 2701062"/>
                <a:gd name="connsiteY132" fmla="*/ 1647605 h 3573323"/>
                <a:gd name="connsiteX133" fmla="*/ 2178547 w 2701062"/>
                <a:gd name="connsiteY133" fmla="*/ 1508549 h 3573323"/>
                <a:gd name="connsiteX134" fmla="*/ 2090057 w 2701062"/>
                <a:gd name="connsiteY134" fmla="*/ 1415845 h 3573323"/>
                <a:gd name="connsiteX135" fmla="*/ 2056346 w 2701062"/>
                <a:gd name="connsiteY135" fmla="*/ 1386348 h 3573323"/>
                <a:gd name="connsiteX136" fmla="*/ 2127981 w 2701062"/>
                <a:gd name="connsiteY136" fmla="*/ 1373706 h 3573323"/>
                <a:gd name="connsiteX137" fmla="*/ 2127981 w 2701062"/>
                <a:gd name="connsiteY137" fmla="*/ 1339996 h 3573323"/>
                <a:gd name="connsiteX138" fmla="*/ 2031063 w 2701062"/>
                <a:gd name="connsiteY138" fmla="*/ 1213581 h 3573323"/>
                <a:gd name="connsiteX139" fmla="*/ 2022636 w 2701062"/>
                <a:gd name="connsiteY139" fmla="*/ 1129304 h 3573323"/>
                <a:gd name="connsiteX140" fmla="*/ 2056346 w 2701062"/>
                <a:gd name="connsiteY140" fmla="*/ 1066097 h 3573323"/>
                <a:gd name="connsiteX141" fmla="*/ 2039491 w 2701062"/>
                <a:gd name="connsiteY141" fmla="*/ 1032386 h 3573323"/>
                <a:gd name="connsiteX142" fmla="*/ 1967856 w 2701062"/>
                <a:gd name="connsiteY142" fmla="*/ 1011317 h 3573323"/>
                <a:gd name="connsiteX143" fmla="*/ 1929932 w 2701062"/>
                <a:gd name="connsiteY143" fmla="*/ 952324 h 3573323"/>
                <a:gd name="connsiteX144" fmla="*/ 1934146 w 2701062"/>
                <a:gd name="connsiteY144" fmla="*/ 893330 h 3573323"/>
                <a:gd name="connsiteX145" fmla="*/ 1727668 w 2701062"/>
                <a:gd name="connsiteY145" fmla="*/ 775343 h 3573323"/>
                <a:gd name="connsiteX146" fmla="*/ 1664461 w 2701062"/>
                <a:gd name="connsiteY146" fmla="*/ 716350 h 3573323"/>
                <a:gd name="connsiteX147" fmla="*/ 1516977 w 2701062"/>
                <a:gd name="connsiteY147" fmla="*/ 176981 h 3573323"/>
                <a:gd name="connsiteX148" fmla="*/ 1356851 w 2701062"/>
                <a:gd name="connsiteY148" fmla="*/ 0 h 3573323"/>
                <a:gd name="connsiteX0" fmla="*/ 1356851 w 2701062"/>
                <a:gd name="connsiteY0" fmla="*/ 8428 h 3573323"/>
                <a:gd name="connsiteX1" fmla="*/ 1230437 w 2701062"/>
                <a:gd name="connsiteY1" fmla="*/ 210692 h 3573323"/>
                <a:gd name="connsiteX2" fmla="*/ 1141946 w 2701062"/>
                <a:gd name="connsiteY2" fmla="*/ 391886 h 3573323"/>
                <a:gd name="connsiteX3" fmla="*/ 876475 w 2701062"/>
                <a:gd name="connsiteY3" fmla="*/ 648928 h 3573323"/>
                <a:gd name="connsiteX4" fmla="*/ 804840 w 2701062"/>
                <a:gd name="connsiteY4" fmla="*/ 720563 h 3573323"/>
                <a:gd name="connsiteX5" fmla="*/ 813268 w 2701062"/>
                <a:gd name="connsiteY5" fmla="*/ 851192 h 3573323"/>
                <a:gd name="connsiteX6" fmla="*/ 897545 w 2701062"/>
                <a:gd name="connsiteY6" fmla="*/ 1019745 h 3573323"/>
                <a:gd name="connsiteX7" fmla="*/ 943897 w 2701062"/>
                <a:gd name="connsiteY7" fmla="*/ 1104021 h 3573323"/>
                <a:gd name="connsiteX8" fmla="*/ 964966 w 2701062"/>
                <a:gd name="connsiteY8" fmla="*/ 1133518 h 3573323"/>
                <a:gd name="connsiteX9" fmla="*/ 994463 w 2701062"/>
                <a:gd name="connsiteY9" fmla="*/ 1108235 h 3573323"/>
                <a:gd name="connsiteX10" fmla="*/ 1011318 w 2701062"/>
                <a:gd name="connsiteY10" fmla="*/ 1053456 h 3573323"/>
                <a:gd name="connsiteX11" fmla="*/ 1057670 w 2701062"/>
                <a:gd name="connsiteY11" fmla="*/ 1045028 h 3573323"/>
                <a:gd name="connsiteX12" fmla="*/ 1053456 w 2701062"/>
                <a:gd name="connsiteY12" fmla="*/ 1108235 h 3573323"/>
                <a:gd name="connsiteX13" fmla="*/ 1040815 w 2701062"/>
                <a:gd name="connsiteY13" fmla="*/ 1141946 h 3573323"/>
                <a:gd name="connsiteX14" fmla="*/ 1049242 w 2701062"/>
                <a:gd name="connsiteY14" fmla="*/ 1167229 h 3573323"/>
                <a:gd name="connsiteX15" fmla="*/ 986035 w 2701062"/>
                <a:gd name="connsiteY15" fmla="*/ 1184084 h 3573323"/>
                <a:gd name="connsiteX16" fmla="*/ 1011318 w 2701062"/>
                <a:gd name="connsiteY16" fmla="*/ 1318927 h 3573323"/>
                <a:gd name="connsiteX17" fmla="*/ 1049242 w 2701062"/>
                <a:gd name="connsiteY17" fmla="*/ 1314713 h 3573323"/>
                <a:gd name="connsiteX18" fmla="*/ 1040815 w 2701062"/>
                <a:gd name="connsiteY18" fmla="*/ 1377920 h 3573323"/>
                <a:gd name="connsiteX19" fmla="*/ 981821 w 2701062"/>
                <a:gd name="connsiteY19" fmla="*/ 1411631 h 3573323"/>
                <a:gd name="connsiteX20" fmla="*/ 931255 w 2701062"/>
                <a:gd name="connsiteY20" fmla="*/ 1411631 h 3573323"/>
                <a:gd name="connsiteX21" fmla="*/ 897545 w 2701062"/>
                <a:gd name="connsiteY21" fmla="*/ 1474838 h 3573323"/>
                <a:gd name="connsiteX22" fmla="*/ 901758 w 2701062"/>
                <a:gd name="connsiteY22" fmla="*/ 1504335 h 3573323"/>
                <a:gd name="connsiteX23" fmla="*/ 948110 w 2701062"/>
                <a:gd name="connsiteY23" fmla="*/ 1512762 h 3573323"/>
                <a:gd name="connsiteX24" fmla="*/ 931255 w 2701062"/>
                <a:gd name="connsiteY24" fmla="*/ 1550687 h 3573323"/>
                <a:gd name="connsiteX25" fmla="*/ 952324 w 2701062"/>
                <a:gd name="connsiteY25" fmla="*/ 1559115 h 3573323"/>
                <a:gd name="connsiteX26" fmla="*/ 1015532 w 2701062"/>
                <a:gd name="connsiteY26" fmla="*/ 1563328 h 3573323"/>
                <a:gd name="connsiteX27" fmla="*/ 1040815 w 2701062"/>
                <a:gd name="connsiteY27" fmla="*/ 1601253 h 3573323"/>
                <a:gd name="connsiteX28" fmla="*/ 1036601 w 2701062"/>
                <a:gd name="connsiteY28" fmla="*/ 1639177 h 3573323"/>
                <a:gd name="connsiteX29" fmla="*/ 1104022 w 2701062"/>
                <a:gd name="connsiteY29" fmla="*/ 1740309 h 3573323"/>
                <a:gd name="connsiteX30" fmla="*/ 1053456 w 2701062"/>
                <a:gd name="connsiteY30" fmla="*/ 1765592 h 3573323"/>
                <a:gd name="connsiteX31" fmla="*/ 998676 w 2701062"/>
                <a:gd name="connsiteY31" fmla="*/ 1761378 h 3573323"/>
                <a:gd name="connsiteX32" fmla="*/ 964966 w 2701062"/>
                <a:gd name="connsiteY32" fmla="*/ 1841441 h 3573323"/>
                <a:gd name="connsiteX33" fmla="*/ 1015532 w 2701062"/>
                <a:gd name="connsiteY33" fmla="*/ 1883579 h 3573323"/>
                <a:gd name="connsiteX34" fmla="*/ 994463 w 2701062"/>
                <a:gd name="connsiteY34" fmla="*/ 1980497 h 3573323"/>
                <a:gd name="connsiteX35" fmla="*/ 1019746 w 2701062"/>
                <a:gd name="connsiteY35" fmla="*/ 2014208 h 3573323"/>
                <a:gd name="connsiteX36" fmla="*/ 990249 w 2701062"/>
                <a:gd name="connsiteY36" fmla="*/ 2047918 h 3573323"/>
                <a:gd name="connsiteX37" fmla="*/ 948110 w 2701062"/>
                <a:gd name="connsiteY37" fmla="*/ 2047918 h 3573323"/>
                <a:gd name="connsiteX38" fmla="*/ 939683 w 2701062"/>
                <a:gd name="connsiteY38" fmla="*/ 2085843 h 3573323"/>
                <a:gd name="connsiteX39" fmla="*/ 994463 w 2701062"/>
                <a:gd name="connsiteY39" fmla="*/ 2132195 h 3573323"/>
                <a:gd name="connsiteX40" fmla="*/ 981821 w 2701062"/>
                <a:gd name="connsiteY40" fmla="*/ 2313389 h 3573323"/>
                <a:gd name="connsiteX41" fmla="*/ 1015532 w 2701062"/>
                <a:gd name="connsiteY41" fmla="*/ 2393452 h 3573323"/>
                <a:gd name="connsiteX42" fmla="*/ 1049242 w 2701062"/>
                <a:gd name="connsiteY42" fmla="*/ 2393452 h 3573323"/>
                <a:gd name="connsiteX43" fmla="*/ 1129305 w 2701062"/>
                <a:gd name="connsiteY43" fmla="*/ 2460873 h 3573323"/>
                <a:gd name="connsiteX44" fmla="*/ 1125091 w 2701062"/>
                <a:gd name="connsiteY44" fmla="*/ 2591502 h 3573323"/>
                <a:gd name="connsiteX45" fmla="*/ 1087167 w 2701062"/>
                <a:gd name="connsiteY45" fmla="*/ 2654709 h 3573323"/>
                <a:gd name="connsiteX46" fmla="*/ 1015532 w 2701062"/>
                <a:gd name="connsiteY46" fmla="*/ 2722130 h 3573323"/>
                <a:gd name="connsiteX47" fmla="*/ 1007104 w 2701062"/>
                <a:gd name="connsiteY47" fmla="*/ 2810621 h 3573323"/>
                <a:gd name="connsiteX48" fmla="*/ 922828 w 2701062"/>
                <a:gd name="connsiteY48" fmla="*/ 2823262 h 3573323"/>
                <a:gd name="connsiteX49" fmla="*/ 868048 w 2701062"/>
                <a:gd name="connsiteY49" fmla="*/ 2827476 h 3573323"/>
                <a:gd name="connsiteX50" fmla="*/ 830123 w 2701062"/>
                <a:gd name="connsiteY50" fmla="*/ 2789551 h 3573323"/>
                <a:gd name="connsiteX51" fmla="*/ 577294 w 2701062"/>
                <a:gd name="connsiteY51" fmla="*/ 2810621 h 3573323"/>
                <a:gd name="connsiteX52" fmla="*/ 568866 w 2701062"/>
                <a:gd name="connsiteY52" fmla="*/ 2915966 h 3573323"/>
                <a:gd name="connsiteX53" fmla="*/ 514087 w 2701062"/>
                <a:gd name="connsiteY53" fmla="*/ 2949677 h 3573323"/>
                <a:gd name="connsiteX54" fmla="*/ 484590 w 2701062"/>
                <a:gd name="connsiteY54" fmla="*/ 2915966 h 3573323"/>
                <a:gd name="connsiteX55" fmla="*/ 446665 w 2701062"/>
                <a:gd name="connsiteY55" fmla="*/ 2941249 h 3573323"/>
                <a:gd name="connsiteX56" fmla="*/ 434024 w 2701062"/>
                <a:gd name="connsiteY56" fmla="*/ 3059236 h 3573323"/>
                <a:gd name="connsiteX57" fmla="*/ 328678 w 2701062"/>
                <a:gd name="connsiteY57" fmla="*/ 3185651 h 3573323"/>
                <a:gd name="connsiteX58" fmla="*/ 273899 w 2701062"/>
                <a:gd name="connsiteY58" fmla="*/ 3198292 h 3573323"/>
                <a:gd name="connsiteX59" fmla="*/ 252829 w 2701062"/>
                <a:gd name="connsiteY59" fmla="*/ 3248858 h 3573323"/>
                <a:gd name="connsiteX60" fmla="*/ 202263 w 2701062"/>
                <a:gd name="connsiteY60" fmla="*/ 3328921 h 3573323"/>
                <a:gd name="connsiteX61" fmla="*/ 164339 w 2701062"/>
                <a:gd name="connsiteY61" fmla="*/ 3358418 h 3573323"/>
                <a:gd name="connsiteX62" fmla="*/ 75849 w 2701062"/>
                <a:gd name="connsiteY62" fmla="*/ 3387915 h 3573323"/>
                <a:gd name="connsiteX63" fmla="*/ 12641 w 2701062"/>
                <a:gd name="connsiteY63" fmla="*/ 3421625 h 3573323"/>
                <a:gd name="connsiteX64" fmla="*/ 0 w 2701062"/>
                <a:gd name="connsiteY64" fmla="*/ 3501688 h 3573323"/>
                <a:gd name="connsiteX65" fmla="*/ 63207 w 2701062"/>
                <a:gd name="connsiteY65" fmla="*/ 3497474 h 3573323"/>
                <a:gd name="connsiteX66" fmla="*/ 96918 w 2701062"/>
                <a:gd name="connsiteY66" fmla="*/ 3451122 h 3573323"/>
                <a:gd name="connsiteX67" fmla="*/ 155911 w 2701062"/>
                <a:gd name="connsiteY67" fmla="*/ 3493260 h 3573323"/>
                <a:gd name="connsiteX68" fmla="*/ 164339 w 2701062"/>
                <a:gd name="connsiteY68" fmla="*/ 3573323 h 3573323"/>
                <a:gd name="connsiteX69" fmla="*/ 265471 w 2701062"/>
                <a:gd name="connsiteY69" fmla="*/ 3522757 h 3573323"/>
                <a:gd name="connsiteX70" fmla="*/ 252829 w 2701062"/>
                <a:gd name="connsiteY70" fmla="*/ 3463763 h 3573323"/>
                <a:gd name="connsiteX71" fmla="*/ 307609 w 2701062"/>
                <a:gd name="connsiteY71" fmla="*/ 3421625 h 3573323"/>
                <a:gd name="connsiteX72" fmla="*/ 345534 w 2701062"/>
                <a:gd name="connsiteY72" fmla="*/ 3383701 h 3573323"/>
                <a:gd name="connsiteX73" fmla="*/ 375030 w 2701062"/>
                <a:gd name="connsiteY73" fmla="*/ 3341562 h 3573323"/>
                <a:gd name="connsiteX74" fmla="*/ 497231 w 2701062"/>
                <a:gd name="connsiteY74" fmla="*/ 3349990 h 3573323"/>
                <a:gd name="connsiteX75" fmla="*/ 497231 w 2701062"/>
                <a:gd name="connsiteY75" fmla="*/ 3349990 h 3573323"/>
                <a:gd name="connsiteX76" fmla="*/ 568866 w 2701062"/>
                <a:gd name="connsiteY76" fmla="*/ 3383701 h 3573323"/>
                <a:gd name="connsiteX77" fmla="*/ 589935 w 2701062"/>
                <a:gd name="connsiteY77" fmla="*/ 3362632 h 3573323"/>
                <a:gd name="connsiteX78" fmla="*/ 648929 w 2701062"/>
                <a:gd name="connsiteY78" fmla="*/ 3392128 h 3573323"/>
                <a:gd name="connsiteX79" fmla="*/ 674212 w 2701062"/>
                <a:gd name="connsiteY79" fmla="*/ 3387915 h 3573323"/>
                <a:gd name="connsiteX80" fmla="*/ 720564 w 2701062"/>
                <a:gd name="connsiteY80" fmla="*/ 3451122 h 3573323"/>
                <a:gd name="connsiteX81" fmla="*/ 754275 w 2701062"/>
                <a:gd name="connsiteY81" fmla="*/ 3442694 h 3573323"/>
                <a:gd name="connsiteX82" fmla="*/ 804840 w 2701062"/>
                <a:gd name="connsiteY82" fmla="*/ 3366845 h 3573323"/>
                <a:gd name="connsiteX83" fmla="*/ 842765 w 2701062"/>
                <a:gd name="connsiteY83" fmla="*/ 3333135 h 3573323"/>
                <a:gd name="connsiteX84" fmla="*/ 830123 w 2701062"/>
                <a:gd name="connsiteY84" fmla="*/ 3278355 h 3573323"/>
                <a:gd name="connsiteX85" fmla="*/ 859620 w 2701062"/>
                <a:gd name="connsiteY85" fmla="*/ 3223575 h 3573323"/>
                <a:gd name="connsiteX86" fmla="*/ 918614 w 2701062"/>
                <a:gd name="connsiteY86" fmla="*/ 3173010 h 3573323"/>
                <a:gd name="connsiteX87" fmla="*/ 1011318 w 2701062"/>
                <a:gd name="connsiteY87" fmla="*/ 3156154 h 3573323"/>
                <a:gd name="connsiteX88" fmla="*/ 1078739 w 2701062"/>
                <a:gd name="connsiteY88" fmla="*/ 3143513 h 3573323"/>
                <a:gd name="connsiteX89" fmla="*/ 1163016 w 2701062"/>
                <a:gd name="connsiteY89" fmla="*/ 3215148 h 3573323"/>
                <a:gd name="connsiteX90" fmla="*/ 1222009 w 2701062"/>
                <a:gd name="connsiteY90" fmla="*/ 3248858 h 3573323"/>
                <a:gd name="connsiteX91" fmla="*/ 1226223 w 2701062"/>
                <a:gd name="connsiteY91" fmla="*/ 3202506 h 3573323"/>
                <a:gd name="connsiteX92" fmla="*/ 1243078 w 2701062"/>
                <a:gd name="connsiteY92" fmla="*/ 3194079 h 3573323"/>
                <a:gd name="connsiteX93" fmla="*/ 1344210 w 2701062"/>
                <a:gd name="connsiteY93" fmla="*/ 3215148 h 3573323"/>
                <a:gd name="connsiteX94" fmla="*/ 1398990 w 2701062"/>
                <a:gd name="connsiteY94" fmla="*/ 3223575 h 3573323"/>
                <a:gd name="connsiteX95" fmla="*/ 1436914 w 2701062"/>
                <a:gd name="connsiteY95" fmla="*/ 3151940 h 3573323"/>
                <a:gd name="connsiteX96" fmla="*/ 1495908 w 2701062"/>
                <a:gd name="connsiteY96" fmla="*/ 3143513 h 3573323"/>
                <a:gd name="connsiteX97" fmla="*/ 1597040 w 2701062"/>
                <a:gd name="connsiteY97" fmla="*/ 3198292 h 3573323"/>
                <a:gd name="connsiteX98" fmla="*/ 1656033 w 2701062"/>
                <a:gd name="connsiteY98" fmla="*/ 3219362 h 3573323"/>
                <a:gd name="connsiteX99" fmla="*/ 1719240 w 2701062"/>
                <a:gd name="connsiteY99" fmla="*/ 3160368 h 3573323"/>
                <a:gd name="connsiteX100" fmla="*/ 1715027 w 2701062"/>
                <a:gd name="connsiteY100" fmla="*/ 3088733 h 3573323"/>
                <a:gd name="connsiteX101" fmla="*/ 1833014 w 2701062"/>
                <a:gd name="connsiteY101" fmla="*/ 3139299 h 3573323"/>
                <a:gd name="connsiteX102" fmla="*/ 1862510 w 2701062"/>
                <a:gd name="connsiteY102" fmla="*/ 3088733 h 3573323"/>
                <a:gd name="connsiteX103" fmla="*/ 2018422 w 2701062"/>
                <a:gd name="connsiteY103" fmla="*/ 3067664 h 3573323"/>
                <a:gd name="connsiteX104" fmla="*/ 2186975 w 2701062"/>
                <a:gd name="connsiteY104" fmla="*/ 3126657 h 3573323"/>
                <a:gd name="connsiteX105" fmla="*/ 2254396 w 2701062"/>
                <a:gd name="connsiteY105" fmla="*/ 3042381 h 3573323"/>
                <a:gd name="connsiteX106" fmla="*/ 2338673 w 2701062"/>
                <a:gd name="connsiteY106" fmla="*/ 3042381 h 3573323"/>
                <a:gd name="connsiteX107" fmla="*/ 2380811 w 2701062"/>
                <a:gd name="connsiteY107" fmla="*/ 2987601 h 3573323"/>
                <a:gd name="connsiteX108" fmla="*/ 2456660 w 2701062"/>
                <a:gd name="connsiteY108" fmla="*/ 2991815 h 3573323"/>
                <a:gd name="connsiteX109" fmla="*/ 2469301 w 2701062"/>
                <a:gd name="connsiteY109" fmla="*/ 2911752 h 3573323"/>
                <a:gd name="connsiteX110" fmla="*/ 2595716 w 2701062"/>
                <a:gd name="connsiteY110" fmla="*/ 2844331 h 3573323"/>
                <a:gd name="connsiteX111" fmla="*/ 2595716 w 2701062"/>
                <a:gd name="connsiteY111" fmla="*/ 2743199 h 3573323"/>
                <a:gd name="connsiteX112" fmla="*/ 2616785 w 2701062"/>
                <a:gd name="connsiteY112" fmla="*/ 2705275 h 3573323"/>
                <a:gd name="connsiteX113" fmla="*/ 2591502 w 2701062"/>
                <a:gd name="connsiteY113" fmla="*/ 2679992 h 3573323"/>
                <a:gd name="connsiteX114" fmla="*/ 2515653 w 2701062"/>
                <a:gd name="connsiteY114" fmla="*/ 2679992 h 3573323"/>
                <a:gd name="connsiteX115" fmla="*/ 2460874 w 2701062"/>
                <a:gd name="connsiteY115" fmla="*/ 2692633 h 3573323"/>
                <a:gd name="connsiteX116" fmla="*/ 2435591 w 2701062"/>
                <a:gd name="connsiteY116" fmla="*/ 2705275 h 3573323"/>
                <a:gd name="connsiteX117" fmla="*/ 2397666 w 2701062"/>
                <a:gd name="connsiteY117" fmla="*/ 2654709 h 3573323"/>
                <a:gd name="connsiteX118" fmla="*/ 2347100 w 2701062"/>
                <a:gd name="connsiteY118" fmla="*/ 2629426 h 3573323"/>
                <a:gd name="connsiteX119" fmla="*/ 2410308 w 2701062"/>
                <a:gd name="connsiteY119" fmla="*/ 2591502 h 3573323"/>
                <a:gd name="connsiteX120" fmla="*/ 2439804 w 2701062"/>
                <a:gd name="connsiteY120" fmla="*/ 2444018 h 3573323"/>
                <a:gd name="connsiteX121" fmla="*/ 2481943 w 2701062"/>
                <a:gd name="connsiteY121" fmla="*/ 2477728 h 3573323"/>
                <a:gd name="connsiteX122" fmla="*/ 2532509 w 2701062"/>
                <a:gd name="connsiteY122" fmla="*/ 2406093 h 3573323"/>
                <a:gd name="connsiteX123" fmla="*/ 2545150 w 2701062"/>
                <a:gd name="connsiteY123" fmla="*/ 2368169 h 3573323"/>
                <a:gd name="connsiteX124" fmla="*/ 2633640 w 2701062"/>
                <a:gd name="connsiteY124" fmla="*/ 2254396 h 3573323"/>
                <a:gd name="connsiteX125" fmla="*/ 2650496 w 2701062"/>
                <a:gd name="connsiteY125" fmla="*/ 2161692 h 3573323"/>
                <a:gd name="connsiteX126" fmla="*/ 2696848 w 2701062"/>
                <a:gd name="connsiteY126" fmla="*/ 2085843 h 3573323"/>
                <a:gd name="connsiteX127" fmla="*/ 2701062 w 2701062"/>
                <a:gd name="connsiteY127" fmla="*/ 1879365 h 3573323"/>
                <a:gd name="connsiteX128" fmla="*/ 2503012 w 2701062"/>
                <a:gd name="connsiteY128" fmla="*/ 1744523 h 3573323"/>
                <a:gd name="connsiteX129" fmla="*/ 2237541 w 2701062"/>
                <a:gd name="connsiteY129" fmla="*/ 1715026 h 3573323"/>
                <a:gd name="connsiteX130" fmla="*/ 2161692 w 2701062"/>
                <a:gd name="connsiteY130" fmla="*/ 1803516 h 3573323"/>
                <a:gd name="connsiteX131" fmla="*/ 2123768 w 2701062"/>
                <a:gd name="connsiteY131" fmla="*/ 1795089 h 3573323"/>
                <a:gd name="connsiteX132" fmla="*/ 2111126 w 2701062"/>
                <a:gd name="connsiteY132" fmla="*/ 1744523 h 3573323"/>
                <a:gd name="connsiteX133" fmla="*/ 2203830 w 2701062"/>
                <a:gd name="connsiteY133" fmla="*/ 1647605 h 3573323"/>
                <a:gd name="connsiteX134" fmla="*/ 2178547 w 2701062"/>
                <a:gd name="connsiteY134" fmla="*/ 1508549 h 3573323"/>
                <a:gd name="connsiteX135" fmla="*/ 2090057 w 2701062"/>
                <a:gd name="connsiteY135" fmla="*/ 1415845 h 3573323"/>
                <a:gd name="connsiteX136" fmla="*/ 2056346 w 2701062"/>
                <a:gd name="connsiteY136" fmla="*/ 1386348 h 3573323"/>
                <a:gd name="connsiteX137" fmla="*/ 2127981 w 2701062"/>
                <a:gd name="connsiteY137" fmla="*/ 1373706 h 3573323"/>
                <a:gd name="connsiteX138" fmla="*/ 2127981 w 2701062"/>
                <a:gd name="connsiteY138" fmla="*/ 1339996 h 3573323"/>
                <a:gd name="connsiteX139" fmla="*/ 2031063 w 2701062"/>
                <a:gd name="connsiteY139" fmla="*/ 1213581 h 3573323"/>
                <a:gd name="connsiteX140" fmla="*/ 2022636 w 2701062"/>
                <a:gd name="connsiteY140" fmla="*/ 1129304 h 3573323"/>
                <a:gd name="connsiteX141" fmla="*/ 2056346 w 2701062"/>
                <a:gd name="connsiteY141" fmla="*/ 1066097 h 3573323"/>
                <a:gd name="connsiteX142" fmla="*/ 2039491 w 2701062"/>
                <a:gd name="connsiteY142" fmla="*/ 1032386 h 3573323"/>
                <a:gd name="connsiteX143" fmla="*/ 1967856 w 2701062"/>
                <a:gd name="connsiteY143" fmla="*/ 1011317 h 3573323"/>
                <a:gd name="connsiteX144" fmla="*/ 1929932 w 2701062"/>
                <a:gd name="connsiteY144" fmla="*/ 952324 h 3573323"/>
                <a:gd name="connsiteX145" fmla="*/ 1934146 w 2701062"/>
                <a:gd name="connsiteY145" fmla="*/ 893330 h 3573323"/>
                <a:gd name="connsiteX146" fmla="*/ 1727668 w 2701062"/>
                <a:gd name="connsiteY146" fmla="*/ 775343 h 3573323"/>
                <a:gd name="connsiteX147" fmla="*/ 1664461 w 2701062"/>
                <a:gd name="connsiteY147" fmla="*/ 716350 h 3573323"/>
                <a:gd name="connsiteX148" fmla="*/ 1516977 w 2701062"/>
                <a:gd name="connsiteY148" fmla="*/ 176981 h 3573323"/>
                <a:gd name="connsiteX149" fmla="*/ 1356851 w 2701062"/>
                <a:gd name="connsiteY149" fmla="*/ 0 h 3573323"/>
                <a:gd name="connsiteX0" fmla="*/ 1356851 w 2701062"/>
                <a:gd name="connsiteY0" fmla="*/ 8428 h 3573323"/>
                <a:gd name="connsiteX1" fmla="*/ 1281002 w 2701062"/>
                <a:gd name="connsiteY1" fmla="*/ 257044 h 3573323"/>
                <a:gd name="connsiteX2" fmla="*/ 1141946 w 2701062"/>
                <a:gd name="connsiteY2" fmla="*/ 391886 h 3573323"/>
                <a:gd name="connsiteX3" fmla="*/ 876475 w 2701062"/>
                <a:gd name="connsiteY3" fmla="*/ 648928 h 3573323"/>
                <a:gd name="connsiteX4" fmla="*/ 804840 w 2701062"/>
                <a:gd name="connsiteY4" fmla="*/ 720563 h 3573323"/>
                <a:gd name="connsiteX5" fmla="*/ 813268 w 2701062"/>
                <a:gd name="connsiteY5" fmla="*/ 851192 h 3573323"/>
                <a:gd name="connsiteX6" fmla="*/ 897545 w 2701062"/>
                <a:gd name="connsiteY6" fmla="*/ 1019745 h 3573323"/>
                <a:gd name="connsiteX7" fmla="*/ 943897 w 2701062"/>
                <a:gd name="connsiteY7" fmla="*/ 1104021 h 3573323"/>
                <a:gd name="connsiteX8" fmla="*/ 964966 w 2701062"/>
                <a:gd name="connsiteY8" fmla="*/ 1133518 h 3573323"/>
                <a:gd name="connsiteX9" fmla="*/ 994463 w 2701062"/>
                <a:gd name="connsiteY9" fmla="*/ 1108235 h 3573323"/>
                <a:gd name="connsiteX10" fmla="*/ 1011318 w 2701062"/>
                <a:gd name="connsiteY10" fmla="*/ 1053456 h 3573323"/>
                <a:gd name="connsiteX11" fmla="*/ 1057670 w 2701062"/>
                <a:gd name="connsiteY11" fmla="*/ 1045028 h 3573323"/>
                <a:gd name="connsiteX12" fmla="*/ 1053456 w 2701062"/>
                <a:gd name="connsiteY12" fmla="*/ 1108235 h 3573323"/>
                <a:gd name="connsiteX13" fmla="*/ 1040815 w 2701062"/>
                <a:gd name="connsiteY13" fmla="*/ 1141946 h 3573323"/>
                <a:gd name="connsiteX14" fmla="*/ 1049242 w 2701062"/>
                <a:gd name="connsiteY14" fmla="*/ 1167229 h 3573323"/>
                <a:gd name="connsiteX15" fmla="*/ 986035 w 2701062"/>
                <a:gd name="connsiteY15" fmla="*/ 1184084 h 3573323"/>
                <a:gd name="connsiteX16" fmla="*/ 1011318 w 2701062"/>
                <a:gd name="connsiteY16" fmla="*/ 1318927 h 3573323"/>
                <a:gd name="connsiteX17" fmla="*/ 1049242 w 2701062"/>
                <a:gd name="connsiteY17" fmla="*/ 1314713 h 3573323"/>
                <a:gd name="connsiteX18" fmla="*/ 1040815 w 2701062"/>
                <a:gd name="connsiteY18" fmla="*/ 1377920 h 3573323"/>
                <a:gd name="connsiteX19" fmla="*/ 981821 w 2701062"/>
                <a:gd name="connsiteY19" fmla="*/ 1411631 h 3573323"/>
                <a:gd name="connsiteX20" fmla="*/ 931255 w 2701062"/>
                <a:gd name="connsiteY20" fmla="*/ 1411631 h 3573323"/>
                <a:gd name="connsiteX21" fmla="*/ 897545 w 2701062"/>
                <a:gd name="connsiteY21" fmla="*/ 1474838 h 3573323"/>
                <a:gd name="connsiteX22" fmla="*/ 901758 w 2701062"/>
                <a:gd name="connsiteY22" fmla="*/ 1504335 h 3573323"/>
                <a:gd name="connsiteX23" fmla="*/ 948110 w 2701062"/>
                <a:gd name="connsiteY23" fmla="*/ 1512762 h 3573323"/>
                <a:gd name="connsiteX24" fmla="*/ 931255 w 2701062"/>
                <a:gd name="connsiteY24" fmla="*/ 1550687 h 3573323"/>
                <a:gd name="connsiteX25" fmla="*/ 952324 w 2701062"/>
                <a:gd name="connsiteY25" fmla="*/ 1559115 h 3573323"/>
                <a:gd name="connsiteX26" fmla="*/ 1015532 w 2701062"/>
                <a:gd name="connsiteY26" fmla="*/ 1563328 h 3573323"/>
                <a:gd name="connsiteX27" fmla="*/ 1040815 w 2701062"/>
                <a:gd name="connsiteY27" fmla="*/ 1601253 h 3573323"/>
                <a:gd name="connsiteX28" fmla="*/ 1036601 w 2701062"/>
                <a:gd name="connsiteY28" fmla="*/ 1639177 h 3573323"/>
                <a:gd name="connsiteX29" fmla="*/ 1104022 w 2701062"/>
                <a:gd name="connsiteY29" fmla="*/ 1740309 h 3573323"/>
                <a:gd name="connsiteX30" fmla="*/ 1053456 w 2701062"/>
                <a:gd name="connsiteY30" fmla="*/ 1765592 h 3573323"/>
                <a:gd name="connsiteX31" fmla="*/ 998676 w 2701062"/>
                <a:gd name="connsiteY31" fmla="*/ 1761378 h 3573323"/>
                <a:gd name="connsiteX32" fmla="*/ 964966 w 2701062"/>
                <a:gd name="connsiteY32" fmla="*/ 1841441 h 3573323"/>
                <a:gd name="connsiteX33" fmla="*/ 1015532 w 2701062"/>
                <a:gd name="connsiteY33" fmla="*/ 1883579 h 3573323"/>
                <a:gd name="connsiteX34" fmla="*/ 994463 w 2701062"/>
                <a:gd name="connsiteY34" fmla="*/ 1980497 h 3573323"/>
                <a:gd name="connsiteX35" fmla="*/ 1019746 w 2701062"/>
                <a:gd name="connsiteY35" fmla="*/ 2014208 h 3573323"/>
                <a:gd name="connsiteX36" fmla="*/ 990249 w 2701062"/>
                <a:gd name="connsiteY36" fmla="*/ 2047918 h 3573323"/>
                <a:gd name="connsiteX37" fmla="*/ 948110 w 2701062"/>
                <a:gd name="connsiteY37" fmla="*/ 2047918 h 3573323"/>
                <a:gd name="connsiteX38" fmla="*/ 939683 w 2701062"/>
                <a:gd name="connsiteY38" fmla="*/ 2085843 h 3573323"/>
                <a:gd name="connsiteX39" fmla="*/ 994463 w 2701062"/>
                <a:gd name="connsiteY39" fmla="*/ 2132195 h 3573323"/>
                <a:gd name="connsiteX40" fmla="*/ 981821 w 2701062"/>
                <a:gd name="connsiteY40" fmla="*/ 2313389 h 3573323"/>
                <a:gd name="connsiteX41" fmla="*/ 1015532 w 2701062"/>
                <a:gd name="connsiteY41" fmla="*/ 2393452 h 3573323"/>
                <a:gd name="connsiteX42" fmla="*/ 1049242 w 2701062"/>
                <a:gd name="connsiteY42" fmla="*/ 2393452 h 3573323"/>
                <a:gd name="connsiteX43" fmla="*/ 1129305 w 2701062"/>
                <a:gd name="connsiteY43" fmla="*/ 2460873 h 3573323"/>
                <a:gd name="connsiteX44" fmla="*/ 1125091 w 2701062"/>
                <a:gd name="connsiteY44" fmla="*/ 2591502 h 3573323"/>
                <a:gd name="connsiteX45" fmla="*/ 1087167 w 2701062"/>
                <a:gd name="connsiteY45" fmla="*/ 2654709 h 3573323"/>
                <a:gd name="connsiteX46" fmla="*/ 1015532 w 2701062"/>
                <a:gd name="connsiteY46" fmla="*/ 2722130 h 3573323"/>
                <a:gd name="connsiteX47" fmla="*/ 1007104 w 2701062"/>
                <a:gd name="connsiteY47" fmla="*/ 2810621 h 3573323"/>
                <a:gd name="connsiteX48" fmla="*/ 922828 w 2701062"/>
                <a:gd name="connsiteY48" fmla="*/ 2823262 h 3573323"/>
                <a:gd name="connsiteX49" fmla="*/ 868048 w 2701062"/>
                <a:gd name="connsiteY49" fmla="*/ 2827476 h 3573323"/>
                <a:gd name="connsiteX50" fmla="*/ 830123 w 2701062"/>
                <a:gd name="connsiteY50" fmla="*/ 2789551 h 3573323"/>
                <a:gd name="connsiteX51" fmla="*/ 577294 w 2701062"/>
                <a:gd name="connsiteY51" fmla="*/ 2810621 h 3573323"/>
                <a:gd name="connsiteX52" fmla="*/ 568866 w 2701062"/>
                <a:gd name="connsiteY52" fmla="*/ 2915966 h 3573323"/>
                <a:gd name="connsiteX53" fmla="*/ 514087 w 2701062"/>
                <a:gd name="connsiteY53" fmla="*/ 2949677 h 3573323"/>
                <a:gd name="connsiteX54" fmla="*/ 484590 w 2701062"/>
                <a:gd name="connsiteY54" fmla="*/ 2915966 h 3573323"/>
                <a:gd name="connsiteX55" fmla="*/ 446665 w 2701062"/>
                <a:gd name="connsiteY55" fmla="*/ 2941249 h 3573323"/>
                <a:gd name="connsiteX56" fmla="*/ 434024 w 2701062"/>
                <a:gd name="connsiteY56" fmla="*/ 3059236 h 3573323"/>
                <a:gd name="connsiteX57" fmla="*/ 328678 w 2701062"/>
                <a:gd name="connsiteY57" fmla="*/ 3185651 h 3573323"/>
                <a:gd name="connsiteX58" fmla="*/ 273899 w 2701062"/>
                <a:gd name="connsiteY58" fmla="*/ 3198292 h 3573323"/>
                <a:gd name="connsiteX59" fmla="*/ 252829 w 2701062"/>
                <a:gd name="connsiteY59" fmla="*/ 3248858 h 3573323"/>
                <a:gd name="connsiteX60" fmla="*/ 202263 w 2701062"/>
                <a:gd name="connsiteY60" fmla="*/ 3328921 h 3573323"/>
                <a:gd name="connsiteX61" fmla="*/ 164339 w 2701062"/>
                <a:gd name="connsiteY61" fmla="*/ 3358418 h 3573323"/>
                <a:gd name="connsiteX62" fmla="*/ 75849 w 2701062"/>
                <a:gd name="connsiteY62" fmla="*/ 3387915 h 3573323"/>
                <a:gd name="connsiteX63" fmla="*/ 12641 w 2701062"/>
                <a:gd name="connsiteY63" fmla="*/ 3421625 h 3573323"/>
                <a:gd name="connsiteX64" fmla="*/ 0 w 2701062"/>
                <a:gd name="connsiteY64" fmla="*/ 3501688 h 3573323"/>
                <a:gd name="connsiteX65" fmla="*/ 63207 w 2701062"/>
                <a:gd name="connsiteY65" fmla="*/ 3497474 h 3573323"/>
                <a:gd name="connsiteX66" fmla="*/ 96918 w 2701062"/>
                <a:gd name="connsiteY66" fmla="*/ 3451122 h 3573323"/>
                <a:gd name="connsiteX67" fmla="*/ 155911 w 2701062"/>
                <a:gd name="connsiteY67" fmla="*/ 3493260 h 3573323"/>
                <a:gd name="connsiteX68" fmla="*/ 164339 w 2701062"/>
                <a:gd name="connsiteY68" fmla="*/ 3573323 h 3573323"/>
                <a:gd name="connsiteX69" fmla="*/ 265471 w 2701062"/>
                <a:gd name="connsiteY69" fmla="*/ 3522757 h 3573323"/>
                <a:gd name="connsiteX70" fmla="*/ 252829 w 2701062"/>
                <a:gd name="connsiteY70" fmla="*/ 3463763 h 3573323"/>
                <a:gd name="connsiteX71" fmla="*/ 307609 w 2701062"/>
                <a:gd name="connsiteY71" fmla="*/ 3421625 h 3573323"/>
                <a:gd name="connsiteX72" fmla="*/ 345534 w 2701062"/>
                <a:gd name="connsiteY72" fmla="*/ 3383701 h 3573323"/>
                <a:gd name="connsiteX73" fmla="*/ 375030 w 2701062"/>
                <a:gd name="connsiteY73" fmla="*/ 3341562 h 3573323"/>
                <a:gd name="connsiteX74" fmla="*/ 497231 w 2701062"/>
                <a:gd name="connsiteY74" fmla="*/ 3349990 h 3573323"/>
                <a:gd name="connsiteX75" fmla="*/ 497231 w 2701062"/>
                <a:gd name="connsiteY75" fmla="*/ 3349990 h 3573323"/>
                <a:gd name="connsiteX76" fmla="*/ 568866 w 2701062"/>
                <a:gd name="connsiteY76" fmla="*/ 3383701 h 3573323"/>
                <a:gd name="connsiteX77" fmla="*/ 589935 w 2701062"/>
                <a:gd name="connsiteY77" fmla="*/ 3362632 h 3573323"/>
                <a:gd name="connsiteX78" fmla="*/ 648929 w 2701062"/>
                <a:gd name="connsiteY78" fmla="*/ 3392128 h 3573323"/>
                <a:gd name="connsiteX79" fmla="*/ 674212 w 2701062"/>
                <a:gd name="connsiteY79" fmla="*/ 3387915 h 3573323"/>
                <a:gd name="connsiteX80" fmla="*/ 720564 w 2701062"/>
                <a:gd name="connsiteY80" fmla="*/ 3451122 h 3573323"/>
                <a:gd name="connsiteX81" fmla="*/ 754275 w 2701062"/>
                <a:gd name="connsiteY81" fmla="*/ 3442694 h 3573323"/>
                <a:gd name="connsiteX82" fmla="*/ 804840 w 2701062"/>
                <a:gd name="connsiteY82" fmla="*/ 3366845 h 3573323"/>
                <a:gd name="connsiteX83" fmla="*/ 842765 w 2701062"/>
                <a:gd name="connsiteY83" fmla="*/ 3333135 h 3573323"/>
                <a:gd name="connsiteX84" fmla="*/ 830123 w 2701062"/>
                <a:gd name="connsiteY84" fmla="*/ 3278355 h 3573323"/>
                <a:gd name="connsiteX85" fmla="*/ 859620 w 2701062"/>
                <a:gd name="connsiteY85" fmla="*/ 3223575 h 3573323"/>
                <a:gd name="connsiteX86" fmla="*/ 918614 w 2701062"/>
                <a:gd name="connsiteY86" fmla="*/ 3173010 h 3573323"/>
                <a:gd name="connsiteX87" fmla="*/ 1011318 w 2701062"/>
                <a:gd name="connsiteY87" fmla="*/ 3156154 h 3573323"/>
                <a:gd name="connsiteX88" fmla="*/ 1078739 w 2701062"/>
                <a:gd name="connsiteY88" fmla="*/ 3143513 h 3573323"/>
                <a:gd name="connsiteX89" fmla="*/ 1163016 w 2701062"/>
                <a:gd name="connsiteY89" fmla="*/ 3215148 h 3573323"/>
                <a:gd name="connsiteX90" fmla="*/ 1222009 w 2701062"/>
                <a:gd name="connsiteY90" fmla="*/ 3248858 h 3573323"/>
                <a:gd name="connsiteX91" fmla="*/ 1226223 w 2701062"/>
                <a:gd name="connsiteY91" fmla="*/ 3202506 h 3573323"/>
                <a:gd name="connsiteX92" fmla="*/ 1243078 w 2701062"/>
                <a:gd name="connsiteY92" fmla="*/ 3194079 h 3573323"/>
                <a:gd name="connsiteX93" fmla="*/ 1344210 w 2701062"/>
                <a:gd name="connsiteY93" fmla="*/ 3215148 h 3573323"/>
                <a:gd name="connsiteX94" fmla="*/ 1398990 w 2701062"/>
                <a:gd name="connsiteY94" fmla="*/ 3223575 h 3573323"/>
                <a:gd name="connsiteX95" fmla="*/ 1436914 w 2701062"/>
                <a:gd name="connsiteY95" fmla="*/ 3151940 h 3573323"/>
                <a:gd name="connsiteX96" fmla="*/ 1495908 w 2701062"/>
                <a:gd name="connsiteY96" fmla="*/ 3143513 h 3573323"/>
                <a:gd name="connsiteX97" fmla="*/ 1597040 w 2701062"/>
                <a:gd name="connsiteY97" fmla="*/ 3198292 h 3573323"/>
                <a:gd name="connsiteX98" fmla="*/ 1656033 w 2701062"/>
                <a:gd name="connsiteY98" fmla="*/ 3219362 h 3573323"/>
                <a:gd name="connsiteX99" fmla="*/ 1719240 w 2701062"/>
                <a:gd name="connsiteY99" fmla="*/ 3160368 h 3573323"/>
                <a:gd name="connsiteX100" fmla="*/ 1715027 w 2701062"/>
                <a:gd name="connsiteY100" fmla="*/ 3088733 h 3573323"/>
                <a:gd name="connsiteX101" fmla="*/ 1833014 w 2701062"/>
                <a:gd name="connsiteY101" fmla="*/ 3139299 h 3573323"/>
                <a:gd name="connsiteX102" fmla="*/ 1862510 w 2701062"/>
                <a:gd name="connsiteY102" fmla="*/ 3088733 h 3573323"/>
                <a:gd name="connsiteX103" fmla="*/ 2018422 w 2701062"/>
                <a:gd name="connsiteY103" fmla="*/ 3067664 h 3573323"/>
                <a:gd name="connsiteX104" fmla="*/ 2186975 w 2701062"/>
                <a:gd name="connsiteY104" fmla="*/ 3126657 h 3573323"/>
                <a:gd name="connsiteX105" fmla="*/ 2254396 w 2701062"/>
                <a:gd name="connsiteY105" fmla="*/ 3042381 h 3573323"/>
                <a:gd name="connsiteX106" fmla="*/ 2338673 w 2701062"/>
                <a:gd name="connsiteY106" fmla="*/ 3042381 h 3573323"/>
                <a:gd name="connsiteX107" fmla="*/ 2380811 w 2701062"/>
                <a:gd name="connsiteY107" fmla="*/ 2987601 h 3573323"/>
                <a:gd name="connsiteX108" fmla="*/ 2456660 w 2701062"/>
                <a:gd name="connsiteY108" fmla="*/ 2991815 h 3573323"/>
                <a:gd name="connsiteX109" fmla="*/ 2469301 w 2701062"/>
                <a:gd name="connsiteY109" fmla="*/ 2911752 h 3573323"/>
                <a:gd name="connsiteX110" fmla="*/ 2595716 w 2701062"/>
                <a:gd name="connsiteY110" fmla="*/ 2844331 h 3573323"/>
                <a:gd name="connsiteX111" fmla="*/ 2595716 w 2701062"/>
                <a:gd name="connsiteY111" fmla="*/ 2743199 h 3573323"/>
                <a:gd name="connsiteX112" fmla="*/ 2616785 w 2701062"/>
                <a:gd name="connsiteY112" fmla="*/ 2705275 h 3573323"/>
                <a:gd name="connsiteX113" fmla="*/ 2591502 w 2701062"/>
                <a:gd name="connsiteY113" fmla="*/ 2679992 h 3573323"/>
                <a:gd name="connsiteX114" fmla="*/ 2515653 w 2701062"/>
                <a:gd name="connsiteY114" fmla="*/ 2679992 h 3573323"/>
                <a:gd name="connsiteX115" fmla="*/ 2460874 w 2701062"/>
                <a:gd name="connsiteY115" fmla="*/ 2692633 h 3573323"/>
                <a:gd name="connsiteX116" fmla="*/ 2435591 w 2701062"/>
                <a:gd name="connsiteY116" fmla="*/ 2705275 h 3573323"/>
                <a:gd name="connsiteX117" fmla="*/ 2397666 w 2701062"/>
                <a:gd name="connsiteY117" fmla="*/ 2654709 h 3573323"/>
                <a:gd name="connsiteX118" fmla="*/ 2347100 w 2701062"/>
                <a:gd name="connsiteY118" fmla="*/ 2629426 h 3573323"/>
                <a:gd name="connsiteX119" fmla="*/ 2410308 w 2701062"/>
                <a:gd name="connsiteY119" fmla="*/ 2591502 h 3573323"/>
                <a:gd name="connsiteX120" fmla="*/ 2439804 w 2701062"/>
                <a:gd name="connsiteY120" fmla="*/ 2444018 h 3573323"/>
                <a:gd name="connsiteX121" fmla="*/ 2481943 w 2701062"/>
                <a:gd name="connsiteY121" fmla="*/ 2477728 h 3573323"/>
                <a:gd name="connsiteX122" fmla="*/ 2532509 w 2701062"/>
                <a:gd name="connsiteY122" fmla="*/ 2406093 h 3573323"/>
                <a:gd name="connsiteX123" fmla="*/ 2545150 w 2701062"/>
                <a:gd name="connsiteY123" fmla="*/ 2368169 h 3573323"/>
                <a:gd name="connsiteX124" fmla="*/ 2633640 w 2701062"/>
                <a:gd name="connsiteY124" fmla="*/ 2254396 h 3573323"/>
                <a:gd name="connsiteX125" fmla="*/ 2650496 w 2701062"/>
                <a:gd name="connsiteY125" fmla="*/ 2161692 h 3573323"/>
                <a:gd name="connsiteX126" fmla="*/ 2696848 w 2701062"/>
                <a:gd name="connsiteY126" fmla="*/ 2085843 h 3573323"/>
                <a:gd name="connsiteX127" fmla="*/ 2701062 w 2701062"/>
                <a:gd name="connsiteY127" fmla="*/ 1879365 h 3573323"/>
                <a:gd name="connsiteX128" fmla="*/ 2503012 w 2701062"/>
                <a:gd name="connsiteY128" fmla="*/ 1744523 h 3573323"/>
                <a:gd name="connsiteX129" fmla="*/ 2237541 w 2701062"/>
                <a:gd name="connsiteY129" fmla="*/ 1715026 h 3573323"/>
                <a:gd name="connsiteX130" fmla="*/ 2161692 w 2701062"/>
                <a:gd name="connsiteY130" fmla="*/ 1803516 h 3573323"/>
                <a:gd name="connsiteX131" fmla="*/ 2123768 w 2701062"/>
                <a:gd name="connsiteY131" fmla="*/ 1795089 h 3573323"/>
                <a:gd name="connsiteX132" fmla="*/ 2111126 w 2701062"/>
                <a:gd name="connsiteY132" fmla="*/ 1744523 h 3573323"/>
                <a:gd name="connsiteX133" fmla="*/ 2203830 w 2701062"/>
                <a:gd name="connsiteY133" fmla="*/ 1647605 h 3573323"/>
                <a:gd name="connsiteX134" fmla="*/ 2178547 w 2701062"/>
                <a:gd name="connsiteY134" fmla="*/ 1508549 h 3573323"/>
                <a:gd name="connsiteX135" fmla="*/ 2090057 w 2701062"/>
                <a:gd name="connsiteY135" fmla="*/ 1415845 h 3573323"/>
                <a:gd name="connsiteX136" fmla="*/ 2056346 w 2701062"/>
                <a:gd name="connsiteY136" fmla="*/ 1386348 h 3573323"/>
                <a:gd name="connsiteX137" fmla="*/ 2127981 w 2701062"/>
                <a:gd name="connsiteY137" fmla="*/ 1373706 h 3573323"/>
                <a:gd name="connsiteX138" fmla="*/ 2127981 w 2701062"/>
                <a:gd name="connsiteY138" fmla="*/ 1339996 h 3573323"/>
                <a:gd name="connsiteX139" fmla="*/ 2031063 w 2701062"/>
                <a:gd name="connsiteY139" fmla="*/ 1213581 h 3573323"/>
                <a:gd name="connsiteX140" fmla="*/ 2022636 w 2701062"/>
                <a:gd name="connsiteY140" fmla="*/ 1129304 h 3573323"/>
                <a:gd name="connsiteX141" fmla="*/ 2056346 w 2701062"/>
                <a:gd name="connsiteY141" fmla="*/ 1066097 h 3573323"/>
                <a:gd name="connsiteX142" fmla="*/ 2039491 w 2701062"/>
                <a:gd name="connsiteY142" fmla="*/ 1032386 h 3573323"/>
                <a:gd name="connsiteX143" fmla="*/ 1967856 w 2701062"/>
                <a:gd name="connsiteY143" fmla="*/ 1011317 h 3573323"/>
                <a:gd name="connsiteX144" fmla="*/ 1929932 w 2701062"/>
                <a:gd name="connsiteY144" fmla="*/ 952324 h 3573323"/>
                <a:gd name="connsiteX145" fmla="*/ 1934146 w 2701062"/>
                <a:gd name="connsiteY145" fmla="*/ 893330 h 3573323"/>
                <a:gd name="connsiteX146" fmla="*/ 1727668 w 2701062"/>
                <a:gd name="connsiteY146" fmla="*/ 775343 h 3573323"/>
                <a:gd name="connsiteX147" fmla="*/ 1664461 w 2701062"/>
                <a:gd name="connsiteY147" fmla="*/ 716350 h 3573323"/>
                <a:gd name="connsiteX148" fmla="*/ 1516977 w 2701062"/>
                <a:gd name="connsiteY148" fmla="*/ 176981 h 3573323"/>
                <a:gd name="connsiteX149" fmla="*/ 1356851 w 2701062"/>
                <a:gd name="connsiteY149" fmla="*/ 0 h 3573323"/>
                <a:gd name="connsiteX0" fmla="*/ 1356851 w 2701062"/>
                <a:gd name="connsiteY0" fmla="*/ 8428 h 3573323"/>
                <a:gd name="connsiteX1" fmla="*/ 1323141 w 2701062"/>
                <a:gd name="connsiteY1" fmla="*/ 101132 h 3573323"/>
                <a:gd name="connsiteX2" fmla="*/ 1281002 w 2701062"/>
                <a:gd name="connsiteY2" fmla="*/ 257044 h 3573323"/>
                <a:gd name="connsiteX3" fmla="*/ 1141946 w 2701062"/>
                <a:gd name="connsiteY3" fmla="*/ 391886 h 3573323"/>
                <a:gd name="connsiteX4" fmla="*/ 876475 w 2701062"/>
                <a:gd name="connsiteY4" fmla="*/ 648928 h 3573323"/>
                <a:gd name="connsiteX5" fmla="*/ 804840 w 2701062"/>
                <a:gd name="connsiteY5" fmla="*/ 720563 h 3573323"/>
                <a:gd name="connsiteX6" fmla="*/ 813268 w 2701062"/>
                <a:gd name="connsiteY6" fmla="*/ 851192 h 3573323"/>
                <a:gd name="connsiteX7" fmla="*/ 897545 w 2701062"/>
                <a:gd name="connsiteY7" fmla="*/ 1019745 h 3573323"/>
                <a:gd name="connsiteX8" fmla="*/ 943897 w 2701062"/>
                <a:gd name="connsiteY8" fmla="*/ 1104021 h 3573323"/>
                <a:gd name="connsiteX9" fmla="*/ 964966 w 2701062"/>
                <a:gd name="connsiteY9" fmla="*/ 1133518 h 3573323"/>
                <a:gd name="connsiteX10" fmla="*/ 994463 w 2701062"/>
                <a:gd name="connsiteY10" fmla="*/ 1108235 h 3573323"/>
                <a:gd name="connsiteX11" fmla="*/ 1011318 w 2701062"/>
                <a:gd name="connsiteY11" fmla="*/ 1053456 h 3573323"/>
                <a:gd name="connsiteX12" fmla="*/ 1057670 w 2701062"/>
                <a:gd name="connsiteY12" fmla="*/ 1045028 h 3573323"/>
                <a:gd name="connsiteX13" fmla="*/ 1053456 w 2701062"/>
                <a:gd name="connsiteY13" fmla="*/ 1108235 h 3573323"/>
                <a:gd name="connsiteX14" fmla="*/ 1040815 w 2701062"/>
                <a:gd name="connsiteY14" fmla="*/ 1141946 h 3573323"/>
                <a:gd name="connsiteX15" fmla="*/ 1049242 w 2701062"/>
                <a:gd name="connsiteY15" fmla="*/ 1167229 h 3573323"/>
                <a:gd name="connsiteX16" fmla="*/ 986035 w 2701062"/>
                <a:gd name="connsiteY16" fmla="*/ 1184084 h 3573323"/>
                <a:gd name="connsiteX17" fmla="*/ 1011318 w 2701062"/>
                <a:gd name="connsiteY17" fmla="*/ 1318927 h 3573323"/>
                <a:gd name="connsiteX18" fmla="*/ 1049242 w 2701062"/>
                <a:gd name="connsiteY18" fmla="*/ 1314713 h 3573323"/>
                <a:gd name="connsiteX19" fmla="*/ 1040815 w 2701062"/>
                <a:gd name="connsiteY19" fmla="*/ 1377920 h 3573323"/>
                <a:gd name="connsiteX20" fmla="*/ 981821 w 2701062"/>
                <a:gd name="connsiteY20" fmla="*/ 1411631 h 3573323"/>
                <a:gd name="connsiteX21" fmla="*/ 931255 w 2701062"/>
                <a:gd name="connsiteY21" fmla="*/ 1411631 h 3573323"/>
                <a:gd name="connsiteX22" fmla="*/ 897545 w 2701062"/>
                <a:gd name="connsiteY22" fmla="*/ 1474838 h 3573323"/>
                <a:gd name="connsiteX23" fmla="*/ 901758 w 2701062"/>
                <a:gd name="connsiteY23" fmla="*/ 1504335 h 3573323"/>
                <a:gd name="connsiteX24" fmla="*/ 948110 w 2701062"/>
                <a:gd name="connsiteY24" fmla="*/ 1512762 h 3573323"/>
                <a:gd name="connsiteX25" fmla="*/ 931255 w 2701062"/>
                <a:gd name="connsiteY25" fmla="*/ 1550687 h 3573323"/>
                <a:gd name="connsiteX26" fmla="*/ 952324 w 2701062"/>
                <a:gd name="connsiteY26" fmla="*/ 1559115 h 3573323"/>
                <a:gd name="connsiteX27" fmla="*/ 1015532 w 2701062"/>
                <a:gd name="connsiteY27" fmla="*/ 1563328 h 3573323"/>
                <a:gd name="connsiteX28" fmla="*/ 1040815 w 2701062"/>
                <a:gd name="connsiteY28" fmla="*/ 1601253 h 3573323"/>
                <a:gd name="connsiteX29" fmla="*/ 1036601 w 2701062"/>
                <a:gd name="connsiteY29" fmla="*/ 1639177 h 3573323"/>
                <a:gd name="connsiteX30" fmla="*/ 1104022 w 2701062"/>
                <a:gd name="connsiteY30" fmla="*/ 1740309 h 3573323"/>
                <a:gd name="connsiteX31" fmla="*/ 1053456 w 2701062"/>
                <a:gd name="connsiteY31" fmla="*/ 1765592 h 3573323"/>
                <a:gd name="connsiteX32" fmla="*/ 998676 w 2701062"/>
                <a:gd name="connsiteY32" fmla="*/ 1761378 h 3573323"/>
                <a:gd name="connsiteX33" fmla="*/ 964966 w 2701062"/>
                <a:gd name="connsiteY33" fmla="*/ 1841441 h 3573323"/>
                <a:gd name="connsiteX34" fmla="*/ 1015532 w 2701062"/>
                <a:gd name="connsiteY34" fmla="*/ 1883579 h 3573323"/>
                <a:gd name="connsiteX35" fmla="*/ 994463 w 2701062"/>
                <a:gd name="connsiteY35" fmla="*/ 1980497 h 3573323"/>
                <a:gd name="connsiteX36" fmla="*/ 1019746 w 2701062"/>
                <a:gd name="connsiteY36" fmla="*/ 2014208 h 3573323"/>
                <a:gd name="connsiteX37" fmla="*/ 990249 w 2701062"/>
                <a:gd name="connsiteY37" fmla="*/ 2047918 h 3573323"/>
                <a:gd name="connsiteX38" fmla="*/ 948110 w 2701062"/>
                <a:gd name="connsiteY38" fmla="*/ 2047918 h 3573323"/>
                <a:gd name="connsiteX39" fmla="*/ 939683 w 2701062"/>
                <a:gd name="connsiteY39" fmla="*/ 2085843 h 3573323"/>
                <a:gd name="connsiteX40" fmla="*/ 994463 w 2701062"/>
                <a:gd name="connsiteY40" fmla="*/ 2132195 h 3573323"/>
                <a:gd name="connsiteX41" fmla="*/ 981821 w 2701062"/>
                <a:gd name="connsiteY41" fmla="*/ 2313389 h 3573323"/>
                <a:gd name="connsiteX42" fmla="*/ 1015532 w 2701062"/>
                <a:gd name="connsiteY42" fmla="*/ 2393452 h 3573323"/>
                <a:gd name="connsiteX43" fmla="*/ 1049242 w 2701062"/>
                <a:gd name="connsiteY43" fmla="*/ 2393452 h 3573323"/>
                <a:gd name="connsiteX44" fmla="*/ 1129305 w 2701062"/>
                <a:gd name="connsiteY44" fmla="*/ 2460873 h 3573323"/>
                <a:gd name="connsiteX45" fmla="*/ 1125091 w 2701062"/>
                <a:gd name="connsiteY45" fmla="*/ 2591502 h 3573323"/>
                <a:gd name="connsiteX46" fmla="*/ 1087167 w 2701062"/>
                <a:gd name="connsiteY46" fmla="*/ 2654709 h 3573323"/>
                <a:gd name="connsiteX47" fmla="*/ 1015532 w 2701062"/>
                <a:gd name="connsiteY47" fmla="*/ 2722130 h 3573323"/>
                <a:gd name="connsiteX48" fmla="*/ 1007104 w 2701062"/>
                <a:gd name="connsiteY48" fmla="*/ 2810621 h 3573323"/>
                <a:gd name="connsiteX49" fmla="*/ 922828 w 2701062"/>
                <a:gd name="connsiteY49" fmla="*/ 2823262 h 3573323"/>
                <a:gd name="connsiteX50" fmla="*/ 868048 w 2701062"/>
                <a:gd name="connsiteY50" fmla="*/ 2827476 h 3573323"/>
                <a:gd name="connsiteX51" fmla="*/ 830123 w 2701062"/>
                <a:gd name="connsiteY51" fmla="*/ 2789551 h 3573323"/>
                <a:gd name="connsiteX52" fmla="*/ 577294 w 2701062"/>
                <a:gd name="connsiteY52" fmla="*/ 2810621 h 3573323"/>
                <a:gd name="connsiteX53" fmla="*/ 568866 w 2701062"/>
                <a:gd name="connsiteY53" fmla="*/ 2915966 h 3573323"/>
                <a:gd name="connsiteX54" fmla="*/ 514087 w 2701062"/>
                <a:gd name="connsiteY54" fmla="*/ 2949677 h 3573323"/>
                <a:gd name="connsiteX55" fmla="*/ 484590 w 2701062"/>
                <a:gd name="connsiteY55" fmla="*/ 2915966 h 3573323"/>
                <a:gd name="connsiteX56" fmla="*/ 446665 w 2701062"/>
                <a:gd name="connsiteY56" fmla="*/ 2941249 h 3573323"/>
                <a:gd name="connsiteX57" fmla="*/ 434024 w 2701062"/>
                <a:gd name="connsiteY57" fmla="*/ 3059236 h 3573323"/>
                <a:gd name="connsiteX58" fmla="*/ 328678 w 2701062"/>
                <a:gd name="connsiteY58" fmla="*/ 3185651 h 3573323"/>
                <a:gd name="connsiteX59" fmla="*/ 273899 w 2701062"/>
                <a:gd name="connsiteY59" fmla="*/ 3198292 h 3573323"/>
                <a:gd name="connsiteX60" fmla="*/ 252829 w 2701062"/>
                <a:gd name="connsiteY60" fmla="*/ 3248858 h 3573323"/>
                <a:gd name="connsiteX61" fmla="*/ 202263 w 2701062"/>
                <a:gd name="connsiteY61" fmla="*/ 3328921 h 3573323"/>
                <a:gd name="connsiteX62" fmla="*/ 164339 w 2701062"/>
                <a:gd name="connsiteY62" fmla="*/ 3358418 h 3573323"/>
                <a:gd name="connsiteX63" fmla="*/ 75849 w 2701062"/>
                <a:gd name="connsiteY63" fmla="*/ 3387915 h 3573323"/>
                <a:gd name="connsiteX64" fmla="*/ 12641 w 2701062"/>
                <a:gd name="connsiteY64" fmla="*/ 3421625 h 3573323"/>
                <a:gd name="connsiteX65" fmla="*/ 0 w 2701062"/>
                <a:gd name="connsiteY65" fmla="*/ 3501688 h 3573323"/>
                <a:gd name="connsiteX66" fmla="*/ 63207 w 2701062"/>
                <a:gd name="connsiteY66" fmla="*/ 3497474 h 3573323"/>
                <a:gd name="connsiteX67" fmla="*/ 96918 w 2701062"/>
                <a:gd name="connsiteY67" fmla="*/ 3451122 h 3573323"/>
                <a:gd name="connsiteX68" fmla="*/ 155911 w 2701062"/>
                <a:gd name="connsiteY68" fmla="*/ 3493260 h 3573323"/>
                <a:gd name="connsiteX69" fmla="*/ 164339 w 2701062"/>
                <a:gd name="connsiteY69" fmla="*/ 3573323 h 3573323"/>
                <a:gd name="connsiteX70" fmla="*/ 265471 w 2701062"/>
                <a:gd name="connsiteY70" fmla="*/ 3522757 h 3573323"/>
                <a:gd name="connsiteX71" fmla="*/ 252829 w 2701062"/>
                <a:gd name="connsiteY71" fmla="*/ 3463763 h 3573323"/>
                <a:gd name="connsiteX72" fmla="*/ 307609 w 2701062"/>
                <a:gd name="connsiteY72" fmla="*/ 3421625 h 3573323"/>
                <a:gd name="connsiteX73" fmla="*/ 345534 w 2701062"/>
                <a:gd name="connsiteY73" fmla="*/ 3383701 h 3573323"/>
                <a:gd name="connsiteX74" fmla="*/ 375030 w 2701062"/>
                <a:gd name="connsiteY74" fmla="*/ 3341562 h 3573323"/>
                <a:gd name="connsiteX75" fmla="*/ 497231 w 2701062"/>
                <a:gd name="connsiteY75" fmla="*/ 3349990 h 3573323"/>
                <a:gd name="connsiteX76" fmla="*/ 497231 w 2701062"/>
                <a:gd name="connsiteY76" fmla="*/ 3349990 h 3573323"/>
                <a:gd name="connsiteX77" fmla="*/ 568866 w 2701062"/>
                <a:gd name="connsiteY77" fmla="*/ 3383701 h 3573323"/>
                <a:gd name="connsiteX78" fmla="*/ 589935 w 2701062"/>
                <a:gd name="connsiteY78" fmla="*/ 3362632 h 3573323"/>
                <a:gd name="connsiteX79" fmla="*/ 648929 w 2701062"/>
                <a:gd name="connsiteY79" fmla="*/ 3392128 h 3573323"/>
                <a:gd name="connsiteX80" fmla="*/ 674212 w 2701062"/>
                <a:gd name="connsiteY80" fmla="*/ 3387915 h 3573323"/>
                <a:gd name="connsiteX81" fmla="*/ 720564 w 2701062"/>
                <a:gd name="connsiteY81" fmla="*/ 3451122 h 3573323"/>
                <a:gd name="connsiteX82" fmla="*/ 754275 w 2701062"/>
                <a:gd name="connsiteY82" fmla="*/ 3442694 h 3573323"/>
                <a:gd name="connsiteX83" fmla="*/ 804840 w 2701062"/>
                <a:gd name="connsiteY83" fmla="*/ 3366845 h 3573323"/>
                <a:gd name="connsiteX84" fmla="*/ 842765 w 2701062"/>
                <a:gd name="connsiteY84" fmla="*/ 3333135 h 3573323"/>
                <a:gd name="connsiteX85" fmla="*/ 830123 w 2701062"/>
                <a:gd name="connsiteY85" fmla="*/ 3278355 h 3573323"/>
                <a:gd name="connsiteX86" fmla="*/ 859620 w 2701062"/>
                <a:gd name="connsiteY86" fmla="*/ 3223575 h 3573323"/>
                <a:gd name="connsiteX87" fmla="*/ 918614 w 2701062"/>
                <a:gd name="connsiteY87" fmla="*/ 3173010 h 3573323"/>
                <a:gd name="connsiteX88" fmla="*/ 1011318 w 2701062"/>
                <a:gd name="connsiteY88" fmla="*/ 3156154 h 3573323"/>
                <a:gd name="connsiteX89" fmla="*/ 1078739 w 2701062"/>
                <a:gd name="connsiteY89" fmla="*/ 3143513 h 3573323"/>
                <a:gd name="connsiteX90" fmla="*/ 1163016 w 2701062"/>
                <a:gd name="connsiteY90" fmla="*/ 3215148 h 3573323"/>
                <a:gd name="connsiteX91" fmla="*/ 1222009 w 2701062"/>
                <a:gd name="connsiteY91" fmla="*/ 3248858 h 3573323"/>
                <a:gd name="connsiteX92" fmla="*/ 1226223 w 2701062"/>
                <a:gd name="connsiteY92" fmla="*/ 3202506 h 3573323"/>
                <a:gd name="connsiteX93" fmla="*/ 1243078 w 2701062"/>
                <a:gd name="connsiteY93" fmla="*/ 3194079 h 3573323"/>
                <a:gd name="connsiteX94" fmla="*/ 1344210 w 2701062"/>
                <a:gd name="connsiteY94" fmla="*/ 3215148 h 3573323"/>
                <a:gd name="connsiteX95" fmla="*/ 1398990 w 2701062"/>
                <a:gd name="connsiteY95" fmla="*/ 3223575 h 3573323"/>
                <a:gd name="connsiteX96" fmla="*/ 1436914 w 2701062"/>
                <a:gd name="connsiteY96" fmla="*/ 3151940 h 3573323"/>
                <a:gd name="connsiteX97" fmla="*/ 1495908 w 2701062"/>
                <a:gd name="connsiteY97" fmla="*/ 3143513 h 3573323"/>
                <a:gd name="connsiteX98" fmla="*/ 1597040 w 2701062"/>
                <a:gd name="connsiteY98" fmla="*/ 3198292 h 3573323"/>
                <a:gd name="connsiteX99" fmla="*/ 1656033 w 2701062"/>
                <a:gd name="connsiteY99" fmla="*/ 3219362 h 3573323"/>
                <a:gd name="connsiteX100" fmla="*/ 1719240 w 2701062"/>
                <a:gd name="connsiteY100" fmla="*/ 3160368 h 3573323"/>
                <a:gd name="connsiteX101" fmla="*/ 1715027 w 2701062"/>
                <a:gd name="connsiteY101" fmla="*/ 3088733 h 3573323"/>
                <a:gd name="connsiteX102" fmla="*/ 1833014 w 2701062"/>
                <a:gd name="connsiteY102" fmla="*/ 3139299 h 3573323"/>
                <a:gd name="connsiteX103" fmla="*/ 1862510 w 2701062"/>
                <a:gd name="connsiteY103" fmla="*/ 3088733 h 3573323"/>
                <a:gd name="connsiteX104" fmla="*/ 2018422 w 2701062"/>
                <a:gd name="connsiteY104" fmla="*/ 3067664 h 3573323"/>
                <a:gd name="connsiteX105" fmla="*/ 2186975 w 2701062"/>
                <a:gd name="connsiteY105" fmla="*/ 3126657 h 3573323"/>
                <a:gd name="connsiteX106" fmla="*/ 2254396 w 2701062"/>
                <a:gd name="connsiteY106" fmla="*/ 3042381 h 3573323"/>
                <a:gd name="connsiteX107" fmla="*/ 2338673 w 2701062"/>
                <a:gd name="connsiteY107" fmla="*/ 3042381 h 3573323"/>
                <a:gd name="connsiteX108" fmla="*/ 2380811 w 2701062"/>
                <a:gd name="connsiteY108" fmla="*/ 2987601 h 3573323"/>
                <a:gd name="connsiteX109" fmla="*/ 2456660 w 2701062"/>
                <a:gd name="connsiteY109" fmla="*/ 2991815 h 3573323"/>
                <a:gd name="connsiteX110" fmla="*/ 2469301 w 2701062"/>
                <a:gd name="connsiteY110" fmla="*/ 2911752 h 3573323"/>
                <a:gd name="connsiteX111" fmla="*/ 2595716 w 2701062"/>
                <a:gd name="connsiteY111" fmla="*/ 2844331 h 3573323"/>
                <a:gd name="connsiteX112" fmla="*/ 2595716 w 2701062"/>
                <a:gd name="connsiteY112" fmla="*/ 2743199 h 3573323"/>
                <a:gd name="connsiteX113" fmla="*/ 2616785 w 2701062"/>
                <a:gd name="connsiteY113" fmla="*/ 2705275 h 3573323"/>
                <a:gd name="connsiteX114" fmla="*/ 2591502 w 2701062"/>
                <a:gd name="connsiteY114" fmla="*/ 2679992 h 3573323"/>
                <a:gd name="connsiteX115" fmla="*/ 2515653 w 2701062"/>
                <a:gd name="connsiteY115" fmla="*/ 2679992 h 3573323"/>
                <a:gd name="connsiteX116" fmla="*/ 2460874 w 2701062"/>
                <a:gd name="connsiteY116" fmla="*/ 2692633 h 3573323"/>
                <a:gd name="connsiteX117" fmla="*/ 2435591 w 2701062"/>
                <a:gd name="connsiteY117" fmla="*/ 2705275 h 3573323"/>
                <a:gd name="connsiteX118" fmla="*/ 2397666 w 2701062"/>
                <a:gd name="connsiteY118" fmla="*/ 2654709 h 3573323"/>
                <a:gd name="connsiteX119" fmla="*/ 2347100 w 2701062"/>
                <a:gd name="connsiteY119" fmla="*/ 2629426 h 3573323"/>
                <a:gd name="connsiteX120" fmla="*/ 2410308 w 2701062"/>
                <a:gd name="connsiteY120" fmla="*/ 2591502 h 3573323"/>
                <a:gd name="connsiteX121" fmla="*/ 2439804 w 2701062"/>
                <a:gd name="connsiteY121" fmla="*/ 2444018 h 3573323"/>
                <a:gd name="connsiteX122" fmla="*/ 2481943 w 2701062"/>
                <a:gd name="connsiteY122" fmla="*/ 2477728 h 3573323"/>
                <a:gd name="connsiteX123" fmla="*/ 2532509 w 2701062"/>
                <a:gd name="connsiteY123" fmla="*/ 2406093 h 3573323"/>
                <a:gd name="connsiteX124" fmla="*/ 2545150 w 2701062"/>
                <a:gd name="connsiteY124" fmla="*/ 2368169 h 3573323"/>
                <a:gd name="connsiteX125" fmla="*/ 2633640 w 2701062"/>
                <a:gd name="connsiteY125" fmla="*/ 2254396 h 3573323"/>
                <a:gd name="connsiteX126" fmla="*/ 2650496 w 2701062"/>
                <a:gd name="connsiteY126" fmla="*/ 2161692 h 3573323"/>
                <a:gd name="connsiteX127" fmla="*/ 2696848 w 2701062"/>
                <a:gd name="connsiteY127" fmla="*/ 2085843 h 3573323"/>
                <a:gd name="connsiteX128" fmla="*/ 2701062 w 2701062"/>
                <a:gd name="connsiteY128" fmla="*/ 1879365 h 3573323"/>
                <a:gd name="connsiteX129" fmla="*/ 2503012 w 2701062"/>
                <a:gd name="connsiteY129" fmla="*/ 1744523 h 3573323"/>
                <a:gd name="connsiteX130" fmla="*/ 2237541 w 2701062"/>
                <a:gd name="connsiteY130" fmla="*/ 1715026 h 3573323"/>
                <a:gd name="connsiteX131" fmla="*/ 2161692 w 2701062"/>
                <a:gd name="connsiteY131" fmla="*/ 1803516 h 3573323"/>
                <a:gd name="connsiteX132" fmla="*/ 2123768 w 2701062"/>
                <a:gd name="connsiteY132" fmla="*/ 1795089 h 3573323"/>
                <a:gd name="connsiteX133" fmla="*/ 2111126 w 2701062"/>
                <a:gd name="connsiteY133" fmla="*/ 1744523 h 3573323"/>
                <a:gd name="connsiteX134" fmla="*/ 2203830 w 2701062"/>
                <a:gd name="connsiteY134" fmla="*/ 1647605 h 3573323"/>
                <a:gd name="connsiteX135" fmla="*/ 2178547 w 2701062"/>
                <a:gd name="connsiteY135" fmla="*/ 1508549 h 3573323"/>
                <a:gd name="connsiteX136" fmla="*/ 2090057 w 2701062"/>
                <a:gd name="connsiteY136" fmla="*/ 1415845 h 3573323"/>
                <a:gd name="connsiteX137" fmla="*/ 2056346 w 2701062"/>
                <a:gd name="connsiteY137" fmla="*/ 1386348 h 3573323"/>
                <a:gd name="connsiteX138" fmla="*/ 2127981 w 2701062"/>
                <a:gd name="connsiteY138" fmla="*/ 1373706 h 3573323"/>
                <a:gd name="connsiteX139" fmla="*/ 2127981 w 2701062"/>
                <a:gd name="connsiteY139" fmla="*/ 1339996 h 3573323"/>
                <a:gd name="connsiteX140" fmla="*/ 2031063 w 2701062"/>
                <a:gd name="connsiteY140" fmla="*/ 1213581 h 3573323"/>
                <a:gd name="connsiteX141" fmla="*/ 2022636 w 2701062"/>
                <a:gd name="connsiteY141" fmla="*/ 1129304 h 3573323"/>
                <a:gd name="connsiteX142" fmla="*/ 2056346 w 2701062"/>
                <a:gd name="connsiteY142" fmla="*/ 1066097 h 3573323"/>
                <a:gd name="connsiteX143" fmla="*/ 2039491 w 2701062"/>
                <a:gd name="connsiteY143" fmla="*/ 1032386 h 3573323"/>
                <a:gd name="connsiteX144" fmla="*/ 1967856 w 2701062"/>
                <a:gd name="connsiteY144" fmla="*/ 1011317 h 3573323"/>
                <a:gd name="connsiteX145" fmla="*/ 1929932 w 2701062"/>
                <a:gd name="connsiteY145" fmla="*/ 952324 h 3573323"/>
                <a:gd name="connsiteX146" fmla="*/ 1934146 w 2701062"/>
                <a:gd name="connsiteY146" fmla="*/ 893330 h 3573323"/>
                <a:gd name="connsiteX147" fmla="*/ 1727668 w 2701062"/>
                <a:gd name="connsiteY147" fmla="*/ 775343 h 3573323"/>
                <a:gd name="connsiteX148" fmla="*/ 1664461 w 2701062"/>
                <a:gd name="connsiteY148" fmla="*/ 716350 h 3573323"/>
                <a:gd name="connsiteX149" fmla="*/ 1516977 w 2701062"/>
                <a:gd name="connsiteY149" fmla="*/ 176981 h 3573323"/>
                <a:gd name="connsiteX150" fmla="*/ 1356851 w 2701062"/>
                <a:gd name="connsiteY150" fmla="*/ 0 h 3573323"/>
                <a:gd name="connsiteX0" fmla="*/ 1356851 w 2701062"/>
                <a:gd name="connsiteY0" fmla="*/ 8428 h 3573323"/>
                <a:gd name="connsiteX1" fmla="*/ 1264148 w 2701062"/>
                <a:gd name="connsiteY1" fmla="*/ 117987 h 3573323"/>
                <a:gd name="connsiteX2" fmla="*/ 1281002 w 2701062"/>
                <a:gd name="connsiteY2" fmla="*/ 257044 h 3573323"/>
                <a:gd name="connsiteX3" fmla="*/ 1141946 w 2701062"/>
                <a:gd name="connsiteY3" fmla="*/ 391886 h 3573323"/>
                <a:gd name="connsiteX4" fmla="*/ 876475 w 2701062"/>
                <a:gd name="connsiteY4" fmla="*/ 648928 h 3573323"/>
                <a:gd name="connsiteX5" fmla="*/ 804840 w 2701062"/>
                <a:gd name="connsiteY5" fmla="*/ 720563 h 3573323"/>
                <a:gd name="connsiteX6" fmla="*/ 813268 w 2701062"/>
                <a:gd name="connsiteY6" fmla="*/ 851192 h 3573323"/>
                <a:gd name="connsiteX7" fmla="*/ 897545 w 2701062"/>
                <a:gd name="connsiteY7" fmla="*/ 1019745 h 3573323"/>
                <a:gd name="connsiteX8" fmla="*/ 943897 w 2701062"/>
                <a:gd name="connsiteY8" fmla="*/ 1104021 h 3573323"/>
                <a:gd name="connsiteX9" fmla="*/ 964966 w 2701062"/>
                <a:gd name="connsiteY9" fmla="*/ 1133518 h 3573323"/>
                <a:gd name="connsiteX10" fmla="*/ 994463 w 2701062"/>
                <a:gd name="connsiteY10" fmla="*/ 1108235 h 3573323"/>
                <a:gd name="connsiteX11" fmla="*/ 1011318 w 2701062"/>
                <a:gd name="connsiteY11" fmla="*/ 1053456 h 3573323"/>
                <a:gd name="connsiteX12" fmla="*/ 1057670 w 2701062"/>
                <a:gd name="connsiteY12" fmla="*/ 1045028 h 3573323"/>
                <a:gd name="connsiteX13" fmla="*/ 1053456 w 2701062"/>
                <a:gd name="connsiteY13" fmla="*/ 1108235 h 3573323"/>
                <a:gd name="connsiteX14" fmla="*/ 1040815 w 2701062"/>
                <a:gd name="connsiteY14" fmla="*/ 1141946 h 3573323"/>
                <a:gd name="connsiteX15" fmla="*/ 1049242 w 2701062"/>
                <a:gd name="connsiteY15" fmla="*/ 1167229 h 3573323"/>
                <a:gd name="connsiteX16" fmla="*/ 986035 w 2701062"/>
                <a:gd name="connsiteY16" fmla="*/ 1184084 h 3573323"/>
                <a:gd name="connsiteX17" fmla="*/ 1011318 w 2701062"/>
                <a:gd name="connsiteY17" fmla="*/ 1318927 h 3573323"/>
                <a:gd name="connsiteX18" fmla="*/ 1049242 w 2701062"/>
                <a:gd name="connsiteY18" fmla="*/ 1314713 h 3573323"/>
                <a:gd name="connsiteX19" fmla="*/ 1040815 w 2701062"/>
                <a:gd name="connsiteY19" fmla="*/ 1377920 h 3573323"/>
                <a:gd name="connsiteX20" fmla="*/ 981821 w 2701062"/>
                <a:gd name="connsiteY20" fmla="*/ 1411631 h 3573323"/>
                <a:gd name="connsiteX21" fmla="*/ 931255 w 2701062"/>
                <a:gd name="connsiteY21" fmla="*/ 1411631 h 3573323"/>
                <a:gd name="connsiteX22" fmla="*/ 897545 w 2701062"/>
                <a:gd name="connsiteY22" fmla="*/ 1474838 h 3573323"/>
                <a:gd name="connsiteX23" fmla="*/ 901758 w 2701062"/>
                <a:gd name="connsiteY23" fmla="*/ 1504335 h 3573323"/>
                <a:gd name="connsiteX24" fmla="*/ 948110 w 2701062"/>
                <a:gd name="connsiteY24" fmla="*/ 1512762 h 3573323"/>
                <a:gd name="connsiteX25" fmla="*/ 931255 w 2701062"/>
                <a:gd name="connsiteY25" fmla="*/ 1550687 h 3573323"/>
                <a:gd name="connsiteX26" fmla="*/ 952324 w 2701062"/>
                <a:gd name="connsiteY26" fmla="*/ 1559115 h 3573323"/>
                <a:gd name="connsiteX27" fmla="*/ 1015532 w 2701062"/>
                <a:gd name="connsiteY27" fmla="*/ 1563328 h 3573323"/>
                <a:gd name="connsiteX28" fmla="*/ 1040815 w 2701062"/>
                <a:gd name="connsiteY28" fmla="*/ 1601253 h 3573323"/>
                <a:gd name="connsiteX29" fmla="*/ 1036601 w 2701062"/>
                <a:gd name="connsiteY29" fmla="*/ 1639177 h 3573323"/>
                <a:gd name="connsiteX30" fmla="*/ 1104022 w 2701062"/>
                <a:gd name="connsiteY30" fmla="*/ 1740309 h 3573323"/>
                <a:gd name="connsiteX31" fmla="*/ 1053456 w 2701062"/>
                <a:gd name="connsiteY31" fmla="*/ 1765592 h 3573323"/>
                <a:gd name="connsiteX32" fmla="*/ 998676 w 2701062"/>
                <a:gd name="connsiteY32" fmla="*/ 1761378 h 3573323"/>
                <a:gd name="connsiteX33" fmla="*/ 964966 w 2701062"/>
                <a:gd name="connsiteY33" fmla="*/ 1841441 h 3573323"/>
                <a:gd name="connsiteX34" fmla="*/ 1015532 w 2701062"/>
                <a:gd name="connsiteY34" fmla="*/ 1883579 h 3573323"/>
                <a:gd name="connsiteX35" fmla="*/ 994463 w 2701062"/>
                <a:gd name="connsiteY35" fmla="*/ 1980497 h 3573323"/>
                <a:gd name="connsiteX36" fmla="*/ 1019746 w 2701062"/>
                <a:gd name="connsiteY36" fmla="*/ 2014208 h 3573323"/>
                <a:gd name="connsiteX37" fmla="*/ 990249 w 2701062"/>
                <a:gd name="connsiteY37" fmla="*/ 2047918 h 3573323"/>
                <a:gd name="connsiteX38" fmla="*/ 948110 w 2701062"/>
                <a:gd name="connsiteY38" fmla="*/ 2047918 h 3573323"/>
                <a:gd name="connsiteX39" fmla="*/ 939683 w 2701062"/>
                <a:gd name="connsiteY39" fmla="*/ 2085843 h 3573323"/>
                <a:gd name="connsiteX40" fmla="*/ 994463 w 2701062"/>
                <a:gd name="connsiteY40" fmla="*/ 2132195 h 3573323"/>
                <a:gd name="connsiteX41" fmla="*/ 981821 w 2701062"/>
                <a:gd name="connsiteY41" fmla="*/ 2313389 h 3573323"/>
                <a:gd name="connsiteX42" fmla="*/ 1015532 w 2701062"/>
                <a:gd name="connsiteY42" fmla="*/ 2393452 h 3573323"/>
                <a:gd name="connsiteX43" fmla="*/ 1049242 w 2701062"/>
                <a:gd name="connsiteY43" fmla="*/ 2393452 h 3573323"/>
                <a:gd name="connsiteX44" fmla="*/ 1129305 w 2701062"/>
                <a:gd name="connsiteY44" fmla="*/ 2460873 h 3573323"/>
                <a:gd name="connsiteX45" fmla="*/ 1125091 w 2701062"/>
                <a:gd name="connsiteY45" fmla="*/ 2591502 h 3573323"/>
                <a:gd name="connsiteX46" fmla="*/ 1087167 w 2701062"/>
                <a:gd name="connsiteY46" fmla="*/ 2654709 h 3573323"/>
                <a:gd name="connsiteX47" fmla="*/ 1015532 w 2701062"/>
                <a:gd name="connsiteY47" fmla="*/ 2722130 h 3573323"/>
                <a:gd name="connsiteX48" fmla="*/ 1007104 w 2701062"/>
                <a:gd name="connsiteY48" fmla="*/ 2810621 h 3573323"/>
                <a:gd name="connsiteX49" fmla="*/ 922828 w 2701062"/>
                <a:gd name="connsiteY49" fmla="*/ 2823262 h 3573323"/>
                <a:gd name="connsiteX50" fmla="*/ 868048 w 2701062"/>
                <a:gd name="connsiteY50" fmla="*/ 2827476 h 3573323"/>
                <a:gd name="connsiteX51" fmla="*/ 830123 w 2701062"/>
                <a:gd name="connsiteY51" fmla="*/ 2789551 h 3573323"/>
                <a:gd name="connsiteX52" fmla="*/ 577294 w 2701062"/>
                <a:gd name="connsiteY52" fmla="*/ 2810621 h 3573323"/>
                <a:gd name="connsiteX53" fmla="*/ 568866 w 2701062"/>
                <a:gd name="connsiteY53" fmla="*/ 2915966 h 3573323"/>
                <a:gd name="connsiteX54" fmla="*/ 514087 w 2701062"/>
                <a:gd name="connsiteY54" fmla="*/ 2949677 h 3573323"/>
                <a:gd name="connsiteX55" fmla="*/ 484590 w 2701062"/>
                <a:gd name="connsiteY55" fmla="*/ 2915966 h 3573323"/>
                <a:gd name="connsiteX56" fmla="*/ 446665 w 2701062"/>
                <a:gd name="connsiteY56" fmla="*/ 2941249 h 3573323"/>
                <a:gd name="connsiteX57" fmla="*/ 434024 w 2701062"/>
                <a:gd name="connsiteY57" fmla="*/ 3059236 h 3573323"/>
                <a:gd name="connsiteX58" fmla="*/ 328678 w 2701062"/>
                <a:gd name="connsiteY58" fmla="*/ 3185651 h 3573323"/>
                <a:gd name="connsiteX59" fmla="*/ 273899 w 2701062"/>
                <a:gd name="connsiteY59" fmla="*/ 3198292 h 3573323"/>
                <a:gd name="connsiteX60" fmla="*/ 252829 w 2701062"/>
                <a:gd name="connsiteY60" fmla="*/ 3248858 h 3573323"/>
                <a:gd name="connsiteX61" fmla="*/ 202263 w 2701062"/>
                <a:gd name="connsiteY61" fmla="*/ 3328921 h 3573323"/>
                <a:gd name="connsiteX62" fmla="*/ 164339 w 2701062"/>
                <a:gd name="connsiteY62" fmla="*/ 3358418 h 3573323"/>
                <a:gd name="connsiteX63" fmla="*/ 75849 w 2701062"/>
                <a:gd name="connsiteY63" fmla="*/ 3387915 h 3573323"/>
                <a:gd name="connsiteX64" fmla="*/ 12641 w 2701062"/>
                <a:gd name="connsiteY64" fmla="*/ 3421625 h 3573323"/>
                <a:gd name="connsiteX65" fmla="*/ 0 w 2701062"/>
                <a:gd name="connsiteY65" fmla="*/ 3501688 h 3573323"/>
                <a:gd name="connsiteX66" fmla="*/ 63207 w 2701062"/>
                <a:gd name="connsiteY66" fmla="*/ 3497474 h 3573323"/>
                <a:gd name="connsiteX67" fmla="*/ 96918 w 2701062"/>
                <a:gd name="connsiteY67" fmla="*/ 3451122 h 3573323"/>
                <a:gd name="connsiteX68" fmla="*/ 155911 w 2701062"/>
                <a:gd name="connsiteY68" fmla="*/ 3493260 h 3573323"/>
                <a:gd name="connsiteX69" fmla="*/ 164339 w 2701062"/>
                <a:gd name="connsiteY69" fmla="*/ 3573323 h 3573323"/>
                <a:gd name="connsiteX70" fmla="*/ 265471 w 2701062"/>
                <a:gd name="connsiteY70" fmla="*/ 3522757 h 3573323"/>
                <a:gd name="connsiteX71" fmla="*/ 252829 w 2701062"/>
                <a:gd name="connsiteY71" fmla="*/ 3463763 h 3573323"/>
                <a:gd name="connsiteX72" fmla="*/ 307609 w 2701062"/>
                <a:gd name="connsiteY72" fmla="*/ 3421625 h 3573323"/>
                <a:gd name="connsiteX73" fmla="*/ 345534 w 2701062"/>
                <a:gd name="connsiteY73" fmla="*/ 3383701 h 3573323"/>
                <a:gd name="connsiteX74" fmla="*/ 375030 w 2701062"/>
                <a:gd name="connsiteY74" fmla="*/ 3341562 h 3573323"/>
                <a:gd name="connsiteX75" fmla="*/ 497231 w 2701062"/>
                <a:gd name="connsiteY75" fmla="*/ 3349990 h 3573323"/>
                <a:gd name="connsiteX76" fmla="*/ 497231 w 2701062"/>
                <a:gd name="connsiteY76" fmla="*/ 3349990 h 3573323"/>
                <a:gd name="connsiteX77" fmla="*/ 568866 w 2701062"/>
                <a:gd name="connsiteY77" fmla="*/ 3383701 h 3573323"/>
                <a:gd name="connsiteX78" fmla="*/ 589935 w 2701062"/>
                <a:gd name="connsiteY78" fmla="*/ 3362632 h 3573323"/>
                <a:gd name="connsiteX79" fmla="*/ 648929 w 2701062"/>
                <a:gd name="connsiteY79" fmla="*/ 3392128 h 3573323"/>
                <a:gd name="connsiteX80" fmla="*/ 674212 w 2701062"/>
                <a:gd name="connsiteY80" fmla="*/ 3387915 h 3573323"/>
                <a:gd name="connsiteX81" fmla="*/ 720564 w 2701062"/>
                <a:gd name="connsiteY81" fmla="*/ 3451122 h 3573323"/>
                <a:gd name="connsiteX82" fmla="*/ 754275 w 2701062"/>
                <a:gd name="connsiteY82" fmla="*/ 3442694 h 3573323"/>
                <a:gd name="connsiteX83" fmla="*/ 804840 w 2701062"/>
                <a:gd name="connsiteY83" fmla="*/ 3366845 h 3573323"/>
                <a:gd name="connsiteX84" fmla="*/ 842765 w 2701062"/>
                <a:gd name="connsiteY84" fmla="*/ 3333135 h 3573323"/>
                <a:gd name="connsiteX85" fmla="*/ 830123 w 2701062"/>
                <a:gd name="connsiteY85" fmla="*/ 3278355 h 3573323"/>
                <a:gd name="connsiteX86" fmla="*/ 859620 w 2701062"/>
                <a:gd name="connsiteY86" fmla="*/ 3223575 h 3573323"/>
                <a:gd name="connsiteX87" fmla="*/ 918614 w 2701062"/>
                <a:gd name="connsiteY87" fmla="*/ 3173010 h 3573323"/>
                <a:gd name="connsiteX88" fmla="*/ 1011318 w 2701062"/>
                <a:gd name="connsiteY88" fmla="*/ 3156154 h 3573323"/>
                <a:gd name="connsiteX89" fmla="*/ 1078739 w 2701062"/>
                <a:gd name="connsiteY89" fmla="*/ 3143513 h 3573323"/>
                <a:gd name="connsiteX90" fmla="*/ 1163016 w 2701062"/>
                <a:gd name="connsiteY90" fmla="*/ 3215148 h 3573323"/>
                <a:gd name="connsiteX91" fmla="*/ 1222009 w 2701062"/>
                <a:gd name="connsiteY91" fmla="*/ 3248858 h 3573323"/>
                <a:gd name="connsiteX92" fmla="*/ 1226223 w 2701062"/>
                <a:gd name="connsiteY92" fmla="*/ 3202506 h 3573323"/>
                <a:gd name="connsiteX93" fmla="*/ 1243078 w 2701062"/>
                <a:gd name="connsiteY93" fmla="*/ 3194079 h 3573323"/>
                <a:gd name="connsiteX94" fmla="*/ 1344210 w 2701062"/>
                <a:gd name="connsiteY94" fmla="*/ 3215148 h 3573323"/>
                <a:gd name="connsiteX95" fmla="*/ 1398990 w 2701062"/>
                <a:gd name="connsiteY95" fmla="*/ 3223575 h 3573323"/>
                <a:gd name="connsiteX96" fmla="*/ 1436914 w 2701062"/>
                <a:gd name="connsiteY96" fmla="*/ 3151940 h 3573323"/>
                <a:gd name="connsiteX97" fmla="*/ 1495908 w 2701062"/>
                <a:gd name="connsiteY97" fmla="*/ 3143513 h 3573323"/>
                <a:gd name="connsiteX98" fmla="*/ 1597040 w 2701062"/>
                <a:gd name="connsiteY98" fmla="*/ 3198292 h 3573323"/>
                <a:gd name="connsiteX99" fmla="*/ 1656033 w 2701062"/>
                <a:gd name="connsiteY99" fmla="*/ 3219362 h 3573323"/>
                <a:gd name="connsiteX100" fmla="*/ 1719240 w 2701062"/>
                <a:gd name="connsiteY100" fmla="*/ 3160368 h 3573323"/>
                <a:gd name="connsiteX101" fmla="*/ 1715027 w 2701062"/>
                <a:gd name="connsiteY101" fmla="*/ 3088733 h 3573323"/>
                <a:gd name="connsiteX102" fmla="*/ 1833014 w 2701062"/>
                <a:gd name="connsiteY102" fmla="*/ 3139299 h 3573323"/>
                <a:gd name="connsiteX103" fmla="*/ 1862510 w 2701062"/>
                <a:gd name="connsiteY103" fmla="*/ 3088733 h 3573323"/>
                <a:gd name="connsiteX104" fmla="*/ 2018422 w 2701062"/>
                <a:gd name="connsiteY104" fmla="*/ 3067664 h 3573323"/>
                <a:gd name="connsiteX105" fmla="*/ 2186975 w 2701062"/>
                <a:gd name="connsiteY105" fmla="*/ 3126657 h 3573323"/>
                <a:gd name="connsiteX106" fmla="*/ 2254396 w 2701062"/>
                <a:gd name="connsiteY106" fmla="*/ 3042381 h 3573323"/>
                <a:gd name="connsiteX107" fmla="*/ 2338673 w 2701062"/>
                <a:gd name="connsiteY107" fmla="*/ 3042381 h 3573323"/>
                <a:gd name="connsiteX108" fmla="*/ 2380811 w 2701062"/>
                <a:gd name="connsiteY108" fmla="*/ 2987601 h 3573323"/>
                <a:gd name="connsiteX109" fmla="*/ 2456660 w 2701062"/>
                <a:gd name="connsiteY109" fmla="*/ 2991815 h 3573323"/>
                <a:gd name="connsiteX110" fmla="*/ 2469301 w 2701062"/>
                <a:gd name="connsiteY110" fmla="*/ 2911752 h 3573323"/>
                <a:gd name="connsiteX111" fmla="*/ 2595716 w 2701062"/>
                <a:gd name="connsiteY111" fmla="*/ 2844331 h 3573323"/>
                <a:gd name="connsiteX112" fmla="*/ 2595716 w 2701062"/>
                <a:gd name="connsiteY112" fmla="*/ 2743199 h 3573323"/>
                <a:gd name="connsiteX113" fmla="*/ 2616785 w 2701062"/>
                <a:gd name="connsiteY113" fmla="*/ 2705275 h 3573323"/>
                <a:gd name="connsiteX114" fmla="*/ 2591502 w 2701062"/>
                <a:gd name="connsiteY114" fmla="*/ 2679992 h 3573323"/>
                <a:gd name="connsiteX115" fmla="*/ 2515653 w 2701062"/>
                <a:gd name="connsiteY115" fmla="*/ 2679992 h 3573323"/>
                <a:gd name="connsiteX116" fmla="*/ 2460874 w 2701062"/>
                <a:gd name="connsiteY116" fmla="*/ 2692633 h 3573323"/>
                <a:gd name="connsiteX117" fmla="*/ 2435591 w 2701062"/>
                <a:gd name="connsiteY117" fmla="*/ 2705275 h 3573323"/>
                <a:gd name="connsiteX118" fmla="*/ 2397666 w 2701062"/>
                <a:gd name="connsiteY118" fmla="*/ 2654709 h 3573323"/>
                <a:gd name="connsiteX119" fmla="*/ 2347100 w 2701062"/>
                <a:gd name="connsiteY119" fmla="*/ 2629426 h 3573323"/>
                <a:gd name="connsiteX120" fmla="*/ 2410308 w 2701062"/>
                <a:gd name="connsiteY120" fmla="*/ 2591502 h 3573323"/>
                <a:gd name="connsiteX121" fmla="*/ 2439804 w 2701062"/>
                <a:gd name="connsiteY121" fmla="*/ 2444018 h 3573323"/>
                <a:gd name="connsiteX122" fmla="*/ 2481943 w 2701062"/>
                <a:gd name="connsiteY122" fmla="*/ 2477728 h 3573323"/>
                <a:gd name="connsiteX123" fmla="*/ 2532509 w 2701062"/>
                <a:gd name="connsiteY123" fmla="*/ 2406093 h 3573323"/>
                <a:gd name="connsiteX124" fmla="*/ 2545150 w 2701062"/>
                <a:gd name="connsiteY124" fmla="*/ 2368169 h 3573323"/>
                <a:gd name="connsiteX125" fmla="*/ 2633640 w 2701062"/>
                <a:gd name="connsiteY125" fmla="*/ 2254396 h 3573323"/>
                <a:gd name="connsiteX126" fmla="*/ 2650496 w 2701062"/>
                <a:gd name="connsiteY126" fmla="*/ 2161692 h 3573323"/>
                <a:gd name="connsiteX127" fmla="*/ 2696848 w 2701062"/>
                <a:gd name="connsiteY127" fmla="*/ 2085843 h 3573323"/>
                <a:gd name="connsiteX128" fmla="*/ 2701062 w 2701062"/>
                <a:gd name="connsiteY128" fmla="*/ 1879365 h 3573323"/>
                <a:gd name="connsiteX129" fmla="*/ 2503012 w 2701062"/>
                <a:gd name="connsiteY129" fmla="*/ 1744523 h 3573323"/>
                <a:gd name="connsiteX130" fmla="*/ 2237541 w 2701062"/>
                <a:gd name="connsiteY130" fmla="*/ 1715026 h 3573323"/>
                <a:gd name="connsiteX131" fmla="*/ 2161692 w 2701062"/>
                <a:gd name="connsiteY131" fmla="*/ 1803516 h 3573323"/>
                <a:gd name="connsiteX132" fmla="*/ 2123768 w 2701062"/>
                <a:gd name="connsiteY132" fmla="*/ 1795089 h 3573323"/>
                <a:gd name="connsiteX133" fmla="*/ 2111126 w 2701062"/>
                <a:gd name="connsiteY133" fmla="*/ 1744523 h 3573323"/>
                <a:gd name="connsiteX134" fmla="*/ 2203830 w 2701062"/>
                <a:gd name="connsiteY134" fmla="*/ 1647605 h 3573323"/>
                <a:gd name="connsiteX135" fmla="*/ 2178547 w 2701062"/>
                <a:gd name="connsiteY135" fmla="*/ 1508549 h 3573323"/>
                <a:gd name="connsiteX136" fmla="*/ 2090057 w 2701062"/>
                <a:gd name="connsiteY136" fmla="*/ 1415845 h 3573323"/>
                <a:gd name="connsiteX137" fmla="*/ 2056346 w 2701062"/>
                <a:gd name="connsiteY137" fmla="*/ 1386348 h 3573323"/>
                <a:gd name="connsiteX138" fmla="*/ 2127981 w 2701062"/>
                <a:gd name="connsiteY138" fmla="*/ 1373706 h 3573323"/>
                <a:gd name="connsiteX139" fmla="*/ 2127981 w 2701062"/>
                <a:gd name="connsiteY139" fmla="*/ 1339996 h 3573323"/>
                <a:gd name="connsiteX140" fmla="*/ 2031063 w 2701062"/>
                <a:gd name="connsiteY140" fmla="*/ 1213581 h 3573323"/>
                <a:gd name="connsiteX141" fmla="*/ 2022636 w 2701062"/>
                <a:gd name="connsiteY141" fmla="*/ 1129304 h 3573323"/>
                <a:gd name="connsiteX142" fmla="*/ 2056346 w 2701062"/>
                <a:gd name="connsiteY142" fmla="*/ 1066097 h 3573323"/>
                <a:gd name="connsiteX143" fmla="*/ 2039491 w 2701062"/>
                <a:gd name="connsiteY143" fmla="*/ 1032386 h 3573323"/>
                <a:gd name="connsiteX144" fmla="*/ 1967856 w 2701062"/>
                <a:gd name="connsiteY144" fmla="*/ 1011317 h 3573323"/>
                <a:gd name="connsiteX145" fmla="*/ 1929932 w 2701062"/>
                <a:gd name="connsiteY145" fmla="*/ 952324 h 3573323"/>
                <a:gd name="connsiteX146" fmla="*/ 1934146 w 2701062"/>
                <a:gd name="connsiteY146" fmla="*/ 893330 h 3573323"/>
                <a:gd name="connsiteX147" fmla="*/ 1727668 w 2701062"/>
                <a:gd name="connsiteY147" fmla="*/ 775343 h 3573323"/>
                <a:gd name="connsiteX148" fmla="*/ 1664461 w 2701062"/>
                <a:gd name="connsiteY148" fmla="*/ 716350 h 3573323"/>
                <a:gd name="connsiteX149" fmla="*/ 1516977 w 2701062"/>
                <a:gd name="connsiteY149" fmla="*/ 176981 h 3573323"/>
                <a:gd name="connsiteX150" fmla="*/ 1356851 w 2701062"/>
                <a:gd name="connsiteY150" fmla="*/ 0 h 3573323"/>
                <a:gd name="connsiteX0" fmla="*/ 1356851 w 2701062"/>
                <a:gd name="connsiteY0" fmla="*/ 63207 h 3628102"/>
                <a:gd name="connsiteX1" fmla="*/ 1264148 w 2701062"/>
                <a:gd name="connsiteY1" fmla="*/ 172766 h 3628102"/>
                <a:gd name="connsiteX2" fmla="*/ 1281002 w 2701062"/>
                <a:gd name="connsiteY2" fmla="*/ 311823 h 3628102"/>
                <a:gd name="connsiteX3" fmla="*/ 1141946 w 2701062"/>
                <a:gd name="connsiteY3" fmla="*/ 446665 h 3628102"/>
                <a:gd name="connsiteX4" fmla="*/ 876475 w 2701062"/>
                <a:gd name="connsiteY4" fmla="*/ 703707 h 3628102"/>
                <a:gd name="connsiteX5" fmla="*/ 804840 w 2701062"/>
                <a:gd name="connsiteY5" fmla="*/ 775342 h 3628102"/>
                <a:gd name="connsiteX6" fmla="*/ 813268 w 2701062"/>
                <a:gd name="connsiteY6" fmla="*/ 905971 h 3628102"/>
                <a:gd name="connsiteX7" fmla="*/ 897545 w 2701062"/>
                <a:gd name="connsiteY7" fmla="*/ 1074524 h 3628102"/>
                <a:gd name="connsiteX8" fmla="*/ 943897 w 2701062"/>
                <a:gd name="connsiteY8" fmla="*/ 1158800 h 3628102"/>
                <a:gd name="connsiteX9" fmla="*/ 964966 w 2701062"/>
                <a:gd name="connsiteY9" fmla="*/ 1188297 h 3628102"/>
                <a:gd name="connsiteX10" fmla="*/ 994463 w 2701062"/>
                <a:gd name="connsiteY10" fmla="*/ 1163014 h 3628102"/>
                <a:gd name="connsiteX11" fmla="*/ 1011318 w 2701062"/>
                <a:gd name="connsiteY11" fmla="*/ 1108235 h 3628102"/>
                <a:gd name="connsiteX12" fmla="*/ 1057670 w 2701062"/>
                <a:gd name="connsiteY12" fmla="*/ 1099807 h 3628102"/>
                <a:gd name="connsiteX13" fmla="*/ 1053456 w 2701062"/>
                <a:gd name="connsiteY13" fmla="*/ 1163014 h 3628102"/>
                <a:gd name="connsiteX14" fmla="*/ 1040815 w 2701062"/>
                <a:gd name="connsiteY14" fmla="*/ 1196725 h 3628102"/>
                <a:gd name="connsiteX15" fmla="*/ 1049242 w 2701062"/>
                <a:gd name="connsiteY15" fmla="*/ 1222008 h 3628102"/>
                <a:gd name="connsiteX16" fmla="*/ 986035 w 2701062"/>
                <a:gd name="connsiteY16" fmla="*/ 1238863 h 3628102"/>
                <a:gd name="connsiteX17" fmla="*/ 1011318 w 2701062"/>
                <a:gd name="connsiteY17" fmla="*/ 1373706 h 3628102"/>
                <a:gd name="connsiteX18" fmla="*/ 1049242 w 2701062"/>
                <a:gd name="connsiteY18" fmla="*/ 1369492 h 3628102"/>
                <a:gd name="connsiteX19" fmla="*/ 1040815 w 2701062"/>
                <a:gd name="connsiteY19" fmla="*/ 1432699 h 3628102"/>
                <a:gd name="connsiteX20" fmla="*/ 981821 w 2701062"/>
                <a:gd name="connsiteY20" fmla="*/ 1466410 h 3628102"/>
                <a:gd name="connsiteX21" fmla="*/ 931255 w 2701062"/>
                <a:gd name="connsiteY21" fmla="*/ 1466410 h 3628102"/>
                <a:gd name="connsiteX22" fmla="*/ 897545 w 2701062"/>
                <a:gd name="connsiteY22" fmla="*/ 1529617 h 3628102"/>
                <a:gd name="connsiteX23" fmla="*/ 901758 w 2701062"/>
                <a:gd name="connsiteY23" fmla="*/ 1559114 h 3628102"/>
                <a:gd name="connsiteX24" fmla="*/ 948110 w 2701062"/>
                <a:gd name="connsiteY24" fmla="*/ 1567541 h 3628102"/>
                <a:gd name="connsiteX25" fmla="*/ 931255 w 2701062"/>
                <a:gd name="connsiteY25" fmla="*/ 1605466 h 3628102"/>
                <a:gd name="connsiteX26" fmla="*/ 952324 w 2701062"/>
                <a:gd name="connsiteY26" fmla="*/ 1613894 h 3628102"/>
                <a:gd name="connsiteX27" fmla="*/ 1015532 w 2701062"/>
                <a:gd name="connsiteY27" fmla="*/ 1618107 h 3628102"/>
                <a:gd name="connsiteX28" fmla="*/ 1040815 w 2701062"/>
                <a:gd name="connsiteY28" fmla="*/ 1656032 h 3628102"/>
                <a:gd name="connsiteX29" fmla="*/ 1036601 w 2701062"/>
                <a:gd name="connsiteY29" fmla="*/ 1693956 h 3628102"/>
                <a:gd name="connsiteX30" fmla="*/ 1104022 w 2701062"/>
                <a:gd name="connsiteY30" fmla="*/ 1795088 h 3628102"/>
                <a:gd name="connsiteX31" fmla="*/ 1053456 w 2701062"/>
                <a:gd name="connsiteY31" fmla="*/ 1820371 h 3628102"/>
                <a:gd name="connsiteX32" fmla="*/ 998676 w 2701062"/>
                <a:gd name="connsiteY32" fmla="*/ 1816157 h 3628102"/>
                <a:gd name="connsiteX33" fmla="*/ 964966 w 2701062"/>
                <a:gd name="connsiteY33" fmla="*/ 1896220 h 3628102"/>
                <a:gd name="connsiteX34" fmla="*/ 1015532 w 2701062"/>
                <a:gd name="connsiteY34" fmla="*/ 1938358 h 3628102"/>
                <a:gd name="connsiteX35" fmla="*/ 994463 w 2701062"/>
                <a:gd name="connsiteY35" fmla="*/ 2035276 h 3628102"/>
                <a:gd name="connsiteX36" fmla="*/ 1019746 w 2701062"/>
                <a:gd name="connsiteY36" fmla="*/ 2068987 h 3628102"/>
                <a:gd name="connsiteX37" fmla="*/ 990249 w 2701062"/>
                <a:gd name="connsiteY37" fmla="*/ 2102697 h 3628102"/>
                <a:gd name="connsiteX38" fmla="*/ 948110 w 2701062"/>
                <a:gd name="connsiteY38" fmla="*/ 2102697 h 3628102"/>
                <a:gd name="connsiteX39" fmla="*/ 939683 w 2701062"/>
                <a:gd name="connsiteY39" fmla="*/ 2140622 h 3628102"/>
                <a:gd name="connsiteX40" fmla="*/ 994463 w 2701062"/>
                <a:gd name="connsiteY40" fmla="*/ 2186974 h 3628102"/>
                <a:gd name="connsiteX41" fmla="*/ 981821 w 2701062"/>
                <a:gd name="connsiteY41" fmla="*/ 2368168 h 3628102"/>
                <a:gd name="connsiteX42" fmla="*/ 1015532 w 2701062"/>
                <a:gd name="connsiteY42" fmla="*/ 2448231 h 3628102"/>
                <a:gd name="connsiteX43" fmla="*/ 1049242 w 2701062"/>
                <a:gd name="connsiteY43" fmla="*/ 2448231 h 3628102"/>
                <a:gd name="connsiteX44" fmla="*/ 1129305 w 2701062"/>
                <a:gd name="connsiteY44" fmla="*/ 2515652 h 3628102"/>
                <a:gd name="connsiteX45" fmla="*/ 1125091 w 2701062"/>
                <a:gd name="connsiteY45" fmla="*/ 2646281 h 3628102"/>
                <a:gd name="connsiteX46" fmla="*/ 1087167 w 2701062"/>
                <a:gd name="connsiteY46" fmla="*/ 2709488 h 3628102"/>
                <a:gd name="connsiteX47" fmla="*/ 1015532 w 2701062"/>
                <a:gd name="connsiteY47" fmla="*/ 2776909 h 3628102"/>
                <a:gd name="connsiteX48" fmla="*/ 1007104 w 2701062"/>
                <a:gd name="connsiteY48" fmla="*/ 2865400 h 3628102"/>
                <a:gd name="connsiteX49" fmla="*/ 922828 w 2701062"/>
                <a:gd name="connsiteY49" fmla="*/ 2878041 h 3628102"/>
                <a:gd name="connsiteX50" fmla="*/ 868048 w 2701062"/>
                <a:gd name="connsiteY50" fmla="*/ 2882255 h 3628102"/>
                <a:gd name="connsiteX51" fmla="*/ 830123 w 2701062"/>
                <a:gd name="connsiteY51" fmla="*/ 2844330 h 3628102"/>
                <a:gd name="connsiteX52" fmla="*/ 577294 w 2701062"/>
                <a:gd name="connsiteY52" fmla="*/ 2865400 h 3628102"/>
                <a:gd name="connsiteX53" fmla="*/ 568866 w 2701062"/>
                <a:gd name="connsiteY53" fmla="*/ 2970745 h 3628102"/>
                <a:gd name="connsiteX54" fmla="*/ 514087 w 2701062"/>
                <a:gd name="connsiteY54" fmla="*/ 3004456 h 3628102"/>
                <a:gd name="connsiteX55" fmla="*/ 484590 w 2701062"/>
                <a:gd name="connsiteY55" fmla="*/ 2970745 h 3628102"/>
                <a:gd name="connsiteX56" fmla="*/ 446665 w 2701062"/>
                <a:gd name="connsiteY56" fmla="*/ 2996028 h 3628102"/>
                <a:gd name="connsiteX57" fmla="*/ 434024 w 2701062"/>
                <a:gd name="connsiteY57" fmla="*/ 3114015 h 3628102"/>
                <a:gd name="connsiteX58" fmla="*/ 328678 w 2701062"/>
                <a:gd name="connsiteY58" fmla="*/ 3240430 h 3628102"/>
                <a:gd name="connsiteX59" fmla="*/ 273899 w 2701062"/>
                <a:gd name="connsiteY59" fmla="*/ 3253071 h 3628102"/>
                <a:gd name="connsiteX60" fmla="*/ 252829 w 2701062"/>
                <a:gd name="connsiteY60" fmla="*/ 3303637 h 3628102"/>
                <a:gd name="connsiteX61" fmla="*/ 202263 w 2701062"/>
                <a:gd name="connsiteY61" fmla="*/ 3383700 h 3628102"/>
                <a:gd name="connsiteX62" fmla="*/ 164339 w 2701062"/>
                <a:gd name="connsiteY62" fmla="*/ 3413197 h 3628102"/>
                <a:gd name="connsiteX63" fmla="*/ 75849 w 2701062"/>
                <a:gd name="connsiteY63" fmla="*/ 3442694 h 3628102"/>
                <a:gd name="connsiteX64" fmla="*/ 12641 w 2701062"/>
                <a:gd name="connsiteY64" fmla="*/ 3476404 h 3628102"/>
                <a:gd name="connsiteX65" fmla="*/ 0 w 2701062"/>
                <a:gd name="connsiteY65" fmla="*/ 3556467 h 3628102"/>
                <a:gd name="connsiteX66" fmla="*/ 63207 w 2701062"/>
                <a:gd name="connsiteY66" fmla="*/ 3552253 h 3628102"/>
                <a:gd name="connsiteX67" fmla="*/ 96918 w 2701062"/>
                <a:gd name="connsiteY67" fmla="*/ 3505901 h 3628102"/>
                <a:gd name="connsiteX68" fmla="*/ 155911 w 2701062"/>
                <a:gd name="connsiteY68" fmla="*/ 3548039 h 3628102"/>
                <a:gd name="connsiteX69" fmla="*/ 164339 w 2701062"/>
                <a:gd name="connsiteY69" fmla="*/ 3628102 h 3628102"/>
                <a:gd name="connsiteX70" fmla="*/ 265471 w 2701062"/>
                <a:gd name="connsiteY70" fmla="*/ 3577536 h 3628102"/>
                <a:gd name="connsiteX71" fmla="*/ 252829 w 2701062"/>
                <a:gd name="connsiteY71" fmla="*/ 3518542 h 3628102"/>
                <a:gd name="connsiteX72" fmla="*/ 307609 w 2701062"/>
                <a:gd name="connsiteY72" fmla="*/ 3476404 h 3628102"/>
                <a:gd name="connsiteX73" fmla="*/ 345534 w 2701062"/>
                <a:gd name="connsiteY73" fmla="*/ 3438480 h 3628102"/>
                <a:gd name="connsiteX74" fmla="*/ 375030 w 2701062"/>
                <a:gd name="connsiteY74" fmla="*/ 3396341 h 3628102"/>
                <a:gd name="connsiteX75" fmla="*/ 497231 w 2701062"/>
                <a:gd name="connsiteY75" fmla="*/ 3404769 h 3628102"/>
                <a:gd name="connsiteX76" fmla="*/ 497231 w 2701062"/>
                <a:gd name="connsiteY76" fmla="*/ 3404769 h 3628102"/>
                <a:gd name="connsiteX77" fmla="*/ 568866 w 2701062"/>
                <a:gd name="connsiteY77" fmla="*/ 3438480 h 3628102"/>
                <a:gd name="connsiteX78" fmla="*/ 589935 w 2701062"/>
                <a:gd name="connsiteY78" fmla="*/ 3417411 h 3628102"/>
                <a:gd name="connsiteX79" fmla="*/ 648929 w 2701062"/>
                <a:gd name="connsiteY79" fmla="*/ 3446907 h 3628102"/>
                <a:gd name="connsiteX80" fmla="*/ 674212 w 2701062"/>
                <a:gd name="connsiteY80" fmla="*/ 3442694 h 3628102"/>
                <a:gd name="connsiteX81" fmla="*/ 720564 w 2701062"/>
                <a:gd name="connsiteY81" fmla="*/ 3505901 h 3628102"/>
                <a:gd name="connsiteX82" fmla="*/ 754275 w 2701062"/>
                <a:gd name="connsiteY82" fmla="*/ 3497473 h 3628102"/>
                <a:gd name="connsiteX83" fmla="*/ 804840 w 2701062"/>
                <a:gd name="connsiteY83" fmla="*/ 3421624 h 3628102"/>
                <a:gd name="connsiteX84" fmla="*/ 842765 w 2701062"/>
                <a:gd name="connsiteY84" fmla="*/ 3387914 h 3628102"/>
                <a:gd name="connsiteX85" fmla="*/ 830123 w 2701062"/>
                <a:gd name="connsiteY85" fmla="*/ 3333134 h 3628102"/>
                <a:gd name="connsiteX86" fmla="*/ 859620 w 2701062"/>
                <a:gd name="connsiteY86" fmla="*/ 3278354 h 3628102"/>
                <a:gd name="connsiteX87" fmla="*/ 918614 w 2701062"/>
                <a:gd name="connsiteY87" fmla="*/ 3227789 h 3628102"/>
                <a:gd name="connsiteX88" fmla="*/ 1011318 w 2701062"/>
                <a:gd name="connsiteY88" fmla="*/ 3210933 h 3628102"/>
                <a:gd name="connsiteX89" fmla="*/ 1078739 w 2701062"/>
                <a:gd name="connsiteY89" fmla="*/ 3198292 h 3628102"/>
                <a:gd name="connsiteX90" fmla="*/ 1163016 w 2701062"/>
                <a:gd name="connsiteY90" fmla="*/ 3269927 h 3628102"/>
                <a:gd name="connsiteX91" fmla="*/ 1222009 w 2701062"/>
                <a:gd name="connsiteY91" fmla="*/ 3303637 h 3628102"/>
                <a:gd name="connsiteX92" fmla="*/ 1226223 w 2701062"/>
                <a:gd name="connsiteY92" fmla="*/ 3257285 h 3628102"/>
                <a:gd name="connsiteX93" fmla="*/ 1243078 w 2701062"/>
                <a:gd name="connsiteY93" fmla="*/ 3248858 h 3628102"/>
                <a:gd name="connsiteX94" fmla="*/ 1344210 w 2701062"/>
                <a:gd name="connsiteY94" fmla="*/ 3269927 h 3628102"/>
                <a:gd name="connsiteX95" fmla="*/ 1398990 w 2701062"/>
                <a:gd name="connsiteY95" fmla="*/ 3278354 h 3628102"/>
                <a:gd name="connsiteX96" fmla="*/ 1436914 w 2701062"/>
                <a:gd name="connsiteY96" fmla="*/ 3206719 h 3628102"/>
                <a:gd name="connsiteX97" fmla="*/ 1495908 w 2701062"/>
                <a:gd name="connsiteY97" fmla="*/ 3198292 h 3628102"/>
                <a:gd name="connsiteX98" fmla="*/ 1597040 w 2701062"/>
                <a:gd name="connsiteY98" fmla="*/ 3253071 h 3628102"/>
                <a:gd name="connsiteX99" fmla="*/ 1656033 w 2701062"/>
                <a:gd name="connsiteY99" fmla="*/ 3274141 h 3628102"/>
                <a:gd name="connsiteX100" fmla="*/ 1719240 w 2701062"/>
                <a:gd name="connsiteY100" fmla="*/ 3215147 h 3628102"/>
                <a:gd name="connsiteX101" fmla="*/ 1715027 w 2701062"/>
                <a:gd name="connsiteY101" fmla="*/ 3143512 h 3628102"/>
                <a:gd name="connsiteX102" fmla="*/ 1833014 w 2701062"/>
                <a:gd name="connsiteY102" fmla="*/ 3194078 h 3628102"/>
                <a:gd name="connsiteX103" fmla="*/ 1862510 w 2701062"/>
                <a:gd name="connsiteY103" fmla="*/ 3143512 h 3628102"/>
                <a:gd name="connsiteX104" fmla="*/ 2018422 w 2701062"/>
                <a:gd name="connsiteY104" fmla="*/ 3122443 h 3628102"/>
                <a:gd name="connsiteX105" fmla="*/ 2186975 w 2701062"/>
                <a:gd name="connsiteY105" fmla="*/ 3181436 h 3628102"/>
                <a:gd name="connsiteX106" fmla="*/ 2254396 w 2701062"/>
                <a:gd name="connsiteY106" fmla="*/ 3097160 h 3628102"/>
                <a:gd name="connsiteX107" fmla="*/ 2338673 w 2701062"/>
                <a:gd name="connsiteY107" fmla="*/ 3097160 h 3628102"/>
                <a:gd name="connsiteX108" fmla="*/ 2380811 w 2701062"/>
                <a:gd name="connsiteY108" fmla="*/ 3042380 h 3628102"/>
                <a:gd name="connsiteX109" fmla="*/ 2456660 w 2701062"/>
                <a:gd name="connsiteY109" fmla="*/ 3046594 h 3628102"/>
                <a:gd name="connsiteX110" fmla="*/ 2469301 w 2701062"/>
                <a:gd name="connsiteY110" fmla="*/ 2966531 h 3628102"/>
                <a:gd name="connsiteX111" fmla="*/ 2595716 w 2701062"/>
                <a:gd name="connsiteY111" fmla="*/ 2899110 h 3628102"/>
                <a:gd name="connsiteX112" fmla="*/ 2595716 w 2701062"/>
                <a:gd name="connsiteY112" fmla="*/ 2797978 h 3628102"/>
                <a:gd name="connsiteX113" fmla="*/ 2616785 w 2701062"/>
                <a:gd name="connsiteY113" fmla="*/ 2760054 h 3628102"/>
                <a:gd name="connsiteX114" fmla="*/ 2591502 w 2701062"/>
                <a:gd name="connsiteY114" fmla="*/ 2734771 h 3628102"/>
                <a:gd name="connsiteX115" fmla="*/ 2515653 w 2701062"/>
                <a:gd name="connsiteY115" fmla="*/ 2734771 h 3628102"/>
                <a:gd name="connsiteX116" fmla="*/ 2460874 w 2701062"/>
                <a:gd name="connsiteY116" fmla="*/ 2747412 h 3628102"/>
                <a:gd name="connsiteX117" fmla="*/ 2435591 w 2701062"/>
                <a:gd name="connsiteY117" fmla="*/ 2760054 h 3628102"/>
                <a:gd name="connsiteX118" fmla="*/ 2397666 w 2701062"/>
                <a:gd name="connsiteY118" fmla="*/ 2709488 h 3628102"/>
                <a:gd name="connsiteX119" fmla="*/ 2347100 w 2701062"/>
                <a:gd name="connsiteY119" fmla="*/ 2684205 h 3628102"/>
                <a:gd name="connsiteX120" fmla="*/ 2410308 w 2701062"/>
                <a:gd name="connsiteY120" fmla="*/ 2646281 h 3628102"/>
                <a:gd name="connsiteX121" fmla="*/ 2439804 w 2701062"/>
                <a:gd name="connsiteY121" fmla="*/ 2498797 h 3628102"/>
                <a:gd name="connsiteX122" fmla="*/ 2481943 w 2701062"/>
                <a:gd name="connsiteY122" fmla="*/ 2532507 h 3628102"/>
                <a:gd name="connsiteX123" fmla="*/ 2532509 w 2701062"/>
                <a:gd name="connsiteY123" fmla="*/ 2460872 h 3628102"/>
                <a:gd name="connsiteX124" fmla="*/ 2545150 w 2701062"/>
                <a:gd name="connsiteY124" fmla="*/ 2422948 h 3628102"/>
                <a:gd name="connsiteX125" fmla="*/ 2633640 w 2701062"/>
                <a:gd name="connsiteY125" fmla="*/ 2309175 h 3628102"/>
                <a:gd name="connsiteX126" fmla="*/ 2650496 w 2701062"/>
                <a:gd name="connsiteY126" fmla="*/ 2216471 h 3628102"/>
                <a:gd name="connsiteX127" fmla="*/ 2696848 w 2701062"/>
                <a:gd name="connsiteY127" fmla="*/ 2140622 h 3628102"/>
                <a:gd name="connsiteX128" fmla="*/ 2701062 w 2701062"/>
                <a:gd name="connsiteY128" fmla="*/ 1934144 h 3628102"/>
                <a:gd name="connsiteX129" fmla="*/ 2503012 w 2701062"/>
                <a:gd name="connsiteY129" fmla="*/ 1799302 h 3628102"/>
                <a:gd name="connsiteX130" fmla="*/ 2237541 w 2701062"/>
                <a:gd name="connsiteY130" fmla="*/ 1769805 h 3628102"/>
                <a:gd name="connsiteX131" fmla="*/ 2161692 w 2701062"/>
                <a:gd name="connsiteY131" fmla="*/ 1858295 h 3628102"/>
                <a:gd name="connsiteX132" fmla="*/ 2123768 w 2701062"/>
                <a:gd name="connsiteY132" fmla="*/ 1849868 h 3628102"/>
                <a:gd name="connsiteX133" fmla="*/ 2111126 w 2701062"/>
                <a:gd name="connsiteY133" fmla="*/ 1799302 h 3628102"/>
                <a:gd name="connsiteX134" fmla="*/ 2203830 w 2701062"/>
                <a:gd name="connsiteY134" fmla="*/ 1702384 h 3628102"/>
                <a:gd name="connsiteX135" fmla="*/ 2178547 w 2701062"/>
                <a:gd name="connsiteY135" fmla="*/ 1563328 h 3628102"/>
                <a:gd name="connsiteX136" fmla="*/ 2090057 w 2701062"/>
                <a:gd name="connsiteY136" fmla="*/ 1470624 h 3628102"/>
                <a:gd name="connsiteX137" fmla="*/ 2056346 w 2701062"/>
                <a:gd name="connsiteY137" fmla="*/ 1441127 h 3628102"/>
                <a:gd name="connsiteX138" fmla="*/ 2127981 w 2701062"/>
                <a:gd name="connsiteY138" fmla="*/ 1428485 h 3628102"/>
                <a:gd name="connsiteX139" fmla="*/ 2127981 w 2701062"/>
                <a:gd name="connsiteY139" fmla="*/ 1394775 h 3628102"/>
                <a:gd name="connsiteX140" fmla="*/ 2031063 w 2701062"/>
                <a:gd name="connsiteY140" fmla="*/ 1268360 h 3628102"/>
                <a:gd name="connsiteX141" fmla="*/ 2022636 w 2701062"/>
                <a:gd name="connsiteY141" fmla="*/ 1184083 h 3628102"/>
                <a:gd name="connsiteX142" fmla="*/ 2056346 w 2701062"/>
                <a:gd name="connsiteY142" fmla="*/ 1120876 h 3628102"/>
                <a:gd name="connsiteX143" fmla="*/ 2039491 w 2701062"/>
                <a:gd name="connsiteY143" fmla="*/ 1087165 h 3628102"/>
                <a:gd name="connsiteX144" fmla="*/ 1967856 w 2701062"/>
                <a:gd name="connsiteY144" fmla="*/ 1066096 h 3628102"/>
                <a:gd name="connsiteX145" fmla="*/ 1929932 w 2701062"/>
                <a:gd name="connsiteY145" fmla="*/ 1007103 h 3628102"/>
                <a:gd name="connsiteX146" fmla="*/ 1934146 w 2701062"/>
                <a:gd name="connsiteY146" fmla="*/ 948109 h 3628102"/>
                <a:gd name="connsiteX147" fmla="*/ 1727668 w 2701062"/>
                <a:gd name="connsiteY147" fmla="*/ 830122 h 3628102"/>
                <a:gd name="connsiteX148" fmla="*/ 1664461 w 2701062"/>
                <a:gd name="connsiteY148" fmla="*/ 771129 h 3628102"/>
                <a:gd name="connsiteX149" fmla="*/ 1516977 w 2701062"/>
                <a:gd name="connsiteY149" fmla="*/ 231760 h 3628102"/>
                <a:gd name="connsiteX150" fmla="*/ 1285216 w 2701062"/>
                <a:gd name="connsiteY150" fmla="*/ 0 h 3628102"/>
                <a:gd name="connsiteX0" fmla="*/ 1382134 w 2701062"/>
                <a:gd name="connsiteY0" fmla="*/ 25282 h 3628102"/>
                <a:gd name="connsiteX1" fmla="*/ 1264148 w 2701062"/>
                <a:gd name="connsiteY1" fmla="*/ 172766 h 3628102"/>
                <a:gd name="connsiteX2" fmla="*/ 1281002 w 2701062"/>
                <a:gd name="connsiteY2" fmla="*/ 311823 h 3628102"/>
                <a:gd name="connsiteX3" fmla="*/ 1141946 w 2701062"/>
                <a:gd name="connsiteY3" fmla="*/ 446665 h 3628102"/>
                <a:gd name="connsiteX4" fmla="*/ 876475 w 2701062"/>
                <a:gd name="connsiteY4" fmla="*/ 703707 h 3628102"/>
                <a:gd name="connsiteX5" fmla="*/ 804840 w 2701062"/>
                <a:gd name="connsiteY5" fmla="*/ 775342 h 3628102"/>
                <a:gd name="connsiteX6" fmla="*/ 813268 w 2701062"/>
                <a:gd name="connsiteY6" fmla="*/ 905971 h 3628102"/>
                <a:gd name="connsiteX7" fmla="*/ 897545 w 2701062"/>
                <a:gd name="connsiteY7" fmla="*/ 1074524 h 3628102"/>
                <a:gd name="connsiteX8" fmla="*/ 943897 w 2701062"/>
                <a:gd name="connsiteY8" fmla="*/ 1158800 h 3628102"/>
                <a:gd name="connsiteX9" fmla="*/ 964966 w 2701062"/>
                <a:gd name="connsiteY9" fmla="*/ 1188297 h 3628102"/>
                <a:gd name="connsiteX10" fmla="*/ 994463 w 2701062"/>
                <a:gd name="connsiteY10" fmla="*/ 1163014 h 3628102"/>
                <a:gd name="connsiteX11" fmla="*/ 1011318 w 2701062"/>
                <a:gd name="connsiteY11" fmla="*/ 1108235 h 3628102"/>
                <a:gd name="connsiteX12" fmla="*/ 1057670 w 2701062"/>
                <a:gd name="connsiteY12" fmla="*/ 1099807 h 3628102"/>
                <a:gd name="connsiteX13" fmla="*/ 1053456 w 2701062"/>
                <a:gd name="connsiteY13" fmla="*/ 1163014 h 3628102"/>
                <a:gd name="connsiteX14" fmla="*/ 1040815 w 2701062"/>
                <a:gd name="connsiteY14" fmla="*/ 1196725 h 3628102"/>
                <a:gd name="connsiteX15" fmla="*/ 1049242 w 2701062"/>
                <a:gd name="connsiteY15" fmla="*/ 1222008 h 3628102"/>
                <a:gd name="connsiteX16" fmla="*/ 986035 w 2701062"/>
                <a:gd name="connsiteY16" fmla="*/ 1238863 h 3628102"/>
                <a:gd name="connsiteX17" fmla="*/ 1011318 w 2701062"/>
                <a:gd name="connsiteY17" fmla="*/ 1373706 h 3628102"/>
                <a:gd name="connsiteX18" fmla="*/ 1049242 w 2701062"/>
                <a:gd name="connsiteY18" fmla="*/ 1369492 h 3628102"/>
                <a:gd name="connsiteX19" fmla="*/ 1040815 w 2701062"/>
                <a:gd name="connsiteY19" fmla="*/ 1432699 h 3628102"/>
                <a:gd name="connsiteX20" fmla="*/ 981821 w 2701062"/>
                <a:gd name="connsiteY20" fmla="*/ 1466410 h 3628102"/>
                <a:gd name="connsiteX21" fmla="*/ 931255 w 2701062"/>
                <a:gd name="connsiteY21" fmla="*/ 1466410 h 3628102"/>
                <a:gd name="connsiteX22" fmla="*/ 897545 w 2701062"/>
                <a:gd name="connsiteY22" fmla="*/ 1529617 h 3628102"/>
                <a:gd name="connsiteX23" fmla="*/ 901758 w 2701062"/>
                <a:gd name="connsiteY23" fmla="*/ 1559114 h 3628102"/>
                <a:gd name="connsiteX24" fmla="*/ 948110 w 2701062"/>
                <a:gd name="connsiteY24" fmla="*/ 1567541 h 3628102"/>
                <a:gd name="connsiteX25" fmla="*/ 931255 w 2701062"/>
                <a:gd name="connsiteY25" fmla="*/ 1605466 h 3628102"/>
                <a:gd name="connsiteX26" fmla="*/ 952324 w 2701062"/>
                <a:gd name="connsiteY26" fmla="*/ 1613894 h 3628102"/>
                <a:gd name="connsiteX27" fmla="*/ 1015532 w 2701062"/>
                <a:gd name="connsiteY27" fmla="*/ 1618107 h 3628102"/>
                <a:gd name="connsiteX28" fmla="*/ 1040815 w 2701062"/>
                <a:gd name="connsiteY28" fmla="*/ 1656032 h 3628102"/>
                <a:gd name="connsiteX29" fmla="*/ 1036601 w 2701062"/>
                <a:gd name="connsiteY29" fmla="*/ 1693956 h 3628102"/>
                <a:gd name="connsiteX30" fmla="*/ 1104022 w 2701062"/>
                <a:gd name="connsiteY30" fmla="*/ 1795088 h 3628102"/>
                <a:gd name="connsiteX31" fmla="*/ 1053456 w 2701062"/>
                <a:gd name="connsiteY31" fmla="*/ 1820371 h 3628102"/>
                <a:gd name="connsiteX32" fmla="*/ 998676 w 2701062"/>
                <a:gd name="connsiteY32" fmla="*/ 1816157 h 3628102"/>
                <a:gd name="connsiteX33" fmla="*/ 964966 w 2701062"/>
                <a:gd name="connsiteY33" fmla="*/ 1896220 h 3628102"/>
                <a:gd name="connsiteX34" fmla="*/ 1015532 w 2701062"/>
                <a:gd name="connsiteY34" fmla="*/ 1938358 h 3628102"/>
                <a:gd name="connsiteX35" fmla="*/ 994463 w 2701062"/>
                <a:gd name="connsiteY35" fmla="*/ 2035276 h 3628102"/>
                <a:gd name="connsiteX36" fmla="*/ 1019746 w 2701062"/>
                <a:gd name="connsiteY36" fmla="*/ 2068987 h 3628102"/>
                <a:gd name="connsiteX37" fmla="*/ 990249 w 2701062"/>
                <a:gd name="connsiteY37" fmla="*/ 2102697 h 3628102"/>
                <a:gd name="connsiteX38" fmla="*/ 948110 w 2701062"/>
                <a:gd name="connsiteY38" fmla="*/ 2102697 h 3628102"/>
                <a:gd name="connsiteX39" fmla="*/ 939683 w 2701062"/>
                <a:gd name="connsiteY39" fmla="*/ 2140622 h 3628102"/>
                <a:gd name="connsiteX40" fmla="*/ 994463 w 2701062"/>
                <a:gd name="connsiteY40" fmla="*/ 2186974 h 3628102"/>
                <a:gd name="connsiteX41" fmla="*/ 981821 w 2701062"/>
                <a:gd name="connsiteY41" fmla="*/ 2368168 h 3628102"/>
                <a:gd name="connsiteX42" fmla="*/ 1015532 w 2701062"/>
                <a:gd name="connsiteY42" fmla="*/ 2448231 h 3628102"/>
                <a:gd name="connsiteX43" fmla="*/ 1049242 w 2701062"/>
                <a:gd name="connsiteY43" fmla="*/ 2448231 h 3628102"/>
                <a:gd name="connsiteX44" fmla="*/ 1129305 w 2701062"/>
                <a:gd name="connsiteY44" fmla="*/ 2515652 h 3628102"/>
                <a:gd name="connsiteX45" fmla="*/ 1125091 w 2701062"/>
                <a:gd name="connsiteY45" fmla="*/ 2646281 h 3628102"/>
                <a:gd name="connsiteX46" fmla="*/ 1087167 w 2701062"/>
                <a:gd name="connsiteY46" fmla="*/ 2709488 h 3628102"/>
                <a:gd name="connsiteX47" fmla="*/ 1015532 w 2701062"/>
                <a:gd name="connsiteY47" fmla="*/ 2776909 h 3628102"/>
                <a:gd name="connsiteX48" fmla="*/ 1007104 w 2701062"/>
                <a:gd name="connsiteY48" fmla="*/ 2865400 h 3628102"/>
                <a:gd name="connsiteX49" fmla="*/ 922828 w 2701062"/>
                <a:gd name="connsiteY49" fmla="*/ 2878041 h 3628102"/>
                <a:gd name="connsiteX50" fmla="*/ 868048 w 2701062"/>
                <a:gd name="connsiteY50" fmla="*/ 2882255 h 3628102"/>
                <a:gd name="connsiteX51" fmla="*/ 830123 w 2701062"/>
                <a:gd name="connsiteY51" fmla="*/ 2844330 h 3628102"/>
                <a:gd name="connsiteX52" fmla="*/ 577294 w 2701062"/>
                <a:gd name="connsiteY52" fmla="*/ 2865400 h 3628102"/>
                <a:gd name="connsiteX53" fmla="*/ 568866 w 2701062"/>
                <a:gd name="connsiteY53" fmla="*/ 2970745 h 3628102"/>
                <a:gd name="connsiteX54" fmla="*/ 514087 w 2701062"/>
                <a:gd name="connsiteY54" fmla="*/ 3004456 h 3628102"/>
                <a:gd name="connsiteX55" fmla="*/ 484590 w 2701062"/>
                <a:gd name="connsiteY55" fmla="*/ 2970745 h 3628102"/>
                <a:gd name="connsiteX56" fmla="*/ 446665 w 2701062"/>
                <a:gd name="connsiteY56" fmla="*/ 2996028 h 3628102"/>
                <a:gd name="connsiteX57" fmla="*/ 434024 w 2701062"/>
                <a:gd name="connsiteY57" fmla="*/ 3114015 h 3628102"/>
                <a:gd name="connsiteX58" fmla="*/ 328678 w 2701062"/>
                <a:gd name="connsiteY58" fmla="*/ 3240430 h 3628102"/>
                <a:gd name="connsiteX59" fmla="*/ 273899 w 2701062"/>
                <a:gd name="connsiteY59" fmla="*/ 3253071 h 3628102"/>
                <a:gd name="connsiteX60" fmla="*/ 252829 w 2701062"/>
                <a:gd name="connsiteY60" fmla="*/ 3303637 h 3628102"/>
                <a:gd name="connsiteX61" fmla="*/ 202263 w 2701062"/>
                <a:gd name="connsiteY61" fmla="*/ 3383700 h 3628102"/>
                <a:gd name="connsiteX62" fmla="*/ 164339 w 2701062"/>
                <a:gd name="connsiteY62" fmla="*/ 3413197 h 3628102"/>
                <a:gd name="connsiteX63" fmla="*/ 75849 w 2701062"/>
                <a:gd name="connsiteY63" fmla="*/ 3442694 h 3628102"/>
                <a:gd name="connsiteX64" fmla="*/ 12641 w 2701062"/>
                <a:gd name="connsiteY64" fmla="*/ 3476404 h 3628102"/>
                <a:gd name="connsiteX65" fmla="*/ 0 w 2701062"/>
                <a:gd name="connsiteY65" fmla="*/ 3556467 h 3628102"/>
                <a:gd name="connsiteX66" fmla="*/ 63207 w 2701062"/>
                <a:gd name="connsiteY66" fmla="*/ 3552253 h 3628102"/>
                <a:gd name="connsiteX67" fmla="*/ 96918 w 2701062"/>
                <a:gd name="connsiteY67" fmla="*/ 3505901 h 3628102"/>
                <a:gd name="connsiteX68" fmla="*/ 155911 w 2701062"/>
                <a:gd name="connsiteY68" fmla="*/ 3548039 h 3628102"/>
                <a:gd name="connsiteX69" fmla="*/ 164339 w 2701062"/>
                <a:gd name="connsiteY69" fmla="*/ 3628102 h 3628102"/>
                <a:gd name="connsiteX70" fmla="*/ 265471 w 2701062"/>
                <a:gd name="connsiteY70" fmla="*/ 3577536 h 3628102"/>
                <a:gd name="connsiteX71" fmla="*/ 252829 w 2701062"/>
                <a:gd name="connsiteY71" fmla="*/ 3518542 h 3628102"/>
                <a:gd name="connsiteX72" fmla="*/ 307609 w 2701062"/>
                <a:gd name="connsiteY72" fmla="*/ 3476404 h 3628102"/>
                <a:gd name="connsiteX73" fmla="*/ 345534 w 2701062"/>
                <a:gd name="connsiteY73" fmla="*/ 3438480 h 3628102"/>
                <a:gd name="connsiteX74" fmla="*/ 375030 w 2701062"/>
                <a:gd name="connsiteY74" fmla="*/ 3396341 h 3628102"/>
                <a:gd name="connsiteX75" fmla="*/ 497231 w 2701062"/>
                <a:gd name="connsiteY75" fmla="*/ 3404769 h 3628102"/>
                <a:gd name="connsiteX76" fmla="*/ 497231 w 2701062"/>
                <a:gd name="connsiteY76" fmla="*/ 3404769 h 3628102"/>
                <a:gd name="connsiteX77" fmla="*/ 568866 w 2701062"/>
                <a:gd name="connsiteY77" fmla="*/ 3438480 h 3628102"/>
                <a:gd name="connsiteX78" fmla="*/ 589935 w 2701062"/>
                <a:gd name="connsiteY78" fmla="*/ 3417411 h 3628102"/>
                <a:gd name="connsiteX79" fmla="*/ 648929 w 2701062"/>
                <a:gd name="connsiteY79" fmla="*/ 3446907 h 3628102"/>
                <a:gd name="connsiteX80" fmla="*/ 674212 w 2701062"/>
                <a:gd name="connsiteY80" fmla="*/ 3442694 h 3628102"/>
                <a:gd name="connsiteX81" fmla="*/ 720564 w 2701062"/>
                <a:gd name="connsiteY81" fmla="*/ 3505901 h 3628102"/>
                <a:gd name="connsiteX82" fmla="*/ 754275 w 2701062"/>
                <a:gd name="connsiteY82" fmla="*/ 3497473 h 3628102"/>
                <a:gd name="connsiteX83" fmla="*/ 804840 w 2701062"/>
                <a:gd name="connsiteY83" fmla="*/ 3421624 h 3628102"/>
                <a:gd name="connsiteX84" fmla="*/ 842765 w 2701062"/>
                <a:gd name="connsiteY84" fmla="*/ 3387914 h 3628102"/>
                <a:gd name="connsiteX85" fmla="*/ 830123 w 2701062"/>
                <a:gd name="connsiteY85" fmla="*/ 3333134 h 3628102"/>
                <a:gd name="connsiteX86" fmla="*/ 859620 w 2701062"/>
                <a:gd name="connsiteY86" fmla="*/ 3278354 h 3628102"/>
                <a:gd name="connsiteX87" fmla="*/ 918614 w 2701062"/>
                <a:gd name="connsiteY87" fmla="*/ 3227789 h 3628102"/>
                <a:gd name="connsiteX88" fmla="*/ 1011318 w 2701062"/>
                <a:gd name="connsiteY88" fmla="*/ 3210933 h 3628102"/>
                <a:gd name="connsiteX89" fmla="*/ 1078739 w 2701062"/>
                <a:gd name="connsiteY89" fmla="*/ 3198292 h 3628102"/>
                <a:gd name="connsiteX90" fmla="*/ 1163016 w 2701062"/>
                <a:gd name="connsiteY90" fmla="*/ 3269927 h 3628102"/>
                <a:gd name="connsiteX91" fmla="*/ 1222009 w 2701062"/>
                <a:gd name="connsiteY91" fmla="*/ 3303637 h 3628102"/>
                <a:gd name="connsiteX92" fmla="*/ 1226223 w 2701062"/>
                <a:gd name="connsiteY92" fmla="*/ 3257285 h 3628102"/>
                <a:gd name="connsiteX93" fmla="*/ 1243078 w 2701062"/>
                <a:gd name="connsiteY93" fmla="*/ 3248858 h 3628102"/>
                <a:gd name="connsiteX94" fmla="*/ 1344210 w 2701062"/>
                <a:gd name="connsiteY94" fmla="*/ 3269927 h 3628102"/>
                <a:gd name="connsiteX95" fmla="*/ 1398990 w 2701062"/>
                <a:gd name="connsiteY95" fmla="*/ 3278354 h 3628102"/>
                <a:gd name="connsiteX96" fmla="*/ 1436914 w 2701062"/>
                <a:gd name="connsiteY96" fmla="*/ 3206719 h 3628102"/>
                <a:gd name="connsiteX97" fmla="*/ 1495908 w 2701062"/>
                <a:gd name="connsiteY97" fmla="*/ 3198292 h 3628102"/>
                <a:gd name="connsiteX98" fmla="*/ 1597040 w 2701062"/>
                <a:gd name="connsiteY98" fmla="*/ 3253071 h 3628102"/>
                <a:gd name="connsiteX99" fmla="*/ 1656033 w 2701062"/>
                <a:gd name="connsiteY99" fmla="*/ 3274141 h 3628102"/>
                <a:gd name="connsiteX100" fmla="*/ 1719240 w 2701062"/>
                <a:gd name="connsiteY100" fmla="*/ 3215147 h 3628102"/>
                <a:gd name="connsiteX101" fmla="*/ 1715027 w 2701062"/>
                <a:gd name="connsiteY101" fmla="*/ 3143512 h 3628102"/>
                <a:gd name="connsiteX102" fmla="*/ 1833014 w 2701062"/>
                <a:gd name="connsiteY102" fmla="*/ 3194078 h 3628102"/>
                <a:gd name="connsiteX103" fmla="*/ 1862510 w 2701062"/>
                <a:gd name="connsiteY103" fmla="*/ 3143512 h 3628102"/>
                <a:gd name="connsiteX104" fmla="*/ 2018422 w 2701062"/>
                <a:gd name="connsiteY104" fmla="*/ 3122443 h 3628102"/>
                <a:gd name="connsiteX105" fmla="*/ 2186975 w 2701062"/>
                <a:gd name="connsiteY105" fmla="*/ 3181436 h 3628102"/>
                <a:gd name="connsiteX106" fmla="*/ 2254396 w 2701062"/>
                <a:gd name="connsiteY106" fmla="*/ 3097160 h 3628102"/>
                <a:gd name="connsiteX107" fmla="*/ 2338673 w 2701062"/>
                <a:gd name="connsiteY107" fmla="*/ 3097160 h 3628102"/>
                <a:gd name="connsiteX108" fmla="*/ 2380811 w 2701062"/>
                <a:gd name="connsiteY108" fmla="*/ 3042380 h 3628102"/>
                <a:gd name="connsiteX109" fmla="*/ 2456660 w 2701062"/>
                <a:gd name="connsiteY109" fmla="*/ 3046594 h 3628102"/>
                <a:gd name="connsiteX110" fmla="*/ 2469301 w 2701062"/>
                <a:gd name="connsiteY110" fmla="*/ 2966531 h 3628102"/>
                <a:gd name="connsiteX111" fmla="*/ 2595716 w 2701062"/>
                <a:gd name="connsiteY111" fmla="*/ 2899110 h 3628102"/>
                <a:gd name="connsiteX112" fmla="*/ 2595716 w 2701062"/>
                <a:gd name="connsiteY112" fmla="*/ 2797978 h 3628102"/>
                <a:gd name="connsiteX113" fmla="*/ 2616785 w 2701062"/>
                <a:gd name="connsiteY113" fmla="*/ 2760054 h 3628102"/>
                <a:gd name="connsiteX114" fmla="*/ 2591502 w 2701062"/>
                <a:gd name="connsiteY114" fmla="*/ 2734771 h 3628102"/>
                <a:gd name="connsiteX115" fmla="*/ 2515653 w 2701062"/>
                <a:gd name="connsiteY115" fmla="*/ 2734771 h 3628102"/>
                <a:gd name="connsiteX116" fmla="*/ 2460874 w 2701062"/>
                <a:gd name="connsiteY116" fmla="*/ 2747412 h 3628102"/>
                <a:gd name="connsiteX117" fmla="*/ 2435591 w 2701062"/>
                <a:gd name="connsiteY117" fmla="*/ 2760054 h 3628102"/>
                <a:gd name="connsiteX118" fmla="*/ 2397666 w 2701062"/>
                <a:gd name="connsiteY118" fmla="*/ 2709488 h 3628102"/>
                <a:gd name="connsiteX119" fmla="*/ 2347100 w 2701062"/>
                <a:gd name="connsiteY119" fmla="*/ 2684205 h 3628102"/>
                <a:gd name="connsiteX120" fmla="*/ 2410308 w 2701062"/>
                <a:gd name="connsiteY120" fmla="*/ 2646281 h 3628102"/>
                <a:gd name="connsiteX121" fmla="*/ 2439804 w 2701062"/>
                <a:gd name="connsiteY121" fmla="*/ 2498797 h 3628102"/>
                <a:gd name="connsiteX122" fmla="*/ 2481943 w 2701062"/>
                <a:gd name="connsiteY122" fmla="*/ 2532507 h 3628102"/>
                <a:gd name="connsiteX123" fmla="*/ 2532509 w 2701062"/>
                <a:gd name="connsiteY123" fmla="*/ 2460872 h 3628102"/>
                <a:gd name="connsiteX124" fmla="*/ 2545150 w 2701062"/>
                <a:gd name="connsiteY124" fmla="*/ 2422948 h 3628102"/>
                <a:gd name="connsiteX125" fmla="*/ 2633640 w 2701062"/>
                <a:gd name="connsiteY125" fmla="*/ 2309175 h 3628102"/>
                <a:gd name="connsiteX126" fmla="*/ 2650496 w 2701062"/>
                <a:gd name="connsiteY126" fmla="*/ 2216471 h 3628102"/>
                <a:gd name="connsiteX127" fmla="*/ 2696848 w 2701062"/>
                <a:gd name="connsiteY127" fmla="*/ 2140622 h 3628102"/>
                <a:gd name="connsiteX128" fmla="*/ 2701062 w 2701062"/>
                <a:gd name="connsiteY128" fmla="*/ 1934144 h 3628102"/>
                <a:gd name="connsiteX129" fmla="*/ 2503012 w 2701062"/>
                <a:gd name="connsiteY129" fmla="*/ 1799302 h 3628102"/>
                <a:gd name="connsiteX130" fmla="*/ 2237541 w 2701062"/>
                <a:gd name="connsiteY130" fmla="*/ 1769805 h 3628102"/>
                <a:gd name="connsiteX131" fmla="*/ 2161692 w 2701062"/>
                <a:gd name="connsiteY131" fmla="*/ 1858295 h 3628102"/>
                <a:gd name="connsiteX132" fmla="*/ 2123768 w 2701062"/>
                <a:gd name="connsiteY132" fmla="*/ 1849868 h 3628102"/>
                <a:gd name="connsiteX133" fmla="*/ 2111126 w 2701062"/>
                <a:gd name="connsiteY133" fmla="*/ 1799302 h 3628102"/>
                <a:gd name="connsiteX134" fmla="*/ 2203830 w 2701062"/>
                <a:gd name="connsiteY134" fmla="*/ 1702384 h 3628102"/>
                <a:gd name="connsiteX135" fmla="*/ 2178547 w 2701062"/>
                <a:gd name="connsiteY135" fmla="*/ 1563328 h 3628102"/>
                <a:gd name="connsiteX136" fmla="*/ 2090057 w 2701062"/>
                <a:gd name="connsiteY136" fmla="*/ 1470624 h 3628102"/>
                <a:gd name="connsiteX137" fmla="*/ 2056346 w 2701062"/>
                <a:gd name="connsiteY137" fmla="*/ 1441127 h 3628102"/>
                <a:gd name="connsiteX138" fmla="*/ 2127981 w 2701062"/>
                <a:gd name="connsiteY138" fmla="*/ 1428485 h 3628102"/>
                <a:gd name="connsiteX139" fmla="*/ 2127981 w 2701062"/>
                <a:gd name="connsiteY139" fmla="*/ 1394775 h 3628102"/>
                <a:gd name="connsiteX140" fmla="*/ 2031063 w 2701062"/>
                <a:gd name="connsiteY140" fmla="*/ 1268360 h 3628102"/>
                <a:gd name="connsiteX141" fmla="*/ 2022636 w 2701062"/>
                <a:gd name="connsiteY141" fmla="*/ 1184083 h 3628102"/>
                <a:gd name="connsiteX142" fmla="*/ 2056346 w 2701062"/>
                <a:gd name="connsiteY142" fmla="*/ 1120876 h 3628102"/>
                <a:gd name="connsiteX143" fmla="*/ 2039491 w 2701062"/>
                <a:gd name="connsiteY143" fmla="*/ 1087165 h 3628102"/>
                <a:gd name="connsiteX144" fmla="*/ 1967856 w 2701062"/>
                <a:gd name="connsiteY144" fmla="*/ 1066096 h 3628102"/>
                <a:gd name="connsiteX145" fmla="*/ 1929932 w 2701062"/>
                <a:gd name="connsiteY145" fmla="*/ 1007103 h 3628102"/>
                <a:gd name="connsiteX146" fmla="*/ 1934146 w 2701062"/>
                <a:gd name="connsiteY146" fmla="*/ 948109 h 3628102"/>
                <a:gd name="connsiteX147" fmla="*/ 1727668 w 2701062"/>
                <a:gd name="connsiteY147" fmla="*/ 830122 h 3628102"/>
                <a:gd name="connsiteX148" fmla="*/ 1664461 w 2701062"/>
                <a:gd name="connsiteY148" fmla="*/ 771129 h 3628102"/>
                <a:gd name="connsiteX149" fmla="*/ 1516977 w 2701062"/>
                <a:gd name="connsiteY149" fmla="*/ 231760 h 3628102"/>
                <a:gd name="connsiteX150" fmla="*/ 1285216 w 2701062"/>
                <a:gd name="connsiteY150" fmla="*/ 0 h 3628102"/>
                <a:gd name="connsiteX0" fmla="*/ 1382134 w 2701062"/>
                <a:gd name="connsiteY0" fmla="*/ 25282 h 3628102"/>
                <a:gd name="connsiteX1" fmla="*/ 1264148 w 2701062"/>
                <a:gd name="connsiteY1" fmla="*/ 172766 h 3628102"/>
                <a:gd name="connsiteX2" fmla="*/ 1281002 w 2701062"/>
                <a:gd name="connsiteY2" fmla="*/ 311823 h 3628102"/>
                <a:gd name="connsiteX3" fmla="*/ 1141946 w 2701062"/>
                <a:gd name="connsiteY3" fmla="*/ 446665 h 3628102"/>
                <a:gd name="connsiteX4" fmla="*/ 876475 w 2701062"/>
                <a:gd name="connsiteY4" fmla="*/ 703707 h 3628102"/>
                <a:gd name="connsiteX5" fmla="*/ 804840 w 2701062"/>
                <a:gd name="connsiteY5" fmla="*/ 775342 h 3628102"/>
                <a:gd name="connsiteX6" fmla="*/ 813268 w 2701062"/>
                <a:gd name="connsiteY6" fmla="*/ 905971 h 3628102"/>
                <a:gd name="connsiteX7" fmla="*/ 897545 w 2701062"/>
                <a:gd name="connsiteY7" fmla="*/ 1074524 h 3628102"/>
                <a:gd name="connsiteX8" fmla="*/ 943897 w 2701062"/>
                <a:gd name="connsiteY8" fmla="*/ 1158800 h 3628102"/>
                <a:gd name="connsiteX9" fmla="*/ 964966 w 2701062"/>
                <a:gd name="connsiteY9" fmla="*/ 1188297 h 3628102"/>
                <a:gd name="connsiteX10" fmla="*/ 994463 w 2701062"/>
                <a:gd name="connsiteY10" fmla="*/ 1163014 h 3628102"/>
                <a:gd name="connsiteX11" fmla="*/ 1011318 w 2701062"/>
                <a:gd name="connsiteY11" fmla="*/ 1108235 h 3628102"/>
                <a:gd name="connsiteX12" fmla="*/ 1057670 w 2701062"/>
                <a:gd name="connsiteY12" fmla="*/ 1099807 h 3628102"/>
                <a:gd name="connsiteX13" fmla="*/ 1053456 w 2701062"/>
                <a:gd name="connsiteY13" fmla="*/ 1163014 h 3628102"/>
                <a:gd name="connsiteX14" fmla="*/ 1040815 w 2701062"/>
                <a:gd name="connsiteY14" fmla="*/ 1196725 h 3628102"/>
                <a:gd name="connsiteX15" fmla="*/ 1049242 w 2701062"/>
                <a:gd name="connsiteY15" fmla="*/ 1222008 h 3628102"/>
                <a:gd name="connsiteX16" fmla="*/ 986035 w 2701062"/>
                <a:gd name="connsiteY16" fmla="*/ 1238863 h 3628102"/>
                <a:gd name="connsiteX17" fmla="*/ 1011318 w 2701062"/>
                <a:gd name="connsiteY17" fmla="*/ 1373706 h 3628102"/>
                <a:gd name="connsiteX18" fmla="*/ 1049242 w 2701062"/>
                <a:gd name="connsiteY18" fmla="*/ 1369492 h 3628102"/>
                <a:gd name="connsiteX19" fmla="*/ 1040815 w 2701062"/>
                <a:gd name="connsiteY19" fmla="*/ 1432699 h 3628102"/>
                <a:gd name="connsiteX20" fmla="*/ 981821 w 2701062"/>
                <a:gd name="connsiteY20" fmla="*/ 1466410 h 3628102"/>
                <a:gd name="connsiteX21" fmla="*/ 931255 w 2701062"/>
                <a:gd name="connsiteY21" fmla="*/ 1466410 h 3628102"/>
                <a:gd name="connsiteX22" fmla="*/ 897545 w 2701062"/>
                <a:gd name="connsiteY22" fmla="*/ 1529617 h 3628102"/>
                <a:gd name="connsiteX23" fmla="*/ 901758 w 2701062"/>
                <a:gd name="connsiteY23" fmla="*/ 1559114 h 3628102"/>
                <a:gd name="connsiteX24" fmla="*/ 948110 w 2701062"/>
                <a:gd name="connsiteY24" fmla="*/ 1567541 h 3628102"/>
                <a:gd name="connsiteX25" fmla="*/ 931255 w 2701062"/>
                <a:gd name="connsiteY25" fmla="*/ 1605466 h 3628102"/>
                <a:gd name="connsiteX26" fmla="*/ 952324 w 2701062"/>
                <a:gd name="connsiteY26" fmla="*/ 1613894 h 3628102"/>
                <a:gd name="connsiteX27" fmla="*/ 1015532 w 2701062"/>
                <a:gd name="connsiteY27" fmla="*/ 1618107 h 3628102"/>
                <a:gd name="connsiteX28" fmla="*/ 1040815 w 2701062"/>
                <a:gd name="connsiteY28" fmla="*/ 1656032 h 3628102"/>
                <a:gd name="connsiteX29" fmla="*/ 1036601 w 2701062"/>
                <a:gd name="connsiteY29" fmla="*/ 1693956 h 3628102"/>
                <a:gd name="connsiteX30" fmla="*/ 1104022 w 2701062"/>
                <a:gd name="connsiteY30" fmla="*/ 1795088 h 3628102"/>
                <a:gd name="connsiteX31" fmla="*/ 1053456 w 2701062"/>
                <a:gd name="connsiteY31" fmla="*/ 1820371 h 3628102"/>
                <a:gd name="connsiteX32" fmla="*/ 998676 w 2701062"/>
                <a:gd name="connsiteY32" fmla="*/ 1816157 h 3628102"/>
                <a:gd name="connsiteX33" fmla="*/ 964966 w 2701062"/>
                <a:gd name="connsiteY33" fmla="*/ 1896220 h 3628102"/>
                <a:gd name="connsiteX34" fmla="*/ 1015532 w 2701062"/>
                <a:gd name="connsiteY34" fmla="*/ 1938358 h 3628102"/>
                <a:gd name="connsiteX35" fmla="*/ 994463 w 2701062"/>
                <a:gd name="connsiteY35" fmla="*/ 2035276 h 3628102"/>
                <a:gd name="connsiteX36" fmla="*/ 1019746 w 2701062"/>
                <a:gd name="connsiteY36" fmla="*/ 2068987 h 3628102"/>
                <a:gd name="connsiteX37" fmla="*/ 990249 w 2701062"/>
                <a:gd name="connsiteY37" fmla="*/ 2102697 h 3628102"/>
                <a:gd name="connsiteX38" fmla="*/ 948110 w 2701062"/>
                <a:gd name="connsiteY38" fmla="*/ 2102697 h 3628102"/>
                <a:gd name="connsiteX39" fmla="*/ 939683 w 2701062"/>
                <a:gd name="connsiteY39" fmla="*/ 2140622 h 3628102"/>
                <a:gd name="connsiteX40" fmla="*/ 994463 w 2701062"/>
                <a:gd name="connsiteY40" fmla="*/ 2186974 h 3628102"/>
                <a:gd name="connsiteX41" fmla="*/ 981821 w 2701062"/>
                <a:gd name="connsiteY41" fmla="*/ 2368168 h 3628102"/>
                <a:gd name="connsiteX42" fmla="*/ 1015532 w 2701062"/>
                <a:gd name="connsiteY42" fmla="*/ 2448231 h 3628102"/>
                <a:gd name="connsiteX43" fmla="*/ 1049242 w 2701062"/>
                <a:gd name="connsiteY43" fmla="*/ 2448231 h 3628102"/>
                <a:gd name="connsiteX44" fmla="*/ 1129305 w 2701062"/>
                <a:gd name="connsiteY44" fmla="*/ 2515652 h 3628102"/>
                <a:gd name="connsiteX45" fmla="*/ 1125091 w 2701062"/>
                <a:gd name="connsiteY45" fmla="*/ 2646281 h 3628102"/>
                <a:gd name="connsiteX46" fmla="*/ 1087167 w 2701062"/>
                <a:gd name="connsiteY46" fmla="*/ 2709488 h 3628102"/>
                <a:gd name="connsiteX47" fmla="*/ 1015532 w 2701062"/>
                <a:gd name="connsiteY47" fmla="*/ 2776909 h 3628102"/>
                <a:gd name="connsiteX48" fmla="*/ 1007104 w 2701062"/>
                <a:gd name="connsiteY48" fmla="*/ 2865400 h 3628102"/>
                <a:gd name="connsiteX49" fmla="*/ 922828 w 2701062"/>
                <a:gd name="connsiteY49" fmla="*/ 2878041 h 3628102"/>
                <a:gd name="connsiteX50" fmla="*/ 868048 w 2701062"/>
                <a:gd name="connsiteY50" fmla="*/ 2882255 h 3628102"/>
                <a:gd name="connsiteX51" fmla="*/ 830123 w 2701062"/>
                <a:gd name="connsiteY51" fmla="*/ 2844330 h 3628102"/>
                <a:gd name="connsiteX52" fmla="*/ 577294 w 2701062"/>
                <a:gd name="connsiteY52" fmla="*/ 2865400 h 3628102"/>
                <a:gd name="connsiteX53" fmla="*/ 568866 w 2701062"/>
                <a:gd name="connsiteY53" fmla="*/ 2970745 h 3628102"/>
                <a:gd name="connsiteX54" fmla="*/ 514087 w 2701062"/>
                <a:gd name="connsiteY54" fmla="*/ 3004456 h 3628102"/>
                <a:gd name="connsiteX55" fmla="*/ 484590 w 2701062"/>
                <a:gd name="connsiteY55" fmla="*/ 2970745 h 3628102"/>
                <a:gd name="connsiteX56" fmla="*/ 446665 w 2701062"/>
                <a:gd name="connsiteY56" fmla="*/ 2996028 h 3628102"/>
                <a:gd name="connsiteX57" fmla="*/ 434024 w 2701062"/>
                <a:gd name="connsiteY57" fmla="*/ 3114015 h 3628102"/>
                <a:gd name="connsiteX58" fmla="*/ 328678 w 2701062"/>
                <a:gd name="connsiteY58" fmla="*/ 3240430 h 3628102"/>
                <a:gd name="connsiteX59" fmla="*/ 273899 w 2701062"/>
                <a:gd name="connsiteY59" fmla="*/ 3253071 h 3628102"/>
                <a:gd name="connsiteX60" fmla="*/ 252829 w 2701062"/>
                <a:gd name="connsiteY60" fmla="*/ 3303637 h 3628102"/>
                <a:gd name="connsiteX61" fmla="*/ 202263 w 2701062"/>
                <a:gd name="connsiteY61" fmla="*/ 3383700 h 3628102"/>
                <a:gd name="connsiteX62" fmla="*/ 164339 w 2701062"/>
                <a:gd name="connsiteY62" fmla="*/ 3413197 h 3628102"/>
                <a:gd name="connsiteX63" fmla="*/ 75849 w 2701062"/>
                <a:gd name="connsiteY63" fmla="*/ 3442694 h 3628102"/>
                <a:gd name="connsiteX64" fmla="*/ 12641 w 2701062"/>
                <a:gd name="connsiteY64" fmla="*/ 3476404 h 3628102"/>
                <a:gd name="connsiteX65" fmla="*/ 0 w 2701062"/>
                <a:gd name="connsiteY65" fmla="*/ 3556467 h 3628102"/>
                <a:gd name="connsiteX66" fmla="*/ 63207 w 2701062"/>
                <a:gd name="connsiteY66" fmla="*/ 3552253 h 3628102"/>
                <a:gd name="connsiteX67" fmla="*/ 96918 w 2701062"/>
                <a:gd name="connsiteY67" fmla="*/ 3505901 h 3628102"/>
                <a:gd name="connsiteX68" fmla="*/ 155911 w 2701062"/>
                <a:gd name="connsiteY68" fmla="*/ 3548039 h 3628102"/>
                <a:gd name="connsiteX69" fmla="*/ 164339 w 2701062"/>
                <a:gd name="connsiteY69" fmla="*/ 3628102 h 3628102"/>
                <a:gd name="connsiteX70" fmla="*/ 265471 w 2701062"/>
                <a:gd name="connsiteY70" fmla="*/ 3577536 h 3628102"/>
                <a:gd name="connsiteX71" fmla="*/ 252829 w 2701062"/>
                <a:gd name="connsiteY71" fmla="*/ 3518542 h 3628102"/>
                <a:gd name="connsiteX72" fmla="*/ 307609 w 2701062"/>
                <a:gd name="connsiteY72" fmla="*/ 3476404 h 3628102"/>
                <a:gd name="connsiteX73" fmla="*/ 345534 w 2701062"/>
                <a:gd name="connsiteY73" fmla="*/ 3438480 h 3628102"/>
                <a:gd name="connsiteX74" fmla="*/ 375030 w 2701062"/>
                <a:gd name="connsiteY74" fmla="*/ 3396341 h 3628102"/>
                <a:gd name="connsiteX75" fmla="*/ 497231 w 2701062"/>
                <a:gd name="connsiteY75" fmla="*/ 3404769 h 3628102"/>
                <a:gd name="connsiteX76" fmla="*/ 497231 w 2701062"/>
                <a:gd name="connsiteY76" fmla="*/ 3404769 h 3628102"/>
                <a:gd name="connsiteX77" fmla="*/ 568866 w 2701062"/>
                <a:gd name="connsiteY77" fmla="*/ 3438480 h 3628102"/>
                <a:gd name="connsiteX78" fmla="*/ 589935 w 2701062"/>
                <a:gd name="connsiteY78" fmla="*/ 3417411 h 3628102"/>
                <a:gd name="connsiteX79" fmla="*/ 648929 w 2701062"/>
                <a:gd name="connsiteY79" fmla="*/ 3446907 h 3628102"/>
                <a:gd name="connsiteX80" fmla="*/ 674212 w 2701062"/>
                <a:gd name="connsiteY80" fmla="*/ 3442694 h 3628102"/>
                <a:gd name="connsiteX81" fmla="*/ 720564 w 2701062"/>
                <a:gd name="connsiteY81" fmla="*/ 3505901 h 3628102"/>
                <a:gd name="connsiteX82" fmla="*/ 754275 w 2701062"/>
                <a:gd name="connsiteY82" fmla="*/ 3497473 h 3628102"/>
                <a:gd name="connsiteX83" fmla="*/ 804840 w 2701062"/>
                <a:gd name="connsiteY83" fmla="*/ 3421624 h 3628102"/>
                <a:gd name="connsiteX84" fmla="*/ 842765 w 2701062"/>
                <a:gd name="connsiteY84" fmla="*/ 3387914 h 3628102"/>
                <a:gd name="connsiteX85" fmla="*/ 830123 w 2701062"/>
                <a:gd name="connsiteY85" fmla="*/ 3333134 h 3628102"/>
                <a:gd name="connsiteX86" fmla="*/ 859620 w 2701062"/>
                <a:gd name="connsiteY86" fmla="*/ 3278354 h 3628102"/>
                <a:gd name="connsiteX87" fmla="*/ 918614 w 2701062"/>
                <a:gd name="connsiteY87" fmla="*/ 3227789 h 3628102"/>
                <a:gd name="connsiteX88" fmla="*/ 1011318 w 2701062"/>
                <a:gd name="connsiteY88" fmla="*/ 3210933 h 3628102"/>
                <a:gd name="connsiteX89" fmla="*/ 1078739 w 2701062"/>
                <a:gd name="connsiteY89" fmla="*/ 3198292 h 3628102"/>
                <a:gd name="connsiteX90" fmla="*/ 1163016 w 2701062"/>
                <a:gd name="connsiteY90" fmla="*/ 3269927 h 3628102"/>
                <a:gd name="connsiteX91" fmla="*/ 1222009 w 2701062"/>
                <a:gd name="connsiteY91" fmla="*/ 3303637 h 3628102"/>
                <a:gd name="connsiteX92" fmla="*/ 1226223 w 2701062"/>
                <a:gd name="connsiteY92" fmla="*/ 3257285 h 3628102"/>
                <a:gd name="connsiteX93" fmla="*/ 1243078 w 2701062"/>
                <a:gd name="connsiteY93" fmla="*/ 3248858 h 3628102"/>
                <a:gd name="connsiteX94" fmla="*/ 1344210 w 2701062"/>
                <a:gd name="connsiteY94" fmla="*/ 3269927 h 3628102"/>
                <a:gd name="connsiteX95" fmla="*/ 1398990 w 2701062"/>
                <a:gd name="connsiteY95" fmla="*/ 3278354 h 3628102"/>
                <a:gd name="connsiteX96" fmla="*/ 1436914 w 2701062"/>
                <a:gd name="connsiteY96" fmla="*/ 3206719 h 3628102"/>
                <a:gd name="connsiteX97" fmla="*/ 1495908 w 2701062"/>
                <a:gd name="connsiteY97" fmla="*/ 3198292 h 3628102"/>
                <a:gd name="connsiteX98" fmla="*/ 1597040 w 2701062"/>
                <a:gd name="connsiteY98" fmla="*/ 3253071 h 3628102"/>
                <a:gd name="connsiteX99" fmla="*/ 1656033 w 2701062"/>
                <a:gd name="connsiteY99" fmla="*/ 3274141 h 3628102"/>
                <a:gd name="connsiteX100" fmla="*/ 1719240 w 2701062"/>
                <a:gd name="connsiteY100" fmla="*/ 3215147 h 3628102"/>
                <a:gd name="connsiteX101" fmla="*/ 1715027 w 2701062"/>
                <a:gd name="connsiteY101" fmla="*/ 3143512 h 3628102"/>
                <a:gd name="connsiteX102" fmla="*/ 1833014 w 2701062"/>
                <a:gd name="connsiteY102" fmla="*/ 3194078 h 3628102"/>
                <a:gd name="connsiteX103" fmla="*/ 1862510 w 2701062"/>
                <a:gd name="connsiteY103" fmla="*/ 3143512 h 3628102"/>
                <a:gd name="connsiteX104" fmla="*/ 2018422 w 2701062"/>
                <a:gd name="connsiteY104" fmla="*/ 3122443 h 3628102"/>
                <a:gd name="connsiteX105" fmla="*/ 2186975 w 2701062"/>
                <a:gd name="connsiteY105" fmla="*/ 3181436 h 3628102"/>
                <a:gd name="connsiteX106" fmla="*/ 2254396 w 2701062"/>
                <a:gd name="connsiteY106" fmla="*/ 3097160 h 3628102"/>
                <a:gd name="connsiteX107" fmla="*/ 2338673 w 2701062"/>
                <a:gd name="connsiteY107" fmla="*/ 3097160 h 3628102"/>
                <a:gd name="connsiteX108" fmla="*/ 2380811 w 2701062"/>
                <a:gd name="connsiteY108" fmla="*/ 3042380 h 3628102"/>
                <a:gd name="connsiteX109" fmla="*/ 2456660 w 2701062"/>
                <a:gd name="connsiteY109" fmla="*/ 3046594 h 3628102"/>
                <a:gd name="connsiteX110" fmla="*/ 2469301 w 2701062"/>
                <a:gd name="connsiteY110" fmla="*/ 2966531 h 3628102"/>
                <a:gd name="connsiteX111" fmla="*/ 2595716 w 2701062"/>
                <a:gd name="connsiteY111" fmla="*/ 2899110 h 3628102"/>
                <a:gd name="connsiteX112" fmla="*/ 2595716 w 2701062"/>
                <a:gd name="connsiteY112" fmla="*/ 2797978 h 3628102"/>
                <a:gd name="connsiteX113" fmla="*/ 2616785 w 2701062"/>
                <a:gd name="connsiteY113" fmla="*/ 2760054 h 3628102"/>
                <a:gd name="connsiteX114" fmla="*/ 2591502 w 2701062"/>
                <a:gd name="connsiteY114" fmla="*/ 2734771 h 3628102"/>
                <a:gd name="connsiteX115" fmla="*/ 2515653 w 2701062"/>
                <a:gd name="connsiteY115" fmla="*/ 2734771 h 3628102"/>
                <a:gd name="connsiteX116" fmla="*/ 2460874 w 2701062"/>
                <a:gd name="connsiteY116" fmla="*/ 2747412 h 3628102"/>
                <a:gd name="connsiteX117" fmla="*/ 2435591 w 2701062"/>
                <a:gd name="connsiteY117" fmla="*/ 2760054 h 3628102"/>
                <a:gd name="connsiteX118" fmla="*/ 2397666 w 2701062"/>
                <a:gd name="connsiteY118" fmla="*/ 2709488 h 3628102"/>
                <a:gd name="connsiteX119" fmla="*/ 2347100 w 2701062"/>
                <a:gd name="connsiteY119" fmla="*/ 2684205 h 3628102"/>
                <a:gd name="connsiteX120" fmla="*/ 2410308 w 2701062"/>
                <a:gd name="connsiteY120" fmla="*/ 2646281 h 3628102"/>
                <a:gd name="connsiteX121" fmla="*/ 2439804 w 2701062"/>
                <a:gd name="connsiteY121" fmla="*/ 2498797 h 3628102"/>
                <a:gd name="connsiteX122" fmla="*/ 2481943 w 2701062"/>
                <a:gd name="connsiteY122" fmla="*/ 2532507 h 3628102"/>
                <a:gd name="connsiteX123" fmla="*/ 2532509 w 2701062"/>
                <a:gd name="connsiteY123" fmla="*/ 2460872 h 3628102"/>
                <a:gd name="connsiteX124" fmla="*/ 2545150 w 2701062"/>
                <a:gd name="connsiteY124" fmla="*/ 2422948 h 3628102"/>
                <a:gd name="connsiteX125" fmla="*/ 2633640 w 2701062"/>
                <a:gd name="connsiteY125" fmla="*/ 2309175 h 3628102"/>
                <a:gd name="connsiteX126" fmla="*/ 2650496 w 2701062"/>
                <a:gd name="connsiteY126" fmla="*/ 2216471 h 3628102"/>
                <a:gd name="connsiteX127" fmla="*/ 2696848 w 2701062"/>
                <a:gd name="connsiteY127" fmla="*/ 2140622 h 3628102"/>
                <a:gd name="connsiteX128" fmla="*/ 2701062 w 2701062"/>
                <a:gd name="connsiteY128" fmla="*/ 1934144 h 3628102"/>
                <a:gd name="connsiteX129" fmla="*/ 2503012 w 2701062"/>
                <a:gd name="connsiteY129" fmla="*/ 1799302 h 3628102"/>
                <a:gd name="connsiteX130" fmla="*/ 2237541 w 2701062"/>
                <a:gd name="connsiteY130" fmla="*/ 1769805 h 3628102"/>
                <a:gd name="connsiteX131" fmla="*/ 2161692 w 2701062"/>
                <a:gd name="connsiteY131" fmla="*/ 1858295 h 3628102"/>
                <a:gd name="connsiteX132" fmla="*/ 2123768 w 2701062"/>
                <a:gd name="connsiteY132" fmla="*/ 1849868 h 3628102"/>
                <a:gd name="connsiteX133" fmla="*/ 2111126 w 2701062"/>
                <a:gd name="connsiteY133" fmla="*/ 1799302 h 3628102"/>
                <a:gd name="connsiteX134" fmla="*/ 2203830 w 2701062"/>
                <a:gd name="connsiteY134" fmla="*/ 1702384 h 3628102"/>
                <a:gd name="connsiteX135" fmla="*/ 2178547 w 2701062"/>
                <a:gd name="connsiteY135" fmla="*/ 1563328 h 3628102"/>
                <a:gd name="connsiteX136" fmla="*/ 2090057 w 2701062"/>
                <a:gd name="connsiteY136" fmla="*/ 1470624 h 3628102"/>
                <a:gd name="connsiteX137" fmla="*/ 2056346 w 2701062"/>
                <a:gd name="connsiteY137" fmla="*/ 1441127 h 3628102"/>
                <a:gd name="connsiteX138" fmla="*/ 2127981 w 2701062"/>
                <a:gd name="connsiteY138" fmla="*/ 1428485 h 3628102"/>
                <a:gd name="connsiteX139" fmla="*/ 2127981 w 2701062"/>
                <a:gd name="connsiteY139" fmla="*/ 1394775 h 3628102"/>
                <a:gd name="connsiteX140" fmla="*/ 2031063 w 2701062"/>
                <a:gd name="connsiteY140" fmla="*/ 1268360 h 3628102"/>
                <a:gd name="connsiteX141" fmla="*/ 2022636 w 2701062"/>
                <a:gd name="connsiteY141" fmla="*/ 1184083 h 3628102"/>
                <a:gd name="connsiteX142" fmla="*/ 2056346 w 2701062"/>
                <a:gd name="connsiteY142" fmla="*/ 1120876 h 3628102"/>
                <a:gd name="connsiteX143" fmla="*/ 2039491 w 2701062"/>
                <a:gd name="connsiteY143" fmla="*/ 1087165 h 3628102"/>
                <a:gd name="connsiteX144" fmla="*/ 1967856 w 2701062"/>
                <a:gd name="connsiteY144" fmla="*/ 1066096 h 3628102"/>
                <a:gd name="connsiteX145" fmla="*/ 1929932 w 2701062"/>
                <a:gd name="connsiteY145" fmla="*/ 1007103 h 3628102"/>
                <a:gd name="connsiteX146" fmla="*/ 1934146 w 2701062"/>
                <a:gd name="connsiteY146" fmla="*/ 948109 h 3628102"/>
                <a:gd name="connsiteX147" fmla="*/ 1727668 w 2701062"/>
                <a:gd name="connsiteY147" fmla="*/ 830122 h 3628102"/>
                <a:gd name="connsiteX148" fmla="*/ 1664461 w 2701062"/>
                <a:gd name="connsiteY148" fmla="*/ 771129 h 3628102"/>
                <a:gd name="connsiteX149" fmla="*/ 1516977 w 2701062"/>
                <a:gd name="connsiteY149" fmla="*/ 231760 h 3628102"/>
                <a:gd name="connsiteX150" fmla="*/ 1285216 w 2701062"/>
                <a:gd name="connsiteY150" fmla="*/ 0 h 3628102"/>
                <a:gd name="connsiteX151" fmla="*/ 1382134 w 2701062"/>
                <a:gd name="connsiteY151" fmla="*/ 25282 h 3628102"/>
                <a:gd name="connsiteX0" fmla="*/ 1382134 w 2701062"/>
                <a:gd name="connsiteY0" fmla="*/ 12640 h 3615460"/>
                <a:gd name="connsiteX1" fmla="*/ 1264148 w 2701062"/>
                <a:gd name="connsiteY1" fmla="*/ 160124 h 3615460"/>
                <a:gd name="connsiteX2" fmla="*/ 1281002 w 2701062"/>
                <a:gd name="connsiteY2" fmla="*/ 299181 h 3615460"/>
                <a:gd name="connsiteX3" fmla="*/ 1141946 w 2701062"/>
                <a:gd name="connsiteY3" fmla="*/ 434023 h 3615460"/>
                <a:gd name="connsiteX4" fmla="*/ 876475 w 2701062"/>
                <a:gd name="connsiteY4" fmla="*/ 691065 h 3615460"/>
                <a:gd name="connsiteX5" fmla="*/ 804840 w 2701062"/>
                <a:gd name="connsiteY5" fmla="*/ 762700 h 3615460"/>
                <a:gd name="connsiteX6" fmla="*/ 813268 w 2701062"/>
                <a:gd name="connsiteY6" fmla="*/ 893329 h 3615460"/>
                <a:gd name="connsiteX7" fmla="*/ 897545 w 2701062"/>
                <a:gd name="connsiteY7" fmla="*/ 1061882 h 3615460"/>
                <a:gd name="connsiteX8" fmla="*/ 943897 w 2701062"/>
                <a:gd name="connsiteY8" fmla="*/ 1146158 h 3615460"/>
                <a:gd name="connsiteX9" fmla="*/ 964966 w 2701062"/>
                <a:gd name="connsiteY9" fmla="*/ 1175655 h 3615460"/>
                <a:gd name="connsiteX10" fmla="*/ 994463 w 2701062"/>
                <a:gd name="connsiteY10" fmla="*/ 1150372 h 3615460"/>
                <a:gd name="connsiteX11" fmla="*/ 1011318 w 2701062"/>
                <a:gd name="connsiteY11" fmla="*/ 1095593 h 3615460"/>
                <a:gd name="connsiteX12" fmla="*/ 1057670 w 2701062"/>
                <a:gd name="connsiteY12" fmla="*/ 1087165 h 3615460"/>
                <a:gd name="connsiteX13" fmla="*/ 1053456 w 2701062"/>
                <a:gd name="connsiteY13" fmla="*/ 1150372 h 3615460"/>
                <a:gd name="connsiteX14" fmla="*/ 1040815 w 2701062"/>
                <a:gd name="connsiteY14" fmla="*/ 1184083 h 3615460"/>
                <a:gd name="connsiteX15" fmla="*/ 1049242 w 2701062"/>
                <a:gd name="connsiteY15" fmla="*/ 1209366 h 3615460"/>
                <a:gd name="connsiteX16" fmla="*/ 986035 w 2701062"/>
                <a:gd name="connsiteY16" fmla="*/ 1226221 h 3615460"/>
                <a:gd name="connsiteX17" fmla="*/ 1011318 w 2701062"/>
                <a:gd name="connsiteY17" fmla="*/ 1361064 h 3615460"/>
                <a:gd name="connsiteX18" fmla="*/ 1049242 w 2701062"/>
                <a:gd name="connsiteY18" fmla="*/ 1356850 h 3615460"/>
                <a:gd name="connsiteX19" fmla="*/ 1040815 w 2701062"/>
                <a:gd name="connsiteY19" fmla="*/ 1420057 h 3615460"/>
                <a:gd name="connsiteX20" fmla="*/ 981821 w 2701062"/>
                <a:gd name="connsiteY20" fmla="*/ 1453768 h 3615460"/>
                <a:gd name="connsiteX21" fmla="*/ 931255 w 2701062"/>
                <a:gd name="connsiteY21" fmla="*/ 1453768 h 3615460"/>
                <a:gd name="connsiteX22" fmla="*/ 897545 w 2701062"/>
                <a:gd name="connsiteY22" fmla="*/ 1516975 h 3615460"/>
                <a:gd name="connsiteX23" fmla="*/ 901758 w 2701062"/>
                <a:gd name="connsiteY23" fmla="*/ 1546472 h 3615460"/>
                <a:gd name="connsiteX24" fmla="*/ 948110 w 2701062"/>
                <a:gd name="connsiteY24" fmla="*/ 1554899 h 3615460"/>
                <a:gd name="connsiteX25" fmla="*/ 931255 w 2701062"/>
                <a:gd name="connsiteY25" fmla="*/ 1592824 h 3615460"/>
                <a:gd name="connsiteX26" fmla="*/ 952324 w 2701062"/>
                <a:gd name="connsiteY26" fmla="*/ 1601252 h 3615460"/>
                <a:gd name="connsiteX27" fmla="*/ 1015532 w 2701062"/>
                <a:gd name="connsiteY27" fmla="*/ 1605465 h 3615460"/>
                <a:gd name="connsiteX28" fmla="*/ 1040815 w 2701062"/>
                <a:gd name="connsiteY28" fmla="*/ 1643390 h 3615460"/>
                <a:gd name="connsiteX29" fmla="*/ 1036601 w 2701062"/>
                <a:gd name="connsiteY29" fmla="*/ 1681314 h 3615460"/>
                <a:gd name="connsiteX30" fmla="*/ 1104022 w 2701062"/>
                <a:gd name="connsiteY30" fmla="*/ 1782446 h 3615460"/>
                <a:gd name="connsiteX31" fmla="*/ 1053456 w 2701062"/>
                <a:gd name="connsiteY31" fmla="*/ 1807729 h 3615460"/>
                <a:gd name="connsiteX32" fmla="*/ 998676 w 2701062"/>
                <a:gd name="connsiteY32" fmla="*/ 1803515 h 3615460"/>
                <a:gd name="connsiteX33" fmla="*/ 964966 w 2701062"/>
                <a:gd name="connsiteY33" fmla="*/ 1883578 h 3615460"/>
                <a:gd name="connsiteX34" fmla="*/ 1015532 w 2701062"/>
                <a:gd name="connsiteY34" fmla="*/ 1925716 h 3615460"/>
                <a:gd name="connsiteX35" fmla="*/ 994463 w 2701062"/>
                <a:gd name="connsiteY35" fmla="*/ 2022634 h 3615460"/>
                <a:gd name="connsiteX36" fmla="*/ 1019746 w 2701062"/>
                <a:gd name="connsiteY36" fmla="*/ 2056345 h 3615460"/>
                <a:gd name="connsiteX37" fmla="*/ 990249 w 2701062"/>
                <a:gd name="connsiteY37" fmla="*/ 2090055 h 3615460"/>
                <a:gd name="connsiteX38" fmla="*/ 948110 w 2701062"/>
                <a:gd name="connsiteY38" fmla="*/ 2090055 h 3615460"/>
                <a:gd name="connsiteX39" fmla="*/ 939683 w 2701062"/>
                <a:gd name="connsiteY39" fmla="*/ 2127980 h 3615460"/>
                <a:gd name="connsiteX40" fmla="*/ 994463 w 2701062"/>
                <a:gd name="connsiteY40" fmla="*/ 2174332 h 3615460"/>
                <a:gd name="connsiteX41" fmla="*/ 981821 w 2701062"/>
                <a:gd name="connsiteY41" fmla="*/ 2355526 h 3615460"/>
                <a:gd name="connsiteX42" fmla="*/ 1015532 w 2701062"/>
                <a:gd name="connsiteY42" fmla="*/ 2435589 h 3615460"/>
                <a:gd name="connsiteX43" fmla="*/ 1049242 w 2701062"/>
                <a:gd name="connsiteY43" fmla="*/ 2435589 h 3615460"/>
                <a:gd name="connsiteX44" fmla="*/ 1129305 w 2701062"/>
                <a:gd name="connsiteY44" fmla="*/ 2503010 h 3615460"/>
                <a:gd name="connsiteX45" fmla="*/ 1125091 w 2701062"/>
                <a:gd name="connsiteY45" fmla="*/ 2633639 h 3615460"/>
                <a:gd name="connsiteX46" fmla="*/ 1087167 w 2701062"/>
                <a:gd name="connsiteY46" fmla="*/ 2696846 h 3615460"/>
                <a:gd name="connsiteX47" fmla="*/ 1015532 w 2701062"/>
                <a:gd name="connsiteY47" fmla="*/ 2764267 h 3615460"/>
                <a:gd name="connsiteX48" fmla="*/ 1007104 w 2701062"/>
                <a:gd name="connsiteY48" fmla="*/ 2852758 h 3615460"/>
                <a:gd name="connsiteX49" fmla="*/ 922828 w 2701062"/>
                <a:gd name="connsiteY49" fmla="*/ 2865399 h 3615460"/>
                <a:gd name="connsiteX50" fmla="*/ 868048 w 2701062"/>
                <a:gd name="connsiteY50" fmla="*/ 2869613 h 3615460"/>
                <a:gd name="connsiteX51" fmla="*/ 830123 w 2701062"/>
                <a:gd name="connsiteY51" fmla="*/ 2831688 h 3615460"/>
                <a:gd name="connsiteX52" fmla="*/ 577294 w 2701062"/>
                <a:gd name="connsiteY52" fmla="*/ 2852758 h 3615460"/>
                <a:gd name="connsiteX53" fmla="*/ 568866 w 2701062"/>
                <a:gd name="connsiteY53" fmla="*/ 2958103 h 3615460"/>
                <a:gd name="connsiteX54" fmla="*/ 514087 w 2701062"/>
                <a:gd name="connsiteY54" fmla="*/ 2991814 h 3615460"/>
                <a:gd name="connsiteX55" fmla="*/ 484590 w 2701062"/>
                <a:gd name="connsiteY55" fmla="*/ 2958103 h 3615460"/>
                <a:gd name="connsiteX56" fmla="*/ 446665 w 2701062"/>
                <a:gd name="connsiteY56" fmla="*/ 2983386 h 3615460"/>
                <a:gd name="connsiteX57" fmla="*/ 434024 w 2701062"/>
                <a:gd name="connsiteY57" fmla="*/ 3101373 h 3615460"/>
                <a:gd name="connsiteX58" fmla="*/ 328678 w 2701062"/>
                <a:gd name="connsiteY58" fmla="*/ 3227788 h 3615460"/>
                <a:gd name="connsiteX59" fmla="*/ 273899 w 2701062"/>
                <a:gd name="connsiteY59" fmla="*/ 3240429 h 3615460"/>
                <a:gd name="connsiteX60" fmla="*/ 252829 w 2701062"/>
                <a:gd name="connsiteY60" fmla="*/ 3290995 h 3615460"/>
                <a:gd name="connsiteX61" fmla="*/ 202263 w 2701062"/>
                <a:gd name="connsiteY61" fmla="*/ 3371058 h 3615460"/>
                <a:gd name="connsiteX62" fmla="*/ 164339 w 2701062"/>
                <a:gd name="connsiteY62" fmla="*/ 3400555 h 3615460"/>
                <a:gd name="connsiteX63" fmla="*/ 75849 w 2701062"/>
                <a:gd name="connsiteY63" fmla="*/ 3430052 h 3615460"/>
                <a:gd name="connsiteX64" fmla="*/ 12641 w 2701062"/>
                <a:gd name="connsiteY64" fmla="*/ 3463762 h 3615460"/>
                <a:gd name="connsiteX65" fmla="*/ 0 w 2701062"/>
                <a:gd name="connsiteY65" fmla="*/ 3543825 h 3615460"/>
                <a:gd name="connsiteX66" fmla="*/ 63207 w 2701062"/>
                <a:gd name="connsiteY66" fmla="*/ 3539611 h 3615460"/>
                <a:gd name="connsiteX67" fmla="*/ 96918 w 2701062"/>
                <a:gd name="connsiteY67" fmla="*/ 3493259 h 3615460"/>
                <a:gd name="connsiteX68" fmla="*/ 155911 w 2701062"/>
                <a:gd name="connsiteY68" fmla="*/ 3535397 h 3615460"/>
                <a:gd name="connsiteX69" fmla="*/ 164339 w 2701062"/>
                <a:gd name="connsiteY69" fmla="*/ 3615460 h 3615460"/>
                <a:gd name="connsiteX70" fmla="*/ 265471 w 2701062"/>
                <a:gd name="connsiteY70" fmla="*/ 3564894 h 3615460"/>
                <a:gd name="connsiteX71" fmla="*/ 252829 w 2701062"/>
                <a:gd name="connsiteY71" fmla="*/ 3505900 h 3615460"/>
                <a:gd name="connsiteX72" fmla="*/ 307609 w 2701062"/>
                <a:gd name="connsiteY72" fmla="*/ 3463762 h 3615460"/>
                <a:gd name="connsiteX73" fmla="*/ 345534 w 2701062"/>
                <a:gd name="connsiteY73" fmla="*/ 3425838 h 3615460"/>
                <a:gd name="connsiteX74" fmla="*/ 375030 w 2701062"/>
                <a:gd name="connsiteY74" fmla="*/ 3383699 h 3615460"/>
                <a:gd name="connsiteX75" fmla="*/ 497231 w 2701062"/>
                <a:gd name="connsiteY75" fmla="*/ 3392127 h 3615460"/>
                <a:gd name="connsiteX76" fmla="*/ 497231 w 2701062"/>
                <a:gd name="connsiteY76" fmla="*/ 3392127 h 3615460"/>
                <a:gd name="connsiteX77" fmla="*/ 568866 w 2701062"/>
                <a:gd name="connsiteY77" fmla="*/ 3425838 h 3615460"/>
                <a:gd name="connsiteX78" fmla="*/ 589935 w 2701062"/>
                <a:gd name="connsiteY78" fmla="*/ 3404769 h 3615460"/>
                <a:gd name="connsiteX79" fmla="*/ 648929 w 2701062"/>
                <a:gd name="connsiteY79" fmla="*/ 3434265 h 3615460"/>
                <a:gd name="connsiteX80" fmla="*/ 674212 w 2701062"/>
                <a:gd name="connsiteY80" fmla="*/ 3430052 h 3615460"/>
                <a:gd name="connsiteX81" fmla="*/ 720564 w 2701062"/>
                <a:gd name="connsiteY81" fmla="*/ 3493259 h 3615460"/>
                <a:gd name="connsiteX82" fmla="*/ 754275 w 2701062"/>
                <a:gd name="connsiteY82" fmla="*/ 3484831 h 3615460"/>
                <a:gd name="connsiteX83" fmla="*/ 804840 w 2701062"/>
                <a:gd name="connsiteY83" fmla="*/ 3408982 h 3615460"/>
                <a:gd name="connsiteX84" fmla="*/ 842765 w 2701062"/>
                <a:gd name="connsiteY84" fmla="*/ 3375272 h 3615460"/>
                <a:gd name="connsiteX85" fmla="*/ 830123 w 2701062"/>
                <a:gd name="connsiteY85" fmla="*/ 3320492 h 3615460"/>
                <a:gd name="connsiteX86" fmla="*/ 859620 w 2701062"/>
                <a:gd name="connsiteY86" fmla="*/ 3265712 h 3615460"/>
                <a:gd name="connsiteX87" fmla="*/ 918614 w 2701062"/>
                <a:gd name="connsiteY87" fmla="*/ 3215147 h 3615460"/>
                <a:gd name="connsiteX88" fmla="*/ 1011318 w 2701062"/>
                <a:gd name="connsiteY88" fmla="*/ 3198291 h 3615460"/>
                <a:gd name="connsiteX89" fmla="*/ 1078739 w 2701062"/>
                <a:gd name="connsiteY89" fmla="*/ 3185650 h 3615460"/>
                <a:gd name="connsiteX90" fmla="*/ 1163016 w 2701062"/>
                <a:gd name="connsiteY90" fmla="*/ 3257285 h 3615460"/>
                <a:gd name="connsiteX91" fmla="*/ 1222009 w 2701062"/>
                <a:gd name="connsiteY91" fmla="*/ 3290995 h 3615460"/>
                <a:gd name="connsiteX92" fmla="*/ 1226223 w 2701062"/>
                <a:gd name="connsiteY92" fmla="*/ 3244643 h 3615460"/>
                <a:gd name="connsiteX93" fmla="*/ 1243078 w 2701062"/>
                <a:gd name="connsiteY93" fmla="*/ 3236216 h 3615460"/>
                <a:gd name="connsiteX94" fmla="*/ 1344210 w 2701062"/>
                <a:gd name="connsiteY94" fmla="*/ 3257285 h 3615460"/>
                <a:gd name="connsiteX95" fmla="*/ 1398990 w 2701062"/>
                <a:gd name="connsiteY95" fmla="*/ 3265712 h 3615460"/>
                <a:gd name="connsiteX96" fmla="*/ 1436914 w 2701062"/>
                <a:gd name="connsiteY96" fmla="*/ 3194077 h 3615460"/>
                <a:gd name="connsiteX97" fmla="*/ 1495908 w 2701062"/>
                <a:gd name="connsiteY97" fmla="*/ 3185650 h 3615460"/>
                <a:gd name="connsiteX98" fmla="*/ 1597040 w 2701062"/>
                <a:gd name="connsiteY98" fmla="*/ 3240429 h 3615460"/>
                <a:gd name="connsiteX99" fmla="*/ 1656033 w 2701062"/>
                <a:gd name="connsiteY99" fmla="*/ 3261499 h 3615460"/>
                <a:gd name="connsiteX100" fmla="*/ 1719240 w 2701062"/>
                <a:gd name="connsiteY100" fmla="*/ 3202505 h 3615460"/>
                <a:gd name="connsiteX101" fmla="*/ 1715027 w 2701062"/>
                <a:gd name="connsiteY101" fmla="*/ 3130870 h 3615460"/>
                <a:gd name="connsiteX102" fmla="*/ 1833014 w 2701062"/>
                <a:gd name="connsiteY102" fmla="*/ 3181436 h 3615460"/>
                <a:gd name="connsiteX103" fmla="*/ 1862510 w 2701062"/>
                <a:gd name="connsiteY103" fmla="*/ 3130870 h 3615460"/>
                <a:gd name="connsiteX104" fmla="*/ 2018422 w 2701062"/>
                <a:gd name="connsiteY104" fmla="*/ 3109801 h 3615460"/>
                <a:gd name="connsiteX105" fmla="*/ 2186975 w 2701062"/>
                <a:gd name="connsiteY105" fmla="*/ 3168794 h 3615460"/>
                <a:gd name="connsiteX106" fmla="*/ 2254396 w 2701062"/>
                <a:gd name="connsiteY106" fmla="*/ 3084518 h 3615460"/>
                <a:gd name="connsiteX107" fmla="*/ 2338673 w 2701062"/>
                <a:gd name="connsiteY107" fmla="*/ 3084518 h 3615460"/>
                <a:gd name="connsiteX108" fmla="*/ 2380811 w 2701062"/>
                <a:gd name="connsiteY108" fmla="*/ 3029738 h 3615460"/>
                <a:gd name="connsiteX109" fmla="*/ 2456660 w 2701062"/>
                <a:gd name="connsiteY109" fmla="*/ 3033952 h 3615460"/>
                <a:gd name="connsiteX110" fmla="*/ 2469301 w 2701062"/>
                <a:gd name="connsiteY110" fmla="*/ 2953889 h 3615460"/>
                <a:gd name="connsiteX111" fmla="*/ 2595716 w 2701062"/>
                <a:gd name="connsiteY111" fmla="*/ 2886468 h 3615460"/>
                <a:gd name="connsiteX112" fmla="*/ 2595716 w 2701062"/>
                <a:gd name="connsiteY112" fmla="*/ 2785336 h 3615460"/>
                <a:gd name="connsiteX113" fmla="*/ 2616785 w 2701062"/>
                <a:gd name="connsiteY113" fmla="*/ 2747412 h 3615460"/>
                <a:gd name="connsiteX114" fmla="*/ 2591502 w 2701062"/>
                <a:gd name="connsiteY114" fmla="*/ 2722129 h 3615460"/>
                <a:gd name="connsiteX115" fmla="*/ 2515653 w 2701062"/>
                <a:gd name="connsiteY115" fmla="*/ 2722129 h 3615460"/>
                <a:gd name="connsiteX116" fmla="*/ 2460874 w 2701062"/>
                <a:gd name="connsiteY116" fmla="*/ 2734770 h 3615460"/>
                <a:gd name="connsiteX117" fmla="*/ 2435591 w 2701062"/>
                <a:gd name="connsiteY117" fmla="*/ 2747412 h 3615460"/>
                <a:gd name="connsiteX118" fmla="*/ 2397666 w 2701062"/>
                <a:gd name="connsiteY118" fmla="*/ 2696846 h 3615460"/>
                <a:gd name="connsiteX119" fmla="*/ 2347100 w 2701062"/>
                <a:gd name="connsiteY119" fmla="*/ 2671563 h 3615460"/>
                <a:gd name="connsiteX120" fmla="*/ 2410308 w 2701062"/>
                <a:gd name="connsiteY120" fmla="*/ 2633639 h 3615460"/>
                <a:gd name="connsiteX121" fmla="*/ 2439804 w 2701062"/>
                <a:gd name="connsiteY121" fmla="*/ 2486155 h 3615460"/>
                <a:gd name="connsiteX122" fmla="*/ 2481943 w 2701062"/>
                <a:gd name="connsiteY122" fmla="*/ 2519865 h 3615460"/>
                <a:gd name="connsiteX123" fmla="*/ 2532509 w 2701062"/>
                <a:gd name="connsiteY123" fmla="*/ 2448230 h 3615460"/>
                <a:gd name="connsiteX124" fmla="*/ 2545150 w 2701062"/>
                <a:gd name="connsiteY124" fmla="*/ 2410306 h 3615460"/>
                <a:gd name="connsiteX125" fmla="*/ 2633640 w 2701062"/>
                <a:gd name="connsiteY125" fmla="*/ 2296533 h 3615460"/>
                <a:gd name="connsiteX126" fmla="*/ 2650496 w 2701062"/>
                <a:gd name="connsiteY126" fmla="*/ 2203829 h 3615460"/>
                <a:gd name="connsiteX127" fmla="*/ 2696848 w 2701062"/>
                <a:gd name="connsiteY127" fmla="*/ 2127980 h 3615460"/>
                <a:gd name="connsiteX128" fmla="*/ 2701062 w 2701062"/>
                <a:gd name="connsiteY128" fmla="*/ 1921502 h 3615460"/>
                <a:gd name="connsiteX129" fmla="*/ 2503012 w 2701062"/>
                <a:gd name="connsiteY129" fmla="*/ 1786660 h 3615460"/>
                <a:gd name="connsiteX130" fmla="*/ 2237541 w 2701062"/>
                <a:gd name="connsiteY130" fmla="*/ 1757163 h 3615460"/>
                <a:gd name="connsiteX131" fmla="*/ 2161692 w 2701062"/>
                <a:gd name="connsiteY131" fmla="*/ 1845653 h 3615460"/>
                <a:gd name="connsiteX132" fmla="*/ 2123768 w 2701062"/>
                <a:gd name="connsiteY132" fmla="*/ 1837226 h 3615460"/>
                <a:gd name="connsiteX133" fmla="*/ 2111126 w 2701062"/>
                <a:gd name="connsiteY133" fmla="*/ 1786660 h 3615460"/>
                <a:gd name="connsiteX134" fmla="*/ 2203830 w 2701062"/>
                <a:gd name="connsiteY134" fmla="*/ 1689742 h 3615460"/>
                <a:gd name="connsiteX135" fmla="*/ 2178547 w 2701062"/>
                <a:gd name="connsiteY135" fmla="*/ 1550686 h 3615460"/>
                <a:gd name="connsiteX136" fmla="*/ 2090057 w 2701062"/>
                <a:gd name="connsiteY136" fmla="*/ 1457982 h 3615460"/>
                <a:gd name="connsiteX137" fmla="*/ 2056346 w 2701062"/>
                <a:gd name="connsiteY137" fmla="*/ 1428485 h 3615460"/>
                <a:gd name="connsiteX138" fmla="*/ 2127981 w 2701062"/>
                <a:gd name="connsiteY138" fmla="*/ 1415843 h 3615460"/>
                <a:gd name="connsiteX139" fmla="*/ 2127981 w 2701062"/>
                <a:gd name="connsiteY139" fmla="*/ 1382133 h 3615460"/>
                <a:gd name="connsiteX140" fmla="*/ 2031063 w 2701062"/>
                <a:gd name="connsiteY140" fmla="*/ 1255718 h 3615460"/>
                <a:gd name="connsiteX141" fmla="*/ 2022636 w 2701062"/>
                <a:gd name="connsiteY141" fmla="*/ 1171441 h 3615460"/>
                <a:gd name="connsiteX142" fmla="*/ 2056346 w 2701062"/>
                <a:gd name="connsiteY142" fmla="*/ 1108234 h 3615460"/>
                <a:gd name="connsiteX143" fmla="*/ 2039491 w 2701062"/>
                <a:gd name="connsiteY143" fmla="*/ 1074523 h 3615460"/>
                <a:gd name="connsiteX144" fmla="*/ 1967856 w 2701062"/>
                <a:gd name="connsiteY144" fmla="*/ 1053454 h 3615460"/>
                <a:gd name="connsiteX145" fmla="*/ 1929932 w 2701062"/>
                <a:gd name="connsiteY145" fmla="*/ 994461 h 3615460"/>
                <a:gd name="connsiteX146" fmla="*/ 1934146 w 2701062"/>
                <a:gd name="connsiteY146" fmla="*/ 935467 h 3615460"/>
                <a:gd name="connsiteX147" fmla="*/ 1727668 w 2701062"/>
                <a:gd name="connsiteY147" fmla="*/ 817480 h 3615460"/>
                <a:gd name="connsiteX148" fmla="*/ 1664461 w 2701062"/>
                <a:gd name="connsiteY148" fmla="*/ 758487 h 3615460"/>
                <a:gd name="connsiteX149" fmla="*/ 1516977 w 2701062"/>
                <a:gd name="connsiteY149" fmla="*/ 219118 h 3615460"/>
                <a:gd name="connsiteX150" fmla="*/ 1436914 w 2701062"/>
                <a:gd name="connsiteY150" fmla="*/ 0 h 3615460"/>
                <a:gd name="connsiteX151" fmla="*/ 1382134 w 2701062"/>
                <a:gd name="connsiteY151" fmla="*/ 12640 h 3615460"/>
                <a:gd name="connsiteX0" fmla="*/ 1327354 w 2701062"/>
                <a:gd name="connsiteY0" fmla="*/ 75848 h 3615460"/>
                <a:gd name="connsiteX1" fmla="*/ 1264148 w 2701062"/>
                <a:gd name="connsiteY1" fmla="*/ 160124 h 3615460"/>
                <a:gd name="connsiteX2" fmla="*/ 1281002 w 2701062"/>
                <a:gd name="connsiteY2" fmla="*/ 299181 h 3615460"/>
                <a:gd name="connsiteX3" fmla="*/ 1141946 w 2701062"/>
                <a:gd name="connsiteY3" fmla="*/ 434023 h 3615460"/>
                <a:gd name="connsiteX4" fmla="*/ 876475 w 2701062"/>
                <a:gd name="connsiteY4" fmla="*/ 691065 h 3615460"/>
                <a:gd name="connsiteX5" fmla="*/ 804840 w 2701062"/>
                <a:gd name="connsiteY5" fmla="*/ 762700 h 3615460"/>
                <a:gd name="connsiteX6" fmla="*/ 813268 w 2701062"/>
                <a:gd name="connsiteY6" fmla="*/ 893329 h 3615460"/>
                <a:gd name="connsiteX7" fmla="*/ 897545 w 2701062"/>
                <a:gd name="connsiteY7" fmla="*/ 1061882 h 3615460"/>
                <a:gd name="connsiteX8" fmla="*/ 943897 w 2701062"/>
                <a:gd name="connsiteY8" fmla="*/ 1146158 h 3615460"/>
                <a:gd name="connsiteX9" fmla="*/ 964966 w 2701062"/>
                <a:gd name="connsiteY9" fmla="*/ 1175655 h 3615460"/>
                <a:gd name="connsiteX10" fmla="*/ 994463 w 2701062"/>
                <a:gd name="connsiteY10" fmla="*/ 1150372 h 3615460"/>
                <a:gd name="connsiteX11" fmla="*/ 1011318 w 2701062"/>
                <a:gd name="connsiteY11" fmla="*/ 1095593 h 3615460"/>
                <a:gd name="connsiteX12" fmla="*/ 1057670 w 2701062"/>
                <a:gd name="connsiteY12" fmla="*/ 1087165 h 3615460"/>
                <a:gd name="connsiteX13" fmla="*/ 1053456 w 2701062"/>
                <a:gd name="connsiteY13" fmla="*/ 1150372 h 3615460"/>
                <a:gd name="connsiteX14" fmla="*/ 1040815 w 2701062"/>
                <a:gd name="connsiteY14" fmla="*/ 1184083 h 3615460"/>
                <a:gd name="connsiteX15" fmla="*/ 1049242 w 2701062"/>
                <a:gd name="connsiteY15" fmla="*/ 1209366 h 3615460"/>
                <a:gd name="connsiteX16" fmla="*/ 986035 w 2701062"/>
                <a:gd name="connsiteY16" fmla="*/ 1226221 h 3615460"/>
                <a:gd name="connsiteX17" fmla="*/ 1011318 w 2701062"/>
                <a:gd name="connsiteY17" fmla="*/ 1361064 h 3615460"/>
                <a:gd name="connsiteX18" fmla="*/ 1049242 w 2701062"/>
                <a:gd name="connsiteY18" fmla="*/ 1356850 h 3615460"/>
                <a:gd name="connsiteX19" fmla="*/ 1040815 w 2701062"/>
                <a:gd name="connsiteY19" fmla="*/ 1420057 h 3615460"/>
                <a:gd name="connsiteX20" fmla="*/ 981821 w 2701062"/>
                <a:gd name="connsiteY20" fmla="*/ 1453768 h 3615460"/>
                <a:gd name="connsiteX21" fmla="*/ 931255 w 2701062"/>
                <a:gd name="connsiteY21" fmla="*/ 1453768 h 3615460"/>
                <a:gd name="connsiteX22" fmla="*/ 897545 w 2701062"/>
                <a:gd name="connsiteY22" fmla="*/ 1516975 h 3615460"/>
                <a:gd name="connsiteX23" fmla="*/ 901758 w 2701062"/>
                <a:gd name="connsiteY23" fmla="*/ 1546472 h 3615460"/>
                <a:gd name="connsiteX24" fmla="*/ 948110 w 2701062"/>
                <a:gd name="connsiteY24" fmla="*/ 1554899 h 3615460"/>
                <a:gd name="connsiteX25" fmla="*/ 931255 w 2701062"/>
                <a:gd name="connsiteY25" fmla="*/ 1592824 h 3615460"/>
                <a:gd name="connsiteX26" fmla="*/ 952324 w 2701062"/>
                <a:gd name="connsiteY26" fmla="*/ 1601252 h 3615460"/>
                <a:gd name="connsiteX27" fmla="*/ 1015532 w 2701062"/>
                <a:gd name="connsiteY27" fmla="*/ 1605465 h 3615460"/>
                <a:gd name="connsiteX28" fmla="*/ 1040815 w 2701062"/>
                <a:gd name="connsiteY28" fmla="*/ 1643390 h 3615460"/>
                <a:gd name="connsiteX29" fmla="*/ 1036601 w 2701062"/>
                <a:gd name="connsiteY29" fmla="*/ 1681314 h 3615460"/>
                <a:gd name="connsiteX30" fmla="*/ 1104022 w 2701062"/>
                <a:gd name="connsiteY30" fmla="*/ 1782446 h 3615460"/>
                <a:gd name="connsiteX31" fmla="*/ 1053456 w 2701062"/>
                <a:gd name="connsiteY31" fmla="*/ 1807729 h 3615460"/>
                <a:gd name="connsiteX32" fmla="*/ 998676 w 2701062"/>
                <a:gd name="connsiteY32" fmla="*/ 1803515 h 3615460"/>
                <a:gd name="connsiteX33" fmla="*/ 964966 w 2701062"/>
                <a:gd name="connsiteY33" fmla="*/ 1883578 h 3615460"/>
                <a:gd name="connsiteX34" fmla="*/ 1015532 w 2701062"/>
                <a:gd name="connsiteY34" fmla="*/ 1925716 h 3615460"/>
                <a:gd name="connsiteX35" fmla="*/ 994463 w 2701062"/>
                <a:gd name="connsiteY35" fmla="*/ 2022634 h 3615460"/>
                <a:gd name="connsiteX36" fmla="*/ 1019746 w 2701062"/>
                <a:gd name="connsiteY36" fmla="*/ 2056345 h 3615460"/>
                <a:gd name="connsiteX37" fmla="*/ 990249 w 2701062"/>
                <a:gd name="connsiteY37" fmla="*/ 2090055 h 3615460"/>
                <a:gd name="connsiteX38" fmla="*/ 948110 w 2701062"/>
                <a:gd name="connsiteY38" fmla="*/ 2090055 h 3615460"/>
                <a:gd name="connsiteX39" fmla="*/ 939683 w 2701062"/>
                <a:gd name="connsiteY39" fmla="*/ 2127980 h 3615460"/>
                <a:gd name="connsiteX40" fmla="*/ 994463 w 2701062"/>
                <a:gd name="connsiteY40" fmla="*/ 2174332 h 3615460"/>
                <a:gd name="connsiteX41" fmla="*/ 981821 w 2701062"/>
                <a:gd name="connsiteY41" fmla="*/ 2355526 h 3615460"/>
                <a:gd name="connsiteX42" fmla="*/ 1015532 w 2701062"/>
                <a:gd name="connsiteY42" fmla="*/ 2435589 h 3615460"/>
                <a:gd name="connsiteX43" fmla="*/ 1049242 w 2701062"/>
                <a:gd name="connsiteY43" fmla="*/ 2435589 h 3615460"/>
                <a:gd name="connsiteX44" fmla="*/ 1129305 w 2701062"/>
                <a:gd name="connsiteY44" fmla="*/ 2503010 h 3615460"/>
                <a:gd name="connsiteX45" fmla="*/ 1125091 w 2701062"/>
                <a:gd name="connsiteY45" fmla="*/ 2633639 h 3615460"/>
                <a:gd name="connsiteX46" fmla="*/ 1087167 w 2701062"/>
                <a:gd name="connsiteY46" fmla="*/ 2696846 h 3615460"/>
                <a:gd name="connsiteX47" fmla="*/ 1015532 w 2701062"/>
                <a:gd name="connsiteY47" fmla="*/ 2764267 h 3615460"/>
                <a:gd name="connsiteX48" fmla="*/ 1007104 w 2701062"/>
                <a:gd name="connsiteY48" fmla="*/ 2852758 h 3615460"/>
                <a:gd name="connsiteX49" fmla="*/ 922828 w 2701062"/>
                <a:gd name="connsiteY49" fmla="*/ 2865399 h 3615460"/>
                <a:gd name="connsiteX50" fmla="*/ 868048 w 2701062"/>
                <a:gd name="connsiteY50" fmla="*/ 2869613 h 3615460"/>
                <a:gd name="connsiteX51" fmla="*/ 830123 w 2701062"/>
                <a:gd name="connsiteY51" fmla="*/ 2831688 h 3615460"/>
                <a:gd name="connsiteX52" fmla="*/ 577294 w 2701062"/>
                <a:gd name="connsiteY52" fmla="*/ 2852758 h 3615460"/>
                <a:gd name="connsiteX53" fmla="*/ 568866 w 2701062"/>
                <a:gd name="connsiteY53" fmla="*/ 2958103 h 3615460"/>
                <a:gd name="connsiteX54" fmla="*/ 514087 w 2701062"/>
                <a:gd name="connsiteY54" fmla="*/ 2991814 h 3615460"/>
                <a:gd name="connsiteX55" fmla="*/ 484590 w 2701062"/>
                <a:gd name="connsiteY55" fmla="*/ 2958103 h 3615460"/>
                <a:gd name="connsiteX56" fmla="*/ 446665 w 2701062"/>
                <a:gd name="connsiteY56" fmla="*/ 2983386 h 3615460"/>
                <a:gd name="connsiteX57" fmla="*/ 434024 w 2701062"/>
                <a:gd name="connsiteY57" fmla="*/ 3101373 h 3615460"/>
                <a:gd name="connsiteX58" fmla="*/ 328678 w 2701062"/>
                <a:gd name="connsiteY58" fmla="*/ 3227788 h 3615460"/>
                <a:gd name="connsiteX59" fmla="*/ 273899 w 2701062"/>
                <a:gd name="connsiteY59" fmla="*/ 3240429 h 3615460"/>
                <a:gd name="connsiteX60" fmla="*/ 252829 w 2701062"/>
                <a:gd name="connsiteY60" fmla="*/ 3290995 h 3615460"/>
                <a:gd name="connsiteX61" fmla="*/ 202263 w 2701062"/>
                <a:gd name="connsiteY61" fmla="*/ 3371058 h 3615460"/>
                <a:gd name="connsiteX62" fmla="*/ 164339 w 2701062"/>
                <a:gd name="connsiteY62" fmla="*/ 3400555 h 3615460"/>
                <a:gd name="connsiteX63" fmla="*/ 75849 w 2701062"/>
                <a:gd name="connsiteY63" fmla="*/ 3430052 h 3615460"/>
                <a:gd name="connsiteX64" fmla="*/ 12641 w 2701062"/>
                <a:gd name="connsiteY64" fmla="*/ 3463762 h 3615460"/>
                <a:gd name="connsiteX65" fmla="*/ 0 w 2701062"/>
                <a:gd name="connsiteY65" fmla="*/ 3543825 h 3615460"/>
                <a:gd name="connsiteX66" fmla="*/ 63207 w 2701062"/>
                <a:gd name="connsiteY66" fmla="*/ 3539611 h 3615460"/>
                <a:gd name="connsiteX67" fmla="*/ 96918 w 2701062"/>
                <a:gd name="connsiteY67" fmla="*/ 3493259 h 3615460"/>
                <a:gd name="connsiteX68" fmla="*/ 155911 w 2701062"/>
                <a:gd name="connsiteY68" fmla="*/ 3535397 h 3615460"/>
                <a:gd name="connsiteX69" fmla="*/ 164339 w 2701062"/>
                <a:gd name="connsiteY69" fmla="*/ 3615460 h 3615460"/>
                <a:gd name="connsiteX70" fmla="*/ 265471 w 2701062"/>
                <a:gd name="connsiteY70" fmla="*/ 3564894 h 3615460"/>
                <a:gd name="connsiteX71" fmla="*/ 252829 w 2701062"/>
                <a:gd name="connsiteY71" fmla="*/ 3505900 h 3615460"/>
                <a:gd name="connsiteX72" fmla="*/ 307609 w 2701062"/>
                <a:gd name="connsiteY72" fmla="*/ 3463762 h 3615460"/>
                <a:gd name="connsiteX73" fmla="*/ 345534 w 2701062"/>
                <a:gd name="connsiteY73" fmla="*/ 3425838 h 3615460"/>
                <a:gd name="connsiteX74" fmla="*/ 375030 w 2701062"/>
                <a:gd name="connsiteY74" fmla="*/ 3383699 h 3615460"/>
                <a:gd name="connsiteX75" fmla="*/ 497231 w 2701062"/>
                <a:gd name="connsiteY75" fmla="*/ 3392127 h 3615460"/>
                <a:gd name="connsiteX76" fmla="*/ 497231 w 2701062"/>
                <a:gd name="connsiteY76" fmla="*/ 3392127 h 3615460"/>
                <a:gd name="connsiteX77" fmla="*/ 568866 w 2701062"/>
                <a:gd name="connsiteY77" fmla="*/ 3425838 h 3615460"/>
                <a:gd name="connsiteX78" fmla="*/ 589935 w 2701062"/>
                <a:gd name="connsiteY78" fmla="*/ 3404769 h 3615460"/>
                <a:gd name="connsiteX79" fmla="*/ 648929 w 2701062"/>
                <a:gd name="connsiteY79" fmla="*/ 3434265 h 3615460"/>
                <a:gd name="connsiteX80" fmla="*/ 674212 w 2701062"/>
                <a:gd name="connsiteY80" fmla="*/ 3430052 h 3615460"/>
                <a:gd name="connsiteX81" fmla="*/ 720564 w 2701062"/>
                <a:gd name="connsiteY81" fmla="*/ 3493259 h 3615460"/>
                <a:gd name="connsiteX82" fmla="*/ 754275 w 2701062"/>
                <a:gd name="connsiteY82" fmla="*/ 3484831 h 3615460"/>
                <a:gd name="connsiteX83" fmla="*/ 804840 w 2701062"/>
                <a:gd name="connsiteY83" fmla="*/ 3408982 h 3615460"/>
                <a:gd name="connsiteX84" fmla="*/ 842765 w 2701062"/>
                <a:gd name="connsiteY84" fmla="*/ 3375272 h 3615460"/>
                <a:gd name="connsiteX85" fmla="*/ 830123 w 2701062"/>
                <a:gd name="connsiteY85" fmla="*/ 3320492 h 3615460"/>
                <a:gd name="connsiteX86" fmla="*/ 859620 w 2701062"/>
                <a:gd name="connsiteY86" fmla="*/ 3265712 h 3615460"/>
                <a:gd name="connsiteX87" fmla="*/ 918614 w 2701062"/>
                <a:gd name="connsiteY87" fmla="*/ 3215147 h 3615460"/>
                <a:gd name="connsiteX88" fmla="*/ 1011318 w 2701062"/>
                <a:gd name="connsiteY88" fmla="*/ 3198291 h 3615460"/>
                <a:gd name="connsiteX89" fmla="*/ 1078739 w 2701062"/>
                <a:gd name="connsiteY89" fmla="*/ 3185650 h 3615460"/>
                <a:gd name="connsiteX90" fmla="*/ 1163016 w 2701062"/>
                <a:gd name="connsiteY90" fmla="*/ 3257285 h 3615460"/>
                <a:gd name="connsiteX91" fmla="*/ 1222009 w 2701062"/>
                <a:gd name="connsiteY91" fmla="*/ 3290995 h 3615460"/>
                <a:gd name="connsiteX92" fmla="*/ 1226223 w 2701062"/>
                <a:gd name="connsiteY92" fmla="*/ 3244643 h 3615460"/>
                <a:gd name="connsiteX93" fmla="*/ 1243078 w 2701062"/>
                <a:gd name="connsiteY93" fmla="*/ 3236216 h 3615460"/>
                <a:gd name="connsiteX94" fmla="*/ 1344210 w 2701062"/>
                <a:gd name="connsiteY94" fmla="*/ 3257285 h 3615460"/>
                <a:gd name="connsiteX95" fmla="*/ 1398990 w 2701062"/>
                <a:gd name="connsiteY95" fmla="*/ 3265712 h 3615460"/>
                <a:gd name="connsiteX96" fmla="*/ 1436914 w 2701062"/>
                <a:gd name="connsiteY96" fmla="*/ 3194077 h 3615460"/>
                <a:gd name="connsiteX97" fmla="*/ 1495908 w 2701062"/>
                <a:gd name="connsiteY97" fmla="*/ 3185650 h 3615460"/>
                <a:gd name="connsiteX98" fmla="*/ 1597040 w 2701062"/>
                <a:gd name="connsiteY98" fmla="*/ 3240429 h 3615460"/>
                <a:gd name="connsiteX99" fmla="*/ 1656033 w 2701062"/>
                <a:gd name="connsiteY99" fmla="*/ 3261499 h 3615460"/>
                <a:gd name="connsiteX100" fmla="*/ 1719240 w 2701062"/>
                <a:gd name="connsiteY100" fmla="*/ 3202505 h 3615460"/>
                <a:gd name="connsiteX101" fmla="*/ 1715027 w 2701062"/>
                <a:gd name="connsiteY101" fmla="*/ 3130870 h 3615460"/>
                <a:gd name="connsiteX102" fmla="*/ 1833014 w 2701062"/>
                <a:gd name="connsiteY102" fmla="*/ 3181436 h 3615460"/>
                <a:gd name="connsiteX103" fmla="*/ 1862510 w 2701062"/>
                <a:gd name="connsiteY103" fmla="*/ 3130870 h 3615460"/>
                <a:gd name="connsiteX104" fmla="*/ 2018422 w 2701062"/>
                <a:gd name="connsiteY104" fmla="*/ 3109801 h 3615460"/>
                <a:gd name="connsiteX105" fmla="*/ 2186975 w 2701062"/>
                <a:gd name="connsiteY105" fmla="*/ 3168794 h 3615460"/>
                <a:gd name="connsiteX106" fmla="*/ 2254396 w 2701062"/>
                <a:gd name="connsiteY106" fmla="*/ 3084518 h 3615460"/>
                <a:gd name="connsiteX107" fmla="*/ 2338673 w 2701062"/>
                <a:gd name="connsiteY107" fmla="*/ 3084518 h 3615460"/>
                <a:gd name="connsiteX108" fmla="*/ 2380811 w 2701062"/>
                <a:gd name="connsiteY108" fmla="*/ 3029738 h 3615460"/>
                <a:gd name="connsiteX109" fmla="*/ 2456660 w 2701062"/>
                <a:gd name="connsiteY109" fmla="*/ 3033952 h 3615460"/>
                <a:gd name="connsiteX110" fmla="*/ 2469301 w 2701062"/>
                <a:gd name="connsiteY110" fmla="*/ 2953889 h 3615460"/>
                <a:gd name="connsiteX111" fmla="*/ 2595716 w 2701062"/>
                <a:gd name="connsiteY111" fmla="*/ 2886468 h 3615460"/>
                <a:gd name="connsiteX112" fmla="*/ 2595716 w 2701062"/>
                <a:gd name="connsiteY112" fmla="*/ 2785336 h 3615460"/>
                <a:gd name="connsiteX113" fmla="*/ 2616785 w 2701062"/>
                <a:gd name="connsiteY113" fmla="*/ 2747412 h 3615460"/>
                <a:gd name="connsiteX114" fmla="*/ 2591502 w 2701062"/>
                <a:gd name="connsiteY114" fmla="*/ 2722129 h 3615460"/>
                <a:gd name="connsiteX115" fmla="*/ 2515653 w 2701062"/>
                <a:gd name="connsiteY115" fmla="*/ 2722129 h 3615460"/>
                <a:gd name="connsiteX116" fmla="*/ 2460874 w 2701062"/>
                <a:gd name="connsiteY116" fmla="*/ 2734770 h 3615460"/>
                <a:gd name="connsiteX117" fmla="*/ 2435591 w 2701062"/>
                <a:gd name="connsiteY117" fmla="*/ 2747412 h 3615460"/>
                <a:gd name="connsiteX118" fmla="*/ 2397666 w 2701062"/>
                <a:gd name="connsiteY118" fmla="*/ 2696846 h 3615460"/>
                <a:gd name="connsiteX119" fmla="*/ 2347100 w 2701062"/>
                <a:gd name="connsiteY119" fmla="*/ 2671563 h 3615460"/>
                <a:gd name="connsiteX120" fmla="*/ 2410308 w 2701062"/>
                <a:gd name="connsiteY120" fmla="*/ 2633639 h 3615460"/>
                <a:gd name="connsiteX121" fmla="*/ 2439804 w 2701062"/>
                <a:gd name="connsiteY121" fmla="*/ 2486155 h 3615460"/>
                <a:gd name="connsiteX122" fmla="*/ 2481943 w 2701062"/>
                <a:gd name="connsiteY122" fmla="*/ 2519865 h 3615460"/>
                <a:gd name="connsiteX123" fmla="*/ 2532509 w 2701062"/>
                <a:gd name="connsiteY123" fmla="*/ 2448230 h 3615460"/>
                <a:gd name="connsiteX124" fmla="*/ 2545150 w 2701062"/>
                <a:gd name="connsiteY124" fmla="*/ 2410306 h 3615460"/>
                <a:gd name="connsiteX125" fmla="*/ 2633640 w 2701062"/>
                <a:gd name="connsiteY125" fmla="*/ 2296533 h 3615460"/>
                <a:gd name="connsiteX126" fmla="*/ 2650496 w 2701062"/>
                <a:gd name="connsiteY126" fmla="*/ 2203829 h 3615460"/>
                <a:gd name="connsiteX127" fmla="*/ 2696848 w 2701062"/>
                <a:gd name="connsiteY127" fmla="*/ 2127980 h 3615460"/>
                <a:gd name="connsiteX128" fmla="*/ 2701062 w 2701062"/>
                <a:gd name="connsiteY128" fmla="*/ 1921502 h 3615460"/>
                <a:gd name="connsiteX129" fmla="*/ 2503012 w 2701062"/>
                <a:gd name="connsiteY129" fmla="*/ 1786660 h 3615460"/>
                <a:gd name="connsiteX130" fmla="*/ 2237541 w 2701062"/>
                <a:gd name="connsiteY130" fmla="*/ 1757163 h 3615460"/>
                <a:gd name="connsiteX131" fmla="*/ 2161692 w 2701062"/>
                <a:gd name="connsiteY131" fmla="*/ 1845653 h 3615460"/>
                <a:gd name="connsiteX132" fmla="*/ 2123768 w 2701062"/>
                <a:gd name="connsiteY132" fmla="*/ 1837226 h 3615460"/>
                <a:gd name="connsiteX133" fmla="*/ 2111126 w 2701062"/>
                <a:gd name="connsiteY133" fmla="*/ 1786660 h 3615460"/>
                <a:gd name="connsiteX134" fmla="*/ 2203830 w 2701062"/>
                <a:gd name="connsiteY134" fmla="*/ 1689742 h 3615460"/>
                <a:gd name="connsiteX135" fmla="*/ 2178547 w 2701062"/>
                <a:gd name="connsiteY135" fmla="*/ 1550686 h 3615460"/>
                <a:gd name="connsiteX136" fmla="*/ 2090057 w 2701062"/>
                <a:gd name="connsiteY136" fmla="*/ 1457982 h 3615460"/>
                <a:gd name="connsiteX137" fmla="*/ 2056346 w 2701062"/>
                <a:gd name="connsiteY137" fmla="*/ 1428485 h 3615460"/>
                <a:gd name="connsiteX138" fmla="*/ 2127981 w 2701062"/>
                <a:gd name="connsiteY138" fmla="*/ 1415843 h 3615460"/>
                <a:gd name="connsiteX139" fmla="*/ 2127981 w 2701062"/>
                <a:gd name="connsiteY139" fmla="*/ 1382133 h 3615460"/>
                <a:gd name="connsiteX140" fmla="*/ 2031063 w 2701062"/>
                <a:gd name="connsiteY140" fmla="*/ 1255718 h 3615460"/>
                <a:gd name="connsiteX141" fmla="*/ 2022636 w 2701062"/>
                <a:gd name="connsiteY141" fmla="*/ 1171441 h 3615460"/>
                <a:gd name="connsiteX142" fmla="*/ 2056346 w 2701062"/>
                <a:gd name="connsiteY142" fmla="*/ 1108234 h 3615460"/>
                <a:gd name="connsiteX143" fmla="*/ 2039491 w 2701062"/>
                <a:gd name="connsiteY143" fmla="*/ 1074523 h 3615460"/>
                <a:gd name="connsiteX144" fmla="*/ 1967856 w 2701062"/>
                <a:gd name="connsiteY144" fmla="*/ 1053454 h 3615460"/>
                <a:gd name="connsiteX145" fmla="*/ 1929932 w 2701062"/>
                <a:gd name="connsiteY145" fmla="*/ 994461 h 3615460"/>
                <a:gd name="connsiteX146" fmla="*/ 1934146 w 2701062"/>
                <a:gd name="connsiteY146" fmla="*/ 935467 h 3615460"/>
                <a:gd name="connsiteX147" fmla="*/ 1727668 w 2701062"/>
                <a:gd name="connsiteY147" fmla="*/ 817480 h 3615460"/>
                <a:gd name="connsiteX148" fmla="*/ 1664461 w 2701062"/>
                <a:gd name="connsiteY148" fmla="*/ 758487 h 3615460"/>
                <a:gd name="connsiteX149" fmla="*/ 1516977 w 2701062"/>
                <a:gd name="connsiteY149" fmla="*/ 219118 h 3615460"/>
                <a:gd name="connsiteX150" fmla="*/ 1436914 w 2701062"/>
                <a:gd name="connsiteY150" fmla="*/ 0 h 3615460"/>
                <a:gd name="connsiteX151" fmla="*/ 1327354 w 2701062"/>
                <a:gd name="connsiteY151" fmla="*/ 75848 h 3615460"/>
                <a:gd name="connsiteX0" fmla="*/ 1327354 w 2701062"/>
                <a:gd name="connsiteY0" fmla="*/ 0 h 3539612"/>
                <a:gd name="connsiteX1" fmla="*/ 1264148 w 2701062"/>
                <a:gd name="connsiteY1" fmla="*/ 84276 h 3539612"/>
                <a:gd name="connsiteX2" fmla="*/ 1281002 w 2701062"/>
                <a:gd name="connsiteY2" fmla="*/ 223333 h 3539612"/>
                <a:gd name="connsiteX3" fmla="*/ 1141946 w 2701062"/>
                <a:gd name="connsiteY3" fmla="*/ 358175 h 3539612"/>
                <a:gd name="connsiteX4" fmla="*/ 876475 w 2701062"/>
                <a:gd name="connsiteY4" fmla="*/ 615217 h 3539612"/>
                <a:gd name="connsiteX5" fmla="*/ 804840 w 2701062"/>
                <a:gd name="connsiteY5" fmla="*/ 686852 h 3539612"/>
                <a:gd name="connsiteX6" fmla="*/ 813268 w 2701062"/>
                <a:gd name="connsiteY6" fmla="*/ 817481 h 3539612"/>
                <a:gd name="connsiteX7" fmla="*/ 897545 w 2701062"/>
                <a:gd name="connsiteY7" fmla="*/ 986034 h 3539612"/>
                <a:gd name="connsiteX8" fmla="*/ 943897 w 2701062"/>
                <a:gd name="connsiteY8" fmla="*/ 1070310 h 3539612"/>
                <a:gd name="connsiteX9" fmla="*/ 964966 w 2701062"/>
                <a:gd name="connsiteY9" fmla="*/ 1099807 h 3539612"/>
                <a:gd name="connsiteX10" fmla="*/ 994463 w 2701062"/>
                <a:gd name="connsiteY10" fmla="*/ 1074524 h 3539612"/>
                <a:gd name="connsiteX11" fmla="*/ 1011318 w 2701062"/>
                <a:gd name="connsiteY11" fmla="*/ 1019745 h 3539612"/>
                <a:gd name="connsiteX12" fmla="*/ 1057670 w 2701062"/>
                <a:gd name="connsiteY12" fmla="*/ 1011317 h 3539612"/>
                <a:gd name="connsiteX13" fmla="*/ 1053456 w 2701062"/>
                <a:gd name="connsiteY13" fmla="*/ 1074524 h 3539612"/>
                <a:gd name="connsiteX14" fmla="*/ 1040815 w 2701062"/>
                <a:gd name="connsiteY14" fmla="*/ 1108235 h 3539612"/>
                <a:gd name="connsiteX15" fmla="*/ 1049242 w 2701062"/>
                <a:gd name="connsiteY15" fmla="*/ 1133518 h 3539612"/>
                <a:gd name="connsiteX16" fmla="*/ 986035 w 2701062"/>
                <a:gd name="connsiteY16" fmla="*/ 1150373 h 3539612"/>
                <a:gd name="connsiteX17" fmla="*/ 1011318 w 2701062"/>
                <a:gd name="connsiteY17" fmla="*/ 1285216 h 3539612"/>
                <a:gd name="connsiteX18" fmla="*/ 1049242 w 2701062"/>
                <a:gd name="connsiteY18" fmla="*/ 1281002 h 3539612"/>
                <a:gd name="connsiteX19" fmla="*/ 1040815 w 2701062"/>
                <a:gd name="connsiteY19" fmla="*/ 1344209 h 3539612"/>
                <a:gd name="connsiteX20" fmla="*/ 981821 w 2701062"/>
                <a:gd name="connsiteY20" fmla="*/ 1377920 h 3539612"/>
                <a:gd name="connsiteX21" fmla="*/ 931255 w 2701062"/>
                <a:gd name="connsiteY21" fmla="*/ 1377920 h 3539612"/>
                <a:gd name="connsiteX22" fmla="*/ 897545 w 2701062"/>
                <a:gd name="connsiteY22" fmla="*/ 1441127 h 3539612"/>
                <a:gd name="connsiteX23" fmla="*/ 901758 w 2701062"/>
                <a:gd name="connsiteY23" fmla="*/ 1470624 h 3539612"/>
                <a:gd name="connsiteX24" fmla="*/ 948110 w 2701062"/>
                <a:gd name="connsiteY24" fmla="*/ 1479051 h 3539612"/>
                <a:gd name="connsiteX25" fmla="*/ 931255 w 2701062"/>
                <a:gd name="connsiteY25" fmla="*/ 1516976 h 3539612"/>
                <a:gd name="connsiteX26" fmla="*/ 952324 w 2701062"/>
                <a:gd name="connsiteY26" fmla="*/ 1525404 h 3539612"/>
                <a:gd name="connsiteX27" fmla="*/ 1015532 w 2701062"/>
                <a:gd name="connsiteY27" fmla="*/ 1529617 h 3539612"/>
                <a:gd name="connsiteX28" fmla="*/ 1040815 w 2701062"/>
                <a:gd name="connsiteY28" fmla="*/ 1567542 h 3539612"/>
                <a:gd name="connsiteX29" fmla="*/ 1036601 w 2701062"/>
                <a:gd name="connsiteY29" fmla="*/ 1605466 h 3539612"/>
                <a:gd name="connsiteX30" fmla="*/ 1104022 w 2701062"/>
                <a:gd name="connsiteY30" fmla="*/ 1706598 h 3539612"/>
                <a:gd name="connsiteX31" fmla="*/ 1053456 w 2701062"/>
                <a:gd name="connsiteY31" fmla="*/ 1731881 h 3539612"/>
                <a:gd name="connsiteX32" fmla="*/ 998676 w 2701062"/>
                <a:gd name="connsiteY32" fmla="*/ 1727667 h 3539612"/>
                <a:gd name="connsiteX33" fmla="*/ 964966 w 2701062"/>
                <a:gd name="connsiteY33" fmla="*/ 1807730 h 3539612"/>
                <a:gd name="connsiteX34" fmla="*/ 1015532 w 2701062"/>
                <a:gd name="connsiteY34" fmla="*/ 1849868 h 3539612"/>
                <a:gd name="connsiteX35" fmla="*/ 994463 w 2701062"/>
                <a:gd name="connsiteY35" fmla="*/ 1946786 h 3539612"/>
                <a:gd name="connsiteX36" fmla="*/ 1019746 w 2701062"/>
                <a:gd name="connsiteY36" fmla="*/ 1980497 h 3539612"/>
                <a:gd name="connsiteX37" fmla="*/ 990249 w 2701062"/>
                <a:gd name="connsiteY37" fmla="*/ 2014207 h 3539612"/>
                <a:gd name="connsiteX38" fmla="*/ 948110 w 2701062"/>
                <a:gd name="connsiteY38" fmla="*/ 2014207 h 3539612"/>
                <a:gd name="connsiteX39" fmla="*/ 939683 w 2701062"/>
                <a:gd name="connsiteY39" fmla="*/ 2052132 h 3539612"/>
                <a:gd name="connsiteX40" fmla="*/ 994463 w 2701062"/>
                <a:gd name="connsiteY40" fmla="*/ 2098484 h 3539612"/>
                <a:gd name="connsiteX41" fmla="*/ 981821 w 2701062"/>
                <a:gd name="connsiteY41" fmla="*/ 2279678 h 3539612"/>
                <a:gd name="connsiteX42" fmla="*/ 1015532 w 2701062"/>
                <a:gd name="connsiteY42" fmla="*/ 2359741 h 3539612"/>
                <a:gd name="connsiteX43" fmla="*/ 1049242 w 2701062"/>
                <a:gd name="connsiteY43" fmla="*/ 2359741 h 3539612"/>
                <a:gd name="connsiteX44" fmla="*/ 1129305 w 2701062"/>
                <a:gd name="connsiteY44" fmla="*/ 2427162 h 3539612"/>
                <a:gd name="connsiteX45" fmla="*/ 1125091 w 2701062"/>
                <a:gd name="connsiteY45" fmla="*/ 2557791 h 3539612"/>
                <a:gd name="connsiteX46" fmla="*/ 1087167 w 2701062"/>
                <a:gd name="connsiteY46" fmla="*/ 2620998 h 3539612"/>
                <a:gd name="connsiteX47" fmla="*/ 1015532 w 2701062"/>
                <a:gd name="connsiteY47" fmla="*/ 2688419 h 3539612"/>
                <a:gd name="connsiteX48" fmla="*/ 1007104 w 2701062"/>
                <a:gd name="connsiteY48" fmla="*/ 2776910 h 3539612"/>
                <a:gd name="connsiteX49" fmla="*/ 922828 w 2701062"/>
                <a:gd name="connsiteY49" fmla="*/ 2789551 h 3539612"/>
                <a:gd name="connsiteX50" fmla="*/ 868048 w 2701062"/>
                <a:gd name="connsiteY50" fmla="*/ 2793765 h 3539612"/>
                <a:gd name="connsiteX51" fmla="*/ 830123 w 2701062"/>
                <a:gd name="connsiteY51" fmla="*/ 2755840 h 3539612"/>
                <a:gd name="connsiteX52" fmla="*/ 577294 w 2701062"/>
                <a:gd name="connsiteY52" fmla="*/ 2776910 h 3539612"/>
                <a:gd name="connsiteX53" fmla="*/ 568866 w 2701062"/>
                <a:gd name="connsiteY53" fmla="*/ 2882255 h 3539612"/>
                <a:gd name="connsiteX54" fmla="*/ 514087 w 2701062"/>
                <a:gd name="connsiteY54" fmla="*/ 2915966 h 3539612"/>
                <a:gd name="connsiteX55" fmla="*/ 484590 w 2701062"/>
                <a:gd name="connsiteY55" fmla="*/ 2882255 h 3539612"/>
                <a:gd name="connsiteX56" fmla="*/ 446665 w 2701062"/>
                <a:gd name="connsiteY56" fmla="*/ 2907538 h 3539612"/>
                <a:gd name="connsiteX57" fmla="*/ 434024 w 2701062"/>
                <a:gd name="connsiteY57" fmla="*/ 3025525 h 3539612"/>
                <a:gd name="connsiteX58" fmla="*/ 328678 w 2701062"/>
                <a:gd name="connsiteY58" fmla="*/ 3151940 h 3539612"/>
                <a:gd name="connsiteX59" fmla="*/ 273899 w 2701062"/>
                <a:gd name="connsiteY59" fmla="*/ 3164581 h 3539612"/>
                <a:gd name="connsiteX60" fmla="*/ 252829 w 2701062"/>
                <a:gd name="connsiteY60" fmla="*/ 3215147 h 3539612"/>
                <a:gd name="connsiteX61" fmla="*/ 202263 w 2701062"/>
                <a:gd name="connsiteY61" fmla="*/ 3295210 h 3539612"/>
                <a:gd name="connsiteX62" fmla="*/ 164339 w 2701062"/>
                <a:gd name="connsiteY62" fmla="*/ 3324707 h 3539612"/>
                <a:gd name="connsiteX63" fmla="*/ 75849 w 2701062"/>
                <a:gd name="connsiteY63" fmla="*/ 3354204 h 3539612"/>
                <a:gd name="connsiteX64" fmla="*/ 12641 w 2701062"/>
                <a:gd name="connsiteY64" fmla="*/ 3387914 h 3539612"/>
                <a:gd name="connsiteX65" fmla="*/ 0 w 2701062"/>
                <a:gd name="connsiteY65" fmla="*/ 3467977 h 3539612"/>
                <a:gd name="connsiteX66" fmla="*/ 63207 w 2701062"/>
                <a:gd name="connsiteY66" fmla="*/ 3463763 h 3539612"/>
                <a:gd name="connsiteX67" fmla="*/ 96918 w 2701062"/>
                <a:gd name="connsiteY67" fmla="*/ 3417411 h 3539612"/>
                <a:gd name="connsiteX68" fmla="*/ 155911 w 2701062"/>
                <a:gd name="connsiteY68" fmla="*/ 3459549 h 3539612"/>
                <a:gd name="connsiteX69" fmla="*/ 164339 w 2701062"/>
                <a:gd name="connsiteY69" fmla="*/ 3539612 h 3539612"/>
                <a:gd name="connsiteX70" fmla="*/ 265471 w 2701062"/>
                <a:gd name="connsiteY70" fmla="*/ 3489046 h 3539612"/>
                <a:gd name="connsiteX71" fmla="*/ 252829 w 2701062"/>
                <a:gd name="connsiteY71" fmla="*/ 3430052 h 3539612"/>
                <a:gd name="connsiteX72" fmla="*/ 307609 w 2701062"/>
                <a:gd name="connsiteY72" fmla="*/ 3387914 h 3539612"/>
                <a:gd name="connsiteX73" fmla="*/ 345534 w 2701062"/>
                <a:gd name="connsiteY73" fmla="*/ 3349990 h 3539612"/>
                <a:gd name="connsiteX74" fmla="*/ 375030 w 2701062"/>
                <a:gd name="connsiteY74" fmla="*/ 3307851 h 3539612"/>
                <a:gd name="connsiteX75" fmla="*/ 497231 w 2701062"/>
                <a:gd name="connsiteY75" fmla="*/ 3316279 h 3539612"/>
                <a:gd name="connsiteX76" fmla="*/ 497231 w 2701062"/>
                <a:gd name="connsiteY76" fmla="*/ 3316279 h 3539612"/>
                <a:gd name="connsiteX77" fmla="*/ 568866 w 2701062"/>
                <a:gd name="connsiteY77" fmla="*/ 3349990 h 3539612"/>
                <a:gd name="connsiteX78" fmla="*/ 589935 w 2701062"/>
                <a:gd name="connsiteY78" fmla="*/ 3328921 h 3539612"/>
                <a:gd name="connsiteX79" fmla="*/ 648929 w 2701062"/>
                <a:gd name="connsiteY79" fmla="*/ 3358417 h 3539612"/>
                <a:gd name="connsiteX80" fmla="*/ 674212 w 2701062"/>
                <a:gd name="connsiteY80" fmla="*/ 3354204 h 3539612"/>
                <a:gd name="connsiteX81" fmla="*/ 720564 w 2701062"/>
                <a:gd name="connsiteY81" fmla="*/ 3417411 h 3539612"/>
                <a:gd name="connsiteX82" fmla="*/ 754275 w 2701062"/>
                <a:gd name="connsiteY82" fmla="*/ 3408983 h 3539612"/>
                <a:gd name="connsiteX83" fmla="*/ 804840 w 2701062"/>
                <a:gd name="connsiteY83" fmla="*/ 3333134 h 3539612"/>
                <a:gd name="connsiteX84" fmla="*/ 842765 w 2701062"/>
                <a:gd name="connsiteY84" fmla="*/ 3299424 h 3539612"/>
                <a:gd name="connsiteX85" fmla="*/ 830123 w 2701062"/>
                <a:gd name="connsiteY85" fmla="*/ 3244644 h 3539612"/>
                <a:gd name="connsiteX86" fmla="*/ 859620 w 2701062"/>
                <a:gd name="connsiteY86" fmla="*/ 3189864 h 3539612"/>
                <a:gd name="connsiteX87" fmla="*/ 918614 w 2701062"/>
                <a:gd name="connsiteY87" fmla="*/ 3139299 h 3539612"/>
                <a:gd name="connsiteX88" fmla="*/ 1011318 w 2701062"/>
                <a:gd name="connsiteY88" fmla="*/ 3122443 h 3539612"/>
                <a:gd name="connsiteX89" fmla="*/ 1078739 w 2701062"/>
                <a:gd name="connsiteY89" fmla="*/ 3109802 h 3539612"/>
                <a:gd name="connsiteX90" fmla="*/ 1163016 w 2701062"/>
                <a:gd name="connsiteY90" fmla="*/ 3181437 h 3539612"/>
                <a:gd name="connsiteX91" fmla="*/ 1222009 w 2701062"/>
                <a:gd name="connsiteY91" fmla="*/ 3215147 h 3539612"/>
                <a:gd name="connsiteX92" fmla="*/ 1226223 w 2701062"/>
                <a:gd name="connsiteY92" fmla="*/ 3168795 h 3539612"/>
                <a:gd name="connsiteX93" fmla="*/ 1243078 w 2701062"/>
                <a:gd name="connsiteY93" fmla="*/ 3160368 h 3539612"/>
                <a:gd name="connsiteX94" fmla="*/ 1344210 w 2701062"/>
                <a:gd name="connsiteY94" fmla="*/ 3181437 h 3539612"/>
                <a:gd name="connsiteX95" fmla="*/ 1398990 w 2701062"/>
                <a:gd name="connsiteY95" fmla="*/ 3189864 h 3539612"/>
                <a:gd name="connsiteX96" fmla="*/ 1436914 w 2701062"/>
                <a:gd name="connsiteY96" fmla="*/ 3118229 h 3539612"/>
                <a:gd name="connsiteX97" fmla="*/ 1495908 w 2701062"/>
                <a:gd name="connsiteY97" fmla="*/ 3109802 h 3539612"/>
                <a:gd name="connsiteX98" fmla="*/ 1597040 w 2701062"/>
                <a:gd name="connsiteY98" fmla="*/ 3164581 h 3539612"/>
                <a:gd name="connsiteX99" fmla="*/ 1656033 w 2701062"/>
                <a:gd name="connsiteY99" fmla="*/ 3185651 h 3539612"/>
                <a:gd name="connsiteX100" fmla="*/ 1719240 w 2701062"/>
                <a:gd name="connsiteY100" fmla="*/ 3126657 h 3539612"/>
                <a:gd name="connsiteX101" fmla="*/ 1715027 w 2701062"/>
                <a:gd name="connsiteY101" fmla="*/ 3055022 h 3539612"/>
                <a:gd name="connsiteX102" fmla="*/ 1833014 w 2701062"/>
                <a:gd name="connsiteY102" fmla="*/ 3105588 h 3539612"/>
                <a:gd name="connsiteX103" fmla="*/ 1862510 w 2701062"/>
                <a:gd name="connsiteY103" fmla="*/ 3055022 h 3539612"/>
                <a:gd name="connsiteX104" fmla="*/ 2018422 w 2701062"/>
                <a:gd name="connsiteY104" fmla="*/ 3033953 h 3539612"/>
                <a:gd name="connsiteX105" fmla="*/ 2186975 w 2701062"/>
                <a:gd name="connsiteY105" fmla="*/ 3092946 h 3539612"/>
                <a:gd name="connsiteX106" fmla="*/ 2254396 w 2701062"/>
                <a:gd name="connsiteY106" fmla="*/ 3008670 h 3539612"/>
                <a:gd name="connsiteX107" fmla="*/ 2338673 w 2701062"/>
                <a:gd name="connsiteY107" fmla="*/ 3008670 h 3539612"/>
                <a:gd name="connsiteX108" fmla="*/ 2380811 w 2701062"/>
                <a:gd name="connsiteY108" fmla="*/ 2953890 h 3539612"/>
                <a:gd name="connsiteX109" fmla="*/ 2456660 w 2701062"/>
                <a:gd name="connsiteY109" fmla="*/ 2958104 h 3539612"/>
                <a:gd name="connsiteX110" fmla="*/ 2469301 w 2701062"/>
                <a:gd name="connsiteY110" fmla="*/ 2878041 h 3539612"/>
                <a:gd name="connsiteX111" fmla="*/ 2595716 w 2701062"/>
                <a:gd name="connsiteY111" fmla="*/ 2810620 h 3539612"/>
                <a:gd name="connsiteX112" fmla="*/ 2595716 w 2701062"/>
                <a:gd name="connsiteY112" fmla="*/ 2709488 h 3539612"/>
                <a:gd name="connsiteX113" fmla="*/ 2616785 w 2701062"/>
                <a:gd name="connsiteY113" fmla="*/ 2671564 h 3539612"/>
                <a:gd name="connsiteX114" fmla="*/ 2591502 w 2701062"/>
                <a:gd name="connsiteY114" fmla="*/ 2646281 h 3539612"/>
                <a:gd name="connsiteX115" fmla="*/ 2515653 w 2701062"/>
                <a:gd name="connsiteY115" fmla="*/ 2646281 h 3539612"/>
                <a:gd name="connsiteX116" fmla="*/ 2460874 w 2701062"/>
                <a:gd name="connsiteY116" fmla="*/ 2658922 h 3539612"/>
                <a:gd name="connsiteX117" fmla="*/ 2435591 w 2701062"/>
                <a:gd name="connsiteY117" fmla="*/ 2671564 h 3539612"/>
                <a:gd name="connsiteX118" fmla="*/ 2397666 w 2701062"/>
                <a:gd name="connsiteY118" fmla="*/ 2620998 h 3539612"/>
                <a:gd name="connsiteX119" fmla="*/ 2347100 w 2701062"/>
                <a:gd name="connsiteY119" fmla="*/ 2595715 h 3539612"/>
                <a:gd name="connsiteX120" fmla="*/ 2410308 w 2701062"/>
                <a:gd name="connsiteY120" fmla="*/ 2557791 h 3539612"/>
                <a:gd name="connsiteX121" fmla="*/ 2439804 w 2701062"/>
                <a:gd name="connsiteY121" fmla="*/ 2410307 h 3539612"/>
                <a:gd name="connsiteX122" fmla="*/ 2481943 w 2701062"/>
                <a:gd name="connsiteY122" fmla="*/ 2444017 h 3539612"/>
                <a:gd name="connsiteX123" fmla="*/ 2532509 w 2701062"/>
                <a:gd name="connsiteY123" fmla="*/ 2372382 h 3539612"/>
                <a:gd name="connsiteX124" fmla="*/ 2545150 w 2701062"/>
                <a:gd name="connsiteY124" fmla="*/ 2334458 h 3539612"/>
                <a:gd name="connsiteX125" fmla="*/ 2633640 w 2701062"/>
                <a:gd name="connsiteY125" fmla="*/ 2220685 h 3539612"/>
                <a:gd name="connsiteX126" fmla="*/ 2650496 w 2701062"/>
                <a:gd name="connsiteY126" fmla="*/ 2127981 h 3539612"/>
                <a:gd name="connsiteX127" fmla="*/ 2696848 w 2701062"/>
                <a:gd name="connsiteY127" fmla="*/ 2052132 h 3539612"/>
                <a:gd name="connsiteX128" fmla="*/ 2701062 w 2701062"/>
                <a:gd name="connsiteY128" fmla="*/ 1845654 h 3539612"/>
                <a:gd name="connsiteX129" fmla="*/ 2503012 w 2701062"/>
                <a:gd name="connsiteY129" fmla="*/ 1710812 h 3539612"/>
                <a:gd name="connsiteX130" fmla="*/ 2237541 w 2701062"/>
                <a:gd name="connsiteY130" fmla="*/ 1681315 h 3539612"/>
                <a:gd name="connsiteX131" fmla="*/ 2161692 w 2701062"/>
                <a:gd name="connsiteY131" fmla="*/ 1769805 h 3539612"/>
                <a:gd name="connsiteX132" fmla="*/ 2123768 w 2701062"/>
                <a:gd name="connsiteY132" fmla="*/ 1761378 h 3539612"/>
                <a:gd name="connsiteX133" fmla="*/ 2111126 w 2701062"/>
                <a:gd name="connsiteY133" fmla="*/ 1710812 h 3539612"/>
                <a:gd name="connsiteX134" fmla="*/ 2203830 w 2701062"/>
                <a:gd name="connsiteY134" fmla="*/ 1613894 h 3539612"/>
                <a:gd name="connsiteX135" fmla="*/ 2178547 w 2701062"/>
                <a:gd name="connsiteY135" fmla="*/ 1474838 h 3539612"/>
                <a:gd name="connsiteX136" fmla="*/ 2090057 w 2701062"/>
                <a:gd name="connsiteY136" fmla="*/ 1382134 h 3539612"/>
                <a:gd name="connsiteX137" fmla="*/ 2056346 w 2701062"/>
                <a:gd name="connsiteY137" fmla="*/ 1352637 h 3539612"/>
                <a:gd name="connsiteX138" fmla="*/ 2127981 w 2701062"/>
                <a:gd name="connsiteY138" fmla="*/ 1339995 h 3539612"/>
                <a:gd name="connsiteX139" fmla="*/ 2127981 w 2701062"/>
                <a:gd name="connsiteY139" fmla="*/ 1306285 h 3539612"/>
                <a:gd name="connsiteX140" fmla="*/ 2031063 w 2701062"/>
                <a:gd name="connsiteY140" fmla="*/ 1179870 h 3539612"/>
                <a:gd name="connsiteX141" fmla="*/ 2022636 w 2701062"/>
                <a:gd name="connsiteY141" fmla="*/ 1095593 h 3539612"/>
                <a:gd name="connsiteX142" fmla="*/ 2056346 w 2701062"/>
                <a:gd name="connsiteY142" fmla="*/ 1032386 h 3539612"/>
                <a:gd name="connsiteX143" fmla="*/ 2039491 w 2701062"/>
                <a:gd name="connsiteY143" fmla="*/ 998675 h 3539612"/>
                <a:gd name="connsiteX144" fmla="*/ 1967856 w 2701062"/>
                <a:gd name="connsiteY144" fmla="*/ 977606 h 3539612"/>
                <a:gd name="connsiteX145" fmla="*/ 1929932 w 2701062"/>
                <a:gd name="connsiteY145" fmla="*/ 918613 h 3539612"/>
                <a:gd name="connsiteX146" fmla="*/ 1934146 w 2701062"/>
                <a:gd name="connsiteY146" fmla="*/ 859619 h 3539612"/>
                <a:gd name="connsiteX147" fmla="*/ 1727668 w 2701062"/>
                <a:gd name="connsiteY147" fmla="*/ 741632 h 3539612"/>
                <a:gd name="connsiteX148" fmla="*/ 1664461 w 2701062"/>
                <a:gd name="connsiteY148" fmla="*/ 682639 h 3539612"/>
                <a:gd name="connsiteX149" fmla="*/ 1516977 w 2701062"/>
                <a:gd name="connsiteY149" fmla="*/ 143270 h 3539612"/>
                <a:gd name="connsiteX150" fmla="*/ 1407417 w 2701062"/>
                <a:gd name="connsiteY150" fmla="*/ 25284 h 3539612"/>
                <a:gd name="connsiteX151" fmla="*/ 1327354 w 2701062"/>
                <a:gd name="connsiteY151" fmla="*/ 0 h 3539612"/>
                <a:gd name="connsiteX0" fmla="*/ 1327354 w 2701062"/>
                <a:gd name="connsiteY0" fmla="*/ 0 h 3539612"/>
                <a:gd name="connsiteX1" fmla="*/ 1365279 w 2701062"/>
                <a:gd name="connsiteY1" fmla="*/ 8428 h 3539612"/>
                <a:gd name="connsiteX2" fmla="*/ 1264148 w 2701062"/>
                <a:gd name="connsiteY2" fmla="*/ 84276 h 3539612"/>
                <a:gd name="connsiteX3" fmla="*/ 1281002 w 2701062"/>
                <a:gd name="connsiteY3" fmla="*/ 223333 h 3539612"/>
                <a:gd name="connsiteX4" fmla="*/ 1141946 w 2701062"/>
                <a:gd name="connsiteY4" fmla="*/ 358175 h 3539612"/>
                <a:gd name="connsiteX5" fmla="*/ 876475 w 2701062"/>
                <a:gd name="connsiteY5" fmla="*/ 615217 h 3539612"/>
                <a:gd name="connsiteX6" fmla="*/ 804840 w 2701062"/>
                <a:gd name="connsiteY6" fmla="*/ 686852 h 3539612"/>
                <a:gd name="connsiteX7" fmla="*/ 813268 w 2701062"/>
                <a:gd name="connsiteY7" fmla="*/ 817481 h 3539612"/>
                <a:gd name="connsiteX8" fmla="*/ 897545 w 2701062"/>
                <a:gd name="connsiteY8" fmla="*/ 986034 h 3539612"/>
                <a:gd name="connsiteX9" fmla="*/ 943897 w 2701062"/>
                <a:gd name="connsiteY9" fmla="*/ 1070310 h 3539612"/>
                <a:gd name="connsiteX10" fmla="*/ 964966 w 2701062"/>
                <a:gd name="connsiteY10" fmla="*/ 1099807 h 3539612"/>
                <a:gd name="connsiteX11" fmla="*/ 994463 w 2701062"/>
                <a:gd name="connsiteY11" fmla="*/ 1074524 h 3539612"/>
                <a:gd name="connsiteX12" fmla="*/ 1011318 w 2701062"/>
                <a:gd name="connsiteY12" fmla="*/ 1019745 h 3539612"/>
                <a:gd name="connsiteX13" fmla="*/ 1057670 w 2701062"/>
                <a:gd name="connsiteY13" fmla="*/ 1011317 h 3539612"/>
                <a:gd name="connsiteX14" fmla="*/ 1053456 w 2701062"/>
                <a:gd name="connsiteY14" fmla="*/ 1074524 h 3539612"/>
                <a:gd name="connsiteX15" fmla="*/ 1040815 w 2701062"/>
                <a:gd name="connsiteY15" fmla="*/ 1108235 h 3539612"/>
                <a:gd name="connsiteX16" fmla="*/ 1049242 w 2701062"/>
                <a:gd name="connsiteY16" fmla="*/ 1133518 h 3539612"/>
                <a:gd name="connsiteX17" fmla="*/ 986035 w 2701062"/>
                <a:gd name="connsiteY17" fmla="*/ 1150373 h 3539612"/>
                <a:gd name="connsiteX18" fmla="*/ 1011318 w 2701062"/>
                <a:gd name="connsiteY18" fmla="*/ 1285216 h 3539612"/>
                <a:gd name="connsiteX19" fmla="*/ 1049242 w 2701062"/>
                <a:gd name="connsiteY19" fmla="*/ 1281002 h 3539612"/>
                <a:gd name="connsiteX20" fmla="*/ 1040815 w 2701062"/>
                <a:gd name="connsiteY20" fmla="*/ 1344209 h 3539612"/>
                <a:gd name="connsiteX21" fmla="*/ 981821 w 2701062"/>
                <a:gd name="connsiteY21" fmla="*/ 1377920 h 3539612"/>
                <a:gd name="connsiteX22" fmla="*/ 931255 w 2701062"/>
                <a:gd name="connsiteY22" fmla="*/ 1377920 h 3539612"/>
                <a:gd name="connsiteX23" fmla="*/ 897545 w 2701062"/>
                <a:gd name="connsiteY23" fmla="*/ 1441127 h 3539612"/>
                <a:gd name="connsiteX24" fmla="*/ 901758 w 2701062"/>
                <a:gd name="connsiteY24" fmla="*/ 1470624 h 3539612"/>
                <a:gd name="connsiteX25" fmla="*/ 948110 w 2701062"/>
                <a:gd name="connsiteY25" fmla="*/ 1479051 h 3539612"/>
                <a:gd name="connsiteX26" fmla="*/ 931255 w 2701062"/>
                <a:gd name="connsiteY26" fmla="*/ 1516976 h 3539612"/>
                <a:gd name="connsiteX27" fmla="*/ 952324 w 2701062"/>
                <a:gd name="connsiteY27" fmla="*/ 1525404 h 3539612"/>
                <a:gd name="connsiteX28" fmla="*/ 1015532 w 2701062"/>
                <a:gd name="connsiteY28" fmla="*/ 1529617 h 3539612"/>
                <a:gd name="connsiteX29" fmla="*/ 1040815 w 2701062"/>
                <a:gd name="connsiteY29" fmla="*/ 1567542 h 3539612"/>
                <a:gd name="connsiteX30" fmla="*/ 1036601 w 2701062"/>
                <a:gd name="connsiteY30" fmla="*/ 1605466 h 3539612"/>
                <a:gd name="connsiteX31" fmla="*/ 1104022 w 2701062"/>
                <a:gd name="connsiteY31" fmla="*/ 1706598 h 3539612"/>
                <a:gd name="connsiteX32" fmla="*/ 1053456 w 2701062"/>
                <a:gd name="connsiteY32" fmla="*/ 1731881 h 3539612"/>
                <a:gd name="connsiteX33" fmla="*/ 998676 w 2701062"/>
                <a:gd name="connsiteY33" fmla="*/ 1727667 h 3539612"/>
                <a:gd name="connsiteX34" fmla="*/ 964966 w 2701062"/>
                <a:gd name="connsiteY34" fmla="*/ 1807730 h 3539612"/>
                <a:gd name="connsiteX35" fmla="*/ 1015532 w 2701062"/>
                <a:gd name="connsiteY35" fmla="*/ 1849868 h 3539612"/>
                <a:gd name="connsiteX36" fmla="*/ 994463 w 2701062"/>
                <a:gd name="connsiteY36" fmla="*/ 1946786 h 3539612"/>
                <a:gd name="connsiteX37" fmla="*/ 1019746 w 2701062"/>
                <a:gd name="connsiteY37" fmla="*/ 1980497 h 3539612"/>
                <a:gd name="connsiteX38" fmla="*/ 990249 w 2701062"/>
                <a:gd name="connsiteY38" fmla="*/ 2014207 h 3539612"/>
                <a:gd name="connsiteX39" fmla="*/ 948110 w 2701062"/>
                <a:gd name="connsiteY39" fmla="*/ 2014207 h 3539612"/>
                <a:gd name="connsiteX40" fmla="*/ 939683 w 2701062"/>
                <a:gd name="connsiteY40" fmla="*/ 2052132 h 3539612"/>
                <a:gd name="connsiteX41" fmla="*/ 994463 w 2701062"/>
                <a:gd name="connsiteY41" fmla="*/ 2098484 h 3539612"/>
                <a:gd name="connsiteX42" fmla="*/ 981821 w 2701062"/>
                <a:gd name="connsiteY42" fmla="*/ 2279678 h 3539612"/>
                <a:gd name="connsiteX43" fmla="*/ 1015532 w 2701062"/>
                <a:gd name="connsiteY43" fmla="*/ 2359741 h 3539612"/>
                <a:gd name="connsiteX44" fmla="*/ 1049242 w 2701062"/>
                <a:gd name="connsiteY44" fmla="*/ 2359741 h 3539612"/>
                <a:gd name="connsiteX45" fmla="*/ 1129305 w 2701062"/>
                <a:gd name="connsiteY45" fmla="*/ 2427162 h 3539612"/>
                <a:gd name="connsiteX46" fmla="*/ 1125091 w 2701062"/>
                <a:gd name="connsiteY46" fmla="*/ 2557791 h 3539612"/>
                <a:gd name="connsiteX47" fmla="*/ 1087167 w 2701062"/>
                <a:gd name="connsiteY47" fmla="*/ 2620998 h 3539612"/>
                <a:gd name="connsiteX48" fmla="*/ 1015532 w 2701062"/>
                <a:gd name="connsiteY48" fmla="*/ 2688419 h 3539612"/>
                <a:gd name="connsiteX49" fmla="*/ 1007104 w 2701062"/>
                <a:gd name="connsiteY49" fmla="*/ 2776910 h 3539612"/>
                <a:gd name="connsiteX50" fmla="*/ 922828 w 2701062"/>
                <a:gd name="connsiteY50" fmla="*/ 2789551 h 3539612"/>
                <a:gd name="connsiteX51" fmla="*/ 868048 w 2701062"/>
                <a:gd name="connsiteY51" fmla="*/ 2793765 h 3539612"/>
                <a:gd name="connsiteX52" fmla="*/ 830123 w 2701062"/>
                <a:gd name="connsiteY52" fmla="*/ 2755840 h 3539612"/>
                <a:gd name="connsiteX53" fmla="*/ 577294 w 2701062"/>
                <a:gd name="connsiteY53" fmla="*/ 2776910 h 3539612"/>
                <a:gd name="connsiteX54" fmla="*/ 568866 w 2701062"/>
                <a:gd name="connsiteY54" fmla="*/ 2882255 h 3539612"/>
                <a:gd name="connsiteX55" fmla="*/ 514087 w 2701062"/>
                <a:gd name="connsiteY55" fmla="*/ 2915966 h 3539612"/>
                <a:gd name="connsiteX56" fmla="*/ 484590 w 2701062"/>
                <a:gd name="connsiteY56" fmla="*/ 2882255 h 3539612"/>
                <a:gd name="connsiteX57" fmla="*/ 446665 w 2701062"/>
                <a:gd name="connsiteY57" fmla="*/ 2907538 h 3539612"/>
                <a:gd name="connsiteX58" fmla="*/ 434024 w 2701062"/>
                <a:gd name="connsiteY58" fmla="*/ 3025525 h 3539612"/>
                <a:gd name="connsiteX59" fmla="*/ 328678 w 2701062"/>
                <a:gd name="connsiteY59" fmla="*/ 3151940 h 3539612"/>
                <a:gd name="connsiteX60" fmla="*/ 273899 w 2701062"/>
                <a:gd name="connsiteY60" fmla="*/ 3164581 h 3539612"/>
                <a:gd name="connsiteX61" fmla="*/ 252829 w 2701062"/>
                <a:gd name="connsiteY61" fmla="*/ 3215147 h 3539612"/>
                <a:gd name="connsiteX62" fmla="*/ 202263 w 2701062"/>
                <a:gd name="connsiteY62" fmla="*/ 3295210 h 3539612"/>
                <a:gd name="connsiteX63" fmla="*/ 164339 w 2701062"/>
                <a:gd name="connsiteY63" fmla="*/ 3324707 h 3539612"/>
                <a:gd name="connsiteX64" fmla="*/ 75849 w 2701062"/>
                <a:gd name="connsiteY64" fmla="*/ 3354204 h 3539612"/>
                <a:gd name="connsiteX65" fmla="*/ 12641 w 2701062"/>
                <a:gd name="connsiteY65" fmla="*/ 3387914 h 3539612"/>
                <a:gd name="connsiteX66" fmla="*/ 0 w 2701062"/>
                <a:gd name="connsiteY66" fmla="*/ 3467977 h 3539612"/>
                <a:gd name="connsiteX67" fmla="*/ 63207 w 2701062"/>
                <a:gd name="connsiteY67" fmla="*/ 3463763 h 3539612"/>
                <a:gd name="connsiteX68" fmla="*/ 96918 w 2701062"/>
                <a:gd name="connsiteY68" fmla="*/ 3417411 h 3539612"/>
                <a:gd name="connsiteX69" fmla="*/ 155911 w 2701062"/>
                <a:gd name="connsiteY69" fmla="*/ 3459549 h 3539612"/>
                <a:gd name="connsiteX70" fmla="*/ 164339 w 2701062"/>
                <a:gd name="connsiteY70" fmla="*/ 3539612 h 3539612"/>
                <a:gd name="connsiteX71" fmla="*/ 265471 w 2701062"/>
                <a:gd name="connsiteY71" fmla="*/ 3489046 h 3539612"/>
                <a:gd name="connsiteX72" fmla="*/ 252829 w 2701062"/>
                <a:gd name="connsiteY72" fmla="*/ 3430052 h 3539612"/>
                <a:gd name="connsiteX73" fmla="*/ 307609 w 2701062"/>
                <a:gd name="connsiteY73" fmla="*/ 3387914 h 3539612"/>
                <a:gd name="connsiteX74" fmla="*/ 345534 w 2701062"/>
                <a:gd name="connsiteY74" fmla="*/ 3349990 h 3539612"/>
                <a:gd name="connsiteX75" fmla="*/ 375030 w 2701062"/>
                <a:gd name="connsiteY75" fmla="*/ 3307851 h 3539612"/>
                <a:gd name="connsiteX76" fmla="*/ 497231 w 2701062"/>
                <a:gd name="connsiteY76" fmla="*/ 3316279 h 3539612"/>
                <a:gd name="connsiteX77" fmla="*/ 497231 w 2701062"/>
                <a:gd name="connsiteY77" fmla="*/ 3316279 h 3539612"/>
                <a:gd name="connsiteX78" fmla="*/ 568866 w 2701062"/>
                <a:gd name="connsiteY78" fmla="*/ 3349990 h 3539612"/>
                <a:gd name="connsiteX79" fmla="*/ 589935 w 2701062"/>
                <a:gd name="connsiteY79" fmla="*/ 3328921 h 3539612"/>
                <a:gd name="connsiteX80" fmla="*/ 648929 w 2701062"/>
                <a:gd name="connsiteY80" fmla="*/ 3358417 h 3539612"/>
                <a:gd name="connsiteX81" fmla="*/ 674212 w 2701062"/>
                <a:gd name="connsiteY81" fmla="*/ 3354204 h 3539612"/>
                <a:gd name="connsiteX82" fmla="*/ 720564 w 2701062"/>
                <a:gd name="connsiteY82" fmla="*/ 3417411 h 3539612"/>
                <a:gd name="connsiteX83" fmla="*/ 754275 w 2701062"/>
                <a:gd name="connsiteY83" fmla="*/ 3408983 h 3539612"/>
                <a:gd name="connsiteX84" fmla="*/ 804840 w 2701062"/>
                <a:gd name="connsiteY84" fmla="*/ 3333134 h 3539612"/>
                <a:gd name="connsiteX85" fmla="*/ 842765 w 2701062"/>
                <a:gd name="connsiteY85" fmla="*/ 3299424 h 3539612"/>
                <a:gd name="connsiteX86" fmla="*/ 830123 w 2701062"/>
                <a:gd name="connsiteY86" fmla="*/ 3244644 h 3539612"/>
                <a:gd name="connsiteX87" fmla="*/ 859620 w 2701062"/>
                <a:gd name="connsiteY87" fmla="*/ 3189864 h 3539612"/>
                <a:gd name="connsiteX88" fmla="*/ 918614 w 2701062"/>
                <a:gd name="connsiteY88" fmla="*/ 3139299 h 3539612"/>
                <a:gd name="connsiteX89" fmla="*/ 1011318 w 2701062"/>
                <a:gd name="connsiteY89" fmla="*/ 3122443 h 3539612"/>
                <a:gd name="connsiteX90" fmla="*/ 1078739 w 2701062"/>
                <a:gd name="connsiteY90" fmla="*/ 3109802 h 3539612"/>
                <a:gd name="connsiteX91" fmla="*/ 1163016 w 2701062"/>
                <a:gd name="connsiteY91" fmla="*/ 3181437 h 3539612"/>
                <a:gd name="connsiteX92" fmla="*/ 1222009 w 2701062"/>
                <a:gd name="connsiteY92" fmla="*/ 3215147 h 3539612"/>
                <a:gd name="connsiteX93" fmla="*/ 1226223 w 2701062"/>
                <a:gd name="connsiteY93" fmla="*/ 3168795 h 3539612"/>
                <a:gd name="connsiteX94" fmla="*/ 1243078 w 2701062"/>
                <a:gd name="connsiteY94" fmla="*/ 3160368 h 3539612"/>
                <a:gd name="connsiteX95" fmla="*/ 1344210 w 2701062"/>
                <a:gd name="connsiteY95" fmla="*/ 3181437 h 3539612"/>
                <a:gd name="connsiteX96" fmla="*/ 1398990 w 2701062"/>
                <a:gd name="connsiteY96" fmla="*/ 3189864 h 3539612"/>
                <a:gd name="connsiteX97" fmla="*/ 1436914 w 2701062"/>
                <a:gd name="connsiteY97" fmla="*/ 3118229 h 3539612"/>
                <a:gd name="connsiteX98" fmla="*/ 1495908 w 2701062"/>
                <a:gd name="connsiteY98" fmla="*/ 3109802 h 3539612"/>
                <a:gd name="connsiteX99" fmla="*/ 1597040 w 2701062"/>
                <a:gd name="connsiteY99" fmla="*/ 3164581 h 3539612"/>
                <a:gd name="connsiteX100" fmla="*/ 1656033 w 2701062"/>
                <a:gd name="connsiteY100" fmla="*/ 3185651 h 3539612"/>
                <a:gd name="connsiteX101" fmla="*/ 1719240 w 2701062"/>
                <a:gd name="connsiteY101" fmla="*/ 3126657 h 3539612"/>
                <a:gd name="connsiteX102" fmla="*/ 1715027 w 2701062"/>
                <a:gd name="connsiteY102" fmla="*/ 3055022 h 3539612"/>
                <a:gd name="connsiteX103" fmla="*/ 1833014 w 2701062"/>
                <a:gd name="connsiteY103" fmla="*/ 3105588 h 3539612"/>
                <a:gd name="connsiteX104" fmla="*/ 1862510 w 2701062"/>
                <a:gd name="connsiteY104" fmla="*/ 3055022 h 3539612"/>
                <a:gd name="connsiteX105" fmla="*/ 2018422 w 2701062"/>
                <a:gd name="connsiteY105" fmla="*/ 3033953 h 3539612"/>
                <a:gd name="connsiteX106" fmla="*/ 2186975 w 2701062"/>
                <a:gd name="connsiteY106" fmla="*/ 3092946 h 3539612"/>
                <a:gd name="connsiteX107" fmla="*/ 2254396 w 2701062"/>
                <a:gd name="connsiteY107" fmla="*/ 3008670 h 3539612"/>
                <a:gd name="connsiteX108" fmla="*/ 2338673 w 2701062"/>
                <a:gd name="connsiteY108" fmla="*/ 3008670 h 3539612"/>
                <a:gd name="connsiteX109" fmla="*/ 2380811 w 2701062"/>
                <a:gd name="connsiteY109" fmla="*/ 2953890 h 3539612"/>
                <a:gd name="connsiteX110" fmla="*/ 2456660 w 2701062"/>
                <a:gd name="connsiteY110" fmla="*/ 2958104 h 3539612"/>
                <a:gd name="connsiteX111" fmla="*/ 2469301 w 2701062"/>
                <a:gd name="connsiteY111" fmla="*/ 2878041 h 3539612"/>
                <a:gd name="connsiteX112" fmla="*/ 2595716 w 2701062"/>
                <a:gd name="connsiteY112" fmla="*/ 2810620 h 3539612"/>
                <a:gd name="connsiteX113" fmla="*/ 2595716 w 2701062"/>
                <a:gd name="connsiteY113" fmla="*/ 2709488 h 3539612"/>
                <a:gd name="connsiteX114" fmla="*/ 2616785 w 2701062"/>
                <a:gd name="connsiteY114" fmla="*/ 2671564 h 3539612"/>
                <a:gd name="connsiteX115" fmla="*/ 2591502 w 2701062"/>
                <a:gd name="connsiteY115" fmla="*/ 2646281 h 3539612"/>
                <a:gd name="connsiteX116" fmla="*/ 2515653 w 2701062"/>
                <a:gd name="connsiteY116" fmla="*/ 2646281 h 3539612"/>
                <a:gd name="connsiteX117" fmla="*/ 2460874 w 2701062"/>
                <a:gd name="connsiteY117" fmla="*/ 2658922 h 3539612"/>
                <a:gd name="connsiteX118" fmla="*/ 2435591 w 2701062"/>
                <a:gd name="connsiteY118" fmla="*/ 2671564 h 3539612"/>
                <a:gd name="connsiteX119" fmla="*/ 2397666 w 2701062"/>
                <a:gd name="connsiteY119" fmla="*/ 2620998 h 3539612"/>
                <a:gd name="connsiteX120" fmla="*/ 2347100 w 2701062"/>
                <a:gd name="connsiteY120" fmla="*/ 2595715 h 3539612"/>
                <a:gd name="connsiteX121" fmla="*/ 2410308 w 2701062"/>
                <a:gd name="connsiteY121" fmla="*/ 2557791 h 3539612"/>
                <a:gd name="connsiteX122" fmla="*/ 2439804 w 2701062"/>
                <a:gd name="connsiteY122" fmla="*/ 2410307 h 3539612"/>
                <a:gd name="connsiteX123" fmla="*/ 2481943 w 2701062"/>
                <a:gd name="connsiteY123" fmla="*/ 2444017 h 3539612"/>
                <a:gd name="connsiteX124" fmla="*/ 2532509 w 2701062"/>
                <a:gd name="connsiteY124" fmla="*/ 2372382 h 3539612"/>
                <a:gd name="connsiteX125" fmla="*/ 2545150 w 2701062"/>
                <a:gd name="connsiteY125" fmla="*/ 2334458 h 3539612"/>
                <a:gd name="connsiteX126" fmla="*/ 2633640 w 2701062"/>
                <a:gd name="connsiteY126" fmla="*/ 2220685 h 3539612"/>
                <a:gd name="connsiteX127" fmla="*/ 2650496 w 2701062"/>
                <a:gd name="connsiteY127" fmla="*/ 2127981 h 3539612"/>
                <a:gd name="connsiteX128" fmla="*/ 2696848 w 2701062"/>
                <a:gd name="connsiteY128" fmla="*/ 2052132 h 3539612"/>
                <a:gd name="connsiteX129" fmla="*/ 2701062 w 2701062"/>
                <a:gd name="connsiteY129" fmla="*/ 1845654 h 3539612"/>
                <a:gd name="connsiteX130" fmla="*/ 2503012 w 2701062"/>
                <a:gd name="connsiteY130" fmla="*/ 1710812 h 3539612"/>
                <a:gd name="connsiteX131" fmla="*/ 2237541 w 2701062"/>
                <a:gd name="connsiteY131" fmla="*/ 1681315 h 3539612"/>
                <a:gd name="connsiteX132" fmla="*/ 2161692 w 2701062"/>
                <a:gd name="connsiteY132" fmla="*/ 1769805 h 3539612"/>
                <a:gd name="connsiteX133" fmla="*/ 2123768 w 2701062"/>
                <a:gd name="connsiteY133" fmla="*/ 1761378 h 3539612"/>
                <a:gd name="connsiteX134" fmla="*/ 2111126 w 2701062"/>
                <a:gd name="connsiteY134" fmla="*/ 1710812 h 3539612"/>
                <a:gd name="connsiteX135" fmla="*/ 2203830 w 2701062"/>
                <a:gd name="connsiteY135" fmla="*/ 1613894 h 3539612"/>
                <a:gd name="connsiteX136" fmla="*/ 2178547 w 2701062"/>
                <a:gd name="connsiteY136" fmla="*/ 1474838 h 3539612"/>
                <a:gd name="connsiteX137" fmla="*/ 2090057 w 2701062"/>
                <a:gd name="connsiteY137" fmla="*/ 1382134 h 3539612"/>
                <a:gd name="connsiteX138" fmla="*/ 2056346 w 2701062"/>
                <a:gd name="connsiteY138" fmla="*/ 1352637 h 3539612"/>
                <a:gd name="connsiteX139" fmla="*/ 2127981 w 2701062"/>
                <a:gd name="connsiteY139" fmla="*/ 1339995 h 3539612"/>
                <a:gd name="connsiteX140" fmla="*/ 2127981 w 2701062"/>
                <a:gd name="connsiteY140" fmla="*/ 1306285 h 3539612"/>
                <a:gd name="connsiteX141" fmla="*/ 2031063 w 2701062"/>
                <a:gd name="connsiteY141" fmla="*/ 1179870 h 3539612"/>
                <a:gd name="connsiteX142" fmla="*/ 2022636 w 2701062"/>
                <a:gd name="connsiteY142" fmla="*/ 1095593 h 3539612"/>
                <a:gd name="connsiteX143" fmla="*/ 2056346 w 2701062"/>
                <a:gd name="connsiteY143" fmla="*/ 1032386 h 3539612"/>
                <a:gd name="connsiteX144" fmla="*/ 2039491 w 2701062"/>
                <a:gd name="connsiteY144" fmla="*/ 998675 h 3539612"/>
                <a:gd name="connsiteX145" fmla="*/ 1967856 w 2701062"/>
                <a:gd name="connsiteY145" fmla="*/ 977606 h 3539612"/>
                <a:gd name="connsiteX146" fmla="*/ 1929932 w 2701062"/>
                <a:gd name="connsiteY146" fmla="*/ 918613 h 3539612"/>
                <a:gd name="connsiteX147" fmla="*/ 1934146 w 2701062"/>
                <a:gd name="connsiteY147" fmla="*/ 859619 h 3539612"/>
                <a:gd name="connsiteX148" fmla="*/ 1727668 w 2701062"/>
                <a:gd name="connsiteY148" fmla="*/ 741632 h 3539612"/>
                <a:gd name="connsiteX149" fmla="*/ 1664461 w 2701062"/>
                <a:gd name="connsiteY149" fmla="*/ 682639 h 3539612"/>
                <a:gd name="connsiteX150" fmla="*/ 1516977 w 2701062"/>
                <a:gd name="connsiteY150" fmla="*/ 143270 h 3539612"/>
                <a:gd name="connsiteX151" fmla="*/ 1407417 w 2701062"/>
                <a:gd name="connsiteY151" fmla="*/ 25284 h 3539612"/>
                <a:gd name="connsiteX152" fmla="*/ 1327354 w 2701062"/>
                <a:gd name="connsiteY152" fmla="*/ 0 h 3539612"/>
                <a:gd name="connsiteX0" fmla="*/ 1327354 w 2701062"/>
                <a:gd name="connsiteY0" fmla="*/ 23107 h 3562719"/>
                <a:gd name="connsiteX1" fmla="*/ 1365279 w 2701062"/>
                <a:gd name="connsiteY1" fmla="*/ 31535 h 3562719"/>
                <a:gd name="connsiteX2" fmla="*/ 1264148 w 2701062"/>
                <a:gd name="connsiteY2" fmla="*/ 107383 h 3562719"/>
                <a:gd name="connsiteX3" fmla="*/ 1281002 w 2701062"/>
                <a:gd name="connsiteY3" fmla="*/ 246440 h 3562719"/>
                <a:gd name="connsiteX4" fmla="*/ 1141946 w 2701062"/>
                <a:gd name="connsiteY4" fmla="*/ 381282 h 3562719"/>
                <a:gd name="connsiteX5" fmla="*/ 876475 w 2701062"/>
                <a:gd name="connsiteY5" fmla="*/ 638324 h 3562719"/>
                <a:gd name="connsiteX6" fmla="*/ 804840 w 2701062"/>
                <a:gd name="connsiteY6" fmla="*/ 709959 h 3562719"/>
                <a:gd name="connsiteX7" fmla="*/ 813268 w 2701062"/>
                <a:gd name="connsiteY7" fmla="*/ 840588 h 3562719"/>
                <a:gd name="connsiteX8" fmla="*/ 897545 w 2701062"/>
                <a:gd name="connsiteY8" fmla="*/ 1009141 h 3562719"/>
                <a:gd name="connsiteX9" fmla="*/ 943897 w 2701062"/>
                <a:gd name="connsiteY9" fmla="*/ 1093417 h 3562719"/>
                <a:gd name="connsiteX10" fmla="*/ 964966 w 2701062"/>
                <a:gd name="connsiteY10" fmla="*/ 1122914 h 3562719"/>
                <a:gd name="connsiteX11" fmla="*/ 994463 w 2701062"/>
                <a:gd name="connsiteY11" fmla="*/ 1097631 h 3562719"/>
                <a:gd name="connsiteX12" fmla="*/ 1011318 w 2701062"/>
                <a:gd name="connsiteY12" fmla="*/ 1042852 h 3562719"/>
                <a:gd name="connsiteX13" fmla="*/ 1057670 w 2701062"/>
                <a:gd name="connsiteY13" fmla="*/ 1034424 h 3562719"/>
                <a:gd name="connsiteX14" fmla="*/ 1053456 w 2701062"/>
                <a:gd name="connsiteY14" fmla="*/ 1097631 h 3562719"/>
                <a:gd name="connsiteX15" fmla="*/ 1040815 w 2701062"/>
                <a:gd name="connsiteY15" fmla="*/ 1131342 h 3562719"/>
                <a:gd name="connsiteX16" fmla="*/ 1049242 w 2701062"/>
                <a:gd name="connsiteY16" fmla="*/ 1156625 h 3562719"/>
                <a:gd name="connsiteX17" fmla="*/ 986035 w 2701062"/>
                <a:gd name="connsiteY17" fmla="*/ 1173480 h 3562719"/>
                <a:gd name="connsiteX18" fmla="*/ 1011318 w 2701062"/>
                <a:gd name="connsiteY18" fmla="*/ 1308323 h 3562719"/>
                <a:gd name="connsiteX19" fmla="*/ 1049242 w 2701062"/>
                <a:gd name="connsiteY19" fmla="*/ 1304109 h 3562719"/>
                <a:gd name="connsiteX20" fmla="*/ 1040815 w 2701062"/>
                <a:gd name="connsiteY20" fmla="*/ 1367316 h 3562719"/>
                <a:gd name="connsiteX21" fmla="*/ 981821 w 2701062"/>
                <a:gd name="connsiteY21" fmla="*/ 1401027 h 3562719"/>
                <a:gd name="connsiteX22" fmla="*/ 931255 w 2701062"/>
                <a:gd name="connsiteY22" fmla="*/ 1401027 h 3562719"/>
                <a:gd name="connsiteX23" fmla="*/ 897545 w 2701062"/>
                <a:gd name="connsiteY23" fmla="*/ 1464234 h 3562719"/>
                <a:gd name="connsiteX24" fmla="*/ 901758 w 2701062"/>
                <a:gd name="connsiteY24" fmla="*/ 1493731 h 3562719"/>
                <a:gd name="connsiteX25" fmla="*/ 948110 w 2701062"/>
                <a:gd name="connsiteY25" fmla="*/ 1502158 h 3562719"/>
                <a:gd name="connsiteX26" fmla="*/ 931255 w 2701062"/>
                <a:gd name="connsiteY26" fmla="*/ 1540083 h 3562719"/>
                <a:gd name="connsiteX27" fmla="*/ 952324 w 2701062"/>
                <a:gd name="connsiteY27" fmla="*/ 1548511 h 3562719"/>
                <a:gd name="connsiteX28" fmla="*/ 1015532 w 2701062"/>
                <a:gd name="connsiteY28" fmla="*/ 1552724 h 3562719"/>
                <a:gd name="connsiteX29" fmla="*/ 1040815 w 2701062"/>
                <a:gd name="connsiteY29" fmla="*/ 1590649 h 3562719"/>
                <a:gd name="connsiteX30" fmla="*/ 1036601 w 2701062"/>
                <a:gd name="connsiteY30" fmla="*/ 1628573 h 3562719"/>
                <a:gd name="connsiteX31" fmla="*/ 1104022 w 2701062"/>
                <a:gd name="connsiteY31" fmla="*/ 1729705 h 3562719"/>
                <a:gd name="connsiteX32" fmla="*/ 1053456 w 2701062"/>
                <a:gd name="connsiteY32" fmla="*/ 1754988 h 3562719"/>
                <a:gd name="connsiteX33" fmla="*/ 998676 w 2701062"/>
                <a:gd name="connsiteY33" fmla="*/ 1750774 h 3562719"/>
                <a:gd name="connsiteX34" fmla="*/ 964966 w 2701062"/>
                <a:gd name="connsiteY34" fmla="*/ 1830837 h 3562719"/>
                <a:gd name="connsiteX35" fmla="*/ 1015532 w 2701062"/>
                <a:gd name="connsiteY35" fmla="*/ 1872975 h 3562719"/>
                <a:gd name="connsiteX36" fmla="*/ 994463 w 2701062"/>
                <a:gd name="connsiteY36" fmla="*/ 1969893 h 3562719"/>
                <a:gd name="connsiteX37" fmla="*/ 1019746 w 2701062"/>
                <a:gd name="connsiteY37" fmla="*/ 2003604 h 3562719"/>
                <a:gd name="connsiteX38" fmla="*/ 990249 w 2701062"/>
                <a:gd name="connsiteY38" fmla="*/ 2037314 h 3562719"/>
                <a:gd name="connsiteX39" fmla="*/ 948110 w 2701062"/>
                <a:gd name="connsiteY39" fmla="*/ 2037314 h 3562719"/>
                <a:gd name="connsiteX40" fmla="*/ 939683 w 2701062"/>
                <a:gd name="connsiteY40" fmla="*/ 2075239 h 3562719"/>
                <a:gd name="connsiteX41" fmla="*/ 994463 w 2701062"/>
                <a:gd name="connsiteY41" fmla="*/ 2121591 h 3562719"/>
                <a:gd name="connsiteX42" fmla="*/ 981821 w 2701062"/>
                <a:gd name="connsiteY42" fmla="*/ 2302785 h 3562719"/>
                <a:gd name="connsiteX43" fmla="*/ 1015532 w 2701062"/>
                <a:gd name="connsiteY43" fmla="*/ 2382848 h 3562719"/>
                <a:gd name="connsiteX44" fmla="*/ 1049242 w 2701062"/>
                <a:gd name="connsiteY44" fmla="*/ 2382848 h 3562719"/>
                <a:gd name="connsiteX45" fmla="*/ 1129305 w 2701062"/>
                <a:gd name="connsiteY45" fmla="*/ 2450269 h 3562719"/>
                <a:gd name="connsiteX46" fmla="*/ 1125091 w 2701062"/>
                <a:gd name="connsiteY46" fmla="*/ 2580898 h 3562719"/>
                <a:gd name="connsiteX47" fmla="*/ 1087167 w 2701062"/>
                <a:gd name="connsiteY47" fmla="*/ 2644105 h 3562719"/>
                <a:gd name="connsiteX48" fmla="*/ 1015532 w 2701062"/>
                <a:gd name="connsiteY48" fmla="*/ 2711526 h 3562719"/>
                <a:gd name="connsiteX49" fmla="*/ 1007104 w 2701062"/>
                <a:gd name="connsiteY49" fmla="*/ 2800017 h 3562719"/>
                <a:gd name="connsiteX50" fmla="*/ 922828 w 2701062"/>
                <a:gd name="connsiteY50" fmla="*/ 2812658 h 3562719"/>
                <a:gd name="connsiteX51" fmla="*/ 868048 w 2701062"/>
                <a:gd name="connsiteY51" fmla="*/ 2816872 h 3562719"/>
                <a:gd name="connsiteX52" fmla="*/ 830123 w 2701062"/>
                <a:gd name="connsiteY52" fmla="*/ 2778947 h 3562719"/>
                <a:gd name="connsiteX53" fmla="*/ 577294 w 2701062"/>
                <a:gd name="connsiteY53" fmla="*/ 2800017 h 3562719"/>
                <a:gd name="connsiteX54" fmla="*/ 568866 w 2701062"/>
                <a:gd name="connsiteY54" fmla="*/ 2905362 h 3562719"/>
                <a:gd name="connsiteX55" fmla="*/ 514087 w 2701062"/>
                <a:gd name="connsiteY55" fmla="*/ 2939073 h 3562719"/>
                <a:gd name="connsiteX56" fmla="*/ 484590 w 2701062"/>
                <a:gd name="connsiteY56" fmla="*/ 2905362 h 3562719"/>
                <a:gd name="connsiteX57" fmla="*/ 446665 w 2701062"/>
                <a:gd name="connsiteY57" fmla="*/ 2930645 h 3562719"/>
                <a:gd name="connsiteX58" fmla="*/ 434024 w 2701062"/>
                <a:gd name="connsiteY58" fmla="*/ 3048632 h 3562719"/>
                <a:gd name="connsiteX59" fmla="*/ 328678 w 2701062"/>
                <a:gd name="connsiteY59" fmla="*/ 3175047 h 3562719"/>
                <a:gd name="connsiteX60" fmla="*/ 273899 w 2701062"/>
                <a:gd name="connsiteY60" fmla="*/ 3187688 h 3562719"/>
                <a:gd name="connsiteX61" fmla="*/ 252829 w 2701062"/>
                <a:gd name="connsiteY61" fmla="*/ 3238254 h 3562719"/>
                <a:gd name="connsiteX62" fmla="*/ 202263 w 2701062"/>
                <a:gd name="connsiteY62" fmla="*/ 3318317 h 3562719"/>
                <a:gd name="connsiteX63" fmla="*/ 164339 w 2701062"/>
                <a:gd name="connsiteY63" fmla="*/ 3347814 h 3562719"/>
                <a:gd name="connsiteX64" fmla="*/ 75849 w 2701062"/>
                <a:gd name="connsiteY64" fmla="*/ 3377311 h 3562719"/>
                <a:gd name="connsiteX65" fmla="*/ 12641 w 2701062"/>
                <a:gd name="connsiteY65" fmla="*/ 3411021 h 3562719"/>
                <a:gd name="connsiteX66" fmla="*/ 0 w 2701062"/>
                <a:gd name="connsiteY66" fmla="*/ 3491084 h 3562719"/>
                <a:gd name="connsiteX67" fmla="*/ 63207 w 2701062"/>
                <a:gd name="connsiteY67" fmla="*/ 3486870 h 3562719"/>
                <a:gd name="connsiteX68" fmla="*/ 96918 w 2701062"/>
                <a:gd name="connsiteY68" fmla="*/ 3440518 h 3562719"/>
                <a:gd name="connsiteX69" fmla="*/ 155911 w 2701062"/>
                <a:gd name="connsiteY69" fmla="*/ 3482656 h 3562719"/>
                <a:gd name="connsiteX70" fmla="*/ 164339 w 2701062"/>
                <a:gd name="connsiteY70" fmla="*/ 3562719 h 3562719"/>
                <a:gd name="connsiteX71" fmla="*/ 265471 w 2701062"/>
                <a:gd name="connsiteY71" fmla="*/ 3512153 h 3562719"/>
                <a:gd name="connsiteX72" fmla="*/ 252829 w 2701062"/>
                <a:gd name="connsiteY72" fmla="*/ 3453159 h 3562719"/>
                <a:gd name="connsiteX73" fmla="*/ 307609 w 2701062"/>
                <a:gd name="connsiteY73" fmla="*/ 3411021 h 3562719"/>
                <a:gd name="connsiteX74" fmla="*/ 345534 w 2701062"/>
                <a:gd name="connsiteY74" fmla="*/ 3373097 h 3562719"/>
                <a:gd name="connsiteX75" fmla="*/ 375030 w 2701062"/>
                <a:gd name="connsiteY75" fmla="*/ 3330958 h 3562719"/>
                <a:gd name="connsiteX76" fmla="*/ 497231 w 2701062"/>
                <a:gd name="connsiteY76" fmla="*/ 3339386 h 3562719"/>
                <a:gd name="connsiteX77" fmla="*/ 497231 w 2701062"/>
                <a:gd name="connsiteY77" fmla="*/ 3339386 h 3562719"/>
                <a:gd name="connsiteX78" fmla="*/ 568866 w 2701062"/>
                <a:gd name="connsiteY78" fmla="*/ 3373097 h 3562719"/>
                <a:gd name="connsiteX79" fmla="*/ 589935 w 2701062"/>
                <a:gd name="connsiteY79" fmla="*/ 3352028 h 3562719"/>
                <a:gd name="connsiteX80" fmla="*/ 648929 w 2701062"/>
                <a:gd name="connsiteY80" fmla="*/ 3381524 h 3562719"/>
                <a:gd name="connsiteX81" fmla="*/ 674212 w 2701062"/>
                <a:gd name="connsiteY81" fmla="*/ 3377311 h 3562719"/>
                <a:gd name="connsiteX82" fmla="*/ 720564 w 2701062"/>
                <a:gd name="connsiteY82" fmla="*/ 3440518 h 3562719"/>
                <a:gd name="connsiteX83" fmla="*/ 754275 w 2701062"/>
                <a:gd name="connsiteY83" fmla="*/ 3432090 h 3562719"/>
                <a:gd name="connsiteX84" fmla="*/ 804840 w 2701062"/>
                <a:gd name="connsiteY84" fmla="*/ 3356241 h 3562719"/>
                <a:gd name="connsiteX85" fmla="*/ 842765 w 2701062"/>
                <a:gd name="connsiteY85" fmla="*/ 3322531 h 3562719"/>
                <a:gd name="connsiteX86" fmla="*/ 830123 w 2701062"/>
                <a:gd name="connsiteY86" fmla="*/ 3267751 h 3562719"/>
                <a:gd name="connsiteX87" fmla="*/ 859620 w 2701062"/>
                <a:gd name="connsiteY87" fmla="*/ 3212971 h 3562719"/>
                <a:gd name="connsiteX88" fmla="*/ 918614 w 2701062"/>
                <a:gd name="connsiteY88" fmla="*/ 3162406 h 3562719"/>
                <a:gd name="connsiteX89" fmla="*/ 1011318 w 2701062"/>
                <a:gd name="connsiteY89" fmla="*/ 3145550 h 3562719"/>
                <a:gd name="connsiteX90" fmla="*/ 1078739 w 2701062"/>
                <a:gd name="connsiteY90" fmla="*/ 3132909 h 3562719"/>
                <a:gd name="connsiteX91" fmla="*/ 1163016 w 2701062"/>
                <a:gd name="connsiteY91" fmla="*/ 3204544 h 3562719"/>
                <a:gd name="connsiteX92" fmla="*/ 1222009 w 2701062"/>
                <a:gd name="connsiteY92" fmla="*/ 3238254 h 3562719"/>
                <a:gd name="connsiteX93" fmla="*/ 1226223 w 2701062"/>
                <a:gd name="connsiteY93" fmla="*/ 3191902 h 3562719"/>
                <a:gd name="connsiteX94" fmla="*/ 1243078 w 2701062"/>
                <a:gd name="connsiteY94" fmla="*/ 3183475 h 3562719"/>
                <a:gd name="connsiteX95" fmla="*/ 1344210 w 2701062"/>
                <a:gd name="connsiteY95" fmla="*/ 3204544 h 3562719"/>
                <a:gd name="connsiteX96" fmla="*/ 1398990 w 2701062"/>
                <a:gd name="connsiteY96" fmla="*/ 3212971 h 3562719"/>
                <a:gd name="connsiteX97" fmla="*/ 1436914 w 2701062"/>
                <a:gd name="connsiteY97" fmla="*/ 3141336 h 3562719"/>
                <a:gd name="connsiteX98" fmla="*/ 1495908 w 2701062"/>
                <a:gd name="connsiteY98" fmla="*/ 3132909 h 3562719"/>
                <a:gd name="connsiteX99" fmla="*/ 1597040 w 2701062"/>
                <a:gd name="connsiteY99" fmla="*/ 3187688 h 3562719"/>
                <a:gd name="connsiteX100" fmla="*/ 1656033 w 2701062"/>
                <a:gd name="connsiteY100" fmla="*/ 3208758 h 3562719"/>
                <a:gd name="connsiteX101" fmla="*/ 1719240 w 2701062"/>
                <a:gd name="connsiteY101" fmla="*/ 3149764 h 3562719"/>
                <a:gd name="connsiteX102" fmla="*/ 1715027 w 2701062"/>
                <a:gd name="connsiteY102" fmla="*/ 3078129 h 3562719"/>
                <a:gd name="connsiteX103" fmla="*/ 1833014 w 2701062"/>
                <a:gd name="connsiteY103" fmla="*/ 3128695 h 3562719"/>
                <a:gd name="connsiteX104" fmla="*/ 1862510 w 2701062"/>
                <a:gd name="connsiteY104" fmla="*/ 3078129 h 3562719"/>
                <a:gd name="connsiteX105" fmla="*/ 2018422 w 2701062"/>
                <a:gd name="connsiteY105" fmla="*/ 3057060 h 3562719"/>
                <a:gd name="connsiteX106" fmla="*/ 2186975 w 2701062"/>
                <a:gd name="connsiteY106" fmla="*/ 3116053 h 3562719"/>
                <a:gd name="connsiteX107" fmla="*/ 2254396 w 2701062"/>
                <a:gd name="connsiteY107" fmla="*/ 3031777 h 3562719"/>
                <a:gd name="connsiteX108" fmla="*/ 2338673 w 2701062"/>
                <a:gd name="connsiteY108" fmla="*/ 3031777 h 3562719"/>
                <a:gd name="connsiteX109" fmla="*/ 2380811 w 2701062"/>
                <a:gd name="connsiteY109" fmla="*/ 2976997 h 3562719"/>
                <a:gd name="connsiteX110" fmla="*/ 2456660 w 2701062"/>
                <a:gd name="connsiteY110" fmla="*/ 2981211 h 3562719"/>
                <a:gd name="connsiteX111" fmla="*/ 2469301 w 2701062"/>
                <a:gd name="connsiteY111" fmla="*/ 2901148 h 3562719"/>
                <a:gd name="connsiteX112" fmla="*/ 2595716 w 2701062"/>
                <a:gd name="connsiteY112" fmla="*/ 2833727 h 3562719"/>
                <a:gd name="connsiteX113" fmla="*/ 2595716 w 2701062"/>
                <a:gd name="connsiteY113" fmla="*/ 2732595 h 3562719"/>
                <a:gd name="connsiteX114" fmla="*/ 2616785 w 2701062"/>
                <a:gd name="connsiteY114" fmla="*/ 2694671 h 3562719"/>
                <a:gd name="connsiteX115" fmla="*/ 2591502 w 2701062"/>
                <a:gd name="connsiteY115" fmla="*/ 2669388 h 3562719"/>
                <a:gd name="connsiteX116" fmla="*/ 2515653 w 2701062"/>
                <a:gd name="connsiteY116" fmla="*/ 2669388 h 3562719"/>
                <a:gd name="connsiteX117" fmla="*/ 2460874 w 2701062"/>
                <a:gd name="connsiteY117" fmla="*/ 2682029 h 3562719"/>
                <a:gd name="connsiteX118" fmla="*/ 2435591 w 2701062"/>
                <a:gd name="connsiteY118" fmla="*/ 2694671 h 3562719"/>
                <a:gd name="connsiteX119" fmla="*/ 2397666 w 2701062"/>
                <a:gd name="connsiteY119" fmla="*/ 2644105 h 3562719"/>
                <a:gd name="connsiteX120" fmla="*/ 2347100 w 2701062"/>
                <a:gd name="connsiteY120" fmla="*/ 2618822 h 3562719"/>
                <a:gd name="connsiteX121" fmla="*/ 2410308 w 2701062"/>
                <a:gd name="connsiteY121" fmla="*/ 2580898 h 3562719"/>
                <a:gd name="connsiteX122" fmla="*/ 2439804 w 2701062"/>
                <a:gd name="connsiteY122" fmla="*/ 2433414 h 3562719"/>
                <a:gd name="connsiteX123" fmla="*/ 2481943 w 2701062"/>
                <a:gd name="connsiteY123" fmla="*/ 2467124 h 3562719"/>
                <a:gd name="connsiteX124" fmla="*/ 2532509 w 2701062"/>
                <a:gd name="connsiteY124" fmla="*/ 2395489 h 3562719"/>
                <a:gd name="connsiteX125" fmla="*/ 2545150 w 2701062"/>
                <a:gd name="connsiteY125" fmla="*/ 2357565 h 3562719"/>
                <a:gd name="connsiteX126" fmla="*/ 2633640 w 2701062"/>
                <a:gd name="connsiteY126" fmla="*/ 2243792 h 3562719"/>
                <a:gd name="connsiteX127" fmla="*/ 2650496 w 2701062"/>
                <a:gd name="connsiteY127" fmla="*/ 2151088 h 3562719"/>
                <a:gd name="connsiteX128" fmla="*/ 2696848 w 2701062"/>
                <a:gd name="connsiteY128" fmla="*/ 2075239 h 3562719"/>
                <a:gd name="connsiteX129" fmla="*/ 2701062 w 2701062"/>
                <a:gd name="connsiteY129" fmla="*/ 1868761 h 3562719"/>
                <a:gd name="connsiteX130" fmla="*/ 2503012 w 2701062"/>
                <a:gd name="connsiteY130" fmla="*/ 1733919 h 3562719"/>
                <a:gd name="connsiteX131" fmla="*/ 2237541 w 2701062"/>
                <a:gd name="connsiteY131" fmla="*/ 1704422 h 3562719"/>
                <a:gd name="connsiteX132" fmla="*/ 2161692 w 2701062"/>
                <a:gd name="connsiteY132" fmla="*/ 1792912 h 3562719"/>
                <a:gd name="connsiteX133" fmla="*/ 2123768 w 2701062"/>
                <a:gd name="connsiteY133" fmla="*/ 1784485 h 3562719"/>
                <a:gd name="connsiteX134" fmla="*/ 2111126 w 2701062"/>
                <a:gd name="connsiteY134" fmla="*/ 1733919 h 3562719"/>
                <a:gd name="connsiteX135" fmla="*/ 2203830 w 2701062"/>
                <a:gd name="connsiteY135" fmla="*/ 1637001 h 3562719"/>
                <a:gd name="connsiteX136" fmla="*/ 2178547 w 2701062"/>
                <a:gd name="connsiteY136" fmla="*/ 1497945 h 3562719"/>
                <a:gd name="connsiteX137" fmla="*/ 2090057 w 2701062"/>
                <a:gd name="connsiteY137" fmla="*/ 1405241 h 3562719"/>
                <a:gd name="connsiteX138" fmla="*/ 2056346 w 2701062"/>
                <a:gd name="connsiteY138" fmla="*/ 1375744 h 3562719"/>
                <a:gd name="connsiteX139" fmla="*/ 2127981 w 2701062"/>
                <a:gd name="connsiteY139" fmla="*/ 1363102 h 3562719"/>
                <a:gd name="connsiteX140" fmla="*/ 2127981 w 2701062"/>
                <a:gd name="connsiteY140" fmla="*/ 1329392 h 3562719"/>
                <a:gd name="connsiteX141" fmla="*/ 2031063 w 2701062"/>
                <a:gd name="connsiteY141" fmla="*/ 1202977 h 3562719"/>
                <a:gd name="connsiteX142" fmla="*/ 2022636 w 2701062"/>
                <a:gd name="connsiteY142" fmla="*/ 1118700 h 3562719"/>
                <a:gd name="connsiteX143" fmla="*/ 2056346 w 2701062"/>
                <a:gd name="connsiteY143" fmla="*/ 1055493 h 3562719"/>
                <a:gd name="connsiteX144" fmla="*/ 2039491 w 2701062"/>
                <a:gd name="connsiteY144" fmla="*/ 1021782 h 3562719"/>
                <a:gd name="connsiteX145" fmla="*/ 1967856 w 2701062"/>
                <a:gd name="connsiteY145" fmla="*/ 1000713 h 3562719"/>
                <a:gd name="connsiteX146" fmla="*/ 1929932 w 2701062"/>
                <a:gd name="connsiteY146" fmla="*/ 941720 h 3562719"/>
                <a:gd name="connsiteX147" fmla="*/ 1934146 w 2701062"/>
                <a:gd name="connsiteY147" fmla="*/ 882726 h 3562719"/>
                <a:gd name="connsiteX148" fmla="*/ 1727668 w 2701062"/>
                <a:gd name="connsiteY148" fmla="*/ 764739 h 3562719"/>
                <a:gd name="connsiteX149" fmla="*/ 1664461 w 2701062"/>
                <a:gd name="connsiteY149" fmla="*/ 705746 h 3562719"/>
                <a:gd name="connsiteX150" fmla="*/ 1516977 w 2701062"/>
                <a:gd name="connsiteY150" fmla="*/ 166377 h 3562719"/>
                <a:gd name="connsiteX151" fmla="*/ 1407417 w 2701062"/>
                <a:gd name="connsiteY151" fmla="*/ 48391 h 3562719"/>
                <a:gd name="connsiteX152" fmla="*/ 1327354 w 2701062"/>
                <a:gd name="connsiteY152" fmla="*/ 23107 h 3562719"/>
                <a:gd name="connsiteX0" fmla="*/ 1327354 w 2701062"/>
                <a:gd name="connsiteY0" fmla="*/ 80063 h 3619675"/>
                <a:gd name="connsiteX1" fmla="*/ 1344210 w 2701062"/>
                <a:gd name="connsiteY1" fmla="*/ 0 h 3619675"/>
                <a:gd name="connsiteX2" fmla="*/ 1264148 w 2701062"/>
                <a:gd name="connsiteY2" fmla="*/ 164339 h 3619675"/>
                <a:gd name="connsiteX3" fmla="*/ 1281002 w 2701062"/>
                <a:gd name="connsiteY3" fmla="*/ 303396 h 3619675"/>
                <a:gd name="connsiteX4" fmla="*/ 1141946 w 2701062"/>
                <a:gd name="connsiteY4" fmla="*/ 438238 h 3619675"/>
                <a:gd name="connsiteX5" fmla="*/ 876475 w 2701062"/>
                <a:gd name="connsiteY5" fmla="*/ 695280 h 3619675"/>
                <a:gd name="connsiteX6" fmla="*/ 804840 w 2701062"/>
                <a:gd name="connsiteY6" fmla="*/ 766915 h 3619675"/>
                <a:gd name="connsiteX7" fmla="*/ 813268 w 2701062"/>
                <a:gd name="connsiteY7" fmla="*/ 897544 h 3619675"/>
                <a:gd name="connsiteX8" fmla="*/ 897545 w 2701062"/>
                <a:gd name="connsiteY8" fmla="*/ 1066097 h 3619675"/>
                <a:gd name="connsiteX9" fmla="*/ 943897 w 2701062"/>
                <a:gd name="connsiteY9" fmla="*/ 1150373 h 3619675"/>
                <a:gd name="connsiteX10" fmla="*/ 964966 w 2701062"/>
                <a:gd name="connsiteY10" fmla="*/ 1179870 h 3619675"/>
                <a:gd name="connsiteX11" fmla="*/ 994463 w 2701062"/>
                <a:gd name="connsiteY11" fmla="*/ 1154587 h 3619675"/>
                <a:gd name="connsiteX12" fmla="*/ 1011318 w 2701062"/>
                <a:gd name="connsiteY12" fmla="*/ 1099808 h 3619675"/>
                <a:gd name="connsiteX13" fmla="*/ 1057670 w 2701062"/>
                <a:gd name="connsiteY13" fmla="*/ 1091380 h 3619675"/>
                <a:gd name="connsiteX14" fmla="*/ 1053456 w 2701062"/>
                <a:gd name="connsiteY14" fmla="*/ 1154587 h 3619675"/>
                <a:gd name="connsiteX15" fmla="*/ 1040815 w 2701062"/>
                <a:gd name="connsiteY15" fmla="*/ 1188298 h 3619675"/>
                <a:gd name="connsiteX16" fmla="*/ 1049242 w 2701062"/>
                <a:gd name="connsiteY16" fmla="*/ 1213581 h 3619675"/>
                <a:gd name="connsiteX17" fmla="*/ 986035 w 2701062"/>
                <a:gd name="connsiteY17" fmla="*/ 1230436 h 3619675"/>
                <a:gd name="connsiteX18" fmla="*/ 1011318 w 2701062"/>
                <a:gd name="connsiteY18" fmla="*/ 1365279 h 3619675"/>
                <a:gd name="connsiteX19" fmla="*/ 1049242 w 2701062"/>
                <a:gd name="connsiteY19" fmla="*/ 1361065 h 3619675"/>
                <a:gd name="connsiteX20" fmla="*/ 1040815 w 2701062"/>
                <a:gd name="connsiteY20" fmla="*/ 1424272 h 3619675"/>
                <a:gd name="connsiteX21" fmla="*/ 981821 w 2701062"/>
                <a:gd name="connsiteY21" fmla="*/ 1457983 h 3619675"/>
                <a:gd name="connsiteX22" fmla="*/ 931255 w 2701062"/>
                <a:gd name="connsiteY22" fmla="*/ 1457983 h 3619675"/>
                <a:gd name="connsiteX23" fmla="*/ 897545 w 2701062"/>
                <a:gd name="connsiteY23" fmla="*/ 1521190 h 3619675"/>
                <a:gd name="connsiteX24" fmla="*/ 901758 w 2701062"/>
                <a:gd name="connsiteY24" fmla="*/ 1550687 h 3619675"/>
                <a:gd name="connsiteX25" fmla="*/ 948110 w 2701062"/>
                <a:gd name="connsiteY25" fmla="*/ 1559114 h 3619675"/>
                <a:gd name="connsiteX26" fmla="*/ 931255 w 2701062"/>
                <a:gd name="connsiteY26" fmla="*/ 1597039 h 3619675"/>
                <a:gd name="connsiteX27" fmla="*/ 952324 w 2701062"/>
                <a:gd name="connsiteY27" fmla="*/ 1605467 h 3619675"/>
                <a:gd name="connsiteX28" fmla="*/ 1015532 w 2701062"/>
                <a:gd name="connsiteY28" fmla="*/ 1609680 h 3619675"/>
                <a:gd name="connsiteX29" fmla="*/ 1040815 w 2701062"/>
                <a:gd name="connsiteY29" fmla="*/ 1647605 h 3619675"/>
                <a:gd name="connsiteX30" fmla="*/ 1036601 w 2701062"/>
                <a:gd name="connsiteY30" fmla="*/ 1685529 h 3619675"/>
                <a:gd name="connsiteX31" fmla="*/ 1104022 w 2701062"/>
                <a:gd name="connsiteY31" fmla="*/ 1786661 h 3619675"/>
                <a:gd name="connsiteX32" fmla="*/ 1053456 w 2701062"/>
                <a:gd name="connsiteY32" fmla="*/ 1811944 h 3619675"/>
                <a:gd name="connsiteX33" fmla="*/ 998676 w 2701062"/>
                <a:gd name="connsiteY33" fmla="*/ 1807730 h 3619675"/>
                <a:gd name="connsiteX34" fmla="*/ 964966 w 2701062"/>
                <a:gd name="connsiteY34" fmla="*/ 1887793 h 3619675"/>
                <a:gd name="connsiteX35" fmla="*/ 1015532 w 2701062"/>
                <a:gd name="connsiteY35" fmla="*/ 1929931 h 3619675"/>
                <a:gd name="connsiteX36" fmla="*/ 994463 w 2701062"/>
                <a:gd name="connsiteY36" fmla="*/ 2026849 h 3619675"/>
                <a:gd name="connsiteX37" fmla="*/ 1019746 w 2701062"/>
                <a:gd name="connsiteY37" fmla="*/ 2060560 h 3619675"/>
                <a:gd name="connsiteX38" fmla="*/ 990249 w 2701062"/>
                <a:gd name="connsiteY38" fmla="*/ 2094270 h 3619675"/>
                <a:gd name="connsiteX39" fmla="*/ 948110 w 2701062"/>
                <a:gd name="connsiteY39" fmla="*/ 2094270 h 3619675"/>
                <a:gd name="connsiteX40" fmla="*/ 939683 w 2701062"/>
                <a:gd name="connsiteY40" fmla="*/ 2132195 h 3619675"/>
                <a:gd name="connsiteX41" fmla="*/ 994463 w 2701062"/>
                <a:gd name="connsiteY41" fmla="*/ 2178547 h 3619675"/>
                <a:gd name="connsiteX42" fmla="*/ 981821 w 2701062"/>
                <a:gd name="connsiteY42" fmla="*/ 2359741 h 3619675"/>
                <a:gd name="connsiteX43" fmla="*/ 1015532 w 2701062"/>
                <a:gd name="connsiteY43" fmla="*/ 2439804 h 3619675"/>
                <a:gd name="connsiteX44" fmla="*/ 1049242 w 2701062"/>
                <a:gd name="connsiteY44" fmla="*/ 2439804 h 3619675"/>
                <a:gd name="connsiteX45" fmla="*/ 1129305 w 2701062"/>
                <a:gd name="connsiteY45" fmla="*/ 2507225 h 3619675"/>
                <a:gd name="connsiteX46" fmla="*/ 1125091 w 2701062"/>
                <a:gd name="connsiteY46" fmla="*/ 2637854 h 3619675"/>
                <a:gd name="connsiteX47" fmla="*/ 1087167 w 2701062"/>
                <a:gd name="connsiteY47" fmla="*/ 2701061 h 3619675"/>
                <a:gd name="connsiteX48" fmla="*/ 1015532 w 2701062"/>
                <a:gd name="connsiteY48" fmla="*/ 2768482 h 3619675"/>
                <a:gd name="connsiteX49" fmla="*/ 1007104 w 2701062"/>
                <a:gd name="connsiteY49" fmla="*/ 2856973 h 3619675"/>
                <a:gd name="connsiteX50" fmla="*/ 922828 w 2701062"/>
                <a:gd name="connsiteY50" fmla="*/ 2869614 h 3619675"/>
                <a:gd name="connsiteX51" fmla="*/ 868048 w 2701062"/>
                <a:gd name="connsiteY51" fmla="*/ 2873828 h 3619675"/>
                <a:gd name="connsiteX52" fmla="*/ 830123 w 2701062"/>
                <a:gd name="connsiteY52" fmla="*/ 2835903 h 3619675"/>
                <a:gd name="connsiteX53" fmla="*/ 577294 w 2701062"/>
                <a:gd name="connsiteY53" fmla="*/ 2856973 h 3619675"/>
                <a:gd name="connsiteX54" fmla="*/ 568866 w 2701062"/>
                <a:gd name="connsiteY54" fmla="*/ 2962318 h 3619675"/>
                <a:gd name="connsiteX55" fmla="*/ 514087 w 2701062"/>
                <a:gd name="connsiteY55" fmla="*/ 2996029 h 3619675"/>
                <a:gd name="connsiteX56" fmla="*/ 484590 w 2701062"/>
                <a:gd name="connsiteY56" fmla="*/ 2962318 h 3619675"/>
                <a:gd name="connsiteX57" fmla="*/ 446665 w 2701062"/>
                <a:gd name="connsiteY57" fmla="*/ 2987601 h 3619675"/>
                <a:gd name="connsiteX58" fmla="*/ 434024 w 2701062"/>
                <a:gd name="connsiteY58" fmla="*/ 3105588 h 3619675"/>
                <a:gd name="connsiteX59" fmla="*/ 328678 w 2701062"/>
                <a:gd name="connsiteY59" fmla="*/ 3232003 h 3619675"/>
                <a:gd name="connsiteX60" fmla="*/ 273899 w 2701062"/>
                <a:gd name="connsiteY60" fmla="*/ 3244644 h 3619675"/>
                <a:gd name="connsiteX61" fmla="*/ 252829 w 2701062"/>
                <a:gd name="connsiteY61" fmla="*/ 3295210 h 3619675"/>
                <a:gd name="connsiteX62" fmla="*/ 202263 w 2701062"/>
                <a:gd name="connsiteY62" fmla="*/ 3375273 h 3619675"/>
                <a:gd name="connsiteX63" fmla="*/ 164339 w 2701062"/>
                <a:gd name="connsiteY63" fmla="*/ 3404770 h 3619675"/>
                <a:gd name="connsiteX64" fmla="*/ 75849 w 2701062"/>
                <a:gd name="connsiteY64" fmla="*/ 3434267 h 3619675"/>
                <a:gd name="connsiteX65" fmla="*/ 12641 w 2701062"/>
                <a:gd name="connsiteY65" fmla="*/ 3467977 h 3619675"/>
                <a:gd name="connsiteX66" fmla="*/ 0 w 2701062"/>
                <a:gd name="connsiteY66" fmla="*/ 3548040 h 3619675"/>
                <a:gd name="connsiteX67" fmla="*/ 63207 w 2701062"/>
                <a:gd name="connsiteY67" fmla="*/ 3543826 h 3619675"/>
                <a:gd name="connsiteX68" fmla="*/ 96918 w 2701062"/>
                <a:gd name="connsiteY68" fmla="*/ 3497474 h 3619675"/>
                <a:gd name="connsiteX69" fmla="*/ 155911 w 2701062"/>
                <a:gd name="connsiteY69" fmla="*/ 3539612 h 3619675"/>
                <a:gd name="connsiteX70" fmla="*/ 164339 w 2701062"/>
                <a:gd name="connsiteY70" fmla="*/ 3619675 h 3619675"/>
                <a:gd name="connsiteX71" fmla="*/ 265471 w 2701062"/>
                <a:gd name="connsiteY71" fmla="*/ 3569109 h 3619675"/>
                <a:gd name="connsiteX72" fmla="*/ 252829 w 2701062"/>
                <a:gd name="connsiteY72" fmla="*/ 3510115 h 3619675"/>
                <a:gd name="connsiteX73" fmla="*/ 307609 w 2701062"/>
                <a:gd name="connsiteY73" fmla="*/ 3467977 h 3619675"/>
                <a:gd name="connsiteX74" fmla="*/ 345534 w 2701062"/>
                <a:gd name="connsiteY74" fmla="*/ 3430053 h 3619675"/>
                <a:gd name="connsiteX75" fmla="*/ 375030 w 2701062"/>
                <a:gd name="connsiteY75" fmla="*/ 3387914 h 3619675"/>
                <a:gd name="connsiteX76" fmla="*/ 497231 w 2701062"/>
                <a:gd name="connsiteY76" fmla="*/ 3396342 h 3619675"/>
                <a:gd name="connsiteX77" fmla="*/ 497231 w 2701062"/>
                <a:gd name="connsiteY77" fmla="*/ 3396342 h 3619675"/>
                <a:gd name="connsiteX78" fmla="*/ 568866 w 2701062"/>
                <a:gd name="connsiteY78" fmla="*/ 3430053 h 3619675"/>
                <a:gd name="connsiteX79" fmla="*/ 589935 w 2701062"/>
                <a:gd name="connsiteY79" fmla="*/ 3408984 h 3619675"/>
                <a:gd name="connsiteX80" fmla="*/ 648929 w 2701062"/>
                <a:gd name="connsiteY80" fmla="*/ 3438480 h 3619675"/>
                <a:gd name="connsiteX81" fmla="*/ 674212 w 2701062"/>
                <a:gd name="connsiteY81" fmla="*/ 3434267 h 3619675"/>
                <a:gd name="connsiteX82" fmla="*/ 720564 w 2701062"/>
                <a:gd name="connsiteY82" fmla="*/ 3497474 h 3619675"/>
                <a:gd name="connsiteX83" fmla="*/ 754275 w 2701062"/>
                <a:gd name="connsiteY83" fmla="*/ 3489046 h 3619675"/>
                <a:gd name="connsiteX84" fmla="*/ 804840 w 2701062"/>
                <a:gd name="connsiteY84" fmla="*/ 3413197 h 3619675"/>
                <a:gd name="connsiteX85" fmla="*/ 842765 w 2701062"/>
                <a:gd name="connsiteY85" fmla="*/ 3379487 h 3619675"/>
                <a:gd name="connsiteX86" fmla="*/ 830123 w 2701062"/>
                <a:gd name="connsiteY86" fmla="*/ 3324707 h 3619675"/>
                <a:gd name="connsiteX87" fmla="*/ 859620 w 2701062"/>
                <a:gd name="connsiteY87" fmla="*/ 3269927 h 3619675"/>
                <a:gd name="connsiteX88" fmla="*/ 918614 w 2701062"/>
                <a:gd name="connsiteY88" fmla="*/ 3219362 h 3619675"/>
                <a:gd name="connsiteX89" fmla="*/ 1011318 w 2701062"/>
                <a:gd name="connsiteY89" fmla="*/ 3202506 h 3619675"/>
                <a:gd name="connsiteX90" fmla="*/ 1078739 w 2701062"/>
                <a:gd name="connsiteY90" fmla="*/ 3189865 h 3619675"/>
                <a:gd name="connsiteX91" fmla="*/ 1163016 w 2701062"/>
                <a:gd name="connsiteY91" fmla="*/ 3261500 h 3619675"/>
                <a:gd name="connsiteX92" fmla="*/ 1222009 w 2701062"/>
                <a:gd name="connsiteY92" fmla="*/ 3295210 h 3619675"/>
                <a:gd name="connsiteX93" fmla="*/ 1226223 w 2701062"/>
                <a:gd name="connsiteY93" fmla="*/ 3248858 h 3619675"/>
                <a:gd name="connsiteX94" fmla="*/ 1243078 w 2701062"/>
                <a:gd name="connsiteY94" fmla="*/ 3240431 h 3619675"/>
                <a:gd name="connsiteX95" fmla="*/ 1344210 w 2701062"/>
                <a:gd name="connsiteY95" fmla="*/ 3261500 h 3619675"/>
                <a:gd name="connsiteX96" fmla="*/ 1398990 w 2701062"/>
                <a:gd name="connsiteY96" fmla="*/ 3269927 h 3619675"/>
                <a:gd name="connsiteX97" fmla="*/ 1436914 w 2701062"/>
                <a:gd name="connsiteY97" fmla="*/ 3198292 h 3619675"/>
                <a:gd name="connsiteX98" fmla="*/ 1495908 w 2701062"/>
                <a:gd name="connsiteY98" fmla="*/ 3189865 h 3619675"/>
                <a:gd name="connsiteX99" fmla="*/ 1597040 w 2701062"/>
                <a:gd name="connsiteY99" fmla="*/ 3244644 h 3619675"/>
                <a:gd name="connsiteX100" fmla="*/ 1656033 w 2701062"/>
                <a:gd name="connsiteY100" fmla="*/ 3265714 h 3619675"/>
                <a:gd name="connsiteX101" fmla="*/ 1719240 w 2701062"/>
                <a:gd name="connsiteY101" fmla="*/ 3206720 h 3619675"/>
                <a:gd name="connsiteX102" fmla="*/ 1715027 w 2701062"/>
                <a:gd name="connsiteY102" fmla="*/ 3135085 h 3619675"/>
                <a:gd name="connsiteX103" fmla="*/ 1833014 w 2701062"/>
                <a:gd name="connsiteY103" fmla="*/ 3185651 h 3619675"/>
                <a:gd name="connsiteX104" fmla="*/ 1862510 w 2701062"/>
                <a:gd name="connsiteY104" fmla="*/ 3135085 h 3619675"/>
                <a:gd name="connsiteX105" fmla="*/ 2018422 w 2701062"/>
                <a:gd name="connsiteY105" fmla="*/ 3114016 h 3619675"/>
                <a:gd name="connsiteX106" fmla="*/ 2186975 w 2701062"/>
                <a:gd name="connsiteY106" fmla="*/ 3173009 h 3619675"/>
                <a:gd name="connsiteX107" fmla="*/ 2254396 w 2701062"/>
                <a:gd name="connsiteY107" fmla="*/ 3088733 h 3619675"/>
                <a:gd name="connsiteX108" fmla="*/ 2338673 w 2701062"/>
                <a:gd name="connsiteY108" fmla="*/ 3088733 h 3619675"/>
                <a:gd name="connsiteX109" fmla="*/ 2380811 w 2701062"/>
                <a:gd name="connsiteY109" fmla="*/ 3033953 h 3619675"/>
                <a:gd name="connsiteX110" fmla="*/ 2456660 w 2701062"/>
                <a:gd name="connsiteY110" fmla="*/ 3038167 h 3619675"/>
                <a:gd name="connsiteX111" fmla="*/ 2469301 w 2701062"/>
                <a:gd name="connsiteY111" fmla="*/ 2958104 h 3619675"/>
                <a:gd name="connsiteX112" fmla="*/ 2595716 w 2701062"/>
                <a:gd name="connsiteY112" fmla="*/ 2890683 h 3619675"/>
                <a:gd name="connsiteX113" fmla="*/ 2595716 w 2701062"/>
                <a:gd name="connsiteY113" fmla="*/ 2789551 h 3619675"/>
                <a:gd name="connsiteX114" fmla="*/ 2616785 w 2701062"/>
                <a:gd name="connsiteY114" fmla="*/ 2751627 h 3619675"/>
                <a:gd name="connsiteX115" fmla="*/ 2591502 w 2701062"/>
                <a:gd name="connsiteY115" fmla="*/ 2726344 h 3619675"/>
                <a:gd name="connsiteX116" fmla="*/ 2515653 w 2701062"/>
                <a:gd name="connsiteY116" fmla="*/ 2726344 h 3619675"/>
                <a:gd name="connsiteX117" fmla="*/ 2460874 w 2701062"/>
                <a:gd name="connsiteY117" fmla="*/ 2738985 h 3619675"/>
                <a:gd name="connsiteX118" fmla="*/ 2435591 w 2701062"/>
                <a:gd name="connsiteY118" fmla="*/ 2751627 h 3619675"/>
                <a:gd name="connsiteX119" fmla="*/ 2397666 w 2701062"/>
                <a:gd name="connsiteY119" fmla="*/ 2701061 h 3619675"/>
                <a:gd name="connsiteX120" fmla="*/ 2347100 w 2701062"/>
                <a:gd name="connsiteY120" fmla="*/ 2675778 h 3619675"/>
                <a:gd name="connsiteX121" fmla="*/ 2410308 w 2701062"/>
                <a:gd name="connsiteY121" fmla="*/ 2637854 h 3619675"/>
                <a:gd name="connsiteX122" fmla="*/ 2439804 w 2701062"/>
                <a:gd name="connsiteY122" fmla="*/ 2490370 h 3619675"/>
                <a:gd name="connsiteX123" fmla="*/ 2481943 w 2701062"/>
                <a:gd name="connsiteY123" fmla="*/ 2524080 h 3619675"/>
                <a:gd name="connsiteX124" fmla="*/ 2532509 w 2701062"/>
                <a:gd name="connsiteY124" fmla="*/ 2452445 h 3619675"/>
                <a:gd name="connsiteX125" fmla="*/ 2545150 w 2701062"/>
                <a:gd name="connsiteY125" fmla="*/ 2414521 h 3619675"/>
                <a:gd name="connsiteX126" fmla="*/ 2633640 w 2701062"/>
                <a:gd name="connsiteY126" fmla="*/ 2300748 h 3619675"/>
                <a:gd name="connsiteX127" fmla="*/ 2650496 w 2701062"/>
                <a:gd name="connsiteY127" fmla="*/ 2208044 h 3619675"/>
                <a:gd name="connsiteX128" fmla="*/ 2696848 w 2701062"/>
                <a:gd name="connsiteY128" fmla="*/ 2132195 h 3619675"/>
                <a:gd name="connsiteX129" fmla="*/ 2701062 w 2701062"/>
                <a:gd name="connsiteY129" fmla="*/ 1925717 h 3619675"/>
                <a:gd name="connsiteX130" fmla="*/ 2503012 w 2701062"/>
                <a:gd name="connsiteY130" fmla="*/ 1790875 h 3619675"/>
                <a:gd name="connsiteX131" fmla="*/ 2237541 w 2701062"/>
                <a:gd name="connsiteY131" fmla="*/ 1761378 h 3619675"/>
                <a:gd name="connsiteX132" fmla="*/ 2161692 w 2701062"/>
                <a:gd name="connsiteY132" fmla="*/ 1849868 h 3619675"/>
                <a:gd name="connsiteX133" fmla="*/ 2123768 w 2701062"/>
                <a:gd name="connsiteY133" fmla="*/ 1841441 h 3619675"/>
                <a:gd name="connsiteX134" fmla="*/ 2111126 w 2701062"/>
                <a:gd name="connsiteY134" fmla="*/ 1790875 h 3619675"/>
                <a:gd name="connsiteX135" fmla="*/ 2203830 w 2701062"/>
                <a:gd name="connsiteY135" fmla="*/ 1693957 h 3619675"/>
                <a:gd name="connsiteX136" fmla="*/ 2178547 w 2701062"/>
                <a:gd name="connsiteY136" fmla="*/ 1554901 h 3619675"/>
                <a:gd name="connsiteX137" fmla="*/ 2090057 w 2701062"/>
                <a:gd name="connsiteY137" fmla="*/ 1462197 h 3619675"/>
                <a:gd name="connsiteX138" fmla="*/ 2056346 w 2701062"/>
                <a:gd name="connsiteY138" fmla="*/ 1432700 h 3619675"/>
                <a:gd name="connsiteX139" fmla="*/ 2127981 w 2701062"/>
                <a:gd name="connsiteY139" fmla="*/ 1420058 h 3619675"/>
                <a:gd name="connsiteX140" fmla="*/ 2127981 w 2701062"/>
                <a:gd name="connsiteY140" fmla="*/ 1386348 h 3619675"/>
                <a:gd name="connsiteX141" fmla="*/ 2031063 w 2701062"/>
                <a:gd name="connsiteY141" fmla="*/ 1259933 h 3619675"/>
                <a:gd name="connsiteX142" fmla="*/ 2022636 w 2701062"/>
                <a:gd name="connsiteY142" fmla="*/ 1175656 h 3619675"/>
                <a:gd name="connsiteX143" fmla="*/ 2056346 w 2701062"/>
                <a:gd name="connsiteY143" fmla="*/ 1112449 h 3619675"/>
                <a:gd name="connsiteX144" fmla="*/ 2039491 w 2701062"/>
                <a:gd name="connsiteY144" fmla="*/ 1078738 h 3619675"/>
                <a:gd name="connsiteX145" fmla="*/ 1967856 w 2701062"/>
                <a:gd name="connsiteY145" fmla="*/ 1057669 h 3619675"/>
                <a:gd name="connsiteX146" fmla="*/ 1929932 w 2701062"/>
                <a:gd name="connsiteY146" fmla="*/ 998676 h 3619675"/>
                <a:gd name="connsiteX147" fmla="*/ 1934146 w 2701062"/>
                <a:gd name="connsiteY147" fmla="*/ 939682 h 3619675"/>
                <a:gd name="connsiteX148" fmla="*/ 1727668 w 2701062"/>
                <a:gd name="connsiteY148" fmla="*/ 821695 h 3619675"/>
                <a:gd name="connsiteX149" fmla="*/ 1664461 w 2701062"/>
                <a:gd name="connsiteY149" fmla="*/ 762702 h 3619675"/>
                <a:gd name="connsiteX150" fmla="*/ 1516977 w 2701062"/>
                <a:gd name="connsiteY150" fmla="*/ 223333 h 3619675"/>
                <a:gd name="connsiteX151" fmla="*/ 1407417 w 2701062"/>
                <a:gd name="connsiteY151" fmla="*/ 105347 h 3619675"/>
                <a:gd name="connsiteX152" fmla="*/ 1327354 w 2701062"/>
                <a:gd name="connsiteY152" fmla="*/ 80063 h 3619675"/>
                <a:gd name="connsiteX0" fmla="*/ 1382133 w 2701062"/>
                <a:gd name="connsiteY0" fmla="*/ 12642 h 3619675"/>
                <a:gd name="connsiteX1" fmla="*/ 1344210 w 2701062"/>
                <a:gd name="connsiteY1" fmla="*/ 0 h 3619675"/>
                <a:gd name="connsiteX2" fmla="*/ 1264148 w 2701062"/>
                <a:gd name="connsiteY2" fmla="*/ 164339 h 3619675"/>
                <a:gd name="connsiteX3" fmla="*/ 1281002 w 2701062"/>
                <a:gd name="connsiteY3" fmla="*/ 303396 h 3619675"/>
                <a:gd name="connsiteX4" fmla="*/ 1141946 w 2701062"/>
                <a:gd name="connsiteY4" fmla="*/ 438238 h 3619675"/>
                <a:gd name="connsiteX5" fmla="*/ 876475 w 2701062"/>
                <a:gd name="connsiteY5" fmla="*/ 695280 h 3619675"/>
                <a:gd name="connsiteX6" fmla="*/ 804840 w 2701062"/>
                <a:gd name="connsiteY6" fmla="*/ 766915 h 3619675"/>
                <a:gd name="connsiteX7" fmla="*/ 813268 w 2701062"/>
                <a:gd name="connsiteY7" fmla="*/ 897544 h 3619675"/>
                <a:gd name="connsiteX8" fmla="*/ 897545 w 2701062"/>
                <a:gd name="connsiteY8" fmla="*/ 1066097 h 3619675"/>
                <a:gd name="connsiteX9" fmla="*/ 943897 w 2701062"/>
                <a:gd name="connsiteY9" fmla="*/ 1150373 h 3619675"/>
                <a:gd name="connsiteX10" fmla="*/ 964966 w 2701062"/>
                <a:gd name="connsiteY10" fmla="*/ 1179870 h 3619675"/>
                <a:gd name="connsiteX11" fmla="*/ 994463 w 2701062"/>
                <a:gd name="connsiteY11" fmla="*/ 1154587 h 3619675"/>
                <a:gd name="connsiteX12" fmla="*/ 1011318 w 2701062"/>
                <a:gd name="connsiteY12" fmla="*/ 1099808 h 3619675"/>
                <a:gd name="connsiteX13" fmla="*/ 1057670 w 2701062"/>
                <a:gd name="connsiteY13" fmla="*/ 1091380 h 3619675"/>
                <a:gd name="connsiteX14" fmla="*/ 1053456 w 2701062"/>
                <a:gd name="connsiteY14" fmla="*/ 1154587 h 3619675"/>
                <a:gd name="connsiteX15" fmla="*/ 1040815 w 2701062"/>
                <a:gd name="connsiteY15" fmla="*/ 1188298 h 3619675"/>
                <a:gd name="connsiteX16" fmla="*/ 1049242 w 2701062"/>
                <a:gd name="connsiteY16" fmla="*/ 1213581 h 3619675"/>
                <a:gd name="connsiteX17" fmla="*/ 986035 w 2701062"/>
                <a:gd name="connsiteY17" fmla="*/ 1230436 h 3619675"/>
                <a:gd name="connsiteX18" fmla="*/ 1011318 w 2701062"/>
                <a:gd name="connsiteY18" fmla="*/ 1365279 h 3619675"/>
                <a:gd name="connsiteX19" fmla="*/ 1049242 w 2701062"/>
                <a:gd name="connsiteY19" fmla="*/ 1361065 h 3619675"/>
                <a:gd name="connsiteX20" fmla="*/ 1040815 w 2701062"/>
                <a:gd name="connsiteY20" fmla="*/ 1424272 h 3619675"/>
                <a:gd name="connsiteX21" fmla="*/ 981821 w 2701062"/>
                <a:gd name="connsiteY21" fmla="*/ 1457983 h 3619675"/>
                <a:gd name="connsiteX22" fmla="*/ 931255 w 2701062"/>
                <a:gd name="connsiteY22" fmla="*/ 1457983 h 3619675"/>
                <a:gd name="connsiteX23" fmla="*/ 897545 w 2701062"/>
                <a:gd name="connsiteY23" fmla="*/ 1521190 h 3619675"/>
                <a:gd name="connsiteX24" fmla="*/ 901758 w 2701062"/>
                <a:gd name="connsiteY24" fmla="*/ 1550687 h 3619675"/>
                <a:gd name="connsiteX25" fmla="*/ 948110 w 2701062"/>
                <a:gd name="connsiteY25" fmla="*/ 1559114 h 3619675"/>
                <a:gd name="connsiteX26" fmla="*/ 931255 w 2701062"/>
                <a:gd name="connsiteY26" fmla="*/ 1597039 h 3619675"/>
                <a:gd name="connsiteX27" fmla="*/ 952324 w 2701062"/>
                <a:gd name="connsiteY27" fmla="*/ 1605467 h 3619675"/>
                <a:gd name="connsiteX28" fmla="*/ 1015532 w 2701062"/>
                <a:gd name="connsiteY28" fmla="*/ 1609680 h 3619675"/>
                <a:gd name="connsiteX29" fmla="*/ 1040815 w 2701062"/>
                <a:gd name="connsiteY29" fmla="*/ 1647605 h 3619675"/>
                <a:gd name="connsiteX30" fmla="*/ 1036601 w 2701062"/>
                <a:gd name="connsiteY30" fmla="*/ 1685529 h 3619675"/>
                <a:gd name="connsiteX31" fmla="*/ 1104022 w 2701062"/>
                <a:gd name="connsiteY31" fmla="*/ 1786661 h 3619675"/>
                <a:gd name="connsiteX32" fmla="*/ 1053456 w 2701062"/>
                <a:gd name="connsiteY32" fmla="*/ 1811944 h 3619675"/>
                <a:gd name="connsiteX33" fmla="*/ 998676 w 2701062"/>
                <a:gd name="connsiteY33" fmla="*/ 1807730 h 3619675"/>
                <a:gd name="connsiteX34" fmla="*/ 964966 w 2701062"/>
                <a:gd name="connsiteY34" fmla="*/ 1887793 h 3619675"/>
                <a:gd name="connsiteX35" fmla="*/ 1015532 w 2701062"/>
                <a:gd name="connsiteY35" fmla="*/ 1929931 h 3619675"/>
                <a:gd name="connsiteX36" fmla="*/ 994463 w 2701062"/>
                <a:gd name="connsiteY36" fmla="*/ 2026849 h 3619675"/>
                <a:gd name="connsiteX37" fmla="*/ 1019746 w 2701062"/>
                <a:gd name="connsiteY37" fmla="*/ 2060560 h 3619675"/>
                <a:gd name="connsiteX38" fmla="*/ 990249 w 2701062"/>
                <a:gd name="connsiteY38" fmla="*/ 2094270 h 3619675"/>
                <a:gd name="connsiteX39" fmla="*/ 948110 w 2701062"/>
                <a:gd name="connsiteY39" fmla="*/ 2094270 h 3619675"/>
                <a:gd name="connsiteX40" fmla="*/ 939683 w 2701062"/>
                <a:gd name="connsiteY40" fmla="*/ 2132195 h 3619675"/>
                <a:gd name="connsiteX41" fmla="*/ 994463 w 2701062"/>
                <a:gd name="connsiteY41" fmla="*/ 2178547 h 3619675"/>
                <a:gd name="connsiteX42" fmla="*/ 981821 w 2701062"/>
                <a:gd name="connsiteY42" fmla="*/ 2359741 h 3619675"/>
                <a:gd name="connsiteX43" fmla="*/ 1015532 w 2701062"/>
                <a:gd name="connsiteY43" fmla="*/ 2439804 h 3619675"/>
                <a:gd name="connsiteX44" fmla="*/ 1049242 w 2701062"/>
                <a:gd name="connsiteY44" fmla="*/ 2439804 h 3619675"/>
                <a:gd name="connsiteX45" fmla="*/ 1129305 w 2701062"/>
                <a:gd name="connsiteY45" fmla="*/ 2507225 h 3619675"/>
                <a:gd name="connsiteX46" fmla="*/ 1125091 w 2701062"/>
                <a:gd name="connsiteY46" fmla="*/ 2637854 h 3619675"/>
                <a:gd name="connsiteX47" fmla="*/ 1087167 w 2701062"/>
                <a:gd name="connsiteY47" fmla="*/ 2701061 h 3619675"/>
                <a:gd name="connsiteX48" fmla="*/ 1015532 w 2701062"/>
                <a:gd name="connsiteY48" fmla="*/ 2768482 h 3619675"/>
                <a:gd name="connsiteX49" fmla="*/ 1007104 w 2701062"/>
                <a:gd name="connsiteY49" fmla="*/ 2856973 h 3619675"/>
                <a:gd name="connsiteX50" fmla="*/ 922828 w 2701062"/>
                <a:gd name="connsiteY50" fmla="*/ 2869614 h 3619675"/>
                <a:gd name="connsiteX51" fmla="*/ 868048 w 2701062"/>
                <a:gd name="connsiteY51" fmla="*/ 2873828 h 3619675"/>
                <a:gd name="connsiteX52" fmla="*/ 830123 w 2701062"/>
                <a:gd name="connsiteY52" fmla="*/ 2835903 h 3619675"/>
                <a:gd name="connsiteX53" fmla="*/ 577294 w 2701062"/>
                <a:gd name="connsiteY53" fmla="*/ 2856973 h 3619675"/>
                <a:gd name="connsiteX54" fmla="*/ 568866 w 2701062"/>
                <a:gd name="connsiteY54" fmla="*/ 2962318 h 3619675"/>
                <a:gd name="connsiteX55" fmla="*/ 514087 w 2701062"/>
                <a:gd name="connsiteY55" fmla="*/ 2996029 h 3619675"/>
                <a:gd name="connsiteX56" fmla="*/ 484590 w 2701062"/>
                <a:gd name="connsiteY56" fmla="*/ 2962318 h 3619675"/>
                <a:gd name="connsiteX57" fmla="*/ 446665 w 2701062"/>
                <a:gd name="connsiteY57" fmla="*/ 2987601 h 3619675"/>
                <a:gd name="connsiteX58" fmla="*/ 434024 w 2701062"/>
                <a:gd name="connsiteY58" fmla="*/ 3105588 h 3619675"/>
                <a:gd name="connsiteX59" fmla="*/ 328678 w 2701062"/>
                <a:gd name="connsiteY59" fmla="*/ 3232003 h 3619675"/>
                <a:gd name="connsiteX60" fmla="*/ 273899 w 2701062"/>
                <a:gd name="connsiteY60" fmla="*/ 3244644 h 3619675"/>
                <a:gd name="connsiteX61" fmla="*/ 252829 w 2701062"/>
                <a:gd name="connsiteY61" fmla="*/ 3295210 h 3619675"/>
                <a:gd name="connsiteX62" fmla="*/ 202263 w 2701062"/>
                <a:gd name="connsiteY62" fmla="*/ 3375273 h 3619675"/>
                <a:gd name="connsiteX63" fmla="*/ 164339 w 2701062"/>
                <a:gd name="connsiteY63" fmla="*/ 3404770 h 3619675"/>
                <a:gd name="connsiteX64" fmla="*/ 75849 w 2701062"/>
                <a:gd name="connsiteY64" fmla="*/ 3434267 h 3619675"/>
                <a:gd name="connsiteX65" fmla="*/ 12641 w 2701062"/>
                <a:gd name="connsiteY65" fmla="*/ 3467977 h 3619675"/>
                <a:gd name="connsiteX66" fmla="*/ 0 w 2701062"/>
                <a:gd name="connsiteY66" fmla="*/ 3548040 h 3619675"/>
                <a:gd name="connsiteX67" fmla="*/ 63207 w 2701062"/>
                <a:gd name="connsiteY67" fmla="*/ 3543826 h 3619675"/>
                <a:gd name="connsiteX68" fmla="*/ 96918 w 2701062"/>
                <a:gd name="connsiteY68" fmla="*/ 3497474 h 3619675"/>
                <a:gd name="connsiteX69" fmla="*/ 155911 w 2701062"/>
                <a:gd name="connsiteY69" fmla="*/ 3539612 h 3619675"/>
                <a:gd name="connsiteX70" fmla="*/ 164339 w 2701062"/>
                <a:gd name="connsiteY70" fmla="*/ 3619675 h 3619675"/>
                <a:gd name="connsiteX71" fmla="*/ 265471 w 2701062"/>
                <a:gd name="connsiteY71" fmla="*/ 3569109 h 3619675"/>
                <a:gd name="connsiteX72" fmla="*/ 252829 w 2701062"/>
                <a:gd name="connsiteY72" fmla="*/ 3510115 h 3619675"/>
                <a:gd name="connsiteX73" fmla="*/ 307609 w 2701062"/>
                <a:gd name="connsiteY73" fmla="*/ 3467977 h 3619675"/>
                <a:gd name="connsiteX74" fmla="*/ 345534 w 2701062"/>
                <a:gd name="connsiteY74" fmla="*/ 3430053 h 3619675"/>
                <a:gd name="connsiteX75" fmla="*/ 375030 w 2701062"/>
                <a:gd name="connsiteY75" fmla="*/ 3387914 h 3619675"/>
                <a:gd name="connsiteX76" fmla="*/ 497231 w 2701062"/>
                <a:gd name="connsiteY76" fmla="*/ 3396342 h 3619675"/>
                <a:gd name="connsiteX77" fmla="*/ 497231 w 2701062"/>
                <a:gd name="connsiteY77" fmla="*/ 3396342 h 3619675"/>
                <a:gd name="connsiteX78" fmla="*/ 568866 w 2701062"/>
                <a:gd name="connsiteY78" fmla="*/ 3430053 h 3619675"/>
                <a:gd name="connsiteX79" fmla="*/ 589935 w 2701062"/>
                <a:gd name="connsiteY79" fmla="*/ 3408984 h 3619675"/>
                <a:gd name="connsiteX80" fmla="*/ 648929 w 2701062"/>
                <a:gd name="connsiteY80" fmla="*/ 3438480 h 3619675"/>
                <a:gd name="connsiteX81" fmla="*/ 674212 w 2701062"/>
                <a:gd name="connsiteY81" fmla="*/ 3434267 h 3619675"/>
                <a:gd name="connsiteX82" fmla="*/ 720564 w 2701062"/>
                <a:gd name="connsiteY82" fmla="*/ 3497474 h 3619675"/>
                <a:gd name="connsiteX83" fmla="*/ 754275 w 2701062"/>
                <a:gd name="connsiteY83" fmla="*/ 3489046 h 3619675"/>
                <a:gd name="connsiteX84" fmla="*/ 804840 w 2701062"/>
                <a:gd name="connsiteY84" fmla="*/ 3413197 h 3619675"/>
                <a:gd name="connsiteX85" fmla="*/ 842765 w 2701062"/>
                <a:gd name="connsiteY85" fmla="*/ 3379487 h 3619675"/>
                <a:gd name="connsiteX86" fmla="*/ 830123 w 2701062"/>
                <a:gd name="connsiteY86" fmla="*/ 3324707 h 3619675"/>
                <a:gd name="connsiteX87" fmla="*/ 859620 w 2701062"/>
                <a:gd name="connsiteY87" fmla="*/ 3269927 h 3619675"/>
                <a:gd name="connsiteX88" fmla="*/ 918614 w 2701062"/>
                <a:gd name="connsiteY88" fmla="*/ 3219362 h 3619675"/>
                <a:gd name="connsiteX89" fmla="*/ 1011318 w 2701062"/>
                <a:gd name="connsiteY89" fmla="*/ 3202506 h 3619675"/>
                <a:gd name="connsiteX90" fmla="*/ 1078739 w 2701062"/>
                <a:gd name="connsiteY90" fmla="*/ 3189865 h 3619675"/>
                <a:gd name="connsiteX91" fmla="*/ 1163016 w 2701062"/>
                <a:gd name="connsiteY91" fmla="*/ 3261500 h 3619675"/>
                <a:gd name="connsiteX92" fmla="*/ 1222009 w 2701062"/>
                <a:gd name="connsiteY92" fmla="*/ 3295210 h 3619675"/>
                <a:gd name="connsiteX93" fmla="*/ 1226223 w 2701062"/>
                <a:gd name="connsiteY93" fmla="*/ 3248858 h 3619675"/>
                <a:gd name="connsiteX94" fmla="*/ 1243078 w 2701062"/>
                <a:gd name="connsiteY94" fmla="*/ 3240431 h 3619675"/>
                <a:gd name="connsiteX95" fmla="*/ 1344210 w 2701062"/>
                <a:gd name="connsiteY95" fmla="*/ 3261500 h 3619675"/>
                <a:gd name="connsiteX96" fmla="*/ 1398990 w 2701062"/>
                <a:gd name="connsiteY96" fmla="*/ 3269927 h 3619675"/>
                <a:gd name="connsiteX97" fmla="*/ 1436914 w 2701062"/>
                <a:gd name="connsiteY97" fmla="*/ 3198292 h 3619675"/>
                <a:gd name="connsiteX98" fmla="*/ 1495908 w 2701062"/>
                <a:gd name="connsiteY98" fmla="*/ 3189865 h 3619675"/>
                <a:gd name="connsiteX99" fmla="*/ 1597040 w 2701062"/>
                <a:gd name="connsiteY99" fmla="*/ 3244644 h 3619675"/>
                <a:gd name="connsiteX100" fmla="*/ 1656033 w 2701062"/>
                <a:gd name="connsiteY100" fmla="*/ 3265714 h 3619675"/>
                <a:gd name="connsiteX101" fmla="*/ 1719240 w 2701062"/>
                <a:gd name="connsiteY101" fmla="*/ 3206720 h 3619675"/>
                <a:gd name="connsiteX102" fmla="*/ 1715027 w 2701062"/>
                <a:gd name="connsiteY102" fmla="*/ 3135085 h 3619675"/>
                <a:gd name="connsiteX103" fmla="*/ 1833014 w 2701062"/>
                <a:gd name="connsiteY103" fmla="*/ 3185651 h 3619675"/>
                <a:gd name="connsiteX104" fmla="*/ 1862510 w 2701062"/>
                <a:gd name="connsiteY104" fmla="*/ 3135085 h 3619675"/>
                <a:gd name="connsiteX105" fmla="*/ 2018422 w 2701062"/>
                <a:gd name="connsiteY105" fmla="*/ 3114016 h 3619675"/>
                <a:gd name="connsiteX106" fmla="*/ 2186975 w 2701062"/>
                <a:gd name="connsiteY106" fmla="*/ 3173009 h 3619675"/>
                <a:gd name="connsiteX107" fmla="*/ 2254396 w 2701062"/>
                <a:gd name="connsiteY107" fmla="*/ 3088733 h 3619675"/>
                <a:gd name="connsiteX108" fmla="*/ 2338673 w 2701062"/>
                <a:gd name="connsiteY108" fmla="*/ 3088733 h 3619675"/>
                <a:gd name="connsiteX109" fmla="*/ 2380811 w 2701062"/>
                <a:gd name="connsiteY109" fmla="*/ 3033953 h 3619675"/>
                <a:gd name="connsiteX110" fmla="*/ 2456660 w 2701062"/>
                <a:gd name="connsiteY110" fmla="*/ 3038167 h 3619675"/>
                <a:gd name="connsiteX111" fmla="*/ 2469301 w 2701062"/>
                <a:gd name="connsiteY111" fmla="*/ 2958104 h 3619675"/>
                <a:gd name="connsiteX112" fmla="*/ 2595716 w 2701062"/>
                <a:gd name="connsiteY112" fmla="*/ 2890683 h 3619675"/>
                <a:gd name="connsiteX113" fmla="*/ 2595716 w 2701062"/>
                <a:gd name="connsiteY113" fmla="*/ 2789551 h 3619675"/>
                <a:gd name="connsiteX114" fmla="*/ 2616785 w 2701062"/>
                <a:gd name="connsiteY114" fmla="*/ 2751627 h 3619675"/>
                <a:gd name="connsiteX115" fmla="*/ 2591502 w 2701062"/>
                <a:gd name="connsiteY115" fmla="*/ 2726344 h 3619675"/>
                <a:gd name="connsiteX116" fmla="*/ 2515653 w 2701062"/>
                <a:gd name="connsiteY116" fmla="*/ 2726344 h 3619675"/>
                <a:gd name="connsiteX117" fmla="*/ 2460874 w 2701062"/>
                <a:gd name="connsiteY117" fmla="*/ 2738985 h 3619675"/>
                <a:gd name="connsiteX118" fmla="*/ 2435591 w 2701062"/>
                <a:gd name="connsiteY118" fmla="*/ 2751627 h 3619675"/>
                <a:gd name="connsiteX119" fmla="*/ 2397666 w 2701062"/>
                <a:gd name="connsiteY119" fmla="*/ 2701061 h 3619675"/>
                <a:gd name="connsiteX120" fmla="*/ 2347100 w 2701062"/>
                <a:gd name="connsiteY120" fmla="*/ 2675778 h 3619675"/>
                <a:gd name="connsiteX121" fmla="*/ 2410308 w 2701062"/>
                <a:gd name="connsiteY121" fmla="*/ 2637854 h 3619675"/>
                <a:gd name="connsiteX122" fmla="*/ 2439804 w 2701062"/>
                <a:gd name="connsiteY122" fmla="*/ 2490370 h 3619675"/>
                <a:gd name="connsiteX123" fmla="*/ 2481943 w 2701062"/>
                <a:gd name="connsiteY123" fmla="*/ 2524080 h 3619675"/>
                <a:gd name="connsiteX124" fmla="*/ 2532509 w 2701062"/>
                <a:gd name="connsiteY124" fmla="*/ 2452445 h 3619675"/>
                <a:gd name="connsiteX125" fmla="*/ 2545150 w 2701062"/>
                <a:gd name="connsiteY125" fmla="*/ 2414521 h 3619675"/>
                <a:gd name="connsiteX126" fmla="*/ 2633640 w 2701062"/>
                <a:gd name="connsiteY126" fmla="*/ 2300748 h 3619675"/>
                <a:gd name="connsiteX127" fmla="*/ 2650496 w 2701062"/>
                <a:gd name="connsiteY127" fmla="*/ 2208044 h 3619675"/>
                <a:gd name="connsiteX128" fmla="*/ 2696848 w 2701062"/>
                <a:gd name="connsiteY128" fmla="*/ 2132195 h 3619675"/>
                <a:gd name="connsiteX129" fmla="*/ 2701062 w 2701062"/>
                <a:gd name="connsiteY129" fmla="*/ 1925717 h 3619675"/>
                <a:gd name="connsiteX130" fmla="*/ 2503012 w 2701062"/>
                <a:gd name="connsiteY130" fmla="*/ 1790875 h 3619675"/>
                <a:gd name="connsiteX131" fmla="*/ 2237541 w 2701062"/>
                <a:gd name="connsiteY131" fmla="*/ 1761378 h 3619675"/>
                <a:gd name="connsiteX132" fmla="*/ 2161692 w 2701062"/>
                <a:gd name="connsiteY132" fmla="*/ 1849868 h 3619675"/>
                <a:gd name="connsiteX133" fmla="*/ 2123768 w 2701062"/>
                <a:gd name="connsiteY133" fmla="*/ 1841441 h 3619675"/>
                <a:gd name="connsiteX134" fmla="*/ 2111126 w 2701062"/>
                <a:gd name="connsiteY134" fmla="*/ 1790875 h 3619675"/>
                <a:gd name="connsiteX135" fmla="*/ 2203830 w 2701062"/>
                <a:gd name="connsiteY135" fmla="*/ 1693957 h 3619675"/>
                <a:gd name="connsiteX136" fmla="*/ 2178547 w 2701062"/>
                <a:gd name="connsiteY136" fmla="*/ 1554901 h 3619675"/>
                <a:gd name="connsiteX137" fmla="*/ 2090057 w 2701062"/>
                <a:gd name="connsiteY137" fmla="*/ 1462197 h 3619675"/>
                <a:gd name="connsiteX138" fmla="*/ 2056346 w 2701062"/>
                <a:gd name="connsiteY138" fmla="*/ 1432700 h 3619675"/>
                <a:gd name="connsiteX139" fmla="*/ 2127981 w 2701062"/>
                <a:gd name="connsiteY139" fmla="*/ 1420058 h 3619675"/>
                <a:gd name="connsiteX140" fmla="*/ 2127981 w 2701062"/>
                <a:gd name="connsiteY140" fmla="*/ 1386348 h 3619675"/>
                <a:gd name="connsiteX141" fmla="*/ 2031063 w 2701062"/>
                <a:gd name="connsiteY141" fmla="*/ 1259933 h 3619675"/>
                <a:gd name="connsiteX142" fmla="*/ 2022636 w 2701062"/>
                <a:gd name="connsiteY142" fmla="*/ 1175656 h 3619675"/>
                <a:gd name="connsiteX143" fmla="*/ 2056346 w 2701062"/>
                <a:gd name="connsiteY143" fmla="*/ 1112449 h 3619675"/>
                <a:gd name="connsiteX144" fmla="*/ 2039491 w 2701062"/>
                <a:gd name="connsiteY144" fmla="*/ 1078738 h 3619675"/>
                <a:gd name="connsiteX145" fmla="*/ 1967856 w 2701062"/>
                <a:gd name="connsiteY145" fmla="*/ 1057669 h 3619675"/>
                <a:gd name="connsiteX146" fmla="*/ 1929932 w 2701062"/>
                <a:gd name="connsiteY146" fmla="*/ 998676 h 3619675"/>
                <a:gd name="connsiteX147" fmla="*/ 1934146 w 2701062"/>
                <a:gd name="connsiteY147" fmla="*/ 939682 h 3619675"/>
                <a:gd name="connsiteX148" fmla="*/ 1727668 w 2701062"/>
                <a:gd name="connsiteY148" fmla="*/ 821695 h 3619675"/>
                <a:gd name="connsiteX149" fmla="*/ 1664461 w 2701062"/>
                <a:gd name="connsiteY149" fmla="*/ 762702 h 3619675"/>
                <a:gd name="connsiteX150" fmla="*/ 1516977 w 2701062"/>
                <a:gd name="connsiteY150" fmla="*/ 223333 h 3619675"/>
                <a:gd name="connsiteX151" fmla="*/ 1407417 w 2701062"/>
                <a:gd name="connsiteY151" fmla="*/ 105347 h 3619675"/>
                <a:gd name="connsiteX152" fmla="*/ 1382133 w 2701062"/>
                <a:gd name="connsiteY152" fmla="*/ 12642 h 3619675"/>
                <a:gd name="connsiteX0" fmla="*/ 1382133 w 2701062"/>
                <a:gd name="connsiteY0" fmla="*/ 0 h 3607033"/>
                <a:gd name="connsiteX1" fmla="*/ 1335782 w 2701062"/>
                <a:gd name="connsiteY1" fmla="*/ 63207 h 3607033"/>
                <a:gd name="connsiteX2" fmla="*/ 1264148 w 2701062"/>
                <a:gd name="connsiteY2" fmla="*/ 151697 h 3607033"/>
                <a:gd name="connsiteX3" fmla="*/ 1281002 w 2701062"/>
                <a:gd name="connsiteY3" fmla="*/ 290754 h 3607033"/>
                <a:gd name="connsiteX4" fmla="*/ 1141946 w 2701062"/>
                <a:gd name="connsiteY4" fmla="*/ 425596 h 3607033"/>
                <a:gd name="connsiteX5" fmla="*/ 876475 w 2701062"/>
                <a:gd name="connsiteY5" fmla="*/ 682638 h 3607033"/>
                <a:gd name="connsiteX6" fmla="*/ 804840 w 2701062"/>
                <a:gd name="connsiteY6" fmla="*/ 754273 h 3607033"/>
                <a:gd name="connsiteX7" fmla="*/ 813268 w 2701062"/>
                <a:gd name="connsiteY7" fmla="*/ 884902 h 3607033"/>
                <a:gd name="connsiteX8" fmla="*/ 897545 w 2701062"/>
                <a:gd name="connsiteY8" fmla="*/ 1053455 h 3607033"/>
                <a:gd name="connsiteX9" fmla="*/ 943897 w 2701062"/>
                <a:gd name="connsiteY9" fmla="*/ 1137731 h 3607033"/>
                <a:gd name="connsiteX10" fmla="*/ 964966 w 2701062"/>
                <a:gd name="connsiteY10" fmla="*/ 1167228 h 3607033"/>
                <a:gd name="connsiteX11" fmla="*/ 994463 w 2701062"/>
                <a:gd name="connsiteY11" fmla="*/ 1141945 h 3607033"/>
                <a:gd name="connsiteX12" fmla="*/ 1011318 w 2701062"/>
                <a:gd name="connsiteY12" fmla="*/ 1087166 h 3607033"/>
                <a:gd name="connsiteX13" fmla="*/ 1057670 w 2701062"/>
                <a:gd name="connsiteY13" fmla="*/ 1078738 h 3607033"/>
                <a:gd name="connsiteX14" fmla="*/ 1053456 w 2701062"/>
                <a:gd name="connsiteY14" fmla="*/ 1141945 h 3607033"/>
                <a:gd name="connsiteX15" fmla="*/ 1040815 w 2701062"/>
                <a:gd name="connsiteY15" fmla="*/ 1175656 h 3607033"/>
                <a:gd name="connsiteX16" fmla="*/ 1049242 w 2701062"/>
                <a:gd name="connsiteY16" fmla="*/ 1200939 h 3607033"/>
                <a:gd name="connsiteX17" fmla="*/ 986035 w 2701062"/>
                <a:gd name="connsiteY17" fmla="*/ 1217794 h 3607033"/>
                <a:gd name="connsiteX18" fmla="*/ 1011318 w 2701062"/>
                <a:gd name="connsiteY18" fmla="*/ 1352637 h 3607033"/>
                <a:gd name="connsiteX19" fmla="*/ 1049242 w 2701062"/>
                <a:gd name="connsiteY19" fmla="*/ 1348423 h 3607033"/>
                <a:gd name="connsiteX20" fmla="*/ 1040815 w 2701062"/>
                <a:gd name="connsiteY20" fmla="*/ 1411630 h 3607033"/>
                <a:gd name="connsiteX21" fmla="*/ 981821 w 2701062"/>
                <a:gd name="connsiteY21" fmla="*/ 1445341 h 3607033"/>
                <a:gd name="connsiteX22" fmla="*/ 931255 w 2701062"/>
                <a:gd name="connsiteY22" fmla="*/ 1445341 h 3607033"/>
                <a:gd name="connsiteX23" fmla="*/ 897545 w 2701062"/>
                <a:gd name="connsiteY23" fmla="*/ 1508548 h 3607033"/>
                <a:gd name="connsiteX24" fmla="*/ 901758 w 2701062"/>
                <a:gd name="connsiteY24" fmla="*/ 1538045 h 3607033"/>
                <a:gd name="connsiteX25" fmla="*/ 948110 w 2701062"/>
                <a:gd name="connsiteY25" fmla="*/ 1546472 h 3607033"/>
                <a:gd name="connsiteX26" fmla="*/ 931255 w 2701062"/>
                <a:gd name="connsiteY26" fmla="*/ 1584397 h 3607033"/>
                <a:gd name="connsiteX27" fmla="*/ 952324 w 2701062"/>
                <a:gd name="connsiteY27" fmla="*/ 1592825 h 3607033"/>
                <a:gd name="connsiteX28" fmla="*/ 1015532 w 2701062"/>
                <a:gd name="connsiteY28" fmla="*/ 1597038 h 3607033"/>
                <a:gd name="connsiteX29" fmla="*/ 1040815 w 2701062"/>
                <a:gd name="connsiteY29" fmla="*/ 1634963 h 3607033"/>
                <a:gd name="connsiteX30" fmla="*/ 1036601 w 2701062"/>
                <a:gd name="connsiteY30" fmla="*/ 1672887 h 3607033"/>
                <a:gd name="connsiteX31" fmla="*/ 1104022 w 2701062"/>
                <a:gd name="connsiteY31" fmla="*/ 1774019 h 3607033"/>
                <a:gd name="connsiteX32" fmla="*/ 1053456 w 2701062"/>
                <a:gd name="connsiteY32" fmla="*/ 1799302 h 3607033"/>
                <a:gd name="connsiteX33" fmla="*/ 998676 w 2701062"/>
                <a:gd name="connsiteY33" fmla="*/ 1795088 h 3607033"/>
                <a:gd name="connsiteX34" fmla="*/ 964966 w 2701062"/>
                <a:gd name="connsiteY34" fmla="*/ 1875151 h 3607033"/>
                <a:gd name="connsiteX35" fmla="*/ 1015532 w 2701062"/>
                <a:gd name="connsiteY35" fmla="*/ 1917289 h 3607033"/>
                <a:gd name="connsiteX36" fmla="*/ 994463 w 2701062"/>
                <a:gd name="connsiteY36" fmla="*/ 2014207 h 3607033"/>
                <a:gd name="connsiteX37" fmla="*/ 1019746 w 2701062"/>
                <a:gd name="connsiteY37" fmla="*/ 2047918 h 3607033"/>
                <a:gd name="connsiteX38" fmla="*/ 990249 w 2701062"/>
                <a:gd name="connsiteY38" fmla="*/ 2081628 h 3607033"/>
                <a:gd name="connsiteX39" fmla="*/ 948110 w 2701062"/>
                <a:gd name="connsiteY39" fmla="*/ 2081628 h 3607033"/>
                <a:gd name="connsiteX40" fmla="*/ 939683 w 2701062"/>
                <a:gd name="connsiteY40" fmla="*/ 2119553 h 3607033"/>
                <a:gd name="connsiteX41" fmla="*/ 994463 w 2701062"/>
                <a:gd name="connsiteY41" fmla="*/ 2165905 h 3607033"/>
                <a:gd name="connsiteX42" fmla="*/ 981821 w 2701062"/>
                <a:gd name="connsiteY42" fmla="*/ 2347099 h 3607033"/>
                <a:gd name="connsiteX43" fmla="*/ 1015532 w 2701062"/>
                <a:gd name="connsiteY43" fmla="*/ 2427162 h 3607033"/>
                <a:gd name="connsiteX44" fmla="*/ 1049242 w 2701062"/>
                <a:gd name="connsiteY44" fmla="*/ 2427162 h 3607033"/>
                <a:gd name="connsiteX45" fmla="*/ 1129305 w 2701062"/>
                <a:gd name="connsiteY45" fmla="*/ 2494583 h 3607033"/>
                <a:gd name="connsiteX46" fmla="*/ 1125091 w 2701062"/>
                <a:gd name="connsiteY46" fmla="*/ 2625212 h 3607033"/>
                <a:gd name="connsiteX47" fmla="*/ 1087167 w 2701062"/>
                <a:gd name="connsiteY47" fmla="*/ 2688419 h 3607033"/>
                <a:gd name="connsiteX48" fmla="*/ 1015532 w 2701062"/>
                <a:gd name="connsiteY48" fmla="*/ 2755840 h 3607033"/>
                <a:gd name="connsiteX49" fmla="*/ 1007104 w 2701062"/>
                <a:gd name="connsiteY49" fmla="*/ 2844331 h 3607033"/>
                <a:gd name="connsiteX50" fmla="*/ 922828 w 2701062"/>
                <a:gd name="connsiteY50" fmla="*/ 2856972 h 3607033"/>
                <a:gd name="connsiteX51" fmla="*/ 868048 w 2701062"/>
                <a:gd name="connsiteY51" fmla="*/ 2861186 h 3607033"/>
                <a:gd name="connsiteX52" fmla="*/ 830123 w 2701062"/>
                <a:gd name="connsiteY52" fmla="*/ 2823261 h 3607033"/>
                <a:gd name="connsiteX53" fmla="*/ 577294 w 2701062"/>
                <a:gd name="connsiteY53" fmla="*/ 2844331 h 3607033"/>
                <a:gd name="connsiteX54" fmla="*/ 568866 w 2701062"/>
                <a:gd name="connsiteY54" fmla="*/ 2949676 h 3607033"/>
                <a:gd name="connsiteX55" fmla="*/ 514087 w 2701062"/>
                <a:gd name="connsiteY55" fmla="*/ 2983387 h 3607033"/>
                <a:gd name="connsiteX56" fmla="*/ 484590 w 2701062"/>
                <a:gd name="connsiteY56" fmla="*/ 2949676 h 3607033"/>
                <a:gd name="connsiteX57" fmla="*/ 446665 w 2701062"/>
                <a:gd name="connsiteY57" fmla="*/ 2974959 h 3607033"/>
                <a:gd name="connsiteX58" fmla="*/ 434024 w 2701062"/>
                <a:gd name="connsiteY58" fmla="*/ 3092946 h 3607033"/>
                <a:gd name="connsiteX59" fmla="*/ 328678 w 2701062"/>
                <a:gd name="connsiteY59" fmla="*/ 3219361 h 3607033"/>
                <a:gd name="connsiteX60" fmla="*/ 273899 w 2701062"/>
                <a:gd name="connsiteY60" fmla="*/ 3232002 h 3607033"/>
                <a:gd name="connsiteX61" fmla="*/ 252829 w 2701062"/>
                <a:gd name="connsiteY61" fmla="*/ 3282568 h 3607033"/>
                <a:gd name="connsiteX62" fmla="*/ 202263 w 2701062"/>
                <a:gd name="connsiteY62" fmla="*/ 3362631 h 3607033"/>
                <a:gd name="connsiteX63" fmla="*/ 164339 w 2701062"/>
                <a:gd name="connsiteY63" fmla="*/ 3392128 h 3607033"/>
                <a:gd name="connsiteX64" fmla="*/ 75849 w 2701062"/>
                <a:gd name="connsiteY64" fmla="*/ 3421625 h 3607033"/>
                <a:gd name="connsiteX65" fmla="*/ 12641 w 2701062"/>
                <a:gd name="connsiteY65" fmla="*/ 3455335 h 3607033"/>
                <a:gd name="connsiteX66" fmla="*/ 0 w 2701062"/>
                <a:gd name="connsiteY66" fmla="*/ 3535398 h 3607033"/>
                <a:gd name="connsiteX67" fmla="*/ 63207 w 2701062"/>
                <a:gd name="connsiteY67" fmla="*/ 3531184 h 3607033"/>
                <a:gd name="connsiteX68" fmla="*/ 96918 w 2701062"/>
                <a:gd name="connsiteY68" fmla="*/ 3484832 h 3607033"/>
                <a:gd name="connsiteX69" fmla="*/ 155911 w 2701062"/>
                <a:gd name="connsiteY69" fmla="*/ 3526970 h 3607033"/>
                <a:gd name="connsiteX70" fmla="*/ 164339 w 2701062"/>
                <a:gd name="connsiteY70" fmla="*/ 3607033 h 3607033"/>
                <a:gd name="connsiteX71" fmla="*/ 265471 w 2701062"/>
                <a:gd name="connsiteY71" fmla="*/ 3556467 h 3607033"/>
                <a:gd name="connsiteX72" fmla="*/ 252829 w 2701062"/>
                <a:gd name="connsiteY72" fmla="*/ 3497473 h 3607033"/>
                <a:gd name="connsiteX73" fmla="*/ 307609 w 2701062"/>
                <a:gd name="connsiteY73" fmla="*/ 3455335 h 3607033"/>
                <a:gd name="connsiteX74" fmla="*/ 345534 w 2701062"/>
                <a:gd name="connsiteY74" fmla="*/ 3417411 h 3607033"/>
                <a:gd name="connsiteX75" fmla="*/ 375030 w 2701062"/>
                <a:gd name="connsiteY75" fmla="*/ 3375272 h 3607033"/>
                <a:gd name="connsiteX76" fmla="*/ 497231 w 2701062"/>
                <a:gd name="connsiteY76" fmla="*/ 3383700 h 3607033"/>
                <a:gd name="connsiteX77" fmla="*/ 497231 w 2701062"/>
                <a:gd name="connsiteY77" fmla="*/ 3383700 h 3607033"/>
                <a:gd name="connsiteX78" fmla="*/ 568866 w 2701062"/>
                <a:gd name="connsiteY78" fmla="*/ 3417411 h 3607033"/>
                <a:gd name="connsiteX79" fmla="*/ 589935 w 2701062"/>
                <a:gd name="connsiteY79" fmla="*/ 3396342 h 3607033"/>
                <a:gd name="connsiteX80" fmla="*/ 648929 w 2701062"/>
                <a:gd name="connsiteY80" fmla="*/ 3425838 h 3607033"/>
                <a:gd name="connsiteX81" fmla="*/ 674212 w 2701062"/>
                <a:gd name="connsiteY81" fmla="*/ 3421625 h 3607033"/>
                <a:gd name="connsiteX82" fmla="*/ 720564 w 2701062"/>
                <a:gd name="connsiteY82" fmla="*/ 3484832 h 3607033"/>
                <a:gd name="connsiteX83" fmla="*/ 754275 w 2701062"/>
                <a:gd name="connsiteY83" fmla="*/ 3476404 h 3607033"/>
                <a:gd name="connsiteX84" fmla="*/ 804840 w 2701062"/>
                <a:gd name="connsiteY84" fmla="*/ 3400555 h 3607033"/>
                <a:gd name="connsiteX85" fmla="*/ 842765 w 2701062"/>
                <a:gd name="connsiteY85" fmla="*/ 3366845 h 3607033"/>
                <a:gd name="connsiteX86" fmla="*/ 830123 w 2701062"/>
                <a:gd name="connsiteY86" fmla="*/ 3312065 h 3607033"/>
                <a:gd name="connsiteX87" fmla="*/ 859620 w 2701062"/>
                <a:gd name="connsiteY87" fmla="*/ 3257285 h 3607033"/>
                <a:gd name="connsiteX88" fmla="*/ 918614 w 2701062"/>
                <a:gd name="connsiteY88" fmla="*/ 3206720 h 3607033"/>
                <a:gd name="connsiteX89" fmla="*/ 1011318 w 2701062"/>
                <a:gd name="connsiteY89" fmla="*/ 3189864 h 3607033"/>
                <a:gd name="connsiteX90" fmla="*/ 1078739 w 2701062"/>
                <a:gd name="connsiteY90" fmla="*/ 3177223 h 3607033"/>
                <a:gd name="connsiteX91" fmla="*/ 1163016 w 2701062"/>
                <a:gd name="connsiteY91" fmla="*/ 3248858 h 3607033"/>
                <a:gd name="connsiteX92" fmla="*/ 1222009 w 2701062"/>
                <a:gd name="connsiteY92" fmla="*/ 3282568 h 3607033"/>
                <a:gd name="connsiteX93" fmla="*/ 1226223 w 2701062"/>
                <a:gd name="connsiteY93" fmla="*/ 3236216 h 3607033"/>
                <a:gd name="connsiteX94" fmla="*/ 1243078 w 2701062"/>
                <a:gd name="connsiteY94" fmla="*/ 3227789 h 3607033"/>
                <a:gd name="connsiteX95" fmla="*/ 1344210 w 2701062"/>
                <a:gd name="connsiteY95" fmla="*/ 3248858 h 3607033"/>
                <a:gd name="connsiteX96" fmla="*/ 1398990 w 2701062"/>
                <a:gd name="connsiteY96" fmla="*/ 3257285 h 3607033"/>
                <a:gd name="connsiteX97" fmla="*/ 1436914 w 2701062"/>
                <a:gd name="connsiteY97" fmla="*/ 3185650 h 3607033"/>
                <a:gd name="connsiteX98" fmla="*/ 1495908 w 2701062"/>
                <a:gd name="connsiteY98" fmla="*/ 3177223 h 3607033"/>
                <a:gd name="connsiteX99" fmla="*/ 1597040 w 2701062"/>
                <a:gd name="connsiteY99" fmla="*/ 3232002 h 3607033"/>
                <a:gd name="connsiteX100" fmla="*/ 1656033 w 2701062"/>
                <a:gd name="connsiteY100" fmla="*/ 3253072 h 3607033"/>
                <a:gd name="connsiteX101" fmla="*/ 1719240 w 2701062"/>
                <a:gd name="connsiteY101" fmla="*/ 3194078 h 3607033"/>
                <a:gd name="connsiteX102" fmla="*/ 1715027 w 2701062"/>
                <a:gd name="connsiteY102" fmla="*/ 3122443 h 3607033"/>
                <a:gd name="connsiteX103" fmla="*/ 1833014 w 2701062"/>
                <a:gd name="connsiteY103" fmla="*/ 3173009 h 3607033"/>
                <a:gd name="connsiteX104" fmla="*/ 1862510 w 2701062"/>
                <a:gd name="connsiteY104" fmla="*/ 3122443 h 3607033"/>
                <a:gd name="connsiteX105" fmla="*/ 2018422 w 2701062"/>
                <a:gd name="connsiteY105" fmla="*/ 3101374 h 3607033"/>
                <a:gd name="connsiteX106" fmla="*/ 2186975 w 2701062"/>
                <a:gd name="connsiteY106" fmla="*/ 3160367 h 3607033"/>
                <a:gd name="connsiteX107" fmla="*/ 2254396 w 2701062"/>
                <a:gd name="connsiteY107" fmla="*/ 3076091 h 3607033"/>
                <a:gd name="connsiteX108" fmla="*/ 2338673 w 2701062"/>
                <a:gd name="connsiteY108" fmla="*/ 3076091 h 3607033"/>
                <a:gd name="connsiteX109" fmla="*/ 2380811 w 2701062"/>
                <a:gd name="connsiteY109" fmla="*/ 3021311 h 3607033"/>
                <a:gd name="connsiteX110" fmla="*/ 2456660 w 2701062"/>
                <a:gd name="connsiteY110" fmla="*/ 3025525 h 3607033"/>
                <a:gd name="connsiteX111" fmla="*/ 2469301 w 2701062"/>
                <a:gd name="connsiteY111" fmla="*/ 2945462 h 3607033"/>
                <a:gd name="connsiteX112" fmla="*/ 2595716 w 2701062"/>
                <a:gd name="connsiteY112" fmla="*/ 2878041 h 3607033"/>
                <a:gd name="connsiteX113" fmla="*/ 2595716 w 2701062"/>
                <a:gd name="connsiteY113" fmla="*/ 2776909 h 3607033"/>
                <a:gd name="connsiteX114" fmla="*/ 2616785 w 2701062"/>
                <a:gd name="connsiteY114" fmla="*/ 2738985 h 3607033"/>
                <a:gd name="connsiteX115" fmla="*/ 2591502 w 2701062"/>
                <a:gd name="connsiteY115" fmla="*/ 2713702 h 3607033"/>
                <a:gd name="connsiteX116" fmla="*/ 2515653 w 2701062"/>
                <a:gd name="connsiteY116" fmla="*/ 2713702 h 3607033"/>
                <a:gd name="connsiteX117" fmla="*/ 2460874 w 2701062"/>
                <a:gd name="connsiteY117" fmla="*/ 2726343 h 3607033"/>
                <a:gd name="connsiteX118" fmla="*/ 2435591 w 2701062"/>
                <a:gd name="connsiteY118" fmla="*/ 2738985 h 3607033"/>
                <a:gd name="connsiteX119" fmla="*/ 2397666 w 2701062"/>
                <a:gd name="connsiteY119" fmla="*/ 2688419 h 3607033"/>
                <a:gd name="connsiteX120" fmla="*/ 2347100 w 2701062"/>
                <a:gd name="connsiteY120" fmla="*/ 2663136 h 3607033"/>
                <a:gd name="connsiteX121" fmla="*/ 2410308 w 2701062"/>
                <a:gd name="connsiteY121" fmla="*/ 2625212 h 3607033"/>
                <a:gd name="connsiteX122" fmla="*/ 2439804 w 2701062"/>
                <a:gd name="connsiteY122" fmla="*/ 2477728 h 3607033"/>
                <a:gd name="connsiteX123" fmla="*/ 2481943 w 2701062"/>
                <a:gd name="connsiteY123" fmla="*/ 2511438 h 3607033"/>
                <a:gd name="connsiteX124" fmla="*/ 2532509 w 2701062"/>
                <a:gd name="connsiteY124" fmla="*/ 2439803 h 3607033"/>
                <a:gd name="connsiteX125" fmla="*/ 2545150 w 2701062"/>
                <a:gd name="connsiteY125" fmla="*/ 2401879 h 3607033"/>
                <a:gd name="connsiteX126" fmla="*/ 2633640 w 2701062"/>
                <a:gd name="connsiteY126" fmla="*/ 2288106 h 3607033"/>
                <a:gd name="connsiteX127" fmla="*/ 2650496 w 2701062"/>
                <a:gd name="connsiteY127" fmla="*/ 2195402 h 3607033"/>
                <a:gd name="connsiteX128" fmla="*/ 2696848 w 2701062"/>
                <a:gd name="connsiteY128" fmla="*/ 2119553 h 3607033"/>
                <a:gd name="connsiteX129" fmla="*/ 2701062 w 2701062"/>
                <a:gd name="connsiteY129" fmla="*/ 1913075 h 3607033"/>
                <a:gd name="connsiteX130" fmla="*/ 2503012 w 2701062"/>
                <a:gd name="connsiteY130" fmla="*/ 1778233 h 3607033"/>
                <a:gd name="connsiteX131" fmla="*/ 2237541 w 2701062"/>
                <a:gd name="connsiteY131" fmla="*/ 1748736 h 3607033"/>
                <a:gd name="connsiteX132" fmla="*/ 2161692 w 2701062"/>
                <a:gd name="connsiteY132" fmla="*/ 1837226 h 3607033"/>
                <a:gd name="connsiteX133" fmla="*/ 2123768 w 2701062"/>
                <a:gd name="connsiteY133" fmla="*/ 1828799 h 3607033"/>
                <a:gd name="connsiteX134" fmla="*/ 2111126 w 2701062"/>
                <a:gd name="connsiteY134" fmla="*/ 1778233 h 3607033"/>
                <a:gd name="connsiteX135" fmla="*/ 2203830 w 2701062"/>
                <a:gd name="connsiteY135" fmla="*/ 1681315 h 3607033"/>
                <a:gd name="connsiteX136" fmla="*/ 2178547 w 2701062"/>
                <a:gd name="connsiteY136" fmla="*/ 1542259 h 3607033"/>
                <a:gd name="connsiteX137" fmla="*/ 2090057 w 2701062"/>
                <a:gd name="connsiteY137" fmla="*/ 1449555 h 3607033"/>
                <a:gd name="connsiteX138" fmla="*/ 2056346 w 2701062"/>
                <a:gd name="connsiteY138" fmla="*/ 1420058 h 3607033"/>
                <a:gd name="connsiteX139" fmla="*/ 2127981 w 2701062"/>
                <a:gd name="connsiteY139" fmla="*/ 1407416 h 3607033"/>
                <a:gd name="connsiteX140" fmla="*/ 2127981 w 2701062"/>
                <a:gd name="connsiteY140" fmla="*/ 1373706 h 3607033"/>
                <a:gd name="connsiteX141" fmla="*/ 2031063 w 2701062"/>
                <a:gd name="connsiteY141" fmla="*/ 1247291 h 3607033"/>
                <a:gd name="connsiteX142" fmla="*/ 2022636 w 2701062"/>
                <a:gd name="connsiteY142" fmla="*/ 1163014 h 3607033"/>
                <a:gd name="connsiteX143" fmla="*/ 2056346 w 2701062"/>
                <a:gd name="connsiteY143" fmla="*/ 1099807 h 3607033"/>
                <a:gd name="connsiteX144" fmla="*/ 2039491 w 2701062"/>
                <a:gd name="connsiteY144" fmla="*/ 1066096 h 3607033"/>
                <a:gd name="connsiteX145" fmla="*/ 1967856 w 2701062"/>
                <a:gd name="connsiteY145" fmla="*/ 1045027 h 3607033"/>
                <a:gd name="connsiteX146" fmla="*/ 1929932 w 2701062"/>
                <a:gd name="connsiteY146" fmla="*/ 986034 h 3607033"/>
                <a:gd name="connsiteX147" fmla="*/ 1934146 w 2701062"/>
                <a:gd name="connsiteY147" fmla="*/ 927040 h 3607033"/>
                <a:gd name="connsiteX148" fmla="*/ 1727668 w 2701062"/>
                <a:gd name="connsiteY148" fmla="*/ 809053 h 3607033"/>
                <a:gd name="connsiteX149" fmla="*/ 1664461 w 2701062"/>
                <a:gd name="connsiteY149" fmla="*/ 750060 h 3607033"/>
                <a:gd name="connsiteX150" fmla="*/ 1516977 w 2701062"/>
                <a:gd name="connsiteY150" fmla="*/ 210691 h 3607033"/>
                <a:gd name="connsiteX151" fmla="*/ 1407417 w 2701062"/>
                <a:gd name="connsiteY151" fmla="*/ 92705 h 3607033"/>
                <a:gd name="connsiteX152" fmla="*/ 1382133 w 2701062"/>
                <a:gd name="connsiteY152" fmla="*/ 0 h 3607033"/>
                <a:gd name="connsiteX0" fmla="*/ 1382133 w 2701062"/>
                <a:gd name="connsiteY0" fmla="*/ 0 h 3607033"/>
                <a:gd name="connsiteX1" fmla="*/ 1358300 w 2701062"/>
                <a:gd name="connsiteY1" fmla="*/ 33448 h 3607033"/>
                <a:gd name="connsiteX2" fmla="*/ 1335782 w 2701062"/>
                <a:gd name="connsiteY2" fmla="*/ 63207 h 3607033"/>
                <a:gd name="connsiteX3" fmla="*/ 1264148 w 2701062"/>
                <a:gd name="connsiteY3" fmla="*/ 151697 h 3607033"/>
                <a:gd name="connsiteX4" fmla="*/ 1281002 w 2701062"/>
                <a:gd name="connsiteY4" fmla="*/ 290754 h 3607033"/>
                <a:gd name="connsiteX5" fmla="*/ 1141946 w 2701062"/>
                <a:gd name="connsiteY5" fmla="*/ 425596 h 3607033"/>
                <a:gd name="connsiteX6" fmla="*/ 876475 w 2701062"/>
                <a:gd name="connsiteY6" fmla="*/ 682638 h 3607033"/>
                <a:gd name="connsiteX7" fmla="*/ 804840 w 2701062"/>
                <a:gd name="connsiteY7" fmla="*/ 754273 h 3607033"/>
                <a:gd name="connsiteX8" fmla="*/ 813268 w 2701062"/>
                <a:gd name="connsiteY8" fmla="*/ 884902 h 3607033"/>
                <a:gd name="connsiteX9" fmla="*/ 897545 w 2701062"/>
                <a:gd name="connsiteY9" fmla="*/ 1053455 h 3607033"/>
                <a:gd name="connsiteX10" fmla="*/ 943897 w 2701062"/>
                <a:gd name="connsiteY10" fmla="*/ 1137731 h 3607033"/>
                <a:gd name="connsiteX11" fmla="*/ 964966 w 2701062"/>
                <a:gd name="connsiteY11" fmla="*/ 1167228 h 3607033"/>
                <a:gd name="connsiteX12" fmla="*/ 994463 w 2701062"/>
                <a:gd name="connsiteY12" fmla="*/ 1141945 h 3607033"/>
                <a:gd name="connsiteX13" fmla="*/ 1011318 w 2701062"/>
                <a:gd name="connsiteY13" fmla="*/ 1087166 h 3607033"/>
                <a:gd name="connsiteX14" fmla="*/ 1057670 w 2701062"/>
                <a:gd name="connsiteY14" fmla="*/ 1078738 h 3607033"/>
                <a:gd name="connsiteX15" fmla="*/ 1053456 w 2701062"/>
                <a:gd name="connsiteY15" fmla="*/ 1141945 h 3607033"/>
                <a:gd name="connsiteX16" fmla="*/ 1040815 w 2701062"/>
                <a:gd name="connsiteY16" fmla="*/ 1175656 h 3607033"/>
                <a:gd name="connsiteX17" fmla="*/ 1049242 w 2701062"/>
                <a:gd name="connsiteY17" fmla="*/ 1200939 h 3607033"/>
                <a:gd name="connsiteX18" fmla="*/ 986035 w 2701062"/>
                <a:gd name="connsiteY18" fmla="*/ 1217794 h 3607033"/>
                <a:gd name="connsiteX19" fmla="*/ 1011318 w 2701062"/>
                <a:gd name="connsiteY19" fmla="*/ 1352637 h 3607033"/>
                <a:gd name="connsiteX20" fmla="*/ 1049242 w 2701062"/>
                <a:gd name="connsiteY20" fmla="*/ 1348423 h 3607033"/>
                <a:gd name="connsiteX21" fmla="*/ 1040815 w 2701062"/>
                <a:gd name="connsiteY21" fmla="*/ 1411630 h 3607033"/>
                <a:gd name="connsiteX22" fmla="*/ 981821 w 2701062"/>
                <a:gd name="connsiteY22" fmla="*/ 1445341 h 3607033"/>
                <a:gd name="connsiteX23" fmla="*/ 931255 w 2701062"/>
                <a:gd name="connsiteY23" fmla="*/ 1445341 h 3607033"/>
                <a:gd name="connsiteX24" fmla="*/ 897545 w 2701062"/>
                <a:gd name="connsiteY24" fmla="*/ 1508548 h 3607033"/>
                <a:gd name="connsiteX25" fmla="*/ 901758 w 2701062"/>
                <a:gd name="connsiteY25" fmla="*/ 1538045 h 3607033"/>
                <a:gd name="connsiteX26" fmla="*/ 948110 w 2701062"/>
                <a:gd name="connsiteY26" fmla="*/ 1546472 h 3607033"/>
                <a:gd name="connsiteX27" fmla="*/ 931255 w 2701062"/>
                <a:gd name="connsiteY27" fmla="*/ 1584397 h 3607033"/>
                <a:gd name="connsiteX28" fmla="*/ 952324 w 2701062"/>
                <a:gd name="connsiteY28" fmla="*/ 1592825 h 3607033"/>
                <a:gd name="connsiteX29" fmla="*/ 1015532 w 2701062"/>
                <a:gd name="connsiteY29" fmla="*/ 1597038 h 3607033"/>
                <a:gd name="connsiteX30" fmla="*/ 1040815 w 2701062"/>
                <a:gd name="connsiteY30" fmla="*/ 1634963 h 3607033"/>
                <a:gd name="connsiteX31" fmla="*/ 1036601 w 2701062"/>
                <a:gd name="connsiteY31" fmla="*/ 1672887 h 3607033"/>
                <a:gd name="connsiteX32" fmla="*/ 1104022 w 2701062"/>
                <a:gd name="connsiteY32" fmla="*/ 1774019 h 3607033"/>
                <a:gd name="connsiteX33" fmla="*/ 1053456 w 2701062"/>
                <a:gd name="connsiteY33" fmla="*/ 1799302 h 3607033"/>
                <a:gd name="connsiteX34" fmla="*/ 998676 w 2701062"/>
                <a:gd name="connsiteY34" fmla="*/ 1795088 h 3607033"/>
                <a:gd name="connsiteX35" fmla="*/ 964966 w 2701062"/>
                <a:gd name="connsiteY35" fmla="*/ 1875151 h 3607033"/>
                <a:gd name="connsiteX36" fmla="*/ 1015532 w 2701062"/>
                <a:gd name="connsiteY36" fmla="*/ 1917289 h 3607033"/>
                <a:gd name="connsiteX37" fmla="*/ 994463 w 2701062"/>
                <a:gd name="connsiteY37" fmla="*/ 2014207 h 3607033"/>
                <a:gd name="connsiteX38" fmla="*/ 1019746 w 2701062"/>
                <a:gd name="connsiteY38" fmla="*/ 2047918 h 3607033"/>
                <a:gd name="connsiteX39" fmla="*/ 990249 w 2701062"/>
                <a:gd name="connsiteY39" fmla="*/ 2081628 h 3607033"/>
                <a:gd name="connsiteX40" fmla="*/ 948110 w 2701062"/>
                <a:gd name="connsiteY40" fmla="*/ 2081628 h 3607033"/>
                <a:gd name="connsiteX41" fmla="*/ 939683 w 2701062"/>
                <a:gd name="connsiteY41" fmla="*/ 2119553 h 3607033"/>
                <a:gd name="connsiteX42" fmla="*/ 994463 w 2701062"/>
                <a:gd name="connsiteY42" fmla="*/ 2165905 h 3607033"/>
                <a:gd name="connsiteX43" fmla="*/ 981821 w 2701062"/>
                <a:gd name="connsiteY43" fmla="*/ 2347099 h 3607033"/>
                <a:gd name="connsiteX44" fmla="*/ 1015532 w 2701062"/>
                <a:gd name="connsiteY44" fmla="*/ 2427162 h 3607033"/>
                <a:gd name="connsiteX45" fmla="*/ 1049242 w 2701062"/>
                <a:gd name="connsiteY45" fmla="*/ 2427162 h 3607033"/>
                <a:gd name="connsiteX46" fmla="*/ 1129305 w 2701062"/>
                <a:gd name="connsiteY46" fmla="*/ 2494583 h 3607033"/>
                <a:gd name="connsiteX47" fmla="*/ 1125091 w 2701062"/>
                <a:gd name="connsiteY47" fmla="*/ 2625212 h 3607033"/>
                <a:gd name="connsiteX48" fmla="*/ 1087167 w 2701062"/>
                <a:gd name="connsiteY48" fmla="*/ 2688419 h 3607033"/>
                <a:gd name="connsiteX49" fmla="*/ 1015532 w 2701062"/>
                <a:gd name="connsiteY49" fmla="*/ 2755840 h 3607033"/>
                <a:gd name="connsiteX50" fmla="*/ 1007104 w 2701062"/>
                <a:gd name="connsiteY50" fmla="*/ 2844331 h 3607033"/>
                <a:gd name="connsiteX51" fmla="*/ 922828 w 2701062"/>
                <a:gd name="connsiteY51" fmla="*/ 2856972 h 3607033"/>
                <a:gd name="connsiteX52" fmla="*/ 868048 w 2701062"/>
                <a:gd name="connsiteY52" fmla="*/ 2861186 h 3607033"/>
                <a:gd name="connsiteX53" fmla="*/ 830123 w 2701062"/>
                <a:gd name="connsiteY53" fmla="*/ 2823261 h 3607033"/>
                <a:gd name="connsiteX54" fmla="*/ 577294 w 2701062"/>
                <a:gd name="connsiteY54" fmla="*/ 2844331 h 3607033"/>
                <a:gd name="connsiteX55" fmla="*/ 568866 w 2701062"/>
                <a:gd name="connsiteY55" fmla="*/ 2949676 h 3607033"/>
                <a:gd name="connsiteX56" fmla="*/ 514087 w 2701062"/>
                <a:gd name="connsiteY56" fmla="*/ 2983387 h 3607033"/>
                <a:gd name="connsiteX57" fmla="*/ 484590 w 2701062"/>
                <a:gd name="connsiteY57" fmla="*/ 2949676 h 3607033"/>
                <a:gd name="connsiteX58" fmla="*/ 446665 w 2701062"/>
                <a:gd name="connsiteY58" fmla="*/ 2974959 h 3607033"/>
                <a:gd name="connsiteX59" fmla="*/ 434024 w 2701062"/>
                <a:gd name="connsiteY59" fmla="*/ 3092946 h 3607033"/>
                <a:gd name="connsiteX60" fmla="*/ 328678 w 2701062"/>
                <a:gd name="connsiteY60" fmla="*/ 3219361 h 3607033"/>
                <a:gd name="connsiteX61" fmla="*/ 273899 w 2701062"/>
                <a:gd name="connsiteY61" fmla="*/ 3232002 h 3607033"/>
                <a:gd name="connsiteX62" fmla="*/ 252829 w 2701062"/>
                <a:gd name="connsiteY62" fmla="*/ 3282568 h 3607033"/>
                <a:gd name="connsiteX63" fmla="*/ 202263 w 2701062"/>
                <a:gd name="connsiteY63" fmla="*/ 3362631 h 3607033"/>
                <a:gd name="connsiteX64" fmla="*/ 164339 w 2701062"/>
                <a:gd name="connsiteY64" fmla="*/ 3392128 h 3607033"/>
                <a:gd name="connsiteX65" fmla="*/ 75849 w 2701062"/>
                <a:gd name="connsiteY65" fmla="*/ 3421625 h 3607033"/>
                <a:gd name="connsiteX66" fmla="*/ 12641 w 2701062"/>
                <a:gd name="connsiteY66" fmla="*/ 3455335 h 3607033"/>
                <a:gd name="connsiteX67" fmla="*/ 0 w 2701062"/>
                <a:gd name="connsiteY67" fmla="*/ 3535398 h 3607033"/>
                <a:gd name="connsiteX68" fmla="*/ 63207 w 2701062"/>
                <a:gd name="connsiteY68" fmla="*/ 3531184 h 3607033"/>
                <a:gd name="connsiteX69" fmla="*/ 96918 w 2701062"/>
                <a:gd name="connsiteY69" fmla="*/ 3484832 h 3607033"/>
                <a:gd name="connsiteX70" fmla="*/ 155911 w 2701062"/>
                <a:gd name="connsiteY70" fmla="*/ 3526970 h 3607033"/>
                <a:gd name="connsiteX71" fmla="*/ 164339 w 2701062"/>
                <a:gd name="connsiteY71" fmla="*/ 3607033 h 3607033"/>
                <a:gd name="connsiteX72" fmla="*/ 265471 w 2701062"/>
                <a:gd name="connsiteY72" fmla="*/ 3556467 h 3607033"/>
                <a:gd name="connsiteX73" fmla="*/ 252829 w 2701062"/>
                <a:gd name="connsiteY73" fmla="*/ 3497473 h 3607033"/>
                <a:gd name="connsiteX74" fmla="*/ 307609 w 2701062"/>
                <a:gd name="connsiteY74" fmla="*/ 3455335 h 3607033"/>
                <a:gd name="connsiteX75" fmla="*/ 345534 w 2701062"/>
                <a:gd name="connsiteY75" fmla="*/ 3417411 h 3607033"/>
                <a:gd name="connsiteX76" fmla="*/ 375030 w 2701062"/>
                <a:gd name="connsiteY76" fmla="*/ 3375272 h 3607033"/>
                <a:gd name="connsiteX77" fmla="*/ 497231 w 2701062"/>
                <a:gd name="connsiteY77" fmla="*/ 3383700 h 3607033"/>
                <a:gd name="connsiteX78" fmla="*/ 497231 w 2701062"/>
                <a:gd name="connsiteY78" fmla="*/ 3383700 h 3607033"/>
                <a:gd name="connsiteX79" fmla="*/ 568866 w 2701062"/>
                <a:gd name="connsiteY79" fmla="*/ 3417411 h 3607033"/>
                <a:gd name="connsiteX80" fmla="*/ 589935 w 2701062"/>
                <a:gd name="connsiteY80" fmla="*/ 3396342 h 3607033"/>
                <a:gd name="connsiteX81" fmla="*/ 648929 w 2701062"/>
                <a:gd name="connsiteY81" fmla="*/ 3425838 h 3607033"/>
                <a:gd name="connsiteX82" fmla="*/ 674212 w 2701062"/>
                <a:gd name="connsiteY82" fmla="*/ 3421625 h 3607033"/>
                <a:gd name="connsiteX83" fmla="*/ 720564 w 2701062"/>
                <a:gd name="connsiteY83" fmla="*/ 3484832 h 3607033"/>
                <a:gd name="connsiteX84" fmla="*/ 754275 w 2701062"/>
                <a:gd name="connsiteY84" fmla="*/ 3476404 h 3607033"/>
                <a:gd name="connsiteX85" fmla="*/ 804840 w 2701062"/>
                <a:gd name="connsiteY85" fmla="*/ 3400555 h 3607033"/>
                <a:gd name="connsiteX86" fmla="*/ 842765 w 2701062"/>
                <a:gd name="connsiteY86" fmla="*/ 3366845 h 3607033"/>
                <a:gd name="connsiteX87" fmla="*/ 830123 w 2701062"/>
                <a:gd name="connsiteY87" fmla="*/ 3312065 h 3607033"/>
                <a:gd name="connsiteX88" fmla="*/ 859620 w 2701062"/>
                <a:gd name="connsiteY88" fmla="*/ 3257285 h 3607033"/>
                <a:gd name="connsiteX89" fmla="*/ 918614 w 2701062"/>
                <a:gd name="connsiteY89" fmla="*/ 3206720 h 3607033"/>
                <a:gd name="connsiteX90" fmla="*/ 1011318 w 2701062"/>
                <a:gd name="connsiteY90" fmla="*/ 3189864 h 3607033"/>
                <a:gd name="connsiteX91" fmla="*/ 1078739 w 2701062"/>
                <a:gd name="connsiteY91" fmla="*/ 3177223 h 3607033"/>
                <a:gd name="connsiteX92" fmla="*/ 1163016 w 2701062"/>
                <a:gd name="connsiteY92" fmla="*/ 3248858 h 3607033"/>
                <a:gd name="connsiteX93" fmla="*/ 1222009 w 2701062"/>
                <a:gd name="connsiteY93" fmla="*/ 3282568 h 3607033"/>
                <a:gd name="connsiteX94" fmla="*/ 1226223 w 2701062"/>
                <a:gd name="connsiteY94" fmla="*/ 3236216 h 3607033"/>
                <a:gd name="connsiteX95" fmla="*/ 1243078 w 2701062"/>
                <a:gd name="connsiteY95" fmla="*/ 3227789 h 3607033"/>
                <a:gd name="connsiteX96" fmla="*/ 1344210 w 2701062"/>
                <a:gd name="connsiteY96" fmla="*/ 3248858 h 3607033"/>
                <a:gd name="connsiteX97" fmla="*/ 1398990 w 2701062"/>
                <a:gd name="connsiteY97" fmla="*/ 3257285 h 3607033"/>
                <a:gd name="connsiteX98" fmla="*/ 1436914 w 2701062"/>
                <a:gd name="connsiteY98" fmla="*/ 3185650 h 3607033"/>
                <a:gd name="connsiteX99" fmla="*/ 1495908 w 2701062"/>
                <a:gd name="connsiteY99" fmla="*/ 3177223 h 3607033"/>
                <a:gd name="connsiteX100" fmla="*/ 1597040 w 2701062"/>
                <a:gd name="connsiteY100" fmla="*/ 3232002 h 3607033"/>
                <a:gd name="connsiteX101" fmla="*/ 1656033 w 2701062"/>
                <a:gd name="connsiteY101" fmla="*/ 3253072 h 3607033"/>
                <a:gd name="connsiteX102" fmla="*/ 1719240 w 2701062"/>
                <a:gd name="connsiteY102" fmla="*/ 3194078 h 3607033"/>
                <a:gd name="connsiteX103" fmla="*/ 1715027 w 2701062"/>
                <a:gd name="connsiteY103" fmla="*/ 3122443 h 3607033"/>
                <a:gd name="connsiteX104" fmla="*/ 1833014 w 2701062"/>
                <a:gd name="connsiteY104" fmla="*/ 3173009 h 3607033"/>
                <a:gd name="connsiteX105" fmla="*/ 1862510 w 2701062"/>
                <a:gd name="connsiteY105" fmla="*/ 3122443 h 3607033"/>
                <a:gd name="connsiteX106" fmla="*/ 2018422 w 2701062"/>
                <a:gd name="connsiteY106" fmla="*/ 3101374 h 3607033"/>
                <a:gd name="connsiteX107" fmla="*/ 2186975 w 2701062"/>
                <a:gd name="connsiteY107" fmla="*/ 3160367 h 3607033"/>
                <a:gd name="connsiteX108" fmla="*/ 2254396 w 2701062"/>
                <a:gd name="connsiteY108" fmla="*/ 3076091 h 3607033"/>
                <a:gd name="connsiteX109" fmla="*/ 2338673 w 2701062"/>
                <a:gd name="connsiteY109" fmla="*/ 3076091 h 3607033"/>
                <a:gd name="connsiteX110" fmla="*/ 2380811 w 2701062"/>
                <a:gd name="connsiteY110" fmla="*/ 3021311 h 3607033"/>
                <a:gd name="connsiteX111" fmla="*/ 2456660 w 2701062"/>
                <a:gd name="connsiteY111" fmla="*/ 3025525 h 3607033"/>
                <a:gd name="connsiteX112" fmla="*/ 2469301 w 2701062"/>
                <a:gd name="connsiteY112" fmla="*/ 2945462 h 3607033"/>
                <a:gd name="connsiteX113" fmla="*/ 2595716 w 2701062"/>
                <a:gd name="connsiteY113" fmla="*/ 2878041 h 3607033"/>
                <a:gd name="connsiteX114" fmla="*/ 2595716 w 2701062"/>
                <a:gd name="connsiteY114" fmla="*/ 2776909 h 3607033"/>
                <a:gd name="connsiteX115" fmla="*/ 2616785 w 2701062"/>
                <a:gd name="connsiteY115" fmla="*/ 2738985 h 3607033"/>
                <a:gd name="connsiteX116" fmla="*/ 2591502 w 2701062"/>
                <a:gd name="connsiteY116" fmla="*/ 2713702 h 3607033"/>
                <a:gd name="connsiteX117" fmla="*/ 2515653 w 2701062"/>
                <a:gd name="connsiteY117" fmla="*/ 2713702 h 3607033"/>
                <a:gd name="connsiteX118" fmla="*/ 2460874 w 2701062"/>
                <a:gd name="connsiteY118" fmla="*/ 2726343 h 3607033"/>
                <a:gd name="connsiteX119" fmla="*/ 2435591 w 2701062"/>
                <a:gd name="connsiteY119" fmla="*/ 2738985 h 3607033"/>
                <a:gd name="connsiteX120" fmla="*/ 2397666 w 2701062"/>
                <a:gd name="connsiteY120" fmla="*/ 2688419 h 3607033"/>
                <a:gd name="connsiteX121" fmla="*/ 2347100 w 2701062"/>
                <a:gd name="connsiteY121" fmla="*/ 2663136 h 3607033"/>
                <a:gd name="connsiteX122" fmla="*/ 2410308 w 2701062"/>
                <a:gd name="connsiteY122" fmla="*/ 2625212 h 3607033"/>
                <a:gd name="connsiteX123" fmla="*/ 2439804 w 2701062"/>
                <a:gd name="connsiteY123" fmla="*/ 2477728 h 3607033"/>
                <a:gd name="connsiteX124" fmla="*/ 2481943 w 2701062"/>
                <a:gd name="connsiteY124" fmla="*/ 2511438 h 3607033"/>
                <a:gd name="connsiteX125" fmla="*/ 2532509 w 2701062"/>
                <a:gd name="connsiteY125" fmla="*/ 2439803 h 3607033"/>
                <a:gd name="connsiteX126" fmla="*/ 2545150 w 2701062"/>
                <a:gd name="connsiteY126" fmla="*/ 2401879 h 3607033"/>
                <a:gd name="connsiteX127" fmla="*/ 2633640 w 2701062"/>
                <a:gd name="connsiteY127" fmla="*/ 2288106 h 3607033"/>
                <a:gd name="connsiteX128" fmla="*/ 2650496 w 2701062"/>
                <a:gd name="connsiteY128" fmla="*/ 2195402 h 3607033"/>
                <a:gd name="connsiteX129" fmla="*/ 2696848 w 2701062"/>
                <a:gd name="connsiteY129" fmla="*/ 2119553 h 3607033"/>
                <a:gd name="connsiteX130" fmla="*/ 2701062 w 2701062"/>
                <a:gd name="connsiteY130" fmla="*/ 1913075 h 3607033"/>
                <a:gd name="connsiteX131" fmla="*/ 2503012 w 2701062"/>
                <a:gd name="connsiteY131" fmla="*/ 1778233 h 3607033"/>
                <a:gd name="connsiteX132" fmla="*/ 2237541 w 2701062"/>
                <a:gd name="connsiteY132" fmla="*/ 1748736 h 3607033"/>
                <a:gd name="connsiteX133" fmla="*/ 2161692 w 2701062"/>
                <a:gd name="connsiteY133" fmla="*/ 1837226 h 3607033"/>
                <a:gd name="connsiteX134" fmla="*/ 2123768 w 2701062"/>
                <a:gd name="connsiteY134" fmla="*/ 1828799 h 3607033"/>
                <a:gd name="connsiteX135" fmla="*/ 2111126 w 2701062"/>
                <a:gd name="connsiteY135" fmla="*/ 1778233 h 3607033"/>
                <a:gd name="connsiteX136" fmla="*/ 2203830 w 2701062"/>
                <a:gd name="connsiteY136" fmla="*/ 1681315 h 3607033"/>
                <a:gd name="connsiteX137" fmla="*/ 2178547 w 2701062"/>
                <a:gd name="connsiteY137" fmla="*/ 1542259 h 3607033"/>
                <a:gd name="connsiteX138" fmla="*/ 2090057 w 2701062"/>
                <a:gd name="connsiteY138" fmla="*/ 1449555 h 3607033"/>
                <a:gd name="connsiteX139" fmla="*/ 2056346 w 2701062"/>
                <a:gd name="connsiteY139" fmla="*/ 1420058 h 3607033"/>
                <a:gd name="connsiteX140" fmla="*/ 2127981 w 2701062"/>
                <a:gd name="connsiteY140" fmla="*/ 1407416 h 3607033"/>
                <a:gd name="connsiteX141" fmla="*/ 2127981 w 2701062"/>
                <a:gd name="connsiteY141" fmla="*/ 1373706 h 3607033"/>
                <a:gd name="connsiteX142" fmla="*/ 2031063 w 2701062"/>
                <a:gd name="connsiteY142" fmla="*/ 1247291 h 3607033"/>
                <a:gd name="connsiteX143" fmla="*/ 2022636 w 2701062"/>
                <a:gd name="connsiteY143" fmla="*/ 1163014 h 3607033"/>
                <a:gd name="connsiteX144" fmla="*/ 2056346 w 2701062"/>
                <a:gd name="connsiteY144" fmla="*/ 1099807 h 3607033"/>
                <a:gd name="connsiteX145" fmla="*/ 2039491 w 2701062"/>
                <a:gd name="connsiteY145" fmla="*/ 1066096 h 3607033"/>
                <a:gd name="connsiteX146" fmla="*/ 1967856 w 2701062"/>
                <a:gd name="connsiteY146" fmla="*/ 1045027 h 3607033"/>
                <a:gd name="connsiteX147" fmla="*/ 1929932 w 2701062"/>
                <a:gd name="connsiteY147" fmla="*/ 986034 h 3607033"/>
                <a:gd name="connsiteX148" fmla="*/ 1934146 w 2701062"/>
                <a:gd name="connsiteY148" fmla="*/ 927040 h 3607033"/>
                <a:gd name="connsiteX149" fmla="*/ 1727668 w 2701062"/>
                <a:gd name="connsiteY149" fmla="*/ 809053 h 3607033"/>
                <a:gd name="connsiteX150" fmla="*/ 1664461 w 2701062"/>
                <a:gd name="connsiteY150" fmla="*/ 750060 h 3607033"/>
                <a:gd name="connsiteX151" fmla="*/ 1516977 w 2701062"/>
                <a:gd name="connsiteY151" fmla="*/ 210691 h 3607033"/>
                <a:gd name="connsiteX152" fmla="*/ 1407417 w 2701062"/>
                <a:gd name="connsiteY152" fmla="*/ 92705 h 3607033"/>
                <a:gd name="connsiteX153" fmla="*/ 1382133 w 2701062"/>
                <a:gd name="connsiteY153" fmla="*/ 0 h 3607033"/>
                <a:gd name="connsiteX0" fmla="*/ 1382133 w 2701062"/>
                <a:gd name="connsiteY0" fmla="*/ 28464 h 3635497"/>
                <a:gd name="connsiteX1" fmla="*/ 1253525 w 2701062"/>
                <a:gd name="connsiteY1" fmla="*/ 0 h 3635497"/>
                <a:gd name="connsiteX2" fmla="*/ 1335782 w 2701062"/>
                <a:gd name="connsiteY2" fmla="*/ 91671 h 3635497"/>
                <a:gd name="connsiteX3" fmla="*/ 1264148 w 2701062"/>
                <a:gd name="connsiteY3" fmla="*/ 180161 h 3635497"/>
                <a:gd name="connsiteX4" fmla="*/ 1281002 w 2701062"/>
                <a:gd name="connsiteY4" fmla="*/ 319218 h 3635497"/>
                <a:gd name="connsiteX5" fmla="*/ 1141946 w 2701062"/>
                <a:gd name="connsiteY5" fmla="*/ 454060 h 3635497"/>
                <a:gd name="connsiteX6" fmla="*/ 876475 w 2701062"/>
                <a:gd name="connsiteY6" fmla="*/ 711102 h 3635497"/>
                <a:gd name="connsiteX7" fmla="*/ 804840 w 2701062"/>
                <a:gd name="connsiteY7" fmla="*/ 782737 h 3635497"/>
                <a:gd name="connsiteX8" fmla="*/ 813268 w 2701062"/>
                <a:gd name="connsiteY8" fmla="*/ 913366 h 3635497"/>
                <a:gd name="connsiteX9" fmla="*/ 897545 w 2701062"/>
                <a:gd name="connsiteY9" fmla="*/ 1081919 h 3635497"/>
                <a:gd name="connsiteX10" fmla="*/ 943897 w 2701062"/>
                <a:gd name="connsiteY10" fmla="*/ 1166195 h 3635497"/>
                <a:gd name="connsiteX11" fmla="*/ 964966 w 2701062"/>
                <a:gd name="connsiteY11" fmla="*/ 1195692 h 3635497"/>
                <a:gd name="connsiteX12" fmla="*/ 994463 w 2701062"/>
                <a:gd name="connsiteY12" fmla="*/ 1170409 h 3635497"/>
                <a:gd name="connsiteX13" fmla="*/ 1011318 w 2701062"/>
                <a:gd name="connsiteY13" fmla="*/ 1115630 h 3635497"/>
                <a:gd name="connsiteX14" fmla="*/ 1057670 w 2701062"/>
                <a:gd name="connsiteY14" fmla="*/ 1107202 h 3635497"/>
                <a:gd name="connsiteX15" fmla="*/ 1053456 w 2701062"/>
                <a:gd name="connsiteY15" fmla="*/ 1170409 h 3635497"/>
                <a:gd name="connsiteX16" fmla="*/ 1040815 w 2701062"/>
                <a:gd name="connsiteY16" fmla="*/ 1204120 h 3635497"/>
                <a:gd name="connsiteX17" fmla="*/ 1049242 w 2701062"/>
                <a:gd name="connsiteY17" fmla="*/ 1229403 h 3635497"/>
                <a:gd name="connsiteX18" fmla="*/ 986035 w 2701062"/>
                <a:gd name="connsiteY18" fmla="*/ 1246258 h 3635497"/>
                <a:gd name="connsiteX19" fmla="*/ 1011318 w 2701062"/>
                <a:gd name="connsiteY19" fmla="*/ 1381101 h 3635497"/>
                <a:gd name="connsiteX20" fmla="*/ 1049242 w 2701062"/>
                <a:gd name="connsiteY20" fmla="*/ 1376887 h 3635497"/>
                <a:gd name="connsiteX21" fmla="*/ 1040815 w 2701062"/>
                <a:gd name="connsiteY21" fmla="*/ 1440094 h 3635497"/>
                <a:gd name="connsiteX22" fmla="*/ 981821 w 2701062"/>
                <a:gd name="connsiteY22" fmla="*/ 1473805 h 3635497"/>
                <a:gd name="connsiteX23" fmla="*/ 931255 w 2701062"/>
                <a:gd name="connsiteY23" fmla="*/ 1473805 h 3635497"/>
                <a:gd name="connsiteX24" fmla="*/ 897545 w 2701062"/>
                <a:gd name="connsiteY24" fmla="*/ 1537012 h 3635497"/>
                <a:gd name="connsiteX25" fmla="*/ 901758 w 2701062"/>
                <a:gd name="connsiteY25" fmla="*/ 1566509 h 3635497"/>
                <a:gd name="connsiteX26" fmla="*/ 948110 w 2701062"/>
                <a:gd name="connsiteY26" fmla="*/ 1574936 h 3635497"/>
                <a:gd name="connsiteX27" fmla="*/ 931255 w 2701062"/>
                <a:gd name="connsiteY27" fmla="*/ 1612861 h 3635497"/>
                <a:gd name="connsiteX28" fmla="*/ 952324 w 2701062"/>
                <a:gd name="connsiteY28" fmla="*/ 1621289 h 3635497"/>
                <a:gd name="connsiteX29" fmla="*/ 1015532 w 2701062"/>
                <a:gd name="connsiteY29" fmla="*/ 1625502 h 3635497"/>
                <a:gd name="connsiteX30" fmla="*/ 1040815 w 2701062"/>
                <a:gd name="connsiteY30" fmla="*/ 1663427 h 3635497"/>
                <a:gd name="connsiteX31" fmla="*/ 1036601 w 2701062"/>
                <a:gd name="connsiteY31" fmla="*/ 1701351 h 3635497"/>
                <a:gd name="connsiteX32" fmla="*/ 1104022 w 2701062"/>
                <a:gd name="connsiteY32" fmla="*/ 1802483 h 3635497"/>
                <a:gd name="connsiteX33" fmla="*/ 1053456 w 2701062"/>
                <a:gd name="connsiteY33" fmla="*/ 1827766 h 3635497"/>
                <a:gd name="connsiteX34" fmla="*/ 998676 w 2701062"/>
                <a:gd name="connsiteY34" fmla="*/ 1823552 h 3635497"/>
                <a:gd name="connsiteX35" fmla="*/ 964966 w 2701062"/>
                <a:gd name="connsiteY35" fmla="*/ 1903615 h 3635497"/>
                <a:gd name="connsiteX36" fmla="*/ 1015532 w 2701062"/>
                <a:gd name="connsiteY36" fmla="*/ 1945753 h 3635497"/>
                <a:gd name="connsiteX37" fmla="*/ 994463 w 2701062"/>
                <a:gd name="connsiteY37" fmla="*/ 2042671 h 3635497"/>
                <a:gd name="connsiteX38" fmla="*/ 1019746 w 2701062"/>
                <a:gd name="connsiteY38" fmla="*/ 2076382 h 3635497"/>
                <a:gd name="connsiteX39" fmla="*/ 990249 w 2701062"/>
                <a:gd name="connsiteY39" fmla="*/ 2110092 h 3635497"/>
                <a:gd name="connsiteX40" fmla="*/ 948110 w 2701062"/>
                <a:gd name="connsiteY40" fmla="*/ 2110092 h 3635497"/>
                <a:gd name="connsiteX41" fmla="*/ 939683 w 2701062"/>
                <a:gd name="connsiteY41" fmla="*/ 2148017 h 3635497"/>
                <a:gd name="connsiteX42" fmla="*/ 994463 w 2701062"/>
                <a:gd name="connsiteY42" fmla="*/ 2194369 h 3635497"/>
                <a:gd name="connsiteX43" fmla="*/ 981821 w 2701062"/>
                <a:gd name="connsiteY43" fmla="*/ 2375563 h 3635497"/>
                <a:gd name="connsiteX44" fmla="*/ 1015532 w 2701062"/>
                <a:gd name="connsiteY44" fmla="*/ 2455626 h 3635497"/>
                <a:gd name="connsiteX45" fmla="*/ 1049242 w 2701062"/>
                <a:gd name="connsiteY45" fmla="*/ 2455626 h 3635497"/>
                <a:gd name="connsiteX46" fmla="*/ 1129305 w 2701062"/>
                <a:gd name="connsiteY46" fmla="*/ 2523047 h 3635497"/>
                <a:gd name="connsiteX47" fmla="*/ 1125091 w 2701062"/>
                <a:gd name="connsiteY47" fmla="*/ 2653676 h 3635497"/>
                <a:gd name="connsiteX48" fmla="*/ 1087167 w 2701062"/>
                <a:gd name="connsiteY48" fmla="*/ 2716883 h 3635497"/>
                <a:gd name="connsiteX49" fmla="*/ 1015532 w 2701062"/>
                <a:gd name="connsiteY49" fmla="*/ 2784304 h 3635497"/>
                <a:gd name="connsiteX50" fmla="*/ 1007104 w 2701062"/>
                <a:gd name="connsiteY50" fmla="*/ 2872795 h 3635497"/>
                <a:gd name="connsiteX51" fmla="*/ 922828 w 2701062"/>
                <a:gd name="connsiteY51" fmla="*/ 2885436 h 3635497"/>
                <a:gd name="connsiteX52" fmla="*/ 868048 w 2701062"/>
                <a:gd name="connsiteY52" fmla="*/ 2889650 h 3635497"/>
                <a:gd name="connsiteX53" fmla="*/ 830123 w 2701062"/>
                <a:gd name="connsiteY53" fmla="*/ 2851725 h 3635497"/>
                <a:gd name="connsiteX54" fmla="*/ 577294 w 2701062"/>
                <a:gd name="connsiteY54" fmla="*/ 2872795 h 3635497"/>
                <a:gd name="connsiteX55" fmla="*/ 568866 w 2701062"/>
                <a:gd name="connsiteY55" fmla="*/ 2978140 h 3635497"/>
                <a:gd name="connsiteX56" fmla="*/ 514087 w 2701062"/>
                <a:gd name="connsiteY56" fmla="*/ 3011851 h 3635497"/>
                <a:gd name="connsiteX57" fmla="*/ 484590 w 2701062"/>
                <a:gd name="connsiteY57" fmla="*/ 2978140 h 3635497"/>
                <a:gd name="connsiteX58" fmla="*/ 446665 w 2701062"/>
                <a:gd name="connsiteY58" fmla="*/ 3003423 h 3635497"/>
                <a:gd name="connsiteX59" fmla="*/ 434024 w 2701062"/>
                <a:gd name="connsiteY59" fmla="*/ 3121410 h 3635497"/>
                <a:gd name="connsiteX60" fmla="*/ 328678 w 2701062"/>
                <a:gd name="connsiteY60" fmla="*/ 3247825 h 3635497"/>
                <a:gd name="connsiteX61" fmla="*/ 273899 w 2701062"/>
                <a:gd name="connsiteY61" fmla="*/ 3260466 h 3635497"/>
                <a:gd name="connsiteX62" fmla="*/ 252829 w 2701062"/>
                <a:gd name="connsiteY62" fmla="*/ 3311032 h 3635497"/>
                <a:gd name="connsiteX63" fmla="*/ 202263 w 2701062"/>
                <a:gd name="connsiteY63" fmla="*/ 3391095 h 3635497"/>
                <a:gd name="connsiteX64" fmla="*/ 164339 w 2701062"/>
                <a:gd name="connsiteY64" fmla="*/ 3420592 h 3635497"/>
                <a:gd name="connsiteX65" fmla="*/ 75849 w 2701062"/>
                <a:gd name="connsiteY65" fmla="*/ 3450089 h 3635497"/>
                <a:gd name="connsiteX66" fmla="*/ 12641 w 2701062"/>
                <a:gd name="connsiteY66" fmla="*/ 3483799 h 3635497"/>
                <a:gd name="connsiteX67" fmla="*/ 0 w 2701062"/>
                <a:gd name="connsiteY67" fmla="*/ 3563862 h 3635497"/>
                <a:gd name="connsiteX68" fmla="*/ 63207 w 2701062"/>
                <a:gd name="connsiteY68" fmla="*/ 3559648 h 3635497"/>
                <a:gd name="connsiteX69" fmla="*/ 96918 w 2701062"/>
                <a:gd name="connsiteY69" fmla="*/ 3513296 h 3635497"/>
                <a:gd name="connsiteX70" fmla="*/ 155911 w 2701062"/>
                <a:gd name="connsiteY70" fmla="*/ 3555434 h 3635497"/>
                <a:gd name="connsiteX71" fmla="*/ 164339 w 2701062"/>
                <a:gd name="connsiteY71" fmla="*/ 3635497 h 3635497"/>
                <a:gd name="connsiteX72" fmla="*/ 265471 w 2701062"/>
                <a:gd name="connsiteY72" fmla="*/ 3584931 h 3635497"/>
                <a:gd name="connsiteX73" fmla="*/ 252829 w 2701062"/>
                <a:gd name="connsiteY73" fmla="*/ 3525937 h 3635497"/>
                <a:gd name="connsiteX74" fmla="*/ 307609 w 2701062"/>
                <a:gd name="connsiteY74" fmla="*/ 3483799 h 3635497"/>
                <a:gd name="connsiteX75" fmla="*/ 345534 w 2701062"/>
                <a:gd name="connsiteY75" fmla="*/ 3445875 h 3635497"/>
                <a:gd name="connsiteX76" fmla="*/ 375030 w 2701062"/>
                <a:gd name="connsiteY76" fmla="*/ 3403736 h 3635497"/>
                <a:gd name="connsiteX77" fmla="*/ 497231 w 2701062"/>
                <a:gd name="connsiteY77" fmla="*/ 3412164 h 3635497"/>
                <a:gd name="connsiteX78" fmla="*/ 497231 w 2701062"/>
                <a:gd name="connsiteY78" fmla="*/ 3412164 h 3635497"/>
                <a:gd name="connsiteX79" fmla="*/ 568866 w 2701062"/>
                <a:gd name="connsiteY79" fmla="*/ 3445875 h 3635497"/>
                <a:gd name="connsiteX80" fmla="*/ 589935 w 2701062"/>
                <a:gd name="connsiteY80" fmla="*/ 3424806 h 3635497"/>
                <a:gd name="connsiteX81" fmla="*/ 648929 w 2701062"/>
                <a:gd name="connsiteY81" fmla="*/ 3454302 h 3635497"/>
                <a:gd name="connsiteX82" fmla="*/ 674212 w 2701062"/>
                <a:gd name="connsiteY82" fmla="*/ 3450089 h 3635497"/>
                <a:gd name="connsiteX83" fmla="*/ 720564 w 2701062"/>
                <a:gd name="connsiteY83" fmla="*/ 3513296 h 3635497"/>
                <a:gd name="connsiteX84" fmla="*/ 754275 w 2701062"/>
                <a:gd name="connsiteY84" fmla="*/ 3504868 h 3635497"/>
                <a:gd name="connsiteX85" fmla="*/ 804840 w 2701062"/>
                <a:gd name="connsiteY85" fmla="*/ 3429019 h 3635497"/>
                <a:gd name="connsiteX86" fmla="*/ 842765 w 2701062"/>
                <a:gd name="connsiteY86" fmla="*/ 3395309 h 3635497"/>
                <a:gd name="connsiteX87" fmla="*/ 830123 w 2701062"/>
                <a:gd name="connsiteY87" fmla="*/ 3340529 h 3635497"/>
                <a:gd name="connsiteX88" fmla="*/ 859620 w 2701062"/>
                <a:gd name="connsiteY88" fmla="*/ 3285749 h 3635497"/>
                <a:gd name="connsiteX89" fmla="*/ 918614 w 2701062"/>
                <a:gd name="connsiteY89" fmla="*/ 3235184 h 3635497"/>
                <a:gd name="connsiteX90" fmla="*/ 1011318 w 2701062"/>
                <a:gd name="connsiteY90" fmla="*/ 3218328 h 3635497"/>
                <a:gd name="connsiteX91" fmla="*/ 1078739 w 2701062"/>
                <a:gd name="connsiteY91" fmla="*/ 3205687 h 3635497"/>
                <a:gd name="connsiteX92" fmla="*/ 1163016 w 2701062"/>
                <a:gd name="connsiteY92" fmla="*/ 3277322 h 3635497"/>
                <a:gd name="connsiteX93" fmla="*/ 1222009 w 2701062"/>
                <a:gd name="connsiteY93" fmla="*/ 3311032 h 3635497"/>
                <a:gd name="connsiteX94" fmla="*/ 1226223 w 2701062"/>
                <a:gd name="connsiteY94" fmla="*/ 3264680 h 3635497"/>
                <a:gd name="connsiteX95" fmla="*/ 1243078 w 2701062"/>
                <a:gd name="connsiteY95" fmla="*/ 3256253 h 3635497"/>
                <a:gd name="connsiteX96" fmla="*/ 1344210 w 2701062"/>
                <a:gd name="connsiteY96" fmla="*/ 3277322 h 3635497"/>
                <a:gd name="connsiteX97" fmla="*/ 1398990 w 2701062"/>
                <a:gd name="connsiteY97" fmla="*/ 3285749 h 3635497"/>
                <a:gd name="connsiteX98" fmla="*/ 1436914 w 2701062"/>
                <a:gd name="connsiteY98" fmla="*/ 3214114 h 3635497"/>
                <a:gd name="connsiteX99" fmla="*/ 1495908 w 2701062"/>
                <a:gd name="connsiteY99" fmla="*/ 3205687 h 3635497"/>
                <a:gd name="connsiteX100" fmla="*/ 1597040 w 2701062"/>
                <a:gd name="connsiteY100" fmla="*/ 3260466 h 3635497"/>
                <a:gd name="connsiteX101" fmla="*/ 1656033 w 2701062"/>
                <a:gd name="connsiteY101" fmla="*/ 3281536 h 3635497"/>
                <a:gd name="connsiteX102" fmla="*/ 1719240 w 2701062"/>
                <a:gd name="connsiteY102" fmla="*/ 3222542 h 3635497"/>
                <a:gd name="connsiteX103" fmla="*/ 1715027 w 2701062"/>
                <a:gd name="connsiteY103" fmla="*/ 3150907 h 3635497"/>
                <a:gd name="connsiteX104" fmla="*/ 1833014 w 2701062"/>
                <a:gd name="connsiteY104" fmla="*/ 3201473 h 3635497"/>
                <a:gd name="connsiteX105" fmla="*/ 1862510 w 2701062"/>
                <a:gd name="connsiteY105" fmla="*/ 3150907 h 3635497"/>
                <a:gd name="connsiteX106" fmla="*/ 2018422 w 2701062"/>
                <a:gd name="connsiteY106" fmla="*/ 3129838 h 3635497"/>
                <a:gd name="connsiteX107" fmla="*/ 2186975 w 2701062"/>
                <a:gd name="connsiteY107" fmla="*/ 3188831 h 3635497"/>
                <a:gd name="connsiteX108" fmla="*/ 2254396 w 2701062"/>
                <a:gd name="connsiteY108" fmla="*/ 3104555 h 3635497"/>
                <a:gd name="connsiteX109" fmla="*/ 2338673 w 2701062"/>
                <a:gd name="connsiteY109" fmla="*/ 3104555 h 3635497"/>
                <a:gd name="connsiteX110" fmla="*/ 2380811 w 2701062"/>
                <a:gd name="connsiteY110" fmla="*/ 3049775 h 3635497"/>
                <a:gd name="connsiteX111" fmla="*/ 2456660 w 2701062"/>
                <a:gd name="connsiteY111" fmla="*/ 3053989 h 3635497"/>
                <a:gd name="connsiteX112" fmla="*/ 2469301 w 2701062"/>
                <a:gd name="connsiteY112" fmla="*/ 2973926 h 3635497"/>
                <a:gd name="connsiteX113" fmla="*/ 2595716 w 2701062"/>
                <a:gd name="connsiteY113" fmla="*/ 2906505 h 3635497"/>
                <a:gd name="connsiteX114" fmla="*/ 2595716 w 2701062"/>
                <a:gd name="connsiteY114" fmla="*/ 2805373 h 3635497"/>
                <a:gd name="connsiteX115" fmla="*/ 2616785 w 2701062"/>
                <a:gd name="connsiteY115" fmla="*/ 2767449 h 3635497"/>
                <a:gd name="connsiteX116" fmla="*/ 2591502 w 2701062"/>
                <a:gd name="connsiteY116" fmla="*/ 2742166 h 3635497"/>
                <a:gd name="connsiteX117" fmla="*/ 2515653 w 2701062"/>
                <a:gd name="connsiteY117" fmla="*/ 2742166 h 3635497"/>
                <a:gd name="connsiteX118" fmla="*/ 2460874 w 2701062"/>
                <a:gd name="connsiteY118" fmla="*/ 2754807 h 3635497"/>
                <a:gd name="connsiteX119" fmla="*/ 2435591 w 2701062"/>
                <a:gd name="connsiteY119" fmla="*/ 2767449 h 3635497"/>
                <a:gd name="connsiteX120" fmla="*/ 2397666 w 2701062"/>
                <a:gd name="connsiteY120" fmla="*/ 2716883 h 3635497"/>
                <a:gd name="connsiteX121" fmla="*/ 2347100 w 2701062"/>
                <a:gd name="connsiteY121" fmla="*/ 2691600 h 3635497"/>
                <a:gd name="connsiteX122" fmla="*/ 2410308 w 2701062"/>
                <a:gd name="connsiteY122" fmla="*/ 2653676 h 3635497"/>
                <a:gd name="connsiteX123" fmla="*/ 2439804 w 2701062"/>
                <a:gd name="connsiteY123" fmla="*/ 2506192 h 3635497"/>
                <a:gd name="connsiteX124" fmla="*/ 2481943 w 2701062"/>
                <a:gd name="connsiteY124" fmla="*/ 2539902 h 3635497"/>
                <a:gd name="connsiteX125" fmla="*/ 2532509 w 2701062"/>
                <a:gd name="connsiteY125" fmla="*/ 2468267 h 3635497"/>
                <a:gd name="connsiteX126" fmla="*/ 2545150 w 2701062"/>
                <a:gd name="connsiteY126" fmla="*/ 2430343 h 3635497"/>
                <a:gd name="connsiteX127" fmla="*/ 2633640 w 2701062"/>
                <a:gd name="connsiteY127" fmla="*/ 2316570 h 3635497"/>
                <a:gd name="connsiteX128" fmla="*/ 2650496 w 2701062"/>
                <a:gd name="connsiteY128" fmla="*/ 2223866 h 3635497"/>
                <a:gd name="connsiteX129" fmla="*/ 2696848 w 2701062"/>
                <a:gd name="connsiteY129" fmla="*/ 2148017 h 3635497"/>
                <a:gd name="connsiteX130" fmla="*/ 2701062 w 2701062"/>
                <a:gd name="connsiteY130" fmla="*/ 1941539 h 3635497"/>
                <a:gd name="connsiteX131" fmla="*/ 2503012 w 2701062"/>
                <a:gd name="connsiteY131" fmla="*/ 1806697 h 3635497"/>
                <a:gd name="connsiteX132" fmla="*/ 2237541 w 2701062"/>
                <a:gd name="connsiteY132" fmla="*/ 1777200 h 3635497"/>
                <a:gd name="connsiteX133" fmla="*/ 2161692 w 2701062"/>
                <a:gd name="connsiteY133" fmla="*/ 1865690 h 3635497"/>
                <a:gd name="connsiteX134" fmla="*/ 2123768 w 2701062"/>
                <a:gd name="connsiteY134" fmla="*/ 1857263 h 3635497"/>
                <a:gd name="connsiteX135" fmla="*/ 2111126 w 2701062"/>
                <a:gd name="connsiteY135" fmla="*/ 1806697 h 3635497"/>
                <a:gd name="connsiteX136" fmla="*/ 2203830 w 2701062"/>
                <a:gd name="connsiteY136" fmla="*/ 1709779 h 3635497"/>
                <a:gd name="connsiteX137" fmla="*/ 2178547 w 2701062"/>
                <a:gd name="connsiteY137" fmla="*/ 1570723 h 3635497"/>
                <a:gd name="connsiteX138" fmla="*/ 2090057 w 2701062"/>
                <a:gd name="connsiteY138" fmla="*/ 1478019 h 3635497"/>
                <a:gd name="connsiteX139" fmla="*/ 2056346 w 2701062"/>
                <a:gd name="connsiteY139" fmla="*/ 1448522 h 3635497"/>
                <a:gd name="connsiteX140" fmla="*/ 2127981 w 2701062"/>
                <a:gd name="connsiteY140" fmla="*/ 1435880 h 3635497"/>
                <a:gd name="connsiteX141" fmla="*/ 2127981 w 2701062"/>
                <a:gd name="connsiteY141" fmla="*/ 1402170 h 3635497"/>
                <a:gd name="connsiteX142" fmla="*/ 2031063 w 2701062"/>
                <a:gd name="connsiteY142" fmla="*/ 1275755 h 3635497"/>
                <a:gd name="connsiteX143" fmla="*/ 2022636 w 2701062"/>
                <a:gd name="connsiteY143" fmla="*/ 1191478 h 3635497"/>
                <a:gd name="connsiteX144" fmla="*/ 2056346 w 2701062"/>
                <a:gd name="connsiteY144" fmla="*/ 1128271 h 3635497"/>
                <a:gd name="connsiteX145" fmla="*/ 2039491 w 2701062"/>
                <a:gd name="connsiteY145" fmla="*/ 1094560 h 3635497"/>
                <a:gd name="connsiteX146" fmla="*/ 1967856 w 2701062"/>
                <a:gd name="connsiteY146" fmla="*/ 1073491 h 3635497"/>
                <a:gd name="connsiteX147" fmla="*/ 1929932 w 2701062"/>
                <a:gd name="connsiteY147" fmla="*/ 1014498 h 3635497"/>
                <a:gd name="connsiteX148" fmla="*/ 1934146 w 2701062"/>
                <a:gd name="connsiteY148" fmla="*/ 955504 h 3635497"/>
                <a:gd name="connsiteX149" fmla="*/ 1727668 w 2701062"/>
                <a:gd name="connsiteY149" fmla="*/ 837517 h 3635497"/>
                <a:gd name="connsiteX150" fmla="*/ 1664461 w 2701062"/>
                <a:gd name="connsiteY150" fmla="*/ 778524 h 3635497"/>
                <a:gd name="connsiteX151" fmla="*/ 1516977 w 2701062"/>
                <a:gd name="connsiteY151" fmla="*/ 239155 h 3635497"/>
                <a:gd name="connsiteX152" fmla="*/ 1407417 w 2701062"/>
                <a:gd name="connsiteY152" fmla="*/ 121169 h 3635497"/>
                <a:gd name="connsiteX153" fmla="*/ 1382133 w 2701062"/>
                <a:gd name="connsiteY153" fmla="*/ 28464 h 3635497"/>
                <a:gd name="connsiteX0" fmla="*/ 1365464 w 2701062"/>
                <a:gd name="connsiteY0" fmla="*/ 33227 h 3635497"/>
                <a:gd name="connsiteX1" fmla="*/ 1253525 w 2701062"/>
                <a:gd name="connsiteY1" fmla="*/ 0 h 3635497"/>
                <a:gd name="connsiteX2" fmla="*/ 1335782 w 2701062"/>
                <a:gd name="connsiteY2" fmla="*/ 91671 h 3635497"/>
                <a:gd name="connsiteX3" fmla="*/ 1264148 w 2701062"/>
                <a:gd name="connsiteY3" fmla="*/ 180161 h 3635497"/>
                <a:gd name="connsiteX4" fmla="*/ 1281002 w 2701062"/>
                <a:gd name="connsiteY4" fmla="*/ 319218 h 3635497"/>
                <a:gd name="connsiteX5" fmla="*/ 1141946 w 2701062"/>
                <a:gd name="connsiteY5" fmla="*/ 454060 h 3635497"/>
                <a:gd name="connsiteX6" fmla="*/ 876475 w 2701062"/>
                <a:gd name="connsiteY6" fmla="*/ 711102 h 3635497"/>
                <a:gd name="connsiteX7" fmla="*/ 804840 w 2701062"/>
                <a:gd name="connsiteY7" fmla="*/ 782737 h 3635497"/>
                <a:gd name="connsiteX8" fmla="*/ 813268 w 2701062"/>
                <a:gd name="connsiteY8" fmla="*/ 913366 h 3635497"/>
                <a:gd name="connsiteX9" fmla="*/ 897545 w 2701062"/>
                <a:gd name="connsiteY9" fmla="*/ 1081919 h 3635497"/>
                <a:gd name="connsiteX10" fmla="*/ 943897 w 2701062"/>
                <a:gd name="connsiteY10" fmla="*/ 1166195 h 3635497"/>
                <a:gd name="connsiteX11" fmla="*/ 964966 w 2701062"/>
                <a:gd name="connsiteY11" fmla="*/ 1195692 h 3635497"/>
                <a:gd name="connsiteX12" fmla="*/ 994463 w 2701062"/>
                <a:gd name="connsiteY12" fmla="*/ 1170409 h 3635497"/>
                <a:gd name="connsiteX13" fmla="*/ 1011318 w 2701062"/>
                <a:gd name="connsiteY13" fmla="*/ 1115630 h 3635497"/>
                <a:gd name="connsiteX14" fmla="*/ 1057670 w 2701062"/>
                <a:gd name="connsiteY14" fmla="*/ 1107202 h 3635497"/>
                <a:gd name="connsiteX15" fmla="*/ 1053456 w 2701062"/>
                <a:gd name="connsiteY15" fmla="*/ 1170409 h 3635497"/>
                <a:gd name="connsiteX16" fmla="*/ 1040815 w 2701062"/>
                <a:gd name="connsiteY16" fmla="*/ 1204120 h 3635497"/>
                <a:gd name="connsiteX17" fmla="*/ 1049242 w 2701062"/>
                <a:gd name="connsiteY17" fmla="*/ 1229403 h 3635497"/>
                <a:gd name="connsiteX18" fmla="*/ 986035 w 2701062"/>
                <a:gd name="connsiteY18" fmla="*/ 1246258 h 3635497"/>
                <a:gd name="connsiteX19" fmla="*/ 1011318 w 2701062"/>
                <a:gd name="connsiteY19" fmla="*/ 1381101 h 3635497"/>
                <a:gd name="connsiteX20" fmla="*/ 1049242 w 2701062"/>
                <a:gd name="connsiteY20" fmla="*/ 1376887 h 3635497"/>
                <a:gd name="connsiteX21" fmla="*/ 1040815 w 2701062"/>
                <a:gd name="connsiteY21" fmla="*/ 1440094 h 3635497"/>
                <a:gd name="connsiteX22" fmla="*/ 981821 w 2701062"/>
                <a:gd name="connsiteY22" fmla="*/ 1473805 h 3635497"/>
                <a:gd name="connsiteX23" fmla="*/ 931255 w 2701062"/>
                <a:gd name="connsiteY23" fmla="*/ 1473805 h 3635497"/>
                <a:gd name="connsiteX24" fmla="*/ 897545 w 2701062"/>
                <a:gd name="connsiteY24" fmla="*/ 1537012 h 3635497"/>
                <a:gd name="connsiteX25" fmla="*/ 901758 w 2701062"/>
                <a:gd name="connsiteY25" fmla="*/ 1566509 h 3635497"/>
                <a:gd name="connsiteX26" fmla="*/ 948110 w 2701062"/>
                <a:gd name="connsiteY26" fmla="*/ 1574936 h 3635497"/>
                <a:gd name="connsiteX27" fmla="*/ 931255 w 2701062"/>
                <a:gd name="connsiteY27" fmla="*/ 1612861 h 3635497"/>
                <a:gd name="connsiteX28" fmla="*/ 952324 w 2701062"/>
                <a:gd name="connsiteY28" fmla="*/ 1621289 h 3635497"/>
                <a:gd name="connsiteX29" fmla="*/ 1015532 w 2701062"/>
                <a:gd name="connsiteY29" fmla="*/ 1625502 h 3635497"/>
                <a:gd name="connsiteX30" fmla="*/ 1040815 w 2701062"/>
                <a:gd name="connsiteY30" fmla="*/ 1663427 h 3635497"/>
                <a:gd name="connsiteX31" fmla="*/ 1036601 w 2701062"/>
                <a:gd name="connsiteY31" fmla="*/ 1701351 h 3635497"/>
                <a:gd name="connsiteX32" fmla="*/ 1104022 w 2701062"/>
                <a:gd name="connsiteY32" fmla="*/ 1802483 h 3635497"/>
                <a:gd name="connsiteX33" fmla="*/ 1053456 w 2701062"/>
                <a:gd name="connsiteY33" fmla="*/ 1827766 h 3635497"/>
                <a:gd name="connsiteX34" fmla="*/ 998676 w 2701062"/>
                <a:gd name="connsiteY34" fmla="*/ 1823552 h 3635497"/>
                <a:gd name="connsiteX35" fmla="*/ 964966 w 2701062"/>
                <a:gd name="connsiteY35" fmla="*/ 1903615 h 3635497"/>
                <a:gd name="connsiteX36" fmla="*/ 1015532 w 2701062"/>
                <a:gd name="connsiteY36" fmla="*/ 1945753 h 3635497"/>
                <a:gd name="connsiteX37" fmla="*/ 994463 w 2701062"/>
                <a:gd name="connsiteY37" fmla="*/ 2042671 h 3635497"/>
                <a:gd name="connsiteX38" fmla="*/ 1019746 w 2701062"/>
                <a:gd name="connsiteY38" fmla="*/ 2076382 h 3635497"/>
                <a:gd name="connsiteX39" fmla="*/ 990249 w 2701062"/>
                <a:gd name="connsiteY39" fmla="*/ 2110092 h 3635497"/>
                <a:gd name="connsiteX40" fmla="*/ 948110 w 2701062"/>
                <a:gd name="connsiteY40" fmla="*/ 2110092 h 3635497"/>
                <a:gd name="connsiteX41" fmla="*/ 939683 w 2701062"/>
                <a:gd name="connsiteY41" fmla="*/ 2148017 h 3635497"/>
                <a:gd name="connsiteX42" fmla="*/ 994463 w 2701062"/>
                <a:gd name="connsiteY42" fmla="*/ 2194369 h 3635497"/>
                <a:gd name="connsiteX43" fmla="*/ 981821 w 2701062"/>
                <a:gd name="connsiteY43" fmla="*/ 2375563 h 3635497"/>
                <a:gd name="connsiteX44" fmla="*/ 1015532 w 2701062"/>
                <a:gd name="connsiteY44" fmla="*/ 2455626 h 3635497"/>
                <a:gd name="connsiteX45" fmla="*/ 1049242 w 2701062"/>
                <a:gd name="connsiteY45" fmla="*/ 2455626 h 3635497"/>
                <a:gd name="connsiteX46" fmla="*/ 1129305 w 2701062"/>
                <a:gd name="connsiteY46" fmla="*/ 2523047 h 3635497"/>
                <a:gd name="connsiteX47" fmla="*/ 1125091 w 2701062"/>
                <a:gd name="connsiteY47" fmla="*/ 2653676 h 3635497"/>
                <a:gd name="connsiteX48" fmla="*/ 1087167 w 2701062"/>
                <a:gd name="connsiteY48" fmla="*/ 2716883 h 3635497"/>
                <a:gd name="connsiteX49" fmla="*/ 1015532 w 2701062"/>
                <a:gd name="connsiteY49" fmla="*/ 2784304 h 3635497"/>
                <a:gd name="connsiteX50" fmla="*/ 1007104 w 2701062"/>
                <a:gd name="connsiteY50" fmla="*/ 2872795 h 3635497"/>
                <a:gd name="connsiteX51" fmla="*/ 922828 w 2701062"/>
                <a:gd name="connsiteY51" fmla="*/ 2885436 h 3635497"/>
                <a:gd name="connsiteX52" fmla="*/ 868048 w 2701062"/>
                <a:gd name="connsiteY52" fmla="*/ 2889650 h 3635497"/>
                <a:gd name="connsiteX53" fmla="*/ 830123 w 2701062"/>
                <a:gd name="connsiteY53" fmla="*/ 2851725 h 3635497"/>
                <a:gd name="connsiteX54" fmla="*/ 577294 w 2701062"/>
                <a:gd name="connsiteY54" fmla="*/ 2872795 h 3635497"/>
                <a:gd name="connsiteX55" fmla="*/ 568866 w 2701062"/>
                <a:gd name="connsiteY55" fmla="*/ 2978140 h 3635497"/>
                <a:gd name="connsiteX56" fmla="*/ 514087 w 2701062"/>
                <a:gd name="connsiteY56" fmla="*/ 3011851 h 3635497"/>
                <a:gd name="connsiteX57" fmla="*/ 484590 w 2701062"/>
                <a:gd name="connsiteY57" fmla="*/ 2978140 h 3635497"/>
                <a:gd name="connsiteX58" fmla="*/ 446665 w 2701062"/>
                <a:gd name="connsiteY58" fmla="*/ 3003423 h 3635497"/>
                <a:gd name="connsiteX59" fmla="*/ 434024 w 2701062"/>
                <a:gd name="connsiteY59" fmla="*/ 3121410 h 3635497"/>
                <a:gd name="connsiteX60" fmla="*/ 328678 w 2701062"/>
                <a:gd name="connsiteY60" fmla="*/ 3247825 h 3635497"/>
                <a:gd name="connsiteX61" fmla="*/ 273899 w 2701062"/>
                <a:gd name="connsiteY61" fmla="*/ 3260466 h 3635497"/>
                <a:gd name="connsiteX62" fmla="*/ 252829 w 2701062"/>
                <a:gd name="connsiteY62" fmla="*/ 3311032 h 3635497"/>
                <a:gd name="connsiteX63" fmla="*/ 202263 w 2701062"/>
                <a:gd name="connsiteY63" fmla="*/ 3391095 h 3635497"/>
                <a:gd name="connsiteX64" fmla="*/ 164339 w 2701062"/>
                <a:gd name="connsiteY64" fmla="*/ 3420592 h 3635497"/>
                <a:gd name="connsiteX65" fmla="*/ 75849 w 2701062"/>
                <a:gd name="connsiteY65" fmla="*/ 3450089 h 3635497"/>
                <a:gd name="connsiteX66" fmla="*/ 12641 w 2701062"/>
                <a:gd name="connsiteY66" fmla="*/ 3483799 h 3635497"/>
                <a:gd name="connsiteX67" fmla="*/ 0 w 2701062"/>
                <a:gd name="connsiteY67" fmla="*/ 3563862 h 3635497"/>
                <a:gd name="connsiteX68" fmla="*/ 63207 w 2701062"/>
                <a:gd name="connsiteY68" fmla="*/ 3559648 h 3635497"/>
                <a:gd name="connsiteX69" fmla="*/ 96918 w 2701062"/>
                <a:gd name="connsiteY69" fmla="*/ 3513296 h 3635497"/>
                <a:gd name="connsiteX70" fmla="*/ 155911 w 2701062"/>
                <a:gd name="connsiteY70" fmla="*/ 3555434 h 3635497"/>
                <a:gd name="connsiteX71" fmla="*/ 164339 w 2701062"/>
                <a:gd name="connsiteY71" fmla="*/ 3635497 h 3635497"/>
                <a:gd name="connsiteX72" fmla="*/ 265471 w 2701062"/>
                <a:gd name="connsiteY72" fmla="*/ 3584931 h 3635497"/>
                <a:gd name="connsiteX73" fmla="*/ 252829 w 2701062"/>
                <a:gd name="connsiteY73" fmla="*/ 3525937 h 3635497"/>
                <a:gd name="connsiteX74" fmla="*/ 307609 w 2701062"/>
                <a:gd name="connsiteY74" fmla="*/ 3483799 h 3635497"/>
                <a:gd name="connsiteX75" fmla="*/ 345534 w 2701062"/>
                <a:gd name="connsiteY75" fmla="*/ 3445875 h 3635497"/>
                <a:gd name="connsiteX76" fmla="*/ 375030 w 2701062"/>
                <a:gd name="connsiteY76" fmla="*/ 3403736 h 3635497"/>
                <a:gd name="connsiteX77" fmla="*/ 497231 w 2701062"/>
                <a:gd name="connsiteY77" fmla="*/ 3412164 h 3635497"/>
                <a:gd name="connsiteX78" fmla="*/ 497231 w 2701062"/>
                <a:gd name="connsiteY78" fmla="*/ 3412164 h 3635497"/>
                <a:gd name="connsiteX79" fmla="*/ 568866 w 2701062"/>
                <a:gd name="connsiteY79" fmla="*/ 3445875 h 3635497"/>
                <a:gd name="connsiteX80" fmla="*/ 589935 w 2701062"/>
                <a:gd name="connsiteY80" fmla="*/ 3424806 h 3635497"/>
                <a:gd name="connsiteX81" fmla="*/ 648929 w 2701062"/>
                <a:gd name="connsiteY81" fmla="*/ 3454302 h 3635497"/>
                <a:gd name="connsiteX82" fmla="*/ 674212 w 2701062"/>
                <a:gd name="connsiteY82" fmla="*/ 3450089 h 3635497"/>
                <a:gd name="connsiteX83" fmla="*/ 720564 w 2701062"/>
                <a:gd name="connsiteY83" fmla="*/ 3513296 h 3635497"/>
                <a:gd name="connsiteX84" fmla="*/ 754275 w 2701062"/>
                <a:gd name="connsiteY84" fmla="*/ 3504868 h 3635497"/>
                <a:gd name="connsiteX85" fmla="*/ 804840 w 2701062"/>
                <a:gd name="connsiteY85" fmla="*/ 3429019 h 3635497"/>
                <a:gd name="connsiteX86" fmla="*/ 842765 w 2701062"/>
                <a:gd name="connsiteY86" fmla="*/ 3395309 h 3635497"/>
                <a:gd name="connsiteX87" fmla="*/ 830123 w 2701062"/>
                <a:gd name="connsiteY87" fmla="*/ 3340529 h 3635497"/>
                <a:gd name="connsiteX88" fmla="*/ 859620 w 2701062"/>
                <a:gd name="connsiteY88" fmla="*/ 3285749 h 3635497"/>
                <a:gd name="connsiteX89" fmla="*/ 918614 w 2701062"/>
                <a:gd name="connsiteY89" fmla="*/ 3235184 h 3635497"/>
                <a:gd name="connsiteX90" fmla="*/ 1011318 w 2701062"/>
                <a:gd name="connsiteY90" fmla="*/ 3218328 h 3635497"/>
                <a:gd name="connsiteX91" fmla="*/ 1078739 w 2701062"/>
                <a:gd name="connsiteY91" fmla="*/ 3205687 h 3635497"/>
                <a:gd name="connsiteX92" fmla="*/ 1163016 w 2701062"/>
                <a:gd name="connsiteY92" fmla="*/ 3277322 h 3635497"/>
                <a:gd name="connsiteX93" fmla="*/ 1222009 w 2701062"/>
                <a:gd name="connsiteY93" fmla="*/ 3311032 h 3635497"/>
                <a:gd name="connsiteX94" fmla="*/ 1226223 w 2701062"/>
                <a:gd name="connsiteY94" fmla="*/ 3264680 h 3635497"/>
                <a:gd name="connsiteX95" fmla="*/ 1243078 w 2701062"/>
                <a:gd name="connsiteY95" fmla="*/ 3256253 h 3635497"/>
                <a:gd name="connsiteX96" fmla="*/ 1344210 w 2701062"/>
                <a:gd name="connsiteY96" fmla="*/ 3277322 h 3635497"/>
                <a:gd name="connsiteX97" fmla="*/ 1398990 w 2701062"/>
                <a:gd name="connsiteY97" fmla="*/ 3285749 h 3635497"/>
                <a:gd name="connsiteX98" fmla="*/ 1436914 w 2701062"/>
                <a:gd name="connsiteY98" fmla="*/ 3214114 h 3635497"/>
                <a:gd name="connsiteX99" fmla="*/ 1495908 w 2701062"/>
                <a:gd name="connsiteY99" fmla="*/ 3205687 h 3635497"/>
                <a:gd name="connsiteX100" fmla="*/ 1597040 w 2701062"/>
                <a:gd name="connsiteY100" fmla="*/ 3260466 h 3635497"/>
                <a:gd name="connsiteX101" fmla="*/ 1656033 w 2701062"/>
                <a:gd name="connsiteY101" fmla="*/ 3281536 h 3635497"/>
                <a:gd name="connsiteX102" fmla="*/ 1719240 w 2701062"/>
                <a:gd name="connsiteY102" fmla="*/ 3222542 h 3635497"/>
                <a:gd name="connsiteX103" fmla="*/ 1715027 w 2701062"/>
                <a:gd name="connsiteY103" fmla="*/ 3150907 h 3635497"/>
                <a:gd name="connsiteX104" fmla="*/ 1833014 w 2701062"/>
                <a:gd name="connsiteY104" fmla="*/ 3201473 h 3635497"/>
                <a:gd name="connsiteX105" fmla="*/ 1862510 w 2701062"/>
                <a:gd name="connsiteY105" fmla="*/ 3150907 h 3635497"/>
                <a:gd name="connsiteX106" fmla="*/ 2018422 w 2701062"/>
                <a:gd name="connsiteY106" fmla="*/ 3129838 h 3635497"/>
                <a:gd name="connsiteX107" fmla="*/ 2186975 w 2701062"/>
                <a:gd name="connsiteY107" fmla="*/ 3188831 h 3635497"/>
                <a:gd name="connsiteX108" fmla="*/ 2254396 w 2701062"/>
                <a:gd name="connsiteY108" fmla="*/ 3104555 h 3635497"/>
                <a:gd name="connsiteX109" fmla="*/ 2338673 w 2701062"/>
                <a:gd name="connsiteY109" fmla="*/ 3104555 h 3635497"/>
                <a:gd name="connsiteX110" fmla="*/ 2380811 w 2701062"/>
                <a:gd name="connsiteY110" fmla="*/ 3049775 h 3635497"/>
                <a:gd name="connsiteX111" fmla="*/ 2456660 w 2701062"/>
                <a:gd name="connsiteY111" fmla="*/ 3053989 h 3635497"/>
                <a:gd name="connsiteX112" fmla="*/ 2469301 w 2701062"/>
                <a:gd name="connsiteY112" fmla="*/ 2973926 h 3635497"/>
                <a:gd name="connsiteX113" fmla="*/ 2595716 w 2701062"/>
                <a:gd name="connsiteY113" fmla="*/ 2906505 h 3635497"/>
                <a:gd name="connsiteX114" fmla="*/ 2595716 w 2701062"/>
                <a:gd name="connsiteY114" fmla="*/ 2805373 h 3635497"/>
                <a:gd name="connsiteX115" fmla="*/ 2616785 w 2701062"/>
                <a:gd name="connsiteY115" fmla="*/ 2767449 h 3635497"/>
                <a:gd name="connsiteX116" fmla="*/ 2591502 w 2701062"/>
                <a:gd name="connsiteY116" fmla="*/ 2742166 h 3635497"/>
                <a:gd name="connsiteX117" fmla="*/ 2515653 w 2701062"/>
                <a:gd name="connsiteY117" fmla="*/ 2742166 h 3635497"/>
                <a:gd name="connsiteX118" fmla="*/ 2460874 w 2701062"/>
                <a:gd name="connsiteY118" fmla="*/ 2754807 h 3635497"/>
                <a:gd name="connsiteX119" fmla="*/ 2435591 w 2701062"/>
                <a:gd name="connsiteY119" fmla="*/ 2767449 h 3635497"/>
                <a:gd name="connsiteX120" fmla="*/ 2397666 w 2701062"/>
                <a:gd name="connsiteY120" fmla="*/ 2716883 h 3635497"/>
                <a:gd name="connsiteX121" fmla="*/ 2347100 w 2701062"/>
                <a:gd name="connsiteY121" fmla="*/ 2691600 h 3635497"/>
                <a:gd name="connsiteX122" fmla="*/ 2410308 w 2701062"/>
                <a:gd name="connsiteY122" fmla="*/ 2653676 h 3635497"/>
                <a:gd name="connsiteX123" fmla="*/ 2439804 w 2701062"/>
                <a:gd name="connsiteY123" fmla="*/ 2506192 h 3635497"/>
                <a:gd name="connsiteX124" fmla="*/ 2481943 w 2701062"/>
                <a:gd name="connsiteY124" fmla="*/ 2539902 h 3635497"/>
                <a:gd name="connsiteX125" fmla="*/ 2532509 w 2701062"/>
                <a:gd name="connsiteY125" fmla="*/ 2468267 h 3635497"/>
                <a:gd name="connsiteX126" fmla="*/ 2545150 w 2701062"/>
                <a:gd name="connsiteY126" fmla="*/ 2430343 h 3635497"/>
                <a:gd name="connsiteX127" fmla="*/ 2633640 w 2701062"/>
                <a:gd name="connsiteY127" fmla="*/ 2316570 h 3635497"/>
                <a:gd name="connsiteX128" fmla="*/ 2650496 w 2701062"/>
                <a:gd name="connsiteY128" fmla="*/ 2223866 h 3635497"/>
                <a:gd name="connsiteX129" fmla="*/ 2696848 w 2701062"/>
                <a:gd name="connsiteY129" fmla="*/ 2148017 h 3635497"/>
                <a:gd name="connsiteX130" fmla="*/ 2701062 w 2701062"/>
                <a:gd name="connsiteY130" fmla="*/ 1941539 h 3635497"/>
                <a:gd name="connsiteX131" fmla="*/ 2503012 w 2701062"/>
                <a:gd name="connsiteY131" fmla="*/ 1806697 h 3635497"/>
                <a:gd name="connsiteX132" fmla="*/ 2237541 w 2701062"/>
                <a:gd name="connsiteY132" fmla="*/ 1777200 h 3635497"/>
                <a:gd name="connsiteX133" fmla="*/ 2161692 w 2701062"/>
                <a:gd name="connsiteY133" fmla="*/ 1865690 h 3635497"/>
                <a:gd name="connsiteX134" fmla="*/ 2123768 w 2701062"/>
                <a:gd name="connsiteY134" fmla="*/ 1857263 h 3635497"/>
                <a:gd name="connsiteX135" fmla="*/ 2111126 w 2701062"/>
                <a:gd name="connsiteY135" fmla="*/ 1806697 h 3635497"/>
                <a:gd name="connsiteX136" fmla="*/ 2203830 w 2701062"/>
                <a:gd name="connsiteY136" fmla="*/ 1709779 h 3635497"/>
                <a:gd name="connsiteX137" fmla="*/ 2178547 w 2701062"/>
                <a:gd name="connsiteY137" fmla="*/ 1570723 h 3635497"/>
                <a:gd name="connsiteX138" fmla="*/ 2090057 w 2701062"/>
                <a:gd name="connsiteY138" fmla="*/ 1478019 h 3635497"/>
                <a:gd name="connsiteX139" fmla="*/ 2056346 w 2701062"/>
                <a:gd name="connsiteY139" fmla="*/ 1448522 h 3635497"/>
                <a:gd name="connsiteX140" fmla="*/ 2127981 w 2701062"/>
                <a:gd name="connsiteY140" fmla="*/ 1435880 h 3635497"/>
                <a:gd name="connsiteX141" fmla="*/ 2127981 w 2701062"/>
                <a:gd name="connsiteY141" fmla="*/ 1402170 h 3635497"/>
                <a:gd name="connsiteX142" fmla="*/ 2031063 w 2701062"/>
                <a:gd name="connsiteY142" fmla="*/ 1275755 h 3635497"/>
                <a:gd name="connsiteX143" fmla="*/ 2022636 w 2701062"/>
                <a:gd name="connsiteY143" fmla="*/ 1191478 h 3635497"/>
                <a:gd name="connsiteX144" fmla="*/ 2056346 w 2701062"/>
                <a:gd name="connsiteY144" fmla="*/ 1128271 h 3635497"/>
                <a:gd name="connsiteX145" fmla="*/ 2039491 w 2701062"/>
                <a:gd name="connsiteY145" fmla="*/ 1094560 h 3635497"/>
                <a:gd name="connsiteX146" fmla="*/ 1967856 w 2701062"/>
                <a:gd name="connsiteY146" fmla="*/ 1073491 h 3635497"/>
                <a:gd name="connsiteX147" fmla="*/ 1929932 w 2701062"/>
                <a:gd name="connsiteY147" fmla="*/ 1014498 h 3635497"/>
                <a:gd name="connsiteX148" fmla="*/ 1934146 w 2701062"/>
                <a:gd name="connsiteY148" fmla="*/ 955504 h 3635497"/>
                <a:gd name="connsiteX149" fmla="*/ 1727668 w 2701062"/>
                <a:gd name="connsiteY149" fmla="*/ 837517 h 3635497"/>
                <a:gd name="connsiteX150" fmla="*/ 1664461 w 2701062"/>
                <a:gd name="connsiteY150" fmla="*/ 778524 h 3635497"/>
                <a:gd name="connsiteX151" fmla="*/ 1516977 w 2701062"/>
                <a:gd name="connsiteY151" fmla="*/ 239155 h 3635497"/>
                <a:gd name="connsiteX152" fmla="*/ 1407417 w 2701062"/>
                <a:gd name="connsiteY152" fmla="*/ 121169 h 3635497"/>
                <a:gd name="connsiteX153" fmla="*/ 1365464 w 2701062"/>
                <a:gd name="connsiteY153" fmla="*/ 33227 h 363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2701062" h="3635497">
                  <a:moveTo>
                    <a:pt x="1365464" y="33227"/>
                  </a:moveTo>
                  <a:lnTo>
                    <a:pt x="1253525" y="0"/>
                  </a:lnTo>
                  <a:lnTo>
                    <a:pt x="1335782" y="91671"/>
                  </a:lnTo>
                  <a:lnTo>
                    <a:pt x="1264148" y="180161"/>
                  </a:lnTo>
                  <a:lnTo>
                    <a:pt x="1281002" y="319218"/>
                  </a:lnTo>
                  <a:lnTo>
                    <a:pt x="1141946" y="454060"/>
                  </a:lnTo>
                  <a:lnTo>
                    <a:pt x="876475" y="711102"/>
                  </a:lnTo>
                  <a:lnTo>
                    <a:pt x="804840" y="782737"/>
                  </a:lnTo>
                  <a:lnTo>
                    <a:pt x="813268" y="913366"/>
                  </a:lnTo>
                  <a:lnTo>
                    <a:pt x="897545" y="1081919"/>
                  </a:lnTo>
                  <a:lnTo>
                    <a:pt x="943897" y="1166195"/>
                  </a:lnTo>
                  <a:lnTo>
                    <a:pt x="964966" y="1195692"/>
                  </a:lnTo>
                  <a:lnTo>
                    <a:pt x="994463" y="1170409"/>
                  </a:lnTo>
                  <a:lnTo>
                    <a:pt x="1011318" y="1115630"/>
                  </a:lnTo>
                  <a:lnTo>
                    <a:pt x="1057670" y="1107202"/>
                  </a:lnTo>
                  <a:lnTo>
                    <a:pt x="1053456" y="1170409"/>
                  </a:lnTo>
                  <a:lnTo>
                    <a:pt x="1040815" y="1204120"/>
                  </a:lnTo>
                  <a:lnTo>
                    <a:pt x="1049242" y="1229403"/>
                  </a:lnTo>
                  <a:lnTo>
                    <a:pt x="986035" y="1246258"/>
                  </a:lnTo>
                  <a:lnTo>
                    <a:pt x="1011318" y="1381101"/>
                  </a:lnTo>
                  <a:lnTo>
                    <a:pt x="1049242" y="1376887"/>
                  </a:lnTo>
                  <a:lnTo>
                    <a:pt x="1040815" y="1440094"/>
                  </a:lnTo>
                  <a:lnTo>
                    <a:pt x="981821" y="1473805"/>
                  </a:lnTo>
                  <a:lnTo>
                    <a:pt x="931255" y="1473805"/>
                  </a:lnTo>
                  <a:lnTo>
                    <a:pt x="897545" y="1537012"/>
                  </a:lnTo>
                  <a:lnTo>
                    <a:pt x="901758" y="1566509"/>
                  </a:lnTo>
                  <a:lnTo>
                    <a:pt x="948110" y="1574936"/>
                  </a:lnTo>
                  <a:lnTo>
                    <a:pt x="931255" y="1612861"/>
                  </a:lnTo>
                  <a:lnTo>
                    <a:pt x="952324" y="1621289"/>
                  </a:lnTo>
                  <a:lnTo>
                    <a:pt x="1015532" y="1625502"/>
                  </a:lnTo>
                  <a:lnTo>
                    <a:pt x="1040815" y="1663427"/>
                  </a:lnTo>
                  <a:lnTo>
                    <a:pt x="1036601" y="1701351"/>
                  </a:lnTo>
                  <a:lnTo>
                    <a:pt x="1104022" y="1802483"/>
                  </a:lnTo>
                  <a:lnTo>
                    <a:pt x="1053456" y="1827766"/>
                  </a:lnTo>
                  <a:lnTo>
                    <a:pt x="998676" y="1823552"/>
                  </a:lnTo>
                  <a:lnTo>
                    <a:pt x="964966" y="1903615"/>
                  </a:lnTo>
                  <a:lnTo>
                    <a:pt x="1015532" y="1945753"/>
                  </a:lnTo>
                  <a:lnTo>
                    <a:pt x="994463" y="2042671"/>
                  </a:lnTo>
                  <a:lnTo>
                    <a:pt x="1019746" y="2076382"/>
                  </a:lnTo>
                  <a:lnTo>
                    <a:pt x="990249" y="2110092"/>
                  </a:lnTo>
                  <a:lnTo>
                    <a:pt x="948110" y="2110092"/>
                  </a:lnTo>
                  <a:lnTo>
                    <a:pt x="939683" y="2148017"/>
                  </a:lnTo>
                  <a:lnTo>
                    <a:pt x="994463" y="2194369"/>
                  </a:lnTo>
                  <a:lnTo>
                    <a:pt x="981821" y="2375563"/>
                  </a:lnTo>
                  <a:lnTo>
                    <a:pt x="1015532" y="2455626"/>
                  </a:lnTo>
                  <a:lnTo>
                    <a:pt x="1049242" y="2455626"/>
                  </a:lnTo>
                  <a:lnTo>
                    <a:pt x="1129305" y="2523047"/>
                  </a:lnTo>
                  <a:lnTo>
                    <a:pt x="1125091" y="2653676"/>
                  </a:lnTo>
                  <a:lnTo>
                    <a:pt x="1087167" y="2716883"/>
                  </a:lnTo>
                  <a:lnTo>
                    <a:pt x="1015532" y="2784304"/>
                  </a:lnTo>
                  <a:lnTo>
                    <a:pt x="1007104" y="2872795"/>
                  </a:lnTo>
                  <a:lnTo>
                    <a:pt x="922828" y="2885436"/>
                  </a:lnTo>
                  <a:lnTo>
                    <a:pt x="868048" y="2889650"/>
                  </a:lnTo>
                  <a:lnTo>
                    <a:pt x="830123" y="2851725"/>
                  </a:lnTo>
                  <a:lnTo>
                    <a:pt x="577294" y="2872795"/>
                  </a:lnTo>
                  <a:lnTo>
                    <a:pt x="568866" y="2978140"/>
                  </a:lnTo>
                  <a:lnTo>
                    <a:pt x="514087" y="3011851"/>
                  </a:lnTo>
                  <a:lnTo>
                    <a:pt x="484590" y="2978140"/>
                  </a:lnTo>
                  <a:lnTo>
                    <a:pt x="446665" y="3003423"/>
                  </a:lnTo>
                  <a:lnTo>
                    <a:pt x="434024" y="3121410"/>
                  </a:lnTo>
                  <a:lnTo>
                    <a:pt x="328678" y="3247825"/>
                  </a:lnTo>
                  <a:lnTo>
                    <a:pt x="273899" y="3260466"/>
                  </a:lnTo>
                  <a:lnTo>
                    <a:pt x="252829" y="3311032"/>
                  </a:lnTo>
                  <a:lnTo>
                    <a:pt x="202263" y="3391095"/>
                  </a:lnTo>
                  <a:lnTo>
                    <a:pt x="164339" y="3420592"/>
                  </a:lnTo>
                  <a:lnTo>
                    <a:pt x="75849" y="3450089"/>
                  </a:lnTo>
                  <a:lnTo>
                    <a:pt x="12641" y="3483799"/>
                  </a:lnTo>
                  <a:lnTo>
                    <a:pt x="0" y="3563862"/>
                  </a:lnTo>
                  <a:lnTo>
                    <a:pt x="63207" y="3559648"/>
                  </a:lnTo>
                  <a:lnTo>
                    <a:pt x="96918" y="3513296"/>
                  </a:lnTo>
                  <a:lnTo>
                    <a:pt x="155911" y="3555434"/>
                  </a:lnTo>
                  <a:lnTo>
                    <a:pt x="164339" y="3635497"/>
                  </a:lnTo>
                  <a:lnTo>
                    <a:pt x="265471" y="3584931"/>
                  </a:lnTo>
                  <a:lnTo>
                    <a:pt x="252829" y="3525937"/>
                  </a:lnTo>
                  <a:lnTo>
                    <a:pt x="307609" y="3483799"/>
                  </a:lnTo>
                  <a:lnTo>
                    <a:pt x="345534" y="3445875"/>
                  </a:lnTo>
                  <a:lnTo>
                    <a:pt x="375030" y="3403736"/>
                  </a:lnTo>
                  <a:lnTo>
                    <a:pt x="497231" y="3412164"/>
                  </a:lnTo>
                  <a:lnTo>
                    <a:pt x="497231" y="3412164"/>
                  </a:lnTo>
                  <a:lnTo>
                    <a:pt x="568866" y="3445875"/>
                  </a:lnTo>
                  <a:lnTo>
                    <a:pt x="589935" y="3424806"/>
                  </a:lnTo>
                  <a:lnTo>
                    <a:pt x="648929" y="3454302"/>
                  </a:lnTo>
                  <a:lnTo>
                    <a:pt x="674212" y="3450089"/>
                  </a:lnTo>
                  <a:lnTo>
                    <a:pt x="720564" y="3513296"/>
                  </a:lnTo>
                  <a:lnTo>
                    <a:pt x="754275" y="3504868"/>
                  </a:lnTo>
                  <a:lnTo>
                    <a:pt x="804840" y="3429019"/>
                  </a:lnTo>
                  <a:lnTo>
                    <a:pt x="842765" y="3395309"/>
                  </a:lnTo>
                  <a:lnTo>
                    <a:pt x="830123" y="3340529"/>
                  </a:lnTo>
                  <a:lnTo>
                    <a:pt x="859620" y="3285749"/>
                  </a:lnTo>
                  <a:lnTo>
                    <a:pt x="918614" y="3235184"/>
                  </a:lnTo>
                  <a:lnTo>
                    <a:pt x="1011318" y="3218328"/>
                  </a:lnTo>
                  <a:lnTo>
                    <a:pt x="1078739" y="3205687"/>
                  </a:lnTo>
                  <a:lnTo>
                    <a:pt x="1163016" y="3277322"/>
                  </a:lnTo>
                  <a:lnTo>
                    <a:pt x="1222009" y="3311032"/>
                  </a:lnTo>
                  <a:lnTo>
                    <a:pt x="1226223" y="3264680"/>
                  </a:lnTo>
                  <a:lnTo>
                    <a:pt x="1243078" y="3256253"/>
                  </a:lnTo>
                  <a:lnTo>
                    <a:pt x="1344210" y="3277322"/>
                  </a:lnTo>
                  <a:lnTo>
                    <a:pt x="1398990" y="3285749"/>
                  </a:lnTo>
                  <a:lnTo>
                    <a:pt x="1436914" y="3214114"/>
                  </a:lnTo>
                  <a:lnTo>
                    <a:pt x="1495908" y="3205687"/>
                  </a:lnTo>
                  <a:lnTo>
                    <a:pt x="1597040" y="3260466"/>
                  </a:lnTo>
                  <a:lnTo>
                    <a:pt x="1656033" y="3281536"/>
                  </a:lnTo>
                  <a:lnTo>
                    <a:pt x="1719240" y="3222542"/>
                  </a:lnTo>
                  <a:lnTo>
                    <a:pt x="1715027" y="3150907"/>
                  </a:lnTo>
                  <a:lnTo>
                    <a:pt x="1833014" y="3201473"/>
                  </a:lnTo>
                  <a:lnTo>
                    <a:pt x="1862510" y="3150907"/>
                  </a:lnTo>
                  <a:lnTo>
                    <a:pt x="2018422" y="3129838"/>
                  </a:lnTo>
                  <a:lnTo>
                    <a:pt x="2186975" y="3188831"/>
                  </a:lnTo>
                  <a:lnTo>
                    <a:pt x="2254396" y="3104555"/>
                  </a:lnTo>
                  <a:lnTo>
                    <a:pt x="2338673" y="3104555"/>
                  </a:lnTo>
                  <a:lnTo>
                    <a:pt x="2380811" y="3049775"/>
                  </a:lnTo>
                  <a:lnTo>
                    <a:pt x="2456660" y="3053989"/>
                  </a:lnTo>
                  <a:lnTo>
                    <a:pt x="2469301" y="2973926"/>
                  </a:lnTo>
                  <a:lnTo>
                    <a:pt x="2595716" y="2906505"/>
                  </a:lnTo>
                  <a:lnTo>
                    <a:pt x="2595716" y="2805373"/>
                  </a:lnTo>
                  <a:lnTo>
                    <a:pt x="2616785" y="2767449"/>
                  </a:lnTo>
                  <a:lnTo>
                    <a:pt x="2591502" y="2742166"/>
                  </a:lnTo>
                  <a:lnTo>
                    <a:pt x="2515653" y="2742166"/>
                  </a:lnTo>
                  <a:lnTo>
                    <a:pt x="2460874" y="2754807"/>
                  </a:lnTo>
                  <a:lnTo>
                    <a:pt x="2435591" y="2767449"/>
                  </a:lnTo>
                  <a:lnTo>
                    <a:pt x="2397666" y="2716883"/>
                  </a:lnTo>
                  <a:lnTo>
                    <a:pt x="2347100" y="2691600"/>
                  </a:lnTo>
                  <a:lnTo>
                    <a:pt x="2410308" y="2653676"/>
                  </a:lnTo>
                  <a:lnTo>
                    <a:pt x="2439804" y="2506192"/>
                  </a:lnTo>
                  <a:lnTo>
                    <a:pt x="2481943" y="2539902"/>
                  </a:lnTo>
                  <a:lnTo>
                    <a:pt x="2532509" y="2468267"/>
                  </a:lnTo>
                  <a:lnTo>
                    <a:pt x="2545150" y="2430343"/>
                  </a:lnTo>
                  <a:lnTo>
                    <a:pt x="2633640" y="2316570"/>
                  </a:lnTo>
                  <a:lnTo>
                    <a:pt x="2650496" y="2223866"/>
                  </a:lnTo>
                  <a:lnTo>
                    <a:pt x="2696848" y="2148017"/>
                  </a:lnTo>
                  <a:cubicBezTo>
                    <a:pt x="2698253" y="2079191"/>
                    <a:pt x="2699657" y="2010365"/>
                    <a:pt x="2701062" y="1941539"/>
                  </a:cubicBezTo>
                  <a:lnTo>
                    <a:pt x="2503012" y="1806697"/>
                  </a:lnTo>
                  <a:lnTo>
                    <a:pt x="2237541" y="1777200"/>
                  </a:lnTo>
                  <a:lnTo>
                    <a:pt x="2161692" y="1865690"/>
                  </a:lnTo>
                  <a:lnTo>
                    <a:pt x="2123768" y="1857263"/>
                  </a:lnTo>
                  <a:lnTo>
                    <a:pt x="2111126" y="1806697"/>
                  </a:lnTo>
                  <a:lnTo>
                    <a:pt x="2203830" y="1709779"/>
                  </a:lnTo>
                  <a:lnTo>
                    <a:pt x="2178547" y="1570723"/>
                  </a:lnTo>
                  <a:lnTo>
                    <a:pt x="2090057" y="1478019"/>
                  </a:lnTo>
                  <a:lnTo>
                    <a:pt x="2056346" y="1448522"/>
                  </a:lnTo>
                  <a:lnTo>
                    <a:pt x="2127981" y="1435880"/>
                  </a:lnTo>
                  <a:lnTo>
                    <a:pt x="2127981" y="1402170"/>
                  </a:lnTo>
                  <a:lnTo>
                    <a:pt x="2031063" y="1275755"/>
                  </a:lnTo>
                  <a:lnTo>
                    <a:pt x="2022636" y="1191478"/>
                  </a:lnTo>
                  <a:lnTo>
                    <a:pt x="2056346" y="1128271"/>
                  </a:lnTo>
                  <a:lnTo>
                    <a:pt x="2039491" y="1094560"/>
                  </a:lnTo>
                  <a:lnTo>
                    <a:pt x="1967856" y="1073491"/>
                  </a:lnTo>
                  <a:lnTo>
                    <a:pt x="1929932" y="1014498"/>
                  </a:lnTo>
                  <a:lnTo>
                    <a:pt x="1934146" y="955504"/>
                  </a:lnTo>
                  <a:lnTo>
                    <a:pt x="1727668" y="837517"/>
                  </a:lnTo>
                  <a:lnTo>
                    <a:pt x="1664461" y="778524"/>
                  </a:lnTo>
                  <a:lnTo>
                    <a:pt x="1516977" y="239155"/>
                  </a:lnTo>
                  <a:lnTo>
                    <a:pt x="1407417" y="121169"/>
                  </a:lnTo>
                  <a:cubicBezTo>
                    <a:pt x="1368087" y="24250"/>
                    <a:pt x="1392152" y="41655"/>
                    <a:pt x="1365464" y="33227"/>
                  </a:cubicBez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charset="0"/>
                <a:ea typeface="+mn-ea"/>
                <a:cs typeface="Arial" charset="0"/>
              </a:endParaRPr>
            </a:p>
          </p:txBody>
        </p:sp>
        <p:grpSp>
          <p:nvGrpSpPr>
            <p:cNvPr id="10" name="Group 9">
              <a:extLst>
                <a:ext uri="{FF2B5EF4-FFF2-40B4-BE49-F238E27FC236}">
                  <a16:creationId xmlns:a16="http://schemas.microsoft.com/office/drawing/2014/main" id="{2BF0ED08-F385-4A97-BA7D-5B059D8843D5}"/>
                </a:ext>
              </a:extLst>
            </p:cNvPr>
            <p:cNvGrpSpPr/>
            <p:nvPr/>
          </p:nvGrpSpPr>
          <p:grpSpPr bwMode="auto">
            <a:xfrm>
              <a:off x="4937125" y="208756"/>
              <a:ext cx="2141537" cy="3687762"/>
              <a:chOff x="4937125" y="208756"/>
              <a:chExt cx="2141537" cy="3687762"/>
            </a:xfrm>
            <a:grpFill/>
          </p:grpSpPr>
          <p:sp>
            <p:nvSpPr>
              <p:cNvPr id="11" name="Freeform 51">
                <a:extLst>
                  <a:ext uri="{FF2B5EF4-FFF2-40B4-BE49-F238E27FC236}">
                    <a16:creationId xmlns:a16="http://schemas.microsoft.com/office/drawing/2014/main" id="{E6C8E542-64C5-46BC-BFF7-163A3732A18D}"/>
                  </a:ext>
                </a:extLst>
              </p:cNvPr>
              <p:cNvSpPr/>
              <p:nvPr/>
            </p:nvSpPr>
            <p:spPr bwMode="auto">
              <a:xfrm>
                <a:off x="5233987" y="1437481"/>
                <a:ext cx="1568450" cy="2459037"/>
              </a:xfrm>
              <a:custGeom>
                <a:avLst/>
                <a:gdLst>
                  <a:gd name="connsiteX0" fmla="*/ 1192545 w 1568040"/>
                  <a:gd name="connsiteY0" fmla="*/ 41722 h 2458102"/>
                  <a:gd name="connsiteX1" fmla="*/ 1161254 w 1568040"/>
                  <a:gd name="connsiteY1" fmla="*/ 139072 h 2458102"/>
                  <a:gd name="connsiteX2" fmla="*/ 1189068 w 1568040"/>
                  <a:gd name="connsiteY2" fmla="*/ 170364 h 2458102"/>
                  <a:gd name="connsiteX3" fmla="*/ 1074333 w 1568040"/>
                  <a:gd name="connsiteY3" fmla="*/ 267714 h 2458102"/>
                  <a:gd name="connsiteX4" fmla="*/ 872679 w 1568040"/>
                  <a:gd name="connsiteY4" fmla="*/ 448508 h 2458102"/>
                  <a:gd name="connsiteX5" fmla="*/ 872679 w 1568040"/>
                  <a:gd name="connsiteY5" fmla="*/ 490230 h 2458102"/>
                  <a:gd name="connsiteX6" fmla="*/ 792712 w 1568040"/>
                  <a:gd name="connsiteY6" fmla="*/ 500660 h 2458102"/>
                  <a:gd name="connsiteX7" fmla="*/ 862248 w 1568040"/>
                  <a:gd name="connsiteY7" fmla="*/ 521521 h 2458102"/>
                  <a:gd name="connsiteX8" fmla="*/ 952645 w 1568040"/>
                  <a:gd name="connsiteY8" fmla="*/ 518044 h 2458102"/>
                  <a:gd name="connsiteX9" fmla="*/ 792712 w 1568040"/>
                  <a:gd name="connsiteY9" fmla="*/ 702315 h 2458102"/>
                  <a:gd name="connsiteX10" fmla="*/ 1015228 w 1568040"/>
                  <a:gd name="connsiteY10" fmla="*/ 618872 h 2458102"/>
                  <a:gd name="connsiteX11" fmla="*/ 1088241 w 1568040"/>
                  <a:gd name="connsiteY11" fmla="*/ 584103 h 2458102"/>
                  <a:gd name="connsiteX12" fmla="*/ 1147346 w 1568040"/>
                  <a:gd name="connsiteY12" fmla="*/ 625825 h 2458102"/>
                  <a:gd name="connsiteX13" fmla="*/ 1216883 w 1568040"/>
                  <a:gd name="connsiteY13" fmla="*/ 615395 h 2458102"/>
                  <a:gd name="connsiteX14" fmla="*/ 1477643 w 1568040"/>
                  <a:gd name="connsiteY14" fmla="*/ 604964 h 2458102"/>
                  <a:gd name="connsiteX15" fmla="*/ 1568040 w 1568040"/>
                  <a:gd name="connsiteY15" fmla="*/ 726653 h 2458102"/>
                  <a:gd name="connsiteX16" fmla="*/ 1477643 w 1568040"/>
                  <a:gd name="connsiteY16" fmla="*/ 883109 h 2458102"/>
                  <a:gd name="connsiteX17" fmla="*/ 1470689 w 1568040"/>
                  <a:gd name="connsiteY17" fmla="*/ 976983 h 2458102"/>
                  <a:gd name="connsiteX18" fmla="*/ 1415060 w 1568040"/>
                  <a:gd name="connsiteY18" fmla="*/ 1102148 h 2458102"/>
                  <a:gd name="connsiteX19" fmla="*/ 1335094 w 1568040"/>
                  <a:gd name="connsiteY19" fmla="*/ 1241220 h 2458102"/>
                  <a:gd name="connsiteX20" fmla="*/ 1324663 w 1568040"/>
                  <a:gd name="connsiteY20" fmla="*/ 1303802 h 2458102"/>
                  <a:gd name="connsiteX21" fmla="*/ 1237743 w 1568040"/>
                  <a:gd name="connsiteY21" fmla="*/ 1373338 h 2458102"/>
                  <a:gd name="connsiteX22" fmla="*/ 1282942 w 1568040"/>
                  <a:gd name="connsiteY22" fmla="*/ 1442875 h 2458102"/>
                  <a:gd name="connsiteX23" fmla="*/ 1289895 w 1568040"/>
                  <a:gd name="connsiteY23" fmla="*/ 1512411 h 2458102"/>
                  <a:gd name="connsiteX24" fmla="*/ 1227313 w 1568040"/>
                  <a:gd name="connsiteY24" fmla="*/ 1533272 h 2458102"/>
                  <a:gd name="connsiteX25" fmla="*/ 1178638 w 1568040"/>
                  <a:gd name="connsiteY25" fmla="*/ 1519364 h 2458102"/>
                  <a:gd name="connsiteX26" fmla="*/ 1109102 w 1568040"/>
                  <a:gd name="connsiteY26" fmla="*/ 1606284 h 2458102"/>
                  <a:gd name="connsiteX27" fmla="*/ 931784 w 1568040"/>
                  <a:gd name="connsiteY27" fmla="*/ 1616715 h 2458102"/>
                  <a:gd name="connsiteX28" fmla="*/ 1164730 w 1568040"/>
                  <a:gd name="connsiteY28" fmla="*/ 1668867 h 2458102"/>
                  <a:gd name="connsiteX29" fmla="*/ 1223836 w 1568040"/>
                  <a:gd name="connsiteY29" fmla="*/ 1609761 h 2458102"/>
                  <a:gd name="connsiteX30" fmla="*/ 1383769 w 1568040"/>
                  <a:gd name="connsiteY30" fmla="*/ 1675821 h 2458102"/>
                  <a:gd name="connsiteX31" fmla="*/ 1442875 w 1568040"/>
                  <a:gd name="connsiteY31" fmla="*/ 1759264 h 2458102"/>
                  <a:gd name="connsiteX32" fmla="*/ 1376816 w 1568040"/>
                  <a:gd name="connsiteY32" fmla="*/ 1846184 h 2458102"/>
                  <a:gd name="connsiteX33" fmla="*/ 1394200 w 1568040"/>
                  <a:gd name="connsiteY33" fmla="*/ 2006117 h 2458102"/>
                  <a:gd name="connsiteX34" fmla="*/ 1046519 w 1568040"/>
                  <a:gd name="connsiteY34" fmla="*/ 2287738 h 2458102"/>
                  <a:gd name="connsiteX35" fmla="*/ 973506 w 1568040"/>
                  <a:gd name="connsiteY35" fmla="*/ 2280785 h 2458102"/>
                  <a:gd name="connsiteX36" fmla="*/ 970029 w 1568040"/>
                  <a:gd name="connsiteY36" fmla="*/ 2332937 h 2458102"/>
                  <a:gd name="connsiteX37" fmla="*/ 897016 w 1568040"/>
                  <a:gd name="connsiteY37" fmla="*/ 2343367 h 2458102"/>
                  <a:gd name="connsiteX38" fmla="*/ 820527 w 1568040"/>
                  <a:gd name="connsiteY38" fmla="*/ 2392043 h 2458102"/>
                  <a:gd name="connsiteX39" fmla="*/ 726653 w 1568040"/>
                  <a:gd name="connsiteY39" fmla="*/ 2353798 h 2458102"/>
                  <a:gd name="connsiteX40" fmla="*/ 719699 w 1568040"/>
                  <a:gd name="connsiteY40" fmla="*/ 2437241 h 2458102"/>
                  <a:gd name="connsiteX41" fmla="*/ 681454 w 1568040"/>
                  <a:gd name="connsiteY41" fmla="*/ 2447672 h 2458102"/>
                  <a:gd name="connsiteX42" fmla="*/ 604965 w 1568040"/>
                  <a:gd name="connsiteY42" fmla="*/ 2402473 h 2458102"/>
                  <a:gd name="connsiteX43" fmla="*/ 566720 w 1568040"/>
                  <a:gd name="connsiteY43" fmla="*/ 2332937 h 2458102"/>
                  <a:gd name="connsiteX44" fmla="*/ 524998 w 1568040"/>
                  <a:gd name="connsiteY44" fmla="*/ 2353798 h 2458102"/>
                  <a:gd name="connsiteX45" fmla="*/ 556289 w 1568040"/>
                  <a:gd name="connsiteY45" fmla="*/ 2426811 h 2458102"/>
                  <a:gd name="connsiteX46" fmla="*/ 535429 w 1568040"/>
                  <a:gd name="connsiteY46" fmla="*/ 2458102 h 2458102"/>
                  <a:gd name="connsiteX47" fmla="*/ 500660 w 1568040"/>
                  <a:gd name="connsiteY47" fmla="*/ 2458102 h 2458102"/>
                  <a:gd name="connsiteX48" fmla="*/ 493707 w 1568040"/>
                  <a:gd name="connsiteY48" fmla="*/ 2392043 h 2458102"/>
                  <a:gd name="connsiteX49" fmla="*/ 455462 w 1568040"/>
                  <a:gd name="connsiteY49" fmla="*/ 2315553 h 2458102"/>
                  <a:gd name="connsiteX50" fmla="*/ 445032 w 1568040"/>
                  <a:gd name="connsiteY50" fmla="*/ 2235586 h 2458102"/>
                  <a:gd name="connsiteX51" fmla="*/ 486753 w 1568040"/>
                  <a:gd name="connsiteY51" fmla="*/ 2263401 h 2458102"/>
                  <a:gd name="connsiteX52" fmla="*/ 476323 w 1568040"/>
                  <a:gd name="connsiteY52" fmla="*/ 2186911 h 2458102"/>
                  <a:gd name="connsiteX53" fmla="*/ 556289 w 1568040"/>
                  <a:gd name="connsiteY53" fmla="*/ 2099991 h 2458102"/>
                  <a:gd name="connsiteX54" fmla="*/ 570197 w 1568040"/>
                  <a:gd name="connsiteY54" fmla="*/ 2030455 h 2458102"/>
                  <a:gd name="connsiteX55" fmla="*/ 646686 w 1568040"/>
                  <a:gd name="connsiteY55" fmla="*/ 1919197 h 2458102"/>
                  <a:gd name="connsiteX56" fmla="*/ 601488 w 1568040"/>
                  <a:gd name="connsiteY56" fmla="*/ 1849661 h 2458102"/>
                  <a:gd name="connsiteX57" fmla="*/ 566720 w 1568040"/>
                  <a:gd name="connsiteY57" fmla="*/ 1794032 h 2458102"/>
                  <a:gd name="connsiteX58" fmla="*/ 538905 w 1568040"/>
                  <a:gd name="connsiteY58" fmla="*/ 1693205 h 2458102"/>
                  <a:gd name="connsiteX59" fmla="*/ 524998 w 1568040"/>
                  <a:gd name="connsiteY59" fmla="*/ 1807939 h 2458102"/>
                  <a:gd name="connsiteX60" fmla="*/ 434601 w 1568040"/>
                  <a:gd name="connsiteY60" fmla="*/ 1721019 h 2458102"/>
                  <a:gd name="connsiteX61" fmla="*/ 372019 w 1568040"/>
                  <a:gd name="connsiteY61" fmla="*/ 1787078 h 2458102"/>
                  <a:gd name="connsiteX62" fmla="*/ 368542 w 1568040"/>
                  <a:gd name="connsiteY62" fmla="*/ 1926151 h 2458102"/>
                  <a:gd name="connsiteX63" fmla="*/ 333774 w 1568040"/>
                  <a:gd name="connsiteY63" fmla="*/ 1964396 h 2458102"/>
                  <a:gd name="connsiteX64" fmla="*/ 361588 w 1568040"/>
                  <a:gd name="connsiteY64" fmla="*/ 2006117 h 2458102"/>
                  <a:gd name="connsiteX65" fmla="*/ 292052 w 1568040"/>
                  <a:gd name="connsiteY65" fmla="*/ 2051316 h 2458102"/>
                  <a:gd name="connsiteX66" fmla="*/ 222516 w 1568040"/>
                  <a:gd name="connsiteY66" fmla="*/ 2023501 h 2458102"/>
                  <a:gd name="connsiteX67" fmla="*/ 267714 w 1568040"/>
                  <a:gd name="connsiteY67" fmla="*/ 1929627 h 2458102"/>
                  <a:gd name="connsiteX68" fmla="*/ 295529 w 1568040"/>
                  <a:gd name="connsiteY68" fmla="*/ 1842707 h 2458102"/>
                  <a:gd name="connsiteX69" fmla="*/ 316390 w 1568040"/>
                  <a:gd name="connsiteY69" fmla="*/ 1762741 h 2458102"/>
                  <a:gd name="connsiteX70" fmla="*/ 299006 w 1568040"/>
                  <a:gd name="connsiteY70" fmla="*/ 1689728 h 2458102"/>
                  <a:gd name="connsiteX71" fmla="*/ 267714 w 1568040"/>
                  <a:gd name="connsiteY71" fmla="*/ 1592377 h 2458102"/>
                  <a:gd name="connsiteX72" fmla="*/ 205132 w 1568040"/>
                  <a:gd name="connsiteY72" fmla="*/ 1741880 h 2458102"/>
                  <a:gd name="connsiteX73" fmla="*/ 184271 w 1568040"/>
                  <a:gd name="connsiteY73" fmla="*/ 1738403 h 2458102"/>
                  <a:gd name="connsiteX74" fmla="*/ 205132 w 1568040"/>
                  <a:gd name="connsiteY74" fmla="*/ 1807939 h 2458102"/>
                  <a:gd name="connsiteX75" fmla="*/ 104305 w 1568040"/>
                  <a:gd name="connsiteY75" fmla="*/ 1853138 h 2458102"/>
                  <a:gd name="connsiteX76" fmla="*/ 79967 w 1568040"/>
                  <a:gd name="connsiteY76" fmla="*/ 1839230 h 2458102"/>
                  <a:gd name="connsiteX77" fmla="*/ 93874 w 1568040"/>
                  <a:gd name="connsiteY77" fmla="*/ 1748834 h 2458102"/>
                  <a:gd name="connsiteX78" fmla="*/ 34768 w 1568040"/>
                  <a:gd name="connsiteY78" fmla="*/ 1794032 h 2458102"/>
                  <a:gd name="connsiteX79" fmla="*/ 41722 w 1568040"/>
                  <a:gd name="connsiteY79" fmla="*/ 1700158 h 2458102"/>
                  <a:gd name="connsiteX80" fmla="*/ 83444 w 1568040"/>
                  <a:gd name="connsiteY80" fmla="*/ 1651483 h 2458102"/>
                  <a:gd name="connsiteX81" fmla="*/ 152980 w 1568040"/>
                  <a:gd name="connsiteY81" fmla="*/ 1627145 h 2458102"/>
                  <a:gd name="connsiteX82" fmla="*/ 156457 w 1568040"/>
                  <a:gd name="connsiteY82" fmla="*/ 1672344 h 2458102"/>
                  <a:gd name="connsiteX83" fmla="*/ 212086 w 1568040"/>
                  <a:gd name="connsiteY83" fmla="*/ 1630622 h 2458102"/>
                  <a:gd name="connsiteX84" fmla="*/ 225993 w 1568040"/>
                  <a:gd name="connsiteY84" fmla="*/ 1578470 h 2458102"/>
                  <a:gd name="connsiteX85" fmla="*/ 271191 w 1568040"/>
                  <a:gd name="connsiteY85" fmla="*/ 1540225 h 2458102"/>
                  <a:gd name="connsiteX86" fmla="*/ 299006 w 1568040"/>
                  <a:gd name="connsiteY86" fmla="*/ 1470689 h 2458102"/>
                  <a:gd name="connsiteX87" fmla="*/ 472846 w 1568040"/>
                  <a:gd name="connsiteY87" fmla="*/ 1209929 h 2458102"/>
                  <a:gd name="connsiteX88" fmla="*/ 458939 w 1568040"/>
                  <a:gd name="connsiteY88" fmla="*/ 1182114 h 2458102"/>
                  <a:gd name="connsiteX89" fmla="*/ 344204 w 1568040"/>
                  <a:gd name="connsiteY89" fmla="*/ 1321186 h 2458102"/>
                  <a:gd name="connsiteX90" fmla="*/ 333774 w 1568040"/>
                  <a:gd name="connsiteY90" fmla="*/ 1362908 h 2458102"/>
                  <a:gd name="connsiteX91" fmla="*/ 264238 w 1568040"/>
                  <a:gd name="connsiteY91" fmla="*/ 1415060 h 2458102"/>
                  <a:gd name="connsiteX92" fmla="*/ 142549 w 1568040"/>
                  <a:gd name="connsiteY92" fmla="*/ 1418537 h 2458102"/>
                  <a:gd name="connsiteX93" fmla="*/ 121689 w 1568040"/>
                  <a:gd name="connsiteY93" fmla="*/ 1432444 h 2458102"/>
                  <a:gd name="connsiteX94" fmla="*/ 76490 w 1568040"/>
                  <a:gd name="connsiteY94" fmla="*/ 1373338 h 2458102"/>
                  <a:gd name="connsiteX95" fmla="*/ 163410 w 1568040"/>
                  <a:gd name="connsiteY95" fmla="*/ 1380292 h 2458102"/>
                  <a:gd name="connsiteX96" fmla="*/ 163410 w 1568040"/>
                  <a:gd name="connsiteY96" fmla="*/ 1345524 h 2458102"/>
                  <a:gd name="connsiteX97" fmla="*/ 191225 w 1568040"/>
                  <a:gd name="connsiteY97" fmla="*/ 1317710 h 2458102"/>
                  <a:gd name="connsiteX98" fmla="*/ 135596 w 1568040"/>
                  <a:gd name="connsiteY98" fmla="*/ 1317710 h 2458102"/>
                  <a:gd name="connsiteX99" fmla="*/ 111258 w 1568040"/>
                  <a:gd name="connsiteY99" fmla="*/ 1251650 h 2458102"/>
                  <a:gd name="connsiteX100" fmla="*/ 187748 w 1568040"/>
                  <a:gd name="connsiteY100" fmla="*/ 1196021 h 2458102"/>
                  <a:gd name="connsiteX101" fmla="*/ 219039 w 1568040"/>
                  <a:gd name="connsiteY101" fmla="*/ 1234266 h 2458102"/>
                  <a:gd name="connsiteX102" fmla="*/ 222516 w 1568040"/>
                  <a:gd name="connsiteY102" fmla="*/ 1178637 h 2458102"/>
                  <a:gd name="connsiteX103" fmla="*/ 156457 w 1568040"/>
                  <a:gd name="connsiteY103" fmla="*/ 1171684 h 2458102"/>
                  <a:gd name="connsiteX104" fmla="*/ 180794 w 1568040"/>
                  <a:gd name="connsiteY104" fmla="*/ 1136916 h 2458102"/>
                  <a:gd name="connsiteX105" fmla="*/ 229470 w 1568040"/>
                  <a:gd name="connsiteY105" fmla="*/ 1140392 h 2458102"/>
                  <a:gd name="connsiteX106" fmla="*/ 232946 w 1568040"/>
                  <a:gd name="connsiteY106" fmla="*/ 1112578 h 2458102"/>
                  <a:gd name="connsiteX107" fmla="*/ 264238 w 1568040"/>
                  <a:gd name="connsiteY107" fmla="*/ 1102148 h 2458102"/>
                  <a:gd name="connsiteX108" fmla="*/ 246854 w 1568040"/>
                  <a:gd name="connsiteY108" fmla="*/ 1036088 h 2458102"/>
                  <a:gd name="connsiteX109" fmla="*/ 292052 w 1568040"/>
                  <a:gd name="connsiteY109" fmla="*/ 1043042 h 2458102"/>
                  <a:gd name="connsiteX110" fmla="*/ 295529 w 1568040"/>
                  <a:gd name="connsiteY110" fmla="*/ 994367 h 2458102"/>
                  <a:gd name="connsiteX111" fmla="*/ 292052 w 1568040"/>
                  <a:gd name="connsiteY111" fmla="*/ 983936 h 2458102"/>
                  <a:gd name="connsiteX112" fmla="*/ 337251 w 1568040"/>
                  <a:gd name="connsiteY112" fmla="*/ 924830 h 2458102"/>
                  <a:gd name="connsiteX113" fmla="*/ 406787 w 1568040"/>
                  <a:gd name="connsiteY113" fmla="*/ 949168 h 2458102"/>
                  <a:gd name="connsiteX114" fmla="*/ 333774 w 1568040"/>
                  <a:gd name="connsiteY114" fmla="*/ 879632 h 2458102"/>
                  <a:gd name="connsiteX115" fmla="*/ 239900 w 1568040"/>
                  <a:gd name="connsiteY115" fmla="*/ 987413 h 2458102"/>
                  <a:gd name="connsiteX116" fmla="*/ 215562 w 1568040"/>
                  <a:gd name="connsiteY116" fmla="*/ 938738 h 2458102"/>
                  <a:gd name="connsiteX117" fmla="*/ 250330 w 1568040"/>
                  <a:gd name="connsiteY117" fmla="*/ 893539 h 2458102"/>
                  <a:gd name="connsiteX118" fmla="*/ 187748 w 1568040"/>
                  <a:gd name="connsiteY118" fmla="*/ 917877 h 2458102"/>
                  <a:gd name="connsiteX119" fmla="*/ 118212 w 1568040"/>
                  <a:gd name="connsiteY119" fmla="*/ 848341 h 2458102"/>
                  <a:gd name="connsiteX120" fmla="*/ 83444 w 1568040"/>
                  <a:gd name="connsiteY120" fmla="*/ 757944 h 2458102"/>
                  <a:gd name="connsiteX121" fmla="*/ 34768 w 1568040"/>
                  <a:gd name="connsiteY121" fmla="*/ 778805 h 2458102"/>
                  <a:gd name="connsiteX122" fmla="*/ 0 w 1568040"/>
                  <a:gd name="connsiteY122" fmla="*/ 719699 h 2458102"/>
                  <a:gd name="connsiteX123" fmla="*/ 20861 w 1568040"/>
                  <a:gd name="connsiteY123" fmla="*/ 660593 h 2458102"/>
                  <a:gd name="connsiteX124" fmla="*/ 48676 w 1568040"/>
                  <a:gd name="connsiteY124" fmla="*/ 688408 h 2458102"/>
                  <a:gd name="connsiteX125" fmla="*/ 62583 w 1568040"/>
                  <a:gd name="connsiteY125" fmla="*/ 622348 h 2458102"/>
                  <a:gd name="connsiteX126" fmla="*/ 125165 w 1568040"/>
                  <a:gd name="connsiteY126" fmla="*/ 667547 h 2458102"/>
                  <a:gd name="connsiteX127" fmla="*/ 135596 w 1568040"/>
                  <a:gd name="connsiteY127" fmla="*/ 573673 h 2458102"/>
                  <a:gd name="connsiteX128" fmla="*/ 184271 w 1568040"/>
                  <a:gd name="connsiteY128" fmla="*/ 570196 h 2458102"/>
                  <a:gd name="connsiteX129" fmla="*/ 225993 w 1568040"/>
                  <a:gd name="connsiteY129" fmla="*/ 622348 h 2458102"/>
                  <a:gd name="connsiteX130" fmla="*/ 222516 w 1568040"/>
                  <a:gd name="connsiteY130" fmla="*/ 671024 h 2458102"/>
                  <a:gd name="connsiteX131" fmla="*/ 264238 w 1568040"/>
                  <a:gd name="connsiteY131" fmla="*/ 691884 h 2458102"/>
                  <a:gd name="connsiteX132" fmla="*/ 267714 w 1568040"/>
                  <a:gd name="connsiteY132" fmla="*/ 775328 h 2458102"/>
                  <a:gd name="connsiteX133" fmla="*/ 264238 w 1568040"/>
                  <a:gd name="connsiteY133" fmla="*/ 841387 h 2458102"/>
                  <a:gd name="connsiteX134" fmla="*/ 309436 w 1568040"/>
                  <a:gd name="connsiteY134" fmla="*/ 813573 h 2458102"/>
                  <a:gd name="connsiteX135" fmla="*/ 340727 w 1568040"/>
                  <a:gd name="connsiteY135" fmla="*/ 782281 h 2458102"/>
                  <a:gd name="connsiteX136" fmla="*/ 295529 w 1568040"/>
                  <a:gd name="connsiteY136" fmla="*/ 764897 h 2458102"/>
                  <a:gd name="connsiteX137" fmla="*/ 305959 w 1568040"/>
                  <a:gd name="connsiteY137" fmla="*/ 636256 h 2458102"/>
                  <a:gd name="connsiteX138" fmla="*/ 385926 w 1568040"/>
                  <a:gd name="connsiteY138" fmla="*/ 671024 h 2458102"/>
                  <a:gd name="connsiteX139" fmla="*/ 316390 w 1568040"/>
                  <a:gd name="connsiteY139" fmla="*/ 587580 h 2458102"/>
                  <a:gd name="connsiteX140" fmla="*/ 365065 w 1568040"/>
                  <a:gd name="connsiteY140" fmla="*/ 563243 h 2458102"/>
                  <a:gd name="connsiteX141" fmla="*/ 316390 w 1568040"/>
                  <a:gd name="connsiteY141" fmla="*/ 472846 h 2458102"/>
                  <a:gd name="connsiteX142" fmla="*/ 347681 w 1568040"/>
                  <a:gd name="connsiteY142" fmla="*/ 479799 h 2458102"/>
                  <a:gd name="connsiteX143" fmla="*/ 420694 w 1568040"/>
                  <a:gd name="connsiteY143" fmla="*/ 528475 h 2458102"/>
                  <a:gd name="connsiteX144" fmla="*/ 389403 w 1568040"/>
                  <a:gd name="connsiteY144" fmla="*/ 420694 h 2458102"/>
                  <a:gd name="connsiteX145" fmla="*/ 424171 w 1568040"/>
                  <a:gd name="connsiteY145" fmla="*/ 451985 h 2458102"/>
                  <a:gd name="connsiteX146" fmla="*/ 462416 w 1568040"/>
                  <a:gd name="connsiteY146" fmla="*/ 424170 h 2458102"/>
                  <a:gd name="connsiteX147" fmla="*/ 504137 w 1568040"/>
                  <a:gd name="connsiteY147" fmla="*/ 438078 h 2458102"/>
                  <a:gd name="connsiteX148" fmla="*/ 500660 w 1568040"/>
                  <a:gd name="connsiteY148" fmla="*/ 403310 h 2458102"/>
                  <a:gd name="connsiteX149" fmla="*/ 434601 w 1568040"/>
                  <a:gd name="connsiteY149" fmla="*/ 382449 h 2458102"/>
                  <a:gd name="connsiteX150" fmla="*/ 434601 w 1568040"/>
                  <a:gd name="connsiteY150" fmla="*/ 323343 h 2458102"/>
                  <a:gd name="connsiteX151" fmla="*/ 493707 w 1568040"/>
                  <a:gd name="connsiteY151" fmla="*/ 337250 h 2458102"/>
                  <a:gd name="connsiteX152" fmla="*/ 497184 w 1568040"/>
                  <a:gd name="connsiteY152" fmla="*/ 305959 h 2458102"/>
                  <a:gd name="connsiteX153" fmla="*/ 458939 w 1568040"/>
                  <a:gd name="connsiteY153" fmla="*/ 236423 h 2458102"/>
                  <a:gd name="connsiteX154" fmla="*/ 514568 w 1568040"/>
                  <a:gd name="connsiteY154" fmla="*/ 232946 h 2458102"/>
                  <a:gd name="connsiteX155" fmla="*/ 538905 w 1568040"/>
                  <a:gd name="connsiteY155" fmla="*/ 243377 h 2458102"/>
                  <a:gd name="connsiteX156" fmla="*/ 552813 w 1568040"/>
                  <a:gd name="connsiteY156" fmla="*/ 225992 h 2458102"/>
                  <a:gd name="connsiteX157" fmla="*/ 524998 w 1568040"/>
                  <a:gd name="connsiteY157" fmla="*/ 177317 h 2458102"/>
                  <a:gd name="connsiteX158" fmla="*/ 556289 w 1568040"/>
                  <a:gd name="connsiteY158" fmla="*/ 135596 h 2458102"/>
                  <a:gd name="connsiteX159" fmla="*/ 570197 w 1568040"/>
                  <a:gd name="connsiteY159" fmla="*/ 55629 h 2458102"/>
                  <a:gd name="connsiteX160" fmla="*/ 643209 w 1568040"/>
                  <a:gd name="connsiteY160" fmla="*/ 31291 h 2458102"/>
                  <a:gd name="connsiteX161" fmla="*/ 691885 w 1568040"/>
                  <a:gd name="connsiteY161" fmla="*/ 66059 h 2458102"/>
                  <a:gd name="connsiteX162" fmla="*/ 740560 w 1568040"/>
                  <a:gd name="connsiteY162" fmla="*/ 62583 h 2458102"/>
                  <a:gd name="connsiteX163" fmla="*/ 778805 w 1568040"/>
                  <a:gd name="connsiteY163" fmla="*/ 79967 h 2458102"/>
                  <a:gd name="connsiteX164" fmla="*/ 848341 w 1568040"/>
                  <a:gd name="connsiteY164" fmla="*/ 66059 h 2458102"/>
                  <a:gd name="connsiteX165" fmla="*/ 883109 w 1568040"/>
                  <a:gd name="connsiteY165" fmla="*/ 41722 h 2458102"/>
                  <a:gd name="connsiteX166" fmla="*/ 886586 w 1568040"/>
                  <a:gd name="connsiteY166" fmla="*/ 59106 h 2458102"/>
                  <a:gd name="connsiteX167" fmla="*/ 956122 w 1568040"/>
                  <a:gd name="connsiteY167" fmla="*/ 59106 h 2458102"/>
                  <a:gd name="connsiteX168" fmla="*/ 983936 w 1568040"/>
                  <a:gd name="connsiteY168" fmla="*/ 34768 h 2458102"/>
                  <a:gd name="connsiteX169" fmla="*/ 1046519 w 1568040"/>
                  <a:gd name="connsiteY169" fmla="*/ 45199 h 2458102"/>
                  <a:gd name="connsiteX170" fmla="*/ 1081287 w 1568040"/>
                  <a:gd name="connsiteY170" fmla="*/ 62583 h 2458102"/>
                  <a:gd name="connsiteX171" fmla="*/ 1056949 w 1568040"/>
                  <a:gd name="connsiteY171" fmla="*/ 0 h 2458102"/>
                  <a:gd name="connsiteX172" fmla="*/ 1102148 w 1568040"/>
                  <a:gd name="connsiteY172" fmla="*/ 13907 h 2458102"/>
                  <a:gd name="connsiteX173" fmla="*/ 1119532 w 1568040"/>
                  <a:gd name="connsiteY173" fmla="*/ 6954 h 2458102"/>
                  <a:gd name="connsiteX174" fmla="*/ 1129962 w 1568040"/>
                  <a:gd name="connsiteY174" fmla="*/ 24338 h 2458102"/>
                  <a:gd name="connsiteX175" fmla="*/ 1192545 w 1568040"/>
                  <a:gd name="connsiteY175" fmla="*/ 41722 h 2458102"/>
                  <a:gd name="connsiteX0" fmla="*/ 1192545 w 1568040"/>
                  <a:gd name="connsiteY0" fmla="*/ 41722 h 2458102"/>
                  <a:gd name="connsiteX1" fmla="*/ 1161254 w 1568040"/>
                  <a:gd name="connsiteY1" fmla="*/ 139072 h 2458102"/>
                  <a:gd name="connsiteX2" fmla="*/ 1189068 w 1568040"/>
                  <a:gd name="connsiteY2" fmla="*/ 170364 h 2458102"/>
                  <a:gd name="connsiteX3" fmla="*/ 1074333 w 1568040"/>
                  <a:gd name="connsiteY3" fmla="*/ 267714 h 2458102"/>
                  <a:gd name="connsiteX4" fmla="*/ 872679 w 1568040"/>
                  <a:gd name="connsiteY4" fmla="*/ 448508 h 2458102"/>
                  <a:gd name="connsiteX5" fmla="*/ 872679 w 1568040"/>
                  <a:gd name="connsiteY5" fmla="*/ 490230 h 2458102"/>
                  <a:gd name="connsiteX6" fmla="*/ 792712 w 1568040"/>
                  <a:gd name="connsiteY6" fmla="*/ 500660 h 2458102"/>
                  <a:gd name="connsiteX7" fmla="*/ 862248 w 1568040"/>
                  <a:gd name="connsiteY7" fmla="*/ 521521 h 2458102"/>
                  <a:gd name="connsiteX8" fmla="*/ 952645 w 1568040"/>
                  <a:gd name="connsiteY8" fmla="*/ 518044 h 2458102"/>
                  <a:gd name="connsiteX9" fmla="*/ 792712 w 1568040"/>
                  <a:gd name="connsiteY9" fmla="*/ 702315 h 2458102"/>
                  <a:gd name="connsiteX10" fmla="*/ 1015228 w 1568040"/>
                  <a:gd name="connsiteY10" fmla="*/ 618872 h 2458102"/>
                  <a:gd name="connsiteX11" fmla="*/ 1088241 w 1568040"/>
                  <a:gd name="connsiteY11" fmla="*/ 584103 h 2458102"/>
                  <a:gd name="connsiteX12" fmla="*/ 1147346 w 1568040"/>
                  <a:gd name="connsiteY12" fmla="*/ 625825 h 2458102"/>
                  <a:gd name="connsiteX13" fmla="*/ 1216883 w 1568040"/>
                  <a:gd name="connsiteY13" fmla="*/ 615395 h 2458102"/>
                  <a:gd name="connsiteX14" fmla="*/ 1477643 w 1568040"/>
                  <a:gd name="connsiteY14" fmla="*/ 604964 h 2458102"/>
                  <a:gd name="connsiteX15" fmla="*/ 1568040 w 1568040"/>
                  <a:gd name="connsiteY15" fmla="*/ 726653 h 2458102"/>
                  <a:gd name="connsiteX16" fmla="*/ 1477643 w 1568040"/>
                  <a:gd name="connsiteY16" fmla="*/ 883109 h 2458102"/>
                  <a:gd name="connsiteX17" fmla="*/ 1470689 w 1568040"/>
                  <a:gd name="connsiteY17" fmla="*/ 976983 h 2458102"/>
                  <a:gd name="connsiteX18" fmla="*/ 1415060 w 1568040"/>
                  <a:gd name="connsiteY18" fmla="*/ 1102148 h 2458102"/>
                  <a:gd name="connsiteX19" fmla="*/ 1335094 w 1568040"/>
                  <a:gd name="connsiteY19" fmla="*/ 1241220 h 2458102"/>
                  <a:gd name="connsiteX20" fmla="*/ 1324663 w 1568040"/>
                  <a:gd name="connsiteY20" fmla="*/ 1303802 h 2458102"/>
                  <a:gd name="connsiteX21" fmla="*/ 1237743 w 1568040"/>
                  <a:gd name="connsiteY21" fmla="*/ 1373338 h 2458102"/>
                  <a:gd name="connsiteX22" fmla="*/ 1282942 w 1568040"/>
                  <a:gd name="connsiteY22" fmla="*/ 1442875 h 2458102"/>
                  <a:gd name="connsiteX23" fmla="*/ 1289895 w 1568040"/>
                  <a:gd name="connsiteY23" fmla="*/ 1512411 h 2458102"/>
                  <a:gd name="connsiteX24" fmla="*/ 1227313 w 1568040"/>
                  <a:gd name="connsiteY24" fmla="*/ 1533272 h 2458102"/>
                  <a:gd name="connsiteX25" fmla="*/ 1178638 w 1568040"/>
                  <a:gd name="connsiteY25" fmla="*/ 1519364 h 2458102"/>
                  <a:gd name="connsiteX26" fmla="*/ 1109102 w 1568040"/>
                  <a:gd name="connsiteY26" fmla="*/ 1606284 h 2458102"/>
                  <a:gd name="connsiteX27" fmla="*/ 931784 w 1568040"/>
                  <a:gd name="connsiteY27" fmla="*/ 1616715 h 2458102"/>
                  <a:gd name="connsiteX28" fmla="*/ 1164730 w 1568040"/>
                  <a:gd name="connsiteY28" fmla="*/ 1668867 h 2458102"/>
                  <a:gd name="connsiteX29" fmla="*/ 1223836 w 1568040"/>
                  <a:gd name="connsiteY29" fmla="*/ 1609761 h 2458102"/>
                  <a:gd name="connsiteX30" fmla="*/ 1383769 w 1568040"/>
                  <a:gd name="connsiteY30" fmla="*/ 1675821 h 2458102"/>
                  <a:gd name="connsiteX31" fmla="*/ 1442875 w 1568040"/>
                  <a:gd name="connsiteY31" fmla="*/ 1759264 h 2458102"/>
                  <a:gd name="connsiteX32" fmla="*/ 1376816 w 1568040"/>
                  <a:gd name="connsiteY32" fmla="*/ 1846184 h 2458102"/>
                  <a:gd name="connsiteX33" fmla="*/ 1394200 w 1568040"/>
                  <a:gd name="connsiteY33" fmla="*/ 2006117 h 2458102"/>
                  <a:gd name="connsiteX34" fmla="*/ 1075548 w 1568040"/>
                  <a:gd name="connsiteY34" fmla="*/ 2280481 h 2458102"/>
                  <a:gd name="connsiteX35" fmla="*/ 973506 w 1568040"/>
                  <a:gd name="connsiteY35" fmla="*/ 2280785 h 2458102"/>
                  <a:gd name="connsiteX36" fmla="*/ 970029 w 1568040"/>
                  <a:gd name="connsiteY36" fmla="*/ 2332937 h 2458102"/>
                  <a:gd name="connsiteX37" fmla="*/ 897016 w 1568040"/>
                  <a:gd name="connsiteY37" fmla="*/ 2343367 h 2458102"/>
                  <a:gd name="connsiteX38" fmla="*/ 820527 w 1568040"/>
                  <a:gd name="connsiteY38" fmla="*/ 2392043 h 2458102"/>
                  <a:gd name="connsiteX39" fmla="*/ 726653 w 1568040"/>
                  <a:gd name="connsiteY39" fmla="*/ 2353798 h 2458102"/>
                  <a:gd name="connsiteX40" fmla="*/ 719699 w 1568040"/>
                  <a:gd name="connsiteY40" fmla="*/ 2437241 h 2458102"/>
                  <a:gd name="connsiteX41" fmla="*/ 681454 w 1568040"/>
                  <a:gd name="connsiteY41" fmla="*/ 2447672 h 2458102"/>
                  <a:gd name="connsiteX42" fmla="*/ 604965 w 1568040"/>
                  <a:gd name="connsiteY42" fmla="*/ 2402473 h 2458102"/>
                  <a:gd name="connsiteX43" fmla="*/ 566720 w 1568040"/>
                  <a:gd name="connsiteY43" fmla="*/ 2332937 h 2458102"/>
                  <a:gd name="connsiteX44" fmla="*/ 524998 w 1568040"/>
                  <a:gd name="connsiteY44" fmla="*/ 2353798 h 2458102"/>
                  <a:gd name="connsiteX45" fmla="*/ 556289 w 1568040"/>
                  <a:gd name="connsiteY45" fmla="*/ 2426811 h 2458102"/>
                  <a:gd name="connsiteX46" fmla="*/ 535429 w 1568040"/>
                  <a:gd name="connsiteY46" fmla="*/ 2458102 h 2458102"/>
                  <a:gd name="connsiteX47" fmla="*/ 500660 w 1568040"/>
                  <a:gd name="connsiteY47" fmla="*/ 2458102 h 2458102"/>
                  <a:gd name="connsiteX48" fmla="*/ 493707 w 1568040"/>
                  <a:gd name="connsiteY48" fmla="*/ 2392043 h 2458102"/>
                  <a:gd name="connsiteX49" fmla="*/ 455462 w 1568040"/>
                  <a:gd name="connsiteY49" fmla="*/ 2315553 h 2458102"/>
                  <a:gd name="connsiteX50" fmla="*/ 445032 w 1568040"/>
                  <a:gd name="connsiteY50" fmla="*/ 2235586 h 2458102"/>
                  <a:gd name="connsiteX51" fmla="*/ 486753 w 1568040"/>
                  <a:gd name="connsiteY51" fmla="*/ 2263401 h 2458102"/>
                  <a:gd name="connsiteX52" fmla="*/ 476323 w 1568040"/>
                  <a:gd name="connsiteY52" fmla="*/ 2186911 h 2458102"/>
                  <a:gd name="connsiteX53" fmla="*/ 556289 w 1568040"/>
                  <a:gd name="connsiteY53" fmla="*/ 2099991 h 2458102"/>
                  <a:gd name="connsiteX54" fmla="*/ 570197 w 1568040"/>
                  <a:gd name="connsiteY54" fmla="*/ 2030455 h 2458102"/>
                  <a:gd name="connsiteX55" fmla="*/ 646686 w 1568040"/>
                  <a:gd name="connsiteY55" fmla="*/ 1919197 h 2458102"/>
                  <a:gd name="connsiteX56" fmla="*/ 601488 w 1568040"/>
                  <a:gd name="connsiteY56" fmla="*/ 1849661 h 2458102"/>
                  <a:gd name="connsiteX57" fmla="*/ 566720 w 1568040"/>
                  <a:gd name="connsiteY57" fmla="*/ 1794032 h 2458102"/>
                  <a:gd name="connsiteX58" fmla="*/ 538905 w 1568040"/>
                  <a:gd name="connsiteY58" fmla="*/ 1693205 h 2458102"/>
                  <a:gd name="connsiteX59" fmla="*/ 524998 w 1568040"/>
                  <a:gd name="connsiteY59" fmla="*/ 1807939 h 2458102"/>
                  <a:gd name="connsiteX60" fmla="*/ 434601 w 1568040"/>
                  <a:gd name="connsiteY60" fmla="*/ 1721019 h 2458102"/>
                  <a:gd name="connsiteX61" fmla="*/ 372019 w 1568040"/>
                  <a:gd name="connsiteY61" fmla="*/ 1787078 h 2458102"/>
                  <a:gd name="connsiteX62" fmla="*/ 368542 w 1568040"/>
                  <a:gd name="connsiteY62" fmla="*/ 1926151 h 2458102"/>
                  <a:gd name="connsiteX63" fmla="*/ 333774 w 1568040"/>
                  <a:gd name="connsiteY63" fmla="*/ 1964396 h 2458102"/>
                  <a:gd name="connsiteX64" fmla="*/ 361588 w 1568040"/>
                  <a:gd name="connsiteY64" fmla="*/ 2006117 h 2458102"/>
                  <a:gd name="connsiteX65" fmla="*/ 292052 w 1568040"/>
                  <a:gd name="connsiteY65" fmla="*/ 2051316 h 2458102"/>
                  <a:gd name="connsiteX66" fmla="*/ 222516 w 1568040"/>
                  <a:gd name="connsiteY66" fmla="*/ 2023501 h 2458102"/>
                  <a:gd name="connsiteX67" fmla="*/ 267714 w 1568040"/>
                  <a:gd name="connsiteY67" fmla="*/ 1929627 h 2458102"/>
                  <a:gd name="connsiteX68" fmla="*/ 295529 w 1568040"/>
                  <a:gd name="connsiteY68" fmla="*/ 1842707 h 2458102"/>
                  <a:gd name="connsiteX69" fmla="*/ 316390 w 1568040"/>
                  <a:gd name="connsiteY69" fmla="*/ 1762741 h 2458102"/>
                  <a:gd name="connsiteX70" fmla="*/ 299006 w 1568040"/>
                  <a:gd name="connsiteY70" fmla="*/ 1689728 h 2458102"/>
                  <a:gd name="connsiteX71" fmla="*/ 267714 w 1568040"/>
                  <a:gd name="connsiteY71" fmla="*/ 1592377 h 2458102"/>
                  <a:gd name="connsiteX72" fmla="*/ 205132 w 1568040"/>
                  <a:gd name="connsiteY72" fmla="*/ 1741880 h 2458102"/>
                  <a:gd name="connsiteX73" fmla="*/ 184271 w 1568040"/>
                  <a:gd name="connsiteY73" fmla="*/ 1738403 h 2458102"/>
                  <a:gd name="connsiteX74" fmla="*/ 205132 w 1568040"/>
                  <a:gd name="connsiteY74" fmla="*/ 1807939 h 2458102"/>
                  <a:gd name="connsiteX75" fmla="*/ 104305 w 1568040"/>
                  <a:gd name="connsiteY75" fmla="*/ 1853138 h 2458102"/>
                  <a:gd name="connsiteX76" fmla="*/ 79967 w 1568040"/>
                  <a:gd name="connsiteY76" fmla="*/ 1839230 h 2458102"/>
                  <a:gd name="connsiteX77" fmla="*/ 93874 w 1568040"/>
                  <a:gd name="connsiteY77" fmla="*/ 1748834 h 2458102"/>
                  <a:gd name="connsiteX78" fmla="*/ 34768 w 1568040"/>
                  <a:gd name="connsiteY78" fmla="*/ 1794032 h 2458102"/>
                  <a:gd name="connsiteX79" fmla="*/ 41722 w 1568040"/>
                  <a:gd name="connsiteY79" fmla="*/ 1700158 h 2458102"/>
                  <a:gd name="connsiteX80" fmla="*/ 83444 w 1568040"/>
                  <a:gd name="connsiteY80" fmla="*/ 1651483 h 2458102"/>
                  <a:gd name="connsiteX81" fmla="*/ 152980 w 1568040"/>
                  <a:gd name="connsiteY81" fmla="*/ 1627145 h 2458102"/>
                  <a:gd name="connsiteX82" fmla="*/ 156457 w 1568040"/>
                  <a:gd name="connsiteY82" fmla="*/ 1672344 h 2458102"/>
                  <a:gd name="connsiteX83" fmla="*/ 212086 w 1568040"/>
                  <a:gd name="connsiteY83" fmla="*/ 1630622 h 2458102"/>
                  <a:gd name="connsiteX84" fmla="*/ 225993 w 1568040"/>
                  <a:gd name="connsiteY84" fmla="*/ 1578470 h 2458102"/>
                  <a:gd name="connsiteX85" fmla="*/ 271191 w 1568040"/>
                  <a:gd name="connsiteY85" fmla="*/ 1540225 h 2458102"/>
                  <a:gd name="connsiteX86" fmla="*/ 299006 w 1568040"/>
                  <a:gd name="connsiteY86" fmla="*/ 1470689 h 2458102"/>
                  <a:gd name="connsiteX87" fmla="*/ 472846 w 1568040"/>
                  <a:gd name="connsiteY87" fmla="*/ 1209929 h 2458102"/>
                  <a:gd name="connsiteX88" fmla="*/ 458939 w 1568040"/>
                  <a:gd name="connsiteY88" fmla="*/ 1182114 h 2458102"/>
                  <a:gd name="connsiteX89" fmla="*/ 344204 w 1568040"/>
                  <a:gd name="connsiteY89" fmla="*/ 1321186 h 2458102"/>
                  <a:gd name="connsiteX90" fmla="*/ 333774 w 1568040"/>
                  <a:gd name="connsiteY90" fmla="*/ 1362908 h 2458102"/>
                  <a:gd name="connsiteX91" fmla="*/ 264238 w 1568040"/>
                  <a:gd name="connsiteY91" fmla="*/ 1415060 h 2458102"/>
                  <a:gd name="connsiteX92" fmla="*/ 142549 w 1568040"/>
                  <a:gd name="connsiteY92" fmla="*/ 1418537 h 2458102"/>
                  <a:gd name="connsiteX93" fmla="*/ 121689 w 1568040"/>
                  <a:gd name="connsiteY93" fmla="*/ 1432444 h 2458102"/>
                  <a:gd name="connsiteX94" fmla="*/ 76490 w 1568040"/>
                  <a:gd name="connsiteY94" fmla="*/ 1373338 h 2458102"/>
                  <a:gd name="connsiteX95" fmla="*/ 163410 w 1568040"/>
                  <a:gd name="connsiteY95" fmla="*/ 1380292 h 2458102"/>
                  <a:gd name="connsiteX96" fmla="*/ 163410 w 1568040"/>
                  <a:gd name="connsiteY96" fmla="*/ 1345524 h 2458102"/>
                  <a:gd name="connsiteX97" fmla="*/ 191225 w 1568040"/>
                  <a:gd name="connsiteY97" fmla="*/ 1317710 h 2458102"/>
                  <a:gd name="connsiteX98" fmla="*/ 135596 w 1568040"/>
                  <a:gd name="connsiteY98" fmla="*/ 1317710 h 2458102"/>
                  <a:gd name="connsiteX99" fmla="*/ 111258 w 1568040"/>
                  <a:gd name="connsiteY99" fmla="*/ 1251650 h 2458102"/>
                  <a:gd name="connsiteX100" fmla="*/ 187748 w 1568040"/>
                  <a:gd name="connsiteY100" fmla="*/ 1196021 h 2458102"/>
                  <a:gd name="connsiteX101" fmla="*/ 219039 w 1568040"/>
                  <a:gd name="connsiteY101" fmla="*/ 1234266 h 2458102"/>
                  <a:gd name="connsiteX102" fmla="*/ 222516 w 1568040"/>
                  <a:gd name="connsiteY102" fmla="*/ 1178637 h 2458102"/>
                  <a:gd name="connsiteX103" fmla="*/ 156457 w 1568040"/>
                  <a:gd name="connsiteY103" fmla="*/ 1171684 h 2458102"/>
                  <a:gd name="connsiteX104" fmla="*/ 180794 w 1568040"/>
                  <a:gd name="connsiteY104" fmla="*/ 1136916 h 2458102"/>
                  <a:gd name="connsiteX105" fmla="*/ 229470 w 1568040"/>
                  <a:gd name="connsiteY105" fmla="*/ 1140392 h 2458102"/>
                  <a:gd name="connsiteX106" fmla="*/ 232946 w 1568040"/>
                  <a:gd name="connsiteY106" fmla="*/ 1112578 h 2458102"/>
                  <a:gd name="connsiteX107" fmla="*/ 264238 w 1568040"/>
                  <a:gd name="connsiteY107" fmla="*/ 1102148 h 2458102"/>
                  <a:gd name="connsiteX108" fmla="*/ 246854 w 1568040"/>
                  <a:gd name="connsiteY108" fmla="*/ 1036088 h 2458102"/>
                  <a:gd name="connsiteX109" fmla="*/ 292052 w 1568040"/>
                  <a:gd name="connsiteY109" fmla="*/ 1043042 h 2458102"/>
                  <a:gd name="connsiteX110" fmla="*/ 295529 w 1568040"/>
                  <a:gd name="connsiteY110" fmla="*/ 994367 h 2458102"/>
                  <a:gd name="connsiteX111" fmla="*/ 292052 w 1568040"/>
                  <a:gd name="connsiteY111" fmla="*/ 983936 h 2458102"/>
                  <a:gd name="connsiteX112" fmla="*/ 337251 w 1568040"/>
                  <a:gd name="connsiteY112" fmla="*/ 924830 h 2458102"/>
                  <a:gd name="connsiteX113" fmla="*/ 406787 w 1568040"/>
                  <a:gd name="connsiteY113" fmla="*/ 949168 h 2458102"/>
                  <a:gd name="connsiteX114" fmla="*/ 333774 w 1568040"/>
                  <a:gd name="connsiteY114" fmla="*/ 879632 h 2458102"/>
                  <a:gd name="connsiteX115" fmla="*/ 239900 w 1568040"/>
                  <a:gd name="connsiteY115" fmla="*/ 987413 h 2458102"/>
                  <a:gd name="connsiteX116" fmla="*/ 215562 w 1568040"/>
                  <a:gd name="connsiteY116" fmla="*/ 938738 h 2458102"/>
                  <a:gd name="connsiteX117" fmla="*/ 250330 w 1568040"/>
                  <a:gd name="connsiteY117" fmla="*/ 893539 h 2458102"/>
                  <a:gd name="connsiteX118" fmla="*/ 187748 w 1568040"/>
                  <a:gd name="connsiteY118" fmla="*/ 917877 h 2458102"/>
                  <a:gd name="connsiteX119" fmla="*/ 118212 w 1568040"/>
                  <a:gd name="connsiteY119" fmla="*/ 848341 h 2458102"/>
                  <a:gd name="connsiteX120" fmla="*/ 83444 w 1568040"/>
                  <a:gd name="connsiteY120" fmla="*/ 757944 h 2458102"/>
                  <a:gd name="connsiteX121" fmla="*/ 34768 w 1568040"/>
                  <a:gd name="connsiteY121" fmla="*/ 778805 h 2458102"/>
                  <a:gd name="connsiteX122" fmla="*/ 0 w 1568040"/>
                  <a:gd name="connsiteY122" fmla="*/ 719699 h 2458102"/>
                  <a:gd name="connsiteX123" fmla="*/ 20861 w 1568040"/>
                  <a:gd name="connsiteY123" fmla="*/ 660593 h 2458102"/>
                  <a:gd name="connsiteX124" fmla="*/ 48676 w 1568040"/>
                  <a:gd name="connsiteY124" fmla="*/ 688408 h 2458102"/>
                  <a:gd name="connsiteX125" fmla="*/ 62583 w 1568040"/>
                  <a:gd name="connsiteY125" fmla="*/ 622348 h 2458102"/>
                  <a:gd name="connsiteX126" fmla="*/ 125165 w 1568040"/>
                  <a:gd name="connsiteY126" fmla="*/ 667547 h 2458102"/>
                  <a:gd name="connsiteX127" fmla="*/ 135596 w 1568040"/>
                  <a:gd name="connsiteY127" fmla="*/ 573673 h 2458102"/>
                  <a:gd name="connsiteX128" fmla="*/ 184271 w 1568040"/>
                  <a:gd name="connsiteY128" fmla="*/ 570196 h 2458102"/>
                  <a:gd name="connsiteX129" fmla="*/ 225993 w 1568040"/>
                  <a:gd name="connsiteY129" fmla="*/ 622348 h 2458102"/>
                  <a:gd name="connsiteX130" fmla="*/ 222516 w 1568040"/>
                  <a:gd name="connsiteY130" fmla="*/ 671024 h 2458102"/>
                  <a:gd name="connsiteX131" fmla="*/ 264238 w 1568040"/>
                  <a:gd name="connsiteY131" fmla="*/ 691884 h 2458102"/>
                  <a:gd name="connsiteX132" fmla="*/ 267714 w 1568040"/>
                  <a:gd name="connsiteY132" fmla="*/ 775328 h 2458102"/>
                  <a:gd name="connsiteX133" fmla="*/ 264238 w 1568040"/>
                  <a:gd name="connsiteY133" fmla="*/ 841387 h 2458102"/>
                  <a:gd name="connsiteX134" fmla="*/ 309436 w 1568040"/>
                  <a:gd name="connsiteY134" fmla="*/ 813573 h 2458102"/>
                  <a:gd name="connsiteX135" fmla="*/ 340727 w 1568040"/>
                  <a:gd name="connsiteY135" fmla="*/ 782281 h 2458102"/>
                  <a:gd name="connsiteX136" fmla="*/ 295529 w 1568040"/>
                  <a:gd name="connsiteY136" fmla="*/ 764897 h 2458102"/>
                  <a:gd name="connsiteX137" fmla="*/ 305959 w 1568040"/>
                  <a:gd name="connsiteY137" fmla="*/ 636256 h 2458102"/>
                  <a:gd name="connsiteX138" fmla="*/ 385926 w 1568040"/>
                  <a:gd name="connsiteY138" fmla="*/ 671024 h 2458102"/>
                  <a:gd name="connsiteX139" fmla="*/ 316390 w 1568040"/>
                  <a:gd name="connsiteY139" fmla="*/ 587580 h 2458102"/>
                  <a:gd name="connsiteX140" fmla="*/ 365065 w 1568040"/>
                  <a:gd name="connsiteY140" fmla="*/ 563243 h 2458102"/>
                  <a:gd name="connsiteX141" fmla="*/ 316390 w 1568040"/>
                  <a:gd name="connsiteY141" fmla="*/ 472846 h 2458102"/>
                  <a:gd name="connsiteX142" fmla="*/ 347681 w 1568040"/>
                  <a:gd name="connsiteY142" fmla="*/ 479799 h 2458102"/>
                  <a:gd name="connsiteX143" fmla="*/ 420694 w 1568040"/>
                  <a:gd name="connsiteY143" fmla="*/ 528475 h 2458102"/>
                  <a:gd name="connsiteX144" fmla="*/ 389403 w 1568040"/>
                  <a:gd name="connsiteY144" fmla="*/ 420694 h 2458102"/>
                  <a:gd name="connsiteX145" fmla="*/ 424171 w 1568040"/>
                  <a:gd name="connsiteY145" fmla="*/ 451985 h 2458102"/>
                  <a:gd name="connsiteX146" fmla="*/ 462416 w 1568040"/>
                  <a:gd name="connsiteY146" fmla="*/ 424170 h 2458102"/>
                  <a:gd name="connsiteX147" fmla="*/ 504137 w 1568040"/>
                  <a:gd name="connsiteY147" fmla="*/ 438078 h 2458102"/>
                  <a:gd name="connsiteX148" fmla="*/ 500660 w 1568040"/>
                  <a:gd name="connsiteY148" fmla="*/ 403310 h 2458102"/>
                  <a:gd name="connsiteX149" fmla="*/ 434601 w 1568040"/>
                  <a:gd name="connsiteY149" fmla="*/ 382449 h 2458102"/>
                  <a:gd name="connsiteX150" fmla="*/ 434601 w 1568040"/>
                  <a:gd name="connsiteY150" fmla="*/ 323343 h 2458102"/>
                  <a:gd name="connsiteX151" fmla="*/ 493707 w 1568040"/>
                  <a:gd name="connsiteY151" fmla="*/ 337250 h 2458102"/>
                  <a:gd name="connsiteX152" fmla="*/ 497184 w 1568040"/>
                  <a:gd name="connsiteY152" fmla="*/ 305959 h 2458102"/>
                  <a:gd name="connsiteX153" fmla="*/ 458939 w 1568040"/>
                  <a:gd name="connsiteY153" fmla="*/ 236423 h 2458102"/>
                  <a:gd name="connsiteX154" fmla="*/ 514568 w 1568040"/>
                  <a:gd name="connsiteY154" fmla="*/ 232946 h 2458102"/>
                  <a:gd name="connsiteX155" fmla="*/ 538905 w 1568040"/>
                  <a:gd name="connsiteY155" fmla="*/ 243377 h 2458102"/>
                  <a:gd name="connsiteX156" fmla="*/ 552813 w 1568040"/>
                  <a:gd name="connsiteY156" fmla="*/ 225992 h 2458102"/>
                  <a:gd name="connsiteX157" fmla="*/ 524998 w 1568040"/>
                  <a:gd name="connsiteY157" fmla="*/ 177317 h 2458102"/>
                  <a:gd name="connsiteX158" fmla="*/ 556289 w 1568040"/>
                  <a:gd name="connsiteY158" fmla="*/ 135596 h 2458102"/>
                  <a:gd name="connsiteX159" fmla="*/ 570197 w 1568040"/>
                  <a:gd name="connsiteY159" fmla="*/ 55629 h 2458102"/>
                  <a:gd name="connsiteX160" fmla="*/ 643209 w 1568040"/>
                  <a:gd name="connsiteY160" fmla="*/ 31291 h 2458102"/>
                  <a:gd name="connsiteX161" fmla="*/ 691885 w 1568040"/>
                  <a:gd name="connsiteY161" fmla="*/ 66059 h 2458102"/>
                  <a:gd name="connsiteX162" fmla="*/ 740560 w 1568040"/>
                  <a:gd name="connsiteY162" fmla="*/ 62583 h 2458102"/>
                  <a:gd name="connsiteX163" fmla="*/ 778805 w 1568040"/>
                  <a:gd name="connsiteY163" fmla="*/ 79967 h 2458102"/>
                  <a:gd name="connsiteX164" fmla="*/ 848341 w 1568040"/>
                  <a:gd name="connsiteY164" fmla="*/ 66059 h 2458102"/>
                  <a:gd name="connsiteX165" fmla="*/ 883109 w 1568040"/>
                  <a:gd name="connsiteY165" fmla="*/ 41722 h 2458102"/>
                  <a:gd name="connsiteX166" fmla="*/ 886586 w 1568040"/>
                  <a:gd name="connsiteY166" fmla="*/ 59106 h 2458102"/>
                  <a:gd name="connsiteX167" fmla="*/ 956122 w 1568040"/>
                  <a:gd name="connsiteY167" fmla="*/ 59106 h 2458102"/>
                  <a:gd name="connsiteX168" fmla="*/ 983936 w 1568040"/>
                  <a:gd name="connsiteY168" fmla="*/ 34768 h 2458102"/>
                  <a:gd name="connsiteX169" fmla="*/ 1046519 w 1568040"/>
                  <a:gd name="connsiteY169" fmla="*/ 45199 h 2458102"/>
                  <a:gd name="connsiteX170" fmla="*/ 1081287 w 1568040"/>
                  <a:gd name="connsiteY170" fmla="*/ 62583 h 2458102"/>
                  <a:gd name="connsiteX171" fmla="*/ 1056949 w 1568040"/>
                  <a:gd name="connsiteY171" fmla="*/ 0 h 2458102"/>
                  <a:gd name="connsiteX172" fmla="*/ 1102148 w 1568040"/>
                  <a:gd name="connsiteY172" fmla="*/ 13907 h 2458102"/>
                  <a:gd name="connsiteX173" fmla="*/ 1119532 w 1568040"/>
                  <a:gd name="connsiteY173" fmla="*/ 6954 h 2458102"/>
                  <a:gd name="connsiteX174" fmla="*/ 1129962 w 1568040"/>
                  <a:gd name="connsiteY174" fmla="*/ 24338 h 2458102"/>
                  <a:gd name="connsiteX175" fmla="*/ 1192545 w 1568040"/>
                  <a:gd name="connsiteY175" fmla="*/ 41722 h 245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1568040" h="2458102">
                    <a:moveTo>
                      <a:pt x="1192545" y="41722"/>
                    </a:moveTo>
                    <a:lnTo>
                      <a:pt x="1161254" y="139072"/>
                    </a:lnTo>
                    <a:lnTo>
                      <a:pt x="1189068" y="170364"/>
                    </a:lnTo>
                    <a:lnTo>
                      <a:pt x="1074333" y="267714"/>
                    </a:lnTo>
                    <a:lnTo>
                      <a:pt x="872679" y="448508"/>
                    </a:lnTo>
                    <a:lnTo>
                      <a:pt x="872679" y="490230"/>
                    </a:lnTo>
                    <a:lnTo>
                      <a:pt x="792712" y="500660"/>
                    </a:lnTo>
                    <a:lnTo>
                      <a:pt x="862248" y="521521"/>
                    </a:lnTo>
                    <a:lnTo>
                      <a:pt x="952645" y="518044"/>
                    </a:lnTo>
                    <a:lnTo>
                      <a:pt x="792712" y="702315"/>
                    </a:lnTo>
                    <a:lnTo>
                      <a:pt x="1015228" y="618872"/>
                    </a:lnTo>
                    <a:lnTo>
                      <a:pt x="1088241" y="584103"/>
                    </a:lnTo>
                    <a:lnTo>
                      <a:pt x="1147346" y="625825"/>
                    </a:lnTo>
                    <a:lnTo>
                      <a:pt x="1216883" y="615395"/>
                    </a:lnTo>
                    <a:lnTo>
                      <a:pt x="1477643" y="604964"/>
                    </a:lnTo>
                    <a:lnTo>
                      <a:pt x="1568040" y="726653"/>
                    </a:lnTo>
                    <a:lnTo>
                      <a:pt x="1477643" y="883109"/>
                    </a:lnTo>
                    <a:lnTo>
                      <a:pt x="1470689" y="976983"/>
                    </a:lnTo>
                    <a:lnTo>
                      <a:pt x="1415060" y="1102148"/>
                    </a:lnTo>
                    <a:lnTo>
                      <a:pt x="1335094" y="1241220"/>
                    </a:lnTo>
                    <a:lnTo>
                      <a:pt x="1324663" y="1303802"/>
                    </a:lnTo>
                    <a:lnTo>
                      <a:pt x="1237743" y="1373338"/>
                    </a:lnTo>
                    <a:lnTo>
                      <a:pt x="1282942" y="1442875"/>
                    </a:lnTo>
                    <a:lnTo>
                      <a:pt x="1289895" y="1512411"/>
                    </a:lnTo>
                    <a:lnTo>
                      <a:pt x="1227313" y="1533272"/>
                    </a:lnTo>
                    <a:lnTo>
                      <a:pt x="1178638" y="1519364"/>
                    </a:lnTo>
                    <a:lnTo>
                      <a:pt x="1109102" y="1606284"/>
                    </a:lnTo>
                    <a:lnTo>
                      <a:pt x="931784" y="1616715"/>
                    </a:lnTo>
                    <a:lnTo>
                      <a:pt x="1164730" y="1668867"/>
                    </a:lnTo>
                    <a:lnTo>
                      <a:pt x="1223836" y="1609761"/>
                    </a:lnTo>
                    <a:lnTo>
                      <a:pt x="1383769" y="1675821"/>
                    </a:lnTo>
                    <a:lnTo>
                      <a:pt x="1442875" y="1759264"/>
                    </a:lnTo>
                    <a:lnTo>
                      <a:pt x="1376816" y="1846184"/>
                    </a:lnTo>
                    <a:lnTo>
                      <a:pt x="1394200" y="2006117"/>
                    </a:lnTo>
                    <a:lnTo>
                      <a:pt x="1075548" y="2280481"/>
                    </a:lnTo>
                    <a:lnTo>
                      <a:pt x="973506" y="2280785"/>
                    </a:lnTo>
                    <a:lnTo>
                      <a:pt x="970029" y="2332937"/>
                    </a:lnTo>
                    <a:lnTo>
                      <a:pt x="897016" y="2343367"/>
                    </a:lnTo>
                    <a:lnTo>
                      <a:pt x="820527" y="2392043"/>
                    </a:lnTo>
                    <a:lnTo>
                      <a:pt x="726653" y="2353798"/>
                    </a:lnTo>
                    <a:lnTo>
                      <a:pt x="719699" y="2437241"/>
                    </a:lnTo>
                    <a:lnTo>
                      <a:pt x="681454" y="2447672"/>
                    </a:lnTo>
                    <a:lnTo>
                      <a:pt x="604965" y="2402473"/>
                    </a:lnTo>
                    <a:lnTo>
                      <a:pt x="566720" y="2332937"/>
                    </a:lnTo>
                    <a:lnTo>
                      <a:pt x="524998" y="2353798"/>
                    </a:lnTo>
                    <a:lnTo>
                      <a:pt x="556289" y="2426811"/>
                    </a:lnTo>
                    <a:lnTo>
                      <a:pt x="535429" y="2458102"/>
                    </a:lnTo>
                    <a:lnTo>
                      <a:pt x="500660" y="2458102"/>
                    </a:lnTo>
                    <a:lnTo>
                      <a:pt x="493707" y="2392043"/>
                    </a:lnTo>
                    <a:lnTo>
                      <a:pt x="455462" y="2315553"/>
                    </a:lnTo>
                    <a:lnTo>
                      <a:pt x="445032" y="2235586"/>
                    </a:lnTo>
                    <a:lnTo>
                      <a:pt x="486753" y="2263401"/>
                    </a:lnTo>
                    <a:lnTo>
                      <a:pt x="476323" y="2186911"/>
                    </a:lnTo>
                    <a:lnTo>
                      <a:pt x="556289" y="2099991"/>
                    </a:lnTo>
                    <a:lnTo>
                      <a:pt x="570197" y="2030455"/>
                    </a:lnTo>
                    <a:lnTo>
                      <a:pt x="646686" y="1919197"/>
                    </a:lnTo>
                    <a:lnTo>
                      <a:pt x="601488" y="1849661"/>
                    </a:lnTo>
                    <a:lnTo>
                      <a:pt x="566720" y="1794032"/>
                    </a:lnTo>
                    <a:lnTo>
                      <a:pt x="538905" y="1693205"/>
                    </a:lnTo>
                    <a:lnTo>
                      <a:pt x="524998" y="1807939"/>
                    </a:lnTo>
                    <a:lnTo>
                      <a:pt x="434601" y="1721019"/>
                    </a:lnTo>
                    <a:lnTo>
                      <a:pt x="372019" y="1787078"/>
                    </a:lnTo>
                    <a:lnTo>
                      <a:pt x="368542" y="1926151"/>
                    </a:lnTo>
                    <a:lnTo>
                      <a:pt x="333774" y="1964396"/>
                    </a:lnTo>
                    <a:lnTo>
                      <a:pt x="361588" y="2006117"/>
                    </a:lnTo>
                    <a:lnTo>
                      <a:pt x="292052" y="2051316"/>
                    </a:lnTo>
                    <a:lnTo>
                      <a:pt x="222516" y="2023501"/>
                    </a:lnTo>
                    <a:lnTo>
                      <a:pt x="267714" y="1929627"/>
                    </a:lnTo>
                    <a:lnTo>
                      <a:pt x="295529" y="1842707"/>
                    </a:lnTo>
                    <a:lnTo>
                      <a:pt x="316390" y="1762741"/>
                    </a:lnTo>
                    <a:lnTo>
                      <a:pt x="299006" y="1689728"/>
                    </a:lnTo>
                    <a:lnTo>
                      <a:pt x="267714" y="1592377"/>
                    </a:lnTo>
                    <a:lnTo>
                      <a:pt x="205132" y="1741880"/>
                    </a:lnTo>
                    <a:lnTo>
                      <a:pt x="184271" y="1738403"/>
                    </a:lnTo>
                    <a:lnTo>
                      <a:pt x="205132" y="1807939"/>
                    </a:lnTo>
                    <a:lnTo>
                      <a:pt x="104305" y="1853138"/>
                    </a:lnTo>
                    <a:lnTo>
                      <a:pt x="79967" y="1839230"/>
                    </a:lnTo>
                    <a:lnTo>
                      <a:pt x="93874" y="1748834"/>
                    </a:lnTo>
                    <a:lnTo>
                      <a:pt x="34768" y="1794032"/>
                    </a:lnTo>
                    <a:lnTo>
                      <a:pt x="41722" y="1700158"/>
                    </a:lnTo>
                    <a:lnTo>
                      <a:pt x="83444" y="1651483"/>
                    </a:lnTo>
                    <a:lnTo>
                      <a:pt x="152980" y="1627145"/>
                    </a:lnTo>
                    <a:lnTo>
                      <a:pt x="156457" y="1672344"/>
                    </a:lnTo>
                    <a:lnTo>
                      <a:pt x="212086" y="1630622"/>
                    </a:lnTo>
                    <a:lnTo>
                      <a:pt x="225993" y="1578470"/>
                    </a:lnTo>
                    <a:lnTo>
                      <a:pt x="271191" y="1540225"/>
                    </a:lnTo>
                    <a:lnTo>
                      <a:pt x="299006" y="1470689"/>
                    </a:lnTo>
                    <a:lnTo>
                      <a:pt x="472846" y="1209929"/>
                    </a:lnTo>
                    <a:lnTo>
                      <a:pt x="458939" y="1182114"/>
                    </a:lnTo>
                    <a:lnTo>
                      <a:pt x="344204" y="1321186"/>
                    </a:lnTo>
                    <a:lnTo>
                      <a:pt x="333774" y="1362908"/>
                    </a:lnTo>
                    <a:lnTo>
                      <a:pt x="264238" y="1415060"/>
                    </a:lnTo>
                    <a:lnTo>
                      <a:pt x="142549" y="1418537"/>
                    </a:lnTo>
                    <a:lnTo>
                      <a:pt x="121689" y="1432444"/>
                    </a:lnTo>
                    <a:lnTo>
                      <a:pt x="76490" y="1373338"/>
                    </a:lnTo>
                    <a:lnTo>
                      <a:pt x="163410" y="1380292"/>
                    </a:lnTo>
                    <a:lnTo>
                      <a:pt x="163410" y="1345524"/>
                    </a:lnTo>
                    <a:lnTo>
                      <a:pt x="191225" y="1317710"/>
                    </a:lnTo>
                    <a:lnTo>
                      <a:pt x="135596" y="1317710"/>
                    </a:lnTo>
                    <a:lnTo>
                      <a:pt x="111258" y="1251650"/>
                    </a:lnTo>
                    <a:lnTo>
                      <a:pt x="187748" y="1196021"/>
                    </a:lnTo>
                    <a:lnTo>
                      <a:pt x="219039" y="1234266"/>
                    </a:lnTo>
                    <a:lnTo>
                      <a:pt x="222516" y="1178637"/>
                    </a:lnTo>
                    <a:lnTo>
                      <a:pt x="156457" y="1171684"/>
                    </a:lnTo>
                    <a:lnTo>
                      <a:pt x="180794" y="1136916"/>
                    </a:lnTo>
                    <a:lnTo>
                      <a:pt x="229470" y="1140392"/>
                    </a:lnTo>
                    <a:lnTo>
                      <a:pt x="232946" y="1112578"/>
                    </a:lnTo>
                    <a:lnTo>
                      <a:pt x="264238" y="1102148"/>
                    </a:lnTo>
                    <a:lnTo>
                      <a:pt x="246854" y="1036088"/>
                    </a:lnTo>
                    <a:lnTo>
                      <a:pt x="292052" y="1043042"/>
                    </a:lnTo>
                    <a:lnTo>
                      <a:pt x="295529" y="994367"/>
                    </a:lnTo>
                    <a:lnTo>
                      <a:pt x="292052" y="983936"/>
                    </a:lnTo>
                    <a:lnTo>
                      <a:pt x="337251" y="924830"/>
                    </a:lnTo>
                    <a:lnTo>
                      <a:pt x="406787" y="949168"/>
                    </a:lnTo>
                    <a:lnTo>
                      <a:pt x="333774" y="879632"/>
                    </a:lnTo>
                    <a:lnTo>
                      <a:pt x="239900" y="987413"/>
                    </a:lnTo>
                    <a:lnTo>
                      <a:pt x="215562" y="938738"/>
                    </a:lnTo>
                    <a:lnTo>
                      <a:pt x="250330" y="893539"/>
                    </a:lnTo>
                    <a:lnTo>
                      <a:pt x="187748" y="917877"/>
                    </a:lnTo>
                    <a:lnTo>
                      <a:pt x="118212" y="848341"/>
                    </a:lnTo>
                    <a:lnTo>
                      <a:pt x="83444" y="757944"/>
                    </a:lnTo>
                    <a:lnTo>
                      <a:pt x="34768" y="778805"/>
                    </a:lnTo>
                    <a:lnTo>
                      <a:pt x="0" y="719699"/>
                    </a:lnTo>
                    <a:lnTo>
                      <a:pt x="20861" y="660593"/>
                    </a:lnTo>
                    <a:lnTo>
                      <a:pt x="48676" y="688408"/>
                    </a:lnTo>
                    <a:lnTo>
                      <a:pt x="62583" y="622348"/>
                    </a:lnTo>
                    <a:lnTo>
                      <a:pt x="125165" y="667547"/>
                    </a:lnTo>
                    <a:lnTo>
                      <a:pt x="135596" y="573673"/>
                    </a:lnTo>
                    <a:lnTo>
                      <a:pt x="184271" y="570196"/>
                    </a:lnTo>
                    <a:lnTo>
                      <a:pt x="225993" y="622348"/>
                    </a:lnTo>
                    <a:lnTo>
                      <a:pt x="222516" y="671024"/>
                    </a:lnTo>
                    <a:lnTo>
                      <a:pt x="264238" y="691884"/>
                    </a:lnTo>
                    <a:lnTo>
                      <a:pt x="267714" y="775328"/>
                    </a:lnTo>
                    <a:lnTo>
                      <a:pt x="264238" y="841387"/>
                    </a:lnTo>
                    <a:lnTo>
                      <a:pt x="309436" y="813573"/>
                    </a:lnTo>
                    <a:lnTo>
                      <a:pt x="340727" y="782281"/>
                    </a:lnTo>
                    <a:lnTo>
                      <a:pt x="295529" y="764897"/>
                    </a:lnTo>
                    <a:lnTo>
                      <a:pt x="305959" y="636256"/>
                    </a:lnTo>
                    <a:lnTo>
                      <a:pt x="385926" y="671024"/>
                    </a:lnTo>
                    <a:lnTo>
                      <a:pt x="316390" y="587580"/>
                    </a:lnTo>
                    <a:lnTo>
                      <a:pt x="365065" y="563243"/>
                    </a:lnTo>
                    <a:lnTo>
                      <a:pt x="316390" y="472846"/>
                    </a:lnTo>
                    <a:lnTo>
                      <a:pt x="347681" y="479799"/>
                    </a:lnTo>
                    <a:lnTo>
                      <a:pt x="420694" y="528475"/>
                    </a:lnTo>
                    <a:lnTo>
                      <a:pt x="389403" y="420694"/>
                    </a:lnTo>
                    <a:lnTo>
                      <a:pt x="424171" y="451985"/>
                    </a:lnTo>
                    <a:lnTo>
                      <a:pt x="462416" y="424170"/>
                    </a:lnTo>
                    <a:lnTo>
                      <a:pt x="504137" y="438078"/>
                    </a:lnTo>
                    <a:lnTo>
                      <a:pt x="500660" y="403310"/>
                    </a:lnTo>
                    <a:lnTo>
                      <a:pt x="434601" y="382449"/>
                    </a:lnTo>
                    <a:lnTo>
                      <a:pt x="434601" y="323343"/>
                    </a:lnTo>
                    <a:lnTo>
                      <a:pt x="493707" y="337250"/>
                    </a:lnTo>
                    <a:lnTo>
                      <a:pt x="497184" y="305959"/>
                    </a:lnTo>
                    <a:lnTo>
                      <a:pt x="458939" y="236423"/>
                    </a:lnTo>
                    <a:lnTo>
                      <a:pt x="514568" y="232946"/>
                    </a:lnTo>
                    <a:lnTo>
                      <a:pt x="538905" y="243377"/>
                    </a:lnTo>
                    <a:lnTo>
                      <a:pt x="552813" y="225992"/>
                    </a:lnTo>
                    <a:lnTo>
                      <a:pt x="524998" y="177317"/>
                    </a:lnTo>
                    <a:lnTo>
                      <a:pt x="556289" y="135596"/>
                    </a:lnTo>
                    <a:lnTo>
                      <a:pt x="570197" y="55629"/>
                    </a:lnTo>
                    <a:lnTo>
                      <a:pt x="643209" y="31291"/>
                    </a:lnTo>
                    <a:lnTo>
                      <a:pt x="691885" y="66059"/>
                    </a:lnTo>
                    <a:lnTo>
                      <a:pt x="740560" y="62583"/>
                    </a:lnTo>
                    <a:lnTo>
                      <a:pt x="778805" y="79967"/>
                    </a:lnTo>
                    <a:lnTo>
                      <a:pt x="848341" y="66059"/>
                    </a:lnTo>
                    <a:lnTo>
                      <a:pt x="883109" y="41722"/>
                    </a:lnTo>
                    <a:lnTo>
                      <a:pt x="886586" y="59106"/>
                    </a:lnTo>
                    <a:lnTo>
                      <a:pt x="956122" y="59106"/>
                    </a:lnTo>
                    <a:lnTo>
                      <a:pt x="983936" y="34768"/>
                    </a:lnTo>
                    <a:lnTo>
                      <a:pt x="1046519" y="45199"/>
                    </a:lnTo>
                    <a:lnTo>
                      <a:pt x="1081287" y="62583"/>
                    </a:lnTo>
                    <a:lnTo>
                      <a:pt x="1056949" y="0"/>
                    </a:lnTo>
                    <a:lnTo>
                      <a:pt x="1102148" y="13907"/>
                    </a:lnTo>
                    <a:lnTo>
                      <a:pt x="1119532" y="6954"/>
                    </a:lnTo>
                    <a:lnTo>
                      <a:pt x="1129962" y="24338"/>
                    </a:lnTo>
                    <a:lnTo>
                      <a:pt x="1192545" y="41722"/>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2" name="Freeform 52">
                <a:extLst>
                  <a:ext uri="{FF2B5EF4-FFF2-40B4-BE49-F238E27FC236}">
                    <a16:creationId xmlns:a16="http://schemas.microsoft.com/office/drawing/2014/main" id="{732F0ECB-ABC1-4C63-9DA0-DA415EBA6AD8}"/>
                  </a:ext>
                </a:extLst>
              </p:cNvPr>
              <p:cNvSpPr/>
              <p:nvPr/>
            </p:nvSpPr>
            <p:spPr bwMode="auto">
              <a:xfrm>
                <a:off x="5159375" y="1521618"/>
                <a:ext cx="327025" cy="431800"/>
              </a:xfrm>
              <a:custGeom>
                <a:avLst/>
                <a:gdLst>
                  <a:gd name="connsiteX0" fmla="*/ 326571 w 326571"/>
                  <a:gd name="connsiteY0" fmla="*/ 3629 h 431800"/>
                  <a:gd name="connsiteX1" fmla="*/ 243114 w 326571"/>
                  <a:gd name="connsiteY1" fmla="*/ 0 h 431800"/>
                  <a:gd name="connsiteX2" fmla="*/ 163285 w 326571"/>
                  <a:gd name="connsiteY2" fmla="*/ 76200 h 431800"/>
                  <a:gd name="connsiteX3" fmla="*/ 137885 w 326571"/>
                  <a:gd name="connsiteY3" fmla="*/ 72571 h 431800"/>
                  <a:gd name="connsiteX4" fmla="*/ 105228 w 326571"/>
                  <a:gd name="connsiteY4" fmla="*/ 134257 h 431800"/>
                  <a:gd name="connsiteX5" fmla="*/ 29028 w 326571"/>
                  <a:gd name="connsiteY5" fmla="*/ 123371 h 431800"/>
                  <a:gd name="connsiteX6" fmla="*/ 32657 w 326571"/>
                  <a:gd name="connsiteY6" fmla="*/ 177800 h 431800"/>
                  <a:gd name="connsiteX7" fmla="*/ 0 w 326571"/>
                  <a:gd name="connsiteY7" fmla="*/ 206829 h 431800"/>
                  <a:gd name="connsiteX8" fmla="*/ 32657 w 326571"/>
                  <a:gd name="connsiteY8" fmla="*/ 290286 h 431800"/>
                  <a:gd name="connsiteX9" fmla="*/ 7257 w 326571"/>
                  <a:gd name="connsiteY9" fmla="*/ 333829 h 431800"/>
                  <a:gd name="connsiteX10" fmla="*/ 76200 w 326571"/>
                  <a:gd name="connsiteY10" fmla="*/ 337457 h 431800"/>
                  <a:gd name="connsiteX11" fmla="*/ 0 w 326571"/>
                  <a:gd name="connsiteY11" fmla="*/ 410029 h 431800"/>
                  <a:gd name="connsiteX12" fmla="*/ 36285 w 326571"/>
                  <a:gd name="connsiteY12" fmla="*/ 431800 h 431800"/>
                  <a:gd name="connsiteX13" fmla="*/ 112485 w 326571"/>
                  <a:gd name="connsiteY13" fmla="*/ 399143 h 431800"/>
                  <a:gd name="connsiteX14" fmla="*/ 123371 w 326571"/>
                  <a:gd name="connsiteY14" fmla="*/ 333829 h 431800"/>
                  <a:gd name="connsiteX15" fmla="*/ 170543 w 326571"/>
                  <a:gd name="connsiteY15" fmla="*/ 337457 h 431800"/>
                  <a:gd name="connsiteX16" fmla="*/ 224971 w 326571"/>
                  <a:gd name="connsiteY16" fmla="*/ 283029 h 431800"/>
                  <a:gd name="connsiteX17" fmla="*/ 217714 w 326571"/>
                  <a:gd name="connsiteY17" fmla="*/ 214086 h 431800"/>
                  <a:gd name="connsiteX18" fmla="*/ 254000 w 326571"/>
                  <a:gd name="connsiteY18" fmla="*/ 199571 h 431800"/>
                  <a:gd name="connsiteX19" fmla="*/ 261257 w 326571"/>
                  <a:gd name="connsiteY19" fmla="*/ 177800 h 431800"/>
                  <a:gd name="connsiteX20" fmla="*/ 301171 w 326571"/>
                  <a:gd name="connsiteY20" fmla="*/ 185057 h 431800"/>
                  <a:gd name="connsiteX21" fmla="*/ 322943 w 326571"/>
                  <a:gd name="connsiteY21" fmla="*/ 141514 h 431800"/>
                  <a:gd name="connsiteX22" fmla="*/ 283028 w 326571"/>
                  <a:gd name="connsiteY22" fmla="*/ 127000 h 431800"/>
                  <a:gd name="connsiteX23" fmla="*/ 301171 w 326571"/>
                  <a:gd name="connsiteY23" fmla="*/ 72571 h 431800"/>
                  <a:gd name="connsiteX24" fmla="*/ 326571 w 326571"/>
                  <a:gd name="connsiteY24" fmla="*/ 3629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26571" h="431800">
                    <a:moveTo>
                      <a:pt x="326571" y="3629"/>
                    </a:moveTo>
                    <a:lnTo>
                      <a:pt x="243114" y="0"/>
                    </a:lnTo>
                    <a:lnTo>
                      <a:pt x="163285" y="76200"/>
                    </a:lnTo>
                    <a:lnTo>
                      <a:pt x="137885" y="72571"/>
                    </a:lnTo>
                    <a:lnTo>
                      <a:pt x="105228" y="134257"/>
                    </a:lnTo>
                    <a:lnTo>
                      <a:pt x="29028" y="123371"/>
                    </a:lnTo>
                    <a:lnTo>
                      <a:pt x="32657" y="177800"/>
                    </a:lnTo>
                    <a:lnTo>
                      <a:pt x="0" y="206829"/>
                    </a:lnTo>
                    <a:lnTo>
                      <a:pt x="32657" y="290286"/>
                    </a:lnTo>
                    <a:lnTo>
                      <a:pt x="7257" y="333829"/>
                    </a:lnTo>
                    <a:lnTo>
                      <a:pt x="76200" y="337457"/>
                    </a:lnTo>
                    <a:lnTo>
                      <a:pt x="0" y="410029"/>
                    </a:lnTo>
                    <a:lnTo>
                      <a:pt x="36285" y="431800"/>
                    </a:lnTo>
                    <a:lnTo>
                      <a:pt x="112485" y="399143"/>
                    </a:lnTo>
                    <a:lnTo>
                      <a:pt x="123371" y="333829"/>
                    </a:lnTo>
                    <a:lnTo>
                      <a:pt x="170543" y="337457"/>
                    </a:lnTo>
                    <a:lnTo>
                      <a:pt x="224971" y="283029"/>
                    </a:lnTo>
                    <a:lnTo>
                      <a:pt x="217714" y="214086"/>
                    </a:lnTo>
                    <a:lnTo>
                      <a:pt x="254000" y="199571"/>
                    </a:lnTo>
                    <a:lnTo>
                      <a:pt x="261257" y="177800"/>
                    </a:lnTo>
                    <a:lnTo>
                      <a:pt x="301171" y="185057"/>
                    </a:lnTo>
                    <a:lnTo>
                      <a:pt x="322943" y="141514"/>
                    </a:lnTo>
                    <a:lnTo>
                      <a:pt x="283028" y="127000"/>
                    </a:lnTo>
                    <a:lnTo>
                      <a:pt x="301171" y="72571"/>
                    </a:lnTo>
                    <a:lnTo>
                      <a:pt x="326571" y="362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3" name="Freeform 53">
                <a:extLst>
                  <a:ext uri="{FF2B5EF4-FFF2-40B4-BE49-F238E27FC236}">
                    <a16:creationId xmlns:a16="http://schemas.microsoft.com/office/drawing/2014/main" id="{F67BB95C-B5F2-4D02-9EB6-CA59F10ED723}"/>
                  </a:ext>
                </a:extLst>
              </p:cNvPr>
              <p:cNvSpPr/>
              <p:nvPr/>
            </p:nvSpPr>
            <p:spPr bwMode="auto">
              <a:xfrm>
                <a:off x="5032375" y="1975643"/>
                <a:ext cx="141287" cy="401638"/>
              </a:xfrm>
              <a:custGeom>
                <a:avLst/>
                <a:gdLst>
                  <a:gd name="connsiteX0" fmla="*/ 0 w 141514"/>
                  <a:gd name="connsiteY0" fmla="*/ 0 h 402772"/>
                  <a:gd name="connsiteX1" fmla="*/ 141514 w 141514"/>
                  <a:gd name="connsiteY1" fmla="*/ 25400 h 402772"/>
                  <a:gd name="connsiteX2" fmla="*/ 123371 w 141514"/>
                  <a:gd name="connsiteY2" fmla="*/ 97972 h 402772"/>
                  <a:gd name="connsiteX3" fmla="*/ 130628 w 141514"/>
                  <a:gd name="connsiteY3" fmla="*/ 148772 h 402772"/>
                  <a:gd name="connsiteX4" fmla="*/ 87085 w 141514"/>
                  <a:gd name="connsiteY4" fmla="*/ 177800 h 402772"/>
                  <a:gd name="connsiteX5" fmla="*/ 68943 w 141514"/>
                  <a:gd name="connsiteY5" fmla="*/ 224972 h 402772"/>
                  <a:gd name="connsiteX6" fmla="*/ 90714 w 141514"/>
                  <a:gd name="connsiteY6" fmla="*/ 254000 h 402772"/>
                  <a:gd name="connsiteX7" fmla="*/ 61685 w 141514"/>
                  <a:gd name="connsiteY7" fmla="*/ 304800 h 402772"/>
                  <a:gd name="connsiteX8" fmla="*/ 61685 w 141514"/>
                  <a:gd name="connsiteY8" fmla="*/ 373743 h 402772"/>
                  <a:gd name="connsiteX9" fmla="*/ 29028 w 141514"/>
                  <a:gd name="connsiteY9" fmla="*/ 402772 h 402772"/>
                  <a:gd name="connsiteX10" fmla="*/ 7257 w 141514"/>
                  <a:gd name="connsiteY10" fmla="*/ 359229 h 402772"/>
                  <a:gd name="connsiteX11" fmla="*/ 0 w 141514"/>
                  <a:gd name="connsiteY11" fmla="*/ 250372 h 402772"/>
                  <a:gd name="connsiteX12" fmla="*/ 14514 w 141514"/>
                  <a:gd name="connsiteY12" fmla="*/ 170543 h 402772"/>
                  <a:gd name="connsiteX13" fmla="*/ 36285 w 141514"/>
                  <a:gd name="connsiteY13" fmla="*/ 112486 h 402772"/>
                  <a:gd name="connsiteX14" fmla="*/ 3628 w 141514"/>
                  <a:gd name="connsiteY14" fmla="*/ 50800 h 402772"/>
                  <a:gd name="connsiteX15" fmla="*/ 0 w 141514"/>
                  <a:gd name="connsiteY15" fmla="*/ 0 h 40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1514" h="402772">
                    <a:moveTo>
                      <a:pt x="0" y="0"/>
                    </a:moveTo>
                    <a:lnTo>
                      <a:pt x="141514" y="25400"/>
                    </a:lnTo>
                    <a:lnTo>
                      <a:pt x="123371" y="97972"/>
                    </a:lnTo>
                    <a:lnTo>
                      <a:pt x="130628" y="148772"/>
                    </a:lnTo>
                    <a:lnTo>
                      <a:pt x="87085" y="177800"/>
                    </a:lnTo>
                    <a:lnTo>
                      <a:pt x="68943" y="224972"/>
                    </a:lnTo>
                    <a:lnTo>
                      <a:pt x="90714" y="254000"/>
                    </a:lnTo>
                    <a:lnTo>
                      <a:pt x="61685" y="304800"/>
                    </a:lnTo>
                    <a:lnTo>
                      <a:pt x="61685" y="373743"/>
                    </a:lnTo>
                    <a:lnTo>
                      <a:pt x="29028" y="402772"/>
                    </a:lnTo>
                    <a:lnTo>
                      <a:pt x="7257" y="359229"/>
                    </a:lnTo>
                    <a:lnTo>
                      <a:pt x="0" y="250372"/>
                    </a:lnTo>
                    <a:lnTo>
                      <a:pt x="14514" y="170543"/>
                    </a:lnTo>
                    <a:lnTo>
                      <a:pt x="36285" y="112486"/>
                    </a:lnTo>
                    <a:lnTo>
                      <a:pt x="3628" y="50800"/>
                    </a:lnTo>
                    <a:lnTo>
                      <a:pt x="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4" name="Freeform 54">
                <a:extLst>
                  <a:ext uri="{FF2B5EF4-FFF2-40B4-BE49-F238E27FC236}">
                    <a16:creationId xmlns:a16="http://schemas.microsoft.com/office/drawing/2014/main" id="{A443DBA1-3BF7-4361-AF22-F58461FFC650}"/>
                  </a:ext>
                </a:extLst>
              </p:cNvPr>
              <p:cNvSpPr/>
              <p:nvPr/>
            </p:nvSpPr>
            <p:spPr bwMode="auto">
              <a:xfrm>
                <a:off x="4967287" y="2385218"/>
                <a:ext cx="93663" cy="68263"/>
              </a:xfrm>
              <a:custGeom>
                <a:avLst/>
                <a:gdLst>
                  <a:gd name="connsiteX0" fmla="*/ 0 w 94343"/>
                  <a:gd name="connsiteY0" fmla="*/ 43543 h 68943"/>
                  <a:gd name="connsiteX1" fmla="*/ 36286 w 94343"/>
                  <a:gd name="connsiteY1" fmla="*/ 68943 h 68943"/>
                  <a:gd name="connsiteX2" fmla="*/ 94343 w 94343"/>
                  <a:gd name="connsiteY2" fmla="*/ 21771 h 68943"/>
                  <a:gd name="connsiteX3" fmla="*/ 50800 w 94343"/>
                  <a:gd name="connsiteY3" fmla="*/ 0 h 68943"/>
                  <a:gd name="connsiteX4" fmla="*/ 0 w 94343"/>
                  <a:gd name="connsiteY4" fmla="*/ 43543 h 68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43" h="68943">
                    <a:moveTo>
                      <a:pt x="0" y="43543"/>
                    </a:moveTo>
                    <a:lnTo>
                      <a:pt x="36286" y="68943"/>
                    </a:lnTo>
                    <a:lnTo>
                      <a:pt x="94343" y="21771"/>
                    </a:lnTo>
                    <a:lnTo>
                      <a:pt x="50800" y="0"/>
                    </a:lnTo>
                    <a:lnTo>
                      <a:pt x="0" y="43543"/>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5" name="Freeform 55">
                <a:extLst>
                  <a:ext uri="{FF2B5EF4-FFF2-40B4-BE49-F238E27FC236}">
                    <a16:creationId xmlns:a16="http://schemas.microsoft.com/office/drawing/2014/main" id="{6584F5EB-D62F-4898-BF16-85A63F454F96}"/>
                  </a:ext>
                </a:extLst>
              </p:cNvPr>
              <p:cNvSpPr/>
              <p:nvPr/>
            </p:nvSpPr>
            <p:spPr bwMode="auto">
              <a:xfrm>
                <a:off x="4937125" y="2486818"/>
                <a:ext cx="33337" cy="73025"/>
              </a:xfrm>
              <a:custGeom>
                <a:avLst/>
                <a:gdLst>
                  <a:gd name="connsiteX0" fmla="*/ 32657 w 32657"/>
                  <a:gd name="connsiteY0" fmla="*/ 0 h 72571"/>
                  <a:gd name="connsiteX1" fmla="*/ 0 w 32657"/>
                  <a:gd name="connsiteY1" fmla="*/ 25400 h 72571"/>
                  <a:gd name="connsiteX2" fmla="*/ 10886 w 32657"/>
                  <a:gd name="connsiteY2" fmla="*/ 54429 h 72571"/>
                  <a:gd name="connsiteX3" fmla="*/ 29028 w 32657"/>
                  <a:gd name="connsiteY3" fmla="*/ 72571 h 72571"/>
                  <a:gd name="connsiteX4" fmla="*/ 32657 w 32657"/>
                  <a:gd name="connsiteY4" fmla="*/ 0 h 7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7" h="72571">
                    <a:moveTo>
                      <a:pt x="32657" y="0"/>
                    </a:moveTo>
                    <a:lnTo>
                      <a:pt x="0" y="25400"/>
                    </a:lnTo>
                    <a:lnTo>
                      <a:pt x="10886" y="54429"/>
                    </a:lnTo>
                    <a:lnTo>
                      <a:pt x="29028" y="72571"/>
                    </a:lnTo>
                    <a:lnTo>
                      <a:pt x="32657"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6" name="Freeform 56">
                <a:extLst>
                  <a:ext uri="{FF2B5EF4-FFF2-40B4-BE49-F238E27FC236}">
                    <a16:creationId xmlns:a16="http://schemas.microsoft.com/office/drawing/2014/main" id="{987BE0CF-724D-499D-8A4D-F42B3EB571CF}"/>
                  </a:ext>
                </a:extLst>
              </p:cNvPr>
              <p:cNvSpPr/>
              <p:nvPr/>
            </p:nvSpPr>
            <p:spPr bwMode="auto">
              <a:xfrm>
                <a:off x="5283200" y="2367756"/>
                <a:ext cx="50800" cy="53975"/>
              </a:xfrm>
              <a:custGeom>
                <a:avLst/>
                <a:gdLst>
                  <a:gd name="connsiteX0" fmla="*/ 0 w 50800"/>
                  <a:gd name="connsiteY0" fmla="*/ 0 h 54429"/>
                  <a:gd name="connsiteX1" fmla="*/ 21772 w 50800"/>
                  <a:gd name="connsiteY1" fmla="*/ 54429 h 54429"/>
                  <a:gd name="connsiteX2" fmla="*/ 50800 w 50800"/>
                  <a:gd name="connsiteY2" fmla="*/ 21772 h 54429"/>
                  <a:gd name="connsiteX3" fmla="*/ 0 w 50800"/>
                  <a:gd name="connsiteY3" fmla="*/ 0 h 54429"/>
                </a:gdLst>
                <a:ahLst/>
                <a:cxnLst>
                  <a:cxn ang="0">
                    <a:pos x="connsiteX0" y="connsiteY0"/>
                  </a:cxn>
                  <a:cxn ang="0">
                    <a:pos x="connsiteX1" y="connsiteY1"/>
                  </a:cxn>
                  <a:cxn ang="0">
                    <a:pos x="connsiteX2" y="connsiteY2"/>
                  </a:cxn>
                  <a:cxn ang="0">
                    <a:pos x="connsiteX3" y="connsiteY3"/>
                  </a:cxn>
                </a:cxnLst>
                <a:rect l="l" t="t" r="r" b="b"/>
                <a:pathLst>
                  <a:path w="50800" h="54429">
                    <a:moveTo>
                      <a:pt x="0" y="0"/>
                    </a:moveTo>
                    <a:lnTo>
                      <a:pt x="21772" y="54429"/>
                    </a:lnTo>
                    <a:lnTo>
                      <a:pt x="50800" y="21772"/>
                    </a:lnTo>
                    <a:lnTo>
                      <a:pt x="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7" name="Freeform 57">
                <a:extLst>
                  <a:ext uri="{FF2B5EF4-FFF2-40B4-BE49-F238E27FC236}">
                    <a16:creationId xmlns:a16="http://schemas.microsoft.com/office/drawing/2014/main" id="{8FD27A3F-49B8-496D-BA64-03075CA8A756}"/>
                  </a:ext>
                </a:extLst>
              </p:cNvPr>
              <p:cNvSpPr/>
              <p:nvPr/>
            </p:nvSpPr>
            <p:spPr bwMode="auto">
              <a:xfrm>
                <a:off x="5340350" y="2385218"/>
                <a:ext cx="58737" cy="98425"/>
              </a:xfrm>
              <a:custGeom>
                <a:avLst/>
                <a:gdLst>
                  <a:gd name="connsiteX0" fmla="*/ 58057 w 58057"/>
                  <a:gd name="connsiteY0" fmla="*/ 0 h 97971"/>
                  <a:gd name="connsiteX1" fmla="*/ 0 w 58057"/>
                  <a:gd name="connsiteY1" fmla="*/ 7257 h 97971"/>
                  <a:gd name="connsiteX2" fmla="*/ 0 w 58057"/>
                  <a:gd name="connsiteY2" fmla="*/ 65314 h 97971"/>
                  <a:gd name="connsiteX3" fmla="*/ 21772 w 58057"/>
                  <a:gd name="connsiteY3" fmla="*/ 97971 h 97971"/>
                  <a:gd name="connsiteX4" fmla="*/ 47172 w 58057"/>
                  <a:gd name="connsiteY4" fmla="*/ 61686 h 97971"/>
                  <a:gd name="connsiteX5" fmla="*/ 58057 w 58057"/>
                  <a:gd name="connsiteY5" fmla="*/ 0 h 9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057" h="97971">
                    <a:moveTo>
                      <a:pt x="58057" y="0"/>
                    </a:moveTo>
                    <a:lnTo>
                      <a:pt x="0" y="7257"/>
                    </a:lnTo>
                    <a:lnTo>
                      <a:pt x="0" y="65314"/>
                    </a:lnTo>
                    <a:lnTo>
                      <a:pt x="21772" y="97971"/>
                    </a:lnTo>
                    <a:lnTo>
                      <a:pt x="47172" y="61686"/>
                    </a:lnTo>
                    <a:lnTo>
                      <a:pt x="58057"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58">
                <a:extLst>
                  <a:ext uri="{FF2B5EF4-FFF2-40B4-BE49-F238E27FC236}">
                    <a16:creationId xmlns:a16="http://schemas.microsoft.com/office/drawing/2014/main" id="{BA34DFB4-EDC2-4710-9B1A-E942E36086CE}"/>
                  </a:ext>
                </a:extLst>
              </p:cNvPr>
              <p:cNvSpPr/>
              <p:nvPr/>
            </p:nvSpPr>
            <p:spPr bwMode="auto">
              <a:xfrm>
                <a:off x="5405437" y="2461418"/>
                <a:ext cx="30163" cy="65088"/>
              </a:xfrm>
              <a:custGeom>
                <a:avLst/>
                <a:gdLst>
                  <a:gd name="connsiteX0" fmla="*/ 29028 w 29028"/>
                  <a:gd name="connsiteY0" fmla="*/ 0 h 65314"/>
                  <a:gd name="connsiteX1" fmla="*/ 0 w 29028"/>
                  <a:gd name="connsiteY1" fmla="*/ 65314 h 65314"/>
                  <a:gd name="connsiteX2" fmla="*/ 29028 w 29028"/>
                  <a:gd name="connsiteY2" fmla="*/ 58057 h 65314"/>
                  <a:gd name="connsiteX3" fmla="*/ 29028 w 29028"/>
                  <a:gd name="connsiteY3" fmla="*/ 0 h 65314"/>
                </a:gdLst>
                <a:ahLst/>
                <a:cxnLst>
                  <a:cxn ang="0">
                    <a:pos x="connsiteX0" y="connsiteY0"/>
                  </a:cxn>
                  <a:cxn ang="0">
                    <a:pos x="connsiteX1" y="connsiteY1"/>
                  </a:cxn>
                  <a:cxn ang="0">
                    <a:pos x="connsiteX2" y="connsiteY2"/>
                  </a:cxn>
                  <a:cxn ang="0">
                    <a:pos x="connsiteX3" y="connsiteY3"/>
                  </a:cxn>
                </a:cxnLst>
                <a:rect l="l" t="t" r="r" b="b"/>
                <a:pathLst>
                  <a:path w="29028" h="65314">
                    <a:moveTo>
                      <a:pt x="29028" y="0"/>
                    </a:moveTo>
                    <a:lnTo>
                      <a:pt x="0" y="65314"/>
                    </a:lnTo>
                    <a:lnTo>
                      <a:pt x="29028" y="58057"/>
                    </a:lnTo>
                    <a:lnTo>
                      <a:pt x="29028"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9" name="Freeform 59">
                <a:extLst>
                  <a:ext uri="{FF2B5EF4-FFF2-40B4-BE49-F238E27FC236}">
                    <a16:creationId xmlns:a16="http://schemas.microsoft.com/office/drawing/2014/main" id="{9144492F-E562-4BCA-91A5-16BDD4B8518E}"/>
                  </a:ext>
                </a:extLst>
              </p:cNvPr>
              <p:cNvSpPr/>
              <p:nvPr/>
            </p:nvSpPr>
            <p:spPr bwMode="auto">
              <a:xfrm>
                <a:off x="5264150" y="2605881"/>
                <a:ext cx="50800" cy="84137"/>
              </a:xfrm>
              <a:custGeom>
                <a:avLst/>
                <a:gdLst>
                  <a:gd name="connsiteX0" fmla="*/ 50800 w 50800"/>
                  <a:gd name="connsiteY0" fmla="*/ 0 h 83457"/>
                  <a:gd name="connsiteX1" fmla="*/ 0 w 50800"/>
                  <a:gd name="connsiteY1" fmla="*/ 47171 h 83457"/>
                  <a:gd name="connsiteX2" fmla="*/ 7257 w 50800"/>
                  <a:gd name="connsiteY2" fmla="*/ 83457 h 83457"/>
                  <a:gd name="connsiteX3" fmla="*/ 32657 w 50800"/>
                  <a:gd name="connsiteY3" fmla="*/ 54428 h 83457"/>
                  <a:gd name="connsiteX4" fmla="*/ 50800 w 50800"/>
                  <a:gd name="connsiteY4" fmla="*/ 0 h 8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83457">
                    <a:moveTo>
                      <a:pt x="50800" y="0"/>
                    </a:moveTo>
                    <a:lnTo>
                      <a:pt x="0" y="47171"/>
                    </a:lnTo>
                    <a:lnTo>
                      <a:pt x="7257" y="83457"/>
                    </a:lnTo>
                    <a:lnTo>
                      <a:pt x="32657" y="54428"/>
                    </a:lnTo>
                    <a:lnTo>
                      <a:pt x="5080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0" name="Freeform 60">
                <a:extLst>
                  <a:ext uri="{FF2B5EF4-FFF2-40B4-BE49-F238E27FC236}">
                    <a16:creationId xmlns:a16="http://schemas.microsoft.com/office/drawing/2014/main" id="{F67F3B42-835E-4539-BC17-C74270D09D32}"/>
                  </a:ext>
                </a:extLst>
              </p:cNvPr>
              <p:cNvSpPr/>
              <p:nvPr/>
            </p:nvSpPr>
            <p:spPr bwMode="auto">
              <a:xfrm>
                <a:off x="5126037" y="2701131"/>
                <a:ext cx="76200" cy="50800"/>
              </a:xfrm>
              <a:custGeom>
                <a:avLst/>
                <a:gdLst>
                  <a:gd name="connsiteX0" fmla="*/ 76200 w 76200"/>
                  <a:gd name="connsiteY0" fmla="*/ 0 h 50800"/>
                  <a:gd name="connsiteX1" fmla="*/ 0 w 76200"/>
                  <a:gd name="connsiteY1" fmla="*/ 7257 h 50800"/>
                  <a:gd name="connsiteX2" fmla="*/ 25400 w 76200"/>
                  <a:gd name="connsiteY2" fmla="*/ 50800 h 50800"/>
                  <a:gd name="connsiteX3" fmla="*/ 68942 w 76200"/>
                  <a:gd name="connsiteY3" fmla="*/ 50800 h 50800"/>
                  <a:gd name="connsiteX4" fmla="*/ 76200 w 76200"/>
                  <a:gd name="connsiteY4" fmla="*/ 0 h 5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50800">
                    <a:moveTo>
                      <a:pt x="76200" y="0"/>
                    </a:moveTo>
                    <a:lnTo>
                      <a:pt x="0" y="7257"/>
                    </a:lnTo>
                    <a:lnTo>
                      <a:pt x="25400" y="50800"/>
                    </a:lnTo>
                    <a:lnTo>
                      <a:pt x="68942" y="50800"/>
                    </a:lnTo>
                    <a:lnTo>
                      <a:pt x="7620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2" name="Freeform 61">
                <a:extLst>
                  <a:ext uri="{FF2B5EF4-FFF2-40B4-BE49-F238E27FC236}">
                    <a16:creationId xmlns:a16="http://schemas.microsoft.com/office/drawing/2014/main" id="{ADB9BD9C-F04F-418F-9E94-E7EAEFD9F4DA}"/>
                  </a:ext>
                </a:extLst>
              </p:cNvPr>
              <p:cNvSpPr/>
              <p:nvPr/>
            </p:nvSpPr>
            <p:spPr bwMode="auto">
              <a:xfrm>
                <a:off x="5638800" y="3205956"/>
                <a:ext cx="82550" cy="195262"/>
              </a:xfrm>
              <a:custGeom>
                <a:avLst/>
                <a:gdLst>
                  <a:gd name="connsiteX0" fmla="*/ 65314 w 83457"/>
                  <a:gd name="connsiteY0" fmla="*/ 39914 h 195943"/>
                  <a:gd name="connsiteX1" fmla="*/ 18143 w 83457"/>
                  <a:gd name="connsiteY1" fmla="*/ 0 h 195943"/>
                  <a:gd name="connsiteX2" fmla="*/ 0 w 83457"/>
                  <a:gd name="connsiteY2" fmla="*/ 47172 h 195943"/>
                  <a:gd name="connsiteX3" fmla="*/ 0 w 83457"/>
                  <a:gd name="connsiteY3" fmla="*/ 159657 h 195943"/>
                  <a:gd name="connsiteX4" fmla="*/ 43543 w 83457"/>
                  <a:gd name="connsiteY4" fmla="*/ 195943 h 195943"/>
                  <a:gd name="connsiteX5" fmla="*/ 83457 w 83457"/>
                  <a:gd name="connsiteY5" fmla="*/ 174172 h 195943"/>
                  <a:gd name="connsiteX6" fmla="*/ 79829 w 83457"/>
                  <a:gd name="connsiteY6" fmla="*/ 130629 h 195943"/>
                  <a:gd name="connsiteX7" fmla="*/ 65314 w 83457"/>
                  <a:gd name="connsiteY7" fmla="*/ 39914 h 19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57" h="195943">
                    <a:moveTo>
                      <a:pt x="65314" y="39914"/>
                    </a:moveTo>
                    <a:lnTo>
                      <a:pt x="18143" y="0"/>
                    </a:lnTo>
                    <a:lnTo>
                      <a:pt x="0" y="47172"/>
                    </a:lnTo>
                    <a:lnTo>
                      <a:pt x="0" y="159657"/>
                    </a:lnTo>
                    <a:lnTo>
                      <a:pt x="43543" y="195943"/>
                    </a:lnTo>
                    <a:lnTo>
                      <a:pt x="83457" y="174172"/>
                    </a:lnTo>
                    <a:lnTo>
                      <a:pt x="79829" y="130629"/>
                    </a:lnTo>
                    <a:lnTo>
                      <a:pt x="65314" y="39914"/>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3" name="Freeform 62">
                <a:extLst>
                  <a:ext uri="{FF2B5EF4-FFF2-40B4-BE49-F238E27FC236}">
                    <a16:creationId xmlns:a16="http://schemas.microsoft.com/office/drawing/2014/main" id="{F7143D71-F759-43C3-92FD-4BD919D3B793}"/>
                  </a:ext>
                </a:extLst>
              </p:cNvPr>
              <p:cNvSpPr/>
              <p:nvPr/>
            </p:nvSpPr>
            <p:spPr bwMode="auto">
              <a:xfrm>
                <a:off x="5359400" y="2955131"/>
                <a:ext cx="34925" cy="93662"/>
              </a:xfrm>
              <a:custGeom>
                <a:avLst/>
                <a:gdLst>
                  <a:gd name="connsiteX0" fmla="*/ 32657 w 36286"/>
                  <a:gd name="connsiteY0" fmla="*/ 0 h 94343"/>
                  <a:gd name="connsiteX1" fmla="*/ 7257 w 36286"/>
                  <a:gd name="connsiteY1" fmla="*/ 36285 h 94343"/>
                  <a:gd name="connsiteX2" fmla="*/ 0 w 36286"/>
                  <a:gd name="connsiteY2" fmla="*/ 94343 h 94343"/>
                  <a:gd name="connsiteX3" fmla="*/ 36286 w 36286"/>
                  <a:gd name="connsiteY3" fmla="*/ 90714 h 94343"/>
                  <a:gd name="connsiteX4" fmla="*/ 32657 w 36286"/>
                  <a:gd name="connsiteY4" fmla="*/ 0 h 94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86" h="94343">
                    <a:moveTo>
                      <a:pt x="32657" y="0"/>
                    </a:moveTo>
                    <a:lnTo>
                      <a:pt x="7257" y="36285"/>
                    </a:lnTo>
                    <a:lnTo>
                      <a:pt x="0" y="94343"/>
                    </a:lnTo>
                    <a:lnTo>
                      <a:pt x="36286" y="90714"/>
                    </a:lnTo>
                    <a:lnTo>
                      <a:pt x="32657"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4" name="Freeform 63">
                <a:extLst>
                  <a:ext uri="{FF2B5EF4-FFF2-40B4-BE49-F238E27FC236}">
                    <a16:creationId xmlns:a16="http://schemas.microsoft.com/office/drawing/2014/main" id="{CB4423DD-1B8C-4D81-8C4C-5526858175E1}"/>
                  </a:ext>
                </a:extLst>
              </p:cNvPr>
              <p:cNvSpPr/>
              <p:nvPr/>
            </p:nvSpPr>
            <p:spPr bwMode="auto">
              <a:xfrm>
                <a:off x="6784975" y="208756"/>
                <a:ext cx="293687" cy="554037"/>
              </a:xfrm>
              <a:custGeom>
                <a:avLst/>
                <a:gdLst>
                  <a:gd name="connsiteX0" fmla="*/ 177800 w 293914"/>
                  <a:gd name="connsiteY0" fmla="*/ 3629 h 555172"/>
                  <a:gd name="connsiteX1" fmla="*/ 163285 w 293914"/>
                  <a:gd name="connsiteY1" fmla="*/ 90714 h 555172"/>
                  <a:gd name="connsiteX2" fmla="*/ 130628 w 293914"/>
                  <a:gd name="connsiteY2" fmla="*/ 148772 h 555172"/>
                  <a:gd name="connsiteX3" fmla="*/ 127000 w 293914"/>
                  <a:gd name="connsiteY3" fmla="*/ 108857 h 555172"/>
                  <a:gd name="connsiteX4" fmla="*/ 101600 w 293914"/>
                  <a:gd name="connsiteY4" fmla="*/ 54429 h 555172"/>
                  <a:gd name="connsiteX5" fmla="*/ 50800 w 293914"/>
                  <a:gd name="connsiteY5" fmla="*/ 105229 h 555172"/>
                  <a:gd name="connsiteX6" fmla="*/ 36285 w 293914"/>
                  <a:gd name="connsiteY6" fmla="*/ 145143 h 555172"/>
                  <a:gd name="connsiteX7" fmla="*/ 83457 w 293914"/>
                  <a:gd name="connsiteY7" fmla="*/ 166914 h 555172"/>
                  <a:gd name="connsiteX8" fmla="*/ 50800 w 293914"/>
                  <a:gd name="connsiteY8" fmla="*/ 250372 h 555172"/>
                  <a:gd name="connsiteX9" fmla="*/ 21771 w 293914"/>
                  <a:gd name="connsiteY9" fmla="*/ 221343 h 555172"/>
                  <a:gd name="connsiteX10" fmla="*/ 0 w 293914"/>
                  <a:gd name="connsiteY10" fmla="*/ 239486 h 555172"/>
                  <a:gd name="connsiteX11" fmla="*/ 29028 w 293914"/>
                  <a:gd name="connsiteY11" fmla="*/ 286657 h 555172"/>
                  <a:gd name="connsiteX12" fmla="*/ 32657 w 293914"/>
                  <a:gd name="connsiteY12" fmla="*/ 330200 h 555172"/>
                  <a:gd name="connsiteX13" fmla="*/ 79828 w 293914"/>
                  <a:gd name="connsiteY13" fmla="*/ 351972 h 555172"/>
                  <a:gd name="connsiteX14" fmla="*/ 116114 w 293914"/>
                  <a:gd name="connsiteY14" fmla="*/ 315686 h 555172"/>
                  <a:gd name="connsiteX15" fmla="*/ 134257 w 293914"/>
                  <a:gd name="connsiteY15" fmla="*/ 381000 h 555172"/>
                  <a:gd name="connsiteX16" fmla="*/ 101600 w 293914"/>
                  <a:gd name="connsiteY16" fmla="*/ 420914 h 555172"/>
                  <a:gd name="connsiteX17" fmla="*/ 127000 w 293914"/>
                  <a:gd name="connsiteY17" fmla="*/ 486229 h 555172"/>
                  <a:gd name="connsiteX18" fmla="*/ 123371 w 293914"/>
                  <a:gd name="connsiteY18" fmla="*/ 555172 h 555172"/>
                  <a:gd name="connsiteX19" fmla="*/ 170543 w 293914"/>
                  <a:gd name="connsiteY19" fmla="*/ 493486 h 555172"/>
                  <a:gd name="connsiteX20" fmla="*/ 185057 w 293914"/>
                  <a:gd name="connsiteY20" fmla="*/ 388257 h 555172"/>
                  <a:gd name="connsiteX21" fmla="*/ 177800 w 293914"/>
                  <a:gd name="connsiteY21" fmla="*/ 326572 h 555172"/>
                  <a:gd name="connsiteX22" fmla="*/ 203200 w 293914"/>
                  <a:gd name="connsiteY22" fmla="*/ 351972 h 555172"/>
                  <a:gd name="connsiteX23" fmla="*/ 214085 w 293914"/>
                  <a:gd name="connsiteY23" fmla="*/ 370114 h 555172"/>
                  <a:gd name="connsiteX24" fmla="*/ 177800 w 293914"/>
                  <a:gd name="connsiteY24" fmla="*/ 290286 h 555172"/>
                  <a:gd name="connsiteX25" fmla="*/ 206828 w 293914"/>
                  <a:gd name="connsiteY25" fmla="*/ 250372 h 555172"/>
                  <a:gd name="connsiteX26" fmla="*/ 250371 w 293914"/>
                  <a:gd name="connsiteY26" fmla="*/ 214086 h 555172"/>
                  <a:gd name="connsiteX27" fmla="*/ 177800 w 293914"/>
                  <a:gd name="connsiteY27" fmla="*/ 177800 h 555172"/>
                  <a:gd name="connsiteX28" fmla="*/ 232228 w 293914"/>
                  <a:gd name="connsiteY28" fmla="*/ 116114 h 555172"/>
                  <a:gd name="connsiteX29" fmla="*/ 293914 w 293914"/>
                  <a:gd name="connsiteY29" fmla="*/ 76200 h 555172"/>
                  <a:gd name="connsiteX30" fmla="*/ 232228 w 293914"/>
                  <a:gd name="connsiteY30" fmla="*/ 47172 h 555172"/>
                  <a:gd name="connsiteX31" fmla="*/ 243114 w 293914"/>
                  <a:gd name="connsiteY31" fmla="*/ 0 h 555172"/>
                  <a:gd name="connsiteX32" fmla="*/ 177800 w 293914"/>
                  <a:gd name="connsiteY32" fmla="*/ 3629 h 55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14" h="555172">
                    <a:moveTo>
                      <a:pt x="177800" y="3629"/>
                    </a:moveTo>
                    <a:lnTo>
                      <a:pt x="163285" y="90714"/>
                    </a:lnTo>
                    <a:lnTo>
                      <a:pt x="130628" y="148772"/>
                    </a:lnTo>
                    <a:lnTo>
                      <a:pt x="127000" y="108857"/>
                    </a:lnTo>
                    <a:lnTo>
                      <a:pt x="101600" y="54429"/>
                    </a:lnTo>
                    <a:lnTo>
                      <a:pt x="50800" y="105229"/>
                    </a:lnTo>
                    <a:lnTo>
                      <a:pt x="36285" y="145143"/>
                    </a:lnTo>
                    <a:lnTo>
                      <a:pt x="83457" y="166914"/>
                    </a:lnTo>
                    <a:lnTo>
                      <a:pt x="50800" y="250372"/>
                    </a:lnTo>
                    <a:lnTo>
                      <a:pt x="21771" y="221343"/>
                    </a:lnTo>
                    <a:lnTo>
                      <a:pt x="0" y="239486"/>
                    </a:lnTo>
                    <a:lnTo>
                      <a:pt x="29028" y="286657"/>
                    </a:lnTo>
                    <a:lnTo>
                      <a:pt x="32657" y="330200"/>
                    </a:lnTo>
                    <a:lnTo>
                      <a:pt x="79828" y="351972"/>
                    </a:lnTo>
                    <a:lnTo>
                      <a:pt x="116114" y="315686"/>
                    </a:lnTo>
                    <a:lnTo>
                      <a:pt x="134257" y="381000"/>
                    </a:lnTo>
                    <a:lnTo>
                      <a:pt x="101600" y="420914"/>
                    </a:lnTo>
                    <a:lnTo>
                      <a:pt x="127000" y="486229"/>
                    </a:lnTo>
                    <a:lnTo>
                      <a:pt x="123371" y="555172"/>
                    </a:lnTo>
                    <a:lnTo>
                      <a:pt x="170543" y="493486"/>
                    </a:lnTo>
                    <a:lnTo>
                      <a:pt x="185057" y="388257"/>
                    </a:lnTo>
                    <a:lnTo>
                      <a:pt x="177800" y="326572"/>
                    </a:lnTo>
                    <a:cubicBezTo>
                      <a:pt x="197349" y="353940"/>
                      <a:pt x="185538" y="351972"/>
                      <a:pt x="203200" y="351972"/>
                    </a:cubicBezTo>
                    <a:lnTo>
                      <a:pt x="214085" y="370114"/>
                    </a:lnTo>
                    <a:lnTo>
                      <a:pt x="177800" y="290286"/>
                    </a:lnTo>
                    <a:lnTo>
                      <a:pt x="206828" y="250372"/>
                    </a:lnTo>
                    <a:lnTo>
                      <a:pt x="250371" y="214086"/>
                    </a:lnTo>
                    <a:lnTo>
                      <a:pt x="177800" y="177800"/>
                    </a:lnTo>
                    <a:lnTo>
                      <a:pt x="232228" y="116114"/>
                    </a:lnTo>
                    <a:lnTo>
                      <a:pt x="293914" y="76200"/>
                    </a:lnTo>
                    <a:lnTo>
                      <a:pt x="232228" y="47172"/>
                    </a:lnTo>
                    <a:lnTo>
                      <a:pt x="243114" y="0"/>
                    </a:lnTo>
                    <a:lnTo>
                      <a:pt x="177800" y="3629"/>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5" name="Freeform 64">
                <a:extLst>
                  <a:ext uri="{FF2B5EF4-FFF2-40B4-BE49-F238E27FC236}">
                    <a16:creationId xmlns:a16="http://schemas.microsoft.com/office/drawing/2014/main" id="{F7126254-FD46-4829-A92C-A2C244375B8D}"/>
                  </a:ext>
                </a:extLst>
              </p:cNvPr>
              <p:cNvSpPr/>
              <p:nvPr/>
            </p:nvSpPr>
            <p:spPr bwMode="auto">
              <a:xfrm>
                <a:off x="6288087" y="1021556"/>
                <a:ext cx="293688" cy="395287"/>
              </a:xfrm>
              <a:custGeom>
                <a:avLst/>
                <a:gdLst>
                  <a:gd name="connsiteX0" fmla="*/ 203200 w 293915"/>
                  <a:gd name="connsiteY0" fmla="*/ 0 h 395514"/>
                  <a:gd name="connsiteX1" fmla="*/ 116115 w 293915"/>
                  <a:gd name="connsiteY1" fmla="*/ 32657 h 395514"/>
                  <a:gd name="connsiteX2" fmla="*/ 145143 w 293915"/>
                  <a:gd name="connsiteY2" fmla="*/ 79829 h 395514"/>
                  <a:gd name="connsiteX3" fmla="*/ 174172 w 293915"/>
                  <a:gd name="connsiteY3" fmla="*/ 101600 h 395514"/>
                  <a:gd name="connsiteX4" fmla="*/ 148772 w 293915"/>
                  <a:gd name="connsiteY4" fmla="*/ 137886 h 395514"/>
                  <a:gd name="connsiteX5" fmla="*/ 123372 w 293915"/>
                  <a:gd name="connsiteY5" fmla="*/ 112486 h 395514"/>
                  <a:gd name="connsiteX6" fmla="*/ 94343 w 293915"/>
                  <a:gd name="connsiteY6" fmla="*/ 123372 h 395514"/>
                  <a:gd name="connsiteX7" fmla="*/ 97972 w 293915"/>
                  <a:gd name="connsiteY7" fmla="*/ 148772 h 395514"/>
                  <a:gd name="connsiteX8" fmla="*/ 50800 w 293915"/>
                  <a:gd name="connsiteY8" fmla="*/ 130629 h 395514"/>
                  <a:gd name="connsiteX9" fmla="*/ 14515 w 293915"/>
                  <a:gd name="connsiteY9" fmla="*/ 192314 h 395514"/>
                  <a:gd name="connsiteX10" fmla="*/ 21772 w 293915"/>
                  <a:gd name="connsiteY10" fmla="*/ 246743 h 395514"/>
                  <a:gd name="connsiteX11" fmla="*/ 58058 w 293915"/>
                  <a:gd name="connsiteY11" fmla="*/ 283029 h 395514"/>
                  <a:gd name="connsiteX12" fmla="*/ 0 w 293915"/>
                  <a:gd name="connsiteY12" fmla="*/ 286657 h 395514"/>
                  <a:gd name="connsiteX13" fmla="*/ 43543 w 293915"/>
                  <a:gd name="connsiteY13" fmla="*/ 362857 h 395514"/>
                  <a:gd name="connsiteX14" fmla="*/ 90715 w 293915"/>
                  <a:gd name="connsiteY14" fmla="*/ 373743 h 395514"/>
                  <a:gd name="connsiteX15" fmla="*/ 108858 w 293915"/>
                  <a:gd name="connsiteY15" fmla="*/ 337457 h 395514"/>
                  <a:gd name="connsiteX16" fmla="*/ 94343 w 293915"/>
                  <a:gd name="connsiteY16" fmla="*/ 290286 h 395514"/>
                  <a:gd name="connsiteX17" fmla="*/ 134258 w 293915"/>
                  <a:gd name="connsiteY17" fmla="*/ 261257 h 395514"/>
                  <a:gd name="connsiteX18" fmla="*/ 159658 w 293915"/>
                  <a:gd name="connsiteY18" fmla="*/ 304800 h 395514"/>
                  <a:gd name="connsiteX19" fmla="*/ 141515 w 293915"/>
                  <a:gd name="connsiteY19" fmla="*/ 362857 h 395514"/>
                  <a:gd name="connsiteX20" fmla="*/ 137886 w 293915"/>
                  <a:gd name="connsiteY20" fmla="*/ 395514 h 395514"/>
                  <a:gd name="connsiteX21" fmla="*/ 210458 w 293915"/>
                  <a:gd name="connsiteY21" fmla="*/ 290286 h 395514"/>
                  <a:gd name="connsiteX22" fmla="*/ 246743 w 293915"/>
                  <a:gd name="connsiteY22" fmla="*/ 250372 h 395514"/>
                  <a:gd name="connsiteX23" fmla="*/ 134258 w 293915"/>
                  <a:gd name="connsiteY23" fmla="*/ 217714 h 395514"/>
                  <a:gd name="connsiteX24" fmla="*/ 195943 w 293915"/>
                  <a:gd name="connsiteY24" fmla="*/ 224972 h 395514"/>
                  <a:gd name="connsiteX25" fmla="*/ 199572 w 293915"/>
                  <a:gd name="connsiteY25" fmla="*/ 192314 h 395514"/>
                  <a:gd name="connsiteX26" fmla="*/ 170543 w 293915"/>
                  <a:gd name="connsiteY26" fmla="*/ 181429 h 395514"/>
                  <a:gd name="connsiteX27" fmla="*/ 228600 w 293915"/>
                  <a:gd name="connsiteY27" fmla="*/ 97972 h 395514"/>
                  <a:gd name="connsiteX28" fmla="*/ 275772 w 293915"/>
                  <a:gd name="connsiteY28" fmla="*/ 83457 h 395514"/>
                  <a:gd name="connsiteX29" fmla="*/ 293915 w 293915"/>
                  <a:gd name="connsiteY29" fmla="*/ 47172 h 395514"/>
                  <a:gd name="connsiteX30" fmla="*/ 246743 w 293915"/>
                  <a:gd name="connsiteY30" fmla="*/ 47172 h 395514"/>
                  <a:gd name="connsiteX31" fmla="*/ 214086 w 293915"/>
                  <a:gd name="connsiteY31" fmla="*/ 68943 h 395514"/>
                  <a:gd name="connsiteX32" fmla="*/ 170543 w 293915"/>
                  <a:gd name="connsiteY32" fmla="*/ 61686 h 395514"/>
                  <a:gd name="connsiteX33" fmla="*/ 203200 w 293915"/>
                  <a:gd name="connsiteY33" fmla="*/ 0 h 3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93915" h="395514">
                    <a:moveTo>
                      <a:pt x="203200" y="0"/>
                    </a:moveTo>
                    <a:lnTo>
                      <a:pt x="116115" y="32657"/>
                    </a:lnTo>
                    <a:lnTo>
                      <a:pt x="145143" y="79829"/>
                    </a:lnTo>
                    <a:lnTo>
                      <a:pt x="174172" y="101600"/>
                    </a:lnTo>
                    <a:lnTo>
                      <a:pt x="148772" y="137886"/>
                    </a:lnTo>
                    <a:lnTo>
                      <a:pt x="123372" y="112486"/>
                    </a:lnTo>
                    <a:lnTo>
                      <a:pt x="94343" y="123372"/>
                    </a:lnTo>
                    <a:lnTo>
                      <a:pt x="97972" y="148772"/>
                    </a:lnTo>
                    <a:lnTo>
                      <a:pt x="50800" y="130629"/>
                    </a:lnTo>
                    <a:lnTo>
                      <a:pt x="14515" y="192314"/>
                    </a:lnTo>
                    <a:lnTo>
                      <a:pt x="21772" y="246743"/>
                    </a:lnTo>
                    <a:lnTo>
                      <a:pt x="58058" y="283029"/>
                    </a:lnTo>
                    <a:lnTo>
                      <a:pt x="0" y="286657"/>
                    </a:lnTo>
                    <a:lnTo>
                      <a:pt x="43543" y="362857"/>
                    </a:lnTo>
                    <a:lnTo>
                      <a:pt x="90715" y="373743"/>
                    </a:lnTo>
                    <a:lnTo>
                      <a:pt x="108858" y="337457"/>
                    </a:lnTo>
                    <a:lnTo>
                      <a:pt x="94343" y="290286"/>
                    </a:lnTo>
                    <a:lnTo>
                      <a:pt x="134258" y="261257"/>
                    </a:lnTo>
                    <a:lnTo>
                      <a:pt x="159658" y="304800"/>
                    </a:lnTo>
                    <a:lnTo>
                      <a:pt x="141515" y="362857"/>
                    </a:lnTo>
                    <a:lnTo>
                      <a:pt x="137886" y="395514"/>
                    </a:lnTo>
                    <a:lnTo>
                      <a:pt x="210458" y="290286"/>
                    </a:lnTo>
                    <a:lnTo>
                      <a:pt x="246743" y="250372"/>
                    </a:lnTo>
                    <a:lnTo>
                      <a:pt x="134258" y="217714"/>
                    </a:lnTo>
                    <a:lnTo>
                      <a:pt x="195943" y="224972"/>
                    </a:lnTo>
                    <a:lnTo>
                      <a:pt x="199572" y="192314"/>
                    </a:lnTo>
                    <a:lnTo>
                      <a:pt x="170543" y="181429"/>
                    </a:lnTo>
                    <a:lnTo>
                      <a:pt x="228600" y="97972"/>
                    </a:lnTo>
                    <a:lnTo>
                      <a:pt x="275772" y="83457"/>
                    </a:lnTo>
                    <a:lnTo>
                      <a:pt x="293915" y="47172"/>
                    </a:lnTo>
                    <a:lnTo>
                      <a:pt x="246743" y="47172"/>
                    </a:lnTo>
                    <a:lnTo>
                      <a:pt x="214086" y="68943"/>
                    </a:lnTo>
                    <a:lnTo>
                      <a:pt x="170543" y="61686"/>
                    </a:lnTo>
                    <a:lnTo>
                      <a:pt x="203200"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6" name="Freeform 65">
                <a:extLst>
                  <a:ext uri="{FF2B5EF4-FFF2-40B4-BE49-F238E27FC236}">
                    <a16:creationId xmlns:a16="http://schemas.microsoft.com/office/drawing/2014/main" id="{990B3B64-AB83-41AD-92EB-A7BABDB989BB}"/>
                  </a:ext>
                </a:extLst>
              </p:cNvPr>
              <p:cNvSpPr/>
              <p:nvPr/>
            </p:nvSpPr>
            <p:spPr bwMode="auto">
              <a:xfrm>
                <a:off x="6584950" y="991393"/>
                <a:ext cx="53975" cy="61913"/>
              </a:xfrm>
              <a:custGeom>
                <a:avLst/>
                <a:gdLst>
                  <a:gd name="connsiteX0" fmla="*/ 21772 w 54429"/>
                  <a:gd name="connsiteY0" fmla="*/ 0 h 61685"/>
                  <a:gd name="connsiteX1" fmla="*/ 0 w 54429"/>
                  <a:gd name="connsiteY1" fmla="*/ 32657 h 61685"/>
                  <a:gd name="connsiteX2" fmla="*/ 54429 w 54429"/>
                  <a:gd name="connsiteY2" fmla="*/ 61685 h 61685"/>
                  <a:gd name="connsiteX3" fmla="*/ 21772 w 54429"/>
                  <a:gd name="connsiteY3" fmla="*/ 0 h 61685"/>
                </a:gdLst>
                <a:ahLst/>
                <a:cxnLst>
                  <a:cxn ang="0">
                    <a:pos x="connsiteX0" y="connsiteY0"/>
                  </a:cxn>
                  <a:cxn ang="0">
                    <a:pos x="connsiteX1" y="connsiteY1"/>
                  </a:cxn>
                  <a:cxn ang="0">
                    <a:pos x="connsiteX2" y="connsiteY2"/>
                  </a:cxn>
                  <a:cxn ang="0">
                    <a:pos x="connsiteX3" y="connsiteY3"/>
                  </a:cxn>
                </a:cxnLst>
                <a:rect l="l" t="t" r="r" b="b"/>
                <a:pathLst>
                  <a:path w="54429" h="61685">
                    <a:moveTo>
                      <a:pt x="21772" y="0"/>
                    </a:moveTo>
                    <a:lnTo>
                      <a:pt x="0" y="32657"/>
                    </a:lnTo>
                    <a:lnTo>
                      <a:pt x="54429" y="61685"/>
                    </a:lnTo>
                    <a:lnTo>
                      <a:pt x="21772"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7" name="Freeform 66">
                <a:extLst>
                  <a:ext uri="{FF2B5EF4-FFF2-40B4-BE49-F238E27FC236}">
                    <a16:creationId xmlns:a16="http://schemas.microsoft.com/office/drawing/2014/main" id="{619BF596-75DE-435D-9F7C-ACF695BCBF86}"/>
                  </a:ext>
                </a:extLst>
              </p:cNvPr>
              <p:cNvSpPr/>
              <p:nvPr/>
            </p:nvSpPr>
            <p:spPr bwMode="auto">
              <a:xfrm>
                <a:off x="6511925" y="1154906"/>
                <a:ext cx="47625" cy="53975"/>
              </a:xfrm>
              <a:custGeom>
                <a:avLst/>
                <a:gdLst>
                  <a:gd name="connsiteX0" fmla="*/ 39914 w 47171"/>
                  <a:gd name="connsiteY0" fmla="*/ 0 h 54429"/>
                  <a:gd name="connsiteX1" fmla="*/ 0 w 47171"/>
                  <a:gd name="connsiteY1" fmla="*/ 21772 h 54429"/>
                  <a:gd name="connsiteX2" fmla="*/ 7257 w 47171"/>
                  <a:gd name="connsiteY2" fmla="*/ 54429 h 54429"/>
                  <a:gd name="connsiteX3" fmla="*/ 47171 w 47171"/>
                  <a:gd name="connsiteY3" fmla="*/ 54429 h 54429"/>
                  <a:gd name="connsiteX4" fmla="*/ 39914 w 47171"/>
                  <a:gd name="connsiteY4" fmla="*/ 0 h 54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71" h="54429">
                    <a:moveTo>
                      <a:pt x="39914" y="0"/>
                    </a:moveTo>
                    <a:lnTo>
                      <a:pt x="0" y="21772"/>
                    </a:lnTo>
                    <a:lnTo>
                      <a:pt x="7257" y="54429"/>
                    </a:lnTo>
                    <a:lnTo>
                      <a:pt x="47171" y="54429"/>
                    </a:lnTo>
                    <a:lnTo>
                      <a:pt x="39914" y="0"/>
                    </a:lnTo>
                    <a:close/>
                  </a:path>
                </a:pathLst>
              </a:custGeom>
              <a:grpFill/>
              <a:ln w="6350" cap="rnd" cmpd="sng">
                <a:solidFill>
                  <a:srgbClr val="FFFFFF"/>
                </a:solid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ea typeface="+mn-ea"/>
                  <a:cs typeface="Arial" charset="0"/>
                </a:endParaRPr>
              </a:p>
            </p:txBody>
          </p:sp>
        </p:grpSp>
      </p:grpSp>
      <p:sp>
        <p:nvSpPr>
          <p:cNvPr id="4" name="Rectangle 3">
            <a:hlinkClick r:id="rId3" action="ppaction://hlinksldjump"/>
            <a:extLst>
              <a:ext uri="{FF2B5EF4-FFF2-40B4-BE49-F238E27FC236}">
                <a16:creationId xmlns:a16="http://schemas.microsoft.com/office/drawing/2014/main" id="{9A0A7F23-A3DB-4B39-AE8E-972D93A186D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6023250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64D42F-9061-6743-AA23-4E4A735DDC85}"/>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BE5D0EDC-AE4D-564E-99B4-1DA72F0114BB}"/>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3175843782"/>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D66389-0E5D-44AE-89E6-59FAA2198841}"/>
              </a:ext>
            </a:extLst>
          </p:cNvPr>
          <p:cNvGrpSpPr/>
          <p:nvPr/>
        </p:nvGrpSpPr>
        <p:grpSpPr>
          <a:xfrm>
            <a:off x="0" y="1"/>
            <a:ext cx="8911766" cy="6857999"/>
            <a:chOff x="0" y="1"/>
            <a:chExt cx="8911766" cy="6857999"/>
          </a:xfrm>
          <a:solidFill>
            <a:srgbClr val="96968C">
              <a:lumMod val="40000"/>
              <a:lumOff val="60000"/>
            </a:srgbClr>
          </a:solidFill>
        </p:grpSpPr>
        <p:sp>
          <p:nvSpPr>
            <p:cNvPr id="6" name="Oval 1053">
              <a:extLst>
                <a:ext uri="{FF2B5EF4-FFF2-40B4-BE49-F238E27FC236}">
                  <a16:creationId xmlns:a16="http://schemas.microsoft.com/office/drawing/2014/main" id="{946E1A46-3D74-40E6-AD44-CEA35189EA80}"/>
                </a:ext>
              </a:extLst>
            </p:cNvPr>
            <p:cNvSpPr>
              <a:spLocks noChangeArrowheads="1"/>
            </p:cNvSpPr>
            <p:nvPr/>
          </p:nvSpPr>
          <p:spPr bwMode="auto">
            <a:xfrm>
              <a:off x="8839280" y="6147904"/>
              <a:ext cx="1342" cy="13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1054">
              <a:extLst>
                <a:ext uri="{FF2B5EF4-FFF2-40B4-BE49-F238E27FC236}">
                  <a16:creationId xmlns:a16="http://schemas.microsoft.com/office/drawing/2014/main" id="{E70FFF1B-6DBA-43E8-9079-A93DFDD25C12}"/>
                </a:ext>
              </a:extLst>
            </p:cNvPr>
            <p:cNvSpPr>
              <a:spLocks/>
            </p:cNvSpPr>
            <p:nvPr/>
          </p:nvSpPr>
          <p:spPr bwMode="auto">
            <a:xfrm>
              <a:off x="2718230" y="4087417"/>
              <a:ext cx="16108" cy="18793"/>
            </a:xfrm>
            <a:custGeom>
              <a:avLst/>
              <a:gdLst>
                <a:gd name="T0" fmla="*/ 1 w 5"/>
                <a:gd name="T1" fmla="*/ 0 h 6"/>
                <a:gd name="T2" fmla="*/ 0 w 5"/>
                <a:gd name="T3" fmla="*/ 1 h 6"/>
                <a:gd name="T4" fmla="*/ 5 w 5"/>
                <a:gd name="T5" fmla="*/ 6 h 6"/>
                <a:gd name="T6" fmla="*/ 3 w 5"/>
                <a:gd name="T7" fmla="*/ 0 h 6"/>
                <a:gd name="T8" fmla="*/ 2 w 5"/>
                <a:gd name="T9" fmla="*/ 0 h 6"/>
                <a:gd name="T10" fmla="*/ 2 w 5"/>
                <a:gd name="T11" fmla="*/ 0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cubicBezTo>
                    <a:pt x="1" y="0"/>
                    <a:pt x="0" y="0"/>
                    <a:pt x="0" y="1"/>
                  </a:cubicBezTo>
                  <a:cubicBezTo>
                    <a:pt x="0" y="3"/>
                    <a:pt x="4" y="5"/>
                    <a:pt x="5" y="6"/>
                  </a:cubicBezTo>
                  <a:cubicBezTo>
                    <a:pt x="4" y="5"/>
                    <a:pt x="4" y="1"/>
                    <a:pt x="3" y="0"/>
                  </a:cubicBezTo>
                  <a:cubicBezTo>
                    <a:pt x="2" y="0"/>
                    <a:pt x="2" y="0"/>
                    <a:pt x="2" y="0"/>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Oval 1055">
              <a:extLst>
                <a:ext uri="{FF2B5EF4-FFF2-40B4-BE49-F238E27FC236}">
                  <a16:creationId xmlns:a16="http://schemas.microsoft.com/office/drawing/2014/main" id="{6B971E22-4969-4586-BB7D-6673E9C7EDB1}"/>
                </a:ext>
              </a:extLst>
            </p:cNvPr>
            <p:cNvSpPr>
              <a:spLocks noChangeArrowheads="1"/>
            </p:cNvSpPr>
            <p:nvPr/>
          </p:nvSpPr>
          <p:spPr bwMode="auto">
            <a:xfrm>
              <a:off x="6123735" y="5671374"/>
              <a:ext cx="1342" cy="26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1056">
              <a:extLst>
                <a:ext uri="{FF2B5EF4-FFF2-40B4-BE49-F238E27FC236}">
                  <a16:creationId xmlns:a16="http://schemas.microsoft.com/office/drawing/2014/main" id="{4C3052C3-F4F7-4B13-86AD-DD9E3E879CA0}"/>
                </a:ext>
              </a:extLst>
            </p:cNvPr>
            <p:cNvSpPr>
              <a:spLocks/>
            </p:cNvSpPr>
            <p:nvPr/>
          </p:nvSpPr>
          <p:spPr bwMode="auto">
            <a:xfrm>
              <a:off x="732915" y="3970633"/>
              <a:ext cx="21477" cy="21477"/>
            </a:xfrm>
            <a:custGeom>
              <a:avLst/>
              <a:gdLst>
                <a:gd name="T0" fmla="*/ 7 w 7"/>
                <a:gd name="T1" fmla="*/ 0 h 7"/>
                <a:gd name="T2" fmla="*/ 0 w 7"/>
                <a:gd name="T3" fmla="*/ 0 h 7"/>
                <a:gd name="T4" fmla="*/ 0 w 7"/>
                <a:gd name="T5" fmla="*/ 7 h 7"/>
                <a:gd name="T6" fmla="*/ 7 w 7"/>
                <a:gd name="T7" fmla="*/ 0 h 7"/>
              </a:gdLst>
              <a:ahLst/>
              <a:cxnLst>
                <a:cxn ang="0">
                  <a:pos x="T0" y="T1"/>
                </a:cxn>
                <a:cxn ang="0">
                  <a:pos x="T2" y="T3"/>
                </a:cxn>
                <a:cxn ang="0">
                  <a:pos x="T4" y="T5"/>
                </a:cxn>
                <a:cxn ang="0">
                  <a:pos x="T6" y="T7"/>
                </a:cxn>
              </a:cxnLst>
              <a:rect l="0" t="0" r="r" b="b"/>
              <a:pathLst>
                <a:path w="7" h="7">
                  <a:moveTo>
                    <a:pt x="7" y="0"/>
                  </a:moveTo>
                  <a:cubicBezTo>
                    <a:pt x="5" y="0"/>
                    <a:pt x="3" y="0"/>
                    <a:pt x="0" y="0"/>
                  </a:cubicBezTo>
                  <a:cubicBezTo>
                    <a:pt x="0" y="3"/>
                    <a:pt x="0" y="5"/>
                    <a:pt x="0" y="7"/>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1057">
              <a:extLst>
                <a:ext uri="{FF2B5EF4-FFF2-40B4-BE49-F238E27FC236}">
                  <a16:creationId xmlns:a16="http://schemas.microsoft.com/office/drawing/2014/main" id="{5632360F-365B-4103-A704-3B351E7A150B}"/>
                </a:ext>
              </a:extLst>
            </p:cNvPr>
            <p:cNvSpPr>
              <a:spLocks/>
            </p:cNvSpPr>
            <p:nvPr/>
          </p:nvSpPr>
          <p:spPr bwMode="auto">
            <a:xfrm>
              <a:off x="2331637" y="3389401"/>
              <a:ext cx="9396" cy="22820"/>
            </a:xfrm>
            <a:custGeom>
              <a:avLst/>
              <a:gdLst>
                <a:gd name="T0" fmla="*/ 0 w 3"/>
                <a:gd name="T1" fmla="*/ 0 h 7"/>
                <a:gd name="T2" fmla="*/ 2 w 3"/>
                <a:gd name="T3" fmla="*/ 4 h 7"/>
                <a:gd name="T4" fmla="*/ 3 w 3"/>
                <a:gd name="T5" fmla="*/ 7 h 7"/>
                <a:gd name="T6" fmla="*/ 2 w 3"/>
                <a:gd name="T7" fmla="*/ 3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1" y="1"/>
                    <a:pt x="1" y="3"/>
                    <a:pt x="2" y="4"/>
                  </a:cubicBezTo>
                  <a:cubicBezTo>
                    <a:pt x="2" y="5"/>
                    <a:pt x="2" y="6"/>
                    <a:pt x="3" y="7"/>
                  </a:cubicBezTo>
                  <a:cubicBezTo>
                    <a:pt x="3" y="6"/>
                    <a:pt x="2" y="4"/>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1058">
              <a:extLst>
                <a:ext uri="{FF2B5EF4-FFF2-40B4-BE49-F238E27FC236}">
                  <a16:creationId xmlns:a16="http://schemas.microsoft.com/office/drawing/2014/main" id="{4E01AD51-FA43-4A6E-9E7A-C3F691532045}"/>
                </a:ext>
              </a:extLst>
            </p:cNvPr>
            <p:cNvSpPr>
              <a:spLocks/>
            </p:cNvSpPr>
            <p:nvPr/>
          </p:nvSpPr>
          <p:spPr bwMode="auto">
            <a:xfrm>
              <a:off x="1338309" y="4138425"/>
              <a:ext cx="4027"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1059">
              <a:extLst>
                <a:ext uri="{FF2B5EF4-FFF2-40B4-BE49-F238E27FC236}">
                  <a16:creationId xmlns:a16="http://schemas.microsoft.com/office/drawing/2014/main" id="{38EAEF8E-189F-48D3-B0E9-8C5DE6D9FF27}"/>
                </a:ext>
              </a:extLst>
            </p:cNvPr>
            <p:cNvSpPr>
              <a:spLocks/>
            </p:cNvSpPr>
            <p:nvPr/>
          </p:nvSpPr>
          <p:spPr bwMode="auto">
            <a:xfrm>
              <a:off x="1338309" y="4138425"/>
              <a:ext cx="4027"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Oval 1060">
              <a:extLst>
                <a:ext uri="{FF2B5EF4-FFF2-40B4-BE49-F238E27FC236}">
                  <a16:creationId xmlns:a16="http://schemas.microsoft.com/office/drawing/2014/main" id="{36952CC3-E2CB-4622-B4A6-3AA892D4103A}"/>
                </a:ext>
              </a:extLst>
            </p:cNvPr>
            <p:cNvSpPr>
              <a:spLocks noChangeArrowheads="1"/>
            </p:cNvSpPr>
            <p:nvPr/>
          </p:nvSpPr>
          <p:spPr bwMode="auto">
            <a:xfrm>
              <a:off x="6707651" y="4354542"/>
              <a:ext cx="1342" cy="13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Freeform 1061">
              <a:extLst>
                <a:ext uri="{FF2B5EF4-FFF2-40B4-BE49-F238E27FC236}">
                  <a16:creationId xmlns:a16="http://schemas.microsoft.com/office/drawing/2014/main" id="{3E3F11AE-FD8C-4BFB-AB51-07369D15A29F}"/>
                </a:ext>
              </a:extLst>
            </p:cNvPr>
            <p:cNvSpPr>
              <a:spLocks/>
            </p:cNvSpPr>
            <p:nvPr/>
          </p:nvSpPr>
          <p:spPr bwMode="auto">
            <a:xfrm>
              <a:off x="6729129" y="4373334"/>
              <a:ext cx="4027"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0" y="0"/>
                    <a:pt x="0" y="0"/>
                  </a:cubicBezTo>
                  <a:cubicBezTo>
                    <a:pt x="0" y="0"/>
                    <a:pt x="0"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Freeform 1062">
              <a:extLst>
                <a:ext uri="{FF2B5EF4-FFF2-40B4-BE49-F238E27FC236}">
                  <a16:creationId xmlns:a16="http://schemas.microsoft.com/office/drawing/2014/main" id="{E478E881-EE6F-4D5D-924F-6BBA409DF91F}"/>
                </a:ext>
              </a:extLst>
            </p:cNvPr>
            <p:cNvSpPr>
              <a:spLocks/>
            </p:cNvSpPr>
            <p:nvPr/>
          </p:nvSpPr>
          <p:spPr bwMode="auto">
            <a:xfrm>
              <a:off x="8906397" y="6204282"/>
              <a:ext cx="5369" cy="6712"/>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Freeform 1063">
              <a:extLst>
                <a:ext uri="{FF2B5EF4-FFF2-40B4-BE49-F238E27FC236}">
                  <a16:creationId xmlns:a16="http://schemas.microsoft.com/office/drawing/2014/main" id="{0486FE36-BAC1-41D6-B111-7AA0F3C7C731}"/>
                </a:ext>
              </a:extLst>
            </p:cNvPr>
            <p:cNvSpPr>
              <a:spLocks/>
            </p:cNvSpPr>
            <p:nvPr/>
          </p:nvSpPr>
          <p:spPr bwMode="auto">
            <a:xfrm>
              <a:off x="8827199" y="6169381"/>
              <a:ext cx="18793" cy="18793"/>
            </a:xfrm>
            <a:custGeom>
              <a:avLst/>
              <a:gdLst>
                <a:gd name="T0" fmla="*/ 5 w 6"/>
                <a:gd name="T1" fmla="*/ 0 h 6"/>
                <a:gd name="T2" fmla="*/ 3 w 6"/>
                <a:gd name="T3" fmla="*/ 1 h 6"/>
                <a:gd name="T4" fmla="*/ 2 w 6"/>
                <a:gd name="T5" fmla="*/ 3 h 6"/>
                <a:gd name="T6" fmla="*/ 2 w 6"/>
                <a:gd name="T7" fmla="*/ 2 h 6"/>
                <a:gd name="T8" fmla="*/ 0 w 6"/>
                <a:gd name="T9" fmla="*/ 6 h 6"/>
                <a:gd name="T10" fmla="*/ 1 w 6"/>
                <a:gd name="T11" fmla="*/ 6 h 6"/>
                <a:gd name="T12" fmla="*/ 2 w 6"/>
                <a:gd name="T13" fmla="*/ 6 h 6"/>
                <a:gd name="T14" fmla="*/ 2 w 6"/>
                <a:gd name="T15" fmla="*/ 6 h 6"/>
                <a:gd name="T16" fmla="*/ 6 w 6"/>
                <a:gd name="T17" fmla="*/ 1 h 6"/>
                <a:gd name="T18" fmla="*/ 5 w 6"/>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5" y="0"/>
                  </a:moveTo>
                  <a:cubicBezTo>
                    <a:pt x="4" y="0"/>
                    <a:pt x="4" y="1"/>
                    <a:pt x="3" y="1"/>
                  </a:cubicBezTo>
                  <a:cubicBezTo>
                    <a:pt x="3" y="1"/>
                    <a:pt x="2" y="2"/>
                    <a:pt x="2" y="3"/>
                  </a:cubicBezTo>
                  <a:cubicBezTo>
                    <a:pt x="2" y="2"/>
                    <a:pt x="2" y="2"/>
                    <a:pt x="2" y="2"/>
                  </a:cubicBezTo>
                  <a:cubicBezTo>
                    <a:pt x="1" y="3"/>
                    <a:pt x="0" y="4"/>
                    <a:pt x="0" y="6"/>
                  </a:cubicBezTo>
                  <a:cubicBezTo>
                    <a:pt x="0" y="6"/>
                    <a:pt x="1" y="6"/>
                    <a:pt x="1" y="6"/>
                  </a:cubicBezTo>
                  <a:cubicBezTo>
                    <a:pt x="2" y="6"/>
                    <a:pt x="2" y="6"/>
                    <a:pt x="2" y="6"/>
                  </a:cubicBezTo>
                  <a:cubicBezTo>
                    <a:pt x="2" y="6"/>
                    <a:pt x="2" y="6"/>
                    <a:pt x="2" y="6"/>
                  </a:cubicBezTo>
                  <a:cubicBezTo>
                    <a:pt x="3" y="5"/>
                    <a:pt x="6" y="2"/>
                    <a:pt x="6" y="1"/>
                  </a:cubicBezTo>
                  <a:cubicBezTo>
                    <a:pt x="6" y="1"/>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Freeform 1064">
              <a:extLst>
                <a:ext uri="{FF2B5EF4-FFF2-40B4-BE49-F238E27FC236}">
                  <a16:creationId xmlns:a16="http://schemas.microsoft.com/office/drawing/2014/main" id="{9BC951F9-A206-4757-A3B6-BF683E9DD0B8}"/>
                </a:ext>
              </a:extLst>
            </p:cNvPr>
            <p:cNvSpPr>
              <a:spLocks/>
            </p:cNvSpPr>
            <p:nvPr/>
          </p:nvSpPr>
          <p:spPr bwMode="auto">
            <a:xfrm>
              <a:off x="7776150" y="5708960"/>
              <a:ext cx="22820" cy="13423"/>
            </a:xfrm>
            <a:custGeom>
              <a:avLst/>
              <a:gdLst>
                <a:gd name="T0" fmla="*/ 3 w 7"/>
                <a:gd name="T1" fmla="*/ 0 h 4"/>
                <a:gd name="T2" fmla="*/ 3 w 7"/>
                <a:gd name="T3" fmla="*/ 0 h 4"/>
                <a:gd name="T4" fmla="*/ 0 w 7"/>
                <a:gd name="T5" fmla="*/ 4 h 4"/>
                <a:gd name="T6" fmla="*/ 3 w 7"/>
                <a:gd name="T7" fmla="*/ 2 h 4"/>
                <a:gd name="T8" fmla="*/ 4 w 7"/>
                <a:gd name="T9" fmla="*/ 3 h 4"/>
                <a:gd name="T10" fmla="*/ 4 w 7"/>
                <a:gd name="T11" fmla="*/ 2 h 4"/>
                <a:gd name="T12" fmla="*/ 5 w 7"/>
                <a:gd name="T13" fmla="*/ 3 h 4"/>
                <a:gd name="T14" fmla="*/ 7 w 7"/>
                <a:gd name="T15" fmla="*/ 2 h 4"/>
                <a:gd name="T16" fmla="*/ 7 w 7"/>
                <a:gd name="T17" fmla="*/ 0 h 4"/>
                <a:gd name="T18" fmla="*/ 3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3" y="0"/>
                  </a:moveTo>
                  <a:cubicBezTo>
                    <a:pt x="3" y="0"/>
                    <a:pt x="3" y="0"/>
                    <a:pt x="3" y="0"/>
                  </a:cubicBezTo>
                  <a:cubicBezTo>
                    <a:pt x="1" y="0"/>
                    <a:pt x="1" y="1"/>
                    <a:pt x="0" y="4"/>
                  </a:cubicBezTo>
                  <a:cubicBezTo>
                    <a:pt x="2" y="4"/>
                    <a:pt x="2" y="2"/>
                    <a:pt x="3" y="2"/>
                  </a:cubicBezTo>
                  <a:cubicBezTo>
                    <a:pt x="3" y="2"/>
                    <a:pt x="3" y="2"/>
                    <a:pt x="4" y="3"/>
                  </a:cubicBezTo>
                  <a:cubicBezTo>
                    <a:pt x="4" y="2"/>
                    <a:pt x="4" y="2"/>
                    <a:pt x="4" y="2"/>
                  </a:cubicBezTo>
                  <a:cubicBezTo>
                    <a:pt x="4" y="2"/>
                    <a:pt x="5" y="3"/>
                    <a:pt x="5" y="3"/>
                  </a:cubicBezTo>
                  <a:cubicBezTo>
                    <a:pt x="6" y="3"/>
                    <a:pt x="6" y="2"/>
                    <a:pt x="7" y="2"/>
                  </a:cubicBezTo>
                  <a:cubicBezTo>
                    <a:pt x="7" y="1"/>
                    <a:pt x="7" y="1"/>
                    <a:pt x="7"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1065">
              <a:extLst>
                <a:ext uri="{FF2B5EF4-FFF2-40B4-BE49-F238E27FC236}">
                  <a16:creationId xmlns:a16="http://schemas.microsoft.com/office/drawing/2014/main" id="{51B8C7C3-B286-4F15-B600-10AAACFCEAFE}"/>
                </a:ext>
              </a:extLst>
            </p:cNvPr>
            <p:cNvSpPr>
              <a:spLocks/>
            </p:cNvSpPr>
            <p:nvPr/>
          </p:nvSpPr>
          <p:spPr bwMode="auto">
            <a:xfrm>
              <a:off x="7849979" y="5778761"/>
              <a:ext cx="12081" cy="10739"/>
            </a:xfrm>
            <a:custGeom>
              <a:avLst/>
              <a:gdLst>
                <a:gd name="T0" fmla="*/ 1 w 4"/>
                <a:gd name="T1" fmla="*/ 0 h 3"/>
                <a:gd name="T2" fmla="*/ 0 w 4"/>
                <a:gd name="T3" fmla="*/ 0 h 3"/>
                <a:gd name="T4" fmla="*/ 0 w 4"/>
                <a:gd name="T5" fmla="*/ 0 h 3"/>
                <a:gd name="T6" fmla="*/ 0 w 4"/>
                <a:gd name="T7" fmla="*/ 0 h 3"/>
                <a:gd name="T8" fmla="*/ 1 w 4"/>
                <a:gd name="T9" fmla="*/ 3 h 3"/>
                <a:gd name="T10" fmla="*/ 2 w 4"/>
                <a:gd name="T11" fmla="*/ 3 h 3"/>
                <a:gd name="T12" fmla="*/ 4 w 4"/>
                <a:gd name="T13" fmla="*/ 3 h 3"/>
                <a:gd name="T14" fmla="*/ 1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1" y="0"/>
                  </a:moveTo>
                  <a:cubicBezTo>
                    <a:pt x="1" y="0"/>
                    <a:pt x="1" y="0"/>
                    <a:pt x="0" y="0"/>
                  </a:cubicBezTo>
                  <a:cubicBezTo>
                    <a:pt x="0" y="0"/>
                    <a:pt x="0" y="0"/>
                    <a:pt x="0" y="0"/>
                  </a:cubicBezTo>
                  <a:cubicBezTo>
                    <a:pt x="0" y="0"/>
                    <a:pt x="0" y="0"/>
                    <a:pt x="0" y="0"/>
                  </a:cubicBezTo>
                  <a:cubicBezTo>
                    <a:pt x="0" y="1"/>
                    <a:pt x="1" y="2"/>
                    <a:pt x="1" y="3"/>
                  </a:cubicBezTo>
                  <a:cubicBezTo>
                    <a:pt x="1" y="3"/>
                    <a:pt x="2" y="3"/>
                    <a:pt x="2" y="3"/>
                  </a:cubicBezTo>
                  <a:cubicBezTo>
                    <a:pt x="3" y="3"/>
                    <a:pt x="3" y="3"/>
                    <a:pt x="4"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Freeform 1086">
              <a:extLst>
                <a:ext uri="{FF2B5EF4-FFF2-40B4-BE49-F238E27FC236}">
                  <a16:creationId xmlns:a16="http://schemas.microsoft.com/office/drawing/2014/main" id="{CAAB5193-4B06-420F-8D13-71E3967F6128}"/>
                </a:ext>
              </a:extLst>
            </p:cNvPr>
            <p:cNvSpPr>
              <a:spLocks/>
            </p:cNvSpPr>
            <p:nvPr/>
          </p:nvSpPr>
          <p:spPr bwMode="auto">
            <a:xfrm>
              <a:off x="3134354" y="4805567"/>
              <a:ext cx="22820" cy="5369"/>
            </a:xfrm>
            <a:custGeom>
              <a:avLst/>
              <a:gdLst>
                <a:gd name="T0" fmla="*/ 5 w 7"/>
                <a:gd name="T1" fmla="*/ 0 h 2"/>
                <a:gd name="T2" fmla="*/ 0 w 7"/>
                <a:gd name="T3" fmla="*/ 2 h 2"/>
                <a:gd name="T4" fmla="*/ 7 w 7"/>
                <a:gd name="T5" fmla="*/ 1 h 2"/>
                <a:gd name="T6" fmla="*/ 5 w 7"/>
                <a:gd name="T7" fmla="*/ 0 h 2"/>
              </a:gdLst>
              <a:ahLst/>
              <a:cxnLst>
                <a:cxn ang="0">
                  <a:pos x="T0" y="T1"/>
                </a:cxn>
                <a:cxn ang="0">
                  <a:pos x="T2" y="T3"/>
                </a:cxn>
                <a:cxn ang="0">
                  <a:pos x="T4" y="T5"/>
                </a:cxn>
                <a:cxn ang="0">
                  <a:pos x="T6" y="T7"/>
                </a:cxn>
              </a:cxnLst>
              <a:rect l="0" t="0" r="r" b="b"/>
              <a:pathLst>
                <a:path w="7" h="2">
                  <a:moveTo>
                    <a:pt x="5" y="0"/>
                  </a:moveTo>
                  <a:cubicBezTo>
                    <a:pt x="4" y="0"/>
                    <a:pt x="0" y="0"/>
                    <a:pt x="0" y="2"/>
                  </a:cubicBezTo>
                  <a:cubicBezTo>
                    <a:pt x="2" y="2"/>
                    <a:pt x="5" y="1"/>
                    <a:pt x="7"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Freeform 1087">
              <a:extLst>
                <a:ext uri="{FF2B5EF4-FFF2-40B4-BE49-F238E27FC236}">
                  <a16:creationId xmlns:a16="http://schemas.microsoft.com/office/drawing/2014/main" id="{9827D95A-5FED-4110-8B92-13F2177663A0}"/>
                </a:ext>
              </a:extLst>
            </p:cNvPr>
            <p:cNvSpPr>
              <a:spLocks noEditPoints="1"/>
            </p:cNvSpPr>
            <p:nvPr/>
          </p:nvSpPr>
          <p:spPr bwMode="auto">
            <a:xfrm>
              <a:off x="4635085" y="4147822"/>
              <a:ext cx="63090" cy="44297"/>
            </a:xfrm>
            <a:custGeom>
              <a:avLst/>
              <a:gdLst>
                <a:gd name="T0" fmla="*/ 1 w 20"/>
                <a:gd name="T1" fmla="*/ 10 h 14"/>
                <a:gd name="T2" fmla="*/ 1 w 20"/>
                <a:gd name="T3" fmla="*/ 10 h 14"/>
                <a:gd name="T4" fmla="*/ 1 w 20"/>
                <a:gd name="T5" fmla="*/ 10 h 14"/>
                <a:gd name="T6" fmla="*/ 12 w 20"/>
                <a:gd name="T7" fmla="*/ 0 h 14"/>
                <a:gd name="T8" fmla="*/ 7 w 20"/>
                <a:gd name="T9" fmla="*/ 4 h 14"/>
                <a:gd name="T10" fmla="*/ 1 w 20"/>
                <a:gd name="T11" fmla="*/ 10 h 14"/>
                <a:gd name="T12" fmla="*/ 1 w 20"/>
                <a:gd name="T13" fmla="*/ 10 h 14"/>
                <a:gd name="T14" fmla="*/ 1 w 20"/>
                <a:gd name="T15" fmla="*/ 11 h 14"/>
                <a:gd name="T16" fmla="*/ 2 w 20"/>
                <a:gd name="T17" fmla="*/ 12 h 14"/>
                <a:gd name="T18" fmla="*/ 2 w 20"/>
                <a:gd name="T19" fmla="*/ 12 h 14"/>
                <a:gd name="T20" fmla="*/ 7 w 20"/>
                <a:gd name="T21" fmla="*/ 14 h 14"/>
                <a:gd name="T22" fmla="*/ 18 w 20"/>
                <a:gd name="T23" fmla="*/ 10 h 14"/>
                <a:gd name="T24" fmla="*/ 19 w 20"/>
                <a:gd name="T25" fmla="*/ 8 h 14"/>
                <a:gd name="T26" fmla="*/ 18 w 20"/>
                <a:gd name="T27" fmla="*/ 8 h 14"/>
                <a:gd name="T28" fmla="*/ 19 w 20"/>
                <a:gd name="T29" fmla="*/ 7 h 14"/>
                <a:gd name="T30" fmla="*/ 18 w 20"/>
                <a:gd name="T31" fmla="*/ 3 h 14"/>
                <a:gd name="T32" fmla="*/ 12 w 20"/>
                <a:gd name="T33" fmla="*/ 0 h 14"/>
                <a:gd name="T34" fmla="*/ 12 w 2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4">
                  <a:moveTo>
                    <a:pt x="1" y="10"/>
                  </a:moveTo>
                  <a:cubicBezTo>
                    <a:pt x="1" y="10"/>
                    <a:pt x="1" y="10"/>
                    <a:pt x="1" y="10"/>
                  </a:cubicBezTo>
                  <a:cubicBezTo>
                    <a:pt x="1" y="10"/>
                    <a:pt x="1" y="10"/>
                    <a:pt x="1" y="10"/>
                  </a:cubicBezTo>
                  <a:moveTo>
                    <a:pt x="12" y="0"/>
                  </a:moveTo>
                  <a:cubicBezTo>
                    <a:pt x="9" y="0"/>
                    <a:pt x="8" y="2"/>
                    <a:pt x="7" y="4"/>
                  </a:cubicBezTo>
                  <a:cubicBezTo>
                    <a:pt x="5" y="6"/>
                    <a:pt x="0" y="6"/>
                    <a:pt x="1" y="10"/>
                  </a:cubicBezTo>
                  <a:cubicBezTo>
                    <a:pt x="1" y="10"/>
                    <a:pt x="1" y="10"/>
                    <a:pt x="1" y="10"/>
                  </a:cubicBezTo>
                  <a:cubicBezTo>
                    <a:pt x="1" y="10"/>
                    <a:pt x="1" y="10"/>
                    <a:pt x="1" y="11"/>
                  </a:cubicBezTo>
                  <a:cubicBezTo>
                    <a:pt x="2" y="11"/>
                    <a:pt x="2" y="12"/>
                    <a:pt x="2" y="12"/>
                  </a:cubicBezTo>
                  <a:cubicBezTo>
                    <a:pt x="2" y="12"/>
                    <a:pt x="2" y="12"/>
                    <a:pt x="2" y="12"/>
                  </a:cubicBezTo>
                  <a:cubicBezTo>
                    <a:pt x="3" y="13"/>
                    <a:pt x="5" y="14"/>
                    <a:pt x="7" y="14"/>
                  </a:cubicBezTo>
                  <a:cubicBezTo>
                    <a:pt x="10" y="13"/>
                    <a:pt x="16" y="12"/>
                    <a:pt x="18" y="10"/>
                  </a:cubicBezTo>
                  <a:cubicBezTo>
                    <a:pt x="20" y="9"/>
                    <a:pt x="19" y="10"/>
                    <a:pt x="19" y="8"/>
                  </a:cubicBezTo>
                  <a:cubicBezTo>
                    <a:pt x="18" y="8"/>
                    <a:pt x="18" y="8"/>
                    <a:pt x="18" y="8"/>
                  </a:cubicBezTo>
                  <a:cubicBezTo>
                    <a:pt x="19" y="7"/>
                    <a:pt x="19" y="7"/>
                    <a:pt x="19" y="7"/>
                  </a:cubicBezTo>
                  <a:cubicBezTo>
                    <a:pt x="19" y="5"/>
                    <a:pt x="19" y="4"/>
                    <a:pt x="18" y="3"/>
                  </a:cubicBezTo>
                  <a:cubicBezTo>
                    <a:pt x="18" y="2"/>
                    <a:pt x="14"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 name="Freeform 1088">
              <a:extLst>
                <a:ext uri="{FF2B5EF4-FFF2-40B4-BE49-F238E27FC236}">
                  <a16:creationId xmlns:a16="http://schemas.microsoft.com/office/drawing/2014/main" id="{450035FA-27A0-4CF5-B78B-C9D9A9AB9EB7}"/>
                </a:ext>
              </a:extLst>
            </p:cNvPr>
            <p:cNvSpPr>
              <a:spLocks/>
            </p:cNvSpPr>
            <p:nvPr/>
          </p:nvSpPr>
          <p:spPr bwMode="auto">
            <a:xfrm>
              <a:off x="4672670" y="3963922"/>
              <a:ext cx="104702" cy="114099"/>
            </a:xfrm>
            <a:custGeom>
              <a:avLst/>
              <a:gdLst>
                <a:gd name="T0" fmla="*/ 18 w 33"/>
                <a:gd name="T1" fmla="*/ 0 h 36"/>
                <a:gd name="T2" fmla="*/ 14 w 33"/>
                <a:gd name="T3" fmla="*/ 1 h 36"/>
                <a:gd name="T4" fmla="*/ 0 w 33"/>
                <a:gd name="T5" fmla="*/ 1 h 36"/>
                <a:gd name="T6" fmla="*/ 8 w 33"/>
                <a:gd name="T7" fmla="*/ 12 h 36"/>
                <a:gd name="T8" fmla="*/ 18 w 33"/>
                <a:gd name="T9" fmla="*/ 21 h 36"/>
                <a:gd name="T10" fmla="*/ 17 w 33"/>
                <a:gd name="T11" fmla="*/ 23 h 36"/>
                <a:gd name="T12" fmla="*/ 18 w 33"/>
                <a:gd name="T13" fmla="*/ 30 h 36"/>
                <a:gd name="T14" fmla="*/ 22 w 33"/>
                <a:gd name="T15" fmla="*/ 36 h 36"/>
                <a:gd name="T16" fmla="*/ 23 w 33"/>
                <a:gd name="T17" fmla="*/ 36 h 36"/>
                <a:gd name="T18" fmla="*/ 24 w 33"/>
                <a:gd name="T19" fmla="*/ 36 h 36"/>
                <a:gd name="T20" fmla="*/ 25 w 33"/>
                <a:gd name="T21" fmla="*/ 35 h 36"/>
                <a:gd name="T22" fmla="*/ 25 w 33"/>
                <a:gd name="T23" fmla="*/ 35 h 36"/>
                <a:gd name="T24" fmla="*/ 29 w 33"/>
                <a:gd name="T25" fmla="*/ 36 h 36"/>
                <a:gd name="T26" fmla="*/ 30 w 33"/>
                <a:gd name="T27" fmla="*/ 35 h 36"/>
                <a:gd name="T28" fmla="*/ 30 w 33"/>
                <a:gd name="T29" fmla="*/ 35 h 36"/>
                <a:gd name="T30" fmla="*/ 31 w 33"/>
                <a:gd name="T31" fmla="*/ 35 h 36"/>
                <a:gd name="T32" fmla="*/ 32 w 33"/>
                <a:gd name="T33" fmla="*/ 35 h 36"/>
                <a:gd name="T34" fmla="*/ 30 w 33"/>
                <a:gd name="T35" fmla="*/ 34 h 36"/>
                <a:gd name="T36" fmla="*/ 32 w 33"/>
                <a:gd name="T37" fmla="*/ 30 h 36"/>
                <a:gd name="T38" fmla="*/ 30 w 33"/>
                <a:gd name="T39" fmla="*/ 20 h 36"/>
                <a:gd name="T40" fmla="*/ 29 w 33"/>
                <a:gd name="T41" fmla="*/ 10 h 36"/>
                <a:gd name="T42" fmla="*/ 29 w 33"/>
                <a:gd name="T43" fmla="*/ 10 h 36"/>
                <a:gd name="T44" fmla="*/ 26 w 33"/>
                <a:gd name="T45" fmla="*/ 8 h 36"/>
                <a:gd name="T46" fmla="*/ 24 w 33"/>
                <a:gd name="T47" fmla="*/ 5 h 36"/>
                <a:gd name="T48" fmla="*/ 25 w 33"/>
                <a:gd name="T49" fmla="*/ 5 h 36"/>
                <a:gd name="T50" fmla="*/ 21 w 33"/>
                <a:gd name="T51" fmla="*/ 1 h 36"/>
                <a:gd name="T52" fmla="*/ 18 w 33"/>
                <a:gd name="T5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36">
                  <a:moveTo>
                    <a:pt x="18" y="0"/>
                  </a:moveTo>
                  <a:cubicBezTo>
                    <a:pt x="16" y="0"/>
                    <a:pt x="15" y="1"/>
                    <a:pt x="14" y="1"/>
                  </a:cubicBezTo>
                  <a:cubicBezTo>
                    <a:pt x="9" y="1"/>
                    <a:pt x="4" y="1"/>
                    <a:pt x="0" y="1"/>
                  </a:cubicBezTo>
                  <a:cubicBezTo>
                    <a:pt x="2" y="7"/>
                    <a:pt x="3" y="8"/>
                    <a:pt x="8" y="12"/>
                  </a:cubicBezTo>
                  <a:cubicBezTo>
                    <a:pt x="11" y="15"/>
                    <a:pt x="16" y="18"/>
                    <a:pt x="18" y="21"/>
                  </a:cubicBezTo>
                  <a:cubicBezTo>
                    <a:pt x="17" y="21"/>
                    <a:pt x="17" y="22"/>
                    <a:pt x="17" y="23"/>
                  </a:cubicBezTo>
                  <a:cubicBezTo>
                    <a:pt x="17" y="26"/>
                    <a:pt x="16" y="28"/>
                    <a:pt x="18" y="30"/>
                  </a:cubicBezTo>
                  <a:cubicBezTo>
                    <a:pt x="19" y="32"/>
                    <a:pt x="21" y="34"/>
                    <a:pt x="22" y="36"/>
                  </a:cubicBezTo>
                  <a:cubicBezTo>
                    <a:pt x="22" y="36"/>
                    <a:pt x="23" y="36"/>
                    <a:pt x="23" y="36"/>
                  </a:cubicBezTo>
                  <a:cubicBezTo>
                    <a:pt x="23" y="36"/>
                    <a:pt x="24" y="36"/>
                    <a:pt x="24" y="36"/>
                  </a:cubicBezTo>
                  <a:cubicBezTo>
                    <a:pt x="24" y="36"/>
                    <a:pt x="24" y="35"/>
                    <a:pt x="25" y="35"/>
                  </a:cubicBezTo>
                  <a:cubicBezTo>
                    <a:pt x="25" y="35"/>
                    <a:pt x="25" y="35"/>
                    <a:pt x="25" y="35"/>
                  </a:cubicBezTo>
                  <a:cubicBezTo>
                    <a:pt x="26" y="36"/>
                    <a:pt x="29" y="36"/>
                    <a:pt x="29" y="36"/>
                  </a:cubicBezTo>
                  <a:cubicBezTo>
                    <a:pt x="29" y="35"/>
                    <a:pt x="29" y="35"/>
                    <a:pt x="30" y="35"/>
                  </a:cubicBezTo>
                  <a:cubicBezTo>
                    <a:pt x="30" y="35"/>
                    <a:pt x="30" y="35"/>
                    <a:pt x="30" y="35"/>
                  </a:cubicBezTo>
                  <a:cubicBezTo>
                    <a:pt x="31" y="35"/>
                    <a:pt x="31" y="35"/>
                    <a:pt x="31" y="35"/>
                  </a:cubicBezTo>
                  <a:cubicBezTo>
                    <a:pt x="32" y="35"/>
                    <a:pt x="32" y="35"/>
                    <a:pt x="32" y="35"/>
                  </a:cubicBezTo>
                  <a:cubicBezTo>
                    <a:pt x="31" y="35"/>
                    <a:pt x="31" y="34"/>
                    <a:pt x="30" y="34"/>
                  </a:cubicBezTo>
                  <a:cubicBezTo>
                    <a:pt x="30" y="33"/>
                    <a:pt x="32" y="31"/>
                    <a:pt x="32" y="30"/>
                  </a:cubicBezTo>
                  <a:cubicBezTo>
                    <a:pt x="33" y="28"/>
                    <a:pt x="31" y="22"/>
                    <a:pt x="30" y="20"/>
                  </a:cubicBezTo>
                  <a:cubicBezTo>
                    <a:pt x="30" y="18"/>
                    <a:pt x="28" y="11"/>
                    <a:pt x="29" y="10"/>
                  </a:cubicBezTo>
                  <a:cubicBezTo>
                    <a:pt x="29" y="10"/>
                    <a:pt x="29" y="10"/>
                    <a:pt x="29" y="10"/>
                  </a:cubicBezTo>
                  <a:cubicBezTo>
                    <a:pt x="28" y="9"/>
                    <a:pt x="27" y="9"/>
                    <a:pt x="26" y="8"/>
                  </a:cubicBezTo>
                  <a:cubicBezTo>
                    <a:pt x="23" y="7"/>
                    <a:pt x="25" y="8"/>
                    <a:pt x="24" y="5"/>
                  </a:cubicBezTo>
                  <a:cubicBezTo>
                    <a:pt x="24" y="5"/>
                    <a:pt x="25" y="5"/>
                    <a:pt x="25" y="5"/>
                  </a:cubicBezTo>
                  <a:cubicBezTo>
                    <a:pt x="24" y="4"/>
                    <a:pt x="23" y="2"/>
                    <a:pt x="21" y="1"/>
                  </a:cubicBezTo>
                  <a:cubicBezTo>
                    <a:pt x="20" y="1"/>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Freeform 1089">
              <a:extLst>
                <a:ext uri="{FF2B5EF4-FFF2-40B4-BE49-F238E27FC236}">
                  <a16:creationId xmlns:a16="http://schemas.microsoft.com/office/drawing/2014/main" id="{F6295572-20DF-4351-A7DC-5076A4109BA3}"/>
                </a:ext>
              </a:extLst>
            </p:cNvPr>
            <p:cNvSpPr>
              <a:spLocks/>
            </p:cNvSpPr>
            <p:nvPr/>
          </p:nvSpPr>
          <p:spPr bwMode="auto">
            <a:xfrm>
              <a:off x="4672670" y="4047147"/>
              <a:ext cx="73828" cy="110072"/>
            </a:xfrm>
            <a:custGeom>
              <a:avLst/>
              <a:gdLst>
                <a:gd name="T0" fmla="*/ 0 w 23"/>
                <a:gd name="T1" fmla="*/ 0 h 35"/>
                <a:gd name="T2" fmla="*/ 3 w 23"/>
                <a:gd name="T3" fmla="*/ 6 h 35"/>
                <a:gd name="T4" fmla="*/ 3 w 23"/>
                <a:gd name="T5" fmla="*/ 11 h 35"/>
                <a:gd name="T6" fmla="*/ 3 w 23"/>
                <a:gd name="T7" fmla="*/ 14 h 35"/>
                <a:gd name="T8" fmla="*/ 4 w 23"/>
                <a:gd name="T9" fmla="*/ 13 h 35"/>
                <a:gd name="T10" fmla="*/ 4 w 23"/>
                <a:gd name="T11" fmla="*/ 15 h 35"/>
                <a:gd name="T12" fmla="*/ 6 w 23"/>
                <a:gd name="T13" fmla="*/ 14 h 35"/>
                <a:gd name="T14" fmla="*/ 8 w 23"/>
                <a:gd name="T15" fmla="*/ 12 h 35"/>
                <a:gd name="T16" fmla="*/ 8 w 23"/>
                <a:gd name="T17" fmla="*/ 12 h 35"/>
                <a:gd name="T18" fmla="*/ 11 w 23"/>
                <a:gd name="T19" fmla="*/ 32 h 35"/>
                <a:gd name="T20" fmla="*/ 18 w 23"/>
                <a:gd name="T21" fmla="*/ 35 h 35"/>
                <a:gd name="T22" fmla="*/ 17 w 23"/>
                <a:gd name="T23" fmla="*/ 27 h 35"/>
                <a:gd name="T24" fmla="*/ 20 w 23"/>
                <a:gd name="T25" fmla="*/ 32 h 35"/>
                <a:gd name="T26" fmla="*/ 23 w 23"/>
                <a:gd name="T27" fmla="*/ 28 h 35"/>
                <a:gd name="T28" fmla="*/ 21 w 23"/>
                <a:gd name="T29" fmla="*/ 21 h 35"/>
                <a:gd name="T30" fmla="*/ 17 w 23"/>
                <a:gd name="T31" fmla="*/ 3 h 35"/>
                <a:gd name="T32" fmla="*/ 9 w 23"/>
                <a:gd name="T33" fmla="*/ 5 h 35"/>
                <a:gd name="T34" fmla="*/ 7 w 23"/>
                <a:gd name="T35" fmla="*/ 4 h 35"/>
                <a:gd name="T36" fmla="*/ 0 w 23"/>
                <a:gd name="T3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5">
                  <a:moveTo>
                    <a:pt x="0" y="0"/>
                  </a:moveTo>
                  <a:cubicBezTo>
                    <a:pt x="1" y="2"/>
                    <a:pt x="2" y="4"/>
                    <a:pt x="3" y="6"/>
                  </a:cubicBezTo>
                  <a:cubicBezTo>
                    <a:pt x="3" y="7"/>
                    <a:pt x="3" y="9"/>
                    <a:pt x="3" y="11"/>
                  </a:cubicBezTo>
                  <a:cubicBezTo>
                    <a:pt x="2" y="12"/>
                    <a:pt x="2" y="14"/>
                    <a:pt x="3" y="14"/>
                  </a:cubicBezTo>
                  <a:cubicBezTo>
                    <a:pt x="3" y="14"/>
                    <a:pt x="3" y="14"/>
                    <a:pt x="4" y="13"/>
                  </a:cubicBezTo>
                  <a:cubicBezTo>
                    <a:pt x="4" y="15"/>
                    <a:pt x="4" y="15"/>
                    <a:pt x="4" y="15"/>
                  </a:cubicBezTo>
                  <a:cubicBezTo>
                    <a:pt x="5" y="15"/>
                    <a:pt x="5" y="14"/>
                    <a:pt x="6" y="14"/>
                  </a:cubicBezTo>
                  <a:cubicBezTo>
                    <a:pt x="7" y="13"/>
                    <a:pt x="7" y="12"/>
                    <a:pt x="8" y="12"/>
                  </a:cubicBezTo>
                  <a:cubicBezTo>
                    <a:pt x="8" y="12"/>
                    <a:pt x="8" y="12"/>
                    <a:pt x="8" y="12"/>
                  </a:cubicBezTo>
                  <a:cubicBezTo>
                    <a:pt x="14" y="13"/>
                    <a:pt x="11" y="29"/>
                    <a:pt x="11" y="32"/>
                  </a:cubicBezTo>
                  <a:cubicBezTo>
                    <a:pt x="13" y="33"/>
                    <a:pt x="16" y="34"/>
                    <a:pt x="18" y="35"/>
                  </a:cubicBezTo>
                  <a:cubicBezTo>
                    <a:pt x="18" y="32"/>
                    <a:pt x="16" y="30"/>
                    <a:pt x="17" y="27"/>
                  </a:cubicBezTo>
                  <a:cubicBezTo>
                    <a:pt x="18" y="29"/>
                    <a:pt x="19" y="30"/>
                    <a:pt x="20" y="32"/>
                  </a:cubicBezTo>
                  <a:cubicBezTo>
                    <a:pt x="22" y="31"/>
                    <a:pt x="23" y="30"/>
                    <a:pt x="23" y="28"/>
                  </a:cubicBezTo>
                  <a:cubicBezTo>
                    <a:pt x="23" y="26"/>
                    <a:pt x="21" y="22"/>
                    <a:pt x="21" y="21"/>
                  </a:cubicBezTo>
                  <a:cubicBezTo>
                    <a:pt x="16" y="16"/>
                    <a:pt x="17" y="10"/>
                    <a:pt x="17" y="3"/>
                  </a:cubicBezTo>
                  <a:cubicBezTo>
                    <a:pt x="14" y="4"/>
                    <a:pt x="12" y="5"/>
                    <a:pt x="9" y="5"/>
                  </a:cubicBezTo>
                  <a:cubicBezTo>
                    <a:pt x="8" y="5"/>
                    <a:pt x="7" y="5"/>
                    <a:pt x="7" y="4"/>
                  </a:cubicBezTo>
                  <a:cubicBezTo>
                    <a:pt x="5"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 name="Freeform 1090">
              <a:extLst>
                <a:ext uri="{FF2B5EF4-FFF2-40B4-BE49-F238E27FC236}">
                  <a16:creationId xmlns:a16="http://schemas.microsoft.com/office/drawing/2014/main" id="{220A548A-3323-4851-9AE2-2A6A989728D8}"/>
                </a:ext>
              </a:extLst>
            </p:cNvPr>
            <p:cNvSpPr>
              <a:spLocks/>
            </p:cNvSpPr>
            <p:nvPr/>
          </p:nvSpPr>
          <p:spPr bwMode="auto">
            <a:xfrm>
              <a:off x="4323663" y="3507527"/>
              <a:ext cx="343638" cy="459079"/>
            </a:xfrm>
            <a:custGeom>
              <a:avLst/>
              <a:gdLst>
                <a:gd name="T0" fmla="*/ 28 w 108"/>
                <a:gd name="T1" fmla="*/ 1 h 145"/>
                <a:gd name="T2" fmla="*/ 26 w 108"/>
                <a:gd name="T3" fmla="*/ 1 h 145"/>
                <a:gd name="T4" fmla="*/ 24 w 108"/>
                <a:gd name="T5" fmla="*/ 1 h 145"/>
                <a:gd name="T6" fmla="*/ 22 w 108"/>
                <a:gd name="T7" fmla="*/ 8 h 145"/>
                <a:gd name="T8" fmla="*/ 19 w 108"/>
                <a:gd name="T9" fmla="*/ 38 h 145"/>
                <a:gd name="T10" fmla="*/ 18 w 108"/>
                <a:gd name="T11" fmla="*/ 60 h 145"/>
                <a:gd name="T12" fmla="*/ 14 w 108"/>
                <a:gd name="T13" fmla="*/ 61 h 145"/>
                <a:gd name="T14" fmla="*/ 7 w 108"/>
                <a:gd name="T15" fmla="*/ 53 h 145"/>
                <a:gd name="T16" fmla="*/ 8 w 108"/>
                <a:gd name="T17" fmla="*/ 70 h 145"/>
                <a:gd name="T18" fmla="*/ 13 w 108"/>
                <a:gd name="T19" fmla="*/ 92 h 145"/>
                <a:gd name="T20" fmla="*/ 18 w 108"/>
                <a:gd name="T21" fmla="*/ 96 h 145"/>
                <a:gd name="T22" fmla="*/ 20 w 108"/>
                <a:gd name="T23" fmla="*/ 100 h 145"/>
                <a:gd name="T24" fmla="*/ 22 w 108"/>
                <a:gd name="T25" fmla="*/ 91 h 145"/>
                <a:gd name="T26" fmla="*/ 33 w 108"/>
                <a:gd name="T27" fmla="*/ 90 h 145"/>
                <a:gd name="T28" fmla="*/ 33 w 108"/>
                <a:gd name="T29" fmla="*/ 103 h 145"/>
                <a:gd name="T30" fmla="*/ 23 w 108"/>
                <a:gd name="T31" fmla="*/ 106 h 145"/>
                <a:gd name="T32" fmla="*/ 27 w 108"/>
                <a:gd name="T33" fmla="*/ 113 h 145"/>
                <a:gd name="T34" fmla="*/ 30 w 108"/>
                <a:gd name="T35" fmla="*/ 118 h 145"/>
                <a:gd name="T36" fmla="*/ 39 w 108"/>
                <a:gd name="T37" fmla="*/ 120 h 145"/>
                <a:gd name="T38" fmla="*/ 45 w 108"/>
                <a:gd name="T39" fmla="*/ 114 h 145"/>
                <a:gd name="T40" fmla="*/ 55 w 108"/>
                <a:gd name="T41" fmla="*/ 114 h 145"/>
                <a:gd name="T42" fmla="*/ 64 w 108"/>
                <a:gd name="T43" fmla="*/ 121 h 145"/>
                <a:gd name="T44" fmla="*/ 64 w 108"/>
                <a:gd name="T45" fmla="*/ 121 h 145"/>
                <a:gd name="T46" fmla="*/ 68 w 108"/>
                <a:gd name="T47" fmla="*/ 118 h 145"/>
                <a:gd name="T48" fmla="*/ 68 w 108"/>
                <a:gd name="T49" fmla="*/ 112 h 145"/>
                <a:gd name="T50" fmla="*/ 85 w 108"/>
                <a:gd name="T51" fmla="*/ 126 h 145"/>
                <a:gd name="T52" fmla="*/ 93 w 108"/>
                <a:gd name="T53" fmla="*/ 135 h 145"/>
                <a:gd name="T54" fmla="*/ 101 w 108"/>
                <a:gd name="T55" fmla="*/ 136 h 145"/>
                <a:gd name="T56" fmla="*/ 102 w 108"/>
                <a:gd name="T57" fmla="*/ 135 h 145"/>
                <a:gd name="T58" fmla="*/ 104 w 108"/>
                <a:gd name="T59" fmla="*/ 135 h 145"/>
                <a:gd name="T60" fmla="*/ 102 w 108"/>
                <a:gd name="T61" fmla="*/ 138 h 145"/>
                <a:gd name="T62" fmla="*/ 101 w 108"/>
                <a:gd name="T63" fmla="*/ 138 h 145"/>
                <a:gd name="T64" fmla="*/ 100 w 108"/>
                <a:gd name="T65" fmla="*/ 138 h 145"/>
                <a:gd name="T66" fmla="*/ 108 w 108"/>
                <a:gd name="T67" fmla="*/ 133 h 145"/>
                <a:gd name="T68" fmla="*/ 102 w 108"/>
                <a:gd name="T69" fmla="*/ 132 h 145"/>
                <a:gd name="T70" fmla="*/ 100 w 108"/>
                <a:gd name="T71" fmla="*/ 129 h 145"/>
                <a:gd name="T72" fmla="*/ 94 w 108"/>
                <a:gd name="T73" fmla="*/ 117 h 145"/>
                <a:gd name="T74" fmla="*/ 97 w 108"/>
                <a:gd name="T75" fmla="*/ 118 h 145"/>
                <a:gd name="T76" fmla="*/ 100 w 108"/>
                <a:gd name="T77" fmla="*/ 117 h 145"/>
                <a:gd name="T78" fmla="*/ 103 w 108"/>
                <a:gd name="T79" fmla="*/ 117 h 145"/>
                <a:gd name="T80" fmla="*/ 88 w 108"/>
                <a:gd name="T81" fmla="*/ 108 h 145"/>
                <a:gd name="T82" fmla="*/ 88 w 108"/>
                <a:gd name="T83" fmla="*/ 114 h 145"/>
                <a:gd name="T84" fmla="*/ 81 w 108"/>
                <a:gd name="T85" fmla="*/ 109 h 145"/>
                <a:gd name="T86" fmla="*/ 70 w 108"/>
                <a:gd name="T87" fmla="*/ 102 h 145"/>
                <a:gd name="T88" fmla="*/ 62 w 108"/>
                <a:gd name="T89" fmla="*/ 111 h 145"/>
                <a:gd name="T90" fmla="*/ 62 w 108"/>
                <a:gd name="T91" fmla="*/ 113 h 145"/>
                <a:gd name="T92" fmla="*/ 51 w 108"/>
                <a:gd name="T93" fmla="*/ 103 h 145"/>
                <a:gd name="T94" fmla="*/ 46 w 108"/>
                <a:gd name="T95" fmla="*/ 87 h 145"/>
                <a:gd name="T96" fmla="*/ 48 w 108"/>
                <a:gd name="T97" fmla="*/ 69 h 145"/>
                <a:gd name="T98" fmla="*/ 47 w 108"/>
                <a:gd name="T99" fmla="*/ 68 h 145"/>
                <a:gd name="T100" fmla="*/ 46 w 108"/>
                <a:gd name="T101" fmla="*/ 68 h 145"/>
                <a:gd name="T102" fmla="*/ 58 w 108"/>
                <a:gd name="T103" fmla="*/ 61 h 145"/>
                <a:gd name="T104" fmla="*/ 68 w 108"/>
                <a:gd name="T105" fmla="*/ 38 h 145"/>
                <a:gd name="T106" fmla="*/ 61 w 108"/>
                <a:gd name="T107" fmla="*/ 25 h 145"/>
                <a:gd name="T108" fmla="*/ 62 w 108"/>
                <a:gd name="T109" fmla="*/ 2 h 145"/>
                <a:gd name="T110" fmla="*/ 55 w 108"/>
                <a:gd name="T111" fmla="*/ 7 h 145"/>
                <a:gd name="T112" fmla="*/ 52 w 108"/>
                <a:gd name="T113" fmla="*/ 7 h 145"/>
                <a:gd name="T114" fmla="*/ 33 w 108"/>
                <a:gd name="T11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5">
                  <a:moveTo>
                    <a:pt x="33" y="0"/>
                  </a:moveTo>
                  <a:cubicBezTo>
                    <a:pt x="31" y="0"/>
                    <a:pt x="29" y="0"/>
                    <a:pt x="28" y="1"/>
                  </a:cubicBezTo>
                  <a:cubicBezTo>
                    <a:pt x="27" y="1"/>
                    <a:pt x="27" y="1"/>
                    <a:pt x="27" y="1"/>
                  </a:cubicBezTo>
                  <a:cubicBezTo>
                    <a:pt x="27" y="1"/>
                    <a:pt x="26" y="1"/>
                    <a:pt x="26" y="1"/>
                  </a:cubicBezTo>
                  <a:cubicBezTo>
                    <a:pt x="26" y="1"/>
                    <a:pt x="25" y="1"/>
                    <a:pt x="25" y="1"/>
                  </a:cubicBezTo>
                  <a:cubicBezTo>
                    <a:pt x="25" y="1"/>
                    <a:pt x="25" y="1"/>
                    <a:pt x="24" y="1"/>
                  </a:cubicBezTo>
                  <a:cubicBezTo>
                    <a:pt x="24" y="1"/>
                    <a:pt x="23" y="1"/>
                    <a:pt x="23" y="2"/>
                  </a:cubicBezTo>
                  <a:cubicBezTo>
                    <a:pt x="22" y="3"/>
                    <a:pt x="22" y="6"/>
                    <a:pt x="22" y="8"/>
                  </a:cubicBezTo>
                  <a:cubicBezTo>
                    <a:pt x="21" y="10"/>
                    <a:pt x="20" y="14"/>
                    <a:pt x="20" y="17"/>
                  </a:cubicBezTo>
                  <a:cubicBezTo>
                    <a:pt x="20" y="24"/>
                    <a:pt x="19" y="31"/>
                    <a:pt x="19" y="38"/>
                  </a:cubicBezTo>
                  <a:cubicBezTo>
                    <a:pt x="19" y="41"/>
                    <a:pt x="18" y="47"/>
                    <a:pt x="16" y="47"/>
                  </a:cubicBezTo>
                  <a:cubicBezTo>
                    <a:pt x="17" y="51"/>
                    <a:pt x="21" y="57"/>
                    <a:pt x="18" y="60"/>
                  </a:cubicBezTo>
                  <a:cubicBezTo>
                    <a:pt x="18" y="61"/>
                    <a:pt x="16" y="62"/>
                    <a:pt x="15" y="62"/>
                  </a:cubicBezTo>
                  <a:cubicBezTo>
                    <a:pt x="15" y="62"/>
                    <a:pt x="15" y="61"/>
                    <a:pt x="14" y="61"/>
                  </a:cubicBezTo>
                  <a:cubicBezTo>
                    <a:pt x="12" y="60"/>
                    <a:pt x="7" y="57"/>
                    <a:pt x="8" y="55"/>
                  </a:cubicBezTo>
                  <a:cubicBezTo>
                    <a:pt x="8" y="53"/>
                    <a:pt x="8" y="53"/>
                    <a:pt x="7" y="53"/>
                  </a:cubicBezTo>
                  <a:cubicBezTo>
                    <a:pt x="7" y="53"/>
                    <a:pt x="7" y="53"/>
                    <a:pt x="6" y="53"/>
                  </a:cubicBezTo>
                  <a:cubicBezTo>
                    <a:pt x="0" y="54"/>
                    <a:pt x="7" y="68"/>
                    <a:pt x="8" y="70"/>
                  </a:cubicBezTo>
                  <a:cubicBezTo>
                    <a:pt x="9" y="77"/>
                    <a:pt x="10" y="85"/>
                    <a:pt x="11" y="91"/>
                  </a:cubicBezTo>
                  <a:cubicBezTo>
                    <a:pt x="12" y="92"/>
                    <a:pt x="12" y="92"/>
                    <a:pt x="13" y="92"/>
                  </a:cubicBezTo>
                  <a:cubicBezTo>
                    <a:pt x="14" y="92"/>
                    <a:pt x="15" y="91"/>
                    <a:pt x="16" y="91"/>
                  </a:cubicBezTo>
                  <a:cubicBezTo>
                    <a:pt x="14" y="95"/>
                    <a:pt x="17" y="94"/>
                    <a:pt x="18" y="96"/>
                  </a:cubicBezTo>
                  <a:cubicBezTo>
                    <a:pt x="19" y="97"/>
                    <a:pt x="18" y="98"/>
                    <a:pt x="18" y="98"/>
                  </a:cubicBezTo>
                  <a:cubicBezTo>
                    <a:pt x="19" y="99"/>
                    <a:pt x="19" y="100"/>
                    <a:pt x="20" y="100"/>
                  </a:cubicBezTo>
                  <a:cubicBezTo>
                    <a:pt x="20" y="100"/>
                    <a:pt x="21" y="100"/>
                    <a:pt x="21" y="100"/>
                  </a:cubicBezTo>
                  <a:cubicBezTo>
                    <a:pt x="24" y="100"/>
                    <a:pt x="23" y="93"/>
                    <a:pt x="22" y="91"/>
                  </a:cubicBezTo>
                  <a:cubicBezTo>
                    <a:pt x="24" y="92"/>
                    <a:pt x="26" y="92"/>
                    <a:pt x="28" y="93"/>
                  </a:cubicBezTo>
                  <a:cubicBezTo>
                    <a:pt x="29" y="91"/>
                    <a:pt x="31" y="90"/>
                    <a:pt x="33" y="90"/>
                  </a:cubicBezTo>
                  <a:cubicBezTo>
                    <a:pt x="37" y="90"/>
                    <a:pt x="39" y="93"/>
                    <a:pt x="39" y="96"/>
                  </a:cubicBezTo>
                  <a:cubicBezTo>
                    <a:pt x="39" y="100"/>
                    <a:pt x="37" y="103"/>
                    <a:pt x="33" y="103"/>
                  </a:cubicBezTo>
                  <a:cubicBezTo>
                    <a:pt x="31" y="103"/>
                    <a:pt x="30" y="102"/>
                    <a:pt x="29" y="101"/>
                  </a:cubicBezTo>
                  <a:cubicBezTo>
                    <a:pt x="27" y="103"/>
                    <a:pt x="23" y="104"/>
                    <a:pt x="23" y="106"/>
                  </a:cubicBezTo>
                  <a:cubicBezTo>
                    <a:pt x="24" y="109"/>
                    <a:pt x="24" y="113"/>
                    <a:pt x="25" y="116"/>
                  </a:cubicBezTo>
                  <a:cubicBezTo>
                    <a:pt x="26" y="114"/>
                    <a:pt x="26" y="113"/>
                    <a:pt x="27" y="113"/>
                  </a:cubicBezTo>
                  <a:cubicBezTo>
                    <a:pt x="28" y="113"/>
                    <a:pt x="29" y="113"/>
                    <a:pt x="31" y="115"/>
                  </a:cubicBezTo>
                  <a:cubicBezTo>
                    <a:pt x="32" y="116"/>
                    <a:pt x="30" y="117"/>
                    <a:pt x="30" y="118"/>
                  </a:cubicBezTo>
                  <a:cubicBezTo>
                    <a:pt x="31" y="118"/>
                    <a:pt x="34" y="120"/>
                    <a:pt x="36" y="120"/>
                  </a:cubicBezTo>
                  <a:cubicBezTo>
                    <a:pt x="36" y="120"/>
                    <a:pt x="38" y="120"/>
                    <a:pt x="39" y="120"/>
                  </a:cubicBezTo>
                  <a:cubicBezTo>
                    <a:pt x="39" y="120"/>
                    <a:pt x="39" y="120"/>
                    <a:pt x="40" y="120"/>
                  </a:cubicBezTo>
                  <a:cubicBezTo>
                    <a:pt x="42" y="119"/>
                    <a:pt x="43" y="116"/>
                    <a:pt x="45" y="114"/>
                  </a:cubicBezTo>
                  <a:cubicBezTo>
                    <a:pt x="47" y="113"/>
                    <a:pt x="49" y="112"/>
                    <a:pt x="50" y="112"/>
                  </a:cubicBezTo>
                  <a:cubicBezTo>
                    <a:pt x="51" y="112"/>
                    <a:pt x="52" y="113"/>
                    <a:pt x="55" y="114"/>
                  </a:cubicBezTo>
                  <a:cubicBezTo>
                    <a:pt x="56" y="115"/>
                    <a:pt x="58" y="115"/>
                    <a:pt x="59" y="116"/>
                  </a:cubicBezTo>
                  <a:cubicBezTo>
                    <a:pt x="61" y="118"/>
                    <a:pt x="61" y="121"/>
                    <a:pt x="64" y="121"/>
                  </a:cubicBezTo>
                  <a:cubicBezTo>
                    <a:pt x="64" y="121"/>
                    <a:pt x="64" y="121"/>
                    <a:pt x="64" y="121"/>
                  </a:cubicBezTo>
                  <a:cubicBezTo>
                    <a:pt x="64" y="121"/>
                    <a:pt x="64" y="121"/>
                    <a:pt x="64" y="121"/>
                  </a:cubicBezTo>
                  <a:cubicBezTo>
                    <a:pt x="68" y="121"/>
                    <a:pt x="68" y="129"/>
                    <a:pt x="71" y="131"/>
                  </a:cubicBezTo>
                  <a:cubicBezTo>
                    <a:pt x="70" y="126"/>
                    <a:pt x="69" y="122"/>
                    <a:pt x="68" y="118"/>
                  </a:cubicBezTo>
                  <a:cubicBezTo>
                    <a:pt x="68" y="116"/>
                    <a:pt x="68" y="114"/>
                    <a:pt x="67" y="112"/>
                  </a:cubicBezTo>
                  <a:cubicBezTo>
                    <a:pt x="67" y="112"/>
                    <a:pt x="68" y="112"/>
                    <a:pt x="68" y="112"/>
                  </a:cubicBezTo>
                  <a:cubicBezTo>
                    <a:pt x="70" y="112"/>
                    <a:pt x="71" y="113"/>
                    <a:pt x="73" y="115"/>
                  </a:cubicBezTo>
                  <a:cubicBezTo>
                    <a:pt x="77" y="119"/>
                    <a:pt x="81" y="122"/>
                    <a:pt x="85" y="126"/>
                  </a:cubicBezTo>
                  <a:cubicBezTo>
                    <a:pt x="87" y="128"/>
                    <a:pt x="87" y="129"/>
                    <a:pt x="87" y="133"/>
                  </a:cubicBezTo>
                  <a:cubicBezTo>
                    <a:pt x="87" y="134"/>
                    <a:pt x="91" y="135"/>
                    <a:pt x="93" y="135"/>
                  </a:cubicBezTo>
                  <a:cubicBezTo>
                    <a:pt x="95" y="136"/>
                    <a:pt x="97" y="137"/>
                    <a:pt x="98" y="137"/>
                  </a:cubicBezTo>
                  <a:cubicBezTo>
                    <a:pt x="99" y="137"/>
                    <a:pt x="100" y="137"/>
                    <a:pt x="101" y="136"/>
                  </a:cubicBezTo>
                  <a:cubicBezTo>
                    <a:pt x="101" y="136"/>
                    <a:pt x="101" y="135"/>
                    <a:pt x="101" y="135"/>
                  </a:cubicBezTo>
                  <a:cubicBezTo>
                    <a:pt x="102" y="135"/>
                    <a:pt x="102" y="135"/>
                    <a:pt x="102" y="135"/>
                  </a:cubicBezTo>
                  <a:cubicBezTo>
                    <a:pt x="102" y="135"/>
                    <a:pt x="102" y="135"/>
                    <a:pt x="103" y="135"/>
                  </a:cubicBezTo>
                  <a:cubicBezTo>
                    <a:pt x="103" y="135"/>
                    <a:pt x="103" y="135"/>
                    <a:pt x="104" y="135"/>
                  </a:cubicBezTo>
                  <a:cubicBezTo>
                    <a:pt x="104" y="135"/>
                    <a:pt x="104" y="135"/>
                    <a:pt x="104" y="135"/>
                  </a:cubicBezTo>
                  <a:cubicBezTo>
                    <a:pt x="103" y="136"/>
                    <a:pt x="103" y="137"/>
                    <a:pt x="102" y="138"/>
                  </a:cubicBezTo>
                  <a:cubicBezTo>
                    <a:pt x="102" y="138"/>
                    <a:pt x="102" y="138"/>
                    <a:pt x="102" y="138"/>
                  </a:cubicBezTo>
                  <a:cubicBezTo>
                    <a:pt x="101" y="138"/>
                    <a:pt x="101" y="138"/>
                    <a:pt x="101" y="138"/>
                  </a:cubicBezTo>
                  <a:cubicBezTo>
                    <a:pt x="101" y="138"/>
                    <a:pt x="101" y="138"/>
                    <a:pt x="101" y="138"/>
                  </a:cubicBezTo>
                  <a:cubicBezTo>
                    <a:pt x="100" y="138"/>
                    <a:pt x="100" y="138"/>
                    <a:pt x="100" y="138"/>
                  </a:cubicBezTo>
                  <a:cubicBezTo>
                    <a:pt x="99" y="141"/>
                    <a:pt x="104" y="144"/>
                    <a:pt x="106" y="145"/>
                  </a:cubicBezTo>
                  <a:cubicBezTo>
                    <a:pt x="106" y="144"/>
                    <a:pt x="108" y="133"/>
                    <a:pt x="108" y="133"/>
                  </a:cubicBezTo>
                  <a:cubicBezTo>
                    <a:pt x="107" y="133"/>
                    <a:pt x="104" y="132"/>
                    <a:pt x="103" y="132"/>
                  </a:cubicBezTo>
                  <a:cubicBezTo>
                    <a:pt x="102" y="132"/>
                    <a:pt x="102" y="132"/>
                    <a:pt x="102" y="132"/>
                  </a:cubicBezTo>
                  <a:cubicBezTo>
                    <a:pt x="99" y="133"/>
                    <a:pt x="99" y="133"/>
                    <a:pt x="99" y="133"/>
                  </a:cubicBezTo>
                  <a:cubicBezTo>
                    <a:pt x="97" y="133"/>
                    <a:pt x="99" y="129"/>
                    <a:pt x="100" y="129"/>
                  </a:cubicBezTo>
                  <a:cubicBezTo>
                    <a:pt x="100" y="129"/>
                    <a:pt x="100" y="129"/>
                    <a:pt x="101" y="129"/>
                  </a:cubicBezTo>
                  <a:cubicBezTo>
                    <a:pt x="99" y="127"/>
                    <a:pt x="91" y="120"/>
                    <a:pt x="94" y="117"/>
                  </a:cubicBezTo>
                  <a:cubicBezTo>
                    <a:pt x="94" y="117"/>
                    <a:pt x="94" y="117"/>
                    <a:pt x="95" y="117"/>
                  </a:cubicBezTo>
                  <a:cubicBezTo>
                    <a:pt x="95" y="117"/>
                    <a:pt x="96" y="117"/>
                    <a:pt x="97" y="118"/>
                  </a:cubicBezTo>
                  <a:cubicBezTo>
                    <a:pt x="97" y="118"/>
                    <a:pt x="97" y="118"/>
                    <a:pt x="98" y="118"/>
                  </a:cubicBezTo>
                  <a:cubicBezTo>
                    <a:pt x="98" y="118"/>
                    <a:pt x="99" y="117"/>
                    <a:pt x="100" y="117"/>
                  </a:cubicBezTo>
                  <a:cubicBezTo>
                    <a:pt x="101" y="117"/>
                    <a:pt x="101" y="117"/>
                    <a:pt x="102" y="117"/>
                  </a:cubicBezTo>
                  <a:cubicBezTo>
                    <a:pt x="102" y="117"/>
                    <a:pt x="103" y="117"/>
                    <a:pt x="103" y="117"/>
                  </a:cubicBezTo>
                  <a:cubicBezTo>
                    <a:pt x="102" y="112"/>
                    <a:pt x="91" y="112"/>
                    <a:pt x="88" y="110"/>
                  </a:cubicBezTo>
                  <a:cubicBezTo>
                    <a:pt x="89" y="109"/>
                    <a:pt x="88" y="109"/>
                    <a:pt x="88" y="108"/>
                  </a:cubicBezTo>
                  <a:cubicBezTo>
                    <a:pt x="88" y="110"/>
                    <a:pt x="88" y="111"/>
                    <a:pt x="88" y="112"/>
                  </a:cubicBezTo>
                  <a:cubicBezTo>
                    <a:pt x="88" y="114"/>
                    <a:pt x="88" y="114"/>
                    <a:pt x="88" y="114"/>
                  </a:cubicBezTo>
                  <a:cubicBezTo>
                    <a:pt x="87" y="116"/>
                    <a:pt x="84" y="117"/>
                    <a:pt x="83" y="118"/>
                  </a:cubicBezTo>
                  <a:cubicBezTo>
                    <a:pt x="81" y="115"/>
                    <a:pt x="83" y="112"/>
                    <a:pt x="81" y="109"/>
                  </a:cubicBezTo>
                  <a:cubicBezTo>
                    <a:pt x="81" y="109"/>
                    <a:pt x="79" y="106"/>
                    <a:pt x="78" y="105"/>
                  </a:cubicBezTo>
                  <a:cubicBezTo>
                    <a:pt x="76" y="104"/>
                    <a:pt x="73" y="102"/>
                    <a:pt x="70" y="102"/>
                  </a:cubicBezTo>
                  <a:cubicBezTo>
                    <a:pt x="69" y="102"/>
                    <a:pt x="69" y="102"/>
                    <a:pt x="68" y="102"/>
                  </a:cubicBezTo>
                  <a:cubicBezTo>
                    <a:pt x="65" y="104"/>
                    <a:pt x="65" y="111"/>
                    <a:pt x="62" y="111"/>
                  </a:cubicBezTo>
                  <a:cubicBezTo>
                    <a:pt x="62" y="111"/>
                    <a:pt x="61" y="111"/>
                    <a:pt x="61" y="111"/>
                  </a:cubicBezTo>
                  <a:cubicBezTo>
                    <a:pt x="61" y="111"/>
                    <a:pt x="61" y="112"/>
                    <a:pt x="62" y="113"/>
                  </a:cubicBezTo>
                  <a:cubicBezTo>
                    <a:pt x="59" y="112"/>
                    <a:pt x="57" y="112"/>
                    <a:pt x="54" y="110"/>
                  </a:cubicBezTo>
                  <a:cubicBezTo>
                    <a:pt x="51" y="108"/>
                    <a:pt x="51" y="106"/>
                    <a:pt x="51" y="103"/>
                  </a:cubicBezTo>
                  <a:cubicBezTo>
                    <a:pt x="50" y="100"/>
                    <a:pt x="51" y="96"/>
                    <a:pt x="50" y="94"/>
                  </a:cubicBezTo>
                  <a:cubicBezTo>
                    <a:pt x="50" y="92"/>
                    <a:pt x="47" y="89"/>
                    <a:pt x="46" y="87"/>
                  </a:cubicBezTo>
                  <a:cubicBezTo>
                    <a:pt x="43" y="81"/>
                    <a:pt x="41" y="80"/>
                    <a:pt x="44" y="75"/>
                  </a:cubicBezTo>
                  <a:cubicBezTo>
                    <a:pt x="45" y="73"/>
                    <a:pt x="48" y="70"/>
                    <a:pt x="48" y="69"/>
                  </a:cubicBezTo>
                  <a:cubicBezTo>
                    <a:pt x="48" y="68"/>
                    <a:pt x="48" y="68"/>
                    <a:pt x="47" y="68"/>
                  </a:cubicBezTo>
                  <a:cubicBezTo>
                    <a:pt x="47" y="68"/>
                    <a:pt x="47" y="68"/>
                    <a:pt x="47" y="68"/>
                  </a:cubicBezTo>
                  <a:cubicBezTo>
                    <a:pt x="47" y="68"/>
                    <a:pt x="47" y="68"/>
                    <a:pt x="47" y="68"/>
                  </a:cubicBezTo>
                  <a:cubicBezTo>
                    <a:pt x="47" y="68"/>
                    <a:pt x="46" y="68"/>
                    <a:pt x="46" y="68"/>
                  </a:cubicBezTo>
                  <a:cubicBezTo>
                    <a:pt x="45" y="61"/>
                    <a:pt x="57" y="61"/>
                    <a:pt x="59" y="56"/>
                  </a:cubicBezTo>
                  <a:cubicBezTo>
                    <a:pt x="58" y="58"/>
                    <a:pt x="58" y="59"/>
                    <a:pt x="58" y="61"/>
                  </a:cubicBezTo>
                  <a:cubicBezTo>
                    <a:pt x="60" y="55"/>
                    <a:pt x="63" y="50"/>
                    <a:pt x="66" y="44"/>
                  </a:cubicBezTo>
                  <a:cubicBezTo>
                    <a:pt x="67" y="42"/>
                    <a:pt x="68" y="40"/>
                    <a:pt x="68" y="38"/>
                  </a:cubicBezTo>
                  <a:cubicBezTo>
                    <a:pt x="68" y="37"/>
                    <a:pt x="69" y="37"/>
                    <a:pt x="69" y="36"/>
                  </a:cubicBezTo>
                  <a:cubicBezTo>
                    <a:pt x="66" y="32"/>
                    <a:pt x="64" y="29"/>
                    <a:pt x="61" y="25"/>
                  </a:cubicBezTo>
                  <a:cubicBezTo>
                    <a:pt x="60" y="24"/>
                    <a:pt x="63" y="14"/>
                    <a:pt x="64" y="12"/>
                  </a:cubicBezTo>
                  <a:cubicBezTo>
                    <a:pt x="64" y="8"/>
                    <a:pt x="64" y="5"/>
                    <a:pt x="62" y="2"/>
                  </a:cubicBezTo>
                  <a:cubicBezTo>
                    <a:pt x="61" y="3"/>
                    <a:pt x="59" y="6"/>
                    <a:pt x="57" y="7"/>
                  </a:cubicBezTo>
                  <a:cubicBezTo>
                    <a:pt x="56" y="7"/>
                    <a:pt x="56" y="7"/>
                    <a:pt x="55" y="7"/>
                  </a:cubicBezTo>
                  <a:cubicBezTo>
                    <a:pt x="54" y="7"/>
                    <a:pt x="54" y="7"/>
                    <a:pt x="53" y="7"/>
                  </a:cubicBezTo>
                  <a:cubicBezTo>
                    <a:pt x="53" y="7"/>
                    <a:pt x="52" y="7"/>
                    <a:pt x="52" y="7"/>
                  </a:cubicBezTo>
                  <a:cubicBezTo>
                    <a:pt x="50" y="7"/>
                    <a:pt x="49" y="7"/>
                    <a:pt x="49" y="9"/>
                  </a:cubicBezTo>
                  <a:cubicBezTo>
                    <a:pt x="49" y="3"/>
                    <a:pt x="37" y="1"/>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 name="Freeform 1091">
              <a:extLst>
                <a:ext uri="{FF2B5EF4-FFF2-40B4-BE49-F238E27FC236}">
                  <a16:creationId xmlns:a16="http://schemas.microsoft.com/office/drawing/2014/main" id="{FC161867-E131-4B55-AFBA-D97B467FC4FD}"/>
                </a:ext>
              </a:extLst>
            </p:cNvPr>
            <p:cNvSpPr>
              <a:spLocks/>
            </p:cNvSpPr>
            <p:nvPr/>
          </p:nvSpPr>
          <p:spPr bwMode="auto">
            <a:xfrm>
              <a:off x="4143790" y="4052516"/>
              <a:ext cx="190612" cy="234909"/>
            </a:xfrm>
            <a:custGeom>
              <a:avLst/>
              <a:gdLst>
                <a:gd name="T0" fmla="*/ 54 w 60"/>
                <a:gd name="T1" fmla="*/ 0 h 74"/>
                <a:gd name="T2" fmla="*/ 50 w 60"/>
                <a:gd name="T3" fmla="*/ 12 h 74"/>
                <a:gd name="T4" fmla="*/ 53 w 60"/>
                <a:gd name="T5" fmla="*/ 17 h 74"/>
                <a:gd name="T6" fmla="*/ 53 w 60"/>
                <a:gd name="T7" fmla="*/ 17 h 74"/>
                <a:gd name="T8" fmla="*/ 50 w 60"/>
                <a:gd name="T9" fmla="*/ 13 h 74"/>
                <a:gd name="T10" fmla="*/ 48 w 60"/>
                <a:gd name="T11" fmla="*/ 12 h 74"/>
                <a:gd name="T12" fmla="*/ 48 w 60"/>
                <a:gd name="T13" fmla="*/ 13 h 74"/>
                <a:gd name="T14" fmla="*/ 49 w 60"/>
                <a:gd name="T15" fmla="*/ 21 h 74"/>
                <a:gd name="T16" fmla="*/ 46 w 60"/>
                <a:gd name="T17" fmla="*/ 25 h 74"/>
                <a:gd name="T18" fmla="*/ 46 w 60"/>
                <a:gd name="T19" fmla="*/ 23 h 74"/>
                <a:gd name="T20" fmla="*/ 39 w 60"/>
                <a:gd name="T21" fmla="*/ 32 h 74"/>
                <a:gd name="T22" fmla="*/ 38 w 60"/>
                <a:gd name="T23" fmla="*/ 33 h 74"/>
                <a:gd name="T24" fmla="*/ 37 w 60"/>
                <a:gd name="T25" fmla="*/ 32 h 74"/>
                <a:gd name="T26" fmla="*/ 26 w 60"/>
                <a:gd name="T27" fmla="*/ 45 h 74"/>
                <a:gd name="T28" fmla="*/ 19 w 60"/>
                <a:gd name="T29" fmla="*/ 52 h 74"/>
                <a:gd name="T30" fmla="*/ 19 w 60"/>
                <a:gd name="T31" fmla="*/ 51 h 74"/>
                <a:gd name="T32" fmla="*/ 10 w 60"/>
                <a:gd name="T33" fmla="*/ 59 h 74"/>
                <a:gd name="T34" fmla="*/ 3 w 60"/>
                <a:gd name="T35" fmla="*/ 66 h 74"/>
                <a:gd name="T36" fmla="*/ 0 w 60"/>
                <a:gd name="T37" fmla="*/ 74 h 74"/>
                <a:gd name="T38" fmla="*/ 17 w 60"/>
                <a:gd name="T39" fmla="*/ 61 h 74"/>
                <a:gd name="T40" fmla="*/ 31 w 60"/>
                <a:gd name="T41" fmla="*/ 50 h 74"/>
                <a:gd name="T42" fmla="*/ 35 w 60"/>
                <a:gd name="T43" fmla="*/ 45 h 74"/>
                <a:gd name="T44" fmla="*/ 37 w 60"/>
                <a:gd name="T45" fmla="*/ 42 h 74"/>
                <a:gd name="T46" fmla="*/ 41 w 60"/>
                <a:gd name="T47" fmla="*/ 34 h 74"/>
                <a:gd name="T48" fmla="*/ 45 w 60"/>
                <a:gd name="T49" fmla="*/ 34 h 74"/>
                <a:gd name="T50" fmla="*/ 52 w 60"/>
                <a:gd name="T51" fmla="*/ 26 h 74"/>
                <a:gd name="T52" fmla="*/ 60 w 60"/>
                <a:gd name="T53" fmla="*/ 21 h 74"/>
                <a:gd name="T54" fmla="*/ 59 w 60"/>
                <a:gd name="T55" fmla="*/ 21 h 74"/>
                <a:gd name="T56" fmla="*/ 58 w 60"/>
                <a:gd name="T57" fmla="*/ 18 h 74"/>
                <a:gd name="T58" fmla="*/ 57 w 60"/>
                <a:gd name="T59" fmla="*/ 18 h 74"/>
                <a:gd name="T60" fmla="*/ 57 w 60"/>
                <a:gd name="T61" fmla="*/ 16 h 74"/>
                <a:gd name="T62" fmla="*/ 56 w 60"/>
                <a:gd name="T63" fmla="*/ 15 h 74"/>
                <a:gd name="T64" fmla="*/ 56 w 60"/>
                <a:gd name="T65" fmla="*/ 15 h 74"/>
                <a:gd name="T66" fmla="*/ 56 w 60"/>
                <a:gd name="T67" fmla="*/ 15 h 74"/>
                <a:gd name="T68" fmla="*/ 56 w 60"/>
                <a:gd name="T69" fmla="*/ 14 h 74"/>
                <a:gd name="T70" fmla="*/ 54 w 60"/>
                <a:gd name="T71" fmla="*/ 13 h 74"/>
                <a:gd name="T72" fmla="*/ 56 w 60"/>
                <a:gd name="T73" fmla="*/ 8 h 74"/>
                <a:gd name="T74" fmla="*/ 56 w 60"/>
                <a:gd name="T75" fmla="*/ 8 h 74"/>
                <a:gd name="T76" fmla="*/ 56 w 60"/>
                <a:gd name="T77" fmla="*/ 5 h 74"/>
                <a:gd name="T78" fmla="*/ 54 w 60"/>
                <a:gd name="T7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74">
                  <a:moveTo>
                    <a:pt x="54" y="0"/>
                  </a:moveTo>
                  <a:cubicBezTo>
                    <a:pt x="53" y="3"/>
                    <a:pt x="50" y="8"/>
                    <a:pt x="50" y="12"/>
                  </a:cubicBezTo>
                  <a:cubicBezTo>
                    <a:pt x="51" y="13"/>
                    <a:pt x="53" y="15"/>
                    <a:pt x="53" y="17"/>
                  </a:cubicBezTo>
                  <a:cubicBezTo>
                    <a:pt x="53" y="17"/>
                    <a:pt x="53" y="17"/>
                    <a:pt x="53" y="17"/>
                  </a:cubicBezTo>
                  <a:cubicBezTo>
                    <a:pt x="53" y="16"/>
                    <a:pt x="51" y="14"/>
                    <a:pt x="50" y="13"/>
                  </a:cubicBezTo>
                  <a:cubicBezTo>
                    <a:pt x="49" y="12"/>
                    <a:pt x="49" y="12"/>
                    <a:pt x="48" y="12"/>
                  </a:cubicBezTo>
                  <a:cubicBezTo>
                    <a:pt x="48" y="12"/>
                    <a:pt x="48" y="12"/>
                    <a:pt x="48" y="13"/>
                  </a:cubicBezTo>
                  <a:cubicBezTo>
                    <a:pt x="47" y="15"/>
                    <a:pt x="49" y="19"/>
                    <a:pt x="49" y="21"/>
                  </a:cubicBezTo>
                  <a:cubicBezTo>
                    <a:pt x="49" y="22"/>
                    <a:pt x="47" y="25"/>
                    <a:pt x="46" y="25"/>
                  </a:cubicBezTo>
                  <a:cubicBezTo>
                    <a:pt x="46" y="25"/>
                    <a:pt x="46" y="24"/>
                    <a:pt x="46" y="23"/>
                  </a:cubicBezTo>
                  <a:cubicBezTo>
                    <a:pt x="44" y="26"/>
                    <a:pt x="42" y="31"/>
                    <a:pt x="39" y="32"/>
                  </a:cubicBezTo>
                  <a:cubicBezTo>
                    <a:pt x="38" y="33"/>
                    <a:pt x="38" y="33"/>
                    <a:pt x="38" y="33"/>
                  </a:cubicBezTo>
                  <a:cubicBezTo>
                    <a:pt x="37" y="33"/>
                    <a:pt x="37" y="33"/>
                    <a:pt x="37" y="32"/>
                  </a:cubicBezTo>
                  <a:cubicBezTo>
                    <a:pt x="34" y="36"/>
                    <a:pt x="30" y="41"/>
                    <a:pt x="26" y="45"/>
                  </a:cubicBezTo>
                  <a:cubicBezTo>
                    <a:pt x="25" y="46"/>
                    <a:pt x="21" y="52"/>
                    <a:pt x="19" y="52"/>
                  </a:cubicBezTo>
                  <a:cubicBezTo>
                    <a:pt x="19" y="52"/>
                    <a:pt x="19" y="51"/>
                    <a:pt x="19" y="51"/>
                  </a:cubicBezTo>
                  <a:cubicBezTo>
                    <a:pt x="15" y="52"/>
                    <a:pt x="13" y="56"/>
                    <a:pt x="10" y="59"/>
                  </a:cubicBezTo>
                  <a:cubicBezTo>
                    <a:pt x="8" y="61"/>
                    <a:pt x="5" y="63"/>
                    <a:pt x="3" y="66"/>
                  </a:cubicBezTo>
                  <a:cubicBezTo>
                    <a:pt x="1" y="68"/>
                    <a:pt x="1" y="71"/>
                    <a:pt x="0" y="74"/>
                  </a:cubicBezTo>
                  <a:cubicBezTo>
                    <a:pt x="6" y="70"/>
                    <a:pt x="11" y="65"/>
                    <a:pt x="17" y="61"/>
                  </a:cubicBezTo>
                  <a:cubicBezTo>
                    <a:pt x="21" y="58"/>
                    <a:pt x="28" y="55"/>
                    <a:pt x="31" y="50"/>
                  </a:cubicBezTo>
                  <a:cubicBezTo>
                    <a:pt x="32" y="49"/>
                    <a:pt x="33" y="47"/>
                    <a:pt x="35" y="45"/>
                  </a:cubicBezTo>
                  <a:cubicBezTo>
                    <a:pt x="35" y="44"/>
                    <a:pt x="38" y="42"/>
                    <a:pt x="37" y="42"/>
                  </a:cubicBezTo>
                  <a:cubicBezTo>
                    <a:pt x="40" y="39"/>
                    <a:pt x="35" y="36"/>
                    <a:pt x="41" y="34"/>
                  </a:cubicBezTo>
                  <a:cubicBezTo>
                    <a:pt x="42" y="34"/>
                    <a:pt x="43" y="34"/>
                    <a:pt x="45" y="34"/>
                  </a:cubicBezTo>
                  <a:cubicBezTo>
                    <a:pt x="49" y="32"/>
                    <a:pt x="48" y="27"/>
                    <a:pt x="52" y="26"/>
                  </a:cubicBezTo>
                  <a:cubicBezTo>
                    <a:pt x="54" y="25"/>
                    <a:pt x="59" y="23"/>
                    <a:pt x="60" y="21"/>
                  </a:cubicBezTo>
                  <a:cubicBezTo>
                    <a:pt x="60" y="21"/>
                    <a:pt x="59" y="21"/>
                    <a:pt x="59" y="21"/>
                  </a:cubicBezTo>
                  <a:cubicBezTo>
                    <a:pt x="59" y="19"/>
                    <a:pt x="59" y="18"/>
                    <a:pt x="58" y="18"/>
                  </a:cubicBezTo>
                  <a:cubicBezTo>
                    <a:pt x="57" y="18"/>
                    <a:pt x="57" y="18"/>
                    <a:pt x="57" y="18"/>
                  </a:cubicBezTo>
                  <a:cubicBezTo>
                    <a:pt x="57" y="17"/>
                    <a:pt x="57" y="17"/>
                    <a:pt x="57" y="16"/>
                  </a:cubicBezTo>
                  <a:cubicBezTo>
                    <a:pt x="57" y="15"/>
                    <a:pt x="56" y="15"/>
                    <a:pt x="56" y="15"/>
                  </a:cubicBezTo>
                  <a:cubicBezTo>
                    <a:pt x="56" y="15"/>
                    <a:pt x="56" y="15"/>
                    <a:pt x="56" y="15"/>
                  </a:cubicBezTo>
                  <a:cubicBezTo>
                    <a:pt x="56" y="15"/>
                    <a:pt x="56" y="15"/>
                    <a:pt x="56" y="15"/>
                  </a:cubicBezTo>
                  <a:cubicBezTo>
                    <a:pt x="56" y="15"/>
                    <a:pt x="56" y="15"/>
                    <a:pt x="56" y="14"/>
                  </a:cubicBezTo>
                  <a:cubicBezTo>
                    <a:pt x="55" y="14"/>
                    <a:pt x="54" y="14"/>
                    <a:pt x="54" y="13"/>
                  </a:cubicBezTo>
                  <a:cubicBezTo>
                    <a:pt x="54" y="11"/>
                    <a:pt x="57" y="11"/>
                    <a:pt x="56" y="8"/>
                  </a:cubicBezTo>
                  <a:cubicBezTo>
                    <a:pt x="56" y="8"/>
                    <a:pt x="56" y="8"/>
                    <a:pt x="56" y="8"/>
                  </a:cubicBezTo>
                  <a:cubicBezTo>
                    <a:pt x="54" y="8"/>
                    <a:pt x="56" y="6"/>
                    <a:pt x="56" y="5"/>
                  </a:cubicBezTo>
                  <a:cubicBezTo>
                    <a:pt x="56" y="1"/>
                    <a:pt x="55" y="4"/>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Freeform 1092">
              <a:extLst>
                <a:ext uri="{FF2B5EF4-FFF2-40B4-BE49-F238E27FC236}">
                  <a16:creationId xmlns:a16="http://schemas.microsoft.com/office/drawing/2014/main" id="{26468197-D6BC-4BD4-862F-6D813AF87BD1}"/>
                </a:ext>
              </a:extLst>
            </p:cNvPr>
            <p:cNvSpPr>
              <a:spLocks/>
            </p:cNvSpPr>
            <p:nvPr/>
          </p:nvSpPr>
          <p:spPr bwMode="auto">
            <a:xfrm>
              <a:off x="4600184" y="4061912"/>
              <a:ext cx="57720" cy="143630"/>
            </a:xfrm>
            <a:custGeom>
              <a:avLst/>
              <a:gdLst>
                <a:gd name="T0" fmla="*/ 18 w 18"/>
                <a:gd name="T1" fmla="*/ 0 h 45"/>
                <a:gd name="T2" fmla="*/ 15 w 18"/>
                <a:gd name="T3" fmla="*/ 7 h 45"/>
                <a:gd name="T4" fmla="*/ 12 w 18"/>
                <a:gd name="T5" fmla="*/ 14 h 45"/>
                <a:gd name="T6" fmla="*/ 5 w 18"/>
                <a:gd name="T7" fmla="*/ 27 h 45"/>
                <a:gd name="T8" fmla="*/ 2 w 18"/>
                <a:gd name="T9" fmla="*/ 34 h 45"/>
                <a:gd name="T10" fmla="*/ 1 w 18"/>
                <a:gd name="T11" fmla="*/ 45 h 45"/>
                <a:gd name="T12" fmla="*/ 10 w 18"/>
                <a:gd name="T13" fmla="*/ 27 h 45"/>
                <a:gd name="T14" fmla="*/ 17 w 18"/>
                <a:gd name="T15" fmla="*/ 20 h 45"/>
                <a:gd name="T16" fmla="*/ 17 w 18"/>
                <a:gd name="T17" fmla="*/ 14 h 45"/>
                <a:gd name="T18" fmla="*/ 18 w 18"/>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45">
                  <a:moveTo>
                    <a:pt x="18" y="0"/>
                  </a:moveTo>
                  <a:cubicBezTo>
                    <a:pt x="15" y="1"/>
                    <a:pt x="15" y="5"/>
                    <a:pt x="15" y="7"/>
                  </a:cubicBezTo>
                  <a:cubicBezTo>
                    <a:pt x="14" y="9"/>
                    <a:pt x="13" y="12"/>
                    <a:pt x="12" y="14"/>
                  </a:cubicBezTo>
                  <a:cubicBezTo>
                    <a:pt x="9" y="19"/>
                    <a:pt x="8" y="23"/>
                    <a:pt x="5" y="27"/>
                  </a:cubicBezTo>
                  <a:cubicBezTo>
                    <a:pt x="3" y="30"/>
                    <a:pt x="2" y="31"/>
                    <a:pt x="2" y="34"/>
                  </a:cubicBezTo>
                  <a:cubicBezTo>
                    <a:pt x="1" y="38"/>
                    <a:pt x="0" y="41"/>
                    <a:pt x="1" y="45"/>
                  </a:cubicBezTo>
                  <a:cubicBezTo>
                    <a:pt x="3" y="39"/>
                    <a:pt x="6" y="32"/>
                    <a:pt x="10" y="27"/>
                  </a:cubicBezTo>
                  <a:cubicBezTo>
                    <a:pt x="13" y="24"/>
                    <a:pt x="17" y="24"/>
                    <a:pt x="17" y="20"/>
                  </a:cubicBezTo>
                  <a:cubicBezTo>
                    <a:pt x="18" y="18"/>
                    <a:pt x="17" y="16"/>
                    <a:pt x="17" y="14"/>
                  </a:cubicBezTo>
                  <a:cubicBezTo>
                    <a:pt x="17" y="10"/>
                    <a:pt x="18" y="5"/>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 name="Freeform 1093">
              <a:extLst>
                <a:ext uri="{FF2B5EF4-FFF2-40B4-BE49-F238E27FC236}">
                  <a16:creationId xmlns:a16="http://schemas.microsoft.com/office/drawing/2014/main" id="{30B543F3-BD94-4A58-AC1F-49132301A2D6}"/>
                </a:ext>
              </a:extLst>
            </p:cNvPr>
            <p:cNvSpPr>
              <a:spLocks/>
            </p:cNvSpPr>
            <p:nvPr/>
          </p:nvSpPr>
          <p:spPr bwMode="auto">
            <a:xfrm>
              <a:off x="4588103" y="3963922"/>
              <a:ext cx="69801" cy="67117"/>
            </a:xfrm>
            <a:custGeom>
              <a:avLst/>
              <a:gdLst>
                <a:gd name="T0" fmla="*/ 3 w 22"/>
                <a:gd name="T1" fmla="*/ 0 h 21"/>
                <a:gd name="T2" fmla="*/ 3 w 22"/>
                <a:gd name="T3" fmla="*/ 6 h 21"/>
                <a:gd name="T4" fmla="*/ 2 w 22"/>
                <a:gd name="T5" fmla="*/ 9 h 21"/>
                <a:gd name="T6" fmla="*/ 3 w 22"/>
                <a:gd name="T7" fmla="*/ 9 h 21"/>
                <a:gd name="T8" fmla="*/ 3 w 22"/>
                <a:gd name="T9" fmla="*/ 9 h 21"/>
                <a:gd name="T10" fmla="*/ 3 w 22"/>
                <a:gd name="T11" fmla="*/ 9 h 21"/>
                <a:gd name="T12" fmla="*/ 3 w 22"/>
                <a:gd name="T13" fmla="*/ 9 h 21"/>
                <a:gd name="T14" fmla="*/ 3 w 22"/>
                <a:gd name="T15" fmla="*/ 9 h 21"/>
                <a:gd name="T16" fmla="*/ 4 w 22"/>
                <a:gd name="T17" fmla="*/ 10 h 21"/>
                <a:gd name="T18" fmla="*/ 3 w 22"/>
                <a:gd name="T19" fmla="*/ 11 h 21"/>
                <a:gd name="T20" fmla="*/ 1 w 22"/>
                <a:gd name="T21" fmla="*/ 16 h 21"/>
                <a:gd name="T22" fmla="*/ 3 w 22"/>
                <a:gd name="T23" fmla="*/ 15 h 21"/>
                <a:gd name="T24" fmla="*/ 9 w 22"/>
                <a:gd name="T25" fmla="*/ 9 h 21"/>
                <a:gd name="T26" fmla="*/ 10 w 22"/>
                <a:gd name="T27" fmla="*/ 10 h 21"/>
                <a:gd name="T28" fmla="*/ 12 w 22"/>
                <a:gd name="T29" fmla="*/ 13 h 21"/>
                <a:gd name="T30" fmla="*/ 14 w 22"/>
                <a:gd name="T31" fmla="*/ 16 h 21"/>
                <a:gd name="T32" fmla="*/ 17 w 22"/>
                <a:gd name="T33" fmla="*/ 17 h 21"/>
                <a:gd name="T34" fmla="*/ 22 w 22"/>
                <a:gd name="T35" fmla="*/ 21 h 21"/>
                <a:gd name="T36" fmla="*/ 18 w 22"/>
                <a:gd name="T37" fmla="*/ 9 h 21"/>
                <a:gd name="T38" fmla="*/ 15 w 22"/>
                <a:gd name="T39" fmla="*/ 8 h 21"/>
                <a:gd name="T40" fmla="*/ 3 w 22"/>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21">
                  <a:moveTo>
                    <a:pt x="3" y="0"/>
                  </a:moveTo>
                  <a:cubicBezTo>
                    <a:pt x="3" y="2"/>
                    <a:pt x="4" y="4"/>
                    <a:pt x="3" y="6"/>
                  </a:cubicBezTo>
                  <a:cubicBezTo>
                    <a:pt x="3" y="7"/>
                    <a:pt x="2" y="8"/>
                    <a:pt x="2" y="9"/>
                  </a:cubicBezTo>
                  <a:cubicBezTo>
                    <a:pt x="2" y="9"/>
                    <a:pt x="3" y="9"/>
                    <a:pt x="3" y="9"/>
                  </a:cubicBezTo>
                  <a:cubicBezTo>
                    <a:pt x="3" y="9"/>
                    <a:pt x="3" y="9"/>
                    <a:pt x="3" y="9"/>
                  </a:cubicBezTo>
                  <a:cubicBezTo>
                    <a:pt x="3" y="9"/>
                    <a:pt x="3" y="9"/>
                    <a:pt x="3" y="9"/>
                  </a:cubicBezTo>
                  <a:cubicBezTo>
                    <a:pt x="3" y="9"/>
                    <a:pt x="3" y="9"/>
                    <a:pt x="3" y="9"/>
                  </a:cubicBezTo>
                  <a:cubicBezTo>
                    <a:pt x="3" y="9"/>
                    <a:pt x="3" y="9"/>
                    <a:pt x="3" y="9"/>
                  </a:cubicBezTo>
                  <a:cubicBezTo>
                    <a:pt x="4" y="9"/>
                    <a:pt x="4" y="9"/>
                    <a:pt x="4" y="10"/>
                  </a:cubicBezTo>
                  <a:cubicBezTo>
                    <a:pt x="4" y="10"/>
                    <a:pt x="4" y="10"/>
                    <a:pt x="3" y="11"/>
                  </a:cubicBezTo>
                  <a:cubicBezTo>
                    <a:pt x="3" y="12"/>
                    <a:pt x="0" y="16"/>
                    <a:pt x="1" y="16"/>
                  </a:cubicBezTo>
                  <a:cubicBezTo>
                    <a:pt x="1" y="16"/>
                    <a:pt x="2" y="16"/>
                    <a:pt x="3" y="15"/>
                  </a:cubicBezTo>
                  <a:cubicBezTo>
                    <a:pt x="5" y="14"/>
                    <a:pt x="6" y="9"/>
                    <a:pt x="9" y="9"/>
                  </a:cubicBezTo>
                  <a:cubicBezTo>
                    <a:pt x="9" y="9"/>
                    <a:pt x="10" y="10"/>
                    <a:pt x="10" y="10"/>
                  </a:cubicBezTo>
                  <a:cubicBezTo>
                    <a:pt x="11" y="11"/>
                    <a:pt x="12" y="13"/>
                    <a:pt x="12" y="13"/>
                  </a:cubicBezTo>
                  <a:cubicBezTo>
                    <a:pt x="13" y="13"/>
                    <a:pt x="14" y="16"/>
                    <a:pt x="14" y="16"/>
                  </a:cubicBezTo>
                  <a:cubicBezTo>
                    <a:pt x="15" y="16"/>
                    <a:pt x="16" y="16"/>
                    <a:pt x="17" y="17"/>
                  </a:cubicBezTo>
                  <a:cubicBezTo>
                    <a:pt x="19" y="18"/>
                    <a:pt x="21" y="19"/>
                    <a:pt x="22" y="21"/>
                  </a:cubicBezTo>
                  <a:cubicBezTo>
                    <a:pt x="21" y="18"/>
                    <a:pt x="20" y="12"/>
                    <a:pt x="18" y="9"/>
                  </a:cubicBezTo>
                  <a:cubicBezTo>
                    <a:pt x="18" y="9"/>
                    <a:pt x="15" y="8"/>
                    <a:pt x="15" y="8"/>
                  </a:cubicBezTo>
                  <a:cubicBezTo>
                    <a:pt x="11" y="4"/>
                    <a:pt x="8"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 name="Freeform 1094">
              <a:extLst>
                <a:ext uri="{FF2B5EF4-FFF2-40B4-BE49-F238E27FC236}">
                  <a16:creationId xmlns:a16="http://schemas.microsoft.com/office/drawing/2014/main" id="{82389DF6-2CDF-44BA-B3E0-F73007B6F293}"/>
                </a:ext>
              </a:extLst>
            </p:cNvPr>
            <p:cNvSpPr>
              <a:spLocks/>
            </p:cNvSpPr>
            <p:nvPr/>
          </p:nvSpPr>
          <p:spPr bwMode="auto">
            <a:xfrm>
              <a:off x="4346483" y="4012246"/>
              <a:ext cx="12081" cy="24162"/>
            </a:xfrm>
            <a:custGeom>
              <a:avLst/>
              <a:gdLst>
                <a:gd name="T0" fmla="*/ 0 w 4"/>
                <a:gd name="T1" fmla="*/ 0 h 8"/>
                <a:gd name="T2" fmla="*/ 1 w 4"/>
                <a:gd name="T3" fmla="*/ 8 h 8"/>
                <a:gd name="T4" fmla="*/ 3 w 4"/>
                <a:gd name="T5" fmla="*/ 3 h 8"/>
                <a:gd name="T6" fmla="*/ 4 w 4"/>
                <a:gd name="T7" fmla="*/ 3 h 8"/>
                <a:gd name="T8" fmla="*/ 2 w 4"/>
                <a:gd name="T9" fmla="*/ 2 h 8"/>
                <a:gd name="T10" fmla="*/ 3 w 4"/>
                <a:gd name="T11" fmla="*/ 1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cubicBezTo>
                    <a:pt x="0" y="2"/>
                    <a:pt x="1" y="5"/>
                    <a:pt x="1" y="8"/>
                  </a:cubicBezTo>
                  <a:cubicBezTo>
                    <a:pt x="4" y="6"/>
                    <a:pt x="4" y="5"/>
                    <a:pt x="3" y="3"/>
                  </a:cubicBezTo>
                  <a:cubicBezTo>
                    <a:pt x="4" y="3"/>
                    <a:pt x="4" y="3"/>
                    <a:pt x="4" y="3"/>
                  </a:cubicBezTo>
                  <a:cubicBezTo>
                    <a:pt x="4" y="2"/>
                    <a:pt x="3" y="2"/>
                    <a:pt x="2" y="2"/>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Freeform 1095">
              <a:extLst>
                <a:ext uri="{FF2B5EF4-FFF2-40B4-BE49-F238E27FC236}">
                  <a16:creationId xmlns:a16="http://schemas.microsoft.com/office/drawing/2014/main" id="{D0AEBA49-D264-4CF4-81E2-2A613BF50EA1}"/>
                </a:ext>
              </a:extLst>
            </p:cNvPr>
            <p:cNvSpPr>
              <a:spLocks/>
            </p:cNvSpPr>
            <p:nvPr/>
          </p:nvSpPr>
          <p:spPr bwMode="auto">
            <a:xfrm>
              <a:off x="4704886" y="4217623"/>
              <a:ext cx="6712" cy="13423"/>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1096">
              <a:extLst>
                <a:ext uri="{FF2B5EF4-FFF2-40B4-BE49-F238E27FC236}">
                  <a16:creationId xmlns:a16="http://schemas.microsoft.com/office/drawing/2014/main" id="{4F5330AF-FB65-48CA-A640-4F73F9D5BB26}"/>
                </a:ext>
              </a:extLst>
            </p:cNvPr>
            <p:cNvSpPr>
              <a:spLocks/>
            </p:cNvSpPr>
            <p:nvPr/>
          </p:nvSpPr>
          <p:spPr bwMode="auto">
            <a:xfrm>
              <a:off x="4527698" y="4087417"/>
              <a:ext cx="91279" cy="146315"/>
            </a:xfrm>
            <a:custGeom>
              <a:avLst/>
              <a:gdLst>
                <a:gd name="T0" fmla="*/ 21 w 29"/>
                <a:gd name="T1" fmla="*/ 0 h 46"/>
                <a:gd name="T2" fmla="*/ 20 w 29"/>
                <a:gd name="T3" fmla="*/ 0 h 46"/>
                <a:gd name="T4" fmla="*/ 8 w 29"/>
                <a:gd name="T5" fmla="*/ 19 h 46"/>
                <a:gd name="T6" fmla="*/ 6 w 29"/>
                <a:gd name="T7" fmla="*/ 24 h 46"/>
                <a:gd name="T8" fmla="*/ 5 w 29"/>
                <a:gd name="T9" fmla="*/ 23 h 46"/>
                <a:gd name="T10" fmla="*/ 3 w 29"/>
                <a:gd name="T11" fmla="*/ 24 h 46"/>
                <a:gd name="T12" fmla="*/ 7 w 29"/>
                <a:gd name="T13" fmla="*/ 36 h 46"/>
                <a:gd name="T14" fmla="*/ 12 w 29"/>
                <a:gd name="T15" fmla="*/ 38 h 46"/>
                <a:gd name="T16" fmla="*/ 13 w 29"/>
                <a:gd name="T17" fmla="*/ 41 h 46"/>
                <a:gd name="T18" fmla="*/ 17 w 29"/>
                <a:gd name="T19" fmla="*/ 46 h 46"/>
                <a:gd name="T20" fmla="*/ 18 w 29"/>
                <a:gd name="T21" fmla="*/ 46 h 46"/>
                <a:gd name="T22" fmla="*/ 19 w 29"/>
                <a:gd name="T23" fmla="*/ 34 h 46"/>
                <a:gd name="T24" fmla="*/ 23 w 29"/>
                <a:gd name="T25" fmla="*/ 18 h 46"/>
                <a:gd name="T26" fmla="*/ 29 w 29"/>
                <a:gd name="T27" fmla="*/ 3 h 46"/>
                <a:gd name="T28" fmla="*/ 28 w 29"/>
                <a:gd name="T29" fmla="*/ 1 h 46"/>
                <a:gd name="T30" fmla="*/ 25 w 29"/>
                <a:gd name="T31" fmla="*/ 0 h 46"/>
                <a:gd name="T32" fmla="*/ 21 w 29"/>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46">
                  <a:moveTo>
                    <a:pt x="21" y="0"/>
                  </a:moveTo>
                  <a:cubicBezTo>
                    <a:pt x="20" y="0"/>
                    <a:pt x="20" y="0"/>
                    <a:pt x="20" y="0"/>
                  </a:cubicBezTo>
                  <a:cubicBezTo>
                    <a:pt x="12" y="2"/>
                    <a:pt x="11" y="12"/>
                    <a:pt x="8" y="19"/>
                  </a:cubicBezTo>
                  <a:cubicBezTo>
                    <a:pt x="8" y="20"/>
                    <a:pt x="7" y="23"/>
                    <a:pt x="6" y="24"/>
                  </a:cubicBezTo>
                  <a:cubicBezTo>
                    <a:pt x="5" y="23"/>
                    <a:pt x="5" y="23"/>
                    <a:pt x="5" y="23"/>
                  </a:cubicBezTo>
                  <a:cubicBezTo>
                    <a:pt x="4" y="24"/>
                    <a:pt x="4" y="23"/>
                    <a:pt x="3" y="24"/>
                  </a:cubicBezTo>
                  <a:cubicBezTo>
                    <a:pt x="0" y="27"/>
                    <a:pt x="5" y="34"/>
                    <a:pt x="7" y="36"/>
                  </a:cubicBezTo>
                  <a:cubicBezTo>
                    <a:pt x="8" y="38"/>
                    <a:pt x="10" y="37"/>
                    <a:pt x="12" y="38"/>
                  </a:cubicBezTo>
                  <a:cubicBezTo>
                    <a:pt x="13" y="39"/>
                    <a:pt x="12" y="39"/>
                    <a:pt x="13" y="41"/>
                  </a:cubicBezTo>
                  <a:cubicBezTo>
                    <a:pt x="14" y="43"/>
                    <a:pt x="14" y="45"/>
                    <a:pt x="17" y="46"/>
                  </a:cubicBezTo>
                  <a:cubicBezTo>
                    <a:pt x="17" y="46"/>
                    <a:pt x="17" y="46"/>
                    <a:pt x="18" y="46"/>
                  </a:cubicBezTo>
                  <a:cubicBezTo>
                    <a:pt x="24" y="46"/>
                    <a:pt x="20" y="37"/>
                    <a:pt x="19" y="34"/>
                  </a:cubicBezTo>
                  <a:cubicBezTo>
                    <a:pt x="18" y="29"/>
                    <a:pt x="21" y="23"/>
                    <a:pt x="23" y="18"/>
                  </a:cubicBezTo>
                  <a:cubicBezTo>
                    <a:pt x="24" y="13"/>
                    <a:pt x="27" y="8"/>
                    <a:pt x="29" y="3"/>
                  </a:cubicBezTo>
                  <a:cubicBezTo>
                    <a:pt x="28" y="3"/>
                    <a:pt x="29" y="2"/>
                    <a:pt x="28" y="1"/>
                  </a:cubicBezTo>
                  <a:cubicBezTo>
                    <a:pt x="27" y="1"/>
                    <a:pt x="27" y="1"/>
                    <a:pt x="25" y="0"/>
                  </a:cubicBezTo>
                  <a:cubicBezTo>
                    <a:pt x="24" y="0"/>
                    <a:pt x="22"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 name="Freeform 1097">
              <a:extLst>
                <a:ext uri="{FF2B5EF4-FFF2-40B4-BE49-F238E27FC236}">
                  <a16:creationId xmlns:a16="http://schemas.microsoft.com/office/drawing/2014/main" id="{1885DC54-D878-4F9C-8598-6CED2976A5C2}"/>
                </a:ext>
              </a:extLst>
            </p:cNvPr>
            <p:cNvSpPr>
              <a:spLocks/>
            </p:cNvSpPr>
            <p:nvPr/>
          </p:nvSpPr>
          <p:spPr bwMode="auto">
            <a:xfrm>
              <a:off x="4488770" y="4173326"/>
              <a:ext cx="358404" cy="320819"/>
            </a:xfrm>
            <a:custGeom>
              <a:avLst/>
              <a:gdLst>
                <a:gd name="T0" fmla="*/ 87 w 113"/>
                <a:gd name="T1" fmla="*/ 15 h 101"/>
                <a:gd name="T2" fmla="*/ 80 w 113"/>
                <a:gd name="T3" fmla="*/ 18 h 101"/>
                <a:gd name="T4" fmla="*/ 75 w 113"/>
                <a:gd name="T5" fmla="*/ 21 h 101"/>
                <a:gd name="T6" fmla="*/ 72 w 113"/>
                <a:gd name="T7" fmla="*/ 19 h 101"/>
                <a:gd name="T8" fmla="*/ 62 w 113"/>
                <a:gd name="T9" fmla="*/ 29 h 101"/>
                <a:gd name="T10" fmla="*/ 55 w 113"/>
                <a:gd name="T11" fmla="*/ 37 h 101"/>
                <a:gd name="T12" fmla="*/ 44 w 113"/>
                <a:gd name="T13" fmla="*/ 43 h 101"/>
                <a:gd name="T14" fmla="*/ 46 w 113"/>
                <a:gd name="T15" fmla="*/ 30 h 101"/>
                <a:gd name="T16" fmla="*/ 37 w 113"/>
                <a:gd name="T17" fmla="*/ 26 h 101"/>
                <a:gd name="T18" fmla="*/ 28 w 113"/>
                <a:gd name="T19" fmla="*/ 35 h 101"/>
                <a:gd name="T20" fmla="*/ 23 w 113"/>
                <a:gd name="T21" fmla="*/ 41 h 101"/>
                <a:gd name="T22" fmla="*/ 8 w 113"/>
                <a:gd name="T23" fmla="*/ 53 h 101"/>
                <a:gd name="T24" fmla="*/ 4 w 113"/>
                <a:gd name="T25" fmla="*/ 68 h 101"/>
                <a:gd name="T26" fmla="*/ 9 w 113"/>
                <a:gd name="T27" fmla="*/ 67 h 101"/>
                <a:gd name="T28" fmla="*/ 14 w 113"/>
                <a:gd name="T29" fmla="*/ 58 h 101"/>
                <a:gd name="T30" fmla="*/ 15 w 113"/>
                <a:gd name="T31" fmla="*/ 53 h 101"/>
                <a:gd name="T32" fmla="*/ 23 w 113"/>
                <a:gd name="T33" fmla="*/ 52 h 101"/>
                <a:gd name="T34" fmla="*/ 30 w 113"/>
                <a:gd name="T35" fmla="*/ 51 h 101"/>
                <a:gd name="T36" fmla="*/ 33 w 113"/>
                <a:gd name="T37" fmla="*/ 53 h 101"/>
                <a:gd name="T38" fmla="*/ 32 w 113"/>
                <a:gd name="T39" fmla="*/ 56 h 101"/>
                <a:gd name="T40" fmla="*/ 37 w 113"/>
                <a:gd name="T41" fmla="*/ 59 h 101"/>
                <a:gd name="T42" fmla="*/ 41 w 113"/>
                <a:gd name="T43" fmla="*/ 47 h 101"/>
                <a:gd name="T44" fmla="*/ 56 w 113"/>
                <a:gd name="T45" fmla="*/ 61 h 101"/>
                <a:gd name="T46" fmla="*/ 53 w 113"/>
                <a:gd name="T47" fmla="*/ 77 h 101"/>
                <a:gd name="T48" fmla="*/ 70 w 113"/>
                <a:gd name="T49" fmla="*/ 92 h 101"/>
                <a:gd name="T50" fmla="*/ 77 w 113"/>
                <a:gd name="T51" fmla="*/ 92 h 101"/>
                <a:gd name="T52" fmla="*/ 81 w 113"/>
                <a:gd name="T53" fmla="*/ 88 h 101"/>
                <a:gd name="T54" fmla="*/ 83 w 113"/>
                <a:gd name="T55" fmla="*/ 101 h 101"/>
                <a:gd name="T56" fmla="*/ 91 w 113"/>
                <a:gd name="T57" fmla="*/ 92 h 101"/>
                <a:gd name="T58" fmla="*/ 85 w 113"/>
                <a:gd name="T59" fmla="*/ 76 h 101"/>
                <a:gd name="T60" fmla="*/ 85 w 113"/>
                <a:gd name="T61" fmla="*/ 72 h 101"/>
                <a:gd name="T62" fmla="*/ 94 w 113"/>
                <a:gd name="T63" fmla="*/ 59 h 101"/>
                <a:gd name="T64" fmla="*/ 100 w 113"/>
                <a:gd name="T65" fmla="*/ 71 h 101"/>
                <a:gd name="T66" fmla="*/ 103 w 113"/>
                <a:gd name="T67" fmla="*/ 84 h 101"/>
                <a:gd name="T68" fmla="*/ 104 w 113"/>
                <a:gd name="T69" fmla="*/ 69 h 101"/>
                <a:gd name="T70" fmla="*/ 106 w 113"/>
                <a:gd name="T71" fmla="*/ 70 h 101"/>
                <a:gd name="T72" fmla="*/ 108 w 113"/>
                <a:gd name="T73" fmla="*/ 69 h 101"/>
                <a:gd name="T74" fmla="*/ 112 w 113"/>
                <a:gd name="T75" fmla="*/ 62 h 101"/>
                <a:gd name="T76" fmla="*/ 107 w 113"/>
                <a:gd name="T77" fmla="*/ 46 h 101"/>
                <a:gd name="T78" fmla="*/ 107 w 113"/>
                <a:gd name="T79" fmla="*/ 39 h 101"/>
                <a:gd name="T80" fmla="*/ 105 w 113"/>
                <a:gd name="T81" fmla="*/ 31 h 101"/>
                <a:gd name="T82" fmla="*/ 103 w 113"/>
                <a:gd name="T83" fmla="*/ 31 h 101"/>
                <a:gd name="T84" fmla="*/ 105 w 113"/>
                <a:gd name="T85" fmla="*/ 25 h 101"/>
                <a:gd name="T86" fmla="*/ 101 w 113"/>
                <a:gd name="T87" fmla="*/ 14 h 101"/>
                <a:gd name="T88" fmla="*/ 85 w 113"/>
                <a:gd name="T8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3" h="101">
                  <a:moveTo>
                    <a:pt x="85" y="0"/>
                  </a:moveTo>
                  <a:cubicBezTo>
                    <a:pt x="86" y="5"/>
                    <a:pt x="87" y="10"/>
                    <a:pt x="87" y="15"/>
                  </a:cubicBezTo>
                  <a:cubicBezTo>
                    <a:pt x="88" y="16"/>
                    <a:pt x="88" y="18"/>
                    <a:pt x="88" y="19"/>
                  </a:cubicBezTo>
                  <a:cubicBezTo>
                    <a:pt x="85" y="19"/>
                    <a:pt x="82" y="18"/>
                    <a:pt x="80" y="18"/>
                  </a:cubicBezTo>
                  <a:cubicBezTo>
                    <a:pt x="79" y="21"/>
                    <a:pt x="80" y="23"/>
                    <a:pt x="78" y="23"/>
                  </a:cubicBezTo>
                  <a:cubicBezTo>
                    <a:pt x="78" y="23"/>
                    <a:pt x="77" y="22"/>
                    <a:pt x="75" y="21"/>
                  </a:cubicBezTo>
                  <a:cubicBezTo>
                    <a:pt x="75" y="21"/>
                    <a:pt x="73" y="19"/>
                    <a:pt x="72" y="19"/>
                  </a:cubicBezTo>
                  <a:cubicBezTo>
                    <a:pt x="72" y="19"/>
                    <a:pt x="72" y="19"/>
                    <a:pt x="72" y="19"/>
                  </a:cubicBezTo>
                  <a:cubicBezTo>
                    <a:pt x="69" y="20"/>
                    <a:pt x="70" y="29"/>
                    <a:pt x="69" y="31"/>
                  </a:cubicBezTo>
                  <a:cubicBezTo>
                    <a:pt x="68" y="31"/>
                    <a:pt x="62" y="29"/>
                    <a:pt x="62" y="29"/>
                  </a:cubicBezTo>
                  <a:cubicBezTo>
                    <a:pt x="62" y="29"/>
                    <a:pt x="62" y="29"/>
                    <a:pt x="62" y="29"/>
                  </a:cubicBezTo>
                  <a:cubicBezTo>
                    <a:pt x="60" y="32"/>
                    <a:pt x="58" y="35"/>
                    <a:pt x="55" y="37"/>
                  </a:cubicBezTo>
                  <a:cubicBezTo>
                    <a:pt x="53" y="38"/>
                    <a:pt x="47" y="44"/>
                    <a:pt x="44" y="44"/>
                  </a:cubicBezTo>
                  <a:cubicBezTo>
                    <a:pt x="44" y="44"/>
                    <a:pt x="44" y="43"/>
                    <a:pt x="44" y="43"/>
                  </a:cubicBezTo>
                  <a:cubicBezTo>
                    <a:pt x="46" y="42"/>
                    <a:pt x="48" y="41"/>
                    <a:pt x="48" y="38"/>
                  </a:cubicBezTo>
                  <a:cubicBezTo>
                    <a:pt x="49" y="36"/>
                    <a:pt x="47" y="31"/>
                    <a:pt x="46" y="30"/>
                  </a:cubicBezTo>
                  <a:cubicBezTo>
                    <a:pt x="45" y="29"/>
                    <a:pt x="46" y="29"/>
                    <a:pt x="44" y="29"/>
                  </a:cubicBezTo>
                  <a:cubicBezTo>
                    <a:pt x="41" y="29"/>
                    <a:pt x="39" y="27"/>
                    <a:pt x="37" y="26"/>
                  </a:cubicBezTo>
                  <a:cubicBezTo>
                    <a:pt x="38" y="27"/>
                    <a:pt x="38" y="27"/>
                    <a:pt x="38" y="27"/>
                  </a:cubicBezTo>
                  <a:cubicBezTo>
                    <a:pt x="33" y="29"/>
                    <a:pt x="30" y="30"/>
                    <a:pt x="28" y="35"/>
                  </a:cubicBezTo>
                  <a:cubicBezTo>
                    <a:pt x="27" y="36"/>
                    <a:pt x="26" y="39"/>
                    <a:pt x="26" y="40"/>
                  </a:cubicBezTo>
                  <a:cubicBezTo>
                    <a:pt x="25" y="41"/>
                    <a:pt x="23" y="40"/>
                    <a:pt x="23" y="41"/>
                  </a:cubicBezTo>
                  <a:cubicBezTo>
                    <a:pt x="17" y="42"/>
                    <a:pt x="11" y="43"/>
                    <a:pt x="8" y="47"/>
                  </a:cubicBezTo>
                  <a:cubicBezTo>
                    <a:pt x="7" y="49"/>
                    <a:pt x="6" y="52"/>
                    <a:pt x="8" y="53"/>
                  </a:cubicBezTo>
                  <a:cubicBezTo>
                    <a:pt x="6" y="54"/>
                    <a:pt x="6" y="54"/>
                    <a:pt x="7" y="55"/>
                  </a:cubicBezTo>
                  <a:cubicBezTo>
                    <a:pt x="5" y="58"/>
                    <a:pt x="0" y="67"/>
                    <a:pt x="4" y="68"/>
                  </a:cubicBezTo>
                  <a:cubicBezTo>
                    <a:pt x="5" y="69"/>
                    <a:pt x="6" y="69"/>
                    <a:pt x="7" y="69"/>
                  </a:cubicBezTo>
                  <a:cubicBezTo>
                    <a:pt x="7" y="69"/>
                    <a:pt x="8" y="69"/>
                    <a:pt x="9" y="67"/>
                  </a:cubicBezTo>
                  <a:cubicBezTo>
                    <a:pt x="9" y="66"/>
                    <a:pt x="10" y="65"/>
                    <a:pt x="11" y="64"/>
                  </a:cubicBezTo>
                  <a:cubicBezTo>
                    <a:pt x="11" y="62"/>
                    <a:pt x="10" y="59"/>
                    <a:pt x="14" y="58"/>
                  </a:cubicBezTo>
                  <a:cubicBezTo>
                    <a:pt x="11" y="57"/>
                    <a:pt x="15" y="54"/>
                    <a:pt x="16" y="53"/>
                  </a:cubicBezTo>
                  <a:cubicBezTo>
                    <a:pt x="16" y="53"/>
                    <a:pt x="15" y="53"/>
                    <a:pt x="15" y="53"/>
                  </a:cubicBezTo>
                  <a:cubicBezTo>
                    <a:pt x="16" y="52"/>
                    <a:pt x="18" y="50"/>
                    <a:pt x="20" y="50"/>
                  </a:cubicBezTo>
                  <a:cubicBezTo>
                    <a:pt x="21" y="50"/>
                    <a:pt x="22" y="50"/>
                    <a:pt x="23" y="52"/>
                  </a:cubicBezTo>
                  <a:cubicBezTo>
                    <a:pt x="25" y="54"/>
                    <a:pt x="23" y="55"/>
                    <a:pt x="24" y="57"/>
                  </a:cubicBezTo>
                  <a:cubicBezTo>
                    <a:pt x="26" y="56"/>
                    <a:pt x="28" y="53"/>
                    <a:pt x="30" y="51"/>
                  </a:cubicBezTo>
                  <a:cubicBezTo>
                    <a:pt x="30" y="51"/>
                    <a:pt x="30" y="51"/>
                    <a:pt x="31" y="51"/>
                  </a:cubicBezTo>
                  <a:cubicBezTo>
                    <a:pt x="32" y="51"/>
                    <a:pt x="33" y="52"/>
                    <a:pt x="33" y="53"/>
                  </a:cubicBezTo>
                  <a:cubicBezTo>
                    <a:pt x="32" y="54"/>
                    <a:pt x="30" y="53"/>
                    <a:pt x="31" y="55"/>
                  </a:cubicBezTo>
                  <a:cubicBezTo>
                    <a:pt x="31" y="56"/>
                    <a:pt x="32" y="56"/>
                    <a:pt x="32" y="56"/>
                  </a:cubicBezTo>
                  <a:cubicBezTo>
                    <a:pt x="33" y="56"/>
                    <a:pt x="34" y="55"/>
                    <a:pt x="35" y="55"/>
                  </a:cubicBezTo>
                  <a:cubicBezTo>
                    <a:pt x="35" y="57"/>
                    <a:pt x="36" y="58"/>
                    <a:pt x="37" y="59"/>
                  </a:cubicBezTo>
                  <a:cubicBezTo>
                    <a:pt x="38" y="55"/>
                    <a:pt x="35" y="52"/>
                    <a:pt x="38" y="49"/>
                  </a:cubicBezTo>
                  <a:cubicBezTo>
                    <a:pt x="39" y="48"/>
                    <a:pt x="40" y="47"/>
                    <a:pt x="41" y="47"/>
                  </a:cubicBezTo>
                  <a:cubicBezTo>
                    <a:pt x="46" y="47"/>
                    <a:pt x="52" y="54"/>
                    <a:pt x="54" y="56"/>
                  </a:cubicBezTo>
                  <a:cubicBezTo>
                    <a:pt x="57" y="58"/>
                    <a:pt x="58" y="58"/>
                    <a:pt x="56" y="61"/>
                  </a:cubicBezTo>
                  <a:cubicBezTo>
                    <a:pt x="55" y="62"/>
                    <a:pt x="54" y="63"/>
                    <a:pt x="53" y="64"/>
                  </a:cubicBezTo>
                  <a:cubicBezTo>
                    <a:pt x="50" y="68"/>
                    <a:pt x="53" y="73"/>
                    <a:pt x="53" y="77"/>
                  </a:cubicBezTo>
                  <a:cubicBezTo>
                    <a:pt x="53" y="78"/>
                    <a:pt x="52" y="80"/>
                    <a:pt x="53" y="81"/>
                  </a:cubicBezTo>
                  <a:cubicBezTo>
                    <a:pt x="59" y="87"/>
                    <a:pt x="63" y="89"/>
                    <a:pt x="70" y="92"/>
                  </a:cubicBezTo>
                  <a:cubicBezTo>
                    <a:pt x="72" y="93"/>
                    <a:pt x="74" y="94"/>
                    <a:pt x="75" y="94"/>
                  </a:cubicBezTo>
                  <a:cubicBezTo>
                    <a:pt x="76" y="94"/>
                    <a:pt x="77" y="93"/>
                    <a:pt x="77" y="92"/>
                  </a:cubicBezTo>
                  <a:cubicBezTo>
                    <a:pt x="78" y="91"/>
                    <a:pt x="78" y="88"/>
                    <a:pt x="80" y="88"/>
                  </a:cubicBezTo>
                  <a:cubicBezTo>
                    <a:pt x="80" y="88"/>
                    <a:pt x="81" y="88"/>
                    <a:pt x="81" y="88"/>
                  </a:cubicBezTo>
                  <a:cubicBezTo>
                    <a:pt x="81" y="93"/>
                    <a:pt x="79" y="94"/>
                    <a:pt x="81" y="99"/>
                  </a:cubicBezTo>
                  <a:cubicBezTo>
                    <a:pt x="82" y="100"/>
                    <a:pt x="83" y="101"/>
                    <a:pt x="83" y="101"/>
                  </a:cubicBezTo>
                  <a:cubicBezTo>
                    <a:pt x="84" y="101"/>
                    <a:pt x="85" y="99"/>
                    <a:pt x="87" y="98"/>
                  </a:cubicBezTo>
                  <a:cubicBezTo>
                    <a:pt x="88" y="96"/>
                    <a:pt x="90" y="94"/>
                    <a:pt x="91" y="92"/>
                  </a:cubicBezTo>
                  <a:cubicBezTo>
                    <a:pt x="92" y="89"/>
                    <a:pt x="90" y="81"/>
                    <a:pt x="88" y="78"/>
                  </a:cubicBezTo>
                  <a:cubicBezTo>
                    <a:pt x="87" y="78"/>
                    <a:pt x="86" y="77"/>
                    <a:pt x="85" y="76"/>
                  </a:cubicBezTo>
                  <a:cubicBezTo>
                    <a:pt x="85" y="76"/>
                    <a:pt x="85" y="77"/>
                    <a:pt x="85" y="77"/>
                  </a:cubicBezTo>
                  <a:cubicBezTo>
                    <a:pt x="84" y="77"/>
                    <a:pt x="85" y="73"/>
                    <a:pt x="85" y="72"/>
                  </a:cubicBezTo>
                  <a:cubicBezTo>
                    <a:pt x="86" y="69"/>
                    <a:pt x="90" y="60"/>
                    <a:pt x="93" y="59"/>
                  </a:cubicBezTo>
                  <a:cubicBezTo>
                    <a:pt x="94" y="59"/>
                    <a:pt x="94" y="59"/>
                    <a:pt x="94" y="59"/>
                  </a:cubicBezTo>
                  <a:cubicBezTo>
                    <a:pt x="96" y="59"/>
                    <a:pt x="97" y="64"/>
                    <a:pt x="98" y="66"/>
                  </a:cubicBezTo>
                  <a:cubicBezTo>
                    <a:pt x="98" y="69"/>
                    <a:pt x="100" y="69"/>
                    <a:pt x="100" y="71"/>
                  </a:cubicBezTo>
                  <a:cubicBezTo>
                    <a:pt x="101" y="73"/>
                    <a:pt x="100" y="76"/>
                    <a:pt x="101" y="78"/>
                  </a:cubicBezTo>
                  <a:cubicBezTo>
                    <a:pt x="101" y="81"/>
                    <a:pt x="103" y="82"/>
                    <a:pt x="103" y="84"/>
                  </a:cubicBezTo>
                  <a:cubicBezTo>
                    <a:pt x="104" y="81"/>
                    <a:pt x="103" y="76"/>
                    <a:pt x="103" y="73"/>
                  </a:cubicBezTo>
                  <a:cubicBezTo>
                    <a:pt x="103" y="72"/>
                    <a:pt x="102" y="69"/>
                    <a:pt x="104" y="69"/>
                  </a:cubicBezTo>
                  <a:cubicBezTo>
                    <a:pt x="104" y="69"/>
                    <a:pt x="104" y="69"/>
                    <a:pt x="104" y="69"/>
                  </a:cubicBezTo>
                  <a:cubicBezTo>
                    <a:pt x="105" y="69"/>
                    <a:pt x="105" y="70"/>
                    <a:pt x="106" y="70"/>
                  </a:cubicBezTo>
                  <a:cubicBezTo>
                    <a:pt x="106" y="71"/>
                    <a:pt x="106" y="72"/>
                    <a:pt x="107" y="72"/>
                  </a:cubicBezTo>
                  <a:cubicBezTo>
                    <a:pt x="107" y="72"/>
                    <a:pt x="107" y="71"/>
                    <a:pt x="108" y="69"/>
                  </a:cubicBezTo>
                  <a:cubicBezTo>
                    <a:pt x="108" y="67"/>
                    <a:pt x="109" y="67"/>
                    <a:pt x="109" y="67"/>
                  </a:cubicBezTo>
                  <a:cubicBezTo>
                    <a:pt x="110" y="66"/>
                    <a:pt x="112" y="63"/>
                    <a:pt x="112" y="62"/>
                  </a:cubicBezTo>
                  <a:cubicBezTo>
                    <a:pt x="113" y="59"/>
                    <a:pt x="112" y="55"/>
                    <a:pt x="112" y="52"/>
                  </a:cubicBezTo>
                  <a:cubicBezTo>
                    <a:pt x="112" y="49"/>
                    <a:pt x="109" y="48"/>
                    <a:pt x="107" y="46"/>
                  </a:cubicBezTo>
                  <a:cubicBezTo>
                    <a:pt x="110" y="44"/>
                    <a:pt x="108" y="41"/>
                    <a:pt x="110" y="38"/>
                  </a:cubicBezTo>
                  <a:cubicBezTo>
                    <a:pt x="108" y="38"/>
                    <a:pt x="108" y="39"/>
                    <a:pt x="107" y="39"/>
                  </a:cubicBezTo>
                  <a:cubicBezTo>
                    <a:pt x="105" y="39"/>
                    <a:pt x="108" y="35"/>
                    <a:pt x="108" y="32"/>
                  </a:cubicBezTo>
                  <a:cubicBezTo>
                    <a:pt x="107" y="31"/>
                    <a:pt x="106" y="31"/>
                    <a:pt x="105" y="31"/>
                  </a:cubicBezTo>
                  <a:cubicBezTo>
                    <a:pt x="105" y="31"/>
                    <a:pt x="104" y="31"/>
                    <a:pt x="104" y="31"/>
                  </a:cubicBezTo>
                  <a:cubicBezTo>
                    <a:pt x="104" y="31"/>
                    <a:pt x="103" y="31"/>
                    <a:pt x="103" y="31"/>
                  </a:cubicBezTo>
                  <a:cubicBezTo>
                    <a:pt x="102" y="31"/>
                    <a:pt x="102" y="31"/>
                    <a:pt x="102" y="31"/>
                  </a:cubicBezTo>
                  <a:cubicBezTo>
                    <a:pt x="99" y="28"/>
                    <a:pt x="105" y="26"/>
                    <a:pt x="105" y="25"/>
                  </a:cubicBezTo>
                  <a:cubicBezTo>
                    <a:pt x="108" y="21"/>
                    <a:pt x="103" y="17"/>
                    <a:pt x="104" y="13"/>
                  </a:cubicBezTo>
                  <a:cubicBezTo>
                    <a:pt x="102" y="13"/>
                    <a:pt x="101" y="14"/>
                    <a:pt x="101" y="14"/>
                  </a:cubicBezTo>
                  <a:cubicBezTo>
                    <a:pt x="99" y="14"/>
                    <a:pt x="99" y="12"/>
                    <a:pt x="97" y="9"/>
                  </a:cubicBezTo>
                  <a:cubicBezTo>
                    <a:pt x="95" y="5"/>
                    <a:pt x="89" y="3"/>
                    <a:pt x="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 name="Freeform 1098">
              <a:extLst>
                <a:ext uri="{FF2B5EF4-FFF2-40B4-BE49-F238E27FC236}">
                  <a16:creationId xmlns:a16="http://schemas.microsoft.com/office/drawing/2014/main" id="{59ED73D5-766C-419D-839F-418A93917C5D}"/>
                </a:ext>
              </a:extLst>
            </p:cNvPr>
            <p:cNvSpPr>
              <a:spLocks/>
            </p:cNvSpPr>
            <p:nvPr/>
          </p:nvSpPr>
          <p:spPr bwMode="auto">
            <a:xfrm>
              <a:off x="4533067" y="3970633"/>
              <a:ext cx="22820" cy="18793"/>
            </a:xfrm>
            <a:custGeom>
              <a:avLst/>
              <a:gdLst>
                <a:gd name="T0" fmla="*/ 4 w 7"/>
                <a:gd name="T1" fmla="*/ 0 h 6"/>
                <a:gd name="T2" fmla="*/ 1 w 7"/>
                <a:gd name="T3" fmla="*/ 2 h 6"/>
                <a:gd name="T4" fmla="*/ 6 w 7"/>
                <a:gd name="T5" fmla="*/ 6 h 6"/>
                <a:gd name="T6" fmla="*/ 5 w 7"/>
                <a:gd name="T7" fmla="*/ 0 h 6"/>
                <a:gd name="T8" fmla="*/ 4 w 7"/>
                <a:gd name="T9" fmla="*/ 0 h 6"/>
              </a:gdLst>
              <a:ahLst/>
              <a:cxnLst>
                <a:cxn ang="0">
                  <a:pos x="T0" y="T1"/>
                </a:cxn>
                <a:cxn ang="0">
                  <a:pos x="T2" y="T3"/>
                </a:cxn>
                <a:cxn ang="0">
                  <a:pos x="T4" y="T5"/>
                </a:cxn>
                <a:cxn ang="0">
                  <a:pos x="T6" y="T7"/>
                </a:cxn>
                <a:cxn ang="0">
                  <a:pos x="T8" y="T9"/>
                </a:cxn>
              </a:cxnLst>
              <a:rect l="0" t="0" r="r" b="b"/>
              <a:pathLst>
                <a:path w="7" h="6">
                  <a:moveTo>
                    <a:pt x="4" y="0"/>
                  </a:moveTo>
                  <a:cubicBezTo>
                    <a:pt x="3" y="0"/>
                    <a:pt x="1" y="1"/>
                    <a:pt x="1" y="2"/>
                  </a:cubicBezTo>
                  <a:cubicBezTo>
                    <a:pt x="0" y="2"/>
                    <a:pt x="5" y="6"/>
                    <a:pt x="6" y="6"/>
                  </a:cubicBezTo>
                  <a:cubicBezTo>
                    <a:pt x="6" y="4"/>
                    <a:pt x="7"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Freeform 1099">
              <a:extLst>
                <a:ext uri="{FF2B5EF4-FFF2-40B4-BE49-F238E27FC236}">
                  <a16:creationId xmlns:a16="http://schemas.microsoft.com/office/drawing/2014/main" id="{AB604B0E-7537-4DF8-A98B-4859339466F2}"/>
                </a:ext>
              </a:extLst>
            </p:cNvPr>
            <p:cNvSpPr>
              <a:spLocks/>
            </p:cNvSpPr>
            <p:nvPr/>
          </p:nvSpPr>
          <p:spPr bwMode="auto">
            <a:xfrm>
              <a:off x="4479374" y="3777337"/>
              <a:ext cx="32216" cy="30874"/>
            </a:xfrm>
            <a:custGeom>
              <a:avLst/>
              <a:gdLst>
                <a:gd name="T0" fmla="*/ 7 w 10"/>
                <a:gd name="T1" fmla="*/ 0 h 10"/>
                <a:gd name="T2" fmla="*/ 6 w 10"/>
                <a:gd name="T3" fmla="*/ 0 h 10"/>
                <a:gd name="T4" fmla="*/ 6 w 10"/>
                <a:gd name="T5" fmla="*/ 10 h 10"/>
                <a:gd name="T6" fmla="*/ 7 w 10"/>
                <a:gd name="T7" fmla="*/ 5 h 10"/>
                <a:gd name="T8" fmla="*/ 8 w 10"/>
                <a:gd name="T9" fmla="*/ 2 h 10"/>
                <a:gd name="T10" fmla="*/ 7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7" y="0"/>
                  </a:moveTo>
                  <a:cubicBezTo>
                    <a:pt x="7" y="0"/>
                    <a:pt x="6" y="0"/>
                    <a:pt x="6" y="0"/>
                  </a:cubicBezTo>
                  <a:cubicBezTo>
                    <a:pt x="0" y="1"/>
                    <a:pt x="5" y="8"/>
                    <a:pt x="6" y="10"/>
                  </a:cubicBezTo>
                  <a:cubicBezTo>
                    <a:pt x="10" y="8"/>
                    <a:pt x="7" y="7"/>
                    <a:pt x="7" y="5"/>
                  </a:cubicBezTo>
                  <a:cubicBezTo>
                    <a:pt x="7" y="4"/>
                    <a:pt x="8" y="4"/>
                    <a:pt x="8" y="2"/>
                  </a:cubicBezTo>
                  <a:cubicBezTo>
                    <a:pt x="8"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 name="Freeform 1100">
              <a:extLst>
                <a:ext uri="{FF2B5EF4-FFF2-40B4-BE49-F238E27FC236}">
                  <a16:creationId xmlns:a16="http://schemas.microsoft.com/office/drawing/2014/main" id="{A4B65F7F-944A-4C30-A0D2-1BD43C8E549B}"/>
                </a:ext>
              </a:extLst>
            </p:cNvPr>
            <p:cNvSpPr>
              <a:spLocks/>
            </p:cNvSpPr>
            <p:nvPr/>
          </p:nvSpPr>
          <p:spPr bwMode="auto">
            <a:xfrm>
              <a:off x="4539779" y="4103525"/>
              <a:ext cx="16108" cy="25504"/>
            </a:xfrm>
            <a:custGeom>
              <a:avLst/>
              <a:gdLst>
                <a:gd name="T0" fmla="*/ 4 w 5"/>
                <a:gd name="T1" fmla="*/ 0 h 8"/>
                <a:gd name="T2" fmla="*/ 1 w 5"/>
                <a:gd name="T3" fmla="*/ 5 h 8"/>
                <a:gd name="T4" fmla="*/ 1 w 5"/>
                <a:gd name="T5" fmla="*/ 8 h 8"/>
                <a:gd name="T6" fmla="*/ 4 w 5"/>
                <a:gd name="T7" fmla="*/ 0 h 8"/>
              </a:gdLst>
              <a:ahLst/>
              <a:cxnLst>
                <a:cxn ang="0">
                  <a:pos x="T0" y="T1"/>
                </a:cxn>
                <a:cxn ang="0">
                  <a:pos x="T2" y="T3"/>
                </a:cxn>
                <a:cxn ang="0">
                  <a:pos x="T4" y="T5"/>
                </a:cxn>
                <a:cxn ang="0">
                  <a:pos x="T6" y="T7"/>
                </a:cxn>
              </a:cxnLst>
              <a:rect l="0" t="0" r="r" b="b"/>
              <a:pathLst>
                <a:path w="5" h="8">
                  <a:moveTo>
                    <a:pt x="4" y="0"/>
                  </a:moveTo>
                  <a:cubicBezTo>
                    <a:pt x="3" y="2"/>
                    <a:pt x="0" y="3"/>
                    <a:pt x="1" y="5"/>
                  </a:cubicBezTo>
                  <a:cubicBezTo>
                    <a:pt x="0" y="6"/>
                    <a:pt x="0" y="7"/>
                    <a:pt x="1" y="8"/>
                  </a:cubicBezTo>
                  <a:cubicBezTo>
                    <a:pt x="3" y="5"/>
                    <a:pt x="5"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 name="Freeform 1101">
              <a:extLst>
                <a:ext uri="{FF2B5EF4-FFF2-40B4-BE49-F238E27FC236}">
                  <a16:creationId xmlns:a16="http://schemas.microsoft.com/office/drawing/2014/main" id="{C2A1989C-C7B2-437E-9B47-4419362DE2E3}"/>
                </a:ext>
              </a:extLst>
            </p:cNvPr>
            <p:cNvSpPr>
              <a:spLocks/>
            </p:cNvSpPr>
            <p:nvPr/>
          </p:nvSpPr>
          <p:spPr bwMode="auto">
            <a:xfrm>
              <a:off x="4793481" y="4157218"/>
              <a:ext cx="22820" cy="22820"/>
            </a:xfrm>
            <a:custGeom>
              <a:avLst/>
              <a:gdLst>
                <a:gd name="T0" fmla="*/ 4 w 7"/>
                <a:gd name="T1" fmla="*/ 0 h 7"/>
                <a:gd name="T2" fmla="*/ 3 w 7"/>
                <a:gd name="T3" fmla="*/ 7 h 7"/>
                <a:gd name="T4" fmla="*/ 7 w 7"/>
                <a:gd name="T5" fmla="*/ 6 h 7"/>
                <a:gd name="T6" fmla="*/ 4 w 7"/>
                <a:gd name="T7" fmla="*/ 0 h 7"/>
              </a:gdLst>
              <a:ahLst/>
              <a:cxnLst>
                <a:cxn ang="0">
                  <a:pos x="T0" y="T1"/>
                </a:cxn>
                <a:cxn ang="0">
                  <a:pos x="T2" y="T3"/>
                </a:cxn>
                <a:cxn ang="0">
                  <a:pos x="T4" y="T5"/>
                </a:cxn>
                <a:cxn ang="0">
                  <a:pos x="T6" y="T7"/>
                </a:cxn>
              </a:cxnLst>
              <a:rect l="0" t="0" r="r" b="b"/>
              <a:pathLst>
                <a:path w="7" h="7">
                  <a:moveTo>
                    <a:pt x="4" y="0"/>
                  </a:moveTo>
                  <a:cubicBezTo>
                    <a:pt x="3" y="3"/>
                    <a:pt x="0" y="4"/>
                    <a:pt x="3" y="7"/>
                  </a:cubicBezTo>
                  <a:cubicBezTo>
                    <a:pt x="4" y="7"/>
                    <a:pt x="6" y="6"/>
                    <a:pt x="7" y="6"/>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 name="Freeform 1102">
              <a:extLst>
                <a:ext uri="{FF2B5EF4-FFF2-40B4-BE49-F238E27FC236}">
                  <a16:creationId xmlns:a16="http://schemas.microsoft.com/office/drawing/2014/main" id="{02ED71D5-F243-495D-8A8E-051F0F112670}"/>
                </a:ext>
              </a:extLst>
            </p:cNvPr>
            <p:cNvSpPr>
              <a:spLocks/>
            </p:cNvSpPr>
            <p:nvPr/>
          </p:nvSpPr>
          <p:spPr bwMode="auto">
            <a:xfrm>
              <a:off x="4613608" y="4214939"/>
              <a:ext cx="18793" cy="16108"/>
            </a:xfrm>
            <a:custGeom>
              <a:avLst/>
              <a:gdLst>
                <a:gd name="T0" fmla="*/ 3 w 6"/>
                <a:gd name="T1" fmla="*/ 0 h 5"/>
                <a:gd name="T2" fmla="*/ 0 w 6"/>
                <a:gd name="T3" fmla="*/ 2 h 5"/>
                <a:gd name="T4" fmla="*/ 3 w 6"/>
                <a:gd name="T5" fmla="*/ 5 h 5"/>
                <a:gd name="T6" fmla="*/ 3 w 6"/>
                <a:gd name="T7" fmla="*/ 0 h 5"/>
              </a:gdLst>
              <a:ahLst/>
              <a:cxnLst>
                <a:cxn ang="0">
                  <a:pos x="T0" y="T1"/>
                </a:cxn>
                <a:cxn ang="0">
                  <a:pos x="T2" y="T3"/>
                </a:cxn>
                <a:cxn ang="0">
                  <a:pos x="T4" y="T5"/>
                </a:cxn>
                <a:cxn ang="0">
                  <a:pos x="T6" y="T7"/>
                </a:cxn>
              </a:cxnLst>
              <a:rect l="0" t="0" r="r" b="b"/>
              <a:pathLst>
                <a:path w="6" h="5">
                  <a:moveTo>
                    <a:pt x="3" y="0"/>
                  </a:moveTo>
                  <a:cubicBezTo>
                    <a:pt x="3" y="1"/>
                    <a:pt x="0" y="1"/>
                    <a:pt x="0" y="2"/>
                  </a:cubicBezTo>
                  <a:cubicBezTo>
                    <a:pt x="0" y="3"/>
                    <a:pt x="3" y="4"/>
                    <a:pt x="3" y="5"/>
                  </a:cubicBezTo>
                  <a:cubicBezTo>
                    <a:pt x="6" y="4"/>
                    <a:pt x="6"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 name="Freeform 1103">
              <a:extLst>
                <a:ext uri="{FF2B5EF4-FFF2-40B4-BE49-F238E27FC236}">
                  <a16:creationId xmlns:a16="http://schemas.microsoft.com/office/drawing/2014/main" id="{AF6ED919-595A-4AF6-BA6A-A980FDC47CD7}"/>
                </a:ext>
              </a:extLst>
            </p:cNvPr>
            <p:cNvSpPr>
              <a:spLocks/>
            </p:cNvSpPr>
            <p:nvPr/>
          </p:nvSpPr>
          <p:spPr bwMode="auto">
            <a:xfrm>
              <a:off x="4124997" y="4303533"/>
              <a:ext cx="14766" cy="22820"/>
            </a:xfrm>
            <a:custGeom>
              <a:avLst/>
              <a:gdLst>
                <a:gd name="T0" fmla="*/ 2 w 5"/>
                <a:gd name="T1" fmla="*/ 0 h 7"/>
                <a:gd name="T2" fmla="*/ 2 w 5"/>
                <a:gd name="T3" fmla="*/ 7 h 7"/>
                <a:gd name="T4" fmla="*/ 3 w 5"/>
                <a:gd name="T5" fmla="*/ 2 h 7"/>
                <a:gd name="T6" fmla="*/ 4 w 5"/>
                <a:gd name="T7" fmla="*/ 1 h 7"/>
                <a:gd name="T8" fmla="*/ 2 w 5"/>
                <a:gd name="T9" fmla="*/ 0 h 7"/>
              </a:gdLst>
              <a:ahLst/>
              <a:cxnLst>
                <a:cxn ang="0">
                  <a:pos x="T0" y="T1"/>
                </a:cxn>
                <a:cxn ang="0">
                  <a:pos x="T2" y="T3"/>
                </a:cxn>
                <a:cxn ang="0">
                  <a:pos x="T4" y="T5"/>
                </a:cxn>
                <a:cxn ang="0">
                  <a:pos x="T6" y="T7"/>
                </a:cxn>
                <a:cxn ang="0">
                  <a:pos x="T8" y="T9"/>
                </a:cxn>
              </a:cxnLst>
              <a:rect l="0" t="0" r="r" b="b"/>
              <a:pathLst>
                <a:path w="5" h="7">
                  <a:moveTo>
                    <a:pt x="2" y="0"/>
                  </a:moveTo>
                  <a:cubicBezTo>
                    <a:pt x="0" y="0"/>
                    <a:pt x="2" y="6"/>
                    <a:pt x="2" y="7"/>
                  </a:cubicBezTo>
                  <a:cubicBezTo>
                    <a:pt x="3" y="5"/>
                    <a:pt x="5" y="4"/>
                    <a:pt x="3" y="2"/>
                  </a:cubicBezTo>
                  <a:cubicBezTo>
                    <a:pt x="3" y="2"/>
                    <a:pt x="4" y="1"/>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Freeform 1104">
              <a:extLst>
                <a:ext uri="{FF2B5EF4-FFF2-40B4-BE49-F238E27FC236}">
                  <a16:creationId xmlns:a16="http://schemas.microsoft.com/office/drawing/2014/main" id="{37631807-9362-480E-8F76-078D8F050749}"/>
                </a:ext>
              </a:extLst>
            </p:cNvPr>
            <p:cNvSpPr>
              <a:spLocks/>
            </p:cNvSpPr>
            <p:nvPr/>
          </p:nvSpPr>
          <p:spPr bwMode="auto">
            <a:xfrm>
              <a:off x="4492797" y="4405551"/>
              <a:ext cx="40270" cy="25504"/>
            </a:xfrm>
            <a:custGeom>
              <a:avLst/>
              <a:gdLst>
                <a:gd name="T0" fmla="*/ 5 w 13"/>
                <a:gd name="T1" fmla="*/ 0 h 8"/>
                <a:gd name="T2" fmla="*/ 3 w 13"/>
                <a:gd name="T3" fmla="*/ 1 h 8"/>
                <a:gd name="T4" fmla="*/ 1 w 13"/>
                <a:gd name="T5" fmla="*/ 2 h 8"/>
                <a:gd name="T6" fmla="*/ 0 w 13"/>
                <a:gd name="T7" fmla="*/ 2 h 8"/>
                <a:gd name="T8" fmla="*/ 3 w 13"/>
                <a:gd name="T9" fmla="*/ 8 h 8"/>
                <a:gd name="T10" fmla="*/ 8 w 13"/>
                <a:gd name="T11" fmla="*/ 7 h 8"/>
                <a:gd name="T12" fmla="*/ 8 w 13"/>
                <a:gd name="T13" fmla="*/ 5 h 8"/>
                <a:gd name="T14" fmla="*/ 9 w 13"/>
                <a:gd name="T15" fmla="*/ 2 h 8"/>
                <a:gd name="T16" fmla="*/ 5 w 13"/>
                <a:gd name="T17" fmla="*/ 0 h 8"/>
                <a:gd name="T18" fmla="*/ 5 w 13"/>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
                  <a:moveTo>
                    <a:pt x="5" y="0"/>
                  </a:moveTo>
                  <a:cubicBezTo>
                    <a:pt x="4" y="0"/>
                    <a:pt x="3" y="0"/>
                    <a:pt x="3" y="1"/>
                  </a:cubicBezTo>
                  <a:cubicBezTo>
                    <a:pt x="2" y="1"/>
                    <a:pt x="1" y="2"/>
                    <a:pt x="1" y="2"/>
                  </a:cubicBezTo>
                  <a:cubicBezTo>
                    <a:pt x="0" y="2"/>
                    <a:pt x="0" y="2"/>
                    <a:pt x="0" y="2"/>
                  </a:cubicBezTo>
                  <a:cubicBezTo>
                    <a:pt x="0" y="4"/>
                    <a:pt x="2" y="6"/>
                    <a:pt x="3" y="8"/>
                  </a:cubicBezTo>
                  <a:cubicBezTo>
                    <a:pt x="4" y="8"/>
                    <a:pt x="7" y="8"/>
                    <a:pt x="8" y="7"/>
                  </a:cubicBezTo>
                  <a:cubicBezTo>
                    <a:pt x="8" y="6"/>
                    <a:pt x="8" y="5"/>
                    <a:pt x="8" y="5"/>
                  </a:cubicBezTo>
                  <a:cubicBezTo>
                    <a:pt x="10" y="3"/>
                    <a:pt x="13" y="3"/>
                    <a:pt x="9" y="2"/>
                  </a:cubicBezTo>
                  <a:cubicBezTo>
                    <a:pt x="7" y="2"/>
                    <a:pt x="7"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Freeform 1105">
              <a:extLst>
                <a:ext uri="{FF2B5EF4-FFF2-40B4-BE49-F238E27FC236}">
                  <a16:creationId xmlns:a16="http://schemas.microsoft.com/office/drawing/2014/main" id="{E5432D7F-8913-4705-9C64-9933DB82C78C}"/>
                </a:ext>
              </a:extLst>
            </p:cNvPr>
            <p:cNvSpPr>
              <a:spLocks/>
            </p:cNvSpPr>
            <p:nvPr/>
          </p:nvSpPr>
          <p:spPr bwMode="auto">
            <a:xfrm>
              <a:off x="4774688" y="4373334"/>
              <a:ext cx="9396" cy="22820"/>
            </a:xfrm>
            <a:custGeom>
              <a:avLst/>
              <a:gdLst>
                <a:gd name="T0" fmla="*/ 1 w 3"/>
                <a:gd name="T1" fmla="*/ 0 h 7"/>
                <a:gd name="T2" fmla="*/ 3 w 3"/>
                <a:gd name="T3" fmla="*/ 7 h 7"/>
                <a:gd name="T4" fmla="*/ 1 w 3"/>
                <a:gd name="T5" fmla="*/ 0 h 7"/>
              </a:gdLst>
              <a:ahLst/>
              <a:cxnLst>
                <a:cxn ang="0">
                  <a:pos x="T0" y="T1"/>
                </a:cxn>
                <a:cxn ang="0">
                  <a:pos x="T2" y="T3"/>
                </a:cxn>
                <a:cxn ang="0">
                  <a:pos x="T4" y="T5"/>
                </a:cxn>
              </a:cxnLst>
              <a:rect l="0" t="0" r="r" b="b"/>
              <a:pathLst>
                <a:path w="3" h="7">
                  <a:moveTo>
                    <a:pt x="1" y="0"/>
                  </a:moveTo>
                  <a:cubicBezTo>
                    <a:pt x="0" y="2"/>
                    <a:pt x="2" y="4"/>
                    <a:pt x="3" y="7"/>
                  </a:cubicBezTo>
                  <a:cubicBezTo>
                    <a:pt x="3"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Freeform 1106">
              <a:extLst>
                <a:ext uri="{FF2B5EF4-FFF2-40B4-BE49-F238E27FC236}">
                  <a16:creationId xmlns:a16="http://schemas.microsoft.com/office/drawing/2014/main" id="{C86E83E8-DF0F-4915-B394-7C47C24B9A42}"/>
                </a:ext>
              </a:extLst>
            </p:cNvPr>
            <p:cNvSpPr>
              <a:spLocks/>
            </p:cNvSpPr>
            <p:nvPr/>
          </p:nvSpPr>
          <p:spPr bwMode="auto">
            <a:xfrm>
              <a:off x="4488770" y="3333023"/>
              <a:ext cx="4027" cy="9396"/>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Freeform 1107">
              <a:extLst>
                <a:ext uri="{FF2B5EF4-FFF2-40B4-BE49-F238E27FC236}">
                  <a16:creationId xmlns:a16="http://schemas.microsoft.com/office/drawing/2014/main" id="{24B0EE3F-9B57-4D56-AF37-E8CE3E4D93BD}"/>
                </a:ext>
              </a:extLst>
            </p:cNvPr>
            <p:cNvSpPr>
              <a:spLocks/>
            </p:cNvSpPr>
            <p:nvPr/>
          </p:nvSpPr>
          <p:spPr bwMode="auto">
            <a:xfrm>
              <a:off x="4618977" y="3957210"/>
              <a:ext cx="18793" cy="25504"/>
            </a:xfrm>
            <a:custGeom>
              <a:avLst/>
              <a:gdLst>
                <a:gd name="T0" fmla="*/ 1 w 6"/>
                <a:gd name="T1" fmla="*/ 0 h 8"/>
                <a:gd name="T2" fmla="*/ 6 w 6"/>
                <a:gd name="T3" fmla="*/ 8 h 8"/>
                <a:gd name="T4" fmla="*/ 1 w 6"/>
                <a:gd name="T5" fmla="*/ 0 h 8"/>
              </a:gdLst>
              <a:ahLst/>
              <a:cxnLst>
                <a:cxn ang="0">
                  <a:pos x="T0" y="T1"/>
                </a:cxn>
                <a:cxn ang="0">
                  <a:pos x="T2" y="T3"/>
                </a:cxn>
                <a:cxn ang="0">
                  <a:pos x="T4" y="T5"/>
                </a:cxn>
              </a:cxnLst>
              <a:rect l="0" t="0" r="r" b="b"/>
              <a:pathLst>
                <a:path w="6" h="8">
                  <a:moveTo>
                    <a:pt x="1" y="0"/>
                  </a:moveTo>
                  <a:cubicBezTo>
                    <a:pt x="0" y="2"/>
                    <a:pt x="4" y="7"/>
                    <a:pt x="6" y="8"/>
                  </a:cubicBezTo>
                  <a:cubicBezTo>
                    <a:pt x="4" y="5"/>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 name="Freeform 1108">
              <a:extLst>
                <a:ext uri="{FF2B5EF4-FFF2-40B4-BE49-F238E27FC236}">
                  <a16:creationId xmlns:a16="http://schemas.microsoft.com/office/drawing/2014/main" id="{A2F1252F-6745-4AC4-8FD3-F250894EA8F4}"/>
                </a:ext>
              </a:extLst>
            </p:cNvPr>
            <p:cNvSpPr>
              <a:spLocks/>
            </p:cNvSpPr>
            <p:nvPr/>
          </p:nvSpPr>
          <p:spPr bwMode="auto">
            <a:xfrm>
              <a:off x="4492797" y="3475311"/>
              <a:ext cx="5369" cy="12081"/>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0" y="0"/>
                    <a:pt x="0" y="2"/>
                    <a:pt x="0" y="4"/>
                  </a:cubicBezTo>
                  <a:cubicBezTo>
                    <a:pt x="1" y="3"/>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 name="Freeform 1109">
              <a:extLst>
                <a:ext uri="{FF2B5EF4-FFF2-40B4-BE49-F238E27FC236}">
                  <a16:creationId xmlns:a16="http://schemas.microsoft.com/office/drawing/2014/main" id="{07C23D0C-338F-409E-B406-11346DC20245}"/>
                </a:ext>
              </a:extLst>
            </p:cNvPr>
            <p:cNvSpPr>
              <a:spLocks/>
            </p:cNvSpPr>
            <p:nvPr/>
          </p:nvSpPr>
          <p:spPr bwMode="auto">
            <a:xfrm>
              <a:off x="4492797" y="4014930"/>
              <a:ext cx="95306" cy="111414"/>
            </a:xfrm>
            <a:custGeom>
              <a:avLst/>
              <a:gdLst>
                <a:gd name="T0" fmla="*/ 2 w 30"/>
                <a:gd name="T1" fmla="*/ 0 h 35"/>
                <a:gd name="T2" fmla="*/ 0 w 30"/>
                <a:gd name="T3" fmla="*/ 4 h 35"/>
                <a:gd name="T4" fmla="*/ 1 w 30"/>
                <a:gd name="T5" fmla="*/ 4 h 35"/>
                <a:gd name="T6" fmla="*/ 5 w 30"/>
                <a:gd name="T7" fmla="*/ 10 h 35"/>
                <a:gd name="T8" fmla="*/ 5 w 30"/>
                <a:gd name="T9" fmla="*/ 18 h 35"/>
                <a:gd name="T10" fmla="*/ 3 w 30"/>
                <a:gd name="T11" fmla="*/ 25 h 35"/>
                <a:gd name="T12" fmla="*/ 3 w 30"/>
                <a:gd name="T13" fmla="*/ 35 h 35"/>
                <a:gd name="T14" fmla="*/ 5 w 30"/>
                <a:gd name="T15" fmla="*/ 35 h 35"/>
                <a:gd name="T16" fmla="*/ 23 w 30"/>
                <a:gd name="T17" fmla="*/ 25 h 35"/>
                <a:gd name="T18" fmla="*/ 30 w 30"/>
                <a:gd name="T19" fmla="*/ 18 h 35"/>
                <a:gd name="T20" fmla="*/ 29 w 30"/>
                <a:gd name="T21" fmla="*/ 16 h 35"/>
                <a:gd name="T22" fmla="*/ 30 w 30"/>
                <a:gd name="T23" fmla="*/ 12 h 35"/>
                <a:gd name="T24" fmla="*/ 29 w 30"/>
                <a:gd name="T25" fmla="*/ 10 h 35"/>
                <a:gd name="T26" fmla="*/ 24 w 30"/>
                <a:gd name="T27" fmla="*/ 12 h 35"/>
                <a:gd name="T28" fmla="*/ 16 w 30"/>
                <a:gd name="T29" fmla="*/ 8 h 35"/>
                <a:gd name="T30" fmla="*/ 2 w 30"/>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5">
                  <a:moveTo>
                    <a:pt x="2" y="0"/>
                  </a:moveTo>
                  <a:cubicBezTo>
                    <a:pt x="1" y="1"/>
                    <a:pt x="1" y="2"/>
                    <a:pt x="0" y="4"/>
                  </a:cubicBezTo>
                  <a:cubicBezTo>
                    <a:pt x="1" y="4"/>
                    <a:pt x="1" y="4"/>
                    <a:pt x="1" y="4"/>
                  </a:cubicBezTo>
                  <a:cubicBezTo>
                    <a:pt x="6" y="6"/>
                    <a:pt x="6" y="6"/>
                    <a:pt x="5" y="10"/>
                  </a:cubicBezTo>
                  <a:cubicBezTo>
                    <a:pt x="5" y="13"/>
                    <a:pt x="5" y="15"/>
                    <a:pt x="5" y="18"/>
                  </a:cubicBezTo>
                  <a:cubicBezTo>
                    <a:pt x="5" y="21"/>
                    <a:pt x="4" y="22"/>
                    <a:pt x="3" y="25"/>
                  </a:cubicBezTo>
                  <a:cubicBezTo>
                    <a:pt x="3" y="28"/>
                    <a:pt x="0" y="35"/>
                    <a:pt x="3" y="35"/>
                  </a:cubicBezTo>
                  <a:cubicBezTo>
                    <a:pt x="3" y="35"/>
                    <a:pt x="4" y="35"/>
                    <a:pt x="5" y="35"/>
                  </a:cubicBezTo>
                  <a:cubicBezTo>
                    <a:pt x="11" y="32"/>
                    <a:pt x="18" y="30"/>
                    <a:pt x="23" y="25"/>
                  </a:cubicBezTo>
                  <a:cubicBezTo>
                    <a:pt x="25" y="23"/>
                    <a:pt x="29" y="20"/>
                    <a:pt x="30" y="18"/>
                  </a:cubicBezTo>
                  <a:cubicBezTo>
                    <a:pt x="30" y="17"/>
                    <a:pt x="29" y="17"/>
                    <a:pt x="29" y="16"/>
                  </a:cubicBezTo>
                  <a:cubicBezTo>
                    <a:pt x="30" y="15"/>
                    <a:pt x="30" y="14"/>
                    <a:pt x="30" y="12"/>
                  </a:cubicBezTo>
                  <a:cubicBezTo>
                    <a:pt x="30" y="10"/>
                    <a:pt x="30" y="10"/>
                    <a:pt x="29" y="10"/>
                  </a:cubicBezTo>
                  <a:cubicBezTo>
                    <a:pt x="28" y="10"/>
                    <a:pt x="26" y="11"/>
                    <a:pt x="24" y="12"/>
                  </a:cubicBezTo>
                  <a:cubicBezTo>
                    <a:pt x="22" y="10"/>
                    <a:pt x="18" y="10"/>
                    <a:pt x="16" y="8"/>
                  </a:cubicBezTo>
                  <a:cubicBezTo>
                    <a:pt x="11" y="5"/>
                    <a:pt x="7"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 name="Freeform 1110">
              <a:extLst>
                <a:ext uri="{FF2B5EF4-FFF2-40B4-BE49-F238E27FC236}">
                  <a16:creationId xmlns:a16="http://schemas.microsoft.com/office/drawing/2014/main" id="{66AC9647-A0B7-46FC-BE9E-814DB7B6BBB8}"/>
                </a:ext>
              </a:extLst>
            </p:cNvPr>
            <p:cNvSpPr>
              <a:spLocks/>
            </p:cNvSpPr>
            <p:nvPr/>
          </p:nvSpPr>
          <p:spPr bwMode="auto">
            <a:xfrm>
              <a:off x="4574680" y="3926336"/>
              <a:ext cx="6712" cy="9396"/>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2"/>
                    <a:pt x="1" y="2"/>
                    <a:pt x="2"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 name="Freeform 1111">
              <a:extLst>
                <a:ext uri="{FF2B5EF4-FFF2-40B4-BE49-F238E27FC236}">
                  <a16:creationId xmlns:a16="http://schemas.microsoft.com/office/drawing/2014/main" id="{DFF4B7EF-8BFF-4D1E-8CF1-B8FF87E04E98}"/>
                </a:ext>
              </a:extLst>
            </p:cNvPr>
            <p:cNvSpPr>
              <a:spLocks/>
            </p:cNvSpPr>
            <p:nvPr/>
          </p:nvSpPr>
          <p:spPr bwMode="auto">
            <a:xfrm>
              <a:off x="4343798" y="4512937"/>
              <a:ext cx="30874" cy="18793"/>
            </a:xfrm>
            <a:custGeom>
              <a:avLst/>
              <a:gdLst>
                <a:gd name="T0" fmla="*/ 8 w 10"/>
                <a:gd name="T1" fmla="*/ 0 h 6"/>
                <a:gd name="T2" fmla="*/ 0 w 10"/>
                <a:gd name="T3" fmla="*/ 6 h 6"/>
                <a:gd name="T4" fmla="*/ 3 w 10"/>
                <a:gd name="T5" fmla="*/ 4 h 6"/>
                <a:gd name="T6" fmla="*/ 4 w 10"/>
                <a:gd name="T7" fmla="*/ 3 h 6"/>
                <a:gd name="T8" fmla="*/ 5 w 10"/>
                <a:gd name="T9" fmla="*/ 3 h 6"/>
                <a:gd name="T10" fmla="*/ 5 w 10"/>
                <a:gd name="T11" fmla="*/ 3 h 6"/>
                <a:gd name="T12" fmla="*/ 6 w 10"/>
                <a:gd name="T13" fmla="*/ 3 h 6"/>
                <a:gd name="T14" fmla="*/ 6 w 10"/>
                <a:gd name="T15" fmla="*/ 2 h 6"/>
                <a:gd name="T16" fmla="*/ 7 w 10"/>
                <a:gd name="T17" fmla="*/ 3 h 6"/>
                <a:gd name="T18" fmla="*/ 9 w 10"/>
                <a:gd name="T19" fmla="*/ 4 h 6"/>
                <a:gd name="T20" fmla="*/ 9 w 10"/>
                <a:gd name="T21" fmla="*/ 1 h 6"/>
                <a:gd name="T22" fmla="*/ 8 w 10"/>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6">
                  <a:moveTo>
                    <a:pt x="8" y="0"/>
                  </a:moveTo>
                  <a:cubicBezTo>
                    <a:pt x="6" y="0"/>
                    <a:pt x="2" y="5"/>
                    <a:pt x="0" y="6"/>
                  </a:cubicBezTo>
                  <a:cubicBezTo>
                    <a:pt x="1" y="6"/>
                    <a:pt x="3" y="5"/>
                    <a:pt x="3" y="4"/>
                  </a:cubicBezTo>
                  <a:cubicBezTo>
                    <a:pt x="4" y="4"/>
                    <a:pt x="4" y="4"/>
                    <a:pt x="4" y="3"/>
                  </a:cubicBezTo>
                  <a:cubicBezTo>
                    <a:pt x="4" y="3"/>
                    <a:pt x="5" y="3"/>
                    <a:pt x="5" y="3"/>
                  </a:cubicBezTo>
                  <a:cubicBezTo>
                    <a:pt x="5" y="3"/>
                    <a:pt x="5" y="3"/>
                    <a:pt x="5" y="3"/>
                  </a:cubicBezTo>
                  <a:cubicBezTo>
                    <a:pt x="5" y="3"/>
                    <a:pt x="6" y="3"/>
                    <a:pt x="6" y="3"/>
                  </a:cubicBezTo>
                  <a:cubicBezTo>
                    <a:pt x="6" y="3"/>
                    <a:pt x="6" y="3"/>
                    <a:pt x="6" y="2"/>
                  </a:cubicBezTo>
                  <a:cubicBezTo>
                    <a:pt x="7" y="2"/>
                    <a:pt x="7" y="3"/>
                    <a:pt x="7" y="3"/>
                  </a:cubicBezTo>
                  <a:cubicBezTo>
                    <a:pt x="7" y="3"/>
                    <a:pt x="8" y="3"/>
                    <a:pt x="9" y="4"/>
                  </a:cubicBezTo>
                  <a:cubicBezTo>
                    <a:pt x="9" y="4"/>
                    <a:pt x="10" y="2"/>
                    <a:pt x="9" y="1"/>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 name="Freeform 1112">
              <a:extLst>
                <a:ext uri="{FF2B5EF4-FFF2-40B4-BE49-F238E27FC236}">
                  <a16:creationId xmlns:a16="http://schemas.microsoft.com/office/drawing/2014/main" id="{27A41442-F05A-40F2-ACF2-ED793F3CB347}"/>
                </a:ext>
              </a:extLst>
            </p:cNvPr>
            <p:cNvSpPr>
              <a:spLocks/>
            </p:cNvSpPr>
            <p:nvPr/>
          </p:nvSpPr>
          <p:spPr bwMode="auto">
            <a:xfrm>
              <a:off x="4453870" y="3443095"/>
              <a:ext cx="13423" cy="13423"/>
            </a:xfrm>
            <a:custGeom>
              <a:avLst/>
              <a:gdLst>
                <a:gd name="T0" fmla="*/ 4 w 4"/>
                <a:gd name="T1" fmla="*/ 0 h 4"/>
                <a:gd name="T2" fmla="*/ 0 w 4"/>
                <a:gd name="T3" fmla="*/ 1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2" y="1"/>
                    <a:pt x="0" y="1"/>
                  </a:cubicBezTo>
                  <a:cubicBezTo>
                    <a:pt x="1" y="2"/>
                    <a:pt x="2" y="3"/>
                    <a:pt x="4" y="4"/>
                  </a:cubicBezTo>
                  <a:cubicBezTo>
                    <a:pt x="4"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Freeform 1113">
              <a:extLst>
                <a:ext uri="{FF2B5EF4-FFF2-40B4-BE49-F238E27FC236}">
                  <a16:creationId xmlns:a16="http://schemas.microsoft.com/office/drawing/2014/main" id="{E6C5FCB8-FD86-4F14-BA9B-EF69B652DFEB}"/>
                </a:ext>
              </a:extLst>
            </p:cNvPr>
            <p:cNvSpPr>
              <a:spLocks/>
            </p:cNvSpPr>
            <p:nvPr/>
          </p:nvSpPr>
          <p:spPr bwMode="auto">
            <a:xfrm>
              <a:off x="4676697" y="4033723"/>
              <a:ext cx="28189" cy="16108"/>
            </a:xfrm>
            <a:custGeom>
              <a:avLst/>
              <a:gdLst>
                <a:gd name="T0" fmla="*/ 2 w 9"/>
                <a:gd name="T1" fmla="*/ 0 h 5"/>
                <a:gd name="T2" fmla="*/ 0 w 9"/>
                <a:gd name="T3" fmla="*/ 0 h 5"/>
                <a:gd name="T4" fmla="*/ 4 w 9"/>
                <a:gd name="T5" fmla="*/ 5 h 5"/>
                <a:gd name="T6" fmla="*/ 2 w 9"/>
                <a:gd name="T7" fmla="*/ 0 h 5"/>
              </a:gdLst>
              <a:ahLst/>
              <a:cxnLst>
                <a:cxn ang="0">
                  <a:pos x="T0" y="T1"/>
                </a:cxn>
                <a:cxn ang="0">
                  <a:pos x="T2" y="T3"/>
                </a:cxn>
                <a:cxn ang="0">
                  <a:pos x="T4" y="T5"/>
                </a:cxn>
                <a:cxn ang="0">
                  <a:pos x="T6" y="T7"/>
                </a:cxn>
              </a:cxnLst>
              <a:rect l="0" t="0" r="r" b="b"/>
              <a:pathLst>
                <a:path w="9" h="5">
                  <a:moveTo>
                    <a:pt x="2" y="0"/>
                  </a:moveTo>
                  <a:cubicBezTo>
                    <a:pt x="2" y="0"/>
                    <a:pt x="1" y="0"/>
                    <a:pt x="0" y="0"/>
                  </a:cubicBezTo>
                  <a:cubicBezTo>
                    <a:pt x="2" y="1"/>
                    <a:pt x="2" y="4"/>
                    <a:pt x="4" y="5"/>
                  </a:cubicBezTo>
                  <a:cubicBezTo>
                    <a:pt x="9" y="3"/>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 name="Freeform 1114">
              <a:extLst>
                <a:ext uri="{FF2B5EF4-FFF2-40B4-BE49-F238E27FC236}">
                  <a16:creationId xmlns:a16="http://schemas.microsoft.com/office/drawing/2014/main" id="{C8AF8F2B-C810-42EC-883E-245E110460A6}"/>
                </a:ext>
              </a:extLst>
            </p:cNvPr>
            <p:cNvSpPr>
              <a:spLocks/>
            </p:cNvSpPr>
            <p:nvPr/>
          </p:nvSpPr>
          <p:spPr bwMode="auto">
            <a:xfrm>
              <a:off x="4488770" y="3891436"/>
              <a:ext cx="29531" cy="28189"/>
            </a:xfrm>
            <a:custGeom>
              <a:avLst/>
              <a:gdLst>
                <a:gd name="T0" fmla="*/ 1 w 9"/>
                <a:gd name="T1" fmla="*/ 0 h 9"/>
                <a:gd name="T2" fmla="*/ 0 w 9"/>
                <a:gd name="T3" fmla="*/ 4 h 9"/>
                <a:gd name="T4" fmla="*/ 5 w 9"/>
                <a:gd name="T5" fmla="*/ 9 h 9"/>
                <a:gd name="T6" fmla="*/ 5 w 9"/>
                <a:gd name="T7" fmla="*/ 1 h 9"/>
                <a:gd name="T8" fmla="*/ 1 w 9"/>
                <a:gd name="T9" fmla="*/ 0 h 9"/>
              </a:gdLst>
              <a:ahLst/>
              <a:cxnLst>
                <a:cxn ang="0">
                  <a:pos x="T0" y="T1"/>
                </a:cxn>
                <a:cxn ang="0">
                  <a:pos x="T2" y="T3"/>
                </a:cxn>
                <a:cxn ang="0">
                  <a:pos x="T4" y="T5"/>
                </a:cxn>
                <a:cxn ang="0">
                  <a:pos x="T6" y="T7"/>
                </a:cxn>
                <a:cxn ang="0">
                  <a:pos x="T8" y="T9"/>
                </a:cxn>
              </a:cxnLst>
              <a:rect l="0" t="0" r="r" b="b"/>
              <a:pathLst>
                <a:path w="9" h="9">
                  <a:moveTo>
                    <a:pt x="1" y="0"/>
                  </a:moveTo>
                  <a:cubicBezTo>
                    <a:pt x="1" y="1"/>
                    <a:pt x="0" y="2"/>
                    <a:pt x="0" y="4"/>
                  </a:cubicBezTo>
                  <a:cubicBezTo>
                    <a:pt x="1" y="7"/>
                    <a:pt x="3" y="7"/>
                    <a:pt x="5" y="9"/>
                  </a:cubicBezTo>
                  <a:cubicBezTo>
                    <a:pt x="6" y="5"/>
                    <a:pt x="9" y="3"/>
                    <a:pt x="5"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 name="Freeform 1115">
              <a:extLst>
                <a:ext uri="{FF2B5EF4-FFF2-40B4-BE49-F238E27FC236}">
                  <a16:creationId xmlns:a16="http://schemas.microsoft.com/office/drawing/2014/main" id="{0A1C1C5A-9A0B-4CDD-8F16-FABE5348DE96}"/>
                </a:ext>
              </a:extLst>
            </p:cNvPr>
            <p:cNvSpPr>
              <a:spLocks/>
            </p:cNvSpPr>
            <p:nvPr/>
          </p:nvSpPr>
          <p:spPr bwMode="auto">
            <a:xfrm>
              <a:off x="4343798" y="3986741"/>
              <a:ext cx="34901" cy="25504"/>
            </a:xfrm>
            <a:custGeom>
              <a:avLst/>
              <a:gdLst>
                <a:gd name="T0" fmla="*/ 1 w 11"/>
                <a:gd name="T1" fmla="*/ 0 h 8"/>
                <a:gd name="T2" fmla="*/ 1 w 11"/>
                <a:gd name="T3" fmla="*/ 1 h 8"/>
                <a:gd name="T4" fmla="*/ 0 w 11"/>
                <a:gd name="T5" fmla="*/ 3 h 8"/>
                <a:gd name="T6" fmla="*/ 1 w 11"/>
                <a:gd name="T7" fmla="*/ 3 h 8"/>
                <a:gd name="T8" fmla="*/ 2 w 11"/>
                <a:gd name="T9" fmla="*/ 5 h 8"/>
                <a:gd name="T10" fmla="*/ 6 w 11"/>
                <a:gd name="T11" fmla="*/ 8 h 8"/>
                <a:gd name="T12" fmla="*/ 11 w 11"/>
                <a:gd name="T13" fmla="*/ 5 h 8"/>
                <a:gd name="T14" fmla="*/ 9 w 11"/>
                <a:gd name="T15" fmla="*/ 2 h 8"/>
                <a:gd name="T16" fmla="*/ 9 w 11"/>
                <a:gd name="T17" fmla="*/ 4 h 8"/>
                <a:gd name="T18" fmla="*/ 9 w 11"/>
                <a:gd name="T19" fmla="*/ 4 h 8"/>
                <a:gd name="T20" fmla="*/ 5 w 11"/>
                <a:gd name="T21" fmla="*/ 2 h 8"/>
                <a:gd name="T22" fmla="*/ 1 w 11"/>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1" y="0"/>
                  </a:moveTo>
                  <a:cubicBezTo>
                    <a:pt x="1" y="0"/>
                    <a:pt x="1" y="0"/>
                    <a:pt x="1" y="1"/>
                  </a:cubicBezTo>
                  <a:cubicBezTo>
                    <a:pt x="0" y="2"/>
                    <a:pt x="0" y="2"/>
                    <a:pt x="0" y="3"/>
                  </a:cubicBezTo>
                  <a:cubicBezTo>
                    <a:pt x="0" y="3"/>
                    <a:pt x="1" y="3"/>
                    <a:pt x="1" y="3"/>
                  </a:cubicBezTo>
                  <a:cubicBezTo>
                    <a:pt x="2" y="3"/>
                    <a:pt x="2" y="4"/>
                    <a:pt x="2" y="5"/>
                  </a:cubicBezTo>
                  <a:cubicBezTo>
                    <a:pt x="3" y="7"/>
                    <a:pt x="4" y="8"/>
                    <a:pt x="6" y="8"/>
                  </a:cubicBezTo>
                  <a:cubicBezTo>
                    <a:pt x="8" y="7"/>
                    <a:pt x="10" y="6"/>
                    <a:pt x="11" y="5"/>
                  </a:cubicBezTo>
                  <a:cubicBezTo>
                    <a:pt x="10" y="4"/>
                    <a:pt x="9" y="3"/>
                    <a:pt x="9" y="2"/>
                  </a:cubicBezTo>
                  <a:cubicBezTo>
                    <a:pt x="9" y="3"/>
                    <a:pt x="9" y="4"/>
                    <a:pt x="9" y="4"/>
                  </a:cubicBezTo>
                  <a:cubicBezTo>
                    <a:pt x="9" y="4"/>
                    <a:pt x="9" y="4"/>
                    <a:pt x="9" y="4"/>
                  </a:cubicBezTo>
                  <a:cubicBezTo>
                    <a:pt x="8" y="4"/>
                    <a:pt x="6" y="3"/>
                    <a:pt x="5" y="2"/>
                  </a:cubicBezTo>
                  <a:cubicBezTo>
                    <a:pt x="3"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Freeform 1116">
              <a:extLst>
                <a:ext uri="{FF2B5EF4-FFF2-40B4-BE49-F238E27FC236}">
                  <a16:creationId xmlns:a16="http://schemas.microsoft.com/office/drawing/2014/main" id="{4AC30E50-DDB0-41E6-A231-3053BBEC969C}"/>
                </a:ext>
              </a:extLst>
            </p:cNvPr>
            <p:cNvSpPr>
              <a:spLocks/>
            </p:cNvSpPr>
            <p:nvPr/>
          </p:nvSpPr>
          <p:spPr bwMode="auto">
            <a:xfrm>
              <a:off x="4762607" y="4126344"/>
              <a:ext cx="12081" cy="37585"/>
            </a:xfrm>
            <a:custGeom>
              <a:avLst/>
              <a:gdLst>
                <a:gd name="T0" fmla="*/ 4 w 4"/>
                <a:gd name="T1" fmla="*/ 0 h 12"/>
                <a:gd name="T2" fmla="*/ 1 w 4"/>
                <a:gd name="T3" fmla="*/ 6 h 12"/>
                <a:gd name="T4" fmla="*/ 1 w 4"/>
                <a:gd name="T5" fmla="*/ 9 h 12"/>
                <a:gd name="T6" fmla="*/ 2 w 4"/>
                <a:gd name="T7" fmla="*/ 11 h 12"/>
                <a:gd name="T8" fmla="*/ 3 w 4"/>
                <a:gd name="T9" fmla="*/ 11 h 12"/>
                <a:gd name="T10" fmla="*/ 3 w 4"/>
                <a:gd name="T11" fmla="*/ 12 h 12"/>
                <a:gd name="T12" fmla="*/ 4 w 4"/>
                <a:gd name="T13" fmla="*/ 12 h 12"/>
                <a:gd name="T14" fmla="*/ 4 w 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2">
                  <a:moveTo>
                    <a:pt x="4" y="0"/>
                  </a:moveTo>
                  <a:cubicBezTo>
                    <a:pt x="3" y="3"/>
                    <a:pt x="1" y="3"/>
                    <a:pt x="1" y="6"/>
                  </a:cubicBezTo>
                  <a:cubicBezTo>
                    <a:pt x="1" y="8"/>
                    <a:pt x="0" y="8"/>
                    <a:pt x="1" y="9"/>
                  </a:cubicBezTo>
                  <a:cubicBezTo>
                    <a:pt x="1" y="10"/>
                    <a:pt x="4" y="9"/>
                    <a:pt x="2" y="11"/>
                  </a:cubicBezTo>
                  <a:cubicBezTo>
                    <a:pt x="3" y="11"/>
                    <a:pt x="3" y="11"/>
                    <a:pt x="3" y="11"/>
                  </a:cubicBezTo>
                  <a:cubicBezTo>
                    <a:pt x="3" y="12"/>
                    <a:pt x="3" y="12"/>
                    <a:pt x="3" y="12"/>
                  </a:cubicBezTo>
                  <a:cubicBezTo>
                    <a:pt x="4" y="12"/>
                    <a:pt x="4" y="12"/>
                    <a:pt x="4" y="12"/>
                  </a:cubicBezTo>
                  <a:cubicBezTo>
                    <a:pt x="4" y="8"/>
                    <a:pt x="4"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Freeform 1117">
              <a:extLst>
                <a:ext uri="{FF2B5EF4-FFF2-40B4-BE49-F238E27FC236}">
                  <a16:creationId xmlns:a16="http://schemas.microsoft.com/office/drawing/2014/main" id="{EB195B35-6F42-4537-AC6B-3326A110F38B}"/>
                </a:ext>
              </a:extLst>
            </p:cNvPr>
            <p:cNvSpPr>
              <a:spLocks/>
            </p:cNvSpPr>
            <p:nvPr/>
          </p:nvSpPr>
          <p:spPr bwMode="auto">
            <a:xfrm>
              <a:off x="4378699" y="3894120"/>
              <a:ext cx="91279" cy="97991"/>
            </a:xfrm>
            <a:custGeom>
              <a:avLst/>
              <a:gdLst>
                <a:gd name="T0" fmla="*/ 3 w 29"/>
                <a:gd name="T1" fmla="*/ 0 h 31"/>
                <a:gd name="T2" fmla="*/ 0 w 29"/>
                <a:gd name="T3" fmla="*/ 2 h 31"/>
                <a:gd name="T4" fmla="*/ 10 w 29"/>
                <a:gd name="T5" fmla="*/ 16 h 31"/>
                <a:gd name="T6" fmla="*/ 22 w 29"/>
                <a:gd name="T7" fmla="*/ 31 h 31"/>
                <a:gd name="T8" fmla="*/ 24 w 29"/>
                <a:gd name="T9" fmla="*/ 29 h 31"/>
                <a:gd name="T10" fmla="*/ 25 w 29"/>
                <a:gd name="T11" fmla="*/ 30 h 31"/>
                <a:gd name="T12" fmla="*/ 26 w 29"/>
                <a:gd name="T13" fmla="*/ 28 h 31"/>
                <a:gd name="T14" fmla="*/ 26 w 29"/>
                <a:gd name="T15" fmla="*/ 28 h 31"/>
                <a:gd name="T16" fmla="*/ 27 w 29"/>
                <a:gd name="T17" fmla="*/ 24 h 31"/>
                <a:gd name="T18" fmla="*/ 28 w 29"/>
                <a:gd name="T19" fmla="*/ 17 h 31"/>
                <a:gd name="T20" fmla="*/ 28 w 29"/>
                <a:gd name="T21" fmla="*/ 12 h 31"/>
                <a:gd name="T22" fmla="*/ 29 w 29"/>
                <a:gd name="T23" fmla="*/ 10 h 31"/>
                <a:gd name="T24" fmla="*/ 24 w 29"/>
                <a:gd name="T25" fmla="*/ 7 h 31"/>
                <a:gd name="T26" fmla="*/ 14 w 29"/>
                <a:gd name="T27" fmla="*/ 1 h 31"/>
                <a:gd name="T28" fmla="*/ 10 w 29"/>
                <a:gd name="T29" fmla="*/ 1 h 31"/>
                <a:gd name="T30" fmla="*/ 8 w 29"/>
                <a:gd name="T31" fmla="*/ 1 h 31"/>
                <a:gd name="T32" fmla="*/ 5 w 29"/>
                <a:gd name="T33" fmla="*/ 0 h 31"/>
                <a:gd name="T34" fmla="*/ 3 w 29"/>
                <a:gd name="T3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31">
                  <a:moveTo>
                    <a:pt x="3" y="0"/>
                  </a:moveTo>
                  <a:cubicBezTo>
                    <a:pt x="1" y="0"/>
                    <a:pt x="0" y="0"/>
                    <a:pt x="0" y="2"/>
                  </a:cubicBezTo>
                  <a:cubicBezTo>
                    <a:pt x="6" y="3"/>
                    <a:pt x="8" y="10"/>
                    <a:pt x="10" y="16"/>
                  </a:cubicBezTo>
                  <a:cubicBezTo>
                    <a:pt x="12" y="22"/>
                    <a:pt x="17" y="26"/>
                    <a:pt x="22" y="31"/>
                  </a:cubicBezTo>
                  <a:cubicBezTo>
                    <a:pt x="23" y="30"/>
                    <a:pt x="23" y="29"/>
                    <a:pt x="24" y="29"/>
                  </a:cubicBezTo>
                  <a:cubicBezTo>
                    <a:pt x="25" y="29"/>
                    <a:pt x="25" y="29"/>
                    <a:pt x="25" y="30"/>
                  </a:cubicBezTo>
                  <a:cubicBezTo>
                    <a:pt x="25" y="28"/>
                    <a:pt x="25" y="28"/>
                    <a:pt x="26" y="28"/>
                  </a:cubicBezTo>
                  <a:cubicBezTo>
                    <a:pt x="26" y="28"/>
                    <a:pt x="26" y="28"/>
                    <a:pt x="26" y="28"/>
                  </a:cubicBezTo>
                  <a:cubicBezTo>
                    <a:pt x="25" y="25"/>
                    <a:pt x="27" y="25"/>
                    <a:pt x="27" y="24"/>
                  </a:cubicBezTo>
                  <a:cubicBezTo>
                    <a:pt x="29" y="21"/>
                    <a:pt x="29" y="21"/>
                    <a:pt x="28" y="17"/>
                  </a:cubicBezTo>
                  <a:cubicBezTo>
                    <a:pt x="28" y="15"/>
                    <a:pt x="27" y="13"/>
                    <a:pt x="28" y="12"/>
                  </a:cubicBezTo>
                  <a:cubicBezTo>
                    <a:pt x="28" y="11"/>
                    <a:pt x="29" y="11"/>
                    <a:pt x="29" y="10"/>
                  </a:cubicBezTo>
                  <a:cubicBezTo>
                    <a:pt x="29" y="9"/>
                    <a:pt x="25" y="7"/>
                    <a:pt x="24" y="7"/>
                  </a:cubicBezTo>
                  <a:cubicBezTo>
                    <a:pt x="21" y="5"/>
                    <a:pt x="17" y="3"/>
                    <a:pt x="14" y="1"/>
                  </a:cubicBezTo>
                  <a:cubicBezTo>
                    <a:pt x="14" y="1"/>
                    <a:pt x="12" y="1"/>
                    <a:pt x="10" y="1"/>
                  </a:cubicBezTo>
                  <a:cubicBezTo>
                    <a:pt x="9" y="1"/>
                    <a:pt x="9" y="1"/>
                    <a:pt x="8" y="1"/>
                  </a:cubicBezTo>
                  <a:cubicBezTo>
                    <a:pt x="7" y="1"/>
                    <a:pt x="6" y="1"/>
                    <a:pt x="5"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 name="Freeform 1118">
              <a:extLst>
                <a:ext uri="{FF2B5EF4-FFF2-40B4-BE49-F238E27FC236}">
                  <a16:creationId xmlns:a16="http://schemas.microsoft.com/office/drawing/2014/main" id="{E9818D99-A59C-4103-821A-DB805AC64FA6}"/>
                </a:ext>
              </a:extLst>
            </p:cNvPr>
            <p:cNvSpPr>
              <a:spLocks/>
            </p:cNvSpPr>
            <p:nvPr/>
          </p:nvSpPr>
          <p:spPr bwMode="auto">
            <a:xfrm>
              <a:off x="4492797" y="3957210"/>
              <a:ext cx="25504" cy="44297"/>
            </a:xfrm>
            <a:custGeom>
              <a:avLst/>
              <a:gdLst>
                <a:gd name="T0" fmla="*/ 6 w 8"/>
                <a:gd name="T1" fmla="*/ 0 h 14"/>
                <a:gd name="T2" fmla="*/ 6 w 8"/>
                <a:gd name="T3" fmla="*/ 1 h 14"/>
                <a:gd name="T4" fmla="*/ 4 w 8"/>
                <a:gd name="T5" fmla="*/ 14 h 14"/>
                <a:gd name="T6" fmla="*/ 7 w 8"/>
                <a:gd name="T7" fmla="*/ 3 h 14"/>
                <a:gd name="T8" fmla="*/ 6 w 8"/>
                <a:gd name="T9" fmla="*/ 0 h 14"/>
              </a:gdLst>
              <a:ahLst/>
              <a:cxnLst>
                <a:cxn ang="0">
                  <a:pos x="T0" y="T1"/>
                </a:cxn>
                <a:cxn ang="0">
                  <a:pos x="T2" y="T3"/>
                </a:cxn>
                <a:cxn ang="0">
                  <a:pos x="T4" y="T5"/>
                </a:cxn>
                <a:cxn ang="0">
                  <a:pos x="T6" y="T7"/>
                </a:cxn>
                <a:cxn ang="0">
                  <a:pos x="T8" y="T9"/>
                </a:cxn>
              </a:cxnLst>
              <a:rect l="0" t="0" r="r" b="b"/>
              <a:pathLst>
                <a:path w="8" h="14">
                  <a:moveTo>
                    <a:pt x="6" y="0"/>
                  </a:moveTo>
                  <a:cubicBezTo>
                    <a:pt x="6" y="0"/>
                    <a:pt x="6" y="0"/>
                    <a:pt x="6" y="1"/>
                  </a:cubicBezTo>
                  <a:cubicBezTo>
                    <a:pt x="0" y="3"/>
                    <a:pt x="2" y="10"/>
                    <a:pt x="4" y="14"/>
                  </a:cubicBezTo>
                  <a:cubicBezTo>
                    <a:pt x="6" y="13"/>
                    <a:pt x="6" y="6"/>
                    <a:pt x="7" y="3"/>
                  </a:cubicBezTo>
                  <a:cubicBezTo>
                    <a:pt x="7" y="2"/>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Freeform 1119">
              <a:extLst>
                <a:ext uri="{FF2B5EF4-FFF2-40B4-BE49-F238E27FC236}">
                  <a16:creationId xmlns:a16="http://schemas.microsoft.com/office/drawing/2014/main" id="{4B09522C-F355-427C-9366-E3AEDF9663F8}"/>
                </a:ext>
              </a:extLst>
            </p:cNvPr>
            <p:cNvSpPr>
              <a:spLocks/>
            </p:cNvSpPr>
            <p:nvPr/>
          </p:nvSpPr>
          <p:spPr bwMode="auto">
            <a:xfrm>
              <a:off x="4651193" y="3852508"/>
              <a:ext cx="34901" cy="41612"/>
            </a:xfrm>
            <a:custGeom>
              <a:avLst/>
              <a:gdLst>
                <a:gd name="T0" fmla="*/ 5 w 11"/>
                <a:gd name="T1" fmla="*/ 0 h 13"/>
                <a:gd name="T2" fmla="*/ 4 w 11"/>
                <a:gd name="T3" fmla="*/ 4 h 13"/>
                <a:gd name="T4" fmla="*/ 2 w 11"/>
                <a:gd name="T5" fmla="*/ 9 h 13"/>
                <a:gd name="T6" fmla="*/ 5 w 11"/>
                <a:gd name="T7" fmla="*/ 13 h 13"/>
                <a:gd name="T8" fmla="*/ 10 w 11"/>
                <a:gd name="T9" fmla="*/ 4 h 13"/>
                <a:gd name="T10" fmla="*/ 9 w 11"/>
                <a:gd name="T11" fmla="*/ 4 h 13"/>
                <a:gd name="T12" fmla="*/ 8 w 11"/>
                <a:gd name="T13" fmla="*/ 4 h 13"/>
                <a:gd name="T14" fmla="*/ 5 w 11"/>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5" y="0"/>
                  </a:moveTo>
                  <a:cubicBezTo>
                    <a:pt x="4" y="0"/>
                    <a:pt x="4" y="2"/>
                    <a:pt x="4" y="4"/>
                  </a:cubicBezTo>
                  <a:cubicBezTo>
                    <a:pt x="4" y="7"/>
                    <a:pt x="3" y="7"/>
                    <a:pt x="2" y="9"/>
                  </a:cubicBezTo>
                  <a:cubicBezTo>
                    <a:pt x="0" y="11"/>
                    <a:pt x="5" y="12"/>
                    <a:pt x="5" y="13"/>
                  </a:cubicBezTo>
                  <a:cubicBezTo>
                    <a:pt x="7" y="11"/>
                    <a:pt x="11" y="7"/>
                    <a:pt x="10" y="4"/>
                  </a:cubicBezTo>
                  <a:cubicBezTo>
                    <a:pt x="10" y="4"/>
                    <a:pt x="9" y="4"/>
                    <a:pt x="9" y="4"/>
                  </a:cubicBezTo>
                  <a:cubicBezTo>
                    <a:pt x="9" y="4"/>
                    <a:pt x="8" y="4"/>
                    <a:pt x="8" y="4"/>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 name="Freeform 1120">
              <a:extLst>
                <a:ext uri="{FF2B5EF4-FFF2-40B4-BE49-F238E27FC236}">
                  <a16:creationId xmlns:a16="http://schemas.microsoft.com/office/drawing/2014/main" id="{518308FD-2042-4909-B5A8-B9A722849273}"/>
                </a:ext>
              </a:extLst>
            </p:cNvPr>
            <p:cNvSpPr>
              <a:spLocks/>
            </p:cNvSpPr>
            <p:nvPr/>
          </p:nvSpPr>
          <p:spPr bwMode="auto">
            <a:xfrm>
              <a:off x="4418969" y="4456559"/>
              <a:ext cx="44297" cy="14766"/>
            </a:xfrm>
            <a:custGeom>
              <a:avLst/>
              <a:gdLst>
                <a:gd name="T0" fmla="*/ 5 w 14"/>
                <a:gd name="T1" fmla="*/ 0 h 5"/>
                <a:gd name="T2" fmla="*/ 2 w 14"/>
                <a:gd name="T3" fmla="*/ 1 h 5"/>
                <a:gd name="T4" fmla="*/ 0 w 14"/>
                <a:gd name="T5" fmla="*/ 2 h 5"/>
                <a:gd name="T6" fmla="*/ 10 w 14"/>
                <a:gd name="T7" fmla="*/ 5 h 5"/>
                <a:gd name="T8" fmla="*/ 10 w 14"/>
                <a:gd name="T9" fmla="*/ 1 h 5"/>
                <a:gd name="T10" fmla="*/ 10 w 14"/>
                <a:gd name="T11" fmla="*/ 1 h 5"/>
                <a:gd name="T12" fmla="*/ 9 w 14"/>
                <a:gd name="T13" fmla="*/ 2 h 5"/>
                <a:gd name="T14" fmla="*/ 8 w 14"/>
                <a:gd name="T15" fmla="*/ 2 h 5"/>
                <a:gd name="T16" fmla="*/ 8 w 14"/>
                <a:gd name="T17" fmla="*/ 2 h 5"/>
                <a:gd name="T18" fmla="*/ 7 w 14"/>
                <a:gd name="T19" fmla="*/ 1 h 5"/>
                <a:gd name="T20" fmla="*/ 5 w 14"/>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5">
                  <a:moveTo>
                    <a:pt x="5" y="0"/>
                  </a:moveTo>
                  <a:cubicBezTo>
                    <a:pt x="4" y="0"/>
                    <a:pt x="3" y="0"/>
                    <a:pt x="2" y="1"/>
                  </a:cubicBezTo>
                  <a:cubicBezTo>
                    <a:pt x="2" y="1"/>
                    <a:pt x="0" y="1"/>
                    <a:pt x="0" y="2"/>
                  </a:cubicBezTo>
                  <a:cubicBezTo>
                    <a:pt x="0" y="4"/>
                    <a:pt x="9" y="5"/>
                    <a:pt x="10" y="5"/>
                  </a:cubicBezTo>
                  <a:cubicBezTo>
                    <a:pt x="13" y="4"/>
                    <a:pt x="14" y="2"/>
                    <a:pt x="10" y="1"/>
                  </a:cubicBezTo>
                  <a:cubicBezTo>
                    <a:pt x="10" y="1"/>
                    <a:pt x="10" y="1"/>
                    <a:pt x="10" y="1"/>
                  </a:cubicBezTo>
                  <a:cubicBezTo>
                    <a:pt x="10" y="1"/>
                    <a:pt x="10" y="2"/>
                    <a:pt x="9" y="2"/>
                  </a:cubicBezTo>
                  <a:cubicBezTo>
                    <a:pt x="9" y="2"/>
                    <a:pt x="8" y="2"/>
                    <a:pt x="8" y="2"/>
                  </a:cubicBezTo>
                  <a:cubicBezTo>
                    <a:pt x="8" y="2"/>
                    <a:pt x="8" y="2"/>
                    <a:pt x="8" y="2"/>
                  </a:cubicBezTo>
                  <a:cubicBezTo>
                    <a:pt x="8" y="1"/>
                    <a:pt x="8" y="1"/>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 name="Freeform 1121">
              <a:extLst>
                <a:ext uri="{FF2B5EF4-FFF2-40B4-BE49-F238E27FC236}">
                  <a16:creationId xmlns:a16="http://schemas.microsoft.com/office/drawing/2014/main" id="{24E4A4C7-E9F0-4886-9FE1-D2FEB5133069}"/>
                </a:ext>
              </a:extLst>
            </p:cNvPr>
            <p:cNvSpPr>
              <a:spLocks/>
            </p:cNvSpPr>
            <p:nvPr/>
          </p:nvSpPr>
          <p:spPr bwMode="auto">
            <a:xfrm>
              <a:off x="5437802" y="4335749"/>
              <a:ext cx="9396" cy="25504"/>
            </a:xfrm>
            <a:custGeom>
              <a:avLst/>
              <a:gdLst>
                <a:gd name="T0" fmla="*/ 3 w 3"/>
                <a:gd name="T1" fmla="*/ 0 h 8"/>
                <a:gd name="T2" fmla="*/ 3 w 3"/>
                <a:gd name="T3" fmla="*/ 0 h 8"/>
                <a:gd name="T4" fmla="*/ 2 w 3"/>
                <a:gd name="T5" fmla="*/ 1 h 8"/>
                <a:gd name="T6" fmla="*/ 0 w 3"/>
                <a:gd name="T7" fmla="*/ 6 h 8"/>
                <a:gd name="T8" fmla="*/ 0 w 3"/>
                <a:gd name="T9" fmla="*/ 8 h 8"/>
                <a:gd name="T10" fmla="*/ 1 w 3"/>
                <a:gd name="T11" fmla="*/ 7 h 8"/>
                <a:gd name="T12" fmla="*/ 3 w 3"/>
                <a:gd name="T13" fmla="*/ 2 h 8"/>
                <a:gd name="T14" fmla="*/ 3 w 3"/>
                <a:gd name="T15" fmla="*/ 0 h 8"/>
                <a:gd name="T16" fmla="*/ 3 w 3"/>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3" y="0"/>
                  </a:moveTo>
                  <a:cubicBezTo>
                    <a:pt x="3" y="0"/>
                    <a:pt x="3" y="0"/>
                    <a:pt x="3" y="0"/>
                  </a:cubicBezTo>
                  <a:cubicBezTo>
                    <a:pt x="3" y="0"/>
                    <a:pt x="2" y="1"/>
                    <a:pt x="2" y="1"/>
                  </a:cubicBezTo>
                  <a:cubicBezTo>
                    <a:pt x="1" y="3"/>
                    <a:pt x="0" y="4"/>
                    <a:pt x="0" y="6"/>
                  </a:cubicBezTo>
                  <a:cubicBezTo>
                    <a:pt x="0" y="7"/>
                    <a:pt x="0" y="7"/>
                    <a:pt x="0" y="8"/>
                  </a:cubicBezTo>
                  <a:cubicBezTo>
                    <a:pt x="1" y="7"/>
                    <a:pt x="1" y="7"/>
                    <a:pt x="1" y="7"/>
                  </a:cubicBezTo>
                  <a:cubicBezTo>
                    <a:pt x="2" y="6"/>
                    <a:pt x="3" y="4"/>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Freeform 1122">
              <a:extLst>
                <a:ext uri="{FF2B5EF4-FFF2-40B4-BE49-F238E27FC236}">
                  <a16:creationId xmlns:a16="http://schemas.microsoft.com/office/drawing/2014/main" id="{741829F5-B058-47A9-A748-F9F87AF98625}"/>
                </a:ext>
              </a:extLst>
            </p:cNvPr>
            <p:cNvSpPr>
              <a:spLocks/>
            </p:cNvSpPr>
            <p:nvPr/>
          </p:nvSpPr>
          <p:spPr bwMode="auto">
            <a:xfrm>
              <a:off x="5428405" y="4363938"/>
              <a:ext cx="6712" cy="6712"/>
            </a:xfrm>
            <a:custGeom>
              <a:avLst/>
              <a:gdLst>
                <a:gd name="T0" fmla="*/ 2 w 2"/>
                <a:gd name="T1" fmla="*/ 0 h 2"/>
                <a:gd name="T2" fmla="*/ 1 w 2"/>
                <a:gd name="T3" fmla="*/ 0 h 2"/>
                <a:gd name="T4" fmla="*/ 0 w 2"/>
                <a:gd name="T5" fmla="*/ 2 h 2"/>
                <a:gd name="T6" fmla="*/ 1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1" y="0"/>
                    <a:pt x="1" y="0"/>
                    <a:pt x="1" y="0"/>
                  </a:cubicBezTo>
                  <a:cubicBezTo>
                    <a:pt x="1" y="1"/>
                    <a:pt x="0" y="1"/>
                    <a:pt x="0" y="2"/>
                  </a:cubicBezTo>
                  <a:cubicBezTo>
                    <a:pt x="0" y="2"/>
                    <a:pt x="1" y="1"/>
                    <a:pt x="1"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Freeform 1123">
              <a:extLst>
                <a:ext uri="{FF2B5EF4-FFF2-40B4-BE49-F238E27FC236}">
                  <a16:creationId xmlns:a16="http://schemas.microsoft.com/office/drawing/2014/main" id="{CAB6AC3D-17E2-4BE0-913A-A505DB01C5E3}"/>
                </a:ext>
              </a:extLst>
            </p:cNvPr>
            <p:cNvSpPr>
              <a:spLocks/>
            </p:cNvSpPr>
            <p:nvPr/>
          </p:nvSpPr>
          <p:spPr bwMode="auto">
            <a:xfrm>
              <a:off x="7890249" y="5973400"/>
              <a:ext cx="18793" cy="12081"/>
            </a:xfrm>
            <a:custGeom>
              <a:avLst/>
              <a:gdLst>
                <a:gd name="T0" fmla="*/ 4 w 6"/>
                <a:gd name="T1" fmla="*/ 0 h 4"/>
                <a:gd name="T2" fmla="*/ 1 w 6"/>
                <a:gd name="T3" fmla="*/ 4 h 4"/>
                <a:gd name="T4" fmla="*/ 3 w 6"/>
                <a:gd name="T5" fmla="*/ 4 h 4"/>
                <a:gd name="T6" fmla="*/ 4 w 6"/>
                <a:gd name="T7" fmla="*/ 4 h 4"/>
                <a:gd name="T8" fmla="*/ 4 w 6"/>
                <a:gd name="T9" fmla="*/ 4 h 4"/>
                <a:gd name="T10" fmla="*/ 4 w 6"/>
                <a:gd name="T11" fmla="*/ 0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cubicBezTo>
                    <a:pt x="2" y="0"/>
                    <a:pt x="0" y="3"/>
                    <a:pt x="1" y="4"/>
                  </a:cubicBezTo>
                  <a:cubicBezTo>
                    <a:pt x="2" y="4"/>
                    <a:pt x="2" y="4"/>
                    <a:pt x="3" y="4"/>
                  </a:cubicBezTo>
                  <a:cubicBezTo>
                    <a:pt x="3" y="4"/>
                    <a:pt x="3" y="4"/>
                    <a:pt x="4" y="4"/>
                  </a:cubicBezTo>
                  <a:cubicBezTo>
                    <a:pt x="4" y="4"/>
                    <a:pt x="4" y="4"/>
                    <a:pt x="4" y="4"/>
                  </a:cubicBezTo>
                  <a:cubicBezTo>
                    <a:pt x="5" y="3"/>
                    <a:pt x="6"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 name="Freeform 1124">
              <a:extLst>
                <a:ext uri="{FF2B5EF4-FFF2-40B4-BE49-F238E27FC236}">
                  <a16:creationId xmlns:a16="http://schemas.microsoft.com/office/drawing/2014/main" id="{187602FB-2EAA-4D48-A27A-FD9A5347CA5F}"/>
                </a:ext>
              </a:extLst>
            </p:cNvPr>
            <p:cNvSpPr>
              <a:spLocks noEditPoints="1"/>
            </p:cNvSpPr>
            <p:nvPr/>
          </p:nvSpPr>
          <p:spPr bwMode="auto">
            <a:xfrm>
              <a:off x="7909042" y="5934472"/>
              <a:ext cx="6712" cy="4027"/>
            </a:xfrm>
            <a:custGeom>
              <a:avLst/>
              <a:gdLst>
                <a:gd name="T0" fmla="*/ 1 w 2"/>
                <a:gd name="T1" fmla="*/ 1 h 1"/>
                <a:gd name="T2" fmla="*/ 0 w 2"/>
                <a:gd name="T3" fmla="*/ 1 h 1"/>
                <a:gd name="T4" fmla="*/ 1 w 2"/>
                <a:gd name="T5" fmla="*/ 1 h 1"/>
                <a:gd name="T6" fmla="*/ 2 w 2"/>
                <a:gd name="T7" fmla="*/ 0 h 1"/>
                <a:gd name="T8" fmla="*/ 1 w 2"/>
                <a:gd name="T9" fmla="*/ 1 h 1"/>
                <a:gd name="T10" fmla="*/ 2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0" y="1"/>
                    <a:pt x="0" y="1"/>
                    <a:pt x="0" y="1"/>
                  </a:cubicBezTo>
                  <a:cubicBezTo>
                    <a:pt x="0" y="1"/>
                    <a:pt x="0" y="1"/>
                    <a:pt x="1" y="1"/>
                  </a:cubicBezTo>
                  <a:moveTo>
                    <a:pt x="2" y="0"/>
                  </a:moveTo>
                  <a:cubicBezTo>
                    <a:pt x="1" y="0"/>
                    <a:pt x="1" y="1"/>
                    <a:pt x="1" y="1"/>
                  </a:cubicBezTo>
                  <a:cubicBezTo>
                    <a:pt x="1" y="1"/>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Freeform 1125">
              <a:extLst>
                <a:ext uri="{FF2B5EF4-FFF2-40B4-BE49-F238E27FC236}">
                  <a16:creationId xmlns:a16="http://schemas.microsoft.com/office/drawing/2014/main" id="{AD04CF19-8D52-4F8C-BEC8-EBDFE121D3B4}"/>
                </a:ext>
              </a:extLst>
            </p:cNvPr>
            <p:cNvSpPr>
              <a:spLocks/>
            </p:cNvSpPr>
            <p:nvPr/>
          </p:nvSpPr>
          <p:spPr bwMode="auto">
            <a:xfrm>
              <a:off x="7868772" y="6087499"/>
              <a:ext cx="12081" cy="9396"/>
            </a:xfrm>
            <a:custGeom>
              <a:avLst/>
              <a:gdLst>
                <a:gd name="T0" fmla="*/ 2 w 4"/>
                <a:gd name="T1" fmla="*/ 0 h 3"/>
                <a:gd name="T2" fmla="*/ 1 w 4"/>
                <a:gd name="T3" fmla="*/ 0 h 3"/>
                <a:gd name="T4" fmla="*/ 0 w 4"/>
                <a:gd name="T5" fmla="*/ 0 h 3"/>
                <a:gd name="T6" fmla="*/ 1 w 4"/>
                <a:gd name="T7" fmla="*/ 0 h 3"/>
                <a:gd name="T8" fmla="*/ 3 w 4"/>
                <a:gd name="T9" fmla="*/ 3 h 3"/>
                <a:gd name="T10" fmla="*/ 2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2" y="0"/>
                  </a:moveTo>
                  <a:cubicBezTo>
                    <a:pt x="2" y="0"/>
                    <a:pt x="1" y="0"/>
                    <a:pt x="1" y="0"/>
                  </a:cubicBezTo>
                  <a:cubicBezTo>
                    <a:pt x="0" y="0"/>
                    <a:pt x="0" y="0"/>
                    <a:pt x="0" y="0"/>
                  </a:cubicBezTo>
                  <a:cubicBezTo>
                    <a:pt x="1" y="0"/>
                    <a:pt x="1" y="0"/>
                    <a:pt x="1" y="0"/>
                  </a:cubicBezTo>
                  <a:cubicBezTo>
                    <a:pt x="1" y="1"/>
                    <a:pt x="2" y="2"/>
                    <a:pt x="3" y="3"/>
                  </a:cubicBezTo>
                  <a:cubicBezTo>
                    <a:pt x="4"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 name="Freeform 1126">
              <a:extLst>
                <a:ext uri="{FF2B5EF4-FFF2-40B4-BE49-F238E27FC236}">
                  <a16:creationId xmlns:a16="http://schemas.microsoft.com/office/drawing/2014/main" id="{68845977-64F9-4D2A-B617-987B642E0EA5}"/>
                </a:ext>
              </a:extLst>
            </p:cNvPr>
            <p:cNvSpPr>
              <a:spLocks/>
            </p:cNvSpPr>
            <p:nvPr/>
          </p:nvSpPr>
          <p:spPr bwMode="auto">
            <a:xfrm>
              <a:off x="7947969" y="6159985"/>
              <a:ext cx="25504" cy="18793"/>
            </a:xfrm>
            <a:custGeom>
              <a:avLst/>
              <a:gdLst>
                <a:gd name="T0" fmla="*/ 0 w 8"/>
                <a:gd name="T1" fmla="*/ 0 h 6"/>
                <a:gd name="T2" fmla="*/ 0 w 8"/>
                <a:gd name="T3" fmla="*/ 2 h 6"/>
                <a:gd name="T4" fmla="*/ 0 w 8"/>
                <a:gd name="T5" fmla="*/ 3 h 6"/>
                <a:gd name="T6" fmla="*/ 8 w 8"/>
                <a:gd name="T7" fmla="*/ 6 h 6"/>
                <a:gd name="T8" fmla="*/ 4 w 8"/>
                <a:gd name="T9" fmla="*/ 2 h 6"/>
                <a:gd name="T10" fmla="*/ 4 w 8"/>
                <a:gd name="T11" fmla="*/ 2 h 6"/>
                <a:gd name="T12" fmla="*/ 3 w 8"/>
                <a:gd name="T13" fmla="*/ 2 h 6"/>
                <a:gd name="T14" fmla="*/ 3 w 8"/>
                <a:gd name="T15" fmla="*/ 2 h 6"/>
                <a:gd name="T16" fmla="*/ 2 w 8"/>
                <a:gd name="T17" fmla="*/ 1 h 6"/>
                <a:gd name="T18" fmla="*/ 0 w 8"/>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0" y="0"/>
                  </a:moveTo>
                  <a:cubicBezTo>
                    <a:pt x="0" y="0"/>
                    <a:pt x="0" y="0"/>
                    <a:pt x="0" y="2"/>
                  </a:cubicBezTo>
                  <a:cubicBezTo>
                    <a:pt x="0" y="3"/>
                    <a:pt x="0" y="3"/>
                    <a:pt x="0" y="3"/>
                  </a:cubicBezTo>
                  <a:cubicBezTo>
                    <a:pt x="1" y="6"/>
                    <a:pt x="5" y="6"/>
                    <a:pt x="8" y="6"/>
                  </a:cubicBezTo>
                  <a:cubicBezTo>
                    <a:pt x="7" y="5"/>
                    <a:pt x="5" y="3"/>
                    <a:pt x="4" y="2"/>
                  </a:cubicBezTo>
                  <a:cubicBezTo>
                    <a:pt x="4" y="2"/>
                    <a:pt x="4" y="2"/>
                    <a:pt x="4" y="2"/>
                  </a:cubicBezTo>
                  <a:cubicBezTo>
                    <a:pt x="3" y="2"/>
                    <a:pt x="3" y="2"/>
                    <a:pt x="3" y="2"/>
                  </a:cubicBezTo>
                  <a:cubicBezTo>
                    <a:pt x="3" y="2"/>
                    <a:pt x="3" y="2"/>
                    <a:pt x="3" y="2"/>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 name="Freeform 1127">
              <a:extLst>
                <a:ext uri="{FF2B5EF4-FFF2-40B4-BE49-F238E27FC236}">
                  <a16:creationId xmlns:a16="http://schemas.microsoft.com/office/drawing/2014/main" id="{E6681B35-CE27-4D82-A76C-324951E84319}"/>
                </a:ext>
              </a:extLst>
            </p:cNvPr>
            <p:cNvSpPr>
              <a:spLocks/>
            </p:cNvSpPr>
            <p:nvPr/>
          </p:nvSpPr>
          <p:spPr bwMode="auto">
            <a:xfrm>
              <a:off x="7827159" y="6010986"/>
              <a:ext cx="53693" cy="76513"/>
            </a:xfrm>
            <a:custGeom>
              <a:avLst/>
              <a:gdLst>
                <a:gd name="T0" fmla="*/ 1 w 17"/>
                <a:gd name="T1" fmla="*/ 0 h 24"/>
                <a:gd name="T2" fmla="*/ 0 w 17"/>
                <a:gd name="T3" fmla="*/ 4 h 24"/>
                <a:gd name="T4" fmla="*/ 0 w 17"/>
                <a:gd name="T5" fmla="*/ 6 h 24"/>
                <a:gd name="T6" fmla="*/ 2 w 17"/>
                <a:gd name="T7" fmla="*/ 10 h 24"/>
                <a:gd name="T8" fmla="*/ 3 w 17"/>
                <a:gd name="T9" fmla="*/ 17 h 24"/>
                <a:gd name="T10" fmla="*/ 6 w 17"/>
                <a:gd name="T11" fmla="*/ 24 h 24"/>
                <a:gd name="T12" fmla="*/ 11 w 17"/>
                <a:gd name="T13" fmla="*/ 23 h 24"/>
                <a:gd name="T14" fmla="*/ 11 w 17"/>
                <a:gd name="T15" fmla="*/ 23 h 24"/>
                <a:gd name="T16" fmla="*/ 12 w 17"/>
                <a:gd name="T17" fmla="*/ 23 h 24"/>
                <a:gd name="T18" fmla="*/ 13 w 17"/>
                <a:gd name="T19" fmla="*/ 23 h 24"/>
                <a:gd name="T20" fmla="*/ 13 w 17"/>
                <a:gd name="T21" fmla="*/ 23 h 24"/>
                <a:gd name="T22" fmla="*/ 16 w 17"/>
                <a:gd name="T23" fmla="*/ 21 h 24"/>
                <a:gd name="T24" fmla="*/ 17 w 17"/>
                <a:gd name="T25" fmla="*/ 21 h 24"/>
                <a:gd name="T26" fmla="*/ 17 w 17"/>
                <a:gd name="T27" fmla="*/ 21 h 24"/>
                <a:gd name="T28" fmla="*/ 17 w 17"/>
                <a:gd name="T29" fmla="*/ 21 h 24"/>
                <a:gd name="T30" fmla="*/ 14 w 17"/>
                <a:gd name="T31" fmla="*/ 12 h 24"/>
                <a:gd name="T32" fmla="*/ 13 w 17"/>
                <a:gd name="T33" fmla="*/ 7 h 24"/>
                <a:gd name="T34" fmla="*/ 12 w 17"/>
                <a:gd name="T35" fmla="*/ 7 h 24"/>
                <a:gd name="T36" fmla="*/ 10 w 17"/>
                <a:gd name="T37" fmla="*/ 12 h 24"/>
                <a:gd name="T38" fmla="*/ 8 w 17"/>
                <a:gd name="T39" fmla="*/ 13 h 24"/>
                <a:gd name="T40" fmla="*/ 6 w 17"/>
                <a:gd name="T41" fmla="*/ 11 h 24"/>
                <a:gd name="T42" fmla="*/ 6 w 17"/>
                <a:gd name="T43" fmla="*/ 6 h 24"/>
                <a:gd name="T44" fmla="*/ 4 w 17"/>
                <a:gd name="T45" fmla="*/ 4 h 24"/>
                <a:gd name="T46" fmla="*/ 4 w 17"/>
                <a:gd name="T47" fmla="*/ 3 h 24"/>
                <a:gd name="T48" fmla="*/ 1 w 17"/>
                <a:gd name="T4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24">
                  <a:moveTo>
                    <a:pt x="1" y="0"/>
                  </a:moveTo>
                  <a:cubicBezTo>
                    <a:pt x="1" y="0"/>
                    <a:pt x="0" y="1"/>
                    <a:pt x="0" y="4"/>
                  </a:cubicBezTo>
                  <a:cubicBezTo>
                    <a:pt x="0" y="4"/>
                    <a:pt x="0" y="5"/>
                    <a:pt x="0" y="6"/>
                  </a:cubicBezTo>
                  <a:cubicBezTo>
                    <a:pt x="1" y="7"/>
                    <a:pt x="1" y="9"/>
                    <a:pt x="2" y="10"/>
                  </a:cubicBezTo>
                  <a:cubicBezTo>
                    <a:pt x="3" y="13"/>
                    <a:pt x="3" y="14"/>
                    <a:pt x="3" y="17"/>
                  </a:cubicBezTo>
                  <a:cubicBezTo>
                    <a:pt x="3" y="19"/>
                    <a:pt x="6" y="22"/>
                    <a:pt x="6" y="24"/>
                  </a:cubicBezTo>
                  <a:cubicBezTo>
                    <a:pt x="7" y="24"/>
                    <a:pt x="9" y="23"/>
                    <a:pt x="11" y="23"/>
                  </a:cubicBezTo>
                  <a:cubicBezTo>
                    <a:pt x="11" y="23"/>
                    <a:pt x="11" y="23"/>
                    <a:pt x="11" y="23"/>
                  </a:cubicBezTo>
                  <a:cubicBezTo>
                    <a:pt x="11" y="23"/>
                    <a:pt x="12" y="23"/>
                    <a:pt x="12" y="23"/>
                  </a:cubicBezTo>
                  <a:cubicBezTo>
                    <a:pt x="12" y="23"/>
                    <a:pt x="12" y="23"/>
                    <a:pt x="13" y="23"/>
                  </a:cubicBezTo>
                  <a:cubicBezTo>
                    <a:pt x="13" y="23"/>
                    <a:pt x="13" y="23"/>
                    <a:pt x="13" y="23"/>
                  </a:cubicBezTo>
                  <a:cubicBezTo>
                    <a:pt x="14" y="23"/>
                    <a:pt x="15" y="21"/>
                    <a:pt x="16" y="21"/>
                  </a:cubicBezTo>
                  <a:cubicBezTo>
                    <a:pt x="16" y="21"/>
                    <a:pt x="16" y="21"/>
                    <a:pt x="17" y="21"/>
                  </a:cubicBezTo>
                  <a:cubicBezTo>
                    <a:pt x="17" y="21"/>
                    <a:pt x="17" y="21"/>
                    <a:pt x="17" y="21"/>
                  </a:cubicBezTo>
                  <a:cubicBezTo>
                    <a:pt x="17" y="21"/>
                    <a:pt x="17" y="21"/>
                    <a:pt x="17" y="21"/>
                  </a:cubicBezTo>
                  <a:cubicBezTo>
                    <a:pt x="16" y="18"/>
                    <a:pt x="15" y="15"/>
                    <a:pt x="14" y="12"/>
                  </a:cubicBezTo>
                  <a:cubicBezTo>
                    <a:pt x="13" y="10"/>
                    <a:pt x="12" y="8"/>
                    <a:pt x="13" y="7"/>
                  </a:cubicBezTo>
                  <a:cubicBezTo>
                    <a:pt x="13" y="7"/>
                    <a:pt x="12" y="7"/>
                    <a:pt x="12" y="7"/>
                  </a:cubicBezTo>
                  <a:cubicBezTo>
                    <a:pt x="10" y="7"/>
                    <a:pt x="11" y="11"/>
                    <a:pt x="10" y="12"/>
                  </a:cubicBezTo>
                  <a:cubicBezTo>
                    <a:pt x="9" y="13"/>
                    <a:pt x="9" y="13"/>
                    <a:pt x="8" y="13"/>
                  </a:cubicBezTo>
                  <a:cubicBezTo>
                    <a:pt x="7" y="13"/>
                    <a:pt x="7" y="11"/>
                    <a:pt x="6" y="11"/>
                  </a:cubicBezTo>
                  <a:cubicBezTo>
                    <a:pt x="6" y="9"/>
                    <a:pt x="6" y="8"/>
                    <a:pt x="6" y="6"/>
                  </a:cubicBezTo>
                  <a:cubicBezTo>
                    <a:pt x="5" y="5"/>
                    <a:pt x="5" y="4"/>
                    <a:pt x="4" y="4"/>
                  </a:cubicBezTo>
                  <a:cubicBezTo>
                    <a:pt x="4" y="3"/>
                    <a:pt x="4" y="3"/>
                    <a:pt x="4"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 name="Freeform 1128">
              <a:extLst>
                <a:ext uri="{FF2B5EF4-FFF2-40B4-BE49-F238E27FC236}">
                  <a16:creationId xmlns:a16="http://schemas.microsoft.com/office/drawing/2014/main" id="{1B08B474-CDD2-42E2-8097-BA68FB4BDD03}"/>
                </a:ext>
              </a:extLst>
            </p:cNvPr>
            <p:cNvSpPr>
              <a:spLocks/>
            </p:cNvSpPr>
            <p:nvPr/>
          </p:nvSpPr>
          <p:spPr bwMode="auto">
            <a:xfrm>
              <a:off x="7871456" y="6106291"/>
              <a:ext cx="53693" cy="53693"/>
            </a:xfrm>
            <a:custGeom>
              <a:avLst/>
              <a:gdLst>
                <a:gd name="T0" fmla="*/ 3 w 17"/>
                <a:gd name="T1" fmla="*/ 0 h 17"/>
                <a:gd name="T2" fmla="*/ 2 w 17"/>
                <a:gd name="T3" fmla="*/ 2 h 17"/>
                <a:gd name="T4" fmla="*/ 3 w 17"/>
                <a:gd name="T5" fmla="*/ 6 h 17"/>
                <a:gd name="T6" fmla="*/ 3 w 17"/>
                <a:gd name="T7" fmla="*/ 7 h 17"/>
                <a:gd name="T8" fmla="*/ 4 w 17"/>
                <a:gd name="T9" fmla="*/ 6 h 17"/>
                <a:gd name="T10" fmla="*/ 5 w 17"/>
                <a:gd name="T11" fmla="*/ 6 h 17"/>
                <a:gd name="T12" fmla="*/ 6 w 17"/>
                <a:gd name="T13" fmla="*/ 7 h 17"/>
                <a:gd name="T14" fmla="*/ 6 w 17"/>
                <a:gd name="T15" fmla="*/ 10 h 17"/>
                <a:gd name="T16" fmla="*/ 9 w 17"/>
                <a:gd name="T17" fmla="*/ 17 h 17"/>
                <a:gd name="T18" fmla="*/ 14 w 17"/>
                <a:gd name="T19" fmla="*/ 15 h 17"/>
                <a:gd name="T20" fmla="*/ 17 w 17"/>
                <a:gd name="T21" fmla="*/ 13 h 17"/>
                <a:gd name="T22" fmla="*/ 16 w 17"/>
                <a:gd name="T23" fmla="*/ 13 h 17"/>
                <a:gd name="T24" fmla="*/ 12 w 17"/>
                <a:gd name="T25" fmla="*/ 9 h 17"/>
                <a:gd name="T26" fmla="*/ 8 w 17"/>
                <a:gd name="T27" fmla="*/ 5 h 17"/>
                <a:gd name="T28" fmla="*/ 8 w 17"/>
                <a:gd name="T29" fmla="*/ 6 h 17"/>
                <a:gd name="T30" fmla="*/ 5 w 17"/>
                <a:gd name="T31" fmla="*/ 1 h 17"/>
                <a:gd name="T32" fmla="*/ 3 w 17"/>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3" y="0"/>
                  </a:moveTo>
                  <a:cubicBezTo>
                    <a:pt x="2" y="0"/>
                    <a:pt x="2" y="1"/>
                    <a:pt x="2" y="2"/>
                  </a:cubicBezTo>
                  <a:cubicBezTo>
                    <a:pt x="1" y="4"/>
                    <a:pt x="0" y="6"/>
                    <a:pt x="3" y="6"/>
                  </a:cubicBezTo>
                  <a:cubicBezTo>
                    <a:pt x="3" y="7"/>
                    <a:pt x="3" y="7"/>
                    <a:pt x="3" y="7"/>
                  </a:cubicBezTo>
                  <a:cubicBezTo>
                    <a:pt x="4" y="7"/>
                    <a:pt x="4" y="6"/>
                    <a:pt x="4" y="6"/>
                  </a:cubicBezTo>
                  <a:cubicBezTo>
                    <a:pt x="4" y="6"/>
                    <a:pt x="5" y="6"/>
                    <a:pt x="5" y="6"/>
                  </a:cubicBezTo>
                  <a:cubicBezTo>
                    <a:pt x="5" y="6"/>
                    <a:pt x="5" y="6"/>
                    <a:pt x="6" y="7"/>
                  </a:cubicBezTo>
                  <a:cubicBezTo>
                    <a:pt x="6" y="8"/>
                    <a:pt x="6" y="9"/>
                    <a:pt x="6" y="10"/>
                  </a:cubicBezTo>
                  <a:cubicBezTo>
                    <a:pt x="7" y="12"/>
                    <a:pt x="7" y="16"/>
                    <a:pt x="9" y="17"/>
                  </a:cubicBezTo>
                  <a:cubicBezTo>
                    <a:pt x="10" y="16"/>
                    <a:pt x="12" y="16"/>
                    <a:pt x="14" y="15"/>
                  </a:cubicBezTo>
                  <a:cubicBezTo>
                    <a:pt x="15" y="14"/>
                    <a:pt x="16" y="14"/>
                    <a:pt x="17" y="13"/>
                  </a:cubicBezTo>
                  <a:cubicBezTo>
                    <a:pt x="16" y="13"/>
                    <a:pt x="16" y="13"/>
                    <a:pt x="16" y="13"/>
                  </a:cubicBezTo>
                  <a:cubicBezTo>
                    <a:pt x="16" y="11"/>
                    <a:pt x="14" y="10"/>
                    <a:pt x="12" y="9"/>
                  </a:cubicBezTo>
                  <a:cubicBezTo>
                    <a:pt x="11" y="8"/>
                    <a:pt x="9" y="7"/>
                    <a:pt x="8" y="5"/>
                  </a:cubicBezTo>
                  <a:cubicBezTo>
                    <a:pt x="8" y="6"/>
                    <a:pt x="8" y="6"/>
                    <a:pt x="8" y="6"/>
                  </a:cubicBezTo>
                  <a:cubicBezTo>
                    <a:pt x="7" y="5"/>
                    <a:pt x="6" y="3"/>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Freeform 1129">
              <a:extLst>
                <a:ext uri="{FF2B5EF4-FFF2-40B4-BE49-F238E27FC236}">
                  <a16:creationId xmlns:a16="http://schemas.microsoft.com/office/drawing/2014/main" id="{7A47CA8E-4861-4CAB-BF55-9F252A7D4D1C}"/>
                </a:ext>
              </a:extLst>
            </p:cNvPr>
            <p:cNvSpPr>
              <a:spLocks/>
            </p:cNvSpPr>
            <p:nvPr/>
          </p:nvSpPr>
          <p:spPr bwMode="auto">
            <a:xfrm>
              <a:off x="7896961" y="5941184"/>
              <a:ext cx="9396" cy="16108"/>
            </a:xfrm>
            <a:custGeom>
              <a:avLst/>
              <a:gdLst>
                <a:gd name="T0" fmla="*/ 1 w 3"/>
                <a:gd name="T1" fmla="*/ 0 h 5"/>
                <a:gd name="T2" fmla="*/ 0 w 3"/>
                <a:gd name="T3" fmla="*/ 2 h 5"/>
                <a:gd name="T4" fmla="*/ 0 w 3"/>
                <a:gd name="T5" fmla="*/ 5 h 5"/>
                <a:gd name="T6" fmla="*/ 2 w 3"/>
                <a:gd name="T7" fmla="*/ 2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1" y="0"/>
                    <a:pt x="1" y="1"/>
                    <a:pt x="0" y="2"/>
                  </a:cubicBezTo>
                  <a:cubicBezTo>
                    <a:pt x="0" y="3"/>
                    <a:pt x="0" y="4"/>
                    <a:pt x="0" y="5"/>
                  </a:cubicBezTo>
                  <a:cubicBezTo>
                    <a:pt x="2" y="4"/>
                    <a:pt x="3" y="3"/>
                    <a:pt x="2" y="2"/>
                  </a:cubicBezTo>
                  <a:cubicBezTo>
                    <a:pt x="2"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Freeform 1130">
              <a:extLst>
                <a:ext uri="{FF2B5EF4-FFF2-40B4-BE49-F238E27FC236}">
                  <a16:creationId xmlns:a16="http://schemas.microsoft.com/office/drawing/2014/main" id="{E49221D3-12DC-4C7D-BE4A-DFDA8E938D1E}"/>
                </a:ext>
              </a:extLst>
            </p:cNvPr>
            <p:cNvSpPr>
              <a:spLocks/>
            </p:cNvSpPr>
            <p:nvPr/>
          </p:nvSpPr>
          <p:spPr bwMode="auto">
            <a:xfrm>
              <a:off x="7913069" y="6061994"/>
              <a:ext cx="25504" cy="12081"/>
            </a:xfrm>
            <a:custGeom>
              <a:avLst/>
              <a:gdLst>
                <a:gd name="T0" fmla="*/ 7 w 8"/>
                <a:gd name="T1" fmla="*/ 0 h 4"/>
                <a:gd name="T2" fmla="*/ 2 w 8"/>
                <a:gd name="T3" fmla="*/ 2 h 4"/>
                <a:gd name="T4" fmla="*/ 0 w 8"/>
                <a:gd name="T5" fmla="*/ 3 h 4"/>
                <a:gd name="T6" fmla="*/ 3 w 8"/>
                <a:gd name="T7" fmla="*/ 4 h 4"/>
                <a:gd name="T8" fmla="*/ 3 w 8"/>
                <a:gd name="T9" fmla="*/ 4 h 4"/>
                <a:gd name="T10" fmla="*/ 4 w 8"/>
                <a:gd name="T11" fmla="*/ 4 h 4"/>
                <a:gd name="T12" fmla="*/ 8 w 8"/>
                <a:gd name="T13" fmla="*/ 0 h 4"/>
                <a:gd name="T14" fmla="*/ 8 w 8"/>
                <a:gd name="T15" fmla="*/ 0 h 4"/>
                <a:gd name="T16" fmla="*/ 7 w 8"/>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7" y="0"/>
                  </a:moveTo>
                  <a:cubicBezTo>
                    <a:pt x="4" y="0"/>
                    <a:pt x="3" y="0"/>
                    <a:pt x="2" y="2"/>
                  </a:cubicBezTo>
                  <a:cubicBezTo>
                    <a:pt x="1" y="2"/>
                    <a:pt x="1" y="2"/>
                    <a:pt x="0" y="3"/>
                  </a:cubicBezTo>
                  <a:cubicBezTo>
                    <a:pt x="1" y="3"/>
                    <a:pt x="2" y="4"/>
                    <a:pt x="3" y="4"/>
                  </a:cubicBezTo>
                  <a:cubicBezTo>
                    <a:pt x="3" y="4"/>
                    <a:pt x="3" y="4"/>
                    <a:pt x="3" y="4"/>
                  </a:cubicBezTo>
                  <a:cubicBezTo>
                    <a:pt x="4" y="4"/>
                    <a:pt x="4" y="4"/>
                    <a:pt x="4" y="4"/>
                  </a:cubicBezTo>
                  <a:cubicBezTo>
                    <a:pt x="6" y="3"/>
                    <a:pt x="6" y="1"/>
                    <a:pt x="8" y="0"/>
                  </a:cubicBezTo>
                  <a:cubicBezTo>
                    <a:pt x="8" y="0"/>
                    <a:pt x="8" y="0"/>
                    <a:pt x="8"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Freeform 1131">
              <a:extLst>
                <a:ext uri="{FF2B5EF4-FFF2-40B4-BE49-F238E27FC236}">
                  <a16:creationId xmlns:a16="http://schemas.microsoft.com/office/drawing/2014/main" id="{46A9AB74-59A3-4F2A-83A6-0B7CAB14287D}"/>
                </a:ext>
              </a:extLst>
            </p:cNvPr>
            <p:cNvSpPr>
              <a:spLocks/>
            </p:cNvSpPr>
            <p:nvPr/>
          </p:nvSpPr>
          <p:spPr bwMode="auto">
            <a:xfrm>
              <a:off x="7947969" y="6033805"/>
              <a:ext cx="2685" cy="34901"/>
            </a:xfrm>
            <a:custGeom>
              <a:avLst/>
              <a:gdLst>
                <a:gd name="T0" fmla="*/ 0 w 1"/>
                <a:gd name="T1" fmla="*/ 0 h 11"/>
                <a:gd name="T2" fmla="*/ 0 w 1"/>
                <a:gd name="T3" fmla="*/ 2 h 11"/>
                <a:gd name="T4" fmla="*/ 0 w 1"/>
                <a:gd name="T5" fmla="*/ 8 h 11"/>
                <a:gd name="T6" fmla="*/ 0 w 1"/>
                <a:gd name="T7" fmla="*/ 11 h 11"/>
                <a:gd name="T8" fmla="*/ 1 w 1"/>
                <a:gd name="T9" fmla="*/ 8 h 11"/>
                <a:gd name="T10" fmla="*/ 1 w 1"/>
                <a:gd name="T11" fmla="*/ 2 h 11"/>
                <a:gd name="T12" fmla="*/ 0 w 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 h="11">
                  <a:moveTo>
                    <a:pt x="0" y="0"/>
                  </a:moveTo>
                  <a:cubicBezTo>
                    <a:pt x="0" y="0"/>
                    <a:pt x="0" y="1"/>
                    <a:pt x="0" y="2"/>
                  </a:cubicBezTo>
                  <a:cubicBezTo>
                    <a:pt x="0" y="4"/>
                    <a:pt x="0" y="6"/>
                    <a:pt x="0" y="8"/>
                  </a:cubicBezTo>
                  <a:cubicBezTo>
                    <a:pt x="0" y="9"/>
                    <a:pt x="0" y="10"/>
                    <a:pt x="0" y="11"/>
                  </a:cubicBezTo>
                  <a:cubicBezTo>
                    <a:pt x="1" y="10"/>
                    <a:pt x="1" y="9"/>
                    <a:pt x="1" y="8"/>
                  </a:cubicBezTo>
                  <a:cubicBezTo>
                    <a:pt x="1" y="6"/>
                    <a:pt x="1" y="4"/>
                    <a:pt x="1"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 name="Freeform 1132">
              <a:extLst>
                <a:ext uri="{FF2B5EF4-FFF2-40B4-BE49-F238E27FC236}">
                  <a16:creationId xmlns:a16="http://schemas.microsoft.com/office/drawing/2014/main" id="{042B4AAE-4C4A-4867-8070-2A3C5ED346B6}"/>
                </a:ext>
              </a:extLst>
            </p:cNvPr>
            <p:cNvSpPr>
              <a:spLocks/>
            </p:cNvSpPr>
            <p:nvPr/>
          </p:nvSpPr>
          <p:spPr bwMode="auto">
            <a:xfrm>
              <a:off x="7950654" y="6078102"/>
              <a:ext cx="6712" cy="37585"/>
            </a:xfrm>
            <a:custGeom>
              <a:avLst/>
              <a:gdLst>
                <a:gd name="T0" fmla="*/ 0 w 2"/>
                <a:gd name="T1" fmla="*/ 0 h 12"/>
                <a:gd name="T2" fmla="*/ 0 w 2"/>
                <a:gd name="T3" fmla="*/ 3 h 12"/>
                <a:gd name="T4" fmla="*/ 0 w 2"/>
                <a:gd name="T5" fmla="*/ 5 h 12"/>
                <a:gd name="T6" fmla="*/ 0 w 2"/>
                <a:gd name="T7" fmla="*/ 6 h 12"/>
                <a:gd name="T8" fmla="*/ 1 w 2"/>
                <a:gd name="T9" fmla="*/ 12 h 12"/>
                <a:gd name="T10" fmla="*/ 2 w 2"/>
                <a:gd name="T11" fmla="*/ 7 h 12"/>
                <a:gd name="T12" fmla="*/ 1 w 2"/>
                <a:gd name="T13" fmla="*/ 3 h 12"/>
                <a:gd name="T14" fmla="*/ 2 w 2"/>
                <a:gd name="T15" fmla="*/ 3 h 12"/>
                <a:gd name="T16" fmla="*/ 1 w 2"/>
                <a:gd name="T17" fmla="*/ 3 h 12"/>
                <a:gd name="T18" fmla="*/ 0 w 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2">
                  <a:moveTo>
                    <a:pt x="0" y="0"/>
                  </a:moveTo>
                  <a:cubicBezTo>
                    <a:pt x="0" y="1"/>
                    <a:pt x="0" y="2"/>
                    <a:pt x="0" y="3"/>
                  </a:cubicBezTo>
                  <a:cubicBezTo>
                    <a:pt x="0" y="3"/>
                    <a:pt x="0" y="4"/>
                    <a:pt x="0" y="5"/>
                  </a:cubicBezTo>
                  <a:cubicBezTo>
                    <a:pt x="0" y="5"/>
                    <a:pt x="0" y="6"/>
                    <a:pt x="0" y="6"/>
                  </a:cubicBezTo>
                  <a:cubicBezTo>
                    <a:pt x="0" y="8"/>
                    <a:pt x="1" y="10"/>
                    <a:pt x="1" y="12"/>
                  </a:cubicBezTo>
                  <a:cubicBezTo>
                    <a:pt x="2" y="11"/>
                    <a:pt x="2" y="9"/>
                    <a:pt x="2" y="7"/>
                  </a:cubicBezTo>
                  <a:cubicBezTo>
                    <a:pt x="2" y="6"/>
                    <a:pt x="1" y="4"/>
                    <a:pt x="1" y="3"/>
                  </a:cubicBezTo>
                  <a:cubicBezTo>
                    <a:pt x="2" y="3"/>
                    <a:pt x="2" y="3"/>
                    <a:pt x="2" y="3"/>
                  </a:cubicBezTo>
                  <a:cubicBezTo>
                    <a:pt x="1" y="3"/>
                    <a:pt x="1" y="3"/>
                    <a:pt x="1" y="3"/>
                  </a:cubicBezTo>
                  <a:cubicBezTo>
                    <a:pt x="1" y="2"/>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 name="Freeform 1133">
              <a:extLst>
                <a:ext uri="{FF2B5EF4-FFF2-40B4-BE49-F238E27FC236}">
                  <a16:creationId xmlns:a16="http://schemas.microsoft.com/office/drawing/2014/main" id="{4CFB42BA-9D8D-4137-86AE-F58009C06C88}"/>
                </a:ext>
              </a:extLst>
            </p:cNvPr>
            <p:cNvSpPr>
              <a:spLocks/>
            </p:cNvSpPr>
            <p:nvPr/>
          </p:nvSpPr>
          <p:spPr bwMode="auto">
            <a:xfrm>
              <a:off x="7931861" y="6122399"/>
              <a:ext cx="32216" cy="18793"/>
            </a:xfrm>
            <a:custGeom>
              <a:avLst/>
              <a:gdLst>
                <a:gd name="T0" fmla="*/ 6 w 10"/>
                <a:gd name="T1" fmla="*/ 0 h 6"/>
                <a:gd name="T2" fmla="*/ 4 w 10"/>
                <a:gd name="T3" fmla="*/ 2 h 6"/>
                <a:gd name="T4" fmla="*/ 2 w 10"/>
                <a:gd name="T5" fmla="*/ 2 h 6"/>
                <a:gd name="T6" fmla="*/ 1 w 10"/>
                <a:gd name="T7" fmla="*/ 2 h 6"/>
                <a:gd name="T8" fmla="*/ 1 w 10"/>
                <a:gd name="T9" fmla="*/ 3 h 6"/>
                <a:gd name="T10" fmla="*/ 1 w 10"/>
                <a:gd name="T11" fmla="*/ 4 h 6"/>
                <a:gd name="T12" fmla="*/ 1 w 10"/>
                <a:gd name="T13" fmla="*/ 5 h 6"/>
                <a:gd name="T14" fmla="*/ 1 w 10"/>
                <a:gd name="T15" fmla="*/ 6 h 6"/>
                <a:gd name="T16" fmla="*/ 2 w 10"/>
                <a:gd name="T17" fmla="*/ 5 h 6"/>
                <a:gd name="T18" fmla="*/ 5 w 10"/>
                <a:gd name="T19" fmla="*/ 6 h 6"/>
                <a:gd name="T20" fmla="*/ 8 w 10"/>
                <a:gd name="T21" fmla="*/ 4 h 6"/>
                <a:gd name="T22" fmla="*/ 8 w 10"/>
                <a:gd name="T23" fmla="*/ 3 h 6"/>
                <a:gd name="T24" fmla="*/ 7 w 10"/>
                <a:gd name="T25" fmla="*/ 2 h 6"/>
                <a:gd name="T26" fmla="*/ 6 w 10"/>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6">
                  <a:moveTo>
                    <a:pt x="6" y="0"/>
                  </a:moveTo>
                  <a:cubicBezTo>
                    <a:pt x="5" y="0"/>
                    <a:pt x="5" y="1"/>
                    <a:pt x="4" y="2"/>
                  </a:cubicBezTo>
                  <a:cubicBezTo>
                    <a:pt x="3" y="2"/>
                    <a:pt x="3" y="2"/>
                    <a:pt x="2" y="2"/>
                  </a:cubicBezTo>
                  <a:cubicBezTo>
                    <a:pt x="1" y="2"/>
                    <a:pt x="1" y="2"/>
                    <a:pt x="1" y="2"/>
                  </a:cubicBezTo>
                  <a:cubicBezTo>
                    <a:pt x="1" y="3"/>
                    <a:pt x="1" y="3"/>
                    <a:pt x="1" y="3"/>
                  </a:cubicBezTo>
                  <a:cubicBezTo>
                    <a:pt x="0" y="3"/>
                    <a:pt x="0" y="3"/>
                    <a:pt x="1" y="4"/>
                  </a:cubicBezTo>
                  <a:cubicBezTo>
                    <a:pt x="1" y="5"/>
                    <a:pt x="1" y="5"/>
                    <a:pt x="1" y="5"/>
                  </a:cubicBezTo>
                  <a:cubicBezTo>
                    <a:pt x="1" y="6"/>
                    <a:pt x="1" y="6"/>
                    <a:pt x="1" y="6"/>
                  </a:cubicBezTo>
                  <a:cubicBezTo>
                    <a:pt x="2" y="5"/>
                    <a:pt x="2" y="5"/>
                    <a:pt x="2" y="5"/>
                  </a:cubicBezTo>
                  <a:cubicBezTo>
                    <a:pt x="3" y="6"/>
                    <a:pt x="4" y="6"/>
                    <a:pt x="5" y="6"/>
                  </a:cubicBezTo>
                  <a:cubicBezTo>
                    <a:pt x="10" y="5"/>
                    <a:pt x="9" y="5"/>
                    <a:pt x="8" y="4"/>
                  </a:cubicBezTo>
                  <a:cubicBezTo>
                    <a:pt x="8" y="3"/>
                    <a:pt x="8" y="3"/>
                    <a:pt x="8" y="3"/>
                  </a:cubicBezTo>
                  <a:cubicBezTo>
                    <a:pt x="7" y="2"/>
                    <a:pt x="7" y="2"/>
                    <a:pt x="7" y="2"/>
                  </a:cubicBezTo>
                  <a:cubicBezTo>
                    <a:pt x="6" y="1"/>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 name="Freeform 1134">
              <a:extLst>
                <a:ext uri="{FF2B5EF4-FFF2-40B4-BE49-F238E27FC236}">
                  <a16:creationId xmlns:a16="http://schemas.microsoft.com/office/drawing/2014/main" id="{4F229CDE-AFE9-452A-8535-B967E4721D3E}"/>
                </a:ext>
              </a:extLst>
            </p:cNvPr>
            <p:cNvSpPr>
              <a:spLocks/>
            </p:cNvSpPr>
            <p:nvPr/>
          </p:nvSpPr>
          <p:spPr bwMode="auto">
            <a:xfrm>
              <a:off x="8011059" y="6315696"/>
              <a:ext cx="25504" cy="25504"/>
            </a:xfrm>
            <a:custGeom>
              <a:avLst/>
              <a:gdLst>
                <a:gd name="T0" fmla="*/ 2 w 8"/>
                <a:gd name="T1" fmla="*/ 0 h 8"/>
                <a:gd name="T2" fmla="*/ 0 w 8"/>
                <a:gd name="T3" fmla="*/ 5 h 8"/>
                <a:gd name="T4" fmla="*/ 8 w 8"/>
                <a:gd name="T5" fmla="*/ 8 h 8"/>
                <a:gd name="T6" fmla="*/ 7 w 8"/>
                <a:gd name="T7" fmla="*/ 5 h 8"/>
                <a:gd name="T8" fmla="*/ 4 w 8"/>
                <a:gd name="T9" fmla="*/ 1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cubicBezTo>
                    <a:pt x="0" y="0"/>
                    <a:pt x="0" y="3"/>
                    <a:pt x="0" y="5"/>
                  </a:cubicBezTo>
                  <a:cubicBezTo>
                    <a:pt x="3" y="6"/>
                    <a:pt x="6" y="7"/>
                    <a:pt x="8" y="8"/>
                  </a:cubicBezTo>
                  <a:cubicBezTo>
                    <a:pt x="8" y="7"/>
                    <a:pt x="7" y="6"/>
                    <a:pt x="7" y="5"/>
                  </a:cubicBezTo>
                  <a:cubicBezTo>
                    <a:pt x="7" y="4"/>
                    <a:pt x="5"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 name="Freeform 1135">
              <a:extLst>
                <a:ext uri="{FF2B5EF4-FFF2-40B4-BE49-F238E27FC236}">
                  <a16:creationId xmlns:a16="http://schemas.microsoft.com/office/drawing/2014/main" id="{9DEEA480-0D95-4925-85A4-01C56D420FB5}"/>
                </a:ext>
              </a:extLst>
            </p:cNvPr>
            <p:cNvSpPr>
              <a:spLocks/>
            </p:cNvSpPr>
            <p:nvPr/>
          </p:nvSpPr>
          <p:spPr bwMode="auto">
            <a:xfrm>
              <a:off x="8064753" y="6436506"/>
              <a:ext cx="9396" cy="6712"/>
            </a:xfrm>
            <a:custGeom>
              <a:avLst/>
              <a:gdLst>
                <a:gd name="T0" fmla="*/ 1 w 3"/>
                <a:gd name="T1" fmla="*/ 0 h 2"/>
                <a:gd name="T2" fmla="*/ 3 w 3"/>
                <a:gd name="T3" fmla="*/ 2 h 2"/>
                <a:gd name="T4" fmla="*/ 1 w 3"/>
                <a:gd name="T5" fmla="*/ 0 h 2"/>
              </a:gdLst>
              <a:ahLst/>
              <a:cxnLst>
                <a:cxn ang="0">
                  <a:pos x="T0" y="T1"/>
                </a:cxn>
                <a:cxn ang="0">
                  <a:pos x="T2" y="T3"/>
                </a:cxn>
                <a:cxn ang="0">
                  <a:pos x="T4" y="T5"/>
                </a:cxn>
              </a:cxnLst>
              <a:rect l="0" t="0" r="r" b="b"/>
              <a:pathLst>
                <a:path w="3" h="2">
                  <a:moveTo>
                    <a:pt x="1" y="0"/>
                  </a:moveTo>
                  <a:cubicBezTo>
                    <a:pt x="0" y="1"/>
                    <a:pt x="2"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 name="Freeform 1136">
              <a:extLst>
                <a:ext uri="{FF2B5EF4-FFF2-40B4-BE49-F238E27FC236}">
                  <a16:creationId xmlns:a16="http://schemas.microsoft.com/office/drawing/2014/main" id="{E0EC57D7-2169-43BA-9338-9D8F84361B69}"/>
                </a:ext>
              </a:extLst>
            </p:cNvPr>
            <p:cNvSpPr>
              <a:spLocks/>
            </p:cNvSpPr>
            <p:nvPr/>
          </p:nvSpPr>
          <p:spPr bwMode="auto">
            <a:xfrm>
              <a:off x="8027167" y="6373416"/>
              <a:ext cx="25504" cy="21477"/>
            </a:xfrm>
            <a:custGeom>
              <a:avLst/>
              <a:gdLst>
                <a:gd name="T0" fmla="*/ 1 w 8"/>
                <a:gd name="T1" fmla="*/ 0 h 7"/>
                <a:gd name="T2" fmla="*/ 1 w 8"/>
                <a:gd name="T3" fmla="*/ 4 h 7"/>
                <a:gd name="T4" fmla="*/ 5 w 8"/>
                <a:gd name="T5" fmla="*/ 7 h 7"/>
                <a:gd name="T6" fmla="*/ 1 w 8"/>
                <a:gd name="T7" fmla="*/ 0 h 7"/>
              </a:gdLst>
              <a:ahLst/>
              <a:cxnLst>
                <a:cxn ang="0">
                  <a:pos x="T0" y="T1"/>
                </a:cxn>
                <a:cxn ang="0">
                  <a:pos x="T2" y="T3"/>
                </a:cxn>
                <a:cxn ang="0">
                  <a:pos x="T4" y="T5"/>
                </a:cxn>
                <a:cxn ang="0">
                  <a:pos x="T6" y="T7"/>
                </a:cxn>
              </a:cxnLst>
              <a:rect l="0" t="0" r="r" b="b"/>
              <a:pathLst>
                <a:path w="8" h="7">
                  <a:moveTo>
                    <a:pt x="1" y="0"/>
                  </a:moveTo>
                  <a:cubicBezTo>
                    <a:pt x="1" y="2"/>
                    <a:pt x="0" y="2"/>
                    <a:pt x="1" y="4"/>
                  </a:cubicBezTo>
                  <a:cubicBezTo>
                    <a:pt x="1" y="6"/>
                    <a:pt x="4" y="7"/>
                    <a:pt x="5" y="7"/>
                  </a:cubicBezTo>
                  <a:cubicBezTo>
                    <a:pt x="8" y="3"/>
                    <a:pt x="5"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 name="Freeform 1137">
              <a:extLst>
                <a:ext uri="{FF2B5EF4-FFF2-40B4-BE49-F238E27FC236}">
                  <a16:creationId xmlns:a16="http://schemas.microsoft.com/office/drawing/2014/main" id="{0EC569A2-F720-4AA7-A4AF-94CCA5E83595}"/>
                </a:ext>
              </a:extLst>
            </p:cNvPr>
            <p:cNvSpPr>
              <a:spLocks/>
            </p:cNvSpPr>
            <p:nvPr/>
          </p:nvSpPr>
          <p:spPr bwMode="auto">
            <a:xfrm>
              <a:off x="7947969" y="6232471"/>
              <a:ext cx="34901" cy="22820"/>
            </a:xfrm>
            <a:custGeom>
              <a:avLst/>
              <a:gdLst>
                <a:gd name="T0" fmla="*/ 6 w 11"/>
                <a:gd name="T1" fmla="*/ 0 h 7"/>
                <a:gd name="T2" fmla="*/ 1 w 11"/>
                <a:gd name="T3" fmla="*/ 5 h 7"/>
                <a:gd name="T4" fmla="*/ 3 w 11"/>
                <a:gd name="T5" fmla="*/ 4 h 7"/>
                <a:gd name="T6" fmla="*/ 3 w 11"/>
                <a:gd name="T7" fmla="*/ 6 h 7"/>
                <a:gd name="T8" fmla="*/ 4 w 11"/>
                <a:gd name="T9" fmla="*/ 6 h 7"/>
                <a:gd name="T10" fmla="*/ 6 w 11"/>
                <a:gd name="T11" fmla="*/ 7 h 7"/>
                <a:gd name="T12" fmla="*/ 11 w 11"/>
                <a:gd name="T13" fmla="*/ 4 h 7"/>
                <a:gd name="T14" fmla="*/ 7 w 11"/>
                <a:gd name="T15" fmla="*/ 0 h 7"/>
                <a:gd name="T16" fmla="*/ 6 w 11"/>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6" y="0"/>
                  </a:moveTo>
                  <a:cubicBezTo>
                    <a:pt x="3" y="0"/>
                    <a:pt x="0" y="3"/>
                    <a:pt x="1" y="5"/>
                  </a:cubicBezTo>
                  <a:cubicBezTo>
                    <a:pt x="1" y="4"/>
                    <a:pt x="2" y="4"/>
                    <a:pt x="3" y="4"/>
                  </a:cubicBezTo>
                  <a:cubicBezTo>
                    <a:pt x="3" y="4"/>
                    <a:pt x="4" y="5"/>
                    <a:pt x="3" y="6"/>
                  </a:cubicBezTo>
                  <a:cubicBezTo>
                    <a:pt x="3" y="6"/>
                    <a:pt x="3" y="6"/>
                    <a:pt x="4" y="6"/>
                  </a:cubicBezTo>
                  <a:cubicBezTo>
                    <a:pt x="5" y="6"/>
                    <a:pt x="5" y="6"/>
                    <a:pt x="6" y="7"/>
                  </a:cubicBezTo>
                  <a:cubicBezTo>
                    <a:pt x="7" y="6"/>
                    <a:pt x="9" y="5"/>
                    <a:pt x="11" y="4"/>
                  </a:cubicBezTo>
                  <a:cubicBezTo>
                    <a:pt x="9" y="3"/>
                    <a:pt x="9" y="1"/>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 name="Freeform 1138">
              <a:extLst>
                <a:ext uri="{FF2B5EF4-FFF2-40B4-BE49-F238E27FC236}">
                  <a16:creationId xmlns:a16="http://schemas.microsoft.com/office/drawing/2014/main" id="{8DBAAD43-42BB-49D6-9A92-7B4D877CD0CA}"/>
                </a:ext>
              </a:extLst>
            </p:cNvPr>
            <p:cNvSpPr>
              <a:spLocks/>
            </p:cNvSpPr>
            <p:nvPr/>
          </p:nvSpPr>
          <p:spPr bwMode="auto">
            <a:xfrm>
              <a:off x="2845752" y="4443136"/>
              <a:ext cx="2685" cy="6712"/>
            </a:xfrm>
            <a:custGeom>
              <a:avLst/>
              <a:gdLst>
                <a:gd name="T0" fmla="*/ 1 w 1"/>
                <a:gd name="T1" fmla="*/ 0 h 2"/>
                <a:gd name="T2" fmla="*/ 0 w 1"/>
                <a:gd name="T3" fmla="*/ 1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1" y="1"/>
                    <a:pt x="0" y="1"/>
                  </a:cubicBezTo>
                  <a:cubicBezTo>
                    <a:pt x="1" y="2"/>
                    <a:pt x="1" y="2"/>
                    <a:pt x="1" y="2"/>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3" name="Freeform 1139">
              <a:extLst>
                <a:ext uri="{FF2B5EF4-FFF2-40B4-BE49-F238E27FC236}">
                  <a16:creationId xmlns:a16="http://schemas.microsoft.com/office/drawing/2014/main" id="{200816F0-114D-46D6-8BC8-DB12E41A5A6E}"/>
                </a:ext>
              </a:extLst>
            </p:cNvPr>
            <p:cNvSpPr>
              <a:spLocks/>
            </p:cNvSpPr>
            <p:nvPr/>
          </p:nvSpPr>
          <p:spPr bwMode="auto">
            <a:xfrm>
              <a:off x="4253862" y="4573343"/>
              <a:ext cx="6712" cy="2685"/>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0"/>
                    <a:pt x="1" y="1"/>
                    <a:pt x="2" y="1"/>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4" name="Freeform 1140">
              <a:extLst>
                <a:ext uri="{FF2B5EF4-FFF2-40B4-BE49-F238E27FC236}">
                  <a16:creationId xmlns:a16="http://schemas.microsoft.com/office/drawing/2014/main" id="{9CE22C60-03E8-44DF-B0D3-88B2F8D22326}"/>
                </a:ext>
              </a:extLst>
            </p:cNvPr>
            <p:cNvSpPr>
              <a:spLocks/>
            </p:cNvSpPr>
            <p:nvPr/>
          </p:nvSpPr>
          <p:spPr bwMode="auto">
            <a:xfrm>
              <a:off x="3994791" y="4506226"/>
              <a:ext cx="5369" cy="939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0" y="3"/>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5" name="Freeform 1141">
              <a:extLst>
                <a:ext uri="{FF2B5EF4-FFF2-40B4-BE49-F238E27FC236}">
                  <a16:creationId xmlns:a16="http://schemas.microsoft.com/office/drawing/2014/main" id="{7829EC42-8313-426F-A12A-7C5CBF48765E}"/>
                </a:ext>
              </a:extLst>
            </p:cNvPr>
            <p:cNvSpPr>
              <a:spLocks/>
            </p:cNvSpPr>
            <p:nvPr/>
          </p:nvSpPr>
          <p:spPr bwMode="auto">
            <a:xfrm>
              <a:off x="2836355" y="4427028"/>
              <a:ext cx="18793" cy="13423"/>
            </a:xfrm>
            <a:custGeom>
              <a:avLst/>
              <a:gdLst>
                <a:gd name="T0" fmla="*/ 4 w 6"/>
                <a:gd name="T1" fmla="*/ 0 h 4"/>
                <a:gd name="T2" fmla="*/ 1 w 6"/>
                <a:gd name="T3" fmla="*/ 1 h 4"/>
                <a:gd name="T4" fmla="*/ 0 w 6"/>
                <a:gd name="T5" fmla="*/ 1 h 4"/>
                <a:gd name="T6" fmla="*/ 3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cubicBezTo>
                    <a:pt x="3" y="1"/>
                    <a:pt x="2" y="1"/>
                    <a:pt x="1" y="1"/>
                  </a:cubicBezTo>
                  <a:cubicBezTo>
                    <a:pt x="1" y="1"/>
                    <a:pt x="0" y="1"/>
                    <a:pt x="0" y="1"/>
                  </a:cubicBezTo>
                  <a:cubicBezTo>
                    <a:pt x="0" y="3"/>
                    <a:pt x="2" y="4"/>
                    <a:pt x="3" y="4"/>
                  </a:cubicBezTo>
                  <a:cubicBezTo>
                    <a:pt x="5"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6" name="Freeform 1142">
              <a:extLst>
                <a:ext uri="{FF2B5EF4-FFF2-40B4-BE49-F238E27FC236}">
                  <a16:creationId xmlns:a16="http://schemas.microsoft.com/office/drawing/2014/main" id="{D4077025-D7FE-47EF-A1EF-050EC2B427C1}"/>
                </a:ext>
              </a:extLst>
            </p:cNvPr>
            <p:cNvSpPr>
              <a:spLocks/>
            </p:cNvSpPr>
            <p:nvPr/>
          </p:nvSpPr>
          <p:spPr bwMode="auto">
            <a:xfrm>
              <a:off x="4155871" y="4408235"/>
              <a:ext cx="13423" cy="6712"/>
            </a:xfrm>
            <a:custGeom>
              <a:avLst/>
              <a:gdLst>
                <a:gd name="T0" fmla="*/ 3 w 4"/>
                <a:gd name="T1" fmla="*/ 0 h 2"/>
                <a:gd name="T2" fmla="*/ 0 w 4"/>
                <a:gd name="T3" fmla="*/ 1 h 2"/>
                <a:gd name="T4" fmla="*/ 2 w 4"/>
                <a:gd name="T5" fmla="*/ 2 h 2"/>
                <a:gd name="T6" fmla="*/ 4 w 4"/>
                <a:gd name="T7" fmla="*/ 0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1" y="1"/>
                    <a:pt x="0" y="1"/>
                  </a:cubicBezTo>
                  <a:cubicBezTo>
                    <a:pt x="1" y="1"/>
                    <a:pt x="1" y="2"/>
                    <a:pt x="2" y="2"/>
                  </a:cubicBezTo>
                  <a:cubicBezTo>
                    <a:pt x="3" y="2"/>
                    <a:pt x="4" y="1"/>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7" name="Freeform 1143">
              <a:extLst>
                <a:ext uri="{FF2B5EF4-FFF2-40B4-BE49-F238E27FC236}">
                  <a16:creationId xmlns:a16="http://schemas.microsoft.com/office/drawing/2014/main" id="{FCC9597E-641B-47AF-B749-48843AC0831F}"/>
                </a:ext>
              </a:extLst>
            </p:cNvPr>
            <p:cNvSpPr>
              <a:spLocks/>
            </p:cNvSpPr>
            <p:nvPr/>
          </p:nvSpPr>
          <p:spPr bwMode="auto">
            <a:xfrm>
              <a:off x="4134394" y="4361253"/>
              <a:ext cx="18793" cy="18793"/>
            </a:xfrm>
            <a:custGeom>
              <a:avLst/>
              <a:gdLst>
                <a:gd name="T0" fmla="*/ 5 w 6"/>
                <a:gd name="T1" fmla="*/ 0 h 6"/>
                <a:gd name="T2" fmla="*/ 1 w 6"/>
                <a:gd name="T3" fmla="*/ 1 h 6"/>
                <a:gd name="T4" fmla="*/ 0 w 6"/>
                <a:gd name="T5" fmla="*/ 6 h 6"/>
                <a:gd name="T6" fmla="*/ 5 w 6"/>
                <a:gd name="T7" fmla="*/ 3 h 6"/>
                <a:gd name="T8" fmla="*/ 5 w 6"/>
                <a:gd name="T9" fmla="*/ 0 h 6"/>
              </a:gdLst>
              <a:ahLst/>
              <a:cxnLst>
                <a:cxn ang="0">
                  <a:pos x="T0" y="T1"/>
                </a:cxn>
                <a:cxn ang="0">
                  <a:pos x="T2" y="T3"/>
                </a:cxn>
                <a:cxn ang="0">
                  <a:pos x="T4" y="T5"/>
                </a:cxn>
                <a:cxn ang="0">
                  <a:pos x="T6" y="T7"/>
                </a:cxn>
                <a:cxn ang="0">
                  <a:pos x="T8" y="T9"/>
                </a:cxn>
              </a:cxnLst>
              <a:rect l="0" t="0" r="r" b="b"/>
              <a:pathLst>
                <a:path w="6" h="6">
                  <a:moveTo>
                    <a:pt x="5" y="0"/>
                  </a:moveTo>
                  <a:cubicBezTo>
                    <a:pt x="4" y="0"/>
                    <a:pt x="3" y="1"/>
                    <a:pt x="1" y="1"/>
                  </a:cubicBezTo>
                  <a:cubicBezTo>
                    <a:pt x="0" y="3"/>
                    <a:pt x="0" y="4"/>
                    <a:pt x="0" y="6"/>
                  </a:cubicBezTo>
                  <a:cubicBezTo>
                    <a:pt x="1" y="5"/>
                    <a:pt x="5" y="4"/>
                    <a:pt x="5" y="3"/>
                  </a:cubicBezTo>
                  <a:cubicBezTo>
                    <a:pt x="6"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8" name="Freeform 1144">
              <a:extLst>
                <a:ext uri="{FF2B5EF4-FFF2-40B4-BE49-F238E27FC236}">
                  <a16:creationId xmlns:a16="http://schemas.microsoft.com/office/drawing/2014/main" id="{54B06BB0-687C-421D-B88E-685287C9D6BF}"/>
                </a:ext>
              </a:extLst>
            </p:cNvPr>
            <p:cNvSpPr>
              <a:spLocks/>
            </p:cNvSpPr>
            <p:nvPr/>
          </p:nvSpPr>
          <p:spPr bwMode="auto">
            <a:xfrm>
              <a:off x="3166570" y="4696838"/>
              <a:ext cx="5369" cy="9396"/>
            </a:xfrm>
            <a:custGeom>
              <a:avLst/>
              <a:gdLst>
                <a:gd name="T0" fmla="*/ 2 w 2"/>
                <a:gd name="T1" fmla="*/ 0 h 3"/>
                <a:gd name="T2" fmla="*/ 2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2"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9" name="Freeform 1145">
              <a:extLst>
                <a:ext uri="{FF2B5EF4-FFF2-40B4-BE49-F238E27FC236}">
                  <a16:creationId xmlns:a16="http://schemas.microsoft.com/office/drawing/2014/main" id="{A25B1C75-D403-43C7-A058-AE49F5C5AFAA}"/>
                </a:ext>
              </a:extLst>
            </p:cNvPr>
            <p:cNvSpPr>
              <a:spLocks/>
            </p:cNvSpPr>
            <p:nvPr/>
          </p:nvSpPr>
          <p:spPr bwMode="auto">
            <a:xfrm>
              <a:off x="3706189" y="4703549"/>
              <a:ext cx="9396" cy="28189"/>
            </a:xfrm>
            <a:custGeom>
              <a:avLst/>
              <a:gdLst>
                <a:gd name="T0" fmla="*/ 1 w 3"/>
                <a:gd name="T1" fmla="*/ 0 h 9"/>
                <a:gd name="T2" fmla="*/ 0 w 3"/>
                <a:gd name="T3" fmla="*/ 6 h 9"/>
                <a:gd name="T4" fmla="*/ 2 w 3"/>
                <a:gd name="T5" fmla="*/ 9 h 9"/>
                <a:gd name="T6" fmla="*/ 1 w 3"/>
                <a:gd name="T7" fmla="*/ 0 h 9"/>
              </a:gdLst>
              <a:ahLst/>
              <a:cxnLst>
                <a:cxn ang="0">
                  <a:pos x="T0" y="T1"/>
                </a:cxn>
                <a:cxn ang="0">
                  <a:pos x="T2" y="T3"/>
                </a:cxn>
                <a:cxn ang="0">
                  <a:pos x="T4" y="T5"/>
                </a:cxn>
                <a:cxn ang="0">
                  <a:pos x="T6" y="T7"/>
                </a:cxn>
              </a:cxnLst>
              <a:rect l="0" t="0" r="r" b="b"/>
              <a:pathLst>
                <a:path w="3" h="9">
                  <a:moveTo>
                    <a:pt x="1" y="0"/>
                  </a:moveTo>
                  <a:cubicBezTo>
                    <a:pt x="0" y="2"/>
                    <a:pt x="0" y="4"/>
                    <a:pt x="0" y="6"/>
                  </a:cubicBezTo>
                  <a:cubicBezTo>
                    <a:pt x="1" y="8"/>
                    <a:pt x="1" y="9"/>
                    <a:pt x="2" y="9"/>
                  </a:cubicBezTo>
                  <a:cubicBezTo>
                    <a:pt x="3" y="9"/>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0" name="Freeform 1146">
              <a:extLst>
                <a:ext uri="{FF2B5EF4-FFF2-40B4-BE49-F238E27FC236}">
                  <a16:creationId xmlns:a16="http://schemas.microsoft.com/office/drawing/2014/main" id="{DACDEB53-AF3D-4A62-B68A-DEAEFAD8611B}"/>
                </a:ext>
              </a:extLst>
            </p:cNvPr>
            <p:cNvSpPr>
              <a:spLocks/>
            </p:cNvSpPr>
            <p:nvPr/>
          </p:nvSpPr>
          <p:spPr bwMode="auto">
            <a:xfrm>
              <a:off x="4235069" y="4561262"/>
              <a:ext cx="13423" cy="5369"/>
            </a:xfrm>
            <a:custGeom>
              <a:avLst/>
              <a:gdLst>
                <a:gd name="T0" fmla="*/ 0 w 4"/>
                <a:gd name="T1" fmla="*/ 0 h 2"/>
                <a:gd name="T2" fmla="*/ 3 w 4"/>
                <a:gd name="T3" fmla="*/ 2 h 2"/>
                <a:gd name="T4" fmla="*/ 4 w 4"/>
                <a:gd name="T5" fmla="*/ 1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2" y="2"/>
                    <a:pt x="3" y="2"/>
                  </a:cubicBezTo>
                  <a:cubicBezTo>
                    <a:pt x="4" y="2"/>
                    <a:pt x="4" y="1"/>
                    <a:pt x="4" y="1"/>
                  </a:cubicBezTo>
                  <a:cubicBezTo>
                    <a:pt x="3"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1" name="Freeform 1147">
              <a:extLst>
                <a:ext uri="{FF2B5EF4-FFF2-40B4-BE49-F238E27FC236}">
                  <a16:creationId xmlns:a16="http://schemas.microsoft.com/office/drawing/2014/main" id="{11EFC6B9-0562-4EF0-BD7A-287731C3B2CD}"/>
                </a:ext>
              </a:extLst>
            </p:cNvPr>
            <p:cNvSpPr>
              <a:spLocks/>
            </p:cNvSpPr>
            <p:nvPr/>
          </p:nvSpPr>
          <p:spPr bwMode="auto">
            <a:xfrm>
              <a:off x="123495" y="6397579"/>
              <a:ext cx="12081" cy="6712"/>
            </a:xfrm>
            <a:custGeom>
              <a:avLst/>
              <a:gdLst>
                <a:gd name="T0" fmla="*/ 4 w 4"/>
                <a:gd name="T1" fmla="*/ 0 h 2"/>
                <a:gd name="T2" fmla="*/ 0 w 4"/>
                <a:gd name="T3" fmla="*/ 2 h 2"/>
                <a:gd name="T4" fmla="*/ 1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2" y="0"/>
                    <a:pt x="1" y="1"/>
                    <a:pt x="0" y="2"/>
                  </a:cubicBezTo>
                  <a:cubicBezTo>
                    <a:pt x="1" y="2"/>
                    <a:pt x="1" y="2"/>
                    <a:pt x="1" y="2"/>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2" name="Freeform 1148">
              <a:extLst>
                <a:ext uri="{FF2B5EF4-FFF2-40B4-BE49-F238E27FC236}">
                  <a16:creationId xmlns:a16="http://schemas.microsoft.com/office/drawing/2014/main" id="{F6533338-8A92-4483-AB03-59000C21311D}"/>
                </a:ext>
              </a:extLst>
            </p:cNvPr>
            <p:cNvSpPr>
              <a:spLocks/>
            </p:cNvSpPr>
            <p:nvPr/>
          </p:nvSpPr>
          <p:spPr bwMode="auto">
            <a:xfrm>
              <a:off x="4986777" y="2190695"/>
              <a:ext cx="20135" cy="18793"/>
            </a:xfrm>
            <a:custGeom>
              <a:avLst/>
              <a:gdLst>
                <a:gd name="T0" fmla="*/ 5 w 6"/>
                <a:gd name="T1" fmla="*/ 0 h 6"/>
                <a:gd name="T2" fmla="*/ 1 w 6"/>
                <a:gd name="T3" fmla="*/ 1 h 6"/>
                <a:gd name="T4" fmla="*/ 3 w 6"/>
                <a:gd name="T5" fmla="*/ 5 h 6"/>
                <a:gd name="T6" fmla="*/ 3 w 6"/>
                <a:gd name="T7" fmla="*/ 6 h 6"/>
                <a:gd name="T8" fmla="*/ 6 w 6"/>
                <a:gd name="T9" fmla="*/ 0 h 6"/>
                <a:gd name="T10" fmla="*/ 5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5" y="0"/>
                  </a:moveTo>
                  <a:cubicBezTo>
                    <a:pt x="4" y="0"/>
                    <a:pt x="1" y="1"/>
                    <a:pt x="1" y="1"/>
                  </a:cubicBezTo>
                  <a:cubicBezTo>
                    <a:pt x="1" y="3"/>
                    <a:pt x="0" y="5"/>
                    <a:pt x="3" y="5"/>
                  </a:cubicBezTo>
                  <a:cubicBezTo>
                    <a:pt x="3" y="6"/>
                    <a:pt x="3" y="6"/>
                    <a:pt x="3" y="6"/>
                  </a:cubicBezTo>
                  <a:cubicBezTo>
                    <a:pt x="4" y="4"/>
                    <a:pt x="5" y="2"/>
                    <a:pt x="6" y="0"/>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3" name="Freeform 1149">
              <a:extLst>
                <a:ext uri="{FF2B5EF4-FFF2-40B4-BE49-F238E27FC236}">
                  <a16:creationId xmlns:a16="http://schemas.microsoft.com/office/drawing/2014/main" id="{8B3265DE-F3BF-4D34-A8CD-F0879BFCA8E8}"/>
                </a:ext>
              </a:extLst>
            </p:cNvPr>
            <p:cNvSpPr>
              <a:spLocks/>
            </p:cNvSpPr>
            <p:nvPr/>
          </p:nvSpPr>
          <p:spPr bwMode="auto">
            <a:xfrm>
              <a:off x="5037786" y="2244388"/>
              <a:ext cx="13423" cy="16108"/>
            </a:xfrm>
            <a:custGeom>
              <a:avLst/>
              <a:gdLst>
                <a:gd name="T0" fmla="*/ 1 w 4"/>
                <a:gd name="T1" fmla="*/ 0 h 5"/>
                <a:gd name="T2" fmla="*/ 0 w 4"/>
                <a:gd name="T3" fmla="*/ 5 h 5"/>
                <a:gd name="T4" fmla="*/ 4 w 4"/>
                <a:gd name="T5" fmla="*/ 2 h 5"/>
                <a:gd name="T6" fmla="*/ 1 w 4"/>
                <a:gd name="T7" fmla="*/ 0 h 5"/>
              </a:gdLst>
              <a:ahLst/>
              <a:cxnLst>
                <a:cxn ang="0">
                  <a:pos x="T0" y="T1"/>
                </a:cxn>
                <a:cxn ang="0">
                  <a:pos x="T2" y="T3"/>
                </a:cxn>
                <a:cxn ang="0">
                  <a:pos x="T4" y="T5"/>
                </a:cxn>
                <a:cxn ang="0">
                  <a:pos x="T6" y="T7"/>
                </a:cxn>
              </a:cxnLst>
              <a:rect l="0" t="0" r="r" b="b"/>
              <a:pathLst>
                <a:path w="4" h="5">
                  <a:moveTo>
                    <a:pt x="1" y="0"/>
                  </a:moveTo>
                  <a:cubicBezTo>
                    <a:pt x="1" y="1"/>
                    <a:pt x="0" y="3"/>
                    <a:pt x="0" y="5"/>
                  </a:cubicBezTo>
                  <a:cubicBezTo>
                    <a:pt x="2" y="4"/>
                    <a:pt x="3" y="3"/>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4" name="Freeform 1150">
              <a:extLst>
                <a:ext uri="{FF2B5EF4-FFF2-40B4-BE49-F238E27FC236}">
                  <a16:creationId xmlns:a16="http://schemas.microsoft.com/office/drawing/2014/main" id="{77C76044-DA6E-4360-A2F7-BBBFADC12B68}"/>
                </a:ext>
              </a:extLst>
            </p:cNvPr>
            <p:cNvSpPr>
              <a:spLocks/>
            </p:cNvSpPr>
            <p:nvPr/>
          </p:nvSpPr>
          <p:spPr bwMode="auto">
            <a:xfrm>
              <a:off x="5044497" y="2212172"/>
              <a:ext cx="16108" cy="28189"/>
            </a:xfrm>
            <a:custGeom>
              <a:avLst/>
              <a:gdLst>
                <a:gd name="T0" fmla="*/ 5 w 5"/>
                <a:gd name="T1" fmla="*/ 0 h 9"/>
                <a:gd name="T2" fmla="*/ 2 w 5"/>
                <a:gd name="T3" fmla="*/ 2 h 9"/>
                <a:gd name="T4" fmla="*/ 1 w 5"/>
                <a:gd name="T5" fmla="*/ 5 h 9"/>
                <a:gd name="T6" fmla="*/ 0 w 5"/>
                <a:gd name="T7" fmla="*/ 9 h 9"/>
                <a:gd name="T8" fmla="*/ 2 w 5"/>
                <a:gd name="T9" fmla="*/ 9 h 9"/>
                <a:gd name="T10" fmla="*/ 5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5" y="0"/>
                  </a:moveTo>
                  <a:cubicBezTo>
                    <a:pt x="4" y="1"/>
                    <a:pt x="2" y="1"/>
                    <a:pt x="2" y="2"/>
                  </a:cubicBezTo>
                  <a:cubicBezTo>
                    <a:pt x="1" y="3"/>
                    <a:pt x="1" y="4"/>
                    <a:pt x="1" y="5"/>
                  </a:cubicBezTo>
                  <a:cubicBezTo>
                    <a:pt x="1" y="6"/>
                    <a:pt x="1" y="8"/>
                    <a:pt x="0" y="9"/>
                  </a:cubicBezTo>
                  <a:cubicBezTo>
                    <a:pt x="1" y="9"/>
                    <a:pt x="2" y="9"/>
                    <a:pt x="2" y="9"/>
                  </a:cubicBezTo>
                  <a:cubicBezTo>
                    <a:pt x="3" y="6"/>
                    <a:pt x="4"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5" name="Freeform 1151">
              <a:extLst>
                <a:ext uri="{FF2B5EF4-FFF2-40B4-BE49-F238E27FC236}">
                  <a16:creationId xmlns:a16="http://schemas.microsoft.com/office/drawing/2014/main" id="{2E3F4E56-3E80-4389-A406-42348957C71C}"/>
                </a:ext>
              </a:extLst>
            </p:cNvPr>
            <p:cNvSpPr>
              <a:spLocks/>
            </p:cNvSpPr>
            <p:nvPr/>
          </p:nvSpPr>
          <p:spPr bwMode="auto">
            <a:xfrm>
              <a:off x="4809589" y="2221568"/>
              <a:ext cx="22820" cy="13423"/>
            </a:xfrm>
            <a:custGeom>
              <a:avLst/>
              <a:gdLst>
                <a:gd name="T0" fmla="*/ 4 w 7"/>
                <a:gd name="T1" fmla="*/ 0 h 4"/>
                <a:gd name="T2" fmla="*/ 2 w 7"/>
                <a:gd name="T3" fmla="*/ 2 h 4"/>
                <a:gd name="T4" fmla="*/ 0 w 7"/>
                <a:gd name="T5" fmla="*/ 4 h 4"/>
                <a:gd name="T6" fmla="*/ 7 w 7"/>
                <a:gd name="T7" fmla="*/ 2 h 4"/>
                <a:gd name="T8" fmla="*/ 4 w 7"/>
                <a:gd name="T9" fmla="*/ 0 h 4"/>
              </a:gdLst>
              <a:ahLst/>
              <a:cxnLst>
                <a:cxn ang="0">
                  <a:pos x="T0" y="T1"/>
                </a:cxn>
                <a:cxn ang="0">
                  <a:pos x="T2" y="T3"/>
                </a:cxn>
                <a:cxn ang="0">
                  <a:pos x="T4" y="T5"/>
                </a:cxn>
                <a:cxn ang="0">
                  <a:pos x="T6" y="T7"/>
                </a:cxn>
                <a:cxn ang="0">
                  <a:pos x="T8" y="T9"/>
                </a:cxn>
              </a:cxnLst>
              <a:rect l="0" t="0" r="r" b="b"/>
              <a:pathLst>
                <a:path w="7" h="4">
                  <a:moveTo>
                    <a:pt x="4" y="0"/>
                  </a:moveTo>
                  <a:cubicBezTo>
                    <a:pt x="3" y="0"/>
                    <a:pt x="3" y="1"/>
                    <a:pt x="2" y="2"/>
                  </a:cubicBezTo>
                  <a:cubicBezTo>
                    <a:pt x="1" y="3"/>
                    <a:pt x="1" y="4"/>
                    <a:pt x="0" y="4"/>
                  </a:cubicBezTo>
                  <a:cubicBezTo>
                    <a:pt x="2" y="4"/>
                    <a:pt x="4" y="3"/>
                    <a:pt x="7" y="2"/>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6" name="Freeform 1152">
              <a:extLst>
                <a:ext uri="{FF2B5EF4-FFF2-40B4-BE49-F238E27FC236}">
                  <a16:creationId xmlns:a16="http://schemas.microsoft.com/office/drawing/2014/main" id="{3E12A359-8850-4C11-AD2E-3307AF25CDBB}"/>
                </a:ext>
              </a:extLst>
            </p:cNvPr>
            <p:cNvSpPr>
              <a:spLocks/>
            </p:cNvSpPr>
            <p:nvPr/>
          </p:nvSpPr>
          <p:spPr bwMode="auto">
            <a:xfrm>
              <a:off x="4937111" y="2193379"/>
              <a:ext cx="18793" cy="18793"/>
            </a:xfrm>
            <a:custGeom>
              <a:avLst/>
              <a:gdLst>
                <a:gd name="T0" fmla="*/ 3 w 6"/>
                <a:gd name="T1" fmla="*/ 0 h 6"/>
                <a:gd name="T2" fmla="*/ 1 w 6"/>
                <a:gd name="T3" fmla="*/ 4 h 6"/>
                <a:gd name="T4" fmla="*/ 6 w 6"/>
                <a:gd name="T5" fmla="*/ 6 h 6"/>
                <a:gd name="T6" fmla="*/ 3 w 6"/>
                <a:gd name="T7" fmla="*/ 0 h 6"/>
              </a:gdLst>
              <a:ahLst/>
              <a:cxnLst>
                <a:cxn ang="0">
                  <a:pos x="T0" y="T1"/>
                </a:cxn>
                <a:cxn ang="0">
                  <a:pos x="T2" y="T3"/>
                </a:cxn>
                <a:cxn ang="0">
                  <a:pos x="T4" y="T5"/>
                </a:cxn>
                <a:cxn ang="0">
                  <a:pos x="T6" y="T7"/>
                </a:cxn>
              </a:cxnLst>
              <a:rect l="0" t="0" r="r" b="b"/>
              <a:pathLst>
                <a:path w="6" h="6">
                  <a:moveTo>
                    <a:pt x="3" y="0"/>
                  </a:moveTo>
                  <a:cubicBezTo>
                    <a:pt x="0" y="0"/>
                    <a:pt x="0" y="2"/>
                    <a:pt x="1" y="4"/>
                  </a:cubicBezTo>
                  <a:cubicBezTo>
                    <a:pt x="2" y="6"/>
                    <a:pt x="4" y="5"/>
                    <a:pt x="6" y="6"/>
                  </a:cubicBezTo>
                  <a:cubicBezTo>
                    <a:pt x="5" y="4"/>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7" name="Freeform 1153">
              <a:extLst>
                <a:ext uri="{FF2B5EF4-FFF2-40B4-BE49-F238E27FC236}">
                  <a16:creationId xmlns:a16="http://schemas.microsoft.com/office/drawing/2014/main" id="{552DD315-229E-46C4-AFEF-0DE0833857DB}"/>
                </a:ext>
              </a:extLst>
            </p:cNvPr>
            <p:cNvSpPr>
              <a:spLocks/>
            </p:cNvSpPr>
            <p:nvPr/>
          </p:nvSpPr>
          <p:spPr bwMode="auto">
            <a:xfrm>
              <a:off x="4812273" y="2310163"/>
              <a:ext cx="60405" cy="25504"/>
            </a:xfrm>
            <a:custGeom>
              <a:avLst/>
              <a:gdLst>
                <a:gd name="T0" fmla="*/ 8 w 19"/>
                <a:gd name="T1" fmla="*/ 0 h 8"/>
                <a:gd name="T2" fmla="*/ 0 w 19"/>
                <a:gd name="T3" fmla="*/ 6 h 8"/>
                <a:gd name="T4" fmla="*/ 5 w 19"/>
                <a:gd name="T5" fmla="*/ 8 h 8"/>
                <a:gd name="T6" fmla="*/ 19 w 19"/>
                <a:gd name="T7" fmla="*/ 1 h 8"/>
                <a:gd name="T8" fmla="*/ 8 w 19"/>
                <a:gd name="T9" fmla="*/ 0 h 8"/>
              </a:gdLst>
              <a:ahLst/>
              <a:cxnLst>
                <a:cxn ang="0">
                  <a:pos x="T0" y="T1"/>
                </a:cxn>
                <a:cxn ang="0">
                  <a:pos x="T2" y="T3"/>
                </a:cxn>
                <a:cxn ang="0">
                  <a:pos x="T4" y="T5"/>
                </a:cxn>
                <a:cxn ang="0">
                  <a:pos x="T6" y="T7"/>
                </a:cxn>
                <a:cxn ang="0">
                  <a:pos x="T8" y="T9"/>
                </a:cxn>
              </a:cxnLst>
              <a:rect l="0" t="0" r="r" b="b"/>
              <a:pathLst>
                <a:path w="19" h="8">
                  <a:moveTo>
                    <a:pt x="8" y="0"/>
                  </a:moveTo>
                  <a:cubicBezTo>
                    <a:pt x="6" y="2"/>
                    <a:pt x="3" y="4"/>
                    <a:pt x="0" y="6"/>
                  </a:cubicBezTo>
                  <a:cubicBezTo>
                    <a:pt x="2" y="8"/>
                    <a:pt x="4" y="8"/>
                    <a:pt x="5" y="8"/>
                  </a:cubicBezTo>
                  <a:cubicBezTo>
                    <a:pt x="10" y="8"/>
                    <a:pt x="15" y="4"/>
                    <a:pt x="19" y="1"/>
                  </a:cubicBezTo>
                  <a:cubicBezTo>
                    <a:pt x="15" y="1"/>
                    <a:pt x="12"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8" name="Freeform 1154">
              <a:extLst>
                <a:ext uri="{FF2B5EF4-FFF2-40B4-BE49-F238E27FC236}">
                  <a16:creationId xmlns:a16="http://schemas.microsoft.com/office/drawing/2014/main" id="{280174E5-A077-4D2A-80E2-BBF6A91ECD54}"/>
                </a:ext>
              </a:extLst>
            </p:cNvPr>
            <p:cNvSpPr>
              <a:spLocks/>
            </p:cNvSpPr>
            <p:nvPr/>
          </p:nvSpPr>
          <p:spPr bwMode="auto">
            <a:xfrm>
              <a:off x="5802917" y="2205460"/>
              <a:ext cx="2685" cy="6712"/>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9" name="Freeform 1155">
              <a:extLst>
                <a:ext uri="{FF2B5EF4-FFF2-40B4-BE49-F238E27FC236}">
                  <a16:creationId xmlns:a16="http://schemas.microsoft.com/office/drawing/2014/main" id="{CBD9F2BC-1DED-4FA3-9FCE-CD36F1531E71}"/>
                </a:ext>
              </a:extLst>
            </p:cNvPr>
            <p:cNvSpPr>
              <a:spLocks/>
            </p:cNvSpPr>
            <p:nvPr/>
          </p:nvSpPr>
          <p:spPr bwMode="auto">
            <a:xfrm>
              <a:off x="5831106" y="1256428"/>
              <a:ext cx="451025" cy="371827"/>
            </a:xfrm>
            <a:custGeom>
              <a:avLst/>
              <a:gdLst>
                <a:gd name="T0" fmla="*/ 46 w 142"/>
                <a:gd name="T1" fmla="*/ 3 h 117"/>
                <a:gd name="T2" fmla="*/ 45 w 142"/>
                <a:gd name="T3" fmla="*/ 2 h 117"/>
                <a:gd name="T4" fmla="*/ 44 w 142"/>
                <a:gd name="T5" fmla="*/ 13 h 117"/>
                <a:gd name="T6" fmla="*/ 44 w 142"/>
                <a:gd name="T7" fmla="*/ 42 h 117"/>
                <a:gd name="T8" fmla="*/ 38 w 142"/>
                <a:gd name="T9" fmla="*/ 59 h 117"/>
                <a:gd name="T10" fmla="*/ 32 w 142"/>
                <a:gd name="T11" fmla="*/ 68 h 117"/>
                <a:gd name="T12" fmla="*/ 27 w 142"/>
                <a:gd name="T13" fmla="*/ 66 h 117"/>
                <a:gd name="T14" fmla="*/ 26 w 142"/>
                <a:gd name="T15" fmla="*/ 67 h 117"/>
                <a:gd name="T16" fmla="*/ 24 w 142"/>
                <a:gd name="T17" fmla="*/ 67 h 117"/>
                <a:gd name="T18" fmla="*/ 15 w 142"/>
                <a:gd name="T19" fmla="*/ 62 h 117"/>
                <a:gd name="T20" fmla="*/ 16 w 142"/>
                <a:gd name="T21" fmla="*/ 70 h 117"/>
                <a:gd name="T22" fmla="*/ 12 w 142"/>
                <a:gd name="T23" fmla="*/ 79 h 117"/>
                <a:gd name="T24" fmla="*/ 10 w 142"/>
                <a:gd name="T25" fmla="*/ 79 h 117"/>
                <a:gd name="T26" fmla="*/ 9 w 142"/>
                <a:gd name="T27" fmla="*/ 79 h 117"/>
                <a:gd name="T28" fmla="*/ 5 w 142"/>
                <a:gd name="T29" fmla="*/ 82 h 117"/>
                <a:gd name="T30" fmla="*/ 4 w 142"/>
                <a:gd name="T31" fmla="*/ 82 h 117"/>
                <a:gd name="T32" fmla="*/ 0 w 142"/>
                <a:gd name="T33" fmla="*/ 91 h 117"/>
                <a:gd name="T34" fmla="*/ 6 w 142"/>
                <a:gd name="T35" fmla="*/ 109 h 117"/>
                <a:gd name="T36" fmla="*/ 10 w 142"/>
                <a:gd name="T37" fmla="*/ 117 h 117"/>
                <a:gd name="T38" fmla="*/ 15 w 142"/>
                <a:gd name="T39" fmla="*/ 112 h 117"/>
                <a:gd name="T40" fmla="*/ 19 w 142"/>
                <a:gd name="T41" fmla="*/ 107 h 117"/>
                <a:gd name="T42" fmla="*/ 21 w 142"/>
                <a:gd name="T43" fmla="*/ 106 h 117"/>
                <a:gd name="T44" fmla="*/ 28 w 142"/>
                <a:gd name="T45" fmla="*/ 109 h 117"/>
                <a:gd name="T46" fmla="*/ 28 w 142"/>
                <a:gd name="T47" fmla="*/ 104 h 117"/>
                <a:gd name="T48" fmla="*/ 20 w 142"/>
                <a:gd name="T49" fmla="*/ 97 h 117"/>
                <a:gd name="T50" fmla="*/ 12 w 142"/>
                <a:gd name="T51" fmla="*/ 90 h 117"/>
                <a:gd name="T52" fmla="*/ 24 w 142"/>
                <a:gd name="T53" fmla="*/ 86 h 117"/>
                <a:gd name="T54" fmla="*/ 27 w 142"/>
                <a:gd name="T55" fmla="*/ 92 h 117"/>
                <a:gd name="T56" fmla="*/ 37 w 142"/>
                <a:gd name="T57" fmla="*/ 86 h 117"/>
                <a:gd name="T58" fmla="*/ 50 w 142"/>
                <a:gd name="T59" fmla="*/ 85 h 117"/>
                <a:gd name="T60" fmla="*/ 61 w 142"/>
                <a:gd name="T61" fmla="*/ 92 h 117"/>
                <a:gd name="T62" fmla="*/ 80 w 142"/>
                <a:gd name="T63" fmla="*/ 102 h 117"/>
                <a:gd name="T64" fmla="*/ 83 w 142"/>
                <a:gd name="T65" fmla="*/ 97 h 117"/>
                <a:gd name="T66" fmla="*/ 90 w 142"/>
                <a:gd name="T67" fmla="*/ 83 h 117"/>
                <a:gd name="T68" fmla="*/ 109 w 142"/>
                <a:gd name="T69" fmla="*/ 74 h 117"/>
                <a:gd name="T70" fmla="*/ 115 w 142"/>
                <a:gd name="T71" fmla="*/ 74 h 117"/>
                <a:gd name="T72" fmla="*/ 118 w 142"/>
                <a:gd name="T73" fmla="*/ 72 h 117"/>
                <a:gd name="T74" fmla="*/ 121 w 142"/>
                <a:gd name="T75" fmla="*/ 73 h 117"/>
                <a:gd name="T76" fmla="*/ 125 w 142"/>
                <a:gd name="T77" fmla="*/ 72 h 117"/>
                <a:gd name="T78" fmla="*/ 135 w 142"/>
                <a:gd name="T79" fmla="*/ 66 h 117"/>
                <a:gd name="T80" fmla="*/ 129 w 142"/>
                <a:gd name="T81" fmla="*/ 60 h 117"/>
                <a:gd name="T82" fmla="*/ 131 w 142"/>
                <a:gd name="T83" fmla="*/ 56 h 117"/>
                <a:gd name="T84" fmla="*/ 125 w 142"/>
                <a:gd name="T85" fmla="*/ 48 h 117"/>
                <a:gd name="T86" fmla="*/ 131 w 142"/>
                <a:gd name="T87" fmla="*/ 34 h 117"/>
                <a:gd name="T88" fmla="*/ 115 w 142"/>
                <a:gd name="T89" fmla="*/ 46 h 117"/>
                <a:gd name="T90" fmla="*/ 105 w 142"/>
                <a:gd name="T91" fmla="*/ 44 h 117"/>
                <a:gd name="T92" fmla="*/ 102 w 142"/>
                <a:gd name="T93" fmla="*/ 41 h 117"/>
                <a:gd name="T94" fmla="*/ 98 w 142"/>
                <a:gd name="T95" fmla="*/ 41 h 117"/>
                <a:gd name="T96" fmla="*/ 76 w 142"/>
                <a:gd name="T97" fmla="*/ 2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17">
                  <a:moveTo>
                    <a:pt x="51" y="0"/>
                  </a:moveTo>
                  <a:cubicBezTo>
                    <a:pt x="50" y="1"/>
                    <a:pt x="48" y="3"/>
                    <a:pt x="46" y="3"/>
                  </a:cubicBezTo>
                  <a:cubicBezTo>
                    <a:pt x="46" y="3"/>
                    <a:pt x="46" y="3"/>
                    <a:pt x="46" y="3"/>
                  </a:cubicBezTo>
                  <a:cubicBezTo>
                    <a:pt x="46" y="3"/>
                    <a:pt x="44" y="3"/>
                    <a:pt x="45" y="2"/>
                  </a:cubicBezTo>
                  <a:cubicBezTo>
                    <a:pt x="44" y="3"/>
                    <a:pt x="44" y="2"/>
                    <a:pt x="44" y="5"/>
                  </a:cubicBezTo>
                  <a:cubicBezTo>
                    <a:pt x="43" y="7"/>
                    <a:pt x="43" y="10"/>
                    <a:pt x="44" y="13"/>
                  </a:cubicBezTo>
                  <a:cubicBezTo>
                    <a:pt x="44" y="15"/>
                    <a:pt x="46" y="17"/>
                    <a:pt x="47" y="19"/>
                  </a:cubicBezTo>
                  <a:cubicBezTo>
                    <a:pt x="49" y="27"/>
                    <a:pt x="45" y="35"/>
                    <a:pt x="44" y="42"/>
                  </a:cubicBezTo>
                  <a:cubicBezTo>
                    <a:pt x="44" y="47"/>
                    <a:pt x="36" y="48"/>
                    <a:pt x="37" y="52"/>
                  </a:cubicBezTo>
                  <a:cubicBezTo>
                    <a:pt x="37" y="55"/>
                    <a:pt x="38" y="57"/>
                    <a:pt x="38" y="59"/>
                  </a:cubicBezTo>
                  <a:cubicBezTo>
                    <a:pt x="38" y="61"/>
                    <a:pt x="40" y="62"/>
                    <a:pt x="38" y="63"/>
                  </a:cubicBezTo>
                  <a:cubicBezTo>
                    <a:pt x="36" y="65"/>
                    <a:pt x="34" y="68"/>
                    <a:pt x="32" y="68"/>
                  </a:cubicBezTo>
                  <a:cubicBezTo>
                    <a:pt x="31" y="68"/>
                    <a:pt x="30" y="68"/>
                    <a:pt x="30" y="68"/>
                  </a:cubicBezTo>
                  <a:cubicBezTo>
                    <a:pt x="28" y="67"/>
                    <a:pt x="29" y="66"/>
                    <a:pt x="27" y="66"/>
                  </a:cubicBezTo>
                  <a:cubicBezTo>
                    <a:pt x="27" y="66"/>
                    <a:pt x="27" y="66"/>
                    <a:pt x="27" y="66"/>
                  </a:cubicBezTo>
                  <a:cubicBezTo>
                    <a:pt x="27" y="66"/>
                    <a:pt x="26" y="66"/>
                    <a:pt x="26" y="67"/>
                  </a:cubicBezTo>
                  <a:cubicBezTo>
                    <a:pt x="25" y="67"/>
                    <a:pt x="25" y="67"/>
                    <a:pt x="24" y="67"/>
                  </a:cubicBezTo>
                  <a:cubicBezTo>
                    <a:pt x="24" y="67"/>
                    <a:pt x="24" y="67"/>
                    <a:pt x="24" y="67"/>
                  </a:cubicBezTo>
                  <a:cubicBezTo>
                    <a:pt x="23" y="66"/>
                    <a:pt x="21" y="65"/>
                    <a:pt x="20" y="64"/>
                  </a:cubicBezTo>
                  <a:cubicBezTo>
                    <a:pt x="19" y="63"/>
                    <a:pt x="17" y="62"/>
                    <a:pt x="15" y="62"/>
                  </a:cubicBezTo>
                  <a:cubicBezTo>
                    <a:pt x="14" y="62"/>
                    <a:pt x="13" y="63"/>
                    <a:pt x="13" y="64"/>
                  </a:cubicBezTo>
                  <a:cubicBezTo>
                    <a:pt x="12" y="66"/>
                    <a:pt x="15" y="68"/>
                    <a:pt x="16" y="70"/>
                  </a:cubicBezTo>
                  <a:cubicBezTo>
                    <a:pt x="18" y="73"/>
                    <a:pt x="17" y="72"/>
                    <a:pt x="14" y="75"/>
                  </a:cubicBezTo>
                  <a:cubicBezTo>
                    <a:pt x="14" y="75"/>
                    <a:pt x="12" y="79"/>
                    <a:pt x="12" y="79"/>
                  </a:cubicBezTo>
                  <a:cubicBezTo>
                    <a:pt x="12" y="79"/>
                    <a:pt x="12" y="79"/>
                    <a:pt x="11" y="79"/>
                  </a:cubicBezTo>
                  <a:cubicBezTo>
                    <a:pt x="11" y="79"/>
                    <a:pt x="11" y="79"/>
                    <a:pt x="10" y="79"/>
                  </a:cubicBezTo>
                  <a:cubicBezTo>
                    <a:pt x="10" y="79"/>
                    <a:pt x="10" y="78"/>
                    <a:pt x="9" y="78"/>
                  </a:cubicBezTo>
                  <a:cubicBezTo>
                    <a:pt x="9" y="78"/>
                    <a:pt x="9" y="78"/>
                    <a:pt x="9" y="79"/>
                  </a:cubicBezTo>
                  <a:cubicBezTo>
                    <a:pt x="8" y="79"/>
                    <a:pt x="7" y="81"/>
                    <a:pt x="6" y="81"/>
                  </a:cubicBezTo>
                  <a:cubicBezTo>
                    <a:pt x="6" y="82"/>
                    <a:pt x="5" y="82"/>
                    <a:pt x="5" y="82"/>
                  </a:cubicBezTo>
                  <a:cubicBezTo>
                    <a:pt x="5" y="82"/>
                    <a:pt x="5" y="82"/>
                    <a:pt x="4" y="82"/>
                  </a:cubicBezTo>
                  <a:cubicBezTo>
                    <a:pt x="4" y="82"/>
                    <a:pt x="4" y="82"/>
                    <a:pt x="4" y="82"/>
                  </a:cubicBezTo>
                  <a:cubicBezTo>
                    <a:pt x="3" y="82"/>
                    <a:pt x="3" y="82"/>
                    <a:pt x="2" y="82"/>
                  </a:cubicBezTo>
                  <a:cubicBezTo>
                    <a:pt x="0" y="83"/>
                    <a:pt x="0" y="89"/>
                    <a:pt x="0" y="91"/>
                  </a:cubicBezTo>
                  <a:cubicBezTo>
                    <a:pt x="0" y="95"/>
                    <a:pt x="3" y="95"/>
                    <a:pt x="5" y="98"/>
                  </a:cubicBezTo>
                  <a:cubicBezTo>
                    <a:pt x="9" y="101"/>
                    <a:pt x="8" y="104"/>
                    <a:pt x="6" y="109"/>
                  </a:cubicBezTo>
                  <a:cubicBezTo>
                    <a:pt x="5" y="110"/>
                    <a:pt x="4" y="112"/>
                    <a:pt x="5" y="113"/>
                  </a:cubicBezTo>
                  <a:cubicBezTo>
                    <a:pt x="5" y="114"/>
                    <a:pt x="8" y="117"/>
                    <a:pt x="10" y="117"/>
                  </a:cubicBezTo>
                  <a:cubicBezTo>
                    <a:pt x="10" y="117"/>
                    <a:pt x="10" y="117"/>
                    <a:pt x="10" y="117"/>
                  </a:cubicBezTo>
                  <a:cubicBezTo>
                    <a:pt x="12" y="115"/>
                    <a:pt x="14" y="114"/>
                    <a:pt x="15" y="112"/>
                  </a:cubicBezTo>
                  <a:cubicBezTo>
                    <a:pt x="16" y="111"/>
                    <a:pt x="15" y="110"/>
                    <a:pt x="16" y="110"/>
                  </a:cubicBezTo>
                  <a:cubicBezTo>
                    <a:pt x="17" y="109"/>
                    <a:pt x="19" y="108"/>
                    <a:pt x="19" y="107"/>
                  </a:cubicBezTo>
                  <a:cubicBezTo>
                    <a:pt x="21" y="107"/>
                    <a:pt x="19" y="106"/>
                    <a:pt x="21" y="106"/>
                  </a:cubicBezTo>
                  <a:cubicBezTo>
                    <a:pt x="21" y="106"/>
                    <a:pt x="21" y="106"/>
                    <a:pt x="21" y="106"/>
                  </a:cubicBezTo>
                  <a:cubicBezTo>
                    <a:pt x="22" y="106"/>
                    <a:pt x="25" y="107"/>
                    <a:pt x="26" y="108"/>
                  </a:cubicBezTo>
                  <a:cubicBezTo>
                    <a:pt x="27" y="108"/>
                    <a:pt x="28" y="109"/>
                    <a:pt x="28" y="109"/>
                  </a:cubicBezTo>
                  <a:cubicBezTo>
                    <a:pt x="29" y="109"/>
                    <a:pt x="29" y="108"/>
                    <a:pt x="30" y="107"/>
                  </a:cubicBezTo>
                  <a:cubicBezTo>
                    <a:pt x="32" y="104"/>
                    <a:pt x="30" y="105"/>
                    <a:pt x="28" y="104"/>
                  </a:cubicBezTo>
                  <a:cubicBezTo>
                    <a:pt x="26" y="102"/>
                    <a:pt x="25" y="100"/>
                    <a:pt x="24" y="99"/>
                  </a:cubicBezTo>
                  <a:cubicBezTo>
                    <a:pt x="22" y="97"/>
                    <a:pt x="22" y="98"/>
                    <a:pt x="20" y="97"/>
                  </a:cubicBezTo>
                  <a:cubicBezTo>
                    <a:pt x="18" y="97"/>
                    <a:pt x="18" y="97"/>
                    <a:pt x="16" y="96"/>
                  </a:cubicBezTo>
                  <a:cubicBezTo>
                    <a:pt x="13" y="94"/>
                    <a:pt x="11" y="94"/>
                    <a:pt x="12" y="90"/>
                  </a:cubicBezTo>
                  <a:cubicBezTo>
                    <a:pt x="13" y="86"/>
                    <a:pt x="16" y="85"/>
                    <a:pt x="18" y="85"/>
                  </a:cubicBezTo>
                  <a:cubicBezTo>
                    <a:pt x="20" y="85"/>
                    <a:pt x="22" y="85"/>
                    <a:pt x="24" y="86"/>
                  </a:cubicBezTo>
                  <a:cubicBezTo>
                    <a:pt x="25" y="87"/>
                    <a:pt x="25" y="88"/>
                    <a:pt x="26" y="89"/>
                  </a:cubicBezTo>
                  <a:cubicBezTo>
                    <a:pt x="27" y="90"/>
                    <a:pt x="28" y="91"/>
                    <a:pt x="27" y="92"/>
                  </a:cubicBezTo>
                  <a:cubicBezTo>
                    <a:pt x="27" y="92"/>
                    <a:pt x="28" y="92"/>
                    <a:pt x="28" y="92"/>
                  </a:cubicBezTo>
                  <a:cubicBezTo>
                    <a:pt x="30" y="92"/>
                    <a:pt x="35" y="87"/>
                    <a:pt x="37" y="86"/>
                  </a:cubicBezTo>
                  <a:cubicBezTo>
                    <a:pt x="39" y="85"/>
                    <a:pt x="41" y="84"/>
                    <a:pt x="44" y="84"/>
                  </a:cubicBezTo>
                  <a:cubicBezTo>
                    <a:pt x="45" y="84"/>
                    <a:pt x="47" y="84"/>
                    <a:pt x="50" y="85"/>
                  </a:cubicBezTo>
                  <a:cubicBezTo>
                    <a:pt x="51" y="85"/>
                    <a:pt x="54" y="88"/>
                    <a:pt x="56" y="88"/>
                  </a:cubicBezTo>
                  <a:cubicBezTo>
                    <a:pt x="58" y="89"/>
                    <a:pt x="59" y="91"/>
                    <a:pt x="61" y="92"/>
                  </a:cubicBezTo>
                  <a:cubicBezTo>
                    <a:pt x="66" y="95"/>
                    <a:pt x="73" y="96"/>
                    <a:pt x="78" y="100"/>
                  </a:cubicBezTo>
                  <a:cubicBezTo>
                    <a:pt x="78" y="100"/>
                    <a:pt x="80" y="102"/>
                    <a:pt x="80" y="102"/>
                  </a:cubicBezTo>
                  <a:cubicBezTo>
                    <a:pt x="80" y="102"/>
                    <a:pt x="80" y="102"/>
                    <a:pt x="81" y="102"/>
                  </a:cubicBezTo>
                  <a:cubicBezTo>
                    <a:pt x="82" y="102"/>
                    <a:pt x="83" y="99"/>
                    <a:pt x="83" y="97"/>
                  </a:cubicBezTo>
                  <a:cubicBezTo>
                    <a:pt x="84" y="94"/>
                    <a:pt x="83" y="92"/>
                    <a:pt x="85" y="89"/>
                  </a:cubicBezTo>
                  <a:cubicBezTo>
                    <a:pt x="87" y="87"/>
                    <a:pt x="88" y="84"/>
                    <a:pt x="90" y="83"/>
                  </a:cubicBezTo>
                  <a:cubicBezTo>
                    <a:pt x="92" y="81"/>
                    <a:pt x="96" y="77"/>
                    <a:pt x="98" y="76"/>
                  </a:cubicBezTo>
                  <a:cubicBezTo>
                    <a:pt x="101" y="74"/>
                    <a:pt x="106" y="74"/>
                    <a:pt x="109" y="74"/>
                  </a:cubicBezTo>
                  <a:cubicBezTo>
                    <a:pt x="111" y="74"/>
                    <a:pt x="112" y="74"/>
                    <a:pt x="113" y="74"/>
                  </a:cubicBezTo>
                  <a:cubicBezTo>
                    <a:pt x="114" y="74"/>
                    <a:pt x="115" y="74"/>
                    <a:pt x="115" y="74"/>
                  </a:cubicBezTo>
                  <a:cubicBezTo>
                    <a:pt x="116" y="74"/>
                    <a:pt x="117" y="74"/>
                    <a:pt x="117" y="74"/>
                  </a:cubicBezTo>
                  <a:cubicBezTo>
                    <a:pt x="118" y="73"/>
                    <a:pt x="118" y="72"/>
                    <a:pt x="118" y="72"/>
                  </a:cubicBezTo>
                  <a:cubicBezTo>
                    <a:pt x="118" y="72"/>
                    <a:pt x="119" y="72"/>
                    <a:pt x="119" y="72"/>
                  </a:cubicBezTo>
                  <a:cubicBezTo>
                    <a:pt x="120" y="73"/>
                    <a:pt x="120" y="73"/>
                    <a:pt x="121" y="73"/>
                  </a:cubicBezTo>
                  <a:cubicBezTo>
                    <a:pt x="121" y="73"/>
                    <a:pt x="121" y="73"/>
                    <a:pt x="121" y="73"/>
                  </a:cubicBezTo>
                  <a:cubicBezTo>
                    <a:pt x="122" y="73"/>
                    <a:pt x="124" y="72"/>
                    <a:pt x="125" y="72"/>
                  </a:cubicBezTo>
                  <a:cubicBezTo>
                    <a:pt x="130" y="68"/>
                    <a:pt x="136" y="65"/>
                    <a:pt x="142" y="62"/>
                  </a:cubicBezTo>
                  <a:cubicBezTo>
                    <a:pt x="141" y="62"/>
                    <a:pt x="133" y="63"/>
                    <a:pt x="135" y="66"/>
                  </a:cubicBezTo>
                  <a:cubicBezTo>
                    <a:pt x="134" y="65"/>
                    <a:pt x="132" y="65"/>
                    <a:pt x="131" y="65"/>
                  </a:cubicBezTo>
                  <a:cubicBezTo>
                    <a:pt x="129" y="64"/>
                    <a:pt x="130" y="62"/>
                    <a:pt x="129" y="60"/>
                  </a:cubicBezTo>
                  <a:cubicBezTo>
                    <a:pt x="129" y="58"/>
                    <a:pt x="128" y="57"/>
                    <a:pt x="128" y="55"/>
                  </a:cubicBezTo>
                  <a:cubicBezTo>
                    <a:pt x="129" y="56"/>
                    <a:pt x="130" y="56"/>
                    <a:pt x="131" y="56"/>
                  </a:cubicBezTo>
                  <a:cubicBezTo>
                    <a:pt x="129" y="55"/>
                    <a:pt x="125" y="53"/>
                    <a:pt x="124" y="50"/>
                  </a:cubicBezTo>
                  <a:cubicBezTo>
                    <a:pt x="125" y="48"/>
                    <a:pt x="125" y="48"/>
                    <a:pt x="125" y="48"/>
                  </a:cubicBezTo>
                  <a:cubicBezTo>
                    <a:pt x="126" y="46"/>
                    <a:pt x="126" y="45"/>
                    <a:pt x="127" y="43"/>
                  </a:cubicBezTo>
                  <a:cubicBezTo>
                    <a:pt x="129" y="41"/>
                    <a:pt x="133" y="37"/>
                    <a:pt x="131" y="34"/>
                  </a:cubicBezTo>
                  <a:cubicBezTo>
                    <a:pt x="127" y="37"/>
                    <a:pt x="123" y="41"/>
                    <a:pt x="120" y="45"/>
                  </a:cubicBezTo>
                  <a:cubicBezTo>
                    <a:pt x="118" y="46"/>
                    <a:pt x="117" y="46"/>
                    <a:pt x="115" y="46"/>
                  </a:cubicBezTo>
                  <a:cubicBezTo>
                    <a:pt x="114" y="46"/>
                    <a:pt x="113" y="46"/>
                    <a:pt x="112" y="46"/>
                  </a:cubicBezTo>
                  <a:cubicBezTo>
                    <a:pt x="109" y="45"/>
                    <a:pt x="107" y="45"/>
                    <a:pt x="105" y="44"/>
                  </a:cubicBezTo>
                  <a:cubicBezTo>
                    <a:pt x="104" y="44"/>
                    <a:pt x="103" y="44"/>
                    <a:pt x="102" y="43"/>
                  </a:cubicBezTo>
                  <a:cubicBezTo>
                    <a:pt x="102" y="43"/>
                    <a:pt x="103" y="42"/>
                    <a:pt x="102" y="41"/>
                  </a:cubicBezTo>
                  <a:cubicBezTo>
                    <a:pt x="102" y="41"/>
                    <a:pt x="101" y="41"/>
                    <a:pt x="100" y="41"/>
                  </a:cubicBezTo>
                  <a:cubicBezTo>
                    <a:pt x="100" y="41"/>
                    <a:pt x="99" y="41"/>
                    <a:pt x="98" y="41"/>
                  </a:cubicBezTo>
                  <a:cubicBezTo>
                    <a:pt x="98" y="41"/>
                    <a:pt x="98" y="41"/>
                    <a:pt x="97" y="41"/>
                  </a:cubicBezTo>
                  <a:cubicBezTo>
                    <a:pt x="90" y="41"/>
                    <a:pt x="82" y="32"/>
                    <a:pt x="76" y="27"/>
                  </a:cubicBezTo>
                  <a:cubicBezTo>
                    <a:pt x="67" y="19"/>
                    <a:pt x="59" y="9"/>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0" name="Freeform 1156">
              <a:extLst>
                <a:ext uri="{FF2B5EF4-FFF2-40B4-BE49-F238E27FC236}">
                  <a16:creationId xmlns:a16="http://schemas.microsoft.com/office/drawing/2014/main" id="{55445C94-69D5-42AF-AD6D-C709B34208E9}"/>
                </a:ext>
              </a:extLst>
            </p:cNvPr>
            <p:cNvSpPr>
              <a:spLocks/>
            </p:cNvSpPr>
            <p:nvPr/>
          </p:nvSpPr>
          <p:spPr bwMode="auto">
            <a:xfrm>
              <a:off x="5067317" y="2275262"/>
              <a:ext cx="186585" cy="244305"/>
            </a:xfrm>
            <a:custGeom>
              <a:avLst/>
              <a:gdLst>
                <a:gd name="T0" fmla="*/ 31 w 59"/>
                <a:gd name="T1" fmla="*/ 0 h 77"/>
                <a:gd name="T2" fmla="*/ 29 w 59"/>
                <a:gd name="T3" fmla="*/ 0 h 77"/>
                <a:gd name="T4" fmla="*/ 22 w 59"/>
                <a:gd name="T5" fmla="*/ 4 h 77"/>
                <a:gd name="T6" fmla="*/ 12 w 59"/>
                <a:gd name="T7" fmla="*/ 12 h 77"/>
                <a:gd name="T8" fmla="*/ 6 w 59"/>
                <a:gd name="T9" fmla="*/ 16 h 77"/>
                <a:gd name="T10" fmla="*/ 4 w 59"/>
                <a:gd name="T11" fmla="*/ 22 h 77"/>
                <a:gd name="T12" fmla="*/ 5 w 59"/>
                <a:gd name="T13" fmla="*/ 36 h 77"/>
                <a:gd name="T14" fmla="*/ 15 w 59"/>
                <a:gd name="T15" fmla="*/ 35 h 77"/>
                <a:gd name="T16" fmla="*/ 19 w 59"/>
                <a:gd name="T17" fmla="*/ 34 h 77"/>
                <a:gd name="T18" fmla="*/ 15 w 59"/>
                <a:gd name="T19" fmla="*/ 26 h 77"/>
                <a:gd name="T20" fmla="*/ 17 w 59"/>
                <a:gd name="T21" fmla="*/ 20 h 77"/>
                <a:gd name="T22" fmla="*/ 22 w 59"/>
                <a:gd name="T23" fmla="*/ 27 h 77"/>
                <a:gd name="T24" fmla="*/ 22 w 59"/>
                <a:gd name="T25" fmla="*/ 35 h 77"/>
                <a:gd name="T26" fmla="*/ 26 w 59"/>
                <a:gd name="T27" fmla="*/ 34 h 77"/>
                <a:gd name="T28" fmla="*/ 22 w 59"/>
                <a:gd name="T29" fmla="*/ 42 h 77"/>
                <a:gd name="T30" fmla="*/ 16 w 59"/>
                <a:gd name="T31" fmla="*/ 67 h 77"/>
                <a:gd name="T32" fmla="*/ 14 w 59"/>
                <a:gd name="T33" fmla="*/ 67 h 77"/>
                <a:gd name="T34" fmla="*/ 21 w 59"/>
                <a:gd name="T35" fmla="*/ 71 h 77"/>
                <a:gd name="T36" fmla="*/ 26 w 59"/>
                <a:gd name="T37" fmla="*/ 72 h 77"/>
                <a:gd name="T38" fmla="*/ 25 w 59"/>
                <a:gd name="T39" fmla="*/ 60 h 77"/>
                <a:gd name="T40" fmla="*/ 30 w 59"/>
                <a:gd name="T41" fmla="*/ 60 h 77"/>
                <a:gd name="T42" fmla="*/ 27 w 59"/>
                <a:gd name="T43" fmla="*/ 77 h 77"/>
                <a:gd name="T44" fmla="*/ 38 w 59"/>
                <a:gd name="T45" fmla="*/ 65 h 77"/>
                <a:gd name="T46" fmla="*/ 45 w 59"/>
                <a:gd name="T47" fmla="*/ 61 h 77"/>
                <a:gd name="T48" fmla="*/ 51 w 59"/>
                <a:gd name="T49" fmla="*/ 41 h 77"/>
                <a:gd name="T50" fmla="*/ 59 w 59"/>
                <a:gd name="T51" fmla="*/ 26 h 77"/>
                <a:gd name="T52" fmla="*/ 55 w 59"/>
                <a:gd name="T53" fmla="*/ 18 h 77"/>
                <a:gd name="T54" fmla="*/ 54 w 59"/>
                <a:gd name="T55" fmla="*/ 18 h 77"/>
                <a:gd name="T56" fmla="*/ 52 w 59"/>
                <a:gd name="T57" fmla="*/ 18 h 77"/>
                <a:gd name="T58" fmla="*/ 46 w 59"/>
                <a:gd name="T59" fmla="*/ 15 h 77"/>
                <a:gd name="T60" fmla="*/ 48 w 59"/>
                <a:gd name="T61" fmla="*/ 7 h 77"/>
                <a:gd name="T62" fmla="*/ 46 w 59"/>
                <a:gd name="T63" fmla="*/ 8 h 77"/>
                <a:gd name="T64" fmla="*/ 42 w 59"/>
                <a:gd name="T65" fmla="*/ 1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77">
                  <a:moveTo>
                    <a:pt x="34" y="0"/>
                  </a:moveTo>
                  <a:cubicBezTo>
                    <a:pt x="33" y="0"/>
                    <a:pt x="32" y="0"/>
                    <a:pt x="31" y="0"/>
                  </a:cubicBezTo>
                  <a:cubicBezTo>
                    <a:pt x="31" y="0"/>
                    <a:pt x="30" y="0"/>
                    <a:pt x="30" y="0"/>
                  </a:cubicBezTo>
                  <a:cubicBezTo>
                    <a:pt x="30" y="0"/>
                    <a:pt x="29" y="0"/>
                    <a:pt x="29" y="0"/>
                  </a:cubicBezTo>
                  <a:cubicBezTo>
                    <a:pt x="28" y="0"/>
                    <a:pt x="27" y="1"/>
                    <a:pt x="26" y="1"/>
                  </a:cubicBezTo>
                  <a:cubicBezTo>
                    <a:pt x="23" y="2"/>
                    <a:pt x="23" y="2"/>
                    <a:pt x="22" y="4"/>
                  </a:cubicBezTo>
                  <a:cubicBezTo>
                    <a:pt x="20" y="7"/>
                    <a:pt x="20" y="6"/>
                    <a:pt x="17" y="7"/>
                  </a:cubicBezTo>
                  <a:cubicBezTo>
                    <a:pt x="14" y="8"/>
                    <a:pt x="13" y="10"/>
                    <a:pt x="12" y="12"/>
                  </a:cubicBezTo>
                  <a:cubicBezTo>
                    <a:pt x="10" y="12"/>
                    <a:pt x="9" y="11"/>
                    <a:pt x="8" y="10"/>
                  </a:cubicBezTo>
                  <a:cubicBezTo>
                    <a:pt x="6" y="12"/>
                    <a:pt x="6" y="13"/>
                    <a:pt x="6" y="16"/>
                  </a:cubicBezTo>
                  <a:cubicBezTo>
                    <a:pt x="5" y="16"/>
                    <a:pt x="3" y="15"/>
                    <a:pt x="1" y="15"/>
                  </a:cubicBezTo>
                  <a:cubicBezTo>
                    <a:pt x="0" y="19"/>
                    <a:pt x="2" y="19"/>
                    <a:pt x="4" y="22"/>
                  </a:cubicBezTo>
                  <a:cubicBezTo>
                    <a:pt x="2" y="25"/>
                    <a:pt x="2" y="27"/>
                    <a:pt x="4" y="30"/>
                  </a:cubicBezTo>
                  <a:cubicBezTo>
                    <a:pt x="6" y="32"/>
                    <a:pt x="8" y="33"/>
                    <a:pt x="5" y="36"/>
                  </a:cubicBezTo>
                  <a:cubicBezTo>
                    <a:pt x="8" y="34"/>
                    <a:pt x="12" y="32"/>
                    <a:pt x="15" y="30"/>
                  </a:cubicBezTo>
                  <a:cubicBezTo>
                    <a:pt x="16" y="32"/>
                    <a:pt x="13" y="34"/>
                    <a:pt x="15" y="35"/>
                  </a:cubicBezTo>
                  <a:cubicBezTo>
                    <a:pt x="15" y="35"/>
                    <a:pt x="15" y="35"/>
                    <a:pt x="15" y="35"/>
                  </a:cubicBezTo>
                  <a:cubicBezTo>
                    <a:pt x="16" y="35"/>
                    <a:pt x="18" y="34"/>
                    <a:pt x="19" y="34"/>
                  </a:cubicBezTo>
                  <a:cubicBezTo>
                    <a:pt x="17" y="32"/>
                    <a:pt x="15" y="30"/>
                    <a:pt x="13" y="29"/>
                  </a:cubicBezTo>
                  <a:cubicBezTo>
                    <a:pt x="14" y="28"/>
                    <a:pt x="16" y="26"/>
                    <a:pt x="15" y="26"/>
                  </a:cubicBezTo>
                  <a:cubicBezTo>
                    <a:pt x="15" y="24"/>
                    <a:pt x="14" y="23"/>
                    <a:pt x="14" y="21"/>
                  </a:cubicBezTo>
                  <a:cubicBezTo>
                    <a:pt x="15" y="21"/>
                    <a:pt x="15" y="20"/>
                    <a:pt x="17" y="20"/>
                  </a:cubicBezTo>
                  <a:cubicBezTo>
                    <a:pt x="17" y="20"/>
                    <a:pt x="18" y="20"/>
                    <a:pt x="18" y="21"/>
                  </a:cubicBezTo>
                  <a:cubicBezTo>
                    <a:pt x="20" y="21"/>
                    <a:pt x="21" y="25"/>
                    <a:pt x="22" y="27"/>
                  </a:cubicBezTo>
                  <a:cubicBezTo>
                    <a:pt x="23" y="29"/>
                    <a:pt x="24" y="30"/>
                    <a:pt x="25" y="32"/>
                  </a:cubicBezTo>
                  <a:cubicBezTo>
                    <a:pt x="24" y="33"/>
                    <a:pt x="23" y="34"/>
                    <a:pt x="22" y="35"/>
                  </a:cubicBezTo>
                  <a:cubicBezTo>
                    <a:pt x="23" y="34"/>
                    <a:pt x="24" y="34"/>
                    <a:pt x="25" y="34"/>
                  </a:cubicBezTo>
                  <a:cubicBezTo>
                    <a:pt x="25" y="34"/>
                    <a:pt x="26" y="34"/>
                    <a:pt x="26" y="34"/>
                  </a:cubicBezTo>
                  <a:cubicBezTo>
                    <a:pt x="25" y="35"/>
                    <a:pt x="23" y="42"/>
                    <a:pt x="22" y="42"/>
                  </a:cubicBezTo>
                  <a:cubicBezTo>
                    <a:pt x="22" y="42"/>
                    <a:pt x="22" y="42"/>
                    <a:pt x="22" y="42"/>
                  </a:cubicBezTo>
                  <a:cubicBezTo>
                    <a:pt x="19" y="49"/>
                    <a:pt x="12" y="49"/>
                    <a:pt x="15" y="57"/>
                  </a:cubicBezTo>
                  <a:cubicBezTo>
                    <a:pt x="16" y="58"/>
                    <a:pt x="19" y="67"/>
                    <a:pt x="16" y="67"/>
                  </a:cubicBezTo>
                  <a:cubicBezTo>
                    <a:pt x="15" y="67"/>
                    <a:pt x="15" y="67"/>
                    <a:pt x="14" y="66"/>
                  </a:cubicBezTo>
                  <a:cubicBezTo>
                    <a:pt x="14" y="67"/>
                    <a:pt x="14" y="67"/>
                    <a:pt x="14" y="67"/>
                  </a:cubicBezTo>
                  <a:cubicBezTo>
                    <a:pt x="14" y="68"/>
                    <a:pt x="17" y="70"/>
                    <a:pt x="17" y="70"/>
                  </a:cubicBezTo>
                  <a:cubicBezTo>
                    <a:pt x="19" y="71"/>
                    <a:pt x="20" y="71"/>
                    <a:pt x="21" y="71"/>
                  </a:cubicBezTo>
                  <a:cubicBezTo>
                    <a:pt x="22" y="71"/>
                    <a:pt x="23" y="73"/>
                    <a:pt x="25" y="73"/>
                  </a:cubicBezTo>
                  <a:cubicBezTo>
                    <a:pt x="25" y="73"/>
                    <a:pt x="25" y="73"/>
                    <a:pt x="26" y="72"/>
                  </a:cubicBezTo>
                  <a:cubicBezTo>
                    <a:pt x="27" y="71"/>
                    <a:pt x="24" y="68"/>
                    <a:pt x="24" y="67"/>
                  </a:cubicBezTo>
                  <a:cubicBezTo>
                    <a:pt x="23" y="64"/>
                    <a:pt x="23" y="62"/>
                    <a:pt x="25" y="60"/>
                  </a:cubicBezTo>
                  <a:cubicBezTo>
                    <a:pt x="25" y="60"/>
                    <a:pt x="27" y="58"/>
                    <a:pt x="28" y="58"/>
                  </a:cubicBezTo>
                  <a:cubicBezTo>
                    <a:pt x="29" y="58"/>
                    <a:pt x="29" y="58"/>
                    <a:pt x="30" y="60"/>
                  </a:cubicBezTo>
                  <a:cubicBezTo>
                    <a:pt x="30" y="61"/>
                    <a:pt x="29" y="62"/>
                    <a:pt x="28" y="62"/>
                  </a:cubicBezTo>
                  <a:cubicBezTo>
                    <a:pt x="29" y="69"/>
                    <a:pt x="30" y="70"/>
                    <a:pt x="27" y="77"/>
                  </a:cubicBezTo>
                  <a:cubicBezTo>
                    <a:pt x="30" y="74"/>
                    <a:pt x="34" y="72"/>
                    <a:pt x="37" y="70"/>
                  </a:cubicBezTo>
                  <a:cubicBezTo>
                    <a:pt x="37" y="68"/>
                    <a:pt x="38" y="66"/>
                    <a:pt x="38" y="65"/>
                  </a:cubicBezTo>
                  <a:cubicBezTo>
                    <a:pt x="39" y="65"/>
                    <a:pt x="41" y="66"/>
                    <a:pt x="41" y="66"/>
                  </a:cubicBezTo>
                  <a:cubicBezTo>
                    <a:pt x="43" y="66"/>
                    <a:pt x="44" y="64"/>
                    <a:pt x="45" y="61"/>
                  </a:cubicBezTo>
                  <a:cubicBezTo>
                    <a:pt x="45" y="59"/>
                    <a:pt x="46" y="58"/>
                    <a:pt x="46" y="56"/>
                  </a:cubicBezTo>
                  <a:cubicBezTo>
                    <a:pt x="47" y="51"/>
                    <a:pt x="49" y="46"/>
                    <a:pt x="51" y="41"/>
                  </a:cubicBezTo>
                  <a:cubicBezTo>
                    <a:pt x="52" y="38"/>
                    <a:pt x="54" y="35"/>
                    <a:pt x="55" y="32"/>
                  </a:cubicBezTo>
                  <a:cubicBezTo>
                    <a:pt x="56" y="30"/>
                    <a:pt x="58" y="28"/>
                    <a:pt x="59" y="26"/>
                  </a:cubicBezTo>
                  <a:cubicBezTo>
                    <a:pt x="59" y="26"/>
                    <a:pt x="59" y="26"/>
                    <a:pt x="58" y="26"/>
                  </a:cubicBezTo>
                  <a:cubicBezTo>
                    <a:pt x="58" y="24"/>
                    <a:pt x="58" y="19"/>
                    <a:pt x="55" y="18"/>
                  </a:cubicBezTo>
                  <a:cubicBezTo>
                    <a:pt x="55" y="18"/>
                    <a:pt x="55" y="18"/>
                    <a:pt x="55" y="18"/>
                  </a:cubicBezTo>
                  <a:cubicBezTo>
                    <a:pt x="55" y="18"/>
                    <a:pt x="54" y="18"/>
                    <a:pt x="54" y="18"/>
                  </a:cubicBezTo>
                  <a:cubicBezTo>
                    <a:pt x="53" y="18"/>
                    <a:pt x="52" y="18"/>
                    <a:pt x="52" y="18"/>
                  </a:cubicBezTo>
                  <a:cubicBezTo>
                    <a:pt x="52" y="18"/>
                    <a:pt x="52" y="18"/>
                    <a:pt x="52" y="18"/>
                  </a:cubicBezTo>
                  <a:cubicBezTo>
                    <a:pt x="50" y="18"/>
                    <a:pt x="46" y="17"/>
                    <a:pt x="46" y="15"/>
                  </a:cubicBezTo>
                  <a:cubicBezTo>
                    <a:pt x="46" y="15"/>
                    <a:pt x="46" y="15"/>
                    <a:pt x="46" y="15"/>
                  </a:cubicBezTo>
                  <a:cubicBezTo>
                    <a:pt x="47" y="15"/>
                    <a:pt x="49" y="15"/>
                    <a:pt x="49" y="15"/>
                  </a:cubicBezTo>
                  <a:cubicBezTo>
                    <a:pt x="51" y="13"/>
                    <a:pt x="51" y="7"/>
                    <a:pt x="48" y="7"/>
                  </a:cubicBezTo>
                  <a:cubicBezTo>
                    <a:pt x="48" y="7"/>
                    <a:pt x="48" y="7"/>
                    <a:pt x="48" y="7"/>
                  </a:cubicBezTo>
                  <a:cubicBezTo>
                    <a:pt x="47" y="7"/>
                    <a:pt x="46" y="7"/>
                    <a:pt x="46" y="8"/>
                  </a:cubicBezTo>
                  <a:cubicBezTo>
                    <a:pt x="44" y="9"/>
                    <a:pt x="45" y="9"/>
                    <a:pt x="43" y="10"/>
                  </a:cubicBezTo>
                  <a:cubicBezTo>
                    <a:pt x="43" y="10"/>
                    <a:pt x="43" y="10"/>
                    <a:pt x="42" y="10"/>
                  </a:cubicBezTo>
                  <a:cubicBezTo>
                    <a:pt x="38" y="10"/>
                    <a:pt x="32" y="4"/>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1" name="Freeform 1157">
              <a:extLst>
                <a:ext uri="{FF2B5EF4-FFF2-40B4-BE49-F238E27FC236}">
                  <a16:creationId xmlns:a16="http://schemas.microsoft.com/office/drawing/2014/main" id="{84F339F9-22B9-437D-82F6-D552A754F341}"/>
                </a:ext>
              </a:extLst>
            </p:cNvPr>
            <p:cNvSpPr>
              <a:spLocks/>
            </p:cNvSpPr>
            <p:nvPr/>
          </p:nvSpPr>
          <p:spPr bwMode="auto">
            <a:xfrm>
              <a:off x="5076713" y="2284658"/>
              <a:ext cx="5369" cy="6712"/>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1"/>
                    <a:pt x="0" y="2"/>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2" name="Freeform 1158">
              <a:extLst>
                <a:ext uri="{FF2B5EF4-FFF2-40B4-BE49-F238E27FC236}">
                  <a16:creationId xmlns:a16="http://schemas.microsoft.com/office/drawing/2014/main" id="{26E5778C-6974-4177-941C-434937E06199}"/>
                </a:ext>
              </a:extLst>
            </p:cNvPr>
            <p:cNvSpPr>
              <a:spLocks/>
            </p:cNvSpPr>
            <p:nvPr/>
          </p:nvSpPr>
          <p:spPr bwMode="auto">
            <a:xfrm>
              <a:off x="5165308" y="1618859"/>
              <a:ext cx="844329" cy="698015"/>
            </a:xfrm>
            <a:custGeom>
              <a:avLst/>
              <a:gdLst>
                <a:gd name="T0" fmla="*/ 233 w 266"/>
                <a:gd name="T1" fmla="*/ 10 h 220"/>
                <a:gd name="T2" fmla="*/ 243 w 266"/>
                <a:gd name="T3" fmla="*/ 8 h 220"/>
                <a:gd name="T4" fmla="*/ 242 w 266"/>
                <a:gd name="T5" fmla="*/ 19 h 220"/>
                <a:gd name="T6" fmla="*/ 236 w 266"/>
                <a:gd name="T7" fmla="*/ 19 h 220"/>
                <a:gd name="T8" fmla="*/ 234 w 266"/>
                <a:gd name="T9" fmla="*/ 20 h 220"/>
                <a:gd name="T10" fmla="*/ 223 w 266"/>
                <a:gd name="T11" fmla="*/ 8 h 220"/>
                <a:gd name="T12" fmla="*/ 213 w 266"/>
                <a:gd name="T13" fmla="*/ 31 h 220"/>
                <a:gd name="T14" fmla="*/ 211 w 266"/>
                <a:gd name="T15" fmla="*/ 47 h 220"/>
                <a:gd name="T16" fmla="*/ 213 w 266"/>
                <a:gd name="T17" fmla="*/ 46 h 220"/>
                <a:gd name="T18" fmla="*/ 214 w 266"/>
                <a:gd name="T19" fmla="*/ 59 h 220"/>
                <a:gd name="T20" fmla="*/ 201 w 266"/>
                <a:gd name="T21" fmla="*/ 94 h 220"/>
                <a:gd name="T22" fmla="*/ 179 w 266"/>
                <a:gd name="T23" fmla="*/ 116 h 220"/>
                <a:gd name="T24" fmla="*/ 146 w 266"/>
                <a:gd name="T25" fmla="*/ 131 h 220"/>
                <a:gd name="T26" fmla="*/ 145 w 266"/>
                <a:gd name="T27" fmla="*/ 123 h 220"/>
                <a:gd name="T28" fmla="*/ 144 w 266"/>
                <a:gd name="T29" fmla="*/ 123 h 220"/>
                <a:gd name="T30" fmla="*/ 148 w 266"/>
                <a:gd name="T31" fmla="*/ 117 h 220"/>
                <a:gd name="T32" fmla="*/ 150 w 266"/>
                <a:gd name="T33" fmla="*/ 117 h 220"/>
                <a:gd name="T34" fmla="*/ 150 w 266"/>
                <a:gd name="T35" fmla="*/ 111 h 220"/>
                <a:gd name="T36" fmla="*/ 139 w 266"/>
                <a:gd name="T37" fmla="*/ 127 h 220"/>
                <a:gd name="T38" fmla="*/ 123 w 266"/>
                <a:gd name="T39" fmla="*/ 161 h 220"/>
                <a:gd name="T40" fmla="*/ 114 w 266"/>
                <a:gd name="T41" fmla="*/ 165 h 220"/>
                <a:gd name="T42" fmla="*/ 105 w 266"/>
                <a:gd name="T43" fmla="*/ 167 h 220"/>
                <a:gd name="T44" fmla="*/ 103 w 266"/>
                <a:gd name="T45" fmla="*/ 159 h 220"/>
                <a:gd name="T46" fmla="*/ 42 w 266"/>
                <a:gd name="T47" fmla="*/ 168 h 220"/>
                <a:gd name="T48" fmla="*/ 14 w 266"/>
                <a:gd name="T49" fmla="*/ 191 h 220"/>
                <a:gd name="T50" fmla="*/ 6 w 266"/>
                <a:gd name="T51" fmla="*/ 195 h 220"/>
                <a:gd name="T52" fmla="*/ 2 w 266"/>
                <a:gd name="T53" fmla="*/ 195 h 220"/>
                <a:gd name="T54" fmla="*/ 0 w 266"/>
                <a:gd name="T55" fmla="*/ 202 h 220"/>
                <a:gd name="T56" fmla="*/ 1 w 266"/>
                <a:gd name="T57" fmla="*/ 207 h 220"/>
                <a:gd name="T58" fmla="*/ 3 w 266"/>
                <a:gd name="T59" fmla="*/ 207 h 220"/>
                <a:gd name="T60" fmla="*/ 29 w 266"/>
                <a:gd name="T61" fmla="*/ 209 h 220"/>
                <a:gd name="T62" fmla="*/ 42 w 266"/>
                <a:gd name="T63" fmla="*/ 200 h 220"/>
                <a:gd name="T64" fmla="*/ 62 w 266"/>
                <a:gd name="T65" fmla="*/ 193 h 220"/>
                <a:gd name="T66" fmla="*/ 71 w 266"/>
                <a:gd name="T67" fmla="*/ 193 h 220"/>
                <a:gd name="T68" fmla="*/ 106 w 266"/>
                <a:gd name="T69" fmla="*/ 187 h 220"/>
                <a:gd name="T70" fmla="*/ 101 w 266"/>
                <a:gd name="T71" fmla="*/ 201 h 220"/>
                <a:gd name="T72" fmla="*/ 107 w 266"/>
                <a:gd name="T73" fmla="*/ 213 h 220"/>
                <a:gd name="T74" fmla="*/ 134 w 266"/>
                <a:gd name="T75" fmla="*/ 198 h 220"/>
                <a:gd name="T76" fmla="*/ 137 w 266"/>
                <a:gd name="T77" fmla="*/ 196 h 220"/>
                <a:gd name="T78" fmla="*/ 141 w 266"/>
                <a:gd name="T79" fmla="*/ 199 h 220"/>
                <a:gd name="T80" fmla="*/ 134 w 266"/>
                <a:gd name="T81" fmla="*/ 186 h 220"/>
                <a:gd name="T82" fmla="*/ 142 w 266"/>
                <a:gd name="T83" fmla="*/ 186 h 220"/>
                <a:gd name="T84" fmla="*/ 149 w 266"/>
                <a:gd name="T85" fmla="*/ 188 h 220"/>
                <a:gd name="T86" fmla="*/ 175 w 266"/>
                <a:gd name="T87" fmla="*/ 185 h 220"/>
                <a:gd name="T88" fmla="*/ 180 w 266"/>
                <a:gd name="T89" fmla="*/ 179 h 220"/>
                <a:gd name="T90" fmla="*/ 189 w 266"/>
                <a:gd name="T91" fmla="*/ 178 h 220"/>
                <a:gd name="T92" fmla="*/ 190 w 266"/>
                <a:gd name="T93" fmla="*/ 188 h 220"/>
                <a:gd name="T94" fmla="*/ 201 w 266"/>
                <a:gd name="T95" fmla="*/ 174 h 220"/>
                <a:gd name="T96" fmla="*/ 211 w 266"/>
                <a:gd name="T97" fmla="*/ 181 h 220"/>
                <a:gd name="T98" fmla="*/ 224 w 266"/>
                <a:gd name="T99" fmla="*/ 171 h 220"/>
                <a:gd name="T100" fmla="*/ 230 w 266"/>
                <a:gd name="T101" fmla="*/ 141 h 220"/>
                <a:gd name="T102" fmla="*/ 239 w 266"/>
                <a:gd name="T103" fmla="*/ 119 h 220"/>
                <a:gd name="T104" fmla="*/ 243 w 266"/>
                <a:gd name="T105" fmla="*/ 88 h 220"/>
                <a:gd name="T106" fmla="*/ 251 w 266"/>
                <a:gd name="T107" fmla="*/ 91 h 220"/>
                <a:gd name="T108" fmla="*/ 256 w 266"/>
                <a:gd name="T109" fmla="*/ 71 h 220"/>
                <a:gd name="T110" fmla="*/ 262 w 266"/>
                <a:gd name="T111" fmla="*/ 57 h 220"/>
                <a:gd name="T112" fmla="*/ 249 w 266"/>
                <a:gd name="T113" fmla="*/ 6 h 220"/>
                <a:gd name="T114" fmla="*/ 238 w 266"/>
                <a:gd name="T115"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 h="220">
                  <a:moveTo>
                    <a:pt x="238" y="0"/>
                  </a:moveTo>
                  <a:cubicBezTo>
                    <a:pt x="238" y="0"/>
                    <a:pt x="238" y="0"/>
                    <a:pt x="238" y="1"/>
                  </a:cubicBezTo>
                  <a:cubicBezTo>
                    <a:pt x="237" y="1"/>
                    <a:pt x="232" y="8"/>
                    <a:pt x="233" y="10"/>
                  </a:cubicBezTo>
                  <a:cubicBezTo>
                    <a:pt x="233" y="11"/>
                    <a:pt x="234" y="11"/>
                    <a:pt x="235" y="11"/>
                  </a:cubicBezTo>
                  <a:cubicBezTo>
                    <a:pt x="236" y="11"/>
                    <a:pt x="237" y="10"/>
                    <a:pt x="239" y="10"/>
                  </a:cubicBezTo>
                  <a:cubicBezTo>
                    <a:pt x="240" y="9"/>
                    <a:pt x="242" y="8"/>
                    <a:pt x="243" y="8"/>
                  </a:cubicBezTo>
                  <a:cubicBezTo>
                    <a:pt x="243" y="8"/>
                    <a:pt x="243" y="8"/>
                    <a:pt x="243" y="8"/>
                  </a:cubicBezTo>
                  <a:cubicBezTo>
                    <a:pt x="246" y="9"/>
                    <a:pt x="245" y="13"/>
                    <a:pt x="244" y="15"/>
                  </a:cubicBezTo>
                  <a:cubicBezTo>
                    <a:pt x="244" y="16"/>
                    <a:pt x="243" y="18"/>
                    <a:pt x="242" y="19"/>
                  </a:cubicBezTo>
                  <a:cubicBezTo>
                    <a:pt x="242" y="19"/>
                    <a:pt x="241" y="19"/>
                    <a:pt x="240" y="19"/>
                  </a:cubicBezTo>
                  <a:cubicBezTo>
                    <a:pt x="240" y="19"/>
                    <a:pt x="239" y="19"/>
                    <a:pt x="238" y="19"/>
                  </a:cubicBezTo>
                  <a:cubicBezTo>
                    <a:pt x="237" y="19"/>
                    <a:pt x="237" y="19"/>
                    <a:pt x="236" y="19"/>
                  </a:cubicBezTo>
                  <a:cubicBezTo>
                    <a:pt x="236" y="19"/>
                    <a:pt x="236" y="19"/>
                    <a:pt x="235" y="19"/>
                  </a:cubicBezTo>
                  <a:cubicBezTo>
                    <a:pt x="235" y="19"/>
                    <a:pt x="235" y="20"/>
                    <a:pt x="234" y="20"/>
                  </a:cubicBezTo>
                  <a:cubicBezTo>
                    <a:pt x="234" y="20"/>
                    <a:pt x="234" y="20"/>
                    <a:pt x="234" y="20"/>
                  </a:cubicBezTo>
                  <a:cubicBezTo>
                    <a:pt x="231" y="19"/>
                    <a:pt x="231" y="15"/>
                    <a:pt x="230" y="12"/>
                  </a:cubicBezTo>
                  <a:cubicBezTo>
                    <a:pt x="230" y="11"/>
                    <a:pt x="231" y="11"/>
                    <a:pt x="230" y="10"/>
                  </a:cubicBezTo>
                  <a:cubicBezTo>
                    <a:pt x="229" y="9"/>
                    <a:pt x="224" y="8"/>
                    <a:pt x="223" y="8"/>
                  </a:cubicBezTo>
                  <a:cubicBezTo>
                    <a:pt x="223" y="12"/>
                    <a:pt x="225" y="14"/>
                    <a:pt x="222" y="17"/>
                  </a:cubicBezTo>
                  <a:cubicBezTo>
                    <a:pt x="220" y="19"/>
                    <a:pt x="217" y="21"/>
                    <a:pt x="215" y="23"/>
                  </a:cubicBezTo>
                  <a:cubicBezTo>
                    <a:pt x="212" y="26"/>
                    <a:pt x="212" y="26"/>
                    <a:pt x="213" y="31"/>
                  </a:cubicBezTo>
                  <a:cubicBezTo>
                    <a:pt x="215" y="33"/>
                    <a:pt x="212" y="41"/>
                    <a:pt x="210" y="44"/>
                  </a:cubicBezTo>
                  <a:cubicBezTo>
                    <a:pt x="210" y="44"/>
                    <a:pt x="209" y="43"/>
                    <a:pt x="208" y="43"/>
                  </a:cubicBezTo>
                  <a:cubicBezTo>
                    <a:pt x="209" y="44"/>
                    <a:pt x="210" y="46"/>
                    <a:pt x="211" y="47"/>
                  </a:cubicBezTo>
                  <a:cubicBezTo>
                    <a:pt x="211" y="47"/>
                    <a:pt x="211" y="47"/>
                    <a:pt x="211" y="47"/>
                  </a:cubicBezTo>
                  <a:cubicBezTo>
                    <a:pt x="212" y="47"/>
                    <a:pt x="212" y="46"/>
                    <a:pt x="212" y="46"/>
                  </a:cubicBezTo>
                  <a:cubicBezTo>
                    <a:pt x="212" y="46"/>
                    <a:pt x="212" y="46"/>
                    <a:pt x="213" y="46"/>
                  </a:cubicBezTo>
                  <a:cubicBezTo>
                    <a:pt x="213" y="46"/>
                    <a:pt x="213" y="46"/>
                    <a:pt x="213" y="46"/>
                  </a:cubicBezTo>
                  <a:cubicBezTo>
                    <a:pt x="214" y="46"/>
                    <a:pt x="215" y="46"/>
                    <a:pt x="216" y="48"/>
                  </a:cubicBezTo>
                  <a:cubicBezTo>
                    <a:pt x="218" y="51"/>
                    <a:pt x="215" y="56"/>
                    <a:pt x="214" y="59"/>
                  </a:cubicBezTo>
                  <a:cubicBezTo>
                    <a:pt x="212" y="67"/>
                    <a:pt x="210" y="73"/>
                    <a:pt x="206" y="80"/>
                  </a:cubicBezTo>
                  <a:cubicBezTo>
                    <a:pt x="204" y="83"/>
                    <a:pt x="203" y="86"/>
                    <a:pt x="202" y="90"/>
                  </a:cubicBezTo>
                  <a:cubicBezTo>
                    <a:pt x="202" y="92"/>
                    <a:pt x="202" y="93"/>
                    <a:pt x="201" y="94"/>
                  </a:cubicBezTo>
                  <a:cubicBezTo>
                    <a:pt x="200" y="97"/>
                    <a:pt x="197" y="99"/>
                    <a:pt x="195" y="100"/>
                  </a:cubicBezTo>
                  <a:cubicBezTo>
                    <a:pt x="191" y="104"/>
                    <a:pt x="187" y="108"/>
                    <a:pt x="183" y="112"/>
                  </a:cubicBezTo>
                  <a:cubicBezTo>
                    <a:pt x="182" y="113"/>
                    <a:pt x="182" y="115"/>
                    <a:pt x="179" y="116"/>
                  </a:cubicBezTo>
                  <a:cubicBezTo>
                    <a:pt x="173" y="119"/>
                    <a:pt x="166" y="122"/>
                    <a:pt x="159" y="126"/>
                  </a:cubicBezTo>
                  <a:cubicBezTo>
                    <a:pt x="156" y="127"/>
                    <a:pt x="153" y="132"/>
                    <a:pt x="149" y="132"/>
                  </a:cubicBezTo>
                  <a:cubicBezTo>
                    <a:pt x="148" y="132"/>
                    <a:pt x="147" y="132"/>
                    <a:pt x="146" y="131"/>
                  </a:cubicBezTo>
                  <a:cubicBezTo>
                    <a:pt x="145" y="130"/>
                    <a:pt x="145" y="130"/>
                    <a:pt x="145" y="128"/>
                  </a:cubicBezTo>
                  <a:cubicBezTo>
                    <a:pt x="146" y="127"/>
                    <a:pt x="146" y="124"/>
                    <a:pt x="146" y="123"/>
                  </a:cubicBezTo>
                  <a:cubicBezTo>
                    <a:pt x="145" y="123"/>
                    <a:pt x="145" y="123"/>
                    <a:pt x="145" y="123"/>
                  </a:cubicBezTo>
                  <a:cubicBezTo>
                    <a:pt x="145" y="123"/>
                    <a:pt x="145" y="123"/>
                    <a:pt x="145" y="123"/>
                  </a:cubicBezTo>
                  <a:cubicBezTo>
                    <a:pt x="145" y="123"/>
                    <a:pt x="145" y="123"/>
                    <a:pt x="144" y="123"/>
                  </a:cubicBezTo>
                  <a:cubicBezTo>
                    <a:pt x="144" y="123"/>
                    <a:pt x="144" y="123"/>
                    <a:pt x="144" y="123"/>
                  </a:cubicBezTo>
                  <a:cubicBezTo>
                    <a:pt x="143" y="123"/>
                    <a:pt x="141" y="123"/>
                    <a:pt x="141" y="122"/>
                  </a:cubicBezTo>
                  <a:cubicBezTo>
                    <a:pt x="141" y="119"/>
                    <a:pt x="144" y="120"/>
                    <a:pt x="145" y="120"/>
                  </a:cubicBezTo>
                  <a:cubicBezTo>
                    <a:pt x="146" y="119"/>
                    <a:pt x="147" y="118"/>
                    <a:pt x="148" y="117"/>
                  </a:cubicBezTo>
                  <a:cubicBezTo>
                    <a:pt x="148" y="117"/>
                    <a:pt x="148" y="117"/>
                    <a:pt x="148" y="117"/>
                  </a:cubicBezTo>
                  <a:cubicBezTo>
                    <a:pt x="148" y="117"/>
                    <a:pt x="149" y="117"/>
                    <a:pt x="149" y="117"/>
                  </a:cubicBezTo>
                  <a:cubicBezTo>
                    <a:pt x="149" y="117"/>
                    <a:pt x="149" y="117"/>
                    <a:pt x="150" y="117"/>
                  </a:cubicBezTo>
                  <a:cubicBezTo>
                    <a:pt x="150" y="117"/>
                    <a:pt x="150" y="117"/>
                    <a:pt x="150" y="117"/>
                  </a:cubicBezTo>
                  <a:cubicBezTo>
                    <a:pt x="152" y="116"/>
                    <a:pt x="154" y="112"/>
                    <a:pt x="151" y="111"/>
                  </a:cubicBezTo>
                  <a:cubicBezTo>
                    <a:pt x="151" y="111"/>
                    <a:pt x="150" y="111"/>
                    <a:pt x="150" y="111"/>
                  </a:cubicBezTo>
                  <a:cubicBezTo>
                    <a:pt x="150" y="111"/>
                    <a:pt x="148" y="112"/>
                    <a:pt x="147" y="112"/>
                  </a:cubicBezTo>
                  <a:cubicBezTo>
                    <a:pt x="145" y="113"/>
                    <a:pt x="141" y="114"/>
                    <a:pt x="140" y="115"/>
                  </a:cubicBezTo>
                  <a:cubicBezTo>
                    <a:pt x="136" y="118"/>
                    <a:pt x="139" y="124"/>
                    <a:pt x="139" y="127"/>
                  </a:cubicBezTo>
                  <a:cubicBezTo>
                    <a:pt x="138" y="131"/>
                    <a:pt x="135" y="134"/>
                    <a:pt x="132" y="137"/>
                  </a:cubicBezTo>
                  <a:cubicBezTo>
                    <a:pt x="129" y="142"/>
                    <a:pt x="122" y="148"/>
                    <a:pt x="122" y="154"/>
                  </a:cubicBezTo>
                  <a:cubicBezTo>
                    <a:pt x="121" y="156"/>
                    <a:pt x="124" y="158"/>
                    <a:pt x="123" y="161"/>
                  </a:cubicBezTo>
                  <a:cubicBezTo>
                    <a:pt x="123" y="161"/>
                    <a:pt x="122" y="160"/>
                    <a:pt x="122" y="160"/>
                  </a:cubicBezTo>
                  <a:cubicBezTo>
                    <a:pt x="120" y="160"/>
                    <a:pt x="118" y="164"/>
                    <a:pt x="116" y="165"/>
                  </a:cubicBezTo>
                  <a:cubicBezTo>
                    <a:pt x="115" y="165"/>
                    <a:pt x="114" y="165"/>
                    <a:pt x="114" y="165"/>
                  </a:cubicBezTo>
                  <a:cubicBezTo>
                    <a:pt x="113" y="165"/>
                    <a:pt x="112" y="165"/>
                    <a:pt x="111" y="165"/>
                  </a:cubicBezTo>
                  <a:cubicBezTo>
                    <a:pt x="110" y="165"/>
                    <a:pt x="110" y="165"/>
                    <a:pt x="109" y="165"/>
                  </a:cubicBezTo>
                  <a:cubicBezTo>
                    <a:pt x="108" y="165"/>
                    <a:pt x="106" y="165"/>
                    <a:pt x="105" y="167"/>
                  </a:cubicBezTo>
                  <a:cubicBezTo>
                    <a:pt x="104" y="165"/>
                    <a:pt x="103" y="164"/>
                    <a:pt x="103" y="162"/>
                  </a:cubicBezTo>
                  <a:cubicBezTo>
                    <a:pt x="103" y="161"/>
                    <a:pt x="105" y="161"/>
                    <a:pt x="105" y="160"/>
                  </a:cubicBezTo>
                  <a:cubicBezTo>
                    <a:pt x="104" y="159"/>
                    <a:pt x="104" y="159"/>
                    <a:pt x="103" y="159"/>
                  </a:cubicBezTo>
                  <a:cubicBezTo>
                    <a:pt x="100" y="159"/>
                    <a:pt x="95" y="161"/>
                    <a:pt x="94" y="161"/>
                  </a:cubicBezTo>
                  <a:cubicBezTo>
                    <a:pt x="86" y="163"/>
                    <a:pt x="76" y="163"/>
                    <a:pt x="67" y="164"/>
                  </a:cubicBezTo>
                  <a:cubicBezTo>
                    <a:pt x="58" y="164"/>
                    <a:pt x="50" y="166"/>
                    <a:pt x="42" y="168"/>
                  </a:cubicBezTo>
                  <a:cubicBezTo>
                    <a:pt x="43" y="172"/>
                    <a:pt x="40" y="172"/>
                    <a:pt x="37" y="174"/>
                  </a:cubicBezTo>
                  <a:cubicBezTo>
                    <a:pt x="32" y="178"/>
                    <a:pt x="26" y="182"/>
                    <a:pt x="21" y="186"/>
                  </a:cubicBezTo>
                  <a:cubicBezTo>
                    <a:pt x="19" y="188"/>
                    <a:pt x="16" y="189"/>
                    <a:pt x="14" y="191"/>
                  </a:cubicBezTo>
                  <a:cubicBezTo>
                    <a:pt x="13" y="193"/>
                    <a:pt x="13" y="195"/>
                    <a:pt x="9" y="195"/>
                  </a:cubicBezTo>
                  <a:cubicBezTo>
                    <a:pt x="9" y="195"/>
                    <a:pt x="9" y="195"/>
                    <a:pt x="9" y="195"/>
                  </a:cubicBezTo>
                  <a:cubicBezTo>
                    <a:pt x="8" y="195"/>
                    <a:pt x="7" y="195"/>
                    <a:pt x="6" y="195"/>
                  </a:cubicBezTo>
                  <a:cubicBezTo>
                    <a:pt x="5" y="195"/>
                    <a:pt x="4" y="194"/>
                    <a:pt x="4" y="194"/>
                  </a:cubicBezTo>
                  <a:cubicBezTo>
                    <a:pt x="3" y="194"/>
                    <a:pt x="2" y="194"/>
                    <a:pt x="2" y="195"/>
                  </a:cubicBezTo>
                  <a:cubicBezTo>
                    <a:pt x="2" y="195"/>
                    <a:pt x="2" y="195"/>
                    <a:pt x="2" y="195"/>
                  </a:cubicBezTo>
                  <a:cubicBezTo>
                    <a:pt x="2" y="195"/>
                    <a:pt x="1" y="197"/>
                    <a:pt x="0" y="197"/>
                  </a:cubicBezTo>
                  <a:cubicBezTo>
                    <a:pt x="0" y="198"/>
                    <a:pt x="1" y="200"/>
                    <a:pt x="1" y="201"/>
                  </a:cubicBezTo>
                  <a:cubicBezTo>
                    <a:pt x="1" y="201"/>
                    <a:pt x="0" y="202"/>
                    <a:pt x="0" y="202"/>
                  </a:cubicBezTo>
                  <a:cubicBezTo>
                    <a:pt x="0" y="203"/>
                    <a:pt x="1" y="203"/>
                    <a:pt x="1" y="204"/>
                  </a:cubicBezTo>
                  <a:cubicBezTo>
                    <a:pt x="1" y="205"/>
                    <a:pt x="2" y="206"/>
                    <a:pt x="0" y="207"/>
                  </a:cubicBezTo>
                  <a:cubicBezTo>
                    <a:pt x="1" y="207"/>
                    <a:pt x="1" y="207"/>
                    <a:pt x="1" y="207"/>
                  </a:cubicBezTo>
                  <a:cubicBezTo>
                    <a:pt x="2" y="207"/>
                    <a:pt x="2" y="207"/>
                    <a:pt x="2" y="207"/>
                  </a:cubicBezTo>
                  <a:cubicBezTo>
                    <a:pt x="2" y="207"/>
                    <a:pt x="3" y="207"/>
                    <a:pt x="3" y="207"/>
                  </a:cubicBezTo>
                  <a:cubicBezTo>
                    <a:pt x="3" y="207"/>
                    <a:pt x="3" y="207"/>
                    <a:pt x="3" y="207"/>
                  </a:cubicBezTo>
                  <a:cubicBezTo>
                    <a:pt x="9" y="207"/>
                    <a:pt x="16" y="206"/>
                    <a:pt x="22" y="205"/>
                  </a:cubicBezTo>
                  <a:cubicBezTo>
                    <a:pt x="21" y="206"/>
                    <a:pt x="24" y="206"/>
                    <a:pt x="26" y="207"/>
                  </a:cubicBezTo>
                  <a:cubicBezTo>
                    <a:pt x="27" y="207"/>
                    <a:pt x="28" y="208"/>
                    <a:pt x="29" y="209"/>
                  </a:cubicBezTo>
                  <a:cubicBezTo>
                    <a:pt x="30" y="207"/>
                    <a:pt x="33" y="196"/>
                    <a:pt x="35" y="196"/>
                  </a:cubicBezTo>
                  <a:cubicBezTo>
                    <a:pt x="36" y="196"/>
                    <a:pt x="36" y="196"/>
                    <a:pt x="36" y="196"/>
                  </a:cubicBezTo>
                  <a:cubicBezTo>
                    <a:pt x="39" y="198"/>
                    <a:pt x="39" y="200"/>
                    <a:pt x="42" y="200"/>
                  </a:cubicBezTo>
                  <a:cubicBezTo>
                    <a:pt x="42" y="200"/>
                    <a:pt x="43" y="200"/>
                    <a:pt x="44" y="200"/>
                  </a:cubicBezTo>
                  <a:cubicBezTo>
                    <a:pt x="49" y="200"/>
                    <a:pt x="55" y="197"/>
                    <a:pt x="59" y="194"/>
                  </a:cubicBezTo>
                  <a:cubicBezTo>
                    <a:pt x="60" y="193"/>
                    <a:pt x="61" y="193"/>
                    <a:pt x="62" y="193"/>
                  </a:cubicBezTo>
                  <a:cubicBezTo>
                    <a:pt x="63" y="193"/>
                    <a:pt x="65" y="193"/>
                    <a:pt x="66" y="193"/>
                  </a:cubicBezTo>
                  <a:cubicBezTo>
                    <a:pt x="67" y="194"/>
                    <a:pt x="68" y="194"/>
                    <a:pt x="69" y="194"/>
                  </a:cubicBezTo>
                  <a:cubicBezTo>
                    <a:pt x="70" y="194"/>
                    <a:pt x="70" y="194"/>
                    <a:pt x="71" y="193"/>
                  </a:cubicBezTo>
                  <a:cubicBezTo>
                    <a:pt x="73" y="193"/>
                    <a:pt x="72" y="191"/>
                    <a:pt x="74" y="189"/>
                  </a:cubicBezTo>
                  <a:cubicBezTo>
                    <a:pt x="75" y="188"/>
                    <a:pt x="80" y="186"/>
                    <a:pt x="81" y="186"/>
                  </a:cubicBezTo>
                  <a:cubicBezTo>
                    <a:pt x="89" y="187"/>
                    <a:pt x="97" y="187"/>
                    <a:pt x="106" y="187"/>
                  </a:cubicBezTo>
                  <a:cubicBezTo>
                    <a:pt x="111" y="187"/>
                    <a:pt x="107" y="192"/>
                    <a:pt x="105" y="193"/>
                  </a:cubicBezTo>
                  <a:cubicBezTo>
                    <a:pt x="103" y="194"/>
                    <a:pt x="101" y="196"/>
                    <a:pt x="100" y="197"/>
                  </a:cubicBezTo>
                  <a:cubicBezTo>
                    <a:pt x="99" y="198"/>
                    <a:pt x="101" y="200"/>
                    <a:pt x="101" y="201"/>
                  </a:cubicBezTo>
                  <a:cubicBezTo>
                    <a:pt x="101" y="202"/>
                    <a:pt x="100" y="202"/>
                    <a:pt x="100" y="203"/>
                  </a:cubicBezTo>
                  <a:cubicBezTo>
                    <a:pt x="100" y="205"/>
                    <a:pt x="101" y="206"/>
                    <a:pt x="99" y="208"/>
                  </a:cubicBezTo>
                  <a:cubicBezTo>
                    <a:pt x="101" y="210"/>
                    <a:pt x="104" y="211"/>
                    <a:pt x="107" y="213"/>
                  </a:cubicBezTo>
                  <a:cubicBezTo>
                    <a:pt x="102" y="215"/>
                    <a:pt x="115" y="219"/>
                    <a:pt x="115" y="220"/>
                  </a:cubicBezTo>
                  <a:cubicBezTo>
                    <a:pt x="121" y="215"/>
                    <a:pt x="126" y="209"/>
                    <a:pt x="129" y="202"/>
                  </a:cubicBezTo>
                  <a:cubicBezTo>
                    <a:pt x="131" y="200"/>
                    <a:pt x="132" y="199"/>
                    <a:pt x="134" y="198"/>
                  </a:cubicBezTo>
                  <a:cubicBezTo>
                    <a:pt x="134" y="198"/>
                    <a:pt x="136" y="198"/>
                    <a:pt x="136" y="198"/>
                  </a:cubicBezTo>
                  <a:cubicBezTo>
                    <a:pt x="137" y="197"/>
                    <a:pt x="137" y="196"/>
                    <a:pt x="137" y="196"/>
                  </a:cubicBezTo>
                  <a:cubicBezTo>
                    <a:pt x="137" y="196"/>
                    <a:pt x="137" y="196"/>
                    <a:pt x="137" y="196"/>
                  </a:cubicBezTo>
                  <a:cubicBezTo>
                    <a:pt x="138" y="196"/>
                    <a:pt x="138" y="197"/>
                    <a:pt x="138" y="197"/>
                  </a:cubicBezTo>
                  <a:cubicBezTo>
                    <a:pt x="138" y="197"/>
                    <a:pt x="139" y="197"/>
                    <a:pt x="139" y="197"/>
                  </a:cubicBezTo>
                  <a:cubicBezTo>
                    <a:pt x="140" y="197"/>
                    <a:pt x="141" y="197"/>
                    <a:pt x="141" y="199"/>
                  </a:cubicBezTo>
                  <a:cubicBezTo>
                    <a:pt x="142" y="198"/>
                    <a:pt x="142" y="198"/>
                    <a:pt x="142" y="198"/>
                  </a:cubicBezTo>
                  <a:cubicBezTo>
                    <a:pt x="140" y="194"/>
                    <a:pt x="139" y="192"/>
                    <a:pt x="136" y="190"/>
                  </a:cubicBezTo>
                  <a:cubicBezTo>
                    <a:pt x="134" y="188"/>
                    <a:pt x="133" y="190"/>
                    <a:pt x="134" y="186"/>
                  </a:cubicBezTo>
                  <a:cubicBezTo>
                    <a:pt x="135" y="183"/>
                    <a:pt x="138" y="178"/>
                    <a:pt x="142" y="177"/>
                  </a:cubicBezTo>
                  <a:cubicBezTo>
                    <a:pt x="141" y="180"/>
                    <a:pt x="140" y="181"/>
                    <a:pt x="141" y="184"/>
                  </a:cubicBezTo>
                  <a:cubicBezTo>
                    <a:pt x="142" y="185"/>
                    <a:pt x="142" y="186"/>
                    <a:pt x="142" y="186"/>
                  </a:cubicBezTo>
                  <a:cubicBezTo>
                    <a:pt x="142" y="186"/>
                    <a:pt x="142" y="186"/>
                    <a:pt x="143" y="184"/>
                  </a:cubicBezTo>
                  <a:cubicBezTo>
                    <a:pt x="143" y="183"/>
                    <a:pt x="143" y="182"/>
                    <a:pt x="144" y="181"/>
                  </a:cubicBezTo>
                  <a:cubicBezTo>
                    <a:pt x="145" y="185"/>
                    <a:pt x="146" y="185"/>
                    <a:pt x="149" y="188"/>
                  </a:cubicBezTo>
                  <a:cubicBezTo>
                    <a:pt x="147" y="189"/>
                    <a:pt x="146" y="188"/>
                    <a:pt x="145" y="190"/>
                  </a:cubicBezTo>
                  <a:cubicBezTo>
                    <a:pt x="151" y="189"/>
                    <a:pt x="157" y="188"/>
                    <a:pt x="163" y="187"/>
                  </a:cubicBezTo>
                  <a:cubicBezTo>
                    <a:pt x="166" y="187"/>
                    <a:pt x="173" y="187"/>
                    <a:pt x="175" y="185"/>
                  </a:cubicBezTo>
                  <a:cubicBezTo>
                    <a:pt x="177" y="184"/>
                    <a:pt x="176" y="182"/>
                    <a:pt x="178" y="180"/>
                  </a:cubicBezTo>
                  <a:cubicBezTo>
                    <a:pt x="179" y="180"/>
                    <a:pt x="180" y="180"/>
                    <a:pt x="181" y="179"/>
                  </a:cubicBezTo>
                  <a:cubicBezTo>
                    <a:pt x="181" y="179"/>
                    <a:pt x="181" y="179"/>
                    <a:pt x="180" y="179"/>
                  </a:cubicBezTo>
                  <a:cubicBezTo>
                    <a:pt x="180" y="179"/>
                    <a:pt x="180" y="177"/>
                    <a:pt x="181" y="177"/>
                  </a:cubicBezTo>
                  <a:cubicBezTo>
                    <a:pt x="182" y="176"/>
                    <a:pt x="183" y="176"/>
                    <a:pt x="184" y="176"/>
                  </a:cubicBezTo>
                  <a:cubicBezTo>
                    <a:pt x="186" y="176"/>
                    <a:pt x="188" y="176"/>
                    <a:pt x="189" y="178"/>
                  </a:cubicBezTo>
                  <a:cubicBezTo>
                    <a:pt x="188" y="178"/>
                    <a:pt x="187" y="178"/>
                    <a:pt x="186" y="179"/>
                  </a:cubicBezTo>
                  <a:cubicBezTo>
                    <a:pt x="185" y="181"/>
                    <a:pt x="187" y="187"/>
                    <a:pt x="188" y="189"/>
                  </a:cubicBezTo>
                  <a:cubicBezTo>
                    <a:pt x="189" y="189"/>
                    <a:pt x="189" y="189"/>
                    <a:pt x="190" y="188"/>
                  </a:cubicBezTo>
                  <a:cubicBezTo>
                    <a:pt x="193" y="186"/>
                    <a:pt x="195" y="183"/>
                    <a:pt x="194" y="179"/>
                  </a:cubicBezTo>
                  <a:cubicBezTo>
                    <a:pt x="194" y="178"/>
                    <a:pt x="194" y="177"/>
                    <a:pt x="194" y="176"/>
                  </a:cubicBezTo>
                  <a:cubicBezTo>
                    <a:pt x="196" y="175"/>
                    <a:pt x="198" y="174"/>
                    <a:pt x="201" y="174"/>
                  </a:cubicBezTo>
                  <a:cubicBezTo>
                    <a:pt x="205" y="174"/>
                    <a:pt x="209" y="176"/>
                    <a:pt x="211" y="180"/>
                  </a:cubicBezTo>
                  <a:cubicBezTo>
                    <a:pt x="210" y="180"/>
                    <a:pt x="210" y="180"/>
                    <a:pt x="210" y="180"/>
                  </a:cubicBezTo>
                  <a:cubicBezTo>
                    <a:pt x="210" y="181"/>
                    <a:pt x="211" y="181"/>
                    <a:pt x="211" y="181"/>
                  </a:cubicBezTo>
                  <a:cubicBezTo>
                    <a:pt x="211" y="181"/>
                    <a:pt x="212" y="181"/>
                    <a:pt x="212" y="181"/>
                  </a:cubicBezTo>
                  <a:cubicBezTo>
                    <a:pt x="212" y="181"/>
                    <a:pt x="213" y="181"/>
                    <a:pt x="213" y="181"/>
                  </a:cubicBezTo>
                  <a:cubicBezTo>
                    <a:pt x="217" y="180"/>
                    <a:pt x="224" y="176"/>
                    <a:pt x="224" y="171"/>
                  </a:cubicBezTo>
                  <a:cubicBezTo>
                    <a:pt x="225" y="164"/>
                    <a:pt x="229" y="163"/>
                    <a:pt x="235" y="159"/>
                  </a:cubicBezTo>
                  <a:cubicBezTo>
                    <a:pt x="233" y="156"/>
                    <a:pt x="230" y="153"/>
                    <a:pt x="229" y="149"/>
                  </a:cubicBezTo>
                  <a:cubicBezTo>
                    <a:pt x="228" y="146"/>
                    <a:pt x="229" y="144"/>
                    <a:pt x="230" y="141"/>
                  </a:cubicBezTo>
                  <a:cubicBezTo>
                    <a:pt x="231" y="137"/>
                    <a:pt x="233" y="133"/>
                    <a:pt x="234" y="129"/>
                  </a:cubicBezTo>
                  <a:cubicBezTo>
                    <a:pt x="234" y="128"/>
                    <a:pt x="237" y="128"/>
                    <a:pt x="237" y="126"/>
                  </a:cubicBezTo>
                  <a:cubicBezTo>
                    <a:pt x="239" y="124"/>
                    <a:pt x="239" y="121"/>
                    <a:pt x="239" y="119"/>
                  </a:cubicBezTo>
                  <a:cubicBezTo>
                    <a:pt x="238" y="112"/>
                    <a:pt x="237" y="105"/>
                    <a:pt x="237" y="98"/>
                  </a:cubicBezTo>
                  <a:cubicBezTo>
                    <a:pt x="237" y="96"/>
                    <a:pt x="237" y="94"/>
                    <a:pt x="238" y="92"/>
                  </a:cubicBezTo>
                  <a:cubicBezTo>
                    <a:pt x="240" y="89"/>
                    <a:pt x="240" y="90"/>
                    <a:pt x="243" y="88"/>
                  </a:cubicBezTo>
                  <a:cubicBezTo>
                    <a:pt x="244" y="88"/>
                    <a:pt x="244" y="87"/>
                    <a:pt x="246" y="87"/>
                  </a:cubicBezTo>
                  <a:cubicBezTo>
                    <a:pt x="246" y="87"/>
                    <a:pt x="246" y="87"/>
                    <a:pt x="246" y="87"/>
                  </a:cubicBezTo>
                  <a:cubicBezTo>
                    <a:pt x="248" y="87"/>
                    <a:pt x="250" y="89"/>
                    <a:pt x="251" y="91"/>
                  </a:cubicBezTo>
                  <a:cubicBezTo>
                    <a:pt x="250" y="83"/>
                    <a:pt x="249" y="80"/>
                    <a:pt x="252" y="74"/>
                  </a:cubicBezTo>
                  <a:cubicBezTo>
                    <a:pt x="253" y="72"/>
                    <a:pt x="253" y="72"/>
                    <a:pt x="254" y="72"/>
                  </a:cubicBezTo>
                  <a:cubicBezTo>
                    <a:pt x="254" y="72"/>
                    <a:pt x="255" y="72"/>
                    <a:pt x="256" y="71"/>
                  </a:cubicBezTo>
                  <a:cubicBezTo>
                    <a:pt x="256" y="70"/>
                    <a:pt x="256" y="70"/>
                    <a:pt x="256" y="70"/>
                  </a:cubicBezTo>
                  <a:cubicBezTo>
                    <a:pt x="258" y="70"/>
                    <a:pt x="258" y="70"/>
                    <a:pt x="258" y="70"/>
                  </a:cubicBezTo>
                  <a:cubicBezTo>
                    <a:pt x="260" y="68"/>
                    <a:pt x="264" y="58"/>
                    <a:pt x="262" y="57"/>
                  </a:cubicBezTo>
                  <a:cubicBezTo>
                    <a:pt x="266" y="55"/>
                    <a:pt x="258" y="39"/>
                    <a:pt x="256" y="35"/>
                  </a:cubicBezTo>
                  <a:cubicBezTo>
                    <a:pt x="254" y="29"/>
                    <a:pt x="249" y="26"/>
                    <a:pt x="248" y="21"/>
                  </a:cubicBezTo>
                  <a:cubicBezTo>
                    <a:pt x="247" y="16"/>
                    <a:pt x="248" y="11"/>
                    <a:pt x="249" y="6"/>
                  </a:cubicBezTo>
                  <a:cubicBezTo>
                    <a:pt x="249" y="6"/>
                    <a:pt x="250" y="5"/>
                    <a:pt x="250" y="4"/>
                  </a:cubicBezTo>
                  <a:cubicBezTo>
                    <a:pt x="249" y="3"/>
                    <a:pt x="245" y="3"/>
                    <a:pt x="243" y="2"/>
                  </a:cubicBezTo>
                  <a:cubicBezTo>
                    <a:pt x="242" y="2"/>
                    <a:pt x="239"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3" name="Freeform 1159">
              <a:extLst>
                <a:ext uri="{FF2B5EF4-FFF2-40B4-BE49-F238E27FC236}">
                  <a16:creationId xmlns:a16="http://schemas.microsoft.com/office/drawing/2014/main" id="{F1B344F2-1C70-49AD-840B-E272D71FAF70}"/>
                </a:ext>
              </a:extLst>
            </p:cNvPr>
            <p:cNvSpPr>
              <a:spLocks noEditPoints="1"/>
            </p:cNvSpPr>
            <p:nvPr/>
          </p:nvSpPr>
          <p:spPr bwMode="auto">
            <a:xfrm>
              <a:off x="5251217" y="2240361"/>
              <a:ext cx="202693" cy="136918"/>
            </a:xfrm>
            <a:custGeom>
              <a:avLst/>
              <a:gdLst>
                <a:gd name="T0" fmla="*/ 0 w 64"/>
                <a:gd name="T1" fmla="*/ 27 h 43"/>
                <a:gd name="T2" fmla="*/ 0 w 64"/>
                <a:gd name="T3" fmla="*/ 27 h 43"/>
                <a:gd name="T4" fmla="*/ 0 w 64"/>
                <a:gd name="T5" fmla="*/ 27 h 43"/>
                <a:gd name="T6" fmla="*/ 46 w 64"/>
                <a:gd name="T7" fmla="*/ 0 h 43"/>
                <a:gd name="T8" fmla="*/ 37 w 64"/>
                <a:gd name="T9" fmla="*/ 3 h 43"/>
                <a:gd name="T10" fmla="*/ 37 w 64"/>
                <a:gd name="T11" fmla="*/ 9 h 43"/>
                <a:gd name="T12" fmla="*/ 28 w 64"/>
                <a:gd name="T13" fmla="*/ 11 h 43"/>
                <a:gd name="T14" fmla="*/ 25 w 64"/>
                <a:gd name="T15" fmla="*/ 11 h 43"/>
                <a:gd name="T16" fmla="*/ 22 w 64"/>
                <a:gd name="T17" fmla="*/ 6 h 43"/>
                <a:gd name="T18" fmla="*/ 21 w 64"/>
                <a:gd name="T19" fmla="*/ 7 h 43"/>
                <a:gd name="T20" fmla="*/ 17 w 64"/>
                <a:gd name="T21" fmla="*/ 12 h 43"/>
                <a:gd name="T22" fmla="*/ 15 w 64"/>
                <a:gd name="T23" fmla="*/ 16 h 43"/>
                <a:gd name="T24" fmla="*/ 0 w 64"/>
                <a:gd name="T25" fmla="*/ 27 h 43"/>
                <a:gd name="T26" fmla="*/ 4 w 64"/>
                <a:gd name="T27" fmla="*/ 26 h 43"/>
                <a:gd name="T28" fmla="*/ 7 w 64"/>
                <a:gd name="T29" fmla="*/ 24 h 43"/>
                <a:gd name="T30" fmla="*/ 8 w 64"/>
                <a:gd name="T31" fmla="*/ 24 h 43"/>
                <a:gd name="T32" fmla="*/ 9 w 64"/>
                <a:gd name="T33" fmla="*/ 26 h 43"/>
                <a:gd name="T34" fmla="*/ 10 w 64"/>
                <a:gd name="T35" fmla="*/ 28 h 43"/>
                <a:gd name="T36" fmla="*/ 11 w 64"/>
                <a:gd name="T37" fmla="*/ 28 h 43"/>
                <a:gd name="T38" fmla="*/ 9 w 64"/>
                <a:gd name="T39" fmla="*/ 31 h 43"/>
                <a:gd name="T40" fmla="*/ 10 w 64"/>
                <a:gd name="T41" fmla="*/ 34 h 43"/>
                <a:gd name="T42" fmla="*/ 11 w 64"/>
                <a:gd name="T43" fmla="*/ 38 h 43"/>
                <a:gd name="T44" fmla="*/ 13 w 64"/>
                <a:gd name="T45" fmla="*/ 37 h 43"/>
                <a:gd name="T46" fmla="*/ 15 w 64"/>
                <a:gd name="T47" fmla="*/ 42 h 43"/>
                <a:gd name="T48" fmla="*/ 16 w 64"/>
                <a:gd name="T49" fmla="*/ 42 h 43"/>
                <a:gd name="T50" fmla="*/ 19 w 64"/>
                <a:gd name="T51" fmla="*/ 42 h 43"/>
                <a:gd name="T52" fmla="*/ 22 w 64"/>
                <a:gd name="T53" fmla="*/ 43 h 43"/>
                <a:gd name="T54" fmla="*/ 24 w 64"/>
                <a:gd name="T55" fmla="*/ 42 h 43"/>
                <a:gd name="T56" fmla="*/ 23 w 64"/>
                <a:gd name="T57" fmla="*/ 41 h 43"/>
                <a:gd name="T58" fmla="*/ 23 w 64"/>
                <a:gd name="T59" fmla="*/ 39 h 43"/>
                <a:gd name="T60" fmla="*/ 33 w 64"/>
                <a:gd name="T61" fmla="*/ 28 h 43"/>
                <a:gd name="T62" fmla="*/ 41 w 64"/>
                <a:gd name="T63" fmla="*/ 22 h 43"/>
                <a:gd name="T64" fmla="*/ 45 w 64"/>
                <a:gd name="T65" fmla="*/ 23 h 43"/>
                <a:gd name="T66" fmla="*/ 51 w 64"/>
                <a:gd name="T67" fmla="*/ 29 h 43"/>
                <a:gd name="T68" fmla="*/ 64 w 64"/>
                <a:gd name="T69" fmla="*/ 14 h 43"/>
                <a:gd name="T70" fmla="*/ 61 w 64"/>
                <a:gd name="T71" fmla="*/ 10 h 43"/>
                <a:gd name="T72" fmla="*/ 62 w 64"/>
                <a:gd name="T73" fmla="*/ 3 h 43"/>
                <a:gd name="T74" fmla="*/ 61 w 64"/>
                <a:gd name="T75" fmla="*/ 4 h 43"/>
                <a:gd name="T76" fmla="*/ 61 w 64"/>
                <a:gd name="T77" fmla="*/ 3 h 43"/>
                <a:gd name="T78" fmla="*/ 60 w 64"/>
                <a:gd name="T79" fmla="*/ 3 h 43"/>
                <a:gd name="T80" fmla="*/ 60 w 64"/>
                <a:gd name="T81" fmla="*/ 4 h 43"/>
                <a:gd name="T82" fmla="*/ 59 w 64"/>
                <a:gd name="T83" fmla="*/ 4 h 43"/>
                <a:gd name="T84" fmla="*/ 48 w 64"/>
                <a:gd name="T85" fmla="*/ 0 h 43"/>
                <a:gd name="T86" fmla="*/ 46 w 64"/>
                <a:gd name="T8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43">
                  <a:moveTo>
                    <a:pt x="0" y="27"/>
                  </a:moveTo>
                  <a:cubicBezTo>
                    <a:pt x="0" y="27"/>
                    <a:pt x="0" y="27"/>
                    <a:pt x="0" y="27"/>
                  </a:cubicBezTo>
                  <a:cubicBezTo>
                    <a:pt x="0" y="27"/>
                    <a:pt x="0" y="27"/>
                    <a:pt x="0" y="27"/>
                  </a:cubicBezTo>
                  <a:moveTo>
                    <a:pt x="46" y="0"/>
                  </a:moveTo>
                  <a:cubicBezTo>
                    <a:pt x="43" y="0"/>
                    <a:pt x="39" y="2"/>
                    <a:pt x="37" y="3"/>
                  </a:cubicBezTo>
                  <a:cubicBezTo>
                    <a:pt x="39" y="4"/>
                    <a:pt x="38" y="6"/>
                    <a:pt x="37" y="9"/>
                  </a:cubicBezTo>
                  <a:cubicBezTo>
                    <a:pt x="35" y="9"/>
                    <a:pt x="31" y="11"/>
                    <a:pt x="28" y="11"/>
                  </a:cubicBezTo>
                  <a:cubicBezTo>
                    <a:pt x="27" y="11"/>
                    <a:pt x="26" y="11"/>
                    <a:pt x="25" y="11"/>
                  </a:cubicBezTo>
                  <a:cubicBezTo>
                    <a:pt x="24" y="10"/>
                    <a:pt x="24" y="6"/>
                    <a:pt x="22" y="6"/>
                  </a:cubicBezTo>
                  <a:cubicBezTo>
                    <a:pt x="21" y="6"/>
                    <a:pt x="21" y="6"/>
                    <a:pt x="21" y="7"/>
                  </a:cubicBezTo>
                  <a:cubicBezTo>
                    <a:pt x="21" y="7"/>
                    <a:pt x="17" y="11"/>
                    <a:pt x="17" y="12"/>
                  </a:cubicBezTo>
                  <a:cubicBezTo>
                    <a:pt x="16" y="14"/>
                    <a:pt x="17" y="15"/>
                    <a:pt x="15" y="16"/>
                  </a:cubicBezTo>
                  <a:cubicBezTo>
                    <a:pt x="10" y="20"/>
                    <a:pt x="5" y="23"/>
                    <a:pt x="0" y="27"/>
                  </a:cubicBezTo>
                  <a:cubicBezTo>
                    <a:pt x="2" y="26"/>
                    <a:pt x="2" y="26"/>
                    <a:pt x="4" y="26"/>
                  </a:cubicBezTo>
                  <a:cubicBezTo>
                    <a:pt x="5" y="25"/>
                    <a:pt x="6" y="24"/>
                    <a:pt x="7" y="24"/>
                  </a:cubicBezTo>
                  <a:cubicBezTo>
                    <a:pt x="7" y="24"/>
                    <a:pt x="7" y="24"/>
                    <a:pt x="8" y="24"/>
                  </a:cubicBezTo>
                  <a:cubicBezTo>
                    <a:pt x="9" y="24"/>
                    <a:pt x="9" y="25"/>
                    <a:pt x="9" y="26"/>
                  </a:cubicBezTo>
                  <a:cubicBezTo>
                    <a:pt x="9" y="27"/>
                    <a:pt x="9" y="28"/>
                    <a:pt x="10" y="28"/>
                  </a:cubicBezTo>
                  <a:cubicBezTo>
                    <a:pt x="10" y="28"/>
                    <a:pt x="11" y="28"/>
                    <a:pt x="11" y="28"/>
                  </a:cubicBezTo>
                  <a:cubicBezTo>
                    <a:pt x="11" y="29"/>
                    <a:pt x="10" y="30"/>
                    <a:pt x="9" y="31"/>
                  </a:cubicBezTo>
                  <a:cubicBezTo>
                    <a:pt x="11" y="31"/>
                    <a:pt x="11" y="33"/>
                    <a:pt x="10" y="34"/>
                  </a:cubicBezTo>
                  <a:cubicBezTo>
                    <a:pt x="12" y="35"/>
                    <a:pt x="12" y="36"/>
                    <a:pt x="11" y="38"/>
                  </a:cubicBezTo>
                  <a:cubicBezTo>
                    <a:pt x="12" y="38"/>
                    <a:pt x="13" y="37"/>
                    <a:pt x="13" y="37"/>
                  </a:cubicBezTo>
                  <a:cubicBezTo>
                    <a:pt x="15" y="37"/>
                    <a:pt x="15" y="40"/>
                    <a:pt x="15" y="42"/>
                  </a:cubicBezTo>
                  <a:cubicBezTo>
                    <a:pt x="15" y="42"/>
                    <a:pt x="16" y="42"/>
                    <a:pt x="16" y="42"/>
                  </a:cubicBezTo>
                  <a:cubicBezTo>
                    <a:pt x="17" y="42"/>
                    <a:pt x="18" y="42"/>
                    <a:pt x="19" y="42"/>
                  </a:cubicBezTo>
                  <a:cubicBezTo>
                    <a:pt x="21" y="43"/>
                    <a:pt x="22" y="43"/>
                    <a:pt x="22" y="43"/>
                  </a:cubicBezTo>
                  <a:cubicBezTo>
                    <a:pt x="23" y="43"/>
                    <a:pt x="24" y="43"/>
                    <a:pt x="24" y="42"/>
                  </a:cubicBezTo>
                  <a:cubicBezTo>
                    <a:pt x="24" y="42"/>
                    <a:pt x="23" y="41"/>
                    <a:pt x="23" y="41"/>
                  </a:cubicBezTo>
                  <a:cubicBezTo>
                    <a:pt x="23" y="40"/>
                    <a:pt x="23" y="40"/>
                    <a:pt x="23" y="39"/>
                  </a:cubicBezTo>
                  <a:cubicBezTo>
                    <a:pt x="24" y="35"/>
                    <a:pt x="29" y="31"/>
                    <a:pt x="33" y="28"/>
                  </a:cubicBezTo>
                  <a:cubicBezTo>
                    <a:pt x="36" y="25"/>
                    <a:pt x="38" y="22"/>
                    <a:pt x="41" y="22"/>
                  </a:cubicBezTo>
                  <a:cubicBezTo>
                    <a:pt x="43" y="22"/>
                    <a:pt x="44" y="22"/>
                    <a:pt x="45" y="23"/>
                  </a:cubicBezTo>
                  <a:cubicBezTo>
                    <a:pt x="48" y="24"/>
                    <a:pt x="48" y="28"/>
                    <a:pt x="51" y="29"/>
                  </a:cubicBezTo>
                  <a:cubicBezTo>
                    <a:pt x="52" y="21"/>
                    <a:pt x="59" y="18"/>
                    <a:pt x="64" y="14"/>
                  </a:cubicBezTo>
                  <a:cubicBezTo>
                    <a:pt x="63" y="14"/>
                    <a:pt x="64" y="10"/>
                    <a:pt x="61" y="10"/>
                  </a:cubicBezTo>
                  <a:cubicBezTo>
                    <a:pt x="61" y="8"/>
                    <a:pt x="62" y="5"/>
                    <a:pt x="62" y="3"/>
                  </a:cubicBezTo>
                  <a:cubicBezTo>
                    <a:pt x="62" y="3"/>
                    <a:pt x="62" y="3"/>
                    <a:pt x="61" y="4"/>
                  </a:cubicBezTo>
                  <a:cubicBezTo>
                    <a:pt x="61" y="3"/>
                    <a:pt x="61" y="3"/>
                    <a:pt x="61" y="3"/>
                  </a:cubicBezTo>
                  <a:cubicBezTo>
                    <a:pt x="61" y="3"/>
                    <a:pt x="61" y="3"/>
                    <a:pt x="60" y="3"/>
                  </a:cubicBezTo>
                  <a:cubicBezTo>
                    <a:pt x="60" y="3"/>
                    <a:pt x="60" y="4"/>
                    <a:pt x="60" y="4"/>
                  </a:cubicBezTo>
                  <a:cubicBezTo>
                    <a:pt x="60" y="4"/>
                    <a:pt x="60" y="4"/>
                    <a:pt x="59" y="4"/>
                  </a:cubicBezTo>
                  <a:cubicBezTo>
                    <a:pt x="55" y="3"/>
                    <a:pt x="52" y="2"/>
                    <a:pt x="48" y="0"/>
                  </a:cubicBezTo>
                  <a:cubicBezTo>
                    <a:pt x="47" y="0"/>
                    <a:pt x="47"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4" name="Freeform 1160">
              <a:extLst>
                <a:ext uri="{FF2B5EF4-FFF2-40B4-BE49-F238E27FC236}">
                  <a16:creationId xmlns:a16="http://schemas.microsoft.com/office/drawing/2014/main" id="{A2BEF24F-0F83-4E8E-8C9F-74E71213F660}"/>
                </a:ext>
              </a:extLst>
            </p:cNvPr>
            <p:cNvSpPr>
              <a:spLocks/>
            </p:cNvSpPr>
            <p:nvPr/>
          </p:nvSpPr>
          <p:spPr bwMode="auto">
            <a:xfrm>
              <a:off x="4746499" y="3014889"/>
              <a:ext cx="12081" cy="9396"/>
            </a:xfrm>
            <a:custGeom>
              <a:avLst/>
              <a:gdLst>
                <a:gd name="T0" fmla="*/ 1 w 4"/>
                <a:gd name="T1" fmla="*/ 0 h 3"/>
                <a:gd name="T2" fmla="*/ 2 w 4"/>
                <a:gd name="T3" fmla="*/ 3 h 3"/>
                <a:gd name="T4" fmla="*/ 4 w 4"/>
                <a:gd name="T5" fmla="*/ 3 h 3"/>
                <a:gd name="T6" fmla="*/ 1 w 4"/>
                <a:gd name="T7" fmla="*/ 0 h 3"/>
              </a:gdLst>
              <a:ahLst/>
              <a:cxnLst>
                <a:cxn ang="0">
                  <a:pos x="T0" y="T1"/>
                </a:cxn>
                <a:cxn ang="0">
                  <a:pos x="T2" y="T3"/>
                </a:cxn>
                <a:cxn ang="0">
                  <a:pos x="T4" y="T5"/>
                </a:cxn>
                <a:cxn ang="0">
                  <a:pos x="T6" y="T7"/>
                </a:cxn>
              </a:cxnLst>
              <a:rect l="0" t="0" r="r" b="b"/>
              <a:pathLst>
                <a:path w="4" h="3">
                  <a:moveTo>
                    <a:pt x="1" y="0"/>
                  </a:moveTo>
                  <a:cubicBezTo>
                    <a:pt x="0" y="3"/>
                    <a:pt x="0" y="3"/>
                    <a:pt x="2" y="3"/>
                  </a:cubicBezTo>
                  <a:cubicBezTo>
                    <a:pt x="2" y="3"/>
                    <a:pt x="3" y="3"/>
                    <a:pt x="4" y="3"/>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5" name="Freeform 1161">
              <a:extLst>
                <a:ext uri="{FF2B5EF4-FFF2-40B4-BE49-F238E27FC236}">
                  <a16:creationId xmlns:a16="http://schemas.microsoft.com/office/drawing/2014/main" id="{5A1100E8-3FEF-4108-8A97-9C74E169DB0C}"/>
                </a:ext>
              </a:extLst>
            </p:cNvPr>
            <p:cNvSpPr>
              <a:spLocks/>
            </p:cNvSpPr>
            <p:nvPr/>
          </p:nvSpPr>
          <p:spPr bwMode="auto">
            <a:xfrm>
              <a:off x="5919700" y="1263140"/>
              <a:ext cx="4027" cy="13423"/>
            </a:xfrm>
            <a:custGeom>
              <a:avLst/>
              <a:gdLst>
                <a:gd name="T0" fmla="*/ 0 w 1"/>
                <a:gd name="T1" fmla="*/ 0 h 4"/>
                <a:gd name="T2" fmla="*/ 1 w 1"/>
                <a:gd name="T3" fmla="*/ 4 h 4"/>
                <a:gd name="T4" fmla="*/ 0 w 1"/>
                <a:gd name="T5" fmla="*/ 0 h 4"/>
              </a:gdLst>
              <a:ahLst/>
              <a:cxnLst>
                <a:cxn ang="0">
                  <a:pos x="T0" y="T1"/>
                </a:cxn>
                <a:cxn ang="0">
                  <a:pos x="T2" y="T3"/>
                </a:cxn>
                <a:cxn ang="0">
                  <a:pos x="T4" y="T5"/>
                </a:cxn>
              </a:cxnLst>
              <a:rect l="0" t="0" r="r" b="b"/>
              <a:pathLst>
                <a:path w="1" h="4">
                  <a:moveTo>
                    <a:pt x="0" y="0"/>
                  </a:moveTo>
                  <a:cubicBezTo>
                    <a:pt x="1" y="1"/>
                    <a:pt x="0" y="3"/>
                    <a:pt x="1" y="4"/>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6" name="Freeform 1162">
              <a:extLst>
                <a:ext uri="{FF2B5EF4-FFF2-40B4-BE49-F238E27FC236}">
                  <a16:creationId xmlns:a16="http://schemas.microsoft.com/office/drawing/2014/main" id="{8428A764-E209-43E2-A8D0-6FB9737DA27F}"/>
                </a:ext>
              </a:extLst>
            </p:cNvPr>
            <p:cNvSpPr>
              <a:spLocks/>
            </p:cNvSpPr>
            <p:nvPr/>
          </p:nvSpPr>
          <p:spPr bwMode="auto">
            <a:xfrm>
              <a:off x="5000200" y="2370568"/>
              <a:ext cx="18793" cy="16108"/>
            </a:xfrm>
            <a:custGeom>
              <a:avLst/>
              <a:gdLst>
                <a:gd name="T0" fmla="*/ 4 w 6"/>
                <a:gd name="T1" fmla="*/ 0 h 5"/>
                <a:gd name="T2" fmla="*/ 0 w 6"/>
                <a:gd name="T3" fmla="*/ 2 h 5"/>
                <a:gd name="T4" fmla="*/ 1 w 6"/>
                <a:gd name="T5" fmla="*/ 5 h 5"/>
                <a:gd name="T6" fmla="*/ 3 w 6"/>
                <a:gd name="T7" fmla="*/ 5 h 5"/>
                <a:gd name="T8" fmla="*/ 6 w 6"/>
                <a:gd name="T9" fmla="*/ 4 h 5"/>
                <a:gd name="T10" fmla="*/ 6 w 6"/>
                <a:gd name="T11" fmla="*/ 4 h 5"/>
                <a:gd name="T12" fmla="*/ 4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4" y="0"/>
                  </a:moveTo>
                  <a:cubicBezTo>
                    <a:pt x="2" y="1"/>
                    <a:pt x="1" y="2"/>
                    <a:pt x="0" y="2"/>
                  </a:cubicBezTo>
                  <a:cubicBezTo>
                    <a:pt x="0" y="5"/>
                    <a:pt x="0" y="5"/>
                    <a:pt x="1" y="5"/>
                  </a:cubicBezTo>
                  <a:cubicBezTo>
                    <a:pt x="2" y="5"/>
                    <a:pt x="3" y="5"/>
                    <a:pt x="3" y="5"/>
                  </a:cubicBezTo>
                  <a:cubicBezTo>
                    <a:pt x="4" y="4"/>
                    <a:pt x="5" y="4"/>
                    <a:pt x="6" y="4"/>
                  </a:cubicBezTo>
                  <a:cubicBezTo>
                    <a:pt x="6" y="4"/>
                    <a:pt x="6" y="4"/>
                    <a:pt x="6" y="4"/>
                  </a:cubicBezTo>
                  <a:cubicBezTo>
                    <a:pt x="5" y="2"/>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7" name="Freeform 1163">
              <a:extLst>
                <a:ext uri="{FF2B5EF4-FFF2-40B4-BE49-F238E27FC236}">
                  <a16:creationId xmlns:a16="http://schemas.microsoft.com/office/drawing/2014/main" id="{824E2098-BBFD-45C1-B185-20745ADA6758}"/>
                </a:ext>
              </a:extLst>
            </p:cNvPr>
            <p:cNvSpPr>
              <a:spLocks/>
            </p:cNvSpPr>
            <p:nvPr/>
          </p:nvSpPr>
          <p:spPr bwMode="auto">
            <a:xfrm>
              <a:off x="5161281" y="2532991"/>
              <a:ext cx="20135" cy="37585"/>
            </a:xfrm>
            <a:custGeom>
              <a:avLst/>
              <a:gdLst>
                <a:gd name="T0" fmla="*/ 6 w 6"/>
                <a:gd name="T1" fmla="*/ 0 h 12"/>
                <a:gd name="T2" fmla="*/ 3 w 6"/>
                <a:gd name="T3" fmla="*/ 7 h 12"/>
                <a:gd name="T4" fmla="*/ 1 w 6"/>
                <a:gd name="T5" fmla="*/ 12 h 12"/>
                <a:gd name="T6" fmla="*/ 6 w 6"/>
                <a:gd name="T7" fmla="*/ 0 h 12"/>
              </a:gdLst>
              <a:ahLst/>
              <a:cxnLst>
                <a:cxn ang="0">
                  <a:pos x="T0" y="T1"/>
                </a:cxn>
                <a:cxn ang="0">
                  <a:pos x="T2" y="T3"/>
                </a:cxn>
                <a:cxn ang="0">
                  <a:pos x="T4" y="T5"/>
                </a:cxn>
                <a:cxn ang="0">
                  <a:pos x="T6" y="T7"/>
                </a:cxn>
              </a:cxnLst>
              <a:rect l="0" t="0" r="r" b="b"/>
              <a:pathLst>
                <a:path w="6" h="12">
                  <a:moveTo>
                    <a:pt x="6" y="0"/>
                  </a:moveTo>
                  <a:cubicBezTo>
                    <a:pt x="3" y="3"/>
                    <a:pt x="4" y="4"/>
                    <a:pt x="3" y="7"/>
                  </a:cubicBezTo>
                  <a:cubicBezTo>
                    <a:pt x="2" y="9"/>
                    <a:pt x="0" y="10"/>
                    <a:pt x="1" y="12"/>
                  </a:cubicBezTo>
                  <a:cubicBezTo>
                    <a:pt x="3" y="8"/>
                    <a:pt x="4"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8" name="Freeform 1164">
              <a:extLst>
                <a:ext uri="{FF2B5EF4-FFF2-40B4-BE49-F238E27FC236}">
                  <a16:creationId xmlns:a16="http://schemas.microsoft.com/office/drawing/2014/main" id="{700EC46A-C69D-4099-95CA-5FB13E60F1C9}"/>
                </a:ext>
              </a:extLst>
            </p:cNvPr>
            <p:cNvSpPr>
              <a:spLocks/>
            </p:cNvSpPr>
            <p:nvPr/>
          </p:nvSpPr>
          <p:spPr bwMode="auto">
            <a:xfrm>
              <a:off x="5016308" y="2770584"/>
              <a:ext cx="5369" cy="18793"/>
            </a:xfrm>
            <a:custGeom>
              <a:avLst/>
              <a:gdLst>
                <a:gd name="T0" fmla="*/ 2 w 2"/>
                <a:gd name="T1" fmla="*/ 0 h 6"/>
                <a:gd name="T2" fmla="*/ 2 w 2"/>
                <a:gd name="T3" fmla="*/ 6 h 6"/>
                <a:gd name="T4" fmla="*/ 2 w 2"/>
                <a:gd name="T5" fmla="*/ 0 h 6"/>
              </a:gdLst>
              <a:ahLst/>
              <a:cxnLst>
                <a:cxn ang="0">
                  <a:pos x="T0" y="T1"/>
                </a:cxn>
                <a:cxn ang="0">
                  <a:pos x="T2" y="T3"/>
                </a:cxn>
                <a:cxn ang="0">
                  <a:pos x="T4" y="T5"/>
                </a:cxn>
              </a:cxnLst>
              <a:rect l="0" t="0" r="r" b="b"/>
              <a:pathLst>
                <a:path w="2" h="6">
                  <a:moveTo>
                    <a:pt x="2" y="0"/>
                  </a:moveTo>
                  <a:cubicBezTo>
                    <a:pt x="0" y="2"/>
                    <a:pt x="0" y="5"/>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9" name="Freeform 1165">
              <a:extLst>
                <a:ext uri="{FF2B5EF4-FFF2-40B4-BE49-F238E27FC236}">
                  <a16:creationId xmlns:a16="http://schemas.microsoft.com/office/drawing/2014/main" id="{DA42C8BE-D625-45DD-A817-DF1DA652A506}"/>
                </a:ext>
              </a:extLst>
            </p:cNvPr>
            <p:cNvSpPr>
              <a:spLocks/>
            </p:cNvSpPr>
            <p:nvPr/>
          </p:nvSpPr>
          <p:spPr bwMode="auto">
            <a:xfrm>
              <a:off x="5041813" y="2749107"/>
              <a:ext cx="9396" cy="9396"/>
            </a:xfrm>
            <a:custGeom>
              <a:avLst/>
              <a:gdLst>
                <a:gd name="T0" fmla="*/ 0 w 3"/>
                <a:gd name="T1" fmla="*/ 0 h 3"/>
                <a:gd name="T2" fmla="*/ 3 w 3"/>
                <a:gd name="T3" fmla="*/ 3 h 3"/>
                <a:gd name="T4" fmla="*/ 3 w 3"/>
                <a:gd name="T5" fmla="*/ 3 h 3"/>
                <a:gd name="T6" fmla="*/ 0 w 3"/>
                <a:gd name="T7" fmla="*/ 0 h 3"/>
              </a:gdLst>
              <a:ahLst/>
              <a:cxnLst>
                <a:cxn ang="0">
                  <a:pos x="T0" y="T1"/>
                </a:cxn>
                <a:cxn ang="0">
                  <a:pos x="T2" y="T3"/>
                </a:cxn>
                <a:cxn ang="0">
                  <a:pos x="T4" y="T5"/>
                </a:cxn>
                <a:cxn ang="0">
                  <a:pos x="T6" y="T7"/>
                </a:cxn>
              </a:cxnLst>
              <a:rect l="0" t="0" r="r" b="b"/>
              <a:pathLst>
                <a:path w="3" h="3">
                  <a:moveTo>
                    <a:pt x="0" y="0"/>
                  </a:moveTo>
                  <a:cubicBezTo>
                    <a:pt x="0" y="2"/>
                    <a:pt x="1" y="3"/>
                    <a:pt x="3" y="3"/>
                  </a:cubicBezTo>
                  <a:cubicBezTo>
                    <a:pt x="3" y="3"/>
                    <a:pt x="3"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0" name="Freeform 1166">
              <a:extLst>
                <a:ext uri="{FF2B5EF4-FFF2-40B4-BE49-F238E27FC236}">
                  <a16:creationId xmlns:a16="http://schemas.microsoft.com/office/drawing/2014/main" id="{032A5A40-576A-406F-8C1A-7B9B2158C09C}"/>
                </a:ext>
              </a:extLst>
            </p:cNvPr>
            <p:cNvSpPr>
              <a:spLocks/>
            </p:cNvSpPr>
            <p:nvPr/>
          </p:nvSpPr>
          <p:spPr bwMode="auto">
            <a:xfrm>
              <a:off x="6005610" y="2865890"/>
              <a:ext cx="4027" cy="9396"/>
            </a:xfrm>
            <a:custGeom>
              <a:avLst/>
              <a:gdLst>
                <a:gd name="T0" fmla="*/ 0 w 1"/>
                <a:gd name="T1" fmla="*/ 0 h 3"/>
                <a:gd name="T2" fmla="*/ 1 w 1"/>
                <a:gd name="T3" fmla="*/ 3 h 3"/>
                <a:gd name="T4" fmla="*/ 1 w 1"/>
                <a:gd name="T5" fmla="*/ 3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1"/>
                    <a:pt x="1" y="2"/>
                    <a:pt x="1" y="3"/>
                  </a:cubicBezTo>
                  <a:cubicBezTo>
                    <a:pt x="1" y="3"/>
                    <a:pt x="1" y="3"/>
                    <a:pt x="1" y="3"/>
                  </a:cubicBezTo>
                  <a:cubicBezTo>
                    <a:pt x="1" y="3"/>
                    <a:pt x="1" y="3"/>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1" name="Freeform 1167">
              <a:extLst>
                <a:ext uri="{FF2B5EF4-FFF2-40B4-BE49-F238E27FC236}">
                  <a16:creationId xmlns:a16="http://schemas.microsoft.com/office/drawing/2014/main" id="{A2D7D6F9-D492-4522-BE4B-45A614305BAF}"/>
                </a:ext>
              </a:extLst>
            </p:cNvPr>
            <p:cNvSpPr>
              <a:spLocks/>
            </p:cNvSpPr>
            <p:nvPr/>
          </p:nvSpPr>
          <p:spPr bwMode="auto">
            <a:xfrm>
              <a:off x="5025705" y="2349090"/>
              <a:ext cx="9396" cy="18793"/>
            </a:xfrm>
            <a:custGeom>
              <a:avLst/>
              <a:gdLst>
                <a:gd name="T0" fmla="*/ 3 w 3"/>
                <a:gd name="T1" fmla="*/ 0 h 6"/>
                <a:gd name="T2" fmla="*/ 0 w 3"/>
                <a:gd name="T3" fmla="*/ 3 h 6"/>
                <a:gd name="T4" fmla="*/ 1 w 3"/>
                <a:gd name="T5" fmla="*/ 6 h 6"/>
                <a:gd name="T6" fmla="*/ 3 w 3"/>
                <a:gd name="T7" fmla="*/ 0 h 6"/>
              </a:gdLst>
              <a:ahLst/>
              <a:cxnLst>
                <a:cxn ang="0">
                  <a:pos x="T0" y="T1"/>
                </a:cxn>
                <a:cxn ang="0">
                  <a:pos x="T2" y="T3"/>
                </a:cxn>
                <a:cxn ang="0">
                  <a:pos x="T4" y="T5"/>
                </a:cxn>
                <a:cxn ang="0">
                  <a:pos x="T6" y="T7"/>
                </a:cxn>
              </a:cxnLst>
              <a:rect l="0" t="0" r="r" b="b"/>
              <a:pathLst>
                <a:path w="3" h="6">
                  <a:moveTo>
                    <a:pt x="3" y="0"/>
                  </a:moveTo>
                  <a:cubicBezTo>
                    <a:pt x="0" y="3"/>
                    <a:pt x="0" y="3"/>
                    <a:pt x="0" y="3"/>
                  </a:cubicBezTo>
                  <a:cubicBezTo>
                    <a:pt x="0" y="4"/>
                    <a:pt x="2" y="5"/>
                    <a:pt x="1" y="6"/>
                  </a:cubicBezTo>
                  <a:cubicBezTo>
                    <a:pt x="2"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2" name="Freeform 1168">
              <a:extLst>
                <a:ext uri="{FF2B5EF4-FFF2-40B4-BE49-F238E27FC236}">
                  <a16:creationId xmlns:a16="http://schemas.microsoft.com/office/drawing/2014/main" id="{D62D4DA8-04DB-456D-96C8-6CCF76D7E078}"/>
                </a:ext>
              </a:extLst>
            </p:cNvPr>
            <p:cNvSpPr>
              <a:spLocks/>
            </p:cNvSpPr>
            <p:nvPr/>
          </p:nvSpPr>
          <p:spPr bwMode="auto">
            <a:xfrm>
              <a:off x="5333100" y="2072569"/>
              <a:ext cx="18793" cy="12081"/>
            </a:xfrm>
            <a:custGeom>
              <a:avLst/>
              <a:gdLst>
                <a:gd name="T0" fmla="*/ 4 w 6"/>
                <a:gd name="T1" fmla="*/ 0 h 4"/>
                <a:gd name="T2" fmla="*/ 4 w 6"/>
                <a:gd name="T3" fmla="*/ 4 h 4"/>
                <a:gd name="T4" fmla="*/ 4 w 6"/>
                <a:gd name="T5" fmla="*/ 0 h 4"/>
              </a:gdLst>
              <a:ahLst/>
              <a:cxnLst>
                <a:cxn ang="0">
                  <a:pos x="T0" y="T1"/>
                </a:cxn>
                <a:cxn ang="0">
                  <a:pos x="T2" y="T3"/>
                </a:cxn>
                <a:cxn ang="0">
                  <a:pos x="T4" y="T5"/>
                </a:cxn>
              </a:cxnLst>
              <a:rect l="0" t="0" r="r" b="b"/>
              <a:pathLst>
                <a:path w="6" h="4">
                  <a:moveTo>
                    <a:pt x="4" y="0"/>
                  </a:moveTo>
                  <a:cubicBezTo>
                    <a:pt x="0" y="2"/>
                    <a:pt x="3" y="4"/>
                    <a:pt x="4" y="4"/>
                  </a:cubicBezTo>
                  <a:cubicBezTo>
                    <a:pt x="5"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3" name="Freeform 1169">
              <a:extLst>
                <a:ext uri="{FF2B5EF4-FFF2-40B4-BE49-F238E27FC236}">
                  <a16:creationId xmlns:a16="http://schemas.microsoft.com/office/drawing/2014/main" id="{95EC6087-ABE8-4F25-95C6-3540F1C58343}"/>
                </a:ext>
              </a:extLst>
            </p:cNvPr>
            <p:cNvSpPr>
              <a:spLocks/>
            </p:cNvSpPr>
            <p:nvPr/>
          </p:nvSpPr>
          <p:spPr bwMode="auto">
            <a:xfrm>
              <a:off x="5440486" y="2225595"/>
              <a:ext cx="32216" cy="28189"/>
            </a:xfrm>
            <a:custGeom>
              <a:avLst/>
              <a:gdLst>
                <a:gd name="T0" fmla="*/ 10 w 10"/>
                <a:gd name="T1" fmla="*/ 0 h 9"/>
                <a:gd name="T2" fmla="*/ 5 w 10"/>
                <a:gd name="T3" fmla="*/ 9 h 9"/>
                <a:gd name="T4" fmla="*/ 8 w 10"/>
                <a:gd name="T5" fmla="*/ 8 h 9"/>
                <a:gd name="T6" fmla="*/ 8 w 10"/>
                <a:gd name="T7" fmla="*/ 5 h 9"/>
                <a:gd name="T8" fmla="*/ 10 w 10"/>
                <a:gd name="T9" fmla="*/ 0 h 9"/>
              </a:gdLst>
              <a:ahLst/>
              <a:cxnLst>
                <a:cxn ang="0">
                  <a:pos x="T0" y="T1"/>
                </a:cxn>
                <a:cxn ang="0">
                  <a:pos x="T2" y="T3"/>
                </a:cxn>
                <a:cxn ang="0">
                  <a:pos x="T4" y="T5"/>
                </a:cxn>
                <a:cxn ang="0">
                  <a:pos x="T6" y="T7"/>
                </a:cxn>
                <a:cxn ang="0">
                  <a:pos x="T8" y="T9"/>
                </a:cxn>
              </a:cxnLst>
              <a:rect l="0" t="0" r="r" b="b"/>
              <a:pathLst>
                <a:path w="10" h="9">
                  <a:moveTo>
                    <a:pt x="10" y="0"/>
                  </a:moveTo>
                  <a:cubicBezTo>
                    <a:pt x="9" y="1"/>
                    <a:pt x="0" y="9"/>
                    <a:pt x="5" y="9"/>
                  </a:cubicBezTo>
                  <a:cubicBezTo>
                    <a:pt x="6" y="9"/>
                    <a:pt x="8" y="8"/>
                    <a:pt x="8" y="8"/>
                  </a:cubicBezTo>
                  <a:cubicBezTo>
                    <a:pt x="10" y="6"/>
                    <a:pt x="8" y="7"/>
                    <a:pt x="8" y="5"/>
                  </a:cubicBezTo>
                  <a:cubicBezTo>
                    <a:pt x="8" y="3"/>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4" name="Freeform 1170">
              <a:extLst>
                <a:ext uri="{FF2B5EF4-FFF2-40B4-BE49-F238E27FC236}">
                  <a16:creationId xmlns:a16="http://schemas.microsoft.com/office/drawing/2014/main" id="{AE7EF03E-7AC3-4348-A62E-8F2A4ACE2650}"/>
                </a:ext>
              </a:extLst>
            </p:cNvPr>
            <p:cNvSpPr>
              <a:spLocks/>
            </p:cNvSpPr>
            <p:nvPr/>
          </p:nvSpPr>
          <p:spPr bwMode="auto">
            <a:xfrm>
              <a:off x="4923687" y="2859178"/>
              <a:ext cx="44297" cy="57720"/>
            </a:xfrm>
            <a:custGeom>
              <a:avLst/>
              <a:gdLst>
                <a:gd name="T0" fmla="*/ 14 w 14"/>
                <a:gd name="T1" fmla="*/ 0 h 18"/>
                <a:gd name="T2" fmla="*/ 12 w 14"/>
                <a:gd name="T3" fmla="*/ 2 h 18"/>
                <a:gd name="T4" fmla="*/ 11 w 14"/>
                <a:gd name="T5" fmla="*/ 4 h 18"/>
                <a:gd name="T6" fmla="*/ 10 w 14"/>
                <a:gd name="T7" fmla="*/ 4 h 18"/>
                <a:gd name="T8" fmla="*/ 9 w 14"/>
                <a:gd name="T9" fmla="*/ 3 h 18"/>
                <a:gd name="T10" fmla="*/ 8 w 14"/>
                <a:gd name="T11" fmla="*/ 3 h 18"/>
                <a:gd name="T12" fmla="*/ 8 w 14"/>
                <a:gd name="T13" fmla="*/ 3 h 18"/>
                <a:gd name="T14" fmla="*/ 7 w 14"/>
                <a:gd name="T15" fmla="*/ 5 h 18"/>
                <a:gd name="T16" fmla="*/ 6 w 14"/>
                <a:gd name="T17" fmla="*/ 7 h 18"/>
                <a:gd name="T18" fmla="*/ 4 w 14"/>
                <a:gd name="T19" fmla="*/ 9 h 18"/>
                <a:gd name="T20" fmla="*/ 2 w 14"/>
                <a:gd name="T21" fmla="*/ 11 h 18"/>
                <a:gd name="T22" fmla="*/ 2 w 14"/>
                <a:gd name="T23" fmla="*/ 14 h 18"/>
                <a:gd name="T24" fmla="*/ 1 w 14"/>
                <a:gd name="T25" fmla="*/ 18 h 18"/>
                <a:gd name="T26" fmla="*/ 9 w 14"/>
                <a:gd name="T27" fmla="*/ 8 h 18"/>
                <a:gd name="T28" fmla="*/ 14 w 14"/>
                <a:gd name="T2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8">
                  <a:moveTo>
                    <a:pt x="14" y="0"/>
                  </a:moveTo>
                  <a:cubicBezTo>
                    <a:pt x="13" y="1"/>
                    <a:pt x="12" y="2"/>
                    <a:pt x="12" y="2"/>
                  </a:cubicBezTo>
                  <a:cubicBezTo>
                    <a:pt x="11" y="3"/>
                    <a:pt x="11" y="4"/>
                    <a:pt x="11" y="4"/>
                  </a:cubicBezTo>
                  <a:cubicBezTo>
                    <a:pt x="11" y="4"/>
                    <a:pt x="10" y="4"/>
                    <a:pt x="10" y="4"/>
                  </a:cubicBezTo>
                  <a:cubicBezTo>
                    <a:pt x="10" y="4"/>
                    <a:pt x="9" y="4"/>
                    <a:pt x="9" y="3"/>
                  </a:cubicBezTo>
                  <a:cubicBezTo>
                    <a:pt x="9" y="3"/>
                    <a:pt x="8" y="3"/>
                    <a:pt x="8" y="3"/>
                  </a:cubicBezTo>
                  <a:cubicBezTo>
                    <a:pt x="8" y="3"/>
                    <a:pt x="8" y="3"/>
                    <a:pt x="8" y="3"/>
                  </a:cubicBezTo>
                  <a:cubicBezTo>
                    <a:pt x="6" y="3"/>
                    <a:pt x="5" y="4"/>
                    <a:pt x="7" y="5"/>
                  </a:cubicBezTo>
                  <a:cubicBezTo>
                    <a:pt x="9" y="6"/>
                    <a:pt x="7" y="6"/>
                    <a:pt x="6" y="7"/>
                  </a:cubicBezTo>
                  <a:cubicBezTo>
                    <a:pt x="6" y="8"/>
                    <a:pt x="5" y="9"/>
                    <a:pt x="4" y="9"/>
                  </a:cubicBezTo>
                  <a:cubicBezTo>
                    <a:pt x="2" y="10"/>
                    <a:pt x="3" y="9"/>
                    <a:pt x="2" y="11"/>
                  </a:cubicBezTo>
                  <a:cubicBezTo>
                    <a:pt x="2" y="11"/>
                    <a:pt x="2" y="13"/>
                    <a:pt x="2" y="14"/>
                  </a:cubicBezTo>
                  <a:cubicBezTo>
                    <a:pt x="1" y="16"/>
                    <a:pt x="0" y="14"/>
                    <a:pt x="1" y="18"/>
                  </a:cubicBezTo>
                  <a:cubicBezTo>
                    <a:pt x="4" y="15"/>
                    <a:pt x="6" y="12"/>
                    <a:pt x="9" y="8"/>
                  </a:cubicBezTo>
                  <a:cubicBezTo>
                    <a:pt x="10" y="6"/>
                    <a:pt x="13" y="3"/>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5" name="Freeform 1171">
              <a:extLst>
                <a:ext uri="{FF2B5EF4-FFF2-40B4-BE49-F238E27FC236}">
                  <a16:creationId xmlns:a16="http://schemas.microsoft.com/office/drawing/2014/main" id="{FB899B66-81D1-4BA8-958F-40933AB248F8}"/>
                </a:ext>
              </a:extLst>
            </p:cNvPr>
            <p:cNvSpPr>
              <a:spLocks/>
            </p:cNvSpPr>
            <p:nvPr/>
          </p:nvSpPr>
          <p:spPr bwMode="auto">
            <a:xfrm>
              <a:off x="4993489" y="2809512"/>
              <a:ext cx="9396" cy="2685"/>
            </a:xfrm>
            <a:custGeom>
              <a:avLst/>
              <a:gdLst>
                <a:gd name="T0" fmla="*/ 3 w 3"/>
                <a:gd name="T1" fmla="*/ 0 h 1"/>
                <a:gd name="T2" fmla="*/ 0 w 3"/>
                <a:gd name="T3" fmla="*/ 1 h 1"/>
                <a:gd name="T4" fmla="*/ 1 w 3"/>
                <a:gd name="T5" fmla="*/ 1 h 1"/>
                <a:gd name="T6" fmla="*/ 3 w 3"/>
                <a:gd name="T7" fmla="*/ 0 h 1"/>
              </a:gdLst>
              <a:ahLst/>
              <a:cxnLst>
                <a:cxn ang="0">
                  <a:pos x="T0" y="T1"/>
                </a:cxn>
                <a:cxn ang="0">
                  <a:pos x="T2" y="T3"/>
                </a:cxn>
                <a:cxn ang="0">
                  <a:pos x="T4" y="T5"/>
                </a:cxn>
                <a:cxn ang="0">
                  <a:pos x="T6" y="T7"/>
                </a:cxn>
              </a:cxnLst>
              <a:rect l="0" t="0" r="r" b="b"/>
              <a:pathLst>
                <a:path w="3" h="1">
                  <a:moveTo>
                    <a:pt x="3" y="0"/>
                  </a:moveTo>
                  <a:cubicBezTo>
                    <a:pt x="2" y="0"/>
                    <a:pt x="1" y="0"/>
                    <a:pt x="0" y="1"/>
                  </a:cubicBezTo>
                  <a:cubicBezTo>
                    <a:pt x="0" y="1"/>
                    <a:pt x="1" y="1"/>
                    <a:pt x="1" y="1"/>
                  </a:cubicBezTo>
                  <a:cubicBezTo>
                    <a:pt x="2" y="1"/>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6" name="Freeform 1172">
              <a:extLst>
                <a:ext uri="{FF2B5EF4-FFF2-40B4-BE49-F238E27FC236}">
                  <a16:creationId xmlns:a16="http://schemas.microsoft.com/office/drawing/2014/main" id="{67467B3A-0A5A-47AF-81D4-A283D1767910}"/>
                </a:ext>
              </a:extLst>
            </p:cNvPr>
            <p:cNvSpPr>
              <a:spLocks/>
            </p:cNvSpPr>
            <p:nvPr/>
          </p:nvSpPr>
          <p:spPr bwMode="auto">
            <a:xfrm>
              <a:off x="5929097" y="1281933"/>
              <a:ext cx="16108" cy="13423"/>
            </a:xfrm>
            <a:custGeom>
              <a:avLst/>
              <a:gdLst>
                <a:gd name="T0" fmla="*/ 2 w 5"/>
                <a:gd name="T1" fmla="*/ 0 h 4"/>
                <a:gd name="T2" fmla="*/ 4 w 5"/>
                <a:gd name="T3" fmla="*/ 4 h 4"/>
                <a:gd name="T4" fmla="*/ 2 w 5"/>
                <a:gd name="T5" fmla="*/ 0 h 4"/>
              </a:gdLst>
              <a:ahLst/>
              <a:cxnLst>
                <a:cxn ang="0">
                  <a:pos x="T0" y="T1"/>
                </a:cxn>
                <a:cxn ang="0">
                  <a:pos x="T2" y="T3"/>
                </a:cxn>
                <a:cxn ang="0">
                  <a:pos x="T4" y="T5"/>
                </a:cxn>
              </a:cxnLst>
              <a:rect l="0" t="0" r="r" b="b"/>
              <a:pathLst>
                <a:path w="5" h="4">
                  <a:moveTo>
                    <a:pt x="2" y="0"/>
                  </a:moveTo>
                  <a:cubicBezTo>
                    <a:pt x="0" y="2"/>
                    <a:pt x="2" y="4"/>
                    <a:pt x="4" y="4"/>
                  </a:cubicBezTo>
                  <a:cubicBezTo>
                    <a:pt x="5" y="4"/>
                    <a:pt x="5"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7" name="Freeform 1173">
              <a:extLst>
                <a:ext uri="{FF2B5EF4-FFF2-40B4-BE49-F238E27FC236}">
                  <a16:creationId xmlns:a16="http://schemas.microsoft.com/office/drawing/2014/main" id="{6D9C70C2-6D27-4BD8-B6E8-E2A08094F4A0}"/>
                </a:ext>
              </a:extLst>
            </p:cNvPr>
            <p:cNvSpPr>
              <a:spLocks/>
            </p:cNvSpPr>
            <p:nvPr/>
          </p:nvSpPr>
          <p:spPr bwMode="auto">
            <a:xfrm>
              <a:off x="5714323" y="1904777"/>
              <a:ext cx="25504" cy="40270"/>
            </a:xfrm>
            <a:custGeom>
              <a:avLst/>
              <a:gdLst>
                <a:gd name="T0" fmla="*/ 7 w 8"/>
                <a:gd name="T1" fmla="*/ 0 h 13"/>
                <a:gd name="T2" fmla="*/ 0 w 8"/>
                <a:gd name="T3" fmla="*/ 7 h 13"/>
                <a:gd name="T4" fmla="*/ 0 w 8"/>
                <a:gd name="T5" fmla="*/ 13 h 13"/>
                <a:gd name="T6" fmla="*/ 1 w 8"/>
                <a:gd name="T7" fmla="*/ 13 h 13"/>
                <a:gd name="T8" fmla="*/ 7 w 8"/>
                <a:gd name="T9" fmla="*/ 0 h 13"/>
              </a:gdLst>
              <a:ahLst/>
              <a:cxnLst>
                <a:cxn ang="0">
                  <a:pos x="T0" y="T1"/>
                </a:cxn>
                <a:cxn ang="0">
                  <a:pos x="T2" y="T3"/>
                </a:cxn>
                <a:cxn ang="0">
                  <a:pos x="T4" y="T5"/>
                </a:cxn>
                <a:cxn ang="0">
                  <a:pos x="T6" y="T7"/>
                </a:cxn>
                <a:cxn ang="0">
                  <a:pos x="T8" y="T9"/>
                </a:cxn>
              </a:cxnLst>
              <a:rect l="0" t="0" r="r" b="b"/>
              <a:pathLst>
                <a:path w="8" h="13">
                  <a:moveTo>
                    <a:pt x="7" y="0"/>
                  </a:moveTo>
                  <a:cubicBezTo>
                    <a:pt x="5" y="1"/>
                    <a:pt x="1" y="4"/>
                    <a:pt x="0" y="7"/>
                  </a:cubicBezTo>
                  <a:cubicBezTo>
                    <a:pt x="0" y="10"/>
                    <a:pt x="3" y="11"/>
                    <a:pt x="0" y="13"/>
                  </a:cubicBezTo>
                  <a:cubicBezTo>
                    <a:pt x="0" y="13"/>
                    <a:pt x="1" y="13"/>
                    <a:pt x="1" y="13"/>
                  </a:cubicBezTo>
                  <a:cubicBezTo>
                    <a:pt x="8" y="13"/>
                    <a:pt x="7" y="5"/>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8" name="Freeform 1174">
              <a:extLst>
                <a:ext uri="{FF2B5EF4-FFF2-40B4-BE49-F238E27FC236}">
                  <a16:creationId xmlns:a16="http://schemas.microsoft.com/office/drawing/2014/main" id="{86126094-EC6E-4E58-83BA-B6450547D1D8}"/>
                </a:ext>
              </a:extLst>
            </p:cNvPr>
            <p:cNvSpPr>
              <a:spLocks/>
            </p:cNvSpPr>
            <p:nvPr/>
          </p:nvSpPr>
          <p:spPr bwMode="auto">
            <a:xfrm>
              <a:off x="4628373" y="3049790"/>
              <a:ext cx="20135" cy="13423"/>
            </a:xfrm>
            <a:custGeom>
              <a:avLst/>
              <a:gdLst>
                <a:gd name="T0" fmla="*/ 3 w 6"/>
                <a:gd name="T1" fmla="*/ 0 h 4"/>
                <a:gd name="T2" fmla="*/ 0 w 6"/>
                <a:gd name="T3" fmla="*/ 3 h 4"/>
                <a:gd name="T4" fmla="*/ 3 w 6"/>
                <a:gd name="T5" fmla="*/ 4 h 4"/>
                <a:gd name="T6" fmla="*/ 4 w 6"/>
                <a:gd name="T7" fmla="*/ 4 h 4"/>
                <a:gd name="T8" fmla="*/ 3 w 6"/>
                <a:gd name="T9" fmla="*/ 0 h 4"/>
              </a:gdLst>
              <a:ahLst/>
              <a:cxnLst>
                <a:cxn ang="0">
                  <a:pos x="T0" y="T1"/>
                </a:cxn>
                <a:cxn ang="0">
                  <a:pos x="T2" y="T3"/>
                </a:cxn>
                <a:cxn ang="0">
                  <a:pos x="T4" y="T5"/>
                </a:cxn>
                <a:cxn ang="0">
                  <a:pos x="T6" y="T7"/>
                </a:cxn>
                <a:cxn ang="0">
                  <a:pos x="T8" y="T9"/>
                </a:cxn>
              </a:cxnLst>
              <a:rect l="0" t="0" r="r" b="b"/>
              <a:pathLst>
                <a:path w="6" h="4">
                  <a:moveTo>
                    <a:pt x="3" y="0"/>
                  </a:moveTo>
                  <a:cubicBezTo>
                    <a:pt x="2" y="2"/>
                    <a:pt x="1" y="3"/>
                    <a:pt x="0" y="3"/>
                  </a:cubicBezTo>
                  <a:cubicBezTo>
                    <a:pt x="0" y="3"/>
                    <a:pt x="2" y="4"/>
                    <a:pt x="3" y="4"/>
                  </a:cubicBezTo>
                  <a:cubicBezTo>
                    <a:pt x="4" y="4"/>
                    <a:pt x="4" y="4"/>
                    <a:pt x="4" y="4"/>
                  </a:cubicBezTo>
                  <a:cubicBezTo>
                    <a:pt x="6" y="3"/>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9" name="Freeform 1175">
              <a:extLst>
                <a:ext uri="{FF2B5EF4-FFF2-40B4-BE49-F238E27FC236}">
                  <a16:creationId xmlns:a16="http://schemas.microsoft.com/office/drawing/2014/main" id="{BB029A7C-C129-416E-9E24-56D288AFFECC}"/>
                </a:ext>
              </a:extLst>
            </p:cNvPr>
            <p:cNvSpPr>
              <a:spLocks/>
            </p:cNvSpPr>
            <p:nvPr/>
          </p:nvSpPr>
          <p:spPr bwMode="auto">
            <a:xfrm>
              <a:off x="5802917" y="1555769"/>
              <a:ext cx="12081" cy="14766"/>
            </a:xfrm>
            <a:custGeom>
              <a:avLst/>
              <a:gdLst>
                <a:gd name="T0" fmla="*/ 3 w 4"/>
                <a:gd name="T1" fmla="*/ 0 h 5"/>
                <a:gd name="T2" fmla="*/ 1 w 4"/>
                <a:gd name="T3" fmla="*/ 1 h 5"/>
                <a:gd name="T4" fmla="*/ 1 w 4"/>
                <a:gd name="T5" fmla="*/ 1 h 5"/>
                <a:gd name="T6" fmla="*/ 1 w 4"/>
                <a:gd name="T7" fmla="*/ 5 h 5"/>
                <a:gd name="T8" fmla="*/ 1 w 4"/>
                <a:gd name="T9" fmla="*/ 5 h 5"/>
                <a:gd name="T10" fmla="*/ 3 w 4"/>
                <a:gd name="T11" fmla="*/ 3 h 5"/>
                <a:gd name="T12" fmla="*/ 3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3" y="0"/>
                  </a:moveTo>
                  <a:cubicBezTo>
                    <a:pt x="2" y="0"/>
                    <a:pt x="2" y="0"/>
                    <a:pt x="1" y="1"/>
                  </a:cubicBezTo>
                  <a:cubicBezTo>
                    <a:pt x="1" y="1"/>
                    <a:pt x="1" y="1"/>
                    <a:pt x="1" y="1"/>
                  </a:cubicBezTo>
                  <a:cubicBezTo>
                    <a:pt x="1" y="1"/>
                    <a:pt x="0" y="5"/>
                    <a:pt x="1" y="5"/>
                  </a:cubicBezTo>
                  <a:cubicBezTo>
                    <a:pt x="1" y="5"/>
                    <a:pt x="1" y="5"/>
                    <a:pt x="1" y="5"/>
                  </a:cubicBezTo>
                  <a:cubicBezTo>
                    <a:pt x="1" y="5"/>
                    <a:pt x="2" y="4"/>
                    <a:pt x="3" y="3"/>
                  </a:cubicBezTo>
                  <a:cubicBezTo>
                    <a:pt x="4" y="2"/>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0" name="Freeform 1176">
              <a:extLst>
                <a:ext uri="{FF2B5EF4-FFF2-40B4-BE49-F238E27FC236}">
                  <a16:creationId xmlns:a16="http://schemas.microsoft.com/office/drawing/2014/main" id="{E9B4F117-135A-48C7-9123-530068194FDF}"/>
                </a:ext>
              </a:extLst>
            </p:cNvPr>
            <p:cNvSpPr>
              <a:spLocks/>
            </p:cNvSpPr>
            <p:nvPr/>
          </p:nvSpPr>
          <p:spPr bwMode="auto">
            <a:xfrm>
              <a:off x="5102218" y="2393387"/>
              <a:ext cx="14766" cy="28189"/>
            </a:xfrm>
            <a:custGeom>
              <a:avLst/>
              <a:gdLst>
                <a:gd name="T0" fmla="*/ 0 w 5"/>
                <a:gd name="T1" fmla="*/ 0 h 9"/>
                <a:gd name="T2" fmla="*/ 0 w 5"/>
                <a:gd name="T3" fmla="*/ 9 h 9"/>
                <a:gd name="T4" fmla="*/ 5 w 5"/>
                <a:gd name="T5" fmla="*/ 4 h 9"/>
                <a:gd name="T6" fmla="*/ 4 w 5"/>
                <a:gd name="T7" fmla="*/ 1 h 9"/>
                <a:gd name="T8" fmla="*/ 3 w 5"/>
                <a:gd name="T9" fmla="*/ 0 h 9"/>
                <a:gd name="T10" fmla="*/ 2 w 5"/>
                <a:gd name="T11" fmla="*/ 0 h 9"/>
                <a:gd name="T12" fmla="*/ 1 w 5"/>
                <a:gd name="T13" fmla="*/ 0 h 9"/>
                <a:gd name="T14" fmla="*/ 0 w 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0" y="0"/>
                  </a:moveTo>
                  <a:cubicBezTo>
                    <a:pt x="0" y="3"/>
                    <a:pt x="0" y="6"/>
                    <a:pt x="0" y="9"/>
                  </a:cubicBezTo>
                  <a:cubicBezTo>
                    <a:pt x="2" y="8"/>
                    <a:pt x="4" y="6"/>
                    <a:pt x="5" y="4"/>
                  </a:cubicBezTo>
                  <a:cubicBezTo>
                    <a:pt x="4" y="1"/>
                    <a:pt x="4" y="1"/>
                    <a:pt x="4" y="1"/>
                  </a:cubicBezTo>
                  <a:cubicBezTo>
                    <a:pt x="4" y="0"/>
                    <a:pt x="3" y="0"/>
                    <a:pt x="3" y="0"/>
                  </a:cubicBezTo>
                  <a:cubicBezTo>
                    <a:pt x="3" y="0"/>
                    <a:pt x="2" y="0"/>
                    <a:pt x="2" y="0"/>
                  </a:cubicBezTo>
                  <a:cubicBezTo>
                    <a:pt x="2" y="0"/>
                    <a:pt x="1" y="0"/>
                    <a:pt x="1" y="0"/>
                  </a:cubicBezTo>
                  <a:cubicBezTo>
                    <a:pt x="1"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1" name="Freeform 1177">
              <a:extLst>
                <a:ext uri="{FF2B5EF4-FFF2-40B4-BE49-F238E27FC236}">
                  <a16:creationId xmlns:a16="http://schemas.microsoft.com/office/drawing/2014/main" id="{D8B8A9E8-CFB3-42D7-9309-9AF25EF10835}"/>
                </a:ext>
              </a:extLst>
            </p:cNvPr>
            <p:cNvSpPr>
              <a:spLocks/>
            </p:cNvSpPr>
            <p:nvPr/>
          </p:nvSpPr>
          <p:spPr bwMode="auto">
            <a:xfrm>
              <a:off x="4660589" y="3037709"/>
              <a:ext cx="16108" cy="18793"/>
            </a:xfrm>
            <a:custGeom>
              <a:avLst/>
              <a:gdLst>
                <a:gd name="T0" fmla="*/ 5 w 5"/>
                <a:gd name="T1" fmla="*/ 0 h 6"/>
                <a:gd name="T2" fmla="*/ 0 w 5"/>
                <a:gd name="T3" fmla="*/ 3 h 6"/>
                <a:gd name="T4" fmla="*/ 1 w 5"/>
                <a:gd name="T5" fmla="*/ 6 h 6"/>
                <a:gd name="T6" fmla="*/ 4 w 5"/>
                <a:gd name="T7" fmla="*/ 4 h 6"/>
                <a:gd name="T8" fmla="*/ 5 w 5"/>
                <a:gd name="T9" fmla="*/ 0 h 6"/>
              </a:gdLst>
              <a:ahLst/>
              <a:cxnLst>
                <a:cxn ang="0">
                  <a:pos x="T0" y="T1"/>
                </a:cxn>
                <a:cxn ang="0">
                  <a:pos x="T2" y="T3"/>
                </a:cxn>
                <a:cxn ang="0">
                  <a:pos x="T4" y="T5"/>
                </a:cxn>
                <a:cxn ang="0">
                  <a:pos x="T6" y="T7"/>
                </a:cxn>
                <a:cxn ang="0">
                  <a:pos x="T8" y="T9"/>
                </a:cxn>
              </a:cxnLst>
              <a:rect l="0" t="0" r="r" b="b"/>
              <a:pathLst>
                <a:path w="5" h="6">
                  <a:moveTo>
                    <a:pt x="5" y="0"/>
                  </a:moveTo>
                  <a:cubicBezTo>
                    <a:pt x="3" y="1"/>
                    <a:pt x="2" y="2"/>
                    <a:pt x="0" y="3"/>
                  </a:cubicBezTo>
                  <a:cubicBezTo>
                    <a:pt x="0" y="5"/>
                    <a:pt x="1" y="6"/>
                    <a:pt x="1" y="6"/>
                  </a:cubicBezTo>
                  <a:cubicBezTo>
                    <a:pt x="2" y="6"/>
                    <a:pt x="3" y="5"/>
                    <a:pt x="4" y="4"/>
                  </a:cubicBezTo>
                  <a:cubicBezTo>
                    <a:pt x="4" y="2"/>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2" name="Freeform 1178">
              <a:extLst>
                <a:ext uri="{FF2B5EF4-FFF2-40B4-BE49-F238E27FC236}">
                  <a16:creationId xmlns:a16="http://schemas.microsoft.com/office/drawing/2014/main" id="{DBEBC6E1-4A4D-42E3-B5B5-7C20A17CDAEC}"/>
                </a:ext>
              </a:extLst>
            </p:cNvPr>
            <p:cNvSpPr>
              <a:spLocks/>
            </p:cNvSpPr>
            <p:nvPr/>
          </p:nvSpPr>
          <p:spPr bwMode="auto">
            <a:xfrm>
              <a:off x="5126380" y="2563864"/>
              <a:ext cx="29531" cy="20135"/>
            </a:xfrm>
            <a:custGeom>
              <a:avLst/>
              <a:gdLst>
                <a:gd name="T0" fmla="*/ 4 w 9"/>
                <a:gd name="T1" fmla="*/ 0 h 6"/>
                <a:gd name="T2" fmla="*/ 2 w 9"/>
                <a:gd name="T3" fmla="*/ 4 h 6"/>
                <a:gd name="T4" fmla="*/ 4 w 9"/>
                <a:gd name="T5" fmla="*/ 6 h 6"/>
                <a:gd name="T6" fmla="*/ 5 w 9"/>
                <a:gd name="T7" fmla="*/ 5 h 6"/>
                <a:gd name="T8" fmla="*/ 4 w 9"/>
                <a:gd name="T9" fmla="*/ 0 h 6"/>
              </a:gdLst>
              <a:ahLst/>
              <a:cxnLst>
                <a:cxn ang="0">
                  <a:pos x="T0" y="T1"/>
                </a:cxn>
                <a:cxn ang="0">
                  <a:pos x="T2" y="T3"/>
                </a:cxn>
                <a:cxn ang="0">
                  <a:pos x="T4" y="T5"/>
                </a:cxn>
                <a:cxn ang="0">
                  <a:pos x="T6" y="T7"/>
                </a:cxn>
                <a:cxn ang="0">
                  <a:pos x="T8" y="T9"/>
                </a:cxn>
              </a:cxnLst>
              <a:rect l="0" t="0" r="r" b="b"/>
              <a:pathLst>
                <a:path w="9" h="6">
                  <a:moveTo>
                    <a:pt x="4" y="0"/>
                  </a:moveTo>
                  <a:cubicBezTo>
                    <a:pt x="2" y="1"/>
                    <a:pt x="0" y="1"/>
                    <a:pt x="2" y="4"/>
                  </a:cubicBezTo>
                  <a:cubicBezTo>
                    <a:pt x="2" y="5"/>
                    <a:pt x="3" y="6"/>
                    <a:pt x="4" y="6"/>
                  </a:cubicBezTo>
                  <a:cubicBezTo>
                    <a:pt x="5" y="6"/>
                    <a:pt x="5" y="6"/>
                    <a:pt x="5" y="5"/>
                  </a:cubicBezTo>
                  <a:cubicBezTo>
                    <a:pt x="9" y="4"/>
                    <a:pt x="6"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3" name="Freeform 1179">
              <a:extLst>
                <a:ext uri="{FF2B5EF4-FFF2-40B4-BE49-F238E27FC236}">
                  <a16:creationId xmlns:a16="http://schemas.microsoft.com/office/drawing/2014/main" id="{3FAFAEC1-AB73-4ED5-AFCF-98A02D4CD7CD}"/>
                </a:ext>
              </a:extLst>
            </p:cNvPr>
            <p:cNvSpPr>
              <a:spLocks/>
            </p:cNvSpPr>
            <p:nvPr/>
          </p:nvSpPr>
          <p:spPr bwMode="auto">
            <a:xfrm>
              <a:off x="5037786" y="2728972"/>
              <a:ext cx="34901" cy="25504"/>
            </a:xfrm>
            <a:custGeom>
              <a:avLst/>
              <a:gdLst>
                <a:gd name="T0" fmla="*/ 10 w 11"/>
                <a:gd name="T1" fmla="*/ 0 h 8"/>
                <a:gd name="T2" fmla="*/ 6 w 11"/>
                <a:gd name="T3" fmla="*/ 1 h 8"/>
                <a:gd name="T4" fmla="*/ 0 w 11"/>
                <a:gd name="T5" fmla="*/ 4 h 8"/>
                <a:gd name="T6" fmla="*/ 0 w 11"/>
                <a:gd name="T7" fmla="*/ 4 h 8"/>
                <a:gd name="T8" fmla="*/ 3 w 11"/>
                <a:gd name="T9" fmla="*/ 6 h 8"/>
                <a:gd name="T10" fmla="*/ 4 w 11"/>
                <a:gd name="T11" fmla="*/ 8 h 8"/>
                <a:gd name="T12" fmla="*/ 4 w 11"/>
                <a:gd name="T13" fmla="*/ 8 h 8"/>
                <a:gd name="T14" fmla="*/ 11 w 11"/>
                <a:gd name="T15" fmla="*/ 0 h 8"/>
                <a:gd name="T16" fmla="*/ 10 w 1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0" y="0"/>
                  </a:moveTo>
                  <a:cubicBezTo>
                    <a:pt x="8" y="0"/>
                    <a:pt x="7" y="1"/>
                    <a:pt x="6" y="1"/>
                  </a:cubicBezTo>
                  <a:cubicBezTo>
                    <a:pt x="4" y="2"/>
                    <a:pt x="2" y="4"/>
                    <a:pt x="0" y="4"/>
                  </a:cubicBezTo>
                  <a:cubicBezTo>
                    <a:pt x="0" y="4"/>
                    <a:pt x="0" y="4"/>
                    <a:pt x="0" y="4"/>
                  </a:cubicBezTo>
                  <a:cubicBezTo>
                    <a:pt x="1" y="5"/>
                    <a:pt x="2" y="6"/>
                    <a:pt x="3" y="6"/>
                  </a:cubicBezTo>
                  <a:cubicBezTo>
                    <a:pt x="3" y="7"/>
                    <a:pt x="3" y="7"/>
                    <a:pt x="4" y="8"/>
                  </a:cubicBezTo>
                  <a:cubicBezTo>
                    <a:pt x="4" y="8"/>
                    <a:pt x="4" y="8"/>
                    <a:pt x="4" y="8"/>
                  </a:cubicBezTo>
                  <a:cubicBezTo>
                    <a:pt x="7" y="8"/>
                    <a:pt x="10" y="2"/>
                    <a:pt x="11" y="0"/>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4" name="Freeform 1180">
              <a:extLst>
                <a:ext uri="{FF2B5EF4-FFF2-40B4-BE49-F238E27FC236}">
                  <a16:creationId xmlns:a16="http://schemas.microsoft.com/office/drawing/2014/main" id="{15EB0BF0-0774-4C4C-B25E-3B0C13BEB349}"/>
                </a:ext>
              </a:extLst>
            </p:cNvPr>
            <p:cNvSpPr>
              <a:spLocks/>
            </p:cNvSpPr>
            <p:nvPr/>
          </p:nvSpPr>
          <p:spPr bwMode="auto">
            <a:xfrm>
              <a:off x="1966522" y="3249798"/>
              <a:ext cx="9396" cy="18793"/>
            </a:xfrm>
            <a:custGeom>
              <a:avLst/>
              <a:gdLst>
                <a:gd name="T0" fmla="*/ 3 w 3"/>
                <a:gd name="T1" fmla="*/ 0 h 6"/>
                <a:gd name="T2" fmla="*/ 1 w 3"/>
                <a:gd name="T3" fmla="*/ 6 h 6"/>
                <a:gd name="T4" fmla="*/ 3 w 3"/>
                <a:gd name="T5" fmla="*/ 0 h 6"/>
              </a:gdLst>
              <a:ahLst/>
              <a:cxnLst>
                <a:cxn ang="0">
                  <a:pos x="T0" y="T1"/>
                </a:cxn>
                <a:cxn ang="0">
                  <a:pos x="T2" y="T3"/>
                </a:cxn>
                <a:cxn ang="0">
                  <a:pos x="T4" y="T5"/>
                </a:cxn>
              </a:cxnLst>
              <a:rect l="0" t="0" r="r" b="b"/>
              <a:pathLst>
                <a:path w="3" h="6">
                  <a:moveTo>
                    <a:pt x="3" y="0"/>
                  </a:moveTo>
                  <a:cubicBezTo>
                    <a:pt x="2" y="2"/>
                    <a:pt x="0" y="4"/>
                    <a:pt x="1" y="6"/>
                  </a:cubicBezTo>
                  <a:cubicBezTo>
                    <a:pt x="2" y="4"/>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5" name="Freeform 1181">
              <a:extLst>
                <a:ext uri="{FF2B5EF4-FFF2-40B4-BE49-F238E27FC236}">
                  <a16:creationId xmlns:a16="http://schemas.microsoft.com/office/drawing/2014/main" id="{F937F459-05AD-48BF-AD3F-84A63CA70F6B}"/>
                </a:ext>
              </a:extLst>
            </p:cNvPr>
            <p:cNvSpPr>
              <a:spLocks/>
            </p:cNvSpPr>
            <p:nvPr/>
          </p:nvSpPr>
          <p:spPr bwMode="auto">
            <a:xfrm>
              <a:off x="1342336" y="4138425"/>
              <a:ext cx="9396" cy="2685"/>
            </a:xfrm>
            <a:custGeom>
              <a:avLst/>
              <a:gdLst>
                <a:gd name="T0" fmla="*/ 0 w 3"/>
                <a:gd name="T1" fmla="*/ 0 h 1"/>
                <a:gd name="T2" fmla="*/ 0 w 3"/>
                <a:gd name="T3" fmla="*/ 0 h 1"/>
                <a:gd name="T4" fmla="*/ 3 w 3"/>
                <a:gd name="T5" fmla="*/ 1 h 1"/>
                <a:gd name="T6" fmla="*/ 0 w 3"/>
                <a:gd name="T7" fmla="*/ 0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0"/>
                    <a:pt x="2" y="1"/>
                    <a:pt x="3" y="1"/>
                  </a:cubicBezTo>
                  <a:cubicBezTo>
                    <a:pt x="2" y="0"/>
                    <a:pt x="1"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6" name="Freeform 1182">
              <a:extLst>
                <a:ext uri="{FF2B5EF4-FFF2-40B4-BE49-F238E27FC236}">
                  <a16:creationId xmlns:a16="http://schemas.microsoft.com/office/drawing/2014/main" id="{D82DD465-EC2D-449A-B60A-2D96E09488D6}"/>
                </a:ext>
              </a:extLst>
            </p:cNvPr>
            <p:cNvSpPr>
              <a:spLocks/>
            </p:cNvSpPr>
            <p:nvPr/>
          </p:nvSpPr>
          <p:spPr bwMode="auto">
            <a:xfrm>
              <a:off x="1973233" y="3247114"/>
              <a:ext cx="0" cy="6712"/>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0"/>
                    <a:pt x="0" y="1"/>
                    <a:pt x="0" y="2"/>
                  </a:cubicBezTo>
                  <a:cubicBezTo>
                    <a:pt x="0" y="1"/>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7" name="Freeform 1183">
              <a:extLst>
                <a:ext uri="{FF2B5EF4-FFF2-40B4-BE49-F238E27FC236}">
                  <a16:creationId xmlns:a16="http://schemas.microsoft.com/office/drawing/2014/main" id="{99789346-4741-4FB1-8BC2-5722FD83543B}"/>
                </a:ext>
              </a:extLst>
            </p:cNvPr>
            <p:cNvSpPr>
              <a:spLocks/>
            </p:cNvSpPr>
            <p:nvPr/>
          </p:nvSpPr>
          <p:spPr bwMode="auto">
            <a:xfrm>
              <a:off x="2490033" y="4480721"/>
              <a:ext cx="6712" cy="4027"/>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0" y="0"/>
                    <a:pt x="0" y="0"/>
                  </a:cubicBezTo>
                  <a:cubicBezTo>
                    <a:pt x="0" y="0"/>
                    <a:pt x="1" y="1"/>
                    <a:pt x="2" y="1"/>
                  </a:cubicBezTo>
                  <a:cubicBezTo>
                    <a:pt x="1"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8" name="Freeform 1184">
              <a:extLst>
                <a:ext uri="{FF2B5EF4-FFF2-40B4-BE49-F238E27FC236}">
                  <a16:creationId xmlns:a16="http://schemas.microsoft.com/office/drawing/2014/main" id="{87747C61-DAFB-4735-A562-D8032AC171D3}"/>
                </a:ext>
              </a:extLst>
            </p:cNvPr>
            <p:cNvSpPr>
              <a:spLocks/>
            </p:cNvSpPr>
            <p:nvPr/>
          </p:nvSpPr>
          <p:spPr bwMode="auto">
            <a:xfrm>
              <a:off x="3192074" y="4896846"/>
              <a:ext cx="2685" cy="9396"/>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3"/>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9" name="Freeform 1185">
              <a:extLst>
                <a:ext uri="{FF2B5EF4-FFF2-40B4-BE49-F238E27FC236}">
                  <a16:creationId xmlns:a16="http://schemas.microsoft.com/office/drawing/2014/main" id="{C94CA617-0389-46A0-8596-DB809DFAB8E0}"/>
                </a:ext>
              </a:extLst>
            </p:cNvPr>
            <p:cNvSpPr>
              <a:spLocks/>
            </p:cNvSpPr>
            <p:nvPr/>
          </p:nvSpPr>
          <p:spPr bwMode="auto">
            <a:xfrm>
              <a:off x="5116983" y="4910269"/>
              <a:ext cx="85909" cy="34901"/>
            </a:xfrm>
            <a:custGeom>
              <a:avLst/>
              <a:gdLst>
                <a:gd name="T0" fmla="*/ 14 w 27"/>
                <a:gd name="T1" fmla="*/ 0 h 11"/>
                <a:gd name="T2" fmla="*/ 0 w 27"/>
                <a:gd name="T3" fmla="*/ 5 h 11"/>
                <a:gd name="T4" fmla="*/ 4 w 27"/>
                <a:gd name="T5" fmla="*/ 6 h 11"/>
                <a:gd name="T6" fmla="*/ 4 w 27"/>
                <a:gd name="T7" fmla="*/ 6 h 11"/>
                <a:gd name="T8" fmla="*/ 5 w 27"/>
                <a:gd name="T9" fmla="*/ 6 h 11"/>
                <a:gd name="T10" fmla="*/ 6 w 27"/>
                <a:gd name="T11" fmla="*/ 6 h 11"/>
                <a:gd name="T12" fmla="*/ 6 w 27"/>
                <a:gd name="T13" fmla="*/ 6 h 11"/>
                <a:gd name="T14" fmla="*/ 8 w 27"/>
                <a:gd name="T15" fmla="*/ 10 h 11"/>
                <a:gd name="T16" fmla="*/ 9 w 27"/>
                <a:gd name="T17" fmla="*/ 8 h 11"/>
                <a:gd name="T18" fmla="*/ 10 w 27"/>
                <a:gd name="T19" fmla="*/ 7 h 11"/>
                <a:gd name="T20" fmla="*/ 12 w 27"/>
                <a:gd name="T21" fmla="*/ 11 h 11"/>
                <a:gd name="T22" fmla="*/ 13 w 27"/>
                <a:gd name="T23" fmla="*/ 11 h 11"/>
                <a:gd name="T24" fmla="*/ 16 w 27"/>
                <a:gd name="T25" fmla="*/ 8 h 11"/>
                <a:gd name="T26" fmla="*/ 18 w 27"/>
                <a:gd name="T27" fmla="*/ 8 h 11"/>
                <a:gd name="T28" fmla="*/ 19 w 27"/>
                <a:gd name="T29" fmla="*/ 8 h 11"/>
                <a:gd name="T30" fmla="*/ 20 w 27"/>
                <a:gd name="T31" fmla="*/ 8 h 11"/>
                <a:gd name="T32" fmla="*/ 20 w 27"/>
                <a:gd name="T33" fmla="*/ 8 h 11"/>
                <a:gd name="T34" fmla="*/ 24 w 27"/>
                <a:gd name="T35" fmla="*/ 9 h 11"/>
                <a:gd name="T36" fmla="*/ 24 w 27"/>
                <a:gd name="T37" fmla="*/ 9 h 11"/>
                <a:gd name="T38" fmla="*/ 25 w 27"/>
                <a:gd name="T39" fmla="*/ 4 h 11"/>
                <a:gd name="T40" fmla="*/ 20 w 27"/>
                <a:gd name="T41" fmla="*/ 2 h 11"/>
                <a:gd name="T42" fmla="*/ 18 w 27"/>
                <a:gd name="T43" fmla="*/ 1 h 11"/>
                <a:gd name="T44" fmla="*/ 14 w 27"/>
                <a:gd name="T4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1">
                  <a:moveTo>
                    <a:pt x="14" y="0"/>
                  </a:moveTo>
                  <a:cubicBezTo>
                    <a:pt x="9" y="2"/>
                    <a:pt x="5" y="3"/>
                    <a:pt x="0" y="5"/>
                  </a:cubicBezTo>
                  <a:cubicBezTo>
                    <a:pt x="2" y="5"/>
                    <a:pt x="2" y="6"/>
                    <a:pt x="4" y="6"/>
                  </a:cubicBezTo>
                  <a:cubicBezTo>
                    <a:pt x="4" y="6"/>
                    <a:pt x="4" y="6"/>
                    <a:pt x="4" y="6"/>
                  </a:cubicBezTo>
                  <a:cubicBezTo>
                    <a:pt x="4" y="6"/>
                    <a:pt x="5" y="6"/>
                    <a:pt x="5" y="6"/>
                  </a:cubicBezTo>
                  <a:cubicBezTo>
                    <a:pt x="6" y="6"/>
                    <a:pt x="6" y="6"/>
                    <a:pt x="6" y="6"/>
                  </a:cubicBezTo>
                  <a:cubicBezTo>
                    <a:pt x="6" y="6"/>
                    <a:pt x="6" y="6"/>
                    <a:pt x="6" y="6"/>
                  </a:cubicBezTo>
                  <a:cubicBezTo>
                    <a:pt x="7" y="7"/>
                    <a:pt x="7" y="9"/>
                    <a:pt x="8" y="10"/>
                  </a:cubicBezTo>
                  <a:cubicBezTo>
                    <a:pt x="8" y="9"/>
                    <a:pt x="8" y="8"/>
                    <a:pt x="9" y="8"/>
                  </a:cubicBezTo>
                  <a:cubicBezTo>
                    <a:pt x="9" y="7"/>
                    <a:pt x="9" y="7"/>
                    <a:pt x="10" y="7"/>
                  </a:cubicBezTo>
                  <a:cubicBezTo>
                    <a:pt x="11" y="7"/>
                    <a:pt x="11" y="10"/>
                    <a:pt x="12" y="11"/>
                  </a:cubicBezTo>
                  <a:cubicBezTo>
                    <a:pt x="13" y="11"/>
                    <a:pt x="13" y="11"/>
                    <a:pt x="13" y="11"/>
                  </a:cubicBezTo>
                  <a:cubicBezTo>
                    <a:pt x="15" y="11"/>
                    <a:pt x="17" y="9"/>
                    <a:pt x="16" y="8"/>
                  </a:cubicBezTo>
                  <a:cubicBezTo>
                    <a:pt x="17" y="8"/>
                    <a:pt x="17" y="8"/>
                    <a:pt x="18" y="8"/>
                  </a:cubicBezTo>
                  <a:cubicBezTo>
                    <a:pt x="18" y="8"/>
                    <a:pt x="18" y="8"/>
                    <a:pt x="19" y="8"/>
                  </a:cubicBezTo>
                  <a:cubicBezTo>
                    <a:pt x="19" y="8"/>
                    <a:pt x="19" y="8"/>
                    <a:pt x="20" y="8"/>
                  </a:cubicBezTo>
                  <a:cubicBezTo>
                    <a:pt x="20" y="8"/>
                    <a:pt x="20" y="8"/>
                    <a:pt x="20" y="8"/>
                  </a:cubicBezTo>
                  <a:cubicBezTo>
                    <a:pt x="20" y="8"/>
                    <a:pt x="23" y="9"/>
                    <a:pt x="24" y="9"/>
                  </a:cubicBezTo>
                  <a:cubicBezTo>
                    <a:pt x="24" y="9"/>
                    <a:pt x="24" y="9"/>
                    <a:pt x="24" y="9"/>
                  </a:cubicBezTo>
                  <a:cubicBezTo>
                    <a:pt x="27" y="9"/>
                    <a:pt x="26" y="5"/>
                    <a:pt x="25" y="4"/>
                  </a:cubicBezTo>
                  <a:cubicBezTo>
                    <a:pt x="24" y="3"/>
                    <a:pt x="21" y="2"/>
                    <a:pt x="20" y="2"/>
                  </a:cubicBezTo>
                  <a:cubicBezTo>
                    <a:pt x="19" y="1"/>
                    <a:pt x="19" y="1"/>
                    <a:pt x="18" y="1"/>
                  </a:cubicBezTo>
                  <a:cubicBezTo>
                    <a:pt x="17" y="1"/>
                    <a:pt x="16" y="1"/>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0" name="Freeform 1186">
              <a:extLst>
                <a:ext uri="{FF2B5EF4-FFF2-40B4-BE49-F238E27FC236}">
                  <a16:creationId xmlns:a16="http://schemas.microsoft.com/office/drawing/2014/main" id="{A3578F40-0C42-42D2-9E28-4978495EFEEE}"/>
                </a:ext>
              </a:extLst>
            </p:cNvPr>
            <p:cNvSpPr>
              <a:spLocks/>
            </p:cNvSpPr>
            <p:nvPr/>
          </p:nvSpPr>
          <p:spPr bwMode="auto">
            <a:xfrm>
              <a:off x="4644481" y="5525060"/>
              <a:ext cx="32216" cy="25504"/>
            </a:xfrm>
            <a:custGeom>
              <a:avLst/>
              <a:gdLst>
                <a:gd name="T0" fmla="*/ 10 w 10"/>
                <a:gd name="T1" fmla="*/ 0 h 8"/>
                <a:gd name="T2" fmla="*/ 2 w 10"/>
                <a:gd name="T3" fmla="*/ 3 h 8"/>
                <a:gd name="T4" fmla="*/ 4 w 10"/>
                <a:gd name="T5" fmla="*/ 7 h 8"/>
                <a:gd name="T6" fmla="*/ 5 w 10"/>
                <a:gd name="T7" fmla="*/ 8 h 8"/>
                <a:gd name="T8" fmla="*/ 6 w 10"/>
                <a:gd name="T9" fmla="*/ 8 h 8"/>
                <a:gd name="T10" fmla="*/ 10 w 10"/>
                <a:gd name="T11" fmla="*/ 0 h 8"/>
              </a:gdLst>
              <a:ahLst/>
              <a:cxnLst>
                <a:cxn ang="0">
                  <a:pos x="T0" y="T1"/>
                </a:cxn>
                <a:cxn ang="0">
                  <a:pos x="T2" y="T3"/>
                </a:cxn>
                <a:cxn ang="0">
                  <a:pos x="T4" y="T5"/>
                </a:cxn>
                <a:cxn ang="0">
                  <a:pos x="T6" y="T7"/>
                </a:cxn>
                <a:cxn ang="0">
                  <a:pos x="T8" y="T9"/>
                </a:cxn>
                <a:cxn ang="0">
                  <a:pos x="T10" y="T11"/>
                </a:cxn>
              </a:cxnLst>
              <a:rect l="0" t="0" r="r" b="b"/>
              <a:pathLst>
                <a:path w="10" h="8">
                  <a:moveTo>
                    <a:pt x="10" y="0"/>
                  </a:moveTo>
                  <a:cubicBezTo>
                    <a:pt x="7" y="0"/>
                    <a:pt x="5" y="2"/>
                    <a:pt x="2" y="3"/>
                  </a:cubicBezTo>
                  <a:cubicBezTo>
                    <a:pt x="0" y="6"/>
                    <a:pt x="1" y="5"/>
                    <a:pt x="4" y="7"/>
                  </a:cubicBezTo>
                  <a:cubicBezTo>
                    <a:pt x="4" y="7"/>
                    <a:pt x="4" y="8"/>
                    <a:pt x="5" y="8"/>
                  </a:cubicBezTo>
                  <a:cubicBezTo>
                    <a:pt x="5" y="8"/>
                    <a:pt x="5" y="8"/>
                    <a:pt x="6" y="8"/>
                  </a:cubicBezTo>
                  <a:cubicBezTo>
                    <a:pt x="8" y="7"/>
                    <a:pt x="10"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1" name="Freeform 1187">
              <a:extLst>
                <a:ext uri="{FF2B5EF4-FFF2-40B4-BE49-F238E27FC236}">
                  <a16:creationId xmlns:a16="http://schemas.microsoft.com/office/drawing/2014/main" id="{A50F948E-263E-47A8-B843-3CBE63DF76D9}"/>
                </a:ext>
              </a:extLst>
            </p:cNvPr>
            <p:cNvSpPr>
              <a:spLocks/>
            </p:cNvSpPr>
            <p:nvPr/>
          </p:nvSpPr>
          <p:spPr bwMode="auto">
            <a:xfrm>
              <a:off x="3178651" y="4935774"/>
              <a:ext cx="28189" cy="24162"/>
            </a:xfrm>
            <a:custGeom>
              <a:avLst/>
              <a:gdLst>
                <a:gd name="T0" fmla="*/ 5 w 9"/>
                <a:gd name="T1" fmla="*/ 0 h 8"/>
                <a:gd name="T2" fmla="*/ 2 w 9"/>
                <a:gd name="T3" fmla="*/ 2 h 8"/>
                <a:gd name="T4" fmla="*/ 1 w 9"/>
                <a:gd name="T5" fmla="*/ 1 h 8"/>
                <a:gd name="T6" fmla="*/ 0 w 9"/>
                <a:gd name="T7" fmla="*/ 2 h 8"/>
                <a:gd name="T8" fmla="*/ 2 w 9"/>
                <a:gd name="T9" fmla="*/ 6 h 8"/>
                <a:gd name="T10" fmla="*/ 2 w 9"/>
                <a:gd name="T11" fmla="*/ 8 h 8"/>
                <a:gd name="T12" fmla="*/ 3 w 9"/>
                <a:gd name="T13" fmla="*/ 8 h 8"/>
                <a:gd name="T14" fmla="*/ 6 w 9"/>
                <a:gd name="T15" fmla="*/ 6 h 8"/>
                <a:gd name="T16" fmla="*/ 5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5" y="0"/>
                  </a:moveTo>
                  <a:cubicBezTo>
                    <a:pt x="4" y="2"/>
                    <a:pt x="3" y="1"/>
                    <a:pt x="2" y="2"/>
                  </a:cubicBezTo>
                  <a:cubicBezTo>
                    <a:pt x="2" y="2"/>
                    <a:pt x="1" y="1"/>
                    <a:pt x="1" y="1"/>
                  </a:cubicBezTo>
                  <a:cubicBezTo>
                    <a:pt x="1" y="1"/>
                    <a:pt x="0" y="2"/>
                    <a:pt x="0" y="2"/>
                  </a:cubicBezTo>
                  <a:cubicBezTo>
                    <a:pt x="0" y="3"/>
                    <a:pt x="1" y="5"/>
                    <a:pt x="2" y="6"/>
                  </a:cubicBezTo>
                  <a:cubicBezTo>
                    <a:pt x="3" y="6"/>
                    <a:pt x="2" y="7"/>
                    <a:pt x="2" y="8"/>
                  </a:cubicBezTo>
                  <a:cubicBezTo>
                    <a:pt x="2" y="8"/>
                    <a:pt x="3" y="8"/>
                    <a:pt x="3" y="8"/>
                  </a:cubicBezTo>
                  <a:cubicBezTo>
                    <a:pt x="4" y="8"/>
                    <a:pt x="6" y="7"/>
                    <a:pt x="6" y="6"/>
                  </a:cubicBezTo>
                  <a:cubicBezTo>
                    <a:pt x="9" y="4"/>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2" name="Freeform 1188">
              <a:extLst>
                <a:ext uri="{FF2B5EF4-FFF2-40B4-BE49-F238E27FC236}">
                  <a16:creationId xmlns:a16="http://schemas.microsoft.com/office/drawing/2014/main" id="{D71AB122-4739-4AF7-9F09-CFD869C139BB}"/>
                </a:ext>
              </a:extLst>
            </p:cNvPr>
            <p:cNvSpPr>
              <a:spLocks/>
            </p:cNvSpPr>
            <p:nvPr/>
          </p:nvSpPr>
          <p:spPr bwMode="auto">
            <a:xfrm>
              <a:off x="3271272" y="5350556"/>
              <a:ext cx="681906" cy="216116"/>
            </a:xfrm>
            <a:custGeom>
              <a:avLst/>
              <a:gdLst>
                <a:gd name="T0" fmla="*/ 0 w 215"/>
                <a:gd name="T1" fmla="*/ 21 h 68"/>
                <a:gd name="T2" fmla="*/ 22 w 215"/>
                <a:gd name="T3" fmla="*/ 35 h 68"/>
                <a:gd name="T4" fmla="*/ 27 w 215"/>
                <a:gd name="T5" fmla="*/ 36 h 68"/>
                <a:gd name="T6" fmla="*/ 60 w 215"/>
                <a:gd name="T7" fmla="*/ 44 h 68"/>
                <a:gd name="T8" fmla="*/ 70 w 215"/>
                <a:gd name="T9" fmla="*/ 44 h 68"/>
                <a:gd name="T10" fmla="*/ 79 w 215"/>
                <a:gd name="T11" fmla="*/ 42 h 68"/>
                <a:gd name="T12" fmla="*/ 119 w 215"/>
                <a:gd name="T13" fmla="*/ 52 h 68"/>
                <a:gd name="T14" fmla="*/ 140 w 215"/>
                <a:gd name="T15" fmla="*/ 56 h 68"/>
                <a:gd name="T16" fmla="*/ 148 w 215"/>
                <a:gd name="T17" fmla="*/ 56 h 68"/>
                <a:gd name="T18" fmla="*/ 156 w 215"/>
                <a:gd name="T19" fmla="*/ 57 h 68"/>
                <a:gd name="T20" fmla="*/ 169 w 215"/>
                <a:gd name="T21" fmla="*/ 60 h 68"/>
                <a:gd name="T22" fmla="*/ 180 w 215"/>
                <a:gd name="T23" fmla="*/ 57 h 68"/>
                <a:gd name="T24" fmla="*/ 215 w 215"/>
                <a:gd name="T25" fmla="*/ 68 h 68"/>
                <a:gd name="T26" fmla="*/ 210 w 215"/>
                <a:gd name="T27" fmla="*/ 51 h 68"/>
                <a:gd name="T28" fmla="*/ 201 w 215"/>
                <a:gd name="T29" fmla="*/ 41 h 68"/>
                <a:gd name="T30" fmla="*/ 191 w 215"/>
                <a:gd name="T31" fmla="*/ 43 h 68"/>
                <a:gd name="T32" fmla="*/ 173 w 215"/>
                <a:gd name="T33" fmla="*/ 40 h 68"/>
                <a:gd name="T34" fmla="*/ 169 w 215"/>
                <a:gd name="T35" fmla="*/ 32 h 68"/>
                <a:gd name="T36" fmla="*/ 165 w 215"/>
                <a:gd name="T37" fmla="*/ 23 h 68"/>
                <a:gd name="T38" fmla="*/ 158 w 215"/>
                <a:gd name="T39" fmla="*/ 24 h 68"/>
                <a:gd name="T40" fmla="*/ 136 w 215"/>
                <a:gd name="T41" fmla="*/ 19 h 68"/>
                <a:gd name="T42" fmla="*/ 128 w 215"/>
                <a:gd name="T43" fmla="*/ 12 h 68"/>
                <a:gd name="T44" fmla="*/ 116 w 215"/>
                <a:gd name="T45" fmla="*/ 25 h 68"/>
                <a:gd name="T46" fmla="*/ 97 w 215"/>
                <a:gd name="T47" fmla="*/ 23 h 68"/>
                <a:gd name="T48" fmla="*/ 92 w 215"/>
                <a:gd name="T49" fmla="*/ 23 h 68"/>
                <a:gd name="T50" fmla="*/ 88 w 215"/>
                <a:gd name="T51" fmla="*/ 23 h 68"/>
                <a:gd name="T52" fmla="*/ 73 w 215"/>
                <a:gd name="T53" fmla="*/ 18 h 68"/>
                <a:gd name="T54" fmla="*/ 65 w 215"/>
                <a:gd name="T55" fmla="*/ 9 h 68"/>
                <a:gd name="T56" fmla="*/ 63 w 215"/>
                <a:gd name="T57" fmla="*/ 9 h 68"/>
                <a:gd name="T58" fmla="*/ 53 w 215"/>
                <a:gd name="T59" fmla="*/ 8 h 68"/>
                <a:gd name="T60" fmla="*/ 39 w 215"/>
                <a:gd name="T61" fmla="*/ 1 h 68"/>
                <a:gd name="T62" fmla="*/ 36 w 215"/>
                <a:gd name="T63" fmla="*/ 13 h 68"/>
                <a:gd name="T64" fmla="*/ 30 w 215"/>
                <a:gd name="T65"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5" h="68">
                  <a:moveTo>
                    <a:pt x="13" y="0"/>
                  </a:moveTo>
                  <a:cubicBezTo>
                    <a:pt x="8" y="6"/>
                    <a:pt x="5" y="14"/>
                    <a:pt x="0" y="21"/>
                  </a:cubicBezTo>
                  <a:cubicBezTo>
                    <a:pt x="8" y="22"/>
                    <a:pt x="15" y="23"/>
                    <a:pt x="22" y="26"/>
                  </a:cubicBezTo>
                  <a:cubicBezTo>
                    <a:pt x="27" y="28"/>
                    <a:pt x="23" y="30"/>
                    <a:pt x="22" y="35"/>
                  </a:cubicBezTo>
                  <a:cubicBezTo>
                    <a:pt x="22" y="35"/>
                    <a:pt x="22" y="35"/>
                    <a:pt x="23" y="35"/>
                  </a:cubicBezTo>
                  <a:cubicBezTo>
                    <a:pt x="24" y="35"/>
                    <a:pt x="26" y="36"/>
                    <a:pt x="27" y="36"/>
                  </a:cubicBezTo>
                  <a:cubicBezTo>
                    <a:pt x="33" y="37"/>
                    <a:pt x="39" y="37"/>
                    <a:pt x="45" y="38"/>
                  </a:cubicBezTo>
                  <a:cubicBezTo>
                    <a:pt x="50" y="39"/>
                    <a:pt x="55" y="43"/>
                    <a:pt x="60" y="44"/>
                  </a:cubicBezTo>
                  <a:cubicBezTo>
                    <a:pt x="63" y="44"/>
                    <a:pt x="65" y="45"/>
                    <a:pt x="67" y="45"/>
                  </a:cubicBezTo>
                  <a:cubicBezTo>
                    <a:pt x="68" y="45"/>
                    <a:pt x="69" y="44"/>
                    <a:pt x="70" y="44"/>
                  </a:cubicBezTo>
                  <a:cubicBezTo>
                    <a:pt x="73" y="43"/>
                    <a:pt x="76" y="42"/>
                    <a:pt x="78" y="42"/>
                  </a:cubicBezTo>
                  <a:cubicBezTo>
                    <a:pt x="79" y="42"/>
                    <a:pt x="79" y="42"/>
                    <a:pt x="79" y="42"/>
                  </a:cubicBezTo>
                  <a:cubicBezTo>
                    <a:pt x="87" y="43"/>
                    <a:pt x="94" y="44"/>
                    <a:pt x="102" y="46"/>
                  </a:cubicBezTo>
                  <a:cubicBezTo>
                    <a:pt x="108" y="47"/>
                    <a:pt x="114" y="50"/>
                    <a:pt x="119" y="52"/>
                  </a:cubicBezTo>
                  <a:cubicBezTo>
                    <a:pt x="123" y="53"/>
                    <a:pt x="126" y="55"/>
                    <a:pt x="129" y="55"/>
                  </a:cubicBezTo>
                  <a:cubicBezTo>
                    <a:pt x="133" y="55"/>
                    <a:pt x="137" y="55"/>
                    <a:pt x="140" y="56"/>
                  </a:cubicBezTo>
                  <a:cubicBezTo>
                    <a:pt x="142" y="56"/>
                    <a:pt x="144" y="58"/>
                    <a:pt x="145" y="58"/>
                  </a:cubicBezTo>
                  <a:cubicBezTo>
                    <a:pt x="146" y="58"/>
                    <a:pt x="147" y="58"/>
                    <a:pt x="148" y="56"/>
                  </a:cubicBezTo>
                  <a:cubicBezTo>
                    <a:pt x="148" y="56"/>
                    <a:pt x="148" y="56"/>
                    <a:pt x="149" y="56"/>
                  </a:cubicBezTo>
                  <a:cubicBezTo>
                    <a:pt x="151" y="56"/>
                    <a:pt x="155" y="57"/>
                    <a:pt x="156" y="57"/>
                  </a:cubicBezTo>
                  <a:cubicBezTo>
                    <a:pt x="161" y="58"/>
                    <a:pt x="164" y="58"/>
                    <a:pt x="168" y="59"/>
                  </a:cubicBezTo>
                  <a:cubicBezTo>
                    <a:pt x="169" y="60"/>
                    <a:pt x="169" y="60"/>
                    <a:pt x="169" y="60"/>
                  </a:cubicBezTo>
                  <a:cubicBezTo>
                    <a:pt x="171" y="60"/>
                    <a:pt x="174" y="58"/>
                    <a:pt x="176" y="58"/>
                  </a:cubicBezTo>
                  <a:cubicBezTo>
                    <a:pt x="178" y="57"/>
                    <a:pt x="179" y="57"/>
                    <a:pt x="180" y="57"/>
                  </a:cubicBezTo>
                  <a:cubicBezTo>
                    <a:pt x="186" y="57"/>
                    <a:pt x="190" y="60"/>
                    <a:pt x="196" y="62"/>
                  </a:cubicBezTo>
                  <a:cubicBezTo>
                    <a:pt x="202" y="65"/>
                    <a:pt x="209" y="66"/>
                    <a:pt x="215" y="68"/>
                  </a:cubicBezTo>
                  <a:cubicBezTo>
                    <a:pt x="212" y="65"/>
                    <a:pt x="209" y="62"/>
                    <a:pt x="209" y="58"/>
                  </a:cubicBezTo>
                  <a:cubicBezTo>
                    <a:pt x="209" y="56"/>
                    <a:pt x="210" y="53"/>
                    <a:pt x="210" y="51"/>
                  </a:cubicBezTo>
                  <a:cubicBezTo>
                    <a:pt x="211" y="46"/>
                    <a:pt x="212" y="46"/>
                    <a:pt x="208" y="44"/>
                  </a:cubicBezTo>
                  <a:cubicBezTo>
                    <a:pt x="206" y="43"/>
                    <a:pt x="203" y="41"/>
                    <a:pt x="201" y="41"/>
                  </a:cubicBezTo>
                  <a:cubicBezTo>
                    <a:pt x="201" y="41"/>
                    <a:pt x="201" y="41"/>
                    <a:pt x="201" y="41"/>
                  </a:cubicBezTo>
                  <a:cubicBezTo>
                    <a:pt x="198" y="41"/>
                    <a:pt x="194" y="42"/>
                    <a:pt x="191" y="43"/>
                  </a:cubicBezTo>
                  <a:cubicBezTo>
                    <a:pt x="188" y="43"/>
                    <a:pt x="186" y="43"/>
                    <a:pt x="185" y="43"/>
                  </a:cubicBezTo>
                  <a:cubicBezTo>
                    <a:pt x="181" y="43"/>
                    <a:pt x="177" y="42"/>
                    <a:pt x="173" y="40"/>
                  </a:cubicBezTo>
                  <a:cubicBezTo>
                    <a:pt x="171" y="39"/>
                    <a:pt x="172" y="37"/>
                    <a:pt x="172" y="35"/>
                  </a:cubicBezTo>
                  <a:cubicBezTo>
                    <a:pt x="172" y="33"/>
                    <a:pt x="171" y="33"/>
                    <a:pt x="169" y="32"/>
                  </a:cubicBezTo>
                  <a:cubicBezTo>
                    <a:pt x="166" y="30"/>
                    <a:pt x="168" y="28"/>
                    <a:pt x="167" y="25"/>
                  </a:cubicBezTo>
                  <a:cubicBezTo>
                    <a:pt x="167" y="23"/>
                    <a:pt x="166" y="23"/>
                    <a:pt x="165" y="23"/>
                  </a:cubicBezTo>
                  <a:cubicBezTo>
                    <a:pt x="164" y="23"/>
                    <a:pt x="163" y="23"/>
                    <a:pt x="162" y="23"/>
                  </a:cubicBezTo>
                  <a:cubicBezTo>
                    <a:pt x="160" y="24"/>
                    <a:pt x="159" y="24"/>
                    <a:pt x="158" y="24"/>
                  </a:cubicBezTo>
                  <a:cubicBezTo>
                    <a:pt x="158" y="24"/>
                    <a:pt x="158" y="24"/>
                    <a:pt x="158" y="24"/>
                  </a:cubicBezTo>
                  <a:cubicBezTo>
                    <a:pt x="150" y="21"/>
                    <a:pt x="144" y="20"/>
                    <a:pt x="136" y="19"/>
                  </a:cubicBezTo>
                  <a:cubicBezTo>
                    <a:pt x="133" y="19"/>
                    <a:pt x="131" y="15"/>
                    <a:pt x="129" y="12"/>
                  </a:cubicBezTo>
                  <a:cubicBezTo>
                    <a:pt x="129" y="12"/>
                    <a:pt x="128" y="12"/>
                    <a:pt x="128" y="12"/>
                  </a:cubicBezTo>
                  <a:cubicBezTo>
                    <a:pt x="127" y="12"/>
                    <a:pt x="123" y="14"/>
                    <a:pt x="122" y="15"/>
                  </a:cubicBezTo>
                  <a:cubicBezTo>
                    <a:pt x="122" y="17"/>
                    <a:pt x="120" y="25"/>
                    <a:pt x="116" y="25"/>
                  </a:cubicBezTo>
                  <a:cubicBezTo>
                    <a:pt x="116" y="25"/>
                    <a:pt x="116" y="25"/>
                    <a:pt x="116" y="25"/>
                  </a:cubicBezTo>
                  <a:cubicBezTo>
                    <a:pt x="110" y="25"/>
                    <a:pt x="104" y="23"/>
                    <a:pt x="97" y="23"/>
                  </a:cubicBezTo>
                  <a:cubicBezTo>
                    <a:pt x="97" y="22"/>
                    <a:pt x="96" y="22"/>
                    <a:pt x="95" y="22"/>
                  </a:cubicBezTo>
                  <a:cubicBezTo>
                    <a:pt x="94" y="22"/>
                    <a:pt x="93" y="22"/>
                    <a:pt x="92" y="23"/>
                  </a:cubicBezTo>
                  <a:cubicBezTo>
                    <a:pt x="91" y="23"/>
                    <a:pt x="90" y="23"/>
                    <a:pt x="89" y="23"/>
                  </a:cubicBezTo>
                  <a:cubicBezTo>
                    <a:pt x="89" y="23"/>
                    <a:pt x="88" y="23"/>
                    <a:pt x="88" y="23"/>
                  </a:cubicBezTo>
                  <a:cubicBezTo>
                    <a:pt x="85" y="22"/>
                    <a:pt x="82" y="22"/>
                    <a:pt x="80" y="22"/>
                  </a:cubicBezTo>
                  <a:cubicBezTo>
                    <a:pt x="77" y="21"/>
                    <a:pt x="73" y="21"/>
                    <a:pt x="73" y="18"/>
                  </a:cubicBezTo>
                  <a:cubicBezTo>
                    <a:pt x="72" y="15"/>
                    <a:pt x="70" y="13"/>
                    <a:pt x="68" y="10"/>
                  </a:cubicBezTo>
                  <a:cubicBezTo>
                    <a:pt x="67" y="9"/>
                    <a:pt x="66" y="9"/>
                    <a:pt x="65" y="9"/>
                  </a:cubicBezTo>
                  <a:cubicBezTo>
                    <a:pt x="65" y="9"/>
                    <a:pt x="64" y="9"/>
                    <a:pt x="64" y="9"/>
                  </a:cubicBezTo>
                  <a:cubicBezTo>
                    <a:pt x="64" y="9"/>
                    <a:pt x="63" y="9"/>
                    <a:pt x="63" y="9"/>
                  </a:cubicBezTo>
                  <a:cubicBezTo>
                    <a:pt x="63" y="9"/>
                    <a:pt x="63" y="9"/>
                    <a:pt x="63" y="9"/>
                  </a:cubicBezTo>
                  <a:cubicBezTo>
                    <a:pt x="59" y="9"/>
                    <a:pt x="56" y="8"/>
                    <a:pt x="53" y="8"/>
                  </a:cubicBezTo>
                  <a:cubicBezTo>
                    <a:pt x="49" y="8"/>
                    <a:pt x="47" y="6"/>
                    <a:pt x="44" y="4"/>
                  </a:cubicBezTo>
                  <a:cubicBezTo>
                    <a:pt x="44" y="4"/>
                    <a:pt x="41" y="2"/>
                    <a:pt x="39" y="1"/>
                  </a:cubicBezTo>
                  <a:cubicBezTo>
                    <a:pt x="41" y="2"/>
                    <a:pt x="42" y="4"/>
                    <a:pt x="42" y="7"/>
                  </a:cubicBezTo>
                  <a:cubicBezTo>
                    <a:pt x="42" y="10"/>
                    <a:pt x="39" y="13"/>
                    <a:pt x="36" y="13"/>
                  </a:cubicBezTo>
                  <a:cubicBezTo>
                    <a:pt x="32" y="13"/>
                    <a:pt x="29" y="10"/>
                    <a:pt x="29" y="7"/>
                  </a:cubicBezTo>
                  <a:cubicBezTo>
                    <a:pt x="29" y="6"/>
                    <a:pt x="30" y="5"/>
                    <a:pt x="30" y="4"/>
                  </a:cubicBezTo>
                  <a:cubicBezTo>
                    <a:pt x="24" y="3"/>
                    <a:pt x="19"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3" name="Freeform 1189">
              <a:extLst>
                <a:ext uri="{FF2B5EF4-FFF2-40B4-BE49-F238E27FC236}">
                  <a16:creationId xmlns:a16="http://schemas.microsoft.com/office/drawing/2014/main" id="{4B5C2BCD-836B-4104-85F5-7DA6FEB7F421}"/>
                </a:ext>
              </a:extLst>
            </p:cNvPr>
            <p:cNvSpPr>
              <a:spLocks/>
            </p:cNvSpPr>
            <p:nvPr/>
          </p:nvSpPr>
          <p:spPr bwMode="auto">
            <a:xfrm>
              <a:off x="3017571" y="4805567"/>
              <a:ext cx="30874" cy="34901"/>
            </a:xfrm>
            <a:custGeom>
              <a:avLst/>
              <a:gdLst>
                <a:gd name="T0" fmla="*/ 4 w 10"/>
                <a:gd name="T1" fmla="*/ 0 h 11"/>
                <a:gd name="T2" fmla="*/ 7 w 10"/>
                <a:gd name="T3" fmla="*/ 11 h 11"/>
                <a:gd name="T4" fmla="*/ 7 w 10"/>
                <a:gd name="T5" fmla="*/ 2 h 11"/>
                <a:gd name="T6" fmla="*/ 4 w 10"/>
                <a:gd name="T7" fmla="*/ 0 h 11"/>
              </a:gdLst>
              <a:ahLst/>
              <a:cxnLst>
                <a:cxn ang="0">
                  <a:pos x="T0" y="T1"/>
                </a:cxn>
                <a:cxn ang="0">
                  <a:pos x="T2" y="T3"/>
                </a:cxn>
                <a:cxn ang="0">
                  <a:pos x="T4" y="T5"/>
                </a:cxn>
                <a:cxn ang="0">
                  <a:pos x="T6" y="T7"/>
                </a:cxn>
              </a:cxnLst>
              <a:rect l="0" t="0" r="r" b="b"/>
              <a:pathLst>
                <a:path w="10" h="11">
                  <a:moveTo>
                    <a:pt x="4" y="0"/>
                  </a:moveTo>
                  <a:cubicBezTo>
                    <a:pt x="0" y="2"/>
                    <a:pt x="5" y="9"/>
                    <a:pt x="7" y="11"/>
                  </a:cubicBezTo>
                  <a:cubicBezTo>
                    <a:pt x="9" y="7"/>
                    <a:pt x="10" y="5"/>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4" name="Freeform 1190">
              <a:extLst>
                <a:ext uri="{FF2B5EF4-FFF2-40B4-BE49-F238E27FC236}">
                  <a16:creationId xmlns:a16="http://schemas.microsoft.com/office/drawing/2014/main" id="{F2C5D98F-22F5-4512-8D58-523861508277}"/>
                </a:ext>
              </a:extLst>
            </p:cNvPr>
            <p:cNvSpPr>
              <a:spLocks/>
            </p:cNvSpPr>
            <p:nvPr/>
          </p:nvSpPr>
          <p:spPr bwMode="auto">
            <a:xfrm>
              <a:off x="4683409" y="5029737"/>
              <a:ext cx="69801" cy="29531"/>
            </a:xfrm>
            <a:custGeom>
              <a:avLst/>
              <a:gdLst>
                <a:gd name="T0" fmla="*/ 4 w 22"/>
                <a:gd name="T1" fmla="*/ 0 h 9"/>
                <a:gd name="T2" fmla="*/ 1 w 22"/>
                <a:gd name="T3" fmla="*/ 1 h 9"/>
                <a:gd name="T4" fmla="*/ 0 w 22"/>
                <a:gd name="T5" fmla="*/ 9 h 9"/>
                <a:gd name="T6" fmla="*/ 7 w 22"/>
                <a:gd name="T7" fmla="*/ 8 h 9"/>
                <a:gd name="T8" fmla="*/ 10 w 22"/>
                <a:gd name="T9" fmla="*/ 7 h 9"/>
                <a:gd name="T10" fmla="*/ 11 w 22"/>
                <a:gd name="T11" fmla="*/ 7 h 9"/>
                <a:gd name="T12" fmla="*/ 15 w 22"/>
                <a:gd name="T13" fmla="*/ 8 h 9"/>
                <a:gd name="T14" fmla="*/ 20 w 22"/>
                <a:gd name="T15" fmla="*/ 7 h 9"/>
                <a:gd name="T16" fmla="*/ 22 w 22"/>
                <a:gd name="T17" fmla="*/ 4 h 9"/>
                <a:gd name="T18" fmla="*/ 21 w 22"/>
                <a:gd name="T19" fmla="*/ 3 h 9"/>
                <a:gd name="T20" fmla="*/ 21 w 22"/>
                <a:gd name="T21" fmla="*/ 3 h 9"/>
                <a:gd name="T22" fmla="*/ 20 w 22"/>
                <a:gd name="T23" fmla="*/ 3 h 9"/>
                <a:gd name="T24" fmla="*/ 19 w 22"/>
                <a:gd name="T25" fmla="*/ 4 h 9"/>
                <a:gd name="T26" fmla="*/ 19 w 22"/>
                <a:gd name="T27" fmla="*/ 3 h 9"/>
                <a:gd name="T28" fmla="*/ 19 w 22"/>
                <a:gd name="T29" fmla="*/ 3 h 9"/>
                <a:gd name="T30" fmla="*/ 17 w 22"/>
                <a:gd name="T31" fmla="*/ 2 h 9"/>
                <a:gd name="T32" fmla="*/ 17 w 22"/>
                <a:gd name="T33" fmla="*/ 2 h 9"/>
                <a:gd name="T34" fmla="*/ 15 w 22"/>
                <a:gd name="T35" fmla="*/ 3 h 9"/>
                <a:gd name="T36" fmla="*/ 15 w 22"/>
                <a:gd name="T37" fmla="*/ 4 h 9"/>
                <a:gd name="T38" fmla="*/ 14 w 22"/>
                <a:gd name="T39" fmla="*/ 3 h 9"/>
                <a:gd name="T40" fmla="*/ 4 w 22"/>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9">
                  <a:moveTo>
                    <a:pt x="4" y="0"/>
                  </a:moveTo>
                  <a:cubicBezTo>
                    <a:pt x="3" y="0"/>
                    <a:pt x="1" y="0"/>
                    <a:pt x="1" y="1"/>
                  </a:cubicBezTo>
                  <a:cubicBezTo>
                    <a:pt x="0" y="4"/>
                    <a:pt x="0" y="7"/>
                    <a:pt x="0" y="9"/>
                  </a:cubicBezTo>
                  <a:cubicBezTo>
                    <a:pt x="3" y="9"/>
                    <a:pt x="5" y="9"/>
                    <a:pt x="7" y="8"/>
                  </a:cubicBezTo>
                  <a:cubicBezTo>
                    <a:pt x="8" y="8"/>
                    <a:pt x="9" y="7"/>
                    <a:pt x="10" y="7"/>
                  </a:cubicBezTo>
                  <a:cubicBezTo>
                    <a:pt x="10" y="7"/>
                    <a:pt x="10" y="7"/>
                    <a:pt x="11" y="7"/>
                  </a:cubicBezTo>
                  <a:cubicBezTo>
                    <a:pt x="12" y="7"/>
                    <a:pt x="13" y="8"/>
                    <a:pt x="15" y="8"/>
                  </a:cubicBezTo>
                  <a:cubicBezTo>
                    <a:pt x="16" y="8"/>
                    <a:pt x="18" y="7"/>
                    <a:pt x="20" y="7"/>
                  </a:cubicBezTo>
                  <a:cubicBezTo>
                    <a:pt x="21" y="6"/>
                    <a:pt x="22" y="6"/>
                    <a:pt x="22" y="4"/>
                  </a:cubicBezTo>
                  <a:cubicBezTo>
                    <a:pt x="21" y="3"/>
                    <a:pt x="21" y="3"/>
                    <a:pt x="21" y="3"/>
                  </a:cubicBezTo>
                  <a:cubicBezTo>
                    <a:pt x="21" y="3"/>
                    <a:pt x="21" y="3"/>
                    <a:pt x="21" y="3"/>
                  </a:cubicBezTo>
                  <a:cubicBezTo>
                    <a:pt x="20" y="3"/>
                    <a:pt x="19" y="3"/>
                    <a:pt x="20" y="3"/>
                  </a:cubicBezTo>
                  <a:cubicBezTo>
                    <a:pt x="19" y="4"/>
                    <a:pt x="19" y="4"/>
                    <a:pt x="19" y="4"/>
                  </a:cubicBezTo>
                  <a:cubicBezTo>
                    <a:pt x="19" y="4"/>
                    <a:pt x="19" y="3"/>
                    <a:pt x="19" y="3"/>
                  </a:cubicBezTo>
                  <a:cubicBezTo>
                    <a:pt x="19" y="3"/>
                    <a:pt x="19" y="3"/>
                    <a:pt x="19" y="3"/>
                  </a:cubicBezTo>
                  <a:cubicBezTo>
                    <a:pt x="18" y="3"/>
                    <a:pt x="18" y="2"/>
                    <a:pt x="17" y="2"/>
                  </a:cubicBezTo>
                  <a:cubicBezTo>
                    <a:pt x="17" y="2"/>
                    <a:pt x="17" y="2"/>
                    <a:pt x="17" y="2"/>
                  </a:cubicBezTo>
                  <a:cubicBezTo>
                    <a:pt x="17" y="2"/>
                    <a:pt x="16" y="3"/>
                    <a:pt x="15" y="3"/>
                  </a:cubicBezTo>
                  <a:cubicBezTo>
                    <a:pt x="15" y="3"/>
                    <a:pt x="15" y="4"/>
                    <a:pt x="15" y="4"/>
                  </a:cubicBezTo>
                  <a:cubicBezTo>
                    <a:pt x="15" y="4"/>
                    <a:pt x="15" y="3"/>
                    <a:pt x="14" y="3"/>
                  </a:cubicBezTo>
                  <a:cubicBezTo>
                    <a:pt x="12"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5" name="Freeform 1191">
              <a:extLst>
                <a:ext uri="{FF2B5EF4-FFF2-40B4-BE49-F238E27FC236}">
                  <a16:creationId xmlns:a16="http://schemas.microsoft.com/office/drawing/2014/main" id="{3A7D80AD-00D4-4A50-8F8B-F39104BE16FB}"/>
                </a:ext>
              </a:extLst>
            </p:cNvPr>
            <p:cNvSpPr>
              <a:spLocks/>
            </p:cNvSpPr>
            <p:nvPr/>
          </p:nvSpPr>
          <p:spPr bwMode="auto">
            <a:xfrm>
              <a:off x="4593473" y="5525060"/>
              <a:ext cx="55036" cy="25504"/>
            </a:xfrm>
            <a:custGeom>
              <a:avLst/>
              <a:gdLst>
                <a:gd name="T0" fmla="*/ 14 w 17"/>
                <a:gd name="T1" fmla="*/ 0 h 8"/>
                <a:gd name="T2" fmla="*/ 11 w 17"/>
                <a:gd name="T3" fmla="*/ 1 h 8"/>
                <a:gd name="T4" fmla="*/ 11 w 17"/>
                <a:gd name="T5" fmla="*/ 1 h 8"/>
                <a:gd name="T6" fmla="*/ 11 w 17"/>
                <a:gd name="T7" fmla="*/ 0 h 8"/>
                <a:gd name="T8" fmla="*/ 11 w 17"/>
                <a:gd name="T9" fmla="*/ 0 h 8"/>
                <a:gd name="T10" fmla="*/ 10 w 17"/>
                <a:gd name="T11" fmla="*/ 0 h 8"/>
                <a:gd name="T12" fmla="*/ 10 w 17"/>
                <a:gd name="T13" fmla="*/ 2 h 8"/>
                <a:gd name="T14" fmla="*/ 9 w 17"/>
                <a:gd name="T15" fmla="*/ 4 h 8"/>
                <a:gd name="T16" fmla="*/ 8 w 17"/>
                <a:gd name="T17" fmla="*/ 4 h 8"/>
                <a:gd name="T18" fmla="*/ 7 w 17"/>
                <a:gd name="T19" fmla="*/ 1 h 8"/>
                <a:gd name="T20" fmla="*/ 5 w 17"/>
                <a:gd name="T21" fmla="*/ 1 h 8"/>
                <a:gd name="T22" fmla="*/ 0 w 17"/>
                <a:gd name="T23" fmla="*/ 8 h 8"/>
                <a:gd name="T24" fmla="*/ 5 w 17"/>
                <a:gd name="T25" fmla="*/ 8 h 8"/>
                <a:gd name="T26" fmla="*/ 7 w 17"/>
                <a:gd name="T27" fmla="*/ 8 h 8"/>
                <a:gd name="T28" fmla="*/ 9 w 17"/>
                <a:gd name="T29" fmla="*/ 8 h 8"/>
                <a:gd name="T30" fmla="*/ 9 w 17"/>
                <a:gd name="T31" fmla="*/ 7 h 8"/>
                <a:gd name="T32" fmla="*/ 9 w 17"/>
                <a:gd name="T33" fmla="*/ 6 h 8"/>
                <a:gd name="T34" fmla="*/ 12 w 17"/>
                <a:gd name="T35" fmla="*/ 5 h 8"/>
                <a:gd name="T36" fmla="*/ 17 w 17"/>
                <a:gd name="T37" fmla="*/ 0 h 8"/>
                <a:gd name="T38" fmla="*/ 14 w 17"/>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8">
                  <a:moveTo>
                    <a:pt x="14" y="0"/>
                  </a:moveTo>
                  <a:cubicBezTo>
                    <a:pt x="13" y="0"/>
                    <a:pt x="12" y="0"/>
                    <a:pt x="11" y="1"/>
                  </a:cubicBezTo>
                  <a:cubicBezTo>
                    <a:pt x="11" y="1"/>
                    <a:pt x="11" y="1"/>
                    <a:pt x="11" y="1"/>
                  </a:cubicBezTo>
                  <a:cubicBezTo>
                    <a:pt x="11" y="1"/>
                    <a:pt x="11" y="1"/>
                    <a:pt x="11" y="0"/>
                  </a:cubicBezTo>
                  <a:cubicBezTo>
                    <a:pt x="11" y="0"/>
                    <a:pt x="11" y="0"/>
                    <a:pt x="11" y="0"/>
                  </a:cubicBezTo>
                  <a:cubicBezTo>
                    <a:pt x="10" y="0"/>
                    <a:pt x="10" y="0"/>
                    <a:pt x="10" y="0"/>
                  </a:cubicBezTo>
                  <a:cubicBezTo>
                    <a:pt x="10" y="0"/>
                    <a:pt x="10" y="1"/>
                    <a:pt x="10" y="2"/>
                  </a:cubicBezTo>
                  <a:cubicBezTo>
                    <a:pt x="9" y="2"/>
                    <a:pt x="9" y="4"/>
                    <a:pt x="9" y="4"/>
                  </a:cubicBezTo>
                  <a:cubicBezTo>
                    <a:pt x="8" y="4"/>
                    <a:pt x="8" y="4"/>
                    <a:pt x="8" y="4"/>
                  </a:cubicBezTo>
                  <a:cubicBezTo>
                    <a:pt x="6" y="3"/>
                    <a:pt x="9" y="1"/>
                    <a:pt x="7" y="1"/>
                  </a:cubicBezTo>
                  <a:cubicBezTo>
                    <a:pt x="7" y="1"/>
                    <a:pt x="6" y="1"/>
                    <a:pt x="5" y="1"/>
                  </a:cubicBezTo>
                  <a:cubicBezTo>
                    <a:pt x="9" y="4"/>
                    <a:pt x="2" y="6"/>
                    <a:pt x="0" y="8"/>
                  </a:cubicBezTo>
                  <a:cubicBezTo>
                    <a:pt x="2" y="8"/>
                    <a:pt x="4" y="8"/>
                    <a:pt x="5" y="8"/>
                  </a:cubicBezTo>
                  <a:cubicBezTo>
                    <a:pt x="6" y="8"/>
                    <a:pt x="6" y="8"/>
                    <a:pt x="7" y="8"/>
                  </a:cubicBezTo>
                  <a:cubicBezTo>
                    <a:pt x="8" y="8"/>
                    <a:pt x="9" y="8"/>
                    <a:pt x="9" y="8"/>
                  </a:cubicBezTo>
                  <a:cubicBezTo>
                    <a:pt x="9" y="8"/>
                    <a:pt x="9" y="7"/>
                    <a:pt x="9" y="7"/>
                  </a:cubicBezTo>
                  <a:cubicBezTo>
                    <a:pt x="9" y="6"/>
                    <a:pt x="9" y="6"/>
                    <a:pt x="9" y="6"/>
                  </a:cubicBezTo>
                  <a:cubicBezTo>
                    <a:pt x="10" y="5"/>
                    <a:pt x="11" y="5"/>
                    <a:pt x="12" y="5"/>
                  </a:cubicBezTo>
                  <a:cubicBezTo>
                    <a:pt x="13" y="4"/>
                    <a:pt x="16" y="2"/>
                    <a:pt x="17" y="0"/>
                  </a:cubicBezTo>
                  <a:cubicBezTo>
                    <a:pt x="16"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6" name="Freeform 1192">
              <a:extLst>
                <a:ext uri="{FF2B5EF4-FFF2-40B4-BE49-F238E27FC236}">
                  <a16:creationId xmlns:a16="http://schemas.microsoft.com/office/drawing/2014/main" id="{A99305AB-5360-43CB-94A1-E462F8041F6D}"/>
                </a:ext>
              </a:extLst>
            </p:cNvPr>
            <p:cNvSpPr>
              <a:spLocks/>
            </p:cNvSpPr>
            <p:nvPr/>
          </p:nvSpPr>
          <p:spPr bwMode="auto">
            <a:xfrm>
              <a:off x="2813536" y="5061953"/>
              <a:ext cx="38928" cy="25504"/>
            </a:xfrm>
            <a:custGeom>
              <a:avLst/>
              <a:gdLst>
                <a:gd name="T0" fmla="*/ 6 w 12"/>
                <a:gd name="T1" fmla="*/ 0 h 8"/>
                <a:gd name="T2" fmla="*/ 5 w 12"/>
                <a:gd name="T3" fmla="*/ 0 h 8"/>
                <a:gd name="T4" fmla="*/ 12 w 12"/>
                <a:gd name="T5" fmla="*/ 8 h 8"/>
                <a:gd name="T6" fmla="*/ 8 w 12"/>
                <a:gd name="T7" fmla="*/ 1 h 8"/>
                <a:gd name="T8" fmla="*/ 6 w 12"/>
                <a:gd name="T9" fmla="*/ 0 h 8"/>
              </a:gdLst>
              <a:ahLst/>
              <a:cxnLst>
                <a:cxn ang="0">
                  <a:pos x="T0" y="T1"/>
                </a:cxn>
                <a:cxn ang="0">
                  <a:pos x="T2" y="T3"/>
                </a:cxn>
                <a:cxn ang="0">
                  <a:pos x="T4" y="T5"/>
                </a:cxn>
                <a:cxn ang="0">
                  <a:pos x="T6" y="T7"/>
                </a:cxn>
                <a:cxn ang="0">
                  <a:pos x="T8" y="T9"/>
                </a:cxn>
              </a:cxnLst>
              <a:rect l="0" t="0" r="r" b="b"/>
              <a:pathLst>
                <a:path w="12" h="8">
                  <a:moveTo>
                    <a:pt x="6" y="0"/>
                  </a:moveTo>
                  <a:cubicBezTo>
                    <a:pt x="5" y="0"/>
                    <a:pt x="5" y="0"/>
                    <a:pt x="5" y="0"/>
                  </a:cubicBezTo>
                  <a:cubicBezTo>
                    <a:pt x="0" y="3"/>
                    <a:pt x="10" y="7"/>
                    <a:pt x="12" y="8"/>
                  </a:cubicBezTo>
                  <a:cubicBezTo>
                    <a:pt x="11" y="7"/>
                    <a:pt x="9" y="2"/>
                    <a:pt x="8" y="1"/>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7" name="Freeform 1193">
              <a:extLst>
                <a:ext uri="{FF2B5EF4-FFF2-40B4-BE49-F238E27FC236}">
                  <a16:creationId xmlns:a16="http://schemas.microsoft.com/office/drawing/2014/main" id="{7A549D23-9419-419B-99C0-4294EFDFC12C}"/>
                </a:ext>
              </a:extLst>
            </p:cNvPr>
            <p:cNvSpPr>
              <a:spLocks/>
            </p:cNvSpPr>
            <p:nvPr/>
          </p:nvSpPr>
          <p:spPr bwMode="auto">
            <a:xfrm>
              <a:off x="4174664" y="4601532"/>
              <a:ext cx="6712" cy="9396"/>
            </a:xfrm>
            <a:custGeom>
              <a:avLst/>
              <a:gdLst>
                <a:gd name="T0" fmla="*/ 0 w 2"/>
                <a:gd name="T1" fmla="*/ 0 h 3"/>
                <a:gd name="T2" fmla="*/ 1 w 2"/>
                <a:gd name="T3" fmla="*/ 2 h 3"/>
                <a:gd name="T4" fmla="*/ 1 w 2"/>
                <a:gd name="T5" fmla="*/ 3 h 3"/>
                <a:gd name="T6" fmla="*/ 2 w 2"/>
                <a:gd name="T7" fmla="*/ 3 h 3"/>
                <a:gd name="T8" fmla="*/ 2 w 2"/>
                <a:gd name="T9" fmla="*/ 3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0" y="0"/>
                  </a:moveTo>
                  <a:cubicBezTo>
                    <a:pt x="0" y="1"/>
                    <a:pt x="1" y="2"/>
                    <a:pt x="1" y="2"/>
                  </a:cubicBezTo>
                  <a:cubicBezTo>
                    <a:pt x="1" y="3"/>
                    <a:pt x="1" y="3"/>
                    <a:pt x="1" y="3"/>
                  </a:cubicBezTo>
                  <a:cubicBezTo>
                    <a:pt x="1" y="3"/>
                    <a:pt x="2" y="3"/>
                    <a:pt x="2" y="3"/>
                  </a:cubicBezTo>
                  <a:cubicBezTo>
                    <a:pt x="2" y="3"/>
                    <a:pt x="2" y="3"/>
                    <a:pt x="2" y="3"/>
                  </a:cubicBezTo>
                  <a:cubicBezTo>
                    <a:pt x="2"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8" name="Freeform 1194">
              <a:extLst>
                <a:ext uri="{FF2B5EF4-FFF2-40B4-BE49-F238E27FC236}">
                  <a16:creationId xmlns:a16="http://schemas.microsoft.com/office/drawing/2014/main" id="{E073217D-D407-4723-99E2-E67AF504A807}"/>
                </a:ext>
              </a:extLst>
            </p:cNvPr>
            <p:cNvSpPr>
              <a:spLocks/>
            </p:cNvSpPr>
            <p:nvPr/>
          </p:nvSpPr>
          <p:spPr bwMode="auto">
            <a:xfrm>
              <a:off x="5672710" y="5461970"/>
              <a:ext cx="104702" cy="79198"/>
            </a:xfrm>
            <a:custGeom>
              <a:avLst/>
              <a:gdLst>
                <a:gd name="T0" fmla="*/ 24 w 33"/>
                <a:gd name="T1" fmla="*/ 0 h 25"/>
                <a:gd name="T2" fmla="*/ 15 w 33"/>
                <a:gd name="T3" fmla="*/ 1 h 25"/>
                <a:gd name="T4" fmla="*/ 5 w 33"/>
                <a:gd name="T5" fmla="*/ 12 h 25"/>
                <a:gd name="T6" fmla="*/ 0 w 33"/>
                <a:gd name="T7" fmla="*/ 25 h 25"/>
                <a:gd name="T8" fmla="*/ 2 w 33"/>
                <a:gd name="T9" fmla="*/ 24 h 25"/>
                <a:gd name="T10" fmla="*/ 7 w 33"/>
                <a:gd name="T11" fmla="*/ 24 h 25"/>
                <a:gd name="T12" fmla="*/ 9 w 33"/>
                <a:gd name="T13" fmla="*/ 24 h 25"/>
                <a:gd name="T14" fmla="*/ 15 w 33"/>
                <a:gd name="T15" fmla="*/ 25 h 25"/>
                <a:gd name="T16" fmla="*/ 18 w 33"/>
                <a:gd name="T17" fmla="*/ 24 h 25"/>
                <a:gd name="T18" fmla="*/ 23 w 33"/>
                <a:gd name="T19" fmla="*/ 20 h 25"/>
                <a:gd name="T20" fmla="*/ 25 w 33"/>
                <a:gd name="T21" fmla="*/ 18 h 25"/>
                <a:gd name="T22" fmla="*/ 29 w 33"/>
                <a:gd name="T23" fmla="*/ 16 h 25"/>
                <a:gd name="T24" fmla="*/ 29 w 33"/>
                <a:gd name="T25" fmla="*/ 13 h 25"/>
                <a:gd name="T26" fmla="*/ 31 w 33"/>
                <a:gd name="T27" fmla="*/ 11 h 25"/>
                <a:gd name="T28" fmla="*/ 31 w 33"/>
                <a:gd name="T29" fmla="*/ 9 h 25"/>
                <a:gd name="T30" fmla="*/ 32 w 33"/>
                <a:gd name="T31" fmla="*/ 5 h 25"/>
                <a:gd name="T32" fmla="*/ 29 w 33"/>
                <a:gd name="T33" fmla="*/ 3 h 25"/>
                <a:gd name="T34" fmla="*/ 24 w 33"/>
                <a:gd name="T35" fmla="*/ 0 h 25"/>
                <a:gd name="T36" fmla="*/ 24 w 33"/>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5">
                  <a:moveTo>
                    <a:pt x="24" y="0"/>
                  </a:moveTo>
                  <a:cubicBezTo>
                    <a:pt x="21" y="0"/>
                    <a:pt x="18" y="0"/>
                    <a:pt x="15" y="1"/>
                  </a:cubicBezTo>
                  <a:cubicBezTo>
                    <a:pt x="10" y="5"/>
                    <a:pt x="7" y="7"/>
                    <a:pt x="5" y="12"/>
                  </a:cubicBezTo>
                  <a:cubicBezTo>
                    <a:pt x="3" y="16"/>
                    <a:pt x="1" y="21"/>
                    <a:pt x="0" y="25"/>
                  </a:cubicBezTo>
                  <a:cubicBezTo>
                    <a:pt x="0" y="25"/>
                    <a:pt x="1" y="24"/>
                    <a:pt x="2" y="24"/>
                  </a:cubicBezTo>
                  <a:cubicBezTo>
                    <a:pt x="4" y="24"/>
                    <a:pt x="5" y="24"/>
                    <a:pt x="7" y="24"/>
                  </a:cubicBezTo>
                  <a:cubicBezTo>
                    <a:pt x="8" y="24"/>
                    <a:pt x="9" y="24"/>
                    <a:pt x="9" y="24"/>
                  </a:cubicBezTo>
                  <a:cubicBezTo>
                    <a:pt x="11" y="24"/>
                    <a:pt x="13" y="25"/>
                    <a:pt x="15" y="25"/>
                  </a:cubicBezTo>
                  <a:cubicBezTo>
                    <a:pt x="16" y="25"/>
                    <a:pt x="17" y="24"/>
                    <a:pt x="18" y="24"/>
                  </a:cubicBezTo>
                  <a:cubicBezTo>
                    <a:pt x="20" y="23"/>
                    <a:pt x="21" y="21"/>
                    <a:pt x="23" y="20"/>
                  </a:cubicBezTo>
                  <a:cubicBezTo>
                    <a:pt x="23" y="20"/>
                    <a:pt x="24" y="19"/>
                    <a:pt x="25" y="18"/>
                  </a:cubicBezTo>
                  <a:cubicBezTo>
                    <a:pt x="26" y="18"/>
                    <a:pt x="28" y="18"/>
                    <a:pt x="29" y="16"/>
                  </a:cubicBezTo>
                  <a:cubicBezTo>
                    <a:pt x="29" y="16"/>
                    <a:pt x="29" y="14"/>
                    <a:pt x="29" y="13"/>
                  </a:cubicBezTo>
                  <a:cubicBezTo>
                    <a:pt x="29" y="12"/>
                    <a:pt x="30" y="12"/>
                    <a:pt x="31" y="11"/>
                  </a:cubicBezTo>
                  <a:cubicBezTo>
                    <a:pt x="31" y="10"/>
                    <a:pt x="31" y="10"/>
                    <a:pt x="31" y="9"/>
                  </a:cubicBezTo>
                  <a:cubicBezTo>
                    <a:pt x="32" y="8"/>
                    <a:pt x="33" y="6"/>
                    <a:pt x="32" y="5"/>
                  </a:cubicBezTo>
                  <a:cubicBezTo>
                    <a:pt x="31" y="4"/>
                    <a:pt x="30" y="4"/>
                    <a:pt x="29" y="3"/>
                  </a:cubicBezTo>
                  <a:cubicBezTo>
                    <a:pt x="27" y="1"/>
                    <a:pt x="27" y="0"/>
                    <a:pt x="24" y="0"/>
                  </a:cubicBez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9" name="Freeform 1195">
              <a:extLst>
                <a:ext uri="{FF2B5EF4-FFF2-40B4-BE49-F238E27FC236}">
                  <a16:creationId xmlns:a16="http://schemas.microsoft.com/office/drawing/2014/main" id="{DDF8D3FB-AFD4-4288-ACE5-6F82B0452EFD}"/>
                </a:ext>
              </a:extLst>
            </p:cNvPr>
            <p:cNvSpPr>
              <a:spLocks/>
            </p:cNvSpPr>
            <p:nvPr/>
          </p:nvSpPr>
          <p:spPr bwMode="auto">
            <a:xfrm>
              <a:off x="5402901" y="5369348"/>
              <a:ext cx="44297" cy="57720"/>
            </a:xfrm>
            <a:custGeom>
              <a:avLst/>
              <a:gdLst>
                <a:gd name="T0" fmla="*/ 2 w 14"/>
                <a:gd name="T1" fmla="*/ 0 h 18"/>
                <a:gd name="T2" fmla="*/ 4 w 14"/>
                <a:gd name="T3" fmla="*/ 8 h 18"/>
                <a:gd name="T4" fmla="*/ 3 w 14"/>
                <a:gd name="T5" fmla="*/ 8 h 18"/>
                <a:gd name="T6" fmla="*/ 1 w 14"/>
                <a:gd name="T7" fmla="*/ 16 h 18"/>
                <a:gd name="T8" fmla="*/ 4 w 14"/>
                <a:gd name="T9" fmla="*/ 18 h 18"/>
                <a:gd name="T10" fmla="*/ 9 w 14"/>
                <a:gd name="T11" fmla="*/ 12 h 18"/>
                <a:gd name="T12" fmla="*/ 9 w 14"/>
                <a:gd name="T13" fmla="*/ 12 h 18"/>
                <a:gd name="T14" fmla="*/ 2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2" y="0"/>
                  </a:moveTo>
                  <a:cubicBezTo>
                    <a:pt x="1" y="3"/>
                    <a:pt x="1" y="7"/>
                    <a:pt x="4" y="8"/>
                  </a:cubicBezTo>
                  <a:cubicBezTo>
                    <a:pt x="4" y="8"/>
                    <a:pt x="3" y="8"/>
                    <a:pt x="3" y="8"/>
                  </a:cubicBezTo>
                  <a:cubicBezTo>
                    <a:pt x="0" y="8"/>
                    <a:pt x="0" y="15"/>
                    <a:pt x="1" y="16"/>
                  </a:cubicBezTo>
                  <a:cubicBezTo>
                    <a:pt x="2" y="17"/>
                    <a:pt x="3" y="18"/>
                    <a:pt x="4" y="18"/>
                  </a:cubicBezTo>
                  <a:cubicBezTo>
                    <a:pt x="6" y="18"/>
                    <a:pt x="8" y="14"/>
                    <a:pt x="9" y="12"/>
                  </a:cubicBezTo>
                  <a:cubicBezTo>
                    <a:pt x="9" y="12"/>
                    <a:pt x="9" y="12"/>
                    <a:pt x="9" y="12"/>
                  </a:cubicBezTo>
                  <a:cubicBezTo>
                    <a:pt x="14" y="12"/>
                    <a:pt x="3"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0" name="Freeform 1196">
              <a:extLst>
                <a:ext uri="{FF2B5EF4-FFF2-40B4-BE49-F238E27FC236}">
                  <a16:creationId xmlns:a16="http://schemas.microsoft.com/office/drawing/2014/main" id="{23DFC289-80CD-4D23-B882-02D0FE0EC3D2}"/>
                </a:ext>
              </a:extLst>
            </p:cNvPr>
            <p:cNvSpPr>
              <a:spLocks/>
            </p:cNvSpPr>
            <p:nvPr/>
          </p:nvSpPr>
          <p:spPr bwMode="auto">
            <a:xfrm>
              <a:off x="3806864" y="5424384"/>
              <a:ext cx="108729" cy="25504"/>
            </a:xfrm>
            <a:custGeom>
              <a:avLst/>
              <a:gdLst>
                <a:gd name="T0" fmla="*/ 13 w 34"/>
                <a:gd name="T1" fmla="*/ 0 h 8"/>
                <a:gd name="T2" fmla="*/ 2 w 34"/>
                <a:gd name="T3" fmla="*/ 4 h 8"/>
                <a:gd name="T4" fmla="*/ 4 w 34"/>
                <a:gd name="T5" fmla="*/ 7 h 8"/>
                <a:gd name="T6" fmla="*/ 12 w 34"/>
                <a:gd name="T7" fmla="*/ 8 h 8"/>
                <a:gd name="T8" fmla="*/ 34 w 34"/>
                <a:gd name="T9" fmla="*/ 2 h 8"/>
                <a:gd name="T10" fmla="*/ 28 w 34"/>
                <a:gd name="T11" fmla="*/ 0 h 8"/>
                <a:gd name="T12" fmla="*/ 23 w 34"/>
                <a:gd name="T13" fmla="*/ 0 h 8"/>
                <a:gd name="T14" fmla="*/ 13 w 3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
                  <a:moveTo>
                    <a:pt x="13" y="0"/>
                  </a:moveTo>
                  <a:cubicBezTo>
                    <a:pt x="8" y="0"/>
                    <a:pt x="3" y="1"/>
                    <a:pt x="2" y="4"/>
                  </a:cubicBezTo>
                  <a:cubicBezTo>
                    <a:pt x="0" y="7"/>
                    <a:pt x="2" y="6"/>
                    <a:pt x="4" y="7"/>
                  </a:cubicBezTo>
                  <a:cubicBezTo>
                    <a:pt x="6" y="8"/>
                    <a:pt x="9" y="8"/>
                    <a:pt x="12" y="8"/>
                  </a:cubicBezTo>
                  <a:cubicBezTo>
                    <a:pt x="20" y="8"/>
                    <a:pt x="27" y="5"/>
                    <a:pt x="34" y="2"/>
                  </a:cubicBezTo>
                  <a:cubicBezTo>
                    <a:pt x="32" y="0"/>
                    <a:pt x="30" y="0"/>
                    <a:pt x="28" y="0"/>
                  </a:cubicBezTo>
                  <a:cubicBezTo>
                    <a:pt x="26" y="0"/>
                    <a:pt x="24" y="0"/>
                    <a:pt x="23" y="0"/>
                  </a:cubicBezTo>
                  <a:cubicBezTo>
                    <a:pt x="20" y="0"/>
                    <a:pt x="16"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1" name="Freeform 1197">
              <a:extLst>
                <a:ext uri="{FF2B5EF4-FFF2-40B4-BE49-F238E27FC236}">
                  <a16:creationId xmlns:a16="http://schemas.microsoft.com/office/drawing/2014/main" id="{F256CA27-2F82-4208-B34D-E6B63D5E2DDB}"/>
                </a:ext>
              </a:extLst>
            </p:cNvPr>
            <p:cNvSpPr>
              <a:spLocks/>
            </p:cNvSpPr>
            <p:nvPr/>
          </p:nvSpPr>
          <p:spPr bwMode="auto">
            <a:xfrm>
              <a:off x="5326388" y="5306259"/>
              <a:ext cx="9396" cy="25504"/>
            </a:xfrm>
            <a:custGeom>
              <a:avLst/>
              <a:gdLst>
                <a:gd name="T0" fmla="*/ 3 w 3"/>
                <a:gd name="T1" fmla="*/ 0 h 8"/>
                <a:gd name="T2" fmla="*/ 0 w 3"/>
                <a:gd name="T3" fmla="*/ 8 h 8"/>
                <a:gd name="T4" fmla="*/ 3 w 3"/>
                <a:gd name="T5" fmla="*/ 0 h 8"/>
              </a:gdLst>
              <a:ahLst/>
              <a:cxnLst>
                <a:cxn ang="0">
                  <a:pos x="T0" y="T1"/>
                </a:cxn>
                <a:cxn ang="0">
                  <a:pos x="T2" y="T3"/>
                </a:cxn>
                <a:cxn ang="0">
                  <a:pos x="T4" y="T5"/>
                </a:cxn>
              </a:cxnLst>
              <a:rect l="0" t="0" r="r" b="b"/>
              <a:pathLst>
                <a:path w="3" h="8">
                  <a:moveTo>
                    <a:pt x="3" y="0"/>
                  </a:moveTo>
                  <a:cubicBezTo>
                    <a:pt x="1" y="0"/>
                    <a:pt x="0" y="6"/>
                    <a:pt x="0" y="8"/>
                  </a:cubicBezTo>
                  <a:cubicBezTo>
                    <a:pt x="1" y="5"/>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2" name="Freeform 1198">
              <a:extLst>
                <a:ext uri="{FF2B5EF4-FFF2-40B4-BE49-F238E27FC236}">
                  <a16:creationId xmlns:a16="http://schemas.microsoft.com/office/drawing/2014/main" id="{CC35CBF9-D5B1-48E0-AD6B-748867385472}"/>
                </a:ext>
              </a:extLst>
            </p:cNvPr>
            <p:cNvSpPr>
              <a:spLocks/>
            </p:cNvSpPr>
            <p:nvPr/>
          </p:nvSpPr>
          <p:spPr bwMode="auto">
            <a:xfrm>
              <a:off x="5314307" y="5331763"/>
              <a:ext cx="9396" cy="25504"/>
            </a:xfrm>
            <a:custGeom>
              <a:avLst/>
              <a:gdLst>
                <a:gd name="T0" fmla="*/ 3 w 3"/>
                <a:gd name="T1" fmla="*/ 0 h 8"/>
                <a:gd name="T2" fmla="*/ 0 w 3"/>
                <a:gd name="T3" fmla="*/ 8 h 8"/>
                <a:gd name="T4" fmla="*/ 3 w 3"/>
                <a:gd name="T5" fmla="*/ 0 h 8"/>
                <a:gd name="T6" fmla="*/ 3 w 3"/>
                <a:gd name="T7" fmla="*/ 0 h 8"/>
              </a:gdLst>
              <a:ahLst/>
              <a:cxnLst>
                <a:cxn ang="0">
                  <a:pos x="T0" y="T1"/>
                </a:cxn>
                <a:cxn ang="0">
                  <a:pos x="T2" y="T3"/>
                </a:cxn>
                <a:cxn ang="0">
                  <a:pos x="T4" y="T5"/>
                </a:cxn>
                <a:cxn ang="0">
                  <a:pos x="T6" y="T7"/>
                </a:cxn>
              </a:cxnLst>
              <a:rect l="0" t="0" r="r" b="b"/>
              <a:pathLst>
                <a:path w="3" h="8">
                  <a:moveTo>
                    <a:pt x="3" y="0"/>
                  </a:moveTo>
                  <a:cubicBezTo>
                    <a:pt x="1" y="0"/>
                    <a:pt x="0" y="7"/>
                    <a:pt x="0" y="8"/>
                  </a:cubicBezTo>
                  <a:cubicBezTo>
                    <a:pt x="1" y="6"/>
                    <a:pt x="2" y="3"/>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3" name="Freeform 1199">
              <a:extLst>
                <a:ext uri="{FF2B5EF4-FFF2-40B4-BE49-F238E27FC236}">
                  <a16:creationId xmlns:a16="http://schemas.microsoft.com/office/drawing/2014/main" id="{31F0A035-23CA-4C0B-B38D-61B710454943}"/>
                </a:ext>
              </a:extLst>
            </p:cNvPr>
            <p:cNvSpPr>
              <a:spLocks/>
            </p:cNvSpPr>
            <p:nvPr/>
          </p:nvSpPr>
          <p:spPr bwMode="auto">
            <a:xfrm>
              <a:off x="4337086" y="5512979"/>
              <a:ext cx="244305" cy="65775"/>
            </a:xfrm>
            <a:custGeom>
              <a:avLst/>
              <a:gdLst>
                <a:gd name="T0" fmla="*/ 73 w 77"/>
                <a:gd name="T1" fmla="*/ 0 h 21"/>
                <a:gd name="T2" fmla="*/ 75 w 77"/>
                <a:gd name="T3" fmla="*/ 3 h 21"/>
                <a:gd name="T4" fmla="*/ 64 w 77"/>
                <a:gd name="T5" fmla="*/ 11 h 21"/>
                <a:gd name="T6" fmla="*/ 64 w 77"/>
                <a:gd name="T7" fmla="*/ 13 h 21"/>
                <a:gd name="T8" fmla="*/ 61 w 77"/>
                <a:gd name="T9" fmla="*/ 14 h 21"/>
                <a:gd name="T10" fmla="*/ 57 w 77"/>
                <a:gd name="T11" fmla="*/ 13 h 21"/>
                <a:gd name="T12" fmla="*/ 47 w 77"/>
                <a:gd name="T13" fmla="*/ 10 h 21"/>
                <a:gd name="T14" fmla="*/ 44 w 77"/>
                <a:gd name="T15" fmla="*/ 10 h 21"/>
                <a:gd name="T16" fmla="*/ 41 w 77"/>
                <a:gd name="T17" fmla="*/ 13 h 21"/>
                <a:gd name="T18" fmla="*/ 40 w 77"/>
                <a:gd name="T19" fmla="*/ 13 h 21"/>
                <a:gd name="T20" fmla="*/ 32 w 77"/>
                <a:gd name="T21" fmla="*/ 8 h 21"/>
                <a:gd name="T22" fmla="*/ 18 w 77"/>
                <a:gd name="T23" fmla="*/ 6 h 21"/>
                <a:gd name="T24" fmla="*/ 13 w 77"/>
                <a:gd name="T25" fmla="*/ 6 h 21"/>
                <a:gd name="T26" fmla="*/ 1 w 77"/>
                <a:gd name="T27" fmla="*/ 12 h 21"/>
                <a:gd name="T28" fmla="*/ 9 w 77"/>
                <a:gd name="T29" fmla="*/ 18 h 21"/>
                <a:gd name="T30" fmla="*/ 12 w 77"/>
                <a:gd name="T31" fmla="*/ 18 h 21"/>
                <a:gd name="T32" fmla="*/ 21 w 77"/>
                <a:gd name="T33" fmla="*/ 18 h 21"/>
                <a:gd name="T34" fmla="*/ 25 w 77"/>
                <a:gd name="T35" fmla="*/ 18 h 21"/>
                <a:gd name="T36" fmla="*/ 28 w 77"/>
                <a:gd name="T37" fmla="*/ 21 h 21"/>
                <a:gd name="T38" fmla="*/ 29 w 77"/>
                <a:gd name="T39" fmla="*/ 21 h 21"/>
                <a:gd name="T40" fmla="*/ 37 w 77"/>
                <a:gd name="T41" fmla="*/ 18 h 21"/>
                <a:gd name="T42" fmla="*/ 38 w 77"/>
                <a:gd name="T43" fmla="*/ 18 h 21"/>
                <a:gd name="T44" fmla="*/ 41 w 77"/>
                <a:gd name="T45" fmla="*/ 19 h 21"/>
                <a:gd name="T46" fmla="*/ 45 w 77"/>
                <a:gd name="T47" fmla="*/ 20 h 21"/>
                <a:gd name="T48" fmla="*/ 45 w 77"/>
                <a:gd name="T49" fmla="*/ 20 h 21"/>
                <a:gd name="T50" fmla="*/ 53 w 77"/>
                <a:gd name="T51" fmla="*/ 18 h 21"/>
                <a:gd name="T52" fmla="*/ 65 w 77"/>
                <a:gd name="T53" fmla="*/ 15 h 21"/>
                <a:gd name="T54" fmla="*/ 71 w 77"/>
                <a:gd name="T55" fmla="*/ 13 h 21"/>
                <a:gd name="T56" fmla="*/ 73 w 77"/>
                <a:gd name="T57" fmla="*/ 11 h 21"/>
                <a:gd name="T58" fmla="*/ 76 w 77"/>
                <a:gd name="T59" fmla="*/ 7 h 21"/>
                <a:gd name="T60" fmla="*/ 76 w 77"/>
                <a:gd name="T61" fmla="*/ 7 h 21"/>
                <a:gd name="T62" fmla="*/ 77 w 77"/>
                <a:gd name="T63" fmla="*/ 6 h 21"/>
                <a:gd name="T64" fmla="*/ 73 w 77"/>
                <a:gd name="T6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 h="21">
                  <a:moveTo>
                    <a:pt x="73" y="0"/>
                  </a:moveTo>
                  <a:cubicBezTo>
                    <a:pt x="73" y="2"/>
                    <a:pt x="73" y="3"/>
                    <a:pt x="75" y="3"/>
                  </a:cubicBezTo>
                  <a:cubicBezTo>
                    <a:pt x="71" y="6"/>
                    <a:pt x="67" y="7"/>
                    <a:pt x="64" y="11"/>
                  </a:cubicBezTo>
                  <a:cubicBezTo>
                    <a:pt x="64" y="11"/>
                    <a:pt x="65" y="12"/>
                    <a:pt x="64" y="13"/>
                  </a:cubicBezTo>
                  <a:cubicBezTo>
                    <a:pt x="63" y="13"/>
                    <a:pt x="62" y="14"/>
                    <a:pt x="61" y="14"/>
                  </a:cubicBezTo>
                  <a:cubicBezTo>
                    <a:pt x="60" y="14"/>
                    <a:pt x="58" y="13"/>
                    <a:pt x="57" y="13"/>
                  </a:cubicBezTo>
                  <a:cubicBezTo>
                    <a:pt x="54" y="11"/>
                    <a:pt x="51" y="10"/>
                    <a:pt x="47" y="10"/>
                  </a:cubicBezTo>
                  <a:cubicBezTo>
                    <a:pt x="46" y="10"/>
                    <a:pt x="45" y="10"/>
                    <a:pt x="44" y="10"/>
                  </a:cubicBezTo>
                  <a:cubicBezTo>
                    <a:pt x="43" y="10"/>
                    <a:pt x="42" y="13"/>
                    <a:pt x="41" y="13"/>
                  </a:cubicBezTo>
                  <a:cubicBezTo>
                    <a:pt x="41" y="13"/>
                    <a:pt x="41" y="13"/>
                    <a:pt x="40" y="13"/>
                  </a:cubicBezTo>
                  <a:cubicBezTo>
                    <a:pt x="38" y="11"/>
                    <a:pt x="35" y="10"/>
                    <a:pt x="32" y="8"/>
                  </a:cubicBezTo>
                  <a:cubicBezTo>
                    <a:pt x="27" y="6"/>
                    <a:pt x="23" y="7"/>
                    <a:pt x="18" y="6"/>
                  </a:cubicBezTo>
                  <a:cubicBezTo>
                    <a:pt x="16" y="6"/>
                    <a:pt x="15" y="6"/>
                    <a:pt x="13" y="6"/>
                  </a:cubicBezTo>
                  <a:cubicBezTo>
                    <a:pt x="8" y="6"/>
                    <a:pt x="2" y="7"/>
                    <a:pt x="1" y="12"/>
                  </a:cubicBezTo>
                  <a:cubicBezTo>
                    <a:pt x="0" y="18"/>
                    <a:pt x="4" y="18"/>
                    <a:pt x="9" y="18"/>
                  </a:cubicBezTo>
                  <a:cubicBezTo>
                    <a:pt x="10" y="18"/>
                    <a:pt x="11" y="18"/>
                    <a:pt x="12" y="18"/>
                  </a:cubicBezTo>
                  <a:cubicBezTo>
                    <a:pt x="15" y="18"/>
                    <a:pt x="18" y="18"/>
                    <a:pt x="21" y="18"/>
                  </a:cubicBezTo>
                  <a:cubicBezTo>
                    <a:pt x="22" y="18"/>
                    <a:pt x="24" y="18"/>
                    <a:pt x="25" y="18"/>
                  </a:cubicBezTo>
                  <a:cubicBezTo>
                    <a:pt x="26" y="19"/>
                    <a:pt x="26" y="20"/>
                    <a:pt x="28" y="21"/>
                  </a:cubicBezTo>
                  <a:cubicBezTo>
                    <a:pt x="28" y="21"/>
                    <a:pt x="29" y="21"/>
                    <a:pt x="29" y="21"/>
                  </a:cubicBezTo>
                  <a:cubicBezTo>
                    <a:pt x="32" y="21"/>
                    <a:pt x="35" y="19"/>
                    <a:pt x="37" y="18"/>
                  </a:cubicBezTo>
                  <a:cubicBezTo>
                    <a:pt x="38" y="18"/>
                    <a:pt x="38" y="18"/>
                    <a:pt x="38" y="18"/>
                  </a:cubicBezTo>
                  <a:cubicBezTo>
                    <a:pt x="39" y="18"/>
                    <a:pt x="40" y="18"/>
                    <a:pt x="41" y="19"/>
                  </a:cubicBezTo>
                  <a:cubicBezTo>
                    <a:pt x="43" y="19"/>
                    <a:pt x="44" y="20"/>
                    <a:pt x="45" y="20"/>
                  </a:cubicBezTo>
                  <a:cubicBezTo>
                    <a:pt x="45" y="20"/>
                    <a:pt x="45" y="20"/>
                    <a:pt x="45" y="20"/>
                  </a:cubicBezTo>
                  <a:cubicBezTo>
                    <a:pt x="47" y="20"/>
                    <a:pt x="50" y="18"/>
                    <a:pt x="53" y="18"/>
                  </a:cubicBezTo>
                  <a:cubicBezTo>
                    <a:pt x="57" y="17"/>
                    <a:pt x="61" y="16"/>
                    <a:pt x="65" y="15"/>
                  </a:cubicBezTo>
                  <a:cubicBezTo>
                    <a:pt x="67" y="14"/>
                    <a:pt x="70" y="14"/>
                    <a:pt x="71" y="13"/>
                  </a:cubicBezTo>
                  <a:cubicBezTo>
                    <a:pt x="72" y="12"/>
                    <a:pt x="73" y="12"/>
                    <a:pt x="73" y="11"/>
                  </a:cubicBezTo>
                  <a:cubicBezTo>
                    <a:pt x="74" y="10"/>
                    <a:pt x="76" y="7"/>
                    <a:pt x="76" y="7"/>
                  </a:cubicBezTo>
                  <a:cubicBezTo>
                    <a:pt x="76" y="7"/>
                    <a:pt x="76" y="7"/>
                    <a:pt x="76" y="7"/>
                  </a:cubicBezTo>
                  <a:cubicBezTo>
                    <a:pt x="76" y="7"/>
                    <a:pt x="77" y="7"/>
                    <a:pt x="77" y="6"/>
                  </a:cubicBezTo>
                  <a:cubicBezTo>
                    <a:pt x="77" y="5"/>
                    <a:pt x="74" y="1"/>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4" name="Freeform 1200">
              <a:extLst>
                <a:ext uri="{FF2B5EF4-FFF2-40B4-BE49-F238E27FC236}">
                  <a16:creationId xmlns:a16="http://schemas.microsoft.com/office/drawing/2014/main" id="{DAEADC6A-3278-41C3-BF35-BBF251C65A53}"/>
                </a:ext>
              </a:extLst>
            </p:cNvPr>
            <p:cNvSpPr>
              <a:spLocks/>
            </p:cNvSpPr>
            <p:nvPr/>
          </p:nvSpPr>
          <p:spPr bwMode="auto">
            <a:xfrm>
              <a:off x="3939755" y="5512979"/>
              <a:ext cx="95306" cy="60405"/>
            </a:xfrm>
            <a:custGeom>
              <a:avLst/>
              <a:gdLst>
                <a:gd name="T0" fmla="*/ 15 w 30"/>
                <a:gd name="T1" fmla="*/ 0 h 19"/>
                <a:gd name="T2" fmla="*/ 0 w 30"/>
                <a:gd name="T3" fmla="*/ 2 h 19"/>
                <a:gd name="T4" fmla="*/ 11 w 30"/>
                <a:gd name="T5" fmla="*/ 10 h 19"/>
                <a:gd name="T6" fmla="*/ 15 w 30"/>
                <a:gd name="T7" fmla="*/ 14 h 19"/>
                <a:gd name="T8" fmla="*/ 16 w 30"/>
                <a:gd name="T9" fmla="*/ 19 h 19"/>
                <a:gd name="T10" fmla="*/ 16 w 30"/>
                <a:gd name="T11" fmla="*/ 19 h 19"/>
                <a:gd name="T12" fmla="*/ 20 w 30"/>
                <a:gd name="T13" fmla="*/ 14 h 19"/>
                <a:gd name="T14" fmla="*/ 29 w 30"/>
                <a:gd name="T15" fmla="*/ 7 h 19"/>
                <a:gd name="T16" fmla="*/ 26 w 30"/>
                <a:gd name="T17" fmla="*/ 4 h 19"/>
                <a:gd name="T18" fmla="*/ 15 w 30"/>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9">
                  <a:moveTo>
                    <a:pt x="15" y="0"/>
                  </a:moveTo>
                  <a:cubicBezTo>
                    <a:pt x="10" y="0"/>
                    <a:pt x="5" y="2"/>
                    <a:pt x="0" y="2"/>
                  </a:cubicBezTo>
                  <a:cubicBezTo>
                    <a:pt x="4" y="8"/>
                    <a:pt x="4" y="8"/>
                    <a:pt x="11" y="10"/>
                  </a:cubicBezTo>
                  <a:cubicBezTo>
                    <a:pt x="12" y="10"/>
                    <a:pt x="15" y="13"/>
                    <a:pt x="15" y="14"/>
                  </a:cubicBezTo>
                  <a:cubicBezTo>
                    <a:pt x="15" y="15"/>
                    <a:pt x="15" y="18"/>
                    <a:pt x="16" y="19"/>
                  </a:cubicBezTo>
                  <a:cubicBezTo>
                    <a:pt x="16" y="19"/>
                    <a:pt x="16" y="19"/>
                    <a:pt x="16" y="19"/>
                  </a:cubicBezTo>
                  <a:cubicBezTo>
                    <a:pt x="18" y="19"/>
                    <a:pt x="19" y="15"/>
                    <a:pt x="20" y="14"/>
                  </a:cubicBezTo>
                  <a:cubicBezTo>
                    <a:pt x="22" y="12"/>
                    <a:pt x="30" y="10"/>
                    <a:pt x="29" y="7"/>
                  </a:cubicBezTo>
                  <a:cubicBezTo>
                    <a:pt x="26" y="4"/>
                    <a:pt x="26" y="4"/>
                    <a:pt x="26" y="4"/>
                  </a:cubicBezTo>
                  <a:cubicBezTo>
                    <a:pt x="23" y="1"/>
                    <a:pt x="19"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5" name="Freeform 1201">
              <a:extLst>
                <a:ext uri="{FF2B5EF4-FFF2-40B4-BE49-F238E27FC236}">
                  <a16:creationId xmlns:a16="http://schemas.microsoft.com/office/drawing/2014/main" id="{11B6708B-3D3E-4ED4-A1EC-5C0551AB48AF}"/>
                </a:ext>
              </a:extLst>
            </p:cNvPr>
            <p:cNvSpPr>
              <a:spLocks/>
            </p:cNvSpPr>
            <p:nvPr/>
          </p:nvSpPr>
          <p:spPr bwMode="auto">
            <a:xfrm>
              <a:off x="2743734" y="4782747"/>
              <a:ext cx="9396" cy="6712"/>
            </a:xfrm>
            <a:custGeom>
              <a:avLst/>
              <a:gdLst>
                <a:gd name="T0" fmla="*/ 1 w 3"/>
                <a:gd name="T1" fmla="*/ 0 h 2"/>
                <a:gd name="T2" fmla="*/ 0 w 3"/>
                <a:gd name="T3" fmla="*/ 0 h 2"/>
                <a:gd name="T4" fmla="*/ 3 w 3"/>
                <a:gd name="T5" fmla="*/ 2 h 2"/>
                <a:gd name="T6" fmla="*/ 1 w 3"/>
                <a:gd name="T7" fmla="*/ 0 h 2"/>
              </a:gdLst>
              <a:ahLst/>
              <a:cxnLst>
                <a:cxn ang="0">
                  <a:pos x="T0" y="T1"/>
                </a:cxn>
                <a:cxn ang="0">
                  <a:pos x="T2" y="T3"/>
                </a:cxn>
                <a:cxn ang="0">
                  <a:pos x="T4" y="T5"/>
                </a:cxn>
                <a:cxn ang="0">
                  <a:pos x="T6" y="T7"/>
                </a:cxn>
              </a:cxnLst>
              <a:rect l="0" t="0" r="r" b="b"/>
              <a:pathLst>
                <a:path w="3" h="2">
                  <a:moveTo>
                    <a:pt x="1" y="0"/>
                  </a:moveTo>
                  <a:cubicBezTo>
                    <a:pt x="1" y="0"/>
                    <a:pt x="0" y="0"/>
                    <a:pt x="0" y="0"/>
                  </a:cubicBezTo>
                  <a:cubicBezTo>
                    <a:pt x="1" y="1"/>
                    <a:pt x="2" y="1"/>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6" name="Freeform 1202">
              <a:extLst>
                <a:ext uri="{FF2B5EF4-FFF2-40B4-BE49-F238E27FC236}">
                  <a16:creationId xmlns:a16="http://schemas.microsoft.com/office/drawing/2014/main" id="{35C5A970-932B-4AFF-AE1F-914A0852D719}"/>
                </a:ext>
              </a:extLst>
            </p:cNvPr>
            <p:cNvSpPr>
              <a:spLocks/>
            </p:cNvSpPr>
            <p:nvPr/>
          </p:nvSpPr>
          <p:spPr bwMode="auto">
            <a:xfrm>
              <a:off x="4020295" y="5557276"/>
              <a:ext cx="5369" cy="12081"/>
            </a:xfrm>
            <a:custGeom>
              <a:avLst/>
              <a:gdLst>
                <a:gd name="T0" fmla="*/ 0 w 2"/>
                <a:gd name="T1" fmla="*/ 0 h 4"/>
                <a:gd name="T2" fmla="*/ 0 w 2"/>
                <a:gd name="T3" fmla="*/ 0 h 4"/>
                <a:gd name="T4" fmla="*/ 2 w 2"/>
                <a:gd name="T5" fmla="*/ 4 h 4"/>
                <a:gd name="T6" fmla="*/ 0 w 2"/>
                <a:gd name="T7" fmla="*/ 0 h 4"/>
              </a:gdLst>
              <a:ahLst/>
              <a:cxnLst>
                <a:cxn ang="0">
                  <a:pos x="T0" y="T1"/>
                </a:cxn>
                <a:cxn ang="0">
                  <a:pos x="T2" y="T3"/>
                </a:cxn>
                <a:cxn ang="0">
                  <a:pos x="T4" y="T5"/>
                </a:cxn>
                <a:cxn ang="0">
                  <a:pos x="T6" y="T7"/>
                </a:cxn>
              </a:cxnLst>
              <a:rect l="0" t="0" r="r" b="b"/>
              <a:pathLst>
                <a:path w="2" h="4">
                  <a:moveTo>
                    <a:pt x="0" y="0"/>
                  </a:moveTo>
                  <a:cubicBezTo>
                    <a:pt x="0" y="0"/>
                    <a:pt x="0" y="0"/>
                    <a:pt x="0" y="0"/>
                  </a:cubicBezTo>
                  <a:cubicBezTo>
                    <a:pt x="0" y="2"/>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7" name="Freeform 1203">
              <a:extLst>
                <a:ext uri="{FF2B5EF4-FFF2-40B4-BE49-F238E27FC236}">
                  <a16:creationId xmlns:a16="http://schemas.microsoft.com/office/drawing/2014/main" id="{60E3B5FE-0AC5-418C-836E-F440D0890E4F}"/>
                </a:ext>
              </a:extLst>
            </p:cNvPr>
            <p:cNvSpPr>
              <a:spLocks/>
            </p:cNvSpPr>
            <p:nvPr/>
          </p:nvSpPr>
          <p:spPr bwMode="auto">
            <a:xfrm>
              <a:off x="3362551" y="5125043"/>
              <a:ext cx="13423" cy="9396"/>
            </a:xfrm>
            <a:custGeom>
              <a:avLst/>
              <a:gdLst>
                <a:gd name="T0" fmla="*/ 3 w 4"/>
                <a:gd name="T1" fmla="*/ 0 h 3"/>
                <a:gd name="T2" fmla="*/ 0 w 4"/>
                <a:gd name="T3" fmla="*/ 2 h 3"/>
                <a:gd name="T4" fmla="*/ 3 w 4"/>
                <a:gd name="T5" fmla="*/ 3 h 3"/>
                <a:gd name="T6" fmla="*/ 3 w 4"/>
                <a:gd name="T7" fmla="*/ 0 h 3"/>
              </a:gdLst>
              <a:ahLst/>
              <a:cxnLst>
                <a:cxn ang="0">
                  <a:pos x="T0" y="T1"/>
                </a:cxn>
                <a:cxn ang="0">
                  <a:pos x="T2" y="T3"/>
                </a:cxn>
                <a:cxn ang="0">
                  <a:pos x="T4" y="T5"/>
                </a:cxn>
                <a:cxn ang="0">
                  <a:pos x="T6" y="T7"/>
                </a:cxn>
              </a:cxnLst>
              <a:rect l="0" t="0" r="r" b="b"/>
              <a:pathLst>
                <a:path w="4" h="3">
                  <a:moveTo>
                    <a:pt x="3" y="0"/>
                  </a:moveTo>
                  <a:cubicBezTo>
                    <a:pt x="2" y="0"/>
                    <a:pt x="1" y="1"/>
                    <a:pt x="0" y="2"/>
                  </a:cubicBezTo>
                  <a:cubicBezTo>
                    <a:pt x="1" y="2"/>
                    <a:pt x="2" y="3"/>
                    <a:pt x="3" y="3"/>
                  </a:cubicBezTo>
                  <a:cubicBezTo>
                    <a:pt x="4"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8" name="Freeform 1204">
              <a:extLst>
                <a:ext uri="{FF2B5EF4-FFF2-40B4-BE49-F238E27FC236}">
                  <a16:creationId xmlns:a16="http://schemas.microsoft.com/office/drawing/2014/main" id="{B5D585E5-4F77-4EAD-8246-A1A507BC57B1}"/>
                </a:ext>
              </a:extLst>
            </p:cNvPr>
            <p:cNvSpPr>
              <a:spLocks/>
            </p:cNvSpPr>
            <p:nvPr/>
          </p:nvSpPr>
          <p:spPr bwMode="auto">
            <a:xfrm>
              <a:off x="3118246" y="4925035"/>
              <a:ext cx="18793" cy="10739"/>
            </a:xfrm>
            <a:custGeom>
              <a:avLst/>
              <a:gdLst>
                <a:gd name="T0" fmla="*/ 3 w 6"/>
                <a:gd name="T1" fmla="*/ 0 h 3"/>
                <a:gd name="T2" fmla="*/ 0 w 6"/>
                <a:gd name="T3" fmla="*/ 3 h 3"/>
                <a:gd name="T4" fmla="*/ 6 w 6"/>
                <a:gd name="T5" fmla="*/ 1 h 3"/>
                <a:gd name="T6" fmla="*/ 3 w 6"/>
                <a:gd name="T7" fmla="*/ 0 h 3"/>
              </a:gdLst>
              <a:ahLst/>
              <a:cxnLst>
                <a:cxn ang="0">
                  <a:pos x="T0" y="T1"/>
                </a:cxn>
                <a:cxn ang="0">
                  <a:pos x="T2" y="T3"/>
                </a:cxn>
                <a:cxn ang="0">
                  <a:pos x="T4" y="T5"/>
                </a:cxn>
                <a:cxn ang="0">
                  <a:pos x="T6" y="T7"/>
                </a:cxn>
              </a:cxnLst>
              <a:rect l="0" t="0" r="r" b="b"/>
              <a:pathLst>
                <a:path w="6" h="3">
                  <a:moveTo>
                    <a:pt x="3" y="0"/>
                  </a:moveTo>
                  <a:cubicBezTo>
                    <a:pt x="2" y="0"/>
                    <a:pt x="1" y="1"/>
                    <a:pt x="0" y="3"/>
                  </a:cubicBezTo>
                  <a:cubicBezTo>
                    <a:pt x="2" y="3"/>
                    <a:pt x="4" y="2"/>
                    <a:pt x="6" y="1"/>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9" name="Freeform 1205">
              <a:extLst>
                <a:ext uri="{FF2B5EF4-FFF2-40B4-BE49-F238E27FC236}">
                  <a16:creationId xmlns:a16="http://schemas.microsoft.com/office/drawing/2014/main" id="{007F44D7-A59C-425F-AD9F-876F804349B1}"/>
                </a:ext>
              </a:extLst>
            </p:cNvPr>
            <p:cNvSpPr>
              <a:spLocks/>
            </p:cNvSpPr>
            <p:nvPr/>
          </p:nvSpPr>
          <p:spPr bwMode="auto">
            <a:xfrm>
              <a:off x="3236371" y="5020341"/>
              <a:ext cx="135576" cy="120810"/>
            </a:xfrm>
            <a:custGeom>
              <a:avLst/>
              <a:gdLst>
                <a:gd name="T0" fmla="*/ 20 w 43"/>
                <a:gd name="T1" fmla="*/ 0 h 38"/>
                <a:gd name="T2" fmla="*/ 16 w 43"/>
                <a:gd name="T3" fmla="*/ 1 h 38"/>
                <a:gd name="T4" fmla="*/ 18 w 43"/>
                <a:gd name="T5" fmla="*/ 7 h 38"/>
                <a:gd name="T6" fmla="*/ 12 w 43"/>
                <a:gd name="T7" fmla="*/ 1 h 38"/>
                <a:gd name="T8" fmla="*/ 10 w 43"/>
                <a:gd name="T9" fmla="*/ 2 h 38"/>
                <a:gd name="T10" fmla="*/ 8 w 43"/>
                <a:gd name="T11" fmla="*/ 4 h 38"/>
                <a:gd name="T12" fmla="*/ 8 w 43"/>
                <a:gd name="T13" fmla="*/ 8 h 38"/>
                <a:gd name="T14" fmla="*/ 6 w 43"/>
                <a:gd name="T15" fmla="*/ 14 h 38"/>
                <a:gd name="T16" fmla="*/ 8 w 43"/>
                <a:gd name="T17" fmla="*/ 15 h 38"/>
                <a:gd name="T18" fmla="*/ 8 w 43"/>
                <a:gd name="T19" fmla="*/ 15 h 38"/>
                <a:gd name="T20" fmla="*/ 11 w 43"/>
                <a:gd name="T21" fmla="*/ 15 h 38"/>
                <a:gd name="T22" fmla="*/ 13 w 43"/>
                <a:gd name="T23" fmla="*/ 14 h 38"/>
                <a:gd name="T24" fmla="*/ 14 w 43"/>
                <a:gd name="T25" fmla="*/ 15 h 38"/>
                <a:gd name="T26" fmla="*/ 15 w 43"/>
                <a:gd name="T27" fmla="*/ 15 h 38"/>
                <a:gd name="T28" fmla="*/ 15 w 43"/>
                <a:gd name="T29" fmla="*/ 15 h 38"/>
                <a:gd name="T30" fmla="*/ 16 w 43"/>
                <a:gd name="T31" fmla="*/ 15 h 38"/>
                <a:gd name="T32" fmla="*/ 17 w 43"/>
                <a:gd name="T33" fmla="*/ 15 h 38"/>
                <a:gd name="T34" fmla="*/ 19 w 43"/>
                <a:gd name="T35" fmla="*/ 21 h 38"/>
                <a:gd name="T36" fmla="*/ 22 w 43"/>
                <a:gd name="T37" fmla="*/ 24 h 38"/>
                <a:gd name="T38" fmla="*/ 22 w 43"/>
                <a:gd name="T39" fmla="*/ 30 h 38"/>
                <a:gd name="T40" fmla="*/ 24 w 43"/>
                <a:gd name="T41" fmla="*/ 32 h 38"/>
                <a:gd name="T42" fmla="*/ 27 w 43"/>
                <a:gd name="T43" fmla="*/ 33 h 38"/>
                <a:gd name="T44" fmla="*/ 39 w 43"/>
                <a:gd name="T45" fmla="*/ 38 h 38"/>
                <a:gd name="T46" fmla="*/ 41 w 43"/>
                <a:gd name="T47" fmla="*/ 37 h 38"/>
                <a:gd name="T48" fmla="*/ 37 w 43"/>
                <a:gd name="T49" fmla="*/ 34 h 38"/>
                <a:gd name="T50" fmla="*/ 43 w 43"/>
                <a:gd name="T51" fmla="*/ 26 h 38"/>
                <a:gd name="T52" fmla="*/ 30 w 43"/>
                <a:gd name="T53" fmla="*/ 21 h 38"/>
                <a:gd name="T54" fmla="*/ 26 w 43"/>
                <a:gd name="T55" fmla="*/ 12 h 38"/>
                <a:gd name="T56" fmla="*/ 23 w 43"/>
                <a:gd name="T57" fmla="*/ 2 h 38"/>
                <a:gd name="T58" fmla="*/ 20 w 43"/>
                <a:gd name="T5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8">
                  <a:moveTo>
                    <a:pt x="20" y="0"/>
                  </a:moveTo>
                  <a:cubicBezTo>
                    <a:pt x="19" y="0"/>
                    <a:pt x="18" y="1"/>
                    <a:pt x="16" y="1"/>
                  </a:cubicBezTo>
                  <a:cubicBezTo>
                    <a:pt x="17" y="3"/>
                    <a:pt x="18" y="5"/>
                    <a:pt x="18" y="7"/>
                  </a:cubicBezTo>
                  <a:cubicBezTo>
                    <a:pt x="16" y="5"/>
                    <a:pt x="15" y="1"/>
                    <a:pt x="12" y="1"/>
                  </a:cubicBezTo>
                  <a:cubicBezTo>
                    <a:pt x="12" y="1"/>
                    <a:pt x="11" y="2"/>
                    <a:pt x="10" y="2"/>
                  </a:cubicBezTo>
                  <a:cubicBezTo>
                    <a:pt x="9" y="3"/>
                    <a:pt x="8" y="3"/>
                    <a:pt x="8" y="4"/>
                  </a:cubicBezTo>
                  <a:cubicBezTo>
                    <a:pt x="7" y="6"/>
                    <a:pt x="10" y="6"/>
                    <a:pt x="8" y="8"/>
                  </a:cubicBezTo>
                  <a:cubicBezTo>
                    <a:pt x="4" y="12"/>
                    <a:pt x="0" y="13"/>
                    <a:pt x="6" y="14"/>
                  </a:cubicBezTo>
                  <a:cubicBezTo>
                    <a:pt x="6" y="14"/>
                    <a:pt x="7" y="15"/>
                    <a:pt x="8" y="15"/>
                  </a:cubicBezTo>
                  <a:cubicBezTo>
                    <a:pt x="8" y="15"/>
                    <a:pt x="8" y="15"/>
                    <a:pt x="8" y="15"/>
                  </a:cubicBezTo>
                  <a:cubicBezTo>
                    <a:pt x="9" y="15"/>
                    <a:pt x="10" y="15"/>
                    <a:pt x="11" y="15"/>
                  </a:cubicBezTo>
                  <a:cubicBezTo>
                    <a:pt x="11" y="15"/>
                    <a:pt x="12" y="14"/>
                    <a:pt x="13" y="14"/>
                  </a:cubicBezTo>
                  <a:cubicBezTo>
                    <a:pt x="14" y="15"/>
                    <a:pt x="14" y="15"/>
                    <a:pt x="14" y="15"/>
                  </a:cubicBezTo>
                  <a:cubicBezTo>
                    <a:pt x="14" y="15"/>
                    <a:pt x="15" y="15"/>
                    <a:pt x="15" y="15"/>
                  </a:cubicBezTo>
                  <a:cubicBezTo>
                    <a:pt x="15" y="15"/>
                    <a:pt x="15" y="15"/>
                    <a:pt x="15" y="15"/>
                  </a:cubicBezTo>
                  <a:cubicBezTo>
                    <a:pt x="16" y="15"/>
                    <a:pt x="16" y="15"/>
                    <a:pt x="16" y="15"/>
                  </a:cubicBezTo>
                  <a:cubicBezTo>
                    <a:pt x="17" y="15"/>
                    <a:pt x="17" y="15"/>
                    <a:pt x="17" y="15"/>
                  </a:cubicBezTo>
                  <a:cubicBezTo>
                    <a:pt x="18" y="17"/>
                    <a:pt x="18" y="19"/>
                    <a:pt x="19" y="21"/>
                  </a:cubicBezTo>
                  <a:cubicBezTo>
                    <a:pt x="20" y="22"/>
                    <a:pt x="21" y="22"/>
                    <a:pt x="22" y="24"/>
                  </a:cubicBezTo>
                  <a:cubicBezTo>
                    <a:pt x="22" y="26"/>
                    <a:pt x="22" y="28"/>
                    <a:pt x="22" y="30"/>
                  </a:cubicBezTo>
                  <a:cubicBezTo>
                    <a:pt x="23" y="31"/>
                    <a:pt x="23" y="31"/>
                    <a:pt x="24" y="32"/>
                  </a:cubicBezTo>
                  <a:cubicBezTo>
                    <a:pt x="24" y="32"/>
                    <a:pt x="26" y="32"/>
                    <a:pt x="27" y="33"/>
                  </a:cubicBezTo>
                  <a:cubicBezTo>
                    <a:pt x="28" y="33"/>
                    <a:pt x="35" y="38"/>
                    <a:pt x="39" y="38"/>
                  </a:cubicBezTo>
                  <a:cubicBezTo>
                    <a:pt x="40" y="38"/>
                    <a:pt x="40" y="38"/>
                    <a:pt x="41" y="37"/>
                  </a:cubicBezTo>
                  <a:cubicBezTo>
                    <a:pt x="41" y="35"/>
                    <a:pt x="38" y="35"/>
                    <a:pt x="37" y="34"/>
                  </a:cubicBezTo>
                  <a:cubicBezTo>
                    <a:pt x="36" y="31"/>
                    <a:pt x="41" y="27"/>
                    <a:pt x="43" y="26"/>
                  </a:cubicBezTo>
                  <a:cubicBezTo>
                    <a:pt x="39" y="25"/>
                    <a:pt x="32" y="25"/>
                    <a:pt x="30" y="21"/>
                  </a:cubicBezTo>
                  <a:cubicBezTo>
                    <a:pt x="28" y="18"/>
                    <a:pt x="28" y="15"/>
                    <a:pt x="26" y="12"/>
                  </a:cubicBezTo>
                  <a:cubicBezTo>
                    <a:pt x="26" y="9"/>
                    <a:pt x="25" y="4"/>
                    <a:pt x="23" y="2"/>
                  </a:cubicBezTo>
                  <a:cubicBezTo>
                    <a:pt x="23" y="1"/>
                    <a:pt x="21"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0" name="Freeform 1206">
              <a:extLst>
                <a:ext uri="{FF2B5EF4-FFF2-40B4-BE49-F238E27FC236}">
                  <a16:creationId xmlns:a16="http://schemas.microsoft.com/office/drawing/2014/main" id="{6C332AAB-F695-47D5-A17C-276ADB44604B}"/>
                </a:ext>
              </a:extLst>
            </p:cNvPr>
            <p:cNvSpPr>
              <a:spLocks/>
            </p:cNvSpPr>
            <p:nvPr/>
          </p:nvSpPr>
          <p:spPr bwMode="auto">
            <a:xfrm>
              <a:off x="3422956" y="5099539"/>
              <a:ext cx="57720" cy="51009"/>
            </a:xfrm>
            <a:custGeom>
              <a:avLst/>
              <a:gdLst>
                <a:gd name="T0" fmla="*/ 6 w 18"/>
                <a:gd name="T1" fmla="*/ 0 h 16"/>
                <a:gd name="T2" fmla="*/ 3 w 18"/>
                <a:gd name="T3" fmla="*/ 0 h 16"/>
                <a:gd name="T4" fmla="*/ 3 w 18"/>
                <a:gd name="T5" fmla="*/ 3 h 16"/>
                <a:gd name="T6" fmla="*/ 1 w 18"/>
                <a:gd name="T7" fmla="*/ 9 h 16"/>
                <a:gd name="T8" fmla="*/ 1 w 18"/>
                <a:gd name="T9" fmla="*/ 9 h 16"/>
                <a:gd name="T10" fmla="*/ 2 w 18"/>
                <a:gd name="T11" fmla="*/ 16 h 16"/>
                <a:gd name="T12" fmla="*/ 3 w 18"/>
                <a:gd name="T13" fmla="*/ 16 h 16"/>
                <a:gd name="T14" fmla="*/ 8 w 18"/>
                <a:gd name="T15" fmla="*/ 12 h 16"/>
                <a:gd name="T16" fmla="*/ 13 w 18"/>
                <a:gd name="T17" fmla="*/ 16 h 16"/>
                <a:gd name="T18" fmla="*/ 16 w 18"/>
                <a:gd name="T19" fmla="*/ 14 h 16"/>
                <a:gd name="T20" fmla="*/ 18 w 18"/>
                <a:gd name="T21" fmla="*/ 6 h 16"/>
                <a:gd name="T22" fmla="*/ 15 w 18"/>
                <a:gd name="T23" fmla="*/ 3 h 16"/>
                <a:gd name="T24" fmla="*/ 6 w 18"/>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6">
                  <a:moveTo>
                    <a:pt x="6" y="0"/>
                  </a:moveTo>
                  <a:cubicBezTo>
                    <a:pt x="5" y="0"/>
                    <a:pt x="4" y="0"/>
                    <a:pt x="3" y="0"/>
                  </a:cubicBezTo>
                  <a:cubicBezTo>
                    <a:pt x="3" y="1"/>
                    <a:pt x="3" y="3"/>
                    <a:pt x="3" y="3"/>
                  </a:cubicBezTo>
                  <a:cubicBezTo>
                    <a:pt x="2" y="5"/>
                    <a:pt x="0" y="9"/>
                    <a:pt x="1" y="9"/>
                  </a:cubicBezTo>
                  <a:cubicBezTo>
                    <a:pt x="1" y="9"/>
                    <a:pt x="1" y="9"/>
                    <a:pt x="1" y="9"/>
                  </a:cubicBezTo>
                  <a:cubicBezTo>
                    <a:pt x="1" y="10"/>
                    <a:pt x="2" y="15"/>
                    <a:pt x="2" y="16"/>
                  </a:cubicBezTo>
                  <a:cubicBezTo>
                    <a:pt x="2" y="16"/>
                    <a:pt x="3" y="16"/>
                    <a:pt x="3" y="16"/>
                  </a:cubicBezTo>
                  <a:cubicBezTo>
                    <a:pt x="5" y="16"/>
                    <a:pt x="7" y="13"/>
                    <a:pt x="8" y="12"/>
                  </a:cubicBezTo>
                  <a:cubicBezTo>
                    <a:pt x="10" y="13"/>
                    <a:pt x="11" y="15"/>
                    <a:pt x="13" y="16"/>
                  </a:cubicBezTo>
                  <a:cubicBezTo>
                    <a:pt x="14" y="15"/>
                    <a:pt x="15" y="14"/>
                    <a:pt x="16" y="14"/>
                  </a:cubicBezTo>
                  <a:cubicBezTo>
                    <a:pt x="15" y="11"/>
                    <a:pt x="18" y="9"/>
                    <a:pt x="18" y="6"/>
                  </a:cubicBezTo>
                  <a:cubicBezTo>
                    <a:pt x="17" y="4"/>
                    <a:pt x="16" y="3"/>
                    <a:pt x="15" y="3"/>
                  </a:cubicBezTo>
                  <a:cubicBezTo>
                    <a:pt x="13"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1" name="Freeform 1207">
              <a:extLst>
                <a:ext uri="{FF2B5EF4-FFF2-40B4-BE49-F238E27FC236}">
                  <a16:creationId xmlns:a16="http://schemas.microsoft.com/office/drawing/2014/main" id="{A14AEFEC-B0D2-495B-BE77-DDDB6C04D10C}"/>
                </a:ext>
              </a:extLst>
            </p:cNvPr>
            <p:cNvSpPr>
              <a:spLocks/>
            </p:cNvSpPr>
            <p:nvPr/>
          </p:nvSpPr>
          <p:spPr bwMode="auto">
            <a:xfrm>
              <a:off x="4939795" y="5119674"/>
              <a:ext cx="228197" cy="79198"/>
            </a:xfrm>
            <a:custGeom>
              <a:avLst/>
              <a:gdLst>
                <a:gd name="T0" fmla="*/ 39 w 72"/>
                <a:gd name="T1" fmla="*/ 0 h 25"/>
                <a:gd name="T2" fmla="*/ 34 w 72"/>
                <a:gd name="T3" fmla="*/ 2 h 25"/>
                <a:gd name="T4" fmla="*/ 31 w 72"/>
                <a:gd name="T5" fmla="*/ 3 h 25"/>
                <a:gd name="T6" fmla="*/ 29 w 72"/>
                <a:gd name="T7" fmla="*/ 3 h 25"/>
                <a:gd name="T8" fmla="*/ 28 w 72"/>
                <a:gd name="T9" fmla="*/ 0 h 25"/>
                <a:gd name="T10" fmla="*/ 28 w 72"/>
                <a:gd name="T11" fmla="*/ 0 h 25"/>
                <a:gd name="T12" fmla="*/ 26 w 72"/>
                <a:gd name="T13" fmla="*/ 1 h 25"/>
                <a:gd name="T14" fmla="*/ 21 w 72"/>
                <a:gd name="T15" fmla="*/ 2 h 25"/>
                <a:gd name="T16" fmla="*/ 17 w 72"/>
                <a:gd name="T17" fmla="*/ 2 h 25"/>
                <a:gd name="T18" fmla="*/ 13 w 72"/>
                <a:gd name="T19" fmla="*/ 1 h 25"/>
                <a:gd name="T20" fmla="*/ 12 w 72"/>
                <a:gd name="T21" fmla="*/ 1 h 25"/>
                <a:gd name="T22" fmla="*/ 5 w 72"/>
                <a:gd name="T23" fmla="*/ 4 h 25"/>
                <a:gd name="T24" fmla="*/ 0 w 72"/>
                <a:gd name="T25" fmla="*/ 8 h 25"/>
                <a:gd name="T26" fmla="*/ 2 w 72"/>
                <a:gd name="T27" fmla="*/ 14 h 25"/>
                <a:gd name="T28" fmla="*/ 2 w 72"/>
                <a:gd name="T29" fmla="*/ 18 h 25"/>
                <a:gd name="T30" fmla="*/ 4 w 72"/>
                <a:gd name="T31" fmla="*/ 13 h 25"/>
                <a:gd name="T32" fmla="*/ 5 w 72"/>
                <a:gd name="T33" fmla="*/ 9 h 25"/>
                <a:gd name="T34" fmla="*/ 7 w 72"/>
                <a:gd name="T35" fmla="*/ 7 h 25"/>
                <a:gd name="T36" fmla="*/ 7 w 72"/>
                <a:gd name="T37" fmla="*/ 6 h 25"/>
                <a:gd name="T38" fmla="*/ 8 w 72"/>
                <a:gd name="T39" fmla="*/ 8 h 25"/>
                <a:gd name="T40" fmla="*/ 8 w 72"/>
                <a:gd name="T41" fmla="*/ 9 h 25"/>
                <a:gd name="T42" fmla="*/ 10 w 72"/>
                <a:gd name="T43" fmla="*/ 10 h 25"/>
                <a:gd name="T44" fmla="*/ 14 w 72"/>
                <a:gd name="T45" fmla="*/ 15 h 25"/>
                <a:gd name="T46" fmla="*/ 15 w 72"/>
                <a:gd name="T47" fmla="*/ 15 h 25"/>
                <a:gd name="T48" fmla="*/ 22 w 72"/>
                <a:gd name="T49" fmla="*/ 11 h 25"/>
                <a:gd name="T50" fmla="*/ 24 w 72"/>
                <a:gd name="T51" fmla="*/ 10 h 25"/>
                <a:gd name="T52" fmla="*/ 25 w 72"/>
                <a:gd name="T53" fmla="*/ 11 h 25"/>
                <a:gd name="T54" fmla="*/ 36 w 72"/>
                <a:gd name="T55" fmla="*/ 14 h 25"/>
                <a:gd name="T56" fmla="*/ 38 w 72"/>
                <a:gd name="T57" fmla="*/ 14 h 25"/>
                <a:gd name="T58" fmla="*/ 40 w 72"/>
                <a:gd name="T59" fmla="*/ 14 h 25"/>
                <a:gd name="T60" fmla="*/ 40 w 72"/>
                <a:gd name="T61" fmla="*/ 14 h 25"/>
                <a:gd name="T62" fmla="*/ 41 w 72"/>
                <a:gd name="T63" fmla="*/ 12 h 25"/>
                <a:gd name="T64" fmla="*/ 45 w 72"/>
                <a:gd name="T65" fmla="*/ 12 h 25"/>
                <a:gd name="T66" fmla="*/ 70 w 72"/>
                <a:gd name="T67" fmla="*/ 25 h 25"/>
                <a:gd name="T68" fmla="*/ 70 w 72"/>
                <a:gd name="T69" fmla="*/ 16 h 25"/>
                <a:gd name="T70" fmla="*/ 67 w 72"/>
                <a:gd name="T71" fmla="*/ 14 h 25"/>
                <a:gd name="T72" fmla="*/ 66 w 72"/>
                <a:gd name="T73" fmla="*/ 11 h 25"/>
                <a:gd name="T74" fmla="*/ 57 w 72"/>
                <a:gd name="T75" fmla="*/ 4 h 25"/>
                <a:gd name="T76" fmla="*/ 47 w 72"/>
                <a:gd name="T77" fmla="*/ 3 h 25"/>
                <a:gd name="T78" fmla="*/ 41 w 72"/>
                <a:gd name="T79" fmla="*/ 0 h 25"/>
                <a:gd name="T80" fmla="*/ 39 w 72"/>
                <a:gd name="T8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 h="25">
                  <a:moveTo>
                    <a:pt x="39" y="0"/>
                  </a:moveTo>
                  <a:cubicBezTo>
                    <a:pt x="37" y="0"/>
                    <a:pt x="36" y="1"/>
                    <a:pt x="34" y="2"/>
                  </a:cubicBezTo>
                  <a:cubicBezTo>
                    <a:pt x="33" y="3"/>
                    <a:pt x="32" y="3"/>
                    <a:pt x="31" y="3"/>
                  </a:cubicBezTo>
                  <a:cubicBezTo>
                    <a:pt x="30" y="3"/>
                    <a:pt x="30" y="3"/>
                    <a:pt x="29" y="3"/>
                  </a:cubicBezTo>
                  <a:cubicBezTo>
                    <a:pt x="28" y="2"/>
                    <a:pt x="30" y="0"/>
                    <a:pt x="28" y="0"/>
                  </a:cubicBezTo>
                  <a:cubicBezTo>
                    <a:pt x="28" y="0"/>
                    <a:pt x="28" y="0"/>
                    <a:pt x="28" y="0"/>
                  </a:cubicBezTo>
                  <a:cubicBezTo>
                    <a:pt x="28" y="0"/>
                    <a:pt x="26" y="1"/>
                    <a:pt x="26" y="1"/>
                  </a:cubicBezTo>
                  <a:cubicBezTo>
                    <a:pt x="24" y="2"/>
                    <a:pt x="23" y="2"/>
                    <a:pt x="21" y="2"/>
                  </a:cubicBezTo>
                  <a:cubicBezTo>
                    <a:pt x="20" y="2"/>
                    <a:pt x="18" y="2"/>
                    <a:pt x="17" y="2"/>
                  </a:cubicBezTo>
                  <a:cubicBezTo>
                    <a:pt x="16" y="1"/>
                    <a:pt x="14" y="1"/>
                    <a:pt x="13" y="1"/>
                  </a:cubicBezTo>
                  <a:cubicBezTo>
                    <a:pt x="13" y="1"/>
                    <a:pt x="12" y="1"/>
                    <a:pt x="12" y="1"/>
                  </a:cubicBezTo>
                  <a:cubicBezTo>
                    <a:pt x="9" y="2"/>
                    <a:pt x="6" y="1"/>
                    <a:pt x="5" y="4"/>
                  </a:cubicBezTo>
                  <a:cubicBezTo>
                    <a:pt x="5" y="6"/>
                    <a:pt x="2" y="8"/>
                    <a:pt x="0" y="8"/>
                  </a:cubicBezTo>
                  <a:cubicBezTo>
                    <a:pt x="1" y="11"/>
                    <a:pt x="2" y="12"/>
                    <a:pt x="2" y="14"/>
                  </a:cubicBezTo>
                  <a:cubicBezTo>
                    <a:pt x="2" y="16"/>
                    <a:pt x="1" y="16"/>
                    <a:pt x="2" y="18"/>
                  </a:cubicBezTo>
                  <a:cubicBezTo>
                    <a:pt x="2" y="16"/>
                    <a:pt x="4" y="14"/>
                    <a:pt x="4" y="13"/>
                  </a:cubicBezTo>
                  <a:cubicBezTo>
                    <a:pt x="5" y="12"/>
                    <a:pt x="5" y="11"/>
                    <a:pt x="5" y="9"/>
                  </a:cubicBezTo>
                  <a:cubicBezTo>
                    <a:pt x="6" y="9"/>
                    <a:pt x="6" y="7"/>
                    <a:pt x="7" y="7"/>
                  </a:cubicBezTo>
                  <a:cubicBezTo>
                    <a:pt x="7" y="7"/>
                    <a:pt x="7" y="6"/>
                    <a:pt x="7" y="6"/>
                  </a:cubicBezTo>
                  <a:cubicBezTo>
                    <a:pt x="8" y="6"/>
                    <a:pt x="7" y="7"/>
                    <a:pt x="8" y="8"/>
                  </a:cubicBezTo>
                  <a:cubicBezTo>
                    <a:pt x="8" y="9"/>
                    <a:pt x="8" y="9"/>
                    <a:pt x="8" y="9"/>
                  </a:cubicBezTo>
                  <a:cubicBezTo>
                    <a:pt x="9" y="10"/>
                    <a:pt x="10" y="10"/>
                    <a:pt x="10" y="10"/>
                  </a:cubicBezTo>
                  <a:cubicBezTo>
                    <a:pt x="12" y="12"/>
                    <a:pt x="12" y="14"/>
                    <a:pt x="14" y="15"/>
                  </a:cubicBezTo>
                  <a:cubicBezTo>
                    <a:pt x="14" y="15"/>
                    <a:pt x="15" y="15"/>
                    <a:pt x="15" y="15"/>
                  </a:cubicBezTo>
                  <a:cubicBezTo>
                    <a:pt x="18" y="15"/>
                    <a:pt x="20" y="12"/>
                    <a:pt x="22" y="11"/>
                  </a:cubicBezTo>
                  <a:cubicBezTo>
                    <a:pt x="23" y="10"/>
                    <a:pt x="24" y="10"/>
                    <a:pt x="24" y="10"/>
                  </a:cubicBezTo>
                  <a:cubicBezTo>
                    <a:pt x="25" y="10"/>
                    <a:pt x="25" y="10"/>
                    <a:pt x="25" y="11"/>
                  </a:cubicBezTo>
                  <a:cubicBezTo>
                    <a:pt x="26" y="14"/>
                    <a:pt x="32" y="14"/>
                    <a:pt x="36" y="14"/>
                  </a:cubicBezTo>
                  <a:cubicBezTo>
                    <a:pt x="37" y="14"/>
                    <a:pt x="37" y="14"/>
                    <a:pt x="38" y="14"/>
                  </a:cubicBezTo>
                  <a:cubicBezTo>
                    <a:pt x="39" y="14"/>
                    <a:pt x="39" y="14"/>
                    <a:pt x="40" y="14"/>
                  </a:cubicBezTo>
                  <a:cubicBezTo>
                    <a:pt x="40" y="14"/>
                    <a:pt x="40" y="14"/>
                    <a:pt x="40" y="14"/>
                  </a:cubicBezTo>
                  <a:cubicBezTo>
                    <a:pt x="38" y="12"/>
                    <a:pt x="39" y="12"/>
                    <a:pt x="41" y="12"/>
                  </a:cubicBezTo>
                  <a:cubicBezTo>
                    <a:pt x="42" y="12"/>
                    <a:pt x="44" y="12"/>
                    <a:pt x="45" y="12"/>
                  </a:cubicBezTo>
                  <a:cubicBezTo>
                    <a:pt x="54" y="13"/>
                    <a:pt x="62" y="21"/>
                    <a:pt x="70" y="25"/>
                  </a:cubicBezTo>
                  <a:cubicBezTo>
                    <a:pt x="70" y="22"/>
                    <a:pt x="72" y="19"/>
                    <a:pt x="70" y="16"/>
                  </a:cubicBezTo>
                  <a:cubicBezTo>
                    <a:pt x="69" y="15"/>
                    <a:pt x="69" y="15"/>
                    <a:pt x="67" y="14"/>
                  </a:cubicBezTo>
                  <a:cubicBezTo>
                    <a:pt x="66" y="13"/>
                    <a:pt x="66" y="13"/>
                    <a:pt x="66" y="11"/>
                  </a:cubicBezTo>
                  <a:cubicBezTo>
                    <a:pt x="65" y="8"/>
                    <a:pt x="61" y="4"/>
                    <a:pt x="57" y="4"/>
                  </a:cubicBezTo>
                  <a:cubicBezTo>
                    <a:pt x="53" y="4"/>
                    <a:pt x="50" y="4"/>
                    <a:pt x="47" y="3"/>
                  </a:cubicBezTo>
                  <a:cubicBezTo>
                    <a:pt x="45" y="2"/>
                    <a:pt x="43" y="1"/>
                    <a:pt x="41" y="0"/>
                  </a:cubicBezTo>
                  <a:cubicBezTo>
                    <a:pt x="40" y="0"/>
                    <a:pt x="40"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2" name="Freeform 1208">
              <a:extLst>
                <a:ext uri="{FF2B5EF4-FFF2-40B4-BE49-F238E27FC236}">
                  <a16:creationId xmlns:a16="http://schemas.microsoft.com/office/drawing/2014/main" id="{6F2E4ABF-7AB3-4A81-AD12-A04D447ED79E}"/>
                </a:ext>
              </a:extLst>
            </p:cNvPr>
            <p:cNvSpPr>
              <a:spLocks/>
            </p:cNvSpPr>
            <p:nvPr/>
          </p:nvSpPr>
          <p:spPr bwMode="auto">
            <a:xfrm>
              <a:off x="3112876" y="4827044"/>
              <a:ext cx="5369" cy="6712"/>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cubicBezTo>
                    <a:pt x="0" y="0"/>
                    <a:pt x="0" y="0"/>
                    <a:pt x="0" y="0"/>
                  </a:cubicBezTo>
                  <a:cubicBezTo>
                    <a:pt x="0" y="0"/>
                    <a:pt x="1" y="1"/>
                    <a:pt x="2"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3" name="Freeform 1209">
              <a:extLst>
                <a:ext uri="{FF2B5EF4-FFF2-40B4-BE49-F238E27FC236}">
                  <a16:creationId xmlns:a16="http://schemas.microsoft.com/office/drawing/2014/main" id="{4E48624C-C3D9-4A02-A4B0-5FCAF3D5DDF2}"/>
                </a:ext>
              </a:extLst>
            </p:cNvPr>
            <p:cNvSpPr>
              <a:spLocks/>
            </p:cNvSpPr>
            <p:nvPr/>
          </p:nvSpPr>
          <p:spPr bwMode="auto">
            <a:xfrm>
              <a:off x="3141065" y="4843152"/>
              <a:ext cx="6712" cy="9396"/>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4" name="Freeform 1210">
              <a:extLst>
                <a:ext uri="{FF2B5EF4-FFF2-40B4-BE49-F238E27FC236}">
                  <a16:creationId xmlns:a16="http://schemas.microsoft.com/office/drawing/2014/main" id="{79CEAABD-5AF7-45C2-9A5C-153C20228E17}"/>
                </a:ext>
              </a:extLst>
            </p:cNvPr>
            <p:cNvSpPr>
              <a:spLocks/>
            </p:cNvSpPr>
            <p:nvPr/>
          </p:nvSpPr>
          <p:spPr bwMode="auto">
            <a:xfrm>
              <a:off x="4793481" y="5138467"/>
              <a:ext cx="102018" cy="56378"/>
            </a:xfrm>
            <a:custGeom>
              <a:avLst/>
              <a:gdLst>
                <a:gd name="T0" fmla="*/ 15 w 32"/>
                <a:gd name="T1" fmla="*/ 0 h 18"/>
                <a:gd name="T2" fmla="*/ 13 w 32"/>
                <a:gd name="T3" fmla="*/ 0 h 18"/>
                <a:gd name="T4" fmla="*/ 4 w 32"/>
                <a:gd name="T5" fmla="*/ 8 h 18"/>
                <a:gd name="T6" fmla="*/ 8 w 32"/>
                <a:gd name="T7" fmla="*/ 13 h 18"/>
                <a:gd name="T8" fmla="*/ 19 w 32"/>
                <a:gd name="T9" fmla="*/ 18 h 18"/>
                <a:gd name="T10" fmla="*/ 19 w 32"/>
                <a:gd name="T11" fmla="*/ 18 h 18"/>
                <a:gd name="T12" fmla="*/ 32 w 32"/>
                <a:gd name="T13" fmla="*/ 13 h 18"/>
                <a:gd name="T14" fmla="*/ 32 w 32"/>
                <a:gd name="T15" fmla="*/ 7 h 18"/>
                <a:gd name="T16" fmla="*/ 29 w 32"/>
                <a:gd name="T17" fmla="*/ 5 h 18"/>
                <a:gd name="T18" fmla="*/ 27 w 32"/>
                <a:gd name="T19" fmla="*/ 2 h 18"/>
                <a:gd name="T20" fmla="*/ 15 w 32"/>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8">
                  <a:moveTo>
                    <a:pt x="15" y="0"/>
                  </a:moveTo>
                  <a:cubicBezTo>
                    <a:pt x="15" y="0"/>
                    <a:pt x="14" y="0"/>
                    <a:pt x="13" y="0"/>
                  </a:cubicBezTo>
                  <a:cubicBezTo>
                    <a:pt x="8" y="1"/>
                    <a:pt x="0" y="1"/>
                    <a:pt x="4" y="8"/>
                  </a:cubicBezTo>
                  <a:cubicBezTo>
                    <a:pt x="4" y="10"/>
                    <a:pt x="7" y="12"/>
                    <a:pt x="8" y="13"/>
                  </a:cubicBezTo>
                  <a:cubicBezTo>
                    <a:pt x="10" y="15"/>
                    <a:pt x="16" y="18"/>
                    <a:pt x="19" y="18"/>
                  </a:cubicBezTo>
                  <a:cubicBezTo>
                    <a:pt x="19" y="18"/>
                    <a:pt x="19" y="18"/>
                    <a:pt x="19" y="18"/>
                  </a:cubicBezTo>
                  <a:cubicBezTo>
                    <a:pt x="22" y="18"/>
                    <a:pt x="30" y="15"/>
                    <a:pt x="32" y="13"/>
                  </a:cubicBezTo>
                  <a:cubicBezTo>
                    <a:pt x="32" y="12"/>
                    <a:pt x="32" y="8"/>
                    <a:pt x="32" y="7"/>
                  </a:cubicBezTo>
                  <a:cubicBezTo>
                    <a:pt x="31" y="6"/>
                    <a:pt x="30" y="7"/>
                    <a:pt x="29" y="5"/>
                  </a:cubicBezTo>
                  <a:cubicBezTo>
                    <a:pt x="29" y="4"/>
                    <a:pt x="28" y="3"/>
                    <a:pt x="27" y="2"/>
                  </a:cubicBezTo>
                  <a:cubicBezTo>
                    <a:pt x="23" y="0"/>
                    <a:pt x="20"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5" name="Freeform 1211">
              <a:extLst>
                <a:ext uri="{FF2B5EF4-FFF2-40B4-BE49-F238E27FC236}">
                  <a16:creationId xmlns:a16="http://schemas.microsoft.com/office/drawing/2014/main" id="{7DCC566A-E888-4994-BA0B-79EDA18A7870}"/>
                </a:ext>
              </a:extLst>
            </p:cNvPr>
            <p:cNvSpPr>
              <a:spLocks/>
            </p:cNvSpPr>
            <p:nvPr/>
          </p:nvSpPr>
          <p:spPr bwMode="auto">
            <a:xfrm>
              <a:off x="4273997" y="5608284"/>
              <a:ext cx="144972" cy="72486"/>
            </a:xfrm>
            <a:custGeom>
              <a:avLst/>
              <a:gdLst>
                <a:gd name="T0" fmla="*/ 23 w 46"/>
                <a:gd name="T1" fmla="*/ 0 h 23"/>
                <a:gd name="T2" fmla="*/ 22 w 46"/>
                <a:gd name="T3" fmla="*/ 0 h 23"/>
                <a:gd name="T4" fmla="*/ 1 w 46"/>
                <a:gd name="T5" fmla="*/ 5 h 23"/>
                <a:gd name="T6" fmla="*/ 3 w 46"/>
                <a:gd name="T7" fmla="*/ 8 h 23"/>
                <a:gd name="T8" fmla="*/ 11 w 46"/>
                <a:gd name="T9" fmla="*/ 11 h 23"/>
                <a:gd name="T10" fmla="*/ 11 w 46"/>
                <a:gd name="T11" fmla="*/ 11 h 23"/>
                <a:gd name="T12" fmla="*/ 13 w 46"/>
                <a:gd name="T13" fmla="*/ 11 h 23"/>
                <a:gd name="T14" fmla="*/ 14 w 46"/>
                <a:gd name="T15" fmla="*/ 11 h 23"/>
                <a:gd name="T16" fmla="*/ 18 w 46"/>
                <a:gd name="T17" fmla="*/ 12 h 23"/>
                <a:gd name="T18" fmla="*/ 36 w 46"/>
                <a:gd name="T19" fmla="*/ 23 h 23"/>
                <a:gd name="T20" fmla="*/ 36 w 46"/>
                <a:gd name="T21" fmla="*/ 23 h 23"/>
                <a:gd name="T22" fmla="*/ 39 w 46"/>
                <a:gd name="T23" fmla="*/ 22 h 23"/>
                <a:gd name="T24" fmla="*/ 45 w 46"/>
                <a:gd name="T25" fmla="*/ 16 h 23"/>
                <a:gd name="T26" fmla="*/ 41 w 46"/>
                <a:gd name="T27" fmla="*/ 13 h 23"/>
                <a:gd name="T28" fmla="*/ 37 w 46"/>
                <a:gd name="T29" fmla="*/ 8 h 23"/>
                <a:gd name="T30" fmla="*/ 35 w 46"/>
                <a:gd name="T31" fmla="*/ 8 h 23"/>
                <a:gd name="T32" fmla="*/ 34 w 46"/>
                <a:gd name="T33" fmla="*/ 8 h 23"/>
                <a:gd name="T34" fmla="*/ 34 w 46"/>
                <a:gd name="T35" fmla="*/ 8 h 23"/>
                <a:gd name="T36" fmla="*/ 33 w 46"/>
                <a:gd name="T37" fmla="*/ 8 h 23"/>
                <a:gd name="T38" fmla="*/ 32 w 46"/>
                <a:gd name="T39" fmla="*/ 8 h 23"/>
                <a:gd name="T40" fmla="*/ 31 w 46"/>
                <a:gd name="T41" fmla="*/ 5 h 23"/>
                <a:gd name="T42" fmla="*/ 29 w 46"/>
                <a:gd name="T43" fmla="*/ 4 h 23"/>
                <a:gd name="T44" fmla="*/ 23 w 46"/>
                <a:gd name="T4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23">
                  <a:moveTo>
                    <a:pt x="23" y="0"/>
                  </a:moveTo>
                  <a:cubicBezTo>
                    <a:pt x="23" y="0"/>
                    <a:pt x="23" y="0"/>
                    <a:pt x="22" y="0"/>
                  </a:cubicBezTo>
                  <a:cubicBezTo>
                    <a:pt x="14" y="1"/>
                    <a:pt x="7" y="0"/>
                    <a:pt x="1" y="5"/>
                  </a:cubicBezTo>
                  <a:cubicBezTo>
                    <a:pt x="0" y="6"/>
                    <a:pt x="2" y="8"/>
                    <a:pt x="3" y="8"/>
                  </a:cubicBezTo>
                  <a:cubicBezTo>
                    <a:pt x="5" y="10"/>
                    <a:pt x="8" y="11"/>
                    <a:pt x="11" y="11"/>
                  </a:cubicBezTo>
                  <a:cubicBezTo>
                    <a:pt x="11" y="11"/>
                    <a:pt x="11" y="11"/>
                    <a:pt x="11" y="11"/>
                  </a:cubicBezTo>
                  <a:cubicBezTo>
                    <a:pt x="12" y="11"/>
                    <a:pt x="12" y="11"/>
                    <a:pt x="13" y="11"/>
                  </a:cubicBezTo>
                  <a:cubicBezTo>
                    <a:pt x="13" y="11"/>
                    <a:pt x="14" y="11"/>
                    <a:pt x="14" y="11"/>
                  </a:cubicBezTo>
                  <a:cubicBezTo>
                    <a:pt x="15" y="11"/>
                    <a:pt x="17" y="11"/>
                    <a:pt x="18" y="12"/>
                  </a:cubicBezTo>
                  <a:cubicBezTo>
                    <a:pt x="24" y="16"/>
                    <a:pt x="30" y="20"/>
                    <a:pt x="36" y="23"/>
                  </a:cubicBezTo>
                  <a:cubicBezTo>
                    <a:pt x="36" y="23"/>
                    <a:pt x="36" y="23"/>
                    <a:pt x="36" y="23"/>
                  </a:cubicBezTo>
                  <a:cubicBezTo>
                    <a:pt x="37" y="23"/>
                    <a:pt x="38" y="22"/>
                    <a:pt x="39" y="22"/>
                  </a:cubicBezTo>
                  <a:cubicBezTo>
                    <a:pt x="41" y="21"/>
                    <a:pt x="46" y="21"/>
                    <a:pt x="45" y="16"/>
                  </a:cubicBezTo>
                  <a:cubicBezTo>
                    <a:pt x="44" y="14"/>
                    <a:pt x="42" y="14"/>
                    <a:pt x="41" y="13"/>
                  </a:cubicBezTo>
                  <a:cubicBezTo>
                    <a:pt x="39" y="11"/>
                    <a:pt x="39" y="9"/>
                    <a:pt x="37" y="8"/>
                  </a:cubicBezTo>
                  <a:cubicBezTo>
                    <a:pt x="36" y="8"/>
                    <a:pt x="36" y="8"/>
                    <a:pt x="35" y="8"/>
                  </a:cubicBezTo>
                  <a:cubicBezTo>
                    <a:pt x="35" y="8"/>
                    <a:pt x="34" y="8"/>
                    <a:pt x="34" y="8"/>
                  </a:cubicBezTo>
                  <a:cubicBezTo>
                    <a:pt x="34" y="8"/>
                    <a:pt x="34" y="8"/>
                    <a:pt x="34" y="8"/>
                  </a:cubicBezTo>
                  <a:cubicBezTo>
                    <a:pt x="33" y="8"/>
                    <a:pt x="33" y="8"/>
                    <a:pt x="33" y="8"/>
                  </a:cubicBezTo>
                  <a:cubicBezTo>
                    <a:pt x="33" y="8"/>
                    <a:pt x="32" y="8"/>
                    <a:pt x="32" y="8"/>
                  </a:cubicBezTo>
                  <a:cubicBezTo>
                    <a:pt x="31" y="7"/>
                    <a:pt x="32" y="6"/>
                    <a:pt x="31" y="5"/>
                  </a:cubicBezTo>
                  <a:cubicBezTo>
                    <a:pt x="30" y="4"/>
                    <a:pt x="30" y="4"/>
                    <a:pt x="29" y="4"/>
                  </a:cubicBezTo>
                  <a:cubicBezTo>
                    <a:pt x="27" y="2"/>
                    <a:pt x="26"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6" name="Freeform 1212">
              <a:extLst>
                <a:ext uri="{FF2B5EF4-FFF2-40B4-BE49-F238E27FC236}">
                  <a16:creationId xmlns:a16="http://schemas.microsoft.com/office/drawing/2014/main" id="{3356DD7D-2062-4EF6-86CA-C059A04F39A3}"/>
                </a:ext>
              </a:extLst>
            </p:cNvPr>
            <p:cNvSpPr>
              <a:spLocks/>
            </p:cNvSpPr>
            <p:nvPr/>
          </p:nvSpPr>
          <p:spPr bwMode="auto">
            <a:xfrm>
              <a:off x="4546491" y="5239142"/>
              <a:ext cx="51009" cy="92621"/>
            </a:xfrm>
            <a:custGeom>
              <a:avLst/>
              <a:gdLst>
                <a:gd name="T0" fmla="*/ 11 w 16"/>
                <a:gd name="T1" fmla="*/ 0 h 29"/>
                <a:gd name="T2" fmla="*/ 8 w 16"/>
                <a:gd name="T3" fmla="*/ 2 h 29"/>
                <a:gd name="T4" fmla="*/ 7 w 16"/>
                <a:gd name="T5" fmla="*/ 8 h 29"/>
                <a:gd name="T6" fmla="*/ 5 w 16"/>
                <a:gd name="T7" fmla="*/ 16 h 29"/>
                <a:gd name="T8" fmla="*/ 2 w 16"/>
                <a:gd name="T9" fmla="*/ 24 h 29"/>
                <a:gd name="T10" fmla="*/ 1 w 16"/>
                <a:gd name="T11" fmla="*/ 27 h 29"/>
                <a:gd name="T12" fmla="*/ 5 w 16"/>
                <a:gd name="T13" fmla="*/ 29 h 29"/>
                <a:gd name="T14" fmla="*/ 6 w 16"/>
                <a:gd name="T15" fmla="*/ 29 h 29"/>
                <a:gd name="T16" fmla="*/ 7 w 16"/>
                <a:gd name="T17" fmla="*/ 28 h 29"/>
                <a:gd name="T18" fmla="*/ 15 w 16"/>
                <a:gd name="T19" fmla="*/ 20 h 29"/>
                <a:gd name="T20" fmla="*/ 12 w 16"/>
                <a:gd name="T21" fmla="*/ 18 h 29"/>
                <a:gd name="T22" fmla="*/ 11 w 16"/>
                <a:gd name="T23" fmla="*/ 8 h 29"/>
                <a:gd name="T24" fmla="*/ 13 w 16"/>
                <a:gd name="T25" fmla="*/ 7 h 29"/>
                <a:gd name="T26" fmla="*/ 15 w 16"/>
                <a:gd name="T27" fmla="*/ 9 h 29"/>
                <a:gd name="T28" fmla="*/ 11 w 16"/>
                <a:gd name="T2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9">
                  <a:moveTo>
                    <a:pt x="11" y="0"/>
                  </a:moveTo>
                  <a:cubicBezTo>
                    <a:pt x="10" y="0"/>
                    <a:pt x="9" y="0"/>
                    <a:pt x="8" y="2"/>
                  </a:cubicBezTo>
                  <a:cubicBezTo>
                    <a:pt x="6" y="4"/>
                    <a:pt x="7" y="6"/>
                    <a:pt x="7" y="8"/>
                  </a:cubicBezTo>
                  <a:cubicBezTo>
                    <a:pt x="6" y="11"/>
                    <a:pt x="4" y="14"/>
                    <a:pt x="5" y="16"/>
                  </a:cubicBezTo>
                  <a:cubicBezTo>
                    <a:pt x="4" y="19"/>
                    <a:pt x="3" y="21"/>
                    <a:pt x="2" y="24"/>
                  </a:cubicBezTo>
                  <a:cubicBezTo>
                    <a:pt x="1" y="25"/>
                    <a:pt x="0" y="26"/>
                    <a:pt x="1" y="27"/>
                  </a:cubicBezTo>
                  <a:cubicBezTo>
                    <a:pt x="2" y="28"/>
                    <a:pt x="4" y="29"/>
                    <a:pt x="5" y="29"/>
                  </a:cubicBezTo>
                  <a:cubicBezTo>
                    <a:pt x="5" y="29"/>
                    <a:pt x="5" y="29"/>
                    <a:pt x="6" y="29"/>
                  </a:cubicBezTo>
                  <a:cubicBezTo>
                    <a:pt x="6" y="29"/>
                    <a:pt x="6" y="29"/>
                    <a:pt x="7" y="28"/>
                  </a:cubicBezTo>
                  <a:cubicBezTo>
                    <a:pt x="9" y="27"/>
                    <a:pt x="16" y="23"/>
                    <a:pt x="15" y="20"/>
                  </a:cubicBezTo>
                  <a:cubicBezTo>
                    <a:pt x="15" y="19"/>
                    <a:pt x="12" y="18"/>
                    <a:pt x="12" y="18"/>
                  </a:cubicBezTo>
                  <a:cubicBezTo>
                    <a:pt x="10" y="16"/>
                    <a:pt x="9" y="10"/>
                    <a:pt x="11" y="8"/>
                  </a:cubicBezTo>
                  <a:cubicBezTo>
                    <a:pt x="12" y="7"/>
                    <a:pt x="12" y="7"/>
                    <a:pt x="13" y="7"/>
                  </a:cubicBezTo>
                  <a:cubicBezTo>
                    <a:pt x="14" y="7"/>
                    <a:pt x="14" y="8"/>
                    <a:pt x="15" y="9"/>
                  </a:cubicBezTo>
                  <a:cubicBezTo>
                    <a:pt x="15" y="6"/>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7" name="Freeform 1213">
              <a:extLst>
                <a:ext uri="{FF2B5EF4-FFF2-40B4-BE49-F238E27FC236}">
                  <a16:creationId xmlns:a16="http://schemas.microsoft.com/office/drawing/2014/main" id="{F0A1F234-8019-47EC-97AC-4BA95C5F21BB}"/>
                </a:ext>
              </a:extLst>
            </p:cNvPr>
            <p:cNvSpPr>
              <a:spLocks/>
            </p:cNvSpPr>
            <p:nvPr/>
          </p:nvSpPr>
          <p:spPr bwMode="auto">
            <a:xfrm>
              <a:off x="2877968" y="5115647"/>
              <a:ext cx="28189" cy="41612"/>
            </a:xfrm>
            <a:custGeom>
              <a:avLst/>
              <a:gdLst>
                <a:gd name="T0" fmla="*/ 0 w 9"/>
                <a:gd name="T1" fmla="*/ 0 h 13"/>
                <a:gd name="T2" fmla="*/ 6 w 9"/>
                <a:gd name="T3" fmla="*/ 13 h 13"/>
                <a:gd name="T4" fmla="*/ 4 w 9"/>
                <a:gd name="T5" fmla="*/ 9 h 13"/>
                <a:gd name="T6" fmla="*/ 0 w 9"/>
                <a:gd name="T7" fmla="*/ 0 h 13"/>
              </a:gdLst>
              <a:ahLst/>
              <a:cxnLst>
                <a:cxn ang="0">
                  <a:pos x="T0" y="T1"/>
                </a:cxn>
                <a:cxn ang="0">
                  <a:pos x="T2" y="T3"/>
                </a:cxn>
                <a:cxn ang="0">
                  <a:pos x="T4" y="T5"/>
                </a:cxn>
                <a:cxn ang="0">
                  <a:pos x="T6" y="T7"/>
                </a:cxn>
              </a:cxnLst>
              <a:rect l="0" t="0" r="r" b="b"/>
              <a:pathLst>
                <a:path w="9" h="13">
                  <a:moveTo>
                    <a:pt x="0" y="0"/>
                  </a:moveTo>
                  <a:cubicBezTo>
                    <a:pt x="1" y="5"/>
                    <a:pt x="4" y="9"/>
                    <a:pt x="6" y="13"/>
                  </a:cubicBezTo>
                  <a:cubicBezTo>
                    <a:pt x="5" y="12"/>
                    <a:pt x="5" y="10"/>
                    <a:pt x="4" y="9"/>
                  </a:cubicBezTo>
                  <a:cubicBezTo>
                    <a:pt x="9" y="8"/>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8" name="Freeform 1214">
              <a:extLst>
                <a:ext uri="{FF2B5EF4-FFF2-40B4-BE49-F238E27FC236}">
                  <a16:creationId xmlns:a16="http://schemas.microsoft.com/office/drawing/2014/main" id="{D0C89AD7-588C-4208-9CA9-129EC8C8CF13}"/>
                </a:ext>
              </a:extLst>
            </p:cNvPr>
            <p:cNvSpPr>
              <a:spLocks/>
            </p:cNvSpPr>
            <p:nvPr/>
          </p:nvSpPr>
          <p:spPr bwMode="auto">
            <a:xfrm>
              <a:off x="4079358" y="5163971"/>
              <a:ext cx="6712" cy="18793"/>
            </a:xfrm>
            <a:custGeom>
              <a:avLst/>
              <a:gdLst>
                <a:gd name="T0" fmla="*/ 2 w 2"/>
                <a:gd name="T1" fmla="*/ 0 h 6"/>
                <a:gd name="T2" fmla="*/ 1 w 2"/>
                <a:gd name="T3" fmla="*/ 1 h 6"/>
                <a:gd name="T4" fmla="*/ 1 w 2"/>
                <a:gd name="T5" fmla="*/ 2 h 6"/>
                <a:gd name="T6" fmla="*/ 1 w 2"/>
                <a:gd name="T7" fmla="*/ 2 h 6"/>
                <a:gd name="T8" fmla="*/ 1 w 2"/>
                <a:gd name="T9" fmla="*/ 6 h 6"/>
                <a:gd name="T10" fmla="*/ 2 w 2"/>
                <a:gd name="T11" fmla="*/ 0 h 6"/>
              </a:gdLst>
              <a:ahLst/>
              <a:cxnLst>
                <a:cxn ang="0">
                  <a:pos x="T0" y="T1"/>
                </a:cxn>
                <a:cxn ang="0">
                  <a:pos x="T2" y="T3"/>
                </a:cxn>
                <a:cxn ang="0">
                  <a:pos x="T4" y="T5"/>
                </a:cxn>
                <a:cxn ang="0">
                  <a:pos x="T6" y="T7"/>
                </a:cxn>
                <a:cxn ang="0">
                  <a:pos x="T8" y="T9"/>
                </a:cxn>
                <a:cxn ang="0">
                  <a:pos x="T10" y="T11"/>
                </a:cxn>
              </a:cxnLst>
              <a:rect l="0" t="0" r="r" b="b"/>
              <a:pathLst>
                <a:path w="2" h="6">
                  <a:moveTo>
                    <a:pt x="2" y="0"/>
                  </a:moveTo>
                  <a:cubicBezTo>
                    <a:pt x="2" y="1"/>
                    <a:pt x="1" y="1"/>
                    <a:pt x="1" y="1"/>
                  </a:cubicBezTo>
                  <a:cubicBezTo>
                    <a:pt x="1" y="2"/>
                    <a:pt x="1" y="2"/>
                    <a:pt x="1" y="2"/>
                  </a:cubicBezTo>
                  <a:cubicBezTo>
                    <a:pt x="1" y="2"/>
                    <a:pt x="1" y="2"/>
                    <a:pt x="1" y="2"/>
                  </a:cubicBezTo>
                  <a:cubicBezTo>
                    <a:pt x="0" y="3"/>
                    <a:pt x="0" y="4"/>
                    <a:pt x="1"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9" name="Freeform 1215">
              <a:extLst>
                <a:ext uri="{FF2B5EF4-FFF2-40B4-BE49-F238E27FC236}">
                  <a16:creationId xmlns:a16="http://schemas.microsoft.com/office/drawing/2014/main" id="{FE95FEAD-6C87-4CCE-8243-8BE3992F6B37}"/>
                </a:ext>
              </a:extLst>
            </p:cNvPr>
            <p:cNvSpPr>
              <a:spLocks/>
            </p:cNvSpPr>
            <p:nvPr/>
          </p:nvSpPr>
          <p:spPr bwMode="auto">
            <a:xfrm>
              <a:off x="5412297" y="5315655"/>
              <a:ext cx="48324" cy="69802"/>
            </a:xfrm>
            <a:custGeom>
              <a:avLst/>
              <a:gdLst>
                <a:gd name="T0" fmla="*/ 8 w 15"/>
                <a:gd name="T1" fmla="*/ 0 h 22"/>
                <a:gd name="T2" fmla="*/ 7 w 15"/>
                <a:gd name="T3" fmla="*/ 1 h 22"/>
                <a:gd name="T4" fmla="*/ 8 w 15"/>
                <a:gd name="T5" fmla="*/ 3 h 22"/>
                <a:gd name="T6" fmla="*/ 8 w 15"/>
                <a:gd name="T7" fmla="*/ 3 h 22"/>
                <a:gd name="T8" fmla="*/ 6 w 15"/>
                <a:gd name="T9" fmla="*/ 3 h 22"/>
                <a:gd name="T10" fmla="*/ 4 w 15"/>
                <a:gd name="T11" fmla="*/ 6 h 22"/>
                <a:gd name="T12" fmla="*/ 2 w 15"/>
                <a:gd name="T13" fmla="*/ 8 h 22"/>
                <a:gd name="T14" fmla="*/ 4 w 15"/>
                <a:gd name="T15" fmla="*/ 9 h 22"/>
                <a:gd name="T16" fmla="*/ 3 w 15"/>
                <a:gd name="T17" fmla="*/ 11 h 22"/>
                <a:gd name="T18" fmla="*/ 2 w 15"/>
                <a:gd name="T19" fmla="*/ 15 h 22"/>
                <a:gd name="T20" fmla="*/ 10 w 15"/>
                <a:gd name="T21" fmla="*/ 22 h 22"/>
                <a:gd name="T22" fmla="*/ 11 w 15"/>
                <a:gd name="T23" fmla="*/ 22 h 22"/>
                <a:gd name="T24" fmla="*/ 13 w 15"/>
                <a:gd name="T25" fmla="*/ 18 h 22"/>
                <a:gd name="T26" fmla="*/ 12 w 15"/>
                <a:gd name="T27" fmla="*/ 18 h 22"/>
                <a:gd name="T28" fmla="*/ 12 w 15"/>
                <a:gd name="T29" fmla="*/ 13 h 22"/>
                <a:gd name="T30" fmla="*/ 12 w 15"/>
                <a:gd name="T31" fmla="*/ 2 h 22"/>
                <a:gd name="T32" fmla="*/ 10 w 15"/>
                <a:gd name="T33" fmla="*/ 0 h 22"/>
                <a:gd name="T34" fmla="*/ 8 w 15"/>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2">
                  <a:moveTo>
                    <a:pt x="8" y="0"/>
                  </a:moveTo>
                  <a:cubicBezTo>
                    <a:pt x="8" y="0"/>
                    <a:pt x="8" y="1"/>
                    <a:pt x="7" y="1"/>
                  </a:cubicBezTo>
                  <a:cubicBezTo>
                    <a:pt x="7" y="1"/>
                    <a:pt x="8" y="2"/>
                    <a:pt x="8" y="3"/>
                  </a:cubicBezTo>
                  <a:cubicBezTo>
                    <a:pt x="8" y="3"/>
                    <a:pt x="8" y="3"/>
                    <a:pt x="8" y="3"/>
                  </a:cubicBezTo>
                  <a:cubicBezTo>
                    <a:pt x="7" y="3"/>
                    <a:pt x="6" y="3"/>
                    <a:pt x="6" y="3"/>
                  </a:cubicBezTo>
                  <a:cubicBezTo>
                    <a:pt x="5" y="4"/>
                    <a:pt x="5" y="5"/>
                    <a:pt x="4" y="6"/>
                  </a:cubicBezTo>
                  <a:cubicBezTo>
                    <a:pt x="2" y="7"/>
                    <a:pt x="0" y="6"/>
                    <a:pt x="2" y="8"/>
                  </a:cubicBezTo>
                  <a:cubicBezTo>
                    <a:pt x="3" y="9"/>
                    <a:pt x="4" y="8"/>
                    <a:pt x="4" y="9"/>
                  </a:cubicBezTo>
                  <a:cubicBezTo>
                    <a:pt x="4" y="10"/>
                    <a:pt x="3" y="10"/>
                    <a:pt x="3" y="11"/>
                  </a:cubicBezTo>
                  <a:cubicBezTo>
                    <a:pt x="2" y="15"/>
                    <a:pt x="2" y="15"/>
                    <a:pt x="2" y="15"/>
                  </a:cubicBezTo>
                  <a:cubicBezTo>
                    <a:pt x="2" y="18"/>
                    <a:pt x="7" y="22"/>
                    <a:pt x="10" y="22"/>
                  </a:cubicBezTo>
                  <a:cubicBezTo>
                    <a:pt x="10" y="22"/>
                    <a:pt x="10" y="22"/>
                    <a:pt x="11" y="22"/>
                  </a:cubicBezTo>
                  <a:cubicBezTo>
                    <a:pt x="12" y="21"/>
                    <a:pt x="15" y="18"/>
                    <a:pt x="13" y="18"/>
                  </a:cubicBezTo>
                  <a:cubicBezTo>
                    <a:pt x="12" y="18"/>
                    <a:pt x="12" y="18"/>
                    <a:pt x="12" y="18"/>
                  </a:cubicBezTo>
                  <a:cubicBezTo>
                    <a:pt x="15" y="17"/>
                    <a:pt x="14" y="15"/>
                    <a:pt x="12" y="13"/>
                  </a:cubicBezTo>
                  <a:cubicBezTo>
                    <a:pt x="13" y="9"/>
                    <a:pt x="14" y="5"/>
                    <a:pt x="12" y="2"/>
                  </a:cubicBezTo>
                  <a:cubicBezTo>
                    <a:pt x="11" y="1"/>
                    <a:pt x="11"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0" name="Freeform 1216">
              <a:extLst>
                <a:ext uri="{FF2B5EF4-FFF2-40B4-BE49-F238E27FC236}">
                  <a16:creationId xmlns:a16="http://schemas.microsoft.com/office/drawing/2014/main" id="{901F0E15-1341-490F-A794-808E8F50DC0B}"/>
                </a:ext>
              </a:extLst>
            </p:cNvPr>
            <p:cNvSpPr>
              <a:spLocks noEditPoints="1"/>
            </p:cNvSpPr>
            <p:nvPr/>
          </p:nvSpPr>
          <p:spPr bwMode="auto">
            <a:xfrm>
              <a:off x="5137119" y="4941143"/>
              <a:ext cx="12081" cy="6712"/>
            </a:xfrm>
            <a:custGeom>
              <a:avLst/>
              <a:gdLst>
                <a:gd name="T0" fmla="*/ 3 w 4"/>
                <a:gd name="T1" fmla="*/ 0 h 2"/>
                <a:gd name="T2" fmla="*/ 0 w 4"/>
                <a:gd name="T3" fmla="*/ 1 h 2"/>
                <a:gd name="T4" fmla="*/ 0 w 4"/>
                <a:gd name="T5" fmla="*/ 2 h 2"/>
                <a:gd name="T6" fmla="*/ 3 w 4"/>
                <a:gd name="T7" fmla="*/ 0 h 2"/>
                <a:gd name="T8" fmla="*/ 4 w 4"/>
                <a:gd name="T9" fmla="*/ 0 h 2"/>
                <a:gd name="T10" fmla="*/ 3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3" y="0"/>
                  </a:moveTo>
                  <a:cubicBezTo>
                    <a:pt x="2" y="1"/>
                    <a:pt x="1" y="1"/>
                    <a:pt x="0" y="1"/>
                  </a:cubicBezTo>
                  <a:cubicBezTo>
                    <a:pt x="0" y="2"/>
                    <a:pt x="0" y="2"/>
                    <a:pt x="0" y="2"/>
                  </a:cubicBezTo>
                  <a:cubicBezTo>
                    <a:pt x="1" y="2"/>
                    <a:pt x="2" y="1"/>
                    <a:pt x="3" y="0"/>
                  </a:cubicBezTo>
                  <a:moveTo>
                    <a:pt x="4" y="0"/>
                  </a:moveTo>
                  <a:cubicBezTo>
                    <a:pt x="4" y="0"/>
                    <a:pt x="3" y="0"/>
                    <a:pt x="3" y="0"/>
                  </a:cubicBezTo>
                  <a:cubicBezTo>
                    <a:pt x="3"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1" name="Freeform 1217">
              <a:extLst>
                <a:ext uri="{FF2B5EF4-FFF2-40B4-BE49-F238E27FC236}">
                  <a16:creationId xmlns:a16="http://schemas.microsoft.com/office/drawing/2014/main" id="{68F5F05B-82E3-4748-9862-ED9FEE98EF0A}"/>
                </a:ext>
              </a:extLst>
            </p:cNvPr>
            <p:cNvSpPr>
              <a:spLocks/>
            </p:cNvSpPr>
            <p:nvPr/>
          </p:nvSpPr>
          <p:spPr bwMode="auto">
            <a:xfrm>
              <a:off x="4562599" y="4994836"/>
              <a:ext cx="56378" cy="38928"/>
            </a:xfrm>
            <a:custGeom>
              <a:avLst/>
              <a:gdLst>
                <a:gd name="T0" fmla="*/ 9 w 18"/>
                <a:gd name="T1" fmla="*/ 0 h 12"/>
                <a:gd name="T2" fmla="*/ 7 w 18"/>
                <a:gd name="T3" fmla="*/ 0 h 12"/>
                <a:gd name="T4" fmla="*/ 7 w 18"/>
                <a:gd name="T5" fmla="*/ 0 h 12"/>
                <a:gd name="T6" fmla="*/ 2 w 18"/>
                <a:gd name="T7" fmla="*/ 2 h 12"/>
                <a:gd name="T8" fmla="*/ 1 w 18"/>
                <a:gd name="T9" fmla="*/ 8 h 12"/>
                <a:gd name="T10" fmla="*/ 3 w 18"/>
                <a:gd name="T11" fmla="*/ 10 h 12"/>
                <a:gd name="T12" fmla="*/ 9 w 18"/>
                <a:gd name="T13" fmla="*/ 4 h 12"/>
                <a:gd name="T14" fmla="*/ 9 w 18"/>
                <a:gd name="T15" fmla="*/ 7 h 12"/>
                <a:gd name="T16" fmla="*/ 11 w 18"/>
                <a:gd name="T17" fmla="*/ 12 h 12"/>
                <a:gd name="T18" fmla="*/ 18 w 18"/>
                <a:gd name="T19" fmla="*/ 3 h 12"/>
                <a:gd name="T20" fmla="*/ 14 w 18"/>
                <a:gd name="T21" fmla="*/ 2 h 12"/>
                <a:gd name="T22" fmla="*/ 13 w 18"/>
                <a:gd name="T23" fmla="*/ 3 h 12"/>
                <a:gd name="T24" fmla="*/ 9 w 18"/>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2">
                  <a:moveTo>
                    <a:pt x="9" y="0"/>
                  </a:moveTo>
                  <a:cubicBezTo>
                    <a:pt x="10" y="0"/>
                    <a:pt x="8" y="0"/>
                    <a:pt x="7" y="0"/>
                  </a:cubicBezTo>
                  <a:cubicBezTo>
                    <a:pt x="7" y="0"/>
                    <a:pt x="7" y="0"/>
                    <a:pt x="7" y="0"/>
                  </a:cubicBezTo>
                  <a:cubicBezTo>
                    <a:pt x="5" y="1"/>
                    <a:pt x="3" y="1"/>
                    <a:pt x="2" y="2"/>
                  </a:cubicBezTo>
                  <a:cubicBezTo>
                    <a:pt x="0" y="3"/>
                    <a:pt x="0" y="6"/>
                    <a:pt x="1" y="8"/>
                  </a:cubicBezTo>
                  <a:cubicBezTo>
                    <a:pt x="1" y="9"/>
                    <a:pt x="2" y="10"/>
                    <a:pt x="3" y="10"/>
                  </a:cubicBezTo>
                  <a:cubicBezTo>
                    <a:pt x="4" y="10"/>
                    <a:pt x="7" y="5"/>
                    <a:pt x="9" y="4"/>
                  </a:cubicBezTo>
                  <a:cubicBezTo>
                    <a:pt x="9" y="5"/>
                    <a:pt x="9" y="6"/>
                    <a:pt x="9" y="7"/>
                  </a:cubicBezTo>
                  <a:cubicBezTo>
                    <a:pt x="9" y="11"/>
                    <a:pt x="7" y="10"/>
                    <a:pt x="11" y="12"/>
                  </a:cubicBezTo>
                  <a:cubicBezTo>
                    <a:pt x="12" y="5"/>
                    <a:pt x="13" y="7"/>
                    <a:pt x="18" y="3"/>
                  </a:cubicBezTo>
                  <a:cubicBezTo>
                    <a:pt x="17" y="3"/>
                    <a:pt x="16" y="2"/>
                    <a:pt x="14" y="2"/>
                  </a:cubicBezTo>
                  <a:cubicBezTo>
                    <a:pt x="14" y="2"/>
                    <a:pt x="13" y="2"/>
                    <a:pt x="13" y="3"/>
                  </a:cubicBezTo>
                  <a:cubicBezTo>
                    <a:pt x="11" y="2"/>
                    <a:pt x="11"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2" name="Freeform 1218">
              <a:extLst>
                <a:ext uri="{FF2B5EF4-FFF2-40B4-BE49-F238E27FC236}">
                  <a16:creationId xmlns:a16="http://schemas.microsoft.com/office/drawing/2014/main" id="{1A41368F-47F2-4379-ABF0-C5D4D92F1C38}"/>
                </a:ext>
              </a:extLst>
            </p:cNvPr>
            <p:cNvSpPr>
              <a:spLocks/>
            </p:cNvSpPr>
            <p:nvPr/>
          </p:nvSpPr>
          <p:spPr bwMode="auto">
            <a:xfrm>
              <a:off x="4986777" y="5439150"/>
              <a:ext cx="13423" cy="10739"/>
            </a:xfrm>
            <a:custGeom>
              <a:avLst/>
              <a:gdLst>
                <a:gd name="T0" fmla="*/ 3 w 4"/>
                <a:gd name="T1" fmla="*/ 0 h 3"/>
                <a:gd name="T2" fmla="*/ 3 w 4"/>
                <a:gd name="T3" fmla="*/ 3 h 3"/>
                <a:gd name="T4" fmla="*/ 3 w 4"/>
                <a:gd name="T5" fmla="*/ 0 h 3"/>
              </a:gdLst>
              <a:ahLst/>
              <a:cxnLst>
                <a:cxn ang="0">
                  <a:pos x="T0" y="T1"/>
                </a:cxn>
                <a:cxn ang="0">
                  <a:pos x="T2" y="T3"/>
                </a:cxn>
                <a:cxn ang="0">
                  <a:pos x="T4" y="T5"/>
                </a:cxn>
              </a:cxnLst>
              <a:rect l="0" t="0" r="r" b="b"/>
              <a:pathLst>
                <a:path w="4" h="3">
                  <a:moveTo>
                    <a:pt x="3" y="0"/>
                  </a:moveTo>
                  <a:cubicBezTo>
                    <a:pt x="0" y="1"/>
                    <a:pt x="1" y="2"/>
                    <a:pt x="3" y="3"/>
                  </a:cubicBezTo>
                  <a:cubicBezTo>
                    <a:pt x="4"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3" name="Freeform 1219">
              <a:extLst>
                <a:ext uri="{FF2B5EF4-FFF2-40B4-BE49-F238E27FC236}">
                  <a16:creationId xmlns:a16="http://schemas.microsoft.com/office/drawing/2014/main" id="{EE6F3D3A-FD9D-4C23-BDF2-45005198792F}"/>
                </a:ext>
              </a:extLst>
            </p:cNvPr>
            <p:cNvSpPr>
              <a:spLocks/>
            </p:cNvSpPr>
            <p:nvPr/>
          </p:nvSpPr>
          <p:spPr bwMode="auto">
            <a:xfrm>
              <a:off x="4904894" y="5010944"/>
              <a:ext cx="60405" cy="29531"/>
            </a:xfrm>
            <a:custGeom>
              <a:avLst/>
              <a:gdLst>
                <a:gd name="T0" fmla="*/ 8 w 19"/>
                <a:gd name="T1" fmla="*/ 0 h 9"/>
                <a:gd name="T2" fmla="*/ 2 w 19"/>
                <a:gd name="T3" fmla="*/ 2 h 9"/>
                <a:gd name="T4" fmla="*/ 0 w 19"/>
                <a:gd name="T5" fmla="*/ 7 h 9"/>
                <a:gd name="T6" fmla="*/ 4 w 19"/>
                <a:gd name="T7" fmla="*/ 9 h 9"/>
                <a:gd name="T8" fmla="*/ 7 w 19"/>
                <a:gd name="T9" fmla="*/ 8 h 9"/>
                <a:gd name="T10" fmla="*/ 12 w 19"/>
                <a:gd name="T11" fmla="*/ 8 h 9"/>
                <a:gd name="T12" fmla="*/ 14 w 19"/>
                <a:gd name="T13" fmla="*/ 8 h 9"/>
                <a:gd name="T14" fmla="*/ 15 w 19"/>
                <a:gd name="T15" fmla="*/ 8 h 9"/>
                <a:gd name="T16" fmla="*/ 15 w 19"/>
                <a:gd name="T17" fmla="*/ 3 h 9"/>
                <a:gd name="T18" fmla="*/ 8 w 1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9">
                  <a:moveTo>
                    <a:pt x="8" y="0"/>
                  </a:moveTo>
                  <a:cubicBezTo>
                    <a:pt x="6" y="0"/>
                    <a:pt x="4" y="1"/>
                    <a:pt x="2" y="2"/>
                  </a:cubicBezTo>
                  <a:cubicBezTo>
                    <a:pt x="1" y="3"/>
                    <a:pt x="0" y="5"/>
                    <a:pt x="0" y="7"/>
                  </a:cubicBezTo>
                  <a:cubicBezTo>
                    <a:pt x="1" y="8"/>
                    <a:pt x="3" y="9"/>
                    <a:pt x="4" y="9"/>
                  </a:cubicBezTo>
                  <a:cubicBezTo>
                    <a:pt x="5" y="9"/>
                    <a:pt x="6" y="9"/>
                    <a:pt x="7" y="8"/>
                  </a:cubicBezTo>
                  <a:cubicBezTo>
                    <a:pt x="8" y="8"/>
                    <a:pt x="10" y="8"/>
                    <a:pt x="12" y="8"/>
                  </a:cubicBezTo>
                  <a:cubicBezTo>
                    <a:pt x="13" y="8"/>
                    <a:pt x="13" y="8"/>
                    <a:pt x="14" y="8"/>
                  </a:cubicBezTo>
                  <a:cubicBezTo>
                    <a:pt x="14" y="8"/>
                    <a:pt x="15" y="8"/>
                    <a:pt x="15" y="8"/>
                  </a:cubicBezTo>
                  <a:cubicBezTo>
                    <a:pt x="18" y="8"/>
                    <a:pt x="19" y="7"/>
                    <a:pt x="15"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4" name="Freeform 1220">
              <a:extLst>
                <a:ext uri="{FF2B5EF4-FFF2-40B4-BE49-F238E27FC236}">
                  <a16:creationId xmlns:a16="http://schemas.microsoft.com/office/drawing/2014/main" id="{787516B9-59B4-46AC-BD9A-9F1E25B9E492}"/>
                </a:ext>
              </a:extLst>
            </p:cNvPr>
            <p:cNvSpPr>
              <a:spLocks/>
            </p:cNvSpPr>
            <p:nvPr/>
          </p:nvSpPr>
          <p:spPr bwMode="auto">
            <a:xfrm>
              <a:off x="2643059" y="4796171"/>
              <a:ext cx="63090" cy="72486"/>
            </a:xfrm>
            <a:custGeom>
              <a:avLst/>
              <a:gdLst>
                <a:gd name="T0" fmla="*/ 6 w 20"/>
                <a:gd name="T1" fmla="*/ 0 h 23"/>
                <a:gd name="T2" fmla="*/ 0 w 20"/>
                <a:gd name="T3" fmla="*/ 3 h 23"/>
                <a:gd name="T4" fmla="*/ 10 w 20"/>
                <a:gd name="T5" fmla="*/ 15 h 23"/>
                <a:gd name="T6" fmla="*/ 18 w 20"/>
                <a:gd name="T7" fmla="*/ 23 h 23"/>
                <a:gd name="T8" fmla="*/ 19 w 20"/>
                <a:gd name="T9" fmla="*/ 18 h 23"/>
                <a:gd name="T10" fmla="*/ 18 w 20"/>
                <a:gd name="T11" fmla="*/ 12 h 23"/>
                <a:gd name="T12" fmla="*/ 6 w 20"/>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0" h="23">
                  <a:moveTo>
                    <a:pt x="6" y="0"/>
                  </a:moveTo>
                  <a:cubicBezTo>
                    <a:pt x="6" y="3"/>
                    <a:pt x="2" y="2"/>
                    <a:pt x="0" y="3"/>
                  </a:cubicBezTo>
                  <a:cubicBezTo>
                    <a:pt x="4" y="4"/>
                    <a:pt x="7" y="12"/>
                    <a:pt x="10" y="15"/>
                  </a:cubicBezTo>
                  <a:cubicBezTo>
                    <a:pt x="13" y="18"/>
                    <a:pt x="15" y="21"/>
                    <a:pt x="18" y="23"/>
                  </a:cubicBezTo>
                  <a:cubicBezTo>
                    <a:pt x="19" y="21"/>
                    <a:pt x="19" y="20"/>
                    <a:pt x="19" y="18"/>
                  </a:cubicBezTo>
                  <a:cubicBezTo>
                    <a:pt x="19" y="15"/>
                    <a:pt x="20" y="15"/>
                    <a:pt x="18" y="12"/>
                  </a:cubicBezTo>
                  <a:cubicBezTo>
                    <a:pt x="14" y="8"/>
                    <a:pt x="10"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5" name="Freeform 1221">
              <a:extLst>
                <a:ext uri="{FF2B5EF4-FFF2-40B4-BE49-F238E27FC236}">
                  <a16:creationId xmlns:a16="http://schemas.microsoft.com/office/drawing/2014/main" id="{99B43224-2544-4031-A47E-40DF792D6AF6}"/>
                </a:ext>
              </a:extLst>
            </p:cNvPr>
            <p:cNvSpPr>
              <a:spLocks/>
            </p:cNvSpPr>
            <p:nvPr/>
          </p:nvSpPr>
          <p:spPr bwMode="auto">
            <a:xfrm>
              <a:off x="5421694" y="5059269"/>
              <a:ext cx="9396" cy="12081"/>
            </a:xfrm>
            <a:custGeom>
              <a:avLst/>
              <a:gdLst>
                <a:gd name="T0" fmla="*/ 3 w 3"/>
                <a:gd name="T1" fmla="*/ 0 h 4"/>
                <a:gd name="T2" fmla="*/ 1 w 3"/>
                <a:gd name="T3" fmla="*/ 4 h 4"/>
                <a:gd name="T4" fmla="*/ 3 w 3"/>
                <a:gd name="T5" fmla="*/ 0 h 4"/>
              </a:gdLst>
              <a:ahLst/>
              <a:cxnLst>
                <a:cxn ang="0">
                  <a:pos x="T0" y="T1"/>
                </a:cxn>
                <a:cxn ang="0">
                  <a:pos x="T2" y="T3"/>
                </a:cxn>
                <a:cxn ang="0">
                  <a:pos x="T4" y="T5"/>
                </a:cxn>
              </a:cxnLst>
              <a:rect l="0" t="0" r="r" b="b"/>
              <a:pathLst>
                <a:path w="3" h="4">
                  <a:moveTo>
                    <a:pt x="3" y="0"/>
                  </a:moveTo>
                  <a:cubicBezTo>
                    <a:pt x="1" y="1"/>
                    <a:pt x="0" y="2"/>
                    <a:pt x="1" y="4"/>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6" name="Freeform 1222">
              <a:extLst>
                <a:ext uri="{FF2B5EF4-FFF2-40B4-BE49-F238E27FC236}">
                  <a16:creationId xmlns:a16="http://schemas.microsoft.com/office/drawing/2014/main" id="{AB1AA312-E9D2-4877-B96C-86334C80AB5D}"/>
                </a:ext>
              </a:extLst>
            </p:cNvPr>
            <p:cNvSpPr>
              <a:spLocks/>
            </p:cNvSpPr>
            <p:nvPr/>
          </p:nvSpPr>
          <p:spPr bwMode="auto">
            <a:xfrm>
              <a:off x="4895498" y="4931747"/>
              <a:ext cx="51009" cy="44297"/>
            </a:xfrm>
            <a:custGeom>
              <a:avLst/>
              <a:gdLst>
                <a:gd name="T0" fmla="*/ 7 w 16"/>
                <a:gd name="T1" fmla="*/ 0 h 14"/>
                <a:gd name="T2" fmla="*/ 4 w 16"/>
                <a:gd name="T3" fmla="*/ 3 h 14"/>
                <a:gd name="T4" fmla="*/ 4 w 16"/>
                <a:gd name="T5" fmla="*/ 3 h 14"/>
                <a:gd name="T6" fmla="*/ 4 w 16"/>
                <a:gd name="T7" fmla="*/ 2 h 14"/>
                <a:gd name="T8" fmla="*/ 3 w 16"/>
                <a:gd name="T9" fmla="*/ 1 h 14"/>
                <a:gd name="T10" fmla="*/ 3 w 16"/>
                <a:gd name="T11" fmla="*/ 1 h 14"/>
                <a:gd name="T12" fmla="*/ 3 w 16"/>
                <a:gd name="T13" fmla="*/ 7 h 14"/>
                <a:gd name="T14" fmla="*/ 5 w 16"/>
                <a:gd name="T15" fmla="*/ 9 h 14"/>
                <a:gd name="T16" fmla="*/ 5 w 16"/>
                <a:gd name="T17" fmla="*/ 10 h 14"/>
                <a:gd name="T18" fmla="*/ 5 w 16"/>
                <a:gd name="T19" fmla="*/ 12 h 14"/>
                <a:gd name="T20" fmla="*/ 7 w 16"/>
                <a:gd name="T21" fmla="*/ 12 h 14"/>
                <a:gd name="T22" fmla="*/ 9 w 16"/>
                <a:gd name="T23" fmla="*/ 11 h 14"/>
                <a:gd name="T24" fmla="*/ 12 w 16"/>
                <a:gd name="T25" fmla="*/ 14 h 14"/>
                <a:gd name="T26" fmla="*/ 12 w 16"/>
                <a:gd name="T27" fmla="*/ 14 h 14"/>
                <a:gd name="T28" fmla="*/ 15 w 16"/>
                <a:gd name="T29" fmla="*/ 12 h 14"/>
                <a:gd name="T30" fmla="*/ 11 w 16"/>
                <a:gd name="T31" fmla="*/ 10 h 14"/>
                <a:gd name="T32" fmla="*/ 10 w 16"/>
                <a:gd name="T33" fmla="*/ 10 h 14"/>
                <a:gd name="T34" fmla="*/ 10 w 16"/>
                <a:gd name="T35" fmla="*/ 10 h 14"/>
                <a:gd name="T36" fmla="*/ 10 w 16"/>
                <a:gd name="T37" fmla="*/ 10 h 14"/>
                <a:gd name="T38" fmla="*/ 10 w 16"/>
                <a:gd name="T39" fmla="*/ 9 h 14"/>
                <a:gd name="T40" fmla="*/ 7 w 16"/>
                <a:gd name="T4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4">
                  <a:moveTo>
                    <a:pt x="7" y="0"/>
                  </a:moveTo>
                  <a:cubicBezTo>
                    <a:pt x="6" y="1"/>
                    <a:pt x="5" y="3"/>
                    <a:pt x="4" y="3"/>
                  </a:cubicBezTo>
                  <a:cubicBezTo>
                    <a:pt x="4" y="3"/>
                    <a:pt x="4" y="3"/>
                    <a:pt x="4" y="3"/>
                  </a:cubicBezTo>
                  <a:cubicBezTo>
                    <a:pt x="4" y="3"/>
                    <a:pt x="4" y="2"/>
                    <a:pt x="4" y="2"/>
                  </a:cubicBezTo>
                  <a:cubicBezTo>
                    <a:pt x="3" y="1"/>
                    <a:pt x="3" y="1"/>
                    <a:pt x="3" y="1"/>
                  </a:cubicBezTo>
                  <a:cubicBezTo>
                    <a:pt x="3" y="1"/>
                    <a:pt x="3" y="1"/>
                    <a:pt x="3" y="1"/>
                  </a:cubicBezTo>
                  <a:cubicBezTo>
                    <a:pt x="0" y="1"/>
                    <a:pt x="2" y="6"/>
                    <a:pt x="3" y="7"/>
                  </a:cubicBezTo>
                  <a:cubicBezTo>
                    <a:pt x="3" y="7"/>
                    <a:pt x="5" y="8"/>
                    <a:pt x="5" y="9"/>
                  </a:cubicBezTo>
                  <a:cubicBezTo>
                    <a:pt x="5" y="9"/>
                    <a:pt x="4" y="9"/>
                    <a:pt x="5" y="10"/>
                  </a:cubicBezTo>
                  <a:cubicBezTo>
                    <a:pt x="5" y="11"/>
                    <a:pt x="4" y="12"/>
                    <a:pt x="5" y="12"/>
                  </a:cubicBezTo>
                  <a:cubicBezTo>
                    <a:pt x="6" y="12"/>
                    <a:pt x="6" y="12"/>
                    <a:pt x="7" y="12"/>
                  </a:cubicBezTo>
                  <a:cubicBezTo>
                    <a:pt x="8" y="11"/>
                    <a:pt x="8" y="11"/>
                    <a:pt x="9" y="11"/>
                  </a:cubicBezTo>
                  <a:cubicBezTo>
                    <a:pt x="10" y="11"/>
                    <a:pt x="9" y="14"/>
                    <a:pt x="12" y="14"/>
                  </a:cubicBezTo>
                  <a:cubicBezTo>
                    <a:pt x="12" y="14"/>
                    <a:pt x="12" y="14"/>
                    <a:pt x="12" y="14"/>
                  </a:cubicBezTo>
                  <a:cubicBezTo>
                    <a:pt x="13" y="14"/>
                    <a:pt x="14" y="13"/>
                    <a:pt x="15" y="12"/>
                  </a:cubicBezTo>
                  <a:cubicBezTo>
                    <a:pt x="16" y="11"/>
                    <a:pt x="11" y="10"/>
                    <a:pt x="11" y="10"/>
                  </a:cubicBezTo>
                  <a:cubicBezTo>
                    <a:pt x="11" y="10"/>
                    <a:pt x="10" y="10"/>
                    <a:pt x="10" y="10"/>
                  </a:cubicBezTo>
                  <a:cubicBezTo>
                    <a:pt x="10" y="10"/>
                    <a:pt x="10" y="10"/>
                    <a:pt x="10" y="10"/>
                  </a:cubicBezTo>
                  <a:cubicBezTo>
                    <a:pt x="10" y="10"/>
                    <a:pt x="10" y="10"/>
                    <a:pt x="10" y="10"/>
                  </a:cubicBezTo>
                  <a:cubicBezTo>
                    <a:pt x="10" y="10"/>
                    <a:pt x="10" y="10"/>
                    <a:pt x="10" y="9"/>
                  </a:cubicBezTo>
                  <a:cubicBezTo>
                    <a:pt x="9" y="5"/>
                    <a:pt x="9"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7" name="Freeform 1223">
              <a:extLst>
                <a:ext uri="{FF2B5EF4-FFF2-40B4-BE49-F238E27FC236}">
                  <a16:creationId xmlns:a16="http://schemas.microsoft.com/office/drawing/2014/main" id="{C39FB2CC-50F1-434F-8C91-83235FBB0BED}"/>
                </a:ext>
              </a:extLst>
            </p:cNvPr>
            <p:cNvSpPr>
              <a:spLocks/>
            </p:cNvSpPr>
            <p:nvPr/>
          </p:nvSpPr>
          <p:spPr bwMode="auto">
            <a:xfrm>
              <a:off x="3800152" y="5338475"/>
              <a:ext cx="10739" cy="9396"/>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1" y="0"/>
                    <a:pt x="0" y="1"/>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8" name="Freeform 1224">
              <a:extLst>
                <a:ext uri="{FF2B5EF4-FFF2-40B4-BE49-F238E27FC236}">
                  <a16:creationId xmlns:a16="http://schemas.microsoft.com/office/drawing/2014/main" id="{BAF95C6D-AD01-404D-AFEF-122DD1890091}"/>
                </a:ext>
              </a:extLst>
            </p:cNvPr>
            <p:cNvSpPr>
              <a:spLocks/>
            </p:cNvSpPr>
            <p:nvPr/>
          </p:nvSpPr>
          <p:spPr bwMode="auto">
            <a:xfrm>
              <a:off x="2503456" y="4487433"/>
              <a:ext cx="812113" cy="867150"/>
            </a:xfrm>
            <a:custGeom>
              <a:avLst/>
              <a:gdLst>
                <a:gd name="T0" fmla="*/ 1 w 256"/>
                <a:gd name="T1" fmla="*/ 5 h 273"/>
                <a:gd name="T2" fmla="*/ 44 w 256"/>
                <a:gd name="T3" fmla="*/ 52 h 273"/>
                <a:gd name="T4" fmla="*/ 57 w 256"/>
                <a:gd name="T5" fmla="*/ 71 h 273"/>
                <a:gd name="T6" fmla="*/ 73 w 256"/>
                <a:gd name="T7" fmla="*/ 85 h 273"/>
                <a:gd name="T8" fmla="*/ 84 w 256"/>
                <a:gd name="T9" fmla="*/ 95 h 273"/>
                <a:gd name="T10" fmla="*/ 100 w 256"/>
                <a:gd name="T11" fmla="*/ 129 h 273"/>
                <a:gd name="T12" fmla="*/ 131 w 256"/>
                <a:gd name="T13" fmla="*/ 175 h 273"/>
                <a:gd name="T14" fmla="*/ 165 w 256"/>
                <a:gd name="T15" fmla="*/ 221 h 273"/>
                <a:gd name="T16" fmla="*/ 193 w 256"/>
                <a:gd name="T17" fmla="*/ 245 h 273"/>
                <a:gd name="T18" fmla="*/ 222 w 256"/>
                <a:gd name="T19" fmla="*/ 273 h 273"/>
                <a:gd name="T20" fmla="*/ 223 w 256"/>
                <a:gd name="T21" fmla="*/ 263 h 273"/>
                <a:gd name="T22" fmla="*/ 233 w 256"/>
                <a:gd name="T23" fmla="*/ 268 h 273"/>
                <a:gd name="T24" fmla="*/ 239 w 256"/>
                <a:gd name="T25" fmla="*/ 263 h 273"/>
                <a:gd name="T26" fmla="*/ 250 w 256"/>
                <a:gd name="T27" fmla="*/ 236 h 273"/>
                <a:gd name="T28" fmla="*/ 251 w 256"/>
                <a:gd name="T29" fmla="*/ 214 h 273"/>
                <a:gd name="T30" fmla="*/ 236 w 256"/>
                <a:gd name="T31" fmla="*/ 188 h 273"/>
                <a:gd name="T32" fmla="*/ 226 w 256"/>
                <a:gd name="T33" fmla="*/ 189 h 273"/>
                <a:gd name="T34" fmla="*/ 221 w 256"/>
                <a:gd name="T35" fmla="*/ 189 h 273"/>
                <a:gd name="T36" fmla="*/ 219 w 256"/>
                <a:gd name="T37" fmla="*/ 177 h 273"/>
                <a:gd name="T38" fmla="*/ 214 w 256"/>
                <a:gd name="T39" fmla="*/ 158 h 273"/>
                <a:gd name="T40" fmla="*/ 211 w 256"/>
                <a:gd name="T41" fmla="*/ 158 h 273"/>
                <a:gd name="T42" fmla="*/ 192 w 256"/>
                <a:gd name="T43" fmla="*/ 144 h 273"/>
                <a:gd name="T44" fmla="*/ 192 w 256"/>
                <a:gd name="T45" fmla="*/ 142 h 273"/>
                <a:gd name="T46" fmla="*/ 190 w 256"/>
                <a:gd name="T47" fmla="*/ 139 h 273"/>
                <a:gd name="T48" fmla="*/ 198 w 256"/>
                <a:gd name="T49" fmla="*/ 134 h 273"/>
                <a:gd name="T50" fmla="*/ 198 w 256"/>
                <a:gd name="T51" fmla="*/ 126 h 273"/>
                <a:gd name="T52" fmla="*/ 183 w 256"/>
                <a:gd name="T53" fmla="*/ 125 h 273"/>
                <a:gd name="T54" fmla="*/ 174 w 256"/>
                <a:gd name="T55" fmla="*/ 128 h 273"/>
                <a:gd name="T56" fmla="*/ 185 w 256"/>
                <a:gd name="T57" fmla="*/ 122 h 273"/>
                <a:gd name="T58" fmla="*/ 169 w 256"/>
                <a:gd name="T59" fmla="*/ 113 h 273"/>
                <a:gd name="T60" fmla="*/ 148 w 256"/>
                <a:gd name="T61" fmla="*/ 93 h 273"/>
                <a:gd name="T62" fmla="*/ 133 w 256"/>
                <a:gd name="T63" fmla="*/ 81 h 273"/>
                <a:gd name="T64" fmla="*/ 135 w 256"/>
                <a:gd name="T65" fmla="*/ 90 h 273"/>
                <a:gd name="T66" fmla="*/ 123 w 256"/>
                <a:gd name="T67" fmla="*/ 79 h 273"/>
                <a:gd name="T68" fmla="*/ 113 w 256"/>
                <a:gd name="T69" fmla="*/ 71 h 273"/>
                <a:gd name="T70" fmla="*/ 88 w 256"/>
                <a:gd name="T71" fmla="*/ 47 h 273"/>
                <a:gd name="T72" fmla="*/ 75 w 256"/>
                <a:gd name="T73" fmla="*/ 49 h 273"/>
                <a:gd name="T74" fmla="*/ 75 w 256"/>
                <a:gd name="T75" fmla="*/ 38 h 273"/>
                <a:gd name="T76" fmla="*/ 72 w 256"/>
                <a:gd name="T77" fmla="*/ 31 h 273"/>
                <a:gd name="T78" fmla="*/ 55 w 256"/>
                <a:gd name="T79" fmla="*/ 10 h 273"/>
                <a:gd name="T80" fmla="*/ 47 w 256"/>
                <a:gd name="T81" fmla="*/ 11 h 273"/>
                <a:gd name="T82" fmla="*/ 31 w 256"/>
                <a:gd name="T83" fmla="*/ 1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73">
                  <a:moveTo>
                    <a:pt x="9" y="0"/>
                  </a:moveTo>
                  <a:cubicBezTo>
                    <a:pt x="6" y="0"/>
                    <a:pt x="5" y="0"/>
                    <a:pt x="2" y="2"/>
                  </a:cubicBezTo>
                  <a:cubicBezTo>
                    <a:pt x="0" y="3"/>
                    <a:pt x="0" y="3"/>
                    <a:pt x="1" y="5"/>
                  </a:cubicBezTo>
                  <a:cubicBezTo>
                    <a:pt x="2" y="10"/>
                    <a:pt x="3" y="13"/>
                    <a:pt x="6" y="17"/>
                  </a:cubicBezTo>
                  <a:cubicBezTo>
                    <a:pt x="14" y="27"/>
                    <a:pt x="23" y="39"/>
                    <a:pt x="35" y="46"/>
                  </a:cubicBezTo>
                  <a:cubicBezTo>
                    <a:pt x="38" y="48"/>
                    <a:pt x="42" y="49"/>
                    <a:pt x="44" y="52"/>
                  </a:cubicBezTo>
                  <a:cubicBezTo>
                    <a:pt x="46" y="55"/>
                    <a:pt x="49" y="58"/>
                    <a:pt x="52" y="61"/>
                  </a:cubicBezTo>
                  <a:cubicBezTo>
                    <a:pt x="53" y="63"/>
                    <a:pt x="55" y="64"/>
                    <a:pt x="56" y="65"/>
                  </a:cubicBezTo>
                  <a:cubicBezTo>
                    <a:pt x="57" y="67"/>
                    <a:pt x="57" y="69"/>
                    <a:pt x="57" y="71"/>
                  </a:cubicBezTo>
                  <a:cubicBezTo>
                    <a:pt x="58" y="73"/>
                    <a:pt x="58" y="77"/>
                    <a:pt x="60" y="79"/>
                  </a:cubicBezTo>
                  <a:cubicBezTo>
                    <a:pt x="61" y="80"/>
                    <a:pt x="63" y="80"/>
                    <a:pt x="64" y="81"/>
                  </a:cubicBezTo>
                  <a:cubicBezTo>
                    <a:pt x="68" y="81"/>
                    <a:pt x="70" y="83"/>
                    <a:pt x="73" y="85"/>
                  </a:cubicBezTo>
                  <a:cubicBezTo>
                    <a:pt x="77" y="87"/>
                    <a:pt x="79" y="89"/>
                    <a:pt x="83" y="92"/>
                  </a:cubicBezTo>
                  <a:cubicBezTo>
                    <a:pt x="83" y="91"/>
                    <a:pt x="83" y="91"/>
                    <a:pt x="83" y="91"/>
                  </a:cubicBezTo>
                  <a:cubicBezTo>
                    <a:pt x="84" y="92"/>
                    <a:pt x="84" y="93"/>
                    <a:pt x="84" y="95"/>
                  </a:cubicBezTo>
                  <a:cubicBezTo>
                    <a:pt x="84" y="99"/>
                    <a:pt x="86" y="102"/>
                    <a:pt x="87" y="106"/>
                  </a:cubicBezTo>
                  <a:cubicBezTo>
                    <a:pt x="88" y="112"/>
                    <a:pt x="90" y="118"/>
                    <a:pt x="92" y="124"/>
                  </a:cubicBezTo>
                  <a:cubicBezTo>
                    <a:pt x="93" y="128"/>
                    <a:pt x="95" y="128"/>
                    <a:pt x="100" y="129"/>
                  </a:cubicBezTo>
                  <a:cubicBezTo>
                    <a:pt x="103" y="130"/>
                    <a:pt x="104" y="131"/>
                    <a:pt x="106" y="135"/>
                  </a:cubicBezTo>
                  <a:cubicBezTo>
                    <a:pt x="110" y="142"/>
                    <a:pt x="120" y="149"/>
                    <a:pt x="121" y="157"/>
                  </a:cubicBezTo>
                  <a:cubicBezTo>
                    <a:pt x="122" y="163"/>
                    <a:pt x="127" y="169"/>
                    <a:pt x="131" y="175"/>
                  </a:cubicBezTo>
                  <a:cubicBezTo>
                    <a:pt x="134" y="179"/>
                    <a:pt x="135" y="185"/>
                    <a:pt x="137" y="190"/>
                  </a:cubicBezTo>
                  <a:cubicBezTo>
                    <a:pt x="138" y="196"/>
                    <a:pt x="146" y="202"/>
                    <a:pt x="149" y="207"/>
                  </a:cubicBezTo>
                  <a:cubicBezTo>
                    <a:pt x="154" y="212"/>
                    <a:pt x="160" y="216"/>
                    <a:pt x="165" y="221"/>
                  </a:cubicBezTo>
                  <a:cubicBezTo>
                    <a:pt x="167" y="222"/>
                    <a:pt x="166" y="226"/>
                    <a:pt x="167" y="227"/>
                  </a:cubicBezTo>
                  <a:cubicBezTo>
                    <a:pt x="171" y="229"/>
                    <a:pt x="174" y="232"/>
                    <a:pt x="177" y="234"/>
                  </a:cubicBezTo>
                  <a:cubicBezTo>
                    <a:pt x="182" y="238"/>
                    <a:pt x="188" y="242"/>
                    <a:pt x="193" y="245"/>
                  </a:cubicBezTo>
                  <a:cubicBezTo>
                    <a:pt x="198" y="249"/>
                    <a:pt x="202" y="254"/>
                    <a:pt x="207" y="258"/>
                  </a:cubicBezTo>
                  <a:cubicBezTo>
                    <a:pt x="210" y="262"/>
                    <a:pt x="214" y="266"/>
                    <a:pt x="217" y="269"/>
                  </a:cubicBezTo>
                  <a:cubicBezTo>
                    <a:pt x="218" y="271"/>
                    <a:pt x="220" y="273"/>
                    <a:pt x="222" y="273"/>
                  </a:cubicBezTo>
                  <a:cubicBezTo>
                    <a:pt x="222" y="273"/>
                    <a:pt x="222" y="273"/>
                    <a:pt x="222" y="273"/>
                  </a:cubicBezTo>
                  <a:cubicBezTo>
                    <a:pt x="222" y="271"/>
                    <a:pt x="219" y="263"/>
                    <a:pt x="222" y="263"/>
                  </a:cubicBezTo>
                  <a:cubicBezTo>
                    <a:pt x="222" y="263"/>
                    <a:pt x="223" y="263"/>
                    <a:pt x="223" y="263"/>
                  </a:cubicBezTo>
                  <a:cubicBezTo>
                    <a:pt x="224" y="263"/>
                    <a:pt x="225" y="265"/>
                    <a:pt x="226" y="265"/>
                  </a:cubicBezTo>
                  <a:cubicBezTo>
                    <a:pt x="227" y="266"/>
                    <a:pt x="229" y="267"/>
                    <a:pt x="230" y="267"/>
                  </a:cubicBezTo>
                  <a:cubicBezTo>
                    <a:pt x="231" y="268"/>
                    <a:pt x="232" y="268"/>
                    <a:pt x="233" y="268"/>
                  </a:cubicBezTo>
                  <a:cubicBezTo>
                    <a:pt x="234" y="268"/>
                    <a:pt x="234" y="268"/>
                    <a:pt x="235" y="267"/>
                  </a:cubicBezTo>
                  <a:cubicBezTo>
                    <a:pt x="235" y="266"/>
                    <a:pt x="236" y="263"/>
                    <a:pt x="238" y="263"/>
                  </a:cubicBezTo>
                  <a:cubicBezTo>
                    <a:pt x="238" y="263"/>
                    <a:pt x="238" y="263"/>
                    <a:pt x="239" y="263"/>
                  </a:cubicBezTo>
                  <a:cubicBezTo>
                    <a:pt x="241" y="263"/>
                    <a:pt x="245" y="270"/>
                    <a:pt x="248" y="272"/>
                  </a:cubicBezTo>
                  <a:cubicBezTo>
                    <a:pt x="249" y="270"/>
                    <a:pt x="249" y="269"/>
                    <a:pt x="250" y="267"/>
                  </a:cubicBezTo>
                  <a:cubicBezTo>
                    <a:pt x="251" y="257"/>
                    <a:pt x="251" y="246"/>
                    <a:pt x="250" y="236"/>
                  </a:cubicBezTo>
                  <a:cubicBezTo>
                    <a:pt x="250" y="232"/>
                    <a:pt x="250" y="230"/>
                    <a:pt x="252" y="226"/>
                  </a:cubicBezTo>
                  <a:cubicBezTo>
                    <a:pt x="252" y="225"/>
                    <a:pt x="253" y="224"/>
                    <a:pt x="253" y="223"/>
                  </a:cubicBezTo>
                  <a:cubicBezTo>
                    <a:pt x="252" y="219"/>
                    <a:pt x="249" y="219"/>
                    <a:pt x="251" y="214"/>
                  </a:cubicBezTo>
                  <a:cubicBezTo>
                    <a:pt x="252" y="213"/>
                    <a:pt x="256" y="210"/>
                    <a:pt x="256" y="210"/>
                  </a:cubicBezTo>
                  <a:cubicBezTo>
                    <a:pt x="255" y="202"/>
                    <a:pt x="250" y="197"/>
                    <a:pt x="246" y="191"/>
                  </a:cubicBezTo>
                  <a:cubicBezTo>
                    <a:pt x="244" y="188"/>
                    <a:pt x="239" y="189"/>
                    <a:pt x="236" y="188"/>
                  </a:cubicBezTo>
                  <a:cubicBezTo>
                    <a:pt x="234" y="188"/>
                    <a:pt x="231" y="187"/>
                    <a:pt x="228" y="187"/>
                  </a:cubicBezTo>
                  <a:cubicBezTo>
                    <a:pt x="228" y="187"/>
                    <a:pt x="228" y="187"/>
                    <a:pt x="228" y="187"/>
                  </a:cubicBezTo>
                  <a:cubicBezTo>
                    <a:pt x="227" y="187"/>
                    <a:pt x="226" y="189"/>
                    <a:pt x="226" y="189"/>
                  </a:cubicBezTo>
                  <a:cubicBezTo>
                    <a:pt x="225" y="190"/>
                    <a:pt x="225" y="191"/>
                    <a:pt x="225" y="192"/>
                  </a:cubicBezTo>
                  <a:cubicBezTo>
                    <a:pt x="224" y="195"/>
                    <a:pt x="222" y="196"/>
                    <a:pt x="220" y="198"/>
                  </a:cubicBezTo>
                  <a:cubicBezTo>
                    <a:pt x="220" y="193"/>
                    <a:pt x="227" y="195"/>
                    <a:pt x="221" y="189"/>
                  </a:cubicBezTo>
                  <a:cubicBezTo>
                    <a:pt x="223" y="188"/>
                    <a:pt x="224" y="188"/>
                    <a:pt x="225" y="187"/>
                  </a:cubicBezTo>
                  <a:cubicBezTo>
                    <a:pt x="229" y="183"/>
                    <a:pt x="222" y="183"/>
                    <a:pt x="221" y="180"/>
                  </a:cubicBezTo>
                  <a:cubicBezTo>
                    <a:pt x="219" y="179"/>
                    <a:pt x="219" y="179"/>
                    <a:pt x="219" y="177"/>
                  </a:cubicBezTo>
                  <a:cubicBezTo>
                    <a:pt x="218" y="174"/>
                    <a:pt x="219" y="173"/>
                    <a:pt x="219" y="171"/>
                  </a:cubicBezTo>
                  <a:cubicBezTo>
                    <a:pt x="218" y="167"/>
                    <a:pt x="217" y="164"/>
                    <a:pt x="216" y="160"/>
                  </a:cubicBezTo>
                  <a:cubicBezTo>
                    <a:pt x="216" y="158"/>
                    <a:pt x="215" y="158"/>
                    <a:pt x="214" y="158"/>
                  </a:cubicBezTo>
                  <a:cubicBezTo>
                    <a:pt x="214" y="158"/>
                    <a:pt x="213" y="158"/>
                    <a:pt x="213" y="158"/>
                  </a:cubicBezTo>
                  <a:cubicBezTo>
                    <a:pt x="213" y="158"/>
                    <a:pt x="212" y="158"/>
                    <a:pt x="211" y="158"/>
                  </a:cubicBezTo>
                  <a:cubicBezTo>
                    <a:pt x="211" y="158"/>
                    <a:pt x="211" y="158"/>
                    <a:pt x="211" y="158"/>
                  </a:cubicBezTo>
                  <a:cubicBezTo>
                    <a:pt x="209" y="158"/>
                    <a:pt x="207" y="156"/>
                    <a:pt x="206" y="156"/>
                  </a:cubicBezTo>
                  <a:cubicBezTo>
                    <a:pt x="204" y="156"/>
                    <a:pt x="202" y="156"/>
                    <a:pt x="200" y="155"/>
                  </a:cubicBezTo>
                  <a:cubicBezTo>
                    <a:pt x="194" y="153"/>
                    <a:pt x="193" y="149"/>
                    <a:pt x="192" y="144"/>
                  </a:cubicBezTo>
                  <a:cubicBezTo>
                    <a:pt x="192" y="145"/>
                    <a:pt x="193" y="145"/>
                    <a:pt x="194" y="145"/>
                  </a:cubicBezTo>
                  <a:cubicBezTo>
                    <a:pt x="195" y="145"/>
                    <a:pt x="196" y="144"/>
                    <a:pt x="197" y="143"/>
                  </a:cubicBezTo>
                  <a:cubicBezTo>
                    <a:pt x="196" y="142"/>
                    <a:pt x="194" y="142"/>
                    <a:pt x="192" y="142"/>
                  </a:cubicBezTo>
                  <a:cubicBezTo>
                    <a:pt x="193" y="141"/>
                    <a:pt x="194" y="139"/>
                    <a:pt x="195" y="138"/>
                  </a:cubicBezTo>
                  <a:cubicBezTo>
                    <a:pt x="194" y="138"/>
                    <a:pt x="192" y="139"/>
                    <a:pt x="191" y="139"/>
                  </a:cubicBezTo>
                  <a:cubicBezTo>
                    <a:pt x="191" y="139"/>
                    <a:pt x="190" y="139"/>
                    <a:pt x="190" y="139"/>
                  </a:cubicBezTo>
                  <a:cubicBezTo>
                    <a:pt x="193" y="138"/>
                    <a:pt x="193" y="138"/>
                    <a:pt x="196" y="135"/>
                  </a:cubicBezTo>
                  <a:cubicBezTo>
                    <a:pt x="196" y="135"/>
                    <a:pt x="197" y="134"/>
                    <a:pt x="197" y="133"/>
                  </a:cubicBezTo>
                  <a:cubicBezTo>
                    <a:pt x="198" y="134"/>
                    <a:pt x="198" y="134"/>
                    <a:pt x="198" y="134"/>
                  </a:cubicBezTo>
                  <a:cubicBezTo>
                    <a:pt x="199" y="134"/>
                    <a:pt x="201" y="133"/>
                    <a:pt x="203" y="133"/>
                  </a:cubicBezTo>
                  <a:cubicBezTo>
                    <a:pt x="202" y="132"/>
                    <a:pt x="201" y="125"/>
                    <a:pt x="199" y="125"/>
                  </a:cubicBezTo>
                  <a:cubicBezTo>
                    <a:pt x="199" y="125"/>
                    <a:pt x="198" y="125"/>
                    <a:pt x="198" y="126"/>
                  </a:cubicBezTo>
                  <a:cubicBezTo>
                    <a:pt x="198" y="124"/>
                    <a:pt x="195" y="122"/>
                    <a:pt x="194" y="121"/>
                  </a:cubicBezTo>
                  <a:cubicBezTo>
                    <a:pt x="193" y="121"/>
                    <a:pt x="192" y="121"/>
                    <a:pt x="192" y="121"/>
                  </a:cubicBezTo>
                  <a:cubicBezTo>
                    <a:pt x="189" y="121"/>
                    <a:pt x="186" y="123"/>
                    <a:pt x="183" y="125"/>
                  </a:cubicBezTo>
                  <a:cubicBezTo>
                    <a:pt x="180" y="127"/>
                    <a:pt x="177" y="129"/>
                    <a:pt x="174" y="129"/>
                  </a:cubicBezTo>
                  <a:cubicBezTo>
                    <a:pt x="173" y="129"/>
                    <a:pt x="172" y="128"/>
                    <a:pt x="170" y="127"/>
                  </a:cubicBezTo>
                  <a:cubicBezTo>
                    <a:pt x="172" y="128"/>
                    <a:pt x="173" y="128"/>
                    <a:pt x="174" y="128"/>
                  </a:cubicBezTo>
                  <a:cubicBezTo>
                    <a:pt x="174" y="128"/>
                    <a:pt x="175" y="128"/>
                    <a:pt x="177" y="127"/>
                  </a:cubicBezTo>
                  <a:cubicBezTo>
                    <a:pt x="178" y="126"/>
                    <a:pt x="180" y="126"/>
                    <a:pt x="181" y="125"/>
                  </a:cubicBezTo>
                  <a:cubicBezTo>
                    <a:pt x="182" y="124"/>
                    <a:pt x="185" y="123"/>
                    <a:pt x="185" y="122"/>
                  </a:cubicBezTo>
                  <a:cubicBezTo>
                    <a:pt x="186" y="121"/>
                    <a:pt x="183" y="117"/>
                    <a:pt x="182" y="117"/>
                  </a:cubicBezTo>
                  <a:cubicBezTo>
                    <a:pt x="179" y="116"/>
                    <a:pt x="176" y="116"/>
                    <a:pt x="173" y="115"/>
                  </a:cubicBezTo>
                  <a:cubicBezTo>
                    <a:pt x="171" y="115"/>
                    <a:pt x="170" y="114"/>
                    <a:pt x="169" y="113"/>
                  </a:cubicBezTo>
                  <a:cubicBezTo>
                    <a:pt x="166" y="110"/>
                    <a:pt x="165" y="109"/>
                    <a:pt x="164" y="105"/>
                  </a:cubicBezTo>
                  <a:cubicBezTo>
                    <a:pt x="163" y="102"/>
                    <a:pt x="159" y="99"/>
                    <a:pt x="157" y="96"/>
                  </a:cubicBezTo>
                  <a:cubicBezTo>
                    <a:pt x="155" y="94"/>
                    <a:pt x="151" y="94"/>
                    <a:pt x="148" y="93"/>
                  </a:cubicBezTo>
                  <a:cubicBezTo>
                    <a:pt x="145" y="92"/>
                    <a:pt x="146" y="92"/>
                    <a:pt x="145" y="90"/>
                  </a:cubicBezTo>
                  <a:cubicBezTo>
                    <a:pt x="144" y="89"/>
                    <a:pt x="143" y="87"/>
                    <a:pt x="142" y="85"/>
                  </a:cubicBezTo>
                  <a:cubicBezTo>
                    <a:pt x="139" y="81"/>
                    <a:pt x="138" y="82"/>
                    <a:pt x="133" y="81"/>
                  </a:cubicBezTo>
                  <a:cubicBezTo>
                    <a:pt x="133" y="80"/>
                    <a:pt x="133" y="80"/>
                    <a:pt x="133" y="80"/>
                  </a:cubicBezTo>
                  <a:cubicBezTo>
                    <a:pt x="131" y="80"/>
                    <a:pt x="131" y="82"/>
                    <a:pt x="132" y="83"/>
                  </a:cubicBezTo>
                  <a:cubicBezTo>
                    <a:pt x="133" y="86"/>
                    <a:pt x="135" y="86"/>
                    <a:pt x="135" y="90"/>
                  </a:cubicBezTo>
                  <a:cubicBezTo>
                    <a:pt x="134" y="89"/>
                    <a:pt x="134" y="87"/>
                    <a:pt x="133" y="86"/>
                  </a:cubicBezTo>
                  <a:cubicBezTo>
                    <a:pt x="131" y="84"/>
                    <a:pt x="128" y="84"/>
                    <a:pt x="126" y="82"/>
                  </a:cubicBezTo>
                  <a:cubicBezTo>
                    <a:pt x="125" y="81"/>
                    <a:pt x="123" y="80"/>
                    <a:pt x="123" y="79"/>
                  </a:cubicBezTo>
                  <a:cubicBezTo>
                    <a:pt x="120" y="76"/>
                    <a:pt x="122" y="72"/>
                    <a:pt x="116" y="72"/>
                  </a:cubicBezTo>
                  <a:cubicBezTo>
                    <a:pt x="116" y="72"/>
                    <a:pt x="116" y="73"/>
                    <a:pt x="116" y="74"/>
                  </a:cubicBezTo>
                  <a:cubicBezTo>
                    <a:pt x="115" y="73"/>
                    <a:pt x="113" y="72"/>
                    <a:pt x="113" y="71"/>
                  </a:cubicBezTo>
                  <a:cubicBezTo>
                    <a:pt x="112" y="67"/>
                    <a:pt x="114" y="66"/>
                    <a:pt x="110" y="64"/>
                  </a:cubicBezTo>
                  <a:cubicBezTo>
                    <a:pt x="105" y="59"/>
                    <a:pt x="99" y="53"/>
                    <a:pt x="93" y="50"/>
                  </a:cubicBezTo>
                  <a:cubicBezTo>
                    <a:pt x="92" y="49"/>
                    <a:pt x="90" y="48"/>
                    <a:pt x="88" y="47"/>
                  </a:cubicBezTo>
                  <a:cubicBezTo>
                    <a:pt x="88" y="48"/>
                    <a:pt x="88" y="48"/>
                    <a:pt x="88" y="49"/>
                  </a:cubicBezTo>
                  <a:cubicBezTo>
                    <a:pt x="88" y="52"/>
                    <a:pt x="85" y="55"/>
                    <a:pt x="82" y="55"/>
                  </a:cubicBezTo>
                  <a:cubicBezTo>
                    <a:pt x="78" y="55"/>
                    <a:pt x="75" y="52"/>
                    <a:pt x="75" y="49"/>
                  </a:cubicBezTo>
                  <a:cubicBezTo>
                    <a:pt x="75" y="45"/>
                    <a:pt x="78" y="42"/>
                    <a:pt x="82" y="42"/>
                  </a:cubicBezTo>
                  <a:cubicBezTo>
                    <a:pt x="82" y="42"/>
                    <a:pt x="82" y="42"/>
                    <a:pt x="82" y="42"/>
                  </a:cubicBezTo>
                  <a:cubicBezTo>
                    <a:pt x="80" y="40"/>
                    <a:pt x="79" y="39"/>
                    <a:pt x="75" y="38"/>
                  </a:cubicBezTo>
                  <a:cubicBezTo>
                    <a:pt x="74" y="37"/>
                    <a:pt x="72" y="36"/>
                    <a:pt x="71" y="36"/>
                  </a:cubicBezTo>
                  <a:cubicBezTo>
                    <a:pt x="71" y="36"/>
                    <a:pt x="70" y="36"/>
                    <a:pt x="70" y="36"/>
                  </a:cubicBezTo>
                  <a:cubicBezTo>
                    <a:pt x="71" y="35"/>
                    <a:pt x="73" y="33"/>
                    <a:pt x="72" y="31"/>
                  </a:cubicBezTo>
                  <a:cubicBezTo>
                    <a:pt x="70" y="30"/>
                    <a:pt x="69" y="27"/>
                    <a:pt x="67" y="26"/>
                  </a:cubicBezTo>
                  <a:cubicBezTo>
                    <a:pt x="64" y="26"/>
                    <a:pt x="66" y="22"/>
                    <a:pt x="65" y="20"/>
                  </a:cubicBezTo>
                  <a:cubicBezTo>
                    <a:pt x="63" y="16"/>
                    <a:pt x="58" y="13"/>
                    <a:pt x="55" y="10"/>
                  </a:cubicBezTo>
                  <a:cubicBezTo>
                    <a:pt x="55" y="10"/>
                    <a:pt x="54" y="10"/>
                    <a:pt x="53" y="10"/>
                  </a:cubicBezTo>
                  <a:cubicBezTo>
                    <a:pt x="52" y="10"/>
                    <a:pt x="51" y="10"/>
                    <a:pt x="49" y="11"/>
                  </a:cubicBezTo>
                  <a:cubicBezTo>
                    <a:pt x="48" y="11"/>
                    <a:pt x="47" y="11"/>
                    <a:pt x="47" y="11"/>
                  </a:cubicBezTo>
                  <a:cubicBezTo>
                    <a:pt x="46" y="11"/>
                    <a:pt x="45" y="11"/>
                    <a:pt x="44" y="10"/>
                  </a:cubicBezTo>
                  <a:cubicBezTo>
                    <a:pt x="42" y="9"/>
                    <a:pt x="41" y="9"/>
                    <a:pt x="39" y="9"/>
                  </a:cubicBezTo>
                  <a:cubicBezTo>
                    <a:pt x="36" y="9"/>
                    <a:pt x="34" y="9"/>
                    <a:pt x="31" y="10"/>
                  </a:cubicBezTo>
                  <a:cubicBezTo>
                    <a:pt x="31" y="10"/>
                    <a:pt x="30" y="10"/>
                    <a:pt x="30" y="10"/>
                  </a:cubicBezTo>
                  <a:cubicBezTo>
                    <a:pt x="22" y="10"/>
                    <a:pt x="16"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9" name="Freeform 1225">
              <a:extLst>
                <a:ext uri="{FF2B5EF4-FFF2-40B4-BE49-F238E27FC236}">
                  <a16:creationId xmlns:a16="http://schemas.microsoft.com/office/drawing/2014/main" id="{1EF6351F-A8E3-40D3-A252-9804A0D8C34C}"/>
                </a:ext>
              </a:extLst>
            </p:cNvPr>
            <p:cNvSpPr>
              <a:spLocks/>
            </p:cNvSpPr>
            <p:nvPr/>
          </p:nvSpPr>
          <p:spPr bwMode="auto">
            <a:xfrm>
              <a:off x="5500891" y="4957251"/>
              <a:ext cx="38928" cy="16108"/>
            </a:xfrm>
            <a:custGeom>
              <a:avLst/>
              <a:gdLst>
                <a:gd name="T0" fmla="*/ 0 w 12"/>
                <a:gd name="T1" fmla="*/ 0 h 5"/>
                <a:gd name="T2" fmla="*/ 8 w 12"/>
                <a:gd name="T3" fmla="*/ 5 h 5"/>
                <a:gd name="T4" fmla="*/ 0 w 12"/>
                <a:gd name="T5" fmla="*/ 0 h 5"/>
              </a:gdLst>
              <a:ahLst/>
              <a:cxnLst>
                <a:cxn ang="0">
                  <a:pos x="T0" y="T1"/>
                </a:cxn>
                <a:cxn ang="0">
                  <a:pos x="T2" y="T3"/>
                </a:cxn>
                <a:cxn ang="0">
                  <a:pos x="T4" y="T5"/>
                </a:cxn>
              </a:cxnLst>
              <a:rect l="0" t="0" r="r" b="b"/>
              <a:pathLst>
                <a:path w="12" h="5">
                  <a:moveTo>
                    <a:pt x="0" y="0"/>
                  </a:moveTo>
                  <a:cubicBezTo>
                    <a:pt x="3" y="2"/>
                    <a:pt x="5" y="3"/>
                    <a:pt x="8" y="5"/>
                  </a:cubicBezTo>
                  <a:cubicBezTo>
                    <a:pt x="12"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0" name="Freeform 1226">
              <a:extLst>
                <a:ext uri="{FF2B5EF4-FFF2-40B4-BE49-F238E27FC236}">
                  <a16:creationId xmlns:a16="http://schemas.microsoft.com/office/drawing/2014/main" id="{89C0A78C-4CF6-4259-BF05-7AE6A20A9398}"/>
                </a:ext>
              </a:extLst>
            </p:cNvPr>
            <p:cNvSpPr>
              <a:spLocks/>
            </p:cNvSpPr>
            <p:nvPr/>
          </p:nvSpPr>
          <p:spPr bwMode="auto">
            <a:xfrm>
              <a:off x="4904894" y="4747846"/>
              <a:ext cx="114099" cy="228197"/>
            </a:xfrm>
            <a:custGeom>
              <a:avLst/>
              <a:gdLst>
                <a:gd name="T0" fmla="*/ 16 w 36"/>
                <a:gd name="T1" fmla="*/ 0 h 72"/>
                <a:gd name="T2" fmla="*/ 8 w 36"/>
                <a:gd name="T3" fmla="*/ 5 h 72"/>
                <a:gd name="T4" fmla="*/ 4 w 36"/>
                <a:gd name="T5" fmla="*/ 11 h 72"/>
                <a:gd name="T6" fmla="*/ 2 w 36"/>
                <a:gd name="T7" fmla="*/ 21 h 72"/>
                <a:gd name="T8" fmla="*/ 2 w 36"/>
                <a:gd name="T9" fmla="*/ 27 h 72"/>
                <a:gd name="T10" fmla="*/ 5 w 36"/>
                <a:gd name="T11" fmla="*/ 31 h 72"/>
                <a:gd name="T12" fmla="*/ 4 w 36"/>
                <a:gd name="T13" fmla="*/ 36 h 72"/>
                <a:gd name="T14" fmla="*/ 8 w 36"/>
                <a:gd name="T15" fmla="*/ 45 h 72"/>
                <a:gd name="T16" fmla="*/ 7 w 36"/>
                <a:gd name="T17" fmla="*/ 56 h 72"/>
                <a:gd name="T18" fmla="*/ 14 w 36"/>
                <a:gd name="T19" fmla="*/ 66 h 72"/>
                <a:gd name="T20" fmla="*/ 25 w 36"/>
                <a:gd name="T21" fmla="*/ 72 h 72"/>
                <a:gd name="T22" fmla="*/ 13 w 36"/>
                <a:gd name="T23" fmla="*/ 53 h 72"/>
                <a:gd name="T24" fmla="*/ 13 w 36"/>
                <a:gd name="T25" fmla="*/ 46 h 72"/>
                <a:gd name="T26" fmla="*/ 14 w 36"/>
                <a:gd name="T27" fmla="*/ 41 h 72"/>
                <a:gd name="T28" fmla="*/ 15 w 36"/>
                <a:gd name="T29" fmla="*/ 41 h 72"/>
                <a:gd name="T30" fmla="*/ 30 w 36"/>
                <a:gd name="T31" fmla="*/ 44 h 72"/>
                <a:gd name="T32" fmla="*/ 36 w 36"/>
                <a:gd name="T33" fmla="*/ 46 h 72"/>
                <a:gd name="T34" fmla="*/ 26 w 36"/>
                <a:gd name="T35" fmla="*/ 37 h 72"/>
                <a:gd name="T36" fmla="*/ 23 w 36"/>
                <a:gd name="T37" fmla="*/ 36 h 72"/>
                <a:gd name="T38" fmla="*/ 29 w 36"/>
                <a:gd name="T39" fmla="*/ 27 h 72"/>
                <a:gd name="T40" fmla="*/ 31 w 36"/>
                <a:gd name="T41" fmla="*/ 22 h 72"/>
                <a:gd name="T42" fmla="*/ 32 w 36"/>
                <a:gd name="T43" fmla="*/ 19 h 72"/>
                <a:gd name="T44" fmla="*/ 32 w 36"/>
                <a:gd name="T45" fmla="*/ 15 h 72"/>
                <a:gd name="T46" fmla="*/ 29 w 36"/>
                <a:gd name="T47" fmla="*/ 15 h 72"/>
                <a:gd name="T48" fmla="*/ 24 w 36"/>
                <a:gd name="T49" fmla="*/ 15 h 72"/>
                <a:gd name="T50" fmla="*/ 19 w 36"/>
                <a:gd name="T51" fmla="*/ 19 h 72"/>
                <a:gd name="T52" fmla="*/ 17 w 36"/>
                <a:gd name="T53" fmla="*/ 21 h 72"/>
                <a:gd name="T54" fmla="*/ 19 w 36"/>
                <a:gd name="T55" fmla="*/ 24 h 72"/>
                <a:gd name="T56" fmla="*/ 14 w 36"/>
                <a:gd name="T57" fmla="*/ 27 h 72"/>
                <a:gd name="T58" fmla="*/ 12 w 36"/>
                <a:gd name="T59" fmla="*/ 32 h 72"/>
                <a:gd name="T60" fmla="*/ 10 w 36"/>
                <a:gd name="T61" fmla="*/ 32 h 72"/>
                <a:gd name="T62" fmla="*/ 7 w 36"/>
                <a:gd name="T63" fmla="*/ 29 h 72"/>
                <a:gd name="T64" fmla="*/ 10 w 36"/>
                <a:gd name="T65" fmla="*/ 24 h 72"/>
                <a:gd name="T66" fmla="*/ 11 w 36"/>
                <a:gd name="T67" fmla="*/ 24 h 72"/>
                <a:gd name="T68" fmla="*/ 11 w 36"/>
                <a:gd name="T69" fmla="*/ 24 h 72"/>
                <a:gd name="T70" fmla="*/ 12 w 36"/>
                <a:gd name="T71" fmla="*/ 24 h 72"/>
                <a:gd name="T72" fmla="*/ 12 w 36"/>
                <a:gd name="T73" fmla="*/ 24 h 72"/>
                <a:gd name="T74" fmla="*/ 13 w 36"/>
                <a:gd name="T75" fmla="*/ 23 h 72"/>
                <a:gd name="T76" fmla="*/ 14 w 36"/>
                <a:gd name="T77" fmla="*/ 21 h 72"/>
                <a:gd name="T78" fmla="*/ 13 w 36"/>
                <a:gd name="T79" fmla="*/ 9 h 72"/>
                <a:gd name="T80" fmla="*/ 13 w 36"/>
                <a:gd name="T81" fmla="*/ 4 h 72"/>
                <a:gd name="T82" fmla="*/ 16 w 36"/>
                <a:gd name="T8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72">
                  <a:moveTo>
                    <a:pt x="16" y="0"/>
                  </a:moveTo>
                  <a:cubicBezTo>
                    <a:pt x="13" y="1"/>
                    <a:pt x="11" y="3"/>
                    <a:pt x="8" y="5"/>
                  </a:cubicBezTo>
                  <a:cubicBezTo>
                    <a:pt x="7" y="7"/>
                    <a:pt x="5" y="9"/>
                    <a:pt x="4" y="11"/>
                  </a:cubicBezTo>
                  <a:cubicBezTo>
                    <a:pt x="3" y="14"/>
                    <a:pt x="3" y="18"/>
                    <a:pt x="2" y="21"/>
                  </a:cubicBezTo>
                  <a:cubicBezTo>
                    <a:pt x="1" y="23"/>
                    <a:pt x="0" y="25"/>
                    <a:pt x="2" y="27"/>
                  </a:cubicBezTo>
                  <a:cubicBezTo>
                    <a:pt x="2" y="28"/>
                    <a:pt x="5" y="30"/>
                    <a:pt x="5" y="31"/>
                  </a:cubicBezTo>
                  <a:cubicBezTo>
                    <a:pt x="6" y="32"/>
                    <a:pt x="4" y="34"/>
                    <a:pt x="4" y="36"/>
                  </a:cubicBezTo>
                  <a:cubicBezTo>
                    <a:pt x="4" y="39"/>
                    <a:pt x="8" y="41"/>
                    <a:pt x="8" y="45"/>
                  </a:cubicBezTo>
                  <a:cubicBezTo>
                    <a:pt x="8" y="48"/>
                    <a:pt x="6" y="53"/>
                    <a:pt x="7" y="56"/>
                  </a:cubicBezTo>
                  <a:cubicBezTo>
                    <a:pt x="8" y="59"/>
                    <a:pt x="12" y="63"/>
                    <a:pt x="14" y="66"/>
                  </a:cubicBezTo>
                  <a:cubicBezTo>
                    <a:pt x="17" y="69"/>
                    <a:pt x="21" y="70"/>
                    <a:pt x="25" y="72"/>
                  </a:cubicBezTo>
                  <a:cubicBezTo>
                    <a:pt x="21" y="66"/>
                    <a:pt x="17" y="59"/>
                    <a:pt x="13" y="53"/>
                  </a:cubicBezTo>
                  <a:cubicBezTo>
                    <a:pt x="12" y="50"/>
                    <a:pt x="13" y="48"/>
                    <a:pt x="13" y="46"/>
                  </a:cubicBezTo>
                  <a:cubicBezTo>
                    <a:pt x="13" y="44"/>
                    <a:pt x="11" y="41"/>
                    <a:pt x="14" y="41"/>
                  </a:cubicBezTo>
                  <a:cubicBezTo>
                    <a:pt x="14" y="41"/>
                    <a:pt x="14" y="41"/>
                    <a:pt x="15" y="41"/>
                  </a:cubicBezTo>
                  <a:cubicBezTo>
                    <a:pt x="20" y="41"/>
                    <a:pt x="25" y="42"/>
                    <a:pt x="30" y="44"/>
                  </a:cubicBezTo>
                  <a:cubicBezTo>
                    <a:pt x="32" y="45"/>
                    <a:pt x="34" y="45"/>
                    <a:pt x="36" y="46"/>
                  </a:cubicBezTo>
                  <a:cubicBezTo>
                    <a:pt x="33" y="42"/>
                    <a:pt x="30" y="39"/>
                    <a:pt x="26" y="37"/>
                  </a:cubicBezTo>
                  <a:cubicBezTo>
                    <a:pt x="25" y="36"/>
                    <a:pt x="24" y="36"/>
                    <a:pt x="23" y="36"/>
                  </a:cubicBezTo>
                  <a:cubicBezTo>
                    <a:pt x="16" y="32"/>
                    <a:pt x="26" y="29"/>
                    <a:pt x="29" y="27"/>
                  </a:cubicBezTo>
                  <a:cubicBezTo>
                    <a:pt x="32" y="25"/>
                    <a:pt x="31" y="25"/>
                    <a:pt x="31" y="22"/>
                  </a:cubicBezTo>
                  <a:cubicBezTo>
                    <a:pt x="32" y="21"/>
                    <a:pt x="32" y="20"/>
                    <a:pt x="32" y="19"/>
                  </a:cubicBezTo>
                  <a:cubicBezTo>
                    <a:pt x="32" y="17"/>
                    <a:pt x="30" y="16"/>
                    <a:pt x="32" y="15"/>
                  </a:cubicBezTo>
                  <a:cubicBezTo>
                    <a:pt x="31" y="15"/>
                    <a:pt x="30" y="15"/>
                    <a:pt x="29" y="15"/>
                  </a:cubicBezTo>
                  <a:cubicBezTo>
                    <a:pt x="27" y="15"/>
                    <a:pt x="25" y="15"/>
                    <a:pt x="24" y="15"/>
                  </a:cubicBezTo>
                  <a:cubicBezTo>
                    <a:pt x="22" y="16"/>
                    <a:pt x="20" y="18"/>
                    <a:pt x="19" y="19"/>
                  </a:cubicBezTo>
                  <a:cubicBezTo>
                    <a:pt x="17" y="21"/>
                    <a:pt x="17" y="21"/>
                    <a:pt x="17" y="21"/>
                  </a:cubicBezTo>
                  <a:cubicBezTo>
                    <a:pt x="17" y="23"/>
                    <a:pt x="20" y="23"/>
                    <a:pt x="19" y="24"/>
                  </a:cubicBezTo>
                  <a:cubicBezTo>
                    <a:pt x="17" y="26"/>
                    <a:pt x="15" y="24"/>
                    <a:pt x="14" y="27"/>
                  </a:cubicBezTo>
                  <a:cubicBezTo>
                    <a:pt x="13" y="28"/>
                    <a:pt x="14" y="31"/>
                    <a:pt x="12" y="32"/>
                  </a:cubicBezTo>
                  <a:cubicBezTo>
                    <a:pt x="11" y="32"/>
                    <a:pt x="11" y="32"/>
                    <a:pt x="10" y="32"/>
                  </a:cubicBezTo>
                  <a:cubicBezTo>
                    <a:pt x="8" y="32"/>
                    <a:pt x="7" y="31"/>
                    <a:pt x="7" y="29"/>
                  </a:cubicBezTo>
                  <a:cubicBezTo>
                    <a:pt x="7" y="27"/>
                    <a:pt x="9" y="26"/>
                    <a:pt x="10" y="24"/>
                  </a:cubicBezTo>
                  <a:cubicBezTo>
                    <a:pt x="11" y="24"/>
                    <a:pt x="11" y="24"/>
                    <a:pt x="11" y="24"/>
                  </a:cubicBezTo>
                  <a:cubicBezTo>
                    <a:pt x="11" y="24"/>
                    <a:pt x="11" y="24"/>
                    <a:pt x="11" y="24"/>
                  </a:cubicBezTo>
                  <a:cubicBezTo>
                    <a:pt x="11" y="24"/>
                    <a:pt x="11" y="24"/>
                    <a:pt x="12" y="24"/>
                  </a:cubicBezTo>
                  <a:cubicBezTo>
                    <a:pt x="12" y="24"/>
                    <a:pt x="12" y="24"/>
                    <a:pt x="12" y="24"/>
                  </a:cubicBezTo>
                  <a:cubicBezTo>
                    <a:pt x="12" y="24"/>
                    <a:pt x="12" y="23"/>
                    <a:pt x="13" y="23"/>
                  </a:cubicBezTo>
                  <a:cubicBezTo>
                    <a:pt x="13" y="22"/>
                    <a:pt x="14" y="21"/>
                    <a:pt x="14" y="21"/>
                  </a:cubicBezTo>
                  <a:cubicBezTo>
                    <a:pt x="16" y="17"/>
                    <a:pt x="15" y="13"/>
                    <a:pt x="13" y="9"/>
                  </a:cubicBezTo>
                  <a:cubicBezTo>
                    <a:pt x="12" y="6"/>
                    <a:pt x="12" y="7"/>
                    <a:pt x="13" y="4"/>
                  </a:cubicBezTo>
                  <a:cubicBezTo>
                    <a:pt x="14" y="3"/>
                    <a:pt x="16" y="1"/>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1" name="Freeform 1227">
              <a:extLst>
                <a:ext uri="{FF2B5EF4-FFF2-40B4-BE49-F238E27FC236}">
                  <a16:creationId xmlns:a16="http://schemas.microsoft.com/office/drawing/2014/main" id="{8EC1812F-F94A-4179-B01B-A2E3376D1821}"/>
                </a:ext>
              </a:extLst>
            </p:cNvPr>
            <p:cNvSpPr>
              <a:spLocks/>
            </p:cNvSpPr>
            <p:nvPr/>
          </p:nvSpPr>
          <p:spPr bwMode="auto">
            <a:xfrm>
              <a:off x="3520946" y="5484789"/>
              <a:ext cx="16108" cy="5369"/>
            </a:xfrm>
            <a:custGeom>
              <a:avLst/>
              <a:gdLst>
                <a:gd name="T0" fmla="*/ 0 w 5"/>
                <a:gd name="T1" fmla="*/ 0 h 2"/>
                <a:gd name="T2" fmla="*/ 5 w 5"/>
                <a:gd name="T3" fmla="*/ 2 h 2"/>
                <a:gd name="T4" fmla="*/ 0 w 5"/>
                <a:gd name="T5" fmla="*/ 0 h 2"/>
              </a:gdLst>
              <a:ahLst/>
              <a:cxnLst>
                <a:cxn ang="0">
                  <a:pos x="T0" y="T1"/>
                </a:cxn>
                <a:cxn ang="0">
                  <a:pos x="T2" y="T3"/>
                </a:cxn>
                <a:cxn ang="0">
                  <a:pos x="T4" y="T5"/>
                </a:cxn>
              </a:cxnLst>
              <a:rect l="0" t="0" r="r" b="b"/>
              <a:pathLst>
                <a:path w="5" h="2">
                  <a:moveTo>
                    <a:pt x="0" y="0"/>
                  </a:moveTo>
                  <a:cubicBezTo>
                    <a:pt x="1" y="2"/>
                    <a:pt x="3" y="2"/>
                    <a:pt x="5" y="2"/>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2" name="Freeform 1228">
              <a:extLst>
                <a:ext uri="{FF2B5EF4-FFF2-40B4-BE49-F238E27FC236}">
                  <a16:creationId xmlns:a16="http://schemas.microsoft.com/office/drawing/2014/main" id="{1B3DA5AF-6801-4634-8B44-BEDDF3C1C0CC}"/>
                </a:ext>
              </a:extLst>
            </p:cNvPr>
            <p:cNvSpPr>
              <a:spLocks/>
            </p:cNvSpPr>
            <p:nvPr/>
          </p:nvSpPr>
          <p:spPr bwMode="auto">
            <a:xfrm>
              <a:off x="5298199" y="5329078"/>
              <a:ext cx="6712" cy="25504"/>
            </a:xfrm>
            <a:custGeom>
              <a:avLst/>
              <a:gdLst>
                <a:gd name="T0" fmla="*/ 0 w 2"/>
                <a:gd name="T1" fmla="*/ 0 h 8"/>
                <a:gd name="T2" fmla="*/ 2 w 2"/>
                <a:gd name="T3" fmla="*/ 8 h 8"/>
                <a:gd name="T4" fmla="*/ 2 w 2"/>
                <a:gd name="T5" fmla="*/ 2 h 8"/>
                <a:gd name="T6" fmla="*/ 0 w 2"/>
                <a:gd name="T7" fmla="*/ 0 h 8"/>
              </a:gdLst>
              <a:ahLst/>
              <a:cxnLst>
                <a:cxn ang="0">
                  <a:pos x="T0" y="T1"/>
                </a:cxn>
                <a:cxn ang="0">
                  <a:pos x="T2" y="T3"/>
                </a:cxn>
                <a:cxn ang="0">
                  <a:pos x="T4" y="T5"/>
                </a:cxn>
                <a:cxn ang="0">
                  <a:pos x="T6" y="T7"/>
                </a:cxn>
              </a:cxnLst>
              <a:rect l="0" t="0" r="r" b="b"/>
              <a:pathLst>
                <a:path w="2" h="8">
                  <a:moveTo>
                    <a:pt x="0" y="0"/>
                  </a:moveTo>
                  <a:cubicBezTo>
                    <a:pt x="0" y="2"/>
                    <a:pt x="0" y="7"/>
                    <a:pt x="2" y="8"/>
                  </a:cubicBezTo>
                  <a:cubicBezTo>
                    <a:pt x="2" y="6"/>
                    <a:pt x="2" y="4"/>
                    <a:pt x="2"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3" name="Freeform 1229">
              <a:extLst>
                <a:ext uri="{FF2B5EF4-FFF2-40B4-BE49-F238E27FC236}">
                  <a16:creationId xmlns:a16="http://schemas.microsoft.com/office/drawing/2014/main" id="{6A555D2F-54D5-4D4F-9059-FF9301699606}"/>
                </a:ext>
              </a:extLst>
            </p:cNvPr>
            <p:cNvSpPr>
              <a:spLocks/>
            </p:cNvSpPr>
            <p:nvPr/>
          </p:nvSpPr>
          <p:spPr bwMode="auto">
            <a:xfrm>
              <a:off x="2753130" y="4980071"/>
              <a:ext cx="55036" cy="63090"/>
            </a:xfrm>
            <a:custGeom>
              <a:avLst/>
              <a:gdLst>
                <a:gd name="T0" fmla="*/ 7 w 17"/>
                <a:gd name="T1" fmla="*/ 0 h 20"/>
                <a:gd name="T2" fmla="*/ 2 w 17"/>
                <a:gd name="T3" fmla="*/ 2 h 20"/>
                <a:gd name="T4" fmla="*/ 4 w 17"/>
                <a:gd name="T5" fmla="*/ 12 h 20"/>
                <a:gd name="T6" fmla="*/ 13 w 17"/>
                <a:gd name="T7" fmla="*/ 20 h 20"/>
                <a:gd name="T8" fmla="*/ 15 w 17"/>
                <a:gd name="T9" fmla="*/ 12 h 20"/>
                <a:gd name="T10" fmla="*/ 9 w 17"/>
                <a:gd name="T11" fmla="*/ 1 h 20"/>
                <a:gd name="T12" fmla="*/ 7 w 17"/>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7" h="20">
                  <a:moveTo>
                    <a:pt x="7" y="0"/>
                  </a:moveTo>
                  <a:cubicBezTo>
                    <a:pt x="5" y="0"/>
                    <a:pt x="3" y="1"/>
                    <a:pt x="2" y="2"/>
                  </a:cubicBezTo>
                  <a:cubicBezTo>
                    <a:pt x="0" y="6"/>
                    <a:pt x="2" y="9"/>
                    <a:pt x="4" y="12"/>
                  </a:cubicBezTo>
                  <a:cubicBezTo>
                    <a:pt x="7" y="16"/>
                    <a:pt x="8" y="19"/>
                    <a:pt x="13" y="20"/>
                  </a:cubicBezTo>
                  <a:cubicBezTo>
                    <a:pt x="17" y="16"/>
                    <a:pt x="17" y="17"/>
                    <a:pt x="15" y="12"/>
                  </a:cubicBezTo>
                  <a:cubicBezTo>
                    <a:pt x="13" y="8"/>
                    <a:pt x="11" y="4"/>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4" name="Freeform 1230">
              <a:extLst>
                <a:ext uri="{FF2B5EF4-FFF2-40B4-BE49-F238E27FC236}">
                  <a16:creationId xmlns:a16="http://schemas.microsoft.com/office/drawing/2014/main" id="{42204534-AE62-4BB0-B1DF-61C03FA23C99}"/>
                </a:ext>
              </a:extLst>
            </p:cNvPr>
            <p:cNvSpPr>
              <a:spLocks/>
            </p:cNvSpPr>
            <p:nvPr/>
          </p:nvSpPr>
          <p:spPr bwMode="auto">
            <a:xfrm>
              <a:off x="4788111" y="5478078"/>
              <a:ext cx="81882" cy="30874"/>
            </a:xfrm>
            <a:custGeom>
              <a:avLst/>
              <a:gdLst>
                <a:gd name="T0" fmla="*/ 18 w 26"/>
                <a:gd name="T1" fmla="*/ 0 h 10"/>
                <a:gd name="T2" fmla="*/ 17 w 26"/>
                <a:gd name="T3" fmla="*/ 0 h 10"/>
                <a:gd name="T4" fmla="*/ 14 w 26"/>
                <a:gd name="T5" fmla="*/ 1 h 10"/>
                <a:gd name="T6" fmla="*/ 8 w 26"/>
                <a:gd name="T7" fmla="*/ 3 h 10"/>
                <a:gd name="T8" fmla="*/ 8 w 26"/>
                <a:gd name="T9" fmla="*/ 3 h 10"/>
                <a:gd name="T10" fmla="*/ 5 w 26"/>
                <a:gd name="T11" fmla="*/ 2 h 10"/>
                <a:gd name="T12" fmla="*/ 3 w 26"/>
                <a:gd name="T13" fmla="*/ 3 h 10"/>
                <a:gd name="T14" fmla="*/ 0 w 26"/>
                <a:gd name="T15" fmla="*/ 10 h 10"/>
                <a:gd name="T16" fmla="*/ 8 w 26"/>
                <a:gd name="T17" fmla="*/ 7 h 10"/>
                <a:gd name="T18" fmla="*/ 11 w 26"/>
                <a:gd name="T19" fmla="*/ 8 h 10"/>
                <a:gd name="T20" fmla="*/ 14 w 26"/>
                <a:gd name="T21" fmla="*/ 8 h 10"/>
                <a:gd name="T22" fmla="*/ 22 w 26"/>
                <a:gd name="T23" fmla="*/ 5 h 10"/>
                <a:gd name="T24" fmla="*/ 20 w 26"/>
                <a:gd name="T25" fmla="*/ 0 h 10"/>
                <a:gd name="T26" fmla="*/ 18 w 26"/>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10">
                  <a:moveTo>
                    <a:pt x="18" y="0"/>
                  </a:moveTo>
                  <a:cubicBezTo>
                    <a:pt x="18" y="0"/>
                    <a:pt x="17" y="0"/>
                    <a:pt x="17" y="0"/>
                  </a:cubicBezTo>
                  <a:cubicBezTo>
                    <a:pt x="16" y="0"/>
                    <a:pt x="15" y="1"/>
                    <a:pt x="14" y="1"/>
                  </a:cubicBezTo>
                  <a:cubicBezTo>
                    <a:pt x="12" y="2"/>
                    <a:pt x="11" y="3"/>
                    <a:pt x="8" y="3"/>
                  </a:cubicBezTo>
                  <a:cubicBezTo>
                    <a:pt x="8" y="3"/>
                    <a:pt x="8" y="3"/>
                    <a:pt x="8" y="3"/>
                  </a:cubicBezTo>
                  <a:cubicBezTo>
                    <a:pt x="6" y="3"/>
                    <a:pt x="6" y="2"/>
                    <a:pt x="5" y="2"/>
                  </a:cubicBezTo>
                  <a:cubicBezTo>
                    <a:pt x="4" y="2"/>
                    <a:pt x="4" y="2"/>
                    <a:pt x="3" y="3"/>
                  </a:cubicBezTo>
                  <a:cubicBezTo>
                    <a:pt x="0" y="6"/>
                    <a:pt x="1" y="7"/>
                    <a:pt x="0" y="10"/>
                  </a:cubicBezTo>
                  <a:cubicBezTo>
                    <a:pt x="3" y="8"/>
                    <a:pt x="5" y="7"/>
                    <a:pt x="8" y="7"/>
                  </a:cubicBezTo>
                  <a:cubicBezTo>
                    <a:pt x="9" y="7"/>
                    <a:pt x="10" y="7"/>
                    <a:pt x="11" y="8"/>
                  </a:cubicBezTo>
                  <a:cubicBezTo>
                    <a:pt x="12" y="8"/>
                    <a:pt x="13" y="8"/>
                    <a:pt x="14" y="8"/>
                  </a:cubicBezTo>
                  <a:cubicBezTo>
                    <a:pt x="17" y="8"/>
                    <a:pt x="18" y="7"/>
                    <a:pt x="22" y="5"/>
                  </a:cubicBezTo>
                  <a:cubicBezTo>
                    <a:pt x="26" y="2"/>
                    <a:pt x="23" y="2"/>
                    <a:pt x="20" y="0"/>
                  </a:cubicBezTo>
                  <a:cubicBezTo>
                    <a:pt x="19" y="0"/>
                    <a:pt x="19"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 name="Freeform 1231">
              <a:extLst>
                <a:ext uri="{FF2B5EF4-FFF2-40B4-BE49-F238E27FC236}">
                  <a16:creationId xmlns:a16="http://schemas.microsoft.com/office/drawing/2014/main" id="{6B30201C-AED3-46AC-B42F-58A2DD5B54DC}"/>
                </a:ext>
              </a:extLst>
            </p:cNvPr>
            <p:cNvSpPr>
              <a:spLocks/>
            </p:cNvSpPr>
            <p:nvPr/>
          </p:nvSpPr>
          <p:spPr bwMode="auto">
            <a:xfrm>
              <a:off x="5184100" y="5443177"/>
              <a:ext cx="46982" cy="65775"/>
            </a:xfrm>
            <a:custGeom>
              <a:avLst/>
              <a:gdLst>
                <a:gd name="T0" fmla="*/ 12 w 15"/>
                <a:gd name="T1" fmla="*/ 0 h 21"/>
                <a:gd name="T2" fmla="*/ 3 w 15"/>
                <a:gd name="T3" fmla="*/ 10 h 21"/>
                <a:gd name="T4" fmla="*/ 1 w 15"/>
                <a:gd name="T5" fmla="*/ 14 h 21"/>
                <a:gd name="T6" fmla="*/ 0 w 15"/>
                <a:gd name="T7" fmla="*/ 14 h 21"/>
                <a:gd name="T8" fmla="*/ 0 w 15"/>
                <a:gd name="T9" fmla="*/ 14 h 21"/>
                <a:gd name="T10" fmla="*/ 0 w 15"/>
                <a:gd name="T11" fmla="*/ 19 h 21"/>
                <a:gd name="T12" fmla="*/ 1 w 15"/>
                <a:gd name="T13" fmla="*/ 21 h 21"/>
                <a:gd name="T14" fmla="*/ 3 w 15"/>
                <a:gd name="T15" fmla="*/ 21 h 21"/>
                <a:gd name="T16" fmla="*/ 5 w 15"/>
                <a:gd name="T17" fmla="*/ 21 h 21"/>
                <a:gd name="T18" fmla="*/ 6 w 15"/>
                <a:gd name="T19" fmla="*/ 18 h 21"/>
                <a:gd name="T20" fmla="*/ 8 w 15"/>
                <a:gd name="T21" fmla="*/ 16 h 21"/>
                <a:gd name="T22" fmla="*/ 12 w 15"/>
                <a:gd name="T23" fmla="*/ 12 h 21"/>
                <a:gd name="T24" fmla="*/ 14 w 15"/>
                <a:gd name="T25" fmla="*/ 7 h 21"/>
                <a:gd name="T26" fmla="*/ 15 w 15"/>
                <a:gd name="T27" fmla="*/ 2 h 21"/>
                <a:gd name="T28" fmla="*/ 12 w 15"/>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1">
                  <a:moveTo>
                    <a:pt x="12" y="0"/>
                  </a:moveTo>
                  <a:cubicBezTo>
                    <a:pt x="10" y="2"/>
                    <a:pt x="4" y="6"/>
                    <a:pt x="3" y="10"/>
                  </a:cubicBezTo>
                  <a:cubicBezTo>
                    <a:pt x="2" y="11"/>
                    <a:pt x="3" y="14"/>
                    <a:pt x="1" y="14"/>
                  </a:cubicBezTo>
                  <a:cubicBezTo>
                    <a:pt x="0" y="14"/>
                    <a:pt x="0" y="14"/>
                    <a:pt x="0" y="14"/>
                  </a:cubicBezTo>
                  <a:cubicBezTo>
                    <a:pt x="0" y="14"/>
                    <a:pt x="0" y="14"/>
                    <a:pt x="0" y="14"/>
                  </a:cubicBezTo>
                  <a:cubicBezTo>
                    <a:pt x="0" y="19"/>
                    <a:pt x="0" y="19"/>
                    <a:pt x="0" y="19"/>
                  </a:cubicBezTo>
                  <a:cubicBezTo>
                    <a:pt x="1" y="21"/>
                    <a:pt x="0" y="20"/>
                    <a:pt x="1" y="21"/>
                  </a:cubicBezTo>
                  <a:cubicBezTo>
                    <a:pt x="2" y="21"/>
                    <a:pt x="2" y="21"/>
                    <a:pt x="3" y="21"/>
                  </a:cubicBezTo>
                  <a:cubicBezTo>
                    <a:pt x="4" y="21"/>
                    <a:pt x="5" y="21"/>
                    <a:pt x="5" y="21"/>
                  </a:cubicBezTo>
                  <a:cubicBezTo>
                    <a:pt x="6" y="18"/>
                    <a:pt x="6" y="18"/>
                    <a:pt x="6" y="18"/>
                  </a:cubicBezTo>
                  <a:cubicBezTo>
                    <a:pt x="7" y="18"/>
                    <a:pt x="7" y="17"/>
                    <a:pt x="8" y="16"/>
                  </a:cubicBezTo>
                  <a:cubicBezTo>
                    <a:pt x="9" y="15"/>
                    <a:pt x="10" y="14"/>
                    <a:pt x="12" y="12"/>
                  </a:cubicBezTo>
                  <a:cubicBezTo>
                    <a:pt x="13" y="11"/>
                    <a:pt x="13" y="8"/>
                    <a:pt x="14" y="7"/>
                  </a:cubicBezTo>
                  <a:cubicBezTo>
                    <a:pt x="12" y="6"/>
                    <a:pt x="12" y="3"/>
                    <a:pt x="15" y="2"/>
                  </a:cubicBezTo>
                  <a:cubicBezTo>
                    <a:pt x="14" y="1"/>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 name="Freeform 1232">
              <a:extLst>
                <a:ext uri="{FF2B5EF4-FFF2-40B4-BE49-F238E27FC236}">
                  <a16:creationId xmlns:a16="http://schemas.microsoft.com/office/drawing/2014/main" id="{AF555708-AB23-4CBA-AB8D-9F852E2FA6CC}"/>
                </a:ext>
              </a:extLst>
            </p:cNvPr>
            <p:cNvSpPr>
              <a:spLocks/>
            </p:cNvSpPr>
            <p:nvPr/>
          </p:nvSpPr>
          <p:spPr bwMode="auto">
            <a:xfrm>
              <a:off x="5510288" y="5029737"/>
              <a:ext cx="104702" cy="22820"/>
            </a:xfrm>
            <a:custGeom>
              <a:avLst/>
              <a:gdLst>
                <a:gd name="T0" fmla="*/ 0 w 33"/>
                <a:gd name="T1" fmla="*/ 0 h 7"/>
                <a:gd name="T2" fmla="*/ 23 w 33"/>
                <a:gd name="T3" fmla="*/ 7 h 7"/>
                <a:gd name="T4" fmla="*/ 25 w 33"/>
                <a:gd name="T5" fmla="*/ 6 h 7"/>
                <a:gd name="T6" fmla="*/ 26 w 33"/>
                <a:gd name="T7" fmla="*/ 6 h 7"/>
                <a:gd name="T8" fmla="*/ 33 w 33"/>
                <a:gd name="T9" fmla="*/ 4 h 7"/>
                <a:gd name="T10" fmla="*/ 30 w 33"/>
                <a:gd name="T11" fmla="*/ 3 h 7"/>
                <a:gd name="T12" fmla="*/ 23 w 33"/>
                <a:gd name="T13" fmla="*/ 3 h 7"/>
                <a:gd name="T14" fmla="*/ 16 w 33"/>
                <a:gd name="T15" fmla="*/ 1 h 7"/>
                <a:gd name="T16" fmla="*/ 0 w 33"/>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7">
                  <a:moveTo>
                    <a:pt x="0" y="0"/>
                  </a:moveTo>
                  <a:cubicBezTo>
                    <a:pt x="1" y="0"/>
                    <a:pt x="17" y="7"/>
                    <a:pt x="23" y="7"/>
                  </a:cubicBezTo>
                  <a:cubicBezTo>
                    <a:pt x="24" y="7"/>
                    <a:pt x="24" y="7"/>
                    <a:pt x="25" y="6"/>
                  </a:cubicBezTo>
                  <a:cubicBezTo>
                    <a:pt x="25" y="6"/>
                    <a:pt x="25" y="6"/>
                    <a:pt x="26" y="6"/>
                  </a:cubicBezTo>
                  <a:cubicBezTo>
                    <a:pt x="28" y="6"/>
                    <a:pt x="31" y="5"/>
                    <a:pt x="33" y="4"/>
                  </a:cubicBezTo>
                  <a:cubicBezTo>
                    <a:pt x="32" y="3"/>
                    <a:pt x="31" y="3"/>
                    <a:pt x="30" y="3"/>
                  </a:cubicBezTo>
                  <a:cubicBezTo>
                    <a:pt x="27" y="3"/>
                    <a:pt x="25" y="3"/>
                    <a:pt x="23" y="3"/>
                  </a:cubicBezTo>
                  <a:cubicBezTo>
                    <a:pt x="20" y="2"/>
                    <a:pt x="19" y="1"/>
                    <a:pt x="16" y="1"/>
                  </a:cubicBezTo>
                  <a:cubicBezTo>
                    <a:pt x="11" y="0"/>
                    <a:pt x="6"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 name="Freeform 1233">
              <a:extLst>
                <a:ext uri="{FF2B5EF4-FFF2-40B4-BE49-F238E27FC236}">
                  <a16:creationId xmlns:a16="http://schemas.microsoft.com/office/drawing/2014/main" id="{913E461D-2BF8-4865-90C5-5745AEA8759D}"/>
                </a:ext>
              </a:extLst>
            </p:cNvPr>
            <p:cNvSpPr>
              <a:spLocks/>
            </p:cNvSpPr>
            <p:nvPr/>
          </p:nvSpPr>
          <p:spPr bwMode="auto">
            <a:xfrm>
              <a:off x="4488770" y="5290151"/>
              <a:ext cx="13423" cy="29531"/>
            </a:xfrm>
            <a:custGeom>
              <a:avLst/>
              <a:gdLst>
                <a:gd name="T0" fmla="*/ 3 w 4"/>
                <a:gd name="T1" fmla="*/ 0 h 9"/>
                <a:gd name="T2" fmla="*/ 0 w 4"/>
                <a:gd name="T3" fmla="*/ 4 h 9"/>
                <a:gd name="T4" fmla="*/ 4 w 4"/>
                <a:gd name="T5" fmla="*/ 9 h 9"/>
                <a:gd name="T6" fmla="*/ 4 w 4"/>
                <a:gd name="T7" fmla="*/ 0 h 9"/>
                <a:gd name="T8" fmla="*/ 3 w 4"/>
                <a:gd name="T9" fmla="*/ 0 h 9"/>
              </a:gdLst>
              <a:ahLst/>
              <a:cxnLst>
                <a:cxn ang="0">
                  <a:pos x="T0" y="T1"/>
                </a:cxn>
                <a:cxn ang="0">
                  <a:pos x="T2" y="T3"/>
                </a:cxn>
                <a:cxn ang="0">
                  <a:pos x="T4" y="T5"/>
                </a:cxn>
                <a:cxn ang="0">
                  <a:pos x="T6" y="T7"/>
                </a:cxn>
                <a:cxn ang="0">
                  <a:pos x="T8" y="T9"/>
                </a:cxn>
              </a:cxnLst>
              <a:rect l="0" t="0" r="r" b="b"/>
              <a:pathLst>
                <a:path w="4" h="9">
                  <a:moveTo>
                    <a:pt x="3" y="0"/>
                  </a:moveTo>
                  <a:cubicBezTo>
                    <a:pt x="1" y="0"/>
                    <a:pt x="0" y="2"/>
                    <a:pt x="0" y="4"/>
                  </a:cubicBezTo>
                  <a:cubicBezTo>
                    <a:pt x="0" y="6"/>
                    <a:pt x="3" y="7"/>
                    <a:pt x="4" y="9"/>
                  </a:cubicBezTo>
                  <a:cubicBezTo>
                    <a:pt x="4" y="6"/>
                    <a:pt x="4" y="3"/>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 name="Freeform 1234">
              <a:extLst>
                <a:ext uri="{FF2B5EF4-FFF2-40B4-BE49-F238E27FC236}">
                  <a16:creationId xmlns:a16="http://schemas.microsoft.com/office/drawing/2014/main" id="{6F99601E-CA05-45B9-84D4-C59341612402}"/>
                </a:ext>
              </a:extLst>
            </p:cNvPr>
            <p:cNvSpPr>
              <a:spLocks/>
            </p:cNvSpPr>
            <p:nvPr/>
          </p:nvSpPr>
          <p:spPr bwMode="auto">
            <a:xfrm>
              <a:off x="4264600" y="4780063"/>
              <a:ext cx="481898" cy="554385"/>
            </a:xfrm>
            <a:custGeom>
              <a:avLst/>
              <a:gdLst>
                <a:gd name="T0" fmla="*/ 136 w 152"/>
                <a:gd name="T1" fmla="*/ 9 h 175"/>
                <a:gd name="T2" fmla="*/ 121 w 152"/>
                <a:gd name="T3" fmla="*/ 21 h 175"/>
                <a:gd name="T4" fmla="*/ 97 w 152"/>
                <a:gd name="T5" fmla="*/ 21 h 175"/>
                <a:gd name="T6" fmla="*/ 73 w 152"/>
                <a:gd name="T7" fmla="*/ 16 h 175"/>
                <a:gd name="T8" fmla="*/ 68 w 152"/>
                <a:gd name="T9" fmla="*/ 16 h 175"/>
                <a:gd name="T10" fmla="*/ 60 w 152"/>
                <a:gd name="T11" fmla="*/ 11 h 175"/>
                <a:gd name="T12" fmla="*/ 47 w 152"/>
                <a:gd name="T13" fmla="*/ 15 h 175"/>
                <a:gd name="T14" fmla="*/ 39 w 152"/>
                <a:gd name="T15" fmla="*/ 22 h 175"/>
                <a:gd name="T16" fmla="*/ 36 w 152"/>
                <a:gd name="T17" fmla="*/ 18 h 175"/>
                <a:gd name="T18" fmla="*/ 29 w 152"/>
                <a:gd name="T19" fmla="*/ 25 h 175"/>
                <a:gd name="T20" fmla="*/ 22 w 152"/>
                <a:gd name="T21" fmla="*/ 41 h 175"/>
                <a:gd name="T22" fmla="*/ 24 w 152"/>
                <a:gd name="T23" fmla="*/ 46 h 175"/>
                <a:gd name="T24" fmla="*/ 14 w 152"/>
                <a:gd name="T25" fmla="*/ 68 h 175"/>
                <a:gd name="T26" fmla="*/ 2 w 152"/>
                <a:gd name="T27" fmla="*/ 104 h 175"/>
                <a:gd name="T28" fmla="*/ 1 w 152"/>
                <a:gd name="T29" fmla="*/ 108 h 175"/>
                <a:gd name="T30" fmla="*/ 6 w 152"/>
                <a:gd name="T31" fmla="*/ 124 h 175"/>
                <a:gd name="T32" fmla="*/ 19 w 152"/>
                <a:gd name="T33" fmla="*/ 133 h 175"/>
                <a:gd name="T34" fmla="*/ 15 w 152"/>
                <a:gd name="T35" fmla="*/ 173 h 175"/>
                <a:gd name="T36" fmla="*/ 21 w 152"/>
                <a:gd name="T37" fmla="*/ 175 h 175"/>
                <a:gd name="T38" fmla="*/ 35 w 152"/>
                <a:gd name="T39" fmla="*/ 171 h 175"/>
                <a:gd name="T40" fmla="*/ 39 w 152"/>
                <a:gd name="T41" fmla="*/ 149 h 175"/>
                <a:gd name="T42" fmla="*/ 35 w 152"/>
                <a:gd name="T43" fmla="*/ 112 h 175"/>
                <a:gd name="T44" fmla="*/ 50 w 152"/>
                <a:gd name="T45" fmla="*/ 103 h 175"/>
                <a:gd name="T46" fmla="*/ 50 w 152"/>
                <a:gd name="T47" fmla="*/ 125 h 175"/>
                <a:gd name="T48" fmla="*/ 57 w 152"/>
                <a:gd name="T49" fmla="*/ 131 h 175"/>
                <a:gd name="T50" fmla="*/ 62 w 152"/>
                <a:gd name="T51" fmla="*/ 135 h 175"/>
                <a:gd name="T52" fmla="*/ 64 w 152"/>
                <a:gd name="T53" fmla="*/ 149 h 175"/>
                <a:gd name="T54" fmla="*/ 76 w 152"/>
                <a:gd name="T55" fmla="*/ 155 h 175"/>
                <a:gd name="T56" fmla="*/ 89 w 152"/>
                <a:gd name="T57" fmla="*/ 145 h 175"/>
                <a:gd name="T58" fmla="*/ 95 w 152"/>
                <a:gd name="T59" fmla="*/ 138 h 175"/>
                <a:gd name="T60" fmla="*/ 88 w 152"/>
                <a:gd name="T61" fmla="*/ 135 h 175"/>
                <a:gd name="T62" fmla="*/ 85 w 152"/>
                <a:gd name="T63" fmla="*/ 129 h 175"/>
                <a:gd name="T64" fmla="*/ 84 w 152"/>
                <a:gd name="T65" fmla="*/ 129 h 175"/>
                <a:gd name="T66" fmla="*/ 85 w 152"/>
                <a:gd name="T67" fmla="*/ 117 h 175"/>
                <a:gd name="T68" fmla="*/ 76 w 152"/>
                <a:gd name="T69" fmla="*/ 104 h 175"/>
                <a:gd name="T70" fmla="*/ 67 w 152"/>
                <a:gd name="T71" fmla="*/ 92 h 175"/>
                <a:gd name="T72" fmla="*/ 64 w 152"/>
                <a:gd name="T73" fmla="*/ 89 h 175"/>
                <a:gd name="T74" fmla="*/ 60 w 152"/>
                <a:gd name="T75" fmla="*/ 85 h 175"/>
                <a:gd name="T76" fmla="*/ 91 w 152"/>
                <a:gd name="T77" fmla="*/ 69 h 175"/>
                <a:gd name="T78" fmla="*/ 101 w 152"/>
                <a:gd name="T79" fmla="*/ 61 h 175"/>
                <a:gd name="T80" fmla="*/ 103 w 152"/>
                <a:gd name="T81" fmla="*/ 54 h 175"/>
                <a:gd name="T82" fmla="*/ 93 w 152"/>
                <a:gd name="T83" fmla="*/ 59 h 175"/>
                <a:gd name="T84" fmla="*/ 81 w 152"/>
                <a:gd name="T85" fmla="*/ 59 h 175"/>
                <a:gd name="T86" fmla="*/ 67 w 152"/>
                <a:gd name="T87" fmla="*/ 61 h 175"/>
                <a:gd name="T88" fmla="*/ 61 w 152"/>
                <a:gd name="T89" fmla="*/ 64 h 175"/>
                <a:gd name="T90" fmla="*/ 53 w 152"/>
                <a:gd name="T91" fmla="*/ 74 h 175"/>
                <a:gd name="T92" fmla="*/ 44 w 152"/>
                <a:gd name="T93" fmla="*/ 74 h 175"/>
                <a:gd name="T94" fmla="*/ 37 w 152"/>
                <a:gd name="T95" fmla="*/ 62 h 175"/>
                <a:gd name="T96" fmla="*/ 36 w 152"/>
                <a:gd name="T97" fmla="*/ 63 h 175"/>
                <a:gd name="T98" fmla="*/ 28 w 152"/>
                <a:gd name="T99" fmla="*/ 46 h 175"/>
                <a:gd name="T100" fmla="*/ 52 w 152"/>
                <a:gd name="T101" fmla="*/ 29 h 175"/>
                <a:gd name="T102" fmla="*/ 78 w 152"/>
                <a:gd name="T103" fmla="*/ 30 h 175"/>
                <a:gd name="T104" fmla="*/ 86 w 152"/>
                <a:gd name="T105" fmla="*/ 29 h 175"/>
                <a:gd name="T106" fmla="*/ 110 w 152"/>
                <a:gd name="T107" fmla="*/ 34 h 175"/>
                <a:gd name="T108" fmla="*/ 129 w 152"/>
                <a:gd name="T109" fmla="*/ 32 h 175"/>
                <a:gd name="T110" fmla="*/ 149 w 152"/>
                <a:gd name="T111" fmla="*/ 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75">
                  <a:moveTo>
                    <a:pt x="147" y="0"/>
                  </a:moveTo>
                  <a:cubicBezTo>
                    <a:pt x="145" y="0"/>
                    <a:pt x="143" y="3"/>
                    <a:pt x="142" y="4"/>
                  </a:cubicBezTo>
                  <a:cubicBezTo>
                    <a:pt x="140" y="7"/>
                    <a:pt x="140" y="7"/>
                    <a:pt x="136" y="9"/>
                  </a:cubicBezTo>
                  <a:cubicBezTo>
                    <a:pt x="137" y="12"/>
                    <a:pt x="138" y="11"/>
                    <a:pt x="135" y="14"/>
                  </a:cubicBezTo>
                  <a:cubicBezTo>
                    <a:pt x="133" y="16"/>
                    <a:pt x="129" y="17"/>
                    <a:pt x="127" y="18"/>
                  </a:cubicBezTo>
                  <a:cubicBezTo>
                    <a:pt x="125" y="19"/>
                    <a:pt x="122" y="20"/>
                    <a:pt x="121" y="21"/>
                  </a:cubicBezTo>
                  <a:cubicBezTo>
                    <a:pt x="117" y="21"/>
                    <a:pt x="113" y="21"/>
                    <a:pt x="108" y="20"/>
                  </a:cubicBezTo>
                  <a:cubicBezTo>
                    <a:pt x="107" y="20"/>
                    <a:pt x="105" y="20"/>
                    <a:pt x="104" y="20"/>
                  </a:cubicBezTo>
                  <a:cubicBezTo>
                    <a:pt x="102" y="20"/>
                    <a:pt x="100" y="20"/>
                    <a:pt x="97" y="21"/>
                  </a:cubicBezTo>
                  <a:cubicBezTo>
                    <a:pt x="97" y="21"/>
                    <a:pt x="96" y="21"/>
                    <a:pt x="95" y="21"/>
                  </a:cubicBezTo>
                  <a:cubicBezTo>
                    <a:pt x="90" y="21"/>
                    <a:pt x="85" y="18"/>
                    <a:pt x="80" y="17"/>
                  </a:cubicBezTo>
                  <a:cubicBezTo>
                    <a:pt x="78" y="16"/>
                    <a:pt x="76" y="16"/>
                    <a:pt x="73" y="16"/>
                  </a:cubicBezTo>
                  <a:cubicBezTo>
                    <a:pt x="72" y="16"/>
                    <a:pt x="72" y="16"/>
                    <a:pt x="71" y="16"/>
                  </a:cubicBezTo>
                  <a:cubicBezTo>
                    <a:pt x="70" y="16"/>
                    <a:pt x="69" y="16"/>
                    <a:pt x="69" y="16"/>
                  </a:cubicBezTo>
                  <a:cubicBezTo>
                    <a:pt x="69" y="16"/>
                    <a:pt x="68" y="16"/>
                    <a:pt x="68" y="16"/>
                  </a:cubicBezTo>
                  <a:cubicBezTo>
                    <a:pt x="64" y="16"/>
                    <a:pt x="65" y="13"/>
                    <a:pt x="63" y="12"/>
                  </a:cubicBezTo>
                  <a:cubicBezTo>
                    <a:pt x="62" y="11"/>
                    <a:pt x="62" y="11"/>
                    <a:pt x="61" y="11"/>
                  </a:cubicBezTo>
                  <a:cubicBezTo>
                    <a:pt x="61" y="11"/>
                    <a:pt x="61" y="11"/>
                    <a:pt x="60" y="11"/>
                  </a:cubicBezTo>
                  <a:cubicBezTo>
                    <a:pt x="59" y="11"/>
                    <a:pt x="58" y="11"/>
                    <a:pt x="57" y="11"/>
                  </a:cubicBezTo>
                  <a:cubicBezTo>
                    <a:pt x="54" y="11"/>
                    <a:pt x="51" y="10"/>
                    <a:pt x="48" y="10"/>
                  </a:cubicBezTo>
                  <a:cubicBezTo>
                    <a:pt x="48" y="12"/>
                    <a:pt x="48" y="14"/>
                    <a:pt x="47" y="15"/>
                  </a:cubicBezTo>
                  <a:cubicBezTo>
                    <a:pt x="47" y="17"/>
                    <a:pt x="45" y="18"/>
                    <a:pt x="44" y="20"/>
                  </a:cubicBezTo>
                  <a:cubicBezTo>
                    <a:pt x="42" y="21"/>
                    <a:pt x="42" y="22"/>
                    <a:pt x="41" y="22"/>
                  </a:cubicBezTo>
                  <a:cubicBezTo>
                    <a:pt x="41" y="22"/>
                    <a:pt x="40" y="22"/>
                    <a:pt x="39" y="22"/>
                  </a:cubicBezTo>
                  <a:cubicBezTo>
                    <a:pt x="38" y="21"/>
                    <a:pt x="37" y="20"/>
                    <a:pt x="36" y="20"/>
                  </a:cubicBezTo>
                  <a:cubicBezTo>
                    <a:pt x="36" y="19"/>
                    <a:pt x="37" y="18"/>
                    <a:pt x="36" y="18"/>
                  </a:cubicBezTo>
                  <a:cubicBezTo>
                    <a:pt x="36" y="18"/>
                    <a:pt x="36" y="18"/>
                    <a:pt x="36" y="18"/>
                  </a:cubicBezTo>
                  <a:cubicBezTo>
                    <a:pt x="35" y="18"/>
                    <a:pt x="35" y="19"/>
                    <a:pt x="34" y="19"/>
                  </a:cubicBezTo>
                  <a:cubicBezTo>
                    <a:pt x="34" y="21"/>
                    <a:pt x="33" y="23"/>
                    <a:pt x="31" y="23"/>
                  </a:cubicBezTo>
                  <a:cubicBezTo>
                    <a:pt x="31" y="24"/>
                    <a:pt x="29" y="24"/>
                    <a:pt x="29" y="25"/>
                  </a:cubicBezTo>
                  <a:cubicBezTo>
                    <a:pt x="29" y="26"/>
                    <a:pt x="28" y="28"/>
                    <a:pt x="28" y="29"/>
                  </a:cubicBezTo>
                  <a:cubicBezTo>
                    <a:pt x="26" y="30"/>
                    <a:pt x="26" y="30"/>
                    <a:pt x="26" y="30"/>
                  </a:cubicBezTo>
                  <a:cubicBezTo>
                    <a:pt x="24" y="34"/>
                    <a:pt x="23" y="37"/>
                    <a:pt x="22" y="41"/>
                  </a:cubicBezTo>
                  <a:cubicBezTo>
                    <a:pt x="21" y="41"/>
                    <a:pt x="21" y="41"/>
                    <a:pt x="21" y="41"/>
                  </a:cubicBezTo>
                  <a:cubicBezTo>
                    <a:pt x="20" y="41"/>
                    <a:pt x="20" y="41"/>
                    <a:pt x="20" y="41"/>
                  </a:cubicBezTo>
                  <a:cubicBezTo>
                    <a:pt x="22" y="43"/>
                    <a:pt x="23" y="43"/>
                    <a:pt x="24" y="46"/>
                  </a:cubicBezTo>
                  <a:cubicBezTo>
                    <a:pt x="25" y="49"/>
                    <a:pt x="26" y="57"/>
                    <a:pt x="24" y="59"/>
                  </a:cubicBezTo>
                  <a:cubicBezTo>
                    <a:pt x="23" y="58"/>
                    <a:pt x="23" y="57"/>
                    <a:pt x="22" y="56"/>
                  </a:cubicBezTo>
                  <a:cubicBezTo>
                    <a:pt x="18" y="59"/>
                    <a:pt x="16" y="64"/>
                    <a:pt x="14" y="68"/>
                  </a:cubicBezTo>
                  <a:cubicBezTo>
                    <a:pt x="13" y="69"/>
                    <a:pt x="13" y="69"/>
                    <a:pt x="12" y="70"/>
                  </a:cubicBezTo>
                  <a:cubicBezTo>
                    <a:pt x="11" y="75"/>
                    <a:pt x="14" y="81"/>
                    <a:pt x="12" y="86"/>
                  </a:cubicBezTo>
                  <a:cubicBezTo>
                    <a:pt x="8" y="92"/>
                    <a:pt x="5" y="98"/>
                    <a:pt x="2" y="104"/>
                  </a:cubicBezTo>
                  <a:cubicBezTo>
                    <a:pt x="1" y="103"/>
                    <a:pt x="1" y="103"/>
                    <a:pt x="1" y="103"/>
                  </a:cubicBezTo>
                  <a:cubicBezTo>
                    <a:pt x="0" y="103"/>
                    <a:pt x="0" y="103"/>
                    <a:pt x="0" y="104"/>
                  </a:cubicBezTo>
                  <a:cubicBezTo>
                    <a:pt x="0" y="105"/>
                    <a:pt x="1" y="107"/>
                    <a:pt x="1" y="108"/>
                  </a:cubicBezTo>
                  <a:cubicBezTo>
                    <a:pt x="2" y="111"/>
                    <a:pt x="1" y="111"/>
                    <a:pt x="0" y="113"/>
                  </a:cubicBezTo>
                  <a:cubicBezTo>
                    <a:pt x="0" y="115"/>
                    <a:pt x="2" y="118"/>
                    <a:pt x="3" y="121"/>
                  </a:cubicBezTo>
                  <a:cubicBezTo>
                    <a:pt x="4" y="123"/>
                    <a:pt x="5" y="124"/>
                    <a:pt x="6" y="124"/>
                  </a:cubicBezTo>
                  <a:cubicBezTo>
                    <a:pt x="7" y="124"/>
                    <a:pt x="7" y="124"/>
                    <a:pt x="8" y="124"/>
                  </a:cubicBezTo>
                  <a:cubicBezTo>
                    <a:pt x="11" y="124"/>
                    <a:pt x="14" y="123"/>
                    <a:pt x="17" y="123"/>
                  </a:cubicBezTo>
                  <a:cubicBezTo>
                    <a:pt x="15" y="128"/>
                    <a:pt x="16" y="129"/>
                    <a:pt x="19" y="133"/>
                  </a:cubicBezTo>
                  <a:cubicBezTo>
                    <a:pt x="21" y="136"/>
                    <a:pt x="19" y="144"/>
                    <a:pt x="19" y="147"/>
                  </a:cubicBezTo>
                  <a:cubicBezTo>
                    <a:pt x="19" y="152"/>
                    <a:pt x="17" y="156"/>
                    <a:pt x="16" y="160"/>
                  </a:cubicBezTo>
                  <a:cubicBezTo>
                    <a:pt x="14" y="165"/>
                    <a:pt x="14" y="168"/>
                    <a:pt x="15" y="173"/>
                  </a:cubicBezTo>
                  <a:cubicBezTo>
                    <a:pt x="16" y="172"/>
                    <a:pt x="16" y="172"/>
                    <a:pt x="17" y="172"/>
                  </a:cubicBezTo>
                  <a:cubicBezTo>
                    <a:pt x="18" y="172"/>
                    <a:pt x="19" y="174"/>
                    <a:pt x="20" y="175"/>
                  </a:cubicBezTo>
                  <a:cubicBezTo>
                    <a:pt x="21" y="175"/>
                    <a:pt x="21" y="175"/>
                    <a:pt x="21" y="175"/>
                  </a:cubicBezTo>
                  <a:cubicBezTo>
                    <a:pt x="22" y="175"/>
                    <a:pt x="23" y="174"/>
                    <a:pt x="24" y="174"/>
                  </a:cubicBezTo>
                  <a:cubicBezTo>
                    <a:pt x="27" y="172"/>
                    <a:pt x="30" y="173"/>
                    <a:pt x="33" y="172"/>
                  </a:cubicBezTo>
                  <a:cubicBezTo>
                    <a:pt x="34" y="172"/>
                    <a:pt x="35" y="171"/>
                    <a:pt x="35" y="171"/>
                  </a:cubicBezTo>
                  <a:cubicBezTo>
                    <a:pt x="37" y="171"/>
                    <a:pt x="38" y="172"/>
                    <a:pt x="39" y="174"/>
                  </a:cubicBezTo>
                  <a:cubicBezTo>
                    <a:pt x="38" y="169"/>
                    <a:pt x="34" y="164"/>
                    <a:pt x="36" y="159"/>
                  </a:cubicBezTo>
                  <a:cubicBezTo>
                    <a:pt x="37" y="156"/>
                    <a:pt x="39" y="152"/>
                    <a:pt x="39" y="149"/>
                  </a:cubicBezTo>
                  <a:cubicBezTo>
                    <a:pt x="37" y="143"/>
                    <a:pt x="38" y="139"/>
                    <a:pt x="38" y="133"/>
                  </a:cubicBezTo>
                  <a:cubicBezTo>
                    <a:pt x="39" y="128"/>
                    <a:pt x="39" y="123"/>
                    <a:pt x="38" y="119"/>
                  </a:cubicBezTo>
                  <a:cubicBezTo>
                    <a:pt x="37" y="116"/>
                    <a:pt x="35" y="115"/>
                    <a:pt x="35" y="112"/>
                  </a:cubicBezTo>
                  <a:cubicBezTo>
                    <a:pt x="35" y="109"/>
                    <a:pt x="36" y="109"/>
                    <a:pt x="38" y="108"/>
                  </a:cubicBezTo>
                  <a:cubicBezTo>
                    <a:pt x="42" y="105"/>
                    <a:pt x="44" y="103"/>
                    <a:pt x="48" y="103"/>
                  </a:cubicBezTo>
                  <a:cubicBezTo>
                    <a:pt x="48" y="103"/>
                    <a:pt x="49" y="103"/>
                    <a:pt x="50" y="103"/>
                  </a:cubicBezTo>
                  <a:cubicBezTo>
                    <a:pt x="55" y="104"/>
                    <a:pt x="54" y="111"/>
                    <a:pt x="53" y="115"/>
                  </a:cubicBezTo>
                  <a:cubicBezTo>
                    <a:pt x="53" y="118"/>
                    <a:pt x="51" y="118"/>
                    <a:pt x="50" y="120"/>
                  </a:cubicBezTo>
                  <a:cubicBezTo>
                    <a:pt x="49" y="122"/>
                    <a:pt x="49" y="122"/>
                    <a:pt x="50" y="125"/>
                  </a:cubicBezTo>
                  <a:cubicBezTo>
                    <a:pt x="52" y="127"/>
                    <a:pt x="54" y="129"/>
                    <a:pt x="56" y="131"/>
                  </a:cubicBezTo>
                  <a:cubicBezTo>
                    <a:pt x="56" y="131"/>
                    <a:pt x="56" y="131"/>
                    <a:pt x="56" y="131"/>
                  </a:cubicBezTo>
                  <a:cubicBezTo>
                    <a:pt x="56" y="131"/>
                    <a:pt x="57" y="131"/>
                    <a:pt x="57" y="131"/>
                  </a:cubicBezTo>
                  <a:cubicBezTo>
                    <a:pt x="57" y="131"/>
                    <a:pt x="57" y="131"/>
                    <a:pt x="57" y="131"/>
                  </a:cubicBezTo>
                  <a:cubicBezTo>
                    <a:pt x="57" y="131"/>
                    <a:pt x="58" y="131"/>
                    <a:pt x="58" y="131"/>
                  </a:cubicBezTo>
                  <a:cubicBezTo>
                    <a:pt x="59" y="132"/>
                    <a:pt x="60" y="134"/>
                    <a:pt x="62" y="135"/>
                  </a:cubicBezTo>
                  <a:cubicBezTo>
                    <a:pt x="63" y="135"/>
                    <a:pt x="63" y="135"/>
                    <a:pt x="64" y="136"/>
                  </a:cubicBezTo>
                  <a:cubicBezTo>
                    <a:pt x="66" y="137"/>
                    <a:pt x="67" y="136"/>
                    <a:pt x="66" y="139"/>
                  </a:cubicBezTo>
                  <a:cubicBezTo>
                    <a:pt x="65" y="142"/>
                    <a:pt x="62" y="148"/>
                    <a:pt x="64" y="149"/>
                  </a:cubicBezTo>
                  <a:cubicBezTo>
                    <a:pt x="67" y="153"/>
                    <a:pt x="68" y="155"/>
                    <a:pt x="72" y="155"/>
                  </a:cubicBezTo>
                  <a:cubicBezTo>
                    <a:pt x="73" y="155"/>
                    <a:pt x="74" y="155"/>
                    <a:pt x="75" y="155"/>
                  </a:cubicBezTo>
                  <a:cubicBezTo>
                    <a:pt x="75" y="155"/>
                    <a:pt x="75" y="155"/>
                    <a:pt x="76" y="155"/>
                  </a:cubicBezTo>
                  <a:cubicBezTo>
                    <a:pt x="79" y="154"/>
                    <a:pt x="79" y="150"/>
                    <a:pt x="80" y="147"/>
                  </a:cubicBezTo>
                  <a:cubicBezTo>
                    <a:pt x="80" y="146"/>
                    <a:pt x="85" y="145"/>
                    <a:pt x="86" y="145"/>
                  </a:cubicBezTo>
                  <a:cubicBezTo>
                    <a:pt x="89" y="145"/>
                    <a:pt x="89" y="145"/>
                    <a:pt x="89" y="145"/>
                  </a:cubicBezTo>
                  <a:cubicBezTo>
                    <a:pt x="91" y="145"/>
                    <a:pt x="92" y="146"/>
                    <a:pt x="93" y="146"/>
                  </a:cubicBezTo>
                  <a:cubicBezTo>
                    <a:pt x="93" y="146"/>
                    <a:pt x="94" y="146"/>
                    <a:pt x="95" y="145"/>
                  </a:cubicBezTo>
                  <a:cubicBezTo>
                    <a:pt x="97" y="144"/>
                    <a:pt x="98" y="138"/>
                    <a:pt x="95" y="138"/>
                  </a:cubicBezTo>
                  <a:cubicBezTo>
                    <a:pt x="94" y="138"/>
                    <a:pt x="93" y="138"/>
                    <a:pt x="92" y="139"/>
                  </a:cubicBezTo>
                  <a:cubicBezTo>
                    <a:pt x="91" y="137"/>
                    <a:pt x="91" y="135"/>
                    <a:pt x="89" y="135"/>
                  </a:cubicBezTo>
                  <a:cubicBezTo>
                    <a:pt x="89" y="135"/>
                    <a:pt x="88" y="135"/>
                    <a:pt x="88" y="135"/>
                  </a:cubicBezTo>
                  <a:cubicBezTo>
                    <a:pt x="89" y="134"/>
                    <a:pt x="90" y="134"/>
                    <a:pt x="91" y="133"/>
                  </a:cubicBezTo>
                  <a:cubicBezTo>
                    <a:pt x="89" y="132"/>
                    <a:pt x="87" y="130"/>
                    <a:pt x="86" y="129"/>
                  </a:cubicBezTo>
                  <a:cubicBezTo>
                    <a:pt x="86" y="129"/>
                    <a:pt x="85" y="129"/>
                    <a:pt x="85" y="129"/>
                  </a:cubicBezTo>
                  <a:cubicBezTo>
                    <a:pt x="85" y="129"/>
                    <a:pt x="85" y="129"/>
                    <a:pt x="85" y="129"/>
                  </a:cubicBezTo>
                  <a:cubicBezTo>
                    <a:pt x="85" y="129"/>
                    <a:pt x="85" y="129"/>
                    <a:pt x="85" y="129"/>
                  </a:cubicBezTo>
                  <a:cubicBezTo>
                    <a:pt x="85" y="129"/>
                    <a:pt x="84" y="129"/>
                    <a:pt x="84" y="129"/>
                  </a:cubicBezTo>
                  <a:cubicBezTo>
                    <a:pt x="84" y="129"/>
                    <a:pt x="82" y="128"/>
                    <a:pt x="81" y="127"/>
                  </a:cubicBezTo>
                  <a:cubicBezTo>
                    <a:pt x="79" y="124"/>
                    <a:pt x="83" y="125"/>
                    <a:pt x="84" y="122"/>
                  </a:cubicBezTo>
                  <a:cubicBezTo>
                    <a:pt x="85" y="120"/>
                    <a:pt x="82" y="118"/>
                    <a:pt x="85" y="117"/>
                  </a:cubicBezTo>
                  <a:cubicBezTo>
                    <a:pt x="86" y="117"/>
                    <a:pt x="86" y="116"/>
                    <a:pt x="87" y="116"/>
                  </a:cubicBezTo>
                  <a:cubicBezTo>
                    <a:pt x="83" y="113"/>
                    <a:pt x="83" y="113"/>
                    <a:pt x="80" y="109"/>
                  </a:cubicBezTo>
                  <a:cubicBezTo>
                    <a:pt x="79" y="107"/>
                    <a:pt x="77" y="106"/>
                    <a:pt x="76" y="104"/>
                  </a:cubicBezTo>
                  <a:cubicBezTo>
                    <a:pt x="74" y="101"/>
                    <a:pt x="73" y="94"/>
                    <a:pt x="69" y="92"/>
                  </a:cubicBezTo>
                  <a:cubicBezTo>
                    <a:pt x="69" y="92"/>
                    <a:pt x="68" y="92"/>
                    <a:pt x="68" y="92"/>
                  </a:cubicBezTo>
                  <a:cubicBezTo>
                    <a:pt x="68" y="92"/>
                    <a:pt x="68" y="92"/>
                    <a:pt x="67" y="92"/>
                  </a:cubicBezTo>
                  <a:cubicBezTo>
                    <a:pt x="67" y="92"/>
                    <a:pt x="67" y="92"/>
                    <a:pt x="67" y="92"/>
                  </a:cubicBezTo>
                  <a:cubicBezTo>
                    <a:pt x="66" y="92"/>
                    <a:pt x="66" y="92"/>
                    <a:pt x="66" y="92"/>
                  </a:cubicBezTo>
                  <a:cubicBezTo>
                    <a:pt x="65" y="91"/>
                    <a:pt x="64" y="90"/>
                    <a:pt x="64" y="89"/>
                  </a:cubicBezTo>
                  <a:cubicBezTo>
                    <a:pt x="63" y="88"/>
                    <a:pt x="62" y="87"/>
                    <a:pt x="61" y="87"/>
                  </a:cubicBezTo>
                  <a:cubicBezTo>
                    <a:pt x="61" y="87"/>
                    <a:pt x="61" y="87"/>
                    <a:pt x="60" y="88"/>
                  </a:cubicBezTo>
                  <a:cubicBezTo>
                    <a:pt x="60" y="87"/>
                    <a:pt x="60" y="86"/>
                    <a:pt x="60" y="85"/>
                  </a:cubicBezTo>
                  <a:cubicBezTo>
                    <a:pt x="63" y="85"/>
                    <a:pt x="65" y="86"/>
                    <a:pt x="66" y="86"/>
                  </a:cubicBezTo>
                  <a:cubicBezTo>
                    <a:pt x="67" y="86"/>
                    <a:pt x="68" y="86"/>
                    <a:pt x="71" y="84"/>
                  </a:cubicBezTo>
                  <a:cubicBezTo>
                    <a:pt x="77" y="78"/>
                    <a:pt x="86" y="74"/>
                    <a:pt x="91" y="69"/>
                  </a:cubicBezTo>
                  <a:cubicBezTo>
                    <a:pt x="92" y="67"/>
                    <a:pt x="93" y="66"/>
                    <a:pt x="94" y="64"/>
                  </a:cubicBezTo>
                  <a:cubicBezTo>
                    <a:pt x="96" y="62"/>
                    <a:pt x="96" y="62"/>
                    <a:pt x="99" y="62"/>
                  </a:cubicBezTo>
                  <a:cubicBezTo>
                    <a:pt x="100" y="61"/>
                    <a:pt x="100" y="61"/>
                    <a:pt x="101" y="61"/>
                  </a:cubicBezTo>
                  <a:cubicBezTo>
                    <a:pt x="103" y="61"/>
                    <a:pt x="105" y="63"/>
                    <a:pt x="108" y="65"/>
                  </a:cubicBezTo>
                  <a:cubicBezTo>
                    <a:pt x="108" y="61"/>
                    <a:pt x="110" y="56"/>
                    <a:pt x="106" y="55"/>
                  </a:cubicBezTo>
                  <a:cubicBezTo>
                    <a:pt x="105" y="55"/>
                    <a:pt x="104" y="54"/>
                    <a:pt x="103" y="54"/>
                  </a:cubicBezTo>
                  <a:cubicBezTo>
                    <a:pt x="103" y="54"/>
                    <a:pt x="103" y="54"/>
                    <a:pt x="102" y="54"/>
                  </a:cubicBezTo>
                  <a:cubicBezTo>
                    <a:pt x="100" y="54"/>
                    <a:pt x="99" y="55"/>
                    <a:pt x="97" y="58"/>
                  </a:cubicBezTo>
                  <a:cubicBezTo>
                    <a:pt x="100" y="59"/>
                    <a:pt x="95" y="59"/>
                    <a:pt x="93" y="59"/>
                  </a:cubicBezTo>
                  <a:cubicBezTo>
                    <a:pt x="92" y="59"/>
                    <a:pt x="92" y="59"/>
                    <a:pt x="92" y="59"/>
                  </a:cubicBezTo>
                  <a:cubicBezTo>
                    <a:pt x="89" y="59"/>
                    <a:pt x="87" y="59"/>
                    <a:pt x="84" y="59"/>
                  </a:cubicBezTo>
                  <a:cubicBezTo>
                    <a:pt x="83" y="59"/>
                    <a:pt x="82" y="59"/>
                    <a:pt x="81" y="59"/>
                  </a:cubicBezTo>
                  <a:cubicBezTo>
                    <a:pt x="78" y="60"/>
                    <a:pt x="76" y="62"/>
                    <a:pt x="73" y="63"/>
                  </a:cubicBezTo>
                  <a:cubicBezTo>
                    <a:pt x="73" y="63"/>
                    <a:pt x="72" y="63"/>
                    <a:pt x="72" y="63"/>
                  </a:cubicBezTo>
                  <a:cubicBezTo>
                    <a:pt x="71" y="63"/>
                    <a:pt x="69" y="62"/>
                    <a:pt x="67" y="61"/>
                  </a:cubicBezTo>
                  <a:cubicBezTo>
                    <a:pt x="67" y="61"/>
                    <a:pt x="68" y="60"/>
                    <a:pt x="67" y="60"/>
                  </a:cubicBezTo>
                  <a:cubicBezTo>
                    <a:pt x="67" y="60"/>
                    <a:pt x="67" y="60"/>
                    <a:pt x="66" y="61"/>
                  </a:cubicBezTo>
                  <a:cubicBezTo>
                    <a:pt x="64" y="62"/>
                    <a:pt x="63" y="63"/>
                    <a:pt x="61" y="64"/>
                  </a:cubicBezTo>
                  <a:cubicBezTo>
                    <a:pt x="60" y="65"/>
                    <a:pt x="59" y="67"/>
                    <a:pt x="58" y="68"/>
                  </a:cubicBezTo>
                  <a:cubicBezTo>
                    <a:pt x="57" y="70"/>
                    <a:pt x="56" y="72"/>
                    <a:pt x="55" y="73"/>
                  </a:cubicBezTo>
                  <a:cubicBezTo>
                    <a:pt x="54" y="74"/>
                    <a:pt x="53" y="74"/>
                    <a:pt x="53" y="74"/>
                  </a:cubicBezTo>
                  <a:cubicBezTo>
                    <a:pt x="52" y="74"/>
                    <a:pt x="51" y="74"/>
                    <a:pt x="50" y="74"/>
                  </a:cubicBezTo>
                  <a:cubicBezTo>
                    <a:pt x="49" y="73"/>
                    <a:pt x="48" y="73"/>
                    <a:pt x="47" y="73"/>
                  </a:cubicBezTo>
                  <a:cubicBezTo>
                    <a:pt x="46" y="73"/>
                    <a:pt x="45" y="73"/>
                    <a:pt x="44" y="74"/>
                  </a:cubicBezTo>
                  <a:cubicBezTo>
                    <a:pt x="43" y="71"/>
                    <a:pt x="42" y="65"/>
                    <a:pt x="39" y="63"/>
                  </a:cubicBezTo>
                  <a:cubicBezTo>
                    <a:pt x="38" y="63"/>
                    <a:pt x="38" y="63"/>
                    <a:pt x="37" y="62"/>
                  </a:cubicBezTo>
                  <a:cubicBezTo>
                    <a:pt x="37" y="62"/>
                    <a:pt x="37" y="62"/>
                    <a:pt x="37" y="62"/>
                  </a:cubicBezTo>
                  <a:cubicBezTo>
                    <a:pt x="37" y="62"/>
                    <a:pt x="37" y="63"/>
                    <a:pt x="37" y="63"/>
                  </a:cubicBezTo>
                  <a:cubicBezTo>
                    <a:pt x="37" y="63"/>
                    <a:pt x="36" y="63"/>
                    <a:pt x="36" y="63"/>
                  </a:cubicBezTo>
                  <a:cubicBezTo>
                    <a:pt x="36" y="63"/>
                    <a:pt x="36" y="63"/>
                    <a:pt x="36" y="63"/>
                  </a:cubicBezTo>
                  <a:cubicBezTo>
                    <a:pt x="34" y="62"/>
                    <a:pt x="33" y="60"/>
                    <a:pt x="32" y="58"/>
                  </a:cubicBezTo>
                  <a:cubicBezTo>
                    <a:pt x="30" y="57"/>
                    <a:pt x="30" y="55"/>
                    <a:pt x="30" y="53"/>
                  </a:cubicBezTo>
                  <a:cubicBezTo>
                    <a:pt x="29" y="51"/>
                    <a:pt x="28" y="49"/>
                    <a:pt x="28" y="46"/>
                  </a:cubicBezTo>
                  <a:cubicBezTo>
                    <a:pt x="29" y="41"/>
                    <a:pt x="32" y="33"/>
                    <a:pt x="37" y="30"/>
                  </a:cubicBezTo>
                  <a:cubicBezTo>
                    <a:pt x="39" y="29"/>
                    <a:pt x="41" y="28"/>
                    <a:pt x="44" y="28"/>
                  </a:cubicBezTo>
                  <a:cubicBezTo>
                    <a:pt x="46" y="28"/>
                    <a:pt x="49" y="29"/>
                    <a:pt x="52" y="29"/>
                  </a:cubicBezTo>
                  <a:cubicBezTo>
                    <a:pt x="55" y="30"/>
                    <a:pt x="57" y="30"/>
                    <a:pt x="59" y="30"/>
                  </a:cubicBezTo>
                  <a:cubicBezTo>
                    <a:pt x="60" y="30"/>
                    <a:pt x="60" y="30"/>
                    <a:pt x="60" y="30"/>
                  </a:cubicBezTo>
                  <a:cubicBezTo>
                    <a:pt x="66" y="30"/>
                    <a:pt x="72" y="30"/>
                    <a:pt x="78" y="30"/>
                  </a:cubicBezTo>
                  <a:cubicBezTo>
                    <a:pt x="78" y="30"/>
                    <a:pt x="79" y="30"/>
                    <a:pt x="80" y="30"/>
                  </a:cubicBezTo>
                  <a:cubicBezTo>
                    <a:pt x="80" y="30"/>
                    <a:pt x="80" y="30"/>
                    <a:pt x="80" y="30"/>
                  </a:cubicBezTo>
                  <a:cubicBezTo>
                    <a:pt x="82" y="30"/>
                    <a:pt x="84" y="30"/>
                    <a:pt x="86" y="29"/>
                  </a:cubicBezTo>
                  <a:cubicBezTo>
                    <a:pt x="88" y="29"/>
                    <a:pt x="90" y="29"/>
                    <a:pt x="92" y="29"/>
                  </a:cubicBezTo>
                  <a:cubicBezTo>
                    <a:pt x="95" y="29"/>
                    <a:pt x="99" y="30"/>
                    <a:pt x="101" y="30"/>
                  </a:cubicBezTo>
                  <a:cubicBezTo>
                    <a:pt x="104" y="31"/>
                    <a:pt x="107" y="33"/>
                    <a:pt x="110" y="34"/>
                  </a:cubicBezTo>
                  <a:cubicBezTo>
                    <a:pt x="112" y="34"/>
                    <a:pt x="113" y="34"/>
                    <a:pt x="114" y="34"/>
                  </a:cubicBezTo>
                  <a:cubicBezTo>
                    <a:pt x="116" y="34"/>
                    <a:pt x="117" y="34"/>
                    <a:pt x="120" y="34"/>
                  </a:cubicBezTo>
                  <a:cubicBezTo>
                    <a:pt x="122" y="33"/>
                    <a:pt x="128" y="33"/>
                    <a:pt x="129" y="32"/>
                  </a:cubicBezTo>
                  <a:cubicBezTo>
                    <a:pt x="132" y="29"/>
                    <a:pt x="135" y="26"/>
                    <a:pt x="138" y="22"/>
                  </a:cubicBezTo>
                  <a:cubicBezTo>
                    <a:pt x="140" y="21"/>
                    <a:pt x="143" y="19"/>
                    <a:pt x="144" y="17"/>
                  </a:cubicBezTo>
                  <a:cubicBezTo>
                    <a:pt x="146" y="14"/>
                    <a:pt x="148" y="11"/>
                    <a:pt x="149" y="8"/>
                  </a:cubicBezTo>
                  <a:cubicBezTo>
                    <a:pt x="150" y="4"/>
                    <a:pt x="152" y="2"/>
                    <a:pt x="147"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 name="Freeform 1235">
              <a:extLst>
                <a:ext uri="{FF2B5EF4-FFF2-40B4-BE49-F238E27FC236}">
                  <a16:creationId xmlns:a16="http://schemas.microsoft.com/office/drawing/2014/main" id="{D64DAC8C-BB8D-4B8C-A19D-7C49D1A238B3}"/>
                </a:ext>
              </a:extLst>
            </p:cNvPr>
            <p:cNvSpPr>
              <a:spLocks/>
            </p:cNvSpPr>
            <p:nvPr/>
          </p:nvSpPr>
          <p:spPr bwMode="auto">
            <a:xfrm>
              <a:off x="5082083" y="4994836"/>
              <a:ext cx="9396" cy="4027"/>
            </a:xfrm>
            <a:custGeom>
              <a:avLst/>
              <a:gdLst>
                <a:gd name="T0" fmla="*/ 3 w 3"/>
                <a:gd name="T1" fmla="*/ 0 h 1"/>
                <a:gd name="T2" fmla="*/ 0 w 3"/>
                <a:gd name="T3" fmla="*/ 1 h 1"/>
                <a:gd name="T4" fmla="*/ 3 w 3"/>
                <a:gd name="T5" fmla="*/ 0 h 1"/>
              </a:gdLst>
              <a:ahLst/>
              <a:cxnLst>
                <a:cxn ang="0">
                  <a:pos x="T0" y="T1"/>
                </a:cxn>
                <a:cxn ang="0">
                  <a:pos x="T2" y="T3"/>
                </a:cxn>
                <a:cxn ang="0">
                  <a:pos x="T4" y="T5"/>
                </a:cxn>
              </a:cxnLst>
              <a:rect l="0" t="0" r="r" b="b"/>
              <a:pathLst>
                <a:path w="3" h="1">
                  <a:moveTo>
                    <a:pt x="3" y="0"/>
                  </a:moveTo>
                  <a:cubicBezTo>
                    <a:pt x="2" y="0"/>
                    <a:pt x="0" y="0"/>
                    <a:pt x="0" y="1"/>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 name="Freeform 1236">
              <a:extLst>
                <a:ext uri="{FF2B5EF4-FFF2-40B4-BE49-F238E27FC236}">
                  <a16:creationId xmlns:a16="http://schemas.microsoft.com/office/drawing/2014/main" id="{7B98FB10-CF41-4CCC-AD4B-155D9582DB3E}"/>
                </a:ext>
              </a:extLst>
            </p:cNvPr>
            <p:cNvSpPr>
              <a:spLocks/>
            </p:cNvSpPr>
            <p:nvPr/>
          </p:nvSpPr>
          <p:spPr bwMode="auto">
            <a:xfrm>
              <a:off x="4044457" y="5529087"/>
              <a:ext cx="80540" cy="49666"/>
            </a:xfrm>
            <a:custGeom>
              <a:avLst/>
              <a:gdLst>
                <a:gd name="T0" fmla="*/ 14 w 25"/>
                <a:gd name="T1" fmla="*/ 0 h 16"/>
                <a:gd name="T2" fmla="*/ 5 w 25"/>
                <a:gd name="T3" fmla="*/ 6 h 16"/>
                <a:gd name="T4" fmla="*/ 0 w 25"/>
                <a:gd name="T5" fmla="*/ 13 h 16"/>
                <a:gd name="T6" fmla="*/ 2 w 25"/>
                <a:gd name="T7" fmla="*/ 14 h 16"/>
                <a:gd name="T8" fmla="*/ 2 w 25"/>
                <a:gd name="T9" fmla="*/ 14 h 16"/>
                <a:gd name="T10" fmla="*/ 3 w 25"/>
                <a:gd name="T11" fmla="*/ 14 h 16"/>
                <a:gd name="T12" fmla="*/ 3 w 25"/>
                <a:gd name="T13" fmla="*/ 15 h 16"/>
                <a:gd name="T14" fmla="*/ 3 w 25"/>
                <a:gd name="T15" fmla="*/ 15 h 16"/>
                <a:gd name="T16" fmla="*/ 10 w 25"/>
                <a:gd name="T17" fmla="*/ 15 h 16"/>
                <a:gd name="T18" fmla="*/ 12 w 25"/>
                <a:gd name="T19" fmla="*/ 16 h 16"/>
                <a:gd name="T20" fmla="*/ 13 w 25"/>
                <a:gd name="T21" fmla="*/ 16 h 16"/>
                <a:gd name="T22" fmla="*/ 14 w 25"/>
                <a:gd name="T23" fmla="*/ 14 h 16"/>
                <a:gd name="T24" fmla="*/ 15 w 25"/>
                <a:gd name="T25" fmla="*/ 14 h 16"/>
                <a:gd name="T26" fmla="*/ 17 w 25"/>
                <a:gd name="T27" fmla="*/ 14 h 16"/>
                <a:gd name="T28" fmla="*/ 18 w 25"/>
                <a:gd name="T29" fmla="*/ 0 h 16"/>
                <a:gd name="T30" fmla="*/ 14 w 25"/>
                <a:gd name="T3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6">
                  <a:moveTo>
                    <a:pt x="14" y="0"/>
                  </a:moveTo>
                  <a:cubicBezTo>
                    <a:pt x="10" y="0"/>
                    <a:pt x="4" y="2"/>
                    <a:pt x="5" y="6"/>
                  </a:cubicBezTo>
                  <a:cubicBezTo>
                    <a:pt x="7" y="10"/>
                    <a:pt x="2" y="12"/>
                    <a:pt x="0" y="13"/>
                  </a:cubicBezTo>
                  <a:cubicBezTo>
                    <a:pt x="1" y="13"/>
                    <a:pt x="2" y="14"/>
                    <a:pt x="2" y="14"/>
                  </a:cubicBezTo>
                  <a:cubicBezTo>
                    <a:pt x="2" y="14"/>
                    <a:pt x="2" y="14"/>
                    <a:pt x="2" y="14"/>
                  </a:cubicBezTo>
                  <a:cubicBezTo>
                    <a:pt x="2" y="14"/>
                    <a:pt x="2" y="14"/>
                    <a:pt x="3" y="14"/>
                  </a:cubicBezTo>
                  <a:cubicBezTo>
                    <a:pt x="3" y="15"/>
                    <a:pt x="3" y="15"/>
                    <a:pt x="3" y="15"/>
                  </a:cubicBezTo>
                  <a:cubicBezTo>
                    <a:pt x="3" y="15"/>
                    <a:pt x="3" y="15"/>
                    <a:pt x="3" y="15"/>
                  </a:cubicBezTo>
                  <a:cubicBezTo>
                    <a:pt x="5" y="15"/>
                    <a:pt x="7" y="15"/>
                    <a:pt x="10" y="15"/>
                  </a:cubicBezTo>
                  <a:cubicBezTo>
                    <a:pt x="11" y="16"/>
                    <a:pt x="11" y="16"/>
                    <a:pt x="12" y="16"/>
                  </a:cubicBezTo>
                  <a:cubicBezTo>
                    <a:pt x="12" y="16"/>
                    <a:pt x="13" y="16"/>
                    <a:pt x="13" y="16"/>
                  </a:cubicBezTo>
                  <a:cubicBezTo>
                    <a:pt x="15" y="15"/>
                    <a:pt x="13" y="14"/>
                    <a:pt x="14" y="14"/>
                  </a:cubicBezTo>
                  <a:cubicBezTo>
                    <a:pt x="15" y="14"/>
                    <a:pt x="15" y="14"/>
                    <a:pt x="15" y="14"/>
                  </a:cubicBezTo>
                  <a:cubicBezTo>
                    <a:pt x="16" y="14"/>
                    <a:pt x="17" y="14"/>
                    <a:pt x="17" y="14"/>
                  </a:cubicBezTo>
                  <a:cubicBezTo>
                    <a:pt x="14" y="13"/>
                    <a:pt x="25" y="3"/>
                    <a:pt x="18" y="0"/>
                  </a:cubicBezTo>
                  <a:cubicBezTo>
                    <a:pt x="17" y="0"/>
                    <a:pt x="16"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 name="Freeform 1237">
              <a:extLst>
                <a:ext uri="{FF2B5EF4-FFF2-40B4-BE49-F238E27FC236}">
                  <a16:creationId xmlns:a16="http://schemas.microsoft.com/office/drawing/2014/main" id="{FF64ABAD-10EA-4B29-BA31-1C1CA853FB48}"/>
                </a:ext>
              </a:extLst>
            </p:cNvPr>
            <p:cNvSpPr>
              <a:spLocks/>
            </p:cNvSpPr>
            <p:nvPr/>
          </p:nvSpPr>
          <p:spPr bwMode="auto">
            <a:xfrm>
              <a:off x="4108889" y="5515663"/>
              <a:ext cx="183900" cy="76513"/>
            </a:xfrm>
            <a:custGeom>
              <a:avLst/>
              <a:gdLst>
                <a:gd name="T0" fmla="*/ 30 w 58"/>
                <a:gd name="T1" fmla="*/ 0 h 24"/>
                <a:gd name="T2" fmla="*/ 25 w 58"/>
                <a:gd name="T3" fmla="*/ 1 h 24"/>
                <a:gd name="T4" fmla="*/ 28 w 58"/>
                <a:gd name="T5" fmla="*/ 7 h 24"/>
                <a:gd name="T6" fmla="*/ 37 w 58"/>
                <a:gd name="T7" fmla="*/ 12 h 24"/>
                <a:gd name="T8" fmla="*/ 26 w 58"/>
                <a:gd name="T9" fmla="*/ 14 h 24"/>
                <a:gd name="T10" fmla="*/ 25 w 58"/>
                <a:gd name="T11" fmla="*/ 14 h 24"/>
                <a:gd name="T12" fmla="*/ 24 w 58"/>
                <a:gd name="T13" fmla="*/ 13 h 24"/>
                <a:gd name="T14" fmla="*/ 15 w 58"/>
                <a:gd name="T15" fmla="*/ 9 h 24"/>
                <a:gd name="T16" fmla="*/ 11 w 58"/>
                <a:gd name="T17" fmla="*/ 7 h 24"/>
                <a:gd name="T18" fmla="*/ 6 w 58"/>
                <a:gd name="T19" fmla="*/ 9 h 24"/>
                <a:gd name="T20" fmla="*/ 2 w 58"/>
                <a:gd name="T21" fmla="*/ 12 h 24"/>
                <a:gd name="T22" fmla="*/ 2 w 58"/>
                <a:gd name="T23" fmla="*/ 16 h 24"/>
                <a:gd name="T24" fmla="*/ 6 w 58"/>
                <a:gd name="T25" fmla="*/ 23 h 24"/>
                <a:gd name="T26" fmla="*/ 9 w 58"/>
                <a:gd name="T27" fmla="*/ 24 h 24"/>
                <a:gd name="T28" fmla="*/ 9 w 58"/>
                <a:gd name="T29" fmla="*/ 24 h 24"/>
                <a:gd name="T30" fmla="*/ 25 w 58"/>
                <a:gd name="T31" fmla="*/ 21 h 24"/>
                <a:gd name="T32" fmla="*/ 34 w 58"/>
                <a:gd name="T33" fmla="*/ 17 h 24"/>
                <a:gd name="T34" fmla="*/ 40 w 58"/>
                <a:gd name="T35" fmla="*/ 12 h 24"/>
                <a:gd name="T36" fmla="*/ 41 w 58"/>
                <a:gd name="T37" fmla="*/ 14 h 24"/>
                <a:gd name="T38" fmla="*/ 42 w 58"/>
                <a:gd name="T39" fmla="*/ 18 h 24"/>
                <a:gd name="T40" fmla="*/ 42 w 58"/>
                <a:gd name="T41" fmla="*/ 18 h 24"/>
                <a:gd name="T42" fmla="*/ 48 w 58"/>
                <a:gd name="T43" fmla="*/ 17 h 24"/>
                <a:gd name="T44" fmla="*/ 58 w 58"/>
                <a:gd name="T45" fmla="*/ 14 h 24"/>
                <a:gd name="T46" fmla="*/ 58 w 58"/>
                <a:gd name="T47" fmla="*/ 12 h 24"/>
                <a:gd name="T48" fmla="*/ 56 w 58"/>
                <a:gd name="T49" fmla="*/ 13 h 24"/>
                <a:gd name="T50" fmla="*/ 55 w 58"/>
                <a:gd name="T51" fmla="*/ 11 h 24"/>
                <a:gd name="T52" fmla="*/ 55 w 58"/>
                <a:gd name="T53" fmla="*/ 8 h 24"/>
                <a:gd name="T54" fmla="*/ 52 w 58"/>
                <a:gd name="T55" fmla="*/ 5 h 24"/>
                <a:gd name="T56" fmla="*/ 52 w 58"/>
                <a:gd name="T57" fmla="*/ 5 h 24"/>
                <a:gd name="T58" fmla="*/ 47 w 58"/>
                <a:gd name="T59" fmla="*/ 10 h 24"/>
                <a:gd name="T60" fmla="*/ 43 w 58"/>
                <a:gd name="T61" fmla="*/ 4 h 24"/>
                <a:gd name="T62" fmla="*/ 38 w 58"/>
                <a:gd name="T63" fmla="*/ 6 h 24"/>
                <a:gd name="T64" fmla="*/ 30 w 58"/>
                <a:gd name="T6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 h="24">
                  <a:moveTo>
                    <a:pt x="30" y="0"/>
                  </a:moveTo>
                  <a:cubicBezTo>
                    <a:pt x="28" y="0"/>
                    <a:pt x="27" y="0"/>
                    <a:pt x="25" y="1"/>
                  </a:cubicBezTo>
                  <a:cubicBezTo>
                    <a:pt x="26" y="4"/>
                    <a:pt x="26" y="5"/>
                    <a:pt x="28" y="7"/>
                  </a:cubicBezTo>
                  <a:cubicBezTo>
                    <a:pt x="30" y="9"/>
                    <a:pt x="37" y="11"/>
                    <a:pt x="37" y="12"/>
                  </a:cubicBezTo>
                  <a:cubicBezTo>
                    <a:pt x="37" y="13"/>
                    <a:pt x="30" y="14"/>
                    <a:pt x="26" y="14"/>
                  </a:cubicBezTo>
                  <a:cubicBezTo>
                    <a:pt x="26" y="14"/>
                    <a:pt x="26" y="14"/>
                    <a:pt x="25" y="14"/>
                  </a:cubicBezTo>
                  <a:cubicBezTo>
                    <a:pt x="25" y="14"/>
                    <a:pt x="25" y="13"/>
                    <a:pt x="24" y="13"/>
                  </a:cubicBezTo>
                  <a:cubicBezTo>
                    <a:pt x="21" y="11"/>
                    <a:pt x="18" y="10"/>
                    <a:pt x="15" y="9"/>
                  </a:cubicBezTo>
                  <a:cubicBezTo>
                    <a:pt x="13" y="7"/>
                    <a:pt x="12" y="7"/>
                    <a:pt x="11" y="7"/>
                  </a:cubicBezTo>
                  <a:cubicBezTo>
                    <a:pt x="9" y="7"/>
                    <a:pt x="8" y="7"/>
                    <a:pt x="6" y="9"/>
                  </a:cubicBezTo>
                  <a:cubicBezTo>
                    <a:pt x="4" y="9"/>
                    <a:pt x="3" y="10"/>
                    <a:pt x="2" y="12"/>
                  </a:cubicBezTo>
                  <a:cubicBezTo>
                    <a:pt x="2" y="13"/>
                    <a:pt x="2" y="15"/>
                    <a:pt x="2" y="16"/>
                  </a:cubicBezTo>
                  <a:cubicBezTo>
                    <a:pt x="2" y="22"/>
                    <a:pt x="0" y="21"/>
                    <a:pt x="6" y="23"/>
                  </a:cubicBezTo>
                  <a:cubicBezTo>
                    <a:pt x="7" y="24"/>
                    <a:pt x="8" y="24"/>
                    <a:pt x="9" y="24"/>
                  </a:cubicBezTo>
                  <a:cubicBezTo>
                    <a:pt x="9" y="24"/>
                    <a:pt x="9" y="24"/>
                    <a:pt x="9" y="24"/>
                  </a:cubicBezTo>
                  <a:cubicBezTo>
                    <a:pt x="14" y="24"/>
                    <a:pt x="20" y="22"/>
                    <a:pt x="25" y="21"/>
                  </a:cubicBezTo>
                  <a:cubicBezTo>
                    <a:pt x="29" y="20"/>
                    <a:pt x="31" y="18"/>
                    <a:pt x="34" y="17"/>
                  </a:cubicBezTo>
                  <a:cubicBezTo>
                    <a:pt x="37" y="15"/>
                    <a:pt x="38" y="14"/>
                    <a:pt x="40" y="12"/>
                  </a:cubicBezTo>
                  <a:cubicBezTo>
                    <a:pt x="41" y="13"/>
                    <a:pt x="40" y="13"/>
                    <a:pt x="41" y="14"/>
                  </a:cubicBezTo>
                  <a:cubicBezTo>
                    <a:pt x="41" y="15"/>
                    <a:pt x="41" y="18"/>
                    <a:pt x="42" y="18"/>
                  </a:cubicBezTo>
                  <a:cubicBezTo>
                    <a:pt x="42" y="18"/>
                    <a:pt x="42" y="18"/>
                    <a:pt x="42" y="18"/>
                  </a:cubicBezTo>
                  <a:cubicBezTo>
                    <a:pt x="44" y="18"/>
                    <a:pt x="46" y="17"/>
                    <a:pt x="48" y="17"/>
                  </a:cubicBezTo>
                  <a:cubicBezTo>
                    <a:pt x="50" y="17"/>
                    <a:pt x="57" y="16"/>
                    <a:pt x="58" y="14"/>
                  </a:cubicBezTo>
                  <a:cubicBezTo>
                    <a:pt x="58" y="14"/>
                    <a:pt x="58" y="12"/>
                    <a:pt x="58" y="12"/>
                  </a:cubicBezTo>
                  <a:cubicBezTo>
                    <a:pt x="57" y="13"/>
                    <a:pt x="57" y="13"/>
                    <a:pt x="56" y="13"/>
                  </a:cubicBezTo>
                  <a:cubicBezTo>
                    <a:pt x="55" y="13"/>
                    <a:pt x="55" y="12"/>
                    <a:pt x="55" y="11"/>
                  </a:cubicBezTo>
                  <a:cubicBezTo>
                    <a:pt x="54" y="10"/>
                    <a:pt x="55" y="9"/>
                    <a:pt x="55" y="8"/>
                  </a:cubicBezTo>
                  <a:cubicBezTo>
                    <a:pt x="55" y="6"/>
                    <a:pt x="54" y="5"/>
                    <a:pt x="52" y="5"/>
                  </a:cubicBezTo>
                  <a:cubicBezTo>
                    <a:pt x="52" y="5"/>
                    <a:pt x="52" y="5"/>
                    <a:pt x="52" y="5"/>
                  </a:cubicBezTo>
                  <a:cubicBezTo>
                    <a:pt x="48" y="5"/>
                    <a:pt x="48" y="6"/>
                    <a:pt x="47" y="10"/>
                  </a:cubicBezTo>
                  <a:cubicBezTo>
                    <a:pt x="46" y="6"/>
                    <a:pt x="45" y="4"/>
                    <a:pt x="43" y="4"/>
                  </a:cubicBezTo>
                  <a:cubicBezTo>
                    <a:pt x="42" y="4"/>
                    <a:pt x="40" y="5"/>
                    <a:pt x="38" y="6"/>
                  </a:cubicBezTo>
                  <a:cubicBezTo>
                    <a:pt x="34" y="2"/>
                    <a:pt x="33"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 name="Freeform 1238">
              <a:extLst>
                <a:ext uri="{FF2B5EF4-FFF2-40B4-BE49-F238E27FC236}">
                  <a16:creationId xmlns:a16="http://schemas.microsoft.com/office/drawing/2014/main" id="{37FB1512-18BA-4BDF-A161-003DBAA82DAA}"/>
                </a:ext>
              </a:extLst>
            </p:cNvPr>
            <p:cNvSpPr>
              <a:spLocks/>
            </p:cNvSpPr>
            <p:nvPr/>
          </p:nvSpPr>
          <p:spPr bwMode="auto">
            <a:xfrm>
              <a:off x="4902210" y="5471366"/>
              <a:ext cx="5369" cy="9396"/>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 name="Freeform 1239">
              <a:extLst>
                <a:ext uri="{FF2B5EF4-FFF2-40B4-BE49-F238E27FC236}">
                  <a16:creationId xmlns:a16="http://schemas.microsoft.com/office/drawing/2014/main" id="{16A2F530-A558-4C1F-8182-D3CF44B4878E}"/>
                </a:ext>
              </a:extLst>
            </p:cNvPr>
            <p:cNvSpPr>
              <a:spLocks/>
            </p:cNvSpPr>
            <p:nvPr/>
          </p:nvSpPr>
          <p:spPr bwMode="auto">
            <a:xfrm>
              <a:off x="3990764" y="5420357"/>
              <a:ext cx="32216" cy="13423"/>
            </a:xfrm>
            <a:custGeom>
              <a:avLst/>
              <a:gdLst>
                <a:gd name="T0" fmla="*/ 4 w 10"/>
                <a:gd name="T1" fmla="*/ 0 h 4"/>
                <a:gd name="T2" fmla="*/ 5 w 10"/>
                <a:gd name="T3" fmla="*/ 4 h 4"/>
                <a:gd name="T4" fmla="*/ 6 w 10"/>
                <a:gd name="T5" fmla="*/ 4 h 4"/>
                <a:gd name="T6" fmla="*/ 9 w 10"/>
                <a:gd name="T7" fmla="*/ 2 h 4"/>
                <a:gd name="T8" fmla="*/ 10 w 10"/>
                <a:gd name="T9" fmla="*/ 2 h 4"/>
                <a:gd name="T10" fmla="*/ 4 w 10"/>
                <a:gd name="T11" fmla="*/ 0 h 4"/>
              </a:gdLst>
              <a:ahLst/>
              <a:cxnLst>
                <a:cxn ang="0">
                  <a:pos x="T0" y="T1"/>
                </a:cxn>
                <a:cxn ang="0">
                  <a:pos x="T2" y="T3"/>
                </a:cxn>
                <a:cxn ang="0">
                  <a:pos x="T4" y="T5"/>
                </a:cxn>
                <a:cxn ang="0">
                  <a:pos x="T6" y="T7"/>
                </a:cxn>
                <a:cxn ang="0">
                  <a:pos x="T8" y="T9"/>
                </a:cxn>
                <a:cxn ang="0">
                  <a:pos x="T10" y="T11"/>
                </a:cxn>
              </a:cxnLst>
              <a:rect l="0" t="0" r="r" b="b"/>
              <a:pathLst>
                <a:path w="10" h="4">
                  <a:moveTo>
                    <a:pt x="4" y="0"/>
                  </a:moveTo>
                  <a:cubicBezTo>
                    <a:pt x="0" y="2"/>
                    <a:pt x="3" y="4"/>
                    <a:pt x="5" y="4"/>
                  </a:cubicBezTo>
                  <a:cubicBezTo>
                    <a:pt x="5" y="4"/>
                    <a:pt x="5" y="4"/>
                    <a:pt x="6" y="4"/>
                  </a:cubicBezTo>
                  <a:cubicBezTo>
                    <a:pt x="9" y="2"/>
                    <a:pt x="9" y="2"/>
                    <a:pt x="9" y="2"/>
                  </a:cubicBezTo>
                  <a:cubicBezTo>
                    <a:pt x="10" y="2"/>
                    <a:pt x="10" y="2"/>
                    <a:pt x="10" y="2"/>
                  </a:cubicBezTo>
                  <a:cubicBezTo>
                    <a:pt x="8" y="1"/>
                    <a:pt x="6"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 name="Freeform 1240">
              <a:extLst>
                <a:ext uri="{FF2B5EF4-FFF2-40B4-BE49-F238E27FC236}">
                  <a16:creationId xmlns:a16="http://schemas.microsoft.com/office/drawing/2014/main" id="{77F2624D-03CE-4372-BF4A-3FBD60C0EC00}"/>
                </a:ext>
              </a:extLst>
            </p:cNvPr>
            <p:cNvSpPr>
              <a:spLocks/>
            </p:cNvSpPr>
            <p:nvPr/>
          </p:nvSpPr>
          <p:spPr bwMode="auto">
            <a:xfrm>
              <a:off x="4279366" y="5519690"/>
              <a:ext cx="6712" cy="9396"/>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1"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 name="Freeform 1241">
              <a:extLst>
                <a:ext uri="{FF2B5EF4-FFF2-40B4-BE49-F238E27FC236}">
                  <a16:creationId xmlns:a16="http://schemas.microsoft.com/office/drawing/2014/main" id="{87D3EDBD-03A9-40F6-A72F-811320C6958F}"/>
                </a:ext>
              </a:extLst>
            </p:cNvPr>
            <p:cNvSpPr>
              <a:spLocks/>
            </p:cNvSpPr>
            <p:nvPr/>
          </p:nvSpPr>
          <p:spPr bwMode="auto">
            <a:xfrm>
              <a:off x="3518262" y="5027053"/>
              <a:ext cx="13423" cy="0"/>
            </a:xfrm>
            <a:custGeom>
              <a:avLst/>
              <a:gdLst>
                <a:gd name="T0" fmla="*/ 1 w 4"/>
                <a:gd name="T1" fmla="*/ 0 w 4"/>
                <a:gd name="T2" fmla="*/ 1 w 4"/>
                <a:gd name="T3" fmla="*/ 4 w 4"/>
                <a:gd name="T4" fmla="*/ 1 w 4"/>
              </a:gdLst>
              <a:ahLst/>
              <a:cxnLst>
                <a:cxn ang="0">
                  <a:pos x="T0" y="0"/>
                </a:cxn>
                <a:cxn ang="0">
                  <a:pos x="T1" y="0"/>
                </a:cxn>
                <a:cxn ang="0">
                  <a:pos x="T2" y="0"/>
                </a:cxn>
                <a:cxn ang="0">
                  <a:pos x="T3" y="0"/>
                </a:cxn>
                <a:cxn ang="0">
                  <a:pos x="T4" y="0"/>
                </a:cxn>
              </a:cxnLst>
              <a:rect l="0" t="0" r="r" b="b"/>
              <a:pathLst>
                <a:path w="4">
                  <a:moveTo>
                    <a:pt x="1" y="0"/>
                  </a:moveTo>
                  <a:cubicBezTo>
                    <a:pt x="1" y="0"/>
                    <a:pt x="0" y="0"/>
                    <a:pt x="0" y="0"/>
                  </a:cubicBezTo>
                  <a:cubicBezTo>
                    <a:pt x="0" y="0"/>
                    <a:pt x="1" y="0"/>
                    <a:pt x="1" y="0"/>
                  </a:cubicBezTo>
                  <a:cubicBezTo>
                    <a:pt x="2" y="0"/>
                    <a:pt x="3" y="0"/>
                    <a:pt x="4" y="0"/>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 name="Freeform 1242">
              <a:extLst>
                <a:ext uri="{FF2B5EF4-FFF2-40B4-BE49-F238E27FC236}">
                  <a16:creationId xmlns:a16="http://schemas.microsoft.com/office/drawing/2014/main" id="{92335C17-4673-4922-BDA4-83E8CB1F202E}"/>
                </a:ext>
              </a:extLst>
            </p:cNvPr>
            <p:cNvSpPr>
              <a:spLocks/>
            </p:cNvSpPr>
            <p:nvPr/>
          </p:nvSpPr>
          <p:spPr bwMode="auto">
            <a:xfrm>
              <a:off x="5158596" y="5515663"/>
              <a:ext cx="28189" cy="18793"/>
            </a:xfrm>
            <a:custGeom>
              <a:avLst/>
              <a:gdLst>
                <a:gd name="T0" fmla="*/ 6 w 9"/>
                <a:gd name="T1" fmla="*/ 0 h 6"/>
                <a:gd name="T2" fmla="*/ 0 w 9"/>
                <a:gd name="T3" fmla="*/ 6 h 6"/>
                <a:gd name="T4" fmla="*/ 6 w 9"/>
                <a:gd name="T5" fmla="*/ 3 h 6"/>
                <a:gd name="T6" fmla="*/ 9 w 9"/>
                <a:gd name="T7" fmla="*/ 1 h 6"/>
                <a:gd name="T8" fmla="*/ 6 w 9"/>
                <a:gd name="T9" fmla="*/ 0 h 6"/>
              </a:gdLst>
              <a:ahLst/>
              <a:cxnLst>
                <a:cxn ang="0">
                  <a:pos x="T0" y="T1"/>
                </a:cxn>
                <a:cxn ang="0">
                  <a:pos x="T2" y="T3"/>
                </a:cxn>
                <a:cxn ang="0">
                  <a:pos x="T4" y="T5"/>
                </a:cxn>
                <a:cxn ang="0">
                  <a:pos x="T6" y="T7"/>
                </a:cxn>
                <a:cxn ang="0">
                  <a:pos x="T8" y="T9"/>
                </a:cxn>
              </a:cxnLst>
              <a:rect l="0" t="0" r="r" b="b"/>
              <a:pathLst>
                <a:path w="9" h="6">
                  <a:moveTo>
                    <a:pt x="6" y="0"/>
                  </a:moveTo>
                  <a:cubicBezTo>
                    <a:pt x="4" y="0"/>
                    <a:pt x="2" y="3"/>
                    <a:pt x="0" y="6"/>
                  </a:cubicBezTo>
                  <a:cubicBezTo>
                    <a:pt x="3" y="5"/>
                    <a:pt x="3" y="4"/>
                    <a:pt x="6" y="3"/>
                  </a:cubicBezTo>
                  <a:cubicBezTo>
                    <a:pt x="7" y="3"/>
                    <a:pt x="8" y="2"/>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 name="Freeform 1243">
              <a:extLst>
                <a:ext uri="{FF2B5EF4-FFF2-40B4-BE49-F238E27FC236}">
                  <a16:creationId xmlns:a16="http://schemas.microsoft.com/office/drawing/2014/main" id="{683F5F45-0C14-4B2F-B9BD-C297FF1D088E}"/>
                </a:ext>
              </a:extLst>
            </p:cNvPr>
            <p:cNvSpPr>
              <a:spLocks/>
            </p:cNvSpPr>
            <p:nvPr/>
          </p:nvSpPr>
          <p:spPr bwMode="auto">
            <a:xfrm>
              <a:off x="4902210" y="4855233"/>
              <a:ext cx="5369" cy="6712"/>
            </a:xfrm>
            <a:custGeom>
              <a:avLst/>
              <a:gdLst>
                <a:gd name="T0" fmla="*/ 2 w 2"/>
                <a:gd name="T1" fmla="*/ 0 h 2"/>
                <a:gd name="T2" fmla="*/ 1 w 2"/>
                <a:gd name="T3" fmla="*/ 2 h 2"/>
                <a:gd name="T4" fmla="*/ 2 w 2"/>
                <a:gd name="T5" fmla="*/ 0 h 2"/>
              </a:gdLst>
              <a:ahLst/>
              <a:cxnLst>
                <a:cxn ang="0">
                  <a:pos x="T0" y="T1"/>
                </a:cxn>
                <a:cxn ang="0">
                  <a:pos x="T2" y="T3"/>
                </a:cxn>
                <a:cxn ang="0">
                  <a:pos x="T4" y="T5"/>
                </a:cxn>
              </a:cxnLst>
              <a:rect l="0" t="0" r="r" b="b"/>
              <a:pathLst>
                <a:path w="2" h="2">
                  <a:moveTo>
                    <a:pt x="2" y="0"/>
                  </a:moveTo>
                  <a:cubicBezTo>
                    <a:pt x="1" y="0"/>
                    <a:pt x="0" y="1"/>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 name="Freeform 1244">
              <a:extLst>
                <a:ext uri="{FF2B5EF4-FFF2-40B4-BE49-F238E27FC236}">
                  <a16:creationId xmlns:a16="http://schemas.microsoft.com/office/drawing/2014/main" id="{D04511DF-A19F-466B-8C2D-94293435D750}"/>
                </a:ext>
              </a:extLst>
            </p:cNvPr>
            <p:cNvSpPr>
              <a:spLocks/>
            </p:cNvSpPr>
            <p:nvPr/>
          </p:nvSpPr>
          <p:spPr bwMode="auto">
            <a:xfrm>
              <a:off x="4942480" y="5176052"/>
              <a:ext cx="29531" cy="13423"/>
            </a:xfrm>
            <a:custGeom>
              <a:avLst/>
              <a:gdLst>
                <a:gd name="T0" fmla="*/ 5 w 9"/>
                <a:gd name="T1" fmla="*/ 0 h 4"/>
                <a:gd name="T2" fmla="*/ 1 w 9"/>
                <a:gd name="T3" fmla="*/ 2 h 4"/>
                <a:gd name="T4" fmla="*/ 2 w 9"/>
                <a:gd name="T5" fmla="*/ 4 h 4"/>
                <a:gd name="T6" fmla="*/ 5 w 9"/>
                <a:gd name="T7" fmla="*/ 3 h 4"/>
                <a:gd name="T8" fmla="*/ 9 w 9"/>
                <a:gd name="T9" fmla="*/ 1 h 4"/>
                <a:gd name="T10" fmla="*/ 5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5" y="0"/>
                  </a:moveTo>
                  <a:cubicBezTo>
                    <a:pt x="3" y="0"/>
                    <a:pt x="2" y="1"/>
                    <a:pt x="1" y="2"/>
                  </a:cubicBezTo>
                  <a:cubicBezTo>
                    <a:pt x="0" y="4"/>
                    <a:pt x="1" y="4"/>
                    <a:pt x="2" y="4"/>
                  </a:cubicBezTo>
                  <a:cubicBezTo>
                    <a:pt x="2" y="4"/>
                    <a:pt x="4" y="4"/>
                    <a:pt x="5" y="3"/>
                  </a:cubicBezTo>
                  <a:cubicBezTo>
                    <a:pt x="6" y="3"/>
                    <a:pt x="8" y="2"/>
                    <a:pt x="9" y="1"/>
                  </a:cubicBezTo>
                  <a:cubicBezTo>
                    <a:pt x="8"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 name="Freeform 1245">
              <a:extLst>
                <a:ext uri="{FF2B5EF4-FFF2-40B4-BE49-F238E27FC236}">
                  <a16:creationId xmlns:a16="http://schemas.microsoft.com/office/drawing/2014/main" id="{9ED9C962-4D24-4E75-B21E-4DCFA22CCF45}"/>
                </a:ext>
              </a:extLst>
            </p:cNvPr>
            <p:cNvSpPr>
              <a:spLocks/>
            </p:cNvSpPr>
            <p:nvPr/>
          </p:nvSpPr>
          <p:spPr bwMode="auto">
            <a:xfrm>
              <a:off x="4857913" y="4570658"/>
              <a:ext cx="12081" cy="40270"/>
            </a:xfrm>
            <a:custGeom>
              <a:avLst/>
              <a:gdLst>
                <a:gd name="T0" fmla="*/ 0 w 4"/>
                <a:gd name="T1" fmla="*/ 0 h 13"/>
                <a:gd name="T2" fmla="*/ 0 w 4"/>
                <a:gd name="T3" fmla="*/ 13 h 13"/>
                <a:gd name="T4" fmla="*/ 3 w 4"/>
                <a:gd name="T5" fmla="*/ 8 h 13"/>
                <a:gd name="T6" fmla="*/ 4 w 4"/>
                <a:gd name="T7" fmla="*/ 6 h 13"/>
                <a:gd name="T8" fmla="*/ 3 w 4"/>
                <a:gd name="T9" fmla="*/ 5 h 13"/>
                <a:gd name="T10" fmla="*/ 3 w 4"/>
                <a:gd name="T11" fmla="*/ 3 h 13"/>
                <a:gd name="T12" fmla="*/ 0 w 4"/>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 h="13">
                  <a:moveTo>
                    <a:pt x="0" y="0"/>
                  </a:moveTo>
                  <a:cubicBezTo>
                    <a:pt x="0" y="4"/>
                    <a:pt x="0" y="9"/>
                    <a:pt x="0" y="13"/>
                  </a:cubicBezTo>
                  <a:cubicBezTo>
                    <a:pt x="2" y="12"/>
                    <a:pt x="2" y="10"/>
                    <a:pt x="3" y="8"/>
                  </a:cubicBezTo>
                  <a:cubicBezTo>
                    <a:pt x="3" y="8"/>
                    <a:pt x="4" y="7"/>
                    <a:pt x="4" y="6"/>
                  </a:cubicBezTo>
                  <a:cubicBezTo>
                    <a:pt x="4" y="5"/>
                    <a:pt x="3" y="5"/>
                    <a:pt x="3" y="5"/>
                  </a:cubicBezTo>
                  <a:cubicBezTo>
                    <a:pt x="3" y="4"/>
                    <a:pt x="3" y="3"/>
                    <a:pt x="3" y="3"/>
                  </a:cubicBezTo>
                  <a:cubicBezTo>
                    <a:pt x="2"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 name="Freeform 1246">
              <a:extLst>
                <a:ext uri="{FF2B5EF4-FFF2-40B4-BE49-F238E27FC236}">
                  <a16:creationId xmlns:a16="http://schemas.microsoft.com/office/drawing/2014/main" id="{2B7346C1-9DBE-4178-8B26-F7E76676B9ED}"/>
                </a:ext>
              </a:extLst>
            </p:cNvPr>
            <p:cNvSpPr>
              <a:spLocks/>
            </p:cNvSpPr>
            <p:nvPr/>
          </p:nvSpPr>
          <p:spPr bwMode="auto">
            <a:xfrm>
              <a:off x="3457857" y="4592135"/>
              <a:ext cx="32216" cy="44297"/>
            </a:xfrm>
            <a:custGeom>
              <a:avLst/>
              <a:gdLst>
                <a:gd name="T0" fmla="*/ 6 w 10"/>
                <a:gd name="T1" fmla="*/ 0 h 14"/>
                <a:gd name="T2" fmla="*/ 1 w 10"/>
                <a:gd name="T3" fmla="*/ 5 h 14"/>
                <a:gd name="T4" fmla="*/ 2 w 10"/>
                <a:gd name="T5" fmla="*/ 9 h 14"/>
                <a:gd name="T6" fmla="*/ 7 w 10"/>
                <a:gd name="T7" fmla="*/ 12 h 14"/>
                <a:gd name="T8" fmla="*/ 3 w 10"/>
                <a:gd name="T9" fmla="*/ 13 h 14"/>
                <a:gd name="T10" fmla="*/ 5 w 10"/>
                <a:gd name="T11" fmla="*/ 14 h 14"/>
                <a:gd name="T12" fmla="*/ 6 w 10"/>
                <a:gd name="T13" fmla="*/ 14 h 14"/>
                <a:gd name="T14" fmla="*/ 9 w 10"/>
                <a:gd name="T15" fmla="*/ 10 h 14"/>
                <a:gd name="T16" fmla="*/ 6 w 1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4">
                  <a:moveTo>
                    <a:pt x="6" y="0"/>
                  </a:moveTo>
                  <a:cubicBezTo>
                    <a:pt x="4" y="1"/>
                    <a:pt x="1" y="3"/>
                    <a:pt x="1" y="5"/>
                  </a:cubicBezTo>
                  <a:cubicBezTo>
                    <a:pt x="0" y="6"/>
                    <a:pt x="0" y="7"/>
                    <a:pt x="2" y="9"/>
                  </a:cubicBezTo>
                  <a:cubicBezTo>
                    <a:pt x="3" y="10"/>
                    <a:pt x="6" y="10"/>
                    <a:pt x="7" y="12"/>
                  </a:cubicBezTo>
                  <a:cubicBezTo>
                    <a:pt x="6" y="12"/>
                    <a:pt x="2" y="12"/>
                    <a:pt x="3" y="13"/>
                  </a:cubicBezTo>
                  <a:cubicBezTo>
                    <a:pt x="3" y="14"/>
                    <a:pt x="4" y="14"/>
                    <a:pt x="5" y="14"/>
                  </a:cubicBezTo>
                  <a:cubicBezTo>
                    <a:pt x="6" y="14"/>
                    <a:pt x="6" y="14"/>
                    <a:pt x="6" y="14"/>
                  </a:cubicBezTo>
                  <a:cubicBezTo>
                    <a:pt x="8" y="13"/>
                    <a:pt x="9" y="11"/>
                    <a:pt x="9" y="10"/>
                  </a:cubicBezTo>
                  <a:cubicBezTo>
                    <a:pt x="10" y="6"/>
                    <a:pt x="6"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 name="Freeform 1247">
              <a:extLst>
                <a:ext uri="{FF2B5EF4-FFF2-40B4-BE49-F238E27FC236}">
                  <a16:creationId xmlns:a16="http://schemas.microsoft.com/office/drawing/2014/main" id="{7C389C37-7385-4540-A1FE-005B4770D4AB}"/>
                </a:ext>
              </a:extLst>
            </p:cNvPr>
            <p:cNvSpPr>
              <a:spLocks/>
            </p:cNvSpPr>
            <p:nvPr/>
          </p:nvSpPr>
          <p:spPr bwMode="auto">
            <a:xfrm>
              <a:off x="3096768" y="4859260"/>
              <a:ext cx="9396" cy="9396"/>
            </a:xfrm>
            <a:custGeom>
              <a:avLst/>
              <a:gdLst>
                <a:gd name="T0" fmla="*/ 1 w 3"/>
                <a:gd name="T1" fmla="*/ 0 h 3"/>
                <a:gd name="T2" fmla="*/ 0 w 3"/>
                <a:gd name="T3" fmla="*/ 3 h 3"/>
                <a:gd name="T4" fmla="*/ 3 w 3"/>
                <a:gd name="T5" fmla="*/ 2 h 3"/>
                <a:gd name="T6" fmla="*/ 1 w 3"/>
                <a:gd name="T7" fmla="*/ 0 h 3"/>
              </a:gdLst>
              <a:ahLst/>
              <a:cxnLst>
                <a:cxn ang="0">
                  <a:pos x="T0" y="T1"/>
                </a:cxn>
                <a:cxn ang="0">
                  <a:pos x="T2" y="T3"/>
                </a:cxn>
                <a:cxn ang="0">
                  <a:pos x="T4" y="T5"/>
                </a:cxn>
                <a:cxn ang="0">
                  <a:pos x="T6" y="T7"/>
                </a:cxn>
              </a:cxnLst>
              <a:rect l="0" t="0" r="r" b="b"/>
              <a:pathLst>
                <a:path w="3" h="3">
                  <a:moveTo>
                    <a:pt x="1" y="0"/>
                  </a:moveTo>
                  <a:cubicBezTo>
                    <a:pt x="1" y="0"/>
                    <a:pt x="0" y="1"/>
                    <a:pt x="0" y="3"/>
                  </a:cubicBezTo>
                  <a:cubicBezTo>
                    <a:pt x="1" y="3"/>
                    <a:pt x="2" y="2"/>
                    <a:pt x="3" y="2"/>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 name="Freeform 1248">
              <a:extLst>
                <a:ext uri="{FF2B5EF4-FFF2-40B4-BE49-F238E27FC236}">
                  <a16:creationId xmlns:a16="http://schemas.microsoft.com/office/drawing/2014/main" id="{BF3B9BB0-B56D-4061-94DD-A0D6E6EE9795}"/>
                </a:ext>
              </a:extLst>
            </p:cNvPr>
            <p:cNvSpPr>
              <a:spLocks/>
            </p:cNvSpPr>
            <p:nvPr/>
          </p:nvSpPr>
          <p:spPr bwMode="auto">
            <a:xfrm>
              <a:off x="3043075" y="4824360"/>
              <a:ext cx="53693" cy="28189"/>
            </a:xfrm>
            <a:custGeom>
              <a:avLst/>
              <a:gdLst>
                <a:gd name="T0" fmla="*/ 8 w 17"/>
                <a:gd name="T1" fmla="*/ 0 h 9"/>
                <a:gd name="T2" fmla="*/ 8 w 17"/>
                <a:gd name="T3" fmla="*/ 0 h 9"/>
                <a:gd name="T4" fmla="*/ 5 w 17"/>
                <a:gd name="T5" fmla="*/ 3 h 9"/>
                <a:gd name="T6" fmla="*/ 4 w 17"/>
                <a:gd name="T7" fmla="*/ 2 h 9"/>
                <a:gd name="T8" fmla="*/ 2 w 17"/>
                <a:gd name="T9" fmla="*/ 0 h 9"/>
                <a:gd name="T10" fmla="*/ 2 w 17"/>
                <a:gd name="T11" fmla="*/ 0 h 9"/>
                <a:gd name="T12" fmla="*/ 2 w 17"/>
                <a:gd name="T13" fmla="*/ 5 h 9"/>
                <a:gd name="T14" fmla="*/ 0 w 17"/>
                <a:gd name="T15" fmla="*/ 6 h 9"/>
                <a:gd name="T16" fmla="*/ 7 w 17"/>
                <a:gd name="T17" fmla="*/ 9 h 9"/>
                <a:gd name="T18" fmla="*/ 12 w 17"/>
                <a:gd name="T19" fmla="*/ 9 h 9"/>
                <a:gd name="T20" fmla="*/ 15 w 17"/>
                <a:gd name="T21" fmla="*/ 9 h 9"/>
                <a:gd name="T22" fmla="*/ 15 w 17"/>
                <a:gd name="T23" fmla="*/ 9 h 9"/>
                <a:gd name="T24" fmla="*/ 6 w 17"/>
                <a:gd name="T25" fmla="*/ 4 h 9"/>
                <a:gd name="T26" fmla="*/ 5 w 17"/>
                <a:gd name="T27" fmla="*/ 3 h 9"/>
                <a:gd name="T28" fmla="*/ 6 w 17"/>
                <a:gd name="T29" fmla="*/ 3 h 9"/>
                <a:gd name="T30" fmla="*/ 7 w 17"/>
                <a:gd name="T31" fmla="*/ 3 h 9"/>
                <a:gd name="T32" fmla="*/ 17 w 17"/>
                <a:gd name="T33" fmla="*/ 7 h 9"/>
                <a:gd name="T34" fmla="*/ 12 w 17"/>
                <a:gd name="T35" fmla="*/ 1 h 9"/>
                <a:gd name="T36" fmla="*/ 8 w 17"/>
                <a:gd name="T3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9">
                  <a:moveTo>
                    <a:pt x="8" y="0"/>
                  </a:moveTo>
                  <a:cubicBezTo>
                    <a:pt x="8" y="0"/>
                    <a:pt x="8" y="0"/>
                    <a:pt x="8" y="0"/>
                  </a:cubicBezTo>
                  <a:cubicBezTo>
                    <a:pt x="6" y="0"/>
                    <a:pt x="6" y="2"/>
                    <a:pt x="5" y="3"/>
                  </a:cubicBezTo>
                  <a:cubicBezTo>
                    <a:pt x="4" y="2"/>
                    <a:pt x="4" y="2"/>
                    <a:pt x="4" y="2"/>
                  </a:cubicBezTo>
                  <a:cubicBezTo>
                    <a:pt x="4" y="2"/>
                    <a:pt x="3" y="0"/>
                    <a:pt x="2" y="0"/>
                  </a:cubicBezTo>
                  <a:cubicBezTo>
                    <a:pt x="2" y="0"/>
                    <a:pt x="2" y="0"/>
                    <a:pt x="2" y="0"/>
                  </a:cubicBezTo>
                  <a:cubicBezTo>
                    <a:pt x="0" y="0"/>
                    <a:pt x="2" y="3"/>
                    <a:pt x="2" y="5"/>
                  </a:cubicBezTo>
                  <a:cubicBezTo>
                    <a:pt x="1" y="5"/>
                    <a:pt x="0" y="5"/>
                    <a:pt x="0" y="6"/>
                  </a:cubicBezTo>
                  <a:cubicBezTo>
                    <a:pt x="0" y="8"/>
                    <a:pt x="4" y="9"/>
                    <a:pt x="7" y="9"/>
                  </a:cubicBezTo>
                  <a:cubicBezTo>
                    <a:pt x="9" y="9"/>
                    <a:pt x="11" y="9"/>
                    <a:pt x="12" y="9"/>
                  </a:cubicBezTo>
                  <a:cubicBezTo>
                    <a:pt x="13" y="9"/>
                    <a:pt x="14" y="9"/>
                    <a:pt x="15" y="9"/>
                  </a:cubicBezTo>
                  <a:cubicBezTo>
                    <a:pt x="15" y="9"/>
                    <a:pt x="15" y="9"/>
                    <a:pt x="15" y="9"/>
                  </a:cubicBezTo>
                  <a:cubicBezTo>
                    <a:pt x="12" y="5"/>
                    <a:pt x="9" y="6"/>
                    <a:pt x="6" y="4"/>
                  </a:cubicBezTo>
                  <a:cubicBezTo>
                    <a:pt x="5" y="3"/>
                    <a:pt x="5" y="3"/>
                    <a:pt x="5" y="3"/>
                  </a:cubicBezTo>
                  <a:cubicBezTo>
                    <a:pt x="5" y="3"/>
                    <a:pt x="6" y="3"/>
                    <a:pt x="6" y="3"/>
                  </a:cubicBezTo>
                  <a:cubicBezTo>
                    <a:pt x="6" y="3"/>
                    <a:pt x="7" y="3"/>
                    <a:pt x="7" y="3"/>
                  </a:cubicBezTo>
                  <a:cubicBezTo>
                    <a:pt x="10" y="3"/>
                    <a:pt x="16" y="7"/>
                    <a:pt x="17" y="7"/>
                  </a:cubicBezTo>
                  <a:cubicBezTo>
                    <a:pt x="16" y="4"/>
                    <a:pt x="15" y="2"/>
                    <a:pt x="12" y="1"/>
                  </a:cubicBezTo>
                  <a:cubicBezTo>
                    <a:pt x="11"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 name="Freeform 1249">
              <a:extLst>
                <a:ext uri="{FF2B5EF4-FFF2-40B4-BE49-F238E27FC236}">
                  <a16:creationId xmlns:a16="http://schemas.microsoft.com/office/drawing/2014/main" id="{AAC11BDE-71DB-4E1C-8E78-56574AE53178}"/>
                </a:ext>
              </a:extLst>
            </p:cNvPr>
            <p:cNvSpPr>
              <a:spLocks/>
            </p:cNvSpPr>
            <p:nvPr/>
          </p:nvSpPr>
          <p:spPr bwMode="auto">
            <a:xfrm>
              <a:off x="5349208" y="5217664"/>
              <a:ext cx="16108" cy="9396"/>
            </a:xfrm>
            <a:custGeom>
              <a:avLst/>
              <a:gdLst>
                <a:gd name="T0" fmla="*/ 0 w 5"/>
                <a:gd name="T1" fmla="*/ 0 h 3"/>
                <a:gd name="T2" fmla="*/ 4 w 5"/>
                <a:gd name="T3" fmla="*/ 3 h 3"/>
                <a:gd name="T4" fmla="*/ 5 w 5"/>
                <a:gd name="T5" fmla="*/ 3 h 3"/>
                <a:gd name="T6" fmla="*/ 0 w 5"/>
                <a:gd name="T7" fmla="*/ 0 h 3"/>
              </a:gdLst>
              <a:ahLst/>
              <a:cxnLst>
                <a:cxn ang="0">
                  <a:pos x="T0" y="T1"/>
                </a:cxn>
                <a:cxn ang="0">
                  <a:pos x="T2" y="T3"/>
                </a:cxn>
                <a:cxn ang="0">
                  <a:pos x="T4" y="T5"/>
                </a:cxn>
                <a:cxn ang="0">
                  <a:pos x="T6" y="T7"/>
                </a:cxn>
              </a:cxnLst>
              <a:rect l="0" t="0" r="r" b="b"/>
              <a:pathLst>
                <a:path w="5" h="3">
                  <a:moveTo>
                    <a:pt x="0" y="0"/>
                  </a:moveTo>
                  <a:cubicBezTo>
                    <a:pt x="0" y="1"/>
                    <a:pt x="2" y="3"/>
                    <a:pt x="4" y="3"/>
                  </a:cubicBezTo>
                  <a:cubicBezTo>
                    <a:pt x="4" y="3"/>
                    <a:pt x="4" y="3"/>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 name="Freeform 1250">
              <a:extLst>
                <a:ext uri="{FF2B5EF4-FFF2-40B4-BE49-F238E27FC236}">
                  <a16:creationId xmlns:a16="http://schemas.microsoft.com/office/drawing/2014/main" id="{0F1DEC9A-F126-4A54-B3E4-B0C26CE48456}"/>
                </a:ext>
              </a:extLst>
            </p:cNvPr>
            <p:cNvSpPr>
              <a:spLocks/>
            </p:cNvSpPr>
            <p:nvPr/>
          </p:nvSpPr>
          <p:spPr bwMode="auto">
            <a:xfrm>
              <a:off x="4492797" y="4935774"/>
              <a:ext cx="12081" cy="0"/>
            </a:xfrm>
            <a:custGeom>
              <a:avLst/>
              <a:gdLst>
                <a:gd name="T0" fmla="*/ 3 w 4"/>
                <a:gd name="T1" fmla="*/ 0 w 4"/>
                <a:gd name="T2" fmla="*/ 4 w 4"/>
                <a:gd name="T3" fmla="*/ 3 w 4"/>
              </a:gdLst>
              <a:ahLst/>
              <a:cxnLst>
                <a:cxn ang="0">
                  <a:pos x="T0" y="0"/>
                </a:cxn>
                <a:cxn ang="0">
                  <a:pos x="T1" y="0"/>
                </a:cxn>
                <a:cxn ang="0">
                  <a:pos x="T2" y="0"/>
                </a:cxn>
                <a:cxn ang="0">
                  <a:pos x="T3" y="0"/>
                </a:cxn>
              </a:cxnLst>
              <a:rect l="0" t="0" r="r" b="b"/>
              <a:pathLst>
                <a:path w="4">
                  <a:moveTo>
                    <a:pt x="3" y="0"/>
                  </a:moveTo>
                  <a:cubicBezTo>
                    <a:pt x="2" y="0"/>
                    <a:pt x="1" y="0"/>
                    <a:pt x="0" y="0"/>
                  </a:cubicBezTo>
                  <a:cubicBezTo>
                    <a:pt x="1" y="0"/>
                    <a:pt x="3" y="0"/>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 name="Freeform 1251">
              <a:extLst>
                <a:ext uri="{FF2B5EF4-FFF2-40B4-BE49-F238E27FC236}">
                  <a16:creationId xmlns:a16="http://schemas.microsoft.com/office/drawing/2014/main" id="{555D9299-BCCD-4687-A09F-C5B4787C480B}"/>
                </a:ext>
              </a:extLst>
            </p:cNvPr>
            <p:cNvSpPr>
              <a:spLocks/>
            </p:cNvSpPr>
            <p:nvPr/>
          </p:nvSpPr>
          <p:spPr bwMode="auto">
            <a:xfrm>
              <a:off x="4635085" y="5052557"/>
              <a:ext cx="6712" cy="2685"/>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2" y="1"/>
                    <a:pt x="2"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 name="Freeform 1252">
              <a:extLst>
                <a:ext uri="{FF2B5EF4-FFF2-40B4-BE49-F238E27FC236}">
                  <a16:creationId xmlns:a16="http://schemas.microsoft.com/office/drawing/2014/main" id="{D3DC6E30-CFD8-4F67-BCBD-79B375B88F87}"/>
                </a:ext>
              </a:extLst>
            </p:cNvPr>
            <p:cNvSpPr>
              <a:spLocks/>
            </p:cNvSpPr>
            <p:nvPr/>
          </p:nvSpPr>
          <p:spPr bwMode="auto">
            <a:xfrm>
              <a:off x="3147777" y="4843152"/>
              <a:ext cx="9396" cy="6712"/>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 name="Freeform 1254">
              <a:extLst>
                <a:ext uri="{FF2B5EF4-FFF2-40B4-BE49-F238E27FC236}">
                  <a16:creationId xmlns:a16="http://schemas.microsoft.com/office/drawing/2014/main" id="{ABD687AE-3D4F-4EAE-865F-9E48310063BC}"/>
                </a:ext>
              </a:extLst>
            </p:cNvPr>
            <p:cNvSpPr>
              <a:spLocks/>
            </p:cNvSpPr>
            <p:nvPr/>
          </p:nvSpPr>
          <p:spPr bwMode="auto">
            <a:xfrm>
              <a:off x="3175966" y="4852549"/>
              <a:ext cx="6712" cy="2685"/>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0" y="0"/>
                    <a:pt x="1" y="1"/>
                    <a:pt x="2"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 name="Freeform 1255">
              <a:extLst>
                <a:ext uri="{FF2B5EF4-FFF2-40B4-BE49-F238E27FC236}">
                  <a16:creationId xmlns:a16="http://schemas.microsoft.com/office/drawing/2014/main" id="{85EFB21A-61D5-484A-A84A-456770161F7B}"/>
                </a:ext>
              </a:extLst>
            </p:cNvPr>
            <p:cNvSpPr>
              <a:spLocks/>
            </p:cNvSpPr>
            <p:nvPr/>
          </p:nvSpPr>
          <p:spPr bwMode="auto">
            <a:xfrm>
              <a:off x="3112876" y="4843152"/>
              <a:ext cx="9396" cy="16108"/>
            </a:xfrm>
            <a:custGeom>
              <a:avLst/>
              <a:gdLst>
                <a:gd name="T0" fmla="*/ 0 w 3"/>
                <a:gd name="T1" fmla="*/ 0 h 5"/>
                <a:gd name="T2" fmla="*/ 1 w 3"/>
                <a:gd name="T3" fmla="*/ 5 h 5"/>
                <a:gd name="T4" fmla="*/ 3 w 3"/>
                <a:gd name="T5" fmla="*/ 4 h 5"/>
                <a:gd name="T6" fmla="*/ 0 w 3"/>
                <a:gd name="T7" fmla="*/ 0 h 5"/>
              </a:gdLst>
              <a:ahLst/>
              <a:cxnLst>
                <a:cxn ang="0">
                  <a:pos x="T0" y="T1"/>
                </a:cxn>
                <a:cxn ang="0">
                  <a:pos x="T2" y="T3"/>
                </a:cxn>
                <a:cxn ang="0">
                  <a:pos x="T4" y="T5"/>
                </a:cxn>
                <a:cxn ang="0">
                  <a:pos x="T6" y="T7"/>
                </a:cxn>
              </a:cxnLst>
              <a:rect l="0" t="0" r="r" b="b"/>
              <a:pathLst>
                <a:path w="3" h="5">
                  <a:moveTo>
                    <a:pt x="0" y="0"/>
                  </a:moveTo>
                  <a:cubicBezTo>
                    <a:pt x="0" y="2"/>
                    <a:pt x="0" y="5"/>
                    <a:pt x="1" y="5"/>
                  </a:cubicBezTo>
                  <a:cubicBezTo>
                    <a:pt x="2" y="5"/>
                    <a:pt x="3" y="5"/>
                    <a:pt x="3"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 name="Freeform 1256">
              <a:extLst>
                <a:ext uri="{FF2B5EF4-FFF2-40B4-BE49-F238E27FC236}">
                  <a16:creationId xmlns:a16="http://schemas.microsoft.com/office/drawing/2014/main" id="{2E0D3BCF-ECE8-4403-B4F4-CFFDB12E2F38}"/>
                </a:ext>
              </a:extLst>
            </p:cNvPr>
            <p:cNvSpPr>
              <a:spLocks/>
            </p:cNvSpPr>
            <p:nvPr/>
          </p:nvSpPr>
          <p:spPr bwMode="auto">
            <a:xfrm>
              <a:off x="4937110" y="5515663"/>
              <a:ext cx="25504" cy="9396"/>
            </a:xfrm>
            <a:custGeom>
              <a:avLst/>
              <a:gdLst>
                <a:gd name="T0" fmla="*/ 0 w 8"/>
                <a:gd name="T1" fmla="*/ 0 h 3"/>
                <a:gd name="T2" fmla="*/ 4 w 8"/>
                <a:gd name="T3" fmla="*/ 3 h 3"/>
                <a:gd name="T4" fmla="*/ 4 w 8"/>
                <a:gd name="T5" fmla="*/ 3 h 3"/>
                <a:gd name="T6" fmla="*/ 8 w 8"/>
                <a:gd name="T7" fmla="*/ 2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cubicBezTo>
                    <a:pt x="0" y="2"/>
                    <a:pt x="2" y="3"/>
                    <a:pt x="4" y="3"/>
                  </a:cubicBezTo>
                  <a:cubicBezTo>
                    <a:pt x="4" y="3"/>
                    <a:pt x="4" y="3"/>
                    <a:pt x="4" y="3"/>
                  </a:cubicBezTo>
                  <a:cubicBezTo>
                    <a:pt x="6" y="3"/>
                    <a:pt x="6" y="3"/>
                    <a:pt x="8" y="2"/>
                  </a:cubicBezTo>
                  <a:cubicBezTo>
                    <a:pt x="5"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 name="Freeform 1257">
              <a:extLst>
                <a:ext uri="{FF2B5EF4-FFF2-40B4-BE49-F238E27FC236}">
                  <a16:creationId xmlns:a16="http://schemas.microsoft.com/office/drawing/2014/main" id="{3E167864-08A5-4B8F-A19D-F7485B86D2E2}"/>
                </a:ext>
              </a:extLst>
            </p:cNvPr>
            <p:cNvSpPr>
              <a:spLocks/>
            </p:cNvSpPr>
            <p:nvPr/>
          </p:nvSpPr>
          <p:spPr bwMode="auto">
            <a:xfrm>
              <a:off x="4381383" y="5341159"/>
              <a:ext cx="9396" cy="53693"/>
            </a:xfrm>
            <a:custGeom>
              <a:avLst/>
              <a:gdLst>
                <a:gd name="T0" fmla="*/ 3 w 3"/>
                <a:gd name="T1" fmla="*/ 0 h 17"/>
                <a:gd name="T2" fmla="*/ 3 w 3"/>
                <a:gd name="T3" fmla="*/ 17 h 17"/>
                <a:gd name="T4" fmla="*/ 3 w 3"/>
                <a:gd name="T5" fmla="*/ 0 h 17"/>
              </a:gdLst>
              <a:ahLst/>
              <a:cxnLst>
                <a:cxn ang="0">
                  <a:pos x="T0" y="T1"/>
                </a:cxn>
                <a:cxn ang="0">
                  <a:pos x="T2" y="T3"/>
                </a:cxn>
                <a:cxn ang="0">
                  <a:pos x="T4" y="T5"/>
                </a:cxn>
              </a:cxnLst>
              <a:rect l="0" t="0" r="r" b="b"/>
              <a:pathLst>
                <a:path w="3" h="17">
                  <a:moveTo>
                    <a:pt x="3" y="0"/>
                  </a:moveTo>
                  <a:cubicBezTo>
                    <a:pt x="0" y="4"/>
                    <a:pt x="2" y="12"/>
                    <a:pt x="3" y="17"/>
                  </a:cubicBezTo>
                  <a:cubicBezTo>
                    <a:pt x="3" y="11"/>
                    <a:pt x="3" y="6"/>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 name="Freeform 1258">
              <a:extLst>
                <a:ext uri="{FF2B5EF4-FFF2-40B4-BE49-F238E27FC236}">
                  <a16:creationId xmlns:a16="http://schemas.microsoft.com/office/drawing/2014/main" id="{7C526195-6E99-45D0-989A-5237EE5431B3}"/>
                </a:ext>
              </a:extLst>
            </p:cNvPr>
            <p:cNvSpPr>
              <a:spLocks/>
            </p:cNvSpPr>
            <p:nvPr/>
          </p:nvSpPr>
          <p:spPr bwMode="auto">
            <a:xfrm>
              <a:off x="3201470" y="4894161"/>
              <a:ext cx="9396" cy="12081"/>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0" y="3"/>
                    <a:pt x="2" y="3"/>
                    <a:pt x="3" y="4"/>
                  </a:cubicBezTo>
                  <a:cubicBezTo>
                    <a:pt x="3"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 name="Freeform 1259">
              <a:extLst>
                <a:ext uri="{FF2B5EF4-FFF2-40B4-BE49-F238E27FC236}">
                  <a16:creationId xmlns:a16="http://schemas.microsoft.com/office/drawing/2014/main" id="{0C595B0B-8516-4380-B773-92905F970EFE}"/>
                </a:ext>
              </a:extLst>
            </p:cNvPr>
            <p:cNvSpPr>
              <a:spLocks/>
            </p:cNvSpPr>
            <p:nvPr/>
          </p:nvSpPr>
          <p:spPr bwMode="auto">
            <a:xfrm>
              <a:off x="5244505" y="5449889"/>
              <a:ext cx="2685" cy="268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 name="Freeform 1260">
              <a:extLst>
                <a:ext uri="{FF2B5EF4-FFF2-40B4-BE49-F238E27FC236}">
                  <a16:creationId xmlns:a16="http://schemas.microsoft.com/office/drawing/2014/main" id="{37A83382-3A63-4185-8500-7036DE682FAB}"/>
                </a:ext>
              </a:extLst>
            </p:cNvPr>
            <p:cNvSpPr>
              <a:spLocks noEditPoints="1"/>
            </p:cNvSpPr>
            <p:nvPr/>
          </p:nvSpPr>
          <p:spPr bwMode="auto">
            <a:xfrm>
              <a:off x="5231082" y="5443177"/>
              <a:ext cx="13423" cy="6712"/>
            </a:xfrm>
            <a:custGeom>
              <a:avLst/>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2" y="1"/>
                    <a:pt x="4" y="2"/>
                  </a:cubicBezTo>
                  <a:cubicBezTo>
                    <a:pt x="3" y="0"/>
                    <a:pt x="1"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 name="Freeform 1261">
              <a:extLst>
                <a:ext uri="{FF2B5EF4-FFF2-40B4-BE49-F238E27FC236}">
                  <a16:creationId xmlns:a16="http://schemas.microsoft.com/office/drawing/2014/main" id="{9C44CABC-C54A-4ADD-B5FC-6DD3881F9336}"/>
                </a:ext>
              </a:extLst>
            </p:cNvPr>
            <p:cNvSpPr>
              <a:spLocks/>
            </p:cNvSpPr>
            <p:nvPr/>
          </p:nvSpPr>
          <p:spPr bwMode="auto">
            <a:xfrm>
              <a:off x="4523671" y="5255250"/>
              <a:ext cx="41612" cy="60405"/>
            </a:xfrm>
            <a:custGeom>
              <a:avLst/>
              <a:gdLst>
                <a:gd name="T0" fmla="*/ 10 w 13"/>
                <a:gd name="T1" fmla="*/ 0 h 19"/>
                <a:gd name="T2" fmla="*/ 6 w 13"/>
                <a:gd name="T3" fmla="*/ 2 h 19"/>
                <a:gd name="T4" fmla="*/ 2 w 13"/>
                <a:gd name="T5" fmla="*/ 4 h 19"/>
                <a:gd name="T6" fmla="*/ 1 w 13"/>
                <a:gd name="T7" fmla="*/ 13 h 19"/>
                <a:gd name="T8" fmla="*/ 3 w 13"/>
                <a:gd name="T9" fmla="*/ 18 h 19"/>
                <a:gd name="T10" fmla="*/ 6 w 13"/>
                <a:gd name="T11" fmla="*/ 19 h 19"/>
                <a:gd name="T12" fmla="*/ 8 w 13"/>
                <a:gd name="T13" fmla="*/ 17 h 19"/>
                <a:gd name="T14" fmla="*/ 9 w 13"/>
                <a:gd name="T15" fmla="*/ 15 h 19"/>
                <a:gd name="T16" fmla="*/ 9 w 13"/>
                <a:gd name="T17" fmla="*/ 11 h 19"/>
                <a:gd name="T18" fmla="*/ 11 w 13"/>
                <a:gd name="T19" fmla="*/ 8 h 19"/>
                <a:gd name="T20" fmla="*/ 10 w 13"/>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9">
                  <a:moveTo>
                    <a:pt x="10" y="0"/>
                  </a:moveTo>
                  <a:cubicBezTo>
                    <a:pt x="8" y="0"/>
                    <a:pt x="8" y="1"/>
                    <a:pt x="6" y="2"/>
                  </a:cubicBezTo>
                  <a:cubicBezTo>
                    <a:pt x="5" y="3"/>
                    <a:pt x="3" y="2"/>
                    <a:pt x="2" y="4"/>
                  </a:cubicBezTo>
                  <a:cubicBezTo>
                    <a:pt x="0" y="6"/>
                    <a:pt x="4" y="9"/>
                    <a:pt x="1" y="13"/>
                  </a:cubicBezTo>
                  <a:cubicBezTo>
                    <a:pt x="0" y="18"/>
                    <a:pt x="0" y="17"/>
                    <a:pt x="3" y="18"/>
                  </a:cubicBezTo>
                  <a:cubicBezTo>
                    <a:pt x="5" y="19"/>
                    <a:pt x="6" y="19"/>
                    <a:pt x="6" y="19"/>
                  </a:cubicBezTo>
                  <a:cubicBezTo>
                    <a:pt x="7" y="19"/>
                    <a:pt x="7" y="18"/>
                    <a:pt x="8" y="17"/>
                  </a:cubicBezTo>
                  <a:cubicBezTo>
                    <a:pt x="9" y="16"/>
                    <a:pt x="9" y="17"/>
                    <a:pt x="9" y="15"/>
                  </a:cubicBezTo>
                  <a:cubicBezTo>
                    <a:pt x="9" y="13"/>
                    <a:pt x="8" y="14"/>
                    <a:pt x="9" y="11"/>
                  </a:cubicBezTo>
                  <a:cubicBezTo>
                    <a:pt x="10" y="10"/>
                    <a:pt x="11" y="9"/>
                    <a:pt x="11" y="8"/>
                  </a:cubicBezTo>
                  <a:cubicBezTo>
                    <a:pt x="13" y="6"/>
                    <a:pt x="11"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 name="Freeform 1262">
              <a:extLst>
                <a:ext uri="{FF2B5EF4-FFF2-40B4-BE49-F238E27FC236}">
                  <a16:creationId xmlns:a16="http://schemas.microsoft.com/office/drawing/2014/main" id="{168705F1-9873-482C-9083-C1F6AE3067F2}"/>
                </a:ext>
              </a:extLst>
            </p:cNvPr>
            <p:cNvSpPr>
              <a:spLocks/>
            </p:cNvSpPr>
            <p:nvPr/>
          </p:nvSpPr>
          <p:spPr bwMode="auto">
            <a:xfrm>
              <a:off x="4574679" y="5529086"/>
              <a:ext cx="32216" cy="9396"/>
            </a:xfrm>
            <a:custGeom>
              <a:avLst/>
              <a:gdLst>
                <a:gd name="T0" fmla="*/ 6 w 10"/>
                <a:gd name="T1" fmla="*/ 0 h 3"/>
                <a:gd name="T2" fmla="*/ 3 w 10"/>
                <a:gd name="T3" fmla="*/ 0 h 3"/>
                <a:gd name="T4" fmla="*/ 4 w 10"/>
                <a:gd name="T5" fmla="*/ 3 h 3"/>
                <a:gd name="T6" fmla="*/ 7 w 10"/>
                <a:gd name="T7" fmla="*/ 3 h 3"/>
                <a:gd name="T8" fmla="*/ 7 w 10"/>
                <a:gd name="T9" fmla="*/ 3 h 3"/>
                <a:gd name="T10" fmla="*/ 7 w 10"/>
                <a:gd name="T11" fmla="*/ 3 h 3"/>
                <a:gd name="T12" fmla="*/ 8 w 10"/>
                <a:gd name="T13" fmla="*/ 3 h 3"/>
                <a:gd name="T14" fmla="*/ 9 w 10"/>
                <a:gd name="T15" fmla="*/ 3 h 3"/>
                <a:gd name="T16" fmla="*/ 6 w 10"/>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
                  <a:moveTo>
                    <a:pt x="6" y="0"/>
                  </a:moveTo>
                  <a:cubicBezTo>
                    <a:pt x="4" y="0"/>
                    <a:pt x="3" y="0"/>
                    <a:pt x="3" y="0"/>
                  </a:cubicBezTo>
                  <a:cubicBezTo>
                    <a:pt x="0" y="3"/>
                    <a:pt x="2" y="3"/>
                    <a:pt x="4" y="3"/>
                  </a:cubicBezTo>
                  <a:cubicBezTo>
                    <a:pt x="5" y="3"/>
                    <a:pt x="6" y="3"/>
                    <a:pt x="7" y="3"/>
                  </a:cubicBezTo>
                  <a:cubicBezTo>
                    <a:pt x="7" y="3"/>
                    <a:pt x="7" y="3"/>
                    <a:pt x="7" y="3"/>
                  </a:cubicBezTo>
                  <a:cubicBezTo>
                    <a:pt x="7" y="3"/>
                    <a:pt x="7" y="3"/>
                    <a:pt x="7" y="3"/>
                  </a:cubicBezTo>
                  <a:cubicBezTo>
                    <a:pt x="8" y="3"/>
                    <a:pt x="8" y="3"/>
                    <a:pt x="8" y="3"/>
                  </a:cubicBezTo>
                  <a:cubicBezTo>
                    <a:pt x="8" y="3"/>
                    <a:pt x="8" y="3"/>
                    <a:pt x="9" y="3"/>
                  </a:cubicBezTo>
                  <a:cubicBezTo>
                    <a:pt x="10"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 name="Freeform 1263">
              <a:extLst>
                <a:ext uri="{FF2B5EF4-FFF2-40B4-BE49-F238E27FC236}">
                  <a16:creationId xmlns:a16="http://schemas.microsoft.com/office/drawing/2014/main" id="{03E4BF83-06CD-486C-949F-30E0B65599FE}"/>
                </a:ext>
              </a:extLst>
            </p:cNvPr>
            <p:cNvSpPr>
              <a:spLocks/>
            </p:cNvSpPr>
            <p:nvPr/>
          </p:nvSpPr>
          <p:spPr bwMode="auto">
            <a:xfrm>
              <a:off x="4483401" y="5694194"/>
              <a:ext cx="21477" cy="9396"/>
            </a:xfrm>
            <a:custGeom>
              <a:avLst/>
              <a:gdLst>
                <a:gd name="T0" fmla="*/ 7 w 7"/>
                <a:gd name="T1" fmla="*/ 0 h 3"/>
                <a:gd name="T2" fmla="*/ 0 w 7"/>
                <a:gd name="T3" fmla="*/ 2 h 3"/>
                <a:gd name="T4" fmla="*/ 3 w 7"/>
                <a:gd name="T5" fmla="*/ 3 h 3"/>
                <a:gd name="T6" fmla="*/ 7 w 7"/>
                <a:gd name="T7" fmla="*/ 0 h 3"/>
              </a:gdLst>
              <a:ahLst/>
              <a:cxnLst>
                <a:cxn ang="0">
                  <a:pos x="T0" y="T1"/>
                </a:cxn>
                <a:cxn ang="0">
                  <a:pos x="T2" y="T3"/>
                </a:cxn>
                <a:cxn ang="0">
                  <a:pos x="T4" y="T5"/>
                </a:cxn>
                <a:cxn ang="0">
                  <a:pos x="T6" y="T7"/>
                </a:cxn>
              </a:cxnLst>
              <a:rect l="0" t="0" r="r" b="b"/>
              <a:pathLst>
                <a:path w="7" h="3">
                  <a:moveTo>
                    <a:pt x="7" y="0"/>
                  </a:moveTo>
                  <a:cubicBezTo>
                    <a:pt x="4" y="0"/>
                    <a:pt x="2" y="1"/>
                    <a:pt x="0" y="2"/>
                  </a:cubicBezTo>
                  <a:cubicBezTo>
                    <a:pt x="1" y="3"/>
                    <a:pt x="2" y="3"/>
                    <a:pt x="3" y="3"/>
                  </a:cubicBezTo>
                  <a:cubicBezTo>
                    <a:pt x="5" y="3"/>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 name="Freeform 1264">
              <a:extLst>
                <a:ext uri="{FF2B5EF4-FFF2-40B4-BE49-F238E27FC236}">
                  <a16:creationId xmlns:a16="http://schemas.microsoft.com/office/drawing/2014/main" id="{C332F035-9643-4049-AE70-9CCDBD8A861E}"/>
                </a:ext>
              </a:extLst>
            </p:cNvPr>
            <p:cNvSpPr>
              <a:spLocks/>
            </p:cNvSpPr>
            <p:nvPr/>
          </p:nvSpPr>
          <p:spPr bwMode="auto">
            <a:xfrm>
              <a:off x="4886101" y="4954566"/>
              <a:ext cx="16108" cy="16108"/>
            </a:xfrm>
            <a:custGeom>
              <a:avLst/>
              <a:gdLst>
                <a:gd name="T0" fmla="*/ 3 w 5"/>
                <a:gd name="T1" fmla="*/ 0 h 5"/>
                <a:gd name="T2" fmla="*/ 1 w 5"/>
                <a:gd name="T3" fmla="*/ 4 h 5"/>
                <a:gd name="T4" fmla="*/ 3 w 5"/>
                <a:gd name="T5" fmla="*/ 5 h 5"/>
                <a:gd name="T6" fmla="*/ 3 w 5"/>
                <a:gd name="T7" fmla="*/ 0 h 5"/>
              </a:gdLst>
              <a:ahLst/>
              <a:cxnLst>
                <a:cxn ang="0">
                  <a:pos x="T0" y="T1"/>
                </a:cxn>
                <a:cxn ang="0">
                  <a:pos x="T2" y="T3"/>
                </a:cxn>
                <a:cxn ang="0">
                  <a:pos x="T4" y="T5"/>
                </a:cxn>
                <a:cxn ang="0">
                  <a:pos x="T6" y="T7"/>
                </a:cxn>
              </a:cxnLst>
              <a:rect l="0" t="0" r="r" b="b"/>
              <a:pathLst>
                <a:path w="5" h="5">
                  <a:moveTo>
                    <a:pt x="3" y="0"/>
                  </a:moveTo>
                  <a:cubicBezTo>
                    <a:pt x="2" y="1"/>
                    <a:pt x="0" y="3"/>
                    <a:pt x="1" y="4"/>
                  </a:cubicBezTo>
                  <a:cubicBezTo>
                    <a:pt x="3" y="5"/>
                    <a:pt x="3" y="5"/>
                    <a:pt x="3" y="5"/>
                  </a:cubicBezTo>
                  <a:cubicBezTo>
                    <a:pt x="5"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 name="Freeform 1265">
              <a:extLst>
                <a:ext uri="{FF2B5EF4-FFF2-40B4-BE49-F238E27FC236}">
                  <a16:creationId xmlns:a16="http://schemas.microsoft.com/office/drawing/2014/main" id="{2FF875BC-0CFE-4D0A-9B3C-4446F7DF90FF}"/>
                </a:ext>
              </a:extLst>
            </p:cNvPr>
            <p:cNvSpPr>
              <a:spLocks/>
            </p:cNvSpPr>
            <p:nvPr/>
          </p:nvSpPr>
          <p:spPr bwMode="auto">
            <a:xfrm>
              <a:off x="5047182" y="4906242"/>
              <a:ext cx="20135" cy="18793"/>
            </a:xfrm>
            <a:custGeom>
              <a:avLst/>
              <a:gdLst>
                <a:gd name="T0" fmla="*/ 0 w 6"/>
                <a:gd name="T1" fmla="*/ 0 h 6"/>
                <a:gd name="T2" fmla="*/ 6 w 6"/>
                <a:gd name="T3" fmla="*/ 6 h 6"/>
                <a:gd name="T4" fmla="*/ 0 w 6"/>
                <a:gd name="T5" fmla="*/ 0 h 6"/>
              </a:gdLst>
              <a:ahLst/>
              <a:cxnLst>
                <a:cxn ang="0">
                  <a:pos x="T0" y="T1"/>
                </a:cxn>
                <a:cxn ang="0">
                  <a:pos x="T2" y="T3"/>
                </a:cxn>
                <a:cxn ang="0">
                  <a:pos x="T4" y="T5"/>
                </a:cxn>
              </a:cxnLst>
              <a:rect l="0" t="0" r="r" b="b"/>
              <a:pathLst>
                <a:path w="6" h="6">
                  <a:moveTo>
                    <a:pt x="0" y="0"/>
                  </a:moveTo>
                  <a:cubicBezTo>
                    <a:pt x="2" y="2"/>
                    <a:pt x="4" y="4"/>
                    <a:pt x="6" y="6"/>
                  </a:cubicBezTo>
                  <a:cubicBezTo>
                    <a:pt x="6"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 name="Freeform 1266">
              <a:extLst>
                <a:ext uri="{FF2B5EF4-FFF2-40B4-BE49-F238E27FC236}">
                  <a16:creationId xmlns:a16="http://schemas.microsoft.com/office/drawing/2014/main" id="{7693670E-CB96-4A22-BAFD-7E2552149725}"/>
                </a:ext>
              </a:extLst>
            </p:cNvPr>
            <p:cNvSpPr>
              <a:spLocks/>
            </p:cNvSpPr>
            <p:nvPr/>
          </p:nvSpPr>
          <p:spPr bwMode="auto">
            <a:xfrm>
              <a:off x="2506140" y="4468640"/>
              <a:ext cx="9396" cy="2685"/>
            </a:xfrm>
            <a:custGeom>
              <a:avLst/>
              <a:gdLst>
                <a:gd name="T0" fmla="*/ 0 w 3"/>
                <a:gd name="T1" fmla="*/ 0 h 1"/>
                <a:gd name="T2" fmla="*/ 3 w 3"/>
                <a:gd name="T3" fmla="*/ 1 h 1"/>
                <a:gd name="T4" fmla="*/ 3 w 3"/>
                <a:gd name="T5" fmla="*/ 1 h 1"/>
                <a:gd name="T6" fmla="*/ 0 w 3"/>
                <a:gd name="T7" fmla="*/ 0 h 1"/>
              </a:gdLst>
              <a:ahLst/>
              <a:cxnLst>
                <a:cxn ang="0">
                  <a:pos x="T0" y="T1"/>
                </a:cxn>
                <a:cxn ang="0">
                  <a:pos x="T2" y="T3"/>
                </a:cxn>
                <a:cxn ang="0">
                  <a:pos x="T4" y="T5"/>
                </a:cxn>
                <a:cxn ang="0">
                  <a:pos x="T6" y="T7"/>
                </a:cxn>
              </a:cxnLst>
              <a:rect l="0" t="0" r="r" b="b"/>
              <a:pathLst>
                <a:path w="3" h="1">
                  <a:moveTo>
                    <a:pt x="0" y="0"/>
                  </a:moveTo>
                  <a:cubicBezTo>
                    <a:pt x="1" y="1"/>
                    <a:pt x="2" y="1"/>
                    <a:pt x="3" y="1"/>
                  </a:cubicBezTo>
                  <a:cubicBezTo>
                    <a:pt x="3" y="1"/>
                    <a:pt x="3" y="1"/>
                    <a:pt x="3" y="1"/>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 name="Freeform 1267">
              <a:extLst>
                <a:ext uri="{FF2B5EF4-FFF2-40B4-BE49-F238E27FC236}">
                  <a16:creationId xmlns:a16="http://schemas.microsoft.com/office/drawing/2014/main" id="{21DC7E28-58B6-4590-95B7-90DDF82316F7}"/>
                </a:ext>
              </a:extLst>
            </p:cNvPr>
            <p:cNvSpPr>
              <a:spLocks/>
            </p:cNvSpPr>
            <p:nvPr/>
          </p:nvSpPr>
          <p:spPr bwMode="auto">
            <a:xfrm>
              <a:off x="2962534" y="4750531"/>
              <a:ext cx="32216" cy="32216"/>
            </a:xfrm>
            <a:custGeom>
              <a:avLst/>
              <a:gdLst>
                <a:gd name="T0" fmla="*/ 6 w 10"/>
                <a:gd name="T1" fmla="*/ 0 h 10"/>
                <a:gd name="T2" fmla="*/ 6 w 10"/>
                <a:gd name="T3" fmla="*/ 0 h 10"/>
                <a:gd name="T4" fmla="*/ 3 w 10"/>
                <a:gd name="T5" fmla="*/ 1 h 10"/>
                <a:gd name="T6" fmla="*/ 3 w 10"/>
                <a:gd name="T7" fmla="*/ 2 h 10"/>
                <a:gd name="T8" fmla="*/ 3 w 10"/>
                <a:gd name="T9" fmla="*/ 2 h 10"/>
                <a:gd name="T10" fmla="*/ 2 w 10"/>
                <a:gd name="T11" fmla="*/ 2 h 10"/>
                <a:gd name="T12" fmla="*/ 1 w 10"/>
                <a:gd name="T13" fmla="*/ 2 h 10"/>
                <a:gd name="T14" fmla="*/ 2 w 10"/>
                <a:gd name="T15" fmla="*/ 9 h 10"/>
                <a:gd name="T16" fmla="*/ 4 w 10"/>
                <a:gd name="T17" fmla="*/ 10 h 10"/>
                <a:gd name="T18" fmla="*/ 10 w 10"/>
                <a:gd name="T19" fmla="*/ 4 h 10"/>
                <a:gd name="T20" fmla="*/ 6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6" y="0"/>
                  </a:moveTo>
                  <a:cubicBezTo>
                    <a:pt x="6" y="0"/>
                    <a:pt x="6" y="0"/>
                    <a:pt x="6" y="0"/>
                  </a:cubicBezTo>
                  <a:cubicBezTo>
                    <a:pt x="3" y="1"/>
                    <a:pt x="3" y="1"/>
                    <a:pt x="3" y="1"/>
                  </a:cubicBezTo>
                  <a:cubicBezTo>
                    <a:pt x="3" y="2"/>
                    <a:pt x="3" y="2"/>
                    <a:pt x="3" y="2"/>
                  </a:cubicBezTo>
                  <a:cubicBezTo>
                    <a:pt x="3" y="2"/>
                    <a:pt x="3" y="2"/>
                    <a:pt x="3" y="2"/>
                  </a:cubicBezTo>
                  <a:cubicBezTo>
                    <a:pt x="2" y="2"/>
                    <a:pt x="2" y="2"/>
                    <a:pt x="2" y="2"/>
                  </a:cubicBezTo>
                  <a:cubicBezTo>
                    <a:pt x="2" y="2"/>
                    <a:pt x="2" y="2"/>
                    <a:pt x="1" y="2"/>
                  </a:cubicBezTo>
                  <a:cubicBezTo>
                    <a:pt x="0" y="3"/>
                    <a:pt x="1" y="8"/>
                    <a:pt x="2" y="9"/>
                  </a:cubicBezTo>
                  <a:cubicBezTo>
                    <a:pt x="3" y="9"/>
                    <a:pt x="4" y="10"/>
                    <a:pt x="4" y="10"/>
                  </a:cubicBezTo>
                  <a:cubicBezTo>
                    <a:pt x="7" y="10"/>
                    <a:pt x="8" y="6"/>
                    <a:pt x="10" y="4"/>
                  </a:cubicBezTo>
                  <a:cubicBezTo>
                    <a:pt x="9" y="2"/>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 name="Freeform 1268">
              <a:extLst>
                <a:ext uri="{FF2B5EF4-FFF2-40B4-BE49-F238E27FC236}">
                  <a16:creationId xmlns:a16="http://schemas.microsoft.com/office/drawing/2014/main" id="{0C2FFC12-7B1A-413B-8374-9C4F6382F4FF}"/>
                </a:ext>
              </a:extLst>
            </p:cNvPr>
            <p:cNvSpPr>
              <a:spLocks/>
            </p:cNvSpPr>
            <p:nvPr/>
          </p:nvSpPr>
          <p:spPr bwMode="auto">
            <a:xfrm>
              <a:off x="4755895" y="4703549"/>
              <a:ext cx="6712" cy="939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0" y="1"/>
                    <a:pt x="0" y="2"/>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 name="Freeform 1269">
              <a:extLst>
                <a:ext uri="{FF2B5EF4-FFF2-40B4-BE49-F238E27FC236}">
                  <a16:creationId xmlns:a16="http://schemas.microsoft.com/office/drawing/2014/main" id="{C200BE3F-9639-43D5-894F-79EA5388C2A5}"/>
                </a:ext>
              </a:extLst>
            </p:cNvPr>
            <p:cNvSpPr>
              <a:spLocks/>
            </p:cNvSpPr>
            <p:nvPr/>
          </p:nvSpPr>
          <p:spPr bwMode="auto">
            <a:xfrm>
              <a:off x="3531685" y="4719657"/>
              <a:ext cx="9396" cy="2685"/>
            </a:xfrm>
            <a:custGeom>
              <a:avLst/>
              <a:gdLst>
                <a:gd name="T0" fmla="*/ 0 w 3"/>
                <a:gd name="T1" fmla="*/ 0 h 1"/>
                <a:gd name="T2" fmla="*/ 2 w 3"/>
                <a:gd name="T3" fmla="*/ 1 h 1"/>
                <a:gd name="T4" fmla="*/ 3 w 3"/>
                <a:gd name="T5" fmla="*/ 1 h 1"/>
                <a:gd name="T6" fmla="*/ 0 w 3"/>
                <a:gd name="T7" fmla="*/ 0 h 1"/>
              </a:gdLst>
              <a:ahLst/>
              <a:cxnLst>
                <a:cxn ang="0">
                  <a:pos x="T0" y="T1"/>
                </a:cxn>
                <a:cxn ang="0">
                  <a:pos x="T2" y="T3"/>
                </a:cxn>
                <a:cxn ang="0">
                  <a:pos x="T4" y="T5"/>
                </a:cxn>
                <a:cxn ang="0">
                  <a:pos x="T6" y="T7"/>
                </a:cxn>
              </a:cxnLst>
              <a:rect l="0" t="0" r="r" b="b"/>
              <a:pathLst>
                <a:path w="3" h="1">
                  <a:moveTo>
                    <a:pt x="0" y="0"/>
                  </a:moveTo>
                  <a:cubicBezTo>
                    <a:pt x="1" y="1"/>
                    <a:pt x="1" y="1"/>
                    <a:pt x="2" y="1"/>
                  </a:cubicBezTo>
                  <a:cubicBezTo>
                    <a:pt x="3" y="1"/>
                    <a:pt x="3"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3" name="Freeform 1270">
              <a:extLst>
                <a:ext uri="{FF2B5EF4-FFF2-40B4-BE49-F238E27FC236}">
                  <a16:creationId xmlns:a16="http://schemas.microsoft.com/office/drawing/2014/main" id="{096F64D8-15EC-4523-9333-563207CFD1EE}"/>
                </a:ext>
              </a:extLst>
            </p:cNvPr>
            <p:cNvSpPr>
              <a:spLocks/>
            </p:cNvSpPr>
            <p:nvPr/>
          </p:nvSpPr>
          <p:spPr bwMode="auto">
            <a:xfrm>
              <a:off x="3010858" y="4789459"/>
              <a:ext cx="41612" cy="25504"/>
            </a:xfrm>
            <a:custGeom>
              <a:avLst/>
              <a:gdLst>
                <a:gd name="T0" fmla="*/ 1 w 13"/>
                <a:gd name="T1" fmla="*/ 0 h 8"/>
                <a:gd name="T2" fmla="*/ 0 w 13"/>
                <a:gd name="T3" fmla="*/ 0 h 8"/>
                <a:gd name="T4" fmla="*/ 6 w 13"/>
                <a:gd name="T5" fmla="*/ 5 h 8"/>
                <a:gd name="T6" fmla="*/ 11 w 13"/>
                <a:gd name="T7" fmla="*/ 8 h 8"/>
                <a:gd name="T8" fmla="*/ 6 w 13"/>
                <a:gd name="T9" fmla="*/ 1 h 8"/>
                <a:gd name="T10" fmla="*/ 1 w 13"/>
                <a:gd name="T11" fmla="*/ 0 h 8"/>
              </a:gdLst>
              <a:ahLst/>
              <a:cxnLst>
                <a:cxn ang="0">
                  <a:pos x="T0" y="T1"/>
                </a:cxn>
                <a:cxn ang="0">
                  <a:pos x="T2" y="T3"/>
                </a:cxn>
                <a:cxn ang="0">
                  <a:pos x="T4" y="T5"/>
                </a:cxn>
                <a:cxn ang="0">
                  <a:pos x="T6" y="T7"/>
                </a:cxn>
                <a:cxn ang="0">
                  <a:pos x="T8" y="T9"/>
                </a:cxn>
                <a:cxn ang="0">
                  <a:pos x="T10" y="T11"/>
                </a:cxn>
              </a:cxnLst>
              <a:rect l="0" t="0" r="r" b="b"/>
              <a:pathLst>
                <a:path w="13" h="8">
                  <a:moveTo>
                    <a:pt x="1" y="0"/>
                  </a:moveTo>
                  <a:cubicBezTo>
                    <a:pt x="0" y="0"/>
                    <a:pt x="0" y="0"/>
                    <a:pt x="0" y="0"/>
                  </a:cubicBezTo>
                  <a:cubicBezTo>
                    <a:pt x="2" y="3"/>
                    <a:pt x="3" y="4"/>
                    <a:pt x="6" y="5"/>
                  </a:cubicBezTo>
                  <a:cubicBezTo>
                    <a:pt x="8" y="5"/>
                    <a:pt x="9" y="7"/>
                    <a:pt x="11" y="8"/>
                  </a:cubicBezTo>
                  <a:cubicBezTo>
                    <a:pt x="13" y="2"/>
                    <a:pt x="10" y="2"/>
                    <a:pt x="6" y="1"/>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 name="Freeform 1271">
              <a:extLst>
                <a:ext uri="{FF2B5EF4-FFF2-40B4-BE49-F238E27FC236}">
                  <a16:creationId xmlns:a16="http://schemas.microsoft.com/office/drawing/2014/main" id="{0F7D105C-1E9A-47BF-AA59-AC87E1FEE59E}"/>
                </a:ext>
              </a:extLst>
            </p:cNvPr>
            <p:cNvSpPr>
              <a:spLocks/>
            </p:cNvSpPr>
            <p:nvPr/>
          </p:nvSpPr>
          <p:spPr bwMode="auto">
            <a:xfrm>
              <a:off x="4981407" y="5173367"/>
              <a:ext cx="12081" cy="6712"/>
            </a:xfrm>
            <a:custGeom>
              <a:avLst/>
              <a:gdLst>
                <a:gd name="T0" fmla="*/ 1 w 4"/>
                <a:gd name="T1" fmla="*/ 0 h 2"/>
                <a:gd name="T2" fmla="*/ 0 w 4"/>
                <a:gd name="T3" fmla="*/ 2 h 2"/>
                <a:gd name="T4" fmla="*/ 0 w 4"/>
                <a:gd name="T5" fmla="*/ 2 h 2"/>
                <a:gd name="T6" fmla="*/ 4 w 4"/>
                <a:gd name="T7" fmla="*/ 2 h 2"/>
                <a:gd name="T8" fmla="*/ 1 w 4"/>
                <a:gd name="T9" fmla="*/ 0 h 2"/>
              </a:gdLst>
              <a:ahLst/>
              <a:cxnLst>
                <a:cxn ang="0">
                  <a:pos x="T0" y="T1"/>
                </a:cxn>
                <a:cxn ang="0">
                  <a:pos x="T2" y="T3"/>
                </a:cxn>
                <a:cxn ang="0">
                  <a:pos x="T4" y="T5"/>
                </a:cxn>
                <a:cxn ang="0">
                  <a:pos x="T6" y="T7"/>
                </a:cxn>
                <a:cxn ang="0">
                  <a:pos x="T8" y="T9"/>
                </a:cxn>
              </a:cxnLst>
              <a:rect l="0" t="0" r="r" b="b"/>
              <a:pathLst>
                <a:path w="4" h="2">
                  <a:moveTo>
                    <a:pt x="1" y="0"/>
                  </a:moveTo>
                  <a:cubicBezTo>
                    <a:pt x="0" y="1"/>
                    <a:pt x="0" y="2"/>
                    <a:pt x="0" y="2"/>
                  </a:cubicBezTo>
                  <a:cubicBezTo>
                    <a:pt x="0" y="2"/>
                    <a:pt x="0" y="2"/>
                    <a:pt x="0" y="2"/>
                  </a:cubicBezTo>
                  <a:cubicBezTo>
                    <a:pt x="2" y="2"/>
                    <a:pt x="3" y="2"/>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 name="Freeform 1272">
              <a:extLst>
                <a:ext uri="{FF2B5EF4-FFF2-40B4-BE49-F238E27FC236}">
                  <a16:creationId xmlns:a16="http://schemas.microsoft.com/office/drawing/2014/main" id="{9BEACE17-16D9-4708-9124-B14C1CE2D457}"/>
                </a:ext>
              </a:extLst>
            </p:cNvPr>
            <p:cNvSpPr>
              <a:spLocks/>
            </p:cNvSpPr>
            <p:nvPr/>
          </p:nvSpPr>
          <p:spPr bwMode="auto">
            <a:xfrm>
              <a:off x="5453909" y="4980071"/>
              <a:ext cx="18793" cy="12081"/>
            </a:xfrm>
            <a:custGeom>
              <a:avLst/>
              <a:gdLst>
                <a:gd name="T0" fmla="*/ 4 w 6"/>
                <a:gd name="T1" fmla="*/ 0 h 4"/>
                <a:gd name="T2" fmla="*/ 5 w 6"/>
                <a:gd name="T3" fmla="*/ 4 h 4"/>
                <a:gd name="T4" fmla="*/ 4 w 6"/>
                <a:gd name="T5" fmla="*/ 0 h 4"/>
              </a:gdLst>
              <a:ahLst/>
              <a:cxnLst>
                <a:cxn ang="0">
                  <a:pos x="T0" y="T1"/>
                </a:cxn>
                <a:cxn ang="0">
                  <a:pos x="T2" y="T3"/>
                </a:cxn>
                <a:cxn ang="0">
                  <a:pos x="T4" y="T5"/>
                </a:cxn>
              </a:cxnLst>
              <a:rect l="0" t="0" r="r" b="b"/>
              <a:pathLst>
                <a:path w="6" h="4">
                  <a:moveTo>
                    <a:pt x="4" y="0"/>
                  </a:moveTo>
                  <a:cubicBezTo>
                    <a:pt x="0" y="2"/>
                    <a:pt x="3" y="4"/>
                    <a:pt x="5" y="4"/>
                  </a:cubicBezTo>
                  <a:cubicBezTo>
                    <a:pt x="6" y="4"/>
                    <a:pt x="6"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 name="Freeform 1273">
              <a:extLst>
                <a:ext uri="{FF2B5EF4-FFF2-40B4-BE49-F238E27FC236}">
                  <a16:creationId xmlns:a16="http://schemas.microsoft.com/office/drawing/2014/main" id="{623646A7-4D49-4BEA-A955-F9E0E0FAD622}"/>
                </a:ext>
              </a:extLst>
            </p:cNvPr>
            <p:cNvSpPr>
              <a:spLocks/>
            </p:cNvSpPr>
            <p:nvPr/>
          </p:nvSpPr>
          <p:spPr bwMode="auto">
            <a:xfrm>
              <a:off x="3153146" y="4824360"/>
              <a:ext cx="18793" cy="12081"/>
            </a:xfrm>
            <a:custGeom>
              <a:avLst/>
              <a:gdLst>
                <a:gd name="T0" fmla="*/ 2 w 6"/>
                <a:gd name="T1" fmla="*/ 0 h 4"/>
                <a:gd name="T2" fmla="*/ 1 w 6"/>
                <a:gd name="T3" fmla="*/ 2 h 4"/>
                <a:gd name="T4" fmla="*/ 0 w 6"/>
                <a:gd name="T5" fmla="*/ 1 h 4"/>
                <a:gd name="T6" fmla="*/ 3 w 6"/>
                <a:gd name="T7" fmla="*/ 4 h 4"/>
                <a:gd name="T8" fmla="*/ 6 w 6"/>
                <a:gd name="T9" fmla="*/ 0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cubicBezTo>
                    <a:pt x="1" y="0"/>
                    <a:pt x="1" y="0"/>
                    <a:pt x="1" y="2"/>
                  </a:cubicBezTo>
                  <a:cubicBezTo>
                    <a:pt x="0" y="1"/>
                    <a:pt x="0" y="1"/>
                    <a:pt x="0" y="1"/>
                  </a:cubicBezTo>
                  <a:cubicBezTo>
                    <a:pt x="1" y="3"/>
                    <a:pt x="2" y="4"/>
                    <a:pt x="3" y="4"/>
                  </a:cubicBezTo>
                  <a:cubicBezTo>
                    <a:pt x="4" y="4"/>
                    <a:pt x="5" y="2"/>
                    <a:pt x="6" y="0"/>
                  </a:cubicBezTo>
                  <a:cubicBezTo>
                    <a:pt x="5"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 name="Freeform 1274">
              <a:extLst>
                <a:ext uri="{FF2B5EF4-FFF2-40B4-BE49-F238E27FC236}">
                  <a16:creationId xmlns:a16="http://schemas.microsoft.com/office/drawing/2014/main" id="{239CCADE-A00D-4481-8E3F-B58925FAB137}"/>
                </a:ext>
              </a:extLst>
            </p:cNvPr>
            <p:cNvSpPr>
              <a:spLocks/>
            </p:cNvSpPr>
            <p:nvPr/>
          </p:nvSpPr>
          <p:spPr bwMode="auto">
            <a:xfrm>
              <a:off x="3178650" y="4817648"/>
              <a:ext cx="32216" cy="28189"/>
            </a:xfrm>
            <a:custGeom>
              <a:avLst/>
              <a:gdLst>
                <a:gd name="T0" fmla="*/ 7 w 10"/>
                <a:gd name="T1" fmla="*/ 0 h 9"/>
                <a:gd name="T2" fmla="*/ 0 w 10"/>
                <a:gd name="T3" fmla="*/ 3 h 9"/>
                <a:gd name="T4" fmla="*/ 3 w 10"/>
                <a:gd name="T5" fmla="*/ 5 h 9"/>
                <a:gd name="T6" fmla="*/ 6 w 10"/>
                <a:gd name="T7" fmla="*/ 9 h 9"/>
                <a:gd name="T8" fmla="*/ 8 w 10"/>
                <a:gd name="T9" fmla="*/ 8 h 9"/>
                <a:gd name="T10" fmla="*/ 9 w 10"/>
                <a:gd name="T11" fmla="*/ 7 h 9"/>
                <a:gd name="T12" fmla="*/ 9 w 10"/>
                <a:gd name="T13" fmla="*/ 4 h 9"/>
                <a:gd name="T14" fmla="*/ 9 w 10"/>
                <a:gd name="T15" fmla="*/ 4 h 9"/>
                <a:gd name="T16" fmla="*/ 8 w 10"/>
                <a:gd name="T17" fmla="*/ 2 h 9"/>
                <a:gd name="T18" fmla="*/ 8 w 10"/>
                <a:gd name="T19" fmla="*/ 0 h 9"/>
                <a:gd name="T20" fmla="*/ 8 w 10"/>
                <a:gd name="T21" fmla="*/ 0 h 9"/>
                <a:gd name="T22" fmla="*/ 7 w 10"/>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7" y="0"/>
                  </a:moveTo>
                  <a:cubicBezTo>
                    <a:pt x="4" y="0"/>
                    <a:pt x="2" y="1"/>
                    <a:pt x="0" y="3"/>
                  </a:cubicBezTo>
                  <a:cubicBezTo>
                    <a:pt x="1" y="4"/>
                    <a:pt x="2" y="5"/>
                    <a:pt x="3" y="5"/>
                  </a:cubicBezTo>
                  <a:cubicBezTo>
                    <a:pt x="5" y="5"/>
                    <a:pt x="5" y="9"/>
                    <a:pt x="6" y="9"/>
                  </a:cubicBezTo>
                  <a:cubicBezTo>
                    <a:pt x="7" y="9"/>
                    <a:pt x="7" y="9"/>
                    <a:pt x="8" y="8"/>
                  </a:cubicBezTo>
                  <a:cubicBezTo>
                    <a:pt x="9" y="7"/>
                    <a:pt x="9" y="8"/>
                    <a:pt x="9" y="7"/>
                  </a:cubicBezTo>
                  <a:cubicBezTo>
                    <a:pt x="10" y="6"/>
                    <a:pt x="10" y="4"/>
                    <a:pt x="9" y="4"/>
                  </a:cubicBezTo>
                  <a:cubicBezTo>
                    <a:pt x="9" y="4"/>
                    <a:pt x="9" y="4"/>
                    <a:pt x="9" y="4"/>
                  </a:cubicBezTo>
                  <a:cubicBezTo>
                    <a:pt x="9" y="4"/>
                    <a:pt x="9" y="3"/>
                    <a:pt x="8" y="2"/>
                  </a:cubicBezTo>
                  <a:cubicBezTo>
                    <a:pt x="8" y="1"/>
                    <a:pt x="7" y="0"/>
                    <a:pt x="8" y="0"/>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 name="Freeform 1275">
              <a:extLst>
                <a:ext uri="{FF2B5EF4-FFF2-40B4-BE49-F238E27FC236}">
                  <a16:creationId xmlns:a16="http://schemas.microsoft.com/office/drawing/2014/main" id="{8EAEA785-3780-42EF-A2AC-EB60C5EEDEBF}"/>
                </a:ext>
              </a:extLst>
            </p:cNvPr>
            <p:cNvSpPr>
              <a:spLocks/>
            </p:cNvSpPr>
            <p:nvPr/>
          </p:nvSpPr>
          <p:spPr bwMode="auto">
            <a:xfrm>
              <a:off x="2734337" y="4910269"/>
              <a:ext cx="18793" cy="28189"/>
            </a:xfrm>
            <a:custGeom>
              <a:avLst/>
              <a:gdLst>
                <a:gd name="T0" fmla="*/ 0 w 6"/>
                <a:gd name="T1" fmla="*/ 0 h 9"/>
                <a:gd name="T2" fmla="*/ 6 w 6"/>
                <a:gd name="T3" fmla="*/ 9 h 9"/>
                <a:gd name="T4" fmla="*/ 0 w 6"/>
                <a:gd name="T5" fmla="*/ 0 h 9"/>
              </a:gdLst>
              <a:ahLst/>
              <a:cxnLst>
                <a:cxn ang="0">
                  <a:pos x="T0" y="T1"/>
                </a:cxn>
                <a:cxn ang="0">
                  <a:pos x="T2" y="T3"/>
                </a:cxn>
                <a:cxn ang="0">
                  <a:pos x="T4" y="T5"/>
                </a:cxn>
              </a:cxnLst>
              <a:rect l="0" t="0" r="r" b="b"/>
              <a:pathLst>
                <a:path w="6" h="9">
                  <a:moveTo>
                    <a:pt x="0" y="0"/>
                  </a:moveTo>
                  <a:cubicBezTo>
                    <a:pt x="2" y="3"/>
                    <a:pt x="4" y="6"/>
                    <a:pt x="6" y="9"/>
                  </a:cubicBezTo>
                  <a:cubicBezTo>
                    <a:pt x="5" y="7"/>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 name="Freeform 1276">
              <a:extLst>
                <a:ext uri="{FF2B5EF4-FFF2-40B4-BE49-F238E27FC236}">
                  <a16:creationId xmlns:a16="http://schemas.microsoft.com/office/drawing/2014/main" id="{E4E405FE-782B-4DE3-88DF-52221EB6CD73}"/>
                </a:ext>
              </a:extLst>
            </p:cNvPr>
            <p:cNvSpPr>
              <a:spLocks/>
            </p:cNvSpPr>
            <p:nvPr/>
          </p:nvSpPr>
          <p:spPr bwMode="auto">
            <a:xfrm>
              <a:off x="4762606" y="4633748"/>
              <a:ext cx="18793" cy="25504"/>
            </a:xfrm>
            <a:custGeom>
              <a:avLst/>
              <a:gdLst>
                <a:gd name="T0" fmla="*/ 0 w 6"/>
                <a:gd name="T1" fmla="*/ 0 h 8"/>
                <a:gd name="T2" fmla="*/ 0 w 6"/>
                <a:gd name="T3" fmla="*/ 0 h 8"/>
                <a:gd name="T4" fmla="*/ 5 w 6"/>
                <a:gd name="T5" fmla="*/ 8 h 8"/>
                <a:gd name="T6" fmla="*/ 3 w 6"/>
                <a:gd name="T7" fmla="*/ 3 h 8"/>
                <a:gd name="T8" fmla="*/ 0 w 6"/>
                <a:gd name="T9" fmla="*/ 0 h 8"/>
              </a:gdLst>
              <a:ahLst/>
              <a:cxnLst>
                <a:cxn ang="0">
                  <a:pos x="T0" y="T1"/>
                </a:cxn>
                <a:cxn ang="0">
                  <a:pos x="T2" y="T3"/>
                </a:cxn>
                <a:cxn ang="0">
                  <a:pos x="T4" y="T5"/>
                </a:cxn>
                <a:cxn ang="0">
                  <a:pos x="T6" y="T7"/>
                </a:cxn>
                <a:cxn ang="0">
                  <a:pos x="T8" y="T9"/>
                </a:cxn>
              </a:cxnLst>
              <a:rect l="0" t="0" r="r" b="b"/>
              <a:pathLst>
                <a:path w="6" h="8">
                  <a:moveTo>
                    <a:pt x="0" y="0"/>
                  </a:moveTo>
                  <a:cubicBezTo>
                    <a:pt x="0" y="0"/>
                    <a:pt x="0" y="0"/>
                    <a:pt x="0" y="0"/>
                  </a:cubicBezTo>
                  <a:cubicBezTo>
                    <a:pt x="1" y="3"/>
                    <a:pt x="3" y="5"/>
                    <a:pt x="5" y="8"/>
                  </a:cubicBezTo>
                  <a:cubicBezTo>
                    <a:pt x="6" y="5"/>
                    <a:pt x="5" y="5"/>
                    <a:pt x="3" y="3"/>
                  </a:cubicBezTo>
                  <a:cubicBezTo>
                    <a:pt x="4"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 name="Freeform 1277">
              <a:extLst>
                <a:ext uri="{FF2B5EF4-FFF2-40B4-BE49-F238E27FC236}">
                  <a16:creationId xmlns:a16="http://schemas.microsoft.com/office/drawing/2014/main" id="{EC16A1D7-B0BE-475B-9643-8E08086C200B}"/>
                </a:ext>
              </a:extLst>
            </p:cNvPr>
            <p:cNvSpPr>
              <a:spLocks/>
            </p:cNvSpPr>
            <p:nvPr/>
          </p:nvSpPr>
          <p:spPr bwMode="auto">
            <a:xfrm>
              <a:off x="4476689" y="4945170"/>
              <a:ext cx="18793" cy="5369"/>
            </a:xfrm>
            <a:custGeom>
              <a:avLst/>
              <a:gdLst>
                <a:gd name="T0" fmla="*/ 1 w 6"/>
                <a:gd name="T1" fmla="*/ 0 h 2"/>
                <a:gd name="T2" fmla="*/ 0 w 6"/>
                <a:gd name="T3" fmla="*/ 2 h 2"/>
                <a:gd name="T4" fmla="*/ 6 w 6"/>
                <a:gd name="T5" fmla="*/ 1 h 2"/>
                <a:gd name="T6" fmla="*/ 1 w 6"/>
                <a:gd name="T7" fmla="*/ 0 h 2"/>
              </a:gdLst>
              <a:ahLst/>
              <a:cxnLst>
                <a:cxn ang="0">
                  <a:pos x="T0" y="T1"/>
                </a:cxn>
                <a:cxn ang="0">
                  <a:pos x="T2" y="T3"/>
                </a:cxn>
                <a:cxn ang="0">
                  <a:pos x="T4" y="T5"/>
                </a:cxn>
                <a:cxn ang="0">
                  <a:pos x="T6" y="T7"/>
                </a:cxn>
              </a:cxnLst>
              <a:rect l="0" t="0" r="r" b="b"/>
              <a:pathLst>
                <a:path w="6" h="2">
                  <a:moveTo>
                    <a:pt x="1" y="0"/>
                  </a:moveTo>
                  <a:cubicBezTo>
                    <a:pt x="1" y="0"/>
                    <a:pt x="1" y="1"/>
                    <a:pt x="0" y="2"/>
                  </a:cubicBezTo>
                  <a:cubicBezTo>
                    <a:pt x="3" y="1"/>
                    <a:pt x="5" y="1"/>
                    <a:pt x="6"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 name="Freeform 1278">
              <a:extLst>
                <a:ext uri="{FF2B5EF4-FFF2-40B4-BE49-F238E27FC236}">
                  <a16:creationId xmlns:a16="http://schemas.microsoft.com/office/drawing/2014/main" id="{BBA5A0C9-8994-45F0-A44F-5A880239ADBF}"/>
                </a:ext>
              </a:extLst>
            </p:cNvPr>
            <p:cNvSpPr>
              <a:spLocks/>
            </p:cNvSpPr>
            <p:nvPr/>
          </p:nvSpPr>
          <p:spPr bwMode="auto">
            <a:xfrm>
              <a:off x="3518261" y="4687441"/>
              <a:ext cx="6712" cy="6712"/>
            </a:xfrm>
            <a:custGeom>
              <a:avLst/>
              <a:gdLst>
                <a:gd name="T0" fmla="*/ 2 w 2"/>
                <a:gd name="T1" fmla="*/ 0 h 2"/>
                <a:gd name="T2" fmla="*/ 0 w 2"/>
                <a:gd name="T3" fmla="*/ 2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1"/>
                    <a:pt x="0" y="2"/>
                  </a:cubicBezTo>
                  <a:cubicBezTo>
                    <a:pt x="0" y="2"/>
                    <a:pt x="0" y="2"/>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 name="Freeform 1279">
              <a:extLst>
                <a:ext uri="{FF2B5EF4-FFF2-40B4-BE49-F238E27FC236}">
                  <a16:creationId xmlns:a16="http://schemas.microsoft.com/office/drawing/2014/main" id="{7328DE93-9106-40F7-8E06-FCCDE052D7DF}"/>
                </a:ext>
              </a:extLst>
            </p:cNvPr>
            <p:cNvSpPr>
              <a:spLocks noEditPoints="1"/>
            </p:cNvSpPr>
            <p:nvPr/>
          </p:nvSpPr>
          <p:spPr bwMode="auto">
            <a:xfrm>
              <a:off x="4248492" y="4738450"/>
              <a:ext cx="5369" cy="9396"/>
            </a:xfrm>
            <a:custGeom>
              <a:avLst/>
              <a:gdLst>
                <a:gd name="T0" fmla="*/ 2 w 2"/>
                <a:gd name="T1" fmla="*/ 3 h 3"/>
                <a:gd name="T2" fmla="*/ 2 w 2"/>
                <a:gd name="T3" fmla="*/ 3 h 3"/>
                <a:gd name="T4" fmla="*/ 2 w 2"/>
                <a:gd name="T5" fmla="*/ 3 h 3"/>
                <a:gd name="T6" fmla="*/ 0 w 2"/>
                <a:gd name="T7" fmla="*/ 0 h 3"/>
                <a:gd name="T8" fmla="*/ 2 w 2"/>
                <a:gd name="T9" fmla="*/ 3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3"/>
                    <a:pt x="2" y="3"/>
                    <a:pt x="2" y="3"/>
                  </a:cubicBezTo>
                  <a:moveTo>
                    <a:pt x="0" y="0"/>
                  </a:moveTo>
                  <a:cubicBezTo>
                    <a:pt x="0" y="1"/>
                    <a:pt x="1" y="2"/>
                    <a:pt x="2"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 name="Freeform 1280">
              <a:extLst>
                <a:ext uri="{FF2B5EF4-FFF2-40B4-BE49-F238E27FC236}">
                  <a16:creationId xmlns:a16="http://schemas.microsoft.com/office/drawing/2014/main" id="{3B892406-B548-4762-82FE-879878774542}"/>
                </a:ext>
              </a:extLst>
            </p:cNvPr>
            <p:cNvSpPr>
              <a:spLocks/>
            </p:cNvSpPr>
            <p:nvPr/>
          </p:nvSpPr>
          <p:spPr bwMode="auto">
            <a:xfrm>
              <a:off x="3562558" y="4982755"/>
              <a:ext cx="28189" cy="22820"/>
            </a:xfrm>
            <a:custGeom>
              <a:avLst/>
              <a:gdLst>
                <a:gd name="T0" fmla="*/ 3 w 9"/>
                <a:gd name="T1" fmla="*/ 0 h 7"/>
                <a:gd name="T2" fmla="*/ 2 w 9"/>
                <a:gd name="T3" fmla="*/ 0 h 7"/>
                <a:gd name="T4" fmla="*/ 2 w 9"/>
                <a:gd name="T5" fmla="*/ 0 h 7"/>
                <a:gd name="T6" fmla="*/ 2 w 9"/>
                <a:gd name="T7" fmla="*/ 0 h 7"/>
                <a:gd name="T8" fmla="*/ 2 w 9"/>
                <a:gd name="T9" fmla="*/ 0 h 7"/>
                <a:gd name="T10" fmla="*/ 2 w 9"/>
                <a:gd name="T11" fmla="*/ 0 h 7"/>
                <a:gd name="T12" fmla="*/ 1 w 9"/>
                <a:gd name="T13" fmla="*/ 1 h 7"/>
                <a:gd name="T14" fmla="*/ 0 w 9"/>
                <a:gd name="T15" fmla="*/ 7 h 7"/>
                <a:gd name="T16" fmla="*/ 8 w 9"/>
                <a:gd name="T17" fmla="*/ 4 h 7"/>
                <a:gd name="T18" fmla="*/ 9 w 9"/>
                <a:gd name="T19" fmla="*/ 3 h 7"/>
                <a:gd name="T20" fmla="*/ 9 w 9"/>
                <a:gd name="T21" fmla="*/ 2 h 7"/>
                <a:gd name="T22" fmla="*/ 9 w 9"/>
                <a:gd name="T23" fmla="*/ 2 h 7"/>
                <a:gd name="T24" fmla="*/ 8 w 9"/>
                <a:gd name="T25" fmla="*/ 1 h 7"/>
                <a:gd name="T26" fmla="*/ 6 w 9"/>
                <a:gd name="T27" fmla="*/ 0 h 7"/>
                <a:gd name="T28" fmla="*/ 5 w 9"/>
                <a:gd name="T29" fmla="*/ 0 h 7"/>
                <a:gd name="T30" fmla="*/ 3 w 9"/>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7">
                  <a:moveTo>
                    <a:pt x="3" y="0"/>
                  </a:moveTo>
                  <a:cubicBezTo>
                    <a:pt x="3" y="0"/>
                    <a:pt x="3" y="0"/>
                    <a:pt x="2" y="0"/>
                  </a:cubicBezTo>
                  <a:cubicBezTo>
                    <a:pt x="2" y="0"/>
                    <a:pt x="2" y="0"/>
                    <a:pt x="2" y="0"/>
                  </a:cubicBezTo>
                  <a:cubicBezTo>
                    <a:pt x="2" y="0"/>
                    <a:pt x="2" y="0"/>
                    <a:pt x="2" y="0"/>
                  </a:cubicBezTo>
                  <a:cubicBezTo>
                    <a:pt x="2" y="0"/>
                    <a:pt x="2" y="0"/>
                    <a:pt x="2" y="0"/>
                  </a:cubicBezTo>
                  <a:cubicBezTo>
                    <a:pt x="2" y="0"/>
                    <a:pt x="2" y="0"/>
                    <a:pt x="2" y="0"/>
                  </a:cubicBezTo>
                  <a:cubicBezTo>
                    <a:pt x="1" y="1"/>
                    <a:pt x="1" y="1"/>
                    <a:pt x="1" y="1"/>
                  </a:cubicBezTo>
                  <a:cubicBezTo>
                    <a:pt x="1" y="2"/>
                    <a:pt x="1" y="5"/>
                    <a:pt x="0" y="7"/>
                  </a:cubicBezTo>
                  <a:cubicBezTo>
                    <a:pt x="2" y="6"/>
                    <a:pt x="7" y="6"/>
                    <a:pt x="8" y="4"/>
                  </a:cubicBezTo>
                  <a:cubicBezTo>
                    <a:pt x="9" y="3"/>
                    <a:pt x="9" y="3"/>
                    <a:pt x="9" y="3"/>
                  </a:cubicBezTo>
                  <a:cubicBezTo>
                    <a:pt x="9" y="2"/>
                    <a:pt x="9" y="2"/>
                    <a:pt x="9" y="2"/>
                  </a:cubicBezTo>
                  <a:cubicBezTo>
                    <a:pt x="9" y="2"/>
                    <a:pt x="9" y="2"/>
                    <a:pt x="9" y="2"/>
                  </a:cubicBezTo>
                  <a:cubicBezTo>
                    <a:pt x="9" y="2"/>
                    <a:pt x="9" y="2"/>
                    <a:pt x="8" y="1"/>
                  </a:cubicBezTo>
                  <a:cubicBezTo>
                    <a:pt x="8" y="1"/>
                    <a:pt x="7" y="1"/>
                    <a:pt x="6" y="0"/>
                  </a:cubicBezTo>
                  <a:cubicBezTo>
                    <a:pt x="5" y="0"/>
                    <a:pt x="5"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 name="Freeform 1281">
              <a:extLst>
                <a:ext uri="{FF2B5EF4-FFF2-40B4-BE49-F238E27FC236}">
                  <a16:creationId xmlns:a16="http://schemas.microsoft.com/office/drawing/2014/main" id="{86D4E225-E2D4-48ED-96B5-74BD74EEFF19}"/>
                </a:ext>
              </a:extLst>
            </p:cNvPr>
            <p:cNvSpPr>
              <a:spLocks/>
            </p:cNvSpPr>
            <p:nvPr/>
          </p:nvSpPr>
          <p:spPr bwMode="auto">
            <a:xfrm>
              <a:off x="4882074" y="4929062"/>
              <a:ext cx="13423" cy="18793"/>
            </a:xfrm>
            <a:custGeom>
              <a:avLst/>
              <a:gdLst>
                <a:gd name="T0" fmla="*/ 3 w 4"/>
                <a:gd name="T1" fmla="*/ 0 h 6"/>
                <a:gd name="T2" fmla="*/ 0 w 4"/>
                <a:gd name="T3" fmla="*/ 4 h 6"/>
                <a:gd name="T4" fmla="*/ 0 w 4"/>
                <a:gd name="T5" fmla="*/ 4 h 6"/>
                <a:gd name="T6" fmla="*/ 1 w 4"/>
                <a:gd name="T7" fmla="*/ 5 h 6"/>
                <a:gd name="T8" fmla="*/ 1 w 4"/>
                <a:gd name="T9" fmla="*/ 6 h 6"/>
                <a:gd name="T10" fmla="*/ 1 w 4"/>
                <a:gd name="T11" fmla="*/ 6 h 6"/>
                <a:gd name="T12" fmla="*/ 2 w 4"/>
                <a:gd name="T13" fmla="*/ 6 h 6"/>
                <a:gd name="T14" fmla="*/ 4 w 4"/>
                <a:gd name="T15" fmla="*/ 0 h 6"/>
                <a:gd name="T16" fmla="*/ 3 w 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3" y="0"/>
                  </a:moveTo>
                  <a:cubicBezTo>
                    <a:pt x="1" y="0"/>
                    <a:pt x="0" y="2"/>
                    <a:pt x="0" y="4"/>
                  </a:cubicBezTo>
                  <a:cubicBezTo>
                    <a:pt x="0" y="4"/>
                    <a:pt x="0" y="4"/>
                    <a:pt x="0" y="4"/>
                  </a:cubicBezTo>
                  <a:cubicBezTo>
                    <a:pt x="0" y="4"/>
                    <a:pt x="1" y="4"/>
                    <a:pt x="1" y="5"/>
                  </a:cubicBezTo>
                  <a:cubicBezTo>
                    <a:pt x="1" y="5"/>
                    <a:pt x="1" y="6"/>
                    <a:pt x="1" y="6"/>
                  </a:cubicBezTo>
                  <a:cubicBezTo>
                    <a:pt x="1" y="6"/>
                    <a:pt x="1" y="6"/>
                    <a:pt x="1" y="6"/>
                  </a:cubicBezTo>
                  <a:cubicBezTo>
                    <a:pt x="1" y="6"/>
                    <a:pt x="2" y="6"/>
                    <a:pt x="2" y="6"/>
                  </a:cubicBezTo>
                  <a:cubicBezTo>
                    <a:pt x="4" y="6"/>
                    <a:pt x="4" y="2"/>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 name="Freeform 1282">
              <a:extLst>
                <a:ext uri="{FF2B5EF4-FFF2-40B4-BE49-F238E27FC236}">
                  <a16:creationId xmlns:a16="http://schemas.microsoft.com/office/drawing/2014/main" id="{DDDEDF3D-76CD-4B91-B317-5CC70F5712CF}"/>
                </a:ext>
              </a:extLst>
            </p:cNvPr>
            <p:cNvSpPr>
              <a:spLocks/>
            </p:cNvSpPr>
            <p:nvPr/>
          </p:nvSpPr>
          <p:spPr bwMode="auto">
            <a:xfrm>
              <a:off x="3017570" y="5306258"/>
              <a:ext cx="25504" cy="13423"/>
            </a:xfrm>
            <a:custGeom>
              <a:avLst/>
              <a:gdLst>
                <a:gd name="T0" fmla="*/ 2 w 8"/>
                <a:gd name="T1" fmla="*/ 0 h 4"/>
                <a:gd name="T2" fmla="*/ 0 w 8"/>
                <a:gd name="T3" fmla="*/ 0 h 4"/>
                <a:gd name="T4" fmla="*/ 7 w 8"/>
                <a:gd name="T5" fmla="*/ 4 h 4"/>
                <a:gd name="T6" fmla="*/ 2 w 8"/>
                <a:gd name="T7" fmla="*/ 0 h 4"/>
              </a:gdLst>
              <a:ahLst/>
              <a:cxnLst>
                <a:cxn ang="0">
                  <a:pos x="T0" y="T1"/>
                </a:cxn>
                <a:cxn ang="0">
                  <a:pos x="T2" y="T3"/>
                </a:cxn>
                <a:cxn ang="0">
                  <a:pos x="T4" y="T5"/>
                </a:cxn>
                <a:cxn ang="0">
                  <a:pos x="T6" y="T7"/>
                </a:cxn>
              </a:cxnLst>
              <a:rect l="0" t="0" r="r" b="b"/>
              <a:pathLst>
                <a:path w="8" h="4">
                  <a:moveTo>
                    <a:pt x="2" y="0"/>
                  </a:moveTo>
                  <a:cubicBezTo>
                    <a:pt x="2" y="0"/>
                    <a:pt x="1" y="0"/>
                    <a:pt x="0" y="0"/>
                  </a:cubicBezTo>
                  <a:cubicBezTo>
                    <a:pt x="2" y="2"/>
                    <a:pt x="5" y="3"/>
                    <a:pt x="7" y="4"/>
                  </a:cubicBezTo>
                  <a:cubicBezTo>
                    <a:pt x="8" y="2"/>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 name="Freeform 1283">
              <a:extLst>
                <a:ext uri="{FF2B5EF4-FFF2-40B4-BE49-F238E27FC236}">
                  <a16:creationId xmlns:a16="http://schemas.microsoft.com/office/drawing/2014/main" id="{83DE0989-2C27-4AAB-B290-9E7BD6D94A5F}"/>
                </a:ext>
              </a:extLst>
            </p:cNvPr>
            <p:cNvSpPr>
              <a:spLocks/>
            </p:cNvSpPr>
            <p:nvPr/>
          </p:nvSpPr>
          <p:spPr bwMode="auto">
            <a:xfrm>
              <a:off x="5482098" y="5020341"/>
              <a:ext cx="16108" cy="4027"/>
            </a:xfrm>
            <a:custGeom>
              <a:avLst/>
              <a:gdLst>
                <a:gd name="T0" fmla="*/ 0 w 5"/>
                <a:gd name="T1" fmla="*/ 0 h 1"/>
                <a:gd name="T2" fmla="*/ 4 w 5"/>
                <a:gd name="T3" fmla="*/ 1 h 1"/>
                <a:gd name="T4" fmla="*/ 5 w 5"/>
                <a:gd name="T5" fmla="*/ 0 h 1"/>
                <a:gd name="T6" fmla="*/ 0 w 5"/>
                <a:gd name="T7" fmla="*/ 0 h 1"/>
              </a:gdLst>
              <a:ahLst/>
              <a:cxnLst>
                <a:cxn ang="0">
                  <a:pos x="T0" y="T1"/>
                </a:cxn>
                <a:cxn ang="0">
                  <a:pos x="T2" y="T3"/>
                </a:cxn>
                <a:cxn ang="0">
                  <a:pos x="T4" y="T5"/>
                </a:cxn>
                <a:cxn ang="0">
                  <a:pos x="T6" y="T7"/>
                </a:cxn>
              </a:cxnLst>
              <a:rect l="0" t="0" r="r" b="b"/>
              <a:pathLst>
                <a:path w="5" h="1">
                  <a:moveTo>
                    <a:pt x="0" y="0"/>
                  </a:moveTo>
                  <a:cubicBezTo>
                    <a:pt x="1" y="0"/>
                    <a:pt x="2" y="1"/>
                    <a:pt x="4" y="1"/>
                  </a:cubicBezTo>
                  <a:cubicBezTo>
                    <a:pt x="4" y="1"/>
                    <a:pt x="5" y="1"/>
                    <a:pt x="5" y="0"/>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 name="Freeform 1284">
              <a:extLst>
                <a:ext uri="{FF2B5EF4-FFF2-40B4-BE49-F238E27FC236}">
                  <a16:creationId xmlns:a16="http://schemas.microsoft.com/office/drawing/2014/main" id="{DD184EE7-A916-42AA-86C4-5ED4ED1E0AD2}"/>
                </a:ext>
              </a:extLst>
            </p:cNvPr>
            <p:cNvSpPr>
              <a:spLocks noEditPoints="1"/>
            </p:cNvSpPr>
            <p:nvPr/>
          </p:nvSpPr>
          <p:spPr bwMode="auto">
            <a:xfrm>
              <a:off x="4600184" y="5671374"/>
              <a:ext cx="9396" cy="12081"/>
            </a:xfrm>
            <a:custGeom>
              <a:avLst/>
              <a:gdLst>
                <a:gd name="T0" fmla="*/ 3 w 3"/>
                <a:gd name="T1" fmla="*/ 0 h 4"/>
                <a:gd name="T2" fmla="*/ 1 w 3"/>
                <a:gd name="T3" fmla="*/ 4 h 4"/>
                <a:gd name="T4" fmla="*/ 3 w 3"/>
                <a:gd name="T5" fmla="*/ 0 h 4"/>
                <a:gd name="T6" fmla="*/ 3 w 3"/>
                <a:gd name="T7" fmla="*/ 0 h 4"/>
                <a:gd name="T8" fmla="*/ 3 w 3"/>
                <a:gd name="T9" fmla="*/ 0 h 4"/>
                <a:gd name="T10" fmla="*/ 3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3" y="0"/>
                  </a:moveTo>
                  <a:cubicBezTo>
                    <a:pt x="2" y="1"/>
                    <a:pt x="0" y="2"/>
                    <a:pt x="1" y="4"/>
                  </a:cubicBezTo>
                  <a:cubicBezTo>
                    <a:pt x="2" y="3"/>
                    <a:pt x="2" y="1"/>
                    <a:pt x="3" y="0"/>
                  </a:cubicBezTo>
                  <a:moveTo>
                    <a:pt x="3" y="0"/>
                  </a:move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 name="Freeform 1285">
              <a:extLst>
                <a:ext uri="{FF2B5EF4-FFF2-40B4-BE49-F238E27FC236}">
                  <a16:creationId xmlns:a16="http://schemas.microsoft.com/office/drawing/2014/main" id="{9E2624F8-1053-4CEE-8D19-AF4D856FAF41}"/>
                </a:ext>
              </a:extLst>
            </p:cNvPr>
            <p:cNvSpPr>
              <a:spLocks/>
            </p:cNvSpPr>
            <p:nvPr/>
          </p:nvSpPr>
          <p:spPr bwMode="auto">
            <a:xfrm>
              <a:off x="3147777" y="4833756"/>
              <a:ext cx="9396" cy="6712"/>
            </a:xfrm>
            <a:custGeom>
              <a:avLst/>
              <a:gdLst>
                <a:gd name="T0" fmla="*/ 1 w 3"/>
                <a:gd name="T1" fmla="*/ 0 h 2"/>
                <a:gd name="T2" fmla="*/ 0 w 3"/>
                <a:gd name="T3" fmla="*/ 0 h 2"/>
                <a:gd name="T4" fmla="*/ 3 w 3"/>
                <a:gd name="T5" fmla="*/ 2 h 2"/>
                <a:gd name="T6" fmla="*/ 1 w 3"/>
                <a:gd name="T7" fmla="*/ 0 h 2"/>
              </a:gdLst>
              <a:ahLst/>
              <a:cxnLst>
                <a:cxn ang="0">
                  <a:pos x="T0" y="T1"/>
                </a:cxn>
                <a:cxn ang="0">
                  <a:pos x="T2" y="T3"/>
                </a:cxn>
                <a:cxn ang="0">
                  <a:pos x="T4" y="T5"/>
                </a:cxn>
                <a:cxn ang="0">
                  <a:pos x="T6" y="T7"/>
                </a:cxn>
              </a:cxnLst>
              <a:rect l="0" t="0" r="r" b="b"/>
              <a:pathLst>
                <a:path w="3" h="2">
                  <a:moveTo>
                    <a:pt x="1" y="0"/>
                  </a:moveTo>
                  <a:cubicBezTo>
                    <a:pt x="1" y="0"/>
                    <a:pt x="1" y="0"/>
                    <a:pt x="0" y="0"/>
                  </a:cubicBezTo>
                  <a:cubicBezTo>
                    <a:pt x="1" y="1"/>
                    <a:pt x="2" y="2"/>
                    <a:pt x="3" y="2"/>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 name="Freeform 1286">
              <a:extLst>
                <a:ext uri="{FF2B5EF4-FFF2-40B4-BE49-F238E27FC236}">
                  <a16:creationId xmlns:a16="http://schemas.microsoft.com/office/drawing/2014/main" id="{42E7E1CD-DA7D-49FD-8633-CA93229A9DB3}"/>
                </a:ext>
              </a:extLst>
            </p:cNvPr>
            <p:cNvSpPr>
              <a:spLocks/>
            </p:cNvSpPr>
            <p:nvPr/>
          </p:nvSpPr>
          <p:spPr bwMode="auto">
            <a:xfrm>
              <a:off x="5409612" y="5040476"/>
              <a:ext cx="9396" cy="14766"/>
            </a:xfrm>
            <a:custGeom>
              <a:avLst/>
              <a:gdLst>
                <a:gd name="T0" fmla="*/ 3 w 3"/>
                <a:gd name="T1" fmla="*/ 0 h 5"/>
                <a:gd name="T2" fmla="*/ 1 w 3"/>
                <a:gd name="T3" fmla="*/ 5 h 5"/>
                <a:gd name="T4" fmla="*/ 3 w 3"/>
                <a:gd name="T5" fmla="*/ 0 h 5"/>
              </a:gdLst>
              <a:ahLst/>
              <a:cxnLst>
                <a:cxn ang="0">
                  <a:pos x="T0" y="T1"/>
                </a:cxn>
                <a:cxn ang="0">
                  <a:pos x="T2" y="T3"/>
                </a:cxn>
                <a:cxn ang="0">
                  <a:pos x="T4" y="T5"/>
                </a:cxn>
              </a:cxnLst>
              <a:rect l="0" t="0" r="r" b="b"/>
              <a:pathLst>
                <a:path w="3" h="5">
                  <a:moveTo>
                    <a:pt x="3" y="0"/>
                  </a:moveTo>
                  <a:cubicBezTo>
                    <a:pt x="1" y="1"/>
                    <a:pt x="0" y="3"/>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 name="Freeform 1287">
              <a:extLst>
                <a:ext uri="{FF2B5EF4-FFF2-40B4-BE49-F238E27FC236}">
                  <a16:creationId xmlns:a16="http://schemas.microsoft.com/office/drawing/2014/main" id="{7EE8B7A1-17A7-4EE7-B7BF-FD314F4A3308}"/>
                </a:ext>
              </a:extLst>
            </p:cNvPr>
            <p:cNvSpPr>
              <a:spLocks/>
            </p:cNvSpPr>
            <p:nvPr/>
          </p:nvSpPr>
          <p:spPr bwMode="auto">
            <a:xfrm>
              <a:off x="3241740" y="5398880"/>
              <a:ext cx="13423" cy="5369"/>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2" y="0"/>
                    <a:pt x="1" y="1"/>
                    <a:pt x="0" y="2"/>
                  </a:cubicBezTo>
                  <a:cubicBezTo>
                    <a:pt x="1"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 name="Freeform 1288">
              <a:extLst>
                <a:ext uri="{FF2B5EF4-FFF2-40B4-BE49-F238E27FC236}">
                  <a16:creationId xmlns:a16="http://schemas.microsoft.com/office/drawing/2014/main" id="{07DEB25A-DD23-4237-9047-207587F90F6F}"/>
                </a:ext>
              </a:extLst>
            </p:cNvPr>
            <p:cNvSpPr>
              <a:spLocks/>
            </p:cNvSpPr>
            <p:nvPr/>
          </p:nvSpPr>
          <p:spPr bwMode="auto">
            <a:xfrm>
              <a:off x="3166569" y="4840468"/>
              <a:ext cx="12081" cy="9396"/>
            </a:xfrm>
            <a:custGeom>
              <a:avLst/>
              <a:gdLst>
                <a:gd name="T0" fmla="*/ 0 w 4"/>
                <a:gd name="T1" fmla="*/ 0 h 3"/>
                <a:gd name="T2" fmla="*/ 2 w 4"/>
                <a:gd name="T3" fmla="*/ 3 h 3"/>
                <a:gd name="T4" fmla="*/ 4 w 4"/>
                <a:gd name="T5" fmla="*/ 2 h 3"/>
                <a:gd name="T6" fmla="*/ 0 w 4"/>
                <a:gd name="T7" fmla="*/ 0 h 3"/>
              </a:gdLst>
              <a:ahLst/>
              <a:cxnLst>
                <a:cxn ang="0">
                  <a:pos x="T0" y="T1"/>
                </a:cxn>
                <a:cxn ang="0">
                  <a:pos x="T2" y="T3"/>
                </a:cxn>
                <a:cxn ang="0">
                  <a:pos x="T4" y="T5"/>
                </a:cxn>
                <a:cxn ang="0">
                  <a:pos x="T6" y="T7"/>
                </a:cxn>
              </a:cxnLst>
              <a:rect l="0" t="0" r="r" b="b"/>
              <a:pathLst>
                <a:path w="4" h="3">
                  <a:moveTo>
                    <a:pt x="0" y="0"/>
                  </a:moveTo>
                  <a:cubicBezTo>
                    <a:pt x="1" y="1"/>
                    <a:pt x="2" y="2"/>
                    <a:pt x="2" y="3"/>
                  </a:cubicBezTo>
                  <a:cubicBezTo>
                    <a:pt x="3" y="3"/>
                    <a:pt x="4" y="3"/>
                    <a:pt x="4" y="2"/>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 name="Freeform 1289">
              <a:extLst>
                <a:ext uri="{FF2B5EF4-FFF2-40B4-BE49-F238E27FC236}">
                  <a16:creationId xmlns:a16="http://schemas.microsoft.com/office/drawing/2014/main" id="{380BF2D8-911A-47E8-89DF-2B9C46682258}"/>
                </a:ext>
              </a:extLst>
            </p:cNvPr>
            <p:cNvSpPr>
              <a:spLocks/>
            </p:cNvSpPr>
            <p:nvPr/>
          </p:nvSpPr>
          <p:spPr bwMode="auto">
            <a:xfrm>
              <a:off x="5070001" y="5494186"/>
              <a:ext cx="21477" cy="18793"/>
            </a:xfrm>
            <a:custGeom>
              <a:avLst/>
              <a:gdLst>
                <a:gd name="T0" fmla="*/ 1 w 7"/>
                <a:gd name="T1" fmla="*/ 0 h 6"/>
                <a:gd name="T2" fmla="*/ 2 w 7"/>
                <a:gd name="T3" fmla="*/ 6 h 6"/>
                <a:gd name="T4" fmla="*/ 4 w 7"/>
                <a:gd name="T5" fmla="*/ 6 h 6"/>
                <a:gd name="T6" fmla="*/ 6 w 7"/>
                <a:gd name="T7" fmla="*/ 3 h 6"/>
                <a:gd name="T8" fmla="*/ 1 w 7"/>
                <a:gd name="T9" fmla="*/ 0 h 6"/>
              </a:gdLst>
              <a:ahLst/>
              <a:cxnLst>
                <a:cxn ang="0">
                  <a:pos x="T0" y="T1"/>
                </a:cxn>
                <a:cxn ang="0">
                  <a:pos x="T2" y="T3"/>
                </a:cxn>
                <a:cxn ang="0">
                  <a:pos x="T4" y="T5"/>
                </a:cxn>
                <a:cxn ang="0">
                  <a:pos x="T6" y="T7"/>
                </a:cxn>
                <a:cxn ang="0">
                  <a:pos x="T8" y="T9"/>
                </a:cxn>
              </a:cxnLst>
              <a:rect l="0" t="0" r="r" b="b"/>
              <a:pathLst>
                <a:path w="7" h="6">
                  <a:moveTo>
                    <a:pt x="1" y="0"/>
                  </a:moveTo>
                  <a:cubicBezTo>
                    <a:pt x="0" y="1"/>
                    <a:pt x="0" y="5"/>
                    <a:pt x="2" y="6"/>
                  </a:cubicBezTo>
                  <a:cubicBezTo>
                    <a:pt x="3" y="6"/>
                    <a:pt x="3" y="6"/>
                    <a:pt x="4" y="6"/>
                  </a:cubicBezTo>
                  <a:cubicBezTo>
                    <a:pt x="5" y="6"/>
                    <a:pt x="6" y="5"/>
                    <a:pt x="6" y="3"/>
                  </a:cubicBezTo>
                  <a:cubicBezTo>
                    <a:pt x="7" y="0"/>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 name="Freeform 1290">
              <a:extLst>
                <a:ext uri="{FF2B5EF4-FFF2-40B4-BE49-F238E27FC236}">
                  <a16:creationId xmlns:a16="http://schemas.microsoft.com/office/drawing/2014/main" id="{A643FD9E-44F1-4E1B-A768-EB103B2191BA}"/>
                </a:ext>
              </a:extLst>
            </p:cNvPr>
            <p:cNvSpPr>
              <a:spLocks/>
            </p:cNvSpPr>
            <p:nvPr/>
          </p:nvSpPr>
          <p:spPr bwMode="auto">
            <a:xfrm>
              <a:off x="4993488" y="5169340"/>
              <a:ext cx="13423" cy="10739"/>
            </a:xfrm>
            <a:custGeom>
              <a:avLst/>
              <a:gdLst>
                <a:gd name="T0" fmla="*/ 0 w 4"/>
                <a:gd name="T1" fmla="*/ 0 h 3"/>
                <a:gd name="T2" fmla="*/ 2 w 4"/>
                <a:gd name="T3" fmla="*/ 3 h 3"/>
                <a:gd name="T4" fmla="*/ 4 w 4"/>
                <a:gd name="T5" fmla="*/ 3 h 3"/>
                <a:gd name="T6" fmla="*/ 0 w 4"/>
                <a:gd name="T7" fmla="*/ 0 h 3"/>
              </a:gdLst>
              <a:ahLst/>
              <a:cxnLst>
                <a:cxn ang="0">
                  <a:pos x="T0" y="T1"/>
                </a:cxn>
                <a:cxn ang="0">
                  <a:pos x="T2" y="T3"/>
                </a:cxn>
                <a:cxn ang="0">
                  <a:pos x="T4" y="T5"/>
                </a:cxn>
                <a:cxn ang="0">
                  <a:pos x="T6" y="T7"/>
                </a:cxn>
              </a:cxnLst>
              <a:rect l="0" t="0" r="r" b="b"/>
              <a:pathLst>
                <a:path w="4" h="3">
                  <a:moveTo>
                    <a:pt x="0" y="0"/>
                  </a:moveTo>
                  <a:cubicBezTo>
                    <a:pt x="1" y="2"/>
                    <a:pt x="1" y="3"/>
                    <a:pt x="2" y="3"/>
                  </a:cubicBezTo>
                  <a:cubicBezTo>
                    <a:pt x="3" y="3"/>
                    <a:pt x="3"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 name="Freeform 1291">
              <a:extLst>
                <a:ext uri="{FF2B5EF4-FFF2-40B4-BE49-F238E27FC236}">
                  <a16:creationId xmlns:a16="http://schemas.microsoft.com/office/drawing/2014/main" id="{3B28274C-1F3B-407E-97C4-4C5C01B8BBEF}"/>
                </a:ext>
              </a:extLst>
            </p:cNvPr>
            <p:cNvSpPr>
              <a:spLocks/>
            </p:cNvSpPr>
            <p:nvPr/>
          </p:nvSpPr>
          <p:spPr bwMode="auto">
            <a:xfrm>
              <a:off x="3287380" y="4680729"/>
              <a:ext cx="9396" cy="16108"/>
            </a:xfrm>
            <a:custGeom>
              <a:avLst/>
              <a:gdLst>
                <a:gd name="T0" fmla="*/ 0 w 3"/>
                <a:gd name="T1" fmla="*/ 0 h 5"/>
                <a:gd name="T2" fmla="*/ 0 w 3"/>
                <a:gd name="T3" fmla="*/ 5 h 5"/>
                <a:gd name="T4" fmla="*/ 3 w 3"/>
                <a:gd name="T5" fmla="*/ 2 h 5"/>
                <a:gd name="T6" fmla="*/ 0 w 3"/>
                <a:gd name="T7" fmla="*/ 0 h 5"/>
              </a:gdLst>
              <a:ahLst/>
              <a:cxnLst>
                <a:cxn ang="0">
                  <a:pos x="T0" y="T1"/>
                </a:cxn>
                <a:cxn ang="0">
                  <a:pos x="T2" y="T3"/>
                </a:cxn>
                <a:cxn ang="0">
                  <a:pos x="T4" y="T5"/>
                </a:cxn>
                <a:cxn ang="0">
                  <a:pos x="T6" y="T7"/>
                </a:cxn>
              </a:cxnLst>
              <a:rect l="0" t="0" r="r" b="b"/>
              <a:pathLst>
                <a:path w="3" h="5">
                  <a:moveTo>
                    <a:pt x="0" y="0"/>
                  </a:moveTo>
                  <a:cubicBezTo>
                    <a:pt x="0" y="2"/>
                    <a:pt x="0" y="3"/>
                    <a:pt x="0" y="5"/>
                  </a:cubicBezTo>
                  <a:cubicBezTo>
                    <a:pt x="2" y="4"/>
                    <a:pt x="3" y="4"/>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 name="Freeform 1292">
              <a:extLst>
                <a:ext uri="{FF2B5EF4-FFF2-40B4-BE49-F238E27FC236}">
                  <a16:creationId xmlns:a16="http://schemas.microsoft.com/office/drawing/2014/main" id="{E6AB2ADA-5428-436A-A537-B75E3739CAD0}"/>
                </a:ext>
              </a:extLst>
            </p:cNvPr>
            <p:cNvSpPr>
              <a:spLocks/>
            </p:cNvSpPr>
            <p:nvPr/>
          </p:nvSpPr>
          <p:spPr bwMode="auto">
            <a:xfrm>
              <a:off x="4911606" y="4998863"/>
              <a:ext cx="16108" cy="6712"/>
            </a:xfrm>
            <a:custGeom>
              <a:avLst/>
              <a:gdLst>
                <a:gd name="T0" fmla="*/ 2 w 5"/>
                <a:gd name="T1" fmla="*/ 0 h 2"/>
                <a:gd name="T2" fmla="*/ 0 w 5"/>
                <a:gd name="T3" fmla="*/ 1 h 2"/>
                <a:gd name="T4" fmla="*/ 5 w 5"/>
                <a:gd name="T5" fmla="*/ 2 h 2"/>
                <a:gd name="T6" fmla="*/ 5 w 5"/>
                <a:gd name="T7" fmla="*/ 2 h 2"/>
                <a:gd name="T8" fmla="*/ 2 w 5"/>
                <a:gd name="T9" fmla="*/ 0 h 2"/>
              </a:gdLst>
              <a:ahLst/>
              <a:cxnLst>
                <a:cxn ang="0">
                  <a:pos x="T0" y="T1"/>
                </a:cxn>
                <a:cxn ang="0">
                  <a:pos x="T2" y="T3"/>
                </a:cxn>
                <a:cxn ang="0">
                  <a:pos x="T4" y="T5"/>
                </a:cxn>
                <a:cxn ang="0">
                  <a:pos x="T6" y="T7"/>
                </a:cxn>
                <a:cxn ang="0">
                  <a:pos x="T8" y="T9"/>
                </a:cxn>
              </a:cxnLst>
              <a:rect l="0" t="0" r="r" b="b"/>
              <a:pathLst>
                <a:path w="5" h="2">
                  <a:moveTo>
                    <a:pt x="2" y="0"/>
                  </a:moveTo>
                  <a:cubicBezTo>
                    <a:pt x="2" y="0"/>
                    <a:pt x="1" y="0"/>
                    <a:pt x="0" y="1"/>
                  </a:cubicBezTo>
                  <a:cubicBezTo>
                    <a:pt x="1" y="1"/>
                    <a:pt x="3" y="2"/>
                    <a:pt x="5" y="2"/>
                  </a:cubicBezTo>
                  <a:cubicBezTo>
                    <a:pt x="5" y="2"/>
                    <a:pt x="5" y="2"/>
                    <a:pt x="5"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 name="Freeform 1293">
              <a:extLst>
                <a:ext uri="{FF2B5EF4-FFF2-40B4-BE49-F238E27FC236}">
                  <a16:creationId xmlns:a16="http://schemas.microsoft.com/office/drawing/2014/main" id="{F75F49CB-DBB2-48AB-A04D-E0D1CA4D3E8E}"/>
                </a:ext>
              </a:extLst>
            </p:cNvPr>
            <p:cNvSpPr>
              <a:spLocks/>
            </p:cNvSpPr>
            <p:nvPr/>
          </p:nvSpPr>
          <p:spPr bwMode="auto">
            <a:xfrm>
              <a:off x="2861859" y="5096854"/>
              <a:ext cx="16108" cy="25504"/>
            </a:xfrm>
            <a:custGeom>
              <a:avLst/>
              <a:gdLst>
                <a:gd name="T0" fmla="*/ 0 w 5"/>
                <a:gd name="T1" fmla="*/ 0 h 8"/>
                <a:gd name="T2" fmla="*/ 0 w 5"/>
                <a:gd name="T3" fmla="*/ 8 h 8"/>
                <a:gd name="T4" fmla="*/ 1 w 5"/>
                <a:gd name="T5" fmla="*/ 8 h 8"/>
                <a:gd name="T6" fmla="*/ 4 w 5"/>
                <a:gd name="T7" fmla="*/ 4 h 8"/>
                <a:gd name="T8" fmla="*/ 0 w 5"/>
                <a:gd name="T9" fmla="*/ 0 h 8"/>
              </a:gdLst>
              <a:ahLst/>
              <a:cxnLst>
                <a:cxn ang="0">
                  <a:pos x="T0" y="T1"/>
                </a:cxn>
                <a:cxn ang="0">
                  <a:pos x="T2" y="T3"/>
                </a:cxn>
                <a:cxn ang="0">
                  <a:pos x="T4" y="T5"/>
                </a:cxn>
                <a:cxn ang="0">
                  <a:pos x="T6" y="T7"/>
                </a:cxn>
                <a:cxn ang="0">
                  <a:pos x="T8" y="T9"/>
                </a:cxn>
              </a:cxnLst>
              <a:rect l="0" t="0" r="r" b="b"/>
              <a:pathLst>
                <a:path w="5" h="8">
                  <a:moveTo>
                    <a:pt x="0" y="0"/>
                  </a:moveTo>
                  <a:cubicBezTo>
                    <a:pt x="0" y="2"/>
                    <a:pt x="0" y="5"/>
                    <a:pt x="0" y="8"/>
                  </a:cubicBezTo>
                  <a:cubicBezTo>
                    <a:pt x="1" y="8"/>
                    <a:pt x="1" y="8"/>
                    <a:pt x="1" y="8"/>
                  </a:cubicBezTo>
                  <a:cubicBezTo>
                    <a:pt x="3" y="8"/>
                    <a:pt x="5" y="6"/>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 name="Freeform 1294">
              <a:extLst>
                <a:ext uri="{FF2B5EF4-FFF2-40B4-BE49-F238E27FC236}">
                  <a16:creationId xmlns:a16="http://schemas.microsoft.com/office/drawing/2014/main" id="{396859D9-7C5C-4446-898C-58A4A4446CBA}"/>
                </a:ext>
              </a:extLst>
            </p:cNvPr>
            <p:cNvSpPr>
              <a:spLocks/>
            </p:cNvSpPr>
            <p:nvPr/>
          </p:nvSpPr>
          <p:spPr bwMode="auto">
            <a:xfrm>
              <a:off x="2731653" y="4929062"/>
              <a:ext cx="18793" cy="21477"/>
            </a:xfrm>
            <a:custGeom>
              <a:avLst/>
              <a:gdLst>
                <a:gd name="T0" fmla="*/ 4 w 6"/>
                <a:gd name="T1" fmla="*/ 0 h 7"/>
                <a:gd name="T2" fmla="*/ 2 w 6"/>
                <a:gd name="T3" fmla="*/ 3 h 7"/>
                <a:gd name="T4" fmla="*/ 0 w 6"/>
                <a:gd name="T5" fmla="*/ 6 h 7"/>
                <a:gd name="T6" fmla="*/ 2 w 6"/>
                <a:gd name="T7" fmla="*/ 7 h 7"/>
                <a:gd name="T8" fmla="*/ 6 w 6"/>
                <a:gd name="T9" fmla="*/ 5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4" y="0"/>
                    <a:pt x="3" y="1"/>
                    <a:pt x="2" y="3"/>
                  </a:cubicBezTo>
                  <a:cubicBezTo>
                    <a:pt x="2" y="5"/>
                    <a:pt x="3" y="6"/>
                    <a:pt x="0" y="6"/>
                  </a:cubicBezTo>
                  <a:cubicBezTo>
                    <a:pt x="1" y="7"/>
                    <a:pt x="2" y="7"/>
                    <a:pt x="2" y="7"/>
                  </a:cubicBezTo>
                  <a:cubicBezTo>
                    <a:pt x="3" y="7"/>
                    <a:pt x="4" y="6"/>
                    <a:pt x="6" y="5"/>
                  </a:cubicBezTo>
                  <a:cubicBezTo>
                    <a:pt x="6" y="3"/>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 name="Freeform 1295">
              <a:extLst>
                <a:ext uri="{FF2B5EF4-FFF2-40B4-BE49-F238E27FC236}">
                  <a16:creationId xmlns:a16="http://schemas.microsoft.com/office/drawing/2014/main" id="{F659E3ED-CE93-402B-A90B-EC8EEBD9237E}"/>
                </a:ext>
              </a:extLst>
            </p:cNvPr>
            <p:cNvSpPr>
              <a:spLocks/>
            </p:cNvSpPr>
            <p:nvPr/>
          </p:nvSpPr>
          <p:spPr bwMode="auto">
            <a:xfrm>
              <a:off x="4788111" y="5059268"/>
              <a:ext cx="18793" cy="34901"/>
            </a:xfrm>
            <a:custGeom>
              <a:avLst/>
              <a:gdLst>
                <a:gd name="T0" fmla="*/ 4 w 6"/>
                <a:gd name="T1" fmla="*/ 0 h 11"/>
                <a:gd name="T2" fmla="*/ 3 w 6"/>
                <a:gd name="T3" fmla="*/ 6 h 11"/>
                <a:gd name="T4" fmla="*/ 6 w 6"/>
                <a:gd name="T5" fmla="*/ 11 h 11"/>
                <a:gd name="T6" fmla="*/ 4 w 6"/>
                <a:gd name="T7" fmla="*/ 0 h 11"/>
              </a:gdLst>
              <a:ahLst/>
              <a:cxnLst>
                <a:cxn ang="0">
                  <a:pos x="T0" y="T1"/>
                </a:cxn>
                <a:cxn ang="0">
                  <a:pos x="T2" y="T3"/>
                </a:cxn>
                <a:cxn ang="0">
                  <a:pos x="T4" y="T5"/>
                </a:cxn>
                <a:cxn ang="0">
                  <a:pos x="T6" y="T7"/>
                </a:cxn>
              </a:cxnLst>
              <a:rect l="0" t="0" r="r" b="b"/>
              <a:pathLst>
                <a:path w="6" h="11">
                  <a:moveTo>
                    <a:pt x="4" y="0"/>
                  </a:moveTo>
                  <a:cubicBezTo>
                    <a:pt x="0" y="1"/>
                    <a:pt x="2" y="4"/>
                    <a:pt x="3" y="6"/>
                  </a:cubicBezTo>
                  <a:cubicBezTo>
                    <a:pt x="4" y="8"/>
                    <a:pt x="4" y="11"/>
                    <a:pt x="6" y="11"/>
                  </a:cubicBezTo>
                  <a:cubicBezTo>
                    <a:pt x="5" y="7"/>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 name="Freeform 1296">
              <a:extLst>
                <a:ext uri="{FF2B5EF4-FFF2-40B4-BE49-F238E27FC236}">
                  <a16:creationId xmlns:a16="http://schemas.microsoft.com/office/drawing/2014/main" id="{1A3D511A-9CD0-448F-98F2-AC660A33E1E7}"/>
                </a:ext>
              </a:extLst>
            </p:cNvPr>
            <p:cNvSpPr>
              <a:spLocks/>
            </p:cNvSpPr>
            <p:nvPr/>
          </p:nvSpPr>
          <p:spPr bwMode="auto">
            <a:xfrm>
              <a:off x="2645743" y="4745162"/>
              <a:ext cx="16108" cy="12081"/>
            </a:xfrm>
            <a:custGeom>
              <a:avLst/>
              <a:gdLst>
                <a:gd name="T0" fmla="*/ 2 w 5"/>
                <a:gd name="T1" fmla="*/ 0 h 4"/>
                <a:gd name="T2" fmla="*/ 0 w 5"/>
                <a:gd name="T3" fmla="*/ 0 h 4"/>
                <a:gd name="T4" fmla="*/ 5 w 5"/>
                <a:gd name="T5" fmla="*/ 4 h 4"/>
                <a:gd name="T6" fmla="*/ 2 w 5"/>
                <a:gd name="T7" fmla="*/ 0 h 4"/>
              </a:gdLst>
              <a:ahLst/>
              <a:cxnLst>
                <a:cxn ang="0">
                  <a:pos x="T0" y="T1"/>
                </a:cxn>
                <a:cxn ang="0">
                  <a:pos x="T2" y="T3"/>
                </a:cxn>
                <a:cxn ang="0">
                  <a:pos x="T4" y="T5"/>
                </a:cxn>
                <a:cxn ang="0">
                  <a:pos x="T6" y="T7"/>
                </a:cxn>
              </a:cxnLst>
              <a:rect l="0" t="0" r="r" b="b"/>
              <a:pathLst>
                <a:path w="5" h="4">
                  <a:moveTo>
                    <a:pt x="2" y="0"/>
                  </a:moveTo>
                  <a:cubicBezTo>
                    <a:pt x="1" y="0"/>
                    <a:pt x="1" y="0"/>
                    <a:pt x="0" y="0"/>
                  </a:cubicBezTo>
                  <a:cubicBezTo>
                    <a:pt x="2" y="1"/>
                    <a:pt x="4" y="2"/>
                    <a:pt x="5" y="4"/>
                  </a:cubicBezTo>
                  <a:cubicBezTo>
                    <a:pt x="5"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 name="Freeform 1297">
              <a:extLst>
                <a:ext uri="{FF2B5EF4-FFF2-40B4-BE49-F238E27FC236}">
                  <a16:creationId xmlns:a16="http://schemas.microsoft.com/office/drawing/2014/main" id="{6EFD8FCA-2882-43E7-8401-F808EBD7BBC2}"/>
                </a:ext>
              </a:extLst>
            </p:cNvPr>
            <p:cNvSpPr>
              <a:spLocks/>
            </p:cNvSpPr>
            <p:nvPr/>
          </p:nvSpPr>
          <p:spPr bwMode="auto">
            <a:xfrm>
              <a:off x="4613607" y="5020341"/>
              <a:ext cx="5369" cy="20135"/>
            </a:xfrm>
            <a:custGeom>
              <a:avLst/>
              <a:gdLst>
                <a:gd name="T0" fmla="*/ 1 w 2"/>
                <a:gd name="T1" fmla="*/ 0 h 6"/>
                <a:gd name="T2" fmla="*/ 0 w 2"/>
                <a:gd name="T3" fmla="*/ 5 h 6"/>
                <a:gd name="T4" fmla="*/ 1 w 2"/>
                <a:gd name="T5" fmla="*/ 6 h 6"/>
                <a:gd name="T6" fmla="*/ 1 w 2"/>
                <a:gd name="T7" fmla="*/ 0 h 6"/>
              </a:gdLst>
              <a:ahLst/>
              <a:cxnLst>
                <a:cxn ang="0">
                  <a:pos x="T0" y="T1"/>
                </a:cxn>
                <a:cxn ang="0">
                  <a:pos x="T2" y="T3"/>
                </a:cxn>
                <a:cxn ang="0">
                  <a:pos x="T4" y="T5"/>
                </a:cxn>
                <a:cxn ang="0">
                  <a:pos x="T6" y="T7"/>
                </a:cxn>
              </a:cxnLst>
              <a:rect l="0" t="0" r="r" b="b"/>
              <a:pathLst>
                <a:path w="2" h="6">
                  <a:moveTo>
                    <a:pt x="1" y="0"/>
                  </a:moveTo>
                  <a:cubicBezTo>
                    <a:pt x="1" y="1"/>
                    <a:pt x="0" y="4"/>
                    <a:pt x="0" y="5"/>
                  </a:cubicBezTo>
                  <a:cubicBezTo>
                    <a:pt x="1" y="6"/>
                    <a:pt x="1" y="6"/>
                    <a:pt x="1" y="6"/>
                  </a:cubicBezTo>
                  <a:cubicBezTo>
                    <a:pt x="2" y="6"/>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 name="Freeform 1298">
              <a:extLst>
                <a:ext uri="{FF2B5EF4-FFF2-40B4-BE49-F238E27FC236}">
                  <a16:creationId xmlns:a16="http://schemas.microsoft.com/office/drawing/2014/main" id="{EC3A3827-77F6-4677-8403-B98D63FB7CF4}"/>
                </a:ext>
              </a:extLst>
            </p:cNvPr>
            <p:cNvSpPr>
              <a:spLocks/>
            </p:cNvSpPr>
            <p:nvPr/>
          </p:nvSpPr>
          <p:spPr bwMode="auto">
            <a:xfrm>
              <a:off x="4571995" y="5208268"/>
              <a:ext cx="25504" cy="18793"/>
            </a:xfrm>
            <a:custGeom>
              <a:avLst/>
              <a:gdLst>
                <a:gd name="T0" fmla="*/ 3 w 8"/>
                <a:gd name="T1" fmla="*/ 0 h 6"/>
                <a:gd name="T2" fmla="*/ 3 w 8"/>
                <a:gd name="T3" fmla="*/ 5 h 6"/>
                <a:gd name="T4" fmla="*/ 5 w 8"/>
                <a:gd name="T5" fmla="*/ 6 h 6"/>
                <a:gd name="T6" fmla="*/ 7 w 8"/>
                <a:gd name="T7" fmla="*/ 3 h 6"/>
                <a:gd name="T8" fmla="*/ 3 w 8"/>
                <a:gd name="T9" fmla="*/ 0 h 6"/>
              </a:gdLst>
              <a:ahLst/>
              <a:cxnLst>
                <a:cxn ang="0">
                  <a:pos x="T0" y="T1"/>
                </a:cxn>
                <a:cxn ang="0">
                  <a:pos x="T2" y="T3"/>
                </a:cxn>
                <a:cxn ang="0">
                  <a:pos x="T4" y="T5"/>
                </a:cxn>
                <a:cxn ang="0">
                  <a:pos x="T6" y="T7"/>
                </a:cxn>
                <a:cxn ang="0">
                  <a:pos x="T8" y="T9"/>
                </a:cxn>
              </a:cxnLst>
              <a:rect l="0" t="0" r="r" b="b"/>
              <a:pathLst>
                <a:path w="8" h="6">
                  <a:moveTo>
                    <a:pt x="3" y="0"/>
                  </a:moveTo>
                  <a:cubicBezTo>
                    <a:pt x="0" y="1"/>
                    <a:pt x="1" y="4"/>
                    <a:pt x="3" y="5"/>
                  </a:cubicBezTo>
                  <a:cubicBezTo>
                    <a:pt x="4" y="6"/>
                    <a:pt x="4" y="6"/>
                    <a:pt x="5" y="6"/>
                  </a:cubicBezTo>
                  <a:cubicBezTo>
                    <a:pt x="6" y="6"/>
                    <a:pt x="7" y="5"/>
                    <a:pt x="7" y="3"/>
                  </a:cubicBezTo>
                  <a:cubicBezTo>
                    <a:pt x="8" y="1"/>
                    <a:pt x="6"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 name="Freeform 1299">
              <a:extLst>
                <a:ext uri="{FF2B5EF4-FFF2-40B4-BE49-F238E27FC236}">
                  <a16:creationId xmlns:a16="http://schemas.microsoft.com/office/drawing/2014/main" id="{E945ED12-4937-46A4-8211-D3D20D8E0C12}"/>
                </a:ext>
              </a:extLst>
            </p:cNvPr>
            <p:cNvSpPr>
              <a:spLocks/>
            </p:cNvSpPr>
            <p:nvPr/>
          </p:nvSpPr>
          <p:spPr bwMode="auto">
            <a:xfrm>
              <a:off x="4304870" y="5541167"/>
              <a:ext cx="18793" cy="22820"/>
            </a:xfrm>
            <a:custGeom>
              <a:avLst/>
              <a:gdLst>
                <a:gd name="T0" fmla="*/ 3 w 6"/>
                <a:gd name="T1" fmla="*/ 0 h 7"/>
                <a:gd name="T2" fmla="*/ 1 w 6"/>
                <a:gd name="T3" fmla="*/ 6 h 7"/>
                <a:gd name="T4" fmla="*/ 2 w 6"/>
                <a:gd name="T5" fmla="*/ 7 h 7"/>
                <a:gd name="T6" fmla="*/ 3 w 6"/>
                <a:gd name="T7" fmla="*/ 6 h 7"/>
                <a:gd name="T8" fmla="*/ 3 w 6"/>
                <a:gd name="T9" fmla="*/ 0 h 7"/>
              </a:gdLst>
              <a:ahLst/>
              <a:cxnLst>
                <a:cxn ang="0">
                  <a:pos x="T0" y="T1"/>
                </a:cxn>
                <a:cxn ang="0">
                  <a:pos x="T2" y="T3"/>
                </a:cxn>
                <a:cxn ang="0">
                  <a:pos x="T4" y="T5"/>
                </a:cxn>
                <a:cxn ang="0">
                  <a:pos x="T6" y="T7"/>
                </a:cxn>
                <a:cxn ang="0">
                  <a:pos x="T8" y="T9"/>
                </a:cxn>
              </a:cxnLst>
              <a:rect l="0" t="0" r="r" b="b"/>
              <a:pathLst>
                <a:path w="6" h="7">
                  <a:moveTo>
                    <a:pt x="3" y="0"/>
                  </a:moveTo>
                  <a:cubicBezTo>
                    <a:pt x="2" y="3"/>
                    <a:pt x="0" y="3"/>
                    <a:pt x="1" y="6"/>
                  </a:cubicBezTo>
                  <a:cubicBezTo>
                    <a:pt x="1" y="6"/>
                    <a:pt x="1" y="7"/>
                    <a:pt x="2" y="7"/>
                  </a:cubicBezTo>
                  <a:cubicBezTo>
                    <a:pt x="2" y="7"/>
                    <a:pt x="3" y="7"/>
                    <a:pt x="3" y="6"/>
                  </a:cubicBezTo>
                  <a:cubicBezTo>
                    <a:pt x="6" y="3"/>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 name="Freeform 1300">
              <a:extLst>
                <a:ext uri="{FF2B5EF4-FFF2-40B4-BE49-F238E27FC236}">
                  <a16:creationId xmlns:a16="http://schemas.microsoft.com/office/drawing/2014/main" id="{FD4D5BC2-90C4-49F8-85DA-1C8581E505CC}"/>
                </a:ext>
              </a:extLst>
            </p:cNvPr>
            <p:cNvSpPr>
              <a:spLocks/>
            </p:cNvSpPr>
            <p:nvPr/>
          </p:nvSpPr>
          <p:spPr bwMode="auto">
            <a:xfrm>
              <a:off x="5735800" y="5522375"/>
              <a:ext cx="32216" cy="16108"/>
            </a:xfrm>
            <a:custGeom>
              <a:avLst/>
              <a:gdLst>
                <a:gd name="T0" fmla="*/ 7 w 10"/>
                <a:gd name="T1" fmla="*/ 0 h 5"/>
                <a:gd name="T2" fmla="*/ 1 w 10"/>
                <a:gd name="T3" fmla="*/ 4 h 5"/>
                <a:gd name="T4" fmla="*/ 6 w 10"/>
                <a:gd name="T5" fmla="*/ 5 h 5"/>
                <a:gd name="T6" fmla="*/ 7 w 10"/>
                <a:gd name="T7" fmla="*/ 5 h 5"/>
                <a:gd name="T8" fmla="*/ 7 w 10"/>
                <a:gd name="T9" fmla="*/ 0 h 5"/>
              </a:gdLst>
              <a:ahLst/>
              <a:cxnLst>
                <a:cxn ang="0">
                  <a:pos x="T0" y="T1"/>
                </a:cxn>
                <a:cxn ang="0">
                  <a:pos x="T2" y="T3"/>
                </a:cxn>
                <a:cxn ang="0">
                  <a:pos x="T4" y="T5"/>
                </a:cxn>
                <a:cxn ang="0">
                  <a:pos x="T6" y="T7"/>
                </a:cxn>
                <a:cxn ang="0">
                  <a:pos x="T8" y="T9"/>
                </a:cxn>
              </a:cxnLst>
              <a:rect l="0" t="0" r="r" b="b"/>
              <a:pathLst>
                <a:path w="10" h="5">
                  <a:moveTo>
                    <a:pt x="7" y="0"/>
                  </a:moveTo>
                  <a:cubicBezTo>
                    <a:pt x="6" y="0"/>
                    <a:pt x="0" y="2"/>
                    <a:pt x="1" y="4"/>
                  </a:cubicBezTo>
                  <a:cubicBezTo>
                    <a:pt x="1" y="4"/>
                    <a:pt x="5" y="5"/>
                    <a:pt x="6" y="5"/>
                  </a:cubicBezTo>
                  <a:cubicBezTo>
                    <a:pt x="7" y="5"/>
                    <a:pt x="7" y="5"/>
                    <a:pt x="7" y="5"/>
                  </a:cubicBezTo>
                  <a:cubicBezTo>
                    <a:pt x="10" y="5"/>
                    <a:pt x="9" y="3"/>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 name="Freeform 1301">
              <a:extLst>
                <a:ext uri="{FF2B5EF4-FFF2-40B4-BE49-F238E27FC236}">
                  <a16:creationId xmlns:a16="http://schemas.microsoft.com/office/drawing/2014/main" id="{AA4330FE-4B87-4494-AE2A-DA9B0386EAC3}"/>
                </a:ext>
              </a:extLst>
            </p:cNvPr>
            <p:cNvSpPr>
              <a:spLocks/>
            </p:cNvSpPr>
            <p:nvPr/>
          </p:nvSpPr>
          <p:spPr bwMode="auto">
            <a:xfrm>
              <a:off x="5533107" y="4966647"/>
              <a:ext cx="44297" cy="32216"/>
            </a:xfrm>
            <a:custGeom>
              <a:avLst/>
              <a:gdLst>
                <a:gd name="T0" fmla="*/ 0 w 14"/>
                <a:gd name="T1" fmla="*/ 0 h 10"/>
                <a:gd name="T2" fmla="*/ 0 w 14"/>
                <a:gd name="T3" fmla="*/ 0 h 10"/>
                <a:gd name="T4" fmla="*/ 3 w 14"/>
                <a:gd name="T5" fmla="*/ 10 h 10"/>
                <a:gd name="T6" fmla="*/ 4 w 14"/>
                <a:gd name="T7" fmla="*/ 10 h 10"/>
                <a:gd name="T8" fmla="*/ 5 w 14"/>
                <a:gd name="T9" fmla="*/ 10 h 10"/>
                <a:gd name="T10" fmla="*/ 6 w 14"/>
                <a:gd name="T11" fmla="*/ 10 h 10"/>
                <a:gd name="T12" fmla="*/ 6 w 14"/>
                <a:gd name="T13" fmla="*/ 10 h 10"/>
                <a:gd name="T14" fmla="*/ 8 w 14"/>
                <a:gd name="T15" fmla="*/ 10 h 10"/>
                <a:gd name="T16" fmla="*/ 14 w 14"/>
                <a:gd name="T17" fmla="*/ 8 h 10"/>
                <a:gd name="T18" fmla="*/ 14 w 14"/>
                <a:gd name="T19" fmla="*/ 8 h 10"/>
                <a:gd name="T20" fmla="*/ 12 w 14"/>
                <a:gd name="T21" fmla="*/ 7 h 10"/>
                <a:gd name="T22" fmla="*/ 9 w 14"/>
                <a:gd name="T23" fmla="*/ 7 h 10"/>
                <a:gd name="T24" fmla="*/ 6 w 14"/>
                <a:gd name="T25" fmla="*/ 4 h 10"/>
                <a:gd name="T26" fmla="*/ 0 w 14"/>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0">
                  <a:moveTo>
                    <a:pt x="0" y="0"/>
                  </a:moveTo>
                  <a:cubicBezTo>
                    <a:pt x="0" y="0"/>
                    <a:pt x="0" y="0"/>
                    <a:pt x="0" y="0"/>
                  </a:cubicBezTo>
                  <a:cubicBezTo>
                    <a:pt x="0" y="2"/>
                    <a:pt x="0" y="9"/>
                    <a:pt x="3" y="10"/>
                  </a:cubicBezTo>
                  <a:cubicBezTo>
                    <a:pt x="2" y="10"/>
                    <a:pt x="3" y="10"/>
                    <a:pt x="4" y="10"/>
                  </a:cubicBezTo>
                  <a:cubicBezTo>
                    <a:pt x="4" y="10"/>
                    <a:pt x="5" y="10"/>
                    <a:pt x="5" y="10"/>
                  </a:cubicBezTo>
                  <a:cubicBezTo>
                    <a:pt x="6" y="10"/>
                    <a:pt x="6" y="10"/>
                    <a:pt x="6" y="10"/>
                  </a:cubicBezTo>
                  <a:cubicBezTo>
                    <a:pt x="6" y="10"/>
                    <a:pt x="6" y="10"/>
                    <a:pt x="6" y="10"/>
                  </a:cubicBezTo>
                  <a:cubicBezTo>
                    <a:pt x="7" y="10"/>
                    <a:pt x="8" y="10"/>
                    <a:pt x="8" y="10"/>
                  </a:cubicBezTo>
                  <a:cubicBezTo>
                    <a:pt x="10" y="10"/>
                    <a:pt x="12" y="10"/>
                    <a:pt x="14" y="8"/>
                  </a:cubicBezTo>
                  <a:cubicBezTo>
                    <a:pt x="14" y="8"/>
                    <a:pt x="14" y="8"/>
                    <a:pt x="14" y="8"/>
                  </a:cubicBezTo>
                  <a:cubicBezTo>
                    <a:pt x="13" y="8"/>
                    <a:pt x="12" y="8"/>
                    <a:pt x="12" y="7"/>
                  </a:cubicBezTo>
                  <a:cubicBezTo>
                    <a:pt x="9" y="7"/>
                    <a:pt x="9" y="7"/>
                    <a:pt x="9" y="7"/>
                  </a:cubicBezTo>
                  <a:cubicBezTo>
                    <a:pt x="8" y="6"/>
                    <a:pt x="8" y="4"/>
                    <a:pt x="6" y="4"/>
                  </a:cubicBezTo>
                  <a:cubicBezTo>
                    <a:pt x="6" y="2"/>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 name="Freeform 1302">
              <a:extLst>
                <a:ext uri="{FF2B5EF4-FFF2-40B4-BE49-F238E27FC236}">
                  <a16:creationId xmlns:a16="http://schemas.microsoft.com/office/drawing/2014/main" id="{06797A5A-0704-4D60-A9B3-767D8BAC30E5}"/>
                </a:ext>
              </a:extLst>
            </p:cNvPr>
            <p:cNvSpPr>
              <a:spLocks/>
            </p:cNvSpPr>
            <p:nvPr/>
          </p:nvSpPr>
          <p:spPr bwMode="auto">
            <a:xfrm>
              <a:off x="4676697" y="5519690"/>
              <a:ext cx="63090" cy="21477"/>
            </a:xfrm>
            <a:custGeom>
              <a:avLst/>
              <a:gdLst>
                <a:gd name="T0" fmla="*/ 12 w 20"/>
                <a:gd name="T1" fmla="*/ 0 h 7"/>
                <a:gd name="T2" fmla="*/ 7 w 20"/>
                <a:gd name="T3" fmla="*/ 0 h 7"/>
                <a:gd name="T4" fmla="*/ 4 w 20"/>
                <a:gd name="T5" fmla="*/ 0 h 7"/>
                <a:gd name="T6" fmla="*/ 4 w 20"/>
                <a:gd name="T7" fmla="*/ 0 h 7"/>
                <a:gd name="T8" fmla="*/ 3 w 20"/>
                <a:gd name="T9" fmla="*/ 3 h 7"/>
                <a:gd name="T10" fmla="*/ 5 w 20"/>
                <a:gd name="T11" fmla="*/ 2 h 7"/>
                <a:gd name="T12" fmla="*/ 2 w 20"/>
                <a:gd name="T13" fmla="*/ 4 h 7"/>
                <a:gd name="T14" fmla="*/ 3 w 20"/>
                <a:gd name="T15" fmla="*/ 7 h 7"/>
                <a:gd name="T16" fmla="*/ 5 w 20"/>
                <a:gd name="T17" fmla="*/ 7 h 7"/>
                <a:gd name="T18" fmla="*/ 11 w 20"/>
                <a:gd name="T19" fmla="*/ 6 h 7"/>
                <a:gd name="T20" fmla="*/ 18 w 20"/>
                <a:gd name="T21" fmla="*/ 5 h 7"/>
                <a:gd name="T22" fmla="*/ 19 w 20"/>
                <a:gd name="T23" fmla="*/ 1 h 7"/>
                <a:gd name="T24" fmla="*/ 12 w 20"/>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7">
                  <a:moveTo>
                    <a:pt x="12" y="0"/>
                  </a:moveTo>
                  <a:cubicBezTo>
                    <a:pt x="10" y="0"/>
                    <a:pt x="9" y="0"/>
                    <a:pt x="7" y="0"/>
                  </a:cubicBezTo>
                  <a:cubicBezTo>
                    <a:pt x="6" y="0"/>
                    <a:pt x="5" y="0"/>
                    <a:pt x="4" y="0"/>
                  </a:cubicBezTo>
                  <a:cubicBezTo>
                    <a:pt x="4" y="0"/>
                    <a:pt x="4" y="0"/>
                    <a:pt x="4" y="0"/>
                  </a:cubicBezTo>
                  <a:cubicBezTo>
                    <a:pt x="2" y="1"/>
                    <a:pt x="1" y="3"/>
                    <a:pt x="3" y="3"/>
                  </a:cubicBezTo>
                  <a:cubicBezTo>
                    <a:pt x="3" y="3"/>
                    <a:pt x="4" y="3"/>
                    <a:pt x="5" y="2"/>
                  </a:cubicBezTo>
                  <a:cubicBezTo>
                    <a:pt x="4" y="3"/>
                    <a:pt x="3" y="3"/>
                    <a:pt x="2" y="4"/>
                  </a:cubicBezTo>
                  <a:cubicBezTo>
                    <a:pt x="0" y="7"/>
                    <a:pt x="1" y="7"/>
                    <a:pt x="3" y="7"/>
                  </a:cubicBezTo>
                  <a:cubicBezTo>
                    <a:pt x="4" y="7"/>
                    <a:pt x="4" y="7"/>
                    <a:pt x="5" y="7"/>
                  </a:cubicBezTo>
                  <a:cubicBezTo>
                    <a:pt x="7" y="7"/>
                    <a:pt x="9" y="7"/>
                    <a:pt x="11" y="6"/>
                  </a:cubicBezTo>
                  <a:cubicBezTo>
                    <a:pt x="13" y="6"/>
                    <a:pt x="17" y="6"/>
                    <a:pt x="18" y="5"/>
                  </a:cubicBezTo>
                  <a:cubicBezTo>
                    <a:pt x="19" y="4"/>
                    <a:pt x="20" y="3"/>
                    <a:pt x="19" y="1"/>
                  </a:cubicBezTo>
                  <a:cubicBezTo>
                    <a:pt x="18" y="0"/>
                    <a:pt x="15"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 name="Freeform 1303">
              <a:extLst>
                <a:ext uri="{FF2B5EF4-FFF2-40B4-BE49-F238E27FC236}">
                  <a16:creationId xmlns:a16="http://schemas.microsoft.com/office/drawing/2014/main" id="{E6144B47-1118-45DD-9989-29FB17B08E6A}"/>
                </a:ext>
              </a:extLst>
            </p:cNvPr>
            <p:cNvSpPr>
              <a:spLocks/>
            </p:cNvSpPr>
            <p:nvPr/>
          </p:nvSpPr>
          <p:spPr bwMode="auto">
            <a:xfrm>
              <a:off x="5149199" y="4976044"/>
              <a:ext cx="32216" cy="32216"/>
            </a:xfrm>
            <a:custGeom>
              <a:avLst/>
              <a:gdLst>
                <a:gd name="T0" fmla="*/ 6 w 10"/>
                <a:gd name="T1" fmla="*/ 0 h 10"/>
                <a:gd name="T2" fmla="*/ 5 w 10"/>
                <a:gd name="T3" fmla="*/ 0 h 10"/>
                <a:gd name="T4" fmla="*/ 1 w 10"/>
                <a:gd name="T5" fmla="*/ 5 h 10"/>
                <a:gd name="T6" fmla="*/ 5 w 10"/>
                <a:gd name="T7" fmla="*/ 10 h 10"/>
                <a:gd name="T8" fmla="*/ 5 w 10"/>
                <a:gd name="T9" fmla="*/ 10 h 10"/>
                <a:gd name="T10" fmla="*/ 10 w 10"/>
                <a:gd name="T11" fmla="*/ 3 h 10"/>
                <a:gd name="T12" fmla="*/ 6 w 1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6" y="0"/>
                  </a:moveTo>
                  <a:cubicBezTo>
                    <a:pt x="6" y="0"/>
                    <a:pt x="5" y="0"/>
                    <a:pt x="5" y="0"/>
                  </a:cubicBezTo>
                  <a:cubicBezTo>
                    <a:pt x="1" y="0"/>
                    <a:pt x="0" y="2"/>
                    <a:pt x="1" y="5"/>
                  </a:cubicBezTo>
                  <a:cubicBezTo>
                    <a:pt x="2" y="6"/>
                    <a:pt x="3" y="10"/>
                    <a:pt x="5" y="10"/>
                  </a:cubicBezTo>
                  <a:cubicBezTo>
                    <a:pt x="5" y="10"/>
                    <a:pt x="5" y="10"/>
                    <a:pt x="5" y="10"/>
                  </a:cubicBezTo>
                  <a:cubicBezTo>
                    <a:pt x="8" y="10"/>
                    <a:pt x="10" y="5"/>
                    <a:pt x="10" y="3"/>
                  </a:cubicBezTo>
                  <a:cubicBezTo>
                    <a:pt x="9" y="1"/>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 name="Freeform 1304">
              <a:extLst>
                <a:ext uri="{FF2B5EF4-FFF2-40B4-BE49-F238E27FC236}">
                  <a16:creationId xmlns:a16="http://schemas.microsoft.com/office/drawing/2014/main" id="{EC3F7418-DB75-44AF-AB79-B01E254F4A0F}"/>
                </a:ext>
              </a:extLst>
            </p:cNvPr>
            <p:cNvSpPr>
              <a:spLocks/>
            </p:cNvSpPr>
            <p:nvPr/>
          </p:nvSpPr>
          <p:spPr bwMode="auto">
            <a:xfrm>
              <a:off x="5130406" y="4970674"/>
              <a:ext cx="21477" cy="9396"/>
            </a:xfrm>
            <a:custGeom>
              <a:avLst/>
              <a:gdLst>
                <a:gd name="T0" fmla="*/ 4 w 7"/>
                <a:gd name="T1" fmla="*/ 0 h 3"/>
                <a:gd name="T2" fmla="*/ 3 w 7"/>
                <a:gd name="T3" fmla="*/ 1 h 3"/>
                <a:gd name="T4" fmla="*/ 2 w 7"/>
                <a:gd name="T5" fmla="*/ 0 h 3"/>
                <a:gd name="T6" fmla="*/ 2 w 7"/>
                <a:gd name="T7" fmla="*/ 0 h 3"/>
                <a:gd name="T8" fmla="*/ 2 w 7"/>
                <a:gd name="T9" fmla="*/ 0 h 3"/>
                <a:gd name="T10" fmla="*/ 0 w 7"/>
                <a:gd name="T11" fmla="*/ 3 h 3"/>
                <a:gd name="T12" fmla="*/ 7 w 7"/>
                <a:gd name="T13" fmla="*/ 0 h 3"/>
                <a:gd name="T14" fmla="*/ 6 w 7"/>
                <a:gd name="T15" fmla="*/ 0 h 3"/>
                <a:gd name="T16" fmla="*/ 6 w 7"/>
                <a:gd name="T17" fmla="*/ 0 h 3"/>
                <a:gd name="T18" fmla="*/ 5 w 7"/>
                <a:gd name="T19" fmla="*/ 0 h 3"/>
                <a:gd name="T20" fmla="*/ 4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4" y="0"/>
                  </a:moveTo>
                  <a:cubicBezTo>
                    <a:pt x="4" y="1"/>
                    <a:pt x="3" y="1"/>
                    <a:pt x="3" y="1"/>
                  </a:cubicBezTo>
                  <a:cubicBezTo>
                    <a:pt x="3" y="1"/>
                    <a:pt x="3" y="1"/>
                    <a:pt x="2" y="0"/>
                  </a:cubicBezTo>
                  <a:cubicBezTo>
                    <a:pt x="2" y="0"/>
                    <a:pt x="2" y="0"/>
                    <a:pt x="2" y="0"/>
                  </a:cubicBezTo>
                  <a:cubicBezTo>
                    <a:pt x="2" y="0"/>
                    <a:pt x="2" y="0"/>
                    <a:pt x="2" y="0"/>
                  </a:cubicBezTo>
                  <a:cubicBezTo>
                    <a:pt x="1" y="1"/>
                    <a:pt x="1" y="2"/>
                    <a:pt x="0" y="3"/>
                  </a:cubicBezTo>
                  <a:cubicBezTo>
                    <a:pt x="3" y="2"/>
                    <a:pt x="5" y="1"/>
                    <a:pt x="7" y="0"/>
                  </a:cubicBezTo>
                  <a:cubicBezTo>
                    <a:pt x="7" y="0"/>
                    <a:pt x="7" y="0"/>
                    <a:pt x="6" y="0"/>
                  </a:cubicBezTo>
                  <a:cubicBezTo>
                    <a:pt x="6" y="0"/>
                    <a:pt x="6" y="0"/>
                    <a:pt x="6" y="0"/>
                  </a:cubicBezTo>
                  <a:cubicBezTo>
                    <a:pt x="6" y="0"/>
                    <a:pt x="5" y="0"/>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 name="Freeform 1305">
              <a:extLst>
                <a:ext uri="{FF2B5EF4-FFF2-40B4-BE49-F238E27FC236}">
                  <a16:creationId xmlns:a16="http://schemas.microsoft.com/office/drawing/2014/main" id="{7CD41A28-000D-4350-A8CF-B9C9BCBD083F}"/>
                </a:ext>
              </a:extLst>
            </p:cNvPr>
            <p:cNvSpPr>
              <a:spLocks/>
            </p:cNvSpPr>
            <p:nvPr/>
          </p:nvSpPr>
          <p:spPr bwMode="auto">
            <a:xfrm>
              <a:off x="3192074" y="4910269"/>
              <a:ext cx="37585" cy="25504"/>
            </a:xfrm>
            <a:custGeom>
              <a:avLst/>
              <a:gdLst>
                <a:gd name="T0" fmla="*/ 2 w 12"/>
                <a:gd name="T1" fmla="*/ 0 h 8"/>
                <a:gd name="T2" fmla="*/ 0 w 12"/>
                <a:gd name="T3" fmla="*/ 5 h 8"/>
                <a:gd name="T4" fmla="*/ 3 w 12"/>
                <a:gd name="T5" fmla="*/ 6 h 8"/>
                <a:gd name="T6" fmla="*/ 3 w 12"/>
                <a:gd name="T7" fmla="*/ 6 h 8"/>
                <a:gd name="T8" fmla="*/ 7 w 12"/>
                <a:gd name="T9" fmla="*/ 5 h 8"/>
                <a:gd name="T10" fmla="*/ 7 w 12"/>
                <a:gd name="T11" fmla="*/ 5 h 8"/>
                <a:gd name="T12" fmla="*/ 12 w 12"/>
                <a:gd name="T13" fmla="*/ 8 h 8"/>
                <a:gd name="T14" fmla="*/ 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0"/>
                  </a:moveTo>
                  <a:cubicBezTo>
                    <a:pt x="2" y="2"/>
                    <a:pt x="0" y="4"/>
                    <a:pt x="0" y="5"/>
                  </a:cubicBezTo>
                  <a:cubicBezTo>
                    <a:pt x="0" y="6"/>
                    <a:pt x="3" y="6"/>
                    <a:pt x="3" y="6"/>
                  </a:cubicBezTo>
                  <a:cubicBezTo>
                    <a:pt x="3" y="6"/>
                    <a:pt x="3" y="6"/>
                    <a:pt x="3" y="6"/>
                  </a:cubicBezTo>
                  <a:cubicBezTo>
                    <a:pt x="4" y="6"/>
                    <a:pt x="5" y="5"/>
                    <a:pt x="7" y="5"/>
                  </a:cubicBezTo>
                  <a:cubicBezTo>
                    <a:pt x="7" y="5"/>
                    <a:pt x="7" y="5"/>
                    <a:pt x="7" y="5"/>
                  </a:cubicBezTo>
                  <a:cubicBezTo>
                    <a:pt x="8" y="5"/>
                    <a:pt x="10" y="7"/>
                    <a:pt x="12" y="8"/>
                  </a:cubicBezTo>
                  <a:cubicBezTo>
                    <a:pt x="9" y="5"/>
                    <a:pt x="6"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 name="Freeform 1306">
              <a:extLst>
                <a:ext uri="{FF2B5EF4-FFF2-40B4-BE49-F238E27FC236}">
                  <a16:creationId xmlns:a16="http://schemas.microsoft.com/office/drawing/2014/main" id="{1AC8B4C7-4F63-4B1A-8D37-1FE81F3E4DDB}"/>
                </a:ext>
              </a:extLst>
            </p:cNvPr>
            <p:cNvSpPr>
              <a:spLocks/>
            </p:cNvSpPr>
            <p:nvPr/>
          </p:nvSpPr>
          <p:spPr bwMode="auto">
            <a:xfrm>
              <a:off x="4967984" y="4712946"/>
              <a:ext cx="32216" cy="48324"/>
            </a:xfrm>
            <a:custGeom>
              <a:avLst/>
              <a:gdLst>
                <a:gd name="T0" fmla="*/ 8 w 10"/>
                <a:gd name="T1" fmla="*/ 0 h 15"/>
                <a:gd name="T2" fmla="*/ 0 w 10"/>
                <a:gd name="T3" fmla="*/ 8 h 15"/>
                <a:gd name="T4" fmla="*/ 0 w 10"/>
                <a:gd name="T5" fmla="*/ 11 h 15"/>
                <a:gd name="T6" fmla="*/ 1 w 10"/>
                <a:gd name="T7" fmla="*/ 15 h 15"/>
                <a:gd name="T8" fmla="*/ 7 w 10"/>
                <a:gd name="T9" fmla="*/ 13 h 15"/>
                <a:gd name="T10" fmla="*/ 8 w 10"/>
                <a:gd name="T11" fmla="*/ 0 h 15"/>
              </a:gdLst>
              <a:ahLst/>
              <a:cxnLst>
                <a:cxn ang="0">
                  <a:pos x="T0" y="T1"/>
                </a:cxn>
                <a:cxn ang="0">
                  <a:pos x="T2" y="T3"/>
                </a:cxn>
                <a:cxn ang="0">
                  <a:pos x="T4" y="T5"/>
                </a:cxn>
                <a:cxn ang="0">
                  <a:pos x="T6" y="T7"/>
                </a:cxn>
                <a:cxn ang="0">
                  <a:pos x="T8" y="T9"/>
                </a:cxn>
                <a:cxn ang="0">
                  <a:pos x="T10" y="T11"/>
                </a:cxn>
              </a:cxnLst>
              <a:rect l="0" t="0" r="r" b="b"/>
              <a:pathLst>
                <a:path w="10" h="15">
                  <a:moveTo>
                    <a:pt x="8" y="0"/>
                  </a:moveTo>
                  <a:cubicBezTo>
                    <a:pt x="5" y="1"/>
                    <a:pt x="1" y="4"/>
                    <a:pt x="0" y="8"/>
                  </a:cubicBezTo>
                  <a:cubicBezTo>
                    <a:pt x="0" y="9"/>
                    <a:pt x="0" y="10"/>
                    <a:pt x="0" y="11"/>
                  </a:cubicBezTo>
                  <a:cubicBezTo>
                    <a:pt x="1" y="12"/>
                    <a:pt x="2" y="14"/>
                    <a:pt x="1" y="15"/>
                  </a:cubicBezTo>
                  <a:cubicBezTo>
                    <a:pt x="3" y="15"/>
                    <a:pt x="6" y="14"/>
                    <a:pt x="7" y="13"/>
                  </a:cubicBezTo>
                  <a:cubicBezTo>
                    <a:pt x="10" y="11"/>
                    <a:pt x="10" y="2"/>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 name="Freeform 1307">
              <a:extLst>
                <a:ext uri="{FF2B5EF4-FFF2-40B4-BE49-F238E27FC236}">
                  <a16:creationId xmlns:a16="http://schemas.microsoft.com/office/drawing/2014/main" id="{06549664-E2DB-4DFD-B42F-BA72C49FB5F2}"/>
                </a:ext>
              </a:extLst>
            </p:cNvPr>
            <p:cNvSpPr>
              <a:spLocks/>
            </p:cNvSpPr>
            <p:nvPr/>
          </p:nvSpPr>
          <p:spPr bwMode="auto">
            <a:xfrm>
              <a:off x="4742471" y="5043160"/>
              <a:ext cx="85909" cy="12081"/>
            </a:xfrm>
            <a:custGeom>
              <a:avLst/>
              <a:gdLst>
                <a:gd name="T0" fmla="*/ 5 w 27"/>
                <a:gd name="T1" fmla="*/ 0 h 4"/>
                <a:gd name="T2" fmla="*/ 5 w 27"/>
                <a:gd name="T3" fmla="*/ 4 h 4"/>
                <a:gd name="T4" fmla="*/ 12 w 27"/>
                <a:gd name="T5" fmla="*/ 3 h 4"/>
                <a:gd name="T6" fmla="*/ 13 w 27"/>
                <a:gd name="T7" fmla="*/ 3 h 4"/>
                <a:gd name="T8" fmla="*/ 15 w 27"/>
                <a:gd name="T9" fmla="*/ 3 h 4"/>
                <a:gd name="T10" fmla="*/ 16 w 27"/>
                <a:gd name="T11" fmla="*/ 4 h 4"/>
                <a:gd name="T12" fmla="*/ 17 w 27"/>
                <a:gd name="T13" fmla="*/ 4 h 4"/>
                <a:gd name="T14" fmla="*/ 27 w 27"/>
                <a:gd name="T15" fmla="*/ 1 h 4"/>
                <a:gd name="T16" fmla="*/ 5 w 2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
                  <a:moveTo>
                    <a:pt x="5" y="0"/>
                  </a:moveTo>
                  <a:cubicBezTo>
                    <a:pt x="0" y="2"/>
                    <a:pt x="5" y="2"/>
                    <a:pt x="5" y="4"/>
                  </a:cubicBezTo>
                  <a:cubicBezTo>
                    <a:pt x="7" y="4"/>
                    <a:pt x="10" y="3"/>
                    <a:pt x="12" y="3"/>
                  </a:cubicBezTo>
                  <a:cubicBezTo>
                    <a:pt x="12" y="3"/>
                    <a:pt x="12" y="3"/>
                    <a:pt x="13" y="3"/>
                  </a:cubicBezTo>
                  <a:cubicBezTo>
                    <a:pt x="13" y="3"/>
                    <a:pt x="14" y="3"/>
                    <a:pt x="15" y="3"/>
                  </a:cubicBezTo>
                  <a:cubicBezTo>
                    <a:pt x="15" y="3"/>
                    <a:pt x="16" y="4"/>
                    <a:pt x="16" y="4"/>
                  </a:cubicBezTo>
                  <a:cubicBezTo>
                    <a:pt x="17" y="4"/>
                    <a:pt x="17" y="4"/>
                    <a:pt x="17" y="4"/>
                  </a:cubicBezTo>
                  <a:cubicBezTo>
                    <a:pt x="19" y="3"/>
                    <a:pt x="25" y="3"/>
                    <a:pt x="27" y="1"/>
                  </a:cubicBezTo>
                  <a:cubicBezTo>
                    <a:pt x="19" y="0"/>
                    <a:pt x="12"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 name="Freeform 1308">
              <a:extLst>
                <a:ext uri="{FF2B5EF4-FFF2-40B4-BE49-F238E27FC236}">
                  <a16:creationId xmlns:a16="http://schemas.microsoft.com/office/drawing/2014/main" id="{4087C023-5E15-4F46-A263-F29D9199710F}"/>
                </a:ext>
              </a:extLst>
            </p:cNvPr>
            <p:cNvSpPr>
              <a:spLocks/>
            </p:cNvSpPr>
            <p:nvPr/>
          </p:nvSpPr>
          <p:spPr bwMode="auto">
            <a:xfrm>
              <a:off x="4562598" y="5694194"/>
              <a:ext cx="46982" cy="34901"/>
            </a:xfrm>
            <a:custGeom>
              <a:avLst/>
              <a:gdLst>
                <a:gd name="T0" fmla="*/ 14 w 15"/>
                <a:gd name="T1" fmla="*/ 0 h 11"/>
                <a:gd name="T2" fmla="*/ 6 w 15"/>
                <a:gd name="T3" fmla="*/ 5 h 11"/>
                <a:gd name="T4" fmla="*/ 1 w 15"/>
                <a:gd name="T5" fmla="*/ 7 h 11"/>
                <a:gd name="T6" fmla="*/ 1 w 15"/>
                <a:gd name="T7" fmla="*/ 11 h 11"/>
                <a:gd name="T8" fmla="*/ 8 w 15"/>
                <a:gd name="T9" fmla="*/ 9 h 11"/>
                <a:gd name="T10" fmla="*/ 11 w 15"/>
                <a:gd name="T11" fmla="*/ 8 h 11"/>
                <a:gd name="T12" fmla="*/ 14 w 1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14" y="0"/>
                  </a:moveTo>
                  <a:cubicBezTo>
                    <a:pt x="12" y="1"/>
                    <a:pt x="9" y="3"/>
                    <a:pt x="6" y="5"/>
                  </a:cubicBezTo>
                  <a:cubicBezTo>
                    <a:pt x="5" y="5"/>
                    <a:pt x="2" y="6"/>
                    <a:pt x="1" y="7"/>
                  </a:cubicBezTo>
                  <a:cubicBezTo>
                    <a:pt x="0" y="10"/>
                    <a:pt x="0" y="11"/>
                    <a:pt x="1" y="11"/>
                  </a:cubicBezTo>
                  <a:cubicBezTo>
                    <a:pt x="3" y="11"/>
                    <a:pt x="7" y="9"/>
                    <a:pt x="8" y="9"/>
                  </a:cubicBezTo>
                  <a:cubicBezTo>
                    <a:pt x="9" y="8"/>
                    <a:pt x="9" y="9"/>
                    <a:pt x="11" y="8"/>
                  </a:cubicBezTo>
                  <a:cubicBezTo>
                    <a:pt x="15" y="5"/>
                    <a:pt x="15" y="5"/>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 name="Freeform 1309">
              <a:extLst>
                <a:ext uri="{FF2B5EF4-FFF2-40B4-BE49-F238E27FC236}">
                  <a16:creationId xmlns:a16="http://schemas.microsoft.com/office/drawing/2014/main" id="{196AD890-47AB-4C38-BC13-385419F3073A}"/>
                </a:ext>
              </a:extLst>
            </p:cNvPr>
            <p:cNvSpPr>
              <a:spLocks/>
            </p:cNvSpPr>
            <p:nvPr/>
          </p:nvSpPr>
          <p:spPr bwMode="auto">
            <a:xfrm>
              <a:off x="5079398" y="5036449"/>
              <a:ext cx="53693" cy="28189"/>
            </a:xfrm>
            <a:custGeom>
              <a:avLst/>
              <a:gdLst>
                <a:gd name="T0" fmla="*/ 14 w 17"/>
                <a:gd name="T1" fmla="*/ 0 h 9"/>
                <a:gd name="T2" fmla="*/ 6 w 17"/>
                <a:gd name="T3" fmla="*/ 2 h 9"/>
                <a:gd name="T4" fmla="*/ 0 w 17"/>
                <a:gd name="T5" fmla="*/ 4 h 9"/>
                <a:gd name="T6" fmla="*/ 10 w 17"/>
                <a:gd name="T7" fmla="*/ 9 h 9"/>
                <a:gd name="T8" fmla="*/ 12 w 17"/>
                <a:gd name="T9" fmla="*/ 8 h 9"/>
                <a:gd name="T10" fmla="*/ 14 w 17"/>
                <a:gd name="T11" fmla="*/ 7 h 9"/>
                <a:gd name="T12" fmla="*/ 14 w 17"/>
                <a:gd name="T13" fmla="*/ 7 h 9"/>
                <a:gd name="T14" fmla="*/ 15 w 17"/>
                <a:gd name="T15" fmla="*/ 7 h 9"/>
                <a:gd name="T16" fmla="*/ 16 w 17"/>
                <a:gd name="T17" fmla="*/ 7 h 9"/>
                <a:gd name="T18" fmla="*/ 16 w 17"/>
                <a:gd name="T19" fmla="*/ 7 h 9"/>
                <a:gd name="T20" fmla="*/ 17 w 17"/>
                <a:gd name="T21" fmla="*/ 3 h 9"/>
                <a:gd name="T22" fmla="*/ 15 w 17"/>
                <a:gd name="T23" fmla="*/ 0 h 9"/>
                <a:gd name="T24" fmla="*/ 15 w 17"/>
                <a:gd name="T25" fmla="*/ 0 h 9"/>
                <a:gd name="T26" fmla="*/ 14 w 1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9">
                  <a:moveTo>
                    <a:pt x="14" y="0"/>
                  </a:moveTo>
                  <a:cubicBezTo>
                    <a:pt x="12" y="0"/>
                    <a:pt x="8" y="1"/>
                    <a:pt x="6" y="2"/>
                  </a:cubicBezTo>
                  <a:cubicBezTo>
                    <a:pt x="4" y="2"/>
                    <a:pt x="2" y="3"/>
                    <a:pt x="0" y="4"/>
                  </a:cubicBezTo>
                  <a:cubicBezTo>
                    <a:pt x="3" y="6"/>
                    <a:pt x="7" y="7"/>
                    <a:pt x="10" y="9"/>
                  </a:cubicBezTo>
                  <a:cubicBezTo>
                    <a:pt x="10" y="9"/>
                    <a:pt x="12" y="9"/>
                    <a:pt x="12" y="8"/>
                  </a:cubicBezTo>
                  <a:cubicBezTo>
                    <a:pt x="13" y="8"/>
                    <a:pt x="13" y="7"/>
                    <a:pt x="14" y="7"/>
                  </a:cubicBezTo>
                  <a:cubicBezTo>
                    <a:pt x="14" y="7"/>
                    <a:pt x="14" y="7"/>
                    <a:pt x="14" y="7"/>
                  </a:cubicBezTo>
                  <a:cubicBezTo>
                    <a:pt x="15" y="7"/>
                    <a:pt x="15" y="7"/>
                    <a:pt x="15" y="7"/>
                  </a:cubicBezTo>
                  <a:cubicBezTo>
                    <a:pt x="15" y="7"/>
                    <a:pt x="15" y="7"/>
                    <a:pt x="16" y="7"/>
                  </a:cubicBezTo>
                  <a:cubicBezTo>
                    <a:pt x="16" y="7"/>
                    <a:pt x="16" y="7"/>
                    <a:pt x="16" y="7"/>
                  </a:cubicBezTo>
                  <a:cubicBezTo>
                    <a:pt x="16" y="7"/>
                    <a:pt x="17" y="4"/>
                    <a:pt x="17" y="3"/>
                  </a:cubicBezTo>
                  <a:cubicBezTo>
                    <a:pt x="17" y="2"/>
                    <a:pt x="15" y="0"/>
                    <a:pt x="15" y="0"/>
                  </a:cubicBezTo>
                  <a:cubicBezTo>
                    <a:pt x="15" y="0"/>
                    <a:pt x="15" y="0"/>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 name="Freeform 1310">
              <a:extLst>
                <a:ext uri="{FF2B5EF4-FFF2-40B4-BE49-F238E27FC236}">
                  <a16:creationId xmlns:a16="http://schemas.microsoft.com/office/drawing/2014/main" id="{6F98005C-D93C-4576-B131-FA7F9D1AC41E}"/>
                </a:ext>
              </a:extLst>
            </p:cNvPr>
            <p:cNvSpPr>
              <a:spLocks/>
            </p:cNvSpPr>
            <p:nvPr/>
          </p:nvSpPr>
          <p:spPr bwMode="auto">
            <a:xfrm>
              <a:off x="2534329" y="4690126"/>
              <a:ext cx="60405" cy="45639"/>
            </a:xfrm>
            <a:custGeom>
              <a:avLst/>
              <a:gdLst>
                <a:gd name="T0" fmla="*/ 4 w 19"/>
                <a:gd name="T1" fmla="*/ 0 h 14"/>
                <a:gd name="T2" fmla="*/ 2 w 19"/>
                <a:gd name="T3" fmla="*/ 4 h 14"/>
                <a:gd name="T4" fmla="*/ 2 w 19"/>
                <a:gd name="T5" fmla="*/ 4 h 14"/>
                <a:gd name="T6" fmla="*/ 5 w 19"/>
                <a:gd name="T7" fmla="*/ 7 h 14"/>
                <a:gd name="T8" fmla="*/ 9 w 19"/>
                <a:gd name="T9" fmla="*/ 8 h 14"/>
                <a:gd name="T10" fmla="*/ 18 w 19"/>
                <a:gd name="T11" fmla="*/ 14 h 14"/>
                <a:gd name="T12" fmla="*/ 19 w 19"/>
                <a:gd name="T13" fmla="*/ 14 h 14"/>
                <a:gd name="T14" fmla="*/ 14 w 19"/>
                <a:gd name="T15" fmla="*/ 7 h 14"/>
                <a:gd name="T16" fmla="*/ 4 w 1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4">
                  <a:moveTo>
                    <a:pt x="4" y="0"/>
                  </a:moveTo>
                  <a:cubicBezTo>
                    <a:pt x="3" y="1"/>
                    <a:pt x="0" y="4"/>
                    <a:pt x="2" y="4"/>
                  </a:cubicBezTo>
                  <a:cubicBezTo>
                    <a:pt x="2" y="4"/>
                    <a:pt x="2" y="4"/>
                    <a:pt x="2" y="4"/>
                  </a:cubicBezTo>
                  <a:cubicBezTo>
                    <a:pt x="3" y="5"/>
                    <a:pt x="4" y="6"/>
                    <a:pt x="5" y="7"/>
                  </a:cubicBezTo>
                  <a:cubicBezTo>
                    <a:pt x="6" y="8"/>
                    <a:pt x="7" y="8"/>
                    <a:pt x="9" y="8"/>
                  </a:cubicBezTo>
                  <a:cubicBezTo>
                    <a:pt x="12" y="9"/>
                    <a:pt x="16" y="14"/>
                    <a:pt x="18" y="14"/>
                  </a:cubicBezTo>
                  <a:cubicBezTo>
                    <a:pt x="18" y="14"/>
                    <a:pt x="19" y="14"/>
                    <a:pt x="19" y="14"/>
                  </a:cubicBezTo>
                  <a:cubicBezTo>
                    <a:pt x="19" y="9"/>
                    <a:pt x="18" y="10"/>
                    <a:pt x="14" y="7"/>
                  </a:cubicBezTo>
                  <a:cubicBezTo>
                    <a:pt x="11" y="5"/>
                    <a:pt x="7"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 name="Freeform 1311">
              <a:extLst>
                <a:ext uri="{FF2B5EF4-FFF2-40B4-BE49-F238E27FC236}">
                  <a16:creationId xmlns:a16="http://schemas.microsoft.com/office/drawing/2014/main" id="{7FFD7679-4F58-4F0A-A554-2E16053372D1}"/>
                </a:ext>
              </a:extLst>
            </p:cNvPr>
            <p:cNvSpPr>
              <a:spLocks/>
            </p:cNvSpPr>
            <p:nvPr/>
          </p:nvSpPr>
          <p:spPr bwMode="auto">
            <a:xfrm>
              <a:off x="4055196" y="5154574"/>
              <a:ext cx="24162" cy="60405"/>
            </a:xfrm>
            <a:custGeom>
              <a:avLst/>
              <a:gdLst>
                <a:gd name="T0" fmla="*/ 7 w 8"/>
                <a:gd name="T1" fmla="*/ 0 h 19"/>
                <a:gd name="T2" fmla="*/ 5 w 8"/>
                <a:gd name="T3" fmla="*/ 1 h 19"/>
                <a:gd name="T4" fmla="*/ 4 w 8"/>
                <a:gd name="T5" fmla="*/ 1 h 19"/>
                <a:gd name="T6" fmla="*/ 4 w 8"/>
                <a:gd name="T7" fmla="*/ 1 h 19"/>
                <a:gd name="T8" fmla="*/ 3 w 8"/>
                <a:gd name="T9" fmla="*/ 2 h 19"/>
                <a:gd name="T10" fmla="*/ 3 w 8"/>
                <a:gd name="T11" fmla="*/ 3 h 19"/>
                <a:gd name="T12" fmla="*/ 2 w 8"/>
                <a:gd name="T13" fmla="*/ 3 h 19"/>
                <a:gd name="T14" fmla="*/ 1 w 8"/>
                <a:gd name="T15" fmla="*/ 11 h 19"/>
                <a:gd name="T16" fmla="*/ 2 w 8"/>
                <a:gd name="T17" fmla="*/ 16 h 19"/>
                <a:gd name="T18" fmla="*/ 2 w 8"/>
                <a:gd name="T19" fmla="*/ 16 h 19"/>
                <a:gd name="T20" fmla="*/ 2 w 8"/>
                <a:gd name="T21" fmla="*/ 17 h 19"/>
                <a:gd name="T22" fmla="*/ 2 w 8"/>
                <a:gd name="T23" fmla="*/ 18 h 19"/>
                <a:gd name="T24" fmla="*/ 2 w 8"/>
                <a:gd name="T25" fmla="*/ 19 h 19"/>
                <a:gd name="T26" fmla="*/ 3 w 8"/>
                <a:gd name="T27" fmla="*/ 18 h 19"/>
                <a:gd name="T28" fmla="*/ 3 w 8"/>
                <a:gd name="T29" fmla="*/ 18 h 19"/>
                <a:gd name="T30" fmla="*/ 3 w 8"/>
                <a:gd name="T31" fmla="*/ 18 h 19"/>
                <a:gd name="T32" fmla="*/ 7 w 8"/>
                <a:gd name="T33" fmla="*/ 15 h 19"/>
                <a:gd name="T34" fmla="*/ 7 w 8"/>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9">
                  <a:moveTo>
                    <a:pt x="7" y="0"/>
                  </a:moveTo>
                  <a:cubicBezTo>
                    <a:pt x="6" y="0"/>
                    <a:pt x="6" y="0"/>
                    <a:pt x="5" y="1"/>
                  </a:cubicBezTo>
                  <a:cubicBezTo>
                    <a:pt x="5" y="1"/>
                    <a:pt x="4" y="1"/>
                    <a:pt x="4" y="1"/>
                  </a:cubicBezTo>
                  <a:cubicBezTo>
                    <a:pt x="4" y="1"/>
                    <a:pt x="4" y="1"/>
                    <a:pt x="4" y="1"/>
                  </a:cubicBezTo>
                  <a:cubicBezTo>
                    <a:pt x="3" y="2"/>
                    <a:pt x="3" y="2"/>
                    <a:pt x="3" y="2"/>
                  </a:cubicBezTo>
                  <a:cubicBezTo>
                    <a:pt x="3" y="3"/>
                    <a:pt x="3" y="3"/>
                    <a:pt x="3" y="3"/>
                  </a:cubicBezTo>
                  <a:cubicBezTo>
                    <a:pt x="2" y="3"/>
                    <a:pt x="2" y="3"/>
                    <a:pt x="2" y="3"/>
                  </a:cubicBezTo>
                  <a:cubicBezTo>
                    <a:pt x="1" y="6"/>
                    <a:pt x="0" y="9"/>
                    <a:pt x="1" y="11"/>
                  </a:cubicBezTo>
                  <a:cubicBezTo>
                    <a:pt x="1" y="13"/>
                    <a:pt x="2" y="14"/>
                    <a:pt x="2" y="16"/>
                  </a:cubicBezTo>
                  <a:cubicBezTo>
                    <a:pt x="2" y="16"/>
                    <a:pt x="2" y="16"/>
                    <a:pt x="2" y="16"/>
                  </a:cubicBezTo>
                  <a:cubicBezTo>
                    <a:pt x="2" y="16"/>
                    <a:pt x="2" y="16"/>
                    <a:pt x="2" y="17"/>
                  </a:cubicBezTo>
                  <a:cubicBezTo>
                    <a:pt x="2" y="17"/>
                    <a:pt x="1" y="18"/>
                    <a:pt x="2" y="18"/>
                  </a:cubicBezTo>
                  <a:cubicBezTo>
                    <a:pt x="2" y="18"/>
                    <a:pt x="2" y="19"/>
                    <a:pt x="2" y="19"/>
                  </a:cubicBezTo>
                  <a:cubicBezTo>
                    <a:pt x="2" y="19"/>
                    <a:pt x="2" y="19"/>
                    <a:pt x="3" y="18"/>
                  </a:cubicBezTo>
                  <a:cubicBezTo>
                    <a:pt x="3" y="18"/>
                    <a:pt x="3" y="18"/>
                    <a:pt x="3" y="18"/>
                  </a:cubicBezTo>
                  <a:cubicBezTo>
                    <a:pt x="3" y="18"/>
                    <a:pt x="3" y="18"/>
                    <a:pt x="3" y="18"/>
                  </a:cubicBezTo>
                  <a:cubicBezTo>
                    <a:pt x="4" y="18"/>
                    <a:pt x="6" y="15"/>
                    <a:pt x="7" y="15"/>
                  </a:cubicBezTo>
                  <a:cubicBezTo>
                    <a:pt x="8" y="10"/>
                    <a:pt x="7" y="5"/>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 name="Freeform 1312">
              <a:extLst>
                <a:ext uri="{FF2B5EF4-FFF2-40B4-BE49-F238E27FC236}">
                  <a16:creationId xmlns:a16="http://schemas.microsoft.com/office/drawing/2014/main" id="{ED751ADE-FA65-436B-8713-B0014137CAFB}"/>
                </a:ext>
              </a:extLst>
            </p:cNvPr>
            <p:cNvSpPr>
              <a:spLocks/>
            </p:cNvSpPr>
            <p:nvPr/>
          </p:nvSpPr>
          <p:spPr bwMode="auto">
            <a:xfrm>
              <a:off x="6193536" y="3891435"/>
              <a:ext cx="21477" cy="21477"/>
            </a:xfrm>
            <a:custGeom>
              <a:avLst/>
              <a:gdLst>
                <a:gd name="T0" fmla="*/ 7 w 7"/>
                <a:gd name="T1" fmla="*/ 0 h 7"/>
                <a:gd name="T2" fmla="*/ 4 w 7"/>
                <a:gd name="T3" fmla="*/ 1 h 7"/>
                <a:gd name="T4" fmla="*/ 0 w 7"/>
                <a:gd name="T5" fmla="*/ 3 h 7"/>
                <a:gd name="T6" fmla="*/ 0 w 7"/>
                <a:gd name="T7" fmla="*/ 3 h 7"/>
                <a:gd name="T8" fmla="*/ 1 w 7"/>
                <a:gd name="T9" fmla="*/ 7 h 7"/>
                <a:gd name="T10" fmla="*/ 1 w 7"/>
                <a:gd name="T11" fmla="*/ 7 h 7"/>
                <a:gd name="T12" fmla="*/ 7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0"/>
                  </a:moveTo>
                  <a:cubicBezTo>
                    <a:pt x="6" y="0"/>
                    <a:pt x="5" y="0"/>
                    <a:pt x="4" y="1"/>
                  </a:cubicBezTo>
                  <a:cubicBezTo>
                    <a:pt x="3" y="1"/>
                    <a:pt x="1" y="3"/>
                    <a:pt x="0" y="3"/>
                  </a:cubicBezTo>
                  <a:cubicBezTo>
                    <a:pt x="0" y="3"/>
                    <a:pt x="0" y="3"/>
                    <a:pt x="0" y="3"/>
                  </a:cubicBezTo>
                  <a:cubicBezTo>
                    <a:pt x="0" y="4"/>
                    <a:pt x="0" y="7"/>
                    <a:pt x="1" y="7"/>
                  </a:cubicBezTo>
                  <a:cubicBezTo>
                    <a:pt x="1" y="7"/>
                    <a:pt x="1" y="7"/>
                    <a:pt x="1" y="7"/>
                  </a:cubicBezTo>
                  <a:cubicBezTo>
                    <a:pt x="3" y="7"/>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 name="Freeform 1313">
              <a:extLst>
                <a:ext uri="{FF2B5EF4-FFF2-40B4-BE49-F238E27FC236}">
                  <a16:creationId xmlns:a16="http://schemas.microsoft.com/office/drawing/2014/main" id="{2F3F784A-B4C9-409B-B2AD-610796ECEBDA}"/>
                </a:ext>
              </a:extLst>
            </p:cNvPr>
            <p:cNvSpPr>
              <a:spLocks/>
            </p:cNvSpPr>
            <p:nvPr/>
          </p:nvSpPr>
          <p:spPr bwMode="auto">
            <a:xfrm>
              <a:off x="5700899" y="4196146"/>
              <a:ext cx="6712" cy="939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2"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 name="Freeform 1314">
              <a:extLst>
                <a:ext uri="{FF2B5EF4-FFF2-40B4-BE49-F238E27FC236}">
                  <a16:creationId xmlns:a16="http://schemas.microsoft.com/office/drawing/2014/main" id="{6B2B915D-C7DE-46CA-9C50-78C6C624DAC1}"/>
                </a:ext>
              </a:extLst>
            </p:cNvPr>
            <p:cNvSpPr>
              <a:spLocks/>
            </p:cNvSpPr>
            <p:nvPr/>
          </p:nvSpPr>
          <p:spPr bwMode="auto">
            <a:xfrm>
              <a:off x="7560034" y="4510253"/>
              <a:ext cx="6712" cy="5369"/>
            </a:xfrm>
            <a:custGeom>
              <a:avLst/>
              <a:gdLst>
                <a:gd name="T0" fmla="*/ 2 w 2"/>
                <a:gd name="T1" fmla="*/ 0 h 2"/>
                <a:gd name="T2" fmla="*/ 0 w 2"/>
                <a:gd name="T3" fmla="*/ 1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0"/>
                    <a:pt x="0" y="1"/>
                  </a:cubicBezTo>
                  <a:cubicBezTo>
                    <a:pt x="0" y="1"/>
                    <a:pt x="1" y="2"/>
                    <a:pt x="1"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 name="Freeform 1315">
              <a:extLst>
                <a:ext uri="{FF2B5EF4-FFF2-40B4-BE49-F238E27FC236}">
                  <a16:creationId xmlns:a16="http://schemas.microsoft.com/office/drawing/2014/main" id="{D95D50FD-DA7F-43E2-B6E5-744AB1875BB8}"/>
                </a:ext>
              </a:extLst>
            </p:cNvPr>
            <p:cNvSpPr>
              <a:spLocks/>
            </p:cNvSpPr>
            <p:nvPr/>
          </p:nvSpPr>
          <p:spPr bwMode="auto">
            <a:xfrm>
              <a:off x="7205657" y="4389442"/>
              <a:ext cx="16108" cy="12081"/>
            </a:xfrm>
            <a:custGeom>
              <a:avLst/>
              <a:gdLst>
                <a:gd name="T0" fmla="*/ 0 w 5"/>
                <a:gd name="T1" fmla="*/ 0 h 4"/>
                <a:gd name="T2" fmla="*/ 1 w 5"/>
                <a:gd name="T3" fmla="*/ 4 h 4"/>
                <a:gd name="T4" fmla="*/ 3 w 5"/>
                <a:gd name="T5" fmla="*/ 2 h 4"/>
                <a:gd name="T6" fmla="*/ 0 w 5"/>
                <a:gd name="T7" fmla="*/ 0 h 4"/>
              </a:gdLst>
              <a:ahLst/>
              <a:cxnLst>
                <a:cxn ang="0">
                  <a:pos x="T0" y="T1"/>
                </a:cxn>
                <a:cxn ang="0">
                  <a:pos x="T2" y="T3"/>
                </a:cxn>
                <a:cxn ang="0">
                  <a:pos x="T4" y="T5"/>
                </a:cxn>
                <a:cxn ang="0">
                  <a:pos x="T6" y="T7"/>
                </a:cxn>
              </a:cxnLst>
              <a:rect l="0" t="0" r="r" b="b"/>
              <a:pathLst>
                <a:path w="5" h="4">
                  <a:moveTo>
                    <a:pt x="0" y="0"/>
                  </a:moveTo>
                  <a:cubicBezTo>
                    <a:pt x="0" y="1"/>
                    <a:pt x="1" y="3"/>
                    <a:pt x="1" y="4"/>
                  </a:cubicBezTo>
                  <a:cubicBezTo>
                    <a:pt x="2" y="4"/>
                    <a:pt x="3" y="3"/>
                    <a:pt x="3" y="2"/>
                  </a:cubicBezTo>
                  <a:cubicBezTo>
                    <a:pt x="5"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 name="Freeform 1316">
              <a:extLst>
                <a:ext uri="{FF2B5EF4-FFF2-40B4-BE49-F238E27FC236}">
                  <a16:creationId xmlns:a16="http://schemas.microsoft.com/office/drawing/2014/main" id="{6A7D8F34-2DFB-46CC-B8E5-700D4559BFCE}"/>
                </a:ext>
              </a:extLst>
            </p:cNvPr>
            <p:cNvSpPr>
              <a:spLocks/>
            </p:cNvSpPr>
            <p:nvPr/>
          </p:nvSpPr>
          <p:spPr bwMode="auto">
            <a:xfrm>
              <a:off x="8617794" y="6213678"/>
              <a:ext cx="119468" cy="73829"/>
            </a:xfrm>
            <a:custGeom>
              <a:avLst/>
              <a:gdLst>
                <a:gd name="T0" fmla="*/ 26 w 38"/>
                <a:gd name="T1" fmla="*/ 0 h 23"/>
                <a:gd name="T2" fmla="*/ 16 w 38"/>
                <a:gd name="T3" fmla="*/ 2 h 23"/>
                <a:gd name="T4" fmla="*/ 5 w 38"/>
                <a:gd name="T5" fmla="*/ 18 h 23"/>
                <a:gd name="T6" fmla="*/ 9 w 38"/>
                <a:gd name="T7" fmla="*/ 21 h 23"/>
                <a:gd name="T8" fmla="*/ 16 w 38"/>
                <a:gd name="T9" fmla="*/ 23 h 23"/>
                <a:gd name="T10" fmla="*/ 17 w 38"/>
                <a:gd name="T11" fmla="*/ 23 h 23"/>
                <a:gd name="T12" fmla="*/ 33 w 38"/>
                <a:gd name="T13" fmla="*/ 20 h 23"/>
                <a:gd name="T14" fmla="*/ 38 w 38"/>
                <a:gd name="T15" fmla="*/ 17 h 23"/>
                <a:gd name="T16" fmla="*/ 37 w 38"/>
                <a:gd name="T17" fmla="*/ 17 h 23"/>
                <a:gd name="T18" fmla="*/ 35 w 38"/>
                <a:gd name="T19" fmla="*/ 12 h 23"/>
                <a:gd name="T20" fmla="*/ 35 w 38"/>
                <a:gd name="T21" fmla="*/ 10 h 23"/>
                <a:gd name="T22" fmla="*/ 35 w 38"/>
                <a:gd name="T23" fmla="*/ 8 h 23"/>
                <a:gd name="T24" fmla="*/ 33 w 38"/>
                <a:gd name="T25" fmla="*/ 7 h 23"/>
                <a:gd name="T26" fmla="*/ 26 w 38"/>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3">
                  <a:moveTo>
                    <a:pt x="26" y="0"/>
                  </a:moveTo>
                  <a:cubicBezTo>
                    <a:pt x="24" y="2"/>
                    <a:pt x="18" y="2"/>
                    <a:pt x="16" y="2"/>
                  </a:cubicBezTo>
                  <a:cubicBezTo>
                    <a:pt x="11" y="5"/>
                    <a:pt x="0" y="12"/>
                    <a:pt x="5" y="18"/>
                  </a:cubicBezTo>
                  <a:cubicBezTo>
                    <a:pt x="6" y="20"/>
                    <a:pt x="7" y="21"/>
                    <a:pt x="9" y="21"/>
                  </a:cubicBezTo>
                  <a:cubicBezTo>
                    <a:pt x="11" y="21"/>
                    <a:pt x="14" y="23"/>
                    <a:pt x="16" y="23"/>
                  </a:cubicBezTo>
                  <a:cubicBezTo>
                    <a:pt x="16" y="23"/>
                    <a:pt x="17" y="23"/>
                    <a:pt x="17" y="23"/>
                  </a:cubicBezTo>
                  <a:cubicBezTo>
                    <a:pt x="22" y="23"/>
                    <a:pt x="28" y="20"/>
                    <a:pt x="33" y="20"/>
                  </a:cubicBezTo>
                  <a:cubicBezTo>
                    <a:pt x="35" y="19"/>
                    <a:pt x="38" y="19"/>
                    <a:pt x="38" y="17"/>
                  </a:cubicBezTo>
                  <a:cubicBezTo>
                    <a:pt x="38" y="17"/>
                    <a:pt x="37" y="17"/>
                    <a:pt x="37" y="17"/>
                  </a:cubicBezTo>
                  <a:cubicBezTo>
                    <a:pt x="35" y="17"/>
                    <a:pt x="35" y="13"/>
                    <a:pt x="35" y="12"/>
                  </a:cubicBezTo>
                  <a:cubicBezTo>
                    <a:pt x="35" y="10"/>
                    <a:pt x="35" y="10"/>
                    <a:pt x="35" y="10"/>
                  </a:cubicBezTo>
                  <a:cubicBezTo>
                    <a:pt x="35" y="10"/>
                    <a:pt x="36" y="9"/>
                    <a:pt x="35" y="8"/>
                  </a:cubicBezTo>
                  <a:cubicBezTo>
                    <a:pt x="35" y="8"/>
                    <a:pt x="33" y="7"/>
                    <a:pt x="33" y="7"/>
                  </a:cubicBezTo>
                  <a:cubicBezTo>
                    <a:pt x="30" y="5"/>
                    <a:pt x="28" y="2"/>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 name="Freeform 1317">
              <a:extLst>
                <a:ext uri="{FF2B5EF4-FFF2-40B4-BE49-F238E27FC236}">
                  <a16:creationId xmlns:a16="http://schemas.microsoft.com/office/drawing/2014/main" id="{2D2B658B-5DDF-418B-B4A7-AAAC63F33F91}"/>
                </a:ext>
              </a:extLst>
            </p:cNvPr>
            <p:cNvSpPr>
              <a:spLocks/>
            </p:cNvSpPr>
            <p:nvPr/>
          </p:nvSpPr>
          <p:spPr bwMode="auto">
            <a:xfrm>
              <a:off x="8737262" y="6239183"/>
              <a:ext cx="6712" cy="9396"/>
            </a:xfrm>
            <a:custGeom>
              <a:avLst/>
              <a:gdLst>
                <a:gd name="T0" fmla="*/ 2 w 2"/>
                <a:gd name="T1" fmla="*/ 0 h 3"/>
                <a:gd name="T2" fmla="*/ 1 w 2"/>
                <a:gd name="T3" fmla="*/ 3 h 3"/>
                <a:gd name="T4" fmla="*/ 2 w 2"/>
                <a:gd name="T5" fmla="*/ 0 h 3"/>
              </a:gdLst>
              <a:ahLst/>
              <a:cxnLst>
                <a:cxn ang="0">
                  <a:pos x="T0" y="T1"/>
                </a:cxn>
                <a:cxn ang="0">
                  <a:pos x="T2" y="T3"/>
                </a:cxn>
                <a:cxn ang="0">
                  <a:pos x="T4" y="T5"/>
                </a:cxn>
              </a:cxnLst>
              <a:rect l="0" t="0" r="r" b="b"/>
              <a:pathLst>
                <a:path w="2" h="3">
                  <a:moveTo>
                    <a:pt x="2" y="0"/>
                  </a:moveTo>
                  <a:cubicBezTo>
                    <a:pt x="1" y="0"/>
                    <a:pt x="0" y="2"/>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 name="Freeform 1318">
              <a:extLst>
                <a:ext uri="{FF2B5EF4-FFF2-40B4-BE49-F238E27FC236}">
                  <a16:creationId xmlns:a16="http://schemas.microsoft.com/office/drawing/2014/main" id="{E3E1C611-7285-41F1-AC2F-4252A9BD22B6}"/>
                </a:ext>
              </a:extLst>
            </p:cNvPr>
            <p:cNvSpPr>
              <a:spLocks/>
            </p:cNvSpPr>
            <p:nvPr/>
          </p:nvSpPr>
          <p:spPr bwMode="auto">
            <a:xfrm>
              <a:off x="8722496" y="6125084"/>
              <a:ext cx="110072" cy="67117"/>
            </a:xfrm>
            <a:custGeom>
              <a:avLst/>
              <a:gdLst>
                <a:gd name="T0" fmla="*/ 35 w 35"/>
                <a:gd name="T1" fmla="*/ 0 h 21"/>
                <a:gd name="T2" fmla="*/ 31 w 35"/>
                <a:gd name="T3" fmla="*/ 2 h 21"/>
                <a:gd name="T4" fmla="*/ 30 w 35"/>
                <a:gd name="T5" fmla="*/ 1 h 21"/>
                <a:gd name="T6" fmla="*/ 29 w 35"/>
                <a:gd name="T7" fmla="*/ 1 h 21"/>
                <a:gd name="T8" fmla="*/ 26 w 35"/>
                <a:gd name="T9" fmla="*/ 3 h 21"/>
                <a:gd name="T10" fmla="*/ 25 w 35"/>
                <a:gd name="T11" fmla="*/ 2 h 21"/>
                <a:gd name="T12" fmla="*/ 25 w 35"/>
                <a:gd name="T13" fmla="*/ 3 h 21"/>
                <a:gd name="T14" fmla="*/ 24 w 35"/>
                <a:gd name="T15" fmla="*/ 3 h 21"/>
                <a:gd name="T16" fmla="*/ 20 w 35"/>
                <a:gd name="T17" fmla="*/ 6 h 21"/>
                <a:gd name="T18" fmla="*/ 14 w 35"/>
                <a:gd name="T19" fmla="*/ 7 h 21"/>
                <a:gd name="T20" fmla="*/ 10 w 35"/>
                <a:gd name="T21" fmla="*/ 8 h 21"/>
                <a:gd name="T22" fmla="*/ 8 w 35"/>
                <a:gd name="T23" fmla="*/ 10 h 21"/>
                <a:gd name="T24" fmla="*/ 7 w 35"/>
                <a:gd name="T25" fmla="*/ 12 h 21"/>
                <a:gd name="T26" fmla="*/ 6 w 35"/>
                <a:gd name="T27" fmla="*/ 11 h 21"/>
                <a:gd name="T28" fmla="*/ 5 w 35"/>
                <a:gd name="T29" fmla="*/ 12 h 21"/>
                <a:gd name="T30" fmla="*/ 5 w 35"/>
                <a:gd name="T31" fmla="*/ 12 h 21"/>
                <a:gd name="T32" fmla="*/ 4 w 35"/>
                <a:gd name="T33" fmla="*/ 12 h 21"/>
                <a:gd name="T34" fmla="*/ 3 w 35"/>
                <a:gd name="T35" fmla="*/ 12 h 21"/>
                <a:gd name="T36" fmla="*/ 3 w 35"/>
                <a:gd name="T37" fmla="*/ 12 h 21"/>
                <a:gd name="T38" fmla="*/ 3 w 35"/>
                <a:gd name="T39" fmla="*/ 12 h 21"/>
                <a:gd name="T40" fmla="*/ 2 w 35"/>
                <a:gd name="T41" fmla="*/ 12 h 21"/>
                <a:gd name="T42" fmla="*/ 1 w 35"/>
                <a:gd name="T43" fmla="*/ 12 h 21"/>
                <a:gd name="T44" fmla="*/ 1 w 35"/>
                <a:gd name="T45" fmla="*/ 12 h 21"/>
                <a:gd name="T46" fmla="*/ 0 w 35"/>
                <a:gd name="T47" fmla="*/ 15 h 21"/>
                <a:gd name="T48" fmla="*/ 4 w 35"/>
                <a:gd name="T49" fmla="*/ 19 h 21"/>
                <a:gd name="T50" fmla="*/ 5 w 35"/>
                <a:gd name="T51" fmla="*/ 21 h 21"/>
                <a:gd name="T52" fmla="*/ 6 w 35"/>
                <a:gd name="T53" fmla="*/ 21 h 21"/>
                <a:gd name="T54" fmla="*/ 12 w 35"/>
                <a:gd name="T55" fmla="*/ 19 h 21"/>
                <a:gd name="T56" fmla="*/ 24 w 35"/>
                <a:gd name="T57" fmla="*/ 16 h 21"/>
                <a:gd name="T58" fmla="*/ 30 w 35"/>
                <a:gd name="T59" fmla="*/ 14 h 21"/>
                <a:gd name="T60" fmla="*/ 32 w 35"/>
                <a:gd name="T61" fmla="*/ 15 h 21"/>
                <a:gd name="T62" fmla="*/ 33 w 35"/>
                <a:gd name="T63" fmla="*/ 15 h 21"/>
                <a:gd name="T64" fmla="*/ 31 w 35"/>
                <a:gd name="T65" fmla="*/ 9 h 21"/>
                <a:gd name="T66" fmla="*/ 23 w 35"/>
                <a:gd name="T67" fmla="*/ 15 h 21"/>
                <a:gd name="T68" fmla="*/ 23 w 35"/>
                <a:gd name="T69" fmla="*/ 15 h 21"/>
                <a:gd name="T70" fmla="*/ 35 w 35"/>
                <a:gd name="T7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21">
                  <a:moveTo>
                    <a:pt x="35" y="0"/>
                  </a:moveTo>
                  <a:cubicBezTo>
                    <a:pt x="34" y="1"/>
                    <a:pt x="32" y="2"/>
                    <a:pt x="31" y="2"/>
                  </a:cubicBezTo>
                  <a:cubicBezTo>
                    <a:pt x="30" y="1"/>
                    <a:pt x="30" y="1"/>
                    <a:pt x="30" y="1"/>
                  </a:cubicBezTo>
                  <a:cubicBezTo>
                    <a:pt x="30" y="1"/>
                    <a:pt x="29" y="1"/>
                    <a:pt x="29" y="1"/>
                  </a:cubicBezTo>
                  <a:cubicBezTo>
                    <a:pt x="28" y="1"/>
                    <a:pt x="27" y="2"/>
                    <a:pt x="26" y="3"/>
                  </a:cubicBezTo>
                  <a:cubicBezTo>
                    <a:pt x="26" y="3"/>
                    <a:pt x="25" y="3"/>
                    <a:pt x="25" y="2"/>
                  </a:cubicBezTo>
                  <a:cubicBezTo>
                    <a:pt x="25" y="3"/>
                    <a:pt x="25" y="3"/>
                    <a:pt x="25" y="3"/>
                  </a:cubicBezTo>
                  <a:cubicBezTo>
                    <a:pt x="24" y="3"/>
                    <a:pt x="24" y="3"/>
                    <a:pt x="24" y="3"/>
                  </a:cubicBezTo>
                  <a:cubicBezTo>
                    <a:pt x="23" y="3"/>
                    <a:pt x="21" y="5"/>
                    <a:pt x="20" y="6"/>
                  </a:cubicBezTo>
                  <a:cubicBezTo>
                    <a:pt x="18" y="6"/>
                    <a:pt x="16" y="7"/>
                    <a:pt x="14" y="7"/>
                  </a:cubicBezTo>
                  <a:cubicBezTo>
                    <a:pt x="13" y="7"/>
                    <a:pt x="11" y="8"/>
                    <a:pt x="10" y="8"/>
                  </a:cubicBezTo>
                  <a:cubicBezTo>
                    <a:pt x="9" y="8"/>
                    <a:pt x="9" y="10"/>
                    <a:pt x="8" y="10"/>
                  </a:cubicBezTo>
                  <a:cubicBezTo>
                    <a:pt x="8" y="11"/>
                    <a:pt x="8" y="11"/>
                    <a:pt x="7" y="12"/>
                  </a:cubicBezTo>
                  <a:cubicBezTo>
                    <a:pt x="7" y="11"/>
                    <a:pt x="7" y="11"/>
                    <a:pt x="6" y="11"/>
                  </a:cubicBezTo>
                  <a:cubicBezTo>
                    <a:pt x="6" y="11"/>
                    <a:pt x="6" y="12"/>
                    <a:pt x="5" y="12"/>
                  </a:cubicBezTo>
                  <a:cubicBezTo>
                    <a:pt x="5" y="12"/>
                    <a:pt x="5" y="12"/>
                    <a:pt x="5" y="12"/>
                  </a:cubicBezTo>
                  <a:cubicBezTo>
                    <a:pt x="5" y="12"/>
                    <a:pt x="4" y="12"/>
                    <a:pt x="4" y="12"/>
                  </a:cubicBezTo>
                  <a:cubicBezTo>
                    <a:pt x="4" y="12"/>
                    <a:pt x="4" y="12"/>
                    <a:pt x="3" y="12"/>
                  </a:cubicBezTo>
                  <a:cubicBezTo>
                    <a:pt x="3" y="12"/>
                    <a:pt x="3" y="12"/>
                    <a:pt x="3" y="12"/>
                  </a:cubicBezTo>
                  <a:cubicBezTo>
                    <a:pt x="3" y="12"/>
                    <a:pt x="3" y="12"/>
                    <a:pt x="3" y="12"/>
                  </a:cubicBezTo>
                  <a:cubicBezTo>
                    <a:pt x="3" y="12"/>
                    <a:pt x="2" y="12"/>
                    <a:pt x="2" y="12"/>
                  </a:cubicBezTo>
                  <a:cubicBezTo>
                    <a:pt x="2" y="12"/>
                    <a:pt x="2" y="12"/>
                    <a:pt x="1" y="12"/>
                  </a:cubicBezTo>
                  <a:cubicBezTo>
                    <a:pt x="1" y="12"/>
                    <a:pt x="1" y="12"/>
                    <a:pt x="1" y="12"/>
                  </a:cubicBezTo>
                  <a:cubicBezTo>
                    <a:pt x="0" y="12"/>
                    <a:pt x="0" y="14"/>
                    <a:pt x="0" y="15"/>
                  </a:cubicBezTo>
                  <a:cubicBezTo>
                    <a:pt x="3" y="16"/>
                    <a:pt x="2" y="17"/>
                    <a:pt x="4" y="19"/>
                  </a:cubicBezTo>
                  <a:cubicBezTo>
                    <a:pt x="5" y="20"/>
                    <a:pt x="4" y="20"/>
                    <a:pt x="5" y="21"/>
                  </a:cubicBezTo>
                  <a:cubicBezTo>
                    <a:pt x="5" y="21"/>
                    <a:pt x="5" y="21"/>
                    <a:pt x="6" y="21"/>
                  </a:cubicBezTo>
                  <a:cubicBezTo>
                    <a:pt x="7" y="21"/>
                    <a:pt x="11" y="19"/>
                    <a:pt x="12" y="19"/>
                  </a:cubicBezTo>
                  <a:cubicBezTo>
                    <a:pt x="16" y="17"/>
                    <a:pt x="20" y="17"/>
                    <a:pt x="24" y="16"/>
                  </a:cubicBezTo>
                  <a:cubicBezTo>
                    <a:pt x="26" y="16"/>
                    <a:pt x="28" y="14"/>
                    <a:pt x="30" y="14"/>
                  </a:cubicBezTo>
                  <a:cubicBezTo>
                    <a:pt x="31" y="14"/>
                    <a:pt x="31" y="14"/>
                    <a:pt x="32" y="15"/>
                  </a:cubicBezTo>
                  <a:cubicBezTo>
                    <a:pt x="32" y="15"/>
                    <a:pt x="32" y="15"/>
                    <a:pt x="33" y="15"/>
                  </a:cubicBezTo>
                  <a:cubicBezTo>
                    <a:pt x="33" y="13"/>
                    <a:pt x="32" y="11"/>
                    <a:pt x="31" y="9"/>
                  </a:cubicBezTo>
                  <a:cubicBezTo>
                    <a:pt x="29" y="11"/>
                    <a:pt x="26" y="15"/>
                    <a:pt x="23" y="15"/>
                  </a:cubicBezTo>
                  <a:cubicBezTo>
                    <a:pt x="23" y="15"/>
                    <a:pt x="23" y="15"/>
                    <a:pt x="23" y="15"/>
                  </a:cubicBezTo>
                  <a:cubicBezTo>
                    <a:pt x="23" y="10"/>
                    <a:pt x="34" y="5"/>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 name="Freeform 1319">
              <a:extLst>
                <a:ext uri="{FF2B5EF4-FFF2-40B4-BE49-F238E27FC236}">
                  <a16:creationId xmlns:a16="http://schemas.microsoft.com/office/drawing/2014/main" id="{B943138B-C447-4ECB-BCF1-E71CE0E46DF7}"/>
                </a:ext>
              </a:extLst>
            </p:cNvPr>
            <p:cNvSpPr>
              <a:spLocks/>
            </p:cNvSpPr>
            <p:nvPr/>
          </p:nvSpPr>
          <p:spPr bwMode="auto">
            <a:xfrm>
              <a:off x="8623164" y="6194886"/>
              <a:ext cx="6712" cy="9396"/>
            </a:xfrm>
            <a:custGeom>
              <a:avLst/>
              <a:gdLst>
                <a:gd name="T0" fmla="*/ 2 w 2"/>
                <a:gd name="T1" fmla="*/ 0 h 3"/>
                <a:gd name="T2" fmla="*/ 0 w 2"/>
                <a:gd name="T3" fmla="*/ 3 h 3"/>
                <a:gd name="T4" fmla="*/ 2 w 2"/>
                <a:gd name="T5" fmla="*/ 0 h 3"/>
                <a:gd name="T6" fmla="*/ 2 w 2"/>
                <a:gd name="T7" fmla="*/ 0 h 3"/>
              </a:gdLst>
              <a:ahLst/>
              <a:cxnLst>
                <a:cxn ang="0">
                  <a:pos x="T0" y="T1"/>
                </a:cxn>
                <a:cxn ang="0">
                  <a:pos x="T2" y="T3"/>
                </a:cxn>
                <a:cxn ang="0">
                  <a:pos x="T4" y="T5"/>
                </a:cxn>
                <a:cxn ang="0">
                  <a:pos x="T6" y="T7"/>
                </a:cxn>
              </a:cxnLst>
              <a:rect l="0" t="0" r="r" b="b"/>
              <a:pathLst>
                <a:path w="2" h="3">
                  <a:moveTo>
                    <a:pt x="2" y="0"/>
                  </a:moveTo>
                  <a:cubicBezTo>
                    <a:pt x="1" y="0"/>
                    <a:pt x="0" y="1"/>
                    <a:pt x="0" y="3"/>
                  </a:cubicBezTo>
                  <a:cubicBezTo>
                    <a:pt x="1" y="2"/>
                    <a:pt x="2" y="1"/>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 name="Freeform 1320">
              <a:extLst>
                <a:ext uri="{FF2B5EF4-FFF2-40B4-BE49-F238E27FC236}">
                  <a16:creationId xmlns:a16="http://schemas.microsoft.com/office/drawing/2014/main" id="{300F446D-BA2F-4A9C-B0FC-B9727A8C6E65}"/>
                </a:ext>
              </a:extLst>
            </p:cNvPr>
            <p:cNvSpPr>
              <a:spLocks/>
            </p:cNvSpPr>
            <p:nvPr/>
          </p:nvSpPr>
          <p:spPr bwMode="auto">
            <a:xfrm>
              <a:off x="8788271" y="6210994"/>
              <a:ext cx="4027" cy="9396"/>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 name="Freeform 1321">
              <a:extLst>
                <a:ext uri="{FF2B5EF4-FFF2-40B4-BE49-F238E27FC236}">
                  <a16:creationId xmlns:a16="http://schemas.microsoft.com/office/drawing/2014/main" id="{25BB12A9-5DD3-4CD5-B1F1-307149CC53A3}"/>
                </a:ext>
              </a:extLst>
            </p:cNvPr>
            <p:cNvSpPr>
              <a:spLocks/>
            </p:cNvSpPr>
            <p:nvPr/>
          </p:nvSpPr>
          <p:spPr bwMode="auto">
            <a:xfrm>
              <a:off x="8778875" y="6264687"/>
              <a:ext cx="6712" cy="13423"/>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0"/>
                    <a:pt x="0" y="1"/>
                    <a:pt x="2" y="4"/>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 name="Freeform 1322">
              <a:extLst>
                <a:ext uri="{FF2B5EF4-FFF2-40B4-BE49-F238E27FC236}">
                  <a16:creationId xmlns:a16="http://schemas.microsoft.com/office/drawing/2014/main" id="{DD910214-3E6F-4AED-9608-C8718C3CF3AF}"/>
                </a:ext>
              </a:extLst>
            </p:cNvPr>
            <p:cNvSpPr>
              <a:spLocks/>
            </p:cNvSpPr>
            <p:nvPr/>
          </p:nvSpPr>
          <p:spPr bwMode="auto">
            <a:xfrm>
              <a:off x="8641956" y="6169381"/>
              <a:ext cx="6712" cy="939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 name="Freeform 1323">
              <a:extLst>
                <a:ext uri="{FF2B5EF4-FFF2-40B4-BE49-F238E27FC236}">
                  <a16:creationId xmlns:a16="http://schemas.microsoft.com/office/drawing/2014/main" id="{B3F19EBE-7041-452B-95BF-F79A435A44DC}"/>
                </a:ext>
              </a:extLst>
            </p:cNvPr>
            <p:cNvSpPr>
              <a:spLocks/>
            </p:cNvSpPr>
            <p:nvPr/>
          </p:nvSpPr>
          <p:spPr bwMode="auto">
            <a:xfrm>
              <a:off x="8680884" y="6341200"/>
              <a:ext cx="41612" cy="16108"/>
            </a:xfrm>
            <a:custGeom>
              <a:avLst/>
              <a:gdLst>
                <a:gd name="T0" fmla="*/ 9 w 13"/>
                <a:gd name="T1" fmla="*/ 0 h 5"/>
                <a:gd name="T2" fmla="*/ 0 w 13"/>
                <a:gd name="T3" fmla="*/ 4 h 5"/>
                <a:gd name="T4" fmla="*/ 3 w 13"/>
                <a:gd name="T5" fmla="*/ 5 h 5"/>
                <a:gd name="T6" fmla="*/ 4 w 13"/>
                <a:gd name="T7" fmla="*/ 5 h 5"/>
                <a:gd name="T8" fmla="*/ 7 w 13"/>
                <a:gd name="T9" fmla="*/ 2 h 5"/>
                <a:gd name="T10" fmla="*/ 8 w 13"/>
                <a:gd name="T11" fmla="*/ 2 h 5"/>
                <a:gd name="T12" fmla="*/ 9 w 13"/>
                <a:gd name="T13" fmla="*/ 2 h 5"/>
                <a:gd name="T14" fmla="*/ 11 w 13"/>
                <a:gd name="T15" fmla="*/ 2 h 5"/>
                <a:gd name="T16" fmla="*/ 11 w 13"/>
                <a:gd name="T17" fmla="*/ 2 h 5"/>
                <a:gd name="T18" fmla="*/ 10 w 13"/>
                <a:gd name="T19" fmla="*/ 0 h 5"/>
                <a:gd name="T20" fmla="*/ 9 w 1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5">
                  <a:moveTo>
                    <a:pt x="9" y="0"/>
                  </a:moveTo>
                  <a:cubicBezTo>
                    <a:pt x="6" y="0"/>
                    <a:pt x="3" y="3"/>
                    <a:pt x="0" y="4"/>
                  </a:cubicBezTo>
                  <a:cubicBezTo>
                    <a:pt x="1" y="5"/>
                    <a:pt x="2" y="5"/>
                    <a:pt x="3" y="5"/>
                  </a:cubicBezTo>
                  <a:cubicBezTo>
                    <a:pt x="3" y="5"/>
                    <a:pt x="4" y="5"/>
                    <a:pt x="4" y="5"/>
                  </a:cubicBezTo>
                  <a:cubicBezTo>
                    <a:pt x="7" y="5"/>
                    <a:pt x="4" y="3"/>
                    <a:pt x="7" y="2"/>
                  </a:cubicBezTo>
                  <a:cubicBezTo>
                    <a:pt x="7" y="2"/>
                    <a:pt x="8" y="2"/>
                    <a:pt x="8" y="2"/>
                  </a:cubicBezTo>
                  <a:cubicBezTo>
                    <a:pt x="8" y="2"/>
                    <a:pt x="9" y="2"/>
                    <a:pt x="9" y="2"/>
                  </a:cubicBezTo>
                  <a:cubicBezTo>
                    <a:pt x="10" y="2"/>
                    <a:pt x="10" y="2"/>
                    <a:pt x="11" y="2"/>
                  </a:cubicBezTo>
                  <a:cubicBezTo>
                    <a:pt x="11" y="2"/>
                    <a:pt x="11" y="2"/>
                    <a:pt x="11" y="2"/>
                  </a:cubicBezTo>
                  <a:cubicBezTo>
                    <a:pt x="13" y="2"/>
                    <a:pt x="13" y="0"/>
                    <a:pt x="10" y="0"/>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 name="Freeform 1324">
              <a:extLst>
                <a:ext uri="{FF2B5EF4-FFF2-40B4-BE49-F238E27FC236}">
                  <a16:creationId xmlns:a16="http://schemas.microsoft.com/office/drawing/2014/main" id="{AC32CFE1-0DDB-4D06-AE6B-B437C452AC91}"/>
                </a:ext>
              </a:extLst>
            </p:cNvPr>
            <p:cNvSpPr>
              <a:spLocks/>
            </p:cNvSpPr>
            <p:nvPr/>
          </p:nvSpPr>
          <p:spPr bwMode="auto">
            <a:xfrm>
              <a:off x="6266022" y="3777337"/>
              <a:ext cx="2685" cy="12081"/>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0" y="1"/>
                    <a:pt x="0" y="2"/>
                    <a:pt x="0"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 name="Freeform 1325">
              <a:extLst>
                <a:ext uri="{FF2B5EF4-FFF2-40B4-BE49-F238E27FC236}">
                  <a16:creationId xmlns:a16="http://schemas.microsoft.com/office/drawing/2014/main" id="{BE6E56CE-2ECC-4E95-A5B3-91253044951F}"/>
                </a:ext>
              </a:extLst>
            </p:cNvPr>
            <p:cNvSpPr>
              <a:spLocks/>
            </p:cNvSpPr>
            <p:nvPr/>
          </p:nvSpPr>
          <p:spPr bwMode="auto">
            <a:xfrm>
              <a:off x="6275419" y="3761229"/>
              <a:ext cx="6712" cy="12081"/>
            </a:xfrm>
            <a:custGeom>
              <a:avLst/>
              <a:gdLst>
                <a:gd name="T0" fmla="*/ 2 w 2"/>
                <a:gd name="T1" fmla="*/ 0 h 4"/>
                <a:gd name="T2" fmla="*/ 2 w 2"/>
                <a:gd name="T3" fmla="*/ 0 h 4"/>
                <a:gd name="T4" fmla="*/ 0 w 2"/>
                <a:gd name="T5" fmla="*/ 4 h 4"/>
                <a:gd name="T6" fmla="*/ 2 w 2"/>
                <a:gd name="T7" fmla="*/ 0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2" y="0"/>
                    <a:pt x="2" y="0"/>
                    <a:pt x="2" y="0"/>
                  </a:cubicBezTo>
                  <a:cubicBezTo>
                    <a:pt x="1" y="1"/>
                    <a:pt x="1" y="3"/>
                    <a:pt x="0" y="4"/>
                  </a:cubicBezTo>
                  <a:cubicBezTo>
                    <a:pt x="1" y="3"/>
                    <a:pt x="1" y="2"/>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 name="Freeform 1326">
              <a:extLst>
                <a:ext uri="{FF2B5EF4-FFF2-40B4-BE49-F238E27FC236}">
                  <a16:creationId xmlns:a16="http://schemas.microsoft.com/office/drawing/2014/main" id="{330F1483-6133-4A14-9A1C-10CC86F15E18}"/>
                </a:ext>
              </a:extLst>
            </p:cNvPr>
            <p:cNvSpPr>
              <a:spLocks/>
            </p:cNvSpPr>
            <p:nvPr/>
          </p:nvSpPr>
          <p:spPr bwMode="auto">
            <a:xfrm>
              <a:off x="6275419" y="3538401"/>
              <a:ext cx="6712" cy="9396"/>
            </a:xfrm>
            <a:custGeom>
              <a:avLst/>
              <a:gdLst>
                <a:gd name="T0" fmla="*/ 2 w 2"/>
                <a:gd name="T1" fmla="*/ 0 h 3"/>
                <a:gd name="T2" fmla="*/ 0 w 2"/>
                <a:gd name="T3" fmla="*/ 2 h 3"/>
                <a:gd name="T4" fmla="*/ 0 w 2"/>
                <a:gd name="T5" fmla="*/ 3 h 3"/>
                <a:gd name="T6" fmla="*/ 0 w 2"/>
                <a:gd name="T7" fmla="*/ 2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1" y="1"/>
                    <a:pt x="1" y="2"/>
                    <a:pt x="0" y="2"/>
                  </a:cubicBezTo>
                  <a:cubicBezTo>
                    <a:pt x="0" y="3"/>
                    <a:pt x="0" y="3"/>
                    <a:pt x="0" y="3"/>
                  </a:cubicBezTo>
                  <a:cubicBezTo>
                    <a:pt x="0" y="2"/>
                    <a:pt x="0"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 name="Freeform 1327">
              <a:extLst>
                <a:ext uri="{FF2B5EF4-FFF2-40B4-BE49-F238E27FC236}">
                  <a16:creationId xmlns:a16="http://schemas.microsoft.com/office/drawing/2014/main" id="{C7D921B5-7E80-479E-9FA1-CE5FB2B92655}"/>
                </a:ext>
              </a:extLst>
            </p:cNvPr>
            <p:cNvSpPr>
              <a:spLocks/>
            </p:cNvSpPr>
            <p:nvPr/>
          </p:nvSpPr>
          <p:spPr bwMode="auto">
            <a:xfrm>
              <a:off x="3083345" y="4056543"/>
              <a:ext cx="4027" cy="9396"/>
            </a:xfrm>
            <a:custGeom>
              <a:avLst/>
              <a:gdLst>
                <a:gd name="T0" fmla="*/ 1 w 1"/>
                <a:gd name="T1" fmla="*/ 0 h 3"/>
                <a:gd name="T2" fmla="*/ 1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 name="Freeform 1328">
              <a:extLst>
                <a:ext uri="{FF2B5EF4-FFF2-40B4-BE49-F238E27FC236}">
                  <a16:creationId xmlns:a16="http://schemas.microsoft.com/office/drawing/2014/main" id="{F2E2CC46-13A0-4347-A43F-85552FB891C3}"/>
                </a:ext>
              </a:extLst>
            </p:cNvPr>
            <p:cNvSpPr>
              <a:spLocks/>
            </p:cNvSpPr>
            <p:nvPr/>
          </p:nvSpPr>
          <p:spPr bwMode="auto">
            <a:xfrm>
              <a:off x="7224450" y="5474051"/>
              <a:ext cx="107387" cy="76513"/>
            </a:xfrm>
            <a:custGeom>
              <a:avLst/>
              <a:gdLst>
                <a:gd name="T0" fmla="*/ 1 w 34"/>
                <a:gd name="T1" fmla="*/ 0 h 24"/>
                <a:gd name="T2" fmla="*/ 0 w 34"/>
                <a:gd name="T3" fmla="*/ 0 h 24"/>
                <a:gd name="T4" fmla="*/ 1 w 34"/>
                <a:gd name="T5" fmla="*/ 1 h 24"/>
                <a:gd name="T6" fmla="*/ 3 w 34"/>
                <a:gd name="T7" fmla="*/ 3 h 24"/>
                <a:gd name="T8" fmla="*/ 4 w 34"/>
                <a:gd name="T9" fmla="*/ 5 h 24"/>
                <a:gd name="T10" fmla="*/ 6 w 34"/>
                <a:gd name="T11" fmla="*/ 6 h 24"/>
                <a:gd name="T12" fmla="*/ 15 w 34"/>
                <a:gd name="T13" fmla="*/ 13 h 24"/>
                <a:gd name="T14" fmla="*/ 27 w 34"/>
                <a:gd name="T15" fmla="*/ 20 h 24"/>
                <a:gd name="T16" fmla="*/ 28 w 34"/>
                <a:gd name="T17" fmla="*/ 20 h 24"/>
                <a:gd name="T18" fmla="*/ 34 w 34"/>
                <a:gd name="T19" fmla="*/ 24 h 24"/>
                <a:gd name="T20" fmla="*/ 33 w 34"/>
                <a:gd name="T21" fmla="*/ 21 h 24"/>
                <a:gd name="T22" fmla="*/ 31 w 34"/>
                <a:gd name="T23" fmla="*/ 21 h 24"/>
                <a:gd name="T24" fmla="*/ 33 w 34"/>
                <a:gd name="T25" fmla="*/ 19 h 24"/>
                <a:gd name="T26" fmla="*/ 31 w 34"/>
                <a:gd name="T27" fmla="*/ 17 h 24"/>
                <a:gd name="T28" fmla="*/ 25 w 34"/>
                <a:gd name="T29" fmla="*/ 13 h 24"/>
                <a:gd name="T30" fmla="*/ 17 w 34"/>
                <a:gd name="T31" fmla="*/ 8 h 24"/>
                <a:gd name="T32" fmla="*/ 17 w 34"/>
                <a:gd name="T33" fmla="*/ 8 h 24"/>
                <a:gd name="T34" fmla="*/ 17 w 34"/>
                <a:gd name="T35" fmla="*/ 8 h 24"/>
                <a:gd name="T36" fmla="*/ 16 w 34"/>
                <a:gd name="T37" fmla="*/ 9 h 24"/>
                <a:gd name="T38" fmla="*/ 16 w 34"/>
                <a:gd name="T39" fmla="*/ 8 h 24"/>
                <a:gd name="T40" fmla="*/ 11 w 34"/>
                <a:gd name="T41" fmla="*/ 5 h 24"/>
                <a:gd name="T42" fmla="*/ 5 w 34"/>
                <a:gd name="T43" fmla="*/ 1 h 24"/>
                <a:gd name="T44" fmla="*/ 1 w 3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24">
                  <a:moveTo>
                    <a:pt x="1" y="0"/>
                  </a:moveTo>
                  <a:cubicBezTo>
                    <a:pt x="0" y="0"/>
                    <a:pt x="0" y="0"/>
                    <a:pt x="0" y="0"/>
                  </a:cubicBezTo>
                  <a:cubicBezTo>
                    <a:pt x="0" y="1"/>
                    <a:pt x="1" y="1"/>
                    <a:pt x="1" y="1"/>
                  </a:cubicBezTo>
                  <a:cubicBezTo>
                    <a:pt x="1" y="2"/>
                    <a:pt x="3" y="2"/>
                    <a:pt x="3" y="3"/>
                  </a:cubicBezTo>
                  <a:cubicBezTo>
                    <a:pt x="4" y="4"/>
                    <a:pt x="3" y="4"/>
                    <a:pt x="4" y="5"/>
                  </a:cubicBezTo>
                  <a:cubicBezTo>
                    <a:pt x="4" y="6"/>
                    <a:pt x="5" y="6"/>
                    <a:pt x="6" y="6"/>
                  </a:cubicBezTo>
                  <a:cubicBezTo>
                    <a:pt x="9" y="9"/>
                    <a:pt x="11" y="11"/>
                    <a:pt x="15" y="13"/>
                  </a:cubicBezTo>
                  <a:cubicBezTo>
                    <a:pt x="19" y="16"/>
                    <a:pt x="23" y="18"/>
                    <a:pt x="27" y="20"/>
                  </a:cubicBezTo>
                  <a:cubicBezTo>
                    <a:pt x="27" y="20"/>
                    <a:pt x="28" y="20"/>
                    <a:pt x="28" y="20"/>
                  </a:cubicBezTo>
                  <a:cubicBezTo>
                    <a:pt x="30" y="21"/>
                    <a:pt x="32" y="22"/>
                    <a:pt x="34" y="24"/>
                  </a:cubicBezTo>
                  <a:cubicBezTo>
                    <a:pt x="34" y="23"/>
                    <a:pt x="33" y="22"/>
                    <a:pt x="33" y="21"/>
                  </a:cubicBezTo>
                  <a:cubicBezTo>
                    <a:pt x="33" y="21"/>
                    <a:pt x="31" y="21"/>
                    <a:pt x="31" y="21"/>
                  </a:cubicBezTo>
                  <a:cubicBezTo>
                    <a:pt x="31" y="20"/>
                    <a:pt x="33" y="19"/>
                    <a:pt x="33" y="19"/>
                  </a:cubicBezTo>
                  <a:cubicBezTo>
                    <a:pt x="32" y="18"/>
                    <a:pt x="32" y="18"/>
                    <a:pt x="31" y="17"/>
                  </a:cubicBezTo>
                  <a:cubicBezTo>
                    <a:pt x="30" y="15"/>
                    <a:pt x="27" y="14"/>
                    <a:pt x="25" y="13"/>
                  </a:cubicBezTo>
                  <a:cubicBezTo>
                    <a:pt x="22" y="10"/>
                    <a:pt x="20" y="10"/>
                    <a:pt x="17" y="8"/>
                  </a:cubicBezTo>
                  <a:cubicBezTo>
                    <a:pt x="17" y="8"/>
                    <a:pt x="17" y="8"/>
                    <a:pt x="17" y="8"/>
                  </a:cubicBezTo>
                  <a:cubicBezTo>
                    <a:pt x="17" y="8"/>
                    <a:pt x="17" y="8"/>
                    <a:pt x="17" y="8"/>
                  </a:cubicBezTo>
                  <a:cubicBezTo>
                    <a:pt x="16" y="8"/>
                    <a:pt x="16" y="9"/>
                    <a:pt x="16" y="9"/>
                  </a:cubicBezTo>
                  <a:cubicBezTo>
                    <a:pt x="16" y="9"/>
                    <a:pt x="16" y="9"/>
                    <a:pt x="16" y="8"/>
                  </a:cubicBezTo>
                  <a:cubicBezTo>
                    <a:pt x="14" y="8"/>
                    <a:pt x="13" y="6"/>
                    <a:pt x="11" y="5"/>
                  </a:cubicBezTo>
                  <a:cubicBezTo>
                    <a:pt x="9" y="3"/>
                    <a:pt x="8" y="1"/>
                    <a:pt x="5" y="1"/>
                  </a:cubicBezTo>
                  <a:cubicBezTo>
                    <a:pt x="4"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 name="Freeform 1329">
              <a:extLst>
                <a:ext uri="{FF2B5EF4-FFF2-40B4-BE49-F238E27FC236}">
                  <a16:creationId xmlns:a16="http://schemas.microsoft.com/office/drawing/2014/main" id="{FE59000E-D24C-4480-B2FB-D523442F08ED}"/>
                </a:ext>
              </a:extLst>
            </p:cNvPr>
            <p:cNvSpPr>
              <a:spLocks/>
            </p:cNvSpPr>
            <p:nvPr/>
          </p:nvSpPr>
          <p:spPr bwMode="auto">
            <a:xfrm>
              <a:off x="7131829" y="5506267"/>
              <a:ext cx="51009" cy="44297"/>
            </a:xfrm>
            <a:custGeom>
              <a:avLst/>
              <a:gdLst>
                <a:gd name="T0" fmla="*/ 7 w 16"/>
                <a:gd name="T1" fmla="*/ 0 h 14"/>
                <a:gd name="T2" fmla="*/ 1 w 16"/>
                <a:gd name="T3" fmla="*/ 5 h 14"/>
                <a:gd name="T4" fmla="*/ 1 w 16"/>
                <a:gd name="T5" fmla="*/ 8 h 14"/>
                <a:gd name="T6" fmla="*/ 2 w 16"/>
                <a:gd name="T7" fmla="*/ 8 h 14"/>
                <a:gd name="T8" fmla="*/ 4 w 16"/>
                <a:gd name="T9" fmla="*/ 7 h 14"/>
                <a:gd name="T10" fmla="*/ 6 w 16"/>
                <a:gd name="T11" fmla="*/ 7 h 14"/>
                <a:gd name="T12" fmla="*/ 7 w 16"/>
                <a:gd name="T13" fmla="*/ 7 h 14"/>
                <a:gd name="T14" fmla="*/ 8 w 16"/>
                <a:gd name="T15" fmla="*/ 9 h 14"/>
                <a:gd name="T16" fmla="*/ 14 w 16"/>
                <a:gd name="T17" fmla="*/ 14 h 14"/>
                <a:gd name="T18" fmla="*/ 13 w 16"/>
                <a:gd name="T19" fmla="*/ 6 h 14"/>
                <a:gd name="T20" fmla="*/ 9 w 16"/>
                <a:gd name="T21" fmla="*/ 1 h 14"/>
                <a:gd name="T22" fmla="*/ 7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7" y="0"/>
                  </a:moveTo>
                  <a:cubicBezTo>
                    <a:pt x="4" y="0"/>
                    <a:pt x="2" y="3"/>
                    <a:pt x="1" y="5"/>
                  </a:cubicBezTo>
                  <a:cubicBezTo>
                    <a:pt x="0" y="6"/>
                    <a:pt x="0" y="7"/>
                    <a:pt x="1" y="8"/>
                  </a:cubicBezTo>
                  <a:cubicBezTo>
                    <a:pt x="1" y="8"/>
                    <a:pt x="1" y="8"/>
                    <a:pt x="2" y="8"/>
                  </a:cubicBezTo>
                  <a:cubicBezTo>
                    <a:pt x="2" y="8"/>
                    <a:pt x="3" y="8"/>
                    <a:pt x="4" y="7"/>
                  </a:cubicBezTo>
                  <a:cubicBezTo>
                    <a:pt x="4" y="7"/>
                    <a:pt x="6" y="7"/>
                    <a:pt x="6" y="7"/>
                  </a:cubicBezTo>
                  <a:cubicBezTo>
                    <a:pt x="6" y="7"/>
                    <a:pt x="7" y="7"/>
                    <a:pt x="7" y="7"/>
                  </a:cubicBezTo>
                  <a:cubicBezTo>
                    <a:pt x="9" y="7"/>
                    <a:pt x="7" y="7"/>
                    <a:pt x="8" y="9"/>
                  </a:cubicBezTo>
                  <a:cubicBezTo>
                    <a:pt x="10" y="12"/>
                    <a:pt x="10" y="12"/>
                    <a:pt x="14" y="14"/>
                  </a:cubicBezTo>
                  <a:cubicBezTo>
                    <a:pt x="16" y="11"/>
                    <a:pt x="15" y="9"/>
                    <a:pt x="13" y="6"/>
                  </a:cubicBezTo>
                  <a:cubicBezTo>
                    <a:pt x="12" y="5"/>
                    <a:pt x="10" y="2"/>
                    <a:pt x="9" y="1"/>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 name="Freeform 1330">
              <a:extLst>
                <a:ext uri="{FF2B5EF4-FFF2-40B4-BE49-F238E27FC236}">
                  <a16:creationId xmlns:a16="http://schemas.microsoft.com/office/drawing/2014/main" id="{49E7C609-4A96-43DA-8D4C-6CEB5BD7C91D}"/>
                </a:ext>
              </a:extLst>
            </p:cNvPr>
            <p:cNvSpPr>
              <a:spLocks/>
            </p:cNvSpPr>
            <p:nvPr/>
          </p:nvSpPr>
          <p:spPr bwMode="auto">
            <a:xfrm>
              <a:off x="7433854" y="5674059"/>
              <a:ext cx="85909" cy="48324"/>
            </a:xfrm>
            <a:custGeom>
              <a:avLst/>
              <a:gdLst>
                <a:gd name="T0" fmla="*/ 3 w 27"/>
                <a:gd name="T1" fmla="*/ 0 h 15"/>
                <a:gd name="T2" fmla="*/ 3 w 27"/>
                <a:gd name="T3" fmla="*/ 0 h 15"/>
                <a:gd name="T4" fmla="*/ 2 w 27"/>
                <a:gd name="T5" fmla="*/ 3 h 15"/>
                <a:gd name="T6" fmla="*/ 2 w 27"/>
                <a:gd name="T7" fmla="*/ 3 h 15"/>
                <a:gd name="T8" fmla="*/ 3 w 27"/>
                <a:gd name="T9" fmla="*/ 3 h 15"/>
                <a:gd name="T10" fmla="*/ 4 w 27"/>
                <a:gd name="T11" fmla="*/ 3 h 15"/>
                <a:gd name="T12" fmla="*/ 5 w 27"/>
                <a:gd name="T13" fmla="*/ 3 h 15"/>
                <a:gd name="T14" fmla="*/ 7 w 27"/>
                <a:gd name="T15" fmla="*/ 9 h 15"/>
                <a:gd name="T16" fmla="*/ 10 w 27"/>
                <a:gd name="T17" fmla="*/ 10 h 15"/>
                <a:gd name="T18" fmla="*/ 14 w 27"/>
                <a:gd name="T19" fmla="*/ 13 h 15"/>
                <a:gd name="T20" fmla="*/ 20 w 27"/>
                <a:gd name="T21" fmla="*/ 14 h 15"/>
                <a:gd name="T22" fmla="*/ 26 w 27"/>
                <a:gd name="T23" fmla="*/ 15 h 15"/>
                <a:gd name="T24" fmla="*/ 27 w 27"/>
                <a:gd name="T25" fmla="*/ 15 h 15"/>
                <a:gd name="T26" fmla="*/ 20 w 27"/>
                <a:gd name="T27" fmla="*/ 6 h 15"/>
                <a:gd name="T28" fmla="*/ 20 w 27"/>
                <a:gd name="T29" fmla="*/ 6 h 15"/>
                <a:gd name="T30" fmla="*/ 19 w 27"/>
                <a:gd name="T31" fmla="*/ 6 h 15"/>
                <a:gd name="T32" fmla="*/ 19 w 27"/>
                <a:gd name="T33" fmla="*/ 6 h 15"/>
                <a:gd name="T34" fmla="*/ 19 w 27"/>
                <a:gd name="T35" fmla="*/ 6 h 15"/>
                <a:gd name="T36" fmla="*/ 9 w 27"/>
                <a:gd name="T37" fmla="*/ 2 h 15"/>
                <a:gd name="T38" fmla="*/ 3 w 27"/>
                <a:gd name="T3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15">
                  <a:moveTo>
                    <a:pt x="3" y="0"/>
                  </a:moveTo>
                  <a:cubicBezTo>
                    <a:pt x="3" y="0"/>
                    <a:pt x="3" y="0"/>
                    <a:pt x="3" y="0"/>
                  </a:cubicBezTo>
                  <a:cubicBezTo>
                    <a:pt x="1" y="0"/>
                    <a:pt x="0" y="2"/>
                    <a:pt x="2" y="3"/>
                  </a:cubicBezTo>
                  <a:cubicBezTo>
                    <a:pt x="2" y="3"/>
                    <a:pt x="2" y="3"/>
                    <a:pt x="2" y="3"/>
                  </a:cubicBezTo>
                  <a:cubicBezTo>
                    <a:pt x="3" y="3"/>
                    <a:pt x="3" y="3"/>
                    <a:pt x="3" y="3"/>
                  </a:cubicBezTo>
                  <a:cubicBezTo>
                    <a:pt x="4" y="3"/>
                    <a:pt x="4" y="3"/>
                    <a:pt x="4" y="3"/>
                  </a:cubicBezTo>
                  <a:cubicBezTo>
                    <a:pt x="5" y="3"/>
                    <a:pt x="5" y="3"/>
                    <a:pt x="5" y="3"/>
                  </a:cubicBezTo>
                  <a:cubicBezTo>
                    <a:pt x="6" y="4"/>
                    <a:pt x="6" y="7"/>
                    <a:pt x="7" y="9"/>
                  </a:cubicBezTo>
                  <a:cubicBezTo>
                    <a:pt x="8" y="9"/>
                    <a:pt x="9" y="10"/>
                    <a:pt x="10" y="10"/>
                  </a:cubicBezTo>
                  <a:cubicBezTo>
                    <a:pt x="11" y="11"/>
                    <a:pt x="13" y="12"/>
                    <a:pt x="14" y="13"/>
                  </a:cubicBezTo>
                  <a:cubicBezTo>
                    <a:pt x="16" y="13"/>
                    <a:pt x="18" y="14"/>
                    <a:pt x="20" y="14"/>
                  </a:cubicBezTo>
                  <a:cubicBezTo>
                    <a:pt x="21" y="14"/>
                    <a:pt x="24" y="15"/>
                    <a:pt x="26" y="15"/>
                  </a:cubicBezTo>
                  <a:cubicBezTo>
                    <a:pt x="26" y="15"/>
                    <a:pt x="27" y="15"/>
                    <a:pt x="27" y="15"/>
                  </a:cubicBezTo>
                  <a:cubicBezTo>
                    <a:pt x="26" y="12"/>
                    <a:pt x="23" y="9"/>
                    <a:pt x="20" y="6"/>
                  </a:cubicBezTo>
                  <a:cubicBezTo>
                    <a:pt x="20" y="6"/>
                    <a:pt x="20" y="6"/>
                    <a:pt x="20" y="6"/>
                  </a:cubicBezTo>
                  <a:cubicBezTo>
                    <a:pt x="20" y="6"/>
                    <a:pt x="19" y="6"/>
                    <a:pt x="19" y="6"/>
                  </a:cubicBezTo>
                  <a:cubicBezTo>
                    <a:pt x="19" y="6"/>
                    <a:pt x="19" y="6"/>
                    <a:pt x="19" y="6"/>
                  </a:cubicBezTo>
                  <a:cubicBezTo>
                    <a:pt x="19" y="6"/>
                    <a:pt x="19" y="6"/>
                    <a:pt x="19" y="6"/>
                  </a:cubicBezTo>
                  <a:cubicBezTo>
                    <a:pt x="15" y="5"/>
                    <a:pt x="12" y="4"/>
                    <a:pt x="9" y="2"/>
                  </a:cubicBezTo>
                  <a:cubicBezTo>
                    <a:pt x="7"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 name="Freeform 1331">
              <a:extLst>
                <a:ext uri="{FF2B5EF4-FFF2-40B4-BE49-F238E27FC236}">
                  <a16:creationId xmlns:a16="http://schemas.microsoft.com/office/drawing/2014/main" id="{214EE5EC-FBBF-4BC3-9DF5-1977409D8F6A}"/>
                </a:ext>
              </a:extLst>
            </p:cNvPr>
            <p:cNvSpPr>
              <a:spLocks/>
            </p:cNvSpPr>
            <p:nvPr/>
          </p:nvSpPr>
          <p:spPr bwMode="auto">
            <a:xfrm>
              <a:off x="7122432" y="5519690"/>
              <a:ext cx="9396" cy="12081"/>
            </a:xfrm>
            <a:custGeom>
              <a:avLst/>
              <a:gdLst>
                <a:gd name="T0" fmla="*/ 1 w 3"/>
                <a:gd name="T1" fmla="*/ 0 h 4"/>
                <a:gd name="T2" fmla="*/ 0 w 3"/>
                <a:gd name="T3" fmla="*/ 1 h 4"/>
                <a:gd name="T4" fmla="*/ 3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1" y="0"/>
                    <a:pt x="0" y="1"/>
                  </a:cubicBezTo>
                  <a:cubicBezTo>
                    <a:pt x="1" y="2"/>
                    <a:pt x="2" y="3"/>
                    <a:pt x="3" y="4"/>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 name="Freeform 1332">
              <a:extLst>
                <a:ext uri="{FF2B5EF4-FFF2-40B4-BE49-F238E27FC236}">
                  <a16:creationId xmlns:a16="http://schemas.microsoft.com/office/drawing/2014/main" id="{0670FCFD-EAD3-4FB5-8567-D7E53405A05A}"/>
                </a:ext>
              </a:extLst>
            </p:cNvPr>
            <p:cNvSpPr>
              <a:spLocks/>
            </p:cNvSpPr>
            <p:nvPr/>
          </p:nvSpPr>
          <p:spPr bwMode="auto">
            <a:xfrm>
              <a:off x="7382846" y="5531771"/>
              <a:ext cx="60405" cy="97991"/>
            </a:xfrm>
            <a:custGeom>
              <a:avLst/>
              <a:gdLst>
                <a:gd name="T0" fmla="*/ 4 w 19"/>
                <a:gd name="T1" fmla="*/ 0 h 31"/>
                <a:gd name="T2" fmla="*/ 4 w 19"/>
                <a:gd name="T3" fmla="*/ 1 h 31"/>
                <a:gd name="T4" fmla="*/ 1 w 19"/>
                <a:gd name="T5" fmla="*/ 1 h 31"/>
                <a:gd name="T6" fmla="*/ 2 w 19"/>
                <a:gd name="T7" fmla="*/ 4 h 31"/>
                <a:gd name="T8" fmla="*/ 2 w 19"/>
                <a:gd name="T9" fmla="*/ 8 h 31"/>
                <a:gd name="T10" fmla="*/ 7 w 19"/>
                <a:gd name="T11" fmla="*/ 20 h 31"/>
                <a:gd name="T12" fmla="*/ 19 w 19"/>
                <a:gd name="T13" fmla="*/ 31 h 31"/>
                <a:gd name="T14" fmla="*/ 19 w 19"/>
                <a:gd name="T15" fmla="*/ 28 h 31"/>
                <a:gd name="T16" fmla="*/ 17 w 19"/>
                <a:gd name="T17" fmla="*/ 25 h 31"/>
                <a:gd name="T18" fmla="*/ 17 w 19"/>
                <a:gd name="T19" fmla="*/ 23 h 31"/>
                <a:gd name="T20" fmla="*/ 14 w 19"/>
                <a:gd name="T21" fmla="*/ 16 h 31"/>
                <a:gd name="T22" fmla="*/ 12 w 19"/>
                <a:gd name="T23" fmla="*/ 14 h 31"/>
                <a:gd name="T24" fmla="*/ 8 w 19"/>
                <a:gd name="T25" fmla="*/ 5 h 31"/>
                <a:gd name="T26" fmla="*/ 4 w 19"/>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1">
                  <a:moveTo>
                    <a:pt x="4" y="0"/>
                  </a:moveTo>
                  <a:cubicBezTo>
                    <a:pt x="4" y="0"/>
                    <a:pt x="4" y="1"/>
                    <a:pt x="4" y="1"/>
                  </a:cubicBezTo>
                  <a:cubicBezTo>
                    <a:pt x="2" y="1"/>
                    <a:pt x="1" y="1"/>
                    <a:pt x="1" y="1"/>
                  </a:cubicBezTo>
                  <a:cubicBezTo>
                    <a:pt x="0" y="1"/>
                    <a:pt x="1" y="2"/>
                    <a:pt x="2" y="4"/>
                  </a:cubicBezTo>
                  <a:cubicBezTo>
                    <a:pt x="4" y="6"/>
                    <a:pt x="3" y="6"/>
                    <a:pt x="2" y="8"/>
                  </a:cubicBezTo>
                  <a:cubicBezTo>
                    <a:pt x="2" y="11"/>
                    <a:pt x="5" y="18"/>
                    <a:pt x="7" y="20"/>
                  </a:cubicBezTo>
                  <a:cubicBezTo>
                    <a:pt x="11" y="24"/>
                    <a:pt x="15" y="28"/>
                    <a:pt x="19" y="31"/>
                  </a:cubicBezTo>
                  <a:cubicBezTo>
                    <a:pt x="19" y="30"/>
                    <a:pt x="19" y="29"/>
                    <a:pt x="19" y="28"/>
                  </a:cubicBezTo>
                  <a:cubicBezTo>
                    <a:pt x="19" y="27"/>
                    <a:pt x="18" y="26"/>
                    <a:pt x="17" y="25"/>
                  </a:cubicBezTo>
                  <a:cubicBezTo>
                    <a:pt x="17" y="24"/>
                    <a:pt x="17" y="24"/>
                    <a:pt x="17" y="23"/>
                  </a:cubicBezTo>
                  <a:cubicBezTo>
                    <a:pt x="16" y="20"/>
                    <a:pt x="15" y="18"/>
                    <a:pt x="14" y="16"/>
                  </a:cubicBezTo>
                  <a:cubicBezTo>
                    <a:pt x="14" y="16"/>
                    <a:pt x="12" y="15"/>
                    <a:pt x="12" y="14"/>
                  </a:cubicBezTo>
                  <a:cubicBezTo>
                    <a:pt x="10" y="12"/>
                    <a:pt x="10" y="8"/>
                    <a:pt x="8" y="5"/>
                  </a:cubicBezTo>
                  <a:cubicBezTo>
                    <a:pt x="7" y="3"/>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 name="Freeform 1333">
              <a:extLst>
                <a:ext uri="{FF2B5EF4-FFF2-40B4-BE49-F238E27FC236}">
                  <a16:creationId xmlns:a16="http://schemas.microsoft.com/office/drawing/2014/main" id="{4ACF2020-6089-43DE-843E-B4A92FECF65A}"/>
                </a:ext>
              </a:extLst>
            </p:cNvPr>
            <p:cNvSpPr>
              <a:spLocks/>
            </p:cNvSpPr>
            <p:nvPr/>
          </p:nvSpPr>
          <p:spPr bwMode="auto">
            <a:xfrm>
              <a:off x="7082162" y="5503582"/>
              <a:ext cx="5369" cy="18793"/>
            </a:xfrm>
            <a:custGeom>
              <a:avLst/>
              <a:gdLst>
                <a:gd name="T0" fmla="*/ 0 w 2"/>
                <a:gd name="T1" fmla="*/ 0 h 6"/>
                <a:gd name="T2" fmla="*/ 1 w 2"/>
                <a:gd name="T3" fmla="*/ 6 h 6"/>
                <a:gd name="T4" fmla="*/ 0 w 2"/>
                <a:gd name="T5" fmla="*/ 0 h 6"/>
              </a:gdLst>
              <a:ahLst/>
              <a:cxnLst>
                <a:cxn ang="0">
                  <a:pos x="T0" y="T1"/>
                </a:cxn>
                <a:cxn ang="0">
                  <a:pos x="T2" y="T3"/>
                </a:cxn>
                <a:cxn ang="0">
                  <a:pos x="T4" y="T5"/>
                </a:cxn>
              </a:cxnLst>
              <a:rect l="0" t="0" r="r" b="b"/>
              <a:pathLst>
                <a:path w="2" h="6">
                  <a:moveTo>
                    <a:pt x="0" y="0"/>
                  </a:moveTo>
                  <a:cubicBezTo>
                    <a:pt x="0" y="2"/>
                    <a:pt x="1" y="4"/>
                    <a:pt x="1" y="6"/>
                  </a:cubicBezTo>
                  <a:cubicBezTo>
                    <a:pt x="2"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 name="Freeform 1334">
              <a:extLst>
                <a:ext uri="{FF2B5EF4-FFF2-40B4-BE49-F238E27FC236}">
                  <a16:creationId xmlns:a16="http://schemas.microsoft.com/office/drawing/2014/main" id="{9C19D2FA-441A-422F-B777-F82568DEA067}"/>
                </a:ext>
              </a:extLst>
            </p:cNvPr>
            <p:cNvSpPr>
              <a:spLocks/>
            </p:cNvSpPr>
            <p:nvPr/>
          </p:nvSpPr>
          <p:spPr bwMode="auto">
            <a:xfrm>
              <a:off x="7151964" y="5559960"/>
              <a:ext cx="12081" cy="9396"/>
            </a:xfrm>
            <a:custGeom>
              <a:avLst/>
              <a:gdLst>
                <a:gd name="T0" fmla="*/ 2 w 4"/>
                <a:gd name="T1" fmla="*/ 0 h 3"/>
                <a:gd name="T2" fmla="*/ 0 w 4"/>
                <a:gd name="T3" fmla="*/ 0 h 3"/>
                <a:gd name="T4" fmla="*/ 4 w 4"/>
                <a:gd name="T5" fmla="*/ 3 h 3"/>
                <a:gd name="T6" fmla="*/ 2 w 4"/>
                <a:gd name="T7" fmla="*/ 0 h 3"/>
              </a:gdLst>
              <a:ahLst/>
              <a:cxnLst>
                <a:cxn ang="0">
                  <a:pos x="T0" y="T1"/>
                </a:cxn>
                <a:cxn ang="0">
                  <a:pos x="T2" y="T3"/>
                </a:cxn>
                <a:cxn ang="0">
                  <a:pos x="T4" y="T5"/>
                </a:cxn>
                <a:cxn ang="0">
                  <a:pos x="T6" y="T7"/>
                </a:cxn>
              </a:cxnLst>
              <a:rect l="0" t="0" r="r" b="b"/>
              <a:pathLst>
                <a:path w="4" h="3">
                  <a:moveTo>
                    <a:pt x="2" y="0"/>
                  </a:moveTo>
                  <a:cubicBezTo>
                    <a:pt x="1" y="0"/>
                    <a:pt x="1" y="0"/>
                    <a:pt x="0" y="0"/>
                  </a:cubicBezTo>
                  <a:cubicBezTo>
                    <a:pt x="1" y="1"/>
                    <a:pt x="2" y="2"/>
                    <a:pt x="4" y="3"/>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 name="Freeform 1335">
              <a:extLst>
                <a:ext uri="{FF2B5EF4-FFF2-40B4-BE49-F238E27FC236}">
                  <a16:creationId xmlns:a16="http://schemas.microsoft.com/office/drawing/2014/main" id="{98AC3E53-C4B1-4B0D-92D3-18D0755AFD69}"/>
                </a:ext>
              </a:extLst>
            </p:cNvPr>
            <p:cNvSpPr>
              <a:spLocks/>
            </p:cNvSpPr>
            <p:nvPr/>
          </p:nvSpPr>
          <p:spPr bwMode="auto">
            <a:xfrm>
              <a:off x="7129144" y="5541167"/>
              <a:ext cx="22820" cy="22820"/>
            </a:xfrm>
            <a:custGeom>
              <a:avLst/>
              <a:gdLst>
                <a:gd name="T0" fmla="*/ 4 w 7"/>
                <a:gd name="T1" fmla="*/ 0 h 7"/>
                <a:gd name="T2" fmla="*/ 2 w 7"/>
                <a:gd name="T3" fmla="*/ 2 h 7"/>
                <a:gd name="T4" fmla="*/ 5 w 7"/>
                <a:gd name="T5" fmla="*/ 7 h 7"/>
                <a:gd name="T6" fmla="*/ 5 w 7"/>
                <a:gd name="T7" fmla="*/ 0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3" y="0"/>
                    <a:pt x="2" y="1"/>
                    <a:pt x="2" y="2"/>
                  </a:cubicBezTo>
                  <a:cubicBezTo>
                    <a:pt x="0" y="4"/>
                    <a:pt x="3" y="5"/>
                    <a:pt x="5" y="7"/>
                  </a:cubicBezTo>
                  <a:cubicBezTo>
                    <a:pt x="2" y="3"/>
                    <a:pt x="7" y="3"/>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 name="Freeform 1336">
              <a:extLst>
                <a:ext uri="{FF2B5EF4-FFF2-40B4-BE49-F238E27FC236}">
                  <a16:creationId xmlns:a16="http://schemas.microsoft.com/office/drawing/2014/main" id="{416B31F6-E5CD-4721-97A2-3088D8D44B40}"/>
                </a:ext>
              </a:extLst>
            </p:cNvPr>
            <p:cNvSpPr>
              <a:spLocks/>
            </p:cNvSpPr>
            <p:nvPr/>
          </p:nvSpPr>
          <p:spPr bwMode="auto">
            <a:xfrm>
              <a:off x="7071424" y="5404249"/>
              <a:ext cx="89936" cy="57720"/>
            </a:xfrm>
            <a:custGeom>
              <a:avLst/>
              <a:gdLst>
                <a:gd name="T0" fmla="*/ 2 w 28"/>
                <a:gd name="T1" fmla="*/ 0 h 18"/>
                <a:gd name="T2" fmla="*/ 1 w 28"/>
                <a:gd name="T3" fmla="*/ 3 h 18"/>
                <a:gd name="T4" fmla="*/ 6 w 28"/>
                <a:gd name="T5" fmla="*/ 6 h 18"/>
                <a:gd name="T6" fmla="*/ 10 w 28"/>
                <a:gd name="T7" fmla="*/ 12 h 18"/>
                <a:gd name="T8" fmla="*/ 20 w 28"/>
                <a:gd name="T9" fmla="*/ 18 h 18"/>
                <a:gd name="T10" fmla="*/ 22 w 28"/>
                <a:gd name="T11" fmla="*/ 18 h 18"/>
                <a:gd name="T12" fmla="*/ 26 w 28"/>
                <a:gd name="T13" fmla="*/ 16 h 18"/>
                <a:gd name="T14" fmla="*/ 22 w 28"/>
                <a:gd name="T15" fmla="*/ 16 h 18"/>
                <a:gd name="T16" fmla="*/ 18 w 28"/>
                <a:gd name="T17" fmla="*/ 13 h 18"/>
                <a:gd name="T18" fmla="*/ 14 w 28"/>
                <a:gd name="T19" fmla="*/ 6 h 18"/>
                <a:gd name="T20" fmla="*/ 9 w 28"/>
                <a:gd name="T21" fmla="*/ 3 h 18"/>
                <a:gd name="T22" fmla="*/ 4 w 28"/>
                <a:gd name="T23" fmla="*/ 1 h 18"/>
                <a:gd name="T24" fmla="*/ 2 w 2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8">
                  <a:moveTo>
                    <a:pt x="2" y="0"/>
                  </a:moveTo>
                  <a:cubicBezTo>
                    <a:pt x="1" y="0"/>
                    <a:pt x="0" y="1"/>
                    <a:pt x="1" y="3"/>
                  </a:cubicBezTo>
                  <a:cubicBezTo>
                    <a:pt x="2" y="4"/>
                    <a:pt x="5" y="5"/>
                    <a:pt x="6" y="6"/>
                  </a:cubicBezTo>
                  <a:cubicBezTo>
                    <a:pt x="8" y="8"/>
                    <a:pt x="9" y="10"/>
                    <a:pt x="10" y="12"/>
                  </a:cubicBezTo>
                  <a:cubicBezTo>
                    <a:pt x="14" y="15"/>
                    <a:pt x="16" y="16"/>
                    <a:pt x="20" y="18"/>
                  </a:cubicBezTo>
                  <a:cubicBezTo>
                    <a:pt x="20" y="18"/>
                    <a:pt x="21" y="18"/>
                    <a:pt x="22" y="18"/>
                  </a:cubicBezTo>
                  <a:cubicBezTo>
                    <a:pt x="25" y="18"/>
                    <a:pt x="28" y="18"/>
                    <a:pt x="26" y="16"/>
                  </a:cubicBezTo>
                  <a:cubicBezTo>
                    <a:pt x="26" y="16"/>
                    <a:pt x="23" y="16"/>
                    <a:pt x="22" y="16"/>
                  </a:cubicBezTo>
                  <a:cubicBezTo>
                    <a:pt x="21" y="15"/>
                    <a:pt x="19" y="14"/>
                    <a:pt x="18" y="13"/>
                  </a:cubicBezTo>
                  <a:cubicBezTo>
                    <a:pt x="16" y="11"/>
                    <a:pt x="17" y="8"/>
                    <a:pt x="14" y="6"/>
                  </a:cubicBezTo>
                  <a:cubicBezTo>
                    <a:pt x="12" y="5"/>
                    <a:pt x="10" y="5"/>
                    <a:pt x="9" y="3"/>
                  </a:cubicBezTo>
                  <a:cubicBezTo>
                    <a:pt x="7" y="2"/>
                    <a:pt x="6" y="1"/>
                    <a:pt x="4" y="1"/>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 name="Freeform 1337">
              <a:extLst>
                <a:ext uri="{FF2B5EF4-FFF2-40B4-BE49-F238E27FC236}">
                  <a16:creationId xmlns:a16="http://schemas.microsoft.com/office/drawing/2014/main" id="{A095B98C-DA43-4ADF-8804-FAB0648A3042}"/>
                </a:ext>
              </a:extLst>
            </p:cNvPr>
            <p:cNvSpPr>
              <a:spLocks/>
            </p:cNvSpPr>
            <p:nvPr/>
          </p:nvSpPr>
          <p:spPr bwMode="auto">
            <a:xfrm>
              <a:off x="7211027" y="5468681"/>
              <a:ext cx="10739" cy="5369"/>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3" y="2"/>
                  </a:cubicBezTo>
                  <a:cubicBezTo>
                    <a:pt x="3"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 name="Freeform 1338">
              <a:extLst>
                <a:ext uri="{FF2B5EF4-FFF2-40B4-BE49-F238E27FC236}">
                  <a16:creationId xmlns:a16="http://schemas.microsoft.com/office/drawing/2014/main" id="{58A4654E-6731-4677-8FFC-D49E07B96B5B}"/>
                </a:ext>
              </a:extLst>
            </p:cNvPr>
            <p:cNvSpPr>
              <a:spLocks/>
            </p:cNvSpPr>
            <p:nvPr/>
          </p:nvSpPr>
          <p:spPr bwMode="auto">
            <a:xfrm>
              <a:off x="7484863" y="5636473"/>
              <a:ext cx="2685" cy="12081"/>
            </a:xfrm>
            <a:custGeom>
              <a:avLst/>
              <a:gdLst>
                <a:gd name="T0" fmla="*/ 1 w 1"/>
                <a:gd name="T1" fmla="*/ 0 h 4"/>
                <a:gd name="T2" fmla="*/ 1 w 1"/>
                <a:gd name="T3" fmla="*/ 4 h 4"/>
                <a:gd name="T4" fmla="*/ 1 w 1"/>
                <a:gd name="T5" fmla="*/ 0 h 4"/>
              </a:gdLst>
              <a:ahLst/>
              <a:cxnLst>
                <a:cxn ang="0">
                  <a:pos x="T0" y="T1"/>
                </a:cxn>
                <a:cxn ang="0">
                  <a:pos x="T2" y="T3"/>
                </a:cxn>
                <a:cxn ang="0">
                  <a:pos x="T4" y="T5"/>
                </a:cxn>
              </a:cxnLst>
              <a:rect l="0" t="0" r="r" b="b"/>
              <a:pathLst>
                <a:path w="1" h="4">
                  <a:moveTo>
                    <a:pt x="1" y="0"/>
                  </a:moveTo>
                  <a:cubicBezTo>
                    <a:pt x="0" y="1"/>
                    <a:pt x="1" y="2"/>
                    <a:pt x="1" y="4"/>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 name="Freeform 1339">
              <a:extLst>
                <a:ext uri="{FF2B5EF4-FFF2-40B4-BE49-F238E27FC236}">
                  <a16:creationId xmlns:a16="http://schemas.microsoft.com/office/drawing/2014/main" id="{06E77EF5-CE01-4A0D-8DD0-D813F6353C61}"/>
                </a:ext>
              </a:extLst>
            </p:cNvPr>
            <p:cNvSpPr>
              <a:spLocks/>
            </p:cNvSpPr>
            <p:nvPr/>
          </p:nvSpPr>
          <p:spPr bwMode="auto">
            <a:xfrm>
              <a:off x="7306332" y="5604257"/>
              <a:ext cx="92621" cy="51009"/>
            </a:xfrm>
            <a:custGeom>
              <a:avLst/>
              <a:gdLst>
                <a:gd name="T0" fmla="*/ 4 w 29"/>
                <a:gd name="T1" fmla="*/ 0 h 16"/>
                <a:gd name="T2" fmla="*/ 1 w 29"/>
                <a:gd name="T3" fmla="*/ 1 h 16"/>
                <a:gd name="T4" fmla="*/ 3 w 29"/>
                <a:gd name="T5" fmla="*/ 8 h 16"/>
                <a:gd name="T6" fmla="*/ 11 w 29"/>
                <a:gd name="T7" fmla="*/ 13 h 16"/>
                <a:gd name="T8" fmla="*/ 12 w 29"/>
                <a:gd name="T9" fmla="*/ 13 h 16"/>
                <a:gd name="T10" fmla="*/ 14 w 29"/>
                <a:gd name="T11" fmla="*/ 13 h 16"/>
                <a:gd name="T12" fmla="*/ 16 w 29"/>
                <a:gd name="T13" fmla="*/ 13 h 16"/>
                <a:gd name="T14" fmla="*/ 18 w 29"/>
                <a:gd name="T15" fmla="*/ 13 h 16"/>
                <a:gd name="T16" fmla="*/ 21 w 29"/>
                <a:gd name="T17" fmla="*/ 15 h 16"/>
                <a:gd name="T18" fmla="*/ 26 w 29"/>
                <a:gd name="T19" fmla="*/ 16 h 16"/>
                <a:gd name="T20" fmla="*/ 29 w 29"/>
                <a:gd name="T21" fmla="*/ 11 h 16"/>
                <a:gd name="T22" fmla="*/ 27 w 29"/>
                <a:gd name="T23" fmla="*/ 10 h 16"/>
                <a:gd name="T24" fmla="*/ 24 w 29"/>
                <a:gd name="T25" fmla="*/ 6 h 16"/>
                <a:gd name="T26" fmla="*/ 15 w 29"/>
                <a:gd name="T27" fmla="*/ 3 h 16"/>
                <a:gd name="T28" fmla="*/ 15 w 29"/>
                <a:gd name="T29" fmla="*/ 3 h 16"/>
                <a:gd name="T30" fmla="*/ 13 w 29"/>
                <a:gd name="T31" fmla="*/ 3 h 16"/>
                <a:gd name="T32" fmla="*/ 12 w 29"/>
                <a:gd name="T33" fmla="*/ 3 h 16"/>
                <a:gd name="T34" fmla="*/ 12 w 29"/>
                <a:gd name="T35" fmla="*/ 3 h 16"/>
                <a:gd name="T36" fmla="*/ 4 w 29"/>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6">
                  <a:moveTo>
                    <a:pt x="4" y="0"/>
                  </a:moveTo>
                  <a:cubicBezTo>
                    <a:pt x="3" y="0"/>
                    <a:pt x="2" y="0"/>
                    <a:pt x="1" y="1"/>
                  </a:cubicBezTo>
                  <a:cubicBezTo>
                    <a:pt x="0" y="3"/>
                    <a:pt x="2" y="6"/>
                    <a:pt x="3" y="8"/>
                  </a:cubicBezTo>
                  <a:cubicBezTo>
                    <a:pt x="5" y="11"/>
                    <a:pt x="7" y="12"/>
                    <a:pt x="11" y="13"/>
                  </a:cubicBezTo>
                  <a:cubicBezTo>
                    <a:pt x="12" y="13"/>
                    <a:pt x="12" y="13"/>
                    <a:pt x="12" y="13"/>
                  </a:cubicBezTo>
                  <a:cubicBezTo>
                    <a:pt x="13" y="13"/>
                    <a:pt x="14" y="13"/>
                    <a:pt x="14" y="13"/>
                  </a:cubicBezTo>
                  <a:cubicBezTo>
                    <a:pt x="15" y="13"/>
                    <a:pt x="16" y="13"/>
                    <a:pt x="16" y="13"/>
                  </a:cubicBezTo>
                  <a:cubicBezTo>
                    <a:pt x="17" y="13"/>
                    <a:pt x="18" y="13"/>
                    <a:pt x="18" y="13"/>
                  </a:cubicBezTo>
                  <a:cubicBezTo>
                    <a:pt x="19" y="13"/>
                    <a:pt x="20" y="14"/>
                    <a:pt x="21" y="15"/>
                  </a:cubicBezTo>
                  <a:cubicBezTo>
                    <a:pt x="22" y="15"/>
                    <a:pt x="24" y="15"/>
                    <a:pt x="26" y="16"/>
                  </a:cubicBezTo>
                  <a:cubicBezTo>
                    <a:pt x="27" y="14"/>
                    <a:pt x="29" y="13"/>
                    <a:pt x="29" y="11"/>
                  </a:cubicBezTo>
                  <a:cubicBezTo>
                    <a:pt x="27" y="10"/>
                    <a:pt x="27" y="10"/>
                    <a:pt x="27" y="10"/>
                  </a:cubicBezTo>
                  <a:cubicBezTo>
                    <a:pt x="27" y="9"/>
                    <a:pt x="26" y="7"/>
                    <a:pt x="24" y="6"/>
                  </a:cubicBezTo>
                  <a:cubicBezTo>
                    <a:pt x="21" y="4"/>
                    <a:pt x="18" y="3"/>
                    <a:pt x="15" y="3"/>
                  </a:cubicBezTo>
                  <a:cubicBezTo>
                    <a:pt x="15" y="3"/>
                    <a:pt x="15" y="3"/>
                    <a:pt x="15" y="3"/>
                  </a:cubicBezTo>
                  <a:cubicBezTo>
                    <a:pt x="14" y="3"/>
                    <a:pt x="14" y="3"/>
                    <a:pt x="13" y="3"/>
                  </a:cubicBezTo>
                  <a:cubicBezTo>
                    <a:pt x="13" y="3"/>
                    <a:pt x="13" y="3"/>
                    <a:pt x="12" y="3"/>
                  </a:cubicBezTo>
                  <a:cubicBezTo>
                    <a:pt x="12" y="3"/>
                    <a:pt x="12" y="3"/>
                    <a:pt x="12" y="3"/>
                  </a:cubicBezTo>
                  <a:cubicBezTo>
                    <a:pt x="10" y="3"/>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 name="Freeform 1340">
              <a:extLst>
                <a:ext uri="{FF2B5EF4-FFF2-40B4-BE49-F238E27FC236}">
                  <a16:creationId xmlns:a16="http://schemas.microsoft.com/office/drawing/2014/main" id="{0823B128-B4E7-4CC5-AB44-DDBB5157FDE7}"/>
                </a:ext>
              </a:extLst>
            </p:cNvPr>
            <p:cNvSpPr>
              <a:spLocks/>
            </p:cNvSpPr>
            <p:nvPr/>
          </p:nvSpPr>
          <p:spPr bwMode="auto">
            <a:xfrm>
              <a:off x="7443251" y="5608284"/>
              <a:ext cx="12081" cy="34901"/>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1" y="4"/>
                    <a:pt x="3" y="8"/>
                    <a:pt x="4" y="11"/>
                  </a:cubicBezTo>
                  <a:cubicBezTo>
                    <a:pt x="4" y="7"/>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 name="Freeform 1341">
              <a:extLst>
                <a:ext uri="{FF2B5EF4-FFF2-40B4-BE49-F238E27FC236}">
                  <a16:creationId xmlns:a16="http://schemas.microsoft.com/office/drawing/2014/main" id="{18648D62-21AF-46AB-8970-69A6430B23E1}"/>
                </a:ext>
              </a:extLst>
            </p:cNvPr>
            <p:cNvSpPr>
              <a:spLocks/>
            </p:cNvSpPr>
            <p:nvPr/>
          </p:nvSpPr>
          <p:spPr bwMode="auto">
            <a:xfrm>
              <a:off x="7310359" y="5538483"/>
              <a:ext cx="5369" cy="12081"/>
            </a:xfrm>
            <a:custGeom>
              <a:avLst/>
              <a:gdLst>
                <a:gd name="T0" fmla="*/ 0 w 2"/>
                <a:gd name="T1" fmla="*/ 0 h 4"/>
                <a:gd name="T2" fmla="*/ 2 w 2"/>
                <a:gd name="T3" fmla="*/ 4 h 4"/>
                <a:gd name="T4" fmla="*/ 1 w 2"/>
                <a:gd name="T5" fmla="*/ 0 h 4"/>
                <a:gd name="T6" fmla="*/ 0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1" y="2"/>
                    <a:pt x="2" y="4"/>
                  </a:cubicBezTo>
                  <a:cubicBezTo>
                    <a:pt x="1" y="2"/>
                    <a:pt x="2" y="1"/>
                    <a:pt x="1" y="0"/>
                  </a:cubicBezTo>
                  <a:cubicBezTo>
                    <a:pt x="1"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 name="Freeform 1342">
              <a:extLst>
                <a:ext uri="{FF2B5EF4-FFF2-40B4-BE49-F238E27FC236}">
                  <a16:creationId xmlns:a16="http://schemas.microsoft.com/office/drawing/2014/main" id="{FC60553B-36B1-458D-A420-E3B04230D25D}"/>
                </a:ext>
              </a:extLst>
            </p:cNvPr>
            <p:cNvSpPr>
              <a:spLocks/>
            </p:cNvSpPr>
            <p:nvPr/>
          </p:nvSpPr>
          <p:spPr bwMode="auto">
            <a:xfrm>
              <a:off x="7215054" y="5474051"/>
              <a:ext cx="16108" cy="10739"/>
            </a:xfrm>
            <a:custGeom>
              <a:avLst/>
              <a:gdLst>
                <a:gd name="T0" fmla="*/ 1 w 5"/>
                <a:gd name="T1" fmla="*/ 0 h 3"/>
                <a:gd name="T2" fmla="*/ 0 w 5"/>
                <a:gd name="T3" fmla="*/ 1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1"/>
                    <a:pt x="0" y="1"/>
                  </a:cubicBezTo>
                  <a:cubicBezTo>
                    <a:pt x="2" y="1"/>
                    <a:pt x="3" y="2"/>
                    <a:pt x="5"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 name="Freeform 1343">
              <a:extLst>
                <a:ext uri="{FF2B5EF4-FFF2-40B4-BE49-F238E27FC236}">
                  <a16:creationId xmlns:a16="http://schemas.microsoft.com/office/drawing/2014/main" id="{70114A45-EF07-4D5B-BFCE-40EF8C1E6537}"/>
                </a:ext>
              </a:extLst>
            </p:cNvPr>
            <p:cNvSpPr>
              <a:spLocks/>
            </p:cNvSpPr>
            <p:nvPr/>
          </p:nvSpPr>
          <p:spPr bwMode="auto">
            <a:xfrm>
              <a:off x="7106324" y="5496870"/>
              <a:ext cx="25504" cy="22820"/>
            </a:xfrm>
            <a:custGeom>
              <a:avLst/>
              <a:gdLst>
                <a:gd name="T0" fmla="*/ 5 w 8"/>
                <a:gd name="T1" fmla="*/ 0 h 7"/>
                <a:gd name="T2" fmla="*/ 2 w 8"/>
                <a:gd name="T3" fmla="*/ 2 h 7"/>
                <a:gd name="T4" fmla="*/ 7 w 8"/>
                <a:gd name="T5" fmla="*/ 7 h 7"/>
                <a:gd name="T6" fmla="*/ 6 w 8"/>
                <a:gd name="T7" fmla="*/ 1 h 7"/>
                <a:gd name="T8" fmla="*/ 5 w 8"/>
                <a:gd name="T9" fmla="*/ 0 h 7"/>
              </a:gdLst>
              <a:ahLst/>
              <a:cxnLst>
                <a:cxn ang="0">
                  <a:pos x="T0" y="T1"/>
                </a:cxn>
                <a:cxn ang="0">
                  <a:pos x="T2" y="T3"/>
                </a:cxn>
                <a:cxn ang="0">
                  <a:pos x="T4" y="T5"/>
                </a:cxn>
                <a:cxn ang="0">
                  <a:pos x="T6" y="T7"/>
                </a:cxn>
                <a:cxn ang="0">
                  <a:pos x="T8" y="T9"/>
                </a:cxn>
              </a:cxnLst>
              <a:rect l="0" t="0" r="r" b="b"/>
              <a:pathLst>
                <a:path w="8" h="7">
                  <a:moveTo>
                    <a:pt x="5" y="0"/>
                  </a:moveTo>
                  <a:cubicBezTo>
                    <a:pt x="4" y="0"/>
                    <a:pt x="3" y="1"/>
                    <a:pt x="2" y="2"/>
                  </a:cubicBezTo>
                  <a:cubicBezTo>
                    <a:pt x="0" y="4"/>
                    <a:pt x="5" y="6"/>
                    <a:pt x="7" y="7"/>
                  </a:cubicBezTo>
                  <a:cubicBezTo>
                    <a:pt x="8" y="6"/>
                    <a:pt x="8" y="2"/>
                    <a:pt x="6"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 name="Freeform 1344">
              <a:extLst>
                <a:ext uri="{FF2B5EF4-FFF2-40B4-BE49-F238E27FC236}">
                  <a16:creationId xmlns:a16="http://schemas.microsoft.com/office/drawing/2014/main" id="{37D1CE2D-CED3-4F42-BEEF-24DB9BCFAE5E}"/>
                </a:ext>
              </a:extLst>
            </p:cNvPr>
            <p:cNvSpPr>
              <a:spLocks/>
            </p:cNvSpPr>
            <p:nvPr/>
          </p:nvSpPr>
          <p:spPr bwMode="auto">
            <a:xfrm>
              <a:off x="7205657" y="5559960"/>
              <a:ext cx="2685" cy="9396"/>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 name="Freeform 1345">
              <a:extLst>
                <a:ext uri="{FF2B5EF4-FFF2-40B4-BE49-F238E27FC236}">
                  <a16:creationId xmlns:a16="http://schemas.microsoft.com/office/drawing/2014/main" id="{B1126738-F6D0-4D65-90D5-206BE65C81CD}"/>
                </a:ext>
              </a:extLst>
            </p:cNvPr>
            <p:cNvSpPr>
              <a:spLocks/>
            </p:cNvSpPr>
            <p:nvPr/>
          </p:nvSpPr>
          <p:spPr bwMode="auto">
            <a:xfrm>
              <a:off x="7021757" y="5429753"/>
              <a:ext cx="18793" cy="13423"/>
            </a:xfrm>
            <a:custGeom>
              <a:avLst/>
              <a:gdLst>
                <a:gd name="T0" fmla="*/ 0 w 6"/>
                <a:gd name="T1" fmla="*/ 0 h 4"/>
                <a:gd name="T2" fmla="*/ 1 w 6"/>
                <a:gd name="T3" fmla="*/ 4 h 4"/>
                <a:gd name="T4" fmla="*/ 0 w 6"/>
                <a:gd name="T5" fmla="*/ 0 h 4"/>
              </a:gdLst>
              <a:ahLst/>
              <a:cxnLst>
                <a:cxn ang="0">
                  <a:pos x="T0" y="T1"/>
                </a:cxn>
                <a:cxn ang="0">
                  <a:pos x="T2" y="T3"/>
                </a:cxn>
                <a:cxn ang="0">
                  <a:pos x="T4" y="T5"/>
                </a:cxn>
              </a:cxnLst>
              <a:rect l="0" t="0" r="r" b="b"/>
              <a:pathLst>
                <a:path w="6" h="4">
                  <a:moveTo>
                    <a:pt x="0" y="0"/>
                  </a:moveTo>
                  <a:cubicBezTo>
                    <a:pt x="0" y="2"/>
                    <a:pt x="1" y="3"/>
                    <a:pt x="1" y="4"/>
                  </a:cubicBezTo>
                  <a:cubicBezTo>
                    <a:pt x="6"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 name="Freeform 1346">
              <a:extLst>
                <a:ext uri="{FF2B5EF4-FFF2-40B4-BE49-F238E27FC236}">
                  <a16:creationId xmlns:a16="http://schemas.microsoft.com/office/drawing/2014/main" id="{C8E14788-3BF4-4340-BE9E-908B1D0CCA2B}"/>
                </a:ext>
              </a:extLst>
            </p:cNvPr>
            <p:cNvSpPr>
              <a:spLocks/>
            </p:cNvSpPr>
            <p:nvPr/>
          </p:nvSpPr>
          <p:spPr bwMode="auto">
            <a:xfrm>
              <a:off x="7357341" y="5592176"/>
              <a:ext cx="13423" cy="6712"/>
            </a:xfrm>
            <a:custGeom>
              <a:avLst/>
              <a:gdLst>
                <a:gd name="T0" fmla="*/ 3 w 4"/>
                <a:gd name="T1" fmla="*/ 0 h 2"/>
                <a:gd name="T2" fmla="*/ 0 w 4"/>
                <a:gd name="T3" fmla="*/ 2 h 2"/>
                <a:gd name="T4" fmla="*/ 1 w 4"/>
                <a:gd name="T5" fmla="*/ 2 h 2"/>
                <a:gd name="T6" fmla="*/ 4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1" y="2"/>
                    <a:pt x="1" y="2"/>
                    <a:pt x="1" y="2"/>
                  </a:cubicBezTo>
                  <a:cubicBezTo>
                    <a:pt x="3" y="2"/>
                    <a:pt x="3" y="2"/>
                    <a:pt x="4"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 name="Freeform 1347">
              <a:extLst>
                <a:ext uri="{FF2B5EF4-FFF2-40B4-BE49-F238E27FC236}">
                  <a16:creationId xmlns:a16="http://schemas.microsoft.com/office/drawing/2014/main" id="{2F09EC03-BA4C-417A-824B-3D7670458792}"/>
                </a:ext>
              </a:extLst>
            </p:cNvPr>
            <p:cNvSpPr>
              <a:spLocks/>
            </p:cNvSpPr>
            <p:nvPr/>
          </p:nvSpPr>
          <p:spPr bwMode="auto">
            <a:xfrm>
              <a:off x="7119748" y="5522375"/>
              <a:ext cx="9396" cy="12081"/>
            </a:xfrm>
            <a:custGeom>
              <a:avLst/>
              <a:gdLst>
                <a:gd name="T0" fmla="*/ 0 w 3"/>
                <a:gd name="T1" fmla="*/ 0 h 4"/>
                <a:gd name="T2" fmla="*/ 0 w 3"/>
                <a:gd name="T3" fmla="*/ 0 h 4"/>
                <a:gd name="T4" fmla="*/ 3 w 3"/>
                <a:gd name="T5" fmla="*/ 4 h 4"/>
                <a:gd name="T6" fmla="*/ 0 w 3"/>
                <a:gd name="T7" fmla="*/ 0 h 4"/>
              </a:gdLst>
              <a:ahLst/>
              <a:cxnLst>
                <a:cxn ang="0">
                  <a:pos x="T0" y="T1"/>
                </a:cxn>
                <a:cxn ang="0">
                  <a:pos x="T2" y="T3"/>
                </a:cxn>
                <a:cxn ang="0">
                  <a:pos x="T4" y="T5"/>
                </a:cxn>
                <a:cxn ang="0">
                  <a:pos x="T6" y="T7"/>
                </a:cxn>
              </a:cxnLst>
              <a:rect l="0" t="0" r="r" b="b"/>
              <a:pathLst>
                <a:path w="3" h="4">
                  <a:moveTo>
                    <a:pt x="0" y="0"/>
                  </a:moveTo>
                  <a:cubicBezTo>
                    <a:pt x="0" y="0"/>
                    <a:pt x="0" y="0"/>
                    <a:pt x="0" y="0"/>
                  </a:cubicBezTo>
                  <a:cubicBezTo>
                    <a:pt x="1" y="1"/>
                    <a:pt x="2" y="3"/>
                    <a:pt x="3"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 name="Freeform 1348">
              <a:extLst>
                <a:ext uri="{FF2B5EF4-FFF2-40B4-BE49-F238E27FC236}">
                  <a16:creationId xmlns:a16="http://schemas.microsoft.com/office/drawing/2014/main" id="{7CC7CFAA-A236-4432-8D07-597BAAC10DDE}"/>
                </a:ext>
              </a:extLst>
            </p:cNvPr>
            <p:cNvSpPr>
              <a:spLocks/>
            </p:cNvSpPr>
            <p:nvPr/>
          </p:nvSpPr>
          <p:spPr bwMode="auto">
            <a:xfrm>
              <a:off x="7347945" y="5582780"/>
              <a:ext cx="16108" cy="9396"/>
            </a:xfrm>
            <a:custGeom>
              <a:avLst/>
              <a:gdLst>
                <a:gd name="T0" fmla="*/ 2 w 5"/>
                <a:gd name="T1" fmla="*/ 0 h 3"/>
                <a:gd name="T2" fmla="*/ 0 w 5"/>
                <a:gd name="T3" fmla="*/ 1 h 3"/>
                <a:gd name="T4" fmla="*/ 4 w 5"/>
                <a:gd name="T5" fmla="*/ 3 h 3"/>
                <a:gd name="T6" fmla="*/ 2 w 5"/>
                <a:gd name="T7" fmla="*/ 0 h 3"/>
              </a:gdLst>
              <a:ahLst/>
              <a:cxnLst>
                <a:cxn ang="0">
                  <a:pos x="T0" y="T1"/>
                </a:cxn>
                <a:cxn ang="0">
                  <a:pos x="T2" y="T3"/>
                </a:cxn>
                <a:cxn ang="0">
                  <a:pos x="T4" y="T5"/>
                </a:cxn>
                <a:cxn ang="0">
                  <a:pos x="T6" y="T7"/>
                </a:cxn>
              </a:cxnLst>
              <a:rect l="0" t="0" r="r" b="b"/>
              <a:pathLst>
                <a:path w="5" h="3">
                  <a:moveTo>
                    <a:pt x="2" y="0"/>
                  </a:moveTo>
                  <a:cubicBezTo>
                    <a:pt x="1" y="0"/>
                    <a:pt x="0" y="1"/>
                    <a:pt x="0" y="1"/>
                  </a:cubicBezTo>
                  <a:cubicBezTo>
                    <a:pt x="1" y="2"/>
                    <a:pt x="2" y="3"/>
                    <a:pt x="4" y="3"/>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 name="Freeform 1349">
              <a:extLst>
                <a:ext uri="{FF2B5EF4-FFF2-40B4-BE49-F238E27FC236}">
                  <a16:creationId xmlns:a16="http://schemas.microsoft.com/office/drawing/2014/main" id="{79A487D0-4D6D-4134-B482-29816EFC8CB4}"/>
                </a:ext>
              </a:extLst>
            </p:cNvPr>
            <p:cNvSpPr>
              <a:spLocks noEditPoints="1"/>
            </p:cNvSpPr>
            <p:nvPr/>
          </p:nvSpPr>
          <p:spPr bwMode="auto">
            <a:xfrm>
              <a:off x="7182838" y="5547879"/>
              <a:ext cx="18793" cy="18793"/>
            </a:xfrm>
            <a:custGeom>
              <a:avLst/>
              <a:gdLst>
                <a:gd name="T0" fmla="*/ 6 w 6"/>
                <a:gd name="T1" fmla="*/ 1 h 6"/>
                <a:gd name="T2" fmla="*/ 6 w 6"/>
                <a:gd name="T3" fmla="*/ 1 h 6"/>
                <a:gd name="T4" fmla="*/ 6 w 6"/>
                <a:gd name="T5" fmla="*/ 1 h 6"/>
                <a:gd name="T6" fmla="*/ 4 w 6"/>
                <a:gd name="T7" fmla="*/ 0 h 6"/>
                <a:gd name="T8" fmla="*/ 0 w 6"/>
                <a:gd name="T9" fmla="*/ 1 h 6"/>
                <a:gd name="T10" fmla="*/ 2 w 6"/>
                <a:gd name="T11" fmla="*/ 6 h 6"/>
                <a:gd name="T12" fmla="*/ 5 w 6"/>
                <a:gd name="T13" fmla="*/ 3 h 6"/>
                <a:gd name="T14" fmla="*/ 5 w 6"/>
                <a:gd name="T15" fmla="*/ 3 h 6"/>
                <a:gd name="T16" fmla="*/ 5 w 6"/>
                <a:gd name="T17" fmla="*/ 2 h 6"/>
                <a:gd name="T18" fmla="*/ 6 w 6"/>
                <a:gd name="T19" fmla="*/ 1 h 6"/>
                <a:gd name="T20" fmla="*/ 6 w 6"/>
                <a:gd name="T21" fmla="*/ 1 h 6"/>
                <a:gd name="T22" fmla="*/ 4 w 6"/>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6" y="1"/>
                  </a:moveTo>
                  <a:cubicBezTo>
                    <a:pt x="6" y="1"/>
                    <a:pt x="6" y="1"/>
                    <a:pt x="6" y="1"/>
                  </a:cubicBezTo>
                  <a:cubicBezTo>
                    <a:pt x="6" y="1"/>
                    <a:pt x="6" y="1"/>
                    <a:pt x="6" y="1"/>
                  </a:cubicBezTo>
                  <a:moveTo>
                    <a:pt x="4" y="0"/>
                  </a:moveTo>
                  <a:cubicBezTo>
                    <a:pt x="2" y="0"/>
                    <a:pt x="1" y="0"/>
                    <a:pt x="0" y="1"/>
                  </a:cubicBezTo>
                  <a:cubicBezTo>
                    <a:pt x="1" y="3"/>
                    <a:pt x="2" y="4"/>
                    <a:pt x="2" y="6"/>
                  </a:cubicBezTo>
                  <a:cubicBezTo>
                    <a:pt x="5" y="4"/>
                    <a:pt x="4" y="5"/>
                    <a:pt x="5" y="3"/>
                  </a:cubicBezTo>
                  <a:cubicBezTo>
                    <a:pt x="5" y="3"/>
                    <a:pt x="5" y="3"/>
                    <a:pt x="5" y="3"/>
                  </a:cubicBezTo>
                  <a:cubicBezTo>
                    <a:pt x="5" y="3"/>
                    <a:pt x="5" y="2"/>
                    <a:pt x="5" y="2"/>
                  </a:cubicBezTo>
                  <a:cubicBezTo>
                    <a:pt x="5" y="2"/>
                    <a:pt x="6" y="1"/>
                    <a:pt x="6" y="1"/>
                  </a:cubicBezTo>
                  <a:cubicBezTo>
                    <a:pt x="6" y="1"/>
                    <a:pt x="6"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 name="Freeform 1350">
              <a:extLst>
                <a:ext uri="{FF2B5EF4-FFF2-40B4-BE49-F238E27FC236}">
                  <a16:creationId xmlns:a16="http://schemas.microsoft.com/office/drawing/2014/main" id="{0823F4A1-C721-4830-B9FF-71A726D57261}"/>
                </a:ext>
              </a:extLst>
            </p:cNvPr>
            <p:cNvSpPr>
              <a:spLocks/>
            </p:cNvSpPr>
            <p:nvPr/>
          </p:nvSpPr>
          <p:spPr bwMode="auto">
            <a:xfrm>
              <a:off x="7084847" y="5478078"/>
              <a:ext cx="18793" cy="25504"/>
            </a:xfrm>
            <a:custGeom>
              <a:avLst/>
              <a:gdLst>
                <a:gd name="T0" fmla="*/ 0 w 6"/>
                <a:gd name="T1" fmla="*/ 0 h 8"/>
                <a:gd name="T2" fmla="*/ 3 w 6"/>
                <a:gd name="T3" fmla="*/ 8 h 8"/>
                <a:gd name="T4" fmla="*/ 5 w 6"/>
                <a:gd name="T5" fmla="*/ 3 h 8"/>
                <a:gd name="T6" fmla="*/ 0 w 6"/>
                <a:gd name="T7" fmla="*/ 0 h 8"/>
              </a:gdLst>
              <a:ahLst/>
              <a:cxnLst>
                <a:cxn ang="0">
                  <a:pos x="T0" y="T1"/>
                </a:cxn>
                <a:cxn ang="0">
                  <a:pos x="T2" y="T3"/>
                </a:cxn>
                <a:cxn ang="0">
                  <a:pos x="T4" y="T5"/>
                </a:cxn>
                <a:cxn ang="0">
                  <a:pos x="T6" y="T7"/>
                </a:cxn>
              </a:cxnLst>
              <a:rect l="0" t="0" r="r" b="b"/>
              <a:pathLst>
                <a:path w="6" h="8">
                  <a:moveTo>
                    <a:pt x="0" y="0"/>
                  </a:moveTo>
                  <a:cubicBezTo>
                    <a:pt x="0" y="3"/>
                    <a:pt x="2" y="6"/>
                    <a:pt x="3" y="8"/>
                  </a:cubicBezTo>
                  <a:cubicBezTo>
                    <a:pt x="3" y="5"/>
                    <a:pt x="6" y="5"/>
                    <a:pt x="5" y="3"/>
                  </a:cubicBezTo>
                  <a:cubicBezTo>
                    <a:pt x="5"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 name="Freeform 1351">
              <a:extLst>
                <a:ext uri="{FF2B5EF4-FFF2-40B4-BE49-F238E27FC236}">
                  <a16:creationId xmlns:a16="http://schemas.microsoft.com/office/drawing/2014/main" id="{FB4EBBB1-886D-4041-9D81-C7F53CC5E50C}"/>
                </a:ext>
              </a:extLst>
            </p:cNvPr>
            <p:cNvSpPr>
              <a:spLocks/>
            </p:cNvSpPr>
            <p:nvPr/>
          </p:nvSpPr>
          <p:spPr bwMode="auto">
            <a:xfrm>
              <a:off x="7338548" y="5769365"/>
              <a:ext cx="51009" cy="29531"/>
            </a:xfrm>
            <a:custGeom>
              <a:avLst/>
              <a:gdLst>
                <a:gd name="T0" fmla="*/ 1 w 16"/>
                <a:gd name="T1" fmla="*/ 0 h 9"/>
                <a:gd name="T2" fmla="*/ 0 w 16"/>
                <a:gd name="T3" fmla="*/ 1 h 9"/>
                <a:gd name="T4" fmla="*/ 12 w 16"/>
                <a:gd name="T5" fmla="*/ 9 h 9"/>
                <a:gd name="T6" fmla="*/ 7 w 16"/>
                <a:gd name="T7" fmla="*/ 3 h 9"/>
                <a:gd name="T8" fmla="*/ 1 w 16"/>
                <a:gd name="T9" fmla="*/ 0 h 9"/>
              </a:gdLst>
              <a:ahLst/>
              <a:cxnLst>
                <a:cxn ang="0">
                  <a:pos x="T0" y="T1"/>
                </a:cxn>
                <a:cxn ang="0">
                  <a:pos x="T2" y="T3"/>
                </a:cxn>
                <a:cxn ang="0">
                  <a:pos x="T4" y="T5"/>
                </a:cxn>
                <a:cxn ang="0">
                  <a:pos x="T6" y="T7"/>
                </a:cxn>
                <a:cxn ang="0">
                  <a:pos x="T8" y="T9"/>
                </a:cxn>
              </a:cxnLst>
              <a:rect l="0" t="0" r="r" b="b"/>
              <a:pathLst>
                <a:path w="16" h="9">
                  <a:moveTo>
                    <a:pt x="1" y="0"/>
                  </a:moveTo>
                  <a:cubicBezTo>
                    <a:pt x="1" y="0"/>
                    <a:pt x="0" y="0"/>
                    <a:pt x="0" y="1"/>
                  </a:cubicBezTo>
                  <a:cubicBezTo>
                    <a:pt x="4" y="4"/>
                    <a:pt x="8" y="6"/>
                    <a:pt x="12" y="9"/>
                  </a:cubicBezTo>
                  <a:cubicBezTo>
                    <a:pt x="16" y="7"/>
                    <a:pt x="8" y="4"/>
                    <a:pt x="7" y="3"/>
                  </a:cubicBezTo>
                  <a:cubicBezTo>
                    <a:pt x="5"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 name="Freeform 1352">
              <a:extLst>
                <a:ext uri="{FF2B5EF4-FFF2-40B4-BE49-F238E27FC236}">
                  <a16:creationId xmlns:a16="http://schemas.microsoft.com/office/drawing/2014/main" id="{BC5A7B84-664A-4F0B-AA4E-C99EEA3EE8C5}"/>
                </a:ext>
              </a:extLst>
            </p:cNvPr>
            <p:cNvSpPr>
              <a:spLocks/>
            </p:cNvSpPr>
            <p:nvPr/>
          </p:nvSpPr>
          <p:spPr bwMode="auto">
            <a:xfrm>
              <a:off x="2724941" y="4147822"/>
              <a:ext cx="6712" cy="9396"/>
            </a:xfrm>
            <a:custGeom>
              <a:avLst/>
              <a:gdLst>
                <a:gd name="T0" fmla="*/ 1 w 2"/>
                <a:gd name="T1" fmla="*/ 0 h 3"/>
                <a:gd name="T2" fmla="*/ 0 w 2"/>
                <a:gd name="T3" fmla="*/ 3 h 3"/>
                <a:gd name="T4" fmla="*/ 1 w 2"/>
                <a:gd name="T5" fmla="*/ 0 h 3"/>
              </a:gdLst>
              <a:ahLst/>
              <a:cxnLst>
                <a:cxn ang="0">
                  <a:pos x="T0" y="T1"/>
                </a:cxn>
                <a:cxn ang="0">
                  <a:pos x="T2" y="T3"/>
                </a:cxn>
                <a:cxn ang="0">
                  <a:pos x="T4" y="T5"/>
                </a:cxn>
              </a:cxnLst>
              <a:rect l="0" t="0" r="r" b="b"/>
              <a:pathLst>
                <a:path w="2" h="3">
                  <a:moveTo>
                    <a:pt x="1" y="0"/>
                  </a:moveTo>
                  <a:cubicBezTo>
                    <a:pt x="0" y="1"/>
                    <a:pt x="0" y="2"/>
                    <a:pt x="0" y="3"/>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 name="Freeform 1353">
              <a:extLst>
                <a:ext uri="{FF2B5EF4-FFF2-40B4-BE49-F238E27FC236}">
                  <a16:creationId xmlns:a16="http://schemas.microsoft.com/office/drawing/2014/main" id="{014FF144-9526-4C30-8530-30EDD382983D}"/>
                </a:ext>
              </a:extLst>
            </p:cNvPr>
            <p:cNvSpPr>
              <a:spLocks/>
            </p:cNvSpPr>
            <p:nvPr/>
          </p:nvSpPr>
          <p:spPr bwMode="auto">
            <a:xfrm>
              <a:off x="2728968" y="4157218"/>
              <a:ext cx="2685" cy="6712"/>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 name="Freeform 1354">
              <a:extLst>
                <a:ext uri="{FF2B5EF4-FFF2-40B4-BE49-F238E27FC236}">
                  <a16:creationId xmlns:a16="http://schemas.microsoft.com/office/drawing/2014/main" id="{5DF2E8C4-B791-4DF7-AC11-99CEC58AB6A4}"/>
                </a:ext>
              </a:extLst>
            </p:cNvPr>
            <p:cNvSpPr>
              <a:spLocks/>
            </p:cNvSpPr>
            <p:nvPr/>
          </p:nvSpPr>
          <p:spPr bwMode="auto">
            <a:xfrm>
              <a:off x="2671248" y="3665923"/>
              <a:ext cx="6712" cy="21477"/>
            </a:xfrm>
            <a:custGeom>
              <a:avLst/>
              <a:gdLst>
                <a:gd name="T0" fmla="*/ 2 w 2"/>
                <a:gd name="T1" fmla="*/ 0 h 7"/>
                <a:gd name="T2" fmla="*/ 2 w 2"/>
                <a:gd name="T3" fmla="*/ 7 h 7"/>
                <a:gd name="T4" fmla="*/ 2 w 2"/>
                <a:gd name="T5" fmla="*/ 0 h 7"/>
              </a:gdLst>
              <a:ahLst/>
              <a:cxnLst>
                <a:cxn ang="0">
                  <a:pos x="T0" y="T1"/>
                </a:cxn>
                <a:cxn ang="0">
                  <a:pos x="T2" y="T3"/>
                </a:cxn>
                <a:cxn ang="0">
                  <a:pos x="T4" y="T5"/>
                </a:cxn>
              </a:cxnLst>
              <a:rect l="0" t="0" r="r" b="b"/>
              <a:pathLst>
                <a:path w="2" h="7">
                  <a:moveTo>
                    <a:pt x="2" y="0"/>
                  </a:moveTo>
                  <a:cubicBezTo>
                    <a:pt x="0" y="2"/>
                    <a:pt x="0" y="6"/>
                    <a:pt x="2" y="7"/>
                  </a:cubicBezTo>
                  <a:cubicBezTo>
                    <a:pt x="2"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 name="Freeform 1355">
              <a:extLst>
                <a:ext uri="{FF2B5EF4-FFF2-40B4-BE49-F238E27FC236}">
                  <a16:creationId xmlns:a16="http://schemas.microsoft.com/office/drawing/2014/main" id="{C78D1932-9649-402D-AE03-48E67017609D}"/>
                </a:ext>
              </a:extLst>
            </p:cNvPr>
            <p:cNvSpPr>
              <a:spLocks/>
            </p:cNvSpPr>
            <p:nvPr/>
          </p:nvSpPr>
          <p:spPr bwMode="auto">
            <a:xfrm>
              <a:off x="2712860" y="4024327"/>
              <a:ext cx="2685" cy="9396"/>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1" y="1"/>
                    <a:pt x="1" y="2"/>
                    <a:pt x="1"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 name="Freeform 1356">
              <a:extLst>
                <a:ext uri="{FF2B5EF4-FFF2-40B4-BE49-F238E27FC236}">
                  <a16:creationId xmlns:a16="http://schemas.microsoft.com/office/drawing/2014/main" id="{88B8C25D-C83C-453E-8775-0B2058655DA5}"/>
                </a:ext>
              </a:extLst>
            </p:cNvPr>
            <p:cNvSpPr>
              <a:spLocks/>
            </p:cNvSpPr>
            <p:nvPr/>
          </p:nvSpPr>
          <p:spPr bwMode="auto">
            <a:xfrm>
              <a:off x="2731653" y="3916940"/>
              <a:ext cx="2685" cy="18793"/>
            </a:xfrm>
            <a:custGeom>
              <a:avLst/>
              <a:gdLst>
                <a:gd name="T0" fmla="*/ 0 w 1"/>
                <a:gd name="T1" fmla="*/ 0 h 6"/>
                <a:gd name="T2" fmla="*/ 0 w 1"/>
                <a:gd name="T3" fmla="*/ 5 h 6"/>
                <a:gd name="T4" fmla="*/ 1 w 1"/>
                <a:gd name="T5" fmla="*/ 6 h 6"/>
                <a:gd name="T6" fmla="*/ 1 w 1"/>
                <a:gd name="T7" fmla="*/ 4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2"/>
                    <a:pt x="0" y="4"/>
                    <a:pt x="0" y="5"/>
                  </a:cubicBezTo>
                  <a:cubicBezTo>
                    <a:pt x="1" y="6"/>
                    <a:pt x="1" y="6"/>
                    <a:pt x="1" y="6"/>
                  </a:cubicBezTo>
                  <a:cubicBezTo>
                    <a:pt x="1" y="5"/>
                    <a:pt x="1" y="5"/>
                    <a:pt x="1" y="4"/>
                  </a:cubicBezTo>
                  <a:cubicBezTo>
                    <a:pt x="1" y="3"/>
                    <a:pt x="0"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 name="Freeform 1357">
              <a:extLst>
                <a:ext uri="{FF2B5EF4-FFF2-40B4-BE49-F238E27FC236}">
                  <a16:creationId xmlns:a16="http://schemas.microsoft.com/office/drawing/2014/main" id="{E8B71EFF-E38F-494C-8E3F-3A635B06EBCF}"/>
                </a:ext>
              </a:extLst>
            </p:cNvPr>
            <p:cNvSpPr>
              <a:spLocks/>
            </p:cNvSpPr>
            <p:nvPr/>
          </p:nvSpPr>
          <p:spPr bwMode="auto">
            <a:xfrm>
              <a:off x="2734337" y="3957210"/>
              <a:ext cx="16108" cy="25504"/>
            </a:xfrm>
            <a:custGeom>
              <a:avLst/>
              <a:gdLst>
                <a:gd name="T0" fmla="*/ 0 w 5"/>
                <a:gd name="T1" fmla="*/ 0 h 8"/>
                <a:gd name="T2" fmla="*/ 0 w 5"/>
                <a:gd name="T3" fmla="*/ 0 h 8"/>
                <a:gd name="T4" fmla="*/ 0 w 5"/>
                <a:gd name="T5" fmla="*/ 8 h 8"/>
                <a:gd name="T6" fmla="*/ 1 w 5"/>
                <a:gd name="T7" fmla="*/ 0 h 8"/>
                <a:gd name="T8" fmla="*/ 0 w 5"/>
                <a:gd name="T9" fmla="*/ 0 h 8"/>
              </a:gdLst>
              <a:ahLst/>
              <a:cxnLst>
                <a:cxn ang="0">
                  <a:pos x="T0" y="T1"/>
                </a:cxn>
                <a:cxn ang="0">
                  <a:pos x="T2" y="T3"/>
                </a:cxn>
                <a:cxn ang="0">
                  <a:pos x="T4" y="T5"/>
                </a:cxn>
                <a:cxn ang="0">
                  <a:pos x="T6" y="T7"/>
                </a:cxn>
                <a:cxn ang="0">
                  <a:pos x="T8" y="T9"/>
                </a:cxn>
              </a:cxnLst>
              <a:rect l="0" t="0" r="r" b="b"/>
              <a:pathLst>
                <a:path w="5" h="8">
                  <a:moveTo>
                    <a:pt x="0" y="0"/>
                  </a:moveTo>
                  <a:cubicBezTo>
                    <a:pt x="0" y="0"/>
                    <a:pt x="0" y="0"/>
                    <a:pt x="0" y="0"/>
                  </a:cubicBezTo>
                  <a:cubicBezTo>
                    <a:pt x="0" y="3"/>
                    <a:pt x="0" y="5"/>
                    <a:pt x="0" y="8"/>
                  </a:cubicBezTo>
                  <a:cubicBezTo>
                    <a:pt x="5" y="7"/>
                    <a:pt x="5"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 name="Freeform 1358">
              <a:extLst>
                <a:ext uri="{FF2B5EF4-FFF2-40B4-BE49-F238E27FC236}">
                  <a16:creationId xmlns:a16="http://schemas.microsoft.com/office/drawing/2014/main" id="{B376E22C-A979-4FA5-AB95-CC1F6844A040}"/>
                </a:ext>
              </a:extLst>
            </p:cNvPr>
            <p:cNvSpPr>
              <a:spLocks/>
            </p:cNvSpPr>
            <p:nvPr/>
          </p:nvSpPr>
          <p:spPr bwMode="auto">
            <a:xfrm>
              <a:off x="2724941" y="4024327"/>
              <a:ext cx="13423" cy="25504"/>
            </a:xfrm>
            <a:custGeom>
              <a:avLst/>
              <a:gdLst>
                <a:gd name="T0" fmla="*/ 3 w 4"/>
                <a:gd name="T1" fmla="*/ 0 h 8"/>
                <a:gd name="T2" fmla="*/ 0 w 4"/>
                <a:gd name="T3" fmla="*/ 8 h 8"/>
                <a:gd name="T4" fmla="*/ 3 w 4"/>
                <a:gd name="T5" fmla="*/ 4 h 8"/>
                <a:gd name="T6" fmla="*/ 3 w 4"/>
                <a:gd name="T7" fmla="*/ 0 h 8"/>
              </a:gdLst>
              <a:ahLst/>
              <a:cxnLst>
                <a:cxn ang="0">
                  <a:pos x="T0" y="T1"/>
                </a:cxn>
                <a:cxn ang="0">
                  <a:pos x="T2" y="T3"/>
                </a:cxn>
                <a:cxn ang="0">
                  <a:pos x="T4" y="T5"/>
                </a:cxn>
                <a:cxn ang="0">
                  <a:pos x="T6" y="T7"/>
                </a:cxn>
              </a:cxnLst>
              <a:rect l="0" t="0" r="r" b="b"/>
              <a:pathLst>
                <a:path w="4" h="8">
                  <a:moveTo>
                    <a:pt x="3" y="0"/>
                  </a:moveTo>
                  <a:cubicBezTo>
                    <a:pt x="1" y="3"/>
                    <a:pt x="1" y="6"/>
                    <a:pt x="0" y="8"/>
                  </a:cubicBezTo>
                  <a:cubicBezTo>
                    <a:pt x="3" y="8"/>
                    <a:pt x="2" y="7"/>
                    <a:pt x="3" y="4"/>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 name="Freeform 1359">
              <a:extLst>
                <a:ext uri="{FF2B5EF4-FFF2-40B4-BE49-F238E27FC236}">
                  <a16:creationId xmlns:a16="http://schemas.microsoft.com/office/drawing/2014/main" id="{912BDDB2-E7AE-4E9F-A1BA-FE771764DAC8}"/>
                </a:ext>
              </a:extLst>
            </p:cNvPr>
            <p:cNvSpPr>
              <a:spLocks/>
            </p:cNvSpPr>
            <p:nvPr/>
          </p:nvSpPr>
          <p:spPr bwMode="auto">
            <a:xfrm>
              <a:off x="2738364" y="4024327"/>
              <a:ext cx="14766" cy="22820"/>
            </a:xfrm>
            <a:custGeom>
              <a:avLst/>
              <a:gdLst>
                <a:gd name="T0" fmla="*/ 3 w 5"/>
                <a:gd name="T1" fmla="*/ 0 h 7"/>
                <a:gd name="T2" fmla="*/ 1 w 5"/>
                <a:gd name="T3" fmla="*/ 0 h 7"/>
                <a:gd name="T4" fmla="*/ 2 w 5"/>
                <a:gd name="T5" fmla="*/ 4 h 7"/>
                <a:gd name="T6" fmla="*/ 2 w 5"/>
                <a:gd name="T7" fmla="*/ 5 h 7"/>
                <a:gd name="T8" fmla="*/ 4 w 5"/>
                <a:gd name="T9" fmla="*/ 7 h 7"/>
                <a:gd name="T10" fmla="*/ 5 w 5"/>
                <a:gd name="T11" fmla="*/ 1 h 7"/>
                <a:gd name="T12" fmla="*/ 5 w 5"/>
                <a:gd name="T13" fmla="*/ 1 h 7"/>
                <a:gd name="T14" fmla="*/ 3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0"/>
                  </a:moveTo>
                  <a:cubicBezTo>
                    <a:pt x="3" y="0"/>
                    <a:pt x="2" y="0"/>
                    <a:pt x="1" y="0"/>
                  </a:cubicBezTo>
                  <a:cubicBezTo>
                    <a:pt x="0" y="0"/>
                    <a:pt x="1" y="3"/>
                    <a:pt x="2" y="4"/>
                  </a:cubicBezTo>
                  <a:cubicBezTo>
                    <a:pt x="2" y="5"/>
                    <a:pt x="2" y="5"/>
                    <a:pt x="2" y="5"/>
                  </a:cubicBezTo>
                  <a:cubicBezTo>
                    <a:pt x="3" y="5"/>
                    <a:pt x="4" y="6"/>
                    <a:pt x="4" y="7"/>
                  </a:cubicBezTo>
                  <a:cubicBezTo>
                    <a:pt x="4" y="6"/>
                    <a:pt x="5" y="2"/>
                    <a:pt x="5" y="1"/>
                  </a:cubicBezTo>
                  <a:cubicBezTo>
                    <a:pt x="5" y="1"/>
                    <a:pt x="5" y="1"/>
                    <a:pt x="5" y="1"/>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 name="Freeform 1360">
              <a:extLst>
                <a:ext uri="{FF2B5EF4-FFF2-40B4-BE49-F238E27FC236}">
                  <a16:creationId xmlns:a16="http://schemas.microsoft.com/office/drawing/2014/main" id="{4E94B2B7-1D83-4F69-837A-760F9E7BB8EA}"/>
                </a:ext>
              </a:extLst>
            </p:cNvPr>
            <p:cNvSpPr>
              <a:spLocks/>
            </p:cNvSpPr>
            <p:nvPr/>
          </p:nvSpPr>
          <p:spPr bwMode="auto">
            <a:xfrm>
              <a:off x="2712860" y="3977345"/>
              <a:ext cx="5369" cy="939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0" y="3"/>
                  </a:cubicBezTo>
                  <a:cubicBezTo>
                    <a:pt x="1" y="2"/>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 name="Freeform 1361">
              <a:extLst>
                <a:ext uri="{FF2B5EF4-FFF2-40B4-BE49-F238E27FC236}">
                  <a16:creationId xmlns:a16="http://schemas.microsoft.com/office/drawing/2014/main" id="{EDAC0815-BFEA-4895-82AA-8D60C8A081C6}"/>
                </a:ext>
              </a:extLst>
            </p:cNvPr>
            <p:cNvSpPr>
              <a:spLocks/>
            </p:cNvSpPr>
            <p:nvPr/>
          </p:nvSpPr>
          <p:spPr bwMode="auto">
            <a:xfrm>
              <a:off x="2150421" y="3182681"/>
              <a:ext cx="34901" cy="57720"/>
            </a:xfrm>
            <a:custGeom>
              <a:avLst/>
              <a:gdLst>
                <a:gd name="T0" fmla="*/ 4 w 11"/>
                <a:gd name="T1" fmla="*/ 0 h 18"/>
                <a:gd name="T2" fmla="*/ 4 w 11"/>
                <a:gd name="T3" fmla="*/ 4 h 18"/>
                <a:gd name="T4" fmla="*/ 4 w 11"/>
                <a:gd name="T5" fmla="*/ 11 h 18"/>
                <a:gd name="T6" fmla="*/ 4 w 11"/>
                <a:gd name="T7" fmla="*/ 17 h 18"/>
                <a:gd name="T8" fmla="*/ 4 w 11"/>
                <a:gd name="T9" fmla="*/ 18 h 18"/>
                <a:gd name="T10" fmla="*/ 5 w 11"/>
                <a:gd name="T11" fmla="*/ 18 h 18"/>
                <a:gd name="T12" fmla="*/ 5 w 11"/>
                <a:gd name="T13" fmla="*/ 18 h 18"/>
                <a:gd name="T14" fmla="*/ 6 w 11"/>
                <a:gd name="T15" fmla="*/ 17 h 18"/>
                <a:gd name="T16" fmla="*/ 7 w 11"/>
                <a:gd name="T17" fmla="*/ 16 h 18"/>
                <a:gd name="T18" fmla="*/ 7 w 11"/>
                <a:gd name="T19" fmla="*/ 16 h 18"/>
                <a:gd name="T20" fmla="*/ 5 w 11"/>
                <a:gd name="T21" fmla="*/ 0 h 18"/>
                <a:gd name="T22" fmla="*/ 4 w 11"/>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8">
                  <a:moveTo>
                    <a:pt x="4" y="0"/>
                  </a:moveTo>
                  <a:cubicBezTo>
                    <a:pt x="2" y="0"/>
                    <a:pt x="0" y="3"/>
                    <a:pt x="4" y="4"/>
                  </a:cubicBezTo>
                  <a:cubicBezTo>
                    <a:pt x="4" y="7"/>
                    <a:pt x="5" y="9"/>
                    <a:pt x="4" y="11"/>
                  </a:cubicBezTo>
                  <a:cubicBezTo>
                    <a:pt x="4" y="13"/>
                    <a:pt x="3" y="16"/>
                    <a:pt x="4" y="17"/>
                  </a:cubicBezTo>
                  <a:cubicBezTo>
                    <a:pt x="4" y="18"/>
                    <a:pt x="4" y="18"/>
                    <a:pt x="4" y="18"/>
                  </a:cubicBezTo>
                  <a:cubicBezTo>
                    <a:pt x="4" y="18"/>
                    <a:pt x="4" y="18"/>
                    <a:pt x="5" y="18"/>
                  </a:cubicBezTo>
                  <a:cubicBezTo>
                    <a:pt x="5" y="18"/>
                    <a:pt x="5" y="18"/>
                    <a:pt x="5" y="18"/>
                  </a:cubicBezTo>
                  <a:cubicBezTo>
                    <a:pt x="5" y="18"/>
                    <a:pt x="5" y="18"/>
                    <a:pt x="6" y="17"/>
                  </a:cubicBezTo>
                  <a:cubicBezTo>
                    <a:pt x="6" y="17"/>
                    <a:pt x="7" y="16"/>
                    <a:pt x="7" y="16"/>
                  </a:cubicBezTo>
                  <a:cubicBezTo>
                    <a:pt x="7" y="16"/>
                    <a:pt x="7" y="16"/>
                    <a:pt x="7" y="16"/>
                  </a:cubicBezTo>
                  <a:cubicBezTo>
                    <a:pt x="11" y="11"/>
                    <a:pt x="8" y="5"/>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 name="Freeform 1362">
              <a:extLst>
                <a:ext uri="{FF2B5EF4-FFF2-40B4-BE49-F238E27FC236}">
                  <a16:creationId xmlns:a16="http://schemas.microsoft.com/office/drawing/2014/main" id="{CC9BF032-5E6B-44CC-B7FD-6D04D9280F44}"/>
                </a:ext>
              </a:extLst>
            </p:cNvPr>
            <p:cNvSpPr>
              <a:spLocks/>
            </p:cNvSpPr>
            <p:nvPr/>
          </p:nvSpPr>
          <p:spPr bwMode="auto">
            <a:xfrm>
              <a:off x="2249754" y="3247114"/>
              <a:ext cx="5369" cy="16108"/>
            </a:xfrm>
            <a:custGeom>
              <a:avLst/>
              <a:gdLst>
                <a:gd name="T0" fmla="*/ 2 w 2"/>
                <a:gd name="T1" fmla="*/ 0 h 5"/>
                <a:gd name="T2" fmla="*/ 0 w 2"/>
                <a:gd name="T3" fmla="*/ 5 h 5"/>
                <a:gd name="T4" fmla="*/ 2 w 2"/>
                <a:gd name="T5" fmla="*/ 0 h 5"/>
              </a:gdLst>
              <a:ahLst/>
              <a:cxnLst>
                <a:cxn ang="0">
                  <a:pos x="T0" y="T1"/>
                </a:cxn>
                <a:cxn ang="0">
                  <a:pos x="T2" y="T3"/>
                </a:cxn>
                <a:cxn ang="0">
                  <a:pos x="T4" y="T5"/>
                </a:cxn>
              </a:cxnLst>
              <a:rect l="0" t="0" r="r" b="b"/>
              <a:pathLst>
                <a:path w="2" h="5">
                  <a:moveTo>
                    <a:pt x="2" y="0"/>
                  </a:moveTo>
                  <a:cubicBezTo>
                    <a:pt x="1" y="2"/>
                    <a:pt x="1" y="3"/>
                    <a:pt x="0" y="5"/>
                  </a:cubicBezTo>
                  <a:cubicBezTo>
                    <a:pt x="1" y="3"/>
                    <a:pt x="1"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 name="Freeform 1363">
              <a:extLst>
                <a:ext uri="{FF2B5EF4-FFF2-40B4-BE49-F238E27FC236}">
                  <a16:creationId xmlns:a16="http://schemas.microsoft.com/office/drawing/2014/main" id="{E5A15539-A375-4B1F-B28D-DF096168AB50}"/>
                </a:ext>
              </a:extLst>
            </p:cNvPr>
            <p:cNvSpPr>
              <a:spLocks/>
            </p:cNvSpPr>
            <p:nvPr/>
          </p:nvSpPr>
          <p:spPr bwMode="auto">
            <a:xfrm>
              <a:off x="2220223" y="3193420"/>
              <a:ext cx="13423" cy="21477"/>
            </a:xfrm>
            <a:custGeom>
              <a:avLst/>
              <a:gdLst>
                <a:gd name="T0" fmla="*/ 0 w 4"/>
                <a:gd name="T1" fmla="*/ 0 h 7"/>
                <a:gd name="T2" fmla="*/ 2 w 4"/>
                <a:gd name="T3" fmla="*/ 7 h 7"/>
                <a:gd name="T4" fmla="*/ 0 w 4"/>
                <a:gd name="T5" fmla="*/ 0 h 7"/>
              </a:gdLst>
              <a:ahLst/>
              <a:cxnLst>
                <a:cxn ang="0">
                  <a:pos x="T0" y="T1"/>
                </a:cxn>
                <a:cxn ang="0">
                  <a:pos x="T2" y="T3"/>
                </a:cxn>
                <a:cxn ang="0">
                  <a:pos x="T4" y="T5"/>
                </a:cxn>
              </a:cxnLst>
              <a:rect l="0" t="0" r="r" b="b"/>
              <a:pathLst>
                <a:path w="4" h="7">
                  <a:moveTo>
                    <a:pt x="0" y="0"/>
                  </a:moveTo>
                  <a:cubicBezTo>
                    <a:pt x="1" y="2"/>
                    <a:pt x="2" y="4"/>
                    <a:pt x="2" y="7"/>
                  </a:cubicBezTo>
                  <a:cubicBezTo>
                    <a:pt x="4" y="4"/>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 name="Freeform 1364">
              <a:extLst>
                <a:ext uri="{FF2B5EF4-FFF2-40B4-BE49-F238E27FC236}">
                  <a16:creationId xmlns:a16="http://schemas.microsoft.com/office/drawing/2014/main" id="{70F3BB76-55A9-467B-A54F-C33BE4A459AE}"/>
                </a:ext>
              </a:extLst>
            </p:cNvPr>
            <p:cNvSpPr>
              <a:spLocks/>
            </p:cNvSpPr>
            <p:nvPr/>
          </p:nvSpPr>
          <p:spPr bwMode="auto">
            <a:xfrm>
              <a:off x="2192034" y="3198789"/>
              <a:ext cx="13423" cy="34901"/>
            </a:xfrm>
            <a:custGeom>
              <a:avLst/>
              <a:gdLst>
                <a:gd name="T0" fmla="*/ 1 w 4"/>
                <a:gd name="T1" fmla="*/ 0 h 11"/>
                <a:gd name="T2" fmla="*/ 0 w 4"/>
                <a:gd name="T3" fmla="*/ 11 h 11"/>
                <a:gd name="T4" fmla="*/ 3 w 4"/>
                <a:gd name="T5" fmla="*/ 5 h 11"/>
                <a:gd name="T6" fmla="*/ 1 w 4"/>
                <a:gd name="T7" fmla="*/ 0 h 11"/>
              </a:gdLst>
              <a:ahLst/>
              <a:cxnLst>
                <a:cxn ang="0">
                  <a:pos x="T0" y="T1"/>
                </a:cxn>
                <a:cxn ang="0">
                  <a:pos x="T2" y="T3"/>
                </a:cxn>
                <a:cxn ang="0">
                  <a:pos x="T4" y="T5"/>
                </a:cxn>
                <a:cxn ang="0">
                  <a:pos x="T6" y="T7"/>
                </a:cxn>
              </a:cxnLst>
              <a:rect l="0" t="0" r="r" b="b"/>
              <a:pathLst>
                <a:path w="4" h="11">
                  <a:moveTo>
                    <a:pt x="1" y="0"/>
                  </a:moveTo>
                  <a:cubicBezTo>
                    <a:pt x="1" y="4"/>
                    <a:pt x="0" y="7"/>
                    <a:pt x="0" y="11"/>
                  </a:cubicBezTo>
                  <a:cubicBezTo>
                    <a:pt x="2" y="8"/>
                    <a:pt x="4" y="9"/>
                    <a:pt x="3" y="5"/>
                  </a:cubicBezTo>
                  <a:cubicBezTo>
                    <a:pt x="3"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 name="Freeform 1365">
              <a:extLst>
                <a:ext uri="{FF2B5EF4-FFF2-40B4-BE49-F238E27FC236}">
                  <a16:creationId xmlns:a16="http://schemas.microsoft.com/office/drawing/2014/main" id="{9AA07DB1-72DD-4925-820C-50956D604AD7}"/>
                </a:ext>
              </a:extLst>
            </p:cNvPr>
            <p:cNvSpPr>
              <a:spLocks/>
            </p:cNvSpPr>
            <p:nvPr/>
          </p:nvSpPr>
          <p:spPr bwMode="auto">
            <a:xfrm>
              <a:off x="5574719" y="5934472"/>
              <a:ext cx="46982" cy="48324"/>
            </a:xfrm>
            <a:custGeom>
              <a:avLst/>
              <a:gdLst>
                <a:gd name="T0" fmla="*/ 9 w 15"/>
                <a:gd name="T1" fmla="*/ 0 h 15"/>
                <a:gd name="T2" fmla="*/ 6 w 15"/>
                <a:gd name="T3" fmla="*/ 1 h 15"/>
                <a:gd name="T4" fmla="*/ 5 w 15"/>
                <a:gd name="T5" fmla="*/ 1 h 15"/>
                <a:gd name="T6" fmla="*/ 2 w 15"/>
                <a:gd name="T7" fmla="*/ 5 h 15"/>
                <a:gd name="T8" fmla="*/ 1 w 15"/>
                <a:gd name="T9" fmla="*/ 13 h 15"/>
                <a:gd name="T10" fmla="*/ 14 w 15"/>
                <a:gd name="T11" fmla="*/ 15 h 15"/>
                <a:gd name="T12" fmla="*/ 14 w 15"/>
                <a:gd name="T13" fmla="*/ 15 h 15"/>
                <a:gd name="T14" fmla="*/ 15 w 15"/>
                <a:gd name="T15" fmla="*/ 12 h 15"/>
                <a:gd name="T16" fmla="*/ 11 w 15"/>
                <a:gd name="T17" fmla="*/ 13 h 15"/>
                <a:gd name="T18" fmla="*/ 10 w 15"/>
                <a:gd name="T19" fmla="*/ 13 h 15"/>
                <a:gd name="T20" fmla="*/ 11 w 15"/>
                <a:gd name="T21" fmla="*/ 9 h 15"/>
                <a:gd name="T22" fmla="*/ 10 w 15"/>
                <a:gd name="T23" fmla="*/ 9 h 15"/>
                <a:gd name="T24" fmla="*/ 13 w 15"/>
                <a:gd name="T25" fmla="*/ 3 h 15"/>
                <a:gd name="T26" fmla="*/ 12 w 15"/>
                <a:gd name="T27" fmla="*/ 3 h 15"/>
                <a:gd name="T28" fmla="*/ 11 w 15"/>
                <a:gd name="T29" fmla="*/ 5 h 15"/>
                <a:gd name="T30" fmla="*/ 10 w 15"/>
                <a:gd name="T31" fmla="*/ 5 h 15"/>
                <a:gd name="T32" fmla="*/ 9 w 15"/>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5">
                  <a:moveTo>
                    <a:pt x="9" y="0"/>
                  </a:moveTo>
                  <a:cubicBezTo>
                    <a:pt x="8" y="1"/>
                    <a:pt x="7" y="1"/>
                    <a:pt x="6" y="1"/>
                  </a:cubicBezTo>
                  <a:cubicBezTo>
                    <a:pt x="6" y="1"/>
                    <a:pt x="6" y="1"/>
                    <a:pt x="5" y="1"/>
                  </a:cubicBezTo>
                  <a:cubicBezTo>
                    <a:pt x="8" y="5"/>
                    <a:pt x="3" y="3"/>
                    <a:pt x="2" y="5"/>
                  </a:cubicBezTo>
                  <a:cubicBezTo>
                    <a:pt x="0" y="7"/>
                    <a:pt x="4" y="11"/>
                    <a:pt x="1" y="13"/>
                  </a:cubicBezTo>
                  <a:cubicBezTo>
                    <a:pt x="5" y="14"/>
                    <a:pt x="9" y="15"/>
                    <a:pt x="14" y="15"/>
                  </a:cubicBezTo>
                  <a:cubicBezTo>
                    <a:pt x="14" y="15"/>
                    <a:pt x="14" y="15"/>
                    <a:pt x="14" y="15"/>
                  </a:cubicBezTo>
                  <a:cubicBezTo>
                    <a:pt x="14" y="14"/>
                    <a:pt x="14" y="13"/>
                    <a:pt x="15" y="12"/>
                  </a:cubicBezTo>
                  <a:cubicBezTo>
                    <a:pt x="14" y="13"/>
                    <a:pt x="12" y="13"/>
                    <a:pt x="11" y="13"/>
                  </a:cubicBezTo>
                  <a:cubicBezTo>
                    <a:pt x="10" y="13"/>
                    <a:pt x="10" y="13"/>
                    <a:pt x="10" y="13"/>
                  </a:cubicBezTo>
                  <a:cubicBezTo>
                    <a:pt x="8" y="12"/>
                    <a:pt x="9" y="11"/>
                    <a:pt x="11" y="9"/>
                  </a:cubicBezTo>
                  <a:cubicBezTo>
                    <a:pt x="10" y="9"/>
                    <a:pt x="10" y="9"/>
                    <a:pt x="10" y="9"/>
                  </a:cubicBezTo>
                  <a:cubicBezTo>
                    <a:pt x="11" y="8"/>
                    <a:pt x="14" y="3"/>
                    <a:pt x="13" y="3"/>
                  </a:cubicBezTo>
                  <a:cubicBezTo>
                    <a:pt x="13" y="3"/>
                    <a:pt x="13" y="3"/>
                    <a:pt x="12" y="3"/>
                  </a:cubicBezTo>
                  <a:cubicBezTo>
                    <a:pt x="12" y="3"/>
                    <a:pt x="12" y="5"/>
                    <a:pt x="11" y="5"/>
                  </a:cubicBezTo>
                  <a:cubicBezTo>
                    <a:pt x="11" y="5"/>
                    <a:pt x="11" y="5"/>
                    <a:pt x="10" y="5"/>
                  </a:cubicBezTo>
                  <a:cubicBezTo>
                    <a:pt x="8" y="5"/>
                    <a:pt x="9" y="2"/>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 name="Freeform 1366">
              <a:extLst>
                <a:ext uri="{FF2B5EF4-FFF2-40B4-BE49-F238E27FC236}">
                  <a16:creationId xmlns:a16="http://schemas.microsoft.com/office/drawing/2014/main" id="{64CE7D74-0C4B-45F0-A4CA-930CBA336766}"/>
                </a:ext>
              </a:extLst>
            </p:cNvPr>
            <p:cNvSpPr>
              <a:spLocks/>
            </p:cNvSpPr>
            <p:nvPr/>
          </p:nvSpPr>
          <p:spPr bwMode="auto">
            <a:xfrm>
              <a:off x="5561296" y="5769365"/>
              <a:ext cx="22820" cy="16108"/>
            </a:xfrm>
            <a:custGeom>
              <a:avLst/>
              <a:gdLst>
                <a:gd name="T0" fmla="*/ 7 w 7"/>
                <a:gd name="T1" fmla="*/ 0 h 5"/>
                <a:gd name="T2" fmla="*/ 0 w 7"/>
                <a:gd name="T3" fmla="*/ 5 h 5"/>
                <a:gd name="T4" fmla="*/ 7 w 7"/>
                <a:gd name="T5" fmla="*/ 0 h 5"/>
              </a:gdLst>
              <a:ahLst/>
              <a:cxnLst>
                <a:cxn ang="0">
                  <a:pos x="T0" y="T1"/>
                </a:cxn>
                <a:cxn ang="0">
                  <a:pos x="T2" y="T3"/>
                </a:cxn>
                <a:cxn ang="0">
                  <a:pos x="T4" y="T5"/>
                </a:cxn>
              </a:cxnLst>
              <a:rect l="0" t="0" r="r" b="b"/>
              <a:pathLst>
                <a:path w="7" h="5">
                  <a:moveTo>
                    <a:pt x="7" y="0"/>
                  </a:moveTo>
                  <a:cubicBezTo>
                    <a:pt x="5" y="2"/>
                    <a:pt x="3" y="4"/>
                    <a:pt x="0" y="5"/>
                  </a:cubicBezTo>
                  <a:cubicBezTo>
                    <a:pt x="2" y="5"/>
                    <a:pt x="7"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 name="Freeform 1367">
              <a:extLst>
                <a:ext uri="{FF2B5EF4-FFF2-40B4-BE49-F238E27FC236}">
                  <a16:creationId xmlns:a16="http://schemas.microsoft.com/office/drawing/2014/main" id="{579C6A3F-D9AA-4631-B17A-AD87FF1FFAB7}"/>
                </a:ext>
              </a:extLst>
            </p:cNvPr>
            <p:cNvSpPr>
              <a:spLocks/>
            </p:cNvSpPr>
            <p:nvPr/>
          </p:nvSpPr>
          <p:spPr bwMode="auto">
            <a:xfrm>
              <a:off x="6005609" y="5661978"/>
              <a:ext cx="6712" cy="12081"/>
            </a:xfrm>
            <a:custGeom>
              <a:avLst/>
              <a:gdLst>
                <a:gd name="T0" fmla="*/ 1 w 2"/>
                <a:gd name="T1" fmla="*/ 0 h 4"/>
                <a:gd name="T2" fmla="*/ 1 w 2"/>
                <a:gd name="T3" fmla="*/ 4 h 4"/>
                <a:gd name="T4" fmla="*/ 1 w 2"/>
                <a:gd name="T5" fmla="*/ 0 h 4"/>
              </a:gdLst>
              <a:ahLst/>
              <a:cxnLst>
                <a:cxn ang="0">
                  <a:pos x="T0" y="T1"/>
                </a:cxn>
                <a:cxn ang="0">
                  <a:pos x="T2" y="T3"/>
                </a:cxn>
                <a:cxn ang="0">
                  <a:pos x="T4" y="T5"/>
                </a:cxn>
              </a:cxnLst>
              <a:rect l="0" t="0" r="r" b="b"/>
              <a:pathLst>
                <a:path w="2" h="4">
                  <a:moveTo>
                    <a:pt x="1" y="0"/>
                  </a:moveTo>
                  <a:cubicBezTo>
                    <a:pt x="1" y="1"/>
                    <a:pt x="0" y="3"/>
                    <a:pt x="1" y="4"/>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 name="Freeform 1368">
              <a:extLst>
                <a:ext uri="{FF2B5EF4-FFF2-40B4-BE49-F238E27FC236}">
                  <a16:creationId xmlns:a16="http://schemas.microsoft.com/office/drawing/2014/main" id="{4EC4D481-3FAB-4E41-862F-CD0726156FF0}"/>
                </a:ext>
              </a:extLst>
            </p:cNvPr>
            <p:cNvSpPr>
              <a:spLocks/>
            </p:cNvSpPr>
            <p:nvPr/>
          </p:nvSpPr>
          <p:spPr bwMode="auto">
            <a:xfrm>
              <a:off x="6303608" y="6283480"/>
              <a:ext cx="20135" cy="22820"/>
            </a:xfrm>
            <a:custGeom>
              <a:avLst/>
              <a:gdLst>
                <a:gd name="T0" fmla="*/ 3 w 6"/>
                <a:gd name="T1" fmla="*/ 0 h 7"/>
                <a:gd name="T2" fmla="*/ 0 w 6"/>
                <a:gd name="T3" fmla="*/ 1 h 7"/>
                <a:gd name="T4" fmla="*/ 4 w 6"/>
                <a:gd name="T5" fmla="*/ 7 h 7"/>
                <a:gd name="T6" fmla="*/ 4 w 6"/>
                <a:gd name="T7" fmla="*/ 1 h 7"/>
                <a:gd name="T8" fmla="*/ 3 w 6"/>
                <a:gd name="T9" fmla="*/ 0 h 7"/>
              </a:gdLst>
              <a:ahLst/>
              <a:cxnLst>
                <a:cxn ang="0">
                  <a:pos x="T0" y="T1"/>
                </a:cxn>
                <a:cxn ang="0">
                  <a:pos x="T2" y="T3"/>
                </a:cxn>
                <a:cxn ang="0">
                  <a:pos x="T4" y="T5"/>
                </a:cxn>
                <a:cxn ang="0">
                  <a:pos x="T6" y="T7"/>
                </a:cxn>
                <a:cxn ang="0">
                  <a:pos x="T8" y="T9"/>
                </a:cxn>
              </a:cxnLst>
              <a:rect l="0" t="0" r="r" b="b"/>
              <a:pathLst>
                <a:path w="6" h="7">
                  <a:moveTo>
                    <a:pt x="3" y="0"/>
                  </a:moveTo>
                  <a:cubicBezTo>
                    <a:pt x="2" y="0"/>
                    <a:pt x="1" y="1"/>
                    <a:pt x="0" y="1"/>
                  </a:cubicBezTo>
                  <a:cubicBezTo>
                    <a:pt x="1" y="3"/>
                    <a:pt x="2" y="5"/>
                    <a:pt x="4" y="7"/>
                  </a:cubicBezTo>
                  <a:cubicBezTo>
                    <a:pt x="6" y="4"/>
                    <a:pt x="2" y="3"/>
                    <a:pt x="4"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 name="Freeform 1369">
              <a:extLst>
                <a:ext uri="{FF2B5EF4-FFF2-40B4-BE49-F238E27FC236}">
                  <a16:creationId xmlns:a16="http://schemas.microsoft.com/office/drawing/2014/main" id="{801CA90E-7DD6-4FF8-961E-E16DA691B2C2}"/>
                </a:ext>
              </a:extLst>
            </p:cNvPr>
            <p:cNvSpPr>
              <a:spLocks/>
            </p:cNvSpPr>
            <p:nvPr/>
          </p:nvSpPr>
          <p:spPr bwMode="auto">
            <a:xfrm>
              <a:off x="5286117" y="5731779"/>
              <a:ext cx="12081" cy="28189"/>
            </a:xfrm>
            <a:custGeom>
              <a:avLst/>
              <a:gdLst>
                <a:gd name="T0" fmla="*/ 3 w 4"/>
                <a:gd name="T1" fmla="*/ 0 h 9"/>
                <a:gd name="T2" fmla="*/ 0 w 4"/>
                <a:gd name="T3" fmla="*/ 1 h 9"/>
                <a:gd name="T4" fmla="*/ 3 w 4"/>
                <a:gd name="T5" fmla="*/ 9 h 9"/>
                <a:gd name="T6" fmla="*/ 3 w 4"/>
                <a:gd name="T7" fmla="*/ 4 h 9"/>
                <a:gd name="T8" fmla="*/ 3 w 4"/>
                <a:gd name="T9" fmla="*/ 0 h 9"/>
              </a:gdLst>
              <a:ahLst/>
              <a:cxnLst>
                <a:cxn ang="0">
                  <a:pos x="T0" y="T1"/>
                </a:cxn>
                <a:cxn ang="0">
                  <a:pos x="T2" y="T3"/>
                </a:cxn>
                <a:cxn ang="0">
                  <a:pos x="T4" y="T5"/>
                </a:cxn>
                <a:cxn ang="0">
                  <a:pos x="T6" y="T7"/>
                </a:cxn>
                <a:cxn ang="0">
                  <a:pos x="T8" y="T9"/>
                </a:cxn>
              </a:cxnLst>
              <a:rect l="0" t="0" r="r" b="b"/>
              <a:pathLst>
                <a:path w="4" h="9">
                  <a:moveTo>
                    <a:pt x="3" y="0"/>
                  </a:moveTo>
                  <a:cubicBezTo>
                    <a:pt x="2" y="1"/>
                    <a:pt x="1" y="1"/>
                    <a:pt x="0" y="1"/>
                  </a:cubicBezTo>
                  <a:cubicBezTo>
                    <a:pt x="1" y="4"/>
                    <a:pt x="2" y="7"/>
                    <a:pt x="3" y="9"/>
                  </a:cubicBezTo>
                  <a:cubicBezTo>
                    <a:pt x="4" y="6"/>
                    <a:pt x="3" y="5"/>
                    <a:pt x="3" y="4"/>
                  </a:cubicBezTo>
                  <a:cubicBezTo>
                    <a:pt x="3"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 name="Freeform 1370">
              <a:extLst>
                <a:ext uri="{FF2B5EF4-FFF2-40B4-BE49-F238E27FC236}">
                  <a16:creationId xmlns:a16="http://schemas.microsoft.com/office/drawing/2014/main" id="{B87914DA-81AD-4153-A55F-16776814D7ED}"/>
                </a:ext>
              </a:extLst>
            </p:cNvPr>
            <p:cNvSpPr>
              <a:spLocks/>
            </p:cNvSpPr>
            <p:nvPr/>
          </p:nvSpPr>
          <p:spPr bwMode="auto">
            <a:xfrm>
              <a:off x="4006872" y="6474092"/>
              <a:ext cx="9396" cy="16108"/>
            </a:xfrm>
            <a:custGeom>
              <a:avLst/>
              <a:gdLst>
                <a:gd name="T0" fmla="*/ 2 w 3"/>
                <a:gd name="T1" fmla="*/ 0 h 5"/>
                <a:gd name="T2" fmla="*/ 0 w 3"/>
                <a:gd name="T3" fmla="*/ 5 h 5"/>
                <a:gd name="T4" fmla="*/ 2 w 3"/>
                <a:gd name="T5" fmla="*/ 0 h 5"/>
              </a:gdLst>
              <a:ahLst/>
              <a:cxnLst>
                <a:cxn ang="0">
                  <a:pos x="T0" y="T1"/>
                </a:cxn>
                <a:cxn ang="0">
                  <a:pos x="T2" y="T3"/>
                </a:cxn>
                <a:cxn ang="0">
                  <a:pos x="T4" y="T5"/>
                </a:cxn>
              </a:cxnLst>
              <a:rect l="0" t="0" r="r" b="b"/>
              <a:pathLst>
                <a:path w="3" h="5">
                  <a:moveTo>
                    <a:pt x="2" y="0"/>
                  </a:moveTo>
                  <a:cubicBezTo>
                    <a:pt x="2" y="2"/>
                    <a:pt x="1" y="4"/>
                    <a:pt x="0" y="5"/>
                  </a:cubicBezTo>
                  <a:cubicBezTo>
                    <a:pt x="2" y="4"/>
                    <a:pt x="3"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 name="Freeform 1371">
              <a:extLst>
                <a:ext uri="{FF2B5EF4-FFF2-40B4-BE49-F238E27FC236}">
                  <a16:creationId xmlns:a16="http://schemas.microsoft.com/office/drawing/2014/main" id="{7ABF313D-7197-4954-9B74-8FB16F522718}"/>
                </a:ext>
              </a:extLst>
            </p:cNvPr>
            <p:cNvSpPr>
              <a:spLocks/>
            </p:cNvSpPr>
            <p:nvPr/>
          </p:nvSpPr>
          <p:spPr bwMode="auto">
            <a:xfrm>
              <a:off x="6631138" y="6594902"/>
              <a:ext cx="2685" cy="12081"/>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3"/>
                    <a:pt x="0" y="4"/>
                  </a:cubicBezTo>
                  <a:cubicBezTo>
                    <a:pt x="0"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 name="Freeform 1372">
              <a:extLst>
                <a:ext uri="{FF2B5EF4-FFF2-40B4-BE49-F238E27FC236}">
                  <a16:creationId xmlns:a16="http://schemas.microsoft.com/office/drawing/2014/main" id="{545DE4D0-5626-4ECE-96D6-C9B5CA05B98A}"/>
                </a:ext>
              </a:extLst>
            </p:cNvPr>
            <p:cNvSpPr>
              <a:spLocks/>
            </p:cNvSpPr>
            <p:nvPr/>
          </p:nvSpPr>
          <p:spPr bwMode="auto">
            <a:xfrm>
              <a:off x="5126379" y="5750572"/>
              <a:ext cx="89936" cy="53693"/>
            </a:xfrm>
            <a:custGeom>
              <a:avLst/>
              <a:gdLst>
                <a:gd name="T0" fmla="*/ 22 w 28"/>
                <a:gd name="T1" fmla="*/ 0 h 17"/>
                <a:gd name="T2" fmla="*/ 21 w 28"/>
                <a:gd name="T3" fmla="*/ 4 h 17"/>
                <a:gd name="T4" fmla="*/ 18 w 28"/>
                <a:gd name="T5" fmla="*/ 1 h 17"/>
                <a:gd name="T6" fmla="*/ 17 w 28"/>
                <a:gd name="T7" fmla="*/ 2 h 17"/>
                <a:gd name="T8" fmla="*/ 8 w 28"/>
                <a:gd name="T9" fmla="*/ 5 h 17"/>
                <a:gd name="T10" fmla="*/ 7 w 28"/>
                <a:gd name="T11" fmla="*/ 5 h 17"/>
                <a:gd name="T12" fmla="*/ 0 w 28"/>
                <a:gd name="T13" fmla="*/ 0 h 17"/>
                <a:gd name="T14" fmla="*/ 5 w 28"/>
                <a:gd name="T15" fmla="*/ 11 h 17"/>
                <a:gd name="T16" fmla="*/ 9 w 28"/>
                <a:gd name="T17" fmla="*/ 14 h 17"/>
                <a:gd name="T18" fmla="*/ 14 w 28"/>
                <a:gd name="T19" fmla="*/ 17 h 17"/>
                <a:gd name="T20" fmla="*/ 14 w 28"/>
                <a:gd name="T21" fmla="*/ 17 h 17"/>
                <a:gd name="T22" fmla="*/ 24 w 28"/>
                <a:gd name="T23" fmla="*/ 10 h 17"/>
                <a:gd name="T24" fmla="*/ 28 w 28"/>
                <a:gd name="T25" fmla="*/ 5 h 17"/>
                <a:gd name="T26" fmla="*/ 26 w 28"/>
                <a:gd name="T27" fmla="*/ 2 h 17"/>
                <a:gd name="T28" fmla="*/ 22 w 28"/>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7">
                  <a:moveTo>
                    <a:pt x="22" y="0"/>
                  </a:moveTo>
                  <a:cubicBezTo>
                    <a:pt x="20" y="0"/>
                    <a:pt x="19" y="1"/>
                    <a:pt x="21" y="4"/>
                  </a:cubicBezTo>
                  <a:cubicBezTo>
                    <a:pt x="19" y="2"/>
                    <a:pt x="19" y="1"/>
                    <a:pt x="18" y="1"/>
                  </a:cubicBezTo>
                  <a:cubicBezTo>
                    <a:pt x="18" y="1"/>
                    <a:pt x="17" y="1"/>
                    <a:pt x="17" y="2"/>
                  </a:cubicBezTo>
                  <a:cubicBezTo>
                    <a:pt x="14" y="2"/>
                    <a:pt x="11" y="4"/>
                    <a:pt x="8" y="5"/>
                  </a:cubicBezTo>
                  <a:cubicBezTo>
                    <a:pt x="8" y="5"/>
                    <a:pt x="8" y="5"/>
                    <a:pt x="7" y="5"/>
                  </a:cubicBezTo>
                  <a:cubicBezTo>
                    <a:pt x="4" y="5"/>
                    <a:pt x="4" y="1"/>
                    <a:pt x="0" y="0"/>
                  </a:cubicBezTo>
                  <a:cubicBezTo>
                    <a:pt x="1" y="4"/>
                    <a:pt x="2" y="8"/>
                    <a:pt x="5" y="11"/>
                  </a:cubicBezTo>
                  <a:cubicBezTo>
                    <a:pt x="6" y="12"/>
                    <a:pt x="7" y="13"/>
                    <a:pt x="9" y="14"/>
                  </a:cubicBezTo>
                  <a:cubicBezTo>
                    <a:pt x="10" y="15"/>
                    <a:pt x="13" y="17"/>
                    <a:pt x="14" y="17"/>
                  </a:cubicBezTo>
                  <a:cubicBezTo>
                    <a:pt x="14" y="17"/>
                    <a:pt x="14" y="17"/>
                    <a:pt x="14" y="17"/>
                  </a:cubicBezTo>
                  <a:cubicBezTo>
                    <a:pt x="17" y="17"/>
                    <a:pt x="21" y="11"/>
                    <a:pt x="24" y="10"/>
                  </a:cubicBezTo>
                  <a:cubicBezTo>
                    <a:pt x="26" y="9"/>
                    <a:pt x="28" y="7"/>
                    <a:pt x="28" y="5"/>
                  </a:cubicBezTo>
                  <a:cubicBezTo>
                    <a:pt x="28" y="4"/>
                    <a:pt x="27" y="4"/>
                    <a:pt x="26" y="2"/>
                  </a:cubicBezTo>
                  <a:cubicBezTo>
                    <a:pt x="25" y="1"/>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 name="Freeform 1373">
              <a:extLst>
                <a:ext uri="{FF2B5EF4-FFF2-40B4-BE49-F238E27FC236}">
                  <a16:creationId xmlns:a16="http://schemas.microsoft.com/office/drawing/2014/main" id="{E2F9E9DB-5407-4004-BF53-3B87DD70DCFD}"/>
                </a:ext>
              </a:extLst>
            </p:cNvPr>
            <p:cNvSpPr>
              <a:spLocks/>
            </p:cNvSpPr>
            <p:nvPr/>
          </p:nvSpPr>
          <p:spPr bwMode="auto">
            <a:xfrm>
              <a:off x="6815038" y="6794910"/>
              <a:ext cx="34901" cy="63090"/>
            </a:xfrm>
            <a:custGeom>
              <a:avLst/>
              <a:gdLst>
                <a:gd name="T0" fmla="*/ 7 w 11"/>
                <a:gd name="T1" fmla="*/ 0 h 20"/>
                <a:gd name="T2" fmla="*/ 4 w 11"/>
                <a:gd name="T3" fmla="*/ 2 h 20"/>
                <a:gd name="T4" fmla="*/ 1 w 11"/>
                <a:gd name="T5" fmla="*/ 12 h 20"/>
                <a:gd name="T6" fmla="*/ 1 w 11"/>
                <a:gd name="T7" fmla="*/ 19 h 20"/>
                <a:gd name="T8" fmla="*/ 0 w 11"/>
                <a:gd name="T9" fmla="*/ 20 h 20"/>
                <a:gd name="T10" fmla="*/ 5 w 11"/>
                <a:gd name="T11" fmla="*/ 20 h 20"/>
                <a:gd name="T12" fmla="*/ 8 w 11"/>
                <a:gd name="T13" fmla="*/ 10 h 20"/>
                <a:gd name="T14" fmla="*/ 8 w 11"/>
                <a:gd name="T15" fmla="*/ 4 h 20"/>
                <a:gd name="T16" fmla="*/ 7 w 11"/>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0">
                  <a:moveTo>
                    <a:pt x="7" y="0"/>
                  </a:moveTo>
                  <a:cubicBezTo>
                    <a:pt x="6" y="0"/>
                    <a:pt x="6" y="0"/>
                    <a:pt x="4" y="2"/>
                  </a:cubicBezTo>
                  <a:cubicBezTo>
                    <a:pt x="11" y="5"/>
                    <a:pt x="2" y="10"/>
                    <a:pt x="1" y="12"/>
                  </a:cubicBezTo>
                  <a:cubicBezTo>
                    <a:pt x="4" y="12"/>
                    <a:pt x="1" y="17"/>
                    <a:pt x="1" y="19"/>
                  </a:cubicBezTo>
                  <a:cubicBezTo>
                    <a:pt x="1" y="19"/>
                    <a:pt x="0" y="19"/>
                    <a:pt x="0" y="20"/>
                  </a:cubicBezTo>
                  <a:cubicBezTo>
                    <a:pt x="5" y="20"/>
                    <a:pt x="5" y="20"/>
                    <a:pt x="5" y="20"/>
                  </a:cubicBezTo>
                  <a:cubicBezTo>
                    <a:pt x="6" y="16"/>
                    <a:pt x="7" y="13"/>
                    <a:pt x="8" y="10"/>
                  </a:cubicBezTo>
                  <a:cubicBezTo>
                    <a:pt x="10" y="6"/>
                    <a:pt x="9" y="7"/>
                    <a:pt x="8" y="4"/>
                  </a:cubicBezTo>
                  <a:cubicBezTo>
                    <a:pt x="8" y="1"/>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 name="Freeform 1374">
              <a:extLst>
                <a:ext uri="{FF2B5EF4-FFF2-40B4-BE49-F238E27FC236}">
                  <a16:creationId xmlns:a16="http://schemas.microsoft.com/office/drawing/2014/main" id="{42C954DA-EB83-4372-8142-21374A4D6C43}"/>
                </a:ext>
              </a:extLst>
            </p:cNvPr>
            <p:cNvSpPr>
              <a:spLocks/>
            </p:cNvSpPr>
            <p:nvPr/>
          </p:nvSpPr>
          <p:spPr bwMode="auto">
            <a:xfrm>
              <a:off x="5558611" y="5912995"/>
              <a:ext cx="2685" cy="12081"/>
            </a:xfrm>
            <a:custGeom>
              <a:avLst/>
              <a:gdLst>
                <a:gd name="T0" fmla="*/ 0 w 1"/>
                <a:gd name="T1" fmla="*/ 0 h 4"/>
                <a:gd name="T2" fmla="*/ 1 w 1"/>
                <a:gd name="T3" fmla="*/ 4 h 4"/>
                <a:gd name="T4" fmla="*/ 0 w 1"/>
                <a:gd name="T5" fmla="*/ 0 h 4"/>
              </a:gdLst>
              <a:ahLst/>
              <a:cxnLst>
                <a:cxn ang="0">
                  <a:pos x="T0" y="T1"/>
                </a:cxn>
                <a:cxn ang="0">
                  <a:pos x="T2" y="T3"/>
                </a:cxn>
                <a:cxn ang="0">
                  <a:pos x="T4" y="T5"/>
                </a:cxn>
              </a:cxnLst>
              <a:rect l="0" t="0" r="r" b="b"/>
              <a:pathLst>
                <a:path w="1" h="4">
                  <a:moveTo>
                    <a:pt x="0" y="0"/>
                  </a:moveTo>
                  <a:cubicBezTo>
                    <a:pt x="0" y="2"/>
                    <a:pt x="0" y="3"/>
                    <a:pt x="1" y="4"/>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 name="Freeform 1375">
              <a:extLst>
                <a:ext uri="{FF2B5EF4-FFF2-40B4-BE49-F238E27FC236}">
                  <a16:creationId xmlns:a16="http://schemas.microsoft.com/office/drawing/2014/main" id="{0F9C8745-D35F-4AB6-BFB0-35E862CF30E0}"/>
                </a:ext>
              </a:extLst>
            </p:cNvPr>
            <p:cNvSpPr>
              <a:spLocks/>
            </p:cNvSpPr>
            <p:nvPr/>
          </p:nvSpPr>
          <p:spPr bwMode="auto">
            <a:xfrm>
              <a:off x="5805601" y="6192201"/>
              <a:ext cx="9396" cy="9396"/>
            </a:xfrm>
            <a:custGeom>
              <a:avLst/>
              <a:gdLst>
                <a:gd name="T0" fmla="*/ 2 w 3"/>
                <a:gd name="T1" fmla="*/ 0 h 3"/>
                <a:gd name="T2" fmla="*/ 0 w 3"/>
                <a:gd name="T3" fmla="*/ 3 h 3"/>
                <a:gd name="T4" fmla="*/ 3 w 3"/>
                <a:gd name="T5" fmla="*/ 2 h 3"/>
                <a:gd name="T6" fmla="*/ 2 w 3"/>
                <a:gd name="T7" fmla="*/ 0 h 3"/>
              </a:gdLst>
              <a:ahLst/>
              <a:cxnLst>
                <a:cxn ang="0">
                  <a:pos x="T0" y="T1"/>
                </a:cxn>
                <a:cxn ang="0">
                  <a:pos x="T2" y="T3"/>
                </a:cxn>
                <a:cxn ang="0">
                  <a:pos x="T4" y="T5"/>
                </a:cxn>
                <a:cxn ang="0">
                  <a:pos x="T6" y="T7"/>
                </a:cxn>
              </a:cxnLst>
              <a:rect l="0" t="0" r="r" b="b"/>
              <a:pathLst>
                <a:path w="3" h="3">
                  <a:moveTo>
                    <a:pt x="2" y="0"/>
                  </a:moveTo>
                  <a:cubicBezTo>
                    <a:pt x="1" y="0"/>
                    <a:pt x="0" y="2"/>
                    <a:pt x="0" y="3"/>
                  </a:cubicBezTo>
                  <a:cubicBezTo>
                    <a:pt x="0" y="3"/>
                    <a:pt x="3" y="3"/>
                    <a:pt x="3" y="2"/>
                  </a:cubicBezTo>
                  <a:cubicBezTo>
                    <a:pt x="2"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 name="Freeform 1376">
              <a:extLst>
                <a:ext uri="{FF2B5EF4-FFF2-40B4-BE49-F238E27FC236}">
                  <a16:creationId xmlns:a16="http://schemas.microsoft.com/office/drawing/2014/main" id="{2B3BAC5E-E319-4478-A66D-3D7D593CF2A6}"/>
                </a:ext>
              </a:extLst>
            </p:cNvPr>
            <p:cNvSpPr>
              <a:spLocks/>
            </p:cNvSpPr>
            <p:nvPr/>
          </p:nvSpPr>
          <p:spPr bwMode="auto">
            <a:xfrm>
              <a:off x="6009636" y="5703590"/>
              <a:ext cx="12081" cy="12081"/>
            </a:xfrm>
            <a:custGeom>
              <a:avLst/>
              <a:gdLst>
                <a:gd name="T0" fmla="*/ 1 w 4"/>
                <a:gd name="T1" fmla="*/ 0 h 4"/>
                <a:gd name="T2" fmla="*/ 0 w 4"/>
                <a:gd name="T3" fmla="*/ 4 h 4"/>
                <a:gd name="T4" fmla="*/ 1 w 4"/>
                <a:gd name="T5" fmla="*/ 0 h 4"/>
              </a:gdLst>
              <a:ahLst/>
              <a:cxnLst>
                <a:cxn ang="0">
                  <a:pos x="T0" y="T1"/>
                </a:cxn>
                <a:cxn ang="0">
                  <a:pos x="T2" y="T3"/>
                </a:cxn>
                <a:cxn ang="0">
                  <a:pos x="T4" y="T5"/>
                </a:cxn>
              </a:cxnLst>
              <a:rect l="0" t="0" r="r" b="b"/>
              <a:pathLst>
                <a:path w="4" h="4">
                  <a:moveTo>
                    <a:pt x="1" y="0"/>
                  </a:moveTo>
                  <a:cubicBezTo>
                    <a:pt x="1" y="2"/>
                    <a:pt x="1" y="3"/>
                    <a:pt x="0" y="4"/>
                  </a:cubicBezTo>
                  <a:cubicBezTo>
                    <a:pt x="4"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 name="Freeform 1377">
              <a:extLst>
                <a:ext uri="{FF2B5EF4-FFF2-40B4-BE49-F238E27FC236}">
                  <a16:creationId xmlns:a16="http://schemas.microsoft.com/office/drawing/2014/main" id="{872F55B5-CAD5-4A1E-BE77-453425C4209C}"/>
                </a:ext>
              </a:extLst>
            </p:cNvPr>
            <p:cNvSpPr>
              <a:spLocks/>
            </p:cNvSpPr>
            <p:nvPr/>
          </p:nvSpPr>
          <p:spPr bwMode="auto">
            <a:xfrm>
              <a:off x="6517039" y="6436506"/>
              <a:ext cx="12081" cy="12081"/>
            </a:xfrm>
            <a:custGeom>
              <a:avLst/>
              <a:gdLst>
                <a:gd name="T0" fmla="*/ 0 w 4"/>
                <a:gd name="T1" fmla="*/ 0 h 4"/>
                <a:gd name="T2" fmla="*/ 0 w 4"/>
                <a:gd name="T3" fmla="*/ 4 h 4"/>
                <a:gd name="T4" fmla="*/ 0 w 4"/>
                <a:gd name="T5" fmla="*/ 4 h 4"/>
                <a:gd name="T6" fmla="*/ 0 w 4"/>
                <a:gd name="T7" fmla="*/ 0 h 4"/>
              </a:gdLst>
              <a:ahLst/>
              <a:cxnLst>
                <a:cxn ang="0">
                  <a:pos x="T0" y="T1"/>
                </a:cxn>
                <a:cxn ang="0">
                  <a:pos x="T2" y="T3"/>
                </a:cxn>
                <a:cxn ang="0">
                  <a:pos x="T4" y="T5"/>
                </a:cxn>
                <a:cxn ang="0">
                  <a:pos x="T6" y="T7"/>
                </a:cxn>
              </a:cxnLst>
              <a:rect l="0" t="0" r="r" b="b"/>
              <a:pathLst>
                <a:path w="4" h="4">
                  <a:moveTo>
                    <a:pt x="0" y="0"/>
                  </a:moveTo>
                  <a:cubicBezTo>
                    <a:pt x="0" y="1"/>
                    <a:pt x="0" y="3"/>
                    <a:pt x="0" y="4"/>
                  </a:cubicBezTo>
                  <a:cubicBezTo>
                    <a:pt x="0" y="4"/>
                    <a:pt x="0" y="4"/>
                    <a:pt x="0" y="4"/>
                  </a:cubicBezTo>
                  <a:cubicBezTo>
                    <a:pt x="4"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 name="Freeform 1378">
              <a:extLst>
                <a:ext uri="{FF2B5EF4-FFF2-40B4-BE49-F238E27FC236}">
                  <a16:creationId xmlns:a16="http://schemas.microsoft.com/office/drawing/2014/main" id="{9D974E87-BE54-4812-8756-1731C665A63D}"/>
                </a:ext>
              </a:extLst>
            </p:cNvPr>
            <p:cNvSpPr>
              <a:spLocks/>
            </p:cNvSpPr>
            <p:nvPr/>
          </p:nvSpPr>
          <p:spPr bwMode="auto">
            <a:xfrm>
              <a:off x="5586801" y="6078102"/>
              <a:ext cx="6712" cy="939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 name="Freeform 1379">
              <a:extLst>
                <a:ext uri="{FF2B5EF4-FFF2-40B4-BE49-F238E27FC236}">
                  <a16:creationId xmlns:a16="http://schemas.microsoft.com/office/drawing/2014/main" id="{8DB853EC-F348-4607-A8B6-D7213A7AA8BD}"/>
                </a:ext>
              </a:extLst>
            </p:cNvPr>
            <p:cNvSpPr>
              <a:spLocks/>
            </p:cNvSpPr>
            <p:nvPr/>
          </p:nvSpPr>
          <p:spPr bwMode="auto">
            <a:xfrm>
              <a:off x="5565323" y="5938499"/>
              <a:ext cx="5369" cy="12081"/>
            </a:xfrm>
            <a:custGeom>
              <a:avLst/>
              <a:gdLst>
                <a:gd name="T0" fmla="*/ 1 w 2"/>
                <a:gd name="T1" fmla="*/ 0 h 4"/>
                <a:gd name="T2" fmla="*/ 0 w 2"/>
                <a:gd name="T3" fmla="*/ 4 h 4"/>
                <a:gd name="T4" fmla="*/ 1 w 2"/>
                <a:gd name="T5" fmla="*/ 0 h 4"/>
              </a:gdLst>
              <a:ahLst/>
              <a:cxnLst>
                <a:cxn ang="0">
                  <a:pos x="T0" y="T1"/>
                </a:cxn>
                <a:cxn ang="0">
                  <a:pos x="T2" y="T3"/>
                </a:cxn>
                <a:cxn ang="0">
                  <a:pos x="T4" y="T5"/>
                </a:cxn>
              </a:cxnLst>
              <a:rect l="0" t="0" r="r" b="b"/>
              <a:pathLst>
                <a:path w="2" h="4">
                  <a:moveTo>
                    <a:pt x="1" y="0"/>
                  </a:moveTo>
                  <a:cubicBezTo>
                    <a:pt x="0" y="0"/>
                    <a:pt x="0" y="1"/>
                    <a:pt x="0" y="4"/>
                  </a:cubicBezTo>
                  <a:cubicBezTo>
                    <a:pt x="2" y="3"/>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 name="Freeform 1380">
              <a:extLst>
                <a:ext uri="{FF2B5EF4-FFF2-40B4-BE49-F238E27FC236}">
                  <a16:creationId xmlns:a16="http://schemas.microsoft.com/office/drawing/2014/main" id="{73CB2B51-882D-4445-8CC8-EA865B47F34C}"/>
                </a:ext>
              </a:extLst>
            </p:cNvPr>
            <p:cNvSpPr>
              <a:spLocks/>
            </p:cNvSpPr>
            <p:nvPr/>
          </p:nvSpPr>
          <p:spPr bwMode="auto">
            <a:xfrm>
              <a:off x="5625728" y="6083472"/>
              <a:ext cx="2685" cy="20135"/>
            </a:xfrm>
            <a:custGeom>
              <a:avLst/>
              <a:gdLst>
                <a:gd name="T0" fmla="*/ 0 w 1"/>
                <a:gd name="T1" fmla="*/ 0 h 6"/>
                <a:gd name="T2" fmla="*/ 1 w 1"/>
                <a:gd name="T3" fmla="*/ 6 h 6"/>
                <a:gd name="T4" fmla="*/ 0 w 1"/>
                <a:gd name="T5" fmla="*/ 0 h 6"/>
              </a:gdLst>
              <a:ahLst/>
              <a:cxnLst>
                <a:cxn ang="0">
                  <a:pos x="T0" y="T1"/>
                </a:cxn>
                <a:cxn ang="0">
                  <a:pos x="T2" y="T3"/>
                </a:cxn>
                <a:cxn ang="0">
                  <a:pos x="T4" y="T5"/>
                </a:cxn>
              </a:cxnLst>
              <a:rect l="0" t="0" r="r" b="b"/>
              <a:pathLst>
                <a:path w="1" h="6">
                  <a:moveTo>
                    <a:pt x="0" y="0"/>
                  </a:moveTo>
                  <a:cubicBezTo>
                    <a:pt x="0" y="2"/>
                    <a:pt x="0" y="4"/>
                    <a:pt x="1" y="6"/>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 name="Freeform 1381">
              <a:extLst>
                <a:ext uri="{FF2B5EF4-FFF2-40B4-BE49-F238E27FC236}">
                  <a16:creationId xmlns:a16="http://schemas.microsoft.com/office/drawing/2014/main" id="{6BBBD1D9-1DB5-42E0-BC3F-27874C3734A5}"/>
                </a:ext>
              </a:extLst>
            </p:cNvPr>
            <p:cNvSpPr>
              <a:spLocks/>
            </p:cNvSpPr>
            <p:nvPr/>
          </p:nvSpPr>
          <p:spPr bwMode="auto">
            <a:xfrm>
              <a:off x="6015006" y="5671374"/>
              <a:ext cx="9396" cy="6712"/>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0" y="0"/>
                    <a:pt x="0" y="0"/>
                    <a:pt x="1"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 name="Freeform 1382">
              <a:extLst>
                <a:ext uri="{FF2B5EF4-FFF2-40B4-BE49-F238E27FC236}">
                  <a16:creationId xmlns:a16="http://schemas.microsoft.com/office/drawing/2014/main" id="{C360C75C-5684-445F-91CC-FD64FB616E7C}"/>
                </a:ext>
              </a:extLst>
            </p:cNvPr>
            <p:cNvSpPr>
              <a:spLocks/>
            </p:cNvSpPr>
            <p:nvPr/>
          </p:nvSpPr>
          <p:spPr bwMode="auto">
            <a:xfrm>
              <a:off x="6586841" y="6585506"/>
              <a:ext cx="2685" cy="12081"/>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2"/>
                    <a:pt x="0" y="4"/>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 name="Freeform 1383">
              <a:extLst>
                <a:ext uri="{FF2B5EF4-FFF2-40B4-BE49-F238E27FC236}">
                  <a16:creationId xmlns:a16="http://schemas.microsoft.com/office/drawing/2014/main" id="{B2BE03E5-AFCC-4E62-B4B1-5A67C27653B6}"/>
                </a:ext>
              </a:extLst>
            </p:cNvPr>
            <p:cNvSpPr>
              <a:spLocks/>
            </p:cNvSpPr>
            <p:nvPr/>
          </p:nvSpPr>
          <p:spPr bwMode="auto">
            <a:xfrm>
              <a:off x="5561296" y="5810977"/>
              <a:ext cx="9396" cy="6712"/>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0"/>
                    <a:pt x="1" y="1"/>
                    <a:pt x="0" y="2"/>
                  </a:cubicBezTo>
                  <a:cubicBezTo>
                    <a:pt x="2" y="1"/>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 name="Freeform 1384">
              <a:extLst>
                <a:ext uri="{FF2B5EF4-FFF2-40B4-BE49-F238E27FC236}">
                  <a16:creationId xmlns:a16="http://schemas.microsoft.com/office/drawing/2014/main" id="{287375B2-D65A-40D5-86AB-69600D5D0E86}"/>
                </a:ext>
              </a:extLst>
            </p:cNvPr>
            <p:cNvSpPr>
              <a:spLocks/>
            </p:cNvSpPr>
            <p:nvPr/>
          </p:nvSpPr>
          <p:spPr bwMode="auto">
            <a:xfrm>
              <a:off x="6672750" y="6692893"/>
              <a:ext cx="18793" cy="25504"/>
            </a:xfrm>
            <a:custGeom>
              <a:avLst/>
              <a:gdLst>
                <a:gd name="T0" fmla="*/ 0 w 6"/>
                <a:gd name="T1" fmla="*/ 0 h 8"/>
                <a:gd name="T2" fmla="*/ 3 w 6"/>
                <a:gd name="T3" fmla="*/ 7 h 8"/>
                <a:gd name="T4" fmla="*/ 5 w 6"/>
                <a:gd name="T5" fmla="*/ 8 h 8"/>
                <a:gd name="T6" fmla="*/ 4 w 6"/>
                <a:gd name="T7" fmla="*/ 2 h 8"/>
                <a:gd name="T8" fmla="*/ 0 w 6"/>
                <a:gd name="T9" fmla="*/ 0 h 8"/>
              </a:gdLst>
              <a:ahLst/>
              <a:cxnLst>
                <a:cxn ang="0">
                  <a:pos x="T0" y="T1"/>
                </a:cxn>
                <a:cxn ang="0">
                  <a:pos x="T2" y="T3"/>
                </a:cxn>
                <a:cxn ang="0">
                  <a:pos x="T4" y="T5"/>
                </a:cxn>
                <a:cxn ang="0">
                  <a:pos x="T6" y="T7"/>
                </a:cxn>
                <a:cxn ang="0">
                  <a:pos x="T8" y="T9"/>
                </a:cxn>
              </a:cxnLst>
              <a:rect l="0" t="0" r="r" b="b"/>
              <a:pathLst>
                <a:path w="6" h="8">
                  <a:moveTo>
                    <a:pt x="0" y="0"/>
                  </a:moveTo>
                  <a:cubicBezTo>
                    <a:pt x="0" y="2"/>
                    <a:pt x="2" y="5"/>
                    <a:pt x="3" y="7"/>
                  </a:cubicBezTo>
                  <a:cubicBezTo>
                    <a:pt x="4" y="7"/>
                    <a:pt x="4" y="7"/>
                    <a:pt x="5" y="8"/>
                  </a:cubicBezTo>
                  <a:cubicBezTo>
                    <a:pt x="6" y="7"/>
                    <a:pt x="5" y="3"/>
                    <a:pt x="4" y="2"/>
                  </a:cubicBezTo>
                  <a:cubicBezTo>
                    <a:pt x="4"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 name="Freeform 1385">
              <a:extLst>
                <a:ext uri="{FF2B5EF4-FFF2-40B4-BE49-F238E27FC236}">
                  <a16:creationId xmlns:a16="http://schemas.microsoft.com/office/drawing/2014/main" id="{76028ECE-0A5F-4D1D-B766-D235B047200E}"/>
                </a:ext>
              </a:extLst>
            </p:cNvPr>
            <p:cNvSpPr>
              <a:spLocks/>
            </p:cNvSpPr>
            <p:nvPr/>
          </p:nvSpPr>
          <p:spPr bwMode="auto">
            <a:xfrm>
              <a:off x="5586801" y="5738491"/>
              <a:ext cx="18793" cy="30874"/>
            </a:xfrm>
            <a:custGeom>
              <a:avLst/>
              <a:gdLst>
                <a:gd name="T0" fmla="*/ 6 w 6"/>
                <a:gd name="T1" fmla="*/ 0 h 10"/>
                <a:gd name="T2" fmla="*/ 0 w 6"/>
                <a:gd name="T3" fmla="*/ 10 h 10"/>
                <a:gd name="T4" fmla="*/ 6 w 6"/>
                <a:gd name="T5" fmla="*/ 0 h 10"/>
              </a:gdLst>
              <a:ahLst/>
              <a:cxnLst>
                <a:cxn ang="0">
                  <a:pos x="T0" y="T1"/>
                </a:cxn>
                <a:cxn ang="0">
                  <a:pos x="T2" y="T3"/>
                </a:cxn>
                <a:cxn ang="0">
                  <a:pos x="T4" y="T5"/>
                </a:cxn>
              </a:cxnLst>
              <a:rect l="0" t="0" r="r" b="b"/>
              <a:pathLst>
                <a:path w="6" h="10">
                  <a:moveTo>
                    <a:pt x="6" y="0"/>
                  </a:moveTo>
                  <a:cubicBezTo>
                    <a:pt x="4" y="3"/>
                    <a:pt x="2" y="6"/>
                    <a:pt x="0" y="10"/>
                  </a:cubicBezTo>
                  <a:cubicBezTo>
                    <a:pt x="3" y="7"/>
                    <a:pt x="5"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 name="Freeform 1386">
              <a:extLst>
                <a:ext uri="{FF2B5EF4-FFF2-40B4-BE49-F238E27FC236}">
                  <a16:creationId xmlns:a16="http://schemas.microsoft.com/office/drawing/2014/main" id="{042B1466-5177-4378-8079-5EFF2E910422}"/>
                </a:ext>
              </a:extLst>
            </p:cNvPr>
            <p:cNvSpPr>
              <a:spLocks/>
            </p:cNvSpPr>
            <p:nvPr/>
          </p:nvSpPr>
          <p:spPr bwMode="auto">
            <a:xfrm>
              <a:off x="5098190" y="5759968"/>
              <a:ext cx="51009" cy="38928"/>
            </a:xfrm>
            <a:custGeom>
              <a:avLst/>
              <a:gdLst>
                <a:gd name="T0" fmla="*/ 8 w 16"/>
                <a:gd name="T1" fmla="*/ 0 h 12"/>
                <a:gd name="T2" fmla="*/ 5 w 16"/>
                <a:gd name="T3" fmla="*/ 3 h 12"/>
                <a:gd name="T4" fmla="*/ 5 w 16"/>
                <a:gd name="T5" fmla="*/ 8 h 12"/>
                <a:gd name="T6" fmla="*/ 4 w 16"/>
                <a:gd name="T7" fmla="*/ 8 h 12"/>
                <a:gd name="T8" fmla="*/ 4 w 16"/>
                <a:gd name="T9" fmla="*/ 8 h 12"/>
                <a:gd name="T10" fmla="*/ 3 w 16"/>
                <a:gd name="T11" fmla="*/ 8 h 12"/>
                <a:gd name="T12" fmla="*/ 3 w 16"/>
                <a:gd name="T13" fmla="*/ 8 h 12"/>
                <a:gd name="T14" fmla="*/ 2 w 16"/>
                <a:gd name="T15" fmla="*/ 10 h 12"/>
                <a:gd name="T16" fmla="*/ 3 w 16"/>
                <a:gd name="T17" fmla="*/ 11 h 12"/>
                <a:gd name="T18" fmla="*/ 12 w 16"/>
                <a:gd name="T19" fmla="*/ 12 h 12"/>
                <a:gd name="T20" fmla="*/ 13 w 16"/>
                <a:gd name="T21" fmla="*/ 12 h 12"/>
                <a:gd name="T22" fmla="*/ 15 w 16"/>
                <a:gd name="T23" fmla="*/ 10 h 12"/>
                <a:gd name="T24" fmla="*/ 12 w 16"/>
                <a:gd name="T25" fmla="*/ 8 h 12"/>
                <a:gd name="T26" fmla="*/ 11 w 16"/>
                <a:gd name="T27" fmla="*/ 8 h 12"/>
                <a:gd name="T28" fmla="*/ 10 w 16"/>
                <a:gd name="T29" fmla="*/ 3 h 12"/>
                <a:gd name="T30" fmla="*/ 9 w 16"/>
                <a:gd name="T31" fmla="*/ 0 h 12"/>
                <a:gd name="T32" fmla="*/ 8 w 16"/>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2">
                  <a:moveTo>
                    <a:pt x="8" y="0"/>
                  </a:moveTo>
                  <a:cubicBezTo>
                    <a:pt x="7" y="0"/>
                    <a:pt x="5" y="1"/>
                    <a:pt x="5" y="3"/>
                  </a:cubicBezTo>
                  <a:cubicBezTo>
                    <a:pt x="4" y="4"/>
                    <a:pt x="6" y="6"/>
                    <a:pt x="5" y="8"/>
                  </a:cubicBezTo>
                  <a:cubicBezTo>
                    <a:pt x="5" y="8"/>
                    <a:pt x="5" y="8"/>
                    <a:pt x="4" y="8"/>
                  </a:cubicBezTo>
                  <a:cubicBezTo>
                    <a:pt x="4" y="8"/>
                    <a:pt x="4" y="8"/>
                    <a:pt x="4" y="8"/>
                  </a:cubicBezTo>
                  <a:cubicBezTo>
                    <a:pt x="3" y="8"/>
                    <a:pt x="3" y="8"/>
                    <a:pt x="3" y="8"/>
                  </a:cubicBezTo>
                  <a:cubicBezTo>
                    <a:pt x="3" y="8"/>
                    <a:pt x="3" y="8"/>
                    <a:pt x="3" y="8"/>
                  </a:cubicBezTo>
                  <a:cubicBezTo>
                    <a:pt x="2" y="10"/>
                    <a:pt x="2" y="10"/>
                    <a:pt x="2" y="10"/>
                  </a:cubicBezTo>
                  <a:cubicBezTo>
                    <a:pt x="2" y="10"/>
                    <a:pt x="0" y="10"/>
                    <a:pt x="3" y="11"/>
                  </a:cubicBezTo>
                  <a:cubicBezTo>
                    <a:pt x="6" y="11"/>
                    <a:pt x="9" y="12"/>
                    <a:pt x="12" y="12"/>
                  </a:cubicBezTo>
                  <a:cubicBezTo>
                    <a:pt x="12" y="12"/>
                    <a:pt x="13" y="12"/>
                    <a:pt x="13" y="12"/>
                  </a:cubicBezTo>
                  <a:cubicBezTo>
                    <a:pt x="15" y="12"/>
                    <a:pt x="16" y="11"/>
                    <a:pt x="15" y="10"/>
                  </a:cubicBezTo>
                  <a:cubicBezTo>
                    <a:pt x="15" y="9"/>
                    <a:pt x="13" y="8"/>
                    <a:pt x="12" y="8"/>
                  </a:cubicBezTo>
                  <a:cubicBezTo>
                    <a:pt x="12" y="8"/>
                    <a:pt x="12" y="8"/>
                    <a:pt x="11" y="8"/>
                  </a:cubicBezTo>
                  <a:cubicBezTo>
                    <a:pt x="12" y="6"/>
                    <a:pt x="10" y="4"/>
                    <a:pt x="10" y="3"/>
                  </a:cubicBezTo>
                  <a:cubicBezTo>
                    <a:pt x="10" y="2"/>
                    <a:pt x="10" y="1"/>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 name="Freeform 1387">
              <a:extLst>
                <a:ext uri="{FF2B5EF4-FFF2-40B4-BE49-F238E27FC236}">
                  <a16:creationId xmlns:a16="http://schemas.microsoft.com/office/drawing/2014/main" id="{CF26DB77-2CF5-414F-A4A4-2C3CE5E24B96}"/>
                </a:ext>
              </a:extLst>
            </p:cNvPr>
            <p:cNvSpPr>
              <a:spLocks noEditPoints="1"/>
            </p:cNvSpPr>
            <p:nvPr/>
          </p:nvSpPr>
          <p:spPr bwMode="auto">
            <a:xfrm>
              <a:off x="5784124" y="6143877"/>
              <a:ext cx="44297" cy="25504"/>
            </a:xfrm>
            <a:custGeom>
              <a:avLst/>
              <a:gdLst>
                <a:gd name="T0" fmla="*/ 6 w 14"/>
                <a:gd name="T1" fmla="*/ 7 h 8"/>
                <a:gd name="T2" fmla="*/ 6 w 14"/>
                <a:gd name="T3" fmla="*/ 7 h 8"/>
                <a:gd name="T4" fmla="*/ 6 w 14"/>
                <a:gd name="T5" fmla="*/ 7 h 8"/>
                <a:gd name="T6" fmla="*/ 11 w 14"/>
                <a:gd name="T7" fmla="*/ 0 h 8"/>
                <a:gd name="T8" fmla="*/ 6 w 14"/>
                <a:gd name="T9" fmla="*/ 1 h 8"/>
                <a:gd name="T10" fmla="*/ 0 w 14"/>
                <a:gd name="T11" fmla="*/ 7 h 8"/>
                <a:gd name="T12" fmla="*/ 2 w 14"/>
                <a:gd name="T13" fmla="*/ 8 h 8"/>
                <a:gd name="T14" fmla="*/ 4 w 14"/>
                <a:gd name="T15" fmla="*/ 8 h 8"/>
                <a:gd name="T16" fmla="*/ 6 w 14"/>
                <a:gd name="T17" fmla="*/ 7 h 8"/>
                <a:gd name="T18" fmla="*/ 6 w 14"/>
                <a:gd name="T19" fmla="*/ 7 h 8"/>
                <a:gd name="T20" fmla="*/ 9 w 14"/>
                <a:gd name="T21" fmla="*/ 3 h 8"/>
                <a:gd name="T22" fmla="*/ 9 w 14"/>
                <a:gd name="T23" fmla="*/ 3 h 8"/>
                <a:gd name="T24" fmla="*/ 10 w 14"/>
                <a:gd name="T25" fmla="*/ 3 h 8"/>
                <a:gd name="T26" fmla="*/ 11 w 14"/>
                <a:gd name="T27" fmla="*/ 4 h 8"/>
                <a:gd name="T28" fmla="*/ 11 w 14"/>
                <a:gd name="T29" fmla="*/ 4 h 8"/>
                <a:gd name="T30" fmla="*/ 12 w 14"/>
                <a:gd name="T31" fmla="*/ 3 h 8"/>
                <a:gd name="T32" fmla="*/ 14 w 14"/>
                <a:gd name="T33" fmla="*/ 2 h 8"/>
                <a:gd name="T34" fmla="*/ 11 w 14"/>
                <a:gd name="T3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8">
                  <a:moveTo>
                    <a:pt x="6" y="7"/>
                  </a:moveTo>
                  <a:cubicBezTo>
                    <a:pt x="6" y="7"/>
                    <a:pt x="6" y="7"/>
                    <a:pt x="6" y="7"/>
                  </a:cubicBezTo>
                  <a:cubicBezTo>
                    <a:pt x="6" y="7"/>
                    <a:pt x="6" y="7"/>
                    <a:pt x="6" y="7"/>
                  </a:cubicBezTo>
                  <a:moveTo>
                    <a:pt x="11" y="0"/>
                  </a:moveTo>
                  <a:cubicBezTo>
                    <a:pt x="9" y="0"/>
                    <a:pt x="7" y="1"/>
                    <a:pt x="6" y="1"/>
                  </a:cubicBezTo>
                  <a:cubicBezTo>
                    <a:pt x="3" y="2"/>
                    <a:pt x="3" y="4"/>
                    <a:pt x="0" y="7"/>
                  </a:cubicBezTo>
                  <a:cubicBezTo>
                    <a:pt x="1" y="8"/>
                    <a:pt x="2" y="8"/>
                    <a:pt x="2" y="8"/>
                  </a:cubicBezTo>
                  <a:cubicBezTo>
                    <a:pt x="3" y="8"/>
                    <a:pt x="4" y="8"/>
                    <a:pt x="4" y="8"/>
                  </a:cubicBezTo>
                  <a:cubicBezTo>
                    <a:pt x="5" y="8"/>
                    <a:pt x="6" y="7"/>
                    <a:pt x="6" y="7"/>
                  </a:cubicBezTo>
                  <a:cubicBezTo>
                    <a:pt x="6" y="7"/>
                    <a:pt x="6" y="7"/>
                    <a:pt x="6" y="7"/>
                  </a:cubicBezTo>
                  <a:cubicBezTo>
                    <a:pt x="7" y="6"/>
                    <a:pt x="9" y="3"/>
                    <a:pt x="9" y="3"/>
                  </a:cubicBezTo>
                  <a:cubicBezTo>
                    <a:pt x="9" y="3"/>
                    <a:pt x="9" y="3"/>
                    <a:pt x="9" y="3"/>
                  </a:cubicBezTo>
                  <a:cubicBezTo>
                    <a:pt x="10" y="3"/>
                    <a:pt x="10" y="3"/>
                    <a:pt x="10" y="3"/>
                  </a:cubicBezTo>
                  <a:cubicBezTo>
                    <a:pt x="10" y="4"/>
                    <a:pt x="10" y="4"/>
                    <a:pt x="11" y="4"/>
                  </a:cubicBezTo>
                  <a:cubicBezTo>
                    <a:pt x="11" y="4"/>
                    <a:pt x="11" y="4"/>
                    <a:pt x="11" y="4"/>
                  </a:cubicBezTo>
                  <a:cubicBezTo>
                    <a:pt x="11" y="4"/>
                    <a:pt x="11" y="3"/>
                    <a:pt x="12" y="3"/>
                  </a:cubicBezTo>
                  <a:cubicBezTo>
                    <a:pt x="13" y="3"/>
                    <a:pt x="14" y="3"/>
                    <a:pt x="14" y="2"/>
                  </a:cubicBezTo>
                  <a:cubicBezTo>
                    <a:pt x="14"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 name="Freeform 1388">
              <a:extLst>
                <a:ext uri="{FF2B5EF4-FFF2-40B4-BE49-F238E27FC236}">
                  <a16:creationId xmlns:a16="http://schemas.microsoft.com/office/drawing/2014/main" id="{5C8A56B4-52CF-4E7C-9C4F-0A14C98AE8F2}"/>
                </a:ext>
              </a:extLst>
            </p:cNvPr>
            <p:cNvSpPr>
              <a:spLocks/>
            </p:cNvSpPr>
            <p:nvPr/>
          </p:nvSpPr>
          <p:spPr bwMode="auto">
            <a:xfrm>
              <a:off x="6084807" y="5541167"/>
              <a:ext cx="34901" cy="22820"/>
            </a:xfrm>
            <a:custGeom>
              <a:avLst/>
              <a:gdLst>
                <a:gd name="T0" fmla="*/ 0 w 11"/>
                <a:gd name="T1" fmla="*/ 0 h 7"/>
                <a:gd name="T2" fmla="*/ 11 w 11"/>
                <a:gd name="T3" fmla="*/ 7 h 7"/>
                <a:gd name="T4" fmla="*/ 0 w 11"/>
                <a:gd name="T5" fmla="*/ 0 h 7"/>
              </a:gdLst>
              <a:ahLst/>
              <a:cxnLst>
                <a:cxn ang="0">
                  <a:pos x="T0" y="T1"/>
                </a:cxn>
                <a:cxn ang="0">
                  <a:pos x="T2" y="T3"/>
                </a:cxn>
                <a:cxn ang="0">
                  <a:pos x="T4" y="T5"/>
                </a:cxn>
              </a:cxnLst>
              <a:rect l="0" t="0" r="r" b="b"/>
              <a:pathLst>
                <a:path w="11" h="7">
                  <a:moveTo>
                    <a:pt x="0" y="0"/>
                  </a:moveTo>
                  <a:cubicBezTo>
                    <a:pt x="3" y="2"/>
                    <a:pt x="7" y="5"/>
                    <a:pt x="11" y="7"/>
                  </a:cubicBezTo>
                  <a:cubicBezTo>
                    <a:pt x="10" y="2"/>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 name="Freeform 1389">
              <a:extLst>
                <a:ext uri="{FF2B5EF4-FFF2-40B4-BE49-F238E27FC236}">
                  <a16:creationId xmlns:a16="http://schemas.microsoft.com/office/drawing/2014/main" id="{96849FF8-7AD2-41EE-B7F1-3303A3C8F546}"/>
                </a:ext>
              </a:extLst>
            </p:cNvPr>
            <p:cNvSpPr>
              <a:spLocks noEditPoints="1"/>
            </p:cNvSpPr>
            <p:nvPr/>
          </p:nvSpPr>
          <p:spPr bwMode="auto">
            <a:xfrm>
              <a:off x="6663354" y="5541167"/>
              <a:ext cx="14766" cy="28189"/>
            </a:xfrm>
            <a:custGeom>
              <a:avLst/>
              <a:gdLst>
                <a:gd name="T0" fmla="*/ 5 w 5"/>
                <a:gd name="T1" fmla="*/ 8 h 9"/>
                <a:gd name="T2" fmla="*/ 5 w 5"/>
                <a:gd name="T3" fmla="*/ 9 h 9"/>
                <a:gd name="T4" fmla="*/ 5 w 5"/>
                <a:gd name="T5" fmla="*/ 8 h 9"/>
                <a:gd name="T6" fmla="*/ 5 w 5"/>
                <a:gd name="T7" fmla="*/ 0 h 9"/>
                <a:gd name="T8" fmla="*/ 5 w 5"/>
                <a:gd name="T9" fmla="*/ 8 h 9"/>
                <a:gd name="T10" fmla="*/ 5 w 5"/>
                <a:gd name="T11" fmla="*/ 3 h 9"/>
                <a:gd name="T12" fmla="*/ 5 w 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5" y="8"/>
                  </a:moveTo>
                  <a:cubicBezTo>
                    <a:pt x="5" y="9"/>
                    <a:pt x="5" y="9"/>
                    <a:pt x="5" y="9"/>
                  </a:cubicBezTo>
                  <a:cubicBezTo>
                    <a:pt x="5" y="9"/>
                    <a:pt x="5" y="9"/>
                    <a:pt x="5" y="8"/>
                  </a:cubicBezTo>
                  <a:moveTo>
                    <a:pt x="5" y="0"/>
                  </a:moveTo>
                  <a:cubicBezTo>
                    <a:pt x="0" y="1"/>
                    <a:pt x="3" y="5"/>
                    <a:pt x="5" y="8"/>
                  </a:cubicBezTo>
                  <a:cubicBezTo>
                    <a:pt x="4" y="6"/>
                    <a:pt x="5" y="5"/>
                    <a:pt x="5" y="3"/>
                  </a:cubicBezTo>
                  <a:cubicBezTo>
                    <a:pt x="5" y="2"/>
                    <a:pt x="4"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 name="Freeform 1390">
              <a:extLst>
                <a:ext uri="{FF2B5EF4-FFF2-40B4-BE49-F238E27FC236}">
                  <a16:creationId xmlns:a16="http://schemas.microsoft.com/office/drawing/2014/main" id="{325D1435-25DA-4171-9442-ED50B43F7C1B}"/>
                </a:ext>
              </a:extLst>
            </p:cNvPr>
            <p:cNvSpPr>
              <a:spLocks/>
            </p:cNvSpPr>
            <p:nvPr/>
          </p:nvSpPr>
          <p:spPr bwMode="auto">
            <a:xfrm>
              <a:off x="6782822" y="5706275"/>
              <a:ext cx="25504" cy="6712"/>
            </a:xfrm>
            <a:custGeom>
              <a:avLst/>
              <a:gdLst>
                <a:gd name="T0" fmla="*/ 0 w 8"/>
                <a:gd name="T1" fmla="*/ 0 h 2"/>
                <a:gd name="T2" fmla="*/ 5 w 8"/>
                <a:gd name="T3" fmla="*/ 2 h 2"/>
                <a:gd name="T4" fmla="*/ 8 w 8"/>
                <a:gd name="T5" fmla="*/ 1 h 2"/>
                <a:gd name="T6" fmla="*/ 0 w 8"/>
                <a:gd name="T7" fmla="*/ 0 h 2"/>
              </a:gdLst>
              <a:ahLst/>
              <a:cxnLst>
                <a:cxn ang="0">
                  <a:pos x="T0" y="T1"/>
                </a:cxn>
                <a:cxn ang="0">
                  <a:pos x="T2" y="T3"/>
                </a:cxn>
                <a:cxn ang="0">
                  <a:pos x="T4" y="T5"/>
                </a:cxn>
                <a:cxn ang="0">
                  <a:pos x="T6" y="T7"/>
                </a:cxn>
              </a:cxnLst>
              <a:rect l="0" t="0" r="r" b="b"/>
              <a:pathLst>
                <a:path w="8" h="2">
                  <a:moveTo>
                    <a:pt x="0" y="0"/>
                  </a:moveTo>
                  <a:cubicBezTo>
                    <a:pt x="2" y="1"/>
                    <a:pt x="3" y="1"/>
                    <a:pt x="5" y="2"/>
                  </a:cubicBezTo>
                  <a:cubicBezTo>
                    <a:pt x="6" y="2"/>
                    <a:pt x="7" y="2"/>
                    <a:pt x="8" y="1"/>
                  </a:cubicBezTo>
                  <a:cubicBezTo>
                    <a:pt x="6" y="0"/>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 name="Freeform 1391">
              <a:extLst>
                <a:ext uri="{FF2B5EF4-FFF2-40B4-BE49-F238E27FC236}">
                  <a16:creationId xmlns:a16="http://schemas.microsoft.com/office/drawing/2014/main" id="{9D73D481-D98D-4DE3-BD0A-13FF1E3464A7}"/>
                </a:ext>
              </a:extLst>
            </p:cNvPr>
            <p:cNvSpPr>
              <a:spLocks/>
            </p:cNvSpPr>
            <p:nvPr/>
          </p:nvSpPr>
          <p:spPr bwMode="auto">
            <a:xfrm>
              <a:off x="6598922" y="5598888"/>
              <a:ext cx="25504" cy="25504"/>
            </a:xfrm>
            <a:custGeom>
              <a:avLst/>
              <a:gdLst>
                <a:gd name="T0" fmla="*/ 3 w 8"/>
                <a:gd name="T1" fmla="*/ 0 h 8"/>
                <a:gd name="T2" fmla="*/ 1 w 8"/>
                <a:gd name="T3" fmla="*/ 2 h 8"/>
                <a:gd name="T4" fmla="*/ 6 w 8"/>
                <a:gd name="T5" fmla="*/ 8 h 8"/>
                <a:gd name="T6" fmla="*/ 5 w 8"/>
                <a:gd name="T7" fmla="*/ 1 h 8"/>
                <a:gd name="T8" fmla="*/ 3 w 8"/>
                <a:gd name="T9" fmla="*/ 0 h 8"/>
              </a:gdLst>
              <a:ahLst/>
              <a:cxnLst>
                <a:cxn ang="0">
                  <a:pos x="T0" y="T1"/>
                </a:cxn>
                <a:cxn ang="0">
                  <a:pos x="T2" y="T3"/>
                </a:cxn>
                <a:cxn ang="0">
                  <a:pos x="T4" y="T5"/>
                </a:cxn>
                <a:cxn ang="0">
                  <a:pos x="T6" y="T7"/>
                </a:cxn>
                <a:cxn ang="0">
                  <a:pos x="T8" y="T9"/>
                </a:cxn>
              </a:cxnLst>
              <a:rect l="0" t="0" r="r" b="b"/>
              <a:pathLst>
                <a:path w="8" h="8">
                  <a:moveTo>
                    <a:pt x="3" y="0"/>
                  </a:moveTo>
                  <a:cubicBezTo>
                    <a:pt x="3" y="0"/>
                    <a:pt x="2" y="1"/>
                    <a:pt x="1" y="2"/>
                  </a:cubicBezTo>
                  <a:cubicBezTo>
                    <a:pt x="0" y="5"/>
                    <a:pt x="4" y="6"/>
                    <a:pt x="6" y="8"/>
                  </a:cubicBezTo>
                  <a:cubicBezTo>
                    <a:pt x="7" y="5"/>
                    <a:pt x="8" y="3"/>
                    <a:pt x="5"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 name="Freeform 1392">
              <a:extLst>
                <a:ext uri="{FF2B5EF4-FFF2-40B4-BE49-F238E27FC236}">
                  <a16:creationId xmlns:a16="http://schemas.microsoft.com/office/drawing/2014/main" id="{DC22D210-14B5-4BD9-B34B-7044FD8F714F}"/>
                </a:ext>
              </a:extLst>
            </p:cNvPr>
            <p:cNvSpPr>
              <a:spLocks/>
            </p:cNvSpPr>
            <p:nvPr/>
          </p:nvSpPr>
          <p:spPr bwMode="auto">
            <a:xfrm>
              <a:off x="6833830" y="5759968"/>
              <a:ext cx="41612" cy="22820"/>
            </a:xfrm>
            <a:custGeom>
              <a:avLst/>
              <a:gdLst>
                <a:gd name="T0" fmla="*/ 0 w 13"/>
                <a:gd name="T1" fmla="*/ 0 h 7"/>
                <a:gd name="T2" fmla="*/ 8 w 13"/>
                <a:gd name="T3" fmla="*/ 7 h 7"/>
                <a:gd name="T4" fmla="*/ 13 w 13"/>
                <a:gd name="T5" fmla="*/ 6 h 7"/>
                <a:gd name="T6" fmla="*/ 0 w 13"/>
                <a:gd name="T7" fmla="*/ 0 h 7"/>
              </a:gdLst>
              <a:ahLst/>
              <a:cxnLst>
                <a:cxn ang="0">
                  <a:pos x="T0" y="T1"/>
                </a:cxn>
                <a:cxn ang="0">
                  <a:pos x="T2" y="T3"/>
                </a:cxn>
                <a:cxn ang="0">
                  <a:pos x="T4" y="T5"/>
                </a:cxn>
                <a:cxn ang="0">
                  <a:pos x="T6" y="T7"/>
                </a:cxn>
              </a:cxnLst>
              <a:rect l="0" t="0" r="r" b="b"/>
              <a:pathLst>
                <a:path w="13" h="7">
                  <a:moveTo>
                    <a:pt x="0" y="0"/>
                  </a:moveTo>
                  <a:cubicBezTo>
                    <a:pt x="3" y="2"/>
                    <a:pt x="5" y="5"/>
                    <a:pt x="8" y="7"/>
                  </a:cubicBezTo>
                  <a:cubicBezTo>
                    <a:pt x="10" y="7"/>
                    <a:pt x="11" y="7"/>
                    <a:pt x="13" y="6"/>
                  </a:cubicBezTo>
                  <a:cubicBezTo>
                    <a:pt x="10"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 name="Freeform 1393">
              <a:extLst>
                <a:ext uri="{FF2B5EF4-FFF2-40B4-BE49-F238E27FC236}">
                  <a16:creationId xmlns:a16="http://schemas.microsoft.com/office/drawing/2014/main" id="{B1C3B448-C493-42EC-862D-908D63BF48B8}"/>
                </a:ext>
              </a:extLst>
            </p:cNvPr>
            <p:cNvSpPr>
              <a:spLocks/>
            </p:cNvSpPr>
            <p:nvPr/>
          </p:nvSpPr>
          <p:spPr bwMode="auto">
            <a:xfrm>
              <a:off x="6649930" y="5103566"/>
              <a:ext cx="181215" cy="167792"/>
            </a:xfrm>
            <a:custGeom>
              <a:avLst/>
              <a:gdLst>
                <a:gd name="T0" fmla="*/ 1 w 57"/>
                <a:gd name="T1" fmla="*/ 0 h 53"/>
                <a:gd name="T2" fmla="*/ 0 w 57"/>
                <a:gd name="T3" fmla="*/ 4 h 53"/>
                <a:gd name="T4" fmla="*/ 1 w 57"/>
                <a:gd name="T5" fmla="*/ 4 h 53"/>
                <a:gd name="T6" fmla="*/ 2 w 57"/>
                <a:gd name="T7" fmla="*/ 5 h 53"/>
                <a:gd name="T8" fmla="*/ 3 w 57"/>
                <a:gd name="T9" fmla="*/ 5 h 53"/>
                <a:gd name="T10" fmla="*/ 4 w 57"/>
                <a:gd name="T11" fmla="*/ 4 h 53"/>
                <a:gd name="T12" fmla="*/ 5 w 57"/>
                <a:gd name="T13" fmla="*/ 5 h 53"/>
                <a:gd name="T14" fmla="*/ 27 w 57"/>
                <a:gd name="T15" fmla="*/ 18 h 53"/>
                <a:gd name="T16" fmla="*/ 43 w 57"/>
                <a:gd name="T17" fmla="*/ 33 h 53"/>
                <a:gd name="T18" fmla="*/ 46 w 57"/>
                <a:gd name="T19" fmla="*/ 39 h 53"/>
                <a:gd name="T20" fmla="*/ 46 w 57"/>
                <a:gd name="T21" fmla="*/ 42 h 53"/>
                <a:gd name="T22" fmla="*/ 51 w 57"/>
                <a:gd name="T23" fmla="*/ 53 h 53"/>
                <a:gd name="T24" fmla="*/ 56 w 57"/>
                <a:gd name="T25" fmla="*/ 39 h 53"/>
                <a:gd name="T26" fmla="*/ 54 w 57"/>
                <a:gd name="T27" fmla="*/ 37 h 53"/>
                <a:gd name="T28" fmla="*/ 49 w 57"/>
                <a:gd name="T29" fmla="*/ 30 h 53"/>
                <a:gd name="T30" fmla="*/ 49 w 57"/>
                <a:gd name="T31" fmla="*/ 30 h 53"/>
                <a:gd name="T32" fmla="*/ 48 w 57"/>
                <a:gd name="T33" fmla="*/ 30 h 53"/>
                <a:gd name="T34" fmla="*/ 47 w 57"/>
                <a:gd name="T35" fmla="*/ 31 h 53"/>
                <a:gd name="T36" fmla="*/ 46 w 57"/>
                <a:gd name="T37" fmla="*/ 30 h 53"/>
                <a:gd name="T38" fmla="*/ 40 w 57"/>
                <a:gd name="T39" fmla="*/ 24 h 53"/>
                <a:gd name="T40" fmla="*/ 33 w 57"/>
                <a:gd name="T41" fmla="*/ 18 h 53"/>
                <a:gd name="T42" fmla="*/ 24 w 57"/>
                <a:gd name="T43" fmla="*/ 13 h 53"/>
                <a:gd name="T44" fmla="*/ 16 w 57"/>
                <a:gd name="T45" fmla="*/ 7 h 53"/>
                <a:gd name="T46" fmla="*/ 12 w 57"/>
                <a:gd name="T47" fmla="*/ 6 h 53"/>
                <a:gd name="T48" fmla="*/ 1 w 57"/>
                <a:gd name="T4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 h="53">
                  <a:moveTo>
                    <a:pt x="1" y="0"/>
                  </a:moveTo>
                  <a:cubicBezTo>
                    <a:pt x="4" y="3"/>
                    <a:pt x="3" y="2"/>
                    <a:pt x="0" y="4"/>
                  </a:cubicBezTo>
                  <a:cubicBezTo>
                    <a:pt x="1" y="4"/>
                    <a:pt x="1" y="4"/>
                    <a:pt x="1" y="4"/>
                  </a:cubicBezTo>
                  <a:cubicBezTo>
                    <a:pt x="2" y="5"/>
                    <a:pt x="2" y="5"/>
                    <a:pt x="2" y="5"/>
                  </a:cubicBezTo>
                  <a:cubicBezTo>
                    <a:pt x="2" y="5"/>
                    <a:pt x="3" y="5"/>
                    <a:pt x="3" y="5"/>
                  </a:cubicBezTo>
                  <a:cubicBezTo>
                    <a:pt x="3" y="4"/>
                    <a:pt x="3" y="4"/>
                    <a:pt x="4" y="4"/>
                  </a:cubicBezTo>
                  <a:cubicBezTo>
                    <a:pt x="4" y="4"/>
                    <a:pt x="4" y="4"/>
                    <a:pt x="5" y="5"/>
                  </a:cubicBezTo>
                  <a:cubicBezTo>
                    <a:pt x="12" y="9"/>
                    <a:pt x="19" y="14"/>
                    <a:pt x="27" y="18"/>
                  </a:cubicBezTo>
                  <a:cubicBezTo>
                    <a:pt x="33" y="22"/>
                    <a:pt x="39" y="25"/>
                    <a:pt x="43" y="33"/>
                  </a:cubicBezTo>
                  <a:cubicBezTo>
                    <a:pt x="44" y="35"/>
                    <a:pt x="45" y="37"/>
                    <a:pt x="46" y="39"/>
                  </a:cubicBezTo>
                  <a:cubicBezTo>
                    <a:pt x="46" y="40"/>
                    <a:pt x="46" y="41"/>
                    <a:pt x="46" y="42"/>
                  </a:cubicBezTo>
                  <a:cubicBezTo>
                    <a:pt x="46" y="46"/>
                    <a:pt x="49" y="49"/>
                    <a:pt x="51" y="53"/>
                  </a:cubicBezTo>
                  <a:cubicBezTo>
                    <a:pt x="52" y="50"/>
                    <a:pt x="57" y="43"/>
                    <a:pt x="56" y="39"/>
                  </a:cubicBezTo>
                  <a:cubicBezTo>
                    <a:pt x="56" y="39"/>
                    <a:pt x="55" y="38"/>
                    <a:pt x="54" y="37"/>
                  </a:cubicBezTo>
                  <a:cubicBezTo>
                    <a:pt x="53" y="35"/>
                    <a:pt x="51" y="31"/>
                    <a:pt x="49" y="30"/>
                  </a:cubicBezTo>
                  <a:cubicBezTo>
                    <a:pt x="49" y="30"/>
                    <a:pt x="49" y="30"/>
                    <a:pt x="49" y="30"/>
                  </a:cubicBezTo>
                  <a:cubicBezTo>
                    <a:pt x="48" y="30"/>
                    <a:pt x="48" y="30"/>
                    <a:pt x="48" y="30"/>
                  </a:cubicBezTo>
                  <a:cubicBezTo>
                    <a:pt x="48" y="30"/>
                    <a:pt x="47" y="31"/>
                    <a:pt x="47" y="31"/>
                  </a:cubicBezTo>
                  <a:cubicBezTo>
                    <a:pt x="47" y="31"/>
                    <a:pt x="46" y="31"/>
                    <a:pt x="46" y="30"/>
                  </a:cubicBezTo>
                  <a:cubicBezTo>
                    <a:pt x="44" y="30"/>
                    <a:pt x="41" y="26"/>
                    <a:pt x="40" y="24"/>
                  </a:cubicBezTo>
                  <a:cubicBezTo>
                    <a:pt x="37" y="22"/>
                    <a:pt x="35" y="20"/>
                    <a:pt x="33" y="18"/>
                  </a:cubicBezTo>
                  <a:cubicBezTo>
                    <a:pt x="30" y="15"/>
                    <a:pt x="27" y="15"/>
                    <a:pt x="24" y="13"/>
                  </a:cubicBezTo>
                  <a:cubicBezTo>
                    <a:pt x="21" y="11"/>
                    <a:pt x="18" y="9"/>
                    <a:pt x="16" y="7"/>
                  </a:cubicBezTo>
                  <a:cubicBezTo>
                    <a:pt x="15" y="7"/>
                    <a:pt x="13" y="7"/>
                    <a:pt x="12" y="6"/>
                  </a:cubicBezTo>
                  <a:cubicBezTo>
                    <a:pt x="8" y="4"/>
                    <a:pt x="5"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7" name="Freeform 1394">
              <a:extLst>
                <a:ext uri="{FF2B5EF4-FFF2-40B4-BE49-F238E27FC236}">
                  <a16:creationId xmlns:a16="http://schemas.microsoft.com/office/drawing/2014/main" id="{57814E76-5321-46E3-AFB6-68B6D7DC95D7}"/>
                </a:ext>
              </a:extLst>
            </p:cNvPr>
            <p:cNvSpPr>
              <a:spLocks/>
            </p:cNvSpPr>
            <p:nvPr/>
          </p:nvSpPr>
          <p:spPr bwMode="auto">
            <a:xfrm>
              <a:off x="6896920" y="5757284"/>
              <a:ext cx="16108" cy="9396"/>
            </a:xfrm>
            <a:custGeom>
              <a:avLst/>
              <a:gdLst>
                <a:gd name="T0" fmla="*/ 2 w 5"/>
                <a:gd name="T1" fmla="*/ 0 h 3"/>
                <a:gd name="T2" fmla="*/ 1 w 5"/>
                <a:gd name="T3" fmla="*/ 3 h 3"/>
                <a:gd name="T4" fmla="*/ 5 w 5"/>
                <a:gd name="T5" fmla="*/ 2 h 3"/>
                <a:gd name="T6" fmla="*/ 2 w 5"/>
                <a:gd name="T7" fmla="*/ 0 h 3"/>
              </a:gdLst>
              <a:ahLst/>
              <a:cxnLst>
                <a:cxn ang="0">
                  <a:pos x="T0" y="T1"/>
                </a:cxn>
                <a:cxn ang="0">
                  <a:pos x="T2" y="T3"/>
                </a:cxn>
                <a:cxn ang="0">
                  <a:pos x="T4" y="T5"/>
                </a:cxn>
                <a:cxn ang="0">
                  <a:pos x="T6" y="T7"/>
                </a:cxn>
              </a:cxnLst>
              <a:rect l="0" t="0" r="r" b="b"/>
              <a:pathLst>
                <a:path w="5" h="3">
                  <a:moveTo>
                    <a:pt x="2" y="0"/>
                  </a:moveTo>
                  <a:cubicBezTo>
                    <a:pt x="1" y="0"/>
                    <a:pt x="0" y="1"/>
                    <a:pt x="1" y="3"/>
                  </a:cubicBezTo>
                  <a:cubicBezTo>
                    <a:pt x="2" y="3"/>
                    <a:pt x="5" y="3"/>
                    <a:pt x="5" y="2"/>
                  </a:cubicBezTo>
                  <a:cubicBezTo>
                    <a:pt x="5"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8" name="Freeform 1395">
              <a:extLst>
                <a:ext uri="{FF2B5EF4-FFF2-40B4-BE49-F238E27FC236}">
                  <a16:creationId xmlns:a16="http://schemas.microsoft.com/office/drawing/2014/main" id="{5F4D7DA2-0EC3-4351-B46D-A5894D53F2B8}"/>
                </a:ext>
              </a:extLst>
            </p:cNvPr>
            <p:cNvSpPr>
              <a:spLocks/>
            </p:cNvSpPr>
            <p:nvPr/>
          </p:nvSpPr>
          <p:spPr bwMode="auto">
            <a:xfrm>
              <a:off x="6624426" y="5610969"/>
              <a:ext cx="41612" cy="25504"/>
            </a:xfrm>
            <a:custGeom>
              <a:avLst/>
              <a:gdLst>
                <a:gd name="T0" fmla="*/ 2 w 13"/>
                <a:gd name="T1" fmla="*/ 0 h 8"/>
                <a:gd name="T2" fmla="*/ 2 w 13"/>
                <a:gd name="T3" fmla="*/ 5 h 8"/>
                <a:gd name="T4" fmla="*/ 0 w 13"/>
                <a:gd name="T5" fmla="*/ 6 h 8"/>
                <a:gd name="T6" fmla="*/ 10 w 13"/>
                <a:gd name="T7" fmla="*/ 8 h 8"/>
                <a:gd name="T8" fmla="*/ 11 w 13"/>
                <a:gd name="T9" fmla="*/ 5 h 8"/>
                <a:gd name="T10" fmla="*/ 9 w 13"/>
                <a:gd name="T11" fmla="*/ 2 h 8"/>
                <a:gd name="T12" fmla="*/ 8 w 13"/>
                <a:gd name="T13" fmla="*/ 1 h 8"/>
                <a:gd name="T14" fmla="*/ 7 w 13"/>
                <a:gd name="T15" fmla="*/ 1 h 8"/>
                <a:gd name="T16" fmla="*/ 6 w 13"/>
                <a:gd name="T17" fmla="*/ 2 h 8"/>
                <a:gd name="T18" fmla="*/ 6 w 13"/>
                <a:gd name="T19" fmla="*/ 2 h 8"/>
                <a:gd name="T20" fmla="*/ 4 w 13"/>
                <a:gd name="T21" fmla="*/ 0 h 8"/>
                <a:gd name="T22" fmla="*/ 2 w 13"/>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8">
                  <a:moveTo>
                    <a:pt x="2" y="0"/>
                  </a:moveTo>
                  <a:cubicBezTo>
                    <a:pt x="0" y="0"/>
                    <a:pt x="2" y="1"/>
                    <a:pt x="2" y="5"/>
                  </a:cubicBezTo>
                  <a:cubicBezTo>
                    <a:pt x="2" y="5"/>
                    <a:pt x="0" y="6"/>
                    <a:pt x="0" y="6"/>
                  </a:cubicBezTo>
                  <a:cubicBezTo>
                    <a:pt x="1" y="8"/>
                    <a:pt x="8" y="8"/>
                    <a:pt x="10" y="8"/>
                  </a:cubicBezTo>
                  <a:cubicBezTo>
                    <a:pt x="13" y="7"/>
                    <a:pt x="12" y="6"/>
                    <a:pt x="11" y="5"/>
                  </a:cubicBezTo>
                  <a:cubicBezTo>
                    <a:pt x="11" y="4"/>
                    <a:pt x="10" y="2"/>
                    <a:pt x="9" y="2"/>
                  </a:cubicBezTo>
                  <a:cubicBezTo>
                    <a:pt x="9" y="1"/>
                    <a:pt x="8" y="1"/>
                    <a:pt x="8" y="1"/>
                  </a:cubicBezTo>
                  <a:cubicBezTo>
                    <a:pt x="8" y="1"/>
                    <a:pt x="8" y="1"/>
                    <a:pt x="7" y="1"/>
                  </a:cubicBezTo>
                  <a:cubicBezTo>
                    <a:pt x="7" y="2"/>
                    <a:pt x="7" y="2"/>
                    <a:pt x="6" y="2"/>
                  </a:cubicBezTo>
                  <a:cubicBezTo>
                    <a:pt x="6" y="2"/>
                    <a:pt x="6" y="2"/>
                    <a:pt x="6" y="2"/>
                  </a:cubicBezTo>
                  <a:cubicBezTo>
                    <a:pt x="5" y="1"/>
                    <a:pt x="5" y="0"/>
                    <a:pt x="4"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9" name="Freeform 1396">
              <a:extLst>
                <a:ext uri="{FF2B5EF4-FFF2-40B4-BE49-F238E27FC236}">
                  <a16:creationId xmlns:a16="http://schemas.microsoft.com/office/drawing/2014/main" id="{1A3A106A-E890-4756-A45A-3315421E8D63}"/>
                </a:ext>
              </a:extLst>
            </p:cNvPr>
            <p:cNvSpPr>
              <a:spLocks/>
            </p:cNvSpPr>
            <p:nvPr/>
          </p:nvSpPr>
          <p:spPr bwMode="auto">
            <a:xfrm>
              <a:off x="6466030" y="5220349"/>
              <a:ext cx="311422" cy="162423"/>
            </a:xfrm>
            <a:custGeom>
              <a:avLst/>
              <a:gdLst>
                <a:gd name="T0" fmla="*/ 90 w 98"/>
                <a:gd name="T1" fmla="*/ 1 h 51"/>
                <a:gd name="T2" fmla="*/ 89 w 98"/>
                <a:gd name="T3" fmla="*/ 1 h 51"/>
                <a:gd name="T4" fmla="*/ 88 w 98"/>
                <a:gd name="T5" fmla="*/ 1 h 51"/>
                <a:gd name="T6" fmla="*/ 88 w 98"/>
                <a:gd name="T7" fmla="*/ 1 h 51"/>
                <a:gd name="T8" fmla="*/ 77 w 98"/>
                <a:gd name="T9" fmla="*/ 1 h 51"/>
                <a:gd name="T10" fmla="*/ 75 w 98"/>
                <a:gd name="T11" fmla="*/ 18 h 51"/>
                <a:gd name="T12" fmla="*/ 59 w 98"/>
                <a:gd name="T13" fmla="*/ 30 h 51"/>
                <a:gd name="T14" fmla="*/ 55 w 98"/>
                <a:gd name="T15" fmla="*/ 33 h 51"/>
                <a:gd name="T16" fmla="*/ 52 w 98"/>
                <a:gd name="T17" fmla="*/ 30 h 51"/>
                <a:gd name="T18" fmla="*/ 46 w 98"/>
                <a:gd name="T19" fmla="*/ 33 h 51"/>
                <a:gd name="T20" fmla="*/ 43 w 98"/>
                <a:gd name="T21" fmla="*/ 30 h 51"/>
                <a:gd name="T22" fmla="*/ 43 w 98"/>
                <a:gd name="T23" fmla="*/ 20 h 51"/>
                <a:gd name="T24" fmla="*/ 39 w 98"/>
                <a:gd name="T25" fmla="*/ 26 h 51"/>
                <a:gd name="T26" fmla="*/ 40 w 98"/>
                <a:gd name="T27" fmla="*/ 30 h 51"/>
                <a:gd name="T28" fmla="*/ 33 w 98"/>
                <a:gd name="T29" fmla="*/ 33 h 51"/>
                <a:gd name="T30" fmla="*/ 32 w 98"/>
                <a:gd name="T31" fmla="*/ 32 h 51"/>
                <a:gd name="T32" fmla="*/ 24 w 98"/>
                <a:gd name="T33" fmla="*/ 34 h 51"/>
                <a:gd name="T34" fmla="*/ 19 w 98"/>
                <a:gd name="T35" fmla="*/ 32 h 51"/>
                <a:gd name="T36" fmla="*/ 13 w 98"/>
                <a:gd name="T37" fmla="*/ 32 h 51"/>
                <a:gd name="T38" fmla="*/ 10 w 98"/>
                <a:gd name="T39" fmla="*/ 31 h 51"/>
                <a:gd name="T40" fmla="*/ 9 w 98"/>
                <a:gd name="T41" fmla="*/ 32 h 51"/>
                <a:gd name="T42" fmla="*/ 8 w 98"/>
                <a:gd name="T43" fmla="*/ 32 h 51"/>
                <a:gd name="T44" fmla="*/ 3 w 98"/>
                <a:gd name="T45" fmla="*/ 31 h 51"/>
                <a:gd name="T46" fmla="*/ 2 w 98"/>
                <a:gd name="T47" fmla="*/ 38 h 51"/>
                <a:gd name="T48" fmla="*/ 18 w 98"/>
                <a:gd name="T49" fmla="*/ 45 h 51"/>
                <a:gd name="T50" fmla="*/ 24 w 98"/>
                <a:gd name="T51" fmla="*/ 46 h 51"/>
                <a:gd name="T52" fmla="*/ 30 w 98"/>
                <a:gd name="T53" fmla="*/ 49 h 51"/>
                <a:gd name="T54" fmla="*/ 44 w 98"/>
                <a:gd name="T55" fmla="*/ 50 h 51"/>
                <a:gd name="T56" fmla="*/ 65 w 98"/>
                <a:gd name="T57" fmla="*/ 44 h 51"/>
                <a:gd name="T58" fmla="*/ 73 w 98"/>
                <a:gd name="T59" fmla="*/ 39 h 51"/>
                <a:gd name="T60" fmla="*/ 80 w 98"/>
                <a:gd name="T61" fmla="*/ 33 h 51"/>
                <a:gd name="T62" fmla="*/ 84 w 98"/>
                <a:gd name="T63" fmla="*/ 33 h 51"/>
                <a:gd name="T64" fmla="*/ 90 w 98"/>
                <a:gd name="T65" fmla="*/ 30 h 51"/>
                <a:gd name="T66" fmla="*/ 88 w 98"/>
                <a:gd name="T67" fmla="*/ 19 h 51"/>
                <a:gd name="T68" fmla="*/ 91 w 98"/>
                <a:gd name="T69" fmla="*/ 20 h 51"/>
                <a:gd name="T70" fmla="*/ 96 w 98"/>
                <a:gd name="T71" fmla="*/ 16 h 51"/>
                <a:gd name="T72" fmla="*/ 92 w 98"/>
                <a:gd name="T73"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51">
                  <a:moveTo>
                    <a:pt x="92" y="0"/>
                  </a:moveTo>
                  <a:cubicBezTo>
                    <a:pt x="92" y="0"/>
                    <a:pt x="91" y="0"/>
                    <a:pt x="90" y="1"/>
                  </a:cubicBezTo>
                  <a:cubicBezTo>
                    <a:pt x="90" y="1"/>
                    <a:pt x="89" y="1"/>
                    <a:pt x="89" y="1"/>
                  </a:cubicBezTo>
                  <a:cubicBezTo>
                    <a:pt x="89" y="1"/>
                    <a:pt x="89" y="1"/>
                    <a:pt x="89" y="1"/>
                  </a:cubicBezTo>
                  <a:cubicBezTo>
                    <a:pt x="89" y="1"/>
                    <a:pt x="89" y="1"/>
                    <a:pt x="89" y="1"/>
                  </a:cubicBezTo>
                  <a:cubicBezTo>
                    <a:pt x="89" y="1"/>
                    <a:pt x="89" y="1"/>
                    <a:pt x="88" y="1"/>
                  </a:cubicBezTo>
                  <a:cubicBezTo>
                    <a:pt x="88" y="1"/>
                    <a:pt x="88" y="1"/>
                    <a:pt x="88" y="1"/>
                  </a:cubicBezTo>
                  <a:cubicBezTo>
                    <a:pt x="88" y="1"/>
                    <a:pt x="88" y="1"/>
                    <a:pt x="88" y="1"/>
                  </a:cubicBezTo>
                  <a:cubicBezTo>
                    <a:pt x="87" y="1"/>
                    <a:pt x="86" y="2"/>
                    <a:pt x="84" y="3"/>
                  </a:cubicBezTo>
                  <a:cubicBezTo>
                    <a:pt x="84" y="0"/>
                    <a:pt x="79" y="1"/>
                    <a:pt x="77" y="1"/>
                  </a:cubicBezTo>
                  <a:cubicBezTo>
                    <a:pt x="77" y="7"/>
                    <a:pt x="78" y="13"/>
                    <a:pt x="79" y="19"/>
                  </a:cubicBezTo>
                  <a:cubicBezTo>
                    <a:pt x="78" y="18"/>
                    <a:pt x="77" y="18"/>
                    <a:pt x="75" y="18"/>
                  </a:cubicBezTo>
                  <a:cubicBezTo>
                    <a:pt x="69" y="18"/>
                    <a:pt x="65" y="26"/>
                    <a:pt x="61" y="31"/>
                  </a:cubicBezTo>
                  <a:cubicBezTo>
                    <a:pt x="60" y="31"/>
                    <a:pt x="60" y="30"/>
                    <a:pt x="59" y="30"/>
                  </a:cubicBezTo>
                  <a:cubicBezTo>
                    <a:pt x="59" y="30"/>
                    <a:pt x="58" y="31"/>
                    <a:pt x="57" y="32"/>
                  </a:cubicBezTo>
                  <a:cubicBezTo>
                    <a:pt x="57" y="32"/>
                    <a:pt x="56" y="33"/>
                    <a:pt x="55" y="33"/>
                  </a:cubicBezTo>
                  <a:cubicBezTo>
                    <a:pt x="55" y="33"/>
                    <a:pt x="55" y="33"/>
                    <a:pt x="55" y="33"/>
                  </a:cubicBezTo>
                  <a:cubicBezTo>
                    <a:pt x="54" y="33"/>
                    <a:pt x="54" y="30"/>
                    <a:pt x="52" y="30"/>
                  </a:cubicBezTo>
                  <a:cubicBezTo>
                    <a:pt x="51" y="30"/>
                    <a:pt x="51" y="30"/>
                    <a:pt x="51" y="30"/>
                  </a:cubicBezTo>
                  <a:cubicBezTo>
                    <a:pt x="49" y="31"/>
                    <a:pt x="48" y="33"/>
                    <a:pt x="46" y="33"/>
                  </a:cubicBezTo>
                  <a:cubicBezTo>
                    <a:pt x="46" y="33"/>
                    <a:pt x="46" y="33"/>
                    <a:pt x="46" y="33"/>
                  </a:cubicBezTo>
                  <a:cubicBezTo>
                    <a:pt x="43" y="33"/>
                    <a:pt x="44" y="32"/>
                    <a:pt x="43" y="30"/>
                  </a:cubicBezTo>
                  <a:cubicBezTo>
                    <a:pt x="42" y="27"/>
                    <a:pt x="40" y="24"/>
                    <a:pt x="43" y="23"/>
                  </a:cubicBezTo>
                  <a:cubicBezTo>
                    <a:pt x="45" y="22"/>
                    <a:pt x="44" y="20"/>
                    <a:pt x="43" y="20"/>
                  </a:cubicBezTo>
                  <a:cubicBezTo>
                    <a:pt x="42" y="20"/>
                    <a:pt x="41" y="21"/>
                    <a:pt x="41" y="23"/>
                  </a:cubicBezTo>
                  <a:cubicBezTo>
                    <a:pt x="41" y="26"/>
                    <a:pt x="40" y="25"/>
                    <a:pt x="39" y="26"/>
                  </a:cubicBezTo>
                  <a:cubicBezTo>
                    <a:pt x="39" y="27"/>
                    <a:pt x="39" y="27"/>
                    <a:pt x="39" y="28"/>
                  </a:cubicBezTo>
                  <a:cubicBezTo>
                    <a:pt x="38" y="29"/>
                    <a:pt x="40" y="29"/>
                    <a:pt x="40" y="30"/>
                  </a:cubicBezTo>
                  <a:cubicBezTo>
                    <a:pt x="39" y="32"/>
                    <a:pt x="36" y="32"/>
                    <a:pt x="35" y="32"/>
                  </a:cubicBezTo>
                  <a:cubicBezTo>
                    <a:pt x="35" y="32"/>
                    <a:pt x="34" y="33"/>
                    <a:pt x="33" y="33"/>
                  </a:cubicBezTo>
                  <a:cubicBezTo>
                    <a:pt x="33" y="33"/>
                    <a:pt x="33" y="33"/>
                    <a:pt x="33" y="32"/>
                  </a:cubicBezTo>
                  <a:cubicBezTo>
                    <a:pt x="33" y="32"/>
                    <a:pt x="33" y="32"/>
                    <a:pt x="32" y="32"/>
                  </a:cubicBezTo>
                  <a:cubicBezTo>
                    <a:pt x="32" y="32"/>
                    <a:pt x="31" y="32"/>
                    <a:pt x="30" y="32"/>
                  </a:cubicBezTo>
                  <a:cubicBezTo>
                    <a:pt x="28" y="33"/>
                    <a:pt x="26" y="34"/>
                    <a:pt x="24" y="34"/>
                  </a:cubicBezTo>
                  <a:cubicBezTo>
                    <a:pt x="24" y="34"/>
                    <a:pt x="24" y="34"/>
                    <a:pt x="24" y="34"/>
                  </a:cubicBezTo>
                  <a:cubicBezTo>
                    <a:pt x="22" y="34"/>
                    <a:pt x="21" y="33"/>
                    <a:pt x="19" y="32"/>
                  </a:cubicBezTo>
                  <a:cubicBezTo>
                    <a:pt x="18" y="32"/>
                    <a:pt x="17" y="31"/>
                    <a:pt x="17" y="31"/>
                  </a:cubicBezTo>
                  <a:cubicBezTo>
                    <a:pt x="15" y="31"/>
                    <a:pt x="15" y="32"/>
                    <a:pt x="13" y="32"/>
                  </a:cubicBezTo>
                  <a:cubicBezTo>
                    <a:pt x="13" y="32"/>
                    <a:pt x="13" y="32"/>
                    <a:pt x="13" y="32"/>
                  </a:cubicBezTo>
                  <a:cubicBezTo>
                    <a:pt x="12" y="32"/>
                    <a:pt x="11" y="31"/>
                    <a:pt x="10" y="31"/>
                  </a:cubicBezTo>
                  <a:cubicBezTo>
                    <a:pt x="10" y="31"/>
                    <a:pt x="10" y="31"/>
                    <a:pt x="10" y="31"/>
                  </a:cubicBezTo>
                  <a:cubicBezTo>
                    <a:pt x="10" y="31"/>
                    <a:pt x="9" y="32"/>
                    <a:pt x="9" y="32"/>
                  </a:cubicBezTo>
                  <a:cubicBezTo>
                    <a:pt x="8" y="32"/>
                    <a:pt x="8" y="32"/>
                    <a:pt x="8" y="32"/>
                  </a:cubicBezTo>
                  <a:cubicBezTo>
                    <a:pt x="8" y="32"/>
                    <a:pt x="8" y="32"/>
                    <a:pt x="8" y="32"/>
                  </a:cubicBezTo>
                  <a:cubicBezTo>
                    <a:pt x="6" y="32"/>
                    <a:pt x="7" y="32"/>
                    <a:pt x="5" y="31"/>
                  </a:cubicBezTo>
                  <a:cubicBezTo>
                    <a:pt x="4" y="31"/>
                    <a:pt x="4" y="31"/>
                    <a:pt x="3" y="31"/>
                  </a:cubicBezTo>
                  <a:cubicBezTo>
                    <a:pt x="3" y="31"/>
                    <a:pt x="3" y="31"/>
                    <a:pt x="2" y="31"/>
                  </a:cubicBezTo>
                  <a:cubicBezTo>
                    <a:pt x="0" y="32"/>
                    <a:pt x="1" y="36"/>
                    <a:pt x="2" y="38"/>
                  </a:cubicBezTo>
                  <a:cubicBezTo>
                    <a:pt x="5" y="40"/>
                    <a:pt x="9" y="40"/>
                    <a:pt x="11" y="41"/>
                  </a:cubicBezTo>
                  <a:cubicBezTo>
                    <a:pt x="13" y="42"/>
                    <a:pt x="15" y="43"/>
                    <a:pt x="18" y="45"/>
                  </a:cubicBezTo>
                  <a:cubicBezTo>
                    <a:pt x="18" y="45"/>
                    <a:pt x="19" y="46"/>
                    <a:pt x="18" y="47"/>
                  </a:cubicBezTo>
                  <a:cubicBezTo>
                    <a:pt x="21" y="46"/>
                    <a:pt x="22" y="46"/>
                    <a:pt x="24" y="46"/>
                  </a:cubicBezTo>
                  <a:cubicBezTo>
                    <a:pt x="25" y="46"/>
                    <a:pt x="27" y="46"/>
                    <a:pt x="29" y="47"/>
                  </a:cubicBezTo>
                  <a:cubicBezTo>
                    <a:pt x="30" y="48"/>
                    <a:pt x="30" y="49"/>
                    <a:pt x="30" y="49"/>
                  </a:cubicBezTo>
                  <a:cubicBezTo>
                    <a:pt x="32" y="51"/>
                    <a:pt x="34" y="51"/>
                    <a:pt x="37" y="51"/>
                  </a:cubicBezTo>
                  <a:cubicBezTo>
                    <a:pt x="39" y="51"/>
                    <a:pt x="42" y="51"/>
                    <a:pt x="44" y="50"/>
                  </a:cubicBezTo>
                  <a:cubicBezTo>
                    <a:pt x="50" y="49"/>
                    <a:pt x="56" y="48"/>
                    <a:pt x="61" y="46"/>
                  </a:cubicBezTo>
                  <a:cubicBezTo>
                    <a:pt x="62" y="45"/>
                    <a:pt x="64" y="45"/>
                    <a:pt x="65" y="44"/>
                  </a:cubicBezTo>
                  <a:cubicBezTo>
                    <a:pt x="65" y="44"/>
                    <a:pt x="68" y="42"/>
                    <a:pt x="69" y="42"/>
                  </a:cubicBezTo>
                  <a:cubicBezTo>
                    <a:pt x="70" y="40"/>
                    <a:pt x="71" y="40"/>
                    <a:pt x="73" y="39"/>
                  </a:cubicBezTo>
                  <a:cubicBezTo>
                    <a:pt x="75" y="37"/>
                    <a:pt x="76" y="35"/>
                    <a:pt x="78" y="33"/>
                  </a:cubicBezTo>
                  <a:cubicBezTo>
                    <a:pt x="79" y="33"/>
                    <a:pt x="80" y="33"/>
                    <a:pt x="80" y="33"/>
                  </a:cubicBezTo>
                  <a:cubicBezTo>
                    <a:pt x="81" y="33"/>
                    <a:pt x="81" y="33"/>
                    <a:pt x="82" y="33"/>
                  </a:cubicBezTo>
                  <a:cubicBezTo>
                    <a:pt x="82" y="33"/>
                    <a:pt x="83" y="33"/>
                    <a:pt x="84" y="33"/>
                  </a:cubicBezTo>
                  <a:cubicBezTo>
                    <a:pt x="84" y="33"/>
                    <a:pt x="84" y="33"/>
                    <a:pt x="84" y="33"/>
                  </a:cubicBezTo>
                  <a:cubicBezTo>
                    <a:pt x="85" y="33"/>
                    <a:pt x="89" y="31"/>
                    <a:pt x="90" y="30"/>
                  </a:cubicBezTo>
                  <a:cubicBezTo>
                    <a:pt x="93" y="26"/>
                    <a:pt x="84" y="24"/>
                    <a:pt x="87" y="20"/>
                  </a:cubicBezTo>
                  <a:cubicBezTo>
                    <a:pt x="87" y="19"/>
                    <a:pt x="87" y="19"/>
                    <a:pt x="88" y="19"/>
                  </a:cubicBezTo>
                  <a:cubicBezTo>
                    <a:pt x="88" y="19"/>
                    <a:pt x="89" y="19"/>
                    <a:pt x="89" y="20"/>
                  </a:cubicBezTo>
                  <a:cubicBezTo>
                    <a:pt x="90" y="20"/>
                    <a:pt x="91" y="20"/>
                    <a:pt x="91" y="20"/>
                  </a:cubicBezTo>
                  <a:cubicBezTo>
                    <a:pt x="91" y="20"/>
                    <a:pt x="91" y="20"/>
                    <a:pt x="91" y="20"/>
                  </a:cubicBezTo>
                  <a:cubicBezTo>
                    <a:pt x="93" y="19"/>
                    <a:pt x="95" y="18"/>
                    <a:pt x="96" y="16"/>
                  </a:cubicBezTo>
                  <a:cubicBezTo>
                    <a:pt x="98" y="12"/>
                    <a:pt x="95" y="9"/>
                    <a:pt x="97" y="4"/>
                  </a:cubicBezTo>
                  <a:cubicBezTo>
                    <a:pt x="96" y="4"/>
                    <a:pt x="89" y="4"/>
                    <a:pt x="92" y="1"/>
                  </a:cubicBezTo>
                  <a:cubicBezTo>
                    <a:pt x="93" y="0"/>
                    <a:pt x="93" y="0"/>
                    <a:pt x="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0" name="Freeform 1397">
              <a:extLst>
                <a:ext uri="{FF2B5EF4-FFF2-40B4-BE49-F238E27FC236}">
                  <a16:creationId xmlns:a16="http://schemas.microsoft.com/office/drawing/2014/main" id="{98C6E73B-60BD-41D2-8D32-51BBF2D25386}"/>
                </a:ext>
              </a:extLst>
            </p:cNvPr>
            <p:cNvSpPr>
              <a:spLocks/>
            </p:cNvSpPr>
            <p:nvPr/>
          </p:nvSpPr>
          <p:spPr bwMode="auto">
            <a:xfrm>
              <a:off x="6929136" y="5284781"/>
              <a:ext cx="16108" cy="34901"/>
            </a:xfrm>
            <a:custGeom>
              <a:avLst/>
              <a:gdLst>
                <a:gd name="T0" fmla="*/ 4 w 5"/>
                <a:gd name="T1" fmla="*/ 0 h 11"/>
                <a:gd name="T2" fmla="*/ 1 w 5"/>
                <a:gd name="T3" fmla="*/ 3 h 11"/>
                <a:gd name="T4" fmla="*/ 3 w 5"/>
                <a:gd name="T5" fmla="*/ 11 h 11"/>
                <a:gd name="T6" fmla="*/ 5 w 5"/>
                <a:gd name="T7" fmla="*/ 6 h 11"/>
                <a:gd name="T8" fmla="*/ 4 w 5"/>
                <a:gd name="T9" fmla="*/ 3 h 11"/>
                <a:gd name="T10" fmla="*/ 4 w 5"/>
                <a:gd name="T11" fmla="*/ 0 h 11"/>
                <a:gd name="T12" fmla="*/ 4 w 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4" y="0"/>
                  </a:moveTo>
                  <a:cubicBezTo>
                    <a:pt x="3" y="0"/>
                    <a:pt x="1" y="2"/>
                    <a:pt x="1" y="3"/>
                  </a:cubicBezTo>
                  <a:cubicBezTo>
                    <a:pt x="0" y="4"/>
                    <a:pt x="3" y="9"/>
                    <a:pt x="3" y="11"/>
                  </a:cubicBezTo>
                  <a:cubicBezTo>
                    <a:pt x="4" y="10"/>
                    <a:pt x="5" y="7"/>
                    <a:pt x="5" y="6"/>
                  </a:cubicBezTo>
                  <a:cubicBezTo>
                    <a:pt x="5" y="4"/>
                    <a:pt x="5" y="4"/>
                    <a:pt x="4" y="3"/>
                  </a:cubicBezTo>
                  <a:cubicBezTo>
                    <a:pt x="4" y="3"/>
                    <a:pt x="5"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1" name="Freeform 1398">
              <a:extLst>
                <a:ext uri="{FF2B5EF4-FFF2-40B4-BE49-F238E27FC236}">
                  <a16:creationId xmlns:a16="http://schemas.microsoft.com/office/drawing/2014/main" id="{798CF414-B5DB-417F-8047-D5854A5D3538}"/>
                </a:ext>
              </a:extLst>
            </p:cNvPr>
            <p:cNvSpPr>
              <a:spLocks/>
            </p:cNvSpPr>
            <p:nvPr/>
          </p:nvSpPr>
          <p:spPr bwMode="auto">
            <a:xfrm>
              <a:off x="6652615" y="5699563"/>
              <a:ext cx="10739" cy="9396"/>
            </a:xfrm>
            <a:custGeom>
              <a:avLst/>
              <a:gdLst>
                <a:gd name="T0" fmla="*/ 1 w 3"/>
                <a:gd name="T1" fmla="*/ 0 h 3"/>
                <a:gd name="T2" fmla="*/ 0 w 3"/>
                <a:gd name="T3" fmla="*/ 0 h 3"/>
                <a:gd name="T4" fmla="*/ 2 w 3"/>
                <a:gd name="T5" fmla="*/ 3 h 3"/>
                <a:gd name="T6" fmla="*/ 1 w 3"/>
                <a:gd name="T7" fmla="*/ 0 h 3"/>
              </a:gdLst>
              <a:ahLst/>
              <a:cxnLst>
                <a:cxn ang="0">
                  <a:pos x="T0" y="T1"/>
                </a:cxn>
                <a:cxn ang="0">
                  <a:pos x="T2" y="T3"/>
                </a:cxn>
                <a:cxn ang="0">
                  <a:pos x="T4" y="T5"/>
                </a:cxn>
                <a:cxn ang="0">
                  <a:pos x="T6" y="T7"/>
                </a:cxn>
              </a:cxnLst>
              <a:rect l="0" t="0" r="r" b="b"/>
              <a:pathLst>
                <a:path w="3" h="3">
                  <a:moveTo>
                    <a:pt x="1" y="0"/>
                  </a:moveTo>
                  <a:cubicBezTo>
                    <a:pt x="1" y="0"/>
                    <a:pt x="0" y="0"/>
                    <a:pt x="0" y="0"/>
                  </a:cubicBezTo>
                  <a:cubicBezTo>
                    <a:pt x="1" y="1"/>
                    <a:pt x="1" y="2"/>
                    <a:pt x="2" y="3"/>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2" name="Freeform 1399">
              <a:extLst>
                <a:ext uri="{FF2B5EF4-FFF2-40B4-BE49-F238E27FC236}">
                  <a16:creationId xmlns:a16="http://schemas.microsoft.com/office/drawing/2014/main" id="{296D7B99-EB7A-47D7-87E7-5FBCB1A15690}"/>
                </a:ext>
              </a:extLst>
            </p:cNvPr>
            <p:cNvSpPr>
              <a:spLocks/>
            </p:cNvSpPr>
            <p:nvPr/>
          </p:nvSpPr>
          <p:spPr bwMode="auto">
            <a:xfrm>
              <a:off x="6945244" y="5315655"/>
              <a:ext cx="95306" cy="108729"/>
            </a:xfrm>
            <a:custGeom>
              <a:avLst/>
              <a:gdLst>
                <a:gd name="T0" fmla="*/ 0 w 30"/>
                <a:gd name="T1" fmla="*/ 0 h 34"/>
                <a:gd name="T2" fmla="*/ 1 w 30"/>
                <a:gd name="T3" fmla="*/ 9 h 34"/>
                <a:gd name="T4" fmla="*/ 11 w 30"/>
                <a:gd name="T5" fmla="*/ 26 h 34"/>
                <a:gd name="T6" fmla="*/ 11 w 30"/>
                <a:gd name="T7" fmla="*/ 26 h 34"/>
                <a:gd name="T8" fmla="*/ 12 w 30"/>
                <a:gd name="T9" fmla="*/ 27 h 34"/>
                <a:gd name="T10" fmla="*/ 23 w 30"/>
                <a:gd name="T11" fmla="*/ 34 h 34"/>
                <a:gd name="T12" fmla="*/ 27 w 30"/>
                <a:gd name="T13" fmla="*/ 31 h 34"/>
                <a:gd name="T14" fmla="*/ 29 w 30"/>
                <a:gd name="T15" fmla="*/ 31 h 34"/>
                <a:gd name="T16" fmla="*/ 29 w 30"/>
                <a:gd name="T17" fmla="*/ 31 h 34"/>
                <a:gd name="T18" fmla="*/ 29 w 30"/>
                <a:gd name="T19" fmla="*/ 25 h 34"/>
                <a:gd name="T20" fmla="*/ 24 w 30"/>
                <a:gd name="T21" fmla="*/ 21 h 34"/>
                <a:gd name="T22" fmla="*/ 22 w 30"/>
                <a:gd name="T23" fmla="*/ 17 h 34"/>
                <a:gd name="T24" fmla="*/ 19 w 30"/>
                <a:gd name="T25" fmla="*/ 17 h 34"/>
                <a:gd name="T26" fmla="*/ 19 w 30"/>
                <a:gd name="T27" fmla="*/ 17 h 34"/>
                <a:gd name="T28" fmla="*/ 17 w 30"/>
                <a:gd name="T29" fmla="*/ 15 h 34"/>
                <a:gd name="T30" fmla="*/ 15 w 30"/>
                <a:gd name="T31" fmla="*/ 12 h 34"/>
                <a:gd name="T32" fmla="*/ 12 w 30"/>
                <a:gd name="T33" fmla="*/ 10 h 34"/>
                <a:gd name="T34" fmla="*/ 11 w 30"/>
                <a:gd name="T35" fmla="*/ 7 h 34"/>
                <a:gd name="T36" fmla="*/ 7 w 30"/>
                <a:gd name="T37" fmla="*/ 2 h 34"/>
                <a:gd name="T38" fmla="*/ 0 w 30"/>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34">
                  <a:moveTo>
                    <a:pt x="0" y="0"/>
                  </a:moveTo>
                  <a:cubicBezTo>
                    <a:pt x="0" y="3"/>
                    <a:pt x="0" y="6"/>
                    <a:pt x="1" y="9"/>
                  </a:cubicBezTo>
                  <a:cubicBezTo>
                    <a:pt x="2" y="15"/>
                    <a:pt x="8" y="21"/>
                    <a:pt x="11" y="26"/>
                  </a:cubicBezTo>
                  <a:cubicBezTo>
                    <a:pt x="11" y="26"/>
                    <a:pt x="11" y="26"/>
                    <a:pt x="11" y="26"/>
                  </a:cubicBezTo>
                  <a:cubicBezTo>
                    <a:pt x="10" y="26"/>
                    <a:pt x="11" y="27"/>
                    <a:pt x="12" y="27"/>
                  </a:cubicBezTo>
                  <a:cubicBezTo>
                    <a:pt x="15" y="31"/>
                    <a:pt x="19" y="32"/>
                    <a:pt x="23" y="34"/>
                  </a:cubicBezTo>
                  <a:cubicBezTo>
                    <a:pt x="25" y="32"/>
                    <a:pt x="26" y="32"/>
                    <a:pt x="27" y="31"/>
                  </a:cubicBezTo>
                  <a:cubicBezTo>
                    <a:pt x="27" y="31"/>
                    <a:pt x="28" y="31"/>
                    <a:pt x="29" y="31"/>
                  </a:cubicBezTo>
                  <a:cubicBezTo>
                    <a:pt x="29" y="31"/>
                    <a:pt x="29" y="31"/>
                    <a:pt x="29" y="31"/>
                  </a:cubicBezTo>
                  <a:cubicBezTo>
                    <a:pt x="30" y="30"/>
                    <a:pt x="29" y="26"/>
                    <a:pt x="29" y="25"/>
                  </a:cubicBezTo>
                  <a:cubicBezTo>
                    <a:pt x="28" y="24"/>
                    <a:pt x="26" y="22"/>
                    <a:pt x="24" y="21"/>
                  </a:cubicBezTo>
                  <a:cubicBezTo>
                    <a:pt x="24" y="20"/>
                    <a:pt x="22" y="17"/>
                    <a:pt x="22" y="17"/>
                  </a:cubicBezTo>
                  <a:cubicBezTo>
                    <a:pt x="21" y="17"/>
                    <a:pt x="20" y="17"/>
                    <a:pt x="19" y="17"/>
                  </a:cubicBezTo>
                  <a:cubicBezTo>
                    <a:pt x="19" y="17"/>
                    <a:pt x="19" y="17"/>
                    <a:pt x="19" y="17"/>
                  </a:cubicBezTo>
                  <a:cubicBezTo>
                    <a:pt x="18" y="17"/>
                    <a:pt x="18" y="17"/>
                    <a:pt x="17" y="15"/>
                  </a:cubicBezTo>
                  <a:cubicBezTo>
                    <a:pt x="16" y="14"/>
                    <a:pt x="16" y="13"/>
                    <a:pt x="15" y="12"/>
                  </a:cubicBezTo>
                  <a:cubicBezTo>
                    <a:pt x="15" y="11"/>
                    <a:pt x="13" y="11"/>
                    <a:pt x="12" y="10"/>
                  </a:cubicBezTo>
                  <a:cubicBezTo>
                    <a:pt x="11" y="9"/>
                    <a:pt x="12" y="9"/>
                    <a:pt x="11" y="7"/>
                  </a:cubicBezTo>
                  <a:cubicBezTo>
                    <a:pt x="10" y="5"/>
                    <a:pt x="9" y="3"/>
                    <a:pt x="7" y="2"/>
                  </a:cubicBezTo>
                  <a:cubicBezTo>
                    <a:pt x="4" y="1"/>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3" name="Freeform 1400">
              <a:extLst>
                <a:ext uri="{FF2B5EF4-FFF2-40B4-BE49-F238E27FC236}">
                  <a16:creationId xmlns:a16="http://schemas.microsoft.com/office/drawing/2014/main" id="{86617BDD-69CA-42F8-9425-472B460FD4CD}"/>
                </a:ext>
              </a:extLst>
            </p:cNvPr>
            <p:cNvSpPr>
              <a:spLocks/>
            </p:cNvSpPr>
            <p:nvPr/>
          </p:nvSpPr>
          <p:spPr bwMode="auto">
            <a:xfrm>
              <a:off x="6738524" y="5112962"/>
              <a:ext cx="6712" cy="9396"/>
            </a:xfrm>
            <a:custGeom>
              <a:avLst/>
              <a:gdLst>
                <a:gd name="T0" fmla="*/ 0 w 2"/>
                <a:gd name="T1" fmla="*/ 0 h 3"/>
                <a:gd name="T2" fmla="*/ 0 w 2"/>
                <a:gd name="T3" fmla="*/ 3 h 3"/>
                <a:gd name="T4" fmla="*/ 0 w 2"/>
                <a:gd name="T5" fmla="*/ 0 h 3"/>
              </a:gdLst>
              <a:ahLst/>
              <a:cxnLst>
                <a:cxn ang="0">
                  <a:pos x="T0" y="T1"/>
                </a:cxn>
                <a:cxn ang="0">
                  <a:pos x="T2" y="T3"/>
                </a:cxn>
                <a:cxn ang="0">
                  <a:pos x="T4" y="T5"/>
                </a:cxn>
              </a:cxnLst>
              <a:rect l="0" t="0" r="r" b="b"/>
              <a:pathLst>
                <a:path w="2" h="3">
                  <a:moveTo>
                    <a:pt x="0" y="0"/>
                  </a:moveTo>
                  <a:cubicBezTo>
                    <a:pt x="0" y="1"/>
                    <a:pt x="0" y="2"/>
                    <a:pt x="0" y="3"/>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4" name="Freeform 1401">
              <a:extLst>
                <a:ext uri="{FF2B5EF4-FFF2-40B4-BE49-F238E27FC236}">
                  <a16:creationId xmlns:a16="http://schemas.microsoft.com/office/drawing/2014/main" id="{158738A6-472C-4082-8227-E399F24356CF}"/>
                </a:ext>
              </a:extLst>
            </p:cNvPr>
            <p:cNvSpPr>
              <a:spLocks/>
            </p:cNvSpPr>
            <p:nvPr/>
          </p:nvSpPr>
          <p:spPr bwMode="auto">
            <a:xfrm>
              <a:off x="6364013" y="5299547"/>
              <a:ext cx="25504" cy="16108"/>
            </a:xfrm>
            <a:custGeom>
              <a:avLst/>
              <a:gdLst>
                <a:gd name="T0" fmla="*/ 4 w 8"/>
                <a:gd name="T1" fmla="*/ 0 h 5"/>
                <a:gd name="T2" fmla="*/ 3 w 8"/>
                <a:gd name="T3" fmla="*/ 0 h 5"/>
                <a:gd name="T4" fmla="*/ 5 w 8"/>
                <a:gd name="T5" fmla="*/ 5 h 5"/>
                <a:gd name="T6" fmla="*/ 6 w 8"/>
                <a:gd name="T7" fmla="*/ 0 h 5"/>
                <a:gd name="T8" fmla="*/ 4 w 8"/>
                <a:gd name="T9" fmla="*/ 0 h 5"/>
              </a:gdLst>
              <a:ahLst/>
              <a:cxnLst>
                <a:cxn ang="0">
                  <a:pos x="T0" y="T1"/>
                </a:cxn>
                <a:cxn ang="0">
                  <a:pos x="T2" y="T3"/>
                </a:cxn>
                <a:cxn ang="0">
                  <a:pos x="T4" y="T5"/>
                </a:cxn>
                <a:cxn ang="0">
                  <a:pos x="T6" y="T7"/>
                </a:cxn>
                <a:cxn ang="0">
                  <a:pos x="T8" y="T9"/>
                </a:cxn>
              </a:cxnLst>
              <a:rect l="0" t="0" r="r" b="b"/>
              <a:pathLst>
                <a:path w="8" h="5">
                  <a:moveTo>
                    <a:pt x="4" y="0"/>
                  </a:moveTo>
                  <a:cubicBezTo>
                    <a:pt x="4" y="0"/>
                    <a:pt x="4" y="0"/>
                    <a:pt x="3" y="0"/>
                  </a:cubicBezTo>
                  <a:cubicBezTo>
                    <a:pt x="0" y="1"/>
                    <a:pt x="4" y="5"/>
                    <a:pt x="5" y="5"/>
                  </a:cubicBezTo>
                  <a:cubicBezTo>
                    <a:pt x="8" y="5"/>
                    <a:pt x="8" y="2"/>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5" name="Freeform 1402">
              <a:extLst>
                <a:ext uri="{FF2B5EF4-FFF2-40B4-BE49-F238E27FC236}">
                  <a16:creationId xmlns:a16="http://schemas.microsoft.com/office/drawing/2014/main" id="{46093332-9307-4996-AD3B-FF0171CD0B67}"/>
                </a:ext>
              </a:extLst>
            </p:cNvPr>
            <p:cNvSpPr>
              <a:spLocks/>
            </p:cNvSpPr>
            <p:nvPr/>
          </p:nvSpPr>
          <p:spPr bwMode="auto">
            <a:xfrm>
              <a:off x="6428445" y="5080746"/>
              <a:ext cx="5369" cy="4027"/>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0" y="1"/>
                  </a:cubicBezTo>
                  <a:cubicBezTo>
                    <a:pt x="1" y="1"/>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6" name="Freeform 1403">
              <a:extLst>
                <a:ext uri="{FF2B5EF4-FFF2-40B4-BE49-F238E27FC236}">
                  <a16:creationId xmlns:a16="http://schemas.microsoft.com/office/drawing/2014/main" id="{AA32C89F-0BDE-4541-843D-033CBB2BD378}"/>
                </a:ext>
              </a:extLst>
            </p:cNvPr>
            <p:cNvSpPr>
              <a:spLocks/>
            </p:cNvSpPr>
            <p:nvPr/>
          </p:nvSpPr>
          <p:spPr bwMode="auto">
            <a:xfrm>
              <a:off x="6780137" y="5138466"/>
              <a:ext cx="12081" cy="12081"/>
            </a:xfrm>
            <a:custGeom>
              <a:avLst/>
              <a:gdLst>
                <a:gd name="T0" fmla="*/ 4 w 4"/>
                <a:gd name="T1" fmla="*/ 0 h 4"/>
                <a:gd name="T2" fmla="*/ 3 w 4"/>
                <a:gd name="T3" fmla="*/ 4 h 4"/>
                <a:gd name="T4" fmla="*/ 4 w 4"/>
                <a:gd name="T5" fmla="*/ 0 h 4"/>
              </a:gdLst>
              <a:ahLst/>
              <a:cxnLst>
                <a:cxn ang="0">
                  <a:pos x="T0" y="T1"/>
                </a:cxn>
                <a:cxn ang="0">
                  <a:pos x="T2" y="T3"/>
                </a:cxn>
                <a:cxn ang="0">
                  <a:pos x="T4" y="T5"/>
                </a:cxn>
              </a:cxnLst>
              <a:rect l="0" t="0" r="r" b="b"/>
              <a:pathLst>
                <a:path w="4" h="4">
                  <a:moveTo>
                    <a:pt x="4" y="0"/>
                  </a:moveTo>
                  <a:cubicBezTo>
                    <a:pt x="0" y="0"/>
                    <a:pt x="2" y="3"/>
                    <a:pt x="3" y="4"/>
                  </a:cubicBezTo>
                  <a:cubicBezTo>
                    <a:pt x="4" y="3"/>
                    <a:pt x="4"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7" name="Freeform 1404">
              <a:extLst>
                <a:ext uri="{FF2B5EF4-FFF2-40B4-BE49-F238E27FC236}">
                  <a16:creationId xmlns:a16="http://schemas.microsoft.com/office/drawing/2014/main" id="{7BC6F341-E518-4ABF-868E-D1BAEAE7F73B}"/>
                </a:ext>
              </a:extLst>
            </p:cNvPr>
            <p:cNvSpPr>
              <a:spLocks/>
            </p:cNvSpPr>
            <p:nvPr/>
          </p:nvSpPr>
          <p:spPr bwMode="auto">
            <a:xfrm>
              <a:off x="6291527" y="5249880"/>
              <a:ext cx="12081" cy="14766"/>
            </a:xfrm>
            <a:custGeom>
              <a:avLst/>
              <a:gdLst>
                <a:gd name="T0" fmla="*/ 1 w 4"/>
                <a:gd name="T1" fmla="*/ 0 h 5"/>
                <a:gd name="T2" fmla="*/ 0 w 4"/>
                <a:gd name="T3" fmla="*/ 5 h 5"/>
                <a:gd name="T4" fmla="*/ 1 w 4"/>
                <a:gd name="T5" fmla="*/ 0 h 5"/>
              </a:gdLst>
              <a:ahLst/>
              <a:cxnLst>
                <a:cxn ang="0">
                  <a:pos x="T0" y="T1"/>
                </a:cxn>
                <a:cxn ang="0">
                  <a:pos x="T2" y="T3"/>
                </a:cxn>
                <a:cxn ang="0">
                  <a:pos x="T4" y="T5"/>
                </a:cxn>
              </a:cxnLst>
              <a:rect l="0" t="0" r="r" b="b"/>
              <a:pathLst>
                <a:path w="4" h="5">
                  <a:moveTo>
                    <a:pt x="1" y="0"/>
                  </a:moveTo>
                  <a:cubicBezTo>
                    <a:pt x="0" y="1"/>
                    <a:pt x="0" y="3"/>
                    <a:pt x="0" y="5"/>
                  </a:cubicBezTo>
                  <a:cubicBezTo>
                    <a:pt x="3" y="4"/>
                    <a:pt x="4"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8" name="Freeform 1405">
              <a:extLst>
                <a:ext uri="{FF2B5EF4-FFF2-40B4-BE49-F238E27FC236}">
                  <a16:creationId xmlns:a16="http://schemas.microsoft.com/office/drawing/2014/main" id="{A945DC03-2B55-453B-A5AF-1359D73BABCF}"/>
                </a:ext>
              </a:extLst>
            </p:cNvPr>
            <p:cNvSpPr>
              <a:spLocks/>
            </p:cNvSpPr>
            <p:nvPr/>
          </p:nvSpPr>
          <p:spPr bwMode="auto">
            <a:xfrm>
              <a:off x="6561336" y="5010944"/>
              <a:ext cx="16108" cy="18793"/>
            </a:xfrm>
            <a:custGeom>
              <a:avLst/>
              <a:gdLst>
                <a:gd name="T0" fmla="*/ 0 w 5"/>
                <a:gd name="T1" fmla="*/ 0 h 6"/>
                <a:gd name="T2" fmla="*/ 4 w 5"/>
                <a:gd name="T3" fmla="*/ 6 h 6"/>
                <a:gd name="T4" fmla="*/ 0 w 5"/>
                <a:gd name="T5" fmla="*/ 0 h 6"/>
              </a:gdLst>
              <a:ahLst/>
              <a:cxnLst>
                <a:cxn ang="0">
                  <a:pos x="T0" y="T1"/>
                </a:cxn>
                <a:cxn ang="0">
                  <a:pos x="T2" y="T3"/>
                </a:cxn>
                <a:cxn ang="0">
                  <a:pos x="T4" y="T5"/>
                </a:cxn>
              </a:cxnLst>
              <a:rect l="0" t="0" r="r" b="b"/>
              <a:pathLst>
                <a:path w="5" h="6">
                  <a:moveTo>
                    <a:pt x="0" y="0"/>
                  </a:moveTo>
                  <a:cubicBezTo>
                    <a:pt x="1" y="2"/>
                    <a:pt x="3" y="4"/>
                    <a:pt x="4" y="6"/>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9" name="Freeform 1406">
              <a:extLst>
                <a:ext uri="{FF2B5EF4-FFF2-40B4-BE49-F238E27FC236}">
                  <a16:creationId xmlns:a16="http://schemas.microsoft.com/office/drawing/2014/main" id="{34348919-E5B5-4BB8-9E39-D982D9D18E36}"/>
                </a:ext>
              </a:extLst>
            </p:cNvPr>
            <p:cNvSpPr>
              <a:spLocks/>
            </p:cNvSpPr>
            <p:nvPr/>
          </p:nvSpPr>
          <p:spPr bwMode="auto">
            <a:xfrm>
              <a:off x="6094203" y="5534456"/>
              <a:ext cx="22820" cy="9396"/>
            </a:xfrm>
            <a:custGeom>
              <a:avLst/>
              <a:gdLst>
                <a:gd name="T0" fmla="*/ 3 w 7"/>
                <a:gd name="T1" fmla="*/ 0 h 3"/>
                <a:gd name="T2" fmla="*/ 0 w 7"/>
                <a:gd name="T3" fmla="*/ 0 h 3"/>
                <a:gd name="T4" fmla="*/ 6 w 7"/>
                <a:gd name="T5" fmla="*/ 3 h 3"/>
                <a:gd name="T6" fmla="*/ 3 w 7"/>
                <a:gd name="T7" fmla="*/ 0 h 3"/>
              </a:gdLst>
              <a:ahLst/>
              <a:cxnLst>
                <a:cxn ang="0">
                  <a:pos x="T0" y="T1"/>
                </a:cxn>
                <a:cxn ang="0">
                  <a:pos x="T2" y="T3"/>
                </a:cxn>
                <a:cxn ang="0">
                  <a:pos x="T4" y="T5"/>
                </a:cxn>
                <a:cxn ang="0">
                  <a:pos x="T6" y="T7"/>
                </a:cxn>
              </a:cxnLst>
              <a:rect l="0" t="0" r="r" b="b"/>
              <a:pathLst>
                <a:path w="7" h="3">
                  <a:moveTo>
                    <a:pt x="3" y="0"/>
                  </a:moveTo>
                  <a:cubicBezTo>
                    <a:pt x="2" y="0"/>
                    <a:pt x="1" y="0"/>
                    <a:pt x="0" y="0"/>
                  </a:cubicBezTo>
                  <a:cubicBezTo>
                    <a:pt x="2" y="2"/>
                    <a:pt x="4" y="2"/>
                    <a:pt x="6"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0" name="Freeform 1407">
              <a:extLst>
                <a:ext uri="{FF2B5EF4-FFF2-40B4-BE49-F238E27FC236}">
                  <a16:creationId xmlns:a16="http://schemas.microsoft.com/office/drawing/2014/main" id="{E851EB54-4E3D-44EC-B164-D9A6B4A86CDA}"/>
                </a:ext>
              </a:extLst>
            </p:cNvPr>
            <p:cNvSpPr>
              <a:spLocks/>
            </p:cNvSpPr>
            <p:nvPr/>
          </p:nvSpPr>
          <p:spPr bwMode="auto">
            <a:xfrm>
              <a:off x="6431130" y="5319682"/>
              <a:ext cx="28189" cy="28189"/>
            </a:xfrm>
            <a:custGeom>
              <a:avLst/>
              <a:gdLst>
                <a:gd name="T0" fmla="*/ 0 w 9"/>
                <a:gd name="T1" fmla="*/ 0 h 9"/>
                <a:gd name="T2" fmla="*/ 0 w 9"/>
                <a:gd name="T3" fmla="*/ 0 h 9"/>
                <a:gd name="T4" fmla="*/ 4 w 9"/>
                <a:gd name="T5" fmla="*/ 9 h 9"/>
                <a:gd name="T6" fmla="*/ 0 w 9"/>
                <a:gd name="T7" fmla="*/ 0 h 9"/>
              </a:gdLst>
              <a:ahLst/>
              <a:cxnLst>
                <a:cxn ang="0">
                  <a:pos x="T0" y="T1"/>
                </a:cxn>
                <a:cxn ang="0">
                  <a:pos x="T2" y="T3"/>
                </a:cxn>
                <a:cxn ang="0">
                  <a:pos x="T4" y="T5"/>
                </a:cxn>
                <a:cxn ang="0">
                  <a:pos x="T6" y="T7"/>
                </a:cxn>
              </a:cxnLst>
              <a:rect l="0" t="0" r="r" b="b"/>
              <a:pathLst>
                <a:path w="9" h="9">
                  <a:moveTo>
                    <a:pt x="0" y="0"/>
                  </a:moveTo>
                  <a:cubicBezTo>
                    <a:pt x="0" y="0"/>
                    <a:pt x="0" y="0"/>
                    <a:pt x="0" y="0"/>
                  </a:cubicBezTo>
                  <a:cubicBezTo>
                    <a:pt x="0" y="3"/>
                    <a:pt x="2" y="6"/>
                    <a:pt x="4" y="9"/>
                  </a:cubicBezTo>
                  <a:cubicBezTo>
                    <a:pt x="9" y="5"/>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1" name="Freeform 1408">
              <a:extLst>
                <a:ext uri="{FF2B5EF4-FFF2-40B4-BE49-F238E27FC236}">
                  <a16:creationId xmlns:a16="http://schemas.microsoft.com/office/drawing/2014/main" id="{C34582D4-49AA-4F9C-A896-312E4834C0E9}"/>
                </a:ext>
              </a:extLst>
            </p:cNvPr>
            <p:cNvSpPr>
              <a:spLocks/>
            </p:cNvSpPr>
            <p:nvPr/>
          </p:nvSpPr>
          <p:spPr bwMode="auto">
            <a:xfrm>
              <a:off x="6780137" y="5578753"/>
              <a:ext cx="41612" cy="22820"/>
            </a:xfrm>
            <a:custGeom>
              <a:avLst/>
              <a:gdLst>
                <a:gd name="T0" fmla="*/ 4 w 13"/>
                <a:gd name="T1" fmla="*/ 0 h 7"/>
                <a:gd name="T2" fmla="*/ 0 w 13"/>
                <a:gd name="T3" fmla="*/ 2 h 7"/>
                <a:gd name="T4" fmla="*/ 8 w 13"/>
                <a:gd name="T5" fmla="*/ 7 h 7"/>
                <a:gd name="T6" fmla="*/ 10 w 13"/>
                <a:gd name="T7" fmla="*/ 6 h 7"/>
                <a:gd name="T8" fmla="*/ 11 w 13"/>
                <a:gd name="T9" fmla="*/ 7 h 7"/>
                <a:gd name="T10" fmla="*/ 11 w 13"/>
                <a:gd name="T11" fmla="*/ 5 h 7"/>
                <a:gd name="T12" fmla="*/ 12 w 13"/>
                <a:gd name="T13" fmla="*/ 5 h 7"/>
                <a:gd name="T14" fmla="*/ 10 w 13"/>
                <a:gd name="T15" fmla="*/ 2 h 7"/>
                <a:gd name="T16" fmla="*/ 8 w 13"/>
                <a:gd name="T17" fmla="*/ 1 h 7"/>
                <a:gd name="T18" fmla="*/ 4 w 1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7">
                  <a:moveTo>
                    <a:pt x="4" y="0"/>
                  </a:moveTo>
                  <a:cubicBezTo>
                    <a:pt x="3" y="0"/>
                    <a:pt x="1" y="1"/>
                    <a:pt x="0" y="2"/>
                  </a:cubicBezTo>
                  <a:cubicBezTo>
                    <a:pt x="3" y="4"/>
                    <a:pt x="5" y="5"/>
                    <a:pt x="8" y="7"/>
                  </a:cubicBezTo>
                  <a:cubicBezTo>
                    <a:pt x="9" y="7"/>
                    <a:pt x="9" y="6"/>
                    <a:pt x="10" y="6"/>
                  </a:cubicBezTo>
                  <a:cubicBezTo>
                    <a:pt x="10" y="6"/>
                    <a:pt x="11" y="6"/>
                    <a:pt x="11" y="7"/>
                  </a:cubicBezTo>
                  <a:cubicBezTo>
                    <a:pt x="11" y="6"/>
                    <a:pt x="11" y="5"/>
                    <a:pt x="11" y="5"/>
                  </a:cubicBezTo>
                  <a:cubicBezTo>
                    <a:pt x="11" y="5"/>
                    <a:pt x="12" y="5"/>
                    <a:pt x="12" y="5"/>
                  </a:cubicBezTo>
                  <a:cubicBezTo>
                    <a:pt x="13" y="5"/>
                    <a:pt x="11" y="3"/>
                    <a:pt x="10" y="2"/>
                  </a:cubicBezTo>
                  <a:cubicBezTo>
                    <a:pt x="8" y="1"/>
                    <a:pt x="8" y="1"/>
                    <a:pt x="8" y="1"/>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2" name="Freeform 1409">
              <a:extLst>
                <a:ext uri="{FF2B5EF4-FFF2-40B4-BE49-F238E27FC236}">
                  <a16:creationId xmlns:a16="http://schemas.microsoft.com/office/drawing/2014/main" id="{5C9E67D5-8CAA-43E7-B390-1B9D99549DD4}"/>
                </a:ext>
              </a:extLst>
            </p:cNvPr>
            <p:cNvSpPr>
              <a:spLocks/>
            </p:cNvSpPr>
            <p:nvPr/>
          </p:nvSpPr>
          <p:spPr bwMode="auto">
            <a:xfrm>
              <a:off x="6326427" y="5055241"/>
              <a:ext cx="72486" cy="22820"/>
            </a:xfrm>
            <a:custGeom>
              <a:avLst/>
              <a:gdLst>
                <a:gd name="T0" fmla="*/ 14 w 23"/>
                <a:gd name="T1" fmla="*/ 0 h 7"/>
                <a:gd name="T2" fmla="*/ 9 w 23"/>
                <a:gd name="T3" fmla="*/ 1 h 7"/>
                <a:gd name="T4" fmla="*/ 8 w 23"/>
                <a:gd name="T5" fmla="*/ 1 h 7"/>
                <a:gd name="T6" fmla="*/ 7 w 23"/>
                <a:gd name="T7" fmla="*/ 1 h 7"/>
                <a:gd name="T8" fmla="*/ 6 w 23"/>
                <a:gd name="T9" fmla="*/ 0 h 7"/>
                <a:gd name="T10" fmla="*/ 4 w 23"/>
                <a:gd name="T11" fmla="*/ 2 h 7"/>
                <a:gd name="T12" fmla="*/ 5 w 23"/>
                <a:gd name="T13" fmla="*/ 3 h 7"/>
                <a:gd name="T14" fmla="*/ 4 w 23"/>
                <a:gd name="T15" fmla="*/ 7 h 7"/>
                <a:gd name="T16" fmla="*/ 9 w 23"/>
                <a:gd name="T17" fmla="*/ 4 h 7"/>
                <a:gd name="T18" fmla="*/ 15 w 23"/>
                <a:gd name="T19" fmla="*/ 5 h 7"/>
                <a:gd name="T20" fmla="*/ 17 w 23"/>
                <a:gd name="T21" fmla="*/ 5 h 7"/>
                <a:gd name="T22" fmla="*/ 23 w 23"/>
                <a:gd name="T23" fmla="*/ 2 h 7"/>
                <a:gd name="T24" fmla="*/ 18 w 23"/>
                <a:gd name="T25" fmla="*/ 1 h 7"/>
                <a:gd name="T26" fmla="*/ 17 w 23"/>
                <a:gd name="T27" fmla="*/ 1 h 7"/>
                <a:gd name="T28" fmla="*/ 14 w 23"/>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7">
                  <a:moveTo>
                    <a:pt x="14" y="0"/>
                  </a:moveTo>
                  <a:cubicBezTo>
                    <a:pt x="12" y="0"/>
                    <a:pt x="10" y="1"/>
                    <a:pt x="9" y="1"/>
                  </a:cubicBezTo>
                  <a:cubicBezTo>
                    <a:pt x="9" y="1"/>
                    <a:pt x="9" y="1"/>
                    <a:pt x="8" y="1"/>
                  </a:cubicBezTo>
                  <a:cubicBezTo>
                    <a:pt x="8" y="1"/>
                    <a:pt x="8" y="1"/>
                    <a:pt x="7" y="1"/>
                  </a:cubicBezTo>
                  <a:cubicBezTo>
                    <a:pt x="7" y="1"/>
                    <a:pt x="7" y="0"/>
                    <a:pt x="6" y="0"/>
                  </a:cubicBezTo>
                  <a:cubicBezTo>
                    <a:pt x="5" y="0"/>
                    <a:pt x="4" y="1"/>
                    <a:pt x="4" y="2"/>
                  </a:cubicBezTo>
                  <a:cubicBezTo>
                    <a:pt x="3" y="2"/>
                    <a:pt x="5" y="3"/>
                    <a:pt x="5" y="3"/>
                  </a:cubicBezTo>
                  <a:cubicBezTo>
                    <a:pt x="4" y="5"/>
                    <a:pt x="0" y="4"/>
                    <a:pt x="4" y="7"/>
                  </a:cubicBezTo>
                  <a:cubicBezTo>
                    <a:pt x="6" y="5"/>
                    <a:pt x="7" y="4"/>
                    <a:pt x="9" y="4"/>
                  </a:cubicBezTo>
                  <a:cubicBezTo>
                    <a:pt x="11" y="4"/>
                    <a:pt x="12" y="5"/>
                    <a:pt x="15" y="5"/>
                  </a:cubicBezTo>
                  <a:cubicBezTo>
                    <a:pt x="16" y="5"/>
                    <a:pt x="16" y="5"/>
                    <a:pt x="17" y="5"/>
                  </a:cubicBezTo>
                  <a:cubicBezTo>
                    <a:pt x="20" y="5"/>
                    <a:pt x="21" y="4"/>
                    <a:pt x="23" y="2"/>
                  </a:cubicBezTo>
                  <a:cubicBezTo>
                    <a:pt x="22" y="2"/>
                    <a:pt x="20" y="1"/>
                    <a:pt x="18" y="1"/>
                  </a:cubicBezTo>
                  <a:cubicBezTo>
                    <a:pt x="18" y="1"/>
                    <a:pt x="18" y="1"/>
                    <a:pt x="17" y="1"/>
                  </a:cubicBezTo>
                  <a:cubicBezTo>
                    <a:pt x="16"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3" name="Freeform 1410">
              <a:extLst>
                <a:ext uri="{FF2B5EF4-FFF2-40B4-BE49-F238E27FC236}">
                  <a16:creationId xmlns:a16="http://schemas.microsoft.com/office/drawing/2014/main" id="{B5D48F06-BBAA-4A1A-86BB-339ABFC775C8}"/>
                </a:ext>
              </a:extLst>
            </p:cNvPr>
            <p:cNvSpPr>
              <a:spLocks/>
            </p:cNvSpPr>
            <p:nvPr/>
          </p:nvSpPr>
          <p:spPr bwMode="auto">
            <a:xfrm>
              <a:off x="6589525" y="5087458"/>
              <a:ext cx="41612" cy="22820"/>
            </a:xfrm>
            <a:custGeom>
              <a:avLst/>
              <a:gdLst>
                <a:gd name="T0" fmla="*/ 5 w 13"/>
                <a:gd name="T1" fmla="*/ 0 h 7"/>
                <a:gd name="T2" fmla="*/ 3 w 13"/>
                <a:gd name="T3" fmla="*/ 1 h 7"/>
                <a:gd name="T4" fmla="*/ 1 w 13"/>
                <a:gd name="T5" fmla="*/ 2 h 7"/>
                <a:gd name="T6" fmla="*/ 0 w 13"/>
                <a:gd name="T7" fmla="*/ 2 h 7"/>
                <a:gd name="T8" fmla="*/ 10 w 13"/>
                <a:gd name="T9" fmla="*/ 7 h 7"/>
                <a:gd name="T10" fmla="*/ 12 w 13"/>
                <a:gd name="T11" fmla="*/ 3 h 7"/>
                <a:gd name="T12" fmla="*/ 8 w 13"/>
                <a:gd name="T13" fmla="*/ 1 h 7"/>
                <a:gd name="T14" fmla="*/ 5 w 1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5" y="0"/>
                  </a:moveTo>
                  <a:cubicBezTo>
                    <a:pt x="5" y="0"/>
                    <a:pt x="4" y="0"/>
                    <a:pt x="3" y="1"/>
                  </a:cubicBezTo>
                  <a:cubicBezTo>
                    <a:pt x="2" y="1"/>
                    <a:pt x="1" y="2"/>
                    <a:pt x="1" y="2"/>
                  </a:cubicBezTo>
                  <a:cubicBezTo>
                    <a:pt x="1" y="2"/>
                    <a:pt x="0" y="2"/>
                    <a:pt x="0" y="2"/>
                  </a:cubicBezTo>
                  <a:cubicBezTo>
                    <a:pt x="3" y="4"/>
                    <a:pt x="7" y="6"/>
                    <a:pt x="10" y="7"/>
                  </a:cubicBezTo>
                  <a:cubicBezTo>
                    <a:pt x="12" y="7"/>
                    <a:pt x="13" y="4"/>
                    <a:pt x="12" y="3"/>
                  </a:cubicBezTo>
                  <a:cubicBezTo>
                    <a:pt x="11" y="2"/>
                    <a:pt x="9"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4" name="Freeform 1411">
              <a:extLst>
                <a:ext uri="{FF2B5EF4-FFF2-40B4-BE49-F238E27FC236}">
                  <a16:creationId xmlns:a16="http://schemas.microsoft.com/office/drawing/2014/main" id="{5646CD42-3369-4700-8584-9F76AEB80AAB}"/>
                </a:ext>
              </a:extLst>
            </p:cNvPr>
            <p:cNvSpPr>
              <a:spLocks/>
            </p:cNvSpPr>
            <p:nvPr/>
          </p:nvSpPr>
          <p:spPr bwMode="auto">
            <a:xfrm>
              <a:off x="6652615" y="5131755"/>
              <a:ext cx="10739" cy="0"/>
            </a:xfrm>
            <a:custGeom>
              <a:avLst/>
              <a:gdLst>
                <a:gd name="T0" fmla="*/ 2 w 3"/>
                <a:gd name="T1" fmla="*/ 0 w 3"/>
                <a:gd name="T2" fmla="*/ 3 w 3"/>
                <a:gd name="T3" fmla="*/ 2 w 3"/>
              </a:gdLst>
              <a:ahLst/>
              <a:cxnLst>
                <a:cxn ang="0">
                  <a:pos x="T0" y="0"/>
                </a:cxn>
                <a:cxn ang="0">
                  <a:pos x="T1" y="0"/>
                </a:cxn>
                <a:cxn ang="0">
                  <a:pos x="T2" y="0"/>
                </a:cxn>
                <a:cxn ang="0">
                  <a:pos x="T3" y="0"/>
                </a:cxn>
              </a:cxnLst>
              <a:rect l="0" t="0" r="r" b="b"/>
              <a:pathLst>
                <a:path w="3">
                  <a:moveTo>
                    <a:pt x="2" y="0"/>
                  </a:moveTo>
                  <a:cubicBezTo>
                    <a:pt x="1" y="0"/>
                    <a:pt x="0" y="0"/>
                    <a:pt x="0" y="0"/>
                  </a:cubicBezTo>
                  <a:cubicBezTo>
                    <a:pt x="1" y="0"/>
                    <a:pt x="2"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5" name="Freeform 1412">
              <a:extLst>
                <a:ext uri="{FF2B5EF4-FFF2-40B4-BE49-F238E27FC236}">
                  <a16:creationId xmlns:a16="http://schemas.microsoft.com/office/drawing/2014/main" id="{2ECDD702-E8F8-4802-AE39-70D68AA995CE}"/>
                </a:ext>
              </a:extLst>
            </p:cNvPr>
            <p:cNvSpPr>
              <a:spLocks/>
            </p:cNvSpPr>
            <p:nvPr/>
          </p:nvSpPr>
          <p:spPr bwMode="auto">
            <a:xfrm>
              <a:off x="6666038" y="5131755"/>
              <a:ext cx="268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6" name="Freeform 1413">
              <a:extLst>
                <a:ext uri="{FF2B5EF4-FFF2-40B4-BE49-F238E27FC236}">
                  <a16:creationId xmlns:a16="http://schemas.microsoft.com/office/drawing/2014/main" id="{0F060D6A-2A14-4084-B587-F3E1826F8D63}"/>
                </a:ext>
              </a:extLst>
            </p:cNvPr>
            <p:cNvSpPr>
              <a:spLocks/>
            </p:cNvSpPr>
            <p:nvPr/>
          </p:nvSpPr>
          <p:spPr bwMode="auto">
            <a:xfrm>
              <a:off x="6649930" y="5636473"/>
              <a:ext cx="44297" cy="37585"/>
            </a:xfrm>
            <a:custGeom>
              <a:avLst/>
              <a:gdLst>
                <a:gd name="T0" fmla="*/ 0 w 14"/>
                <a:gd name="T1" fmla="*/ 0 h 12"/>
                <a:gd name="T2" fmla="*/ 5 w 14"/>
                <a:gd name="T3" fmla="*/ 9 h 12"/>
                <a:gd name="T4" fmla="*/ 11 w 14"/>
                <a:gd name="T5" fmla="*/ 12 h 12"/>
                <a:gd name="T6" fmla="*/ 13 w 14"/>
                <a:gd name="T7" fmla="*/ 5 h 12"/>
                <a:gd name="T8" fmla="*/ 12 w 14"/>
                <a:gd name="T9" fmla="*/ 5 h 12"/>
                <a:gd name="T10" fmla="*/ 10 w 14"/>
                <a:gd name="T11" fmla="*/ 7 h 12"/>
                <a:gd name="T12" fmla="*/ 8 w 14"/>
                <a:gd name="T13" fmla="*/ 8 h 12"/>
                <a:gd name="T14" fmla="*/ 8 w 14"/>
                <a:gd name="T15" fmla="*/ 8 h 12"/>
                <a:gd name="T16" fmla="*/ 7 w 14"/>
                <a:gd name="T17" fmla="*/ 7 h 12"/>
                <a:gd name="T18" fmla="*/ 5 w 14"/>
                <a:gd name="T19" fmla="*/ 5 h 12"/>
                <a:gd name="T20" fmla="*/ 4 w 14"/>
                <a:gd name="T21" fmla="*/ 3 h 12"/>
                <a:gd name="T22" fmla="*/ 0 w 14"/>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0" y="0"/>
                  </a:moveTo>
                  <a:cubicBezTo>
                    <a:pt x="2" y="3"/>
                    <a:pt x="3" y="6"/>
                    <a:pt x="5" y="9"/>
                  </a:cubicBezTo>
                  <a:cubicBezTo>
                    <a:pt x="6" y="10"/>
                    <a:pt x="9" y="11"/>
                    <a:pt x="11" y="12"/>
                  </a:cubicBezTo>
                  <a:cubicBezTo>
                    <a:pt x="11" y="11"/>
                    <a:pt x="14" y="6"/>
                    <a:pt x="13" y="5"/>
                  </a:cubicBezTo>
                  <a:cubicBezTo>
                    <a:pt x="12" y="5"/>
                    <a:pt x="12" y="5"/>
                    <a:pt x="12" y="5"/>
                  </a:cubicBezTo>
                  <a:cubicBezTo>
                    <a:pt x="11" y="5"/>
                    <a:pt x="10" y="6"/>
                    <a:pt x="10" y="7"/>
                  </a:cubicBezTo>
                  <a:cubicBezTo>
                    <a:pt x="9" y="7"/>
                    <a:pt x="8" y="8"/>
                    <a:pt x="8" y="8"/>
                  </a:cubicBezTo>
                  <a:cubicBezTo>
                    <a:pt x="8" y="8"/>
                    <a:pt x="8" y="8"/>
                    <a:pt x="8" y="8"/>
                  </a:cubicBezTo>
                  <a:cubicBezTo>
                    <a:pt x="7" y="8"/>
                    <a:pt x="7" y="7"/>
                    <a:pt x="7" y="7"/>
                  </a:cubicBezTo>
                  <a:cubicBezTo>
                    <a:pt x="5" y="5"/>
                    <a:pt x="5" y="5"/>
                    <a:pt x="5" y="5"/>
                  </a:cubicBezTo>
                  <a:cubicBezTo>
                    <a:pt x="5" y="4"/>
                    <a:pt x="4" y="4"/>
                    <a:pt x="4"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7" name="Freeform 1414">
              <a:extLst>
                <a:ext uri="{FF2B5EF4-FFF2-40B4-BE49-F238E27FC236}">
                  <a16:creationId xmlns:a16="http://schemas.microsoft.com/office/drawing/2014/main" id="{FDF2CE5B-2235-4420-8E77-1A792ADC1A0F}"/>
                </a:ext>
              </a:extLst>
            </p:cNvPr>
            <p:cNvSpPr>
              <a:spLocks/>
            </p:cNvSpPr>
            <p:nvPr/>
          </p:nvSpPr>
          <p:spPr bwMode="auto">
            <a:xfrm>
              <a:off x="6663354" y="5703590"/>
              <a:ext cx="12081" cy="5369"/>
            </a:xfrm>
            <a:custGeom>
              <a:avLst/>
              <a:gdLst>
                <a:gd name="T0" fmla="*/ 3 w 4"/>
                <a:gd name="T1" fmla="*/ 0 h 2"/>
                <a:gd name="T2" fmla="*/ 0 w 4"/>
                <a:gd name="T3" fmla="*/ 2 h 2"/>
                <a:gd name="T4" fmla="*/ 1 w 4"/>
                <a:gd name="T5" fmla="*/ 2 h 2"/>
                <a:gd name="T6" fmla="*/ 3 w 4"/>
                <a:gd name="T7" fmla="*/ 0 h 2"/>
              </a:gdLst>
              <a:ahLst/>
              <a:cxnLst>
                <a:cxn ang="0">
                  <a:pos x="T0" y="T1"/>
                </a:cxn>
                <a:cxn ang="0">
                  <a:pos x="T2" y="T3"/>
                </a:cxn>
                <a:cxn ang="0">
                  <a:pos x="T4" y="T5"/>
                </a:cxn>
                <a:cxn ang="0">
                  <a:pos x="T6" y="T7"/>
                </a:cxn>
              </a:cxnLst>
              <a:rect l="0" t="0" r="r" b="b"/>
              <a:pathLst>
                <a:path w="4" h="2">
                  <a:moveTo>
                    <a:pt x="3" y="0"/>
                  </a:moveTo>
                  <a:cubicBezTo>
                    <a:pt x="2" y="1"/>
                    <a:pt x="1" y="2"/>
                    <a:pt x="0" y="2"/>
                  </a:cubicBezTo>
                  <a:cubicBezTo>
                    <a:pt x="0" y="2"/>
                    <a:pt x="1" y="2"/>
                    <a:pt x="1" y="2"/>
                  </a:cubicBezTo>
                  <a:cubicBezTo>
                    <a:pt x="2" y="2"/>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8" name="Freeform 1415">
              <a:extLst>
                <a:ext uri="{FF2B5EF4-FFF2-40B4-BE49-F238E27FC236}">
                  <a16:creationId xmlns:a16="http://schemas.microsoft.com/office/drawing/2014/main" id="{E34A36A2-1295-427E-A632-9DBAA5FA96CA}"/>
                </a:ext>
              </a:extLst>
            </p:cNvPr>
            <p:cNvSpPr>
              <a:spLocks/>
            </p:cNvSpPr>
            <p:nvPr/>
          </p:nvSpPr>
          <p:spPr bwMode="auto">
            <a:xfrm>
              <a:off x="3448460" y="3288726"/>
              <a:ext cx="9396" cy="2685"/>
            </a:xfrm>
            <a:custGeom>
              <a:avLst/>
              <a:gdLst>
                <a:gd name="T0" fmla="*/ 3 w 3"/>
                <a:gd name="T1" fmla="*/ 0 h 1"/>
                <a:gd name="T2" fmla="*/ 0 w 3"/>
                <a:gd name="T3" fmla="*/ 1 h 1"/>
                <a:gd name="T4" fmla="*/ 0 w 3"/>
                <a:gd name="T5" fmla="*/ 1 h 1"/>
                <a:gd name="T6" fmla="*/ 3 w 3"/>
                <a:gd name="T7" fmla="*/ 0 h 1"/>
              </a:gdLst>
              <a:ahLst/>
              <a:cxnLst>
                <a:cxn ang="0">
                  <a:pos x="T0" y="T1"/>
                </a:cxn>
                <a:cxn ang="0">
                  <a:pos x="T2" y="T3"/>
                </a:cxn>
                <a:cxn ang="0">
                  <a:pos x="T4" y="T5"/>
                </a:cxn>
                <a:cxn ang="0">
                  <a:pos x="T6" y="T7"/>
                </a:cxn>
              </a:cxnLst>
              <a:rect l="0" t="0" r="r" b="b"/>
              <a:pathLst>
                <a:path w="3" h="1">
                  <a:moveTo>
                    <a:pt x="3" y="0"/>
                  </a:moveTo>
                  <a:cubicBezTo>
                    <a:pt x="2" y="0"/>
                    <a:pt x="1" y="1"/>
                    <a:pt x="0" y="1"/>
                  </a:cubicBezTo>
                  <a:cubicBezTo>
                    <a:pt x="0" y="1"/>
                    <a:pt x="0" y="1"/>
                    <a:pt x="0" y="1"/>
                  </a:cubicBezTo>
                  <a:cubicBezTo>
                    <a:pt x="1" y="1"/>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9" name="Freeform 1416">
              <a:extLst>
                <a:ext uri="{FF2B5EF4-FFF2-40B4-BE49-F238E27FC236}">
                  <a16:creationId xmlns:a16="http://schemas.microsoft.com/office/drawing/2014/main" id="{EF9B3C9E-37E7-4FFB-834F-0328FBC759DE}"/>
                </a:ext>
              </a:extLst>
            </p:cNvPr>
            <p:cNvSpPr>
              <a:spLocks/>
            </p:cNvSpPr>
            <p:nvPr/>
          </p:nvSpPr>
          <p:spPr bwMode="auto">
            <a:xfrm>
              <a:off x="3147777" y="4129029"/>
              <a:ext cx="21477" cy="28189"/>
            </a:xfrm>
            <a:custGeom>
              <a:avLst/>
              <a:gdLst>
                <a:gd name="T0" fmla="*/ 4 w 7"/>
                <a:gd name="T1" fmla="*/ 0 h 9"/>
                <a:gd name="T2" fmla="*/ 3 w 7"/>
                <a:gd name="T3" fmla="*/ 1 h 9"/>
                <a:gd name="T4" fmla="*/ 1 w 7"/>
                <a:gd name="T5" fmla="*/ 1 h 9"/>
                <a:gd name="T6" fmla="*/ 0 w 7"/>
                <a:gd name="T7" fmla="*/ 1 h 9"/>
                <a:gd name="T8" fmla="*/ 4 w 7"/>
                <a:gd name="T9" fmla="*/ 9 h 9"/>
                <a:gd name="T10" fmla="*/ 6 w 7"/>
                <a:gd name="T11" fmla="*/ 2 h 9"/>
                <a:gd name="T12" fmla="*/ 4 w 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4" y="0"/>
                  </a:moveTo>
                  <a:cubicBezTo>
                    <a:pt x="4" y="0"/>
                    <a:pt x="3" y="0"/>
                    <a:pt x="3" y="1"/>
                  </a:cubicBezTo>
                  <a:cubicBezTo>
                    <a:pt x="2" y="1"/>
                    <a:pt x="1" y="1"/>
                    <a:pt x="1" y="1"/>
                  </a:cubicBezTo>
                  <a:cubicBezTo>
                    <a:pt x="1" y="1"/>
                    <a:pt x="0" y="1"/>
                    <a:pt x="0" y="1"/>
                  </a:cubicBezTo>
                  <a:cubicBezTo>
                    <a:pt x="1" y="4"/>
                    <a:pt x="3" y="6"/>
                    <a:pt x="4" y="9"/>
                  </a:cubicBezTo>
                  <a:cubicBezTo>
                    <a:pt x="5" y="7"/>
                    <a:pt x="7" y="4"/>
                    <a:pt x="6" y="2"/>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0" name="Freeform 1417">
              <a:extLst>
                <a:ext uri="{FF2B5EF4-FFF2-40B4-BE49-F238E27FC236}">
                  <a16:creationId xmlns:a16="http://schemas.microsoft.com/office/drawing/2014/main" id="{D9D35F33-801A-4397-B087-87C3F38B727F}"/>
                </a:ext>
              </a:extLst>
            </p:cNvPr>
            <p:cNvSpPr>
              <a:spLocks noEditPoints="1"/>
            </p:cNvSpPr>
            <p:nvPr/>
          </p:nvSpPr>
          <p:spPr bwMode="auto">
            <a:xfrm>
              <a:off x="3261875" y="4122317"/>
              <a:ext cx="110072" cy="69802"/>
            </a:xfrm>
            <a:custGeom>
              <a:avLst/>
              <a:gdLst>
                <a:gd name="T0" fmla="*/ 0 w 35"/>
                <a:gd name="T1" fmla="*/ 0 h 22"/>
                <a:gd name="T2" fmla="*/ 3 w 35"/>
                <a:gd name="T3" fmla="*/ 4 h 22"/>
                <a:gd name="T4" fmla="*/ 7 w 35"/>
                <a:gd name="T5" fmla="*/ 7 h 22"/>
                <a:gd name="T6" fmla="*/ 7 w 35"/>
                <a:gd name="T7" fmla="*/ 7 h 22"/>
                <a:gd name="T8" fmla="*/ 11 w 35"/>
                <a:gd name="T9" fmla="*/ 11 h 22"/>
                <a:gd name="T10" fmla="*/ 11 w 35"/>
                <a:gd name="T11" fmla="*/ 11 h 22"/>
                <a:gd name="T12" fmla="*/ 19 w 35"/>
                <a:gd name="T13" fmla="*/ 18 h 22"/>
                <a:gd name="T14" fmla="*/ 27 w 35"/>
                <a:gd name="T15" fmla="*/ 22 h 22"/>
                <a:gd name="T16" fmla="*/ 28 w 35"/>
                <a:gd name="T17" fmla="*/ 22 h 22"/>
                <a:gd name="T18" fmla="*/ 0 w 35"/>
                <a:gd name="T19" fmla="*/ 0 h 22"/>
                <a:gd name="T20" fmla="*/ 0 w 35"/>
                <a:gd name="T21" fmla="*/ 0 h 22"/>
                <a:gd name="T22" fmla="*/ 0 w 35"/>
                <a:gd name="T23" fmla="*/ 0 h 22"/>
                <a:gd name="T24" fmla="*/ 0 w 35"/>
                <a:gd name="T25" fmla="*/ 0 h 22"/>
                <a:gd name="T26" fmla="*/ 0 w 35"/>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22">
                  <a:moveTo>
                    <a:pt x="0" y="0"/>
                  </a:moveTo>
                  <a:cubicBezTo>
                    <a:pt x="0" y="1"/>
                    <a:pt x="2" y="2"/>
                    <a:pt x="3" y="4"/>
                  </a:cubicBezTo>
                  <a:cubicBezTo>
                    <a:pt x="4" y="5"/>
                    <a:pt x="6" y="6"/>
                    <a:pt x="7" y="7"/>
                  </a:cubicBezTo>
                  <a:cubicBezTo>
                    <a:pt x="7" y="7"/>
                    <a:pt x="7" y="7"/>
                    <a:pt x="7" y="7"/>
                  </a:cubicBezTo>
                  <a:cubicBezTo>
                    <a:pt x="8" y="9"/>
                    <a:pt x="9" y="10"/>
                    <a:pt x="11" y="11"/>
                  </a:cubicBezTo>
                  <a:cubicBezTo>
                    <a:pt x="11" y="11"/>
                    <a:pt x="11" y="11"/>
                    <a:pt x="11" y="11"/>
                  </a:cubicBezTo>
                  <a:cubicBezTo>
                    <a:pt x="13" y="13"/>
                    <a:pt x="16" y="16"/>
                    <a:pt x="19" y="18"/>
                  </a:cubicBezTo>
                  <a:cubicBezTo>
                    <a:pt x="21" y="19"/>
                    <a:pt x="25" y="22"/>
                    <a:pt x="27" y="22"/>
                  </a:cubicBezTo>
                  <a:cubicBezTo>
                    <a:pt x="27" y="22"/>
                    <a:pt x="28" y="22"/>
                    <a:pt x="28" y="22"/>
                  </a:cubicBezTo>
                  <a:cubicBezTo>
                    <a:pt x="35" y="15"/>
                    <a:pt x="0" y="0"/>
                    <a:pt x="0" y="0"/>
                  </a:cubicBezTo>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1" name="Freeform 1418">
              <a:extLst>
                <a:ext uri="{FF2B5EF4-FFF2-40B4-BE49-F238E27FC236}">
                  <a16:creationId xmlns:a16="http://schemas.microsoft.com/office/drawing/2014/main" id="{9C48A309-19B8-4ECD-B5D8-304A2B09FE4A}"/>
                </a:ext>
              </a:extLst>
            </p:cNvPr>
            <p:cNvSpPr>
              <a:spLocks/>
            </p:cNvSpPr>
            <p:nvPr/>
          </p:nvSpPr>
          <p:spPr bwMode="auto">
            <a:xfrm>
              <a:off x="3350469" y="4252524"/>
              <a:ext cx="9396" cy="9396"/>
            </a:xfrm>
            <a:custGeom>
              <a:avLst/>
              <a:gdLst>
                <a:gd name="T0" fmla="*/ 3 w 3"/>
                <a:gd name="T1" fmla="*/ 0 h 3"/>
                <a:gd name="T2" fmla="*/ 1 w 3"/>
                <a:gd name="T3" fmla="*/ 3 h 3"/>
                <a:gd name="T4" fmla="*/ 3 w 3"/>
                <a:gd name="T5" fmla="*/ 0 h 3"/>
              </a:gdLst>
              <a:ahLst/>
              <a:cxnLst>
                <a:cxn ang="0">
                  <a:pos x="T0" y="T1"/>
                </a:cxn>
                <a:cxn ang="0">
                  <a:pos x="T2" y="T3"/>
                </a:cxn>
                <a:cxn ang="0">
                  <a:pos x="T4" y="T5"/>
                </a:cxn>
              </a:cxnLst>
              <a:rect l="0" t="0" r="r" b="b"/>
              <a:pathLst>
                <a:path w="3" h="3">
                  <a:moveTo>
                    <a:pt x="3" y="0"/>
                  </a:moveTo>
                  <a:cubicBezTo>
                    <a:pt x="1" y="1"/>
                    <a:pt x="0" y="2"/>
                    <a:pt x="1"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2" name="Freeform 1419">
              <a:extLst>
                <a:ext uri="{FF2B5EF4-FFF2-40B4-BE49-F238E27FC236}">
                  <a16:creationId xmlns:a16="http://schemas.microsoft.com/office/drawing/2014/main" id="{3B3EAD09-5243-4CBE-9462-EC423CA49986}"/>
                </a:ext>
              </a:extLst>
            </p:cNvPr>
            <p:cNvSpPr>
              <a:spLocks/>
            </p:cNvSpPr>
            <p:nvPr/>
          </p:nvSpPr>
          <p:spPr bwMode="auto">
            <a:xfrm>
              <a:off x="3311542" y="4138425"/>
              <a:ext cx="55036" cy="34901"/>
            </a:xfrm>
            <a:custGeom>
              <a:avLst/>
              <a:gdLst>
                <a:gd name="T0" fmla="*/ 5 w 17"/>
                <a:gd name="T1" fmla="*/ 0 h 11"/>
                <a:gd name="T2" fmla="*/ 3 w 17"/>
                <a:gd name="T3" fmla="*/ 1 h 11"/>
                <a:gd name="T4" fmla="*/ 6 w 17"/>
                <a:gd name="T5" fmla="*/ 1 h 11"/>
                <a:gd name="T6" fmla="*/ 4 w 17"/>
                <a:gd name="T7" fmla="*/ 2 h 11"/>
                <a:gd name="T8" fmla="*/ 4 w 17"/>
                <a:gd name="T9" fmla="*/ 2 h 11"/>
                <a:gd name="T10" fmla="*/ 0 w 17"/>
                <a:gd name="T11" fmla="*/ 0 h 11"/>
                <a:gd name="T12" fmla="*/ 11 w 17"/>
                <a:gd name="T13" fmla="*/ 9 h 11"/>
                <a:gd name="T14" fmla="*/ 14 w 17"/>
                <a:gd name="T15" fmla="*/ 11 h 11"/>
                <a:gd name="T16" fmla="*/ 15 w 17"/>
                <a:gd name="T17" fmla="*/ 10 h 11"/>
                <a:gd name="T18" fmla="*/ 13 w 17"/>
                <a:gd name="T19" fmla="*/ 8 h 11"/>
                <a:gd name="T20" fmla="*/ 10 w 17"/>
                <a:gd name="T21" fmla="*/ 6 h 11"/>
                <a:gd name="T22" fmla="*/ 6 w 17"/>
                <a:gd name="T23" fmla="*/ 1 h 11"/>
                <a:gd name="T24" fmla="*/ 8 w 17"/>
                <a:gd name="T25" fmla="*/ 3 h 11"/>
                <a:gd name="T26" fmla="*/ 15 w 17"/>
                <a:gd name="T27" fmla="*/ 8 h 11"/>
                <a:gd name="T28" fmla="*/ 14 w 17"/>
                <a:gd name="T29" fmla="*/ 3 h 11"/>
                <a:gd name="T30" fmla="*/ 15 w 17"/>
                <a:gd name="T31" fmla="*/ 4 h 11"/>
                <a:gd name="T32" fmla="*/ 17 w 17"/>
                <a:gd name="T33" fmla="*/ 3 h 11"/>
                <a:gd name="T34" fmla="*/ 5 w 17"/>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1">
                  <a:moveTo>
                    <a:pt x="5" y="0"/>
                  </a:moveTo>
                  <a:cubicBezTo>
                    <a:pt x="4" y="0"/>
                    <a:pt x="4" y="0"/>
                    <a:pt x="3" y="1"/>
                  </a:cubicBezTo>
                  <a:cubicBezTo>
                    <a:pt x="4" y="1"/>
                    <a:pt x="5" y="1"/>
                    <a:pt x="6" y="1"/>
                  </a:cubicBezTo>
                  <a:cubicBezTo>
                    <a:pt x="5" y="1"/>
                    <a:pt x="4" y="2"/>
                    <a:pt x="4" y="2"/>
                  </a:cubicBezTo>
                  <a:cubicBezTo>
                    <a:pt x="4" y="2"/>
                    <a:pt x="4" y="2"/>
                    <a:pt x="4" y="2"/>
                  </a:cubicBezTo>
                  <a:cubicBezTo>
                    <a:pt x="3" y="1"/>
                    <a:pt x="1" y="1"/>
                    <a:pt x="0" y="0"/>
                  </a:cubicBezTo>
                  <a:cubicBezTo>
                    <a:pt x="2" y="4"/>
                    <a:pt x="7" y="7"/>
                    <a:pt x="11" y="9"/>
                  </a:cubicBezTo>
                  <a:cubicBezTo>
                    <a:pt x="11" y="10"/>
                    <a:pt x="13" y="11"/>
                    <a:pt x="14" y="11"/>
                  </a:cubicBezTo>
                  <a:cubicBezTo>
                    <a:pt x="15" y="11"/>
                    <a:pt x="16" y="11"/>
                    <a:pt x="15" y="10"/>
                  </a:cubicBezTo>
                  <a:cubicBezTo>
                    <a:pt x="15" y="9"/>
                    <a:pt x="14" y="9"/>
                    <a:pt x="13" y="8"/>
                  </a:cubicBezTo>
                  <a:cubicBezTo>
                    <a:pt x="12" y="8"/>
                    <a:pt x="11" y="7"/>
                    <a:pt x="10" y="6"/>
                  </a:cubicBezTo>
                  <a:cubicBezTo>
                    <a:pt x="9" y="5"/>
                    <a:pt x="8" y="2"/>
                    <a:pt x="6" y="1"/>
                  </a:cubicBezTo>
                  <a:cubicBezTo>
                    <a:pt x="7" y="1"/>
                    <a:pt x="7" y="2"/>
                    <a:pt x="8" y="3"/>
                  </a:cubicBezTo>
                  <a:cubicBezTo>
                    <a:pt x="10" y="5"/>
                    <a:pt x="12" y="7"/>
                    <a:pt x="15" y="8"/>
                  </a:cubicBezTo>
                  <a:cubicBezTo>
                    <a:pt x="14" y="7"/>
                    <a:pt x="14" y="5"/>
                    <a:pt x="14" y="3"/>
                  </a:cubicBezTo>
                  <a:cubicBezTo>
                    <a:pt x="14" y="4"/>
                    <a:pt x="14" y="4"/>
                    <a:pt x="15" y="4"/>
                  </a:cubicBezTo>
                  <a:cubicBezTo>
                    <a:pt x="15" y="4"/>
                    <a:pt x="16" y="3"/>
                    <a:pt x="17" y="3"/>
                  </a:cubicBezTo>
                  <a:cubicBezTo>
                    <a:pt x="13" y="1"/>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3" name="Freeform 1420">
              <a:extLst>
                <a:ext uri="{FF2B5EF4-FFF2-40B4-BE49-F238E27FC236}">
                  <a16:creationId xmlns:a16="http://schemas.microsoft.com/office/drawing/2014/main" id="{882DA6E7-9C79-4F64-BB67-6F3640C55D58}"/>
                </a:ext>
              </a:extLst>
            </p:cNvPr>
            <p:cNvSpPr>
              <a:spLocks/>
            </p:cNvSpPr>
            <p:nvPr/>
          </p:nvSpPr>
          <p:spPr bwMode="auto">
            <a:xfrm>
              <a:off x="3413559" y="3316915"/>
              <a:ext cx="13423" cy="9396"/>
            </a:xfrm>
            <a:custGeom>
              <a:avLst/>
              <a:gdLst>
                <a:gd name="T0" fmla="*/ 4 w 4"/>
                <a:gd name="T1" fmla="*/ 0 h 3"/>
                <a:gd name="T2" fmla="*/ 0 w 4"/>
                <a:gd name="T3" fmla="*/ 3 h 3"/>
                <a:gd name="T4" fmla="*/ 1 w 4"/>
                <a:gd name="T5" fmla="*/ 3 h 3"/>
                <a:gd name="T6" fmla="*/ 4 w 4"/>
                <a:gd name="T7" fmla="*/ 0 h 3"/>
              </a:gdLst>
              <a:ahLst/>
              <a:cxnLst>
                <a:cxn ang="0">
                  <a:pos x="T0" y="T1"/>
                </a:cxn>
                <a:cxn ang="0">
                  <a:pos x="T2" y="T3"/>
                </a:cxn>
                <a:cxn ang="0">
                  <a:pos x="T4" y="T5"/>
                </a:cxn>
                <a:cxn ang="0">
                  <a:pos x="T6" y="T7"/>
                </a:cxn>
              </a:cxnLst>
              <a:rect l="0" t="0" r="r" b="b"/>
              <a:pathLst>
                <a:path w="4" h="3">
                  <a:moveTo>
                    <a:pt x="4" y="0"/>
                  </a:moveTo>
                  <a:cubicBezTo>
                    <a:pt x="2" y="1"/>
                    <a:pt x="1" y="2"/>
                    <a:pt x="0" y="3"/>
                  </a:cubicBezTo>
                  <a:cubicBezTo>
                    <a:pt x="0" y="3"/>
                    <a:pt x="1" y="3"/>
                    <a:pt x="1" y="3"/>
                  </a:cubicBezTo>
                  <a:cubicBezTo>
                    <a:pt x="3" y="3"/>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4" name="Freeform 1421">
              <a:extLst>
                <a:ext uri="{FF2B5EF4-FFF2-40B4-BE49-F238E27FC236}">
                  <a16:creationId xmlns:a16="http://schemas.microsoft.com/office/drawing/2014/main" id="{2509D5F7-1416-42C4-884A-7846B4167764}"/>
                </a:ext>
              </a:extLst>
            </p:cNvPr>
            <p:cNvSpPr>
              <a:spLocks/>
            </p:cNvSpPr>
            <p:nvPr/>
          </p:nvSpPr>
          <p:spPr bwMode="auto">
            <a:xfrm>
              <a:off x="3369262" y="4116948"/>
              <a:ext cx="6712" cy="14766"/>
            </a:xfrm>
            <a:custGeom>
              <a:avLst/>
              <a:gdLst>
                <a:gd name="T0" fmla="*/ 1 w 2"/>
                <a:gd name="T1" fmla="*/ 0 h 5"/>
                <a:gd name="T2" fmla="*/ 0 w 2"/>
                <a:gd name="T3" fmla="*/ 1 h 5"/>
                <a:gd name="T4" fmla="*/ 2 w 2"/>
                <a:gd name="T5" fmla="*/ 5 h 5"/>
                <a:gd name="T6" fmla="*/ 1 w 2"/>
                <a:gd name="T7" fmla="*/ 0 h 5"/>
              </a:gdLst>
              <a:ahLst/>
              <a:cxnLst>
                <a:cxn ang="0">
                  <a:pos x="T0" y="T1"/>
                </a:cxn>
                <a:cxn ang="0">
                  <a:pos x="T2" y="T3"/>
                </a:cxn>
                <a:cxn ang="0">
                  <a:pos x="T4" y="T5"/>
                </a:cxn>
                <a:cxn ang="0">
                  <a:pos x="T6" y="T7"/>
                </a:cxn>
              </a:cxnLst>
              <a:rect l="0" t="0" r="r" b="b"/>
              <a:pathLst>
                <a:path w="2" h="5">
                  <a:moveTo>
                    <a:pt x="1" y="0"/>
                  </a:moveTo>
                  <a:cubicBezTo>
                    <a:pt x="1" y="1"/>
                    <a:pt x="1" y="1"/>
                    <a:pt x="0" y="1"/>
                  </a:cubicBezTo>
                  <a:cubicBezTo>
                    <a:pt x="0" y="3"/>
                    <a:pt x="1" y="4"/>
                    <a:pt x="2" y="5"/>
                  </a:cubicBezTo>
                  <a:cubicBezTo>
                    <a:pt x="2"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5" name="Freeform 1422">
              <a:extLst>
                <a:ext uri="{FF2B5EF4-FFF2-40B4-BE49-F238E27FC236}">
                  <a16:creationId xmlns:a16="http://schemas.microsoft.com/office/drawing/2014/main" id="{6D045CAD-09B9-4B7E-9D7E-25BC7010D0E8}"/>
                </a:ext>
              </a:extLst>
            </p:cNvPr>
            <p:cNvSpPr>
              <a:spLocks/>
            </p:cNvSpPr>
            <p:nvPr/>
          </p:nvSpPr>
          <p:spPr bwMode="auto">
            <a:xfrm>
              <a:off x="3381343" y="3328996"/>
              <a:ext cx="10739" cy="13423"/>
            </a:xfrm>
            <a:custGeom>
              <a:avLst/>
              <a:gdLst>
                <a:gd name="T0" fmla="*/ 0 w 3"/>
                <a:gd name="T1" fmla="*/ 0 h 4"/>
                <a:gd name="T2" fmla="*/ 0 w 3"/>
                <a:gd name="T3" fmla="*/ 0 h 4"/>
                <a:gd name="T4" fmla="*/ 2 w 3"/>
                <a:gd name="T5" fmla="*/ 4 h 4"/>
                <a:gd name="T6" fmla="*/ 3 w 3"/>
                <a:gd name="T7" fmla="*/ 2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0"/>
                    <a:pt x="0" y="0"/>
                    <a:pt x="0" y="0"/>
                  </a:cubicBezTo>
                  <a:cubicBezTo>
                    <a:pt x="0" y="1"/>
                    <a:pt x="1" y="3"/>
                    <a:pt x="2" y="4"/>
                  </a:cubicBezTo>
                  <a:cubicBezTo>
                    <a:pt x="2" y="3"/>
                    <a:pt x="2"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6" name="Freeform 1423">
              <a:extLst>
                <a:ext uri="{FF2B5EF4-FFF2-40B4-BE49-F238E27FC236}">
                  <a16:creationId xmlns:a16="http://schemas.microsoft.com/office/drawing/2014/main" id="{D5285FB5-EF67-49E8-BCBD-5FA3883A548B}"/>
                </a:ext>
              </a:extLst>
            </p:cNvPr>
            <p:cNvSpPr>
              <a:spLocks/>
            </p:cNvSpPr>
            <p:nvPr/>
          </p:nvSpPr>
          <p:spPr bwMode="auto">
            <a:xfrm>
              <a:off x="4358563" y="2989385"/>
              <a:ext cx="146315" cy="257729"/>
            </a:xfrm>
            <a:custGeom>
              <a:avLst/>
              <a:gdLst>
                <a:gd name="T0" fmla="*/ 37 w 46"/>
                <a:gd name="T1" fmla="*/ 0 h 81"/>
                <a:gd name="T2" fmla="*/ 39 w 46"/>
                <a:gd name="T3" fmla="*/ 4 h 81"/>
                <a:gd name="T4" fmla="*/ 33 w 46"/>
                <a:gd name="T5" fmla="*/ 10 h 81"/>
                <a:gd name="T6" fmla="*/ 26 w 46"/>
                <a:gd name="T7" fmla="*/ 4 h 81"/>
                <a:gd name="T8" fmla="*/ 27 w 46"/>
                <a:gd name="T9" fmla="*/ 3 h 81"/>
                <a:gd name="T10" fmla="*/ 21 w 46"/>
                <a:gd name="T11" fmla="*/ 6 h 81"/>
                <a:gd name="T12" fmla="*/ 19 w 46"/>
                <a:gd name="T13" fmla="*/ 11 h 81"/>
                <a:gd name="T14" fmla="*/ 15 w 46"/>
                <a:gd name="T15" fmla="*/ 16 h 81"/>
                <a:gd name="T16" fmla="*/ 3 w 46"/>
                <a:gd name="T17" fmla="*/ 38 h 81"/>
                <a:gd name="T18" fmla="*/ 1 w 46"/>
                <a:gd name="T19" fmla="*/ 51 h 81"/>
                <a:gd name="T20" fmla="*/ 4 w 46"/>
                <a:gd name="T21" fmla="*/ 61 h 81"/>
                <a:gd name="T22" fmla="*/ 11 w 46"/>
                <a:gd name="T23" fmla="*/ 72 h 81"/>
                <a:gd name="T24" fmla="*/ 18 w 46"/>
                <a:gd name="T25" fmla="*/ 81 h 81"/>
                <a:gd name="T26" fmla="*/ 24 w 46"/>
                <a:gd name="T27" fmla="*/ 64 h 81"/>
                <a:gd name="T28" fmla="*/ 33 w 46"/>
                <a:gd name="T29" fmla="*/ 44 h 81"/>
                <a:gd name="T30" fmla="*/ 40 w 46"/>
                <a:gd name="T31" fmla="*/ 22 h 81"/>
                <a:gd name="T32" fmla="*/ 42 w 46"/>
                <a:gd name="T33" fmla="*/ 13 h 81"/>
                <a:gd name="T34" fmla="*/ 46 w 46"/>
                <a:gd name="T35" fmla="*/ 4 h 81"/>
                <a:gd name="T36" fmla="*/ 37 w 46"/>
                <a:gd name="T3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81">
                  <a:moveTo>
                    <a:pt x="37" y="0"/>
                  </a:moveTo>
                  <a:cubicBezTo>
                    <a:pt x="38" y="1"/>
                    <a:pt x="39" y="2"/>
                    <a:pt x="39" y="4"/>
                  </a:cubicBezTo>
                  <a:cubicBezTo>
                    <a:pt x="39" y="8"/>
                    <a:pt x="36" y="10"/>
                    <a:pt x="33" y="10"/>
                  </a:cubicBezTo>
                  <a:cubicBezTo>
                    <a:pt x="29" y="10"/>
                    <a:pt x="26" y="8"/>
                    <a:pt x="26" y="4"/>
                  </a:cubicBezTo>
                  <a:cubicBezTo>
                    <a:pt x="26" y="3"/>
                    <a:pt x="26" y="3"/>
                    <a:pt x="27" y="3"/>
                  </a:cubicBezTo>
                  <a:cubicBezTo>
                    <a:pt x="25" y="4"/>
                    <a:pt x="23" y="5"/>
                    <a:pt x="21" y="6"/>
                  </a:cubicBezTo>
                  <a:cubicBezTo>
                    <a:pt x="20" y="6"/>
                    <a:pt x="20" y="9"/>
                    <a:pt x="19" y="11"/>
                  </a:cubicBezTo>
                  <a:cubicBezTo>
                    <a:pt x="18" y="12"/>
                    <a:pt x="16" y="14"/>
                    <a:pt x="15" y="16"/>
                  </a:cubicBezTo>
                  <a:cubicBezTo>
                    <a:pt x="10" y="22"/>
                    <a:pt x="5" y="30"/>
                    <a:pt x="3" y="38"/>
                  </a:cubicBezTo>
                  <a:cubicBezTo>
                    <a:pt x="1" y="42"/>
                    <a:pt x="2" y="46"/>
                    <a:pt x="1" y="51"/>
                  </a:cubicBezTo>
                  <a:cubicBezTo>
                    <a:pt x="0" y="54"/>
                    <a:pt x="3" y="58"/>
                    <a:pt x="4" y="61"/>
                  </a:cubicBezTo>
                  <a:cubicBezTo>
                    <a:pt x="6" y="66"/>
                    <a:pt x="9" y="68"/>
                    <a:pt x="11" y="72"/>
                  </a:cubicBezTo>
                  <a:cubicBezTo>
                    <a:pt x="13" y="76"/>
                    <a:pt x="13" y="80"/>
                    <a:pt x="18" y="81"/>
                  </a:cubicBezTo>
                  <a:cubicBezTo>
                    <a:pt x="19" y="74"/>
                    <a:pt x="21" y="70"/>
                    <a:pt x="24" y="64"/>
                  </a:cubicBezTo>
                  <a:cubicBezTo>
                    <a:pt x="27" y="57"/>
                    <a:pt x="31" y="51"/>
                    <a:pt x="33" y="44"/>
                  </a:cubicBezTo>
                  <a:cubicBezTo>
                    <a:pt x="36" y="37"/>
                    <a:pt x="38" y="29"/>
                    <a:pt x="40" y="22"/>
                  </a:cubicBezTo>
                  <a:cubicBezTo>
                    <a:pt x="41" y="19"/>
                    <a:pt x="42" y="16"/>
                    <a:pt x="42" y="13"/>
                  </a:cubicBezTo>
                  <a:cubicBezTo>
                    <a:pt x="43" y="11"/>
                    <a:pt x="43" y="5"/>
                    <a:pt x="46" y="4"/>
                  </a:cubicBezTo>
                  <a:cubicBezTo>
                    <a:pt x="43" y="3"/>
                    <a:pt x="40" y="1"/>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7" name="Freeform 1424">
              <a:extLst>
                <a:ext uri="{FF2B5EF4-FFF2-40B4-BE49-F238E27FC236}">
                  <a16:creationId xmlns:a16="http://schemas.microsoft.com/office/drawing/2014/main" id="{E80F677A-AE7E-4015-9048-1D546536C62F}"/>
                </a:ext>
              </a:extLst>
            </p:cNvPr>
            <p:cNvSpPr>
              <a:spLocks/>
            </p:cNvSpPr>
            <p:nvPr/>
          </p:nvSpPr>
          <p:spPr bwMode="auto">
            <a:xfrm>
              <a:off x="4463266" y="2984016"/>
              <a:ext cx="4027"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8" name="Freeform 1425">
              <a:extLst>
                <a:ext uri="{FF2B5EF4-FFF2-40B4-BE49-F238E27FC236}">
                  <a16:creationId xmlns:a16="http://schemas.microsoft.com/office/drawing/2014/main" id="{330AAAEB-43C5-4D80-A530-CE950CCD3086}"/>
                </a:ext>
              </a:extLst>
            </p:cNvPr>
            <p:cNvSpPr>
              <a:spLocks/>
            </p:cNvSpPr>
            <p:nvPr/>
          </p:nvSpPr>
          <p:spPr bwMode="auto">
            <a:xfrm>
              <a:off x="4463266" y="2984016"/>
              <a:ext cx="4027"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9" name="Freeform 1426">
              <a:extLst>
                <a:ext uri="{FF2B5EF4-FFF2-40B4-BE49-F238E27FC236}">
                  <a16:creationId xmlns:a16="http://schemas.microsoft.com/office/drawing/2014/main" id="{240D57DA-AA27-4397-AC0F-300F02788037}"/>
                </a:ext>
              </a:extLst>
            </p:cNvPr>
            <p:cNvSpPr>
              <a:spLocks/>
            </p:cNvSpPr>
            <p:nvPr/>
          </p:nvSpPr>
          <p:spPr bwMode="auto">
            <a:xfrm>
              <a:off x="4225672" y="3043078"/>
              <a:ext cx="16108" cy="10739"/>
            </a:xfrm>
            <a:custGeom>
              <a:avLst/>
              <a:gdLst>
                <a:gd name="T0" fmla="*/ 4 w 5"/>
                <a:gd name="T1" fmla="*/ 0 h 3"/>
                <a:gd name="T2" fmla="*/ 1 w 5"/>
                <a:gd name="T3" fmla="*/ 2 h 3"/>
                <a:gd name="T4" fmla="*/ 3 w 5"/>
                <a:gd name="T5" fmla="*/ 3 h 3"/>
                <a:gd name="T6" fmla="*/ 4 w 5"/>
                <a:gd name="T7" fmla="*/ 0 h 3"/>
              </a:gdLst>
              <a:ahLst/>
              <a:cxnLst>
                <a:cxn ang="0">
                  <a:pos x="T0" y="T1"/>
                </a:cxn>
                <a:cxn ang="0">
                  <a:pos x="T2" y="T3"/>
                </a:cxn>
                <a:cxn ang="0">
                  <a:pos x="T4" y="T5"/>
                </a:cxn>
                <a:cxn ang="0">
                  <a:pos x="T6" y="T7"/>
                </a:cxn>
              </a:cxnLst>
              <a:rect l="0" t="0" r="r" b="b"/>
              <a:pathLst>
                <a:path w="5" h="3">
                  <a:moveTo>
                    <a:pt x="4" y="0"/>
                  </a:moveTo>
                  <a:cubicBezTo>
                    <a:pt x="2" y="1"/>
                    <a:pt x="0" y="0"/>
                    <a:pt x="1" y="2"/>
                  </a:cubicBezTo>
                  <a:cubicBezTo>
                    <a:pt x="1" y="3"/>
                    <a:pt x="2" y="3"/>
                    <a:pt x="3" y="3"/>
                  </a:cubicBezTo>
                  <a:cubicBezTo>
                    <a:pt x="4"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0" name="Freeform 1427">
              <a:extLst>
                <a:ext uri="{FF2B5EF4-FFF2-40B4-BE49-F238E27FC236}">
                  <a16:creationId xmlns:a16="http://schemas.microsoft.com/office/drawing/2014/main" id="{D0E63199-5898-4763-810C-3E0C3D0E2C9B}"/>
                </a:ext>
              </a:extLst>
            </p:cNvPr>
            <p:cNvSpPr>
              <a:spLocks/>
            </p:cNvSpPr>
            <p:nvPr/>
          </p:nvSpPr>
          <p:spPr bwMode="auto">
            <a:xfrm>
              <a:off x="4318293" y="3119592"/>
              <a:ext cx="12081" cy="0"/>
            </a:xfrm>
            <a:custGeom>
              <a:avLst/>
              <a:gdLst>
                <a:gd name="T0" fmla="*/ 3 w 4"/>
                <a:gd name="T1" fmla="*/ 0 w 4"/>
                <a:gd name="T2" fmla="*/ 4 w 4"/>
                <a:gd name="T3" fmla="*/ 3 w 4"/>
              </a:gdLst>
              <a:ahLst/>
              <a:cxnLst>
                <a:cxn ang="0">
                  <a:pos x="T0" y="0"/>
                </a:cxn>
                <a:cxn ang="0">
                  <a:pos x="T1" y="0"/>
                </a:cxn>
                <a:cxn ang="0">
                  <a:pos x="T2" y="0"/>
                </a:cxn>
                <a:cxn ang="0">
                  <a:pos x="T3" y="0"/>
                </a:cxn>
              </a:cxnLst>
              <a:rect l="0" t="0" r="r" b="b"/>
              <a:pathLst>
                <a:path w="4">
                  <a:moveTo>
                    <a:pt x="3" y="0"/>
                  </a:moveTo>
                  <a:cubicBezTo>
                    <a:pt x="2" y="0"/>
                    <a:pt x="1" y="0"/>
                    <a:pt x="0" y="0"/>
                  </a:cubicBezTo>
                  <a:cubicBezTo>
                    <a:pt x="1" y="0"/>
                    <a:pt x="2"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1" name="Freeform 1428">
              <a:extLst>
                <a:ext uri="{FF2B5EF4-FFF2-40B4-BE49-F238E27FC236}">
                  <a16:creationId xmlns:a16="http://schemas.microsoft.com/office/drawing/2014/main" id="{04CD38D9-5E70-40F5-9FF1-A6CEB304F3D7}"/>
                </a:ext>
              </a:extLst>
            </p:cNvPr>
            <p:cNvSpPr>
              <a:spLocks/>
            </p:cNvSpPr>
            <p:nvPr/>
          </p:nvSpPr>
          <p:spPr bwMode="auto">
            <a:xfrm>
              <a:off x="4828381" y="1945047"/>
              <a:ext cx="9396" cy="20135"/>
            </a:xfrm>
            <a:custGeom>
              <a:avLst/>
              <a:gdLst>
                <a:gd name="T0" fmla="*/ 2 w 3"/>
                <a:gd name="T1" fmla="*/ 0 h 6"/>
                <a:gd name="T2" fmla="*/ 3 w 3"/>
                <a:gd name="T3" fmla="*/ 6 h 6"/>
                <a:gd name="T4" fmla="*/ 3 w 3"/>
                <a:gd name="T5" fmla="*/ 6 h 6"/>
                <a:gd name="T6" fmla="*/ 2 w 3"/>
                <a:gd name="T7" fmla="*/ 0 h 6"/>
              </a:gdLst>
              <a:ahLst/>
              <a:cxnLst>
                <a:cxn ang="0">
                  <a:pos x="T0" y="T1"/>
                </a:cxn>
                <a:cxn ang="0">
                  <a:pos x="T2" y="T3"/>
                </a:cxn>
                <a:cxn ang="0">
                  <a:pos x="T4" y="T5"/>
                </a:cxn>
                <a:cxn ang="0">
                  <a:pos x="T6" y="T7"/>
                </a:cxn>
              </a:cxnLst>
              <a:rect l="0" t="0" r="r" b="b"/>
              <a:pathLst>
                <a:path w="3" h="6">
                  <a:moveTo>
                    <a:pt x="2" y="0"/>
                  </a:moveTo>
                  <a:cubicBezTo>
                    <a:pt x="0" y="2"/>
                    <a:pt x="0" y="6"/>
                    <a:pt x="3" y="6"/>
                  </a:cubicBezTo>
                  <a:cubicBezTo>
                    <a:pt x="3" y="6"/>
                    <a:pt x="3" y="6"/>
                    <a:pt x="3" y="6"/>
                  </a:cubicBezTo>
                  <a:cubicBezTo>
                    <a:pt x="3" y="4"/>
                    <a:pt x="3"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2" name="Freeform 1429">
              <a:extLst>
                <a:ext uri="{FF2B5EF4-FFF2-40B4-BE49-F238E27FC236}">
                  <a16:creationId xmlns:a16="http://schemas.microsoft.com/office/drawing/2014/main" id="{A8BEF6D5-1B80-458A-BCC5-D3DC4DB80472}"/>
                </a:ext>
              </a:extLst>
            </p:cNvPr>
            <p:cNvSpPr>
              <a:spLocks noEditPoints="1"/>
            </p:cNvSpPr>
            <p:nvPr/>
          </p:nvSpPr>
          <p:spPr bwMode="auto">
            <a:xfrm>
              <a:off x="3506180" y="3382690"/>
              <a:ext cx="177188" cy="155711"/>
            </a:xfrm>
            <a:custGeom>
              <a:avLst/>
              <a:gdLst>
                <a:gd name="T0" fmla="*/ 16 w 56"/>
                <a:gd name="T1" fmla="*/ 7 h 49"/>
                <a:gd name="T2" fmla="*/ 16 w 56"/>
                <a:gd name="T3" fmla="*/ 7 h 49"/>
                <a:gd name="T4" fmla="*/ 16 w 56"/>
                <a:gd name="T5" fmla="*/ 7 h 49"/>
                <a:gd name="T6" fmla="*/ 48 w 56"/>
                <a:gd name="T7" fmla="*/ 0 h 49"/>
                <a:gd name="T8" fmla="*/ 46 w 56"/>
                <a:gd name="T9" fmla="*/ 6 h 49"/>
                <a:gd name="T10" fmla="*/ 41 w 56"/>
                <a:gd name="T11" fmla="*/ 4 h 49"/>
                <a:gd name="T12" fmla="*/ 37 w 56"/>
                <a:gd name="T13" fmla="*/ 3 h 49"/>
                <a:gd name="T14" fmla="*/ 36 w 56"/>
                <a:gd name="T15" fmla="*/ 4 h 49"/>
                <a:gd name="T16" fmla="*/ 32 w 56"/>
                <a:gd name="T17" fmla="*/ 5 h 49"/>
                <a:gd name="T18" fmla="*/ 29 w 56"/>
                <a:gd name="T19" fmla="*/ 5 h 49"/>
                <a:gd name="T20" fmla="*/ 28 w 56"/>
                <a:gd name="T21" fmla="*/ 5 h 49"/>
                <a:gd name="T22" fmla="*/ 27 w 56"/>
                <a:gd name="T23" fmla="*/ 5 h 49"/>
                <a:gd name="T24" fmla="*/ 27 w 56"/>
                <a:gd name="T25" fmla="*/ 5 h 49"/>
                <a:gd name="T26" fmla="*/ 26 w 56"/>
                <a:gd name="T27" fmla="*/ 4 h 49"/>
                <a:gd name="T28" fmla="*/ 25 w 56"/>
                <a:gd name="T29" fmla="*/ 4 h 49"/>
                <a:gd name="T30" fmla="*/ 22 w 56"/>
                <a:gd name="T31" fmla="*/ 5 h 49"/>
                <a:gd name="T32" fmla="*/ 20 w 56"/>
                <a:gd name="T33" fmla="*/ 7 h 49"/>
                <a:gd name="T34" fmla="*/ 19 w 56"/>
                <a:gd name="T35" fmla="*/ 8 h 49"/>
                <a:gd name="T36" fmla="*/ 18 w 56"/>
                <a:gd name="T37" fmla="*/ 7 h 49"/>
                <a:gd name="T38" fmla="*/ 17 w 56"/>
                <a:gd name="T39" fmla="*/ 7 h 49"/>
                <a:gd name="T40" fmla="*/ 16 w 56"/>
                <a:gd name="T41" fmla="*/ 7 h 49"/>
                <a:gd name="T42" fmla="*/ 16 w 56"/>
                <a:gd name="T43" fmla="*/ 11 h 49"/>
                <a:gd name="T44" fmla="*/ 7 w 56"/>
                <a:gd name="T45" fmla="*/ 17 h 49"/>
                <a:gd name="T46" fmla="*/ 0 w 56"/>
                <a:gd name="T47" fmla="*/ 25 h 49"/>
                <a:gd name="T48" fmla="*/ 0 w 56"/>
                <a:gd name="T49" fmla="*/ 29 h 49"/>
                <a:gd name="T50" fmla="*/ 1 w 56"/>
                <a:gd name="T51" fmla="*/ 38 h 49"/>
                <a:gd name="T52" fmla="*/ 1 w 56"/>
                <a:gd name="T53" fmla="*/ 40 h 49"/>
                <a:gd name="T54" fmla="*/ 17 w 56"/>
                <a:gd name="T55" fmla="*/ 47 h 49"/>
                <a:gd name="T56" fmla="*/ 22 w 56"/>
                <a:gd name="T57" fmla="*/ 49 h 49"/>
                <a:gd name="T58" fmla="*/ 25 w 56"/>
                <a:gd name="T59" fmla="*/ 48 h 49"/>
                <a:gd name="T60" fmla="*/ 27 w 56"/>
                <a:gd name="T61" fmla="*/ 44 h 49"/>
                <a:gd name="T62" fmla="*/ 32 w 56"/>
                <a:gd name="T63" fmla="*/ 42 h 49"/>
                <a:gd name="T64" fmla="*/ 35 w 56"/>
                <a:gd name="T65" fmla="*/ 40 h 49"/>
                <a:gd name="T66" fmla="*/ 36 w 56"/>
                <a:gd name="T67" fmla="*/ 39 h 49"/>
                <a:gd name="T68" fmla="*/ 41 w 56"/>
                <a:gd name="T69" fmla="*/ 36 h 49"/>
                <a:gd name="T70" fmla="*/ 42 w 56"/>
                <a:gd name="T71" fmla="*/ 37 h 49"/>
                <a:gd name="T72" fmla="*/ 43 w 56"/>
                <a:gd name="T73" fmla="*/ 34 h 49"/>
                <a:gd name="T74" fmla="*/ 43 w 56"/>
                <a:gd name="T75" fmla="*/ 34 h 49"/>
                <a:gd name="T76" fmla="*/ 44 w 56"/>
                <a:gd name="T77" fmla="*/ 34 h 49"/>
                <a:gd name="T78" fmla="*/ 44 w 56"/>
                <a:gd name="T79" fmla="*/ 34 h 49"/>
                <a:gd name="T80" fmla="*/ 44 w 56"/>
                <a:gd name="T81" fmla="*/ 34 h 49"/>
                <a:gd name="T82" fmla="*/ 47 w 56"/>
                <a:gd name="T83" fmla="*/ 23 h 49"/>
                <a:gd name="T84" fmla="*/ 52 w 56"/>
                <a:gd name="T85" fmla="*/ 13 h 49"/>
                <a:gd name="T86" fmla="*/ 52 w 56"/>
                <a:gd name="T87" fmla="*/ 16 h 49"/>
                <a:gd name="T88" fmla="*/ 56 w 56"/>
                <a:gd name="T89" fmla="*/ 13 h 49"/>
                <a:gd name="T90" fmla="*/ 56 w 56"/>
                <a:gd name="T91" fmla="*/ 13 h 49"/>
                <a:gd name="T92" fmla="*/ 55 w 56"/>
                <a:gd name="T93" fmla="*/ 6 h 49"/>
                <a:gd name="T94" fmla="*/ 48 w 56"/>
                <a:gd name="T9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49">
                  <a:moveTo>
                    <a:pt x="16" y="7"/>
                  </a:moveTo>
                  <a:cubicBezTo>
                    <a:pt x="16" y="7"/>
                    <a:pt x="16" y="7"/>
                    <a:pt x="16" y="7"/>
                  </a:cubicBezTo>
                  <a:cubicBezTo>
                    <a:pt x="16" y="7"/>
                    <a:pt x="16" y="7"/>
                    <a:pt x="16" y="7"/>
                  </a:cubicBezTo>
                  <a:moveTo>
                    <a:pt x="48" y="0"/>
                  </a:moveTo>
                  <a:cubicBezTo>
                    <a:pt x="46" y="4"/>
                    <a:pt x="47" y="6"/>
                    <a:pt x="46" y="6"/>
                  </a:cubicBezTo>
                  <a:cubicBezTo>
                    <a:pt x="45" y="6"/>
                    <a:pt x="44" y="5"/>
                    <a:pt x="41" y="4"/>
                  </a:cubicBezTo>
                  <a:cubicBezTo>
                    <a:pt x="40" y="4"/>
                    <a:pt x="38" y="3"/>
                    <a:pt x="37" y="3"/>
                  </a:cubicBezTo>
                  <a:cubicBezTo>
                    <a:pt x="36" y="3"/>
                    <a:pt x="35" y="3"/>
                    <a:pt x="36" y="4"/>
                  </a:cubicBezTo>
                  <a:cubicBezTo>
                    <a:pt x="34" y="5"/>
                    <a:pt x="33" y="5"/>
                    <a:pt x="32" y="5"/>
                  </a:cubicBezTo>
                  <a:cubicBezTo>
                    <a:pt x="31" y="5"/>
                    <a:pt x="30" y="5"/>
                    <a:pt x="29" y="5"/>
                  </a:cubicBezTo>
                  <a:cubicBezTo>
                    <a:pt x="28" y="5"/>
                    <a:pt x="28" y="5"/>
                    <a:pt x="28" y="5"/>
                  </a:cubicBezTo>
                  <a:cubicBezTo>
                    <a:pt x="28" y="5"/>
                    <a:pt x="28" y="5"/>
                    <a:pt x="27" y="5"/>
                  </a:cubicBezTo>
                  <a:cubicBezTo>
                    <a:pt x="27" y="5"/>
                    <a:pt x="27" y="5"/>
                    <a:pt x="27" y="5"/>
                  </a:cubicBezTo>
                  <a:cubicBezTo>
                    <a:pt x="26" y="5"/>
                    <a:pt x="26" y="4"/>
                    <a:pt x="26" y="4"/>
                  </a:cubicBezTo>
                  <a:cubicBezTo>
                    <a:pt x="26" y="4"/>
                    <a:pt x="25" y="4"/>
                    <a:pt x="25" y="4"/>
                  </a:cubicBezTo>
                  <a:cubicBezTo>
                    <a:pt x="24" y="4"/>
                    <a:pt x="24" y="5"/>
                    <a:pt x="22" y="5"/>
                  </a:cubicBezTo>
                  <a:cubicBezTo>
                    <a:pt x="21" y="6"/>
                    <a:pt x="22" y="7"/>
                    <a:pt x="20" y="7"/>
                  </a:cubicBezTo>
                  <a:cubicBezTo>
                    <a:pt x="19" y="7"/>
                    <a:pt x="19" y="8"/>
                    <a:pt x="19" y="8"/>
                  </a:cubicBezTo>
                  <a:cubicBezTo>
                    <a:pt x="19" y="8"/>
                    <a:pt x="18" y="7"/>
                    <a:pt x="18" y="7"/>
                  </a:cubicBezTo>
                  <a:cubicBezTo>
                    <a:pt x="17" y="7"/>
                    <a:pt x="17" y="7"/>
                    <a:pt x="17" y="7"/>
                  </a:cubicBezTo>
                  <a:cubicBezTo>
                    <a:pt x="17" y="7"/>
                    <a:pt x="16" y="7"/>
                    <a:pt x="16" y="7"/>
                  </a:cubicBezTo>
                  <a:cubicBezTo>
                    <a:pt x="15" y="7"/>
                    <a:pt x="15" y="10"/>
                    <a:pt x="16" y="11"/>
                  </a:cubicBezTo>
                  <a:cubicBezTo>
                    <a:pt x="13" y="13"/>
                    <a:pt x="10" y="15"/>
                    <a:pt x="7" y="17"/>
                  </a:cubicBezTo>
                  <a:cubicBezTo>
                    <a:pt x="3" y="20"/>
                    <a:pt x="1" y="20"/>
                    <a:pt x="0" y="25"/>
                  </a:cubicBezTo>
                  <a:cubicBezTo>
                    <a:pt x="0" y="26"/>
                    <a:pt x="0" y="27"/>
                    <a:pt x="0" y="29"/>
                  </a:cubicBezTo>
                  <a:cubicBezTo>
                    <a:pt x="0" y="32"/>
                    <a:pt x="0" y="34"/>
                    <a:pt x="1" y="38"/>
                  </a:cubicBezTo>
                  <a:cubicBezTo>
                    <a:pt x="2" y="39"/>
                    <a:pt x="1" y="39"/>
                    <a:pt x="1" y="40"/>
                  </a:cubicBezTo>
                  <a:cubicBezTo>
                    <a:pt x="3" y="44"/>
                    <a:pt x="13" y="46"/>
                    <a:pt x="17" y="47"/>
                  </a:cubicBezTo>
                  <a:cubicBezTo>
                    <a:pt x="18" y="48"/>
                    <a:pt x="20" y="49"/>
                    <a:pt x="22" y="49"/>
                  </a:cubicBezTo>
                  <a:cubicBezTo>
                    <a:pt x="23" y="49"/>
                    <a:pt x="24" y="48"/>
                    <a:pt x="25" y="48"/>
                  </a:cubicBezTo>
                  <a:cubicBezTo>
                    <a:pt x="26" y="47"/>
                    <a:pt x="26" y="45"/>
                    <a:pt x="27" y="44"/>
                  </a:cubicBezTo>
                  <a:cubicBezTo>
                    <a:pt x="27" y="43"/>
                    <a:pt x="31" y="43"/>
                    <a:pt x="32" y="42"/>
                  </a:cubicBezTo>
                  <a:cubicBezTo>
                    <a:pt x="33" y="42"/>
                    <a:pt x="34" y="41"/>
                    <a:pt x="35" y="40"/>
                  </a:cubicBezTo>
                  <a:cubicBezTo>
                    <a:pt x="36" y="39"/>
                    <a:pt x="36" y="39"/>
                    <a:pt x="36" y="39"/>
                  </a:cubicBezTo>
                  <a:cubicBezTo>
                    <a:pt x="37" y="38"/>
                    <a:pt x="40" y="36"/>
                    <a:pt x="41" y="36"/>
                  </a:cubicBezTo>
                  <a:cubicBezTo>
                    <a:pt x="41" y="36"/>
                    <a:pt x="42" y="36"/>
                    <a:pt x="42" y="37"/>
                  </a:cubicBezTo>
                  <a:cubicBezTo>
                    <a:pt x="42" y="36"/>
                    <a:pt x="42" y="35"/>
                    <a:pt x="43" y="34"/>
                  </a:cubicBezTo>
                  <a:cubicBezTo>
                    <a:pt x="43" y="34"/>
                    <a:pt x="43" y="34"/>
                    <a:pt x="43" y="34"/>
                  </a:cubicBezTo>
                  <a:cubicBezTo>
                    <a:pt x="44" y="34"/>
                    <a:pt x="44" y="34"/>
                    <a:pt x="44" y="34"/>
                  </a:cubicBezTo>
                  <a:cubicBezTo>
                    <a:pt x="44" y="34"/>
                    <a:pt x="44" y="34"/>
                    <a:pt x="44" y="34"/>
                  </a:cubicBezTo>
                  <a:cubicBezTo>
                    <a:pt x="44" y="34"/>
                    <a:pt x="44" y="34"/>
                    <a:pt x="44" y="34"/>
                  </a:cubicBezTo>
                  <a:cubicBezTo>
                    <a:pt x="46" y="31"/>
                    <a:pt x="45" y="26"/>
                    <a:pt x="47" y="23"/>
                  </a:cubicBezTo>
                  <a:cubicBezTo>
                    <a:pt x="48" y="19"/>
                    <a:pt x="50" y="17"/>
                    <a:pt x="52" y="13"/>
                  </a:cubicBezTo>
                  <a:cubicBezTo>
                    <a:pt x="52" y="14"/>
                    <a:pt x="52" y="15"/>
                    <a:pt x="52" y="16"/>
                  </a:cubicBezTo>
                  <a:cubicBezTo>
                    <a:pt x="53" y="15"/>
                    <a:pt x="55" y="13"/>
                    <a:pt x="56" y="13"/>
                  </a:cubicBezTo>
                  <a:cubicBezTo>
                    <a:pt x="56" y="13"/>
                    <a:pt x="56" y="13"/>
                    <a:pt x="56" y="13"/>
                  </a:cubicBezTo>
                  <a:cubicBezTo>
                    <a:pt x="56" y="11"/>
                    <a:pt x="56" y="8"/>
                    <a:pt x="55" y="6"/>
                  </a:cubicBezTo>
                  <a:cubicBezTo>
                    <a:pt x="53" y="3"/>
                    <a:pt x="49" y="3"/>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3" name="Freeform 1430">
              <a:extLst>
                <a:ext uri="{FF2B5EF4-FFF2-40B4-BE49-F238E27FC236}">
                  <a16:creationId xmlns:a16="http://schemas.microsoft.com/office/drawing/2014/main" id="{CAC5CB09-C85F-4935-8CC2-4AB053544881}"/>
                </a:ext>
              </a:extLst>
            </p:cNvPr>
            <p:cNvSpPr>
              <a:spLocks/>
            </p:cNvSpPr>
            <p:nvPr/>
          </p:nvSpPr>
          <p:spPr bwMode="auto">
            <a:xfrm>
              <a:off x="3625648" y="3312888"/>
              <a:ext cx="20135" cy="10739"/>
            </a:xfrm>
            <a:custGeom>
              <a:avLst/>
              <a:gdLst>
                <a:gd name="T0" fmla="*/ 5 w 6"/>
                <a:gd name="T1" fmla="*/ 0 h 3"/>
                <a:gd name="T2" fmla="*/ 0 w 6"/>
                <a:gd name="T3" fmla="*/ 3 h 3"/>
                <a:gd name="T4" fmla="*/ 2 w 6"/>
                <a:gd name="T5" fmla="*/ 2 h 3"/>
                <a:gd name="T6" fmla="*/ 2 w 6"/>
                <a:gd name="T7" fmla="*/ 2 h 3"/>
                <a:gd name="T8" fmla="*/ 6 w 6"/>
                <a:gd name="T9" fmla="*/ 3 h 3"/>
                <a:gd name="T10" fmla="*/ 5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5" y="0"/>
                  </a:moveTo>
                  <a:cubicBezTo>
                    <a:pt x="3" y="1"/>
                    <a:pt x="1" y="2"/>
                    <a:pt x="0" y="3"/>
                  </a:cubicBezTo>
                  <a:cubicBezTo>
                    <a:pt x="1" y="3"/>
                    <a:pt x="2" y="2"/>
                    <a:pt x="2" y="2"/>
                  </a:cubicBezTo>
                  <a:cubicBezTo>
                    <a:pt x="2" y="2"/>
                    <a:pt x="2" y="2"/>
                    <a:pt x="2" y="2"/>
                  </a:cubicBezTo>
                  <a:cubicBezTo>
                    <a:pt x="4" y="2"/>
                    <a:pt x="5" y="3"/>
                    <a:pt x="6" y="3"/>
                  </a:cubicBezTo>
                  <a:cubicBezTo>
                    <a:pt x="6" y="2"/>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4" name="Freeform 1431">
              <a:extLst>
                <a:ext uri="{FF2B5EF4-FFF2-40B4-BE49-F238E27FC236}">
                  <a16:creationId xmlns:a16="http://schemas.microsoft.com/office/drawing/2014/main" id="{36D9788A-A0E8-424F-8912-D9252701CFB2}"/>
                </a:ext>
              </a:extLst>
            </p:cNvPr>
            <p:cNvSpPr>
              <a:spLocks/>
            </p:cNvSpPr>
            <p:nvPr/>
          </p:nvSpPr>
          <p:spPr bwMode="auto">
            <a:xfrm>
              <a:off x="4213591" y="3040394"/>
              <a:ext cx="9396" cy="9396"/>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0" y="2"/>
                    <a:pt x="1" y="3"/>
                    <a:pt x="1" y="3"/>
                  </a:cubicBezTo>
                  <a:cubicBezTo>
                    <a:pt x="2"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5" name="Freeform 1432">
              <a:extLst>
                <a:ext uri="{FF2B5EF4-FFF2-40B4-BE49-F238E27FC236}">
                  <a16:creationId xmlns:a16="http://schemas.microsoft.com/office/drawing/2014/main" id="{A4CDC696-B3D2-4670-B3F9-A88D6AEAD92E}"/>
                </a:ext>
              </a:extLst>
            </p:cNvPr>
            <p:cNvSpPr>
              <a:spLocks/>
            </p:cNvSpPr>
            <p:nvPr/>
          </p:nvSpPr>
          <p:spPr bwMode="auto">
            <a:xfrm>
              <a:off x="4330374" y="2951799"/>
              <a:ext cx="13423" cy="18793"/>
            </a:xfrm>
            <a:custGeom>
              <a:avLst/>
              <a:gdLst>
                <a:gd name="T0" fmla="*/ 2 w 4"/>
                <a:gd name="T1" fmla="*/ 0 h 6"/>
                <a:gd name="T2" fmla="*/ 0 w 4"/>
                <a:gd name="T3" fmla="*/ 6 h 6"/>
                <a:gd name="T4" fmla="*/ 3 w 4"/>
                <a:gd name="T5" fmla="*/ 5 h 6"/>
                <a:gd name="T6" fmla="*/ 4 w 4"/>
                <a:gd name="T7" fmla="*/ 5 h 6"/>
                <a:gd name="T8" fmla="*/ 4 w 4"/>
                <a:gd name="T9" fmla="*/ 3 h 6"/>
                <a:gd name="T10" fmla="*/ 4 w 4"/>
                <a:gd name="T11" fmla="*/ 3 h 6"/>
                <a:gd name="T12" fmla="*/ 2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1" y="2"/>
                    <a:pt x="1" y="4"/>
                    <a:pt x="0" y="6"/>
                  </a:cubicBezTo>
                  <a:cubicBezTo>
                    <a:pt x="1" y="5"/>
                    <a:pt x="2" y="5"/>
                    <a:pt x="3" y="5"/>
                  </a:cubicBezTo>
                  <a:cubicBezTo>
                    <a:pt x="4" y="5"/>
                    <a:pt x="4" y="5"/>
                    <a:pt x="4" y="5"/>
                  </a:cubicBezTo>
                  <a:cubicBezTo>
                    <a:pt x="3" y="4"/>
                    <a:pt x="4" y="3"/>
                    <a:pt x="4" y="3"/>
                  </a:cubicBezTo>
                  <a:cubicBezTo>
                    <a:pt x="4" y="3"/>
                    <a:pt x="4" y="3"/>
                    <a:pt x="4" y="3"/>
                  </a:cubicBezTo>
                  <a:cubicBezTo>
                    <a:pt x="4"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6" name="Freeform 1433">
              <a:extLst>
                <a:ext uri="{FF2B5EF4-FFF2-40B4-BE49-F238E27FC236}">
                  <a16:creationId xmlns:a16="http://schemas.microsoft.com/office/drawing/2014/main" id="{08DBC000-4C56-4A7C-9DF7-7FD593A9C59F}"/>
                </a:ext>
              </a:extLst>
            </p:cNvPr>
            <p:cNvSpPr>
              <a:spLocks/>
            </p:cNvSpPr>
            <p:nvPr/>
          </p:nvSpPr>
          <p:spPr bwMode="auto">
            <a:xfrm>
              <a:off x="3639072" y="3303492"/>
              <a:ext cx="9396" cy="6712"/>
            </a:xfrm>
            <a:custGeom>
              <a:avLst/>
              <a:gdLst>
                <a:gd name="T0" fmla="*/ 3 w 3"/>
                <a:gd name="T1" fmla="*/ 0 h 2"/>
                <a:gd name="T2" fmla="*/ 0 w 3"/>
                <a:gd name="T3" fmla="*/ 0 h 2"/>
                <a:gd name="T4" fmla="*/ 3 w 3"/>
                <a:gd name="T5" fmla="*/ 2 h 2"/>
                <a:gd name="T6" fmla="*/ 3 w 3"/>
                <a:gd name="T7" fmla="*/ 0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cubicBezTo>
                    <a:pt x="2" y="0"/>
                    <a:pt x="1" y="0"/>
                    <a:pt x="0" y="0"/>
                  </a:cubicBezTo>
                  <a:cubicBezTo>
                    <a:pt x="1" y="1"/>
                    <a:pt x="2" y="2"/>
                    <a:pt x="3" y="2"/>
                  </a:cubicBezTo>
                  <a:cubicBezTo>
                    <a:pt x="3" y="1"/>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7" name="Freeform 1434">
              <a:extLst>
                <a:ext uri="{FF2B5EF4-FFF2-40B4-BE49-F238E27FC236}">
                  <a16:creationId xmlns:a16="http://schemas.microsoft.com/office/drawing/2014/main" id="{0A7A2C7A-59E8-48F4-A773-A2C0A728F87A}"/>
                </a:ext>
              </a:extLst>
            </p:cNvPr>
            <p:cNvSpPr>
              <a:spLocks/>
            </p:cNvSpPr>
            <p:nvPr/>
          </p:nvSpPr>
          <p:spPr bwMode="auto">
            <a:xfrm>
              <a:off x="2731653" y="4300848"/>
              <a:ext cx="16108" cy="28189"/>
            </a:xfrm>
            <a:custGeom>
              <a:avLst/>
              <a:gdLst>
                <a:gd name="T0" fmla="*/ 2 w 5"/>
                <a:gd name="T1" fmla="*/ 0 h 9"/>
                <a:gd name="T2" fmla="*/ 0 w 5"/>
                <a:gd name="T3" fmla="*/ 6 h 9"/>
                <a:gd name="T4" fmla="*/ 1 w 5"/>
                <a:gd name="T5" fmla="*/ 9 h 9"/>
                <a:gd name="T6" fmla="*/ 1 w 5"/>
                <a:gd name="T7" fmla="*/ 9 h 9"/>
                <a:gd name="T8" fmla="*/ 4 w 5"/>
                <a:gd name="T9" fmla="*/ 6 h 9"/>
                <a:gd name="T10" fmla="*/ 2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2" y="0"/>
                  </a:moveTo>
                  <a:cubicBezTo>
                    <a:pt x="0" y="1"/>
                    <a:pt x="0" y="5"/>
                    <a:pt x="0" y="6"/>
                  </a:cubicBezTo>
                  <a:cubicBezTo>
                    <a:pt x="0" y="7"/>
                    <a:pt x="1" y="9"/>
                    <a:pt x="1" y="9"/>
                  </a:cubicBezTo>
                  <a:cubicBezTo>
                    <a:pt x="1" y="9"/>
                    <a:pt x="1" y="9"/>
                    <a:pt x="1" y="9"/>
                  </a:cubicBezTo>
                  <a:cubicBezTo>
                    <a:pt x="2" y="9"/>
                    <a:pt x="4" y="7"/>
                    <a:pt x="4" y="6"/>
                  </a:cubicBezTo>
                  <a:cubicBezTo>
                    <a:pt x="5" y="5"/>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8" name="Freeform 1435">
              <a:extLst>
                <a:ext uri="{FF2B5EF4-FFF2-40B4-BE49-F238E27FC236}">
                  <a16:creationId xmlns:a16="http://schemas.microsoft.com/office/drawing/2014/main" id="{3B4250B6-4BC8-4DD6-9D41-64E17DB7AEB5}"/>
                </a:ext>
              </a:extLst>
            </p:cNvPr>
            <p:cNvSpPr>
              <a:spLocks/>
            </p:cNvSpPr>
            <p:nvPr/>
          </p:nvSpPr>
          <p:spPr bwMode="auto">
            <a:xfrm>
              <a:off x="2757157" y="4296821"/>
              <a:ext cx="2685" cy="6712"/>
            </a:xfrm>
            <a:custGeom>
              <a:avLst/>
              <a:gdLst>
                <a:gd name="T0" fmla="*/ 1 w 1"/>
                <a:gd name="T1" fmla="*/ 0 h 2"/>
                <a:gd name="T2" fmla="*/ 0 w 1"/>
                <a:gd name="T3" fmla="*/ 2 h 2"/>
                <a:gd name="T4" fmla="*/ 1 w 1"/>
                <a:gd name="T5" fmla="*/ 0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2"/>
                    <a:pt x="0" y="2"/>
                  </a:cubicBezTo>
                  <a:cubicBezTo>
                    <a:pt x="0" y="2"/>
                    <a:pt x="1" y="1"/>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9" name="Freeform 1436">
              <a:extLst>
                <a:ext uri="{FF2B5EF4-FFF2-40B4-BE49-F238E27FC236}">
                  <a16:creationId xmlns:a16="http://schemas.microsoft.com/office/drawing/2014/main" id="{6C805EE3-AA4A-4426-ABBD-E27162675E5B}"/>
                </a:ext>
              </a:extLst>
            </p:cNvPr>
            <p:cNvSpPr>
              <a:spLocks/>
            </p:cNvSpPr>
            <p:nvPr/>
          </p:nvSpPr>
          <p:spPr bwMode="auto">
            <a:xfrm>
              <a:off x="2873940" y="4503541"/>
              <a:ext cx="16108" cy="9396"/>
            </a:xfrm>
            <a:custGeom>
              <a:avLst/>
              <a:gdLst>
                <a:gd name="T0" fmla="*/ 3 w 5"/>
                <a:gd name="T1" fmla="*/ 0 h 3"/>
                <a:gd name="T2" fmla="*/ 0 w 5"/>
                <a:gd name="T3" fmla="*/ 2 h 3"/>
                <a:gd name="T4" fmla="*/ 2 w 5"/>
                <a:gd name="T5" fmla="*/ 3 h 3"/>
                <a:gd name="T6" fmla="*/ 3 w 5"/>
                <a:gd name="T7" fmla="*/ 0 h 3"/>
                <a:gd name="T8" fmla="*/ 3 w 5"/>
                <a:gd name="T9" fmla="*/ 0 h 3"/>
              </a:gdLst>
              <a:ahLst/>
              <a:cxnLst>
                <a:cxn ang="0">
                  <a:pos x="T0" y="T1"/>
                </a:cxn>
                <a:cxn ang="0">
                  <a:pos x="T2" y="T3"/>
                </a:cxn>
                <a:cxn ang="0">
                  <a:pos x="T4" y="T5"/>
                </a:cxn>
                <a:cxn ang="0">
                  <a:pos x="T6" y="T7"/>
                </a:cxn>
                <a:cxn ang="0">
                  <a:pos x="T8" y="T9"/>
                </a:cxn>
              </a:cxnLst>
              <a:rect l="0" t="0" r="r" b="b"/>
              <a:pathLst>
                <a:path w="5" h="3">
                  <a:moveTo>
                    <a:pt x="3" y="0"/>
                  </a:moveTo>
                  <a:cubicBezTo>
                    <a:pt x="2" y="0"/>
                    <a:pt x="1" y="1"/>
                    <a:pt x="0" y="2"/>
                  </a:cubicBezTo>
                  <a:cubicBezTo>
                    <a:pt x="1" y="2"/>
                    <a:pt x="1" y="3"/>
                    <a:pt x="2" y="3"/>
                  </a:cubicBezTo>
                  <a:cubicBezTo>
                    <a:pt x="4" y="3"/>
                    <a:pt x="5"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0" name="Freeform 1437">
              <a:extLst>
                <a:ext uri="{FF2B5EF4-FFF2-40B4-BE49-F238E27FC236}">
                  <a16:creationId xmlns:a16="http://schemas.microsoft.com/office/drawing/2014/main" id="{0F498579-79BA-4798-963E-9730454B00C3}"/>
                </a:ext>
              </a:extLst>
            </p:cNvPr>
            <p:cNvSpPr>
              <a:spLocks/>
            </p:cNvSpPr>
            <p:nvPr/>
          </p:nvSpPr>
          <p:spPr bwMode="auto">
            <a:xfrm>
              <a:off x="3029651" y="3998822"/>
              <a:ext cx="13423" cy="13423"/>
            </a:xfrm>
            <a:custGeom>
              <a:avLst/>
              <a:gdLst>
                <a:gd name="T0" fmla="*/ 0 w 4"/>
                <a:gd name="T1" fmla="*/ 0 h 4"/>
                <a:gd name="T2" fmla="*/ 1 w 4"/>
                <a:gd name="T3" fmla="*/ 4 h 4"/>
                <a:gd name="T4" fmla="*/ 4 w 4"/>
                <a:gd name="T5" fmla="*/ 3 h 4"/>
                <a:gd name="T6" fmla="*/ 0 w 4"/>
                <a:gd name="T7" fmla="*/ 0 h 4"/>
              </a:gdLst>
              <a:ahLst/>
              <a:cxnLst>
                <a:cxn ang="0">
                  <a:pos x="T0" y="T1"/>
                </a:cxn>
                <a:cxn ang="0">
                  <a:pos x="T2" y="T3"/>
                </a:cxn>
                <a:cxn ang="0">
                  <a:pos x="T4" y="T5"/>
                </a:cxn>
                <a:cxn ang="0">
                  <a:pos x="T6" y="T7"/>
                </a:cxn>
              </a:cxnLst>
              <a:rect l="0" t="0" r="r" b="b"/>
              <a:pathLst>
                <a:path w="4" h="4">
                  <a:moveTo>
                    <a:pt x="0" y="0"/>
                  </a:moveTo>
                  <a:cubicBezTo>
                    <a:pt x="1" y="1"/>
                    <a:pt x="1" y="3"/>
                    <a:pt x="1" y="4"/>
                  </a:cubicBezTo>
                  <a:cubicBezTo>
                    <a:pt x="2" y="4"/>
                    <a:pt x="3" y="3"/>
                    <a:pt x="4"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1" name="Freeform 1438">
              <a:extLst>
                <a:ext uri="{FF2B5EF4-FFF2-40B4-BE49-F238E27FC236}">
                  <a16:creationId xmlns:a16="http://schemas.microsoft.com/office/drawing/2014/main" id="{738E3E0F-4AD2-444F-98DF-F6F6B08EADC6}"/>
                </a:ext>
              </a:extLst>
            </p:cNvPr>
            <p:cNvSpPr>
              <a:spLocks/>
            </p:cNvSpPr>
            <p:nvPr/>
          </p:nvSpPr>
          <p:spPr bwMode="auto">
            <a:xfrm>
              <a:off x="2788031" y="4338434"/>
              <a:ext cx="6712" cy="13423"/>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1" y="1"/>
                    <a:pt x="1" y="3"/>
                    <a:pt x="2" y="4"/>
                  </a:cubicBezTo>
                  <a:cubicBezTo>
                    <a:pt x="1"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2" name="Freeform 1439">
              <a:extLst>
                <a:ext uri="{FF2B5EF4-FFF2-40B4-BE49-F238E27FC236}">
                  <a16:creationId xmlns:a16="http://schemas.microsoft.com/office/drawing/2014/main" id="{075C7D06-1F59-4785-83B1-D366C42E6A6B}"/>
                </a:ext>
              </a:extLst>
            </p:cNvPr>
            <p:cNvSpPr>
              <a:spLocks/>
            </p:cNvSpPr>
            <p:nvPr/>
          </p:nvSpPr>
          <p:spPr bwMode="auto">
            <a:xfrm>
              <a:off x="2861859" y="4176011"/>
              <a:ext cx="6712" cy="10739"/>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3" name="Freeform 1440">
              <a:extLst>
                <a:ext uri="{FF2B5EF4-FFF2-40B4-BE49-F238E27FC236}">
                  <a16:creationId xmlns:a16="http://schemas.microsoft.com/office/drawing/2014/main" id="{DBCEFB0C-B0FD-49E3-8042-BCC2A395D7D0}"/>
                </a:ext>
              </a:extLst>
            </p:cNvPr>
            <p:cNvSpPr>
              <a:spLocks/>
            </p:cNvSpPr>
            <p:nvPr/>
          </p:nvSpPr>
          <p:spPr bwMode="auto">
            <a:xfrm>
              <a:off x="2829643" y="4408235"/>
              <a:ext cx="6712" cy="16108"/>
            </a:xfrm>
            <a:custGeom>
              <a:avLst/>
              <a:gdLst>
                <a:gd name="T0" fmla="*/ 2 w 2"/>
                <a:gd name="T1" fmla="*/ 0 h 5"/>
                <a:gd name="T2" fmla="*/ 2 w 2"/>
                <a:gd name="T3" fmla="*/ 5 h 5"/>
                <a:gd name="T4" fmla="*/ 2 w 2"/>
                <a:gd name="T5" fmla="*/ 0 h 5"/>
              </a:gdLst>
              <a:ahLst/>
              <a:cxnLst>
                <a:cxn ang="0">
                  <a:pos x="T0" y="T1"/>
                </a:cxn>
                <a:cxn ang="0">
                  <a:pos x="T2" y="T3"/>
                </a:cxn>
                <a:cxn ang="0">
                  <a:pos x="T4" y="T5"/>
                </a:cxn>
              </a:cxnLst>
              <a:rect l="0" t="0" r="r" b="b"/>
              <a:pathLst>
                <a:path w="2" h="5">
                  <a:moveTo>
                    <a:pt x="2" y="0"/>
                  </a:moveTo>
                  <a:cubicBezTo>
                    <a:pt x="1" y="3"/>
                    <a:pt x="0" y="3"/>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4" name="Freeform 1441">
              <a:extLst>
                <a:ext uri="{FF2B5EF4-FFF2-40B4-BE49-F238E27FC236}">
                  <a16:creationId xmlns:a16="http://schemas.microsoft.com/office/drawing/2014/main" id="{7FF6D5F3-4F41-45E1-B426-3534D713823E}"/>
                </a:ext>
              </a:extLst>
            </p:cNvPr>
            <p:cNvSpPr>
              <a:spLocks/>
            </p:cNvSpPr>
            <p:nvPr/>
          </p:nvSpPr>
          <p:spPr bwMode="auto">
            <a:xfrm>
              <a:off x="2753130" y="4312929"/>
              <a:ext cx="4027" cy="6712"/>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0"/>
                    <a:pt x="0" y="1"/>
                    <a:pt x="1" y="2"/>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5" name="Freeform 1442">
              <a:extLst>
                <a:ext uri="{FF2B5EF4-FFF2-40B4-BE49-F238E27FC236}">
                  <a16:creationId xmlns:a16="http://schemas.microsoft.com/office/drawing/2014/main" id="{E878C06F-6FDD-4B52-AE8C-ABE36F18F28B}"/>
                </a:ext>
              </a:extLst>
            </p:cNvPr>
            <p:cNvSpPr>
              <a:spLocks/>
            </p:cNvSpPr>
            <p:nvPr/>
          </p:nvSpPr>
          <p:spPr bwMode="auto">
            <a:xfrm>
              <a:off x="2852463" y="4192119"/>
              <a:ext cx="16108" cy="13423"/>
            </a:xfrm>
            <a:custGeom>
              <a:avLst/>
              <a:gdLst>
                <a:gd name="T0" fmla="*/ 4 w 5"/>
                <a:gd name="T1" fmla="*/ 0 h 4"/>
                <a:gd name="T2" fmla="*/ 2 w 5"/>
                <a:gd name="T3" fmla="*/ 0 h 4"/>
                <a:gd name="T4" fmla="*/ 2 w 5"/>
                <a:gd name="T5" fmla="*/ 4 h 4"/>
                <a:gd name="T6" fmla="*/ 5 w 5"/>
                <a:gd name="T7" fmla="*/ 1 h 4"/>
                <a:gd name="T8" fmla="*/ 4 w 5"/>
                <a:gd name="T9" fmla="*/ 0 h 4"/>
              </a:gdLst>
              <a:ahLst/>
              <a:cxnLst>
                <a:cxn ang="0">
                  <a:pos x="T0" y="T1"/>
                </a:cxn>
                <a:cxn ang="0">
                  <a:pos x="T2" y="T3"/>
                </a:cxn>
                <a:cxn ang="0">
                  <a:pos x="T4" y="T5"/>
                </a:cxn>
                <a:cxn ang="0">
                  <a:pos x="T6" y="T7"/>
                </a:cxn>
                <a:cxn ang="0">
                  <a:pos x="T8" y="T9"/>
                </a:cxn>
              </a:cxnLst>
              <a:rect l="0" t="0" r="r" b="b"/>
              <a:pathLst>
                <a:path w="5" h="4">
                  <a:moveTo>
                    <a:pt x="4" y="0"/>
                  </a:moveTo>
                  <a:cubicBezTo>
                    <a:pt x="3" y="0"/>
                    <a:pt x="3" y="0"/>
                    <a:pt x="2" y="0"/>
                  </a:cubicBezTo>
                  <a:cubicBezTo>
                    <a:pt x="0" y="0"/>
                    <a:pt x="2" y="2"/>
                    <a:pt x="2" y="4"/>
                  </a:cubicBezTo>
                  <a:cubicBezTo>
                    <a:pt x="3" y="4"/>
                    <a:pt x="5" y="2"/>
                    <a:pt x="5"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6" name="Freeform 1443">
              <a:extLst>
                <a:ext uri="{FF2B5EF4-FFF2-40B4-BE49-F238E27FC236}">
                  <a16:creationId xmlns:a16="http://schemas.microsoft.com/office/drawing/2014/main" id="{673D4548-183E-4A33-8E1C-F33ECA56A5B9}"/>
                </a:ext>
              </a:extLst>
            </p:cNvPr>
            <p:cNvSpPr>
              <a:spLocks/>
            </p:cNvSpPr>
            <p:nvPr/>
          </p:nvSpPr>
          <p:spPr bwMode="auto">
            <a:xfrm>
              <a:off x="3048444" y="4027011"/>
              <a:ext cx="6712" cy="16108"/>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0" y="2"/>
                    <a:pt x="0" y="4"/>
                    <a:pt x="2" y="5"/>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7" name="Freeform 1444">
              <a:extLst>
                <a:ext uri="{FF2B5EF4-FFF2-40B4-BE49-F238E27FC236}">
                  <a16:creationId xmlns:a16="http://schemas.microsoft.com/office/drawing/2014/main" id="{C14F6727-4127-4B68-BCBD-D4841025E99B}"/>
                </a:ext>
              </a:extLst>
            </p:cNvPr>
            <p:cNvSpPr>
              <a:spLocks/>
            </p:cNvSpPr>
            <p:nvPr/>
          </p:nvSpPr>
          <p:spPr bwMode="auto">
            <a:xfrm>
              <a:off x="1345020" y="4173326"/>
              <a:ext cx="161080" cy="295314"/>
            </a:xfrm>
            <a:custGeom>
              <a:avLst/>
              <a:gdLst>
                <a:gd name="T0" fmla="*/ 11 w 51"/>
                <a:gd name="T1" fmla="*/ 0 h 93"/>
                <a:gd name="T2" fmla="*/ 18 w 51"/>
                <a:gd name="T3" fmla="*/ 6 h 93"/>
                <a:gd name="T4" fmla="*/ 12 w 51"/>
                <a:gd name="T5" fmla="*/ 2 h 93"/>
                <a:gd name="T6" fmla="*/ 10 w 51"/>
                <a:gd name="T7" fmla="*/ 5 h 93"/>
                <a:gd name="T8" fmla="*/ 12 w 51"/>
                <a:gd name="T9" fmla="*/ 5 h 93"/>
                <a:gd name="T10" fmla="*/ 17 w 51"/>
                <a:gd name="T11" fmla="*/ 7 h 93"/>
                <a:gd name="T12" fmla="*/ 17 w 51"/>
                <a:gd name="T13" fmla="*/ 8 h 93"/>
                <a:gd name="T14" fmla="*/ 16 w 51"/>
                <a:gd name="T15" fmla="*/ 8 h 93"/>
                <a:gd name="T16" fmla="*/ 14 w 51"/>
                <a:gd name="T17" fmla="*/ 9 h 93"/>
                <a:gd name="T18" fmla="*/ 9 w 51"/>
                <a:gd name="T19" fmla="*/ 6 h 93"/>
                <a:gd name="T20" fmla="*/ 9 w 51"/>
                <a:gd name="T21" fmla="*/ 6 h 93"/>
                <a:gd name="T22" fmla="*/ 10 w 51"/>
                <a:gd name="T23" fmla="*/ 14 h 93"/>
                <a:gd name="T24" fmla="*/ 5 w 51"/>
                <a:gd name="T25" fmla="*/ 21 h 93"/>
                <a:gd name="T26" fmla="*/ 5 w 51"/>
                <a:gd name="T27" fmla="*/ 30 h 93"/>
                <a:gd name="T28" fmla="*/ 3 w 51"/>
                <a:gd name="T29" fmla="*/ 39 h 93"/>
                <a:gd name="T30" fmla="*/ 1 w 51"/>
                <a:gd name="T31" fmla="*/ 41 h 93"/>
                <a:gd name="T32" fmla="*/ 1 w 51"/>
                <a:gd name="T33" fmla="*/ 42 h 93"/>
                <a:gd name="T34" fmla="*/ 2 w 51"/>
                <a:gd name="T35" fmla="*/ 49 h 93"/>
                <a:gd name="T36" fmla="*/ 3 w 51"/>
                <a:gd name="T37" fmla="*/ 60 h 93"/>
                <a:gd name="T38" fmla="*/ 5 w 51"/>
                <a:gd name="T39" fmla="*/ 68 h 93"/>
                <a:gd name="T40" fmla="*/ 7 w 51"/>
                <a:gd name="T41" fmla="*/ 80 h 93"/>
                <a:gd name="T42" fmla="*/ 10 w 51"/>
                <a:gd name="T43" fmla="*/ 87 h 93"/>
                <a:gd name="T44" fmla="*/ 15 w 51"/>
                <a:gd name="T45" fmla="*/ 91 h 93"/>
                <a:gd name="T46" fmla="*/ 21 w 51"/>
                <a:gd name="T47" fmla="*/ 93 h 93"/>
                <a:gd name="T48" fmla="*/ 31 w 51"/>
                <a:gd name="T49" fmla="*/ 88 h 93"/>
                <a:gd name="T50" fmla="*/ 47 w 51"/>
                <a:gd name="T51" fmla="*/ 79 h 93"/>
                <a:gd name="T52" fmla="*/ 51 w 51"/>
                <a:gd name="T53" fmla="*/ 69 h 93"/>
                <a:gd name="T54" fmla="*/ 50 w 51"/>
                <a:gd name="T55" fmla="*/ 57 h 93"/>
                <a:gd name="T56" fmla="*/ 50 w 51"/>
                <a:gd name="T57" fmla="*/ 56 h 93"/>
                <a:gd name="T58" fmla="*/ 43 w 51"/>
                <a:gd name="T59" fmla="*/ 44 h 93"/>
                <a:gd name="T60" fmla="*/ 41 w 51"/>
                <a:gd name="T61" fmla="*/ 38 h 93"/>
                <a:gd name="T62" fmla="*/ 34 w 51"/>
                <a:gd name="T63" fmla="*/ 27 h 93"/>
                <a:gd name="T64" fmla="*/ 30 w 51"/>
                <a:gd name="T65" fmla="*/ 21 h 93"/>
                <a:gd name="T66" fmla="*/ 23 w 51"/>
                <a:gd name="T67" fmla="*/ 10 h 93"/>
                <a:gd name="T68" fmla="*/ 18 w 51"/>
                <a:gd name="T69" fmla="*/ 6 h 93"/>
                <a:gd name="T70" fmla="*/ 11 w 51"/>
                <a:gd name="T7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93">
                  <a:moveTo>
                    <a:pt x="11" y="0"/>
                  </a:moveTo>
                  <a:cubicBezTo>
                    <a:pt x="11" y="0"/>
                    <a:pt x="11" y="0"/>
                    <a:pt x="11" y="0"/>
                  </a:cubicBezTo>
                  <a:cubicBezTo>
                    <a:pt x="12" y="1"/>
                    <a:pt x="12" y="1"/>
                    <a:pt x="13" y="2"/>
                  </a:cubicBezTo>
                  <a:cubicBezTo>
                    <a:pt x="14" y="3"/>
                    <a:pt x="16" y="5"/>
                    <a:pt x="18" y="6"/>
                  </a:cubicBezTo>
                  <a:cubicBezTo>
                    <a:pt x="15" y="5"/>
                    <a:pt x="14" y="4"/>
                    <a:pt x="13" y="2"/>
                  </a:cubicBezTo>
                  <a:cubicBezTo>
                    <a:pt x="12" y="2"/>
                    <a:pt x="12" y="2"/>
                    <a:pt x="12" y="2"/>
                  </a:cubicBezTo>
                  <a:cubicBezTo>
                    <a:pt x="11" y="1"/>
                    <a:pt x="9" y="0"/>
                    <a:pt x="7" y="0"/>
                  </a:cubicBezTo>
                  <a:cubicBezTo>
                    <a:pt x="7" y="1"/>
                    <a:pt x="9" y="3"/>
                    <a:pt x="10" y="5"/>
                  </a:cubicBezTo>
                  <a:cubicBezTo>
                    <a:pt x="11" y="5"/>
                    <a:pt x="11" y="6"/>
                    <a:pt x="12" y="6"/>
                  </a:cubicBezTo>
                  <a:cubicBezTo>
                    <a:pt x="12" y="6"/>
                    <a:pt x="12" y="5"/>
                    <a:pt x="12" y="5"/>
                  </a:cubicBezTo>
                  <a:cubicBezTo>
                    <a:pt x="14" y="5"/>
                    <a:pt x="15" y="7"/>
                    <a:pt x="17" y="7"/>
                  </a:cubicBezTo>
                  <a:cubicBezTo>
                    <a:pt x="17" y="7"/>
                    <a:pt x="17" y="7"/>
                    <a:pt x="17" y="7"/>
                  </a:cubicBezTo>
                  <a:cubicBezTo>
                    <a:pt x="18" y="8"/>
                    <a:pt x="20" y="8"/>
                    <a:pt x="22" y="9"/>
                  </a:cubicBezTo>
                  <a:cubicBezTo>
                    <a:pt x="20" y="9"/>
                    <a:pt x="19" y="8"/>
                    <a:pt x="17" y="8"/>
                  </a:cubicBezTo>
                  <a:cubicBezTo>
                    <a:pt x="17" y="8"/>
                    <a:pt x="17" y="8"/>
                    <a:pt x="17" y="8"/>
                  </a:cubicBezTo>
                  <a:cubicBezTo>
                    <a:pt x="16" y="8"/>
                    <a:pt x="16" y="8"/>
                    <a:pt x="16" y="8"/>
                  </a:cubicBezTo>
                  <a:cubicBezTo>
                    <a:pt x="15" y="8"/>
                    <a:pt x="15" y="9"/>
                    <a:pt x="14" y="9"/>
                  </a:cubicBezTo>
                  <a:cubicBezTo>
                    <a:pt x="14" y="9"/>
                    <a:pt x="14" y="9"/>
                    <a:pt x="14" y="9"/>
                  </a:cubicBezTo>
                  <a:cubicBezTo>
                    <a:pt x="13" y="9"/>
                    <a:pt x="14" y="8"/>
                    <a:pt x="14" y="8"/>
                  </a:cubicBezTo>
                  <a:cubicBezTo>
                    <a:pt x="12" y="7"/>
                    <a:pt x="11" y="6"/>
                    <a:pt x="9" y="6"/>
                  </a:cubicBezTo>
                  <a:cubicBezTo>
                    <a:pt x="9" y="6"/>
                    <a:pt x="9" y="6"/>
                    <a:pt x="9" y="6"/>
                  </a:cubicBezTo>
                  <a:cubicBezTo>
                    <a:pt x="9" y="6"/>
                    <a:pt x="9" y="6"/>
                    <a:pt x="9" y="6"/>
                  </a:cubicBezTo>
                  <a:cubicBezTo>
                    <a:pt x="10" y="6"/>
                    <a:pt x="12" y="8"/>
                    <a:pt x="11" y="9"/>
                  </a:cubicBezTo>
                  <a:cubicBezTo>
                    <a:pt x="8" y="11"/>
                    <a:pt x="9" y="11"/>
                    <a:pt x="10" y="14"/>
                  </a:cubicBezTo>
                  <a:cubicBezTo>
                    <a:pt x="10" y="15"/>
                    <a:pt x="10" y="15"/>
                    <a:pt x="10" y="15"/>
                  </a:cubicBezTo>
                  <a:cubicBezTo>
                    <a:pt x="9" y="17"/>
                    <a:pt x="6" y="19"/>
                    <a:pt x="5" y="21"/>
                  </a:cubicBezTo>
                  <a:cubicBezTo>
                    <a:pt x="5" y="23"/>
                    <a:pt x="5" y="25"/>
                    <a:pt x="5" y="28"/>
                  </a:cubicBezTo>
                  <a:cubicBezTo>
                    <a:pt x="5" y="28"/>
                    <a:pt x="5" y="29"/>
                    <a:pt x="5" y="30"/>
                  </a:cubicBezTo>
                  <a:cubicBezTo>
                    <a:pt x="5" y="31"/>
                    <a:pt x="5" y="33"/>
                    <a:pt x="5" y="35"/>
                  </a:cubicBezTo>
                  <a:cubicBezTo>
                    <a:pt x="4" y="36"/>
                    <a:pt x="4" y="37"/>
                    <a:pt x="3" y="39"/>
                  </a:cubicBezTo>
                  <a:cubicBezTo>
                    <a:pt x="3" y="41"/>
                    <a:pt x="2" y="42"/>
                    <a:pt x="2" y="44"/>
                  </a:cubicBezTo>
                  <a:cubicBezTo>
                    <a:pt x="1" y="43"/>
                    <a:pt x="1" y="42"/>
                    <a:pt x="1" y="41"/>
                  </a:cubicBezTo>
                  <a:cubicBezTo>
                    <a:pt x="1" y="40"/>
                    <a:pt x="1" y="38"/>
                    <a:pt x="1" y="37"/>
                  </a:cubicBezTo>
                  <a:cubicBezTo>
                    <a:pt x="0" y="38"/>
                    <a:pt x="0" y="40"/>
                    <a:pt x="1" y="42"/>
                  </a:cubicBezTo>
                  <a:cubicBezTo>
                    <a:pt x="1" y="42"/>
                    <a:pt x="1" y="43"/>
                    <a:pt x="1" y="43"/>
                  </a:cubicBezTo>
                  <a:cubicBezTo>
                    <a:pt x="1" y="45"/>
                    <a:pt x="2" y="47"/>
                    <a:pt x="2" y="49"/>
                  </a:cubicBezTo>
                  <a:cubicBezTo>
                    <a:pt x="2" y="52"/>
                    <a:pt x="3" y="55"/>
                    <a:pt x="3" y="57"/>
                  </a:cubicBezTo>
                  <a:cubicBezTo>
                    <a:pt x="3" y="58"/>
                    <a:pt x="3" y="59"/>
                    <a:pt x="3" y="60"/>
                  </a:cubicBezTo>
                  <a:cubicBezTo>
                    <a:pt x="4" y="62"/>
                    <a:pt x="4" y="64"/>
                    <a:pt x="4" y="65"/>
                  </a:cubicBezTo>
                  <a:cubicBezTo>
                    <a:pt x="4" y="66"/>
                    <a:pt x="4" y="67"/>
                    <a:pt x="5" y="68"/>
                  </a:cubicBezTo>
                  <a:cubicBezTo>
                    <a:pt x="5" y="70"/>
                    <a:pt x="5" y="72"/>
                    <a:pt x="5" y="73"/>
                  </a:cubicBezTo>
                  <a:cubicBezTo>
                    <a:pt x="6" y="76"/>
                    <a:pt x="7" y="78"/>
                    <a:pt x="7" y="80"/>
                  </a:cubicBezTo>
                  <a:cubicBezTo>
                    <a:pt x="8" y="82"/>
                    <a:pt x="8" y="83"/>
                    <a:pt x="9" y="85"/>
                  </a:cubicBezTo>
                  <a:cubicBezTo>
                    <a:pt x="9" y="85"/>
                    <a:pt x="10" y="86"/>
                    <a:pt x="10" y="87"/>
                  </a:cubicBezTo>
                  <a:cubicBezTo>
                    <a:pt x="11" y="88"/>
                    <a:pt x="11" y="90"/>
                    <a:pt x="13" y="90"/>
                  </a:cubicBezTo>
                  <a:cubicBezTo>
                    <a:pt x="14" y="90"/>
                    <a:pt x="14" y="91"/>
                    <a:pt x="15" y="91"/>
                  </a:cubicBezTo>
                  <a:cubicBezTo>
                    <a:pt x="17" y="92"/>
                    <a:pt x="19" y="92"/>
                    <a:pt x="21" y="93"/>
                  </a:cubicBezTo>
                  <a:cubicBezTo>
                    <a:pt x="21" y="93"/>
                    <a:pt x="21" y="93"/>
                    <a:pt x="21" y="93"/>
                  </a:cubicBezTo>
                  <a:cubicBezTo>
                    <a:pt x="22" y="93"/>
                    <a:pt x="22" y="92"/>
                    <a:pt x="23" y="92"/>
                  </a:cubicBezTo>
                  <a:cubicBezTo>
                    <a:pt x="26" y="91"/>
                    <a:pt x="29" y="89"/>
                    <a:pt x="31" y="88"/>
                  </a:cubicBezTo>
                  <a:cubicBezTo>
                    <a:pt x="35" y="86"/>
                    <a:pt x="39" y="84"/>
                    <a:pt x="43" y="81"/>
                  </a:cubicBezTo>
                  <a:cubicBezTo>
                    <a:pt x="44" y="81"/>
                    <a:pt x="45" y="80"/>
                    <a:pt x="47" y="79"/>
                  </a:cubicBezTo>
                  <a:cubicBezTo>
                    <a:pt x="48" y="79"/>
                    <a:pt x="49" y="77"/>
                    <a:pt x="50" y="75"/>
                  </a:cubicBezTo>
                  <a:cubicBezTo>
                    <a:pt x="50" y="73"/>
                    <a:pt x="51" y="71"/>
                    <a:pt x="51" y="69"/>
                  </a:cubicBezTo>
                  <a:cubicBezTo>
                    <a:pt x="51" y="68"/>
                    <a:pt x="51" y="66"/>
                    <a:pt x="51" y="64"/>
                  </a:cubicBezTo>
                  <a:cubicBezTo>
                    <a:pt x="51" y="60"/>
                    <a:pt x="51" y="57"/>
                    <a:pt x="50" y="57"/>
                  </a:cubicBezTo>
                  <a:cubicBezTo>
                    <a:pt x="50" y="57"/>
                    <a:pt x="50" y="57"/>
                    <a:pt x="50" y="57"/>
                  </a:cubicBezTo>
                  <a:cubicBezTo>
                    <a:pt x="50" y="56"/>
                    <a:pt x="50" y="56"/>
                    <a:pt x="50" y="56"/>
                  </a:cubicBezTo>
                  <a:cubicBezTo>
                    <a:pt x="48" y="56"/>
                    <a:pt x="47" y="54"/>
                    <a:pt x="46" y="51"/>
                  </a:cubicBezTo>
                  <a:cubicBezTo>
                    <a:pt x="45" y="49"/>
                    <a:pt x="44" y="47"/>
                    <a:pt x="43" y="44"/>
                  </a:cubicBezTo>
                  <a:cubicBezTo>
                    <a:pt x="42" y="42"/>
                    <a:pt x="41" y="39"/>
                    <a:pt x="41" y="38"/>
                  </a:cubicBezTo>
                  <a:cubicBezTo>
                    <a:pt x="41" y="38"/>
                    <a:pt x="41" y="38"/>
                    <a:pt x="41" y="38"/>
                  </a:cubicBezTo>
                  <a:cubicBezTo>
                    <a:pt x="40" y="36"/>
                    <a:pt x="39" y="34"/>
                    <a:pt x="37" y="32"/>
                  </a:cubicBezTo>
                  <a:cubicBezTo>
                    <a:pt x="36" y="30"/>
                    <a:pt x="35" y="29"/>
                    <a:pt x="34" y="27"/>
                  </a:cubicBezTo>
                  <a:cubicBezTo>
                    <a:pt x="32" y="25"/>
                    <a:pt x="31" y="23"/>
                    <a:pt x="30" y="21"/>
                  </a:cubicBezTo>
                  <a:cubicBezTo>
                    <a:pt x="30" y="21"/>
                    <a:pt x="30" y="21"/>
                    <a:pt x="30" y="21"/>
                  </a:cubicBezTo>
                  <a:cubicBezTo>
                    <a:pt x="28" y="19"/>
                    <a:pt x="27" y="18"/>
                    <a:pt x="26" y="16"/>
                  </a:cubicBezTo>
                  <a:cubicBezTo>
                    <a:pt x="25" y="14"/>
                    <a:pt x="24" y="12"/>
                    <a:pt x="23" y="10"/>
                  </a:cubicBezTo>
                  <a:cubicBezTo>
                    <a:pt x="22" y="9"/>
                    <a:pt x="21" y="8"/>
                    <a:pt x="20" y="7"/>
                  </a:cubicBezTo>
                  <a:cubicBezTo>
                    <a:pt x="19" y="7"/>
                    <a:pt x="19" y="6"/>
                    <a:pt x="18" y="6"/>
                  </a:cubicBezTo>
                  <a:cubicBezTo>
                    <a:pt x="17" y="4"/>
                    <a:pt x="15" y="2"/>
                    <a:pt x="14" y="1"/>
                  </a:cubicBezTo>
                  <a:cubicBezTo>
                    <a:pt x="13"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8" name="Freeform 1445">
              <a:extLst>
                <a:ext uri="{FF2B5EF4-FFF2-40B4-BE49-F238E27FC236}">
                  <a16:creationId xmlns:a16="http://schemas.microsoft.com/office/drawing/2014/main" id="{991210D9-0D2B-4EB3-B213-C8B054D04A36}"/>
                </a:ext>
              </a:extLst>
            </p:cNvPr>
            <p:cNvSpPr>
              <a:spLocks/>
            </p:cNvSpPr>
            <p:nvPr/>
          </p:nvSpPr>
          <p:spPr bwMode="auto">
            <a:xfrm>
              <a:off x="1496704" y="4331722"/>
              <a:ext cx="6712" cy="20135"/>
            </a:xfrm>
            <a:custGeom>
              <a:avLst/>
              <a:gdLst>
                <a:gd name="T0" fmla="*/ 0 w 2"/>
                <a:gd name="T1" fmla="*/ 0 h 6"/>
                <a:gd name="T2" fmla="*/ 2 w 2"/>
                <a:gd name="T3" fmla="*/ 6 h 6"/>
                <a:gd name="T4" fmla="*/ 0 w 2"/>
                <a:gd name="T5" fmla="*/ 0 h 6"/>
              </a:gdLst>
              <a:ahLst/>
              <a:cxnLst>
                <a:cxn ang="0">
                  <a:pos x="T0" y="T1"/>
                </a:cxn>
                <a:cxn ang="0">
                  <a:pos x="T2" y="T3"/>
                </a:cxn>
                <a:cxn ang="0">
                  <a:pos x="T4" y="T5"/>
                </a:cxn>
              </a:cxnLst>
              <a:rect l="0" t="0" r="r" b="b"/>
              <a:pathLst>
                <a:path w="2" h="6">
                  <a:moveTo>
                    <a:pt x="0" y="0"/>
                  </a:moveTo>
                  <a:cubicBezTo>
                    <a:pt x="0" y="2"/>
                    <a:pt x="1" y="4"/>
                    <a:pt x="2" y="6"/>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9" name="Freeform 1446">
              <a:extLst>
                <a:ext uri="{FF2B5EF4-FFF2-40B4-BE49-F238E27FC236}">
                  <a16:creationId xmlns:a16="http://schemas.microsoft.com/office/drawing/2014/main" id="{766287A2-CD7A-413F-B59D-F52F64317773}"/>
                </a:ext>
              </a:extLst>
            </p:cNvPr>
            <p:cNvSpPr>
              <a:spLocks/>
            </p:cNvSpPr>
            <p:nvPr/>
          </p:nvSpPr>
          <p:spPr bwMode="auto">
            <a:xfrm>
              <a:off x="1351732" y="4227020"/>
              <a:ext cx="9396" cy="9396"/>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3"/>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0" name="Freeform 1447">
              <a:extLst>
                <a:ext uri="{FF2B5EF4-FFF2-40B4-BE49-F238E27FC236}">
                  <a16:creationId xmlns:a16="http://schemas.microsoft.com/office/drawing/2014/main" id="{777D1A0D-4FC9-413A-A2F3-EF42E941A6DB}"/>
                </a:ext>
              </a:extLst>
            </p:cNvPr>
            <p:cNvSpPr>
              <a:spLocks/>
            </p:cNvSpPr>
            <p:nvPr/>
          </p:nvSpPr>
          <p:spPr bwMode="auto">
            <a:xfrm>
              <a:off x="5963997" y="387936"/>
              <a:ext cx="234909" cy="833591"/>
            </a:xfrm>
            <a:custGeom>
              <a:avLst/>
              <a:gdLst>
                <a:gd name="T0" fmla="*/ 26 w 74"/>
                <a:gd name="T1" fmla="*/ 0 h 263"/>
                <a:gd name="T2" fmla="*/ 24 w 74"/>
                <a:gd name="T3" fmla="*/ 4 h 263"/>
                <a:gd name="T4" fmla="*/ 20 w 74"/>
                <a:gd name="T5" fmla="*/ 4 h 263"/>
                <a:gd name="T6" fmla="*/ 27 w 74"/>
                <a:gd name="T7" fmla="*/ 17 h 263"/>
                <a:gd name="T8" fmla="*/ 26 w 74"/>
                <a:gd name="T9" fmla="*/ 25 h 263"/>
                <a:gd name="T10" fmla="*/ 26 w 74"/>
                <a:gd name="T11" fmla="*/ 25 h 263"/>
                <a:gd name="T12" fmla="*/ 24 w 74"/>
                <a:gd name="T13" fmla="*/ 24 h 263"/>
                <a:gd name="T14" fmla="*/ 23 w 74"/>
                <a:gd name="T15" fmla="*/ 28 h 263"/>
                <a:gd name="T16" fmla="*/ 25 w 74"/>
                <a:gd name="T17" fmla="*/ 29 h 263"/>
                <a:gd name="T18" fmla="*/ 21 w 74"/>
                <a:gd name="T19" fmla="*/ 34 h 263"/>
                <a:gd name="T20" fmla="*/ 16 w 74"/>
                <a:gd name="T21" fmla="*/ 32 h 263"/>
                <a:gd name="T22" fmla="*/ 12 w 74"/>
                <a:gd name="T23" fmla="*/ 30 h 263"/>
                <a:gd name="T24" fmla="*/ 8 w 74"/>
                <a:gd name="T25" fmla="*/ 47 h 263"/>
                <a:gd name="T26" fmla="*/ 5 w 74"/>
                <a:gd name="T27" fmla="*/ 65 h 263"/>
                <a:gd name="T28" fmla="*/ 15 w 74"/>
                <a:gd name="T29" fmla="*/ 103 h 263"/>
                <a:gd name="T30" fmla="*/ 12 w 74"/>
                <a:gd name="T31" fmla="*/ 118 h 263"/>
                <a:gd name="T32" fmla="*/ 11 w 74"/>
                <a:gd name="T33" fmla="*/ 157 h 263"/>
                <a:gd name="T34" fmla="*/ 8 w 74"/>
                <a:gd name="T35" fmla="*/ 181 h 263"/>
                <a:gd name="T36" fmla="*/ 14 w 74"/>
                <a:gd name="T37" fmla="*/ 203 h 263"/>
                <a:gd name="T38" fmla="*/ 11 w 74"/>
                <a:gd name="T39" fmla="*/ 229 h 263"/>
                <a:gd name="T40" fmla="*/ 7 w 74"/>
                <a:gd name="T41" fmla="*/ 251 h 263"/>
                <a:gd name="T42" fmla="*/ 20 w 74"/>
                <a:gd name="T43" fmla="*/ 242 h 263"/>
                <a:gd name="T44" fmla="*/ 30 w 74"/>
                <a:gd name="T45" fmla="*/ 242 h 263"/>
                <a:gd name="T46" fmla="*/ 35 w 74"/>
                <a:gd name="T47" fmla="*/ 243 h 263"/>
                <a:gd name="T48" fmla="*/ 41 w 74"/>
                <a:gd name="T49" fmla="*/ 243 h 263"/>
                <a:gd name="T50" fmla="*/ 43 w 74"/>
                <a:gd name="T51" fmla="*/ 251 h 263"/>
                <a:gd name="T52" fmla="*/ 45 w 74"/>
                <a:gd name="T53" fmla="*/ 254 h 263"/>
                <a:gd name="T54" fmla="*/ 47 w 74"/>
                <a:gd name="T55" fmla="*/ 248 h 263"/>
                <a:gd name="T56" fmla="*/ 41 w 74"/>
                <a:gd name="T57" fmla="*/ 235 h 263"/>
                <a:gd name="T58" fmla="*/ 43 w 74"/>
                <a:gd name="T59" fmla="*/ 239 h 263"/>
                <a:gd name="T60" fmla="*/ 37 w 74"/>
                <a:gd name="T61" fmla="*/ 239 h 263"/>
                <a:gd name="T62" fmla="*/ 37 w 74"/>
                <a:gd name="T63" fmla="*/ 234 h 263"/>
                <a:gd name="T64" fmla="*/ 23 w 74"/>
                <a:gd name="T65" fmla="*/ 201 h 263"/>
                <a:gd name="T66" fmla="*/ 37 w 74"/>
                <a:gd name="T67" fmla="*/ 163 h 263"/>
                <a:gd name="T68" fmla="*/ 43 w 74"/>
                <a:gd name="T69" fmla="*/ 158 h 263"/>
                <a:gd name="T70" fmla="*/ 50 w 74"/>
                <a:gd name="T71" fmla="*/ 160 h 263"/>
                <a:gd name="T72" fmla="*/ 65 w 74"/>
                <a:gd name="T73" fmla="*/ 169 h 263"/>
                <a:gd name="T74" fmla="*/ 73 w 74"/>
                <a:gd name="T75" fmla="*/ 179 h 263"/>
                <a:gd name="T76" fmla="*/ 69 w 74"/>
                <a:gd name="T77" fmla="*/ 171 h 263"/>
                <a:gd name="T78" fmla="*/ 63 w 74"/>
                <a:gd name="T79" fmla="*/ 158 h 263"/>
                <a:gd name="T80" fmla="*/ 60 w 74"/>
                <a:gd name="T81" fmla="*/ 151 h 263"/>
                <a:gd name="T82" fmla="*/ 43 w 74"/>
                <a:gd name="T83" fmla="*/ 98 h 263"/>
                <a:gd name="T84" fmla="*/ 42 w 74"/>
                <a:gd name="T85" fmla="*/ 89 h 263"/>
                <a:gd name="T86" fmla="*/ 41 w 74"/>
                <a:gd name="T87" fmla="*/ 90 h 263"/>
                <a:gd name="T88" fmla="*/ 40 w 74"/>
                <a:gd name="T89" fmla="*/ 92 h 263"/>
                <a:gd name="T90" fmla="*/ 36 w 74"/>
                <a:gd name="T91" fmla="*/ 73 h 263"/>
                <a:gd name="T92" fmla="*/ 38 w 74"/>
                <a:gd name="T93" fmla="*/ 64 h 263"/>
                <a:gd name="T94" fmla="*/ 36 w 74"/>
                <a:gd name="T95" fmla="*/ 39 h 263"/>
                <a:gd name="T96" fmla="*/ 38 w 74"/>
                <a:gd name="T97" fmla="*/ 34 h 263"/>
                <a:gd name="T98" fmla="*/ 40 w 74"/>
                <a:gd name="T99" fmla="*/ 42 h 263"/>
                <a:gd name="T100" fmla="*/ 37 w 74"/>
                <a:gd name="T101" fmla="*/ 30 h 263"/>
                <a:gd name="T102" fmla="*/ 32 w 74"/>
                <a:gd name="T103" fmla="*/ 15 h 263"/>
                <a:gd name="T104" fmla="*/ 30 w 74"/>
                <a:gd name="T105" fmla="*/ 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263">
                  <a:moveTo>
                    <a:pt x="27" y="0"/>
                  </a:moveTo>
                  <a:cubicBezTo>
                    <a:pt x="27" y="0"/>
                    <a:pt x="26" y="0"/>
                    <a:pt x="26" y="0"/>
                  </a:cubicBezTo>
                  <a:cubicBezTo>
                    <a:pt x="25" y="5"/>
                    <a:pt x="25" y="5"/>
                    <a:pt x="25" y="5"/>
                  </a:cubicBezTo>
                  <a:cubicBezTo>
                    <a:pt x="25" y="4"/>
                    <a:pt x="24" y="4"/>
                    <a:pt x="24" y="4"/>
                  </a:cubicBezTo>
                  <a:cubicBezTo>
                    <a:pt x="24" y="4"/>
                    <a:pt x="23" y="4"/>
                    <a:pt x="22" y="4"/>
                  </a:cubicBezTo>
                  <a:cubicBezTo>
                    <a:pt x="21" y="4"/>
                    <a:pt x="20" y="4"/>
                    <a:pt x="20" y="4"/>
                  </a:cubicBezTo>
                  <a:cubicBezTo>
                    <a:pt x="19" y="4"/>
                    <a:pt x="18" y="4"/>
                    <a:pt x="17" y="4"/>
                  </a:cubicBezTo>
                  <a:cubicBezTo>
                    <a:pt x="19" y="7"/>
                    <a:pt x="27" y="13"/>
                    <a:pt x="27" y="17"/>
                  </a:cubicBezTo>
                  <a:cubicBezTo>
                    <a:pt x="27" y="19"/>
                    <a:pt x="24" y="21"/>
                    <a:pt x="25" y="23"/>
                  </a:cubicBezTo>
                  <a:cubicBezTo>
                    <a:pt x="25" y="23"/>
                    <a:pt x="31" y="24"/>
                    <a:pt x="26" y="25"/>
                  </a:cubicBezTo>
                  <a:cubicBezTo>
                    <a:pt x="26" y="25"/>
                    <a:pt x="26" y="25"/>
                    <a:pt x="26" y="25"/>
                  </a:cubicBezTo>
                  <a:cubicBezTo>
                    <a:pt x="26" y="25"/>
                    <a:pt x="26" y="25"/>
                    <a:pt x="26" y="25"/>
                  </a:cubicBezTo>
                  <a:cubicBezTo>
                    <a:pt x="26" y="24"/>
                    <a:pt x="25" y="24"/>
                    <a:pt x="25" y="24"/>
                  </a:cubicBezTo>
                  <a:cubicBezTo>
                    <a:pt x="25" y="24"/>
                    <a:pt x="24" y="24"/>
                    <a:pt x="24" y="24"/>
                  </a:cubicBezTo>
                  <a:cubicBezTo>
                    <a:pt x="23" y="25"/>
                    <a:pt x="22" y="27"/>
                    <a:pt x="22" y="28"/>
                  </a:cubicBezTo>
                  <a:cubicBezTo>
                    <a:pt x="23" y="28"/>
                    <a:pt x="23" y="28"/>
                    <a:pt x="23" y="28"/>
                  </a:cubicBezTo>
                  <a:cubicBezTo>
                    <a:pt x="24" y="28"/>
                    <a:pt x="25" y="28"/>
                    <a:pt x="25" y="29"/>
                  </a:cubicBezTo>
                  <a:cubicBezTo>
                    <a:pt x="25" y="29"/>
                    <a:pt x="25" y="29"/>
                    <a:pt x="25" y="29"/>
                  </a:cubicBezTo>
                  <a:cubicBezTo>
                    <a:pt x="25" y="29"/>
                    <a:pt x="25" y="29"/>
                    <a:pt x="25" y="29"/>
                  </a:cubicBezTo>
                  <a:cubicBezTo>
                    <a:pt x="25" y="29"/>
                    <a:pt x="21" y="33"/>
                    <a:pt x="21" y="34"/>
                  </a:cubicBezTo>
                  <a:cubicBezTo>
                    <a:pt x="20" y="34"/>
                    <a:pt x="19" y="34"/>
                    <a:pt x="19" y="34"/>
                  </a:cubicBezTo>
                  <a:cubicBezTo>
                    <a:pt x="17" y="34"/>
                    <a:pt x="16" y="33"/>
                    <a:pt x="16" y="32"/>
                  </a:cubicBezTo>
                  <a:cubicBezTo>
                    <a:pt x="15" y="30"/>
                    <a:pt x="15" y="29"/>
                    <a:pt x="15" y="29"/>
                  </a:cubicBezTo>
                  <a:cubicBezTo>
                    <a:pt x="14" y="29"/>
                    <a:pt x="13" y="29"/>
                    <a:pt x="12" y="30"/>
                  </a:cubicBezTo>
                  <a:cubicBezTo>
                    <a:pt x="10" y="31"/>
                    <a:pt x="4" y="33"/>
                    <a:pt x="5" y="35"/>
                  </a:cubicBezTo>
                  <a:cubicBezTo>
                    <a:pt x="6" y="39"/>
                    <a:pt x="8" y="43"/>
                    <a:pt x="8" y="47"/>
                  </a:cubicBezTo>
                  <a:cubicBezTo>
                    <a:pt x="7" y="50"/>
                    <a:pt x="7" y="53"/>
                    <a:pt x="6" y="55"/>
                  </a:cubicBezTo>
                  <a:cubicBezTo>
                    <a:pt x="6" y="59"/>
                    <a:pt x="5" y="62"/>
                    <a:pt x="5" y="65"/>
                  </a:cubicBezTo>
                  <a:cubicBezTo>
                    <a:pt x="4" y="70"/>
                    <a:pt x="0" y="79"/>
                    <a:pt x="3" y="83"/>
                  </a:cubicBezTo>
                  <a:cubicBezTo>
                    <a:pt x="7" y="90"/>
                    <a:pt x="11" y="96"/>
                    <a:pt x="15" y="103"/>
                  </a:cubicBezTo>
                  <a:cubicBezTo>
                    <a:pt x="16" y="105"/>
                    <a:pt x="17" y="106"/>
                    <a:pt x="16" y="108"/>
                  </a:cubicBezTo>
                  <a:cubicBezTo>
                    <a:pt x="14" y="112"/>
                    <a:pt x="12" y="114"/>
                    <a:pt x="12" y="118"/>
                  </a:cubicBezTo>
                  <a:cubicBezTo>
                    <a:pt x="13" y="124"/>
                    <a:pt x="14" y="131"/>
                    <a:pt x="14" y="137"/>
                  </a:cubicBezTo>
                  <a:cubicBezTo>
                    <a:pt x="14" y="144"/>
                    <a:pt x="13" y="150"/>
                    <a:pt x="11" y="157"/>
                  </a:cubicBezTo>
                  <a:cubicBezTo>
                    <a:pt x="10" y="163"/>
                    <a:pt x="6" y="171"/>
                    <a:pt x="7" y="178"/>
                  </a:cubicBezTo>
                  <a:cubicBezTo>
                    <a:pt x="7" y="179"/>
                    <a:pt x="7" y="180"/>
                    <a:pt x="8" y="181"/>
                  </a:cubicBezTo>
                  <a:cubicBezTo>
                    <a:pt x="9" y="183"/>
                    <a:pt x="11" y="185"/>
                    <a:pt x="12" y="188"/>
                  </a:cubicBezTo>
                  <a:cubicBezTo>
                    <a:pt x="13" y="191"/>
                    <a:pt x="15" y="199"/>
                    <a:pt x="14" y="203"/>
                  </a:cubicBezTo>
                  <a:cubicBezTo>
                    <a:pt x="13" y="206"/>
                    <a:pt x="9" y="209"/>
                    <a:pt x="9" y="212"/>
                  </a:cubicBezTo>
                  <a:cubicBezTo>
                    <a:pt x="10" y="217"/>
                    <a:pt x="12" y="224"/>
                    <a:pt x="11" y="229"/>
                  </a:cubicBezTo>
                  <a:cubicBezTo>
                    <a:pt x="10" y="235"/>
                    <a:pt x="6" y="239"/>
                    <a:pt x="6" y="245"/>
                  </a:cubicBezTo>
                  <a:cubicBezTo>
                    <a:pt x="6" y="247"/>
                    <a:pt x="7" y="249"/>
                    <a:pt x="7" y="251"/>
                  </a:cubicBezTo>
                  <a:cubicBezTo>
                    <a:pt x="9" y="257"/>
                    <a:pt x="8" y="258"/>
                    <a:pt x="12" y="263"/>
                  </a:cubicBezTo>
                  <a:cubicBezTo>
                    <a:pt x="15" y="256"/>
                    <a:pt x="17" y="249"/>
                    <a:pt x="20" y="242"/>
                  </a:cubicBezTo>
                  <a:cubicBezTo>
                    <a:pt x="21" y="239"/>
                    <a:pt x="24" y="239"/>
                    <a:pt x="27" y="238"/>
                  </a:cubicBezTo>
                  <a:cubicBezTo>
                    <a:pt x="28" y="240"/>
                    <a:pt x="28" y="241"/>
                    <a:pt x="30" y="242"/>
                  </a:cubicBezTo>
                  <a:cubicBezTo>
                    <a:pt x="31" y="242"/>
                    <a:pt x="32" y="243"/>
                    <a:pt x="34" y="243"/>
                  </a:cubicBezTo>
                  <a:cubicBezTo>
                    <a:pt x="34" y="243"/>
                    <a:pt x="35" y="243"/>
                    <a:pt x="35" y="243"/>
                  </a:cubicBezTo>
                  <a:cubicBezTo>
                    <a:pt x="36" y="243"/>
                    <a:pt x="37" y="242"/>
                    <a:pt x="37" y="242"/>
                  </a:cubicBezTo>
                  <a:cubicBezTo>
                    <a:pt x="39" y="242"/>
                    <a:pt x="40" y="243"/>
                    <a:pt x="41" y="243"/>
                  </a:cubicBezTo>
                  <a:cubicBezTo>
                    <a:pt x="43" y="245"/>
                    <a:pt x="42" y="245"/>
                    <a:pt x="42" y="247"/>
                  </a:cubicBezTo>
                  <a:cubicBezTo>
                    <a:pt x="42" y="249"/>
                    <a:pt x="42" y="250"/>
                    <a:pt x="43" y="251"/>
                  </a:cubicBezTo>
                  <a:cubicBezTo>
                    <a:pt x="44" y="254"/>
                    <a:pt x="44" y="256"/>
                    <a:pt x="44" y="258"/>
                  </a:cubicBezTo>
                  <a:cubicBezTo>
                    <a:pt x="45" y="257"/>
                    <a:pt x="44" y="255"/>
                    <a:pt x="45" y="254"/>
                  </a:cubicBezTo>
                  <a:cubicBezTo>
                    <a:pt x="46" y="252"/>
                    <a:pt x="47" y="251"/>
                    <a:pt x="48" y="249"/>
                  </a:cubicBezTo>
                  <a:cubicBezTo>
                    <a:pt x="48" y="248"/>
                    <a:pt x="47" y="249"/>
                    <a:pt x="47" y="248"/>
                  </a:cubicBezTo>
                  <a:cubicBezTo>
                    <a:pt x="47" y="246"/>
                    <a:pt x="46" y="245"/>
                    <a:pt x="46" y="243"/>
                  </a:cubicBezTo>
                  <a:cubicBezTo>
                    <a:pt x="45" y="238"/>
                    <a:pt x="46" y="235"/>
                    <a:pt x="41" y="235"/>
                  </a:cubicBezTo>
                  <a:cubicBezTo>
                    <a:pt x="40" y="235"/>
                    <a:pt x="39" y="235"/>
                    <a:pt x="38" y="235"/>
                  </a:cubicBezTo>
                  <a:cubicBezTo>
                    <a:pt x="39" y="237"/>
                    <a:pt x="41" y="238"/>
                    <a:pt x="43" y="239"/>
                  </a:cubicBezTo>
                  <a:cubicBezTo>
                    <a:pt x="42" y="239"/>
                    <a:pt x="42" y="239"/>
                    <a:pt x="42" y="239"/>
                  </a:cubicBezTo>
                  <a:cubicBezTo>
                    <a:pt x="40" y="239"/>
                    <a:pt x="38" y="239"/>
                    <a:pt x="37" y="239"/>
                  </a:cubicBezTo>
                  <a:cubicBezTo>
                    <a:pt x="37" y="238"/>
                    <a:pt x="37" y="237"/>
                    <a:pt x="37" y="236"/>
                  </a:cubicBezTo>
                  <a:cubicBezTo>
                    <a:pt x="37" y="234"/>
                    <a:pt x="37" y="235"/>
                    <a:pt x="37" y="234"/>
                  </a:cubicBezTo>
                  <a:cubicBezTo>
                    <a:pt x="36" y="230"/>
                    <a:pt x="35" y="225"/>
                    <a:pt x="32" y="222"/>
                  </a:cubicBezTo>
                  <a:cubicBezTo>
                    <a:pt x="28" y="217"/>
                    <a:pt x="20" y="209"/>
                    <a:pt x="23" y="201"/>
                  </a:cubicBezTo>
                  <a:cubicBezTo>
                    <a:pt x="26" y="194"/>
                    <a:pt x="28" y="186"/>
                    <a:pt x="31" y="178"/>
                  </a:cubicBezTo>
                  <a:cubicBezTo>
                    <a:pt x="32" y="174"/>
                    <a:pt x="34" y="166"/>
                    <a:pt x="37" y="163"/>
                  </a:cubicBezTo>
                  <a:cubicBezTo>
                    <a:pt x="40" y="160"/>
                    <a:pt x="46" y="161"/>
                    <a:pt x="49" y="160"/>
                  </a:cubicBezTo>
                  <a:cubicBezTo>
                    <a:pt x="47" y="160"/>
                    <a:pt x="44" y="161"/>
                    <a:pt x="43" y="158"/>
                  </a:cubicBezTo>
                  <a:cubicBezTo>
                    <a:pt x="45" y="160"/>
                    <a:pt x="48" y="159"/>
                    <a:pt x="51" y="160"/>
                  </a:cubicBezTo>
                  <a:cubicBezTo>
                    <a:pt x="50" y="160"/>
                    <a:pt x="50" y="160"/>
                    <a:pt x="50" y="160"/>
                  </a:cubicBezTo>
                  <a:cubicBezTo>
                    <a:pt x="54" y="162"/>
                    <a:pt x="57" y="161"/>
                    <a:pt x="61" y="164"/>
                  </a:cubicBezTo>
                  <a:cubicBezTo>
                    <a:pt x="63" y="165"/>
                    <a:pt x="63" y="167"/>
                    <a:pt x="65" y="169"/>
                  </a:cubicBezTo>
                  <a:cubicBezTo>
                    <a:pt x="67" y="170"/>
                    <a:pt x="68" y="171"/>
                    <a:pt x="70" y="173"/>
                  </a:cubicBezTo>
                  <a:cubicBezTo>
                    <a:pt x="71" y="174"/>
                    <a:pt x="72" y="177"/>
                    <a:pt x="73" y="179"/>
                  </a:cubicBezTo>
                  <a:cubicBezTo>
                    <a:pt x="73" y="178"/>
                    <a:pt x="74" y="177"/>
                    <a:pt x="74" y="177"/>
                  </a:cubicBezTo>
                  <a:cubicBezTo>
                    <a:pt x="74" y="173"/>
                    <a:pt x="71" y="172"/>
                    <a:pt x="69" y="171"/>
                  </a:cubicBezTo>
                  <a:cubicBezTo>
                    <a:pt x="67" y="169"/>
                    <a:pt x="66" y="167"/>
                    <a:pt x="65" y="165"/>
                  </a:cubicBezTo>
                  <a:cubicBezTo>
                    <a:pt x="64" y="163"/>
                    <a:pt x="63" y="160"/>
                    <a:pt x="63" y="158"/>
                  </a:cubicBezTo>
                  <a:cubicBezTo>
                    <a:pt x="62" y="157"/>
                    <a:pt x="63" y="155"/>
                    <a:pt x="62" y="154"/>
                  </a:cubicBezTo>
                  <a:cubicBezTo>
                    <a:pt x="62" y="153"/>
                    <a:pt x="61" y="152"/>
                    <a:pt x="60" y="151"/>
                  </a:cubicBezTo>
                  <a:cubicBezTo>
                    <a:pt x="55" y="135"/>
                    <a:pt x="51" y="119"/>
                    <a:pt x="46" y="102"/>
                  </a:cubicBezTo>
                  <a:cubicBezTo>
                    <a:pt x="46" y="100"/>
                    <a:pt x="44" y="100"/>
                    <a:pt x="43" y="98"/>
                  </a:cubicBezTo>
                  <a:cubicBezTo>
                    <a:pt x="42" y="96"/>
                    <a:pt x="44" y="94"/>
                    <a:pt x="44" y="92"/>
                  </a:cubicBezTo>
                  <a:cubicBezTo>
                    <a:pt x="44" y="92"/>
                    <a:pt x="43" y="89"/>
                    <a:pt x="42" y="89"/>
                  </a:cubicBezTo>
                  <a:cubicBezTo>
                    <a:pt x="42" y="89"/>
                    <a:pt x="42" y="89"/>
                    <a:pt x="42" y="89"/>
                  </a:cubicBezTo>
                  <a:cubicBezTo>
                    <a:pt x="41" y="89"/>
                    <a:pt x="42" y="90"/>
                    <a:pt x="41" y="90"/>
                  </a:cubicBezTo>
                  <a:cubicBezTo>
                    <a:pt x="41" y="91"/>
                    <a:pt x="43" y="93"/>
                    <a:pt x="41" y="93"/>
                  </a:cubicBezTo>
                  <a:cubicBezTo>
                    <a:pt x="41" y="93"/>
                    <a:pt x="41" y="92"/>
                    <a:pt x="40" y="92"/>
                  </a:cubicBezTo>
                  <a:cubicBezTo>
                    <a:pt x="38" y="92"/>
                    <a:pt x="39" y="89"/>
                    <a:pt x="38" y="87"/>
                  </a:cubicBezTo>
                  <a:cubicBezTo>
                    <a:pt x="37" y="83"/>
                    <a:pt x="35" y="76"/>
                    <a:pt x="36" y="73"/>
                  </a:cubicBezTo>
                  <a:cubicBezTo>
                    <a:pt x="37" y="74"/>
                    <a:pt x="37" y="74"/>
                    <a:pt x="37" y="74"/>
                  </a:cubicBezTo>
                  <a:cubicBezTo>
                    <a:pt x="38" y="70"/>
                    <a:pt x="36" y="67"/>
                    <a:pt x="38" y="64"/>
                  </a:cubicBezTo>
                  <a:cubicBezTo>
                    <a:pt x="39" y="60"/>
                    <a:pt x="40" y="57"/>
                    <a:pt x="40" y="52"/>
                  </a:cubicBezTo>
                  <a:cubicBezTo>
                    <a:pt x="40" y="47"/>
                    <a:pt x="36" y="43"/>
                    <a:pt x="36" y="39"/>
                  </a:cubicBezTo>
                  <a:cubicBezTo>
                    <a:pt x="35" y="38"/>
                    <a:pt x="35" y="34"/>
                    <a:pt x="37" y="34"/>
                  </a:cubicBezTo>
                  <a:cubicBezTo>
                    <a:pt x="37" y="34"/>
                    <a:pt x="37" y="34"/>
                    <a:pt x="38" y="34"/>
                  </a:cubicBezTo>
                  <a:cubicBezTo>
                    <a:pt x="39" y="35"/>
                    <a:pt x="37" y="37"/>
                    <a:pt x="37" y="38"/>
                  </a:cubicBezTo>
                  <a:cubicBezTo>
                    <a:pt x="38" y="39"/>
                    <a:pt x="40" y="40"/>
                    <a:pt x="40" y="42"/>
                  </a:cubicBezTo>
                  <a:cubicBezTo>
                    <a:pt x="41" y="44"/>
                    <a:pt x="41" y="47"/>
                    <a:pt x="42" y="49"/>
                  </a:cubicBezTo>
                  <a:cubicBezTo>
                    <a:pt x="41" y="43"/>
                    <a:pt x="39" y="36"/>
                    <a:pt x="37" y="30"/>
                  </a:cubicBezTo>
                  <a:cubicBezTo>
                    <a:pt x="35" y="26"/>
                    <a:pt x="33" y="23"/>
                    <a:pt x="31" y="19"/>
                  </a:cubicBezTo>
                  <a:cubicBezTo>
                    <a:pt x="30" y="17"/>
                    <a:pt x="31" y="16"/>
                    <a:pt x="32" y="15"/>
                  </a:cubicBezTo>
                  <a:cubicBezTo>
                    <a:pt x="33" y="13"/>
                    <a:pt x="34" y="10"/>
                    <a:pt x="33" y="9"/>
                  </a:cubicBezTo>
                  <a:cubicBezTo>
                    <a:pt x="32" y="7"/>
                    <a:pt x="31" y="5"/>
                    <a:pt x="30" y="4"/>
                  </a:cubicBezTo>
                  <a:cubicBezTo>
                    <a:pt x="29" y="3"/>
                    <a:pt x="28"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1" name="Freeform 1448">
              <a:extLst>
                <a:ext uri="{FF2B5EF4-FFF2-40B4-BE49-F238E27FC236}">
                  <a16:creationId xmlns:a16="http://schemas.microsoft.com/office/drawing/2014/main" id="{FC05070E-064E-45AB-BBFC-D6A5D93F145C}"/>
                </a:ext>
              </a:extLst>
            </p:cNvPr>
            <p:cNvSpPr>
              <a:spLocks/>
            </p:cNvSpPr>
            <p:nvPr/>
          </p:nvSpPr>
          <p:spPr bwMode="auto">
            <a:xfrm>
              <a:off x="6891551" y="936952"/>
              <a:ext cx="16108" cy="14766"/>
            </a:xfrm>
            <a:custGeom>
              <a:avLst/>
              <a:gdLst>
                <a:gd name="T0" fmla="*/ 5 w 5"/>
                <a:gd name="T1" fmla="*/ 0 h 5"/>
                <a:gd name="T2" fmla="*/ 0 w 5"/>
                <a:gd name="T3" fmla="*/ 5 h 5"/>
                <a:gd name="T4" fmla="*/ 5 w 5"/>
                <a:gd name="T5" fmla="*/ 0 h 5"/>
                <a:gd name="T6" fmla="*/ 5 w 5"/>
                <a:gd name="T7" fmla="*/ 0 h 5"/>
              </a:gdLst>
              <a:ahLst/>
              <a:cxnLst>
                <a:cxn ang="0">
                  <a:pos x="T0" y="T1"/>
                </a:cxn>
                <a:cxn ang="0">
                  <a:pos x="T2" y="T3"/>
                </a:cxn>
                <a:cxn ang="0">
                  <a:pos x="T4" y="T5"/>
                </a:cxn>
                <a:cxn ang="0">
                  <a:pos x="T6" y="T7"/>
                </a:cxn>
              </a:cxnLst>
              <a:rect l="0" t="0" r="r" b="b"/>
              <a:pathLst>
                <a:path w="5" h="5">
                  <a:moveTo>
                    <a:pt x="5" y="0"/>
                  </a:moveTo>
                  <a:cubicBezTo>
                    <a:pt x="3" y="0"/>
                    <a:pt x="1" y="3"/>
                    <a:pt x="0" y="5"/>
                  </a:cubicBezTo>
                  <a:cubicBezTo>
                    <a:pt x="2" y="3"/>
                    <a:pt x="4" y="2"/>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2" name="Freeform 1449">
              <a:extLst>
                <a:ext uri="{FF2B5EF4-FFF2-40B4-BE49-F238E27FC236}">
                  <a16:creationId xmlns:a16="http://schemas.microsoft.com/office/drawing/2014/main" id="{0775FD31-8BEC-4917-ABB7-E1FB733CC917}"/>
                </a:ext>
              </a:extLst>
            </p:cNvPr>
            <p:cNvSpPr>
              <a:spLocks/>
            </p:cNvSpPr>
            <p:nvPr/>
          </p:nvSpPr>
          <p:spPr bwMode="auto">
            <a:xfrm>
              <a:off x="6247230" y="1349049"/>
              <a:ext cx="88594" cy="79198"/>
            </a:xfrm>
            <a:custGeom>
              <a:avLst/>
              <a:gdLst>
                <a:gd name="T0" fmla="*/ 19 w 28"/>
                <a:gd name="T1" fmla="*/ 0 h 25"/>
                <a:gd name="T2" fmla="*/ 5 w 28"/>
                <a:gd name="T3" fmla="*/ 16 h 25"/>
                <a:gd name="T4" fmla="*/ 5 w 28"/>
                <a:gd name="T5" fmla="*/ 25 h 25"/>
                <a:gd name="T6" fmla="*/ 5 w 28"/>
                <a:gd name="T7" fmla="*/ 23 h 25"/>
                <a:gd name="T8" fmla="*/ 6 w 28"/>
                <a:gd name="T9" fmla="*/ 19 h 25"/>
                <a:gd name="T10" fmla="*/ 9 w 28"/>
                <a:gd name="T11" fmla="*/ 17 h 25"/>
                <a:gd name="T12" fmla="*/ 13 w 28"/>
                <a:gd name="T13" fmla="*/ 12 h 25"/>
                <a:gd name="T14" fmla="*/ 28 w 28"/>
                <a:gd name="T15" fmla="*/ 2 h 25"/>
                <a:gd name="T16" fmla="*/ 25 w 28"/>
                <a:gd name="T17" fmla="*/ 3 h 25"/>
                <a:gd name="T18" fmla="*/ 19 w 28"/>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5">
                  <a:moveTo>
                    <a:pt x="19" y="0"/>
                  </a:moveTo>
                  <a:cubicBezTo>
                    <a:pt x="14" y="5"/>
                    <a:pt x="9" y="11"/>
                    <a:pt x="5" y="16"/>
                  </a:cubicBezTo>
                  <a:cubicBezTo>
                    <a:pt x="2" y="19"/>
                    <a:pt x="0" y="22"/>
                    <a:pt x="5" y="25"/>
                  </a:cubicBezTo>
                  <a:cubicBezTo>
                    <a:pt x="5" y="24"/>
                    <a:pt x="5" y="23"/>
                    <a:pt x="5" y="23"/>
                  </a:cubicBezTo>
                  <a:cubicBezTo>
                    <a:pt x="6" y="21"/>
                    <a:pt x="5" y="20"/>
                    <a:pt x="6" y="19"/>
                  </a:cubicBezTo>
                  <a:cubicBezTo>
                    <a:pt x="7" y="18"/>
                    <a:pt x="8" y="18"/>
                    <a:pt x="9" y="17"/>
                  </a:cubicBezTo>
                  <a:cubicBezTo>
                    <a:pt x="11" y="16"/>
                    <a:pt x="12" y="14"/>
                    <a:pt x="13" y="12"/>
                  </a:cubicBezTo>
                  <a:cubicBezTo>
                    <a:pt x="18" y="7"/>
                    <a:pt x="24" y="7"/>
                    <a:pt x="28" y="2"/>
                  </a:cubicBezTo>
                  <a:cubicBezTo>
                    <a:pt x="27" y="2"/>
                    <a:pt x="26" y="3"/>
                    <a:pt x="25" y="3"/>
                  </a:cubicBezTo>
                  <a:cubicBezTo>
                    <a:pt x="23" y="3"/>
                    <a:pt x="21" y="1"/>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3" name="Freeform 1450">
              <a:extLst>
                <a:ext uri="{FF2B5EF4-FFF2-40B4-BE49-F238E27FC236}">
                  <a16:creationId xmlns:a16="http://schemas.microsoft.com/office/drawing/2014/main" id="{DE1AD9B5-D949-4AD7-B912-1A2F3FCD1684}"/>
                </a:ext>
              </a:extLst>
            </p:cNvPr>
            <p:cNvSpPr>
              <a:spLocks/>
            </p:cNvSpPr>
            <p:nvPr/>
          </p:nvSpPr>
          <p:spPr bwMode="auto">
            <a:xfrm>
              <a:off x="5640494" y="308738"/>
              <a:ext cx="69801" cy="56378"/>
            </a:xfrm>
            <a:custGeom>
              <a:avLst/>
              <a:gdLst>
                <a:gd name="T0" fmla="*/ 8 w 22"/>
                <a:gd name="T1" fmla="*/ 0 h 18"/>
                <a:gd name="T2" fmla="*/ 6 w 22"/>
                <a:gd name="T3" fmla="*/ 2 h 18"/>
                <a:gd name="T4" fmla="*/ 6 w 22"/>
                <a:gd name="T5" fmla="*/ 4 h 18"/>
                <a:gd name="T6" fmla="*/ 4 w 22"/>
                <a:gd name="T7" fmla="*/ 6 h 18"/>
                <a:gd name="T8" fmla="*/ 0 w 22"/>
                <a:gd name="T9" fmla="*/ 12 h 18"/>
                <a:gd name="T10" fmla="*/ 1 w 22"/>
                <a:gd name="T11" fmla="*/ 13 h 18"/>
                <a:gd name="T12" fmla="*/ 4 w 22"/>
                <a:gd name="T13" fmla="*/ 11 h 18"/>
                <a:gd name="T14" fmla="*/ 5 w 22"/>
                <a:gd name="T15" fmla="*/ 11 h 18"/>
                <a:gd name="T16" fmla="*/ 11 w 22"/>
                <a:gd name="T17" fmla="*/ 18 h 18"/>
                <a:gd name="T18" fmla="*/ 22 w 22"/>
                <a:gd name="T19" fmla="*/ 4 h 18"/>
                <a:gd name="T20" fmla="*/ 22 w 22"/>
                <a:gd name="T21" fmla="*/ 4 h 18"/>
                <a:gd name="T22" fmla="*/ 21 w 22"/>
                <a:gd name="T23" fmla="*/ 4 h 18"/>
                <a:gd name="T24" fmla="*/ 20 w 22"/>
                <a:gd name="T25" fmla="*/ 4 h 18"/>
                <a:gd name="T26" fmla="*/ 19 w 22"/>
                <a:gd name="T27" fmla="*/ 4 h 18"/>
                <a:gd name="T28" fmla="*/ 19 w 22"/>
                <a:gd name="T29" fmla="*/ 4 h 18"/>
                <a:gd name="T30" fmla="*/ 19 w 22"/>
                <a:gd name="T31" fmla="*/ 4 h 18"/>
                <a:gd name="T32" fmla="*/ 18 w 22"/>
                <a:gd name="T33" fmla="*/ 4 h 18"/>
                <a:gd name="T34" fmla="*/ 18 w 22"/>
                <a:gd name="T35" fmla="*/ 4 h 18"/>
                <a:gd name="T36" fmla="*/ 17 w 22"/>
                <a:gd name="T37" fmla="*/ 2 h 18"/>
                <a:gd name="T38" fmla="*/ 15 w 22"/>
                <a:gd name="T39" fmla="*/ 1 h 18"/>
                <a:gd name="T40" fmla="*/ 14 w 22"/>
                <a:gd name="T41" fmla="*/ 1 h 18"/>
                <a:gd name="T42" fmla="*/ 14 w 22"/>
                <a:gd name="T43" fmla="*/ 1 h 18"/>
                <a:gd name="T44" fmla="*/ 11 w 22"/>
                <a:gd name="T45" fmla="*/ 1 h 18"/>
                <a:gd name="T46" fmla="*/ 8 w 22"/>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18">
                  <a:moveTo>
                    <a:pt x="8" y="0"/>
                  </a:moveTo>
                  <a:cubicBezTo>
                    <a:pt x="8" y="0"/>
                    <a:pt x="7" y="1"/>
                    <a:pt x="6" y="2"/>
                  </a:cubicBezTo>
                  <a:cubicBezTo>
                    <a:pt x="6" y="3"/>
                    <a:pt x="6" y="4"/>
                    <a:pt x="6" y="4"/>
                  </a:cubicBezTo>
                  <a:cubicBezTo>
                    <a:pt x="5" y="5"/>
                    <a:pt x="4" y="5"/>
                    <a:pt x="4" y="6"/>
                  </a:cubicBezTo>
                  <a:cubicBezTo>
                    <a:pt x="2" y="7"/>
                    <a:pt x="0" y="10"/>
                    <a:pt x="0" y="12"/>
                  </a:cubicBezTo>
                  <a:cubicBezTo>
                    <a:pt x="0" y="13"/>
                    <a:pt x="0" y="13"/>
                    <a:pt x="1" y="13"/>
                  </a:cubicBezTo>
                  <a:cubicBezTo>
                    <a:pt x="1" y="13"/>
                    <a:pt x="3" y="11"/>
                    <a:pt x="4" y="11"/>
                  </a:cubicBezTo>
                  <a:cubicBezTo>
                    <a:pt x="4" y="11"/>
                    <a:pt x="4" y="11"/>
                    <a:pt x="5" y="11"/>
                  </a:cubicBezTo>
                  <a:cubicBezTo>
                    <a:pt x="7" y="11"/>
                    <a:pt x="9" y="16"/>
                    <a:pt x="11" y="18"/>
                  </a:cubicBezTo>
                  <a:cubicBezTo>
                    <a:pt x="15" y="14"/>
                    <a:pt x="19" y="9"/>
                    <a:pt x="22" y="4"/>
                  </a:cubicBezTo>
                  <a:cubicBezTo>
                    <a:pt x="22" y="4"/>
                    <a:pt x="22" y="4"/>
                    <a:pt x="22" y="4"/>
                  </a:cubicBezTo>
                  <a:cubicBezTo>
                    <a:pt x="21" y="4"/>
                    <a:pt x="21" y="4"/>
                    <a:pt x="21" y="4"/>
                  </a:cubicBezTo>
                  <a:cubicBezTo>
                    <a:pt x="20" y="4"/>
                    <a:pt x="20" y="4"/>
                    <a:pt x="20" y="4"/>
                  </a:cubicBezTo>
                  <a:cubicBezTo>
                    <a:pt x="20"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7" y="2"/>
                    <a:pt x="17" y="2"/>
                    <a:pt x="17" y="2"/>
                  </a:cubicBezTo>
                  <a:cubicBezTo>
                    <a:pt x="16" y="1"/>
                    <a:pt x="15" y="1"/>
                    <a:pt x="15" y="1"/>
                  </a:cubicBezTo>
                  <a:cubicBezTo>
                    <a:pt x="14" y="1"/>
                    <a:pt x="14" y="1"/>
                    <a:pt x="14" y="1"/>
                  </a:cubicBezTo>
                  <a:cubicBezTo>
                    <a:pt x="14" y="1"/>
                    <a:pt x="14" y="1"/>
                    <a:pt x="14" y="1"/>
                  </a:cubicBezTo>
                  <a:cubicBezTo>
                    <a:pt x="13" y="1"/>
                    <a:pt x="12" y="1"/>
                    <a:pt x="11" y="1"/>
                  </a:cubicBezTo>
                  <a:cubicBezTo>
                    <a:pt x="10" y="1"/>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4" name="Freeform 1451">
              <a:extLst>
                <a:ext uri="{FF2B5EF4-FFF2-40B4-BE49-F238E27FC236}">
                  <a16:creationId xmlns:a16="http://schemas.microsoft.com/office/drawing/2014/main" id="{AA1B68A0-5E3A-4A3C-86DC-88633D7AED06}"/>
                </a:ext>
              </a:extLst>
            </p:cNvPr>
            <p:cNvSpPr>
              <a:spLocks/>
            </p:cNvSpPr>
            <p:nvPr/>
          </p:nvSpPr>
          <p:spPr bwMode="auto">
            <a:xfrm>
              <a:off x="6347905" y="1256428"/>
              <a:ext cx="165107" cy="102018"/>
            </a:xfrm>
            <a:custGeom>
              <a:avLst/>
              <a:gdLst>
                <a:gd name="T0" fmla="*/ 49 w 52"/>
                <a:gd name="T1" fmla="*/ 0 h 32"/>
                <a:gd name="T2" fmla="*/ 34 w 52"/>
                <a:gd name="T3" fmla="*/ 8 h 32"/>
                <a:gd name="T4" fmla="*/ 32 w 52"/>
                <a:gd name="T5" fmla="*/ 8 h 32"/>
                <a:gd name="T6" fmla="*/ 28 w 52"/>
                <a:gd name="T7" fmla="*/ 3 h 32"/>
                <a:gd name="T8" fmla="*/ 27 w 52"/>
                <a:gd name="T9" fmla="*/ 4 h 32"/>
                <a:gd name="T10" fmla="*/ 27 w 52"/>
                <a:gd name="T11" fmla="*/ 5 h 32"/>
                <a:gd name="T12" fmla="*/ 25 w 52"/>
                <a:gd name="T13" fmla="*/ 8 h 32"/>
                <a:gd name="T14" fmla="*/ 19 w 52"/>
                <a:gd name="T15" fmla="*/ 13 h 32"/>
                <a:gd name="T16" fmla="*/ 10 w 52"/>
                <a:gd name="T17" fmla="*/ 23 h 32"/>
                <a:gd name="T18" fmla="*/ 4 w 52"/>
                <a:gd name="T19" fmla="*/ 32 h 32"/>
                <a:gd name="T20" fmla="*/ 5 w 52"/>
                <a:gd name="T21" fmla="*/ 32 h 32"/>
                <a:gd name="T22" fmla="*/ 7 w 52"/>
                <a:gd name="T23" fmla="*/ 29 h 32"/>
                <a:gd name="T24" fmla="*/ 12 w 52"/>
                <a:gd name="T25" fmla="*/ 27 h 32"/>
                <a:gd name="T26" fmla="*/ 16 w 52"/>
                <a:gd name="T27" fmla="*/ 23 h 32"/>
                <a:gd name="T28" fmla="*/ 20 w 52"/>
                <a:gd name="T29" fmla="*/ 19 h 32"/>
                <a:gd name="T30" fmla="*/ 23 w 52"/>
                <a:gd name="T31" fmla="*/ 16 h 32"/>
                <a:gd name="T32" fmla="*/ 23 w 52"/>
                <a:gd name="T33" fmla="*/ 16 h 32"/>
                <a:gd name="T34" fmla="*/ 24 w 52"/>
                <a:gd name="T35" fmla="*/ 16 h 32"/>
                <a:gd name="T36" fmla="*/ 25 w 52"/>
                <a:gd name="T37" fmla="*/ 16 h 32"/>
                <a:gd name="T38" fmla="*/ 25 w 52"/>
                <a:gd name="T39" fmla="*/ 16 h 32"/>
                <a:gd name="T40" fmla="*/ 28 w 52"/>
                <a:gd name="T41" fmla="*/ 15 h 32"/>
                <a:gd name="T42" fmla="*/ 31 w 52"/>
                <a:gd name="T43" fmla="*/ 12 h 32"/>
                <a:gd name="T44" fmla="*/ 42 w 52"/>
                <a:gd name="T45" fmla="*/ 7 h 32"/>
                <a:gd name="T46" fmla="*/ 48 w 52"/>
                <a:gd name="T47" fmla="*/ 6 h 32"/>
                <a:gd name="T48" fmla="*/ 49 w 52"/>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2">
                  <a:moveTo>
                    <a:pt x="49" y="0"/>
                  </a:moveTo>
                  <a:cubicBezTo>
                    <a:pt x="46" y="2"/>
                    <a:pt x="39" y="8"/>
                    <a:pt x="34" y="8"/>
                  </a:cubicBezTo>
                  <a:cubicBezTo>
                    <a:pt x="33" y="8"/>
                    <a:pt x="32" y="8"/>
                    <a:pt x="32" y="8"/>
                  </a:cubicBezTo>
                  <a:cubicBezTo>
                    <a:pt x="30" y="7"/>
                    <a:pt x="30" y="3"/>
                    <a:pt x="28" y="3"/>
                  </a:cubicBezTo>
                  <a:cubicBezTo>
                    <a:pt x="28" y="3"/>
                    <a:pt x="28" y="4"/>
                    <a:pt x="27" y="4"/>
                  </a:cubicBezTo>
                  <a:cubicBezTo>
                    <a:pt x="27" y="4"/>
                    <a:pt x="27" y="5"/>
                    <a:pt x="27" y="5"/>
                  </a:cubicBezTo>
                  <a:cubicBezTo>
                    <a:pt x="27" y="6"/>
                    <a:pt x="26" y="7"/>
                    <a:pt x="25" y="8"/>
                  </a:cubicBezTo>
                  <a:cubicBezTo>
                    <a:pt x="23" y="9"/>
                    <a:pt x="20" y="11"/>
                    <a:pt x="19" y="13"/>
                  </a:cubicBezTo>
                  <a:cubicBezTo>
                    <a:pt x="17" y="15"/>
                    <a:pt x="7" y="21"/>
                    <a:pt x="10" y="23"/>
                  </a:cubicBezTo>
                  <a:cubicBezTo>
                    <a:pt x="9" y="23"/>
                    <a:pt x="0" y="30"/>
                    <a:pt x="4" y="32"/>
                  </a:cubicBezTo>
                  <a:cubicBezTo>
                    <a:pt x="4" y="32"/>
                    <a:pt x="4" y="32"/>
                    <a:pt x="5" y="32"/>
                  </a:cubicBezTo>
                  <a:cubicBezTo>
                    <a:pt x="6" y="32"/>
                    <a:pt x="6" y="30"/>
                    <a:pt x="7" y="29"/>
                  </a:cubicBezTo>
                  <a:cubicBezTo>
                    <a:pt x="9" y="28"/>
                    <a:pt x="11" y="29"/>
                    <a:pt x="12" y="27"/>
                  </a:cubicBezTo>
                  <a:cubicBezTo>
                    <a:pt x="14" y="26"/>
                    <a:pt x="14" y="24"/>
                    <a:pt x="16" y="23"/>
                  </a:cubicBezTo>
                  <a:cubicBezTo>
                    <a:pt x="17" y="22"/>
                    <a:pt x="19" y="21"/>
                    <a:pt x="20" y="19"/>
                  </a:cubicBezTo>
                  <a:cubicBezTo>
                    <a:pt x="21" y="17"/>
                    <a:pt x="20" y="16"/>
                    <a:pt x="23" y="16"/>
                  </a:cubicBezTo>
                  <a:cubicBezTo>
                    <a:pt x="23" y="16"/>
                    <a:pt x="23" y="16"/>
                    <a:pt x="23" y="16"/>
                  </a:cubicBezTo>
                  <a:cubicBezTo>
                    <a:pt x="23" y="16"/>
                    <a:pt x="24" y="16"/>
                    <a:pt x="24" y="16"/>
                  </a:cubicBezTo>
                  <a:cubicBezTo>
                    <a:pt x="25" y="16"/>
                    <a:pt x="25" y="16"/>
                    <a:pt x="25" y="16"/>
                  </a:cubicBezTo>
                  <a:cubicBezTo>
                    <a:pt x="25" y="16"/>
                    <a:pt x="25" y="16"/>
                    <a:pt x="25" y="16"/>
                  </a:cubicBezTo>
                  <a:cubicBezTo>
                    <a:pt x="26" y="16"/>
                    <a:pt x="27" y="16"/>
                    <a:pt x="28" y="15"/>
                  </a:cubicBezTo>
                  <a:cubicBezTo>
                    <a:pt x="29" y="14"/>
                    <a:pt x="30" y="13"/>
                    <a:pt x="31" y="12"/>
                  </a:cubicBezTo>
                  <a:cubicBezTo>
                    <a:pt x="34" y="9"/>
                    <a:pt x="38" y="8"/>
                    <a:pt x="42" y="7"/>
                  </a:cubicBezTo>
                  <a:cubicBezTo>
                    <a:pt x="44" y="6"/>
                    <a:pt x="46" y="6"/>
                    <a:pt x="48" y="6"/>
                  </a:cubicBezTo>
                  <a:cubicBezTo>
                    <a:pt x="52" y="5"/>
                    <a:pt x="49" y="3"/>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5" name="Freeform 1452">
              <a:extLst>
                <a:ext uri="{FF2B5EF4-FFF2-40B4-BE49-F238E27FC236}">
                  <a16:creationId xmlns:a16="http://schemas.microsoft.com/office/drawing/2014/main" id="{623D03F9-CC75-49CF-8239-56CDE8C282D8}"/>
                </a:ext>
              </a:extLst>
            </p:cNvPr>
            <p:cNvSpPr>
              <a:spLocks/>
            </p:cNvSpPr>
            <p:nvPr/>
          </p:nvSpPr>
          <p:spPr bwMode="auto">
            <a:xfrm>
              <a:off x="5602909" y="314107"/>
              <a:ext cx="34901" cy="25504"/>
            </a:xfrm>
            <a:custGeom>
              <a:avLst/>
              <a:gdLst>
                <a:gd name="T0" fmla="*/ 10 w 11"/>
                <a:gd name="T1" fmla="*/ 0 h 8"/>
                <a:gd name="T2" fmla="*/ 10 w 11"/>
                <a:gd name="T3" fmla="*/ 0 h 8"/>
                <a:gd name="T4" fmla="*/ 9 w 11"/>
                <a:gd name="T5" fmla="*/ 1 h 8"/>
                <a:gd name="T6" fmla="*/ 9 w 11"/>
                <a:gd name="T7" fmla="*/ 1 h 8"/>
                <a:gd name="T8" fmla="*/ 8 w 11"/>
                <a:gd name="T9" fmla="*/ 1 h 8"/>
                <a:gd name="T10" fmla="*/ 7 w 11"/>
                <a:gd name="T11" fmla="*/ 1 h 8"/>
                <a:gd name="T12" fmla="*/ 0 w 11"/>
                <a:gd name="T13" fmla="*/ 8 h 8"/>
                <a:gd name="T14" fmla="*/ 10 w 11"/>
                <a:gd name="T15" fmla="*/ 1 h 8"/>
                <a:gd name="T16" fmla="*/ 10 w 1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0" y="0"/>
                  </a:moveTo>
                  <a:cubicBezTo>
                    <a:pt x="10" y="0"/>
                    <a:pt x="10" y="0"/>
                    <a:pt x="10" y="0"/>
                  </a:cubicBezTo>
                  <a:cubicBezTo>
                    <a:pt x="10" y="0"/>
                    <a:pt x="9" y="1"/>
                    <a:pt x="9" y="1"/>
                  </a:cubicBezTo>
                  <a:cubicBezTo>
                    <a:pt x="9" y="1"/>
                    <a:pt x="9" y="1"/>
                    <a:pt x="9" y="1"/>
                  </a:cubicBezTo>
                  <a:cubicBezTo>
                    <a:pt x="9" y="1"/>
                    <a:pt x="8" y="1"/>
                    <a:pt x="8" y="1"/>
                  </a:cubicBezTo>
                  <a:cubicBezTo>
                    <a:pt x="7" y="1"/>
                    <a:pt x="7" y="1"/>
                    <a:pt x="7" y="1"/>
                  </a:cubicBezTo>
                  <a:cubicBezTo>
                    <a:pt x="4" y="2"/>
                    <a:pt x="1" y="4"/>
                    <a:pt x="0" y="8"/>
                  </a:cubicBezTo>
                  <a:cubicBezTo>
                    <a:pt x="6" y="7"/>
                    <a:pt x="9" y="7"/>
                    <a:pt x="10"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6" name="Freeform 1453">
              <a:extLst>
                <a:ext uri="{FF2B5EF4-FFF2-40B4-BE49-F238E27FC236}">
                  <a16:creationId xmlns:a16="http://schemas.microsoft.com/office/drawing/2014/main" id="{50FB9FD2-B4DE-4AB1-A160-BC32918352B8}"/>
                </a:ext>
              </a:extLst>
            </p:cNvPr>
            <p:cNvSpPr>
              <a:spLocks/>
            </p:cNvSpPr>
            <p:nvPr/>
          </p:nvSpPr>
          <p:spPr bwMode="auto">
            <a:xfrm>
              <a:off x="6722416" y="1104744"/>
              <a:ext cx="34901" cy="34901"/>
            </a:xfrm>
            <a:custGeom>
              <a:avLst/>
              <a:gdLst>
                <a:gd name="T0" fmla="*/ 11 w 11"/>
                <a:gd name="T1" fmla="*/ 0 h 11"/>
                <a:gd name="T2" fmla="*/ 0 w 11"/>
                <a:gd name="T3" fmla="*/ 10 h 11"/>
                <a:gd name="T4" fmla="*/ 1 w 11"/>
                <a:gd name="T5" fmla="*/ 11 h 11"/>
                <a:gd name="T6" fmla="*/ 11 w 11"/>
                <a:gd name="T7" fmla="*/ 0 h 11"/>
              </a:gdLst>
              <a:ahLst/>
              <a:cxnLst>
                <a:cxn ang="0">
                  <a:pos x="T0" y="T1"/>
                </a:cxn>
                <a:cxn ang="0">
                  <a:pos x="T2" y="T3"/>
                </a:cxn>
                <a:cxn ang="0">
                  <a:pos x="T4" y="T5"/>
                </a:cxn>
                <a:cxn ang="0">
                  <a:pos x="T6" y="T7"/>
                </a:cxn>
              </a:cxnLst>
              <a:rect l="0" t="0" r="r" b="b"/>
              <a:pathLst>
                <a:path w="11" h="11">
                  <a:moveTo>
                    <a:pt x="11" y="0"/>
                  </a:moveTo>
                  <a:cubicBezTo>
                    <a:pt x="7" y="3"/>
                    <a:pt x="3" y="6"/>
                    <a:pt x="0" y="10"/>
                  </a:cubicBezTo>
                  <a:cubicBezTo>
                    <a:pt x="0" y="11"/>
                    <a:pt x="1" y="11"/>
                    <a:pt x="1" y="11"/>
                  </a:cubicBezTo>
                  <a:cubicBezTo>
                    <a:pt x="5" y="11"/>
                    <a:pt x="10"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7" name="Freeform 1455">
              <a:extLst>
                <a:ext uri="{FF2B5EF4-FFF2-40B4-BE49-F238E27FC236}">
                  <a16:creationId xmlns:a16="http://schemas.microsoft.com/office/drawing/2014/main" id="{AAB09401-BA95-4439-B5E9-7B944920D444}"/>
                </a:ext>
              </a:extLst>
            </p:cNvPr>
            <p:cNvSpPr>
              <a:spLocks/>
            </p:cNvSpPr>
            <p:nvPr/>
          </p:nvSpPr>
          <p:spPr bwMode="auto">
            <a:xfrm>
              <a:off x="6815038" y="1041654"/>
              <a:ext cx="9396" cy="5369"/>
            </a:xfrm>
            <a:custGeom>
              <a:avLst/>
              <a:gdLst>
                <a:gd name="T0" fmla="*/ 2 w 3"/>
                <a:gd name="T1" fmla="*/ 0 h 2"/>
                <a:gd name="T2" fmla="*/ 0 w 3"/>
                <a:gd name="T3" fmla="*/ 2 h 2"/>
                <a:gd name="T4" fmla="*/ 2 w 3"/>
                <a:gd name="T5" fmla="*/ 0 h 2"/>
              </a:gdLst>
              <a:ahLst/>
              <a:cxnLst>
                <a:cxn ang="0">
                  <a:pos x="T0" y="T1"/>
                </a:cxn>
                <a:cxn ang="0">
                  <a:pos x="T2" y="T3"/>
                </a:cxn>
                <a:cxn ang="0">
                  <a:pos x="T4" y="T5"/>
                </a:cxn>
              </a:cxnLst>
              <a:rect l="0" t="0" r="r" b="b"/>
              <a:pathLst>
                <a:path w="3" h="2">
                  <a:moveTo>
                    <a:pt x="2" y="0"/>
                  </a:moveTo>
                  <a:cubicBezTo>
                    <a:pt x="2" y="0"/>
                    <a:pt x="1" y="1"/>
                    <a:pt x="0" y="2"/>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8" name="Freeform 1456">
              <a:extLst>
                <a:ext uri="{FF2B5EF4-FFF2-40B4-BE49-F238E27FC236}">
                  <a16:creationId xmlns:a16="http://schemas.microsoft.com/office/drawing/2014/main" id="{9EBF182F-A5D0-4793-88A3-F9F8AE3C3442}"/>
                </a:ext>
              </a:extLst>
            </p:cNvPr>
            <p:cNvSpPr>
              <a:spLocks/>
            </p:cNvSpPr>
            <p:nvPr/>
          </p:nvSpPr>
          <p:spPr bwMode="auto">
            <a:xfrm>
              <a:off x="6773426" y="1081925"/>
              <a:ext cx="9396" cy="6712"/>
            </a:xfrm>
            <a:custGeom>
              <a:avLst/>
              <a:gdLst>
                <a:gd name="T0" fmla="*/ 2 w 3"/>
                <a:gd name="T1" fmla="*/ 0 h 2"/>
                <a:gd name="T2" fmla="*/ 0 w 3"/>
                <a:gd name="T3" fmla="*/ 2 h 2"/>
                <a:gd name="T4" fmla="*/ 2 w 3"/>
                <a:gd name="T5" fmla="*/ 0 h 2"/>
              </a:gdLst>
              <a:ahLst/>
              <a:cxnLst>
                <a:cxn ang="0">
                  <a:pos x="T0" y="T1"/>
                </a:cxn>
                <a:cxn ang="0">
                  <a:pos x="T2" y="T3"/>
                </a:cxn>
                <a:cxn ang="0">
                  <a:pos x="T4" y="T5"/>
                </a:cxn>
              </a:cxnLst>
              <a:rect l="0" t="0" r="r" b="b"/>
              <a:pathLst>
                <a:path w="3" h="2">
                  <a:moveTo>
                    <a:pt x="2" y="0"/>
                  </a:moveTo>
                  <a:cubicBezTo>
                    <a:pt x="2" y="0"/>
                    <a:pt x="1" y="1"/>
                    <a:pt x="0" y="2"/>
                  </a:cubicBezTo>
                  <a:cubicBezTo>
                    <a:pt x="3"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9" name="Freeform 1457">
              <a:extLst>
                <a:ext uri="{FF2B5EF4-FFF2-40B4-BE49-F238E27FC236}">
                  <a16:creationId xmlns:a16="http://schemas.microsoft.com/office/drawing/2014/main" id="{0CCBCA6F-D9CF-4AEE-A596-5F85AC51B837}"/>
                </a:ext>
              </a:extLst>
            </p:cNvPr>
            <p:cNvSpPr>
              <a:spLocks/>
            </p:cNvSpPr>
            <p:nvPr/>
          </p:nvSpPr>
          <p:spPr bwMode="auto">
            <a:xfrm>
              <a:off x="6935848" y="867151"/>
              <a:ext cx="25504" cy="30874"/>
            </a:xfrm>
            <a:custGeom>
              <a:avLst/>
              <a:gdLst>
                <a:gd name="T0" fmla="*/ 6 w 8"/>
                <a:gd name="T1" fmla="*/ 0 h 10"/>
                <a:gd name="T2" fmla="*/ 5 w 8"/>
                <a:gd name="T3" fmla="*/ 0 h 10"/>
                <a:gd name="T4" fmla="*/ 0 w 8"/>
                <a:gd name="T5" fmla="*/ 10 h 10"/>
                <a:gd name="T6" fmla="*/ 6 w 8"/>
                <a:gd name="T7" fmla="*/ 5 h 10"/>
                <a:gd name="T8" fmla="*/ 6 w 8"/>
                <a:gd name="T9" fmla="*/ 0 h 10"/>
              </a:gdLst>
              <a:ahLst/>
              <a:cxnLst>
                <a:cxn ang="0">
                  <a:pos x="T0" y="T1"/>
                </a:cxn>
                <a:cxn ang="0">
                  <a:pos x="T2" y="T3"/>
                </a:cxn>
                <a:cxn ang="0">
                  <a:pos x="T4" y="T5"/>
                </a:cxn>
                <a:cxn ang="0">
                  <a:pos x="T6" y="T7"/>
                </a:cxn>
                <a:cxn ang="0">
                  <a:pos x="T8" y="T9"/>
                </a:cxn>
              </a:cxnLst>
              <a:rect l="0" t="0" r="r" b="b"/>
              <a:pathLst>
                <a:path w="8" h="10">
                  <a:moveTo>
                    <a:pt x="6" y="0"/>
                  </a:moveTo>
                  <a:cubicBezTo>
                    <a:pt x="6" y="0"/>
                    <a:pt x="5" y="0"/>
                    <a:pt x="5" y="0"/>
                  </a:cubicBezTo>
                  <a:cubicBezTo>
                    <a:pt x="3" y="2"/>
                    <a:pt x="1" y="7"/>
                    <a:pt x="0" y="10"/>
                  </a:cubicBezTo>
                  <a:cubicBezTo>
                    <a:pt x="5" y="10"/>
                    <a:pt x="6" y="10"/>
                    <a:pt x="6" y="5"/>
                  </a:cubicBezTo>
                  <a:cubicBezTo>
                    <a:pt x="7" y="4"/>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0" name="Freeform 1458">
              <a:extLst>
                <a:ext uri="{FF2B5EF4-FFF2-40B4-BE49-F238E27FC236}">
                  <a16:creationId xmlns:a16="http://schemas.microsoft.com/office/drawing/2014/main" id="{3B89ADE3-D54D-4A0F-99F7-3CF630FFB73E}"/>
                </a:ext>
              </a:extLst>
            </p:cNvPr>
            <p:cNvSpPr>
              <a:spLocks/>
            </p:cNvSpPr>
            <p:nvPr/>
          </p:nvSpPr>
          <p:spPr bwMode="auto">
            <a:xfrm>
              <a:off x="6551940" y="1193338"/>
              <a:ext cx="81882" cy="57720"/>
            </a:xfrm>
            <a:custGeom>
              <a:avLst/>
              <a:gdLst>
                <a:gd name="T0" fmla="*/ 22 w 26"/>
                <a:gd name="T1" fmla="*/ 0 h 18"/>
                <a:gd name="T2" fmla="*/ 20 w 26"/>
                <a:gd name="T3" fmla="*/ 0 h 18"/>
                <a:gd name="T4" fmla="*/ 18 w 26"/>
                <a:gd name="T5" fmla="*/ 2 h 18"/>
                <a:gd name="T6" fmla="*/ 13 w 26"/>
                <a:gd name="T7" fmla="*/ 4 h 18"/>
                <a:gd name="T8" fmla="*/ 0 w 26"/>
                <a:gd name="T9" fmla="*/ 18 h 18"/>
                <a:gd name="T10" fmla="*/ 1 w 26"/>
                <a:gd name="T11" fmla="*/ 18 h 18"/>
                <a:gd name="T12" fmla="*/ 3 w 26"/>
                <a:gd name="T13" fmla="*/ 16 h 18"/>
                <a:gd name="T14" fmla="*/ 4 w 26"/>
                <a:gd name="T15" fmla="*/ 17 h 18"/>
                <a:gd name="T16" fmla="*/ 26 w 26"/>
                <a:gd name="T17" fmla="*/ 0 h 18"/>
                <a:gd name="T18" fmla="*/ 25 w 26"/>
                <a:gd name="T19" fmla="*/ 0 h 18"/>
                <a:gd name="T20" fmla="*/ 24 w 26"/>
                <a:gd name="T21" fmla="*/ 0 h 18"/>
                <a:gd name="T22" fmla="*/ 22 w 26"/>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8">
                  <a:moveTo>
                    <a:pt x="22" y="0"/>
                  </a:moveTo>
                  <a:cubicBezTo>
                    <a:pt x="22" y="0"/>
                    <a:pt x="21" y="0"/>
                    <a:pt x="20" y="0"/>
                  </a:cubicBezTo>
                  <a:cubicBezTo>
                    <a:pt x="19" y="1"/>
                    <a:pt x="19" y="2"/>
                    <a:pt x="18" y="2"/>
                  </a:cubicBezTo>
                  <a:cubicBezTo>
                    <a:pt x="16" y="3"/>
                    <a:pt x="15" y="3"/>
                    <a:pt x="13" y="4"/>
                  </a:cubicBezTo>
                  <a:cubicBezTo>
                    <a:pt x="9" y="9"/>
                    <a:pt x="4" y="13"/>
                    <a:pt x="0" y="18"/>
                  </a:cubicBezTo>
                  <a:cubicBezTo>
                    <a:pt x="1" y="18"/>
                    <a:pt x="1" y="18"/>
                    <a:pt x="1" y="18"/>
                  </a:cubicBezTo>
                  <a:cubicBezTo>
                    <a:pt x="2" y="18"/>
                    <a:pt x="3" y="17"/>
                    <a:pt x="3" y="16"/>
                  </a:cubicBezTo>
                  <a:cubicBezTo>
                    <a:pt x="4" y="17"/>
                    <a:pt x="4" y="17"/>
                    <a:pt x="4" y="17"/>
                  </a:cubicBezTo>
                  <a:cubicBezTo>
                    <a:pt x="8" y="17"/>
                    <a:pt x="25" y="1"/>
                    <a:pt x="26" y="0"/>
                  </a:cubicBezTo>
                  <a:cubicBezTo>
                    <a:pt x="26" y="0"/>
                    <a:pt x="25" y="0"/>
                    <a:pt x="25" y="0"/>
                  </a:cubicBezTo>
                  <a:cubicBezTo>
                    <a:pt x="24" y="0"/>
                    <a:pt x="24" y="0"/>
                    <a:pt x="24" y="0"/>
                  </a:cubicBezTo>
                  <a:cubicBezTo>
                    <a:pt x="23" y="0"/>
                    <a:pt x="23" y="0"/>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1" name="Freeform 1459">
              <a:extLst>
                <a:ext uri="{FF2B5EF4-FFF2-40B4-BE49-F238E27FC236}">
                  <a16:creationId xmlns:a16="http://schemas.microsoft.com/office/drawing/2014/main" id="{3FED4152-AD53-432F-8118-FEA7506F2621}"/>
                </a:ext>
              </a:extLst>
            </p:cNvPr>
            <p:cNvSpPr>
              <a:spLocks/>
            </p:cNvSpPr>
            <p:nvPr/>
          </p:nvSpPr>
          <p:spPr bwMode="auto">
            <a:xfrm>
              <a:off x="6338509" y="1409455"/>
              <a:ext cx="22820" cy="9396"/>
            </a:xfrm>
            <a:custGeom>
              <a:avLst/>
              <a:gdLst>
                <a:gd name="T0" fmla="*/ 6 w 7"/>
                <a:gd name="T1" fmla="*/ 0 h 3"/>
                <a:gd name="T2" fmla="*/ 0 w 7"/>
                <a:gd name="T3" fmla="*/ 3 h 3"/>
                <a:gd name="T4" fmla="*/ 7 w 7"/>
                <a:gd name="T5" fmla="*/ 0 h 3"/>
                <a:gd name="T6" fmla="*/ 6 w 7"/>
                <a:gd name="T7" fmla="*/ 0 h 3"/>
              </a:gdLst>
              <a:ahLst/>
              <a:cxnLst>
                <a:cxn ang="0">
                  <a:pos x="T0" y="T1"/>
                </a:cxn>
                <a:cxn ang="0">
                  <a:pos x="T2" y="T3"/>
                </a:cxn>
                <a:cxn ang="0">
                  <a:pos x="T4" y="T5"/>
                </a:cxn>
                <a:cxn ang="0">
                  <a:pos x="T6" y="T7"/>
                </a:cxn>
              </a:cxnLst>
              <a:rect l="0" t="0" r="r" b="b"/>
              <a:pathLst>
                <a:path w="7" h="3">
                  <a:moveTo>
                    <a:pt x="6" y="0"/>
                  </a:moveTo>
                  <a:cubicBezTo>
                    <a:pt x="4" y="0"/>
                    <a:pt x="0" y="1"/>
                    <a:pt x="0" y="3"/>
                  </a:cubicBezTo>
                  <a:cubicBezTo>
                    <a:pt x="3" y="2"/>
                    <a:pt x="5" y="1"/>
                    <a:pt x="7" y="0"/>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2" name="Freeform 1460">
              <a:extLst>
                <a:ext uri="{FF2B5EF4-FFF2-40B4-BE49-F238E27FC236}">
                  <a16:creationId xmlns:a16="http://schemas.microsoft.com/office/drawing/2014/main" id="{B6DD43FE-81C0-4ED6-96F6-53707ED09199}"/>
                </a:ext>
              </a:extLst>
            </p:cNvPr>
            <p:cNvSpPr>
              <a:spLocks noEditPoints="1"/>
            </p:cNvSpPr>
            <p:nvPr/>
          </p:nvSpPr>
          <p:spPr bwMode="auto">
            <a:xfrm>
              <a:off x="6982830" y="755737"/>
              <a:ext cx="69801" cy="76513"/>
            </a:xfrm>
            <a:custGeom>
              <a:avLst/>
              <a:gdLst>
                <a:gd name="T0" fmla="*/ 0 w 22"/>
                <a:gd name="T1" fmla="*/ 22 h 24"/>
                <a:gd name="T2" fmla="*/ 0 w 22"/>
                <a:gd name="T3" fmla="*/ 22 h 24"/>
                <a:gd name="T4" fmla="*/ 0 w 22"/>
                <a:gd name="T5" fmla="*/ 22 h 24"/>
                <a:gd name="T6" fmla="*/ 19 w 22"/>
                <a:gd name="T7" fmla="*/ 0 h 24"/>
                <a:gd name="T8" fmla="*/ 18 w 22"/>
                <a:gd name="T9" fmla="*/ 0 h 24"/>
                <a:gd name="T10" fmla="*/ 13 w 22"/>
                <a:gd name="T11" fmla="*/ 9 h 24"/>
                <a:gd name="T12" fmla="*/ 8 w 22"/>
                <a:gd name="T13" fmla="*/ 12 h 24"/>
                <a:gd name="T14" fmla="*/ 2 w 22"/>
                <a:gd name="T15" fmla="*/ 14 h 24"/>
                <a:gd name="T16" fmla="*/ 1 w 22"/>
                <a:gd name="T17" fmla="*/ 15 h 24"/>
                <a:gd name="T18" fmla="*/ 0 w 22"/>
                <a:gd name="T19" fmla="*/ 15 h 24"/>
                <a:gd name="T20" fmla="*/ 0 w 22"/>
                <a:gd name="T21" fmla="*/ 15 h 24"/>
                <a:gd name="T22" fmla="*/ 0 w 22"/>
                <a:gd name="T23" fmla="*/ 16 h 24"/>
                <a:gd name="T24" fmla="*/ 0 w 22"/>
                <a:gd name="T25" fmla="*/ 16 h 24"/>
                <a:gd name="T26" fmla="*/ 1 w 22"/>
                <a:gd name="T27" fmla="*/ 18 h 24"/>
                <a:gd name="T28" fmla="*/ 0 w 22"/>
                <a:gd name="T29" fmla="*/ 22 h 24"/>
                <a:gd name="T30" fmla="*/ 0 w 22"/>
                <a:gd name="T31" fmla="*/ 22 h 24"/>
                <a:gd name="T32" fmla="*/ 4 w 22"/>
                <a:gd name="T33" fmla="*/ 24 h 24"/>
                <a:gd name="T34" fmla="*/ 10 w 22"/>
                <a:gd name="T35" fmla="*/ 19 h 24"/>
                <a:gd name="T36" fmla="*/ 22 w 22"/>
                <a:gd name="T37" fmla="*/ 6 h 24"/>
                <a:gd name="T38" fmla="*/ 19 w 22"/>
                <a:gd name="T3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4">
                  <a:moveTo>
                    <a:pt x="0" y="22"/>
                  </a:moveTo>
                  <a:cubicBezTo>
                    <a:pt x="0" y="22"/>
                    <a:pt x="0" y="22"/>
                    <a:pt x="0" y="22"/>
                  </a:cubicBezTo>
                  <a:cubicBezTo>
                    <a:pt x="0" y="22"/>
                    <a:pt x="0" y="22"/>
                    <a:pt x="0" y="22"/>
                  </a:cubicBezTo>
                  <a:moveTo>
                    <a:pt x="19" y="0"/>
                  </a:moveTo>
                  <a:cubicBezTo>
                    <a:pt x="19" y="0"/>
                    <a:pt x="19" y="0"/>
                    <a:pt x="18" y="0"/>
                  </a:cubicBezTo>
                  <a:cubicBezTo>
                    <a:pt x="15" y="1"/>
                    <a:pt x="15" y="7"/>
                    <a:pt x="13" y="9"/>
                  </a:cubicBezTo>
                  <a:cubicBezTo>
                    <a:pt x="11" y="11"/>
                    <a:pt x="10" y="12"/>
                    <a:pt x="8" y="12"/>
                  </a:cubicBezTo>
                  <a:cubicBezTo>
                    <a:pt x="5" y="12"/>
                    <a:pt x="5" y="14"/>
                    <a:pt x="2" y="14"/>
                  </a:cubicBezTo>
                  <a:cubicBezTo>
                    <a:pt x="2" y="15"/>
                    <a:pt x="1" y="15"/>
                    <a:pt x="1" y="15"/>
                  </a:cubicBezTo>
                  <a:cubicBezTo>
                    <a:pt x="1" y="15"/>
                    <a:pt x="1" y="15"/>
                    <a:pt x="0" y="15"/>
                  </a:cubicBezTo>
                  <a:cubicBezTo>
                    <a:pt x="0" y="15"/>
                    <a:pt x="0" y="15"/>
                    <a:pt x="0" y="15"/>
                  </a:cubicBezTo>
                  <a:cubicBezTo>
                    <a:pt x="0" y="15"/>
                    <a:pt x="0" y="15"/>
                    <a:pt x="0" y="16"/>
                  </a:cubicBezTo>
                  <a:cubicBezTo>
                    <a:pt x="0" y="16"/>
                    <a:pt x="0" y="16"/>
                    <a:pt x="0" y="16"/>
                  </a:cubicBezTo>
                  <a:cubicBezTo>
                    <a:pt x="0" y="16"/>
                    <a:pt x="1" y="18"/>
                    <a:pt x="1" y="18"/>
                  </a:cubicBezTo>
                  <a:cubicBezTo>
                    <a:pt x="1" y="19"/>
                    <a:pt x="0" y="20"/>
                    <a:pt x="0" y="22"/>
                  </a:cubicBezTo>
                  <a:cubicBezTo>
                    <a:pt x="0" y="22"/>
                    <a:pt x="0" y="22"/>
                    <a:pt x="0" y="22"/>
                  </a:cubicBezTo>
                  <a:cubicBezTo>
                    <a:pt x="0" y="22"/>
                    <a:pt x="4" y="23"/>
                    <a:pt x="4" y="24"/>
                  </a:cubicBezTo>
                  <a:cubicBezTo>
                    <a:pt x="6" y="22"/>
                    <a:pt x="8" y="20"/>
                    <a:pt x="10" y="19"/>
                  </a:cubicBezTo>
                  <a:cubicBezTo>
                    <a:pt x="13" y="16"/>
                    <a:pt x="21" y="10"/>
                    <a:pt x="22" y="6"/>
                  </a:cubicBezTo>
                  <a:cubicBezTo>
                    <a:pt x="22" y="3"/>
                    <a:pt x="22"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3" name="Freeform 1462">
              <a:extLst>
                <a:ext uri="{FF2B5EF4-FFF2-40B4-BE49-F238E27FC236}">
                  <a16:creationId xmlns:a16="http://schemas.microsoft.com/office/drawing/2014/main" id="{E080A819-5C50-4333-BB29-4CDCD7FE7C4B}"/>
                </a:ext>
              </a:extLst>
            </p:cNvPr>
            <p:cNvSpPr>
              <a:spLocks/>
            </p:cNvSpPr>
            <p:nvPr/>
          </p:nvSpPr>
          <p:spPr bwMode="auto">
            <a:xfrm>
              <a:off x="4762607" y="5519690"/>
              <a:ext cx="12081" cy="12081"/>
            </a:xfrm>
            <a:custGeom>
              <a:avLst/>
              <a:gdLst>
                <a:gd name="T0" fmla="*/ 4 w 4"/>
                <a:gd name="T1" fmla="*/ 0 h 4"/>
                <a:gd name="T2" fmla="*/ 1 w 4"/>
                <a:gd name="T3" fmla="*/ 4 h 4"/>
                <a:gd name="T4" fmla="*/ 4 w 4"/>
                <a:gd name="T5" fmla="*/ 0 h 4"/>
              </a:gdLst>
              <a:ahLst/>
              <a:cxnLst>
                <a:cxn ang="0">
                  <a:pos x="T0" y="T1"/>
                </a:cxn>
                <a:cxn ang="0">
                  <a:pos x="T2" y="T3"/>
                </a:cxn>
                <a:cxn ang="0">
                  <a:pos x="T4" y="T5"/>
                </a:cxn>
              </a:cxnLst>
              <a:rect l="0" t="0" r="r" b="b"/>
              <a:pathLst>
                <a:path w="4" h="4">
                  <a:moveTo>
                    <a:pt x="4" y="0"/>
                  </a:moveTo>
                  <a:cubicBezTo>
                    <a:pt x="3" y="1"/>
                    <a:pt x="0" y="2"/>
                    <a:pt x="1" y="4"/>
                  </a:cubicBezTo>
                  <a:cubicBezTo>
                    <a:pt x="2" y="3"/>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4" name="Freeform 1463">
              <a:extLst>
                <a:ext uri="{FF2B5EF4-FFF2-40B4-BE49-F238E27FC236}">
                  <a16:creationId xmlns:a16="http://schemas.microsoft.com/office/drawing/2014/main" id="{25B2C83C-332E-43CC-8CC9-BD996E083D78}"/>
                </a:ext>
              </a:extLst>
            </p:cNvPr>
            <p:cNvSpPr>
              <a:spLocks/>
            </p:cNvSpPr>
            <p:nvPr/>
          </p:nvSpPr>
          <p:spPr bwMode="auto">
            <a:xfrm>
              <a:off x="7827159" y="6452614"/>
              <a:ext cx="16108" cy="25504"/>
            </a:xfrm>
            <a:custGeom>
              <a:avLst/>
              <a:gdLst>
                <a:gd name="T0" fmla="*/ 2 w 5"/>
                <a:gd name="T1" fmla="*/ 0 h 8"/>
                <a:gd name="T2" fmla="*/ 0 w 5"/>
                <a:gd name="T3" fmla="*/ 8 h 8"/>
                <a:gd name="T4" fmla="*/ 2 w 5"/>
                <a:gd name="T5" fmla="*/ 3 h 8"/>
                <a:gd name="T6" fmla="*/ 2 w 5"/>
                <a:gd name="T7" fmla="*/ 0 h 8"/>
              </a:gdLst>
              <a:ahLst/>
              <a:cxnLst>
                <a:cxn ang="0">
                  <a:pos x="T0" y="T1"/>
                </a:cxn>
                <a:cxn ang="0">
                  <a:pos x="T2" y="T3"/>
                </a:cxn>
                <a:cxn ang="0">
                  <a:pos x="T4" y="T5"/>
                </a:cxn>
                <a:cxn ang="0">
                  <a:pos x="T6" y="T7"/>
                </a:cxn>
              </a:cxnLst>
              <a:rect l="0" t="0" r="r" b="b"/>
              <a:pathLst>
                <a:path w="5" h="8">
                  <a:moveTo>
                    <a:pt x="2" y="0"/>
                  </a:moveTo>
                  <a:cubicBezTo>
                    <a:pt x="1" y="3"/>
                    <a:pt x="0" y="6"/>
                    <a:pt x="0" y="8"/>
                  </a:cubicBezTo>
                  <a:cubicBezTo>
                    <a:pt x="3" y="6"/>
                    <a:pt x="1" y="6"/>
                    <a:pt x="2" y="3"/>
                  </a:cubicBezTo>
                  <a:cubicBezTo>
                    <a:pt x="2" y="1"/>
                    <a:pt x="5"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5" name="Freeform 1464">
              <a:extLst>
                <a:ext uri="{FF2B5EF4-FFF2-40B4-BE49-F238E27FC236}">
                  <a16:creationId xmlns:a16="http://schemas.microsoft.com/office/drawing/2014/main" id="{0B496F84-3576-47A9-8A43-BA6188C9DB11}"/>
                </a:ext>
              </a:extLst>
            </p:cNvPr>
            <p:cNvSpPr>
              <a:spLocks/>
            </p:cNvSpPr>
            <p:nvPr/>
          </p:nvSpPr>
          <p:spPr bwMode="auto">
            <a:xfrm>
              <a:off x="7611043" y="6394894"/>
              <a:ext cx="0" cy="6712"/>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6" name="Freeform 1465">
              <a:extLst>
                <a:ext uri="{FF2B5EF4-FFF2-40B4-BE49-F238E27FC236}">
                  <a16:creationId xmlns:a16="http://schemas.microsoft.com/office/drawing/2014/main" id="{6F8138ED-2619-4BF5-91E3-6D7B8280920F}"/>
                </a:ext>
              </a:extLst>
            </p:cNvPr>
            <p:cNvSpPr>
              <a:spLocks/>
            </p:cNvSpPr>
            <p:nvPr/>
          </p:nvSpPr>
          <p:spPr bwMode="auto">
            <a:xfrm>
              <a:off x="7894276" y="6623091"/>
              <a:ext cx="5369" cy="9396"/>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7" name="Freeform 1466">
              <a:extLst>
                <a:ext uri="{FF2B5EF4-FFF2-40B4-BE49-F238E27FC236}">
                  <a16:creationId xmlns:a16="http://schemas.microsoft.com/office/drawing/2014/main" id="{178C4E8D-C93C-4820-8F7E-AC3673D54652}"/>
                </a:ext>
              </a:extLst>
            </p:cNvPr>
            <p:cNvSpPr>
              <a:spLocks/>
            </p:cNvSpPr>
            <p:nvPr/>
          </p:nvSpPr>
          <p:spPr bwMode="auto">
            <a:xfrm>
              <a:off x="7335864" y="6353281"/>
              <a:ext cx="2685" cy="20135"/>
            </a:xfrm>
            <a:custGeom>
              <a:avLst/>
              <a:gdLst>
                <a:gd name="T0" fmla="*/ 0 w 1"/>
                <a:gd name="T1" fmla="*/ 0 h 6"/>
                <a:gd name="T2" fmla="*/ 0 w 1"/>
                <a:gd name="T3" fmla="*/ 6 h 6"/>
                <a:gd name="T4" fmla="*/ 0 w 1"/>
                <a:gd name="T5" fmla="*/ 0 h 6"/>
              </a:gdLst>
              <a:ahLst/>
              <a:cxnLst>
                <a:cxn ang="0">
                  <a:pos x="T0" y="T1"/>
                </a:cxn>
                <a:cxn ang="0">
                  <a:pos x="T2" y="T3"/>
                </a:cxn>
                <a:cxn ang="0">
                  <a:pos x="T4" y="T5"/>
                </a:cxn>
              </a:cxnLst>
              <a:rect l="0" t="0" r="r" b="b"/>
              <a:pathLst>
                <a:path w="1" h="6">
                  <a:moveTo>
                    <a:pt x="0" y="0"/>
                  </a:moveTo>
                  <a:cubicBezTo>
                    <a:pt x="0" y="2"/>
                    <a:pt x="0" y="4"/>
                    <a:pt x="0" y="6"/>
                  </a:cubicBezTo>
                  <a:cubicBezTo>
                    <a:pt x="0" y="4"/>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8" name="Freeform 1467">
              <a:extLst>
                <a:ext uri="{FF2B5EF4-FFF2-40B4-BE49-F238E27FC236}">
                  <a16:creationId xmlns:a16="http://schemas.microsoft.com/office/drawing/2014/main" id="{2D869C7C-7038-43A8-B77D-267D62E555EF}"/>
                </a:ext>
              </a:extLst>
            </p:cNvPr>
            <p:cNvSpPr>
              <a:spLocks/>
            </p:cNvSpPr>
            <p:nvPr/>
          </p:nvSpPr>
          <p:spPr bwMode="auto">
            <a:xfrm>
              <a:off x="7922465" y="6527785"/>
              <a:ext cx="25504" cy="25504"/>
            </a:xfrm>
            <a:custGeom>
              <a:avLst/>
              <a:gdLst>
                <a:gd name="T0" fmla="*/ 4 w 8"/>
                <a:gd name="T1" fmla="*/ 0 h 8"/>
                <a:gd name="T2" fmla="*/ 0 w 8"/>
                <a:gd name="T3" fmla="*/ 1 h 8"/>
                <a:gd name="T4" fmla="*/ 2 w 8"/>
                <a:gd name="T5" fmla="*/ 6 h 8"/>
                <a:gd name="T6" fmla="*/ 2 w 8"/>
                <a:gd name="T7" fmla="*/ 6 h 8"/>
                <a:gd name="T8" fmla="*/ 5 w 8"/>
                <a:gd name="T9" fmla="*/ 8 h 8"/>
                <a:gd name="T10" fmla="*/ 8 w 8"/>
                <a:gd name="T11" fmla="*/ 2 h 8"/>
                <a:gd name="T12" fmla="*/ 7 w 8"/>
                <a:gd name="T13" fmla="*/ 2 h 8"/>
                <a:gd name="T14" fmla="*/ 4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0"/>
                  </a:moveTo>
                  <a:cubicBezTo>
                    <a:pt x="0" y="1"/>
                    <a:pt x="0" y="1"/>
                    <a:pt x="0" y="1"/>
                  </a:cubicBezTo>
                  <a:cubicBezTo>
                    <a:pt x="1" y="2"/>
                    <a:pt x="2" y="5"/>
                    <a:pt x="2" y="6"/>
                  </a:cubicBezTo>
                  <a:cubicBezTo>
                    <a:pt x="2" y="6"/>
                    <a:pt x="2" y="6"/>
                    <a:pt x="2" y="6"/>
                  </a:cubicBezTo>
                  <a:cubicBezTo>
                    <a:pt x="3" y="6"/>
                    <a:pt x="4" y="7"/>
                    <a:pt x="5" y="8"/>
                  </a:cubicBezTo>
                  <a:cubicBezTo>
                    <a:pt x="6" y="6"/>
                    <a:pt x="7" y="4"/>
                    <a:pt x="8" y="2"/>
                  </a:cubicBezTo>
                  <a:cubicBezTo>
                    <a:pt x="8" y="2"/>
                    <a:pt x="7" y="2"/>
                    <a:pt x="7" y="2"/>
                  </a:cubicBezTo>
                  <a:cubicBezTo>
                    <a:pt x="6"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9" name="Freeform 1468">
              <a:extLst>
                <a:ext uri="{FF2B5EF4-FFF2-40B4-BE49-F238E27FC236}">
                  <a16:creationId xmlns:a16="http://schemas.microsoft.com/office/drawing/2014/main" id="{A7E38B08-CF24-4EA9-BFCE-C8BA9AF054B0}"/>
                </a:ext>
              </a:extLst>
            </p:cNvPr>
            <p:cNvSpPr>
              <a:spLocks/>
            </p:cNvSpPr>
            <p:nvPr/>
          </p:nvSpPr>
          <p:spPr bwMode="auto">
            <a:xfrm>
              <a:off x="7864744" y="6478119"/>
              <a:ext cx="34901" cy="37585"/>
            </a:xfrm>
            <a:custGeom>
              <a:avLst/>
              <a:gdLst>
                <a:gd name="T0" fmla="*/ 4 w 11"/>
                <a:gd name="T1" fmla="*/ 0 h 12"/>
                <a:gd name="T2" fmla="*/ 0 w 11"/>
                <a:gd name="T3" fmla="*/ 1 h 12"/>
                <a:gd name="T4" fmla="*/ 3 w 11"/>
                <a:gd name="T5" fmla="*/ 2 h 12"/>
                <a:gd name="T6" fmla="*/ 0 w 11"/>
                <a:gd name="T7" fmla="*/ 6 h 12"/>
                <a:gd name="T8" fmla="*/ 2 w 11"/>
                <a:gd name="T9" fmla="*/ 9 h 12"/>
                <a:gd name="T10" fmla="*/ 5 w 11"/>
                <a:gd name="T11" fmla="*/ 10 h 12"/>
                <a:gd name="T12" fmla="*/ 8 w 11"/>
                <a:gd name="T13" fmla="*/ 12 h 12"/>
                <a:gd name="T14" fmla="*/ 7 w 11"/>
                <a:gd name="T15" fmla="*/ 2 h 12"/>
                <a:gd name="T16" fmla="*/ 5 w 11"/>
                <a:gd name="T17" fmla="*/ 0 h 12"/>
                <a:gd name="T18" fmla="*/ 4 w 11"/>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
                  <a:moveTo>
                    <a:pt x="4" y="0"/>
                  </a:moveTo>
                  <a:cubicBezTo>
                    <a:pt x="3" y="0"/>
                    <a:pt x="0" y="0"/>
                    <a:pt x="0" y="1"/>
                  </a:cubicBezTo>
                  <a:cubicBezTo>
                    <a:pt x="0" y="2"/>
                    <a:pt x="3" y="1"/>
                    <a:pt x="3" y="2"/>
                  </a:cubicBezTo>
                  <a:cubicBezTo>
                    <a:pt x="5" y="4"/>
                    <a:pt x="1" y="5"/>
                    <a:pt x="0" y="6"/>
                  </a:cubicBezTo>
                  <a:cubicBezTo>
                    <a:pt x="1" y="7"/>
                    <a:pt x="1" y="8"/>
                    <a:pt x="2" y="9"/>
                  </a:cubicBezTo>
                  <a:cubicBezTo>
                    <a:pt x="3" y="9"/>
                    <a:pt x="4" y="9"/>
                    <a:pt x="5" y="10"/>
                  </a:cubicBezTo>
                  <a:cubicBezTo>
                    <a:pt x="6" y="10"/>
                    <a:pt x="6" y="11"/>
                    <a:pt x="8" y="12"/>
                  </a:cubicBezTo>
                  <a:cubicBezTo>
                    <a:pt x="11" y="8"/>
                    <a:pt x="9" y="6"/>
                    <a:pt x="7" y="2"/>
                  </a:cubicBezTo>
                  <a:cubicBezTo>
                    <a:pt x="7" y="1"/>
                    <a:pt x="6" y="0"/>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0" name="Freeform 1469">
              <a:extLst>
                <a:ext uri="{FF2B5EF4-FFF2-40B4-BE49-F238E27FC236}">
                  <a16:creationId xmlns:a16="http://schemas.microsoft.com/office/drawing/2014/main" id="{6EA2B15D-0C18-4F2E-986C-A5D317C5374A}"/>
                </a:ext>
              </a:extLst>
            </p:cNvPr>
            <p:cNvSpPr>
              <a:spLocks/>
            </p:cNvSpPr>
            <p:nvPr/>
          </p:nvSpPr>
          <p:spPr bwMode="auto">
            <a:xfrm>
              <a:off x="7636547" y="6429795"/>
              <a:ext cx="228197" cy="177188"/>
            </a:xfrm>
            <a:custGeom>
              <a:avLst/>
              <a:gdLst>
                <a:gd name="T0" fmla="*/ 1 w 72"/>
                <a:gd name="T1" fmla="*/ 0 h 56"/>
                <a:gd name="T2" fmla="*/ 1 w 72"/>
                <a:gd name="T3" fmla="*/ 0 h 56"/>
                <a:gd name="T4" fmla="*/ 8 w 72"/>
                <a:gd name="T5" fmla="*/ 13 h 56"/>
                <a:gd name="T6" fmla="*/ 38 w 72"/>
                <a:gd name="T7" fmla="*/ 40 h 56"/>
                <a:gd name="T8" fmla="*/ 40 w 72"/>
                <a:gd name="T9" fmla="*/ 41 h 56"/>
                <a:gd name="T10" fmla="*/ 40 w 72"/>
                <a:gd name="T11" fmla="*/ 41 h 56"/>
                <a:gd name="T12" fmla="*/ 41 w 72"/>
                <a:gd name="T13" fmla="*/ 40 h 56"/>
                <a:gd name="T14" fmla="*/ 42 w 72"/>
                <a:gd name="T15" fmla="*/ 41 h 56"/>
                <a:gd name="T16" fmla="*/ 46 w 72"/>
                <a:gd name="T17" fmla="*/ 44 h 56"/>
                <a:gd name="T18" fmla="*/ 55 w 72"/>
                <a:gd name="T19" fmla="*/ 50 h 56"/>
                <a:gd name="T20" fmla="*/ 68 w 72"/>
                <a:gd name="T21" fmla="*/ 56 h 56"/>
                <a:gd name="T22" fmla="*/ 72 w 72"/>
                <a:gd name="T23" fmla="*/ 53 h 56"/>
                <a:gd name="T24" fmla="*/ 64 w 72"/>
                <a:gd name="T25" fmla="*/ 45 h 56"/>
                <a:gd name="T26" fmla="*/ 49 w 72"/>
                <a:gd name="T27" fmla="*/ 34 h 56"/>
                <a:gd name="T28" fmla="*/ 33 w 72"/>
                <a:gd name="T29" fmla="*/ 22 h 56"/>
                <a:gd name="T30" fmla="*/ 18 w 72"/>
                <a:gd name="T31" fmla="*/ 10 h 56"/>
                <a:gd name="T32" fmla="*/ 11 w 72"/>
                <a:gd name="T33" fmla="*/ 5 h 56"/>
                <a:gd name="T34" fmla="*/ 10 w 72"/>
                <a:gd name="T35" fmla="*/ 5 h 56"/>
                <a:gd name="T36" fmla="*/ 10 w 72"/>
                <a:gd name="T37" fmla="*/ 5 h 56"/>
                <a:gd name="T38" fmla="*/ 9 w 72"/>
                <a:gd name="T39" fmla="*/ 6 h 56"/>
                <a:gd name="T40" fmla="*/ 8 w 72"/>
                <a:gd name="T41" fmla="*/ 6 h 56"/>
                <a:gd name="T42" fmla="*/ 5 w 72"/>
                <a:gd name="T43" fmla="*/ 4 h 56"/>
                <a:gd name="T44" fmla="*/ 3 w 72"/>
                <a:gd name="T45" fmla="*/ 2 h 56"/>
                <a:gd name="T46" fmla="*/ 1 w 72"/>
                <a:gd name="T4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56">
                  <a:moveTo>
                    <a:pt x="1" y="0"/>
                  </a:moveTo>
                  <a:cubicBezTo>
                    <a:pt x="1" y="0"/>
                    <a:pt x="1" y="0"/>
                    <a:pt x="1" y="0"/>
                  </a:cubicBezTo>
                  <a:cubicBezTo>
                    <a:pt x="0" y="0"/>
                    <a:pt x="7" y="12"/>
                    <a:pt x="8" y="13"/>
                  </a:cubicBezTo>
                  <a:cubicBezTo>
                    <a:pt x="18" y="23"/>
                    <a:pt x="25" y="35"/>
                    <a:pt x="38" y="40"/>
                  </a:cubicBezTo>
                  <a:cubicBezTo>
                    <a:pt x="39" y="40"/>
                    <a:pt x="39" y="41"/>
                    <a:pt x="40" y="41"/>
                  </a:cubicBezTo>
                  <a:cubicBezTo>
                    <a:pt x="40" y="41"/>
                    <a:pt x="40" y="41"/>
                    <a:pt x="40" y="41"/>
                  </a:cubicBezTo>
                  <a:cubicBezTo>
                    <a:pt x="41" y="40"/>
                    <a:pt x="41" y="40"/>
                    <a:pt x="41" y="40"/>
                  </a:cubicBezTo>
                  <a:cubicBezTo>
                    <a:pt x="41" y="40"/>
                    <a:pt x="42" y="41"/>
                    <a:pt x="42" y="41"/>
                  </a:cubicBezTo>
                  <a:cubicBezTo>
                    <a:pt x="43" y="42"/>
                    <a:pt x="44" y="43"/>
                    <a:pt x="46" y="44"/>
                  </a:cubicBezTo>
                  <a:cubicBezTo>
                    <a:pt x="49" y="46"/>
                    <a:pt x="52" y="48"/>
                    <a:pt x="55" y="50"/>
                  </a:cubicBezTo>
                  <a:cubicBezTo>
                    <a:pt x="57" y="52"/>
                    <a:pt x="64" y="56"/>
                    <a:pt x="68" y="56"/>
                  </a:cubicBezTo>
                  <a:cubicBezTo>
                    <a:pt x="70" y="56"/>
                    <a:pt x="71" y="55"/>
                    <a:pt x="72" y="53"/>
                  </a:cubicBezTo>
                  <a:cubicBezTo>
                    <a:pt x="72" y="50"/>
                    <a:pt x="66" y="47"/>
                    <a:pt x="64" y="45"/>
                  </a:cubicBezTo>
                  <a:cubicBezTo>
                    <a:pt x="59" y="42"/>
                    <a:pt x="54" y="37"/>
                    <a:pt x="49" y="34"/>
                  </a:cubicBezTo>
                  <a:cubicBezTo>
                    <a:pt x="43" y="31"/>
                    <a:pt x="37" y="27"/>
                    <a:pt x="33" y="22"/>
                  </a:cubicBezTo>
                  <a:cubicBezTo>
                    <a:pt x="29" y="17"/>
                    <a:pt x="23" y="14"/>
                    <a:pt x="18" y="10"/>
                  </a:cubicBezTo>
                  <a:cubicBezTo>
                    <a:pt x="15" y="8"/>
                    <a:pt x="13" y="7"/>
                    <a:pt x="11" y="5"/>
                  </a:cubicBezTo>
                  <a:cubicBezTo>
                    <a:pt x="11" y="5"/>
                    <a:pt x="11" y="5"/>
                    <a:pt x="10" y="5"/>
                  </a:cubicBezTo>
                  <a:cubicBezTo>
                    <a:pt x="10" y="5"/>
                    <a:pt x="10" y="5"/>
                    <a:pt x="10" y="5"/>
                  </a:cubicBezTo>
                  <a:cubicBezTo>
                    <a:pt x="10" y="6"/>
                    <a:pt x="9" y="6"/>
                    <a:pt x="9" y="6"/>
                  </a:cubicBezTo>
                  <a:cubicBezTo>
                    <a:pt x="9" y="6"/>
                    <a:pt x="9" y="6"/>
                    <a:pt x="8" y="6"/>
                  </a:cubicBezTo>
                  <a:cubicBezTo>
                    <a:pt x="7" y="6"/>
                    <a:pt x="6" y="5"/>
                    <a:pt x="5" y="4"/>
                  </a:cubicBezTo>
                  <a:cubicBezTo>
                    <a:pt x="4" y="3"/>
                    <a:pt x="4" y="3"/>
                    <a:pt x="3"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1" name="Freeform 1470">
              <a:extLst>
                <a:ext uri="{FF2B5EF4-FFF2-40B4-BE49-F238E27FC236}">
                  <a16:creationId xmlns:a16="http://schemas.microsoft.com/office/drawing/2014/main" id="{AA544D42-61D7-40FF-82A4-3E73EA9EA354}"/>
                </a:ext>
              </a:extLst>
            </p:cNvPr>
            <p:cNvSpPr>
              <a:spLocks/>
            </p:cNvSpPr>
            <p:nvPr/>
          </p:nvSpPr>
          <p:spPr bwMode="auto">
            <a:xfrm>
              <a:off x="449682" y="3077979"/>
              <a:ext cx="16108" cy="22820"/>
            </a:xfrm>
            <a:custGeom>
              <a:avLst/>
              <a:gdLst>
                <a:gd name="T0" fmla="*/ 1 w 5"/>
                <a:gd name="T1" fmla="*/ 0 h 7"/>
                <a:gd name="T2" fmla="*/ 2 w 5"/>
                <a:gd name="T3" fmla="*/ 2 h 7"/>
                <a:gd name="T4" fmla="*/ 1 w 5"/>
                <a:gd name="T5" fmla="*/ 1 h 7"/>
                <a:gd name="T6" fmla="*/ 0 w 5"/>
                <a:gd name="T7" fmla="*/ 7 h 7"/>
                <a:gd name="T8" fmla="*/ 5 w 5"/>
                <a:gd name="T9" fmla="*/ 2 h 7"/>
                <a:gd name="T10" fmla="*/ 2 w 5"/>
                <a:gd name="T11" fmla="*/ 2 h 7"/>
                <a:gd name="T12" fmla="*/ 5 w 5"/>
                <a:gd name="T13" fmla="*/ 2 h 7"/>
                <a:gd name="T14" fmla="*/ 5 w 5"/>
                <a:gd name="T15" fmla="*/ 2 h 7"/>
                <a:gd name="T16" fmla="*/ 1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1" y="0"/>
                  </a:moveTo>
                  <a:cubicBezTo>
                    <a:pt x="1" y="1"/>
                    <a:pt x="2" y="1"/>
                    <a:pt x="2" y="2"/>
                  </a:cubicBezTo>
                  <a:cubicBezTo>
                    <a:pt x="2" y="1"/>
                    <a:pt x="1" y="1"/>
                    <a:pt x="1" y="1"/>
                  </a:cubicBezTo>
                  <a:cubicBezTo>
                    <a:pt x="0" y="3"/>
                    <a:pt x="0" y="5"/>
                    <a:pt x="0" y="7"/>
                  </a:cubicBezTo>
                  <a:cubicBezTo>
                    <a:pt x="5" y="6"/>
                    <a:pt x="2" y="4"/>
                    <a:pt x="5" y="2"/>
                  </a:cubicBezTo>
                  <a:cubicBezTo>
                    <a:pt x="4" y="2"/>
                    <a:pt x="3" y="2"/>
                    <a:pt x="2" y="2"/>
                  </a:cubicBezTo>
                  <a:cubicBezTo>
                    <a:pt x="3" y="2"/>
                    <a:pt x="4" y="2"/>
                    <a:pt x="5" y="2"/>
                  </a:cubicBezTo>
                  <a:cubicBezTo>
                    <a:pt x="5" y="2"/>
                    <a:pt x="5" y="2"/>
                    <a:pt x="5" y="2"/>
                  </a:cubicBezTo>
                  <a:cubicBezTo>
                    <a:pt x="4" y="1"/>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2" name="Freeform 1471">
              <a:extLst>
                <a:ext uri="{FF2B5EF4-FFF2-40B4-BE49-F238E27FC236}">
                  <a16:creationId xmlns:a16="http://schemas.microsoft.com/office/drawing/2014/main" id="{EA55F663-5867-4913-A060-B68751F86659}"/>
                </a:ext>
              </a:extLst>
            </p:cNvPr>
            <p:cNvSpPr>
              <a:spLocks/>
            </p:cNvSpPr>
            <p:nvPr/>
          </p:nvSpPr>
          <p:spPr bwMode="auto">
            <a:xfrm>
              <a:off x="430890" y="3075295"/>
              <a:ext cx="16108" cy="18793"/>
            </a:xfrm>
            <a:custGeom>
              <a:avLst/>
              <a:gdLst>
                <a:gd name="T0" fmla="*/ 5 w 5"/>
                <a:gd name="T1" fmla="*/ 0 h 6"/>
                <a:gd name="T2" fmla="*/ 1 w 5"/>
                <a:gd name="T3" fmla="*/ 4 h 6"/>
                <a:gd name="T4" fmla="*/ 2 w 5"/>
                <a:gd name="T5" fmla="*/ 6 h 6"/>
                <a:gd name="T6" fmla="*/ 5 w 5"/>
                <a:gd name="T7" fmla="*/ 4 h 6"/>
                <a:gd name="T8" fmla="*/ 5 w 5"/>
                <a:gd name="T9" fmla="*/ 0 h 6"/>
              </a:gdLst>
              <a:ahLst/>
              <a:cxnLst>
                <a:cxn ang="0">
                  <a:pos x="T0" y="T1"/>
                </a:cxn>
                <a:cxn ang="0">
                  <a:pos x="T2" y="T3"/>
                </a:cxn>
                <a:cxn ang="0">
                  <a:pos x="T4" y="T5"/>
                </a:cxn>
                <a:cxn ang="0">
                  <a:pos x="T6" y="T7"/>
                </a:cxn>
                <a:cxn ang="0">
                  <a:pos x="T8" y="T9"/>
                </a:cxn>
              </a:cxnLst>
              <a:rect l="0" t="0" r="r" b="b"/>
              <a:pathLst>
                <a:path w="5" h="6">
                  <a:moveTo>
                    <a:pt x="5" y="0"/>
                  </a:moveTo>
                  <a:cubicBezTo>
                    <a:pt x="3" y="2"/>
                    <a:pt x="0" y="1"/>
                    <a:pt x="1" y="4"/>
                  </a:cubicBezTo>
                  <a:cubicBezTo>
                    <a:pt x="1" y="5"/>
                    <a:pt x="2" y="6"/>
                    <a:pt x="2" y="6"/>
                  </a:cubicBezTo>
                  <a:cubicBezTo>
                    <a:pt x="3" y="6"/>
                    <a:pt x="4" y="5"/>
                    <a:pt x="5" y="4"/>
                  </a:cubicBezTo>
                  <a:cubicBezTo>
                    <a:pt x="5"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3" name="Freeform 1472">
              <a:extLst>
                <a:ext uri="{FF2B5EF4-FFF2-40B4-BE49-F238E27FC236}">
                  <a16:creationId xmlns:a16="http://schemas.microsoft.com/office/drawing/2014/main" id="{0A9CBD66-E99D-4D9D-B79C-8B752AE0CCA5}"/>
                </a:ext>
              </a:extLst>
            </p:cNvPr>
            <p:cNvSpPr>
              <a:spLocks/>
            </p:cNvSpPr>
            <p:nvPr/>
          </p:nvSpPr>
          <p:spPr bwMode="auto">
            <a:xfrm>
              <a:off x="456394" y="3082006"/>
              <a:ext cx="18793" cy="18793"/>
            </a:xfrm>
            <a:custGeom>
              <a:avLst/>
              <a:gdLst>
                <a:gd name="T0" fmla="*/ 5 w 6"/>
                <a:gd name="T1" fmla="*/ 0 h 6"/>
                <a:gd name="T2" fmla="*/ 5 w 6"/>
                <a:gd name="T3" fmla="*/ 6 h 6"/>
                <a:gd name="T4" fmla="*/ 5 w 6"/>
                <a:gd name="T5" fmla="*/ 0 h 6"/>
              </a:gdLst>
              <a:ahLst/>
              <a:cxnLst>
                <a:cxn ang="0">
                  <a:pos x="T0" y="T1"/>
                </a:cxn>
                <a:cxn ang="0">
                  <a:pos x="T2" y="T3"/>
                </a:cxn>
                <a:cxn ang="0">
                  <a:pos x="T4" y="T5"/>
                </a:cxn>
              </a:cxnLst>
              <a:rect l="0" t="0" r="r" b="b"/>
              <a:pathLst>
                <a:path w="6" h="6">
                  <a:moveTo>
                    <a:pt x="5" y="0"/>
                  </a:moveTo>
                  <a:cubicBezTo>
                    <a:pt x="0" y="3"/>
                    <a:pt x="2" y="4"/>
                    <a:pt x="5" y="6"/>
                  </a:cubicBezTo>
                  <a:cubicBezTo>
                    <a:pt x="6" y="4"/>
                    <a:pt x="5" y="3"/>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4" name="Freeform 1473">
              <a:extLst>
                <a:ext uri="{FF2B5EF4-FFF2-40B4-BE49-F238E27FC236}">
                  <a16:creationId xmlns:a16="http://schemas.microsoft.com/office/drawing/2014/main" id="{3C617DCD-C8B5-45E1-BCBC-97094F9FFFB2}"/>
                </a:ext>
              </a:extLst>
            </p:cNvPr>
            <p:cNvSpPr>
              <a:spLocks/>
            </p:cNvSpPr>
            <p:nvPr/>
          </p:nvSpPr>
          <p:spPr bwMode="auto">
            <a:xfrm>
              <a:off x="2182638" y="3177312"/>
              <a:ext cx="16108" cy="21477"/>
            </a:xfrm>
            <a:custGeom>
              <a:avLst/>
              <a:gdLst>
                <a:gd name="T0" fmla="*/ 0 w 5"/>
                <a:gd name="T1" fmla="*/ 0 h 7"/>
                <a:gd name="T2" fmla="*/ 2 w 5"/>
                <a:gd name="T3" fmla="*/ 7 h 7"/>
                <a:gd name="T4" fmla="*/ 0 w 5"/>
                <a:gd name="T5" fmla="*/ 0 h 7"/>
              </a:gdLst>
              <a:ahLst/>
              <a:cxnLst>
                <a:cxn ang="0">
                  <a:pos x="T0" y="T1"/>
                </a:cxn>
                <a:cxn ang="0">
                  <a:pos x="T2" y="T3"/>
                </a:cxn>
                <a:cxn ang="0">
                  <a:pos x="T4" y="T5"/>
                </a:cxn>
              </a:cxnLst>
              <a:rect l="0" t="0" r="r" b="b"/>
              <a:pathLst>
                <a:path w="5" h="7">
                  <a:moveTo>
                    <a:pt x="0" y="0"/>
                  </a:moveTo>
                  <a:cubicBezTo>
                    <a:pt x="0" y="2"/>
                    <a:pt x="1" y="4"/>
                    <a:pt x="2" y="7"/>
                  </a:cubicBezTo>
                  <a:cubicBezTo>
                    <a:pt x="5" y="5"/>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5" name="Freeform 1474">
              <a:extLst>
                <a:ext uri="{FF2B5EF4-FFF2-40B4-BE49-F238E27FC236}">
                  <a16:creationId xmlns:a16="http://schemas.microsoft.com/office/drawing/2014/main" id="{C704C8FF-5F91-4A7F-ACDE-9F83FB3B6A3E}"/>
                </a:ext>
              </a:extLst>
            </p:cNvPr>
            <p:cNvSpPr>
              <a:spLocks/>
            </p:cNvSpPr>
            <p:nvPr/>
          </p:nvSpPr>
          <p:spPr bwMode="auto">
            <a:xfrm>
              <a:off x="2375934" y="3482023"/>
              <a:ext cx="16108" cy="16108"/>
            </a:xfrm>
            <a:custGeom>
              <a:avLst/>
              <a:gdLst>
                <a:gd name="T0" fmla="*/ 3 w 5"/>
                <a:gd name="T1" fmla="*/ 0 h 5"/>
                <a:gd name="T2" fmla="*/ 0 w 5"/>
                <a:gd name="T3" fmla="*/ 1 h 5"/>
                <a:gd name="T4" fmla="*/ 3 w 5"/>
                <a:gd name="T5" fmla="*/ 5 h 5"/>
                <a:gd name="T6" fmla="*/ 3 w 5"/>
                <a:gd name="T7" fmla="*/ 5 h 5"/>
                <a:gd name="T8" fmla="*/ 4 w 5"/>
                <a:gd name="T9" fmla="*/ 5 h 5"/>
                <a:gd name="T10" fmla="*/ 5 w 5"/>
                <a:gd name="T11" fmla="*/ 3 h 5"/>
                <a:gd name="T12" fmla="*/ 3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0"/>
                  </a:moveTo>
                  <a:cubicBezTo>
                    <a:pt x="2" y="1"/>
                    <a:pt x="1" y="1"/>
                    <a:pt x="0" y="1"/>
                  </a:cubicBezTo>
                  <a:cubicBezTo>
                    <a:pt x="0" y="2"/>
                    <a:pt x="1" y="4"/>
                    <a:pt x="3" y="5"/>
                  </a:cubicBezTo>
                  <a:cubicBezTo>
                    <a:pt x="3" y="5"/>
                    <a:pt x="3" y="5"/>
                    <a:pt x="3" y="5"/>
                  </a:cubicBezTo>
                  <a:cubicBezTo>
                    <a:pt x="3" y="5"/>
                    <a:pt x="4" y="5"/>
                    <a:pt x="4" y="5"/>
                  </a:cubicBezTo>
                  <a:cubicBezTo>
                    <a:pt x="5" y="5"/>
                    <a:pt x="5" y="4"/>
                    <a:pt x="5" y="3"/>
                  </a:cubicBezTo>
                  <a:cubicBezTo>
                    <a:pt x="5"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6" name="Freeform 1475">
              <a:extLst>
                <a:ext uri="{FF2B5EF4-FFF2-40B4-BE49-F238E27FC236}">
                  <a16:creationId xmlns:a16="http://schemas.microsoft.com/office/drawing/2014/main" id="{FE749CB6-BC0C-41E2-9C9A-B07ECFE08414}"/>
                </a:ext>
              </a:extLst>
            </p:cNvPr>
            <p:cNvSpPr>
              <a:spLocks/>
            </p:cNvSpPr>
            <p:nvPr/>
          </p:nvSpPr>
          <p:spPr bwMode="auto">
            <a:xfrm>
              <a:off x="3899485" y="3205501"/>
              <a:ext cx="5369" cy="6712"/>
            </a:xfrm>
            <a:custGeom>
              <a:avLst/>
              <a:gdLst>
                <a:gd name="T0" fmla="*/ 2 w 2"/>
                <a:gd name="T1" fmla="*/ 0 h 2"/>
                <a:gd name="T2" fmla="*/ 0 w 2"/>
                <a:gd name="T3" fmla="*/ 2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1" y="1"/>
                    <a:pt x="0" y="2"/>
                  </a:cubicBezTo>
                  <a:cubicBezTo>
                    <a:pt x="1" y="2"/>
                    <a:pt x="1" y="2"/>
                    <a:pt x="1" y="2"/>
                  </a:cubicBezTo>
                  <a:cubicBezTo>
                    <a:pt x="1" y="1"/>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7" name="Freeform 1476">
              <a:extLst>
                <a:ext uri="{FF2B5EF4-FFF2-40B4-BE49-F238E27FC236}">
                  <a16:creationId xmlns:a16="http://schemas.microsoft.com/office/drawing/2014/main" id="{91E46F22-8B49-488C-B99A-558432348FEB}"/>
                </a:ext>
              </a:extLst>
            </p:cNvPr>
            <p:cNvSpPr>
              <a:spLocks/>
            </p:cNvSpPr>
            <p:nvPr/>
          </p:nvSpPr>
          <p:spPr bwMode="auto">
            <a:xfrm>
              <a:off x="3864584" y="3161204"/>
              <a:ext cx="5369" cy="6712"/>
            </a:xfrm>
            <a:custGeom>
              <a:avLst/>
              <a:gdLst>
                <a:gd name="T0" fmla="*/ 1 w 2"/>
                <a:gd name="T1" fmla="*/ 0 h 2"/>
                <a:gd name="T2" fmla="*/ 0 w 2"/>
                <a:gd name="T3" fmla="*/ 2 h 2"/>
                <a:gd name="T4" fmla="*/ 1 w 2"/>
                <a:gd name="T5" fmla="*/ 0 h 2"/>
              </a:gdLst>
              <a:ahLst/>
              <a:cxnLst>
                <a:cxn ang="0">
                  <a:pos x="T0" y="T1"/>
                </a:cxn>
                <a:cxn ang="0">
                  <a:pos x="T2" y="T3"/>
                </a:cxn>
                <a:cxn ang="0">
                  <a:pos x="T4" y="T5"/>
                </a:cxn>
              </a:cxnLst>
              <a:rect l="0" t="0" r="r" b="b"/>
              <a:pathLst>
                <a:path w="2" h="2">
                  <a:moveTo>
                    <a:pt x="1" y="0"/>
                  </a:moveTo>
                  <a:cubicBezTo>
                    <a:pt x="1" y="1"/>
                    <a:pt x="1" y="1"/>
                    <a:pt x="0" y="2"/>
                  </a:cubicBezTo>
                  <a:cubicBezTo>
                    <a:pt x="1"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8" name="Freeform 1477">
              <a:extLst>
                <a:ext uri="{FF2B5EF4-FFF2-40B4-BE49-F238E27FC236}">
                  <a16:creationId xmlns:a16="http://schemas.microsoft.com/office/drawing/2014/main" id="{00D8D116-A46C-47F7-AC58-7FB3079B4E32}"/>
                </a:ext>
              </a:extLst>
            </p:cNvPr>
            <p:cNvSpPr>
              <a:spLocks/>
            </p:cNvSpPr>
            <p:nvPr/>
          </p:nvSpPr>
          <p:spPr bwMode="auto">
            <a:xfrm>
              <a:off x="3835053" y="6820415"/>
              <a:ext cx="4027" cy="18793"/>
            </a:xfrm>
            <a:custGeom>
              <a:avLst/>
              <a:gdLst>
                <a:gd name="T0" fmla="*/ 1 w 1"/>
                <a:gd name="T1" fmla="*/ 0 h 6"/>
                <a:gd name="T2" fmla="*/ 0 w 1"/>
                <a:gd name="T3" fmla="*/ 6 h 6"/>
                <a:gd name="T4" fmla="*/ 1 w 1"/>
                <a:gd name="T5" fmla="*/ 0 h 6"/>
              </a:gdLst>
              <a:ahLst/>
              <a:cxnLst>
                <a:cxn ang="0">
                  <a:pos x="T0" y="T1"/>
                </a:cxn>
                <a:cxn ang="0">
                  <a:pos x="T2" y="T3"/>
                </a:cxn>
                <a:cxn ang="0">
                  <a:pos x="T4" y="T5"/>
                </a:cxn>
              </a:cxnLst>
              <a:rect l="0" t="0" r="r" b="b"/>
              <a:pathLst>
                <a:path w="1" h="6">
                  <a:moveTo>
                    <a:pt x="1" y="0"/>
                  </a:moveTo>
                  <a:cubicBezTo>
                    <a:pt x="1" y="2"/>
                    <a:pt x="1" y="4"/>
                    <a:pt x="0" y="6"/>
                  </a:cubicBezTo>
                  <a:cubicBezTo>
                    <a:pt x="1" y="4"/>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9" name="Freeform 1478">
              <a:extLst>
                <a:ext uri="{FF2B5EF4-FFF2-40B4-BE49-F238E27FC236}">
                  <a16:creationId xmlns:a16="http://schemas.microsoft.com/office/drawing/2014/main" id="{27332560-8313-44BE-8E99-718A6F41803D}"/>
                </a:ext>
              </a:extLst>
            </p:cNvPr>
            <p:cNvSpPr>
              <a:spLocks/>
            </p:cNvSpPr>
            <p:nvPr/>
          </p:nvSpPr>
          <p:spPr bwMode="auto">
            <a:xfrm>
              <a:off x="3829684" y="6855315"/>
              <a:ext cx="2685" cy="2685"/>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1" y="1"/>
                    <a:pt x="1" y="1"/>
                    <a:pt x="1"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0" name="Freeform 1479">
              <a:extLst>
                <a:ext uri="{FF2B5EF4-FFF2-40B4-BE49-F238E27FC236}">
                  <a16:creationId xmlns:a16="http://schemas.microsoft.com/office/drawing/2014/main" id="{083C1EA6-BE17-4EEC-BF85-8536A1F8B74D}"/>
                </a:ext>
              </a:extLst>
            </p:cNvPr>
            <p:cNvSpPr>
              <a:spLocks noEditPoints="1"/>
            </p:cNvSpPr>
            <p:nvPr/>
          </p:nvSpPr>
          <p:spPr bwMode="auto">
            <a:xfrm>
              <a:off x="3860557" y="5712987"/>
              <a:ext cx="2951796" cy="1145013"/>
            </a:xfrm>
            <a:custGeom>
              <a:avLst/>
              <a:gdLst>
                <a:gd name="T0" fmla="*/ 247 w 930"/>
                <a:gd name="T1" fmla="*/ 156 h 361"/>
                <a:gd name="T2" fmla="*/ 666 w 930"/>
                <a:gd name="T3" fmla="*/ 42 h 361"/>
                <a:gd name="T4" fmla="*/ 666 w 930"/>
                <a:gd name="T5" fmla="*/ 60 h 361"/>
                <a:gd name="T6" fmla="*/ 664 w 930"/>
                <a:gd name="T7" fmla="*/ 109 h 361"/>
                <a:gd name="T8" fmla="*/ 627 w 930"/>
                <a:gd name="T9" fmla="*/ 168 h 361"/>
                <a:gd name="T10" fmla="*/ 554 w 930"/>
                <a:gd name="T11" fmla="*/ 124 h 361"/>
                <a:gd name="T12" fmla="*/ 526 w 930"/>
                <a:gd name="T13" fmla="*/ 87 h 361"/>
                <a:gd name="T14" fmla="*/ 532 w 930"/>
                <a:gd name="T15" fmla="*/ 62 h 361"/>
                <a:gd name="T16" fmla="*/ 543 w 930"/>
                <a:gd name="T17" fmla="*/ 49 h 361"/>
                <a:gd name="T18" fmla="*/ 538 w 930"/>
                <a:gd name="T19" fmla="*/ 34 h 361"/>
                <a:gd name="T20" fmla="*/ 526 w 930"/>
                <a:gd name="T21" fmla="*/ 38 h 361"/>
                <a:gd name="T22" fmla="*/ 524 w 930"/>
                <a:gd name="T23" fmla="*/ 32 h 361"/>
                <a:gd name="T24" fmla="*/ 492 w 930"/>
                <a:gd name="T25" fmla="*/ 32 h 361"/>
                <a:gd name="T26" fmla="*/ 462 w 930"/>
                <a:gd name="T27" fmla="*/ 18 h 361"/>
                <a:gd name="T28" fmla="*/ 442 w 930"/>
                <a:gd name="T29" fmla="*/ 10 h 361"/>
                <a:gd name="T30" fmla="*/ 439 w 930"/>
                <a:gd name="T31" fmla="*/ 17 h 361"/>
                <a:gd name="T32" fmla="*/ 454 w 930"/>
                <a:gd name="T33" fmla="*/ 22 h 361"/>
                <a:gd name="T34" fmla="*/ 435 w 930"/>
                <a:gd name="T35" fmla="*/ 38 h 361"/>
                <a:gd name="T36" fmla="*/ 412 w 930"/>
                <a:gd name="T37" fmla="*/ 40 h 361"/>
                <a:gd name="T38" fmla="*/ 406 w 930"/>
                <a:gd name="T39" fmla="*/ 47 h 361"/>
                <a:gd name="T40" fmla="*/ 385 w 930"/>
                <a:gd name="T41" fmla="*/ 74 h 361"/>
                <a:gd name="T42" fmla="*/ 390 w 930"/>
                <a:gd name="T43" fmla="*/ 98 h 361"/>
                <a:gd name="T44" fmla="*/ 373 w 930"/>
                <a:gd name="T45" fmla="*/ 105 h 361"/>
                <a:gd name="T46" fmla="*/ 354 w 930"/>
                <a:gd name="T47" fmla="*/ 99 h 361"/>
                <a:gd name="T48" fmla="*/ 346 w 930"/>
                <a:gd name="T49" fmla="*/ 103 h 361"/>
                <a:gd name="T50" fmla="*/ 327 w 930"/>
                <a:gd name="T51" fmla="*/ 77 h 361"/>
                <a:gd name="T52" fmla="*/ 311 w 930"/>
                <a:gd name="T53" fmla="*/ 84 h 361"/>
                <a:gd name="T54" fmla="*/ 301 w 930"/>
                <a:gd name="T55" fmla="*/ 78 h 361"/>
                <a:gd name="T56" fmla="*/ 297 w 930"/>
                <a:gd name="T57" fmla="*/ 89 h 361"/>
                <a:gd name="T58" fmla="*/ 290 w 930"/>
                <a:gd name="T59" fmla="*/ 85 h 361"/>
                <a:gd name="T60" fmla="*/ 278 w 930"/>
                <a:gd name="T61" fmla="*/ 99 h 361"/>
                <a:gd name="T62" fmla="*/ 283 w 930"/>
                <a:gd name="T63" fmla="*/ 106 h 361"/>
                <a:gd name="T64" fmla="*/ 273 w 930"/>
                <a:gd name="T65" fmla="*/ 110 h 361"/>
                <a:gd name="T66" fmla="*/ 266 w 930"/>
                <a:gd name="T67" fmla="*/ 109 h 361"/>
                <a:gd name="T68" fmla="*/ 260 w 930"/>
                <a:gd name="T69" fmla="*/ 128 h 361"/>
                <a:gd name="T70" fmla="*/ 268 w 930"/>
                <a:gd name="T71" fmla="*/ 136 h 361"/>
                <a:gd name="T72" fmla="*/ 249 w 930"/>
                <a:gd name="T73" fmla="*/ 136 h 361"/>
                <a:gd name="T74" fmla="*/ 243 w 930"/>
                <a:gd name="T75" fmla="*/ 136 h 361"/>
                <a:gd name="T76" fmla="*/ 238 w 930"/>
                <a:gd name="T77" fmla="*/ 138 h 361"/>
                <a:gd name="T78" fmla="*/ 245 w 930"/>
                <a:gd name="T79" fmla="*/ 148 h 361"/>
                <a:gd name="T80" fmla="*/ 232 w 930"/>
                <a:gd name="T81" fmla="*/ 151 h 361"/>
                <a:gd name="T82" fmla="*/ 222 w 930"/>
                <a:gd name="T83" fmla="*/ 145 h 361"/>
                <a:gd name="T84" fmla="*/ 200 w 930"/>
                <a:gd name="T85" fmla="*/ 185 h 361"/>
                <a:gd name="T86" fmla="*/ 138 w 930"/>
                <a:gd name="T87" fmla="*/ 223 h 361"/>
                <a:gd name="T88" fmla="*/ 89 w 930"/>
                <a:gd name="T89" fmla="*/ 240 h 361"/>
                <a:gd name="T90" fmla="*/ 74 w 930"/>
                <a:gd name="T91" fmla="*/ 242 h 361"/>
                <a:gd name="T92" fmla="*/ 10 w 930"/>
                <a:gd name="T93" fmla="*/ 281 h 361"/>
                <a:gd name="T94" fmla="*/ 14 w 930"/>
                <a:gd name="T95" fmla="*/ 361 h 361"/>
                <a:gd name="T96" fmla="*/ 906 w 930"/>
                <a:gd name="T97" fmla="*/ 328 h 361"/>
                <a:gd name="T98" fmla="*/ 879 w 930"/>
                <a:gd name="T99" fmla="*/ 301 h 361"/>
                <a:gd name="T100" fmla="*/ 879 w 930"/>
                <a:gd name="T101" fmla="*/ 285 h 361"/>
                <a:gd name="T102" fmla="*/ 854 w 930"/>
                <a:gd name="T103" fmla="*/ 285 h 361"/>
                <a:gd name="T104" fmla="*/ 836 w 930"/>
                <a:gd name="T105" fmla="*/ 237 h 361"/>
                <a:gd name="T106" fmla="*/ 807 w 930"/>
                <a:gd name="T107" fmla="*/ 220 h 361"/>
                <a:gd name="T108" fmla="*/ 792 w 930"/>
                <a:gd name="T109" fmla="*/ 204 h 361"/>
                <a:gd name="T110" fmla="*/ 769 w 930"/>
                <a:gd name="T111" fmla="*/ 182 h 361"/>
                <a:gd name="T112" fmla="*/ 753 w 930"/>
                <a:gd name="T113" fmla="*/ 126 h 361"/>
                <a:gd name="T114" fmla="*/ 731 w 930"/>
                <a:gd name="T115" fmla="*/ 84 h 361"/>
                <a:gd name="T116" fmla="*/ 716 w 930"/>
                <a:gd name="T117" fmla="*/ 90 h 361"/>
                <a:gd name="T118" fmla="*/ 700 w 930"/>
                <a:gd name="T119" fmla="*/ 39 h 361"/>
                <a:gd name="T120" fmla="*/ 685 w 930"/>
                <a:gd name="T121" fmla="*/ 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0" h="361">
                  <a:moveTo>
                    <a:pt x="2" y="360"/>
                  </a:moveTo>
                  <a:cubicBezTo>
                    <a:pt x="2" y="360"/>
                    <a:pt x="2" y="360"/>
                    <a:pt x="2" y="361"/>
                  </a:cubicBezTo>
                  <a:cubicBezTo>
                    <a:pt x="2" y="361"/>
                    <a:pt x="2" y="361"/>
                    <a:pt x="2" y="361"/>
                  </a:cubicBezTo>
                  <a:cubicBezTo>
                    <a:pt x="2" y="360"/>
                    <a:pt x="2" y="360"/>
                    <a:pt x="2" y="360"/>
                  </a:cubicBezTo>
                  <a:moveTo>
                    <a:pt x="664" y="43"/>
                  </a:moveTo>
                  <a:cubicBezTo>
                    <a:pt x="664" y="43"/>
                    <a:pt x="664" y="43"/>
                    <a:pt x="664" y="44"/>
                  </a:cubicBezTo>
                  <a:cubicBezTo>
                    <a:pt x="664" y="43"/>
                    <a:pt x="664" y="43"/>
                    <a:pt x="664" y="43"/>
                  </a:cubicBezTo>
                  <a:moveTo>
                    <a:pt x="247" y="156"/>
                  </a:moveTo>
                  <a:cubicBezTo>
                    <a:pt x="247" y="156"/>
                    <a:pt x="247" y="156"/>
                    <a:pt x="247" y="156"/>
                  </a:cubicBezTo>
                  <a:cubicBezTo>
                    <a:pt x="247" y="156"/>
                    <a:pt x="247" y="156"/>
                    <a:pt x="247" y="156"/>
                  </a:cubicBezTo>
                  <a:moveTo>
                    <a:pt x="685" y="0"/>
                  </a:moveTo>
                  <a:cubicBezTo>
                    <a:pt x="684" y="0"/>
                    <a:pt x="677" y="5"/>
                    <a:pt x="676" y="6"/>
                  </a:cubicBezTo>
                  <a:cubicBezTo>
                    <a:pt x="675" y="14"/>
                    <a:pt x="673" y="23"/>
                    <a:pt x="671" y="31"/>
                  </a:cubicBezTo>
                  <a:cubicBezTo>
                    <a:pt x="671" y="31"/>
                    <a:pt x="671" y="30"/>
                    <a:pt x="670" y="30"/>
                  </a:cubicBezTo>
                  <a:cubicBezTo>
                    <a:pt x="667" y="32"/>
                    <a:pt x="666" y="39"/>
                    <a:pt x="664" y="43"/>
                  </a:cubicBezTo>
                  <a:cubicBezTo>
                    <a:pt x="664" y="42"/>
                    <a:pt x="665" y="42"/>
                    <a:pt x="666" y="42"/>
                  </a:cubicBezTo>
                  <a:cubicBezTo>
                    <a:pt x="666" y="42"/>
                    <a:pt x="667" y="42"/>
                    <a:pt x="668" y="42"/>
                  </a:cubicBezTo>
                  <a:cubicBezTo>
                    <a:pt x="670" y="44"/>
                    <a:pt x="671" y="44"/>
                    <a:pt x="671" y="47"/>
                  </a:cubicBezTo>
                  <a:cubicBezTo>
                    <a:pt x="671" y="49"/>
                    <a:pt x="672" y="50"/>
                    <a:pt x="671" y="52"/>
                  </a:cubicBezTo>
                  <a:cubicBezTo>
                    <a:pt x="671" y="51"/>
                    <a:pt x="671" y="47"/>
                    <a:pt x="669" y="47"/>
                  </a:cubicBezTo>
                  <a:cubicBezTo>
                    <a:pt x="669" y="47"/>
                    <a:pt x="669" y="47"/>
                    <a:pt x="669" y="47"/>
                  </a:cubicBezTo>
                  <a:cubicBezTo>
                    <a:pt x="669" y="47"/>
                    <a:pt x="669" y="47"/>
                    <a:pt x="669" y="47"/>
                  </a:cubicBezTo>
                  <a:cubicBezTo>
                    <a:pt x="667" y="48"/>
                    <a:pt x="666" y="51"/>
                    <a:pt x="664" y="52"/>
                  </a:cubicBezTo>
                  <a:cubicBezTo>
                    <a:pt x="665" y="55"/>
                    <a:pt x="666" y="58"/>
                    <a:pt x="666" y="60"/>
                  </a:cubicBezTo>
                  <a:cubicBezTo>
                    <a:pt x="665" y="62"/>
                    <a:pt x="663" y="65"/>
                    <a:pt x="663" y="67"/>
                  </a:cubicBezTo>
                  <a:cubicBezTo>
                    <a:pt x="662" y="68"/>
                    <a:pt x="662" y="69"/>
                    <a:pt x="662" y="70"/>
                  </a:cubicBezTo>
                  <a:cubicBezTo>
                    <a:pt x="661" y="71"/>
                    <a:pt x="661" y="72"/>
                    <a:pt x="661" y="74"/>
                  </a:cubicBezTo>
                  <a:cubicBezTo>
                    <a:pt x="661" y="75"/>
                    <a:pt x="662" y="77"/>
                    <a:pt x="662" y="79"/>
                  </a:cubicBezTo>
                  <a:cubicBezTo>
                    <a:pt x="664" y="82"/>
                    <a:pt x="664" y="84"/>
                    <a:pt x="663" y="89"/>
                  </a:cubicBezTo>
                  <a:cubicBezTo>
                    <a:pt x="663" y="92"/>
                    <a:pt x="663" y="95"/>
                    <a:pt x="664" y="98"/>
                  </a:cubicBezTo>
                  <a:cubicBezTo>
                    <a:pt x="664" y="100"/>
                    <a:pt x="664" y="100"/>
                    <a:pt x="665" y="102"/>
                  </a:cubicBezTo>
                  <a:cubicBezTo>
                    <a:pt x="665" y="104"/>
                    <a:pt x="665" y="106"/>
                    <a:pt x="664" y="109"/>
                  </a:cubicBezTo>
                  <a:cubicBezTo>
                    <a:pt x="662" y="114"/>
                    <a:pt x="660" y="119"/>
                    <a:pt x="659" y="125"/>
                  </a:cubicBezTo>
                  <a:cubicBezTo>
                    <a:pt x="659" y="126"/>
                    <a:pt x="660" y="127"/>
                    <a:pt x="660" y="128"/>
                  </a:cubicBezTo>
                  <a:cubicBezTo>
                    <a:pt x="660" y="130"/>
                    <a:pt x="658" y="133"/>
                    <a:pt x="657" y="134"/>
                  </a:cubicBezTo>
                  <a:cubicBezTo>
                    <a:pt x="655" y="139"/>
                    <a:pt x="653" y="144"/>
                    <a:pt x="651" y="149"/>
                  </a:cubicBezTo>
                  <a:cubicBezTo>
                    <a:pt x="650" y="153"/>
                    <a:pt x="648" y="158"/>
                    <a:pt x="646" y="161"/>
                  </a:cubicBezTo>
                  <a:cubicBezTo>
                    <a:pt x="643" y="164"/>
                    <a:pt x="639" y="166"/>
                    <a:pt x="634" y="167"/>
                  </a:cubicBezTo>
                  <a:cubicBezTo>
                    <a:pt x="633" y="168"/>
                    <a:pt x="630" y="168"/>
                    <a:pt x="629" y="168"/>
                  </a:cubicBezTo>
                  <a:cubicBezTo>
                    <a:pt x="628" y="168"/>
                    <a:pt x="628" y="168"/>
                    <a:pt x="627" y="168"/>
                  </a:cubicBezTo>
                  <a:cubicBezTo>
                    <a:pt x="623" y="168"/>
                    <a:pt x="620" y="163"/>
                    <a:pt x="617" y="161"/>
                  </a:cubicBezTo>
                  <a:cubicBezTo>
                    <a:pt x="614" y="159"/>
                    <a:pt x="610" y="156"/>
                    <a:pt x="607" y="154"/>
                  </a:cubicBezTo>
                  <a:cubicBezTo>
                    <a:pt x="605" y="153"/>
                    <a:pt x="607" y="152"/>
                    <a:pt x="605" y="151"/>
                  </a:cubicBezTo>
                  <a:cubicBezTo>
                    <a:pt x="603" y="149"/>
                    <a:pt x="602" y="148"/>
                    <a:pt x="599" y="147"/>
                  </a:cubicBezTo>
                  <a:cubicBezTo>
                    <a:pt x="592" y="145"/>
                    <a:pt x="586" y="142"/>
                    <a:pt x="579" y="140"/>
                  </a:cubicBezTo>
                  <a:cubicBezTo>
                    <a:pt x="579" y="140"/>
                    <a:pt x="579" y="140"/>
                    <a:pt x="579" y="140"/>
                  </a:cubicBezTo>
                  <a:cubicBezTo>
                    <a:pt x="579" y="139"/>
                    <a:pt x="569" y="134"/>
                    <a:pt x="567" y="133"/>
                  </a:cubicBezTo>
                  <a:cubicBezTo>
                    <a:pt x="563" y="130"/>
                    <a:pt x="558" y="127"/>
                    <a:pt x="554" y="124"/>
                  </a:cubicBezTo>
                  <a:cubicBezTo>
                    <a:pt x="554" y="125"/>
                    <a:pt x="554" y="125"/>
                    <a:pt x="554" y="125"/>
                  </a:cubicBezTo>
                  <a:cubicBezTo>
                    <a:pt x="553" y="125"/>
                    <a:pt x="552" y="125"/>
                    <a:pt x="552" y="125"/>
                  </a:cubicBezTo>
                  <a:cubicBezTo>
                    <a:pt x="551" y="125"/>
                    <a:pt x="551" y="125"/>
                    <a:pt x="550" y="125"/>
                  </a:cubicBezTo>
                  <a:cubicBezTo>
                    <a:pt x="550" y="125"/>
                    <a:pt x="550" y="125"/>
                    <a:pt x="549" y="125"/>
                  </a:cubicBezTo>
                  <a:cubicBezTo>
                    <a:pt x="549" y="125"/>
                    <a:pt x="548" y="125"/>
                    <a:pt x="548" y="124"/>
                  </a:cubicBezTo>
                  <a:cubicBezTo>
                    <a:pt x="539" y="117"/>
                    <a:pt x="531" y="110"/>
                    <a:pt x="522" y="104"/>
                  </a:cubicBezTo>
                  <a:cubicBezTo>
                    <a:pt x="521" y="103"/>
                    <a:pt x="520" y="103"/>
                    <a:pt x="520" y="101"/>
                  </a:cubicBezTo>
                  <a:cubicBezTo>
                    <a:pt x="518" y="95"/>
                    <a:pt x="522" y="92"/>
                    <a:pt x="526" y="87"/>
                  </a:cubicBezTo>
                  <a:cubicBezTo>
                    <a:pt x="528" y="83"/>
                    <a:pt x="529" y="79"/>
                    <a:pt x="531" y="75"/>
                  </a:cubicBezTo>
                  <a:cubicBezTo>
                    <a:pt x="532" y="74"/>
                    <a:pt x="533" y="72"/>
                    <a:pt x="533" y="70"/>
                  </a:cubicBezTo>
                  <a:cubicBezTo>
                    <a:pt x="532" y="71"/>
                    <a:pt x="531" y="72"/>
                    <a:pt x="531" y="72"/>
                  </a:cubicBezTo>
                  <a:cubicBezTo>
                    <a:pt x="530" y="72"/>
                    <a:pt x="530" y="72"/>
                    <a:pt x="529" y="72"/>
                  </a:cubicBezTo>
                  <a:cubicBezTo>
                    <a:pt x="529" y="71"/>
                    <a:pt x="529" y="68"/>
                    <a:pt x="529" y="67"/>
                  </a:cubicBezTo>
                  <a:cubicBezTo>
                    <a:pt x="529" y="65"/>
                    <a:pt x="529" y="62"/>
                    <a:pt x="531" y="62"/>
                  </a:cubicBezTo>
                  <a:cubicBezTo>
                    <a:pt x="532" y="62"/>
                    <a:pt x="532" y="62"/>
                    <a:pt x="532" y="62"/>
                  </a:cubicBezTo>
                  <a:cubicBezTo>
                    <a:pt x="532" y="62"/>
                    <a:pt x="532" y="62"/>
                    <a:pt x="532" y="62"/>
                  </a:cubicBezTo>
                  <a:cubicBezTo>
                    <a:pt x="535" y="62"/>
                    <a:pt x="538" y="59"/>
                    <a:pt x="541" y="58"/>
                  </a:cubicBezTo>
                  <a:cubicBezTo>
                    <a:pt x="541" y="60"/>
                    <a:pt x="540" y="61"/>
                    <a:pt x="540" y="62"/>
                  </a:cubicBezTo>
                  <a:cubicBezTo>
                    <a:pt x="541" y="61"/>
                    <a:pt x="542" y="61"/>
                    <a:pt x="543" y="61"/>
                  </a:cubicBezTo>
                  <a:cubicBezTo>
                    <a:pt x="543" y="59"/>
                    <a:pt x="543" y="54"/>
                    <a:pt x="545" y="54"/>
                  </a:cubicBezTo>
                  <a:cubicBezTo>
                    <a:pt x="546" y="54"/>
                    <a:pt x="546" y="54"/>
                    <a:pt x="547" y="55"/>
                  </a:cubicBezTo>
                  <a:cubicBezTo>
                    <a:pt x="547" y="54"/>
                    <a:pt x="546" y="53"/>
                    <a:pt x="545" y="53"/>
                  </a:cubicBezTo>
                  <a:cubicBezTo>
                    <a:pt x="545" y="53"/>
                    <a:pt x="545" y="53"/>
                    <a:pt x="545" y="53"/>
                  </a:cubicBezTo>
                  <a:cubicBezTo>
                    <a:pt x="544" y="52"/>
                    <a:pt x="543" y="51"/>
                    <a:pt x="543" y="49"/>
                  </a:cubicBezTo>
                  <a:cubicBezTo>
                    <a:pt x="545" y="50"/>
                    <a:pt x="545" y="50"/>
                    <a:pt x="546" y="50"/>
                  </a:cubicBezTo>
                  <a:cubicBezTo>
                    <a:pt x="546" y="50"/>
                    <a:pt x="547" y="50"/>
                    <a:pt x="547" y="48"/>
                  </a:cubicBezTo>
                  <a:cubicBezTo>
                    <a:pt x="549" y="43"/>
                    <a:pt x="550" y="42"/>
                    <a:pt x="555" y="39"/>
                  </a:cubicBezTo>
                  <a:cubicBezTo>
                    <a:pt x="553" y="37"/>
                    <a:pt x="552" y="36"/>
                    <a:pt x="550" y="35"/>
                  </a:cubicBezTo>
                  <a:cubicBezTo>
                    <a:pt x="550" y="37"/>
                    <a:pt x="549" y="37"/>
                    <a:pt x="548" y="37"/>
                  </a:cubicBezTo>
                  <a:cubicBezTo>
                    <a:pt x="547" y="37"/>
                    <a:pt x="546" y="31"/>
                    <a:pt x="543" y="30"/>
                  </a:cubicBezTo>
                  <a:cubicBezTo>
                    <a:pt x="545" y="30"/>
                    <a:pt x="546" y="30"/>
                    <a:pt x="546" y="28"/>
                  </a:cubicBezTo>
                  <a:cubicBezTo>
                    <a:pt x="543" y="29"/>
                    <a:pt x="540" y="31"/>
                    <a:pt x="538" y="34"/>
                  </a:cubicBezTo>
                  <a:cubicBezTo>
                    <a:pt x="534" y="37"/>
                    <a:pt x="540" y="34"/>
                    <a:pt x="541" y="37"/>
                  </a:cubicBezTo>
                  <a:cubicBezTo>
                    <a:pt x="541" y="37"/>
                    <a:pt x="539" y="41"/>
                    <a:pt x="538" y="41"/>
                  </a:cubicBezTo>
                  <a:cubicBezTo>
                    <a:pt x="538" y="41"/>
                    <a:pt x="537" y="41"/>
                    <a:pt x="537" y="41"/>
                  </a:cubicBezTo>
                  <a:cubicBezTo>
                    <a:pt x="535" y="41"/>
                    <a:pt x="534" y="39"/>
                    <a:pt x="533" y="38"/>
                  </a:cubicBezTo>
                  <a:cubicBezTo>
                    <a:pt x="532" y="37"/>
                    <a:pt x="534" y="37"/>
                    <a:pt x="534" y="37"/>
                  </a:cubicBezTo>
                  <a:cubicBezTo>
                    <a:pt x="533" y="36"/>
                    <a:pt x="531" y="36"/>
                    <a:pt x="531" y="35"/>
                  </a:cubicBezTo>
                  <a:cubicBezTo>
                    <a:pt x="532" y="35"/>
                    <a:pt x="532" y="34"/>
                    <a:pt x="533" y="33"/>
                  </a:cubicBezTo>
                  <a:cubicBezTo>
                    <a:pt x="530" y="34"/>
                    <a:pt x="528" y="36"/>
                    <a:pt x="526" y="38"/>
                  </a:cubicBezTo>
                  <a:cubicBezTo>
                    <a:pt x="522" y="35"/>
                    <a:pt x="527" y="31"/>
                    <a:pt x="530" y="30"/>
                  </a:cubicBezTo>
                  <a:cubicBezTo>
                    <a:pt x="526" y="29"/>
                    <a:pt x="529" y="28"/>
                    <a:pt x="530" y="27"/>
                  </a:cubicBezTo>
                  <a:cubicBezTo>
                    <a:pt x="530" y="26"/>
                    <a:pt x="531" y="25"/>
                    <a:pt x="530" y="25"/>
                  </a:cubicBezTo>
                  <a:cubicBezTo>
                    <a:pt x="530" y="25"/>
                    <a:pt x="530" y="25"/>
                    <a:pt x="529" y="26"/>
                  </a:cubicBezTo>
                  <a:cubicBezTo>
                    <a:pt x="528" y="26"/>
                    <a:pt x="528" y="28"/>
                    <a:pt x="527" y="28"/>
                  </a:cubicBezTo>
                  <a:cubicBezTo>
                    <a:pt x="526" y="29"/>
                    <a:pt x="525" y="29"/>
                    <a:pt x="524" y="30"/>
                  </a:cubicBezTo>
                  <a:cubicBezTo>
                    <a:pt x="524" y="30"/>
                    <a:pt x="521" y="32"/>
                    <a:pt x="522" y="32"/>
                  </a:cubicBezTo>
                  <a:cubicBezTo>
                    <a:pt x="523" y="32"/>
                    <a:pt x="523" y="32"/>
                    <a:pt x="524" y="32"/>
                  </a:cubicBezTo>
                  <a:cubicBezTo>
                    <a:pt x="521" y="34"/>
                    <a:pt x="518" y="34"/>
                    <a:pt x="514" y="35"/>
                  </a:cubicBezTo>
                  <a:cubicBezTo>
                    <a:pt x="515" y="36"/>
                    <a:pt x="516" y="36"/>
                    <a:pt x="517" y="36"/>
                  </a:cubicBezTo>
                  <a:cubicBezTo>
                    <a:pt x="516" y="37"/>
                    <a:pt x="515" y="37"/>
                    <a:pt x="514" y="37"/>
                  </a:cubicBezTo>
                  <a:cubicBezTo>
                    <a:pt x="512" y="37"/>
                    <a:pt x="510" y="35"/>
                    <a:pt x="507" y="33"/>
                  </a:cubicBezTo>
                  <a:cubicBezTo>
                    <a:pt x="506" y="32"/>
                    <a:pt x="503" y="32"/>
                    <a:pt x="503" y="30"/>
                  </a:cubicBezTo>
                  <a:cubicBezTo>
                    <a:pt x="500" y="31"/>
                    <a:pt x="499" y="32"/>
                    <a:pt x="496" y="32"/>
                  </a:cubicBezTo>
                  <a:cubicBezTo>
                    <a:pt x="496" y="32"/>
                    <a:pt x="496" y="32"/>
                    <a:pt x="496" y="32"/>
                  </a:cubicBezTo>
                  <a:cubicBezTo>
                    <a:pt x="495" y="32"/>
                    <a:pt x="493" y="32"/>
                    <a:pt x="492" y="32"/>
                  </a:cubicBezTo>
                  <a:cubicBezTo>
                    <a:pt x="491" y="32"/>
                    <a:pt x="490" y="32"/>
                    <a:pt x="489" y="33"/>
                  </a:cubicBezTo>
                  <a:cubicBezTo>
                    <a:pt x="488" y="31"/>
                    <a:pt x="489" y="30"/>
                    <a:pt x="489" y="29"/>
                  </a:cubicBezTo>
                  <a:cubicBezTo>
                    <a:pt x="487" y="27"/>
                    <a:pt x="485" y="27"/>
                    <a:pt x="483" y="25"/>
                  </a:cubicBezTo>
                  <a:cubicBezTo>
                    <a:pt x="483" y="25"/>
                    <a:pt x="483" y="24"/>
                    <a:pt x="482" y="24"/>
                  </a:cubicBezTo>
                  <a:cubicBezTo>
                    <a:pt x="481" y="24"/>
                    <a:pt x="478" y="25"/>
                    <a:pt x="477" y="25"/>
                  </a:cubicBezTo>
                  <a:cubicBezTo>
                    <a:pt x="474" y="27"/>
                    <a:pt x="474" y="27"/>
                    <a:pt x="474" y="27"/>
                  </a:cubicBezTo>
                  <a:cubicBezTo>
                    <a:pt x="475" y="24"/>
                    <a:pt x="468" y="22"/>
                    <a:pt x="466" y="21"/>
                  </a:cubicBezTo>
                  <a:cubicBezTo>
                    <a:pt x="463" y="20"/>
                    <a:pt x="463" y="20"/>
                    <a:pt x="462" y="18"/>
                  </a:cubicBezTo>
                  <a:cubicBezTo>
                    <a:pt x="461" y="17"/>
                    <a:pt x="461" y="16"/>
                    <a:pt x="460" y="16"/>
                  </a:cubicBezTo>
                  <a:cubicBezTo>
                    <a:pt x="459" y="16"/>
                    <a:pt x="458" y="16"/>
                    <a:pt x="458" y="17"/>
                  </a:cubicBezTo>
                  <a:cubicBezTo>
                    <a:pt x="457" y="17"/>
                    <a:pt x="456" y="18"/>
                    <a:pt x="456" y="19"/>
                  </a:cubicBezTo>
                  <a:cubicBezTo>
                    <a:pt x="455" y="19"/>
                    <a:pt x="455" y="19"/>
                    <a:pt x="455" y="19"/>
                  </a:cubicBezTo>
                  <a:cubicBezTo>
                    <a:pt x="453" y="19"/>
                    <a:pt x="452" y="17"/>
                    <a:pt x="451" y="15"/>
                  </a:cubicBezTo>
                  <a:cubicBezTo>
                    <a:pt x="450" y="14"/>
                    <a:pt x="447" y="11"/>
                    <a:pt x="446" y="10"/>
                  </a:cubicBezTo>
                  <a:cubicBezTo>
                    <a:pt x="445" y="11"/>
                    <a:pt x="445" y="12"/>
                    <a:pt x="445" y="13"/>
                  </a:cubicBezTo>
                  <a:cubicBezTo>
                    <a:pt x="444" y="12"/>
                    <a:pt x="443" y="11"/>
                    <a:pt x="442" y="10"/>
                  </a:cubicBezTo>
                  <a:cubicBezTo>
                    <a:pt x="441" y="13"/>
                    <a:pt x="444" y="15"/>
                    <a:pt x="443" y="17"/>
                  </a:cubicBezTo>
                  <a:cubicBezTo>
                    <a:pt x="440" y="13"/>
                    <a:pt x="440" y="11"/>
                    <a:pt x="437" y="11"/>
                  </a:cubicBezTo>
                  <a:cubicBezTo>
                    <a:pt x="436" y="11"/>
                    <a:pt x="435" y="11"/>
                    <a:pt x="434" y="12"/>
                  </a:cubicBezTo>
                  <a:cubicBezTo>
                    <a:pt x="435" y="14"/>
                    <a:pt x="436" y="14"/>
                    <a:pt x="437" y="15"/>
                  </a:cubicBezTo>
                  <a:cubicBezTo>
                    <a:pt x="438" y="17"/>
                    <a:pt x="438" y="17"/>
                    <a:pt x="438" y="17"/>
                  </a:cubicBezTo>
                  <a:cubicBezTo>
                    <a:pt x="438" y="17"/>
                    <a:pt x="438" y="17"/>
                    <a:pt x="438" y="17"/>
                  </a:cubicBezTo>
                  <a:cubicBezTo>
                    <a:pt x="438" y="17"/>
                    <a:pt x="438" y="17"/>
                    <a:pt x="438" y="17"/>
                  </a:cubicBezTo>
                  <a:cubicBezTo>
                    <a:pt x="438" y="17"/>
                    <a:pt x="438" y="17"/>
                    <a:pt x="439" y="17"/>
                  </a:cubicBezTo>
                  <a:cubicBezTo>
                    <a:pt x="439" y="17"/>
                    <a:pt x="439" y="17"/>
                    <a:pt x="439" y="17"/>
                  </a:cubicBezTo>
                  <a:cubicBezTo>
                    <a:pt x="440" y="18"/>
                    <a:pt x="438" y="19"/>
                    <a:pt x="441" y="19"/>
                  </a:cubicBezTo>
                  <a:cubicBezTo>
                    <a:pt x="441" y="19"/>
                    <a:pt x="441" y="19"/>
                    <a:pt x="441" y="19"/>
                  </a:cubicBezTo>
                  <a:cubicBezTo>
                    <a:pt x="441" y="19"/>
                    <a:pt x="443" y="18"/>
                    <a:pt x="443" y="18"/>
                  </a:cubicBezTo>
                  <a:cubicBezTo>
                    <a:pt x="444" y="18"/>
                    <a:pt x="445" y="17"/>
                    <a:pt x="446" y="17"/>
                  </a:cubicBezTo>
                  <a:cubicBezTo>
                    <a:pt x="447" y="17"/>
                    <a:pt x="449" y="18"/>
                    <a:pt x="450" y="18"/>
                  </a:cubicBezTo>
                  <a:cubicBezTo>
                    <a:pt x="450" y="19"/>
                    <a:pt x="450" y="21"/>
                    <a:pt x="451" y="21"/>
                  </a:cubicBezTo>
                  <a:cubicBezTo>
                    <a:pt x="452" y="22"/>
                    <a:pt x="453" y="22"/>
                    <a:pt x="454" y="22"/>
                  </a:cubicBezTo>
                  <a:cubicBezTo>
                    <a:pt x="454" y="23"/>
                    <a:pt x="453" y="28"/>
                    <a:pt x="453" y="30"/>
                  </a:cubicBezTo>
                  <a:cubicBezTo>
                    <a:pt x="453" y="32"/>
                    <a:pt x="453" y="33"/>
                    <a:pt x="455" y="34"/>
                  </a:cubicBezTo>
                  <a:cubicBezTo>
                    <a:pt x="453" y="35"/>
                    <a:pt x="450" y="37"/>
                    <a:pt x="448" y="38"/>
                  </a:cubicBezTo>
                  <a:cubicBezTo>
                    <a:pt x="448" y="38"/>
                    <a:pt x="447" y="39"/>
                    <a:pt x="447" y="40"/>
                  </a:cubicBezTo>
                  <a:cubicBezTo>
                    <a:pt x="447" y="38"/>
                    <a:pt x="448" y="36"/>
                    <a:pt x="446" y="35"/>
                  </a:cubicBezTo>
                  <a:cubicBezTo>
                    <a:pt x="445" y="35"/>
                    <a:pt x="445" y="35"/>
                    <a:pt x="444" y="35"/>
                  </a:cubicBezTo>
                  <a:cubicBezTo>
                    <a:pt x="442" y="35"/>
                    <a:pt x="442" y="37"/>
                    <a:pt x="440" y="38"/>
                  </a:cubicBezTo>
                  <a:cubicBezTo>
                    <a:pt x="439" y="38"/>
                    <a:pt x="437" y="38"/>
                    <a:pt x="435" y="38"/>
                  </a:cubicBezTo>
                  <a:cubicBezTo>
                    <a:pt x="430" y="38"/>
                    <a:pt x="424" y="37"/>
                    <a:pt x="423" y="36"/>
                  </a:cubicBezTo>
                  <a:cubicBezTo>
                    <a:pt x="422" y="35"/>
                    <a:pt x="422" y="33"/>
                    <a:pt x="421" y="32"/>
                  </a:cubicBezTo>
                  <a:cubicBezTo>
                    <a:pt x="421" y="33"/>
                    <a:pt x="420" y="35"/>
                    <a:pt x="420" y="36"/>
                  </a:cubicBezTo>
                  <a:cubicBezTo>
                    <a:pt x="420" y="36"/>
                    <a:pt x="417" y="34"/>
                    <a:pt x="416" y="34"/>
                  </a:cubicBezTo>
                  <a:cubicBezTo>
                    <a:pt x="416" y="34"/>
                    <a:pt x="415" y="34"/>
                    <a:pt x="415" y="34"/>
                  </a:cubicBezTo>
                  <a:cubicBezTo>
                    <a:pt x="414" y="35"/>
                    <a:pt x="415" y="38"/>
                    <a:pt x="415" y="39"/>
                  </a:cubicBezTo>
                  <a:cubicBezTo>
                    <a:pt x="414" y="39"/>
                    <a:pt x="413" y="39"/>
                    <a:pt x="413" y="39"/>
                  </a:cubicBezTo>
                  <a:cubicBezTo>
                    <a:pt x="412" y="39"/>
                    <a:pt x="412" y="39"/>
                    <a:pt x="412" y="40"/>
                  </a:cubicBezTo>
                  <a:cubicBezTo>
                    <a:pt x="412" y="42"/>
                    <a:pt x="413" y="42"/>
                    <a:pt x="413" y="42"/>
                  </a:cubicBezTo>
                  <a:cubicBezTo>
                    <a:pt x="413" y="44"/>
                    <a:pt x="413" y="44"/>
                    <a:pt x="413" y="45"/>
                  </a:cubicBezTo>
                  <a:cubicBezTo>
                    <a:pt x="413" y="45"/>
                    <a:pt x="410" y="44"/>
                    <a:pt x="410" y="44"/>
                  </a:cubicBezTo>
                  <a:cubicBezTo>
                    <a:pt x="409" y="42"/>
                    <a:pt x="409" y="42"/>
                    <a:pt x="409" y="42"/>
                  </a:cubicBezTo>
                  <a:cubicBezTo>
                    <a:pt x="409" y="42"/>
                    <a:pt x="408" y="40"/>
                    <a:pt x="407" y="40"/>
                  </a:cubicBezTo>
                  <a:cubicBezTo>
                    <a:pt x="406" y="40"/>
                    <a:pt x="406" y="40"/>
                    <a:pt x="406" y="40"/>
                  </a:cubicBezTo>
                  <a:cubicBezTo>
                    <a:pt x="403" y="40"/>
                    <a:pt x="405" y="43"/>
                    <a:pt x="405" y="45"/>
                  </a:cubicBezTo>
                  <a:cubicBezTo>
                    <a:pt x="405" y="46"/>
                    <a:pt x="405" y="46"/>
                    <a:pt x="406" y="47"/>
                  </a:cubicBezTo>
                  <a:cubicBezTo>
                    <a:pt x="404" y="46"/>
                    <a:pt x="403" y="46"/>
                    <a:pt x="403" y="46"/>
                  </a:cubicBezTo>
                  <a:cubicBezTo>
                    <a:pt x="402" y="46"/>
                    <a:pt x="402" y="46"/>
                    <a:pt x="402" y="46"/>
                  </a:cubicBezTo>
                  <a:cubicBezTo>
                    <a:pt x="400" y="47"/>
                    <a:pt x="394" y="52"/>
                    <a:pt x="394" y="54"/>
                  </a:cubicBezTo>
                  <a:cubicBezTo>
                    <a:pt x="393" y="57"/>
                    <a:pt x="397" y="61"/>
                    <a:pt x="398" y="63"/>
                  </a:cubicBezTo>
                  <a:cubicBezTo>
                    <a:pt x="396" y="63"/>
                    <a:pt x="395" y="65"/>
                    <a:pt x="393" y="66"/>
                  </a:cubicBezTo>
                  <a:cubicBezTo>
                    <a:pt x="392" y="67"/>
                    <a:pt x="391" y="67"/>
                    <a:pt x="390" y="67"/>
                  </a:cubicBezTo>
                  <a:cubicBezTo>
                    <a:pt x="389" y="67"/>
                    <a:pt x="388" y="67"/>
                    <a:pt x="388" y="65"/>
                  </a:cubicBezTo>
                  <a:cubicBezTo>
                    <a:pt x="386" y="67"/>
                    <a:pt x="386" y="70"/>
                    <a:pt x="385" y="74"/>
                  </a:cubicBezTo>
                  <a:cubicBezTo>
                    <a:pt x="385" y="75"/>
                    <a:pt x="383" y="79"/>
                    <a:pt x="382" y="79"/>
                  </a:cubicBezTo>
                  <a:cubicBezTo>
                    <a:pt x="382" y="79"/>
                    <a:pt x="382" y="79"/>
                    <a:pt x="381" y="79"/>
                  </a:cubicBezTo>
                  <a:cubicBezTo>
                    <a:pt x="381" y="80"/>
                    <a:pt x="381" y="80"/>
                    <a:pt x="380" y="80"/>
                  </a:cubicBezTo>
                  <a:cubicBezTo>
                    <a:pt x="380" y="80"/>
                    <a:pt x="379" y="80"/>
                    <a:pt x="379" y="80"/>
                  </a:cubicBezTo>
                  <a:cubicBezTo>
                    <a:pt x="378" y="81"/>
                    <a:pt x="377" y="83"/>
                    <a:pt x="377" y="84"/>
                  </a:cubicBezTo>
                  <a:cubicBezTo>
                    <a:pt x="376" y="87"/>
                    <a:pt x="377" y="88"/>
                    <a:pt x="379" y="91"/>
                  </a:cubicBezTo>
                  <a:cubicBezTo>
                    <a:pt x="381" y="93"/>
                    <a:pt x="381" y="94"/>
                    <a:pt x="383" y="96"/>
                  </a:cubicBezTo>
                  <a:cubicBezTo>
                    <a:pt x="384" y="98"/>
                    <a:pt x="388" y="98"/>
                    <a:pt x="390" y="98"/>
                  </a:cubicBezTo>
                  <a:cubicBezTo>
                    <a:pt x="387" y="99"/>
                    <a:pt x="382" y="99"/>
                    <a:pt x="382" y="103"/>
                  </a:cubicBezTo>
                  <a:cubicBezTo>
                    <a:pt x="382" y="103"/>
                    <a:pt x="383" y="104"/>
                    <a:pt x="383" y="105"/>
                  </a:cubicBezTo>
                  <a:cubicBezTo>
                    <a:pt x="383" y="106"/>
                    <a:pt x="386" y="107"/>
                    <a:pt x="384" y="107"/>
                  </a:cubicBezTo>
                  <a:cubicBezTo>
                    <a:pt x="384" y="107"/>
                    <a:pt x="384" y="107"/>
                    <a:pt x="384" y="107"/>
                  </a:cubicBezTo>
                  <a:cubicBezTo>
                    <a:pt x="382" y="107"/>
                    <a:pt x="380" y="102"/>
                    <a:pt x="379" y="102"/>
                  </a:cubicBezTo>
                  <a:cubicBezTo>
                    <a:pt x="378" y="101"/>
                    <a:pt x="377" y="101"/>
                    <a:pt x="376" y="101"/>
                  </a:cubicBezTo>
                  <a:cubicBezTo>
                    <a:pt x="375" y="101"/>
                    <a:pt x="373" y="101"/>
                    <a:pt x="373" y="103"/>
                  </a:cubicBezTo>
                  <a:cubicBezTo>
                    <a:pt x="373" y="105"/>
                    <a:pt x="373" y="105"/>
                    <a:pt x="373" y="105"/>
                  </a:cubicBezTo>
                  <a:cubicBezTo>
                    <a:pt x="373" y="106"/>
                    <a:pt x="373" y="108"/>
                    <a:pt x="372" y="108"/>
                  </a:cubicBezTo>
                  <a:cubicBezTo>
                    <a:pt x="372" y="108"/>
                    <a:pt x="371" y="108"/>
                    <a:pt x="371" y="108"/>
                  </a:cubicBezTo>
                  <a:cubicBezTo>
                    <a:pt x="370" y="106"/>
                    <a:pt x="372" y="104"/>
                    <a:pt x="372" y="103"/>
                  </a:cubicBezTo>
                  <a:cubicBezTo>
                    <a:pt x="371" y="101"/>
                    <a:pt x="369" y="100"/>
                    <a:pt x="367" y="99"/>
                  </a:cubicBezTo>
                  <a:cubicBezTo>
                    <a:pt x="367" y="100"/>
                    <a:pt x="367" y="101"/>
                    <a:pt x="367" y="101"/>
                  </a:cubicBezTo>
                  <a:cubicBezTo>
                    <a:pt x="367" y="98"/>
                    <a:pt x="363" y="98"/>
                    <a:pt x="360" y="98"/>
                  </a:cubicBezTo>
                  <a:cubicBezTo>
                    <a:pt x="359" y="98"/>
                    <a:pt x="357" y="97"/>
                    <a:pt x="356" y="97"/>
                  </a:cubicBezTo>
                  <a:cubicBezTo>
                    <a:pt x="354" y="97"/>
                    <a:pt x="352" y="98"/>
                    <a:pt x="354" y="99"/>
                  </a:cubicBezTo>
                  <a:cubicBezTo>
                    <a:pt x="353" y="100"/>
                    <a:pt x="355" y="104"/>
                    <a:pt x="354" y="104"/>
                  </a:cubicBezTo>
                  <a:cubicBezTo>
                    <a:pt x="353" y="104"/>
                    <a:pt x="353" y="104"/>
                    <a:pt x="352" y="103"/>
                  </a:cubicBezTo>
                  <a:cubicBezTo>
                    <a:pt x="352" y="104"/>
                    <a:pt x="352" y="104"/>
                    <a:pt x="352" y="104"/>
                  </a:cubicBezTo>
                  <a:cubicBezTo>
                    <a:pt x="351" y="103"/>
                    <a:pt x="350" y="103"/>
                    <a:pt x="350" y="103"/>
                  </a:cubicBezTo>
                  <a:cubicBezTo>
                    <a:pt x="346" y="103"/>
                    <a:pt x="351" y="109"/>
                    <a:pt x="351" y="112"/>
                  </a:cubicBezTo>
                  <a:cubicBezTo>
                    <a:pt x="349" y="112"/>
                    <a:pt x="348" y="111"/>
                    <a:pt x="346" y="110"/>
                  </a:cubicBezTo>
                  <a:cubicBezTo>
                    <a:pt x="346" y="112"/>
                    <a:pt x="346" y="114"/>
                    <a:pt x="344" y="115"/>
                  </a:cubicBezTo>
                  <a:cubicBezTo>
                    <a:pt x="346" y="111"/>
                    <a:pt x="345" y="108"/>
                    <a:pt x="346" y="103"/>
                  </a:cubicBezTo>
                  <a:cubicBezTo>
                    <a:pt x="346" y="102"/>
                    <a:pt x="346" y="100"/>
                    <a:pt x="347" y="99"/>
                  </a:cubicBezTo>
                  <a:cubicBezTo>
                    <a:pt x="348" y="98"/>
                    <a:pt x="348" y="98"/>
                    <a:pt x="348" y="98"/>
                  </a:cubicBezTo>
                  <a:cubicBezTo>
                    <a:pt x="348" y="97"/>
                    <a:pt x="348" y="96"/>
                    <a:pt x="349" y="96"/>
                  </a:cubicBezTo>
                  <a:cubicBezTo>
                    <a:pt x="349" y="96"/>
                    <a:pt x="349" y="96"/>
                    <a:pt x="349" y="96"/>
                  </a:cubicBezTo>
                  <a:cubicBezTo>
                    <a:pt x="349" y="94"/>
                    <a:pt x="346" y="92"/>
                    <a:pt x="344" y="91"/>
                  </a:cubicBezTo>
                  <a:cubicBezTo>
                    <a:pt x="340" y="87"/>
                    <a:pt x="335" y="82"/>
                    <a:pt x="331" y="78"/>
                  </a:cubicBezTo>
                  <a:cubicBezTo>
                    <a:pt x="330" y="77"/>
                    <a:pt x="329" y="77"/>
                    <a:pt x="328" y="77"/>
                  </a:cubicBezTo>
                  <a:cubicBezTo>
                    <a:pt x="328" y="77"/>
                    <a:pt x="327" y="77"/>
                    <a:pt x="327" y="77"/>
                  </a:cubicBezTo>
                  <a:cubicBezTo>
                    <a:pt x="326" y="77"/>
                    <a:pt x="326" y="77"/>
                    <a:pt x="325" y="77"/>
                  </a:cubicBezTo>
                  <a:cubicBezTo>
                    <a:pt x="325" y="77"/>
                    <a:pt x="324" y="77"/>
                    <a:pt x="324" y="77"/>
                  </a:cubicBezTo>
                  <a:cubicBezTo>
                    <a:pt x="324" y="77"/>
                    <a:pt x="324" y="77"/>
                    <a:pt x="324" y="77"/>
                  </a:cubicBezTo>
                  <a:cubicBezTo>
                    <a:pt x="324" y="77"/>
                    <a:pt x="324" y="77"/>
                    <a:pt x="324" y="77"/>
                  </a:cubicBezTo>
                  <a:cubicBezTo>
                    <a:pt x="324" y="77"/>
                    <a:pt x="324" y="78"/>
                    <a:pt x="323" y="78"/>
                  </a:cubicBezTo>
                  <a:cubicBezTo>
                    <a:pt x="323" y="78"/>
                    <a:pt x="323" y="78"/>
                    <a:pt x="323" y="77"/>
                  </a:cubicBezTo>
                  <a:cubicBezTo>
                    <a:pt x="321" y="77"/>
                    <a:pt x="320" y="73"/>
                    <a:pt x="319" y="72"/>
                  </a:cubicBezTo>
                  <a:cubicBezTo>
                    <a:pt x="318" y="74"/>
                    <a:pt x="314" y="83"/>
                    <a:pt x="311" y="84"/>
                  </a:cubicBezTo>
                  <a:cubicBezTo>
                    <a:pt x="311" y="84"/>
                    <a:pt x="311" y="84"/>
                    <a:pt x="311" y="84"/>
                  </a:cubicBezTo>
                  <a:cubicBezTo>
                    <a:pt x="310" y="84"/>
                    <a:pt x="308" y="81"/>
                    <a:pt x="309" y="80"/>
                  </a:cubicBezTo>
                  <a:cubicBezTo>
                    <a:pt x="308" y="80"/>
                    <a:pt x="308" y="81"/>
                    <a:pt x="308" y="81"/>
                  </a:cubicBezTo>
                  <a:cubicBezTo>
                    <a:pt x="306" y="81"/>
                    <a:pt x="310" y="77"/>
                    <a:pt x="310" y="77"/>
                  </a:cubicBezTo>
                  <a:cubicBezTo>
                    <a:pt x="309" y="77"/>
                    <a:pt x="309" y="77"/>
                    <a:pt x="309" y="77"/>
                  </a:cubicBezTo>
                  <a:cubicBezTo>
                    <a:pt x="308" y="77"/>
                    <a:pt x="302" y="82"/>
                    <a:pt x="301" y="83"/>
                  </a:cubicBezTo>
                  <a:cubicBezTo>
                    <a:pt x="301" y="81"/>
                    <a:pt x="300" y="80"/>
                    <a:pt x="301" y="79"/>
                  </a:cubicBezTo>
                  <a:cubicBezTo>
                    <a:pt x="301" y="79"/>
                    <a:pt x="301" y="79"/>
                    <a:pt x="301" y="78"/>
                  </a:cubicBezTo>
                  <a:cubicBezTo>
                    <a:pt x="301" y="78"/>
                    <a:pt x="300" y="79"/>
                    <a:pt x="299" y="79"/>
                  </a:cubicBezTo>
                  <a:cubicBezTo>
                    <a:pt x="300" y="78"/>
                    <a:pt x="300" y="77"/>
                    <a:pt x="300" y="77"/>
                  </a:cubicBezTo>
                  <a:cubicBezTo>
                    <a:pt x="299" y="76"/>
                    <a:pt x="299" y="77"/>
                    <a:pt x="299" y="76"/>
                  </a:cubicBezTo>
                  <a:cubicBezTo>
                    <a:pt x="298" y="76"/>
                    <a:pt x="298" y="76"/>
                    <a:pt x="297" y="77"/>
                  </a:cubicBezTo>
                  <a:cubicBezTo>
                    <a:pt x="298" y="77"/>
                    <a:pt x="298" y="78"/>
                    <a:pt x="299" y="79"/>
                  </a:cubicBezTo>
                  <a:cubicBezTo>
                    <a:pt x="298" y="79"/>
                    <a:pt x="297" y="79"/>
                    <a:pt x="296" y="79"/>
                  </a:cubicBezTo>
                  <a:cubicBezTo>
                    <a:pt x="297" y="82"/>
                    <a:pt x="301" y="79"/>
                    <a:pt x="300" y="84"/>
                  </a:cubicBezTo>
                  <a:cubicBezTo>
                    <a:pt x="299" y="85"/>
                    <a:pt x="298" y="88"/>
                    <a:pt x="297" y="89"/>
                  </a:cubicBezTo>
                  <a:cubicBezTo>
                    <a:pt x="298" y="91"/>
                    <a:pt x="298" y="91"/>
                    <a:pt x="298" y="91"/>
                  </a:cubicBezTo>
                  <a:cubicBezTo>
                    <a:pt x="297" y="92"/>
                    <a:pt x="294" y="92"/>
                    <a:pt x="293" y="92"/>
                  </a:cubicBezTo>
                  <a:cubicBezTo>
                    <a:pt x="292" y="91"/>
                    <a:pt x="292" y="90"/>
                    <a:pt x="293" y="89"/>
                  </a:cubicBezTo>
                  <a:cubicBezTo>
                    <a:pt x="292" y="89"/>
                    <a:pt x="292" y="89"/>
                    <a:pt x="292" y="89"/>
                  </a:cubicBezTo>
                  <a:cubicBezTo>
                    <a:pt x="292" y="89"/>
                    <a:pt x="291" y="90"/>
                    <a:pt x="290" y="90"/>
                  </a:cubicBezTo>
                  <a:cubicBezTo>
                    <a:pt x="291" y="89"/>
                    <a:pt x="291" y="88"/>
                    <a:pt x="290" y="88"/>
                  </a:cubicBezTo>
                  <a:cubicBezTo>
                    <a:pt x="290" y="88"/>
                    <a:pt x="289" y="89"/>
                    <a:pt x="289" y="89"/>
                  </a:cubicBezTo>
                  <a:cubicBezTo>
                    <a:pt x="288" y="88"/>
                    <a:pt x="289" y="86"/>
                    <a:pt x="290" y="85"/>
                  </a:cubicBezTo>
                  <a:cubicBezTo>
                    <a:pt x="289" y="85"/>
                    <a:pt x="288" y="84"/>
                    <a:pt x="288" y="84"/>
                  </a:cubicBezTo>
                  <a:cubicBezTo>
                    <a:pt x="287" y="84"/>
                    <a:pt x="287" y="85"/>
                    <a:pt x="288" y="88"/>
                  </a:cubicBezTo>
                  <a:cubicBezTo>
                    <a:pt x="288" y="92"/>
                    <a:pt x="285" y="90"/>
                    <a:pt x="283" y="93"/>
                  </a:cubicBezTo>
                  <a:cubicBezTo>
                    <a:pt x="282" y="92"/>
                    <a:pt x="282" y="92"/>
                    <a:pt x="282" y="92"/>
                  </a:cubicBezTo>
                  <a:cubicBezTo>
                    <a:pt x="282" y="92"/>
                    <a:pt x="282" y="92"/>
                    <a:pt x="281" y="93"/>
                  </a:cubicBezTo>
                  <a:cubicBezTo>
                    <a:pt x="281" y="92"/>
                    <a:pt x="281" y="91"/>
                    <a:pt x="281" y="91"/>
                  </a:cubicBezTo>
                  <a:cubicBezTo>
                    <a:pt x="280" y="92"/>
                    <a:pt x="278" y="93"/>
                    <a:pt x="277" y="95"/>
                  </a:cubicBezTo>
                  <a:cubicBezTo>
                    <a:pt x="277" y="97"/>
                    <a:pt x="277" y="98"/>
                    <a:pt x="278" y="99"/>
                  </a:cubicBezTo>
                  <a:cubicBezTo>
                    <a:pt x="279" y="99"/>
                    <a:pt x="279" y="99"/>
                    <a:pt x="279" y="99"/>
                  </a:cubicBezTo>
                  <a:cubicBezTo>
                    <a:pt x="279" y="99"/>
                    <a:pt x="280" y="99"/>
                    <a:pt x="280" y="100"/>
                  </a:cubicBezTo>
                  <a:cubicBezTo>
                    <a:pt x="281" y="100"/>
                    <a:pt x="280" y="102"/>
                    <a:pt x="280" y="102"/>
                  </a:cubicBezTo>
                  <a:cubicBezTo>
                    <a:pt x="282" y="102"/>
                    <a:pt x="282" y="102"/>
                    <a:pt x="282" y="102"/>
                  </a:cubicBezTo>
                  <a:cubicBezTo>
                    <a:pt x="282" y="102"/>
                    <a:pt x="282" y="103"/>
                    <a:pt x="283" y="103"/>
                  </a:cubicBezTo>
                  <a:cubicBezTo>
                    <a:pt x="283" y="103"/>
                    <a:pt x="283" y="103"/>
                    <a:pt x="283" y="103"/>
                  </a:cubicBezTo>
                  <a:cubicBezTo>
                    <a:pt x="283" y="104"/>
                    <a:pt x="283" y="105"/>
                    <a:pt x="282" y="105"/>
                  </a:cubicBezTo>
                  <a:cubicBezTo>
                    <a:pt x="282" y="105"/>
                    <a:pt x="283" y="106"/>
                    <a:pt x="283" y="106"/>
                  </a:cubicBezTo>
                  <a:cubicBezTo>
                    <a:pt x="283" y="106"/>
                    <a:pt x="283" y="106"/>
                    <a:pt x="283" y="106"/>
                  </a:cubicBezTo>
                  <a:cubicBezTo>
                    <a:pt x="283" y="106"/>
                    <a:pt x="282" y="106"/>
                    <a:pt x="282" y="106"/>
                  </a:cubicBezTo>
                  <a:cubicBezTo>
                    <a:pt x="280" y="106"/>
                    <a:pt x="278" y="104"/>
                    <a:pt x="277" y="103"/>
                  </a:cubicBezTo>
                  <a:cubicBezTo>
                    <a:pt x="276" y="103"/>
                    <a:pt x="276" y="104"/>
                    <a:pt x="276" y="104"/>
                  </a:cubicBezTo>
                  <a:cubicBezTo>
                    <a:pt x="275" y="104"/>
                    <a:pt x="275" y="103"/>
                    <a:pt x="275" y="103"/>
                  </a:cubicBezTo>
                  <a:cubicBezTo>
                    <a:pt x="275" y="102"/>
                    <a:pt x="274" y="102"/>
                    <a:pt x="274" y="102"/>
                  </a:cubicBezTo>
                  <a:cubicBezTo>
                    <a:pt x="274" y="102"/>
                    <a:pt x="274" y="102"/>
                    <a:pt x="273" y="102"/>
                  </a:cubicBezTo>
                  <a:cubicBezTo>
                    <a:pt x="273" y="105"/>
                    <a:pt x="274" y="107"/>
                    <a:pt x="273" y="110"/>
                  </a:cubicBezTo>
                  <a:cubicBezTo>
                    <a:pt x="274" y="110"/>
                    <a:pt x="274" y="110"/>
                    <a:pt x="275" y="110"/>
                  </a:cubicBezTo>
                  <a:cubicBezTo>
                    <a:pt x="277" y="110"/>
                    <a:pt x="275" y="113"/>
                    <a:pt x="277" y="115"/>
                  </a:cubicBezTo>
                  <a:cubicBezTo>
                    <a:pt x="276" y="114"/>
                    <a:pt x="274" y="114"/>
                    <a:pt x="273" y="114"/>
                  </a:cubicBezTo>
                  <a:cubicBezTo>
                    <a:pt x="272" y="113"/>
                    <a:pt x="274" y="114"/>
                    <a:pt x="273" y="113"/>
                  </a:cubicBezTo>
                  <a:cubicBezTo>
                    <a:pt x="272" y="112"/>
                    <a:pt x="271" y="111"/>
                    <a:pt x="270" y="111"/>
                  </a:cubicBezTo>
                  <a:cubicBezTo>
                    <a:pt x="269" y="111"/>
                    <a:pt x="269" y="111"/>
                    <a:pt x="269" y="111"/>
                  </a:cubicBezTo>
                  <a:cubicBezTo>
                    <a:pt x="269" y="110"/>
                    <a:pt x="268" y="110"/>
                    <a:pt x="267" y="110"/>
                  </a:cubicBezTo>
                  <a:cubicBezTo>
                    <a:pt x="267" y="109"/>
                    <a:pt x="266" y="109"/>
                    <a:pt x="266" y="109"/>
                  </a:cubicBezTo>
                  <a:cubicBezTo>
                    <a:pt x="265" y="109"/>
                    <a:pt x="265" y="109"/>
                    <a:pt x="264" y="111"/>
                  </a:cubicBezTo>
                  <a:cubicBezTo>
                    <a:pt x="264" y="112"/>
                    <a:pt x="266" y="112"/>
                    <a:pt x="263" y="113"/>
                  </a:cubicBezTo>
                  <a:cubicBezTo>
                    <a:pt x="263" y="113"/>
                    <a:pt x="262" y="114"/>
                    <a:pt x="262" y="114"/>
                  </a:cubicBezTo>
                  <a:cubicBezTo>
                    <a:pt x="259" y="115"/>
                    <a:pt x="259" y="115"/>
                    <a:pt x="259" y="115"/>
                  </a:cubicBezTo>
                  <a:cubicBezTo>
                    <a:pt x="258" y="119"/>
                    <a:pt x="259" y="123"/>
                    <a:pt x="261" y="127"/>
                  </a:cubicBezTo>
                  <a:cubicBezTo>
                    <a:pt x="262" y="125"/>
                    <a:pt x="263" y="122"/>
                    <a:pt x="265" y="122"/>
                  </a:cubicBezTo>
                  <a:cubicBezTo>
                    <a:pt x="264" y="124"/>
                    <a:pt x="263" y="126"/>
                    <a:pt x="263" y="129"/>
                  </a:cubicBezTo>
                  <a:cubicBezTo>
                    <a:pt x="262" y="129"/>
                    <a:pt x="261" y="128"/>
                    <a:pt x="260" y="128"/>
                  </a:cubicBezTo>
                  <a:cubicBezTo>
                    <a:pt x="260" y="128"/>
                    <a:pt x="260" y="128"/>
                    <a:pt x="260" y="129"/>
                  </a:cubicBezTo>
                  <a:cubicBezTo>
                    <a:pt x="259" y="130"/>
                    <a:pt x="258" y="133"/>
                    <a:pt x="259" y="134"/>
                  </a:cubicBezTo>
                  <a:cubicBezTo>
                    <a:pt x="259" y="135"/>
                    <a:pt x="259" y="135"/>
                    <a:pt x="260" y="135"/>
                  </a:cubicBezTo>
                  <a:cubicBezTo>
                    <a:pt x="260" y="135"/>
                    <a:pt x="260" y="135"/>
                    <a:pt x="261" y="135"/>
                  </a:cubicBezTo>
                  <a:cubicBezTo>
                    <a:pt x="261" y="135"/>
                    <a:pt x="261" y="135"/>
                    <a:pt x="262" y="135"/>
                  </a:cubicBezTo>
                  <a:cubicBezTo>
                    <a:pt x="262" y="135"/>
                    <a:pt x="262" y="135"/>
                    <a:pt x="262" y="135"/>
                  </a:cubicBezTo>
                  <a:cubicBezTo>
                    <a:pt x="265" y="135"/>
                    <a:pt x="267" y="136"/>
                    <a:pt x="270" y="136"/>
                  </a:cubicBezTo>
                  <a:cubicBezTo>
                    <a:pt x="269" y="136"/>
                    <a:pt x="269" y="136"/>
                    <a:pt x="268" y="136"/>
                  </a:cubicBezTo>
                  <a:cubicBezTo>
                    <a:pt x="266" y="136"/>
                    <a:pt x="264" y="136"/>
                    <a:pt x="262" y="136"/>
                  </a:cubicBezTo>
                  <a:cubicBezTo>
                    <a:pt x="261" y="136"/>
                    <a:pt x="260" y="136"/>
                    <a:pt x="260" y="136"/>
                  </a:cubicBezTo>
                  <a:cubicBezTo>
                    <a:pt x="259" y="136"/>
                    <a:pt x="259" y="135"/>
                    <a:pt x="259" y="135"/>
                  </a:cubicBezTo>
                  <a:cubicBezTo>
                    <a:pt x="258" y="135"/>
                    <a:pt x="257" y="136"/>
                    <a:pt x="256" y="136"/>
                  </a:cubicBezTo>
                  <a:cubicBezTo>
                    <a:pt x="255" y="136"/>
                    <a:pt x="255" y="136"/>
                    <a:pt x="255" y="136"/>
                  </a:cubicBezTo>
                  <a:cubicBezTo>
                    <a:pt x="254" y="136"/>
                    <a:pt x="254" y="134"/>
                    <a:pt x="252" y="133"/>
                  </a:cubicBezTo>
                  <a:cubicBezTo>
                    <a:pt x="251" y="132"/>
                    <a:pt x="249" y="133"/>
                    <a:pt x="248" y="132"/>
                  </a:cubicBezTo>
                  <a:cubicBezTo>
                    <a:pt x="249" y="133"/>
                    <a:pt x="249" y="134"/>
                    <a:pt x="249" y="136"/>
                  </a:cubicBezTo>
                  <a:cubicBezTo>
                    <a:pt x="249" y="135"/>
                    <a:pt x="248" y="135"/>
                    <a:pt x="248" y="135"/>
                  </a:cubicBezTo>
                  <a:cubicBezTo>
                    <a:pt x="247" y="135"/>
                    <a:pt x="246" y="135"/>
                    <a:pt x="246" y="136"/>
                  </a:cubicBezTo>
                  <a:cubicBezTo>
                    <a:pt x="247" y="134"/>
                    <a:pt x="245" y="135"/>
                    <a:pt x="245" y="134"/>
                  </a:cubicBezTo>
                  <a:cubicBezTo>
                    <a:pt x="244" y="133"/>
                    <a:pt x="244" y="133"/>
                    <a:pt x="244" y="133"/>
                  </a:cubicBezTo>
                  <a:cubicBezTo>
                    <a:pt x="244" y="133"/>
                    <a:pt x="244" y="132"/>
                    <a:pt x="244" y="132"/>
                  </a:cubicBezTo>
                  <a:cubicBezTo>
                    <a:pt x="244" y="131"/>
                    <a:pt x="244" y="130"/>
                    <a:pt x="242" y="130"/>
                  </a:cubicBezTo>
                  <a:cubicBezTo>
                    <a:pt x="242" y="130"/>
                    <a:pt x="241" y="130"/>
                    <a:pt x="240" y="130"/>
                  </a:cubicBezTo>
                  <a:cubicBezTo>
                    <a:pt x="241" y="132"/>
                    <a:pt x="243" y="135"/>
                    <a:pt x="243" y="136"/>
                  </a:cubicBezTo>
                  <a:cubicBezTo>
                    <a:pt x="243" y="137"/>
                    <a:pt x="242" y="137"/>
                    <a:pt x="241" y="137"/>
                  </a:cubicBezTo>
                  <a:cubicBezTo>
                    <a:pt x="241" y="137"/>
                    <a:pt x="240" y="137"/>
                    <a:pt x="240" y="137"/>
                  </a:cubicBezTo>
                  <a:cubicBezTo>
                    <a:pt x="239" y="137"/>
                    <a:pt x="239" y="137"/>
                    <a:pt x="238" y="137"/>
                  </a:cubicBezTo>
                  <a:cubicBezTo>
                    <a:pt x="238" y="137"/>
                    <a:pt x="238" y="137"/>
                    <a:pt x="238" y="137"/>
                  </a:cubicBezTo>
                  <a:cubicBezTo>
                    <a:pt x="239" y="137"/>
                    <a:pt x="240" y="138"/>
                    <a:pt x="241" y="138"/>
                  </a:cubicBezTo>
                  <a:cubicBezTo>
                    <a:pt x="241" y="138"/>
                    <a:pt x="240" y="138"/>
                    <a:pt x="240" y="138"/>
                  </a:cubicBezTo>
                  <a:cubicBezTo>
                    <a:pt x="240" y="138"/>
                    <a:pt x="239" y="138"/>
                    <a:pt x="239" y="138"/>
                  </a:cubicBezTo>
                  <a:cubicBezTo>
                    <a:pt x="238" y="138"/>
                    <a:pt x="238" y="138"/>
                    <a:pt x="238" y="138"/>
                  </a:cubicBezTo>
                  <a:cubicBezTo>
                    <a:pt x="237" y="138"/>
                    <a:pt x="237" y="138"/>
                    <a:pt x="236" y="139"/>
                  </a:cubicBezTo>
                  <a:cubicBezTo>
                    <a:pt x="237" y="140"/>
                    <a:pt x="238" y="140"/>
                    <a:pt x="239" y="140"/>
                  </a:cubicBezTo>
                  <a:cubicBezTo>
                    <a:pt x="239" y="140"/>
                    <a:pt x="239" y="140"/>
                    <a:pt x="239" y="140"/>
                  </a:cubicBezTo>
                  <a:cubicBezTo>
                    <a:pt x="239" y="140"/>
                    <a:pt x="239" y="140"/>
                    <a:pt x="239" y="140"/>
                  </a:cubicBezTo>
                  <a:cubicBezTo>
                    <a:pt x="239" y="140"/>
                    <a:pt x="239" y="140"/>
                    <a:pt x="239" y="140"/>
                  </a:cubicBezTo>
                  <a:cubicBezTo>
                    <a:pt x="241" y="141"/>
                    <a:pt x="239" y="141"/>
                    <a:pt x="240" y="143"/>
                  </a:cubicBezTo>
                  <a:cubicBezTo>
                    <a:pt x="241" y="144"/>
                    <a:pt x="242" y="144"/>
                    <a:pt x="243" y="145"/>
                  </a:cubicBezTo>
                  <a:cubicBezTo>
                    <a:pt x="244" y="146"/>
                    <a:pt x="244" y="148"/>
                    <a:pt x="245" y="148"/>
                  </a:cubicBezTo>
                  <a:cubicBezTo>
                    <a:pt x="245" y="148"/>
                    <a:pt x="245" y="148"/>
                    <a:pt x="245" y="148"/>
                  </a:cubicBezTo>
                  <a:cubicBezTo>
                    <a:pt x="246" y="148"/>
                    <a:pt x="248" y="147"/>
                    <a:pt x="248" y="146"/>
                  </a:cubicBezTo>
                  <a:cubicBezTo>
                    <a:pt x="248" y="150"/>
                    <a:pt x="243" y="153"/>
                    <a:pt x="247" y="156"/>
                  </a:cubicBezTo>
                  <a:cubicBezTo>
                    <a:pt x="246" y="155"/>
                    <a:pt x="242" y="153"/>
                    <a:pt x="242" y="151"/>
                  </a:cubicBezTo>
                  <a:cubicBezTo>
                    <a:pt x="239" y="154"/>
                    <a:pt x="241" y="154"/>
                    <a:pt x="241" y="155"/>
                  </a:cubicBezTo>
                  <a:cubicBezTo>
                    <a:pt x="241" y="156"/>
                    <a:pt x="240" y="158"/>
                    <a:pt x="240" y="159"/>
                  </a:cubicBezTo>
                  <a:cubicBezTo>
                    <a:pt x="239" y="161"/>
                    <a:pt x="240" y="163"/>
                    <a:pt x="240" y="165"/>
                  </a:cubicBezTo>
                  <a:cubicBezTo>
                    <a:pt x="236" y="161"/>
                    <a:pt x="235" y="155"/>
                    <a:pt x="232" y="151"/>
                  </a:cubicBezTo>
                  <a:cubicBezTo>
                    <a:pt x="231" y="150"/>
                    <a:pt x="230" y="150"/>
                    <a:pt x="230" y="149"/>
                  </a:cubicBezTo>
                  <a:cubicBezTo>
                    <a:pt x="229" y="148"/>
                    <a:pt x="228" y="145"/>
                    <a:pt x="229" y="143"/>
                  </a:cubicBezTo>
                  <a:cubicBezTo>
                    <a:pt x="229" y="144"/>
                    <a:pt x="228" y="144"/>
                    <a:pt x="228" y="144"/>
                  </a:cubicBezTo>
                  <a:cubicBezTo>
                    <a:pt x="227" y="144"/>
                    <a:pt x="227" y="143"/>
                    <a:pt x="227" y="142"/>
                  </a:cubicBezTo>
                  <a:cubicBezTo>
                    <a:pt x="225" y="141"/>
                    <a:pt x="226" y="142"/>
                    <a:pt x="226" y="139"/>
                  </a:cubicBezTo>
                  <a:cubicBezTo>
                    <a:pt x="226" y="139"/>
                    <a:pt x="227" y="136"/>
                    <a:pt x="226" y="136"/>
                  </a:cubicBezTo>
                  <a:cubicBezTo>
                    <a:pt x="226" y="136"/>
                    <a:pt x="226" y="136"/>
                    <a:pt x="226" y="136"/>
                  </a:cubicBezTo>
                  <a:cubicBezTo>
                    <a:pt x="224" y="136"/>
                    <a:pt x="222" y="144"/>
                    <a:pt x="222" y="145"/>
                  </a:cubicBezTo>
                  <a:cubicBezTo>
                    <a:pt x="218" y="146"/>
                    <a:pt x="213" y="145"/>
                    <a:pt x="216" y="150"/>
                  </a:cubicBezTo>
                  <a:cubicBezTo>
                    <a:pt x="216" y="149"/>
                    <a:pt x="215" y="149"/>
                    <a:pt x="214" y="149"/>
                  </a:cubicBezTo>
                  <a:cubicBezTo>
                    <a:pt x="209" y="149"/>
                    <a:pt x="205" y="161"/>
                    <a:pt x="206" y="164"/>
                  </a:cubicBezTo>
                  <a:cubicBezTo>
                    <a:pt x="206" y="166"/>
                    <a:pt x="207" y="168"/>
                    <a:pt x="207" y="169"/>
                  </a:cubicBezTo>
                  <a:cubicBezTo>
                    <a:pt x="207" y="171"/>
                    <a:pt x="207" y="173"/>
                    <a:pt x="207" y="175"/>
                  </a:cubicBezTo>
                  <a:cubicBezTo>
                    <a:pt x="208" y="174"/>
                    <a:pt x="208" y="174"/>
                    <a:pt x="209" y="174"/>
                  </a:cubicBezTo>
                  <a:cubicBezTo>
                    <a:pt x="210" y="174"/>
                    <a:pt x="211" y="175"/>
                    <a:pt x="211" y="177"/>
                  </a:cubicBezTo>
                  <a:cubicBezTo>
                    <a:pt x="210" y="180"/>
                    <a:pt x="202" y="183"/>
                    <a:pt x="200" y="185"/>
                  </a:cubicBezTo>
                  <a:cubicBezTo>
                    <a:pt x="198" y="187"/>
                    <a:pt x="198" y="187"/>
                    <a:pt x="197" y="190"/>
                  </a:cubicBezTo>
                  <a:cubicBezTo>
                    <a:pt x="197" y="192"/>
                    <a:pt x="195" y="193"/>
                    <a:pt x="194" y="195"/>
                  </a:cubicBezTo>
                  <a:cubicBezTo>
                    <a:pt x="192" y="199"/>
                    <a:pt x="190" y="203"/>
                    <a:pt x="188" y="206"/>
                  </a:cubicBezTo>
                  <a:cubicBezTo>
                    <a:pt x="179" y="218"/>
                    <a:pt x="162" y="220"/>
                    <a:pt x="149" y="224"/>
                  </a:cubicBezTo>
                  <a:cubicBezTo>
                    <a:pt x="148" y="224"/>
                    <a:pt x="147" y="225"/>
                    <a:pt x="146" y="225"/>
                  </a:cubicBezTo>
                  <a:cubicBezTo>
                    <a:pt x="146" y="225"/>
                    <a:pt x="146" y="225"/>
                    <a:pt x="146" y="225"/>
                  </a:cubicBezTo>
                  <a:cubicBezTo>
                    <a:pt x="144" y="225"/>
                    <a:pt x="141" y="224"/>
                    <a:pt x="139" y="224"/>
                  </a:cubicBezTo>
                  <a:cubicBezTo>
                    <a:pt x="139" y="224"/>
                    <a:pt x="138" y="223"/>
                    <a:pt x="138" y="223"/>
                  </a:cubicBezTo>
                  <a:cubicBezTo>
                    <a:pt x="135" y="223"/>
                    <a:pt x="134" y="226"/>
                    <a:pt x="131" y="228"/>
                  </a:cubicBezTo>
                  <a:cubicBezTo>
                    <a:pt x="127" y="231"/>
                    <a:pt x="125" y="231"/>
                    <a:pt x="120" y="232"/>
                  </a:cubicBezTo>
                  <a:cubicBezTo>
                    <a:pt x="119" y="232"/>
                    <a:pt x="116" y="233"/>
                    <a:pt x="114" y="233"/>
                  </a:cubicBezTo>
                  <a:cubicBezTo>
                    <a:pt x="113" y="233"/>
                    <a:pt x="113" y="233"/>
                    <a:pt x="113" y="232"/>
                  </a:cubicBezTo>
                  <a:cubicBezTo>
                    <a:pt x="110" y="234"/>
                    <a:pt x="107" y="237"/>
                    <a:pt x="104" y="239"/>
                  </a:cubicBezTo>
                  <a:cubicBezTo>
                    <a:pt x="102" y="241"/>
                    <a:pt x="96" y="241"/>
                    <a:pt x="93" y="241"/>
                  </a:cubicBezTo>
                  <a:cubicBezTo>
                    <a:pt x="92" y="241"/>
                    <a:pt x="92" y="241"/>
                    <a:pt x="91" y="241"/>
                  </a:cubicBezTo>
                  <a:cubicBezTo>
                    <a:pt x="91" y="241"/>
                    <a:pt x="90" y="241"/>
                    <a:pt x="89" y="240"/>
                  </a:cubicBezTo>
                  <a:cubicBezTo>
                    <a:pt x="89" y="240"/>
                    <a:pt x="89" y="239"/>
                    <a:pt x="89" y="239"/>
                  </a:cubicBezTo>
                  <a:cubicBezTo>
                    <a:pt x="89" y="239"/>
                    <a:pt x="89" y="239"/>
                    <a:pt x="89" y="239"/>
                  </a:cubicBezTo>
                  <a:cubicBezTo>
                    <a:pt x="89" y="239"/>
                    <a:pt x="89" y="239"/>
                    <a:pt x="88" y="239"/>
                  </a:cubicBezTo>
                  <a:cubicBezTo>
                    <a:pt x="87" y="239"/>
                    <a:pt x="86" y="239"/>
                    <a:pt x="85" y="239"/>
                  </a:cubicBezTo>
                  <a:cubicBezTo>
                    <a:pt x="83" y="240"/>
                    <a:pt x="82" y="240"/>
                    <a:pt x="81" y="240"/>
                  </a:cubicBezTo>
                  <a:cubicBezTo>
                    <a:pt x="80" y="240"/>
                    <a:pt x="79" y="239"/>
                    <a:pt x="81" y="237"/>
                  </a:cubicBezTo>
                  <a:cubicBezTo>
                    <a:pt x="81" y="237"/>
                    <a:pt x="81" y="237"/>
                    <a:pt x="81" y="237"/>
                  </a:cubicBezTo>
                  <a:cubicBezTo>
                    <a:pt x="79" y="237"/>
                    <a:pt x="76" y="240"/>
                    <a:pt x="74" y="242"/>
                  </a:cubicBezTo>
                  <a:cubicBezTo>
                    <a:pt x="67" y="246"/>
                    <a:pt x="60" y="251"/>
                    <a:pt x="54" y="256"/>
                  </a:cubicBezTo>
                  <a:cubicBezTo>
                    <a:pt x="48" y="260"/>
                    <a:pt x="42" y="263"/>
                    <a:pt x="35" y="266"/>
                  </a:cubicBezTo>
                  <a:cubicBezTo>
                    <a:pt x="34" y="267"/>
                    <a:pt x="31" y="268"/>
                    <a:pt x="30" y="269"/>
                  </a:cubicBezTo>
                  <a:cubicBezTo>
                    <a:pt x="26" y="272"/>
                    <a:pt x="25" y="279"/>
                    <a:pt x="23" y="283"/>
                  </a:cubicBezTo>
                  <a:cubicBezTo>
                    <a:pt x="23" y="284"/>
                    <a:pt x="23" y="284"/>
                    <a:pt x="23" y="284"/>
                  </a:cubicBezTo>
                  <a:cubicBezTo>
                    <a:pt x="22" y="286"/>
                    <a:pt x="19" y="286"/>
                    <a:pt x="18" y="286"/>
                  </a:cubicBezTo>
                  <a:cubicBezTo>
                    <a:pt x="17" y="280"/>
                    <a:pt x="16" y="275"/>
                    <a:pt x="15" y="269"/>
                  </a:cubicBezTo>
                  <a:cubicBezTo>
                    <a:pt x="12" y="273"/>
                    <a:pt x="11" y="277"/>
                    <a:pt x="10" y="281"/>
                  </a:cubicBezTo>
                  <a:cubicBezTo>
                    <a:pt x="9" y="283"/>
                    <a:pt x="7" y="285"/>
                    <a:pt x="6" y="287"/>
                  </a:cubicBezTo>
                  <a:cubicBezTo>
                    <a:pt x="6" y="290"/>
                    <a:pt x="9" y="294"/>
                    <a:pt x="10" y="297"/>
                  </a:cubicBezTo>
                  <a:cubicBezTo>
                    <a:pt x="10" y="300"/>
                    <a:pt x="10" y="308"/>
                    <a:pt x="8" y="311"/>
                  </a:cubicBezTo>
                  <a:cubicBezTo>
                    <a:pt x="7" y="313"/>
                    <a:pt x="5" y="313"/>
                    <a:pt x="4" y="315"/>
                  </a:cubicBezTo>
                  <a:cubicBezTo>
                    <a:pt x="3" y="318"/>
                    <a:pt x="2" y="320"/>
                    <a:pt x="1" y="323"/>
                  </a:cubicBezTo>
                  <a:cubicBezTo>
                    <a:pt x="1" y="324"/>
                    <a:pt x="0" y="326"/>
                    <a:pt x="0" y="328"/>
                  </a:cubicBezTo>
                  <a:cubicBezTo>
                    <a:pt x="0" y="333"/>
                    <a:pt x="5" y="339"/>
                    <a:pt x="7" y="344"/>
                  </a:cubicBezTo>
                  <a:cubicBezTo>
                    <a:pt x="9" y="349"/>
                    <a:pt x="12" y="355"/>
                    <a:pt x="14" y="361"/>
                  </a:cubicBezTo>
                  <a:cubicBezTo>
                    <a:pt x="929" y="361"/>
                    <a:pt x="929" y="361"/>
                    <a:pt x="929" y="361"/>
                  </a:cubicBezTo>
                  <a:cubicBezTo>
                    <a:pt x="929" y="360"/>
                    <a:pt x="929" y="359"/>
                    <a:pt x="930" y="358"/>
                  </a:cubicBezTo>
                  <a:cubicBezTo>
                    <a:pt x="930" y="357"/>
                    <a:pt x="930" y="357"/>
                    <a:pt x="930" y="356"/>
                  </a:cubicBezTo>
                  <a:cubicBezTo>
                    <a:pt x="929" y="354"/>
                    <a:pt x="925" y="353"/>
                    <a:pt x="923" y="353"/>
                  </a:cubicBezTo>
                  <a:cubicBezTo>
                    <a:pt x="921" y="352"/>
                    <a:pt x="920" y="344"/>
                    <a:pt x="918" y="341"/>
                  </a:cubicBezTo>
                  <a:cubicBezTo>
                    <a:pt x="917" y="340"/>
                    <a:pt x="914" y="338"/>
                    <a:pt x="912" y="337"/>
                  </a:cubicBezTo>
                  <a:cubicBezTo>
                    <a:pt x="910" y="336"/>
                    <a:pt x="909" y="334"/>
                    <a:pt x="908" y="332"/>
                  </a:cubicBezTo>
                  <a:cubicBezTo>
                    <a:pt x="908" y="330"/>
                    <a:pt x="907" y="329"/>
                    <a:pt x="906" y="328"/>
                  </a:cubicBezTo>
                  <a:cubicBezTo>
                    <a:pt x="905" y="325"/>
                    <a:pt x="904" y="324"/>
                    <a:pt x="901" y="324"/>
                  </a:cubicBezTo>
                  <a:cubicBezTo>
                    <a:pt x="901" y="324"/>
                    <a:pt x="900" y="324"/>
                    <a:pt x="900" y="324"/>
                  </a:cubicBezTo>
                  <a:cubicBezTo>
                    <a:pt x="900" y="324"/>
                    <a:pt x="900" y="324"/>
                    <a:pt x="900" y="324"/>
                  </a:cubicBezTo>
                  <a:cubicBezTo>
                    <a:pt x="898" y="324"/>
                    <a:pt x="897" y="322"/>
                    <a:pt x="895" y="321"/>
                  </a:cubicBezTo>
                  <a:cubicBezTo>
                    <a:pt x="893" y="319"/>
                    <a:pt x="892" y="317"/>
                    <a:pt x="891" y="317"/>
                  </a:cubicBezTo>
                  <a:cubicBezTo>
                    <a:pt x="890" y="317"/>
                    <a:pt x="890" y="317"/>
                    <a:pt x="890" y="317"/>
                  </a:cubicBezTo>
                  <a:cubicBezTo>
                    <a:pt x="888" y="313"/>
                    <a:pt x="884" y="314"/>
                    <a:pt x="881" y="311"/>
                  </a:cubicBezTo>
                  <a:cubicBezTo>
                    <a:pt x="880" y="309"/>
                    <a:pt x="880" y="304"/>
                    <a:pt x="879" y="301"/>
                  </a:cubicBezTo>
                  <a:cubicBezTo>
                    <a:pt x="879" y="299"/>
                    <a:pt x="880" y="298"/>
                    <a:pt x="879" y="296"/>
                  </a:cubicBezTo>
                  <a:cubicBezTo>
                    <a:pt x="882" y="296"/>
                    <a:pt x="879" y="288"/>
                    <a:pt x="880" y="286"/>
                  </a:cubicBezTo>
                  <a:cubicBezTo>
                    <a:pt x="879" y="287"/>
                    <a:pt x="879" y="288"/>
                    <a:pt x="879" y="288"/>
                  </a:cubicBezTo>
                  <a:cubicBezTo>
                    <a:pt x="878" y="288"/>
                    <a:pt x="878" y="287"/>
                    <a:pt x="877" y="286"/>
                  </a:cubicBezTo>
                  <a:cubicBezTo>
                    <a:pt x="877" y="285"/>
                    <a:pt x="877" y="285"/>
                    <a:pt x="877" y="285"/>
                  </a:cubicBezTo>
                  <a:cubicBezTo>
                    <a:pt x="878" y="285"/>
                    <a:pt x="878" y="285"/>
                    <a:pt x="878" y="285"/>
                  </a:cubicBezTo>
                  <a:cubicBezTo>
                    <a:pt x="878" y="285"/>
                    <a:pt x="878" y="285"/>
                    <a:pt x="878" y="285"/>
                  </a:cubicBezTo>
                  <a:cubicBezTo>
                    <a:pt x="879" y="285"/>
                    <a:pt x="879" y="285"/>
                    <a:pt x="879" y="285"/>
                  </a:cubicBezTo>
                  <a:cubicBezTo>
                    <a:pt x="879" y="284"/>
                    <a:pt x="878" y="284"/>
                    <a:pt x="877" y="282"/>
                  </a:cubicBezTo>
                  <a:cubicBezTo>
                    <a:pt x="874" y="284"/>
                    <a:pt x="874" y="285"/>
                    <a:pt x="876" y="288"/>
                  </a:cubicBezTo>
                  <a:cubicBezTo>
                    <a:pt x="873" y="287"/>
                    <a:pt x="871" y="285"/>
                    <a:pt x="869" y="283"/>
                  </a:cubicBezTo>
                  <a:cubicBezTo>
                    <a:pt x="866" y="282"/>
                    <a:pt x="867" y="282"/>
                    <a:pt x="866" y="281"/>
                  </a:cubicBezTo>
                  <a:cubicBezTo>
                    <a:pt x="865" y="280"/>
                    <a:pt x="864" y="278"/>
                    <a:pt x="863" y="277"/>
                  </a:cubicBezTo>
                  <a:cubicBezTo>
                    <a:pt x="861" y="281"/>
                    <a:pt x="861" y="285"/>
                    <a:pt x="862" y="289"/>
                  </a:cubicBezTo>
                  <a:cubicBezTo>
                    <a:pt x="860" y="287"/>
                    <a:pt x="858" y="284"/>
                    <a:pt x="856" y="284"/>
                  </a:cubicBezTo>
                  <a:cubicBezTo>
                    <a:pt x="855" y="284"/>
                    <a:pt x="855" y="285"/>
                    <a:pt x="854" y="285"/>
                  </a:cubicBezTo>
                  <a:cubicBezTo>
                    <a:pt x="851" y="278"/>
                    <a:pt x="851" y="271"/>
                    <a:pt x="848" y="264"/>
                  </a:cubicBezTo>
                  <a:cubicBezTo>
                    <a:pt x="847" y="261"/>
                    <a:pt x="844" y="258"/>
                    <a:pt x="843" y="254"/>
                  </a:cubicBezTo>
                  <a:cubicBezTo>
                    <a:pt x="843" y="250"/>
                    <a:pt x="843" y="250"/>
                    <a:pt x="840" y="249"/>
                  </a:cubicBezTo>
                  <a:cubicBezTo>
                    <a:pt x="836" y="246"/>
                    <a:pt x="834" y="245"/>
                    <a:pt x="831" y="241"/>
                  </a:cubicBezTo>
                  <a:cubicBezTo>
                    <a:pt x="831" y="240"/>
                    <a:pt x="832" y="235"/>
                    <a:pt x="833" y="235"/>
                  </a:cubicBezTo>
                  <a:cubicBezTo>
                    <a:pt x="833" y="235"/>
                    <a:pt x="833" y="235"/>
                    <a:pt x="833" y="235"/>
                  </a:cubicBezTo>
                  <a:cubicBezTo>
                    <a:pt x="834" y="235"/>
                    <a:pt x="834" y="235"/>
                    <a:pt x="834" y="236"/>
                  </a:cubicBezTo>
                  <a:cubicBezTo>
                    <a:pt x="835" y="236"/>
                    <a:pt x="835" y="237"/>
                    <a:pt x="836" y="237"/>
                  </a:cubicBezTo>
                  <a:cubicBezTo>
                    <a:pt x="836" y="237"/>
                    <a:pt x="836" y="237"/>
                    <a:pt x="836" y="237"/>
                  </a:cubicBezTo>
                  <a:cubicBezTo>
                    <a:pt x="833" y="233"/>
                    <a:pt x="830" y="230"/>
                    <a:pt x="828" y="225"/>
                  </a:cubicBezTo>
                  <a:cubicBezTo>
                    <a:pt x="826" y="226"/>
                    <a:pt x="824" y="227"/>
                    <a:pt x="825" y="228"/>
                  </a:cubicBezTo>
                  <a:cubicBezTo>
                    <a:pt x="825" y="228"/>
                    <a:pt x="825" y="229"/>
                    <a:pt x="824" y="229"/>
                  </a:cubicBezTo>
                  <a:cubicBezTo>
                    <a:pt x="823" y="229"/>
                    <a:pt x="822" y="224"/>
                    <a:pt x="820" y="223"/>
                  </a:cubicBezTo>
                  <a:cubicBezTo>
                    <a:pt x="818" y="221"/>
                    <a:pt x="815" y="220"/>
                    <a:pt x="812" y="218"/>
                  </a:cubicBezTo>
                  <a:cubicBezTo>
                    <a:pt x="811" y="218"/>
                    <a:pt x="810" y="217"/>
                    <a:pt x="810" y="217"/>
                  </a:cubicBezTo>
                  <a:cubicBezTo>
                    <a:pt x="809" y="217"/>
                    <a:pt x="809" y="218"/>
                    <a:pt x="807" y="220"/>
                  </a:cubicBezTo>
                  <a:cubicBezTo>
                    <a:pt x="805" y="216"/>
                    <a:pt x="804" y="214"/>
                    <a:pt x="802" y="211"/>
                  </a:cubicBezTo>
                  <a:cubicBezTo>
                    <a:pt x="802" y="210"/>
                    <a:pt x="802" y="208"/>
                    <a:pt x="801" y="207"/>
                  </a:cubicBezTo>
                  <a:cubicBezTo>
                    <a:pt x="801" y="207"/>
                    <a:pt x="801" y="207"/>
                    <a:pt x="800" y="207"/>
                  </a:cubicBezTo>
                  <a:cubicBezTo>
                    <a:pt x="800" y="207"/>
                    <a:pt x="799" y="208"/>
                    <a:pt x="799" y="208"/>
                  </a:cubicBezTo>
                  <a:cubicBezTo>
                    <a:pt x="798" y="209"/>
                    <a:pt x="797" y="210"/>
                    <a:pt x="797" y="210"/>
                  </a:cubicBezTo>
                  <a:cubicBezTo>
                    <a:pt x="797" y="210"/>
                    <a:pt x="797" y="210"/>
                    <a:pt x="797" y="210"/>
                  </a:cubicBezTo>
                  <a:cubicBezTo>
                    <a:pt x="795" y="209"/>
                    <a:pt x="793" y="208"/>
                    <a:pt x="792" y="207"/>
                  </a:cubicBezTo>
                  <a:cubicBezTo>
                    <a:pt x="792" y="207"/>
                    <a:pt x="792" y="205"/>
                    <a:pt x="792" y="204"/>
                  </a:cubicBezTo>
                  <a:cubicBezTo>
                    <a:pt x="791" y="204"/>
                    <a:pt x="791" y="204"/>
                    <a:pt x="791" y="204"/>
                  </a:cubicBezTo>
                  <a:cubicBezTo>
                    <a:pt x="791" y="204"/>
                    <a:pt x="790" y="205"/>
                    <a:pt x="789" y="205"/>
                  </a:cubicBezTo>
                  <a:cubicBezTo>
                    <a:pt x="789" y="206"/>
                    <a:pt x="788" y="207"/>
                    <a:pt x="788" y="207"/>
                  </a:cubicBezTo>
                  <a:cubicBezTo>
                    <a:pt x="788" y="207"/>
                    <a:pt x="788" y="207"/>
                    <a:pt x="788" y="207"/>
                  </a:cubicBezTo>
                  <a:cubicBezTo>
                    <a:pt x="785" y="205"/>
                    <a:pt x="781" y="203"/>
                    <a:pt x="779" y="201"/>
                  </a:cubicBezTo>
                  <a:cubicBezTo>
                    <a:pt x="775" y="198"/>
                    <a:pt x="774" y="198"/>
                    <a:pt x="774" y="193"/>
                  </a:cubicBezTo>
                  <a:cubicBezTo>
                    <a:pt x="775" y="192"/>
                    <a:pt x="775" y="191"/>
                    <a:pt x="775" y="190"/>
                  </a:cubicBezTo>
                  <a:cubicBezTo>
                    <a:pt x="775" y="187"/>
                    <a:pt x="769" y="185"/>
                    <a:pt x="769" y="182"/>
                  </a:cubicBezTo>
                  <a:cubicBezTo>
                    <a:pt x="769" y="176"/>
                    <a:pt x="770" y="168"/>
                    <a:pt x="769" y="161"/>
                  </a:cubicBezTo>
                  <a:cubicBezTo>
                    <a:pt x="768" y="158"/>
                    <a:pt x="766" y="155"/>
                    <a:pt x="766" y="152"/>
                  </a:cubicBezTo>
                  <a:cubicBezTo>
                    <a:pt x="766" y="152"/>
                    <a:pt x="766" y="149"/>
                    <a:pt x="766" y="149"/>
                  </a:cubicBezTo>
                  <a:cubicBezTo>
                    <a:pt x="765" y="149"/>
                    <a:pt x="766" y="149"/>
                    <a:pt x="766" y="148"/>
                  </a:cubicBezTo>
                  <a:cubicBezTo>
                    <a:pt x="765" y="149"/>
                    <a:pt x="763" y="149"/>
                    <a:pt x="762" y="150"/>
                  </a:cubicBezTo>
                  <a:cubicBezTo>
                    <a:pt x="763" y="146"/>
                    <a:pt x="756" y="142"/>
                    <a:pt x="755" y="139"/>
                  </a:cubicBezTo>
                  <a:cubicBezTo>
                    <a:pt x="754" y="138"/>
                    <a:pt x="754" y="138"/>
                    <a:pt x="753" y="137"/>
                  </a:cubicBezTo>
                  <a:cubicBezTo>
                    <a:pt x="752" y="133"/>
                    <a:pt x="753" y="129"/>
                    <a:pt x="753" y="126"/>
                  </a:cubicBezTo>
                  <a:cubicBezTo>
                    <a:pt x="752" y="120"/>
                    <a:pt x="749" y="114"/>
                    <a:pt x="750" y="110"/>
                  </a:cubicBezTo>
                  <a:cubicBezTo>
                    <a:pt x="751" y="108"/>
                    <a:pt x="752" y="110"/>
                    <a:pt x="751" y="107"/>
                  </a:cubicBezTo>
                  <a:cubicBezTo>
                    <a:pt x="749" y="104"/>
                    <a:pt x="751" y="104"/>
                    <a:pt x="751" y="103"/>
                  </a:cubicBezTo>
                  <a:cubicBezTo>
                    <a:pt x="751" y="101"/>
                    <a:pt x="749" y="100"/>
                    <a:pt x="747" y="99"/>
                  </a:cubicBezTo>
                  <a:cubicBezTo>
                    <a:pt x="745" y="98"/>
                    <a:pt x="745" y="98"/>
                    <a:pt x="743" y="97"/>
                  </a:cubicBezTo>
                  <a:cubicBezTo>
                    <a:pt x="742" y="96"/>
                    <a:pt x="739" y="94"/>
                    <a:pt x="738" y="92"/>
                  </a:cubicBezTo>
                  <a:cubicBezTo>
                    <a:pt x="738" y="92"/>
                    <a:pt x="736" y="92"/>
                    <a:pt x="735" y="91"/>
                  </a:cubicBezTo>
                  <a:cubicBezTo>
                    <a:pt x="733" y="89"/>
                    <a:pt x="732" y="86"/>
                    <a:pt x="731" y="84"/>
                  </a:cubicBezTo>
                  <a:cubicBezTo>
                    <a:pt x="730" y="85"/>
                    <a:pt x="729" y="86"/>
                    <a:pt x="728" y="86"/>
                  </a:cubicBezTo>
                  <a:cubicBezTo>
                    <a:pt x="728" y="86"/>
                    <a:pt x="728" y="86"/>
                    <a:pt x="728" y="86"/>
                  </a:cubicBezTo>
                  <a:cubicBezTo>
                    <a:pt x="727" y="86"/>
                    <a:pt x="727" y="86"/>
                    <a:pt x="726" y="85"/>
                  </a:cubicBezTo>
                  <a:cubicBezTo>
                    <a:pt x="726" y="85"/>
                    <a:pt x="726" y="85"/>
                    <a:pt x="725" y="85"/>
                  </a:cubicBezTo>
                  <a:cubicBezTo>
                    <a:pt x="725" y="85"/>
                    <a:pt x="725" y="85"/>
                    <a:pt x="725" y="85"/>
                  </a:cubicBezTo>
                  <a:cubicBezTo>
                    <a:pt x="724" y="85"/>
                    <a:pt x="724" y="88"/>
                    <a:pt x="722" y="89"/>
                  </a:cubicBezTo>
                  <a:cubicBezTo>
                    <a:pt x="721" y="90"/>
                    <a:pt x="720" y="91"/>
                    <a:pt x="719" y="91"/>
                  </a:cubicBezTo>
                  <a:cubicBezTo>
                    <a:pt x="718" y="91"/>
                    <a:pt x="717" y="90"/>
                    <a:pt x="716" y="90"/>
                  </a:cubicBezTo>
                  <a:cubicBezTo>
                    <a:pt x="714" y="88"/>
                    <a:pt x="714" y="83"/>
                    <a:pt x="713" y="80"/>
                  </a:cubicBezTo>
                  <a:cubicBezTo>
                    <a:pt x="712" y="74"/>
                    <a:pt x="711" y="67"/>
                    <a:pt x="709" y="61"/>
                  </a:cubicBezTo>
                  <a:cubicBezTo>
                    <a:pt x="709" y="58"/>
                    <a:pt x="707" y="53"/>
                    <a:pt x="709" y="51"/>
                  </a:cubicBezTo>
                  <a:cubicBezTo>
                    <a:pt x="709" y="51"/>
                    <a:pt x="709" y="51"/>
                    <a:pt x="709" y="51"/>
                  </a:cubicBezTo>
                  <a:cubicBezTo>
                    <a:pt x="707" y="51"/>
                    <a:pt x="706" y="51"/>
                    <a:pt x="705" y="52"/>
                  </a:cubicBezTo>
                  <a:cubicBezTo>
                    <a:pt x="706" y="47"/>
                    <a:pt x="707" y="46"/>
                    <a:pt x="704" y="43"/>
                  </a:cubicBezTo>
                  <a:cubicBezTo>
                    <a:pt x="703" y="41"/>
                    <a:pt x="702" y="40"/>
                    <a:pt x="701" y="39"/>
                  </a:cubicBezTo>
                  <a:cubicBezTo>
                    <a:pt x="701" y="39"/>
                    <a:pt x="701" y="39"/>
                    <a:pt x="700" y="39"/>
                  </a:cubicBezTo>
                  <a:cubicBezTo>
                    <a:pt x="700" y="39"/>
                    <a:pt x="700" y="39"/>
                    <a:pt x="700" y="39"/>
                  </a:cubicBezTo>
                  <a:cubicBezTo>
                    <a:pt x="700" y="39"/>
                    <a:pt x="700" y="39"/>
                    <a:pt x="699" y="39"/>
                  </a:cubicBezTo>
                  <a:cubicBezTo>
                    <a:pt x="699" y="39"/>
                    <a:pt x="699" y="39"/>
                    <a:pt x="699" y="39"/>
                  </a:cubicBezTo>
                  <a:cubicBezTo>
                    <a:pt x="698" y="37"/>
                    <a:pt x="699" y="31"/>
                    <a:pt x="702" y="30"/>
                  </a:cubicBezTo>
                  <a:cubicBezTo>
                    <a:pt x="699" y="28"/>
                    <a:pt x="697" y="30"/>
                    <a:pt x="694" y="28"/>
                  </a:cubicBezTo>
                  <a:cubicBezTo>
                    <a:pt x="692" y="25"/>
                    <a:pt x="692" y="18"/>
                    <a:pt x="691" y="14"/>
                  </a:cubicBezTo>
                  <a:cubicBezTo>
                    <a:pt x="691" y="12"/>
                    <a:pt x="690" y="5"/>
                    <a:pt x="687" y="5"/>
                  </a:cubicBezTo>
                  <a:cubicBezTo>
                    <a:pt x="687" y="5"/>
                    <a:pt x="686" y="5"/>
                    <a:pt x="685" y="6"/>
                  </a:cubicBezTo>
                  <a:cubicBezTo>
                    <a:pt x="686" y="3"/>
                    <a:pt x="689" y="2"/>
                    <a:pt x="685" y="0"/>
                  </a:cubicBezTo>
                  <a:cubicBezTo>
                    <a:pt x="685" y="0"/>
                    <a:pt x="685" y="0"/>
                    <a:pt x="6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1" name="Freeform 1480">
              <a:extLst>
                <a:ext uri="{FF2B5EF4-FFF2-40B4-BE49-F238E27FC236}">
                  <a16:creationId xmlns:a16="http://schemas.microsoft.com/office/drawing/2014/main" id="{37DFEFD5-93ED-471D-A1AC-D30DB8AD7C64}"/>
                </a:ext>
              </a:extLst>
            </p:cNvPr>
            <p:cNvSpPr>
              <a:spLocks/>
            </p:cNvSpPr>
            <p:nvPr/>
          </p:nvSpPr>
          <p:spPr bwMode="auto">
            <a:xfrm>
              <a:off x="2366538" y="4294137"/>
              <a:ext cx="13423" cy="16108"/>
            </a:xfrm>
            <a:custGeom>
              <a:avLst/>
              <a:gdLst>
                <a:gd name="T0" fmla="*/ 4 w 4"/>
                <a:gd name="T1" fmla="*/ 0 h 5"/>
                <a:gd name="T2" fmla="*/ 2 w 4"/>
                <a:gd name="T3" fmla="*/ 5 h 5"/>
                <a:gd name="T4" fmla="*/ 4 w 4"/>
                <a:gd name="T5" fmla="*/ 0 h 5"/>
              </a:gdLst>
              <a:ahLst/>
              <a:cxnLst>
                <a:cxn ang="0">
                  <a:pos x="T0" y="T1"/>
                </a:cxn>
                <a:cxn ang="0">
                  <a:pos x="T2" y="T3"/>
                </a:cxn>
                <a:cxn ang="0">
                  <a:pos x="T4" y="T5"/>
                </a:cxn>
              </a:cxnLst>
              <a:rect l="0" t="0" r="r" b="b"/>
              <a:pathLst>
                <a:path w="4" h="5">
                  <a:moveTo>
                    <a:pt x="4" y="0"/>
                  </a:moveTo>
                  <a:cubicBezTo>
                    <a:pt x="0" y="1"/>
                    <a:pt x="3" y="4"/>
                    <a:pt x="2" y="5"/>
                  </a:cubicBezTo>
                  <a:cubicBezTo>
                    <a:pt x="3"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2" name="Freeform 1481">
              <a:extLst>
                <a:ext uri="{FF2B5EF4-FFF2-40B4-BE49-F238E27FC236}">
                  <a16:creationId xmlns:a16="http://schemas.microsoft.com/office/drawing/2014/main" id="{2B699F7E-F85B-451D-A4CE-062779C64264}"/>
                </a:ext>
              </a:extLst>
            </p:cNvPr>
            <p:cNvSpPr>
              <a:spLocks/>
            </p:cNvSpPr>
            <p:nvPr/>
          </p:nvSpPr>
          <p:spPr bwMode="auto">
            <a:xfrm>
              <a:off x="2382646" y="4354542"/>
              <a:ext cx="9396" cy="12081"/>
            </a:xfrm>
            <a:custGeom>
              <a:avLst/>
              <a:gdLst>
                <a:gd name="T0" fmla="*/ 3 w 3"/>
                <a:gd name="T1" fmla="*/ 0 h 4"/>
                <a:gd name="T2" fmla="*/ 1 w 3"/>
                <a:gd name="T3" fmla="*/ 4 h 4"/>
                <a:gd name="T4" fmla="*/ 3 w 3"/>
                <a:gd name="T5" fmla="*/ 0 h 4"/>
              </a:gdLst>
              <a:ahLst/>
              <a:cxnLst>
                <a:cxn ang="0">
                  <a:pos x="T0" y="T1"/>
                </a:cxn>
                <a:cxn ang="0">
                  <a:pos x="T2" y="T3"/>
                </a:cxn>
                <a:cxn ang="0">
                  <a:pos x="T4" y="T5"/>
                </a:cxn>
              </a:cxnLst>
              <a:rect l="0" t="0" r="r" b="b"/>
              <a:pathLst>
                <a:path w="3" h="4">
                  <a:moveTo>
                    <a:pt x="3" y="0"/>
                  </a:moveTo>
                  <a:cubicBezTo>
                    <a:pt x="1" y="1"/>
                    <a:pt x="0" y="2"/>
                    <a:pt x="1" y="4"/>
                  </a:cubicBezTo>
                  <a:cubicBezTo>
                    <a:pt x="1"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3" name="Freeform 1482">
              <a:extLst>
                <a:ext uri="{FF2B5EF4-FFF2-40B4-BE49-F238E27FC236}">
                  <a16:creationId xmlns:a16="http://schemas.microsoft.com/office/drawing/2014/main" id="{B0D8B029-AB6A-40EF-A873-7A869B8BE14E}"/>
                </a:ext>
              </a:extLst>
            </p:cNvPr>
            <p:cNvSpPr>
              <a:spLocks/>
            </p:cNvSpPr>
            <p:nvPr/>
          </p:nvSpPr>
          <p:spPr bwMode="auto">
            <a:xfrm>
              <a:off x="2312844" y="3935733"/>
              <a:ext cx="6712" cy="12081"/>
            </a:xfrm>
            <a:custGeom>
              <a:avLst/>
              <a:gdLst>
                <a:gd name="T0" fmla="*/ 2 w 2"/>
                <a:gd name="T1" fmla="*/ 0 h 4"/>
                <a:gd name="T2" fmla="*/ 1 w 2"/>
                <a:gd name="T3" fmla="*/ 3 h 4"/>
                <a:gd name="T4" fmla="*/ 1 w 2"/>
                <a:gd name="T5" fmla="*/ 4 h 4"/>
                <a:gd name="T6" fmla="*/ 1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1" y="1"/>
                    <a:pt x="0" y="2"/>
                    <a:pt x="1" y="3"/>
                  </a:cubicBezTo>
                  <a:cubicBezTo>
                    <a:pt x="1" y="4"/>
                    <a:pt x="1" y="4"/>
                    <a:pt x="1" y="4"/>
                  </a:cubicBezTo>
                  <a:cubicBezTo>
                    <a:pt x="1" y="4"/>
                    <a:pt x="1" y="3"/>
                    <a:pt x="1" y="2"/>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4" name="Freeform 1483">
              <a:extLst>
                <a:ext uri="{FF2B5EF4-FFF2-40B4-BE49-F238E27FC236}">
                  <a16:creationId xmlns:a16="http://schemas.microsoft.com/office/drawing/2014/main" id="{5E719184-2B92-45B8-9070-63EE200E30B5}"/>
                </a:ext>
              </a:extLst>
            </p:cNvPr>
            <p:cNvSpPr>
              <a:spLocks/>
            </p:cNvSpPr>
            <p:nvPr/>
          </p:nvSpPr>
          <p:spPr bwMode="auto">
            <a:xfrm>
              <a:off x="2345060" y="4287425"/>
              <a:ext cx="5369" cy="6712"/>
            </a:xfrm>
            <a:custGeom>
              <a:avLst/>
              <a:gdLst>
                <a:gd name="T0" fmla="*/ 0 w 2"/>
                <a:gd name="T1" fmla="*/ 0 h 2"/>
                <a:gd name="T2" fmla="*/ 1 w 2"/>
                <a:gd name="T3" fmla="*/ 1 h 2"/>
                <a:gd name="T4" fmla="*/ 2 w 2"/>
                <a:gd name="T5" fmla="*/ 2 h 2"/>
                <a:gd name="T6" fmla="*/ 1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1" y="1"/>
                    <a:pt x="1" y="1"/>
                    <a:pt x="1" y="1"/>
                  </a:cubicBezTo>
                  <a:cubicBezTo>
                    <a:pt x="1" y="1"/>
                    <a:pt x="2" y="2"/>
                    <a:pt x="2" y="2"/>
                  </a:cubicBezTo>
                  <a:cubicBezTo>
                    <a:pt x="2" y="2"/>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5" name="Freeform 1484">
              <a:extLst>
                <a:ext uri="{FF2B5EF4-FFF2-40B4-BE49-F238E27FC236}">
                  <a16:creationId xmlns:a16="http://schemas.microsoft.com/office/drawing/2014/main" id="{BB72F74C-61E4-49A2-9E87-97B9063AFFA4}"/>
                </a:ext>
              </a:extLst>
            </p:cNvPr>
            <p:cNvSpPr>
              <a:spLocks/>
            </p:cNvSpPr>
            <p:nvPr/>
          </p:nvSpPr>
          <p:spPr bwMode="auto">
            <a:xfrm>
              <a:off x="2290025" y="4094128"/>
              <a:ext cx="16108" cy="28189"/>
            </a:xfrm>
            <a:custGeom>
              <a:avLst/>
              <a:gdLst>
                <a:gd name="T0" fmla="*/ 3 w 5"/>
                <a:gd name="T1" fmla="*/ 0 h 9"/>
                <a:gd name="T2" fmla="*/ 0 w 5"/>
                <a:gd name="T3" fmla="*/ 3 h 9"/>
                <a:gd name="T4" fmla="*/ 0 w 5"/>
                <a:gd name="T5" fmla="*/ 6 h 9"/>
                <a:gd name="T6" fmla="*/ 0 w 5"/>
                <a:gd name="T7" fmla="*/ 7 h 9"/>
                <a:gd name="T8" fmla="*/ 2 w 5"/>
                <a:gd name="T9" fmla="*/ 9 h 9"/>
                <a:gd name="T10" fmla="*/ 5 w 5"/>
                <a:gd name="T11" fmla="*/ 2 h 9"/>
                <a:gd name="T12" fmla="*/ 5 w 5"/>
                <a:gd name="T13" fmla="*/ 2 h 9"/>
                <a:gd name="T14" fmla="*/ 3 w 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0"/>
                  </a:moveTo>
                  <a:cubicBezTo>
                    <a:pt x="2" y="0"/>
                    <a:pt x="0" y="2"/>
                    <a:pt x="0" y="3"/>
                  </a:cubicBezTo>
                  <a:cubicBezTo>
                    <a:pt x="0" y="4"/>
                    <a:pt x="0" y="5"/>
                    <a:pt x="0" y="6"/>
                  </a:cubicBezTo>
                  <a:cubicBezTo>
                    <a:pt x="0" y="7"/>
                    <a:pt x="0" y="7"/>
                    <a:pt x="0" y="7"/>
                  </a:cubicBezTo>
                  <a:cubicBezTo>
                    <a:pt x="1" y="8"/>
                    <a:pt x="2" y="9"/>
                    <a:pt x="2" y="9"/>
                  </a:cubicBezTo>
                  <a:cubicBezTo>
                    <a:pt x="4" y="9"/>
                    <a:pt x="4" y="4"/>
                    <a:pt x="5" y="2"/>
                  </a:cubicBezTo>
                  <a:cubicBezTo>
                    <a:pt x="5" y="2"/>
                    <a:pt x="5" y="2"/>
                    <a:pt x="5" y="2"/>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6" name="Freeform 1485">
              <a:extLst>
                <a:ext uri="{FF2B5EF4-FFF2-40B4-BE49-F238E27FC236}">
                  <a16:creationId xmlns:a16="http://schemas.microsoft.com/office/drawing/2014/main" id="{E2A22686-449F-4B80-B046-FEDB4744C67B}"/>
                </a:ext>
              </a:extLst>
            </p:cNvPr>
            <p:cNvSpPr>
              <a:spLocks/>
            </p:cNvSpPr>
            <p:nvPr/>
          </p:nvSpPr>
          <p:spPr bwMode="auto">
            <a:xfrm>
              <a:off x="2357141" y="4310245"/>
              <a:ext cx="16108" cy="9396"/>
            </a:xfrm>
            <a:custGeom>
              <a:avLst/>
              <a:gdLst>
                <a:gd name="T0" fmla="*/ 3 w 5"/>
                <a:gd name="T1" fmla="*/ 0 h 3"/>
                <a:gd name="T2" fmla="*/ 4 w 5"/>
                <a:gd name="T3" fmla="*/ 3 h 3"/>
                <a:gd name="T4" fmla="*/ 5 w 5"/>
                <a:gd name="T5" fmla="*/ 3 h 3"/>
                <a:gd name="T6" fmla="*/ 3 w 5"/>
                <a:gd name="T7" fmla="*/ 0 h 3"/>
              </a:gdLst>
              <a:ahLst/>
              <a:cxnLst>
                <a:cxn ang="0">
                  <a:pos x="T0" y="T1"/>
                </a:cxn>
                <a:cxn ang="0">
                  <a:pos x="T2" y="T3"/>
                </a:cxn>
                <a:cxn ang="0">
                  <a:pos x="T4" y="T5"/>
                </a:cxn>
                <a:cxn ang="0">
                  <a:pos x="T6" y="T7"/>
                </a:cxn>
              </a:cxnLst>
              <a:rect l="0" t="0" r="r" b="b"/>
              <a:pathLst>
                <a:path w="5" h="3">
                  <a:moveTo>
                    <a:pt x="3" y="0"/>
                  </a:moveTo>
                  <a:cubicBezTo>
                    <a:pt x="0" y="1"/>
                    <a:pt x="2" y="3"/>
                    <a:pt x="4" y="3"/>
                  </a:cubicBezTo>
                  <a:cubicBezTo>
                    <a:pt x="4" y="3"/>
                    <a:pt x="4" y="3"/>
                    <a:pt x="5" y="3"/>
                  </a:cubicBezTo>
                  <a:cubicBezTo>
                    <a:pt x="4" y="2"/>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7" name="Freeform 1486">
              <a:extLst>
                <a:ext uri="{FF2B5EF4-FFF2-40B4-BE49-F238E27FC236}">
                  <a16:creationId xmlns:a16="http://schemas.microsoft.com/office/drawing/2014/main" id="{91D1A8BD-777E-4563-BD22-8A0B206B7940}"/>
                </a:ext>
              </a:extLst>
            </p:cNvPr>
            <p:cNvSpPr>
              <a:spLocks noEditPoints="1"/>
            </p:cNvSpPr>
            <p:nvPr/>
          </p:nvSpPr>
          <p:spPr bwMode="auto">
            <a:xfrm>
              <a:off x="2299421" y="3891436"/>
              <a:ext cx="45639" cy="155711"/>
            </a:xfrm>
            <a:custGeom>
              <a:avLst/>
              <a:gdLst>
                <a:gd name="T0" fmla="*/ 14 w 14"/>
                <a:gd name="T1" fmla="*/ 4 h 49"/>
                <a:gd name="T2" fmla="*/ 14 w 14"/>
                <a:gd name="T3" fmla="*/ 4 h 49"/>
                <a:gd name="T4" fmla="*/ 14 w 14"/>
                <a:gd name="T5" fmla="*/ 4 h 49"/>
                <a:gd name="T6" fmla="*/ 13 w 14"/>
                <a:gd name="T7" fmla="*/ 0 h 49"/>
                <a:gd name="T8" fmla="*/ 9 w 14"/>
                <a:gd name="T9" fmla="*/ 13 h 49"/>
                <a:gd name="T10" fmla="*/ 8 w 14"/>
                <a:gd name="T11" fmla="*/ 16 h 49"/>
                <a:gd name="T12" fmla="*/ 9 w 14"/>
                <a:gd name="T13" fmla="*/ 16 h 49"/>
                <a:gd name="T14" fmla="*/ 7 w 14"/>
                <a:gd name="T15" fmla="*/ 24 h 49"/>
                <a:gd name="T16" fmla="*/ 7 w 14"/>
                <a:gd name="T17" fmla="*/ 30 h 49"/>
                <a:gd name="T18" fmla="*/ 8 w 14"/>
                <a:gd name="T19" fmla="*/ 30 h 49"/>
                <a:gd name="T20" fmla="*/ 7 w 14"/>
                <a:gd name="T21" fmla="*/ 33 h 49"/>
                <a:gd name="T22" fmla="*/ 6 w 14"/>
                <a:gd name="T23" fmla="*/ 34 h 49"/>
                <a:gd name="T24" fmla="*/ 5 w 14"/>
                <a:gd name="T25" fmla="*/ 33 h 49"/>
                <a:gd name="T26" fmla="*/ 4 w 14"/>
                <a:gd name="T27" fmla="*/ 34 h 49"/>
                <a:gd name="T28" fmla="*/ 3 w 14"/>
                <a:gd name="T29" fmla="*/ 37 h 49"/>
                <a:gd name="T30" fmla="*/ 3 w 14"/>
                <a:gd name="T31" fmla="*/ 40 h 49"/>
                <a:gd name="T32" fmla="*/ 2 w 14"/>
                <a:gd name="T33" fmla="*/ 39 h 49"/>
                <a:gd name="T34" fmla="*/ 1 w 14"/>
                <a:gd name="T35" fmla="*/ 40 h 49"/>
                <a:gd name="T36" fmla="*/ 3 w 14"/>
                <a:gd name="T37" fmla="*/ 45 h 49"/>
                <a:gd name="T38" fmla="*/ 3 w 14"/>
                <a:gd name="T39" fmla="*/ 46 h 49"/>
                <a:gd name="T40" fmla="*/ 5 w 14"/>
                <a:gd name="T41" fmla="*/ 49 h 49"/>
                <a:gd name="T42" fmla="*/ 6 w 14"/>
                <a:gd name="T43" fmla="*/ 43 h 49"/>
                <a:gd name="T44" fmla="*/ 6 w 14"/>
                <a:gd name="T45" fmla="*/ 36 h 49"/>
                <a:gd name="T46" fmla="*/ 9 w 14"/>
                <a:gd name="T47" fmla="*/ 31 h 49"/>
                <a:gd name="T48" fmla="*/ 9 w 14"/>
                <a:gd name="T49" fmla="*/ 30 h 49"/>
                <a:gd name="T50" fmla="*/ 9 w 14"/>
                <a:gd name="T51" fmla="*/ 30 h 49"/>
                <a:gd name="T52" fmla="*/ 12 w 14"/>
                <a:gd name="T53" fmla="*/ 25 h 49"/>
                <a:gd name="T54" fmla="*/ 11 w 14"/>
                <a:gd name="T55" fmla="*/ 20 h 49"/>
                <a:gd name="T56" fmla="*/ 10 w 14"/>
                <a:gd name="T57" fmla="*/ 16 h 49"/>
                <a:gd name="T58" fmla="*/ 9 w 14"/>
                <a:gd name="T59" fmla="*/ 16 h 49"/>
                <a:gd name="T60" fmla="*/ 11 w 14"/>
                <a:gd name="T61" fmla="*/ 12 h 49"/>
                <a:gd name="T62" fmla="*/ 13 w 14"/>
                <a:gd name="T63" fmla="*/ 10 h 49"/>
                <a:gd name="T64" fmla="*/ 14 w 14"/>
                <a:gd name="T65" fmla="*/ 8 h 49"/>
                <a:gd name="T66" fmla="*/ 13 w 14"/>
                <a:gd name="T67" fmla="*/ 6 h 49"/>
                <a:gd name="T68" fmla="*/ 12 w 14"/>
                <a:gd name="T69" fmla="*/ 5 h 49"/>
                <a:gd name="T70" fmla="*/ 12 w 14"/>
                <a:gd name="T71" fmla="*/ 5 h 49"/>
                <a:gd name="T72" fmla="*/ 13 w 14"/>
                <a:gd name="T73" fmla="*/ 4 h 49"/>
                <a:gd name="T74" fmla="*/ 14 w 14"/>
                <a:gd name="T75" fmla="*/ 3 h 49"/>
                <a:gd name="T76" fmla="*/ 14 w 14"/>
                <a:gd name="T77" fmla="*/ 4 h 49"/>
                <a:gd name="T78" fmla="*/ 13 w 14"/>
                <a:gd name="T7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49">
                  <a:moveTo>
                    <a:pt x="14" y="4"/>
                  </a:moveTo>
                  <a:cubicBezTo>
                    <a:pt x="14" y="4"/>
                    <a:pt x="14" y="4"/>
                    <a:pt x="14" y="4"/>
                  </a:cubicBezTo>
                  <a:cubicBezTo>
                    <a:pt x="14" y="4"/>
                    <a:pt x="14" y="4"/>
                    <a:pt x="14" y="4"/>
                  </a:cubicBezTo>
                  <a:moveTo>
                    <a:pt x="13" y="0"/>
                  </a:moveTo>
                  <a:cubicBezTo>
                    <a:pt x="12" y="4"/>
                    <a:pt x="10" y="9"/>
                    <a:pt x="9" y="13"/>
                  </a:cubicBezTo>
                  <a:cubicBezTo>
                    <a:pt x="8" y="14"/>
                    <a:pt x="8" y="15"/>
                    <a:pt x="8" y="16"/>
                  </a:cubicBezTo>
                  <a:cubicBezTo>
                    <a:pt x="8" y="16"/>
                    <a:pt x="8" y="16"/>
                    <a:pt x="9" y="16"/>
                  </a:cubicBezTo>
                  <a:cubicBezTo>
                    <a:pt x="7" y="17"/>
                    <a:pt x="7" y="20"/>
                    <a:pt x="7" y="24"/>
                  </a:cubicBezTo>
                  <a:cubicBezTo>
                    <a:pt x="7" y="27"/>
                    <a:pt x="7" y="29"/>
                    <a:pt x="7" y="30"/>
                  </a:cubicBezTo>
                  <a:cubicBezTo>
                    <a:pt x="8" y="30"/>
                    <a:pt x="8" y="30"/>
                    <a:pt x="8" y="30"/>
                  </a:cubicBezTo>
                  <a:cubicBezTo>
                    <a:pt x="7" y="31"/>
                    <a:pt x="7" y="32"/>
                    <a:pt x="7" y="33"/>
                  </a:cubicBezTo>
                  <a:cubicBezTo>
                    <a:pt x="6" y="34"/>
                    <a:pt x="6" y="34"/>
                    <a:pt x="6" y="34"/>
                  </a:cubicBezTo>
                  <a:cubicBezTo>
                    <a:pt x="6" y="33"/>
                    <a:pt x="6" y="33"/>
                    <a:pt x="5" y="33"/>
                  </a:cubicBezTo>
                  <a:cubicBezTo>
                    <a:pt x="4" y="33"/>
                    <a:pt x="4" y="33"/>
                    <a:pt x="4" y="34"/>
                  </a:cubicBezTo>
                  <a:cubicBezTo>
                    <a:pt x="4" y="35"/>
                    <a:pt x="4" y="36"/>
                    <a:pt x="3" y="37"/>
                  </a:cubicBezTo>
                  <a:cubicBezTo>
                    <a:pt x="3" y="38"/>
                    <a:pt x="3" y="39"/>
                    <a:pt x="3" y="40"/>
                  </a:cubicBezTo>
                  <a:cubicBezTo>
                    <a:pt x="3" y="40"/>
                    <a:pt x="2" y="39"/>
                    <a:pt x="2" y="39"/>
                  </a:cubicBezTo>
                  <a:cubicBezTo>
                    <a:pt x="2" y="39"/>
                    <a:pt x="1" y="40"/>
                    <a:pt x="1" y="40"/>
                  </a:cubicBezTo>
                  <a:cubicBezTo>
                    <a:pt x="0" y="43"/>
                    <a:pt x="3" y="44"/>
                    <a:pt x="3" y="45"/>
                  </a:cubicBezTo>
                  <a:cubicBezTo>
                    <a:pt x="3" y="45"/>
                    <a:pt x="3" y="46"/>
                    <a:pt x="3" y="46"/>
                  </a:cubicBezTo>
                  <a:cubicBezTo>
                    <a:pt x="4" y="47"/>
                    <a:pt x="4" y="48"/>
                    <a:pt x="5" y="49"/>
                  </a:cubicBezTo>
                  <a:cubicBezTo>
                    <a:pt x="6" y="47"/>
                    <a:pt x="6" y="45"/>
                    <a:pt x="6" y="43"/>
                  </a:cubicBezTo>
                  <a:cubicBezTo>
                    <a:pt x="6" y="41"/>
                    <a:pt x="6" y="38"/>
                    <a:pt x="6" y="36"/>
                  </a:cubicBezTo>
                  <a:cubicBezTo>
                    <a:pt x="7" y="34"/>
                    <a:pt x="8" y="33"/>
                    <a:pt x="9" y="31"/>
                  </a:cubicBezTo>
                  <a:cubicBezTo>
                    <a:pt x="9" y="31"/>
                    <a:pt x="9" y="30"/>
                    <a:pt x="9" y="30"/>
                  </a:cubicBezTo>
                  <a:cubicBezTo>
                    <a:pt x="9" y="30"/>
                    <a:pt x="9" y="30"/>
                    <a:pt x="9" y="30"/>
                  </a:cubicBezTo>
                  <a:cubicBezTo>
                    <a:pt x="10" y="29"/>
                    <a:pt x="12" y="27"/>
                    <a:pt x="12" y="25"/>
                  </a:cubicBezTo>
                  <a:cubicBezTo>
                    <a:pt x="12" y="24"/>
                    <a:pt x="12" y="22"/>
                    <a:pt x="11" y="20"/>
                  </a:cubicBezTo>
                  <a:cubicBezTo>
                    <a:pt x="10" y="19"/>
                    <a:pt x="10" y="17"/>
                    <a:pt x="10" y="16"/>
                  </a:cubicBezTo>
                  <a:cubicBezTo>
                    <a:pt x="9" y="16"/>
                    <a:pt x="9" y="16"/>
                    <a:pt x="9" y="16"/>
                  </a:cubicBezTo>
                  <a:cubicBezTo>
                    <a:pt x="11" y="15"/>
                    <a:pt x="10" y="13"/>
                    <a:pt x="11" y="12"/>
                  </a:cubicBezTo>
                  <a:cubicBezTo>
                    <a:pt x="11" y="11"/>
                    <a:pt x="13" y="11"/>
                    <a:pt x="13" y="10"/>
                  </a:cubicBezTo>
                  <a:cubicBezTo>
                    <a:pt x="14" y="10"/>
                    <a:pt x="14" y="9"/>
                    <a:pt x="14" y="8"/>
                  </a:cubicBezTo>
                  <a:cubicBezTo>
                    <a:pt x="13" y="7"/>
                    <a:pt x="13" y="7"/>
                    <a:pt x="13" y="6"/>
                  </a:cubicBezTo>
                  <a:cubicBezTo>
                    <a:pt x="13" y="5"/>
                    <a:pt x="12" y="6"/>
                    <a:pt x="12" y="5"/>
                  </a:cubicBezTo>
                  <a:cubicBezTo>
                    <a:pt x="12" y="5"/>
                    <a:pt x="12" y="5"/>
                    <a:pt x="12" y="5"/>
                  </a:cubicBezTo>
                  <a:cubicBezTo>
                    <a:pt x="12" y="5"/>
                    <a:pt x="13" y="5"/>
                    <a:pt x="13" y="4"/>
                  </a:cubicBezTo>
                  <a:cubicBezTo>
                    <a:pt x="13" y="4"/>
                    <a:pt x="14" y="3"/>
                    <a:pt x="14" y="3"/>
                  </a:cubicBezTo>
                  <a:cubicBezTo>
                    <a:pt x="14" y="3"/>
                    <a:pt x="14" y="3"/>
                    <a:pt x="14" y="4"/>
                  </a:cubicBezTo>
                  <a:cubicBezTo>
                    <a:pt x="14" y="3"/>
                    <a:pt x="14" y="1"/>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8" name="Freeform 1487">
              <a:extLst>
                <a:ext uri="{FF2B5EF4-FFF2-40B4-BE49-F238E27FC236}">
                  <a16:creationId xmlns:a16="http://schemas.microsoft.com/office/drawing/2014/main" id="{48D6D979-4155-4C38-ABF4-3A4B58B1C8A8}"/>
                </a:ext>
              </a:extLst>
            </p:cNvPr>
            <p:cNvSpPr>
              <a:spLocks/>
            </p:cNvSpPr>
            <p:nvPr/>
          </p:nvSpPr>
          <p:spPr bwMode="auto">
            <a:xfrm>
              <a:off x="2310160" y="4047147"/>
              <a:ext cx="9396" cy="12081"/>
            </a:xfrm>
            <a:custGeom>
              <a:avLst/>
              <a:gdLst>
                <a:gd name="T0" fmla="*/ 1 w 3"/>
                <a:gd name="T1" fmla="*/ 0 h 4"/>
                <a:gd name="T2" fmla="*/ 0 w 3"/>
                <a:gd name="T3" fmla="*/ 4 h 4"/>
                <a:gd name="T4" fmla="*/ 1 w 3"/>
                <a:gd name="T5" fmla="*/ 0 h 4"/>
              </a:gdLst>
              <a:ahLst/>
              <a:cxnLst>
                <a:cxn ang="0">
                  <a:pos x="T0" y="T1"/>
                </a:cxn>
                <a:cxn ang="0">
                  <a:pos x="T2" y="T3"/>
                </a:cxn>
                <a:cxn ang="0">
                  <a:pos x="T4" y="T5"/>
                </a:cxn>
              </a:cxnLst>
              <a:rect l="0" t="0" r="r" b="b"/>
              <a:pathLst>
                <a:path w="3" h="4">
                  <a:moveTo>
                    <a:pt x="1" y="0"/>
                  </a:moveTo>
                  <a:cubicBezTo>
                    <a:pt x="1" y="1"/>
                    <a:pt x="1" y="3"/>
                    <a:pt x="0" y="4"/>
                  </a:cubicBezTo>
                  <a:cubicBezTo>
                    <a:pt x="2"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9" name="Freeform 1488">
              <a:extLst>
                <a:ext uri="{FF2B5EF4-FFF2-40B4-BE49-F238E27FC236}">
                  <a16:creationId xmlns:a16="http://schemas.microsoft.com/office/drawing/2014/main" id="{35BC1A9E-9BC1-4215-BAE6-DE51460F9159}"/>
                </a:ext>
              </a:extLst>
            </p:cNvPr>
            <p:cNvSpPr>
              <a:spLocks/>
            </p:cNvSpPr>
            <p:nvPr/>
          </p:nvSpPr>
          <p:spPr bwMode="auto">
            <a:xfrm>
              <a:off x="2315529" y="4217623"/>
              <a:ext cx="6712" cy="6712"/>
            </a:xfrm>
            <a:custGeom>
              <a:avLst/>
              <a:gdLst>
                <a:gd name="T0" fmla="*/ 2 w 2"/>
                <a:gd name="T1" fmla="*/ 0 h 2"/>
                <a:gd name="T2" fmla="*/ 1 w 2"/>
                <a:gd name="T3" fmla="*/ 2 h 2"/>
                <a:gd name="T4" fmla="*/ 2 w 2"/>
                <a:gd name="T5" fmla="*/ 0 h 2"/>
              </a:gdLst>
              <a:ahLst/>
              <a:cxnLst>
                <a:cxn ang="0">
                  <a:pos x="T0" y="T1"/>
                </a:cxn>
                <a:cxn ang="0">
                  <a:pos x="T2" y="T3"/>
                </a:cxn>
                <a:cxn ang="0">
                  <a:pos x="T4" y="T5"/>
                </a:cxn>
              </a:cxnLst>
              <a:rect l="0" t="0" r="r" b="b"/>
              <a:pathLst>
                <a:path w="2" h="2">
                  <a:moveTo>
                    <a:pt x="2" y="0"/>
                  </a:moveTo>
                  <a:cubicBezTo>
                    <a:pt x="1" y="1"/>
                    <a:pt x="0" y="1"/>
                    <a:pt x="1"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0" name="Freeform 1489">
              <a:extLst>
                <a:ext uri="{FF2B5EF4-FFF2-40B4-BE49-F238E27FC236}">
                  <a16:creationId xmlns:a16="http://schemas.microsoft.com/office/drawing/2014/main" id="{B9FA0767-61FD-4179-8E99-6D5AF2CBD118}"/>
                </a:ext>
              </a:extLst>
            </p:cNvPr>
            <p:cNvSpPr>
              <a:spLocks/>
            </p:cNvSpPr>
            <p:nvPr/>
          </p:nvSpPr>
          <p:spPr bwMode="auto">
            <a:xfrm>
              <a:off x="2385330" y="4370650"/>
              <a:ext cx="18793" cy="34901"/>
            </a:xfrm>
            <a:custGeom>
              <a:avLst/>
              <a:gdLst>
                <a:gd name="T0" fmla="*/ 4 w 6"/>
                <a:gd name="T1" fmla="*/ 0 h 11"/>
                <a:gd name="T2" fmla="*/ 0 w 6"/>
                <a:gd name="T3" fmla="*/ 4 h 11"/>
                <a:gd name="T4" fmla="*/ 2 w 6"/>
                <a:gd name="T5" fmla="*/ 6 h 11"/>
                <a:gd name="T6" fmla="*/ 4 w 6"/>
                <a:gd name="T7" fmla="*/ 8 h 11"/>
                <a:gd name="T8" fmla="*/ 4 w 6"/>
                <a:gd name="T9" fmla="*/ 11 h 11"/>
                <a:gd name="T10" fmla="*/ 5 w 6"/>
                <a:gd name="T11" fmla="*/ 3 h 11"/>
                <a:gd name="T12" fmla="*/ 6 w 6"/>
                <a:gd name="T13" fmla="*/ 1 h 11"/>
                <a:gd name="T14" fmla="*/ 4 w 6"/>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1">
                  <a:moveTo>
                    <a:pt x="4" y="0"/>
                  </a:moveTo>
                  <a:cubicBezTo>
                    <a:pt x="1" y="0"/>
                    <a:pt x="0" y="2"/>
                    <a:pt x="0" y="4"/>
                  </a:cubicBezTo>
                  <a:cubicBezTo>
                    <a:pt x="1" y="5"/>
                    <a:pt x="1" y="6"/>
                    <a:pt x="2" y="6"/>
                  </a:cubicBezTo>
                  <a:cubicBezTo>
                    <a:pt x="2" y="7"/>
                    <a:pt x="3" y="8"/>
                    <a:pt x="4" y="8"/>
                  </a:cubicBezTo>
                  <a:cubicBezTo>
                    <a:pt x="4" y="9"/>
                    <a:pt x="4" y="10"/>
                    <a:pt x="4" y="11"/>
                  </a:cubicBezTo>
                  <a:cubicBezTo>
                    <a:pt x="5" y="8"/>
                    <a:pt x="5" y="5"/>
                    <a:pt x="5" y="3"/>
                  </a:cubicBezTo>
                  <a:cubicBezTo>
                    <a:pt x="5" y="2"/>
                    <a:pt x="6" y="1"/>
                    <a:pt x="6" y="1"/>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1" name="Freeform 1490">
              <a:extLst>
                <a:ext uri="{FF2B5EF4-FFF2-40B4-BE49-F238E27FC236}">
                  <a16:creationId xmlns:a16="http://schemas.microsoft.com/office/drawing/2014/main" id="{8B203150-6414-4964-9892-99BF1E3C3F55}"/>
                </a:ext>
              </a:extLst>
            </p:cNvPr>
            <p:cNvSpPr>
              <a:spLocks/>
            </p:cNvSpPr>
            <p:nvPr/>
          </p:nvSpPr>
          <p:spPr bwMode="auto">
            <a:xfrm>
              <a:off x="802717" y="5452573"/>
              <a:ext cx="5369" cy="12081"/>
            </a:xfrm>
            <a:custGeom>
              <a:avLst/>
              <a:gdLst>
                <a:gd name="T0" fmla="*/ 1 w 2"/>
                <a:gd name="T1" fmla="*/ 0 h 4"/>
                <a:gd name="T2" fmla="*/ 0 w 2"/>
                <a:gd name="T3" fmla="*/ 4 h 4"/>
                <a:gd name="T4" fmla="*/ 1 w 2"/>
                <a:gd name="T5" fmla="*/ 0 h 4"/>
              </a:gdLst>
              <a:ahLst/>
              <a:cxnLst>
                <a:cxn ang="0">
                  <a:pos x="T0" y="T1"/>
                </a:cxn>
                <a:cxn ang="0">
                  <a:pos x="T2" y="T3"/>
                </a:cxn>
                <a:cxn ang="0">
                  <a:pos x="T4" y="T5"/>
                </a:cxn>
              </a:cxnLst>
              <a:rect l="0" t="0" r="r" b="b"/>
              <a:pathLst>
                <a:path w="2" h="4">
                  <a:moveTo>
                    <a:pt x="1" y="0"/>
                  </a:moveTo>
                  <a:cubicBezTo>
                    <a:pt x="0" y="1"/>
                    <a:pt x="0" y="3"/>
                    <a:pt x="0" y="4"/>
                  </a:cubicBezTo>
                  <a:cubicBezTo>
                    <a:pt x="1"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2" name="Freeform 1491">
              <a:extLst>
                <a:ext uri="{FF2B5EF4-FFF2-40B4-BE49-F238E27FC236}">
                  <a16:creationId xmlns:a16="http://schemas.microsoft.com/office/drawing/2014/main" id="{3B3E937E-2B43-4C7C-93FA-A347490524D7}"/>
                </a:ext>
              </a:extLst>
            </p:cNvPr>
            <p:cNvSpPr>
              <a:spLocks/>
            </p:cNvSpPr>
            <p:nvPr/>
          </p:nvSpPr>
          <p:spPr bwMode="auto">
            <a:xfrm>
              <a:off x="5291487" y="5785473"/>
              <a:ext cx="6712" cy="4027"/>
            </a:xfrm>
            <a:custGeom>
              <a:avLst/>
              <a:gdLst>
                <a:gd name="T0" fmla="*/ 2 w 2"/>
                <a:gd name="T1" fmla="*/ 0 h 1"/>
                <a:gd name="T2" fmla="*/ 1 w 2"/>
                <a:gd name="T3" fmla="*/ 0 h 1"/>
                <a:gd name="T4" fmla="*/ 0 w 2"/>
                <a:gd name="T5" fmla="*/ 1 h 1"/>
                <a:gd name="T6" fmla="*/ 0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1" y="0"/>
                    <a:pt x="1" y="0"/>
                    <a:pt x="1" y="0"/>
                  </a:cubicBezTo>
                  <a:cubicBezTo>
                    <a:pt x="1" y="0"/>
                    <a:pt x="0" y="1"/>
                    <a:pt x="0" y="1"/>
                  </a:cubicBezTo>
                  <a:cubicBezTo>
                    <a:pt x="0" y="1"/>
                    <a:pt x="0" y="1"/>
                    <a:pt x="0" y="1"/>
                  </a:cubicBezTo>
                  <a:cubicBezTo>
                    <a:pt x="1" y="1"/>
                    <a:pt x="1"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3" name="Freeform 1492">
              <a:extLst>
                <a:ext uri="{FF2B5EF4-FFF2-40B4-BE49-F238E27FC236}">
                  <a16:creationId xmlns:a16="http://schemas.microsoft.com/office/drawing/2014/main" id="{7FBF8A20-A191-41BA-BCC3-8DCC6C95BAFD}"/>
                </a:ext>
              </a:extLst>
            </p:cNvPr>
            <p:cNvSpPr>
              <a:spLocks/>
            </p:cNvSpPr>
            <p:nvPr/>
          </p:nvSpPr>
          <p:spPr bwMode="auto">
            <a:xfrm>
              <a:off x="4737102" y="5994877"/>
              <a:ext cx="5369" cy="16108"/>
            </a:xfrm>
            <a:custGeom>
              <a:avLst/>
              <a:gdLst>
                <a:gd name="T0" fmla="*/ 1 w 2"/>
                <a:gd name="T1" fmla="*/ 0 h 5"/>
                <a:gd name="T2" fmla="*/ 0 w 2"/>
                <a:gd name="T3" fmla="*/ 5 h 5"/>
                <a:gd name="T4" fmla="*/ 1 w 2"/>
                <a:gd name="T5" fmla="*/ 3 h 5"/>
                <a:gd name="T6" fmla="*/ 1 w 2"/>
                <a:gd name="T7" fmla="*/ 3 h 5"/>
                <a:gd name="T8" fmla="*/ 2 w 2"/>
                <a:gd name="T9" fmla="*/ 1 h 5"/>
                <a:gd name="T10" fmla="*/ 2 w 2"/>
                <a:gd name="T11" fmla="*/ 1 h 5"/>
                <a:gd name="T12" fmla="*/ 1 w 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1" y="0"/>
                  </a:moveTo>
                  <a:cubicBezTo>
                    <a:pt x="1" y="2"/>
                    <a:pt x="1" y="3"/>
                    <a:pt x="0" y="5"/>
                  </a:cubicBezTo>
                  <a:cubicBezTo>
                    <a:pt x="1" y="4"/>
                    <a:pt x="1" y="4"/>
                    <a:pt x="1" y="3"/>
                  </a:cubicBezTo>
                  <a:cubicBezTo>
                    <a:pt x="1" y="3"/>
                    <a:pt x="1" y="3"/>
                    <a:pt x="1" y="3"/>
                  </a:cubicBezTo>
                  <a:cubicBezTo>
                    <a:pt x="2" y="2"/>
                    <a:pt x="2" y="2"/>
                    <a:pt x="2" y="1"/>
                  </a:cubicBezTo>
                  <a:cubicBezTo>
                    <a:pt x="2" y="1"/>
                    <a:pt x="2" y="1"/>
                    <a:pt x="2" y="1"/>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4" name="Freeform 1493">
              <a:extLst>
                <a:ext uri="{FF2B5EF4-FFF2-40B4-BE49-F238E27FC236}">
                  <a16:creationId xmlns:a16="http://schemas.microsoft.com/office/drawing/2014/main" id="{43FCCB7A-432C-4995-83CB-D732061FBF11}"/>
                </a:ext>
              </a:extLst>
            </p:cNvPr>
            <p:cNvSpPr>
              <a:spLocks/>
            </p:cNvSpPr>
            <p:nvPr/>
          </p:nvSpPr>
          <p:spPr bwMode="auto">
            <a:xfrm>
              <a:off x="4692805" y="6061994"/>
              <a:ext cx="5369" cy="9396"/>
            </a:xfrm>
            <a:custGeom>
              <a:avLst/>
              <a:gdLst>
                <a:gd name="T0" fmla="*/ 1 w 2"/>
                <a:gd name="T1" fmla="*/ 0 h 3"/>
                <a:gd name="T2" fmla="*/ 0 w 2"/>
                <a:gd name="T3" fmla="*/ 3 h 3"/>
                <a:gd name="T4" fmla="*/ 1 w 2"/>
                <a:gd name="T5" fmla="*/ 3 h 3"/>
                <a:gd name="T6" fmla="*/ 1 w 2"/>
                <a:gd name="T7" fmla="*/ 2 h 3"/>
                <a:gd name="T8" fmla="*/ 2 w 2"/>
                <a:gd name="T9" fmla="*/ 2 h 3"/>
                <a:gd name="T10" fmla="*/ 2 w 2"/>
                <a:gd name="T11" fmla="*/ 2 h 3"/>
                <a:gd name="T12" fmla="*/ 2 w 2"/>
                <a:gd name="T13" fmla="*/ 1 h 3"/>
                <a:gd name="T14" fmla="*/ 2 w 2"/>
                <a:gd name="T15" fmla="*/ 1 h 3"/>
                <a:gd name="T16" fmla="*/ 1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0"/>
                  </a:moveTo>
                  <a:cubicBezTo>
                    <a:pt x="0" y="1"/>
                    <a:pt x="0" y="2"/>
                    <a:pt x="0" y="3"/>
                  </a:cubicBezTo>
                  <a:cubicBezTo>
                    <a:pt x="0" y="3"/>
                    <a:pt x="1" y="3"/>
                    <a:pt x="1" y="3"/>
                  </a:cubicBezTo>
                  <a:cubicBezTo>
                    <a:pt x="1" y="2"/>
                    <a:pt x="1" y="2"/>
                    <a:pt x="1" y="2"/>
                  </a:cubicBezTo>
                  <a:cubicBezTo>
                    <a:pt x="2" y="2"/>
                    <a:pt x="2" y="2"/>
                    <a:pt x="2" y="2"/>
                  </a:cubicBezTo>
                  <a:cubicBezTo>
                    <a:pt x="2" y="2"/>
                    <a:pt x="2" y="2"/>
                    <a:pt x="2" y="2"/>
                  </a:cubicBezTo>
                  <a:cubicBezTo>
                    <a:pt x="2" y="1"/>
                    <a:pt x="2" y="1"/>
                    <a:pt x="2" y="1"/>
                  </a:cubicBezTo>
                  <a:cubicBezTo>
                    <a:pt x="2" y="1"/>
                    <a:pt x="2" y="1"/>
                    <a:pt x="2" y="1"/>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5" name="Freeform 1494">
              <a:extLst>
                <a:ext uri="{FF2B5EF4-FFF2-40B4-BE49-F238E27FC236}">
                  <a16:creationId xmlns:a16="http://schemas.microsoft.com/office/drawing/2014/main" id="{8E2DC968-A79C-4231-9A74-A1EA88AE34EA}"/>
                </a:ext>
              </a:extLst>
            </p:cNvPr>
            <p:cNvSpPr>
              <a:spLocks/>
            </p:cNvSpPr>
            <p:nvPr/>
          </p:nvSpPr>
          <p:spPr bwMode="auto">
            <a:xfrm>
              <a:off x="4502194" y="2589369"/>
              <a:ext cx="30874" cy="16108"/>
            </a:xfrm>
            <a:custGeom>
              <a:avLst/>
              <a:gdLst>
                <a:gd name="T0" fmla="*/ 0 w 10"/>
                <a:gd name="T1" fmla="*/ 0 h 5"/>
                <a:gd name="T2" fmla="*/ 7 w 10"/>
                <a:gd name="T3" fmla="*/ 5 h 5"/>
                <a:gd name="T4" fmla="*/ 0 w 10"/>
                <a:gd name="T5" fmla="*/ 0 h 5"/>
              </a:gdLst>
              <a:ahLst/>
              <a:cxnLst>
                <a:cxn ang="0">
                  <a:pos x="T0" y="T1"/>
                </a:cxn>
                <a:cxn ang="0">
                  <a:pos x="T2" y="T3"/>
                </a:cxn>
                <a:cxn ang="0">
                  <a:pos x="T4" y="T5"/>
                </a:cxn>
              </a:cxnLst>
              <a:rect l="0" t="0" r="r" b="b"/>
              <a:pathLst>
                <a:path w="10" h="5">
                  <a:moveTo>
                    <a:pt x="0" y="0"/>
                  </a:moveTo>
                  <a:cubicBezTo>
                    <a:pt x="2" y="2"/>
                    <a:pt x="5" y="4"/>
                    <a:pt x="7" y="5"/>
                  </a:cubicBezTo>
                  <a:cubicBezTo>
                    <a:pt x="10" y="1"/>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6" name="Freeform 1495">
              <a:extLst>
                <a:ext uri="{FF2B5EF4-FFF2-40B4-BE49-F238E27FC236}">
                  <a16:creationId xmlns:a16="http://schemas.microsoft.com/office/drawing/2014/main" id="{FEF9D8D1-C7CF-4717-A4AD-66C7E56C62D3}"/>
                </a:ext>
              </a:extLst>
            </p:cNvPr>
            <p:cNvSpPr>
              <a:spLocks/>
            </p:cNvSpPr>
            <p:nvPr/>
          </p:nvSpPr>
          <p:spPr bwMode="auto">
            <a:xfrm>
              <a:off x="4508905" y="2618900"/>
              <a:ext cx="5369" cy="9396"/>
            </a:xfrm>
            <a:custGeom>
              <a:avLst/>
              <a:gdLst>
                <a:gd name="T0" fmla="*/ 0 w 2"/>
                <a:gd name="T1" fmla="*/ 0 h 3"/>
                <a:gd name="T2" fmla="*/ 1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1" y="3"/>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7" name="Freeform 1496">
              <a:extLst>
                <a:ext uri="{FF2B5EF4-FFF2-40B4-BE49-F238E27FC236}">
                  <a16:creationId xmlns:a16="http://schemas.microsoft.com/office/drawing/2014/main" id="{C777C338-9256-48A2-B10B-86E2913A2C89}"/>
                </a:ext>
              </a:extLst>
            </p:cNvPr>
            <p:cNvSpPr>
              <a:spLocks/>
            </p:cNvSpPr>
            <p:nvPr/>
          </p:nvSpPr>
          <p:spPr bwMode="auto">
            <a:xfrm>
              <a:off x="4181375" y="4598847"/>
              <a:ext cx="16108" cy="9396"/>
            </a:xfrm>
            <a:custGeom>
              <a:avLst/>
              <a:gdLst>
                <a:gd name="T0" fmla="*/ 5 w 5"/>
                <a:gd name="T1" fmla="*/ 0 h 3"/>
                <a:gd name="T2" fmla="*/ 0 w 5"/>
                <a:gd name="T3" fmla="*/ 0 h 3"/>
                <a:gd name="T4" fmla="*/ 3 w 5"/>
                <a:gd name="T5" fmla="*/ 3 h 3"/>
                <a:gd name="T6" fmla="*/ 4 w 5"/>
                <a:gd name="T7" fmla="*/ 3 h 3"/>
                <a:gd name="T8" fmla="*/ 5 w 5"/>
                <a:gd name="T9" fmla="*/ 0 h 3"/>
              </a:gdLst>
              <a:ahLst/>
              <a:cxnLst>
                <a:cxn ang="0">
                  <a:pos x="T0" y="T1"/>
                </a:cxn>
                <a:cxn ang="0">
                  <a:pos x="T2" y="T3"/>
                </a:cxn>
                <a:cxn ang="0">
                  <a:pos x="T4" y="T5"/>
                </a:cxn>
                <a:cxn ang="0">
                  <a:pos x="T6" y="T7"/>
                </a:cxn>
                <a:cxn ang="0">
                  <a:pos x="T8" y="T9"/>
                </a:cxn>
              </a:cxnLst>
              <a:rect l="0" t="0" r="r" b="b"/>
              <a:pathLst>
                <a:path w="5" h="3">
                  <a:moveTo>
                    <a:pt x="5" y="0"/>
                  </a:moveTo>
                  <a:cubicBezTo>
                    <a:pt x="3" y="0"/>
                    <a:pt x="2" y="0"/>
                    <a:pt x="0" y="0"/>
                  </a:cubicBezTo>
                  <a:cubicBezTo>
                    <a:pt x="1" y="1"/>
                    <a:pt x="2" y="2"/>
                    <a:pt x="3" y="3"/>
                  </a:cubicBezTo>
                  <a:cubicBezTo>
                    <a:pt x="3" y="3"/>
                    <a:pt x="4" y="3"/>
                    <a:pt x="4" y="3"/>
                  </a:cubicBezTo>
                  <a:cubicBezTo>
                    <a:pt x="5" y="3"/>
                    <a:pt x="5"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8" name="Freeform 1497">
              <a:extLst>
                <a:ext uri="{FF2B5EF4-FFF2-40B4-BE49-F238E27FC236}">
                  <a16:creationId xmlns:a16="http://schemas.microsoft.com/office/drawing/2014/main" id="{BCA2FC75-EB34-442A-B813-9BC774C03715}"/>
                </a:ext>
              </a:extLst>
            </p:cNvPr>
            <p:cNvSpPr>
              <a:spLocks/>
            </p:cNvSpPr>
            <p:nvPr/>
          </p:nvSpPr>
          <p:spPr bwMode="auto">
            <a:xfrm>
              <a:off x="4188087" y="4643144"/>
              <a:ext cx="9396" cy="9396"/>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2"/>
                    <a:pt x="3"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9" name="Freeform 1498">
              <a:extLst>
                <a:ext uri="{FF2B5EF4-FFF2-40B4-BE49-F238E27FC236}">
                  <a16:creationId xmlns:a16="http://schemas.microsoft.com/office/drawing/2014/main" id="{51C9CB09-69BA-4740-BC56-370CC8790AD0}"/>
                </a:ext>
              </a:extLst>
            </p:cNvPr>
            <p:cNvSpPr>
              <a:spLocks/>
            </p:cNvSpPr>
            <p:nvPr/>
          </p:nvSpPr>
          <p:spPr bwMode="auto">
            <a:xfrm>
              <a:off x="4169294" y="4652541"/>
              <a:ext cx="9396" cy="16108"/>
            </a:xfrm>
            <a:custGeom>
              <a:avLst/>
              <a:gdLst>
                <a:gd name="T0" fmla="*/ 1 w 3"/>
                <a:gd name="T1" fmla="*/ 0 h 5"/>
                <a:gd name="T2" fmla="*/ 3 w 3"/>
                <a:gd name="T3" fmla="*/ 5 h 5"/>
                <a:gd name="T4" fmla="*/ 1 w 3"/>
                <a:gd name="T5" fmla="*/ 0 h 5"/>
              </a:gdLst>
              <a:ahLst/>
              <a:cxnLst>
                <a:cxn ang="0">
                  <a:pos x="T0" y="T1"/>
                </a:cxn>
                <a:cxn ang="0">
                  <a:pos x="T2" y="T3"/>
                </a:cxn>
                <a:cxn ang="0">
                  <a:pos x="T4" y="T5"/>
                </a:cxn>
              </a:cxnLst>
              <a:rect l="0" t="0" r="r" b="b"/>
              <a:pathLst>
                <a:path w="3" h="5">
                  <a:moveTo>
                    <a:pt x="1" y="0"/>
                  </a:moveTo>
                  <a:cubicBezTo>
                    <a:pt x="0" y="3"/>
                    <a:pt x="2" y="3"/>
                    <a:pt x="3" y="5"/>
                  </a:cubicBezTo>
                  <a:cubicBezTo>
                    <a:pt x="3"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0" name="Freeform 1499">
              <a:extLst>
                <a:ext uri="{FF2B5EF4-FFF2-40B4-BE49-F238E27FC236}">
                  <a16:creationId xmlns:a16="http://schemas.microsoft.com/office/drawing/2014/main" id="{95CF216A-3F3D-4745-8CDB-9F56F0B997AB}"/>
                </a:ext>
              </a:extLst>
            </p:cNvPr>
            <p:cNvSpPr>
              <a:spLocks/>
            </p:cNvSpPr>
            <p:nvPr/>
          </p:nvSpPr>
          <p:spPr bwMode="auto">
            <a:xfrm>
              <a:off x="4146475" y="4643144"/>
              <a:ext cx="22820" cy="9396"/>
            </a:xfrm>
            <a:custGeom>
              <a:avLst/>
              <a:gdLst>
                <a:gd name="T0" fmla="*/ 0 w 7"/>
                <a:gd name="T1" fmla="*/ 0 h 3"/>
                <a:gd name="T2" fmla="*/ 2 w 7"/>
                <a:gd name="T3" fmla="*/ 2 h 3"/>
                <a:gd name="T4" fmla="*/ 2 w 7"/>
                <a:gd name="T5" fmla="*/ 2 h 3"/>
                <a:gd name="T6" fmla="*/ 3 w 7"/>
                <a:gd name="T7" fmla="*/ 2 h 3"/>
                <a:gd name="T8" fmla="*/ 6 w 7"/>
                <a:gd name="T9" fmla="*/ 2 h 3"/>
                <a:gd name="T10" fmla="*/ 6 w 7"/>
                <a:gd name="T11" fmla="*/ 3 h 3"/>
                <a:gd name="T12" fmla="*/ 7 w 7"/>
                <a:gd name="T13" fmla="*/ 2 h 3"/>
                <a:gd name="T14" fmla="*/ 0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0" y="0"/>
                  </a:moveTo>
                  <a:cubicBezTo>
                    <a:pt x="1" y="0"/>
                    <a:pt x="1" y="1"/>
                    <a:pt x="2" y="2"/>
                  </a:cubicBezTo>
                  <a:cubicBezTo>
                    <a:pt x="2" y="2"/>
                    <a:pt x="2" y="2"/>
                    <a:pt x="2" y="2"/>
                  </a:cubicBezTo>
                  <a:cubicBezTo>
                    <a:pt x="3" y="2"/>
                    <a:pt x="3" y="2"/>
                    <a:pt x="3" y="2"/>
                  </a:cubicBezTo>
                  <a:cubicBezTo>
                    <a:pt x="4" y="2"/>
                    <a:pt x="5" y="2"/>
                    <a:pt x="6" y="2"/>
                  </a:cubicBezTo>
                  <a:cubicBezTo>
                    <a:pt x="6" y="3"/>
                    <a:pt x="6" y="3"/>
                    <a:pt x="6" y="3"/>
                  </a:cubicBezTo>
                  <a:cubicBezTo>
                    <a:pt x="6" y="3"/>
                    <a:pt x="7" y="2"/>
                    <a:pt x="7" y="2"/>
                  </a:cubicBezTo>
                  <a:cubicBezTo>
                    <a:pt x="5"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1" name="Freeform 1500">
              <a:extLst>
                <a:ext uri="{FF2B5EF4-FFF2-40B4-BE49-F238E27FC236}">
                  <a16:creationId xmlns:a16="http://schemas.microsoft.com/office/drawing/2014/main" id="{83AC4BA7-DA86-4603-9482-7A3B8FC553CE}"/>
                </a:ext>
              </a:extLst>
            </p:cNvPr>
            <p:cNvSpPr>
              <a:spLocks noEditPoints="1"/>
            </p:cNvSpPr>
            <p:nvPr/>
          </p:nvSpPr>
          <p:spPr bwMode="auto">
            <a:xfrm>
              <a:off x="3908881" y="3202817"/>
              <a:ext cx="25504" cy="16108"/>
            </a:xfrm>
            <a:custGeom>
              <a:avLst/>
              <a:gdLst>
                <a:gd name="T0" fmla="*/ 6 w 8"/>
                <a:gd name="T1" fmla="*/ 5 h 5"/>
                <a:gd name="T2" fmla="*/ 6 w 8"/>
                <a:gd name="T3" fmla="*/ 5 h 5"/>
                <a:gd name="T4" fmla="*/ 6 w 8"/>
                <a:gd name="T5" fmla="*/ 5 h 5"/>
                <a:gd name="T6" fmla="*/ 8 w 8"/>
                <a:gd name="T7" fmla="*/ 4 h 5"/>
                <a:gd name="T8" fmla="*/ 8 w 8"/>
                <a:gd name="T9" fmla="*/ 4 h 5"/>
                <a:gd name="T10" fmla="*/ 8 w 8"/>
                <a:gd name="T11" fmla="*/ 4 h 5"/>
                <a:gd name="T12" fmla="*/ 4 w 8"/>
                <a:gd name="T13" fmla="*/ 0 h 5"/>
                <a:gd name="T14" fmla="*/ 0 w 8"/>
                <a:gd name="T15" fmla="*/ 3 h 5"/>
                <a:gd name="T16" fmla="*/ 6 w 8"/>
                <a:gd name="T17" fmla="*/ 5 h 5"/>
                <a:gd name="T18" fmla="*/ 6 w 8"/>
                <a:gd name="T19" fmla="*/ 5 h 5"/>
                <a:gd name="T20" fmla="*/ 6 w 8"/>
                <a:gd name="T21" fmla="*/ 5 h 5"/>
                <a:gd name="T22" fmla="*/ 7 w 8"/>
                <a:gd name="T23" fmla="*/ 4 h 5"/>
                <a:gd name="T24" fmla="*/ 8 w 8"/>
                <a:gd name="T25" fmla="*/ 4 h 5"/>
                <a:gd name="T26" fmla="*/ 8 w 8"/>
                <a:gd name="T27" fmla="*/ 4 h 5"/>
                <a:gd name="T28" fmla="*/ 8 w 8"/>
                <a:gd name="T29" fmla="*/ 2 h 5"/>
                <a:gd name="T30" fmla="*/ 7 w 8"/>
                <a:gd name="T31" fmla="*/ 1 h 5"/>
                <a:gd name="T32" fmla="*/ 7 w 8"/>
                <a:gd name="T33" fmla="*/ 1 h 5"/>
                <a:gd name="T34" fmla="*/ 6 w 8"/>
                <a:gd name="T35" fmla="*/ 1 h 5"/>
                <a:gd name="T36" fmla="*/ 6 w 8"/>
                <a:gd name="T37" fmla="*/ 1 h 5"/>
                <a:gd name="T38" fmla="*/ 6 w 8"/>
                <a:gd name="T39" fmla="*/ 1 h 5"/>
                <a:gd name="T40" fmla="*/ 5 w 8"/>
                <a:gd name="T41" fmla="*/ 1 h 5"/>
                <a:gd name="T42" fmla="*/ 4 w 8"/>
                <a:gd name="T43" fmla="*/ 1 h 5"/>
                <a:gd name="T44" fmla="*/ 4 w 8"/>
                <a:gd name="T4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5">
                  <a:moveTo>
                    <a:pt x="6" y="5"/>
                  </a:moveTo>
                  <a:cubicBezTo>
                    <a:pt x="6" y="5"/>
                    <a:pt x="6" y="5"/>
                    <a:pt x="6" y="5"/>
                  </a:cubicBezTo>
                  <a:cubicBezTo>
                    <a:pt x="6" y="5"/>
                    <a:pt x="6" y="5"/>
                    <a:pt x="6" y="5"/>
                  </a:cubicBezTo>
                  <a:moveTo>
                    <a:pt x="8" y="4"/>
                  </a:moveTo>
                  <a:cubicBezTo>
                    <a:pt x="8" y="4"/>
                    <a:pt x="8" y="4"/>
                    <a:pt x="8" y="4"/>
                  </a:cubicBezTo>
                  <a:cubicBezTo>
                    <a:pt x="8" y="4"/>
                    <a:pt x="8" y="4"/>
                    <a:pt x="8" y="4"/>
                  </a:cubicBezTo>
                  <a:moveTo>
                    <a:pt x="4" y="0"/>
                  </a:moveTo>
                  <a:cubicBezTo>
                    <a:pt x="2" y="0"/>
                    <a:pt x="0" y="1"/>
                    <a:pt x="0" y="3"/>
                  </a:cubicBezTo>
                  <a:cubicBezTo>
                    <a:pt x="2" y="4"/>
                    <a:pt x="4" y="5"/>
                    <a:pt x="6" y="5"/>
                  </a:cubicBezTo>
                  <a:cubicBezTo>
                    <a:pt x="6" y="5"/>
                    <a:pt x="6" y="5"/>
                    <a:pt x="6" y="5"/>
                  </a:cubicBezTo>
                  <a:cubicBezTo>
                    <a:pt x="6" y="5"/>
                    <a:pt x="6" y="5"/>
                    <a:pt x="6" y="5"/>
                  </a:cubicBezTo>
                  <a:cubicBezTo>
                    <a:pt x="6" y="5"/>
                    <a:pt x="6" y="5"/>
                    <a:pt x="7" y="4"/>
                  </a:cubicBezTo>
                  <a:cubicBezTo>
                    <a:pt x="7" y="4"/>
                    <a:pt x="8" y="4"/>
                    <a:pt x="8" y="4"/>
                  </a:cubicBezTo>
                  <a:cubicBezTo>
                    <a:pt x="8" y="4"/>
                    <a:pt x="8" y="4"/>
                    <a:pt x="8" y="4"/>
                  </a:cubicBezTo>
                  <a:cubicBezTo>
                    <a:pt x="8" y="3"/>
                    <a:pt x="8" y="3"/>
                    <a:pt x="8" y="2"/>
                  </a:cubicBezTo>
                  <a:cubicBezTo>
                    <a:pt x="8" y="1"/>
                    <a:pt x="8" y="1"/>
                    <a:pt x="7" y="1"/>
                  </a:cubicBezTo>
                  <a:cubicBezTo>
                    <a:pt x="7" y="1"/>
                    <a:pt x="7" y="1"/>
                    <a:pt x="7" y="1"/>
                  </a:cubicBezTo>
                  <a:cubicBezTo>
                    <a:pt x="6" y="1"/>
                    <a:pt x="6" y="1"/>
                    <a:pt x="6" y="1"/>
                  </a:cubicBezTo>
                  <a:cubicBezTo>
                    <a:pt x="6" y="1"/>
                    <a:pt x="6" y="1"/>
                    <a:pt x="6" y="1"/>
                  </a:cubicBezTo>
                  <a:cubicBezTo>
                    <a:pt x="6" y="1"/>
                    <a:pt x="6" y="1"/>
                    <a:pt x="6" y="1"/>
                  </a:cubicBezTo>
                  <a:cubicBezTo>
                    <a:pt x="6" y="1"/>
                    <a:pt x="5" y="1"/>
                    <a:pt x="5" y="1"/>
                  </a:cubicBezTo>
                  <a:cubicBezTo>
                    <a:pt x="5" y="1"/>
                    <a:pt x="4" y="1"/>
                    <a:pt x="4" y="1"/>
                  </a:cubicBezTo>
                  <a:cubicBezTo>
                    <a:pt x="3"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2" name="Freeform 1501">
              <a:extLst>
                <a:ext uri="{FF2B5EF4-FFF2-40B4-BE49-F238E27FC236}">
                  <a16:creationId xmlns:a16="http://schemas.microsoft.com/office/drawing/2014/main" id="{02011E45-581A-4291-9AB1-A36050EFA3DA}"/>
                </a:ext>
              </a:extLst>
            </p:cNvPr>
            <p:cNvSpPr>
              <a:spLocks/>
            </p:cNvSpPr>
            <p:nvPr/>
          </p:nvSpPr>
          <p:spPr bwMode="auto">
            <a:xfrm>
              <a:off x="561096" y="288603"/>
              <a:ext cx="6712" cy="4027"/>
            </a:xfrm>
            <a:custGeom>
              <a:avLst/>
              <a:gdLst>
                <a:gd name="T0" fmla="*/ 1 w 2"/>
                <a:gd name="T1" fmla="*/ 0 h 1"/>
                <a:gd name="T2" fmla="*/ 0 w 2"/>
                <a:gd name="T3" fmla="*/ 1 h 1"/>
                <a:gd name="T4" fmla="*/ 1 w 2"/>
                <a:gd name="T5" fmla="*/ 1 h 1"/>
                <a:gd name="T6" fmla="*/ 2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0" y="1"/>
                    <a:pt x="0" y="1"/>
                  </a:cubicBezTo>
                  <a:cubicBezTo>
                    <a:pt x="1" y="1"/>
                    <a:pt x="1" y="1"/>
                    <a:pt x="1" y="1"/>
                  </a:cubicBezTo>
                  <a:cubicBezTo>
                    <a:pt x="1" y="1"/>
                    <a:pt x="2" y="1"/>
                    <a:pt x="2"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3" name="Rectangle 1502">
              <a:extLst>
                <a:ext uri="{FF2B5EF4-FFF2-40B4-BE49-F238E27FC236}">
                  <a16:creationId xmlns:a16="http://schemas.microsoft.com/office/drawing/2014/main" id="{F9416C53-07C7-4C84-8000-551B9EB78E65}"/>
                </a:ext>
              </a:extLst>
            </p:cNvPr>
            <p:cNvSpPr>
              <a:spLocks noChangeArrowheads="1"/>
            </p:cNvSpPr>
            <p:nvPr/>
          </p:nvSpPr>
          <p:spPr bwMode="auto">
            <a:xfrm>
              <a:off x="4851201" y="1945047"/>
              <a:ext cx="1342" cy="67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4" name="Freeform 1503">
              <a:extLst>
                <a:ext uri="{FF2B5EF4-FFF2-40B4-BE49-F238E27FC236}">
                  <a16:creationId xmlns:a16="http://schemas.microsoft.com/office/drawing/2014/main" id="{DFDF2D80-8713-45FA-B030-1EDC1F5DFC83}"/>
                </a:ext>
              </a:extLst>
            </p:cNvPr>
            <p:cNvSpPr>
              <a:spLocks/>
            </p:cNvSpPr>
            <p:nvPr/>
          </p:nvSpPr>
          <p:spPr bwMode="auto">
            <a:xfrm>
              <a:off x="4851201" y="1945047"/>
              <a:ext cx="0" cy="6712"/>
            </a:xfrm>
            <a:custGeom>
              <a:avLst/>
              <a:gdLst>
                <a:gd name="T0" fmla="*/ 0 h 5"/>
                <a:gd name="T1" fmla="*/ 5 h 5"/>
                <a:gd name="T2" fmla="*/ 5 h 5"/>
                <a:gd name="T3" fmla="*/ 0 h 5"/>
              </a:gdLst>
              <a:ahLst/>
              <a:cxnLst>
                <a:cxn ang="0">
                  <a:pos x="0" y="T0"/>
                </a:cxn>
                <a:cxn ang="0">
                  <a:pos x="0" y="T1"/>
                </a:cxn>
                <a:cxn ang="0">
                  <a:pos x="0" y="T2"/>
                </a:cxn>
                <a:cxn ang="0">
                  <a:pos x="0" y="T3"/>
                </a:cxn>
              </a:cxnLst>
              <a:rect l="0" t="0" r="r" b="b"/>
              <a:pathLst>
                <a:path h="5">
                  <a:moveTo>
                    <a:pt x="0" y="0"/>
                  </a:moveTo>
                  <a:lnTo>
                    <a:pt x="0" y="5"/>
                  </a:lnTo>
                  <a:lnTo>
                    <a:pt x="0"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5" name="Freeform 1504">
              <a:extLst>
                <a:ext uri="{FF2B5EF4-FFF2-40B4-BE49-F238E27FC236}">
                  <a16:creationId xmlns:a16="http://schemas.microsoft.com/office/drawing/2014/main" id="{1641D856-0340-4184-8E43-21ACEA5D3B10}"/>
                </a:ext>
              </a:extLst>
            </p:cNvPr>
            <p:cNvSpPr>
              <a:spLocks/>
            </p:cNvSpPr>
            <p:nvPr/>
          </p:nvSpPr>
          <p:spPr bwMode="auto">
            <a:xfrm>
              <a:off x="374512" y="355720"/>
              <a:ext cx="5369" cy="0"/>
            </a:xfrm>
            <a:custGeom>
              <a:avLst/>
              <a:gdLst>
                <a:gd name="T0" fmla="*/ 2 w 2"/>
                <a:gd name="T1" fmla="*/ 1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cubicBezTo>
                    <a:pt x="2" y="0"/>
                    <a:pt x="1" y="0"/>
                    <a:pt x="1" y="0"/>
                  </a:cubicBezTo>
                  <a:cubicBezTo>
                    <a:pt x="0" y="0"/>
                    <a:pt x="0" y="0"/>
                    <a:pt x="0" y="0"/>
                  </a:cubicBezTo>
                  <a:cubicBezTo>
                    <a:pt x="0" y="0"/>
                    <a:pt x="0" y="0"/>
                    <a:pt x="0" y="0"/>
                  </a:cubicBezTo>
                  <a:cubicBezTo>
                    <a:pt x="1" y="0"/>
                    <a:pt x="1"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6" name="Freeform 1505">
              <a:extLst>
                <a:ext uri="{FF2B5EF4-FFF2-40B4-BE49-F238E27FC236}">
                  <a16:creationId xmlns:a16="http://schemas.microsoft.com/office/drawing/2014/main" id="{B49FEA0A-94A9-4B65-8277-6536F7E37958}"/>
                </a:ext>
              </a:extLst>
            </p:cNvPr>
            <p:cNvSpPr>
              <a:spLocks/>
            </p:cNvSpPr>
            <p:nvPr/>
          </p:nvSpPr>
          <p:spPr bwMode="auto">
            <a:xfrm>
              <a:off x="4644481" y="5594861"/>
              <a:ext cx="44297" cy="25504"/>
            </a:xfrm>
            <a:custGeom>
              <a:avLst/>
              <a:gdLst>
                <a:gd name="T0" fmla="*/ 14 w 14"/>
                <a:gd name="T1" fmla="*/ 0 h 8"/>
                <a:gd name="T2" fmla="*/ 0 w 14"/>
                <a:gd name="T3" fmla="*/ 7 h 8"/>
                <a:gd name="T4" fmla="*/ 10 w 14"/>
                <a:gd name="T5" fmla="*/ 8 h 8"/>
                <a:gd name="T6" fmla="*/ 12 w 14"/>
                <a:gd name="T7" fmla="*/ 4 h 8"/>
                <a:gd name="T8" fmla="*/ 14 w 14"/>
                <a:gd name="T9" fmla="*/ 0 h 8"/>
              </a:gdLst>
              <a:ahLst/>
              <a:cxnLst>
                <a:cxn ang="0">
                  <a:pos x="T0" y="T1"/>
                </a:cxn>
                <a:cxn ang="0">
                  <a:pos x="T2" y="T3"/>
                </a:cxn>
                <a:cxn ang="0">
                  <a:pos x="T4" y="T5"/>
                </a:cxn>
                <a:cxn ang="0">
                  <a:pos x="T6" y="T7"/>
                </a:cxn>
                <a:cxn ang="0">
                  <a:pos x="T8" y="T9"/>
                </a:cxn>
              </a:cxnLst>
              <a:rect l="0" t="0" r="r" b="b"/>
              <a:pathLst>
                <a:path w="14" h="8">
                  <a:moveTo>
                    <a:pt x="14" y="0"/>
                  </a:moveTo>
                  <a:cubicBezTo>
                    <a:pt x="14" y="0"/>
                    <a:pt x="0" y="5"/>
                    <a:pt x="0" y="7"/>
                  </a:cubicBezTo>
                  <a:cubicBezTo>
                    <a:pt x="10" y="8"/>
                    <a:pt x="10" y="8"/>
                    <a:pt x="10" y="8"/>
                  </a:cubicBezTo>
                  <a:cubicBezTo>
                    <a:pt x="10" y="8"/>
                    <a:pt x="12" y="4"/>
                    <a:pt x="12" y="4"/>
                  </a:cubicBezTo>
                  <a:cubicBezTo>
                    <a:pt x="14" y="2"/>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7" name="Freeform 1506">
              <a:extLst>
                <a:ext uri="{FF2B5EF4-FFF2-40B4-BE49-F238E27FC236}">
                  <a16:creationId xmlns:a16="http://schemas.microsoft.com/office/drawing/2014/main" id="{D3565583-C556-4F54-824E-7C10726D8656}"/>
                </a:ext>
              </a:extLst>
            </p:cNvPr>
            <p:cNvSpPr>
              <a:spLocks/>
            </p:cNvSpPr>
            <p:nvPr/>
          </p:nvSpPr>
          <p:spPr bwMode="auto">
            <a:xfrm>
              <a:off x="5923727" y="5106250"/>
              <a:ext cx="735600" cy="606736"/>
            </a:xfrm>
            <a:custGeom>
              <a:avLst/>
              <a:gdLst>
                <a:gd name="T0" fmla="*/ 3 w 232"/>
                <a:gd name="T1" fmla="*/ 52 h 191"/>
                <a:gd name="T2" fmla="*/ 2 w 232"/>
                <a:gd name="T3" fmla="*/ 62 h 191"/>
                <a:gd name="T4" fmla="*/ 1 w 232"/>
                <a:gd name="T5" fmla="*/ 98 h 191"/>
                <a:gd name="T6" fmla="*/ 8 w 232"/>
                <a:gd name="T7" fmla="*/ 156 h 191"/>
                <a:gd name="T8" fmla="*/ 29 w 232"/>
                <a:gd name="T9" fmla="*/ 155 h 191"/>
                <a:gd name="T10" fmla="*/ 48 w 232"/>
                <a:gd name="T11" fmla="*/ 154 h 191"/>
                <a:gd name="T12" fmla="*/ 44 w 232"/>
                <a:gd name="T13" fmla="*/ 137 h 191"/>
                <a:gd name="T14" fmla="*/ 37 w 232"/>
                <a:gd name="T15" fmla="*/ 135 h 191"/>
                <a:gd name="T16" fmla="*/ 34 w 232"/>
                <a:gd name="T17" fmla="*/ 135 h 191"/>
                <a:gd name="T18" fmla="*/ 43 w 232"/>
                <a:gd name="T19" fmla="*/ 133 h 191"/>
                <a:gd name="T20" fmla="*/ 55 w 232"/>
                <a:gd name="T21" fmla="*/ 133 h 191"/>
                <a:gd name="T22" fmla="*/ 56 w 232"/>
                <a:gd name="T23" fmla="*/ 124 h 191"/>
                <a:gd name="T24" fmla="*/ 60 w 232"/>
                <a:gd name="T25" fmla="*/ 126 h 191"/>
                <a:gd name="T26" fmla="*/ 64 w 232"/>
                <a:gd name="T27" fmla="*/ 127 h 191"/>
                <a:gd name="T28" fmla="*/ 69 w 232"/>
                <a:gd name="T29" fmla="*/ 126 h 191"/>
                <a:gd name="T30" fmla="*/ 68 w 232"/>
                <a:gd name="T31" fmla="*/ 119 h 191"/>
                <a:gd name="T32" fmla="*/ 76 w 232"/>
                <a:gd name="T33" fmla="*/ 118 h 191"/>
                <a:gd name="T34" fmla="*/ 79 w 232"/>
                <a:gd name="T35" fmla="*/ 120 h 191"/>
                <a:gd name="T36" fmla="*/ 83 w 232"/>
                <a:gd name="T37" fmla="*/ 119 h 191"/>
                <a:gd name="T38" fmla="*/ 88 w 232"/>
                <a:gd name="T39" fmla="*/ 117 h 191"/>
                <a:gd name="T40" fmla="*/ 90 w 232"/>
                <a:gd name="T41" fmla="*/ 120 h 191"/>
                <a:gd name="T42" fmla="*/ 120 w 232"/>
                <a:gd name="T43" fmla="*/ 129 h 191"/>
                <a:gd name="T44" fmla="*/ 130 w 232"/>
                <a:gd name="T45" fmla="*/ 146 h 191"/>
                <a:gd name="T46" fmla="*/ 140 w 232"/>
                <a:gd name="T47" fmla="*/ 151 h 191"/>
                <a:gd name="T48" fmla="*/ 150 w 232"/>
                <a:gd name="T49" fmla="*/ 166 h 191"/>
                <a:gd name="T50" fmla="*/ 166 w 232"/>
                <a:gd name="T51" fmla="*/ 177 h 191"/>
                <a:gd name="T52" fmla="*/ 174 w 232"/>
                <a:gd name="T53" fmla="*/ 179 h 191"/>
                <a:gd name="T54" fmla="*/ 177 w 232"/>
                <a:gd name="T55" fmla="*/ 178 h 191"/>
                <a:gd name="T56" fmla="*/ 188 w 232"/>
                <a:gd name="T57" fmla="*/ 180 h 191"/>
                <a:gd name="T58" fmla="*/ 219 w 232"/>
                <a:gd name="T59" fmla="*/ 190 h 191"/>
                <a:gd name="T60" fmla="*/ 220 w 232"/>
                <a:gd name="T61" fmla="*/ 182 h 191"/>
                <a:gd name="T62" fmla="*/ 225 w 232"/>
                <a:gd name="T63" fmla="*/ 182 h 191"/>
                <a:gd name="T64" fmla="*/ 225 w 232"/>
                <a:gd name="T65" fmla="*/ 179 h 191"/>
                <a:gd name="T66" fmla="*/ 221 w 232"/>
                <a:gd name="T67" fmla="*/ 179 h 191"/>
                <a:gd name="T68" fmla="*/ 206 w 232"/>
                <a:gd name="T69" fmla="*/ 169 h 191"/>
                <a:gd name="T70" fmla="*/ 208 w 232"/>
                <a:gd name="T71" fmla="*/ 165 h 191"/>
                <a:gd name="T72" fmla="*/ 193 w 232"/>
                <a:gd name="T73" fmla="*/ 158 h 191"/>
                <a:gd name="T74" fmla="*/ 184 w 232"/>
                <a:gd name="T75" fmla="*/ 152 h 191"/>
                <a:gd name="T76" fmla="*/ 170 w 232"/>
                <a:gd name="T77" fmla="*/ 139 h 191"/>
                <a:gd name="T78" fmla="*/ 144 w 232"/>
                <a:gd name="T79" fmla="*/ 111 h 191"/>
                <a:gd name="T80" fmla="*/ 148 w 232"/>
                <a:gd name="T81" fmla="*/ 97 h 191"/>
                <a:gd name="T82" fmla="*/ 161 w 232"/>
                <a:gd name="T83" fmla="*/ 95 h 191"/>
                <a:gd name="T84" fmla="*/ 150 w 232"/>
                <a:gd name="T85" fmla="*/ 78 h 191"/>
                <a:gd name="T86" fmla="*/ 145 w 232"/>
                <a:gd name="T87" fmla="*/ 78 h 191"/>
                <a:gd name="T88" fmla="*/ 118 w 232"/>
                <a:gd name="T89" fmla="*/ 68 h 191"/>
                <a:gd name="T90" fmla="*/ 112 w 232"/>
                <a:gd name="T91" fmla="*/ 56 h 191"/>
                <a:gd name="T92" fmla="*/ 83 w 232"/>
                <a:gd name="T93" fmla="*/ 2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2" h="191">
                  <a:moveTo>
                    <a:pt x="2" y="0"/>
                  </a:moveTo>
                  <a:cubicBezTo>
                    <a:pt x="2" y="7"/>
                    <a:pt x="2" y="13"/>
                    <a:pt x="3" y="20"/>
                  </a:cubicBezTo>
                  <a:cubicBezTo>
                    <a:pt x="3" y="30"/>
                    <a:pt x="3" y="42"/>
                    <a:pt x="3" y="52"/>
                  </a:cubicBezTo>
                  <a:cubicBezTo>
                    <a:pt x="3" y="56"/>
                    <a:pt x="3" y="56"/>
                    <a:pt x="3" y="56"/>
                  </a:cubicBezTo>
                  <a:cubicBezTo>
                    <a:pt x="3" y="57"/>
                    <a:pt x="3" y="59"/>
                    <a:pt x="2" y="60"/>
                  </a:cubicBezTo>
                  <a:cubicBezTo>
                    <a:pt x="2" y="62"/>
                    <a:pt x="2" y="62"/>
                    <a:pt x="2" y="62"/>
                  </a:cubicBezTo>
                  <a:cubicBezTo>
                    <a:pt x="2" y="66"/>
                    <a:pt x="2" y="70"/>
                    <a:pt x="2" y="75"/>
                  </a:cubicBezTo>
                  <a:cubicBezTo>
                    <a:pt x="0" y="97"/>
                    <a:pt x="0" y="97"/>
                    <a:pt x="0" y="97"/>
                  </a:cubicBezTo>
                  <a:cubicBezTo>
                    <a:pt x="1" y="97"/>
                    <a:pt x="1" y="98"/>
                    <a:pt x="1" y="98"/>
                  </a:cubicBezTo>
                  <a:cubicBezTo>
                    <a:pt x="2" y="99"/>
                    <a:pt x="3" y="100"/>
                    <a:pt x="3" y="101"/>
                  </a:cubicBezTo>
                  <a:cubicBezTo>
                    <a:pt x="3" y="155"/>
                    <a:pt x="3" y="155"/>
                    <a:pt x="3" y="155"/>
                  </a:cubicBezTo>
                  <a:cubicBezTo>
                    <a:pt x="4" y="156"/>
                    <a:pt x="6" y="156"/>
                    <a:pt x="8" y="156"/>
                  </a:cubicBezTo>
                  <a:cubicBezTo>
                    <a:pt x="12" y="156"/>
                    <a:pt x="16" y="156"/>
                    <a:pt x="19" y="155"/>
                  </a:cubicBezTo>
                  <a:cubicBezTo>
                    <a:pt x="23" y="155"/>
                    <a:pt x="26" y="155"/>
                    <a:pt x="28" y="155"/>
                  </a:cubicBezTo>
                  <a:cubicBezTo>
                    <a:pt x="29" y="155"/>
                    <a:pt x="29" y="155"/>
                    <a:pt x="29" y="155"/>
                  </a:cubicBezTo>
                  <a:cubicBezTo>
                    <a:pt x="32" y="155"/>
                    <a:pt x="35" y="157"/>
                    <a:pt x="38" y="158"/>
                  </a:cubicBezTo>
                  <a:cubicBezTo>
                    <a:pt x="38" y="158"/>
                    <a:pt x="38" y="158"/>
                    <a:pt x="39" y="158"/>
                  </a:cubicBezTo>
                  <a:cubicBezTo>
                    <a:pt x="41" y="158"/>
                    <a:pt x="47" y="154"/>
                    <a:pt x="48" y="154"/>
                  </a:cubicBezTo>
                  <a:cubicBezTo>
                    <a:pt x="50" y="153"/>
                    <a:pt x="54" y="152"/>
                    <a:pt x="55" y="150"/>
                  </a:cubicBezTo>
                  <a:cubicBezTo>
                    <a:pt x="57" y="148"/>
                    <a:pt x="56" y="145"/>
                    <a:pt x="54" y="143"/>
                  </a:cubicBezTo>
                  <a:cubicBezTo>
                    <a:pt x="51" y="139"/>
                    <a:pt x="49" y="138"/>
                    <a:pt x="44" y="137"/>
                  </a:cubicBezTo>
                  <a:cubicBezTo>
                    <a:pt x="42" y="136"/>
                    <a:pt x="41" y="134"/>
                    <a:pt x="39" y="134"/>
                  </a:cubicBezTo>
                  <a:cubicBezTo>
                    <a:pt x="39" y="134"/>
                    <a:pt x="39" y="134"/>
                    <a:pt x="39" y="134"/>
                  </a:cubicBezTo>
                  <a:cubicBezTo>
                    <a:pt x="38" y="134"/>
                    <a:pt x="37" y="134"/>
                    <a:pt x="37" y="135"/>
                  </a:cubicBezTo>
                  <a:cubicBezTo>
                    <a:pt x="36" y="135"/>
                    <a:pt x="35" y="135"/>
                    <a:pt x="34" y="135"/>
                  </a:cubicBezTo>
                  <a:cubicBezTo>
                    <a:pt x="34" y="135"/>
                    <a:pt x="33" y="135"/>
                    <a:pt x="33" y="134"/>
                  </a:cubicBezTo>
                  <a:cubicBezTo>
                    <a:pt x="33" y="134"/>
                    <a:pt x="34" y="135"/>
                    <a:pt x="34" y="135"/>
                  </a:cubicBezTo>
                  <a:cubicBezTo>
                    <a:pt x="36" y="135"/>
                    <a:pt x="37" y="134"/>
                    <a:pt x="38" y="134"/>
                  </a:cubicBezTo>
                  <a:cubicBezTo>
                    <a:pt x="39" y="134"/>
                    <a:pt x="41" y="133"/>
                    <a:pt x="42" y="133"/>
                  </a:cubicBezTo>
                  <a:cubicBezTo>
                    <a:pt x="42" y="133"/>
                    <a:pt x="43" y="133"/>
                    <a:pt x="43" y="133"/>
                  </a:cubicBezTo>
                  <a:cubicBezTo>
                    <a:pt x="45" y="134"/>
                    <a:pt x="46" y="134"/>
                    <a:pt x="47" y="134"/>
                  </a:cubicBezTo>
                  <a:cubicBezTo>
                    <a:pt x="47" y="134"/>
                    <a:pt x="48" y="134"/>
                    <a:pt x="49" y="134"/>
                  </a:cubicBezTo>
                  <a:cubicBezTo>
                    <a:pt x="51" y="133"/>
                    <a:pt x="53" y="133"/>
                    <a:pt x="55" y="133"/>
                  </a:cubicBezTo>
                  <a:cubicBezTo>
                    <a:pt x="59" y="132"/>
                    <a:pt x="63" y="133"/>
                    <a:pt x="60" y="129"/>
                  </a:cubicBezTo>
                  <a:cubicBezTo>
                    <a:pt x="59" y="127"/>
                    <a:pt x="57" y="126"/>
                    <a:pt x="55" y="124"/>
                  </a:cubicBezTo>
                  <a:cubicBezTo>
                    <a:pt x="55" y="124"/>
                    <a:pt x="56" y="124"/>
                    <a:pt x="56" y="124"/>
                  </a:cubicBezTo>
                  <a:cubicBezTo>
                    <a:pt x="57" y="124"/>
                    <a:pt x="57" y="126"/>
                    <a:pt x="58" y="126"/>
                  </a:cubicBezTo>
                  <a:cubicBezTo>
                    <a:pt x="58" y="126"/>
                    <a:pt x="59" y="126"/>
                    <a:pt x="59" y="126"/>
                  </a:cubicBezTo>
                  <a:cubicBezTo>
                    <a:pt x="59" y="126"/>
                    <a:pt x="59" y="126"/>
                    <a:pt x="60" y="126"/>
                  </a:cubicBezTo>
                  <a:cubicBezTo>
                    <a:pt x="60" y="126"/>
                    <a:pt x="60" y="126"/>
                    <a:pt x="60" y="126"/>
                  </a:cubicBezTo>
                  <a:cubicBezTo>
                    <a:pt x="60" y="126"/>
                    <a:pt x="61" y="126"/>
                    <a:pt x="61" y="126"/>
                  </a:cubicBezTo>
                  <a:cubicBezTo>
                    <a:pt x="62" y="127"/>
                    <a:pt x="63" y="127"/>
                    <a:pt x="64" y="127"/>
                  </a:cubicBezTo>
                  <a:cubicBezTo>
                    <a:pt x="64" y="127"/>
                    <a:pt x="65" y="127"/>
                    <a:pt x="65" y="127"/>
                  </a:cubicBezTo>
                  <a:cubicBezTo>
                    <a:pt x="67" y="127"/>
                    <a:pt x="69" y="127"/>
                    <a:pt x="67" y="126"/>
                  </a:cubicBezTo>
                  <a:cubicBezTo>
                    <a:pt x="68" y="126"/>
                    <a:pt x="68" y="126"/>
                    <a:pt x="69" y="126"/>
                  </a:cubicBezTo>
                  <a:cubicBezTo>
                    <a:pt x="67" y="122"/>
                    <a:pt x="64" y="118"/>
                    <a:pt x="62" y="114"/>
                  </a:cubicBezTo>
                  <a:cubicBezTo>
                    <a:pt x="63" y="115"/>
                    <a:pt x="64" y="115"/>
                    <a:pt x="65" y="116"/>
                  </a:cubicBezTo>
                  <a:cubicBezTo>
                    <a:pt x="66" y="117"/>
                    <a:pt x="66" y="118"/>
                    <a:pt x="68" y="119"/>
                  </a:cubicBezTo>
                  <a:cubicBezTo>
                    <a:pt x="69" y="120"/>
                    <a:pt x="69" y="120"/>
                    <a:pt x="70" y="120"/>
                  </a:cubicBezTo>
                  <a:cubicBezTo>
                    <a:pt x="71" y="120"/>
                    <a:pt x="72" y="119"/>
                    <a:pt x="73" y="119"/>
                  </a:cubicBezTo>
                  <a:cubicBezTo>
                    <a:pt x="74" y="118"/>
                    <a:pt x="75" y="118"/>
                    <a:pt x="76" y="118"/>
                  </a:cubicBezTo>
                  <a:cubicBezTo>
                    <a:pt x="76" y="118"/>
                    <a:pt x="77" y="118"/>
                    <a:pt x="77" y="118"/>
                  </a:cubicBezTo>
                  <a:cubicBezTo>
                    <a:pt x="78" y="118"/>
                    <a:pt x="78" y="119"/>
                    <a:pt x="79" y="119"/>
                  </a:cubicBezTo>
                  <a:cubicBezTo>
                    <a:pt x="79" y="120"/>
                    <a:pt x="79" y="120"/>
                    <a:pt x="79" y="120"/>
                  </a:cubicBezTo>
                  <a:cubicBezTo>
                    <a:pt x="79" y="121"/>
                    <a:pt x="81" y="121"/>
                    <a:pt x="82" y="122"/>
                  </a:cubicBezTo>
                  <a:cubicBezTo>
                    <a:pt x="80" y="120"/>
                    <a:pt x="80" y="118"/>
                    <a:pt x="80" y="115"/>
                  </a:cubicBezTo>
                  <a:cubicBezTo>
                    <a:pt x="80" y="117"/>
                    <a:pt x="81" y="118"/>
                    <a:pt x="83" y="119"/>
                  </a:cubicBezTo>
                  <a:cubicBezTo>
                    <a:pt x="82" y="117"/>
                    <a:pt x="82" y="116"/>
                    <a:pt x="82" y="115"/>
                  </a:cubicBezTo>
                  <a:cubicBezTo>
                    <a:pt x="83" y="117"/>
                    <a:pt x="84" y="117"/>
                    <a:pt x="85" y="117"/>
                  </a:cubicBezTo>
                  <a:cubicBezTo>
                    <a:pt x="86" y="117"/>
                    <a:pt x="87" y="117"/>
                    <a:pt x="88" y="117"/>
                  </a:cubicBezTo>
                  <a:cubicBezTo>
                    <a:pt x="88" y="117"/>
                    <a:pt x="89" y="117"/>
                    <a:pt x="90" y="117"/>
                  </a:cubicBezTo>
                  <a:cubicBezTo>
                    <a:pt x="90" y="117"/>
                    <a:pt x="90" y="117"/>
                    <a:pt x="90" y="117"/>
                  </a:cubicBezTo>
                  <a:cubicBezTo>
                    <a:pt x="91" y="117"/>
                    <a:pt x="90" y="120"/>
                    <a:pt x="90" y="120"/>
                  </a:cubicBezTo>
                  <a:cubicBezTo>
                    <a:pt x="91" y="122"/>
                    <a:pt x="94" y="122"/>
                    <a:pt x="96" y="122"/>
                  </a:cubicBezTo>
                  <a:cubicBezTo>
                    <a:pt x="101" y="123"/>
                    <a:pt x="107" y="124"/>
                    <a:pt x="112" y="125"/>
                  </a:cubicBezTo>
                  <a:cubicBezTo>
                    <a:pt x="111" y="128"/>
                    <a:pt x="117" y="128"/>
                    <a:pt x="120" y="129"/>
                  </a:cubicBezTo>
                  <a:cubicBezTo>
                    <a:pt x="119" y="131"/>
                    <a:pt x="120" y="131"/>
                    <a:pt x="122" y="132"/>
                  </a:cubicBezTo>
                  <a:cubicBezTo>
                    <a:pt x="123" y="134"/>
                    <a:pt x="123" y="135"/>
                    <a:pt x="124" y="137"/>
                  </a:cubicBezTo>
                  <a:cubicBezTo>
                    <a:pt x="125" y="140"/>
                    <a:pt x="128" y="143"/>
                    <a:pt x="130" y="146"/>
                  </a:cubicBezTo>
                  <a:cubicBezTo>
                    <a:pt x="132" y="149"/>
                    <a:pt x="131" y="150"/>
                    <a:pt x="134" y="151"/>
                  </a:cubicBezTo>
                  <a:cubicBezTo>
                    <a:pt x="135" y="152"/>
                    <a:pt x="136" y="153"/>
                    <a:pt x="137" y="153"/>
                  </a:cubicBezTo>
                  <a:cubicBezTo>
                    <a:pt x="138" y="153"/>
                    <a:pt x="139" y="152"/>
                    <a:pt x="140" y="151"/>
                  </a:cubicBezTo>
                  <a:cubicBezTo>
                    <a:pt x="140" y="152"/>
                    <a:pt x="139" y="153"/>
                    <a:pt x="140" y="155"/>
                  </a:cubicBezTo>
                  <a:cubicBezTo>
                    <a:pt x="141" y="157"/>
                    <a:pt x="142" y="162"/>
                    <a:pt x="144" y="162"/>
                  </a:cubicBezTo>
                  <a:cubicBezTo>
                    <a:pt x="148" y="163"/>
                    <a:pt x="148" y="163"/>
                    <a:pt x="150" y="166"/>
                  </a:cubicBezTo>
                  <a:cubicBezTo>
                    <a:pt x="153" y="170"/>
                    <a:pt x="155" y="175"/>
                    <a:pt x="160" y="177"/>
                  </a:cubicBezTo>
                  <a:cubicBezTo>
                    <a:pt x="162" y="177"/>
                    <a:pt x="163" y="178"/>
                    <a:pt x="164" y="178"/>
                  </a:cubicBezTo>
                  <a:cubicBezTo>
                    <a:pt x="164" y="178"/>
                    <a:pt x="165" y="177"/>
                    <a:pt x="166" y="177"/>
                  </a:cubicBezTo>
                  <a:cubicBezTo>
                    <a:pt x="166" y="177"/>
                    <a:pt x="166" y="177"/>
                    <a:pt x="166" y="177"/>
                  </a:cubicBezTo>
                  <a:cubicBezTo>
                    <a:pt x="169" y="177"/>
                    <a:pt x="171" y="179"/>
                    <a:pt x="174" y="179"/>
                  </a:cubicBezTo>
                  <a:cubicBezTo>
                    <a:pt x="174" y="179"/>
                    <a:pt x="174" y="179"/>
                    <a:pt x="174" y="179"/>
                  </a:cubicBezTo>
                  <a:cubicBezTo>
                    <a:pt x="174" y="179"/>
                    <a:pt x="175" y="179"/>
                    <a:pt x="175" y="179"/>
                  </a:cubicBezTo>
                  <a:cubicBezTo>
                    <a:pt x="176" y="178"/>
                    <a:pt x="176" y="178"/>
                    <a:pt x="177" y="178"/>
                  </a:cubicBezTo>
                  <a:cubicBezTo>
                    <a:pt x="177" y="178"/>
                    <a:pt x="177" y="178"/>
                    <a:pt x="177" y="178"/>
                  </a:cubicBezTo>
                  <a:cubicBezTo>
                    <a:pt x="179" y="178"/>
                    <a:pt x="181" y="179"/>
                    <a:pt x="183" y="180"/>
                  </a:cubicBezTo>
                  <a:cubicBezTo>
                    <a:pt x="184" y="180"/>
                    <a:pt x="185" y="180"/>
                    <a:pt x="186" y="180"/>
                  </a:cubicBezTo>
                  <a:cubicBezTo>
                    <a:pt x="187" y="180"/>
                    <a:pt x="187" y="180"/>
                    <a:pt x="188" y="180"/>
                  </a:cubicBezTo>
                  <a:cubicBezTo>
                    <a:pt x="188" y="180"/>
                    <a:pt x="189" y="180"/>
                    <a:pt x="189" y="180"/>
                  </a:cubicBezTo>
                  <a:cubicBezTo>
                    <a:pt x="196" y="180"/>
                    <a:pt x="210" y="181"/>
                    <a:pt x="214" y="187"/>
                  </a:cubicBezTo>
                  <a:cubicBezTo>
                    <a:pt x="217" y="191"/>
                    <a:pt x="216" y="190"/>
                    <a:pt x="219" y="190"/>
                  </a:cubicBezTo>
                  <a:cubicBezTo>
                    <a:pt x="220" y="190"/>
                    <a:pt x="220" y="190"/>
                    <a:pt x="220" y="190"/>
                  </a:cubicBezTo>
                  <a:cubicBezTo>
                    <a:pt x="222" y="190"/>
                    <a:pt x="224" y="189"/>
                    <a:pt x="226" y="188"/>
                  </a:cubicBezTo>
                  <a:cubicBezTo>
                    <a:pt x="224" y="186"/>
                    <a:pt x="222" y="184"/>
                    <a:pt x="220" y="182"/>
                  </a:cubicBezTo>
                  <a:cubicBezTo>
                    <a:pt x="220" y="181"/>
                    <a:pt x="221" y="181"/>
                    <a:pt x="221" y="181"/>
                  </a:cubicBezTo>
                  <a:cubicBezTo>
                    <a:pt x="222" y="181"/>
                    <a:pt x="223" y="182"/>
                    <a:pt x="224" y="182"/>
                  </a:cubicBezTo>
                  <a:cubicBezTo>
                    <a:pt x="225" y="182"/>
                    <a:pt x="225" y="182"/>
                    <a:pt x="225" y="182"/>
                  </a:cubicBezTo>
                  <a:cubicBezTo>
                    <a:pt x="228" y="182"/>
                    <a:pt x="229" y="181"/>
                    <a:pt x="232" y="179"/>
                  </a:cubicBezTo>
                  <a:cubicBezTo>
                    <a:pt x="230" y="180"/>
                    <a:pt x="230" y="180"/>
                    <a:pt x="229" y="180"/>
                  </a:cubicBezTo>
                  <a:cubicBezTo>
                    <a:pt x="228" y="180"/>
                    <a:pt x="227" y="180"/>
                    <a:pt x="225" y="179"/>
                  </a:cubicBezTo>
                  <a:cubicBezTo>
                    <a:pt x="224" y="179"/>
                    <a:pt x="224" y="179"/>
                    <a:pt x="223" y="179"/>
                  </a:cubicBezTo>
                  <a:cubicBezTo>
                    <a:pt x="223" y="179"/>
                    <a:pt x="223" y="179"/>
                    <a:pt x="222" y="179"/>
                  </a:cubicBezTo>
                  <a:cubicBezTo>
                    <a:pt x="222" y="179"/>
                    <a:pt x="222" y="179"/>
                    <a:pt x="221" y="179"/>
                  </a:cubicBezTo>
                  <a:cubicBezTo>
                    <a:pt x="221" y="179"/>
                    <a:pt x="220" y="179"/>
                    <a:pt x="219" y="179"/>
                  </a:cubicBezTo>
                  <a:cubicBezTo>
                    <a:pt x="215" y="177"/>
                    <a:pt x="211" y="174"/>
                    <a:pt x="208" y="172"/>
                  </a:cubicBezTo>
                  <a:cubicBezTo>
                    <a:pt x="205" y="171"/>
                    <a:pt x="204" y="171"/>
                    <a:pt x="206" y="169"/>
                  </a:cubicBezTo>
                  <a:cubicBezTo>
                    <a:pt x="208" y="167"/>
                    <a:pt x="211" y="170"/>
                    <a:pt x="211" y="165"/>
                  </a:cubicBezTo>
                  <a:cubicBezTo>
                    <a:pt x="211" y="165"/>
                    <a:pt x="210" y="166"/>
                    <a:pt x="209" y="166"/>
                  </a:cubicBezTo>
                  <a:cubicBezTo>
                    <a:pt x="209" y="166"/>
                    <a:pt x="209" y="166"/>
                    <a:pt x="208" y="165"/>
                  </a:cubicBezTo>
                  <a:cubicBezTo>
                    <a:pt x="205" y="165"/>
                    <a:pt x="199" y="165"/>
                    <a:pt x="197" y="163"/>
                  </a:cubicBezTo>
                  <a:cubicBezTo>
                    <a:pt x="196" y="162"/>
                    <a:pt x="192" y="160"/>
                    <a:pt x="192" y="159"/>
                  </a:cubicBezTo>
                  <a:cubicBezTo>
                    <a:pt x="192" y="158"/>
                    <a:pt x="193" y="158"/>
                    <a:pt x="193" y="158"/>
                  </a:cubicBezTo>
                  <a:cubicBezTo>
                    <a:pt x="193" y="156"/>
                    <a:pt x="195" y="152"/>
                    <a:pt x="195" y="151"/>
                  </a:cubicBezTo>
                  <a:cubicBezTo>
                    <a:pt x="195" y="150"/>
                    <a:pt x="194" y="150"/>
                    <a:pt x="193" y="150"/>
                  </a:cubicBezTo>
                  <a:cubicBezTo>
                    <a:pt x="190" y="150"/>
                    <a:pt x="186" y="152"/>
                    <a:pt x="184" y="152"/>
                  </a:cubicBezTo>
                  <a:cubicBezTo>
                    <a:pt x="183" y="152"/>
                    <a:pt x="183" y="152"/>
                    <a:pt x="182" y="152"/>
                  </a:cubicBezTo>
                  <a:cubicBezTo>
                    <a:pt x="178" y="152"/>
                    <a:pt x="178" y="151"/>
                    <a:pt x="176" y="147"/>
                  </a:cubicBezTo>
                  <a:cubicBezTo>
                    <a:pt x="174" y="144"/>
                    <a:pt x="171" y="142"/>
                    <a:pt x="170" y="139"/>
                  </a:cubicBezTo>
                  <a:cubicBezTo>
                    <a:pt x="169" y="138"/>
                    <a:pt x="170" y="138"/>
                    <a:pt x="170" y="137"/>
                  </a:cubicBezTo>
                  <a:cubicBezTo>
                    <a:pt x="169" y="135"/>
                    <a:pt x="167" y="132"/>
                    <a:pt x="166" y="130"/>
                  </a:cubicBezTo>
                  <a:cubicBezTo>
                    <a:pt x="161" y="121"/>
                    <a:pt x="148" y="120"/>
                    <a:pt x="144" y="111"/>
                  </a:cubicBezTo>
                  <a:cubicBezTo>
                    <a:pt x="143" y="108"/>
                    <a:pt x="137" y="100"/>
                    <a:pt x="141" y="97"/>
                  </a:cubicBezTo>
                  <a:cubicBezTo>
                    <a:pt x="142" y="96"/>
                    <a:pt x="143" y="96"/>
                    <a:pt x="144" y="96"/>
                  </a:cubicBezTo>
                  <a:cubicBezTo>
                    <a:pt x="145" y="96"/>
                    <a:pt x="147" y="96"/>
                    <a:pt x="148" y="97"/>
                  </a:cubicBezTo>
                  <a:cubicBezTo>
                    <a:pt x="150" y="97"/>
                    <a:pt x="151" y="97"/>
                    <a:pt x="153" y="97"/>
                  </a:cubicBezTo>
                  <a:cubicBezTo>
                    <a:pt x="153" y="97"/>
                    <a:pt x="153" y="97"/>
                    <a:pt x="153" y="97"/>
                  </a:cubicBezTo>
                  <a:cubicBezTo>
                    <a:pt x="155" y="97"/>
                    <a:pt x="159" y="97"/>
                    <a:pt x="161" y="95"/>
                  </a:cubicBezTo>
                  <a:cubicBezTo>
                    <a:pt x="162" y="94"/>
                    <a:pt x="161" y="89"/>
                    <a:pt x="160" y="87"/>
                  </a:cubicBezTo>
                  <a:cubicBezTo>
                    <a:pt x="160" y="86"/>
                    <a:pt x="158" y="85"/>
                    <a:pt x="158" y="85"/>
                  </a:cubicBezTo>
                  <a:cubicBezTo>
                    <a:pt x="155" y="82"/>
                    <a:pt x="153" y="80"/>
                    <a:pt x="150" y="78"/>
                  </a:cubicBezTo>
                  <a:cubicBezTo>
                    <a:pt x="150" y="78"/>
                    <a:pt x="149" y="78"/>
                    <a:pt x="148" y="78"/>
                  </a:cubicBezTo>
                  <a:cubicBezTo>
                    <a:pt x="148" y="78"/>
                    <a:pt x="147" y="78"/>
                    <a:pt x="147" y="78"/>
                  </a:cubicBezTo>
                  <a:cubicBezTo>
                    <a:pt x="146" y="78"/>
                    <a:pt x="146" y="78"/>
                    <a:pt x="145" y="78"/>
                  </a:cubicBezTo>
                  <a:cubicBezTo>
                    <a:pt x="145" y="78"/>
                    <a:pt x="145" y="78"/>
                    <a:pt x="145" y="78"/>
                  </a:cubicBezTo>
                  <a:cubicBezTo>
                    <a:pt x="139" y="78"/>
                    <a:pt x="134" y="72"/>
                    <a:pt x="129" y="71"/>
                  </a:cubicBezTo>
                  <a:cubicBezTo>
                    <a:pt x="125" y="70"/>
                    <a:pt x="122" y="69"/>
                    <a:pt x="118" y="68"/>
                  </a:cubicBezTo>
                  <a:cubicBezTo>
                    <a:pt x="117" y="68"/>
                    <a:pt x="112" y="68"/>
                    <a:pt x="111" y="67"/>
                  </a:cubicBezTo>
                  <a:cubicBezTo>
                    <a:pt x="110" y="65"/>
                    <a:pt x="112" y="63"/>
                    <a:pt x="112" y="61"/>
                  </a:cubicBezTo>
                  <a:cubicBezTo>
                    <a:pt x="113" y="60"/>
                    <a:pt x="113" y="57"/>
                    <a:pt x="112" y="56"/>
                  </a:cubicBezTo>
                  <a:cubicBezTo>
                    <a:pt x="111" y="51"/>
                    <a:pt x="106" y="47"/>
                    <a:pt x="103" y="43"/>
                  </a:cubicBezTo>
                  <a:cubicBezTo>
                    <a:pt x="101" y="40"/>
                    <a:pt x="100" y="42"/>
                    <a:pt x="98" y="41"/>
                  </a:cubicBezTo>
                  <a:cubicBezTo>
                    <a:pt x="92" y="38"/>
                    <a:pt x="85" y="35"/>
                    <a:pt x="83" y="29"/>
                  </a:cubicBezTo>
                  <a:cubicBezTo>
                    <a:pt x="82" y="27"/>
                    <a:pt x="80" y="28"/>
                    <a:pt x="79" y="27"/>
                  </a:cubicBezTo>
                  <a:cubicBezTo>
                    <a:pt x="53" y="19"/>
                    <a:pt x="28" y="1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8" name="Freeform 1507">
              <a:extLst>
                <a:ext uri="{FF2B5EF4-FFF2-40B4-BE49-F238E27FC236}">
                  <a16:creationId xmlns:a16="http://schemas.microsoft.com/office/drawing/2014/main" id="{306595BF-F369-49BB-A976-E7972A5E3FA9}"/>
                </a:ext>
              </a:extLst>
            </p:cNvPr>
            <p:cNvSpPr>
              <a:spLocks/>
            </p:cNvSpPr>
            <p:nvPr/>
          </p:nvSpPr>
          <p:spPr bwMode="auto">
            <a:xfrm>
              <a:off x="5172019" y="4935774"/>
              <a:ext cx="742312" cy="649691"/>
            </a:xfrm>
            <a:custGeom>
              <a:avLst/>
              <a:gdLst>
                <a:gd name="T0" fmla="*/ 12 w 234"/>
                <a:gd name="T1" fmla="*/ 10 h 205"/>
                <a:gd name="T2" fmla="*/ 17 w 234"/>
                <a:gd name="T3" fmla="*/ 27 h 205"/>
                <a:gd name="T4" fmla="*/ 24 w 234"/>
                <a:gd name="T5" fmla="*/ 35 h 205"/>
                <a:gd name="T6" fmla="*/ 33 w 234"/>
                <a:gd name="T7" fmla="*/ 45 h 205"/>
                <a:gd name="T8" fmla="*/ 38 w 234"/>
                <a:gd name="T9" fmla="*/ 44 h 205"/>
                <a:gd name="T10" fmla="*/ 53 w 234"/>
                <a:gd name="T11" fmla="*/ 44 h 205"/>
                <a:gd name="T12" fmla="*/ 60 w 234"/>
                <a:gd name="T13" fmla="*/ 44 h 205"/>
                <a:gd name="T14" fmla="*/ 70 w 234"/>
                <a:gd name="T15" fmla="*/ 42 h 205"/>
                <a:gd name="T16" fmla="*/ 69 w 234"/>
                <a:gd name="T17" fmla="*/ 46 h 205"/>
                <a:gd name="T18" fmla="*/ 70 w 234"/>
                <a:gd name="T19" fmla="*/ 46 h 205"/>
                <a:gd name="T20" fmla="*/ 72 w 234"/>
                <a:gd name="T21" fmla="*/ 48 h 205"/>
                <a:gd name="T22" fmla="*/ 65 w 234"/>
                <a:gd name="T23" fmla="*/ 56 h 205"/>
                <a:gd name="T24" fmla="*/ 58 w 234"/>
                <a:gd name="T25" fmla="*/ 55 h 205"/>
                <a:gd name="T26" fmla="*/ 45 w 234"/>
                <a:gd name="T27" fmla="*/ 56 h 205"/>
                <a:gd name="T28" fmla="*/ 37 w 234"/>
                <a:gd name="T29" fmla="*/ 56 h 205"/>
                <a:gd name="T30" fmla="*/ 32 w 234"/>
                <a:gd name="T31" fmla="*/ 55 h 205"/>
                <a:gd name="T32" fmla="*/ 35 w 234"/>
                <a:gd name="T33" fmla="*/ 63 h 205"/>
                <a:gd name="T34" fmla="*/ 46 w 234"/>
                <a:gd name="T35" fmla="*/ 76 h 205"/>
                <a:gd name="T36" fmla="*/ 47 w 234"/>
                <a:gd name="T37" fmla="*/ 89 h 205"/>
                <a:gd name="T38" fmla="*/ 53 w 234"/>
                <a:gd name="T39" fmla="*/ 88 h 205"/>
                <a:gd name="T40" fmla="*/ 67 w 234"/>
                <a:gd name="T41" fmla="*/ 66 h 205"/>
                <a:gd name="T42" fmla="*/ 64 w 234"/>
                <a:gd name="T43" fmla="*/ 77 h 205"/>
                <a:gd name="T44" fmla="*/ 72 w 234"/>
                <a:gd name="T45" fmla="*/ 82 h 205"/>
                <a:gd name="T46" fmla="*/ 80 w 234"/>
                <a:gd name="T47" fmla="*/ 83 h 205"/>
                <a:gd name="T48" fmla="*/ 89 w 234"/>
                <a:gd name="T49" fmla="*/ 84 h 205"/>
                <a:gd name="T50" fmla="*/ 90 w 234"/>
                <a:gd name="T51" fmla="*/ 85 h 205"/>
                <a:gd name="T52" fmla="*/ 167 w 234"/>
                <a:gd name="T53" fmla="*/ 121 h 205"/>
                <a:gd name="T54" fmla="*/ 169 w 234"/>
                <a:gd name="T55" fmla="*/ 127 h 205"/>
                <a:gd name="T56" fmla="*/ 175 w 234"/>
                <a:gd name="T57" fmla="*/ 130 h 205"/>
                <a:gd name="T58" fmla="*/ 182 w 234"/>
                <a:gd name="T59" fmla="*/ 149 h 205"/>
                <a:gd name="T60" fmla="*/ 180 w 234"/>
                <a:gd name="T61" fmla="*/ 154 h 205"/>
                <a:gd name="T62" fmla="*/ 189 w 234"/>
                <a:gd name="T63" fmla="*/ 162 h 205"/>
                <a:gd name="T64" fmla="*/ 183 w 234"/>
                <a:gd name="T65" fmla="*/ 162 h 205"/>
                <a:gd name="T66" fmla="*/ 190 w 234"/>
                <a:gd name="T67" fmla="*/ 170 h 205"/>
                <a:gd name="T68" fmla="*/ 188 w 234"/>
                <a:gd name="T69" fmla="*/ 183 h 205"/>
                <a:gd name="T70" fmla="*/ 195 w 234"/>
                <a:gd name="T71" fmla="*/ 183 h 205"/>
                <a:gd name="T72" fmla="*/ 198 w 234"/>
                <a:gd name="T73" fmla="*/ 185 h 205"/>
                <a:gd name="T74" fmla="*/ 210 w 234"/>
                <a:gd name="T75" fmla="*/ 183 h 205"/>
                <a:gd name="T76" fmla="*/ 212 w 234"/>
                <a:gd name="T77" fmla="*/ 184 h 205"/>
                <a:gd name="T78" fmla="*/ 233 w 234"/>
                <a:gd name="T79" fmla="*/ 156 h 205"/>
                <a:gd name="T80" fmla="*/ 234 w 234"/>
                <a:gd name="T81" fmla="*/ 116 h 205"/>
                <a:gd name="T82" fmla="*/ 234 w 234"/>
                <a:gd name="T83" fmla="*/ 74 h 205"/>
                <a:gd name="T84" fmla="*/ 218 w 234"/>
                <a:gd name="T85" fmla="*/ 48 h 205"/>
                <a:gd name="T86" fmla="*/ 209 w 234"/>
                <a:gd name="T87" fmla="*/ 48 h 205"/>
                <a:gd name="T88" fmla="*/ 163 w 234"/>
                <a:gd name="T89" fmla="*/ 27 h 205"/>
                <a:gd name="T90" fmla="*/ 147 w 234"/>
                <a:gd name="T91" fmla="*/ 39 h 205"/>
                <a:gd name="T92" fmla="*/ 133 w 234"/>
                <a:gd name="T93" fmla="*/ 45 h 205"/>
                <a:gd name="T94" fmla="*/ 116 w 234"/>
                <a:gd name="T95" fmla="*/ 63 h 205"/>
                <a:gd name="T96" fmla="*/ 108 w 234"/>
                <a:gd name="T97" fmla="*/ 70 h 205"/>
                <a:gd name="T98" fmla="*/ 89 w 234"/>
                <a:gd name="T99" fmla="*/ 62 h 205"/>
                <a:gd name="T100" fmla="*/ 83 w 234"/>
                <a:gd name="T101" fmla="*/ 54 h 205"/>
                <a:gd name="T102" fmla="*/ 77 w 234"/>
                <a:gd name="T103" fmla="*/ 44 h 205"/>
                <a:gd name="T104" fmla="*/ 78 w 234"/>
                <a:gd name="T105" fmla="*/ 22 h 205"/>
                <a:gd name="T106" fmla="*/ 56 w 234"/>
                <a:gd name="T107" fmla="*/ 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205">
                  <a:moveTo>
                    <a:pt x="37" y="0"/>
                  </a:moveTo>
                  <a:cubicBezTo>
                    <a:pt x="35" y="0"/>
                    <a:pt x="33" y="1"/>
                    <a:pt x="31" y="2"/>
                  </a:cubicBezTo>
                  <a:cubicBezTo>
                    <a:pt x="28" y="4"/>
                    <a:pt x="25" y="7"/>
                    <a:pt x="22" y="8"/>
                  </a:cubicBezTo>
                  <a:cubicBezTo>
                    <a:pt x="19" y="10"/>
                    <a:pt x="15" y="9"/>
                    <a:pt x="12" y="10"/>
                  </a:cubicBezTo>
                  <a:cubicBezTo>
                    <a:pt x="11" y="10"/>
                    <a:pt x="8" y="11"/>
                    <a:pt x="7" y="11"/>
                  </a:cubicBezTo>
                  <a:cubicBezTo>
                    <a:pt x="7" y="12"/>
                    <a:pt x="8" y="14"/>
                    <a:pt x="8" y="15"/>
                  </a:cubicBezTo>
                  <a:cubicBezTo>
                    <a:pt x="7" y="18"/>
                    <a:pt x="2" y="23"/>
                    <a:pt x="0" y="25"/>
                  </a:cubicBezTo>
                  <a:cubicBezTo>
                    <a:pt x="6" y="26"/>
                    <a:pt x="11" y="27"/>
                    <a:pt x="17" y="27"/>
                  </a:cubicBezTo>
                  <a:cubicBezTo>
                    <a:pt x="19" y="28"/>
                    <a:pt x="21" y="28"/>
                    <a:pt x="23" y="28"/>
                  </a:cubicBezTo>
                  <a:cubicBezTo>
                    <a:pt x="23" y="28"/>
                    <a:pt x="24" y="28"/>
                    <a:pt x="24" y="28"/>
                  </a:cubicBezTo>
                  <a:cubicBezTo>
                    <a:pt x="22" y="29"/>
                    <a:pt x="22" y="31"/>
                    <a:pt x="23" y="32"/>
                  </a:cubicBezTo>
                  <a:cubicBezTo>
                    <a:pt x="24" y="34"/>
                    <a:pt x="23" y="34"/>
                    <a:pt x="24" y="35"/>
                  </a:cubicBezTo>
                  <a:cubicBezTo>
                    <a:pt x="24" y="40"/>
                    <a:pt x="27" y="42"/>
                    <a:pt x="31" y="45"/>
                  </a:cubicBezTo>
                  <a:cubicBezTo>
                    <a:pt x="31" y="45"/>
                    <a:pt x="32" y="45"/>
                    <a:pt x="32" y="45"/>
                  </a:cubicBezTo>
                  <a:cubicBezTo>
                    <a:pt x="32" y="45"/>
                    <a:pt x="32" y="45"/>
                    <a:pt x="32" y="45"/>
                  </a:cubicBezTo>
                  <a:cubicBezTo>
                    <a:pt x="33" y="45"/>
                    <a:pt x="33" y="45"/>
                    <a:pt x="33" y="45"/>
                  </a:cubicBezTo>
                  <a:cubicBezTo>
                    <a:pt x="33" y="45"/>
                    <a:pt x="33" y="45"/>
                    <a:pt x="33" y="45"/>
                  </a:cubicBezTo>
                  <a:cubicBezTo>
                    <a:pt x="33" y="45"/>
                    <a:pt x="33" y="45"/>
                    <a:pt x="33" y="45"/>
                  </a:cubicBezTo>
                  <a:cubicBezTo>
                    <a:pt x="35" y="45"/>
                    <a:pt x="36" y="44"/>
                    <a:pt x="38" y="44"/>
                  </a:cubicBezTo>
                  <a:cubicBezTo>
                    <a:pt x="38" y="44"/>
                    <a:pt x="38" y="44"/>
                    <a:pt x="38" y="44"/>
                  </a:cubicBezTo>
                  <a:cubicBezTo>
                    <a:pt x="40" y="44"/>
                    <a:pt x="41" y="44"/>
                    <a:pt x="43" y="45"/>
                  </a:cubicBezTo>
                  <a:cubicBezTo>
                    <a:pt x="45" y="45"/>
                    <a:pt x="46" y="46"/>
                    <a:pt x="47" y="46"/>
                  </a:cubicBezTo>
                  <a:cubicBezTo>
                    <a:pt x="47" y="46"/>
                    <a:pt x="47" y="46"/>
                    <a:pt x="47" y="46"/>
                  </a:cubicBezTo>
                  <a:cubicBezTo>
                    <a:pt x="49" y="46"/>
                    <a:pt x="52" y="44"/>
                    <a:pt x="53" y="44"/>
                  </a:cubicBezTo>
                  <a:cubicBezTo>
                    <a:pt x="54" y="44"/>
                    <a:pt x="54" y="44"/>
                    <a:pt x="54" y="44"/>
                  </a:cubicBezTo>
                  <a:cubicBezTo>
                    <a:pt x="54" y="44"/>
                    <a:pt x="55" y="44"/>
                    <a:pt x="56" y="44"/>
                  </a:cubicBezTo>
                  <a:cubicBezTo>
                    <a:pt x="57" y="44"/>
                    <a:pt x="58" y="45"/>
                    <a:pt x="59" y="45"/>
                  </a:cubicBezTo>
                  <a:cubicBezTo>
                    <a:pt x="59" y="45"/>
                    <a:pt x="60" y="44"/>
                    <a:pt x="60" y="44"/>
                  </a:cubicBezTo>
                  <a:cubicBezTo>
                    <a:pt x="61" y="44"/>
                    <a:pt x="61" y="44"/>
                    <a:pt x="62" y="44"/>
                  </a:cubicBezTo>
                  <a:cubicBezTo>
                    <a:pt x="63" y="44"/>
                    <a:pt x="64" y="44"/>
                    <a:pt x="66" y="43"/>
                  </a:cubicBezTo>
                  <a:cubicBezTo>
                    <a:pt x="67" y="42"/>
                    <a:pt x="68" y="42"/>
                    <a:pt x="70" y="42"/>
                  </a:cubicBezTo>
                  <a:cubicBezTo>
                    <a:pt x="70" y="42"/>
                    <a:pt x="70" y="42"/>
                    <a:pt x="70" y="42"/>
                  </a:cubicBezTo>
                  <a:cubicBezTo>
                    <a:pt x="70" y="42"/>
                    <a:pt x="67" y="45"/>
                    <a:pt x="67" y="46"/>
                  </a:cubicBezTo>
                  <a:cubicBezTo>
                    <a:pt x="67" y="46"/>
                    <a:pt x="68" y="46"/>
                    <a:pt x="68" y="46"/>
                  </a:cubicBezTo>
                  <a:cubicBezTo>
                    <a:pt x="68" y="46"/>
                    <a:pt x="68" y="46"/>
                    <a:pt x="68" y="46"/>
                  </a:cubicBezTo>
                  <a:cubicBezTo>
                    <a:pt x="68" y="46"/>
                    <a:pt x="68" y="46"/>
                    <a:pt x="69" y="46"/>
                  </a:cubicBezTo>
                  <a:cubicBezTo>
                    <a:pt x="69" y="46"/>
                    <a:pt x="69" y="46"/>
                    <a:pt x="69" y="46"/>
                  </a:cubicBezTo>
                  <a:cubicBezTo>
                    <a:pt x="69" y="46"/>
                    <a:pt x="69" y="46"/>
                    <a:pt x="69" y="46"/>
                  </a:cubicBezTo>
                  <a:cubicBezTo>
                    <a:pt x="69" y="46"/>
                    <a:pt x="69" y="46"/>
                    <a:pt x="69" y="46"/>
                  </a:cubicBezTo>
                  <a:cubicBezTo>
                    <a:pt x="70" y="46"/>
                    <a:pt x="70" y="46"/>
                    <a:pt x="70" y="46"/>
                  </a:cubicBezTo>
                  <a:cubicBezTo>
                    <a:pt x="71" y="46"/>
                    <a:pt x="71" y="46"/>
                    <a:pt x="69" y="47"/>
                  </a:cubicBezTo>
                  <a:cubicBezTo>
                    <a:pt x="70" y="47"/>
                    <a:pt x="70" y="47"/>
                    <a:pt x="71" y="47"/>
                  </a:cubicBezTo>
                  <a:cubicBezTo>
                    <a:pt x="70" y="47"/>
                    <a:pt x="70" y="48"/>
                    <a:pt x="70" y="48"/>
                  </a:cubicBezTo>
                  <a:cubicBezTo>
                    <a:pt x="70" y="48"/>
                    <a:pt x="71" y="48"/>
                    <a:pt x="72" y="48"/>
                  </a:cubicBezTo>
                  <a:cubicBezTo>
                    <a:pt x="72" y="48"/>
                    <a:pt x="72" y="48"/>
                    <a:pt x="72" y="48"/>
                  </a:cubicBezTo>
                  <a:cubicBezTo>
                    <a:pt x="69" y="50"/>
                    <a:pt x="68" y="51"/>
                    <a:pt x="68" y="54"/>
                  </a:cubicBezTo>
                  <a:cubicBezTo>
                    <a:pt x="67" y="53"/>
                    <a:pt x="66" y="52"/>
                    <a:pt x="66" y="51"/>
                  </a:cubicBezTo>
                  <a:cubicBezTo>
                    <a:pt x="65" y="53"/>
                    <a:pt x="64" y="54"/>
                    <a:pt x="65" y="56"/>
                  </a:cubicBezTo>
                  <a:cubicBezTo>
                    <a:pt x="64" y="53"/>
                    <a:pt x="64" y="52"/>
                    <a:pt x="63" y="52"/>
                  </a:cubicBezTo>
                  <a:cubicBezTo>
                    <a:pt x="62" y="52"/>
                    <a:pt x="61" y="53"/>
                    <a:pt x="59" y="54"/>
                  </a:cubicBezTo>
                  <a:cubicBezTo>
                    <a:pt x="59" y="53"/>
                    <a:pt x="59" y="52"/>
                    <a:pt x="59" y="51"/>
                  </a:cubicBezTo>
                  <a:cubicBezTo>
                    <a:pt x="58" y="52"/>
                    <a:pt x="58" y="54"/>
                    <a:pt x="58" y="55"/>
                  </a:cubicBezTo>
                  <a:cubicBezTo>
                    <a:pt x="58" y="55"/>
                    <a:pt x="58" y="55"/>
                    <a:pt x="58" y="55"/>
                  </a:cubicBezTo>
                  <a:cubicBezTo>
                    <a:pt x="57" y="53"/>
                    <a:pt x="58" y="50"/>
                    <a:pt x="55" y="50"/>
                  </a:cubicBezTo>
                  <a:cubicBezTo>
                    <a:pt x="54" y="50"/>
                    <a:pt x="54" y="50"/>
                    <a:pt x="53" y="50"/>
                  </a:cubicBezTo>
                  <a:cubicBezTo>
                    <a:pt x="49" y="50"/>
                    <a:pt x="48" y="53"/>
                    <a:pt x="45" y="56"/>
                  </a:cubicBezTo>
                  <a:cubicBezTo>
                    <a:pt x="44" y="57"/>
                    <a:pt x="43" y="58"/>
                    <a:pt x="42" y="58"/>
                  </a:cubicBezTo>
                  <a:cubicBezTo>
                    <a:pt x="41" y="58"/>
                    <a:pt x="41" y="58"/>
                    <a:pt x="40" y="57"/>
                  </a:cubicBezTo>
                  <a:cubicBezTo>
                    <a:pt x="39" y="57"/>
                    <a:pt x="39" y="56"/>
                    <a:pt x="38" y="56"/>
                  </a:cubicBezTo>
                  <a:cubicBezTo>
                    <a:pt x="38" y="56"/>
                    <a:pt x="37" y="56"/>
                    <a:pt x="37" y="56"/>
                  </a:cubicBezTo>
                  <a:cubicBezTo>
                    <a:pt x="37" y="56"/>
                    <a:pt x="36" y="56"/>
                    <a:pt x="36" y="56"/>
                  </a:cubicBezTo>
                  <a:cubicBezTo>
                    <a:pt x="36" y="57"/>
                    <a:pt x="35" y="57"/>
                    <a:pt x="35" y="57"/>
                  </a:cubicBezTo>
                  <a:cubicBezTo>
                    <a:pt x="35" y="57"/>
                    <a:pt x="35" y="57"/>
                    <a:pt x="35" y="57"/>
                  </a:cubicBezTo>
                  <a:cubicBezTo>
                    <a:pt x="35" y="57"/>
                    <a:pt x="33" y="55"/>
                    <a:pt x="32" y="55"/>
                  </a:cubicBezTo>
                  <a:cubicBezTo>
                    <a:pt x="32" y="55"/>
                    <a:pt x="31" y="55"/>
                    <a:pt x="31" y="55"/>
                  </a:cubicBezTo>
                  <a:cubicBezTo>
                    <a:pt x="30" y="55"/>
                    <a:pt x="29" y="55"/>
                    <a:pt x="29" y="55"/>
                  </a:cubicBezTo>
                  <a:cubicBezTo>
                    <a:pt x="27" y="56"/>
                    <a:pt x="26" y="57"/>
                    <a:pt x="24" y="57"/>
                  </a:cubicBezTo>
                  <a:cubicBezTo>
                    <a:pt x="28" y="60"/>
                    <a:pt x="31" y="61"/>
                    <a:pt x="35" y="63"/>
                  </a:cubicBezTo>
                  <a:cubicBezTo>
                    <a:pt x="38" y="65"/>
                    <a:pt x="39" y="68"/>
                    <a:pt x="42" y="70"/>
                  </a:cubicBezTo>
                  <a:cubicBezTo>
                    <a:pt x="42" y="69"/>
                    <a:pt x="42" y="69"/>
                    <a:pt x="43" y="69"/>
                  </a:cubicBezTo>
                  <a:cubicBezTo>
                    <a:pt x="43" y="69"/>
                    <a:pt x="44" y="69"/>
                    <a:pt x="44" y="70"/>
                  </a:cubicBezTo>
                  <a:cubicBezTo>
                    <a:pt x="45" y="71"/>
                    <a:pt x="47" y="75"/>
                    <a:pt x="46" y="76"/>
                  </a:cubicBezTo>
                  <a:cubicBezTo>
                    <a:pt x="46" y="77"/>
                    <a:pt x="44" y="77"/>
                    <a:pt x="43" y="77"/>
                  </a:cubicBezTo>
                  <a:cubicBezTo>
                    <a:pt x="42" y="79"/>
                    <a:pt x="43" y="84"/>
                    <a:pt x="45" y="86"/>
                  </a:cubicBezTo>
                  <a:cubicBezTo>
                    <a:pt x="46" y="88"/>
                    <a:pt x="46" y="88"/>
                    <a:pt x="46" y="88"/>
                  </a:cubicBezTo>
                  <a:cubicBezTo>
                    <a:pt x="47" y="89"/>
                    <a:pt x="47" y="89"/>
                    <a:pt x="47" y="89"/>
                  </a:cubicBezTo>
                  <a:cubicBezTo>
                    <a:pt x="48" y="89"/>
                    <a:pt x="49" y="88"/>
                    <a:pt x="50" y="88"/>
                  </a:cubicBezTo>
                  <a:cubicBezTo>
                    <a:pt x="50" y="88"/>
                    <a:pt x="50" y="88"/>
                    <a:pt x="50" y="88"/>
                  </a:cubicBezTo>
                  <a:cubicBezTo>
                    <a:pt x="51" y="88"/>
                    <a:pt x="51" y="88"/>
                    <a:pt x="52" y="88"/>
                  </a:cubicBezTo>
                  <a:cubicBezTo>
                    <a:pt x="52" y="88"/>
                    <a:pt x="52" y="88"/>
                    <a:pt x="53" y="88"/>
                  </a:cubicBezTo>
                  <a:cubicBezTo>
                    <a:pt x="53" y="88"/>
                    <a:pt x="53" y="88"/>
                    <a:pt x="53" y="88"/>
                  </a:cubicBezTo>
                  <a:cubicBezTo>
                    <a:pt x="57" y="87"/>
                    <a:pt x="58" y="81"/>
                    <a:pt x="59" y="79"/>
                  </a:cubicBezTo>
                  <a:cubicBezTo>
                    <a:pt x="62" y="73"/>
                    <a:pt x="64" y="65"/>
                    <a:pt x="69" y="62"/>
                  </a:cubicBezTo>
                  <a:cubicBezTo>
                    <a:pt x="68" y="64"/>
                    <a:pt x="68" y="65"/>
                    <a:pt x="67" y="66"/>
                  </a:cubicBezTo>
                  <a:cubicBezTo>
                    <a:pt x="66" y="67"/>
                    <a:pt x="65" y="67"/>
                    <a:pt x="65" y="67"/>
                  </a:cubicBezTo>
                  <a:cubicBezTo>
                    <a:pt x="64" y="69"/>
                    <a:pt x="65" y="70"/>
                    <a:pt x="65" y="73"/>
                  </a:cubicBezTo>
                  <a:cubicBezTo>
                    <a:pt x="65" y="73"/>
                    <a:pt x="64" y="73"/>
                    <a:pt x="63" y="74"/>
                  </a:cubicBezTo>
                  <a:cubicBezTo>
                    <a:pt x="63" y="77"/>
                    <a:pt x="64" y="77"/>
                    <a:pt x="64" y="77"/>
                  </a:cubicBezTo>
                  <a:cubicBezTo>
                    <a:pt x="65" y="77"/>
                    <a:pt x="65" y="77"/>
                    <a:pt x="66" y="77"/>
                  </a:cubicBezTo>
                  <a:cubicBezTo>
                    <a:pt x="66" y="77"/>
                    <a:pt x="67" y="77"/>
                    <a:pt x="67" y="77"/>
                  </a:cubicBezTo>
                  <a:cubicBezTo>
                    <a:pt x="67" y="77"/>
                    <a:pt x="67" y="77"/>
                    <a:pt x="68" y="77"/>
                  </a:cubicBezTo>
                  <a:cubicBezTo>
                    <a:pt x="70" y="77"/>
                    <a:pt x="69" y="82"/>
                    <a:pt x="72" y="82"/>
                  </a:cubicBezTo>
                  <a:cubicBezTo>
                    <a:pt x="72" y="82"/>
                    <a:pt x="72" y="82"/>
                    <a:pt x="73" y="82"/>
                  </a:cubicBezTo>
                  <a:cubicBezTo>
                    <a:pt x="74" y="82"/>
                    <a:pt x="75" y="82"/>
                    <a:pt x="75" y="80"/>
                  </a:cubicBezTo>
                  <a:cubicBezTo>
                    <a:pt x="76" y="82"/>
                    <a:pt x="78" y="85"/>
                    <a:pt x="79" y="87"/>
                  </a:cubicBezTo>
                  <a:cubicBezTo>
                    <a:pt x="80" y="86"/>
                    <a:pt x="81" y="84"/>
                    <a:pt x="80" y="83"/>
                  </a:cubicBezTo>
                  <a:cubicBezTo>
                    <a:pt x="82" y="84"/>
                    <a:pt x="84" y="85"/>
                    <a:pt x="86" y="85"/>
                  </a:cubicBezTo>
                  <a:cubicBezTo>
                    <a:pt x="86" y="85"/>
                    <a:pt x="86" y="85"/>
                    <a:pt x="86" y="85"/>
                  </a:cubicBezTo>
                  <a:cubicBezTo>
                    <a:pt x="87" y="85"/>
                    <a:pt x="87" y="84"/>
                    <a:pt x="88" y="84"/>
                  </a:cubicBezTo>
                  <a:cubicBezTo>
                    <a:pt x="88" y="84"/>
                    <a:pt x="89" y="84"/>
                    <a:pt x="89" y="84"/>
                  </a:cubicBezTo>
                  <a:cubicBezTo>
                    <a:pt x="91" y="84"/>
                    <a:pt x="93" y="85"/>
                    <a:pt x="94" y="85"/>
                  </a:cubicBezTo>
                  <a:cubicBezTo>
                    <a:pt x="93" y="85"/>
                    <a:pt x="92" y="85"/>
                    <a:pt x="91" y="85"/>
                  </a:cubicBezTo>
                  <a:cubicBezTo>
                    <a:pt x="91" y="85"/>
                    <a:pt x="91" y="85"/>
                    <a:pt x="90" y="85"/>
                  </a:cubicBezTo>
                  <a:cubicBezTo>
                    <a:pt x="90" y="85"/>
                    <a:pt x="90" y="85"/>
                    <a:pt x="90" y="85"/>
                  </a:cubicBezTo>
                  <a:cubicBezTo>
                    <a:pt x="89" y="85"/>
                    <a:pt x="88" y="85"/>
                    <a:pt x="87" y="88"/>
                  </a:cubicBezTo>
                  <a:cubicBezTo>
                    <a:pt x="86" y="92"/>
                    <a:pt x="107" y="97"/>
                    <a:pt x="109" y="97"/>
                  </a:cubicBezTo>
                  <a:cubicBezTo>
                    <a:pt x="123" y="102"/>
                    <a:pt x="137" y="106"/>
                    <a:pt x="151" y="111"/>
                  </a:cubicBezTo>
                  <a:cubicBezTo>
                    <a:pt x="157" y="113"/>
                    <a:pt x="162" y="117"/>
                    <a:pt x="167" y="121"/>
                  </a:cubicBezTo>
                  <a:cubicBezTo>
                    <a:pt x="167" y="120"/>
                    <a:pt x="167" y="120"/>
                    <a:pt x="167" y="120"/>
                  </a:cubicBezTo>
                  <a:cubicBezTo>
                    <a:pt x="167" y="120"/>
                    <a:pt x="167" y="120"/>
                    <a:pt x="167" y="119"/>
                  </a:cubicBezTo>
                  <a:cubicBezTo>
                    <a:pt x="168" y="121"/>
                    <a:pt x="166" y="127"/>
                    <a:pt x="169" y="127"/>
                  </a:cubicBezTo>
                  <a:cubicBezTo>
                    <a:pt x="169" y="127"/>
                    <a:pt x="169" y="127"/>
                    <a:pt x="169" y="127"/>
                  </a:cubicBezTo>
                  <a:cubicBezTo>
                    <a:pt x="171" y="126"/>
                    <a:pt x="172" y="126"/>
                    <a:pt x="174" y="126"/>
                  </a:cubicBezTo>
                  <a:cubicBezTo>
                    <a:pt x="173" y="126"/>
                    <a:pt x="171" y="127"/>
                    <a:pt x="170" y="128"/>
                  </a:cubicBezTo>
                  <a:cubicBezTo>
                    <a:pt x="171" y="129"/>
                    <a:pt x="173" y="130"/>
                    <a:pt x="175" y="130"/>
                  </a:cubicBezTo>
                  <a:cubicBezTo>
                    <a:pt x="175" y="130"/>
                    <a:pt x="175" y="130"/>
                    <a:pt x="175" y="130"/>
                  </a:cubicBezTo>
                  <a:cubicBezTo>
                    <a:pt x="170" y="132"/>
                    <a:pt x="173" y="133"/>
                    <a:pt x="175" y="139"/>
                  </a:cubicBezTo>
                  <a:cubicBezTo>
                    <a:pt x="177" y="143"/>
                    <a:pt x="181" y="146"/>
                    <a:pt x="185" y="150"/>
                  </a:cubicBezTo>
                  <a:cubicBezTo>
                    <a:pt x="184" y="150"/>
                    <a:pt x="183" y="149"/>
                    <a:pt x="182" y="149"/>
                  </a:cubicBezTo>
                  <a:cubicBezTo>
                    <a:pt x="182" y="149"/>
                    <a:pt x="182" y="149"/>
                    <a:pt x="182" y="149"/>
                  </a:cubicBezTo>
                  <a:cubicBezTo>
                    <a:pt x="182" y="150"/>
                    <a:pt x="185" y="152"/>
                    <a:pt x="188" y="154"/>
                  </a:cubicBezTo>
                  <a:cubicBezTo>
                    <a:pt x="188" y="153"/>
                    <a:pt x="187" y="153"/>
                    <a:pt x="187" y="153"/>
                  </a:cubicBezTo>
                  <a:cubicBezTo>
                    <a:pt x="186" y="153"/>
                    <a:pt x="185" y="154"/>
                    <a:pt x="184" y="154"/>
                  </a:cubicBezTo>
                  <a:cubicBezTo>
                    <a:pt x="184" y="154"/>
                    <a:pt x="181" y="154"/>
                    <a:pt x="180" y="154"/>
                  </a:cubicBezTo>
                  <a:cubicBezTo>
                    <a:pt x="178" y="155"/>
                    <a:pt x="180" y="156"/>
                    <a:pt x="181" y="157"/>
                  </a:cubicBezTo>
                  <a:cubicBezTo>
                    <a:pt x="185" y="159"/>
                    <a:pt x="190" y="160"/>
                    <a:pt x="194" y="162"/>
                  </a:cubicBezTo>
                  <a:cubicBezTo>
                    <a:pt x="193" y="162"/>
                    <a:pt x="193" y="162"/>
                    <a:pt x="192" y="162"/>
                  </a:cubicBezTo>
                  <a:cubicBezTo>
                    <a:pt x="191" y="162"/>
                    <a:pt x="190" y="162"/>
                    <a:pt x="189" y="162"/>
                  </a:cubicBezTo>
                  <a:cubicBezTo>
                    <a:pt x="188" y="162"/>
                    <a:pt x="186" y="161"/>
                    <a:pt x="185" y="161"/>
                  </a:cubicBezTo>
                  <a:cubicBezTo>
                    <a:pt x="185" y="161"/>
                    <a:pt x="184" y="162"/>
                    <a:pt x="184" y="162"/>
                  </a:cubicBezTo>
                  <a:cubicBezTo>
                    <a:pt x="184" y="162"/>
                    <a:pt x="183" y="162"/>
                    <a:pt x="183" y="162"/>
                  </a:cubicBezTo>
                  <a:cubicBezTo>
                    <a:pt x="183" y="162"/>
                    <a:pt x="183" y="162"/>
                    <a:pt x="183" y="162"/>
                  </a:cubicBezTo>
                  <a:cubicBezTo>
                    <a:pt x="183" y="162"/>
                    <a:pt x="182" y="161"/>
                    <a:pt x="182" y="161"/>
                  </a:cubicBezTo>
                  <a:cubicBezTo>
                    <a:pt x="182" y="161"/>
                    <a:pt x="182" y="162"/>
                    <a:pt x="182" y="162"/>
                  </a:cubicBezTo>
                  <a:cubicBezTo>
                    <a:pt x="181" y="162"/>
                    <a:pt x="185" y="166"/>
                    <a:pt x="185" y="166"/>
                  </a:cubicBezTo>
                  <a:cubicBezTo>
                    <a:pt x="187" y="167"/>
                    <a:pt x="189" y="169"/>
                    <a:pt x="190" y="170"/>
                  </a:cubicBezTo>
                  <a:cubicBezTo>
                    <a:pt x="190" y="171"/>
                    <a:pt x="191" y="170"/>
                    <a:pt x="191" y="171"/>
                  </a:cubicBezTo>
                  <a:cubicBezTo>
                    <a:pt x="191" y="171"/>
                    <a:pt x="190" y="177"/>
                    <a:pt x="189" y="177"/>
                  </a:cubicBezTo>
                  <a:cubicBezTo>
                    <a:pt x="189" y="179"/>
                    <a:pt x="188" y="178"/>
                    <a:pt x="187" y="179"/>
                  </a:cubicBezTo>
                  <a:cubicBezTo>
                    <a:pt x="187" y="180"/>
                    <a:pt x="188" y="182"/>
                    <a:pt x="188" y="183"/>
                  </a:cubicBezTo>
                  <a:cubicBezTo>
                    <a:pt x="187" y="184"/>
                    <a:pt x="186" y="183"/>
                    <a:pt x="186" y="185"/>
                  </a:cubicBezTo>
                  <a:cubicBezTo>
                    <a:pt x="186" y="185"/>
                    <a:pt x="187" y="187"/>
                    <a:pt x="187" y="187"/>
                  </a:cubicBezTo>
                  <a:cubicBezTo>
                    <a:pt x="189" y="186"/>
                    <a:pt x="190" y="185"/>
                    <a:pt x="191" y="184"/>
                  </a:cubicBezTo>
                  <a:cubicBezTo>
                    <a:pt x="192" y="184"/>
                    <a:pt x="194" y="183"/>
                    <a:pt x="195" y="183"/>
                  </a:cubicBezTo>
                  <a:cubicBezTo>
                    <a:pt x="195" y="182"/>
                    <a:pt x="194" y="181"/>
                    <a:pt x="194" y="180"/>
                  </a:cubicBezTo>
                  <a:cubicBezTo>
                    <a:pt x="195" y="180"/>
                    <a:pt x="195" y="180"/>
                    <a:pt x="195" y="180"/>
                  </a:cubicBezTo>
                  <a:cubicBezTo>
                    <a:pt x="195" y="180"/>
                    <a:pt x="195" y="183"/>
                    <a:pt x="195" y="184"/>
                  </a:cubicBezTo>
                  <a:cubicBezTo>
                    <a:pt x="196" y="185"/>
                    <a:pt x="197" y="185"/>
                    <a:pt x="198" y="185"/>
                  </a:cubicBezTo>
                  <a:cubicBezTo>
                    <a:pt x="201" y="185"/>
                    <a:pt x="204" y="184"/>
                    <a:pt x="205" y="184"/>
                  </a:cubicBezTo>
                  <a:cubicBezTo>
                    <a:pt x="206" y="183"/>
                    <a:pt x="206" y="183"/>
                    <a:pt x="207" y="183"/>
                  </a:cubicBezTo>
                  <a:cubicBezTo>
                    <a:pt x="207" y="183"/>
                    <a:pt x="208" y="183"/>
                    <a:pt x="208" y="183"/>
                  </a:cubicBezTo>
                  <a:cubicBezTo>
                    <a:pt x="209" y="183"/>
                    <a:pt x="209" y="183"/>
                    <a:pt x="210" y="183"/>
                  </a:cubicBezTo>
                  <a:cubicBezTo>
                    <a:pt x="211" y="183"/>
                    <a:pt x="212" y="183"/>
                    <a:pt x="213" y="183"/>
                  </a:cubicBezTo>
                  <a:cubicBezTo>
                    <a:pt x="214" y="182"/>
                    <a:pt x="214" y="179"/>
                    <a:pt x="215" y="179"/>
                  </a:cubicBezTo>
                  <a:cubicBezTo>
                    <a:pt x="213" y="180"/>
                    <a:pt x="215" y="181"/>
                    <a:pt x="215" y="182"/>
                  </a:cubicBezTo>
                  <a:cubicBezTo>
                    <a:pt x="214" y="183"/>
                    <a:pt x="213" y="183"/>
                    <a:pt x="212" y="184"/>
                  </a:cubicBezTo>
                  <a:cubicBezTo>
                    <a:pt x="212" y="186"/>
                    <a:pt x="217" y="189"/>
                    <a:pt x="219" y="191"/>
                  </a:cubicBezTo>
                  <a:cubicBezTo>
                    <a:pt x="224" y="196"/>
                    <a:pt x="229" y="200"/>
                    <a:pt x="234" y="205"/>
                  </a:cubicBezTo>
                  <a:cubicBezTo>
                    <a:pt x="234" y="156"/>
                    <a:pt x="234" y="156"/>
                    <a:pt x="234" y="156"/>
                  </a:cubicBezTo>
                  <a:cubicBezTo>
                    <a:pt x="233" y="156"/>
                    <a:pt x="233" y="156"/>
                    <a:pt x="233" y="156"/>
                  </a:cubicBezTo>
                  <a:cubicBezTo>
                    <a:pt x="233" y="155"/>
                    <a:pt x="232" y="155"/>
                    <a:pt x="232" y="154"/>
                  </a:cubicBezTo>
                  <a:cubicBezTo>
                    <a:pt x="232" y="154"/>
                    <a:pt x="231" y="153"/>
                    <a:pt x="231" y="152"/>
                  </a:cubicBezTo>
                  <a:cubicBezTo>
                    <a:pt x="233" y="129"/>
                    <a:pt x="233" y="129"/>
                    <a:pt x="233" y="129"/>
                  </a:cubicBezTo>
                  <a:cubicBezTo>
                    <a:pt x="233" y="124"/>
                    <a:pt x="233" y="120"/>
                    <a:pt x="234" y="116"/>
                  </a:cubicBezTo>
                  <a:cubicBezTo>
                    <a:pt x="234" y="113"/>
                    <a:pt x="234" y="113"/>
                    <a:pt x="234" y="113"/>
                  </a:cubicBezTo>
                  <a:cubicBezTo>
                    <a:pt x="234" y="112"/>
                    <a:pt x="234" y="111"/>
                    <a:pt x="234" y="110"/>
                  </a:cubicBezTo>
                  <a:cubicBezTo>
                    <a:pt x="234" y="106"/>
                    <a:pt x="234" y="106"/>
                    <a:pt x="234" y="106"/>
                  </a:cubicBezTo>
                  <a:cubicBezTo>
                    <a:pt x="234" y="96"/>
                    <a:pt x="234" y="84"/>
                    <a:pt x="234" y="74"/>
                  </a:cubicBezTo>
                  <a:cubicBezTo>
                    <a:pt x="234" y="67"/>
                    <a:pt x="234" y="60"/>
                    <a:pt x="234" y="53"/>
                  </a:cubicBezTo>
                  <a:cubicBezTo>
                    <a:pt x="232" y="53"/>
                    <a:pt x="231" y="53"/>
                    <a:pt x="230" y="54"/>
                  </a:cubicBezTo>
                  <a:cubicBezTo>
                    <a:pt x="230" y="53"/>
                    <a:pt x="229" y="50"/>
                    <a:pt x="228" y="50"/>
                  </a:cubicBezTo>
                  <a:cubicBezTo>
                    <a:pt x="225" y="49"/>
                    <a:pt x="221" y="49"/>
                    <a:pt x="218" y="48"/>
                  </a:cubicBezTo>
                  <a:cubicBezTo>
                    <a:pt x="217" y="48"/>
                    <a:pt x="216" y="48"/>
                    <a:pt x="215" y="48"/>
                  </a:cubicBezTo>
                  <a:cubicBezTo>
                    <a:pt x="215" y="48"/>
                    <a:pt x="214" y="48"/>
                    <a:pt x="213" y="48"/>
                  </a:cubicBezTo>
                  <a:cubicBezTo>
                    <a:pt x="212" y="48"/>
                    <a:pt x="212" y="48"/>
                    <a:pt x="211" y="48"/>
                  </a:cubicBezTo>
                  <a:cubicBezTo>
                    <a:pt x="210" y="48"/>
                    <a:pt x="209" y="48"/>
                    <a:pt x="209" y="48"/>
                  </a:cubicBezTo>
                  <a:cubicBezTo>
                    <a:pt x="207" y="47"/>
                    <a:pt x="205" y="46"/>
                    <a:pt x="203" y="45"/>
                  </a:cubicBezTo>
                  <a:cubicBezTo>
                    <a:pt x="196" y="42"/>
                    <a:pt x="189" y="39"/>
                    <a:pt x="183" y="36"/>
                  </a:cubicBezTo>
                  <a:cubicBezTo>
                    <a:pt x="177" y="33"/>
                    <a:pt x="171" y="30"/>
                    <a:pt x="165" y="28"/>
                  </a:cubicBezTo>
                  <a:cubicBezTo>
                    <a:pt x="165" y="27"/>
                    <a:pt x="164" y="27"/>
                    <a:pt x="163" y="27"/>
                  </a:cubicBezTo>
                  <a:cubicBezTo>
                    <a:pt x="161" y="27"/>
                    <a:pt x="159" y="28"/>
                    <a:pt x="157" y="28"/>
                  </a:cubicBezTo>
                  <a:cubicBezTo>
                    <a:pt x="155" y="29"/>
                    <a:pt x="152" y="31"/>
                    <a:pt x="150" y="33"/>
                  </a:cubicBezTo>
                  <a:cubicBezTo>
                    <a:pt x="148" y="33"/>
                    <a:pt x="146" y="33"/>
                    <a:pt x="146" y="36"/>
                  </a:cubicBezTo>
                  <a:cubicBezTo>
                    <a:pt x="146" y="37"/>
                    <a:pt x="147" y="38"/>
                    <a:pt x="147" y="39"/>
                  </a:cubicBezTo>
                  <a:cubicBezTo>
                    <a:pt x="148" y="40"/>
                    <a:pt x="148" y="40"/>
                    <a:pt x="148" y="40"/>
                  </a:cubicBezTo>
                  <a:cubicBezTo>
                    <a:pt x="147" y="41"/>
                    <a:pt x="145" y="42"/>
                    <a:pt x="143" y="42"/>
                  </a:cubicBezTo>
                  <a:cubicBezTo>
                    <a:pt x="140" y="43"/>
                    <a:pt x="137" y="45"/>
                    <a:pt x="134" y="45"/>
                  </a:cubicBezTo>
                  <a:cubicBezTo>
                    <a:pt x="134" y="45"/>
                    <a:pt x="133" y="45"/>
                    <a:pt x="133" y="45"/>
                  </a:cubicBezTo>
                  <a:cubicBezTo>
                    <a:pt x="132" y="45"/>
                    <a:pt x="132" y="44"/>
                    <a:pt x="131" y="44"/>
                  </a:cubicBezTo>
                  <a:cubicBezTo>
                    <a:pt x="128" y="44"/>
                    <a:pt x="127" y="47"/>
                    <a:pt x="125" y="49"/>
                  </a:cubicBezTo>
                  <a:cubicBezTo>
                    <a:pt x="123" y="52"/>
                    <a:pt x="119" y="56"/>
                    <a:pt x="117" y="60"/>
                  </a:cubicBezTo>
                  <a:cubicBezTo>
                    <a:pt x="117" y="61"/>
                    <a:pt x="117" y="62"/>
                    <a:pt x="116" y="63"/>
                  </a:cubicBezTo>
                  <a:cubicBezTo>
                    <a:pt x="116" y="63"/>
                    <a:pt x="114" y="64"/>
                    <a:pt x="113" y="64"/>
                  </a:cubicBezTo>
                  <a:cubicBezTo>
                    <a:pt x="112" y="65"/>
                    <a:pt x="114" y="65"/>
                    <a:pt x="113" y="66"/>
                  </a:cubicBezTo>
                  <a:cubicBezTo>
                    <a:pt x="112" y="67"/>
                    <a:pt x="111" y="67"/>
                    <a:pt x="110" y="67"/>
                  </a:cubicBezTo>
                  <a:cubicBezTo>
                    <a:pt x="109" y="68"/>
                    <a:pt x="109" y="69"/>
                    <a:pt x="108" y="70"/>
                  </a:cubicBezTo>
                  <a:cubicBezTo>
                    <a:pt x="107" y="71"/>
                    <a:pt x="105" y="72"/>
                    <a:pt x="103" y="72"/>
                  </a:cubicBezTo>
                  <a:cubicBezTo>
                    <a:pt x="101" y="72"/>
                    <a:pt x="99" y="72"/>
                    <a:pt x="98" y="71"/>
                  </a:cubicBezTo>
                  <a:cubicBezTo>
                    <a:pt x="93" y="70"/>
                    <a:pt x="92" y="66"/>
                    <a:pt x="92" y="61"/>
                  </a:cubicBezTo>
                  <a:cubicBezTo>
                    <a:pt x="91" y="61"/>
                    <a:pt x="90" y="62"/>
                    <a:pt x="89" y="62"/>
                  </a:cubicBezTo>
                  <a:cubicBezTo>
                    <a:pt x="88" y="62"/>
                    <a:pt x="88" y="61"/>
                    <a:pt x="88" y="59"/>
                  </a:cubicBezTo>
                  <a:cubicBezTo>
                    <a:pt x="87" y="58"/>
                    <a:pt x="88" y="53"/>
                    <a:pt x="87" y="52"/>
                  </a:cubicBezTo>
                  <a:cubicBezTo>
                    <a:pt x="87" y="51"/>
                    <a:pt x="86" y="51"/>
                    <a:pt x="85" y="51"/>
                  </a:cubicBezTo>
                  <a:cubicBezTo>
                    <a:pt x="84" y="51"/>
                    <a:pt x="83" y="53"/>
                    <a:pt x="83" y="54"/>
                  </a:cubicBezTo>
                  <a:cubicBezTo>
                    <a:pt x="83" y="55"/>
                    <a:pt x="85" y="58"/>
                    <a:pt x="84" y="59"/>
                  </a:cubicBezTo>
                  <a:cubicBezTo>
                    <a:pt x="84" y="59"/>
                    <a:pt x="84" y="59"/>
                    <a:pt x="83" y="59"/>
                  </a:cubicBezTo>
                  <a:cubicBezTo>
                    <a:pt x="83" y="59"/>
                    <a:pt x="82" y="59"/>
                    <a:pt x="82" y="58"/>
                  </a:cubicBezTo>
                  <a:cubicBezTo>
                    <a:pt x="80" y="53"/>
                    <a:pt x="79" y="49"/>
                    <a:pt x="77" y="44"/>
                  </a:cubicBezTo>
                  <a:cubicBezTo>
                    <a:pt x="76" y="41"/>
                    <a:pt x="74" y="37"/>
                    <a:pt x="74" y="33"/>
                  </a:cubicBezTo>
                  <a:cubicBezTo>
                    <a:pt x="74" y="31"/>
                    <a:pt x="74" y="32"/>
                    <a:pt x="75" y="31"/>
                  </a:cubicBezTo>
                  <a:cubicBezTo>
                    <a:pt x="76" y="29"/>
                    <a:pt x="77" y="28"/>
                    <a:pt x="77" y="25"/>
                  </a:cubicBezTo>
                  <a:cubicBezTo>
                    <a:pt x="78" y="23"/>
                    <a:pt x="78" y="25"/>
                    <a:pt x="78" y="22"/>
                  </a:cubicBezTo>
                  <a:cubicBezTo>
                    <a:pt x="77" y="20"/>
                    <a:pt x="75" y="19"/>
                    <a:pt x="74" y="17"/>
                  </a:cubicBezTo>
                  <a:cubicBezTo>
                    <a:pt x="73" y="15"/>
                    <a:pt x="73" y="13"/>
                    <a:pt x="76" y="13"/>
                  </a:cubicBezTo>
                  <a:cubicBezTo>
                    <a:pt x="76" y="13"/>
                    <a:pt x="76" y="13"/>
                    <a:pt x="76" y="13"/>
                  </a:cubicBezTo>
                  <a:cubicBezTo>
                    <a:pt x="70" y="11"/>
                    <a:pt x="62" y="11"/>
                    <a:pt x="56" y="8"/>
                  </a:cubicBezTo>
                  <a:cubicBezTo>
                    <a:pt x="50" y="5"/>
                    <a:pt x="45" y="1"/>
                    <a:pt x="38" y="0"/>
                  </a:cubicBezTo>
                  <a:cubicBezTo>
                    <a:pt x="38" y="0"/>
                    <a:pt x="37"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9" name="Freeform 1508">
              <a:extLst>
                <a:ext uri="{FF2B5EF4-FFF2-40B4-BE49-F238E27FC236}">
                  <a16:creationId xmlns:a16="http://schemas.microsoft.com/office/drawing/2014/main" id="{D7FE0C26-1AA2-4BFB-9413-4CCA7E5CB77C}"/>
                </a:ext>
              </a:extLst>
            </p:cNvPr>
            <p:cNvSpPr>
              <a:spLocks/>
            </p:cNvSpPr>
            <p:nvPr/>
          </p:nvSpPr>
          <p:spPr bwMode="auto">
            <a:xfrm>
              <a:off x="3524973" y="4589451"/>
              <a:ext cx="754393" cy="634925"/>
            </a:xfrm>
            <a:custGeom>
              <a:avLst/>
              <a:gdLst>
                <a:gd name="T0" fmla="*/ 167 w 238"/>
                <a:gd name="T1" fmla="*/ 1 h 200"/>
                <a:gd name="T2" fmla="*/ 154 w 238"/>
                <a:gd name="T3" fmla="*/ 32 h 200"/>
                <a:gd name="T4" fmla="*/ 149 w 238"/>
                <a:gd name="T5" fmla="*/ 37 h 200"/>
                <a:gd name="T6" fmla="*/ 152 w 238"/>
                <a:gd name="T7" fmla="*/ 40 h 200"/>
                <a:gd name="T8" fmla="*/ 145 w 238"/>
                <a:gd name="T9" fmla="*/ 48 h 200"/>
                <a:gd name="T10" fmla="*/ 143 w 238"/>
                <a:gd name="T11" fmla="*/ 50 h 200"/>
                <a:gd name="T12" fmla="*/ 140 w 238"/>
                <a:gd name="T13" fmla="*/ 60 h 200"/>
                <a:gd name="T14" fmla="*/ 131 w 238"/>
                <a:gd name="T15" fmla="*/ 70 h 200"/>
                <a:gd name="T16" fmla="*/ 129 w 238"/>
                <a:gd name="T17" fmla="*/ 70 h 200"/>
                <a:gd name="T18" fmla="*/ 124 w 238"/>
                <a:gd name="T19" fmla="*/ 71 h 200"/>
                <a:gd name="T20" fmla="*/ 112 w 238"/>
                <a:gd name="T21" fmla="*/ 75 h 200"/>
                <a:gd name="T22" fmla="*/ 91 w 238"/>
                <a:gd name="T23" fmla="*/ 68 h 200"/>
                <a:gd name="T24" fmla="*/ 80 w 238"/>
                <a:gd name="T25" fmla="*/ 70 h 200"/>
                <a:gd name="T26" fmla="*/ 67 w 238"/>
                <a:gd name="T27" fmla="*/ 80 h 200"/>
                <a:gd name="T28" fmla="*/ 52 w 238"/>
                <a:gd name="T29" fmla="*/ 80 h 200"/>
                <a:gd name="T30" fmla="*/ 39 w 238"/>
                <a:gd name="T31" fmla="*/ 84 h 200"/>
                <a:gd name="T32" fmla="*/ 32 w 238"/>
                <a:gd name="T33" fmla="*/ 79 h 200"/>
                <a:gd name="T34" fmla="*/ 14 w 238"/>
                <a:gd name="T35" fmla="*/ 54 h 200"/>
                <a:gd name="T36" fmla="*/ 1 w 238"/>
                <a:gd name="T37" fmla="*/ 73 h 200"/>
                <a:gd name="T38" fmla="*/ 6 w 238"/>
                <a:gd name="T39" fmla="*/ 97 h 200"/>
                <a:gd name="T40" fmla="*/ 8 w 238"/>
                <a:gd name="T41" fmla="*/ 106 h 200"/>
                <a:gd name="T42" fmla="*/ 11 w 238"/>
                <a:gd name="T43" fmla="*/ 122 h 200"/>
                <a:gd name="T44" fmla="*/ 26 w 238"/>
                <a:gd name="T45" fmla="*/ 142 h 200"/>
                <a:gd name="T46" fmla="*/ 29 w 238"/>
                <a:gd name="T47" fmla="*/ 149 h 200"/>
                <a:gd name="T48" fmla="*/ 39 w 238"/>
                <a:gd name="T49" fmla="*/ 173 h 200"/>
                <a:gd name="T50" fmla="*/ 44 w 238"/>
                <a:gd name="T51" fmla="*/ 172 h 200"/>
                <a:gd name="T52" fmla="*/ 50 w 238"/>
                <a:gd name="T53" fmla="*/ 174 h 200"/>
                <a:gd name="T54" fmla="*/ 60 w 238"/>
                <a:gd name="T55" fmla="*/ 171 h 200"/>
                <a:gd name="T56" fmla="*/ 67 w 238"/>
                <a:gd name="T57" fmla="*/ 166 h 200"/>
                <a:gd name="T58" fmla="*/ 98 w 238"/>
                <a:gd name="T59" fmla="*/ 170 h 200"/>
                <a:gd name="T60" fmla="*/ 111 w 238"/>
                <a:gd name="T61" fmla="*/ 176 h 200"/>
                <a:gd name="T62" fmla="*/ 123 w 238"/>
                <a:gd name="T63" fmla="*/ 176 h 200"/>
                <a:gd name="T64" fmla="*/ 131 w 238"/>
                <a:gd name="T65" fmla="*/ 183 h 200"/>
                <a:gd name="T66" fmla="*/ 136 w 238"/>
                <a:gd name="T67" fmla="*/ 200 h 200"/>
                <a:gd name="T68" fmla="*/ 149 w 238"/>
                <a:gd name="T69" fmla="*/ 193 h 200"/>
                <a:gd name="T70" fmla="*/ 173 w 238"/>
                <a:gd name="T71" fmla="*/ 174 h 200"/>
                <a:gd name="T72" fmla="*/ 175 w 238"/>
                <a:gd name="T73" fmla="*/ 160 h 200"/>
                <a:gd name="T74" fmla="*/ 173 w 238"/>
                <a:gd name="T75" fmla="*/ 143 h 200"/>
                <a:gd name="T76" fmla="*/ 188 w 238"/>
                <a:gd name="T77" fmla="*/ 131 h 200"/>
                <a:gd name="T78" fmla="*/ 206 w 238"/>
                <a:gd name="T79" fmla="*/ 119 h 200"/>
                <a:gd name="T80" fmla="*/ 202 w 238"/>
                <a:gd name="T81" fmla="*/ 101 h 200"/>
                <a:gd name="T82" fmla="*/ 213 w 238"/>
                <a:gd name="T83" fmla="*/ 82 h 200"/>
                <a:gd name="T84" fmla="*/ 212 w 238"/>
                <a:gd name="T85" fmla="*/ 75 h 200"/>
                <a:gd name="T86" fmla="*/ 238 w 238"/>
                <a:gd name="T87" fmla="*/ 77 h 200"/>
                <a:gd name="T88" fmla="*/ 210 w 238"/>
                <a:gd name="T89" fmla="*/ 51 h 200"/>
                <a:gd name="T90" fmla="*/ 205 w 238"/>
                <a:gd name="T91" fmla="*/ 34 h 200"/>
                <a:gd name="T92" fmla="*/ 202 w 238"/>
                <a:gd name="T93" fmla="*/ 27 h 200"/>
                <a:gd name="T94" fmla="*/ 198 w 238"/>
                <a:gd name="T95" fmla="*/ 25 h 200"/>
                <a:gd name="T96" fmla="*/ 199 w 238"/>
                <a:gd name="T97" fmla="*/ 24 h 200"/>
                <a:gd name="T98" fmla="*/ 199 w 238"/>
                <a:gd name="T99" fmla="*/ 20 h 200"/>
                <a:gd name="T100" fmla="*/ 194 w 238"/>
                <a:gd name="T101" fmla="*/ 16 h 200"/>
                <a:gd name="T102" fmla="*/ 200 w 238"/>
                <a:gd name="T103" fmla="*/ 16 h 200"/>
                <a:gd name="T104" fmla="*/ 207 w 238"/>
                <a:gd name="T105" fmla="*/ 10 h 200"/>
                <a:gd name="T106" fmla="*/ 199 w 238"/>
                <a:gd name="T107" fmla="*/ 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200">
                  <a:moveTo>
                    <a:pt x="181" y="0"/>
                  </a:moveTo>
                  <a:cubicBezTo>
                    <a:pt x="180" y="0"/>
                    <a:pt x="180" y="0"/>
                    <a:pt x="179" y="0"/>
                  </a:cubicBezTo>
                  <a:cubicBezTo>
                    <a:pt x="175" y="1"/>
                    <a:pt x="171" y="1"/>
                    <a:pt x="169" y="1"/>
                  </a:cubicBezTo>
                  <a:cubicBezTo>
                    <a:pt x="168" y="1"/>
                    <a:pt x="167" y="1"/>
                    <a:pt x="167" y="1"/>
                  </a:cubicBezTo>
                  <a:cubicBezTo>
                    <a:pt x="166" y="1"/>
                    <a:pt x="166" y="1"/>
                    <a:pt x="165" y="1"/>
                  </a:cubicBezTo>
                  <a:cubicBezTo>
                    <a:pt x="162" y="4"/>
                    <a:pt x="160" y="8"/>
                    <a:pt x="160" y="11"/>
                  </a:cubicBezTo>
                  <a:cubicBezTo>
                    <a:pt x="161" y="17"/>
                    <a:pt x="162" y="22"/>
                    <a:pt x="160" y="27"/>
                  </a:cubicBezTo>
                  <a:cubicBezTo>
                    <a:pt x="159" y="29"/>
                    <a:pt x="158" y="32"/>
                    <a:pt x="154" y="32"/>
                  </a:cubicBezTo>
                  <a:cubicBezTo>
                    <a:pt x="154" y="32"/>
                    <a:pt x="154" y="32"/>
                    <a:pt x="153" y="32"/>
                  </a:cubicBezTo>
                  <a:cubicBezTo>
                    <a:pt x="153" y="32"/>
                    <a:pt x="153" y="32"/>
                    <a:pt x="153" y="32"/>
                  </a:cubicBezTo>
                  <a:cubicBezTo>
                    <a:pt x="152" y="32"/>
                    <a:pt x="151" y="33"/>
                    <a:pt x="150" y="34"/>
                  </a:cubicBezTo>
                  <a:cubicBezTo>
                    <a:pt x="149" y="35"/>
                    <a:pt x="149" y="36"/>
                    <a:pt x="149" y="37"/>
                  </a:cubicBezTo>
                  <a:cubicBezTo>
                    <a:pt x="150" y="38"/>
                    <a:pt x="151" y="38"/>
                    <a:pt x="151" y="39"/>
                  </a:cubicBezTo>
                  <a:cubicBezTo>
                    <a:pt x="154" y="38"/>
                    <a:pt x="154" y="38"/>
                    <a:pt x="154" y="38"/>
                  </a:cubicBezTo>
                  <a:cubicBezTo>
                    <a:pt x="152" y="40"/>
                    <a:pt x="152" y="40"/>
                    <a:pt x="152" y="40"/>
                  </a:cubicBezTo>
                  <a:cubicBezTo>
                    <a:pt x="152" y="40"/>
                    <a:pt x="152" y="40"/>
                    <a:pt x="152" y="40"/>
                  </a:cubicBezTo>
                  <a:cubicBezTo>
                    <a:pt x="153" y="42"/>
                    <a:pt x="153" y="42"/>
                    <a:pt x="153" y="42"/>
                  </a:cubicBezTo>
                  <a:cubicBezTo>
                    <a:pt x="151" y="43"/>
                    <a:pt x="151" y="43"/>
                    <a:pt x="151" y="43"/>
                  </a:cubicBezTo>
                  <a:cubicBezTo>
                    <a:pt x="150" y="45"/>
                    <a:pt x="148" y="46"/>
                    <a:pt x="147" y="47"/>
                  </a:cubicBezTo>
                  <a:cubicBezTo>
                    <a:pt x="146" y="47"/>
                    <a:pt x="145" y="47"/>
                    <a:pt x="145" y="48"/>
                  </a:cubicBezTo>
                  <a:cubicBezTo>
                    <a:pt x="145" y="48"/>
                    <a:pt x="144" y="48"/>
                    <a:pt x="144" y="48"/>
                  </a:cubicBezTo>
                  <a:cubicBezTo>
                    <a:pt x="143" y="49"/>
                    <a:pt x="143" y="49"/>
                    <a:pt x="143" y="49"/>
                  </a:cubicBezTo>
                  <a:cubicBezTo>
                    <a:pt x="143" y="49"/>
                    <a:pt x="143" y="49"/>
                    <a:pt x="142" y="49"/>
                  </a:cubicBezTo>
                  <a:cubicBezTo>
                    <a:pt x="142" y="50"/>
                    <a:pt x="142" y="50"/>
                    <a:pt x="143" y="50"/>
                  </a:cubicBezTo>
                  <a:cubicBezTo>
                    <a:pt x="143" y="51"/>
                    <a:pt x="143" y="52"/>
                    <a:pt x="143" y="52"/>
                  </a:cubicBezTo>
                  <a:cubicBezTo>
                    <a:pt x="144" y="53"/>
                    <a:pt x="144" y="55"/>
                    <a:pt x="143" y="57"/>
                  </a:cubicBezTo>
                  <a:cubicBezTo>
                    <a:pt x="143" y="58"/>
                    <a:pt x="141" y="59"/>
                    <a:pt x="140" y="60"/>
                  </a:cubicBezTo>
                  <a:cubicBezTo>
                    <a:pt x="140" y="60"/>
                    <a:pt x="140" y="60"/>
                    <a:pt x="140" y="60"/>
                  </a:cubicBezTo>
                  <a:cubicBezTo>
                    <a:pt x="139" y="61"/>
                    <a:pt x="139" y="61"/>
                    <a:pt x="139" y="61"/>
                  </a:cubicBezTo>
                  <a:cubicBezTo>
                    <a:pt x="139" y="61"/>
                    <a:pt x="139" y="62"/>
                    <a:pt x="139" y="62"/>
                  </a:cubicBezTo>
                  <a:cubicBezTo>
                    <a:pt x="138" y="66"/>
                    <a:pt x="138" y="66"/>
                    <a:pt x="138" y="66"/>
                  </a:cubicBezTo>
                  <a:cubicBezTo>
                    <a:pt x="136" y="69"/>
                    <a:pt x="134" y="70"/>
                    <a:pt x="131" y="70"/>
                  </a:cubicBezTo>
                  <a:cubicBezTo>
                    <a:pt x="131" y="70"/>
                    <a:pt x="131" y="70"/>
                    <a:pt x="131" y="70"/>
                  </a:cubicBezTo>
                  <a:cubicBezTo>
                    <a:pt x="130" y="70"/>
                    <a:pt x="130" y="70"/>
                    <a:pt x="129" y="70"/>
                  </a:cubicBezTo>
                  <a:cubicBezTo>
                    <a:pt x="129" y="69"/>
                    <a:pt x="129" y="69"/>
                    <a:pt x="129" y="69"/>
                  </a:cubicBezTo>
                  <a:cubicBezTo>
                    <a:pt x="129" y="70"/>
                    <a:pt x="129" y="70"/>
                    <a:pt x="129" y="70"/>
                  </a:cubicBezTo>
                  <a:cubicBezTo>
                    <a:pt x="129" y="70"/>
                    <a:pt x="128" y="70"/>
                    <a:pt x="128" y="70"/>
                  </a:cubicBezTo>
                  <a:cubicBezTo>
                    <a:pt x="128" y="70"/>
                    <a:pt x="127" y="70"/>
                    <a:pt x="127" y="70"/>
                  </a:cubicBezTo>
                  <a:cubicBezTo>
                    <a:pt x="126" y="70"/>
                    <a:pt x="126" y="70"/>
                    <a:pt x="126" y="70"/>
                  </a:cubicBezTo>
                  <a:cubicBezTo>
                    <a:pt x="124" y="71"/>
                    <a:pt x="124" y="71"/>
                    <a:pt x="124" y="71"/>
                  </a:cubicBezTo>
                  <a:cubicBezTo>
                    <a:pt x="121" y="71"/>
                    <a:pt x="119" y="72"/>
                    <a:pt x="117" y="73"/>
                  </a:cubicBezTo>
                  <a:cubicBezTo>
                    <a:pt x="117" y="73"/>
                    <a:pt x="117" y="73"/>
                    <a:pt x="117" y="73"/>
                  </a:cubicBezTo>
                  <a:cubicBezTo>
                    <a:pt x="116" y="73"/>
                    <a:pt x="115" y="74"/>
                    <a:pt x="114" y="74"/>
                  </a:cubicBezTo>
                  <a:cubicBezTo>
                    <a:pt x="113" y="74"/>
                    <a:pt x="113" y="75"/>
                    <a:pt x="112" y="75"/>
                  </a:cubicBezTo>
                  <a:cubicBezTo>
                    <a:pt x="109" y="75"/>
                    <a:pt x="105" y="73"/>
                    <a:pt x="102" y="72"/>
                  </a:cubicBezTo>
                  <a:cubicBezTo>
                    <a:pt x="101" y="71"/>
                    <a:pt x="101" y="71"/>
                    <a:pt x="101" y="71"/>
                  </a:cubicBezTo>
                  <a:cubicBezTo>
                    <a:pt x="100" y="71"/>
                    <a:pt x="98" y="70"/>
                    <a:pt x="97" y="69"/>
                  </a:cubicBezTo>
                  <a:cubicBezTo>
                    <a:pt x="91" y="68"/>
                    <a:pt x="91" y="68"/>
                    <a:pt x="91" y="68"/>
                  </a:cubicBezTo>
                  <a:cubicBezTo>
                    <a:pt x="92" y="68"/>
                    <a:pt x="92" y="68"/>
                    <a:pt x="92" y="68"/>
                  </a:cubicBezTo>
                  <a:cubicBezTo>
                    <a:pt x="90" y="68"/>
                    <a:pt x="87" y="68"/>
                    <a:pt x="83" y="69"/>
                  </a:cubicBezTo>
                  <a:cubicBezTo>
                    <a:pt x="81" y="69"/>
                    <a:pt x="81" y="69"/>
                    <a:pt x="81" y="69"/>
                  </a:cubicBezTo>
                  <a:cubicBezTo>
                    <a:pt x="80" y="70"/>
                    <a:pt x="80" y="70"/>
                    <a:pt x="80" y="70"/>
                  </a:cubicBezTo>
                  <a:cubicBezTo>
                    <a:pt x="80" y="70"/>
                    <a:pt x="80" y="71"/>
                    <a:pt x="80" y="71"/>
                  </a:cubicBezTo>
                  <a:cubicBezTo>
                    <a:pt x="80" y="71"/>
                    <a:pt x="80" y="71"/>
                    <a:pt x="80" y="71"/>
                  </a:cubicBezTo>
                  <a:cubicBezTo>
                    <a:pt x="80" y="71"/>
                    <a:pt x="80" y="73"/>
                    <a:pt x="79" y="74"/>
                  </a:cubicBezTo>
                  <a:cubicBezTo>
                    <a:pt x="77" y="77"/>
                    <a:pt x="71" y="80"/>
                    <a:pt x="67" y="80"/>
                  </a:cubicBezTo>
                  <a:cubicBezTo>
                    <a:pt x="66" y="80"/>
                    <a:pt x="66" y="80"/>
                    <a:pt x="66" y="80"/>
                  </a:cubicBezTo>
                  <a:cubicBezTo>
                    <a:pt x="64" y="80"/>
                    <a:pt x="63" y="80"/>
                    <a:pt x="62" y="80"/>
                  </a:cubicBezTo>
                  <a:cubicBezTo>
                    <a:pt x="60" y="79"/>
                    <a:pt x="59" y="79"/>
                    <a:pt x="57" y="79"/>
                  </a:cubicBezTo>
                  <a:cubicBezTo>
                    <a:pt x="55" y="79"/>
                    <a:pt x="54" y="79"/>
                    <a:pt x="52" y="80"/>
                  </a:cubicBezTo>
                  <a:cubicBezTo>
                    <a:pt x="52" y="80"/>
                    <a:pt x="51" y="81"/>
                    <a:pt x="50" y="81"/>
                  </a:cubicBezTo>
                  <a:cubicBezTo>
                    <a:pt x="50" y="81"/>
                    <a:pt x="50" y="81"/>
                    <a:pt x="50" y="81"/>
                  </a:cubicBezTo>
                  <a:cubicBezTo>
                    <a:pt x="47" y="82"/>
                    <a:pt x="43" y="84"/>
                    <a:pt x="40" y="84"/>
                  </a:cubicBezTo>
                  <a:cubicBezTo>
                    <a:pt x="40" y="84"/>
                    <a:pt x="39" y="84"/>
                    <a:pt x="39" y="84"/>
                  </a:cubicBezTo>
                  <a:cubicBezTo>
                    <a:pt x="37" y="83"/>
                    <a:pt x="35" y="82"/>
                    <a:pt x="33" y="80"/>
                  </a:cubicBezTo>
                  <a:cubicBezTo>
                    <a:pt x="33" y="80"/>
                    <a:pt x="33" y="80"/>
                    <a:pt x="33" y="80"/>
                  </a:cubicBezTo>
                  <a:cubicBezTo>
                    <a:pt x="32" y="79"/>
                    <a:pt x="32" y="79"/>
                    <a:pt x="32" y="79"/>
                  </a:cubicBezTo>
                  <a:cubicBezTo>
                    <a:pt x="32" y="79"/>
                    <a:pt x="32" y="79"/>
                    <a:pt x="32" y="79"/>
                  </a:cubicBezTo>
                  <a:cubicBezTo>
                    <a:pt x="29" y="77"/>
                    <a:pt x="27" y="75"/>
                    <a:pt x="24" y="72"/>
                  </a:cubicBezTo>
                  <a:cubicBezTo>
                    <a:pt x="23" y="71"/>
                    <a:pt x="23" y="71"/>
                    <a:pt x="23" y="71"/>
                  </a:cubicBezTo>
                  <a:cubicBezTo>
                    <a:pt x="19" y="68"/>
                    <a:pt x="14" y="64"/>
                    <a:pt x="13" y="59"/>
                  </a:cubicBezTo>
                  <a:cubicBezTo>
                    <a:pt x="13" y="57"/>
                    <a:pt x="14" y="55"/>
                    <a:pt x="14" y="54"/>
                  </a:cubicBezTo>
                  <a:cubicBezTo>
                    <a:pt x="12" y="55"/>
                    <a:pt x="10" y="56"/>
                    <a:pt x="9" y="57"/>
                  </a:cubicBezTo>
                  <a:cubicBezTo>
                    <a:pt x="6" y="63"/>
                    <a:pt x="4" y="64"/>
                    <a:pt x="6" y="71"/>
                  </a:cubicBezTo>
                  <a:cubicBezTo>
                    <a:pt x="4" y="72"/>
                    <a:pt x="3" y="73"/>
                    <a:pt x="1" y="73"/>
                  </a:cubicBezTo>
                  <a:cubicBezTo>
                    <a:pt x="1" y="73"/>
                    <a:pt x="1" y="73"/>
                    <a:pt x="1" y="73"/>
                  </a:cubicBezTo>
                  <a:cubicBezTo>
                    <a:pt x="1" y="75"/>
                    <a:pt x="3" y="77"/>
                    <a:pt x="2" y="78"/>
                  </a:cubicBezTo>
                  <a:cubicBezTo>
                    <a:pt x="0" y="81"/>
                    <a:pt x="0" y="82"/>
                    <a:pt x="1" y="86"/>
                  </a:cubicBezTo>
                  <a:cubicBezTo>
                    <a:pt x="1" y="87"/>
                    <a:pt x="0" y="93"/>
                    <a:pt x="1" y="94"/>
                  </a:cubicBezTo>
                  <a:cubicBezTo>
                    <a:pt x="3" y="95"/>
                    <a:pt x="5" y="95"/>
                    <a:pt x="6" y="97"/>
                  </a:cubicBezTo>
                  <a:cubicBezTo>
                    <a:pt x="7" y="99"/>
                    <a:pt x="8" y="100"/>
                    <a:pt x="10" y="101"/>
                  </a:cubicBezTo>
                  <a:cubicBezTo>
                    <a:pt x="8" y="101"/>
                    <a:pt x="8" y="100"/>
                    <a:pt x="7" y="100"/>
                  </a:cubicBezTo>
                  <a:cubicBezTo>
                    <a:pt x="6" y="100"/>
                    <a:pt x="7" y="101"/>
                    <a:pt x="7" y="103"/>
                  </a:cubicBezTo>
                  <a:cubicBezTo>
                    <a:pt x="7" y="104"/>
                    <a:pt x="7" y="105"/>
                    <a:pt x="8" y="106"/>
                  </a:cubicBezTo>
                  <a:cubicBezTo>
                    <a:pt x="7" y="106"/>
                    <a:pt x="6" y="106"/>
                    <a:pt x="5" y="106"/>
                  </a:cubicBezTo>
                  <a:cubicBezTo>
                    <a:pt x="3" y="106"/>
                    <a:pt x="4" y="109"/>
                    <a:pt x="5" y="112"/>
                  </a:cubicBezTo>
                  <a:cubicBezTo>
                    <a:pt x="6" y="114"/>
                    <a:pt x="8" y="117"/>
                    <a:pt x="9" y="120"/>
                  </a:cubicBezTo>
                  <a:cubicBezTo>
                    <a:pt x="10" y="121"/>
                    <a:pt x="9" y="121"/>
                    <a:pt x="11" y="122"/>
                  </a:cubicBezTo>
                  <a:cubicBezTo>
                    <a:pt x="13" y="122"/>
                    <a:pt x="15" y="124"/>
                    <a:pt x="17" y="124"/>
                  </a:cubicBezTo>
                  <a:cubicBezTo>
                    <a:pt x="19" y="124"/>
                    <a:pt x="20" y="123"/>
                    <a:pt x="21" y="122"/>
                  </a:cubicBezTo>
                  <a:cubicBezTo>
                    <a:pt x="23" y="126"/>
                    <a:pt x="28" y="131"/>
                    <a:pt x="27" y="136"/>
                  </a:cubicBezTo>
                  <a:cubicBezTo>
                    <a:pt x="27" y="137"/>
                    <a:pt x="27" y="140"/>
                    <a:pt x="26" y="142"/>
                  </a:cubicBezTo>
                  <a:cubicBezTo>
                    <a:pt x="25" y="142"/>
                    <a:pt x="25" y="142"/>
                    <a:pt x="25" y="142"/>
                  </a:cubicBezTo>
                  <a:cubicBezTo>
                    <a:pt x="25" y="143"/>
                    <a:pt x="24" y="142"/>
                    <a:pt x="24" y="144"/>
                  </a:cubicBezTo>
                  <a:cubicBezTo>
                    <a:pt x="25" y="145"/>
                    <a:pt x="27" y="145"/>
                    <a:pt x="27" y="146"/>
                  </a:cubicBezTo>
                  <a:cubicBezTo>
                    <a:pt x="28" y="147"/>
                    <a:pt x="29" y="148"/>
                    <a:pt x="29" y="149"/>
                  </a:cubicBezTo>
                  <a:cubicBezTo>
                    <a:pt x="30" y="152"/>
                    <a:pt x="31" y="155"/>
                    <a:pt x="32" y="158"/>
                  </a:cubicBezTo>
                  <a:cubicBezTo>
                    <a:pt x="33" y="161"/>
                    <a:pt x="31" y="160"/>
                    <a:pt x="30" y="163"/>
                  </a:cubicBezTo>
                  <a:cubicBezTo>
                    <a:pt x="30" y="164"/>
                    <a:pt x="31" y="168"/>
                    <a:pt x="32" y="169"/>
                  </a:cubicBezTo>
                  <a:cubicBezTo>
                    <a:pt x="33" y="173"/>
                    <a:pt x="35" y="172"/>
                    <a:pt x="39" y="173"/>
                  </a:cubicBezTo>
                  <a:cubicBezTo>
                    <a:pt x="40" y="173"/>
                    <a:pt x="41" y="173"/>
                    <a:pt x="42" y="173"/>
                  </a:cubicBezTo>
                  <a:cubicBezTo>
                    <a:pt x="42" y="173"/>
                    <a:pt x="42" y="173"/>
                    <a:pt x="42" y="173"/>
                  </a:cubicBezTo>
                  <a:cubicBezTo>
                    <a:pt x="42" y="173"/>
                    <a:pt x="43" y="173"/>
                    <a:pt x="44" y="172"/>
                  </a:cubicBezTo>
                  <a:cubicBezTo>
                    <a:pt x="44" y="172"/>
                    <a:pt x="44" y="172"/>
                    <a:pt x="44" y="172"/>
                  </a:cubicBezTo>
                  <a:cubicBezTo>
                    <a:pt x="44" y="172"/>
                    <a:pt x="44" y="172"/>
                    <a:pt x="44" y="172"/>
                  </a:cubicBezTo>
                  <a:cubicBezTo>
                    <a:pt x="45" y="172"/>
                    <a:pt x="46" y="173"/>
                    <a:pt x="47" y="173"/>
                  </a:cubicBezTo>
                  <a:cubicBezTo>
                    <a:pt x="48" y="173"/>
                    <a:pt x="48" y="174"/>
                    <a:pt x="49" y="174"/>
                  </a:cubicBezTo>
                  <a:cubicBezTo>
                    <a:pt x="49" y="174"/>
                    <a:pt x="50" y="174"/>
                    <a:pt x="50" y="174"/>
                  </a:cubicBezTo>
                  <a:cubicBezTo>
                    <a:pt x="51" y="173"/>
                    <a:pt x="52" y="172"/>
                    <a:pt x="54" y="172"/>
                  </a:cubicBezTo>
                  <a:cubicBezTo>
                    <a:pt x="55" y="171"/>
                    <a:pt x="57" y="170"/>
                    <a:pt x="58" y="170"/>
                  </a:cubicBezTo>
                  <a:cubicBezTo>
                    <a:pt x="58" y="170"/>
                    <a:pt x="58" y="170"/>
                    <a:pt x="58" y="170"/>
                  </a:cubicBezTo>
                  <a:cubicBezTo>
                    <a:pt x="59" y="170"/>
                    <a:pt x="60" y="170"/>
                    <a:pt x="60" y="171"/>
                  </a:cubicBezTo>
                  <a:cubicBezTo>
                    <a:pt x="61" y="171"/>
                    <a:pt x="62" y="172"/>
                    <a:pt x="63" y="172"/>
                  </a:cubicBezTo>
                  <a:cubicBezTo>
                    <a:pt x="63" y="172"/>
                    <a:pt x="63" y="172"/>
                    <a:pt x="63" y="172"/>
                  </a:cubicBezTo>
                  <a:cubicBezTo>
                    <a:pt x="64" y="172"/>
                    <a:pt x="64" y="171"/>
                    <a:pt x="65" y="171"/>
                  </a:cubicBezTo>
                  <a:cubicBezTo>
                    <a:pt x="66" y="170"/>
                    <a:pt x="66" y="168"/>
                    <a:pt x="67" y="166"/>
                  </a:cubicBezTo>
                  <a:cubicBezTo>
                    <a:pt x="67" y="169"/>
                    <a:pt x="69" y="170"/>
                    <a:pt x="69" y="173"/>
                  </a:cubicBezTo>
                  <a:cubicBezTo>
                    <a:pt x="70" y="176"/>
                    <a:pt x="70" y="181"/>
                    <a:pt x="70" y="185"/>
                  </a:cubicBezTo>
                  <a:cubicBezTo>
                    <a:pt x="74" y="182"/>
                    <a:pt x="77" y="179"/>
                    <a:pt x="82" y="179"/>
                  </a:cubicBezTo>
                  <a:cubicBezTo>
                    <a:pt x="90" y="178"/>
                    <a:pt x="96" y="179"/>
                    <a:pt x="98" y="170"/>
                  </a:cubicBezTo>
                  <a:cubicBezTo>
                    <a:pt x="98" y="172"/>
                    <a:pt x="99" y="172"/>
                    <a:pt x="100" y="173"/>
                  </a:cubicBezTo>
                  <a:cubicBezTo>
                    <a:pt x="102" y="175"/>
                    <a:pt x="103" y="177"/>
                    <a:pt x="106" y="178"/>
                  </a:cubicBezTo>
                  <a:cubicBezTo>
                    <a:pt x="106" y="178"/>
                    <a:pt x="106" y="178"/>
                    <a:pt x="106" y="178"/>
                  </a:cubicBezTo>
                  <a:cubicBezTo>
                    <a:pt x="108" y="178"/>
                    <a:pt x="110" y="176"/>
                    <a:pt x="111" y="176"/>
                  </a:cubicBezTo>
                  <a:cubicBezTo>
                    <a:pt x="112" y="179"/>
                    <a:pt x="111" y="183"/>
                    <a:pt x="115" y="183"/>
                  </a:cubicBezTo>
                  <a:cubicBezTo>
                    <a:pt x="115" y="183"/>
                    <a:pt x="115" y="183"/>
                    <a:pt x="115" y="183"/>
                  </a:cubicBezTo>
                  <a:cubicBezTo>
                    <a:pt x="116" y="183"/>
                    <a:pt x="117" y="182"/>
                    <a:pt x="118" y="182"/>
                  </a:cubicBezTo>
                  <a:cubicBezTo>
                    <a:pt x="121" y="180"/>
                    <a:pt x="122" y="179"/>
                    <a:pt x="123" y="176"/>
                  </a:cubicBezTo>
                  <a:cubicBezTo>
                    <a:pt x="123" y="178"/>
                    <a:pt x="125" y="179"/>
                    <a:pt x="126" y="181"/>
                  </a:cubicBezTo>
                  <a:cubicBezTo>
                    <a:pt x="127" y="179"/>
                    <a:pt x="128" y="178"/>
                    <a:pt x="129" y="177"/>
                  </a:cubicBezTo>
                  <a:cubicBezTo>
                    <a:pt x="127" y="178"/>
                    <a:pt x="128" y="180"/>
                    <a:pt x="128" y="182"/>
                  </a:cubicBezTo>
                  <a:cubicBezTo>
                    <a:pt x="128" y="182"/>
                    <a:pt x="130" y="183"/>
                    <a:pt x="131" y="183"/>
                  </a:cubicBezTo>
                  <a:cubicBezTo>
                    <a:pt x="131" y="183"/>
                    <a:pt x="131" y="183"/>
                    <a:pt x="131" y="183"/>
                  </a:cubicBezTo>
                  <a:cubicBezTo>
                    <a:pt x="132" y="183"/>
                    <a:pt x="132" y="182"/>
                    <a:pt x="132" y="180"/>
                  </a:cubicBezTo>
                  <a:cubicBezTo>
                    <a:pt x="133" y="183"/>
                    <a:pt x="133" y="187"/>
                    <a:pt x="134" y="189"/>
                  </a:cubicBezTo>
                  <a:cubicBezTo>
                    <a:pt x="134" y="190"/>
                    <a:pt x="134" y="199"/>
                    <a:pt x="136" y="200"/>
                  </a:cubicBezTo>
                  <a:cubicBezTo>
                    <a:pt x="136" y="200"/>
                    <a:pt x="136" y="200"/>
                    <a:pt x="136" y="200"/>
                  </a:cubicBezTo>
                  <a:cubicBezTo>
                    <a:pt x="137" y="200"/>
                    <a:pt x="138" y="199"/>
                    <a:pt x="138" y="198"/>
                  </a:cubicBezTo>
                  <a:cubicBezTo>
                    <a:pt x="140" y="198"/>
                    <a:pt x="142" y="196"/>
                    <a:pt x="143" y="196"/>
                  </a:cubicBezTo>
                  <a:cubicBezTo>
                    <a:pt x="145" y="195"/>
                    <a:pt x="147" y="194"/>
                    <a:pt x="149" y="193"/>
                  </a:cubicBezTo>
                  <a:cubicBezTo>
                    <a:pt x="151" y="192"/>
                    <a:pt x="153" y="192"/>
                    <a:pt x="155" y="191"/>
                  </a:cubicBezTo>
                  <a:cubicBezTo>
                    <a:pt x="158" y="190"/>
                    <a:pt x="164" y="188"/>
                    <a:pt x="167" y="186"/>
                  </a:cubicBezTo>
                  <a:cubicBezTo>
                    <a:pt x="169" y="184"/>
                    <a:pt x="169" y="180"/>
                    <a:pt x="170" y="177"/>
                  </a:cubicBezTo>
                  <a:cubicBezTo>
                    <a:pt x="172" y="176"/>
                    <a:pt x="173" y="176"/>
                    <a:pt x="173" y="174"/>
                  </a:cubicBezTo>
                  <a:cubicBezTo>
                    <a:pt x="173" y="173"/>
                    <a:pt x="172" y="170"/>
                    <a:pt x="171" y="168"/>
                  </a:cubicBezTo>
                  <a:cubicBezTo>
                    <a:pt x="171" y="169"/>
                    <a:pt x="172" y="170"/>
                    <a:pt x="173" y="170"/>
                  </a:cubicBezTo>
                  <a:cubicBezTo>
                    <a:pt x="174" y="170"/>
                    <a:pt x="175" y="169"/>
                    <a:pt x="176" y="168"/>
                  </a:cubicBezTo>
                  <a:cubicBezTo>
                    <a:pt x="177" y="166"/>
                    <a:pt x="176" y="161"/>
                    <a:pt x="175" y="160"/>
                  </a:cubicBezTo>
                  <a:cubicBezTo>
                    <a:pt x="176" y="160"/>
                    <a:pt x="177" y="159"/>
                    <a:pt x="179" y="158"/>
                  </a:cubicBezTo>
                  <a:cubicBezTo>
                    <a:pt x="184" y="154"/>
                    <a:pt x="178" y="154"/>
                    <a:pt x="174" y="152"/>
                  </a:cubicBezTo>
                  <a:cubicBezTo>
                    <a:pt x="175" y="151"/>
                    <a:pt x="177" y="150"/>
                    <a:pt x="177" y="149"/>
                  </a:cubicBezTo>
                  <a:cubicBezTo>
                    <a:pt x="178" y="142"/>
                    <a:pt x="178" y="143"/>
                    <a:pt x="173" y="143"/>
                  </a:cubicBezTo>
                  <a:cubicBezTo>
                    <a:pt x="174" y="142"/>
                    <a:pt x="175" y="141"/>
                    <a:pt x="177" y="141"/>
                  </a:cubicBezTo>
                  <a:cubicBezTo>
                    <a:pt x="178" y="140"/>
                    <a:pt x="179" y="139"/>
                    <a:pt x="181" y="138"/>
                  </a:cubicBezTo>
                  <a:cubicBezTo>
                    <a:pt x="185" y="134"/>
                    <a:pt x="185" y="132"/>
                    <a:pt x="185" y="127"/>
                  </a:cubicBezTo>
                  <a:cubicBezTo>
                    <a:pt x="186" y="129"/>
                    <a:pt x="186" y="131"/>
                    <a:pt x="188" y="131"/>
                  </a:cubicBezTo>
                  <a:cubicBezTo>
                    <a:pt x="188" y="131"/>
                    <a:pt x="189" y="131"/>
                    <a:pt x="189" y="130"/>
                  </a:cubicBezTo>
                  <a:cubicBezTo>
                    <a:pt x="193" y="129"/>
                    <a:pt x="195" y="123"/>
                    <a:pt x="198" y="120"/>
                  </a:cubicBezTo>
                  <a:cubicBezTo>
                    <a:pt x="198" y="120"/>
                    <a:pt x="199" y="121"/>
                    <a:pt x="200" y="121"/>
                  </a:cubicBezTo>
                  <a:cubicBezTo>
                    <a:pt x="202" y="121"/>
                    <a:pt x="204" y="119"/>
                    <a:pt x="206" y="119"/>
                  </a:cubicBezTo>
                  <a:cubicBezTo>
                    <a:pt x="202" y="117"/>
                    <a:pt x="207" y="112"/>
                    <a:pt x="206" y="111"/>
                  </a:cubicBezTo>
                  <a:cubicBezTo>
                    <a:pt x="206" y="111"/>
                    <a:pt x="205" y="111"/>
                    <a:pt x="205" y="111"/>
                  </a:cubicBezTo>
                  <a:cubicBezTo>
                    <a:pt x="205" y="111"/>
                    <a:pt x="202" y="113"/>
                    <a:pt x="202" y="113"/>
                  </a:cubicBezTo>
                  <a:cubicBezTo>
                    <a:pt x="202" y="109"/>
                    <a:pt x="202" y="106"/>
                    <a:pt x="202" y="101"/>
                  </a:cubicBezTo>
                  <a:cubicBezTo>
                    <a:pt x="203" y="97"/>
                    <a:pt x="204" y="93"/>
                    <a:pt x="206" y="89"/>
                  </a:cubicBezTo>
                  <a:cubicBezTo>
                    <a:pt x="207" y="87"/>
                    <a:pt x="208" y="83"/>
                    <a:pt x="211" y="82"/>
                  </a:cubicBezTo>
                  <a:cubicBezTo>
                    <a:pt x="211" y="82"/>
                    <a:pt x="211" y="82"/>
                    <a:pt x="212" y="82"/>
                  </a:cubicBezTo>
                  <a:cubicBezTo>
                    <a:pt x="212" y="82"/>
                    <a:pt x="213" y="82"/>
                    <a:pt x="213" y="82"/>
                  </a:cubicBezTo>
                  <a:cubicBezTo>
                    <a:pt x="214" y="82"/>
                    <a:pt x="214" y="82"/>
                    <a:pt x="215" y="82"/>
                  </a:cubicBezTo>
                  <a:cubicBezTo>
                    <a:pt x="215" y="82"/>
                    <a:pt x="215" y="82"/>
                    <a:pt x="215" y="82"/>
                  </a:cubicBezTo>
                  <a:cubicBezTo>
                    <a:pt x="216" y="81"/>
                    <a:pt x="215" y="81"/>
                    <a:pt x="214" y="80"/>
                  </a:cubicBezTo>
                  <a:cubicBezTo>
                    <a:pt x="214" y="78"/>
                    <a:pt x="213" y="77"/>
                    <a:pt x="212" y="75"/>
                  </a:cubicBezTo>
                  <a:cubicBezTo>
                    <a:pt x="216" y="76"/>
                    <a:pt x="215" y="79"/>
                    <a:pt x="219" y="81"/>
                  </a:cubicBezTo>
                  <a:cubicBezTo>
                    <a:pt x="222" y="81"/>
                    <a:pt x="223" y="81"/>
                    <a:pt x="226" y="81"/>
                  </a:cubicBezTo>
                  <a:cubicBezTo>
                    <a:pt x="228" y="81"/>
                    <a:pt x="230" y="82"/>
                    <a:pt x="231" y="82"/>
                  </a:cubicBezTo>
                  <a:cubicBezTo>
                    <a:pt x="234" y="82"/>
                    <a:pt x="236" y="81"/>
                    <a:pt x="238" y="77"/>
                  </a:cubicBezTo>
                  <a:cubicBezTo>
                    <a:pt x="236" y="76"/>
                    <a:pt x="234" y="75"/>
                    <a:pt x="232" y="74"/>
                  </a:cubicBezTo>
                  <a:cubicBezTo>
                    <a:pt x="224" y="67"/>
                    <a:pt x="215" y="61"/>
                    <a:pt x="208" y="53"/>
                  </a:cubicBezTo>
                  <a:cubicBezTo>
                    <a:pt x="209" y="53"/>
                    <a:pt x="209" y="53"/>
                    <a:pt x="210" y="53"/>
                  </a:cubicBezTo>
                  <a:cubicBezTo>
                    <a:pt x="211" y="53"/>
                    <a:pt x="211" y="53"/>
                    <a:pt x="210" y="51"/>
                  </a:cubicBezTo>
                  <a:cubicBezTo>
                    <a:pt x="211" y="52"/>
                    <a:pt x="211" y="52"/>
                    <a:pt x="212" y="52"/>
                  </a:cubicBezTo>
                  <a:cubicBezTo>
                    <a:pt x="213" y="52"/>
                    <a:pt x="214" y="51"/>
                    <a:pt x="214" y="49"/>
                  </a:cubicBezTo>
                  <a:cubicBezTo>
                    <a:pt x="215" y="46"/>
                    <a:pt x="213" y="42"/>
                    <a:pt x="210" y="39"/>
                  </a:cubicBezTo>
                  <a:cubicBezTo>
                    <a:pt x="210" y="39"/>
                    <a:pt x="205" y="36"/>
                    <a:pt x="205" y="34"/>
                  </a:cubicBezTo>
                  <a:cubicBezTo>
                    <a:pt x="208" y="33"/>
                    <a:pt x="208" y="33"/>
                    <a:pt x="208" y="33"/>
                  </a:cubicBezTo>
                  <a:cubicBezTo>
                    <a:pt x="206" y="33"/>
                    <a:pt x="205" y="32"/>
                    <a:pt x="204" y="32"/>
                  </a:cubicBezTo>
                  <a:cubicBezTo>
                    <a:pt x="205" y="31"/>
                    <a:pt x="205" y="30"/>
                    <a:pt x="205" y="28"/>
                  </a:cubicBezTo>
                  <a:cubicBezTo>
                    <a:pt x="204" y="28"/>
                    <a:pt x="203" y="28"/>
                    <a:pt x="202" y="27"/>
                  </a:cubicBezTo>
                  <a:cubicBezTo>
                    <a:pt x="201" y="27"/>
                    <a:pt x="197" y="25"/>
                    <a:pt x="197" y="25"/>
                  </a:cubicBezTo>
                  <a:cubicBezTo>
                    <a:pt x="197" y="24"/>
                    <a:pt x="197" y="24"/>
                    <a:pt x="197" y="24"/>
                  </a:cubicBezTo>
                  <a:cubicBezTo>
                    <a:pt x="197" y="24"/>
                    <a:pt x="198" y="24"/>
                    <a:pt x="198" y="24"/>
                  </a:cubicBezTo>
                  <a:cubicBezTo>
                    <a:pt x="198" y="24"/>
                    <a:pt x="198" y="25"/>
                    <a:pt x="198" y="25"/>
                  </a:cubicBezTo>
                  <a:cubicBezTo>
                    <a:pt x="198" y="25"/>
                    <a:pt x="198" y="25"/>
                    <a:pt x="198" y="25"/>
                  </a:cubicBezTo>
                  <a:cubicBezTo>
                    <a:pt x="198" y="25"/>
                    <a:pt x="198" y="25"/>
                    <a:pt x="198" y="25"/>
                  </a:cubicBezTo>
                  <a:cubicBezTo>
                    <a:pt x="198" y="25"/>
                    <a:pt x="199" y="25"/>
                    <a:pt x="199" y="24"/>
                  </a:cubicBezTo>
                  <a:cubicBezTo>
                    <a:pt x="199" y="24"/>
                    <a:pt x="199" y="24"/>
                    <a:pt x="199" y="24"/>
                  </a:cubicBezTo>
                  <a:cubicBezTo>
                    <a:pt x="199" y="24"/>
                    <a:pt x="199" y="24"/>
                    <a:pt x="199" y="24"/>
                  </a:cubicBezTo>
                  <a:cubicBezTo>
                    <a:pt x="200" y="24"/>
                    <a:pt x="201" y="21"/>
                    <a:pt x="201" y="20"/>
                  </a:cubicBezTo>
                  <a:cubicBezTo>
                    <a:pt x="201" y="20"/>
                    <a:pt x="201" y="20"/>
                    <a:pt x="201" y="20"/>
                  </a:cubicBezTo>
                  <a:cubicBezTo>
                    <a:pt x="200" y="20"/>
                    <a:pt x="199" y="20"/>
                    <a:pt x="199" y="20"/>
                  </a:cubicBezTo>
                  <a:cubicBezTo>
                    <a:pt x="198" y="19"/>
                    <a:pt x="198" y="19"/>
                    <a:pt x="198" y="19"/>
                  </a:cubicBezTo>
                  <a:cubicBezTo>
                    <a:pt x="197" y="18"/>
                    <a:pt x="197" y="18"/>
                    <a:pt x="197" y="18"/>
                  </a:cubicBezTo>
                  <a:cubicBezTo>
                    <a:pt x="198" y="18"/>
                    <a:pt x="198" y="18"/>
                    <a:pt x="198" y="18"/>
                  </a:cubicBezTo>
                  <a:cubicBezTo>
                    <a:pt x="196" y="17"/>
                    <a:pt x="196" y="17"/>
                    <a:pt x="194" y="16"/>
                  </a:cubicBezTo>
                  <a:cubicBezTo>
                    <a:pt x="195" y="16"/>
                    <a:pt x="195" y="16"/>
                    <a:pt x="195" y="16"/>
                  </a:cubicBezTo>
                  <a:cubicBezTo>
                    <a:pt x="195" y="16"/>
                    <a:pt x="196" y="16"/>
                    <a:pt x="196" y="16"/>
                  </a:cubicBezTo>
                  <a:cubicBezTo>
                    <a:pt x="196" y="16"/>
                    <a:pt x="197" y="16"/>
                    <a:pt x="198" y="16"/>
                  </a:cubicBezTo>
                  <a:cubicBezTo>
                    <a:pt x="198" y="16"/>
                    <a:pt x="199" y="16"/>
                    <a:pt x="200" y="16"/>
                  </a:cubicBezTo>
                  <a:cubicBezTo>
                    <a:pt x="201" y="16"/>
                    <a:pt x="201" y="16"/>
                    <a:pt x="202" y="16"/>
                  </a:cubicBezTo>
                  <a:cubicBezTo>
                    <a:pt x="204" y="16"/>
                    <a:pt x="202" y="13"/>
                    <a:pt x="202" y="12"/>
                  </a:cubicBezTo>
                  <a:cubicBezTo>
                    <a:pt x="205" y="13"/>
                    <a:pt x="208" y="14"/>
                    <a:pt x="210" y="14"/>
                  </a:cubicBezTo>
                  <a:cubicBezTo>
                    <a:pt x="209" y="13"/>
                    <a:pt x="209" y="11"/>
                    <a:pt x="207" y="10"/>
                  </a:cubicBezTo>
                  <a:cubicBezTo>
                    <a:pt x="207" y="9"/>
                    <a:pt x="204" y="6"/>
                    <a:pt x="202" y="6"/>
                  </a:cubicBezTo>
                  <a:cubicBezTo>
                    <a:pt x="202" y="6"/>
                    <a:pt x="202" y="6"/>
                    <a:pt x="202" y="6"/>
                  </a:cubicBezTo>
                  <a:cubicBezTo>
                    <a:pt x="202" y="6"/>
                    <a:pt x="202" y="5"/>
                    <a:pt x="202" y="5"/>
                  </a:cubicBezTo>
                  <a:cubicBezTo>
                    <a:pt x="201" y="5"/>
                    <a:pt x="200" y="4"/>
                    <a:pt x="199" y="4"/>
                  </a:cubicBezTo>
                  <a:cubicBezTo>
                    <a:pt x="193" y="2"/>
                    <a:pt x="187"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0" name="Freeform 1509">
              <a:extLst>
                <a:ext uri="{FF2B5EF4-FFF2-40B4-BE49-F238E27FC236}">
                  <a16:creationId xmlns:a16="http://schemas.microsoft.com/office/drawing/2014/main" id="{C212C5BB-BFBB-41EF-8C86-10A83B28D24B}"/>
                </a:ext>
              </a:extLst>
            </p:cNvPr>
            <p:cNvSpPr>
              <a:spLocks noEditPoints="1"/>
            </p:cNvSpPr>
            <p:nvPr/>
          </p:nvSpPr>
          <p:spPr bwMode="auto">
            <a:xfrm>
              <a:off x="4000160" y="4382731"/>
              <a:ext cx="302026" cy="213432"/>
            </a:xfrm>
            <a:custGeom>
              <a:avLst/>
              <a:gdLst>
                <a:gd name="T0" fmla="*/ 76 w 95"/>
                <a:gd name="T1" fmla="*/ 58 h 67"/>
                <a:gd name="T2" fmla="*/ 76 w 95"/>
                <a:gd name="T3" fmla="*/ 58 h 67"/>
                <a:gd name="T4" fmla="*/ 32 w 95"/>
                <a:gd name="T5" fmla="*/ 9 h 67"/>
                <a:gd name="T6" fmla="*/ 13 w 95"/>
                <a:gd name="T7" fmla="*/ 36 h 67"/>
                <a:gd name="T8" fmla="*/ 6 w 95"/>
                <a:gd name="T9" fmla="*/ 36 h 67"/>
                <a:gd name="T10" fmla="*/ 3 w 95"/>
                <a:gd name="T11" fmla="*/ 41 h 67"/>
                <a:gd name="T12" fmla="*/ 4 w 95"/>
                <a:gd name="T13" fmla="*/ 47 h 67"/>
                <a:gd name="T14" fmla="*/ 2 w 95"/>
                <a:gd name="T15" fmla="*/ 56 h 67"/>
                <a:gd name="T16" fmla="*/ 5 w 95"/>
                <a:gd name="T17" fmla="*/ 63 h 67"/>
                <a:gd name="T18" fmla="*/ 13 w 95"/>
                <a:gd name="T19" fmla="*/ 60 h 67"/>
                <a:gd name="T20" fmla="*/ 17 w 95"/>
                <a:gd name="T21" fmla="*/ 60 h 67"/>
                <a:gd name="T22" fmla="*/ 18 w 95"/>
                <a:gd name="T23" fmla="*/ 61 h 67"/>
                <a:gd name="T24" fmla="*/ 28 w 95"/>
                <a:gd name="T25" fmla="*/ 60 h 67"/>
                <a:gd name="T26" fmla="*/ 31 w 95"/>
                <a:gd name="T27" fmla="*/ 60 h 67"/>
                <a:gd name="T28" fmla="*/ 56 w 95"/>
                <a:gd name="T29" fmla="*/ 65 h 67"/>
                <a:gd name="T30" fmla="*/ 61 w 95"/>
                <a:gd name="T31" fmla="*/ 64 h 67"/>
                <a:gd name="T32" fmla="*/ 79 w 95"/>
                <a:gd name="T33" fmla="*/ 61 h 67"/>
                <a:gd name="T34" fmla="*/ 77 w 95"/>
                <a:gd name="T35" fmla="*/ 60 h 67"/>
                <a:gd name="T36" fmla="*/ 76 w 95"/>
                <a:gd name="T37" fmla="*/ 60 h 67"/>
                <a:gd name="T38" fmla="*/ 74 w 95"/>
                <a:gd name="T39" fmla="*/ 58 h 67"/>
                <a:gd name="T40" fmla="*/ 73 w 95"/>
                <a:gd name="T41" fmla="*/ 48 h 67"/>
                <a:gd name="T42" fmla="*/ 77 w 95"/>
                <a:gd name="T43" fmla="*/ 49 h 67"/>
                <a:gd name="T44" fmla="*/ 89 w 95"/>
                <a:gd name="T45" fmla="*/ 44 h 67"/>
                <a:gd name="T46" fmla="*/ 93 w 95"/>
                <a:gd name="T47" fmla="*/ 39 h 67"/>
                <a:gd name="T48" fmla="*/ 86 w 95"/>
                <a:gd name="T49" fmla="*/ 39 h 67"/>
                <a:gd name="T50" fmla="*/ 78 w 95"/>
                <a:gd name="T51" fmla="*/ 36 h 67"/>
                <a:gd name="T52" fmla="*/ 70 w 95"/>
                <a:gd name="T53" fmla="*/ 29 h 67"/>
                <a:gd name="T54" fmla="*/ 64 w 95"/>
                <a:gd name="T55" fmla="*/ 31 h 67"/>
                <a:gd name="T56" fmla="*/ 63 w 95"/>
                <a:gd name="T57" fmla="*/ 29 h 67"/>
                <a:gd name="T58" fmla="*/ 65 w 95"/>
                <a:gd name="T59" fmla="*/ 29 h 67"/>
                <a:gd name="T60" fmla="*/ 64 w 95"/>
                <a:gd name="T61" fmla="*/ 24 h 67"/>
                <a:gd name="T62" fmla="*/ 62 w 95"/>
                <a:gd name="T63" fmla="*/ 25 h 67"/>
                <a:gd name="T64" fmla="*/ 55 w 95"/>
                <a:gd name="T65" fmla="*/ 26 h 67"/>
                <a:gd name="T66" fmla="*/ 56 w 95"/>
                <a:gd name="T67" fmla="*/ 21 h 67"/>
                <a:gd name="T68" fmla="*/ 58 w 95"/>
                <a:gd name="T69" fmla="*/ 17 h 67"/>
                <a:gd name="T70" fmla="*/ 50 w 95"/>
                <a:gd name="T71" fmla="*/ 10 h 67"/>
                <a:gd name="T72" fmla="*/ 43 w 95"/>
                <a:gd name="T73" fmla="*/ 1 h 67"/>
                <a:gd name="T74" fmla="*/ 36 w 95"/>
                <a:gd name="T75" fmla="*/ 11 h 67"/>
                <a:gd name="T76" fmla="*/ 35 w 95"/>
                <a:gd name="T7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67">
                  <a:moveTo>
                    <a:pt x="76" y="58"/>
                  </a:moveTo>
                  <a:cubicBezTo>
                    <a:pt x="76" y="58"/>
                    <a:pt x="76" y="58"/>
                    <a:pt x="76" y="58"/>
                  </a:cubicBezTo>
                  <a:cubicBezTo>
                    <a:pt x="76" y="58"/>
                    <a:pt x="76" y="58"/>
                    <a:pt x="76" y="58"/>
                  </a:cubicBezTo>
                  <a:cubicBezTo>
                    <a:pt x="76" y="58"/>
                    <a:pt x="76" y="58"/>
                    <a:pt x="76" y="58"/>
                  </a:cubicBezTo>
                  <a:moveTo>
                    <a:pt x="35" y="0"/>
                  </a:moveTo>
                  <a:cubicBezTo>
                    <a:pt x="34" y="3"/>
                    <a:pt x="34" y="7"/>
                    <a:pt x="32" y="9"/>
                  </a:cubicBezTo>
                  <a:cubicBezTo>
                    <a:pt x="29" y="12"/>
                    <a:pt x="26" y="16"/>
                    <a:pt x="22" y="19"/>
                  </a:cubicBezTo>
                  <a:cubicBezTo>
                    <a:pt x="18" y="24"/>
                    <a:pt x="16" y="30"/>
                    <a:pt x="13" y="36"/>
                  </a:cubicBezTo>
                  <a:cubicBezTo>
                    <a:pt x="10" y="35"/>
                    <a:pt x="9" y="34"/>
                    <a:pt x="9" y="34"/>
                  </a:cubicBezTo>
                  <a:cubicBezTo>
                    <a:pt x="8" y="34"/>
                    <a:pt x="7" y="35"/>
                    <a:pt x="6" y="36"/>
                  </a:cubicBezTo>
                  <a:cubicBezTo>
                    <a:pt x="4" y="38"/>
                    <a:pt x="2" y="39"/>
                    <a:pt x="2" y="41"/>
                  </a:cubicBezTo>
                  <a:cubicBezTo>
                    <a:pt x="3" y="41"/>
                    <a:pt x="3" y="41"/>
                    <a:pt x="3" y="41"/>
                  </a:cubicBezTo>
                  <a:cubicBezTo>
                    <a:pt x="3" y="42"/>
                    <a:pt x="4" y="42"/>
                    <a:pt x="5" y="43"/>
                  </a:cubicBezTo>
                  <a:cubicBezTo>
                    <a:pt x="5" y="44"/>
                    <a:pt x="4" y="46"/>
                    <a:pt x="4" y="47"/>
                  </a:cubicBezTo>
                  <a:cubicBezTo>
                    <a:pt x="4" y="49"/>
                    <a:pt x="2" y="50"/>
                    <a:pt x="0" y="50"/>
                  </a:cubicBezTo>
                  <a:cubicBezTo>
                    <a:pt x="1" y="52"/>
                    <a:pt x="2" y="54"/>
                    <a:pt x="2" y="56"/>
                  </a:cubicBezTo>
                  <a:cubicBezTo>
                    <a:pt x="2" y="56"/>
                    <a:pt x="2" y="56"/>
                    <a:pt x="2" y="56"/>
                  </a:cubicBezTo>
                  <a:cubicBezTo>
                    <a:pt x="3" y="58"/>
                    <a:pt x="4" y="61"/>
                    <a:pt x="5" y="63"/>
                  </a:cubicBezTo>
                  <a:cubicBezTo>
                    <a:pt x="7" y="67"/>
                    <a:pt x="7" y="67"/>
                    <a:pt x="7" y="67"/>
                  </a:cubicBezTo>
                  <a:cubicBezTo>
                    <a:pt x="9" y="65"/>
                    <a:pt x="11" y="62"/>
                    <a:pt x="13" y="60"/>
                  </a:cubicBezTo>
                  <a:cubicBezTo>
                    <a:pt x="16" y="58"/>
                    <a:pt x="16" y="58"/>
                    <a:pt x="16" y="58"/>
                  </a:cubicBezTo>
                  <a:cubicBezTo>
                    <a:pt x="17" y="60"/>
                    <a:pt x="17" y="60"/>
                    <a:pt x="17" y="60"/>
                  </a:cubicBezTo>
                  <a:cubicBezTo>
                    <a:pt x="17" y="61"/>
                    <a:pt x="17" y="61"/>
                    <a:pt x="17" y="61"/>
                  </a:cubicBezTo>
                  <a:cubicBezTo>
                    <a:pt x="18" y="61"/>
                    <a:pt x="18" y="61"/>
                    <a:pt x="18" y="61"/>
                  </a:cubicBezTo>
                  <a:cubicBezTo>
                    <a:pt x="19" y="61"/>
                    <a:pt x="19" y="61"/>
                    <a:pt x="19" y="61"/>
                  </a:cubicBezTo>
                  <a:cubicBezTo>
                    <a:pt x="21" y="61"/>
                    <a:pt x="23" y="60"/>
                    <a:pt x="28" y="60"/>
                  </a:cubicBezTo>
                  <a:cubicBezTo>
                    <a:pt x="28" y="60"/>
                    <a:pt x="28" y="60"/>
                    <a:pt x="28" y="60"/>
                  </a:cubicBezTo>
                  <a:cubicBezTo>
                    <a:pt x="29" y="60"/>
                    <a:pt x="30" y="60"/>
                    <a:pt x="31" y="60"/>
                  </a:cubicBezTo>
                  <a:cubicBezTo>
                    <a:pt x="38" y="60"/>
                    <a:pt x="45" y="62"/>
                    <a:pt x="51" y="64"/>
                  </a:cubicBezTo>
                  <a:cubicBezTo>
                    <a:pt x="52" y="64"/>
                    <a:pt x="54" y="65"/>
                    <a:pt x="56" y="65"/>
                  </a:cubicBezTo>
                  <a:cubicBezTo>
                    <a:pt x="56" y="64"/>
                    <a:pt x="56" y="63"/>
                    <a:pt x="57" y="62"/>
                  </a:cubicBezTo>
                  <a:cubicBezTo>
                    <a:pt x="57" y="64"/>
                    <a:pt x="59" y="64"/>
                    <a:pt x="61" y="64"/>
                  </a:cubicBezTo>
                  <a:cubicBezTo>
                    <a:pt x="62" y="64"/>
                    <a:pt x="64" y="64"/>
                    <a:pt x="67" y="64"/>
                  </a:cubicBezTo>
                  <a:cubicBezTo>
                    <a:pt x="73" y="64"/>
                    <a:pt x="79" y="64"/>
                    <a:pt x="79" y="61"/>
                  </a:cubicBezTo>
                  <a:cubicBezTo>
                    <a:pt x="79" y="60"/>
                    <a:pt x="79" y="60"/>
                    <a:pt x="78" y="60"/>
                  </a:cubicBezTo>
                  <a:cubicBezTo>
                    <a:pt x="78" y="60"/>
                    <a:pt x="77" y="60"/>
                    <a:pt x="77" y="60"/>
                  </a:cubicBezTo>
                  <a:cubicBezTo>
                    <a:pt x="77" y="60"/>
                    <a:pt x="77" y="60"/>
                    <a:pt x="76" y="60"/>
                  </a:cubicBezTo>
                  <a:cubicBezTo>
                    <a:pt x="76" y="60"/>
                    <a:pt x="76" y="60"/>
                    <a:pt x="76" y="60"/>
                  </a:cubicBezTo>
                  <a:cubicBezTo>
                    <a:pt x="76" y="60"/>
                    <a:pt x="76" y="58"/>
                    <a:pt x="76" y="58"/>
                  </a:cubicBezTo>
                  <a:cubicBezTo>
                    <a:pt x="75" y="58"/>
                    <a:pt x="74" y="58"/>
                    <a:pt x="74" y="58"/>
                  </a:cubicBezTo>
                  <a:cubicBezTo>
                    <a:pt x="73" y="57"/>
                    <a:pt x="70" y="56"/>
                    <a:pt x="70" y="54"/>
                  </a:cubicBezTo>
                  <a:cubicBezTo>
                    <a:pt x="68" y="50"/>
                    <a:pt x="70" y="48"/>
                    <a:pt x="73" y="48"/>
                  </a:cubicBezTo>
                  <a:cubicBezTo>
                    <a:pt x="74" y="48"/>
                    <a:pt x="74" y="48"/>
                    <a:pt x="75" y="48"/>
                  </a:cubicBezTo>
                  <a:cubicBezTo>
                    <a:pt x="76" y="49"/>
                    <a:pt x="75" y="49"/>
                    <a:pt x="77" y="49"/>
                  </a:cubicBezTo>
                  <a:cubicBezTo>
                    <a:pt x="77" y="49"/>
                    <a:pt x="77" y="49"/>
                    <a:pt x="77" y="49"/>
                  </a:cubicBezTo>
                  <a:cubicBezTo>
                    <a:pt x="81" y="49"/>
                    <a:pt x="86" y="46"/>
                    <a:pt x="89" y="44"/>
                  </a:cubicBezTo>
                  <a:cubicBezTo>
                    <a:pt x="90" y="44"/>
                    <a:pt x="94" y="43"/>
                    <a:pt x="94" y="42"/>
                  </a:cubicBezTo>
                  <a:cubicBezTo>
                    <a:pt x="95" y="41"/>
                    <a:pt x="94" y="39"/>
                    <a:pt x="93" y="39"/>
                  </a:cubicBezTo>
                  <a:cubicBezTo>
                    <a:pt x="92" y="39"/>
                    <a:pt x="90" y="39"/>
                    <a:pt x="89" y="39"/>
                  </a:cubicBezTo>
                  <a:cubicBezTo>
                    <a:pt x="88" y="39"/>
                    <a:pt x="87" y="39"/>
                    <a:pt x="86" y="39"/>
                  </a:cubicBezTo>
                  <a:cubicBezTo>
                    <a:pt x="84" y="38"/>
                    <a:pt x="82" y="34"/>
                    <a:pt x="80" y="34"/>
                  </a:cubicBezTo>
                  <a:cubicBezTo>
                    <a:pt x="79" y="34"/>
                    <a:pt x="78" y="34"/>
                    <a:pt x="78" y="36"/>
                  </a:cubicBezTo>
                  <a:cubicBezTo>
                    <a:pt x="78" y="33"/>
                    <a:pt x="73" y="29"/>
                    <a:pt x="70" y="29"/>
                  </a:cubicBezTo>
                  <a:cubicBezTo>
                    <a:pt x="70" y="29"/>
                    <a:pt x="70" y="29"/>
                    <a:pt x="70" y="29"/>
                  </a:cubicBezTo>
                  <a:cubicBezTo>
                    <a:pt x="68" y="30"/>
                    <a:pt x="69" y="31"/>
                    <a:pt x="66" y="31"/>
                  </a:cubicBezTo>
                  <a:cubicBezTo>
                    <a:pt x="66" y="31"/>
                    <a:pt x="65" y="31"/>
                    <a:pt x="64" y="31"/>
                  </a:cubicBezTo>
                  <a:cubicBezTo>
                    <a:pt x="63" y="31"/>
                    <a:pt x="61" y="31"/>
                    <a:pt x="62" y="30"/>
                  </a:cubicBezTo>
                  <a:cubicBezTo>
                    <a:pt x="62" y="29"/>
                    <a:pt x="63" y="29"/>
                    <a:pt x="63" y="29"/>
                  </a:cubicBezTo>
                  <a:cubicBezTo>
                    <a:pt x="64" y="29"/>
                    <a:pt x="64" y="29"/>
                    <a:pt x="64" y="29"/>
                  </a:cubicBezTo>
                  <a:cubicBezTo>
                    <a:pt x="65" y="29"/>
                    <a:pt x="65" y="29"/>
                    <a:pt x="65" y="29"/>
                  </a:cubicBezTo>
                  <a:cubicBezTo>
                    <a:pt x="66" y="29"/>
                    <a:pt x="67" y="29"/>
                    <a:pt x="67" y="28"/>
                  </a:cubicBezTo>
                  <a:cubicBezTo>
                    <a:pt x="68" y="27"/>
                    <a:pt x="65" y="24"/>
                    <a:pt x="64" y="24"/>
                  </a:cubicBezTo>
                  <a:cubicBezTo>
                    <a:pt x="64" y="24"/>
                    <a:pt x="64" y="24"/>
                    <a:pt x="64" y="24"/>
                  </a:cubicBezTo>
                  <a:cubicBezTo>
                    <a:pt x="63" y="24"/>
                    <a:pt x="63" y="25"/>
                    <a:pt x="62" y="25"/>
                  </a:cubicBezTo>
                  <a:cubicBezTo>
                    <a:pt x="59" y="27"/>
                    <a:pt x="56" y="27"/>
                    <a:pt x="52" y="28"/>
                  </a:cubicBezTo>
                  <a:cubicBezTo>
                    <a:pt x="53" y="27"/>
                    <a:pt x="54" y="27"/>
                    <a:pt x="55" y="26"/>
                  </a:cubicBezTo>
                  <a:cubicBezTo>
                    <a:pt x="57" y="25"/>
                    <a:pt x="56" y="26"/>
                    <a:pt x="56" y="24"/>
                  </a:cubicBezTo>
                  <a:cubicBezTo>
                    <a:pt x="56" y="23"/>
                    <a:pt x="55" y="22"/>
                    <a:pt x="56" y="21"/>
                  </a:cubicBezTo>
                  <a:cubicBezTo>
                    <a:pt x="56" y="19"/>
                    <a:pt x="55" y="20"/>
                    <a:pt x="56" y="19"/>
                  </a:cubicBezTo>
                  <a:cubicBezTo>
                    <a:pt x="57" y="18"/>
                    <a:pt x="58" y="19"/>
                    <a:pt x="58" y="17"/>
                  </a:cubicBezTo>
                  <a:cubicBezTo>
                    <a:pt x="58" y="15"/>
                    <a:pt x="56" y="13"/>
                    <a:pt x="55" y="12"/>
                  </a:cubicBezTo>
                  <a:cubicBezTo>
                    <a:pt x="53" y="10"/>
                    <a:pt x="53" y="10"/>
                    <a:pt x="50" y="10"/>
                  </a:cubicBezTo>
                  <a:cubicBezTo>
                    <a:pt x="46" y="10"/>
                    <a:pt x="46" y="1"/>
                    <a:pt x="43" y="1"/>
                  </a:cubicBezTo>
                  <a:cubicBezTo>
                    <a:pt x="43" y="1"/>
                    <a:pt x="43" y="1"/>
                    <a:pt x="43" y="1"/>
                  </a:cubicBezTo>
                  <a:cubicBezTo>
                    <a:pt x="42" y="2"/>
                    <a:pt x="42" y="3"/>
                    <a:pt x="42" y="4"/>
                  </a:cubicBezTo>
                  <a:cubicBezTo>
                    <a:pt x="41" y="7"/>
                    <a:pt x="40" y="9"/>
                    <a:pt x="36" y="11"/>
                  </a:cubicBezTo>
                  <a:cubicBezTo>
                    <a:pt x="36" y="9"/>
                    <a:pt x="37" y="9"/>
                    <a:pt x="37" y="7"/>
                  </a:cubicBezTo>
                  <a:cubicBezTo>
                    <a:pt x="38" y="5"/>
                    <a:pt x="36" y="4"/>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1" name="Freeform 1510">
              <a:extLst>
                <a:ext uri="{FF2B5EF4-FFF2-40B4-BE49-F238E27FC236}">
                  <a16:creationId xmlns:a16="http://schemas.microsoft.com/office/drawing/2014/main" id="{F4BC17F4-8CE9-441E-B9BF-39E206FD9C68}"/>
                </a:ext>
              </a:extLst>
            </p:cNvPr>
            <p:cNvSpPr>
              <a:spLocks/>
            </p:cNvSpPr>
            <p:nvPr/>
          </p:nvSpPr>
          <p:spPr bwMode="auto">
            <a:xfrm>
              <a:off x="3585378" y="4561262"/>
              <a:ext cx="437601" cy="275179"/>
            </a:xfrm>
            <a:custGeom>
              <a:avLst/>
              <a:gdLst>
                <a:gd name="T0" fmla="*/ 123 w 138"/>
                <a:gd name="T1" fmla="*/ 0 h 87"/>
                <a:gd name="T2" fmla="*/ 124 w 138"/>
                <a:gd name="T3" fmla="*/ 6 h 87"/>
                <a:gd name="T4" fmla="*/ 124 w 138"/>
                <a:gd name="T5" fmla="*/ 8 h 87"/>
                <a:gd name="T6" fmla="*/ 122 w 138"/>
                <a:gd name="T7" fmla="*/ 15 h 87"/>
                <a:gd name="T8" fmla="*/ 116 w 138"/>
                <a:gd name="T9" fmla="*/ 18 h 87"/>
                <a:gd name="T10" fmla="*/ 107 w 138"/>
                <a:gd name="T11" fmla="*/ 10 h 87"/>
                <a:gd name="T12" fmla="*/ 106 w 138"/>
                <a:gd name="T13" fmla="*/ 8 h 87"/>
                <a:gd name="T14" fmla="*/ 101 w 138"/>
                <a:gd name="T15" fmla="*/ 5 h 87"/>
                <a:gd name="T16" fmla="*/ 79 w 138"/>
                <a:gd name="T17" fmla="*/ 34 h 87"/>
                <a:gd name="T18" fmla="*/ 48 w 138"/>
                <a:gd name="T19" fmla="*/ 43 h 87"/>
                <a:gd name="T20" fmla="*/ 41 w 138"/>
                <a:gd name="T21" fmla="*/ 55 h 87"/>
                <a:gd name="T22" fmla="*/ 37 w 138"/>
                <a:gd name="T23" fmla="*/ 53 h 87"/>
                <a:gd name="T24" fmla="*/ 36 w 138"/>
                <a:gd name="T25" fmla="*/ 53 h 87"/>
                <a:gd name="T26" fmla="*/ 36 w 138"/>
                <a:gd name="T27" fmla="*/ 55 h 87"/>
                <a:gd name="T28" fmla="*/ 37 w 138"/>
                <a:gd name="T29" fmla="*/ 72 h 87"/>
                <a:gd name="T30" fmla="*/ 40 w 138"/>
                <a:gd name="T31" fmla="*/ 78 h 87"/>
                <a:gd name="T32" fmla="*/ 31 w 138"/>
                <a:gd name="T33" fmla="*/ 77 h 87"/>
                <a:gd name="T34" fmla="*/ 23 w 138"/>
                <a:gd name="T35" fmla="*/ 76 h 87"/>
                <a:gd name="T36" fmla="*/ 19 w 138"/>
                <a:gd name="T37" fmla="*/ 69 h 87"/>
                <a:gd name="T38" fmla="*/ 18 w 138"/>
                <a:gd name="T39" fmla="*/ 69 h 87"/>
                <a:gd name="T40" fmla="*/ 10 w 138"/>
                <a:gd name="T41" fmla="*/ 70 h 87"/>
                <a:gd name="T42" fmla="*/ 1 w 138"/>
                <a:gd name="T43" fmla="*/ 64 h 87"/>
                <a:gd name="T44" fmla="*/ 0 w 138"/>
                <a:gd name="T45" fmla="*/ 67 h 87"/>
                <a:gd name="T46" fmla="*/ 9 w 138"/>
                <a:gd name="T47" fmla="*/ 77 h 87"/>
                <a:gd name="T48" fmla="*/ 17 w 138"/>
                <a:gd name="T49" fmla="*/ 84 h 87"/>
                <a:gd name="T50" fmla="*/ 21 w 138"/>
                <a:gd name="T51" fmla="*/ 87 h 87"/>
                <a:gd name="T52" fmla="*/ 28 w 138"/>
                <a:gd name="T53" fmla="*/ 85 h 87"/>
                <a:gd name="T54" fmla="*/ 31 w 138"/>
                <a:gd name="T55" fmla="*/ 84 h 87"/>
                <a:gd name="T56" fmla="*/ 44 w 138"/>
                <a:gd name="T57" fmla="*/ 83 h 87"/>
                <a:gd name="T58" fmla="*/ 47 w 138"/>
                <a:gd name="T59" fmla="*/ 83 h 87"/>
                <a:gd name="T60" fmla="*/ 55 w 138"/>
                <a:gd name="T61" fmla="*/ 80 h 87"/>
                <a:gd name="T62" fmla="*/ 55 w 138"/>
                <a:gd name="T63" fmla="*/ 79 h 87"/>
                <a:gd name="T64" fmla="*/ 63 w 138"/>
                <a:gd name="T65" fmla="*/ 72 h 87"/>
                <a:gd name="T66" fmla="*/ 82 w 138"/>
                <a:gd name="T67" fmla="*/ 73 h 87"/>
                <a:gd name="T68" fmla="*/ 85 w 138"/>
                <a:gd name="T69" fmla="*/ 75 h 87"/>
                <a:gd name="T70" fmla="*/ 93 w 138"/>
                <a:gd name="T71" fmla="*/ 78 h 87"/>
                <a:gd name="T72" fmla="*/ 94 w 138"/>
                <a:gd name="T73" fmla="*/ 78 h 87"/>
                <a:gd name="T74" fmla="*/ 96 w 138"/>
                <a:gd name="T75" fmla="*/ 76 h 87"/>
                <a:gd name="T76" fmla="*/ 105 w 138"/>
                <a:gd name="T77" fmla="*/ 74 h 87"/>
                <a:gd name="T78" fmla="*/ 110 w 138"/>
                <a:gd name="T79" fmla="*/ 73 h 87"/>
                <a:gd name="T80" fmla="*/ 110 w 138"/>
                <a:gd name="T81" fmla="*/ 73 h 87"/>
                <a:gd name="T82" fmla="*/ 113 w 138"/>
                <a:gd name="T83" fmla="*/ 73 h 87"/>
                <a:gd name="T84" fmla="*/ 115 w 138"/>
                <a:gd name="T85" fmla="*/ 68 h 87"/>
                <a:gd name="T86" fmla="*/ 117 w 138"/>
                <a:gd name="T87" fmla="*/ 64 h 87"/>
                <a:gd name="T88" fmla="*/ 119 w 138"/>
                <a:gd name="T89" fmla="*/ 63 h 87"/>
                <a:gd name="T90" fmla="*/ 118 w 138"/>
                <a:gd name="T91" fmla="*/ 62 h 87"/>
                <a:gd name="T92" fmla="*/ 122 w 138"/>
                <a:gd name="T93" fmla="*/ 52 h 87"/>
                <a:gd name="T94" fmla="*/ 125 w 138"/>
                <a:gd name="T95" fmla="*/ 51 h 87"/>
                <a:gd name="T96" fmla="*/ 125 w 138"/>
                <a:gd name="T97" fmla="*/ 50 h 87"/>
                <a:gd name="T98" fmla="*/ 134 w 138"/>
                <a:gd name="T99" fmla="*/ 36 h 87"/>
                <a:gd name="T100" fmla="*/ 135 w 138"/>
                <a:gd name="T101" fmla="*/ 35 h 87"/>
                <a:gd name="T102" fmla="*/ 138 w 138"/>
                <a:gd name="T103" fmla="*/ 11 h 87"/>
                <a:gd name="T104" fmla="*/ 131 w 138"/>
                <a:gd name="T105" fmla="*/ 11 h 87"/>
                <a:gd name="T106" fmla="*/ 125 w 138"/>
                <a:gd name="T107" fmla="*/ 7 h 87"/>
                <a:gd name="T108" fmla="*/ 123 w 138"/>
                <a:gd name="T10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8" h="87">
                  <a:moveTo>
                    <a:pt x="123" y="0"/>
                  </a:moveTo>
                  <a:cubicBezTo>
                    <a:pt x="123" y="0"/>
                    <a:pt x="123" y="0"/>
                    <a:pt x="123" y="0"/>
                  </a:cubicBezTo>
                  <a:cubicBezTo>
                    <a:pt x="123" y="0"/>
                    <a:pt x="123" y="0"/>
                    <a:pt x="123" y="1"/>
                  </a:cubicBezTo>
                  <a:cubicBezTo>
                    <a:pt x="123" y="2"/>
                    <a:pt x="123" y="4"/>
                    <a:pt x="124" y="6"/>
                  </a:cubicBezTo>
                  <a:cubicBezTo>
                    <a:pt x="124" y="6"/>
                    <a:pt x="124" y="6"/>
                    <a:pt x="124" y="6"/>
                  </a:cubicBezTo>
                  <a:cubicBezTo>
                    <a:pt x="124" y="7"/>
                    <a:pt x="124" y="7"/>
                    <a:pt x="124" y="8"/>
                  </a:cubicBezTo>
                  <a:cubicBezTo>
                    <a:pt x="124" y="9"/>
                    <a:pt x="124" y="11"/>
                    <a:pt x="123" y="11"/>
                  </a:cubicBezTo>
                  <a:cubicBezTo>
                    <a:pt x="123" y="13"/>
                    <a:pt x="123" y="14"/>
                    <a:pt x="122" y="15"/>
                  </a:cubicBezTo>
                  <a:cubicBezTo>
                    <a:pt x="120" y="17"/>
                    <a:pt x="118" y="18"/>
                    <a:pt x="117" y="18"/>
                  </a:cubicBezTo>
                  <a:cubicBezTo>
                    <a:pt x="116" y="18"/>
                    <a:pt x="116" y="18"/>
                    <a:pt x="116" y="18"/>
                  </a:cubicBezTo>
                  <a:cubicBezTo>
                    <a:pt x="113" y="18"/>
                    <a:pt x="111" y="15"/>
                    <a:pt x="108" y="11"/>
                  </a:cubicBezTo>
                  <a:cubicBezTo>
                    <a:pt x="108" y="11"/>
                    <a:pt x="107" y="10"/>
                    <a:pt x="107" y="10"/>
                  </a:cubicBezTo>
                  <a:cubicBezTo>
                    <a:pt x="107" y="10"/>
                    <a:pt x="107" y="9"/>
                    <a:pt x="106" y="9"/>
                  </a:cubicBezTo>
                  <a:cubicBezTo>
                    <a:pt x="106" y="8"/>
                    <a:pt x="106" y="8"/>
                    <a:pt x="106" y="8"/>
                  </a:cubicBezTo>
                  <a:cubicBezTo>
                    <a:pt x="106" y="8"/>
                    <a:pt x="106" y="8"/>
                    <a:pt x="105" y="7"/>
                  </a:cubicBezTo>
                  <a:cubicBezTo>
                    <a:pt x="105" y="7"/>
                    <a:pt x="104" y="6"/>
                    <a:pt x="101" y="5"/>
                  </a:cubicBezTo>
                  <a:cubicBezTo>
                    <a:pt x="97" y="10"/>
                    <a:pt x="93" y="16"/>
                    <a:pt x="89" y="21"/>
                  </a:cubicBezTo>
                  <a:cubicBezTo>
                    <a:pt x="86" y="25"/>
                    <a:pt x="83" y="30"/>
                    <a:pt x="79" y="34"/>
                  </a:cubicBezTo>
                  <a:cubicBezTo>
                    <a:pt x="77" y="36"/>
                    <a:pt x="74" y="37"/>
                    <a:pt x="71" y="38"/>
                  </a:cubicBezTo>
                  <a:cubicBezTo>
                    <a:pt x="64" y="40"/>
                    <a:pt x="56" y="41"/>
                    <a:pt x="48" y="43"/>
                  </a:cubicBezTo>
                  <a:cubicBezTo>
                    <a:pt x="44" y="44"/>
                    <a:pt x="45" y="45"/>
                    <a:pt x="44" y="49"/>
                  </a:cubicBezTo>
                  <a:cubicBezTo>
                    <a:pt x="43" y="51"/>
                    <a:pt x="43" y="55"/>
                    <a:pt x="41" y="55"/>
                  </a:cubicBezTo>
                  <a:cubicBezTo>
                    <a:pt x="39" y="55"/>
                    <a:pt x="38" y="53"/>
                    <a:pt x="37" y="53"/>
                  </a:cubicBezTo>
                  <a:cubicBezTo>
                    <a:pt x="37" y="53"/>
                    <a:pt x="37" y="53"/>
                    <a:pt x="37" y="53"/>
                  </a:cubicBezTo>
                  <a:cubicBezTo>
                    <a:pt x="37" y="53"/>
                    <a:pt x="37" y="53"/>
                    <a:pt x="37" y="53"/>
                  </a:cubicBezTo>
                  <a:cubicBezTo>
                    <a:pt x="36" y="53"/>
                    <a:pt x="36" y="53"/>
                    <a:pt x="36" y="53"/>
                  </a:cubicBezTo>
                  <a:cubicBezTo>
                    <a:pt x="36" y="53"/>
                    <a:pt x="36" y="53"/>
                    <a:pt x="36" y="53"/>
                  </a:cubicBezTo>
                  <a:cubicBezTo>
                    <a:pt x="36" y="53"/>
                    <a:pt x="36" y="53"/>
                    <a:pt x="36" y="55"/>
                  </a:cubicBezTo>
                  <a:cubicBezTo>
                    <a:pt x="37" y="56"/>
                    <a:pt x="38" y="59"/>
                    <a:pt x="38" y="60"/>
                  </a:cubicBezTo>
                  <a:cubicBezTo>
                    <a:pt x="35" y="63"/>
                    <a:pt x="30" y="70"/>
                    <a:pt x="37" y="72"/>
                  </a:cubicBezTo>
                  <a:cubicBezTo>
                    <a:pt x="34" y="72"/>
                    <a:pt x="28" y="71"/>
                    <a:pt x="32" y="76"/>
                  </a:cubicBezTo>
                  <a:cubicBezTo>
                    <a:pt x="34" y="78"/>
                    <a:pt x="37" y="77"/>
                    <a:pt x="40" y="78"/>
                  </a:cubicBezTo>
                  <a:cubicBezTo>
                    <a:pt x="39" y="79"/>
                    <a:pt x="38" y="79"/>
                    <a:pt x="37" y="79"/>
                  </a:cubicBezTo>
                  <a:cubicBezTo>
                    <a:pt x="36" y="79"/>
                    <a:pt x="33" y="78"/>
                    <a:pt x="31" y="77"/>
                  </a:cubicBezTo>
                  <a:cubicBezTo>
                    <a:pt x="29" y="76"/>
                    <a:pt x="27" y="76"/>
                    <a:pt x="25" y="76"/>
                  </a:cubicBezTo>
                  <a:cubicBezTo>
                    <a:pt x="25" y="76"/>
                    <a:pt x="24" y="76"/>
                    <a:pt x="23" y="76"/>
                  </a:cubicBezTo>
                  <a:cubicBezTo>
                    <a:pt x="25" y="74"/>
                    <a:pt x="24" y="74"/>
                    <a:pt x="22" y="72"/>
                  </a:cubicBezTo>
                  <a:cubicBezTo>
                    <a:pt x="22" y="72"/>
                    <a:pt x="19" y="69"/>
                    <a:pt x="19" y="69"/>
                  </a:cubicBezTo>
                  <a:cubicBezTo>
                    <a:pt x="19" y="69"/>
                    <a:pt x="19" y="69"/>
                    <a:pt x="19" y="69"/>
                  </a:cubicBezTo>
                  <a:cubicBezTo>
                    <a:pt x="19" y="69"/>
                    <a:pt x="18" y="69"/>
                    <a:pt x="18" y="69"/>
                  </a:cubicBezTo>
                  <a:cubicBezTo>
                    <a:pt x="16" y="69"/>
                    <a:pt x="13" y="70"/>
                    <a:pt x="12" y="70"/>
                  </a:cubicBezTo>
                  <a:cubicBezTo>
                    <a:pt x="11" y="70"/>
                    <a:pt x="11" y="70"/>
                    <a:pt x="10" y="70"/>
                  </a:cubicBezTo>
                  <a:cubicBezTo>
                    <a:pt x="9" y="70"/>
                    <a:pt x="8" y="70"/>
                    <a:pt x="7" y="70"/>
                  </a:cubicBezTo>
                  <a:cubicBezTo>
                    <a:pt x="5" y="70"/>
                    <a:pt x="3" y="67"/>
                    <a:pt x="1" y="64"/>
                  </a:cubicBezTo>
                  <a:cubicBezTo>
                    <a:pt x="1" y="64"/>
                    <a:pt x="1" y="64"/>
                    <a:pt x="1" y="64"/>
                  </a:cubicBezTo>
                  <a:cubicBezTo>
                    <a:pt x="0" y="65"/>
                    <a:pt x="0" y="66"/>
                    <a:pt x="0" y="67"/>
                  </a:cubicBezTo>
                  <a:cubicBezTo>
                    <a:pt x="1" y="70"/>
                    <a:pt x="5" y="73"/>
                    <a:pt x="8" y="76"/>
                  </a:cubicBezTo>
                  <a:cubicBezTo>
                    <a:pt x="9" y="77"/>
                    <a:pt x="9" y="77"/>
                    <a:pt x="9" y="77"/>
                  </a:cubicBezTo>
                  <a:cubicBezTo>
                    <a:pt x="11" y="79"/>
                    <a:pt x="13" y="80"/>
                    <a:pt x="15" y="82"/>
                  </a:cubicBezTo>
                  <a:cubicBezTo>
                    <a:pt x="17" y="84"/>
                    <a:pt x="17" y="84"/>
                    <a:pt x="17" y="84"/>
                  </a:cubicBezTo>
                  <a:cubicBezTo>
                    <a:pt x="17" y="84"/>
                    <a:pt x="18" y="85"/>
                    <a:pt x="18" y="85"/>
                  </a:cubicBezTo>
                  <a:cubicBezTo>
                    <a:pt x="19" y="85"/>
                    <a:pt x="20" y="87"/>
                    <a:pt x="21" y="87"/>
                  </a:cubicBezTo>
                  <a:cubicBezTo>
                    <a:pt x="21" y="87"/>
                    <a:pt x="21" y="87"/>
                    <a:pt x="21" y="87"/>
                  </a:cubicBezTo>
                  <a:cubicBezTo>
                    <a:pt x="23" y="87"/>
                    <a:pt x="26" y="86"/>
                    <a:pt x="28" y="85"/>
                  </a:cubicBezTo>
                  <a:cubicBezTo>
                    <a:pt x="29" y="84"/>
                    <a:pt x="29" y="84"/>
                    <a:pt x="29" y="84"/>
                  </a:cubicBezTo>
                  <a:cubicBezTo>
                    <a:pt x="30" y="84"/>
                    <a:pt x="30" y="84"/>
                    <a:pt x="31" y="84"/>
                  </a:cubicBezTo>
                  <a:cubicBezTo>
                    <a:pt x="33" y="83"/>
                    <a:pt x="36" y="82"/>
                    <a:pt x="38" y="82"/>
                  </a:cubicBezTo>
                  <a:cubicBezTo>
                    <a:pt x="40" y="82"/>
                    <a:pt x="42" y="82"/>
                    <a:pt x="44" y="83"/>
                  </a:cubicBezTo>
                  <a:cubicBezTo>
                    <a:pt x="45" y="83"/>
                    <a:pt x="45" y="83"/>
                    <a:pt x="45" y="83"/>
                  </a:cubicBezTo>
                  <a:cubicBezTo>
                    <a:pt x="46" y="83"/>
                    <a:pt x="46" y="83"/>
                    <a:pt x="47" y="83"/>
                  </a:cubicBezTo>
                  <a:cubicBezTo>
                    <a:pt x="47" y="83"/>
                    <a:pt x="48" y="83"/>
                    <a:pt x="48" y="83"/>
                  </a:cubicBezTo>
                  <a:cubicBezTo>
                    <a:pt x="50" y="83"/>
                    <a:pt x="54" y="81"/>
                    <a:pt x="55" y="80"/>
                  </a:cubicBezTo>
                  <a:cubicBezTo>
                    <a:pt x="55" y="80"/>
                    <a:pt x="55" y="80"/>
                    <a:pt x="55" y="80"/>
                  </a:cubicBezTo>
                  <a:cubicBezTo>
                    <a:pt x="55" y="79"/>
                    <a:pt x="55" y="79"/>
                    <a:pt x="55" y="79"/>
                  </a:cubicBezTo>
                  <a:cubicBezTo>
                    <a:pt x="56" y="74"/>
                    <a:pt x="57" y="73"/>
                    <a:pt x="62" y="73"/>
                  </a:cubicBezTo>
                  <a:cubicBezTo>
                    <a:pt x="63" y="72"/>
                    <a:pt x="63" y="72"/>
                    <a:pt x="63" y="72"/>
                  </a:cubicBezTo>
                  <a:cubicBezTo>
                    <a:pt x="69" y="71"/>
                    <a:pt x="74" y="71"/>
                    <a:pt x="76" y="71"/>
                  </a:cubicBezTo>
                  <a:cubicBezTo>
                    <a:pt x="80" y="71"/>
                    <a:pt x="81" y="72"/>
                    <a:pt x="82" y="73"/>
                  </a:cubicBezTo>
                  <a:cubicBezTo>
                    <a:pt x="82" y="73"/>
                    <a:pt x="82" y="73"/>
                    <a:pt x="82" y="74"/>
                  </a:cubicBezTo>
                  <a:cubicBezTo>
                    <a:pt x="83" y="74"/>
                    <a:pt x="84" y="75"/>
                    <a:pt x="85" y="75"/>
                  </a:cubicBezTo>
                  <a:cubicBezTo>
                    <a:pt x="85" y="75"/>
                    <a:pt x="85" y="75"/>
                    <a:pt x="85" y="75"/>
                  </a:cubicBezTo>
                  <a:cubicBezTo>
                    <a:pt x="88" y="76"/>
                    <a:pt x="91" y="78"/>
                    <a:pt x="93" y="78"/>
                  </a:cubicBezTo>
                  <a:cubicBezTo>
                    <a:pt x="93" y="78"/>
                    <a:pt x="93" y="78"/>
                    <a:pt x="94" y="78"/>
                  </a:cubicBezTo>
                  <a:cubicBezTo>
                    <a:pt x="94" y="78"/>
                    <a:pt x="94" y="78"/>
                    <a:pt x="94" y="78"/>
                  </a:cubicBezTo>
                  <a:cubicBezTo>
                    <a:pt x="94" y="78"/>
                    <a:pt x="94" y="78"/>
                    <a:pt x="94" y="77"/>
                  </a:cubicBezTo>
                  <a:cubicBezTo>
                    <a:pt x="95" y="77"/>
                    <a:pt x="95" y="77"/>
                    <a:pt x="96" y="76"/>
                  </a:cubicBezTo>
                  <a:cubicBezTo>
                    <a:pt x="98" y="75"/>
                    <a:pt x="101" y="75"/>
                    <a:pt x="104" y="74"/>
                  </a:cubicBezTo>
                  <a:cubicBezTo>
                    <a:pt x="104" y="74"/>
                    <a:pt x="105" y="74"/>
                    <a:pt x="105" y="74"/>
                  </a:cubicBezTo>
                  <a:cubicBezTo>
                    <a:pt x="110" y="73"/>
                    <a:pt x="110" y="73"/>
                    <a:pt x="110" y="73"/>
                  </a:cubicBezTo>
                  <a:cubicBezTo>
                    <a:pt x="110" y="73"/>
                    <a:pt x="110" y="73"/>
                    <a:pt x="110" y="73"/>
                  </a:cubicBezTo>
                  <a:cubicBezTo>
                    <a:pt x="110" y="73"/>
                    <a:pt x="110" y="73"/>
                    <a:pt x="110" y="73"/>
                  </a:cubicBezTo>
                  <a:cubicBezTo>
                    <a:pt x="110" y="73"/>
                    <a:pt x="110" y="73"/>
                    <a:pt x="110" y="73"/>
                  </a:cubicBezTo>
                  <a:cubicBezTo>
                    <a:pt x="111" y="73"/>
                    <a:pt x="112" y="73"/>
                    <a:pt x="112" y="73"/>
                  </a:cubicBezTo>
                  <a:cubicBezTo>
                    <a:pt x="113" y="73"/>
                    <a:pt x="113" y="73"/>
                    <a:pt x="113" y="73"/>
                  </a:cubicBezTo>
                  <a:cubicBezTo>
                    <a:pt x="114" y="70"/>
                    <a:pt x="114" y="70"/>
                    <a:pt x="114" y="70"/>
                  </a:cubicBezTo>
                  <a:cubicBezTo>
                    <a:pt x="114" y="69"/>
                    <a:pt x="115" y="68"/>
                    <a:pt x="115" y="68"/>
                  </a:cubicBezTo>
                  <a:cubicBezTo>
                    <a:pt x="115" y="67"/>
                    <a:pt x="115" y="67"/>
                    <a:pt x="116" y="66"/>
                  </a:cubicBezTo>
                  <a:cubicBezTo>
                    <a:pt x="116" y="65"/>
                    <a:pt x="117" y="65"/>
                    <a:pt x="117" y="64"/>
                  </a:cubicBezTo>
                  <a:cubicBezTo>
                    <a:pt x="118" y="64"/>
                    <a:pt x="118" y="64"/>
                    <a:pt x="118" y="64"/>
                  </a:cubicBezTo>
                  <a:cubicBezTo>
                    <a:pt x="119" y="63"/>
                    <a:pt x="119" y="63"/>
                    <a:pt x="119" y="63"/>
                  </a:cubicBezTo>
                  <a:cubicBezTo>
                    <a:pt x="119" y="63"/>
                    <a:pt x="119" y="63"/>
                    <a:pt x="119" y="63"/>
                  </a:cubicBezTo>
                  <a:cubicBezTo>
                    <a:pt x="119" y="62"/>
                    <a:pt x="118" y="62"/>
                    <a:pt x="118" y="62"/>
                  </a:cubicBezTo>
                  <a:cubicBezTo>
                    <a:pt x="118" y="60"/>
                    <a:pt x="117" y="58"/>
                    <a:pt x="118" y="56"/>
                  </a:cubicBezTo>
                  <a:cubicBezTo>
                    <a:pt x="118" y="55"/>
                    <a:pt x="119" y="54"/>
                    <a:pt x="122" y="52"/>
                  </a:cubicBezTo>
                  <a:cubicBezTo>
                    <a:pt x="123" y="52"/>
                    <a:pt x="123" y="52"/>
                    <a:pt x="123" y="52"/>
                  </a:cubicBezTo>
                  <a:cubicBezTo>
                    <a:pt x="123" y="52"/>
                    <a:pt x="124" y="51"/>
                    <a:pt x="125" y="51"/>
                  </a:cubicBezTo>
                  <a:cubicBezTo>
                    <a:pt x="125" y="50"/>
                    <a:pt x="125" y="50"/>
                    <a:pt x="125" y="50"/>
                  </a:cubicBezTo>
                  <a:cubicBezTo>
                    <a:pt x="125" y="50"/>
                    <a:pt x="125" y="50"/>
                    <a:pt x="125" y="50"/>
                  </a:cubicBezTo>
                  <a:cubicBezTo>
                    <a:pt x="124" y="46"/>
                    <a:pt x="124" y="42"/>
                    <a:pt x="126" y="39"/>
                  </a:cubicBezTo>
                  <a:cubicBezTo>
                    <a:pt x="128" y="37"/>
                    <a:pt x="131" y="36"/>
                    <a:pt x="134" y="36"/>
                  </a:cubicBezTo>
                  <a:cubicBezTo>
                    <a:pt x="134" y="36"/>
                    <a:pt x="134" y="36"/>
                    <a:pt x="135" y="36"/>
                  </a:cubicBezTo>
                  <a:cubicBezTo>
                    <a:pt x="135" y="36"/>
                    <a:pt x="135" y="35"/>
                    <a:pt x="135" y="35"/>
                  </a:cubicBezTo>
                  <a:cubicBezTo>
                    <a:pt x="137" y="30"/>
                    <a:pt x="136" y="26"/>
                    <a:pt x="136" y="20"/>
                  </a:cubicBezTo>
                  <a:cubicBezTo>
                    <a:pt x="135" y="17"/>
                    <a:pt x="136" y="14"/>
                    <a:pt x="138" y="11"/>
                  </a:cubicBezTo>
                  <a:cubicBezTo>
                    <a:pt x="133" y="11"/>
                    <a:pt x="133" y="11"/>
                    <a:pt x="133" y="11"/>
                  </a:cubicBezTo>
                  <a:cubicBezTo>
                    <a:pt x="132" y="11"/>
                    <a:pt x="132" y="11"/>
                    <a:pt x="131" y="11"/>
                  </a:cubicBezTo>
                  <a:cubicBezTo>
                    <a:pt x="130" y="11"/>
                    <a:pt x="130" y="11"/>
                    <a:pt x="130" y="11"/>
                  </a:cubicBezTo>
                  <a:cubicBezTo>
                    <a:pt x="127" y="10"/>
                    <a:pt x="125" y="9"/>
                    <a:pt x="125" y="7"/>
                  </a:cubicBezTo>
                  <a:cubicBezTo>
                    <a:pt x="124" y="6"/>
                    <a:pt x="124" y="6"/>
                    <a:pt x="124" y="6"/>
                  </a:cubicBezTo>
                  <a:cubicBezTo>
                    <a:pt x="124" y="4"/>
                    <a:pt x="123" y="2"/>
                    <a:pt x="1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2" name="Freeform 1511">
              <a:extLst>
                <a:ext uri="{FF2B5EF4-FFF2-40B4-BE49-F238E27FC236}">
                  <a16:creationId xmlns:a16="http://schemas.microsoft.com/office/drawing/2014/main" id="{406CE74E-C7DA-4010-83A2-BEB57D41F423}"/>
                </a:ext>
              </a:extLst>
            </p:cNvPr>
            <p:cNvSpPr>
              <a:spLocks/>
            </p:cNvSpPr>
            <p:nvPr/>
          </p:nvSpPr>
          <p:spPr bwMode="auto">
            <a:xfrm>
              <a:off x="3902170" y="4554550"/>
              <a:ext cx="2685" cy="2685"/>
            </a:xfrm>
            <a:custGeom>
              <a:avLst/>
              <a:gdLst>
                <a:gd name="T0" fmla="*/ 0 w 2"/>
                <a:gd name="T1" fmla="*/ 0 h 2"/>
                <a:gd name="T2" fmla="*/ 0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3" name="Freeform 1512">
              <a:extLst>
                <a:ext uri="{FF2B5EF4-FFF2-40B4-BE49-F238E27FC236}">
                  <a16:creationId xmlns:a16="http://schemas.microsoft.com/office/drawing/2014/main" id="{195ADCE1-0D5F-445C-9F77-CA2F1FC766FC}"/>
                </a:ext>
              </a:extLst>
            </p:cNvPr>
            <p:cNvSpPr>
              <a:spLocks/>
            </p:cNvSpPr>
            <p:nvPr/>
          </p:nvSpPr>
          <p:spPr bwMode="auto">
            <a:xfrm>
              <a:off x="3902170" y="4554550"/>
              <a:ext cx="2685" cy="2685"/>
            </a:xfrm>
            <a:custGeom>
              <a:avLst/>
              <a:gdLst>
                <a:gd name="T0" fmla="*/ 0 w 2"/>
                <a:gd name="T1" fmla="*/ 0 h 2"/>
                <a:gd name="T2" fmla="*/ 0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4" name="Freeform 1513">
              <a:extLst>
                <a:ext uri="{FF2B5EF4-FFF2-40B4-BE49-F238E27FC236}">
                  <a16:creationId xmlns:a16="http://schemas.microsoft.com/office/drawing/2014/main" id="{98CEB17D-3EE7-4BCC-8845-910A30B76559}"/>
                </a:ext>
              </a:extLst>
            </p:cNvPr>
            <p:cNvSpPr>
              <a:spLocks/>
            </p:cNvSpPr>
            <p:nvPr/>
          </p:nvSpPr>
          <p:spPr bwMode="auto">
            <a:xfrm>
              <a:off x="3924989" y="4535757"/>
              <a:ext cx="49666" cy="63090"/>
            </a:xfrm>
            <a:custGeom>
              <a:avLst/>
              <a:gdLst>
                <a:gd name="T0" fmla="*/ 16 w 16"/>
                <a:gd name="T1" fmla="*/ 0 h 20"/>
                <a:gd name="T2" fmla="*/ 8 w 16"/>
                <a:gd name="T3" fmla="*/ 6 h 20"/>
                <a:gd name="T4" fmla="*/ 0 w 16"/>
                <a:gd name="T5" fmla="*/ 9 h 20"/>
                <a:gd name="T6" fmla="*/ 3 w 16"/>
                <a:gd name="T7" fmla="*/ 12 h 20"/>
                <a:gd name="T8" fmla="*/ 4 w 16"/>
                <a:gd name="T9" fmla="*/ 13 h 20"/>
                <a:gd name="T10" fmla="*/ 4 w 16"/>
                <a:gd name="T11" fmla="*/ 14 h 20"/>
                <a:gd name="T12" fmla="*/ 6 w 16"/>
                <a:gd name="T13" fmla="*/ 16 h 20"/>
                <a:gd name="T14" fmla="*/ 10 w 16"/>
                <a:gd name="T15" fmla="*/ 20 h 20"/>
                <a:gd name="T16" fmla="*/ 10 w 16"/>
                <a:gd name="T17" fmla="*/ 20 h 20"/>
                <a:gd name="T18" fmla="*/ 11 w 16"/>
                <a:gd name="T19" fmla="*/ 19 h 20"/>
                <a:gd name="T20" fmla="*/ 11 w 16"/>
                <a:gd name="T21" fmla="*/ 18 h 20"/>
                <a:gd name="T22" fmla="*/ 11 w 16"/>
                <a:gd name="T23" fmla="*/ 17 h 20"/>
                <a:gd name="T24" fmla="*/ 11 w 16"/>
                <a:gd name="T25" fmla="*/ 14 h 20"/>
                <a:gd name="T26" fmla="*/ 10 w 16"/>
                <a:gd name="T27" fmla="*/ 10 h 20"/>
                <a:gd name="T28" fmla="*/ 10 w 16"/>
                <a:gd name="T29" fmla="*/ 9 h 20"/>
                <a:gd name="T30" fmla="*/ 10 w 16"/>
                <a:gd name="T31" fmla="*/ 6 h 20"/>
                <a:gd name="T32" fmla="*/ 11 w 16"/>
                <a:gd name="T33" fmla="*/ 5 h 20"/>
                <a:gd name="T34" fmla="*/ 11 w 16"/>
                <a:gd name="T35" fmla="*/ 4 h 20"/>
                <a:gd name="T36" fmla="*/ 12 w 16"/>
                <a:gd name="T37" fmla="*/ 3 h 20"/>
                <a:gd name="T38" fmla="*/ 13 w 16"/>
                <a:gd name="T39" fmla="*/ 2 h 20"/>
                <a:gd name="T40" fmla="*/ 14 w 16"/>
                <a:gd name="T41" fmla="*/ 2 h 20"/>
                <a:gd name="T42" fmla="*/ 16 w 16"/>
                <a:gd name="T43" fmla="*/ 1 h 20"/>
                <a:gd name="T44" fmla="*/ 16 w 16"/>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0">
                  <a:moveTo>
                    <a:pt x="16" y="0"/>
                  </a:moveTo>
                  <a:cubicBezTo>
                    <a:pt x="13" y="2"/>
                    <a:pt x="10" y="4"/>
                    <a:pt x="8" y="6"/>
                  </a:cubicBezTo>
                  <a:cubicBezTo>
                    <a:pt x="6" y="8"/>
                    <a:pt x="3" y="9"/>
                    <a:pt x="0" y="9"/>
                  </a:cubicBezTo>
                  <a:cubicBezTo>
                    <a:pt x="2" y="10"/>
                    <a:pt x="3" y="11"/>
                    <a:pt x="3" y="12"/>
                  </a:cubicBezTo>
                  <a:cubicBezTo>
                    <a:pt x="4" y="12"/>
                    <a:pt x="4" y="13"/>
                    <a:pt x="4" y="13"/>
                  </a:cubicBezTo>
                  <a:cubicBezTo>
                    <a:pt x="4" y="14"/>
                    <a:pt x="4" y="14"/>
                    <a:pt x="4" y="14"/>
                  </a:cubicBezTo>
                  <a:cubicBezTo>
                    <a:pt x="5" y="14"/>
                    <a:pt x="5" y="15"/>
                    <a:pt x="6" y="16"/>
                  </a:cubicBezTo>
                  <a:cubicBezTo>
                    <a:pt x="8" y="19"/>
                    <a:pt x="9" y="20"/>
                    <a:pt x="10" y="20"/>
                  </a:cubicBezTo>
                  <a:cubicBezTo>
                    <a:pt x="10" y="20"/>
                    <a:pt x="10" y="20"/>
                    <a:pt x="10" y="20"/>
                  </a:cubicBezTo>
                  <a:cubicBezTo>
                    <a:pt x="11" y="19"/>
                    <a:pt x="11" y="19"/>
                    <a:pt x="11" y="19"/>
                  </a:cubicBezTo>
                  <a:cubicBezTo>
                    <a:pt x="11" y="18"/>
                    <a:pt x="11" y="18"/>
                    <a:pt x="11" y="18"/>
                  </a:cubicBezTo>
                  <a:cubicBezTo>
                    <a:pt x="11" y="17"/>
                    <a:pt x="11" y="17"/>
                    <a:pt x="11" y="17"/>
                  </a:cubicBezTo>
                  <a:cubicBezTo>
                    <a:pt x="11" y="16"/>
                    <a:pt x="11" y="15"/>
                    <a:pt x="11" y="14"/>
                  </a:cubicBezTo>
                  <a:cubicBezTo>
                    <a:pt x="11" y="13"/>
                    <a:pt x="11" y="11"/>
                    <a:pt x="10" y="10"/>
                  </a:cubicBezTo>
                  <a:cubicBezTo>
                    <a:pt x="10" y="10"/>
                    <a:pt x="10" y="9"/>
                    <a:pt x="10" y="9"/>
                  </a:cubicBezTo>
                  <a:cubicBezTo>
                    <a:pt x="9" y="8"/>
                    <a:pt x="9" y="7"/>
                    <a:pt x="10" y="6"/>
                  </a:cubicBezTo>
                  <a:cubicBezTo>
                    <a:pt x="10" y="5"/>
                    <a:pt x="10" y="5"/>
                    <a:pt x="11" y="5"/>
                  </a:cubicBezTo>
                  <a:cubicBezTo>
                    <a:pt x="11" y="4"/>
                    <a:pt x="11" y="4"/>
                    <a:pt x="11" y="4"/>
                  </a:cubicBezTo>
                  <a:cubicBezTo>
                    <a:pt x="12" y="3"/>
                    <a:pt x="12" y="3"/>
                    <a:pt x="12" y="3"/>
                  </a:cubicBezTo>
                  <a:cubicBezTo>
                    <a:pt x="12" y="3"/>
                    <a:pt x="13" y="3"/>
                    <a:pt x="13" y="2"/>
                  </a:cubicBezTo>
                  <a:cubicBezTo>
                    <a:pt x="14" y="2"/>
                    <a:pt x="14" y="2"/>
                    <a:pt x="14" y="2"/>
                  </a:cubicBezTo>
                  <a:cubicBezTo>
                    <a:pt x="16" y="1"/>
                    <a:pt x="16" y="1"/>
                    <a:pt x="16" y="1"/>
                  </a:cubicBez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5" name="Rectangle 1514">
              <a:extLst>
                <a:ext uri="{FF2B5EF4-FFF2-40B4-BE49-F238E27FC236}">
                  <a16:creationId xmlns:a16="http://schemas.microsoft.com/office/drawing/2014/main" id="{DD032703-3BFC-466D-B512-88C58E7C4381}"/>
                </a:ext>
              </a:extLst>
            </p:cNvPr>
            <p:cNvSpPr>
              <a:spLocks noChangeArrowheads="1"/>
            </p:cNvSpPr>
            <p:nvPr/>
          </p:nvSpPr>
          <p:spPr bwMode="auto">
            <a:xfrm>
              <a:off x="1741009" y="847016"/>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6" name="Freeform 1515">
              <a:extLst>
                <a:ext uri="{FF2B5EF4-FFF2-40B4-BE49-F238E27FC236}">
                  <a16:creationId xmlns:a16="http://schemas.microsoft.com/office/drawing/2014/main" id="{E14DA291-D941-4BB4-997F-7A4E4334AE9D}"/>
                </a:ext>
              </a:extLst>
            </p:cNvPr>
            <p:cNvSpPr>
              <a:spLocks/>
            </p:cNvSpPr>
            <p:nvPr/>
          </p:nvSpPr>
          <p:spPr bwMode="auto">
            <a:xfrm>
              <a:off x="1741009" y="84701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7" name="Rectangle 1516">
              <a:extLst>
                <a:ext uri="{FF2B5EF4-FFF2-40B4-BE49-F238E27FC236}">
                  <a16:creationId xmlns:a16="http://schemas.microsoft.com/office/drawing/2014/main" id="{17C6DA80-269F-4506-A003-A837B03864D0}"/>
                </a:ext>
              </a:extLst>
            </p:cNvPr>
            <p:cNvSpPr>
              <a:spLocks noChangeArrowheads="1"/>
            </p:cNvSpPr>
            <p:nvPr/>
          </p:nvSpPr>
          <p:spPr bwMode="auto">
            <a:xfrm>
              <a:off x="469817" y="336928"/>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8" name="Freeform 1517">
              <a:extLst>
                <a:ext uri="{FF2B5EF4-FFF2-40B4-BE49-F238E27FC236}">
                  <a16:creationId xmlns:a16="http://schemas.microsoft.com/office/drawing/2014/main" id="{8B73C78F-D1CF-4658-80E1-615581F80413}"/>
                </a:ext>
              </a:extLst>
            </p:cNvPr>
            <p:cNvSpPr>
              <a:spLocks/>
            </p:cNvSpPr>
            <p:nvPr/>
          </p:nvSpPr>
          <p:spPr bwMode="auto">
            <a:xfrm>
              <a:off x="469817" y="33692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9" name="Freeform 1518">
              <a:extLst>
                <a:ext uri="{FF2B5EF4-FFF2-40B4-BE49-F238E27FC236}">
                  <a16:creationId xmlns:a16="http://schemas.microsoft.com/office/drawing/2014/main" id="{8615946E-8B8E-4262-AA9F-FC4359EA2956}"/>
                </a:ext>
              </a:extLst>
            </p:cNvPr>
            <p:cNvSpPr>
              <a:spLocks/>
            </p:cNvSpPr>
            <p:nvPr/>
          </p:nvSpPr>
          <p:spPr bwMode="auto">
            <a:xfrm>
              <a:off x="0" y="298000"/>
              <a:ext cx="1890009" cy="1393346"/>
            </a:xfrm>
            <a:custGeom>
              <a:avLst/>
              <a:gdLst>
                <a:gd name="T0" fmla="*/ 175 w 596"/>
                <a:gd name="T1" fmla="*/ 1 h 439"/>
                <a:gd name="T2" fmla="*/ 157 w 596"/>
                <a:gd name="T3" fmla="*/ 10 h 439"/>
                <a:gd name="T4" fmla="*/ 146 w 596"/>
                <a:gd name="T5" fmla="*/ 14 h 439"/>
                <a:gd name="T6" fmla="*/ 121 w 596"/>
                <a:gd name="T7" fmla="*/ 20 h 439"/>
                <a:gd name="T8" fmla="*/ 114 w 596"/>
                <a:gd name="T9" fmla="*/ 21 h 439"/>
                <a:gd name="T10" fmla="*/ 99 w 596"/>
                <a:gd name="T11" fmla="*/ 24 h 439"/>
                <a:gd name="T12" fmla="*/ 81 w 596"/>
                <a:gd name="T13" fmla="*/ 33 h 439"/>
                <a:gd name="T14" fmla="*/ 69 w 596"/>
                <a:gd name="T15" fmla="*/ 32 h 439"/>
                <a:gd name="T16" fmla="*/ 49 w 596"/>
                <a:gd name="T17" fmla="*/ 36 h 439"/>
                <a:gd name="T18" fmla="*/ 28 w 596"/>
                <a:gd name="T19" fmla="*/ 41 h 439"/>
                <a:gd name="T20" fmla="*/ 19 w 596"/>
                <a:gd name="T21" fmla="*/ 48 h 439"/>
                <a:gd name="T22" fmla="*/ 11 w 596"/>
                <a:gd name="T23" fmla="*/ 44 h 439"/>
                <a:gd name="T24" fmla="*/ 0 w 596"/>
                <a:gd name="T25" fmla="*/ 53 h 439"/>
                <a:gd name="T26" fmla="*/ 12 w 596"/>
                <a:gd name="T27" fmla="*/ 69 h 439"/>
                <a:gd name="T28" fmla="*/ 9 w 596"/>
                <a:gd name="T29" fmla="*/ 78 h 439"/>
                <a:gd name="T30" fmla="*/ 6 w 596"/>
                <a:gd name="T31" fmla="*/ 83 h 439"/>
                <a:gd name="T32" fmla="*/ 1 w 596"/>
                <a:gd name="T33" fmla="*/ 125 h 439"/>
                <a:gd name="T34" fmla="*/ 6 w 596"/>
                <a:gd name="T35" fmla="*/ 354 h 439"/>
                <a:gd name="T36" fmla="*/ 50 w 596"/>
                <a:gd name="T37" fmla="*/ 354 h 439"/>
                <a:gd name="T38" fmla="*/ 81 w 596"/>
                <a:gd name="T39" fmla="*/ 353 h 439"/>
                <a:gd name="T40" fmla="*/ 103 w 596"/>
                <a:gd name="T41" fmla="*/ 372 h 439"/>
                <a:gd name="T42" fmla="*/ 106 w 596"/>
                <a:gd name="T43" fmla="*/ 398 h 439"/>
                <a:gd name="T44" fmla="*/ 118 w 596"/>
                <a:gd name="T45" fmla="*/ 407 h 439"/>
                <a:gd name="T46" fmla="*/ 145 w 596"/>
                <a:gd name="T47" fmla="*/ 422 h 439"/>
                <a:gd name="T48" fmla="*/ 153 w 596"/>
                <a:gd name="T49" fmla="*/ 427 h 439"/>
                <a:gd name="T50" fmla="*/ 170 w 596"/>
                <a:gd name="T51" fmla="*/ 424 h 439"/>
                <a:gd name="T52" fmla="*/ 214 w 596"/>
                <a:gd name="T53" fmla="*/ 395 h 439"/>
                <a:gd name="T54" fmla="*/ 232 w 596"/>
                <a:gd name="T55" fmla="*/ 379 h 439"/>
                <a:gd name="T56" fmla="*/ 283 w 596"/>
                <a:gd name="T57" fmla="*/ 369 h 439"/>
                <a:gd name="T58" fmla="*/ 308 w 596"/>
                <a:gd name="T59" fmla="*/ 371 h 439"/>
                <a:gd name="T60" fmla="*/ 325 w 596"/>
                <a:gd name="T61" fmla="*/ 375 h 439"/>
                <a:gd name="T62" fmla="*/ 353 w 596"/>
                <a:gd name="T63" fmla="*/ 374 h 439"/>
                <a:gd name="T64" fmla="*/ 393 w 596"/>
                <a:gd name="T65" fmla="*/ 375 h 439"/>
                <a:gd name="T66" fmla="*/ 411 w 596"/>
                <a:gd name="T67" fmla="*/ 377 h 439"/>
                <a:gd name="T68" fmla="*/ 433 w 596"/>
                <a:gd name="T69" fmla="*/ 390 h 439"/>
                <a:gd name="T70" fmla="*/ 447 w 596"/>
                <a:gd name="T71" fmla="*/ 368 h 439"/>
                <a:gd name="T72" fmla="*/ 437 w 596"/>
                <a:gd name="T73" fmla="*/ 337 h 439"/>
                <a:gd name="T74" fmla="*/ 435 w 596"/>
                <a:gd name="T75" fmla="*/ 313 h 439"/>
                <a:gd name="T76" fmla="*/ 476 w 596"/>
                <a:gd name="T77" fmla="*/ 308 h 439"/>
                <a:gd name="T78" fmla="*/ 489 w 596"/>
                <a:gd name="T79" fmla="*/ 305 h 439"/>
                <a:gd name="T80" fmla="*/ 527 w 596"/>
                <a:gd name="T81" fmla="*/ 256 h 439"/>
                <a:gd name="T82" fmla="*/ 568 w 596"/>
                <a:gd name="T83" fmla="*/ 213 h 439"/>
                <a:gd name="T84" fmla="*/ 589 w 596"/>
                <a:gd name="T85" fmla="*/ 198 h 439"/>
                <a:gd name="T86" fmla="*/ 576 w 596"/>
                <a:gd name="T87" fmla="*/ 188 h 439"/>
                <a:gd name="T88" fmla="*/ 554 w 596"/>
                <a:gd name="T89" fmla="*/ 183 h 439"/>
                <a:gd name="T90" fmla="*/ 548 w 596"/>
                <a:gd name="T91" fmla="*/ 174 h 439"/>
                <a:gd name="T92" fmla="*/ 529 w 596"/>
                <a:gd name="T93" fmla="*/ 161 h 439"/>
                <a:gd name="T94" fmla="*/ 519 w 596"/>
                <a:gd name="T95" fmla="*/ 143 h 439"/>
                <a:gd name="T96" fmla="*/ 493 w 596"/>
                <a:gd name="T97" fmla="*/ 147 h 439"/>
                <a:gd name="T98" fmla="*/ 469 w 596"/>
                <a:gd name="T99" fmla="*/ 148 h 439"/>
                <a:gd name="T100" fmla="*/ 454 w 596"/>
                <a:gd name="T101" fmla="*/ 137 h 439"/>
                <a:gd name="T102" fmla="*/ 446 w 596"/>
                <a:gd name="T103" fmla="*/ 136 h 439"/>
                <a:gd name="T104" fmla="*/ 439 w 596"/>
                <a:gd name="T105" fmla="*/ 142 h 439"/>
                <a:gd name="T106" fmla="*/ 427 w 596"/>
                <a:gd name="T107" fmla="*/ 140 h 439"/>
                <a:gd name="T108" fmla="*/ 349 w 596"/>
                <a:gd name="T109" fmla="*/ 42 h 439"/>
                <a:gd name="T110" fmla="*/ 303 w 596"/>
                <a:gd name="T111" fmla="*/ 59 h 439"/>
                <a:gd name="T112" fmla="*/ 269 w 596"/>
                <a:gd name="T113" fmla="*/ 52 h 439"/>
                <a:gd name="T114" fmla="*/ 258 w 596"/>
                <a:gd name="T115" fmla="*/ 44 h 439"/>
                <a:gd name="T116" fmla="*/ 247 w 596"/>
                <a:gd name="T117" fmla="*/ 41 h 439"/>
                <a:gd name="T118" fmla="*/ 224 w 596"/>
                <a:gd name="T119" fmla="*/ 40 h 439"/>
                <a:gd name="T120" fmla="*/ 217 w 596"/>
                <a:gd name="T121" fmla="*/ 29 h 439"/>
                <a:gd name="T122" fmla="*/ 218 w 596"/>
                <a:gd name="T123" fmla="*/ 11 h 439"/>
                <a:gd name="T124" fmla="*/ 194 w 596"/>
                <a:gd name="T125" fmla="*/ 5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6" h="439">
                  <a:moveTo>
                    <a:pt x="180" y="0"/>
                  </a:moveTo>
                  <a:cubicBezTo>
                    <a:pt x="180" y="0"/>
                    <a:pt x="180" y="0"/>
                    <a:pt x="180" y="0"/>
                  </a:cubicBezTo>
                  <a:cubicBezTo>
                    <a:pt x="180" y="0"/>
                    <a:pt x="179" y="0"/>
                    <a:pt x="179" y="1"/>
                  </a:cubicBezTo>
                  <a:cubicBezTo>
                    <a:pt x="178" y="1"/>
                    <a:pt x="178" y="1"/>
                    <a:pt x="178" y="1"/>
                  </a:cubicBezTo>
                  <a:cubicBezTo>
                    <a:pt x="178" y="1"/>
                    <a:pt x="178" y="1"/>
                    <a:pt x="178" y="1"/>
                  </a:cubicBezTo>
                  <a:cubicBezTo>
                    <a:pt x="177" y="1"/>
                    <a:pt x="177" y="1"/>
                    <a:pt x="177" y="1"/>
                  </a:cubicBezTo>
                  <a:cubicBezTo>
                    <a:pt x="176" y="1"/>
                    <a:pt x="176" y="1"/>
                    <a:pt x="176" y="1"/>
                  </a:cubicBezTo>
                  <a:cubicBezTo>
                    <a:pt x="176" y="1"/>
                    <a:pt x="175" y="1"/>
                    <a:pt x="175" y="1"/>
                  </a:cubicBezTo>
                  <a:cubicBezTo>
                    <a:pt x="175" y="1"/>
                    <a:pt x="175" y="1"/>
                    <a:pt x="175" y="1"/>
                  </a:cubicBezTo>
                  <a:cubicBezTo>
                    <a:pt x="174" y="1"/>
                    <a:pt x="174" y="1"/>
                    <a:pt x="174" y="1"/>
                  </a:cubicBezTo>
                  <a:cubicBezTo>
                    <a:pt x="174" y="2"/>
                    <a:pt x="173" y="2"/>
                    <a:pt x="172" y="2"/>
                  </a:cubicBezTo>
                  <a:cubicBezTo>
                    <a:pt x="171" y="2"/>
                    <a:pt x="170" y="1"/>
                    <a:pt x="169" y="1"/>
                  </a:cubicBezTo>
                  <a:cubicBezTo>
                    <a:pt x="169" y="1"/>
                    <a:pt x="169" y="1"/>
                    <a:pt x="169" y="1"/>
                  </a:cubicBezTo>
                  <a:cubicBezTo>
                    <a:pt x="169" y="1"/>
                    <a:pt x="168" y="1"/>
                    <a:pt x="168" y="0"/>
                  </a:cubicBezTo>
                  <a:cubicBezTo>
                    <a:pt x="168" y="1"/>
                    <a:pt x="167" y="2"/>
                    <a:pt x="167" y="3"/>
                  </a:cubicBezTo>
                  <a:cubicBezTo>
                    <a:pt x="166" y="5"/>
                    <a:pt x="163" y="7"/>
                    <a:pt x="160" y="8"/>
                  </a:cubicBezTo>
                  <a:cubicBezTo>
                    <a:pt x="159" y="9"/>
                    <a:pt x="159" y="9"/>
                    <a:pt x="158" y="10"/>
                  </a:cubicBezTo>
                  <a:cubicBezTo>
                    <a:pt x="157" y="10"/>
                    <a:pt x="157" y="10"/>
                    <a:pt x="157" y="10"/>
                  </a:cubicBezTo>
                  <a:cubicBezTo>
                    <a:pt x="156" y="11"/>
                    <a:pt x="155" y="12"/>
                    <a:pt x="155" y="12"/>
                  </a:cubicBezTo>
                  <a:cubicBezTo>
                    <a:pt x="153" y="13"/>
                    <a:pt x="152" y="13"/>
                    <a:pt x="151" y="13"/>
                  </a:cubicBezTo>
                  <a:cubicBezTo>
                    <a:pt x="151" y="13"/>
                    <a:pt x="151" y="13"/>
                    <a:pt x="151" y="13"/>
                  </a:cubicBezTo>
                  <a:cubicBezTo>
                    <a:pt x="150" y="13"/>
                    <a:pt x="149" y="13"/>
                    <a:pt x="148" y="13"/>
                  </a:cubicBezTo>
                  <a:cubicBezTo>
                    <a:pt x="147" y="13"/>
                    <a:pt x="147" y="13"/>
                    <a:pt x="147" y="13"/>
                  </a:cubicBezTo>
                  <a:cubicBezTo>
                    <a:pt x="147" y="13"/>
                    <a:pt x="147" y="13"/>
                    <a:pt x="147" y="13"/>
                  </a:cubicBezTo>
                  <a:cubicBezTo>
                    <a:pt x="147" y="13"/>
                    <a:pt x="147" y="13"/>
                    <a:pt x="147" y="13"/>
                  </a:cubicBezTo>
                  <a:cubicBezTo>
                    <a:pt x="147" y="13"/>
                    <a:pt x="147" y="13"/>
                    <a:pt x="147" y="13"/>
                  </a:cubicBezTo>
                  <a:cubicBezTo>
                    <a:pt x="146" y="14"/>
                    <a:pt x="146" y="14"/>
                    <a:pt x="146" y="14"/>
                  </a:cubicBezTo>
                  <a:cubicBezTo>
                    <a:pt x="132" y="17"/>
                    <a:pt x="132" y="17"/>
                    <a:pt x="132" y="17"/>
                  </a:cubicBezTo>
                  <a:cubicBezTo>
                    <a:pt x="131" y="17"/>
                    <a:pt x="130" y="17"/>
                    <a:pt x="130" y="18"/>
                  </a:cubicBezTo>
                  <a:cubicBezTo>
                    <a:pt x="135" y="21"/>
                    <a:pt x="135" y="21"/>
                    <a:pt x="135" y="21"/>
                  </a:cubicBezTo>
                  <a:cubicBezTo>
                    <a:pt x="123" y="19"/>
                    <a:pt x="123" y="19"/>
                    <a:pt x="123" y="19"/>
                  </a:cubicBezTo>
                  <a:cubicBezTo>
                    <a:pt x="123" y="20"/>
                    <a:pt x="123" y="20"/>
                    <a:pt x="123" y="20"/>
                  </a:cubicBezTo>
                  <a:cubicBezTo>
                    <a:pt x="122" y="19"/>
                    <a:pt x="122" y="19"/>
                    <a:pt x="122" y="19"/>
                  </a:cubicBezTo>
                  <a:cubicBezTo>
                    <a:pt x="122" y="20"/>
                    <a:pt x="122" y="20"/>
                    <a:pt x="122" y="20"/>
                  </a:cubicBezTo>
                  <a:cubicBezTo>
                    <a:pt x="122" y="20"/>
                    <a:pt x="122" y="20"/>
                    <a:pt x="122" y="20"/>
                  </a:cubicBezTo>
                  <a:cubicBezTo>
                    <a:pt x="121" y="20"/>
                    <a:pt x="121" y="20"/>
                    <a:pt x="121" y="20"/>
                  </a:cubicBezTo>
                  <a:cubicBezTo>
                    <a:pt x="120" y="21"/>
                    <a:pt x="119" y="21"/>
                    <a:pt x="119" y="21"/>
                  </a:cubicBezTo>
                  <a:cubicBezTo>
                    <a:pt x="119" y="21"/>
                    <a:pt x="119" y="21"/>
                    <a:pt x="119" y="21"/>
                  </a:cubicBezTo>
                  <a:cubicBezTo>
                    <a:pt x="119" y="21"/>
                    <a:pt x="119" y="21"/>
                    <a:pt x="119" y="21"/>
                  </a:cubicBezTo>
                  <a:cubicBezTo>
                    <a:pt x="118" y="21"/>
                    <a:pt x="118" y="21"/>
                    <a:pt x="118" y="21"/>
                  </a:cubicBezTo>
                  <a:cubicBezTo>
                    <a:pt x="118" y="21"/>
                    <a:pt x="118" y="21"/>
                    <a:pt x="118" y="21"/>
                  </a:cubicBezTo>
                  <a:cubicBezTo>
                    <a:pt x="118" y="21"/>
                    <a:pt x="118" y="21"/>
                    <a:pt x="118" y="21"/>
                  </a:cubicBezTo>
                  <a:cubicBezTo>
                    <a:pt x="117" y="21"/>
                    <a:pt x="117" y="21"/>
                    <a:pt x="117" y="21"/>
                  </a:cubicBezTo>
                  <a:cubicBezTo>
                    <a:pt x="117" y="21"/>
                    <a:pt x="117" y="21"/>
                    <a:pt x="117" y="21"/>
                  </a:cubicBezTo>
                  <a:cubicBezTo>
                    <a:pt x="116" y="21"/>
                    <a:pt x="115" y="21"/>
                    <a:pt x="114" y="21"/>
                  </a:cubicBezTo>
                  <a:cubicBezTo>
                    <a:pt x="114" y="21"/>
                    <a:pt x="114" y="21"/>
                    <a:pt x="114" y="21"/>
                  </a:cubicBezTo>
                  <a:cubicBezTo>
                    <a:pt x="112" y="22"/>
                    <a:pt x="112" y="22"/>
                    <a:pt x="112" y="22"/>
                  </a:cubicBezTo>
                  <a:cubicBezTo>
                    <a:pt x="111" y="22"/>
                    <a:pt x="109" y="22"/>
                    <a:pt x="108" y="23"/>
                  </a:cubicBezTo>
                  <a:cubicBezTo>
                    <a:pt x="105" y="24"/>
                    <a:pt x="105" y="24"/>
                    <a:pt x="105" y="24"/>
                  </a:cubicBezTo>
                  <a:cubicBezTo>
                    <a:pt x="104" y="24"/>
                    <a:pt x="104" y="24"/>
                    <a:pt x="104" y="24"/>
                  </a:cubicBezTo>
                  <a:cubicBezTo>
                    <a:pt x="104" y="24"/>
                    <a:pt x="103" y="24"/>
                    <a:pt x="103" y="24"/>
                  </a:cubicBezTo>
                  <a:cubicBezTo>
                    <a:pt x="99" y="24"/>
                    <a:pt x="99" y="24"/>
                    <a:pt x="99" y="24"/>
                  </a:cubicBezTo>
                  <a:cubicBezTo>
                    <a:pt x="99" y="24"/>
                    <a:pt x="99" y="24"/>
                    <a:pt x="99" y="24"/>
                  </a:cubicBezTo>
                  <a:cubicBezTo>
                    <a:pt x="99" y="24"/>
                    <a:pt x="99" y="24"/>
                    <a:pt x="99" y="24"/>
                  </a:cubicBezTo>
                  <a:cubicBezTo>
                    <a:pt x="92" y="24"/>
                    <a:pt x="92" y="24"/>
                    <a:pt x="92" y="24"/>
                  </a:cubicBezTo>
                  <a:cubicBezTo>
                    <a:pt x="91" y="24"/>
                    <a:pt x="91" y="24"/>
                    <a:pt x="91" y="24"/>
                  </a:cubicBezTo>
                  <a:cubicBezTo>
                    <a:pt x="90" y="24"/>
                    <a:pt x="90" y="24"/>
                    <a:pt x="90" y="24"/>
                  </a:cubicBezTo>
                  <a:cubicBezTo>
                    <a:pt x="86" y="27"/>
                    <a:pt x="86" y="27"/>
                    <a:pt x="86" y="27"/>
                  </a:cubicBezTo>
                  <a:cubicBezTo>
                    <a:pt x="90" y="30"/>
                    <a:pt x="90" y="30"/>
                    <a:pt x="90" y="30"/>
                  </a:cubicBezTo>
                  <a:cubicBezTo>
                    <a:pt x="85" y="28"/>
                    <a:pt x="85" y="28"/>
                    <a:pt x="85" y="28"/>
                  </a:cubicBezTo>
                  <a:cubicBezTo>
                    <a:pt x="85" y="28"/>
                    <a:pt x="85" y="28"/>
                    <a:pt x="85" y="28"/>
                  </a:cubicBezTo>
                  <a:cubicBezTo>
                    <a:pt x="84" y="29"/>
                    <a:pt x="84" y="29"/>
                    <a:pt x="83" y="30"/>
                  </a:cubicBezTo>
                  <a:cubicBezTo>
                    <a:pt x="81" y="33"/>
                    <a:pt x="81" y="33"/>
                    <a:pt x="81" y="33"/>
                  </a:cubicBezTo>
                  <a:cubicBezTo>
                    <a:pt x="78" y="33"/>
                    <a:pt x="78" y="33"/>
                    <a:pt x="78" y="33"/>
                  </a:cubicBezTo>
                  <a:cubicBezTo>
                    <a:pt x="77" y="31"/>
                    <a:pt x="77" y="31"/>
                    <a:pt x="77" y="31"/>
                  </a:cubicBezTo>
                  <a:cubicBezTo>
                    <a:pt x="76" y="32"/>
                    <a:pt x="76" y="32"/>
                    <a:pt x="76" y="32"/>
                  </a:cubicBezTo>
                  <a:cubicBezTo>
                    <a:pt x="75" y="32"/>
                    <a:pt x="75" y="32"/>
                    <a:pt x="75" y="32"/>
                  </a:cubicBezTo>
                  <a:cubicBezTo>
                    <a:pt x="74" y="33"/>
                    <a:pt x="74" y="33"/>
                    <a:pt x="74" y="33"/>
                  </a:cubicBezTo>
                  <a:cubicBezTo>
                    <a:pt x="73" y="33"/>
                    <a:pt x="72" y="33"/>
                    <a:pt x="71" y="33"/>
                  </a:cubicBezTo>
                  <a:cubicBezTo>
                    <a:pt x="70" y="33"/>
                    <a:pt x="70" y="33"/>
                    <a:pt x="70" y="33"/>
                  </a:cubicBezTo>
                  <a:cubicBezTo>
                    <a:pt x="70" y="33"/>
                    <a:pt x="70" y="33"/>
                    <a:pt x="70" y="33"/>
                  </a:cubicBezTo>
                  <a:cubicBezTo>
                    <a:pt x="69" y="33"/>
                    <a:pt x="69" y="32"/>
                    <a:pt x="69" y="32"/>
                  </a:cubicBezTo>
                  <a:cubicBezTo>
                    <a:pt x="68" y="32"/>
                    <a:pt x="68" y="32"/>
                    <a:pt x="68" y="32"/>
                  </a:cubicBezTo>
                  <a:cubicBezTo>
                    <a:pt x="68" y="32"/>
                    <a:pt x="68" y="32"/>
                    <a:pt x="67" y="32"/>
                  </a:cubicBezTo>
                  <a:cubicBezTo>
                    <a:pt x="66" y="33"/>
                    <a:pt x="66" y="33"/>
                    <a:pt x="66" y="33"/>
                  </a:cubicBezTo>
                  <a:cubicBezTo>
                    <a:pt x="64" y="33"/>
                    <a:pt x="64" y="33"/>
                    <a:pt x="64" y="33"/>
                  </a:cubicBezTo>
                  <a:cubicBezTo>
                    <a:pt x="64" y="33"/>
                    <a:pt x="63" y="33"/>
                    <a:pt x="63" y="33"/>
                  </a:cubicBezTo>
                  <a:cubicBezTo>
                    <a:pt x="62" y="33"/>
                    <a:pt x="62" y="33"/>
                    <a:pt x="62" y="33"/>
                  </a:cubicBezTo>
                  <a:cubicBezTo>
                    <a:pt x="62" y="33"/>
                    <a:pt x="62" y="33"/>
                    <a:pt x="62" y="33"/>
                  </a:cubicBezTo>
                  <a:cubicBezTo>
                    <a:pt x="49" y="36"/>
                    <a:pt x="49" y="36"/>
                    <a:pt x="49" y="36"/>
                  </a:cubicBezTo>
                  <a:cubicBezTo>
                    <a:pt x="49" y="36"/>
                    <a:pt x="49" y="36"/>
                    <a:pt x="49" y="36"/>
                  </a:cubicBezTo>
                  <a:cubicBezTo>
                    <a:pt x="49" y="36"/>
                    <a:pt x="49" y="36"/>
                    <a:pt x="49" y="36"/>
                  </a:cubicBezTo>
                  <a:cubicBezTo>
                    <a:pt x="48" y="36"/>
                    <a:pt x="48" y="36"/>
                    <a:pt x="48" y="36"/>
                  </a:cubicBezTo>
                  <a:cubicBezTo>
                    <a:pt x="39" y="39"/>
                    <a:pt x="39" y="39"/>
                    <a:pt x="39" y="39"/>
                  </a:cubicBezTo>
                  <a:cubicBezTo>
                    <a:pt x="38" y="38"/>
                    <a:pt x="38" y="38"/>
                    <a:pt x="38" y="38"/>
                  </a:cubicBezTo>
                  <a:cubicBezTo>
                    <a:pt x="37" y="38"/>
                    <a:pt x="37" y="38"/>
                    <a:pt x="36" y="38"/>
                  </a:cubicBezTo>
                  <a:cubicBezTo>
                    <a:pt x="36" y="39"/>
                    <a:pt x="36" y="39"/>
                    <a:pt x="36" y="39"/>
                  </a:cubicBezTo>
                  <a:cubicBezTo>
                    <a:pt x="35" y="39"/>
                    <a:pt x="35" y="39"/>
                    <a:pt x="35" y="39"/>
                  </a:cubicBezTo>
                  <a:cubicBezTo>
                    <a:pt x="34" y="40"/>
                    <a:pt x="34" y="40"/>
                    <a:pt x="34" y="40"/>
                  </a:cubicBezTo>
                  <a:cubicBezTo>
                    <a:pt x="28" y="41"/>
                    <a:pt x="28" y="41"/>
                    <a:pt x="28" y="41"/>
                  </a:cubicBezTo>
                  <a:cubicBezTo>
                    <a:pt x="28" y="41"/>
                    <a:pt x="28" y="41"/>
                    <a:pt x="28" y="41"/>
                  </a:cubicBezTo>
                  <a:cubicBezTo>
                    <a:pt x="28" y="41"/>
                    <a:pt x="28" y="41"/>
                    <a:pt x="28" y="41"/>
                  </a:cubicBezTo>
                  <a:cubicBezTo>
                    <a:pt x="27" y="41"/>
                    <a:pt x="26" y="41"/>
                    <a:pt x="25" y="42"/>
                  </a:cubicBezTo>
                  <a:cubicBezTo>
                    <a:pt x="25" y="42"/>
                    <a:pt x="25" y="42"/>
                    <a:pt x="25" y="42"/>
                  </a:cubicBezTo>
                  <a:cubicBezTo>
                    <a:pt x="25" y="42"/>
                    <a:pt x="25" y="42"/>
                    <a:pt x="25" y="42"/>
                  </a:cubicBezTo>
                  <a:cubicBezTo>
                    <a:pt x="23" y="42"/>
                    <a:pt x="23" y="42"/>
                    <a:pt x="23" y="42"/>
                  </a:cubicBezTo>
                  <a:cubicBezTo>
                    <a:pt x="21" y="45"/>
                    <a:pt x="21" y="45"/>
                    <a:pt x="21" y="45"/>
                  </a:cubicBezTo>
                  <a:cubicBezTo>
                    <a:pt x="21" y="46"/>
                    <a:pt x="21" y="46"/>
                    <a:pt x="21" y="46"/>
                  </a:cubicBezTo>
                  <a:cubicBezTo>
                    <a:pt x="19" y="48"/>
                    <a:pt x="19" y="48"/>
                    <a:pt x="19" y="48"/>
                  </a:cubicBezTo>
                  <a:cubicBezTo>
                    <a:pt x="18" y="47"/>
                    <a:pt x="18" y="47"/>
                    <a:pt x="18" y="47"/>
                  </a:cubicBezTo>
                  <a:cubicBezTo>
                    <a:pt x="13" y="52"/>
                    <a:pt x="13" y="52"/>
                    <a:pt x="13" y="52"/>
                  </a:cubicBezTo>
                  <a:cubicBezTo>
                    <a:pt x="16" y="45"/>
                    <a:pt x="16" y="45"/>
                    <a:pt x="16" y="45"/>
                  </a:cubicBezTo>
                  <a:cubicBezTo>
                    <a:pt x="16" y="45"/>
                    <a:pt x="16" y="45"/>
                    <a:pt x="16" y="45"/>
                  </a:cubicBezTo>
                  <a:cubicBezTo>
                    <a:pt x="15" y="44"/>
                    <a:pt x="15" y="44"/>
                    <a:pt x="15" y="44"/>
                  </a:cubicBezTo>
                  <a:cubicBezTo>
                    <a:pt x="15" y="44"/>
                    <a:pt x="15" y="44"/>
                    <a:pt x="15" y="44"/>
                  </a:cubicBezTo>
                  <a:cubicBezTo>
                    <a:pt x="14" y="44"/>
                    <a:pt x="14" y="44"/>
                    <a:pt x="14" y="44"/>
                  </a:cubicBezTo>
                  <a:cubicBezTo>
                    <a:pt x="14" y="44"/>
                    <a:pt x="13" y="44"/>
                    <a:pt x="13" y="44"/>
                  </a:cubicBezTo>
                  <a:cubicBezTo>
                    <a:pt x="13" y="44"/>
                    <a:pt x="12" y="44"/>
                    <a:pt x="11" y="44"/>
                  </a:cubicBezTo>
                  <a:cubicBezTo>
                    <a:pt x="10" y="50"/>
                    <a:pt x="10" y="50"/>
                    <a:pt x="10" y="50"/>
                  </a:cubicBezTo>
                  <a:cubicBezTo>
                    <a:pt x="10" y="44"/>
                    <a:pt x="10" y="44"/>
                    <a:pt x="10" y="44"/>
                  </a:cubicBezTo>
                  <a:cubicBezTo>
                    <a:pt x="10" y="44"/>
                    <a:pt x="10" y="44"/>
                    <a:pt x="10" y="44"/>
                  </a:cubicBezTo>
                  <a:cubicBezTo>
                    <a:pt x="8" y="44"/>
                    <a:pt x="8" y="44"/>
                    <a:pt x="8" y="44"/>
                  </a:cubicBezTo>
                  <a:cubicBezTo>
                    <a:pt x="3" y="44"/>
                    <a:pt x="3" y="44"/>
                    <a:pt x="3" y="44"/>
                  </a:cubicBezTo>
                  <a:cubicBezTo>
                    <a:pt x="3" y="44"/>
                    <a:pt x="3" y="44"/>
                    <a:pt x="3" y="44"/>
                  </a:cubicBezTo>
                  <a:cubicBezTo>
                    <a:pt x="2" y="44"/>
                    <a:pt x="1" y="44"/>
                    <a:pt x="0" y="44"/>
                  </a:cubicBezTo>
                  <a:cubicBezTo>
                    <a:pt x="0" y="53"/>
                    <a:pt x="0" y="53"/>
                    <a:pt x="0" y="53"/>
                  </a:cubicBezTo>
                  <a:cubicBezTo>
                    <a:pt x="0" y="53"/>
                    <a:pt x="0" y="53"/>
                    <a:pt x="0" y="53"/>
                  </a:cubicBezTo>
                  <a:cubicBezTo>
                    <a:pt x="0" y="54"/>
                    <a:pt x="0" y="54"/>
                    <a:pt x="0" y="54"/>
                  </a:cubicBezTo>
                  <a:cubicBezTo>
                    <a:pt x="5" y="53"/>
                    <a:pt x="5" y="53"/>
                    <a:pt x="5" y="53"/>
                  </a:cubicBezTo>
                  <a:cubicBezTo>
                    <a:pt x="0" y="58"/>
                    <a:pt x="0" y="58"/>
                    <a:pt x="0" y="58"/>
                  </a:cubicBezTo>
                  <a:cubicBezTo>
                    <a:pt x="0" y="58"/>
                    <a:pt x="0" y="58"/>
                    <a:pt x="0" y="58"/>
                  </a:cubicBezTo>
                  <a:cubicBezTo>
                    <a:pt x="0" y="58"/>
                    <a:pt x="0" y="58"/>
                    <a:pt x="0" y="58"/>
                  </a:cubicBezTo>
                  <a:cubicBezTo>
                    <a:pt x="0" y="64"/>
                    <a:pt x="0" y="64"/>
                    <a:pt x="0" y="64"/>
                  </a:cubicBezTo>
                  <a:cubicBezTo>
                    <a:pt x="1" y="64"/>
                    <a:pt x="2" y="65"/>
                    <a:pt x="3" y="65"/>
                  </a:cubicBezTo>
                  <a:cubicBezTo>
                    <a:pt x="8" y="67"/>
                    <a:pt x="8" y="67"/>
                    <a:pt x="8" y="67"/>
                  </a:cubicBezTo>
                  <a:cubicBezTo>
                    <a:pt x="9" y="67"/>
                    <a:pt x="11" y="68"/>
                    <a:pt x="12" y="69"/>
                  </a:cubicBezTo>
                  <a:cubicBezTo>
                    <a:pt x="14" y="70"/>
                    <a:pt x="14" y="70"/>
                    <a:pt x="14" y="70"/>
                  </a:cubicBezTo>
                  <a:cubicBezTo>
                    <a:pt x="14" y="72"/>
                    <a:pt x="14" y="72"/>
                    <a:pt x="14" y="72"/>
                  </a:cubicBezTo>
                  <a:cubicBezTo>
                    <a:pt x="13" y="73"/>
                    <a:pt x="13" y="73"/>
                    <a:pt x="13" y="74"/>
                  </a:cubicBezTo>
                  <a:cubicBezTo>
                    <a:pt x="13" y="74"/>
                    <a:pt x="12" y="75"/>
                    <a:pt x="12" y="75"/>
                  </a:cubicBezTo>
                  <a:cubicBezTo>
                    <a:pt x="12" y="75"/>
                    <a:pt x="12" y="75"/>
                    <a:pt x="12" y="75"/>
                  </a:cubicBezTo>
                  <a:cubicBezTo>
                    <a:pt x="12" y="76"/>
                    <a:pt x="11" y="76"/>
                    <a:pt x="11" y="77"/>
                  </a:cubicBezTo>
                  <a:cubicBezTo>
                    <a:pt x="10" y="77"/>
                    <a:pt x="10" y="77"/>
                    <a:pt x="10" y="77"/>
                  </a:cubicBezTo>
                  <a:cubicBezTo>
                    <a:pt x="10" y="77"/>
                    <a:pt x="10" y="77"/>
                    <a:pt x="10" y="77"/>
                  </a:cubicBezTo>
                  <a:cubicBezTo>
                    <a:pt x="9" y="78"/>
                    <a:pt x="9" y="78"/>
                    <a:pt x="9" y="78"/>
                  </a:cubicBezTo>
                  <a:cubicBezTo>
                    <a:pt x="9" y="78"/>
                    <a:pt x="9" y="78"/>
                    <a:pt x="9" y="78"/>
                  </a:cubicBezTo>
                  <a:cubicBezTo>
                    <a:pt x="8" y="78"/>
                    <a:pt x="8" y="78"/>
                    <a:pt x="8" y="78"/>
                  </a:cubicBezTo>
                  <a:cubicBezTo>
                    <a:pt x="8" y="78"/>
                    <a:pt x="8" y="78"/>
                    <a:pt x="8" y="78"/>
                  </a:cubicBezTo>
                  <a:cubicBezTo>
                    <a:pt x="7" y="78"/>
                    <a:pt x="6" y="78"/>
                    <a:pt x="6" y="78"/>
                  </a:cubicBezTo>
                  <a:cubicBezTo>
                    <a:pt x="6" y="77"/>
                    <a:pt x="6" y="77"/>
                    <a:pt x="6" y="77"/>
                  </a:cubicBezTo>
                  <a:cubicBezTo>
                    <a:pt x="6" y="77"/>
                    <a:pt x="6" y="77"/>
                    <a:pt x="6" y="77"/>
                  </a:cubicBezTo>
                  <a:cubicBezTo>
                    <a:pt x="5" y="78"/>
                    <a:pt x="5" y="78"/>
                    <a:pt x="5" y="78"/>
                  </a:cubicBezTo>
                  <a:cubicBezTo>
                    <a:pt x="5" y="77"/>
                    <a:pt x="5" y="77"/>
                    <a:pt x="5" y="77"/>
                  </a:cubicBezTo>
                  <a:cubicBezTo>
                    <a:pt x="6" y="83"/>
                    <a:pt x="6" y="83"/>
                    <a:pt x="6" y="83"/>
                  </a:cubicBezTo>
                  <a:cubicBezTo>
                    <a:pt x="3" y="77"/>
                    <a:pt x="3" y="77"/>
                    <a:pt x="3" y="77"/>
                  </a:cubicBezTo>
                  <a:cubicBezTo>
                    <a:pt x="3" y="77"/>
                    <a:pt x="3" y="77"/>
                    <a:pt x="2" y="77"/>
                  </a:cubicBezTo>
                  <a:cubicBezTo>
                    <a:pt x="2" y="77"/>
                    <a:pt x="1" y="77"/>
                    <a:pt x="1" y="77"/>
                  </a:cubicBezTo>
                  <a:cubicBezTo>
                    <a:pt x="1" y="77"/>
                    <a:pt x="1" y="77"/>
                    <a:pt x="1" y="77"/>
                  </a:cubicBezTo>
                  <a:cubicBezTo>
                    <a:pt x="1" y="77"/>
                    <a:pt x="1" y="77"/>
                    <a:pt x="1" y="77"/>
                  </a:cubicBezTo>
                  <a:cubicBezTo>
                    <a:pt x="1" y="77"/>
                    <a:pt x="0" y="77"/>
                    <a:pt x="0" y="78"/>
                  </a:cubicBezTo>
                  <a:cubicBezTo>
                    <a:pt x="0" y="123"/>
                    <a:pt x="0" y="123"/>
                    <a:pt x="0" y="123"/>
                  </a:cubicBezTo>
                  <a:cubicBezTo>
                    <a:pt x="1" y="121"/>
                    <a:pt x="1" y="121"/>
                    <a:pt x="1" y="121"/>
                  </a:cubicBezTo>
                  <a:cubicBezTo>
                    <a:pt x="1" y="125"/>
                    <a:pt x="1" y="125"/>
                    <a:pt x="1" y="125"/>
                  </a:cubicBezTo>
                  <a:cubicBezTo>
                    <a:pt x="6" y="127"/>
                    <a:pt x="6" y="127"/>
                    <a:pt x="6" y="127"/>
                  </a:cubicBezTo>
                  <a:cubicBezTo>
                    <a:pt x="4" y="128"/>
                    <a:pt x="4" y="128"/>
                    <a:pt x="4" y="128"/>
                  </a:cubicBezTo>
                  <a:cubicBezTo>
                    <a:pt x="11" y="133"/>
                    <a:pt x="11" y="133"/>
                    <a:pt x="11" y="133"/>
                  </a:cubicBezTo>
                  <a:cubicBezTo>
                    <a:pt x="2" y="131"/>
                    <a:pt x="2" y="131"/>
                    <a:pt x="2" y="131"/>
                  </a:cubicBezTo>
                  <a:cubicBezTo>
                    <a:pt x="1" y="132"/>
                    <a:pt x="1" y="132"/>
                    <a:pt x="1" y="132"/>
                  </a:cubicBezTo>
                  <a:cubicBezTo>
                    <a:pt x="1" y="132"/>
                    <a:pt x="0" y="133"/>
                    <a:pt x="0" y="134"/>
                  </a:cubicBezTo>
                  <a:cubicBezTo>
                    <a:pt x="0" y="348"/>
                    <a:pt x="0" y="348"/>
                    <a:pt x="0" y="348"/>
                  </a:cubicBezTo>
                  <a:cubicBezTo>
                    <a:pt x="1" y="349"/>
                    <a:pt x="3" y="351"/>
                    <a:pt x="4" y="352"/>
                  </a:cubicBezTo>
                  <a:cubicBezTo>
                    <a:pt x="5" y="353"/>
                    <a:pt x="5" y="353"/>
                    <a:pt x="6" y="354"/>
                  </a:cubicBezTo>
                  <a:cubicBezTo>
                    <a:pt x="6" y="354"/>
                    <a:pt x="6" y="354"/>
                    <a:pt x="6" y="354"/>
                  </a:cubicBezTo>
                  <a:cubicBezTo>
                    <a:pt x="7" y="355"/>
                    <a:pt x="7" y="355"/>
                    <a:pt x="8" y="356"/>
                  </a:cubicBezTo>
                  <a:cubicBezTo>
                    <a:pt x="9" y="357"/>
                    <a:pt x="9" y="357"/>
                    <a:pt x="9" y="357"/>
                  </a:cubicBezTo>
                  <a:cubicBezTo>
                    <a:pt x="10" y="357"/>
                    <a:pt x="10" y="357"/>
                    <a:pt x="11" y="357"/>
                  </a:cubicBezTo>
                  <a:cubicBezTo>
                    <a:pt x="11" y="357"/>
                    <a:pt x="11" y="357"/>
                    <a:pt x="11" y="357"/>
                  </a:cubicBezTo>
                  <a:cubicBezTo>
                    <a:pt x="14" y="357"/>
                    <a:pt x="18" y="356"/>
                    <a:pt x="21" y="355"/>
                  </a:cubicBezTo>
                  <a:cubicBezTo>
                    <a:pt x="26" y="355"/>
                    <a:pt x="31" y="354"/>
                    <a:pt x="36" y="353"/>
                  </a:cubicBezTo>
                  <a:cubicBezTo>
                    <a:pt x="37" y="353"/>
                    <a:pt x="38" y="353"/>
                    <a:pt x="39" y="353"/>
                  </a:cubicBezTo>
                  <a:cubicBezTo>
                    <a:pt x="43" y="353"/>
                    <a:pt x="47" y="353"/>
                    <a:pt x="50" y="354"/>
                  </a:cubicBezTo>
                  <a:cubicBezTo>
                    <a:pt x="51" y="354"/>
                    <a:pt x="51" y="354"/>
                    <a:pt x="51" y="354"/>
                  </a:cubicBezTo>
                  <a:cubicBezTo>
                    <a:pt x="54" y="354"/>
                    <a:pt x="56" y="354"/>
                    <a:pt x="58" y="354"/>
                  </a:cubicBezTo>
                  <a:cubicBezTo>
                    <a:pt x="65" y="355"/>
                    <a:pt x="65" y="355"/>
                    <a:pt x="65" y="355"/>
                  </a:cubicBezTo>
                  <a:cubicBezTo>
                    <a:pt x="67" y="355"/>
                    <a:pt x="68" y="354"/>
                    <a:pt x="69" y="354"/>
                  </a:cubicBezTo>
                  <a:cubicBezTo>
                    <a:pt x="69" y="354"/>
                    <a:pt x="69" y="354"/>
                    <a:pt x="69" y="354"/>
                  </a:cubicBezTo>
                  <a:cubicBezTo>
                    <a:pt x="70" y="353"/>
                    <a:pt x="70" y="353"/>
                    <a:pt x="70" y="353"/>
                  </a:cubicBezTo>
                  <a:cubicBezTo>
                    <a:pt x="73" y="352"/>
                    <a:pt x="75" y="351"/>
                    <a:pt x="77" y="351"/>
                  </a:cubicBezTo>
                  <a:cubicBezTo>
                    <a:pt x="77" y="351"/>
                    <a:pt x="77" y="351"/>
                    <a:pt x="77" y="351"/>
                  </a:cubicBezTo>
                  <a:cubicBezTo>
                    <a:pt x="79" y="351"/>
                    <a:pt x="80" y="352"/>
                    <a:pt x="81" y="353"/>
                  </a:cubicBezTo>
                  <a:cubicBezTo>
                    <a:pt x="82" y="354"/>
                    <a:pt x="84" y="356"/>
                    <a:pt x="85" y="357"/>
                  </a:cubicBezTo>
                  <a:cubicBezTo>
                    <a:pt x="87" y="359"/>
                    <a:pt x="87" y="359"/>
                    <a:pt x="87" y="359"/>
                  </a:cubicBezTo>
                  <a:cubicBezTo>
                    <a:pt x="88" y="360"/>
                    <a:pt x="88" y="360"/>
                    <a:pt x="88" y="360"/>
                  </a:cubicBezTo>
                  <a:cubicBezTo>
                    <a:pt x="90" y="361"/>
                    <a:pt x="90" y="361"/>
                    <a:pt x="90" y="361"/>
                  </a:cubicBezTo>
                  <a:cubicBezTo>
                    <a:pt x="92" y="364"/>
                    <a:pt x="95" y="366"/>
                    <a:pt x="97" y="369"/>
                  </a:cubicBezTo>
                  <a:cubicBezTo>
                    <a:pt x="99" y="371"/>
                    <a:pt x="99" y="371"/>
                    <a:pt x="99" y="371"/>
                  </a:cubicBezTo>
                  <a:cubicBezTo>
                    <a:pt x="99" y="371"/>
                    <a:pt x="99" y="371"/>
                    <a:pt x="100" y="372"/>
                  </a:cubicBezTo>
                  <a:cubicBezTo>
                    <a:pt x="100" y="372"/>
                    <a:pt x="101" y="373"/>
                    <a:pt x="101" y="373"/>
                  </a:cubicBezTo>
                  <a:cubicBezTo>
                    <a:pt x="103" y="372"/>
                    <a:pt x="103" y="372"/>
                    <a:pt x="103" y="372"/>
                  </a:cubicBezTo>
                  <a:cubicBezTo>
                    <a:pt x="104" y="372"/>
                    <a:pt x="104" y="372"/>
                    <a:pt x="105" y="372"/>
                  </a:cubicBezTo>
                  <a:cubicBezTo>
                    <a:pt x="106" y="372"/>
                    <a:pt x="107" y="372"/>
                    <a:pt x="107" y="373"/>
                  </a:cubicBezTo>
                  <a:cubicBezTo>
                    <a:pt x="109" y="375"/>
                    <a:pt x="109" y="378"/>
                    <a:pt x="107" y="383"/>
                  </a:cubicBezTo>
                  <a:cubicBezTo>
                    <a:pt x="107" y="383"/>
                    <a:pt x="107" y="383"/>
                    <a:pt x="107" y="383"/>
                  </a:cubicBezTo>
                  <a:cubicBezTo>
                    <a:pt x="107" y="385"/>
                    <a:pt x="107" y="386"/>
                    <a:pt x="107" y="388"/>
                  </a:cubicBezTo>
                  <a:cubicBezTo>
                    <a:pt x="107" y="390"/>
                    <a:pt x="106" y="392"/>
                    <a:pt x="106" y="393"/>
                  </a:cubicBezTo>
                  <a:cubicBezTo>
                    <a:pt x="106" y="394"/>
                    <a:pt x="106" y="395"/>
                    <a:pt x="106" y="395"/>
                  </a:cubicBezTo>
                  <a:cubicBezTo>
                    <a:pt x="106" y="396"/>
                    <a:pt x="106" y="396"/>
                    <a:pt x="106" y="396"/>
                  </a:cubicBezTo>
                  <a:cubicBezTo>
                    <a:pt x="106" y="396"/>
                    <a:pt x="106" y="397"/>
                    <a:pt x="106" y="398"/>
                  </a:cubicBezTo>
                  <a:cubicBezTo>
                    <a:pt x="106" y="398"/>
                    <a:pt x="106" y="399"/>
                    <a:pt x="106" y="400"/>
                  </a:cubicBezTo>
                  <a:cubicBezTo>
                    <a:pt x="107" y="400"/>
                    <a:pt x="107" y="400"/>
                    <a:pt x="107" y="400"/>
                  </a:cubicBezTo>
                  <a:cubicBezTo>
                    <a:pt x="107" y="400"/>
                    <a:pt x="107" y="400"/>
                    <a:pt x="107" y="400"/>
                  </a:cubicBezTo>
                  <a:cubicBezTo>
                    <a:pt x="107" y="400"/>
                    <a:pt x="108" y="400"/>
                    <a:pt x="108" y="400"/>
                  </a:cubicBezTo>
                  <a:cubicBezTo>
                    <a:pt x="109" y="400"/>
                    <a:pt x="109" y="400"/>
                    <a:pt x="109" y="400"/>
                  </a:cubicBezTo>
                  <a:cubicBezTo>
                    <a:pt x="110" y="400"/>
                    <a:pt x="111" y="399"/>
                    <a:pt x="112" y="399"/>
                  </a:cubicBezTo>
                  <a:cubicBezTo>
                    <a:pt x="113" y="399"/>
                    <a:pt x="115" y="400"/>
                    <a:pt x="116" y="401"/>
                  </a:cubicBezTo>
                  <a:cubicBezTo>
                    <a:pt x="117" y="402"/>
                    <a:pt x="117" y="403"/>
                    <a:pt x="117" y="404"/>
                  </a:cubicBezTo>
                  <a:cubicBezTo>
                    <a:pt x="118" y="404"/>
                    <a:pt x="118" y="405"/>
                    <a:pt x="118" y="407"/>
                  </a:cubicBezTo>
                  <a:cubicBezTo>
                    <a:pt x="118" y="407"/>
                    <a:pt x="118" y="407"/>
                    <a:pt x="118" y="407"/>
                  </a:cubicBezTo>
                  <a:cubicBezTo>
                    <a:pt x="118" y="408"/>
                    <a:pt x="118" y="408"/>
                    <a:pt x="118" y="408"/>
                  </a:cubicBezTo>
                  <a:cubicBezTo>
                    <a:pt x="118" y="410"/>
                    <a:pt x="119" y="413"/>
                    <a:pt x="120" y="416"/>
                  </a:cubicBezTo>
                  <a:cubicBezTo>
                    <a:pt x="121" y="419"/>
                    <a:pt x="121" y="419"/>
                    <a:pt x="121" y="419"/>
                  </a:cubicBezTo>
                  <a:cubicBezTo>
                    <a:pt x="121" y="421"/>
                    <a:pt x="121" y="421"/>
                    <a:pt x="121" y="421"/>
                  </a:cubicBezTo>
                  <a:cubicBezTo>
                    <a:pt x="122" y="423"/>
                    <a:pt x="122" y="423"/>
                    <a:pt x="122" y="423"/>
                  </a:cubicBezTo>
                  <a:cubicBezTo>
                    <a:pt x="140" y="423"/>
                    <a:pt x="140" y="423"/>
                    <a:pt x="140" y="423"/>
                  </a:cubicBezTo>
                  <a:cubicBezTo>
                    <a:pt x="141" y="423"/>
                    <a:pt x="141" y="423"/>
                    <a:pt x="142" y="423"/>
                  </a:cubicBezTo>
                  <a:cubicBezTo>
                    <a:pt x="143" y="423"/>
                    <a:pt x="144" y="422"/>
                    <a:pt x="145" y="422"/>
                  </a:cubicBezTo>
                  <a:cubicBezTo>
                    <a:pt x="146" y="422"/>
                    <a:pt x="147" y="422"/>
                    <a:pt x="147" y="423"/>
                  </a:cubicBezTo>
                  <a:cubicBezTo>
                    <a:pt x="147" y="423"/>
                    <a:pt x="147" y="423"/>
                    <a:pt x="147" y="423"/>
                  </a:cubicBezTo>
                  <a:cubicBezTo>
                    <a:pt x="148" y="423"/>
                    <a:pt x="148" y="423"/>
                    <a:pt x="149" y="423"/>
                  </a:cubicBezTo>
                  <a:cubicBezTo>
                    <a:pt x="149" y="423"/>
                    <a:pt x="149" y="423"/>
                    <a:pt x="149" y="423"/>
                  </a:cubicBezTo>
                  <a:cubicBezTo>
                    <a:pt x="150" y="424"/>
                    <a:pt x="150" y="424"/>
                    <a:pt x="150" y="424"/>
                  </a:cubicBezTo>
                  <a:cubicBezTo>
                    <a:pt x="150" y="424"/>
                    <a:pt x="150" y="424"/>
                    <a:pt x="150" y="424"/>
                  </a:cubicBezTo>
                  <a:cubicBezTo>
                    <a:pt x="151" y="425"/>
                    <a:pt x="151" y="425"/>
                    <a:pt x="151" y="425"/>
                  </a:cubicBezTo>
                  <a:cubicBezTo>
                    <a:pt x="151" y="425"/>
                    <a:pt x="151" y="425"/>
                    <a:pt x="151" y="425"/>
                  </a:cubicBezTo>
                  <a:cubicBezTo>
                    <a:pt x="152" y="426"/>
                    <a:pt x="153" y="426"/>
                    <a:pt x="153" y="427"/>
                  </a:cubicBezTo>
                  <a:cubicBezTo>
                    <a:pt x="154" y="427"/>
                    <a:pt x="155" y="428"/>
                    <a:pt x="155" y="429"/>
                  </a:cubicBezTo>
                  <a:cubicBezTo>
                    <a:pt x="155" y="430"/>
                    <a:pt x="155" y="430"/>
                    <a:pt x="155" y="430"/>
                  </a:cubicBezTo>
                  <a:cubicBezTo>
                    <a:pt x="155" y="432"/>
                    <a:pt x="155" y="434"/>
                    <a:pt x="154" y="435"/>
                  </a:cubicBezTo>
                  <a:cubicBezTo>
                    <a:pt x="156" y="437"/>
                    <a:pt x="158" y="438"/>
                    <a:pt x="161" y="439"/>
                  </a:cubicBezTo>
                  <a:cubicBezTo>
                    <a:pt x="161" y="439"/>
                    <a:pt x="161" y="439"/>
                    <a:pt x="161" y="439"/>
                  </a:cubicBezTo>
                  <a:cubicBezTo>
                    <a:pt x="161" y="438"/>
                    <a:pt x="161" y="437"/>
                    <a:pt x="161" y="437"/>
                  </a:cubicBezTo>
                  <a:cubicBezTo>
                    <a:pt x="161" y="434"/>
                    <a:pt x="161" y="434"/>
                    <a:pt x="161" y="434"/>
                  </a:cubicBezTo>
                  <a:cubicBezTo>
                    <a:pt x="162" y="430"/>
                    <a:pt x="165" y="427"/>
                    <a:pt x="168" y="425"/>
                  </a:cubicBezTo>
                  <a:cubicBezTo>
                    <a:pt x="169" y="425"/>
                    <a:pt x="170" y="424"/>
                    <a:pt x="170" y="424"/>
                  </a:cubicBezTo>
                  <a:cubicBezTo>
                    <a:pt x="171" y="423"/>
                    <a:pt x="171" y="423"/>
                    <a:pt x="171" y="423"/>
                  </a:cubicBezTo>
                  <a:cubicBezTo>
                    <a:pt x="171" y="423"/>
                    <a:pt x="171" y="423"/>
                    <a:pt x="171" y="423"/>
                  </a:cubicBezTo>
                  <a:cubicBezTo>
                    <a:pt x="172" y="422"/>
                    <a:pt x="172" y="422"/>
                    <a:pt x="172" y="422"/>
                  </a:cubicBezTo>
                  <a:cubicBezTo>
                    <a:pt x="173" y="421"/>
                    <a:pt x="174" y="419"/>
                    <a:pt x="176" y="418"/>
                  </a:cubicBezTo>
                  <a:cubicBezTo>
                    <a:pt x="176" y="418"/>
                    <a:pt x="176" y="418"/>
                    <a:pt x="176" y="418"/>
                  </a:cubicBezTo>
                  <a:cubicBezTo>
                    <a:pt x="177" y="417"/>
                    <a:pt x="177" y="417"/>
                    <a:pt x="177" y="417"/>
                  </a:cubicBezTo>
                  <a:cubicBezTo>
                    <a:pt x="179" y="416"/>
                    <a:pt x="181" y="414"/>
                    <a:pt x="183" y="413"/>
                  </a:cubicBezTo>
                  <a:cubicBezTo>
                    <a:pt x="187" y="410"/>
                    <a:pt x="190" y="408"/>
                    <a:pt x="194" y="406"/>
                  </a:cubicBezTo>
                  <a:cubicBezTo>
                    <a:pt x="214" y="395"/>
                    <a:pt x="214" y="395"/>
                    <a:pt x="214" y="395"/>
                  </a:cubicBezTo>
                  <a:cubicBezTo>
                    <a:pt x="214" y="394"/>
                    <a:pt x="214" y="393"/>
                    <a:pt x="215" y="393"/>
                  </a:cubicBezTo>
                  <a:cubicBezTo>
                    <a:pt x="215" y="391"/>
                    <a:pt x="216" y="390"/>
                    <a:pt x="216" y="390"/>
                  </a:cubicBezTo>
                  <a:cubicBezTo>
                    <a:pt x="217" y="389"/>
                    <a:pt x="219" y="387"/>
                    <a:pt x="220" y="386"/>
                  </a:cubicBezTo>
                  <a:cubicBezTo>
                    <a:pt x="221" y="385"/>
                    <a:pt x="221" y="385"/>
                    <a:pt x="221" y="385"/>
                  </a:cubicBezTo>
                  <a:cubicBezTo>
                    <a:pt x="221" y="385"/>
                    <a:pt x="222" y="384"/>
                    <a:pt x="222" y="384"/>
                  </a:cubicBezTo>
                  <a:cubicBezTo>
                    <a:pt x="223" y="382"/>
                    <a:pt x="224" y="381"/>
                    <a:pt x="226" y="380"/>
                  </a:cubicBezTo>
                  <a:cubicBezTo>
                    <a:pt x="226" y="380"/>
                    <a:pt x="227" y="379"/>
                    <a:pt x="227" y="379"/>
                  </a:cubicBezTo>
                  <a:cubicBezTo>
                    <a:pt x="228" y="379"/>
                    <a:pt x="229" y="378"/>
                    <a:pt x="230" y="378"/>
                  </a:cubicBezTo>
                  <a:cubicBezTo>
                    <a:pt x="231" y="378"/>
                    <a:pt x="232" y="378"/>
                    <a:pt x="232" y="379"/>
                  </a:cubicBezTo>
                  <a:cubicBezTo>
                    <a:pt x="233" y="379"/>
                    <a:pt x="233" y="379"/>
                    <a:pt x="233" y="379"/>
                  </a:cubicBezTo>
                  <a:cubicBezTo>
                    <a:pt x="233" y="379"/>
                    <a:pt x="234" y="379"/>
                    <a:pt x="234" y="379"/>
                  </a:cubicBezTo>
                  <a:cubicBezTo>
                    <a:pt x="246" y="378"/>
                    <a:pt x="246" y="378"/>
                    <a:pt x="246" y="378"/>
                  </a:cubicBezTo>
                  <a:cubicBezTo>
                    <a:pt x="246" y="378"/>
                    <a:pt x="246" y="378"/>
                    <a:pt x="246" y="378"/>
                  </a:cubicBezTo>
                  <a:cubicBezTo>
                    <a:pt x="249" y="378"/>
                    <a:pt x="251" y="379"/>
                    <a:pt x="254" y="380"/>
                  </a:cubicBezTo>
                  <a:cubicBezTo>
                    <a:pt x="259" y="381"/>
                    <a:pt x="265" y="383"/>
                    <a:pt x="270" y="385"/>
                  </a:cubicBezTo>
                  <a:cubicBezTo>
                    <a:pt x="273" y="386"/>
                    <a:pt x="273" y="386"/>
                    <a:pt x="273" y="386"/>
                  </a:cubicBezTo>
                  <a:cubicBezTo>
                    <a:pt x="274" y="386"/>
                    <a:pt x="274" y="386"/>
                    <a:pt x="275" y="386"/>
                  </a:cubicBezTo>
                  <a:cubicBezTo>
                    <a:pt x="274" y="380"/>
                    <a:pt x="276" y="372"/>
                    <a:pt x="283" y="369"/>
                  </a:cubicBezTo>
                  <a:cubicBezTo>
                    <a:pt x="281" y="363"/>
                    <a:pt x="281" y="363"/>
                    <a:pt x="281" y="363"/>
                  </a:cubicBezTo>
                  <a:cubicBezTo>
                    <a:pt x="285" y="368"/>
                    <a:pt x="285" y="368"/>
                    <a:pt x="285" y="368"/>
                  </a:cubicBezTo>
                  <a:cubicBezTo>
                    <a:pt x="287" y="367"/>
                    <a:pt x="290" y="366"/>
                    <a:pt x="293" y="366"/>
                  </a:cubicBezTo>
                  <a:cubicBezTo>
                    <a:pt x="294" y="366"/>
                    <a:pt x="294" y="366"/>
                    <a:pt x="294" y="366"/>
                  </a:cubicBezTo>
                  <a:cubicBezTo>
                    <a:pt x="295" y="366"/>
                    <a:pt x="295" y="366"/>
                    <a:pt x="296" y="366"/>
                  </a:cubicBezTo>
                  <a:cubicBezTo>
                    <a:pt x="298" y="366"/>
                    <a:pt x="301" y="367"/>
                    <a:pt x="303" y="368"/>
                  </a:cubicBezTo>
                  <a:cubicBezTo>
                    <a:pt x="305" y="369"/>
                    <a:pt x="306" y="370"/>
                    <a:pt x="307" y="370"/>
                  </a:cubicBezTo>
                  <a:cubicBezTo>
                    <a:pt x="308" y="371"/>
                    <a:pt x="308" y="371"/>
                    <a:pt x="308" y="371"/>
                  </a:cubicBezTo>
                  <a:cubicBezTo>
                    <a:pt x="308" y="371"/>
                    <a:pt x="308" y="371"/>
                    <a:pt x="308" y="371"/>
                  </a:cubicBezTo>
                  <a:cubicBezTo>
                    <a:pt x="310" y="372"/>
                    <a:pt x="311" y="372"/>
                    <a:pt x="312" y="373"/>
                  </a:cubicBezTo>
                  <a:cubicBezTo>
                    <a:pt x="313" y="373"/>
                    <a:pt x="313" y="373"/>
                    <a:pt x="313" y="373"/>
                  </a:cubicBezTo>
                  <a:cubicBezTo>
                    <a:pt x="314" y="374"/>
                    <a:pt x="315" y="374"/>
                    <a:pt x="316" y="374"/>
                  </a:cubicBezTo>
                  <a:cubicBezTo>
                    <a:pt x="317" y="375"/>
                    <a:pt x="317" y="375"/>
                    <a:pt x="317" y="375"/>
                  </a:cubicBezTo>
                  <a:cubicBezTo>
                    <a:pt x="318" y="375"/>
                    <a:pt x="319" y="375"/>
                    <a:pt x="320" y="375"/>
                  </a:cubicBezTo>
                  <a:cubicBezTo>
                    <a:pt x="322" y="376"/>
                    <a:pt x="322" y="376"/>
                    <a:pt x="322" y="376"/>
                  </a:cubicBezTo>
                  <a:cubicBezTo>
                    <a:pt x="322" y="376"/>
                    <a:pt x="322" y="376"/>
                    <a:pt x="323" y="376"/>
                  </a:cubicBezTo>
                  <a:cubicBezTo>
                    <a:pt x="323" y="376"/>
                    <a:pt x="323" y="376"/>
                    <a:pt x="323" y="376"/>
                  </a:cubicBezTo>
                  <a:cubicBezTo>
                    <a:pt x="324" y="376"/>
                    <a:pt x="324" y="376"/>
                    <a:pt x="325" y="375"/>
                  </a:cubicBezTo>
                  <a:cubicBezTo>
                    <a:pt x="326" y="375"/>
                    <a:pt x="326" y="375"/>
                    <a:pt x="326" y="375"/>
                  </a:cubicBezTo>
                  <a:cubicBezTo>
                    <a:pt x="327" y="375"/>
                    <a:pt x="328" y="375"/>
                    <a:pt x="329" y="374"/>
                  </a:cubicBezTo>
                  <a:cubicBezTo>
                    <a:pt x="329" y="374"/>
                    <a:pt x="331" y="374"/>
                    <a:pt x="332" y="373"/>
                  </a:cubicBezTo>
                  <a:cubicBezTo>
                    <a:pt x="333" y="373"/>
                    <a:pt x="333" y="373"/>
                    <a:pt x="333" y="373"/>
                  </a:cubicBezTo>
                  <a:cubicBezTo>
                    <a:pt x="333" y="373"/>
                    <a:pt x="334" y="373"/>
                    <a:pt x="334" y="373"/>
                  </a:cubicBezTo>
                  <a:cubicBezTo>
                    <a:pt x="336" y="373"/>
                    <a:pt x="337" y="373"/>
                    <a:pt x="339" y="373"/>
                  </a:cubicBezTo>
                  <a:cubicBezTo>
                    <a:pt x="342" y="373"/>
                    <a:pt x="344" y="373"/>
                    <a:pt x="347" y="373"/>
                  </a:cubicBezTo>
                  <a:cubicBezTo>
                    <a:pt x="347" y="373"/>
                    <a:pt x="347" y="373"/>
                    <a:pt x="347" y="373"/>
                  </a:cubicBezTo>
                  <a:cubicBezTo>
                    <a:pt x="349" y="373"/>
                    <a:pt x="351" y="374"/>
                    <a:pt x="353" y="374"/>
                  </a:cubicBezTo>
                  <a:cubicBezTo>
                    <a:pt x="355" y="374"/>
                    <a:pt x="355" y="374"/>
                    <a:pt x="355" y="374"/>
                  </a:cubicBezTo>
                  <a:cubicBezTo>
                    <a:pt x="360" y="374"/>
                    <a:pt x="365" y="374"/>
                    <a:pt x="370" y="374"/>
                  </a:cubicBezTo>
                  <a:cubicBezTo>
                    <a:pt x="370" y="370"/>
                    <a:pt x="370" y="370"/>
                    <a:pt x="370" y="370"/>
                  </a:cubicBezTo>
                  <a:cubicBezTo>
                    <a:pt x="371" y="374"/>
                    <a:pt x="371" y="374"/>
                    <a:pt x="371" y="374"/>
                  </a:cubicBezTo>
                  <a:cubicBezTo>
                    <a:pt x="372" y="374"/>
                    <a:pt x="372" y="374"/>
                    <a:pt x="372" y="374"/>
                  </a:cubicBezTo>
                  <a:cubicBezTo>
                    <a:pt x="373" y="374"/>
                    <a:pt x="375" y="374"/>
                    <a:pt x="377" y="374"/>
                  </a:cubicBezTo>
                  <a:cubicBezTo>
                    <a:pt x="381" y="375"/>
                    <a:pt x="385" y="375"/>
                    <a:pt x="389" y="375"/>
                  </a:cubicBezTo>
                  <a:cubicBezTo>
                    <a:pt x="390" y="375"/>
                    <a:pt x="391" y="375"/>
                    <a:pt x="392" y="375"/>
                  </a:cubicBezTo>
                  <a:cubicBezTo>
                    <a:pt x="393" y="375"/>
                    <a:pt x="393" y="375"/>
                    <a:pt x="393" y="375"/>
                  </a:cubicBezTo>
                  <a:cubicBezTo>
                    <a:pt x="393" y="375"/>
                    <a:pt x="394" y="375"/>
                    <a:pt x="394" y="375"/>
                  </a:cubicBezTo>
                  <a:cubicBezTo>
                    <a:pt x="395" y="375"/>
                    <a:pt x="395" y="375"/>
                    <a:pt x="396" y="375"/>
                  </a:cubicBezTo>
                  <a:cubicBezTo>
                    <a:pt x="397" y="375"/>
                    <a:pt x="398" y="375"/>
                    <a:pt x="399" y="375"/>
                  </a:cubicBezTo>
                  <a:cubicBezTo>
                    <a:pt x="400" y="376"/>
                    <a:pt x="401" y="376"/>
                    <a:pt x="402" y="377"/>
                  </a:cubicBezTo>
                  <a:cubicBezTo>
                    <a:pt x="404" y="377"/>
                    <a:pt x="404" y="377"/>
                    <a:pt x="404" y="377"/>
                  </a:cubicBezTo>
                  <a:cubicBezTo>
                    <a:pt x="405" y="377"/>
                    <a:pt x="406" y="378"/>
                    <a:pt x="407" y="378"/>
                  </a:cubicBezTo>
                  <a:cubicBezTo>
                    <a:pt x="408" y="378"/>
                    <a:pt x="408" y="378"/>
                    <a:pt x="408" y="378"/>
                  </a:cubicBezTo>
                  <a:cubicBezTo>
                    <a:pt x="409" y="377"/>
                    <a:pt x="410" y="377"/>
                    <a:pt x="410" y="377"/>
                  </a:cubicBezTo>
                  <a:cubicBezTo>
                    <a:pt x="411" y="377"/>
                    <a:pt x="411" y="377"/>
                    <a:pt x="411" y="377"/>
                  </a:cubicBezTo>
                  <a:cubicBezTo>
                    <a:pt x="412" y="377"/>
                    <a:pt x="412" y="377"/>
                    <a:pt x="412" y="377"/>
                  </a:cubicBezTo>
                  <a:cubicBezTo>
                    <a:pt x="415" y="378"/>
                    <a:pt x="417" y="381"/>
                    <a:pt x="418" y="384"/>
                  </a:cubicBezTo>
                  <a:cubicBezTo>
                    <a:pt x="419" y="385"/>
                    <a:pt x="419" y="385"/>
                    <a:pt x="419" y="385"/>
                  </a:cubicBezTo>
                  <a:cubicBezTo>
                    <a:pt x="420" y="386"/>
                    <a:pt x="421" y="387"/>
                    <a:pt x="423" y="387"/>
                  </a:cubicBezTo>
                  <a:cubicBezTo>
                    <a:pt x="424" y="387"/>
                    <a:pt x="424" y="387"/>
                    <a:pt x="424" y="387"/>
                  </a:cubicBezTo>
                  <a:cubicBezTo>
                    <a:pt x="424" y="387"/>
                    <a:pt x="425" y="387"/>
                    <a:pt x="426" y="387"/>
                  </a:cubicBezTo>
                  <a:cubicBezTo>
                    <a:pt x="427" y="387"/>
                    <a:pt x="427" y="387"/>
                    <a:pt x="427" y="387"/>
                  </a:cubicBezTo>
                  <a:cubicBezTo>
                    <a:pt x="428" y="387"/>
                    <a:pt x="429" y="388"/>
                    <a:pt x="430" y="388"/>
                  </a:cubicBezTo>
                  <a:cubicBezTo>
                    <a:pt x="431" y="389"/>
                    <a:pt x="432" y="389"/>
                    <a:pt x="433" y="390"/>
                  </a:cubicBezTo>
                  <a:cubicBezTo>
                    <a:pt x="434" y="390"/>
                    <a:pt x="434" y="390"/>
                    <a:pt x="434" y="390"/>
                  </a:cubicBezTo>
                  <a:cubicBezTo>
                    <a:pt x="434" y="389"/>
                    <a:pt x="434" y="389"/>
                    <a:pt x="434" y="389"/>
                  </a:cubicBezTo>
                  <a:cubicBezTo>
                    <a:pt x="433" y="388"/>
                    <a:pt x="433" y="388"/>
                    <a:pt x="433" y="388"/>
                  </a:cubicBezTo>
                  <a:cubicBezTo>
                    <a:pt x="433" y="385"/>
                    <a:pt x="433" y="382"/>
                    <a:pt x="434" y="379"/>
                  </a:cubicBezTo>
                  <a:cubicBezTo>
                    <a:pt x="435" y="377"/>
                    <a:pt x="437" y="377"/>
                    <a:pt x="438" y="376"/>
                  </a:cubicBezTo>
                  <a:cubicBezTo>
                    <a:pt x="439" y="376"/>
                    <a:pt x="439" y="376"/>
                    <a:pt x="439" y="376"/>
                  </a:cubicBezTo>
                  <a:cubicBezTo>
                    <a:pt x="437" y="375"/>
                    <a:pt x="437" y="373"/>
                    <a:pt x="438" y="372"/>
                  </a:cubicBezTo>
                  <a:cubicBezTo>
                    <a:pt x="439" y="369"/>
                    <a:pt x="443" y="369"/>
                    <a:pt x="446" y="368"/>
                  </a:cubicBezTo>
                  <a:cubicBezTo>
                    <a:pt x="446" y="368"/>
                    <a:pt x="447" y="368"/>
                    <a:pt x="447" y="368"/>
                  </a:cubicBezTo>
                  <a:cubicBezTo>
                    <a:pt x="447" y="366"/>
                    <a:pt x="446" y="364"/>
                    <a:pt x="446" y="364"/>
                  </a:cubicBezTo>
                  <a:cubicBezTo>
                    <a:pt x="446" y="363"/>
                    <a:pt x="446" y="363"/>
                    <a:pt x="446" y="363"/>
                  </a:cubicBezTo>
                  <a:cubicBezTo>
                    <a:pt x="446" y="362"/>
                    <a:pt x="446" y="362"/>
                    <a:pt x="446" y="362"/>
                  </a:cubicBezTo>
                  <a:cubicBezTo>
                    <a:pt x="446" y="361"/>
                    <a:pt x="445" y="361"/>
                    <a:pt x="445" y="360"/>
                  </a:cubicBezTo>
                  <a:cubicBezTo>
                    <a:pt x="445" y="359"/>
                    <a:pt x="445" y="359"/>
                    <a:pt x="445" y="359"/>
                  </a:cubicBezTo>
                  <a:cubicBezTo>
                    <a:pt x="444" y="357"/>
                    <a:pt x="443" y="355"/>
                    <a:pt x="442" y="353"/>
                  </a:cubicBezTo>
                  <a:cubicBezTo>
                    <a:pt x="441" y="352"/>
                    <a:pt x="441" y="350"/>
                    <a:pt x="440" y="349"/>
                  </a:cubicBezTo>
                  <a:cubicBezTo>
                    <a:pt x="439" y="346"/>
                    <a:pt x="438" y="343"/>
                    <a:pt x="438" y="339"/>
                  </a:cubicBezTo>
                  <a:cubicBezTo>
                    <a:pt x="437" y="337"/>
                    <a:pt x="437" y="337"/>
                    <a:pt x="437" y="337"/>
                  </a:cubicBezTo>
                  <a:cubicBezTo>
                    <a:pt x="437" y="334"/>
                    <a:pt x="436" y="330"/>
                    <a:pt x="437" y="327"/>
                  </a:cubicBezTo>
                  <a:cubicBezTo>
                    <a:pt x="438" y="326"/>
                    <a:pt x="438" y="326"/>
                    <a:pt x="438" y="325"/>
                  </a:cubicBezTo>
                  <a:cubicBezTo>
                    <a:pt x="437" y="325"/>
                    <a:pt x="437" y="325"/>
                    <a:pt x="436" y="325"/>
                  </a:cubicBezTo>
                  <a:cubicBezTo>
                    <a:pt x="436" y="325"/>
                    <a:pt x="435" y="325"/>
                    <a:pt x="435" y="325"/>
                  </a:cubicBezTo>
                  <a:cubicBezTo>
                    <a:pt x="434" y="325"/>
                    <a:pt x="433" y="326"/>
                    <a:pt x="432" y="326"/>
                  </a:cubicBezTo>
                  <a:cubicBezTo>
                    <a:pt x="431" y="326"/>
                    <a:pt x="430" y="325"/>
                    <a:pt x="428" y="324"/>
                  </a:cubicBezTo>
                  <a:cubicBezTo>
                    <a:pt x="428" y="323"/>
                    <a:pt x="428" y="323"/>
                    <a:pt x="428" y="323"/>
                  </a:cubicBezTo>
                  <a:cubicBezTo>
                    <a:pt x="427" y="322"/>
                    <a:pt x="425" y="320"/>
                    <a:pt x="427" y="318"/>
                  </a:cubicBezTo>
                  <a:cubicBezTo>
                    <a:pt x="429" y="314"/>
                    <a:pt x="432" y="314"/>
                    <a:pt x="435" y="313"/>
                  </a:cubicBezTo>
                  <a:cubicBezTo>
                    <a:pt x="436" y="313"/>
                    <a:pt x="436" y="313"/>
                    <a:pt x="436" y="313"/>
                  </a:cubicBezTo>
                  <a:cubicBezTo>
                    <a:pt x="440" y="312"/>
                    <a:pt x="445" y="310"/>
                    <a:pt x="450" y="309"/>
                  </a:cubicBezTo>
                  <a:cubicBezTo>
                    <a:pt x="464" y="305"/>
                    <a:pt x="464" y="305"/>
                    <a:pt x="464" y="305"/>
                  </a:cubicBezTo>
                  <a:cubicBezTo>
                    <a:pt x="464" y="305"/>
                    <a:pt x="465" y="305"/>
                    <a:pt x="465" y="305"/>
                  </a:cubicBezTo>
                  <a:cubicBezTo>
                    <a:pt x="466" y="305"/>
                    <a:pt x="466" y="305"/>
                    <a:pt x="466" y="305"/>
                  </a:cubicBezTo>
                  <a:cubicBezTo>
                    <a:pt x="468" y="304"/>
                    <a:pt x="470" y="304"/>
                    <a:pt x="471" y="304"/>
                  </a:cubicBezTo>
                  <a:cubicBezTo>
                    <a:pt x="472" y="304"/>
                    <a:pt x="472" y="304"/>
                    <a:pt x="473" y="304"/>
                  </a:cubicBezTo>
                  <a:cubicBezTo>
                    <a:pt x="476" y="305"/>
                    <a:pt x="476" y="307"/>
                    <a:pt x="476" y="308"/>
                  </a:cubicBezTo>
                  <a:cubicBezTo>
                    <a:pt x="476" y="308"/>
                    <a:pt x="476" y="308"/>
                    <a:pt x="476" y="308"/>
                  </a:cubicBezTo>
                  <a:cubicBezTo>
                    <a:pt x="477" y="308"/>
                    <a:pt x="477" y="308"/>
                    <a:pt x="478" y="308"/>
                  </a:cubicBezTo>
                  <a:cubicBezTo>
                    <a:pt x="479" y="308"/>
                    <a:pt x="480" y="308"/>
                    <a:pt x="481" y="308"/>
                  </a:cubicBezTo>
                  <a:cubicBezTo>
                    <a:pt x="482" y="308"/>
                    <a:pt x="482" y="308"/>
                    <a:pt x="483" y="308"/>
                  </a:cubicBezTo>
                  <a:cubicBezTo>
                    <a:pt x="485" y="308"/>
                    <a:pt x="485" y="308"/>
                    <a:pt x="485" y="308"/>
                  </a:cubicBezTo>
                  <a:cubicBezTo>
                    <a:pt x="486" y="308"/>
                    <a:pt x="487" y="308"/>
                    <a:pt x="488" y="308"/>
                  </a:cubicBezTo>
                  <a:cubicBezTo>
                    <a:pt x="489" y="308"/>
                    <a:pt x="490" y="308"/>
                    <a:pt x="490" y="308"/>
                  </a:cubicBezTo>
                  <a:cubicBezTo>
                    <a:pt x="491" y="307"/>
                    <a:pt x="491" y="306"/>
                    <a:pt x="491" y="306"/>
                  </a:cubicBezTo>
                  <a:cubicBezTo>
                    <a:pt x="490" y="306"/>
                    <a:pt x="490" y="305"/>
                    <a:pt x="489" y="305"/>
                  </a:cubicBezTo>
                  <a:cubicBezTo>
                    <a:pt x="489" y="305"/>
                    <a:pt x="489" y="305"/>
                    <a:pt x="489" y="305"/>
                  </a:cubicBezTo>
                  <a:cubicBezTo>
                    <a:pt x="487" y="305"/>
                    <a:pt x="484" y="304"/>
                    <a:pt x="483" y="302"/>
                  </a:cubicBezTo>
                  <a:cubicBezTo>
                    <a:pt x="483" y="302"/>
                    <a:pt x="483" y="301"/>
                    <a:pt x="483" y="300"/>
                  </a:cubicBezTo>
                  <a:cubicBezTo>
                    <a:pt x="499" y="254"/>
                    <a:pt x="499" y="254"/>
                    <a:pt x="499" y="254"/>
                  </a:cubicBezTo>
                  <a:cubicBezTo>
                    <a:pt x="500" y="251"/>
                    <a:pt x="501" y="248"/>
                    <a:pt x="505" y="248"/>
                  </a:cubicBezTo>
                  <a:cubicBezTo>
                    <a:pt x="505" y="248"/>
                    <a:pt x="506" y="248"/>
                    <a:pt x="506" y="249"/>
                  </a:cubicBezTo>
                  <a:cubicBezTo>
                    <a:pt x="509" y="249"/>
                    <a:pt x="511" y="250"/>
                    <a:pt x="513" y="252"/>
                  </a:cubicBezTo>
                  <a:cubicBezTo>
                    <a:pt x="515" y="252"/>
                    <a:pt x="515" y="252"/>
                    <a:pt x="515" y="252"/>
                  </a:cubicBezTo>
                  <a:cubicBezTo>
                    <a:pt x="518" y="255"/>
                    <a:pt x="523" y="256"/>
                    <a:pt x="526" y="256"/>
                  </a:cubicBezTo>
                  <a:cubicBezTo>
                    <a:pt x="527" y="256"/>
                    <a:pt x="527" y="256"/>
                    <a:pt x="527" y="256"/>
                  </a:cubicBezTo>
                  <a:cubicBezTo>
                    <a:pt x="529" y="255"/>
                    <a:pt x="531" y="255"/>
                    <a:pt x="533" y="255"/>
                  </a:cubicBezTo>
                  <a:cubicBezTo>
                    <a:pt x="538" y="255"/>
                    <a:pt x="542" y="256"/>
                    <a:pt x="544" y="257"/>
                  </a:cubicBezTo>
                  <a:cubicBezTo>
                    <a:pt x="545" y="257"/>
                    <a:pt x="546" y="257"/>
                    <a:pt x="547" y="257"/>
                  </a:cubicBezTo>
                  <a:cubicBezTo>
                    <a:pt x="549" y="257"/>
                    <a:pt x="551" y="257"/>
                    <a:pt x="554" y="255"/>
                  </a:cubicBezTo>
                  <a:cubicBezTo>
                    <a:pt x="555" y="254"/>
                    <a:pt x="555" y="254"/>
                    <a:pt x="555" y="254"/>
                  </a:cubicBezTo>
                  <a:cubicBezTo>
                    <a:pt x="561" y="252"/>
                    <a:pt x="563" y="250"/>
                    <a:pt x="562" y="247"/>
                  </a:cubicBezTo>
                  <a:cubicBezTo>
                    <a:pt x="562" y="244"/>
                    <a:pt x="562" y="241"/>
                    <a:pt x="561" y="237"/>
                  </a:cubicBezTo>
                  <a:cubicBezTo>
                    <a:pt x="560" y="234"/>
                    <a:pt x="560" y="232"/>
                    <a:pt x="560" y="229"/>
                  </a:cubicBezTo>
                  <a:cubicBezTo>
                    <a:pt x="559" y="225"/>
                    <a:pt x="563" y="215"/>
                    <a:pt x="568" y="213"/>
                  </a:cubicBezTo>
                  <a:cubicBezTo>
                    <a:pt x="569" y="212"/>
                    <a:pt x="571" y="212"/>
                    <a:pt x="572" y="212"/>
                  </a:cubicBezTo>
                  <a:cubicBezTo>
                    <a:pt x="573" y="212"/>
                    <a:pt x="573" y="212"/>
                    <a:pt x="574" y="212"/>
                  </a:cubicBezTo>
                  <a:cubicBezTo>
                    <a:pt x="577" y="212"/>
                    <a:pt x="580" y="211"/>
                    <a:pt x="584" y="210"/>
                  </a:cubicBezTo>
                  <a:cubicBezTo>
                    <a:pt x="585" y="209"/>
                    <a:pt x="587" y="207"/>
                    <a:pt x="588" y="205"/>
                  </a:cubicBezTo>
                  <a:cubicBezTo>
                    <a:pt x="588" y="205"/>
                    <a:pt x="588" y="205"/>
                    <a:pt x="588" y="205"/>
                  </a:cubicBezTo>
                  <a:cubicBezTo>
                    <a:pt x="588" y="204"/>
                    <a:pt x="588" y="204"/>
                    <a:pt x="589" y="203"/>
                  </a:cubicBezTo>
                  <a:cubicBezTo>
                    <a:pt x="588" y="203"/>
                    <a:pt x="588" y="202"/>
                    <a:pt x="588" y="201"/>
                  </a:cubicBezTo>
                  <a:cubicBezTo>
                    <a:pt x="588" y="200"/>
                    <a:pt x="588" y="199"/>
                    <a:pt x="588" y="199"/>
                  </a:cubicBezTo>
                  <a:cubicBezTo>
                    <a:pt x="589" y="198"/>
                    <a:pt x="589" y="198"/>
                    <a:pt x="589" y="198"/>
                  </a:cubicBezTo>
                  <a:cubicBezTo>
                    <a:pt x="589" y="195"/>
                    <a:pt x="591" y="193"/>
                    <a:pt x="592" y="192"/>
                  </a:cubicBezTo>
                  <a:cubicBezTo>
                    <a:pt x="593" y="192"/>
                    <a:pt x="594" y="192"/>
                    <a:pt x="594" y="192"/>
                  </a:cubicBezTo>
                  <a:cubicBezTo>
                    <a:pt x="594" y="192"/>
                    <a:pt x="595" y="192"/>
                    <a:pt x="595" y="192"/>
                  </a:cubicBezTo>
                  <a:cubicBezTo>
                    <a:pt x="596" y="192"/>
                    <a:pt x="596" y="192"/>
                    <a:pt x="596" y="192"/>
                  </a:cubicBezTo>
                  <a:cubicBezTo>
                    <a:pt x="593" y="189"/>
                    <a:pt x="590" y="187"/>
                    <a:pt x="587" y="184"/>
                  </a:cubicBezTo>
                  <a:cubicBezTo>
                    <a:pt x="586" y="184"/>
                    <a:pt x="586" y="183"/>
                    <a:pt x="585" y="182"/>
                  </a:cubicBezTo>
                  <a:cubicBezTo>
                    <a:pt x="585" y="182"/>
                    <a:pt x="584" y="181"/>
                    <a:pt x="584" y="181"/>
                  </a:cubicBezTo>
                  <a:cubicBezTo>
                    <a:pt x="584" y="181"/>
                    <a:pt x="583" y="182"/>
                    <a:pt x="582" y="182"/>
                  </a:cubicBezTo>
                  <a:cubicBezTo>
                    <a:pt x="576" y="188"/>
                    <a:pt x="576" y="188"/>
                    <a:pt x="576" y="188"/>
                  </a:cubicBezTo>
                  <a:cubicBezTo>
                    <a:pt x="575" y="186"/>
                    <a:pt x="575" y="186"/>
                    <a:pt x="575" y="186"/>
                  </a:cubicBezTo>
                  <a:cubicBezTo>
                    <a:pt x="574" y="186"/>
                    <a:pt x="574" y="186"/>
                    <a:pt x="574" y="186"/>
                  </a:cubicBezTo>
                  <a:cubicBezTo>
                    <a:pt x="572" y="186"/>
                    <a:pt x="572" y="186"/>
                    <a:pt x="572" y="186"/>
                  </a:cubicBezTo>
                  <a:cubicBezTo>
                    <a:pt x="570" y="186"/>
                    <a:pt x="570" y="186"/>
                    <a:pt x="570" y="186"/>
                  </a:cubicBezTo>
                  <a:cubicBezTo>
                    <a:pt x="569" y="185"/>
                    <a:pt x="569" y="185"/>
                    <a:pt x="569" y="185"/>
                  </a:cubicBezTo>
                  <a:cubicBezTo>
                    <a:pt x="569" y="184"/>
                    <a:pt x="569" y="184"/>
                    <a:pt x="569" y="184"/>
                  </a:cubicBezTo>
                  <a:cubicBezTo>
                    <a:pt x="567" y="184"/>
                    <a:pt x="567" y="184"/>
                    <a:pt x="567" y="184"/>
                  </a:cubicBezTo>
                  <a:cubicBezTo>
                    <a:pt x="567" y="184"/>
                    <a:pt x="567" y="184"/>
                    <a:pt x="567" y="184"/>
                  </a:cubicBezTo>
                  <a:cubicBezTo>
                    <a:pt x="554" y="183"/>
                    <a:pt x="554" y="183"/>
                    <a:pt x="554" y="183"/>
                  </a:cubicBezTo>
                  <a:cubicBezTo>
                    <a:pt x="552" y="180"/>
                    <a:pt x="552" y="180"/>
                    <a:pt x="552" y="180"/>
                  </a:cubicBezTo>
                  <a:cubicBezTo>
                    <a:pt x="552" y="180"/>
                    <a:pt x="552" y="180"/>
                    <a:pt x="552" y="180"/>
                  </a:cubicBezTo>
                  <a:cubicBezTo>
                    <a:pt x="551" y="179"/>
                    <a:pt x="551" y="179"/>
                    <a:pt x="551" y="179"/>
                  </a:cubicBezTo>
                  <a:cubicBezTo>
                    <a:pt x="551" y="178"/>
                    <a:pt x="551" y="178"/>
                    <a:pt x="551" y="178"/>
                  </a:cubicBezTo>
                  <a:cubicBezTo>
                    <a:pt x="551" y="177"/>
                    <a:pt x="551" y="177"/>
                    <a:pt x="551" y="177"/>
                  </a:cubicBezTo>
                  <a:cubicBezTo>
                    <a:pt x="551" y="177"/>
                    <a:pt x="551" y="177"/>
                    <a:pt x="551" y="177"/>
                  </a:cubicBezTo>
                  <a:cubicBezTo>
                    <a:pt x="550" y="176"/>
                    <a:pt x="550" y="176"/>
                    <a:pt x="549" y="175"/>
                  </a:cubicBezTo>
                  <a:cubicBezTo>
                    <a:pt x="549" y="175"/>
                    <a:pt x="549" y="174"/>
                    <a:pt x="548" y="174"/>
                  </a:cubicBezTo>
                  <a:cubicBezTo>
                    <a:pt x="548" y="174"/>
                    <a:pt x="548" y="174"/>
                    <a:pt x="548" y="174"/>
                  </a:cubicBezTo>
                  <a:cubicBezTo>
                    <a:pt x="548" y="173"/>
                    <a:pt x="547" y="173"/>
                    <a:pt x="547" y="173"/>
                  </a:cubicBezTo>
                  <a:cubicBezTo>
                    <a:pt x="546" y="171"/>
                    <a:pt x="546" y="171"/>
                    <a:pt x="546" y="171"/>
                  </a:cubicBezTo>
                  <a:cubicBezTo>
                    <a:pt x="545" y="170"/>
                    <a:pt x="545" y="170"/>
                    <a:pt x="545" y="170"/>
                  </a:cubicBezTo>
                  <a:cubicBezTo>
                    <a:pt x="546" y="167"/>
                    <a:pt x="546" y="167"/>
                    <a:pt x="546" y="167"/>
                  </a:cubicBezTo>
                  <a:cubicBezTo>
                    <a:pt x="536" y="162"/>
                    <a:pt x="536" y="162"/>
                    <a:pt x="536" y="162"/>
                  </a:cubicBezTo>
                  <a:cubicBezTo>
                    <a:pt x="534" y="162"/>
                    <a:pt x="534" y="162"/>
                    <a:pt x="534" y="162"/>
                  </a:cubicBezTo>
                  <a:cubicBezTo>
                    <a:pt x="534" y="162"/>
                    <a:pt x="534" y="162"/>
                    <a:pt x="534" y="162"/>
                  </a:cubicBezTo>
                  <a:cubicBezTo>
                    <a:pt x="534" y="162"/>
                    <a:pt x="533" y="162"/>
                    <a:pt x="533" y="162"/>
                  </a:cubicBezTo>
                  <a:cubicBezTo>
                    <a:pt x="529" y="161"/>
                    <a:pt x="529" y="161"/>
                    <a:pt x="529" y="161"/>
                  </a:cubicBezTo>
                  <a:cubicBezTo>
                    <a:pt x="529" y="159"/>
                    <a:pt x="529" y="159"/>
                    <a:pt x="529" y="159"/>
                  </a:cubicBezTo>
                  <a:cubicBezTo>
                    <a:pt x="528" y="159"/>
                    <a:pt x="528" y="158"/>
                    <a:pt x="528" y="156"/>
                  </a:cubicBezTo>
                  <a:cubicBezTo>
                    <a:pt x="528" y="155"/>
                    <a:pt x="528" y="155"/>
                    <a:pt x="528" y="155"/>
                  </a:cubicBezTo>
                  <a:cubicBezTo>
                    <a:pt x="528" y="155"/>
                    <a:pt x="528" y="155"/>
                    <a:pt x="527" y="154"/>
                  </a:cubicBezTo>
                  <a:cubicBezTo>
                    <a:pt x="527" y="153"/>
                    <a:pt x="527" y="153"/>
                    <a:pt x="527" y="153"/>
                  </a:cubicBezTo>
                  <a:cubicBezTo>
                    <a:pt x="526" y="152"/>
                    <a:pt x="526" y="150"/>
                    <a:pt x="525" y="148"/>
                  </a:cubicBezTo>
                  <a:cubicBezTo>
                    <a:pt x="522" y="145"/>
                    <a:pt x="522" y="145"/>
                    <a:pt x="522" y="145"/>
                  </a:cubicBezTo>
                  <a:cubicBezTo>
                    <a:pt x="520" y="143"/>
                    <a:pt x="520" y="143"/>
                    <a:pt x="520" y="143"/>
                  </a:cubicBezTo>
                  <a:cubicBezTo>
                    <a:pt x="520" y="143"/>
                    <a:pt x="520" y="143"/>
                    <a:pt x="519" y="143"/>
                  </a:cubicBezTo>
                  <a:cubicBezTo>
                    <a:pt x="518" y="142"/>
                    <a:pt x="517" y="142"/>
                    <a:pt x="516" y="142"/>
                  </a:cubicBezTo>
                  <a:cubicBezTo>
                    <a:pt x="506" y="140"/>
                    <a:pt x="506" y="140"/>
                    <a:pt x="506" y="140"/>
                  </a:cubicBezTo>
                  <a:cubicBezTo>
                    <a:pt x="499" y="142"/>
                    <a:pt x="499" y="142"/>
                    <a:pt x="499" y="142"/>
                  </a:cubicBezTo>
                  <a:cubicBezTo>
                    <a:pt x="499" y="142"/>
                    <a:pt x="499" y="142"/>
                    <a:pt x="499" y="142"/>
                  </a:cubicBezTo>
                  <a:cubicBezTo>
                    <a:pt x="497" y="145"/>
                    <a:pt x="497" y="145"/>
                    <a:pt x="497" y="145"/>
                  </a:cubicBezTo>
                  <a:cubicBezTo>
                    <a:pt x="496" y="145"/>
                    <a:pt x="496" y="145"/>
                    <a:pt x="496" y="145"/>
                  </a:cubicBezTo>
                  <a:cubicBezTo>
                    <a:pt x="496" y="146"/>
                    <a:pt x="495" y="146"/>
                    <a:pt x="495" y="146"/>
                  </a:cubicBezTo>
                  <a:cubicBezTo>
                    <a:pt x="494" y="146"/>
                    <a:pt x="494" y="147"/>
                    <a:pt x="493" y="147"/>
                  </a:cubicBezTo>
                  <a:cubicBezTo>
                    <a:pt x="493" y="147"/>
                    <a:pt x="493" y="147"/>
                    <a:pt x="493" y="147"/>
                  </a:cubicBezTo>
                  <a:cubicBezTo>
                    <a:pt x="491" y="148"/>
                    <a:pt x="491" y="148"/>
                    <a:pt x="491" y="148"/>
                  </a:cubicBezTo>
                  <a:cubicBezTo>
                    <a:pt x="490" y="148"/>
                    <a:pt x="490" y="148"/>
                    <a:pt x="490" y="148"/>
                  </a:cubicBezTo>
                  <a:cubicBezTo>
                    <a:pt x="487" y="148"/>
                    <a:pt x="487" y="148"/>
                    <a:pt x="487" y="148"/>
                  </a:cubicBezTo>
                  <a:cubicBezTo>
                    <a:pt x="476" y="147"/>
                    <a:pt x="476" y="147"/>
                    <a:pt x="476" y="147"/>
                  </a:cubicBezTo>
                  <a:cubicBezTo>
                    <a:pt x="476" y="147"/>
                    <a:pt x="476" y="147"/>
                    <a:pt x="476" y="147"/>
                  </a:cubicBezTo>
                  <a:cubicBezTo>
                    <a:pt x="475" y="147"/>
                    <a:pt x="474" y="147"/>
                    <a:pt x="473" y="147"/>
                  </a:cubicBezTo>
                  <a:cubicBezTo>
                    <a:pt x="472" y="147"/>
                    <a:pt x="472" y="147"/>
                    <a:pt x="471" y="147"/>
                  </a:cubicBezTo>
                  <a:cubicBezTo>
                    <a:pt x="471" y="147"/>
                    <a:pt x="471" y="147"/>
                    <a:pt x="471" y="147"/>
                  </a:cubicBezTo>
                  <a:cubicBezTo>
                    <a:pt x="470" y="148"/>
                    <a:pt x="470" y="148"/>
                    <a:pt x="469" y="148"/>
                  </a:cubicBezTo>
                  <a:cubicBezTo>
                    <a:pt x="469" y="148"/>
                    <a:pt x="468" y="148"/>
                    <a:pt x="468" y="148"/>
                  </a:cubicBezTo>
                  <a:cubicBezTo>
                    <a:pt x="465" y="147"/>
                    <a:pt x="465" y="147"/>
                    <a:pt x="465" y="147"/>
                  </a:cubicBezTo>
                  <a:cubicBezTo>
                    <a:pt x="464" y="147"/>
                    <a:pt x="464" y="147"/>
                    <a:pt x="464" y="147"/>
                  </a:cubicBezTo>
                  <a:cubicBezTo>
                    <a:pt x="463" y="146"/>
                    <a:pt x="463" y="146"/>
                    <a:pt x="463" y="146"/>
                  </a:cubicBezTo>
                  <a:cubicBezTo>
                    <a:pt x="462" y="146"/>
                    <a:pt x="461" y="144"/>
                    <a:pt x="460" y="143"/>
                  </a:cubicBezTo>
                  <a:cubicBezTo>
                    <a:pt x="459" y="142"/>
                    <a:pt x="458" y="142"/>
                    <a:pt x="458" y="141"/>
                  </a:cubicBezTo>
                  <a:cubicBezTo>
                    <a:pt x="455" y="141"/>
                    <a:pt x="455" y="141"/>
                    <a:pt x="455" y="141"/>
                  </a:cubicBezTo>
                  <a:cubicBezTo>
                    <a:pt x="454" y="138"/>
                    <a:pt x="454" y="138"/>
                    <a:pt x="454" y="138"/>
                  </a:cubicBezTo>
                  <a:cubicBezTo>
                    <a:pt x="454" y="137"/>
                    <a:pt x="454" y="137"/>
                    <a:pt x="454" y="137"/>
                  </a:cubicBezTo>
                  <a:cubicBezTo>
                    <a:pt x="454" y="137"/>
                    <a:pt x="454" y="136"/>
                    <a:pt x="454" y="136"/>
                  </a:cubicBezTo>
                  <a:cubicBezTo>
                    <a:pt x="454" y="134"/>
                    <a:pt x="455" y="133"/>
                    <a:pt x="455" y="132"/>
                  </a:cubicBezTo>
                  <a:cubicBezTo>
                    <a:pt x="449" y="130"/>
                    <a:pt x="449" y="130"/>
                    <a:pt x="449" y="130"/>
                  </a:cubicBezTo>
                  <a:cubicBezTo>
                    <a:pt x="448" y="132"/>
                    <a:pt x="448" y="132"/>
                    <a:pt x="448" y="132"/>
                  </a:cubicBezTo>
                  <a:cubicBezTo>
                    <a:pt x="447" y="133"/>
                    <a:pt x="447" y="133"/>
                    <a:pt x="447" y="133"/>
                  </a:cubicBezTo>
                  <a:cubicBezTo>
                    <a:pt x="446" y="133"/>
                    <a:pt x="446" y="133"/>
                    <a:pt x="446" y="133"/>
                  </a:cubicBezTo>
                  <a:cubicBezTo>
                    <a:pt x="446" y="133"/>
                    <a:pt x="445" y="133"/>
                    <a:pt x="445" y="133"/>
                  </a:cubicBezTo>
                  <a:cubicBezTo>
                    <a:pt x="445" y="133"/>
                    <a:pt x="445" y="133"/>
                    <a:pt x="445" y="133"/>
                  </a:cubicBezTo>
                  <a:cubicBezTo>
                    <a:pt x="446" y="134"/>
                    <a:pt x="446" y="135"/>
                    <a:pt x="446" y="136"/>
                  </a:cubicBezTo>
                  <a:cubicBezTo>
                    <a:pt x="445" y="138"/>
                    <a:pt x="445" y="138"/>
                    <a:pt x="445" y="138"/>
                  </a:cubicBezTo>
                  <a:cubicBezTo>
                    <a:pt x="445" y="138"/>
                    <a:pt x="445" y="138"/>
                    <a:pt x="445" y="138"/>
                  </a:cubicBezTo>
                  <a:cubicBezTo>
                    <a:pt x="452" y="143"/>
                    <a:pt x="452" y="143"/>
                    <a:pt x="452" y="143"/>
                  </a:cubicBezTo>
                  <a:cubicBezTo>
                    <a:pt x="444" y="140"/>
                    <a:pt x="444" y="140"/>
                    <a:pt x="444" y="140"/>
                  </a:cubicBezTo>
                  <a:cubicBezTo>
                    <a:pt x="443" y="140"/>
                    <a:pt x="443" y="140"/>
                    <a:pt x="443" y="140"/>
                  </a:cubicBezTo>
                  <a:cubicBezTo>
                    <a:pt x="441" y="142"/>
                    <a:pt x="441" y="142"/>
                    <a:pt x="441" y="142"/>
                  </a:cubicBezTo>
                  <a:cubicBezTo>
                    <a:pt x="440" y="142"/>
                    <a:pt x="440" y="142"/>
                    <a:pt x="440" y="142"/>
                  </a:cubicBezTo>
                  <a:cubicBezTo>
                    <a:pt x="439" y="142"/>
                    <a:pt x="439" y="142"/>
                    <a:pt x="439" y="142"/>
                  </a:cubicBezTo>
                  <a:cubicBezTo>
                    <a:pt x="439" y="142"/>
                    <a:pt x="439" y="142"/>
                    <a:pt x="439" y="142"/>
                  </a:cubicBezTo>
                  <a:cubicBezTo>
                    <a:pt x="438" y="142"/>
                    <a:pt x="438" y="142"/>
                    <a:pt x="438" y="142"/>
                  </a:cubicBezTo>
                  <a:cubicBezTo>
                    <a:pt x="438" y="143"/>
                    <a:pt x="438" y="144"/>
                    <a:pt x="437" y="144"/>
                  </a:cubicBezTo>
                  <a:cubicBezTo>
                    <a:pt x="437" y="146"/>
                    <a:pt x="437" y="146"/>
                    <a:pt x="437" y="146"/>
                  </a:cubicBezTo>
                  <a:cubicBezTo>
                    <a:pt x="434" y="147"/>
                    <a:pt x="434" y="147"/>
                    <a:pt x="434" y="147"/>
                  </a:cubicBezTo>
                  <a:cubicBezTo>
                    <a:pt x="432" y="147"/>
                    <a:pt x="432" y="147"/>
                    <a:pt x="432" y="147"/>
                  </a:cubicBezTo>
                  <a:cubicBezTo>
                    <a:pt x="431" y="146"/>
                    <a:pt x="431" y="146"/>
                    <a:pt x="431" y="146"/>
                  </a:cubicBezTo>
                  <a:cubicBezTo>
                    <a:pt x="430" y="144"/>
                    <a:pt x="430" y="144"/>
                    <a:pt x="430" y="144"/>
                  </a:cubicBezTo>
                  <a:cubicBezTo>
                    <a:pt x="426" y="140"/>
                    <a:pt x="426" y="140"/>
                    <a:pt x="426" y="140"/>
                  </a:cubicBezTo>
                  <a:cubicBezTo>
                    <a:pt x="427" y="140"/>
                    <a:pt x="427" y="140"/>
                    <a:pt x="427" y="140"/>
                  </a:cubicBezTo>
                  <a:cubicBezTo>
                    <a:pt x="423" y="133"/>
                    <a:pt x="418" y="125"/>
                    <a:pt x="413" y="118"/>
                  </a:cubicBezTo>
                  <a:cubicBezTo>
                    <a:pt x="411" y="114"/>
                    <a:pt x="411" y="114"/>
                    <a:pt x="411" y="114"/>
                  </a:cubicBezTo>
                  <a:cubicBezTo>
                    <a:pt x="406" y="106"/>
                    <a:pt x="401" y="97"/>
                    <a:pt x="395" y="89"/>
                  </a:cubicBezTo>
                  <a:cubicBezTo>
                    <a:pt x="390" y="81"/>
                    <a:pt x="390" y="81"/>
                    <a:pt x="390" y="81"/>
                  </a:cubicBezTo>
                  <a:cubicBezTo>
                    <a:pt x="381" y="69"/>
                    <a:pt x="381" y="69"/>
                    <a:pt x="381" y="69"/>
                  </a:cubicBezTo>
                  <a:cubicBezTo>
                    <a:pt x="378" y="65"/>
                    <a:pt x="375" y="63"/>
                    <a:pt x="372" y="61"/>
                  </a:cubicBezTo>
                  <a:cubicBezTo>
                    <a:pt x="359" y="51"/>
                    <a:pt x="359" y="51"/>
                    <a:pt x="359" y="51"/>
                  </a:cubicBezTo>
                  <a:cubicBezTo>
                    <a:pt x="354" y="47"/>
                    <a:pt x="354" y="47"/>
                    <a:pt x="354" y="47"/>
                  </a:cubicBezTo>
                  <a:cubicBezTo>
                    <a:pt x="352" y="45"/>
                    <a:pt x="351" y="44"/>
                    <a:pt x="349" y="42"/>
                  </a:cubicBezTo>
                  <a:cubicBezTo>
                    <a:pt x="343" y="36"/>
                    <a:pt x="343" y="36"/>
                    <a:pt x="343" y="36"/>
                  </a:cubicBezTo>
                  <a:cubicBezTo>
                    <a:pt x="333" y="40"/>
                    <a:pt x="333" y="40"/>
                    <a:pt x="333" y="40"/>
                  </a:cubicBezTo>
                  <a:cubicBezTo>
                    <a:pt x="330" y="41"/>
                    <a:pt x="327" y="43"/>
                    <a:pt x="324" y="44"/>
                  </a:cubicBezTo>
                  <a:cubicBezTo>
                    <a:pt x="323" y="45"/>
                    <a:pt x="323" y="45"/>
                    <a:pt x="323" y="45"/>
                  </a:cubicBezTo>
                  <a:cubicBezTo>
                    <a:pt x="320" y="46"/>
                    <a:pt x="317" y="48"/>
                    <a:pt x="314" y="49"/>
                  </a:cubicBezTo>
                  <a:cubicBezTo>
                    <a:pt x="304" y="53"/>
                    <a:pt x="304" y="53"/>
                    <a:pt x="304" y="53"/>
                  </a:cubicBezTo>
                  <a:cubicBezTo>
                    <a:pt x="304" y="54"/>
                    <a:pt x="304" y="54"/>
                    <a:pt x="304" y="54"/>
                  </a:cubicBezTo>
                  <a:cubicBezTo>
                    <a:pt x="303" y="55"/>
                    <a:pt x="303" y="55"/>
                    <a:pt x="303" y="56"/>
                  </a:cubicBezTo>
                  <a:cubicBezTo>
                    <a:pt x="303" y="59"/>
                    <a:pt x="303" y="59"/>
                    <a:pt x="303" y="59"/>
                  </a:cubicBezTo>
                  <a:cubicBezTo>
                    <a:pt x="299" y="62"/>
                    <a:pt x="299" y="62"/>
                    <a:pt x="299" y="62"/>
                  </a:cubicBezTo>
                  <a:cubicBezTo>
                    <a:pt x="295" y="59"/>
                    <a:pt x="295" y="59"/>
                    <a:pt x="295" y="59"/>
                  </a:cubicBezTo>
                  <a:cubicBezTo>
                    <a:pt x="295" y="59"/>
                    <a:pt x="295" y="59"/>
                    <a:pt x="294" y="58"/>
                  </a:cubicBezTo>
                  <a:cubicBezTo>
                    <a:pt x="292" y="58"/>
                    <a:pt x="292" y="58"/>
                    <a:pt x="292" y="58"/>
                  </a:cubicBezTo>
                  <a:cubicBezTo>
                    <a:pt x="286" y="58"/>
                    <a:pt x="286" y="58"/>
                    <a:pt x="286" y="58"/>
                  </a:cubicBezTo>
                  <a:cubicBezTo>
                    <a:pt x="286" y="58"/>
                    <a:pt x="286" y="58"/>
                    <a:pt x="286" y="58"/>
                  </a:cubicBezTo>
                  <a:cubicBezTo>
                    <a:pt x="285" y="58"/>
                    <a:pt x="284" y="58"/>
                    <a:pt x="283" y="59"/>
                  </a:cubicBezTo>
                  <a:cubicBezTo>
                    <a:pt x="276" y="64"/>
                    <a:pt x="276" y="64"/>
                    <a:pt x="276" y="64"/>
                  </a:cubicBezTo>
                  <a:cubicBezTo>
                    <a:pt x="269" y="52"/>
                    <a:pt x="269" y="52"/>
                    <a:pt x="269" y="52"/>
                  </a:cubicBezTo>
                  <a:cubicBezTo>
                    <a:pt x="271" y="49"/>
                    <a:pt x="271" y="49"/>
                    <a:pt x="271" y="49"/>
                  </a:cubicBezTo>
                  <a:cubicBezTo>
                    <a:pt x="272" y="48"/>
                    <a:pt x="273" y="46"/>
                    <a:pt x="274" y="45"/>
                  </a:cubicBezTo>
                  <a:cubicBezTo>
                    <a:pt x="275" y="44"/>
                    <a:pt x="275" y="44"/>
                    <a:pt x="275" y="44"/>
                  </a:cubicBezTo>
                  <a:cubicBezTo>
                    <a:pt x="269" y="45"/>
                    <a:pt x="269" y="45"/>
                    <a:pt x="269" y="45"/>
                  </a:cubicBezTo>
                  <a:cubicBezTo>
                    <a:pt x="268" y="45"/>
                    <a:pt x="268" y="45"/>
                    <a:pt x="268" y="45"/>
                  </a:cubicBezTo>
                  <a:cubicBezTo>
                    <a:pt x="266" y="44"/>
                    <a:pt x="263" y="43"/>
                    <a:pt x="261" y="42"/>
                  </a:cubicBezTo>
                  <a:cubicBezTo>
                    <a:pt x="261" y="42"/>
                    <a:pt x="261" y="42"/>
                    <a:pt x="261" y="42"/>
                  </a:cubicBezTo>
                  <a:cubicBezTo>
                    <a:pt x="261" y="42"/>
                    <a:pt x="261" y="42"/>
                    <a:pt x="261" y="42"/>
                  </a:cubicBezTo>
                  <a:cubicBezTo>
                    <a:pt x="258" y="44"/>
                    <a:pt x="258" y="44"/>
                    <a:pt x="258" y="44"/>
                  </a:cubicBezTo>
                  <a:cubicBezTo>
                    <a:pt x="258" y="44"/>
                    <a:pt x="257" y="45"/>
                    <a:pt x="256" y="45"/>
                  </a:cubicBezTo>
                  <a:cubicBezTo>
                    <a:pt x="253" y="46"/>
                    <a:pt x="253" y="46"/>
                    <a:pt x="253" y="46"/>
                  </a:cubicBezTo>
                  <a:cubicBezTo>
                    <a:pt x="247" y="48"/>
                    <a:pt x="247" y="48"/>
                    <a:pt x="247" y="48"/>
                  </a:cubicBezTo>
                  <a:cubicBezTo>
                    <a:pt x="250" y="42"/>
                    <a:pt x="250" y="42"/>
                    <a:pt x="250" y="42"/>
                  </a:cubicBezTo>
                  <a:cubicBezTo>
                    <a:pt x="250" y="42"/>
                    <a:pt x="250" y="42"/>
                    <a:pt x="250" y="41"/>
                  </a:cubicBezTo>
                  <a:cubicBezTo>
                    <a:pt x="250" y="41"/>
                    <a:pt x="250" y="41"/>
                    <a:pt x="250" y="41"/>
                  </a:cubicBezTo>
                  <a:cubicBezTo>
                    <a:pt x="249" y="40"/>
                    <a:pt x="249" y="40"/>
                    <a:pt x="249" y="40"/>
                  </a:cubicBezTo>
                  <a:cubicBezTo>
                    <a:pt x="249" y="39"/>
                    <a:pt x="249" y="39"/>
                    <a:pt x="249" y="38"/>
                  </a:cubicBezTo>
                  <a:cubicBezTo>
                    <a:pt x="247" y="41"/>
                    <a:pt x="247" y="41"/>
                    <a:pt x="247" y="41"/>
                  </a:cubicBezTo>
                  <a:cubicBezTo>
                    <a:pt x="244" y="39"/>
                    <a:pt x="244" y="39"/>
                    <a:pt x="244" y="39"/>
                  </a:cubicBezTo>
                  <a:cubicBezTo>
                    <a:pt x="243" y="38"/>
                    <a:pt x="242" y="38"/>
                    <a:pt x="242" y="38"/>
                  </a:cubicBezTo>
                  <a:cubicBezTo>
                    <a:pt x="242" y="38"/>
                    <a:pt x="242" y="38"/>
                    <a:pt x="242" y="38"/>
                  </a:cubicBezTo>
                  <a:cubicBezTo>
                    <a:pt x="237" y="40"/>
                    <a:pt x="237" y="40"/>
                    <a:pt x="237" y="40"/>
                  </a:cubicBezTo>
                  <a:cubicBezTo>
                    <a:pt x="233" y="40"/>
                    <a:pt x="233" y="40"/>
                    <a:pt x="233" y="40"/>
                  </a:cubicBezTo>
                  <a:cubicBezTo>
                    <a:pt x="232" y="41"/>
                    <a:pt x="230" y="41"/>
                    <a:pt x="229" y="41"/>
                  </a:cubicBezTo>
                  <a:cubicBezTo>
                    <a:pt x="228" y="41"/>
                    <a:pt x="228" y="41"/>
                    <a:pt x="227" y="41"/>
                  </a:cubicBezTo>
                  <a:cubicBezTo>
                    <a:pt x="227" y="41"/>
                    <a:pt x="227" y="41"/>
                    <a:pt x="227" y="41"/>
                  </a:cubicBezTo>
                  <a:cubicBezTo>
                    <a:pt x="224" y="40"/>
                    <a:pt x="224" y="40"/>
                    <a:pt x="224" y="40"/>
                  </a:cubicBezTo>
                  <a:cubicBezTo>
                    <a:pt x="221" y="40"/>
                    <a:pt x="221" y="40"/>
                    <a:pt x="221" y="40"/>
                  </a:cubicBezTo>
                  <a:cubicBezTo>
                    <a:pt x="221" y="38"/>
                    <a:pt x="221" y="38"/>
                    <a:pt x="221" y="38"/>
                  </a:cubicBezTo>
                  <a:cubicBezTo>
                    <a:pt x="220" y="38"/>
                    <a:pt x="220" y="38"/>
                    <a:pt x="220" y="38"/>
                  </a:cubicBezTo>
                  <a:cubicBezTo>
                    <a:pt x="219" y="37"/>
                    <a:pt x="219" y="37"/>
                    <a:pt x="219" y="37"/>
                  </a:cubicBezTo>
                  <a:cubicBezTo>
                    <a:pt x="219" y="36"/>
                    <a:pt x="219" y="36"/>
                    <a:pt x="219" y="36"/>
                  </a:cubicBezTo>
                  <a:cubicBezTo>
                    <a:pt x="218" y="35"/>
                    <a:pt x="218" y="35"/>
                    <a:pt x="217" y="34"/>
                  </a:cubicBezTo>
                  <a:cubicBezTo>
                    <a:pt x="217" y="34"/>
                    <a:pt x="217" y="33"/>
                    <a:pt x="217" y="32"/>
                  </a:cubicBezTo>
                  <a:cubicBezTo>
                    <a:pt x="217" y="32"/>
                    <a:pt x="217" y="32"/>
                    <a:pt x="217" y="32"/>
                  </a:cubicBezTo>
                  <a:cubicBezTo>
                    <a:pt x="217" y="29"/>
                    <a:pt x="217" y="29"/>
                    <a:pt x="217" y="29"/>
                  </a:cubicBezTo>
                  <a:cubicBezTo>
                    <a:pt x="218" y="28"/>
                    <a:pt x="218" y="28"/>
                    <a:pt x="218" y="28"/>
                  </a:cubicBezTo>
                  <a:cubicBezTo>
                    <a:pt x="220" y="28"/>
                    <a:pt x="220" y="28"/>
                    <a:pt x="220" y="28"/>
                  </a:cubicBezTo>
                  <a:cubicBezTo>
                    <a:pt x="220" y="28"/>
                    <a:pt x="220" y="28"/>
                    <a:pt x="220" y="28"/>
                  </a:cubicBezTo>
                  <a:cubicBezTo>
                    <a:pt x="221" y="28"/>
                    <a:pt x="221" y="28"/>
                    <a:pt x="221" y="28"/>
                  </a:cubicBezTo>
                  <a:cubicBezTo>
                    <a:pt x="221" y="26"/>
                    <a:pt x="221" y="26"/>
                    <a:pt x="221" y="26"/>
                  </a:cubicBezTo>
                  <a:cubicBezTo>
                    <a:pt x="220" y="22"/>
                    <a:pt x="220" y="22"/>
                    <a:pt x="220" y="22"/>
                  </a:cubicBezTo>
                  <a:cubicBezTo>
                    <a:pt x="222" y="19"/>
                    <a:pt x="222" y="19"/>
                    <a:pt x="222" y="19"/>
                  </a:cubicBezTo>
                  <a:cubicBezTo>
                    <a:pt x="221" y="17"/>
                    <a:pt x="221" y="17"/>
                    <a:pt x="221" y="17"/>
                  </a:cubicBezTo>
                  <a:cubicBezTo>
                    <a:pt x="218" y="11"/>
                    <a:pt x="218" y="11"/>
                    <a:pt x="218" y="11"/>
                  </a:cubicBezTo>
                  <a:cubicBezTo>
                    <a:pt x="217" y="8"/>
                    <a:pt x="215" y="5"/>
                    <a:pt x="213" y="2"/>
                  </a:cubicBezTo>
                  <a:cubicBezTo>
                    <a:pt x="213" y="2"/>
                    <a:pt x="213" y="2"/>
                    <a:pt x="213" y="2"/>
                  </a:cubicBezTo>
                  <a:cubicBezTo>
                    <a:pt x="210" y="2"/>
                    <a:pt x="210" y="2"/>
                    <a:pt x="210" y="2"/>
                  </a:cubicBezTo>
                  <a:cubicBezTo>
                    <a:pt x="208" y="3"/>
                    <a:pt x="205" y="5"/>
                    <a:pt x="205" y="5"/>
                  </a:cubicBezTo>
                  <a:cubicBezTo>
                    <a:pt x="203" y="6"/>
                    <a:pt x="203" y="6"/>
                    <a:pt x="203" y="6"/>
                  </a:cubicBezTo>
                  <a:cubicBezTo>
                    <a:pt x="201" y="7"/>
                    <a:pt x="201" y="7"/>
                    <a:pt x="201" y="7"/>
                  </a:cubicBezTo>
                  <a:cubicBezTo>
                    <a:pt x="199" y="7"/>
                    <a:pt x="199" y="7"/>
                    <a:pt x="199" y="7"/>
                  </a:cubicBezTo>
                  <a:cubicBezTo>
                    <a:pt x="197" y="6"/>
                    <a:pt x="195" y="5"/>
                    <a:pt x="194" y="5"/>
                  </a:cubicBezTo>
                  <a:cubicBezTo>
                    <a:pt x="194" y="5"/>
                    <a:pt x="194" y="5"/>
                    <a:pt x="194" y="5"/>
                  </a:cubicBezTo>
                  <a:cubicBezTo>
                    <a:pt x="192" y="4"/>
                    <a:pt x="190" y="3"/>
                    <a:pt x="189" y="2"/>
                  </a:cubicBezTo>
                  <a:cubicBezTo>
                    <a:pt x="188" y="1"/>
                    <a:pt x="188" y="1"/>
                    <a:pt x="188" y="1"/>
                  </a:cubicBezTo>
                  <a:cubicBezTo>
                    <a:pt x="187" y="0"/>
                    <a:pt x="187" y="0"/>
                    <a:pt x="187" y="0"/>
                  </a:cubicBezTo>
                  <a:cubicBezTo>
                    <a:pt x="180" y="0"/>
                    <a:pt x="180" y="0"/>
                    <a:pt x="1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0" name="Freeform 1519">
              <a:extLst>
                <a:ext uri="{FF2B5EF4-FFF2-40B4-BE49-F238E27FC236}">
                  <a16:creationId xmlns:a16="http://schemas.microsoft.com/office/drawing/2014/main" id="{19337CC7-DB81-47EE-9D71-A5CA49D43545}"/>
                </a:ext>
              </a:extLst>
            </p:cNvPr>
            <p:cNvSpPr>
              <a:spLocks/>
            </p:cNvSpPr>
            <p:nvPr/>
          </p:nvSpPr>
          <p:spPr bwMode="auto">
            <a:xfrm>
              <a:off x="1110112" y="400017"/>
              <a:ext cx="9396" cy="6712"/>
            </a:xfrm>
            <a:custGeom>
              <a:avLst/>
              <a:gdLst>
                <a:gd name="T0" fmla="*/ 3 w 3"/>
                <a:gd name="T1" fmla="*/ 0 h 2"/>
                <a:gd name="T2" fmla="*/ 0 w 3"/>
                <a:gd name="T3" fmla="*/ 1 h 2"/>
                <a:gd name="T4" fmla="*/ 2 w 3"/>
                <a:gd name="T5" fmla="*/ 2 h 2"/>
                <a:gd name="T6" fmla="*/ 3 w 3"/>
                <a:gd name="T7" fmla="*/ 2 h 2"/>
                <a:gd name="T8" fmla="*/ 3 w 3"/>
                <a:gd name="T9" fmla="*/ 1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0"/>
                  </a:moveTo>
                  <a:cubicBezTo>
                    <a:pt x="0" y="1"/>
                    <a:pt x="0" y="1"/>
                    <a:pt x="0" y="1"/>
                  </a:cubicBezTo>
                  <a:cubicBezTo>
                    <a:pt x="1" y="1"/>
                    <a:pt x="2" y="2"/>
                    <a:pt x="2" y="2"/>
                  </a:cubicBezTo>
                  <a:cubicBezTo>
                    <a:pt x="3" y="2"/>
                    <a:pt x="3" y="2"/>
                    <a:pt x="3" y="2"/>
                  </a:cubicBezTo>
                  <a:cubicBezTo>
                    <a:pt x="3" y="1"/>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1" name="Rectangle 1520">
              <a:extLst>
                <a:ext uri="{FF2B5EF4-FFF2-40B4-BE49-F238E27FC236}">
                  <a16:creationId xmlns:a16="http://schemas.microsoft.com/office/drawing/2014/main" id="{AB44A4E8-9905-4785-A6D5-41E95B286BB4}"/>
                </a:ext>
              </a:extLst>
            </p:cNvPr>
            <p:cNvSpPr>
              <a:spLocks noChangeArrowheads="1"/>
            </p:cNvSpPr>
            <p:nvPr/>
          </p:nvSpPr>
          <p:spPr bwMode="auto">
            <a:xfrm>
              <a:off x="4051169" y="1044339"/>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2" name="Freeform 1521">
              <a:extLst>
                <a:ext uri="{FF2B5EF4-FFF2-40B4-BE49-F238E27FC236}">
                  <a16:creationId xmlns:a16="http://schemas.microsoft.com/office/drawing/2014/main" id="{243DB92C-4776-410C-94E0-D5734C14A86B}"/>
                </a:ext>
              </a:extLst>
            </p:cNvPr>
            <p:cNvSpPr>
              <a:spLocks/>
            </p:cNvSpPr>
            <p:nvPr/>
          </p:nvSpPr>
          <p:spPr bwMode="auto">
            <a:xfrm>
              <a:off x="4051169" y="104433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3" name="Freeform 1522">
              <a:extLst>
                <a:ext uri="{FF2B5EF4-FFF2-40B4-BE49-F238E27FC236}">
                  <a16:creationId xmlns:a16="http://schemas.microsoft.com/office/drawing/2014/main" id="{8C00A23F-FA88-4FC5-B7B5-F6629DF1E35F}"/>
                </a:ext>
              </a:extLst>
            </p:cNvPr>
            <p:cNvSpPr>
              <a:spLocks/>
            </p:cNvSpPr>
            <p:nvPr/>
          </p:nvSpPr>
          <p:spPr bwMode="auto">
            <a:xfrm>
              <a:off x="1935648" y="920844"/>
              <a:ext cx="9396" cy="6712"/>
            </a:xfrm>
            <a:custGeom>
              <a:avLst/>
              <a:gdLst>
                <a:gd name="T0" fmla="*/ 3 w 3"/>
                <a:gd name="T1" fmla="*/ 0 h 2"/>
                <a:gd name="T2" fmla="*/ 0 w 3"/>
                <a:gd name="T3" fmla="*/ 1 h 2"/>
                <a:gd name="T4" fmla="*/ 0 w 3"/>
                <a:gd name="T5" fmla="*/ 1 h 2"/>
                <a:gd name="T6" fmla="*/ 2 w 3"/>
                <a:gd name="T7" fmla="*/ 2 h 2"/>
                <a:gd name="T8" fmla="*/ 3 w 3"/>
                <a:gd name="T9" fmla="*/ 1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1" y="0"/>
                    <a:pt x="0" y="1"/>
                  </a:cubicBezTo>
                  <a:cubicBezTo>
                    <a:pt x="0" y="1"/>
                    <a:pt x="0" y="1"/>
                    <a:pt x="0" y="1"/>
                  </a:cubicBezTo>
                  <a:cubicBezTo>
                    <a:pt x="2" y="2"/>
                    <a:pt x="2" y="2"/>
                    <a:pt x="2" y="2"/>
                  </a:cubicBezTo>
                  <a:cubicBezTo>
                    <a:pt x="2" y="2"/>
                    <a:pt x="3" y="1"/>
                    <a:pt x="3" y="1"/>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4" name="Freeform 1523">
              <a:extLst>
                <a:ext uri="{FF2B5EF4-FFF2-40B4-BE49-F238E27FC236}">
                  <a16:creationId xmlns:a16="http://schemas.microsoft.com/office/drawing/2014/main" id="{E29F1545-B33D-4165-AEDC-172802EC88FC}"/>
                </a:ext>
              </a:extLst>
            </p:cNvPr>
            <p:cNvSpPr>
              <a:spLocks noEditPoints="1"/>
            </p:cNvSpPr>
            <p:nvPr/>
          </p:nvSpPr>
          <p:spPr bwMode="auto">
            <a:xfrm>
              <a:off x="900707" y="485927"/>
              <a:ext cx="4546491" cy="2894078"/>
            </a:xfrm>
            <a:custGeom>
              <a:avLst/>
              <a:gdLst>
                <a:gd name="T0" fmla="*/ 138 w 1433"/>
                <a:gd name="T1" fmla="*/ 551 h 912"/>
                <a:gd name="T2" fmla="*/ 127 w 1433"/>
                <a:gd name="T3" fmla="*/ 510 h 912"/>
                <a:gd name="T4" fmla="*/ 1095 w 1433"/>
                <a:gd name="T5" fmla="*/ 24 h 912"/>
                <a:gd name="T6" fmla="*/ 1076 w 1433"/>
                <a:gd name="T7" fmla="*/ 102 h 912"/>
                <a:gd name="T8" fmla="*/ 993 w 1433"/>
                <a:gd name="T9" fmla="*/ 175 h 912"/>
                <a:gd name="T10" fmla="*/ 1089 w 1433"/>
                <a:gd name="T11" fmla="*/ 208 h 912"/>
                <a:gd name="T12" fmla="*/ 967 w 1433"/>
                <a:gd name="T13" fmla="*/ 248 h 912"/>
                <a:gd name="T14" fmla="*/ 890 w 1433"/>
                <a:gd name="T15" fmla="*/ 276 h 912"/>
                <a:gd name="T16" fmla="*/ 777 w 1433"/>
                <a:gd name="T17" fmla="*/ 339 h 912"/>
                <a:gd name="T18" fmla="*/ 709 w 1433"/>
                <a:gd name="T19" fmla="*/ 352 h 912"/>
                <a:gd name="T20" fmla="*/ 529 w 1433"/>
                <a:gd name="T21" fmla="*/ 326 h 912"/>
                <a:gd name="T22" fmla="*/ 466 w 1433"/>
                <a:gd name="T23" fmla="*/ 262 h 912"/>
                <a:gd name="T24" fmla="*/ 391 w 1433"/>
                <a:gd name="T25" fmla="*/ 187 h 912"/>
                <a:gd name="T26" fmla="*/ 319 w 1433"/>
                <a:gd name="T27" fmla="*/ 138 h 912"/>
                <a:gd name="T28" fmla="*/ 258 w 1433"/>
                <a:gd name="T29" fmla="*/ 203 h 912"/>
                <a:gd name="T30" fmla="*/ 164 w 1433"/>
                <a:gd name="T31" fmla="*/ 265 h 912"/>
                <a:gd name="T32" fmla="*/ 133 w 1433"/>
                <a:gd name="T33" fmla="*/ 353 h 912"/>
                <a:gd name="T34" fmla="*/ 62 w 1433"/>
                <a:gd name="T35" fmla="*/ 392 h 912"/>
                <a:gd name="T36" fmla="*/ 8 w 1433"/>
                <a:gd name="T37" fmla="*/ 405 h 912"/>
                <a:gd name="T38" fmla="*/ 14 w 1433"/>
                <a:gd name="T39" fmla="*/ 434 h 912"/>
                <a:gd name="T40" fmla="*/ 59 w 1433"/>
                <a:gd name="T41" fmla="*/ 510 h 912"/>
                <a:gd name="T42" fmla="*/ 104 w 1433"/>
                <a:gd name="T43" fmla="*/ 535 h 912"/>
                <a:gd name="T44" fmla="*/ 138 w 1433"/>
                <a:gd name="T45" fmla="*/ 592 h 912"/>
                <a:gd name="T46" fmla="*/ 140 w 1433"/>
                <a:gd name="T47" fmla="*/ 639 h 912"/>
                <a:gd name="T48" fmla="*/ 221 w 1433"/>
                <a:gd name="T49" fmla="*/ 673 h 912"/>
                <a:gd name="T50" fmla="*/ 263 w 1433"/>
                <a:gd name="T51" fmla="*/ 701 h 912"/>
                <a:gd name="T52" fmla="*/ 307 w 1433"/>
                <a:gd name="T53" fmla="*/ 713 h 912"/>
                <a:gd name="T54" fmla="*/ 383 w 1433"/>
                <a:gd name="T55" fmla="*/ 707 h 912"/>
                <a:gd name="T56" fmla="*/ 443 w 1433"/>
                <a:gd name="T57" fmla="*/ 717 h 912"/>
                <a:gd name="T58" fmla="*/ 498 w 1433"/>
                <a:gd name="T59" fmla="*/ 685 h 912"/>
                <a:gd name="T60" fmla="*/ 537 w 1433"/>
                <a:gd name="T61" fmla="*/ 704 h 912"/>
                <a:gd name="T62" fmla="*/ 591 w 1433"/>
                <a:gd name="T63" fmla="*/ 730 h 912"/>
                <a:gd name="T64" fmla="*/ 564 w 1433"/>
                <a:gd name="T65" fmla="*/ 802 h 912"/>
                <a:gd name="T66" fmla="*/ 602 w 1433"/>
                <a:gd name="T67" fmla="*/ 833 h 912"/>
                <a:gd name="T68" fmla="*/ 624 w 1433"/>
                <a:gd name="T69" fmla="*/ 879 h 912"/>
                <a:gd name="T70" fmla="*/ 656 w 1433"/>
                <a:gd name="T71" fmla="*/ 854 h 912"/>
                <a:gd name="T72" fmla="*/ 706 w 1433"/>
                <a:gd name="T73" fmla="*/ 847 h 912"/>
                <a:gd name="T74" fmla="*/ 775 w 1433"/>
                <a:gd name="T75" fmla="*/ 844 h 912"/>
                <a:gd name="T76" fmla="*/ 809 w 1433"/>
                <a:gd name="T77" fmla="*/ 878 h 912"/>
                <a:gd name="T78" fmla="*/ 844 w 1433"/>
                <a:gd name="T79" fmla="*/ 874 h 912"/>
                <a:gd name="T80" fmla="*/ 879 w 1433"/>
                <a:gd name="T81" fmla="*/ 881 h 912"/>
                <a:gd name="T82" fmla="*/ 930 w 1433"/>
                <a:gd name="T83" fmla="*/ 866 h 912"/>
                <a:gd name="T84" fmla="*/ 943 w 1433"/>
                <a:gd name="T85" fmla="*/ 854 h 912"/>
                <a:gd name="T86" fmla="*/ 995 w 1433"/>
                <a:gd name="T87" fmla="*/ 845 h 912"/>
                <a:gd name="T88" fmla="*/ 1039 w 1433"/>
                <a:gd name="T89" fmla="*/ 807 h 912"/>
                <a:gd name="T90" fmla="*/ 1082 w 1433"/>
                <a:gd name="T91" fmla="*/ 769 h 912"/>
                <a:gd name="T92" fmla="*/ 1103 w 1433"/>
                <a:gd name="T93" fmla="*/ 733 h 912"/>
                <a:gd name="T94" fmla="*/ 1134 w 1433"/>
                <a:gd name="T95" fmla="*/ 676 h 912"/>
                <a:gd name="T96" fmla="*/ 1105 w 1433"/>
                <a:gd name="T97" fmla="*/ 616 h 912"/>
                <a:gd name="T98" fmla="*/ 1070 w 1433"/>
                <a:gd name="T99" fmla="*/ 543 h 912"/>
                <a:gd name="T100" fmla="*/ 1148 w 1433"/>
                <a:gd name="T101" fmla="*/ 481 h 912"/>
                <a:gd name="T102" fmla="*/ 1057 w 1433"/>
                <a:gd name="T103" fmla="*/ 453 h 912"/>
                <a:gd name="T104" fmla="*/ 1133 w 1433"/>
                <a:gd name="T105" fmla="*/ 398 h 912"/>
                <a:gd name="T106" fmla="*/ 1196 w 1433"/>
                <a:gd name="T107" fmla="*/ 391 h 912"/>
                <a:gd name="T108" fmla="*/ 1281 w 1433"/>
                <a:gd name="T109" fmla="*/ 356 h 912"/>
                <a:gd name="T110" fmla="*/ 1350 w 1433"/>
                <a:gd name="T111" fmla="*/ 287 h 912"/>
                <a:gd name="T112" fmla="*/ 1402 w 1433"/>
                <a:gd name="T113" fmla="*/ 238 h 912"/>
                <a:gd name="T114" fmla="*/ 1427 w 1433"/>
                <a:gd name="T115" fmla="*/ 182 h 912"/>
                <a:gd name="T116" fmla="*/ 1343 w 1433"/>
                <a:gd name="T117" fmla="*/ 175 h 912"/>
                <a:gd name="T118" fmla="*/ 1295 w 1433"/>
                <a:gd name="T119" fmla="*/ 126 h 912"/>
                <a:gd name="T120" fmla="*/ 1238 w 1433"/>
                <a:gd name="T121" fmla="*/ 42 h 912"/>
                <a:gd name="T122" fmla="*/ 1172 w 1433"/>
                <a:gd name="T123" fmla="*/ 0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3" h="912">
                  <a:moveTo>
                    <a:pt x="128" y="562"/>
                  </a:moveTo>
                  <a:cubicBezTo>
                    <a:pt x="128" y="562"/>
                    <a:pt x="128" y="562"/>
                    <a:pt x="128" y="562"/>
                  </a:cubicBezTo>
                  <a:cubicBezTo>
                    <a:pt x="128" y="562"/>
                    <a:pt x="128" y="562"/>
                    <a:pt x="128" y="562"/>
                  </a:cubicBezTo>
                  <a:moveTo>
                    <a:pt x="122" y="564"/>
                  </a:moveTo>
                  <a:cubicBezTo>
                    <a:pt x="122" y="564"/>
                    <a:pt x="122" y="563"/>
                    <a:pt x="122" y="563"/>
                  </a:cubicBezTo>
                  <a:cubicBezTo>
                    <a:pt x="122" y="563"/>
                    <a:pt x="122" y="563"/>
                    <a:pt x="122" y="563"/>
                  </a:cubicBezTo>
                  <a:cubicBezTo>
                    <a:pt x="126" y="562"/>
                    <a:pt x="126" y="562"/>
                    <a:pt x="126" y="562"/>
                  </a:cubicBezTo>
                  <a:cubicBezTo>
                    <a:pt x="127" y="562"/>
                    <a:pt x="127" y="562"/>
                    <a:pt x="127" y="562"/>
                  </a:cubicBezTo>
                  <a:cubicBezTo>
                    <a:pt x="122" y="564"/>
                    <a:pt x="122" y="564"/>
                    <a:pt x="122" y="564"/>
                  </a:cubicBezTo>
                  <a:cubicBezTo>
                    <a:pt x="122" y="564"/>
                    <a:pt x="122" y="564"/>
                    <a:pt x="122" y="564"/>
                  </a:cubicBezTo>
                  <a:moveTo>
                    <a:pt x="122" y="562"/>
                  </a:moveTo>
                  <a:cubicBezTo>
                    <a:pt x="123" y="562"/>
                    <a:pt x="123" y="562"/>
                    <a:pt x="123" y="562"/>
                  </a:cubicBezTo>
                  <a:cubicBezTo>
                    <a:pt x="123" y="562"/>
                    <a:pt x="124" y="562"/>
                    <a:pt x="124" y="561"/>
                  </a:cubicBezTo>
                  <a:cubicBezTo>
                    <a:pt x="124" y="561"/>
                    <a:pt x="124" y="561"/>
                    <a:pt x="125" y="561"/>
                  </a:cubicBezTo>
                  <a:cubicBezTo>
                    <a:pt x="125" y="561"/>
                    <a:pt x="125" y="561"/>
                    <a:pt x="125" y="561"/>
                  </a:cubicBezTo>
                  <a:cubicBezTo>
                    <a:pt x="124" y="561"/>
                    <a:pt x="124" y="561"/>
                    <a:pt x="124" y="561"/>
                  </a:cubicBezTo>
                  <a:cubicBezTo>
                    <a:pt x="124" y="562"/>
                    <a:pt x="123" y="562"/>
                    <a:pt x="123" y="562"/>
                  </a:cubicBezTo>
                  <a:cubicBezTo>
                    <a:pt x="122" y="562"/>
                    <a:pt x="122" y="562"/>
                    <a:pt x="122" y="562"/>
                  </a:cubicBezTo>
                  <a:moveTo>
                    <a:pt x="136" y="558"/>
                  </a:moveTo>
                  <a:cubicBezTo>
                    <a:pt x="137" y="557"/>
                    <a:pt x="137" y="557"/>
                    <a:pt x="137" y="556"/>
                  </a:cubicBezTo>
                  <a:cubicBezTo>
                    <a:pt x="137" y="557"/>
                    <a:pt x="137" y="557"/>
                    <a:pt x="136" y="558"/>
                  </a:cubicBezTo>
                  <a:moveTo>
                    <a:pt x="140" y="551"/>
                  </a:moveTo>
                  <a:cubicBezTo>
                    <a:pt x="140" y="551"/>
                    <a:pt x="140" y="551"/>
                    <a:pt x="140" y="551"/>
                  </a:cubicBezTo>
                  <a:cubicBezTo>
                    <a:pt x="140" y="551"/>
                    <a:pt x="140" y="551"/>
                    <a:pt x="140" y="551"/>
                  </a:cubicBezTo>
                  <a:cubicBezTo>
                    <a:pt x="140" y="551"/>
                    <a:pt x="140" y="551"/>
                    <a:pt x="140" y="551"/>
                  </a:cubicBezTo>
                  <a:moveTo>
                    <a:pt x="140" y="551"/>
                  </a:moveTo>
                  <a:cubicBezTo>
                    <a:pt x="140" y="551"/>
                    <a:pt x="140" y="551"/>
                    <a:pt x="140" y="551"/>
                  </a:cubicBezTo>
                  <a:cubicBezTo>
                    <a:pt x="140" y="551"/>
                    <a:pt x="140" y="551"/>
                    <a:pt x="140" y="551"/>
                  </a:cubicBezTo>
                  <a:moveTo>
                    <a:pt x="137" y="551"/>
                  </a:moveTo>
                  <a:cubicBezTo>
                    <a:pt x="137" y="551"/>
                    <a:pt x="137" y="551"/>
                    <a:pt x="138" y="551"/>
                  </a:cubicBezTo>
                  <a:cubicBezTo>
                    <a:pt x="138" y="551"/>
                    <a:pt x="138" y="551"/>
                    <a:pt x="138" y="551"/>
                  </a:cubicBezTo>
                  <a:cubicBezTo>
                    <a:pt x="137" y="551"/>
                    <a:pt x="137" y="551"/>
                    <a:pt x="137" y="551"/>
                  </a:cubicBezTo>
                  <a:moveTo>
                    <a:pt x="140" y="551"/>
                  </a:moveTo>
                  <a:cubicBezTo>
                    <a:pt x="140" y="551"/>
                    <a:pt x="140" y="551"/>
                    <a:pt x="140" y="551"/>
                  </a:cubicBezTo>
                  <a:cubicBezTo>
                    <a:pt x="139" y="551"/>
                    <a:pt x="139" y="551"/>
                    <a:pt x="139" y="551"/>
                  </a:cubicBezTo>
                  <a:cubicBezTo>
                    <a:pt x="139" y="551"/>
                    <a:pt x="139" y="551"/>
                    <a:pt x="140" y="551"/>
                  </a:cubicBezTo>
                  <a:cubicBezTo>
                    <a:pt x="140" y="551"/>
                    <a:pt x="140" y="551"/>
                    <a:pt x="140" y="551"/>
                  </a:cubicBezTo>
                  <a:moveTo>
                    <a:pt x="138" y="551"/>
                  </a:moveTo>
                  <a:cubicBezTo>
                    <a:pt x="139" y="551"/>
                    <a:pt x="139" y="551"/>
                    <a:pt x="139" y="551"/>
                  </a:cubicBezTo>
                  <a:cubicBezTo>
                    <a:pt x="139" y="551"/>
                    <a:pt x="139" y="551"/>
                    <a:pt x="139" y="551"/>
                  </a:cubicBezTo>
                  <a:cubicBezTo>
                    <a:pt x="139" y="551"/>
                    <a:pt x="139" y="551"/>
                    <a:pt x="138" y="551"/>
                  </a:cubicBezTo>
                  <a:cubicBezTo>
                    <a:pt x="138" y="551"/>
                    <a:pt x="138" y="551"/>
                    <a:pt x="138" y="551"/>
                  </a:cubicBezTo>
                  <a:cubicBezTo>
                    <a:pt x="138" y="551"/>
                    <a:pt x="138" y="551"/>
                    <a:pt x="138" y="551"/>
                  </a:cubicBezTo>
                  <a:moveTo>
                    <a:pt x="141" y="550"/>
                  </a:moveTo>
                  <a:cubicBezTo>
                    <a:pt x="141" y="550"/>
                    <a:pt x="141" y="550"/>
                    <a:pt x="141" y="550"/>
                  </a:cubicBezTo>
                  <a:cubicBezTo>
                    <a:pt x="142" y="549"/>
                    <a:pt x="143" y="547"/>
                    <a:pt x="145" y="546"/>
                  </a:cubicBezTo>
                  <a:cubicBezTo>
                    <a:pt x="147" y="543"/>
                    <a:pt x="149" y="540"/>
                    <a:pt x="151" y="538"/>
                  </a:cubicBezTo>
                  <a:cubicBezTo>
                    <a:pt x="151" y="537"/>
                    <a:pt x="152" y="536"/>
                    <a:pt x="152" y="535"/>
                  </a:cubicBezTo>
                  <a:cubicBezTo>
                    <a:pt x="153" y="534"/>
                    <a:pt x="153" y="533"/>
                    <a:pt x="153" y="532"/>
                  </a:cubicBezTo>
                  <a:cubicBezTo>
                    <a:pt x="153" y="533"/>
                    <a:pt x="153" y="534"/>
                    <a:pt x="152" y="535"/>
                  </a:cubicBezTo>
                  <a:cubicBezTo>
                    <a:pt x="152" y="536"/>
                    <a:pt x="151" y="537"/>
                    <a:pt x="151" y="538"/>
                  </a:cubicBezTo>
                  <a:cubicBezTo>
                    <a:pt x="149" y="540"/>
                    <a:pt x="147" y="543"/>
                    <a:pt x="145" y="546"/>
                  </a:cubicBezTo>
                  <a:cubicBezTo>
                    <a:pt x="143" y="547"/>
                    <a:pt x="142" y="549"/>
                    <a:pt x="141" y="550"/>
                  </a:cubicBezTo>
                  <a:cubicBezTo>
                    <a:pt x="141" y="550"/>
                    <a:pt x="141" y="550"/>
                    <a:pt x="141" y="550"/>
                  </a:cubicBezTo>
                  <a:moveTo>
                    <a:pt x="153" y="532"/>
                  </a:moveTo>
                  <a:cubicBezTo>
                    <a:pt x="154" y="530"/>
                    <a:pt x="155" y="527"/>
                    <a:pt x="156" y="525"/>
                  </a:cubicBezTo>
                  <a:cubicBezTo>
                    <a:pt x="156" y="525"/>
                    <a:pt x="156" y="524"/>
                    <a:pt x="156" y="524"/>
                  </a:cubicBezTo>
                  <a:cubicBezTo>
                    <a:pt x="156" y="524"/>
                    <a:pt x="156" y="525"/>
                    <a:pt x="156" y="525"/>
                  </a:cubicBezTo>
                  <a:cubicBezTo>
                    <a:pt x="155" y="527"/>
                    <a:pt x="154" y="530"/>
                    <a:pt x="153" y="532"/>
                  </a:cubicBezTo>
                  <a:moveTo>
                    <a:pt x="127" y="510"/>
                  </a:moveTo>
                  <a:cubicBezTo>
                    <a:pt x="127" y="510"/>
                    <a:pt x="127" y="510"/>
                    <a:pt x="127" y="510"/>
                  </a:cubicBezTo>
                  <a:cubicBezTo>
                    <a:pt x="127" y="510"/>
                    <a:pt x="127" y="510"/>
                    <a:pt x="127" y="510"/>
                  </a:cubicBezTo>
                  <a:cubicBezTo>
                    <a:pt x="127" y="510"/>
                    <a:pt x="127" y="510"/>
                    <a:pt x="127" y="510"/>
                  </a:cubicBezTo>
                  <a:moveTo>
                    <a:pt x="128" y="510"/>
                  </a:moveTo>
                  <a:cubicBezTo>
                    <a:pt x="128" y="510"/>
                    <a:pt x="129" y="510"/>
                    <a:pt x="129" y="510"/>
                  </a:cubicBezTo>
                  <a:cubicBezTo>
                    <a:pt x="129" y="510"/>
                    <a:pt x="128" y="510"/>
                    <a:pt x="128" y="510"/>
                  </a:cubicBezTo>
                  <a:moveTo>
                    <a:pt x="1166" y="0"/>
                  </a:moveTo>
                  <a:cubicBezTo>
                    <a:pt x="1165" y="0"/>
                    <a:pt x="1165" y="0"/>
                    <a:pt x="1165" y="0"/>
                  </a:cubicBezTo>
                  <a:cubicBezTo>
                    <a:pt x="1164" y="1"/>
                    <a:pt x="1164" y="1"/>
                    <a:pt x="1164" y="1"/>
                  </a:cubicBezTo>
                  <a:cubicBezTo>
                    <a:pt x="1164" y="1"/>
                    <a:pt x="1163" y="1"/>
                    <a:pt x="1162" y="1"/>
                  </a:cubicBezTo>
                  <a:cubicBezTo>
                    <a:pt x="1159" y="2"/>
                    <a:pt x="1159" y="2"/>
                    <a:pt x="1159" y="2"/>
                  </a:cubicBezTo>
                  <a:cubicBezTo>
                    <a:pt x="1156" y="2"/>
                    <a:pt x="1152" y="3"/>
                    <a:pt x="1148" y="3"/>
                  </a:cubicBezTo>
                  <a:cubicBezTo>
                    <a:pt x="1136" y="4"/>
                    <a:pt x="1136" y="4"/>
                    <a:pt x="1136" y="4"/>
                  </a:cubicBezTo>
                  <a:cubicBezTo>
                    <a:pt x="1133" y="5"/>
                    <a:pt x="1133" y="5"/>
                    <a:pt x="1133" y="5"/>
                  </a:cubicBezTo>
                  <a:cubicBezTo>
                    <a:pt x="1128" y="6"/>
                    <a:pt x="1123" y="7"/>
                    <a:pt x="1117" y="8"/>
                  </a:cubicBezTo>
                  <a:cubicBezTo>
                    <a:pt x="1116" y="8"/>
                    <a:pt x="1116" y="8"/>
                    <a:pt x="1115" y="8"/>
                  </a:cubicBezTo>
                  <a:cubicBezTo>
                    <a:pt x="1114" y="8"/>
                    <a:pt x="1114" y="8"/>
                    <a:pt x="1114" y="8"/>
                  </a:cubicBezTo>
                  <a:cubicBezTo>
                    <a:pt x="1113" y="8"/>
                    <a:pt x="1112" y="8"/>
                    <a:pt x="1112" y="8"/>
                  </a:cubicBezTo>
                  <a:cubicBezTo>
                    <a:pt x="1110" y="9"/>
                    <a:pt x="1110" y="9"/>
                    <a:pt x="1110" y="9"/>
                  </a:cubicBezTo>
                  <a:cubicBezTo>
                    <a:pt x="1110" y="9"/>
                    <a:pt x="1110" y="9"/>
                    <a:pt x="1110" y="9"/>
                  </a:cubicBezTo>
                  <a:cubicBezTo>
                    <a:pt x="1108" y="10"/>
                    <a:pt x="1108" y="10"/>
                    <a:pt x="1108" y="10"/>
                  </a:cubicBezTo>
                  <a:cubicBezTo>
                    <a:pt x="1106" y="12"/>
                    <a:pt x="1105" y="13"/>
                    <a:pt x="1102" y="15"/>
                  </a:cubicBezTo>
                  <a:cubicBezTo>
                    <a:pt x="1102" y="16"/>
                    <a:pt x="1102" y="16"/>
                    <a:pt x="1102" y="16"/>
                  </a:cubicBezTo>
                  <a:cubicBezTo>
                    <a:pt x="1101" y="17"/>
                    <a:pt x="1100" y="18"/>
                    <a:pt x="1099" y="19"/>
                  </a:cubicBezTo>
                  <a:cubicBezTo>
                    <a:pt x="1098" y="19"/>
                    <a:pt x="1098" y="19"/>
                    <a:pt x="1098" y="19"/>
                  </a:cubicBezTo>
                  <a:cubicBezTo>
                    <a:pt x="1098" y="19"/>
                    <a:pt x="1097" y="20"/>
                    <a:pt x="1097" y="20"/>
                  </a:cubicBezTo>
                  <a:cubicBezTo>
                    <a:pt x="1095" y="22"/>
                    <a:pt x="1094" y="23"/>
                    <a:pt x="1092" y="24"/>
                  </a:cubicBezTo>
                  <a:cubicBezTo>
                    <a:pt x="1092" y="25"/>
                    <a:pt x="1092" y="25"/>
                    <a:pt x="1092" y="25"/>
                  </a:cubicBezTo>
                  <a:cubicBezTo>
                    <a:pt x="1092" y="25"/>
                    <a:pt x="1092" y="25"/>
                    <a:pt x="1092" y="25"/>
                  </a:cubicBezTo>
                  <a:cubicBezTo>
                    <a:pt x="1093" y="24"/>
                    <a:pt x="1094" y="24"/>
                    <a:pt x="1095" y="24"/>
                  </a:cubicBezTo>
                  <a:cubicBezTo>
                    <a:pt x="1097" y="24"/>
                    <a:pt x="1098" y="24"/>
                    <a:pt x="1099" y="24"/>
                  </a:cubicBezTo>
                  <a:cubicBezTo>
                    <a:pt x="1100" y="24"/>
                    <a:pt x="1100" y="24"/>
                    <a:pt x="1101" y="24"/>
                  </a:cubicBezTo>
                  <a:cubicBezTo>
                    <a:pt x="1101" y="24"/>
                    <a:pt x="1101" y="24"/>
                    <a:pt x="1101" y="24"/>
                  </a:cubicBezTo>
                  <a:cubicBezTo>
                    <a:pt x="1102" y="25"/>
                    <a:pt x="1103" y="25"/>
                    <a:pt x="1103" y="25"/>
                  </a:cubicBezTo>
                  <a:cubicBezTo>
                    <a:pt x="1103" y="25"/>
                    <a:pt x="1103" y="25"/>
                    <a:pt x="1103" y="25"/>
                  </a:cubicBezTo>
                  <a:cubicBezTo>
                    <a:pt x="1104" y="25"/>
                    <a:pt x="1104" y="26"/>
                    <a:pt x="1105" y="26"/>
                  </a:cubicBezTo>
                  <a:cubicBezTo>
                    <a:pt x="1105" y="26"/>
                    <a:pt x="1105" y="26"/>
                    <a:pt x="1105" y="26"/>
                  </a:cubicBezTo>
                  <a:cubicBezTo>
                    <a:pt x="1106" y="26"/>
                    <a:pt x="1106" y="26"/>
                    <a:pt x="1106" y="26"/>
                  </a:cubicBezTo>
                  <a:cubicBezTo>
                    <a:pt x="1108" y="28"/>
                    <a:pt x="1108" y="30"/>
                    <a:pt x="1108" y="31"/>
                  </a:cubicBezTo>
                  <a:cubicBezTo>
                    <a:pt x="1108" y="32"/>
                    <a:pt x="1108" y="32"/>
                    <a:pt x="1108" y="32"/>
                  </a:cubicBezTo>
                  <a:cubicBezTo>
                    <a:pt x="1107" y="36"/>
                    <a:pt x="1107" y="36"/>
                    <a:pt x="1107" y="36"/>
                  </a:cubicBezTo>
                  <a:cubicBezTo>
                    <a:pt x="1108" y="37"/>
                    <a:pt x="1108" y="37"/>
                    <a:pt x="1108" y="37"/>
                  </a:cubicBezTo>
                  <a:cubicBezTo>
                    <a:pt x="1109" y="38"/>
                    <a:pt x="1109" y="38"/>
                    <a:pt x="1109" y="38"/>
                  </a:cubicBezTo>
                  <a:cubicBezTo>
                    <a:pt x="1109" y="39"/>
                    <a:pt x="1109" y="39"/>
                    <a:pt x="1109" y="39"/>
                  </a:cubicBezTo>
                  <a:cubicBezTo>
                    <a:pt x="1109" y="39"/>
                    <a:pt x="1109" y="39"/>
                    <a:pt x="1109" y="39"/>
                  </a:cubicBezTo>
                  <a:cubicBezTo>
                    <a:pt x="1110" y="40"/>
                    <a:pt x="1110" y="40"/>
                    <a:pt x="1110" y="40"/>
                  </a:cubicBezTo>
                  <a:cubicBezTo>
                    <a:pt x="1110" y="41"/>
                    <a:pt x="1110" y="41"/>
                    <a:pt x="1110" y="41"/>
                  </a:cubicBezTo>
                  <a:cubicBezTo>
                    <a:pt x="1110" y="42"/>
                    <a:pt x="1110" y="43"/>
                    <a:pt x="1109" y="44"/>
                  </a:cubicBezTo>
                  <a:cubicBezTo>
                    <a:pt x="1107" y="46"/>
                    <a:pt x="1105" y="49"/>
                    <a:pt x="1103" y="51"/>
                  </a:cubicBezTo>
                  <a:cubicBezTo>
                    <a:pt x="1091" y="64"/>
                    <a:pt x="1091" y="64"/>
                    <a:pt x="1091" y="64"/>
                  </a:cubicBezTo>
                  <a:cubicBezTo>
                    <a:pt x="1089" y="66"/>
                    <a:pt x="1089" y="66"/>
                    <a:pt x="1089" y="66"/>
                  </a:cubicBezTo>
                  <a:cubicBezTo>
                    <a:pt x="1088" y="69"/>
                    <a:pt x="1086" y="72"/>
                    <a:pt x="1085" y="74"/>
                  </a:cubicBezTo>
                  <a:cubicBezTo>
                    <a:pt x="1080" y="81"/>
                    <a:pt x="1080" y="81"/>
                    <a:pt x="1080" y="81"/>
                  </a:cubicBezTo>
                  <a:cubicBezTo>
                    <a:pt x="1077" y="89"/>
                    <a:pt x="1077" y="89"/>
                    <a:pt x="1077" y="89"/>
                  </a:cubicBezTo>
                  <a:cubicBezTo>
                    <a:pt x="1076" y="96"/>
                    <a:pt x="1076" y="96"/>
                    <a:pt x="1076" y="96"/>
                  </a:cubicBezTo>
                  <a:cubicBezTo>
                    <a:pt x="1076" y="97"/>
                    <a:pt x="1076" y="97"/>
                    <a:pt x="1076" y="97"/>
                  </a:cubicBezTo>
                  <a:cubicBezTo>
                    <a:pt x="1076" y="98"/>
                    <a:pt x="1076" y="98"/>
                    <a:pt x="1076" y="98"/>
                  </a:cubicBezTo>
                  <a:cubicBezTo>
                    <a:pt x="1076" y="99"/>
                    <a:pt x="1076" y="100"/>
                    <a:pt x="1076" y="100"/>
                  </a:cubicBezTo>
                  <a:cubicBezTo>
                    <a:pt x="1076" y="101"/>
                    <a:pt x="1076" y="101"/>
                    <a:pt x="1076" y="101"/>
                  </a:cubicBezTo>
                  <a:cubicBezTo>
                    <a:pt x="1076" y="102"/>
                    <a:pt x="1076" y="102"/>
                    <a:pt x="1076" y="102"/>
                  </a:cubicBezTo>
                  <a:cubicBezTo>
                    <a:pt x="1076" y="102"/>
                    <a:pt x="1076" y="103"/>
                    <a:pt x="1076" y="103"/>
                  </a:cubicBezTo>
                  <a:cubicBezTo>
                    <a:pt x="1076" y="104"/>
                    <a:pt x="1076" y="104"/>
                    <a:pt x="1076" y="104"/>
                  </a:cubicBezTo>
                  <a:cubicBezTo>
                    <a:pt x="1076" y="105"/>
                    <a:pt x="1076" y="105"/>
                    <a:pt x="1076" y="106"/>
                  </a:cubicBezTo>
                  <a:cubicBezTo>
                    <a:pt x="1075" y="106"/>
                    <a:pt x="1075" y="106"/>
                    <a:pt x="1075" y="106"/>
                  </a:cubicBezTo>
                  <a:cubicBezTo>
                    <a:pt x="1074" y="107"/>
                    <a:pt x="1074" y="107"/>
                    <a:pt x="1074" y="108"/>
                  </a:cubicBezTo>
                  <a:cubicBezTo>
                    <a:pt x="1073" y="108"/>
                    <a:pt x="1073" y="108"/>
                    <a:pt x="1073" y="108"/>
                  </a:cubicBezTo>
                  <a:cubicBezTo>
                    <a:pt x="1065" y="112"/>
                    <a:pt x="1065" y="112"/>
                    <a:pt x="1065" y="112"/>
                  </a:cubicBezTo>
                  <a:cubicBezTo>
                    <a:pt x="1056" y="114"/>
                    <a:pt x="1056" y="114"/>
                    <a:pt x="1056" y="114"/>
                  </a:cubicBezTo>
                  <a:cubicBezTo>
                    <a:pt x="1053" y="114"/>
                    <a:pt x="1051" y="116"/>
                    <a:pt x="1049" y="119"/>
                  </a:cubicBezTo>
                  <a:cubicBezTo>
                    <a:pt x="1049" y="119"/>
                    <a:pt x="1049" y="119"/>
                    <a:pt x="1049" y="119"/>
                  </a:cubicBezTo>
                  <a:cubicBezTo>
                    <a:pt x="1039" y="126"/>
                    <a:pt x="1039" y="126"/>
                    <a:pt x="1039" y="126"/>
                  </a:cubicBezTo>
                  <a:cubicBezTo>
                    <a:pt x="1030" y="123"/>
                    <a:pt x="1030" y="123"/>
                    <a:pt x="1030" y="123"/>
                  </a:cubicBezTo>
                  <a:cubicBezTo>
                    <a:pt x="1030" y="125"/>
                    <a:pt x="1030" y="125"/>
                    <a:pt x="1030" y="125"/>
                  </a:cubicBezTo>
                  <a:cubicBezTo>
                    <a:pt x="1029" y="122"/>
                    <a:pt x="1029" y="122"/>
                    <a:pt x="1029" y="122"/>
                  </a:cubicBezTo>
                  <a:cubicBezTo>
                    <a:pt x="1016" y="118"/>
                    <a:pt x="1016" y="118"/>
                    <a:pt x="1016" y="118"/>
                  </a:cubicBezTo>
                  <a:cubicBezTo>
                    <a:pt x="1015" y="118"/>
                    <a:pt x="1014" y="118"/>
                    <a:pt x="1012" y="117"/>
                  </a:cubicBezTo>
                  <a:cubicBezTo>
                    <a:pt x="1007" y="127"/>
                    <a:pt x="1007" y="127"/>
                    <a:pt x="1007" y="127"/>
                  </a:cubicBezTo>
                  <a:cubicBezTo>
                    <a:pt x="1005" y="132"/>
                    <a:pt x="1002" y="137"/>
                    <a:pt x="1000" y="142"/>
                  </a:cubicBezTo>
                  <a:cubicBezTo>
                    <a:pt x="993" y="155"/>
                    <a:pt x="993" y="155"/>
                    <a:pt x="993" y="155"/>
                  </a:cubicBezTo>
                  <a:cubicBezTo>
                    <a:pt x="993" y="156"/>
                    <a:pt x="993" y="156"/>
                    <a:pt x="993" y="157"/>
                  </a:cubicBezTo>
                  <a:cubicBezTo>
                    <a:pt x="993" y="158"/>
                    <a:pt x="993" y="158"/>
                    <a:pt x="993" y="158"/>
                  </a:cubicBezTo>
                  <a:cubicBezTo>
                    <a:pt x="993" y="160"/>
                    <a:pt x="993" y="162"/>
                    <a:pt x="991" y="164"/>
                  </a:cubicBezTo>
                  <a:cubicBezTo>
                    <a:pt x="990" y="165"/>
                    <a:pt x="989" y="165"/>
                    <a:pt x="988" y="166"/>
                  </a:cubicBezTo>
                  <a:cubicBezTo>
                    <a:pt x="988" y="166"/>
                    <a:pt x="987" y="166"/>
                    <a:pt x="987" y="167"/>
                  </a:cubicBezTo>
                  <a:cubicBezTo>
                    <a:pt x="987" y="167"/>
                    <a:pt x="987" y="168"/>
                    <a:pt x="987" y="169"/>
                  </a:cubicBezTo>
                  <a:cubicBezTo>
                    <a:pt x="987" y="169"/>
                    <a:pt x="987" y="169"/>
                    <a:pt x="987" y="169"/>
                  </a:cubicBezTo>
                  <a:cubicBezTo>
                    <a:pt x="987" y="169"/>
                    <a:pt x="987" y="169"/>
                    <a:pt x="987" y="169"/>
                  </a:cubicBezTo>
                  <a:cubicBezTo>
                    <a:pt x="988" y="170"/>
                    <a:pt x="988" y="170"/>
                    <a:pt x="988" y="170"/>
                  </a:cubicBezTo>
                  <a:cubicBezTo>
                    <a:pt x="988" y="171"/>
                    <a:pt x="989" y="171"/>
                    <a:pt x="990" y="172"/>
                  </a:cubicBezTo>
                  <a:cubicBezTo>
                    <a:pt x="991" y="174"/>
                    <a:pt x="992" y="175"/>
                    <a:pt x="993" y="175"/>
                  </a:cubicBezTo>
                  <a:cubicBezTo>
                    <a:pt x="993" y="174"/>
                    <a:pt x="994" y="173"/>
                    <a:pt x="996" y="173"/>
                  </a:cubicBezTo>
                  <a:cubicBezTo>
                    <a:pt x="998" y="173"/>
                    <a:pt x="1000" y="172"/>
                    <a:pt x="1004" y="172"/>
                  </a:cubicBezTo>
                  <a:cubicBezTo>
                    <a:pt x="1014" y="171"/>
                    <a:pt x="1014" y="171"/>
                    <a:pt x="1014" y="171"/>
                  </a:cubicBezTo>
                  <a:cubicBezTo>
                    <a:pt x="1015" y="171"/>
                    <a:pt x="1015" y="171"/>
                    <a:pt x="1015" y="171"/>
                  </a:cubicBezTo>
                  <a:cubicBezTo>
                    <a:pt x="1017" y="171"/>
                    <a:pt x="1018" y="171"/>
                    <a:pt x="1020" y="172"/>
                  </a:cubicBezTo>
                  <a:cubicBezTo>
                    <a:pt x="1021" y="172"/>
                    <a:pt x="1021" y="173"/>
                    <a:pt x="1022" y="173"/>
                  </a:cubicBezTo>
                  <a:cubicBezTo>
                    <a:pt x="1022" y="173"/>
                    <a:pt x="1022" y="173"/>
                    <a:pt x="1022" y="173"/>
                  </a:cubicBezTo>
                  <a:cubicBezTo>
                    <a:pt x="1024" y="175"/>
                    <a:pt x="1025" y="176"/>
                    <a:pt x="1026" y="176"/>
                  </a:cubicBezTo>
                  <a:cubicBezTo>
                    <a:pt x="1026" y="176"/>
                    <a:pt x="1026" y="176"/>
                    <a:pt x="1026" y="176"/>
                  </a:cubicBezTo>
                  <a:cubicBezTo>
                    <a:pt x="1027" y="175"/>
                    <a:pt x="1027" y="175"/>
                    <a:pt x="1027" y="175"/>
                  </a:cubicBezTo>
                  <a:cubicBezTo>
                    <a:pt x="1027" y="175"/>
                    <a:pt x="1027" y="175"/>
                    <a:pt x="1027" y="174"/>
                  </a:cubicBezTo>
                  <a:cubicBezTo>
                    <a:pt x="1030" y="171"/>
                    <a:pt x="1033" y="169"/>
                    <a:pt x="1037" y="169"/>
                  </a:cubicBezTo>
                  <a:cubicBezTo>
                    <a:pt x="1038" y="168"/>
                    <a:pt x="1039" y="168"/>
                    <a:pt x="1040" y="168"/>
                  </a:cubicBezTo>
                  <a:cubicBezTo>
                    <a:pt x="1042" y="168"/>
                    <a:pt x="1042" y="168"/>
                    <a:pt x="1042" y="168"/>
                  </a:cubicBezTo>
                  <a:cubicBezTo>
                    <a:pt x="1043" y="168"/>
                    <a:pt x="1044" y="168"/>
                    <a:pt x="1045" y="168"/>
                  </a:cubicBezTo>
                  <a:cubicBezTo>
                    <a:pt x="1047" y="167"/>
                    <a:pt x="1049" y="167"/>
                    <a:pt x="1052" y="167"/>
                  </a:cubicBezTo>
                  <a:cubicBezTo>
                    <a:pt x="1052" y="167"/>
                    <a:pt x="1053" y="167"/>
                    <a:pt x="1053" y="167"/>
                  </a:cubicBezTo>
                  <a:cubicBezTo>
                    <a:pt x="1054" y="167"/>
                    <a:pt x="1055" y="167"/>
                    <a:pt x="1056" y="168"/>
                  </a:cubicBezTo>
                  <a:cubicBezTo>
                    <a:pt x="1056" y="168"/>
                    <a:pt x="1057" y="168"/>
                    <a:pt x="1058" y="169"/>
                  </a:cubicBezTo>
                  <a:cubicBezTo>
                    <a:pt x="1059" y="170"/>
                    <a:pt x="1059" y="171"/>
                    <a:pt x="1059" y="171"/>
                  </a:cubicBezTo>
                  <a:cubicBezTo>
                    <a:pt x="1060" y="172"/>
                    <a:pt x="1060" y="172"/>
                    <a:pt x="1060" y="172"/>
                  </a:cubicBezTo>
                  <a:cubicBezTo>
                    <a:pt x="1061" y="173"/>
                    <a:pt x="1062" y="174"/>
                    <a:pt x="1064" y="174"/>
                  </a:cubicBezTo>
                  <a:cubicBezTo>
                    <a:pt x="1066" y="175"/>
                    <a:pt x="1068" y="176"/>
                    <a:pt x="1070" y="178"/>
                  </a:cubicBezTo>
                  <a:cubicBezTo>
                    <a:pt x="1070" y="179"/>
                    <a:pt x="1070" y="179"/>
                    <a:pt x="1070" y="179"/>
                  </a:cubicBezTo>
                  <a:cubicBezTo>
                    <a:pt x="1071" y="180"/>
                    <a:pt x="1071" y="180"/>
                    <a:pt x="1071" y="180"/>
                  </a:cubicBezTo>
                  <a:cubicBezTo>
                    <a:pt x="1072" y="181"/>
                    <a:pt x="1072" y="182"/>
                    <a:pt x="1073" y="182"/>
                  </a:cubicBezTo>
                  <a:cubicBezTo>
                    <a:pt x="1075" y="183"/>
                    <a:pt x="1077" y="185"/>
                    <a:pt x="1078" y="187"/>
                  </a:cubicBezTo>
                  <a:cubicBezTo>
                    <a:pt x="1079" y="188"/>
                    <a:pt x="1080" y="189"/>
                    <a:pt x="1081" y="189"/>
                  </a:cubicBezTo>
                  <a:cubicBezTo>
                    <a:pt x="1083" y="191"/>
                    <a:pt x="1084" y="192"/>
                    <a:pt x="1085" y="194"/>
                  </a:cubicBezTo>
                  <a:cubicBezTo>
                    <a:pt x="1089" y="199"/>
                    <a:pt x="1089" y="203"/>
                    <a:pt x="1089" y="208"/>
                  </a:cubicBezTo>
                  <a:cubicBezTo>
                    <a:pt x="1089" y="209"/>
                    <a:pt x="1089" y="209"/>
                    <a:pt x="1089" y="209"/>
                  </a:cubicBezTo>
                  <a:cubicBezTo>
                    <a:pt x="1088" y="209"/>
                    <a:pt x="1088" y="209"/>
                    <a:pt x="1088" y="209"/>
                  </a:cubicBezTo>
                  <a:cubicBezTo>
                    <a:pt x="1087" y="211"/>
                    <a:pt x="1086" y="212"/>
                    <a:pt x="1084" y="212"/>
                  </a:cubicBezTo>
                  <a:cubicBezTo>
                    <a:pt x="1071" y="211"/>
                    <a:pt x="1071" y="211"/>
                    <a:pt x="1071" y="211"/>
                  </a:cubicBezTo>
                  <a:cubicBezTo>
                    <a:pt x="1070" y="211"/>
                    <a:pt x="1068" y="211"/>
                    <a:pt x="1066" y="211"/>
                  </a:cubicBezTo>
                  <a:cubicBezTo>
                    <a:pt x="1064" y="211"/>
                    <a:pt x="1061" y="211"/>
                    <a:pt x="1059" y="211"/>
                  </a:cubicBezTo>
                  <a:cubicBezTo>
                    <a:pt x="1057" y="211"/>
                    <a:pt x="1055" y="211"/>
                    <a:pt x="1053" y="211"/>
                  </a:cubicBezTo>
                  <a:cubicBezTo>
                    <a:pt x="1047" y="213"/>
                    <a:pt x="1042" y="215"/>
                    <a:pt x="1036" y="218"/>
                  </a:cubicBezTo>
                  <a:cubicBezTo>
                    <a:pt x="1029" y="220"/>
                    <a:pt x="1029" y="220"/>
                    <a:pt x="1029" y="220"/>
                  </a:cubicBezTo>
                  <a:cubicBezTo>
                    <a:pt x="1028" y="220"/>
                    <a:pt x="1027" y="221"/>
                    <a:pt x="1026" y="221"/>
                  </a:cubicBezTo>
                  <a:cubicBezTo>
                    <a:pt x="1023" y="220"/>
                    <a:pt x="1023" y="220"/>
                    <a:pt x="1023" y="220"/>
                  </a:cubicBezTo>
                  <a:cubicBezTo>
                    <a:pt x="1021" y="220"/>
                    <a:pt x="1020" y="220"/>
                    <a:pt x="1018" y="220"/>
                  </a:cubicBezTo>
                  <a:cubicBezTo>
                    <a:pt x="1014" y="220"/>
                    <a:pt x="1011" y="221"/>
                    <a:pt x="1009" y="223"/>
                  </a:cubicBezTo>
                  <a:cubicBezTo>
                    <a:pt x="1005" y="227"/>
                    <a:pt x="1003" y="230"/>
                    <a:pt x="1003" y="232"/>
                  </a:cubicBezTo>
                  <a:cubicBezTo>
                    <a:pt x="1003" y="232"/>
                    <a:pt x="1003" y="232"/>
                    <a:pt x="1003" y="232"/>
                  </a:cubicBezTo>
                  <a:cubicBezTo>
                    <a:pt x="1004" y="234"/>
                    <a:pt x="1004" y="235"/>
                    <a:pt x="1003" y="237"/>
                  </a:cubicBezTo>
                  <a:cubicBezTo>
                    <a:pt x="1002" y="238"/>
                    <a:pt x="1001" y="239"/>
                    <a:pt x="1001" y="239"/>
                  </a:cubicBezTo>
                  <a:cubicBezTo>
                    <a:pt x="999" y="240"/>
                    <a:pt x="998" y="241"/>
                    <a:pt x="998" y="241"/>
                  </a:cubicBezTo>
                  <a:cubicBezTo>
                    <a:pt x="997" y="242"/>
                    <a:pt x="997" y="242"/>
                    <a:pt x="997" y="242"/>
                  </a:cubicBezTo>
                  <a:cubicBezTo>
                    <a:pt x="996" y="242"/>
                    <a:pt x="996" y="242"/>
                    <a:pt x="996" y="242"/>
                  </a:cubicBezTo>
                  <a:cubicBezTo>
                    <a:pt x="995" y="243"/>
                    <a:pt x="995" y="243"/>
                    <a:pt x="995" y="243"/>
                  </a:cubicBezTo>
                  <a:cubicBezTo>
                    <a:pt x="994" y="243"/>
                    <a:pt x="993" y="243"/>
                    <a:pt x="993" y="244"/>
                  </a:cubicBezTo>
                  <a:cubicBezTo>
                    <a:pt x="992" y="244"/>
                    <a:pt x="992" y="244"/>
                    <a:pt x="992" y="244"/>
                  </a:cubicBezTo>
                  <a:cubicBezTo>
                    <a:pt x="991" y="245"/>
                    <a:pt x="991" y="245"/>
                    <a:pt x="991" y="245"/>
                  </a:cubicBezTo>
                  <a:cubicBezTo>
                    <a:pt x="991" y="245"/>
                    <a:pt x="990" y="246"/>
                    <a:pt x="990" y="246"/>
                  </a:cubicBezTo>
                  <a:cubicBezTo>
                    <a:pt x="988" y="247"/>
                    <a:pt x="987" y="247"/>
                    <a:pt x="985" y="247"/>
                  </a:cubicBezTo>
                  <a:cubicBezTo>
                    <a:pt x="971" y="248"/>
                    <a:pt x="971" y="248"/>
                    <a:pt x="971" y="248"/>
                  </a:cubicBezTo>
                  <a:cubicBezTo>
                    <a:pt x="971" y="248"/>
                    <a:pt x="971" y="248"/>
                    <a:pt x="971" y="248"/>
                  </a:cubicBezTo>
                  <a:cubicBezTo>
                    <a:pt x="970" y="248"/>
                    <a:pt x="969" y="248"/>
                    <a:pt x="969" y="248"/>
                  </a:cubicBezTo>
                  <a:cubicBezTo>
                    <a:pt x="968" y="248"/>
                    <a:pt x="967" y="248"/>
                    <a:pt x="967" y="248"/>
                  </a:cubicBezTo>
                  <a:cubicBezTo>
                    <a:pt x="966" y="248"/>
                    <a:pt x="965" y="248"/>
                    <a:pt x="965" y="248"/>
                  </a:cubicBezTo>
                  <a:cubicBezTo>
                    <a:pt x="965" y="248"/>
                    <a:pt x="965" y="248"/>
                    <a:pt x="965" y="248"/>
                  </a:cubicBezTo>
                  <a:cubicBezTo>
                    <a:pt x="964" y="249"/>
                    <a:pt x="963" y="249"/>
                    <a:pt x="963" y="250"/>
                  </a:cubicBezTo>
                  <a:cubicBezTo>
                    <a:pt x="963" y="250"/>
                    <a:pt x="963" y="250"/>
                    <a:pt x="963" y="250"/>
                  </a:cubicBezTo>
                  <a:cubicBezTo>
                    <a:pt x="962" y="251"/>
                    <a:pt x="962" y="251"/>
                    <a:pt x="962" y="251"/>
                  </a:cubicBezTo>
                  <a:cubicBezTo>
                    <a:pt x="965" y="254"/>
                    <a:pt x="965" y="254"/>
                    <a:pt x="965" y="254"/>
                  </a:cubicBezTo>
                  <a:cubicBezTo>
                    <a:pt x="961" y="252"/>
                    <a:pt x="961" y="252"/>
                    <a:pt x="961" y="252"/>
                  </a:cubicBezTo>
                  <a:cubicBezTo>
                    <a:pt x="961" y="252"/>
                    <a:pt x="961" y="252"/>
                    <a:pt x="961" y="252"/>
                  </a:cubicBezTo>
                  <a:cubicBezTo>
                    <a:pt x="957" y="256"/>
                    <a:pt x="953" y="259"/>
                    <a:pt x="948" y="263"/>
                  </a:cubicBezTo>
                  <a:cubicBezTo>
                    <a:pt x="947" y="263"/>
                    <a:pt x="946" y="264"/>
                    <a:pt x="946" y="264"/>
                  </a:cubicBezTo>
                  <a:cubicBezTo>
                    <a:pt x="944" y="265"/>
                    <a:pt x="944" y="265"/>
                    <a:pt x="944" y="265"/>
                  </a:cubicBezTo>
                  <a:cubicBezTo>
                    <a:pt x="941" y="267"/>
                    <a:pt x="939" y="267"/>
                    <a:pt x="937" y="268"/>
                  </a:cubicBezTo>
                  <a:cubicBezTo>
                    <a:pt x="935" y="268"/>
                    <a:pt x="934" y="267"/>
                    <a:pt x="933" y="267"/>
                  </a:cubicBezTo>
                  <a:cubicBezTo>
                    <a:pt x="933" y="267"/>
                    <a:pt x="932" y="267"/>
                    <a:pt x="932" y="267"/>
                  </a:cubicBezTo>
                  <a:cubicBezTo>
                    <a:pt x="930" y="267"/>
                    <a:pt x="928" y="266"/>
                    <a:pt x="926" y="266"/>
                  </a:cubicBezTo>
                  <a:cubicBezTo>
                    <a:pt x="924" y="265"/>
                    <a:pt x="923" y="264"/>
                    <a:pt x="922" y="264"/>
                  </a:cubicBezTo>
                  <a:cubicBezTo>
                    <a:pt x="922" y="264"/>
                    <a:pt x="922" y="264"/>
                    <a:pt x="922" y="264"/>
                  </a:cubicBezTo>
                  <a:cubicBezTo>
                    <a:pt x="918" y="262"/>
                    <a:pt x="915" y="260"/>
                    <a:pt x="911" y="259"/>
                  </a:cubicBezTo>
                  <a:cubicBezTo>
                    <a:pt x="910" y="259"/>
                    <a:pt x="910" y="259"/>
                    <a:pt x="910" y="259"/>
                  </a:cubicBezTo>
                  <a:cubicBezTo>
                    <a:pt x="909" y="258"/>
                    <a:pt x="907" y="258"/>
                    <a:pt x="906" y="258"/>
                  </a:cubicBezTo>
                  <a:cubicBezTo>
                    <a:pt x="904" y="258"/>
                    <a:pt x="903" y="258"/>
                    <a:pt x="902" y="258"/>
                  </a:cubicBezTo>
                  <a:cubicBezTo>
                    <a:pt x="901" y="258"/>
                    <a:pt x="901" y="258"/>
                    <a:pt x="901" y="258"/>
                  </a:cubicBezTo>
                  <a:cubicBezTo>
                    <a:pt x="901" y="258"/>
                    <a:pt x="901" y="258"/>
                    <a:pt x="901" y="258"/>
                  </a:cubicBezTo>
                  <a:cubicBezTo>
                    <a:pt x="900" y="259"/>
                    <a:pt x="899" y="260"/>
                    <a:pt x="899" y="260"/>
                  </a:cubicBezTo>
                  <a:cubicBezTo>
                    <a:pt x="899" y="260"/>
                    <a:pt x="899" y="260"/>
                    <a:pt x="899" y="260"/>
                  </a:cubicBezTo>
                  <a:cubicBezTo>
                    <a:pt x="897" y="262"/>
                    <a:pt x="895" y="263"/>
                    <a:pt x="895" y="264"/>
                  </a:cubicBezTo>
                  <a:cubicBezTo>
                    <a:pt x="894" y="267"/>
                    <a:pt x="893" y="269"/>
                    <a:pt x="892" y="272"/>
                  </a:cubicBezTo>
                  <a:cubicBezTo>
                    <a:pt x="890" y="275"/>
                    <a:pt x="890" y="275"/>
                    <a:pt x="890" y="275"/>
                  </a:cubicBezTo>
                  <a:cubicBezTo>
                    <a:pt x="890" y="275"/>
                    <a:pt x="890" y="275"/>
                    <a:pt x="890" y="275"/>
                  </a:cubicBezTo>
                  <a:cubicBezTo>
                    <a:pt x="890" y="276"/>
                    <a:pt x="890" y="276"/>
                    <a:pt x="890" y="276"/>
                  </a:cubicBezTo>
                  <a:cubicBezTo>
                    <a:pt x="891" y="277"/>
                    <a:pt x="892" y="280"/>
                    <a:pt x="893" y="281"/>
                  </a:cubicBezTo>
                  <a:cubicBezTo>
                    <a:pt x="894" y="282"/>
                    <a:pt x="894" y="283"/>
                    <a:pt x="895" y="283"/>
                  </a:cubicBezTo>
                  <a:cubicBezTo>
                    <a:pt x="895" y="284"/>
                    <a:pt x="896" y="284"/>
                    <a:pt x="896" y="284"/>
                  </a:cubicBezTo>
                  <a:cubicBezTo>
                    <a:pt x="898" y="285"/>
                    <a:pt x="899" y="286"/>
                    <a:pt x="900" y="288"/>
                  </a:cubicBezTo>
                  <a:cubicBezTo>
                    <a:pt x="901" y="290"/>
                    <a:pt x="901" y="290"/>
                    <a:pt x="901" y="290"/>
                  </a:cubicBezTo>
                  <a:cubicBezTo>
                    <a:pt x="903" y="293"/>
                    <a:pt x="902" y="296"/>
                    <a:pt x="898" y="298"/>
                  </a:cubicBezTo>
                  <a:cubicBezTo>
                    <a:pt x="895" y="300"/>
                    <a:pt x="892" y="302"/>
                    <a:pt x="888" y="304"/>
                  </a:cubicBezTo>
                  <a:cubicBezTo>
                    <a:pt x="886" y="305"/>
                    <a:pt x="886" y="305"/>
                    <a:pt x="886" y="305"/>
                  </a:cubicBezTo>
                  <a:cubicBezTo>
                    <a:pt x="883" y="306"/>
                    <a:pt x="880" y="307"/>
                    <a:pt x="878" y="309"/>
                  </a:cubicBezTo>
                  <a:cubicBezTo>
                    <a:pt x="876" y="311"/>
                    <a:pt x="874" y="313"/>
                    <a:pt x="872" y="316"/>
                  </a:cubicBezTo>
                  <a:cubicBezTo>
                    <a:pt x="872" y="316"/>
                    <a:pt x="872" y="316"/>
                    <a:pt x="872" y="316"/>
                  </a:cubicBezTo>
                  <a:cubicBezTo>
                    <a:pt x="871" y="317"/>
                    <a:pt x="870" y="319"/>
                    <a:pt x="869" y="320"/>
                  </a:cubicBezTo>
                  <a:cubicBezTo>
                    <a:pt x="867" y="322"/>
                    <a:pt x="865" y="324"/>
                    <a:pt x="863" y="325"/>
                  </a:cubicBezTo>
                  <a:cubicBezTo>
                    <a:pt x="861" y="325"/>
                    <a:pt x="858" y="327"/>
                    <a:pt x="856" y="328"/>
                  </a:cubicBezTo>
                  <a:cubicBezTo>
                    <a:pt x="853" y="329"/>
                    <a:pt x="853" y="329"/>
                    <a:pt x="853" y="329"/>
                  </a:cubicBezTo>
                  <a:cubicBezTo>
                    <a:pt x="850" y="330"/>
                    <a:pt x="850" y="330"/>
                    <a:pt x="850" y="330"/>
                  </a:cubicBezTo>
                  <a:cubicBezTo>
                    <a:pt x="848" y="331"/>
                    <a:pt x="845" y="332"/>
                    <a:pt x="844" y="333"/>
                  </a:cubicBezTo>
                  <a:cubicBezTo>
                    <a:pt x="840" y="334"/>
                    <a:pt x="836" y="334"/>
                    <a:pt x="833" y="334"/>
                  </a:cubicBezTo>
                  <a:cubicBezTo>
                    <a:pt x="832" y="334"/>
                    <a:pt x="831" y="334"/>
                    <a:pt x="830" y="334"/>
                  </a:cubicBezTo>
                  <a:cubicBezTo>
                    <a:pt x="829" y="334"/>
                    <a:pt x="829" y="334"/>
                    <a:pt x="829" y="334"/>
                  </a:cubicBezTo>
                  <a:cubicBezTo>
                    <a:pt x="828" y="334"/>
                    <a:pt x="826" y="334"/>
                    <a:pt x="825" y="334"/>
                  </a:cubicBezTo>
                  <a:cubicBezTo>
                    <a:pt x="824" y="334"/>
                    <a:pt x="824" y="334"/>
                    <a:pt x="824" y="334"/>
                  </a:cubicBezTo>
                  <a:cubicBezTo>
                    <a:pt x="823" y="334"/>
                    <a:pt x="822" y="334"/>
                    <a:pt x="821" y="334"/>
                  </a:cubicBezTo>
                  <a:cubicBezTo>
                    <a:pt x="816" y="334"/>
                    <a:pt x="816" y="334"/>
                    <a:pt x="816" y="334"/>
                  </a:cubicBezTo>
                  <a:cubicBezTo>
                    <a:pt x="813" y="334"/>
                    <a:pt x="810" y="334"/>
                    <a:pt x="806" y="335"/>
                  </a:cubicBezTo>
                  <a:cubicBezTo>
                    <a:pt x="801" y="335"/>
                    <a:pt x="801" y="335"/>
                    <a:pt x="801" y="335"/>
                  </a:cubicBezTo>
                  <a:cubicBezTo>
                    <a:pt x="799" y="336"/>
                    <a:pt x="797" y="336"/>
                    <a:pt x="795" y="336"/>
                  </a:cubicBezTo>
                  <a:cubicBezTo>
                    <a:pt x="793" y="336"/>
                    <a:pt x="793" y="336"/>
                    <a:pt x="793" y="336"/>
                  </a:cubicBezTo>
                  <a:cubicBezTo>
                    <a:pt x="788" y="337"/>
                    <a:pt x="783" y="337"/>
                    <a:pt x="778" y="338"/>
                  </a:cubicBezTo>
                  <a:cubicBezTo>
                    <a:pt x="777" y="339"/>
                    <a:pt x="777" y="339"/>
                    <a:pt x="777" y="339"/>
                  </a:cubicBezTo>
                  <a:cubicBezTo>
                    <a:pt x="777" y="339"/>
                    <a:pt x="777" y="339"/>
                    <a:pt x="777" y="339"/>
                  </a:cubicBezTo>
                  <a:cubicBezTo>
                    <a:pt x="778" y="342"/>
                    <a:pt x="778" y="342"/>
                    <a:pt x="778" y="342"/>
                  </a:cubicBezTo>
                  <a:cubicBezTo>
                    <a:pt x="776" y="339"/>
                    <a:pt x="776" y="339"/>
                    <a:pt x="776" y="339"/>
                  </a:cubicBezTo>
                  <a:cubicBezTo>
                    <a:pt x="775" y="339"/>
                    <a:pt x="775" y="339"/>
                    <a:pt x="775" y="339"/>
                  </a:cubicBezTo>
                  <a:cubicBezTo>
                    <a:pt x="775" y="339"/>
                    <a:pt x="775" y="339"/>
                    <a:pt x="775" y="339"/>
                  </a:cubicBezTo>
                  <a:cubicBezTo>
                    <a:pt x="771" y="341"/>
                    <a:pt x="767" y="343"/>
                    <a:pt x="763" y="344"/>
                  </a:cubicBezTo>
                  <a:cubicBezTo>
                    <a:pt x="760" y="346"/>
                    <a:pt x="760" y="346"/>
                    <a:pt x="760" y="346"/>
                  </a:cubicBezTo>
                  <a:cubicBezTo>
                    <a:pt x="758" y="346"/>
                    <a:pt x="756" y="347"/>
                    <a:pt x="755" y="348"/>
                  </a:cubicBezTo>
                  <a:cubicBezTo>
                    <a:pt x="751" y="349"/>
                    <a:pt x="747" y="351"/>
                    <a:pt x="744" y="353"/>
                  </a:cubicBezTo>
                  <a:cubicBezTo>
                    <a:pt x="743" y="353"/>
                    <a:pt x="743" y="353"/>
                    <a:pt x="743" y="353"/>
                  </a:cubicBezTo>
                  <a:cubicBezTo>
                    <a:pt x="741" y="354"/>
                    <a:pt x="740" y="355"/>
                    <a:pt x="739" y="356"/>
                  </a:cubicBezTo>
                  <a:cubicBezTo>
                    <a:pt x="738" y="357"/>
                    <a:pt x="738" y="357"/>
                    <a:pt x="738" y="357"/>
                  </a:cubicBezTo>
                  <a:cubicBezTo>
                    <a:pt x="737" y="357"/>
                    <a:pt x="736" y="358"/>
                    <a:pt x="734" y="358"/>
                  </a:cubicBezTo>
                  <a:cubicBezTo>
                    <a:pt x="734" y="358"/>
                    <a:pt x="734" y="358"/>
                    <a:pt x="734" y="358"/>
                  </a:cubicBezTo>
                  <a:cubicBezTo>
                    <a:pt x="732" y="357"/>
                    <a:pt x="729" y="357"/>
                    <a:pt x="728" y="357"/>
                  </a:cubicBezTo>
                  <a:cubicBezTo>
                    <a:pt x="727" y="357"/>
                    <a:pt x="726" y="357"/>
                    <a:pt x="726" y="356"/>
                  </a:cubicBezTo>
                  <a:cubicBezTo>
                    <a:pt x="726" y="356"/>
                    <a:pt x="725" y="356"/>
                    <a:pt x="724" y="356"/>
                  </a:cubicBezTo>
                  <a:cubicBezTo>
                    <a:pt x="724" y="355"/>
                    <a:pt x="724" y="355"/>
                    <a:pt x="724" y="355"/>
                  </a:cubicBezTo>
                  <a:cubicBezTo>
                    <a:pt x="720" y="359"/>
                    <a:pt x="720" y="359"/>
                    <a:pt x="720" y="359"/>
                  </a:cubicBezTo>
                  <a:cubicBezTo>
                    <a:pt x="722" y="354"/>
                    <a:pt x="722" y="354"/>
                    <a:pt x="722" y="354"/>
                  </a:cubicBezTo>
                  <a:cubicBezTo>
                    <a:pt x="722" y="354"/>
                    <a:pt x="722" y="354"/>
                    <a:pt x="721" y="353"/>
                  </a:cubicBezTo>
                  <a:cubicBezTo>
                    <a:pt x="721" y="353"/>
                    <a:pt x="721" y="353"/>
                    <a:pt x="721" y="353"/>
                  </a:cubicBezTo>
                  <a:cubicBezTo>
                    <a:pt x="717" y="355"/>
                    <a:pt x="717" y="355"/>
                    <a:pt x="717" y="355"/>
                  </a:cubicBezTo>
                  <a:cubicBezTo>
                    <a:pt x="720" y="352"/>
                    <a:pt x="720" y="352"/>
                    <a:pt x="720" y="352"/>
                  </a:cubicBezTo>
                  <a:cubicBezTo>
                    <a:pt x="720" y="351"/>
                    <a:pt x="720" y="351"/>
                    <a:pt x="720" y="351"/>
                  </a:cubicBezTo>
                  <a:cubicBezTo>
                    <a:pt x="719" y="351"/>
                    <a:pt x="719" y="351"/>
                    <a:pt x="719" y="351"/>
                  </a:cubicBezTo>
                  <a:cubicBezTo>
                    <a:pt x="718" y="351"/>
                    <a:pt x="716" y="351"/>
                    <a:pt x="715" y="352"/>
                  </a:cubicBezTo>
                  <a:cubicBezTo>
                    <a:pt x="714" y="352"/>
                    <a:pt x="714" y="352"/>
                    <a:pt x="714" y="352"/>
                  </a:cubicBezTo>
                  <a:cubicBezTo>
                    <a:pt x="713" y="352"/>
                    <a:pt x="713" y="352"/>
                    <a:pt x="712" y="352"/>
                  </a:cubicBezTo>
                  <a:cubicBezTo>
                    <a:pt x="711" y="352"/>
                    <a:pt x="710" y="352"/>
                    <a:pt x="709" y="352"/>
                  </a:cubicBezTo>
                  <a:cubicBezTo>
                    <a:pt x="707" y="352"/>
                    <a:pt x="706" y="352"/>
                    <a:pt x="704" y="352"/>
                  </a:cubicBezTo>
                  <a:cubicBezTo>
                    <a:pt x="701" y="351"/>
                    <a:pt x="698" y="350"/>
                    <a:pt x="695" y="349"/>
                  </a:cubicBezTo>
                  <a:cubicBezTo>
                    <a:pt x="692" y="347"/>
                    <a:pt x="689" y="346"/>
                    <a:pt x="686" y="346"/>
                  </a:cubicBezTo>
                  <a:cubicBezTo>
                    <a:pt x="683" y="345"/>
                    <a:pt x="680" y="344"/>
                    <a:pt x="675" y="343"/>
                  </a:cubicBezTo>
                  <a:cubicBezTo>
                    <a:pt x="664" y="340"/>
                    <a:pt x="664" y="340"/>
                    <a:pt x="664" y="340"/>
                  </a:cubicBezTo>
                  <a:cubicBezTo>
                    <a:pt x="664" y="340"/>
                    <a:pt x="663" y="340"/>
                    <a:pt x="663" y="340"/>
                  </a:cubicBezTo>
                  <a:cubicBezTo>
                    <a:pt x="662" y="339"/>
                    <a:pt x="662" y="339"/>
                    <a:pt x="662" y="339"/>
                  </a:cubicBezTo>
                  <a:cubicBezTo>
                    <a:pt x="662" y="339"/>
                    <a:pt x="661" y="338"/>
                    <a:pt x="661" y="337"/>
                  </a:cubicBezTo>
                  <a:cubicBezTo>
                    <a:pt x="660" y="336"/>
                    <a:pt x="660" y="335"/>
                    <a:pt x="659" y="334"/>
                  </a:cubicBezTo>
                  <a:cubicBezTo>
                    <a:pt x="658" y="334"/>
                    <a:pt x="658" y="334"/>
                    <a:pt x="658" y="334"/>
                  </a:cubicBezTo>
                  <a:cubicBezTo>
                    <a:pt x="658" y="334"/>
                    <a:pt x="656" y="333"/>
                    <a:pt x="655" y="333"/>
                  </a:cubicBezTo>
                  <a:cubicBezTo>
                    <a:pt x="654" y="333"/>
                    <a:pt x="653" y="333"/>
                    <a:pt x="653" y="333"/>
                  </a:cubicBezTo>
                  <a:cubicBezTo>
                    <a:pt x="620" y="327"/>
                    <a:pt x="620" y="327"/>
                    <a:pt x="620" y="327"/>
                  </a:cubicBezTo>
                  <a:cubicBezTo>
                    <a:pt x="620" y="327"/>
                    <a:pt x="619" y="327"/>
                    <a:pt x="619" y="327"/>
                  </a:cubicBezTo>
                  <a:cubicBezTo>
                    <a:pt x="618" y="327"/>
                    <a:pt x="618" y="327"/>
                    <a:pt x="618" y="327"/>
                  </a:cubicBezTo>
                  <a:cubicBezTo>
                    <a:pt x="617" y="327"/>
                    <a:pt x="616" y="327"/>
                    <a:pt x="615" y="328"/>
                  </a:cubicBezTo>
                  <a:cubicBezTo>
                    <a:pt x="614" y="328"/>
                    <a:pt x="614" y="328"/>
                    <a:pt x="614" y="328"/>
                  </a:cubicBezTo>
                  <a:cubicBezTo>
                    <a:pt x="613" y="329"/>
                    <a:pt x="611" y="329"/>
                    <a:pt x="610" y="330"/>
                  </a:cubicBezTo>
                  <a:cubicBezTo>
                    <a:pt x="610" y="330"/>
                    <a:pt x="610" y="330"/>
                    <a:pt x="610" y="330"/>
                  </a:cubicBezTo>
                  <a:cubicBezTo>
                    <a:pt x="609" y="330"/>
                    <a:pt x="609" y="330"/>
                    <a:pt x="608" y="330"/>
                  </a:cubicBezTo>
                  <a:cubicBezTo>
                    <a:pt x="607" y="330"/>
                    <a:pt x="607" y="330"/>
                    <a:pt x="607" y="330"/>
                  </a:cubicBezTo>
                  <a:cubicBezTo>
                    <a:pt x="597" y="329"/>
                    <a:pt x="587" y="329"/>
                    <a:pt x="577" y="328"/>
                  </a:cubicBezTo>
                  <a:cubicBezTo>
                    <a:pt x="576" y="328"/>
                    <a:pt x="575" y="328"/>
                    <a:pt x="574" y="328"/>
                  </a:cubicBezTo>
                  <a:cubicBezTo>
                    <a:pt x="570" y="327"/>
                    <a:pt x="570" y="327"/>
                    <a:pt x="570" y="327"/>
                  </a:cubicBezTo>
                  <a:cubicBezTo>
                    <a:pt x="568" y="327"/>
                    <a:pt x="567" y="327"/>
                    <a:pt x="566" y="327"/>
                  </a:cubicBezTo>
                  <a:cubicBezTo>
                    <a:pt x="561" y="326"/>
                    <a:pt x="561" y="326"/>
                    <a:pt x="561" y="326"/>
                  </a:cubicBezTo>
                  <a:cubicBezTo>
                    <a:pt x="557" y="325"/>
                    <a:pt x="554" y="324"/>
                    <a:pt x="550" y="324"/>
                  </a:cubicBezTo>
                  <a:cubicBezTo>
                    <a:pt x="549" y="324"/>
                    <a:pt x="548" y="324"/>
                    <a:pt x="547" y="325"/>
                  </a:cubicBezTo>
                  <a:cubicBezTo>
                    <a:pt x="545" y="325"/>
                    <a:pt x="543" y="325"/>
                    <a:pt x="540" y="325"/>
                  </a:cubicBezTo>
                  <a:cubicBezTo>
                    <a:pt x="529" y="326"/>
                    <a:pt x="529" y="326"/>
                    <a:pt x="529" y="326"/>
                  </a:cubicBezTo>
                  <a:cubicBezTo>
                    <a:pt x="530" y="323"/>
                    <a:pt x="530" y="323"/>
                    <a:pt x="530" y="323"/>
                  </a:cubicBezTo>
                  <a:cubicBezTo>
                    <a:pt x="530" y="323"/>
                    <a:pt x="530" y="323"/>
                    <a:pt x="530" y="323"/>
                  </a:cubicBezTo>
                  <a:cubicBezTo>
                    <a:pt x="530" y="322"/>
                    <a:pt x="530" y="322"/>
                    <a:pt x="530" y="322"/>
                  </a:cubicBezTo>
                  <a:cubicBezTo>
                    <a:pt x="529" y="321"/>
                    <a:pt x="529" y="321"/>
                    <a:pt x="529" y="321"/>
                  </a:cubicBezTo>
                  <a:cubicBezTo>
                    <a:pt x="529" y="321"/>
                    <a:pt x="529" y="321"/>
                    <a:pt x="529" y="321"/>
                  </a:cubicBezTo>
                  <a:cubicBezTo>
                    <a:pt x="529" y="320"/>
                    <a:pt x="529" y="320"/>
                    <a:pt x="529" y="320"/>
                  </a:cubicBezTo>
                  <a:cubicBezTo>
                    <a:pt x="528" y="320"/>
                    <a:pt x="528" y="320"/>
                    <a:pt x="528" y="320"/>
                  </a:cubicBezTo>
                  <a:cubicBezTo>
                    <a:pt x="528" y="319"/>
                    <a:pt x="528" y="319"/>
                    <a:pt x="528" y="319"/>
                  </a:cubicBezTo>
                  <a:cubicBezTo>
                    <a:pt x="527" y="318"/>
                    <a:pt x="526" y="318"/>
                    <a:pt x="526" y="317"/>
                  </a:cubicBezTo>
                  <a:cubicBezTo>
                    <a:pt x="525" y="317"/>
                    <a:pt x="525" y="317"/>
                    <a:pt x="525" y="317"/>
                  </a:cubicBezTo>
                  <a:cubicBezTo>
                    <a:pt x="522" y="314"/>
                    <a:pt x="520" y="311"/>
                    <a:pt x="518" y="307"/>
                  </a:cubicBezTo>
                  <a:cubicBezTo>
                    <a:pt x="513" y="294"/>
                    <a:pt x="513" y="294"/>
                    <a:pt x="513" y="294"/>
                  </a:cubicBezTo>
                  <a:cubicBezTo>
                    <a:pt x="513" y="294"/>
                    <a:pt x="512" y="293"/>
                    <a:pt x="512" y="293"/>
                  </a:cubicBezTo>
                  <a:cubicBezTo>
                    <a:pt x="511" y="290"/>
                    <a:pt x="511" y="290"/>
                    <a:pt x="511" y="290"/>
                  </a:cubicBezTo>
                  <a:cubicBezTo>
                    <a:pt x="511" y="290"/>
                    <a:pt x="511" y="290"/>
                    <a:pt x="511" y="290"/>
                  </a:cubicBezTo>
                  <a:cubicBezTo>
                    <a:pt x="511" y="290"/>
                    <a:pt x="511" y="290"/>
                    <a:pt x="511" y="290"/>
                  </a:cubicBezTo>
                  <a:cubicBezTo>
                    <a:pt x="511" y="290"/>
                    <a:pt x="511" y="290"/>
                    <a:pt x="511" y="290"/>
                  </a:cubicBezTo>
                  <a:cubicBezTo>
                    <a:pt x="510" y="290"/>
                    <a:pt x="510" y="290"/>
                    <a:pt x="510" y="290"/>
                  </a:cubicBezTo>
                  <a:cubicBezTo>
                    <a:pt x="509" y="289"/>
                    <a:pt x="509" y="289"/>
                    <a:pt x="509" y="289"/>
                  </a:cubicBezTo>
                  <a:cubicBezTo>
                    <a:pt x="509" y="289"/>
                    <a:pt x="509" y="289"/>
                    <a:pt x="509" y="289"/>
                  </a:cubicBezTo>
                  <a:cubicBezTo>
                    <a:pt x="509" y="289"/>
                    <a:pt x="509" y="289"/>
                    <a:pt x="509" y="289"/>
                  </a:cubicBezTo>
                  <a:cubicBezTo>
                    <a:pt x="507" y="288"/>
                    <a:pt x="506" y="287"/>
                    <a:pt x="506" y="286"/>
                  </a:cubicBezTo>
                  <a:cubicBezTo>
                    <a:pt x="506" y="285"/>
                    <a:pt x="506" y="285"/>
                    <a:pt x="506" y="285"/>
                  </a:cubicBezTo>
                  <a:cubicBezTo>
                    <a:pt x="506" y="284"/>
                    <a:pt x="506" y="282"/>
                    <a:pt x="506" y="282"/>
                  </a:cubicBezTo>
                  <a:cubicBezTo>
                    <a:pt x="505" y="282"/>
                    <a:pt x="504" y="282"/>
                    <a:pt x="503" y="282"/>
                  </a:cubicBezTo>
                  <a:cubicBezTo>
                    <a:pt x="502" y="282"/>
                    <a:pt x="500" y="281"/>
                    <a:pt x="498" y="281"/>
                  </a:cubicBezTo>
                  <a:cubicBezTo>
                    <a:pt x="493" y="279"/>
                    <a:pt x="489" y="276"/>
                    <a:pt x="485" y="274"/>
                  </a:cubicBezTo>
                  <a:cubicBezTo>
                    <a:pt x="484" y="273"/>
                    <a:pt x="484" y="273"/>
                    <a:pt x="484" y="273"/>
                  </a:cubicBezTo>
                  <a:cubicBezTo>
                    <a:pt x="483" y="273"/>
                    <a:pt x="483" y="272"/>
                    <a:pt x="482" y="272"/>
                  </a:cubicBezTo>
                  <a:cubicBezTo>
                    <a:pt x="466" y="262"/>
                    <a:pt x="466" y="262"/>
                    <a:pt x="466" y="262"/>
                  </a:cubicBezTo>
                  <a:cubicBezTo>
                    <a:pt x="464" y="261"/>
                    <a:pt x="463" y="261"/>
                    <a:pt x="461" y="261"/>
                  </a:cubicBezTo>
                  <a:cubicBezTo>
                    <a:pt x="460" y="261"/>
                    <a:pt x="460" y="261"/>
                    <a:pt x="460" y="261"/>
                  </a:cubicBezTo>
                  <a:cubicBezTo>
                    <a:pt x="459" y="261"/>
                    <a:pt x="458" y="261"/>
                    <a:pt x="457" y="261"/>
                  </a:cubicBezTo>
                  <a:cubicBezTo>
                    <a:pt x="448" y="260"/>
                    <a:pt x="439" y="259"/>
                    <a:pt x="431" y="258"/>
                  </a:cubicBezTo>
                  <a:cubicBezTo>
                    <a:pt x="428" y="258"/>
                    <a:pt x="428" y="258"/>
                    <a:pt x="428" y="258"/>
                  </a:cubicBezTo>
                  <a:cubicBezTo>
                    <a:pt x="424" y="258"/>
                    <a:pt x="420" y="257"/>
                    <a:pt x="416" y="257"/>
                  </a:cubicBezTo>
                  <a:cubicBezTo>
                    <a:pt x="412" y="256"/>
                    <a:pt x="409" y="256"/>
                    <a:pt x="406" y="255"/>
                  </a:cubicBezTo>
                  <a:cubicBezTo>
                    <a:pt x="405" y="255"/>
                    <a:pt x="405" y="255"/>
                    <a:pt x="405" y="255"/>
                  </a:cubicBezTo>
                  <a:cubicBezTo>
                    <a:pt x="404" y="255"/>
                    <a:pt x="404" y="255"/>
                    <a:pt x="404" y="255"/>
                  </a:cubicBezTo>
                  <a:cubicBezTo>
                    <a:pt x="402" y="254"/>
                    <a:pt x="402" y="253"/>
                    <a:pt x="401" y="252"/>
                  </a:cubicBezTo>
                  <a:cubicBezTo>
                    <a:pt x="400" y="251"/>
                    <a:pt x="398" y="248"/>
                    <a:pt x="397" y="246"/>
                  </a:cubicBezTo>
                  <a:cubicBezTo>
                    <a:pt x="395" y="242"/>
                    <a:pt x="397" y="239"/>
                    <a:pt x="399" y="236"/>
                  </a:cubicBezTo>
                  <a:cubicBezTo>
                    <a:pt x="399" y="236"/>
                    <a:pt x="399" y="236"/>
                    <a:pt x="399" y="236"/>
                  </a:cubicBezTo>
                  <a:cubicBezTo>
                    <a:pt x="399" y="236"/>
                    <a:pt x="400" y="235"/>
                    <a:pt x="400" y="234"/>
                  </a:cubicBezTo>
                  <a:cubicBezTo>
                    <a:pt x="400" y="234"/>
                    <a:pt x="401" y="234"/>
                    <a:pt x="401" y="233"/>
                  </a:cubicBezTo>
                  <a:cubicBezTo>
                    <a:pt x="401" y="232"/>
                    <a:pt x="401" y="232"/>
                    <a:pt x="401" y="232"/>
                  </a:cubicBezTo>
                  <a:cubicBezTo>
                    <a:pt x="402" y="231"/>
                    <a:pt x="402" y="230"/>
                    <a:pt x="403" y="229"/>
                  </a:cubicBezTo>
                  <a:cubicBezTo>
                    <a:pt x="403" y="229"/>
                    <a:pt x="403" y="229"/>
                    <a:pt x="403" y="229"/>
                  </a:cubicBezTo>
                  <a:cubicBezTo>
                    <a:pt x="403" y="228"/>
                    <a:pt x="404" y="228"/>
                    <a:pt x="404" y="227"/>
                  </a:cubicBezTo>
                  <a:cubicBezTo>
                    <a:pt x="404" y="227"/>
                    <a:pt x="404" y="226"/>
                    <a:pt x="404" y="226"/>
                  </a:cubicBezTo>
                  <a:cubicBezTo>
                    <a:pt x="404" y="225"/>
                    <a:pt x="404" y="225"/>
                    <a:pt x="404" y="225"/>
                  </a:cubicBezTo>
                  <a:cubicBezTo>
                    <a:pt x="404" y="225"/>
                    <a:pt x="404" y="225"/>
                    <a:pt x="404" y="225"/>
                  </a:cubicBezTo>
                  <a:cubicBezTo>
                    <a:pt x="404" y="221"/>
                    <a:pt x="403" y="218"/>
                    <a:pt x="404" y="214"/>
                  </a:cubicBezTo>
                  <a:cubicBezTo>
                    <a:pt x="404" y="212"/>
                    <a:pt x="404" y="212"/>
                    <a:pt x="404" y="212"/>
                  </a:cubicBezTo>
                  <a:cubicBezTo>
                    <a:pt x="404" y="211"/>
                    <a:pt x="404" y="209"/>
                    <a:pt x="404" y="209"/>
                  </a:cubicBezTo>
                  <a:cubicBezTo>
                    <a:pt x="403" y="208"/>
                    <a:pt x="403" y="208"/>
                    <a:pt x="403" y="208"/>
                  </a:cubicBezTo>
                  <a:cubicBezTo>
                    <a:pt x="402" y="205"/>
                    <a:pt x="400" y="203"/>
                    <a:pt x="399" y="201"/>
                  </a:cubicBezTo>
                  <a:cubicBezTo>
                    <a:pt x="395" y="195"/>
                    <a:pt x="395" y="195"/>
                    <a:pt x="395" y="195"/>
                  </a:cubicBezTo>
                  <a:cubicBezTo>
                    <a:pt x="394" y="193"/>
                    <a:pt x="392" y="191"/>
                    <a:pt x="391" y="189"/>
                  </a:cubicBezTo>
                  <a:cubicBezTo>
                    <a:pt x="391" y="188"/>
                    <a:pt x="391" y="188"/>
                    <a:pt x="391" y="187"/>
                  </a:cubicBezTo>
                  <a:cubicBezTo>
                    <a:pt x="391" y="187"/>
                    <a:pt x="391" y="187"/>
                    <a:pt x="391" y="187"/>
                  </a:cubicBezTo>
                  <a:cubicBezTo>
                    <a:pt x="390" y="185"/>
                    <a:pt x="390" y="182"/>
                    <a:pt x="389" y="181"/>
                  </a:cubicBezTo>
                  <a:cubicBezTo>
                    <a:pt x="388" y="181"/>
                    <a:pt x="387" y="180"/>
                    <a:pt x="387" y="180"/>
                  </a:cubicBezTo>
                  <a:cubicBezTo>
                    <a:pt x="385" y="178"/>
                    <a:pt x="384" y="177"/>
                    <a:pt x="383" y="177"/>
                  </a:cubicBezTo>
                  <a:cubicBezTo>
                    <a:pt x="382" y="177"/>
                    <a:pt x="382" y="177"/>
                    <a:pt x="382" y="177"/>
                  </a:cubicBezTo>
                  <a:cubicBezTo>
                    <a:pt x="382" y="177"/>
                    <a:pt x="381" y="177"/>
                    <a:pt x="381" y="177"/>
                  </a:cubicBezTo>
                  <a:cubicBezTo>
                    <a:pt x="377" y="177"/>
                    <a:pt x="374" y="175"/>
                    <a:pt x="371" y="172"/>
                  </a:cubicBezTo>
                  <a:cubicBezTo>
                    <a:pt x="370" y="172"/>
                    <a:pt x="370" y="172"/>
                    <a:pt x="370" y="172"/>
                  </a:cubicBezTo>
                  <a:cubicBezTo>
                    <a:pt x="370" y="172"/>
                    <a:pt x="370" y="171"/>
                    <a:pt x="369" y="171"/>
                  </a:cubicBezTo>
                  <a:cubicBezTo>
                    <a:pt x="369" y="171"/>
                    <a:pt x="368" y="172"/>
                    <a:pt x="367" y="172"/>
                  </a:cubicBezTo>
                  <a:cubicBezTo>
                    <a:pt x="367" y="172"/>
                    <a:pt x="365" y="172"/>
                    <a:pt x="364" y="172"/>
                  </a:cubicBezTo>
                  <a:cubicBezTo>
                    <a:pt x="363" y="172"/>
                    <a:pt x="363" y="172"/>
                    <a:pt x="363" y="172"/>
                  </a:cubicBezTo>
                  <a:cubicBezTo>
                    <a:pt x="362" y="172"/>
                    <a:pt x="361" y="172"/>
                    <a:pt x="360" y="172"/>
                  </a:cubicBezTo>
                  <a:cubicBezTo>
                    <a:pt x="360" y="171"/>
                    <a:pt x="359" y="171"/>
                    <a:pt x="358" y="171"/>
                  </a:cubicBezTo>
                  <a:cubicBezTo>
                    <a:pt x="358" y="171"/>
                    <a:pt x="357" y="170"/>
                    <a:pt x="357" y="170"/>
                  </a:cubicBezTo>
                  <a:cubicBezTo>
                    <a:pt x="356" y="170"/>
                    <a:pt x="356" y="170"/>
                    <a:pt x="356" y="170"/>
                  </a:cubicBezTo>
                  <a:cubicBezTo>
                    <a:pt x="352" y="167"/>
                    <a:pt x="350" y="166"/>
                    <a:pt x="348" y="161"/>
                  </a:cubicBezTo>
                  <a:cubicBezTo>
                    <a:pt x="347" y="160"/>
                    <a:pt x="344" y="159"/>
                    <a:pt x="342" y="158"/>
                  </a:cubicBezTo>
                  <a:cubicBezTo>
                    <a:pt x="341" y="157"/>
                    <a:pt x="341" y="157"/>
                    <a:pt x="340" y="157"/>
                  </a:cubicBezTo>
                  <a:cubicBezTo>
                    <a:pt x="338" y="156"/>
                    <a:pt x="338" y="156"/>
                    <a:pt x="338" y="156"/>
                  </a:cubicBezTo>
                  <a:cubicBezTo>
                    <a:pt x="338" y="156"/>
                    <a:pt x="337" y="156"/>
                    <a:pt x="337" y="156"/>
                  </a:cubicBezTo>
                  <a:cubicBezTo>
                    <a:pt x="336" y="156"/>
                    <a:pt x="336" y="156"/>
                    <a:pt x="336" y="155"/>
                  </a:cubicBezTo>
                  <a:cubicBezTo>
                    <a:pt x="334" y="155"/>
                    <a:pt x="333" y="154"/>
                    <a:pt x="333" y="153"/>
                  </a:cubicBezTo>
                  <a:cubicBezTo>
                    <a:pt x="332" y="152"/>
                    <a:pt x="333" y="150"/>
                    <a:pt x="333" y="149"/>
                  </a:cubicBezTo>
                  <a:cubicBezTo>
                    <a:pt x="333" y="149"/>
                    <a:pt x="333" y="149"/>
                    <a:pt x="333" y="149"/>
                  </a:cubicBezTo>
                  <a:cubicBezTo>
                    <a:pt x="332" y="149"/>
                    <a:pt x="331" y="148"/>
                    <a:pt x="330" y="147"/>
                  </a:cubicBezTo>
                  <a:cubicBezTo>
                    <a:pt x="329" y="147"/>
                    <a:pt x="329" y="146"/>
                    <a:pt x="328" y="145"/>
                  </a:cubicBezTo>
                  <a:cubicBezTo>
                    <a:pt x="327" y="143"/>
                    <a:pt x="328" y="142"/>
                    <a:pt x="328" y="140"/>
                  </a:cubicBezTo>
                  <a:cubicBezTo>
                    <a:pt x="320" y="138"/>
                    <a:pt x="320" y="138"/>
                    <a:pt x="320" y="138"/>
                  </a:cubicBezTo>
                  <a:cubicBezTo>
                    <a:pt x="319" y="138"/>
                    <a:pt x="319" y="138"/>
                    <a:pt x="319" y="138"/>
                  </a:cubicBezTo>
                  <a:cubicBezTo>
                    <a:pt x="319" y="138"/>
                    <a:pt x="319" y="138"/>
                    <a:pt x="319" y="138"/>
                  </a:cubicBezTo>
                  <a:cubicBezTo>
                    <a:pt x="319" y="138"/>
                    <a:pt x="319" y="138"/>
                    <a:pt x="319" y="138"/>
                  </a:cubicBezTo>
                  <a:cubicBezTo>
                    <a:pt x="318" y="138"/>
                    <a:pt x="318" y="138"/>
                    <a:pt x="317" y="138"/>
                  </a:cubicBezTo>
                  <a:cubicBezTo>
                    <a:pt x="316" y="138"/>
                    <a:pt x="316" y="138"/>
                    <a:pt x="316" y="138"/>
                  </a:cubicBezTo>
                  <a:cubicBezTo>
                    <a:pt x="315" y="138"/>
                    <a:pt x="315" y="138"/>
                    <a:pt x="314" y="138"/>
                  </a:cubicBezTo>
                  <a:cubicBezTo>
                    <a:pt x="314" y="138"/>
                    <a:pt x="314" y="138"/>
                    <a:pt x="314" y="138"/>
                  </a:cubicBezTo>
                  <a:cubicBezTo>
                    <a:pt x="313" y="138"/>
                    <a:pt x="313" y="138"/>
                    <a:pt x="313" y="138"/>
                  </a:cubicBezTo>
                  <a:cubicBezTo>
                    <a:pt x="312" y="138"/>
                    <a:pt x="312" y="138"/>
                    <a:pt x="312" y="138"/>
                  </a:cubicBezTo>
                  <a:cubicBezTo>
                    <a:pt x="312" y="138"/>
                    <a:pt x="311" y="138"/>
                    <a:pt x="311" y="138"/>
                  </a:cubicBezTo>
                  <a:cubicBezTo>
                    <a:pt x="311" y="139"/>
                    <a:pt x="311" y="139"/>
                    <a:pt x="311" y="139"/>
                  </a:cubicBezTo>
                  <a:cubicBezTo>
                    <a:pt x="311" y="139"/>
                    <a:pt x="310" y="139"/>
                    <a:pt x="310" y="141"/>
                  </a:cubicBezTo>
                  <a:cubicBezTo>
                    <a:pt x="310" y="141"/>
                    <a:pt x="310" y="142"/>
                    <a:pt x="310" y="142"/>
                  </a:cubicBezTo>
                  <a:cubicBezTo>
                    <a:pt x="310" y="142"/>
                    <a:pt x="311" y="143"/>
                    <a:pt x="311" y="144"/>
                  </a:cubicBezTo>
                  <a:cubicBezTo>
                    <a:pt x="311" y="147"/>
                    <a:pt x="311" y="147"/>
                    <a:pt x="311" y="147"/>
                  </a:cubicBezTo>
                  <a:cubicBezTo>
                    <a:pt x="310" y="147"/>
                    <a:pt x="310" y="147"/>
                    <a:pt x="310" y="147"/>
                  </a:cubicBezTo>
                  <a:cubicBezTo>
                    <a:pt x="310" y="147"/>
                    <a:pt x="310" y="147"/>
                    <a:pt x="310" y="147"/>
                  </a:cubicBezTo>
                  <a:cubicBezTo>
                    <a:pt x="310" y="148"/>
                    <a:pt x="310" y="148"/>
                    <a:pt x="310" y="148"/>
                  </a:cubicBezTo>
                  <a:cubicBezTo>
                    <a:pt x="310" y="148"/>
                    <a:pt x="310" y="148"/>
                    <a:pt x="310" y="148"/>
                  </a:cubicBezTo>
                  <a:cubicBezTo>
                    <a:pt x="309" y="150"/>
                    <a:pt x="306" y="155"/>
                    <a:pt x="302" y="156"/>
                  </a:cubicBezTo>
                  <a:cubicBezTo>
                    <a:pt x="298" y="158"/>
                    <a:pt x="294" y="159"/>
                    <a:pt x="290" y="159"/>
                  </a:cubicBezTo>
                  <a:cubicBezTo>
                    <a:pt x="290" y="159"/>
                    <a:pt x="289" y="159"/>
                    <a:pt x="289" y="159"/>
                  </a:cubicBezTo>
                  <a:cubicBezTo>
                    <a:pt x="288" y="159"/>
                    <a:pt x="286" y="159"/>
                    <a:pt x="286" y="159"/>
                  </a:cubicBezTo>
                  <a:cubicBezTo>
                    <a:pt x="285" y="160"/>
                    <a:pt x="281" y="167"/>
                    <a:pt x="281" y="169"/>
                  </a:cubicBezTo>
                  <a:cubicBezTo>
                    <a:pt x="282" y="172"/>
                    <a:pt x="282" y="174"/>
                    <a:pt x="283" y="177"/>
                  </a:cubicBezTo>
                  <a:cubicBezTo>
                    <a:pt x="283" y="177"/>
                    <a:pt x="283" y="177"/>
                    <a:pt x="283" y="177"/>
                  </a:cubicBezTo>
                  <a:cubicBezTo>
                    <a:pt x="283" y="181"/>
                    <a:pt x="284" y="184"/>
                    <a:pt x="284" y="187"/>
                  </a:cubicBezTo>
                  <a:cubicBezTo>
                    <a:pt x="285" y="195"/>
                    <a:pt x="279" y="198"/>
                    <a:pt x="274" y="201"/>
                  </a:cubicBezTo>
                  <a:cubicBezTo>
                    <a:pt x="272" y="201"/>
                    <a:pt x="272" y="201"/>
                    <a:pt x="272" y="201"/>
                  </a:cubicBezTo>
                  <a:cubicBezTo>
                    <a:pt x="269" y="203"/>
                    <a:pt x="266" y="204"/>
                    <a:pt x="263" y="204"/>
                  </a:cubicBezTo>
                  <a:cubicBezTo>
                    <a:pt x="262" y="204"/>
                    <a:pt x="260" y="204"/>
                    <a:pt x="258" y="203"/>
                  </a:cubicBezTo>
                  <a:cubicBezTo>
                    <a:pt x="256" y="202"/>
                    <a:pt x="252" y="202"/>
                    <a:pt x="249" y="202"/>
                  </a:cubicBezTo>
                  <a:cubicBezTo>
                    <a:pt x="248" y="202"/>
                    <a:pt x="247" y="202"/>
                    <a:pt x="246" y="202"/>
                  </a:cubicBezTo>
                  <a:cubicBezTo>
                    <a:pt x="245" y="203"/>
                    <a:pt x="244" y="203"/>
                    <a:pt x="242" y="203"/>
                  </a:cubicBezTo>
                  <a:cubicBezTo>
                    <a:pt x="236" y="203"/>
                    <a:pt x="228" y="199"/>
                    <a:pt x="228" y="198"/>
                  </a:cubicBezTo>
                  <a:cubicBezTo>
                    <a:pt x="227" y="198"/>
                    <a:pt x="227" y="198"/>
                    <a:pt x="227" y="198"/>
                  </a:cubicBezTo>
                  <a:cubicBezTo>
                    <a:pt x="225" y="197"/>
                    <a:pt x="223" y="196"/>
                    <a:pt x="221" y="195"/>
                  </a:cubicBezTo>
                  <a:cubicBezTo>
                    <a:pt x="221" y="195"/>
                    <a:pt x="221" y="195"/>
                    <a:pt x="221" y="195"/>
                  </a:cubicBezTo>
                  <a:cubicBezTo>
                    <a:pt x="221" y="196"/>
                    <a:pt x="221" y="196"/>
                    <a:pt x="221" y="196"/>
                  </a:cubicBezTo>
                  <a:cubicBezTo>
                    <a:pt x="205" y="240"/>
                    <a:pt x="205" y="240"/>
                    <a:pt x="205" y="240"/>
                  </a:cubicBezTo>
                  <a:cubicBezTo>
                    <a:pt x="206" y="241"/>
                    <a:pt x="206" y="241"/>
                    <a:pt x="206" y="241"/>
                  </a:cubicBezTo>
                  <a:cubicBezTo>
                    <a:pt x="208" y="241"/>
                    <a:pt x="210" y="241"/>
                    <a:pt x="211" y="243"/>
                  </a:cubicBezTo>
                  <a:cubicBezTo>
                    <a:pt x="213" y="245"/>
                    <a:pt x="212" y="248"/>
                    <a:pt x="212" y="250"/>
                  </a:cubicBezTo>
                  <a:cubicBezTo>
                    <a:pt x="212" y="251"/>
                    <a:pt x="212" y="251"/>
                    <a:pt x="212" y="252"/>
                  </a:cubicBezTo>
                  <a:cubicBezTo>
                    <a:pt x="212" y="254"/>
                    <a:pt x="209" y="255"/>
                    <a:pt x="204" y="255"/>
                  </a:cubicBezTo>
                  <a:cubicBezTo>
                    <a:pt x="203" y="255"/>
                    <a:pt x="202" y="255"/>
                    <a:pt x="200" y="255"/>
                  </a:cubicBezTo>
                  <a:cubicBezTo>
                    <a:pt x="199" y="255"/>
                    <a:pt x="199" y="255"/>
                    <a:pt x="199" y="255"/>
                  </a:cubicBezTo>
                  <a:cubicBezTo>
                    <a:pt x="199" y="255"/>
                    <a:pt x="198" y="255"/>
                    <a:pt x="197" y="255"/>
                  </a:cubicBezTo>
                  <a:cubicBezTo>
                    <a:pt x="196" y="255"/>
                    <a:pt x="195" y="255"/>
                    <a:pt x="194" y="255"/>
                  </a:cubicBezTo>
                  <a:cubicBezTo>
                    <a:pt x="192" y="255"/>
                    <a:pt x="189" y="255"/>
                    <a:pt x="188" y="253"/>
                  </a:cubicBezTo>
                  <a:cubicBezTo>
                    <a:pt x="187" y="252"/>
                    <a:pt x="187" y="251"/>
                    <a:pt x="187" y="250"/>
                  </a:cubicBezTo>
                  <a:cubicBezTo>
                    <a:pt x="186" y="250"/>
                    <a:pt x="185" y="251"/>
                    <a:pt x="184" y="251"/>
                  </a:cubicBezTo>
                  <a:cubicBezTo>
                    <a:pt x="183" y="252"/>
                    <a:pt x="182" y="252"/>
                    <a:pt x="182" y="252"/>
                  </a:cubicBezTo>
                  <a:cubicBezTo>
                    <a:pt x="168" y="256"/>
                    <a:pt x="168" y="256"/>
                    <a:pt x="168" y="256"/>
                  </a:cubicBezTo>
                  <a:cubicBezTo>
                    <a:pt x="163" y="257"/>
                    <a:pt x="158" y="258"/>
                    <a:pt x="153" y="260"/>
                  </a:cubicBezTo>
                  <a:cubicBezTo>
                    <a:pt x="152" y="260"/>
                    <a:pt x="152" y="260"/>
                    <a:pt x="152" y="260"/>
                  </a:cubicBezTo>
                  <a:cubicBezTo>
                    <a:pt x="151" y="260"/>
                    <a:pt x="150" y="260"/>
                    <a:pt x="149" y="261"/>
                  </a:cubicBezTo>
                  <a:cubicBezTo>
                    <a:pt x="149" y="261"/>
                    <a:pt x="149" y="261"/>
                    <a:pt x="149" y="261"/>
                  </a:cubicBezTo>
                  <a:cubicBezTo>
                    <a:pt x="150" y="260"/>
                    <a:pt x="151" y="260"/>
                    <a:pt x="152" y="260"/>
                  </a:cubicBezTo>
                  <a:cubicBezTo>
                    <a:pt x="155" y="260"/>
                    <a:pt x="159" y="262"/>
                    <a:pt x="161" y="263"/>
                  </a:cubicBezTo>
                  <a:cubicBezTo>
                    <a:pt x="164" y="265"/>
                    <a:pt x="164" y="265"/>
                    <a:pt x="164" y="265"/>
                  </a:cubicBezTo>
                  <a:cubicBezTo>
                    <a:pt x="161" y="267"/>
                    <a:pt x="161" y="267"/>
                    <a:pt x="161" y="267"/>
                  </a:cubicBezTo>
                  <a:cubicBezTo>
                    <a:pt x="161" y="268"/>
                    <a:pt x="160" y="269"/>
                    <a:pt x="160" y="269"/>
                  </a:cubicBezTo>
                  <a:cubicBezTo>
                    <a:pt x="159" y="270"/>
                    <a:pt x="159" y="270"/>
                    <a:pt x="159" y="270"/>
                  </a:cubicBezTo>
                  <a:cubicBezTo>
                    <a:pt x="158" y="272"/>
                    <a:pt x="159" y="275"/>
                    <a:pt x="159" y="277"/>
                  </a:cubicBezTo>
                  <a:cubicBezTo>
                    <a:pt x="159" y="279"/>
                    <a:pt x="159" y="279"/>
                    <a:pt x="159" y="279"/>
                  </a:cubicBezTo>
                  <a:cubicBezTo>
                    <a:pt x="160" y="282"/>
                    <a:pt x="160" y="285"/>
                    <a:pt x="162" y="288"/>
                  </a:cubicBezTo>
                  <a:cubicBezTo>
                    <a:pt x="162" y="289"/>
                    <a:pt x="163" y="290"/>
                    <a:pt x="163" y="292"/>
                  </a:cubicBezTo>
                  <a:cubicBezTo>
                    <a:pt x="163" y="292"/>
                    <a:pt x="163" y="292"/>
                    <a:pt x="163" y="292"/>
                  </a:cubicBezTo>
                  <a:cubicBezTo>
                    <a:pt x="164" y="294"/>
                    <a:pt x="165" y="296"/>
                    <a:pt x="166" y="297"/>
                  </a:cubicBezTo>
                  <a:cubicBezTo>
                    <a:pt x="167" y="299"/>
                    <a:pt x="167" y="300"/>
                    <a:pt x="167" y="301"/>
                  </a:cubicBezTo>
                  <a:cubicBezTo>
                    <a:pt x="168" y="302"/>
                    <a:pt x="168" y="302"/>
                    <a:pt x="168" y="302"/>
                  </a:cubicBezTo>
                  <a:cubicBezTo>
                    <a:pt x="168" y="302"/>
                    <a:pt x="168" y="303"/>
                    <a:pt x="168" y="303"/>
                  </a:cubicBezTo>
                  <a:cubicBezTo>
                    <a:pt x="170" y="311"/>
                    <a:pt x="170" y="311"/>
                    <a:pt x="169" y="312"/>
                  </a:cubicBezTo>
                  <a:cubicBezTo>
                    <a:pt x="168" y="314"/>
                    <a:pt x="166" y="314"/>
                    <a:pt x="163" y="315"/>
                  </a:cubicBezTo>
                  <a:cubicBezTo>
                    <a:pt x="162" y="315"/>
                    <a:pt x="162" y="315"/>
                    <a:pt x="161" y="315"/>
                  </a:cubicBezTo>
                  <a:cubicBezTo>
                    <a:pt x="162" y="316"/>
                    <a:pt x="164" y="317"/>
                    <a:pt x="163" y="319"/>
                  </a:cubicBezTo>
                  <a:cubicBezTo>
                    <a:pt x="163" y="321"/>
                    <a:pt x="160" y="322"/>
                    <a:pt x="157" y="323"/>
                  </a:cubicBezTo>
                  <a:cubicBezTo>
                    <a:pt x="156" y="323"/>
                    <a:pt x="156" y="323"/>
                    <a:pt x="155" y="323"/>
                  </a:cubicBezTo>
                  <a:cubicBezTo>
                    <a:pt x="155" y="325"/>
                    <a:pt x="155" y="326"/>
                    <a:pt x="155" y="328"/>
                  </a:cubicBezTo>
                  <a:cubicBezTo>
                    <a:pt x="155" y="329"/>
                    <a:pt x="155" y="329"/>
                    <a:pt x="155" y="329"/>
                  </a:cubicBezTo>
                  <a:cubicBezTo>
                    <a:pt x="156" y="332"/>
                    <a:pt x="157" y="334"/>
                    <a:pt x="156" y="338"/>
                  </a:cubicBezTo>
                  <a:cubicBezTo>
                    <a:pt x="156" y="338"/>
                    <a:pt x="156" y="338"/>
                    <a:pt x="156" y="338"/>
                  </a:cubicBezTo>
                  <a:cubicBezTo>
                    <a:pt x="156" y="339"/>
                    <a:pt x="156" y="339"/>
                    <a:pt x="156" y="339"/>
                  </a:cubicBezTo>
                  <a:cubicBezTo>
                    <a:pt x="156" y="340"/>
                    <a:pt x="156" y="340"/>
                    <a:pt x="156" y="340"/>
                  </a:cubicBezTo>
                  <a:cubicBezTo>
                    <a:pt x="157" y="342"/>
                    <a:pt x="156" y="343"/>
                    <a:pt x="155" y="344"/>
                  </a:cubicBezTo>
                  <a:cubicBezTo>
                    <a:pt x="155" y="347"/>
                    <a:pt x="155" y="347"/>
                    <a:pt x="155" y="347"/>
                  </a:cubicBezTo>
                  <a:cubicBezTo>
                    <a:pt x="154" y="345"/>
                    <a:pt x="154" y="345"/>
                    <a:pt x="154" y="345"/>
                  </a:cubicBezTo>
                  <a:cubicBezTo>
                    <a:pt x="153" y="346"/>
                    <a:pt x="152" y="346"/>
                    <a:pt x="151" y="346"/>
                  </a:cubicBezTo>
                  <a:cubicBezTo>
                    <a:pt x="147" y="348"/>
                    <a:pt x="147" y="348"/>
                    <a:pt x="147" y="348"/>
                  </a:cubicBezTo>
                  <a:cubicBezTo>
                    <a:pt x="142" y="350"/>
                    <a:pt x="137" y="351"/>
                    <a:pt x="133" y="353"/>
                  </a:cubicBezTo>
                  <a:cubicBezTo>
                    <a:pt x="132" y="354"/>
                    <a:pt x="130" y="354"/>
                    <a:pt x="129" y="355"/>
                  </a:cubicBezTo>
                  <a:cubicBezTo>
                    <a:pt x="128" y="355"/>
                    <a:pt x="128" y="355"/>
                    <a:pt x="128" y="355"/>
                  </a:cubicBezTo>
                  <a:cubicBezTo>
                    <a:pt x="125" y="356"/>
                    <a:pt x="122" y="357"/>
                    <a:pt x="119" y="359"/>
                  </a:cubicBezTo>
                  <a:cubicBezTo>
                    <a:pt x="118" y="359"/>
                    <a:pt x="118" y="359"/>
                    <a:pt x="118" y="359"/>
                  </a:cubicBezTo>
                  <a:cubicBezTo>
                    <a:pt x="117" y="360"/>
                    <a:pt x="116" y="361"/>
                    <a:pt x="114" y="363"/>
                  </a:cubicBezTo>
                  <a:cubicBezTo>
                    <a:pt x="114" y="363"/>
                    <a:pt x="114" y="363"/>
                    <a:pt x="114" y="363"/>
                  </a:cubicBezTo>
                  <a:cubicBezTo>
                    <a:pt x="113" y="364"/>
                    <a:pt x="113" y="364"/>
                    <a:pt x="113" y="365"/>
                  </a:cubicBezTo>
                  <a:cubicBezTo>
                    <a:pt x="112" y="366"/>
                    <a:pt x="112" y="366"/>
                    <a:pt x="112" y="366"/>
                  </a:cubicBezTo>
                  <a:cubicBezTo>
                    <a:pt x="111" y="367"/>
                    <a:pt x="111" y="367"/>
                    <a:pt x="111" y="367"/>
                  </a:cubicBezTo>
                  <a:cubicBezTo>
                    <a:pt x="110" y="367"/>
                    <a:pt x="110" y="368"/>
                    <a:pt x="109" y="368"/>
                  </a:cubicBezTo>
                  <a:cubicBezTo>
                    <a:pt x="108" y="369"/>
                    <a:pt x="108" y="369"/>
                    <a:pt x="107" y="370"/>
                  </a:cubicBezTo>
                  <a:cubicBezTo>
                    <a:pt x="106" y="370"/>
                    <a:pt x="106" y="370"/>
                    <a:pt x="105" y="370"/>
                  </a:cubicBezTo>
                  <a:cubicBezTo>
                    <a:pt x="99" y="371"/>
                    <a:pt x="99" y="371"/>
                    <a:pt x="99" y="371"/>
                  </a:cubicBezTo>
                  <a:cubicBezTo>
                    <a:pt x="97" y="371"/>
                    <a:pt x="94" y="371"/>
                    <a:pt x="92" y="372"/>
                  </a:cubicBezTo>
                  <a:cubicBezTo>
                    <a:pt x="91" y="372"/>
                    <a:pt x="91" y="372"/>
                    <a:pt x="91" y="372"/>
                  </a:cubicBezTo>
                  <a:cubicBezTo>
                    <a:pt x="89" y="372"/>
                    <a:pt x="88" y="372"/>
                    <a:pt x="86" y="372"/>
                  </a:cubicBezTo>
                  <a:cubicBezTo>
                    <a:pt x="83" y="372"/>
                    <a:pt x="80" y="373"/>
                    <a:pt x="78" y="373"/>
                  </a:cubicBezTo>
                  <a:cubicBezTo>
                    <a:pt x="77" y="374"/>
                    <a:pt x="76" y="375"/>
                    <a:pt x="75" y="377"/>
                  </a:cubicBezTo>
                  <a:cubicBezTo>
                    <a:pt x="74" y="377"/>
                    <a:pt x="74" y="377"/>
                    <a:pt x="74" y="377"/>
                  </a:cubicBezTo>
                  <a:cubicBezTo>
                    <a:pt x="74" y="378"/>
                    <a:pt x="74" y="378"/>
                    <a:pt x="73" y="379"/>
                  </a:cubicBezTo>
                  <a:cubicBezTo>
                    <a:pt x="72" y="379"/>
                    <a:pt x="72" y="379"/>
                    <a:pt x="72" y="379"/>
                  </a:cubicBezTo>
                  <a:cubicBezTo>
                    <a:pt x="72" y="380"/>
                    <a:pt x="71" y="380"/>
                    <a:pt x="71" y="380"/>
                  </a:cubicBezTo>
                  <a:cubicBezTo>
                    <a:pt x="71" y="380"/>
                    <a:pt x="71" y="380"/>
                    <a:pt x="71" y="380"/>
                  </a:cubicBezTo>
                  <a:cubicBezTo>
                    <a:pt x="71" y="381"/>
                    <a:pt x="71" y="381"/>
                    <a:pt x="71" y="381"/>
                  </a:cubicBezTo>
                  <a:cubicBezTo>
                    <a:pt x="71" y="382"/>
                    <a:pt x="71" y="382"/>
                    <a:pt x="71" y="383"/>
                  </a:cubicBezTo>
                  <a:cubicBezTo>
                    <a:pt x="70" y="385"/>
                    <a:pt x="70" y="386"/>
                    <a:pt x="69" y="387"/>
                  </a:cubicBezTo>
                  <a:cubicBezTo>
                    <a:pt x="68" y="389"/>
                    <a:pt x="67" y="390"/>
                    <a:pt x="66" y="390"/>
                  </a:cubicBezTo>
                  <a:cubicBezTo>
                    <a:pt x="65" y="391"/>
                    <a:pt x="64" y="392"/>
                    <a:pt x="64" y="392"/>
                  </a:cubicBezTo>
                  <a:cubicBezTo>
                    <a:pt x="63" y="392"/>
                    <a:pt x="63" y="392"/>
                    <a:pt x="63" y="392"/>
                  </a:cubicBezTo>
                  <a:cubicBezTo>
                    <a:pt x="62" y="392"/>
                    <a:pt x="62" y="392"/>
                    <a:pt x="62" y="392"/>
                  </a:cubicBezTo>
                  <a:cubicBezTo>
                    <a:pt x="62" y="392"/>
                    <a:pt x="62" y="392"/>
                    <a:pt x="62" y="392"/>
                  </a:cubicBezTo>
                  <a:cubicBezTo>
                    <a:pt x="61" y="392"/>
                    <a:pt x="60" y="392"/>
                    <a:pt x="60" y="392"/>
                  </a:cubicBezTo>
                  <a:cubicBezTo>
                    <a:pt x="59" y="392"/>
                    <a:pt x="59" y="391"/>
                    <a:pt x="58" y="391"/>
                  </a:cubicBezTo>
                  <a:cubicBezTo>
                    <a:pt x="58" y="391"/>
                    <a:pt x="58" y="391"/>
                    <a:pt x="58" y="391"/>
                  </a:cubicBezTo>
                  <a:cubicBezTo>
                    <a:pt x="57" y="391"/>
                    <a:pt x="57" y="392"/>
                    <a:pt x="57" y="392"/>
                  </a:cubicBezTo>
                  <a:cubicBezTo>
                    <a:pt x="56" y="392"/>
                    <a:pt x="56" y="392"/>
                    <a:pt x="56" y="392"/>
                  </a:cubicBezTo>
                  <a:cubicBezTo>
                    <a:pt x="55" y="392"/>
                    <a:pt x="55" y="392"/>
                    <a:pt x="55" y="392"/>
                  </a:cubicBezTo>
                  <a:cubicBezTo>
                    <a:pt x="54" y="392"/>
                    <a:pt x="54" y="392"/>
                    <a:pt x="54" y="392"/>
                  </a:cubicBezTo>
                  <a:cubicBezTo>
                    <a:pt x="54" y="391"/>
                    <a:pt x="54" y="391"/>
                    <a:pt x="54" y="391"/>
                  </a:cubicBezTo>
                  <a:cubicBezTo>
                    <a:pt x="54" y="391"/>
                    <a:pt x="54" y="391"/>
                    <a:pt x="54" y="391"/>
                  </a:cubicBezTo>
                  <a:cubicBezTo>
                    <a:pt x="55" y="392"/>
                    <a:pt x="55" y="392"/>
                    <a:pt x="55" y="392"/>
                  </a:cubicBezTo>
                  <a:cubicBezTo>
                    <a:pt x="53" y="393"/>
                    <a:pt x="53" y="393"/>
                    <a:pt x="53" y="393"/>
                  </a:cubicBezTo>
                  <a:cubicBezTo>
                    <a:pt x="53" y="394"/>
                    <a:pt x="52" y="394"/>
                    <a:pt x="51" y="394"/>
                  </a:cubicBezTo>
                  <a:cubicBezTo>
                    <a:pt x="51" y="394"/>
                    <a:pt x="50" y="394"/>
                    <a:pt x="49" y="394"/>
                  </a:cubicBezTo>
                  <a:cubicBezTo>
                    <a:pt x="47" y="394"/>
                    <a:pt x="45" y="393"/>
                    <a:pt x="43" y="390"/>
                  </a:cubicBezTo>
                  <a:cubicBezTo>
                    <a:pt x="43" y="389"/>
                    <a:pt x="43" y="389"/>
                    <a:pt x="43" y="388"/>
                  </a:cubicBezTo>
                  <a:cubicBezTo>
                    <a:pt x="42" y="387"/>
                    <a:pt x="42" y="387"/>
                    <a:pt x="42" y="386"/>
                  </a:cubicBezTo>
                  <a:cubicBezTo>
                    <a:pt x="41" y="386"/>
                    <a:pt x="41" y="386"/>
                    <a:pt x="41" y="386"/>
                  </a:cubicBezTo>
                  <a:cubicBezTo>
                    <a:pt x="41" y="387"/>
                    <a:pt x="40" y="387"/>
                    <a:pt x="40" y="387"/>
                  </a:cubicBezTo>
                  <a:cubicBezTo>
                    <a:pt x="38" y="389"/>
                    <a:pt x="35" y="390"/>
                    <a:pt x="33" y="390"/>
                  </a:cubicBezTo>
                  <a:cubicBezTo>
                    <a:pt x="32" y="390"/>
                    <a:pt x="31" y="390"/>
                    <a:pt x="30" y="389"/>
                  </a:cubicBezTo>
                  <a:cubicBezTo>
                    <a:pt x="30" y="390"/>
                    <a:pt x="30" y="391"/>
                    <a:pt x="29" y="392"/>
                  </a:cubicBezTo>
                  <a:cubicBezTo>
                    <a:pt x="29" y="393"/>
                    <a:pt x="29" y="393"/>
                    <a:pt x="28" y="393"/>
                  </a:cubicBezTo>
                  <a:cubicBezTo>
                    <a:pt x="26" y="395"/>
                    <a:pt x="22" y="396"/>
                    <a:pt x="18" y="397"/>
                  </a:cubicBezTo>
                  <a:cubicBezTo>
                    <a:pt x="17" y="397"/>
                    <a:pt x="17" y="397"/>
                    <a:pt x="17" y="397"/>
                  </a:cubicBezTo>
                  <a:cubicBezTo>
                    <a:pt x="16" y="398"/>
                    <a:pt x="16" y="398"/>
                    <a:pt x="16" y="398"/>
                  </a:cubicBezTo>
                  <a:cubicBezTo>
                    <a:pt x="9" y="400"/>
                    <a:pt x="9" y="400"/>
                    <a:pt x="9" y="400"/>
                  </a:cubicBezTo>
                  <a:cubicBezTo>
                    <a:pt x="9" y="400"/>
                    <a:pt x="9" y="401"/>
                    <a:pt x="9" y="402"/>
                  </a:cubicBezTo>
                  <a:cubicBezTo>
                    <a:pt x="9" y="403"/>
                    <a:pt x="9" y="403"/>
                    <a:pt x="9" y="404"/>
                  </a:cubicBezTo>
                  <a:cubicBezTo>
                    <a:pt x="8" y="405"/>
                    <a:pt x="8" y="405"/>
                    <a:pt x="8" y="405"/>
                  </a:cubicBezTo>
                  <a:cubicBezTo>
                    <a:pt x="8" y="405"/>
                    <a:pt x="8" y="405"/>
                    <a:pt x="8" y="405"/>
                  </a:cubicBezTo>
                  <a:cubicBezTo>
                    <a:pt x="7" y="410"/>
                    <a:pt x="7" y="410"/>
                    <a:pt x="7" y="410"/>
                  </a:cubicBezTo>
                  <a:cubicBezTo>
                    <a:pt x="7" y="411"/>
                    <a:pt x="7" y="413"/>
                    <a:pt x="6" y="413"/>
                  </a:cubicBezTo>
                  <a:cubicBezTo>
                    <a:pt x="5" y="414"/>
                    <a:pt x="5" y="414"/>
                    <a:pt x="4" y="415"/>
                  </a:cubicBezTo>
                  <a:cubicBezTo>
                    <a:pt x="3" y="415"/>
                    <a:pt x="3" y="415"/>
                    <a:pt x="3" y="415"/>
                  </a:cubicBezTo>
                  <a:cubicBezTo>
                    <a:pt x="3" y="416"/>
                    <a:pt x="2" y="416"/>
                    <a:pt x="2" y="416"/>
                  </a:cubicBezTo>
                  <a:cubicBezTo>
                    <a:pt x="1" y="416"/>
                    <a:pt x="1" y="416"/>
                    <a:pt x="1" y="416"/>
                  </a:cubicBezTo>
                  <a:cubicBezTo>
                    <a:pt x="1" y="416"/>
                    <a:pt x="1" y="416"/>
                    <a:pt x="1" y="416"/>
                  </a:cubicBezTo>
                  <a:cubicBezTo>
                    <a:pt x="0" y="421"/>
                    <a:pt x="0" y="421"/>
                    <a:pt x="0" y="421"/>
                  </a:cubicBezTo>
                  <a:cubicBezTo>
                    <a:pt x="1" y="422"/>
                    <a:pt x="1" y="422"/>
                    <a:pt x="1" y="422"/>
                  </a:cubicBezTo>
                  <a:cubicBezTo>
                    <a:pt x="1" y="422"/>
                    <a:pt x="1" y="422"/>
                    <a:pt x="1" y="422"/>
                  </a:cubicBezTo>
                  <a:cubicBezTo>
                    <a:pt x="2" y="422"/>
                    <a:pt x="2" y="422"/>
                    <a:pt x="2" y="422"/>
                  </a:cubicBezTo>
                  <a:cubicBezTo>
                    <a:pt x="2" y="423"/>
                    <a:pt x="2" y="423"/>
                    <a:pt x="2" y="423"/>
                  </a:cubicBezTo>
                  <a:cubicBezTo>
                    <a:pt x="2" y="423"/>
                    <a:pt x="2" y="423"/>
                    <a:pt x="2" y="423"/>
                  </a:cubicBezTo>
                  <a:cubicBezTo>
                    <a:pt x="3" y="424"/>
                    <a:pt x="3" y="424"/>
                    <a:pt x="3" y="424"/>
                  </a:cubicBezTo>
                  <a:cubicBezTo>
                    <a:pt x="3" y="424"/>
                    <a:pt x="3" y="424"/>
                    <a:pt x="3" y="424"/>
                  </a:cubicBezTo>
                  <a:cubicBezTo>
                    <a:pt x="3" y="425"/>
                    <a:pt x="4" y="425"/>
                    <a:pt x="4" y="426"/>
                  </a:cubicBezTo>
                  <a:cubicBezTo>
                    <a:pt x="5" y="427"/>
                    <a:pt x="5" y="427"/>
                    <a:pt x="5" y="427"/>
                  </a:cubicBezTo>
                  <a:cubicBezTo>
                    <a:pt x="5" y="428"/>
                    <a:pt x="5" y="429"/>
                    <a:pt x="5" y="430"/>
                  </a:cubicBezTo>
                  <a:cubicBezTo>
                    <a:pt x="4" y="431"/>
                    <a:pt x="4" y="431"/>
                    <a:pt x="4" y="431"/>
                  </a:cubicBezTo>
                  <a:cubicBezTo>
                    <a:pt x="3" y="432"/>
                    <a:pt x="3" y="432"/>
                    <a:pt x="3" y="432"/>
                  </a:cubicBezTo>
                  <a:cubicBezTo>
                    <a:pt x="3" y="432"/>
                    <a:pt x="3" y="432"/>
                    <a:pt x="3" y="432"/>
                  </a:cubicBezTo>
                  <a:cubicBezTo>
                    <a:pt x="3" y="433"/>
                    <a:pt x="3" y="433"/>
                    <a:pt x="3" y="433"/>
                  </a:cubicBezTo>
                  <a:cubicBezTo>
                    <a:pt x="3" y="434"/>
                    <a:pt x="3" y="435"/>
                    <a:pt x="4" y="435"/>
                  </a:cubicBezTo>
                  <a:cubicBezTo>
                    <a:pt x="4" y="435"/>
                    <a:pt x="4" y="435"/>
                    <a:pt x="5" y="435"/>
                  </a:cubicBezTo>
                  <a:cubicBezTo>
                    <a:pt x="6" y="434"/>
                    <a:pt x="6" y="434"/>
                    <a:pt x="6" y="434"/>
                  </a:cubicBezTo>
                  <a:cubicBezTo>
                    <a:pt x="7" y="434"/>
                    <a:pt x="9" y="434"/>
                    <a:pt x="11" y="433"/>
                  </a:cubicBezTo>
                  <a:cubicBezTo>
                    <a:pt x="12" y="433"/>
                    <a:pt x="12" y="433"/>
                    <a:pt x="12" y="433"/>
                  </a:cubicBezTo>
                  <a:cubicBezTo>
                    <a:pt x="12" y="433"/>
                    <a:pt x="12" y="433"/>
                    <a:pt x="12" y="433"/>
                  </a:cubicBezTo>
                  <a:cubicBezTo>
                    <a:pt x="13" y="433"/>
                    <a:pt x="13" y="433"/>
                    <a:pt x="14" y="434"/>
                  </a:cubicBezTo>
                  <a:cubicBezTo>
                    <a:pt x="15" y="434"/>
                    <a:pt x="17" y="435"/>
                    <a:pt x="18" y="435"/>
                  </a:cubicBezTo>
                  <a:cubicBezTo>
                    <a:pt x="20" y="436"/>
                    <a:pt x="21" y="437"/>
                    <a:pt x="21" y="437"/>
                  </a:cubicBezTo>
                  <a:cubicBezTo>
                    <a:pt x="22" y="438"/>
                    <a:pt x="22" y="438"/>
                    <a:pt x="22" y="438"/>
                  </a:cubicBezTo>
                  <a:cubicBezTo>
                    <a:pt x="23" y="438"/>
                    <a:pt x="23" y="438"/>
                    <a:pt x="24" y="439"/>
                  </a:cubicBezTo>
                  <a:cubicBezTo>
                    <a:pt x="25" y="439"/>
                    <a:pt x="25" y="439"/>
                    <a:pt x="25" y="439"/>
                  </a:cubicBezTo>
                  <a:cubicBezTo>
                    <a:pt x="28" y="441"/>
                    <a:pt x="29" y="442"/>
                    <a:pt x="30" y="446"/>
                  </a:cubicBezTo>
                  <a:cubicBezTo>
                    <a:pt x="30" y="450"/>
                    <a:pt x="31" y="454"/>
                    <a:pt x="31" y="458"/>
                  </a:cubicBezTo>
                  <a:cubicBezTo>
                    <a:pt x="32" y="460"/>
                    <a:pt x="32" y="460"/>
                    <a:pt x="32" y="460"/>
                  </a:cubicBezTo>
                  <a:cubicBezTo>
                    <a:pt x="32" y="461"/>
                    <a:pt x="32" y="462"/>
                    <a:pt x="32" y="463"/>
                  </a:cubicBezTo>
                  <a:cubicBezTo>
                    <a:pt x="33" y="465"/>
                    <a:pt x="33" y="465"/>
                    <a:pt x="33" y="465"/>
                  </a:cubicBezTo>
                  <a:cubicBezTo>
                    <a:pt x="33" y="466"/>
                    <a:pt x="34" y="467"/>
                    <a:pt x="35" y="468"/>
                  </a:cubicBezTo>
                  <a:cubicBezTo>
                    <a:pt x="38" y="470"/>
                    <a:pt x="38" y="470"/>
                    <a:pt x="38" y="470"/>
                  </a:cubicBezTo>
                  <a:cubicBezTo>
                    <a:pt x="36" y="473"/>
                    <a:pt x="36" y="473"/>
                    <a:pt x="36" y="473"/>
                  </a:cubicBezTo>
                  <a:cubicBezTo>
                    <a:pt x="35" y="474"/>
                    <a:pt x="34" y="475"/>
                    <a:pt x="33" y="476"/>
                  </a:cubicBezTo>
                  <a:cubicBezTo>
                    <a:pt x="43" y="473"/>
                    <a:pt x="43" y="473"/>
                    <a:pt x="43" y="473"/>
                  </a:cubicBezTo>
                  <a:cubicBezTo>
                    <a:pt x="30" y="480"/>
                    <a:pt x="30" y="480"/>
                    <a:pt x="30" y="480"/>
                  </a:cubicBezTo>
                  <a:cubicBezTo>
                    <a:pt x="31" y="480"/>
                    <a:pt x="31" y="480"/>
                    <a:pt x="31" y="480"/>
                  </a:cubicBezTo>
                  <a:cubicBezTo>
                    <a:pt x="33" y="480"/>
                    <a:pt x="35" y="480"/>
                    <a:pt x="38" y="481"/>
                  </a:cubicBezTo>
                  <a:cubicBezTo>
                    <a:pt x="40" y="482"/>
                    <a:pt x="41" y="483"/>
                    <a:pt x="43" y="484"/>
                  </a:cubicBezTo>
                  <a:cubicBezTo>
                    <a:pt x="44" y="484"/>
                    <a:pt x="45" y="485"/>
                    <a:pt x="46" y="486"/>
                  </a:cubicBezTo>
                  <a:cubicBezTo>
                    <a:pt x="46" y="486"/>
                    <a:pt x="47" y="486"/>
                    <a:pt x="47" y="486"/>
                  </a:cubicBezTo>
                  <a:cubicBezTo>
                    <a:pt x="48" y="486"/>
                    <a:pt x="48" y="486"/>
                    <a:pt x="48" y="486"/>
                  </a:cubicBezTo>
                  <a:cubicBezTo>
                    <a:pt x="50" y="488"/>
                    <a:pt x="53" y="490"/>
                    <a:pt x="55" y="494"/>
                  </a:cubicBezTo>
                  <a:cubicBezTo>
                    <a:pt x="56" y="495"/>
                    <a:pt x="56" y="496"/>
                    <a:pt x="56" y="498"/>
                  </a:cubicBezTo>
                  <a:cubicBezTo>
                    <a:pt x="57" y="499"/>
                    <a:pt x="57" y="501"/>
                    <a:pt x="57" y="502"/>
                  </a:cubicBezTo>
                  <a:cubicBezTo>
                    <a:pt x="57" y="503"/>
                    <a:pt x="56" y="505"/>
                    <a:pt x="56" y="505"/>
                  </a:cubicBezTo>
                  <a:cubicBezTo>
                    <a:pt x="55" y="506"/>
                    <a:pt x="55" y="506"/>
                    <a:pt x="55" y="506"/>
                  </a:cubicBezTo>
                  <a:cubicBezTo>
                    <a:pt x="56" y="507"/>
                    <a:pt x="56" y="507"/>
                    <a:pt x="56" y="507"/>
                  </a:cubicBezTo>
                  <a:cubicBezTo>
                    <a:pt x="57" y="508"/>
                    <a:pt x="58" y="509"/>
                    <a:pt x="58" y="509"/>
                  </a:cubicBezTo>
                  <a:cubicBezTo>
                    <a:pt x="58" y="510"/>
                    <a:pt x="59" y="510"/>
                    <a:pt x="59" y="510"/>
                  </a:cubicBezTo>
                  <a:cubicBezTo>
                    <a:pt x="59" y="511"/>
                    <a:pt x="59" y="511"/>
                    <a:pt x="59" y="511"/>
                  </a:cubicBezTo>
                  <a:cubicBezTo>
                    <a:pt x="59" y="511"/>
                    <a:pt x="59" y="511"/>
                    <a:pt x="59" y="511"/>
                  </a:cubicBezTo>
                  <a:cubicBezTo>
                    <a:pt x="59" y="511"/>
                    <a:pt x="59" y="511"/>
                    <a:pt x="59" y="511"/>
                  </a:cubicBezTo>
                  <a:cubicBezTo>
                    <a:pt x="62" y="511"/>
                    <a:pt x="64" y="510"/>
                    <a:pt x="64" y="510"/>
                  </a:cubicBezTo>
                  <a:cubicBezTo>
                    <a:pt x="68" y="505"/>
                    <a:pt x="68" y="505"/>
                    <a:pt x="68" y="505"/>
                  </a:cubicBezTo>
                  <a:cubicBezTo>
                    <a:pt x="69" y="511"/>
                    <a:pt x="69" y="511"/>
                    <a:pt x="69" y="511"/>
                  </a:cubicBezTo>
                  <a:cubicBezTo>
                    <a:pt x="69" y="511"/>
                    <a:pt x="69" y="511"/>
                    <a:pt x="69" y="512"/>
                  </a:cubicBezTo>
                  <a:cubicBezTo>
                    <a:pt x="69" y="512"/>
                    <a:pt x="69" y="512"/>
                    <a:pt x="69" y="512"/>
                  </a:cubicBezTo>
                  <a:cubicBezTo>
                    <a:pt x="70" y="513"/>
                    <a:pt x="70" y="513"/>
                    <a:pt x="70" y="513"/>
                  </a:cubicBezTo>
                  <a:cubicBezTo>
                    <a:pt x="70" y="513"/>
                    <a:pt x="70" y="513"/>
                    <a:pt x="70" y="513"/>
                  </a:cubicBezTo>
                  <a:cubicBezTo>
                    <a:pt x="71" y="514"/>
                    <a:pt x="72" y="515"/>
                    <a:pt x="73" y="516"/>
                  </a:cubicBezTo>
                  <a:cubicBezTo>
                    <a:pt x="77" y="518"/>
                    <a:pt x="83" y="518"/>
                    <a:pt x="89" y="519"/>
                  </a:cubicBezTo>
                  <a:cubicBezTo>
                    <a:pt x="91" y="519"/>
                    <a:pt x="93" y="519"/>
                    <a:pt x="96" y="519"/>
                  </a:cubicBezTo>
                  <a:cubicBezTo>
                    <a:pt x="96" y="519"/>
                    <a:pt x="96" y="519"/>
                    <a:pt x="96" y="519"/>
                  </a:cubicBezTo>
                  <a:cubicBezTo>
                    <a:pt x="97" y="519"/>
                    <a:pt x="97" y="519"/>
                    <a:pt x="97" y="519"/>
                  </a:cubicBezTo>
                  <a:cubicBezTo>
                    <a:pt x="99" y="518"/>
                    <a:pt x="101" y="518"/>
                    <a:pt x="102" y="517"/>
                  </a:cubicBezTo>
                  <a:cubicBezTo>
                    <a:pt x="104" y="516"/>
                    <a:pt x="104" y="516"/>
                    <a:pt x="104" y="516"/>
                  </a:cubicBezTo>
                  <a:cubicBezTo>
                    <a:pt x="104" y="519"/>
                    <a:pt x="104" y="519"/>
                    <a:pt x="104" y="519"/>
                  </a:cubicBezTo>
                  <a:cubicBezTo>
                    <a:pt x="104" y="519"/>
                    <a:pt x="104" y="519"/>
                    <a:pt x="104" y="519"/>
                  </a:cubicBezTo>
                  <a:cubicBezTo>
                    <a:pt x="102" y="520"/>
                    <a:pt x="100" y="521"/>
                    <a:pt x="98" y="522"/>
                  </a:cubicBezTo>
                  <a:cubicBezTo>
                    <a:pt x="97" y="522"/>
                    <a:pt x="97" y="522"/>
                    <a:pt x="97" y="522"/>
                  </a:cubicBezTo>
                  <a:cubicBezTo>
                    <a:pt x="96" y="522"/>
                    <a:pt x="96" y="522"/>
                    <a:pt x="96" y="522"/>
                  </a:cubicBezTo>
                  <a:cubicBezTo>
                    <a:pt x="96" y="522"/>
                    <a:pt x="96" y="522"/>
                    <a:pt x="96" y="522"/>
                  </a:cubicBezTo>
                  <a:cubicBezTo>
                    <a:pt x="96" y="522"/>
                    <a:pt x="99" y="522"/>
                    <a:pt x="100" y="522"/>
                  </a:cubicBezTo>
                  <a:cubicBezTo>
                    <a:pt x="101" y="522"/>
                    <a:pt x="101" y="522"/>
                    <a:pt x="101" y="522"/>
                  </a:cubicBezTo>
                  <a:cubicBezTo>
                    <a:pt x="101" y="522"/>
                    <a:pt x="102" y="522"/>
                    <a:pt x="102" y="522"/>
                  </a:cubicBezTo>
                  <a:cubicBezTo>
                    <a:pt x="102" y="523"/>
                    <a:pt x="102" y="523"/>
                    <a:pt x="102" y="524"/>
                  </a:cubicBezTo>
                  <a:cubicBezTo>
                    <a:pt x="102" y="525"/>
                    <a:pt x="101" y="527"/>
                    <a:pt x="101" y="528"/>
                  </a:cubicBezTo>
                  <a:cubicBezTo>
                    <a:pt x="101" y="529"/>
                    <a:pt x="101" y="530"/>
                    <a:pt x="102" y="531"/>
                  </a:cubicBezTo>
                  <a:cubicBezTo>
                    <a:pt x="103" y="532"/>
                    <a:pt x="104" y="534"/>
                    <a:pt x="104" y="535"/>
                  </a:cubicBezTo>
                  <a:cubicBezTo>
                    <a:pt x="104" y="536"/>
                    <a:pt x="105" y="536"/>
                    <a:pt x="105" y="537"/>
                  </a:cubicBezTo>
                  <a:cubicBezTo>
                    <a:pt x="105" y="539"/>
                    <a:pt x="106" y="541"/>
                    <a:pt x="107" y="543"/>
                  </a:cubicBezTo>
                  <a:cubicBezTo>
                    <a:pt x="107" y="543"/>
                    <a:pt x="107" y="543"/>
                    <a:pt x="107" y="543"/>
                  </a:cubicBezTo>
                  <a:cubicBezTo>
                    <a:pt x="108" y="545"/>
                    <a:pt x="110" y="547"/>
                    <a:pt x="112" y="548"/>
                  </a:cubicBezTo>
                  <a:cubicBezTo>
                    <a:pt x="114" y="549"/>
                    <a:pt x="116" y="550"/>
                    <a:pt x="118" y="551"/>
                  </a:cubicBezTo>
                  <a:cubicBezTo>
                    <a:pt x="120" y="552"/>
                    <a:pt x="122" y="552"/>
                    <a:pt x="123" y="553"/>
                  </a:cubicBezTo>
                  <a:cubicBezTo>
                    <a:pt x="123" y="554"/>
                    <a:pt x="123" y="555"/>
                    <a:pt x="122" y="556"/>
                  </a:cubicBezTo>
                  <a:cubicBezTo>
                    <a:pt x="119" y="559"/>
                    <a:pt x="119" y="559"/>
                    <a:pt x="119" y="559"/>
                  </a:cubicBezTo>
                  <a:cubicBezTo>
                    <a:pt x="118" y="559"/>
                    <a:pt x="118" y="559"/>
                    <a:pt x="118" y="559"/>
                  </a:cubicBezTo>
                  <a:cubicBezTo>
                    <a:pt x="118" y="560"/>
                    <a:pt x="118" y="561"/>
                    <a:pt x="118" y="562"/>
                  </a:cubicBezTo>
                  <a:cubicBezTo>
                    <a:pt x="118" y="563"/>
                    <a:pt x="118" y="564"/>
                    <a:pt x="119" y="565"/>
                  </a:cubicBezTo>
                  <a:cubicBezTo>
                    <a:pt x="119" y="565"/>
                    <a:pt x="119" y="565"/>
                    <a:pt x="119" y="565"/>
                  </a:cubicBezTo>
                  <a:cubicBezTo>
                    <a:pt x="119" y="566"/>
                    <a:pt x="119" y="567"/>
                    <a:pt x="119" y="568"/>
                  </a:cubicBezTo>
                  <a:cubicBezTo>
                    <a:pt x="122" y="565"/>
                    <a:pt x="122" y="565"/>
                    <a:pt x="122" y="565"/>
                  </a:cubicBezTo>
                  <a:cubicBezTo>
                    <a:pt x="122" y="565"/>
                    <a:pt x="122" y="565"/>
                    <a:pt x="122" y="565"/>
                  </a:cubicBezTo>
                  <a:cubicBezTo>
                    <a:pt x="123" y="570"/>
                    <a:pt x="123" y="570"/>
                    <a:pt x="123" y="570"/>
                  </a:cubicBezTo>
                  <a:cubicBezTo>
                    <a:pt x="123" y="570"/>
                    <a:pt x="123" y="570"/>
                    <a:pt x="123" y="570"/>
                  </a:cubicBezTo>
                  <a:cubicBezTo>
                    <a:pt x="124" y="574"/>
                    <a:pt x="124" y="574"/>
                    <a:pt x="124" y="574"/>
                  </a:cubicBezTo>
                  <a:cubicBezTo>
                    <a:pt x="125" y="575"/>
                    <a:pt x="125" y="575"/>
                    <a:pt x="125" y="575"/>
                  </a:cubicBezTo>
                  <a:cubicBezTo>
                    <a:pt x="125" y="576"/>
                    <a:pt x="125" y="576"/>
                    <a:pt x="125" y="576"/>
                  </a:cubicBezTo>
                  <a:cubicBezTo>
                    <a:pt x="126" y="577"/>
                    <a:pt x="126" y="577"/>
                    <a:pt x="126" y="577"/>
                  </a:cubicBezTo>
                  <a:cubicBezTo>
                    <a:pt x="127" y="578"/>
                    <a:pt x="129" y="579"/>
                    <a:pt x="131" y="581"/>
                  </a:cubicBezTo>
                  <a:cubicBezTo>
                    <a:pt x="131" y="581"/>
                    <a:pt x="131" y="581"/>
                    <a:pt x="131" y="581"/>
                  </a:cubicBezTo>
                  <a:cubicBezTo>
                    <a:pt x="133" y="581"/>
                    <a:pt x="135" y="581"/>
                    <a:pt x="136" y="584"/>
                  </a:cubicBezTo>
                  <a:cubicBezTo>
                    <a:pt x="136" y="584"/>
                    <a:pt x="136" y="585"/>
                    <a:pt x="137" y="586"/>
                  </a:cubicBezTo>
                  <a:cubicBezTo>
                    <a:pt x="137" y="589"/>
                    <a:pt x="137" y="589"/>
                    <a:pt x="137" y="589"/>
                  </a:cubicBezTo>
                  <a:cubicBezTo>
                    <a:pt x="137" y="589"/>
                    <a:pt x="137" y="590"/>
                    <a:pt x="137" y="591"/>
                  </a:cubicBezTo>
                  <a:cubicBezTo>
                    <a:pt x="137" y="592"/>
                    <a:pt x="137" y="592"/>
                    <a:pt x="137" y="592"/>
                  </a:cubicBezTo>
                  <a:cubicBezTo>
                    <a:pt x="138" y="592"/>
                    <a:pt x="138" y="592"/>
                    <a:pt x="138" y="592"/>
                  </a:cubicBezTo>
                  <a:cubicBezTo>
                    <a:pt x="138" y="592"/>
                    <a:pt x="138" y="592"/>
                    <a:pt x="138" y="592"/>
                  </a:cubicBezTo>
                  <a:cubicBezTo>
                    <a:pt x="140" y="594"/>
                    <a:pt x="140" y="594"/>
                    <a:pt x="140" y="594"/>
                  </a:cubicBezTo>
                  <a:cubicBezTo>
                    <a:pt x="138" y="596"/>
                    <a:pt x="138" y="596"/>
                    <a:pt x="138" y="596"/>
                  </a:cubicBezTo>
                  <a:cubicBezTo>
                    <a:pt x="135" y="602"/>
                    <a:pt x="129" y="608"/>
                    <a:pt x="124" y="608"/>
                  </a:cubicBezTo>
                  <a:cubicBezTo>
                    <a:pt x="123" y="608"/>
                    <a:pt x="123" y="608"/>
                    <a:pt x="123" y="608"/>
                  </a:cubicBezTo>
                  <a:cubicBezTo>
                    <a:pt x="123" y="608"/>
                    <a:pt x="123" y="608"/>
                    <a:pt x="123" y="608"/>
                  </a:cubicBezTo>
                  <a:cubicBezTo>
                    <a:pt x="119" y="607"/>
                    <a:pt x="117" y="604"/>
                    <a:pt x="116" y="602"/>
                  </a:cubicBezTo>
                  <a:cubicBezTo>
                    <a:pt x="116" y="602"/>
                    <a:pt x="116" y="602"/>
                    <a:pt x="116" y="602"/>
                  </a:cubicBezTo>
                  <a:cubicBezTo>
                    <a:pt x="115" y="602"/>
                    <a:pt x="115" y="602"/>
                    <a:pt x="115" y="602"/>
                  </a:cubicBezTo>
                  <a:cubicBezTo>
                    <a:pt x="114" y="602"/>
                    <a:pt x="114" y="602"/>
                    <a:pt x="113" y="603"/>
                  </a:cubicBezTo>
                  <a:cubicBezTo>
                    <a:pt x="114" y="605"/>
                    <a:pt x="115" y="607"/>
                    <a:pt x="116" y="610"/>
                  </a:cubicBezTo>
                  <a:cubicBezTo>
                    <a:pt x="117" y="611"/>
                    <a:pt x="119" y="612"/>
                    <a:pt x="119" y="614"/>
                  </a:cubicBezTo>
                  <a:cubicBezTo>
                    <a:pt x="120" y="615"/>
                    <a:pt x="121" y="616"/>
                    <a:pt x="121" y="617"/>
                  </a:cubicBezTo>
                  <a:cubicBezTo>
                    <a:pt x="121" y="618"/>
                    <a:pt x="121" y="619"/>
                    <a:pt x="120" y="620"/>
                  </a:cubicBezTo>
                  <a:cubicBezTo>
                    <a:pt x="121" y="621"/>
                    <a:pt x="120" y="623"/>
                    <a:pt x="120" y="626"/>
                  </a:cubicBezTo>
                  <a:cubicBezTo>
                    <a:pt x="120" y="627"/>
                    <a:pt x="120" y="627"/>
                    <a:pt x="120" y="627"/>
                  </a:cubicBezTo>
                  <a:cubicBezTo>
                    <a:pt x="120" y="627"/>
                    <a:pt x="120" y="627"/>
                    <a:pt x="120" y="627"/>
                  </a:cubicBezTo>
                  <a:cubicBezTo>
                    <a:pt x="120" y="627"/>
                    <a:pt x="121" y="628"/>
                    <a:pt x="121" y="629"/>
                  </a:cubicBezTo>
                  <a:cubicBezTo>
                    <a:pt x="121" y="629"/>
                    <a:pt x="121" y="629"/>
                    <a:pt x="121" y="629"/>
                  </a:cubicBezTo>
                  <a:cubicBezTo>
                    <a:pt x="123" y="628"/>
                    <a:pt x="124" y="627"/>
                    <a:pt x="126" y="627"/>
                  </a:cubicBezTo>
                  <a:cubicBezTo>
                    <a:pt x="127" y="627"/>
                    <a:pt x="127" y="627"/>
                    <a:pt x="127" y="627"/>
                  </a:cubicBezTo>
                  <a:cubicBezTo>
                    <a:pt x="128" y="627"/>
                    <a:pt x="129" y="628"/>
                    <a:pt x="130" y="629"/>
                  </a:cubicBezTo>
                  <a:cubicBezTo>
                    <a:pt x="130" y="629"/>
                    <a:pt x="131" y="630"/>
                    <a:pt x="131" y="630"/>
                  </a:cubicBezTo>
                  <a:cubicBezTo>
                    <a:pt x="136" y="627"/>
                    <a:pt x="136" y="627"/>
                    <a:pt x="136" y="627"/>
                  </a:cubicBezTo>
                  <a:cubicBezTo>
                    <a:pt x="132" y="631"/>
                    <a:pt x="132" y="631"/>
                    <a:pt x="132" y="631"/>
                  </a:cubicBezTo>
                  <a:cubicBezTo>
                    <a:pt x="133" y="632"/>
                    <a:pt x="133" y="633"/>
                    <a:pt x="134" y="634"/>
                  </a:cubicBezTo>
                  <a:cubicBezTo>
                    <a:pt x="134" y="635"/>
                    <a:pt x="134" y="635"/>
                    <a:pt x="134" y="635"/>
                  </a:cubicBezTo>
                  <a:cubicBezTo>
                    <a:pt x="134" y="635"/>
                    <a:pt x="135" y="636"/>
                    <a:pt x="135" y="636"/>
                  </a:cubicBezTo>
                  <a:cubicBezTo>
                    <a:pt x="136" y="636"/>
                    <a:pt x="136" y="637"/>
                    <a:pt x="136" y="637"/>
                  </a:cubicBezTo>
                  <a:cubicBezTo>
                    <a:pt x="137" y="638"/>
                    <a:pt x="137" y="638"/>
                    <a:pt x="137" y="638"/>
                  </a:cubicBezTo>
                  <a:cubicBezTo>
                    <a:pt x="138" y="638"/>
                    <a:pt x="139" y="638"/>
                    <a:pt x="140" y="639"/>
                  </a:cubicBezTo>
                  <a:cubicBezTo>
                    <a:pt x="143" y="640"/>
                    <a:pt x="148" y="641"/>
                    <a:pt x="151" y="643"/>
                  </a:cubicBezTo>
                  <a:cubicBezTo>
                    <a:pt x="153" y="644"/>
                    <a:pt x="154" y="644"/>
                    <a:pt x="155" y="645"/>
                  </a:cubicBezTo>
                  <a:cubicBezTo>
                    <a:pt x="156" y="644"/>
                    <a:pt x="156" y="644"/>
                    <a:pt x="156" y="644"/>
                  </a:cubicBezTo>
                  <a:cubicBezTo>
                    <a:pt x="155" y="645"/>
                    <a:pt x="155" y="645"/>
                    <a:pt x="155" y="645"/>
                  </a:cubicBezTo>
                  <a:cubicBezTo>
                    <a:pt x="156" y="646"/>
                    <a:pt x="156" y="646"/>
                    <a:pt x="156" y="647"/>
                  </a:cubicBezTo>
                  <a:cubicBezTo>
                    <a:pt x="156" y="648"/>
                    <a:pt x="156" y="649"/>
                    <a:pt x="156" y="650"/>
                  </a:cubicBezTo>
                  <a:cubicBezTo>
                    <a:pt x="171" y="658"/>
                    <a:pt x="171" y="658"/>
                    <a:pt x="171" y="658"/>
                  </a:cubicBezTo>
                  <a:cubicBezTo>
                    <a:pt x="172" y="657"/>
                    <a:pt x="172" y="657"/>
                    <a:pt x="172" y="657"/>
                  </a:cubicBezTo>
                  <a:cubicBezTo>
                    <a:pt x="176" y="662"/>
                    <a:pt x="176" y="662"/>
                    <a:pt x="176" y="662"/>
                  </a:cubicBezTo>
                  <a:cubicBezTo>
                    <a:pt x="176" y="660"/>
                    <a:pt x="177" y="659"/>
                    <a:pt x="178" y="657"/>
                  </a:cubicBezTo>
                  <a:cubicBezTo>
                    <a:pt x="178" y="657"/>
                    <a:pt x="178" y="657"/>
                    <a:pt x="178" y="657"/>
                  </a:cubicBezTo>
                  <a:cubicBezTo>
                    <a:pt x="178" y="656"/>
                    <a:pt x="179" y="656"/>
                    <a:pt x="179" y="656"/>
                  </a:cubicBezTo>
                  <a:cubicBezTo>
                    <a:pt x="179" y="655"/>
                    <a:pt x="180" y="655"/>
                    <a:pt x="180" y="655"/>
                  </a:cubicBezTo>
                  <a:cubicBezTo>
                    <a:pt x="180" y="654"/>
                    <a:pt x="180" y="654"/>
                    <a:pt x="180" y="654"/>
                  </a:cubicBezTo>
                  <a:cubicBezTo>
                    <a:pt x="182" y="653"/>
                    <a:pt x="183" y="653"/>
                    <a:pt x="185" y="653"/>
                  </a:cubicBezTo>
                  <a:cubicBezTo>
                    <a:pt x="185" y="653"/>
                    <a:pt x="186" y="653"/>
                    <a:pt x="187" y="653"/>
                  </a:cubicBezTo>
                  <a:cubicBezTo>
                    <a:pt x="190" y="653"/>
                    <a:pt x="195" y="654"/>
                    <a:pt x="197" y="655"/>
                  </a:cubicBezTo>
                  <a:cubicBezTo>
                    <a:pt x="199" y="657"/>
                    <a:pt x="199" y="659"/>
                    <a:pt x="200" y="660"/>
                  </a:cubicBezTo>
                  <a:cubicBezTo>
                    <a:pt x="200" y="661"/>
                    <a:pt x="200" y="661"/>
                    <a:pt x="201" y="662"/>
                  </a:cubicBezTo>
                  <a:cubicBezTo>
                    <a:pt x="201" y="663"/>
                    <a:pt x="202" y="663"/>
                    <a:pt x="203" y="664"/>
                  </a:cubicBezTo>
                  <a:cubicBezTo>
                    <a:pt x="204" y="664"/>
                    <a:pt x="204" y="664"/>
                    <a:pt x="204" y="664"/>
                  </a:cubicBezTo>
                  <a:cubicBezTo>
                    <a:pt x="204" y="664"/>
                    <a:pt x="205" y="664"/>
                    <a:pt x="206" y="665"/>
                  </a:cubicBezTo>
                  <a:cubicBezTo>
                    <a:pt x="207" y="665"/>
                    <a:pt x="207" y="665"/>
                    <a:pt x="207" y="665"/>
                  </a:cubicBezTo>
                  <a:cubicBezTo>
                    <a:pt x="209" y="666"/>
                    <a:pt x="210" y="667"/>
                    <a:pt x="211" y="667"/>
                  </a:cubicBezTo>
                  <a:cubicBezTo>
                    <a:pt x="212" y="668"/>
                    <a:pt x="213" y="669"/>
                    <a:pt x="214" y="670"/>
                  </a:cubicBezTo>
                  <a:cubicBezTo>
                    <a:pt x="215" y="672"/>
                    <a:pt x="215" y="672"/>
                    <a:pt x="215" y="672"/>
                  </a:cubicBezTo>
                  <a:cubicBezTo>
                    <a:pt x="216" y="672"/>
                    <a:pt x="217" y="673"/>
                    <a:pt x="218" y="673"/>
                  </a:cubicBezTo>
                  <a:cubicBezTo>
                    <a:pt x="219" y="673"/>
                    <a:pt x="220" y="673"/>
                    <a:pt x="220" y="673"/>
                  </a:cubicBezTo>
                  <a:cubicBezTo>
                    <a:pt x="220" y="673"/>
                    <a:pt x="220" y="673"/>
                    <a:pt x="221" y="673"/>
                  </a:cubicBezTo>
                  <a:cubicBezTo>
                    <a:pt x="221" y="673"/>
                    <a:pt x="221" y="673"/>
                    <a:pt x="221" y="673"/>
                  </a:cubicBezTo>
                  <a:cubicBezTo>
                    <a:pt x="222" y="673"/>
                    <a:pt x="222" y="673"/>
                    <a:pt x="222" y="673"/>
                  </a:cubicBezTo>
                  <a:cubicBezTo>
                    <a:pt x="222" y="673"/>
                    <a:pt x="223" y="673"/>
                    <a:pt x="223" y="674"/>
                  </a:cubicBezTo>
                  <a:cubicBezTo>
                    <a:pt x="224" y="674"/>
                    <a:pt x="224" y="674"/>
                    <a:pt x="224" y="674"/>
                  </a:cubicBezTo>
                  <a:cubicBezTo>
                    <a:pt x="225" y="675"/>
                    <a:pt x="225" y="675"/>
                    <a:pt x="225" y="675"/>
                  </a:cubicBezTo>
                  <a:cubicBezTo>
                    <a:pt x="225" y="675"/>
                    <a:pt x="226" y="675"/>
                    <a:pt x="226" y="675"/>
                  </a:cubicBezTo>
                  <a:cubicBezTo>
                    <a:pt x="226" y="676"/>
                    <a:pt x="227" y="676"/>
                    <a:pt x="227" y="677"/>
                  </a:cubicBezTo>
                  <a:cubicBezTo>
                    <a:pt x="230" y="674"/>
                    <a:pt x="230" y="674"/>
                    <a:pt x="230" y="674"/>
                  </a:cubicBezTo>
                  <a:cubicBezTo>
                    <a:pt x="228" y="678"/>
                    <a:pt x="228" y="678"/>
                    <a:pt x="228" y="678"/>
                  </a:cubicBezTo>
                  <a:cubicBezTo>
                    <a:pt x="228" y="678"/>
                    <a:pt x="228" y="678"/>
                    <a:pt x="228" y="678"/>
                  </a:cubicBezTo>
                  <a:cubicBezTo>
                    <a:pt x="230" y="679"/>
                    <a:pt x="231" y="680"/>
                    <a:pt x="232" y="682"/>
                  </a:cubicBezTo>
                  <a:cubicBezTo>
                    <a:pt x="232" y="682"/>
                    <a:pt x="232" y="683"/>
                    <a:pt x="233" y="683"/>
                  </a:cubicBezTo>
                  <a:cubicBezTo>
                    <a:pt x="233" y="683"/>
                    <a:pt x="233" y="683"/>
                    <a:pt x="233" y="683"/>
                  </a:cubicBezTo>
                  <a:cubicBezTo>
                    <a:pt x="234" y="685"/>
                    <a:pt x="234" y="685"/>
                    <a:pt x="234" y="685"/>
                  </a:cubicBezTo>
                  <a:cubicBezTo>
                    <a:pt x="235" y="685"/>
                    <a:pt x="235" y="685"/>
                    <a:pt x="235" y="685"/>
                  </a:cubicBezTo>
                  <a:cubicBezTo>
                    <a:pt x="235" y="685"/>
                    <a:pt x="235" y="685"/>
                    <a:pt x="235" y="685"/>
                  </a:cubicBezTo>
                  <a:cubicBezTo>
                    <a:pt x="237" y="684"/>
                    <a:pt x="240" y="683"/>
                    <a:pt x="242" y="683"/>
                  </a:cubicBezTo>
                  <a:cubicBezTo>
                    <a:pt x="242" y="683"/>
                    <a:pt x="243" y="683"/>
                    <a:pt x="243" y="683"/>
                  </a:cubicBezTo>
                  <a:cubicBezTo>
                    <a:pt x="245" y="683"/>
                    <a:pt x="246" y="683"/>
                    <a:pt x="247" y="684"/>
                  </a:cubicBezTo>
                  <a:cubicBezTo>
                    <a:pt x="249" y="685"/>
                    <a:pt x="248" y="687"/>
                    <a:pt x="248" y="688"/>
                  </a:cubicBezTo>
                  <a:cubicBezTo>
                    <a:pt x="248" y="688"/>
                    <a:pt x="248" y="688"/>
                    <a:pt x="248" y="688"/>
                  </a:cubicBezTo>
                  <a:cubicBezTo>
                    <a:pt x="249" y="689"/>
                    <a:pt x="249" y="689"/>
                    <a:pt x="249" y="689"/>
                  </a:cubicBezTo>
                  <a:cubicBezTo>
                    <a:pt x="250" y="690"/>
                    <a:pt x="250" y="691"/>
                    <a:pt x="250" y="693"/>
                  </a:cubicBezTo>
                  <a:cubicBezTo>
                    <a:pt x="250" y="693"/>
                    <a:pt x="251" y="694"/>
                    <a:pt x="252" y="695"/>
                  </a:cubicBezTo>
                  <a:cubicBezTo>
                    <a:pt x="252" y="695"/>
                    <a:pt x="252" y="695"/>
                    <a:pt x="252" y="695"/>
                  </a:cubicBezTo>
                  <a:cubicBezTo>
                    <a:pt x="253" y="695"/>
                    <a:pt x="253" y="696"/>
                    <a:pt x="254" y="696"/>
                  </a:cubicBezTo>
                  <a:cubicBezTo>
                    <a:pt x="255" y="697"/>
                    <a:pt x="255" y="697"/>
                    <a:pt x="255" y="697"/>
                  </a:cubicBezTo>
                  <a:cubicBezTo>
                    <a:pt x="255" y="697"/>
                    <a:pt x="256" y="697"/>
                    <a:pt x="256" y="697"/>
                  </a:cubicBezTo>
                  <a:cubicBezTo>
                    <a:pt x="257" y="698"/>
                    <a:pt x="257" y="698"/>
                    <a:pt x="257" y="698"/>
                  </a:cubicBezTo>
                  <a:cubicBezTo>
                    <a:pt x="258" y="699"/>
                    <a:pt x="259" y="699"/>
                    <a:pt x="260" y="700"/>
                  </a:cubicBezTo>
                  <a:cubicBezTo>
                    <a:pt x="261" y="700"/>
                    <a:pt x="262" y="700"/>
                    <a:pt x="263" y="701"/>
                  </a:cubicBezTo>
                  <a:cubicBezTo>
                    <a:pt x="263" y="701"/>
                    <a:pt x="263" y="701"/>
                    <a:pt x="263" y="701"/>
                  </a:cubicBezTo>
                  <a:cubicBezTo>
                    <a:pt x="264" y="701"/>
                    <a:pt x="265" y="701"/>
                    <a:pt x="265" y="700"/>
                  </a:cubicBezTo>
                  <a:cubicBezTo>
                    <a:pt x="266" y="700"/>
                    <a:pt x="266" y="700"/>
                    <a:pt x="266" y="700"/>
                  </a:cubicBezTo>
                  <a:cubicBezTo>
                    <a:pt x="267" y="700"/>
                    <a:pt x="268" y="700"/>
                    <a:pt x="269" y="700"/>
                  </a:cubicBezTo>
                  <a:cubicBezTo>
                    <a:pt x="269" y="700"/>
                    <a:pt x="270" y="700"/>
                    <a:pt x="270" y="700"/>
                  </a:cubicBezTo>
                  <a:cubicBezTo>
                    <a:pt x="274" y="701"/>
                    <a:pt x="274" y="701"/>
                    <a:pt x="274" y="701"/>
                  </a:cubicBezTo>
                  <a:cubicBezTo>
                    <a:pt x="272" y="705"/>
                    <a:pt x="272" y="705"/>
                    <a:pt x="272" y="705"/>
                  </a:cubicBezTo>
                  <a:cubicBezTo>
                    <a:pt x="271" y="706"/>
                    <a:pt x="271" y="706"/>
                    <a:pt x="271" y="707"/>
                  </a:cubicBezTo>
                  <a:cubicBezTo>
                    <a:pt x="271" y="707"/>
                    <a:pt x="271" y="707"/>
                    <a:pt x="271" y="707"/>
                  </a:cubicBezTo>
                  <a:cubicBezTo>
                    <a:pt x="272" y="707"/>
                    <a:pt x="272" y="707"/>
                    <a:pt x="272" y="707"/>
                  </a:cubicBezTo>
                  <a:cubicBezTo>
                    <a:pt x="272" y="707"/>
                    <a:pt x="272" y="707"/>
                    <a:pt x="272" y="707"/>
                  </a:cubicBezTo>
                  <a:cubicBezTo>
                    <a:pt x="273" y="707"/>
                    <a:pt x="274" y="707"/>
                    <a:pt x="274" y="707"/>
                  </a:cubicBezTo>
                  <a:cubicBezTo>
                    <a:pt x="275" y="707"/>
                    <a:pt x="277" y="706"/>
                    <a:pt x="278" y="706"/>
                  </a:cubicBezTo>
                  <a:cubicBezTo>
                    <a:pt x="278" y="706"/>
                    <a:pt x="279" y="706"/>
                    <a:pt x="279" y="706"/>
                  </a:cubicBezTo>
                  <a:cubicBezTo>
                    <a:pt x="281" y="707"/>
                    <a:pt x="283" y="707"/>
                    <a:pt x="284" y="708"/>
                  </a:cubicBezTo>
                  <a:cubicBezTo>
                    <a:pt x="285" y="709"/>
                    <a:pt x="285" y="709"/>
                    <a:pt x="286" y="710"/>
                  </a:cubicBezTo>
                  <a:cubicBezTo>
                    <a:pt x="287" y="711"/>
                    <a:pt x="287" y="711"/>
                    <a:pt x="287" y="711"/>
                  </a:cubicBezTo>
                  <a:cubicBezTo>
                    <a:pt x="288" y="713"/>
                    <a:pt x="288" y="714"/>
                    <a:pt x="289" y="715"/>
                  </a:cubicBezTo>
                  <a:cubicBezTo>
                    <a:pt x="290" y="714"/>
                    <a:pt x="290" y="713"/>
                    <a:pt x="291" y="712"/>
                  </a:cubicBezTo>
                  <a:cubicBezTo>
                    <a:pt x="297" y="705"/>
                    <a:pt x="297" y="705"/>
                    <a:pt x="297" y="705"/>
                  </a:cubicBezTo>
                  <a:cubicBezTo>
                    <a:pt x="296" y="714"/>
                    <a:pt x="296" y="714"/>
                    <a:pt x="296" y="714"/>
                  </a:cubicBezTo>
                  <a:cubicBezTo>
                    <a:pt x="296" y="714"/>
                    <a:pt x="296" y="715"/>
                    <a:pt x="296" y="715"/>
                  </a:cubicBezTo>
                  <a:cubicBezTo>
                    <a:pt x="296" y="715"/>
                    <a:pt x="297" y="715"/>
                    <a:pt x="298" y="715"/>
                  </a:cubicBezTo>
                  <a:cubicBezTo>
                    <a:pt x="300" y="716"/>
                    <a:pt x="300" y="716"/>
                    <a:pt x="300" y="716"/>
                  </a:cubicBezTo>
                  <a:cubicBezTo>
                    <a:pt x="300" y="716"/>
                    <a:pt x="300" y="716"/>
                    <a:pt x="300" y="716"/>
                  </a:cubicBezTo>
                  <a:cubicBezTo>
                    <a:pt x="300" y="715"/>
                    <a:pt x="301" y="713"/>
                    <a:pt x="303" y="713"/>
                  </a:cubicBezTo>
                  <a:cubicBezTo>
                    <a:pt x="304" y="713"/>
                    <a:pt x="305" y="713"/>
                    <a:pt x="305" y="713"/>
                  </a:cubicBezTo>
                  <a:cubicBezTo>
                    <a:pt x="306" y="713"/>
                    <a:pt x="306" y="713"/>
                    <a:pt x="306" y="713"/>
                  </a:cubicBezTo>
                  <a:cubicBezTo>
                    <a:pt x="306" y="713"/>
                    <a:pt x="307" y="713"/>
                    <a:pt x="307" y="713"/>
                  </a:cubicBezTo>
                  <a:cubicBezTo>
                    <a:pt x="307" y="713"/>
                    <a:pt x="307" y="713"/>
                    <a:pt x="307" y="713"/>
                  </a:cubicBezTo>
                  <a:cubicBezTo>
                    <a:pt x="308" y="713"/>
                    <a:pt x="309" y="714"/>
                    <a:pt x="309" y="714"/>
                  </a:cubicBezTo>
                  <a:cubicBezTo>
                    <a:pt x="311" y="715"/>
                    <a:pt x="313" y="716"/>
                    <a:pt x="315" y="717"/>
                  </a:cubicBezTo>
                  <a:cubicBezTo>
                    <a:pt x="318" y="717"/>
                    <a:pt x="320" y="718"/>
                    <a:pt x="322" y="718"/>
                  </a:cubicBezTo>
                  <a:cubicBezTo>
                    <a:pt x="325" y="718"/>
                    <a:pt x="328" y="719"/>
                    <a:pt x="331" y="719"/>
                  </a:cubicBezTo>
                  <a:cubicBezTo>
                    <a:pt x="333" y="719"/>
                    <a:pt x="335" y="719"/>
                    <a:pt x="338" y="718"/>
                  </a:cubicBezTo>
                  <a:cubicBezTo>
                    <a:pt x="338" y="718"/>
                    <a:pt x="338" y="718"/>
                    <a:pt x="338" y="718"/>
                  </a:cubicBezTo>
                  <a:cubicBezTo>
                    <a:pt x="340" y="717"/>
                    <a:pt x="340" y="717"/>
                    <a:pt x="340" y="717"/>
                  </a:cubicBezTo>
                  <a:cubicBezTo>
                    <a:pt x="342" y="716"/>
                    <a:pt x="345" y="714"/>
                    <a:pt x="347" y="713"/>
                  </a:cubicBezTo>
                  <a:cubicBezTo>
                    <a:pt x="348" y="713"/>
                    <a:pt x="348" y="713"/>
                    <a:pt x="348" y="713"/>
                  </a:cubicBezTo>
                  <a:cubicBezTo>
                    <a:pt x="349" y="712"/>
                    <a:pt x="349" y="712"/>
                    <a:pt x="349" y="712"/>
                  </a:cubicBezTo>
                  <a:cubicBezTo>
                    <a:pt x="349" y="712"/>
                    <a:pt x="350" y="712"/>
                    <a:pt x="350" y="712"/>
                  </a:cubicBezTo>
                  <a:cubicBezTo>
                    <a:pt x="351" y="712"/>
                    <a:pt x="352" y="713"/>
                    <a:pt x="353" y="713"/>
                  </a:cubicBezTo>
                  <a:cubicBezTo>
                    <a:pt x="354" y="713"/>
                    <a:pt x="356" y="714"/>
                    <a:pt x="358" y="716"/>
                  </a:cubicBezTo>
                  <a:cubicBezTo>
                    <a:pt x="358" y="716"/>
                    <a:pt x="358" y="716"/>
                    <a:pt x="358" y="716"/>
                  </a:cubicBezTo>
                  <a:cubicBezTo>
                    <a:pt x="358" y="716"/>
                    <a:pt x="358" y="716"/>
                    <a:pt x="358" y="716"/>
                  </a:cubicBezTo>
                  <a:cubicBezTo>
                    <a:pt x="358" y="717"/>
                    <a:pt x="358" y="717"/>
                    <a:pt x="358" y="717"/>
                  </a:cubicBezTo>
                  <a:cubicBezTo>
                    <a:pt x="358" y="717"/>
                    <a:pt x="359" y="718"/>
                    <a:pt x="359" y="719"/>
                  </a:cubicBezTo>
                  <a:cubicBezTo>
                    <a:pt x="359" y="720"/>
                    <a:pt x="359" y="720"/>
                    <a:pt x="359" y="720"/>
                  </a:cubicBezTo>
                  <a:cubicBezTo>
                    <a:pt x="359" y="720"/>
                    <a:pt x="359" y="721"/>
                    <a:pt x="359" y="721"/>
                  </a:cubicBezTo>
                  <a:cubicBezTo>
                    <a:pt x="359" y="722"/>
                    <a:pt x="359" y="722"/>
                    <a:pt x="359" y="722"/>
                  </a:cubicBezTo>
                  <a:cubicBezTo>
                    <a:pt x="359" y="723"/>
                    <a:pt x="359" y="723"/>
                    <a:pt x="359" y="724"/>
                  </a:cubicBezTo>
                  <a:cubicBezTo>
                    <a:pt x="359" y="725"/>
                    <a:pt x="358" y="725"/>
                    <a:pt x="358" y="726"/>
                  </a:cubicBezTo>
                  <a:cubicBezTo>
                    <a:pt x="358" y="727"/>
                    <a:pt x="358" y="727"/>
                    <a:pt x="358" y="727"/>
                  </a:cubicBezTo>
                  <a:cubicBezTo>
                    <a:pt x="357" y="728"/>
                    <a:pt x="357" y="728"/>
                    <a:pt x="357" y="728"/>
                  </a:cubicBezTo>
                  <a:cubicBezTo>
                    <a:pt x="357" y="729"/>
                    <a:pt x="357" y="729"/>
                    <a:pt x="357" y="729"/>
                  </a:cubicBezTo>
                  <a:cubicBezTo>
                    <a:pt x="358" y="728"/>
                    <a:pt x="358" y="728"/>
                    <a:pt x="358" y="727"/>
                  </a:cubicBezTo>
                  <a:cubicBezTo>
                    <a:pt x="359" y="726"/>
                    <a:pt x="360" y="725"/>
                    <a:pt x="361" y="724"/>
                  </a:cubicBezTo>
                  <a:cubicBezTo>
                    <a:pt x="362" y="721"/>
                    <a:pt x="365" y="718"/>
                    <a:pt x="367" y="716"/>
                  </a:cubicBezTo>
                  <a:cubicBezTo>
                    <a:pt x="368" y="716"/>
                    <a:pt x="368" y="715"/>
                    <a:pt x="369" y="714"/>
                  </a:cubicBezTo>
                  <a:cubicBezTo>
                    <a:pt x="372" y="711"/>
                    <a:pt x="376" y="709"/>
                    <a:pt x="383" y="707"/>
                  </a:cubicBezTo>
                  <a:cubicBezTo>
                    <a:pt x="385" y="707"/>
                    <a:pt x="385" y="707"/>
                    <a:pt x="385" y="707"/>
                  </a:cubicBezTo>
                  <a:cubicBezTo>
                    <a:pt x="386" y="707"/>
                    <a:pt x="386" y="707"/>
                    <a:pt x="386" y="707"/>
                  </a:cubicBezTo>
                  <a:cubicBezTo>
                    <a:pt x="387" y="707"/>
                    <a:pt x="387" y="707"/>
                    <a:pt x="387" y="707"/>
                  </a:cubicBezTo>
                  <a:cubicBezTo>
                    <a:pt x="387" y="707"/>
                    <a:pt x="387" y="707"/>
                    <a:pt x="387" y="707"/>
                  </a:cubicBezTo>
                  <a:cubicBezTo>
                    <a:pt x="390" y="707"/>
                    <a:pt x="392" y="708"/>
                    <a:pt x="394" y="709"/>
                  </a:cubicBezTo>
                  <a:cubicBezTo>
                    <a:pt x="394" y="710"/>
                    <a:pt x="394" y="710"/>
                    <a:pt x="394" y="710"/>
                  </a:cubicBezTo>
                  <a:cubicBezTo>
                    <a:pt x="394" y="711"/>
                    <a:pt x="394" y="711"/>
                    <a:pt x="394" y="711"/>
                  </a:cubicBezTo>
                  <a:cubicBezTo>
                    <a:pt x="395" y="711"/>
                    <a:pt x="395" y="712"/>
                    <a:pt x="395" y="713"/>
                  </a:cubicBezTo>
                  <a:cubicBezTo>
                    <a:pt x="395" y="713"/>
                    <a:pt x="395" y="713"/>
                    <a:pt x="395" y="713"/>
                  </a:cubicBezTo>
                  <a:cubicBezTo>
                    <a:pt x="396" y="713"/>
                    <a:pt x="396" y="713"/>
                    <a:pt x="397" y="713"/>
                  </a:cubicBezTo>
                  <a:cubicBezTo>
                    <a:pt x="399" y="713"/>
                    <a:pt x="400" y="713"/>
                    <a:pt x="402" y="714"/>
                  </a:cubicBezTo>
                  <a:cubicBezTo>
                    <a:pt x="403" y="714"/>
                    <a:pt x="403" y="714"/>
                    <a:pt x="403" y="714"/>
                  </a:cubicBezTo>
                  <a:cubicBezTo>
                    <a:pt x="404" y="714"/>
                    <a:pt x="404" y="714"/>
                    <a:pt x="404" y="714"/>
                  </a:cubicBezTo>
                  <a:cubicBezTo>
                    <a:pt x="404" y="715"/>
                    <a:pt x="404" y="715"/>
                    <a:pt x="404" y="715"/>
                  </a:cubicBezTo>
                  <a:cubicBezTo>
                    <a:pt x="405" y="715"/>
                    <a:pt x="405" y="715"/>
                    <a:pt x="405" y="715"/>
                  </a:cubicBezTo>
                  <a:cubicBezTo>
                    <a:pt x="406" y="715"/>
                    <a:pt x="406" y="715"/>
                    <a:pt x="406" y="715"/>
                  </a:cubicBezTo>
                  <a:cubicBezTo>
                    <a:pt x="406" y="715"/>
                    <a:pt x="406" y="715"/>
                    <a:pt x="406" y="715"/>
                  </a:cubicBezTo>
                  <a:cubicBezTo>
                    <a:pt x="407" y="715"/>
                    <a:pt x="407" y="715"/>
                    <a:pt x="407" y="715"/>
                  </a:cubicBezTo>
                  <a:cubicBezTo>
                    <a:pt x="408" y="714"/>
                    <a:pt x="410" y="713"/>
                    <a:pt x="412" y="713"/>
                  </a:cubicBezTo>
                  <a:cubicBezTo>
                    <a:pt x="414" y="713"/>
                    <a:pt x="417" y="714"/>
                    <a:pt x="418" y="714"/>
                  </a:cubicBezTo>
                  <a:cubicBezTo>
                    <a:pt x="420" y="715"/>
                    <a:pt x="422" y="716"/>
                    <a:pt x="423" y="716"/>
                  </a:cubicBezTo>
                  <a:cubicBezTo>
                    <a:pt x="423" y="717"/>
                    <a:pt x="424" y="718"/>
                    <a:pt x="424" y="718"/>
                  </a:cubicBezTo>
                  <a:cubicBezTo>
                    <a:pt x="425" y="719"/>
                    <a:pt x="425" y="719"/>
                    <a:pt x="425" y="719"/>
                  </a:cubicBezTo>
                  <a:cubicBezTo>
                    <a:pt x="425" y="719"/>
                    <a:pt x="425" y="720"/>
                    <a:pt x="425" y="720"/>
                  </a:cubicBezTo>
                  <a:cubicBezTo>
                    <a:pt x="426" y="720"/>
                    <a:pt x="426" y="720"/>
                    <a:pt x="426" y="720"/>
                  </a:cubicBezTo>
                  <a:cubicBezTo>
                    <a:pt x="426" y="720"/>
                    <a:pt x="426" y="720"/>
                    <a:pt x="426" y="720"/>
                  </a:cubicBezTo>
                  <a:cubicBezTo>
                    <a:pt x="427" y="720"/>
                    <a:pt x="427" y="720"/>
                    <a:pt x="428" y="720"/>
                  </a:cubicBezTo>
                  <a:cubicBezTo>
                    <a:pt x="440" y="719"/>
                    <a:pt x="440" y="719"/>
                    <a:pt x="440" y="719"/>
                  </a:cubicBezTo>
                  <a:cubicBezTo>
                    <a:pt x="440" y="719"/>
                    <a:pt x="440" y="719"/>
                    <a:pt x="440" y="719"/>
                  </a:cubicBezTo>
                  <a:cubicBezTo>
                    <a:pt x="442" y="718"/>
                    <a:pt x="443" y="718"/>
                    <a:pt x="443" y="717"/>
                  </a:cubicBezTo>
                  <a:cubicBezTo>
                    <a:pt x="443" y="716"/>
                    <a:pt x="443" y="716"/>
                    <a:pt x="443" y="716"/>
                  </a:cubicBezTo>
                  <a:cubicBezTo>
                    <a:pt x="443" y="715"/>
                    <a:pt x="443" y="714"/>
                    <a:pt x="444" y="713"/>
                  </a:cubicBezTo>
                  <a:cubicBezTo>
                    <a:pt x="444" y="712"/>
                    <a:pt x="445" y="711"/>
                    <a:pt x="446" y="710"/>
                  </a:cubicBezTo>
                  <a:cubicBezTo>
                    <a:pt x="447" y="709"/>
                    <a:pt x="449" y="709"/>
                    <a:pt x="449" y="708"/>
                  </a:cubicBezTo>
                  <a:cubicBezTo>
                    <a:pt x="450" y="708"/>
                    <a:pt x="450" y="708"/>
                    <a:pt x="450" y="708"/>
                  </a:cubicBezTo>
                  <a:cubicBezTo>
                    <a:pt x="451" y="708"/>
                    <a:pt x="451" y="707"/>
                    <a:pt x="452" y="707"/>
                  </a:cubicBezTo>
                  <a:cubicBezTo>
                    <a:pt x="450" y="704"/>
                    <a:pt x="450" y="704"/>
                    <a:pt x="450" y="704"/>
                  </a:cubicBezTo>
                  <a:cubicBezTo>
                    <a:pt x="453" y="706"/>
                    <a:pt x="453" y="706"/>
                    <a:pt x="453" y="706"/>
                  </a:cubicBezTo>
                  <a:cubicBezTo>
                    <a:pt x="454" y="706"/>
                    <a:pt x="454" y="706"/>
                    <a:pt x="454" y="706"/>
                  </a:cubicBezTo>
                  <a:cubicBezTo>
                    <a:pt x="454" y="705"/>
                    <a:pt x="454" y="705"/>
                    <a:pt x="454" y="705"/>
                  </a:cubicBezTo>
                  <a:cubicBezTo>
                    <a:pt x="455" y="704"/>
                    <a:pt x="455" y="704"/>
                    <a:pt x="455" y="704"/>
                  </a:cubicBezTo>
                  <a:cubicBezTo>
                    <a:pt x="455" y="702"/>
                    <a:pt x="456" y="700"/>
                    <a:pt x="458" y="699"/>
                  </a:cubicBezTo>
                  <a:cubicBezTo>
                    <a:pt x="459" y="698"/>
                    <a:pt x="461" y="698"/>
                    <a:pt x="462" y="698"/>
                  </a:cubicBezTo>
                  <a:cubicBezTo>
                    <a:pt x="462" y="698"/>
                    <a:pt x="462" y="698"/>
                    <a:pt x="463" y="698"/>
                  </a:cubicBezTo>
                  <a:cubicBezTo>
                    <a:pt x="465" y="697"/>
                    <a:pt x="467" y="697"/>
                    <a:pt x="469" y="696"/>
                  </a:cubicBezTo>
                  <a:cubicBezTo>
                    <a:pt x="473" y="695"/>
                    <a:pt x="473" y="695"/>
                    <a:pt x="473" y="695"/>
                  </a:cubicBezTo>
                  <a:cubicBezTo>
                    <a:pt x="474" y="694"/>
                    <a:pt x="476" y="693"/>
                    <a:pt x="477" y="692"/>
                  </a:cubicBezTo>
                  <a:cubicBezTo>
                    <a:pt x="478" y="691"/>
                    <a:pt x="478" y="691"/>
                    <a:pt x="478" y="691"/>
                  </a:cubicBezTo>
                  <a:cubicBezTo>
                    <a:pt x="478" y="691"/>
                    <a:pt x="478" y="690"/>
                    <a:pt x="479" y="690"/>
                  </a:cubicBezTo>
                  <a:cubicBezTo>
                    <a:pt x="479" y="690"/>
                    <a:pt x="479" y="690"/>
                    <a:pt x="479" y="690"/>
                  </a:cubicBezTo>
                  <a:cubicBezTo>
                    <a:pt x="481" y="688"/>
                    <a:pt x="483" y="687"/>
                    <a:pt x="485" y="685"/>
                  </a:cubicBezTo>
                  <a:cubicBezTo>
                    <a:pt x="486" y="685"/>
                    <a:pt x="487" y="684"/>
                    <a:pt x="488" y="683"/>
                  </a:cubicBezTo>
                  <a:cubicBezTo>
                    <a:pt x="488" y="683"/>
                    <a:pt x="489" y="682"/>
                    <a:pt x="490" y="682"/>
                  </a:cubicBezTo>
                  <a:cubicBezTo>
                    <a:pt x="490" y="682"/>
                    <a:pt x="491" y="681"/>
                    <a:pt x="492" y="681"/>
                  </a:cubicBezTo>
                  <a:cubicBezTo>
                    <a:pt x="493" y="681"/>
                    <a:pt x="494" y="681"/>
                    <a:pt x="494" y="682"/>
                  </a:cubicBezTo>
                  <a:cubicBezTo>
                    <a:pt x="495" y="682"/>
                    <a:pt x="495" y="682"/>
                    <a:pt x="495" y="682"/>
                  </a:cubicBezTo>
                  <a:cubicBezTo>
                    <a:pt x="495" y="682"/>
                    <a:pt x="496" y="683"/>
                    <a:pt x="496" y="683"/>
                  </a:cubicBezTo>
                  <a:cubicBezTo>
                    <a:pt x="496" y="683"/>
                    <a:pt x="496" y="683"/>
                    <a:pt x="496" y="683"/>
                  </a:cubicBezTo>
                  <a:cubicBezTo>
                    <a:pt x="497" y="684"/>
                    <a:pt x="497" y="684"/>
                    <a:pt x="497" y="684"/>
                  </a:cubicBezTo>
                  <a:cubicBezTo>
                    <a:pt x="498" y="685"/>
                    <a:pt x="498" y="685"/>
                    <a:pt x="498" y="685"/>
                  </a:cubicBezTo>
                  <a:cubicBezTo>
                    <a:pt x="499" y="685"/>
                    <a:pt x="499" y="685"/>
                    <a:pt x="499" y="685"/>
                  </a:cubicBezTo>
                  <a:cubicBezTo>
                    <a:pt x="500" y="685"/>
                    <a:pt x="500" y="685"/>
                    <a:pt x="500" y="685"/>
                  </a:cubicBezTo>
                  <a:cubicBezTo>
                    <a:pt x="500" y="685"/>
                    <a:pt x="501" y="685"/>
                    <a:pt x="502" y="685"/>
                  </a:cubicBezTo>
                  <a:cubicBezTo>
                    <a:pt x="502" y="686"/>
                    <a:pt x="503" y="686"/>
                    <a:pt x="503" y="686"/>
                  </a:cubicBezTo>
                  <a:cubicBezTo>
                    <a:pt x="504" y="686"/>
                    <a:pt x="505" y="686"/>
                    <a:pt x="506" y="687"/>
                  </a:cubicBezTo>
                  <a:cubicBezTo>
                    <a:pt x="506" y="687"/>
                    <a:pt x="507" y="688"/>
                    <a:pt x="508" y="688"/>
                  </a:cubicBezTo>
                  <a:cubicBezTo>
                    <a:pt x="509" y="688"/>
                    <a:pt x="509" y="688"/>
                    <a:pt x="509" y="688"/>
                  </a:cubicBezTo>
                  <a:cubicBezTo>
                    <a:pt x="510" y="688"/>
                    <a:pt x="511" y="687"/>
                    <a:pt x="512" y="686"/>
                  </a:cubicBezTo>
                  <a:cubicBezTo>
                    <a:pt x="519" y="681"/>
                    <a:pt x="523" y="678"/>
                    <a:pt x="526" y="678"/>
                  </a:cubicBezTo>
                  <a:cubicBezTo>
                    <a:pt x="526" y="678"/>
                    <a:pt x="527" y="678"/>
                    <a:pt x="527" y="678"/>
                  </a:cubicBezTo>
                  <a:cubicBezTo>
                    <a:pt x="528" y="678"/>
                    <a:pt x="529" y="679"/>
                    <a:pt x="530" y="680"/>
                  </a:cubicBezTo>
                  <a:cubicBezTo>
                    <a:pt x="530" y="681"/>
                    <a:pt x="530" y="681"/>
                    <a:pt x="530" y="681"/>
                  </a:cubicBezTo>
                  <a:cubicBezTo>
                    <a:pt x="530" y="681"/>
                    <a:pt x="530" y="681"/>
                    <a:pt x="531" y="681"/>
                  </a:cubicBezTo>
                  <a:cubicBezTo>
                    <a:pt x="531" y="681"/>
                    <a:pt x="531" y="681"/>
                    <a:pt x="531" y="681"/>
                  </a:cubicBezTo>
                  <a:cubicBezTo>
                    <a:pt x="533" y="682"/>
                    <a:pt x="535" y="683"/>
                    <a:pt x="535" y="685"/>
                  </a:cubicBezTo>
                  <a:cubicBezTo>
                    <a:pt x="536" y="685"/>
                    <a:pt x="536" y="685"/>
                    <a:pt x="536" y="685"/>
                  </a:cubicBezTo>
                  <a:cubicBezTo>
                    <a:pt x="536" y="686"/>
                    <a:pt x="536" y="686"/>
                    <a:pt x="536" y="686"/>
                  </a:cubicBezTo>
                  <a:cubicBezTo>
                    <a:pt x="536" y="686"/>
                    <a:pt x="535" y="687"/>
                    <a:pt x="535" y="687"/>
                  </a:cubicBezTo>
                  <a:cubicBezTo>
                    <a:pt x="535" y="688"/>
                    <a:pt x="535" y="688"/>
                    <a:pt x="535" y="688"/>
                  </a:cubicBezTo>
                  <a:cubicBezTo>
                    <a:pt x="544" y="684"/>
                    <a:pt x="544" y="684"/>
                    <a:pt x="544" y="684"/>
                  </a:cubicBezTo>
                  <a:cubicBezTo>
                    <a:pt x="538" y="692"/>
                    <a:pt x="538" y="692"/>
                    <a:pt x="538" y="692"/>
                  </a:cubicBezTo>
                  <a:cubicBezTo>
                    <a:pt x="538" y="692"/>
                    <a:pt x="538" y="692"/>
                    <a:pt x="538" y="692"/>
                  </a:cubicBezTo>
                  <a:cubicBezTo>
                    <a:pt x="539" y="693"/>
                    <a:pt x="539" y="693"/>
                    <a:pt x="539" y="693"/>
                  </a:cubicBezTo>
                  <a:cubicBezTo>
                    <a:pt x="539" y="693"/>
                    <a:pt x="539" y="693"/>
                    <a:pt x="539" y="693"/>
                  </a:cubicBezTo>
                  <a:cubicBezTo>
                    <a:pt x="540" y="694"/>
                    <a:pt x="541" y="695"/>
                    <a:pt x="541" y="697"/>
                  </a:cubicBezTo>
                  <a:cubicBezTo>
                    <a:pt x="541" y="699"/>
                    <a:pt x="541" y="701"/>
                    <a:pt x="538" y="702"/>
                  </a:cubicBezTo>
                  <a:cubicBezTo>
                    <a:pt x="538" y="702"/>
                    <a:pt x="538" y="702"/>
                    <a:pt x="538" y="702"/>
                  </a:cubicBezTo>
                  <a:cubicBezTo>
                    <a:pt x="538" y="702"/>
                    <a:pt x="537" y="702"/>
                    <a:pt x="537" y="703"/>
                  </a:cubicBezTo>
                  <a:cubicBezTo>
                    <a:pt x="537" y="703"/>
                    <a:pt x="536" y="704"/>
                    <a:pt x="536" y="704"/>
                  </a:cubicBezTo>
                  <a:cubicBezTo>
                    <a:pt x="537" y="704"/>
                    <a:pt x="537" y="704"/>
                    <a:pt x="537" y="704"/>
                  </a:cubicBezTo>
                  <a:cubicBezTo>
                    <a:pt x="538" y="704"/>
                    <a:pt x="539" y="704"/>
                    <a:pt x="540" y="704"/>
                  </a:cubicBezTo>
                  <a:cubicBezTo>
                    <a:pt x="541" y="704"/>
                    <a:pt x="541" y="704"/>
                    <a:pt x="541" y="704"/>
                  </a:cubicBezTo>
                  <a:cubicBezTo>
                    <a:pt x="542" y="705"/>
                    <a:pt x="544" y="705"/>
                    <a:pt x="545" y="705"/>
                  </a:cubicBezTo>
                  <a:cubicBezTo>
                    <a:pt x="547" y="705"/>
                    <a:pt x="547" y="705"/>
                    <a:pt x="547" y="705"/>
                  </a:cubicBezTo>
                  <a:cubicBezTo>
                    <a:pt x="548" y="705"/>
                    <a:pt x="549" y="705"/>
                    <a:pt x="550" y="706"/>
                  </a:cubicBezTo>
                  <a:cubicBezTo>
                    <a:pt x="550" y="706"/>
                    <a:pt x="550" y="706"/>
                    <a:pt x="550" y="706"/>
                  </a:cubicBezTo>
                  <a:cubicBezTo>
                    <a:pt x="552" y="706"/>
                    <a:pt x="553" y="707"/>
                    <a:pt x="554" y="708"/>
                  </a:cubicBezTo>
                  <a:cubicBezTo>
                    <a:pt x="554" y="708"/>
                    <a:pt x="554" y="708"/>
                    <a:pt x="554" y="708"/>
                  </a:cubicBezTo>
                  <a:cubicBezTo>
                    <a:pt x="556" y="706"/>
                    <a:pt x="557" y="704"/>
                    <a:pt x="558" y="703"/>
                  </a:cubicBezTo>
                  <a:cubicBezTo>
                    <a:pt x="559" y="702"/>
                    <a:pt x="560" y="701"/>
                    <a:pt x="561" y="701"/>
                  </a:cubicBezTo>
                  <a:cubicBezTo>
                    <a:pt x="561" y="701"/>
                    <a:pt x="562" y="701"/>
                    <a:pt x="562" y="701"/>
                  </a:cubicBezTo>
                  <a:cubicBezTo>
                    <a:pt x="564" y="701"/>
                    <a:pt x="565" y="702"/>
                    <a:pt x="566" y="703"/>
                  </a:cubicBezTo>
                  <a:cubicBezTo>
                    <a:pt x="566" y="703"/>
                    <a:pt x="566" y="703"/>
                    <a:pt x="566" y="703"/>
                  </a:cubicBezTo>
                  <a:cubicBezTo>
                    <a:pt x="567" y="703"/>
                    <a:pt x="567" y="704"/>
                    <a:pt x="567" y="705"/>
                  </a:cubicBezTo>
                  <a:cubicBezTo>
                    <a:pt x="568" y="705"/>
                    <a:pt x="568" y="705"/>
                    <a:pt x="568" y="705"/>
                  </a:cubicBezTo>
                  <a:cubicBezTo>
                    <a:pt x="568" y="705"/>
                    <a:pt x="569" y="705"/>
                    <a:pt x="570" y="706"/>
                  </a:cubicBezTo>
                  <a:cubicBezTo>
                    <a:pt x="571" y="706"/>
                    <a:pt x="572" y="707"/>
                    <a:pt x="573" y="708"/>
                  </a:cubicBezTo>
                  <a:cubicBezTo>
                    <a:pt x="573" y="708"/>
                    <a:pt x="573" y="709"/>
                    <a:pt x="574" y="709"/>
                  </a:cubicBezTo>
                  <a:cubicBezTo>
                    <a:pt x="574" y="710"/>
                    <a:pt x="574" y="710"/>
                    <a:pt x="574" y="710"/>
                  </a:cubicBezTo>
                  <a:cubicBezTo>
                    <a:pt x="577" y="713"/>
                    <a:pt x="578" y="716"/>
                    <a:pt x="578" y="719"/>
                  </a:cubicBezTo>
                  <a:cubicBezTo>
                    <a:pt x="578" y="720"/>
                    <a:pt x="579" y="722"/>
                    <a:pt x="580" y="723"/>
                  </a:cubicBezTo>
                  <a:cubicBezTo>
                    <a:pt x="580" y="723"/>
                    <a:pt x="580" y="723"/>
                    <a:pt x="580" y="723"/>
                  </a:cubicBezTo>
                  <a:cubicBezTo>
                    <a:pt x="580" y="723"/>
                    <a:pt x="581" y="723"/>
                    <a:pt x="581" y="723"/>
                  </a:cubicBezTo>
                  <a:cubicBezTo>
                    <a:pt x="581" y="723"/>
                    <a:pt x="582" y="723"/>
                    <a:pt x="582" y="723"/>
                  </a:cubicBezTo>
                  <a:cubicBezTo>
                    <a:pt x="583" y="723"/>
                    <a:pt x="584" y="723"/>
                    <a:pt x="585" y="724"/>
                  </a:cubicBezTo>
                  <a:cubicBezTo>
                    <a:pt x="585" y="724"/>
                    <a:pt x="585" y="724"/>
                    <a:pt x="585" y="724"/>
                  </a:cubicBezTo>
                  <a:cubicBezTo>
                    <a:pt x="586" y="722"/>
                    <a:pt x="586" y="722"/>
                    <a:pt x="586" y="722"/>
                  </a:cubicBezTo>
                  <a:cubicBezTo>
                    <a:pt x="589" y="726"/>
                    <a:pt x="589" y="726"/>
                    <a:pt x="589" y="726"/>
                  </a:cubicBezTo>
                  <a:cubicBezTo>
                    <a:pt x="590" y="727"/>
                    <a:pt x="590" y="728"/>
                    <a:pt x="590" y="728"/>
                  </a:cubicBezTo>
                  <a:cubicBezTo>
                    <a:pt x="591" y="729"/>
                    <a:pt x="591" y="729"/>
                    <a:pt x="591" y="730"/>
                  </a:cubicBezTo>
                  <a:cubicBezTo>
                    <a:pt x="592" y="733"/>
                    <a:pt x="592" y="738"/>
                    <a:pt x="592" y="741"/>
                  </a:cubicBezTo>
                  <a:cubicBezTo>
                    <a:pt x="592" y="743"/>
                    <a:pt x="592" y="743"/>
                    <a:pt x="592" y="743"/>
                  </a:cubicBezTo>
                  <a:cubicBezTo>
                    <a:pt x="592" y="744"/>
                    <a:pt x="592" y="744"/>
                    <a:pt x="592" y="745"/>
                  </a:cubicBezTo>
                  <a:cubicBezTo>
                    <a:pt x="592" y="746"/>
                    <a:pt x="592" y="746"/>
                    <a:pt x="592" y="746"/>
                  </a:cubicBezTo>
                  <a:cubicBezTo>
                    <a:pt x="592" y="750"/>
                    <a:pt x="592" y="753"/>
                    <a:pt x="592" y="756"/>
                  </a:cubicBezTo>
                  <a:cubicBezTo>
                    <a:pt x="591" y="757"/>
                    <a:pt x="591" y="758"/>
                    <a:pt x="591" y="759"/>
                  </a:cubicBezTo>
                  <a:cubicBezTo>
                    <a:pt x="590" y="760"/>
                    <a:pt x="590" y="761"/>
                    <a:pt x="590" y="762"/>
                  </a:cubicBezTo>
                  <a:cubicBezTo>
                    <a:pt x="589" y="762"/>
                    <a:pt x="589" y="764"/>
                    <a:pt x="588" y="765"/>
                  </a:cubicBezTo>
                  <a:cubicBezTo>
                    <a:pt x="588" y="766"/>
                    <a:pt x="588" y="766"/>
                    <a:pt x="588" y="766"/>
                  </a:cubicBezTo>
                  <a:cubicBezTo>
                    <a:pt x="588" y="767"/>
                    <a:pt x="588" y="767"/>
                    <a:pt x="588" y="767"/>
                  </a:cubicBezTo>
                  <a:cubicBezTo>
                    <a:pt x="589" y="768"/>
                    <a:pt x="589" y="769"/>
                    <a:pt x="589" y="769"/>
                  </a:cubicBezTo>
                  <a:cubicBezTo>
                    <a:pt x="590" y="770"/>
                    <a:pt x="590" y="772"/>
                    <a:pt x="589" y="774"/>
                  </a:cubicBezTo>
                  <a:cubicBezTo>
                    <a:pt x="589" y="775"/>
                    <a:pt x="589" y="775"/>
                    <a:pt x="589" y="775"/>
                  </a:cubicBezTo>
                  <a:cubicBezTo>
                    <a:pt x="588" y="775"/>
                    <a:pt x="588" y="776"/>
                    <a:pt x="587" y="777"/>
                  </a:cubicBezTo>
                  <a:cubicBezTo>
                    <a:pt x="587" y="777"/>
                    <a:pt x="586" y="777"/>
                    <a:pt x="586" y="778"/>
                  </a:cubicBezTo>
                  <a:cubicBezTo>
                    <a:pt x="584" y="779"/>
                    <a:pt x="582" y="781"/>
                    <a:pt x="580" y="782"/>
                  </a:cubicBezTo>
                  <a:cubicBezTo>
                    <a:pt x="579" y="782"/>
                    <a:pt x="579" y="782"/>
                    <a:pt x="578" y="782"/>
                  </a:cubicBezTo>
                  <a:cubicBezTo>
                    <a:pt x="578" y="782"/>
                    <a:pt x="577" y="782"/>
                    <a:pt x="577" y="782"/>
                  </a:cubicBezTo>
                  <a:cubicBezTo>
                    <a:pt x="576" y="783"/>
                    <a:pt x="576" y="783"/>
                    <a:pt x="576" y="783"/>
                  </a:cubicBezTo>
                  <a:cubicBezTo>
                    <a:pt x="576" y="783"/>
                    <a:pt x="576" y="784"/>
                    <a:pt x="576" y="784"/>
                  </a:cubicBezTo>
                  <a:cubicBezTo>
                    <a:pt x="576" y="787"/>
                    <a:pt x="573" y="788"/>
                    <a:pt x="571" y="788"/>
                  </a:cubicBezTo>
                  <a:cubicBezTo>
                    <a:pt x="570" y="789"/>
                    <a:pt x="570" y="789"/>
                    <a:pt x="570" y="789"/>
                  </a:cubicBezTo>
                  <a:cubicBezTo>
                    <a:pt x="569" y="789"/>
                    <a:pt x="569" y="789"/>
                    <a:pt x="569" y="791"/>
                  </a:cubicBezTo>
                  <a:cubicBezTo>
                    <a:pt x="569" y="792"/>
                    <a:pt x="569" y="794"/>
                    <a:pt x="569" y="794"/>
                  </a:cubicBezTo>
                  <a:cubicBezTo>
                    <a:pt x="569" y="794"/>
                    <a:pt x="569" y="794"/>
                    <a:pt x="569" y="794"/>
                  </a:cubicBezTo>
                  <a:cubicBezTo>
                    <a:pt x="570" y="795"/>
                    <a:pt x="570" y="795"/>
                    <a:pt x="570" y="795"/>
                  </a:cubicBezTo>
                  <a:cubicBezTo>
                    <a:pt x="569" y="798"/>
                    <a:pt x="569" y="798"/>
                    <a:pt x="569" y="798"/>
                  </a:cubicBezTo>
                  <a:cubicBezTo>
                    <a:pt x="568" y="800"/>
                    <a:pt x="567" y="800"/>
                    <a:pt x="565" y="801"/>
                  </a:cubicBezTo>
                  <a:cubicBezTo>
                    <a:pt x="565" y="801"/>
                    <a:pt x="565" y="801"/>
                    <a:pt x="565" y="801"/>
                  </a:cubicBezTo>
                  <a:cubicBezTo>
                    <a:pt x="565" y="801"/>
                    <a:pt x="564" y="801"/>
                    <a:pt x="564" y="802"/>
                  </a:cubicBezTo>
                  <a:cubicBezTo>
                    <a:pt x="563" y="802"/>
                    <a:pt x="563" y="802"/>
                    <a:pt x="563" y="805"/>
                  </a:cubicBezTo>
                  <a:cubicBezTo>
                    <a:pt x="563" y="805"/>
                    <a:pt x="563" y="805"/>
                    <a:pt x="563" y="805"/>
                  </a:cubicBezTo>
                  <a:cubicBezTo>
                    <a:pt x="565" y="806"/>
                    <a:pt x="566" y="807"/>
                    <a:pt x="566" y="809"/>
                  </a:cubicBezTo>
                  <a:cubicBezTo>
                    <a:pt x="567" y="811"/>
                    <a:pt x="567" y="814"/>
                    <a:pt x="566" y="816"/>
                  </a:cubicBezTo>
                  <a:cubicBezTo>
                    <a:pt x="566" y="816"/>
                    <a:pt x="566" y="816"/>
                    <a:pt x="566" y="816"/>
                  </a:cubicBezTo>
                  <a:cubicBezTo>
                    <a:pt x="566" y="816"/>
                    <a:pt x="566" y="816"/>
                    <a:pt x="565" y="817"/>
                  </a:cubicBezTo>
                  <a:cubicBezTo>
                    <a:pt x="564" y="818"/>
                    <a:pt x="564" y="818"/>
                    <a:pt x="564" y="818"/>
                  </a:cubicBezTo>
                  <a:cubicBezTo>
                    <a:pt x="566" y="817"/>
                    <a:pt x="568" y="816"/>
                    <a:pt x="569" y="815"/>
                  </a:cubicBezTo>
                  <a:cubicBezTo>
                    <a:pt x="569" y="815"/>
                    <a:pt x="569" y="815"/>
                    <a:pt x="569" y="815"/>
                  </a:cubicBezTo>
                  <a:cubicBezTo>
                    <a:pt x="571" y="815"/>
                    <a:pt x="572" y="814"/>
                    <a:pt x="572" y="814"/>
                  </a:cubicBezTo>
                  <a:cubicBezTo>
                    <a:pt x="573" y="813"/>
                    <a:pt x="574" y="813"/>
                    <a:pt x="574" y="813"/>
                  </a:cubicBezTo>
                  <a:cubicBezTo>
                    <a:pt x="575" y="813"/>
                    <a:pt x="575" y="813"/>
                    <a:pt x="575" y="813"/>
                  </a:cubicBezTo>
                  <a:cubicBezTo>
                    <a:pt x="575" y="813"/>
                    <a:pt x="576" y="812"/>
                    <a:pt x="577" y="812"/>
                  </a:cubicBezTo>
                  <a:cubicBezTo>
                    <a:pt x="578" y="812"/>
                    <a:pt x="580" y="813"/>
                    <a:pt x="581" y="813"/>
                  </a:cubicBezTo>
                  <a:cubicBezTo>
                    <a:pt x="582" y="813"/>
                    <a:pt x="582" y="813"/>
                    <a:pt x="582" y="813"/>
                  </a:cubicBezTo>
                  <a:cubicBezTo>
                    <a:pt x="582" y="813"/>
                    <a:pt x="583" y="813"/>
                    <a:pt x="583" y="813"/>
                  </a:cubicBezTo>
                  <a:cubicBezTo>
                    <a:pt x="586" y="813"/>
                    <a:pt x="588" y="813"/>
                    <a:pt x="591" y="812"/>
                  </a:cubicBezTo>
                  <a:cubicBezTo>
                    <a:pt x="598" y="809"/>
                    <a:pt x="598" y="809"/>
                    <a:pt x="598" y="809"/>
                  </a:cubicBezTo>
                  <a:cubicBezTo>
                    <a:pt x="590" y="823"/>
                    <a:pt x="590" y="823"/>
                    <a:pt x="590" y="823"/>
                  </a:cubicBezTo>
                  <a:cubicBezTo>
                    <a:pt x="590" y="823"/>
                    <a:pt x="590" y="823"/>
                    <a:pt x="590" y="823"/>
                  </a:cubicBezTo>
                  <a:cubicBezTo>
                    <a:pt x="590" y="824"/>
                    <a:pt x="590" y="824"/>
                    <a:pt x="590" y="824"/>
                  </a:cubicBezTo>
                  <a:cubicBezTo>
                    <a:pt x="591" y="825"/>
                    <a:pt x="591" y="825"/>
                    <a:pt x="591" y="825"/>
                  </a:cubicBezTo>
                  <a:cubicBezTo>
                    <a:pt x="591" y="825"/>
                    <a:pt x="591" y="826"/>
                    <a:pt x="592" y="827"/>
                  </a:cubicBezTo>
                  <a:cubicBezTo>
                    <a:pt x="592" y="828"/>
                    <a:pt x="592" y="829"/>
                    <a:pt x="593" y="829"/>
                  </a:cubicBezTo>
                  <a:cubicBezTo>
                    <a:pt x="593" y="830"/>
                    <a:pt x="593" y="831"/>
                    <a:pt x="594" y="832"/>
                  </a:cubicBezTo>
                  <a:cubicBezTo>
                    <a:pt x="595" y="835"/>
                    <a:pt x="595" y="835"/>
                    <a:pt x="595" y="835"/>
                  </a:cubicBezTo>
                  <a:cubicBezTo>
                    <a:pt x="595" y="836"/>
                    <a:pt x="596" y="837"/>
                    <a:pt x="598" y="837"/>
                  </a:cubicBezTo>
                  <a:cubicBezTo>
                    <a:pt x="598" y="838"/>
                    <a:pt x="599" y="838"/>
                    <a:pt x="599" y="838"/>
                  </a:cubicBezTo>
                  <a:cubicBezTo>
                    <a:pt x="600" y="838"/>
                    <a:pt x="600" y="838"/>
                    <a:pt x="600" y="838"/>
                  </a:cubicBezTo>
                  <a:cubicBezTo>
                    <a:pt x="602" y="833"/>
                    <a:pt x="602" y="833"/>
                    <a:pt x="602" y="833"/>
                  </a:cubicBezTo>
                  <a:cubicBezTo>
                    <a:pt x="601" y="838"/>
                    <a:pt x="601" y="838"/>
                    <a:pt x="601" y="838"/>
                  </a:cubicBezTo>
                  <a:cubicBezTo>
                    <a:pt x="602" y="838"/>
                    <a:pt x="602" y="838"/>
                    <a:pt x="602" y="838"/>
                  </a:cubicBezTo>
                  <a:cubicBezTo>
                    <a:pt x="602" y="838"/>
                    <a:pt x="603" y="838"/>
                    <a:pt x="604" y="838"/>
                  </a:cubicBezTo>
                  <a:cubicBezTo>
                    <a:pt x="605" y="838"/>
                    <a:pt x="608" y="838"/>
                    <a:pt x="609" y="841"/>
                  </a:cubicBezTo>
                  <a:cubicBezTo>
                    <a:pt x="609" y="841"/>
                    <a:pt x="610" y="842"/>
                    <a:pt x="610" y="842"/>
                  </a:cubicBezTo>
                  <a:cubicBezTo>
                    <a:pt x="610" y="842"/>
                    <a:pt x="610" y="843"/>
                    <a:pt x="610" y="843"/>
                  </a:cubicBezTo>
                  <a:cubicBezTo>
                    <a:pt x="611" y="844"/>
                    <a:pt x="611" y="847"/>
                    <a:pt x="608" y="849"/>
                  </a:cubicBezTo>
                  <a:cubicBezTo>
                    <a:pt x="607" y="849"/>
                    <a:pt x="607" y="849"/>
                    <a:pt x="606" y="850"/>
                  </a:cubicBezTo>
                  <a:cubicBezTo>
                    <a:pt x="606" y="850"/>
                    <a:pt x="606" y="850"/>
                    <a:pt x="606" y="850"/>
                  </a:cubicBezTo>
                  <a:cubicBezTo>
                    <a:pt x="606" y="850"/>
                    <a:pt x="606" y="850"/>
                    <a:pt x="606" y="850"/>
                  </a:cubicBezTo>
                  <a:cubicBezTo>
                    <a:pt x="605" y="851"/>
                    <a:pt x="605" y="851"/>
                    <a:pt x="605" y="851"/>
                  </a:cubicBezTo>
                  <a:cubicBezTo>
                    <a:pt x="605" y="852"/>
                    <a:pt x="605" y="852"/>
                    <a:pt x="605" y="852"/>
                  </a:cubicBezTo>
                  <a:cubicBezTo>
                    <a:pt x="605" y="853"/>
                    <a:pt x="605" y="854"/>
                    <a:pt x="604" y="855"/>
                  </a:cubicBezTo>
                  <a:cubicBezTo>
                    <a:pt x="604" y="856"/>
                    <a:pt x="604" y="857"/>
                    <a:pt x="604" y="858"/>
                  </a:cubicBezTo>
                  <a:cubicBezTo>
                    <a:pt x="604" y="858"/>
                    <a:pt x="604" y="858"/>
                    <a:pt x="604" y="858"/>
                  </a:cubicBezTo>
                  <a:cubicBezTo>
                    <a:pt x="603" y="860"/>
                    <a:pt x="603" y="861"/>
                    <a:pt x="602" y="862"/>
                  </a:cubicBezTo>
                  <a:cubicBezTo>
                    <a:pt x="616" y="864"/>
                    <a:pt x="616" y="864"/>
                    <a:pt x="616" y="864"/>
                  </a:cubicBezTo>
                  <a:cubicBezTo>
                    <a:pt x="617" y="864"/>
                    <a:pt x="617" y="864"/>
                    <a:pt x="617" y="864"/>
                  </a:cubicBezTo>
                  <a:cubicBezTo>
                    <a:pt x="618" y="864"/>
                    <a:pt x="618" y="864"/>
                    <a:pt x="619" y="865"/>
                  </a:cubicBezTo>
                  <a:cubicBezTo>
                    <a:pt x="619" y="865"/>
                    <a:pt x="619" y="865"/>
                    <a:pt x="619" y="865"/>
                  </a:cubicBezTo>
                  <a:cubicBezTo>
                    <a:pt x="620" y="866"/>
                    <a:pt x="620" y="867"/>
                    <a:pt x="620" y="867"/>
                  </a:cubicBezTo>
                  <a:cubicBezTo>
                    <a:pt x="620" y="868"/>
                    <a:pt x="620" y="869"/>
                    <a:pt x="620" y="870"/>
                  </a:cubicBezTo>
                  <a:cubicBezTo>
                    <a:pt x="620" y="871"/>
                    <a:pt x="620" y="871"/>
                    <a:pt x="620" y="871"/>
                  </a:cubicBezTo>
                  <a:cubicBezTo>
                    <a:pt x="620" y="872"/>
                    <a:pt x="620" y="872"/>
                    <a:pt x="620" y="872"/>
                  </a:cubicBezTo>
                  <a:cubicBezTo>
                    <a:pt x="620" y="872"/>
                    <a:pt x="620" y="872"/>
                    <a:pt x="620" y="872"/>
                  </a:cubicBezTo>
                  <a:cubicBezTo>
                    <a:pt x="620" y="873"/>
                    <a:pt x="621" y="873"/>
                    <a:pt x="621" y="875"/>
                  </a:cubicBezTo>
                  <a:cubicBezTo>
                    <a:pt x="622" y="875"/>
                    <a:pt x="622" y="875"/>
                    <a:pt x="622" y="875"/>
                  </a:cubicBezTo>
                  <a:cubicBezTo>
                    <a:pt x="622" y="876"/>
                    <a:pt x="622" y="876"/>
                    <a:pt x="623" y="877"/>
                  </a:cubicBezTo>
                  <a:cubicBezTo>
                    <a:pt x="623" y="877"/>
                    <a:pt x="623" y="877"/>
                    <a:pt x="623" y="877"/>
                  </a:cubicBezTo>
                  <a:cubicBezTo>
                    <a:pt x="623" y="878"/>
                    <a:pt x="624" y="878"/>
                    <a:pt x="624" y="879"/>
                  </a:cubicBezTo>
                  <a:cubicBezTo>
                    <a:pt x="631" y="876"/>
                    <a:pt x="631" y="876"/>
                    <a:pt x="631" y="876"/>
                  </a:cubicBezTo>
                  <a:cubicBezTo>
                    <a:pt x="633" y="876"/>
                    <a:pt x="634" y="875"/>
                    <a:pt x="636" y="874"/>
                  </a:cubicBezTo>
                  <a:cubicBezTo>
                    <a:pt x="637" y="874"/>
                    <a:pt x="638" y="873"/>
                    <a:pt x="638" y="873"/>
                  </a:cubicBezTo>
                  <a:cubicBezTo>
                    <a:pt x="640" y="873"/>
                    <a:pt x="640" y="873"/>
                    <a:pt x="640" y="873"/>
                  </a:cubicBezTo>
                  <a:cubicBezTo>
                    <a:pt x="641" y="872"/>
                    <a:pt x="641" y="872"/>
                    <a:pt x="642" y="872"/>
                  </a:cubicBezTo>
                  <a:cubicBezTo>
                    <a:pt x="646" y="869"/>
                    <a:pt x="646" y="869"/>
                    <a:pt x="646" y="869"/>
                  </a:cubicBezTo>
                  <a:cubicBezTo>
                    <a:pt x="647" y="873"/>
                    <a:pt x="647" y="873"/>
                    <a:pt x="647" y="873"/>
                  </a:cubicBezTo>
                  <a:cubicBezTo>
                    <a:pt x="647" y="874"/>
                    <a:pt x="648" y="876"/>
                    <a:pt x="648" y="877"/>
                  </a:cubicBezTo>
                  <a:cubicBezTo>
                    <a:pt x="648" y="878"/>
                    <a:pt x="648" y="878"/>
                    <a:pt x="648" y="878"/>
                  </a:cubicBezTo>
                  <a:cubicBezTo>
                    <a:pt x="648" y="878"/>
                    <a:pt x="648" y="878"/>
                    <a:pt x="648" y="878"/>
                  </a:cubicBezTo>
                  <a:cubicBezTo>
                    <a:pt x="648" y="879"/>
                    <a:pt x="648" y="879"/>
                    <a:pt x="648" y="880"/>
                  </a:cubicBezTo>
                  <a:cubicBezTo>
                    <a:pt x="648" y="881"/>
                    <a:pt x="649" y="883"/>
                    <a:pt x="650" y="885"/>
                  </a:cubicBezTo>
                  <a:cubicBezTo>
                    <a:pt x="651" y="884"/>
                    <a:pt x="651" y="884"/>
                    <a:pt x="651" y="884"/>
                  </a:cubicBezTo>
                  <a:cubicBezTo>
                    <a:pt x="652" y="884"/>
                    <a:pt x="652" y="884"/>
                    <a:pt x="652" y="884"/>
                  </a:cubicBezTo>
                  <a:cubicBezTo>
                    <a:pt x="653" y="884"/>
                    <a:pt x="653" y="884"/>
                    <a:pt x="653" y="884"/>
                  </a:cubicBezTo>
                  <a:cubicBezTo>
                    <a:pt x="654" y="885"/>
                    <a:pt x="655" y="885"/>
                    <a:pt x="655" y="885"/>
                  </a:cubicBezTo>
                  <a:cubicBezTo>
                    <a:pt x="656" y="885"/>
                    <a:pt x="656" y="885"/>
                    <a:pt x="656" y="885"/>
                  </a:cubicBezTo>
                  <a:cubicBezTo>
                    <a:pt x="656" y="885"/>
                    <a:pt x="656" y="885"/>
                    <a:pt x="656" y="885"/>
                  </a:cubicBezTo>
                  <a:cubicBezTo>
                    <a:pt x="656" y="883"/>
                    <a:pt x="656" y="880"/>
                    <a:pt x="657" y="877"/>
                  </a:cubicBezTo>
                  <a:cubicBezTo>
                    <a:pt x="657" y="876"/>
                    <a:pt x="657" y="876"/>
                    <a:pt x="657" y="876"/>
                  </a:cubicBezTo>
                  <a:cubicBezTo>
                    <a:pt x="657" y="874"/>
                    <a:pt x="657" y="873"/>
                    <a:pt x="655" y="871"/>
                  </a:cubicBezTo>
                  <a:cubicBezTo>
                    <a:pt x="655" y="870"/>
                    <a:pt x="655" y="869"/>
                    <a:pt x="654" y="869"/>
                  </a:cubicBezTo>
                  <a:cubicBezTo>
                    <a:pt x="654" y="868"/>
                    <a:pt x="654" y="868"/>
                    <a:pt x="654" y="868"/>
                  </a:cubicBezTo>
                  <a:cubicBezTo>
                    <a:pt x="653" y="866"/>
                    <a:pt x="651" y="864"/>
                    <a:pt x="652" y="862"/>
                  </a:cubicBezTo>
                  <a:cubicBezTo>
                    <a:pt x="652" y="861"/>
                    <a:pt x="652" y="861"/>
                    <a:pt x="652" y="860"/>
                  </a:cubicBezTo>
                  <a:cubicBezTo>
                    <a:pt x="652" y="859"/>
                    <a:pt x="652" y="859"/>
                    <a:pt x="652" y="859"/>
                  </a:cubicBezTo>
                  <a:cubicBezTo>
                    <a:pt x="653" y="859"/>
                    <a:pt x="653" y="859"/>
                    <a:pt x="653" y="859"/>
                  </a:cubicBezTo>
                  <a:cubicBezTo>
                    <a:pt x="653" y="858"/>
                    <a:pt x="654" y="857"/>
                    <a:pt x="655" y="856"/>
                  </a:cubicBezTo>
                  <a:cubicBezTo>
                    <a:pt x="655" y="856"/>
                    <a:pt x="655" y="856"/>
                    <a:pt x="655" y="856"/>
                  </a:cubicBezTo>
                  <a:cubicBezTo>
                    <a:pt x="656" y="854"/>
                    <a:pt x="656" y="854"/>
                    <a:pt x="656" y="854"/>
                  </a:cubicBezTo>
                  <a:cubicBezTo>
                    <a:pt x="656" y="854"/>
                    <a:pt x="657" y="853"/>
                    <a:pt x="658" y="853"/>
                  </a:cubicBezTo>
                  <a:cubicBezTo>
                    <a:pt x="658" y="853"/>
                    <a:pt x="659" y="853"/>
                    <a:pt x="660" y="853"/>
                  </a:cubicBezTo>
                  <a:cubicBezTo>
                    <a:pt x="662" y="853"/>
                    <a:pt x="664" y="854"/>
                    <a:pt x="666" y="854"/>
                  </a:cubicBezTo>
                  <a:cubicBezTo>
                    <a:pt x="666" y="855"/>
                    <a:pt x="666" y="855"/>
                    <a:pt x="666" y="855"/>
                  </a:cubicBezTo>
                  <a:cubicBezTo>
                    <a:pt x="667" y="855"/>
                    <a:pt x="667" y="855"/>
                    <a:pt x="667" y="855"/>
                  </a:cubicBezTo>
                  <a:cubicBezTo>
                    <a:pt x="668" y="855"/>
                    <a:pt x="668" y="855"/>
                    <a:pt x="668" y="855"/>
                  </a:cubicBezTo>
                  <a:cubicBezTo>
                    <a:pt x="670" y="853"/>
                    <a:pt x="671" y="852"/>
                    <a:pt x="673" y="850"/>
                  </a:cubicBezTo>
                  <a:cubicBezTo>
                    <a:pt x="673" y="849"/>
                    <a:pt x="673" y="849"/>
                    <a:pt x="673" y="849"/>
                  </a:cubicBezTo>
                  <a:cubicBezTo>
                    <a:pt x="673" y="848"/>
                    <a:pt x="675" y="846"/>
                    <a:pt x="677" y="846"/>
                  </a:cubicBezTo>
                  <a:cubicBezTo>
                    <a:pt x="677" y="846"/>
                    <a:pt x="677" y="846"/>
                    <a:pt x="677" y="846"/>
                  </a:cubicBezTo>
                  <a:cubicBezTo>
                    <a:pt x="678" y="846"/>
                    <a:pt x="679" y="847"/>
                    <a:pt x="680" y="847"/>
                  </a:cubicBezTo>
                  <a:cubicBezTo>
                    <a:pt x="680" y="847"/>
                    <a:pt x="681" y="848"/>
                    <a:pt x="682" y="848"/>
                  </a:cubicBezTo>
                  <a:cubicBezTo>
                    <a:pt x="684" y="849"/>
                    <a:pt x="684" y="849"/>
                    <a:pt x="684" y="849"/>
                  </a:cubicBezTo>
                  <a:cubicBezTo>
                    <a:pt x="685" y="850"/>
                    <a:pt x="686" y="850"/>
                    <a:pt x="687" y="851"/>
                  </a:cubicBezTo>
                  <a:cubicBezTo>
                    <a:pt x="688" y="851"/>
                    <a:pt x="688" y="852"/>
                    <a:pt x="689" y="853"/>
                  </a:cubicBezTo>
                  <a:cubicBezTo>
                    <a:pt x="689" y="853"/>
                    <a:pt x="689" y="853"/>
                    <a:pt x="689" y="853"/>
                  </a:cubicBezTo>
                  <a:cubicBezTo>
                    <a:pt x="689" y="853"/>
                    <a:pt x="690" y="852"/>
                    <a:pt x="690" y="851"/>
                  </a:cubicBezTo>
                  <a:cubicBezTo>
                    <a:pt x="690" y="851"/>
                    <a:pt x="690" y="851"/>
                    <a:pt x="690" y="851"/>
                  </a:cubicBezTo>
                  <a:cubicBezTo>
                    <a:pt x="691" y="851"/>
                    <a:pt x="691" y="851"/>
                    <a:pt x="691" y="851"/>
                  </a:cubicBezTo>
                  <a:cubicBezTo>
                    <a:pt x="692" y="850"/>
                    <a:pt x="692" y="850"/>
                    <a:pt x="692" y="850"/>
                  </a:cubicBezTo>
                  <a:cubicBezTo>
                    <a:pt x="693" y="849"/>
                    <a:pt x="693" y="849"/>
                    <a:pt x="693" y="849"/>
                  </a:cubicBezTo>
                  <a:cubicBezTo>
                    <a:pt x="694" y="847"/>
                    <a:pt x="695" y="846"/>
                    <a:pt x="696" y="846"/>
                  </a:cubicBezTo>
                  <a:cubicBezTo>
                    <a:pt x="696" y="846"/>
                    <a:pt x="696" y="846"/>
                    <a:pt x="696" y="846"/>
                  </a:cubicBezTo>
                  <a:cubicBezTo>
                    <a:pt x="699" y="846"/>
                    <a:pt x="699" y="846"/>
                    <a:pt x="699" y="846"/>
                  </a:cubicBezTo>
                  <a:cubicBezTo>
                    <a:pt x="699" y="846"/>
                    <a:pt x="699" y="846"/>
                    <a:pt x="699" y="846"/>
                  </a:cubicBezTo>
                  <a:cubicBezTo>
                    <a:pt x="700" y="847"/>
                    <a:pt x="700" y="847"/>
                    <a:pt x="700" y="847"/>
                  </a:cubicBezTo>
                  <a:cubicBezTo>
                    <a:pt x="701" y="848"/>
                    <a:pt x="701" y="848"/>
                    <a:pt x="701" y="848"/>
                  </a:cubicBezTo>
                  <a:cubicBezTo>
                    <a:pt x="702" y="847"/>
                    <a:pt x="702" y="847"/>
                    <a:pt x="702" y="847"/>
                  </a:cubicBezTo>
                  <a:cubicBezTo>
                    <a:pt x="704" y="844"/>
                    <a:pt x="704" y="844"/>
                    <a:pt x="704" y="844"/>
                  </a:cubicBezTo>
                  <a:cubicBezTo>
                    <a:pt x="706" y="847"/>
                    <a:pt x="706" y="847"/>
                    <a:pt x="706" y="847"/>
                  </a:cubicBezTo>
                  <a:cubicBezTo>
                    <a:pt x="707" y="848"/>
                    <a:pt x="707" y="848"/>
                    <a:pt x="707" y="848"/>
                  </a:cubicBezTo>
                  <a:cubicBezTo>
                    <a:pt x="708" y="849"/>
                    <a:pt x="709" y="850"/>
                    <a:pt x="709" y="850"/>
                  </a:cubicBezTo>
                  <a:cubicBezTo>
                    <a:pt x="710" y="851"/>
                    <a:pt x="710" y="851"/>
                    <a:pt x="711" y="852"/>
                  </a:cubicBezTo>
                  <a:cubicBezTo>
                    <a:pt x="711" y="852"/>
                    <a:pt x="711" y="852"/>
                    <a:pt x="711" y="852"/>
                  </a:cubicBezTo>
                  <a:cubicBezTo>
                    <a:pt x="719" y="843"/>
                    <a:pt x="719" y="843"/>
                    <a:pt x="719" y="843"/>
                  </a:cubicBezTo>
                  <a:cubicBezTo>
                    <a:pt x="721" y="846"/>
                    <a:pt x="721" y="846"/>
                    <a:pt x="721" y="846"/>
                  </a:cubicBezTo>
                  <a:cubicBezTo>
                    <a:pt x="721" y="847"/>
                    <a:pt x="722" y="847"/>
                    <a:pt x="722" y="848"/>
                  </a:cubicBezTo>
                  <a:cubicBezTo>
                    <a:pt x="725" y="846"/>
                    <a:pt x="725" y="846"/>
                    <a:pt x="725" y="846"/>
                  </a:cubicBezTo>
                  <a:cubicBezTo>
                    <a:pt x="726" y="846"/>
                    <a:pt x="727" y="845"/>
                    <a:pt x="728" y="845"/>
                  </a:cubicBezTo>
                  <a:cubicBezTo>
                    <a:pt x="728" y="844"/>
                    <a:pt x="728" y="844"/>
                    <a:pt x="728" y="844"/>
                  </a:cubicBezTo>
                  <a:cubicBezTo>
                    <a:pt x="729" y="844"/>
                    <a:pt x="729" y="844"/>
                    <a:pt x="730" y="843"/>
                  </a:cubicBezTo>
                  <a:cubicBezTo>
                    <a:pt x="730" y="842"/>
                    <a:pt x="731" y="841"/>
                    <a:pt x="732" y="839"/>
                  </a:cubicBezTo>
                  <a:cubicBezTo>
                    <a:pt x="733" y="836"/>
                    <a:pt x="733" y="836"/>
                    <a:pt x="733" y="836"/>
                  </a:cubicBezTo>
                  <a:cubicBezTo>
                    <a:pt x="734" y="836"/>
                    <a:pt x="734" y="836"/>
                    <a:pt x="734" y="836"/>
                  </a:cubicBezTo>
                  <a:cubicBezTo>
                    <a:pt x="735" y="835"/>
                    <a:pt x="735" y="835"/>
                    <a:pt x="735" y="835"/>
                  </a:cubicBezTo>
                  <a:cubicBezTo>
                    <a:pt x="736" y="835"/>
                    <a:pt x="736" y="835"/>
                    <a:pt x="736" y="835"/>
                  </a:cubicBezTo>
                  <a:cubicBezTo>
                    <a:pt x="738" y="833"/>
                    <a:pt x="741" y="831"/>
                    <a:pt x="743" y="831"/>
                  </a:cubicBezTo>
                  <a:cubicBezTo>
                    <a:pt x="744" y="831"/>
                    <a:pt x="744" y="831"/>
                    <a:pt x="744" y="831"/>
                  </a:cubicBezTo>
                  <a:cubicBezTo>
                    <a:pt x="745" y="831"/>
                    <a:pt x="746" y="832"/>
                    <a:pt x="746" y="833"/>
                  </a:cubicBezTo>
                  <a:cubicBezTo>
                    <a:pt x="747" y="834"/>
                    <a:pt x="747" y="834"/>
                    <a:pt x="748" y="834"/>
                  </a:cubicBezTo>
                  <a:cubicBezTo>
                    <a:pt x="748" y="835"/>
                    <a:pt x="749" y="835"/>
                    <a:pt x="750" y="836"/>
                  </a:cubicBezTo>
                  <a:cubicBezTo>
                    <a:pt x="751" y="837"/>
                    <a:pt x="751" y="837"/>
                    <a:pt x="751" y="837"/>
                  </a:cubicBezTo>
                  <a:cubicBezTo>
                    <a:pt x="752" y="839"/>
                    <a:pt x="753" y="840"/>
                    <a:pt x="754" y="840"/>
                  </a:cubicBezTo>
                  <a:cubicBezTo>
                    <a:pt x="755" y="841"/>
                    <a:pt x="755" y="841"/>
                    <a:pt x="755" y="841"/>
                  </a:cubicBezTo>
                  <a:cubicBezTo>
                    <a:pt x="758" y="843"/>
                    <a:pt x="760" y="843"/>
                    <a:pt x="764" y="843"/>
                  </a:cubicBezTo>
                  <a:cubicBezTo>
                    <a:pt x="765" y="843"/>
                    <a:pt x="765" y="843"/>
                    <a:pt x="765" y="843"/>
                  </a:cubicBezTo>
                  <a:cubicBezTo>
                    <a:pt x="766" y="843"/>
                    <a:pt x="766" y="843"/>
                    <a:pt x="767" y="843"/>
                  </a:cubicBezTo>
                  <a:cubicBezTo>
                    <a:pt x="767" y="843"/>
                    <a:pt x="768" y="843"/>
                    <a:pt x="768" y="843"/>
                  </a:cubicBezTo>
                  <a:cubicBezTo>
                    <a:pt x="769" y="843"/>
                    <a:pt x="769" y="843"/>
                    <a:pt x="770" y="843"/>
                  </a:cubicBezTo>
                  <a:cubicBezTo>
                    <a:pt x="771" y="843"/>
                    <a:pt x="773" y="843"/>
                    <a:pt x="775" y="844"/>
                  </a:cubicBezTo>
                  <a:cubicBezTo>
                    <a:pt x="777" y="839"/>
                    <a:pt x="777" y="839"/>
                    <a:pt x="777" y="839"/>
                  </a:cubicBezTo>
                  <a:cubicBezTo>
                    <a:pt x="776" y="844"/>
                    <a:pt x="776" y="844"/>
                    <a:pt x="776" y="844"/>
                  </a:cubicBezTo>
                  <a:cubicBezTo>
                    <a:pt x="777" y="844"/>
                    <a:pt x="777" y="844"/>
                    <a:pt x="777" y="844"/>
                  </a:cubicBezTo>
                  <a:cubicBezTo>
                    <a:pt x="777" y="845"/>
                    <a:pt x="778" y="845"/>
                    <a:pt x="778" y="845"/>
                  </a:cubicBezTo>
                  <a:cubicBezTo>
                    <a:pt x="779" y="845"/>
                    <a:pt x="780" y="846"/>
                    <a:pt x="781" y="847"/>
                  </a:cubicBezTo>
                  <a:cubicBezTo>
                    <a:pt x="782" y="848"/>
                    <a:pt x="782" y="848"/>
                    <a:pt x="782" y="848"/>
                  </a:cubicBezTo>
                  <a:cubicBezTo>
                    <a:pt x="781" y="850"/>
                    <a:pt x="781" y="850"/>
                    <a:pt x="781" y="850"/>
                  </a:cubicBezTo>
                  <a:cubicBezTo>
                    <a:pt x="780" y="852"/>
                    <a:pt x="779" y="853"/>
                    <a:pt x="778" y="855"/>
                  </a:cubicBezTo>
                  <a:cubicBezTo>
                    <a:pt x="777" y="856"/>
                    <a:pt x="777" y="856"/>
                    <a:pt x="777" y="856"/>
                  </a:cubicBezTo>
                  <a:cubicBezTo>
                    <a:pt x="776" y="857"/>
                    <a:pt x="776" y="858"/>
                    <a:pt x="775" y="858"/>
                  </a:cubicBezTo>
                  <a:cubicBezTo>
                    <a:pt x="776" y="858"/>
                    <a:pt x="776" y="858"/>
                    <a:pt x="776" y="858"/>
                  </a:cubicBezTo>
                  <a:cubicBezTo>
                    <a:pt x="776" y="859"/>
                    <a:pt x="776" y="859"/>
                    <a:pt x="776" y="859"/>
                  </a:cubicBezTo>
                  <a:cubicBezTo>
                    <a:pt x="777" y="860"/>
                    <a:pt x="777" y="861"/>
                    <a:pt x="778" y="863"/>
                  </a:cubicBezTo>
                  <a:cubicBezTo>
                    <a:pt x="778" y="864"/>
                    <a:pt x="778" y="865"/>
                    <a:pt x="778" y="865"/>
                  </a:cubicBezTo>
                  <a:cubicBezTo>
                    <a:pt x="778" y="866"/>
                    <a:pt x="778" y="866"/>
                    <a:pt x="778" y="866"/>
                  </a:cubicBezTo>
                  <a:cubicBezTo>
                    <a:pt x="779" y="866"/>
                    <a:pt x="779" y="866"/>
                    <a:pt x="779" y="866"/>
                  </a:cubicBezTo>
                  <a:cubicBezTo>
                    <a:pt x="780" y="866"/>
                    <a:pt x="780" y="866"/>
                    <a:pt x="780" y="866"/>
                  </a:cubicBezTo>
                  <a:cubicBezTo>
                    <a:pt x="781" y="866"/>
                    <a:pt x="783" y="866"/>
                    <a:pt x="785" y="867"/>
                  </a:cubicBezTo>
                  <a:cubicBezTo>
                    <a:pt x="786" y="868"/>
                    <a:pt x="787" y="869"/>
                    <a:pt x="788" y="870"/>
                  </a:cubicBezTo>
                  <a:cubicBezTo>
                    <a:pt x="789" y="872"/>
                    <a:pt x="789" y="872"/>
                    <a:pt x="789" y="872"/>
                  </a:cubicBezTo>
                  <a:cubicBezTo>
                    <a:pt x="790" y="873"/>
                    <a:pt x="790" y="873"/>
                    <a:pt x="790" y="873"/>
                  </a:cubicBezTo>
                  <a:cubicBezTo>
                    <a:pt x="791" y="873"/>
                    <a:pt x="791" y="873"/>
                    <a:pt x="791" y="873"/>
                  </a:cubicBezTo>
                  <a:cubicBezTo>
                    <a:pt x="792" y="874"/>
                    <a:pt x="792" y="874"/>
                    <a:pt x="792" y="874"/>
                  </a:cubicBezTo>
                  <a:cubicBezTo>
                    <a:pt x="793" y="874"/>
                    <a:pt x="794" y="874"/>
                    <a:pt x="794" y="874"/>
                  </a:cubicBezTo>
                  <a:cubicBezTo>
                    <a:pt x="795" y="874"/>
                    <a:pt x="796" y="874"/>
                    <a:pt x="796" y="874"/>
                  </a:cubicBezTo>
                  <a:cubicBezTo>
                    <a:pt x="798" y="874"/>
                    <a:pt x="801" y="875"/>
                    <a:pt x="803" y="876"/>
                  </a:cubicBezTo>
                  <a:cubicBezTo>
                    <a:pt x="804" y="876"/>
                    <a:pt x="805" y="876"/>
                    <a:pt x="806" y="876"/>
                  </a:cubicBezTo>
                  <a:cubicBezTo>
                    <a:pt x="807" y="877"/>
                    <a:pt x="807" y="877"/>
                    <a:pt x="807" y="877"/>
                  </a:cubicBezTo>
                  <a:cubicBezTo>
                    <a:pt x="809" y="878"/>
                    <a:pt x="809" y="878"/>
                    <a:pt x="809" y="878"/>
                  </a:cubicBezTo>
                  <a:cubicBezTo>
                    <a:pt x="809" y="878"/>
                    <a:pt x="809" y="878"/>
                    <a:pt x="809" y="878"/>
                  </a:cubicBezTo>
                  <a:cubicBezTo>
                    <a:pt x="810" y="878"/>
                    <a:pt x="811" y="877"/>
                    <a:pt x="812" y="877"/>
                  </a:cubicBezTo>
                  <a:cubicBezTo>
                    <a:pt x="812" y="878"/>
                    <a:pt x="812" y="879"/>
                    <a:pt x="811" y="880"/>
                  </a:cubicBezTo>
                  <a:cubicBezTo>
                    <a:pt x="812" y="880"/>
                    <a:pt x="813" y="879"/>
                    <a:pt x="813" y="878"/>
                  </a:cubicBezTo>
                  <a:cubicBezTo>
                    <a:pt x="813" y="878"/>
                    <a:pt x="814" y="876"/>
                    <a:pt x="814" y="875"/>
                  </a:cubicBezTo>
                  <a:cubicBezTo>
                    <a:pt x="814" y="875"/>
                    <a:pt x="817" y="877"/>
                    <a:pt x="818" y="878"/>
                  </a:cubicBezTo>
                  <a:cubicBezTo>
                    <a:pt x="819" y="877"/>
                    <a:pt x="819" y="876"/>
                    <a:pt x="819" y="876"/>
                  </a:cubicBezTo>
                  <a:cubicBezTo>
                    <a:pt x="819" y="876"/>
                    <a:pt x="818" y="876"/>
                    <a:pt x="818" y="876"/>
                  </a:cubicBezTo>
                  <a:cubicBezTo>
                    <a:pt x="818" y="876"/>
                    <a:pt x="818" y="875"/>
                    <a:pt x="818" y="874"/>
                  </a:cubicBezTo>
                  <a:cubicBezTo>
                    <a:pt x="817" y="873"/>
                    <a:pt x="817" y="869"/>
                    <a:pt x="819" y="869"/>
                  </a:cubicBezTo>
                  <a:cubicBezTo>
                    <a:pt x="819" y="869"/>
                    <a:pt x="819" y="869"/>
                    <a:pt x="820" y="869"/>
                  </a:cubicBezTo>
                  <a:cubicBezTo>
                    <a:pt x="819" y="870"/>
                    <a:pt x="819" y="870"/>
                    <a:pt x="819" y="870"/>
                  </a:cubicBezTo>
                  <a:cubicBezTo>
                    <a:pt x="819" y="870"/>
                    <a:pt x="819" y="870"/>
                    <a:pt x="819" y="870"/>
                  </a:cubicBezTo>
                  <a:cubicBezTo>
                    <a:pt x="820" y="870"/>
                    <a:pt x="820" y="871"/>
                    <a:pt x="821" y="871"/>
                  </a:cubicBezTo>
                  <a:cubicBezTo>
                    <a:pt x="821" y="871"/>
                    <a:pt x="820" y="872"/>
                    <a:pt x="820" y="873"/>
                  </a:cubicBezTo>
                  <a:cubicBezTo>
                    <a:pt x="820" y="873"/>
                    <a:pt x="820" y="873"/>
                    <a:pt x="821" y="873"/>
                  </a:cubicBezTo>
                  <a:cubicBezTo>
                    <a:pt x="822" y="873"/>
                    <a:pt x="822" y="873"/>
                    <a:pt x="821" y="874"/>
                  </a:cubicBezTo>
                  <a:cubicBezTo>
                    <a:pt x="821" y="874"/>
                    <a:pt x="821" y="874"/>
                    <a:pt x="821" y="874"/>
                  </a:cubicBezTo>
                  <a:cubicBezTo>
                    <a:pt x="822" y="874"/>
                    <a:pt x="822" y="874"/>
                    <a:pt x="822" y="874"/>
                  </a:cubicBezTo>
                  <a:cubicBezTo>
                    <a:pt x="823" y="874"/>
                    <a:pt x="823" y="875"/>
                    <a:pt x="823" y="875"/>
                  </a:cubicBezTo>
                  <a:cubicBezTo>
                    <a:pt x="823" y="875"/>
                    <a:pt x="823" y="875"/>
                    <a:pt x="823" y="875"/>
                  </a:cubicBezTo>
                  <a:cubicBezTo>
                    <a:pt x="823" y="875"/>
                    <a:pt x="825" y="877"/>
                    <a:pt x="826" y="877"/>
                  </a:cubicBezTo>
                  <a:cubicBezTo>
                    <a:pt x="826" y="877"/>
                    <a:pt x="826" y="877"/>
                    <a:pt x="826" y="877"/>
                  </a:cubicBezTo>
                  <a:cubicBezTo>
                    <a:pt x="826" y="877"/>
                    <a:pt x="827" y="874"/>
                    <a:pt x="828" y="874"/>
                  </a:cubicBezTo>
                  <a:cubicBezTo>
                    <a:pt x="827" y="876"/>
                    <a:pt x="827" y="877"/>
                    <a:pt x="829" y="878"/>
                  </a:cubicBezTo>
                  <a:cubicBezTo>
                    <a:pt x="829" y="878"/>
                    <a:pt x="831" y="878"/>
                    <a:pt x="832" y="879"/>
                  </a:cubicBezTo>
                  <a:cubicBezTo>
                    <a:pt x="833" y="880"/>
                    <a:pt x="833" y="882"/>
                    <a:pt x="833" y="883"/>
                  </a:cubicBezTo>
                  <a:cubicBezTo>
                    <a:pt x="835" y="882"/>
                    <a:pt x="839" y="882"/>
                    <a:pt x="842" y="881"/>
                  </a:cubicBezTo>
                  <a:cubicBezTo>
                    <a:pt x="844" y="880"/>
                    <a:pt x="843" y="877"/>
                    <a:pt x="841" y="877"/>
                  </a:cubicBezTo>
                  <a:cubicBezTo>
                    <a:pt x="842" y="876"/>
                    <a:pt x="843" y="875"/>
                    <a:pt x="843" y="874"/>
                  </a:cubicBezTo>
                  <a:cubicBezTo>
                    <a:pt x="844" y="874"/>
                    <a:pt x="844" y="874"/>
                    <a:pt x="844" y="874"/>
                  </a:cubicBezTo>
                  <a:cubicBezTo>
                    <a:pt x="843" y="875"/>
                    <a:pt x="842" y="876"/>
                    <a:pt x="843" y="876"/>
                  </a:cubicBezTo>
                  <a:cubicBezTo>
                    <a:pt x="844" y="877"/>
                    <a:pt x="845" y="877"/>
                    <a:pt x="846" y="878"/>
                  </a:cubicBezTo>
                  <a:cubicBezTo>
                    <a:pt x="846" y="878"/>
                    <a:pt x="846" y="880"/>
                    <a:pt x="847" y="881"/>
                  </a:cubicBezTo>
                  <a:cubicBezTo>
                    <a:pt x="847" y="880"/>
                    <a:pt x="847" y="879"/>
                    <a:pt x="847" y="878"/>
                  </a:cubicBezTo>
                  <a:cubicBezTo>
                    <a:pt x="848" y="879"/>
                    <a:pt x="850" y="881"/>
                    <a:pt x="851" y="881"/>
                  </a:cubicBezTo>
                  <a:cubicBezTo>
                    <a:pt x="851" y="881"/>
                    <a:pt x="851" y="881"/>
                    <a:pt x="852" y="881"/>
                  </a:cubicBezTo>
                  <a:cubicBezTo>
                    <a:pt x="851" y="882"/>
                    <a:pt x="850" y="884"/>
                    <a:pt x="848" y="884"/>
                  </a:cubicBezTo>
                  <a:cubicBezTo>
                    <a:pt x="848" y="884"/>
                    <a:pt x="848" y="884"/>
                    <a:pt x="848" y="884"/>
                  </a:cubicBezTo>
                  <a:cubicBezTo>
                    <a:pt x="848" y="886"/>
                    <a:pt x="848" y="887"/>
                    <a:pt x="847" y="889"/>
                  </a:cubicBezTo>
                  <a:cubicBezTo>
                    <a:pt x="847" y="889"/>
                    <a:pt x="847" y="888"/>
                    <a:pt x="846" y="888"/>
                  </a:cubicBezTo>
                  <a:cubicBezTo>
                    <a:pt x="845" y="888"/>
                    <a:pt x="846" y="892"/>
                    <a:pt x="846" y="893"/>
                  </a:cubicBezTo>
                  <a:cubicBezTo>
                    <a:pt x="846" y="897"/>
                    <a:pt x="847" y="898"/>
                    <a:pt x="849" y="903"/>
                  </a:cubicBezTo>
                  <a:cubicBezTo>
                    <a:pt x="850" y="905"/>
                    <a:pt x="850" y="910"/>
                    <a:pt x="852" y="911"/>
                  </a:cubicBezTo>
                  <a:cubicBezTo>
                    <a:pt x="852" y="912"/>
                    <a:pt x="853" y="912"/>
                    <a:pt x="854" y="912"/>
                  </a:cubicBezTo>
                  <a:cubicBezTo>
                    <a:pt x="857" y="912"/>
                    <a:pt x="862" y="911"/>
                    <a:pt x="863" y="909"/>
                  </a:cubicBezTo>
                  <a:cubicBezTo>
                    <a:pt x="866" y="907"/>
                    <a:pt x="865" y="905"/>
                    <a:pt x="863" y="903"/>
                  </a:cubicBezTo>
                  <a:cubicBezTo>
                    <a:pt x="862" y="902"/>
                    <a:pt x="861" y="902"/>
                    <a:pt x="861" y="901"/>
                  </a:cubicBezTo>
                  <a:cubicBezTo>
                    <a:pt x="860" y="901"/>
                    <a:pt x="860" y="901"/>
                    <a:pt x="860" y="901"/>
                  </a:cubicBezTo>
                  <a:cubicBezTo>
                    <a:pt x="860" y="900"/>
                    <a:pt x="861" y="899"/>
                    <a:pt x="861" y="898"/>
                  </a:cubicBezTo>
                  <a:cubicBezTo>
                    <a:pt x="861" y="899"/>
                    <a:pt x="862" y="899"/>
                    <a:pt x="862" y="900"/>
                  </a:cubicBezTo>
                  <a:cubicBezTo>
                    <a:pt x="862" y="897"/>
                    <a:pt x="861" y="896"/>
                    <a:pt x="860" y="896"/>
                  </a:cubicBezTo>
                  <a:cubicBezTo>
                    <a:pt x="860" y="896"/>
                    <a:pt x="860" y="897"/>
                    <a:pt x="859" y="897"/>
                  </a:cubicBezTo>
                  <a:cubicBezTo>
                    <a:pt x="859" y="897"/>
                    <a:pt x="859" y="897"/>
                    <a:pt x="859" y="897"/>
                  </a:cubicBezTo>
                  <a:cubicBezTo>
                    <a:pt x="858" y="897"/>
                    <a:pt x="857" y="896"/>
                    <a:pt x="857" y="895"/>
                  </a:cubicBezTo>
                  <a:cubicBezTo>
                    <a:pt x="856" y="891"/>
                    <a:pt x="862" y="889"/>
                    <a:pt x="862" y="886"/>
                  </a:cubicBezTo>
                  <a:cubicBezTo>
                    <a:pt x="862" y="885"/>
                    <a:pt x="861" y="884"/>
                    <a:pt x="862" y="882"/>
                  </a:cubicBezTo>
                  <a:cubicBezTo>
                    <a:pt x="863" y="884"/>
                    <a:pt x="863" y="885"/>
                    <a:pt x="864" y="886"/>
                  </a:cubicBezTo>
                  <a:cubicBezTo>
                    <a:pt x="864" y="886"/>
                    <a:pt x="864" y="886"/>
                    <a:pt x="863" y="886"/>
                  </a:cubicBezTo>
                  <a:cubicBezTo>
                    <a:pt x="863" y="887"/>
                    <a:pt x="863" y="887"/>
                    <a:pt x="863" y="888"/>
                  </a:cubicBezTo>
                  <a:cubicBezTo>
                    <a:pt x="868" y="886"/>
                    <a:pt x="873" y="883"/>
                    <a:pt x="879" y="881"/>
                  </a:cubicBezTo>
                  <a:cubicBezTo>
                    <a:pt x="884" y="879"/>
                    <a:pt x="889" y="879"/>
                    <a:pt x="895" y="877"/>
                  </a:cubicBezTo>
                  <a:cubicBezTo>
                    <a:pt x="895" y="876"/>
                    <a:pt x="895" y="875"/>
                    <a:pt x="893" y="874"/>
                  </a:cubicBezTo>
                  <a:cubicBezTo>
                    <a:pt x="895" y="874"/>
                    <a:pt x="896" y="875"/>
                    <a:pt x="897" y="875"/>
                  </a:cubicBezTo>
                  <a:cubicBezTo>
                    <a:pt x="898" y="875"/>
                    <a:pt x="899" y="875"/>
                    <a:pt x="900" y="874"/>
                  </a:cubicBezTo>
                  <a:cubicBezTo>
                    <a:pt x="898" y="873"/>
                    <a:pt x="898" y="872"/>
                    <a:pt x="898" y="870"/>
                  </a:cubicBezTo>
                  <a:cubicBezTo>
                    <a:pt x="898" y="871"/>
                    <a:pt x="899" y="871"/>
                    <a:pt x="900" y="871"/>
                  </a:cubicBezTo>
                  <a:cubicBezTo>
                    <a:pt x="900" y="871"/>
                    <a:pt x="901" y="871"/>
                    <a:pt x="901" y="871"/>
                  </a:cubicBezTo>
                  <a:cubicBezTo>
                    <a:pt x="901" y="871"/>
                    <a:pt x="901" y="872"/>
                    <a:pt x="900" y="872"/>
                  </a:cubicBezTo>
                  <a:cubicBezTo>
                    <a:pt x="901" y="872"/>
                    <a:pt x="901" y="872"/>
                    <a:pt x="901" y="872"/>
                  </a:cubicBezTo>
                  <a:cubicBezTo>
                    <a:pt x="901" y="872"/>
                    <a:pt x="902" y="872"/>
                    <a:pt x="902" y="872"/>
                  </a:cubicBezTo>
                  <a:cubicBezTo>
                    <a:pt x="903" y="872"/>
                    <a:pt x="903" y="872"/>
                    <a:pt x="904" y="872"/>
                  </a:cubicBezTo>
                  <a:cubicBezTo>
                    <a:pt x="904" y="872"/>
                    <a:pt x="905" y="872"/>
                    <a:pt x="905" y="872"/>
                  </a:cubicBezTo>
                  <a:cubicBezTo>
                    <a:pt x="905" y="872"/>
                    <a:pt x="906" y="875"/>
                    <a:pt x="907" y="875"/>
                  </a:cubicBezTo>
                  <a:cubicBezTo>
                    <a:pt x="908" y="873"/>
                    <a:pt x="908" y="870"/>
                    <a:pt x="909" y="867"/>
                  </a:cubicBezTo>
                  <a:cubicBezTo>
                    <a:pt x="909" y="868"/>
                    <a:pt x="909" y="869"/>
                    <a:pt x="911" y="869"/>
                  </a:cubicBezTo>
                  <a:cubicBezTo>
                    <a:pt x="911" y="869"/>
                    <a:pt x="911" y="869"/>
                    <a:pt x="912" y="869"/>
                  </a:cubicBezTo>
                  <a:cubicBezTo>
                    <a:pt x="910" y="871"/>
                    <a:pt x="910" y="871"/>
                    <a:pt x="910" y="871"/>
                  </a:cubicBezTo>
                  <a:cubicBezTo>
                    <a:pt x="910" y="871"/>
                    <a:pt x="911" y="871"/>
                    <a:pt x="911" y="871"/>
                  </a:cubicBezTo>
                  <a:cubicBezTo>
                    <a:pt x="912" y="871"/>
                    <a:pt x="914" y="871"/>
                    <a:pt x="915" y="870"/>
                  </a:cubicBezTo>
                  <a:cubicBezTo>
                    <a:pt x="917" y="870"/>
                    <a:pt x="919" y="869"/>
                    <a:pt x="920" y="869"/>
                  </a:cubicBezTo>
                  <a:cubicBezTo>
                    <a:pt x="920" y="869"/>
                    <a:pt x="920" y="869"/>
                    <a:pt x="920" y="869"/>
                  </a:cubicBezTo>
                  <a:cubicBezTo>
                    <a:pt x="922" y="870"/>
                    <a:pt x="922" y="871"/>
                    <a:pt x="923" y="871"/>
                  </a:cubicBezTo>
                  <a:cubicBezTo>
                    <a:pt x="923" y="871"/>
                    <a:pt x="923" y="870"/>
                    <a:pt x="924" y="869"/>
                  </a:cubicBezTo>
                  <a:cubicBezTo>
                    <a:pt x="924" y="868"/>
                    <a:pt x="924" y="868"/>
                    <a:pt x="924" y="868"/>
                  </a:cubicBezTo>
                  <a:cubicBezTo>
                    <a:pt x="924" y="867"/>
                    <a:pt x="924" y="867"/>
                    <a:pt x="925" y="866"/>
                  </a:cubicBezTo>
                  <a:cubicBezTo>
                    <a:pt x="926" y="864"/>
                    <a:pt x="926" y="864"/>
                    <a:pt x="926" y="864"/>
                  </a:cubicBezTo>
                  <a:cubicBezTo>
                    <a:pt x="926" y="864"/>
                    <a:pt x="926" y="863"/>
                    <a:pt x="926" y="863"/>
                  </a:cubicBezTo>
                  <a:cubicBezTo>
                    <a:pt x="927" y="864"/>
                    <a:pt x="928" y="865"/>
                    <a:pt x="928" y="866"/>
                  </a:cubicBezTo>
                  <a:cubicBezTo>
                    <a:pt x="929" y="866"/>
                    <a:pt x="929" y="866"/>
                    <a:pt x="929" y="866"/>
                  </a:cubicBezTo>
                  <a:cubicBezTo>
                    <a:pt x="930" y="866"/>
                    <a:pt x="930" y="866"/>
                    <a:pt x="930" y="866"/>
                  </a:cubicBezTo>
                  <a:cubicBezTo>
                    <a:pt x="932" y="864"/>
                    <a:pt x="933" y="864"/>
                    <a:pt x="932" y="863"/>
                  </a:cubicBezTo>
                  <a:cubicBezTo>
                    <a:pt x="932" y="862"/>
                    <a:pt x="931" y="861"/>
                    <a:pt x="931" y="861"/>
                  </a:cubicBezTo>
                  <a:cubicBezTo>
                    <a:pt x="934" y="862"/>
                    <a:pt x="934" y="862"/>
                    <a:pt x="934" y="862"/>
                  </a:cubicBezTo>
                  <a:cubicBezTo>
                    <a:pt x="936" y="862"/>
                    <a:pt x="936" y="862"/>
                    <a:pt x="936" y="862"/>
                  </a:cubicBezTo>
                  <a:cubicBezTo>
                    <a:pt x="936" y="862"/>
                    <a:pt x="936" y="863"/>
                    <a:pt x="936" y="863"/>
                  </a:cubicBezTo>
                  <a:cubicBezTo>
                    <a:pt x="936" y="863"/>
                    <a:pt x="937" y="861"/>
                    <a:pt x="937" y="860"/>
                  </a:cubicBezTo>
                  <a:cubicBezTo>
                    <a:pt x="936" y="855"/>
                    <a:pt x="935" y="849"/>
                    <a:pt x="931" y="847"/>
                  </a:cubicBezTo>
                  <a:cubicBezTo>
                    <a:pt x="931" y="847"/>
                    <a:pt x="931" y="847"/>
                    <a:pt x="931" y="847"/>
                  </a:cubicBezTo>
                  <a:cubicBezTo>
                    <a:pt x="930" y="847"/>
                    <a:pt x="928" y="846"/>
                    <a:pt x="928" y="846"/>
                  </a:cubicBezTo>
                  <a:cubicBezTo>
                    <a:pt x="931" y="845"/>
                    <a:pt x="932" y="844"/>
                    <a:pt x="933" y="843"/>
                  </a:cubicBezTo>
                  <a:cubicBezTo>
                    <a:pt x="933" y="842"/>
                    <a:pt x="936" y="841"/>
                    <a:pt x="936" y="841"/>
                  </a:cubicBezTo>
                  <a:cubicBezTo>
                    <a:pt x="937" y="841"/>
                    <a:pt x="937" y="841"/>
                    <a:pt x="937" y="841"/>
                  </a:cubicBezTo>
                  <a:cubicBezTo>
                    <a:pt x="939" y="840"/>
                    <a:pt x="941" y="841"/>
                    <a:pt x="943" y="841"/>
                  </a:cubicBezTo>
                  <a:cubicBezTo>
                    <a:pt x="941" y="841"/>
                    <a:pt x="937" y="841"/>
                    <a:pt x="936" y="843"/>
                  </a:cubicBezTo>
                  <a:cubicBezTo>
                    <a:pt x="936" y="844"/>
                    <a:pt x="936" y="844"/>
                    <a:pt x="936" y="844"/>
                  </a:cubicBezTo>
                  <a:cubicBezTo>
                    <a:pt x="937" y="844"/>
                    <a:pt x="937" y="843"/>
                    <a:pt x="937" y="843"/>
                  </a:cubicBezTo>
                  <a:cubicBezTo>
                    <a:pt x="937" y="843"/>
                    <a:pt x="937" y="844"/>
                    <a:pt x="937" y="845"/>
                  </a:cubicBezTo>
                  <a:cubicBezTo>
                    <a:pt x="938" y="844"/>
                    <a:pt x="938" y="844"/>
                    <a:pt x="938" y="843"/>
                  </a:cubicBezTo>
                  <a:cubicBezTo>
                    <a:pt x="938" y="844"/>
                    <a:pt x="938" y="844"/>
                    <a:pt x="938" y="845"/>
                  </a:cubicBezTo>
                  <a:cubicBezTo>
                    <a:pt x="938" y="844"/>
                    <a:pt x="938" y="844"/>
                    <a:pt x="938" y="843"/>
                  </a:cubicBezTo>
                  <a:cubicBezTo>
                    <a:pt x="938" y="844"/>
                    <a:pt x="938" y="845"/>
                    <a:pt x="938" y="846"/>
                  </a:cubicBezTo>
                  <a:cubicBezTo>
                    <a:pt x="938" y="846"/>
                    <a:pt x="938" y="846"/>
                    <a:pt x="938" y="846"/>
                  </a:cubicBezTo>
                  <a:cubicBezTo>
                    <a:pt x="938" y="847"/>
                    <a:pt x="938" y="847"/>
                    <a:pt x="938" y="847"/>
                  </a:cubicBezTo>
                  <a:cubicBezTo>
                    <a:pt x="938" y="846"/>
                    <a:pt x="938" y="846"/>
                    <a:pt x="938" y="846"/>
                  </a:cubicBezTo>
                  <a:cubicBezTo>
                    <a:pt x="939" y="847"/>
                    <a:pt x="939" y="848"/>
                    <a:pt x="939" y="849"/>
                  </a:cubicBezTo>
                  <a:cubicBezTo>
                    <a:pt x="939" y="849"/>
                    <a:pt x="940" y="849"/>
                    <a:pt x="940" y="849"/>
                  </a:cubicBezTo>
                  <a:cubicBezTo>
                    <a:pt x="940" y="849"/>
                    <a:pt x="940" y="849"/>
                    <a:pt x="941" y="849"/>
                  </a:cubicBezTo>
                  <a:cubicBezTo>
                    <a:pt x="941" y="849"/>
                    <a:pt x="941" y="849"/>
                    <a:pt x="941" y="849"/>
                  </a:cubicBezTo>
                  <a:cubicBezTo>
                    <a:pt x="941" y="849"/>
                    <a:pt x="941" y="849"/>
                    <a:pt x="942" y="849"/>
                  </a:cubicBezTo>
                  <a:cubicBezTo>
                    <a:pt x="942" y="850"/>
                    <a:pt x="943" y="852"/>
                    <a:pt x="943" y="854"/>
                  </a:cubicBezTo>
                  <a:cubicBezTo>
                    <a:pt x="944" y="856"/>
                    <a:pt x="944" y="856"/>
                    <a:pt x="945" y="856"/>
                  </a:cubicBezTo>
                  <a:cubicBezTo>
                    <a:pt x="945" y="856"/>
                    <a:pt x="946" y="856"/>
                    <a:pt x="948" y="856"/>
                  </a:cubicBezTo>
                  <a:cubicBezTo>
                    <a:pt x="949" y="854"/>
                    <a:pt x="951" y="853"/>
                    <a:pt x="953" y="853"/>
                  </a:cubicBezTo>
                  <a:cubicBezTo>
                    <a:pt x="953" y="854"/>
                    <a:pt x="953" y="854"/>
                    <a:pt x="953" y="854"/>
                  </a:cubicBezTo>
                  <a:cubicBezTo>
                    <a:pt x="954" y="853"/>
                    <a:pt x="955" y="853"/>
                    <a:pt x="955" y="853"/>
                  </a:cubicBezTo>
                  <a:cubicBezTo>
                    <a:pt x="957" y="853"/>
                    <a:pt x="958" y="855"/>
                    <a:pt x="959" y="856"/>
                  </a:cubicBezTo>
                  <a:cubicBezTo>
                    <a:pt x="959" y="857"/>
                    <a:pt x="959" y="857"/>
                    <a:pt x="959" y="857"/>
                  </a:cubicBezTo>
                  <a:cubicBezTo>
                    <a:pt x="960" y="857"/>
                    <a:pt x="962" y="856"/>
                    <a:pt x="962" y="855"/>
                  </a:cubicBezTo>
                  <a:cubicBezTo>
                    <a:pt x="962" y="854"/>
                    <a:pt x="960" y="852"/>
                    <a:pt x="959" y="852"/>
                  </a:cubicBezTo>
                  <a:cubicBezTo>
                    <a:pt x="960" y="851"/>
                    <a:pt x="964" y="848"/>
                    <a:pt x="966" y="848"/>
                  </a:cubicBezTo>
                  <a:cubicBezTo>
                    <a:pt x="966" y="848"/>
                    <a:pt x="966" y="848"/>
                    <a:pt x="966" y="849"/>
                  </a:cubicBezTo>
                  <a:cubicBezTo>
                    <a:pt x="966" y="849"/>
                    <a:pt x="964" y="850"/>
                    <a:pt x="964" y="850"/>
                  </a:cubicBezTo>
                  <a:cubicBezTo>
                    <a:pt x="964" y="851"/>
                    <a:pt x="967" y="854"/>
                    <a:pt x="968" y="855"/>
                  </a:cubicBezTo>
                  <a:cubicBezTo>
                    <a:pt x="968" y="855"/>
                    <a:pt x="968" y="855"/>
                    <a:pt x="968" y="855"/>
                  </a:cubicBezTo>
                  <a:cubicBezTo>
                    <a:pt x="969" y="855"/>
                    <a:pt x="968" y="854"/>
                    <a:pt x="968" y="854"/>
                  </a:cubicBezTo>
                  <a:cubicBezTo>
                    <a:pt x="970" y="853"/>
                    <a:pt x="971" y="851"/>
                    <a:pt x="972" y="850"/>
                  </a:cubicBezTo>
                  <a:cubicBezTo>
                    <a:pt x="974" y="848"/>
                    <a:pt x="976" y="847"/>
                    <a:pt x="978" y="846"/>
                  </a:cubicBezTo>
                  <a:cubicBezTo>
                    <a:pt x="979" y="847"/>
                    <a:pt x="978" y="848"/>
                    <a:pt x="977" y="848"/>
                  </a:cubicBezTo>
                  <a:cubicBezTo>
                    <a:pt x="980" y="849"/>
                    <a:pt x="981" y="850"/>
                    <a:pt x="984" y="852"/>
                  </a:cubicBezTo>
                  <a:cubicBezTo>
                    <a:pt x="984" y="851"/>
                    <a:pt x="984" y="851"/>
                    <a:pt x="985" y="850"/>
                  </a:cubicBezTo>
                  <a:cubicBezTo>
                    <a:pt x="984" y="850"/>
                    <a:pt x="984" y="850"/>
                    <a:pt x="984" y="850"/>
                  </a:cubicBezTo>
                  <a:cubicBezTo>
                    <a:pt x="982" y="850"/>
                    <a:pt x="983" y="848"/>
                    <a:pt x="984" y="848"/>
                  </a:cubicBezTo>
                  <a:cubicBezTo>
                    <a:pt x="983" y="847"/>
                    <a:pt x="982" y="847"/>
                    <a:pt x="982" y="845"/>
                  </a:cubicBezTo>
                  <a:cubicBezTo>
                    <a:pt x="982" y="845"/>
                    <a:pt x="982" y="845"/>
                    <a:pt x="982" y="845"/>
                  </a:cubicBezTo>
                  <a:cubicBezTo>
                    <a:pt x="983" y="845"/>
                    <a:pt x="984" y="845"/>
                    <a:pt x="985" y="845"/>
                  </a:cubicBezTo>
                  <a:cubicBezTo>
                    <a:pt x="985" y="845"/>
                    <a:pt x="986" y="845"/>
                    <a:pt x="987" y="845"/>
                  </a:cubicBezTo>
                  <a:cubicBezTo>
                    <a:pt x="987" y="845"/>
                    <a:pt x="988" y="845"/>
                    <a:pt x="988" y="845"/>
                  </a:cubicBezTo>
                  <a:cubicBezTo>
                    <a:pt x="985" y="846"/>
                    <a:pt x="989" y="848"/>
                    <a:pt x="990" y="850"/>
                  </a:cubicBezTo>
                  <a:cubicBezTo>
                    <a:pt x="991" y="849"/>
                    <a:pt x="991" y="849"/>
                    <a:pt x="992" y="848"/>
                  </a:cubicBezTo>
                  <a:cubicBezTo>
                    <a:pt x="993" y="848"/>
                    <a:pt x="994" y="847"/>
                    <a:pt x="995" y="845"/>
                  </a:cubicBezTo>
                  <a:cubicBezTo>
                    <a:pt x="995" y="845"/>
                    <a:pt x="995" y="845"/>
                    <a:pt x="995" y="845"/>
                  </a:cubicBezTo>
                  <a:cubicBezTo>
                    <a:pt x="996" y="845"/>
                    <a:pt x="996" y="845"/>
                    <a:pt x="996" y="845"/>
                  </a:cubicBezTo>
                  <a:cubicBezTo>
                    <a:pt x="997" y="846"/>
                    <a:pt x="997" y="846"/>
                    <a:pt x="997" y="846"/>
                  </a:cubicBezTo>
                  <a:cubicBezTo>
                    <a:pt x="997" y="846"/>
                    <a:pt x="997" y="846"/>
                    <a:pt x="997" y="846"/>
                  </a:cubicBezTo>
                  <a:cubicBezTo>
                    <a:pt x="1001" y="845"/>
                    <a:pt x="1006" y="846"/>
                    <a:pt x="1007" y="843"/>
                  </a:cubicBezTo>
                  <a:cubicBezTo>
                    <a:pt x="1007" y="841"/>
                    <a:pt x="1006" y="839"/>
                    <a:pt x="1007" y="838"/>
                  </a:cubicBezTo>
                  <a:cubicBezTo>
                    <a:pt x="1008" y="837"/>
                    <a:pt x="1008" y="837"/>
                    <a:pt x="1009" y="837"/>
                  </a:cubicBezTo>
                  <a:cubicBezTo>
                    <a:pt x="1010" y="837"/>
                    <a:pt x="1012" y="837"/>
                    <a:pt x="1013" y="838"/>
                  </a:cubicBezTo>
                  <a:cubicBezTo>
                    <a:pt x="1012" y="834"/>
                    <a:pt x="1008" y="837"/>
                    <a:pt x="1007" y="833"/>
                  </a:cubicBezTo>
                  <a:cubicBezTo>
                    <a:pt x="1008" y="834"/>
                    <a:pt x="1008" y="834"/>
                    <a:pt x="1009" y="834"/>
                  </a:cubicBezTo>
                  <a:cubicBezTo>
                    <a:pt x="1010" y="834"/>
                    <a:pt x="1011" y="834"/>
                    <a:pt x="1011" y="834"/>
                  </a:cubicBezTo>
                  <a:cubicBezTo>
                    <a:pt x="1015" y="833"/>
                    <a:pt x="1014" y="829"/>
                    <a:pt x="1016" y="827"/>
                  </a:cubicBezTo>
                  <a:cubicBezTo>
                    <a:pt x="1016" y="828"/>
                    <a:pt x="1016" y="828"/>
                    <a:pt x="1016" y="828"/>
                  </a:cubicBezTo>
                  <a:cubicBezTo>
                    <a:pt x="1017" y="827"/>
                    <a:pt x="1017" y="827"/>
                    <a:pt x="1018" y="827"/>
                  </a:cubicBezTo>
                  <a:cubicBezTo>
                    <a:pt x="1019" y="827"/>
                    <a:pt x="1020" y="828"/>
                    <a:pt x="1020" y="829"/>
                  </a:cubicBezTo>
                  <a:cubicBezTo>
                    <a:pt x="1023" y="827"/>
                    <a:pt x="1032" y="824"/>
                    <a:pt x="1028" y="820"/>
                  </a:cubicBezTo>
                  <a:cubicBezTo>
                    <a:pt x="1031" y="822"/>
                    <a:pt x="1032" y="820"/>
                    <a:pt x="1032" y="825"/>
                  </a:cubicBezTo>
                  <a:cubicBezTo>
                    <a:pt x="1035" y="821"/>
                    <a:pt x="1039" y="817"/>
                    <a:pt x="1043" y="813"/>
                  </a:cubicBezTo>
                  <a:cubicBezTo>
                    <a:pt x="1044" y="812"/>
                    <a:pt x="1044" y="810"/>
                    <a:pt x="1043" y="810"/>
                  </a:cubicBezTo>
                  <a:cubicBezTo>
                    <a:pt x="1043" y="810"/>
                    <a:pt x="1042" y="810"/>
                    <a:pt x="1042" y="811"/>
                  </a:cubicBezTo>
                  <a:cubicBezTo>
                    <a:pt x="1043" y="809"/>
                    <a:pt x="1043" y="809"/>
                    <a:pt x="1042" y="809"/>
                  </a:cubicBezTo>
                  <a:cubicBezTo>
                    <a:pt x="1042" y="809"/>
                    <a:pt x="1042" y="809"/>
                    <a:pt x="1042" y="809"/>
                  </a:cubicBezTo>
                  <a:cubicBezTo>
                    <a:pt x="1041" y="809"/>
                    <a:pt x="1041" y="809"/>
                    <a:pt x="1041" y="809"/>
                  </a:cubicBezTo>
                  <a:cubicBezTo>
                    <a:pt x="1041" y="809"/>
                    <a:pt x="1041" y="809"/>
                    <a:pt x="1040" y="809"/>
                  </a:cubicBezTo>
                  <a:cubicBezTo>
                    <a:pt x="1040" y="809"/>
                    <a:pt x="1040" y="809"/>
                    <a:pt x="1040" y="809"/>
                  </a:cubicBezTo>
                  <a:cubicBezTo>
                    <a:pt x="1040" y="809"/>
                    <a:pt x="1039" y="809"/>
                    <a:pt x="1039" y="809"/>
                  </a:cubicBezTo>
                  <a:cubicBezTo>
                    <a:pt x="1039" y="809"/>
                    <a:pt x="1039" y="809"/>
                    <a:pt x="1039" y="809"/>
                  </a:cubicBezTo>
                  <a:cubicBezTo>
                    <a:pt x="1039" y="809"/>
                    <a:pt x="1039" y="809"/>
                    <a:pt x="1038" y="808"/>
                  </a:cubicBezTo>
                  <a:cubicBezTo>
                    <a:pt x="1036" y="807"/>
                    <a:pt x="1037" y="807"/>
                    <a:pt x="1037" y="807"/>
                  </a:cubicBezTo>
                  <a:cubicBezTo>
                    <a:pt x="1038" y="807"/>
                    <a:pt x="1038" y="807"/>
                    <a:pt x="1039" y="807"/>
                  </a:cubicBezTo>
                  <a:cubicBezTo>
                    <a:pt x="1039" y="807"/>
                    <a:pt x="1040" y="807"/>
                    <a:pt x="1040" y="807"/>
                  </a:cubicBezTo>
                  <a:cubicBezTo>
                    <a:pt x="1040" y="807"/>
                    <a:pt x="1040" y="807"/>
                    <a:pt x="1040" y="807"/>
                  </a:cubicBezTo>
                  <a:cubicBezTo>
                    <a:pt x="1042" y="807"/>
                    <a:pt x="1044" y="802"/>
                    <a:pt x="1046" y="802"/>
                  </a:cubicBezTo>
                  <a:cubicBezTo>
                    <a:pt x="1046" y="802"/>
                    <a:pt x="1046" y="802"/>
                    <a:pt x="1046" y="802"/>
                  </a:cubicBezTo>
                  <a:cubicBezTo>
                    <a:pt x="1047" y="803"/>
                    <a:pt x="1049" y="804"/>
                    <a:pt x="1050" y="804"/>
                  </a:cubicBezTo>
                  <a:cubicBezTo>
                    <a:pt x="1050" y="804"/>
                    <a:pt x="1050" y="804"/>
                    <a:pt x="1050" y="804"/>
                  </a:cubicBezTo>
                  <a:cubicBezTo>
                    <a:pt x="1051" y="804"/>
                    <a:pt x="1051" y="801"/>
                    <a:pt x="1052" y="801"/>
                  </a:cubicBezTo>
                  <a:cubicBezTo>
                    <a:pt x="1052" y="801"/>
                    <a:pt x="1052" y="801"/>
                    <a:pt x="1052" y="801"/>
                  </a:cubicBezTo>
                  <a:cubicBezTo>
                    <a:pt x="1054" y="801"/>
                    <a:pt x="1054" y="805"/>
                    <a:pt x="1056" y="805"/>
                  </a:cubicBezTo>
                  <a:cubicBezTo>
                    <a:pt x="1056" y="805"/>
                    <a:pt x="1056" y="805"/>
                    <a:pt x="1056" y="805"/>
                  </a:cubicBezTo>
                  <a:cubicBezTo>
                    <a:pt x="1057" y="804"/>
                    <a:pt x="1057" y="804"/>
                    <a:pt x="1058" y="803"/>
                  </a:cubicBezTo>
                  <a:cubicBezTo>
                    <a:pt x="1058" y="803"/>
                    <a:pt x="1059" y="801"/>
                    <a:pt x="1059" y="800"/>
                  </a:cubicBezTo>
                  <a:cubicBezTo>
                    <a:pt x="1058" y="800"/>
                    <a:pt x="1057" y="799"/>
                    <a:pt x="1056" y="799"/>
                  </a:cubicBezTo>
                  <a:cubicBezTo>
                    <a:pt x="1059" y="798"/>
                    <a:pt x="1060" y="797"/>
                    <a:pt x="1062" y="796"/>
                  </a:cubicBezTo>
                  <a:cubicBezTo>
                    <a:pt x="1062" y="796"/>
                    <a:pt x="1062" y="796"/>
                    <a:pt x="1062" y="796"/>
                  </a:cubicBezTo>
                  <a:cubicBezTo>
                    <a:pt x="1063" y="796"/>
                    <a:pt x="1063" y="797"/>
                    <a:pt x="1063" y="797"/>
                  </a:cubicBezTo>
                  <a:cubicBezTo>
                    <a:pt x="1063" y="797"/>
                    <a:pt x="1064" y="797"/>
                    <a:pt x="1064" y="797"/>
                  </a:cubicBezTo>
                  <a:cubicBezTo>
                    <a:pt x="1064" y="797"/>
                    <a:pt x="1064" y="797"/>
                    <a:pt x="1064" y="797"/>
                  </a:cubicBezTo>
                  <a:cubicBezTo>
                    <a:pt x="1065" y="796"/>
                    <a:pt x="1062" y="789"/>
                    <a:pt x="1062" y="788"/>
                  </a:cubicBezTo>
                  <a:cubicBezTo>
                    <a:pt x="1062" y="788"/>
                    <a:pt x="1066" y="789"/>
                    <a:pt x="1069" y="789"/>
                  </a:cubicBezTo>
                  <a:cubicBezTo>
                    <a:pt x="1072" y="789"/>
                    <a:pt x="1074" y="788"/>
                    <a:pt x="1073" y="787"/>
                  </a:cubicBezTo>
                  <a:cubicBezTo>
                    <a:pt x="1073" y="786"/>
                    <a:pt x="1072" y="786"/>
                    <a:pt x="1072" y="786"/>
                  </a:cubicBezTo>
                  <a:cubicBezTo>
                    <a:pt x="1072" y="786"/>
                    <a:pt x="1071" y="786"/>
                    <a:pt x="1071" y="786"/>
                  </a:cubicBezTo>
                  <a:cubicBezTo>
                    <a:pt x="1071" y="787"/>
                    <a:pt x="1070" y="787"/>
                    <a:pt x="1070" y="787"/>
                  </a:cubicBezTo>
                  <a:cubicBezTo>
                    <a:pt x="1070" y="787"/>
                    <a:pt x="1070" y="787"/>
                    <a:pt x="1069" y="787"/>
                  </a:cubicBezTo>
                  <a:cubicBezTo>
                    <a:pt x="1069" y="786"/>
                    <a:pt x="1072" y="779"/>
                    <a:pt x="1073" y="778"/>
                  </a:cubicBezTo>
                  <a:cubicBezTo>
                    <a:pt x="1073" y="779"/>
                    <a:pt x="1079" y="784"/>
                    <a:pt x="1080" y="784"/>
                  </a:cubicBezTo>
                  <a:cubicBezTo>
                    <a:pt x="1080" y="782"/>
                    <a:pt x="1078" y="781"/>
                    <a:pt x="1078" y="779"/>
                  </a:cubicBezTo>
                  <a:cubicBezTo>
                    <a:pt x="1078" y="779"/>
                    <a:pt x="1078" y="779"/>
                    <a:pt x="1078" y="779"/>
                  </a:cubicBezTo>
                  <a:cubicBezTo>
                    <a:pt x="1075" y="779"/>
                    <a:pt x="1081" y="769"/>
                    <a:pt x="1082" y="769"/>
                  </a:cubicBezTo>
                  <a:cubicBezTo>
                    <a:pt x="1078" y="769"/>
                    <a:pt x="1074" y="769"/>
                    <a:pt x="1070" y="769"/>
                  </a:cubicBezTo>
                  <a:cubicBezTo>
                    <a:pt x="1070" y="767"/>
                    <a:pt x="1068" y="766"/>
                    <a:pt x="1067" y="765"/>
                  </a:cubicBezTo>
                  <a:cubicBezTo>
                    <a:pt x="1069" y="766"/>
                    <a:pt x="1073" y="768"/>
                    <a:pt x="1075" y="768"/>
                  </a:cubicBezTo>
                  <a:cubicBezTo>
                    <a:pt x="1075" y="768"/>
                    <a:pt x="1075" y="768"/>
                    <a:pt x="1075" y="768"/>
                  </a:cubicBezTo>
                  <a:cubicBezTo>
                    <a:pt x="1076" y="768"/>
                    <a:pt x="1077" y="768"/>
                    <a:pt x="1078" y="766"/>
                  </a:cubicBezTo>
                  <a:cubicBezTo>
                    <a:pt x="1081" y="761"/>
                    <a:pt x="1082" y="762"/>
                    <a:pt x="1087" y="759"/>
                  </a:cubicBezTo>
                  <a:cubicBezTo>
                    <a:pt x="1087" y="759"/>
                    <a:pt x="1086" y="759"/>
                    <a:pt x="1086" y="759"/>
                  </a:cubicBezTo>
                  <a:cubicBezTo>
                    <a:pt x="1086" y="759"/>
                    <a:pt x="1085" y="759"/>
                    <a:pt x="1085" y="759"/>
                  </a:cubicBezTo>
                  <a:cubicBezTo>
                    <a:pt x="1085" y="758"/>
                    <a:pt x="1085" y="758"/>
                    <a:pt x="1084" y="758"/>
                  </a:cubicBezTo>
                  <a:cubicBezTo>
                    <a:pt x="1084" y="758"/>
                    <a:pt x="1084" y="758"/>
                    <a:pt x="1084" y="758"/>
                  </a:cubicBezTo>
                  <a:cubicBezTo>
                    <a:pt x="1083" y="758"/>
                    <a:pt x="1083" y="759"/>
                    <a:pt x="1082" y="759"/>
                  </a:cubicBezTo>
                  <a:cubicBezTo>
                    <a:pt x="1082" y="759"/>
                    <a:pt x="1083" y="760"/>
                    <a:pt x="1082" y="760"/>
                  </a:cubicBezTo>
                  <a:cubicBezTo>
                    <a:pt x="1082" y="760"/>
                    <a:pt x="1082" y="760"/>
                    <a:pt x="1082" y="760"/>
                  </a:cubicBezTo>
                  <a:cubicBezTo>
                    <a:pt x="1081" y="759"/>
                    <a:pt x="1079" y="758"/>
                    <a:pt x="1079" y="757"/>
                  </a:cubicBezTo>
                  <a:cubicBezTo>
                    <a:pt x="1079" y="757"/>
                    <a:pt x="1082" y="755"/>
                    <a:pt x="1083" y="754"/>
                  </a:cubicBezTo>
                  <a:cubicBezTo>
                    <a:pt x="1080" y="754"/>
                    <a:pt x="1079" y="754"/>
                    <a:pt x="1078" y="751"/>
                  </a:cubicBezTo>
                  <a:cubicBezTo>
                    <a:pt x="1078" y="750"/>
                    <a:pt x="1078" y="749"/>
                    <a:pt x="1079" y="749"/>
                  </a:cubicBezTo>
                  <a:cubicBezTo>
                    <a:pt x="1079" y="749"/>
                    <a:pt x="1079" y="749"/>
                    <a:pt x="1079" y="749"/>
                  </a:cubicBezTo>
                  <a:cubicBezTo>
                    <a:pt x="1081" y="747"/>
                    <a:pt x="1082" y="748"/>
                    <a:pt x="1084" y="747"/>
                  </a:cubicBezTo>
                  <a:cubicBezTo>
                    <a:pt x="1083" y="748"/>
                    <a:pt x="1083" y="748"/>
                    <a:pt x="1083" y="748"/>
                  </a:cubicBezTo>
                  <a:cubicBezTo>
                    <a:pt x="1084" y="748"/>
                    <a:pt x="1085" y="748"/>
                    <a:pt x="1084" y="749"/>
                  </a:cubicBezTo>
                  <a:cubicBezTo>
                    <a:pt x="1084" y="749"/>
                    <a:pt x="1087" y="748"/>
                    <a:pt x="1089" y="748"/>
                  </a:cubicBezTo>
                  <a:cubicBezTo>
                    <a:pt x="1090" y="748"/>
                    <a:pt x="1091" y="749"/>
                    <a:pt x="1089" y="750"/>
                  </a:cubicBezTo>
                  <a:cubicBezTo>
                    <a:pt x="1090" y="751"/>
                    <a:pt x="1090" y="751"/>
                    <a:pt x="1091" y="752"/>
                  </a:cubicBezTo>
                  <a:cubicBezTo>
                    <a:pt x="1093" y="750"/>
                    <a:pt x="1090" y="749"/>
                    <a:pt x="1091" y="747"/>
                  </a:cubicBezTo>
                  <a:cubicBezTo>
                    <a:pt x="1091" y="746"/>
                    <a:pt x="1094" y="746"/>
                    <a:pt x="1094" y="744"/>
                  </a:cubicBezTo>
                  <a:cubicBezTo>
                    <a:pt x="1094" y="741"/>
                    <a:pt x="1095" y="740"/>
                    <a:pt x="1098" y="739"/>
                  </a:cubicBezTo>
                  <a:cubicBezTo>
                    <a:pt x="1097" y="739"/>
                    <a:pt x="1097" y="738"/>
                    <a:pt x="1097" y="737"/>
                  </a:cubicBezTo>
                  <a:cubicBezTo>
                    <a:pt x="1097" y="738"/>
                    <a:pt x="1097" y="738"/>
                    <a:pt x="1098" y="738"/>
                  </a:cubicBezTo>
                  <a:cubicBezTo>
                    <a:pt x="1100" y="738"/>
                    <a:pt x="1102" y="735"/>
                    <a:pt x="1103" y="733"/>
                  </a:cubicBezTo>
                  <a:cubicBezTo>
                    <a:pt x="1105" y="731"/>
                    <a:pt x="1104" y="728"/>
                    <a:pt x="1105" y="726"/>
                  </a:cubicBezTo>
                  <a:cubicBezTo>
                    <a:pt x="1106" y="724"/>
                    <a:pt x="1109" y="720"/>
                    <a:pt x="1108" y="719"/>
                  </a:cubicBezTo>
                  <a:cubicBezTo>
                    <a:pt x="1108" y="719"/>
                    <a:pt x="1105" y="717"/>
                    <a:pt x="1104" y="717"/>
                  </a:cubicBezTo>
                  <a:cubicBezTo>
                    <a:pt x="1105" y="717"/>
                    <a:pt x="1106" y="717"/>
                    <a:pt x="1107" y="717"/>
                  </a:cubicBezTo>
                  <a:cubicBezTo>
                    <a:pt x="1108" y="717"/>
                    <a:pt x="1109" y="716"/>
                    <a:pt x="1112" y="715"/>
                  </a:cubicBezTo>
                  <a:cubicBezTo>
                    <a:pt x="1113" y="714"/>
                    <a:pt x="1114" y="713"/>
                    <a:pt x="1114" y="711"/>
                  </a:cubicBezTo>
                  <a:cubicBezTo>
                    <a:pt x="1115" y="710"/>
                    <a:pt x="1112" y="711"/>
                    <a:pt x="1115" y="709"/>
                  </a:cubicBezTo>
                  <a:cubicBezTo>
                    <a:pt x="1115" y="709"/>
                    <a:pt x="1116" y="709"/>
                    <a:pt x="1116" y="709"/>
                  </a:cubicBezTo>
                  <a:cubicBezTo>
                    <a:pt x="1118" y="709"/>
                    <a:pt x="1118" y="712"/>
                    <a:pt x="1120" y="714"/>
                  </a:cubicBezTo>
                  <a:cubicBezTo>
                    <a:pt x="1121" y="711"/>
                    <a:pt x="1124" y="711"/>
                    <a:pt x="1127" y="709"/>
                  </a:cubicBezTo>
                  <a:cubicBezTo>
                    <a:pt x="1125" y="709"/>
                    <a:pt x="1125" y="703"/>
                    <a:pt x="1124" y="702"/>
                  </a:cubicBezTo>
                  <a:cubicBezTo>
                    <a:pt x="1123" y="700"/>
                    <a:pt x="1122" y="701"/>
                    <a:pt x="1121" y="700"/>
                  </a:cubicBezTo>
                  <a:cubicBezTo>
                    <a:pt x="1119" y="700"/>
                    <a:pt x="1119" y="700"/>
                    <a:pt x="1118" y="698"/>
                  </a:cubicBezTo>
                  <a:cubicBezTo>
                    <a:pt x="1119" y="699"/>
                    <a:pt x="1121" y="699"/>
                    <a:pt x="1122" y="699"/>
                  </a:cubicBezTo>
                  <a:cubicBezTo>
                    <a:pt x="1123" y="699"/>
                    <a:pt x="1124" y="699"/>
                    <a:pt x="1127" y="698"/>
                  </a:cubicBezTo>
                  <a:cubicBezTo>
                    <a:pt x="1129" y="696"/>
                    <a:pt x="1125" y="695"/>
                    <a:pt x="1124" y="693"/>
                  </a:cubicBezTo>
                  <a:cubicBezTo>
                    <a:pt x="1124" y="694"/>
                    <a:pt x="1125" y="694"/>
                    <a:pt x="1125" y="694"/>
                  </a:cubicBezTo>
                  <a:cubicBezTo>
                    <a:pt x="1126" y="694"/>
                    <a:pt x="1126" y="694"/>
                    <a:pt x="1127" y="694"/>
                  </a:cubicBezTo>
                  <a:cubicBezTo>
                    <a:pt x="1127" y="694"/>
                    <a:pt x="1128" y="693"/>
                    <a:pt x="1128" y="693"/>
                  </a:cubicBezTo>
                  <a:cubicBezTo>
                    <a:pt x="1128" y="693"/>
                    <a:pt x="1128" y="693"/>
                    <a:pt x="1128" y="693"/>
                  </a:cubicBezTo>
                  <a:cubicBezTo>
                    <a:pt x="1128" y="692"/>
                    <a:pt x="1127" y="691"/>
                    <a:pt x="1127" y="690"/>
                  </a:cubicBezTo>
                  <a:cubicBezTo>
                    <a:pt x="1127" y="689"/>
                    <a:pt x="1125" y="689"/>
                    <a:pt x="1123" y="689"/>
                  </a:cubicBezTo>
                  <a:cubicBezTo>
                    <a:pt x="1123" y="689"/>
                    <a:pt x="1123" y="689"/>
                    <a:pt x="1123" y="689"/>
                  </a:cubicBezTo>
                  <a:cubicBezTo>
                    <a:pt x="1123" y="689"/>
                    <a:pt x="1122" y="689"/>
                    <a:pt x="1122" y="689"/>
                  </a:cubicBezTo>
                  <a:cubicBezTo>
                    <a:pt x="1123" y="688"/>
                    <a:pt x="1124" y="684"/>
                    <a:pt x="1127" y="684"/>
                  </a:cubicBezTo>
                  <a:cubicBezTo>
                    <a:pt x="1127" y="684"/>
                    <a:pt x="1127" y="684"/>
                    <a:pt x="1127" y="684"/>
                  </a:cubicBezTo>
                  <a:cubicBezTo>
                    <a:pt x="1128" y="685"/>
                    <a:pt x="1128" y="686"/>
                    <a:pt x="1130" y="687"/>
                  </a:cubicBezTo>
                  <a:cubicBezTo>
                    <a:pt x="1130" y="686"/>
                    <a:pt x="1130" y="684"/>
                    <a:pt x="1131" y="683"/>
                  </a:cubicBezTo>
                  <a:cubicBezTo>
                    <a:pt x="1130" y="684"/>
                    <a:pt x="1132" y="684"/>
                    <a:pt x="1133" y="685"/>
                  </a:cubicBezTo>
                  <a:cubicBezTo>
                    <a:pt x="1134" y="683"/>
                    <a:pt x="1137" y="677"/>
                    <a:pt x="1134" y="676"/>
                  </a:cubicBezTo>
                  <a:cubicBezTo>
                    <a:pt x="1134" y="676"/>
                    <a:pt x="1134" y="676"/>
                    <a:pt x="1133" y="676"/>
                  </a:cubicBezTo>
                  <a:cubicBezTo>
                    <a:pt x="1132" y="676"/>
                    <a:pt x="1129" y="678"/>
                    <a:pt x="1132" y="679"/>
                  </a:cubicBezTo>
                  <a:cubicBezTo>
                    <a:pt x="1131" y="680"/>
                    <a:pt x="1131" y="680"/>
                    <a:pt x="1130" y="680"/>
                  </a:cubicBezTo>
                  <a:cubicBezTo>
                    <a:pt x="1130" y="680"/>
                    <a:pt x="1129" y="679"/>
                    <a:pt x="1128" y="679"/>
                  </a:cubicBezTo>
                  <a:cubicBezTo>
                    <a:pt x="1128" y="679"/>
                    <a:pt x="1128" y="679"/>
                    <a:pt x="1128" y="679"/>
                  </a:cubicBezTo>
                  <a:cubicBezTo>
                    <a:pt x="1127" y="679"/>
                    <a:pt x="1127" y="679"/>
                    <a:pt x="1126" y="680"/>
                  </a:cubicBezTo>
                  <a:cubicBezTo>
                    <a:pt x="1125" y="680"/>
                    <a:pt x="1125" y="680"/>
                    <a:pt x="1124" y="680"/>
                  </a:cubicBezTo>
                  <a:cubicBezTo>
                    <a:pt x="1124" y="680"/>
                    <a:pt x="1123" y="680"/>
                    <a:pt x="1122" y="680"/>
                  </a:cubicBezTo>
                  <a:cubicBezTo>
                    <a:pt x="1129" y="677"/>
                    <a:pt x="1134" y="674"/>
                    <a:pt x="1138" y="669"/>
                  </a:cubicBezTo>
                  <a:cubicBezTo>
                    <a:pt x="1138" y="669"/>
                    <a:pt x="1137" y="669"/>
                    <a:pt x="1136" y="669"/>
                  </a:cubicBezTo>
                  <a:cubicBezTo>
                    <a:pt x="1133" y="669"/>
                    <a:pt x="1131" y="668"/>
                    <a:pt x="1128" y="667"/>
                  </a:cubicBezTo>
                  <a:cubicBezTo>
                    <a:pt x="1125" y="665"/>
                    <a:pt x="1122" y="659"/>
                    <a:pt x="1117" y="659"/>
                  </a:cubicBezTo>
                  <a:cubicBezTo>
                    <a:pt x="1117" y="659"/>
                    <a:pt x="1116" y="659"/>
                    <a:pt x="1116" y="659"/>
                  </a:cubicBezTo>
                  <a:cubicBezTo>
                    <a:pt x="1114" y="659"/>
                    <a:pt x="1112" y="662"/>
                    <a:pt x="1110" y="662"/>
                  </a:cubicBezTo>
                  <a:cubicBezTo>
                    <a:pt x="1109" y="663"/>
                    <a:pt x="1107" y="663"/>
                    <a:pt x="1105" y="663"/>
                  </a:cubicBezTo>
                  <a:cubicBezTo>
                    <a:pt x="1104" y="663"/>
                    <a:pt x="1104" y="663"/>
                    <a:pt x="1103" y="662"/>
                  </a:cubicBezTo>
                  <a:cubicBezTo>
                    <a:pt x="1103" y="661"/>
                    <a:pt x="1102" y="659"/>
                    <a:pt x="1101" y="658"/>
                  </a:cubicBezTo>
                  <a:cubicBezTo>
                    <a:pt x="1102" y="658"/>
                    <a:pt x="1104" y="658"/>
                    <a:pt x="1105" y="658"/>
                  </a:cubicBezTo>
                  <a:cubicBezTo>
                    <a:pt x="1107" y="658"/>
                    <a:pt x="1108" y="658"/>
                    <a:pt x="1109" y="657"/>
                  </a:cubicBezTo>
                  <a:cubicBezTo>
                    <a:pt x="1112" y="654"/>
                    <a:pt x="1115" y="652"/>
                    <a:pt x="1118" y="650"/>
                  </a:cubicBezTo>
                  <a:cubicBezTo>
                    <a:pt x="1120" y="648"/>
                    <a:pt x="1123" y="647"/>
                    <a:pt x="1126" y="646"/>
                  </a:cubicBezTo>
                  <a:cubicBezTo>
                    <a:pt x="1127" y="645"/>
                    <a:pt x="1132" y="644"/>
                    <a:pt x="1133" y="642"/>
                  </a:cubicBezTo>
                  <a:cubicBezTo>
                    <a:pt x="1134" y="640"/>
                    <a:pt x="1131" y="637"/>
                    <a:pt x="1129" y="635"/>
                  </a:cubicBezTo>
                  <a:cubicBezTo>
                    <a:pt x="1129" y="635"/>
                    <a:pt x="1129" y="635"/>
                    <a:pt x="1129" y="635"/>
                  </a:cubicBezTo>
                  <a:cubicBezTo>
                    <a:pt x="1129" y="638"/>
                    <a:pt x="1126" y="641"/>
                    <a:pt x="1123" y="641"/>
                  </a:cubicBezTo>
                  <a:cubicBezTo>
                    <a:pt x="1119" y="641"/>
                    <a:pt x="1116" y="638"/>
                    <a:pt x="1116" y="635"/>
                  </a:cubicBezTo>
                  <a:cubicBezTo>
                    <a:pt x="1116" y="632"/>
                    <a:pt x="1119" y="629"/>
                    <a:pt x="1121" y="629"/>
                  </a:cubicBezTo>
                  <a:cubicBezTo>
                    <a:pt x="1119" y="626"/>
                    <a:pt x="1116" y="623"/>
                    <a:pt x="1113" y="622"/>
                  </a:cubicBezTo>
                  <a:cubicBezTo>
                    <a:pt x="1110" y="621"/>
                    <a:pt x="1108" y="621"/>
                    <a:pt x="1106" y="620"/>
                  </a:cubicBezTo>
                  <a:cubicBezTo>
                    <a:pt x="1105" y="620"/>
                    <a:pt x="1106" y="617"/>
                    <a:pt x="1105" y="616"/>
                  </a:cubicBezTo>
                  <a:cubicBezTo>
                    <a:pt x="1105" y="615"/>
                    <a:pt x="1105" y="615"/>
                    <a:pt x="1104" y="615"/>
                  </a:cubicBezTo>
                  <a:cubicBezTo>
                    <a:pt x="1104" y="615"/>
                    <a:pt x="1104" y="615"/>
                    <a:pt x="1104" y="615"/>
                  </a:cubicBezTo>
                  <a:cubicBezTo>
                    <a:pt x="1104" y="615"/>
                    <a:pt x="1104" y="615"/>
                    <a:pt x="1104" y="615"/>
                  </a:cubicBezTo>
                  <a:cubicBezTo>
                    <a:pt x="1104" y="615"/>
                    <a:pt x="1104" y="615"/>
                    <a:pt x="1103" y="615"/>
                  </a:cubicBezTo>
                  <a:cubicBezTo>
                    <a:pt x="1103" y="615"/>
                    <a:pt x="1102" y="614"/>
                    <a:pt x="1101" y="614"/>
                  </a:cubicBezTo>
                  <a:cubicBezTo>
                    <a:pt x="1100" y="614"/>
                    <a:pt x="1099" y="615"/>
                    <a:pt x="1099" y="615"/>
                  </a:cubicBezTo>
                  <a:cubicBezTo>
                    <a:pt x="1098" y="616"/>
                    <a:pt x="1097" y="616"/>
                    <a:pt x="1096" y="616"/>
                  </a:cubicBezTo>
                  <a:cubicBezTo>
                    <a:pt x="1096" y="616"/>
                    <a:pt x="1095" y="616"/>
                    <a:pt x="1095" y="616"/>
                  </a:cubicBezTo>
                  <a:cubicBezTo>
                    <a:pt x="1096" y="615"/>
                    <a:pt x="1096" y="615"/>
                    <a:pt x="1097" y="614"/>
                  </a:cubicBezTo>
                  <a:cubicBezTo>
                    <a:pt x="1098" y="613"/>
                    <a:pt x="1100" y="613"/>
                    <a:pt x="1101" y="613"/>
                  </a:cubicBezTo>
                  <a:cubicBezTo>
                    <a:pt x="1104" y="613"/>
                    <a:pt x="1107" y="614"/>
                    <a:pt x="1109" y="616"/>
                  </a:cubicBezTo>
                  <a:cubicBezTo>
                    <a:pt x="1110" y="617"/>
                    <a:pt x="1110" y="619"/>
                    <a:pt x="1112" y="619"/>
                  </a:cubicBezTo>
                  <a:cubicBezTo>
                    <a:pt x="1113" y="619"/>
                    <a:pt x="1113" y="619"/>
                    <a:pt x="1113" y="619"/>
                  </a:cubicBezTo>
                  <a:cubicBezTo>
                    <a:pt x="1114" y="619"/>
                    <a:pt x="1115" y="619"/>
                    <a:pt x="1116" y="619"/>
                  </a:cubicBezTo>
                  <a:cubicBezTo>
                    <a:pt x="1117" y="619"/>
                    <a:pt x="1118" y="619"/>
                    <a:pt x="1119" y="619"/>
                  </a:cubicBezTo>
                  <a:cubicBezTo>
                    <a:pt x="1119" y="619"/>
                    <a:pt x="1119" y="619"/>
                    <a:pt x="1119" y="619"/>
                  </a:cubicBezTo>
                  <a:cubicBezTo>
                    <a:pt x="1124" y="619"/>
                    <a:pt x="1128" y="621"/>
                    <a:pt x="1133" y="622"/>
                  </a:cubicBezTo>
                  <a:cubicBezTo>
                    <a:pt x="1132" y="620"/>
                    <a:pt x="1132" y="617"/>
                    <a:pt x="1130" y="615"/>
                  </a:cubicBezTo>
                  <a:cubicBezTo>
                    <a:pt x="1128" y="613"/>
                    <a:pt x="1123" y="612"/>
                    <a:pt x="1121" y="610"/>
                  </a:cubicBezTo>
                  <a:cubicBezTo>
                    <a:pt x="1120" y="608"/>
                    <a:pt x="1121" y="605"/>
                    <a:pt x="1119" y="603"/>
                  </a:cubicBezTo>
                  <a:cubicBezTo>
                    <a:pt x="1119" y="602"/>
                    <a:pt x="1116" y="602"/>
                    <a:pt x="1115" y="601"/>
                  </a:cubicBezTo>
                  <a:cubicBezTo>
                    <a:pt x="1110" y="599"/>
                    <a:pt x="1109" y="599"/>
                    <a:pt x="1109" y="593"/>
                  </a:cubicBezTo>
                  <a:cubicBezTo>
                    <a:pt x="1109" y="589"/>
                    <a:pt x="1109" y="588"/>
                    <a:pt x="1107" y="584"/>
                  </a:cubicBezTo>
                  <a:cubicBezTo>
                    <a:pt x="1104" y="577"/>
                    <a:pt x="1102" y="571"/>
                    <a:pt x="1099" y="564"/>
                  </a:cubicBezTo>
                  <a:cubicBezTo>
                    <a:pt x="1097" y="560"/>
                    <a:pt x="1096" y="556"/>
                    <a:pt x="1093" y="553"/>
                  </a:cubicBezTo>
                  <a:cubicBezTo>
                    <a:pt x="1092" y="553"/>
                    <a:pt x="1091" y="552"/>
                    <a:pt x="1090" y="552"/>
                  </a:cubicBezTo>
                  <a:cubicBezTo>
                    <a:pt x="1088" y="551"/>
                    <a:pt x="1084" y="550"/>
                    <a:pt x="1083" y="550"/>
                  </a:cubicBezTo>
                  <a:cubicBezTo>
                    <a:pt x="1082" y="548"/>
                    <a:pt x="1076" y="542"/>
                    <a:pt x="1073" y="542"/>
                  </a:cubicBezTo>
                  <a:cubicBezTo>
                    <a:pt x="1073" y="542"/>
                    <a:pt x="1073" y="542"/>
                    <a:pt x="1073" y="542"/>
                  </a:cubicBezTo>
                  <a:cubicBezTo>
                    <a:pt x="1071" y="542"/>
                    <a:pt x="1070" y="543"/>
                    <a:pt x="1070" y="543"/>
                  </a:cubicBezTo>
                  <a:cubicBezTo>
                    <a:pt x="1070" y="543"/>
                    <a:pt x="1070" y="542"/>
                    <a:pt x="1070" y="541"/>
                  </a:cubicBezTo>
                  <a:cubicBezTo>
                    <a:pt x="1069" y="539"/>
                    <a:pt x="1069" y="538"/>
                    <a:pt x="1070" y="536"/>
                  </a:cubicBezTo>
                  <a:cubicBezTo>
                    <a:pt x="1069" y="536"/>
                    <a:pt x="1069" y="536"/>
                    <a:pt x="1069" y="536"/>
                  </a:cubicBezTo>
                  <a:cubicBezTo>
                    <a:pt x="1069" y="535"/>
                    <a:pt x="1070" y="535"/>
                    <a:pt x="1071" y="535"/>
                  </a:cubicBezTo>
                  <a:cubicBezTo>
                    <a:pt x="1075" y="531"/>
                    <a:pt x="1076" y="521"/>
                    <a:pt x="1083" y="520"/>
                  </a:cubicBezTo>
                  <a:cubicBezTo>
                    <a:pt x="1086" y="519"/>
                    <a:pt x="1087" y="518"/>
                    <a:pt x="1089" y="515"/>
                  </a:cubicBezTo>
                  <a:cubicBezTo>
                    <a:pt x="1091" y="512"/>
                    <a:pt x="1093" y="511"/>
                    <a:pt x="1095" y="509"/>
                  </a:cubicBezTo>
                  <a:cubicBezTo>
                    <a:pt x="1094" y="509"/>
                    <a:pt x="1092" y="507"/>
                    <a:pt x="1091" y="505"/>
                  </a:cubicBezTo>
                  <a:cubicBezTo>
                    <a:pt x="1090" y="503"/>
                    <a:pt x="1093" y="502"/>
                    <a:pt x="1095" y="502"/>
                  </a:cubicBezTo>
                  <a:cubicBezTo>
                    <a:pt x="1095" y="502"/>
                    <a:pt x="1096" y="502"/>
                    <a:pt x="1096" y="502"/>
                  </a:cubicBezTo>
                  <a:cubicBezTo>
                    <a:pt x="1097" y="503"/>
                    <a:pt x="1097" y="504"/>
                    <a:pt x="1097" y="505"/>
                  </a:cubicBezTo>
                  <a:cubicBezTo>
                    <a:pt x="1097" y="507"/>
                    <a:pt x="1097" y="507"/>
                    <a:pt x="1098" y="507"/>
                  </a:cubicBezTo>
                  <a:cubicBezTo>
                    <a:pt x="1098" y="507"/>
                    <a:pt x="1099" y="507"/>
                    <a:pt x="1099" y="507"/>
                  </a:cubicBezTo>
                  <a:cubicBezTo>
                    <a:pt x="1102" y="507"/>
                    <a:pt x="1104" y="506"/>
                    <a:pt x="1105" y="504"/>
                  </a:cubicBezTo>
                  <a:cubicBezTo>
                    <a:pt x="1105" y="503"/>
                    <a:pt x="1104" y="502"/>
                    <a:pt x="1104" y="502"/>
                  </a:cubicBezTo>
                  <a:cubicBezTo>
                    <a:pt x="1103" y="499"/>
                    <a:pt x="1105" y="499"/>
                    <a:pt x="1108" y="498"/>
                  </a:cubicBezTo>
                  <a:cubicBezTo>
                    <a:pt x="1109" y="497"/>
                    <a:pt x="1111" y="497"/>
                    <a:pt x="1111" y="494"/>
                  </a:cubicBezTo>
                  <a:cubicBezTo>
                    <a:pt x="1111" y="494"/>
                    <a:pt x="1111" y="494"/>
                    <a:pt x="1111" y="494"/>
                  </a:cubicBezTo>
                  <a:cubicBezTo>
                    <a:pt x="1110" y="494"/>
                    <a:pt x="1110" y="494"/>
                    <a:pt x="1109" y="494"/>
                  </a:cubicBezTo>
                  <a:cubicBezTo>
                    <a:pt x="1109" y="493"/>
                    <a:pt x="1108" y="493"/>
                    <a:pt x="1107" y="493"/>
                  </a:cubicBezTo>
                  <a:cubicBezTo>
                    <a:pt x="1107" y="493"/>
                    <a:pt x="1107" y="493"/>
                    <a:pt x="1106" y="493"/>
                  </a:cubicBezTo>
                  <a:cubicBezTo>
                    <a:pt x="1107" y="492"/>
                    <a:pt x="1108" y="492"/>
                    <a:pt x="1109" y="492"/>
                  </a:cubicBezTo>
                  <a:cubicBezTo>
                    <a:pt x="1109" y="492"/>
                    <a:pt x="1110" y="492"/>
                    <a:pt x="1111" y="492"/>
                  </a:cubicBezTo>
                  <a:cubicBezTo>
                    <a:pt x="1111" y="492"/>
                    <a:pt x="1112" y="492"/>
                    <a:pt x="1113" y="492"/>
                  </a:cubicBezTo>
                  <a:cubicBezTo>
                    <a:pt x="1113" y="492"/>
                    <a:pt x="1114" y="492"/>
                    <a:pt x="1114" y="492"/>
                  </a:cubicBezTo>
                  <a:cubicBezTo>
                    <a:pt x="1117" y="491"/>
                    <a:pt x="1120" y="489"/>
                    <a:pt x="1123" y="488"/>
                  </a:cubicBezTo>
                  <a:cubicBezTo>
                    <a:pt x="1128" y="486"/>
                    <a:pt x="1134" y="484"/>
                    <a:pt x="1140" y="482"/>
                  </a:cubicBezTo>
                  <a:cubicBezTo>
                    <a:pt x="1140" y="485"/>
                    <a:pt x="1140" y="487"/>
                    <a:pt x="1142" y="487"/>
                  </a:cubicBezTo>
                  <a:cubicBezTo>
                    <a:pt x="1143" y="487"/>
                    <a:pt x="1144" y="486"/>
                    <a:pt x="1145" y="486"/>
                  </a:cubicBezTo>
                  <a:cubicBezTo>
                    <a:pt x="1148" y="485"/>
                    <a:pt x="1148" y="484"/>
                    <a:pt x="1148" y="481"/>
                  </a:cubicBezTo>
                  <a:cubicBezTo>
                    <a:pt x="1148" y="481"/>
                    <a:pt x="1148" y="481"/>
                    <a:pt x="1148" y="481"/>
                  </a:cubicBezTo>
                  <a:cubicBezTo>
                    <a:pt x="1148" y="481"/>
                    <a:pt x="1147" y="481"/>
                    <a:pt x="1147" y="482"/>
                  </a:cubicBezTo>
                  <a:cubicBezTo>
                    <a:pt x="1146" y="482"/>
                    <a:pt x="1146" y="482"/>
                    <a:pt x="1145" y="482"/>
                  </a:cubicBezTo>
                  <a:cubicBezTo>
                    <a:pt x="1145" y="482"/>
                    <a:pt x="1145" y="482"/>
                    <a:pt x="1146" y="481"/>
                  </a:cubicBezTo>
                  <a:cubicBezTo>
                    <a:pt x="1147" y="479"/>
                    <a:pt x="1154" y="473"/>
                    <a:pt x="1151" y="471"/>
                  </a:cubicBezTo>
                  <a:cubicBezTo>
                    <a:pt x="1151" y="471"/>
                    <a:pt x="1151" y="471"/>
                    <a:pt x="1150" y="471"/>
                  </a:cubicBezTo>
                  <a:cubicBezTo>
                    <a:pt x="1149" y="471"/>
                    <a:pt x="1148" y="471"/>
                    <a:pt x="1147" y="471"/>
                  </a:cubicBezTo>
                  <a:cubicBezTo>
                    <a:pt x="1147" y="471"/>
                    <a:pt x="1147" y="471"/>
                    <a:pt x="1146" y="471"/>
                  </a:cubicBezTo>
                  <a:cubicBezTo>
                    <a:pt x="1146" y="471"/>
                    <a:pt x="1145" y="471"/>
                    <a:pt x="1145" y="471"/>
                  </a:cubicBezTo>
                  <a:cubicBezTo>
                    <a:pt x="1142" y="470"/>
                    <a:pt x="1140" y="468"/>
                    <a:pt x="1137" y="467"/>
                  </a:cubicBezTo>
                  <a:cubicBezTo>
                    <a:pt x="1136" y="468"/>
                    <a:pt x="1135" y="469"/>
                    <a:pt x="1135" y="471"/>
                  </a:cubicBezTo>
                  <a:cubicBezTo>
                    <a:pt x="1134" y="470"/>
                    <a:pt x="1133" y="469"/>
                    <a:pt x="1132" y="469"/>
                  </a:cubicBezTo>
                  <a:cubicBezTo>
                    <a:pt x="1131" y="469"/>
                    <a:pt x="1130" y="470"/>
                    <a:pt x="1129" y="470"/>
                  </a:cubicBezTo>
                  <a:cubicBezTo>
                    <a:pt x="1128" y="470"/>
                    <a:pt x="1127" y="470"/>
                    <a:pt x="1126" y="470"/>
                  </a:cubicBezTo>
                  <a:cubicBezTo>
                    <a:pt x="1126" y="470"/>
                    <a:pt x="1125" y="470"/>
                    <a:pt x="1125" y="470"/>
                  </a:cubicBezTo>
                  <a:cubicBezTo>
                    <a:pt x="1122" y="470"/>
                    <a:pt x="1118" y="467"/>
                    <a:pt x="1115" y="466"/>
                  </a:cubicBezTo>
                  <a:cubicBezTo>
                    <a:pt x="1113" y="464"/>
                    <a:pt x="1110" y="462"/>
                    <a:pt x="1107" y="460"/>
                  </a:cubicBezTo>
                  <a:cubicBezTo>
                    <a:pt x="1107" y="460"/>
                    <a:pt x="1106" y="460"/>
                    <a:pt x="1106" y="460"/>
                  </a:cubicBezTo>
                  <a:cubicBezTo>
                    <a:pt x="1104" y="460"/>
                    <a:pt x="1102" y="461"/>
                    <a:pt x="1100" y="462"/>
                  </a:cubicBezTo>
                  <a:cubicBezTo>
                    <a:pt x="1097" y="463"/>
                    <a:pt x="1093" y="462"/>
                    <a:pt x="1094" y="466"/>
                  </a:cubicBezTo>
                  <a:cubicBezTo>
                    <a:pt x="1095" y="468"/>
                    <a:pt x="1090" y="471"/>
                    <a:pt x="1088" y="471"/>
                  </a:cubicBezTo>
                  <a:cubicBezTo>
                    <a:pt x="1086" y="473"/>
                    <a:pt x="1081" y="478"/>
                    <a:pt x="1078" y="478"/>
                  </a:cubicBezTo>
                  <a:cubicBezTo>
                    <a:pt x="1078" y="478"/>
                    <a:pt x="1078" y="478"/>
                    <a:pt x="1078" y="478"/>
                  </a:cubicBezTo>
                  <a:cubicBezTo>
                    <a:pt x="1075" y="478"/>
                    <a:pt x="1071" y="476"/>
                    <a:pt x="1068" y="475"/>
                  </a:cubicBezTo>
                  <a:cubicBezTo>
                    <a:pt x="1064" y="474"/>
                    <a:pt x="1064" y="474"/>
                    <a:pt x="1065" y="470"/>
                  </a:cubicBezTo>
                  <a:cubicBezTo>
                    <a:pt x="1066" y="467"/>
                    <a:pt x="1067" y="463"/>
                    <a:pt x="1067" y="460"/>
                  </a:cubicBezTo>
                  <a:cubicBezTo>
                    <a:pt x="1067" y="457"/>
                    <a:pt x="1065" y="451"/>
                    <a:pt x="1061" y="450"/>
                  </a:cubicBezTo>
                  <a:cubicBezTo>
                    <a:pt x="1061" y="450"/>
                    <a:pt x="1060" y="450"/>
                    <a:pt x="1059" y="450"/>
                  </a:cubicBezTo>
                  <a:cubicBezTo>
                    <a:pt x="1058" y="450"/>
                    <a:pt x="1057" y="450"/>
                    <a:pt x="1056" y="450"/>
                  </a:cubicBezTo>
                  <a:cubicBezTo>
                    <a:pt x="1055" y="451"/>
                    <a:pt x="1057" y="452"/>
                    <a:pt x="1057" y="453"/>
                  </a:cubicBezTo>
                  <a:cubicBezTo>
                    <a:pt x="1056" y="453"/>
                    <a:pt x="1056" y="454"/>
                    <a:pt x="1055" y="455"/>
                  </a:cubicBezTo>
                  <a:cubicBezTo>
                    <a:pt x="1053" y="453"/>
                    <a:pt x="1053" y="452"/>
                    <a:pt x="1051" y="451"/>
                  </a:cubicBezTo>
                  <a:cubicBezTo>
                    <a:pt x="1051" y="451"/>
                    <a:pt x="1051" y="451"/>
                    <a:pt x="1050" y="451"/>
                  </a:cubicBezTo>
                  <a:cubicBezTo>
                    <a:pt x="1050" y="451"/>
                    <a:pt x="1050" y="451"/>
                    <a:pt x="1050" y="451"/>
                  </a:cubicBezTo>
                  <a:cubicBezTo>
                    <a:pt x="1049" y="451"/>
                    <a:pt x="1049" y="451"/>
                    <a:pt x="1049" y="451"/>
                  </a:cubicBezTo>
                  <a:cubicBezTo>
                    <a:pt x="1048" y="451"/>
                    <a:pt x="1048" y="451"/>
                    <a:pt x="1047" y="451"/>
                  </a:cubicBezTo>
                  <a:cubicBezTo>
                    <a:pt x="1045" y="450"/>
                    <a:pt x="1042" y="449"/>
                    <a:pt x="1040" y="448"/>
                  </a:cubicBezTo>
                  <a:cubicBezTo>
                    <a:pt x="1037" y="447"/>
                    <a:pt x="1030" y="440"/>
                    <a:pt x="1031" y="437"/>
                  </a:cubicBezTo>
                  <a:cubicBezTo>
                    <a:pt x="1032" y="433"/>
                    <a:pt x="1033" y="427"/>
                    <a:pt x="1036" y="424"/>
                  </a:cubicBezTo>
                  <a:cubicBezTo>
                    <a:pt x="1036" y="424"/>
                    <a:pt x="1037" y="423"/>
                    <a:pt x="1038" y="422"/>
                  </a:cubicBezTo>
                  <a:cubicBezTo>
                    <a:pt x="1039" y="422"/>
                    <a:pt x="1040" y="422"/>
                    <a:pt x="1040" y="422"/>
                  </a:cubicBezTo>
                  <a:cubicBezTo>
                    <a:pt x="1044" y="422"/>
                    <a:pt x="1045" y="426"/>
                    <a:pt x="1049" y="426"/>
                  </a:cubicBezTo>
                  <a:cubicBezTo>
                    <a:pt x="1049" y="426"/>
                    <a:pt x="1050" y="426"/>
                    <a:pt x="1050" y="426"/>
                  </a:cubicBezTo>
                  <a:cubicBezTo>
                    <a:pt x="1052" y="426"/>
                    <a:pt x="1054" y="425"/>
                    <a:pt x="1056" y="425"/>
                  </a:cubicBezTo>
                  <a:cubicBezTo>
                    <a:pt x="1059" y="424"/>
                    <a:pt x="1062" y="425"/>
                    <a:pt x="1064" y="423"/>
                  </a:cubicBezTo>
                  <a:cubicBezTo>
                    <a:pt x="1065" y="423"/>
                    <a:pt x="1066" y="421"/>
                    <a:pt x="1066" y="421"/>
                  </a:cubicBezTo>
                  <a:cubicBezTo>
                    <a:pt x="1068" y="419"/>
                    <a:pt x="1071" y="417"/>
                    <a:pt x="1072" y="413"/>
                  </a:cubicBezTo>
                  <a:cubicBezTo>
                    <a:pt x="1073" y="408"/>
                    <a:pt x="1075" y="404"/>
                    <a:pt x="1080" y="402"/>
                  </a:cubicBezTo>
                  <a:cubicBezTo>
                    <a:pt x="1087" y="400"/>
                    <a:pt x="1093" y="396"/>
                    <a:pt x="1099" y="393"/>
                  </a:cubicBezTo>
                  <a:cubicBezTo>
                    <a:pt x="1104" y="390"/>
                    <a:pt x="1106" y="383"/>
                    <a:pt x="1111" y="379"/>
                  </a:cubicBezTo>
                  <a:cubicBezTo>
                    <a:pt x="1113" y="376"/>
                    <a:pt x="1114" y="376"/>
                    <a:pt x="1116" y="376"/>
                  </a:cubicBezTo>
                  <a:cubicBezTo>
                    <a:pt x="1117" y="376"/>
                    <a:pt x="1118" y="376"/>
                    <a:pt x="1120" y="376"/>
                  </a:cubicBezTo>
                  <a:cubicBezTo>
                    <a:pt x="1121" y="376"/>
                    <a:pt x="1122" y="376"/>
                    <a:pt x="1123" y="376"/>
                  </a:cubicBezTo>
                  <a:cubicBezTo>
                    <a:pt x="1125" y="376"/>
                    <a:pt x="1127" y="376"/>
                    <a:pt x="1129" y="375"/>
                  </a:cubicBezTo>
                  <a:cubicBezTo>
                    <a:pt x="1131" y="375"/>
                    <a:pt x="1130" y="373"/>
                    <a:pt x="1132" y="372"/>
                  </a:cubicBezTo>
                  <a:cubicBezTo>
                    <a:pt x="1132" y="376"/>
                    <a:pt x="1131" y="377"/>
                    <a:pt x="1135" y="378"/>
                  </a:cubicBezTo>
                  <a:cubicBezTo>
                    <a:pt x="1138" y="380"/>
                    <a:pt x="1140" y="381"/>
                    <a:pt x="1141" y="384"/>
                  </a:cubicBezTo>
                  <a:cubicBezTo>
                    <a:pt x="1141" y="385"/>
                    <a:pt x="1142" y="385"/>
                    <a:pt x="1142" y="385"/>
                  </a:cubicBezTo>
                  <a:cubicBezTo>
                    <a:pt x="1143" y="387"/>
                    <a:pt x="1141" y="389"/>
                    <a:pt x="1140" y="390"/>
                  </a:cubicBezTo>
                  <a:cubicBezTo>
                    <a:pt x="1137" y="393"/>
                    <a:pt x="1135" y="396"/>
                    <a:pt x="1133" y="398"/>
                  </a:cubicBezTo>
                  <a:cubicBezTo>
                    <a:pt x="1131" y="400"/>
                    <a:pt x="1131" y="401"/>
                    <a:pt x="1129" y="402"/>
                  </a:cubicBezTo>
                  <a:cubicBezTo>
                    <a:pt x="1128" y="403"/>
                    <a:pt x="1124" y="403"/>
                    <a:pt x="1123" y="405"/>
                  </a:cubicBezTo>
                  <a:cubicBezTo>
                    <a:pt x="1122" y="407"/>
                    <a:pt x="1123" y="409"/>
                    <a:pt x="1122" y="410"/>
                  </a:cubicBezTo>
                  <a:cubicBezTo>
                    <a:pt x="1122" y="411"/>
                    <a:pt x="1121" y="411"/>
                    <a:pt x="1120" y="411"/>
                  </a:cubicBezTo>
                  <a:cubicBezTo>
                    <a:pt x="1119" y="412"/>
                    <a:pt x="1118" y="412"/>
                    <a:pt x="1117" y="413"/>
                  </a:cubicBezTo>
                  <a:cubicBezTo>
                    <a:pt x="1121" y="416"/>
                    <a:pt x="1123" y="417"/>
                    <a:pt x="1127" y="417"/>
                  </a:cubicBezTo>
                  <a:cubicBezTo>
                    <a:pt x="1129" y="417"/>
                    <a:pt x="1131" y="416"/>
                    <a:pt x="1134" y="416"/>
                  </a:cubicBezTo>
                  <a:cubicBezTo>
                    <a:pt x="1133" y="417"/>
                    <a:pt x="1127" y="419"/>
                    <a:pt x="1127" y="420"/>
                  </a:cubicBezTo>
                  <a:cubicBezTo>
                    <a:pt x="1126" y="421"/>
                    <a:pt x="1128" y="422"/>
                    <a:pt x="1128" y="423"/>
                  </a:cubicBezTo>
                  <a:cubicBezTo>
                    <a:pt x="1128" y="426"/>
                    <a:pt x="1124" y="426"/>
                    <a:pt x="1121" y="426"/>
                  </a:cubicBezTo>
                  <a:cubicBezTo>
                    <a:pt x="1120" y="427"/>
                    <a:pt x="1118" y="428"/>
                    <a:pt x="1117" y="429"/>
                  </a:cubicBezTo>
                  <a:cubicBezTo>
                    <a:pt x="1117" y="429"/>
                    <a:pt x="1117" y="429"/>
                    <a:pt x="1117" y="429"/>
                  </a:cubicBezTo>
                  <a:cubicBezTo>
                    <a:pt x="1117" y="429"/>
                    <a:pt x="1116" y="429"/>
                    <a:pt x="1116" y="429"/>
                  </a:cubicBezTo>
                  <a:cubicBezTo>
                    <a:pt x="1116" y="429"/>
                    <a:pt x="1116" y="429"/>
                    <a:pt x="1115" y="429"/>
                  </a:cubicBezTo>
                  <a:cubicBezTo>
                    <a:pt x="1115" y="429"/>
                    <a:pt x="1115" y="429"/>
                    <a:pt x="1115" y="429"/>
                  </a:cubicBezTo>
                  <a:cubicBezTo>
                    <a:pt x="1114" y="430"/>
                    <a:pt x="1116" y="434"/>
                    <a:pt x="1117" y="435"/>
                  </a:cubicBezTo>
                  <a:cubicBezTo>
                    <a:pt x="1125" y="429"/>
                    <a:pt x="1134" y="424"/>
                    <a:pt x="1143" y="418"/>
                  </a:cubicBezTo>
                  <a:cubicBezTo>
                    <a:pt x="1146" y="415"/>
                    <a:pt x="1150" y="413"/>
                    <a:pt x="1154" y="411"/>
                  </a:cubicBezTo>
                  <a:cubicBezTo>
                    <a:pt x="1157" y="409"/>
                    <a:pt x="1160" y="407"/>
                    <a:pt x="1164" y="406"/>
                  </a:cubicBezTo>
                  <a:cubicBezTo>
                    <a:pt x="1165" y="405"/>
                    <a:pt x="1166" y="405"/>
                    <a:pt x="1168" y="405"/>
                  </a:cubicBezTo>
                  <a:cubicBezTo>
                    <a:pt x="1168" y="405"/>
                    <a:pt x="1169" y="405"/>
                    <a:pt x="1169" y="405"/>
                  </a:cubicBezTo>
                  <a:cubicBezTo>
                    <a:pt x="1170" y="405"/>
                    <a:pt x="1170" y="405"/>
                    <a:pt x="1171" y="405"/>
                  </a:cubicBezTo>
                  <a:cubicBezTo>
                    <a:pt x="1171" y="405"/>
                    <a:pt x="1172" y="405"/>
                    <a:pt x="1172" y="405"/>
                  </a:cubicBezTo>
                  <a:cubicBezTo>
                    <a:pt x="1176" y="405"/>
                    <a:pt x="1180" y="405"/>
                    <a:pt x="1183" y="405"/>
                  </a:cubicBezTo>
                  <a:cubicBezTo>
                    <a:pt x="1186" y="404"/>
                    <a:pt x="1188" y="402"/>
                    <a:pt x="1189" y="400"/>
                  </a:cubicBezTo>
                  <a:cubicBezTo>
                    <a:pt x="1188" y="399"/>
                    <a:pt x="1188" y="399"/>
                    <a:pt x="1188" y="399"/>
                  </a:cubicBezTo>
                  <a:cubicBezTo>
                    <a:pt x="1188" y="398"/>
                    <a:pt x="1188" y="398"/>
                    <a:pt x="1188" y="398"/>
                  </a:cubicBezTo>
                  <a:cubicBezTo>
                    <a:pt x="1189" y="396"/>
                    <a:pt x="1191" y="394"/>
                    <a:pt x="1191" y="394"/>
                  </a:cubicBezTo>
                  <a:cubicBezTo>
                    <a:pt x="1191" y="394"/>
                    <a:pt x="1191" y="394"/>
                    <a:pt x="1191" y="394"/>
                  </a:cubicBezTo>
                  <a:cubicBezTo>
                    <a:pt x="1196" y="391"/>
                    <a:pt x="1196" y="391"/>
                    <a:pt x="1196" y="391"/>
                  </a:cubicBezTo>
                  <a:cubicBezTo>
                    <a:pt x="1202" y="387"/>
                    <a:pt x="1207" y="384"/>
                    <a:pt x="1213" y="380"/>
                  </a:cubicBezTo>
                  <a:cubicBezTo>
                    <a:pt x="1215" y="379"/>
                    <a:pt x="1216" y="378"/>
                    <a:pt x="1218" y="376"/>
                  </a:cubicBezTo>
                  <a:cubicBezTo>
                    <a:pt x="1219" y="375"/>
                    <a:pt x="1219" y="375"/>
                    <a:pt x="1219" y="375"/>
                  </a:cubicBezTo>
                  <a:cubicBezTo>
                    <a:pt x="1221" y="373"/>
                    <a:pt x="1223" y="373"/>
                    <a:pt x="1225" y="373"/>
                  </a:cubicBezTo>
                  <a:cubicBezTo>
                    <a:pt x="1226" y="373"/>
                    <a:pt x="1227" y="373"/>
                    <a:pt x="1228" y="372"/>
                  </a:cubicBezTo>
                  <a:cubicBezTo>
                    <a:pt x="1228" y="372"/>
                    <a:pt x="1228" y="372"/>
                    <a:pt x="1228" y="372"/>
                  </a:cubicBezTo>
                  <a:cubicBezTo>
                    <a:pt x="1228" y="372"/>
                    <a:pt x="1229" y="371"/>
                    <a:pt x="1230" y="370"/>
                  </a:cubicBezTo>
                  <a:cubicBezTo>
                    <a:pt x="1230" y="369"/>
                    <a:pt x="1231" y="369"/>
                    <a:pt x="1231" y="368"/>
                  </a:cubicBezTo>
                  <a:cubicBezTo>
                    <a:pt x="1235" y="364"/>
                    <a:pt x="1239" y="359"/>
                    <a:pt x="1241" y="354"/>
                  </a:cubicBezTo>
                  <a:cubicBezTo>
                    <a:pt x="1242" y="352"/>
                    <a:pt x="1243" y="351"/>
                    <a:pt x="1245" y="349"/>
                  </a:cubicBezTo>
                  <a:cubicBezTo>
                    <a:pt x="1241" y="344"/>
                    <a:pt x="1241" y="344"/>
                    <a:pt x="1241" y="344"/>
                  </a:cubicBezTo>
                  <a:cubicBezTo>
                    <a:pt x="1246" y="348"/>
                    <a:pt x="1246" y="348"/>
                    <a:pt x="1246" y="348"/>
                  </a:cubicBezTo>
                  <a:cubicBezTo>
                    <a:pt x="1246" y="348"/>
                    <a:pt x="1246" y="348"/>
                    <a:pt x="1246" y="348"/>
                  </a:cubicBezTo>
                  <a:cubicBezTo>
                    <a:pt x="1247" y="348"/>
                    <a:pt x="1247" y="348"/>
                    <a:pt x="1247" y="348"/>
                  </a:cubicBezTo>
                  <a:cubicBezTo>
                    <a:pt x="1248" y="347"/>
                    <a:pt x="1249" y="347"/>
                    <a:pt x="1250" y="347"/>
                  </a:cubicBezTo>
                  <a:cubicBezTo>
                    <a:pt x="1250" y="347"/>
                    <a:pt x="1250" y="347"/>
                    <a:pt x="1250" y="347"/>
                  </a:cubicBezTo>
                  <a:cubicBezTo>
                    <a:pt x="1251" y="347"/>
                    <a:pt x="1251" y="347"/>
                    <a:pt x="1251" y="347"/>
                  </a:cubicBezTo>
                  <a:cubicBezTo>
                    <a:pt x="1252" y="347"/>
                    <a:pt x="1253" y="348"/>
                    <a:pt x="1253" y="348"/>
                  </a:cubicBezTo>
                  <a:cubicBezTo>
                    <a:pt x="1254" y="348"/>
                    <a:pt x="1254" y="348"/>
                    <a:pt x="1254" y="348"/>
                  </a:cubicBezTo>
                  <a:cubicBezTo>
                    <a:pt x="1255" y="349"/>
                    <a:pt x="1257" y="351"/>
                    <a:pt x="1258" y="352"/>
                  </a:cubicBezTo>
                  <a:cubicBezTo>
                    <a:pt x="1259" y="353"/>
                    <a:pt x="1260" y="355"/>
                    <a:pt x="1261" y="355"/>
                  </a:cubicBezTo>
                  <a:cubicBezTo>
                    <a:pt x="1261" y="356"/>
                    <a:pt x="1261" y="356"/>
                    <a:pt x="1261" y="356"/>
                  </a:cubicBezTo>
                  <a:cubicBezTo>
                    <a:pt x="1263" y="357"/>
                    <a:pt x="1268" y="357"/>
                    <a:pt x="1271" y="357"/>
                  </a:cubicBezTo>
                  <a:cubicBezTo>
                    <a:pt x="1272" y="357"/>
                    <a:pt x="1272" y="357"/>
                    <a:pt x="1272" y="357"/>
                  </a:cubicBezTo>
                  <a:cubicBezTo>
                    <a:pt x="1274" y="358"/>
                    <a:pt x="1276" y="358"/>
                    <a:pt x="1277" y="358"/>
                  </a:cubicBezTo>
                  <a:cubicBezTo>
                    <a:pt x="1278" y="358"/>
                    <a:pt x="1278" y="358"/>
                    <a:pt x="1278" y="358"/>
                  </a:cubicBezTo>
                  <a:cubicBezTo>
                    <a:pt x="1279" y="358"/>
                    <a:pt x="1279" y="358"/>
                    <a:pt x="1279" y="358"/>
                  </a:cubicBezTo>
                  <a:cubicBezTo>
                    <a:pt x="1280" y="358"/>
                    <a:pt x="1280" y="358"/>
                    <a:pt x="1280" y="358"/>
                  </a:cubicBezTo>
                  <a:cubicBezTo>
                    <a:pt x="1280" y="358"/>
                    <a:pt x="1280" y="357"/>
                    <a:pt x="1281" y="356"/>
                  </a:cubicBezTo>
                  <a:cubicBezTo>
                    <a:pt x="1281" y="356"/>
                    <a:pt x="1281" y="356"/>
                    <a:pt x="1281" y="356"/>
                  </a:cubicBezTo>
                  <a:cubicBezTo>
                    <a:pt x="1280" y="356"/>
                    <a:pt x="1280" y="356"/>
                    <a:pt x="1280" y="356"/>
                  </a:cubicBezTo>
                  <a:cubicBezTo>
                    <a:pt x="1279" y="355"/>
                    <a:pt x="1279" y="355"/>
                    <a:pt x="1279" y="355"/>
                  </a:cubicBezTo>
                  <a:cubicBezTo>
                    <a:pt x="1277" y="351"/>
                    <a:pt x="1275" y="348"/>
                    <a:pt x="1275" y="344"/>
                  </a:cubicBezTo>
                  <a:cubicBezTo>
                    <a:pt x="1275" y="342"/>
                    <a:pt x="1275" y="342"/>
                    <a:pt x="1275" y="342"/>
                  </a:cubicBezTo>
                  <a:cubicBezTo>
                    <a:pt x="1289" y="340"/>
                    <a:pt x="1289" y="340"/>
                    <a:pt x="1289" y="340"/>
                  </a:cubicBezTo>
                  <a:cubicBezTo>
                    <a:pt x="1290" y="340"/>
                    <a:pt x="1291" y="340"/>
                    <a:pt x="1293" y="339"/>
                  </a:cubicBezTo>
                  <a:cubicBezTo>
                    <a:pt x="1295" y="339"/>
                    <a:pt x="1298" y="339"/>
                    <a:pt x="1299" y="339"/>
                  </a:cubicBezTo>
                  <a:cubicBezTo>
                    <a:pt x="1300" y="338"/>
                    <a:pt x="1301" y="337"/>
                    <a:pt x="1302" y="336"/>
                  </a:cubicBezTo>
                  <a:cubicBezTo>
                    <a:pt x="1301" y="336"/>
                    <a:pt x="1301" y="336"/>
                    <a:pt x="1301" y="336"/>
                  </a:cubicBezTo>
                  <a:cubicBezTo>
                    <a:pt x="1302" y="333"/>
                    <a:pt x="1302" y="333"/>
                    <a:pt x="1302" y="333"/>
                  </a:cubicBezTo>
                  <a:cubicBezTo>
                    <a:pt x="1304" y="331"/>
                    <a:pt x="1306" y="329"/>
                    <a:pt x="1309" y="328"/>
                  </a:cubicBezTo>
                  <a:cubicBezTo>
                    <a:pt x="1310" y="328"/>
                    <a:pt x="1310" y="328"/>
                    <a:pt x="1310" y="328"/>
                  </a:cubicBezTo>
                  <a:cubicBezTo>
                    <a:pt x="1312" y="327"/>
                    <a:pt x="1314" y="327"/>
                    <a:pt x="1315" y="326"/>
                  </a:cubicBezTo>
                  <a:cubicBezTo>
                    <a:pt x="1315" y="326"/>
                    <a:pt x="1315" y="326"/>
                    <a:pt x="1315" y="326"/>
                  </a:cubicBezTo>
                  <a:cubicBezTo>
                    <a:pt x="1315" y="325"/>
                    <a:pt x="1315" y="325"/>
                    <a:pt x="1316" y="325"/>
                  </a:cubicBezTo>
                  <a:cubicBezTo>
                    <a:pt x="1316" y="324"/>
                    <a:pt x="1316" y="324"/>
                    <a:pt x="1316" y="323"/>
                  </a:cubicBezTo>
                  <a:cubicBezTo>
                    <a:pt x="1316" y="321"/>
                    <a:pt x="1316" y="317"/>
                    <a:pt x="1319" y="314"/>
                  </a:cubicBezTo>
                  <a:cubicBezTo>
                    <a:pt x="1319" y="314"/>
                    <a:pt x="1319" y="314"/>
                    <a:pt x="1319" y="314"/>
                  </a:cubicBezTo>
                  <a:cubicBezTo>
                    <a:pt x="1320" y="313"/>
                    <a:pt x="1321" y="312"/>
                    <a:pt x="1322" y="312"/>
                  </a:cubicBezTo>
                  <a:cubicBezTo>
                    <a:pt x="1323" y="312"/>
                    <a:pt x="1324" y="313"/>
                    <a:pt x="1325" y="313"/>
                  </a:cubicBezTo>
                  <a:cubicBezTo>
                    <a:pt x="1326" y="313"/>
                    <a:pt x="1330" y="314"/>
                    <a:pt x="1331" y="316"/>
                  </a:cubicBezTo>
                  <a:cubicBezTo>
                    <a:pt x="1332" y="318"/>
                    <a:pt x="1332" y="319"/>
                    <a:pt x="1333" y="321"/>
                  </a:cubicBezTo>
                  <a:cubicBezTo>
                    <a:pt x="1333" y="321"/>
                    <a:pt x="1333" y="321"/>
                    <a:pt x="1333" y="321"/>
                  </a:cubicBezTo>
                  <a:cubicBezTo>
                    <a:pt x="1336" y="318"/>
                    <a:pt x="1341" y="317"/>
                    <a:pt x="1345" y="317"/>
                  </a:cubicBezTo>
                  <a:cubicBezTo>
                    <a:pt x="1347" y="316"/>
                    <a:pt x="1348" y="316"/>
                    <a:pt x="1349" y="313"/>
                  </a:cubicBezTo>
                  <a:cubicBezTo>
                    <a:pt x="1349" y="311"/>
                    <a:pt x="1349" y="311"/>
                    <a:pt x="1349" y="311"/>
                  </a:cubicBezTo>
                  <a:cubicBezTo>
                    <a:pt x="1350" y="307"/>
                    <a:pt x="1351" y="304"/>
                    <a:pt x="1351" y="301"/>
                  </a:cubicBezTo>
                  <a:cubicBezTo>
                    <a:pt x="1351" y="300"/>
                    <a:pt x="1351" y="299"/>
                    <a:pt x="1351" y="297"/>
                  </a:cubicBezTo>
                  <a:cubicBezTo>
                    <a:pt x="1351" y="296"/>
                    <a:pt x="1351" y="296"/>
                    <a:pt x="1351" y="296"/>
                  </a:cubicBezTo>
                  <a:cubicBezTo>
                    <a:pt x="1350" y="293"/>
                    <a:pt x="1350" y="290"/>
                    <a:pt x="1350" y="287"/>
                  </a:cubicBezTo>
                  <a:cubicBezTo>
                    <a:pt x="1350" y="278"/>
                    <a:pt x="1347" y="271"/>
                    <a:pt x="1344" y="263"/>
                  </a:cubicBezTo>
                  <a:cubicBezTo>
                    <a:pt x="1343" y="260"/>
                    <a:pt x="1343" y="260"/>
                    <a:pt x="1343" y="260"/>
                  </a:cubicBezTo>
                  <a:cubicBezTo>
                    <a:pt x="1346" y="259"/>
                    <a:pt x="1346" y="259"/>
                    <a:pt x="1346" y="259"/>
                  </a:cubicBezTo>
                  <a:cubicBezTo>
                    <a:pt x="1347" y="259"/>
                    <a:pt x="1348" y="259"/>
                    <a:pt x="1350" y="258"/>
                  </a:cubicBezTo>
                  <a:cubicBezTo>
                    <a:pt x="1352" y="258"/>
                    <a:pt x="1356" y="257"/>
                    <a:pt x="1357" y="256"/>
                  </a:cubicBezTo>
                  <a:cubicBezTo>
                    <a:pt x="1358" y="255"/>
                    <a:pt x="1358" y="255"/>
                    <a:pt x="1358" y="255"/>
                  </a:cubicBezTo>
                  <a:cubicBezTo>
                    <a:pt x="1360" y="253"/>
                    <a:pt x="1361" y="252"/>
                    <a:pt x="1362" y="250"/>
                  </a:cubicBezTo>
                  <a:cubicBezTo>
                    <a:pt x="1363" y="249"/>
                    <a:pt x="1363" y="249"/>
                    <a:pt x="1363" y="249"/>
                  </a:cubicBezTo>
                  <a:cubicBezTo>
                    <a:pt x="1364" y="247"/>
                    <a:pt x="1365" y="246"/>
                    <a:pt x="1367" y="245"/>
                  </a:cubicBezTo>
                  <a:cubicBezTo>
                    <a:pt x="1368" y="245"/>
                    <a:pt x="1368" y="245"/>
                    <a:pt x="1368" y="245"/>
                  </a:cubicBezTo>
                  <a:cubicBezTo>
                    <a:pt x="1368" y="245"/>
                    <a:pt x="1368" y="245"/>
                    <a:pt x="1368" y="245"/>
                  </a:cubicBezTo>
                  <a:cubicBezTo>
                    <a:pt x="1369" y="245"/>
                    <a:pt x="1369" y="245"/>
                    <a:pt x="1370" y="246"/>
                  </a:cubicBezTo>
                  <a:cubicBezTo>
                    <a:pt x="1370" y="246"/>
                    <a:pt x="1371" y="247"/>
                    <a:pt x="1372" y="248"/>
                  </a:cubicBezTo>
                  <a:cubicBezTo>
                    <a:pt x="1373" y="248"/>
                    <a:pt x="1373" y="248"/>
                    <a:pt x="1373" y="248"/>
                  </a:cubicBezTo>
                  <a:cubicBezTo>
                    <a:pt x="1373" y="249"/>
                    <a:pt x="1377" y="250"/>
                    <a:pt x="1379" y="250"/>
                  </a:cubicBezTo>
                  <a:cubicBezTo>
                    <a:pt x="1380" y="250"/>
                    <a:pt x="1380" y="250"/>
                    <a:pt x="1380" y="250"/>
                  </a:cubicBezTo>
                  <a:cubicBezTo>
                    <a:pt x="1380" y="250"/>
                    <a:pt x="1381" y="251"/>
                    <a:pt x="1382" y="251"/>
                  </a:cubicBezTo>
                  <a:cubicBezTo>
                    <a:pt x="1382" y="251"/>
                    <a:pt x="1382" y="251"/>
                    <a:pt x="1382" y="251"/>
                  </a:cubicBezTo>
                  <a:cubicBezTo>
                    <a:pt x="1383" y="251"/>
                    <a:pt x="1384" y="251"/>
                    <a:pt x="1384" y="252"/>
                  </a:cubicBezTo>
                  <a:cubicBezTo>
                    <a:pt x="1389" y="253"/>
                    <a:pt x="1390" y="253"/>
                    <a:pt x="1390" y="253"/>
                  </a:cubicBezTo>
                  <a:cubicBezTo>
                    <a:pt x="1390" y="253"/>
                    <a:pt x="1390" y="253"/>
                    <a:pt x="1390" y="253"/>
                  </a:cubicBezTo>
                  <a:cubicBezTo>
                    <a:pt x="1391" y="253"/>
                    <a:pt x="1391" y="253"/>
                    <a:pt x="1391" y="253"/>
                  </a:cubicBezTo>
                  <a:cubicBezTo>
                    <a:pt x="1391" y="253"/>
                    <a:pt x="1391" y="253"/>
                    <a:pt x="1391" y="253"/>
                  </a:cubicBezTo>
                  <a:cubicBezTo>
                    <a:pt x="1392" y="253"/>
                    <a:pt x="1393" y="253"/>
                    <a:pt x="1394" y="252"/>
                  </a:cubicBezTo>
                  <a:cubicBezTo>
                    <a:pt x="1394" y="251"/>
                    <a:pt x="1394" y="251"/>
                    <a:pt x="1394" y="251"/>
                  </a:cubicBezTo>
                  <a:cubicBezTo>
                    <a:pt x="1394" y="250"/>
                    <a:pt x="1394" y="248"/>
                    <a:pt x="1394" y="248"/>
                  </a:cubicBezTo>
                  <a:cubicBezTo>
                    <a:pt x="1394" y="247"/>
                    <a:pt x="1394" y="247"/>
                    <a:pt x="1394" y="247"/>
                  </a:cubicBezTo>
                  <a:cubicBezTo>
                    <a:pt x="1395" y="244"/>
                    <a:pt x="1396" y="243"/>
                    <a:pt x="1398" y="242"/>
                  </a:cubicBezTo>
                  <a:cubicBezTo>
                    <a:pt x="1399" y="241"/>
                    <a:pt x="1399" y="241"/>
                    <a:pt x="1399" y="241"/>
                  </a:cubicBezTo>
                  <a:cubicBezTo>
                    <a:pt x="1400" y="240"/>
                    <a:pt x="1402" y="239"/>
                    <a:pt x="1402" y="238"/>
                  </a:cubicBezTo>
                  <a:cubicBezTo>
                    <a:pt x="1403" y="238"/>
                    <a:pt x="1403" y="238"/>
                    <a:pt x="1403" y="238"/>
                  </a:cubicBezTo>
                  <a:cubicBezTo>
                    <a:pt x="1403" y="237"/>
                    <a:pt x="1403" y="237"/>
                    <a:pt x="1403" y="237"/>
                  </a:cubicBezTo>
                  <a:cubicBezTo>
                    <a:pt x="1403" y="236"/>
                    <a:pt x="1403" y="236"/>
                    <a:pt x="1403" y="236"/>
                  </a:cubicBezTo>
                  <a:cubicBezTo>
                    <a:pt x="1403" y="234"/>
                    <a:pt x="1404" y="232"/>
                    <a:pt x="1406" y="229"/>
                  </a:cubicBezTo>
                  <a:cubicBezTo>
                    <a:pt x="1406" y="229"/>
                    <a:pt x="1407" y="228"/>
                    <a:pt x="1408" y="227"/>
                  </a:cubicBezTo>
                  <a:cubicBezTo>
                    <a:pt x="1409" y="226"/>
                    <a:pt x="1411" y="223"/>
                    <a:pt x="1411" y="222"/>
                  </a:cubicBezTo>
                  <a:cubicBezTo>
                    <a:pt x="1411" y="221"/>
                    <a:pt x="1411" y="221"/>
                    <a:pt x="1411" y="221"/>
                  </a:cubicBezTo>
                  <a:cubicBezTo>
                    <a:pt x="1412" y="220"/>
                    <a:pt x="1412" y="217"/>
                    <a:pt x="1412" y="216"/>
                  </a:cubicBezTo>
                  <a:cubicBezTo>
                    <a:pt x="1412" y="215"/>
                    <a:pt x="1412" y="215"/>
                    <a:pt x="1412" y="215"/>
                  </a:cubicBezTo>
                  <a:cubicBezTo>
                    <a:pt x="1412" y="214"/>
                    <a:pt x="1412" y="214"/>
                    <a:pt x="1412" y="213"/>
                  </a:cubicBezTo>
                  <a:cubicBezTo>
                    <a:pt x="1413" y="213"/>
                    <a:pt x="1413" y="213"/>
                    <a:pt x="1413" y="213"/>
                  </a:cubicBezTo>
                  <a:cubicBezTo>
                    <a:pt x="1413" y="212"/>
                    <a:pt x="1413" y="211"/>
                    <a:pt x="1414" y="210"/>
                  </a:cubicBezTo>
                  <a:cubicBezTo>
                    <a:pt x="1414" y="210"/>
                    <a:pt x="1414" y="210"/>
                    <a:pt x="1414" y="210"/>
                  </a:cubicBezTo>
                  <a:cubicBezTo>
                    <a:pt x="1415" y="209"/>
                    <a:pt x="1415" y="209"/>
                    <a:pt x="1415" y="209"/>
                  </a:cubicBezTo>
                  <a:cubicBezTo>
                    <a:pt x="1415" y="209"/>
                    <a:pt x="1415" y="209"/>
                    <a:pt x="1415" y="209"/>
                  </a:cubicBezTo>
                  <a:cubicBezTo>
                    <a:pt x="1415" y="208"/>
                    <a:pt x="1415" y="207"/>
                    <a:pt x="1416" y="207"/>
                  </a:cubicBezTo>
                  <a:cubicBezTo>
                    <a:pt x="1416" y="206"/>
                    <a:pt x="1416" y="205"/>
                    <a:pt x="1417" y="204"/>
                  </a:cubicBezTo>
                  <a:cubicBezTo>
                    <a:pt x="1417" y="202"/>
                    <a:pt x="1417" y="202"/>
                    <a:pt x="1417" y="202"/>
                  </a:cubicBezTo>
                  <a:cubicBezTo>
                    <a:pt x="1417" y="201"/>
                    <a:pt x="1418" y="200"/>
                    <a:pt x="1418" y="199"/>
                  </a:cubicBezTo>
                  <a:cubicBezTo>
                    <a:pt x="1418" y="199"/>
                    <a:pt x="1418" y="199"/>
                    <a:pt x="1418" y="199"/>
                  </a:cubicBezTo>
                  <a:cubicBezTo>
                    <a:pt x="1418" y="198"/>
                    <a:pt x="1419" y="197"/>
                    <a:pt x="1419" y="195"/>
                  </a:cubicBezTo>
                  <a:cubicBezTo>
                    <a:pt x="1415" y="195"/>
                    <a:pt x="1415" y="195"/>
                    <a:pt x="1415" y="195"/>
                  </a:cubicBezTo>
                  <a:cubicBezTo>
                    <a:pt x="1419" y="194"/>
                    <a:pt x="1419" y="194"/>
                    <a:pt x="1419" y="194"/>
                  </a:cubicBezTo>
                  <a:cubicBezTo>
                    <a:pt x="1419" y="194"/>
                    <a:pt x="1419" y="194"/>
                    <a:pt x="1419" y="194"/>
                  </a:cubicBezTo>
                  <a:cubicBezTo>
                    <a:pt x="1420" y="192"/>
                    <a:pt x="1420" y="192"/>
                    <a:pt x="1420" y="191"/>
                  </a:cubicBezTo>
                  <a:cubicBezTo>
                    <a:pt x="1420" y="190"/>
                    <a:pt x="1420" y="189"/>
                    <a:pt x="1421" y="187"/>
                  </a:cubicBezTo>
                  <a:cubicBezTo>
                    <a:pt x="1421" y="186"/>
                    <a:pt x="1422" y="186"/>
                    <a:pt x="1423" y="185"/>
                  </a:cubicBezTo>
                  <a:cubicBezTo>
                    <a:pt x="1424" y="184"/>
                    <a:pt x="1425" y="183"/>
                    <a:pt x="1426" y="183"/>
                  </a:cubicBezTo>
                  <a:cubicBezTo>
                    <a:pt x="1426" y="183"/>
                    <a:pt x="1426" y="183"/>
                    <a:pt x="1427" y="183"/>
                  </a:cubicBezTo>
                  <a:cubicBezTo>
                    <a:pt x="1427" y="182"/>
                    <a:pt x="1427" y="182"/>
                    <a:pt x="1427" y="182"/>
                  </a:cubicBezTo>
                  <a:cubicBezTo>
                    <a:pt x="1429" y="181"/>
                    <a:pt x="1433" y="179"/>
                    <a:pt x="1433" y="178"/>
                  </a:cubicBezTo>
                  <a:cubicBezTo>
                    <a:pt x="1433" y="177"/>
                    <a:pt x="1433" y="177"/>
                    <a:pt x="1433" y="177"/>
                  </a:cubicBezTo>
                  <a:cubicBezTo>
                    <a:pt x="1433" y="177"/>
                    <a:pt x="1432" y="176"/>
                    <a:pt x="1431" y="175"/>
                  </a:cubicBezTo>
                  <a:cubicBezTo>
                    <a:pt x="1431" y="175"/>
                    <a:pt x="1431" y="175"/>
                    <a:pt x="1431" y="175"/>
                  </a:cubicBezTo>
                  <a:cubicBezTo>
                    <a:pt x="1430" y="174"/>
                    <a:pt x="1429" y="172"/>
                    <a:pt x="1428" y="170"/>
                  </a:cubicBezTo>
                  <a:cubicBezTo>
                    <a:pt x="1428" y="166"/>
                    <a:pt x="1431" y="162"/>
                    <a:pt x="1433" y="160"/>
                  </a:cubicBezTo>
                  <a:cubicBezTo>
                    <a:pt x="1433" y="160"/>
                    <a:pt x="1433" y="160"/>
                    <a:pt x="1433" y="160"/>
                  </a:cubicBezTo>
                  <a:cubicBezTo>
                    <a:pt x="1432" y="160"/>
                    <a:pt x="1431" y="160"/>
                    <a:pt x="1430" y="160"/>
                  </a:cubicBezTo>
                  <a:cubicBezTo>
                    <a:pt x="1427" y="160"/>
                    <a:pt x="1427" y="160"/>
                    <a:pt x="1427" y="160"/>
                  </a:cubicBezTo>
                  <a:cubicBezTo>
                    <a:pt x="1427" y="160"/>
                    <a:pt x="1427" y="160"/>
                    <a:pt x="1427" y="160"/>
                  </a:cubicBezTo>
                  <a:cubicBezTo>
                    <a:pt x="1426" y="160"/>
                    <a:pt x="1425" y="161"/>
                    <a:pt x="1424" y="161"/>
                  </a:cubicBezTo>
                  <a:cubicBezTo>
                    <a:pt x="1424" y="161"/>
                    <a:pt x="1424" y="161"/>
                    <a:pt x="1424" y="161"/>
                  </a:cubicBezTo>
                  <a:cubicBezTo>
                    <a:pt x="1423" y="161"/>
                    <a:pt x="1423" y="161"/>
                    <a:pt x="1422" y="162"/>
                  </a:cubicBezTo>
                  <a:cubicBezTo>
                    <a:pt x="1419" y="162"/>
                    <a:pt x="1416" y="164"/>
                    <a:pt x="1412" y="165"/>
                  </a:cubicBezTo>
                  <a:cubicBezTo>
                    <a:pt x="1411" y="166"/>
                    <a:pt x="1411" y="166"/>
                    <a:pt x="1411" y="166"/>
                  </a:cubicBezTo>
                  <a:cubicBezTo>
                    <a:pt x="1411" y="166"/>
                    <a:pt x="1410" y="166"/>
                    <a:pt x="1409" y="166"/>
                  </a:cubicBezTo>
                  <a:cubicBezTo>
                    <a:pt x="1406" y="168"/>
                    <a:pt x="1406" y="168"/>
                    <a:pt x="1406" y="168"/>
                  </a:cubicBezTo>
                  <a:cubicBezTo>
                    <a:pt x="1403" y="169"/>
                    <a:pt x="1401" y="169"/>
                    <a:pt x="1397" y="169"/>
                  </a:cubicBezTo>
                  <a:cubicBezTo>
                    <a:pt x="1396" y="169"/>
                    <a:pt x="1394" y="170"/>
                    <a:pt x="1393" y="171"/>
                  </a:cubicBezTo>
                  <a:cubicBezTo>
                    <a:pt x="1390" y="172"/>
                    <a:pt x="1389" y="173"/>
                    <a:pt x="1388" y="174"/>
                  </a:cubicBezTo>
                  <a:cubicBezTo>
                    <a:pt x="1387" y="175"/>
                    <a:pt x="1387" y="176"/>
                    <a:pt x="1387" y="176"/>
                  </a:cubicBezTo>
                  <a:cubicBezTo>
                    <a:pt x="1386" y="178"/>
                    <a:pt x="1385" y="180"/>
                    <a:pt x="1381" y="181"/>
                  </a:cubicBezTo>
                  <a:cubicBezTo>
                    <a:pt x="1375" y="181"/>
                    <a:pt x="1370" y="182"/>
                    <a:pt x="1365" y="182"/>
                  </a:cubicBezTo>
                  <a:cubicBezTo>
                    <a:pt x="1363" y="182"/>
                    <a:pt x="1360" y="182"/>
                    <a:pt x="1358" y="181"/>
                  </a:cubicBezTo>
                  <a:cubicBezTo>
                    <a:pt x="1355" y="181"/>
                    <a:pt x="1351" y="182"/>
                    <a:pt x="1348" y="181"/>
                  </a:cubicBezTo>
                  <a:cubicBezTo>
                    <a:pt x="1346" y="181"/>
                    <a:pt x="1345" y="180"/>
                    <a:pt x="1344" y="180"/>
                  </a:cubicBezTo>
                  <a:cubicBezTo>
                    <a:pt x="1344" y="179"/>
                    <a:pt x="1344" y="179"/>
                    <a:pt x="1344" y="179"/>
                  </a:cubicBezTo>
                  <a:cubicBezTo>
                    <a:pt x="1343" y="177"/>
                    <a:pt x="1343" y="177"/>
                    <a:pt x="1343" y="177"/>
                  </a:cubicBezTo>
                  <a:cubicBezTo>
                    <a:pt x="1343" y="177"/>
                    <a:pt x="1343" y="177"/>
                    <a:pt x="1343" y="177"/>
                  </a:cubicBezTo>
                  <a:cubicBezTo>
                    <a:pt x="1343" y="176"/>
                    <a:pt x="1343" y="176"/>
                    <a:pt x="1343" y="175"/>
                  </a:cubicBezTo>
                  <a:cubicBezTo>
                    <a:pt x="1342" y="174"/>
                    <a:pt x="1342" y="174"/>
                    <a:pt x="1342" y="174"/>
                  </a:cubicBezTo>
                  <a:cubicBezTo>
                    <a:pt x="1341" y="173"/>
                    <a:pt x="1341" y="173"/>
                    <a:pt x="1341" y="173"/>
                  </a:cubicBezTo>
                  <a:cubicBezTo>
                    <a:pt x="1341" y="173"/>
                    <a:pt x="1341" y="173"/>
                    <a:pt x="1341" y="173"/>
                  </a:cubicBezTo>
                  <a:cubicBezTo>
                    <a:pt x="1340" y="172"/>
                    <a:pt x="1340" y="172"/>
                    <a:pt x="1340" y="172"/>
                  </a:cubicBezTo>
                  <a:cubicBezTo>
                    <a:pt x="1336" y="168"/>
                    <a:pt x="1336" y="166"/>
                    <a:pt x="1339" y="162"/>
                  </a:cubicBezTo>
                  <a:cubicBezTo>
                    <a:pt x="1339" y="161"/>
                    <a:pt x="1339" y="161"/>
                    <a:pt x="1339" y="161"/>
                  </a:cubicBezTo>
                  <a:cubicBezTo>
                    <a:pt x="1340" y="160"/>
                    <a:pt x="1340" y="160"/>
                    <a:pt x="1340" y="160"/>
                  </a:cubicBezTo>
                  <a:cubicBezTo>
                    <a:pt x="1340" y="160"/>
                    <a:pt x="1340" y="160"/>
                    <a:pt x="1340" y="160"/>
                  </a:cubicBezTo>
                  <a:cubicBezTo>
                    <a:pt x="1340" y="159"/>
                    <a:pt x="1340" y="159"/>
                    <a:pt x="1340" y="159"/>
                  </a:cubicBezTo>
                  <a:cubicBezTo>
                    <a:pt x="1340" y="158"/>
                    <a:pt x="1340" y="158"/>
                    <a:pt x="1340" y="158"/>
                  </a:cubicBezTo>
                  <a:cubicBezTo>
                    <a:pt x="1340" y="158"/>
                    <a:pt x="1339" y="157"/>
                    <a:pt x="1339" y="157"/>
                  </a:cubicBezTo>
                  <a:cubicBezTo>
                    <a:pt x="1339" y="156"/>
                    <a:pt x="1339" y="156"/>
                    <a:pt x="1339" y="156"/>
                  </a:cubicBezTo>
                  <a:cubicBezTo>
                    <a:pt x="1337" y="155"/>
                    <a:pt x="1335" y="154"/>
                    <a:pt x="1335" y="153"/>
                  </a:cubicBezTo>
                  <a:cubicBezTo>
                    <a:pt x="1334" y="152"/>
                    <a:pt x="1334" y="151"/>
                    <a:pt x="1334" y="150"/>
                  </a:cubicBezTo>
                  <a:cubicBezTo>
                    <a:pt x="1334" y="149"/>
                    <a:pt x="1334" y="149"/>
                    <a:pt x="1334" y="149"/>
                  </a:cubicBezTo>
                  <a:cubicBezTo>
                    <a:pt x="1334" y="149"/>
                    <a:pt x="1334" y="148"/>
                    <a:pt x="1334" y="148"/>
                  </a:cubicBezTo>
                  <a:cubicBezTo>
                    <a:pt x="1335" y="145"/>
                    <a:pt x="1335" y="145"/>
                    <a:pt x="1335" y="145"/>
                  </a:cubicBezTo>
                  <a:cubicBezTo>
                    <a:pt x="1333" y="145"/>
                    <a:pt x="1333" y="145"/>
                    <a:pt x="1333" y="145"/>
                  </a:cubicBezTo>
                  <a:cubicBezTo>
                    <a:pt x="1332" y="146"/>
                    <a:pt x="1332" y="146"/>
                    <a:pt x="1332" y="146"/>
                  </a:cubicBezTo>
                  <a:cubicBezTo>
                    <a:pt x="1331" y="146"/>
                    <a:pt x="1331" y="146"/>
                    <a:pt x="1331" y="146"/>
                  </a:cubicBezTo>
                  <a:cubicBezTo>
                    <a:pt x="1331" y="146"/>
                    <a:pt x="1331" y="146"/>
                    <a:pt x="1331" y="146"/>
                  </a:cubicBezTo>
                  <a:cubicBezTo>
                    <a:pt x="1330" y="146"/>
                    <a:pt x="1330" y="146"/>
                    <a:pt x="1330" y="146"/>
                  </a:cubicBezTo>
                  <a:cubicBezTo>
                    <a:pt x="1329" y="146"/>
                    <a:pt x="1329" y="146"/>
                    <a:pt x="1329" y="146"/>
                  </a:cubicBezTo>
                  <a:cubicBezTo>
                    <a:pt x="1327" y="145"/>
                    <a:pt x="1327" y="145"/>
                    <a:pt x="1327" y="145"/>
                  </a:cubicBezTo>
                  <a:cubicBezTo>
                    <a:pt x="1310" y="129"/>
                    <a:pt x="1310" y="129"/>
                    <a:pt x="1310" y="129"/>
                  </a:cubicBezTo>
                  <a:cubicBezTo>
                    <a:pt x="1308" y="130"/>
                    <a:pt x="1308" y="130"/>
                    <a:pt x="1308" y="130"/>
                  </a:cubicBezTo>
                  <a:cubicBezTo>
                    <a:pt x="1308" y="130"/>
                    <a:pt x="1307" y="130"/>
                    <a:pt x="1307" y="130"/>
                  </a:cubicBezTo>
                  <a:cubicBezTo>
                    <a:pt x="1306" y="131"/>
                    <a:pt x="1306" y="131"/>
                    <a:pt x="1306" y="131"/>
                  </a:cubicBezTo>
                  <a:cubicBezTo>
                    <a:pt x="1297" y="127"/>
                    <a:pt x="1297" y="127"/>
                    <a:pt x="1297" y="127"/>
                  </a:cubicBezTo>
                  <a:cubicBezTo>
                    <a:pt x="1296" y="127"/>
                    <a:pt x="1295" y="127"/>
                    <a:pt x="1295" y="126"/>
                  </a:cubicBezTo>
                  <a:cubicBezTo>
                    <a:pt x="1294" y="126"/>
                    <a:pt x="1294" y="126"/>
                    <a:pt x="1294" y="126"/>
                  </a:cubicBezTo>
                  <a:cubicBezTo>
                    <a:pt x="1292" y="125"/>
                    <a:pt x="1290" y="124"/>
                    <a:pt x="1288" y="124"/>
                  </a:cubicBezTo>
                  <a:cubicBezTo>
                    <a:pt x="1288" y="124"/>
                    <a:pt x="1288" y="124"/>
                    <a:pt x="1288" y="124"/>
                  </a:cubicBezTo>
                  <a:cubicBezTo>
                    <a:pt x="1277" y="124"/>
                    <a:pt x="1277" y="124"/>
                    <a:pt x="1277" y="124"/>
                  </a:cubicBezTo>
                  <a:cubicBezTo>
                    <a:pt x="1273" y="124"/>
                    <a:pt x="1271" y="124"/>
                    <a:pt x="1269" y="121"/>
                  </a:cubicBezTo>
                  <a:cubicBezTo>
                    <a:pt x="1267" y="118"/>
                    <a:pt x="1267" y="118"/>
                    <a:pt x="1267" y="118"/>
                  </a:cubicBezTo>
                  <a:cubicBezTo>
                    <a:pt x="1264" y="113"/>
                    <a:pt x="1264" y="113"/>
                    <a:pt x="1264" y="113"/>
                  </a:cubicBezTo>
                  <a:cubicBezTo>
                    <a:pt x="1263" y="111"/>
                    <a:pt x="1262" y="109"/>
                    <a:pt x="1263" y="107"/>
                  </a:cubicBezTo>
                  <a:cubicBezTo>
                    <a:pt x="1263" y="105"/>
                    <a:pt x="1263" y="105"/>
                    <a:pt x="1263" y="105"/>
                  </a:cubicBezTo>
                  <a:cubicBezTo>
                    <a:pt x="1263" y="105"/>
                    <a:pt x="1263" y="104"/>
                    <a:pt x="1264" y="104"/>
                  </a:cubicBezTo>
                  <a:cubicBezTo>
                    <a:pt x="1264" y="103"/>
                    <a:pt x="1264" y="103"/>
                    <a:pt x="1264" y="103"/>
                  </a:cubicBezTo>
                  <a:cubicBezTo>
                    <a:pt x="1264" y="102"/>
                    <a:pt x="1264" y="102"/>
                    <a:pt x="1264" y="102"/>
                  </a:cubicBezTo>
                  <a:cubicBezTo>
                    <a:pt x="1264" y="102"/>
                    <a:pt x="1263" y="102"/>
                    <a:pt x="1263" y="101"/>
                  </a:cubicBezTo>
                  <a:cubicBezTo>
                    <a:pt x="1262" y="100"/>
                    <a:pt x="1261" y="99"/>
                    <a:pt x="1261" y="98"/>
                  </a:cubicBezTo>
                  <a:cubicBezTo>
                    <a:pt x="1254" y="82"/>
                    <a:pt x="1254" y="82"/>
                    <a:pt x="1254" y="82"/>
                  </a:cubicBezTo>
                  <a:cubicBezTo>
                    <a:pt x="1251" y="80"/>
                    <a:pt x="1251" y="80"/>
                    <a:pt x="1251" y="80"/>
                  </a:cubicBezTo>
                  <a:cubicBezTo>
                    <a:pt x="1251" y="79"/>
                    <a:pt x="1251" y="79"/>
                    <a:pt x="1251" y="79"/>
                  </a:cubicBezTo>
                  <a:cubicBezTo>
                    <a:pt x="1250" y="71"/>
                    <a:pt x="1250" y="71"/>
                    <a:pt x="1250" y="71"/>
                  </a:cubicBezTo>
                  <a:cubicBezTo>
                    <a:pt x="1250" y="72"/>
                    <a:pt x="1250" y="72"/>
                    <a:pt x="1250" y="72"/>
                  </a:cubicBezTo>
                  <a:cubicBezTo>
                    <a:pt x="1249" y="72"/>
                    <a:pt x="1247" y="71"/>
                    <a:pt x="1246" y="69"/>
                  </a:cubicBezTo>
                  <a:cubicBezTo>
                    <a:pt x="1246" y="68"/>
                    <a:pt x="1246" y="68"/>
                    <a:pt x="1246" y="68"/>
                  </a:cubicBezTo>
                  <a:cubicBezTo>
                    <a:pt x="1246" y="67"/>
                    <a:pt x="1246" y="67"/>
                    <a:pt x="1246" y="67"/>
                  </a:cubicBezTo>
                  <a:cubicBezTo>
                    <a:pt x="1245" y="64"/>
                    <a:pt x="1245" y="64"/>
                    <a:pt x="1245" y="64"/>
                  </a:cubicBezTo>
                  <a:cubicBezTo>
                    <a:pt x="1242" y="59"/>
                    <a:pt x="1240" y="55"/>
                    <a:pt x="1239" y="51"/>
                  </a:cubicBezTo>
                  <a:cubicBezTo>
                    <a:pt x="1238" y="49"/>
                    <a:pt x="1238" y="49"/>
                    <a:pt x="1238" y="49"/>
                  </a:cubicBezTo>
                  <a:cubicBezTo>
                    <a:pt x="1237" y="47"/>
                    <a:pt x="1237" y="46"/>
                    <a:pt x="1238" y="45"/>
                  </a:cubicBezTo>
                  <a:cubicBezTo>
                    <a:pt x="1238" y="44"/>
                    <a:pt x="1238" y="44"/>
                    <a:pt x="1238" y="44"/>
                  </a:cubicBezTo>
                  <a:cubicBezTo>
                    <a:pt x="1238" y="44"/>
                    <a:pt x="1238" y="44"/>
                    <a:pt x="1238" y="44"/>
                  </a:cubicBezTo>
                  <a:cubicBezTo>
                    <a:pt x="1238" y="43"/>
                    <a:pt x="1238" y="43"/>
                    <a:pt x="1238" y="43"/>
                  </a:cubicBezTo>
                  <a:cubicBezTo>
                    <a:pt x="1238" y="42"/>
                    <a:pt x="1238" y="42"/>
                    <a:pt x="1238" y="42"/>
                  </a:cubicBezTo>
                  <a:cubicBezTo>
                    <a:pt x="1237" y="40"/>
                    <a:pt x="1234" y="36"/>
                    <a:pt x="1231" y="34"/>
                  </a:cubicBezTo>
                  <a:cubicBezTo>
                    <a:pt x="1231" y="34"/>
                    <a:pt x="1231" y="34"/>
                    <a:pt x="1231" y="34"/>
                  </a:cubicBezTo>
                  <a:cubicBezTo>
                    <a:pt x="1230" y="33"/>
                    <a:pt x="1229" y="32"/>
                    <a:pt x="1229" y="32"/>
                  </a:cubicBezTo>
                  <a:cubicBezTo>
                    <a:pt x="1228" y="30"/>
                    <a:pt x="1228" y="30"/>
                    <a:pt x="1228" y="30"/>
                  </a:cubicBezTo>
                  <a:cubicBezTo>
                    <a:pt x="1226" y="28"/>
                    <a:pt x="1226" y="25"/>
                    <a:pt x="1228" y="23"/>
                  </a:cubicBezTo>
                  <a:cubicBezTo>
                    <a:pt x="1228" y="23"/>
                    <a:pt x="1228" y="23"/>
                    <a:pt x="1228" y="23"/>
                  </a:cubicBezTo>
                  <a:cubicBezTo>
                    <a:pt x="1228" y="23"/>
                    <a:pt x="1228" y="23"/>
                    <a:pt x="1228" y="23"/>
                  </a:cubicBezTo>
                  <a:cubicBezTo>
                    <a:pt x="1227" y="22"/>
                    <a:pt x="1226" y="22"/>
                    <a:pt x="1226" y="21"/>
                  </a:cubicBezTo>
                  <a:cubicBezTo>
                    <a:pt x="1225" y="21"/>
                    <a:pt x="1225" y="21"/>
                    <a:pt x="1225" y="21"/>
                  </a:cubicBezTo>
                  <a:cubicBezTo>
                    <a:pt x="1219" y="16"/>
                    <a:pt x="1219" y="16"/>
                    <a:pt x="1219" y="16"/>
                  </a:cubicBezTo>
                  <a:cubicBezTo>
                    <a:pt x="1219" y="16"/>
                    <a:pt x="1219" y="16"/>
                    <a:pt x="1219" y="16"/>
                  </a:cubicBezTo>
                  <a:cubicBezTo>
                    <a:pt x="1218" y="16"/>
                    <a:pt x="1218" y="16"/>
                    <a:pt x="1218" y="16"/>
                  </a:cubicBezTo>
                  <a:cubicBezTo>
                    <a:pt x="1214" y="14"/>
                    <a:pt x="1214" y="14"/>
                    <a:pt x="1214" y="14"/>
                  </a:cubicBezTo>
                  <a:cubicBezTo>
                    <a:pt x="1214" y="14"/>
                    <a:pt x="1214" y="14"/>
                    <a:pt x="1213" y="14"/>
                  </a:cubicBezTo>
                  <a:cubicBezTo>
                    <a:pt x="1213" y="13"/>
                    <a:pt x="1213" y="13"/>
                    <a:pt x="1213" y="13"/>
                  </a:cubicBezTo>
                  <a:cubicBezTo>
                    <a:pt x="1212" y="13"/>
                    <a:pt x="1212" y="13"/>
                    <a:pt x="1212" y="13"/>
                  </a:cubicBezTo>
                  <a:cubicBezTo>
                    <a:pt x="1211" y="12"/>
                    <a:pt x="1211" y="12"/>
                    <a:pt x="1211" y="12"/>
                  </a:cubicBezTo>
                  <a:cubicBezTo>
                    <a:pt x="1210" y="12"/>
                    <a:pt x="1210" y="12"/>
                    <a:pt x="1210" y="12"/>
                  </a:cubicBezTo>
                  <a:cubicBezTo>
                    <a:pt x="1210" y="12"/>
                    <a:pt x="1209" y="12"/>
                    <a:pt x="1209" y="11"/>
                  </a:cubicBezTo>
                  <a:cubicBezTo>
                    <a:pt x="1209" y="11"/>
                    <a:pt x="1209" y="11"/>
                    <a:pt x="1209" y="11"/>
                  </a:cubicBezTo>
                  <a:cubicBezTo>
                    <a:pt x="1208" y="11"/>
                    <a:pt x="1207" y="11"/>
                    <a:pt x="1206" y="12"/>
                  </a:cubicBezTo>
                  <a:cubicBezTo>
                    <a:pt x="1205" y="12"/>
                    <a:pt x="1205" y="12"/>
                    <a:pt x="1205" y="12"/>
                  </a:cubicBezTo>
                  <a:cubicBezTo>
                    <a:pt x="1205" y="12"/>
                    <a:pt x="1205" y="12"/>
                    <a:pt x="1205" y="12"/>
                  </a:cubicBezTo>
                  <a:cubicBezTo>
                    <a:pt x="1204" y="12"/>
                    <a:pt x="1203" y="12"/>
                    <a:pt x="1203" y="12"/>
                  </a:cubicBezTo>
                  <a:cubicBezTo>
                    <a:pt x="1198" y="11"/>
                    <a:pt x="1198" y="11"/>
                    <a:pt x="1198" y="11"/>
                  </a:cubicBezTo>
                  <a:cubicBezTo>
                    <a:pt x="1197" y="11"/>
                    <a:pt x="1197" y="11"/>
                    <a:pt x="1196" y="11"/>
                  </a:cubicBezTo>
                  <a:cubicBezTo>
                    <a:pt x="1196" y="11"/>
                    <a:pt x="1196" y="11"/>
                    <a:pt x="1196" y="11"/>
                  </a:cubicBezTo>
                  <a:cubicBezTo>
                    <a:pt x="1184" y="5"/>
                    <a:pt x="1184" y="5"/>
                    <a:pt x="1184" y="5"/>
                  </a:cubicBezTo>
                  <a:cubicBezTo>
                    <a:pt x="1181" y="4"/>
                    <a:pt x="1178" y="2"/>
                    <a:pt x="1175" y="1"/>
                  </a:cubicBezTo>
                  <a:cubicBezTo>
                    <a:pt x="1172" y="0"/>
                    <a:pt x="1172" y="0"/>
                    <a:pt x="1172" y="0"/>
                  </a:cubicBezTo>
                  <a:cubicBezTo>
                    <a:pt x="1171" y="0"/>
                    <a:pt x="1171" y="0"/>
                    <a:pt x="1171" y="0"/>
                  </a:cubicBezTo>
                  <a:cubicBezTo>
                    <a:pt x="1169" y="0"/>
                    <a:pt x="1169" y="0"/>
                    <a:pt x="1169" y="0"/>
                  </a:cubicBezTo>
                  <a:cubicBezTo>
                    <a:pt x="1166" y="0"/>
                    <a:pt x="1166" y="0"/>
                    <a:pt x="11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5" name="Freeform 1524">
              <a:extLst>
                <a:ext uri="{FF2B5EF4-FFF2-40B4-BE49-F238E27FC236}">
                  <a16:creationId xmlns:a16="http://schemas.microsoft.com/office/drawing/2014/main" id="{37D9F1D3-1B5C-4B7F-BD51-56678741D175}"/>
                </a:ext>
              </a:extLst>
            </p:cNvPr>
            <p:cNvSpPr>
              <a:spLocks/>
            </p:cNvSpPr>
            <p:nvPr/>
          </p:nvSpPr>
          <p:spPr bwMode="auto">
            <a:xfrm>
              <a:off x="1973233" y="2656486"/>
              <a:ext cx="681907" cy="577205"/>
            </a:xfrm>
            <a:custGeom>
              <a:avLst/>
              <a:gdLst>
                <a:gd name="T0" fmla="*/ 168 w 215"/>
                <a:gd name="T1" fmla="*/ 9 h 182"/>
                <a:gd name="T2" fmla="*/ 158 w 215"/>
                <a:gd name="T3" fmla="*/ 6 h 182"/>
                <a:gd name="T4" fmla="*/ 145 w 215"/>
                <a:gd name="T5" fmla="*/ 10 h 182"/>
                <a:gd name="T6" fmla="*/ 124 w 215"/>
                <a:gd name="T7" fmla="*/ 20 h 182"/>
                <a:gd name="T8" fmla="*/ 119 w 215"/>
                <a:gd name="T9" fmla="*/ 27 h 182"/>
                <a:gd name="T10" fmla="*/ 114 w 215"/>
                <a:gd name="T11" fmla="*/ 30 h 182"/>
                <a:gd name="T12" fmla="*/ 111 w 215"/>
                <a:gd name="T13" fmla="*/ 36 h 182"/>
                <a:gd name="T14" fmla="*/ 88 w 215"/>
                <a:gd name="T15" fmla="*/ 42 h 182"/>
                <a:gd name="T16" fmla="*/ 86 w 215"/>
                <a:gd name="T17" fmla="*/ 44 h 182"/>
                <a:gd name="T18" fmla="*/ 95 w 215"/>
                <a:gd name="T19" fmla="*/ 56 h 182"/>
                <a:gd name="T20" fmla="*/ 89 w 215"/>
                <a:gd name="T21" fmla="*/ 67 h 182"/>
                <a:gd name="T22" fmla="*/ 87 w 215"/>
                <a:gd name="T23" fmla="*/ 66 h 182"/>
                <a:gd name="T24" fmla="*/ 72 w 215"/>
                <a:gd name="T25" fmla="*/ 67 h 182"/>
                <a:gd name="T26" fmla="*/ 61 w 215"/>
                <a:gd name="T27" fmla="*/ 67 h 182"/>
                <a:gd name="T28" fmla="*/ 50 w 215"/>
                <a:gd name="T29" fmla="*/ 66 h 182"/>
                <a:gd name="T30" fmla="*/ 34 w 215"/>
                <a:gd name="T31" fmla="*/ 68 h 182"/>
                <a:gd name="T32" fmla="*/ 24 w 215"/>
                <a:gd name="T33" fmla="*/ 66 h 182"/>
                <a:gd name="T34" fmla="*/ 10 w 215"/>
                <a:gd name="T35" fmla="*/ 56 h 182"/>
                <a:gd name="T36" fmla="*/ 14 w 215"/>
                <a:gd name="T37" fmla="*/ 49 h 182"/>
                <a:gd name="T38" fmla="*/ 15 w 215"/>
                <a:gd name="T39" fmla="*/ 38 h 182"/>
                <a:gd name="T40" fmla="*/ 12 w 215"/>
                <a:gd name="T41" fmla="*/ 34 h 182"/>
                <a:gd name="T42" fmla="*/ 1 w 215"/>
                <a:gd name="T43" fmla="*/ 56 h 182"/>
                <a:gd name="T44" fmla="*/ 5 w 215"/>
                <a:gd name="T45" fmla="*/ 64 h 182"/>
                <a:gd name="T46" fmla="*/ 14 w 215"/>
                <a:gd name="T47" fmla="*/ 72 h 182"/>
                <a:gd name="T48" fmla="*/ 23 w 215"/>
                <a:gd name="T49" fmla="*/ 72 h 182"/>
                <a:gd name="T50" fmla="*/ 31 w 215"/>
                <a:gd name="T51" fmla="*/ 82 h 182"/>
                <a:gd name="T52" fmla="*/ 41 w 215"/>
                <a:gd name="T53" fmla="*/ 82 h 182"/>
                <a:gd name="T54" fmla="*/ 43 w 215"/>
                <a:gd name="T55" fmla="*/ 99 h 182"/>
                <a:gd name="T56" fmla="*/ 53 w 215"/>
                <a:gd name="T57" fmla="*/ 102 h 182"/>
                <a:gd name="T58" fmla="*/ 61 w 215"/>
                <a:gd name="T59" fmla="*/ 102 h 182"/>
                <a:gd name="T60" fmla="*/ 72 w 215"/>
                <a:gd name="T61" fmla="*/ 102 h 182"/>
                <a:gd name="T62" fmla="*/ 92 w 215"/>
                <a:gd name="T63" fmla="*/ 102 h 182"/>
                <a:gd name="T64" fmla="*/ 105 w 215"/>
                <a:gd name="T65" fmla="*/ 110 h 182"/>
                <a:gd name="T66" fmla="*/ 97 w 215"/>
                <a:gd name="T67" fmla="*/ 124 h 182"/>
                <a:gd name="T68" fmla="*/ 93 w 215"/>
                <a:gd name="T69" fmla="*/ 127 h 182"/>
                <a:gd name="T70" fmla="*/ 85 w 215"/>
                <a:gd name="T71" fmla="*/ 132 h 182"/>
                <a:gd name="T72" fmla="*/ 75 w 215"/>
                <a:gd name="T73" fmla="*/ 142 h 182"/>
                <a:gd name="T74" fmla="*/ 80 w 215"/>
                <a:gd name="T75" fmla="*/ 151 h 182"/>
                <a:gd name="T76" fmla="*/ 86 w 215"/>
                <a:gd name="T77" fmla="*/ 150 h 182"/>
                <a:gd name="T78" fmla="*/ 98 w 215"/>
                <a:gd name="T79" fmla="*/ 138 h 182"/>
                <a:gd name="T80" fmla="*/ 110 w 215"/>
                <a:gd name="T81" fmla="*/ 156 h 182"/>
                <a:gd name="T82" fmla="*/ 109 w 215"/>
                <a:gd name="T83" fmla="*/ 182 h 182"/>
                <a:gd name="T84" fmla="*/ 116 w 215"/>
                <a:gd name="T85" fmla="*/ 157 h 182"/>
                <a:gd name="T86" fmla="*/ 123 w 215"/>
                <a:gd name="T87" fmla="*/ 131 h 182"/>
                <a:gd name="T88" fmla="*/ 160 w 215"/>
                <a:gd name="T89" fmla="*/ 89 h 182"/>
                <a:gd name="T90" fmla="*/ 175 w 215"/>
                <a:gd name="T91" fmla="*/ 60 h 182"/>
                <a:gd name="T92" fmla="*/ 205 w 215"/>
                <a:gd name="T93" fmla="*/ 47 h 182"/>
                <a:gd name="T94" fmla="*/ 214 w 215"/>
                <a:gd name="T95" fmla="*/ 30 h 182"/>
                <a:gd name="T96" fmla="*/ 207 w 215"/>
                <a:gd name="T97" fmla="*/ 27 h 182"/>
                <a:gd name="T98" fmla="*/ 197 w 215"/>
                <a:gd name="T99" fmla="*/ 27 h 182"/>
                <a:gd name="T100" fmla="*/ 191 w 215"/>
                <a:gd name="T101" fmla="*/ 21 h 182"/>
                <a:gd name="T102" fmla="*/ 197 w 215"/>
                <a:gd name="T103" fmla="*/ 13 h 182"/>
                <a:gd name="T104" fmla="*/ 187 w 215"/>
                <a:gd name="T105" fmla="*/ 17 h 182"/>
                <a:gd name="T106" fmla="*/ 189 w 215"/>
                <a:gd name="T107" fmla="*/ 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5" h="182">
                  <a:moveTo>
                    <a:pt x="187" y="0"/>
                  </a:moveTo>
                  <a:cubicBezTo>
                    <a:pt x="186" y="0"/>
                    <a:pt x="183" y="2"/>
                    <a:pt x="177" y="7"/>
                  </a:cubicBezTo>
                  <a:cubicBezTo>
                    <a:pt x="176" y="8"/>
                    <a:pt x="176" y="8"/>
                    <a:pt x="176" y="8"/>
                  </a:cubicBezTo>
                  <a:cubicBezTo>
                    <a:pt x="175" y="8"/>
                    <a:pt x="175" y="9"/>
                    <a:pt x="174" y="9"/>
                  </a:cubicBezTo>
                  <a:cubicBezTo>
                    <a:pt x="173" y="10"/>
                    <a:pt x="172" y="10"/>
                    <a:pt x="171" y="10"/>
                  </a:cubicBezTo>
                  <a:cubicBezTo>
                    <a:pt x="170" y="10"/>
                    <a:pt x="169" y="10"/>
                    <a:pt x="168" y="9"/>
                  </a:cubicBezTo>
                  <a:cubicBezTo>
                    <a:pt x="167" y="9"/>
                    <a:pt x="166" y="9"/>
                    <a:pt x="165" y="8"/>
                  </a:cubicBezTo>
                  <a:cubicBezTo>
                    <a:pt x="165" y="8"/>
                    <a:pt x="165" y="8"/>
                    <a:pt x="165" y="8"/>
                  </a:cubicBezTo>
                  <a:cubicBezTo>
                    <a:pt x="164" y="8"/>
                    <a:pt x="164" y="7"/>
                    <a:pt x="163" y="7"/>
                  </a:cubicBezTo>
                  <a:cubicBezTo>
                    <a:pt x="162" y="7"/>
                    <a:pt x="162" y="7"/>
                    <a:pt x="162" y="7"/>
                  </a:cubicBezTo>
                  <a:cubicBezTo>
                    <a:pt x="161" y="7"/>
                    <a:pt x="161" y="7"/>
                    <a:pt x="161" y="7"/>
                  </a:cubicBezTo>
                  <a:cubicBezTo>
                    <a:pt x="160" y="7"/>
                    <a:pt x="159" y="7"/>
                    <a:pt x="158" y="6"/>
                  </a:cubicBezTo>
                  <a:cubicBezTo>
                    <a:pt x="157" y="6"/>
                    <a:pt x="156" y="5"/>
                    <a:pt x="155" y="4"/>
                  </a:cubicBezTo>
                  <a:cubicBezTo>
                    <a:pt x="155" y="4"/>
                    <a:pt x="155" y="4"/>
                    <a:pt x="155" y="4"/>
                  </a:cubicBezTo>
                  <a:cubicBezTo>
                    <a:pt x="154" y="3"/>
                    <a:pt x="154" y="3"/>
                    <a:pt x="154" y="3"/>
                  </a:cubicBezTo>
                  <a:cubicBezTo>
                    <a:pt x="154" y="3"/>
                    <a:pt x="153" y="4"/>
                    <a:pt x="153" y="4"/>
                  </a:cubicBezTo>
                  <a:cubicBezTo>
                    <a:pt x="152" y="5"/>
                    <a:pt x="151" y="5"/>
                    <a:pt x="150" y="6"/>
                  </a:cubicBezTo>
                  <a:cubicBezTo>
                    <a:pt x="148" y="7"/>
                    <a:pt x="147" y="8"/>
                    <a:pt x="145" y="10"/>
                  </a:cubicBezTo>
                  <a:cubicBezTo>
                    <a:pt x="145" y="10"/>
                    <a:pt x="145" y="10"/>
                    <a:pt x="145" y="10"/>
                  </a:cubicBezTo>
                  <a:cubicBezTo>
                    <a:pt x="144" y="10"/>
                    <a:pt x="144" y="11"/>
                    <a:pt x="143" y="11"/>
                  </a:cubicBezTo>
                  <a:cubicBezTo>
                    <a:pt x="141" y="13"/>
                    <a:pt x="140" y="16"/>
                    <a:pt x="137" y="16"/>
                  </a:cubicBezTo>
                  <a:cubicBezTo>
                    <a:pt x="133" y="18"/>
                    <a:pt x="133" y="18"/>
                    <a:pt x="133" y="18"/>
                  </a:cubicBezTo>
                  <a:cubicBezTo>
                    <a:pt x="131" y="18"/>
                    <a:pt x="128" y="19"/>
                    <a:pt x="126" y="19"/>
                  </a:cubicBezTo>
                  <a:cubicBezTo>
                    <a:pt x="125" y="20"/>
                    <a:pt x="125" y="20"/>
                    <a:pt x="124" y="20"/>
                  </a:cubicBezTo>
                  <a:cubicBezTo>
                    <a:pt x="124" y="20"/>
                    <a:pt x="123" y="20"/>
                    <a:pt x="123" y="20"/>
                  </a:cubicBezTo>
                  <a:cubicBezTo>
                    <a:pt x="123" y="20"/>
                    <a:pt x="123" y="21"/>
                    <a:pt x="122" y="22"/>
                  </a:cubicBezTo>
                  <a:cubicBezTo>
                    <a:pt x="121" y="24"/>
                    <a:pt x="121" y="24"/>
                    <a:pt x="121" y="24"/>
                  </a:cubicBezTo>
                  <a:cubicBezTo>
                    <a:pt x="121" y="24"/>
                    <a:pt x="121" y="25"/>
                    <a:pt x="120" y="25"/>
                  </a:cubicBezTo>
                  <a:cubicBezTo>
                    <a:pt x="120" y="26"/>
                    <a:pt x="120" y="26"/>
                    <a:pt x="119" y="27"/>
                  </a:cubicBezTo>
                  <a:cubicBezTo>
                    <a:pt x="119" y="27"/>
                    <a:pt x="119" y="27"/>
                    <a:pt x="119" y="27"/>
                  </a:cubicBezTo>
                  <a:cubicBezTo>
                    <a:pt x="118" y="28"/>
                    <a:pt x="118" y="28"/>
                    <a:pt x="118" y="28"/>
                  </a:cubicBezTo>
                  <a:cubicBezTo>
                    <a:pt x="118" y="27"/>
                    <a:pt x="118" y="27"/>
                    <a:pt x="118" y="27"/>
                  </a:cubicBezTo>
                  <a:cubicBezTo>
                    <a:pt x="118" y="28"/>
                    <a:pt x="118" y="28"/>
                    <a:pt x="118" y="28"/>
                  </a:cubicBezTo>
                  <a:cubicBezTo>
                    <a:pt x="117" y="28"/>
                    <a:pt x="117" y="28"/>
                    <a:pt x="117" y="28"/>
                  </a:cubicBezTo>
                  <a:cubicBezTo>
                    <a:pt x="116" y="29"/>
                    <a:pt x="116" y="29"/>
                    <a:pt x="115" y="29"/>
                  </a:cubicBezTo>
                  <a:cubicBezTo>
                    <a:pt x="114" y="30"/>
                    <a:pt x="114" y="30"/>
                    <a:pt x="114" y="30"/>
                  </a:cubicBezTo>
                  <a:cubicBezTo>
                    <a:pt x="113" y="30"/>
                    <a:pt x="112" y="30"/>
                    <a:pt x="112" y="31"/>
                  </a:cubicBezTo>
                  <a:cubicBezTo>
                    <a:pt x="111" y="31"/>
                    <a:pt x="111" y="31"/>
                    <a:pt x="111" y="31"/>
                  </a:cubicBezTo>
                  <a:cubicBezTo>
                    <a:pt x="111" y="32"/>
                    <a:pt x="111" y="32"/>
                    <a:pt x="111" y="32"/>
                  </a:cubicBezTo>
                  <a:cubicBezTo>
                    <a:pt x="112" y="34"/>
                    <a:pt x="112" y="34"/>
                    <a:pt x="112" y="34"/>
                  </a:cubicBezTo>
                  <a:cubicBezTo>
                    <a:pt x="111" y="35"/>
                    <a:pt x="111" y="35"/>
                    <a:pt x="111" y="35"/>
                  </a:cubicBezTo>
                  <a:cubicBezTo>
                    <a:pt x="111" y="35"/>
                    <a:pt x="111" y="35"/>
                    <a:pt x="111" y="36"/>
                  </a:cubicBezTo>
                  <a:cubicBezTo>
                    <a:pt x="110" y="36"/>
                    <a:pt x="110" y="36"/>
                    <a:pt x="110" y="36"/>
                  </a:cubicBezTo>
                  <a:cubicBezTo>
                    <a:pt x="110" y="37"/>
                    <a:pt x="107" y="39"/>
                    <a:pt x="105" y="40"/>
                  </a:cubicBezTo>
                  <a:cubicBezTo>
                    <a:pt x="105" y="40"/>
                    <a:pt x="105" y="40"/>
                    <a:pt x="105" y="40"/>
                  </a:cubicBezTo>
                  <a:cubicBezTo>
                    <a:pt x="104" y="41"/>
                    <a:pt x="103" y="41"/>
                    <a:pt x="102" y="41"/>
                  </a:cubicBezTo>
                  <a:cubicBezTo>
                    <a:pt x="90" y="42"/>
                    <a:pt x="90" y="42"/>
                    <a:pt x="90" y="42"/>
                  </a:cubicBezTo>
                  <a:cubicBezTo>
                    <a:pt x="89" y="42"/>
                    <a:pt x="89" y="42"/>
                    <a:pt x="88" y="42"/>
                  </a:cubicBezTo>
                  <a:cubicBezTo>
                    <a:pt x="87" y="42"/>
                    <a:pt x="86" y="42"/>
                    <a:pt x="86" y="42"/>
                  </a:cubicBezTo>
                  <a:cubicBezTo>
                    <a:pt x="86" y="42"/>
                    <a:pt x="86" y="42"/>
                    <a:pt x="86" y="42"/>
                  </a:cubicBezTo>
                  <a:cubicBezTo>
                    <a:pt x="85" y="43"/>
                    <a:pt x="85" y="43"/>
                    <a:pt x="85" y="43"/>
                  </a:cubicBezTo>
                  <a:cubicBezTo>
                    <a:pt x="85" y="43"/>
                    <a:pt x="85" y="43"/>
                    <a:pt x="85" y="43"/>
                  </a:cubicBezTo>
                  <a:cubicBezTo>
                    <a:pt x="85" y="44"/>
                    <a:pt x="85" y="44"/>
                    <a:pt x="85" y="44"/>
                  </a:cubicBezTo>
                  <a:cubicBezTo>
                    <a:pt x="86" y="44"/>
                    <a:pt x="86" y="44"/>
                    <a:pt x="86" y="44"/>
                  </a:cubicBezTo>
                  <a:cubicBezTo>
                    <a:pt x="86" y="44"/>
                    <a:pt x="87" y="45"/>
                    <a:pt x="87" y="45"/>
                  </a:cubicBezTo>
                  <a:cubicBezTo>
                    <a:pt x="88" y="45"/>
                    <a:pt x="89" y="45"/>
                    <a:pt x="90" y="45"/>
                  </a:cubicBezTo>
                  <a:cubicBezTo>
                    <a:pt x="92" y="46"/>
                    <a:pt x="93" y="46"/>
                    <a:pt x="94" y="47"/>
                  </a:cubicBezTo>
                  <a:cubicBezTo>
                    <a:pt x="95" y="48"/>
                    <a:pt x="96" y="49"/>
                    <a:pt x="96" y="50"/>
                  </a:cubicBezTo>
                  <a:cubicBezTo>
                    <a:pt x="97" y="53"/>
                    <a:pt x="96" y="55"/>
                    <a:pt x="95" y="55"/>
                  </a:cubicBezTo>
                  <a:cubicBezTo>
                    <a:pt x="95" y="56"/>
                    <a:pt x="95" y="56"/>
                    <a:pt x="95" y="56"/>
                  </a:cubicBezTo>
                  <a:cubicBezTo>
                    <a:pt x="95" y="56"/>
                    <a:pt x="95" y="56"/>
                    <a:pt x="96" y="57"/>
                  </a:cubicBezTo>
                  <a:cubicBezTo>
                    <a:pt x="96" y="57"/>
                    <a:pt x="96" y="57"/>
                    <a:pt x="96" y="57"/>
                  </a:cubicBezTo>
                  <a:cubicBezTo>
                    <a:pt x="98" y="60"/>
                    <a:pt x="97" y="62"/>
                    <a:pt x="95" y="65"/>
                  </a:cubicBezTo>
                  <a:cubicBezTo>
                    <a:pt x="94" y="66"/>
                    <a:pt x="93" y="66"/>
                    <a:pt x="92" y="66"/>
                  </a:cubicBezTo>
                  <a:cubicBezTo>
                    <a:pt x="91" y="67"/>
                    <a:pt x="91" y="67"/>
                    <a:pt x="91" y="67"/>
                  </a:cubicBezTo>
                  <a:cubicBezTo>
                    <a:pt x="89" y="67"/>
                    <a:pt x="89" y="67"/>
                    <a:pt x="89" y="67"/>
                  </a:cubicBezTo>
                  <a:cubicBezTo>
                    <a:pt x="89" y="67"/>
                    <a:pt x="89" y="67"/>
                    <a:pt x="89" y="67"/>
                  </a:cubicBezTo>
                  <a:cubicBezTo>
                    <a:pt x="89" y="67"/>
                    <a:pt x="88" y="67"/>
                    <a:pt x="88" y="67"/>
                  </a:cubicBezTo>
                  <a:cubicBezTo>
                    <a:pt x="87" y="66"/>
                    <a:pt x="87" y="66"/>
                    <a:pt x="87" y="66"/>
                  </a:cubicBezTo>
                  <a:cubicBezTo>
                    <a:pt x="87" y="66"/>
                    <a:pt x="87" y="66"/>
                    <a:pt x="87" y="66"/>
                  </a:cubicBezTo>
                  <a:cubicBezTo>
                    <a:pt x="87" y="66"/>
                    <a:pt x="87" y="66"/>
                    <a:pt x="87" y="66"/>
                  </a:cubicBezTo>
                  <a:cubicBezTo>
                    <a:pt x="87" y="66"/>
                    <a:pt x="87" y="66"/>
                    <a:pt x="87" y="66"/>
                  </a:cubicBezTo>
                  <a:cubicBezTo>
                    <a:pt x="85" y="66"/>
                    <a:pt x="84" y="67"/>
                    <a:pt x="83" y="67"/>
                  </a:cubicBezTo>
                  <a:cubicBezTo>
                    <a:pt x="82" y="67"/>
                    <a:pt x="82" y="67"/>
                    <a:pt x="82" y="67"/>
                  </a:cubicBezTo>
                  <a:cubicBezTo>
                    <a:pt x="81" y="67"/>
                    <a:pt x="81" y="67"/>
                    <a:pt x="81" y="67"/>
                  </a:cubicBezTo>
                  <a:cubicBezTo>
                    <a:pt x="80" y="67"/>
                    <a:pt x="80" y="67"/>
                    <a:pt x="79" y="67"/>
                  </a:cubicBezTo>
                  <a:cubicBezTo>
                    <a:pt x="78" y="67"/>
                    <a:pt x="78" y="67"/>
                    <a:pt x="78" y="67"/>
                  </a:cubicBezTo>
                  <a:cubicBezTo>
                    <a:pt x="76" y="67"/>
                    <a:pt x="74" y="67"/>
                    <a:pt x="72" y="67"/>
                  </a:cubicBezTo>
                  <a:cubicBezTo>
                    <a:pt x="72" y="67"/>
                    <a:pt x="72" y="67"/>
                    <a:pt x="72" y="67"/>
                  </a:cubicBezTo>
                  <a:cubicBezTo>
                    <a:pt x="69" y="67"/>
                    <a:pt x="68" y="67"/>
                    <a:pt x="66" y="67"/>
                  </a:cubicBezTo>
                  <a:cubicBezTo>
                    <a:pt x="65" y="67"/>
                    <a:pt x="65" y="67"/>
                    <a:pt x="65" y="67"/>
                  </a:cubicBezTo>
                  <a:cubicBezTo>
                    <a:pt x="64" y="67"/>
                    <a:pt x="64" y="67"/>
                    <a:pt x="63" y="67"/>
                  </a:cubicBezTo>
                  <a:cubicBezTo>
                    <a:pt x="62" y="67"/>
                    <a:pt x="62" y="67"/>
                    <a:pt x="62" y="67"/>
                  </a:cubicBezTo>
                  <a:cubicBezTo>
                    <a:pt x="62" y="67"/>
                    <a:pt x="61" y="67"/>
                    <a:pt x="61" y="67"/>
                  </a:cubicBezTo>
                  <a:cubicBezTo>
                    <a:pt x="60" y="67"/>
                    <a:pt x="58" y="67"/>
                    <a:pt x="57" y="66"/>
                  </a:cubicBezTo>
                  <a:cubicBezTo>
                    <a:pt x="56" y="66"/>
                    <a:pt x="56" y="66"/>
                    <a:pt x="56" y="66"/>
                  </a:cubicBezTo>
                  <a:cubicBezTo>
                    <a:pt x="55" y="66"/>
                    <a:pt x="54" y="65"/>
                    <a:pt x="53" y="65"/>
                  </a:cubicBezTo>
                  <a:cubicBezTo>
                    <a:pt x="53" y="65"/>
                    <a:pt x="53" y="65"/>
                    <a:pt x="53" y="65"/>
                  </a:cubicBezTo>
                  <a:cubicBezTo>
                    <a:pt x="53" y="65"/>
                    <a:pt x="52" y="65"/>
                    <a:pt x="51" y="65"/>
                  </a:cubicBezTo>
                  <a:cubicBezTo>
                    <a:pt x="50" y="66"/>
                    <a:pt x="50" y="66"/>
                    <a:pt x="50" y="66"/>
                  </a:cubicBezTo>
                  <a:cubicBezTo>
                    <a:pt x="47" y="68"/>
                    <a:pt x="44" y="69"/>
                    <a:pt x="41" y="69"/>
                  </a:cubicBezTo>
                  <a:cubicBezTo>
                    <a:pt x="40" y="69"/>
                    <a:pt x="40" y="69"/>
                    <a:pt x="40" y="69"/>
                  </a:cubicBezTo>
                  <a:cubicBezTo>
                    <a:pt x="39" y="69"/>
                    <a:pt x="38" y="69"/>
                    <a:pt x="36" y="68"/>
                  </a:cubicBezTo>
                  <a:cubicBezTo>
                    <a:pt x="36" y="68"/>
                    <a:pt x="36" y="68"/>
                    <a:pt x="36" y="68"/>
                  </a:cubicBezTo>
                  <a:cubicBezTo>
                    <a:pt x="35" y="68"/>
                    <a:pt x="35" y="68"/>
                    <a:pt x="35" y="68"/>
                  </a:cubicBezTo>
                  <a:cubicBezTo>
                    <a:pt x="34" y="68"/>
                    <a:pt x="34" y="68"/>
                    <a:pt x="34" y="68"/>
                  </a:cubicBezTo>
                  <a:cubicBezTo>
                    <a:pt x="33" y="67"/>
                    <a:pt x="33" y="67"/>
                    <a:pt x="31" y="66"/>
                  </a:cubicBezTo>
                  <a:cubicBezTo>
                    <a:pt x="31" y="66"/>
                    <a:pt x="31" y="66"/>
                    <a:pt x="30" y="66"/>
                  </a:cubicBezTo>
                  <a:cubicBezTo>
                    <a:pt x="30" y="66"/>
                    <a:pt x="29" y="66"/>
                    <a:pt x="29" y="66"/>
                  </a:cubicBezTo>
                  <a:cubicBezTo>
                    <a:pt x="29" y="66"/>
                    <a:pt x="28" y="66"/>
                    <a:pt x="28" y="66"/>
                  </a:cubicBezTo>
                  <a:cubicBezTo>
                    <a:pt x="27" y="66"/>
                    <a:pt x="27" y="66"/>
                    <a:pt x="27" y="66"/>
                  </a:cubicBezTo>
                  <a:cubicBezTo>
                    <a:pt x="26" y="66"/>
                    <a:pt x="25" y="66"/>
                    <a:pt x="24" y="66"/>
                  </a:cubicBezTo>
                  <a:cubicBezTo>
                    <a:pt x="23" y="65"/>
                    <a:pt x="22" y="65"/>
                    <a:pt x="21" y="64"/>
                  </a:cubicBezTo>
                  <a:cubicBezTo>
                    <a:pt x="19" y="64"/>
                    <a:pt x="19" y="63"/>
                    <a:pt x="18" y="62"/>
                  </a:cubicBezTo>
                  <a:cubicBezTo>
                    <a:pt x="17" y="61"/>
                    <a:pt x="17" y="61"/>
                    <a:pt x="17" y="61"/>
                  </a:cubicBezTo>
                  <a:cubicBezTo>
                    <a:pt x="17" y="60"/>
                    <a:pt x="16" y="59"/>
                    <a:pt x="15" y="58"/>
                  </a:cubicBezTo>
                  <a:cubicBezTo>
                    <a:pt x="15" y="58"/>
                    <a:pt x="15" y="58"/>
                    <a:pt x="14" y="58"/>
                  </a:cubicBezTo>
                  <a:cubicBezTo>
                    <a:pt x="10" y="56"/>
                    <a:pt x="10" y="56"/>
                    <a:pt x="10" y="56"/>
                  </a:cubicBezTo>
                  <a:cubicBezTo>
                    <a:pt x="13" y="53"/>
                    <a:pt x="13" y="53"/>
                    <a:pt x="13" y="53"/>
                  </a:cubicBezTo>
                  <a:cubicBezTo>
                    <a:pt x="14" y="53"/>
                    <a:pt x="15" y="52"/>
                    <a:pt x="15" y="51"/>
                  </a:cubicBezTo>
                  <a:cubicBezTo>
                    <a:pt x="15" y="51"/>
                    <a:pt x="15" y="51"/>
                    <a:pt x="15" y="51"/>
                  </a:cubicBezTo>
                  <a:cubicBezTo>
                    <a:pt x="15" y="51"/>
                    <a:pt x="15" y="51"/>
                    <a:pt x="15" y="51"/>
                  </a:cubicBezTo>
                  <a:cubicBezTo>
                    <a:pt x="15" y="51"/>
                    <a:pt x="15" y="51"/>
                    <a:pt x="15" y="51"/>
                  </a:cubicBezTo>
                  <a:cubicBezTo>
                    <a:pt x="14" y="49"/>
                    <a:pt x="14" y="49"/>
                    <a:pt x="14" y="49"/>
                  </a:cubicBezTo>
                  <a:cubicBezTo>
                    <a:pt x="14" y="49"/>
                    <a:pt x="14" y="48"/>
                    <a:pt x="13" y="48"/>
                  </a:cubicBezTo>
                  <a:cubicBezTo>
                    <a:pt x="13" y="47"/>
                    <a:pt x="13" y="47"/>
                    <a:pt x="13" y="47"/>
                  </a:cubicBezTo>
                  <a:cubicBezTo>
                    <a:pt x="13" y="45"/>
                    <a:pt x="14" y="43"/>
                    <a:pt x="14" y="42"/>
                  </a:cubicBezTo>
                  <a:cubicBezTo>
                    <a:pt x="15" y="40"/>
                    <a:pt x="15" y="40"/>
                    <a:pt x="15" y="40"/>
                  </a:cubicBezTo>
                  <a:cubicBezTo>
                    <a:pt x="15" y="40"/>
                    <a:pt x="15" y="39"/>
                    <a:pt x="15" y="39"/>
                  </a:cubicBezTo>
                  <a:cubicBezTo>
                    <a:pt x="15" y="38"/>
                    <a:pt x="15" y="38"/>
                    <a:pt x="15" y="38"/>
                  </a:cubicBezTo>
                  <a:cubicBezTo>
                    <a:pt x="9" y="37"/>
                    <a:pt x="9" y="37"/>
                    <a:pt x="9" y="37"/>
                  </a:cubicBezTo>
                  <a:cubicBezTo>
                    <a:pt x="15" y="36"/>
                    <a:pt x="15" y="36"/>
                    <a:pt x="15" y="36"/>
                  </a:cubicBezTo>
                  <a:cubicBezTo>
                    <a:pt x="15" y="36"/>
                    <a:pt x="15" y="36"/>
                    <a:pt x="15" y="35"/>
                  </a:cubicBezTo>
                  <a:cubicBezTo>
                    <a:pt x="15" y="35"/>
                    <a:pt x="15" y="35"/>
                    <a:pt x="15" y="35"/>
                  </a:cubicBezTo>
                  <a:cubicBezTo>
                    <a:pt x="14" y="35"/>
                    <a:pt x="14" y="35"/>
                    <a:pt x="13" y="34"/>
                  </a:cubicBezTo>
                  <a:cubicBezTo>
                    <a:pt x="13" y="34"/>
                    <a:pt x="13" y="34"/>
                    <a:pt x="12" y="34"/>
                  </a:cubicBezTo>
                  <a:cubicBezTo>
                    <a:pt x="11" y="35"/>
                    <a:pt x="11" y="35"/>
                    <a:pt x="11" y="35"/>
                  </a:cubicBezTo>
                  <a:cubicBezTo>
                    <a:pt x="9" y="35"/>
                    <a:pt x="7" y="37"/>
                    <a:pt x="6" y="38"/>
                  </a:cubicBezTo>
                  <a:cubicBezTo>
                    <a:pt x="5" y="38"/>
                    <a:pt x="4" y="39"/>
                    <a:pt x="3" y="39"/>
                  </a:cubicBezTo>
                  <a:cubicBezTo>
                    <a:pt x="2" y="43"/>
                    <a:pt x="2" y="43"/>
                    <a:pt x="2" y="43"/>
                  </a:cubicBezTo>
                  <a:cubicBezTo>
                    <a:pt x="2" y="46"/>
                    <a:pt x="1" y="49"/>
                    <a:pt x="1" y="51"/>
                  </a:cubicBezTo>
                  <a:cubicBezTo>
                    <a:pt x="0" y="53"/>
                    <a:pt x="0" y="55"/>
                    <a:pt x="1" y="56"/>
                  </a:cubicBezTo>
                  <a:cubicBezTo>
                    <a:pt x="1" y="57"/>
                    <a:pt x="1" y="57"/>
                    <a:pt x="1" y="57"/>
                  </a:cubicBezTo>
                  <a:cubicBezTo>
                    <a:pt x="2" y="58"/>
                    <a:pt x="2" y="58"/>
                    <a:pt x="2" y="58"/>
                  </a:cubicBezTo>
                  <a:cubicBezTo>
                    <a:pt x="2" y="59"/>
                    <a:pt x="2" y="59"/>
                    <a:pt x="3" y="60"/>
                  </a:cubicBezTo>
                  <a:cubicBezTo>
                    <a:pt x="3" y="61"/>
                    <a:pt x="3" y="61"/>
                    <a:pt x="3" y="61"/>
                  </a:cubicBezTo>
                  <a:cubicBezTo>
                    <a:pt x="3" y="61"/>
                    <a:pt x="4" y="62"/>
                    <a:pt x="4" y="63"/>
                  </a:cubicBezTo>
                  <a:cubicBezTo>
                    <a:pt x="4" y="63"/>
                    <a:pt x="4" y="64"/>
                    <a:pt x="5" y="64"/>
                  </a:cubicBezTo>
                  <a:cubicBezTo>
                    <a:pt x="5" y="65"/>
                    <a:pt x="5" y="66"/>
                    <a:pt x="5" y="67"/>
                  </a:cubicBezTo>
                  <a:cubicBezTo>
                    <a:pt x="4" y="67"/>
                    <a:pt x="4" y="68"/>
                    <a:pt x="4" y="69"/>
                  </a:cubicBezTo>
                  <a:cubicBezTo>
                    <a:pt x="4" y="68"/>
                    <a:pt x="4" y="68"/>
                    <a:pt x="4" y="68"/>
                  </a:cubicBezTo>
                  <a:cubicBezTo>
                    <a:pt x="5" y="68"/>
                    <a:pt x="6" y="67"/>
                    <a:pt x="7" y="67"/>
                  </a:cubicBezTo>
                  <a:cubicBezTo>
                    <a:pt x="7" y="67"/>
                    <a:pt x="8" y="67"/>
                    <a:pt x="8" y="67"/>
                  </a:cubicBezTo>
                  <a:cubicBezTo>
                    <a:pt x="10" y="68"/>
                    <a:pt x="11" y="69"/>
                    <a:pt x="14" y="72"/>
                  </a:cubicBezTo>
                  <a:cubicBezTo>
                    <a:pt x="14" y="72"/>
                    <a:pt x="14" y="73"/>
                    <a:pt x="15" y="73"/>
                  </a:cubicBezTo>
                  <a:cubicBezTo>
                    <a:pt x="15" y="74"/>
                    <a:pt x="15" y="74"/>
                    <a:pt x="15" y="74"/>
                  </a:cubicBezTo>
                  <a:cubicBezTo>
                    <a:pt x="16" y="74"/>
                    <a:pt x="16" y="74"/>
                    <a:pt x="16" y="74"/>
                  </a:cubicBezTo>
                  <a:cubicBezTo>
                    <a:pt x="17" y="71"/>
                    <a:pt x="17" y="71"/>
                    <a:pt x="17" y="71"/>
                  </a:cubicBezTo>
                  <a:cubicBezTo>
                    <a:pt x="17" y="66"/>
                    <a:pt x="17" y="66"/>
                    <a:pt x="17" y="66"/>
                  </a:cubicBezTo>
                  <a:cubicBezTo>
                    <a:pt x="23" y="72"/>
                    <a:pt x="23" y="72"/>
                    <a:pt x="23" y="72"/>
                  </a:cubicBezTo>
                  <a:cubicBezTo>
                    <a:pt x="24" y="72"/>
                    <a:pt x="25" y="73"/>
                    <a:pt x="26" y="74"/>
                  </a:cubicBezTo>
                  <a:cubicBezTo>
                    <a:pt x="26" y="75"/>
                    <a:pt x="26" y="75"/>
                    <a:pt x="27" y="76"/>
                  </a:cubicBezTo>
                  <a:cubicBezTo>
                    <a:pt x="27" y="77"/>
                    <a:pt x="27" y="77"/>
                    <a:pt x="27" y="77"/>
                  </a:cubicBezTo>
                  <a:cubicBezTo>
                    <a:pt x="29" y="80"/>
                    <a:pt x="29" y="81"/>
                    <a:pt x="30" y="81"/>
                  </a:cubicBezTo>
                  <a:cubicBezTo>
                    <a:pt x="30" y="81"/>
                    <a:pt x="30" y="81"/>
                    <a:pt x="30" y="81"/>
                  </a:cubicBezTo>
                  <a:cubicBezTo>
                    <a:pt x="31" y="82"/>
                    <a:pt x="31" y="82"/>
                    <a:pt x="31" y="82"/>
                  </a:cubicBezTo>
                  <a:cubicBezTo>
                    <a:pt x="32" y="82"/>
                    <a:pt x="33" y="81"/>
                    <a:pt x="33" y="80"/>
                  </a:cubicBezTo>
                  <a:cubicBezTo>
                    <a:pt x="34" y="80"/>
                    <a:pt x="34" y="80"/>
                    <a:pt x="34" y="80"/>
                  </a:cubicBezTo>
                  <a:cubicBezTo>
                    <a:pt x="34" y="79"/>
                    <a:pt x="34" y="79"/>
                    <a:pt x="35" y="78"/>
                  </a:cubicBezTo>
                  <a:cubicBezTo>
                    <a:pt x="37" y="73"/>
                    <a:pt x="37" y="73"/>
                    <a:pt x="37" y="73"/>
                  </a:cubicBezTo>
                  <a:cubicBezTo>
                    <a:pt x="40" y="78"/>
                    <a:pt x="40" y="78"/>
                    <a:pt x="40" y="78"/>
                  </a:cubicBezTo>
                  <a:cubicBezTo>
                    <a:pt x="40" y="79"/>
                    <a:pt x="41" y="80"/>
                    <a:pt x="41" y="82"/>
                  </a:cubicBezTo>
                  <a:cubicBezTo>
                    <a:pt x="42" y="84"/>
                    <a:pt x="43" y="87"/>
                    <a:pt x="43" y="90"/>
                  </a:cubicBezTo>
                  <a:cubicBezTo>
                    <a:pt x="43" y="91"/>
                    <a:pt x="43" y="93"/>
                    <a:pt x="43" y="94"/>
                  </a:cubicBezTo>
                  <a:cubicBezTo>
                    <a:pt x="43" y="94"/>
                    <a:pt x="43" y="94"/>
                    <a:pt x="43" y="94"/>
                  </a:cubicBezTo>
                  <a:cubicBezTo>
                    <a:pt x="43" y="96"/>
                    <a:pt x="43" y="97"/>
                    <a:pt x="43" y="99"/>
                  </a:cubicBezTo>
                  <a:cubicBezTo>
                    <a:pt x="43" y="99"/>
                    <a:pt x="43" y="99"/>
                    <a:pt x="43" y="99"/>
                  </a:cubicBezTo>
                  <a:cubicBezTo>
                    <a:pt x="43" y="99"/>
                    <a:pt x="43" y="99"/>
                    <a:pt x="43" y="99"/>
                  </a:cubicBezTo>
                  <a:cubicBezTo>
                    <a:pt x="44" y="99"/>
                    <a:pt x="44" y="99"/>
                    <a:pt x="44" y="99"/>
                  </a:cubicBezTo>
                  <a:cubicBezTo>
                    <a:pt x="44" y="99"/>
                    <a:pt x="45" y="100"/>
                    <a:pt x="46" y="100"/>
                  </a:cubicBezTo>
                  <a:cubicBezTo>
                    <a:pt x="46" y="100"/>
                    <a:pt x="46" y="100"/>
                    <a:pt x="46" y="100"/>
                  </a:cubicBezTo>
                  <a:cubicBezTo>
                    <a:pt x="48" y="101"/>
                    <a:pt x="49" y="101"/>
                    <a:pt x="50" y="101"/>
                  </a:cubicBezTo>
                  <a:cubicBezTo>
                    <a:pt x="51" y="102"/>
                    <a:pt x="52" y="102"/>
                    <a:pt x="53" y="102"/>
                  </a:cubicBezTo>
                  <a:cubicBezTo>
                    <a:pt x="53" y="102"/>
                    <a:pt x="53" y="102"/>
                    <a:pt x="53" y="102"/>
                  </a:cubicBezTo>
                  <a:cubicBezTo>
                    <a:pt x="54" y="103"/>
                    <a:pt x="54" y="103"/>
                    <a:pt x="55" y="103"/>
                  </a:cubicBezTo>
                  <a:cubicBezTo>
                    <a:pt x="55" y="103"/>
                    <a:pt x="55" y="103"/>
                    <a:pt x="55" y="103"/>
                  </a:cubicBezTo>
                  <a:cubicBezTo>
                    <a:pt x="56" y="103"/>
                    <a:pt x="56" y="103"/>
                    <a:pt x="57" y="103"/>
                  </a:cubicBezTo>
                  <a:cubicBezTo>
                    <a:pt x="58" y="103"/>
                    <a:pt x="58" y="103"/>
                    <a:pt x="58" y="103"/>
                  </a:cubicBezTo>
                  <a:cubicBezTo>
                    <a:pt x="59" y="103"/>
                    <a:pt x="59" y="102"/>
                    <a:pt x="60" y="102"/>
                  </a:cubicBezTo>
                  <a:cubicBezTo>
                    <a:pt x="61" y="102"/>
                    <a:pt x="61" y="102"/>
                    <a:pt x="61" y="102"/>
                  </a:cubicBezTo>
                  <a:cubicBezTo>
                    <a:pt x="62" y="102"/>
                    <a:pt x="62" y="102"/>
                    <a:pt x="62" y="102"/>
                  </a:cubicBezTo>
                  <a:cubicBezTo>
                    <a:pt x="62" y="102"/>
                    <a:pt x="63" y="102"/>
                    <a:pt x="63" y="102"/>
                  </a:cubicBezTo>
                  <a:cubicBezTo>
                    <a:pt x="64" y="102"/>
                    <a:pt x="64" y="102"/>
                    <a:pt x="65" y="102"/>
                  </a:cubicBezTo>
                  <a:cubicBezTo>
                    <a:pt x="65" y="102"/>
                    <a:pt x="65" y="102"/>
                    <a:pt x="65" y="102"/>
                  </a:cubicBezTo>
                  <a:cubicBezTo>
                    <a:pt x="67" y="102"/>
                    <a:pt x="69" y="102"/>
                    <a:pt x="70" y="102"/>
                  </a:cubicBezTo>
                  <a:cubicBezTo>
                    <a:pt x="71" y="102"/>
                    <a:pt x="71" y="102"/>
                    <a:pt x="72" y="102"/>
                  </a:cubicBezTo>
                  <a:cubicBezTo>
                    <a:pt x="73" y="102"/>
                    <a:pt x="73" y="102"/>
                    <a:pt x="73" y="102"/>
                  </a:cubicBezTo>
                  <a:cubicBezTo>
                    <a:pt x="77" y="102"/>
                    <a:pt x="80" y="103"/>
                    <a:pt x="84" y="103"/>
                  </a:cubicBezTo>
                  <a:cubicBezTo>
                    <a:pt x="85" y="103"/>
                    <a:pt x="85" y="103"/>
                    <a:pt x="85" y="103"/>
                  </a:cubicBezTo>
                  <a:cubicBezTo>
                    <a:pt x="86" y="103"/>
                    <a:pt x="87" y="103"/>
                    <a:pt x="88" y="103"/>
                  </a:cubicBezTo>
                  <a:cubicBezTo>
                    <a:pt x="88" y="103"/>
                    <a:pt x="88" y="103"/>
                    <a:pt x="88" y="103"/>
                  </a:cubicBezTo>
                  <a:cubicBezTo>
                    <a:pt x="89" y="102"/>
                    <a:pt x="91" y="102"/>
                    <a:pt x="92" y="102"/>
                  </a:cubicBezTo>
                  <a:cubicBezTo>
                    <a:pt x="93" y="102"/>
                    <a:pt x="95" y="103"/>
                    <a:pt x="96" y="103"/>
                  </a:cubicBezTo>
                  <a:cubicBezTo>
                    <a:pt x="97" y="104"/>
                    <a:pt x="98" y="104"/>
                    <a:pt x="99" y="105"/>
                  </a:cubicBezTo>
                  <a:cubicBezTo>
                    <a:pt x="100" y="105"/>
                    <a:pt x="100" y="105"/>
                    <a:pt x="100" y="105"/>
                  </a:cubicBezTo>
                  <a:cubicBezTo>
                    <a:pt x="101" y="105"/>
                    <a:pt x="101" y="106"/>
                    <a:pt x="101" y="106"/>
                  </a:cubicBezTo>
                  <a:cubicBezTo>
                    <a:pt x="103" y="106"/>
                    <a:pt x="104" y="108"/>
                    <a:pt x="105" y="109"/>
                  </a:cubicBezTo>
                  <a:cubicBezTo>
                    <a:pt x="105" y="109"/>
                    <a:pt x="105" y="110"/>
                    <a:pt x="105" y="110"/>
                  </a:cubicBezTo>
                  <a:cubicBezTo>
                    <a:pt x="109" y="114"/>
                    <a:pt x="109" y="114"/>
                    <a:pt x="109" y="114"/>
                  </a:cubicBezTo>
                  <a:cubicBezTo>
                    <a:pt x="102" y="115"/>
                    <a:pt x="102" y="115"/>
                    <a:pt x="102" y="115"/>
                  </a:cubicBezTo>
                  <a:cubicBezTo>
                    <a:pt x="100" y="117"/>
                    <a:pt x="100" y="117"/>
                    <a:pt x="100" y="117"/>
                  </a:cubicBezTo>
                  <a:cubicBezTo>
                    <a:pt x="100" y="119"/>
                    <a:pt x="99" y="121"/>
                    <a:pt x="98" y="122"/>
                  </a:cubicBezTo>
                  <a:cubicBezTo>
                    <a:pt x="98" y="123"/>
                    <a:pt x="98" y="123"/>
                    <a:pt x="98" y="123"/>
                  </a:cubicBezTo>
                  <a:cubicBezTo>
                    <a:pt x="97" y="123"/>
                    <a:pt x="97" y="124"/>
                    <a:pt x="97" y="124"/>
                  </a:cubicBezTo>
                  <a:cubicBezTo>
                    <a:pt x="96" y="125"/>
                    <a:pt x="95" y="125"/>
                    <a:pt x="94" y="126"/>
                  </a:cubicBezTo>
                  <a:cubicBezTo>
                    <a:pt x="94" y="126"/>
                    <a:pt x="94" y="126"/>
                    <a:pt x="94" y="126"/>
                  </a:cubicBezTo>
                  <a:cubicBezTo>
                    <a:pt x="93" y="127"/>
                    <a:pt x="93" y="127"/>
                    <a:pt x="93" y="127"/>
                  </a:cubicBezTo>
                  <a:cubicBezTo>
                    <a:pt x="93" y="127"/>
                    <a:pt x="93" y="127"/>
                    <a:pt x="93" y="127"/>
                  </a:cubicBezTo>
                  <a:cubicBezTo>
                    <a:pt x="93" y="127"/>
                    <a:pt x="93" y="127"/>
                    <a:pt x="93" y="127"/>
                  </a:cubicBezTo>
                  <a:cubicBezTo>
                    <a:pt x="93" y="127"/>
                    <a:pt x="93" y="127"/>
                    <a:pt x="93" y="127"/>
                  </a:cubicBezTo>
                  <a:cubicBezTo>
                    <a:pt x="92" y="128"/>
                    <a:pt x="92" y="128"/>
                    <a:pt x="92" y="128"/>
                  </a:cubicBezTo>
                  <a:cubicBezTo>
                    <a:pt x="92" y="128"/>
                    <a:pt x="92" y="129"/>
                    <a:pt x="92" y="130"/>
                  </a:cubicBezTo>
                  <a:cubicBezTo>
                    <a:pt x="92" y="130"/>
                    <a:pt x="92" y="131"/>
                    <a:pt x="92" y="131"/>
                  </a:cubicBezTo>
                  <a:cubicBezTo>
                    <a:pt x="91" y="135"/>
                    <a:pt x="91" y="135"/>
                    <a:pt x="91" y="135"/>
                  </a:cubicBezTo>
                  <a:cubicBezTo>
                    <a:pt x="87" y="133"/>
                    <a:pt x="87" y="133"/>
                    <a:pt x="87" y="133"/>
                  </a:cubicBezTo>
                  <a:cubicBezTo>
                    <a:pt x="86" y="133"/>
                    <a:pt x="85" y="132"/>
                    <a:pt x="85" y="132"/>
                  </a:cubicBezTo>
                  <a:cubicBezTo>
                    <a:pt x="85" y="132"/>
                    <a:pt x="85" y="132"/>
                    <a:pt x="85" y="132"/>
                  </a:cubicBezTo>
                  <a:cubicBezTo>
                    <a:pt x="85" y="134"/>
                    <a:pt x="85" y="134"/>
                    <a:pt x="85" y="134"/>
                  </a:cubicBezTo>
                  <a:cubicBezTo>
                    <a:pt x="84" y="133"/>
                    <a:pt x="84" y="133"/>
                    <a:pt x="84" y="133"/>
                  </a:cubicBezTo>
                  <a:cubicBezTo>
                    <a:pt x="76" y="141"/>
                    <a:pt x="76" y="141"/>
                    <a:pt x="76" y="141"/>
                  </a:cubicBezTo>
                  <a:cubicBezTo>
                    <a:pt x="76" y="141"/>
                    <a:pt x="76" y="142"/>
                    <a:pt x="75" y="142"/>
                  </a:cubicBezTo>
                  <a:cubicBezTo>
                    <a:pt x="75" y="142"/>
                    <a:pt x="75" y="142"/>
                    <a:pt x="75" y="142"/>
                  </a:cubicBezTo>
                  <a:cubicBezTo>
                    <a:pt x="75" y="143"/>
                    <a:pt x="75" y="143"/>
                    <a:pt x="75" y="143"/>
                  </a:cubicBezTo>
                  <a:cubicBezTo>
                    <a:pt x="76" y="145"/>
                    <a:pt x="76" y="145"/>
                    <a:pt x="76" y="145"/>
                  </a:cubicBezTo>
                  <a:cubicBezTo>
                    <a:pt x="76" y="146"/>
                    <a:pt x="76" y="146"/>
                    <a:pt x="76" y="146"/>
                  </a:cubicBezTo>
                  <a:cubicBezTo>
                    <a:pt x="77" y="147"/>
                    <a:pt x="77" y="147"/>
                    <a:pt x="77" y="147"/>
                  </a:cubicBezTo>
                  <a:cubicBezTo>
                    <a:pt x="77" y="147"/>
                    <a:pt x="77" y="148"/>
                    <a:pt x="77" y="148"/>
                  </a:cubicBezTo>
                  <a:cubicBezTo>
                    <a:pt x="80" y="151"/>
                    <a:pt x="80" y="151"/>
                    <a:pt x="80" y="151"/>
                  </a:cubicBezTo>
                  <a:cubicBezTo>
                    <a:pt x="82" y="152"/>
                    <a:pt x="82" y="154"/>
                    <a:pt x="83" y="156"/>
                  </a:cubicBezTo>
                  <a:cubicBezTo>
                    <a:pt x="83" y="156"/>
                    <a:pt x="83" y="157"/>
                    <a:pt x="83" y="157"/>
                  </a:cubicBezTo>
                  <a:cubicBezTo>
                    <a:pt x="83" y="157"/>
                    <a:pt x="83" y="157"/>
                    <a:pt x="84" y="156"/>
                  </a:cubicBezTo>
                  <a:cubicBezTo>
                    <a:pt x="84" y="155"/>
                    <a:pt x="85" y="153"/>
                    <a:pt x="85" y="152"/>
                  </a:cubicBezTo>
                  <a:cubicBezTo>
                    <a:pt x="85" y="151"/>
                    <a:pt x="86" y="151"/>
                    <a:pt x="86" y="150"/>
                  </a:cubicBezTo>
                  <a:cubicBezTo>
                    <a:pt x="86" y="150"/>
                    <a:pt x="86" y="150"/>
                    <a:pt x="86" y="150"/>
                  </a:cubicBezTo>
                  <a:cubicBezTo>
                    <a:pt x="87" y="148"/>
                    <a:pt x="87" y="147"/>
                    <a:pt x="87" y="145"/>
                  </a:cubicBezTo>
                  <a:cubicBezTo>
                    <a:pt x="87" y="143"/>
                    <a:pt x="88" y="142"/>
                    <a:pt x="88" y="140"/>
                  </a:cubicBezTo>
                  <a:cubicBezTo>
                    <a:pt x="89" y="135"/>
                    <a:pt x="89" y="135"/>
                    <a:pt x="89" y="135"/>
                  </a:cubicBezTo>
                  <a:cubicBezTo>
                    <a:pt x="93" y="139"/>
                    <a:pt x="93" y="139"/>
                    <a:pt x="93" y="139"/>
                  </a:cubicBezTo>
                  <a:cubicBezTo>
                    <a:pt x="94" y="139"/>
                    <a:pt x="96" y="138"/>
                    <a:pt x="97" y="138"/>
                  </a:cubicBezTo>
                  <a:cubicBezTo>
                    <a:pt x="97" y="138"/>
                    <a:pt x="97" y="138"/>
                    <a:pt x="98" y="138"/>
                  </a:cubicBezTo>
                  <a:cubicBezTo>
                    <a:pt x="99" y="139"/>
                    <a:pt x="99" y="139"/>
                    <a:pt x="99" y="139"/>
                  </a:cubicBezTo>
                  <a:cubicBezTo>
                    <a:pt x="99" y="139"/>
                    <a:pt x="99" y="139"/>
                    <a:pt x="99" y="139"/>
                  </a:cubicBezTo>
                  <a:cubicBezTo>
                    <a:pt x="100" y="140"/>
                    <a:pt x="101" y="141"/>
                    <a:pt x="101" y="142"/>
                  </a:cubicBezTo>
                  <a:cubicBezTo>
                    <a:pt x="102" y="145"/>
                    <a:pt x="102" y="147"/>
                    <a:pt x="103" y="149"/>
                  </a:cubicBezTo>
                  <a:cubicBezTo>
                    <a:pt x="103" y="151"/>
                    <a:pt x="103" y="154"/>
                    <a:pt x="104" y="156"/>
                  </a:cubicBezTo>
                  <a:cubicBezTo>
                    <a:pt x="110" y="156"/>
                    <a:pt x="110" y="156"/>
                    <a:pt x="110" y="156"/>
                  </a:cubicBezTo>
                  <a:cubicBezTo>
                    <a:pt x="104" y="158"/>
                    <a:pt x="104" y="158"/>
                    <a:pt x="104" y="158"/>
                  </a:cubicBezTo>
                  <a:cubicBezTo>
                    <a:pt x="104" y="158"/>
                    <a:pt x="104" y="158"/>
                    <a:pt x="104" y="158"/>
                  </a:cubicBezTo>
                  <a:cubicBezTo>
                    <a:pt x="104" y="159"/>
                    <a:pt x="104" y="161"/>
                    <a:pt x="105" y="163"/>
                  </a:cubicBezTo>
                  <a:cubicBezTo>
                    <a:pt x="105" y="164"/>
                    <a:pt x="105" y="164"/>
                    <a:pt x="105" y="164"/>
                  </a:cubicBezTo>
                  <a:cubicBezTo>
                    <a:pt x="106" y="167"/>
                    <a:pt x="107" y="170"/>
                    <a:pt x="107" y="172"/>
                  </a:cubicBezTo>
                  <a:cubicBezTo>
                    <a:pt x="109" y="182"/>
                    <a:pt x="109" y="182"/>
                    <a:pt x="109" y="182"/>
                  </a:cubicBezTo>
                  <a:cubicBezTo>
                    <a:pt x="112" y="179"/>
                    <a:pt x="112" y="179"/>
                    <a:pt x="112" y="179"/>
                  </a:cubicBezTo>
                  <a:cubicBezTo>
                    <a:pt x="114" y="180"/>
                    <a:pt x="114" y="180"/>
                    <a:pt x="114" y="180"/>
                  </a:cubicBezTo>
                  <a:cubicBezTo>
                    <a:pt x="116" y="178"/>
                    <a:pt x="116" y="178"/>
                    <a:pt x="116" y="178"/>
                  </a:cubicBezTo>
                  <a:cubicBezTo>
                    <a:pt x="115" y="170"/>
                    <a:pt x="115" y="170"/>
                    <a:pt x="115" y="170"/>
                  </a:cubicBezTo>
                  <a:cubicBezTo>
                    <a:pt x="115" y="164"/>
                    <a:pt x="115" y="164"/>
                    <a:pt x="115" y="164"/>
                  </a:cubicBezTo>
                  <a:cubicBezTo>
                    <a:pt x="116" y="157"/>
                    <a:pt x="116" y="157"/>
                    <a:pt x="116" y="157"/>
                  </a:cubicBezTo>
                  <a:cubicBezTo>
                    <a:pt x="121" y="154"/>
                    <a:pt x="121" y="154"/>
                    <a:pt x="121" y="154"/>
                  </a:cubicBezTo>
                  <a:cubicBezTo>
                    <a:pt x="121" y="155"/>
                    <a:pt x="121" y="155"/>
                    <a:pt x="121" y="155"/>
                  </a:cubicBezTo>
                  <a:cubicBezTo>
                    <a:pt x="123" y="147"/>
                    <a:pt x="123" y="142"/>
                    <a:pt x="122" y="140"/>
                  </a:cubicBezTo>
                  <a:cubicBezTo>
                    <a:pt x="120" y="136"/>
                    <a:pt x="120" y="134"/>
                    <a:pt x="120" y="134"/>
                  </a:cubicBezTo>
                  <a:cubicBezTo>
                    <a:pt x="120" y="130"/>
                    <a:pt x="120" y="130"/>
                    <a:pt x="120" y="130"/>
                  </a:cubicBezTo>
                  <a:cubicBezTo>
                    <a:pt x="123" y="131"/>
                    <a:pt x="123" y="131"/>
                    <a:pt x="123" y="131"/>
                  </a:cubicBezTo>
                  <a:cubicBezTo>
                    <a:pt x="123" y="131"/>
                    <a:pt x="132" y="132"/>
                    <a:pt x="139" y="134"/>
                  </a:cubicBezTo>
                  <a:cubicBezTo>
                    <a:pt x="140" y="132"/>
                    <a:pt x="142" y="131"/>
                    <a:pt x="142" y="130"/>
                  </a:cubicBezTo>
                  <a:cubicBezTo>
                    <a:pt x="143" y="128"/>
                    <a:pt x="145" y="123"/>
                    <a:pt x="148" y="119"/>
                  </a:cubicBezTo>
                  <a:cubicBezTo>
                    <a:pt x="151" y="115"/>
                    <a:pt x="154" y="109"/>
                    <a:pt x="152" y="104"/>
                  </a:cubicBezTo>
                  <a:cubicBezTo>
                    <a:pt x="150" y="99"/>
                    <a:pt x="151" y="97"/>
                    <a:pt x="158" y="92"/>
                  </a:cubicBezTo>
                  <a:cubicBezTo>
                    <a:pt x="160" y="91"/>
                    <a:pt x="160" y="89"/>
                    <a:pt x="160" y="89"/>
                  </a:cubicBezTo>
                  <a:cubicBezTo>
                    <a:pt x="160" y="87"/>
                    <a:pt x="161" y="86"/>
                    <a:pt x="162" y="84"/>
                  </a:cubicBezTo>
                  <a:cubicBezTo>
                    <a:pt x="163" y="83"/>
                    <a:pt x="163" y="83"/>
                    <a:pt x="163" y="83"/>
                  </a:cubicBezTo>
                  <a:cubicBezTo>
                    <a:pt x="163" y="82"/>
                    <a:pt x="163" y="79"/>
                    <a:pt x="163" y="78"/>
                  </a:cubicBezTo>
                  <a:cubicBezTo>
                    <a:pt x="162" y="76"/>
                    <a:pt x="162" y="75"/>
                    <a:pt x="162" y="73"/>
                  </a:cubicBezTo>
                  <a:cubicBezTo>
                    <a:pt x="161" y="67"/>
                    <a:pt x="166" y="66"/>
                    <a:pt x="170" y="64"/>
                  </a:cubicBezTo>
                  <a:cubicBezTo>
                    <a:pt x="172" y="63"/>
                    <a:pt x="173" y="62"/>
                    <a:pt x="175" y="60"/>
                  </a:cubicBezTo>
                  <a:cubicBezTo>
                    <a:pt x="177" y="59"/>
                    <a:pt x="179" y="57"/>
                    <a:pt x="183" y="55"/>
                  </a:cubicBezTo>
                  <a:cubicBezTo>
                    <a:pt x="184" y="55"/>
                    <a:pt x="186" y="54"/>
                    <a:pt x="187" y="53"/>
                  </a:cubicBezTo>
                  <a:cubicBezTo>
                    <a:pt x="188" y="52"/>
                    <a:pt x="188" y="52"/>
                    <a:pt x="188" y="52"/>
                  </a:cubicBezTo>
                  <a:cubicBezTo>
                    <a:pt x="192" y="50"/>
                    <a:pt x="197" y="47"/>
                    <a:pt x="202" y="47"/>
                  </a:cubicBezTo>
                  <a:cubicBezTo>
                    <a:pt x="203" y="47"/>
                    <a:pt x="204" y="47"/>
                    <a:pt x="205" y="48"/>
                  </a:cubicBezTo>
                  <a:cubicBezTo>
                    <a:pt x="205" y="47"/>
                    <a:pt x="205" y="47"/>
                    <a:pt x="205" y="47"/>
                  </a:cubicBezTo>
                  <a:cubicBezTo>
                    <a:pt x="204" y="45"/>
                    <a:pt x="204" y="41"/>
                    <a:pt x="210" y="37"/>
                  </a:cubicBezTo>
                  <a:cubicBezTo>
                    <a:pt x="210" y="37"/>
                    <a:pt x="211" y="36"/>
                    <a:pt x="212" y="35"/>
                  </a:cubicBezTo>
                  <a:cubicBezTo>
                    <a:pt x="212" y="35"/>
                    <a:pt x="212" y="35"/>
                    <a:pt x="212" y="35"/>
                  </a:cubicBezTo>
                  <a:cubicBezTo>
                    <a:pt x="213" y="35"/>
                    <a:pt x="215" y="34"/>
                    <a:pt x="215" y="33"/>
                  </a:cubicBezTo>
                  <a:cubicBezTo>
                    <a:pt x="215" y="30"/>
                    <a:pt x="215" y="30"/>
                    <a:pt x="215" y="30"/>
                  </a:cubicBezTo>
                  <a:cubicBezTo>
                    <a:pt x="214" y="30"/>
                    <a:pt x="214" y="30"/>
                    <a:pt x="214" y="30"/>
                  </a:cubicBezTo>
                  <a:cubicBezTo>
                    <a:pt x="214" y="29"/>
                    <a:pt x="214" y="29"/>
                    <a:pt x="214" y="29"/>
                  </a:cubicBezTo>
                  <a:cubicBezTo>
                    <a:pt x="214" y="29"/>
                    <a:pt x="213" y="29"/>
                    <a:pt x="213" y="29"/>
                  </a:cubicBezTo>
                  <a:cubicBezTo>
                    <a:pt x="212" y="28"/>
                    <a:pt x="211" y="27"/>
                    <a:pt x="210" y="27"/>
                  </a:cubicBezTo>
                  <a:cubicBezTo>
                    <a:pt x="210" y="27"/>
                    <a:pt x="210" y="27"/>
                    <a:pt x="210" y="27"/>
                  </a:cubicBezTo>
                  <a:cubicBezTo>
                    <a:pt x="209" y="27"/>
                    <a:pt x="209" y="27"/>
                    <a:pt x="208" y="27"/>
                  </a:cubicBezTo>
                  <a:cubicBezTo>
                    <a:pt x="207" y="27"/>
                    <a:pt x="207" y="27"/>
                    <a:pt x="207" y="27"/>
                  </a:cubicBezTo>
                  <a:cubicBezTo>
                    <a:pt x="205" y="26"/>
                    <a:pt x="204" y="26"/>
                    <a:pt x="203" y="26"/>
                  </a:cubicBezTo>
                  <a:cubicBezTo>
                    <a:pt x="200" y="26"/>
                    <a:pt x="200" y="26"/>
                    <a:pt x="200" y="26"/>
                  </a:cubicBezTo>
                  <a:cubicBezTo>
                    <a:pt x="200" y="26"/>
                    <a:pt x="199" y="26"/>
                    <a:pt x="199" y="26"/>
                  </a:cubicBezTo>
                  <a:cubicBezTo>
                    <a:pt x="199" y="26"/>
                    <a:pt x="199" y="26"/>
                    <a:pt x="199" y="26"/>
                  </a:cubicBezTo>
                  <a:cubicBezTo>
                    <a:pt x="198" y="27"/>
                    <a:pt x="198" y="27"/>
                    <a:pt x="198" y="27"/>
                  </a:cubicBezTo>
                  <a:cubicBezTo>
                    <a:pt x="197" y="27"/>
                    <a:pt x="197" y="27"/>
                    <a:pt x="197" y="27"/>
                  </a:cubicBezTo>
                  <a:cubicBezTo>
                    <a:pt x="197" y="27"/>
                    <a:pt x="196" y="27"/>
                    <a:pt x="195" y="27"/>
                  </a:cubicBezTo>
                  <a:cubicBezTo>
                    <a:pt x="195" y="27"/>
                    <a:pt x="195" y="27"/>
                    <a:pt x="194" y="27"/>
                  </a:cubicBezTo>
                  <a:cubicBezTo>
                    <a:pt x="192" y="27"/>
                    <a:pt x="190" y="25"/>
                    <a:pt x="190" y="23"/>
                  </a:cubicBezTo>
                  <a:cubicBezTo>
                    <a:pt x="190" y="22"/>
                    <a:pt x="190" y="22"/>
                    <a:pt x="190" y="22"/>
                  </a:cubicBezTo>
                  <a:cubicBezTo>
                    <a:pt x="191" y="22"/>
                    <a:pt x="191" y="21"/>
                    <a:pt x="191" y="21"/>
                  </a:cubicBezTo>
                  <a:cubicBezTo>
                    <a:pt x="191" y="21"/>
                    <a:pt x="191" y="21"/>
                    <a:pt x="191" y="21"/>
                  </a:cubicBezTo>
                  <a:cubicBezTo>
                    <a:pt x="191" y="19"/>
                    <a:pt x="191" y="19"/>
                    <a:pt x="191" y="19"/>
                  </a:cubicBezTo>
                  <a:cubicBezTo>
                    <a:pt x="192" y="18"/>
                    <a:pt x="193" y="17"/>
                    <a:pt x="193" y="17"/>
                  </a:cubicBezTo>
                  <a:cubicBezTo>
                    <a:pt x="193" y="17"/>
                    <a:pt x="193" y="17"/>
                    <a:pt x="193" y="17"/>
                  </a:cubicBezTo>
                  <a:cubicBezTo>
                    <a:pt x="193" y="17"/>
                    <a:pt x="193" y="17"/>
                    <a:pt x="193" y="17"/>
                  </a:cubicBezTo>
                  <a:cubicBezTo>
                    <a:pt x="195" y="14"/>
                    <a:pt x="195" y="14"/>
                    <a:pt x="195" y="14"/>
                  </a:cubicBezTo>
                  <a:cubicBezTo>
                    <a:pt x="196" y="14"/>
                    <a:pt x="196" y="14"/>
                    <a:pt x="197" y="13"/>
                  </a:cubicBezTo>
                  <a:cubicBezTo>
                    <a:pt x="197" y="13"/>
                    <a:pt x="197" y="13"/>
                    <a:pt x="197" y="13"/>
                  </a:cubicBezTo>
                  <a:cubicBezTo>
                    <a:pt x="197" y="13"/>
                    <a:pt x="197" y="13"/>
                    <a:pt x="197" y="13"/>
                  </a:cubicBezTo>
                  <a:cubicBezTo>
                    <a:pt x="196" y="12"/>
                    <a:pt x="196" y="12"/>
                    <a:pt x="196" y="11"/>
                  </a:cubicBezTo>
                  <a:cubicBezTo>
                    <a:pt x="195" y="11"/>
                    <a:pt x="195" y="11"/>
                    <a:pt x="195" y="11"/>
                  </a:cubicBezTo>
                  <a:cubicBezTo>
                    <a:pt x="194" y="12"/>
                    <a:pt x="193" y="12"/>
                    <a:pt x="192" y="13"/>
                  </a:cubicBezTo>
                  <a:cubicBezTo>
                    <a:pt x="187" y="17"/>
                    <a:pt x="187" y="17"/>
                    <a:pt x="187" y="17"/>
                  </a:cubicBezTo>
                  <a:cubicBezTo>
                    <a:pt x="187" y="11"/>
                    <a:pt x="187" y="11"/>
                    <a:pt x="187" y="11"/>
                  </a:cubicBezTo>
                  <a:cubicBezTo>
                    <a:pt x="187" y="9"/>
                    <a:pt x="187" y="9"/>
                    <a:pt x="187" y="8"/>
                  </a:cubicBezTo>
                  <a:cubicBezTo>
                    <a:pt x="182" y="4"/>
                    <a:pt x="182" y="4"/>
                    <a:pt x="182" y="4"/>
                  </a:cubicBezTo>
                  <a:cubicBezTo>
                    <a:pt x="188" y="3"/>
                    <a:pt x="188" y="3"/>
                    <a:pt x="188" y="3"/>
                  </a:cubicBezTo>
                  <a:cubicBezTo>
                    <a:pt x="189" y="3"/>
                    <a:pt x="189" y="3"/>
                    <a:pt x="189" y="3"/>
                  </a:cubicBezTo>
                  <a:cubicBezTo>
                    <a:pt x="189" y="3"/>
                    <a:pt x="189" y="3"/>
                    <a:pt x="189" y="3"/>
                  </a:cubicBezTo>
                  <a:cubicBezTo>
                    <a:pt x="190" y="2"/>
                    <a:pt x="190" y="2"/>
                    <a:pt x="190" y="2"/>
                  </a:cubicBezTo>
                  <a:cubicBezTo>
                    <a:pt x="189" y="2"/>
                    <a:pt x="189" y="1"/>
                    <a:pt x="188" y="1"/>
                  </a:cubicBezTo>
                  <a:cubicBezTo>
                    <a:pt x="187" y="0"/>
                    <a:pt x="187" y="0"/>
                    <a:pt x="187" y="0"/>
                  </a:cubicBezTo>
                  <a:cubicBezTo>
                    <a:pt x="187" y="0"/>
                    <a:pt x="187" y="0"/>
                    <a:pt x="18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6" name="Freeform 1525">
              <a:extLst>
                <a:ext uri="{FF2B5EF4-FFF2-40B4-BE49-F238E27FC236}">
                  <a16:creationId xmlns:a16="http://schemas.microsoft.com/office/drawing/2014/main" id="{C54B5F88-1DE8-4303-9032-A3126BEEA34A}"/>
                </a:ext>
              </a:extLst>
            </p:cNvPr>
            <p:cNvSpPr>
              <a:spLocks noEditPoints="1"/>
            </p:cNvSpPr>
            <p:nvPr/>
          </p:nvSpPr>
          <p:spPr bwMode="auto">
            <a:xfrm>
              <a:off x="484583" y="2151767"/>
              <a:ext cx="1565163" cy="2154451"/>
            </a:xfrm>
            <a:custGeom>
              <a:avLst/>
              <a:gdLst>
                <a:gd name="T0" fmla="*/ 219 w 493"/>
                <a:gd name="T1" fmla="*/ 5 h 679"/>
                <a:gd name="T2" fmla="*/ 187 w 493"/>
                <a:gd name="T3" fmla="*/ 24 h 679"/>
                <a:gd name="T4" fmla="*/ 147 w 493"/>
                <a:gd name="T5" fmla="*/ 21 h 679"/>
                <a:gd name="T6" fmla="*/ 144 w 493"/>
                <a:gd name="T7" fmla="*/ 43 h 679"/>
                <a:gd name="T8" fmla="*/ 148 w 493"/>
                <a:gd name="T9" fmla="*/ 67 h 679"/>
                <a:gd name="T10" fmla="*/ 166 w 493"/>
                <a:gd name="T11" fmla="*/ 76 h 679"/>
                <a:gd name="T12" fmla="*/ 152 w 493"/>
                <a:gd name="T13" fmla="*/ 97 h 679"/>
                <a:gd name="T14" fmla="*/ 139 w 493"/>
                <a:gd name="T15" fmla="*/ 131 h 679"/>
                <a:gd name="T16" fmla="*/ 123 w 493"/>
                <a:gd name="T17" fmla="*/ 151 h 679"/>
                <a:gd name="T18" fmla="*/ 83 w 493"/>
                <a:gd name="T19" fmla="*/ 198 h 679"/>
                <a:gd name="T20" fmla="*/ 57 w 493"/>
                <a:gd name="T21" fmla="*/ 198 h 679"/>
                <a:gd name="T22" fmla="*/ 48 w 493"/>
                <a:gd name="T23" fmla="*/ 200 h 679"/>
                <a:gd name="T24" fmla="*/ 50 w 493"/>
                <a:gd name="T25" fmla="*/ 241 h 679"/>
                <a:gd name="T26" fmla="*/ 62 w 493"/>
                <a:gd name="T27" fmla="*/ 251 h 679"/>
                <a:gd name="T28" fmla="*/ 71 w 493"/>
                <a:gd name="T29" fmla="*/ 282 h 679"/>
                <a:gd name="T30" fmla="*/ 55 w 493"/>
                <a:gd name="T31" fmla="*/ 286 h 679"/>
                <a:gd name="T32" fmla="*/ 16 w 493"/>
                <a:gd name="T33" fmla="*/ 293 h 679"/>
                <a:gd name="T34" fmla="*/ 14 w 493"/>
                <a:gd name="T35" fmla="*/ 297 h 679"/>
                <a:gd name="T36" fmla="*/ 35 w 493"/>
                <a:gd name="T37" fmla="*/ 325 h 679"/>
                <a:gd name="T38" fmla="*/ 25 w 493"/>
                <a:gd name="T39" fmla="*/ 336 h 679"/>
                <a:gd name="T40" fmla="*/ 46 w 493"/>
                <a:gd name="T41" fmla="*/ 365 h 679"/>
                <a:gd name="T42" fmla="*/ 91 w 493"/>
                <a:gd name="T43" fmla="*/ 348 h 679"/>
                <a:gd name="T44" fmla="*/ 111 w 493"/>
                <a:gd name="T45" fmla="*/ 337 h 679"/>
                <a:gd name="T46" fmla="*/ 104 w 493"/>
                <a:gd name="T47" fmla="*/ 362 h 679"/>
                <a:gd name="T48" fmla="*/ 106 w 493"/>
                <a:gd name="T49" fmla="*/ 397 h 679"/>
                <a:gd name="T50" fmla="*/ 112 w 493"/>
                <a:gd name="T51" fmla="*/ 428 h 679"/>
                <a:gd name="T52" fmla="*/ 121 w 493"/>
                <a:gd name="T53" fmla="*/ 473 h 679"/>
                <a:gd name="T54" fmla="*/ 137 w 493"/>
                <a:gd name="T55" fmla="*/ 512 h 679"/>
                <a:gd name="T56" fmla="*/ 149 w 493"/>
                <a:gd name="T57" fmla="*/ 536 h 679"/>
                <a:gd name="T58" fmla="*/ 174 w 493"/>
                <a:gd name="T59" fmla="*/ 594 h 679"/>
                <a:gd name="T60" fmla="*/ 190 w 493"/>
                <a:gd name="T61" fmla="*/ 636 h 679"/>
                <a:gd name="T62" fmla="*/ 218 w 493"/>
                <a:gd name="T63" fmla="*/ 678 h 679"/>
                <a:gd name="T64" fmla="*/ 260 w 493"/>
                <a:gd name="T65" fmla="*/ 650 h 679"/>
                <a:gd name="T66" fmla="*/ 270 w 493"/>
                <a:gd name="T67" fmla="*/ 626 h 679"/>
                <a:gd name="T68" fmla="*/ 277 w 493"/>
                <a:gd name="T69" fmla="*/ 582 h 679"/>
                <a:gd name="T70" fmla="*/ 280 w 493"/>
                <a:gd name="T71" fmla="*/ 533 h 679"/>
                <a:gd name="T72" fmla="*/ 302 w 493"/>
                <a:gd name="T73" fmla="*/ 494 h 679"/>
                <a:gd name="T74" fmla="*/ 332 w 493"/>
                <a:gd name="T75" fmla="*/ 466 h 679"/>
                <a:gd name="T76" fmla="*/ 405 w 493"/>
                <a:gd name="T77" fmla="*/ 400 h 679"/>
                <a:gd name="T78" fmla="*/ 428 w 493"/>
                <a:gd name="T79" fmla="*/ 393 h 679"/>
                <a:gd name="T80" fmla="*/ 466 w 493"/>
                <a:gd name="T81" fmla="*/ 338 h 679"/>
                <a:gd name="T82" fmla="*/ 479 w 493"/>
                <a:gd name="T83" fmla="*/ 355 h 679"/>
                <a:gd name="T84" fmla="*/ 485 w 493"/>
                <a:gd name="T85" fmla="*/ 354 h 679"/>
                <a:gd name="T86" fmla="*/ 486 w 493"/>
                <a:gd name="T87" fmla="*/ 326 h 679"/>
                <a:gd name="T88" fmla="*/ 481 w 493"/>
                <a:gd name="T89" fmla="*/ 293 h 679"/>
                <a:gd name="T90" fmla="*/ 467 w 493"/>
                <a:gd name="T91" fmla="*/ 281 h 679"/>
                <a:gd name="T92" fmla="*/ 482 w 493"/>
                <a:gd name="T93" fmla="*/ 259 h 679"/>
                <a:gd name="T94" fmla="*/ 472 w 493"/>
                <a:gd name="T95" fmla="*/ 232 h 679"/>
                <a:gd name="T96" fmla="*/ 446 w 493"/>
                <a:gd name="T97" fmla="*/ 235 h 679"/>
                <a:gd name="T98" fmla="*/ 428 w 493"/>
                <a:gd name="T99" fmla="*/ 232 h 679"/>
                <a:gd name="T100" fmla="*/ 410 w 493"/>
                <a:gd name="T101" fmla="*/ 225 h 679"/>
                <a:gd name="T102" fmla="*/ 385 w 493"/>
                <a:gd name="T103" fmla="*/ 217 h 679"/>
                <a:gd name="T104" fmla="*/ 372 w 493"/>
                <a:gd name="T105" fmla="*/ 209 h 679"/>
                <a:gd name="T106" fmla="*/ 357 w 493"/>
                <a:gd name="T107" fmla="*/ 212 h 679"/>
                <a:gd name="T108" fmla="*/ 331 w 493"/>
                <a:gd name="T109" fmla="*/ 200 h 679"/>
                <a:gd name="T110" fmla="*/ 306 w 493"/>
                <a:gd name="T111" fmla="*/ 187 h 679"/>
                <a:gd name="T112" fmla="*/ 282 w 493"/>
                <a:gd name="T113" fmla="*/ 155 h 679"/>
                <a:gd name="T114" fmla="*/ 270 w 493"/>
                <a:gd name="T115" fmla="*/ 119 h 679"/>
                <a:gd name="T116" fmla="*/ 257 w 493"/>
                <a:gd name="T117" fmla="*/ 108 h 679"/>
                <a:gd name="T118" fmla="*/ 246 w 493"/>
                <a:gd name="T119" fmla="*/ 93 h 679"/>
                <a:gd name="T120" fmla="*/ 252 w 493"/>
                <a:gd name="T121" fmla="*/ 74 h 679"/>
                <a:gd name="T122" fmla="*/ 252 w 493"/>
                <a:gd name="T123" fmla="*/ 56 h 679"/>
                <a:gd name="T124" fmla="*/ 247 w 493"/>
                <a:gd name="T125" fmla="*/ 32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3" h="679">
                  <a:moveTo>
                    <a:pt x="302" y="494"/>
                  </a:moveTo>
                  <a:cubicBezTo>
                    <a:pt x="302" y="495"/>
                    <a:pt x="302" y="495"/>
                    <a:pt x="302" y="495"/>
                  </a:cubicBezTo>
                  <a:cubicBezTo>
                    <a:pt x="302" y="495"/>
                    <a:pt x="302" y="495"/>
                    <a:pt x="302" y="494"/>
                  </a:cubicBezTo>
                  <a:moveTo>
                    <a:pt x="302" y="494"/>
                  </a:moveTo>
                  <a:cubicBezTo>
                    <a:pt x="302" y="494"/>
                    <a:pt x="302" y="494"/>
                    <a:pt x="302" y="494"/>
                  </a:cubicBezTo>
                  <a:cubicBezTo>
                    <a:pt x="302" y="494"/>
                    <a:pt x="302" y="494"/>
                    <a:pt x="302" y="494"/>
                  </a:cubicBezTo>
                  <a:moveTo>
                    <a:pt x="302" y="494"/>
                  </a:moveTo>
                  <a:cubicBezTo>
                    <a:pt x="302" y="494"/>
                    <a:pt x="302" y="494"/>
                    <a:pt x="302" y="494"/>
                  </a:cubicBezTo>
                  <a:cubicBezTo>
                    <a:pt x="302" y="494"/>
                    <a:pt x="302" y="494"/>
                    <a:pt x="302" y="494"/>
                  </a:cubicBezTo>
                  <a:moveTo>
                    <a:pt x="229" y="0"/>
                  </a:moveTo>
                  <a:cubicBezTo>
                    <a:pt x="229" y="0"/>
                    <a:pt x="228" y="0"/>
                    <a:pt x="228" y="0"/>
                  </a:cubicBezTo>
                  <a:cubicBezTo>
                    <a:pt x="226" y="1"/>
                    <a:pt x="225" y="2"/>
                    <a:pt x="224" y="3"/>
                  </a:cubicBezTo>
                  <a:cubicBezTo>
                    <a:pt x="222" y="3"/>
                    <a:pt x="220" y="4"/>
                    <a:pt x="219" y="5"/>
                  </a:cubicBezTo>
                  <a:cubicBezTo>
                    <a:pt x="218" y="6"/>
                    <a:pt x="216" y="7"/>
                    <a:pt x="215" y="7"/>
                  </a:cubicBezTo>
                  <a:cubicBezTo>
                    <a:pt x="210" y="10"/>
                    <a:pt x="210" y="10"/>
                    <a:pt x="210" y="10"/>
                  </a:cubicBezTo>
                  <a:cubicBezTo>
                    <a:pt x="209" y="11"/>
                    <a:pt x="208" y="13"/>
                    <a:pt x="207" y="14"/>
                  </a:cubicBezTo>
                  <a:cubicBezTo>
                    <a:pt x="206" y="16"/>
                    <a:pt x="206" y="16"/>
                    <a:pt x="206" y="16"/>
                  </a:cubicBezTo>
                  <a:cubicBezTo>
                    <a:pt x="204" y="18"/>
                    <a:pt x="202" y="20"/>
                    <a:pt x="199" y="21"/>
                  </a:cubicBezTo>
                  <a:cubicBezTo>
                    <a:pt x="197" y="21"/>
                    <a:pt x="197" y="21"/>
                    <a:pt x="197" y="21"/>
                  </a:cubicBezTo>
                  <a:cubicBezTo>
                    <a:pt x="197" y="21"/>
                    <a:pt x="196" y="21"/>
                    <a:pt x="196" y="21"/>
                  </a:cubicBezTo>
                  <a:cubicBezTo>
                    <a:pt x="195" y="21"/>
                    <a:pt x="195" y="21"/>
                    <a:pt x="195" y="21"/>
                  </a:cubicBezTo>
                  <a:cubicBezTo>
                    <a:pt x="194" y="21"/>
                    <a:pt x="194" y="21"/>
                    <a:pt x="193" y="21"/>
                  </a:cubicBezTo>
                  <a:cubicBezTo>
                    <a:pt x="192" y="21"/>
                    <a:pt x="192" y="21"/>
                    <a:pt x="191" y="22"/>
                  </a:cubicBezTo>
                  <a:cubicBezTo>
                    <a:pt x="191" y="22"/>
                    <a:pt x="191" y="22"/>
                    <a:pt x="190" y="22"/>
                  </a:cubicBezTo>
                  <a:cubicBezTo>
                    <a:pt x="190" y="22"/>
                    <a:pt x="190" y="22"/>
                    <a:pt x="190" y="22"/>
                  </a:cubicBezTo>
                  <a:cubicBezTo>
                    <a:pt x="189" y="23"/>
                    <a:pt x="188" y="23"/>
                    <a:pt x="187" y="24"/>
                  </a:cubicBezTo>
                  <a:cubicBezTo>
                    <a:pt x="183" y="25"/>
                    <a:pt x="180" y="26"/>
                    <a:pt x="177" y="26"/>
                  </a:cubicBezTo>
                  <a:cubicBezTo>
                    <a:pt x="176" y="26"/>
                    <a:pt x="175" y="26"/>
                    <a:pt x="175" y="26"/>
                  </a:cubicBezTo>
                  <a:cubicBezTo>
                    <a:pt x="173" y="26"/>
                    <a:pt x="173" y="26"/>
                    <a:pt x="173" y="26"/>
                  </a:cubicBezTo>
                  <a:cubicBezTo>
                    <a:pt x="171" y="26"/>
                    <a:pt x="170" y="25"/>
                    <a:pt x="169" y="25"/>
                  </a:cubicBezTo>
                  <a:cubicBezTo>
                    <a:pt x="169" y="24"/>
                    <a:pt x="168" y="24"/>
                    <a:pt x="168" y="24"/>
                  </a:cubicBezTo>
                  <a:cubicBezTo>
                    <a:pt x="167" y="24"/>
                    <a:pt x="167" y="24"/>
                    <a:pt x="167" y="24"/>
                  </a:cubicBezTo>
                  <a:cubicBezTo>
                    <a:pt x="167" y="23"/>
                    <a:pt x="166" y="23"/>
                    <a:pt x="165" y="23"/>
                  </a:cubicBezTo>
                  <a:cubicBezTo>
                    <a:pt x="162" y="22"/>
                    <a:pt x="162" y="22"/>
                    <a:pt x="162" y="22"/>
                  </a:cubicBezTo>
                  <a:cubicBezTo>
                    <a:pt x="161" y="22"/>
                    <a:pt x="159" y="22"/>
                    <a:pt x="158" y="22"/>
                  </a:cubicBezTo>
                  <a:cubicBezTo>
                    <a:pt x="156" y="21"/>
                    <a:pt x="154" y="21"/>
                    <a:pt x="152" y="21"/>
                  </a:cubicBezTo>
                  <a:cubicBezTo>
                    <a:pt x="152" y="21"/>
                    <a:pt x="152" y="21"/>
                    <a:pt x="151" y="21"/>
                  </a:cubicBezTo>
                  <a:cubicBezTo>
                    <a:pt x="150" y="21"/>
                    <a:pt x="149" y="21"/>
                    <a:pt x="148" y="21"/>
                  </a:cubicBezTo>
                  <a:cubicBezTo>
                    <a:pt x="147" y="21"/>
                    <a:pt x="147" y="21"/>
                    <a:pt x="147" y="21"/>
                  </a:cubicBezTo>
                  <a:cubicBezTo>
                    <a:pt x="144" y="21"/>
                    <a:pt x="141" y="22"/>
                    <a:pt x="139" y="22"/>
                  </a:cubicBezTo>
                  <a:cubicBezTo>
                    <a:pt x="139" y="22"/>
                    <a:pt x="138" y="23"/>
                    <a:pt x="138" y="23"/>
                  </a:cubicBezTo>
                  <a:cubicBezTo>
                    <a:pt x="138" y="23"/>
                    <a:pt x="138" y="23"/>
                    <a:pt x="138" y="23"/>
                  </a:cubicBezTo>
                  <a:cubicBezTo>
                    <a:pt x="137" y="24"/>
                    <a:pt x="136" y="25"/>
                    <a:pt x="136" y="26"/>
                  </a:cubicBezTo>
                  <a:cubicBezTo>
                    <a:pt x="136" y="26"/>
                    <a:pt x="136" y="26"/>
                    <a:pt x="136" y="26"/>
                  </a:cubicBezTo>
                  <a:cubicBezTo>
                    <a:pt x="136" y="26"/>
                    <a:pt x="136" y="26"/>
                    <a:pt x="136" y="26"/>
                  </a:cubicBezTo>
                  <a:cubicBezTo>
                    <a:pt x="137" y="26"/>
                    <a:pt x="137" y="26"/>
                    <a:pt x="137" y="26"/>
                  </a:cubicBezTo>
                  <a:cubicBezTo>
                    <a:pt x="138" y="27"/>
                    <a:pt x="138" y="27"/>
                    <a:pt x="138" y="27"/>
                  </a:cubicBezTo>
                  <a:cubicBezTo>
                    <a:pt x="139" y="28"/>
                    <a:pt x="139" y="28"/>
                    <a:pt x="139" y="28"/>
                  </a:cubicBezTo>
                  <a:cubicBezTo>
                    <a:pt x="140" y="30"/>
                    <a:pt x="140" y="32"/>
                    <a:pt x="139" y="33"/>
                  </a:cubicBezTo>
                  <a:cubicBezTo>
                    <a:pt x="143" y="34"/>
                    <a:pt x="145" y="35"/>
                    <a:pt x="146" y="37"/>
                  </a:cubicBezTo>
                  <a:cubicBezTo>
                    <a:pt x="147" y="38"/>
                    <a:pt x="147" y="40"/>
                    <a:pt x="145" y="42"/>
                  </a:cubicBezTo>
                  <a:cubicBezTo>
                    <a:pt x="144" y="43"/>
                    <a:pt x="144" y="43"/>
                    <a:pt x="144" y="43"/>
                  </a:cubicBezTo>
                  <a:cubicBezTo>
                    <a:pt x="143" y="43"/>
                    <a:pt x="143" y="43"/>
                    <a:pt x="143" y="43"/>
                  </a:cubicBezTo>
                  <a:cubicBezTo>
                    <a:pt x="143" y="44"/>
                    <a:pt x="142" y="44"/>
                    <a:pt x="142" y="44"/>
                  </a:cubicBezTo>
                  <a:cubicBezTo>
                    <a:pt x="141" y="44"/>
                    <a:pt x="141" y="44"/>
                    <a:pt x="141" y="44"/>
                  </a:cubicBezTo>
                  <a:cubicBezTo>
                    <a:pt x="141" y="44"/>
                    <a:pt x="141" y="44"/>
                    <a:pt x="141" y="44"/>
                  </a:cubicBezTo>
                  <a:cubicBezTo>
                    <a:pt x="141" y="45"/>
                    <a:pt x="141" y="45"/>
                    <a:pt x="142" y="45"/>
                  </a:cubicBezTo>
                  <a:cubicBezTo>
                    <a:pt x="142" y="46"/>
                    <a:pt x="142" y="46"/>
                    <a:pt x="142" y="46"/>
                  </a:cubicBezTo>
                  <a:cubicBezTo>
                    <a:pt x="145" y="50"/>
                    <a:pt x="143" y="54"/>
                    <a:pt x="142" y="56"/>
                  </a:cubicBezTo>
                  <a:cubicBezTo>
                    <a:pt x="142" y="57"/>
                    <a:pt x="142" y="57"/>
                    <a:pt x="141" y="58"/>
                  </a:cubicBezTo>
                  <a:cubicBezTo>
                    <a:pt x="141" y="59"/>
                    <a:pt x="141" y="59"/>
                    <a:pt x="141" y="59"/>
                  </a:cubicBezTo>
                  <a:cubicBezTo>
                    <a:pt x="142" y="60"/>
                    <a:pt x="143" y="61"/>
                    <a:pt x="144" y="62"/>
                  </a:cubicBezTo>
                  <a:cubicBezTo>
                    <a:pt x="147" y="66"/>
                    <a:pt x="147" y="66"/>
                    <a:pt x="147" y="66"/>
                  </a:cubicBezTo>
                  <a:cubicBezTo>
                    <a:pt x="147" y="67"/>
                    <a:pt x="147" y="67"/>
                    <a:pt x="147" y="67"/>
                  </a:cubicBezTo>
                  <a:cubicBezTo>
                    <a:pt x="147" y="67"/>
                    <a:pt x="147" y="67"/>
                    <a:pt x="148" y="67"/>
                  </a:cubicBezTo>
                  <a:cubicBezTo>
                    <a:pt x="148" y="67"/>
                    <a:pt x="149" y="67"/>
                    <a:pt x="150" y="66"/>
                  </a:cubicBezTo>
                  <a:cubicBezTo>
                    <a:pt x="151" y="66"/>
                    <a:pt x="152" y="65"/>
                    <a:pt x="154" y="65"/>
                  </a:cubicBezTo>
                  <a:cubicBezTo>
                    <a:pt x="158" y="65"/>
                    <a:pt x="158" y="65"/>
                    <a:pt x="158" y="65"/>
                  </a:cubicBezTo>
                  <a:cubicBezTo>
                    <a:pt x="156" y="70"/>
                    <a:pt x="156" y="70"/>
                    <a:pt x="156" y="70"/>
                  </a:cubicBezTo>
                  <a:cubicBezTo>
                    <a:pt x="156" y="71"/>
                    <a:pt x="156" y="71"/>
                    <a:pt x="156" y="71"/>
                  </a:cubicBezTo>
                  <a:cubicBezTo>
                    <a:pt x="156" y="72"/>
                    <a:pt x="156" y="72"/>
                    <a:pt x="156" y="72"/>
                  </a:cubicBezTo>
                  <a:cubicBezTo>
                    <a:pt x="156" y="72"/>
                    <a:pt x="156" y="72"/>
                    <a:pt x="156" y="72"/>
                  </a:cubicBezTo>
                  <a:cubicBezTo>
                    <a:pt x="156" y="73"/>
                    <a:pt x="156" y="74"/>
                    <a:pt x="156" y="74"/>
                  </a:cubicBezTo>
                  <a:cubicBezTo>
                    <a:pt x="156" y="74"/>
                    <a:pt x="156" y="74"/>
                    <a:pt x="156" y="74"/>
                  </a:cubicBezTo>
                  <a:cubicBezTo>
                    <a:pt x="156" y="74"/>
                    <a:pt x="157" y="75"/>
                    <a:pt x="159" y="75"/>
                  </a:cubicBezTo>
                  <a:cubicBezTo>
                    <a:pt x="161" y="75"/>
                    <a:pt x="161" y="75"/>
                    <a:pt x="161" y="75"/>
                  </a:cubicBezTo>
                  <a:cubicBezTo>
                    <a:pt x="162" y="75"/>
                    <a:pt x="163" y="76"/>
                    <a:pt x="165" y="76"/>
                  </a:cubicBezTo>
                  <a:cubicBezTo>
                    <a:pt x="165" y="76"/>
                    <a:pt x="166" y="76"/>
                    <a:pt x="166" y="76"/>
                  </a:cubicBezTo>
                  <a:cubicBezTo>
                    <a:pt x="167" y="77"/>
                    <a:pt x="167" y="77"/>
                    <a:pt x="167" y="77"/>
                  </a:cubicBezTo>
                  <a:cubicBezTo>
                    <a:pt x="168" y="77"/>
                    <a:pt x="169" y="78"/>
                    <a:pt x="169" y="78"/>
                  </a:cubicBezTo>
                  <a:cubicBezTo>
                    <a:pt x="171" y="80"/>
                    <a:pt x="172" y="82"/>
                    <a:pt x="171" y="86"/>
                  </a:cubicBezTo>
                  <a:cubicBezTo>
                    <a:pt x="169" y="89"/>
                    <a:pt x="166" y="90"/>
                    <a:pt x="164" y="91"/>
                  </a:cubicBezTo>
                  <a:cubicBezTo>
                    <a:pt x="163" y="91"/>
                    <a:pt x="163" y="91"/>
                    <a:pt x="163" y="91"/>
                  </a:cubicBezTo>
                  <a:cubicBezTo>
                    <a:pt x="162" y="92"/>
                    <a:pt x="161" y="92"/>
                    <a:pt x="161" y="92"/>
                  </a:cubicBezTo>
                  <a:cubicBezTo>
                    <a:pt x="160" y="93"/>
                    <a:pt x="160" y="93"/>
                    <a:pt x="160" y="93"/>
                  </a:cubicBezTo>
                  <a:cubicBezTo>
                    <a:pt x="159" y="93"/>
                    <a:pt x="159" y="93"/>
                    <a:pt x="158" y="93"/>
                  </a:cubicBezTo>
                  <a:cubicBezTo>
                    <a:pt x="157" y="93"/>
                    <a:pt x="157" y="93"/>
                    <a:pt x="157" y="94"/>
                  </a:cubicBezTo>
                  <a:cubicBezTo>
                    <a:pt x="156" y="94"/>
                    <a:pt x="156" y="94"/>
                    <a:pt x="156" y="94"/>
                  </a:cubicBezTo>
                  <a:cubicBezTo>
                    <a:pt x="155" y="94"/>
                    <a:pt x="155" y="94"/>
                    <a:pt x="155" y="94"/>
                  </a:cubicBezTo>
                  <a:cubicBezTo>
                    <a:pt x="154" y="95"/>
                    <a:pt x="154" y="95"/>
                    <a:pt x="154" y="95"/>
                  </a:cubicBezTo>
                  <a:cubicBezTo>
                    <a:pt x="153" y="96"/>
                    <a:pt x="152" y="96"/>
                    <a:pt x="152" y="97"/>
                  </a:cubicBezTo>
                  <a:cubicBezTo>
                    <a:pt x="152" y="97"/>
                    <a:pt x="152" y="97"/>
                    <a:pt x="152" y="97"/>
                  </a:cubicBezTo>
                  <a:cubicBezTo>
                    <a:pt x="153" y="99"/>
                    <a:pt x="153" y="99"/>
                    <a:pt x="153" y="99"/>
                  </a:cubicBezTo>
                  <a:cubicBezTo>
                    <a:pt x="153" y="101"/>
                    <a:pt x="153" y="103"/>
                    <a:pt x="153" y="105"/>
                  </a:cubicBezTo>
                  <a:cubicBezTo>
                    <a:pt x="153" y="106"/>
                    <a:pt x="153" y="106"/>
                    <a:pt x="153" y="106"/>
                  </a:cubicBezTo>
                  <a:cubicBezTo>
                    <a:pt x="153" y="106"/>
                    <a:pt x="154" y="107"/>
                    <a:pt x="154" y="108"/>
                  </a:cubicBezTo>
                  <a:cubicBezTo>
                    <a:pt x="154" y="110"/>
                    <a:pt x="154" y="110"/>
                    <a:pt x="154" y="110"/>
                  </a:cubicBezTo>
                  <a:cubicBezTo>
                    <a:pt x="154" y="112"/>
                    <a:pt x="154" y="113"/>
                    <a:pt x="155" y="114"/>
                  </a:cubicBezTo>
                  <a:cubicBezTo>
                    <a:pt x="155" y="116"/>
                    <a:pt x="153" y="118"/>
                    <a:pt x="151" y="120"/>
                  </a:cubicBezTo>
                  <a:cubicBezTo>
                    <a:pt x="149" y="122"/>
                    <a:pt x="147" y="123"/>
                    <a:pt x="145" y="125"/>
                  </a:cubicBezTo>
                  <a:cubicBezTo>
                    <a:pt x="145" y="125"/>
                    <a:pt x="145" y="125"/>
                    <a:pt x="145" y="125"/>
                  </a:cubicBezTo>
                  <a:cubicBezTo>
                    <a:pt x="144" y="125"/>
                    <a:pt x="142" y="127"/>
                    <a:pt x="142" y="127"/>
                  </a:cubicBezTo>
                  <a:cubicBezTo>
                    <a:pt x="142" y="127"/>
                    <a:pt x="142" y="127"/>
                    <a:pt x="142" y="127"/>
                  </a:cubicBezTo>
                  <a:cubicBezTo>
                    <a:pt x="141" y="128"/>
                    <a:pt x="140" y="129"/>
                    <a:pt x="139" y="131"/>
                  </a:cubicBezTo>
                  <a:cubicBezTo>
                    <a:pt x="138" y="131"/>
                    <a:pt x="138" y="131"/>
                    <a:pt x="138" y="131"/>
                  </a:cubicBezTo>
                  <a:cubicBezTo>
                    <a:pt x="138" y="132"/>
                    <a:pt x="138" y="132"/>
                    <a:pt x="137" y="132"/>
                  </a:cubicBezTo>
                  <a:cubicBezTo>
                    <a:pt x="137" y="133"/>
                    <a:pt x="138" y="133"/>
                    <a:pt x="138" y="134"/>
                  </a:cubicBezTo>
                  <a:cubicBezTo>
                    <a:pt x="138" y="134"/>
                    <a:pt x="138" y="134"/>
                    <a:pt x="138" y="134"/>
                  </a:cubicBezTo>
                  <a:cubicBezTo>
                    <a:pt x="139" y="135"/>
                    <a:pt x="139" y="135"/>
                    <a:pt x="139" y="135"/>
                  </a:cubicBezTo>
                  <a:cubicBezTo>
                    <a:pt x="141" y="137"/>
                    <a:pt x="141" y="137"/>
                    <a:pt x="141" y="137"/>
                  </a:cubicBezTo>
                  <a:cubicBezTo>
                    <a:pt x="138" y="139"/>
                    <a:pt x="138" y="139"/>
                    <a:pt x="138" y="139"/>
                  </a:cubicBezTo>
                  <a:cubicBezTo>
                    <a:pt x="136" y="140"/>
                    <a:pt x="135" y="140"/>
                    <a:pt x="134" y="141"/>
                  </a:cubicBezTo>
                  <a:cubicBezTo>
                    <a:pt x="133" y="142"/>
                    <a:pt x="133" y="142"/>
                    <a:pt x="133" y="142"/>
                  </a:cubicBezTo>
                  <a:cubicBezTo>
                    <a:pt x="131" y="142"/>
                    <a:pt x="129" y="143"/>
                    <a:pt x="127" y="144"/>
                  </a:cubicBezTo>
                  <a:cubicBezTo>
                    <a:pt x="126" y="145"/>
                    <a:pt x="125" y="145"/>
                    <a:pt x="125" y="145"/>
                  </a:cubicBezTo>
                  <a:cubicBezTo>
                    <a:pt x="124" y="146"/>
                    <a:pt x="124" y="149"/>
                    <a:pt x="124" y="150"/>
                  </a:cubicBezTo>
                  <a:cubicBezTo>
                    <a:pt x="123" y="151"/>
                    <a:pt x="123" y="151"/>
                    <a:pt x="123" y="151"/>
                  </a:cubicBezTo>
                  <a:cubicBezTo>
                    <a:pt x="123" y="153"/>
                    <a:pt x="123" y="153"/>
                    <a:pt x="123" y="153"/>
                  </a:cubicBezTo>
                  <a:cubicBezTo>
                    <a:pt x="123" y="154"/>
                    <a:pt x="122" y="154"/>
                    <a:pt x="122" y="155"/>
                  </a:cubicBezTo>
                  <a:cubicBezTo>
                    <a:pt x="121" y="157"/>
                    <a:pt x="120" y="158"/>
                    <a:pt x="120" y="160"/>
                  </a:cubicBezTo>
                  <a:cubicBezTo>
                    <a:pt x="119" y="160"/>
                    <a:pt x="119" y="160"/>
                    <a:pt x="119" y="160"/>
                  </a:cubicBezTo>
                  <a:cubicBezTo>
                    <a:pt x="118" y="162"/>
                    <a:pt x="118" y="163"/>
                    <a:pt x="117" y="164"/>
                  </a:cubicBezTo>
                  <a:cubicBezTo>
                    <a:pt x="114" y="168"/>
                    <a:pt x="113" y="169"/>
                    <a:pt x="109" y="171"/>
                  </a:cubicBezTo>
                  <a:cubicBezTo>
                    <a:pt x="108" y="172"/>
                    <a:pt x="108" y="172"/>
                    <a:pt x="108" y="172"/>
                  </a:cubicBezTo>
                  <a:cubicBezTo>
                    <a:pt x="108" y="172"/>
                    <a:pt x="107" y="172"/>
                    <a:pt x="106" y="173"/>
                  </a:cubicBezTo>
                  <a:cubicBezTo>
                    <a:pt x="104" y="174"/>
                    <a:pt x="103" y="175"/>
                    <a:pt x="102" y="176"/>
                  </a:cubicBezTo>
                  <a:cubicBezTo>
                    <a:pt x="104" y="178"/>
                    <a:pt x="104" y="178"/>
                    <a:pt x="104" y="178"/>
                  </a:cubicBezTo>
                  <a:cubicBezTo>
                    <a:pt x="101" y="177"/>
                    <a:pt x="101" y="177"/>
                    <a:pt x="101" y="177"/>
                  </a:cubicBezTo>
                  <a:cubicBezTo>
                    <a:pt x="86" y="197"/>
                    <a:pt x="86" y="197"/>
                    <a:pt x="86" y="197"/>
                  </a:cubicBezTo>
                  <a:cubicBezTo>
                    <a:pt x="85" y="198"/>
                    <a:pt x="84" y="198"/>
                    <a:pt x="83" y="198"/>
                  </a:cubicBezTo>
                  <a:cubicBezTo>
                    <a:pt x="82" y="199"/>
                    <a:pt x="80" y="199"/>
                    <a:pt x="77" y="199"/>
                  </a:cubicBezTo>
                  <a:cubicBezTo>
                    <a:pt x="76" y="199"/>
                    <a:pt x="76" y="199"/>
                    <a:pt x="76" y="199"/>
                  </a:cubicBezTo>
                  <a:cubicBezTo>
                    <a:pt x="76" y="199"/>
                    <a:pt x="76" y="199"/>
                    <a:pt x="75" y="199"/>
                  </a:cubicBezTo>
                  <a:cubicBezTo>
                    <a:pt x="75" y="200"/>
                    <a:pt x="74" y="200"/>
                    <a:pt x="74" y="200"/>
                  </a:cubicBezTo>
                  <a:cubicBezTo>
                    <a:pt x="73" y="200"/>
                    <a:pt x="73" y="200"/>
                    <a:pt x="73" y="200"/>
                  </a:cubicBezTo>
                  <a:cubicBezTo>
                    <a:pt x="73" y="200"/>
                    <a:pt x="73" y="200"/>
                    <a:pt x="73" y="200"/>
                  </a:cubicBezTo>
                  <a:cubicBezTo>
                    <a:pt x="71" y="201"/>
                    <a:pt x="69" y="201"/>
                    <a:pt x="67" y="202"/>
                  </a:cubicBezTo>
                  <a:cubicBezTo>
                    <a:pt x="67" y="202"/>
                    <a:pt x="67" y="202"/>
                    <a:pt x="66" y="202"/>
                  </a:cubicBezTo>
                  <a:cubicBezTo>
                    <a:pt x="65" y="203"/>
                    <a:pt x="64" y="203"/>
                    <a:pt x="64" y="203"/>
                  </a:cubicBezTo>
                  <a:cubicBezTo>
                    <a:pt x="62" y="203"/>
                    <a:pt x="61" y="202"/>
                    <a:pt x="60" y="202"/>
                  </a:cubicBezTo>
                  <a:cubicBezTo>
                    <a:pt x="60" y="201"/>
                    <a:pt x="60" y="201"/>
                    <a:pt x="60" y="201"/>
                  </a:cubicBezTo>
                  <a:cubicBezTo>
                    <a:pt x="59" y="201"/>
                    <a:pt x="59" y="201"/>
                    <a:pt x="59" y="200"/>
                  </a:cubicBezTo>
                  <a:cubicBezTo>
                    <a:pt x="58" y="199"/>
                    <a:pt x="57" y="198"/>
                    <a:pt x="57" y="198"/>
                  </a:cubicBezTo>
                  <a:cubicBezTo>
                    <a:pt x="56" y="197"/>
                    <a:pt x="56" y="196"/>
                    <a:pt x="56" y="196"/>
                  </a:cubicBezTo>
                  <a:cubicBezTo>
                    <a:pt x="55" y="196"/>
                    <a:pt x="55" y="196"/>
                    <a:pt x="55" y="196"/>
                  </a:cubicBezTo>
                  <a:cubicBezTo>
                    <a:pt x="55" y="195"/>
                    <a:pt x="55" y="195"/>
                    <a:pt x="55" y="195"/>
                  </a:cubicBezTo>
                  <a:cubicBezTo>
                    <a:pt x="55" y="195"/>
                    <a:pt x="55" y="195"/>
                    <a:pt x="55" y="195"/>
                  </a:cubicBezTo>
                  <a:cubicBezTo>
                    <a:pt x="54" y="195"/>
                    <a:pt x="54" y="195"/>
                    <a:pt x="54" y="195"/>
                  </a:cubicBezTo>
                  <a:cubicBezTo>
                    <a:pt x="54" y="195"/>
                    <a:pt x="54" y="195"/>
                    <a:pt x="54" y="195"/>
                  </a:cubicBezTo>
                  <a:cubicBezTo>
                    <a:pt x="53" y="195"/>
                    <a:pt x="53" y="195"/>
                    <a:pt x="53" y="196"/>
                  </a:cubicBezTo>
                  <a:cubicBezTo>
                    <a:pt x="52" y="196"/>
                    <a:pt x="52" y="196"/>
                    <a:pt x="52" y="196"/>
                  </a:cubicBezTo>
                  <a:cubicBezTo>
                    <a:pt x="51" y="197"/>
                    <a:pt x="51" y="197"/>
                    <a:pt x="51" y="197"/>
                  </a:cubicBezTo>
                  <a:cubicBezTo>
                    <a:pt x="51" y="197"/>
                    <a:pt x="51" y="197"/>
                    <a:pt x="51" y="197"/>
                  </a:cubicBezTo>
                  <a:cubicBezTo>
                    <a:pt x="49" y="199"/>
                    <a:pt x="49" y="199"/>
                    <a:pt x="49" y="199"/>
                  </a:cubicBezTo>
                  <a:cubicBezTo>
                    <a:pt x="48" y="200"/>
                    <a:pt x="48" y="200"/>
                    <a:pt x="48" y="200"/>
                  </a:cubicBezTo>
                  <a:cubicBezTo>
                    <a:pt x="48" y="200"/>
                    <a:pt x="48" y="200"/>
                    <a:pt x="48" y="200"/>
                  </a:cubicBezTo>
                  <a:cubicBezTo>
                    <a:pt x="47" y="201"/>
                    <a:pt x="47" y="202"/>
                    <a:pt x="46" y="202"/>
                  </a:cubicBezTo>
                  <a:cubicBezTo>
                    <a:pt x="45" y="204"/>
                    <a:pt x="44" y="205"/>
                    <a:pt x="43" y="207"/>
                  </a:cubicBezTo>
                  <a:cubicBezTo>
                    <a:pt x="41" y="209"/>
                    <a:pt x="38" y="212"/>
                    <a:pt x="36" y="215"/>
                  </a:cubicBezTo>
                  <a:cubicBezTo>
                    <a:pt x="34" y="218"/>
                    <a:pt x="33" y="221"/>
                    <a:pt x="34" y="222"/>
                  </a:cubicBezTo>
                  <a:cubicBezTo>
                    <a:pt x="34" y="223"/>
                    <a:pt x="34" y="223"/>
                    <a:pt x="34" y="223"/>
                  </a:cubicBezTo>
                  <a:cubicBezTo>
                    <a:pt x="35" y="224"/>
                    <a:pt x="36" y="224"/>
                    <a:pt x="38" y="225"/>
                  </a:cubicBezTo>
                  <a:cubicBezTo>
                    <a:pt x="39" y="225"/>
                    <a:pt x="39" y="225"/>
                    <a:pt x="39" y="225"/>
                  </a:cubicBezTo>
                  <a:cubicBezTo>
                    <a:pt x="40" y="225"/>
                    <a:pt x="42" y="225"/>
                    <a:pt x="43" y="226"/>
                  </a:cubicBezTo>
                  <a:cubicBezTo>
                    <a:pt x="44" y="226"/>
                    <a:pt x="44" y="226"/>
                    <a:pt x="45" y="226"/>
                  </a:cubicBezTo>
                  <a:cubicBezTo>
                    <a:pt x="46" y="226"/>
                    <a:pt x="47" y="226"/>
                    <a:pt x="47" y="227"/>
                  </a:cubicBezTo>
                  <a:cubicBezTo>
                    <a:pt x="49" y="228"/>
                    <a:pt x="50" y="229"/>
                    <a:pt x="50" y="231"/>
                  </a:cubicBezTo>
                  <a:cubicBezTo>
                    <a:pt x="50" y="233"/>
                    <a:pt x="50" y="234"/>
                    <a:pt x="50" y="236"/>
                  </a:cubicBezTo>
                  <a:cubicBezTo>
                    <a:pt x="49" y="238"/>
                    <a:pt x="49" y="240"/>
                    <a:pt x="50" y="241"/>
                  </a:cubicBezTo>
                  <a:cubicBezTo>
                    <a:pt x="50" y="242"/>
                    <a:pt x="50" y="242"/>
                    <a:pt x="50" y="243"/>
                  </a:cubicBezTo>
                  <a:cubicBezTo>
                    <a:pt x="50" y="244"/>
                    <a:pt x="50" y="244"/>
                    <a:pt x="50" y="244"/>
                  </a:cubicBezTo>
                  <a:cubicBezTo>
                    <a:pt x="51" y="245"/>
                    <a:pt x="51" y="247"/>
                    <a:pt x="52" y="248"/>
                  </a:cubicBezTo>
                  <a:cubicBezTo>
                    <a:pt x="52" y="248"/>
                    <a:pt x="52" y="248"/>
                    <a:pt x="52" y="248"/>
                  </a:cubicBezTo>
                  <a:cubicBezTo>
                    <a:pt x="53" y="248"/>
                    <a:pt x="53" y="248"/>
                    <a:pt x="53" y="248"/>
                  </a:cubicBezTo>
                  <a:cubicBezTo>
                    <a:pt x="54" y="248"/>
                    <a:pt x="54" y="248"/>
                    <a:pt x="54" y="248"/>
                  </a:cubicBezTo>
                  <a:cubicBezTo>
                    <a:pt x="54" y="248"/>
                    <a:pt x="54" y="248"/>
                    <a:pt x="54" y="248"/>
                  </a:cubicBezTo>
                  <a:cubicBezTo>
                    <a:pt x="55" y="248"/>
                    <a:pt x="55" y="248"/>
                    <a:pt x="55" y="248"/>
                  </a:cubicBezTo>
                  <a:cubicBezTo>
                    <a:pt x="55" y="248"/>
                    <a:pt x="55" y="248"/>
                    <a:pt x="55" y="248"/>
                  </a:cubicBezTo>
                  <a:cubicBezTo>
                    <a:pt x="55" y="248"/>
                    <a:pt x="56" y="248"/>
                    <a:pt x="56" y="248"/>
                  </a:cubicBezTo>
                  <a:cubicBezTo>
                    <a:pt x="56" y="248"/>
                    <a:pt x="57" y="248"/>
                    <a:pt x="57" y="248"/>
                  </a:cubicBezTo>
                  <a:cubicBezTo>
                    <a:pt x="58" y="248"/>
                    <a:pt x="58" y="248"/>
                    <a:pt x="58" y="248"/>
                  </a:cubicBezTo>
                  <a:cubicBezTo>
                    <a:pt x="60" y="248"/>
                    <a:pt x="61" y="250"/>
                    <a:pt x="62" y="251"/>
                  </a:cubicBezTo>
                  <a:cubicBezTo>
                    <a:pt x="62" y="253"/>
                    <a:pt x="62" y="253"/>
                    <a:pt x="62" y="254"/>
                  </a:cubicBezTo>
                  <a:cubicBezTo>
                    <a:pt x="63" y="256"/>
                    <a:pt x="63" y="257"/>
                    <a:pt x="64" y="259"/>
                  </a:cubicBezTo>
                  <a:cubicBezTo>
                    <a:pt x="64" y="259"/>
                    <a:pt x="64" y="260"/>
                    <a:pt x="64" y="260"/>
                  </a:cubicBezTo>
                  <a:cubicBezTo>
                    <a:pt x="65" y="261"/>
                    <a:pt x="65" y="261"/>
                    <a:pt x="65" y="261"/>
                  </a:cubicBezTo>
                  <a:cubicBezTo>
                    <a:pt x="65" y="261"/>
                    <a:pt x="65" y="261"/>
                    <a:pt x="65" y="261"/>
                  </a:cubicBezTo>
                  <a:cubicBezTo>
                    <a:pt x="70" y="272"/>
                    <a:pt x="70" y="272"/>
                    <a:pt x="70" y="272"/>
                  </a:cubicBezTo>
                  <a:cubicBezTo>
                    <a:pt x="71" y="274"/>
                    <a:pt x="71" y="275"/>
                    <a:pt x="71" y="276"/>
                  </a:cubicBezTo>
                  <a:cubicBezTo>
                    <a:pt x="71" y="277"/>
                    <a:pt x="70" y="278"/>
                    <a:pt x="70" y="279"/>
                  </a:cubicBezTo>
                  <a:cubicBezTo>
                    <a:pt x="69" y="280"/>
                    <a:pt x="69" y="280"/>
                    <a:pt x="69" y="280"/>
                  </a:cubicBezTo>
                  <a:cubicBezTo>
                    <a:pt x="70" y="280"/>
                    <a:pt x="70" y="280"/>
                    <a:pt x="70" y="280"/>
                  </a:cubicBezTo>
                  <a:cubicBezTo>
                    <a:pt x="70" y="280"/>
                    <a:pt x="70" y="280"/>
                    <a:pt x="70" y="280"/>
                  </a:cubicBezTo>
                  <a:cubicBezTo>
                    <a:pt x="71" y="282"/>
                    <a:pt x="71" y="282"/>
                    <a:pt x="71" y="282"/>
                  </a:cubicBezTo>
                  <a:cubicBezTo>
                    <a:pt x="71" y="282"/>
                    <a:pt x="71" y="282"/>
                    <a:pt x="71" y="282"/>
                  </a:cubicBezTo>
                  <a:cubicBezTo>
                    <a:pt x="72" y="284"/>
                    <a:pt x="70" y="285"/>
                    <a:pt x="70" y="286"/>
                  </a:cubicBezTo>
                  <a:cubicBezTo>
                    <a:pt x="69" y="287"/>
                    <a:pt x="68" y="287"/>
                    <a:pt x="67" y="287"/>
                  </a:cubicBezTo>
                  <a:cubicBezTo>
                    <a:pt x="67" y="287"/>
                    <a:pt x="67" y="287"/>
                    <a:pt x="66" y="288"/>
                  </a:cubicBezTo>
                  <a:cubicBezTo>
                    <a:pt x="66" y="288"/>
                    <a:pt x="66" y="288"/>
                    <a:pt x="66" y="288"/>
                  </a:cubicBezTo>
                  <a:cubicBezTo>
                    <a:pt x="66" y="288"/>
                    <a:pt x="66" y="288"/>
                    <a:pt x="66" y="288"/>
                  </a:cubicBezTo>
                  <a:cubicBezTo>
                    <a:pt x="65" y="289"/>
                    <a:pt x="65" y="289"/>
                    <a:pt x="65" y="289"/>
                  </a:cubicBezTo>
                  <a:cubicBezTo>
                    <a:pt x="64" y="289"/>
                    <a:pt x="64" y="289"/>
                    <a:pt x="64" y="289"/>
                  </a:cubicBezTo>
                  <a:cubicBezTo>
                    <a:pt x="63" y="290"/>
                    <a:pt x="63" y="290"/>
                    <a:pt x="62" y="290"/>
                  </a:cubicBezTo>
                  <a:cubicBezTo>
                    <a:pt x="61" y="290"/>
                    <a:pt x="61" y="290"/>
                    <a:pt x="60" y="290"/>
                  </a:cubicBezTo>
                  <a:cubicBezTo>
                    <a:pt x="59" y="289"/>
                    <a:pt x="58" y="289"/>
                    <a:pt x="56" y="288"/>
                  </a:cubicBezTo>
                  <a:cubicBezTo>
                    <a:pt x="56" y="287"/>
                    <a:pt x="55" y="287"/>
                    <a:pt x="55" y="287"/>
                  </a:cubicBezTo>
                  <a:cubicBezTo>
                    <a:pt x="55" y="286"/>
                    <a:pt x="55" y="286"/>
                    <a:pt x="55" y="286"/>
                  </a:cubicBezTo>
                  <a:cubicBezTo>
                    <a:pt x="55" y="286"/>
                    <a:pt x="55" y="286"/>
                    <a:pt x="55" y="286"/>
                  </a:cubicBezTo>
                  <a:cubicBezTo>
                    <a:pt x="53" y="287"/>
                    <a:pt x="53" y="287"/>
                    <a:pt x="53" y="287"/>
                  </a:cubicBezTo>
                  <a:cubicBezTo>
                    <a:pt x="51" y="287"/>
                    <a:pt x="49" y="288"/>
                    <a:pt x="48" y="288"/>
                  </a:cubicBezTo>
                  <a:cubicBezTo>
                    <a:pt x="48" y="289"/>
                    <a:pt x="48" y="289"/>
                    <a:pt x="48" y="289"/>
                  </a:cubicBezTo>
                  <a:cubicBezTo>
                    <a:pt x="46" y="291"/>
                    <a:pt x="46" y="291"/>
                    <a:pt x="46" y="291"/>
                  </a:cubicBezTo>
                  <a:cubicBezTo>
                    <a:pt x="46" y="291"/>
                    <a:pt x="46" y="291"/>
                    <a:pt x="46" y="291"/>
                  </a:cubicBezTo>
                  <a:cubicBezTo>
                    <a:pt x="44" y="292"/>
                    <a:pt x="43" y="292"/>
                    <a:pt x="42" y="292"/>
                  </a:cubicBezTo>
                  <a:cubicBezTo>
                    <a:pt x="41" y="292"/>
                    <a:pt x="41" y="292"/>
                    <a:pt x="40" y="292"/>
                  </a:cubicBezTo>
                  <a:cubicBezTo>
                    <a:pt x="39" y="292"/>
                    <a:pt x="38" y="292"/>
                    <a:pt x="37" y="291"/>
                  </a:cubicBezTo>
                  <a:cubicBezTo>
                    <a:pt x="36" y="291"/>
                    <a:pt x="36" y="291"/>
                    <a:pt x="35" y="291"/>
                  </a:cubicBezTo>
                  <a:cubicBezTo>
                    <a:pt x="28" y="290"/>
                    <a:pt x="28" y="290"/>
                    <a:pt x="28" y="290"/>
                  </a:cubicBezTo>
                  <a:cubicBezTo>
                    <a:pt x="24" y="290"/>
                    <a:pt x="20" y="289"/>
                    <a:pt x="17" y="289"/>
                  </a:cubicBezTo>
                  <a:cubicBezTo>
                    <a:pt x="17" y="290"/>
                    <a:pt x="17" y="291"/>
                    <a:pt x="16" y="293"/>
                  </a:cubicBezTo>
                  <a:cubicBezTo>
                    <a:pt x="16" y="293"/>
                    <a:pt x="16" y="293"/>
                    <a:pt x="16" y="293"/>
                  </a:cubicBezTo>
                  <a:cubicBezTo>
                    <a:pt x="16" y="294"/>
                    <a:pt x="16" y="294"/>
                    <a:pt x="16" y="295"/>
                  </a:cubicBezTo>
                  <a:cubicBezTo>
                    <a:pt x="16" y="296"/>
                    <a:pt x="16" y="296"/>
                    <a:pt x="16" y="296"/>
                  </a:cubicBezTo>
                  <a:cubicBezTo>
                    <a:pt x="15" y="296"/>
                    <a:pt x="14" y="297"/>
                    <a:pt x="14" y="297"/>
                  </a:cubicBezTo>
                  <a:cubicBezTo>
                    <a:pt x="13" y="297"/>
                    <a:pt x="12" y="297"/>
                    <a:pt x="11" y="297"/>
                  </a:cubicBezTo>
                  <a:cubicBezTo>
                    <a:pt x="11" y="297"/>
                    <a:pt x="11" y="297"/>
                    <a:pt x="11" y="297"/>
                  </a:cubicBezTo>
                  <a:cubicBezTo>
                    <a:pt x="11" y="297"/>
                    <a:pt x="10" y="297"/>
                    <a:pt x="10" y="297"/>
                  </a:cubicBezTo>
                  <a:cubicBezTo>
                    <a:pt x="9" y="297"/>
                    <a:pt x="9" y="297"/>
                    <a:pt x="9" y="297"/>
                  </a:cubicBezTo>
                  <a:cubicBezTo>
                    <a:pt x="0" y="304"/>
                    <a:pt x="0" y="304"/>
                    <a:pt x="0" y="304"/>
                  </a:cubicBezTo>
                  <a:cubicBezTo>
                    <a:pt x="1" y="304"/>
                    <a:pt x="1" y="304"/>
                    <a:pt x="2" y="304"/>
                  </a:cubicBezTo>
                  <a:cubicBezTo>
                    <a:pt x="3" y="304"/>
                    <a:pt x="4" y="303"/>
                    <a:pt x="4" y="302"/>
                  </a:cubicBezTo>
                  <a:cubicBezTo>
                    <a:pt x="7" y="300"/>
                    <a:pt x="11" y="299"/>
                    <a:pt x="14" y="297"/>
                  </a:cubicBezTo>
                  <a:cubicBezTo>
                    <a:pt x="14" y="297"/>
                    <a:pt x="14" y="297"/>
                    <a:pt x="14" y="297"/>
                  </a:cubicBezTo>
                  <a:cubicBezTo>
                    <a:pt x="14" y="297"/>
                    <a:pt x="14" y="297"/>
                    <a:pt x="14" y="297"/>
                  </a:cubicBezTo>
                  <a:cubicBezTo>
                    <a:pt x="13" y="298"/>
                    <a:pt x="11" y="299"/>
                    <a:pt x="10" y="300"/>
                  </a:cubicBezTo>
                  <a:cubicBezTo>
                    <a:pt x="9" y="301"/>
                    <a:pt x="8" y="303"/>
                    <a:pt x="7" y="303"/>
                  </a:cubicBezTo>
                  <a:cubicBezTo>
                    <a:pt x="7" y="303"/>
                    <a:pt x="6" y="303"/>
                    <a:pt x="6" y="303"/>
                  </a:cubicBezTo>
                  <a:cubicBezTo>
                    <a:pt x="7" y="303"/>
                    <a:pt x="7" y="303"/>
                    <a:pt x="7" y="303"/>
                  </a:cubicBezTo>
                  <a:cubicBezTo>
                    <a:pt x="7" y="304"/>
                    <a:pt x="7" y="304"/>
                    <a:pt x="7" y="304"/>
                  </a:cubicBezTo>
                  <a:cubicBezTo>
                    <a:pt x="8" y="307"/>
                    <a:pt x="9" y="309"/>
                    <a:pt x="10" y="311"/>
                  </a:cubicBezTo>
                  <a:cubicBezTo>
                    <a:pt x="11" y="313"/>
                    <a:pt x="12" y="314"/>
                    <a:pt x="14" y="316"/>
                  </a:cubicBezTo>
                  <a:cubicBezTo>
                    <a:pt x="15" y="316"/>
                    <a:pt x="15" y="317"/>
                    <a:pt x="16" y="318"/>
                  </a:cubicBezTo>
                  <a:cubicBezTo>
                    <a:pt x="17" y="318"/>
                    <a:pt x="18" y="319"/>
                    <a:pt x="19" y="319"/>
                  </a:cubicBezTo>
                  <a:cubicBezTo>
                    <a:pt x="21" y="320"/>
                    <a:pt x="23" y="321"/>
                    <a:pt x="26" y="322"/>
                  </a:cubicBezTo>
                  <a:cubicBezTo>
                    <a:pt x="26" y="322"/>
                    <a:pt x="27" y="323"/>
                    <a:pt x="28" y="323"/>
                  </a:cubicBezTo>
                  <a:cubicBezTo>
                    <a:pt x="29" y="323"/>
                    <a:pt x="31" y="324"/>
                    <a:pt x="33" y="324"/>
                  </a:cubicBezTo>
                  <a:cubicBezTo>
                    <a:pt x="33" y="325"/>
                    <a:pt x="34" y="325"/>
                    <a:pt x="35" y="325"/>
                  </a:cubicBezTo>
                  <a:cubicBezTo>
                    <a:pt x="36" y="325"/>
                    <a:pt x="36" y="325"/>
                    <a:pt x="36" y="325"/>
                  </a:cubicBezTo>
                  <a:cubicBezTo>
                    <a:pt x="38" y="324"/>
                    <a:pt x="39" y="322"/>
                    <a:pt x="41" y="321"/>
                  </a:cubicBezTo>
                  <a:cubicBezTo>
                    <a:pt x="43" y="321"/>
                    <a:pt x="46" y="321"/>
                    <a:pt x="46" y="319"/>
                  </a:cubicBezTo>
                  <a:cubicBezTo>
                    <a:pt x="47" y="320"/>
                    <a:pt x="47" y="320"/>
                    <a:pt x="47" y="320"/>
                  </a:cubicBezTo>
                  <a:cubicBezTo>
                    <a:pt x="48" y="320"/>
                    <a:pt x="49" y="320"/>
                    <a:pt x="51" y="320"/>
                  </a:cubicBezTo>
                  <a:cubicBezTo>
                    <a:pt x="51" y="320"/>
                    <a:pt x="52" y="320"/>
                    <a:pt x="52" y="320"/>
                  </a:cubicBezTo>
                  <a:cubicBezTo>
                    <a:pt x="53" y="319"/>
                    <a:pt x="53" y="316"/>
                    <a:pt x="55" y="315"/>
                  </a:cubicBezTo>
                  <a:cubicBezTo>
                    <a:pt x="53" y="318"/>
                    <a:pt x="52" y="322"/>
                    <a:pt x="50" y="325"/>
                  </a:cubicBezTo>
                  <a:cubicBezTo>
                    <a:pt x="49" y="327"/>
                    <a:pt x="48" y="329"/>
                    <a:pt x="46" y="330"/>
                  </a:cubicBezTo>
                  <a:cubicBezTo>
                    <a:pt x="46" y="330"/>
                    <a:pt x="45" y="330"/>
                    <a:pt x="45" y="331"/>
                  </a:cubicBezTo>
                  <a:cubicBezTo>
                    <a:pt x="41" y="332"/>
                    <a:pt x="36" y="333"/>
                    <a:pt x="33" y="334"/>
                  </a:cubicBezTo>
                  <a:cubicBezTo>
                    <a:pt x="33" y="334"/>
                    <a:pt x="32" y="334"/>
                    <a:pt x="32" y="334"/>
                  </a:cubicBezTo>
                  <a:cubicBezTo>
                    <a:pt x="30" y="335"/>
                    <a:pt x="27" y="336"/>
                    <a:pt x="25" y="336"/>
                  </a:cubicBezTo>
                  <a:cubicBezTo>
                    <a:pt x="23" y="336"/>
                    <a:pt x="22" y="335"/>
                    <a:pt x="24" y="333"/>
                  </a:cubicBezTo>
                  <a:cubicBezTo>
                    <a:pt x="24" y="333"/>
                    <a:pt x="24" y="333"/>
                    <a:pt x="24" y="333"/>
                  </a:cubicBezTo>
                  <a:cubicBezTo>
                    <a:pt x="23" y="333"/>
                    <a:pt x="22" y="333"/>
                    <a:pt x="21" y="333"/>
                  </a:cubicBezTo>
                  <a:cubicBezTo>
                    <a:pt x="18" y="333"/>
                    <a:pt x="18" y="335"/>
                    <a:pt x="19" y="337"/>
                  </a:cubicBezTo>
                  <a:cubicBezTo>
                    <a:pt x="20" y="338"/>
                    <a:pt x="20" y="339"/>
                    <a:pt x="21" y="339"/>
                  </a:cubicBezTo>
                  <a:cubicBezTo>
                    <a:pt x="22" y="340"/>
                    <a:pt x="22" y="342"/>
                    <a:pt x="23" y="343"/>
                  </a:cubicBezTo>
                  <a:cubicBezTo>
                    <a:pt x="24" y="344"/>
                    <a:pt x="25" y="345"/>
                    <a:pt x="27" y="346"/>
                  </a:cubicBezTo>
                  <a:cubicBezTo>
                    <a:pt x="27" y="346"/>
                    <a:pt x="28" y="347"/>
                    <a:pt x="28" y="347"/>
                  </a:cubicBezTo>
                  <a:cubicBezTo>
                    <a:pt x="30" y="348"/>
                    <a:pt x="31" y="350"/>
                    <a:pt x="33" y="351"/>
                  </a:cubicBezTo>
                  <a:cubicBezTo>
                    <a:pt x="35" y="353"/>
                    <a:pt x="36" y="354"/>
                    <a:pt x="38" y="356"/>
                  </a:cubicBezTo>
                  <a:cubicBezTo>
                    <a:pt x="39" y="357"/>
                    <a:pt x="40" y="358"/>
                    <a:pt x="41" y="360"/>
                  </a:cubicBezTo>
                  <a:cubicBezTo>
                    <a:pt x="42" y="361"/>
                    <a:pt x="42" y="361"/>
                    <a:pt x="42" y="361"/>
                  </a:cubicBezTo>
                  <a:cubicBezTo>
                    <a:pt x="43" y="362"/>
                    <a:pt x="45" y="364"/>
                    <a:pt x="46" y="365"/>
                  </a:cubicBezTo>
                  <a:cubicBezTo>
                    <a:pt x="48" y="367"/>
                    <a:pt x="49" y="369"/>
                    <a:pt x="51" y="370"/>
                  </a:cubicBezTo>
                  <a:cubicBezTo>
                    <a:pt x="53" y="371"/>
                    <a:pt x="54" y="372"/>
                    <a:pt x="56" y="372"/>
                  </a:cubicBezTo>
                  <a:cubicBezTo>
                    <a:pt x="56" y="373"/>
                    <a:pt x="57" y="373"/>
                    <a:pt x="57" y="373"/>
                  </a:cubicBezTo>
                  <a:cubicBezTo>
                    <a:pt x="59" y="373"/>
                    <a:pt x="62" y="374"/>
                    <a:pt x="65" y="374"/>
                  </a:cubicBezTo>
                  <a:cubicBezTo>
                    <a:pt x="65" y="375"/>
                    <a:pt x="65" y="375"/>
                    <a:pt x="65" y="375"/>
                  </a:cubicBezTo>
                  <a:cubicBezTo>
                    <a:pt x="66" y="375"/>
                    <a:pt x="66" y="375"/>
                    <a:pt x="66" y="374"/>
                  </a:cubicBezTo>
                  <a:cubicBezTo>
                    <a:pt x="70" y="373"/>
                    <a:pt x="73" y="371"/>
                    <a:pt x="77" y="370"/>
                  </a:cubicBezTo>
                  <a:cubicBezTo>
                    <a:pt x="78" y="370"/>
                    <a:pt x="78" y="369"/>
                    <a:pt x="79" y="369"/>
                  </a:cubicBezTo>
                  <a:cubicBezTo>
                    <a:pt x="84" y="367"/>
                    <a:pt x="90" y="365"/>
                    <a:pt x="93" y="362"/>
                  </a:cubicBezTo>
                  <a:cubicBezTo>
                    <a:pt x="94" y="360"/>
                    <a:pt x="95" y="357"/>
                    <a:pt x="96" y="354"/>
                  </a:cubicBezTo>
                  <a:cubicBezTo>
                    <a:pt x="97" y="352"/>
                    <a:pt x="97" y="352"/>
                    <a:pt x="97" y="352"/>
                  </a:cubicBezTo>
                  <a:cubicBezTo>
                    <a:pt x="96" y="351"/>
                    <a:pt x="96" y="351"/>
                    <a:pt x="96" y="351"/>
                  </a:cubicBezTo>
                  <a:cubicBezTo>
                    <a:pt x="95" y="349"/>
                    <a:pt x="93" y="349"/>
                    <a:pt x="91" y="348"/>
                  </a:cubicBezTo>
                  <a:cubicBezTo>
                    <a:pt x="91" y="347"/>
                    <a:pt x="91" y="347"/>
                    <a:pt x="90" y="347"/>
                  </a:cubicBezTo>
                  <a:cubicBezTo>
                    <a:pt x="91" y="346"/>
                    <a:pt x="91" y="346"/>
                    <a:pt x="92" y="346"/>
                  </a:cubicBezTo>
                  <a:cubicBezTo>
                    <a:pt x="92" y="346"/>
                    <a:pt x="93" y="346"/>
                    <a:pt x="93" y="346"/>
                  </a:cubicBezTo>
                  <a:cubicBezTo>
                    <a:pt x="93" y="346"/>
                    <a:pt x="93" y="346"/>
                    <a:pt x="94" y="346"/>
                  </a:cubicBezTo>
                  <a:cubicBezTo>
                    <a:pt x="94" y="346"/>
                    <a:pt x="94" y="346"/>
                    <a:pt x="94" y="346"/>
                  </a:cubicBezTo>
                  <a:cubicBezTo>
                    <a:pt x="93" y="345"/>
                    <a:pt x="93" y="345"/>
                    <a:pt x="92" y="344"/>
                  </a:cubicBezTo>
                  <a:cubicBezTo>
                    <a:pt x="94" y="343"/>
                    <a:pt x="99" y="341"/>
                    <a:pt x="98" y="338"/>
                  </a:cubicBezTo>
                  <a:cubicBezTo>
                    <a:pt x="97" y="337"/>
                    <a:pt x="95" y="337"/>
                    <a:pt x="94" y="336"/>
                  </a:cubicBezTo>
                  <a:cubicBezTo>
                    <a:pt x="94" y="336"/>
                    <a:pt x="94" y="336"/>
                    <a:pt x="94" y="336"/>
                  </a:cubicBezTo>
                  <a:cubicBezTo>
                    <a:pt x="94" y="336"/>
                    <a:pt x="94" y="336"/>
                    <a:pt x="94" y="336"/>
                  </a:cubicBezTo>
                  <a:cubicBezTo>
                    <a:pt x="94" y="336"/>
                    <a:pt x="95" y="336"/>
                    <a:pt x="96" y="336"/>
                  </a:cubicBezTo>
                  <a:cubicBezTo>
                    <a:pt x="98" y="336"/>
                    <a:pt x="101" y="336"/>
                    <a:pt x="103" y="336"/>
                  </a:cubicBezTo>
                  <a:cubicBezTo>
                    <a:pt x="106" y="336"/>
                    <a:pt x="109" y="336"/>
                    <a:pt x="111" y="337"/>
                  </a:cubicBezTo>
                  <a:cubicBezTo>
                    <a:pt x="112" y="337"/>
                    <a:pt x="112" y="337"/>
                    <a:pt x="112" y="337"/>
                  </a:cubicBezTo>
                  <a:cubicBezTo>
                    <a:pt x="113" y="337"/>
                    <a:pt x="112" y="337"/>
                    <a:pt x="111" y="337"/>
                  </a:cubicBezTo>
                  <a:cubicBezTo>
                    <a:pt x="111" y="337"/>
                    <a:pt x="110" y="337"/>
                    <a:pt x="110" y="337"/>
                  </a:cubicBezTo>
                  <a:cubicBezTo>
                    <a:pt x="110" y="337"/>
                    <a:pt x="110" y="337"/>
                    <a:pt x="110" y="337"/>
                  </a:cubicBezTo>
                  <a:cubicBezTo>
                    <a:pt x="107" y="338"/>
                    <a:pt x="103" y="339"/>
                    <a:pt x="102" y="341"/>
                  </a:cubicBezTo>
                  <a:cubicBezTo>
                    <a:pt x="102" y="342"/>
                    <a:pt x="102" y="344"/>
                    <a:pt x="102" y="346"/>
                  </a:cubicBezTo>
                  <a:cubicBezTo>
                    <a:pt x="102" y="348"/>
                    <a:pt x="102" y="350"/>
                    <a:pt x="103" y="351"/>
                  </a:cubicBezTo>
                  <a:cubicBezTo>
                    <a:pt x="103" y="351"/>
                    <a:pt x="105" y="351"/>
                    <a:pt x="106" y="351"/>
                  </a:cubicBezTo>
                  <a:cubicBezTo>
                    <a:pt x="106" y="351"/>
                    <a:pt x="106" y="351"/>
                    <a:pt x="106" y="351"/>
                  </a:cubicBezTo>
                  <a:cubicBezTo>
                    <a:pt x="109" y="351"/>
                    <a:pt x="114" y="350"/>
                    <a:pt x="117" y="349"/>
                  </a:cubicBezTo>
                  <a:cubicBezTo>
                    <a:pt x="112" y="352"/>
                    <a:pt x="107" y="352"/>
                    <a:pt x="104" y="358"/>
                  </a:cubicBezTo>
                  <a:cubicBezTo>
                    <a:pt x="105" y="357"/>
                    <a:pt x="106" y="356"/>
                    <a:pt x="107" y="356"/>
                  </a:cubicBezTo>
                  <a:cubicBezTo>
                    <a:pt x="104" y="358"/>
                    <a:pt x="103" y="359"/>
                    <a:pt x="104" y="362"/>
                  </a:cubicBezTo>
                  <a:cubicBezTo>
                    <a:pt x="104" y="363"/>
                    <a:pt x="104" y="364"/>
                    <a:pt x="105" y="365"/>
                  </a:cubicBezTo>
                  <a:cubicBezTo>
                    <a:pt x="105" y="365"/>
                    <a:pt x="105" y="366"/>
                    <a:pt x="105" y="366"/>
                  </a:cubicBezTo>
                  <a:cubicBezTo>
                    <a:pt x="105" y="366"/>
                    <a:pt x="106" y="365"/>
                    <a:pt x="106" y="364"/>
                  </a:cubicBezTo>
                  <a:cubicBezTo>
                    <a:pt x="106" y="365"/>
                    <a:pt x="106" y="365"/>
                    <a:pt x="107" y="365"/>
                  </a:cubicBezTo>
                  <a:cubicBezTo>
                    <a:pt x="107" y="365"/>
                    <a:pt x="107" y="365"/>
                    <a:pt x="107" y="365"/>
                  </a:cubicBezTo>
                  <a:cubicBezTo>
                    <a:pt x="108" y="366"/>
                    <a:pt x="108" y="366"/>
                    <a:pt x="109" y="367"/>
                  </a:cubicBezTo>
                  <a:cubicBezTo>
                    <a:pt x="110" y="368"/>
                    <a:pt x="111" y="368"/>
                    <a:pt x="111" y="369"/>
                  </a:cubicBezTo>
                  <a:cubicBezTo>
                    <a:pt x="111" y="371"/>
                    <a:pt x="111" y="372"/>
                    <a:pt x="110" y="374"/>
                  </a:cubicBezTo>
                  <a:cubicBezTo>
                    <a:pt x="110" y="376"/>
                    <a:pt x="110" y="378"/>
                    <a:pt x="110" y="380"/>
                  </a:cubicBezTo>
                  <a:cubicBezTo>
                    <a:pt x="109" y="382"/>
                    <a:pt x="109" y="384"/>
                    <a:pt x="108" y="386"/>
                  </a:cubicBezTo>
                  <a:cubicBezTo>
                    <a:pt x="108" y="387"/>
                    <a:pt x="107" y="387"/>
                    <a:pt x="107" y="388"/>
                  </a:cubicBezTo>
                  <a:cubicBezTo>
                    <a:pt x="107" y="390"/>
                    <a:pt x="106" y="393"/>
                    <a:pt x="106" y="395"/>
                  </a:cubicBezTo>
                  <a:cubicBezTo>
                    <a:pt x="106" y="396"/>
                    <a:pt x="106" y="396"/>
                    <a:pt x="106" y="397"/>
                  </a:cubicBezTo>
                  <a:cubicBezTo>
                    <a:pt x="106" y="398"/>
                    <a:pt x="106" y="399"/>
                    <a:pt x="107" y="400"/>
                  </a:cubicBezTo>
                  <a:cubicBezTo>
                    <a:pt x="107" y="403"/>
                    <a:pt x="107" y="403"/>
                    <a:pt x="109" y="403"/>
                  </a:cubicBezTo>
                  <a:cubicBezTo>
                    <a:pt x="109" y="404"/>
                    <a:pt x="110" y="404"/>
                    <a:pt x="111" y="404"/>
                  </a:cubicBezTo>
                  <a:cubicBezTo>
                    <a:pt x="108" y="405"/>
                    <a:pt x="106" y="407"/>
                    <a:pt x="110" y="409"/>
                  </a:cubicBezTo>
                  <a:cubicBezTo>
                    <a:pt x="108" y="409"/>
                    <a:pt x="108" y="410"/>
                    <a:pt x="108" y="411"/>
                  </a:cubicBezTo>
                  <a:cubicBezTo>
                    <a:pt x="109" y="411"/>
                    <a:pt x="109" y="411"/>
                    <a:pt x="110" y="411"/>
                  </a:cubicBezTo>
                  <a:cubicBezTo>
                    <a:pt x="110" y="411"/>
                    <a:pt x="110" y="411"/>
                    <a:pt x="110" y="411"/>
                  </a:cubicBezTo>
                  <a:cubicBezTo>
                    <a:pt x="113" y="411"/>
                    <a:pt x="115" y="413"/>
                    <a:pt x="115" y="415"/>
                  </a:cubicBezTo>
                  <a:cubicBezTo>
                    <a:pt x="116" y="416"/>
                    <a:pt x="116" y="416"/>
                    <a:pt x="116" y="417"/>
                  </a:cubicBezTo>
                  <a:cubicBezTo>
                    <a:pt x="116" y="420"/>
                    <a:pt x="114" y="423"/>
                    <a:pt x="110" y="423"/>
                  </a:cubicBezTo>
                  <a:cubicBezTo>
                    <a:pt x="111" y="425"/>
                    <a:pt x="112" y="426"/>
                    <a:pt x="112" y="427"/>
                  </a:cubicBezTo>
                  <a:cubicBezTo>
                    <a:pt x="113" y="428"/>
                    <a:pt x="113" y="429"/>
                    <a:pt x="113" y="429"/>
                  </a:cubicBezTo>
                  <a:cubicBezTo>
                    <a:pt x="113" y="429"/>
                    <a:pt x="112" y="428"/>
                    <a:pt x="112" y="428"/>
                  </a:cubicBezTo>
                  <a:cubicBezTo>
                    <a:pt x="112" y="428"/>
                    <a:pt x="111" y="428"/>
                    <a:pt x="111" y="429"/>
                  </a:cubicBezTo>
                  <a:cubicBezTo>
                    <a:pt x="111" y="430"/>
                    <a:pt x="113" y="432"/>
                    <a:pt x="114" y="433"/>
                  </a:cubicBezTo>
                  <a:cubicBezTo>
                    <a:pt x="114" y="433"/>
                    <a:pt x="114" y="434"/>
                    <a:pt x="114" y="434"/>
                  </a:cubicBezTo>
                  <a:cubicBezTo>
                    <a:pt x="115" y="435"/>
                    <a:pt x="115" y="435"/>
                    <a:pt x="114" y="435"/>
                  </a:cubicBezTo>
                  <a:cubicBezTo>
                    <a:pt x="114" y="435"/>
                    <a:pt x="114" y="435"/>
                    <a:pt x="114" y="435"/>
                  </a:cubicBezTo>
                  <a:cubicBezTo>
                    <a:pt x="113" y="435"/>
                    <a:pt x="113" y="435"/>
                    <a:pt x="112" y="434"/>
                  </a:cubicBezTo>
                  <a:cubicBezTo>
                    <a:pt x="112" y="435"/>
                    <a:pt x="112" y="435"/>
                    <a:pt x="113" y="436"/>
                  </a:cubicBezTo>
                  <a:cubicBezTo>
                    <a:pt x="113" y="439"/>
                    <a:pt x="113" y="441"/>
                    <a:pt x="114" y="444"/>
                  </a:cubicBezTo>
                  <a:cubicBezTo>
                    <a:pt x="115" y="446"/>
                    <a:pt x="115" y="448"/>
                    <a:pt x="116" y="450"/>
                  </a:cubicBezTo>
                  <a:cubicBezTo>
                    <a:pt x="116" y="451"/>
                    <a:pt x="116" y="451"/>
                    <a:pt x="116" y="451"/>
                  </a:cubicBezTo>
                  <a:cubicBezTo>
                    <a:pt x="117" y="453"/>
                    <a:pt x="117" y="456"/>
                    <a:pt x="118" y="458"/>
                  </a:cubicBezTo>
                  <a:cubicBezTo>
                    <a:pt x="118" y="461"/>
                    <a:pt x="119" y="463"/>
                    <a:pt x="119" y="466"/>
                  </a:cubicBezTo>
                  <a:cubicBezTo>
                    <a:pt x="120" y="468"/>
                    <a:pt x="120" y="471"/>
                    <a:pt x="121" y="473"/>
                  </a:cubicBezTo>
                  <a:cubicBezTo>
                    <a:pt x="121" y="473"/>
                    <a:pt x="121" y="473"/>
                    <a:pt x="121" y="473"/>
                  </a:cubicBezTo>
                  <a:cubicBezTo>
                    <a:pt x="121" y="475"/>
                    <a:pt x="122" y="478"/>
                    <a:pt x="122" y="481"/>
                  </a:cubicBezTo>
                  <a:cubicBezTo>
                    <a:pt x="123" y="484"/>
                    <a:pt x="123" y="486"/>
                    <a:pt x="124" y="488"/>
                  </a:cubicBezTo>
                  <a:cubicBezTo>
                    <a:pt x="125" y="489"/>
                    <a:pt x="125" y="489"/>
                    <a:pt x="125" y="489"/>
                  </a:cubicBezTo>
                  <a:cubicBezTo>
                    <a:pt x="126" y="490"/>
                    <a:pt x="127" y="492"/>
                    <a:pt x="128" y="494"/>
                  </a:cubicBezTo>
                  <a:cubicBezTo>
                    <a:pt x="129" y="495"/>
                    <a:pt x="130" y="496"/>
                    <a:pt x="130" y="497"/>
                  </a:cubicBezTo>
                  <a:cubicBezTo>
                    <a:pt x="131" y="497"/>
                    <a:pt x="131" y="498"/>
                    <a:pt x="132" y="499"/>
                  </a:cubicBezTo>
                  <a:cubicBezTo>
                    <a:pt x="133" y="501"/>
                    <a:pt x="135" y="502"/>
                    <a:pt x="136" y="504"/>
                  </a:cubicBezTo>
                  <a:cubicBezTo>
                    <a:pt x="136" y="505"/>
                    <a:pt x="136" y="505"/>
                    <a:pt x="136" y="505"/>
                  </a:cubicBezTo>
                  <a:cubicBezTo>
                    <a:pt x="135" y="504"/>
                    <a:pt x="135" y="504"/>
                    <a:pt x="135" y="504"/>
                  </a:cubicBezTo>
                  <a:cubicBezTo>
                    <a:pt x="134" y="504"/>
                    <a:pt x="133" y="504"/>
                    <a:pt x="132" y="504"/>
                  </a:cubicBezTo>
                  <a:cubicBezTo>
                    <a:pt x="133" y="505"/>
                    <a:pt x="133" y="505"/>
                    <a:pt x="134" y="506"/>
                  </a:cubicBezTo>
                  <a:cubicBezTo>
                    <a:pt x="135" y="508"/>
                    <a:pt x="136" y="510"/>
                    <a:pt x="137" y="512"/>
                  </a:cubicBezTo>
                  <a:cubicBezTo>
                    <a:pt x="137" y="513"/>
                    <a:pt x="137" y="513"/>
                    <a:pt x="137" y="513"/>
                  </a:cubicBezTo>
                  <a:cubicBezTo>
                    <a:pt x="138" y="514"/>
                    <a:pt x="138" y="516"/>
                    <a:pt x="140" y="516"/>
                  </a:cubicBezTo>
                  <a:cubicBezTo>
                    <a:pt x="140" y="516"/>
                    <a:pt x="140" y="516"/>
                    <a:pt x="140" y="516"/>
                  </a:cubicBezTo>
                  <a:cubicBezTo>
                    <a:pt x="140" y="516"/>
                    <a:pt x="140" y="516"/>
                    <a:pt x="141" y="516"/>
                  </a:cubicBezTo>
                  <a:cubicBezTo>
                    <a:pt x="141" y="516"/>
                    <a:pt x="142" y="516"/>
                    <a:pt x="142" y="516"/>
                  </a:cubicBezTo>
                  <a:cubicBezTo>
                    <a:pt x="142" y="516"/>
                    <a:pt x="142" y="516"/>
                    <a:pt x="142" y="516"/>
                  </a:cubicBezTo>
                  <a:cubicBezTo>
                    <a:pt x="142" y="517"/>
                    <a:pt x="142" y="517"/>
                    <a:pt x="141" y="517"/>
                  </a:cubicBezTo>
                  <a:cubicBezTo>
                    <a:pt x="140" y="517"/>
                    <a:pt x="140" y="518"/>
                    <a:pt x="139" y="518"/>
                  </a:cubicBezTo>
                  <a:cubicBezTo>
                    <a:pt x="140" y="518"/>
                    <a:pt x="140" y="518"/>
                    <a:pt x="140" y="518"/>
                  </a:cubicBezTo>
                  <a:cubicBezTo>
                    <a:pt x="142" y="520"/>
                    <a:pt x="143" y="521"/>
                    <a:pt x="145" y="523"/>
                  </a:cubicBezTo>
                  <a:cubicBezTo>
                    <a:pt x="145" y="523"/>
                    <a:pt x="146" y="524"/>
                    <a:pt x="146" y="525"/>
                  </a:cubicBezTo>
                  <a:cubicBezTo>
                    <a:pt x="147" y="526"/>
                    <a:pt x="147" y="527"/>
                    <a:pt x="148" y="529"/>
                  </a:cubicBezTo>
                  <a:cubicBezTo>
                    <a:pt x="148" y="531"/>
                    <a:pt x="149" y="534"/>
                    <a:pt x="149" y="536"/>
                  </a:cubicBezTo>
                  <a:cubicBezTo>
                    <a:pt x="149" y="537"/>
                    <a:pt x="150" y="538"/>
                    <a:pt x="150" y="539"/>
                  </a:cubicBezTo>
                  <a:cubicBezTo>
                    <a:pt x="151" y="540"/>
                    <a:pt x="151" y="542"/>
                    <a:pt x="152" y="543"/>
                  </a:cubicBezTo>
                  <a:cubicBezTo>
                    <a:pt x="152" y="545"/>
                    <a:pt x="153" y="547"/>
                    <a:pt x="154" y="550"/>
                  </a:cubicBezTo>
                  <a:cubicBezTo>
                    <a:pt x="155" y="552"/>
                    <a:pt x="156" y="554"/>
                    <a:pt x="156" y="557"/>
                  </a:cubicBezTo>
                  <a:cubicBezTo>
                    <a:pt x="157" y="558"/>
                    <a:pt x="157" y="559"/>
                    <a:pt x="158" y="560"/>
                  </a:cubicBezTo>
                  <a:cubicBezTo>
                    <a:pt x="158" y="562"/>
                    <a:pt x="158" y="563"/>
                    <a:pt x="157" y="565"/>
                  </a:cubicBezTo>
                  <a:cubicBezTo>
                    <a:pt x="157" y="566"/>
                    <a:pt x="157" y="567"/>
                    <a:pt x="157" y="567"/>
                  </a:cubicBezTo>
                  <a:cubicBezTo>
                    <a:pt x="158" y="569"/>
                    <a:pt x="159" y="570"/>
                    <a:pt x="159" y="572"/>
                  </a:cubicBezTo>
                  <a:cubicBezTo>
                    <a:pt x="160" y="573"/>
                    <a:pt x="161" y="575"/>
                    <a:pt x="162" y="576"/>
                  </a:cubicBezTo>
                  <a:cubicBezTo>
                    <a:pt x="162" y="577"/>
                    <a:pt x="162" y="577"/>
                    <a:pt x="163" y="578"/>
                  </a:cubicBezTo>
                  <a:cubicBezTo>
                    <a:pt x="164" y="580"/>
                    <a:pt x="165" y="581"/>
                    <a:pt x="166" y="583"/>
                  </a:cubicBezTo>
                  <a:cubicBezTo>
                    <a:pt x="167" y="585"/>
                    <a:pt x="169" y="587"/>
                    <a:pt x="170" y="589"/>
                  </a:cubicBezTo>
                  <a:cubicBezTo>
                    <a:pt x="171" y="590"/>
                    <a:pt x="172" y="592"/>
                    <a:pt x="174" y="594"/>
                  </a:cubicBezTo>
                  <a:cubicBezTo>
                    <a:pt x="174" y="594"/>
                    <a:pt x="174" y="594"/>
                    <a:pt x="174" y="594"/>
                  </a:cubicBezTo>
                  <a:cubicBezTo>
                    <a:pt x="175" y="596"/>
                    <a:pt x="176" y="598"/>
                    <a:pt x="177" y="600"/>
                  </a:cubicBezTo>
                  <a:cubicBezTo>
                    <a:pt x="178" y="602"/>
                    <a:pt x="179" y="604"/>
                    <a:pt x="180" y="606"/>
                  </a:cubicBezTo>
                  <a:cubicBezTo>
                    <a:pt x="180" y="608"/>
                    <a:pt x="181" y="609"/>
                    <a:pt x="181" y="610"/>
                  </a:cubicBezTo>
                  <a:cubicBezTo>
                    <a:pt x="182" y="611"/>
                    <a:pt x="182" y="612"/>
                    <a:pt x="182" y="613"/>
                  </a:cubicBezTo>
                  <a:cubicBezTo>
                    <a:pt x="183" y="615"/>
                    <a:pt x="184" y="617"/>
                    <a:pt x="185" y="620"/>
                  </a:cubicBezTo>
                  <a:cubicBezTo>
                    <a:pt x="185" y="622"/>
                    <a:pt x="186" y="624"/>
                    <a:pt x="187" y="626"/>
                  </a:cubicBezTo>
                  <a:cubicBezTo>
                    <a:pt x="188" y="626"/>
                    <a:pt x="188" y="627"/>
                    <a:pt x="188" y="628"/>
                  </a:cubicBezTo>
                  <a:cubicBezTo>
                    <a:pt x="189" y="628"/>
                    <a:pt x="190" y="630"/>
                    <a:pt x="191" y="632"/>
                  </a:cubicBezTo>
                  <a:cubicBezTo>
                    <a:pt x="192" y="634"/>
                    <a:pt x="193" y="636"/>
                    <a:pt x="194" y="638"/>
                  </a:cubicBezTo>
                  <a:cubicBezTo>
                    <a:pt x="195" y="641"/>
                    <a:pt x="196" y="644"/>
                    <a:pt x="194" y="645"/>
                  </a:cubicBezTo>
                  <a:cubicBezTo>
                    <a:pt x="193" y="643"/>
                    <a:pt x="192" y="641"/>
                    <a:pt x="192" y="640"/>
                  </a:cubicBezTo>
                  <a:cubicBezTo>
                    <a:pt x="191" y="638"/>
                    <a:pt x="191" y="637"/>
                    <a:pt x="190" y="636"/>
                  </a:cubicBezTo>
                  <a:cubicBezTo>
                    <a:pt x="191" y="637"/>
                    <a:pt x="191" y="639"/>
                    <a:pt x="191" y="640"/>
                  </a:cubicBezTo>
                  <a:cubicBezTo>
                    <a:pt x="192" y="643"/>
                    <a:pt x="193" y="645"/>
                    <a:pt x="193" y="647"/>
                  </a:cubicBezTo>
                  <a:cubicBezTo>
                    <a:pt x="194" y="648"/>
                    <a:pt x="194" y="649"/>
                    <a:pt x="194" y="650"/>
                  </a:cubicBezTo>
                  <a:cubicBezTo>
                    <a:pt x="195" y="651"/>
                    <a:pt x="195" y="652"/>
                    <a:pt x="196" y="653"/>
                  </a:cubicBezTo>
                  <a:cubicBezTo>
                    <a:pt x="197" y="654"/>
                    <a:pt x="198" y="654"/>
                    <a:pt x="198" y="655"/>
                  </a:cubicBezTo>
                  <a:cubicBezTo>
                    <a:pt x="199" y="655"/>
                    <a:pt x="200" y="656"/>
                    <a:pt x="200" y="657"/>
                  </a:cubicBezTo>
                  <a:cubicBezTo>
                    <a:pt x="198" y="659"/>
                    <a:pt x="198" y="659"/>
                    <a:pt x="198" y="659"/>
                  </a:cubicBezTo>
                  <a:cubicBezTo>
                    <a:pt x="199" y="660"/>
                    <a:pt x="199" y="660"/>
                    <a:pt x="199" y="660"/>
                  </a:cubicBezTo>
                  <a:cubicBezTo>
                    <a:pt x="200" y="661"/>
                    <a:pt x="202" y="663"/>
                    <a:pt x="203" y="665"/>
                  </a:cubicBezTo>
                  <a:cubicBezTo>
                    <a:pt x="205" y="666"/>
                    <a:pt x="206" y="668"/>
                    <a:pt x="207" y="670"/>
                  </a:cubicBezTo>
                  <a:cubicBezTo>
                    <a:pt x="208" y="671"/>
                    <a:pt x="209" y="672"/>
                    <a:pt x="209" y="673"/>
                  </a:cubicBezTo>
                  <a:cubicBezTo>
                    <a:pt x="210" y="673"/>
                    <a:pt x="211" y="674"/>
                    <a:pt x="212" y="675"/>
                  </a:cubicBezTo>
                  <a:cubicBezTo>
                    <a:pt x="214" y="676"/>
                    <a:pt x="216" y="677"/>
                    <a:pt x="218" y="678"/>
                  </a:cubicBezTo>
                  <a:cubicBezTo>
                    <a:pt x="219" y="678"/>
                    <a:pt x="220" y="678"/>
                    <a:pt x="221" y="679"/>
                  </a:cubicBezTo>
                  <a:cubicBezTo>
                    <a:pt x="221" y="676"/>
                    <a:pt x="226" y="674"/>
                    <a:pt x="229" y="673"/>
                  </a:cubicBezTo>
                  <a:cubicBezTo>
                    <a:pt x="232" y="671"/>
                    <a:pt x="234" y="670"/>
                    <a:pt x="234" y="666"/>
                  </a:cubicBezTo>
                  <a:cubicBezTo>
                    <a:pt x="235" y="664"/>
                    <a:pt x="235" y="662"/>
                    <a:pt x="236" y="660"/>
                  </a:cubicBezTo>
                  <a:cubicBezTo>
                    <a:pt x="237" y="657"/>
                    <a:pt x="238" y="655"/>
                    <a:pt x="241" y="654"/>
                  </a:cubicBezTo>
                  <a:cubicBezTo>
                    <a:pt x="241" y="654"/>
                    <a:pt x="241" y="654"/>
                    <a:pt x="241" y="654"/>
                  </a:cubicBezTo>
                  <a:cubicBezTo>
                    <a:pt x="244" y="653"/>
                    <a:pt x="248" y="651"/>
                    <a:pt x="251" y="651"/>
                  </a:cubicBezTo>
                  <a:cubicBezTo>
                    <a:pt x="251" y="651"/>
                    <a:pt x="252" y="651"/>
                    <a:pt x="252" y="651"/>
                  </a:cubicBezTo>
                  <a:cubicBezTo>
                    <a:pt x="253" y="651"/>
                    <a:pt x="253" y="651"/>
                    <a:pt x="253" y="651"/>
                  </a:cubicBezTo>
                  <a:cubicBezTo>
                    <a:pt x="256" y="651"/>
                    <a:pt x="259" y="652"/>
                    <a:pt x="261" y="652"/>
                  </a:cubicBezTo>
                  <a:cubicBezTo>
                    <a:pt x="263" y="653"/>
                    <a:pt x="264" y="653"/>
                    <a:pt x="265" y="653"/>
                  </a:cubicBezTo>
                  <a:cubicBezTo>
                    <a:pt x="264" y="652"/>
                    <a:pt x="264" y="651"/>
                    <a:pt x="263" y="651"/>
                  </a:cubicBezTo>
                  <a:cubicBezTo>
                    <a:pt x="262" y="650"/>
                    <a:pt x="261" y="650"/>
                    <a:pt x="260" y="650"/>
                  </a:cubicBezTo>
                  <a:cubicBezTo>
                    <a:pt x="259" y="650"/>
                    <a:pt x="259" y="650"/>
                    <a:pt x="259" y="650"/>
                  </a:cubicBezTo>
                  <a:cubicBezTo>
                    <a:pt x="259" y="650"/>
                    <a:pt x="259" y="650"/>
                    <a:pt x="259" y="650"/>
                  </a:cubicBezTo>
                  <a:cubicBezTo>
                    <a:pt x="259" y="650"/>
                    <a:pt x="259" y="650"/>
                    <a:pt x="258" y="650"/>
                  </a:cubicBezTo>
                  <a:cubicBezTo>
                    <a:pt x="258" y="650"/>
                    <a:pt x="257" y="650"/>
                    <a:pt x="256" y="650"/>
                  </a:cubicBezTo>
                  <a:cubicBezTo>
                    <a:pt x="256" y="649"/>
                    <a:pt x="256" y="649"/>
                    <a:pt x="255" y="649"/>
                  </a:cubicBezTo>
                  <a:cubicBezTo>
                    <a:pt x="254" y="648"/>
                    <a:pt x="253" y="646"/>
                    <a:pt x="253" y="645"/>
                  </a:cubicBezTo>
                  <a:cubicBezTo>
                    <a:pt x="254" y="643"/>
                    <a:pt x="255" y="641"/>
                    <a:pt x="256" y="639"/>
                  </a:cubicBezTo>
                  <a:cubicBezTo>
                    <a:pt x="257" y="638"/>
                    <a:pt x="258" y="637"/>
                    <a:pt x="258" y="636"/>
                  </a:cubicBezTo>
                  <a:cubicBezTo>
                    <a:pt x="259" y="634"/>
                    <a:pt x="260" y="629"/>
                    <a:pt x="261" y="628"/>
                  </a:cubicBezTo>
                  <a:cubicBezTo>
                    <a:pt x="262" y="628"/>
                    <a:pt x="266" y="625"/>
                    <a:pt x="268" y="625"/>
                  </a:cubicBezTo>
                  <a:cubicBezTo>
                    <a:pt x="268" y="625"/>
                    <a:pt x="268" y="625"/>
                    <a:pt x="268" y="625"/>
                  </a:cubicBezTo>
                  <a:cubicBezTo>
                    <a:pt x="268" y="625"/>
                    <a:pt x="269" y="625"/>
                    <a:pt x="269" y="626"/>
                  </a:cubicBezTo>
                  <a:cubicBezTo>
                    <a:pt x="270" y="626"/>
                    <a:pt x="270" y="626"/>
                    <a:pt x="270" y="626"/>
                  </a:cubicBezTo>
                  <a:cubicBezTo>
                    <a:pt x="270" y="626"/>
                    <a:pt x="270" y="626"/>
                    <a:pt x="270" y="626"/>
                  </a:cubicBezTo>
                  <a:cubicBezTo>
                    <a:pt x="271" y="626"/>
                    <a:pt x="271" y="626"/>
                    <a:pt x="272" y="626"/>
                  </a:cubicBezTo>
                  <a:cubicBezTo>
                    <a:pt x="273" y="626"/>
                    <a:pt x="273" y="626"/>
                    <a:pt x="274" y="626"/>
                  </a:cubicBezTo>
                  <a:cubicBezTo>
                    <a:pt x="274" y="626"/>
                    <a:pt x="275" y="626"/>
                    <a:pt x="275" y="626"/>
                  </a:cubicBezTo>
                  <a:cubicBezTo>
                    <a:pt x="275" y="624"/>
                    <a:pt x="275" y="622"/>
                    <a:pt x="275" y="620"/>
                  </a:cubicBezTo>
                  <a:cubicBezTo>
                    <a:pt x="275" y="617"/>
                    <a:pt x="275" y="614"/>
                    <a:pt x="275" y="611"/>
                  </a:cubicBezTo>
                  <a:cubicBezTo>
                    <a:pt x="274" y="609"/>
                    <a:pt x="274" y="607"/>
                    <a:pt x="273" y="605"/>
                  </a:cubicBezTo>
                  <a:cubicBezTo>
                    <a:pt x="272" y="604"/>
                    <a:pt x="272" y="603"/>
                    <a:pt x="271" y="602"/>
                  </a:cubicBezTo>
                  <a:cubicBezTo>
                    <a:pt x="274" y="600"/>
                    <a:pt x="273" y="600"/>
                    <a:pt x="273" y="597"/>
                  </a:cubicBezTo>
                  <a:cubicBezTo>
                    <a:pt x="273" y="596"/>
                    <a:pt x="273" y="596"/>
                    <a:pt x="273" y="595"/>
                  </a:cubicBezTo>
                  <a:cubicBezTo>
                    <a:pt x="273" y="593"/>
                    <a:pt x="273" y="590"/>
                    <a:pt x="274" y="588"/>
                  </a:cubicBezTo>
                  <a:cubicBezTo>
                    <a:pt x="275" y="587"/>
                    <a:pt x="275" y="586"/>
                    <a:pt x="276" y="585"/>
                  </a:cubicBezTo>
                  <a:cubicBezTo>
                    <a:pt x="276" y="584"/>
                    <a:pt x="276" y="583"/>
                    <a:pt x="277" y="582"/>
                  </a:cubicBezTo>
                  <a:cubicBezTo>
                    <a:pt x="279" y="578"/>
                    <a:pt x="282" y="574"/>
                    <a:pt x="283" y="570"/>
                  </a:cubicBezTo>
                  <a:cubicBezTo>
                    <a:pt x="284" y="568"/>
                    <a:pt x="284" y="567"/>
                    <a:pt x="284" y="565"/>
                  </a:cubicBezTo>
                  <a:cubicBezTo>
                    <a:pt x="284" y="564"/>
                    <a:pt x="284" y="563"/>
                    <a:pt x="284" y="561"/>
                  </a:cubicBezTo>
                  <a:cubicBezTo>
                    <a:pt x="284" y="560"/>
                    <a:pt x="285" y="558"/>
                    <a:pt x="285" y="556"/>
                  </a:cubicBezTo>
                  <a:cubicBezTo>
                    <a:pt x="285" y="553"/>
                    <a:pt x="285" y="550"/>
                    <a:pt x="283" y="550"/>
                  </a:cubicBezTo>
                  <a:cubicBezTo>
                    <a:pt x="283" y="550"/>
                    <a:pt x="282" y="550"/>
                    <a:pt x="282" y="549"/>
                  </a:cubicBezTo>
                  <a:cubicBezTo>
                    <a:pt x="280" y="548"/>
                    <a:pt x="279" y="546"/>
                    <a:pt x="282" y="544"/>
                  </a:cubicBezTo>
                  <a:cubicBezTo>
                    <a:pt x="283" y="545"/>
                    <a:pt x="283" y="546"/>
                    <a:pt x="284" y="547"/>
                  </a:cubicBezTo>
                  <a:cubicBezTo>
                    <a:pt x="284" y="548"/>
                    <a:pt x="285" y="549"/>
                    <a:pt x="285" y="549"/>
                  </a:cubicBezTo>
                  <a:cubicBezTo>
                    <a:pt x="285" y="548"/>
                    <a:pt x="285" y="548"/>
                    <a:pt x="285" y="547"/>
                  </a:cubicBezTo>
                  <a:cubicBezTo>
                    <a:pt x="284" y="545"/>
                    <a:pt x="283" y="542"/>
                    <a:pt x="282" y="540"/>
                  </a:cubicBezTo>
                  <a:cubicBezTo>
                    <a:pt x="281" y="539"/>
                    <a:pt x="281" y="537"/>
                    <a:pt x="280" y="536"/>
                  </a:cubicBezTo>
                  <a:cubicBezTo>
                    <a:pt x="280" y="535"/>
                    <a:pt x="280" y="534"/>
                    <a:pt x="280" y="533"/>
                  </a:cubicBezTo>
                  <a:cubicBezTo>
                    <a:pt x="280" y="533"/>
                    <a:pt x="280" y="532"/>
                    <a:pt x="280" y="532"/>
                  </a:cubicBezTo>
                  <a:cubicBezTo>
                    <a:pt x="280" y="529"/>
                    <a:pt x="280" y="527"/>
                    <a:pt x="280" y="524"/>
                  </a:cubicBezTo>
                  <a:cubicBezTo>
                    <a:pt x="280" y="521"/>
                    <a:pt x="279" y="518"/>
                    <a:pt x="280" y="515"/>
                  </a:cubicBezTo>
                  <a:cubicBezTo>
                    <a:pt x="280" y="512"/>
                    <a:pt x="280" y="509"/>
                    <a:pt x="281" y="507"/>
                  </a:cubicBezTo>
                  <a:cubicBezTo>
                    <a:pt x="281" y="506"/>
                    <a:pt x="282" y="505"/>
                    <a:pt x="282" y="504"/>
                  </a:cubicBezTo>
                  <a:cubicBezTo>
                    <a:pt x="283" y="501"/>
                    <a:pt x="284" y="499"/>
                    <a:pt x="285" y="497"/>
                  </a:cubicBezTo>
                  <a:cubicBezTo>
                    <a:pt x="286" y="496"/>
                    <a:pt x="286" y="495"/>
                    <a:pt x="287" y="495"/>
                  </a:cubicBezTo>
                  <a:cubicBezTo>
                    <a:pt x="289" y="493"/>
                    <a:pt x="292" y="492"/>
                    <a:pt x="294" y="492"/>
                  </a:cubicBezTo>
                  <a:cubicBezTo>
                    <a:pt x="294" y="492"/>
                    <a:pt x="294" y="492"/>
                    <a:pt x="294" y="492"/>
                  </a:cubicBezTo>
                  <a:cubicBezTo>
                    <a:pt x="296" y="492"/>
                    <a:pt x="297" y="493"/>
                    <a:pt x="298" y="496"/>
                  </a:cubicBezTo>
                  <a:cubicBezTo>
                    <a:pt x="298" y="493"/>
                    <a:pt x="300" y="492"/>
                    <a:pt x="299" y="489"/>
                  </a:cubicBezTo>
                  <a:cubicBezTo>
                    <a:pt x="300" y="490"/>
                    <a:pt x="301" y="492"/>
                    <a:pt x="302" y="493"/>
                  </a:cubicBezTo>
                  <a:cubicBezTo>
                    <a:pt x="302" y="494"/>
                    <a:pt x="302" y="494"/>
                    <a:pt x="302" y="494"/>
                  </a:cubicBezTo>
                  <a:cubicBezTo>
                    <a:pt x="301" y="493"/>
                    <a:pt x="303" y="492"/>
                    <a:pt x="304" y="491"/>
                  </a:cubicBezTo>
                  <a:cubicBezTo>
                    <a:pt x="305" y="490"/>
                    <a:pt x="305" y="490"/>
                    <a:pt x="305" y="490"/>
                  </a:cubicBezTo>
                  <a:cubicBezTo>
                    <a:pt x="306" y="489"/>
                    <a:pt x="306" y="488"/>
                    <a:pt x="306" y="486"/>
                  </a:cubicBezTo>
                  <a:cubicBezTo>
                    <a:pt x="308" y="483"/>
                    <a:pt x="309" y="481"/>
                    <a:pt x="312" y="481"/>
                  </a:cubicBezTo>
                  <a:cubicBezTo>
                    <a:pt x="312" y="481"/>
                    <a:pt x="312" y="481"/>
                    <a:pt x="312" y="481"/>
                  </a:cubicBezTo>
                  <a:cubicBezTo>
                    <a:pt x="313" y="481"/>
                    <a:pt x="313" y="481"/>
                    <a:pt x="314" y="481"/>
                  </a:cubicBezTo>
                  <a:cubicBezTo>
                    <a:pt x="315" y="481"/>
                    <a:pt x="316" y="481"/>
                    <a:pt x="317" y="481"/>
                  </a:cubicBezTo>
                  <a:cubicBezTo>
                    <a:pt x="318" y="481"/>
                    <a:pt x="318" y="481"/>
                    <a:pt x="318" y="481"/>
                  </a:cubicBezTo>
                  <a:cubicBezTo>
                    <a:pt x="321" y="481"/>
                    <a:pt x="323" y="480"/>
                    <a:pt x="325" y="479"/>
                  </a:cubicBezTo>
                  <a:cubicBezTo>
                    <a:pt x="326" y="478"/>
                    <a:pt x="327" y="478"/>
                    <a:pt x="328" y="478"/>
                  </a:cubicBezTo>
                  <a:cubicBezTo>
                    <a:pt x="333" y="475"/>
                    <a:pt x="333" y="475"/>
                    <a:pt x="334" y="470"/>
                  </a:cubicBezTo>
                  <a:cubicBezTo>
                    <a:pt x="334" y="470"/>
                    <a:pt x="334" y="470"/>
                    <a:pt x="334" y="470"/>
                  </a:cubicBezTo>
                  <a:cubicBezTo>
                    <a:pt x="334" y="469"/>
                    <a:pt x="331" y="468"/>
                    <a:pt x="332" y="466"/>
                  </a:cubicBezTo>
                  <a:cubicBezTo>
                    <a:pt x="332" y="465"/>
                    <a:pt x="332" y="465"/>
                    <a:pt x="333" y="464"/>
                  </a:cubicBezTo>
                  <a:cubicBezTo>
                    <a:pt x="337" y="457"/>
                    <a:pt x="346" y="456"/>
                    <a:pt x="353" y="452"/>
                  </a:cubicBezTo>
                  <a:cubicBezTo>
                    <a:pt x="354" y="451"/>
                    <a:pt x="355" y="450"/>
                    <a:pt x="356" y="448"/>
                  </a:cubicBezTo>
                  <a:cubicBezTo>
                    <a:pt x="357" y="447"/>
                    <a:pt x="358" y="446"/>
                    <a:pt x="359" y="445"/>
                  </a:cubicBezTo>
                  <a:cubicBezTo>
                    <a:pt x="360" y="444"/>
                    <a:pt x="362" y="442"/>
                    <a:pt x="364" y="441"/>
                  </a:cubicBezTo>
                  <a:cubicBezTo>
                    <a:pt x="366" y="439"/>
                    <a:pt x="368" y="437"/>
                    <a:pt x="371" y="436"/>
                  </a:cubicBezTo>
                  <a:cubicBezTo>
                    <a:pt x="375" y="434"/>
                    <a:pt x="377" y="431"/>
                    <a:pt x="380" y="428"/>
                  </a:cubicBezTo>
                  <a:cubicBezTo>
                    <a:pt x="380" y="428"/>
                    <a:pt x="380" y="428"/>
                    <a:pt x="379" y="429"/>
                  </a:cubicBezTo>
                  <a:cubicBezTo>
                    <a:pt x="381" y="427"/>
                    <a:pt x="383" y="425"/>
                    <a:pt x="384" y="423"/>
                  </a:cubicBezTo>
                  <a:cubicBezTo>
                    <a:pt x="386" y="420"/>
                    <a:pt x="388" y="416"/>
                    <a:pt x="391" y="414"/>
                  </a:cubicBezTo>
                  <a:cubicBezTo>
                    <a:pt x="397" y="409"/>
                    <a:pt x="403" y="405"/>
                    <a:pt x="409" y="400"/>
                  </a:cubicBezTo>
                  <a:cubicBezTo>
                    <a:pt x="408" y="401"/>
                    <a:pt x="406" y="401"/>
                    <a:pt x="405" y="402"/>
                  </a:cubicBezTo>
                  <a:cubicBezTo>
                    <a:pt x="406" y="401"/>
                    <a:pt x="406" y="400"/>
                    <a:pt x="405" y="400"/>
                  </a:cubicBezTo>
                  <a:cubicBezTo>
                    <a:pt x="405" y="400"/>
                    <a:pt x="405" y="400"/>
                    <a:pt x="404" y="400"/>
                  </a:cubicBezTo>
                  <a:cubicBezTo>
                    <a:pt x="404" y="401"/>
                    <a:pt x="404" y="401"/>
                    <a:pt x="404" y="401"/>
                  </a:cubicBezTo>
                  <a:cubicBezTo>
                    <a:pt x="402" y="402"/>
                    <a:pt x="402" y="402"/>
                    <a:pt x="402" y="402"/>
                  </a:cubicBezTo>
                  <a:cubicBezTo>
                    <a:pt x="401" y="403"/>
                    <a:pt x="401" y="404"/>
                    <a:pt x="401" y="404"/>
                  </a:cubicBezTo>
                  <a:cubicBezTo>
                    <a:pt x="401" y="404"/>
                    <a:pt x="401" y="404"/>
                    <a:pt x="401" y="404"/>
                  </a:cubicBezTo>
                  <a:cubicBezTo>
                    <a:pt x="401" y="400"/>
                    <a:pt x="402" y="398"/>
                    <a:pt x="405" y="397"/>
                  </a:cubicBezTo>
                  <a:cubicBezTo>
                    <a:pt x="406" y="396"/>
                    <a:pt x="407" y="396"/>
                    <a:pt x="408" y="396"/>
                  </a:cubicBezTo>
                  <a:cubicBezTo>
                    <a:pt x="408" y="396"/>
                    <a:pt x="409" y="396"/>
                    <a:pt x="409" y="396"/>
                  </a:cubicBezTo>
                  <a:cubicBezTo>
                    <a:pt x="409" y="396"/>
                    <a:pt x="409" y="396"/>
                    <a:pt x="410" y="396"/>
                  </a:cubicBezTo>
                  <a:cubicBezTo>
                    <a:pt x="411" y="398"/>
                    <a:pt x="408" y="399"/>
                    <a:pt x="407" y="400"/>
                  </a:cubicBezTo>
                  <a:cubicBezTo>
                    <a:pt x="409" y="400"/>
                    <a:pt x="412" y="399"/>
                    <a:pt x="414" y="398"/>
                  </a:cubicBezTo>
                  <a:cubicBezTo>
                    <a:pt x="415" y="398"/>
                    <a:pt x="415" y="398"/>
                    <a:pt x="416" y="398"/>
                  </a:cubicBezTo>
                  <a:cubicBezTo>
                    <a:pt x="420" y="396"/>
                    <a:pt x="425" y="395"/>
                    <a:pt x="428" y="393"/>
                  </a:cubicBezTo>
                  <a:cubicBezTo>
                    <a:pt x="427" y="393"/>
                    <a:pt x="424" y="391"/>
                    <a:pt x="424" y="390"/>
                  </a:cubicBezTo>
                  <a:cubicBezTo>
                    <a:pt x="426" y="391"/>
                    <a:pt x="427" y="391"/>
                    <a:pt x="428" y="391"/>
                  </a:cubicBezTo>
                  <a:cubicBezTo>
                    <a:pt x="430" y="391"/>
                    <a:pt x="431" y="389"/>
                    <a:pt x="434" y="386"/>
                  </a:cubicBezTo>
                  <a:cubicBezTo>
                    <a:pt x="437" y="383"/>
                    <a:pt x="440" y="379"/>
                    <a:pt x="444" y="376"/>
                  </a:cubicBezTo>
                  <a:cubicBezTo>
                    <a:pt x="443" y="376"/>
                    <a:pt x="442" y="374"/>
                    <a:pt x="442" y="372"/>
                  </a:cubicBezTo>
                  <a:cubicBezTo>
                    <a:pt x="441" y="369"/>
                    <a:pt x="441" y="366"/>
                    <a:pt x="441" y="364"/>
                  </a:cubicBezTo>
                  <a:cubicBezTo>
                    <a:pt x="441" y="362"/>
                    <a:pt x="441" y="361"/>
                    <a:pt x="441" y="360"/>
                  </a:cubicBezTo>
                  <a:cubicBezTo>
                    <a:pt x="443" y="356"/>
                    <a:pt x="447" y="355"/>
                    <a:pt x="451" y="354"/>
                  </a:cubicBezTo>
                  <a:cubicBezTo>
                    <a:pt x="452" y="353"/>
                    <a:pt x="454" y="353"/>
                    <a:pt x="455" y="352"/>
                  </a:cubicBezTo>
                  <a:cubicBezTo>
                    <a:pt x="460" y="351"/>
                    <a:pt x="463" y="350"/>
                    <a:pt x="466" y="346"/>
                  </a:cubicBezTo>
                  <a:cubicBezTo>
                    <a:pt x="467" y="345"/>
                    <a:pt x="472" y="341"/>
                    <a:pt x="470" y="339"/>
                  </a:cubicBezTo>
                  <a:cubicBezTo>
                    <a:pt x="469" y="338"/>
                    <a:pt x="467" y="339"/>
                    <a:pt x="467" y="338"/>
                  </a:cubicBezTo>
                  <a:cubicBezTo>
                    <a:pt x="466" y="338"/>
                    <a:pt x="466" y="338"/>
                    <a:pt x="466" y="338"/>
                  </a:cubicBezTo>
                  <a:cubicBezTo>
                    <a:pt x="465" y="337"/>
                    <a:pt x="465" y="334"/>
                    <a:pt x="465" y="333"/>
                  </a:cubicBezTo>
                  <a:cubicBezTo>
                    <a:pt x="466" y="334"/>
                    <a:pt x="466" y="336"/>
                    <a:pt x="467" y="337"/>
                  </a:cubicBezTo>
                  <a:cubicBezTo>
                    <a:pt x="467" y="337"/>
                    <a:pt x="468" y="338"/>
                    <a:pt x="469" y="338"/>
                  </a:cubicBezTo>
                  <a:cubicBezTo>
                    <a:pt x="471" y="339"/>
                    <a:pt x="471" y="340"/>
                    <a:pt x="472" y="342"/>
                  </a:cubicBezTo>
                  <a:cubicBezTo>
                    <a:pt x="472" y="345"/>
                    <a:pt x="470" y="349"/>
                    <a:pt x="471" y="351"/>
                  </a:cubicBezTo>
                  <a:cubicBezTo>
                    <a:pt x="471" y="352"/>
                    <a:pt x="471" y="352"/>
                    <a:pt x="472" y="353"/>
                  </a:cubicBezTo>
                  <a:cubicBezTo>
                    <a:pt x="472" y="353"/>
                    <a:pt x="473" y="354"/>
                    <a:pt x="473" y="354"/>
                  </a:cubicBezTo>
                  <a:cubicBezTo>
                    <a:pt x="473" y="354"/>
                    <a:pt x="474" y="354"/>
                    <a:pt x="473" y="353"/>
                  </a:cubicBezTo>
                  <a:cubicBezTo>
                    <a:pt x="474" y="353"/>
                    <a:pt x="474" y="353"/>
                    <a:pt x="474" y="353"/>
                  </a:cubicBezTo>
                  <a:cubicBezTo>
                    <a:pt x="479" y="353"/>
                    <a:pt x="477" y="349"/>
                    <a:pt x="479" y="345"/>
                  </a:cubicBezTo>
                  <a:cubicBezTo>
                    <a:pt x="479" y="346"/>
                    <a:pt x="478" y="350"/>
                    <a:pt x="479" y="353"/>
                  </a:cubicBezTo>
                  <a:cubicBezTo>
                    <a:pt x="479" y="354"/>
                    <a:pt x="479" y="355"/>
                    <a:pt x="479" y="355"/>
                  </a:cubicBezTo>
                  <a:cubicBezTo>
                    <a:pt x="479" y="355"/>
                    <a:pt x="479" y="355"/>
                    <a:pt x="479" y="355"/>
                  </a:cubicBezTo>
                  <a:cubicBezTo>
                    <a:pt x="480" y="355"/>
                    <a:pt x="481" y="351"/>
                    <a:pt x="481" y="350"/>
                  </a:cubicBezTo>
                  <a:cubicBezTo>
                    <a:pt x="481" y="350"/>
                    <a:pt x="481" y="350"/>
                    <a:pt x="481" y="350"/>
                  </a:cubicBezTo>
                  <a:cubicBezTo>
                    <a:pt x="481" y="348"/>
                    <a:pt x="480" y="349"/>
                    <a:pt x="480" y="347"/>
                  </a:cubicBezTo>
                  <a:cubicBezTo>
                    <a:pt x="480" y="347"/>
                    <a:pt x="480" y="346"/>
                    <a:pt x="480" y="345"/>
                  </a:cubicBezTo>
                  <a:cubicBezTo>
                    <a:pt x="481" y="344"/>
                    <a:pt x="481" y="342"/>
                    <a:pt x="481" y="341"/>
                  </a:cubicBezTo>
                  <a:cubicBezTo>
                    <a:pt x="482" y="340"/>
                    <a:pt x="482" y="339"/>
                    <a:pt x="483" y="338"/>
                  </a:cubicBezTo>
                  <a:cubicBezTo>
                    <a:pt x="482" y="339"/>
                    <a:pt x="482" y="340"/>
                    <a:pt x="482" y="341"/>
                  </a:cubicBezTo>
                  <a:cubicBezTo>
                    <a:pt x="482" y="342"/>
                    <a:pt x="482" y="343"/>
                    <a:pt x="483" y="345"/>
                  </a:cubicBezTo>
                  <a:cubicBezTo>
                    <a:pt x="483" y="344"/>
                    <a:pt x="484" y="343"/>
                    <a:pt x="484" y="342"/>
                  </a:cubicBezTo>
                  <a:cubicBezTo>
                    <a:pt x="485" y="343"/>
                    <a:pt x="483" y="345"/>
                    <a:pt x="483" y="347"/>
                  </a:cubicBezTo>
                  <a:cubicBezTo>
                    <a:pt x="483" y="347"/>
                    <a:pt x="483" y="348"/>
                    <a:pt x="483" y="348"/>
                  </a:cubicBezTo>
                  <a:cubicBezTo>
                    <a:pt x="483" y="349"/>
                    <a:pt x="483" y="350"/>
                    <a:pt x="483" y="351"/>
                  </a:cubicBezTo>
                  <a:cubicBezTo>
                    <a:pt x="483" y="352"/>
                    <a:pt x="485" y="354"/>
                    <a:pt x="485" y="354"/>
                  </a:cubicBezTo>
                  <a:cubicBezTo>
                    <a:pt x="485" y="354"/>
                    <a:pt x="485" y="353"/>
                    <a:pt x="485" y="353"/>
                  </a:cubicBezTo>
                  <a:cubicBezTo>
                    <a:pt x="485" y="353"/>
                    <a:pt x="485" y="353"/>
                    <a:pt x="485" y="353"/>
                  </a:cubicBezTo>
                  <a:cubicBezTo>
                    <a:pt x="486" y="353"/>
                    <a:pt x="487" y="353"/>
                    <a:pt x="488" y="353"/>
                  </a:cubicBezTo>
                  <a:cubicBezTo>
                    <a:pt x="489" y="353"/>
                    <a:pt x="489" y="353"/>
                    <a:pt x="490" y="353"/>
                  </a:cubicBezTo>
                  <a:cubicBezTo>
                    <a:pt x="491" y="353"/>
                    <a:pt x="492" y="353"/>
                    <a:pt x="492" y="352"/>
                  </a:cubicBezTo>
                  <a:cubicBezTo>
                    <a:pt x="493" y="351"/>
                    <a:pt x="492" y="351"/>
                    <a:pt x="491" y="350"/>
                  </a:cubicBezTo>
                  <a:cubicBezTo>
                    <a:pt x="491" y="349"/>
                    <a:pt x="491" y="349"/>
                    <a:pt x="491" y="349"/>
                  </a:cubicBezTo>
                  <a:cubicBezTo>
                    <a:pt x="491" y="348"/>
                    <a:pt x="490" y="346"/>
                    <a:pt x="490" y="346"/>
                  </a:cubicBezTo>
                  <a:cubicBezTo>
                    <a:pt x="489" y="346"/>
                    <a:pt x="489" y="346"/>
                    <a:pt x="489" y="346"/>
                  </a:cubicBezTo>
                  <a:cubicBezTo>
                    <a:pt x="489" y="343"/>
                    <a:pt x="489" y="343"/>
                    <a:pt x="489" y="343"/>
                  </a:cubicBezTo>
                  <a:cubicBezTo>
                    <a:pt x="489" y="342"/>
                    <a:pt x="489" y="341"/>
                    <a:pt x="489" y="340"/>
                  </a:cubicBezTo>
                  <a:cubicBezTo>
                    <a:pt x="489" y="338"/>
                    <a:pt x="488" y="337"/>
                    <a:pt x="488" y="335"/>
                  </a:cubicBezTo>
                  <a:cubicBezTo>
                    <a:pt x="486" y="326"/>
                    <a:pt x="486" y="326"/>
                    <a:pt x="486" y="326"/>
                  </a:cubicBezTo>
                  <a:cubicBezTo>
                    <a:pt x="486" y="325"/>
                    <a:pt x="486" y="325"/>
                    <a:pt x="486" y="324"/>
                  </a:cubicBezTo>
                  <a:cubicBezTo>
                    <a:pt x="486" y="323"/>
                    <a:pt x="486" y="323"/>
                    <a:pt x="486" y="322"/>
                  </a:cubicBezTo>
                  <a:cubicBezTo>
                    <a:pt x="485" y="321"/>
                    <a:pt x="485" y="319"/>
                    <a:pt x="486" y="316"/>
                  </a:cubicBezTo>
                  <a:cubicBezTo>
                    <a:pt x="486" y="315"/>
                    <a:pt x="486" y="315"/>
                    <a:pt x="486" y="315"/>
                  </a:cubicBezTo>
                  <a:cubicBezTo>
                    <a:pt x="486" y="315"/>
                    <a:pt x="486" y="315"/>
                    <a:pt x="486" y="315"/>
                  </a:cubicBezTo>
                  <a:cubicBezTo>
                    <a:pt x="486" y="314"/>
                    <a:pt x="486" y="314"/>
                    <a:pt x="486" y="314"/>
                  </a:cubicBezTo>
                  <a:cubicBezTo>
                    <a:pt x="485" y="314"/>
                    <a:pt x="484" y="313"/>
                    <a:pt x="483" y="312"/>
                  </a:cubicBezTo>
                  <a:cubicBezTo>
                    <a:pt x="483" y="312"/>
                    <a:pt x="483" y="312"/>
                    <a:pt x="483" y="312"/>
                  </a:cubicBezTo>
                  <a:cubicBezTo>
                    <a:pt x="482" y="310"/>
                    <a:pt x="482" y="309"/>
                    <a:pt x="482" y="307"/>
                  </a:cubicBezTo>
                  <a:cubicBezTo>
                    <a:pt x="482" y="307"/>
                    <a:pt x="482" y="307"/>
                    <a:pt x="482" y="307"/>
                  </a:cubicBezTo>
                  <a:cubicBezTo>
                    <a:pt x="478" y="304"/>
                    <a:pt x="478" y="302"/>
                    <a:pt x="479" y="299"/>
                  </a:cubicBezTo>
                  <a:cubicBezTo>
                    <a:pt x="479" y="297"/>
                    <a:pt x="479" y="297"/>
                    <a:pt x="479" y="297"/>
                  </a:cubicBezTo>
                  <a:cubicBezTo>
                    <a:pt x="479" y="295"/>
                    <a:pt x="480" y="294"/>
                    <a:pt x="481" y="293"/>
                  </a:cubicBezTo>
                  <a:cubicBezTo>
                    <a:pt x="481" y="293"/>
                    <a:pt x="481" y="293"/>
                    <a:pt x="481" y="293"/>
                  </a:cubicBezTo>
                  <a:cubicBezTo>
                    <a:pt x="481" y="293"/>
                    <a:pt x="481" y="291"/>
                    <a:pt x="481" y="289"/>
                  </a:cubicBezTo>
                  <a:cubicBezTo>
                    <a:pt x="481" y="288"/>
                    <a:pt x="481" y="288"/>
                    <a:pt x="481" y="288"/>
                  </a:cubicBezTo>
                  <a:cubicBezTo>
                    <a:pt x="481" y="288"/>
                    <a:pt x="481" y="288"/>
                    <a:pt x="481" y="288"/>
                  </a:cubicBezTo>
                  <a:cubicBezTo>
                    <a:pt x="481" y="288"/>
                    <a:pt x="480" y="288"/>
                    <a:pt x="480" y="288"/>
                  </a:cubicBezTo>
                  <a:cubicBezTo>
                    <a:pt x="479" y="288"/>
                    <a:pt x="479" y="288"/>
                    <a:pt x="479" y="288"/>
                  </a:cubicBezTo>
                  <a:cubicBezTo>
                    <a:pt x="479" y="288"/>
                    <a:pt x="478" y="288"/>
                    <a:pt x="478" y="288"/>
                  </a:cubicBezTo>
                  <a:cubicBezTo>
                    <a:pt x="477" y="288"/>
                    <a:pt x="476" y="287"/>
                    <a:pt x="476" y="287"/>
                  </a:cubicBezTo>
                  <a:cubicBezTo>
                    <a:pt x="475" y="287"/>
                    <a:pt x="474" y="287"/>
                    <a:pt x="474" y="286"/>
                  </a:cubicBezTo>
                  <a:cubicBezTo>
                    <a:pt x="473" y="286"/>
                    <a:pt x="472" y="285"/>
                    <a:pt x="471" y="285"/>
                  </a:cubicBezTo>
                  <a:cubicBezTo>
                    <a:pt x="471" y="284"/>
                    <a:pt x="471" y="284"/>
                    <a:pt x="471" y="284"/>
                  </a:cubicBezTo>
                  <a:cubicBezTo>
                    <a:pt x="470" y="284"/>
                    <a:pt x="469" y="283"/>
                    <a:pt x="469" y="283"/>
                  </a:cubicBezTo>
                  <a:cubicBezTo>
                    <a:pt x="468" y="283"/>
                    <a:pt x="467" y="282"/>
                    <a:pt x="467" y="281"/>
                  </a:cubicBezTo>
                  <a:cubicBezTo>
                    <a:pt x="467" y="281"/>
                    <a:pt x="466" y="280"/>
                    <a:pt x="466" y="279"/>
                  </a:cubicBezTo>
                  <a:cubicBezTo>
                    <a:pt x="466" y="277"/>
                    <a:pt x="467" y="275"/>
                    <a:pt x="467" y="273"/>
                  </a:cubicBezTo>
                  <a:cubicBezTo>
                    <a:pt x="467" y="273"/>
                    <a:pt x="467" y="273"/>
                    <a:pt x="467" y="273"/>
                  </a:cubicBezTo>
                  <a:cubicBezTo>
                    <a:pt x="468" y="270"/>
                    <a:pt x="470" y="269"/>
                    <a:pt x="471" y="269"/>
                  </a:cubicBezTo>
                  <a:cubicBezTo>
                    <a:pt x="472" y="269"/>
                    <a:pt x="472" y="268"/>
                    <a:pt x="472" y="268"/>
                  </a:cubicBezTo>
                  <a:cubicBezTo>
                    <a:pt x="473" y="268"/>
                    <a:pt x="473" y="268"/>
                    <a:pt x="473" y="268"/>
                  </a:cubicBezTo>
                  <a:cubicBezTo>
                    <a:pt x="474" y="268"/>
                    <a:pt x="474" y="268"/>
                    <a:pt x="474" y="268"/>
                  </a:cubicBezTo>
                  <a:cubicBezTo>
                    <a:pt x="475" y="262"/>
                    <a:pt x="480" y="261"/>
                    <a:pt x="483" y="261"/>
                  </a:cubicBezTo>
                  <a:cubicBezTo>
                    <a:pt x="484" y="261"/>
                    <a:pt x="484" y="261"/>
                    <a:pt x="484" y="261"/>
                  </a:cubicBezTo>
                  <a:cubicBezTo>
                    <a:pt x="484" y="260"/>
                    <a:pt x="483" y="260"/>
                    <a:pt x="483" y="259"/>
                  </a:cubicBezTo>
                  <a:cubicBezTo>
                    <a:pt x="483" y="259"/>
                    <a:pt x="483" y="259"/>
                    <a:pt x="483" y="259"/>
                  </a:cubicBezTo>
                  <a:cubicBezTo>
                    <a:pt x="483" y="259"/>
                    <a:pt x="483" y="259"/>
                    <a:pt x="483" y="259"/>
                  </a:cubicBezTo>
                  <a:cubicBezTo>
                    <a:pt x="482" y="259"/>
                    <a:pt x="482" y="259"/>
                    <a:pt x="482" y="259"/>
                  </a:cubicBezTo>
                  <a:cubicBezTo>
                    <a:pt x="482" y="259"/>
                    <a:pt x="482" y="259"/>
                    <a:pt x="482" y="259"/>
                  </a:cubicBezTo>
                  <a:cubicBezTo>
                    <a:pt x="479" y="259"/>
                    <a:pt x="477" y="257"/>
                    <a:pt x="476" y="255"/>
                  </a:cubicBezTo>
                  <a:cubicBezTo>
                    <a:pt x="475" y="254"/>
                    <a:pt x="475" y="254"/>
                    <a:pt x="475" y="254"/>
                  </a:cubicBezTo>
                  <a:cubicBezTo>
                    <a:pt x="474" y="253"/>
                    <a:pt x="473" y="251"/>
                    <a:pt x="472" y="251"/>
                  </a:cubicBezTo>
                  <a:cubicBezTo>
                    <a:pt x="471" y="251"/>
                    <a:pt x="471" y="251"/>
                    <a:pt x="471" y="251"/>
                  </a:cubicBezTo>
                  <a:cubicBezTo>
                    <a:pt x="470" y="251"/>
                    <a:pt x="468" y="250"/>
                    <a:pt x="467" y="248"/>
                  </a:cubicBezTo>
                  <a:cubicBezTo>
                    <a:pt x="466" y="245"/>
                    <a:pt x="467" y="243"/>
                    <a:pt x="468" y="242"/>
                  </a:cubicBezTo>
                  <a:cubicBezTo>
                    <a:pt x="468" y="241"/>
                    <a:pt x="468" y="241"/>
                    <a:pt x="468" y="241"/>
                  </a:cubicBezTo>
                  <a:cubicBezTo>
                    <a:pt x="469" y="240"/>
                    <a:pt x="469" y="240"/>
                    <a:pt x="469" y="240"/>
                  </a:cubicBezTo>
                  <a:cubicBezTo>
                    <a:pt x="470" y="237"/>
                    <a:pt x="472" y="235"/>
                    <a:pt x="474" y="234"/>
                  </a:cubicBezTo>
                  <a:cubicBezTo>
                    <a:pt x="473" y="234"/>
                    <a:pt x="473" y="234"/>
                    <a:pt x="473" y="234"/>
                  </a:cubicBezTo>
                  <a:cubicBezTo>
                    <a:pt x="473" y="233"/>
                    <a:pt x="473" y="233"/>
                    <a:pt x="473" y="233"/>
                  </a:cubicBezTo>
                  <a:cubicBezTo>
                    <a:pt x="473" y="233"/>
                    <a:pt x="472" y="233"/>
                    <a:pt x="472" y="232"/>
                  </a:cubicBezTo>
                  <a:cubicBezTo>
                    <a:pt x="472" y="231"/>
                    <a:pt x="472" y="231"/>
                    <a:pt x="472" y="231"/>
                  </a:cubicBezTo>
                  <a:cubicBezTo>
                    <a:pt x="472" y="231"/>
                    <a:pt x="472" y="231"/>
                    <a:pt x="472" y="231"/>
                  </a:cubicBezTo>
                  <a:cubicBezTo>
                    <a:pt x="472" y="231"/>
                    <a:pt x="472" y="231"/>
                    <a:pt x="472" y="231"/>
                  </a:cubicBezTo>
                  <a:cubicBezTo>
                    <a:pt x="471" y="232"/>
                    <a:pt x="471" y="232"/>
                    <a:pt x="471" y="232"/>
                  </a:cubicBezTo>
                  <a:cubicBezTo>
                    <a:pt x="470" y="235"/>
                    <a:pt x="469" y="236"/>
                    <a:pt x="467" y="236"/>
                  </a:cubicBezTo>
                  <a:cubicBezTo>
                    <a:pt x="466" y="237"/>
                    <a:pt x="465" y="237"/>
                    <a:pt x="464" y="237"/>
                  </a:cubicBezTo>
                  <a:cubicBezTo>
                    <a:pt x="464" y="237"/>
                    <a:pt x="464" y="237"/>
                    <a:pt x="464" y="237"/>
                  </a:cubicBezTo>
                  <a:cubicBezTo>
                    <a:pt x="463" y="237"/>
                    <a:pt x="462" y="237"/>
                    <a:pt x="461" y="236"/>
                  </a:cubicBezTo>
                  <a:cubicBezTo>
                    <a:pt x="460" y="236"/>
                    <a:pt x="459" y="236"/>
                    <a:pt x="458" y="236"/>
                  </a:cubicBezTo>
                  <a:cubicBezTo>
                    <a:pt x="455" y="236"/>
                    <a:pt x="455" y="236"/>
                    <a:pt x="455" y="236"/>
                  </a:cubicBezTo>
                  <a:cubicBezTo>
                    <a:pt x="455" y="236"/>
                    <a:pt x="454" y="236"/>
                    <a:pt x="454" y="236"/>
                  </a:cubicBezTo>
                  <a:cubicBezTo>
                    <a:pt x="453" y="236"/>
                    <a:pt x="453" y="236"/>
                    <a:pt x="452" y="236"/>
                  </a:cubicBezTo>
                  <a:cubicBezTo>
                    <a:pt x="450" y="236"/>
                    <a:pt x="448" y="236"/>
                    <a:pt x="446" y="235"/>
                  </a:cubicBezTo>
                  <a:cubicBezTo>
                    <a:pt x="444" y="235"/>
                    <a:pt x="443" y="234"/>
                    <a:pt x="443" y="233"/>
                  </a:cubicBezTo>
                  <a:cubicBezTo>
                    <a:pt x="442" y="233"/>
                    <a:pt x="442" y="233"/>
                    <a:pt x="442" y="233"/>
                  </a:cubicBezTo>
                  <a:cubicBezTo>
                    <a:pt x="441" y="234"/>
                    <a:pt x="440" y="234"/>
                    <a:pt x="439" y="235"/>
                  </a:cubicBezTo>
                  <a:cubicBezTo>
                    <a:pt x="439" y="235"/>
                    <a:pt x="439" y="235"/>
                    <a:pt x="439" y="235"/>
                  </a:cubicBezTo>
                  <a:cubicBezTo>
                    <a:pt x="438" y="235"/>
                    <a:pt x="438" y="235"/>
                    <a:pt x="438" y="235"/>
                  </a:cubicBezTo>
                  <a:cubicBezTo>
                    <a:pt x="438" y="235"/>
                    <a:pt x="438" y="235"/>
                    <a:pt x="438" y="235"/>
                  </a:cubicBezTo>
                  <a:cubicBezTo>
                    <a:pt x="437" y="235"/>
                    <a:pt x="437" y="235"/>
                    <a:pt x="437" y="235"/>
                  </a:cubicBezTo>
                  <a:cubicBezTo>
                    <a:pt x="436" y="235"/>
                    <a:pt x="436" y="235"/>
                    <a:pt x="436" y="235"/>
                  </a:cubicBezTo>
                  <a:cubicBezTo>
                    <a:pt x="435" y="235"/>
                    <a:pt x="435" y="235"/>
                    <a:pt x="434" y="235"/>
                  </a:cubicBezTo>
                  <a:cubicBezTo>
                    <a:pt x="434" y="235"/>
                    <a:pt x="434" y="235"/>
                    <a:pt x="434" y="235"/>
                  </a:cubicBezTo>
                  <a:cubicBezTo>
                    <a:pt x="434" y="234"/>
                    <a:pt x="433" y="234"/>
                    <a:pt x="433" y="234"/>
                  </a:cubicBezTo>
                  <a:cubicBezTo>
                    <a:pt x="430" y="233"/>
                    <a:pt x="430" y="233"/>
                    <a:pt x="430" y="233"/>
                  </a:cubicBezTo>
                  <a:cubicBezTo>
                    <a:pt x="430" y="232"/>
                    <a:pt x="429" y="232"/>
                    <a:pt x="428" y="232"/>
                  </a:cubicBezTo>
                  <a:cubicBezTo>
                    <a:pt x="427" y="232"/>
                    <a:pt x="427" y="231"/>
                    <a:pt x="426" y="231"/>
                  </a:cubicBezTo>
                  <a:cubicBezTo>
                    <a:pt x="425" y="231"/>
                    <a:pt x="425" y="231"/>
                    <a:pt x="425" y="231"/>
                  </a:cubicBezTo>
                  <a:cubicBezTo>
                    <a:pt x="424" y="231"/>
                    <a:pt x="424" y="231"/>
                    <a:pt x="424" y="231"/>
                  </a:cubicBezTo>
                  <a:cubicBezTo>
                    <a:pt x="423" y="231"/>
                    <a:pt x="423" y="231"/>
                    <a:pt x="423" y="231"/>
                  </a:cubicBezTo>
                  <a:cubicBezTo>
                    <a:pt x="423" y="231"/>
                    <a:pt x="422" y="231"/>
                    <a:pt x="422" y="231"/>
                  </a:cubicBezTo>
                  <a:cubicBezTo>
                    <a:pt x="421" y="231"/>
                    <a:pt x="421" y="231"/>
                    <a:pt x="421" y="231"/>
                  </a:cubicBezTo>
                  <a:cubicBezTo>
                    <a:pt x="420" y="232"/>
                    <a:pt x="419" y="232"/>
                    <a:pt x="418" y="232"/>
                  </a:cubicBezTo>
                  <a:cubicBezTo>
                    <a:pt x="418" y="232"/>
                    <a:pt x="417" y="232"/>
                    <a:pt x="417" y="232"/>
                  </a:cubicBezTo>
                  <a:cubicBezTo>
                    <a:pt x="416" y="231"/>
                    <a:pt x="415" y="231"/>
                    <a:pt x="415" y="231"/>
                  </a:cubicBezTo>
                  <a:cubicBezTo>
                    <a:pt x="414" y="230"/>
                    <a:pt x="414" y="230"/>
                    <a:pt x="413" y="230"/>
                  </a:cubicBezTo>
                  <a:cubicBezTo>
                    <a:pt x="412" y="229"/>
                    <a:pt x="412" y="228"/>
                    <a:pt x="412" y="227"/>
                  </a:cubicBezTo>
                  <a:cubicBezTo>
                    <a:pt x="412" y="227"/>
                    <a:pt x="411" y="226"/>
                    <a:pt x="411" y="225"/>
                  </a:cubicBezTo>
                  <a:cubicBezTo>
                    <a:pt x="410" y="225"/>
                    <a:pt x="410" y="225"/>
                    <a:pt x="410" y="225"/>
                  </a:cubicBezTo>
                  <a:cubicBezTo>
                    <a:pt x="410" y="226"/>
                    <a:pt x="409" y="226"/>
                    <a:pt x="408" y="226"/>
                  </a:cubicBezTo>
                  <a:cubicBezTo>
                    <a:pt x="407" y="227"/>
                    <a:pt x="407" y="227"/>
                    <a:pt x="407" y="227"/>
                  </a:cubicBezTo>
                  <a:cubicBezTo>
                    <a:pt x="406" y="227"/>
                    <a:pt x="405" y="227"/>
                    <a:pt x="404" y="227"/>
                  </a:cubicBezTo>
                  <a:cubicBezTo>
                    <a:pt x="404" y="227"/>
                    <a:pt x="404" y="227"/>
                    <a:pt x="404" y="227"/>
                  </a:cubicBezTo>
                  <a:cubicBezTo>
                    <a:pt x="403" y="227"/>
                    <a:pt x="402" y="227"/>
                    <a:pt x="401" y="226"/>
                  </a:cubicBezTo>
                  <a:cubicBezTo>
                    <a:pt x="401" y="226"/>
                    <a:pt x="400" y="226"/>
                    <a:pt x="400" y="225"/>
                  </a:cubicBezTo>
                  <a:cubicBezTo>
                    <a:pt x="399" y="225"/>
                    <a:pt x="399" y="225"/>
                    <a:pt x="399" y="225"/>
                  </a:cubicBezTo>
                  <a:cubicBezTo>
                    <a:pt x="399" y="225"/>
                    <a:pt x="399" y="224"/>
                    <a:pt x="398" y="224"/>
                  </a:cubicBezTo>
                  <a:cubicBezTo>
                    <a:pt x="398" y="224"/>
                    <a:pt x="398" y="224"/>
                    <a:pt x="398" y="224"/>
                  </a:cubicBezTo>
                  <a:cubicBezTo>
                    <a:pt x="396" y="223"/>
                    <a:pt x="395" y="222"/>
                    <a:pt x="393" y="222"/>
                  </a:cubicBezTo>
                  <a:cubicBezTo>
                    <a:pt x="392" y="221"/>
                    <a:pt x="392" y="221"/>
                    <a:pt x="392" y="221"/>
                  </a:cubicBezTo>
                  <a:cubicBezTo>
                    <a:pt x="391" y="221"/>
                    <a:pt x="390" y="221"/>
                    <a:pt x="389" y="220"/>
                  </a:cubicBezTo>
                  <a:cubicBezTo>
                    <a:pt x="387" y="219"/>
                    <a:pt x="386" y="218"/>
                    <a:pt x="385" y="217"/>
                  </a:cubicBezTo>
                  <a:cubicBezTo>
                    <a:pt x="385" y="217"/>
                    <a:pt x="385" y="216"/>
                    <a:pt x="384" y="215"/>
                  </a:cubicBezTo>
                  <a:cubicBezTo>
                    <a:pt x="384" y="214"/>
                    <a:pt x="384" y="213"/>
                    <a:pt x="384" y="213"/>
                  </a:cubicBezTo>
                  <a:cubicBezTo>
                    <a:pt x="384" y="212"/>
                    <a:pt x="384" y="212"/>
                    <a:pt x="384" y="212"/>
                  </a:cubicBezTo>
                  <a:cubicBezTo>
                    <a:pt x="384" y="211"/>
                    <a:pt x="384" y="211"/>
                    <a:pt x="384" y="211"/>
                  </a:cubicBezTo>
                  <a:cubicBezTo>
                    <a:pt x="384" y="211"/>
                    <a:pt x="384" y="211"/>
                    <a:pt x="384" y="211"/>
                  </a:cubicBezTo>
                  <a:cubicBezTo>
                    <a:pt x="383" y="210"/>
                    <a:pt x="380" y="210"/>
                    <a:pt x="379" y="209"/>
                  </a:cubicBezTo>
                  <a:cubicBezTo>
                    <a:pt x="378" y="209"/>
                    <a:pt x="378" y="209"/>
                    <a:pt x="378" y="209"/>
                  </a:cubicBezTo>
                  <a:cubicBezTo>
                    <a:pt x="378" y="209"/>
                    <a:pt x="377" y="209"/>
                    <a:pt x="377" y="208"/>
                  </a:cubicBezTo>
                  <a:cubicBezTo>
                    <a:pt x="376" y="208"/>
                    <a:pt x="376" y="208"/>
                    <a:pt x="376" y="208"/>
                  </a:cubicBezTo>
                  <a:cubicBezTo>
                    <a:pt x="376" y="208"/>
                    <a:pt x="376" y="208"/>
                    <a:pt x="375" y="208"/>
                  </a:cubicBezTo>
                  <a:cubicBezTo>
                    <a:pt x="375" y="208"/>
                    <a:pt x="374" y="208"/>
                    <a:pt x="374" y="209"/>
                  </a:cubicBezTo>
                  <a:cubicBezTo>
                    <a:pt x="374" y="214"/>
                    <a:pt x="374" y="214"/>
                    <a:pt x="374" y="214"/>
                  </a:cubicBezTo>
                  <a:cubicBezTo>
                    <a:pt x="372" y="209"/>
                    <a:pt x="372" y="209"/>
                    <a:pt x="372" y="209"/>
                  </a:cubicBezTo>
                  <a:cubicBezTo>
                    <a:pt x="371" y="210"/>
                    <a:pt x="371" y="211"/>
                    <a:pt x="371" y="211"/>
                  </a:cubicBezTo>
                  <a:cubicBezTo>
                    <a:pt x="370" y="211"/>
                    <a:pt x="370" y="211"/>
                    <a:pt x="370" y="211"/>
                  </a:cubicBezTo>
                  <a:cubicBezTo>
                    <a:pt x="369" y="211"/>
                    <a:pt x="369" y="211"/>
                    <a:pt x="369" y="211"/>
                  </a:cubicBezTo>
                  <a:cubicBezTo>
                    <a:pt x="369" y="212"/>
                    <a:pt x="369" y="212"/>
                    <a:pt x="369" y="212"/>
                  </a:cubicBezTo>
                  <a:cubicBezTo>
                    <a:pt x="368" y="212"/>
                    <a:pt x="368" y="212"/>
                    <a:pt x="368" y="212"/>
                  </a:cubicBezTo>
                  <a:cubicBezTo>
                    <a:pt x="362" y="209"/>
                    <a:pt x="362" y="209"/>
                    <a:pt x="362" y="209"/>
                  </a:cubicBezTo>
                  <a:cubicBezTo>
                    <a:pt x="361" y="210"/>
                    <a:pt x="361" y="210"/>
                    <a:pt x="361" y="210"/>
                  </a:cubicBezTo>
                  <a:cubicBezTo>
                    <a:pt x="360" y="211"/>
                    <a:pt x="360" y="211"/>
                    <a:pt x="360" y="211"/>
                  </a:cubicBezTo>
                  <a:cubicBezTo>
                    <a:pt x="360" y="211"/>
                    <a:pt x="360" y="211"/>
                    <a:pt x="360" y="211"/>
                  </a:cubicBezTo>
                  <a:cubicBezTo>
                    <a:pt x="359" y="211"/>
                    <a:pt x="359" y="212"/>
                    <a:pt x="358" y="212"/>
                  </a:cubicBezTo>
                  <a:cubicBezTo>
                    <a:pt x="358" y="212"/>
                    <a:pt x="358" y="212"/>
                    <a:pt x="358" y="212"/>
                  </a:cubicBezTo>
                  <a:cubicBezTo>
                    <a:pt x="358" y="212"/>
                    <a:pt x="357" y="212"/>
                    <a:pt x="357" y="212"/>
                  </a:cubicBezTo>
                  <a:cubicBezTo>
                    <a:pt x="357" y="212"/>
                    <a:pt x="357" y="212"/>
                    <a:pt x="357" y="212"/>
                  </a:cubicBezTo>
                  <a:cubicBezTo>
                    <a:pt x="356" y="212"/>
                    <a:pt x="356" y="212"/>
                    <a:pt x="356" y="212"/>
                  </a:cubicBezTo>
                  <a:cubicBezTo>
                    <a:pt x="355" y="212"/>
                    <a:pt x="354" y="212"/>
                    <a:pt x="354" y="211"/>
                  </a:cubicBezTo>
                  <a:cubicBezTo>
                    <a:pt x="353" y="211"/>
                    <a:pt x="352" y="210"/>
                    <a:pt x="350" y="210"/>
                  </a:cubicBezTo>
                  <a:cubicBezTo>
                    <a:pt x="349" y="209"/>
                    <a:pt x="348" y="209"/>
                    <a:pt x="347" y="209"/>
                  </a:cubicBezTo>
                  <a:cubicBezTo>
                    <a:pt x="344" y="209"/>
                    <a:pt x="344" y="209"/>
                    <a:pt x="344" y="209"/>
                  </a:cubicBezTo>
                  <a:cubicBezTo>
                    <a:pt x="343" y="208"/>
                    <a:pt x="342" y="208"/>
                    <a:pt x="342" y="207"/>
                  </a:cubicBezTo>
                  <a:cubicBezTo>
                    <a:pt x="340" y="206"/>
                    <a:pt x="340" y="205"/>
                    <a:pt x="340" y="204"/>
                  </a:cubicBezTo>
                  <a:cubicBezTo>
                    <a:pt x="339" y="203"/>
                    <a:pt x="339" y="203"/>
                    <a:pt x="339" y="203"/>
                  </a:cubicBezTo>
                  <a:cubicBezTo>
                    <a:pt x="339" y="203"/>
                    <a:pt x="339" y="203"/>
                    <a:pt x="339" y="203"/>
                  </a:cubicBezTo>
                  <a:cubicBezTo>
                    <a:pt x="333" y="201"/>
                    <a:pt x="333" y="201"/>
                    <a:pt x="333" y="201"/>
                  </a:cubicBezTo>
                  <a:cubicBezTo>
                    <a:pt x="332" y="205"/>
                    <a:pt x="332" y="205"/>
                    <a:pt x="332" y="205"/>
                  </a:cubicBezTo>
                  <a:cubicBezTo>
                    <a:pt x="332" y="200"/>
                    <a:pt x="332" y="200"/>
                    <a:pt x="332" y="200"/>
                  </a:cubicBezTo>
                  <a:cubicBezTo>
                    <a:pt x="331" y="200"/>
                    <a:pt x="331" y="200"/>
                    <a:pt x="331" y="200"/>
                  </a:cubicBezTo>
                  <a:cubicBezTo>
                    <a:pt x="330" y="200"/>
                    <a:pt x="328" y="199"/>
                    <a:pt x="326" y="198"/>
                  </a:cubicBezTo>
                  <a:cubicBezTo>
                    <a:pt x="326" y="198"/>
                    <a:pt x="326" y="198"/>
                    <a:pt x="326" y="198"/>
                  </a:cubicBezTo>
                  <a:cubicBezTo>
                    <a:pt x="325" y="199"/>
                    <a:pt x="324" y="199"/>
                    <a:pt x="324" y="199"/>
                  </a:cubicBezTo>
                  <a:cubicBezTo>
                    <a:pt x="323" y="199"/>
                    <a:pt x="323" y="199"/>
                    <a:pt x="323" y="199"/>
                  </a:cubicBezTo>
                  <a:cubicBezTo>
                    <a:pt x="323" y="199"/>
                    <a:pt x="323" y="199"/>
                    <a:pt x="323" y="199"/>
                  </a:cubicBezTo>
                  <a:cubicBezTo>
                    <a:pt x="322" y="199"/>
                    <a:pt x="322" y="199"/>
                    <a:pt x="322" y="199"/>
                  </a:cubicBezTo>
                  <a:cubicBezTo>
                    <a:pt x="320" y="199"/>
                    <a:pt x="319" y="198"/>
                    <a:pt x="316" y="196"/>
                  </a:cubicBezTo>
                  <a:cubicBezTo>
                    <a:pt x="315" y="196"/>
                    <a:pt x="315" y="196"/>
                    <a:pt x="315" y="196"/>
                  </a:cubicBezTo>
                  <a:cubicBezTo>
                    <a:pt x="314" y="195"/>
                    <a:pt x="314" y="194"/>
                    <a:pt x="313" y="194"/>
                  </a:cubicBezTo>
                  <a:cubicBezTo>
                    <a:pt x="313" y="194"/>
                    <a:pt x="312" y="193"/>
                    <a:pt x="311" y="193"/>
                  </a:cubicBezTo>
                  <a:cubicBezTo>
                    <a:pt x="311" y="192"/>
                    <a:pt x="311" y="192"/>
                    <a:pt x="311" y="192"/>
                  </a:cubicBezTo>
                  <a:cubicBezTo>
                    <a:pt x="309" y="191"/>
                    <a:pt x="308" y="189"/>
                    <a:pt x="306" y="188"/>
                  </a:cubicBezTo>
                  <a:cubicBezTo>
                    <a:pt x="306" y="187"/>
                    <a:pt x="306" y="187"/>
                    <a:pt x="306" y="187"/>
                  </a:cubicBezTo>
                  <a:cubicBezTo>
                    <a:pt x="304" y="186"/>
                    <a:pt x="303" y="185"/>
                    <a:pt x="301" y="184"/>
                  </a:cubicBezTo>
                  <a:cubicBezTo>
                    <a:pt x="299" y="183"/>
                    <a:pt x="298" y="182"/>
                    <a:pt x="296" y="181"/>
                  </a:cubicBezTo>
                  <a:cubicBezTo>
                    <a:pt x="293" y="180"/>
                    <a:pt x="293" y="180"/>
                    <a:pt x="293" y="180"/>
                  </a:cubicBezTo>
                  <a:cubicBezTo>
                    <a:pt x="292" y="182"/>
                    <a:pt x="292" y="182"/>
                    <a:pt x="292" y="182"/>
                  </a:cubicBezTo>
                  <a:cubicBezTo>
                    <a:pt x="289" y="181"/>
                    <a:pt x="289" y="181"/>
                    <a:pt x="289" y="181"/>
                  </a:cubicBezTo>
                  <a:cubicBezTo>
                    <a:pt x="287" y="180"/>
                    <a:pt x="283" y="178"/>
                    <a:pt x="282" y="177"/>
                  </a:cubicBezTo>
                  <a:cubicBezTo>
                    <a:pt x="278" y="174"/>
                    <a:pt x="277" y="172"/>
                    <a:pt x="278" y="169"/>
                  </a:cubicBezTo>
                  <a:cubicBezTo>
                    <a:pt x="278" y="168"/>
                    <a:pt x="278" y="167"/>
                    <a:pt x="279" y="166"/>
                  </a:cubicBezTo>
                  <a:cubicBezTo>
                    <a:pt x="279" y="164"/>
                    <a:pt x="280" y="163"/>
                    <a:pt x="281" y="161"/>
                  </a:cubicBezTo>
                  <a:cubicBezTo>
                    <a:pt x="282" y="160"/>
                    <a:pt x="282" y="160"/>
                    <a:pt x="282" y="160"/>
                  </a:cubicBezTo>
                  <a:cubicBezTo>
                    <a:pt x="282" y="160"/>
                    <a:pt x="282" y="159"/>
                    <a:pt x="282" y="159"/>
                  </a:cubicBezTo>
                  <a:cubicBezTo>
                    <a:pt x="282" y="158"/>
                    <a:pt x="282" y="158"/>
                    <a:pt x="282" y="157"/>
                  </a:cubicBezTo>
                  <a:cubicBezTo>
                    <a:pt x="282" y="156"/>
                    <a:pt x="282" y="156"/>
                    <a:pt x="282" y="155"/>
                  </a:cubicBezTo>
                  <a:cubicBezTo>
                    <a:pt x="282" y="154"/>
                    <a:pt x="283" y="153"/>
                    <a:pt x="283" y="153"/>
                  </a:cubicBezTo>
                  <a:cubicBezTo>
                    <a:pt x="285" y="151"/>
                    <a:pt x="285" y="151"/>
                    <a:pt x="285" y="151"/>
                  </a:cubicBezTo>
                  <a:cubicBezTo>
                    <a:pt x="285" y="150"/>
                    <a:pt x="285" y="150"/>
                    <a:pt x="285" y="150"/>
                  </a:cubicBezTo>
                  <a:cubicBezTo>
                    <a:pt x="285" y="150"/>
                    <a:pt x="285" y="150"/>
                    <a:pt x="285" y="150"/>
                  </a:cubicBezTo>
                  <a:cubicBezTo>
                    <a:pt x="286" y="149"/>
                    <a:pt x="286" y="149"/>
                    <a:pt x="286" y="149"/>
                  </a:cubicBezTo>
                  <a:cubicBezTo>
                    <a:pt x="298" y="137"/>
                    <a:pt x="298" y="137"/>
                    <a:pt x="298" y="137"/>
                  </a:cubicBezTo>
                  <a:cubicBezTo>
                    <a:pt x="282" y="129"/>
                    <a:pt x="282" y="129"/>
                    <a:pt x="282" y="129"/>
                  </a:cubicBezTo>
                  <a:cubicBezTo>
                    <a:pt x="281" y="129"/>
                    <a:pt x="281" y="128"/>
                    <a:pt x="281" y="127"/>
                  </a:cubicBezTo>
                  <a:cubicBezTo>
                    <a:pt x="280" y="126"/>
                    <a:pt x="280" y="126"/>
                    <a:pt x="280" y="126"/>
                  </a:cubicBezTo>
                  <a:cubicBezTo>
                    <a:pt x="281" y="125"/>
                    <a:pt x="281" y="125"/>
                    <a:pt x="281" y="125"/>
                  </a:cubicBezTo>
                  <a:cubicBezTo>
                    <a:pt x="281" y="124"/>
                    <a:pt x="281" y="124"/>
                    <a:pt x="281" y="124"/>
                  </a:cubicBezTo>
                  <a:cubicBezTo>
                    <a:pt x="281" y="123"/>
                    <a:pt x="280" y="123"/>
                    <a:pt x="280" y="123"/>
                  </a:cubicBezTo>
                  <a:cubicBezTo>
                    <a:pt x="277" y="121"/>
                    <a:pt x="273" y="120"/>
                    <a:pt x="270" y="119"/>
                  </a:cubicBezTo>
                  <a:cubicBezTo>
                    <a:pt x="268" y="119"/>
                    <a:pt x="268" y="119"/>
                    <a:pt x="268" y="119"/>
                  </a:cubicBezTo>
                  <a:cubicBezTo>
                    <a:pt x="268" y="119"/>
                    <a:pt x="267" y="119"/>
                    <a:pt x="267" y="119"/>
                  </a:cubicBezTo>
                  <a:cubicBezTo>
                    <a:pt x="265" y="118"/>
                    <a:pt x="264" y="117"/>
                    <a:pt x="263" y="116"/>
                  </a:cubicBezTo>
                  <a:cubicBezTo>
                    <a:pt x="262" y="115"/>
                    <a:pt x="262" y="115"/>
                    <a:pt x="262" y="115"/>
                  </a:cubicBezTo>
                  <a:cubicBezTo>
                    <a:pt x="261" y="114"/>
                    <a:pt x="261" y="113"/>
                    <a:pt x="260" y="112"/>
                  </a:cubicBezTo>
                  <a:cubicBezTo>
                    <a:pt x="260" y="112"/>
                    <a:pt x="260" y="112"/>
                    <a:pt x="260" y="112"/>
                  </a:cubicBezTo>
                  <a:cubicBezTo>
                    <a:pt x="259" y="111"/>
                    <a:pt x="259" y="110"/>
                    <a:pt x="258" y="110"/>
                  </a:cubicBezTo>
                  <a:cubicBezTo>
                    <a:pt x="258" y="110"/>
                    <a:pt x="258" y="110"/>
                    <a:pt x="258" y="110"/>
                  </a:cubicBezTo>
                  <a:cubicBezTo>
                    <a:pt x="258" y="109"/>
                    <a:pt x="258" y="109"/>
                    <a:pt x="258" y="109"/>
                  </a:cubicBezTo>
                  <a:cubicBezTo>
                    <a:pt x="257" y="108"/>
                    <a:pt x="257" y="108"/>
                    <a:pt x="257" y="108"/>
                  </a:cubicBezTo>
                  <a:cubicBezTo>
                    <a:pt x="257" y="108"/>
                    <a:pt x="257" y="108"/>
                    <a:pt x="257" y="108"/>
                  </a:cubicBezTo>
                  <a:cubicBezTo>
                    <a:pt x="257" y="108"/>
                    <a:pt x="257" y="108"/>
                    <a:pt x="257" y="108"/>
                  </a:cubicBezTo>
                  <a:cubicBezTo>
                    <a:pt x="257" y="108"/>
                    <a:pt x="257" y="108"/>
                    <a:pt x="257" y="108"/>
                  </a:cubicBezTo>
                  <a:cubicBezTo>
                    <a:pt x="256" y="108"/>
                    <a:pt x="256" y="109"/>
                    <a:pt x="255" y="109"/>
                  </a:cubicBezTo>
                  <a:cubicBezTo>
                    <a:pt x="254" y="110"/>
                    <a:pt x="254" y="110"/>
                    <a:pt x="254" y="110"/>
                  </a:cubicBezTo>
                  <a:cubicBezTo>
                    <a:pt x="254" y="110"/>
                    <a:pt x="254" y="110"/>
                    <a:pt x="254" y="110"/>
                  </a:cubicBezTo>
                  <a:cubicBezTo>
                    <a:pt x="251" y="112"/>
                    <a:pt x="251" y="112"/>
                    <a:pt x="251" y="112"/>
                  </a:cubicBezTo>
                  <a:cubicBezTo>
                    <a:pt x="250" y="110"/>
                    <a:pt x="250" y="110"/>
                    <a:pt x="250" y="110"/>
                  </a:cubicBezTo>
                  <a:cubicBezTo>
                    <a:pt x="249" y="109"/>
                    <a:pt x="249" y="109"/>
                    <a:pt x="249" y="109"/>
                  </a:cubicBezTo>
                  <a:cubicBezTo>
                    <a:pt x="248" y="108"/>
                    <a:pt x="248" y="108"/>
                    <a:pt x="247" y="107"/>
                  </a:cubicBezTo>
                  <a:cubicBezTo>
                    <a:pt x="247" y="106"/>
                    <a:pt x="246" y="105"/>
                    <a:pt x="246" y="104"/>
                  </a:cubicBezTo>
                  <a:cubicBezTo>
                    <a:pt x="246" y="104"/>
                    <a:pt x="246" y="104"/>
                    <a:pt x="246" y="104"/>
                  </a:cubicBezTo>
                  <a:cubicBezTo>
                    <a:pt x="245" y="103"/>
                    <a:pt x="245" y="102"/>
                    <a:pt x="245" y="101"/>
                  </a:cubicBezTo>
                  <a:cubicBezTo>
                    <a:pt x="245" y="100"/>
                    <a:pt x="245" y="100"/>
                    <a:pt x="245" y="100"/>
                  </a:cubicBezTo>
                  <a:cubicBezTo>
                    <a:pt x="246" y="98"/>
                    <a:pt x="246" y="96"/>
                    <a:pt x="246" y="95"/>
                  </a:cubicBezTo>
                  <a:cubicBezTo>
                    <a:pt x="246" y="93"/>
                    <a:pt x="246" y="93"/>
                    <a:pt x="246" y="93"/>
                  </a:cubicBezTo>
                  <a:cubicBezTo>
                    <a:pt x="246" y="93"/>
                    <a:pt x="246" y="93"/>
                    <a:pt x="246" y="93"/>
                  </a:cubicBezTo>
                  <a:cubicBezTo>
                    <a:pt x="246" y="92"/>
                    <a:pt x="246" y="92"/>
                    <a:pt x="246" y="92"/>
                  </a:cubicBezTo>
                  <a:cubicBezTo>
                    <a:pt x="245" y="91"/>
                    <a:pt x="243" y="89"/>
                    <a:pt x="243" y="88"/>
                  </a:cubicBezTo>
                  <a:cubicBezTo>
                    <a:pt x="242" y="88"/>
                    <a:pt x="242" y="88"/>
                    <a:pt x="242" y="88"/>
                  </a:cubicBezTo>
                  <a:cubicBezTo>
                    <a:pt x="240" y="85"/>
                    <a:pt x="239" y="82"/>
                    <a:pt x="238" y="78"/>
                  </a:cubicBezTo>
                  <a:cubicBezTo>
                    <a:pt x="238" y="77"/>
                    <a:pt x="238" y="76"/>
                    <a:pt x="239" y="74"/>
                  </a:cubicBezTo>
                  <a:cubicBezTo>
                    <a:pt x="240" y="73"/>
                    <a:pt x="241" y="72"/>
                    <a:pt x="242" y="72"/>
                  </a:cubicBezTo>
                  <a:cubicBezTo>
                    <a:pt x="243" y="72"/>
                    <a:pt x="244" y="72"/>
                    <a:pt x="244" y="72"/>
                  </a:cubicBezTo>
                  <a:cubicBezTo>
                    <a:pt x="244" y="71"/>
                    <a:pt x="244" y="71"/>
                    <a:pt x="244" y="71"/>
                  </a:cubicBezTo>
                  <a:cubicBezTo>
                    <a:pt x="245" y="71"/>
                    <a:pt x="245" y="71"/>
                    <a:pt x="246" y="71"/>
                  </a:cubicBezTo>
                  <a:cubicBezTo>
                    <a:pt x="255" y="69"/>
                    <a:pt x="255" y="69"/>
                    <a:pt x="255" y="69"/>
                  </a:cubicBezTo>
                  <a:cubicBezTo>
                    <a:pt x="252" y="74"/>
                    <a:pt x="252" y="74"/>
                    <a:pt x="252" y="74"/>
                  </a:cubicBezTo>
                  <a:cubicBezTo>
                    <a:pt x="252" y="74"/>
                    <a:pt x="252" y="74"/>
                    <a:pt x="252" y="74"/>
                  </a:cubicBezTo>
                  <a:cubicBezTo>
                    <a:pt x="252" y="75"/>
                    <a:pt x="252" y="75"/>
                    <a:pt x="252" y="75"/>
                  </a:cubicBezTo>
                  <a:cubicBezTo>
                    <a:pt x="254" y="76"/>
                    <a:pt x="255" y="77"/>
                    <a:pt x="255" y="77"/>
                  </a:cubicBezTo>
                  <a:cubicBezTo>
                    <a:pt x="255" y="77"/>
                    <a:pt x="255" y="77"/>
                    <a:pt x="255" y="77"/>
                  </a:cubicBezTo>
                  <a:cubicBezTo>
                    <a:pt x="256" y="77"/>
                    <a:pt x="260" y="75"/>
                    <a:pt x="263" y="70"/>
                  </a:cubicBezTo>
                  <a:cubicBezTo>
                    <a:pt x="263" y="69"/>
                    <a:pt x="263" y="69"/>
                    <a:pt x="263" y="69"/>
                  </a:cubicBezTo>
                  <a:cubicBezTo>
                    <a:pt x="263" y="68"/>
                    <a:pt x="263" y="68"/>
                    <a:pt x="262" y="67"/>
                  </a:cubicBezTo>
                  <a:cubicBezTo>
                    <a:pt x="262" y="66"/>
                    <a:pt x="262" y="65"/>
                    <a:pt x="262" y="64"/>
                  </a:cubicBezTo>
                  <a:cubicBezTo>
                    <a:pt x="262" y="62"/>
                    <a:pt x="262" y="62"/>
                    <a:pt x="262" y="62"/>
                  </a:cubicBezTo>
                  <a:cubicBezTo>
                    <a:pt x="262" y="62"/>
                    <a:pt x="262" y="61"/>
                    <a:pt x="262" y="61"/>
                  </a:cubicBezTo>
                  <a:cubicBezTo>
                    <a:pt x="261" y="61"/>
                    <a:pt x="261" y="61"/>
                    <a:pt x="261" y="61"/>
                  </a:cubicBezTo>
                  <a:cubicBezTo>
                    <a:pt x="260" y="61"/>
                    <a:pt x="260" y="61"/>
                    <a:pt x="260" y="61"/>
                  </a:cubicBezTo>
                  <a:cubicBezTo>
                    <a:pt x="257" y="60"/>
                    <a:pt x="255" y="58"/>
                    <a:pt x="253" y="57"/>
                  </a:cubicBezTo>
                  <a:cubicBezTo>
                    <a:pt x="252" y="56"/>
                    <a:pt x="252" y="56"/>
                    <a:pt x="252" y="56"/>
                  </a:cubicBezTo>
                  <a:cubicBezTo>
                    <a:pt x="252" y="55"/>
                    <a:pt x="251" y="54"/>
                    <a:pt x="251" y="54"/>
                  </a:cubicBezTo>
                  <a:cubicBezTo>
                    <a:pt x="250" y="53"/>
                    <a:pt x="250" y="53"/>
                    <a:pt x="250" y="53"/>
                  </a:cubicBezTo>
                  <a:cubicBezTo>
                    <a:pt x="250" y="52"/>
                    <a:pt x="250" y="52"/>
                    <a:pt x="250" y="52"/>
                  </a:cubicBezTo>
                  <a:cubicBezTo>
                    <a:pt x="250" y="51"/>
                    <a:pt x="250" y="51"/>
                    <a:pt x="250" y="51"/>
                  </a:cubicBezTo>
                  <a:cubicBezTo>
                    <a:pt x="249" y="47"/>
                    <a:pt x="249" y="47"/>
                    <a:pt x="249" y="47"/>
                  </a:cubicBezTo>
                  <a:cubicBezTo>
                    <a:pt x="243" y="49"/>
                    <a:pt x="243" y="49"/>
                    <a:pt x="243" y="49"/>
                  </a:cubicBezTo>
                  <a:cubicBezTo>
                    <a:pt x="248" y="46"/>
                    <a:pt x="248" y="46"/>
                    <a:pt x="248" y="46"/>
                  </a:cubicBezTo>
                  <a:cubicBezTo>
                    <a:pt x="247" y="40"/>
                    <a:pt x="247" y="40"/>
                    <a:pt x="247" y="40"/>
                  </a:cubicBezTo>
                  <a:cubicBezTo>
                    <a:pt x="247" y="40"/>
                    <a:pt x="247" y="40"/>
                    <a:pt x="247" y="40"/>
                  </a:cubicBezTo>
                  <a:cubicBezTo>
                    <a:pt x="246" y="39"/>
                    <a:pt x="246" y="39"/>
                    <a:pt x="246" y="39"/>
                  </a:cubicBezTo>
                  <a:cubicBezTo>
                    <a:pt x="246" y="39"/>
                    <a:pt x="246" y="39"/>
                    <a:pt x="246" y="38"/>
                  </a:cubicBezTo>
                  <a:cubicBezTo>
                    <a:pt x="246" y="36"/>
                    <a:pt x="246" y="34"/>
                    <a:pt x="247" y="33"/>
                  </a:cubicBezTo>
                  <a:cubicBezTo>
                    <a:pt x="247" y="32"/>
                    <a:pt x="247" y="32"/>
                    <a:pt x="247" y="32"/>
                  </a:cubicBezTo>
                  <a:cubicBezTo>
                    <a:pt x="250" y="29"/>
                    <a:pt x="250" y="29"/>
                    <a:pt x="250" y="29"/>
                  </a:cubicBezTo>
                  <a:cubicBezTo>
                    <a:pt x="250" y="29"/>
                    <a:pt x="249" y="29"/>
                    <a:pt x="249" y="29"/>
                  </a:cubicBezTo>
                  <a:cubicBezTo>
                    <a:pt x="248" y="29"/>
                    <a:pt x="248" y="29"/>
                    <a:pt x="248" y="29"/>
                  </a:cubicBezTo>
                  <a:cubicBezTo>
                    <a:pt x="246" y="28"/>
                    <a:pt x="243" y="27"/>
                    <a:pt x="241" y="25"/>
                  </a:cubicBezTo>
                  <a:cubicBezTo>
                    <a:pt x="239" y="24"/>
                    <a:pt x="237" y="22"/>
                    <a:pt x="236" y="20"/>
                  </a:cubicBezTo>
                  <a:cubicBezTo>
                    <a:pt x="235" y="19"/>
                    <a:pt x="235" y="19"/>
                    <a:pt x="235" y="19"/>
                  </a:cubicBezTo>
                  <a:cubicBezTo>
                    <a:pt x="232" y="11"/>
                    <a:pt x="232" y="11"/>
                    <a:pt x="232" y="11"/>
                  </a:cubicBezTo>
                  <a:cubicBezTo>
                    <a:pt x="232" y="10"/>
                    <a:pt x="232" y="9"/>
                    <a:pt x="231" y="9"/>
                  </a:cubicBezTo>
                  <a:cubicBezTo>
                    <a:pt x="231" y="8"/>
                    <a:pt x="230" y="7"/>
                    <a:pt x="230" y="7"/>
                  </a:cubicBezTo>
                  <a:cubicBezTo>
                    <a:pt x="230" y="6"/>
                    <a:pt x="229" y="5"/>
                    <a:pt x="229" y="3"/>
                  </a:cubicBezTo>
                  <a:cubicBezTo>
                    <a:pt x="229" y="2"/>
                    <a:pt x="229" y="1"/>
                    <a:pt x="2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7" name="Rectangle 1526">
              <a:extLst>
                <a:ext uri="{FF2B5EF4-FFF2-40B4-BE49-F238E27FC236}">
                  <a16:creationId xmlns:a16="http://schemas.microsoft.com/office/drawing/2014/main" id="{195D29A4-D8E9-47D4-9C77-44BD704BED48}"/>
                </a:ext>
              </a:extLst>
            </p:cNvPr>
            <p:cNvSpPr>
              <a:spLocks noChangeArrowheads="1"/>
            </p:cNvSpPr>
            <p:nvPr/>
          </p:nvSpPr>
          <p:spPr bwMode="auto">
            <a:xfrm>
              <a:off x="484583" y="3112880"/>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8" name="Freeform 1527">
              <a:extLst>
                <a:ext uri="{FF2B5EF4-FFF2-40B4-BE49-F238E27FC236}">
                  <a16:creationId xmlns:a16="http://schemas.microsoft.com/office/drawing/2014/main" id="{B5BFBFC2-5CC9-4A33-AA29-34D1C3E68EAD}"/>
                </a:ext>
              </a:extLst>
            </p:cNvPr>
            <p:cNvSpPr>
              <a:spLocks/>
            </p:cNvSpPr>
            <p:nvPr/>
          </p:nvSpPr>
          <p:spPr bwMode="auto">
            <a:xfrm>
              <a:off x="484583" y="311288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9" name="Freeform 1528">
              <a:extLst>
                <a:ext uri="{FF2B5EF4-FFF2-40B4-BE49-F238E27FC236}">
                  <a16:creationId xmlns:a16="http://schemas.microsoft.com/office/drawing/2014/main" id="{854E32D3-9A23-4639-A04C-8D4B6BFF69D9}"/>
                </a:ext>
              </a:extLst>
            </p:cNvPr>
            <p:cNvSpPr>
              <a:spLocks/>
            </p:cNvSpPr>
            <p:nvPr/>
          </p:nvSpPr>
          <p:spPr bwMode="auto">
            <a:xfrm>
              <a:off x="532907" y="24699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0" name="Freeform 1529">
              <a:extLst>
                <a:ext uri="{FF2B5EF4-FFF2-40B4-BE49-F238E27FC236}">
                  <a16:creationId xmlns:a16="http://schemas.microsoft.com/office/drawing/2014/main" id="{3F1C3883-DCBC-4A82-8CC2-032CF9ACECC5}"/>
                </a:ext>
              </a:extLst>
            </p:cNvPr>
            <p:cNvSpPr>
              <a:spLocks/>
            </p:cNvSpPr>
            <p:nvPr/>
          </p:nvSpPr>
          <p:spPr bwMode="auto">
            <a:xfrm>
              <a:off x="532907" y="2469901"/>
              <a:ext cx="0" cy="0"/>
            </a:xfrm>
            <a:custGeom>
              <a:avLst/>
              <a:gdLst/>
              <a:ahLst/>
              <a:cxnLst>
                <a:cxn ang="0">
                  <a:pos x="0" y="0"/>
                </a:cxn>
                <a:cxn ang="0">
                  <a:pos x="0" y="0"/>
                </a:cxn>
                <a:cxn ang="0">
                  <a:pos x="0" y="0"/>
                </a:cxn>
              </a:cxnLst>
              <a:rect l="0" t="0" r="r" b="b"/>
              <a:pathLst>
                <a:path>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1" name="Freeform 1530">
              <a:extLst>
                <a:ext uri="{FF2B5EF4-FFF2-40B4-BE49-F238E27FC236}">
                  <a16:creationId xmlns:a16="http://schemas.microsoft.com/office/drawing/2014/main" id="{7AD4964C-3A54-44D4-A153-2BDB522E593C}"/>
                </a:ext>
              </a:extLst>
            </p:cNvPr>
            <p:cNvSpPr>
              <a:spLocks noEditPoints="1"/>
            </p:cNvSpPr>
            <p:nvPr/>
          </p:nvSpPr>
          <p:spPr bwMode="auto">
            <a:xfrm>
              <a:off x="0" y="2021560"/>
              <a:ext cx="1167832" cy="1081924"/>
            </a:xfrm>
            <a:custGeom>
              <a:avLst/>
              <a:gdLst>
                <a:gd name="T0" fmla="*/ 294 w 368"/>
                <a:gd name="T1" fmla="*/ 5 h 341"/>
                <a:gd name="T2" fmla="*/ 274 w 368"/>
                <a:gd name="T3" fmla="*/ 4 h 341"/>
                <a:gd name="T4" fmla="*/ 239 w 368"/>
                <a:gd name="T5" fmla="*/ 16 h 341"/>
                <a:gd name="T6" fmla="*/ 234 w 368"/>
                <a:gd name="T7" fmla="*/ 33 h 341"/>
                <a:gd name="T8" fmla="*/ 237 w 368"/>
                <a:gd name="T9" fmla="*/ 47 h 341"/>
                <a:gd name="T10" fmla="*/ 224 w 368"/>
                <a:gd name="T11" fmla="*/ 62 h 341"/>
                <a:gd name="T12" fmla="*/ 225 w 368"/>
                <a:gd name="T13" fmla="*/ 74 h 341"/>
                <a:gd name="T14" fmla="*/ 197 w 368"/>
                <a:gd name="T15" fmla="*/ 80 h 341"/>
                <a:gd name="T16" fmla="*/ 196 w 368"/>
                <a:gd name="T17" fmla="*/ 104 h 341"/>
                <a:gd name="T18" fmla="*/ 190 w 368"/>
                <a:gd name="T19" fmla="*/ 105 h 341"/>
                <a:gd name="T20" fmla="*/ 185 w 368"/>
                <a:gd name="T21" fmla="*/ 115 h 341"/>
                <a:gd name="T22" fmla="*/ 172 w 368"/>
                <a:gd name="T23" fmla="*/ 142 h 341"/>
                <a:gd name="T24" fmla="*/ 165 w 368"/>
                <a:gd name="T25" fmla="*/ 141 h 341"/>
                <a:gd name="T26" fmla="*/ 154 w 368"/>
                <a:gd name="T27" fmla="*/ 140 h 341"/>
                <a:gd name="T28" fmla="*/ 137 w 368"/>
                <a:gd name="T29" fmla="*/ 153 h 341"/>
                <a:gd name="T30" fmla="*/ 122 w 368"/>
                <a:gd name="T31" fmla="*/ 153 h 341"/>
                <a:gd name="T32" fmla="*/ 112 w 368"/>
                <a:gd name="T33" fmla="*/ 171 h 341"/>
                <a:gd name="T34" fmla="*/ 104 w 368"/>
                <a:gd name="T35" fmla="*/ 191 h 341"/>
                <a:gd name="T36" fmla="*/ 62 w 368"/>
                <a:gd name="T37" fmla="*/ 199 h 341"/>
                <a:gd name="T38" fmla="*/ 53 w 368"/>
                <a:gd name="T39" fmla="*/ 200 h 341"/>
                <a:gd name="T40" fmla="*/ 34 w 368"/>
                <a:gd name="T41" fmla="*/ 200 h 341"/>
                <a:gd name="T42" fmla="*/ 0 w 368"/>
                <a:gd name="T43" fmla="*/ 207 h 341"/>
                <a:gd name="T44" fmla="*/ 24 w 368"/>
                <a:gd name="T45" fmla="*/ 224 h 341"/>
                <a:gd name="T46" fmla="*/ 29 w 368"/>
                <a:gd name="T47" fmla="*/ 250 h 341"/>
                <a:gd name="T48" fmla="*/ 38 w 368"/>
                <a:gd name="T49" fmla="*/ 268 h 341"/>
                <a:gd name="T50" fmla="*/ 12 w 368"/>
                <a:gd name="T51" fmla="*/ 277 h 341"/>
                <a:gd name="T52" fmla="*/ 2 w 368"/>
                <a:gd name="T53" fmla="*/ 305 h 341"/>
                <a:gd name="T54" fmla="*/ 38 w 368"/>
                <a:gd name="T55" fmla="*/ 304 h 341"/>
                <a:gd name="T56" fmla="*/ 61 w 368"/>
                <a:gd name="T57" fmla="*/ 302 h 341"/>
                <a:gd name="T58" fmla="*/ 110 w 368"/>
                <a:gd name="T59" fmla="*/ 300 h 341"/>
                <a:gd name="T60" fmla="*/ 115 w 368"/>
                <a:gd name="T61" fmla="*/ 297 h 341"/>
                <a:gd name="T62" fmla="*/ 131 w 368"/>
                <a:gd name="T63" fmla="*/ 324 h 341"/>
                <a:gd name="T64" fmla="*/ 153 w 368"/>
                <a:gd name="T65" fmla="*/ 337 h 341"/>
                <a:gd name="T66" fmla="*/ 164 w 368"/>
                <a:gd name="T67" fmla="*/ 323 h 341"/>
                <a:gd name="T68" fmla="*/ 195 w 368"/>
                <a:gd name="T69" fmla="*/ 327 h 341"/>
                <a:gd name="T70" fmla="*/ 210 w 368"/>
                <a:gd name="T71" fmla="*/ 321 h 341"/>
                <a:gd name="T72" fmla="*/ 217 w 368"/>
                <a:gd name="T73" fmla="*/ 319 h 341"/>
                <a:gd name="T74" fmla="*/ 211 w 368"/>
                <a:gd name="T75" fmla="*/ 301 h 341"/>
                <a:gd name="T76" fmla="*/ 203 w 368"/>
                <a:gd name="T77" fmla="*/ 294 h 341"/>
                <a:gd name="T78" fmla="*/ 197 w 368"/>
                <a:gd name="T79" fmla="*/ 273 h 341"/>
                <a:gd name="T80" fmla="*/ 183 w 368"/>
                <a:gd name="T81" fmla="*/ 268 h 341"/>
                <a:gd name="T82" fmla="*/ 198 w 368"/>
                <a:gd name="T83" fmla="*/ 236 h 341"/>
                <a:gd name="T84" fmla="*/ 205 w 368"/>
                <a:gd name="T85" fmla="*/ 231 h 341"/>
                <a:gd name="T86" fmla="*/ 215 w 368"/>
                <a:gd name="T87" fmla="*/ 236 h 341"/>
                <a:gd name="T88" fmla="*/ 225 w 368"/>
                <a:gd name="T89" fmla="*/ 230 h 341"/>
                <a:gd name="T90" fmla="*/ 250 w 368"/>
                <a:gd name="T91" fmla="*/ 214 h 341"/>
                <a:gd name="T92" fmla="*/ 270 w 368"/>
                <a:gd name="T93" fmla="*/ 192 h 341"/>
                <a:gd name="T94" fmla="*/ 285 w 368"/>
                <a:gd name="T95" fmla="*/ 170 h 341"/>
                <a:gd name="T96" fmla="*/ 301 w 368"/>
                <a:gd name="T97" fmla="*/ 147 h 341"/>
                <a:gd name="T98" fmla="*/ 306 w 368"/>
                <a:gd name="T99" fmla="*/ 130 h 341"/>
                <a:gd name="T100" fmla="*/ 318 w 368"/>
                <a:gd name="T101" fmla="*/ 123 h 341"/>
                <a:gd name="T102" fmla="*/ 304 w 368"/>
                <a:gd name="T103" fmla="*/ 118 h 341"/>
                <a:gd name="T104" fmla="*/ 283 w 368"/>
                <a:gd name="T105" fmla="*/ 103 h 341"/>
                <a:gd name="T106" fmla="*/ 288 w 368"/>
                <a:gd name="T107" fmla="*/ 85 h 341"/>
                <a:gd name="T108" fmla="*/ 288 w 368"/>
                <a:gd name="T109" fmla="*/ 79 h 341"/>
                <a:gd name="T110" fmla="*/ 283 w 368"/>
                <a:gd name="T111" fmla="*/ 69 h 341"/>
                <a:gd name="T112" fmla="*/ 305 w 368"/>
                <a:gd name="T113" fmla="*/ 56 h 341"/>
                <a:gd name="T114" fmla="*/ 328 w 368"/>
                <a:gd name="T115" fmla="*/ 61 h 341"/>
                <a:gd name="T116" fmla="*/ 349 w 368"/>
                <a:gd name="T117" fmla="*/ 56 h 341"/>
                <a:gd name="T118" fmla="*/ 367 w 368"/>
                <a:gd name="T119" fmla="*/ 40 h 341"/>
                <a:gd name="T120" fmla="*/ 338 w 368"/>
                <a:gd name="T121" fmla="*/ 30 h 341"/>
                <a:gd name="T122" fmla="*/ 334 w 368"/>
                <a:gd name="T123" fmla="*/ 12 h 341"/>
                <a:gd name="T124" fmla="*/ 311 w 368"/>
                <a:gd name="T125" fmla="*/ 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341">
                  <a:moveTo>
                    <a:pt x="114" y="299"/>
                  </a:moveTo>
                  <a:cubicBezTo>
                    <a:pt x="114" y="299"/>
                    <a:pt x="114" y="299"/>
                    <a:pt x="114" y="299"/>
                  </a:cubicBezTo>
                  <a:cubicBezTo>
                    <a:pt x="114" y="299"/>
                    <a:pt x="114" y="299"/>
                    <a:pt x="114" y="299"/>
                  </a:cubicBezTo>
                  <a:moveTo>
                    <a:pt x="305" y="0"/>
                  </a:moveTo>
                  <a:cubicBezTo>
                    <a:pt x="305" y="0"/>
                    <a:pt x="305" y="0"/>
                    <a:pt x="304" y="0"/>
                  </a:cubicBezTo>
                  <a:cubicBezTo>
                    <a:pt x="303" y="0"/>
                    <a:pt x="302" y="1"/>
                    <a:pt x="301" y="2"/>
                  </a:cubicBezTo>
                  <a:cubicBezTo>
                    <a:pt x="301" y="2"/>
                    <a:pt x="301" y="2"/>
                    <a:pt x="301" y="2"/>
                  </a:cubicBezTo>
                  <a:cubicBezTo>
                    <a:pt x="298" y="3"/>
                    <a:pt x="296" y="4"/>
                    <a:pt x="294" y="5"/>
                  </a:cubicBezTo>
                  <a:cubicBezTo>
                    <a:pt x="293" y="5"/>
                    <a:pt x="293" y="5"/>
                    <a:pt x="293" y="5"/>
                  </a:cubicBezTo>
                  <a:cubicBezTo>
                    <a:pt x="292" y="5"/>
                    <a:pt x="292" y="6"/>
                    <a:pt x="291" y="6"/>
                  </a:cubicBezTo>
                  <a:cubicBezTo>
                    <a:pt x="289" y="6"/>
                    <a:pt x="287" y="5"/>
                    <a:pt x="286" y="4"/>
                  </a:cubicBezTo>
                  <a:cubicBezTo>
                    <a:pt x="285" y="4"/>
                    <a:pt x="285" y="4"/>
                    <a:pt x="285" y="4"/>
                  </a:cubicBezTo>
                  <a:cubicBezTo>
                    <a:pt x="284" y="4"/>
                    <a:pt x="284" y="4"/>
                    <a:pt x="284" y="4"/>
                  </a:cubicBezTo>
                  <a:cubicBezTo>
                    <a:pt x="284" y="4"/>
                    <a:pt x="283" y="4"/>
                    <a:pt x="283" y="4"/>
                  </a:cubicBezTo>
                  <a:cubicBezTo>
                    <a:pt x="281" y="4"/>
                    <a:pt x="279" y="4"/>
                    <a:pt x="278" y="4"/>
                  </a:cubicBezTo>
                  <a:cubicBezTo>
                    <a:pt x="274" y="4"/>
                    <a:pt x="274" y="4"/>
                    <a:pt x="274" y="4"/>
                  </a:cubicBezTo>
                  <a:cubicBezTo>
                    <a:pt x="271" y="4"/>
                    <a:pt x="269" y="5"/>
                    <a:pt x="266" y="5"/>
                  </a:cubicBezTo>
                  <a:cubicBezTo>
                    <a:pt x="262" y="5"/>
                    <a:pt x="262" y="5"/>
                    <a:pt x="262" y="5"/>
                  </a:cubicBezTo>
                  <a:cubicBezTo>
                    <a:pt x="260" y="5"/>
                    <a:pt x="258" y="6"/>
                    <a:pt x="256" y="7"/>
                  </a:cubicBezTo>
                  <a:cubicBezTo>
                    <a:pt x="253" y="8"/>
                    <a:pt x="251" y="10"/>
                    <a:pt x="248" y="11"/>
                  </a:cubicBezTo>
                  <a:cubicBezTo>
                    <a:pt x="247" y="12"/>
                    <a:pt x="247" y="12"/>
                    <a:pt x="247" y="12"/>
                  </a:cubicBezTo>
                  <a:cubicBezTo>
                    <a:pt x="245" y="13"/>
                    <a:pt x="243" y="14"/>
                    <a:pt x="242" y="15"/>
                  </a:cubicBezTo>
                  <a:cubicBezTo>
                    <a:pt x="241" y="16"/>
                    <a:pt x="240" y="16"/>
                    <a:pt x="239" y="16"/>
                  </a:cubicBezTo>
                  <a:cubicBezTo>
                    <a:pt x="239" y="16"/>
                    <a:pt x="239" y="16"/>
                    <a:pt x="239" y="16"/>
                  </a:cubicBezTo>
                  <a:cubicBezTo>
                    <a:pt x="238" y="16"/>
                    <a:pt x="237" y="16"/>
                    <a:pt x="236" y="16"/>
                  </a:cubicBezTo>
                  <a:cubicBezTo>
                    <a:pt x="236" y="16"/>
                    <a:pt x="236" y="16"/>
                    <a:pt x="236" y="16"/>
                  </a:cubicBezTo>
                  <a:cubicBezTo>
                    <a:pt x="233" y="18"/>
                    <a:pt x="230" y="21"/>
                    <a:pt x="228" y="23"/>
                  </a:cubicBezTo>
                  <a:cubicBezTo>
                    <a:pt x="229" y="25"/>
                    <a:pt x="230" y="27"/>
                    <a:pt x="231" y="28"/>
                  </a:cubicBezTo>
                  <a:cubicBezTo>
                    <a:pt x="232" y="29"/>
                    <a:pt x="232" y="29"/>
                    <a:pt x="232" y="30"/>
                  </a:cubicBezTo>
                  <a:cubicBezTo>
                    <a:pt x="232" y="30"/>
                    <a:pt x="233" y="30"/>
                    <a:pt x="233" y="31"/>
                  </a:cubicBezTo>
                  <a:cubicBezTo>
                    <a:pt x="233" y="31"/>
                    <a:pt x="234" y="32"/>
                    <a:pt x="234" y="33"/>
                  </a:cubicBezTo>
                  <a:cubicBezTo>
                    <a:pt x="234" y="33"/>
                    <a:pt x="234" y="33"/>
                    <a:pt x="234" y="33"/>
                  </a:cubicBezTo>
                  <a:cubicBezTo>
                    <a:pt x="238" y="31"/>
                    <a:pt x="238" y="31"/>
                    <a:pt x="238" y="31"/>
                  </a:cubicBezTo>
                  <a:cubicBezTo>
                    <a:pt x="235" y="34"/>
                    <a:pt x="235" y="34"/>
                    <a:pt x="235" y="34"/>
                  </a:cubicBezTo>
                  <a:cubicBezTo>
                    <a:pt x="236" y="36"/>
                    <a:pt x="236" y="36"/>
                    <a:pt x="236" y="36"/>
                  </a:cubicBezTo>
                  <a:cubicBezTo>
                    <a:pt x="237" y="37"/>
                    <a:pt x="236" y="39"/>
                    <a:pt x="236" y="41"/>
                  </a:cubicBezTo>
                  <a:cubicBezTo>
                    <a:pt x="236" y="42"/>
                    <a:pt x="236" y="43"/>
                    <a:pt x="236" y="43"/>
                  </a:cubicBezTo>
                  <a:cubicBezTo>
                    <a:pt x="236" y="44"/>
                    <a:pt x="236" y="44"/>
                    <a:pt x="236" y="44"/>
                  </a:cubicBezTo>
                  <a:cubicBezTo>
                    <a:pt x="237" y="44"/>
                    <a:pt x="237" y="44"/>
                    <a:pt x="237" y="44"/>
                  </a:cubicBezTo>
                  <a:cubicBezTo>
                    <a:pt x="237" y="45"/>
                    <a:pt x="238" y="46"/>
                    <a:pt x="237" y="47"/>
                  </a:cubicBezTo>
                  <a:cubicBezTo>
                    <a:pt x="237" y="47"/>
                    <a:pt x="237" y="47"/>
                    <a:pt x="237" y="47"/>
                  </a:cubicBezTo>
                  <a:cubicBezTo>
                    <a:pt x="237" y="48"/>
                    <a:pt x="237" y="48"/>
                    <a:pt x="236" y="49"/>
                  </a:cubicBezTo>
                  <a:cubicBezTo>
                    <a:pt x="236" y="50"/>
                    <a:pt x="236" y="50"/>
                    <a:pt x="236" y="50"/>
                  </a:cubicBezTo>
                  <a:cubicBezTo>
                    <a:pt x="235" y="51"/>
                    <a:pt x="235" y="51"/>
                    <a:pt x="235" y="51"/>
                  </a:cubicBezTo>
                  <a:cubicBezTo>
                    <a:pt x="234" y="54"/>
                    <a:pt x="232" y="55"/>
                    <a:pt x="230" y="56"/>
                  </a:cubicBezTo>
                  <a:cubicBezTo>
                    <a:pt x="230" y="56"/>
                    <a:pt x="229" y="56"/>
                    <a:pt x="229" y="57"/>
                  </a:cubicBezTo>
                  <a:cubicBezTo>
                    <a:pt x="228" y="57"/>
                    <a:pt x="228" y="58"/>
                    <a:pt x="228" y="58"/>
                  </a:cubicBezTo>
                  <a:cubicBezTo>
                    <a:pt x="227" y="59"/>
                    <a:pt x="226" y="61"/>
                    <a:pt x="224" y="62"/>
                  </a:cubicBezTo>
                  <a:cubicBezTo>
                    <a:pt x="224" y="63"/>
                    <a:pt x="223" y="63"/>
                    <a:pt x="223" y="63"/>
                  </a:cubicBezTo>
                  <a:cubicBezTo>
                    <a:pt x="222" y="64"/>
                    <a:pt x="222" y="65"/>
                    <a:pt x="223" y="65"/>
                  </a:cubicBezTo>
                  <a:cubicBezTo>
                    <a:pt x="223" y="66"/>
                    <a:pt x="223" y="66"/>
                    <a:pt x="224" y="67"/>
                  </a:cubicBezTo>
                  <a:cubicBezTo>
                    <a:pt x="224" y="67"/>
                    <a:pt x="224" y="67"/>
                    <a:pt x="224" y="67"/>
                  </a:cubicBezTo>
                  <a:cubicBezTo>
                    <a:pt x="224" y="67"/>
                    <a:pt x="225" y="68"/>
                    <a:pt x="225" y="68"/>
                  </a:cubicBezTo>
                  <a:cubicBezTo>
                    <a:pt x="226" y="70"/>
                    <a:pt x="226" y="70"/>
                    <a:pt x="226" y="71"/>
                  </a:cubicBezTo>
                  <a:cubicBezTo>
                    <a:pt x="226" y="72"/>
                    <a:pt x="225" y="73"/>
                    <a:pt x="225" y="74"/>
                  </a:cubicBezTo>
                  <a:cubicBezTo>
                    <a:pt x="225" y="74"/>
                    <a:pt x="225" y="74"/>
                    <a:pt x="225" y="74"/>
                  </a:cubicBezTo>
                  <a:cubicBezTo>
                    <a:pt x="225" y="75"/>
                    <a:pt x="225" y="75"/>
                    <a:pt x="225" y="75"/>
                  </a:cubicBezTo>
                  <a:cubicBezTo>
                    <a:pt x="225" y="75"/>
                    <a:pt x="224" y="75"/>
                    <a:pt x="224" y="76"/>
                  </a:cubicBezTo>
                  <a:cubicBezTo>
                    <a:pt x="223" y="78"/>
                    <a:pt x="222" y="79"/>
                    <a:pt x="220" y="79"/>
                  </a:cubicBezTo>
                  <a:cubicBezTo>
                    <a:pt x="217" y="82"/>
                    <a:pt x="213" y="83"/>
                    <a:pt x="210" y="83"/>
                  </a:cubicBezTo>
                  <a:cubicBezTo>
                    <a:pt x="209" y="83"/>
                    <a:pt x="208" y="83"/>
                    <a:pt x="207" y="82"/>
                  </a:cubicBezTo>
                  <a:cubicBezTo>
                    <a:pt x="206" y="82"/>
                    <a:pt x="206" y="82"/>
                    <a:pt x="206" y="82"/>
                  </a:cubicBezTo>
                  <a:cubicBezTo>
                    <a:pt x="205" y="82"/>
                    <a:pt x="204" y="82"/>
                    <a:pt x="203" y="81"/>
                  </a:cubicBezTo>
                  <a:cubicBezTo>
                    <a:pt x="200" y="81"/>
                    <a:pt x="198" y="80"/>
                    <a:pt x="197" y="80"/>
                  </a:cubicBezTo>
                  <a:cubicBezTo>
                    <a:pt x="198" y="82"/>
                    <a:pt x="198" y="82"/>
                    <a:pt x="198" y="82"/>
                  </a:cubicBezTo>
                  <a:cubicBezTo>
                    <a:pt x="199" y="83"/>
                    <a:pt x="200" y="83"/>
                    <a:pt x="200" y="84"/>
                  </a:cubicBezTo>
                  <a:cubicBezTo>
                    <a:pt x="202" y="87"/>
                    <a:pt x="202" y="87"/>
                    <a:pt x="202" y="87"/>
                  </a:cubicBezTo>
                  <a:cubicBezTo>
                    <a:pt x="206" y="93"/>
                    <a:pt x="208" y="96"/>
                    <a:pt x="205" y="98"/>
                  </a:cubicBezTo>
                  <a:cubicBezTo>
                    <a:pt x="205" y="99"/>
                    <a:pt x="205" y="99"/>
                    <a:pt x="205" y="99"/>
                  </a:cubicBezTo>
                  <a:cubicBezTo>
                    <a:pt x="204" y="99"/>
                    <a:pt x="204" y="99"/>
                    <a:pt x="204" y="99"/>
                  </a:cubicBezTo>
                  <a:cubicBezTo>
                    <a:pt x="204" y="100"/>
                    <a:pt x="204" y="100"/>
                    <a:pt x="204" y="100"/>
                  </a:cubicBezTo>
                  <a:cubicBezTo>
                    <a:pt x="202" y="101"/>
                    <a:pt x="198" y="103"/>
                    <a:pt x="196" y="104"/>
                  </a:cubicBezTo>
                  <a:cubicBezTo>
                    <a:pt x="197" y="109"/>
                    <a:pt x="197" y="109"/>
                    <a:pt x="197" y="109"/>
                  </a:cubicBezTo>
                  <a:cubicBezTo>
                    <a:pt x="194" y="105"/>
                    <a:pt x="194" y="105"/>
                    <a:pt x="194" y="105"/>
                  </a:cubicBezTo>
                  <a:cubicBezTo>
                    <a:pt x="194" y="105"/>
                    <a:pt x="194" y="105"/>
                    <a:pt x="194" y="105"/>
                  </a:cubicBezTo>
                  <a:cubicBezTo>
                    <a:pt x="193" y="105"/>
                    <a:pt x="192" y="105"/>
                    <a:pt x="192" y="105"/>
                  </a:cubicBezTo>
                  <a:cubicBezTo>
                    <a:pt x="191" y="105"/>
                    <a:pt x="191" y="105"/>
                    <a:pt x="191" y="105"/>
                  </a:cubicBezTo>
                  <a:cubicBezTo>
                    <a:pt x="191" y="105"/>
                    <a:pt x="191" y="105"/>
                    <a:pt x="191" y="105"/>
                  </a:cubicBezTo>
                  <a:cubicBezTo>
                    <a:pt x="190" y="105"/>
                    <a:pt x="190" y="105"/>
                    <a:pt x="190" y="105"/>
                  </a:cubicBezTo>
                  <a:cubicBezTo>
                    <a:pt x="190" y="105"/>
                    <a:pt x="190" y="105"/>
                    <a:pt x="190" y="105"/>
                  </a:cubicBezTo>
                  <a:cubicBezTo>
                    <a:pt x="189" y="105"/>
                    <a:pt x="189" y="105"/>
                    <a:pt x="189" y="105"/>
                  </a:cubicBezTo>
                  <a:cubicBezTo>
                    <a:pt x="188" y="104"/>
                    <a:pt x="188" y="104"/>
                    <a:pt x="188" y="104"/>
                  </a:cubicBezTo>
                  <a:cubicBezTo>
                    <a:pt x="188" y="105"/>
                    <a:pt x="188" y="105"/>
                    <a:pt x="188" y="105"/>
                  </a:cubicBezTo>
                  <a:cubicBezTo>
                    <a:pt x="188" y="105"/>
                    <a:pt x="188" y="105"/>
                    <a:pt x="188" y="105"/>
                  </a:cubicBezTo>
                  <a:cubicBezTo>
                    <a:pt x="187" y="106"/>
                    <a:pt x="187" y="108"/>
                    <a:pt x="186" y="110"/>
                  </a:cubicBezTo>
                  <a:cubicBezTo>
                    <a:pt x="186" y="111"/>
                    <a:pt x="186" y="112"/>
                    <a:pt x="186" y="113"/>
                  </a:cubicBezTo>
                  <a:cubicBezTo>
                    <a:pt x="186" y="113"/>
                    <a:pt x="186" y="113"/>
                    <a:pt x="186" y="113"/>
                  </a:cubicBezTo>
                  <a:cubicBezTo>
                    <a:pt x="186" y="114"/>
                    <a:pt x="185" y="114"/>
                    <a:pt x="185" y="115"/>
                  </a:cubicBezTo>
                  <a:cubicBezTo>
                    <a:pt x="185" y="116"/>
                    <a:pt x="183" y="118"/>
                    <a:pt x="182" y="119"/>
                  </a:cubicBezTo>
                  <a:cubicBezTo>
                    <a:pt x="182" y="119"/>
                    <a:pt x="182" y="119"/>
                    <a:pt x="182" y="119"/>
                  </a:cubicBezTo>
                  <a:cubicBezTo>
                    <a:pt x="182" y="126"/>
                    <a:pt x="182" y="126"/>
                    <a:pt x="182" y="126"/>
                  </a:cubicBezTo>
                  <a:cubicBezTo>
                    <a:pt x="182" y="126"/>
                    <a:pt x="182" y="126"/>
                    <a:pt x="182" y="126"/>
                  </a:cubicBezTo>
                  <a:cubicBezTo>
                    <a:pt x="183" y="130"/>
                    <a:pt x="183" y="130"/>
                    <a:pt x="183" y="130"/>
                  </a:cubicBezTo>
                  <a:cubicBezTo>
                    <a:pt x="183" y="133"/>
                    <a:pt x="182" y="134"/>
                    <a:pt x="181" y="135"/>
                  </a:cubicBezTo>
                  <a:cubicBezTo>
                    <a:pt x="178" y="138"/>
                    <a:pt x="176" y="140"/>
                    <a:pt x="173" y="142"/>
                  </a:cubicBezTo>
                  <a:cubicBezTo>
                    <a:pt x="172" y="142"/>
                    <a:pt x="172" y="142"/>
                    <a:pt x="172" y="142"/>
                  </a:cubicBezTo>
                  <a:cubicBezTo>
                    <a:pt x="172" y="143"/>
                    <a:pt x="171" y="143"/>
                    <a:pt x="170" y="143"/>
                  </a:cubicBezTo>
                  <a:cubicBezTo>
                    <a:pt x="170" y="143"/>
                    <a:pt x="170" y="143"/>
                    <a:pt x="170" y="143"/>
                  </a:cubicBezTo>
                  <a:cubicBezTo>
                    <a:pt x="170" y="143"/>
                    <a:pt x="170" y="143"/>
                    <a:pt x="170" y="143"/>
                  </a:cubicBezTo>
                  <a:cubicBezTo>
                    <a:pt x="169" y="143"/>
                    <a:pt x="169" y="143"/>
                    <a:pt x="169" y="143"/>
                  </a:cubicBezTo>
                  <a:cubicBezTo>
                    <a:pt x="168" y="143"/>
                    <a:pt x="168" y="143"/>
                    <a:pt x="168" y="143"/>
                  </a:cubicBezTo>
                  <a:cubicBezTo>
                    <a:pt x="167" y="142"/>
                    <a:pt x="167" y="142"/>
                    <a:pt x="167" y="142"/>
                  </a:cubicBezTo>
                  <a:cubicBezTo>
                    <a:pt x="166" y="142"/>
                    <a:pt x="166" y="141"/>
                    <a:pt x="165" y="141"/>
                  </a:cubicBezTo>
                  <a:cubicBezTo>
                    <a:pt x="165" y="141"/>
                    <a:pt x="165" y="141"/>
                    <a:pt x="165" y="141"/>
                  </a:cubicBezTo>
                  <a:cubicBezTo>
                    <a:pt x="164" y="140"/>
                    <a:pt x="163" y="139"/>
                    <a:pt x="162" y="139"/>
                  </a:cubicBezTo>
                  <a:cubicBezTo>
                    <a:pt x="161" y="138"/>
                    <a:pt x="161" y="138"/>
                    <a:pt x="161" y="138"/>
                  </a:cubicBezTo>
                  <a:cubicBezTo>
                    <a:pt x="161" y="138"/>
                    <a:pt x="161" y="138"/>
                    <a:pt x="161" y="138"/>
                  </a:cubicBezTo>
                  <a:cubicBezTo>
                    <a:pt x="160" y="138"/>
                    <a:pt x="160" y="138"/>
                    <a:pt x="160" y="138"/>
                  </a:cubicBezTo>
                  <a:cubicBezTo>
                    <a:pt x="159" y="138"/>
                    <a:pt x="159" y="139"/>
                    <a:pt x="158" y="139"/>
                  </a:cubicBezTo>
                  <a:cubicBezTo>
                    <a:pt x="157" y="139"/>
                    <a:pt x="157" y="139"/>
                    <a:pt x="157" y="139"/>
                  </a:cubicBezTo>
                  <a:cubicBezTo>
                    <a:pt x="157" y="139"/>
                    <a:pt x="156" y="139"/>
                    <a:pt x="155" y="139"/>
                  </a:cubicBezTo>
                  <a:cubicBezTo>
                    <a:pt x="155" y="139"/>
                    <a:pt x="155" y="140"/>
                    <a:pt x="154" y="140"/>
                  </a:cubicBezTo>
                  <a:cubicBezTo>
                    <a:pt x="154" y="140"/>
                    <a:pt x="153" y="140"/>
                    <a:pt x="153" y="140"/>
                  </a:cubicBezTo>
                  <a:cubicBezTo>
                    <a:pt x="152" y="140"/>
                    <a:pt x="152" y="141"/>
                    <a:pt x="151" y="141"/>
                  </a:cubicBezTo>
                  <a:cubicBezTo>
                    <a:pt x="150" y="142"/>
                    <a:pt x="150" y="142"/>
                    <a:pt x="150" y="142"/>
                  </a:cubicBezTo>
                  <a:cubicBezTo>
                    <a:pt x="148" y="143"/>
                    <a:pt x="147" y="144"/>
                    <a:pt x="145" y="144"/>
                  </a:cubicBezTo>
                  <a:cubicBezTo>
                    <a:pt x="150" y="148"/>
                    <a:pt x="150" y="148"/>
                    <a:pt x="150" y="148"/>
                  </a:cubicBezTo>
                  <a:cubicBezTo>
                    <a:pt x="145" y="150"/>
                    <a:pt x="145" y="150"/>
                    <a:pt x="145" y="150"/>
                  </a:cubicBezTo>
                  <a:cubicBezTo>
                    <a:pt x="145" y="150"/>
                    <a:pt x="144" y="151"/>
                    <a:pt x="143" y="151"/>
                  </a:cubicBezTo>
                  <a:cubicBezTo>
                    <a:pt x="141" y="152"/>
                    <a:pt x="139" y="153"/>
                    <a:pt x="137" y="153"/>
                  </a:cubicBezTo>
                  <a:cubicBezTo>
                    <a:pt x="136" y="154"/>
                    <a:pt x="136" y="154"/>
                    <a:pt x="136" y="154"/>
                  </a:cubicBezTo>
                  <a:cubicBezTo>
                    <a:pt x="135" y="154"/>
                    <a:pt x="135" y="154"/>
                    <a:pt x="134" y="154"/>
                  </a:cubicBezTo>
                  <a:cubicBezTo>
                    <a:pt x="132" y="154"/>
                    <a:pt x="129" y="153"/>
                    <a:pt x="127" y="152"/>
                  </a:cubicBezTo>
                  <a:cubicBezTo>
                    <a:pt x="126" y="152"/>
                    <a:pt x="126" y="152"/>
                    <a:pt x="126" y="152"/>
                  </a:cubicBezTo>
                  <a:cubicBezTo>
                    <a:pt x="126" y="152"/>
                    <a:pt x="126" y="152"/>
                    <a:pt x="126" y="152"/>
                  </a:cubicBezTo>
                  <a:cubicBezTo>
                    <a:pt x="125" y="152"/>
                    <a:pt x="125" y="152"/>
                    <a:pt x="124" y="152"/>
                  </a:cubicBezTo>
                  <a:cubicBezTo>
                    <a:pt x="124" y="152"/>
                    <a:pt x="123" y="152"/>
                    <a:pt x="123" y="153"/>
                  </a:cubicBezTo>
                  <a:cubicBezTo>
                    <a:pt x="123" y="153"/>
                    <a:pt x="122" y="153"/>
                    <a:pt x="122" y="153"/>
                  </a:cubicBezTo>
                  <a:cubicBezTo>
                    <a:pt x="121" y="154"/>
                    <a:pt x="121" y="154"/>
                    <a:pt x="121" y="154"/>
                  </a:cubicBezTo>
                  <a:cubicBezTo>
                    <a:pt x="120" y="155"/>
                    <a:pt x="119" y="155"/>
                    <a:pt x="118" y="156"/>
                  </a:cubicBezTo>
                  <a:cubicBezTo>
                    <a:pt x="117" y="157"/>
                    <a:pt x="116" y="159"/>
                    <a:pt x="115" y="159"/>
                  </a:cubicBezTo>
                  <a:cubicBezTo>
                    <a:pt x="115" y="160"/>
                    <a:pt x="115" y="160"/>
                    <a:pt x="115" y="160"/>
                  </a:cubicBezTo>
                  <a:cubicBezTo>
                    <a:pt x="114" y="160"/>
                    <a:pt x="114" y="160"/>
                    <a:pt x="114" y="161"/>
                  </a:cubicBezTo>
                  <a:cubicBezTo>
                    <a:pt x="114" y="162"/>
                    <a:pt x="114" y="162"/>
                    <a:pt x="113" y="162"/>
                  </a:cubicBezTo>
                  <a:cubicBezTo>
                    <a:pt x="113" y="164"/>
                    <a:pt x="113" y="164"/>
                    <a:pt x="113" y="164"/>
                  </a:cubicBezTo>
                  <a:cubicBezTo>
                    <a:pt x="113" y="166"/>
                    <a:pt x="112" y="169"/>
                    <a:pt x="112" y="171"/>
                  </a:cubicBezTo>
                  <a:cubicBezTo>
                    <a:pt x="112" y="172"/>
                    <a:pt x="112" y="174"/>
                    <a:pt x="112" y="175"/>
                  </a:cubicBezTo>
                  <a:cubicBezTo>
                    <a:pt x="112" y="176"/>
                    <a:pt x="112" y="177"/>
                    <a:pt x="111" y="179"/>
                  </a:cubicBezTo>
                  <a:cubicBezTo>
                    <a:pt x="111" y="179"/>
                    <a:pt x="111" y="179"/>
                    <a:pt x="111" y="179"/>
                  </a:cubicBezTo>
                  <a:cubicBezTo>
                    <a:pt x="111" y="179"/>
                    <a:pt x="111" y="179"/>
                    <a:pt x="111" y="179"/>
                  </a:cubicBezTo>
                  <a:cubicBezTo>
                    <a:pt x="112" y="180"/>
                    <a:pt x="112" y="181"/>
                    <a:pt x="112" y="182"/>
                  </a:cubicBezTo>
                  <a:cubicBezTo>
                    <a:pt x="112" y="184"/>
                    <a:pt x="112" y="186"/>
                    <a:pt x="111" y="187"/>
                  </a:cubicBezTo>
                  <a:cubicBezTo>
                    <a:pt x="110" y="189"/>
                    <a:pt x="108" y="190"/>
                    <a:pt x="106" y="190"/>
                  </a:cubicBezTo>
                  <a:cubicBezTo>
                    <a:pt x="104" y="191"/>
                    <a:pt x="104" y="191"/>
                    <a:pt x="104" y="191"/>
                  </a:cubicBezTo>
                  <a:cubicBezTo>
                    <a:pt x="102" y="191"/>
                    <a:pt x="100" y="192"/>
                    <a:pt x="97" y="192"/>
                  </a:cubicBezTo>
                  <a:cubicBezTo>
                    <a:pt x="95" y="193"/>
                    <a:pt x="92" y="194"/>
                    <a:pt x="90" y="194"/>
                  </a:cubicBezTo>
                  <a:cubicBezTo>
                    <a:pt x="83" y="195"/>
                    <a:pt x="83" y="195"/>
                    <a:pt x="83" y="195"/>
                  </a:cubicBezTo>
                  <a:cubicBezTo>
                    <a:pt x="81" y="195"/>
                    <a:pt x="79" y="195"/>
                    <a:pt x="76" y="195"/>
                  </a:cubicBezTo>
                  <a:cubicBezTo>
                    <a:pt x="74" y="195"/>
                    <a:pt x="70" y="195"/>
                    <a:pt x="67" y="196"/>
                  </a:cubicBezTo>
                  <a:cubicBezTo>
                    <a:pt x="67" y="196"/>
                    <a:pt x="66" y="197"/>
                    <a:pt x="66" y="197"/>
                  </a:cubicBezTo>
                  <a:cubicBezTo>
                    <a:pt x="65" y="197"/>
                    <a:pt x="64" y="198"/>
                    <a:pt x="64" y="198"/>
                  </a:cubicBezTo>
                  <a:cubicBezTo>
                    <a:pt x="62" y="199"/>
                    <a:pt x="62" y="199"/>
                    <a:pt x="62" y="199"/>
                  </a:cubicBezTo>
                  <a:cubicBezTo>
                    <a:pt x="62" y="199"/>
                    <a:pt x="61" y="199"/>
                    <a:pt x="61" y="199"/>
                  </a:cubicBezTo>
                  <a:cubicBezTo>
                    <a:pt x="61" y="200"/>
                    <a:pt x="60" y="200"/>
                    <a:pt x="60" y="200"/>
                  </a:cubicBezTo>
                  <a:cubicBezTo>
                    <a:pt x="59" y="200"/>
                    <a:pt x="59" y="200"/>
                    <a:pt x="59" y="200"/>
                  </a:cubicBezTo>
                  <a:cubicBezTo>
                    <a:pt x="59" y="200"/>
                    <a:pt x="58" y="200"/>
                    <a:pt x="58" y="201"/>
                  </a:cubicBezTo>
                  <a:cubicBezTo>
                    <a:pt x="57" y="201"/>
                    <a:pt x="57" y="201"/>
                    <a:pt x="57" y="201"/>
                  </a:cubicBezTo>
                  <a:cubicBezTo>
                    <a:pt x="56" y="201"/>
                    <a:pt x="56" y="201"/>
                    <a:pt x="56" y="201"/>
                  </a:cubicBezTo>
                  <a:cubicBezTo>
                    <a:pt x="56" y="201"/>
                    <a:pt x="55" y="201"/>
                    <a:pt x="55" y="200"/>
                  </a:cubicBezTo>
                  <a:cubicBezTo>
                    <a:pt x="54" y="200"/>
                    <a:pt x="54" y="200"/>
                    <a:pt x="53" y="200"/>
                  </a:cubicBezTo>
                  <a:cubicBezTo>
                    <a:pt x="51" y="200"/>
                    <a:pt x="51" y="200"/>
                    <a:pt x="51" y="200"/>
                  </a:cubicBezTo>
                  <a:cubicBezTo>
                    <a:pt x="50" y="199"/>
                    <a:pt x="49" y="199"/>
                    <a:pt x="48" y="199"/>
                  </a:cubicBezTo>
                  <a:cubicBezTo>
                    <a:pt x="47" y="199"/>
                    <a:pt x="47" y="199"/>
                    <a:pt x="47" y="199"/>
                  </a:cubicBezTo>
                  <a:cubicBezTo>
                    <a:pt x="47" y="199"/>
                    <a:pt x="46" y="199"/>
                    <a:pt x="45" y="199"/>
                  </a:cubicBezTo>
                  <a:cubicBezTo>
                    <a:pt x="45" y="199"/>
                    <a:pt x="45" y="199"/>
                    <a:pt x="45" y="199"/>
                  </a:cubicBezTo>
                  <a:cubicBezTo>
                    <a:pt x="35" y="199"/>
                    <a:pt x="35" y="199"/>
                    <a:pt x="35" y="199"/>
                  </a:cubicBezTo>
                  <a:cubicBezTo>
                    <a:pt x="36" y="204"/>
                    <a:pt x="36" y="204"/>
                    <a:pt x="36" y="204"/>
                  </a:cubicBezTo>
                  <a:cubicBezTo>
                    <a:pt x="34" y="200"/>
                    <a:pt x="34" y="200"/>
                    <a:pt x="34" y="200"/>
                  </a:cubicBezTo>
                  <a:cubicBezTo>
                    <a:pt x="30" y="200"/>
                    <a:pt x="30" y="200"/>
                    <a:pt x="30" y="200"/>
                  </a:cubicBezTo>
                  <a:cubicBezTo>
                    <a:pt x="29" y="200"/>
                    <a:pt x="29" y="200"/>
                    <a:pt x="28" y="200"/>
                  </a:cubicBezTo>
                  <a:cubicBezTo>
                    <a:pt x="27" y="200"/>
                    <a:pt x="27" y="200"/>
                    <a:pt x="27" y="200"/>
                  </a:cubicBezTo>
                  <a:cubicBezTo>
                    <a:pt x="27" y="200"/>
                    <a:pt x="26" y="200"/>
                    <a:pt x="25" y="200"/>
                  </a:cubicBezTo>
                  <a:cubicBezTo>
                    <a:pt x="25" y="201"/>
                    <a:pt x="24" y="201"/>
                    <a:pt x="24" y="201"/>
                  </a:cubicBezTo>
                  <a:cubicBezTo>
                    <a:pt x="23" y="201"/>
                    <a:pt x="22" y="200"/>
                    <a:pt x="21" y="200"/>
                  </a:cubicBezTo>
                  <a:cubicBezTo>
                    <a:pt x="0" y="194"/>
                    <a:pt x="0" y="194"/>
                    <a:pt x="0" y="194"/>
                  </a:cubicBezTo>
                  <a:cubicBezTo>
                    <a:pt x="0" y="207"/>
                    <a:pt x="0" y="207"/>
                    <a:pt x="0" y="207"/>
                  </a:cubicBezTo>
                  <a:cubicBezTo>
                    <a:pt x="2" y="210"/>
                    <a:pt x="5" y="213"/>
                    <a:pt x="7" y="217"/>
                  </a:cubicBezTo>
                  <a:cubicBezTo>
                    <a:pt x="8" y="218"/>
                    <a:pt x="10" y="219"/>
                    <a:pt x="12" y="220"/>
                  </a:cubicBezTo>
                  <a:cubicBezTo>
                    <a:pt x="13" y="220"/>
                    <a:pt x="14" y="220"/>
                    <a:pt x="14" y="221"/>
                  </a:cubicBezTo>
                  <a:cubicBezTo>
                    <a:pt x="15" y="221"/>
                    <a:pt x="15" y="221"/>
                    <a:pt x="15" y="221"/>
                  </a:cubicBezTo>
                  <a:cubicBezTo>
                    <a:pt x="16" y="221"/>
                    <a:pt x="17" y="222"/>
                    <a:pt x="17" y="222"/>
                  </a:cubicBezTo>
                  <a:cubicBezTo>
                    <a:pt x="18" y="222"/>
                    <a:pt x="18" y="222"/>
                    <a:pt x="18" y="222"/>
                  </a:cubicBezTo>
                  <a:cubicBezTo>
                    <a:pt x="18" y="222"/>
                    <a:pt x="19" y="223"/>
                    <a:pt x="20" y="223"/>
                  </a:cubicBezTo>
                  <a:cubicBezTo>
                    <a:pt x="21" y="223"/>
                    <a:pt x="23" y="224"/>
                    <a:pt x="24" y="224"/>
                  </a:cubicBezTo>
                  <a:cubicBezTo>
                    <a:pt x="27" y="225"/>
                    <a:pt x="28" y="226"/>
                    <a:pt x="29" y="227"/>
                  </a:cubicBezTo>
                  <a:cubicBezTo>
                    <a:pt x="30" y="229"/>
                    <a:pt x="30" y="232"/>
                    <a:pt x="29" y="235"/>
                  </a:cubicBezTo>
                  <a:cubicBezTo>
                    <a:pt x="29" y="236"/>
                    <a:pt x="29" y="236"/>
                    <a:pt x="29" y="236"/>
                  </a:cubicBezTo>
                  <a:cubicBezTo>
                    <a:pt x="34" y="236"/>
                    <a:pt x="34" y="236"/>
                    <a:pt x="34" y="236"/>
                  </a:cubicBezTo>
                  <a:cubicBezTo>
                    <a:pt x="29" y="237"/>
                    <a:pt x="29" y="237"/>
                    <a:pt x="29" y="237"/>
                  </a:cubicBezTo>
                  <a:cubicBezTo>
                    <a:pt x="29" y="245"/>
                    <a:pt x="29" y="245"/>
                    <a:pt x="29" y="245"/>
                  </a:cubicBezTo>
                  <a:cubicBezTo>
                    <a:pt x="29" y="246"/>
                    <a:pt x="29" y="246"/>
                    <a:pt x="29" y="247"/>
                  </a:cubicBezTo>
                  <a:cubicBezTo>
                    <a:pt x="29" y="248"/>
                    <a:pt x="29" y="249"/>
                    <a:pt x="29" y="250"/>
                  </a:cubicBezTo>
                  <a:cubicBezTo>
                    <a:pt x="29" y="251"/>
                    <a:pt x="29" y="251"/>
                    <a:pt x="29" y="251"/>
                  </a:cubicBezTo>
                  <a:cubicBezTo>
                    <a:pt x="29" y="251"/>
                    <a:pt x="30" y="251"/>
                    <a:pt x="30" y="251"/>
                  </a:cubicBezTo>
                  <a:cubicBezTo>
                    <a:pt x="33" y="250"/>
                    <a:pt x="33" y="250"/>
                    <a:pt x="33" y="250"/>
                  </a:cubicBezTo>
                  <a:cubicBezTo>
                    <a:pt x="35" y="250"/>
                    <a:pt x="36" y="250"/>
                    <a:pt x="39" y="251"/>
                  </a:cubicBezTo>
                  <a:cubicBezTo>
                    <a:pt x="42" y="252"/>
                    <a:pt x="42" y="252"/>
                    <a:pt x="42" y="252"/>
                  </a:cubicBezTo>
                  <a:cubicBezTo>
                    <a:pt x="41" y="255"/>
                    <a:pt x="41" y="255"/>
                    <a:pt x="41" y="255"/>
                  </a:cubicBezTo>
                  <a:cubicBezTo>
                    <a:pt x="40" y="258"/>
                    <a:pt x="39" y="262"/>
                    <a:pt x="38" y="265"/>
                  </a:cubicBezTo>
                  <a:cubicBezTo>
                    <a:pt x="38" y="268"/>
                    <a:pt x="38" y="268"/>
                    <a:pt x="38" y="268"/>
                  </a:cubicBezTo>
                  <a:cubicBezTo>
                    <a:pt x="38" y="268"/>
                    <a:pt x="37" y="270"/>
                    <a:pt x="36" y="271"/>
                  </a:cubicBezTo>
                  <a:cubicBezTo>
                    <a:pt x="34" y="272"/>
                    <a:pt x="32" y="272"/>
                    <a:pt x="30" y="272"/>
                  </a:cubicBezTo>
                  <a:cubicBezTo>
                    <a:pt x="29" y="272"/>
                    <a:pt x="29" y="272"/>
                    <a:pt x="29" y="272"/>
                  </a:cubicBezTo>
                  <a:cubicBezTo>
                    <a:pt x="29" y="272"/>
                    <a:pt x="28" y="272"/>
                    <a:pt x="28" y="272"/>
                  </a:cubicBezTo>
                  <a:cubicBezTo>
                    <a:pt x="18" y="274"/>
                    <a:pt x="18" y="274"/>
                    <a:pt x="18" y="274"/>
                  </a:cubicBezTo>
                  <a:cubicBezTo>
                    <a:pt x="17" y="274"/>
                    <a:pt x="16" y="274"/>
                    <a:pt x="15" y="275"/>
                  </a:cubicBezTo>
                  <a:cubicBezTo>
                    <a:pt x="14" y="276"/>
                    <a:pt x="14" y="276"/>
                    <a:pt x="13" y="277"/>
                  </a:cubicBezTo>
                  <a:cubicBezTo>
                    <a:pt x="12" y="277"/>
                    <a:pt x="12" y="277"/>
                    <a:pt x="12" y="277"/>
                  </a:cubicBezTo>
                  <a:cubicBezTo>
                    <a:pt x="11" y="278"/>
                    <a:pt x="10" y="279"/>
                    <a:pt x="9" y="280"/>
                  </a:cubicBezTo>
                  <a:cubicBezTo>
                    <a:pt x="8" y="280"/>
                    <a:pt x="8" y="280"/>
                    <a:pt x="8" y="280"/>
                  </a:cubicBezTo>
                  <a:cubicBezTo>
                    <a:pt x="7" y="281"/>
                    <a:pt x="7" y="281"/>
                    <a:pt x="6" y="284"/>
                  </a:cubicBezTo>
                  <a:cubicBezTo>
                    <a:pt x="5" y="288"/>
                    <a:pt x="4" y="293"/>
                    <a:pt x="4" y="296"/>
                  </a:cubicBezTo>
                  <a:cubicBezTo>
                    <a:pt x="3" y="298"/>
                    <a:pt x="3" y="298"/>
                    <a:pt x="3" y="298"/>
                  </a:cubicBezTo>
                  <a:cubicBezTo>
                    <a:pt x="3" y="299"/>
                    <a:pt x="3" y="299"/>
                    <a:pt x="3" y="300"/>
                  </a:cubicBezTo>
                  <a:cubicBezTo>
                    <a:pt x="3" y="301"/>
                    <a:pt x="2" y="303"/>
                    <a:pt x="2" y="304"/>
                  </a:cubicBezTo>
                  <a:cubicBezTo>
                    <a:pt x="2" y="305"/>
                    <a:pt x="2" y="305"/>
                    <a:pt x="2" y="305"/>
                  </a:cubicBezTo>
                  <a:cubicBezTo>
                    <a:pt x="3" y="305"/>
                    <a:pt x="2" y="306"/>
                    <a:pt x="2" y="309"/>
                  </a:cubicBezTo>
                  <a:cubicBezTo>
                    <a:pt x="2" y="309"/>
                    <a:pt x="3" y="309"/>
                    <a:pt x="3" y="309"/>
                  </a:cubicBezTo>
                  <a:cubicBezTo>
                    <a:pt x="4" y="309"/>
                    <a:pt x="6" y="307"/>
                    <a:pt x="8" y="307"/>
                  </a:cubicBezTo>
                  <a:cubicBezTo>
                    <a:pt x="11" y="307"/>
                    <a:pt x="13" y="304"/>
                    <a:pt x="14" y="304"/>
                  </a:cubicBezTo>
                  <a:cubicBezTo>
                    <a:pt x="15" y="304"/>
                    <a:pt x="15" y="305"/>
                    <a:pt x="16" y="307"/>
                  </a:cubicBezTo>
                  <a:cubicBezTo>
                    <a:pt x="20" y="304"/>
                    <a:pt x="21" y="303"/>
                    <a:pt x="25" y="303"/>
                  </a:cubicBezTo>
                  <a:cubicBezTo>
                    <a:pt x="26" y="303"/>
                    <a:pt x="26" y="303"/>
                    <a:pt x="27" y="303"/>
                  </a:cubicBezTo>
                  <a:cubicBezTo>
                    <a:pt x="31" y="304"/>
                    <a:pt x="35" y="304"/>
                    <a:pt x="38" y="304"/>
                  </a:cubicBezTo>
                  <a:cubicBezTo>
                    <a:pt x="39" y="304"/>
                    <a:pt x="41" y="305"/>
                    <a:pt x="42" y="305"/>
                  </a:cubicBezTo>
                  <a:cubicBezTo>
                    <a:pt x="43" y="305"/>
                    <a:pt x="44" y="304"/>
                    <a:pt x="43" y="304"/>
                  </a:cubicBezTo>
                  <a:cubicBezTo>
                    <a:pt x="46" y="301"/>
                    <a:pt x="51" y="301"/>
                    <a:pt x="55" y="301"/>
                  </a:cubicBezTo>
                  <a:cubicBezTo>
                    <a:pt x="55" y="301"/>
                    <a:pt x="56" y="301"/>
                    <a:pt x="56" y="301"/>
                  </a:cubicBezTo>
                  <a:cubicBezTo>
                    <a:pt x="56" y="299"/>
                    <a:pt x="56" y="298"/>
                    <a:pt x="57" y="298"/>
                  </a:cubicBezTo>
                  <a:cubicBezTo>
                    <a:pt x="58" y="298"/>
                    <a:pt x="58" y="298"/>
                    <a:pt x="58" y="298"/>
                  </a:cubicBezTo>
                  <a:cubicBezTo>
                    <a:pt x="57" y="298"/>
                    <a:pt x="57" y="300"/>
                    <a:pt x="57" y="301"/>
                  </a:cubicBezTo>
                  <a:cubicBezTo>
                    <a:pt x="58" y="302"/>
                    <a:pt x="59" y="302"/>
                    <a:pt x="61" y="302"/>
                  </a:cubicBezTo>
                  <a:cubicBezTo>
                    <a:pt x="63" y="302"/>
                    <a:pt x="65" y="302"/>
                    <a:pt x="67" y="303"/>
                  </a:cubicBezTo>
                  <a:cubicBezTo>
                    <a:pt x="68" y="303"/>
                    <a:pt x="69" y="305"/>
                    <a:pt x="71" y="305"/>
                  </a:cubicBezTo>
                  <a:cubicBezTo>
                    <a:pt x="71" y="305"/>
                    <a:pt x="71" y="305"/>
                    <a:pt x="72" y="305"/>
                  </a:cubicBezTo>
                  <a:cubicBezTo>
                    <a:pt x="71" y="304"/>
                    <a:pt x="71" y="304"/>
                    <a:pt x="71" y="304"/>
                  </a:cubicBezTo>
                  <a:cubicBezTo>
                    <a:pt x="82" y="300"/>
                    <a:pt x="92" y="300"/>
                    <a:pt x="104" y="300"/>
                  </a:cubicBezTo>
                  <a:cubicBezTo>
                    <a:pt x="104" y="300"/>
                    <a:pt x="104" y="300"/>
                    <a:pt x="104" y="300"/>
                  </a:cubicBezTo>
                  <a:cubicBezTo>
                    <a:pt x="105" y="300"/>
                    <a:pt x="106" y="300"/>
                    <a:pt x="107" y="300"/>
                  </a:cubicBezTo>
                  <a:cubicBezTo>
                    <a:pt x="108" y="300"/>
                    <a:pt x="109" y="300"/>
                    <a:pt x="110" y="300"/>
                  </a:cubicBezTo>
                  <a:cubicBezTo>
                    <a:pt x="112" y="300"/>
                    <a:pt x="113" y="300"/>
                    <a:pt x="114" y="299"/>
                  </a:cubicBezTo>
                  <a:cubicBezTo>
                    <a:pt x="114" y="299"/>
                    <a:pt x="114" y="299"/>
                    <a:pt x="114" y="299"/>
                  </a:cubicBezTo>
                  <a:cubicBezTo>
                    <a:pt x="113" y="299"/>
                    <a:pt x="113" y="298"/>
                    <a:pt x="113" y="297"/>
                  </a:cubicBezTo>
                  <a:cubicBezTo>
                    <a:pt x="113" y="297"/>
                    <a:pt x="113" y="297"/>
                    <a:pt x="113" y="297"/>
                  </a:cubicBezTo>
                  <a:cubicBezTo>
                    <a:pt x="112" y="297"/>
                    <a:pt x="111" y="297"/>
                    <a:pt x="111" y="296"/>
                  </a:cubicBezTo>
                  <a:cubicBezTo>
                    <a:pt x="111" y="295"/>
                    <a:pt x="111" y="295"/>
                    <a:pt x="112" y="295"/>
                  </a:cubicBezTo>
                  <a:cubicBezTo>
                    <a:pt x="112" y="295"/>
                    <a:pt x="112" y="295"/>
                    <a:pt x="112" y="295"/>
                  </a:cubicBezTo>
                  <a:cubicBezTo>
                    <a:pt x="113" y="295"/>
                    <a:pt x="114" y="297"/>
                    <a:pt x="115" y="297"/>
                  </a:cubicBezTo>
                  <a:cubicBezTo>
                    <a:pt x="116" y="300"/>
                    <a:pt x="115" y="299"/>
                    <a:pt x="116" y="301"/>
                  </a:cubicBezTo>
                  <a:cubicBezTo>
                    <a:pt x="118" y="304"/>
                    <a:pt x="119" y="303"/>
                    <a:pt x="119" y="306"/>
                  </a:cubicBezTo>
                  <a:cubicBezTo>
                    <a:pt x="119" y="308"/>
                    <a:pt x="118" y="312"/>
                    <a:pt x="119" y="312"/>
                  </a:cubicBezTo>
                  <a:cubicBezTo>
                    <a:pt x="119" y="312"/>
                    <a:pt x="120" y="312"/>
                    <a:pt x="120" y="313"/>
                  </a:cubicBezTo>
                  <a:cubicBezTo>
                    <a:pt x="126" y="312"/>
                    <a:pt x="126" y="312"/>
                    <a:pt x="126" y="312"/>
                  </a:cubicBezTo>
                  <a:cubicBezTo>
                    <a:pt x="128" y="316"/>
                    <a:pt x="128" y="316"/>
                    <a:pt x="128" y="316"/>
                  </a:cubicBezTo>
                  <a:cubicBezTo>
                    <a:pt x="130" y="318"/>
                    <a:pt x="130" y="318"/>
                    <a:pt x="130" y="318"/>
                  </a:cubicBezTo>
                  <a:cubicBezTo>
                    <a:pt x="131" y="320"/>
                    <a:pt x="131" y="323"/>
                    <a:pt x="131" y="324"/>
                  </a:cubicBezTo>
                  <a:cubicBezTo>
                    <a:pt x="133" y="329"/>
                    <a:pt x="133" y="333"/>
                    <a:pt x="137" y="333"/>
                  </a:cubicBezTo>
                  <a:cubicBezTo>
                    <a:pt x="137" y="333"/>
                    <a:pt x="138" y="333"/>
                    <a:pt x="139" y="333"/>
                  </a:cubicBezTo>
                  <a:cubicBezTo>
                    <a:pt x="140" y="332"/>
                    <a:pt x="141" y="332"/>
                    <a:pt x="142" y="332"/>
                  </a:cubicBezTo>
                  <a:cubicBezTo>
                    <a:pt x="147" y="332"/>
                    <a:pt x="152" y="335"/>
                    <a:pt x="150" y="341"/>
                  </a:cubicBezTo>
                  <a:cubicBezTo>
                    <a:pt x="151" y="341"/>
                    <a:pt x="151" y="340"/>
                    <a:pt x="151" y="340"/>
                  </a:cubicBezTo>
                  <a:cubicBezTo>
                    <a:pt x="151" y="339"/>
                    <a:pt x="151" y="339"/>
                    <a:pt x="151" y="339"/>
                  </a:cubicBezTo>
                  <a:cubicBezTo>
                    <a:pt x="152" y="338"/>
                    <a:pt x="152" y="338"/>
                    <a:pt x="152" y="338"/>
                  </a:cubicBezTo>
                  <a:cubicBezTo>
                    <a:pt x="153" y="337"/>
                    <a:pt x="153" y="337"/>
                    <a:pt x="153" y="337"/>
                  </a:cubicBezTo>
                  <a:cubicBezTo>
                    <a:pt x="153" y="338"/>
                    <a:pt x="153" y="338"/>
                    <a:pt x="153" y="338"/>
                  </a:cubicBezTo>
                  <a:cubicBezTo>
                    <a:pt x="160" y="332"/>
                    <a:pt x="160" y="332"/>
                    <a:pt x="160" y="332"/>
                  </a:cubicBezTo>
                  <a:cubicBezTo>
                    <a:pt x="161" y="332"/>
                    <a:pt x="161" y="332"/>
                    <a:pt x="161" y="332"/>
                  </a:cubicBezTo>
                  <a:cubicBezTo>
                    <a:pt x="162" y="332"/>
                    <a:pt x="162" y="332"/>
                    <a:pt x="163" y="332"/>
                  </a:cubicBezTo>
                  <a:cubicBezTo>
                    <a:pt x="164" y="332"/>
                    <a:pt x="164" y="332"/>
                    <a:pt x="164" y="332"/>
                  </a:cubicBezTo>
                  <a:cubicBezTo>
                    <a:pt x="164" y="331"/>
                    <a:pt x="164" y="330"/>
                    <a:pt x="164" y="329"/>
                  </a:cubicBezTo>
                  <a:cubicBezTo>
                    <a:pt x="164" y="328"/>
                    <a:pt x="164" y="327"/>
                    <a:pt x="164" y="326"/>
                  </a:cubicBezTo>
                  <a:cubicBezTo>
                    <a:pt x="164" y="323"/>
                    <a:pt x="164" y="323"/>
                    <a:pt x="164" y="323"/>
                  </a:cubicBezTo>
                  <a:cubicBezTo>
                    <a:pt x="167" y="323"/>
                    <a:pt x="167" y="323"/>
                    <a:pt x="167" y="323"/>
                  </a:cubicBezTo>
                  <a:cubicBezTo>
                    <a:pt x="172" y="324"/>
                    <a:pt x="176" y="325"/>
                    <a:pt x="181" y="325"/>
                  </a:cubicBezTo>
                  <a:cubicBezTo>
                    <a:pt x="181" y="321"/>
                    <a:pt x="181" y="321"/>
                    <a:pt x="181" y="321"/>
                  </a:cubicBezTo>
                  <a:cubicBezTo>
                    <a:pt x="182" y="325"/>
                    <a:pt x="182" y="325"/>
                    <a:pt x="182" y="325"/>
                  </a:cubicBezTo>
                  <a:cubicBezTo>
                    <a:pt x="189" y="326"/>
                    <a:pt x="189" y="326"/>
                    <a:pt x="189" y="326"/>
                  </a:cubicBezTo>
                  <a:cubicBezTo>
                    <a:pt x="190" y="326"/>
                    <a:pt x="190" y="327"/>
                    <a:pt x="191" y="327"/>
                  </a:cubicBezTo>
                  <a:cubicBezTo>
                    <a:pt x="192" y="327"/>
                    <a:pt x="193" y="327"/>
                    <a:pt x="194" y="327"/>
                  </a:cubicBezTo>
                  <a:cubicBezTo>
                    <a:pt x="194" y="327"/>
                    <a:pt x="195" y="327"/>
                    <a:pt x="195" y="327"/>
                  </a:cubicBezTo>
                  <a:cubicBezTo>
                    <a:pt x="195" y="327"/>
                    <a:pt x="195" y="327"/>
                    <a:pt x="195" y="327"/>
                  </a:cubicBezTo>
                  <a:cubicBezTo>
                    <a:pt x="196" y="327"/>
                    <a:pt x="196" y="327"/>
                    <a:pt x="196" y="327"/>
                  </a:cubicBezTo>
                  <a:cubicBezTo>
                    <a:pt x="196" y="326"/>
                    <a:pt x="196" y="326"/>
                    <a:pt x="197" y="325"/>
                  </a:cubicBezTo>
                  <a:cubicBezTo>
                    <a:pt x="199" y="324"/>
                    <a:pt x="202" y="323"/>
                    <a:pt x="204" y="322"/>
                  </a:cubicBezTo>
                  <a:cubicBezTo>
                    <a:pt x="205" y="322"/>
                    <a:pt x="205" y="322"/>
                    <a:pt x="205" y="322"/>
                  </a:cubicBezTo>
                  <a:cubicBezTo>
                    <a:pt x="205" y="322"/>
                    <a:pt x="206" y="322"/>
                    <a:pt x="206" y="322"/>
                  </a:cubicBezTo>
                  <a:cubicBezTo>
                    <a:pt x="207" y="321"/>
                    <a:pt x="207" y="321"/>
                    <a:pt x="207" y="321"/>
                  </a:cubicBezTo>
                  <a:cubicBezTo>
                    <a:pt x="208" y="321"/>
                    <a:pt x="209" y="321"/>
                    <a:pt x="210" y="321"/>
                  </a:cubicBezTo>
                  <a:cubicBezTo>
                    <a:pt x="211" y="321"/>
                    <a:pt x="212" y="321"/>
                    <a:pt x="212" y="322"/>
                  </a:cubicBezTo>
                  <a:cubicBezTo>
                    <a:pt x="213" y="323"/>
                    <a:pt x="213" y="324"/>
                    <a:pt x="213" y="324"/>
                  </a:cubicBezTo>
                  <a:cubicBezTo>
                    <a:pt x="213" y="325"/>
                    <a:pt x="214" y="325"/>
                    <a:pt x="214" y="325"/>
                  </a:cubicBezTo>
                  <a:cubicBezTo>
                    <a:pt x="215" y="324"/>
                    <a:pt x="215" y="324"/>
                    <a:pt x="215" y="324"/>
                  </a:cubicBezTo>
                  <a:cubicBezTo>
                    <a:pt x="215" y="324"/>
                    <a:pt x="215" y="324"/>
                    <a:pt x="215" y="324"/>
                  </a:cubicBezTo>
                  <a:cubicBezTo>
                    <a:pt x="216" y="324"/>
                    <a:pt x="216" y="323"/>
                    <a:pt x="217" y="323"/>
                  </a:cubicBezTo>
                  <a:cubicBezTo>
                    <a:pt x="216" y="322"/>
                    <a:pt x="216" y="321"/>
                    <a:pt x="216" y="320"/>
                  </a:cubicBezTo>
                  <a:cubicBezTo>
                    <a:pt x="216" y="320"/>
                    <a:pt x="217" y="319"/>
                    <a:pt x="217" y="319"/>
                  </a:cubicBezTo>
                  <a:cubicBezTo>
                    <a:pt x="217" y="318"/>
                    <a:pt x="218" y="317"/>
                    <a:pt x="218" y="317"/>
                  </a:cubicBezTo>
                  <a:cubicBezTo>
                    <a:pt x="218" y="316"/>
                    <a:pt x="218" y="316"/>
                    <a:pt x="218" y="316"/>
                  </a:cubicBezTo>
                  <a:cubicBezTo>
                    <a:pt x="214" y="308"/>
                    <a:pt x="214" y="308"/>
                    <a:pt x="214" y="308"/>
                  </a:cubicBezTo>
                  <a:cubicBezTo>
                    <a:pt x="213" y="307"/>
                    <a:pt x="213" y="306"/>
                    <a:pt x="213" y="305"/>
                  </a:cubicBezTo>
                  <a:cubicBezTo>
                    <a:pt x="209" y="307"/>
                    <a:pt x="209" y="307"/>
                    <a:pt x="209" y="307"/>
                  </a:cubicBezTo>
                  <a:cubicBezTo>
                    <a:pt x="212" y="304"/>
                    <a:pt x="212" y="304"/>
                    <a:pt x="212" y="304"/>
                  </a:cubicBezTo>
                  <a:cubicBezTo>
                    <a:pt x="212" y="304"/>
                    <a:pt x="212" y="304"/>
                    <a:pt x="212" y="304"/>
                  </a:cubicBezTo>
                  <a:cubicBezTo>
                    <a:pt x="212" y="303"/>
                    <a:pt x="211" y="302"/>
                    <a:pt x="211" y="301"/>
                  </a:cubicBezTo>
                  <a:cubicBezTo>
                    <a:pt x="210" y="300"/>
                    <a:pt x="210" y="298"/>
                    <a:pt x="210" y="296"/>
                  </a:cubicBezTo>
                  <a:cubicBezTo>
                    <a:pt x="210" y="296"/>
                    <a:pt x="210" y="295"/>
                    <a:pt x="209" y="295"/>
                  </a:cubicBezTo>
                  <a:cubicBezTo>
                    <a:pt x="209" y="295"/>
                    <a:pt x="209" y="295"/>
                    <a:pt x="208" y="295"/>
                  </a:cubicBezTo>
                  <a:cubicBezTo>
                    <a:pt x="208" y="295"/>
                    <a:pt x="208" y="295"/>
                    <a:pt x="208" y="295"/>
                  </a:cubicBezTo>
                  <a:cubicBezTo>
                    <a:pt x="206" y="295"/>
                    <a:pt x="206" y="295"/>
                    <a:pt x="205" y="295"/>
                  </a:cubicBezTo>
                  <a:cubicBezTo>
                    <a:pt x="204" y="295"/>
                    <a:pt x="204" y="295"/>
                    <a:pt x="204" y="295"/>
                  </a:cubicBezTo>
                  <a:cubicBezTo>
                    <a:pt x="204" y="295"/>
                    <a:pt x="203" y="295"/>
                    <a:pt x="203" y="295"/>
                  </a:cubicBezTo>
                  <a:cubicBezTo>
                    <a:pt x="203" y="294"/>
                    <a:pt x="203" y="294"/>
                    <a:pt x="203" y="294"/>
                  </a:cubicBezTo>
                  <a:cubicBezTo>
                    <a:pt x="202" y="294"/>
                    <a:pt x="202" y="294"/>
                    <a:pt x="202" y="294"/>
                  </a:cubicBezTo>
                  <a:cubicBezTo>
                    <a:pt x="202" y="294"/>
                    <a:pt x="202" y="294"/>
                    <a:pt x="202" y="294"/>
                  </a:cubicBezTo>
                  <a:cubicBezTo>
                    <a:pt x="201" y="293"/>
                    <a:pt x="201" y="293"/>
                    <a:pt x="201" y="293"/>
                  </a:cubicBezTo>
                  <a:cubicBezTo>
                    <a:pt x="199" y="291"/>
                    <a:pt x="198" y="289"/>
                    <a:pt x="198" y="286"/>
                  </a:cubicBezTo>
                  <a:cubicBezTo>
                    <a:pt x="197" y="285"/>
                    <a:pt x="197" y="284"/>
                    <a:pt x="197" y="284"/>
                  </a:cubicBezTo>
                  <a:cubicBezTo>
                    <a:pt x="196" y="281"/>
                    <a:pt x="197" y="278"/>
                    <a:pt x="197" y="276"/>
                  </a:cubicBezTo>
                  <a:cubicBezTo>
                    <a:pt x="197" y="276"/>
                    <a:pt x="197" y="276"/>
                    <a:pt x="197" y="276"/>
                  </a:cubicBezTo>
                  <a:cubicBezTo>
                    <a:pt x="197" y="275"/>
                    <a:pt x="197" y="274"/>
                    <a:pt x="197" y="273"/>
                  </a:cubicBezTo>
                  <a:cubicBezTo>
                    <a:pt x="197" y="273"/>
                    <a:pt x="197" y="273"/>
                    <a:pt x="197" y="273"/>
                  </a:cubicBezTo>
                  <a:cubicBezTo>
                    <a:pt x="197" y="272"/>
                    <a:pt x="197" y="272"/>
                    <a:pt x="197" y="272"/>
                  </a:cubicBezTo>
                  <a:cubicBezTo>
                    <a:pt x="196" y="272"/>
                    <a:pt x="196" y="272"/>
                    <a:pt x="196" y="272"/>
                  </a:cubicBezTo>
                  <a:cubicBezTo>
                    <a:pt x="195" y="272"/>
                    <a:pt x="193" y="272"/>
                    <a:pt x="192" y="272"/>
                  </a:cubicBezTo>
                  <a:cubicBezTo>
                    <a:pt x="191" y="276"/>
                    <a:pt x="191" y="276"/>
                    <a:pt x="191" y="276"/>
                  </a:cubicBezTo>
                  <a:cubicBezTo>
                    <a:pt x="190" y="272"/>
                    <a:pt x="190" y="272"/>
                    <a:pt x="190" y="272"/>
                  </a:cubicBezTo>
                  <a:cubicBezTo>
                    <a:pt x="190" y="272"/>
                    <a:pt x="190" y="272"/>
                    <a:pt x="190" y="272"/>
                  </a:cubicBezTo>
                  <a:cubicBezTo>
                    <a:pt x="187" y="271"/>
                    <a:pt x="184" y="269"/>
                    <a:pt x="183" y="268"/>
                  </a:cubicBezTo>
                  <a:cubicBezTo>
                    <a:pt x="182" y="267"/>
                    <a:pt x="181" y="266"/>
                    <a:pt x="181" y="265"/>
                  </a:cubicBezTo>
                  <a:cubicBezTo>
                    <a:pt x="180" y="262"/>
                    <a:pt x="181" y="258"/>
                    <a:pt x="184" y="253"/>
                  </a:cubicBezTo>
                  <a:cubicBezTo>
                    <a:pt x="186" y="250"/>
                    <a:pt x="189" y="247"/>
                    <a:pt x="192" y="244"/>
                  </a:cubicBezTo>
                  <a:cubicBezTo>
                    <a:pt x="192" y="243"/>
                    <a:pt x="192" y="243"/>
                    <a:pt x="192" y="243"/>
                  </a:cubicBezTo>
                  <a:cubicBezTo>
                    <a:pt x="193" y="242"/>
                    <a:pt x="194" y="241"/>
                    <a:pt x="195" y="240"/>
                  </a:cubicBezTo>
                  <a:cubicBezTo>
                    <a:pt x="195" y="239"/>
                    <a:pt x="196" y="239"/>
                    <a:pt x="196" y="238"/>
                  </a:cubicBezTo>
                  <a:cubicBezTo>
                    <a:pt x="197" y="237"/>
                    <a:pt x="197" y="237"/>
                    <a:pt x="197" y="237"/>
                  </a:cubicBezTo>
                  <a:cubicBezTo>
                    <a:pt x="197" y="237"/>
                    <a:pt x="197" y="237"/>
                    <a:pt x="198" y="236"/>
                  </a:cubicBezTo>
                  <a:cubicBezTo>
                    <a:pt x="200" y="234"/>
                    <a:pt x="200" y="234"/>
                    <a:pt x="200" y="234"/>
                  </a:cubicBezTo>
                  <a:cubicBezTo>
                    <a:pt x="200" y="233"/>
                    <a:pt x="200" y="233"/>
                    <a:pt x="200" y="233"/>
                  </a:cubicBezTo>
                  <a:cubicBezTo>
                    <a:pt x="201" y="233"/>
                    <a:pt x="201" y="233"/>
                    <a:pt x="201" y="233"/>
                  </a:cubicBezTo>
                  <a:cubicBezTo>
                    <a:pt x="198" y="229"/>
                    <a:pt x="198" y="229"/>
                    <a:pt x="198" y="229"/>
                  </a:cubicBezTo>
                  <a:cubicBezTo>
                    <a:pt x="202" y="232"/>
                    <a:pt x="202" y="232"/>
                    <a:pt x="202" y="232"/>
                  </a:cubicBezTo>
                  <a:cubicBezTo>
                    <a:pt x="202" y="232"/>
                    <a:pt x="202" y="232"/>
                    <a:pt x="202" y="232"/>
                  </a:cubicBezTo>
                  <a:cubicBezTo>
                    <a:pt x="203" y="231"/>
                    <a:pt x="204" y="231"/>
                    <a:pt x="204" y="231"/>
                  </a:cubicBezTo>
                  <a:cubicBezTo>
                    <a:pt x="205" y="231"/>
                    <a:pt x="205" y="231"/>
                    <a:pt x="205" y="231"/>
                  </a:cubicBezTo>
                  <a:cubicBezTo>
                    <a:pt x="205" y="230"/>
                    <a:pt x="206" y="230"/>
                    <a:pt x="207" y="230"/>
                  </a:cubicBezTo>
                  <a:cubicBezTo>
                    <a:pt x="207" y="227"/>
                    <a:pt x="207" y="227"/>
                    <a:pt x="207" y="227"/>
                  </a:cubicBezTo>
                  <a:cubicBezTo>
                    <a:pt x="208" y="230"/>
                    <a:pt x="208" y="230"/>
                    <a:pt x="208" y="230"/>
                  </a:cubicBezTo>
                  <a:cubicBezTo>
                    <a:pt x="208" y="230"/>
                    <a:pt x="208" y="230"/>
                    <a:pt x="209" y="230"/>
                  </a:cubicBezTo>
                  <a:cubicBezTo>
                    <a:pt x="209" y="230"/>
                    <a:pt x="210" y="230"/>
                    <a:pt x="210" y="231"/>
                  </a:cubicBezTo>
                  <a:cubicBezTo>
                    <a:pt x="211" y="231"/>
                    <a:pt x="211" y="231"/>
                    <a:pt x="211" y="232"/>
                  </a:cubicBezTo>
                  <a:cubicBezTo>
                    <a:pt x="212" y="232"/>
                    <a:pt x="212" y="232"/>
                    <a:pt x="213" y="233"/>
                  </a:cubicBezTo>
                  <a:cubicBezTo>
                    <a:pt x="214" y="234"/>
                    <a:pt x="214" y="235"/>
                    <a:pt x="215" y="236"/>
                  </a:cubicBezTo>
                  <a:cubicBezTo>
                    <a:pt x="215" y="236"/>
                    <a:pt x="215" y="236"/>
                    <a:pt x="215" y="236"/>
                  </a:cubicBezTo>
                  <a:cubicBezTo>
                    <a:pt x="215" y="237"/>
                    <a:pt x="216" y="237"/>
                    <a:pt x="216" y="238"/>
                  </a:cubicBezTo>
                  <a:cubicBezTo>
                    <a:pt x="216" y="238"/>
                    <a:pt x="216" y="238"/>
                    <a:pt x="217" y="238"/>
                  </a:cubicBezTo>
                  <a:cubicBezTo>
                    <a:pt x="217" y="238"/>
                    <a:pt x="217" y="238"/>
                    <a:pt x="217" y="238"/>
                  </a:cubicBezTo>
                  <a:cubicBezTo>
                    <a:pt x="218" y="238"/>
                    <a:pt x="218" y="238"/>
                    <a:pt x="218" y="238"/>
                  </a:cubicBezTo>
                  <a:cubicBezTo>
                    <a:pt x="220" y="237"/>
                    <a:pt x="222" y="236"/>
                    <a:pt x="224" y="235"/>
                  </a:cubicBezTo>
                  <a:cubicBezTo>
                    <a:pt x="225" y="235"/>
                    <a:pt x="225" y="235"/>
                    <a:pt x="225" y="235"/>
                  </a:cubicBezTo>
                  <a:cubicBezTo>
                    <a:pt x="225" y="230"/>
                    <a:pt x="225" y="230"/>
                    <a:pt x="225" y="230"/>
                  </a:cubicBezTo>
                  <a:cubicBezTo>
                    <a:pt x="226" y="235"/>
                    <a:pt x="226" y="235"/>
                    <a:pt x="226" y="235"/>
                  </a:cubicBezTo>
                  <a:cubicBezTo>
                    <a:pt x="227" y="235"/>
                    <a:pt x="227" y="235"/>
                    <a:pt x="227" y="235"/>
                  </a:cubicBezTo>
                  <a:cubicBezTo>
                    <a:pt x="228" y="235"/>
                    <a:pt x="228" y="235"/>
                    <a:pt x="229" y="235"/>
                  </a:cubicBezTo>
                  <a:cubicBezTo>
                    <a:pt x="230" y="235"/>
                    <a:pt x="230" y="235"/>
                    <a:pt x="230" y="235"/>
                  </a:cubicBezTo>
                  <a:cubicBezTo>
                    <a:pt x="231" y="234"/>
                    <a:pt x="233" y="234"/>
                    <a:pt x="235" y="234"/>
                  </a:cubicBezTo>
                  <a:cubicBezTo>
                    <a:pt x="236" y="234"/>
                    <a:pt x="236" y="234"/>
                    <a:pt x="236" y="234"/>
                  </a:cubicBezTo>
                  <a:cubicBezTo>
                    <a:pt x="249" y="215"/>
                    <a:pt x="249" y="215"/>
                    <a:pt x="249" y="215"/>
                  </a:cubicBezTo>
                  <a:cubicBezTo>
                    <a:pt x="250" y="214"/>
                    <a:pt x="250" y="214"/>
                    <a:pt x="250" y="214"/>
                  </a:cubicBezTo>
                  <a:cubicBezTo>
                    <a:pt x="252" y="212"/>
                    <a:pt x="254" y="210"/>
                    <a:pt x="256" y="209"/>
                  </a:cubicBezTo>
                  <a:cubicBezTo>
                    <a:pt x="257" y="208"/>
                    <a:pt x="258" y="208"/>
                    <a:pt x="259" y="207"/>
                  </a:cubicBezTo>
                  <a:cubicBezTo>
                    <a:pt x="262" y="206"/>
                    <a:pt x="263" y="205"/>
                    <a:pt x="265" y="202"/>
                  </a:cubicBezTo>
                  <a:cubicBezTo>
                    <a:pt x="266" y="201"/>
                    <a:pt x="267" y="200"/>
                    <a:pt x="267" y="199"/>
                  </a:cubicBezTo>
                  <a:cubicBezTo>
                    <a:pt x="267" y="198"/>
                    <a:pt x="267" y="198"/>
                    <a:pt x="267" y="198"/>
                  </a:cubicBezTo>
                  <a:cubicBezTo>
                    <a:pt x="268" y="197"/>
                    <a:pt x="269" y="195"/>
                    <a:pt x="270" y="194"/>
                  </a:cubicBezTo>
                  <a:cubicBezTo>
                    <a:pt x="270" y="193"/>
                    <a:pt x="270" y="193"/>
                    <a:pt x="270" y="192"/>
                  </a:cubicBezTo>
                  <a:cubicBezTo>
                    <a:pt x="270" y="192"/>
                    <a:pt x="270" y="192"/>
                    <a:pt x="270" y="192"/>
                  </a:cubicBezTo>
                  <a:cubicBezTo>
                    <a:pt x="271" y="191"/>
                    <a:pt x="271" y="191"/>
                    <a:pt x="271" y="190"/>
                  </a:cubicBezTo>
                  <a:cubicBezTo>
                    <a:pt x="272" y="187"/>
                    <a:pt x="272" y="185"/>
                    <a:pt x="274" y="183"/>
                  </a:cubicBezTo>
                  <a:cubicBezTo>
                    <a:pt x="275" y="182"/>
                    <a:pt x="276" y="181"/>
                    <a:pt x="277" y="180"/>
                  </a:cubicBezTo>
                  <a:cubicBezTo>
                    <a:pt x="279" y="179"/>
                    <a:pt x="281" y="178"/>
                    <a:pt x="283" y="177"/>
                  </a:cubicBezTo>
                  <a:cubicBezTo>
                    <a:pt x="284" y="177"/>
                    <a:pt x="285" y="177"/>
                    <a:pt x="285" y="176"/>
                  </a:cubicBezTo>
                  <a:cubicBezTo>
                    <a:pt x="285" y="176"/>
                    <a:pt x="285" y="176"/>
                    <a:pt x="285" y="176"/>
                  </a:cubicBezTo>
                  <a:cubicBezTo>
                    <a:pt x="284" y="173"/>
                    <a:pt x="284" y="172"/>
                    <a:pt x="285" y="171"/>
                  </a:cubicBezTo>
                  <a:cubicBezTo>
                    <a:pt x="285" y="170"/>
                    <a:pt x="285" y="170"/>
                    <a:pt x="285" y="170"/>
                  </a:cubicBezTo>
                  <a:cubicBezTo>
                    <a:pt x="286" y="169"/>
                    <a:pt x="286" y="169"/>
                    <a:pt x="287" y="168"/>
                  </a:cubicBezTo>
                  <a:cubicBezTo>
                    <a:pt x="288" y="167"/>
                    <a:pt x="289" y="165"/>
                    <a:pt x="291" y="164"/>
                  </a:cubicBezTo>
                  <a:cubicBezTo>
                    <a:pt x="291" y="163"/>
                    <a:pt x="293" y="162"/>
                    <a:pt x="295" y="161"/>
                  </a:cubicBezTo>
                  <a:cubicBezTo>
                    <a:pt x="295" y="160"/>
                    <a:pt x="295" y="160"/>
                    <a:pt x="295" y="160"/>
                  </a:cubicBezTo>
                  <a:cubicBezTo>
                    <a:pt x="297" y="159"/>
                    <a:pt x="299" y="158"/>
                    <a:pt x="300" y="157"/>
                  </a:cubicBezTo>
                  <a:cubicBezTo>
                    <a:pt x="301" y="156"/>
                    <a:pt x="302" y="155"/>
                    <a:pt x="302" y="155"/>
                  </a:cubicBezTo>
                  <a:cubicBezTo>
                    <a:pt x="302" y="154"/>
                    <a:pt x="302" y="154"/>
                    <a:pt x="301" y="153"/>
                  </a:cubicBezTo>
                  <a:cubicBezTo>
                    <a:pt x="301" y="147"/>
                    <a:pt x="301" y="147"/>
                    <a:pt x="301" y="147"/>
                  </a:cubicBezTo>
                  <a:cubicBezTo>
                    <a:pt x="300" y="146"/>
                    <a:pt x="300" y="145"/>
                    <a:pt x="300" y="143"/>
                  </a:cubicBezTo>
                  <a:cubicBezTo>
                    <a:pt x="300" y="140"/>
                    <a:pt x="300" y="140"/>
                    <a:pt x="300" y="140"/>
                  </a:cubicBezTo>
                  <a:cubicBezTo>
                    <a:pt x="296" y="141"/>
                    <a:pt x="296" y="141"/>
                    <a:pt x="296" y="141"/>
                  </a:cubicBezTo>
                  <a:cubicBezTo>
                    <a:pt x="300" y="139"/>
                    <a:pt x="300" y="139"/>
                    <a:pt x="300" y="139"/>
                  </a:cubicBezTo>
                  <a:cubicBezTo>
                    <a:pt x="299" y="138"/>
                    <a:pt x="299" y="138"/>
                    <a:pt x="299" y="138"/>
                  </a:cubicBezTo>
                  <a:cubicBezTo>
                    <a:pt x="299" y="138"/>
                    <a:pt x="300" y="137"/>
                    <a:pt x="300" y="136"/>
                  </a:cubicBezTo>
                  <a:cubicBezTo>
                    <a:pt x="300" y="134"/>
                    <a:pt x="302" y="133"/>
                    <a:pt x="304" y="131"/>
                  </a:cubicBezTo>
                  <a:cubicBezTo>
                    <a:pt x="305" y="130"/>
                    <a:pt x="306" y="130"/>
                    <a:pt x="306" y="130"/>
                  </a:cubicBezTo>
                  <a:cubicBezTo>
                    <a:pt x="307" y="130"/>
                    <a:pt x="307" y="130"/>
                    <a:pt x="307" y="130"/>
                  </a:cubicBezTo>
                  <a:cubicBezTo>
                    <a:pt x="307" y="129"/>
                    <a:pt x="307" y="129"/>
                    <a:pt x="308" y="129"/>
                  </a:cubicBezTo>
                  <a:cubicBezTo>
                    <a:pt x="308" y="129"/>
                    <a:pt x="308" y="129"/>
                    <a:pt x="309" y="129"/>
                  </a:cubicBezTo>
                  <a:cubicBezTo>
                    <a:pt x="310" y="128"/>
                    <a:pt x="310" y="128"/>
                    <a:pt x="311" y="128"/>
                  </a:cubicBezTo>
                  <a:cubicBezTo>
                    <a:pt x="312" y="128"/>
                    <a:pt x="313" y="127"/>
                    <a:pt x="313" y="127"/>
                  </a:cubicBezTo>
                  <a:cubicBezTo>
                    <a:pt x="315" y="126"/>
                    <a:pt x="315" y="126"/>
                    <a:pt x="315" y="126"/>
                  </a:cubicBezTo>
                  <a:cubicBezTo>
                    <a:pt x="316" y="126"/>
                    <a:pt x="318" y="125"/>
                    <a:pt x="318" y="125"/>
                  </a:cubicBezTo>
                  <a:cubicBezTo>
                    <a:pt x="319" y="124"/>
                    <a:pt x="318" y="123"/>
                    <a:pt x="318" y="123"/>
                  </a:cubicBezTo>
                  <a:cubicBezTo>
                    <a:pt x="318" y="123"/>
                    <a:pt x="318" y="123"/>
                    <a:pt x="318" y="123"/>
                  </a:cubicBezTo>
                  <a:cubicBezTo>
                    <a:pt x="317" y="123"/>
                    <a:pt x="317" y="123"/>
                    <a:pt x="317" y="123"/>
                  </a:cubicBezTo>
                  <a:cubicBezTo>
                    <a:pt x="317" y="123"/>
                    <a:pt x="316" y="123"/>
                    <a:pt x="316" y="123"/>
                  </a:cubicBezTo>
                  <a:cubicBezTo>
                    <a:pt x="315" y="122"/>
                    <a:pt x="314" y="122"/>
                    <a:pt x="313" y="122"/>
                  </a:cubicBezTo>
                  <a:cubicBezTo>
                    <a:pt x="313" y="122"/>
                    <a:pt x="313" y="122"/>
                    <a:pt x="313" y="122"/>
                  </a:cubicBezTo>
                  <a:cubicBezTo>
                    <a:pt x="312" y="122"/>
                    <a:pt x="312" y="122"/>
                    <a:pt x="311" y="122"/>
                  </a:cubicBezTo>
                  <a:cubicBezTo>
                    <a:pt x="308" y="121"/>
                    <a:pt x="306" y="121"/>
                    <a:pt x="305" y="119"/>
                  </a:cubicBezTo>
                  <a:cubicBezTo>
                    <a:pt x="305" y="119"/>
                    <a:pt x="304" y="118"/>
                    <a:pt x="304" y="118"/>
                  </a:cubicBezTo>
                  <a:cubicBezTo>
                    <a:pt x="303" y="117"/>
                    <a:pt x="303" y="115"/>
                    <a:pt x="303" y="113"/>
                  </a:cubicBezTo>
                  <a:cubicBezTo>
                    <a:pt x="302" y="114"/>
                    <a:pt x="302" y="114"/>
                    <a:pt x="301" y="114"/>
                  </a:cubicBezTo>
                  <a:cubicBezTo>
                    <a:pt x="299" y="114"/>
                    <a:pt x="297" y="113"/>
                    <a:pt x="295" y="111"/>
                  </a:cubicBezTo>
                  <a:cubicBezTo>
                    <a:pt x="295" y="110"/>
                    <a:pt x="295" y="110"/>
                    <a:pt x="295" y="110"/>
                  </a:cubicBezTo>
                  <a:cubicBezTo>
                    <a:pt x="294" y="109"/>
                    <a:pt x="294" y="109"/>
                    <a:pt x="293" y="108"/>
                  </a:cubicBezTo>
                  <a:cubicBezTo>
                    <a:pt x="292" y="107"/>
                    <a:pt x="292" y="107"/>
                    <a:pt x="292" y="107"/>
                  </a:cubicBezTo>
                  <a:cubicBezTo>
                    <a:pt x="291" y="105"/>
                    <a:pt x="290" y="103"/>
                    <a:pt x="289" y="102"/>
                  </a:cubicBezTo>
                  <a:cubicBezTo>
                    <a:pt x="283" y="103"/>
                    <a:pt x="283" y="103"/>
                    <a:pt x="283" y="103"/>
                  </a:cubicBezTo>
                  <a:cubicBezTo>
                    <a:pt x="289" y="100"/>
                    <a:pt x="289" y="100"/>
                    <a:pt x="289" y="100"/>
                  </a:cubicBezTo>
                  <a:cubicBezTo>
                    <a:pt x="289" y="100"/>
                    <a:pt x="289" y="100"/>
                    <a:pt x="289" y="100"/>
                  </a:cubicBezTo>
                  <a:cubicBezTo>
                    <a:pt x="288" y="99"/>
                    <a:pt x="289" y="98"/>
                    <a:pt x="289" y="97"/>
                  </a:cubicBezTo>
                  <a:cubicBezTo>
                    <a:pt x="289" y="96"/>
                    <a:pt x="290" y="96"/>
                    <a:pt x="290" y="95"/>
                  </a:cubicBezTo>
                  <a:cubicBezTo>
                    <a:pt x="291" y="92"/>
                    <a:pt x="291" y="92"/>
                    <a:pt x="291" y="91"/>
                  </a:cubicBezTo>
                  <a:cubicBezTo>
                    <a:pt x="290" y="90"/>
                    <a:pt x="290" y="90"/>
                    <a:pt x="290" y="90"/>
                  </a:cubicBezTo>
                  <a:cubicBezTo>
                    <a:pt x="290" y="89"/>
                    <a:pt x="289" y="89"/>
                    <a:pt x="289" y="88"/>
                  </a:cubicBezTo>
                  <a:cubicBezTo>
                    <a:pt x="288" y="87"/>
                    <a:pt x="288" y="86"/>
                    <a:pt x="288" y="85"/>
                  </a:cubicBezTo>
                  <a:cubicBezTo>
                    <a:pt x="288" y="85"/>
                    <a:pt x="288" y="85"/>
                    <a:pt x="288" y="85"/>
                  </a:cubicBezTo>
                  <a:cubicBezTo>
                    <a:pt x="288" y="85"/>
                    <a:pt x="288" y="85"/>
                    <a:pt x="288" y="85"/>
                  </a:cubicBezTo>
                  <a:cubicBezTo>
                    <a:pt x="288" y="84"/>
                    <a:pt x="288" y="84"/>
                    <a:pt x="288" y="84"/>
                  </a:cubicBezTo>
                  <a:cubicBezTo>
                    <a:pt x="288" y="83"/>
                    <a:pt x="288" y="83"/>
                    <a:pt x="288" y="83"/>
                  </a:cubicBezTo>
                  <a:cubicBezTo>
                    <a:pt x="289" y="82"/>
                    <a:pt x="290" y="81"/>
                    <a:pt x="291" y="80"/>
                  </a:cubicBezTo>
                  <a:cubicBezTo>
                    <a:pt x="291" y="80"/>
                    <a:pt x="291" y="80"/>
                    <a:pt x="291" y="80"/>
                  </a:cubicBezTo>
                  <a:cubicBezTo>
                    <a:pt x="290" y="80"/>
                    <a:pt x="290" y="80"/>
                    <a:pt x="290" y="80"/>
                  </a:cubicBezTo>
                  <a:cubicBezTo>
                    <a:pt x="289" y="80"/>
                    <a:pt x="288" y="80"/>
                    <a:pt x="288" y="79"/>
                  </a:cubicBezTo>
                  <a:cubicBezTo>
                    <a:pt x="285" y="79"/>
                    <a:pt x="285" y="79"/>
                    <a:pt x="285" y="79"/>
                  </a:cubicBezTo>
                  <a:cubicBezTo>
                    <a:pt x="286" y="76"/>
                    <a:pt x="286" y="76"/>
                    <a:pt x="286" y="76"/>
                  </a:cubicBezTo>
                  <a:cubicBezTo>
                    <a:pt x="286" y="76"/>
                    <a:pt x="286" y="75"/>
                    <a:pt x="286" y="75"/>
                  </a:cubicBezTo>
                  <a:cubicBezTo>
                    <a:pt x="286" y="74"/>
                    <a:pt x="286" y="74"/>
                    <a:pt x="286" y="74"/>
                  </a:cubicBezTo>
                  <a:cubicBezTo>
                    <a:pt x="286" y="74"/>
                    <a:pt x="286" y="73"/>
                    <a:pt x="287" y="73"/>
                  </a:cubicBezTo>
                  <a:cubicBezTo>
                    <a:pt x="286" y="73"/>
                    <a:pt x="286" y="73"/>
                    <a:pt x="285" y="72"/>
                  </a:cubicBezTo>
                  <a:cubicBezTo>
                    <a:pt x="285" y="72"/>
                    <a:pt x="285" y="72"/>
                    <a:pt x="285" y="72"/>
                  </a:cubicBezTo>
                  <a:cubicBezTo>
                    <a:pt x="284" y="71"/>
                    <a:pt x="283" y="70"/>
                    <a:pt x="283" y="69"/>
                  </a:cubicBezTo>
                  <a:cubicBezTo>
                    <a:pt x="282" y="67"/>
                    <a:pt x="283" y="66"/>
                    <a:pt x="284" y="65"/>
                  </a:cubicBezTo>
                  <a:cubicBezTo>
                    <a:pt x="284" y="63"/>
                    <a:pt x="285" y="62"/>
                    <a:pt x="286" y="61"/>
                  </a:cubicBezTo>
                  <a:cubicBezTo>
                    <a:pt x="286" y="60"/>
                    <a:pt x="286" y="60"/>
                    <a:pt x="286" y="59"/>
                  </a:cubicBezTo>
                  <a:cubicBezTo>
                    <a:pt x="288" y="58"/>
                    <a:pt x="289" y="58"/>
                    <a:pt x="291" y="58"/>
                  </a:cubicBezTo>
                  <a:cubicBezTo>
                    <a:pt x="293" y="57"/>
                    <a:pt x="297" y="57"/>
                    <a:pt x="300" y="57"/>
                  </a:cubicBezTo>
                  <a:cubicBezTo>
                    <a:pt x="301" y="56"/>
                    <a:pt x="301" y="56"/>
                    <a:pt x="301" y="56"/>
                  </a:cubicBezTo>
                  <a:cubicBezTo>
                    <a:pt x="302" y="56"/>
                    <a:pt x="303" y="56"/>
                    <a:pt x="304" y="56"/>
                  </a:cubicBezTo>
                  <a:cubicBezTo>
                    <a:pt x="304" y="56"/>
                    <a:pt x="305" y="56"/>
                    <a:pt x="305" y="56"/>
                  </a:cubicBezTo>
                  <a:cubicBezTo>
                    <a:pt x="308" y="56"/>
                    <a:pt x="310" y="57"/>
                    <a:pt x="312" y="57"/>
                  </a:cubicBezTo>
                  <a:cubicBezTo>
                    <a:pt x="313" y="57"/>
                    <a:pt x="313" y="57"/>
                    <a:pt x="313" y="57"/>
                  </a:cubicBezTo>
                  <a:cubicBezTo>
                    <a:pt x="314" y="57"/>
                    <a:pt x="315" y="58"/>
                    <a:pt x="316" y="58"/>
                  </a:cubicBezTo>
                  <a:cubicBezTo>
                    <a:pt x="319" y="58"/>
                    <a:pt x="319" y="58"/>
                    <a:pt x="319" y="58"/>
                  </a:cubicBezTo>
                  <a:cubicBezTo>
                    <a:pt x="321" y="58"/>
                    <a:pt x="322" y="59"/>
                    <a:pt x="324" y="60"/>
                  </a:cubicBezTo>
                  <a:cubicBezTo>
                    <a:pt x="324" y="60"/>
                    <a:pt x="324" y="60"/>
                    <a:pt x="325" y="60"/>
                  </a:cubicBezTo>
                  <a:cubicBezTo>
                    <a:pt x="325" y="61"/>
                    <a:pt x="326" y="61"/>
                    <a:pt x="326" y="61"/>
                  </a:cubicBezTo>
                  <a:cubicBezTo>
                    <a:pt x="328" y="61"/>
                    <a:pt x="328" y="61"/>
                    <a:pt x="328" y="61"/>
                  </a:cubicBezTo>
                  <a:cubicBezTo>
                    <a:pt x="329" y="61"/>
                    <a:pt x="329" y="61"/>
                    <a:pt x="330" y="62"/>
                  </a:cubicBezTo>
                  <a:cubicBezTo>
                    <a:pt x="332" y="61"/>
                    <a:pt x="334" y="61"/>
                    <a:pt x="338" y="59"/>
                  </a:cubicBezTo>
                  <a:cubicBezTo>
                    <a:pt x="339" y="59"/>
                    <a:pt x="340" y="58"/>
                    <a:pt x="340" y="58"/>
                  </a:cubicBezTo>
                  <a:cubicBezTo>
                    <a:pt x="341" y="58"/>
                    <a:pt x="341" y="58"/>
                    <a:pt x="342" y="57"/>
                  </a:cubicBezTo>
                  <a:cubicBezTo>
                    <a:pt x="343" y="57"/>
                    <a:pt x="344" y="57"/>
                    <a:pt x="345" y="57"/>
                  </a:cubicBezTo>
                  <a:cubicBezTo>
                    <a:pt x="346" y="56"/>
                    <a:pt x="347" y="56"/>
                    <a:pt x="348" y="56"/>
                  </a:cubicBezTo>
                  <a:cubicBezTo>
                    <a:pt x="348" y="56"/>
                    <a:pt x="348" y="56"/>
                    <a:pt x="348" y="56"/>
                  </a:cubicBezTo>
                  <a:cubicBezTo>
                    <a:pt x="348" y="56"/>
                    <a:pt x="349" y="56"/>
                    <a:pt x="349" y="56"/>
                  </a:cubicBezTo>
                  <a:cubicBezTo>
                    <a:pt x="350" y="56"/>
                    <a:pt x="350" y="56"/>
                    <a:pt x="350" y="56"/>
                  </a:cubicBezTo>
                  <a:cubicBezTo>
                    <a:pt x="352" y="55"/>
                    <a:pt x="353" y="55"/>
                    <a:pt x="354" y="53"/>
                  </a:cubicBezTo>
                  <a:cubicBezTo>
                    <a:pt x="355" y="52"/>
                    <a:pt x="355" y="52"/>
                    <a:pt x="355" y="52"/>
                  </a:cubicBezTo>
                  <a:cubicBezTo>
                    <a:pt x="357" y="50"/>
                    <a:pt x="358" y="48"/>
                    <a:pt x="360" y="46"/>
                  </a:cubicBezTo>
                  <a:cubicBezTo>
                    <a:pt x="365" y="44"/>
                    <a:pt x="365" y="44"/>
                    <a:pt x="365" y="44"/>
                  </a:cubicBezTo>
                  <a:cubicBezTo>
                    <a:pt x="366" y="43"/>
                    <a:pt x="367" y="43"/>
                    <a:pt x="368" y="42"/>
                  </a:cubicBezTo>
                  <a:cubicBezTo>
                    <a:pt x="360" y="43"/>
                    <a:pt x="360" y="43"/>
                    <a:pt x="360" y="43"/>
                  </a:cubicBezTo>
                  <a:cubicBezTo>
                    <a:pt x="367" y="40"/>
                    <a:pt x="367" y="40"/>
                    <a:pt x="367" y="40"/>
                  </a:cubicBezTo>
                  <a:cubicBezTo>
                    <a:pt x="362" y="40"/>
                    <a:pt x="358" y="39"/>
                    <a:pt x="354" y="37"/>
                  </a:cubicBezTo>
                  <a:cubicBezTo>
                    <a:pt x="352" y="36"/>
                    <a:pt x="351" y="35"/>
                    <a:pt x="350" y="33"/>
                  </a:cubicBezTo>
                  <a:cubicBezTo>
                    <a:pt x="349" y="33"/>
                    <a:pt x="349" y="32"/>
                    <a:pt x="348" y="32"/>
                  </a:cubicBezTo>
                  <a:cubicBezTo>
                    <a:pt x="347" y="32"/>
                    <a:pt x="345" y="32"/>
                    <a:pt x="344" y="32"/>
                  </a:cubicBezTo>
                  <a:cubicBezTo>
                    <a:pt x="344" y="32"/>
                    <a:pt x="344" y="32"/>
                    <a:pt x="344" y="32"/>
                  </a:cubicBezTo>
                  <a:cubicBezTo>
                    <a:pt x="343" y="32"/>
                    <a:pt x="343" y="32"/>
                    <a:pt x="343" y="32"/>
                  </a:cubicBezTo>
                  <a:cubicBezTo>
                    <a:pt x="341" y="32"/>
                    <a:pt x="340" y="32"/>
                    <a:pt x="339" y="31"/>
                  </a:cubicBezTo>
                  <a:cubicBezTo>
                    <a:pt x="339" y="31"/>
                    <a:pt x="338" y="30"/>
                    <a:pt x="338" y="30"/>
                  </a:cubicBezTo>
                  <a:cubicBezTo>
                    <a:pt x="338" y="29"/>
                    <a:pt x="338" y="29"/>
                    <a:pt x="338" y="29"/>
                  </a:cubicBezTo>
                  <a:cubicBezTo>
                    <a:pt x="338" y="29"/>
                    <a:pt x="338" y="29"/>
                    <a:pt x="338" y="29"/>
                  </a:cubicBezTo>
                  <a:cubicBezTo>
                    <a:pt x="337" y="28"/>
                    <a:pt x="336" y="28"/>
                    <a:pt x="336" y="27"/>
                  </a:cubicBezTo>
                  <a:cubicBezTo>
                    <a:pt x="334" y="25"/>
                    <a:pt x="334" y="25"/>
                    <a:pt x="334" y="25"/>
                  </a:cubicBezTo>
                  <a:cubicBezTo>
                    <a:pt x="331" y="23"/>
                    <a:pt x="333" y="20"/>
                    <a:pt x="335" y="19"/>
                  </a:cubicBezTo>
                  <a:cubicBezTo>
                    <a:pt x="335" y="18"/>
                    <a:pt x="335" y="18"/>
                    <a:pt x="335" y="17"/>
                  </a:cubicBezTo>
                  <a:cubicBezTo>
                    <a:pt x="335" y="17"/>
                    <a:pt x="335" y="16"/>
                    <a:pt x="335" y="15"/>
                  </a:cubicBezTo>
                  <a:cubicBezTo>
                    <a:pt x="335" y="14"/>
                    <a:pt x="334" y="13"/>
                    <a:pt x="334" y="12"/>
                  </a:cubicBezTo>
                  <a:cubicBezTo>
                    <a:pt x="332" y="10"/>
                    <a:pt x="331" y="9"/>
                    <a:pt x="329" y="8"/>
                  </a:cubicBezTo>
                  <a:cubicBezTo>
                    <a:pt x="329" y="7"/>
                    <a:pt x="328" y="7"/>
                    <a:pt x="327" y="7"/>
                  </a:cubicBezTo>
                  <a:cubicBezTo>
                    <a:pt x="326" y="6"/>
                    <a:pt x="325" y="5"/>
                    <a:pt x="323" y="4"/>
                  </a:cubicBezTo>
                  <a:cubicBezTo>
                    <a:pt x="322" y="4"/>
                    <a:pt x="321" y="3"/>
                    <a:pt x="320" y="2"/>
                  </a:cubicBezTo>
                  <a:cubicBezTo>
                    <a:pt x="318" y="1"/>
                    <a:pt x="317" y="1"/>
                    <a:pt x="315" y="1"/>
                  </a:cubicBezTo>
                  <a:cubicBezTo>
                    <a:pt x="314" y="1"/>
                    <a:pt x="314" y="1"/>
                    <a:pt x="314" y="1"/>
                  </a:cubicBezTo>
                  <a:cubicBezTo>
                    <a:pt x="313" y="1"/>
                    <a:pt x="313" y="2"/>
                    <a:pt x="312" y="2"/>
                  </a:cubicBezTo>
                  <a:cubicBezTo>
                    <a:pt x="311" y="2"/>
                    <a:pt x="311" y="2"/>
                    <a:pt x="311" y="1"/>
                  </a:cubicBezTo>
                  <a:cubicBezTo>
                    <a:pt x="309" y="1"/>
                    <a:pt x="308" y="1"/>
                    <a:pt x="307" y="0"/>
                  </a:cubicBezTo>
                  <a:cubicBezTo>
                    <a:pt x="307" y="0"/>
                    <a:pt x="307" y="0"/>
                    <a:pt x="307" y="0"/>
                  </a:cubicBezTo>
                  <a:cubicBezTo>
                    <a:pt x="306" y="0"/>
                    <a:pt x="306" y="0"/>
                    <a:pt x="306" y="0"/>
                  </a:cubicBezTo>
                  <a:cubicBezTo>
                    <a:pt x="306" y="0"/>
                    <a:pt x="306" y="0"/>
                    <a:pt x="3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2" name="Freeform 1531">
              <a:extLst>
                <a:ext uri="{FF2B5EF4-FFF2-40B4-BE49-F238E27FC236}">
                  <a16:creationId xmlns:a16="http://schemas.microsoft.com/office/drawing/2014/main" id="{05C1364F-7F97-4D47-A8DF-D4409D2A7E63}"/>
                </a:ext>
              </a:extLst>
            </p:cNvPr>
            <p:cNvSpPr>
              <a:spLocks/>
            </p:cNvSpPr>
            <p:nvPr/>
          </p:nvSpPr>
          <p:spPr bwMode="auto">
            <a:xfrm>
              <a:off x="824194" y="1983975"/>
              <a:ext cx="130207" cy="37585"/>
            </a:xfrm>
            <a:custGeom>
              <a:avLst/>
              <a:gdLst>
                <a:gd name="T0" fmla="*/ 16 w 41"/>
                <a:gd name="T1" fmla="*/ 0 h 12"/>
                <a:gd name="T2" fmla="*/ 14 w 41"/>
                <a:gd name="T3" fmla="*/ 1 h 12"/>
                <a:gd name="T4" fmla="*/ 12 w 41"/>
                <a:gd name="T5" fmla="*/ 1 h 12"/>
                <a:gd name="T6" fmla="*/ 2 w 41"/>
                <a:gd name="T7" fmla="*/ 10 h 12"/>
                <a:gd name="T8" fmla="*/ 0 w 41"/>
                <a:gd name="T9" fmla="*/ 12 h 12"/>
                <a:gd name="T10" fmla="*/ 1 w 41"/>
                <a:gd name="T11" fmla="*/ 11 h 12"/>
                <a:gd name="T12" fmla="*/ 6 w 41"/>
                <a:gd name="T13" fmla="*/ 11 h 12"/>
                <a:gd name="T14" fmla="*/ 16 w 41"/>
                <a:gd name="T15" fmla="*/ 10 h 12"/>
                <a:gd name="T16" fmla="*/ 17 w 41"/>
                <a:gd name="T17" fmla="*/ 10 h 12"/>
                <a:gd name="T18" fmla="*/ 22 w 41"/>
                <a:gd name="T19" fmla="*/ 10 h 12"/>
                <a:gd name="T20" fmla="*/ 22 w 41"/>
                <a:gd name="T21" fmla="*/ 10 h 12"/>
                <a:gd name="T22" fmla="*/ 24 w 41"/>
                <a:gd name="T23" fmla="*/ 10 h 12"/>
                <a:gd name="T24" fmla="*/ 26 w 41"/>
                <a:gd name="T25" fmla="*/ 10 h 12"/>
                <a:gd name="T26" fmla="*/ 27 w 41"/>
                <a:gd name="T27" fmla="*/ 11 h 12"/>
                <a:gd name="T28" fmla="*/ 28 w 41"/>
                <a:gd name="T29" fmla="*/ 11 h 12"/>
                <a:gd name="T30" fmla="*/ 31 w 41"/>
                <a:gd name="T31" fmla="*/ 12 h 12"/>
                <a:gd name="T32" fmla="*/ 32 w 41"/>
                <a:gd name="T33" fmla="*/ 12 h 12"/>
                <a:gd name="T34" fmla="*/ 32 w 41"/>
                <a:gd name="T35" fmla="*/ 11 h 12"/>
                <a:gd name="T36" fmla="*/ 38 w 41"/>
                <a:gd name="T37" fmla="*/ 9 h 12"/>
                <a:gd name="T38" fmla="*/ 37 w 41"/>
                <a:gd name="T39" fmla="*/ 6 h 12"/>
                <a:gd name="T40" fmla="*/ 38 w 41"/>
                <a:gd name="T41" fmla="*/ 3 h 12"/>
                <a:gd name="T42" fmla="*/ 40 w 41"/>
                <a:gd name="T43" fmla="*/ 2 h 12"/>
                <a:gd name="T44" fmla="*/ 41 w 41"/>
                <a:gd name="T45" fmla="*/ 2 h 12"/>
                <a:gd name="T46" fmla="*/ 39 w 41"/>
                <a:gd name="T47" fmla="*/ 2 h 12"/>
                <a:gd name="T48" fmla="*/ 38 w 41"/>
                <a:gd name="T49" fmla="*/ 2 h 12"/>
                <a:gd name="T50" fmla="*/ 38 w 41"/>
                <a:gd name="T51" fmla="*/ 2 h 12"/>
                <a:gd name="T52" fmla="*/ 36 w 41"/>
                <a:gd name="T53" fmla="*/ 3 h 12"/>
                <a:gd name="T54" fmla="*/ 36 w 41"/>
                <a:gd name="T55" fmla="*/ 3 h 12"/>
                <a:gd name="T56" fmla="*/ 35 w 41"/>
                <a:gd name="T57" fmla="*/ 4 h 12"/>
                <a:gd name="T58" fmla="*/ 34 w 41"/>
                <a:gd name="T59" fmla="*/ 4 h 12"/>
                <a:gd name="T60" fmla="*/ 29 w 41"/>
                <a:gd name="T61" fmla="*/ 5 h 12"/>
                <a:gd name="T62" fmla="*/ 26 w 41"/>
                <a:gd name="T63" fmla="*/ 6 h 12"/>
                <a:gd name="T64" fmla="*/ 23 w 41"/>
                <a:gd name="T65" fmla="*/ 7 h 12"/>
                <a:gd name="T66" fmla="*/ 21 w 41"/>
                <a:gd name="T67" fmla="*/ 6 h 12"/>
                <a:gd name="T68" fmla="*/ 20 w 41"/>
                <a:gd name="T69" fmla="*/ 6 h 12"/>
                <a:gd name="T70" fmla="*/ 20 w 41"/>
                <a:gd name="T71" fmla="*/ 5 h 12"/>
                <a:gd name="T72" fmla="*/ 19 w 41"/>
                <a:gd name="T73" fmla="*/ 2 h 12"/>
                <a:gd name="T74" fmla="*/ 19 w 41"/>
                <a:gd name="T75" fmla="*/ 1 h 12"/>
                <a:gd name="T76" fmla="*/ 16 w 41"/>
                <a:gd name="T7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12">
                  <a:moveTo>
                    <a:pt x="16" y="0"/>
                  </a:moveTo>
                  <a:cubicBezTo>
                    <a:pt x="15" y="0"/>
                    <a:pt x="14" y="0"/>
                    <a:pt x="14" y="1"/>
                  </a:cubicBezTo>
                  <a:cubicBezTo>
                    <a:pt x="13" y="1"/>
                    <a:pt x="12" y="1"/>
                    <a:pt x="12" y="1"/>
                  </a:cubicBezTo>
                  <a:cubicBezTo>
                    <a:pt x="8" y="4"/>
                    <a:pt x="5" y="7"/>
                    <a:pt x="2" y="10"/>
                  </a:cubicBezTo>
                  <a:cubicBezTo>
                    <a:pt x="1" y="11"/>
                    <a:pt x="1" y="11"/>
                    <a:pt x="0" y="12"/>
                  </a:cubicBezTo>
                  <a:cubicBezTo>
                    <a:pt x="0" y="12"/>
                    <a:pt x="1" y="12"/>
                    <a:pt x="1" y="11"/>
                  </a:cubicBezTo>
                  <a:cubicBezTo>
                    <a:pt x="6" y="11"/>
                    <a:pt x="6" y="11"/>
                    <a:pt x="6" y="11"/>
                  </a:cubicBezTo>
                  <a:cubicBezTo>
                    <a:pt x="9" y="11"/>
                    <a:pt x="12" y="11"/>
                    <a:pt x="16" y="10"/>
                  </a:cubicBezTo>
                  <a:cubicBezTo>
                    <a:pt x="17" y="10"/>
                    <a:pt x="17" y="10"/>
                    <a:pt x="17" y="10"/>
                  </a:cubicBezTo>
                  <a:cubicBezTo>
                    <a:pt x="19" y="10"/>
                    <a:pt x="20" y="10"/>
                    <a:pt x="22" y="10"/>
                  </a:cubicBezTo>
                  <a:cubicBezTo>
                    <a:pt x="22" y="10"/>
                    <a:pt x="22" y="10"/>
                    <a:pt x="22" y="10"/>
                  </a:cubicBezTo>
                  <a:cubicBezTo>
                    <a:pt x="23" y="10"/>
                    <a:pt x="24" y="10"/>
                    <a:pt x="24" y="10"/>
                  </a:cubicBezTo>
                  <a:cubicBezTo>
                    <a:pt x="25" y="10"/>
                    <a:pt x="26" y="10"/>
                    <a:pt x="26" y="10"/>
                  </a:cubicBezTo>
                  <a:cubicBezTo>
                    <a:pt x="27" y="11"/>
                    <a:pt x="27" y="11"/>
                    <a:pt x="27" y="11"/>
                  </a:cubicBezTo>
                  <a:cubicBezTo>
                    <a:pt x="28" y="11"/>
                    <a:pt x="28" y="11"/>
                    <a:pt x="28" y="11"/>
                  </a:cubicBezTo>
                  <a:cubicBezTo>
                    <a:pt x="29" y="11"/>
                    <a:pt x="30" y="12"/>
                    <a:pt x="31" y="12"/>
                  </a:cubicBezTo>
                  <a:cubicBezTo>
                    <a:pt x="31" y="12"/>
                    <a:pt x="32" y="12"/>
                    <a:pt x="32" y="12"/>
                  </a:cubicBezTo>
                  <a:cubicBezTo>
                    <a:pt x="32" y="11"/>
                    <a:pt x="32" y="11"/>
                    <a:pt x="32" y="11"/>
                  </a:cubicBezTo>
                  <a:cubicBezTo>
                    <a:pt x="34" y="11"/>
                    <a:pt x="36" y="10"/>
                    <a:pt x="38" y="9"/>
                  </a:cubicBezTo>
                  <a:cubicBezTo>
                    <a:pt x="37" y="8"/>
                    <a:pt x="37" y="7"/>
                    <a:pt x="37" y="6"/>
                  </a:cubicBezTo>
                  <a:cubicBezTo>
                    <a:pt x="37" y="5"/>
                    <a:pt x="37" y="4"/>
                    <a:pt x="38" y="3"/>
                  </a:cubicBezTo>
                  <a:cubicBezTo>
                    <a:pt x="39" y="2"/>
                    <a:pt x="40" y="2"/>
                    <a:pt x="40" y="2"/>
                  </a:cubicBezTo>
                  <a:cubicBezTo>
                    <a:pt x="41" y="2"/>
                    <a:pt x="41" y="2"/>
                    <a:pt x="41" y="2"/>
                  </a:cubicBezTo>
                  <a:cubicBezTo>
                    <a:pt x="40" y="2"/>
                    <a:pt x="40" y="2"/>
                    <a:pt x="39" y="2"/>
                  </a:cubicBezTo>
                  <a:cubicBezTo>
                    <a:pt x="38" y="2"/>
                    <a:pt x="38" y="2"/>
                    <a:pt x="38" y="2"/>
                  </a:cubicBezTo>
                  <a:cubicBezTo>
                    <a:pt x="38" y="2"/>
                    <a:pt x="38" y="2"/>
                    <a:pt x="38" y="2"/>
                  </a:cubicBezTo>
                  <a:cubicBezTo>
                    <a:pt x="37" y="2"/>
                    <a:pt x="37" y="3"/>
                    <a:pt x="36" y="3"/>
                  </a:cubicBezTo>
                  <a:cubicBezTo>
                    <a:pt x="36" y="3"/>
                    <a:pt x="36" y="3"/>
                    <a:pt x="36" y="3"/>
                  </a:cubicBezTo>
                  <a:cubicBezTo>
                    <a:pt x="35" y="3"/>
                    <a:pt x="35" y="4"/>
                    <a:pt x="35" y="4"/>
                  </a:cubicBezTo>
                  <a:cubicBezTo>
                    <a:pt x="34" y="4"/>
                    <a:pt x="34" y="4"/>
                    <a:pt x="34" y="4"/>
                  </a:cubicBezTo>
                  <a:cubicBezTo>
                    <a:pt x="34" y="4"/>
                    <a:pt x="31" y="5"/>
                    <a:pt x="29" y="5"/>
                  </a:cubicBezTo>
                  <a:cubicBezTo>
                    <a:pt x="28" y="6"/>
                    <a:pt x="27" y="6"/>
                    <a:pt x="26" y="6"/>
                  </a:cubicBezTo>
                  <a:cubicBezTo>
                    <a:pt x="25" y="6"/>
                    <a:pt x="24" y="7"/>
                    <a:pt x="23" y="7"/>
                  </a:cubicBezTo>
                  <a:cubicBezTo>
                    <a:pt x="22" y="7"/>
                    <a:pt x="22" y="6"/>
                    <a:pt x="21" y="6"/>
                  </a:cubicBezTo>
                  <a:cubicBezTo>
                    <a:pt x="20" y="6"/>
                    <a:pt x="20" y="6"/>
                    <a:pt x="20" y="6"/>
                  </a:cubicBezTo>
                  <a:cubicBezTo>
                    <a:pt x="20" y="5"/>
                    <a:pt x="20" y="5"/>
                    <a:pt x="20" y="5"/>
                  </a:cubicBezTo>
                  <a:cubicBezTo>
                    <a:pt x="19" y="4"/>
                    <a:pt x="18" y="3"/>
                    <a:pt x="19" y="2"/>
                  </a:cubicBezTo>
                  <a:cubicBezTo>
                    <a:pt x="19" y="1"/>
                    <a:pt x="19" y="1"/>
                    <a:pt x="19" y="1"/>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3" name="Freeform 1532">
              <a:extLst>
                <a:ext uri="{FF2B5EF4-FFF2-40B4-BE49-F238E27FC236}">
                  <a16:creationId xmlns:a16="http://schemas.microsoft.com/office/drawing/2014/main" id="{F4233363-C39E-4745-97BA-7825C2EAE8FD}"/>
                </a:ext>
              </a:extLst>
            </p:cNvPr>
            <p:cNvSpPr>
              <a:spLocks/>
            </p:cNvSpPr>
            <p:nvPr/>
          </p:nvSpPr>
          <p:spPr bwMode="auto">
            <a:xfrm>
              <a:off x="0" y="1898065"/>
              <a:ext cx="789293" cy="742312"/>
            </a:xfrm>
            <a:custGeom>
              <a:avLst/>
              <a:gdLst>
                <a:gd name="T0" fmla="*/ 207 w 249"/>
                <a:gd name="T1" fmla="*/ 10 h 234"/>
                <a:gd name="T2" fmla="*/ 205 w 249"/>
                <a:gd name="T3" fmla="*/ 17 h 234"/>
                <a:gd name="T4" fmla="*/ 202 w 249"/>
                <a:gd name="T5" fmla="*/ 30 h 234"/>
                <a:gd name="T6" fmla="*/ 194 w 249"/>
                <a:gd name="T7" fmla="*/ 25 h 234"/>
                <a:gd name="T8" fmla="*/ 185 w 249"/>
                <a:gd name="T9" fmla="*/ 29 h 234"/>
                <a:gd name="T10" fmla="*/ 183 w 249"/>
                <a:gd name="T11" fmla="*/ 35 h 234"/>
                <a:gd name="T12" fmla="*/ 171 w 249"/>
                <a:gd name="T13" fmla="*/ 32 h 234"/>
                <a:gd name="T14" fmla="*/ 167 w 249"/>
                <a:gd name="T15" fmla="*/ 33 h 234"/>
                <a:gd name="T16" fmla="*/ 154 w 249"/>
                <a:gd name="T17" fmla="*/ 39 h 234"/>
                <a:gd name="T18" fmla="*/ 146 w 249"/>
                <a:gd name="T19" fmla="*/ 40 h 234"/>
                <a:gd name="T20" fmla="*/ 141 w 249"/>
                <a:gd name="T21" fmla="*/ 35 h 234"/>
                <a:gd name="T22" fmla="*/ 132 w 249"/>
                <a:gd name="T23" fmla="*/ 35 h 234"/>
                <a:gd name="T24" fmla="*/ 117 w 249"/>
                <a:gd name="T25" fmla="*/ 30 h 234"/>
                <a:gd name="T26" fmla="*/ 113 w 249"/>
                <a:gd name="T27" fmla="*/ 31 h 234"/>
                <a:gd name="T28" fmla="*/ 106 w 249"/>
                <a:gd name="T29" fmla="*/ 30 h 234"/>
                <a:gd name="T30" fmla="*/ 98 w 249"/>
                <a:gd name="T31" fmla="*/ 26 h 234"/>
                <a:gd name="T32" fmla="*/ 86 w 249"/>
                <a:gd name="T33" fmla="*/ 34 h 234"/>
                <a:gd name="T34" fmla="*/ 68 w 249"/>
                <a:gd name="T35" fmla="*/ 58 h 234"/>
                <a:gd name="T36" fmla="*/ 40 w 249"/>
                <a:gd name="T37" fmla="*/ 70 h 234"/>
                <a:gd name="T38" fmla="*/ 30 w 249"/>
                <a:gd name="T39" fmla="*/ 84 h 234"/>
                <a:gd name="T40" fmla="*/ 23 w 249"/>
                <a:gd name="T41" fmla="*/ 85 h 234"/>
                <a:gd name="T42" fmla="*/ 10 w 249"/>
                <a:gd name="T43" fmla="*/ 87 h 234"/>
                <a:gd name="T44" fmla="*/ 7 w 249"/>
                <a:gd name="T45" fmla="*/ 83 h 234"/>
                <a:gd name="T46" fmla="*/ 0 w 249"/>
                <a:gd name="T47" fmla="*/ 183 h 234"/>
                <a:gd name="T48" fmla="*/ 5 w 249"/>
                <a:gd name="T49" fmla="*/ 202 h 234"/>
                <a:gd name="T50" fmla="*/ 24 w 249"/>
                <a:gd name="T51" fmla="*/ 234 h 234"/>
                <a:gd name="T52" fmla="*/ 34 w 249"/>
                <a:gd name="T53" fmla="*/ 233 h 234"/>
                <a:gd name="T54" fmla="*/ 48 w 249"/>
                <a:gd name="T55" fmla="*/ 232 h 234"/>
                <a:gd name="T56" fmla="*/ 56 w 249"/>
                <a:gd name="T57" fmla="*/ 234 h 234"/>
                <a:gd name="T58" fmla="*/ 76 w 249"/>
                <a:gd name="T59" fmla="*/ 228 h 234"/>
                <a:gd name="T60" fmla="*/ 102 w 249"/>
                <a:gd name="T61" fmla="*/ 224 h 234"/>
                <a:gd name="T62" fmla="*/ 106 w 249"/>
                <a:gd name="T63" fmla="*/ 216 h 234"/>
                <a:gd name="T64" fmla="*/ 108 w 249"/>
                <a:gd name="T65" fmla="*/ 198 h 234"/>
                <a:gd name="T66" fmla="*/ 118 w 249"/>
                <a:gd name="T67" fmla="*/ 188 h 234"/>
                <a:gd name="T68" fmla="*/ 125 w 249"/>
                <a:gd name="T69" fmla="*/ 185 h 234"/>
                <a:gd name="T70" fmla="*/ 131 w 249"/>
                <a:gd name="T71" fmla="*/ 187 h 234"/>
                <a:gd name="T72" fmla="*/ 139 w 249"/>
                <a:gd name="T73" fmla="*/ 185 h 234"/>
                <a:gd name="T74" fmla="*/ 148 w 249"/>
                <a:gd name="T75" fmla="*/ 175 h 234"/>
                <a:gd name="T76" fmla="*/ 156 w 249"/>
                <a:gd name="T77" fmla="*/ 172 h 234"/>
                <a:gd name="T78" fmla="*/ 165 w 249"/>
                <a:gd name="T79" fmla="*/ 173 h 234"/>
                <a:gd name="T80" fmla="*/ 170 w 249"/>
                <a:gd name="T81" fmla="*/ 176 h 234"/>
                <a:gd name="T82" fmla="*/ 176 w 249"/>
                <a:gd name="T83" fmla="*/ 162 h 234"/>
                <a:gd name="T84" fmla="*/ 180 w 249"/>
                <a:gd name="T85" fmla="*/ 152 h 234"/>
                <a:gd name="T86" fmla="*/ 184 w 249"/>
                <a:gd name="T87" fmla="*/ 140 h 234"/>
                <a:gd name="T88" fmla="*/ 193 w 249"/>
                <a:gd name="T89" fmla="*/ 138 h 234"/>
                <a:gd name="T90" fmla="*/ 195 w 249"/>
                <a:gd name="T91" fmla="*/ 126 h 234"/>
                <a:gd name="T92" fmla="*/ 192 w 249"/>
                <a:gd name="T93" fmla="*/ 115 h 234"/>
                <a:gd name="T94" fmla="*/ 207 w 249"/>
                <a:gd name="T95" fmla="*/ 115 h 234"/>
                <a:gd name="T96" fmla="*/ 219 w 249"/>
                <a:gd name="T97" fmla="*/ 112 h 234"/>
                <a:gd name="T98" fmla="*/ 217 w 249"/>
                <a:gd name="T99" fmla="*/ 107 h 234"/>
                <a:gd name="T100" fmla="*/ 228 w 249"/>
                <a:gd name="T101" fmla="*/ 90 h 234"/>
                <a:gd name="T102" fmla="*/ 231 w 249"/>
                <a:gd name="T103" fmla="*/ 83 h 234"/>
                <a:gd name="T104" fmla="*/ 229 w 249"/>
                <a:gd name="T105" fmla="*/ 75 h 234"/>
                <a:gd name="T106" fmla="*/ 223 w 249"/>
                <a:gd name="T107" fmla="*/ 66 h 234"/>
                <a:gd name="T108" fmla="*/ 233 w 249"/>
                <a:gd name="T109" fmla="*/ 49 h 234"/>
                <a:gd name="T110" fmla="*/ 238 w 249"/>
                <a:gd name="T111" fmla="*/ 49 h 234"/>
                <a:gd name="T112" fmla="*/ 249 w 249"/>
                <a:gd name="T113" fmla="*/ 43 h 234"/>
                <a:gd name="T114" fmla="*/ 233 w 249"/>
                <a:gd name="T115" fmla="*/ 47 h 234"/>
                <a:gd name="T116" fmla="*/ 227 w 249"/>
                <a:gd name="T117" fmla="*/ 33 h 234"/>
                <a:gd name="T118" fmla="*/ 227 w 249"/>
                <a:gd name="T119" fmla="*/ 13 h 234"/>
                <a:gd name="T120" fmla="*/ 224 w 249"/>
                <a:gd name="T121" fmla="*/ 6 h 234"/>
                <a:gd name="T122" fmla="*/ 221 w 249"/>
                <a:gd name="T123" fmla="*/ 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9" h="234">
                  <a:moveTo>
                    <a:pt x="219" y="0"/>
                  </a:moveTo>
                  <a:cubicBezTo>
                    <a:pt x="218" y="0"/>
                    <a:pt x="218" y="0"/>
                    <a:pt x="218" y="0"/>
                  </a:cubicBezTo>
                  <a:cubicBezTo>
                    <a:pt x="217" y="0"/>
                    <a:pt x="216" y="0"/>
                    <a:pt x="215" y="1"/>
                  </a:cubicBezTo>
                  <a:cubicBezTo>
                    <a:pt x="213" y="2"/>
                    <a:pt x="212" y="4"/>
                    <a:pt x="210" y="6"/>
                  </a:cubicBezTo>
                  <a:cubicBezTo>
                    <a:pt x="209" y="7"/>
                    <a:pt x="208" y="9"/>
                    <a:pt x="207" y="10"/>
                  </a:cubicBezTo>
                  <a:cubicBezTo>
                    <a:pt x="206" y="11"/>
                    <a:pt x="206" y="11"/>
                    <a:pt x="206" y="11"/>
                  </a:cubicBezTo>
                  <a:cubicBezTo>
                    <a:pt x="205" y="12"/>
                    <a:pt x="204" y="12"/>
                    <a:pt x="203" y="13"/>
                  </a:cubicBezTo>
                  <a:cubicBezTo>
                    <a:pt x="203" y="13"/>
                    <a:pt x="203" y="13"/>
                    <a:pt x="203" y="13"/>
                  </a:cubicBezTo>
                  <a:cubicBezTo>
                    <a:pt x="203" y="14"/>
                    <a:pt x="203" y="14"/>
                    <a:pt x="203" y="14"/>
                  </a:cubicBezTo>
                  <a:cubicBezTo>
                    <a:pt x="204" y="14"/>
                    <a:pt x="205" y="15"/>
                    <a:pt x="205" y="17"/>
                  </a:cubicBezTo>
                  <a:cubicBezTo>
                    <a:pt x="205" y="17"/>
                    <a:pt x="205" y="18"/>
                    <a:pt x="205" y="19"/>
                  </a:cubicBezTo>
                  <a:cubicBezTo>
                    <a:pt x="205" y="20"/>
                    <a:pt x="205" y="21"/>
                    <a:pt x="204" y="22"/>
                  </a:cubicBezTo>
                  <a:cubicBezTo>
                    <a:pt x="204" y="23"/>
                    <a:pt x="203" y="24"/>
                    <a:pt x="202" y="24"/>
                  </a:cubicBezTo>
                  <a:cubicBezTo>
                    <a:pt x="201" y="24"/>
                    <a:pt x="201" y="24"/>
                    <a:pt x="201" y="24"/>
                  </a:cubicBezTo>
                  <a:cubicBezTo>
                    <a:pt x="202" y="30"/>
                    <a:pt x="202" y="30"/>
                    <a:pt x="202" y="30"/>
                  </a:cubicBezTo>
                  <a:cubicBezTo>
                    <a:pt x="200" y="25"/>
                    <a:pt x="200" y="25"/>
                    <a:pt x="200" y="25"/>
                  </a:cubicBezTo>
                  <a:cubicBezTo>
                    <a:pt x="200" y="25"/>
                    <a:pt x="200" y="25"/>
                    <a:pt x="200" y="25"/>
                  </a:cubicBezTo>
                  <a:cubicBezTo>
                    <a:pt x="199" y="25"/>
                    <a:pt x="199" y="25"/>
                    <a:pt x="198" y="25"/>
                  </a:cubicBezTo>
                  <a:cubicBezTo>
                    <a:pt x="198" y="25"/>
                    <a:pt x="198" y="25"/>
                    <a:pt x="198" y="25"/>
                  </a:cubicBezTo>
                  <a:cubicBezTo>
                    <a:pt x="196" y="25"/>
                    <a:pt x="195" y="25"/>
                    <a:pt x="194" y="25"/>
                  </a:cubicBezTo>
                  <a:cubicBezTo>
                    <a:pt x="193" y="24"/>
                    <a:pt x="192" y="24"/>
                    <a:pt x="192" y="24"/>
                  </a:cubicBezTo>
                  <a:cubicBezTo>
                    <a:pt x="191" y="24"/>
                    <a:pt x="188" y="24"/>
                    <a:pt x="187" y="24"/>
                  </a:cubicBezTo>
                  <a:cubicBezTo>
                    <a:pt x="187" y="24"/>
                    <a:pt x="187" y="24"/>
                    <a:pt x="187" y="24"/>
                  </a:cubicBezTo>
                  <a:cubicBezTo>
                    <a:pt x="187" y="25"/>
                    <a:pt x="186" y="25"/>
                    <a:pt x="186" y="27"/>
                  </a:cubicBezTo>
                  <a:cubicBezTo>
                    <a:pt x="185" y="29"/>
                    <a:pt x="185" y="29"/>
                    <a:pt x="185" y="29"/>
                  </a:cubicBezTo>
                  <a:cubicBezTo>
                    <a:pt x="185" y="29"/>
                    <a:pt x="185" y="30"/>
                    <a:pt x="185" y="30"/>
                  </a:cubicBezTo>
                  <a:cubicBezTo>
                    <a:pt x="185" y="31"/>
                    <a:pt x="185" y="32"/>
                    <a:pt x="185" y="32"/>
                  </a:cubicBezTo>
                  <a:cubicBezTo>
                    <a:pt x="185" y="33"/>
                    <a:pt x="184" y="34"/>
                    <a:pt x="184" y="34"/>
                  </a:cubicBezTo>
                  <a:cubicBezTo>
                    <a:pt x="188" y="38"/>
                    <a:pt x="188" y="38"/>
                    <a:pt x="188" y="38"/>
                  </a:cubicBezTo>
                  <a:cubicBezTo>
                    <a:pt x="183" y="35"/>
                    <a:pt x="183" y="35"/>
                    <a:pt x="183" y="35"/>
                  </a:cubicBezTo>
                  <a:cubicBezTo>
                    <a:pt x="182" y="36"/>
                    <a:pt x="182" y="36"/>
                    <a:pt x="181" y="37"/>
                  </a:cubicBezTo>
                  <a:cubicBezTo>
                    <a:pt x="180" y="37"/>
                    <a:pt x="180" y="37"/>
                    <a:pt x="179" y="37"/>
                  </a:cubicBezTo>
                  <a:cubicBezTo>
                    <a:pt x="179" y="37"/>
                    <a:pt x="178" y="37"/>
                    <a:pt x="177" y="37"/>
                  </a:cubicBezTo>
                  <a:cubicBezTo>
                    <a:pt x="176" y="36"/>
                    <a:pt x="175" y="35"/>
                    <a:pt x="174" y="34"/>
                  </a:cubicBezTo>
                  <a:cubicBezTo>
                    <a:pt x="171" y="32"/>
                    <a:pt x="171" y="32"/>
                    <a:pt x="171" y="32"/>
                  </a:cubicBezTo>
                  <a:cubicBezTo>
                    <a:pt x="171" y="31"/>
                    <a:pt x="171" y="31"/>
                    <a:pt x="171" y="31"/>
                  </a:cubicBezTo>
                  <a:cubicBezTo>
                    <a:pt x="171" y="31"/>
                    <a:pt x="170" y="31"/>
                    <a:pt x="170" y="32"/>
                  </a:cubicBezTo>
                  <a:cubicBezTo>
                    <a:pt x="169" y="32"/>
                    <a:pt x="169" y="32"/>
                    <a:pt x="169" y="32"/>
                  </a:cubicBezTo>
                  <a:cubicBezTo>
                    <a:pt x="168" y="32"/>
                    <a:pt x="168" y="32"/>
                    <a:pt x="168" y="32"/>
                  </a:cubicBezTo>
                  <a:cubicBezTo>
                    <a:pt x="168" y="33"/>
                    <a:pt x="167" y="33"/>
                    <a:pt x="167" y="33"/>
                  </a:cubicBezTo>
                  <a:cubicBezTo>
                    <a:pt x="164" y="34"/>
                    <a:pt x="162" y="35"/>
                    <a:pt x="160" y="36"/>
                  </a:cubicBezTo>
                  <a:cubicBezTo>
                    <a:pt x="160" y="36"/>
                    <a:pt x="160" y="36"/>
                    <a:pt x="160" y="36"/>
                  </a:cubicBezTo>
                  <a:cubicBezTo>
                    <a:pt x="159" y="36"/>
                    <a:pt x="159" y="36"/>
                    <a:pt x="158" y="37"/>
                  </a:cubicBezTo>
                  <a:cubicBezTo>
                    <a:pt x="156" y="38"/>
                    <a:pt x="155" y="38"/>
                    <a:pt x="155" y="39"/>
                  </a:cubicBezTo>
                  <a:cubicBezTo>
                    <a:pt x="154" y="39"/>
                    <a:pt x="154" y="39"/>
                    <a:pt x="154" y="39"/>
                  </a:cubicBezTo>
                  <a:cubicBezTo>
                    <a:pt x="155" y="40"/>
                    <a:pt x="155" y="40"/>
                    <a:pt x="155" y="40"/>
                  </a:cubicBezTo>
                  <a:cubicBezTo>
                    <a:pt x="154" y="39"/>
                    <a:pt x="154" y="39"/>
                    <a:pt x="154" y="39"/>
                  </a:cubicBezTo>
                  <a:cubicBezTo>
                    <a:pt x="153" y="41"/>
                    <a:pt x="151" y="41"/>
                    <a:pt x="150" y="41"/>
                  </a:cubicBezTo>
                  <a:cubicBezTo>
                    <a:pt x="149" y="41"/>
                    <a:pt x="149" y="41"/>
                    <a:pt x="149" y="41"/>
                  </a:cubicBezTo>
                  <a:cubicBezTo>
                    <a:pt x="148" y="41"/>
                    <a:pt x="147" y="40"/>
                    <a:pt x="146" y="40"/>
                  </a:cubicBezTo>
                  <a:cubicBezTo>
                    <a:pt x="143" y="37"/>
                    <a:pt x="143" y="37"/>
                    <a:pt x="143" y="37"/>
                  </a:cubicBezTo>
                  <a:cubicBezTo>
                    <a:pt x="142" y="37"/>
                    <a:pt x="142" y="36"/>
                    <a:pt x="141" y="35"/>
                  </a:cubicBezTo>
                  <a:cubicBezTo>
                    <a:pt x="141" y="35"/>
                    <a:pt x="141" y="35"/>
                    <a:pt x="141" y="35"/>
                  </a:cubicBezTo>
                  <a:cubicBezTo>
                    <a:pt x="141" y="35"/>
                    <a:pt x="141" y="35"/>
                    <a:pt x="141" y="35"/>
                  </a:cubicBezTo>
                  <a:cubicBezTo>
                    <a:pt x="141" y="35"/>
                    <a:pt x="141" y="35"/>
                    <a:pt x="141" y="35"/>
                  </a:cubicBezTo>
                  <a:cubicBezTo>
                    <a:pt x="140" y="35"/>
                    <a:pt x="139" y="35"/>
                    <a:pt x="139" y="35"/>
                  </a:cubicBezTo>
                  <a:cubicBezTo>
                    <a:pt x="138" y="35"/>
                    <a:pt x="137" y="35"/>
                    <a:pt x="136" y="35"/>
                  </a:cubicBezTo>
                  <a:cubicBezTo>
                    <a:pt x="136" y="35"/>
                    <a:pt x="136" y="35"/>
                    <a:pt x="136" y="35"/>
                  </a:cubicBezTo>
                  <a:cubicBezTo>
                    <a:pt x="135" y="35"/>
                    <a:pt x="134" y="35"/>
                    <a:pt x="133" y="35"/>
                  </a:cubicBezTo>
                  <a:cubicBezTo>
                    <a:pt x="132" y="35"/>
                    <a:pt x="132" y="35"/>
                    <a:pt x="132" y="35"/>
                  </a:cubicBezTo>
                  <a:cubicBezTo>
                    <a:pt x="130" y="35"/>
                    <a:pt x="129" y="34"/>
                    <a:pt x="128" y="33"/>
                  </a:cubicBezTo>
                  <a:cubicBezTo>
                    <a:pt x="128" y="32"/>
                    <a:pt x="127" y="32"/>
                    <a:pt x="127" y="31"/>
                  </a:cubicBezTo>
                  <a:cubicBezTo>
                    <a:pt x="126" y="31"/>
                    <a:pt x="125" y="30"/>
                    <a:pt x="124" y="30"/>
                  </a:cubicBezTo>
                  <a:cubicBezTo>
                    <a:pt x="124" y="30"/>
                    <a:pt x="123" y="30"/>
                    <a:pt x="122" y="30"/>
                  </a:cubicBezTo>
                  <a:cubicBezTo>
                    <a:pt x="117" y="30"/>
                    <a:pt x="117" y="30"/>
                    <a:pt x="117" y="30"/>
                  </a:cubicBezTo>
                  <a:cubicBezTo>
                    <a:pt x="117" y="31"/>
                    <a:pt x="117" y="31"/>
                    <a:pt x="117" y="31"/>
                  </a:cubicBezTo>
                  <a:cubicBezTo>
                    <a:pt x="115" y="30"/>
                    <a:pt x="115" y="30"/>
                    <a:pt x="115" y="30"/>
                  </a:cubicBezTo>
                  <a:cubicBezTo>
                    <a:pt x="115" y="30"/>
                    <a:pt x="115" y="30"/>
                    <a:pt x="115" y="30"/>
                  </a:cubicBezTo>
                  <a:cubicBezTo>
                    <a:pt x="114" y="30"/>
                    <a:pt x="114" y="30"/>
                    <a:pt x="114" y="30"/>
                  </a:cubicBezTo>
                  <a:cubicBezTo>
                    <a:pt x="113" y="31"/>
                    <a:pt x="113" y="31"/>
                    <a:pt x="113" y="31"/>
                  </a:cubicBezTo>
                  <a:cubicBezTo>
                    <a:pt x="113" y="31"/>
                    <a:pt x="113" y="31"/>
                    <a:pt x="113" y="31"/>
                  </a:cubicBezTo>
                  <a:cubicBezTo>
                    <a:pt x="113" y="31"/>
                    <a:pt x="113" y="31"/>
                    <a:pt x="113" y="31"/>
                  </a:cubicBezTo>
                  <a:cubicBezTo>
                    <a:pt x="111" y="30"/>
                    <a:pt x="111" y="30"/>
                    <a:pt x="110" y="30"/>
                  </a:cubicBezTo>
                  <a:cubicBezTo>
                    <a:pt x="110" y="30"/>
                    <a:pt x="109" y="30"/>
                    <a:pt x="109" y="30"/>
                  </a:cubicBezTo>
                  <a:cubicBezTo>
                    <a:pt x="108" y="30"/>
                    <a:pt x="107" y="30"/>
                    <a:pt x="106" y="30"/>
                  </a:cubicBezTo>
                  <a:cubicBezTo>
                    <a:pt x="105" y="29"/>
                    <a:pt x="105" y="29"/>
                    <a:pt x="105" y="29"/>
                  </a:cubicBezTo>
                  <a:cubicBezTo>
                    <a:pt x="105" y="29"/>
                    <a:pt x="104" y="29"/>
                    <a:pt x="103" y="28"/>
                  </a:cubicBezTo>
                  <a:cubicBezTo>
                    <a:pt x="101" y="28"/>
                    <a:pt x="101" y="28"/>
                    <a:pt x="101" y="28"/>
                  </a:cubicBezTo>
                  <a:cubicBezTo>
                    <a:pt x="100" y="27"/>
                    <a:pt x="100" y="27"/>
                    <a:pt x="99" y="27"/>
                  </a:cubicBezTo>
                  <a:cubicBezTo>
                    <a:pt x="98" y="26"/>
                    <a:pt x="98" y="26"/>
                    <a:pt x="98" y="26"/>
                  </a:cubicBezTo>
                  <a:cubicBezTo>
                    <a:pt x="97" y="26"/>
                    <a:pt x="97" y="26"/>
                    <a:pt x="97" y="26"/>
                  </a:cubicBezTo>
                  <a:cubicBezTo>
                    <a:pt x="95" y="29"/>
                    <a:pt x="94" y="32"/>
                    <a:pt x="91" y="33"/>
                  </a:cubicBezTo>
                  <a:cubicBezTo>
                    <a:pt x="90" y="33"/>
                    <a:pt x="89" y="34"/>
                    <a:pt x="88" y="34"/>
                  </a:cubicBezTo>
                  <a:cubicBezTo>
                    <a:pt x="87" y="34"/>
                    <a:pt x="87" y="34"/>
                    <a:pt x="86" y="34"/>
                  </a:cubicBezTo>
                  <a:cubicBezTo>
                    <a:pt x="86" y="34"/>
                    <a:pt x="86" y="34"/>
                    <a:pt x="86" y="34"/>
                  </a:cubicBezTo>
                  <a:cubicBezTo>
                    <a:pt x="72" y="47"/>
                    <a:pt x="72" y="47"/>
                    <a:pt x="72" y="47"/>
                  </a:cubicBezTo>
                  <a:cubicBezTo>
                    <a:pt x="72" y="47"/>
                    <a:pt x="72" y="47"/>
                    <a:pt x="72" y="47"/>
                  </a:cubicBezTo>
                  <a:cubicBezTo>
                    <a:pt x="72" y="48"/>
                    <a:pt x="72" y="48"/>
                    <a:pt x="72" y="49"/>
                  </a:cubicBezTo>
                  <a:cubicBezTo>
                    <a:pt x="72" y="52"/>
                    <a:pt x="72" y="55"/>
                    <a:pt x="69" y="57"/>
                  </a:cubicBezTo>
                  <a:cubicBezTo>
                    <a:pt x="68" y="58"/>
                    <a:pt x="68" y="58"/>
                    <a:pt x="68" y="58"/>
                  </a:cubicBezTo>
                  <a:cubicBezTo>
                    <a:pt x="66" y="60"/>
                    <a:pt x="63" y="62"/>
                    <a:pt x="60" y="63"/>
                  </a:cubicBezTo>
                  <a:cubicBezTo>
                    <a:pt x="58" y="64"/>
                    <a:pt x="56" y="65"/>
                    <a:pt x="53" y="66"/>
                  </a:cubicBezTo>
                  <a:cubicBezTo>
                    <a:pt x="50" y="67"/>
                    <a:pt x="50" y="67"/>
                    <a:pt x="50" y="67"/>
                  </a:cubicBezTo>
                  <a:cubicBezTo>
                    <a:pt x="49" y="68"/>
                    <a:pt x="47" y="68"/>
                    <a:pt x="45" y="69"/>
                  </a:cubicBezTo>
                  <a:cubicBezTo>
                    <a:pt x="43" y="70"/>
                    <a:pt x="42" y="70"/>
                    <a:pt x="40" y="70"/>
                  </a:cubicBezTo>
                  <a:cubicBezTo>
                    <a:pt x="39" y="71"/>
                    <a:pt x="39" y="71"/>
                    <a:pt x="39" y="71"/>
                  </a:cubicBezTo>
                  <a:cubicBezTo>
                    <a:pt x="39" y="71"/>
                    <a:pt x="39" y="71"/>
                    <a:pt x="39" y="71"/>
                  </a:cubicBezTo>
                  <a:cubicBezTo>
                    <a:pt x="40" y="73"/>
                    <a:pt x="38" y="76"/>
                    <a:pt x="37" y="77"/>
                  </a:cubicBezTo>
                  <a:cubicBezTo>
                    <a:pt x="36" y="78"/>
                    <a:pt x="36" y="78"/>
                    <a:pt x="36" y="78"/>
                  </a:cubicBezTo>
                  <a:cubicBezTo>
                    <a:pt x="35" y="80"/>
                    <a:pt x="33" y="82"/>
                    <a:pt x="30" y="84"/>
                  </a:cubicBezTo>
                  <a:cubicBezTo>
                    <a:pt x="30" y="84"/>
                    <a:pt x="30" y="84"/>
                    <a:pt x="30" y="84"/>
                  </a:cubicBezTo>
                  <a:cubicBezTo>
                    <a:pt x="30" y="84"/>
                    <a:pt x="30" y="84"/>
                    <a:pt x="30" y="84"/>
                  </a:cubicBezTo>
                  <a:cubicBezTo>
                    <a:pt x="29" y="85"/>
                    <a:pt x="28" y="85"/>
                    <a:pt x="28" y="85"/>
                  </a:cubicBezTo>
                  <a:cubicBezTo>
                    <a:pt x="27" y="85"/>
                    <a:pt x="26" y="85"/>
                    <a:pt x="25" y="85"/>
                  </a:cubicBezTo>
                  <a:cubicBezTo>
                    <a:pt x="23" y="85"/>
                    <a:pt x="23" y="85"/>
                    <a:pt x="23" y="85"/>
                  </a:cubicBezTo>
                  <a:cubicBezTo>
                    <a:pt x="22" y="86"/>
                    <a:pt x="20" y="86"/>
                    <a:pt x="19" y="87"/>
                  </a:cubicBezTo>
                  <a:cubicBezTo>
                    <a:pt x="19" y="87"/>
                    <a:pt x="19" y="87"/>
                    <a:pt x="19" y="87"/>
                  </a:cubicBezTo>
                  <a:cubicBezTo>
                    <a:pt x="18" y="88"/>
                    <a:pt x="17" y="89"/>
                    <a:pt x="16" y="89"/>
                  </a:cubicBezTo>
                  <a:cubicBezTo>
                    <a:pt x="15" y="89"/>
                    <a:pt x="15" y="89"/>
                    <a:pt x="15" y="89"/>
                  </a:cubicBezTo>
                  <a:cubicBezTo>
                    <a:pt x="14" y="89"/>
                    <a:pt x="13" y="89"/>
                    <a:pt x="10" y="87"/>
                  </a:cubicBezTo>
                  <a:cubicBezTo>
                    <a:pt x="10" y="86"/>
                    <a:pt x="10" y="86"/>
                    <a:pt x="9" y="85"/>
                  </a:cubicBezTo>
                  <a:cubicBezTo>
                    <a:pt x="9" y="85"/>
                    <a:pt x="9" y="84"/>
                    <a:pt x="8" y="84"/>
                  </a:cubicBezTo>
                  <a:cubicBezTo>
                    <a:pt x="8" y="83"/>
                    <a:pt x="8" y="83"/>
                    <a:pt x="8" y="83"/>
                  </a:cubicBezTo>
                  <a:cubicBezTo>
                    <a:pt x="7" y="83"/>
                    <a:pt x="7" y="83"/>
                    <a:pt x="7" y="83"/>
                  </a:cubicBezTo>
                  <a:cubicBezTo>
                    <a:pt x="7" y="83"/>
                    <a:pt x="7" y="83"/>
                    <a:pt x="7" y="83"/>
                  </a:cubicBezTo>
                  <a:cubicBezTo>
                    <a:pt x="6" y="82"/>
                    <a:pt x="4" y="81"/>
                    <a:pt x="3" y="81"/>
                  </a:cubicBezTo>
                  <a:cubicBezTo>
                    <a:pt x="3" y="81"/>
                    <a:pt x="3" y="81"/>
                    <a:pt x="3" y="81"/>
                  </a:cubicBezTo>
                  <a:cubicBezTo>
                    <a:pt x="2" y="80"/>
                    <a:pt x="2" y="80"/>
                    <a:pt x="1" y="80"/>
                  </a:cubicBezTo>
                  <a:cubicBezTo>
                    <a:pt x="1" y="80"/>
                    <a:pt x="0" y="80"/>
                    <a:pt x="0" y="80"/>
                  </a:cubicBezTo>
                  <a:cubicBezTo>
                    <a:pt x="0" y="183"/>
                    <a:pt x="0" y="183"/>
                    <a:pt x="0" y="183"/>
                  </a:cubicBezTo>
                  <a:cubicBezTo>
                    <a:pt x="1" y="184"/>
                    <a:pt x="1" y="184"/>
                    <a:pt x="2" y="185"/>
                  </a:cubicBezTo>
                  <a:cubicBezTo>
                    <a:pt x="4" y="188"/>
                    <a:pt x="4" y="188"/>
                    <a:pt x="4" y="188"/>
                  </a:cubicBezTo>
                  <a:cubicBezTo>
                    <a:pt x="4" y="189"/>
                    <a:pt x="5" y="189"/>
                    <a:pt x="5" y="190"/>
                  </a:cubicBezTo>
                  <a:cubicBezTo>
                    <a:pt x="6" y="191"/>
                    <a:pt x="6" y="192"/>
                    <a:pt x="6" y="193"/>
                  </a:cubicBezTo>
                  <a:cubicBezTo>
                    <a:pt x="7" y="196"/>
                    <a:pt x="6" y="199"/>
                    <a:pt x="5" y="202"/>
                  </a:cubicBezTo>
                  <a:cubicBezTo>
                    <a:pt x="3" y="204"/>
                    <a:pt x="1" y="206"/>
                    <a:pt x="0" y="208"/>
                  </a:cubicBezTo>
                  <a:cubicBezTo>
                    <a:pt x="0" y="227"/>
                    <a:pt x="0" y="227"/>
                    <a:pt x="0" y="227"/>
                  </a:cubicBezTo>
                  <a:cubicBezTo>
                    <a:pt x="23" y="234"/>
                    <a:pt x="23" y="234"/>
                    <a:pt x="23" y="234"/>
                  </a:cubicBezTo>
                  <a:cubicBezTo>
                    <a:pt x="23" y="234"/>
                    <a:pt x="23" y="234"/>
                    <a:pt x="24" y="234"/>
                  </a:cubicBezTo>
                  <a:cubicBezTo>
                    <a:pt x="24" y="234"/>
                    <a:pt x="24" y="234"/>
                    <a:pt x="24" y="234"/>
                  </a:cubicBezTo>
                  <a:cubicBezTo>
                    <a:pt x="25" y="234"/>
                    <a:pt x="26" y="234"/>
                    <a:pt x="26" y="233"/>
                  </a:cubicBezTo>
                  <a:cubicBezTo>
                    <a:pt x="27" y="233"/>
                    <a:pt x="27" y="233"/>
                    <a:pt x="27" y="233"/>
                  </a:cubicBezTo>
                  <a:cubicBezTo>
                    <a:pt x="28" y="233"/>
                    <a:pt x="29" y="233"/>
                    <a:pt x="30" y="233"/>
                  </a:cubicBezTo>
                  <a:cubicBezTo>
                    <a:pt x="34" y="233"/>
                    <a:pt x="34" y="233"/>
                    <a:pt x="34" y="233"/>
                  </a:cubicBezTo>
                  <a:cubicBezTo>
                    <a:pt x="34" y="233"/>
                    <a:pt x="34" y="233"/>
                    <a:pt x="34" y="233"/>
                  </a:cubicBezTo>
                  <a:cubicBezTo>
                    <a:pt x="44" y="232"/>
                    <a:pt x="44" y="232"/>
                    <a:pt x="44" y="232"/>
                  </a:cubicBezTo>
                  <a:cubicBezTo>
                    <a:pt x="45" y="232"/>
                    <a:pt x="45" y="232"/>
                    <a:pt x="45" y="232"/>
                  </a:cubicBezTo>
                  <a:cubicBezTo>
                    <a:pt x="46" y="232"/>
                    <a:pt x="47" y="232"/>
                    <a:pt x="47" y="232"/>
                  </a:cubicBezTo>
                  <a:cubicBezTo>
                    <a:pt x="48" y="232"/>
                    <a:pt x="48" y="232"/>
                    <a:pt x="48" y="232"/>
                  </a:cubicBezTo>
                  <a:cubicBezTo>
                    <a:pt x="48" y="232"/>
                    <a:pt x="48" y="232"/>
                    <a:pt x="48" y="232"/>
                  </a:cubicBezTo>
                  <a:cubicBezTo>
                    <a:pt x="49" y="232"/>
                    <a:pt x="49" y="232"/>
                    <a:pt x="49" y="232"/>
                  </a:cubicBezTo>
                  <a:cubicBezTo>
                    <a:pt x="50" y="233"/>
                    <a:pt x="51" y="233"/>
                    <a:pt x="52" y="233"/>
                  </a:cubicBezTo>
                  <a:cubicBezTo>
                    <a:pt x="52" y="233"/>
                    <a:pt x="53" y="233"/>
                    <a:pt x="53" y="233"/>
                  </a:cubicBezTo>
                  <a:cubicBezTo>
                    <a:pt x="54" y="233"/>
                    <a:pt x="54" y="233"/>
                    <a:pt x="54" y="233"/>
                  </a:cubicBezTo>
                  <a:cubicBezTo>
                    <a:pt x="55" y="234"/>
                    <a:pt x="55" y="234"/>
                    <a:pt x="56" y="234"/>
                  </a:cubicBezTo>
                  <a:cubicBezTo>
                    <a:pt x="56" y="234"/>
                    <a:pt x="56" y="234"/>
                    <a:pt x="56" y="234"/>
                  </a:cubicBezTo>
                  <a:cubicBezTo>
                    <a:pt x="58" y="234"/>
                    <a:pt x="59" y="233"/>
                    <a:pt x="61" y="232"/>
                  </a:cubicBezTo>
                  <a:cubicBezTo>
                    <a:pt x="62" y="232"/>
                    <a:pt x="62" y="231"/>
                    <a:pt x="63" y="231"/>
                  </a:cubicBezTo>
                  <a:cubicBezTo>
                    <a:pt x="64" y="230"/>
                    <a:pt x="65" y="230"/>
                    <a:pt x="66" y="230"/>
                  </a:cubicBezTo>
                  <a:cubicBezTo>
                    <a:pt x="69" y="229"/>
                    <a:pt x="73" y="228"/>
                    <a:pt x="76" y="228"/>
                  </a:cubicBezTo>
                  <a:cubicBezTo>
                    <a:pt x="78" y="228"/>
                    <a:pt x="81" y="228"/>
                    <a:pt x="83" y="228"/>
                  </a:cubicBezTo>
                  <a:cubicBezTo>
                    <a:pt x="88" y="227"/>
                    <a:pt x="88" y="227"/>
                    <a:pt x="88" y="227"/>
                  </a:cubicBezTo>
                  <a:cubicBezTo>
                    <a:pt x="88" y="227"/>
                    <a:pt x="89" y="227"/>
                    <a:pt x="89" y="227"/>
                  </a:cubicBezTo>
                  <a:cubicBezTo>
                    <a:pt x="91" y="227"/>
                    <a:pt x="94" y="226"/>
                    <a:pt x="96" y="226"/>
                  </a:cubicBezTo>
                  <a:cubicBezTo>
                    <a:pt x="98" y="225"/>
                    <a:pt x="100" y="225"/>
                    <a:pt x="102" y="224"/>
                  </a:cubicBezTo>
                  <a:cubicBezTo>
                    <a:pt x="105" y="223"/>
                    <a:pt x="105" y="223"/>
                    <a:pt x="105" y="223"/>
                  </a:cubicBezTo>
                  <a:cubicBezTo>
                    <a:pt x="105" y="223"/>
                    <a:pt x="106" y="223"/>
                    <a:pt x="106" y="223"/>
                  </a:cubicBezTo>
                  <a:cubicBezTo>
                    <a:pt x="106" y="222"/>
                    <a:pt x="106" y="222"/>
                    <a:pt x="106" y="222"/>
                  </a:cubicBezTo>
                  <a:cubicBezTo>
                    <a:pt x="105" y="220"/>
                    <a:pt x="105" y="218"/>
                    <a:pt x="105" y="217"/>
                  </a:cubicBezTo>
                  <a:cubicBezTo>
                    <a:pt x="106" y="216"/>
                    <a:pt x="106" y="216"/>
                    <a:pt x="106" y="216"/>
                  </a:cubicBezTo>
                  <a:cubicBezTo>
                    <a:pt x="106" y="215"/>
                    <a:pt x="106" y="214"/>
                    <a:pt x="106" y="213"/>
                  </a:cubicBezTo>
                  <a:cubicBezTo>
                    <a:pt x="106" y="212"/>
                    <a:pt x="106" y="211"/>
                    <a:pt x="106" y="211"/>
                  </a:cubicBezTo>
                  <a:cubicBezTo>
                    <a:pt x="106" y="207"/>
                    <a:pt x="107" y="205"/>
                    <a:pt x="108" y="202"/>
                  </a:cubicBezTo>
                  <a:cubicBezTo>
                    <a:pt x="108" y="199"/>
                    <a:pt x="108" y="199"/>
                    <a:pt x="108" y="199"/>
                  </a:cubicBezTo>
                  <a:cubicBezTo>
                    <a:pt x="108" y="198"/>
                    <a:pt x="108" y="198"/>
                    <a:pt x="108" y="198"/>
                  </a:cubicBezTo>
                  <a:cubicBezTo>
                    <a:pt x="109" y="196"/>
                    <a:pt x="110" y="195"/>
                    <a:pt x="110" y="195"/>
                  </a:cubicBezTo>
                  <a:cubicBezTo>
                    <a:pt x="111" y="194"/>
                    <a:pt x="111" y="194"/>
                    <a:pt x="111" y="194"/>
                  </a:cubicBezTo>
                  <a:cubicBezTo>
                    <a:pt x="112" y="194"/>
                    <a:pt x="113" y="192"/>
                    <a:pt x="115" y="191"/>
                  </a:cubicBezTo>
                  <a:cubicBezTo>
                    <a:pt x="116" y="190"/>
                    <a:pt x="117" y="189"/>
                    <a:pt x="118" y="188"/>
                  </a:cubicBezTo>
                  <a:cubicBezTo>
                    <a:pt x="118" y="188"/>
                    <a:pt x="118" y="188"/>
                    <a:pt x="118" y="188"/>
                  </a:cubicBezTo>
                  <a:cubicBezTo>
                    <a:pt x="119" y="188"/>
                    <a:pt x="119" y="187"/>
                    <a:pt x="119" y="187"/>
                  </a:cubicBezTo>
                  <a:cubicBezTo>
                    <a:pt x="116" y="185"/>
                    <a:pt x="116" y="185"/>
                    <a:pt x="116" y="185"/>
                  </a:cubicBezTo>
                  <a:cubicBezTo>
                    <a:pt x="120" y="186"/>
                    <a:pt x="120" y="186"/>
                    <a:pt x="120" y="186"/>
                  </a:cubicBezTo>
                  <a:cubicBezTo>
                    <a:pt x="120" y="186"/>
                    <a:pt x="120" y="186"/>
                    <a:pt x="120" y="186"/>
                  </a:cubicBezTo>
                  <a:cubicBezTo>
                    <a:pt x="122" y="186"/>
                    <a:pt x="123" y="185"/>
                    <a:pt x="125" y="185"/>
                  </a:cubicBezTo>
                  <a:cubicBezTo>
                    <a:pt x="125" y="185"/>
                    <a:pt x="125" y="185"/>
                    <a:pt x="126" y="185"/>
                  </a:cubicBezTo>
                  <a:cubicBezTo>
                    <a:pt x="126" y="185"/>
                    <a:pt x="126" y="185"/>
                    <a:pt x="127" y="185"/>
                  </a:cubicBezTo>
                  <a:cubicBezTo>
                    <a:pt x="129" y="186"/>
                    <a:pt x="129" y="186"/>
                    <a:pt x="129" y="186"/>
                  </a:cubicBezTo>
                  <a:cubicBezTo>
                    <a:pt x="129" y="186"/>
                    <a:pt x="130" y="186"/>
                    <a:pt x="131" y="186"/>
                  </a:cubicBezTo>
                  <a:cubicBezTo>
                    <a:pt x="131" y="187"/>
                    <a:pt x="131" y="187"/>
                    <a:pt x="131" y="187"/>
                  </a:cubicBezTo>
                  <a:cubicBezTo>
                    <a:pt x="132" y="187"/>
                    <a:pt x="132" y="187"/>
                    <a:pt x="132" y="187"/>
                  </a:cubicBezTo>
                  <a:cubicBezTo>
                    <a:pt x="133" y="187"/>
                    <a:pt x="133" y="187"/>
                    <a:pt x="134" y="187"/>
                  </a:cubicBezTo>
                  <a:cubicBezTo>
                    <a:pt x="134" y="187"/>
                    <a:pt x="134" y="187"/>
                    <a:pt x="134" y="187"/>
                  </a:cubicBezTo>
                  <a:cubicBezTo>
                    <a:pt x="135" y="187"/>
                    <a:pt x="135" y="187"/>
                    <a:pt x="135" y="187"/>
                  </a:cubicBezTo>
                  <a:cubicBezTo>
                    <a:pt x="137" y="186"/>
                    <a:pt x="138" y="186"/>
                    <a:pt x="139" y="185"/>
                  </a:cubicBezTo>
                  <a:cubicBezTo>
                    <a:pt x="132" y="179"/>
                    <a:pt x="132" y="179"/>
                    <a:pt x="132" y="179"/>
                  </a:cubicBezTo>
                  <a:cubicBezTo>
                    <a:pt x="139" y="179"/>
                    <a:pt x="139" y="179"/>
                    <a:pt x="139" y="179"/>
                  </a:cubicBezTo>
                  <a:cubicBezTo>
                    <a:pt x="142" y="179"/>
                    <a:pt x="143" y="178"/>
                    <a:pt x="146" y="176"/>
                  </a:cubicBezTo>
                  <a:cubicBezTo>
                    <a:pt x="147" y="176"/>
                    <a:pt x="147" y="176"/>
                    <a:pt x="147" y="176"/>
                  </a:cubicBezTo>
                  <a:cubicBezTo>
                    <a:pt x="147" y="176"/>
                    <a:pt x="147" y="175"/>
                    <a:pt x="148" y="175"/>
                  </a:cubicBezTo>
                  <a:cubicBezTo>
                    <a:pt x="149" y="175"/>
                    <a:pt x="150" y="174"/>
                    <a:pt x="151" y="174"/>
                  </a:cubicBezTo>
                  <a:cubicBezTo>
                    <a:pt x="151" y="174"/>
                    <a:pt x="152" y="173"/>
                    <a:pt x="152" y="173"/>
                  </a:cubicBezTo>
                  <a:cubicBezTo>
                    <a:pt x="153" y="173"/>
                    <a:pt x="154" y="173"/>
                    <a:pt x="154" y="173"/>
                  </a:cubicBezTo>
                  <a:cubicBezTo>
                    <a:pt x="155" y="173"/>
                    <a:pt x="155" y="172"/>
                    <a:pt x="156" y="172"/>
                  </a:cubicBezTo>
                  <a:cubicBezTo>
                    <a:pt x="156" y="172"/>
                    <a:pt x="156" y="172"/>
                    <a:pt x="156" y="172"/>
                  </a:cubicBezTo>
                  <a:cubicBezTo>
                    <a:pt x="157" y="172"/>
                    <a:pt x="159" y="172"/>
                    <a:pt x="160" y="172"/>
                  </a:cubicBezTo>
                  <a:cubicBezTo>
                    <a:pt x="160" y="172"/>
                    <a:pt x="160" y="172"/>
                    <a:pt x="161" y="172"/>
                  </a:cubicBezTo>
                  <a:cubicBezTo>
                    <a:pt x="161" y="172"/>
                    <a:pt x="162" y="172"/>
                    <a:pt x="162" y="172"/>
                  </a:cubicBezTo>
                  <a:cubicBezTo>
                    <a:pt x="163" y="172"/>
                    <a:pt x="163" y="172"/>
                    <a:pt x="163" y="172"/>
                  </a:cubicBezTo>
                  <a:cubicBezTo>
                    <a:pt x="163" y="172"/>
                    <a:pt x="164" y="172"/>
                    <a:pt x="165" y="173"/>
                  </a:cubicBezTo>
                  <a:cubicBezTo>
                    <a:pt x="165" y="173"/>
                    <a:pt x="165" y="173"/>
                    <a:pt x="165" y="173"/>
                  </a:cubicBezTo>
                  <a:cubicBezTo>
                    <a:pt x="166" y="173"/>
                    <a:pt x="167" y="174"/>
                    <a:pt x="168" y="175"/>
                  </a:cubicBezTo>
                  <a:cubicBezTo>
                    <a:pt x="169" y="175"/>
                    <a:pt x="169" y="175"/>
                    <a:pt x="169" y="175"/>
                  </a:cubicBezTo>
                  <a:cubicBezTo>
                    <a:pt x="169" y="176"/>
                    <a:pt x="170" y="176"/>
                    <a:pt x="170" y="176"/>
                  </a:cubicBezTo>
                  <a:cubicBezTo>
                    <a:pt x="170" y="176"/>
                    <a:pt x="170" y="176"/>
                    <a:pt x="170" y="176"/>
                  </a:cubicBezTo>
                  <a:cubicBezTo>
                    <a:pt x="172" y="175"/>
                    <a:pt x="172" y="175"/>
                    <a:pt x="172" y="175"/>
                  </a:cubicBezTo>
                  <a:cubicBezTo>
                    <a:pt x="173" y="173"/>
                    <a:pt x="175" y="172"/>
                    <a:pt x="177" y="170"/>
                  </a:cubicBezTo>
                  <a:cubicBezTo>
                    <a:pt x="177" y="170"/>
                    <a:pt x="177" y="170"/>
                    <a:pt x="177" y="170"/>
                  </a:cubicBezTo>
                  <a:cubicBezTo>
                    <a:pt x="176" y="162"/>
                    <a:pt x="176" y="162"/>
                    <a:pt x="176" y="162"/>
                  </a:cubicBezTo>
                  <a:cubicBezTo>
                    <a:pt x="176" y="162"/>
                    <a:pt x="176" y="162"/>
                    <a:pt x="176" y="162"/>
                  </a:cubicBezTo>
                  <a:cubicBezTo>
                    <a:pt x="176" y="158"/>
                    <a:pt x="176" y="158"/>
                    <a:pt x="176" y="158"/>
                  </a:cubicBezTo>
                  <a:cubicBezTo>
                    <a:pt x="176" y="157"/>
                    <a:pt x="176" y="156"/>
                    <a:pt x="176" y="155"/>
                  </a:cubicBezTo>
                  <a:cubicBezTo>
                    <a:pt x="177" y="154"/>
                    <a:pt x="177" y="154"/>
                    <a:pt x="177" y="154"/>
                  </a:cubicBezTo>
                  <a:cubicBezTo>
                    <a:pt x="178" y="154"/>
                    <a:pt x="178" y="153"/>
                    <a:pt x="179" y="153"/>
                  </a:cubicBezTo>
                  <a:cubicBezTo>
                    <a:pt x="180" y="152"/>
                    <a:pt x="180" y="152"/>
                    <a:pt x="180" y="152"/>
                  </a:cubicBezTo>
                  <a:cubicBezTo>
                    <a:pt x="180" y="152"/>
                    <a:pt x="180" y="151"/>
                    <a:pt x="180" y="151"/>
                  </a:cubicBezTo>
                  <a:cubicBezTo>
                    <a:pt x="180" y="151"/>
                    <a:pt x="180" y="151"/>
                    <a:pt x="180" y="151"/>
                  </a:cubicBezTo>
                  <a:cubicBezTo>
                    <a:pt x="180" y="150"/>
                    <a:pt x="181" y="149"/>
                    <a:pt x="181" y="148"/>
                  </a:cubicBezTo>
                  <a:cubicBezTo>
                    <a:pt x="181" y="145"/>
                    <a:pt x="182" y="143"/>
                    <a:pt x="183" y="140"/>
                  </a:cubicBezTo>
                  <a:cubicBezTo>
                    <a:pt x="184" y="140"/>
                    <a:pt x="184" y="140"/>
                    <a:pt x="184" y="140"/>
                  </a:cubicBezTo>
                  <a:cubicBezTo>
                    <a:pt x="185" y="139"/>
                    <a:pt x="186" y="139"/>
                    <a:pt x="186" y="139"/>
                  </a:cubicBezTo>
                  <a:cubicBezTo>
                    <a:pt x="187" y="139"/>
                    <a:pt x="187" y="139"/>
                    <a:pt x="187" y="139"/>
                  </a:cubicBezTo>
                  <a:cubicBezTo>
                    <a:pt x="188" y="139"/>
                    <a:pt x="188" y="138"/>
                    <a:pt x="189" y="138"/>
                  </a:cubicBezTo>
                  <a:cubicBezTo>
                    <a:pt x="190" y="138"/>
                    <a:pt x="190" y="138"/>
                    <a:pt x="190" y="138"/>
                  </a:cubicBezTo>
                  <a:cubicBezTo>
                    <a:pt x="191" y="138"/>
                    <a:pt x="192" y="139"/>
                    <a:pt x="193" y="138"/>
                  </a:cubicBezTo>
                  <a:cubicBezTo>
                    <a:pt x="193" y="138"/>
                    <a:pt x="193" y="138"/>
                    <a:pt x="193" y="138"/>
                  </a:cubicBezTo>
                  <a:cubicBezTo>
                    <a:pt x="195" y="138"/>
                    <a:pt x="199" y="135"/>
                    <a:pt x="200" y="134"/>
                  </a:cubicBezTo>
                  <a:cubicBezTo>
                    <a:pt x="200" y="134"/>
                    <a:pt x="200" y="134"/>
                    <a:pt x="200" y="134"/>
                  </a:cubicBezTo>
                  <a:cubicBezTo>
                    <a:pt x="200" y="133"/>
                    <a:pt x="199" y="132"/>
                    <a:pt x="197" y="129"/>
                  </a:cubicBezTo>
                  <a:cubicBezTo>
                    <a:pt x="195" y="126"/>
                    <a:pt x="195" y="126"/>
                    <a:pt x="195" y="126"/>
                  </a:cubicBezTo>
                  <a:cubicBezTo>
                    <a:pt x="195" y="126"/>
                    <a:pt x="195" y="126"/>
                    <a:pt x="195" y="126"/>
                  </a:cubicBezTo>
                  <a:cubicBezTo>
                    <a:pt x="194" y="125"/>
                    <a:pt x="194" y="125"/>
                    <a:pt x="194" y="125"/>
                  </a:cubicBezTo>
                  <a:cubicBezTo>
                    <a:pt x="194" y="125"/>
                    <a:pt x="194" y="125"/>
                    <a:pt x="194" y="125"/>
                  </a:cubicBezTo>
                  <a:cubicBezTo>
                    <a:pt x="191" y="122"/>
                    <a:pt x="191" y="122"/>
                    <a:pt x="191" y="122"/>
                  </a:cubicBezTo>
                  <a:cubicBezTo>
                    <a:pt x="190" y="118"/>
                    <a:pt x="191" y="116"/>
                    <a:pt x="192" y="115"/>
                  </a:cubicBezTo>
                  <a:cubicBezTo>
                    <a:pt x="192" y="114"/>
                    <a:pt x="192" y="114"/>
                    <a:pt x="192" y="114"/>
                  </a:cubicBezTo>
                  <a:cubicBezTo>
                    <a:pt x="193" y="114"/>
                    <a:pt x="195" y="113"/>
                    <a:pt x="196" y="113"/>
                  </a:cubicBezTo>
                  <a:cubicBezTo>
                    <a:pt x="198" y="113"/>
                    <a:pt x="201" y="114"/>
                    <a:pt x="205" y="115"/>
                  </a:cubicBezTo>
                  <a:cubicBezTo>
                    <a:pt x="205" y="115"/>
                    <a:pt x="205" y="115"/>
                    <a:pt x="205" y="115"/>
                  </a:cubicBezTo>
                  <a:cubicBezTo>
                    <a:pt x="206" y="115"/>
                    <a:pt x="206" y="115"/>
                    <a:pt x="207" y="115"/>
                  </a:cubicBezTo>
                  <a:cubicBezTo>
                    <a:pt x="208" y="116"/>
                    <a:pt x="208" y="116"/>
                    <a:pt x="208" y="116"/>
                  </a:cubicBezTo>
                  <a:cubicBezTo>
                    <a:pt x="208" y="116"/>
                    <a:pt x="209" y="116"/>
                    <a:pt x="209" y="116"/>
                  </a:cubicBezTo>
                  <a:cubicBezTo>
                    <a:pt x="210" y="116"/>
                    <a:pt x="210" y="116"/>
                    <a:pt x="211" y="116"/>
                  </a:cubicBezTo>
                  <a:cubicBezTo>
                    <a:pt x="213" y="116"/>
                    <a:pt x="216" y="115"/>
                    <a:pt x="217" y="114"/>
                  </a:cubicBezTo>
                  <a:cubicBezTo>
                    <a:pt x="218" y="113"/>
                    <a:pt x="219" y="113"/>
                    <a:pt x="219" y="112"/>
                  </a:cubicBezTo>
                  <a:cubicBezTo>
                    <a:pt x="219" y="112"/>
                    <a:pt x="219" y="111"/>
                    <a:pt x="219" y="111"/>
                  </a:cubicBezTo>
                  <a:cubicBezTo>
                    <a:pt x="220" y="111"/>
                    <a:pt x="220" y="111"/>
                    <a:pt x="220" y="111"/>
                  </a:cubicBezTo>
                  <a:cubicBezTo>
                    <a:pt x="220" y="110"/>
                    <a:pt x="220" y="110"/>
                    <a:pt x="220" y="110"/>
                  </a:cubicBezTo>
                  <a:cubicBezTo>
                    <a:pt x="220" y="110"/>
                    <a:pt x="220" y="110"/>
                    <a:pt x="220" y="110"/>
                  </a:cubicBezTo>
                  <a:cubicBezTo>
                    <a:pt x="219" y="109"/>
                    <a:pt x="218" y="108"/>
                    <a:pt x="217" y="107"/>
                  </a:cubicBezTo>
                  <a:cubicBezTo>
                    <a:pt x="216" y="104"/>
                    <a:pt x="216" y="101"/>
                    <a:pt x="219" y="99"/>
                  </a:cubicBezTo>
                  <a:cubicBezTo>
                    <a:pt x="219" y="98"/>
                    <a:pt x="220" y="97"/>
                    <a:pt x="221" y="96"/>
                  </a:cubicBezTo>
                  <a:cubicBezTo>
                    <a:pt x="222" y="96"/>
                    <a:pt x="222" y="96"/>
                    <a:pt x="223" y="95"/>
                  </a:cubicBezTo>
                  <a:cubicBezTo>
                    <a:pt x="223" y="94"/>
                    <a:pt x="224" y="93"/>
                    <a:pt x="225" y="92"/>
                  </a:cubicBezTo>
                  <a:cubicBezTo>
                    <a:pt x="226" y="91"/>
                    <a:pt x="227" y="90"/>
                    <a:pt x="228" y="90"/>
                  </a:cubicBezTo>
                  <a:cubicBezTo>
                    <a:pt x="229" y="89"/>
                    <a:pt x="229" y="89"/>
                    <a:pt x="229" y="89"/>
                  </a:cubicBezTo>
                  <a:cubicBezTo>
                    <a:pt x="229" y="89"/>
                    <a:pt x="229" y="89"/>
                    <a:pt x="229" y="89"/>
                  </a:cubicBezTo>
                  <a:cubicBezTo>
                    <a:pt x="229" y="87"/>
                    <a:pt x="230" y="86"/>
                    <a:pt x="231" y="85"/>
                  </a:cubicBezTo>
                  <a:cubicBezTo>
                    <a:pt x="231" y="85"/>
                    <a:pt x="231" y="84"/>
                    <a:pt x="231" y="84"/>
                  </a:cubicBezTo>
                  <a:cubicBezTo>
                    <a:pt x="231" y="83"/>
                    <a:pt x="231" y="83"/>
                    <a:pt x="231" y="83"/>
                  </a:cubicBezTo>
                  <a:cubicBezTo>
                    <a:pt x="230" y="82"/>
                    <a:pt x="230" y="81"/>
                    <a:pt x="231" y="80"/>
                  </a:cubicBezTo>
                  <a:cubicBezTo>
                    <a:pt x="231" y="79"/>
                    <a:pt x="231" y="78"/>
                    <a:pt x="231" y="77"/>
                  </a:cubicBezTo>
                  <a:cubicBezTo>
                    <a:pt x="230" y="75"/>
                    <a:pt x="230" y="75"/>
                    <a:pt x="230" y="75"/>
                  </a:cubicBezTo>
                  <a:cubicBezTo>
                    <a:pt x="230" y="75"/>
                    <a:pt x="230" y="75"/>
                    <a:pt x="230" y="75"/>
                  </a:cubicBezTo>
                  <a:cubicBezTo>
                    <a:pt x="229" y="75"/>
                    <a:pt x="229" y="75"/>
                    <a:pt x="229" y="75"/>
                  </a:cubicBezTo>
                  <a:cubicBezTo>
                    <a:pt x="228" y="73"/>
                    <a:pt x="228" y="73"/>
                    <a:pt x="228" y="73"/>
                  </a:cubicBezTo>
                  <a:cubicBezTo>
                    <a:pt x="228" y="73"/>
                    <a:pt x="227" y="72"/>
                    <a:pt x="227" y="72"/>
                  </a:cubicBezTo>
                  <a:cubicBezTo>
                    <a:pt x="227" y="71"/>
                    <a:pt x="227" y="71"/>
                    <a:pt x="227" y="71"/>
                  </a:cubicBezTo>
                  <a:cubicBezTo>
                    <a:pt x="226" y="70"/>
                    <a:pt x="226" y="70"/>
                    <a:pt x="226" y="70"/>
                  </a:cubicBezTo>
                  <a:cubicBezTo>
                    <a:pt x="225" y="69"/>
                    <a:pt x="224" y="67"/>
                    <a:pt x="223" y="66"/>
                  </a:cubicBezTo>
                  <a:cubicBezTo>
                    <a:pt x="223" y="66"/>
                    <a:pt x="223" y="66"/>
                    <a:pt x="223" y="66"/>
                  </a:cubicBezTo>
                  <a:cubicBezTo>
                    <a:pt x="223" y="65"/>
                    <a:pt x="223" y="65"/>
                    <a:pt x="223" y="65"/>
                  </a:cubicBezTo>
                  <a:cubicBezTo>
                    <a:pt x="219" y="64"/>
                    <a:pt x="219" y="64"/>
                    <a:pt x="219" y="64"/>
                  </a:cubicBezTo>
                  <a:cubicBezTo>
                    <a:pt x="222" y="61"/>
                    <a:pt x="222" y="61"/>
                    <a:pt x="222" y="61"/>
                  </a:cubicBezTo>
                  <a:cubicBezTo>
                    <a:pt x="225" y="57"/>
                    <a:pt x="229" y="53"/>
                    <a:pt x="233" y="49"/>
                  </a:cubicBezTo>
                  <a:cubicBezTo>
                    <a:pt x="233" y="49"/>
                    <a:pt x="233" y="49"/>
                    <a:pt x="233" y="49"/>
                  </a:cubicBezTo>
                  <a:cubicBezTo>
                    <a:pt x="235" y="48"/>
                    <a:pt x="235" y="48"/>
                    <a:pt x="235" y="48"/>
                  </a:cubicBezTo>
                  <a:cubicBezTo>
                    <a:pt x="235" y="49"/>
                    <a:pt x="235" y="49"/>
                    <a:pt x="235" y="49"/>
                  </a:cubicBezTo>
                  <a:cubicBezTo>
                    <a:pt x="236" y="49"/>
                    <a:pt x="236" y="49"/>
                    <a:pt x="237" y="49"/>
                  </a:cubicBezTo>
                  <a:cubicBezTo>
                    <a:pt x="238" y="49"/>
                    <a:pt x="238" y="49"/>
                    <a:pt x="238" y="49"/>
                  </a:cubicBezTo>
                  <a:cubicBezTo>
                    <a:pt x="239" y="49"/>
                    <a:pt x="239" y="49"/>
                    <a:pt x="239" y="49"/>
                  </a:cubicBezTo>
                  <a:cubicBezTo>
                    <a:pt x="240" y="49"/>
                    <a:pt x="241" y="48"/>
                    <a:pt x="243" y="47"/>
                  </a:cubicBezTo>
                  <a:cubicBezTo>
                    <a:pt x="246" y="45"/>
                    <a:pt x="246" y="45"/>
                    <a:pt x="246" y="45"/>
                  </a:cubicBezTo>
                  <a:cubicBezTo>
                    <a:pt x="247" y="44"/>
                    <a:pt x="248" y="44"/>
                    <a:pt x="249" y="43"/>
                  </a:cubicBezTo>
                  <a:cubicBezTo>
                    <a:pt x="249" y="43"/>
                    <a:pt x="249" y="43"/>
                    <a:pt x="249" y="43"/>
                  </a:cubicBezTo>
                  <a:cubicBezTo>
                    <a:pt x="246" y="44"/>
                    <a:pt x="243" y="45"/>
                    <a:pt x="240" y="47"/>
                  </a:cubicBezTo>
                  <a:cubicBezTo>
                    <a:pt x="237" y="48"/>
                    <a:pt x="237" y="48"/>
                    <a:pt x="237" y="48"/>
                  </a:cubicBezTo>
                  <a:cubicBezTo>
                    <a:pt x="237" y="48"/>
                    <a:pt x="236" y="48"/>
                    <a:pt x="236" y="48"/>
                  </a:cubicBezTo>
                  <a:cubicBezTo>
                    <a:pt x="235" y="48"/>
                    <a:pt x="235" y="48"/>
                    <a:pt x="235" y="48"/>
                  </a:cubicBezTo>
                  <a:cubicBezTo>
                    <a:pt x="235" y="48"/>
                    <a:pt x="234" y="48"/>
                    <a:pt x="233" y="47"/>
                  </a:cubicBezTo>
                  <a:cubicBezTo>
                    <a:pt x="231" y="46"/>
                    <a:pt x="230" y="44"/>
                    <a:pt x="229" y="43"/>
                  </a:cubicBezTo>
                  <a:cubicBezTo>
                    <a:pt x="229" y="42"/>
                    <a:pt x="229" y="42"/>
                    <a:pt x="229" y="41"/>
                  </a:cubicBezTo>
                  <a:cubicBezTo>
                    <a:pt x="229" y="41"/>
                    <a:pt x="229" y="41"/>
                    <a:pt x="229" y="41"/>
                  </a:cubicBezTo>
                  <a:cubicBezTo>
                    <a:pt x="228" y="39"/>
                    <a:pt x="227" y="37"/>
                    <a:pt x="227" y="35"/>
                  </a:cubicBezTo>
                  <a:cubicBezTo>
                    <a:pt x="227" y="34"/>
                    <a:pt x="227" y="34"/>
                    <a:pt x="227" y="33"/>
                  </a:cubicBezTo>
                  <a:cubicBezTo>
                    <a:pt x="227" y="32"/>
                    <a:pt x="228" y="31"/>
                    <a:pt x="228" y="30"/>
                  </a:cubicBezTo>
                  <a:cubicBezTo>
                    <a:pt x="228" y="30"/>
                    <a:pt x="228" y="30"/>
                    <a:pt x="228" y="30"/>
                  </a:cubicBezTo>
                  <a:cubicBezTo>
                    <a:pt x="229" y="27"/>
                    <a:pt x="229" y="24"/>
                    <a:pt x="229" y="20"/>
                  </a:cubicBezTo>
                  <a:cubicBezTo>
                    <a:pt x="230" y="18"/>
                    <a:pt x="230" y="16"/>
                    <a:pt x="230" y="13"/>
                  </a:cubicBezTo>
                  <a:cubicBezTo>
                    <a:pt x="229" y="13"/>
                    <a:pt x="228" y="13"/>
                    <a:pt x="227" y="13"/>
                  </a:cubicBezTo>
                  <a:cubicBezTo>
                    <a:pt x="227" y="13"/>
                    <a:pt x="227" y="13"/>
                    <a:pt x="227" y="13"/>
                  </a:cubicBezTo>
                  <a:cubicBezTo>
                    <a:pt x="226" y="13"/>
                    <a:pt x="226" y="13"/>
                    <a:pt x="225" y="13"/>
                  </a:cubicBezTo>
                  <a:cubicBezTo>
                    <a:pt x="222" y="12"/>
                    <a:pt x="222" y="12"/>
                    <a:pt x="222" y="12"/>
                  </a:cubicBezTo>
                  <a:cubicBezTo>
                    <a:pt x="224" y="8"/>
                    <a:pt x="224" y="8"/>
                    <a:pt x="224" y="8"/>
                  </a:cubicBezTo>
                  <a:cubicBezTo>
                    <a:pt x="224" y="7"/>
                    <a:pt x="224" y="7"/>
                    <a:pt x="224" y="6"/>
                  </a:cubicBezTo>
                  <a:cubicBezTo>
                    <a:pt x="224" y="6"/>
                    <a:pt x="224" y="6"/>
                    <a:pt x="224" y="6"/>
                  </a:cubicBezTo>
                  <a:cubicBezTo>
                    <a:pt x="224" y="6"/>
                    <a:pt x="223" y="5"/>
                    <a:pt x="223" y="4"/>
                  </a:cubicBezTo>
                  <a:cubicBezTo>
                    <a:pt x="223" y="4"/>
                    <a:pt x="223" y="4"/>
                    <a:pt x="223" y="4"/>
                  </a:cubicBezTo>
                  <a:cubicBezTo>
                    <a:pt x="217" y="8"/>
                    <a:pt x="217" y="8"/>
                    <a:pt x="217" y="8"/>
                  </a:cubicBezTo>
                  <a:cubicBezTo>
                    <a:pt x="221" y="3"/>
                    <a:pt x="221" y="3"/>
                    <a:pt x="221" y="3"/>
                  </a:cubicBezTo>
                  <a:cubicBezTo>
                    <a:pt x="221" y="2"/>
                    <a:pt x="220" y="2"/>
                    <a:pt x="220" y="1"/>
                  </a:cubicBezTo>
                  <a:cubicBezTo>
                    <a:pt x="220" y="1"/>
                    <a:pt x="219" y="0"/>
                    <a:pt x="2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4" name="Freeform 1533">
              <a:extLst>
                <a:ext uri="{FF2B5EF4-FFF2-40B4-BE49-F238E27FC236}">
                  <a16:creationId xmlns:a16="http://schemas.microsoft.com/office/drawing/2014/main" id="{0E931E95-C68F-4565-835B-04D0E7B640F6}"/>
                </a:ext>
              </a:extLst>
            </p:cNvPr>
            <p:cNvSpPr>
              <a:spLocks noEditPoints="1"/>
            </p:cNvSpPr>
            <p:nvPr/>
          </p:nvSpPr>
          <p:spPr bwMode="auto">
            <a:xfrm>
              <a:off x="0" y="2510171"/>
              <a:ext cx="110072" cy="418809"/>
            </a:xfrm>
            <a:custGeom>
              <a:avLst/>
              <a:gdLst>
                <a:gd name="T0" fmla="*/ 0 w 35"/>
                <a:gd name="T1" fmla="*/ 63 h 132"/>
                <a:gd name="T2" fmla="*/ 0 w 35"/>
                <a:gd name="T3" fmla="*/ 132 h 132"/>
                <a:gd name="T4" fmla="*/ 1 w 35"/>
                <a:gd name="T5" fmla="*/ 128 h 132"/>
                <a:gd name="T6" fmla="*/ 6 w 35"/>
                <a:gd name="T7" fmla="*/ 121 h 132"/>
                <a:gd name="T8" fmla="*/ 7 w 35"/>
                <a:gd name="T9" fmla="*/ 120 h 132"/>
                <a:gd name="T10" fmla="*/ 9 w 35"/>
                <a:gd name="T11" fmla="*/ 119 h 132"/>
                <a:gd name="T12" fmla="*/ 9 w 35"/>
                <a:gd name="T13" fmla="*/ 118 h 132"/>
                <a:gd name="T14" fmla="*/ 12 w 35"/>
                <a:gd name="T15" fmla="*/ 116 h 132"/>
                <a:gd name="T16" fmla="*/ 17 w 35"/>
                <a:gd name="T17" fmla="*/ 114 h 132"/>
                <a:gd name="T18" fmla="*/ 27 w 35"/>
                <a:gd name="T19" fmla="*/ 113 h 132"/>
                <a:gd name="T20" fmla="*/ 29 w 35"/>
                <a:gd name="T21" fmla="*/ 112 h 132"/>
                <a:gd name="T22" fmla="*/ 32 w 35"/>
                <a:gd name="T23" fmla="*/ 112 h 132"/>
                <a:gd name="T24" fmla="*/ 34 w 35"/>
                <a:gd name="T25" fmla="*/ 107 h 132"/>
                <a:gd name="T26" fmla="*/ 35 w 35"/>
                <a:gd name="T27" fmla="*/ 102 h 132"/>
                <a:gd name="T28" fmla="*/ 34 w 35"/>
                <a:gd name="T29" fmla="*/ 102 h 132"/>
                <a:gd name="T30" fmla="*/ 33 w 35"/>
                <a:gd name="T31" fmla="*/ 102 h 132"/>
                <a:gd name="T32" fmla="*/ 31 w 35"/>
                <a:gd name="T33" fmla="*/ 102 h 132"/>
                <a:gd name="T34" fmla="*/ 30 w 35"/>
                <a:gd name="T35" fmla="*/ 102 h 132"/>
                <a:gd name="T36" fmla="*/ 29 w 35"/>
                <a:gd name="T37" fmla="*/ 102 h 132"/>
                <a:gd name="T38" fmla="*/ 29 w 35"/>
                <a:gd name="T39" fmla="*/ 102 h 132"/>
                <a:gd name="T40" fmla="*/ 23 w 35"/>
                <a:gd name="T41" fmla="*/ 98 h 132"/>
                <a:gd name="T42" fmla="*/ 23 w 35"/>
                <a:gd name="T43" fmla="*/ 93 h 132"/>
                <a:gd name="T44" fmla="*/ 23 w 35"/>
                <a:gd name="T45" fmla="*/ 91 h 132"/>
                <a:gd name="T46" fmla="*/ 23 w 35"/>
                <a:gd name="T47" fmla="*/ 82 h 132"/>
                <a:gd name="T48" fmla="*/ 24 w 35"/>
                <a:gd name="T49" fmla="*/ 80 h 132"/>
                <a:gd name="T50" fmla="*/ 24 w 35"/>
                <a:gd name="T51" fmla="*/ 77 h 132"/>
                <a:gd name="T52" fmla="*/ 22 w 35"/>
                <a:gd name="T53" fmla="*/ 76 h 132"/>
                <a:gd name="T54" fmla="*/ 22 w 35"/>
                <a:gd name="T55" fmla="*/ 76 h 132"/>
                <a:gd name="T56" fmla="*/ 18 w 35"/>
                <a:gd name="T57" fmla="*/ 74 h 132"/>
                <a:gd name="T58" fmla="*/ 15 w 35"/>
                <a:gd name="T59" fmla="*/ 73 h 132"/>
                <a:gd name="T60" fmla="*/ 13 w 35"/>
                <a:gd name="T61" fmla="*/ 72 h 132"/>
                <a:gd name="T62" fmla="*/ 12 w 35"/>
                <a:gd name="T63" fmla="*/ 72 h 132"/>
                <a:gd name="T64" fmla="*/ 10 w 35"/>
                <a:gd name="T65" fmla="*/ 71 h 132"/>
                <a:gd name="T66" fmla="*/ 2 w 35"/>
                <a:gd name="T67" fmla="*/ 66 h 132"/>
                <a:gd name="T68" fmla="*/ 0 w 35"/>
                <a:gd name="T69" fmla="*/ 63 h 132"/>
                <a:gd name="T70" fmla="*/ 0 w 35"/>
                <a:gd name="T71" fmla="*/ 0 h 132"/>
                <a:gd name="T72" fmla="*/ 0 w 35"/>
                <a:gd name="T73" fmla="*/ 5 h 132"/>
                <a:gd name="T74" fmla="*/ 1 w 35"/>
                <a:gd name="T75" fmla="*/ 2 h 132"/>
                <a:gd name="T76" fmla="*/ 0 w 35"/>
                <a:gd name="T77" fmla="*/ 0 h 132"/>
                <a:gd name="T78" fmla="*/ 0 w 35"/>
                <a:gd name="T7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132">
                  <a:moveTo>
                    <a:pt x="0" y="63"/>
                  </a:moveTo>
                  <a:cubicBezTo>
                    <a:pt x="0" y="132"/>
                    <a:pt x="0" y="132"/>
                    <a:pt x="0" y="132"/>
                  </a:cubicBezTo>
                  <a:cubicBezTo>
                    <a:pt x="0" y="131"/>
                    <a:pt x="1" y="130"/>
                    <a:pt x="1" y="128"/>
                  </a:cubicBezTo>
                  <a:cubicBezTo>
                    <a:pt x="2" y="124"/>
                    <a:pt x="2" y="123"/>
                    <a:pt x="6" y="121"/>
                  </a:cubicBezTo>
                  <a:cubicBezTo>
                    <a:pt x="7" y="120"/>
                    <a:pt x="7" y="120"/>
                    <a:pt x="7" y="120"/>
                  </a:cubicBezTo>
                  <a:cubicBezTo>
                    <a:pt x="7" y="120"/>
                    <a:pt x="8" y="120"/>
                    <a:pt x="9" y="119"/>
                  </a:cubicBezTo>
                  <a:cubicBezTo>
                    <a:pt x="9" y="118"/>
                    <a:pt x="9" y="118"/>
                    <a:pt x="9" y="118"/>
                  </a:cubicBezTo>
                  <a:cubicBezTo>
                    <a:pt x="10" y="118"/>
                    <a:pt x="11" y="117"/>
                    <a:pt x="12" y="116"/>
                  </a:cubicBezTo>
                  <a:cubicBezTo>
                    <a:pt x="14" y="115"/>
                    <a:pt x="15" y="114"/>
                    <a:pt x="17" y="114"/>
                  </a:cubicBezTo>
                  <a:cubicBezTo>
                    <a:pt x="27" y="113"/>
                    <a:pt x="27" y="113"/>
                    <a:pt x="27" y="113"/>
                  </a:cubicBezTo>
                  <a:cubicBezTo>
                    <a:pt x="28" y="112"/>
                    <a:pt x="29" y="112"/>
                    <a:pt x="29" y="112"/>
                  </a:cubicBezTo>
                  <a:cubicBezTo>
                    <a:pt x="30" y="112"/>
                    <a:pt x="32" y="112"/>
                    <a:pt x="32" y="112"/>
                  </a:cubicBezTo>
                  <a:cubicBezTo>
                    <a:pt x="34" y="107"/>
                    <a:pt x="34" y="107"/>
                    <a:pt x="34" y="107"/>
                  </a:cubicBezTo>
                  <a:cubicBezTo>
                    <a:pt x="34" y="105"/>
                    <a:pt x="34" y="104"/>
                    <a:pt x="35" y="102"/>
                  </a:cubicBezTo>
                  <a:cubicBezTo>
                    <a:pt x="34" y="102"/>
                    <a:pt x="34" y="102"/>
                    <a:pt x="34" y="102"/>
                  </a:cubicBezTo>
                  <a:cubicBezTo>
                    <a:pt x="34" y="102"/>
                    <a:pt x="33" y="102"/>
                    <a:pt x="33" y="102"/>
                  </a:cubicBezTo>
                  <a:cubicBezTo>
                    <a:pt x="33" y="102"/>
                    <a:pt x="32" y="102"/>
                    <a:pt x="31" y="102"/>
                  </a:cubicBezTo>
                  <a:cubicBezTo>
                    <a:pt x="30" y="102"/>
                    <a:pt x="30" y="102"/>
                    <a:pt x="30" y="102"/>
                  </a:cubicBezTo>
                  <a:cubicBezTo>
                    <a:pt x="30" y="102"/>
                    <a:pt x="30" y="102"/>
                    <a:pt x="29" y="102"/>
                  </a:cubicBezTo>
                  <a:cubicBezTo>
                    <a:pt x="29" y="102"/>
                    <a:pt x="29" y="102"/>
                    <a:pt x="29" y="102"/>
                  </a:cubicBezTo>
                  <a:cubicBezTo>
                    <a:pt x="26" y="102"/>
                    <a:pt x="24" y="100"/>
                    <a:pt x="23" y="98"/>
                  </a:cubicBezTo>
                  <a:cubicBezTo>
                    <a:pt x="23" y="96"/>
                    <a:pt x="23" y="94"/>
                    <a:pt x="23" y="93"/>
                  </a:cubicBezTo>
                  <a:cubicBezTo>
                    <a:pt x="23" y="92"/>
                    <a:pt x="23" y="92"/>
                    <a:pt x="23" y="91"/>
                  </a:cubicBezTo>
                  <a:cubicBezTo>
                    <a:pt x="23" y="82"/>
                    <a:pt x="23" y="82"/>
                    <a:pt x="23" y="82"/>
                  </a:cubicBezTo>
                  <a:cubicBezTo>
                    <a:pt x="23" y="82"/>
                    <a:pt x="23" y="81"/>
                    <a:pt x="24" y="80"/>
                  </a:cubicBezTo>
                  <a:cubicBezTo>
                    <a:pt x="24" y="78"/>
                    <a:pt x="24" y="77"/>
                    <a:pt x="24" y="77"/>
                  </a:cubicBezTo>
                  <a:cubicBezTo>
                    <a:pt x="23" y="76"/>
                    <a:pt x="23" y="76"/>
                    <a:pt x="22" y="76"/>
                  </a:cubicBezTo>
                  <a:cubicBezTo>
                    <a:pt x="22" y="76"/>
                    <a:pt x="22" y="76"/>
                    <a:pt x="22" y="76"/>
                  </a:cubicBezTo>
                  <a:cubicBezTo>
                    <a:pt x="21" y="75"/>
                    <a:pt x="19" y="75"/>
                    <a:pt x="18" y="74"/>
                  </a:cubicBezTo>
                  <a:cubicBezTo>
                    <a:pt x="17" y="74"/>
                    <a:pt x="16" y="74"/>
                    <a:pt x="15" y="73"/>
                  </a:cubicBezTo>
                  <a:cubicBezTo>
                    <a:pt x="15" y="73"/>
                    <a:pt x="14" y="73"/>
                    <a:pt x="13" y="72"/>
                  </a:cubicBezTo>
                  <a:cubicBezTo>
                    <a:pt x="12" y="72"/>
                    <a:pt x="12" y="72"/>
                    <a:pt x="12" y="72"/>
                  </a:cubicBezTo>
                  <a:cubicBezTo>
                    <a:pt x="12" y="72"/>
                    <a:pt x="11" y="72"/>
                    <a:pt x="10" y="71"/>
                  </a:cubicBezTo>
                  <a:cubicBezTo>
                    <a:pt x="7" y="70"/>
                    <a:pt x="4" y="69"/>
                    <a:pt x="2" y="66"/>
                  </a:cubicBezTo>
                  <a:cubicBezTo>
                    <a:pt x="2" y="65"/>
                    <a:pt x="1" y="64"/>
                    <a:pt x="0" y="63"/>
                  </a:cubicBezTo>
                  <a:moveTo>
                    <a:pt x="0" y="0"/>
                  </a:moveTo>
                  <a:cubicBezTo>
                    <a:pt x="0" y="5"/>
                    <a:pt x="0" y="5"/>
                    <a:pt x="0" y="5"/>
                  </a:cubicBezTo>
                  <a:cubicBezTo>
                    <a:pt x="1" y="4"/>
                    <a:pt x="1" y="3"/>
                    <a:pt x="1" y="2"/>
                  </a:cubicBezTo>
                  <a:cubicBezTo>
                    <a:pt x="1" y="1"/>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5" name="Freeform 1534">
              <a:extLst>
                <a:ext uri="{FF2B5EF4-FFF2-40B4-BE49-F238E27FC236}">
                  <a16:creationId xmlns:a16="http://schemas.microsoft.com/office/drawing/2014/main" id="{11D32F74-73DF-4679-A667-3B555CCC43A4}"/>
                </a:ext>
              </a:extLst>
            </p:cNvPr>
            <p:cNvSpPr>
              <a:spLocks/>
            </p:cNvSpPr>
            <p:nvPr/>
          </p:nvSpPr>
          <p:spPr bwMode="auto">
            <a:xfrm>
              <a:off x="0" y="1656445"/>
              <a:ext cx="365115" cy="504719"/>
            </a:xfrm>
            <a:custGeom>
              <a:avLst/>
              <a:gdLst>
                <a:gd name="T0" fmla="*/ 0 w 115"/>
                <a:gd name="T1" fmla="*/ 150 h 159"/>
                <a:gd name="T2" fmla="*/ 2 w 115"/>
                <a:gd name="T3" fmla="*/ 151 h 159"/>
                <a:gd name="T4" fmla="*/ 10 w 115"/>
                <a:gd name="T5" fmla="*/ 154 h 159"/>
                <a:gd name="T6" fmla="*/ 13 w 115"/>
                <a:gd name="T7" fmla="*/ 157 h 159"/>
                <a:gd name="T8" fmla="*/ 15 w 115"/>
                <a:gd name="T9" fmla="*/ 159 h 159"/>
                <a:gd name="T10" fmla="*/ 23 w 115"/>
                <a:gd name="T11" fmla="*/ 156 h 159"/>
                <a:gd name="T12" fmla="*/ 26 w 115"/>
                <a:gd name="T13" fmla="*/ 155 h 159"/>
                <a:gd name="T14" fmla="*/ 31 w 115"/>
                <a:gd name="T15" fmla="*/ 151 h 159"/>
                <a:gd name="T16" fmla="*/ 33 w 115"/>
                <a:gd name="T17" fmla="*/ 148 h 159"/>
                <a:gd name="T18" fmla="*/ 38 w 115"/>
                <a:gd name="T19" fmla="*/ 141 h 159"/>
                <a:gd name="T20" fmla="*/ 43 w 115"/>
                <a:gd name="T21" fmla="*/ 140 h 159"/>
                <a:gd name="T22" fmla="*/ 51 w 115"/>
                <a:gd name="T23" fmla="*/ 137 h 159"/>
                <a:gd name="T24" fmla="*/ 65 w 115"/>
                <a:gd name="T25" fmla="*/ 129 h 159"/>
                <a:gd name="T26" fmla="*/ 66 w 115"/>
                <a:gd name="T27" fmla="*/ 125 h 159"/>
                <a:gd name="T28" fmla="*/ 67 w 115"/>
                <a:gd name="T29" fmla="*/ 122 h 159"/>
                <a:gd name="T30" fmla="*/ 68 w 115"/>
                <a:gd name="T31" fmla="*/ 119 h 159"/>
                <a:gd name="T32" fmla="*/ 85 w 115"/>
                <a:gd name="T33" fmla="*/ 104 h 159"/>
                <a:gd name="T34" fmla="*/ 87 w 115"/>
                <a:gd name="T35" fmla="*/ 104 h 159"/>
                <a:gd name="T36" fmla="*/ 92 w 115"/>
                <a:gd name="T37" fmla="*/ 99 h 159"/>
                <a:gd name="T38" fmla="*/ 95 w 115"/>
                <a:gd name="T39" fmla="*/ 96 h 159"/>
                <a:gd name="T40" fmla="*/ 96 w 115"/>
                <a:gd name="T41" fmla="*/ 96 h 159"/>
                <a:gd name="T42" fmla="*/ 99 w 115"/>
                <a:gd name="T43" fmla="*/ 96 h 159"/>
                <a:gd name="T44" fmla="*/ 102 w 115"/>
                <a:gd name="T45" fmla="*/ 98 h 159"/>
                <a:gd name="T46" fmla="*/ 105 w 115"/>
                <a:gd name="T47" fmla="*/ 99 h 159"/>
                <a:gd name="T48" fmla="*/ 108 w 115"/>
                <a:gd name="T49" fmla="*/ 100 h 159"/>
                <a:gd name="T50" fmla="*/ 109 w 115"/>
                <a:gd name="T51" fmla="*/ 100 h 159"/>
                <a:gd name="T52" fmla="*/ 112 w 115"/>
                <a:gd name="T53" fmla="*/ 101 h 159"/>
                <a:gd name="T54" fmla="*/ 112 w 115"/>
                <a:gd name="T55" fmla="*/ 100 h 159"/>
                <a:gd name="T56" fmla="*/ 113 w 115"/>
                <a:gd name="T57" fmla="*/ 98 h 159"/>
                <a:gd name="T58" fmla="*/ 114 w 115"/>
                <a:gd name="T59" fmla="*/ 93 h 159"/>
                <a:gd name="T60" fmla="*/ 114 w 115"/>
                <a:gd name="T61" fmla="*/ 90 h 159"/>
                <a:gd name="T62" fmla="*/ 111 w 115"/>
                <a:gd name="T63" fmla="*/ 86 h 159"/>
                <a:gd name="T64" fmla="*/ 105 w 115"/>
                <a:gd name="T65" fmla="*/ 83 h 159"/>
                <a:gd name="T66" fmla="*/ 99 w 115"/>
                <a:gd name="T67" fmla="*/ 81 h 159"/>
                <a:gd name="T68" fmla="*/ 95 w 115"/>
                <a:gd name="T69" fmla="*/ 82 h 159"/>
                <a:gd name="T70" fmla="*/ 87 w 115"/>
                <a:gd name="T71" fmla="*/ 79 h 159"/>
                <a:gd name="T72" fmla="*/ 78 w 115"/>
                <a:gd name="T73" fmla="*/ 73 h 159"/>
                <a:gd name="T74" fmla="*/ 73 w 115"/>
                <a:gd name="T75" fmla="*/ 70 h 159"/>
                <a:gd name="T76" fmla="*/ 51 w 115"/>
                <a:gd name="T77" fmla="*/ 56 h 159"/>
                <a:gd name="T78" fmla="*/ 45 w 115"/>
                <a:gd name="T79" fmla="*/ 53 h 159"/>
                <a:gd name="T80" fmla="*/ 32 w 115"/>
                <a:gd name="T81" fmla="*/ 44 h 159"/>
                <a:gd name="T82" fmla="*/ 25 w 115"/>
                <a:gd name="T83" fmla="*/ 39 h 159"/>
                <a:gd name="T84" fmla="*/ 23 w 115"/>
                <a:gd name="T85" fmla="*/ 38 h 159"/>
                <a:gd name="T86" fmla="*/ 17 w 115"/>
                <a:gd name="T87" fmla="*/ 33 h 159"/>
                <a:gd name="T88" fmla="*/ 17 w 115"/>
                <a:gd name="T89" fmla="*/ 31 h 159"/>
                <a:gd name="T90" fmla="*/ 15 w 115"/>
                <a:gd name="T91" fmla="*/ 24 h 159"/>
                <a:gd name="T92" fmla="*/ 12 w 115"/>
                <a:gd name="T93" fmla="*/ 21 h 159"/>
                <a:gd name="T94" fmla="*/ 7 w 115"/>
                <a:gd name="T95" fmla="*/ 1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159">
                  <a:moveTo>
                    <a:pt x="0" y="0"/>
                  </a:moveTo>
                  <a:cubicBezTo>
                    <a:pt x="0" y="150"/>
                    <a:pt x="0" y="150"/>
                    <a:pt x="0" y="150"/>
                  </a:cubicBezTo>
                  <a:cubicBezTo>
                    <a:pt x="1" y="150"/>
                    <a:pt x="1" y="150"/>
                    <a:pt x="2" y="151"/>
                  </a:cubicBezTo>
                  <a:cubicBezTo>
                    <a:pt x="2" y="151"/>
                    <a:pt x="2" y="151"/>
                    <a:pt x="2" y="151"/>
                  </a:cubicBezTo>
                  <a:cubicBezTo>
                    <a:pt x="3" y="151"/>
                    <a:pt x="4" y="151"/>
                    <a:pt x="5" y="151"/>
                  </a:cubicBezTo>
                  <a:cubicBezTo>
                    <a:pt x="7" y="152"/>
                    <a:pt x="8" y="153"/>
                    <a:pt x="10" y="154"/>
                  </a:cubicBezTo>
                  <a:cubicBezTo>
                    <a:pt x="11" y="154"/>
                    <a:pt x="11" y="155"/>
                    <a:pt x="11" y="155"/>
                  </a:cubicBezTo>
                  <a:cubicBezTo>
                    <a:pt x="13" y="157"/>
                    <a:pt x="13" y="157"/>
                    <a:pt x="13" y="157"/>
                  </a:cubicBezTo>
                  <a:cubicBezTo>
                    <a:pt x="14" y="157"/>
                    <a:pt x="14" y="158"/>
                    <a:pt x="15" y="158"/>
                  </a:cubicBezTo>
                  <a:cubicBezTo>
                    <a:pt x="15" y="159"/>
                    <a:pt x="15" y="159"/>
                    <a:pt x="15" y="159"/>
                  </a:cubicBezTo>
                  <a:cubicBezTo>
                    <a:pt x="15" y="158"/>
                    <a:pt x="15" y="158"/>
                    <a:pt x="15" y="158"/>
                  </a:cubicBezTo>
                  <a:cubicBezTo>
                    <a:pt x="18" y="156"/>
                    <a:pt x="21" y="156"/>
                    <a:pt x="23" y="156"/>
                  </a:cubicBezTo>
                  <a:cubicBezTo>
                    <a:pt x="25" y="156"/>
                    <a:pt x="25" y="156"/>
                    <a:pt x="25" y="156"/>
                  </a:cubicBezTo>
                  <a:cubicBezTo>
                    <a:pt x="26" y="155"/>
                    <a:pt x="26" y="155"/>
                    <a:pt x="26" y="155"/>
                  </a:cubicBezTo>
                  <a:cubicBezTo>
                    <a:pt x="27" y="155"/>
                    <a:pt x="27" y="155"/>
                    <a:pt x="27" y="155"/>
                  </a:cubicBezTo>
                  <a:cubicBezTo>
                    <a:pt x="27" y="155"/>
                    <a:pt x="29" y="154"/>
                    <a:pt x="31" y="151"/>
                  </a:cubicBezTo>
                  <a:cubicBezTo>
                    <a:pt x="32" y="150"/>
                    <a:pt x="32" y="150"/>
                    <a:pt x="32" y="150"/>
                  </a:cubicBezTo>
                  <a:cubicBezTo>
                    <a:pt x="32" y="149"/>
                    <a:pt x="33" y="148"/>
                    <a:pt x="33" y="148"/>
                  </a:cubicBezTo>
                  <a:cubicBezTo>
                    <a:pt x="32" y="146"/>
                    <a:pt x="32" y="146"/>
                    <a:pt x="32" y="146"/>
                  </a:cubicBezTo>
                  <a:cubicBezTo>
                    <a:pt x="38" y="141"/>
                    <a:pt x="38" y="141"/>
                    <a:pt x="38" y="141"/>
                  </a:cubicBezTo>
                  <a:cubicBezTo>
                    <a:pt x="39" y="141"/>
                    <a:pt x="39" y="141"/>
                    <a:pt x="39" y="141"/>
                  </a:cubicBezTo>
                  <a:cubicBezTo>
                    <a:pt x="40" y="140"/>
                    <a:pt x="41" y="140"/>
                    <a:pt x="43" y="140"/>
                  </a:cubicBezTo>
                  <a:cubicBezTo>
                    <a:pt x="44" y="139"/>
                    <a:pt x="45" y="139"/>
                    <a:pt x="46" y="138"/>
                  </a:cubicBezTo>
                  <a:cubicBezTo>
                    <a:pt x="51" y="137"/>
                    <a:pt x="51" y="137"/>
                    <a:pt x="51" y="137"/>
                  </a:cubicBezTo>
                  <a:cubicBezTo>
                    <a:pt x="53" y="136"/>
                    <a:pt x="56" y="135"/>
                    <a:pt x="58" y="134"/>
                  </a:cubicBezTo>
                  <a:cubicBezTo>
                    <a:pt x="61" y="133"/>
                    <a:pt x="62" y="132"/>
                    <a:pt x="65" y="129"/>
                  </a:cubicBezTo>
                  <a:cubicBezTo>
                    <a:pt x="65" y="129"/>
                    <a:pt x="65" y="129"/>
                    <a:pt x="65" y="129"/>
                  </a:cubicBezTo>
                  <a:cubicBezTo>
                    <a:pt x="66" y="128"/>
                    <a:pt x="66" y="127"/>
                    <a:pt x="66" y="125"/>
                  </a:cubicBezTo>
                  <a:cubicBezTo>
                    <a:pt x="66" y="124"/>
                    <a:pt x="66" y="123"/>
                    <a:pt x="66" y="123"/>
                  </a:cubicBezTo>
                  <a:cubicBezTo>
                    <a:pt x="67" y="122"/>
                    <a:pt x="67" y="122"/>
                    <a:pt x="67" y="122"/>
                  </a:cubicBezTo>
                  <a:cubicBezTo>
                    <a:pt x="67" y="121"/>
                    <a:pt x="67" y="121"/>
                    <a:pt x="67" y="120"/>
                  </a:cubicBezTo>
                  <a:cubicBezTo>
                    <a:pt x="68" y="119"/>
                    <a:pt x="68" y="119"/>
                    <a:pt x="68" y="119"/>
                  </a:cubicBezTo>
                  <a:cubicBezTo>
                    <a:pt x="83" y="104"/>
                    <a:pt x="83" y="104"/>
                    <a:pt x="83" y="104"/>
                  </a:cubicBezTo>
                  <a:cubicBezTo>
                    <a:pt x="85" y="104"/>
                    <a:pt x="85" y="104"/>
                    <a:pt x="85" y="104"/>
                  </a:cubicBezTo>
                  <a:cubicBezTo>
                    <a:pt x="85" y="104"/>
                    <a:pt x="86" y="104"/>
                    <a:pt x="87" y="104"/>
                  </a:cubicBezTo>
                  <a:cubicBezTo>
                    <a:pt x="87" y="104"/>
                    <a:pt x="87" y="104"/>
                    <a:pt x="87" y="104"/>
                  </a:cubicBezTo>
                  <a:cubicBezTo>
                    <a:pt x="88" y="104"/>
                    <a:pt x="88" y="104"/>
                    <a:pt x="89" y="104"/>
                  </a:cubicBezTo>
                  <a:cubicBezTo>
                    <a:pt x="90" y="103"/>
                    <a:pt x="91" y="101"/>
                    <a:pt x="92" y="99"/>
                  </a:cubicBezTo>
                  <a:cubicBezTo>
                    <a:pt x="93" y="98"/>
                    <a:pt x="93" y="98"/>
                    <a:pt x="93" y="98"/>
                  </a:cubicBezTo>
                  <a:cubicBezTo>
                    <a:pt x="94" y="97"/>
                    <a:pt x="95" y="97"/>
                    <a:pt x="95" y="96"/>
                  </a:cubicBezTo>
                  <a:cubicBezTo>
                    <a:pt x="96" y="96"/>
                    <a:pt x="96" y="96"/>
                    <a:pt x="96" y="96"/>
                  </a:cubicBezTo>
                  <a:cubicBezTo>
                    <a:pt x="96" y="96"/>
                    <a:pt x="96" y="96"/>
                    <a:pt x="96" y="96"/>
                  </a:cubicBezTo>
                  <a:cubicBezTo>
                    <a:pt x="97" y="96"/>
                    <a:pt x="97" y="96"/>
                    <a:pt x="97" y="96"/>
                  </a:cubicBezTo>
                  <a:cubicBezTo>
                    <a:pt x="99" y="96"/>
                    <a:pt x="99" y="96"/>
                    <a:pt x="99" y="96"/>
                  </a:cubicBezTo>
                  <a:cubicBezTo>
                    <a:pt x="100" y="96"/>
                    <a:pt x="100" y="97"/>
                    <a:pt x="101" y="97"/>
                  </a:cubicBezTo>
                  <a:cubicBezTo>
                    <a:pt x="102" y="98"/>
                    <a:pt x="102" y="98"/>
                    <a:pt x="102" y="98"/>
                  </a:cubicBezTo>
                  <a:cubicBezTo>
                    <a:pt x="102" y="98"/>
                    <a:pt x="103" y="98"/>
                    <a:pt x="103" y="98"/>
                  </a:cubicBezTo>
                  <a:cubicBezTo>
                    <a:pt x="104" y="98"/>
                    <a:pt x="104" y="99"/>
                    <a:pt x="105" y="99"/>
                  </a:cubicBezTo>
                  <a:cubicBezTo>
                    <a:pt x="106" y="100"/>
                    <a:pt x="106" y="100"/>
                    <a:pt x="106" y="100"/>
                  </a:cubicBezTo>
                  <a:cubicBezTo>
                    <a:pt x="107" y="100"/>
                    <a:pt x="107" y="100"/>
                    <a:pt x="108" y="100"/>
                  </a:cubicBezTo>
                  <a:cubicBezTo>
                    <a:pt x="108" y="100"/>
                    <a:pt x="108" y="100"/>
                    <a:pt x="109" y="100"/>
                  </a:cubicBezTo>
                  <a:cubicBezTo>
                    <a:pt x="109" y="100"/>
                    <a:pt x="109" y="100"/>
                    <a:pt x="109" y="100"/>
                  </a:cubicBezTo>
                  <a:cubicBezTo>
                    <a:pt x="109" y="100"/>
                    <a:pt x="110" y="101"/>
                    <a:pt x="110" y="101"/>
                  </a:cubicBezTo>
                  <a:cubicBezTo>
                    <a:pt x="112" y="101"/>
                    <a:pt x="112" y="101"/>
                    <a:pt x="112" y="101"/>
                  </a:cubicBezTo>
                  <a:cubicBezTo>
                    <a:pt x="112" y="100"/>
                    <a:pt x="112" y="100"/>
                    <a:pt x="112" y="100"/>
                  </a:cubicBezTo>
                  <a:cubicBezTo>
                    <a:pt x="112" y="100"/>
                    <a:pt x="112" y="100"/>
                    <a:pt x="112" y="100"/>
                  </a:cubicBezTo>
                  <a:cubicBezTo>
                    <a:pt x="113" y="100"/>
                    <a:pt x="113" y="99"/>
                    <a:pt x="113" y="98"/>
                  </a:cubicBezTo>
                  <a:cubicBezTo>
                    <a:pt x="113" y="98"/>
                    <a:pt x="113" y="98"/>
                    <a:pt x="113" y="98"/>
                  </a:cubicBezTo>
                  <a:cubicBezTo>
                    <a:pt x="113" y="97"/>
                    <a:pt x="113" y="97"/>
                    <a:pt x="113" y="96"/>
                  </a:cubicBezTo>
                  <a:cubicBezTo>
                    <a:pt x="114" y="93"/>
                    <a:pt x="114" y="93"/>
                    <a:pt x="114" y="93"/>
                  </a:cubicBezTo>
                  <a:cubicBezTo>
                    <a:pt x="114" y="92"/>
                    <a:pt x="114" y="91"/>
                    <a:pt x="114" y="90"/>
                  </a:cubicBezTo>
                  <a:cubicBezTo>
                    <a:pt x="114" y="90"/>
                    <a:pt x="114" y="90"/>
                    <a:pt x="114" y="90"/>
                  </a:cubicBezTo>
                  <a:cubicBezTo>
                    <a:pt x="114" y="89"/>
                    <a:pt x="115" y="89"/>
                    <a:pt x="115" y="88"/>
                  </a:cubicBezTo>
                  <a:cubicBezTo>
                    <a:pt x="111" y="86"/>
                    <a:pt x="111" y="86"/>
                    <a:pt x="111" y="86"/>
                  </a:cubicBezTo>
                  <a:cubicBezTo>
                    <a:pt x="109" y="85"/>
                    <a:pt x="107" y="85"/>
                    <a:pt x="106" y="84"/>
                  </a:cubicBezTo>
                  <a:cubicBezTo>
                    <a:pt x="105" y="83"/>
                    <a:pt x="105" y="83"/>
                    <a:pt x="105" y="83"/>
                  </a:cubicBezTo>
                  <a:cubicBezTo>
                    <a:pt x="101" y="81"/>
                    <a:pt x="100" y="81"/>
                    <a:pt x="100" y="81"/>
                  </a:cubicBezTo>
                  <a:cubicBezTo>
                    <a:pt x="99" y="81"/>
                    <a:pt x="99" y="81"/>
                    <a:pt x="99" y="81"/>
                  </a:cubicBezTo>
                  <a:cubicBezTo>
                    <a:pt x="99" y="82"/>
                    <a:pt x="98" y="82"/>
                    <a:pt x="97" y="82"/>
                  </a:cubicBezTo>
                  <a:cubicBezTo>
                    <a:pt x="96" y="82"/>
                    <a:pt x="96" y="82"/>
                    <a:pt x="95" y="82"/>
                  </a:cubicBezTo>
                  <a:cubicBezTo>
                    <a:pt x="92" y="82"/>
                    <a:pt x="90" y="81"/>
                    <a:pt x="88" y="79"/>
                  </a:cubicBezTo>
                  <a:cubicBezTo>
                    <a:pt x="87" y="79"/>
                    <a:pt x="87" y="79"/>
                    <a:pt x="87" y="79"/>
                  </a:cubicBezTo>
                  <a:cubicBezTo>
                    <a:pt x="86" y="78"/>
                    <a:pt x="85" y="77"/>
                    <a:pt x="84" y="77"/>
                  </a:cubicBezTo>
                  <a:cubicBezTo>
                    <a:pt x="83" y="76"/>
                    <a:pt x="81" y="74"/>
                    <a:pt x="78" y="73"/>
                  </a:cubicBezTo>
                  <a:cubicBezTo>
                    <a:pt x="78" y="72"/>
                    <a:pt x="77" y="72"/>
                    <a:pt x="76" y="71"/>
                  </a:cubicBezTo>
                  <a:cubicBezTo>
                    <a:pt x="75" y="71"/>
                    <a:pt x="74" y="70"/>
                    <a:pt x="73" y="70"/>
                  </a:cubicBezTo>
                  <a:cubicBezTo>
                    <a:pt x="70" y="68"/>
                    <a:pt x="67" y="66"/>
                    <a:pt x="64" y="63"/>
                  </a:cubicBezTo>
                  <a:cubicBezTo>
                    <a:pt x="60" y="60"/>
                    <a:pt x="55" y="58"/>
                    <a:pt x="51" y="56"/>
                  </a:cubicBezTo>
                  <a:cubicBezTo>
                    <a:pt x="48" y="54"/>
                    <a:pt x="48" y="54"/>
                    <a:pt x="48" y="54"/>
                  </a:cubicBezTo>
                  <a:cubicBezTo>
                    <a:pt x="47" y="54"/>
                    <a:pt x="46" y="53"/>
                    <a:pt x="45" y="53"/>
                  </a:cubicBezTo>
                  <a:cubicBezTo>
                    <a:pt x="41" y="51"/>
                    <a:pt x="37" y="48"/>
                    <a:pt x="34" y="45"/>
                  </a:cubicBezTo>
                  <a:cubicBezTo>
                    <a:pt x="32" y="44"/>
                    <a:pt x="32" y="44"/>
                    <a:pt x="32" y="44"/>
                  </a:cubicBezTo>
                  <a:cubicBezTo>
                    <a:pt x="31" y="43"/>
                    <a:pt x="30" y="43"/>
                    <a:pt x="29" y="42"/>
                  </a:cubicBezTo>
                  <a:cubicBezTo>
                    <a:pt x="25" y="39"/>
                    <a:pt x="25" y="39"/>
                    <a:pt x="25" y="39"/>
                  </a:cubicBezTo>
                  <a:cubicBezTo>
                    <a:pt x="25" y="39"/>
                    <a:pt x="24" y="38"/>
                    <a:pt x="23" y="38"/>
                  </a:cubicBezTo>
                  <a:cubicBezTo>
                    <a:pt x="23" y="38"/>
                    <a:pt x="23" y="38"/>
                    <a:pt x="23" y="38"/>
                  </a:cubicBezTo>
                  <a:cubicBezTo>
                    <a:pt x="21" y="37"/>
                    <a:pt x="19" y="35"/>
                    <a:pt x="18" y="34"/>
                  </a:cubicBezTo>
                  <a:cubicBezTo>
                    <a:pt x="18" y="33"/>
                    <a:pt x="17" y="33"/>
                    <a:pt x="17" y="33"/>
                  </a:cubicBezTo>
                  <a:cubicBezTo>
                    <a:pt x="17" y="32"/>
                    <a:pt x="17" y="32"/>
                    <a:pt x="17" y="32"/>
                  </a:cubicBezTo>
                  <a:cubicBezTo>
                    <a:pt x="17" y="31"/>
                    <a:pt x="17" y="31"/>
                    <a:pt x="17" y="31"/>
                  </a:cubicBezTo>
                  <a:cubicBezTo>
                    <a:pt x="16" y="30"/>
                    <a:pt x="16" y="28"/>
                    <a:pt x="15" y="27"/>
                  </a:cubicBezTo>
                  <a:cubicBezTo>
                    <a:pt x="15" y="26"/>
                    <a:pt x="15" y="25"/>
                    <a:pt x="15" y="24"/>
                  </a:cubicBezTo>
                  <a:cubicBezTo>
                    <a:pt x="14" y="24"/>
                    <a:pt x="14" y="24"/>
                    <a:pt x="14" y="24"/>
                  </a:cubicBezTo>
                  <a:cubicBezTo>
                    <a:pt x="14" y="23"/>
                    <a:pt x="13" y="22"/>
                    <a:pt x="12" y="21"/>
                  </a:cubicBezTo>
                  <a:cubicBezTo>
                    <a:pt x="11" y="20"/>
                    <a:pt x="10" y="19"/>
                    <a:pt x="9" y="17"/>
                  </a:cubicBezTo>
                  <a:cubicBezTo>
                    <a:pt x="9" y="16"/>
                    <a:pt x="8" y="14"/>
                    <a:pt x="7" y="13"/>
                  </a:cubicBezTo>
                  <a:cubicBezTo>
                    <a:pt x="5" y="8"/>
                    <a:pt x="3"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6" name="Rectangle 1535">
              <a:extLst>
                <a:ext uri="{FF2B5EF4-FFF2-40B4-BE49-F238E27FC236}">
                  <a16:creationId xmlns:a16="http://schemas.microsoft.com/office/drawing/2014/main" id="{B1069558-089D-4655-8E71-66EE7A109A35}"/>
                </a:ext>
              </a:extLst>
            </p:cNvPr>
            <p:cNvSpPr>
              <a:spLocks noChangeArrowheads="1"/>
            </p:cNvSpPr>
            <p:nvPr/>
          </p:nvSpPr>
          <p:spPr bwMode="auto">
            <a:xfrm>
              <a:off x="574520" y="1746381"/>
              <a:ext cx="2685"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7" name="Freeform 1536">
              <a:extLst>
                <a:ext uri="{FF2B5EF4-FFF2-40B4-BE49-F238E27FC236}">
                  <a16:creationId xmlns:a16="http://schemas.microsoft.com/office/drawing/2014/main" id="{01D52033-7EC2-4AA8-A2AF-48D75C9CD2C1}"/>
                </a:ext>
              </a:extLst>
            </p:cNvPr>
            <p:cNvSpPr>
              <a:spLocks/>
            </p:cNvSpPr>
            <p:nvPr/>
          </p:nvSpPr>
          <p:spPr bwMode="auto">
            <a:xfrm>
              <a:off x="574520" y="1746381"/>
              <a:ext cx="2685" cy="0"/>
            </a:xfrm>
            <a:custGeom>
              <a:avLst/>
              <a:gdLst>
                <a:gd name="T0" fmla="*/ 2 w 2"/>
                <a:gd name="T1" fmla="*/ 0 w 2"/>
                <a:gd name="T2" fmla="*/ 0 w 2"/>
                <a:gd name="T3" fmla="*/ 2 w 2"/>
              </a:gdLst>
              <a:ahLst/>
              <a:cxnLst>
                <a:cxn ang="0">
                  <a:pos x="T0" y="0"/>
                </a:cxn>
                <a:cxn ang="0">
                  <a:pos x="T1" y="0"/>
                </a:cxn>
                <a:cxn ang="0">
                  <a:pos x="T2" y="0"/>
                </a:cxn>
                <a:cxn ang="0">
                  <a:pos x="T3" y="0"/>
                </a:cxn>
              </a:cxnLst>
              <a:rect l="0" t="0" r="r" b="b"/>
              <a:pathLst>
                <a:path w="2">
                  <a:moveTo>
                    <a:pt x="2" y="0"/>
                  </a:moveTo>
                  <a:lnTo>
                    <a:pt x="0" y="0"/>
                  </a:lnTo>
                  <a:lnTo>
                    <a:pt x="0"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8" name="Freeform 1537">
              <a:extLst>
                <a:ext uri="{FF2B5EF4-FFF2-40B4-BE49-F238E27FC236}">
                  <a16:creationId xmlns:a16="http://schemas.microsoft.com/office/drawing/2014/main" id="{5A41BCF7-102C-4ED4-8697-1E1D1E4AB509}"/>
                </a:ext>
              </a:extLst>
            </p:cNvPr>
            <p:cNvSpPr>
              <a:spLocks/>
            </p:cNvSpPr>
            <p:nvPr/>
          </p:nvSpPr>
          <p:spPr bwMode="auto">
            <a:xfrm>
              <a:off x="434917" y="1746381"/>
              <a:ext cx="558412" cy="284575"/>
            </a:xfrm>
            <a:custGeom>
              <a:avLst/>
              <a:gdLst>
                <a:gd name="T0" fmla="*/ 37 w 176"/>
                <a:gd name="T1" fmla="*/ 4 h 90"/>
                <a:gd name="T2" fmla="*/ 35 w 176"/>
                <a:gd name="T3" fmla="*/ 4 h 90"/>
                <a:gd name="T4" fmla="*/ 34 w 176"/>
                <a:gd name="T5" fmla="*/ 19 h 90"/>
                <a:gd name="T6" fmla="*/ 29 w 176"/>
                <a:gd name="T7" fmla="*/ 9 h 90"/>
                <a:gd name="T8" fmla="*/ 23 w 176"/>
                <a:gd name="T9" fmla="*/ 18 h 90"/>
                <a:gd name="T10" fmla="*/ 16 w 176"/>
                <a:gd name="T11" fmla="*/ 18 h 90"/>
                <a:gd name="T12" fmla="*/ 6 w 176"/>
                <a:gd name="T13" fmla="*/ 16 h 90"/>
                <a:gd name="T14" fmla="*/ 4 w 176"/>
                <a:gd name="T15" fmla="*/ 17 h 90"/>
                <a:gd name="T16" fmla="*/ 1 w 176"/>
                <a:gd name="T17" fmla="*/ 22 h 90"/>
                <a:gd name="T18" fmla="*/ 4 w 176"/>
                <a:gd name="T19" fmla="*/ 25 h 90"/>
                <a:gd name="T20" fmla="*/ 19 w 176"/>
                <a:gd name="T21" fmla="*/ 32 h 90"/>
                <a:gd name="T22" fmla="*/ 18 w 176"/>
                <a:gd name="T23" fmla="*/ 44 h 90"/>
                <a:gd name="T24" fmla="*/ 20 w 176"/>
                <a:gd name="T25" fmla="*/ 47 h 90"/>
                <a:gd name="T26" fmla="*/ 15 w 176"/>
                <a:gd name="T27" fmla="*/ 68 h 90"/>
                <a:gd name="T28" fmla="*/ 11 w 176"/>
                <a:gd name="T29" fmla="*/ 76 h 90"/>
                <a:gd name="T30" fmla="*/ 13 w 176"/>
                <a:gd name="T31" fmla="*/ 83 h 90"/>
                <a:gd name="T32" fmla="*/ 18 w 176"/>
                <a:gd name="T33" fmla="*/ 80 h 90"/>
                <a:gd name="T34" fmla="*/ 29 w 176"/>
                <a:gd name="T35" fmla="*/ 75 h 90"/>
                <a:gd name="T36" fmla="*/ 30 w 176"/>
                <a:gd name="T37" fmla="*/ 74 h 90"/>
                <a:gd name="T38" fmla="*/ 38 w 176"/>
                <a:gd name="T39" fmla="*/ 76 h 90"/>
                <a:gd name="T40" fmla="*/ 42 w 176"/>
                <a:gd name="T41" fmla="*/ 79 h 90"/>
                <a:gd name="T42" fmla="*/ 43 w 176"/>
                <a:gd name="T43" fmla="*/ 75 h 90"/>
                <a:gd name="T44" fmla="*/ 45 w 176"/>
                <a:gd name="T45" fmla="*/ 69 h 90"/>
                <a:gd name="T46" fmla="*/ 58 w 176"/>
                <a:gd name="T47" fmla="*/ 67 h 90"/>
                <a:gd name="T48" fmla="*/ 62 w 176"/>
                <a:gd name="T49" fmla="*/ 67 h 90"/>
                <a:gd name="T50" fmla="*/ 62 w 176"/>
                <a:gd name="T51" fmla="*/ 65 h 90"/>
                <a:gd name="T52" fmla="*/ 62 w 176"/>
                <a:gd name="T53" fmla="*/ 57 h 90"/>
                <a:gd name="T54" fmla="*/ 70 w 176"/>
                <a:gd name="T55" fmla="*/ 51 h 90"/>
                <a:gd name="T56" fmla="*/ 81 w 176"/>
                <a:gd name="T57" fmla="*/ 42 h 90"/>
                <a:gd name="T58" fmla="*/ 87 w 176"/>
                <a:gd name="T59" fmla="*/ 45 h 90"/>
                <a:gd name="T60" fmla="*/ 91 w 176"/>
                <a:gd name="T61" fmla="*/ 45 h 90"/>
                <a:gd name="T62" fmla="*/ 91 w 176"/>
                <a:gd name="T63" fmla="*/ 49 h 90"/>
                <a:gd name="T64" fmla="*/ 96 w 176"/>
                <a:gd name="T65" fmla="*/ 57 h 90"/>
                <a:gd name="T66" fmla="*/ 97 w 176"/>
                <a:gd name="T67" fmla="*/ 78 h 90"/>
                <a:gd name="T68" fmla="*/ 96 w 176"/>
                <a:gd name="T69" fmla="*/ 80 h 90"/>
                <a:gd name="T70" fmla="*/ 97 w 176"/>
                <a:gd name="T71" fmla="*/ 86 h 90"/>
                <a:gd name="T72" fmla="*/ 99 w 176"/>
                <a:gd name="T73" fmla="*/ 90 h 90"/>
                <a:gd name="T74" fmla="*/ 113 w 176"/>
                <a:gd name="T75" fmla="*/ 84 h 90"/>
                <a:gd name="T76" fmla="*/ 135 w 176"/>
                <a:gd name="T77" fmla="*/ 70 h 90"/>
                <a:gd name="T78" fmla="*/ 149 w 176"/>
                <a:gd name="T79" fmla="*/ 74 h 90"/>
                <a:gd name="T80" fmla="*/ 156 w 176"/>
                <a:gd name="T81" fmla="*/ 73 h 90"/>
                <a:gd name="T82" fmla="*/ 161 w 176"/>
                <a:gd name="T83" fmla="*/ 71 h 90"/>
                <a:gd name="T84" fmla="*/ 174 w 176"/>
                <a:gd name="T85" fmla="*/ 75 h 90"/>
                <a:gd name="T86" fmla="*/ 173 w 176"/>
                <a:gd name="T87" fmla="*/ 67 h 90"/>
                <a:gd name="T88" fmla="*/ 171 w 176"/>
                <a:gd name="T89" fmla="*/ 50 h 90"/>
                <a:gd name="T90" fmla="*/ 165 w 176"/>
                <a:gd name="T91" fmla="*/ 45 h 90"/>
                <a:gd name="T92" fmla="*/ 160 w 176"/>
                <a:gd name="T93" fmla="*/ 42 h 90"/>
                <a:gd name="T94" fmla="*/ 154 w 176"/>
                <a:gd name="T95" fmla="*/ 43 h 90"/>
                <a:gd name="T96" fmla="*/ 149 w 176"/>
                <a:gd name="T97" fmla="*/ 44 h 90"/>
                <a:gd name="T98" fmla="*/ 144 w 176"/>
                <a:gd name="T99" fmla="*/ 31 h 90"/>
                <a:gd name="T100" fmla="*/ 139 w 176"/>
                <a:gd name="T101" fmla="*/ 33 h 90"/>
                <a:gd name="T102" fmla="*/ 141 w 176"/>
                <a:gd name="T103" fmla="*/ 24 h 90"/>
                <a:gd name="T104" fmla="*/ 137 w 176"/>
                <a:gd name="T105" fmla="*/ 22 h 90"/>
                <a:gd name="T106" fmla="*/ 120 w 176"/>
                <a:gd name="T107" fmla="*/ 23 h 90"/>
                <a:gd name="T108" fmla="*/ 110 w 176"/>
                <a:gd name="T109" fmla="*/ 27 h 90"/>
                <a:gd name="T110" fmla="*/ 100 w 176"/>
                <a:gd name="T111" fmla="*/ 26 h 90"/>
                <a:gd name="T112" fmla="*/ 97 w 176"/>
                <a:gd name="T113" fmla="*/ 21 h 90"/>
                <a:gd name="T114" fmla="*/ 95 w 176"/>
                <a:gd name="T115" fmla="*/ 20 h 90"/>
                <a:gd name="T116" fmla="*/ 84 w 176"/>
                <a:gd name="T117" fmla="*/ 22 h 90"/>
                <a:gd name="T118" fmla="*/ 83 w 176"/>
                <a:gd name="T119" fmla="*/ 22 h 90"/>
                <a:gd name="T120" fmla="*/ 70 w 176"/>
                <a:gd name="T121" fmla="*/ 19 h 90"/>
                <a:gd name="T122" fmla="*/ 40 w 176"/>
                <a:gd name="T123" fmla="*/ 19 h 90"/>
                <a:gd name="T124" fmla="*/ 40 w 176"/>
                <a:gd name="T12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90">
                  <a:moveTo>
                    <a:pt x="39" y="0"/>
                  </a:moveTo>
                  <a:cubicBezTo>
                    <a:pt x="39" y="1"/>
                    <a:pt x="38" y="2"/>
                    <a:pt x="38" y="3"/>
                  </a:cubicBezTo>
                  <a:cubicBezTo>
                    <a:pt x="37" y="4"/>
                    <a:pt x="37" y="4"/>
                    <a:pt x="37" y="4"/>
                  </a:cubicBezTo>
                  <a:cubicBezTo>
                    <a:pt x="36" y="4"/>
                    <a:pt x="36" y="4"/>
                    <a:pt x="36" y="4"/>
                  </a:cubicBezTo>
                  <a:cubicBezTo>
                    <a:pt x="35" y="4"/>
                    <a:pt x="35" y="4"/>
                    <a:pt x="35" y="4"/>
                  </a:cubicBezTo>
                  <a:cubicBezTo>
                    <a:pt x="35" y="4"/>
                    <a:pt x="35" y="4"/>
                    <a:pt x="35" y="4"/>
                  </a:cubicBezTo>
                  <a:cubicBezTo>
                    <a:pt x="35" y="5"/>
                    <a:pt x="35" y="5"/>
                    <a:pt x="35" y="5"/>
                  </a:cubicBezTo>
                  <a:cubicBezTo>
                    <a:pt x="35" y="5"/>
                    <a:pt x="35" y="6"/>
                    <a:pt x="35" y="6"/>
                  </a:cubicBezTo>
                  <a:cubicBezTo>
                    <a:pt x="34" y="19"/>
                    <a:pt x="34" y="19"/>
                    <a:pt x="34" y="19"/>
                  </a:cubicBezTo>
                  <a:cubicBezTo>
                    <a:pt x="30" y="8"/>
                    <a:pt x="30" y="8"/>
                    <a:pt x="30" y="8"/>
                  </a:cubicBezTo>
                  <a:cubicBezTo>
                    <a:pt x="29" y="9"/>
                    <a:pt x="29" y="9"/>
                    <a:pt x="29" y="9"/>
                  </a:cubicBezTo>
                  <a:cubicBezTo>
                    <a:pt x="29" y="9"/>
                    <a:pt x="29" y="9"/>
                    <a:pt x="29" y="9"/>
                  </a:cubicBezTo>
                  <a:cubicBezTo>
                    <a:pt x="28" y="15"/>
                    <a:pt x="27" y="17"/>
                    <a:pt x="25" y="18"/>
                  </a:cubicBezTo>
                  <a:cubicBezTo>
                    <a:pt x="24" y="18"/>
                    <a:pt x="24" y="18"/>
                    <a:pt x="24" y="18"/>
                  </a:cubicBezTo>
                  <a:cubicBezTo>
                    <a:pt x="24" y="18"/>
                    <a:pt x="23" y="18"/>
                    <a:pt x="23" y="18"/>
                  </a:cubicBezTo>
                  <a:cubicBezTo>
                    <a:pt x="22" y="18"/>
                    <a:pt x="22" y="18"/>
                    <a:pt x="21" y="18"/>
                  </a:cubicBezTo>
                  <a:cubicBezTo>
                    <a:pt x="20" y="18"/>
                    <a:pt x="20" y="18"/>
                    <a:pt x="20" y="18"/>
                  </a:cubicBezTo>
                  <a:cubicBezTo>
                    <a:pt x="19" y="18"/>
                    <a:pt x="18" y="18"/>
                    <a:pt x="16" y="18"/>
                  </a:cubicBezTo>
                  <a:cubicBezTo>
                    <a:pt x="14" y="17"/>
                    <a:pt x="11" y="17"/>
                    <a:pt x="8" y="16"/>
                  </a:cubicBezTo>
                  <a:cubicBezTo>
                    <a:pt x="7" y="16"/>
                    <a:pt x="7" y="16"/>
                    <a:pt x="6" y="16"/>
                  </a:cubicBezTo>
                  <a:cubicBezTo>
                    <a:pt x="6" y="16"/>
                    <a:pt x="6" y="16"/>
                    <a:pt x="6" y="16"/>
                  </a:cubicBezTo>
                  <a:cubicBezTo>
                    <a:pt x="5" y="16"/>
                    <a:pt x="5" y="16"/>
                    <a:pt x="5" y="16"/>
                  </a:cubicBezTo>
                  <a:cubicBezTo>
                    <a:pt x="5" y="17"/>
                    <a:pt x="5" y="17"/>
                    <a:pt x="5" y="17"/>
                  </a:cubicBezTo>
                  <a:cubicBezTo>
                    <a:pt x="5" y="17"/>
                    <a:pt x="4" y="17"/>
                    <a:pt x="4" y="17"/>
                  </a:cubicBezTo>
                  <a:cubicBezTo>
                    <a:pt x="3" y="18"/>
                    <a:pt x="3" y="18"/>
                    <a:pt x="3" y="18"/>
                  </a:cubicBezTo>
                  <a:cubicBezTo>
                    <a:pt x="1" y="19"/>
                    <a:pt x="1" y="19"/>
                    <a:pt x="0" y="21"/>
                  </a:cubicBezTo>
                  <a:cubicBezTo>
                    <a:pt x="1" y="22"/>
                    <a:pt x="1" y="22"/>
                    <a:pt x="1" y="22"/>
                  </a:cubicBezTo>
                  <a:cubicBezTo>
                    <a:pt x="1" y="22"/>
                    <a:pt x="2" y="23"/>
                    <a:pt x="2" y="24"/>
                  </a:cubicBezTo>
                  <a:cubicBezTo>
                    <a:pt x="3" y="24"/>
                    <a:pt x="3" y="24"/>
                    <a:pt x="3" y="24"/>
                  </a:cubicBezTo>
                  <a:cubicBezTo>
                    <a:pt x="3" y="24"/>
                    <a:pt x="4" y="25"/>
                    <a:pt x="4" y="25"/>
                  </a:cubicBezTo>
                  <a:cubicBezTo>
                    <a:pt x="6" y="27"/>
                    <a:pt x="6" y="27"/>
                    <a:pt x="9" y="27"/>
                  </a:cubicBezTo>
                  <a:cubicBezTo>
                    <a:pt x="10" y="27"/>
                    <a:pt x="11" y="27"/>
                    <a:pt x="12" y="28"/>
                  </a:cubicBezTo>
                  <a:cubicBezTo>
                    <a:pt x="15" y="28"/>
                    <a:pt x="18" y="29"/>
                    <a:pt x="19" y="32"/>
                  </a:cubicBezTo>
                  <a:cubicBezTo>
                    <a:pt x="19" y="32"/>
                    <a:pt x="19" y="33"/>
                    <a:pt x="19" y="34"/>
                  </a:cubicBezTo>
                  <a:cubicBezTo>
                    <a:pt x="20" y="35"/>
                    <a:pt x="19" y="37"/>
                    <a:pt x="18" y="40"/>
                  </a:cubicBezTo>
                  <a:cubicBezTo>
                    <a:pt x="18" y="44"/>
                    <a:pt x="18" y="44"/>
                    <a:pt x="18" y="44"/>
                  </a:cubicBezTo>
                  <a:cubicBezTo>
                    <a:pt x="18" y="44"/>
                    <a:pt x="18" y="44"/>
                    <a:pt x="18" y="45"/>
                  </a:cubicBezTo>
                  <a:cubicBezTo>
                    <a:pt x="19" y="45"/>
                    <a:pt x="19" y="45"/>
                    <a:pt x="19" y="45"/>
                  </a:cubicBezTo>
                  <a:cubicBezTo>
                    <a:pt x="20" y="47"/>
                    <a:pt x="20" y="47"/>
                    <a:pt x="20" y="47"/>
                  </a:cubicBezTo>
                  <a:cubicBezTo>
                    <a:pt x="21" y="48"/>
                    <a:pt x="22" y="48"/>
                    <a:pt x="22" y="49"/>
                  </a:cubicBezTo>
                  <a:cubicBezTo>
                    <a:pt x="26" y="53"/>
                    <a:pt x="20" y="61"/>
                    <a:pt x="16" y="66"/>
                  </a:cubicBezTo>
                  <a:cubicBezTo>
                    <a:pt x="16" y="67"/>
                    <a:pt x="15" y="67"/>
                    <a:pt x="15" y="68"/>
                  </a:cubicBezTo>
                  <a:cubicBezTo>
                    <a:pt x="13" y="70"/>
                    <a:pt x="13" y="70"/>
                    <a:pt x="13" y="70"/>
                  </a:cubicBezTo>
                  <a:cubicBezTo>
                    <a:pt x="13" y="71"/>
                    <a:pt x="12" y="72"/>
                    <a:pt x="11" y="73"/>
                  </a:cubicBezTo>
                  <a:cubicBezTo>
                    <a:pt x="11" y="74"/>
                    <a:pt x="11" y="75"/>
                    <a:pt x="11" y="76"/>
                  </a:cubicBezTo>
                  <a:cubicBezTo>
                    <a:pt x="11" y="77"/>
                    <a:pt x="11" y="79"/>
                    <a:pt x="10" y="80"/>
                  </a:cubicBezTo>
                  <a:cubicBezTo>
                    <a:pt x="10" y="80"/>
                    <a:pt x="10" y="81"/>
                    <a:pt x="10" y="81"/>
                  </a:cubicBezTo>
                  <a:cubicBezTo>
                    <a:pt x="13" y="83"/>
                    <a:pt x="13" y="83"/>
                    <a:pt x="13" y="83"/>
                  </a:cubicBezTo>
                  <a:cubicBezTo>
                    <a:pt x="13" y="83"/>
                    <a:pt x="13" y="83"/>
                    <a:pt x="13" y="83"/>
                  </a:cubicBezTo>
                  <a:cubicBezTo>
                    <a:pt x="14" y="83"/>
                    <a:pt x="14" y="83"/>
                    <a:pt x="14" y="83"/>
                  </a:cubicBezTo>
                  <a:cubicBezTo>
                    <a:pt x="16" y="81"/>
                    <a:pt x="17" y="80"/>
                    <a:pt x="18" y="80"/>
                  </a:cubicBezTo>
                  <a:cubicBezTo>
                    <a:pt x="19" y="79"/>
                    <a:pt x="20" y="79"/>
                    <a:pt x="21" y="78"/>
                  </a:cubicBezTo>
                  <a:cubicBezTo>
                    <a:pt x="23" y="78"/>
                    <a:pt x="25" y="77"/>
                    <a:pt x="27" y="76"/>
                  </a:cubicBezTo>
                  <a:cubicBezTo>
                    <a:pt x="28" y="76"/>
                    <a:pt x="28" y="76"/>
                    <a:pt x="29" y="75"/>
                  </a:cubicBezTo>
                  <a:cubicBezTo>
                    <a:pt x="30" y="76"/>
                    <a:pt x="30" y="76"/>
                    <a:pt x="30" y="76"/>
                  </a:cubicBezTo>
                  <a:cubicBezTo>
                    <a:pt x="29" y="75"/>
                    <a:pt x="29" y="75"/>
                    <a:pt x="29" y="75"/>
                  </a:cubicBezTo>
                  <a:cubicBezTo>
                    <a:pt x="29" y="75"/>
                    <a:pt x="30" y="75"/>
                    <a:pt x="30" y="74"/>
                  </a:cubicBezTo>
                  <a:cubicBezTo>
                    <a:pt x="32" y="74"/>
                    <a:pt x="33" y="74"/>
                    <a:pt x="34" y="74"/>
                  </a:cubicBezTo>
                  <a:cubicBezTo>
                    <a:pt x="35" y="74"/>
                    <a:pt x="36" y="74"/>
                    <a:pt x="37" y="75"/>
                  </a:cubicBezTo>
                  <a:cubicBezTo>
                    <a:pt x="38" y="75"/>
                    <a:pt x="38" y="76"/>
                    <a:pt x="38" y="76"/>
                  </a:cubicBezTo>
                  <a:cubicBezTo>
                    <a:pt x="40" y="78"/>
                    <a:pt x="40" y="78"/>
                    <a:pt x="40" y="78"/>
                  </a:cubicBezTo>
                  <a:cubicBezTo>
                    <a:pt x="41" y="78"/>
                    <a:pt x="42" y="79"/>
                    <a:pt x="42" y="79"/>
                  </a:cubicBezTo>
                  <a:cubicBezTo>
                    <a:pt x="42" y="79"/>
                    <a:pt x="42" y="79"/>
                    <a:pt x="42" y="79"/>
                  </a:cubicBezTo>
                  <a:cubicBezTo>
                    <a:pt x="43" y="78"/>
                    <a:pt x="43" y="78"/>
                    <a:pt x="43" y="78"/>
                  </a:cubicBezTo>
                  <a:cubicBezTo>
                    <a:pt x="43" y="77"/>
                    <a:pt x="43" y="77"/>
                    <a:pt x="43" y="77"/>
                  </a:cubicBezTo>
                  <a:cubicBezTo>
                    <a:pt x="43" y="77"/>
                    <a:pt x="43" y="76"/>
                    <a:pt x="43" y="75"/>
                  </a:cubicBezTo>
                  <a:cubicBezTo>
                    <a:pt x="44" y="74"/>
                    <a:pt x="44" y="74"/>
                    <a:pt x="44" y="74"/>
                  </a:cubicBezTo>
                  <a:cubicBezTo>
                    <a:pt x="44" y="73"/>
                    <a:pt x="44" y="71"/>
                    <a:pt x="45" y="69"/>
                  </a:cubicBezTo>
                  <a:cubicBezTo>
                    <a:pt x="45" y="69"/>
                    <a:pt x="45" y="69"/>
                    <a:pt x="45" y="69"/>
                  </a:cubicBezTo>
                  <a:cubicBezTo>
                    <a:pt x="46" y="67"/>
                    <a:pt x="48" y="66"/>
                    <a:pt x="51" y="66"/>
                  </a:cubicBezTo>
                  <a:cubicBezTo>
                    <a:pt x="53" y="66"/>
                    <a:pt x="55" y="66"/>
                    <a:pt x="56" y="66"/>
                  </a:cubicBezTo>
                  <a:cubicBezTo>
                    <a:pt x="57" y="67"/>
                    <a:pt x="57" y="67"/>
                    <a:pt x="58" y="67"/>
                  </a:cubicBezTo>
                  <a:cubicBezTo>
                    <a:pt x="59" y="67"/>
                    <a:pt x="60" y="67"/>
                    <a:pt x="61" y="67"/>
                  </a:cubicBezTo>
                  <a:cubicBezTo>
                    <a:pt x="62" y="67"/>
                    <a:pt x="62" y="67"/>
                    <a:pt x="62" y="67"/>
                  </a:cubicBezTo>
                  <a:cubicBezTo>
                    <a:pt x="62" y="67"/>
                    <a:pt x="62" y="67"/>
                    <a:pt x="62" y="67"/>
                  </a:cubicBezTo>
                  <a:cubicBezTo>
                    <a:pt x="62" y="67"/>
                    <a:pt x="62" y="67"/>
                    <a:pt x="62" y="67"/>
                  </a:cubicBezTo>
                  <a:cubicBezTo>
                    <a:pt x="63" y="66"/>
                    <a:pt x="63" y="66"/>
                    <a:pt x="63" y="66"/>
                  </a:cubicBezTo>
                  <a:cubicBezTo>
                    <a:pt x="62" y="65"/>
                    <a:pt x="62" y="65"/>
                    <a:pt x="62" y="65"/>
                  </a:cubicBezTo>
                  <a:cubicBezTo>
                    <a:pt x="62" y="65"/>
                    <a:pt x="62" y="65"/>
                    <a:pt x="62" y="65"/>
                  </a:cubicBezTo>
                  <a:cubicBezTo>
                    <a:pt x="61" y="64"/>
                    <a:pt x="60" y="63"/>
                    <a:pt x="60" y="62"/>
                  </a:cubicBezTo>
                  <a:cubicBezTo>
                    <a:pt x="60" y="61"/>
                    <a:pt x="60" y="59"/>
                    <a:pt x="62" y="57"/>
                  </a:cubicBezTo>
                  <a:cubicBezTo>
                    <a:pt x="63" y="56"/>
                    <a:pt x="65" y="55"/>
                    <a:pt x="66" y="54"/>
                  </a:cubicBezTo>
                  <a:cubicBezTo>
                    <a:pt x="67" y="53"/>
                    <a:pt x="68" y="52"/>
                    <a:pt x="69" y="51"/>
                  </a:cubicBezTo>
                  <a:cubicBezTo>
                    <a:pt x="70" y="51"/>
                    <a:pt x="70" y="51"/>
                    <a:pt x="70" y="51"/>
                  </a:cubicBezTo>
                  <a:cubicBezTo>
                    <a:pt x="69" y="50"/>
                    <a:pt x="69" y="50"/>
                    <a:pt x="69" y="50"/>
                  </a:cubicBezTo>
                  <a:cubicBezTo>
                    <a:pt x="71" y="48"/>
                    <a:pt x="73" y="46"/>
                    <a:pt x="75" y="44"/>
                  </a:cubicBezTo>
                  <a:cubicBezTo>
                    <a:pt x="77" y="43"/>
                    <a:pt x="79" y="43"/>
                    <a:pt x="81" y="42"/>
                  </a:cubicBezTo>
                  <a:cubicBezTo>
                    <a:pt x="82" y="42"/>
                    <a:pt x="82" y="42"/>
                    <a:pt x="82" y="42"/>
                  </a:cubicBezTo>
                  <a:cubicBezTo>
                    <a:pt x="84" y="43"/>
                    <a:pt x="84" y="43"/>
                    <a:pt x="84" y="43"/>
                  </a:cubicBezTo>
                  <a:cubicBezTo>
                    <a:pt x="85" y="43"/>
                    <a:pt x="86" y="44"/>
                    <a:pt x="87" y="45"/>
                  </a:cubicBezTo>
                  <a:cubicBezTo>
                    <a:pt x="87" y="45"/>
                    <a:pt x="88" y="46"/>
                    <a:pt x="88" y="46"/>
                  </a:cubicBezTo>
                  <a:cubicBezTo>
                    <a:pt x="92" y="43"/>
                    <a:pt x="92" y="43"/>
                    <a:pt x="92" y="43"/>
                  </a:cubicBezTo>
                  <a:cubicBezTo>
                    <a:pt x="91" y="45"/>
                    <a:pt x="91" y="45"/>
                    <a:pt x="91" y="45"/>
                  </a:cubicBezTo>
                  <a:cubicBezTo>
                    <a:pt x="92" y="44"/>
                    <a:pt x="92" y="44"/>
                    <a:pt x="92" y="44"/>
                  </a:cubicBezTo>
                  <a:cubicBezTo>
                    <a:pt x="90" y="48"/>
                    <a:pt x="90" y="48"/>
                    <a:pt x="90" y="48"/>
                  </a:cubicBezTo>
                  <a:cubicBezTo>
                    <a:pt x="91" y="49"/>
                    <a:pt x="91" y="49"/>
                    <a:pt x="91" y="49"/>
                  </a:cubicBezTo>
                  <a:cubicBezTo>
                    <a:pt x="91" y="50"/>
                    <a:pt x="92" y="50"/>
                    <a:pt x="92" y="51"/>
                  </a:cubicBezTo>
                  <a:cubicBezTo>
                    <a:pt x="93" y="52"/>
                    <a:pt x="93" y="54"/>
                    <a:pt x="93" y="56"/>
                  </a:cubicBezTo>
                  <a:cubicBezTo>
                    <a:pt x="94" y="56"/>
                    <a:pt x="95" y="56"/>
                    <a:pt x="96" y="57"/>
                  </a:cubicBezTo>
                  <a:cubicBezTo>
                    <a:pt x="98" y="58"/>
                    <a:pt x="99" y="59"/>
                    <a:pt x="99" y="61"/>
                  </a:cubicBezTo>
                  <a:cubicBezTo>
                    <a:pt x="99" y="63"/>
                    <a:pt x="98" y="66"/>
                    <a:pt x="98" y="68"/>
                  </a:cubicBezTo>
                  <a:cubicBezTo>
                    <a:pt x="98" y="72"/>
                    <a:pt x="97" y="75"/>
                    <a:pt x="97" y="78"/>
                  </a:cubicBezTo>
                  <a:cubicBezTo>
                    <a:pt x="103" y="80"/>
                    <a:pt x="103" y="80"/>
                    <a:pt x="103" y="80"/>
                  </a:cubicBezTo>
                  <a:cubicBezTo>
                    <a:pt x="96" y="80"/>
                    <a:pt x="96" y="80"/>
                    <a:pt x="96" y="80"/>
                  </a:cubicBezTo>
                  <a:cubicBezTo>
                    <a:pt x="96" y="80"/>
                    <a:pt x="96" y="80"/>
                    <a:pt x="96" y="80"/>
                  </a:cubicBezTo>
                  <a:cubicBezTo>
                    <a:pt x="96" y="81"/>
                    <a:pt x="96" y="81"/>
                    <a:pt x="96" y="82"/>
                  </a:cubicBezTo>
                  <a:cubicBezTo>
                    <a:pt x="96" y="82"/>
                    <a:pt x="96" y="83"/>
                    <a:pt x="96" y="83"/>
                  </a:cubicBezTo>
                  <a:cubicBezTo>
                    <a:pt x="96" y="84"/>
                    <a:pt x="96" y="85"/>
                    <a:pt x="97" y="86"/>
                  </a:cubicBezTo>
                  <a:cubicBezTo>
                    <a:pt x="97" y="87"/>
                    <a:pt x="97" y="87"/>
                    <a:pt x="98" y="88"/>
                  </a:cubicBezTo>
                  <a:cubicBezTo>
                    <a:pt x="98" y="88"/>
                    <a:pt x="98" y="88"/>
                    <a:pt x="98" y="88"/>
                  </a:cubicBezTo>
                  <a:cubicBezTo>
                    <a:pt x="98" y="89"/>
                    <a:pt x="98" y="89"/>
                    <a:pt x="99" y="90"/>
                  </a:cubicBezTo>
                  <a:cubicBezTo>
                    <a:pt x="110" y="86"/>
                    <a:pt x="110" y="86"/>
                    <a:pt x="110" y="86"/>
                  </a:cubicBezTo>
                  <a:cubicBezTo>
                    <a:pt x="110" y="85"/>
                    <a:pt x="110" y="85"/>
                    <a:pt x="110" y="85"/>
                  </a:cubicBezTo>
                  <a:cubicBezTo>
                    <a:pt x="113" y="84"/>
                    <a:pt x="113" y="84"/>
                    <a:pt x="113" y="84"/>
                  </a:cubicBezTo>
                  <a:cubicBezTo>
                    <a:pt x="116" y="84"/>
                    <a:pt x="119" y="83"/>
                    <a:pt x="121" y="81"/>
                  </a:cubicBezTo>
                  <a:cubicBezTo>
                    <a:pt x="124" y="77"/>
                    <a:pt x="128" y="74"/>
                    <a:pt x="132" y="71"/>
                  </a:cubicBezTo>
                  <a:cubicBezTo>
                    <a:pt x="133" y="71"/>
                    <a:pt x="134" y="71"/>
                    <a:pt x="135" y="70"/>
                  </a:cubicBezTo>
                  <a:cubicBezTo>
                    <a:pt x="136" y="70"/>
                    <a:pt x="137" y="70"/>
                    <a:pt x="139" y="70"/>
                  </a:cubicBezTo>
                  <a:cubicBezTo>
                    <a:pt x="141" y="70"/>
                    <a:pt x="143" y="70"/>
                    <a:pt x="145" y="72"/>
                  </a:cubicBezTo>
                  <a:cubicBezTo>
                    <a:pt x="147" y="72"/>
                    <a:pt x="148" y="73"/>
                    <a:pt x="149" y="74"/>
                  </a:cubicBezTo>
                  <a:cubicBezTo>
                    <a:pt x="150" y="75"/>
                    <a:pt x="150" y="75"/>
                    <a:pt x="150" y="75"/>
                  </a:cubicBezTo>
                  <a:cubicBezTo>
                    <a:pt x="152" y="74"/>
                    <a:pt x="154" y="73"/>
                    <a:pt x="155" y="73"/>
                  </a:cubicBezTo>
                  <a:cubicBezTo>
                    <a:pt x="156" y="73"/>
                    <a:pt x="156" y="73"/>
                    <a:pt x="156" y="73"/>
                  </a:cubicBezTo>
                  <a:cubicBezTo>
                    <a:pt x="156" y="72"/>
                    <a:pt x="157" y="72"/>
                    <a:pt x="158" y="71"/>
                  </a:cubicBezTo>
                  <a:cubicBezTo>
                    <a:pt x="159" y="71"/>
                    <a:pt x="160" y="71"/>
                    <a:pt x="161" y="71"/>
                  </a:cubicBezTo>
                  <a:cubicBezTo>
                    <a:pt x="161" y="71"/>
                    <a:pt x="161" y="71"/>
                    <a:pt x="161" y="71"/>
                  </a:cubicBezTo>
                  <a:cubicBezTo>
                    <a:pt x="162" y="71"/>
                    <a:pt x="162" y="71"/>
                    <a:pt x="163" y="71"/>
                  </a:cubicBezTo>
                  <a:cubicBezTo>
                    <a:pt x="165" y="71"/>
                    <a:pt x="168" y="72"/>
                    <a:pt x="170" y="73"/>
                  </a:cubicBezTo>
                  <a:cubicBezTo>
                    <a:pt x="174" y="75"/>
                    <a:pt x="174" y="75"/>
                    <a:pt x="174" y="75"/>
                  </a:cubicBezTo>
                  <a:cubicBezTo>
                    <a:pt x="175" y="75"/>
                    <a:pt x="176" y="74"/>
                    <a:pt x="176" y="74"/>
                  </a:cubicBezTo>
                  <a:cubicBezTo>
                    <a:pt x="175" y="73"/>
                    <a:pt x="174" y="71"/>
                    <a:pt x="174" y="69"/>
                  </a:cubicBezTo>
                  <a:cubicBezTo>
                    <a:pt x="173" y="67"/>
                    <a:pt x="173" y="67"/>
                    <a:pt x="173" y="67"/>
                  </a:cubicBezTo>
                  <a:cubicBezTo>
                    <a:pt x="173" y="66"/>
                    <a:pt x="173" y="65"/>
                    <a:pt x="173" y="64"/>
                  </a:cubicBezTo>
                  <a:cubicBezTo>
                    <a:pt x="173" y="62"/>
                    <a:pt x="173" y="62"/>
                    <a:pt x="173" y="62"/>
                  </a:cubicBezTo>
                  <a:cubicBezTo>
                    <a:pt x="172" y="58"/>
                    <a:pt x="172" y="54"/>
                    <a:pt x="171" y="50"/>
                  </a:cubicBezTo>
                  <a:cubicBezTo>
                    <a:pt x="171" y="49"/>
                    <a:pt x="171" y="49"/>
                    <a:pt x="169" y="47"/>
                  </a:cubicBezTo>
                  <a:cubicBezTo>
                    <a:pt x="167" y="47"/>
                    <a:pt x="167" y="47"/>
                    <a:pt x="167" y="47"/>
                  </a:cubicBezTo>
                  <a:cubicBezTo>
                    <a:pt x="167" y="46"/>
                    <a:pt x="166" y="46"/>
                    <a:pt x="165" y="45"/>
                  </a:cubicBezTo>
                  <a:cubicBezTo>
                    <a:pt x="164" y="44"/>
                    <a:pt x="164" y="44"/>
                    <a:pt x="164" y="44"/>
                  </a:cubicBezTo>
                  <a:cubicBezTo>
                    <a:pt x="164" y="44"/>
                    <a:pt x="163" y="44"/>
                    <a:pt x="163" y="43"/>
                  </a:cubicBezTo>
                  <a:cubicBezTo>
                    <a:pt x="161" y="43"/>
                    <a:pt x="160" y="42"/>
                    <a:pt x="160" y="42"/>
                  </a:cubicBezTo>
                  <a:cubicBezTo>
                    <a:pt x="160" y="42"/>
                    <a:pt x="159" y="42"/>
                    <a:pt x="159" y="42"/>
                  </a:cubicBezTo>
                  <a:cubicBezTo>
                    <a:pt x="158" y="42"/>
                    <a:pt x="158" y="42"/>
                    <a:pt x="158" y="42"/>
                  </a:cubicBezTo>
                  <a:cubicBezTo>
                    <a:pt x="157" y="42"/>
                    <a:pt x="156" y="43"/>
                    <a:pt x="154" y="43"/>
                  </a:cubicBezTo>
                  <a:cubicBezTo>
                    <a:pt x="153" y="43"/>
                    <a:pt x="153" y="43"/>
                    <a:pt x="153" y="43"/>
                  </a:cubicBezTo>
                  <a:cubicBezTo>
                    <a:pt x="153" y="43"/>
                    <a:pt x="152" y="44"/>
                    <a:pt x="151" y="44"/>
                  </a:cubicBezTo>
                  <a:cubicBezTo>
                    <a:pt x="150" y="44"/>
                    <a:pt x="150" y="44"/>
                    <a:pt x="149" y="44"/>
                  </a:cubicBezTo>
                  <a:cubicBezTo>
                    <a:pt x="148" y="43"/>
                    <a:pt x="147" y="43"/>
                    <a:pt x="146" y="41"/>
                  </a:cubicBezTo>
                  <a:cubicBezTo>
                    <a:pt x="145" y="41"/>
                    <a:pt x="145" y="39"/>
                    <a:pt x="144" y="37"/>
                  </a:cubicBezTo>
                  <a:cubicBezTo>
                    <a:pt x="144" y="36"/>
                    <a:pt x="143" y="34"/>
                    <a:pt x="144" y="31"/>
                  </a:cubicBezTo>
                  <a:cubicBezTo>
                    <a:pt x="144" y="31"/>
                    <a:pt x="145" y="31"/>
                    <a:pt x="145" y="30"/>
                  </a:cubicBezTo>
                  <a:cubicBezTo>
                    <a:pt x="145" y="30"/>
                    <a:pt x="145" y="30"/>
                    <a:pt x="145" y="30"/>
                  </a:cubicBezTo>
                  <a:cubicBezTo>
                    <a:pt x="139" y="33"/>
                    <a:pt x="139" y="33"/>
                    <a:pt x="139" y="33"/>
                  </a:cubicBezTo>
                  <a:cubicBezTo>
                    <a:pt x="144" y="29"/>
                    <a:pt x="144" y="29"/>
                    <a:pt x="144" y="29"/>
                  </a:cubicBezTo>
                  <a:cubicBezTo>
                    <a:pt x="143" y="28"/>
                    <a:pt x="142" y="26"/>
                    <a:pt x="142" y="25"/>
                  </a:cubicBezTo>
                  <a:cubicBezTo>
                    <a:pt x="141" y="24"/>
                    <a:pt x="141" y="24"/>
                    <a:pt x="141" y="24"/>
                  </a:cubicBezTo>
                  <a:cubicBezTo>
                    <a:pt x="142" y="21"/>
                    <a:pt x="142" y="21"/>
                    <a:pt x="142" y="21"/>
                  </a:cubicBezTo>
                  <a:cubicBezTo>
                    <a:pt x="141" y="21"/>
                    <a:pt x="140" y="22"/>
                    <a:pt x="139" y="22"/>
                  </a:cubicBezTo>
                  <a:cubicBezTo>
                    <a:pt x="137" y="22"/>
                    <a:pt x="137" y="22"/>
                    <a:pt x="137" y="22"/>
                  </a:cubicBezTo>
                  <a:cubicBezTo>
                    <a:pt x="135" y="22"/>
                    <a:pt x="134" y="22"/>
                    <a:pt x="133" y="22"/>
                  </a:cubicBezTo>
                  <a:cubicBezTo>
                    <a:pt x="130" y="23"/>
                    <a:pt x="128" y="23"/>
                    <a:pt x="126" y="23"/>
                  </a:cubicBezTo>
                  <a:cubicBezTo>
                    <a:pt x="120" y="23"/>
                    <a:pt x="120" y="23"/>
                    <a:pt x="120" y="23"/>
                  </a:cubicBezTo>
                  <a:cubicBezTo>
                    <a:pt x="118" y="23"/>
                    <a:pt x="117" y="24"/>
                    <a:pt x="115" y="26"/>
                  </a:cubicBezTo>
                  <a:cubicBezTo>
                    <a:pt x="112" y="29"/>
                    <a:pt x="112" y="29"/>
                    <a:pt x="112" y="29"/>
                  </a:cubicBezTo>
                  <a:cubicBezTo>
                    <a:pt x="110" y="27"/>
                    <a:pt x="110" y="27"/>
                    <a:pt x="110" y="27"/>
                  </a:cubicBezTo>
                  <a:cubicBezTo>
                    <a:pt x="109" y="26"/>
                    <a:pt x="106" y="26"/>
                    <a:pt x="104" y="26"/>
                  </a:cubicBezTo>
                  <a:cubicBezTo>
                    <a:pt x="104" y="25"/>
                    <a:pt x="104" y="25"/>
                    <a:pt x="104" y="25"/>
                  </a:cubicBezTo>
                  <a:cubicBezTo>
                    <a:pt x="100" y="26"/>
                    <a:pt x="100" y="26"/>
                    <a:pt x="100" y="26"/>
                  </a:cubicBezTo>
                  <a:cubicBezTo>
                    <a:pt x="100" y="25"/>
                    <a:pt x="100" y="25"/>
                    <a:pt x="100" y="25"/>
                  </a:cubicBezTo>
                  <a:cubicBezTo>
                    <a:pt x="98" y="24"/>
                    <a:pt x="98" y="22"/>
                    <a:pt x="98" y="21"/>
                  </a:cubicBezTo>
                  <a:cubicBezTo>
                    <a:pt x="97" y="21"/>
                    <a:pt x="97" y="21"/>
                    <a:pt x="97" y="21"/>
                  </a:cubicBezTo>
                  <a:cubicBezTo>
                    <a:pt x="97" y="21"/>
                    <a:pt x="97" y="21"/>
                    <a:pt x="97" y="21"/>
                  </a:cubicBezTo>
                  <a:cubicBezTo>
                    <a:pt x="97" y="21"/>
                    <a:pt x="96" y="21"/>
                    <a:pt x="96" y="20"/>
                  </a:cubicBezTo>
                  <a:cubicBezTo>
                    <a:pt x="95" y="20"/>
                    <a:pt x="95" y="20"/>
                    <a:pt x="95" y="20"/>
                  </a:cubicBezTo>
                  <a:cubicBezTo>
                    <a:pt x="94" y="20"/>
                    <a:pt x="94" y="19"/>
                    <a:pt x="93" y="19"/>
                  </a:cubicBezTo>
                  <a:cubicBezTo>
                    <a:pt x="93" y="18"/>
                    <a:pt x="93" y="18"/>
                    <a:pt x="93" y="18"/>
                  </a:cubicBezTo>
                  <a:cubicBezTo>
                    <a:pt x="89" y="20"/>
                    <a:pt x="86" y="22"/>
                    <a:pt x="84" y="22"/>
                  </a:cubicBezTo>
                  <a:cubicBezTo>
                    <a:pt x="84" y="22"/>
                    <a:pt x="83" y="22"/>
                    <a:pt x="83" y="22"/>
                  </a:cubicBezTo>
                  <a:cubicBezTo>
                    <a:pt x="83" y="22"/>
                    <a:pt x="83" y="22"/>
                    <a:pt x="83" y="22"/>
                  </a:cubicBezTo>
                  <a:cubicBezTo>
                    <a:pt x="83" y="22"/>
                    <a:pt x="83" y="22"/>
                    <a:pt x="83" y="22"/>
                  </a:cubicBezTo>
                  <a:cubicBezTo>
                    <a:pt x="83" y="22"/>
                    <a:pt x="83" y="22"/>
                    <a:pt x="83" y="22"/>
                  </a:cubicBezTo>
                  <a:cubicBezTo>
                    <a:pt x="82" y="21"/>
                    <a:pt x="82" y="21"/>
                    <a:pt x="82" y="21"/>
                  </a:cubicBezTo>
                  <a:cubicBezTo>
                    <a:pt x="78" y="20"/>
                    <a:pt x="74" y="19"/>
                    <a:pt x="70" y="19"/>
                  </a:cubicBezTo>
                  <a:cubicBezTo>
                    <a:pt x="66" y="18"/>
                    <a:pt x="63" y="18"/>
                    <a:pt x="58" y="18"/>
                  </a:cubicBezTo>
                  <a:cubicBezTo>
                    <a:pt x="54" y="18"/>
                    <a:pt x="49" y="18"/>
                    <a:pt x="44" y="19"/>
                  </a:cubicBezTo>
                  <a:cubicBezTo>
                    <a:pt x="40" y="19"/>
                    <a:pt x="40" y="19"/>
                    <a:pt x="40" y="19"/>
                  </a:cubicBezTo>
                  <a:cubicBezTo>
                    <a:pt x="40" y="16"/>
                    <a:pt x="40" y="16"/>
                    <a:pt x="40" y="16"/>
                  </a:cubicBezTo>
                  <a:cubicBezTo>
                    <a:pt x="40" y="13"/>
                    <a:pt x="40" y="10"/>
                    <a:pt x="40" y="7"/>
                  </a:cubicBezTo>
                  <a:cubicBezTo>
                    <a:pt x="40" y="0"/>
                    <a:pt x="40" y="0"/>
                    <a:pt x="40" y="0"/>
                  </a:cubicBezTo>
                  <a:cubicBezTo>
                    <a:pt x="40" y="0"/>
                    <a:pt x="40" y="0"/>
                    <a:pt x="40" y="0"/>
                  </a:cubicBezTo>
                  <a:cubicBezTo>
                    <a:pt x="40" y="0"/>
                    <a:pt x="39" y="0"/>
                    <a:pt x="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9" name="Freeform 1538">
              <a:extLst>
                <a:ext uri="{FF2B5EF4-FFF2-40B4-BE49-F238E27FC236}">
                  <a16:creationId xmlns:a16="http://schemas.microsoft.com/office/drawing/2014/main" id="{C78091D2-DC5B-404F-8926-72E1CB739E33}"/>
                </a:ext>
              </a:extLst>
            </p:cNvPr>
            <p:cNvSpPr>
              <a:spLocks/>
            </p:cNvSpPr>
            <p:nvPr/>
          </p:nvSpPr>
          <p:spPr bwMode="auto">
            <a:xfrm>
              <a:off x="570493" y="1676580"/>
              <a:ext cx="97991" cy="65775"/>
            </a:xfrm>
            <a:custGeom>
              <a:avLst/>
              <a:gdLst>
                <a:gd name="T0" fmla="*/ 27 w 31"/>
                <a:gd name="T1" fmla="*/ 0 h 21"/>
                <a:gd name="T2" fmla="*/ 26 w 31"/>
                <a:gd name="T3" fmla="*/ 0 h 21"/>
                <a:gd name="T4" fmla="*/ 26 w 31"/>
                <a:gd name="T5" fmla="*/ 0 h 21"/>
                <a:gd name="T6" fmla="*/ 25 w 31"/>
                <a:gd name="T7" fmla="*/ 1 h 21"/>
                <a:gd name="T8" fmla="*/ 23 w 31"/>
                <a:gd name="T9" fmla="*/ 2 h 21"/>
                <a:gd name="T10" fmla="*/ 23 w 31"/>
                <a:gd name="T11" fmla="*/ 3 h 21"/>
                <a:gd name="T12" fmla="*/ 18 w 31"/>
                <a:gd name="T13" fmla="*/ 6 h 21"/>
                <a:gd name="T14" fmla="*/ 18 w 31"/>
                <a:gd name="T15" fmla="*/ 6 h 21"/>
                <a:gd name="T16" fmla="*/ 16 w 31"/>
                <a:gd name="T17" fmla="*/ 7 h 21"/>
                <a:gd name="T18" fmla="*/ 14 w 31"/>
                <a:gd name="T19" fmla="*/ 8 h 21"/>
                <a:gd name="T20" fmla="*/ 9 w 31"/>
                <a:gd name="T21" fmla="*/ 9 h 21"/>
                <a:gd name="T22" fmla="*/ 6 w 31"/>
                <a:gd name="T23" fmla="*/ 9 h 21"/>
                <a:gd name="T24" fmla="*/ 5 w 31"/>
                <a:gd name="T25" fmla="*/ 8 h 21"/>
                <a:gd name="T26" fmla="*/ 5 w 31"/>
                <a:gd name="T27" fmla="*/ 8 h 21"/>
                <a:gd name="T28" fmla="*/ 2 w 31"/>
                <a:gd name="T29" fmla="*/ 7 h 21"/>
                <a:gd name="T30" fmla="*/ 2 w 31"/>
                <a:gd name="T31" fmla="*/ 7 h 21"/>
                <a:gd name="T32" fmla="*/ 1 w 31"/>
                <a:gd name="T33" fmla="*/ 9 h 21"/>
                <a:gd name="T34" fmla="*/ 2 w 31"/>
                <a:gd name="T35" fmla="*/ 16 h 21"/>
                <a:gd name="T36" fmla="*/ 2 w 31"/>
                <a:gd name="T37" fmla="*/ 16 h 21"/>
                <a:gd name="T38" fmla="*/ 2 w 31"/>
                <a:gd name="T39" fmla="*/ 19 h 21"/>
                <a:gd name="T40" fmla="*/ 3 w 31"/>
                <a:gd name="T41" fmla="*/ 20 h 21"/>
                <a:gd name="T42" fmla="*/ 6 w 31"/>
                <a:gd name="T43" fmla="*/ 18 h 21"/>
                <a:gd name="T44" fmla="*/ 7 w 31"/>
                <a:gd name="T45" fmla="*/ 18 h 21"/>
                <a:gd name="T46" fmla="*/ 8 w 31"/>
                <a:gd name="T47" fmla="*/ 18 h 21"/>
                <a:gd name="T48" fmla="*/ 15 w 31"/>
                <a:gd name="T49" fmla="*/ 16 h 21"/>
                <a:gd name="T50" fmla="*/ 30 w 31"/>
                <a:gd name="T51" fmla="*/ 21 h 21"/>
                <a:gd name="T52" fmla="*/ 31 w 31"/>
                <a:gd name="T53" fmla="*/ 20 h 21"/>
                <a:gd name="T54" fmla="*/ 30 w 31"/>
                <a:gd name="T55" fmla="*/ 20 h 21"/>
                <a:gd name="T56" fmla="*/ 30 w 31"/>
                <a:gd name="T57" fmla="*/ 20 h 21"/>
                <a:gd name="T58" fmla="*/ 24 w 31"/>
                <a:gd name="T59" fmla="*/ 16 h 21"/>
                <a:gd name="T60" fmla="*/ 20 w 31"/>
                <a:gd name="T61" fmla="*/ 14 h 21"/>
                <a:gd name="T62" fmla="*/ 23 w 31"/>
                <a:gd name="T63" fmla="*/ 11 h 21"/>
                <a:gd name="T64" fmla="*/ 31 w 31"/>
                <a:gd name="T65" fmla="*/ 4 h 21"/>
                <a:gd name="T66" fmla="*/ 27 w 31"/>
                <a:gd name="T6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21">
                  <a:moveTo>
                    <a:pt x="27" y="0"/>
                  </a:moveTo>
                  <a:cubicBezTo>
                    <a:pt x="26" y="0"/>
                    <a:pt x="26" y="0"/>
                    <a:pt x="26" y="0"/>
                  </a:cubicBezTo>
                  <a:cubicBezTo>
                    <a:pt x="26" y="0"/>
                    <a:pt x="26" y="0"/>
                    <a:pt x="26" y="0"/>
                  </a:cubicBezTo>
                  <a:cubicBezTo>
                    <a:pt x="25" y="0"/>
                    <a:pt x="25" y="1"/>
                    <a:pt x="25" y="1"/>
                  </a:cubicBezTo>
                  <a:cubicBezTo>
                    <a:pt x="24" y="1"/>
                    <a:pt x="24" y="2"/>
                    <a:pt x="23" y="2"/>
                  </a:cubicBezTo>
                  <a:cubicBezTo>
                    <a:pt x="23" y="3"/>
                    <a:pt x="23" y="3"/>
                    <a:pt x="23" y="3"/>
                  </a:cubicBezTo>
                  <a:cubicBezTo>
                    <a:pt x="21" y="4"/>
                    <a:pt x="20" y="5"/>
                    <a:pt x="18" y="6"/>
                  </a:cubicBezTo>
                  <a:cubicBezTo>
                    <a:pt x="18" y="6"/>
                    <a:pt x="18" y="6"/>
                    <a:pt x="18" y="6"/>
                  </a:cubicBezTo>
                  <a:cubicBezTo>
                    <a:pt x="17" y="6"/>
                    <a:pt x="17" y="7"/>
                    <a:pt x="16" y="7"/>
                  </a:cubicBezTo>
                  <a:cubicBezTo>
                    <a:pt x="15" y="7"/>
                    <a:pt x="15" y="7"/>
                    <a:pt x="14" y="8"/>
                  </a:cubicBezTo>
                  <a:cubicBezTo>
                    <a:pt x="13" y="8"/>
                    <a:pt x="11" y="9"/>
                    <a:pt x="9" y="9"/>
                  </a:cubicBezTo>
                  <a:cubicBezTo>
                    <a:pt x="8" y="9"/>
                    <a:pt x="7" y="9"/>
                    <a:pt x="6" y="9"/>
                  </a:cubicBezTo>
                  <a:cubicBezTo>
                    <a:pt x="5" y="8"/>
                    <a:pt x="5" y="8"/>
                    <a:pt x="5" y="8"/>
                  </a:cubicBezTo>
                  <a:cubicBezTo>
                    <a:pt x="5" y="8"/>
                    <a:pt x="5" y="8"/>
                    <a:pt x="5" y="8"/>
                  </a:cubicBezTo>
                  <a:cubicBezTo>
                    <a:pt x="4" y="8"/>
                    <a:pt x="3" y="7"/>
                    <a:pt x="2" y="7"/>
                  </a:cubicBezTo>
                  <a:cubicBezTo>
                    <a:pt x="2" y="7"/>
                    <a:pt x="2" y="7"/>
                    <a:pt x="2" y="7"/>
                  </a:cubicBezTo>
                  <a:cubicBezTo>
                    <a:pt x="1" y="8"/>
                    <a:pt x="1" y="9"/>
                    <a:pt x="1" y="9"/>
                  </a:cubicBezTo>
                  <a:cubicBezTo>
                    <a:pt x="0" y="11"/>
                    <a:pt x="1" y="14"/>
                    <a:pt x="2" y="16"/>
                  </a:cubicBezTo>
                  <a:cubicBezTo>
                    <a:pt x="2" y="16"/>
                    <a:pt x="2" y="16"/>
                    <a:pt x="2" y="16"/>
                  </a:cubicBezTo>
                  <a:cubicBezTo>
                    <a:pt x="2" y="17"/>
                    <a:pt x="2" y="18"/>
                    <a:pt x="2" y="19"/>
                  </a:cubicBezTo>
                  <a:cubicBezTo>
                    <a:pt x="3" y="20"/>
                    <a:pt x="3" y="20"/>
                    <a:pt x="3" y="20"/>
                  </a:cubicBezTo>
                  <a:cubicBezTo>
                    <a:pt x="3" y="19"/>
                    <a:pt x="4" y="19"/>
                    <a:pt x="6" y="18"/>
                  </a:cubicBezTo>
                  <a:cubicBezTo>
                    <a:pt x="6" y="18"/>
                    <a:pt x="7" y="18"/>
                    <a:pt x="7" y="18"/>
                  </a:cubicBezTo>
                  <a:cubicBezTo>
                    <a:pt x="8" y="18"/>
                    <a:pt x="8" y="18"/>
                    <a:pt x="8" y="18"/>
                  </a:cubicBezTo>
                  <a:cubicBezTo>
                    <a:pt x="10" y="17"/>
                    <a:pt x="13" y="16"/>
                    <a:pt x="15" y="16"/>
                  </a:cubicBezTo>
                  <a:cubicBezTo>
                    <a:pt x="20" y="16"/>
                    <a:pt x="27" y="19"/>
                    <a:pt x="30" y="21"/>
                  </a:cubicBezTo>
                  <a:cubicBezTo>
                    <a:pt x="31" y="20"/>
                    <a:pt x="31" y="20"/>
                    <a:pt x="31" y="20"/>
                  </a:cubicBezTo>
                  <a:cubicBezTo>
                    <a:pt x="30" y="20"/>
                    <a:pt x="30" y="20"/>
                    <a:pt x="30" y="20"/>
                  </a:cubicBezTo>
                  <a:cubicBezTo>
                    <a:pt x="30" y="20"/>
                    <a:pt x="30" y="20"/>
                    <a:pt x="30" y="20"/>
                  </a:cubicBezTo>
                  <a:cubicBezTo>
                    <a:pt x="28" y="19"/>
                    <a:pt x="26" y="17"/>
                    <a:pt x="24" y="16"/>
                  </a:cubicBezTo>
                  <a:cubicBezTo>
                    <a:pt x="20" y="14"/>
                    <a:pt x="20" y="14"/>
                    <a:pt x="20" y="14"/>
                  </a:cubicBezTo>
                  <a:cubicBezTo>
                    <a:pt x="23" y="11"/>
                    <a:pt x="23" y="11"/>
                    <a:pt x="23" y="11"/>
                  </a:cubicBezTo>
                  <a:cubicBezTo>
                    <a:pt x="25" y="9"/>
                    <a:pt x="28" y="7"/>
                    <a:pt x="31" y="4"/>
                  </a:cubicBez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0" name="Freeform 1539">
              <a:extLst>
                <a:ext uri="{FF2B5EF4-FFF2-40B4-BE49-F238E27FC236}">
                  <a16:creationId xmlns:a16="http://schemas.microsoft.com/office/drawing/2014/main" id="{8A4536B9-B4F6-4CE3-A262-F31EE0B260A9}"/>
                </a:ext>
              </a:extLst>
            </p:cNvPr>
            <p:cNvSpPr>
              <a:spLocks/>
            </p:cNvSpPr>
            <p:nvPr/>
          </p:nvSpPr>
          <p:spPr bwMode="auto">
            <a:xfrm>
              <a:off x="1382606" y="2577288"/>
              <a:ext cx="587943" cy="307395"/>
            </a:xfrm>
            <a:custGeom>
              <a:avLst/>
              <a:gdLst>
                <a:gd name="T0" fmla="*/ 31 w 185"/>
                <a:gd name="T1" fmla="*/ 0 h 97"/>
                <a:gd name="T2" fmla="*/ 28 w 185"/>
                <a:gd name="T3" fmla="*/ 8 h 97"/>
                <a:gd name="T4" fmla="*/ 19 w 185"/>
                <a:gd name="T5" fmla="*/ 7 h 97"/>
                <a:gd name="T6" fmla="*/ 6 w 185"/>
                <a:gd name="T7" fmla="*/ 21 h 97"/>
                <a:gd name="T8" fmla="*/ 5 w 185"/>
                <a:gd name="T9" fmla="*/ 26 h 97"/>
                <a:gd name="T10" fmla="*/ 0 w 185"/>
                <a:gd name="T11" fmla="*/ 36 h 97"/>
                <a:gd name="T12" fmla="*/ 10 w 185"/>
                <a:gd name="T13" fmla="*/ 39 h 97"/>
                <a:gd name="T14" fmla="*/ 26 w 185"/>
                <a:gd name="T15" fmla="*/ 48 h 97"/>
                <a:gd name="T16" fmla="*/ 32 w 185"/>
                <a:gd name="T17" fmla="*/ 54 h 97"/>
                <a:gd name="T18" fmla="*/ 37 w 185"/>
                <a:gd name="T19" fmla="*/ 58 h 97"/>
                <a:gd name="T20" fmla="*/ 43 w 185"/>
                <a:gd name="T21" fmla="*/ 58 h 97"/>
                <a:gd name="T22" fmla="*/ 50 w 185"/>
                <a:gd name="T23" fmla="*/ 60 h 97"/>
                <a:gd name="T24" fmla="*/ 62 w 185"/>
                <a:gd name="T25" fmla="*/ 66 h 97"/>
                <a:gd name="T26" fmla="*/ 68 w 185"/>
                <a:gd name="T27" fmla="*/ 70 h 97"/>
                <a:gd name="T28" fmla="*/ 77 w 185"/>
                <a:gd name="T29" fmla="*/ 70 h 97"/>
                <a:gd name="T30" fmla="*/ 79 w 185"/>
                <a:gd name="T31" fmla="*/ 69 h 97"/>
                <a:gd name="T32" fmla="*/ 88 w 185"/>
                <a:gd name="T33" fmla="*/ 70 h 97"/>
                <a:gd name="T34" fmla="*/ 96 w 185"/>
                <a:gd name="T35" fmla="*/ 69 h 97"/>
                <a:gd name="T36" fmla="*/ 104 w 185"/>
                <a:gd name="T37" fmla="*/ 72 h 97"/>
                <a:gd name="T38" fmla="*/ 107 w 185"/>
                <a:gd name="T39" fmla="*/ 80 h 97"/>
                <a:gd name="T40" fmla="*/ 117 w 185"/>
                <a:gd name="T41" fmla="*/ 84 h 97"/>
                <a:gd name="T42" fmla="*/ 120 w 185"/>
                <a:gd name="T43" fmla="*/ 87 h 97"/>
                <a:gd name="T44" fmla="*/ 122 w 185"/>
                <a:gd name="T45" fmla="*/ 87 h 97"/>
                <a:gd name="T46" fmla="*/ 128 w 185"/>
                <a:gd name="T47" fmla="*/ 85 h 97"/>
                <a:gd name="T48" fmla="*/ 131 w 185"/>
                <a:gd name="T49" fmla="*/ 87 h 97"/>
                <a:gd name="T50" fmla="*/ 135 w 185"/>
                <a:gd name="T51" fmla="*/ 92 h 97"/>
                <a:gd name="T52" fmla="*/ 139 w 185"/>
                <a:gd name="T53" fmla="*/ 91 h 97"/>
                <a:gd name="T54" fmla="*/ 147 w 185"/>
                <a:gd name="T55" fmla="*/ 92 h 97"/>
                <a:gd name="T56" fmla="*/ 157 w 185"/>
                <a:gd name="T57" fmla="*/ 94 h 97"/>
                <a:gd name="T58" fmla="*/ 163 w 185"/>
                <a:gd name="T59" fmla="*/ 92 h 97"/>
                <a:gd name="T60" fmla="*/ 165 w 185"/>
                <a:gd name="T61" fmla="*/ 96 h 97"/>
                <a:gd name="T62" fmla="*/ 175 w 185"/>
                <a:gd name="T63" fmla="*/ 96 h 97"/>
                <a:gd name="T64" fmla="*/ 180 w 185"/>
                <a:gd name="T65" fmla="*/ 97 h 97"/>
                <a:gd name="T66" fmla="*/ 182 w 185"/>
                <a:gd name="T67" fmla="*/ 97 h 97"/>
                <a:gd name="T68" fmla="*/ 185 w 185"/>
                <a:gd name="T69" fmla="*/ 90 h 97"/>
                <a:gd name="T70" fmla="*/ 181 w 185"/>
                <a:gd name="T71" fmla="*/ 82 h 97"/>
                <a:gd name="T72" fmla="*/ 179 w 185"/>
                <a:gd name="T73" fmla="*/ 65 h 97"/>
                <a:gd name="T74" fmla="*/ 154 w 185"/>
                <a:gd name="T75" fmla="*/ 60 h 97"/>
                <a:gd name="T76" fmla="*/ 146 w 185"/>
                <a:gd name="T77" fmla="*/ 62 h 97"/>
                <a:gd name="T78" fmla="*/ 139 w 185"/>
                <a:gd name="T79" fmla="*/ 67 h 97"/>
                <a:gd name="T80" fmla="*/ 129 w 185"/>
                <a:gd name="T81" fmla="*/ 54 h 97"/>
                <a:gd name="T82" fmla="*/ 123 w 185"/>
                <a:gd name="T83" fmla="*/ 53 h 97"/>
                <a:gd name="T84" fmla="*/ 117 w 185"/>
                <a:gd name="T85" fmla="*/ 54 h 97"/>
                <a:gd name="T86" fmla="*/ 110 w 185"/>
                <a:gd name="T87" fmla="*/ 47 h 97"/>
                <a:gd name="T88" fmla="*/ 100 w 185"/>
                <a:gd name="T89" fmla="*/ 43 h 97"/>
                <a:gd name="T90" fmla="*/ 92 w 185"/>
                <a:gd name="T91" fmla="*/ 34 h 97"/>
                <a:gd name="T92" fmla="*/ 85 w 185"/>
                <a:gd name="T93" fmla="*/ 31 h 97"/>
                <a:gd name="T94" fmla="*/ 76 w 185"/>
                <a:gd name="T95" fmla="*/ 27 h 97"/>
                <a:gd name="T96" fmla="*/ 72 w 185"/>
                <a:gd name="T97" fmla="*/ 23 h 97"/>
                <a:gd name="T98" fmla="*/ 70 w 185"/>
                <a:gd name="T99" fmla="*/ 20 h 97"/>
                <a:gd name="T100" fmla="*/ 66 w 185"/>
                <a:gd name="T101" fmla="*/ 20 h 97"/>
                <a:gd name="T102" fmla="*/ 55 w 185"/>
                <a:gd name="T103" fmla="*/ 13 h 97"/>
                <a:gd name="T104" fmla="*/ 45 w 185"/>
                <a:gd name="T105" fmla="*/ 7 h 97"/>
                <a:gd name="T106" fmla="*/ 35 w 185"/>
                <a:gd name="T10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 h="97">
                  <a:moveTo>
                    <a:pt x="33" y="0"/>
                  </a:moveTo>
                  <a:cubicBezTo>
                    <a:pt x="32" y="0"/>
                    <a:pt x="32" y="0"/>
                    <a:pt x="32" y="0"/>
                  </a:cubicBezTo>
                  <a:cubicBezTo>
                    <a:pt x="32" y="0"/>
                    <a:pt x="32" y="0"/>
                    <a:pt x="32" y="0"/>
                  </a:cubicBezTo>
                  <a:cubicBezTo>
                    <a:pt x="31" y="0"/>
                    <a:pt x="31" y="0"/>
                    <a:pt x="31" y="0"/>
                  </a:cubicBezTo>
                  <a:cubicBezTo>
                    <a:pt x="31" y="1"/>
                    <a:pt x="31" y="1"/>
                    <a:pt x="31" y="1"/>
                  </a:cubicBezTo>
                  <a:cubicBezTo>
                    <a:pt x="31" y="1"/>
                    <a:pt x="31" y="1"/>
                    <a:pt x="31" y="1"/>
                  </a:cubicBezTo>
                  <a:cubicBezTo>
                    <a:pt x="30" y="3"/>
                    <a:pt x="29" y="4"/>
                    <a:pt x="28" y="6"/>
                  </a:cubicBezTo>
                  <a:cubicBezTo>
                    <a:pt x="28" y="8"/>
                    <a:pt x="28" y="8"/>
                    <a:pt x="28" y="8"/>
                  </a:cubicBezTo>
                  <a:cubicBezTo>
                    <a:pt x="26" y="9"/>
                    <a:pt x="26" y="9"/>
                    <a:pt x="26" y="9"/>
                  </a:cubicBezTo>
                  <a:cubicBezTo>
                    <a:pt x="24" y="9"/>
                    <a:pt x="23" y="9"/>
                    <a:pt x="22" y="9"/>
                  </a:cubicBezTo>
                  <a:cubicBezTo>
                    <a:pt x="21" y="9"/>
                    <a:pt x="21" y="9"/>
                    <a:pt x="20" y="8"/>
                  </a:cubicBezTo>
                  <a:cubicBezTo>
                    <a:pt x="19" y="7"/>
                    <a:pt x="19" y="7"/>
                    <a:pt x="19" y="7"/>
                  </a:cubicBezTo>
                  <a:cubicBezTo>
                    <a:pt x="19" y="7"/>
                    <a:pt x="19" y="7"/>
                    <a:pt x="19" y="7"/>
                  </a:cubicBezTo>
                  <a:cubicBezTo>
                    <a:pt x="7" y="19"/>
                    <a:pt x="7" y="19"/>
                    <a:pt x="7" y="19"/>
                  </a:cubicBezTo>
                  <a:cubicBezTo>
                    <a:pt x="7" y="20"/>
                    <a:pt x="7" y="20"/>
                    <a:pt x="7" y="20"/>
                  </a:cubicBezTo>
                  <a:cubicBezTo>
                    <a:pt x="6" y="20"/>
                    <a:pt x="6" y="21"/>
                    <a:pt x="6" y="21"/>
                  </a:cubicBezTo>
                  <a:cubicBezTo>
                    <a:pt x="5" y="22"/>
                    <a:pt x="5" y="22"/>
                    <a:pt x="5" y="22"/>
                  </a:cubicBezTo>
                  <a:cubicBezTo>
                    <a:pt x="5" y="22"/>
                    <a:pt x="5" y="22"/>
                    <a:pt x="5" y="22"/>
                  </a:cubicBezTo>
                  <a:cubicBezTo>
                    <a:pt x="5" y="22"/>
                    <a:pt x="5" y="22"/>
                    <a:pt x="5" y="22"/>
                  </a:cubicBezTo>
                  <a:cubicBezTo>
                    <a:pt x="5" y="23"/>
                    <a:pt x="6" y="24"/>
                    <a:pt x="5" y="26"/>
                  </a:cubicBezTo>
                  <a:cubicBezTo>
                    <a:pt x="5" y="27"/>
                    <a:pt x="4" y="28"/>
                    <a:pt x="3" y="30"/>
                  </a:cubicBezTo>
                  <a:cubicBezTo>
                    <a:pt x="3" y="30"/>
                    <a:pt x="3" y="30"/>
                    <a:pt x="3" y="30"/>
                  </a:cubicBezTo>
                  <a:cubicBezTo>
                    <a:pt x="2" y="32"/>
                    <a:pt x="1" y="33"/>
                    <a:pt x="1" y="34"/>
                  </a:cubicBezTo>
                  <a:cubicBezTo>
                    <a:pt x="1" y="34"/>
                    <a:pt x="1" y="35"/>
                    <a:pt x="0" y="36"/>
                  </a:cubicBezTo>
                  <a:cubicBezTo>
                    <a:pt x="0" y="37"/>
                    <a:pt x="1" y="37"/>
                    <a:pt x="2" y="38"/>
                  </a:cubicBezTo>
                  <a:cubicBezTo>
                    <a:pt x="2" y="38"/>
                    <a:pt x="4" y="39"/>
                    <a:pt x="5" y="40"/>
                  </a:cubicBezTo>
                  <a:cubicBezTo>
                    <a:pt x="5" y="35"/>
                    <a:pt x="5" y="35"/>
                    <a:pt x="5" y="35"/>
                  </a:cubicBezTo>
                  <a:cubicBezTo>
                    <a:pt x="10" y="39"/>
                    <a:pt x="10" y="39"/>
                    <a:pt x="10" y="39"/>
                  </a:cubicBezTo>
                  <a:cubicBezTo>
                    <a:pt x="11" y="40"/>
                    <a:pt x="13" y="41"/>
                    <a:pt x="14" y="42"/>
                  </a:cubicBezTo>
                  <a:cubicBezTo>
                    <a:pt x="15" y="42"/>
                    <a:pt x="15" y="42"/>
                    <a:pt x="15" y="42"/>
                  </a:cubicBezTo>
                  <a:cubicBezTo>
                    <a:pt x="17" y="43"/>
                    <a:pt x="19" y="44"/>
                    <a:pt x="21" y="45"/>
                  </a:cubicBezTo>
                  <a:cubicBezTo>
                    <a:pt x="23" y="46"/>
                    <a:pt x="24" y="47"/>
                    <a:pt x="26" y="48"/>
                  </a:cubicBezTo>
                  <a:cubicBezTo>
                    <a:pt x="28" y="46"/>
                    <a:pt x="28" y="46"/>
                    <a:pt x="28" y="46"/>
                  </a:cubicBezTo>
                  <a:cubicBezTo>
                    <a:pt x="27" y="49"/>
                    <a:pt x="27" y="49"/>
                    <a:pt x="27" y="49"/>
                  </a:cubicBezTo>
                  <a:cubicBezTo>
                    <a:pt x="27" y="50"/>
                    <a:pt x="27" y="50"/>
                    <a:pt x="27" y="50"/>
                  </a:cubicBezTo>
                  <a:cubicBezTo>
                    <a:pt x="29" y="51"/>
                    <a:pt x="30" y="53"/>
                    <a:pt x="32" y="54"/>
                  </a:cubicBezTo>
                  <a:cubicBezTo>
                    <a:pt x="32" y="54"/>
                    <a:pt x="32" y="54"/>
                    <a:pt x="32" y="54"/>
                  </a:cubicBezTo>
                  <a:cubicBezTo>
                    <a:pt x="33" y="55"/>
                    <a:pt x="33" y="55"/>
                    <a:pt x="33" y="55"/>
                  </a:cubicBezTo>
                  <a:cubicBezTo>
                    <a:pt x="34" y="56"/>
                    <a:pt x="34" y="56"/>
                    <a:pt x="35" y="56"/>
                  </a:cubicBezTo>
                  <a:cubicBezTo>
                    <a:pt x="37" y="58"/>
                    <a:pt x="37" y="58"/>
                    <a:pt x="37" y="58"/>
                  </a:cubicBezTo>
                  <a:cubicBezTo>
                    <a:pt x="38" y="59"/>
                    <a:pt x="39" y="59"/>
                    <a:pt x="40" y="59"/>
                  </a:cubicBezTo>
                  <a:cubicBezTo>
                    <a:pt x="40" y="59"/>
                    <a:pt x="40" y="59"/>
                    <a:pt x="40" y="59"/>
                  </a:cubicBezTo>
                  <a:cubicBezTo>
                    <a:pt x="40" y="59"/>
                    <a:pt x="40" y="59"/>
                    <a:pt x="40" y="59"/>
                  </a:cubicBezTo>
                  <a:cubicBezTo>
                    <a:pt x="41" y="59"/>
                    <a:pt x="42" y="58"/>
                    <a:pt x="43" y="58"/>
                  </a:cubicBezTo>
                  <a:cubicBezTo>
                    <a:pt x="44" y="58"/>
                    <a:pt x="44" y="58"/>
                    <a:pt x="44" y="58"/>
                  </a:cubicBezTo>
                  <a:cubicBezTo>
                    <a:pt x="44" y="58"/>
                    <a:pt x="44" y="58"/>
                    <a:pt x="44" y="58"/>
                  </a:cubicBezTo>
                  <a:cubicBezTo>
                    <a:pt x="44" y="58"/>
                    <a:pt x="45" y="58"/>
                    <a:pt x="45" y="59"/>
                  </a:cubicBezTo>
                  <a:cubicBezTo>
                    <a:pt x="47" y="59"/>
                    <a:pt x="48" y="60"/>
                    <a:pt x="50" y="60"/>
                  </a:cubicBezTo>
                  <a:cubicBezTo>
                    <a:pt x="60" y="64"/>
                    <a:pt x="60" y="64"/>
                    <a:pt x="60" y="64"/>
                  </a:cubicBezTo>
                  <a:cubicBezTo>
                    <a:pt x="61" y="64"/>
                    <a:pt x="61" y="64"/>
                    <a:pt x="61" y="64"/>
                  </a:cubicBezTo>
                  <a:cubicBezTo>
                    <a:pt x="61" y="65"/>
                    <a:pt x="61" y="65"/>
                    <a:pt x="61" y="65"/>
                  </a:cubicBezTo>
                  <a:cubicBezTo>
                    <a:pt x="62" y="66"/>
                    <a:pt x="62" y="66"/>
                    <a:pt x="62" y="66"/>
                  </a:cubicBezTo>
                  <a:cubicBezTo>
                    <a:pt x="62" y="66"/>
                    <a:pt x="62" y="67"/>
                    <a:pt x="62" y="68"/>
                  </a:cubicBezTo>
                  <a:cubicBezTo>
                    <a:pt x="63" y="69"/>
                    <a:pt x="63" y="69"/>
                    <a:pt x="63" y="69"/>
                  </a:cubicBezTo>
                  <a:cubicBezTo>
                    <a:pt x="63" y="69"/>
                    <a:pt x="64" y="69"/>
                    <a:pt x="65" y="69"/>
                  </a:cubicBezTo>
                  <a:cubicBezTo>
                    <a:pt x="66" y="70"/>
                    <a:pt x="67" y="70"/>
                    <a:pt x="68" y="70"/>
                  </a:cubicBezTo>
                  <a:cubicBezTo>
                    <a:pt x="70" y="70"/>
                    <a:pt x="72" y="71"/>
                    <a:pt x="74" y="72"/>
                  </a:cubicBezTo>
                  <a:cubicBezTo>
                    <a:pt x="75" y="71"/>
                    <a:pt x="75" y="71"/>
                    <a:pt x="75" y="71"/>
                  </a:cubicBezTo>
                  <a:cubicBezTo>
                    <a:pt x="76" y="70"/>
                    <a:pt x="76" y="70"/>
                    <a:pt x="76" y="70"/>
                  </a:cubicBezTo>
                  <a:cubicBezTo>
                    <a:pt x="77" y="70"/>
                    <a:pt x="77" y="70"/>
                    <a:pt x="77" y="70"/>
                  </a:cubicBezTo>
                  <a:cubicBezTo>
                    <a:pt x="78" y="69"/>
                    <a:pt x="78" y="69"/>
                    <a:pt x="78" y="69"/>
                  </a:cubicBezTo>
                  <a:cubicBezTo>
                    <a:pt x="79" y="69"/>
                    <a:pt x="79" y="69"/>
                    <a:pt x="79" y="69"/>
                  </a:cubicBezTo>
                  <a:cubicBezTo>
                    <a:pt x="79" y="69"/>
                    <a:pt x="79" y="69"/>
                    <a:pt x="79" y="69"/>
                  </a:cubicBezTo>
                  <a:cubicBezTo>
                    <a:pt x="79" y="69"/>
                    <a:pt x="79" y="69"/>
                    <a:pt x="79" y="69"/>
                  </a:cubicBezTo>
                  <a:cubicBezTo>
                    <a:pt x="80" y="70"/>
                    <a:pt x="80" y="70"/>
                    <a:pt x="80" y="70"/>
                  </a:cubicBezTo>
                  <a:cubicBezTo>
                    <a:pt x="85" y="72"/>
                    <a:pt x="85" y="72"/>
                    <a:pt x="85" y="72"/>
                  </a:cubicBezTo>
                  <a:cubicBezTo>
                    <a:pt x="85" y="71"/>
                    <a:pt x="85" y="71"/>
                    <a:pt x="85" y="71"/>
                  </a:cubicBezTo>
                  <a:cubicBezTo>
                    <a:pt x="86" y="71"/>
                    <a:pt x="87" y="70"/>
                    <a:pt x="88" y="70"/>
                  </a:cubicBezTo>
                  <a:cubicBezTo>
                    <a:pt x="87" y="65"/>
                    <a:pt x="87" y="65"/>
                    <a:pt x="87" y="65"/>
                  </a:cubicBezTo>
                  <a:cubicBezTo>
                    <a:pt x="89" y="69"/>
                    <a:pt x="89" y="69"/>
                    <a:pt x="89" y="69"/>
                  </a:cubicBezTo>
                  <a:cubicBezTo>
                    <a:pt x="90" y="69"/>
                    <a:pt x="91" y="68"/>
                    <a:pt x="93" y="68"/>
                  </a:cubicBezTo>
                  <a:cubicBezTo>
                    <a:pt x="94" y="68"/>
                    <a:pt x="95" y="69"/>
                    <a:pt x="96" y="69"/>
                  </a:cubicBezTo>
                  <a:cubicBezTo>
                    <a:pt x="96" y="69"/>
                    <a:pt x="96" y="69"/>
                    <a:pt x="96" y="69"/>
                  </a:cubicBezTo>
                  <a:cubicBezTo>
                    <a:pt x="97" y="69"/>
                    <a:pt x="97" y="69"/>
                    <a:pt x="97" y="69"/>
                  </a:cubicBezTo>
                  <a:cubicBezTo>
                    <a:pt x="98" y="70"/>
                    <a:pt x="98" y="70"/>
                    <a:pt x="98" y="70"/>
                  </a:cubicBezTo>
                  <a:cubicBezTo>
                    <a:pt x="100" y="70"/>
                    <a:pt x="102" y="71"/>
                    <a:pt x="104" y="72"/>
                  </a:cubicBezTo>
                  <a:cubicBezTo>
                    <a:pt x="105" y="73"/>
                    <a:pt x="106" y="74"/>
                    <a:pt x="107" y="76"/>
                  </a:cubicBezTo>
                  <a:cubicBezTo>
                    <a:pt x="107" y="77"/>
                    <a:pt x="107" y="77"/>
                    <a:pt x="107" y="78"/>
                  </a:cubicBezTo>
                  <a:cubicBezTo>
                    <a:pt x="107" y="78"/>
                    <a:pt x="107" y="79"/>
                    <a:pt x="107" y="80"/>
                  </a:cubicBezTo>
                  <a:cubicBezTo>
                    <a:pt x="107" y="80"/>
                    <a:pt x="107" y="80"/>
                    <a:pt x="107" y="80"/>
                  </a:cubicBezTo>
                  <a:cubicBezTo>
                    <a:pt x="108" y="81"/>
                    <a:pt x="108" y="81"/>
                    <a:pt x="108" y="81"/>
                  </a:cubicBezTo>
                  <a:cubicBezTo>
                    <a:pt x="109" y="81"/>
                    <a:pt x="110" y="81"/>
                    <a:pt x="110" y="82"/>
                  </a:cubicBezTo>
                  <a:cubicBezTo>
                    <a:pt x="111" y="82"/>
                    <a:pt x="111" y="82"/>
                    <a:pt x="111" y="82"/>
                  </a:cubicBezTo>
                  <a:cubicBezTo>
                    <a:pt x="113" y="83"/>
                    <a:pt x="115" y="83"/>
                    <a:pt x="117" y="84"/>
                  </a:cubicBezTo>
                  <a:cubicBezTo>
                    <a:pt x="121" y="79"/>
                    <a:pt x="121" y="79"/>
                    <a:pt x="121" y="79"/>
                  </a:cubicBezTo>
                  <a:cubicBezTo>
                    <a:pt x="118" y="85"/>
                    <a:pt x="118" y="85"/>
                    <a:pt x="118" y="85"/>
                  </a:cubicBezTo>
                  <a:cubicBezTo>
                    <a:pt x="119" y="85"/>
                    <a:pt x="119" y="85"/>
                    <a:pt x="119" y="85"/>
                  </a:cubicBezTo>
                  <a:cubicBezTo>
                    <a:pt x="119" y="86"/>
                    <a:pt x="120" y="86"/>
                    <a:pt x="120" y="87"/>
                  </a:cubicBezTo>
                  <a:cubicBezTo>
                    <a:pt x="121" y="87"/>
                    <a:pt x="121" y="87"/>
                    <a:pt x="121" y="87"/>
                  </a:cubicBezTo>
                  <a:cubicBezTo>
                    <a:pt x="121" y="87"/>
                    <a:pt x="121" y="87"/>
                    <a:pt x="121" y="87"/>
                  </a:cubicBezTo>
                  <a:cubicBezTo>
                    <a:pt x="121" y="87"/>
                    <a:pt x="121" y="87"/>
                    <a:pt x="121" y="87"/>
                  </a:cubicBezTo>
                  <a:cubicBezTo>
                    <a:pt x="121" y="87"/>
                    <a:pt x="122" y="87"/>
                    <a:pt x="122" y="87"/>
                  </a:cubicBezTo>
                  <a:cubicBezTo>
                    <a:pt x="123" y="87"/>
                    <a:pt x="123" y="87"/>
                    <a:pt x="123" y="87"/>
                  </a:cubicBezTo>
                  <a:cubicBezTo>
                    <a:pt x="124" y="86"/>
                    <a:pt x="125" y="86"/>
                    <a:pt x="126" y="86"/>
                  </a:cubicBezTo>
                  <a:cubicBezTo>
                    <a:pt x="126" y="86"/>
                    <a:pt x="126" y="86"/>
                    <a:pt x="126" y="86"/>
                  </a:cubicBezTo>
                  <a:cubicBezTo>
                    <a:pt x="127" y="86"/>
                    <a:pt x="127" y="85"/>
                    <a:pt x="128" y="85"/>
                  </a:cubicBezTo>
                  <a:cubicBezTo>
                    <a:pt x="128" y="85"/>
                    <a:pt x="128" y="85"/>
                    <a:pt x="128" y="85"/>
                  </a:cubicBezTo>
                  <a:cubicBezTo>
                    <a:pt x="130" y="85"/>
                    <a:pt x="130" y="85"/>
                    <a:pt x="130" y="85"/>
                  </a:cubicBezTo>
                  <a:cubicBezTo>
                    <a:pt x="131" y="86"/>
                    <a:pt x="131" y="86"/>
                    <a:pt x="131" y="86"/>
                  </a:cubicBezTo>
                  <a:cubicBezTo>
                    <a:pt x="131" y="87"/>
                    <a:pt x="131" y="87"/>
                    <a:pt x="131" y="87"/>
                  </a:cubicBezTo>
                  <a:cubicBezTo>
                    <a:pt x="131" y="87"/>
                    <a:pt x="131" y="87"/>
                    <a:pt x="131" y="87"/>
                  </a:cubicBezTo>
                  <a:cubicBezTo>
                    <a:pt x="132" y="88"/>
                    <a:pt x="132" y="88"/>
                    <a:pt x="132" y="88"/>
                  </a:cubicBezTo>
                  <a:cubicBezTo>
                    <a:pt x="133" y="89"/>
                    <a:pt x="133" y="89"/>
                    <a:pt x="134" y="90"/>
                  </a:cubicBezTo>
                  <a:cubicBezTo>
                    <a:pt x="134" y="91"/>
                    <a:pt x="134" y="91"/>
                    <a:pt x="135" y="92"/>
                  </a:cubicBezTo>
                  <a:cubicBezTo>
                    <a:pt x="135" y="92"/>
                    <a:pt x="135" y="92"/>
                    <a:pt x="135" y="92"/>
                  </a:cubicBezTo>
                  <a:cubicBezTo>
                    <a:pt x="136" y="92"/>
                    <a:pt x="136" y="92"/>
                    <a:pt x="137" y="92"/>
                  </a:cubicBezTo>
                  <a:cubicBezTo>
                    <a:pt x="138" y="92"/>
                    <a:pt x="138" y="92"/>
                    <a:pt x="138" y="92"/>
                  </a:cubicBezTo>
                  <a:cubicBezTo>
                    <a:pt x="138" y="91"/>
                    <a:pt x="139" y="91"/>
                    <a:pt x="139" y="91"/>
                  </a:cubicBezTo>
                  <a:cubicBezTo>
                    <a:pt x="140" y="91"/>
                    <a:pt x="140" y="91"/>
                    <a:pt x="141" y="91"/>
                  </a:cubicBezTo>
                  <a:cubicBezTo>
                    <a:pt x="141" y="91"/>
                    <a:pt x="142" y="91"/>
                    <a:pt x="143" y="91"/>
                  </a:cubicBezTo>
                  <a:cubicBezTo>
                    <a:pt x="144" y="92"/>
                    <a:pt x="144" y="92"/>
                    <a:pt x="144" y="92"/>
                  </a:cubicBezTo>
                  <a:cubicBezTo>
                    <a:pt x="145" y="92"/>
                    <a:pt x="146" y="92"/>
                    <a:pt x="147" y="92"/>
                  </a:cubicBezTo>
                  <a:cubicBezTo>
                    <a:pt x="148" y="93"/>
                    <a:pt x="149" y="93"/>
                    <a:pt x="150" y="93"/>
                  </a:cubicBezTo>
                  <a:cubicBezTo>
                    <a:pt x="154" y="95"/>
                    <a:pt x="154" y="95"/>
                    <a:pt x="154" y="95"/>
                  </a:cubicBezTo>
                  <a:cubicBezTo>
                    <a:pt x="154" y="95"/>
                    <a:pt x="155" y="95"/>
                    <a:pt x="156" y="94"/>
                  </a:cubicBezTo>
                  <a:cubicBezTo>
                    <a:pt x="157" y="94"/>
                    <a:pt x="157" y="94"/>
                    <a:pt x="157" y="94"/>
                  </a:cubicBezTo>
                  <a:cubicBezTo>
                    <a:pt x="158" y="93"/>
                    <a:pt x="159" y="92"/>
                    <a:pt x="160" y="92"/>
                  </a:cubicBezTo>
                  <a:cubicBezTo>
                    <a:pt x="160" y="92"/>
                    <a:pt x="161" y="92"/>
                    <a:pt x="161" y="92"/>
                  </a:cubicBezTo>
                  <a:cubicBezTo>
                    <a:pt x="162" y="92"/>
                    <a:pt x="162" y="92"/>
                    <a:pt x="162" y="92"/>
                  </a:cubicBezTo>
                  <a:cubicBezTo>
                    <a:pt x="162" y="92"/>
                    <a:pt x="162" y="92"/>
                    <a:pt x="163" y="92"/>
                  </a:cubicBezTo>
                  <a:cubicBezTo>
                    <a:pt x="163" y="93"/>
                    <a:pt x="163" y="93"/>
                    <a:pt x="163" y="93"/>
                  </a:cubicBezTo>
                  <a:cubicBezTo>
                    <a:pt x="164" y="93"/>
                    <a:pt x="164" y="93"/>
                    <a:pt x="164" y="93"/>
                  </a:cubicBezTo>
                  <a:cubicBezTo>
                    <a:pt x="164" y="93"/>
                    <a:pt x="164" y="94"/>
                    <a:pt x="165" y="95"/>
                  </a:cubicBezTo>
                  <a:cubicBezTo>
                    <a:pt x="165" y="95"/>
                    <a:pt x="165" y="95"/>
                    <a:pt x="165" y="96"/>
                  </a:cubicBezTo>
                  <a:cubicBezTo>
                    <a:pt x="165" y="96"/>
                    <a:pt x="165" y="96"/>
                    <a:pt x="165" y="96"/>
                  </a:cubicBezTo>
                  <a:cubicBezTo>
                    <a:pt x="165" y="96"/>
                    <a:pt x="165" y="96"/>
                    <a:pt x="165" y="96"/>
                  </a:cubicBezTo>
                  <a:cubicBezTo>
                    <a:pt x="166" y="96"/>
                    <a:pt x="167" y="96"/>
                    <a:pt x="169" y="96"/>
                  </a:cubicBezTo>
                  <a:cubicBezTo>
                    <a:pt x="175" y="96"/>
                    <a:pt x="175" y="96"/>
                    <a:pt x="175" y="96"/>
                  </a:cubicBezTo>
                  <a:cubicBezTo>
                    <a:pt x="176" y="96"/>
                    <a:pt x="176" y="96"/>
                    <a:pt x="176" y="96"/>
                  </a:cubicBezTo>
                  <a:cubicBezTo>
                    <a:pt x="176" y="96"/>
                    <a:pt x="176" y="96"/>
                    <a:pt x="176" y="96"/>
                  </a:cubicBezTo>
                  <a:cubicBezTo>
                    <a:pt x="177" y="96"/>
                    <a:pt x="177" y="97"/>
                    <a:pt x="178" y="97"/>
                  </a:cubicBezTo>
                  <a:cubicBezTo>
                    <a:pt x="179" y="97"/>
                    <a:pt x="180" y="97"/>
                    <a:pt x="180" y="97"/>
                  </a:cubicBezTo>
                  <a:cubicBezTo>
                    <a:pt x="181" y="97"/>
                    <a:pt x="181" y="97"/>
                    <a:pt x="181" y="97"/>
                  </a:cubicBezTo>
                  <a:cubicBezTo>
                    <a:pt x="181" y="97"/>
                    <a:pt x="181" y="97"/>
                    <a:pt x="181" y="97"/>
                  </a:cubicBezTo>
                  <a:cubicBezTo>
                    <a:pt x="182" y="97"/>
                    <a:pt x="182" y="97"/>
                    <a:pt x="182" y="97"/>
                  </a:cubicBezTo>
                  <a:cubicBezTo>
                    <a:pt x="182" y="97"/>
                    <a:pt x="182" y="97"/>
                    <a:pt x="182" y="97"/>
                  </a:cubicBezTo>
                  <a:cubicBezTo>
                    <a:pt x="183" y="96"/>
                    <a:pt x="183" y="96"/>
                    <a:pt x="183" y="96"/>
                  </a:cubicBezTo>
                  <a:cubicBezTo>
                    <a:pt x="183" y="95"/>
                    <a:pt x="183" y="95"/>
                    <a:pt x="183" y="95"/>
                  </a:cubicBezTo>
                  <a:cubicBezTo>
                    <a:pt x="184" y="93"/>
                    <a:pt x="185" y="91"/>
                    <a:pt x="185" y="90"/>
                  </a:cubicBezTo>
                  <a:cubicBezTo>
                    <a:pt x="185" y="90"/>
                    <a:pt x="185" y="90"/>
                    <a:pt x="185" y="90"/>
                  </a:cubicBezTo>
                  <a:cubicBezTo>
                    <a:pt x="184" y="89"/>
                    <a:pt x="184" y="89"/>
                    <a:pt x="184" y="88"/>
                  </a:cubicBezTo>
                  <a:cubicBezTo>
                    <a:pt x="183" y="87"/>
                    <a:pt x="183" y="87"/>
                    <a:pt x="182" y="86"/>
                  </a:cubicBezTo>
                  <a:cubicBezTo>
                    <a:pt x="182" y="85"/>
                    <a:pt x="182" y="85"/>
                    <a:pt x="182" y="85"/>
                  </a:cubicBezTo>
                  <a:cubicBezTo>
                    <a:pt x="181" y="84"/>
                    <a:pt x="181" y="83"/>
                    <a:pt x="181" y="82"/>
                  </a:cubicBezTo>
                  <a:cubicBezTo>
                    <a:pt x="181" y="80"/>
                    <a:pt x="181" y="78"/>
                    <a:pt x="181" y="75"/>
                  </a:cubicBezTo>
                  <a:cubicBezTo>
                    <a:pt x="181" y="72"/>
                    <a:pt x="182" y="69"/>
                    <a:pt x="183" y="67"/>
                  </a:cubicBezTo>
                  <a:cubicBezTo>
                    <a:pt x="183" y="65"/>
                    <a:pt x="183" y="65"/>
                    <a:pt x="183" y="65"/>
                  </a:cubicBezTo>
                  <a:cubicBezTo>
                    <a:pt x="182" y="65"/>
                    <a:pt x="180" y="65"/>
                    <a:pt x="179" y="65"/>
                  </a:cubicBezTo>
                  <a:cubicBezTo>
                    <a:pt x="176" y="65"/>
                    <a:pt x="173" y="65"/>
                    <a:pt x="170" y="65"/>
                  </a:cubicBezTo>
                  <a:cubicBezTo>
                    <a:pt x="167" y="64"/>
                    <a:pt x="164" y="64"/>
                    <a:pt x="162" y="63"/>
                  </a:cubicBezTo>
                  <a:cubicBezTo>
                    <a:pt x="159" y="62"/>
                    <a:pt x="157" y="61"/>
                    <a:pt x="155" y="60"/>
                  </a:cubicBezTo>
                  <a:cubicBezTo>
                    <a:pt x="154" y="60"/>
                    <a:pt x="154" y="60"/>
                    <a:pt x="154" y="60"/>
                  </a:cubicBezTo>
                  <a:cubicBezTo>
                    <a:pt x="153" y="59"/>
                    <a:pt x="153" y="59"/>
                    <a:pt x="153" y="59"/>
                  </a:cubicBezTo>
                  <a:cubicBezTo>
                    <a:pt x="153" y="60"/>
                    <a:pt x="153" y="60"/>
                    <a:pt x="153" y="60"/>
                  </a:cubicBezTo>
                  <a:cubicBezTo>
                    <a:pt x="152" y="61"/>
                    <a:pt x="151" y="62"/>
                    <a:pt x="148" y="62"/>
                  </a:cubicBezTo>
                  <a:cubicBezTo>
                    <a:pt x="148" y="62"/>
                    <a:pt x="147" y="62"/>
                    <a:pt x="146" y="62"/>
                  </a:cubicBezTo>
                  <a:cubicBezTo>
                    <a:pt x="145" y="62"/>
                    <a:pt x="145" y="62"/>
                    <a:pt x="145" y="62"/>
                  </a:cubicBezTo>
                  <a:cubicBezTo>
                    <a:pt x="144" y="62"/>
                    <a:pt x="143" y="61"/>
                    <a:pt x="141" y="61"/>
                  </a:cubicBezTo>
                  <a:cubicBezTo>
                    <a:pt x="141" y="61"/>
                    <a:pt x="141" y="61"/>
                    <a:pt x="141" y="61"/>
                  </a:cubicBezTo>
                  <a:cubicBezTo>
                    <a:pt x="139" y="67"/>
                    <a:pt x="139" y="67"/>
                    <a:pt x="139" y="67"/>
                  </a:cubicBezTo>
                  <a:cubicBezTo>
                    <a:pt x="134" y="61"/>
                    <a:pt x="134" y="61"/>
                    <a:pt x="134" y="61"/>
                  </a:cubicBezTo>
                  <a:cubicBezTo>
                    <a:pt x="133" y="59"/>
                    <a:pt x="131" y="58"/>
                    <a:pt x="130" y="56"/>
                  </a:cubicBezTo>
                  <a:cubicBezTo>
                    <a:pt x="130" y="55"/>
                    <a:pt x="130" y="55"/>
                    <a:pt x="130" y="55"/>
                  </a:cubicBezTo>
                  <a:cubicBezTo>
                    <a:pt x="129" y="54"/>
                    <a:pt x="129" y="54"/>
                    <a:pt x="129" y="54"/>
                  </a:cubicBezTo>
                  <a:cubicBezTo>
                    <a:pt x="128" y="54"/>
                    <a:pt x="128" y="54"/>
                    <a:pt x="128" y="54"/>
                  </a:cubicBezTo>
                  <a:cubicBezTo>
                    <a:pt x="128" y="53"/>
                    <a:pt x="127" y="53"/>
                    <a:pt x="127" y="53"/>
                  </a:cubicBezTo>
                  <a:cubicBezTo>
                    <a:pt x="126" y="53"/>
                    <a:pt x="126" y="53"/>
                    <a:pt x="126" y="53"/>
                  </a:cubicBezTo>
                  <a:cubicBezTo>
                    <a:pt x="125" y="53"/>
                    <a:pt x="124" y="53"/>
                    <a:pt x="123" y="53"/>
                  </a:cubicBezTo>
                  <a:cubicBezTo>
                    <a:pt x="123" y="53"/>
                    <a:pt x="123" y="53"/>
                    <a:pt x="123" y="53"/>
                  </a:cubicBezTo>
                  <a:cubicBezTo>
                    <a:pt x="122" y="54"/>
                    <a:pt x="121" y="54"/>
                    <a:pt x="121" y="54"/>
                  </a:cubicBezTo>
                  <a:cubicBezTo>
                    <a:pt x="120" y="54"/>
                    <a:pt x="119" y="54"/>
                    <a:pt x="119" y="54"/>
                  </a:cubicBezTo>
                  <a:cubicBezTo>
                    <a:pt x="118" y="54"/>
                    <a:pt x="118" y="54"/>
                    <a:pt x="117" y="54"/>
                  </a:cubicBezTo>
                  <a:cubicBezTo>
                    <a:pt x="115" y="53"/>
                    <a:pt x="114" y="53"/>
                    <a:pt x="113" y="52"/>
                  </a:cubicBezTo>
                  <a:cubicBezTo>
                    <a:pt x="113" y="50"/>
                    <a:pt x="113" y="49"/>
                    <a:pt x="113" y="47"/>
                  </a:cubicBezTo>
                  <a:cubicBezTo>
                    <a:pt x="112" y="47"/>
                    <a:pt x="112" y="47"/>
                    <a:pt x="111" y="47"/>
                  </a:cubicBezTo>
                  <a:cubicBezTo>
                    <a:pt x="111" y="47"/>
                    <a:pt x="110" y="47"/>
                    <a:pt x="110" y="47"/>
                  </a:cubicBezTo>
                  <a:cubicBezTo>
                    <a:pt x="108" y="47"/>
                    <a:pt x="107" y="46"/>
                    <a:pt x="105" y="46"/>
                  </a:cubicBezTo>
                  <a:cubicBezTo>
                    <a:pt x="104" y="45"/>
                    <a:pt x="103" y="45"/>
                    <a:pt x="102" y="44"/>
                  </a:cubicBezTo>
                  <a:cubicBezTo>
                    <a:pt x="102" y="44"/>
                    <a:pt x="102" y="44"/>
                    <a:pt x="102" y="44"/>
                  </a:cubicBezTo>
                  <a:cubicBezTo>
                    <a:pt x="101" y="43"/>
                    <a:pt x="101" y="43"/>
                    <a:pt x="100" y="43"/>
                  </a:cubicBezTo>
                  <a:cubicBezTo>
                    <a:pt x="99" y="42"/>
                    <a:pt x="99" y="42"/>
                    <a:pt x="99" y="42"/>
                  </a:cubicBezTo>
                  <a:cubicBezTo>
                    <a:pt x="98" y="41"/>
                    <a:pt x="97" y="41"/>
                    <a:pt x="97" y="41"/>
                  </a:cubicBezTo>
                  <a:cubicBezTo>
                    <a:pt x="96" y="40"/>
                    <a:pt x="96" y="40"/>
                    <a:pt x="96" y="40"/>
                  </a:cubicBezTo>
                  <a:cubicBezTo>
                    <a:pt x="95" y="39"/>
                    <a:pt x="92" y="37"/>
                    <a:pt x="92" y="34"/>
                  </a:cubicBezTo>
                  <a:cubicBezTo>
                    <a:pt x="92" y="32"/>
                    <a:pt x="92" y="32"/>
                    <a:pt x="92" y="32"/>
                  </a:cubicBezTo>
                  <a:cubicBezTo>
                    <a:pt x="91" y="32"/>
                    <a:pt x="91" y="31"/>
                    <a:pt x="91" y="30"/>
                  </a:cubicBezTo>
                  <a:cubicBezTo>
                    <a:pt x="90" y="30"/>
                    <a:pt x="90" y="30"/>
                    <a:pt x="90" y="30"/>
                  </a:cubicBezTo>
                  <a:cubicBezTo>
                    <a:pt x="89" y="30"/>
                    <a:pt x="87" y="31"/>
                    <a:pt x="85" y="31"/>
                  </a:cubicBezTo>
                  <a:cubicBezTo>
                    <a:pt x="84" y="31"/>
                    <a:pt x="84" y="31"/>
                    <a:pt x="84" y="31"/>
                  </a:cubicBezTo>
                  <a:cubicBezTo>
                    <a:pt x="83" y="32"/>
                    <a:pt x="83" y="32"/>
                    <a:pt x="82" y="32"/>
                  </a:cubicBezTo>
                  <a:cubicBezTo>
                    <a:pt x="79" y="32"/>
                    <a:pt x="78" y="30"/>
                    <a:pt x="76" y="28"/>
                  </a:cubicBezTo>
                  <a:cubicBezTo>
                    <a:pt x="76" y="27"/>
                    <a:pt x="76" y="27"/>
                    <a:pt x="76" y="27"/>
                  </a:cubicBezTo>
                  <a:cubicBezTo>
                    <a:pt x="75" y="27"/>
                    <a:pt x="75" y="27"/>
                    <a:pt x="75" y="27"/>
                  </a:cubicBezTo>
                  <a:cubicBezTo>
                    <a:pt x="75" y="26"/>
                    <a:pt x="75" y="26"/>
                    <a:pt x="75" y="26"/>
                  </a:cubicBezTo>
                  <a:cubicBezTo>
                    <a:pt x="74" y="25"/>
                    <a:pt x="73" y="24"/>
                    <a:pt x="72" y="23"/>
                  </a:cubicBezTo>
                  <a:cubicBezTo>
                    <a:pt x="72" y="23"/>
                    <a:pt x="72" y="23"/>
                    <a:pt x="72" y="23"/>
                  </a:cubicBezTo>
                  <a:cubicBezTo>
                    <a:pt x="72" y="23"/>
                    <a:pt x="72" y="23"/>
                    <a:pt x="72" y="23"/>
                  </a:cubicBezTo>
                  <a:cubicBezTo>
                    <a:pt x="71" y="22"/>
                    <a:pt x="71" y="22"/>
                    <a:pt x="71" y="22"/>
                  </a:cubicBezTo>
                  <a:cubicBezTo>
                    <a:pt x="71" y="21"/>
                    <a:pt x="71" y="21"/>
                    <a:pt x="70" y="21"/>
                  </a:cubicBezTo>
                  <a:cubicBezTo>
                    <a:pt x="70" y="20"/>
                    <a:pt x="70" y="20"/>
                    <a:pt x="70" y="20"/>
                  </a:cubicBezTo>
                  <a:cubicBezTo>
                    <a:pt x="69" y="26"/>
                    <a:pt x="69" y="26"/>
                    <a:pt x="69" y="26"/>
                  </a:cubicBezTo>
                  <a:cubicBezTo>
                    <a:pt x="68" y="20"/>
                    <a:pt x="68" y="20"/>
                    <a:pt x="68" y="20"/>
                  </a:cubicBezTo>
                  <a:cubicBezTo>
                    <a:pt x="67" y="20"/>
                    <a:pt x="67" y="20"/>
                    <a:pt x="67" y="20"/>
                  </a:cubicBezTo>
                  <a:cubicBezTo>
                    <a:pt x="67" y="20"/>
                    <a:pt x="67" y="20"/>
                    <a:pt x="66" y="20"/>
                  </a:cubicBezTo>
                  <a:cubicBezTo>
                    <a:pt x="66" y="19"/>
                    <a:pt x="66" y="19"/>
                    <a:pt x="66" y="19"/>
                  </a:cubicBezTo>
                  <a:cubicBezTo>
                    <a:pt x="63" y="19"/>
                    <a:pt x="61" y="18"/>
                    <a:pt x="59" y="17"/>
                  </a:cubicBezTo>
                  <a:cubicBezTo>
                    <a:pt x="58" y="16"/>
                    <a:pt x="58" y="16"/>
                    <a:pt x="58" y="16"/>
                  </a:cubicBezTo>
                  <a:cubicBezTo>
                    <a:pt x="57" y="15"/>
                    <a:pt x="56" y="14"/>
                    <a:pt x="55" y="13"/>
                  </a:cubicBezTo>
                  <a:cubicBezTo>
                    <a:pt x="54" y="12"/>
                    <a:pt x="54" y="12"/>
                    <a:pt x="53" y="12"/>
                  </a:cubicBezTo>
                  <a:cubicBezTo>
                    <a:pt x="51" y="11"/>
                    <a:pt x="51" y="11"/>
                    <a:pt x="51" y="11"/>
                  </a:cubicBezTo>
                  <a:cubicBezTo>
                    <a:pt x="51" y="10"/>
                    <a:pt x="50" y="10"/>
                    <a:pt x="49" y="10"/>
                  </a:cubicBezTo>
                  <a:cubicBezTo>
                    <a:pt x="47" y="9"/>
                    <a:pt x="46" y="8"/>
                    <a:pt x="45" y="7"/>
                  </a:cubicBezTo>
                  <a:cubicBezTo>
                    <a:pt x="44" y="7"/>
                    <a:pt x="44" y="7"/>
                    <a:pt x="44" y="7"/>
                  </a:cubicBezTo>
                  <a:cubicBezTo>
                    <a:pt x="43" y="5"/>
                    <a:pt x="43" y="4"/>
                    <a:pt x="42" y="3"/>
                  </a:cubicBezTo>
                  <a:cubicBezTo>
                    <a:pt x="42" y="2"/>
                    <a:pt x="42" y="1"/>
                    <a:pt x="41" y="1"/>
                  </a:cubicBezTo>
                  <a:cubicBezTo>
                    <a:pt x="41" y="1"/>
                    <a:pt x="38" y="0"/>
                    <a:pt x="35" y="0"/>
                  </a:cubicBezTo>
                  <a:cubicBezTo>
                    <a:pt x="34" y="0"/>
                    <a:pt x="34" y="0"/>
                    <a:pt x="34" y="0"/>
                  </a:cubicBezTo>
                  <a:cubicBezTo>
                    <a:pt x="33" y="0"/>
                    <a:pt x="33"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1" name="Rectangle 1540">
              <a:extLst>
                <a:ext uri="{FF2B5EF4-FFF2-40B4-BE49-F238E27FC236}">
                  <a16:creationId xmlns:a16="http://schemas.microsoft.com/office/drawing/2014/main" id="{9CC6C80C-59D0-4DC7-BE2A-00A3FABC88E7}"/>
                </a:ext>
              </a:extLst>
            </p:cNvPr>
            <p:cNvSpPr>
              <a:spLocks noChangeArrowheads="1"/>
            </p:cNvSpPr>
            <p:nvPr/>
          </p:nvSpPr>
          <p:spPr bwMode="auto">
            <a:xfrm>
              <a:off x="1481939" y="2577288"/>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2" name="Freeform 1541">
              <a:extLst>
                <a:ext uri="{FF2B5EF4-FFF2-40B4-BE49-F238E27FC236}">
                  <a16:creationId xmlns:a16="http://schemas.microsoft.com/office/drawing/2014/main" id="{32CF56BF-AD26-4874-AC21-81F3A8D5A7E6}"/>
                </a:ext>
              </a:extLst>
            </p:cNvPr>
            <p:cNvSpPr>
              <a:spLocks/>
            </p:cNvSpPr>
            <p:nvPr/>
          </p:nvSpPr>
          <p:spPr bwMode="auto">
            <a:xfrm>
              <a:off x="1481939" y="257728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3" name="Freeform 1542">
              <a:extLst>
                <a:ext uri="{FF2B5EF4-FFF2-40B4-BE49-F238E27FC236}">
                  <a16:creationId xmlns:a16="http://schemas.microsoft.com/office/drawing/2014/main" id="{CAA51BBD-5E99-4896-8CB7-878C86C91731}"/>
                </a:ext>
              </a:extLst>
            </p:cNvPr>
            <p:cNvSpPr>
              <a:spLocks noEditPoints="1"/>
            </p:cNvSpPr>
            <p:nvPr/>
          </p:nvSpPr>
          <p:spPr bwMode="auto">
            <a:xfrm>
              <a:off x="2226935" y="3116907"/>
              <a:ext cx="76513" cy="190612"/>
            </a:xfrm>
            <a:custGeom>
              <a:avLst/>
              <a:gdLst>
                <a:gd name="T0" fmla="*/ 10 w 24"/>
                <a:gd name="T1" fmla="*/ 45 h 60"/>
                <a:gd name="T2" fmla="*/ 9 w 24"/>
                <a:gd name="T3" fmla="*/ 52 h 60"/>
                <a:gd name="T4" fmla="*/ 10 w 24"/>
                <a:gd name="T5" fmla="*/ 45 h 60"/>
                <a:gd name="T6" fmla="*/ 16 w 24"/>
                <a:gd name="T7" fmla="*/ 0 h 60"/>
                <a:gd name="T8" fmla="*/ 15 w 24"/>
                <a:gd name="T9" fmla="*/ 0 h 60"/>
                <a:gd name="T10" fmla="*/ 13 w 24"/>
                <a:gd name="T11" fmla="*/ 1 h 60"/>
                <a:gd name="T12" fmla="*/ 13 w 24"/>
                <a:gd name="T13" fmla="*/ 1 h 60"/>
                <a:gd name="T14" fmla="*/ 11 w 24"/>
                <a:gd name="T15" fmla="*/ 7 h 60"/>
                <a:gd name="T16" fmla="*/ 11 w 24"/>
                <a:gd name="T17" fmla="*/ 9 h 60"/>
                <a:gd name="T18" fmla="*/ 9 w 24"/>
                <a:gd name="T19" fmla="*/ 14 h 60"/>
                <a:gd name="T20" fmla="*/ 7 w 24"/>
                <a:gd name="T21" fmla="*/ 17 h 60"/>
                <a:gd name="T22" fmla="*/ 3 w 24"/>
                <a:gd name="T23" fmla="*/ 19 h 60"/>
                <a:gd name="T24" fmla="*/ 0 w 24"/>
                <a:gd name="T25" fmla="*/ 18 h 60"/>
                <a:gd name="T26" fmla="*/ 0 w 24"/>
                <a:gd name="T27" fmla="*/ 17 h 60"/>
                <a:gd name="T28" fmla="*/ 0 w 24"/>
                <a:gd name="T29" fmla="*/ 17 h 60"/>
                <a:gd name="T30" fmla="*/ 7 w 24"/>
                <a:gd name="T31" fmla="*/ 33 h 60"/>
                <a:gd name="T32" fmla="*/ 9 w 24"/>
                <a:gd name="T33" fmla="*/ 29 h 60"/>
                <a:gd name="T34" fmla="*/ 8 w 24"/>
                <a:gd name="T35" fmla="*/ 35 h 60"/>
                <a:gd name="T36" fmla="*/ 9 w 24"/>
                <a:gd name="T37" fmla="*/ 41 h 60"/>
                <a:gd name="T38" fmla="*/ 10 w 24"/>
                <a:gd name="T39" fmla="*/ 45 h 60"/>
                <a:gd name="T40" fmla="*/ 10 w 24"/>
                <a:gd name="T41" fmla="*/ 45 h 60"/>
                <a:gd name="T42" fmla="*/ 11 w 24"/>
                <a:gd name="T43" fmla="*/ 48 h 60"/>
                <a:gd name="T44" fmla="*/ 11 w 24"/>
                <a:gd name="T45" fmla="*/ 54 h 60"/>
                <a:gd name="T46" fmla="*/ 13 w 24"/>
                <a:gd name="T47" fmla="*/ 60 h 60"/>
                <a:gd name="T48" fmla="*/ 14 w 24"/>
                <a:gd name="T49" fmla="*/ 59 h 60"/>
                <a:gd name="T50" fmla="*/ 14 w 24"/>
                <a:gd name="T51" fmla="*/ 59 h 60"/>
                <a:gd name="T52" fmla="*/ 14 w 24"/>
                <a:gd name="T53" fmla="*/ 58 h 60"/>
                <a:gd name="T54" fmla="*/ 14 w 24"/>
                <a:gd name="T55" fmla="*/ 58 h 60"/>
                <a:gd name="T56" fmla="*/ 17 w 24"/>
                <a:gd name="T57" fmla="*/ 52 h 60"/>
                <a:gd name="T58" fmla="*/ 18 w 24"/>
                <a:gd name="T59" fmla="*/ 51 h 60"/>
                <a:gd name="T60" fmla="*/ 21 w 24"/>
                <a:gd name="T61" fmla="*/ 45 h 60"/>
                <a:gd name="T62" fmla="*/ 23 w 24"/>
                <a:gd name="T63" fmla="*/ 51 h 60"/>
                <a:gd name="T64" fmla="*/ 24 w 24"/>
                <a:gd name="T65" fmla="*/ 52 h 60"/>
                <a:gd name="T66" fmla="*/ 23 w 24"/>
                <a:gd name="T67" fmla="*/ 43 h 60"/>
                <a:gd name="T68" fmla="*/ 23 w 24"/>
                <a:gd name="T69" fmla="*/ 40 h 60"/>
                <a:gd name="T70" fmla="*/ 22 w 24"/>
                <a:gd name="T71" fmla="*/ 28 h 60"/>
                <a:gd name="T72" fmla="*/ 20 w 24"/>
                <a:gd name="T73" fmla="*/ 21 h 60"/>
                <a:gd name="T74" fmla="*/ 20 w 24"/>
                <a:gd name="T75" fmla="*/ 20 h 60"/>
                <a:gd name="T76" fmla="*/ 18 w 24"/>
                <a:gd name="T77" fmla="*/ 14 h 60"/>
                <a:gd name="T78" fmla="*/ 18 w 24"/>
                <a:gd name="T79" fmla="*/ 14 h 60"/>
                <a:gd name="T80" fmla="*/ 18 w 24"/>
                <a:gd name="T81" fmla="*/ 13 h 60"/>
                <a:gd name="T82" fmla="*/ 17 w 24"/>
                <a:gd name="T83" fmla="*/ 5 h 60"/>
                <a:gd name="T84" fmla="*/ 16 w 24"/>
                <a:gd name="T8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 h="60">
                  <a:moveTo>
                    <a:pt x="10" y="45"/>
                  </a:moveTo>
                  <a:cubicBezTo>
                    <a:pt x="10" y="47"/>
                    <a:pt x="9" y="50"/>
                    <a:pt x="9" y="52"/>
                  </a:cubicBezTo>
                  <a:cubicBezTo>
                    <a:pt x="13" y="50"/>
                    <a:pt x="10" y="48"/>
                    <a:pt x="10" y="45"/>
                  </a:cubicBezTo>
                  <a:moveTo>
                    <a:pt x="16" y="0"/>
                  </a:moveTo>
                  <a:cubicBezTo>
                    <a:pt x="15" y="0"/>
                    <a:pt x="15" y="0"/>
                    <a:pt x="15" y="0"/>
                  </a:cubicBezTo>
                  <a:cubicBezTo>
                    <a:pt x="15" y="1"/>
                    <a:pt x="14" y="1"/>
                    <a:pt x="13" y="1"/>
                  </a:cubicBezTo>
                  <a:cubicBezTo>
                    <a:pt x="13" y="1"/>
                    <a:pt x="13" y="1"/>
                    <a:pt x="13" y="1"/>
                  </a:cubicBezTo>
                  <a:cubicBezTo>
                    <a:pt x="13" y="3"/>
                    <a:pt x="12" y="5"/>
                    <a:pt x="11" y="7"/>
                  </a:cubicBezTo>
                  <a:cubicBezTo>
                    <a:pt x="11" y="8"/>
                    <a:pt x="11" y="8"/>
                    <a:pt x="11" y="9"/>
                  </a:cubicBezTo>
                  <a:cubicBezTo>
                    <a:pt x="10" y="10"/>
                    <a:pt x="10" y="12"/>
                    <a:pt x="9" y="14"/>
                  </a:cubicBezTo>
                  <a:cubicBezTo>
                    <a:pt x="8" y="15"/>
                    <a:pt x="8" y="16"/>
                    <a:pt x="7" y="17"/>
                  </a:cubicBezTo>
                  <a:cubicBezTo>
                    <a:pt x="6" y="18"/>
                    <a:pt x="5" y="19"/>
                    <a:pt x="3" y="19"/>
                  </a:cubicBezTo>
                  <a:cubicBezTo>
                    <a:pt x="2" y="19"/>
                    <a:pt x="1" y="18"/>
                    <a:pt x="0" y="18"/>
                  </a:cubicBezTo>
                  <a:cubicBezTo>
                    <a:pt x="0" y="17"/>
                    <a:pt x="0" y="17"/>
                    <a:pt x="0" y="17"/>
                  </a:cubicBezTo>
                  <a:cubicBezTo>
                    <a:pt x="0" y="17"/>
                    <a:pt x="0" y="17"/>
                    <a:pt x="0" y="17"/>
                  </a:cubicBezTo>
                  <a:cubicBezTo>
                    <a:pt x="1" y="23"/>
                    <a:pt x="4" y="28"/>
                    <a:pt x="7" y="33"/>
                  </a:cubicBezTo>
                  <a:cubicBezTo>
                    <a:pt x="7" y="32"/>
                    <a:pt x="8" y="31"/>
                    <a:pt x="9" y="29"/>
                  </a:cubicBezTo>
                  <a:cubicBezTo>
                    <a:pt x="9" y="31"/>
                    <a:pt x="8" y="32"/>
                    <a:pt x="8" y="35"/>
                  </a:cubicBezTo>
                  <a:cubicBezTo>
                    <a:pt x="8" y="37"/>
                    <a:pt x="9" y="39"/>
                    <a:pt x="9" y="41"/>
                  </a:cubicBezTo>
                  <a:cubicBezTo>
                    <a:pt x="10" y="43"/>
                    <a:pt x="10" y="43"/>
                    <a:pt x="10" y="45"/>
                  </a:cubicBezTo>
                  <a:cubicBezTo>
                    <a:pt x="10" y="45"/>
                    <a:pt x="10" y="45"/>
                    <a:pt x="10" y="45"/>
                  </a:cubicBezTo>
                  <a:cubicBezTo>
                    <a:pt x="10" y="46"/>
                    <a:pt x="11" y="47"/>
                    <a:pt x="11" y="48"/>
                  </a:cubicBezTo>
                  <a:cubicBezTo>
                    <a:pt x="12" y="50"/>
                    <a:pt x="10" y="52"/>
                    <a:pt x="11" y="54"/>
                  </a:cubicBezTo>
                  <a:cubicBezTo>
                    <a:pt x="12" y="56"/>
                    <a:pt x="13" y="58"/>
                    <a:pt x="13" y="60"/>
                  </a:cubicBezTo>
                  <a:cubicBezTo>
                    <a:pt x="14" y="59"/>
                    <a:pt x="14" y="59"/>
                    <a:pt x="14" y="59"/>
                  </a:cubicBezTo>
                  <a:cubicBezTo>
                    <a:pt x="14" y="59"/>
                    <a:pt x="14" y="59"/>
                    <a:pt x="14" y="59"/>
                  </a:cubicBezTo>
                  <a:cubicBezTo>
                    <a:pt x="14" y="58"/>
                    <a:pt x="14" y="58"/>
                    <a:pt x="14" y="58"/>
                  </a:cubicBezTo>
                  <a:cubicBezTo>
                    <a:pt x="14" y="58"/>
                    <a:pt x="14" y="58"/>
                    <a:pt x="14" y="58"/>
                  </a:cubicBezTo>
                  <a:cubicBezTo>
                    <a:pt x="14" y="57"/>
                    <a:pt x="15" y="55"/>
                    <a:pt x="17" y="52"/>
                  </a:cubicBezTo>
                  <a:cubicBezTo>
                    <a:pt x="17" y="52"/>
                    <a:pt x="18" y="51"/>
                    <a:pt x="18" y="51"/>
                  </a:cubicBezTo>
                  <a:cubicBezTo>
                    <a:pt x="21" y="45"/>
                    <a:pt x="21" y="45"/>
                    <a:pt x="21" y="45"/>
                  </a:cubicBezTo>
                  <a:cubicBezTo>
                    <a:pt x="23" y="51"/>
                    <a:pt x="23" y="51"/>
                    <a:pt x="23" y="51"/>
                  </a:cubicBezTo>
                  <a:cubicBezTo>
                    <a:pt x="23" y="51"/>
                    <a:pt x="23" y="52"/>
                    <a:pt x="24" y="52"/>
                  </a:cubicBezTo>
                  <a:cubicBezTo>
                    <a:pt x="23" y="43"/>
                    <a:pt x="23" y="43"/>
                    <a:pt x="23" y="43"/>
                  </a:cubicBezTo>
                  <a:cubicBezTo>
                    <a:pt x="23" y="40"/>
                    <a:pt x="23" y="40"/>
                    <a:pt x="23" y="40"/>
                  </a:cubicBezTo>
                  <a:cubicBezTo>
                    <a:pt x="22" y="28"/>
                    <a:pt x="22" y="28"/>
                    <a:pt x="22" y="28"/>
                  </a:cubicBezTo>
                  <a:cubicBezTo>
                    <a:pt x="21" y="26"/>
                    <a:pt x="21" y="23"/>
                    <a:pt x="20" y="21"/>
                  </a:cubicBezTo>
                  <a:cubicBezTo>
                    <a:pt x="20" y="20"/>
                    <a:pt x="20" y="20"/>
                    <a:pt x="20" y="20"/>
                  </a:cubicBezTo>
                  <a:cubicBezTo>
                    <a:pt x="19" y="18"/>
                    <a:pt x="18" y="16"/>
                    <a:pt x="18" y="14"/>
                  </a:cubicBezTo>
                  <a:cubicBezTo>
                    <a:pt x="18" y="14"/>
                    <a:pt x="18" y="14"/>
                    <a:pt x="18" y="14"/>
                  </a:cubicBezTo>
                  <a:cubicBezTo>
                    <a:pt x="18" y="13"/>
                    <a:pt x="18" y="13"/>
                    <a:pt x="18" y="13"/>
                  </a:cubicBezTo>
                  <a:cubicBezTo>
                    <a:pt x="18" y="10"/>
                    <a:pt x="17" y="8"/>
                    <a:pt x="17" y="5"/>
                  </a:cubicBezTo>
                  <a:cubicBezTo>
                    <a:pt x="17" y="3"/>
                    <a:pt x="16"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4" name="Freeform 1543">
              <a:extLst>
                <a:ext uri="{FF2B5EF4-FFF2-40B4-BE49-F238E27FC236}">
                  <a16:creationId xmlns:a16="http://schemas.microsoft.com/office/drawing/2014/main" id="{A8EE87FE-61C3-4C41-B632-5963A697E399}"/>
                </a:ext>
              </a:extLst>
            </p:cNvPr>
            <p:cNvSpPr>
              <a:spLocks/>
            </p:cNvSpPr>
            <p:nvPr/>
          </p:nvSpPr>
          <p:spPr bwMode="auto">
            <a:xfrm>
              <a:off x="1982630" y="2903476"/>
              <a:ext cx="302026" cy="365116"/>
            </a:xfrm>
            <a:custGeom>
              <a:avLst/>
              <a:gdLst>
                <a:gd name="T0" fmla="*/ 1 w 95"/>
                <a:gd name="T1" fmla="*/ 7 h 115"/>
                <a:gd name="T2" fmla="*/ 3 w 95"/>
                <a:gd name="T3" fmla="*/ 9 h 115"/>
                <a:gd name="T4" fmla="*/ 10 w 95"/>
                <a:gd name="T5" fmla="*/ 16 h 115"/>
                <a:gd name="T6" fmla="*/ 17 w 95"/>
                <a:gd name="T7" fmla="*/ 20 h 115"/>
                <a:gd name="T8" fmla="*/ 20 w 95"/>
                <a:gd name="T9" fmla="*/ 27 h 115"/>
                <a:gd name="T10" fmla="*/ 13 w 95"/>
                <a:gd name="T11" fmla="*/ 30 h 115"/>
                <a:gd name="T12" fmla="*/ 1 w 95"/>
                <a:gd name="T13" fmla="*/ 37 h 115"/>
                <a:gd name="T14" fmla="*/ 2 w 95"/>
                <a:gd name="T15" fmla="*/ 43 h 115"/>
                <a:gd name="T16" fmla="*/ 6 w 95"/>
                <a:gd name="T17" fmla="*/ 45 h 115"/>
                <a:gd name="T18" fmla="*/ 9 w 95"/>
                <a:gd name="T19" fmla="*/ 45 h 115"/>
                <a:gd name="T20" fmla="*/ 15 w 95"/>
                <a:gd name="T21" fmla="*/ 58 h 115"/>
                <a:gd name="T22" fmla="*/ 13 w 95"/>
                <a:gd name="T23" fmla="*/ 66 h 115"/>
                <a:gd name="T24" fmla="*/ 16 w 95"/>
                <a:gd name="T25" fmla="*/ 70 h 115"/>
                <a:gd name="T26" fmla="*/ 16 w 95"/>
                <a:gd name="T27" fmla="*/ 72 h 115"/>
                <a:gd name="T28" fmla="*/ 20 w 95"/>
                <a:gd name="T29" fmla="*/ 78 h 115"/>
                <a:gd name="T30" fmla="*/ 19 w 95"/>
                <a:gd name="T31" fmla="*/ 83 h 115"/>
                <a:gd name="T32" fmla="*/ 20 w 95"/>
                <a:gd name="T33" fmla="*/ 88 h 115"/>
                <a:gd name="T34" fmla="*/ 23 w 95"/>
                <a:gd name="T35" fmla="*/ 106 h 115"/>
                <a:gd name="T36" fmla="*/ 24 w 95"/>
                <a:gd name="T37" fmla="*/ 115 h 115"/>
                <a:gd name="T38" fmla="*/ 31 w 95"/>
                <a:gd name="T39" fmla="*/ 106 h 115"/>
                <a:gd name="T40" fmla="*/ 37 w 95"/>
                <a:gd name="T41" fmla="*/ 110 h 115"/>
                <a:gd name="T42" fmla="*/ 43 w 95"/>
                <a:gd name="T43" fmla="*/ 102 h 115"/>
                <a:gd name="T44" fmla="*/ 47 w 95"/>
                <a:gd name="T45" fmla="*/ 110 h 115"/>
                <a:gd name="T46" fmla="*/ 55 w 95"/>
                <a:gd name="T47" fmla="*/ 97 h 115"/>
                <a:gd name="T48" fmla="*/ 54 w 95"/>
                <a:gd name="T49" fmla="*/ 84 h 115"/>
                <a:gd name="T50" fmla="*/ 53 w 95"/>
                <a:gd name="T51" fmla="*/ 71 h 115"/>
                <a:gd name="T52" fmla="*/ 56 w 95"/>
                <a:gd name="T53" fmla="*/ 69 h 115"/>
                <a:gd name="T54" fmla="*/ 63 w 95"/>
                <a:gd name="T55" fmla="*/ 85 h 115"/>
                <a:gd name="T56" fmla="*/ 74 w 95"/>
                <a:gd name="T57" fmla="*/ 82 h 115"/>
                <a:gd name="T58" fmla="*/ 68 w 95"/>
                <a:gd name="T59" fmla="*/ 71 h 115"/>
                <a:gd name="T60" fmla="*/ 66 w 95"/>
                <a:gd name="T61" fmla="*/ 66 h 115"/>
                <a:gd name="T62" fmla="*/ 70 w 95"/>
                <a:gd name="T63" fmla="*/ 58 h 115"/>
                <a:gd name="T64" fmla="*/ 79 w 95"/>
                <a:gd name="T65" fmla="*/ 49 h 115"/>
                <a:gd name="T66" fmla="*/ 86 w 95"/>
                <a:gd name="T67" fmla="*/ 45 h 115"/>
                <a:gd name="T68" fmla="*/ 90 w 95"/>
                <a:gd name="T69" fmla="*/ 42 h 115"/>
                <a:gd name="T70" fmla="*/ 91 w 95"/>
                <a:gd name="T71" fmla="*/ 36 h 115"/>
                <a:gd name="T72" fmla="*/ 91 w 95"/>
                <a:gd name="T73" fmla="*/ 31 h 115"/>
                <a:gd name="T74" fmla="*/ 82 w 95"/>
                <a:gd name="T75" fmla="*/ 31 h 115"/>
                <a:gd name="T76" fmla="*/ 67 w 95"/>
                <a:gd name="T77" fmla="*/ 29 h 115"/>
                <a:gd name="T78" fmla="*/ 59 w 95"/>
                <a:gd name="T79" fmla="*/ 30 h 115"/>
                <a:gd name="T80" fmla="*/ 55 w 95"/>
                <a:gd name="T81" fmla="*/ 30 h 115"/>
                <a:gd name="T82" fmla="*/ 49 w 95"/>
                <a:gd name="T83" fmla="*/ 30 h 115"/>
                <a:gd name="T84" fmla="*/ 41 w 95"/>
                <a:gd name="T85" fmla="*/ 27 h 115"/>
                <a:gd name="T86" fmla="*/ 32 w 95"/>
                <a:gd name="T87" fmla="*/ 23 h 115"/>
                <a:gd name="T88" fmla="*/ 34 w 95"/>
                <a:gd name="T89" fmla="*/ 15 h 115"/>
                <a:gd name="T90" fmla="*/ 24 w 95"/>
                <a:gd name="T91" fmla="*/ 8 h 115"/>
                <a:gd name="T92" fmla="*/ 13 w 95"/>
                <a:gd name="T93" fmla="*/ 2 h 115"/>
                <a:gd name="T94" fmla="*/ 7 w 95"/>
                <a:gd name="T9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15">
                  <a:moveTo>
                    <a:pt x="7" y="0"/>
                  </a:moveTo>
                  <a:cubicBezTo>
                    <a:pt x="6" y="0"/>
                    <a:pt x="4" y="1"/>
                    <a:pt x="2" y="6"/>
                  </a:cubicBezTo>
                  <a:cubicBezTo>
                    <a:pt x="1" y="7"/>
                    <a:pt x="1" y="7"/>
                    <a:pt x="1" y="7"/>
                  </a:cubicBezTo>
                  <a:cubicBezTo>
                    <a:pt x="1" y="7"/>
                    <a:pt x="1" y="7"/>
                    <a:pt x="1" y="7"/>
                  </a:cubicBezTo>
                  <a:cubicBezTo>
                    <a:pt x="1" y="8"/>
                    <a:pt x="1" y="8"/>
                    <a:pt x="1" y="8"/>
                  </a:cubicBezTo>
                  <a:cubicBezTo>
                    <a:pt x="1" y="8"/>
                    <a:pt x="1" y="8"/>
                    <a:pt x="1" y="8"/>
                  </a:cubicBezTo>
                  <a:cubicBezTo>
                    <a:pt x="1" y="8"/>
                    <a:pt x="2" y="8"/>
                    <a:pt x="2" y="9"/>
                  </a:cubicBezTo>
                  <a:cubicBezTo>
                    <a:pt x="3" y="9"/>
                    <a:pt x="3" y="9"/>
                    <a:pt x="3" y="9"/>
                  </a:cubicBezTo>
                  <a:cubicBezTo>
                    <a:pt x="4" y="10"/>
                    <a:pt x="6" y="12"/>
                    <a:pt x="7" y="13"/>
                  </a:cubicBezTo>
                  <a:cubicBezTo>
                    <a:pt x="7" y="13"/>
                    <a:pt x="7" y="13"/>
                    <a:pt x="7" y="13"/>
                  </a:cubicBezTo>
                  <a:cubicBezTo>
                    <a:pt x="8" y="14"/>
                    <a:pt x="8" y="14"/>
                    <a:pt x="8" y="14"/>
                  </a:cubicBezTo>
                  <a:cubicBezTo>
                    <a:pt x="9" y="15"/>
                    <a:pt x="9" y="16"/>
                    <a:pt x="10" y="16"/>
                  </a:cubicBezTo>
                  <a:cubicBezTo>
                    <a:pt x="10" y="16"/>
                    <a:pt x="10" y="16"/>
                    <a:pt x="10" y="16"/>
                  </a:cubicBezTo>
                  <a:cubicBezTo>
                    <a:pt x="11" y="16"/>
                    <a:pt x="11" y="16"/>
                    <a:pt x="12" y="16"/>
                  </a:cubicBezTo>
                  <a:cubicBezTo>
                    <a:pt x="12" y="16"/>
                    <a:pt x="13" y="16"/>
                    <a:pt x="13" y="16"/>
                  </a:cubicBezTo>
                  <a:cubicBezTo>
                    <a:pt x="16" y="16"/>
                    <a:pt x="16" y="19"/>
                    <a:pt x="17" y="20"/>
                  </a:cubicBezTo>
                  <a:cubicBezTo>
                    <a:pt x="17" y="20"/>
                    <a:pt x="17" y="21"/>
                    <a:pt x="18" y="21"/>
                  </a:cubicBezTo>
                  <a:cubicBezTo>
                    <a:pt x="18" y="21"/>
                    <a:pt x="19" y="22"/>
                    <a:pt x="19" y="22"/>
                  </a:cubicBezTo>
                  <a:cubicBezTo>
                    <a:pt x="24" y="24"/>
                    <a:pt x="24" y="24"/>
                    <a:pt x="24" y="24"/>
                  </a:cubicBezTo>
                  <a:cubicBezTo>
                    <a:pt x="20" y="27"/>
                    <a:pt x="20" y="27"/>
                    <a:pt x="20" y="27"/>
                  </a:cubicBezTo>
                  <a:cubicBezTo>
                    <a:pt x="20" y="27"/>
                    <a:pt x="20" y="27"/>
                    <a:pt x="20" y="27"/>
                  </a:cubicBezTo>
                  <a:cubicBezTo>
                    <a:pt x="20" y="31"/>
                    <a:pt x="20" y="31"/>
                    <a:pt x="20" y="31"/>
                  </a:cubicBezTo>
                  <a:cubicBezTo>
                    <a:pt x="16" y="30"/>
                    <a:pt x="16" y="30"/>
                    <a:pt x="16" y="30"/>
                  </a:cubicBezTo>
                  <a:cubicBezTo>
                    <a:pt x="15" y="30"/>
                    <a:pt x="14" y="30"/>
                    <a:pt x="13" y="30"/>
                  </a:cubicBezTo>
                  <a:cubicBezTo>
                    <a:pt x="13" y="30"/>
                    <a:pt x="12" y="30"/>
                    <a:pt x="12" y="30"/>
                  </a:cubicBezTo>
                  <a:cubicBezTo>
                    <a:pt x="8" y="30"/>
                    <a:pt x="8" y="31"/>
                    <a:pt x="7" y="33"/>
                  </a:cubicBezTo>
                  <a:cubicBezTo>
                    <a:pt x="7" y="35"/>
                    <a:pt x="4" y="36"/>
                    <a:pt x="3" y="36"/>
                  </a:cubicBezTo>
                  <a:cubicBezTo>
                    <a:pt x="3" y="37"/>
                    <a:pt x="2" y="37"/>
                    <a:pt x="1" y="37"/>
                  </a:cubicBezTo>
                  <a:cubicBezTo>
                    <a:pt x="1" y="38"/>
                    <a:pt x="1" y="38"/>
                    <a:pt x="1" y="38"/>
                  </a:cubicBezTo>
                  <a:cubicBezTo>
                    <a:pt x="1" y="38"/>
                    <a:pt x="1" y="38"/>
                    <a:pt x="1" y="38"/>
                  </a:cubicBezTo>
                  <a:cubicBezTo>
                    <a:pt x="1" y="39"/>
                    <a:pt x="0" y="41"/>
                    <a:pt x="0" y="41"/>
                  </a:cubicBezTo>
                  <a:cubicBezTo>
                    <a:pt x="1" y="42"/>
                    <a:pt x="1" y="42"/>
                    <a:pt x="2" y="43"/>
                  </a:cubicBezTo>
                  <a:cubicBezTo>
                    <a:pt x="2" y="43"/>
                    <a:pt x="2" y="43"/>
                    <a:pt x="2" y="43"/>
                  </a:cubicBezTo>
                  <a:cubicBezTo>
                    <a:pt x="3" y="43"/>
                    <a:pt x="4" y="44"/>
                    <a:pt x="4" y="44"/>
                  </a:cubicBezTo>
                  <a:cubicBezTo>
                    <a:pt x="5" y="44"/>
                    <a:pt x="6" y="45"/>
                    <a:pt x="6" y="45"/>
                  </a:cubicBezTo>
                  <a:cubicBezTo>
                    <a:pt x="6" y="45"/>
                    <a:pt x="6" y="45"/>
                    <a:pt x="6" y="45"/>
                  </a:cubicBezTo>
                  <a:cubicBezTo>
                    <a:pt x="7" y="45"/>
                    <a:pt x="7" y="45"/>
                    <a:pt x="7" y="45"/>
                  </a:cubicBezTo>
                  <a:cubicBezTo>
                    <a:pt x="8" y="41"/>
                    <a:pt x="8" y="41"/>
                    <a:pt x="8" y="41"/>
                  </a:cubicBezTo>
                  <a:cubicBezTo>
                    <a:pt x="9" y="45"/>
                    <a:pt x="9" y="45"/>
                    <a:pt x="9" y="45"/>
                  </a:cubicBezTo>
                  <a:cubicBezTo>
                    <a:pt x="9" y="45"/>
                    <a:pt x="9" y="45"/>
                    <a:pt x="9" y="45"/>
                  </a:cubicBezTo>
                  <a:cubicBezTo>
                    <a:pt x="10" y="46"/>
                    <a:pt x="10" y="46"/>
                    <a:pt x="11" y="46"/>
                  </a:cubicBezTo>
                  <a:cubicBezTo>
                    <a:pt x="13" y="47"/>
                    <a:pt x="14" y="48"/>
                    <a:pt x="15" y="49"/>
                  </a:cubicBezTo>
                  <a:cubicBezTo>
                    <a:pt x="15" y="50"/>
                    <a:pt x="15" y="51"/>
                    <a:pt x="15" y="52"/>
                  </a:cubicBezTo>
                  <a:cubicBezTo>
                    <a:pt x="15" y="57"/>
                    <a:pt x="15" y="58"/>
                    <a:pt x="15" y="58"/>
                  </a:cubicBezTo>
                  <a:cubicBezTo>
                    <a:pt x="14" y="59"/>
                    <a:pt x="13" y="60"/>
                    <a:pt x="13" y="61"/>
                  </a:cubicBezTo>
                  <a:cubicBezTo>
                    <a:pt x="13" y="61"/>
                    <a:pt x="13" y="61"/>
                    <a:pt x="13" y="61"/>
                  </a:cubicBezTo>
                  <a:cubicBezTo>
                    <a:pt x="12" y="62"/>
                    <a:pt x="12" y="62"/>
                    <a:pt x="12" y="62"/>
                  </a:cubicBezTo>
                  <a:cubicBezTo>
                    <a:pt x="12" y="65"/>
                    <a:pt x="12" y="65"/>
                    <a:pt x="13" y="66"/>
                  </a:cubicBezTo>
                  <a:cubicBezTo>
                    <a:pt x="14" y="66"/>
                    <a:pt x="15" y="66"/>
                    <a:pt x="15" y="67"/>
                  </a:cubicBezTo>
                  <a:cubicBezTo>
                    <a:pt x="16" y="68"/>
                    <a:pt x="16" y="68"/>
                    <a:pt x="16" y="68"/>
                  </a:cubicBezTo>
                  <a:cubicBezTo>
                    <a:pt x="16" y="69"/>
                    <a:pt x="16" y="69"/>
                    <a:pt x="16" y="69"/>
                  </a:cubicBezTo>
                  <a:cubicBezTo>
                    <a:pt x="16" y="70"/>
                    <a:pt x="16" y="70"/>
                    <a:pt x="16" y="70"/>
                  </a:cubicBezTo>
                  <a:cubicBezTo>
                    <a:pt x="16" y="71"/>
                    <a:pt x="16" y="71"/>
                    <a:pt x="16" y="71"/>
                  </a:cubicBezTo>
                  <a:cubicBezTo>
                    <a:pt x="15" y="71"/>
                    <a:pt x="15" y="71"/>
                    <a:pt x="15" y="71"/>
                  </a:cubicBezTo>
                  <a:cubicBezTo>
                    <a:pt x="16" y="71"/>
                    <a:pt x="16" y="71"/>
                    <a:pt x="16" y="71"/>
                  </a:cubicBezTo>
                  <a:cubicBezTo>
                    <a:pt x="16" y="72"/>
                    <a:pt x="16" y="72"/>
                    <a:pt x="16" y="72"/>
                  </a:cubicBezTo>
                  <a:cubicBezTo>
                    <a:pt x="16" y="72"/>
                    <a:pt x="16" y="72"/>
                    <a:pt x="16" y="72"/>
                  </a:cubicBezTo>
                  <a:cubicBezTo>
                    <a:pt x="17" y="73"/>
                    <a:pt x="18" y="73"/>
                    <a:pt x="19" y="74"/>
                  </a:cubicBezTo>
                  <a:cubicBezTo>
                    <a:pt x="19" y="75"/>
                    <a:pt x="19" y="75"/>
                    <a:pt x="19" y="76"/>
                  </a:cubicBezTo>
                  <a:cubicBezTo>
                    <a:pt x="20" y="76"/>
                    <a:pt x="20" y="77"/>
                    <a:pt x="20" y="78"/>
                  </a:cubicBezTo>
                  <a:cubicBezTo>
                    <a:pt x="20" y="78"/>
                    <a:pt x="20" y="79"/>
                    <a:pt x="20" y="79"/>
                  </a:cubicBezTo>
                  <a:cubicBezTo>
                    <a:pt x="20" y="80"/>
                    <a:pt x="20" y="80"/>
                    <a:pt x="20" y="80"/>
                  </a:cubicBezTo>
                  <a:cubicBezTo>
                    <a:pt x="19" y="80"/>
                    <a:pt x="19" y="80"/>
                    <a:pt x="19" y="81"/>
                  </a:cubicBezTo>
                  <a:cubicBezTo>
                    <a:pt x="19" y="82"/>
                    <a:pt x="19" y="82"/>
                    <a:pt x="19" y="83"/>
                  </a:cubicBezTo>
                  <a:cubicBezTo>
                    <a:pt x="20" y="84"/>
                    <a:pt x="20" y="86"/>
                    <a:pt x="20" y="87"/>
                  </a:cubicBezTo>
                  <a:cubicBezTo>
                    <a:pt x="20" y="87"/>
                    <a:pt x="20" y="87"/>
                    <a:pt x="20" y="87"/>
                  </a:cubicBezTo>
                  <a:cubicBezTo>
                    <a:pt x="20" y="87"/>
                    <a:pt x="20" y="87"/>
                    <a:pt x="20" y="88"/>
                  </a:cubicBezTo>
                  <a:cubicBezTo>
                    <a:pt x="20" y="88"/>
                    <a:pt x="20" y="88"/>
                    <a:pt x="20" y="88"/>
                  </a:cubicBezTo>
                  <a:cubicBezTo>
                    <a:pt x="20" y="89"/>
                    <a:pt x="20" y="89"/>
                    <a:pt x="20" y="89"/>
                  </a:cubicBezTo>
                  <a:cubicBezTo>
                    <a:pt x="21" y="97"/>
                    <a:pt x="21" y="97"/>
                    <a:pt x="21" y="97"/>
                  </a:cubicBezTo>
                  <a:cubicBezTo>
                    <a:pt x="22" y="98"/>
                    <a:pt x="22" y="100"/>
                    <a:pt x="23" y="102"/>
                  </a:cubicBezTo>
                  <a:cubicBezTo>
                    <a:pt x="23" y="103"/>
                    <a:pt x="23" y="105"/>
                    <a:pt x="23" y="106"/>
                  </a:cubicBezTo>
                  <a:cubicBezTo>
                    <a:pt x="23" y="109"/>
                    <a:pt x="23" y="109"/>
                    <a:pt x="23" y="109"/>
                  </a:cubicBezTo>
                  <a:cubicBezTo>
                    <a:pt x="21" y="109"/>
                    <a:pt x="21" y="109"/>
                    <a:pt x="21" y="109"/>
                  </a:cubicBezTo>
                  <a:cubicBezTo>
                    <a:pt x="22" y="112"/>
                    <a:pt x="23" y="115"/>
                    <a:pt x="24" y="115"/>
                  </a:cubicBezTo>
                  <a:cubicBezTo>
                    <a:pt x="24" y="115"/>
                    <a:pt x="24" y="115"/>
                    <a:pt x="24" y="115"/>
                  </a:cubicBezTo>
                  <a:cubicBezTo>
                    <a:pt x="25" y="115"/>
                    <a:pt x="26" y="108"/>
                    <a:pt x="26" y="107"/>
                  </a:cubicBezTo>
                  <a:cubicBezTo>
                    <a:pt x="26" y="109"/>
                    <a:pt x="26" y="111"/>
                    <a:pt x="27" y="113"/>
                  </a:cubicBezTo>
                  <a:cubicBezTo>
                    <a:pt x="32" y="111"/>
                    <a:pt x="30" y="103"/>
                    <a:pt x="30" y="99"/>
                  </a:cubicBezTo>
                  <a:cubicBezTo>
                    <a:pt x="30" y="102"/>
                    <a:pt x="30" y="104"/>
                    <a:pt x="31" y="106"/>
                  </a:cubicBezTo>
                  <a:cubicBezTo>
                    <a:pt x="32" y="103"/>
                    <a:pt x="31" y="101"/>
                    <a:pt x="33" y="98"/>
                  </a:cubicBezTo>
                  <a:cubicBezTo>
                    <a:pt x="32" y="102"/>
                    <a:pt x="29" y="109"/>
                    <a:pt x="32" y="112"/>
                  </a:cubicBezTo>
                  <a:cubicBezTo>
                    <a:pt x="33" y="111"/>
                    <a:pt x="33" y="109"/>
                    <a:pt x="33" y="108"/>
                  </a:cubicBezTo>
                  <a:cubicBezTo>
                    <a:pt x="35" y="109"/>
                    <a:pt x="36" y="110"/>
                    <a:pt x="37" y="110"/>
                  </a:cubicBezTo>
                  <a:cubicBezTo>
                    <a:pt x="38" y="110"/>
                    <a:pt x="39" y="108"/>
                    <a:pt x="39" y="106"/>
                  </a:cubicBezTo>
                  <a:cubicBezTo>
                    <a:pt x="39" y="101"/>
                    <a:pt x="38" y="98"/>
                    <a:pt x="41" y="94"/>
                  </a:cubicBezTo>
                  <a:cubicBezTo>
                    <a:pt x="38" y="98"/>
                    <a:pt x="39" y="103"/>
                    <a:pt x="41" y="107"/>
                  </a:cubicBezTo>
                  <a:cubicBezTo>
                    <a:pt x="41" y="105"/>
                    <a:pt x="42" y="104"/>
                    <a:pt x="43" y="102"/>
                  </a:cubicBezTo>
                  <a:cubicBezTo>
                    <a:pt x="43" y="104"/>
                    <a:pt x="43" y="105"/>
                    <a:pt x="43" y="106"/>
                  </a:cubicBezTo>
                  <a:cubicBezTo>
                    <a:pt x="44" y="104"/>
                    <a:pt x="46" y="103"/>
                    <a:pt x="47" y="101"/>
                  </a:cubicBezTo>
                  <a:cubicBezTo>
                    <a:pt x="46" y="104"/>
                    <a:pt x="44" y="107"/>
                    <a:pt x="45" y="109"/>
                  </a:cubicBezTo>
                  <a:cubicBezTo>
                    <a:pt x="46" y="110"/>
                    <a:pt x="46" y="110"/>
                    <a:pt x="47" y="110"/>
                  </a:cubicBezTo>
                  <a:cubicBezTo>
                    <a:pt x="47" y="110"/>
                    <a:pt x="47" y="110"/>
                    <a:pt x="48" y="110"/>
                  </a:cubicBezTo>
                  <a:cubicBezTo>
                    <a:pt x="50" y="108"/>
                    <a:pt x="50" y="101"/>
                    <a:pt x="51" y="99"/>
                  </a:cubicBezTo>
                  <a:cubicBezTo>
                    <a:pt x="52" y="101"/>
                    <a:pt x="53" y="102"/>
                    <a:pt x="54" y="102"/>
                  </a:cubicBezTo>
                  <a:cubicBezTo>
                    <a:pt x="55" y="102"/>
                    <a:pt x="55" y="99"/>
                    <a:pt x="55" y="97"/>
                  </a:cubicBezTo>
                  <a:cubicBezTo>
                    <a:pt x="55" y="94"/>
                    <a:pt x="54" y="92"/>
                    <a:pt x="53" y="92"/>
                  </a:cubicBezTo>
                  <a:cubicBezTo>
                    <a:pt x="53" y="92"/>
                    <a:pt x="53" y="92"/>
                    <a:pt x="53" y="92"/>
                  </a:cubicBezTo>
                  <a:cubicBezTo>
                    <a:pt x="54" y="90"/>
                    <a:pt x="53" y="90"/>
                    <a:pt x="50" y="87"/>
                  </a:cubicBezTo>
                  <a:cubicBezTo>
                    <a:pt x="51" y="87"/>
                    <a:pt x="55" y="84"/>
                    <a:pt x="54" y="84"/>
                  </a:cubicBezTo>
                  <a:cubicBezTo>
                    <a:pt x="52" y="80"/>
                    <a:pt x="52" y="80"/>
                    <a:pt x="55" y="78"/>
                  </a:cubicBezTo>
                  <a:cubicBezTo>
                    <a:pt x="57" y="76"/>
                    <a:pt x="49" y="71"/>
                    <a:pt x="47" y="70"/>
                  </a:cubicBezTo>
                  <a:cubicBezTo>
                    <a:pt x="48" y="70"/>
                    <a:pt x="48" y="70"/>
                    <a:pt x="48" y="70"/>
                  </a:cubicBezTo>
                  <a:cubicBezTo>
                    <a:pt x="49" y="70"/>
                    <a:pt x="51" y="71"/>
                    <a:pt x="53" y="71"/>
                  </a:cubicBezTo>
                  <a:cubicBezTo>
                    <a:pt x="53" y="71"/>
                    <a:pt x="53" y="70"/>
                    <a:pt x="53" y="69"/>
                  </a:cubicBezTo>
                  <a:cubicBezTo>
                    <a:pt x="53" y="68"/>
                    <a:pt x="53" y="68"/>
                    <a:pt x="53" y="68"/>
                  </a:cubicBezTo>
                  <a:cubicBezTo>
                    <a:pt x="56" y="67"/>
                    <a:pt x="56" y="67"/>
                    <a:pt x="56" y="67"/>
                  </a:cubicBezTo>
                  <a:cubicBezTo>
                    <a:pt x="56" y="67"/>
                    <a:pt x="56" y="68"/>
                    <a:pt x="56" y="69"/>
                  </a:cubicBezTo>
                  <a:cubicBezTo>
                    <a:pt x="56" y="68"/>
                    <a:pt x="58" y="68"/>
                    <a:pt x="58" y="68"/>
                  </a:cubicBezTo>
                  <a:cubicBezTo>
                    <a:pt x="58" y="70"/>
                    <a:pt x="57" y="71"/>
                    <a:pt x="56" y="73"/>
                  </a:cubicBezTo>
                  <a:cubicBezTo>
                    <a:pt x="58" y="74"/>
                    <a:pt x="57" y="78"/>
                    <a:pt x="57" y="80"/>
                  </a:cubicBezTo>
                  <a:cubicBezTo>
                    <a:pt x="57" y="84"/>
                    <a:pt x="60" y="84"/>
                    <a:pt x="63" y="85"/>
                  </a:cubicBezTo>
                  <a:cubicBezTo>
                    <a:pt x="65" y="85"/>
                    <a:pt x="69" y="86"/>
                    <a:pt x="72" y="86"/>
                  </a:cubicBezTo>
                  <a:cubicBezTo>
                    <a:pt x="74" y="86"/>
                    <a:pt x="76" y="86"/>
                    <a:pt x="77" y="84"/>
                  </a:cubicBezTo>
                  <a:cubicBezTo>
                    <a:pt x="76" y="83"/>
                    <a:pt x="76" y="83"/>
                    <a:pt x="76" y="83"/>
                  </a:cubicBezTo>
                  <a:cubicBezTo>
                    <a:pt x="74" y="82"/>
                    <a:pt x="74" y="82"/>
                    <a:pt x="74" y="82"/>
                  </a:cubicBezTo>
                  <a:cubicBezTo>
                    <a:pt x="72" y="82"/>
                    <a:pt x="71" y="81"/>
                    <a:pt x="70" y="78"/>
                  </a:cubicBezTo>
                  <a:cubicBezTo>
                    <a:pt x="70" y="77"/>
                    <a:pt x="69" y="76"/>
                    <a:pt x="69" y="75"/>
                  </a:cubicBezTo>
                  <a:cubicBezTo>
                    <a:pt x="69" y="74"/>
                    <a:pt x="69" y="72"/>
                    <a:pt x="69" y="72"/>
                  </a:cubicBezTo>
                  <a:cubicBezTo>
                    <a:pt x="68" y="71"/>
                    <a:pt x="68" y="71"/>
                    <a:pt x="68" y="71"/>
                  </a:cubicBezTo>
                  <a:cubicBezTo>
                    <a:pt x="68" y="71"/>
                    <a:pt x="68" y="70"/>
                    <a:pt x="68" y="69"/>
                  </a:cubicBezTo>
                  <a:cubicBezTo>
                    <a:pt x="67" y="69"/>
                    <a:pt x="67" y="69"/>
                    <a:pt x="67" y="69"/>
                  </a:cubicBezTo>
                  <a:cubicBezTo>
                    <a:pt x="67" y="68"/>
                    <a:pt x="67" y="68"/>
                    <a:pt x="67" y="67"/>
                  </a:cubicBezTo>
                  <a:cubicBezTo>
                    <a:pt x="66" y="66"/>
                    <a:pt x="66" y="66"/>
                    <a:pt x="66" y="66"/>
                  </a:cubicBezTo>
                  <a:cubicBezTo>
                    <a:pt x="66" y="64"/>
                    <a:pt x="67" y="63"/>
                    <a:pt x="67" y="62"/>
                  </a:cubicBezTo>
                  <a:cubicBezTo>
                    <a:pt x="68" y="61"/>
                    <a:pt x="68" y="61"/>
                    <a:pt x="68" y="61"/>
                  </a:cubicBezTo>
                  <a:cubicBezTo>
                    <a:pt x="68" y="57"/>
                    <a:pt x="68" y="57"/>
                    <a:pt x="68" y="57"/>
                  </a:cubicBezTo>
                  <a:cubicBezTo>
                    <a:pt x="70" y="58"/>
                    <a:pt x="70" y="58"/>
                    <a:pt x="70" y="58"/>
                  </a:cubicBezTo>
                  <a:cubicBezTo>
                    <a:pt x="78" y="50"/>
                    <a:pt x="78" y="50"/>
                    <a:pt x="78" y="50"/>
                  </a:cubicBezTo>
                  <a:cubicBezTo>
                    <a:pt x="77" y="49"/>
                    <a:pt x="77" y="49"/>
                    <a:pt x="77" y="49"/>
                  </a:cubicBezTo>
                  <a:cubicBezTo>
                    <a:pt x="79" y="49"/>
                    <a:pt x="79" y="49"/>
                    <a:pt x="79" y="49"/>
                  </a:cubicBezTo>
                  <a:cubicBezTo>
                    <a:pt x="79" y="49"/>
                    <a:pt x="79" y="49"/>
                    <a:pt x="79" y="49"/>
                  </a:cubicBezTo>
                  <a:cubicBezTo>
                    <a:pt x="79" y="49"/>
                    <a:pt x="79" y="49"/>
                    <a:pt x="79" y="49"/>
                  </a:cubicBezTo>
                  <a:cubicBezTo>
                    <a:pt x="80" y="49"/>
                    <a:pt x="81" y="49"/>
                    <a:pt x="82" y="49"/>
                  </a:cubicBezTo>
                  <a:cubicBezTo>
                    <a:pt x="84" y="48"/>
                    <a:pt x="84" y="48"/>
                    <a:pt x="84" y="48"/>
                  </a:cubicBezTo>
                  <a:cubicBezTo>
                    <a:pt x="84" y="47"/>
                    <a:pt x="85" y="46"/>
                    <a:pt x="86" y="45"/>
                  </a:cubicBezTo>
                  <a:cubicBezTo>
                    <a:pt x="83" y="40"/>
                    <a:pt x="83" y="40"/>
                    <a:pt x="83" y="40"/>
                  </a:cubicBezTo>
                  <a:cubicBezTo>
                    <a:pt x="87" y="44"/>
                    <a:pt x="87" y="44"/>
                    <a:pt x="87" y="44"/>
                  </a:cubicBezTo>
                  <a:cubicBezTo>
                    <a:pt x="87" y="44"/>
                    <a:pt x="87" y="44"/>
                    <a:pt x="88" y="43"/>
                  </a:cubicBezTo>
                  <a:cubicBezTo>
                    <a:pt x="88" y="43"/>
                    <a:pt x="89" y="42"/>
                    <a:pt x="90" y="42"/>
                  </a:cubicBezTo>
                  <a:cubicBezTo>
                    <a:pt x="90" y="42"/>
                    <a:pt x="90" y="42"/>
                    <a:pt x="90" y="42"/>
                  </a:cubicBezTo>
                  <a:cubicBezTo>
                    <a:pt x="90" y="41"/>
                    <a:pt x="90" y="41"/>
                    <a:pt x="90" y="41"/>
                  </a:cubicBezTo>
                  <a:cubicBezTo>
                    <a:pt x="91" y="41"/>
                    <a:pt x="91" y="39"/>
                    <a:pt x="91" y="38"/>
                  </a:cubicBezTo>
                  <a:cubicBezTo>
                    <a:pt x="91" y="36"/>
                    <a:pt x="91" y="36"/>
                    <a:pt x="91" y="36"/>
                  </a:cubicBezTo>
                  <a:cubicBezTo>
                    <a:pt x="95" y="33"/>
                    <a:pt x="95" y="33"/>
                    <a:pt x="95" y="33"/>
                  </a:cubicBezTo>
                  <a:cubicBezTo>
                    <a:pt x="95" y="32"/>
                    <a:pt x="94" y="32"/>
                    <a:pt x="94" y="32"/>
                  </a:cubicBezTo>
                  <a:cubicBezTo>
                    <a:pt x="93" y="32"/>
                    <a:pt x="93" y="32"/>
                    <a:pt x="93" y="32"/>
                  </a:cubicBezTo>
                  <a:cubicBezTo>
                    <a:pt x="92" y="31"/>
                    <a:pt x="92" y="31"/>
                    <a:pt x="91" y="31"/>
                  </a:cubicBezTo>
                  <a:cubicBezTo>
                    <a:pt x="90" y="30"/>
                    <a:pt x="89" y="30"/>
                    <a:pt x="89" y="30"/>
                  </a:cubicBezTo>
                  <a:cubicBezTo>
                    <a:pt x="88" y="30"/>
                    <a:pt x="87" y="30"/>
                    <a:pt x="87" y="30"/>
                  </a:cubicBezTo>
                  <a:cubicBezTo>
                    <a:pt x="86" y="30"/>
                    <a:pt x="86" y="30"/>
                    <a:pt x="86" y="30"/>
                  </a:cubicBezTo>
                  <a:cubicBezTo>
                    <a:pt x="85" y="31"/>
                    <a:pt x="83" y="31"/>
                    <a:pt x="82" y="31"/>
                  </a:cubicBezTo>
                  <a:cubicBezTo>
                    <a:pt x="82" y="31"/>
                    <a:pt x="81" y="31"/>
                    <a:pt x="81" y="31"/>
                  </a:cubicBezTo>
                  <a:cubicBezTo>
                    <a:pt x="77" y="31"/>
                    <a:pt x="73" y="30"/>
                    <a:pt x="69" y="30"/>
                  </a:cubicBezTo>
                  <a:cubicBezTo>
                    <a:pt x="68" y="30"/>
                    <a:pt x="68" y="30"/>
                    <a:pt x="68" y="30"/>
                  </a:cubicBezTo>
                  <a:cubicBezTo>
                    <a:pt x="68" y="29"/>
                    <a:pt x="67" y="29"/>
                    <a:pt x="67" y="29"/>
                  </a:cubicBezTo>
                  <a:cubicBezTo>
                    <a:pt x="66" y="29"/>
                    <a:pt x="64" y="30"/>
                    <a:pt x="63" y="30"/>
                  </a:cubicBezTo>
                  <a:cubicBezTo>
                    <a:pt x="62" y="30"/>
                    <a:pt x="62" y="30"/>
                    <a:pt x="62" y="30"/>
                  </a:cubicBezTo>
                  <a:cubicBezTo>
                    <a:pt x="62" y="30"/>
                    <a:pt x="61" y="30"/>
                    <a:pt x="61" y="30"/>
                  </a:cubicBezTo>
                  <a:cubicBezTo>
                    <a:pt x="60" y="30"/>
                    <a:pt x="59" y="30"/>
                    <a:pt x="59" y="30"/>
                  </a:cubicBezTo>
                  <a:cubicBezTo>
                    <a:pt x="58" y="30"/>
                    <a:pt x="58" y="30"/>
                    <a:pt x="58" y="30"/>
                  </a:cubicBezTo>
                  <a:cubicBezTo>
                    <a:pt x="58" y="30"/>
                    <a:pt x="58" y="30"/>
                    <a:pt x="58" y="30"/>
                  </a:cubicBezTo>
                  <a:cubicBezTo>
                    <a:pt x="57" y="30"/>
                    <a:pt x="57" y="30"/>
                    <a:pt x="56" y="30"/>
                  </a:cubicBezTo>
                  <a:cubicBezTo>
                    <a:pt x="55" y="30"/>
                    <a:pt x="55" y="30"/>
                    <a:pt x="55" y="30"/>
                  </a:cubicBezTo>
                  <a:cubicBezTo>
                    <a:pt x="55" y="31"/>
                    <a:pt x="54" y="31"/>
                    <a:pt x="53" y="31"/>
                  </a:cubicBezTo>
                  <a:cubicBezTo>
                    <a:pt x="52" y="31"/>
                    <a:pt x="52" y="31"/>
                    <a:pt x="52" y="31"/>
                  </a:cubicBezTo>
                  <a:cubicBezTo>
                    <a:pt x="51" y="30"/>
                    <a:pt x="51" y="30"/>
                    <a:pt x="51" y="30"/>
                  </a:cubicBezTo>
                  <a:cubicBezTo>
                    <a:pt x="50" y="30"/>
                    <a:pt x="49" y="30"/>
                    <a:pt x="49" y="30"/>
                  </a:cubicBezTo>
                  <a:cubicBezTo>
                    <a:pt x="48" y="30"/>
                    <a:pt x="48" y="30"/>
                    <a:pt x="48" y="30"/>
                  </a:cubicBezTo>
                  <a:cubicBezTo>
                    <a:pt x="47" y="29"/>
                    <a:pt x="47" y="29"/>
                    <a:pt x="46" y="29"/>
                  </a:cubicBezTo>
                  <a:cubicBezTo>
                    <a:pt x="44" y="29"/>
                    <a:pt x="43" y="28"/>
                    <a:pt x="41" y="28"/>
                  </a:cubicBezTo>
                  <a:cubicBezTo>
                    <a:pt x="41" y="27"/>
                    <a:pt x="41" y="27"/>
                    <a:pt x="41" y="27"/>
                  </a:cubicBezTo>
                  <a:cubicBezTo>
                    <a:pt x="40" y="27"/>
                    <a:pt x="40" y="27"/>
                    <a:pt x="40" y="27"/>
                  </a:cubicBezTo>
                  <a:cubicBezTo>
                    <a:pt x="39" y="27"/>
                    <a:pt x="38" y="27"/>
                    <a:pt x="37" y="26"/>
                  </a:cubicBezTo>
                  <a:cubicBezTo>
                    <a:pt x="37" y="26"/>
                    <a:pt x="35" y="26"/>
                    <a:pt x="35" y="23"/>
                  </a:cubicBezTo>
                  <a:cubicBezTo>
                    <a:pt x="32" y="23"/>
                    <a:pt x="32" y="23"/>
                    <a:pt x="32" y="23"/>
                  </a:cubicBezTo>
                  <a:cubicBezTo>
                    <a:pt x="35" y="22"/>
                    <a:pt x="35" y="22"/>
                    <a:pt x="35" y="22"/>
                  </a:cubicBezTo>
                  <a:cubicBezTo>
                    <a:pt x="35" y="22"/>
                    <a:pt x="35" y="22"/>
                    <a:pt x="35" y="22"/>
                  </a:cubicBezTo>
                  <a:cubicBezTo>
                    <a:pt x="34" y="20"/>
                    <a:pt x="34" y="18"/>
                    <a:pt x="34" y="16"/>
                  </a:cubicBezTo>
                  <a:cubicBezTo>
                    <a:pt x="34" y="15"/>
                    <a:pt x="34" y="15"/>
                    <a:pt x="34" y="15"/>
                  </a:cubicBezTo>
                  <a:cubicBezTo>
                    <a:pt x="34" y="14"/>
                    <a:pt x="34" y="13"/>
                    <a:pt x="34" y="12"/>
                  </a:cubicBezTo>
                  <a:cubicBezTo>
                    <a:pt x="34" y="10"/>
                    <a:pt x="34" y="9"/>
                    <a:pt x="34" y="7"/>
                  </a:cubicBezTo>
                  <a:cubicBezTo>
                    <a:pt x="32" y="9"/>
                    <a:pt x="30" y="9"/>
                    <a:pt x="28" y="9"/>
                  </a:cubicBezTo>
                  <a:cubicBezTo>
                    <a:pt x="27" y="9"/>
                    <a:pt x="26" y="9"/>
                    <a:pt x="24" y="8"/>
                  </a:cubicBezTo>
                  <a:cubicBezTo>
                    <a:pt x="24" y="8"/>
                    <a:pt x="24" y="8"/>
                    <a:pt x="24" y="8"/>
                  </a:cubicBezTo>
                  <a:cubicBezTo>
                    <a:pt x="22" y="7"/>
                    <a:pt x="21" y="5"/>
                    <a:pt x="20" y="3"/>
                  </a:cubicBezTo>
                  <a:cubicBezTo>
                    <a:pt x="19" y="3"/>
                    <a:pt x="19" y="3"/>
                    <a:pt x="19" y="3"/>
                  </a:cubicBezTo>
                  <a:cubicBezTo>
                    <a:pt x="16" y="3"/>
                    <a:pt x="15" y="3"/>
                    <a:pt x="13" y="2"/>
                  </a:cubicBezTo>
                  <a:cubicBezTo>
                    <a:pt x="12" y="2"/>
                    <a:pt x="12" y="2"/>
                    <a:pt x="12" y="2"/>
                  </a:cubicBezTo>
                  <a:cubicBezTo>
                    <a:pt x="12" y="2"/>
                    <a:pt x="12" y="2"/>
                    <a:pt x="12" y="2"/>
                  </a:cubicBezTo>
                  <a:cubicBezTo>
                    <a:pt x="11" y="2"/>
                    <a:pt x="10" y="1"/>
                    <a:pt x="9"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5" name="Freeform 1544">
              <a:extLst>
                <a:ext uri="{FF2B5EF4-FFF2-40B4-BE49-F238E27FC236}">
                  <a16:creationId xmlns:a16="http://schemas.microsoft.com/office/drawing/2014/main" id="{6A589A38-5306-495B-BDA0-DAB8FE702609}"/>
                </a:ext>
              </a:extLst>
            </p:cNvPr>
            <p:cNvSpPr>
              <a:spLocks/>
            </p:cNvSpPr>
            <p:nvPr/>
          </p:nvSpPr>
          <p:spPr bwMode="auto">
            <a:xfrm>
              <a:off x="2268547" y="3307519"/>
              <a:ext cx="2685" cy="5369"/>
            </a:xfrm>
            <a:custGeom>
              <a:avLst/>
              <a:gdLst>
                <a:gd name="T0" fmla="*/ 0 w 1"/>
                <a:gd name="T1" fmla="*/ 0 h 2"/>
                <a:gd name="T2" fmla="*/ 1 w 1"/>
                <a:gd name="T3" fmla="*/ 0 h 2"/>
                <a:gd name="T4" fmla="*/ 1 w 1"/>
                <a:gd name="T5" fmla="*/ 1 h 2"/>
                <a:gd name="T6" fmla="*/ 0 w 1"/>
                <a:gd name="T7" fmla="*/ 2 h 2"/>
                <a:gd name="T8" fmla="*/ 1 w 1"/>
                <a:gd name="T9" fmla="*/ 2 h 2"/>
                <a:gd name="T10" fmla="*/ 1 w 1"/>
                <a:gd name="T11" fmla="*/ 2 h 2"/>
                <a:gd name="T12" fmla="*/ 1 w 1"/>
                <a:gd name="T13" fmla="*/ 1 h 2"/>
                <a:gd name="T14" fmla="*/ 1 w 1"/>
                <a:gd name="T15" fmla="*/ 0 h 2"/>
                <a:gd name="T16" fmla="*/ 0 w 1"/>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0"/>
                  </a:moveTo>
                  <a:cubicBezTo>
                    <a:pt x="1" y="0"/>
                    <a:pt x="1" y="0"/>
                    <a:pt x="1" y="0"/>
                  </a:cubicBezTo>
                  <a:cubicBezTo>
                    <a:pt x="1" y="1"/>
                    <a:pt x="1" y="1"/>
                    <a:pt x="1" y="1"/>
                  </a:cubicBezTo>
                  <a:cubicBezTo>
                    <a:pt x="0" y="2"/>
                    <a:pt x="0" y="2"/>
                    <a:pt x="0" y="2"/>
                  </a:cubicBezTo>
                  <a:cubicBezTo>
                    <a:pt x="1" y="2"/>
                    <a:pt x="1" y="2"/>
                    <a:pt x="1" y="2"/>
                  </a:cubicBezTo>
                  <a:cubicBezTo>
                    <a:pt x="1" y="2"/>
                    <a:pt x="1" y="2"/>
                    <a:pt x="1" y="2"/>
                  </a:cubicBezTo>
                  <a:cubicBezTo>
                    <a:pt x="1" y="1"/>
                    <a:pt x="1" y="1"/>
                    <a:pt x="1" y="1"/>
                  </a:cubicBezTo>
                  <a:cubicBezTo>
                    <a:pt x="1" y="1"/>
                    <a:pt x="1" y="1"/>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6" name="Freeform 1545">
              <a:extLst>
                <a:ext uri="{FF2B5EF4-FFF2-40B4-BE49-F238E27FC236}">
                  <a16:creationId xmlns:a16="http://schemas.microsoft.com/office/drawing/2014/main" id="{D91C0E0C-B1A6-4DEB-B633-69700AE35F97}"/>
                </a:ext>
              </a:extLst>
            </p:cNvPr>
            <p:cNvSpPr>
              <a:spLocks/>
            </p:cNvSpPr>
            <p:nvPr/>
          </p:nvSpPr>
          <p:spPr bwMode="auto">
            <a:xfrm>
              <a:off x="2275259" y="3316915"/>
              <a:ext cx="12081" cy="21477"/>
            </a:xfrm>
            <a:custGeom>
              <a:avLst/>
              <a:gdLst>
                <a:gd name="T0" fmla="*/ 2 w 4"/>
                <a:gd name="T1" fmla="*/ 0 h 7"/>
                <a:gd name="T2" fmla="*/ 0 w 4"/>
                <a:gd name="T3" fmla="*/ 1 h 7"/>
                <a:gd name="T4" fmla="*/ 4 w 4"/>
                <a:gd name="T5" fmla="*/ 7 h 7"/>
                <a:gd name="T6" fmla="*/ 3 w 4"/>
                <a:gd name="T7" fmla="*/ 4 h 7"/>
                <a:gd name="T8" fmla="*/ 3 w 4"/>
                <a:gd name="T9" fmla="*/ 2 h 7"/>
                <a:gd name="T10" fmla="*/ 3 w 4"/>
                <a:gd name="T11" fmla="*/ 2 h 7"/>
                <a:gd name="T12" fmla="*/ 2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0"/>
                  </a:moveTo>
                  <a:cubicBezTo>
                    <a:pt x="0" y="1"/>
                    <a:pt x="0" y="1"/>
                    <a:pt x="0" y="1"/>
                  </a:cubicBezTo>
                  <a:cubicBezTo>
                    <a:pt x="2" y="3"/>
                    <a:pt x="3" y="5"/>
                    <a:pt x="4" y="7"/>
                  </a:cubicBezTo>
                  <a:cubicBezTo>
                    <a:pt x="4" y="6"/>
                    <a:pt x="4" y="5"/>
                    <a:pt x="3" y="4"/>
                  </a:cubicBezTo>
                  <a:cubicBezTo>
                    <a:pt x="3" y="3"/>
                    <a:pt x="3" y="3"/>
                    <a:pt x="3" y="2"/>
                  </a:cubicBezTo>
                  <a:cubicBezTo>
                    <a:pt x="3" y="2"/>
                    <a:pt x="3" y="2"/>
                    <a:pt x="3" y="2"/>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7" name="Freeform 1546">
              <a:extLst>
                <a:ext uri="{FF2B5EF4-FFF2-40B4-BE49-F238E27FC236}">
                  <a16:creationId xmlns:a16="http://schemas.microsoft.com/office/drawing/2014/main" id="{593B5880-E4F2-4303-A106-4F338CA16071}"/>
                </a:ext>
              </a:extLst>
            </p:cNvPr>
            <p:cNvSpPr>
              <a:spLocks/>
            </p:cNvSpPr>
            <p:nvPr/>
          </p:nvSpPr>
          <p:spPr bwMode="auto">
            <a:xfrm>
              <a:off x="2287340" y="2728972"/>
              <a:ext cx="634925" cy="1418850"/>
            </a:xfrm>
            <a:custGeom>
              <a:avLst/>
              <a:gdLst>
                <a:gd name="T0" fmla="*/ 116 w 200"/>
                <a:gd name="T1" fmla="*/ 17 h 447"/>
                <a:gd name="T2" fmla="*/ 92 w 200"/>
                <a:gd name="T3" fmla="*/ 34 h 447"/>
                <a:gd name="T4" fmla="*/ 70 w 200"/>
                <a:gd name="T5" fmla="*/ 61 h 447"/>
                <a:gd name="T6" fmla="*/ 49 w 200"/>
                <a:gd name="T7" fmla="*/ 110 h 447"/>
                <a:gd name="T8" fmla="*/ 24 w 200"/>
                <a:gd name="T9" fmla="*/ 138 h 447"/>
                <a:gd name="T10" fmla="*/ 11 w 200"/>
                <a:gd name="T11" fmla="*/ 166 h 447"/>
                <a:gd name="T12" fmla="*/ 1 w 200"/>
                <a:gd name="T13" fmla="*/ 181 h 447"/>
                <a:gd name="T14" fmla="*/ 2 w 200"/>
                <a:gd name="T15" fmla="*/ 190 h 447"/>
                <a:gd name="T16" fmla="*/ 12 w 200"/>
                <a:gd name="T17" fmla="*/ 204 h 447"/>
                <a:gd name="T18" fmla="*/ 16 w 200"/>
                <a:gd name="T19" fmla="*/ 209 h 447"/>
                <a:gd name="T20" fmla="*/ 33 w 200"/>
                <a:gd name="T21" fmla="*/ 213 h 447"/>
                <a:gd name="T22" fmla="*/ 39 w 200"/>
                <a:gd name="T23" fmla="*/ 226 h 447"/>
                <a:gd name="T24" fmla="*/ 32 w 200"/>
                <a:gd name="T25" fmla="*/ 232 h 447"/>
                <a:gd name="T26" fmla="*/ 41 w 200"/>
                <a:gd name="T27" fmla="*/ 226 h 447"/>
                <a:gd name="T28" fmla="*/ 51 w 200"/>
                <a:gd name="T29" fmla="*/ 260 h 447"/>
                <a:gd name="T30" fmla="*/ 52 w 200"/>
                <a:gd name="T31" fmla="*/ 303 h 447"/>
                <a:gd name="T32" fmla="*/ 55 w 200"/>
                <a:gd name="T33" fmla="*/ 308 h 447"/>
                <a:gd name="T34" fmla="*/ 60 w 200"/>
                <a:gd name="T35" fmla="*/ 304 h 447"/>
                <a:gd name="T36" fmla="*/ 67 w 200"/>
                <a:gd name="T37" fmla="*/ 306 h 447"/>
                <a:gd name="T38" fmla="*/ 80 w 200"/>
                <a:gd name="T39" fmla="*/ 303 h 447"/>
                <a:gd name="T40" fmla="*/ 93 w 200"/>
                <a:gd name="T41" fmla="*/ 294 h 447"/>
                <a:gd name="T42" fmla="*/ 108 w 200"/>
                <a:gd name="T43" fmla="*/ 275 h 447"/>
                <a:gd name="T44" fmla="*/ 125 w 200"/>
                <a:gd name="T45" fmla="*/ 294 h 447"/>
                <a:gd name="T46" fmla="*/ 128 w 200"/>
                <a:gd name="T47" fmla="*/ 319 h 447"/>
                <a:gd name="T48" fmla="*/ 134 w 200"/>
                <a:gd name="T49" fmla="*/ 340 h 447"/>
                <a:gd name="T50" fmla="*/ 138 w 200"/>
                <a:gd name="T51" fmla="*/ 355 h 447"/>
                <a:gd name="T52" fmla="*/ 148 w 200"/>
                <a:gd name="T53" fmla="*/ 395 h 447"/>
                <a:gd name="T54" fmla="*/ 144 w 200"/>
                <a:gd name="T55" fmla="*/ 403 h 447"/>
                <a:gd name="T56" fmla="*/ 150 w 200"/>
                <a:gd name="T57" fmla="*/ 411 h 447"/>
                <a:gd name="T58" fmla="*/ 145 w 200"/>
                <a:gd name="T59" fmla="*/ 438 h 447"/>
                <a:gd name="T60" fmla="*/ 169 w 200"/>
                <a:gd name="T61" fmla="*/ 408 h 447"/>
                <a:gd name="T62" fmla="*/ 162 w 200"/>
                <a:gd name="T63" fmla="*/ 386 h 447"/>
                <a:gd name="T64" fmla="*/ 159 w 200"/>
                <a:gd name="T65" fmla="*/ 369 h 447"/>
                <a:gd name="T66" fmla="*/ 150 w 200"/>
                <a:gd name="T67" fmla="*/ 353 h 447"/>
                <a:gd name="T68" fmla="*/ 145 w 200"/>
                <a:gd name="T69" fmla="*/ 320 h 447"/>
                <a:gd name="T70" fmla="*/ 145 w 200"/>
                <a:gd name="T71" fmla="*/ 290 h 447"/>
                <a:gd name="T72" fmla="*/ 137 w 200"/>
                <a:gd name="T73" fmla="*/ 281 h 447"/>
                <a:gd name="T74" fmla="*/ 123 w 200"/>
                <a:gd name="T75" fmla="*/ 255 h 447"/>
                <a:gd name="T76" fmla="*/ 126 w 200"/>
                <a:gd name="T77" fmla="*/ 242 h 447"/>
                <a:gd name="T78" fmla="*/ 136 w 200"/>
                <a:gd name="T79" fmla="*/ 212 h 447"/>
                <a:gd name="T80" fmla="*/ 149 w 200"/>
                <a:gd name="T81" fmla="*/ 214 h 447"/>
                <a:gd name="T82" fmla="*/ 156 w 200"/>
                <a:gd name="T83" fmla="*/ 212 h 447"/>
                <a:gd name="T84" fmla="*/ 171 w 200"/>
                <a:gd name="T85" fmla="*/ 199 h 447"/>
                <a:gd name="T86" fmla="*/ 182 w 200"/>
                <a:gd name="T87" fmla="*/ 195 h 447"/>
                <a:gd name="T88" fmla="*/ 197 w 200"/>
                <a:gd name="T89" fmla="*/ 175 h 447"/>
                <a:gd name="T90" fmla="*/ 180 w 200"/>
                <a:gd name="T91" fmla="*/ 172 h 447"/>
                <a:gd name="T92" fmla="*/ 157 w 200"/>
                <a:gd name="T93" fmla="*/ 160 h 447"/>
                <a:gd name="T94" fmla="*/ 163 w 200"/>
                <a:gd name="T95" fmla="*/ 141 h 447"/>
                <a:gd name="T96" fmla="*/ 165 w 200"/>
                <a:gd name="T97" fmla="*/ 137 h 447"/>
                <a:gd name="T98" fmla="*/ 149 w 200"/>
                <a:gd name="T99" fmla="*/ 122 h 447"/>
                <a:gd name="T100" fmla="*/ 148 w 200"/>
                <a:gd name="T101" fmla="*/ 113 h 447"/>
                <a:gd name="T102" fmla="*/ 138 w 200"/>
                <a:gd name="T103" fmla="*/ 111 h 447"/>
                <a:gd name="T104" fmla="*/ 121 w 200"/>
                <a:gd name="T105" fmla="*/ 111 h 447"/>
                <a:gd name="T106" fmla="*/ 120 w 200"/>
                <a:gd name="T107" fmla="*/ 98 h 447"/>
                <a:gd name="T108" fmla="*/ 126 w 200"/>
                <a:gd name="T109" fmla="*/ 83 h 447"/>
                <a:gd name="T110" fmla="*/ 134 w 200"/>
                <a:gd name="T111" fmla="*/ 75 h 447"/>
                <a:gd name="T112" fmla="*/ 144 w 200"/>
                <a:gd name="T113" fmla="*/ 67 h 447"/>
                <a:gd name="T114" fmla="*/ 146 w 200"/>
                <a:gd name="T115" fmla="*/ 56 h 447"/>
                <a:gd name="T116" fmla="*/ 148 w 200"/>
                <a:gd name="T117" fmla="*/ 24 h 447"/>
                <a:gd name="T118" fmla="*/ 133 w 200"/>
                <a:gd name="T119" fmla="*/ 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 h="447">
                  <a:moveTo>
                    <a:pt x="125" y="0"/>
                  </a:moveTo>
                  <a:cubicBezTo>
                    <a:pt x="124" y="1"/>
                    <a:pt x="123" y="3"/>
                    <a:pt x="122" y="5"/>
                  </a:cubicBezTo>
                  <a:cubicBezTo>
                    <a:pt x="122" y="5"/>
                    <a:pt x="121" y="5"/>
                    <a:pt x="121" y="6"/>
                  </a:cubicBezTo>
                  <a:cubicBezTo>
                    <a:pt x="121" y="6"/>
                    <a:pt x="121" y="6"/>
                    <a:pt x="121" y="6"/>
                  </a:cubicBezTo>
                  <a:cubicBezTo>
                    <a:pt x="122" y="7"/>
                    <a:pt x="122" y="7"/>
                    <a:pt x="122" y="7"/>
                  </a:cubicBezTo>
                  <a:cubicBezTo>
                    <a:pt x="122" y="9"/>
                    <a:pt x="122" y="9"/>
                    <a:pt x="122" y="9"/>
                  </a:cubicBezTo>
                  <a:cubicBezTo>
                    <a:pt x="123" y="13"/>
                    <a:pt x="120" y="15"/>
                    <a:pt x="117" y="17"/>
                  </a:cubicBezTo>
                  <a:cubicBezTo>
                    <a:pt x="116" y="17"/>
                    <a:pt x="116" y="17"/>
                    <a:pt x="116" y="17"/>
                  </a:cubicBezTo>
                  <a:cubicBezTo>
                    <a:pt x="116" y="18"/>
                    <a:pt x="115" y="18"/>
                    <a:pt x="114" y="19"/>
                  </a:cubicBezTo>
                  <a:cubicBezTo>
                    <a:pt x="112" y="20"/>
                    <a:pt x="111" y="22"/>
                    <a:pt x="111" y="22"/>
                  </a:cubicBezTo>
                  <a:cubicBezTo>
                    <a:pt x="112" y="23"/>
                    <a:pt x="113" y="25"/>
                    <a:pt x="113" y="25"/>
                  </a:cubicBezTo>
                  <a:cubicBezTo>
                    <a:pt x="113" y="26"/>
                    <a:pt x="113" y="26"/>
                    <a:pt x="113" y="26"/>
                  </a:cubicBezTo>
                  <a:cubicBezTo>
                    <a:pt x="106" y="38"/>
                    <a:pt x="106" y="38"/>
                    <a:pt x="106" y="38"/>
                  </a:cubicBezTo>
                  <a:cubicBezTo>
                    <a:pt x="104" y="30"/>
                    <a:pt x="104" y="30"/>
                    <a:pt x="104" y="30"/>
                  </a:cubicBezTo>
                  <a:cubicBezTo>
                    <a:pt x="104" y="30"/>
                    <a:pt x="103" y="30"/>
                    <a:pt x="103" y="30"/>
                  </a:cubicBezTo>
                  <a:cubicBezTo>
                    <a:pt x="100" y="30"/>
                    <a:pt x="96" y="32"/>
                    <a:pt x="92" y="34"/>
                  </a:cubicBezTo>
                  <a:cubicBezTo>
                    <a:pt x="89" y="36"/>
                    <a:pt x="88" y="37"/>
                    <a:pt x="86" y="38"/>
                  </a:cubicBezTo>
                  <a:cubicBezTo>
                    <a:pt x="83" y="39"/>
                    <a:pt x="81" y="40"/>
                    <a:pt x="80" y="42"/>
                  </a:cubicBezTo>
                  <a:cubicBezTo>
                    <a:pt x="78" y="43"/>
                    <a:pt x="76" y="45"/>
                    <a:pt x="73" y="46"/>
                  </a:cubicBezTo>
                  <a:cubicBezTo>
                    <a:pt x="73" y="46"/>
                    <a:pt x="73" y="46"/>
                    <a:pt x="73" y="46"/>
                  </a:cubicBezTo>
                  <a:cubicBezTo>
                    <a:pt x="68" y="48"/>
                    <a:pt x="68" y="48"/>
                    <a:pt x="69" y="50"/>
                  </a:cubicBezTo>
                  <a:cubicBezTo>
                    <a:pt x="69" y="51"/>
                    <a:pt x="69" y="52"/>
                    <a:pt x="69" y="53"/>
                  </a:cubicBezTo>
                  <a:cubicBezTo>
                    <a:pt x="69" y="54"/>
                    <a:pt x="69" y="54"/>
                    <a:pt x="69" y="54"/>
                  </a:cubicBezTo>
                  <a:cubicBezTo>
                    <a:pt x="70" y="56"/>
                    <a:pt x="70" y="59"/>
                    <a:pt x="70" y="61"/>
                  </a:cubicBezTo>
                  <a:cubicBezTo>
                    <a:pt x="70" y="62"/>
                    <a:pt x="69" y="63"/>
                    <a:pt x="69" y="63"/>
                  </a:cubicBezTo>
                  <a:cubicBezTo>
                    <a:pt x="68" y="64"/>
                    <a:pt x="68" y="64"/>
                    <a:pt x="68" y="64"/>
                  </a:cubicBezTo>
                  <a:cubicBezTo>
                    <a:pt x="68" y="65"/>
                    <a:pt x="67" y="66"/>
                    <a:pt x="67" y="66"/>
                  </a:cubicBezTo>
                  <a:cubicBezTo>
                    <a:pt x="67" y="68"/>
                    <a:pt x="66" y="71"/>
                    <a:pt x="62" y="74"/>
                  </a:cubicBezTo>
                  <a:cubicBezTo>
                    <a:pt x="57" y="77"/>
                    <a:pt x="57" y="77"/>
                    <a:pt x="58" y="79"/>
                  </a:cubicBezTo>
                  <a:cubicBezTo>
                    <a:pt x="61" y="85"/>
                    <a:pt x="59" y="92"/>
                    <a:pt x="53" y="99"/>
                  </a:cubicBezTo>
                  <a:cubicBezTo>
                    <a:pt x="51" y="103"/>
                    <a:pt x="49" y="109"/>
                    <a:pt x="49" y="109"/>
                  </a:cubicBezTo>
                  <a:cubicBezTo>
                    <a:pt x="49" y="110"/>
                    <a:pt x="49" y="110"/>
                    <a:pt x="49" y="110"/>
                  </a:cubicBezTo>
                  <a:cubicBezTo>
                    <a:pt x="48" y="110"/>
                    <a:pt x="48" y="110"/>
                    <a:pt x="48" y="110"/>
                  </a:cubicBezTo>
                  <a:cubicBezTo>
                    <a:pt x="48" y="111"/>
                    <a:pt x="46" y="113"/>
                    <a:pt x="42" y="116"/>
                  </a:cubicBezTo>
                  <a:cubicBezTo>
                    <a:pt x="41" y="118"/>
                    <a:pt x="41" y="118"/>
                    <a:pt x="41" y="118"/>
                  </a:cubicBezTo>
                  <a:cubicBezTo>
                    <a:pt x="39" y="117"/>
                    <a:pt x="39" y="117"/>
                    <a:pt x="39" y="117"/>
                  </a:cubicBezTo>
                  <a:cubicBezTo>
                    <a:pt x="36" y="115"/>
                    <a:pt x="31" y="114"/>
                    <a:pt x="28" y="114"/>
                  </a:cubicBezTo>
                  <a:cubicBezTo>
                    <a:pt x="28" y="114"/>
                    <a:pt x="28" y="115"/>
                    <a:pt x="28" y="115"/>
                  </a:cubicBezTo>
                  <a:cubicBezTo>
                    <a:pt x="30" y="119"/>
                    <a:pt x="29" y="127"/>
                    <a:pt x="28" y="134"/>
                  </a:cubicBezTo>
                  <a:cubicBezTo>
                    <a:pt x="27" y="137"/>
                    <a:pt x="26" y="138"/>
                    <a:pt x="24" y="138"/>
                  </a:cubicBezTo>
                  <a:cubicBezTo>
                    <a:pt x="24" y="138"/>
                    <a:pt x="23" y="138"/>
                    <a:pt x="23" y="138"/>
                  </a:cubicBezTo>
                  <a:cubicBezTo>
                    <a:pt x="23" y="138"/>
                    <a:pt x="22" y="138"/>
                    <a:pt x="22" y="138"/>
                  </a:cubicBezTo>
                  <a:cubicBezTo>
                    <a:pt x="21" y="142"/>
                    <a:pt x="21" y="142"/>
                    <a:pt x="21" y="142"/>
                  </a:cubicBezTo>
                  <a:cubicBezTo>
                    <a:pt x="21" y="146"/>
                    <a:pt x="21" y="146"/>
                    <a:pt x="21" y="146"/>
                  </a:cubicBezTo>
                  <a:cubicBezTo>
                    <a:pt x="23" y="157"/>
                    <a:pt x="23" y="157"/>
                    <a:pt x="23" y="157"/>
                  </a:cubicBezTo>
                  <a:cubicBezTo>
                    <a:pt x="17" y="164"/>
                    <a:pt x="17" y="164"/>
                    <a:pt x="17" y="164"/>
                  </a:cubicBezTo>
                  <a:cubicBezTo>
                    <a:pt x="14" y="163"/>
                    <a:pt x="14" y="163"/>
                    <a:pt x="14" y="163"/>
                  </a:cubicBezTo>
                  <a:cubicBezTo>
                    <a:pt x="11" y="166"/>
                    <a:pt x="11" y="166"/>
                    <a:pt x="11" y="166"/>
                  </a:cubicBezTo>
                  <a:cubicBezTo>
                    <a:pt x="11" y="174"/>
                    <a:pt x="11" y="174"/>
                    <a:pt x="11" y="174"/>
                  </a:cubicBezTo>
                  <a:cubicBezTo>
                    <a:pt x="11" y="175"/>
                    <a:pt x="11" y="176"/>
                    <a:pt x="11" y="177"/>
                  </a:cubicBezTo>
                  <a:cubicBezTo>
                    <a:pt x="11" y="178"/>
                    <a:pt x="11" y="178"/>
                    <a:pt x="11" y="178"/>
                  </a:cubicBezTo>
                  <a:cubicBezTo>
                    <a:pt x="12" y="184"/>
                    <a:pt x="12" y="184"/>
                    <a:pt x="12" y="184"/>
                  </a:cubicBezTo>
                  <a:cubicBezTo>
                    <a:pt x="7" y="181"/>
                    <a:pt x="7" y="181"/>
                    <a:pt x="7" y="181"/>
                  </a:cubicBezTo>
                  <a:cubicBezTo>
                    <a:pt x="6" y="180"/>
                    <a:pt x="5" y="180"/>
                    <a:pt x="5" y="180"/>
                  </a:cubicBezTo>
                  <a:cubicBezTo>
                    <a:pt x="4" y="180"/>
                    <a:pt x="3" y="179"/>
                    <a:pt x="2" y="179"/>
                  </a:cubicBezTo>
                  <a:cubicBezTo>
                    <a:pt x="1" y="180"/>
                    <a:pt x="1" y="181"/>
                    <a:pt x="1" y="181"/>
                  </a:cubicBezTo>
                  <a:cubicBezTo>
                    <a:pt x="0" y="182"/>
                    <a:pt x="0" y="182"/>
                    <a:pt x="0" y="182"/>
                  </a:cubicBezTo>
                  <a:cubicBezTo>
                    <a:pt x="1" y="183"/>
                    <a:pt x="1" y="183"/>
                    <a:pt x="1" y="183"/>
                  </a:cubicBezTo>
                  <a:cubicBezTo>
                    <a:pt x="2" y="183"/>
                    <a:pt x="2" y="183"/>
                    <a:pt x="2" y="183"/>
                  </a:cubicBezTo>
                  <a:cubicBezTo>
                    <a:pt x="1" y="183"/>
                    <a:pt x="1" y="183"/>
                    <a:pt x="1" y="183"/>
                  </a:cubicBezTo>
                  <a:cubicBezTo>
                    <a:pt x="2" y="185"/>
                    <a:pt x="2" y="185"/>
                    <a:pt x="2" y="185"/>
                  </a:cubicBezTo>
                  <a:cubicBezTo>
                    <a:pt x="0" y="186"/>
                    <a:pt x="0" y="186"/>
                    <a:pt x="0" y="186"/>
                  </a:cubicBezTo>
                  <a:cubicBezTo>
                    <a:pt x="0" y="187"/>
                    <a:pt x="1" y="188"/>
                    <a:pt x="2" y="189"/>
                  </a:cubicBezTo>
                  <a:cubicBezTo>
                    <a:pt x="2" y="190"/>
                    <a:pt x="2" y="190"/>
                    <a:pt x="2" y="190"/>
                  </a:cubicBezTo>
                  <a:cubicBezTo>
                    <a:pt x="3" y="192"/>
                    <a:pt x="4" y="193"/>
                    <a:pt x="5" y="195"/>
                  </a:cubicBezTo>
                  <a:cubicBezTo>
                    <a:pt x="6" y="197"/>
                    <a:pt x="7" y="199"/>
                    <a:pt x="8" y="201"/>
                  </a:cubicBezTo>
                  <a:cubicBezTo>
                    <a:pt x="9" y="202"/>
                    <a:pt x="9" y="203"/>
                    <a:pt x="10" y="204"/>
                  </a:cubicBezTo>
                  <a:cubicBezTo>
                    <a:pt x="10" y="203"/>
                    <a:pt x="10" y="201"/>
                    <a:pt x="9" y="200"/>
                  </a:cubicBezTo>
                  <a:cubicBezTo>
                    <a:pt x="9" y="198"/>
                    <a:pt x="9" y="196"/>
                    <a:pt x="9" y="195"/>
                  </a:cubicBezTo>
                  <a:cubicBezTo>
                    <a:pt x="10" y="196"/>
                    <a:pt x="10" y="197"/>
                    <a:pt x="11" y="198"/>
                  </a:cubicBezTo>
                  <a:cubicBezTo>
                    <a:pt x="12" y="199"/>
                    <a:pt x="12" y="200"/>
                    <a:pt x="13" y="202"/>
                  </a:cubicBezTo>
                  <a:cubicBezTo>
                    <a:pt x="13" y="202"/>
                    <a:pt x="12" y="203"/>
                    <a:pt x="12" y="204"/>
                  </a:cubicBezTo>
                  <a:cubicBezTo>
                    <a:pt x="12" y="204"/>
                    <a:pt x="13" y="205"/>
                    <a:pt x="13" y="205"/>
                  </a:cubicBezTo>
                  <a:cubicBezTo>
                    <a:pt x="14" y="206"/>
                    <a:pt x="14" y="206"/>
                    <a:pt x="14" y="206"/>
                  </a:cubicBezTo>
                  <a:cubicBezTo>
                    <a:pt x="15" y="205"/>
                    <a:pt x="15" y="204"/>
                    <a:pt x="15" y="203"/>
                  </a:cubicBezTo>
                  <a:cubicBezTo>
                    <a:pt x="16" y="201"/>
                    <a:pt x="17" y="200"/>
                    <a:pt x="17" y="198"/>
                  </a:cubicBezTo>
                  <a:cubicBezTo>
                    <a:pt x="17" y="199"/>
                    <a:pt x="17" y="200"/>
                    <a:pt x="17" y="201"/>
                  </a:cubicBezTo>
                  <a:cubicBezTo>
                    <a:pt x="17" y="201"/>
                    <a:pt x="17" y="201"/>
                    <a:pt x="17" y="201"/>
                  </a:cubicBezTo>
                  <a:cubicBezTo>
                    <a:pt x="18" y="201"/>
                    <a:pt x="18" y="201"/>
                    <a:pt x="18" y="201"/>
                  </a:cubicBezTo>
                  <a:cubicBezTo>
                    <a:pt x="18" y="203"/>
                    <a:pt x="16" y="206"/>
                    <a:pt x="16" y="209"/>
                  </a:cubicBezTo>
                  <a:cubicBezTo>
                    <a:pt x="16" y="209"/>
                    <a:pt x="17" y="210"/>
                    <a:pt x="17" y="210"/>
                  </a:cubicBezTo>
                  <a:cubicBezTo>
                    <a:pt x="17" y="210"/>
                    <a:pt x="17" y="210"/>
                    <a:pt x="17" y="210"/>
                  </a:cubicBezTo>
                  <a:cubicBezTo>
                    <a:pt x="18" y="212"/>
                    <a:pt x="19" y="213"/>
                    <a:pt x="19" y="214"/>
                  </a:cubicBezTo>
                  <a:cubicBezTo>
                    <a:pt x="19" y="211"/>
                    <a:pt x="19" y="209"/>
                    <a:pt x="22" y="209"/>
                  </a:cubicBezTo>
                  <a:cubicBezTo>
                    <a:pt x="22" y="209"/>
                    <a:pt x="23" y="209"/>
                    <a:pt x="24" y="209"/>
                  </a:cubicBezTo>
                  <a:cubicBezTo>
                    <a:pt x="25" y="210"/>
                    <a:pt x="26" y="210"/>
                    <a:pt x="27" y="210"/>
                  </a:cubicBezTo>
                  <a:cubicBezTo>
                    <a:pt x="29" y="210"/>
                    <a:pt x="33" y="211"/>
                    <a:pt x="33" y="212"/>
                  </a:cubicBezTo>
                  <a:cubicBezTo>
                    <a:pt x="33" y="213"/>
                    <a:pt x="33" y="213"/>
                    <a:pt x="33" y="213"/>
                  </a:cubicBezTo>
                  <a:cubicBezTo>
                    <a:pt x="33" y="213"/>
                    <a:pt x="33" y="213"/>
                    <a:pt x="33" y="213"/>
                  </a:cubicBezTo>
                  <a:cubicBezTo>
                    <a:pt x="32" y="213"/>
                    <a:pt x="32" y="213"/>
                    <a:pt x="31" y="214"/>
                  </a:cubicBezTo>
                  <a:cubicBezTo>
                    <a:pt x="31" y="215"/>
                    <a:pt x="31" y="215"/>
                    <a:pt x="31" y="215"/>
                  </a:cubicBezTo>
                  <a:cubicBezTo>
                    <a:pt x="30" y="217"/>
                    <a:pt x="33" y="217"/>
                    <a:pt x="36" y="217"/>
                  </a:cubicBezTo>
                  <a:cubicBezTo>
                    <a:pt x="33" y="219"/>
                    <a:pt x="34" y="219"/>
                    <a:pt x="35" y="220"/>
                  </a:cubicBezTo>
                  <a:cubicBezTo>
                    <a:pt x="35" y="221"/>
                    <a:pt x="35" y="221"/>
                    <a:pt x="36" y="222"/>
                  </a:cubicBezTo>
                  <a:cubicBezTo>
                    <a:pt x="36" y="222"/>
                    <a:pt x="38" y="224"/>
                    <a:pt x="39" y="225"/>
                  </a:cubicBezTo>
                  <a:cubicBezTo>
                    <a:pt x="39" y="226"/>
                    <a:pt x="39" y="226"/>
                    <a:pt x="39" y="226"/>
                  </a:cubicBezTo>
                  <a:cubicBezTo>
                    <a:pt x="38" y="227"/>
                    <a:pt x="36" y="228"/>
                    <a:pt x="37" y="229"/>
                  </a:cubicBezTo>
                  <a:cubicBezTo>
                    <a:pt x="37" y="229"/>
                    <a:pt x="36" y="229"/>
                    <a:pt x="35" y="228"/>
                  </a:cubicBezTo>
                  <a:cubicBezTo>
                    <a:pt x="35" y="228"/>
                    <a:pt x="34" y="228"/>
                    <a:pt x="33" y="228"/>
                  </a:cubicBezTo>
                  <a:cubicBezTo>
                    <a:pt x="32" y="227"/>
                    <a:pt x="32" y="226"/>
                    <a:pt x="31" y="226"/>
                  </a:cubicBezTo>
                  <a:cubicBezTo>
                    <a:pt x="31" y="226"/>
                    <a:pt x="30" y="225"/>
                    <a:pt x="30" y="225"/>
                  </a:cubicBezTo>
                  <a:cubicBezTo>
                    <a:pt x="29" y="224"/>
                    <a:pt x="29" y="224"/>
                    <a:pt x="29" y="224"/>
                  </a:cubicBezTo>
                  <a:cubicBezTo>
                    <a:pt x="28" y="224"/>
                    <a:pt x="28" y="225"/>
                    <a:pt x="29" y="226"/>
                  </a:cubicBezTo>
                  <a:cubicBezTo>
                    <a:pt x="29" y="228"/>
                    <a:pt x="31" y="231"/>
                    <a:pt x="32" y="232"/>
                  </a:cubicBezTo>
                  <a:cubicBezTo>
                    <a:pt x="32" y="233"/>
                    <a:pt x="32" y="233"/>
                    <a:pt x="32" y="233"/>
                  </a:cubicBezTo>
                  <a:cubicBezTo>
                    <a:pt x="33" y="234"/>
                    <a:pt x="35" y="236"/>
                    <a:pt x="36" y="237"/>
                  </a:cubicBezTo>
                  <a:cubicBezTo>
                    <a:pt x="37" y="237"/>
                    <a:pt x="37" y="238"/>
                    <a:pt x="38" y="238"/>
                  </a:cubicBezTo>
                  <a:cubicBezTo>
                    <a:pt x="38" y="237"/>
                    <a:pt x="38" y="236"/>
                    <a:pt x="38" y="235"/>
                  </a:cubicBezTo>
                  <a:cubicBezTo>
                    <a:pt x="38" y="234"/>
                    <a:pt x="38" y="232"/>
                    <a:pt x="38" y="231"/>
                  </a:cubicBezTo>
                  <a:cubicBezTo>
                    <a:pt x="38" y="230"/>
                    <a:pt x="37" y="230"/>
                    <a:pt x="37" y="229"/>
                  </a:cubicBezTo>
                  <a:cubicBezTo>
                    <a:pt x="38" y="230"/>
                    <a:pt x="38" y="230"/>
                    <a:pt x="38" y="230"/>
                  </a:cubicBezTo>
                  <a:cubicBezTo>
                    <a:pt x="39" y="229"/>
                    <a:pt x="40" y="227"/>
                    <a:pt x="41" y="226"/>
                  </a:cubicBezTo>
                  <a:cubicBezTo>
                    <a:pt x="42" y="228"/>
                    <a:pt x="41" y="230"/>
                    <a:pt x="41" y="232"/>
                  </a:cubicBezTo>
                  <a:cubicBezTo>
                    <a:pt x="41" y="234"/>
                    <a:pt x="41" y="235"/>
                    <a:pt x="41" y="237"/>
                  </a:cubicBezTo>
                  <a:cubicBezTo>
                    <a:pt x="41" y="239"/>
                    <a:pt x="41" y="238"/>
                    <a:pt x="42" y="240"/>
                  </a:cubicBezTo>
                  <a:cubicBezTo>
                    <a:pt x="42" y="240"/>
                    <a:pt x="42" y="240"/>
                    <a:pt x="42" y="240"/>
                  </a:cubicBezTo>
                  <a:cubicBezTo>
                    <a:pt x="44" y="242"/>
                    <a:pt x="45" y="244"/>
                    <a:pt x="46" y="246"/>
                  </a:cubicBezTo>
                  <a:cubicBezTo>
                    <a:pt x="47" y="248"/>
                    <a:pt x="48" y="250"/>
                    <a:pt x="49" y="252"/>
                  </a:cubicBezTo>
                  <a:cubicBezTo>
                    <a:pt x="49" y="254"/>
                    <a:pt x="50" y="257"/>
                    <a:pt x="51" y="259"/>
                  </a:cubicBezTo>
                  <a:cubicBezTo>
                    <a:pt x="51" y="260"/>
                    <a:pt x="51" y="260"/>
                    <a:pt x="51" y="260"/>
                  </a:cubicBezTo>
                  <a:cubicBezTo>
                    <a:pt x="51" y="261"/>
                    <a:pt x="52" y="264"/>
                    <a:pt x="53" y="266"/>
                  </a:cubicBezTo>
                  <a:cubicBezTo>
                    <a:pt x="53" y="269"/>
                    <a:pt x="54" y="271"/>
                    <a:pt x="53" y="272"/>
                  </a:cubicBezTo>
                  <a:cubicBezTo>
                    <a:pt x="52" y="274"/>
                    <a:pt x="52" y="275"/>
                    <a:pt x="52" y="276"/>
                  </a:cubicBezTo>
                  <a:cubicBezTo>
                    <a:pt x="51" y="279"/>
                    <a:pt x="50" y="282"/>
                    <a:pt x="50" y="285"/>
                  </a:cubicBezTo>
                  <a:cubicBezTo>
                    <a:pt x="50" y="286"/>
                    <a:pt x="49" y="287"/>
                    <a:pt x="49" y="288"/>
                  </a:cubicBezTo>
                  <a:cubicBezTo>
                    <a:pt x="49" y="292"/>
                    <a:pt x="48" y="295"/>
                    <a:pt x="47" y="299"/>
                  </a:cubicBezTo>
                  <a:cubicBezTo>
                    <a:pt x="47" y="302"/>
                    <a:pt x="46" y="305"/>
                    <a:pt x="46" y="308"/>
                  </a:cubicBezTo>
                  <a:cubicBezTo>
                    <a:pt x="48" y="307"/>
                    <a:pt x="50" y="305"/>
                    <a:pt x="52" y="303"/>
                  </a:cubicBezTo>
                  <a:cubicBezTo>
                    <a:pt x="53" y="302"/>
                    <a:pt x="53" y="302"/>
                    <a:pt x="53" y="302"/>
                  </a:cubicBezTo>
                  <a:cubicBezTo>
                    <a:pt x="54" y="301"/>
                    <a:pt x="54" y="301"/>
                    <a:pt x="54" y="301"/>
                  </a:cubicBezTo>
                  <a:cubicBezTo>
                    <a:pt x="55" y="299"/>
                    <a:pt x="56" y="297"/>
                    <a:pt x="56" y="295"/>
                  </a:cubicBezTo>
                  <a:cubicBezTo>
                    <a:pt x="56" y="296"/>
                    <a:pt x="56" y="298"/>
                    <a:pt x="56" y="299"/>
                  </a:cubicBezTo>
                  <a:cubicBezTo>
                    <a:pt x="56" y="300"/>
                    <a:pt x="56" y="301"/>
                    <a:pt x="56" y="302"/>
                  </a:cubicBezTo>
                  <a:cubicBezTo>
                    <a:pt x="55" y="304"/>
                    <a:pt x="53" y="307"/>
                    <a:pt x="53" y="308"/>
                  </a:cubicBezTo>
                  <a:cubicBezTo>
                    <a:pt x="53" y="309"/>
                    <a:pt x="53" y="309"/>
                    <a:pt x="54" y="309"/>
                  </a:cubicBezTo>
                  <a:cubicBezTo>
                    <a:pt x="54" y="309"/>
                    <a:pt x="54" y="309"/>
                    <a:pt x="55" y="308"/>
                  </a:cubicBezTo>
                  <a:cubicBezTo>
                    <a:pt x="57" y="307"/>
                    <a:pt x="56" y="305"/>
                    <a:pt x="58" y="304"/>
                  </a:cubicBezTo>
                  <a:cubicBezTo>
                    <a:pt x="58" y="305"/>
                    <a:pt x="58" y="306"/>
                    <a:pt x="57" y="307"/>
                  </a:cubicBezTo>
                  <a:cubicBezTo>
                    <a:pt x="57" y="308"/>
                    <a:pt x="57" y="310"/>
                    <a:pt x="56" y="311"/>
                  </a:cubicBezTo>
                  <a:cubicBezTo>
                    <a:pt x="57" y="310"/>
                    <a:pt x="58" y="309"/>
                    <a:pt x="59" y="308"/>
                  </a:cubicBezTo>
                  <a:cubicBezTo>
                    <a:pt x="59" y="307"/>
                    <a:pt x="60" y="307"/>
                    <a:pt x="60" y="307"/>
                  </a:cubicBezTo>
                  <a:cubicBezTo>
                    <a:pt x="60" y="306"/>
                    <a:pt x="60" y="305"/>
                    <a:pt x="60" y="304"/>
                  </a:cubicBezTo>
                  <a:cubicBezTo>
                    <a:pt x="60" y="304"/>
                    <a:pt x="60" y="304"/>
                    <a:pt x="60" y="304"/>
                  </a:cubicBezTo>
                  <a:cubicBezTo>
                    <a:pt x="60" y="304"/>
                    <a:pt x="60" y="304"/>
                    <a:pt x="60" y="304"/>
                  </a:cubicBezTo>
                  <a:cubicBezTo>
                    <a:pt x="61" y="307"/>
                    <a:pt x="61" y="309"/>
                    <a:pt x="62" y="311"/>
                  </a:cubicBezTo>
                  <a:cubicBezTo>
                    <a:pt x="62" y="312"/>
                    <a:pt x="62" y="313"/>
                    <a:pt x="63" y="313"/>
                  </a:cubicBezTo>
                  <a:cubicBezTo>
                    <a:pt x="64" y="312"/>
                    <a:pt x="64" y="312"/>
                    <a:pt x="65" y="310"/>
                  </a:cubicBezTo>
                  <a:cubicBezTo>
                    <a:pt x="65" y="309"/>
                    <a:pt x="65" y="309"/>
                    <a:pt x="65" y="309"/>
                  </a:cubicBezTo>
                  <a:cubicBezTo>
                    <a:pt x="65" y="308"/>
                    <a:pt x="65" y="308"/>
                    <a:pt x="65" y="308"/>
                  </a:cubicBezTo>
                  <a:cubicBezTo>
                    <a:pt x="65" y="307"/>
                    <a:pt x="67" y="304"/>
                    <a:pt x="67" y="304"/>
                  </a:cubicBezTo>
                  <a:cubicBezTo>
                    <a:pt x="68" y="304"/>
                    <a:pt x="68" y="304"/>
                    <a:pt x="68" y="305"/>
                  </a:cubicBezTo>
                  <a:cubicBezTo>
                    <a:pt x="67" y="306"/>
                    <a:pt x="67" y="306"/>
                    <a:pt x="67" y="306"/>
                  </a:cubicBezTo>
                  <a:cubicBezTo>
                    <a:pt x="67" y="308"/>
                    <a:pt x="65" y="313"/>
                    <a:pt x="68" y="313"/>
                  </a:cubicBezTo>
                  <a:cubicBezTo>
                    <a:pt x="68" y="313"/>
                    <a:pt x="68" y="313"/>
                    <a:pt x="68" y="313"/>
                  </a:cubicBezTo>
                  <a:cubicBezTo>
                    <a:pt x="70" y="311"/>
                    <a:pt x="70" y="311"/>
                    <a:pt x="70" y="311"/>
                  </a:cubicBezTo>
                  <a:cubicBezTo>
                    <a:pt x="71" y="309"/>
                    <a:pt x="72" y="307"/>
                    <a:pt x="72" y="305"/>
                  </a:cubicBezTo>
                  <a:cubicBezTo>
                    <a:pt x="72" y="307"/>
                    <a:pt x="71" y="310"/>
                    <a:pt x="71" y="312"/>
                  </a:cubicBezTo>
                  <a:cubicBezTo>
                    <a:pt x="71" y="313"/>
                    <a:pt x="71" y="314"/>
                    <a:pt x="71" y="314"/>
                  </a:cubicBezTo>
                  <a:cubicBezTo>
                    <a:pt x="72" y="314"/>
                    <a:pt x="72" y="314"/>
                    <a:pt x="73" y="314"/>
                  </a:cubicBezTo>
                  <a:cubicBezTo>
                    <a:pt x="76" y="312"/>
                    <a:pt x="78" y="307"/>
                    <a:pt x="80" y="303"/>
                  </a:cubicBezTo>
                  <a:cubicBezTo>
                    <a:pt x="80" y="302"/>
                    <a:pt x="81" y="302"/>
                    <a:pt x="82" y="302"/>
                  </a:cubicBezTo>
                  <a:cubicBezTo>
                    <a:pt x="82" y="302"/>
                    <a:pt x="83" y="302"/>
                    <a:pt x="83" y="302"/>
                  </a:cubicBezTo>
                  <a:cubicBezTo>
                    <a:pt x="84" y="302"/>
                    <a:pt x="84" y="302"/>
                    <a:pt x="85" y="302"/>
                  </a:cubicBezTo>
                  <a:cubicBezTo>
                    <a:pt x="85" y="302"/>
                    <a:pt x="86" y="302"/>
                    <a:pt x="86" y="302"/>
                  </a:cubicBezTo>
                  <a:cubicBezTo>
                    <a:pt x="88" y="301"/>
                    <a:pt x="89" y="300"/>
                    <a:pt x="87" y="298"/>
                  </a:cubicBezTo>
                  <a:cubicBezTo>
                    <a:pt x="88" y="298"/>
                    <a:pt x="94" y="298"/>
                    <a:pt x="95" y="297"/>
                  </a:cubicBezTo>
                  <a:cubicBezTo>
                    <a:pt x="95" y="296"/>
                    <a:pt x="94" y="296"/>
                    <a:pt x="94" y="296"/>
                  </a:cubicBezTo>
                  <a:cubicBezTo>
                    <a:pt x="94" y="296"/>
                    <a:pt x="93" y="295"/>
                    <a:pt x="93" y="294"/>
                  </a:cubicBezTo>
                  <a:cubicBezTo>
                    <a:pt x="94" y="294"/>
                    <a:pt x="94" y="294"/>
                    <a:pt x="94" y="294"/>
                  </a:cubicBezTo>
                  <a:cubicBezTo>
                    <a:pt x="95" y="294"/>
                    <a:pt x="96" y="295"/>
                    <a:pt x="97" y="295"/>
                  </a:cubicBezTo>
                  <a:cubicBezTo>
                    <a:pt x="97" y="295"/>
                    <a:pt x="97" y="295"/>
                    <a:pt x="97" y="295"/>
                  </a:cubicBezTo>
                  <a:cubicBezTo>
                    <a:pt x="98" y="295"/>
                    <a:pt x="98" y="295"/>
                    <a:pt x="99" y="295"/>
                  </a:cubicBezTo>
                  <a:cubicBezTo>
                    <a:pt x="102" y="294"/>
                    <a:pt x="103" y="292"/>
                    <a:pt x="104" y="290"/>
                  </a:cubicBezTo>
                  <a:cubicBezTo>
                    <a:pt x="106" y="288"/>
                    <a:pt x="106" y="288"/>
                    <a:pt x="106" y="286"/>
                  </a:cubicBezTo>
                  <a:cubicBezTo>
                    <a:pt x="106" y="285"/>
                    <a:pt x="106" y="285"/>
                    <a:pt x="106" y="285"/>
                  </a:cubicBezTo>
                  <a:cubicBezTo>
                    <a:pt x="107" y="282"/>
                    <a:pt x="108" y="279"/>
                    <a:pt x="108" y="275"/>
                  </a:cubicBezTo>
                  <a:cubicBezTo>
                    <a:pt x="108" y="274"/>
                    <a:pt x="108" y="273"/>
                    <a:pt x="107" y="272"/>
                  </a:cubicBezTo>
                  <a:cubicBezTo>
                    <a:pt x="108" y="273"/>
                    <a:pt x="108" y="273"/>
                    <a:pt x="109" y="274"/>
                  </a:cubicBezTo>
                  <a:cubicBezTo>
                    <a:pt x="110" y="276"/>
                    <a:pt x="112" y="277"/>
                    <a:pt x="113" y="279"/>
                  </a:cubicBezTo>
                  <a:cubicBezTo>
                    <a:pt x="114" y="280"/>
                    <a:pt x="115" y="282"/>
                    <a:pt x="115" y="284"/>
                  </a:cubicBezTo>
                  <a:cubicBezTo>
                    <a:pt x="115" y="285"/>
                    <a:pt x="115" y="285"/>
                    <a:pt x="116" y="285"/>
                  </a:cubicBezTo>
                  <a:cubicBezTo>
                    <a:pt x="116" y="288"/>
                    <a:pt x="117" y="290"/>
                    <a:pt x="118" y="292"/>
                  </a:cubicBezTo>
                  <a:cubicBezTo>
                    <a:pt x="118" y="293"/>
                    <a:pt x="119" y="294"/>
                    <a:pt x="119" y="296"/>
                  </a:cubicBezTo>
                  <a:cubicBezTo>
                    <a:pt x="120" y="295"/>
                    <a:pt x="123" y="294"/>
                    <a:pt x="125" y="294"/>
                  </a:cubicBezTo>
                  <a:cubicBezTo>
                    <a:pt x="126" y="294"/>
                    <a:pt x="126" y="294"/>
                    <a:pt x="127" y="294"/>
                  </a:cubicBezTo>
                  <a:cubicBezTo>
                    <a:pt x="127" y="294"/>
                    <a:pt x="127" y="294"/>
                    <a:pt x="128" y="294"/>
                  </a:cubicBezTo>
                  <a:cubicBezTo>
                    <a:pt x="125" y="295"/>
                    <a:pt x="124" y="300"/>
                    <a:pt x="124" y="304"/>
                  </a:cubicBezTo>
                  <a:cubicBezTo>
                    <a:pt x="125" y="304"/>
                    <a:pt x="125" y="305"/>
                    <a:pt x="125" y="305"/>
                  </a:cubicBezTo>
                  <a:cubicBezTo>
                    <a:pt x="125" y="307"/>
                    <a:pt x="126" y="309"/>
                    <a:pt x="126" y="311"/>
                  </a:cubicBezTo>
                  <a:cubicBezTo>
                    <a:pt x="127" y="312"/>
                    <a:pt x="127" y="313"/>
                    <a:pt x="127" y="315"/>
                  </a:cubicBezTo>
                  <a:cubicBezTo>
                    <a:pt x="128" y="315"/>
                    <a:pt x="128" y="316"/>
                    <a:pt x="128" y="317"/>
                  </a:cubicBezTo>
                  <a:cubicBezTo>
                    <a:pt x="128" y="317"/>
                    <a:pt x="128" y="318"/>
                    <a:pt x="128" y="319"/>
                  </a:cubicBezTo>
                  <a:cubicBezTo>
                    <a:pt x="128" y="321"/>
                    <a:pt x="128" y="324"/>
                    <a:pt x="129" y="327"/>
                  </a:cubicBezTo>
                  <a:cubicBezTo>
                    <a:pt x="129" y="329"/>
                    <a:pt x="129" y="331"/>
                    <a:pt x="129" y="333"/>
                  </a:cubicBezTo>
                  <a:cubicBezTo>
                    <a:pt x="129" y="334"/>
                    <a:pt x="129" y="334"/>
                    <a:pt x="130" y="335"/>
                  </a:cubicBezTo>
                  <a:cubicBezTo>
                    <a:pt x="131" y="337"/>
                    <a:pt x="133" y="338"/>
                    <a:pt x="134" y="340"/>
                  </a:cubicBezTo>
                  <a:cubicBezTo>
                    <a:pt x="134" y="340"/>
                    <a:pt x="134" y="340"/>
                    <a:pt x="134" y="340"/>
                  </a:cubicBezTo>
                  <a:cubicBezTo>
                    <a:pt x="134" y="340"/>
                    <a:pt x="134" y="340"/>
                    <a:pt x="134" y="340"/>
                  </a:cubicBezTo>
                  <a:cubicBezTo>
                    <a:pt x="134" y="340"/>
                    <a:pt x="134" y="340"/>
                    <a:pt x="134" y="340"/>
                  </a:cubicBezTo>
                  <a:cubicBezTo>
                    <a:pt x="134" y="340"/>
                    <a:pt x="134" y="340"/>
                    <a:pt x="134" y="340"/>
                  </a:cubicBezTo>
                  <a:cubicBezTo>
                    <a:pt x="134" y="343"/>
                    <a:pt x="134" y="346"/>
                    <a:pt x="134" y="349"/>
                  </a:cubicBezTo>
                  <a:cubicBezTo>
                    <a:pt x="135" y="351"/>
                    <a:pt x="135" y="354"/>
                    <a:pt x="136" y="357"/>
                  </a:cubicBezTo>
                  <a:cubicBezTo>
                    <a:pt x="136" y="359"/>
                    <a:pt x="136" y="362"/>
                    <a:pt x="137" y="364"/>
                  </a:cubicBezTo>
                  <a:cubicBezTo>
                    <a:pt x="137" y="365"/>
                    <a:pt x="137" y="366"/>
                    <a:pt x="137" y="367"/>
                  </a:cubicBezTo>
                  <a:cubicBezTo>
                    <a:pt x="138" y="367"/>
                    <a:pt x="138" y="367"/>
                    <a:pt x="138" y="367"/>
                  </a:cubicBezTo>
                  <a:cubicBezTo>
                    <a:pt x="138" y="366"/>
                    <a:pt x="138" y="364"/>
                    <a:pt x="138" y="363"/>
                  </a:cubicBezTo>
                  <a:cubicBezTo>
                    <a:pt x="138" y="363"/>
                    <a:pt x="138" y="363"/>
                    <a:pt x="138" y="363"/>
                  </a:cubicBezTo>
                  <a:cubicBezTo>
                    <a:pt x="138" y="360"/>
                    <a:pt x="138" y="357"/>
                    <a:pt x="138" y="355"/>
                  </a:cubicBezTo>
                  <a:cubicBezTo>
                    <a:pt x="139" y="355"/>
                    <a:pt x="140" y="357"/>
                    <a:pt x="141" y="360"/>
                  </a:cubicBezTo>
                  <a:cubicBezTo>
                    <a:pt x="142" y="362"/>
                    <a:pt x="143" y="365"/>
                    <a:pt x="144" y="367"/>
                  </a:cubicBezTo>
                  <a:cubicBezTo>
                    <a:pt x="144" y="369"/>
                    <a:pt x="145" y="371"/>
                    <a:pt x="145" y="372"/>
                  </a:cubicBezTo>
                  <a:cubicBezTo>
                    <a:pt x="145" y="372"/>
                    <a:pt x="146" y="373"/>
                    <a:pt x="146" y="374"/>
                  </a:cubicBezTo>
                  <a:cubicBezTo>
                    <a:pt x="147" y="376"/>
                    <a:pt x="148" y="378"/>
                    <a:pt x="149" y="380"/>
                  </a:cubicBezTo>
                  <a:cubicBezTo>
                    <a:pt x="150" y="382"/>
                    <a:pt x="150" y="384"/>
                    <a:pt x="150" y="386"/>
                  </a:cubicBezTo>
                  <a:cubicBezTo>
                    <a:pt x="150" y="387"/>
                    <a:pt x="150" y="387"/>
                    <a:pt x="150" y="388"/>
                  </a:cubicBezTo>
                  <a:cubicBezTo>
                    <a:pt x="149" y="390"/>
                    <a:pt x="148" y="392"/>
                    <a:pt x="148" y="395"/>
                  </a:cubicBezTo>
                  <a:cubicBezTo>
                    <a:pt x="148" y="396"/>
                    <a:pt x="148" y="397"/>
                    <a:pt x="146" y="397"/>
                  </a:cubicBezTo>
                  <a:cubicBezTo>
                    <a:pt x="147" y="397"/>
                    <a:pt x="149" y="397"/>
                    <a:pt x="149" y="398"/>
                  </a:cubicBezTo>
                  <a:cubicBezTo>
                    <a:pt x="150" y="398"/>
                    <a:pt x="150" y="398"/>
                    <a:pt x="150" y="398"/>
                  </a:cubicBezTo>
                  <a:cubicBezTo>
                    <a:pt x="150" y="398"/>
                    <a:pt x="149" y="402"/>
                    <a:pt x="149" y="402"/>
                  </a:cubicBezTo>
                  <a:cubicBezTo>
                    <a:pt x="149" y="404"/>
                    <a:pt x="149" y="404"/>
                    <a:pt x="149" y="405"/>
                  </a:cubicBezTo>
                  <a:cubicBezTo>
                    <a:pt x="148" y="404"/>
                    <a:pt x="147" y="403"/>
                    <a:pt x="145" y="402"/>
                  </a:cubicBezTo>
                  <a:cubicBezTo>
                    <a:pt x="145" y="402"/>
                    <a:pt x="145" y="402"/>
                    <a:pt x="145" y="402"/>
                  </a:cubicBezTo>
                  <a:cubicBezTo>
                    <a:pt x="144" y="403"/>
                    <a:pt x="144" y="403"/>
                    <a:pt x="144" y="403"/>
                  </a:cubicBezTo>
                  <a:cubicBezTo>
                    <a:pt x="144" y="403"/>
                    <a:pt x="144" y="403"/>
                    <a:pt x="144" y="403"/>
                  </a:cubicBezTo>
                  <a:cubicBezTo>
                    <a:pt x="144" y="405"/>
                    <a:pt x="145" y="406"/>
                    <a:pt x="146" y="406"/>
                  </a:cubicBezTo>
                  <a:cubicBezTo>
                    <a:pt x="147" y="406"/>
                    <a:pt x="148" y="405"/>
                    <a:pt x="149" y="405"/>
                  </a:cubicBezTo>
                  <a:cubicBezTo>
                    <a:pt x="149" y="406"/>
                    <a:pt x="149" y="406"/>
                    <a:pt x="149" y="406"/>
                  </a:cubicBezTo>
                  <a:cubicBezTo>
                    <a:pt x="148" y="406"/>
                    <a:pt x="148" y="406"/>
                    <a:pt x="148" y="406"/>
                  </a:cubicBezTo>
                  <a:cubicBezTo>
                    <a:pt x="147" y="406"/>
                    <a:pt x="147" y="407"/>
                    <a:pt x="147" y="409"/>
                  </a:cubicBezTo>
                  <a:cubicBezTo>
                    <a:pt x="148" y="409"/>
                    <a:pt x="148" y="410"/>
                    <a:pt x="148" y="410"/>
                  </a:cubicBezTo>
                  <a:cubicBezTo>
                    <a:pt x="149" y="410"/>
                    <a:pt x="149" y="411"/>
                    <a:pt x="150" y="411"/>
                  </a:cubicBezTo>
                  <a:cubicBezTo>
                    <a:pt x="151" y="411"/>
                    <a:pt x="152" y="409"/>
                    <a:pt x="153" y="407"/>
                  </a:cubicBezTo>
                  <a:cubicBezTo>
                    <a:pt x="155" y="411"/>
                    <a:pt x="153" y="409"/>
                    <a:pt x="152" y="411"/>
                  </a:cubicBezTo>
                  <a:cubicBezTo>
                    <a:pt x="152" y="412"/>
                    <a:pt x="151" y="412"/>
                    <a:pt x="151" y="414"/>
                  </a:cubicBezTo>
                  <a:cubicBezTo>
                    <a:pt x="151" y="414"/>
                    <a:pt x="151" y="414"/>
                    <a:pt x="151" y="414"/>
                  </a:cubicBezTo>
                  <a:cubicBezTo>
                    <a:pt x="151" y="417"/>
                    <a:pt x="151" y="420"/>
                    <a:pt x="151" y="423"/>
                  </a:cubicBezTo>
                  <a:cubicBezTo>
                    <a:pt x="151" y="424"/>
                    <a:pt x="151" y="425"/>
                    <a:pt x="151" y="426"/>
                  </a:cubicBezTo>
                  <a:cubicBezTo>
                    <a:pt x="150" y="430"/>
                    <a:pt x="148" y="431"/>
                    <a:pt x="145" y="433"/>
                  </a:cubicBezTo>
                  <a:cubicBezTo>
                    <a:pt x="144" y="434"/>
                    <a:pt x="145" y="436"/>
                    <a:pt x="145" y="438"/>
                  </a:cubicBezTo>
                  <a:cubicBezTo>
                    <a:pt x="146" y="440"/>
                    <a:pt x="146" y="441"/>
                    <a:pt x="146" y="442"/>
                  </a:cubicBezTo>
                  <a:cubicBezTo>
                    <a:pt x="146" y="444"/>
                    <a:pt x="146" y="445"/>
                    <a:pt x="146" y="447"/>
                  </a:cubicBezTo>
                  <a:cubicBezTo>
                    <a:pt x="146" y="447"/>
                    <a:pt x="146" y="447"/>
                    <a:pt x="146" y="447"/>
                  </a:cubicBezTo>
                  <a:cubicBezTo>
                    <a:pt x="151" y="436"/>
                    <a:pt x="151" y="436"/>
                    <a:pt x="151" y="436"/>
                  </a:cubicBezTo>
                  <a:cubicBezTo>
                    <a:pt x="152" y="433"/>
                    <a:pt x="154" y="430"/>
                    <a:pt x="157" y="427"/>
                  </a:cubicBezTo>
                  <a:cubicBezTo>
                    <a:pt x="158" y="425"/>
                    <a:pt x="160" y="423"/>
                    <a:pt x="162" y="421"/>
                  </a:cubicBezTo>
                  <a:cubicBezTo>
                    <a:pt x="163" y="418"/>
                    <a:pt x="165" y="416"/>
                    <a:pt x="166" y="413"/>
                  </a:cubicBezTo>
                  <a:cubicBezTo>
                    <a:pt x="167" y="411"/>
                    <a:pt x="168" y="409"/>
                    <a:pt x="169" y="408"/>
                  </a:cubicBezTo>
                  <a:cubicBezTo>
                    <a:pt x="169" y="406"/>
                    <a:pt x="168" y="405"/>
                    <a:pt x="168" y="404"/>
                  </a:cubicBezTo>
                  <a:cubicBezTo>
                    <a:pt x="168" y="403"/>
                    <a:pt x="168" y="403"/>
                    <a:pt x="168" y="403"/>
                  </a:cubicBezTo>
                  <a:cubicBezTo>
                    <a:pt x="168" y="404"/>
                    <a:pt x="168" y="404"/>
                    <a:pt x="168" y="404"/>
                  </a:cubicBezTo>
                  <a:cubicBezTo>
                    <a:pt x="167" y="401"/>
                    <a:pt x="167" y="401"/>
                    <a:pt x="167" y="401"/>
                  </a:cubicBezTo>
                  <a:cubicBezTo>
                    <a:pt x="166" y="399"/>
                    <a:pt x="166" y="396"/>
                    <a:pt x="165" y="394"/>
                  </a:cubicBezTo>
                  <a:cubicBezTo>
                    <a:pt x="165" y="393"/>
                    <a:pt x="165" y="393"/>
                    <a:pt x="165" y="393"/>
                  </a:cubicBezTo>
                  <a:cubicBezTo>
                    <a:pt x="165" y="393"/>
                    <a:pt x="165" y="392"/>
                    <a:pt x="165" y="392"/>
                  </a:cubicBezTo>
                  <a:cubicBezTo>
                    <a:pt x="165" y="390"/>
                    <a:pt x="163" y="388"/>
                    <a:pt x="162" y="386"/>
                  </a:cubicBezTo>
                  <a:cubicBezTo>
                    <a:pt x="161" y="385"/>
                    <a:pt x="161" y="384"/>
                    <a:pt x="160" y="383"/>
                  </a:cubicBezTo>
                  <a:cubicBezTo>
                    <a:pt x="160" y="383"/>
                    <a:pt x="160" y="383"/>
                    <a:pt x="160" y="383"/>
                  </a:cubicBezTo>
                  <a:cubicBezTo>
                    <a:pt x="159" y="381"/>
                    <a:pt x="157" y="379"/>
                    <a:pt x="157" y="377"/>
                  </a:cubicBezTo>
                  <a:cubicBezTo>
                    <a:pt x="157" y="376"/>
                    <a:pt x="158" y="375"/>
                    <a:pt x="159" y="374"/>
                  </a:cubicBezTo>
                  <a:cubicBezTo>
                    <a:pt x="159" y="374"/>
                    <a:pt x="159" y="374"/>
                    <a:pt x="159" y="374"/>
                  </a:cubicBezTo>
                  <a:cubicBezTo>
                    <a:pt x="159" y="373"/>
                    <a:pt x="159" y="373"/>
                    <a:pt x="159" y="373"/>
                  </a:cubicBezTo>
                  <a:cubicBezTo>
                    <a:pt x="159" y="372"/>
                    <a:pt x="159" y="372"/>
                    <a:pt x="159" y="372"/>
                  </a:cubicBezTo>
                  <a:cubicBezTo>
                    <a:pt x="159" y="371"/>
                    <a:pt x="159" y="370"/>
                    <a:pt x="159" y="369"/>
                  </a:cubicBezTo>
                  <a:cubicBezTo>
                    <a:pt x="159" y="366"/>
                    <a:pt x="159" y="364"/>
                    <a:pt x="159" y="364"/>
                  </a:cubicBezTo>
                  <a:cubicBezTo>
                    <a:pt x="159" y="363"/>
                    <a:pt x="159" y="363"/>
                    <a:pt x="159" y="363"/>
                  </a:cubicBezTo>
                  <a:cubicBezTo>
                    <a:pt x="158" y="362"/>
                    <a:pt x="158" y="362"/>
                    <a:pt x="158" y="362"/>
                  </a:cubicBezTo>
                  <a:cubicBezTo>
                    <a:pt x="157" y="361"/>
                    <a:pt x="157" y="361"/>
                    <a:pt x="156" y="360"/>
                  </a:cubicBezTo>
                  <a:cubicBezTo>
                    <a:pt x="156" y="360"/>
                    <a:pt x="156" y="360"/>
                    <a:pt x="156" y="360"/>
                  </a:cubicBezTo>
                  <a:cubicBezTo>
                    <a:pt x="156" y="359"/>
                    <a:pt x="155" y="359"/>
                    <a:pt x="155" y="358"/>
                  </a:cubicBezTo>
                  <a:cubicBezTo>
                    <a:pt x="152" y="355"/>
                    <a:pt x="152" y="355"/>
                    <a:pt x="152" y="355"/>
                  </a:cubicBezTo>
                  <a:cubicBezTo>
                    <a:pt x="151" y="354"/>
                    <a:pt x="150" y="353"/>
                    <a:pt x="150" y="353"/>
                  </a:cubicBezTo>
                  <a:cubicBezTo>
                    <a:pt x="149" y="351"/>
                    <a:pt x="149" y="351"/>
                    <a:pt x="149" y="351"/>
                  </a:cubicBezTo>
                  <a:cubicBezTo>
                    <a:pt x="145" y="347"/>
                    <a:pt x="141" y="343"/>
                    <a:pt x="138" y="337"/>
                  </a:cubicBezTo>
                  <a:cubicBezTo>
                    <a:pt x="137" y="334"/>
                    <a:pt x="136" y="332"/>
                    <a:pt x="136" y="329"/>
                  </a:cubicBezTo>
                  <a:cubicBezTo>
                    <a:pt x="136" y="323"/>
                    <a:pt x="139" y="323"/>
                    <a:pt x="142" y="322"/>
                  </a:cubicBezTo>
                  <a:cubicBezTo>
                    <a:pt x="143" y="322"/>
                    <a:pt x="143" y="322"/>
                    <a:pt x="143" y="322"/>
                  </a:cubicBezTo>
                  <a:cubicBezTo>
                    <a:pt x="143" y="322"/>
                    <a:pt x="144" y="322"/>
                    <a:pt x="145" y="321"/>
                  </a:cubicBezTo>
                  <a:cubicBezTo>
                    <a:pt x="145" y="321"/>
                    <a:pt x="145" y="321"/>
                    <a:pt x="145" y="321"/>
                  </a:cubicBezTo>
                  <a:cubicBezTo>
                    <a:pt x="145" y="321"/>
                    <a:pt x="145" y="321"/>
                    <a:pt x="145" y="320"/>
                  </a:cubicBezTo>
                  <a:cubicBezTo>
                    <a:pt x="145" y="319"/>
                    <a:pt x="145" y="318"/>
                    <a:pt x="145" y="317"/>
                  </a:cubicBezTo>
                  <a:cubicBezTo>
                    <a:pt x="145" y="314"/>
                    <a:pt x="145" y="314"/>
                    <a:pt x="145" y="314"/>
                  </a:cubicBezTo>
                  <a:cubicBezTo>
                    <a:pt x="145" y="312"/>
                    <a:pt x="145" y="310"/>
                    <a:pt x="145" y="307"/>
                  </a:cubicBezTo>
                  <a:cubicBezTo>
                    <a:pt x="145" y="304"/>
                    <a:pt x="147" y="303"/>
                    <a:pt x="148" y="303"/>
                  </a:cubicBezTo>
                  <a:cubicBezTo>
                    <a:pt x="148" y="302"/>
                    <a:pt x="148" y="302"/>
                    <a:pt x="148" y="302"/>
                  </a:cubicBezTo>
                  <a:cubicBezTo>
                    <a:pt x="147" y="300"/>
                    <a:pt x="147" y="299"/>
                    <a:pt x="147" y="298"/>
                  </a:cubicBezTo>
                  <a:cubicBezTo>
                    <a:pt x="147" y="297"/>
                    <a:pt x="146" y="296"/>
                    <a:pt x="146" y="295"/>
                  </a:cubicBezTo>
                  <a:cubicBezTo>
                    <a:pt x="146" y="293"/>
                    <a:pt x="145" y="292"/>
                    <a:pt x="145" y="290"/>
                  </a:cubicBezTo>
                  <a:cubicBezTo>
                    <a:pt x="145" y="289"/>
                    <a:pt x="144" y="288"/>
                    <a:pt x="144" y="287"/>
                  </a:cubicBezTo>
                  <a:cubicBezTo>
                    <a:pt x="144" y="287"/>
                    <a:pt x="144" y="287"/>
                    <a:pt x="144" y="287"/>
                  </a:cubicBezTo>
                  <a:cubicBezTo>
                    <a:pt x="143" y="286"/>
                    <a:pt x="143" y="286"/>
                    <a:pt x="143" y="286"/>
                  </a:cubicBezTo>
                  <a:cubicBezTo>
                    <a:pt x="143" y="285"/>
                    <a:pt x="143" y="285"/>
                    <a:pt x="143" y="285"/>
                  </a:cubicBezTo>
                  <a:cubicBezTo>
                    <a:pt x="142" y="285"/>
                    <a:pt x="142" y="285"/>
                    <a:pt x="142" y="285"/>
                  </a:cubicBezTo>
                  <a:cubicBezTo>
                    <a:pt x="142" y="284"/>
                    <a:pt x="142" y="284"/>
                    <a:pt x="142" y="284"/>
                  </a:cubicBezTo>
                  <a:cubicBezTo>
                    <a:pt x="141" y="284"/>
                    <a:pt x="140" y="284"/>
                    <a:pt x="138" y="282"/>
                  </a:cubicBezTo>
                  <a:cubicBezTo>
                    <a:pt x="137" y="281"/>
                    <a:pt x="137" y="281"/>
                    <a:pt x="137" y="281"/>
                  </a:cubicBezTo>
                  <a:cubicBezTo>
                    <a:pt x="136" y="279"/>
                    <a:pt x="134" y="277"/>
                    <a:pt x="133" y="275"/>
                  </a:cubicBezTo>
                  <a:cubicBezTo>
                    <a:pt x="130" y="272"/>
                    <a:pt x="127" y="268"/>
                    <a:pt x="125" y="265"/>
                  </a:cubicBezTo>
                  <a:cubicBezTo>
                    <a:pt x="123" y="263"/>
                    <a:pt x="124" y="261"/>
                    <a:pt x="125" y="260"/>
                  </a:cubicBezTo>
                  <a:cubicBezTo>
                    <a:pt x="125" y="259"/>
                    <a:pt x="125" y="259"/>
                    <a:pt x="125" y="259"/>
                  </a:cubicBezTo>
                  <a:cubicBezTo>
                    <a:pt x="125" y="259"/>
                    <a:pt x="125" y="259"/>
                    <a:pt x="125" y="259"/>
                  </a:cubicBezTo>
                  <a:cubicBezTo>
                    <a:pt x="124" y="257"/>
                    <a:pt x="124" y="257"/>
                    <a:pt x="124" y="257"/>
                  </a:cubicBezTo>
                  <a:cubicBezTo>
                    <a:pt x="124" y="256"/>
                    <a:pt x="123" y="256"/>
                    <a:pt x="123" y="255"/>
                  </a:cubicBezTo>
                  <a:cubicBezTo>
                    <a:pt x="123" y="255"/>
                    <a:pt x="123" y="255"/>
                    <a:pt x="123" y="255"/>
                  </a:cubicBezTo>
                  <a:cubicBezTo>
                    <a:pt x="122" y="255"/>
                    <a:pt x="122" y="255"/>
                    <a:pt x="122" y="255"/>
                  </a:cubicBezTo>
                  <a:cubicBezTo>
                    <a:pt x="119" y="253"/>
                    <a:pt x="118" y="250"/>
                    <a:pt x="117" y="248"/>
                  </a:cubicBezTo>
                  <a:cubicBezTo>
                    <a:pt x="115" y="242"/>
                    <a:pt x="115" y="242"/>
                    <a:pt x="115" y="242"/>
                  </a:cubicBezTo>
                  <a:cubicBezTo>
                    <a:pt x="119" y="242"/>
                    <a:pt x="119" y="242"/>
                    <a:pt x="119" y="242"/>
                  </a:cubicBezTo>
                  <a:cubicBezTo>
                    <a:pt x="120" y="242"/>
                    <a:pt x="121" y="242"/>
                    <a:pt x="121" y="242"/>
                  </a:cubicBezTo>
                  <a:cubicBezTo>
                    <a:pt x="122" y="242"/>
                    <a:pt x="123" y="243"/>
                    <a:pt x="124" y="243"/>
                  </a:cubicBezTo>
                  <a:cubicBezTo>
                    <a:pt x="125" y="243"/>
                    <a:pt x="125" y="243"/>
                    <a:pt x="126" y="242"/>
                  </a:cubicBezTo>
                  <a:cubicBezTo>
                    <a:pt x="126" y="242"/>
                    <a:pt x="126" y="242"/>
                    <a:pt x="126" y="242"/>
                  </a:cubicBezTo>
                  <a:cubicBezTo>
                    <a:pt x="126" y="241"/>
                    <a:pt x="126" y="241"/>
                    <a:pt x="126" y="241"/>
                  </a:cubicBezTo>
                  <a:cubicBezTo>
                    <a:pt x="125" y="240"/>
                    <a:pt x="125" y="240"/>
                    <a:pt x="125" y="240"/>
                  </a:cubicBezTo>
                  <a:cubicBezTo>
                    <a:pt x="125" y="239"/>
                    <a:pt x="125" y="238"/>
                    <a:pt x="125" y="236"/>
                  </a:cubicBezTo>
                  <a:cubicBezTo>
                    <a:pt x="125" y="236"/>
                    <a:pt x="125" y="235"/>
                    <a:pt x="126" y="234"/>
                  </a:cubicBezTo>
                  <a:cubicBezTo>
                    <a:pt x="126" y="232"/>
                    <a:pt x="127" y="229"/>
                    <a:pt x="127" y="227"/>
                  </a:cubicBezTo>
                  <a:cubicBezTo>
                    <a:pt x="128" y="221"/>
                    <a:pt x="128" y="219"/>
                    <a:pt x="132" y="215"/>
                  </a:cubicBezTo>
                  <a:cubicBezTo>
                    <a:pt x="132" y="214"/>
                    <a:pt x="133" y="214"/>
                    <a:pt x="133" y="213"/>
                  </a:cubicBezTo>
                  <a:cubicBezTo>
                    <a:pt x="134" y="213"/>
                    <a:pt x="135" y="212"/>
                    <a:pt x="136" y="212"/>
                  </a:cubicBezTo>
                  <a:cubicBezTo>
                    <a:pt x="137" y="212"/>
                    <a:pt x="137" y="213"/>
                    <a:pt x="138" y="213"/>
                  </a:cubicBezTo>
                  <a:cubicBezTo>
                    <a:pt x="140" y="214"/>
                    <a:pt x="140" y="214"/>
                    <a:pt x="140" y="214"/>
                  </a:cubicBezTo>
                  <a:cubicBezTo>
                    <a:pt x="141" y="214"/>
                    <a:pt x="142" y="214"/>
                    <a:pt x="144" y="214"/>
                  </a:cubicBezTo>
                  <a:cubicBezTo>
                    <a:pt x="145" y="214"/>
                    <a:pt x="145" y="214"/>
                    <a:pt x="145" y="214"/>
                  </a:cubicBezTo>
                  <a:cubicBezTo>
                    <a:pt x="146" y="214"/>
                    <a:pt x="146" y="214"/>
                    <a:pt x="146" y="214"/>
                  </a:cubicBezTo>
                  <a:cubicBezTo>
                    <a:pt x="146" y="214"/>
                    <a:pt x="147" y="214"/>
                    <a:pt x="147" y="214"/>
                  </a:cubicBezTo>
                  <a:cubicBezTo>
                    <a:pt x="147" y="208"/>
                    <a:pt x="147" y="208"/>
                    <a:pt x="147" y="208"/>
                  </a:cubicBezTo>
                  <a:cubicBezTo>
                    <a:pt x="149" y="214"/>
                    <a:pt x="149" y="214"/>
                    <a:pt x="149" y="214"/>
                  </a:cubicBezTo>
                  <a:cubicBezTo>
                    <a:pt x="149" y="214"/>
                    <a:pt x="149" y="214"/>
                    <a:pt x="149" y="214"/>
                  </a:cubicBezTo>
                  <a:cubicBezTo>
                    <a:pt x="150" y="214"/>
                    <a:pt x="150" y="214"/>
                    <a:pt x="151" y="214"/>
                  </a:cubicBezTo>
                  <a:cubicBezTo>
                    <a:pt x="153" y="213"/>
                    <a:pt x="153" y="213"/>
                    <a:pt x="153" y="213"/>
                  </a:cubicBezTo>
                  <a:cubicBezTo>
                    <a:pt x="153" y="213"/>
                    <a:pt x="154" y="213"/>
                    <a:pt x="155" y="213"/>
                  </a:cubicBezTo>
                  <a:cubicBezTo>
                    <a:pt x="155" y="213"/>
                    <a:pt x="155" y="213"/>
                    <a:pt x="155" y="213"/>
                  </a:cubicBezTo>
                  <a:cubicBezTo>
                    <a:pt x="156" y="212"/>
                    <a:pt x="156" y="212"/>
                    <a:pt x="156" y="212"/>
                  </a:cubicBezTo>
                  <a:cubicBezTo>
                    <a:pt x="157" y="212"/>
                    <a:pt x="157" y="212"/>
                    <a:pt x="157" y="212"/>
                  </a:cubicBezTo>
                  <a:cubicBezTo>
                    <a:pt x="156" y="212"/>
                    <a:pt x="156" y="212"/>
                    <a:pt x="156" y="212"/>
                  </a:cubicBezTo>
                  <a:cubicBezTo>
                    <a:pt x="156" y="211"/>
                    <a:pt x="156" y="211"/>
                    <a:pt x="157" y="210"/>
                  </a:cubicBezTo>
                  <a:cubicBezTo>
                    <a:pt x="157" y="209"/>
                    <a:pt x="158" y="208"/>
                    <a:pt x="158" y="207"/>
                  </a:cubicBezTo>
                  <a:cubicBezTo>
                    <a:pt x="159" y="205"/>
                    <a:pt x="161" y="204"/>
                    <a:pt x="163" y="204"/>
                  </a:cubicBezTo>
                  <a:cubicBezTo>
                    <a:pt x="164" y="204"/>
                    <a:pt x="165" y="204"/>
                    <a:pt x="166" y="204"/>
                  </a:cubicBezTo>
                  <a:cubicBezTo>
                    <a:pt x="165" y="203"/>
                    <a:pt x="165" y="202"/>
                    <a:pt x="165" y="201"/>
                  </a:cubicBezTo>
                  <a:cubicBezTo>
                    <a:pt x="164" y="195"/>
                    <a:pt x="164" y="195"/>
                    <a:pt x="164" y="195"/>
                  </a:cubicBezTo>
                  <a:cubicBezTo>
                    <a:pt x="170" y="198"/>
                    <a:pt x="170" y="198"/>
                    <a:pt x="170" y="198"/>
                  </a:cubicBezTo>
                  <a:cubicBezTo>
                    <a:pt x="170" y="199"/>
                    <a:pt x="170" y="199"/>
                    <a:pt x="171" y="199"/>
                  </a:cubicBezTo>
                  <a:cubicBezTo>
                    <a:pt x="171" y="199"/>
                    <a:pt x="171" y="199"/>
                    <a:pt x="171" y="199"/>
                  </a:cubicBezTo>
                  <a:cubicBezTo>
                    <a:pt x="172" y="199"/>
                    <a:pt x="172" y="199"/>
                    <a:pt x="172" y="199"/>
                  </a:cubicBezTo>
                  <a:cubicBezTo>
                    <a:pt x="173" y="199"/>
                    <a:pt x="173" y="199"/>
                    <a:pt x="173" y="199"/>
                  </a:cubicBezTo>
                  <a:cubicBezTo>
                    <a:pt x="174" y="199"/>
                    <a:pt x="174" y="199"/>
                    <a:pt x="174" y="199"/>
                  </a:cubicBezTo>
                  <a:cubicBezTo>
                    <a:pt x="175" y="198"/>
                    <a:pt x="176" y="198"/>
                    <a:pt x="177" y="197"/>
                  </a:cubicBezTo>
                  <a:cubicBezTo>
                    <a:pt x="178" y="197"/>
                    <a:pt x="178" y="197"/>
                    <a:pt x="179" y="197"/>
                  </a:cubicBezTo>
                  <a:cubicBezTo>
                    <a:pt x="173" y="182"/>
                    <a:pt x="173" y="182"/>
                    <a:pt x="173" y="182"/>
                  </a:cubicBezTo>
                  <a:cubicBezTo>
                    <a:pt x="182" y="195"/>
                    <a:pt x="182" y="195"/>
                    <a:pt x="182" y="195"/>
                  </a:cubicBezTo>
                  <a:cubicBezTo>
                    <a:pt x="183" y="193"/>
                    <a:pt x="184" y="190"/>
                    <a:pt x="186" y="189"/>
                  </a:cubicBezTo>
                  <a:cubicBezTo>
                    <a:pt x="187" y="188"/>
                    <a:pt x="187" y="188"/>
                    <a:pt x="187" y="188"/>
                  </a:cubicBezTo>
                  <a:cubicBezTo>
                    <a:pt x="189" y="187"/>
                    <a:pt x="190" y="187"/>
                    <a:pt x="191" y="187"/>
                  </a:cubicBezTo>
                  <a:cubicBezTo>
                    <a:pt x="191" y="186"/>
                    <a:pt x="191" y="185"/>
                    <a:pt x="192" y="184"/>
                  </a:cubicBezTo>
                  <a:cubicBezTo>
                    <a:pt x="192" y="183"/>
                    <a:pt x="192" y="183"/>
                    <a:pt x="192" y="183"/>
                  </a:cubicBezTo>
                  <a:cubicBezTo>
                    <a:pt x="192" y="183"/>
                    <a:pt x="192" y="183"/>
                    <a:pt x="192" y="183"/>
                  </a:cubicBezTo>
                  <a:cubicBezTo>
                    <a:pt x="194" y="180"/>
                    <a:pt x="194" y="180"/>
                    <a:pt x="194" y="180"/>
                  </a:cubicBezTo>
                  <a:cubicBezTo>
                    <a:pt x="195" y="178"/>
                    <a:pt x="196" y="177"/>
                    <a:pt x="197" y="175"/>
                  </a:cubicBezTo>
                  <a:cubicBezTo>
                    <a:pt x="198" y="174"/>
                    <a:pt x="199" y="174"/>
                    <a:pt x="200" y="173"/>
                  </a:cubicBezTo>
                  <a:cubicBezTo>
                    <a:pt x="198" y="174"/>
                    <a:pt x="197" y="174"/>
                    <a:pt x="196" y="175"/>
                  </a:cubicBezTo>
                  <a:cubicBezTo>
                    <a:pt x="187" y="178"/>
                    <a:pt x="187" y="178"/>
                    <a:pt x="187" y="178"/>
                  </a:cubicBezTo>
                  <a:cubicBezTo>
                    <a:pt x="187" y="178"/>
                    <a:pt x="187" y="178"/>
                    <a:pt x="186" y="178"/>
                  </a:cubicBezTo>
                  <a:cubicBezTo>
                    <a:pt x="185" y="178"/>
                    <a:pt x="184" y="177"/>
                    <a:pt x="183" y="176"/>
                  </a:cubicBezTo>
                  <a:cubicBezTo>
                    <a:pt x="182" y="175"/>
                    <a:pt x="182" y="174"/>
                    <a:pt x="181" y="173"/>
                  </a:cubicBezTo>
                  <a:cubicBezTo>
                    <a:pt x="181" y="172"/>
                    <a:pt x="181" y="172"/>
                    <a:pt x="181" y="172"/>
                  </a:cubicBezTo>
                  <a:cubicBezTo>
                    <a:pt x="180" y="172"/>
                    <a:pt x="180" y="172"/>
                    <a:pt x="180" y="172"/>
                  </a:cubicBezTo>
                  <a:cubicBezTo>
                    <a:pt x="179" y="171"/>
                    <a:pt x="179" y="171"/>
                    <a:pt x="179" y="171"/>
                  </a:cubicBezTo>
                  <a:cubicBezTo>
                    <a:pt x="179" y="169"/>
                    <a:pt x="178" y="168"/>
                    <a:pt x="178" y="167"/>
                  </a:cubicBezTo>
                  <a:cubicBezTo>
                    <a:pt x="177" y="167"/>
                    <a:pt x="177" y="167"/>
                    <a:pt x="177" y="167"/>
                  </a:cubicBezTo>
                  <a:cubicBezTo>
                    <a:pt x="177" y="166"/>
                    <a:pt x="177" y="166"/>
                    <a:pt x="177" y="165"/>
                  </a:cubicBezTo>
                  <a:cubicBezTo>
                    <a:pt x="177" y="165"/>
                    <a:pt x="177" y="164"/>
                    <a:pt x="177" y="163"/>
                  </a:cubicBezTo>
                  <a:cubicBezTo>
                    <a:pt x="177" y="163"/>
                    <a:pt x="177" y="163"/>
                    <a:pt x="177" y="163"/>
                  </a:cubicBezTo>
                  <a:cubicBezTo>
                    <a:pt x="177" y="162"/>
                    <a:pt x="177" y="162"/>
                    <a:pt x="177" y="162"/>
                  </a:cubicBezTo>
                  <a:cubicBezTo>
                    <a:pt x="157" y="160"/>
                    <a:pt x="157" y="160"/>
                    <a:pt x="157" y="160"/>
                  </a:cubicBezTo>
                  <a:cubicBezTo>
                    <a:pt x="159" y="156"/>
                    <a:pt x="159" y="156"/>
                    <a:pt x="159" y="156"/>
                  </a:cubicBezTo>
                  <a:cubicBezTo>
                    <a:pt x="160" y="154"/>
                    <a:pt x="160" y="152"/>
                    <a:pt x="161" y="150"/>
                  </a:cubicBezTo>
                  <a:cubicBezTo>
                    <a:pt x="161" y="149"/>
                    <a:pt x="161" y="149"/>
                    <a:pt x="161" y="149"/>
                  </a:cubicBezTo>
                  <a:cubicBezTo>
                    <a:pt x="161" y="149"/>
                    <a:pt x="162" y="148"/>
                    <a:pt x="162" y="148"/>
                  </a:cubicBezTo>
                  <a:cubicBezTo>
                    <a:pt x="162" y="147"/>
                    <a:pt x="162" y="147"/>
                    <a:pt x="162" y="147"/>
                  </a:cubicBezTo>
                  <a:cubicBezTo>
                    <a:pt x="162" y="146"/>
                    <a:pt x="162" y="145"/>
                    <a:pt x="163" y="144"/>
                  </a:cubicBezTo>
                  <a:cubicBezTo>
                    <a:pt x="163" y="143"/>
                    <a:pt x="163" y="142"/>
                    <a:pt x="163" y="142"/>
                  </a:cubicBezTo>
                  <a:cubicBezTo>
                    <a:pt x="163" y="141"/>
                    <a:pt x="163" y="141"/>
                    <a:pt x="163" y="141"/>
                  </a:cubicBezTo>
                  <a:cubicBezTo>
                    <a:pt x="164" y="141"/>
                    <a:pt x="164" y="140"/>
                    <a:pt x="164" y="140"/>
                  </a:cubicBezTo>
                  <a:cubicBezTo>
                    <a:pt x="164" y="139"/>
                    <a:pt x="165" y="139"/>
                    <a:pt x="165" y="138"/>
                  </a:cubicBezTo>
                  <a:cubicBezTo>
                    <a:pt x="166" y="138"/>
                    <a:pt x="166" y="138"/>
                    <a:pt x="166" y="138"/>
                  </a:cubicBezTo>
                  <a:cubicBezTo>
                    <a:pt x="166" y="138"/>
                    <a:pt x="167" y="137"/>
                    <a:pt x="167" y="137"/>
                  </a:cubicBezTo>
                  <a:cubicBezTo>
                    <a:pt x="167" y="137"/>
                    <a:pt x="167" y="137"/>
                    <a:pt x="167" y="137"/>
                  </a:cubicBezTo>
                  <a:cubicBezTo>
                    <a:pt x="167" y="137"/>
                    <a:pt x="167" y="137"/>
                    <a:pt x="167" y="137"/>
                  </a:cubicBezTo>
                  <a:cubicBezTo>
                    <a:pt x="167" y="137"/>
                    <a:pt x="167" y="137"/>
                    <a:pt x="166" y="137"/>
                  </a:cubicBezTo>
                  <a:cubicBezTo>
                    <a:pt x="166" y="137"/>
                    <a:pt x="165" y="137"/>
                    <a:pt x="165" y="137"/>
                  </a:cubicBezTo>
                  <a:cubicBezTo>
                    <a:pt x="161" y="137"/>
                    <a:pt x="161" y="137"/>
                    <a:pt x="161" y="137"/>
                  </a:cubicBezTo>
                  <a:cubicBezTo>
                    <a:pt x="161" y="137"/>
                    <a:pt x="161" y="137"/>
                    <a:pt x="161" y="137"/>
                  </a:cubicBezTo>
                  <a:cubicBezTo>
                    <a:pt x="161" y="136"/>
                    <a:pt x="160" y="136"/>
                    <a:pt x="159" y="136"/>
                  </a:cubicBezTo>
                  <a:cubicBezTo>
                    <a:pt x="156" y="135"/>
                    <a:pt x="154" y="133"/>
                    <a:pt x="152" y="130"/>
                  </a:cubicBezTo>
                  <a:cubicBezTo>
                    <a:pt x="151" y="128"/>
                    <a:pt x="151" y="128"/>
                    <a:pt x="151" y="128"/>
                  </a:cubicBezTo>
                  <a:cubicBezTo>
                    <a:pt x="151" y="126"/>
                    <a:pt x="150" y="125"/>
                    <a:pt x="150" y="124"/>
                  </a:cubicBezTo>
                  <a:cubicBezTo>
                    <a:pt x="150" y="124"/>
                    <a:pt x="150" y="123"/>
                    <a:pt x="150" y="123"/>
                  </a:cubicBezTo>
                  <a:cubicBezTo>
                    <a:pt x="149" y="122"/>
                    <a:pt x="149" y="122"/>
                    <a:pt x="149" y="122"/>
                  </a:cubicBezTo>
                  <a:cubicBezTo>
                    <a:pt x="149" y="122"/>
                    <a:pt x="149" y="121"/>
                    <a:pt x="149" y="120"/>
                  </a:cubicBezTo>
                  <a:cubicBezTo>
                    <a:pt x="147" y="121"/>
                    <a:pt x="147" y="121"/>
                    <a:pt x="147" y="121"/>
                  </a:cubicBezTo>
                  <a:cubicBezTo>
                    <a:pt x="148" y="120"/>
                    <a:pt x="148" y="120"/>
                    <a:pt x="148" y="120"/>
                  </a:cubicBezTo>
                  <a:cubicBezTo>
                    <a:pt x="148" y="120"/>
                    <a:pt x="148" y="120"/>
                    <a:pt x="148" y="120"/>
                  </a:cubicBezTo>
                  <a:cubicBezTo>
                    <a:pt x="148" y="119"/>
                    <a:pt x="148" y="119"/>
                    <a:pt x="148" y="118"/>
                  </a:cubicBezTo>
                  <a:cubicBezTo>
                    <a:pt x="148" y="118"/>
                    <a:pt x="148" y="118"/>
                    <a:pt x="148" y="118"/>
                  </a:cubicBezTo>
                  <a:cubicBezTo>
                    <a:pt x="148" y="117"/>
                    <a:pt x="147" y="116"/>
                    <a:pt x="147" y="115"/>
                  </a:cubicBezTo>
                  <a:cubicBezTo>
                    <a:pt x="148" y="115"/>
                    <a:pt x="148" y="114"/>
                    <a:pt x="148" y="113"/>
                  </a:cubicBezTo>
                  <a:cubicBezTo>
                    <a:pt x="149" y="112"/>
                    <a:pt x="149" y="112"/>
                    <a:pt x="149" y="112"/>
                  </a:cubicBezTo>
                  <a:cubicBezTo>
                    <a:pt x="148" y="112"/>
                    <a:pt x="147" y="112"/>
                    <a:pt x="146" y="112"/>
                  </a:cubicBezTo>
                  <a:cubicBezTo>
                    <a:pt x="145" y="112"/>
                    <a:pt x="145" y="112"/>
                    <a:pt x="145" y="112"/>
                  </a:cubicBezTo>
                  <a:cubicBezTo>
                    <a:pt x="145" y="112"/>
                    <a:pt x="144" y="112"/>
                    <a:pt x="144" y="112"/>
                  </a:cubicBezTo>
                  <a:cubicBezTo>
                    <a:pt x="143" y="112"/>
                    <a:pt x="143" y="112"/>
                    <a:pt x="143" y="112"/>
                  </a:cubicBezTo>
                  <a:cubicBezTo>
                    <a:pt x="142" y="112"/>
                    <a:pt x="141" y="111"/>
                    <a:pt x="140" y="111"/>
                  </a:cubicBezTo>
                  <a:cubicBezTo>
                    <a:pt x="139" y="111"/>
                    <a:pt x="139" y="111"/>
                    <a:pt x="139" y="111"/>
                  </a:cubicBezTo>
                  <a:cubicBezTo>
                    <a:pt x="138" y="111"/>
                    <a:pt x="138" y="111"/>
                    <a:pt x="138" y="111"/>
                  </a:cubicBezTo>
                  <a:cubicBezTo>
                    <a:pt x="138" y="112"/>
                    <a:pt x="138" y="112"/>
                    <a:pt x="138" y="112"/>
                  </a:cubicBezTo>
                  <a:cubicBezTo>
                    <a:pt x="137" y="112"/>
                    <a:pt x="136" y="112"/>
                    <a:pt x="136" y="113"/>
                  </a:cubicBezTo>
                  <a:cubicBezTo>
                    <a:pt x="131" y="116"/>
                    <a:pt x="128" y="117"/>
                    <a:pt x="125" y="117"/>
                  </a:cubicBezTo>
                  <a:cubicBezTo>
                    <a:pt x="125" y="117"/>
                    <a:pt x="125" y="117"/>
                    <a:pt x="125" y="117"/>
                  </a:cubicBezTo>
                  <a:cubicBezTo>
                    <a:pt x="124" y="117"/>
                    <a:pt x="124" y="117"/>
                    <a:pt x="124" y="117"/>
                  </a:cubicBezTo>
                  <a:cubicBezTo>
                    <a:pt x="123" y="117"/>
                    <a:pt x="123" y="117"/>
                    <a:pt x="123" y="117"/>
                  </a:cubicBezTo>
                  <a:cubicBezTo>
                    <a:pt x="121" y="115"/>
                    <a:pt x="120" y="114"/>
                    <a:pt x="121" y="111"/>
                  </a:cubicBezTo>
                  <a:cubicBezTo>
                    <a:pt x="121" y="111"/>
                    <a:pt x="121" y="111"/>
                    <a:pt x="121" y="111"/>
                  </a:cubicBezTo>
                  <a:cubicBezTo>
                    <a:pt x="121" y="110"/>
                    <a:pt x="122" y="109"/>
                    <a:pt x="122" y="109"/>
                  </a:cubicBezTo>
                  <a:cubicBezTo>
                    <a:pt x="124" y="106"/>
                    <a:pt x="124" y="106"/>
                    <a:pt x="124" y="106"/>
                  </a:cubicBezTo>
                  <a:cubicBezTo>
                    <a:pt x="124" y="105"/>
                    <a:pt x="124" y="105"/>
                    <a:pt x="124" y="104"/>
                  </a:cubicBezTo>
                  <a:cubicBezTo>
                    <a:pt x="124" y="103"/>
                    <a:pt x="124" y="103"/>
                    <a:pt x="124" y="103"/>
                  </a:cubicBezTo>
                  <a:cubicBezTo>
                    <a:pt x="123" y="103"/>
                    <a:pt x="123" y="103"/>
                    <a:pt x="123" y="103"/>
                  </a:cubicBezTo>
                  <a:cubicBezTo>
                    <a:pt x="122" y="103"/>
                    <a:pt x="121" y="102"/>
                    <a:pt x="120" y="100"/>
                  </a:cubicBezTo>
                  <a:cubicBezTo>
                    <a:pt x="120" y="99"/>
                    <a:pt x="120" y="99"/>
                    <a:pt x="120" y="99"/>
                  </a:cubicBezTo>
                  <a:cubicBezTo>
                    <a:pt x="120" y="99"/>
                    <a:pt x="120" y="98"/>
                    <a:pt x="120" y="98"/>
                  </a:cubicBezTo>
                  <a:cubicBezTo>
                    <a:pt x="120" y="95"/>
                    <a:pt x="120" y="92"/>
                    <a:pt x="124" y="90"/>
                  </a:cubicBezTo>
                  <a:cubicBezTo>
                    <a:pt x="124" y="90"/>
                    <a:pt x="125" y="89"/>
                    <a:pt x="125" y="89"/>
                  </a:cubicBezTo>
                  <a:cubicBezTo>
                    <a:pt x="125" y="89"/>
                    <a:pt x="125" y="89"/>
                    <a:pt x="125" y="89"/>
                  </a:cubicBezTo>
                  <a:cubicBezTo>
                    <a:pt x="126" y="89"/>
                    <a:pt x="126" y="89"/>
                    <a:pt x="126" y="89"/>
                  </a:cubicBezTo>
                  <a:cubicBezTo>
                    <a:pt x="126" y="89"/>
                    <a:pt x="126" y="89"/>
                    <a:pt x="126" y="89"/>
                  </a:cubicBezTo>
                  <a:cubicBezTo>
                    <a:pt x="126" y="89"/>
                    <a:pt x="126" y="89"/>
                    <a:pt x="126" y="89"/>
                  </a:cubicBezTo>
                  <a:cubicBezTo>
                    <a:pt x="126" y="87"/>
                    <a:pt x="126" y="87"/>
                    <a:pt x="126" y="87"/>
                  </a:cubicBezTo>
                  <a:cubicBezTo>
                    <a:pt x="126" y="86"/>
                    <a:pt x="126" y="85"/>
                    <a:pt x="126" y="83"/>
                  </a:cubicBezTo>
                  <a:cubicBezTo>
                    <a:pt x="127" y="80"/>
                    <a:pt x="127" y="79"/>
                    <a:pt x="129" y="77"/>
                  </a:cubicBezTo>
                  <a:cubicBezTo>
                    <a:pt x="130" y="77"/>
                    <a:pt x="130" y="77"/>
                    <a:pt x="130" y="77"/>
                  </a:cubicBezTo>
                  <a:cubicBezTo>
                    <a:pt x="130" y="77"/>
                    <a:pt x="130" y="77"/>
                    <a:pt x="130" y="77"/>
                  </a:cubicBezTo>
                  <a:cubicBezTo>
                    <a:pt x="131" y="76"/>
                    <a:pt x="131" y="76"/>
                    <a:pt x="131" y="76"/>
                  </a:cubicBezTo>
                  <a:cubicBezTo>
                    <a:pt x="131" y="76"/>
                    <a:pt x="132" y="76"/>
                    <a:pt x="132" y="76"/>
                  </a:cubicBezTo>
                  <a:cubicBezTo>
                    <a:pt x="132" y="76"/>
                    <a:pt x="132" y="76"/>
                    <a:pt x="132" y="76"/>
                  </a:cubicBezTo>
                  <a:cubicBezTo>
                    <a:pt x="133" y="76"/>
                    <a:pt x="133" y="75"/>
                    <a:pt x="134" y="75"/>
                  </a:cubicBezTo>
                  <a:cubicBezTo>
                    <a:pt x="134" y="75"/>
                    <a:pt x="134" y="75"/>
                    <a:pt x="134" y="75"/>
                  </a:cubicBezTo>
                  <a:cubicBezTo>
                    <a:pt x="134" y="74"/>
                    <a:pt x="134" y="74"/>
                    <a:pt x="134" y="74"/>
                  </a:cubicBezTo>
                  <a:cubicBezTo>
                    <a:pt x="134" y="73"/>
                    <a:pt x="134" y="73"/>
                    <a:pt x="134" y="73"/>
                  </a:cubicBezTo>
                  <a:cubicBezTo>
                    <a:pt x="135" y="72"/>
                    <a:pt x="135" y="70"/>
                    <a:pt x="137" y="69"/>
                  </a:cubicBezTo>
                  <a:cubicBezTo>
                    <a:pt x="137" y="69"/>
                    <a:pt x="138" y="69"/>
                    <a:pt x="138" y="69"/>
                  </a:cubicBezTo>
                  <a:cubicBezTo>
                    <a:pt x="139" y="69"/>
                    <a:pt x="140" y="69"/>
                    <a:pt x="140" y="69"/>
                  </a:cubicBezTo>
                  <a:cubicBezTo>
                    <a:pt x="141" y="69"/>
                    <a:pt x="141" y="70"/>
                    <a:pt x="141" y="70"/>
                  </a:cubicBezTo>
                  <a:cubicBezTo>
                    <a:pt x="141" y="70"/>
                    <a:pt x="141" y="70"/>
                    <a:pt x="141" y="69"/>
                  </a:cubicBezTo>
                  <a:cubicBezTo>
                    <a:pt x="142" y="69"/>
                    <a:pt x="144" y="68"/>
                    <a:pt x="144" y="67"/>
                  </a:cubicBezTo>
                  <a:cubicBezTo>
                    <a:pt x="145" y="66"/>
                    <a:pt x="146" y="66"/>
                    <a:pt x="146" y="65"/>
                  </a:cubicBezTo>
                  <a:cubicBezTo>
                    <a:pt x="147" y="65"/>
                    <a:pt x="147" y="65"/>
                    <a:pt x="147" y="65"/>
                  </a:cubicBezTo>
                  <a:cubicBezTo>
                    <a:pt x="147" y="64"/>
                    <a:pt x="147" y="64"/>
                    <a:pt x="147" y="64"/>
                  </a:cubicBezTo>
                  <a:cubicBezTo>
                    <a:pt x="147" y="64"/>
                    <a:pt x="146" y="63"/>
                    <a:pt x="146" y="62"/>
                  </a:cubicBezTo>
                  <a:cubicBezTo>
                    <a:pt x="146" y="62"/>
                    <a:pt x="146" y="62"/>
                    <a:pt x="146" y="62"/>
                  </a:cubicBezTo>
                  <a:cubicBezTo>
                    <a:pt x="145" y="60"/>
                    <a:pt x="145" y="59"/>
                    <a:pt x="145" y="57"/>
                  </a:cubicBezTo>
                  <a:cubicBezTo>
                    <a:pt x="145" y="56"/>
                    <a:pt x="145" y="56"/>
                    <a:pt x="145" y="56"/>
                  </a:cubicBezTo>
                  <a:cubicBezTo>
                    <a:pt x="146" y="56"/>
                    <a:pt x="146" y="56"/>
                    <a:pt x="146" y="56"/>
                  </a:cubicBezTo>
                  <a:cubicBezTo>
                    <a:pt x="146" y="55"/>
                    <a:pt x="147" y="54"/>
                    <a:pt x="147" y="53"/>
                  </a:cubicBezTo>
                  <a:cubicBezTo>
                    <a:pt x="148" y="52"/>
                    <a:pt x="148" y="52"/>
                    <a:pt x="148" y="52"/>
                  </a:cubicBezTo>
                  <a:cubicBezTo>
                    <a:pt x="148" y="51"/>
                    <a:pt x="148" y="50"/>
                    <a:pt x="148" y="50"/>
                  </a:cubicBezTo>
                  <a:cubicBezTo>
                    <a:pt x="149" y="49"/>
                    <a:pt x="149" y="49"/>
                    <a:pt x="149" y="48"/>
                  </a:cubicBezTo>
                  <a:cubicBezTo>
                    <a:pt x="149" y="46"/>
                    <a:pt x="149" y="43"/>
                    <a:pt x="149" y="39"/>
                  </a:cubicBezTo>
                  <a:cubicBezTo>
                    <a:pt x="149" y="38"/>
                    <a:pt x="149" y="38"/>
                    <a:pt x="149" y="37"/>
                  </a:cubicBezTo>
                  <a:cubicBezTo>
                    <a:pt x="149" y="34"/>
                    <a:pt x="149" y="34"/>
                    <a:pt x="149" y="34"/>
                  </a:cubicBezTo>
                  <a:cubicBezTo>
                    <a:pt x="149" y="31"/>
                    <a:pt x="149" y="27"/>
                    <a:pt x="148" y="24"/>
                  </a:cubicBezTo>
                  <a:cubicBezTo>
                    <a:pt x="148" y="24"/>
                    <a:pt x="148" y="23"/>
                    <a:pt x="148" y="23"/>
                  </a:cubicBezTo>
                  <a:cubicBezTo>
                    <a:pt x="147" y="23"/>
                    <a:pt x="147" y="23"/>
                    <a:pt x="147" y="23"/>
                  </a:cubicBezTo>
                  <a:cubicBezTo>
                    <a:pt x="147" y="23"/>
                    <a:pt x="147" y="23"/>
                    <a:pt x="147" y="23"/>
                  </a:cubicBezTo>
                  <a:cubicBezTo>
                    <a:pt x="143" y="23"/>
                    <a:pt x="143" y="23"/>
                    <a:pt x="143" y="23"/>
                  </a:cubicBezTo>
                  <a:cubicBezTo>
                    <a:pt x="141" y="22"/>
                    <a:pt x="139" y="21"/>
                    <a:pt x="138" y="19"/>
                  </a:cubicBezTo>
                  <a:cubicBezTo>
                    <a:pt x="136" y="17"/>
                    <a:pt x="136" y="15"/>
                    <a:pt x="135" y="13"/>
                  </a:cubicBezTo>
                  <a:cubicBezTo>
                    <a:pt x="135" y="10"/>
                    <a:pt x="135" y="8"/>
                    <a:pt x="133" y="7"/>
                  </a:cubicBezTo>
                  <a:cubicBezTo>
                    <a:pt x="133" y="7"/>
                    <a:pt x="133" y="7"/>
                    <a:pt x="133" y="7"/>
                  </a:cubicBezTo>
                  <a:cubicBezTo>
                    <a:pt x="132" y="6"/>
                    <a:pt x="132" y="5"/>
                    <a:pt x="131" y="5"/>
                  </a:cubicBezTo>
                  <a:cubicBezTo>
                    <a:pt x="131" y="4"/>
                    <a:pt x="130" y="4"/>
                    <a:pt x="130" y="4"/>
                  </a:cubicBezTo>
                  <a:cubicBezTo>
                    <a:pt x="130" y="4"/>
                    <a:pt x="130" y="3"/>
                    <a:pt x="129" y="3"/>
                  </a:cubicBezTo>
                  <a:cubicBezTo>
                    <a:pt x="129" y="3"/>
                    <a:pt x="129" y="3"/>
                    <a:pt x="129" y="3"/>
                  </a:cubicBezTo>
                  <a:cubicBezTo>
                    <a:pt x="128" y="3"/>
                    <a:pt x="127" y="2"/>
                    <a:pt x="126" y="2"/>
                  </a:cubicBezTo>
                  <a:cubicBezTo>
                    <a:pt x="126" y="1"/>
                    <a:pt x="126" y="1"/>
                    <a:pt x="126" y="1"/>
                  </a:cubicBezTo>
                  <a:cubicBezTo>
                    <a:pt x="125" y="0"/>
                    <a:pt x="125" y="0"/>
                    <a:pt x="1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8" name="Freeform 1547">
              <a:extLst>
                <a:ext uri="{FF2B5EF4-FFF2-40B4-BE49-F238E27FC236}">
                  <a16:creationId xmlns:a16="http://schemas.microsoft.com/office/drawing/2014/main" id="{191708F7-2E16-4758-A8AC-4ED96829B6A6}"/>
                </a:ext>
              </a:extLst>
            </p:cNvPr>
            <p:cNvSpPr>
              <a:spLocks/>
            </p:cNvSpPr>
            <p:nvPr/>
          </p:nvSpPr>
          <p:spPr bwMode="auto">
            <a:xfrm>
              <a:off x="2883337" y="3377321"/>
              <a:ext cx="9396" cy="25504"/>
            </a:xfrm>
            <a:custGeom>
              <a:avLst/>
              <a:gdLst>
                <a:gd name="T0" fmla="*/ 0 w 3"/>
                <a:gd name="T1" fmla="*/ 0 h 8"/>
                <a:gd name="T2" fmla="*/ 0 w 3"/>
                <a:gd name="T3" fmla="*/ 1 h 8"/>
                <a:gd name="T4" fmla="*/ 0 w 3"/>
                <a:gd name="T5" fmla="*/ 1 h 8"/>
                <a:gd name="T6" fmla="*/ 2 w 3"/>
                <a:gd name="T7" fmla="*/ 8 h 8"/>
                <a:gd name="T8" fmla="*/ 3 w 3"/>
                <a:gd name="T9" fmla="*/ 5 h 8"/>
                <a:gd name="T10" fmla="*/ 3 w 3"/>
                <a:gd name="T11" fmla="*/ 3 h 8"/>
                <a:gd name="T12" fmla="*/ 2 w 3"/>
                <a:gd name="T13" fmla="*/ 2 h 8"/>
                <a:gd name="T14" fmla="*/ 1 w 3"/>
                <a:gd name="T15" fmla="*/ 1 h 8"/>
                <a:gd name="T16" fmla="*/ 1 w 3"/>
                <a:gd name="T17" fmla="*/ 1 h 8"/>
                <a:gd name="T18" fmla="*/ 0 w 3"/>
                <a:gd name="T19" fmla="*/ 0 h 8"/>
                <a:gd name="T20" fmla="*/ 0 w 3"/>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0" y="0"/>
                  </a:moveTo>
                  <a:cubicBezTo>
                    <a:pt x="0" y="1"/>
                    <a:pt x="0" y="1"/>
                    <a:pt x="0" y="1"/>
                  </a:cubicBezTo>
                  <a:cubicBezTo>
                    <a:pt x="0" y="1"/>
                    <a:pt x="0" y="1"/>
                    <a:pt x="0" y="1"/>
                  </a:cubicBezTo>
                  <a:cubicBezTo>
                    <a:pt x="2" y="8"/>
                    <a:pt x="2" y="8"/>
                    <a:pt x="2" y="8"/>
                  </a:cubicBezTo>
                  <a:cubicBezTo>
                    <a:pt x="3" y="6"/>
                    <a:pt x="3" y="6"/>
                    <a:pt x="3" y="5"/>
                  </a:cubicBezTo>
                  <a:cubicBezTo>
                    <a:pt x="3" y="4"/>
                    <a:pt x="3" y="3"/>
                    <a:pt x="3" y="3"/>
                  </a:cubicBezTo>
                  <a:cubicBezTo>
                    <a:pt x="3" y="3"/>
                    <a:pt x="2" y="2"/>
                    <a:pt x="2" y="2"/>
                  </a:cubicBezTo>
                  <a:cubicBezTo>
                    <a:pt x="1" y="1"/>
                    <a:pt x="1" y="1"/>
                    <a:pt x="1" y="1"/>
                  </a:cubicBezTo>
                  <a:cubicBezTo>
                    <a:pt x="1" y="1"/>
                    <a:pt x="1" y="1"/>
                    <a:pt x="1" y="1"/>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9" name="Rectangle 1548">
              <a:extLst>
                <a:ext uri="{FF2B5EF4-FFF2-40B4-BE49-F238E27FC236}">
                  <a16:creationId xmlns:a16="http://schemas.microsoft.com/office/drawing/2014/main" id="{816A54B6-CF14-4337-999B-E32E21DA8EB8}"/>
                </a:ext>
              </a:extLst>
            </p:cNvPr>
            <p:cNvSpPr>
              <a:spLocks noChangeArrowheads="1"/>
            </p:cNvSpPr>
            <p:nvPr/>
          </p:nvSpPr>
          <p:spPr bwMode="auto">
            <a:xfrm>
              <a:off x="2943742" y="3596121"/>
              <a:ext cx="1342" cy="1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0" name="Freeform 1549">
              <a:extLst>
                <a:ext uri="{FF2B5EF4-FFF2-40B4-BE49-F238E27FC236}">
                  <a16:creationId xmlns:a16="http://schemas.microsoft.com/office/drawing/2014/main" id="{16D5246C-7AF8-4A78-AEF7-5CF417EEBCD6}"/>
                </a:ext>
              </a:extLst>
            </p:cNvPr>
            <p:cNvSpPr>
              <a:spLocks/>
            </p:cNvSpPr>
            <p:nvPr/>
          </p:nvSpPr>
          <p:spPr bwMode="auto">
            <a:xfrm>
              <a:off x="2943742" y="359612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1" name="Freeform 1550">
              <a:extLst>
                <a:ext uri="{FF2B5EF4-FFF2-40B4-BE49-F238E27FC236}">
                  <a16:creationId xmlns:a16="http://schemas.microsoft.com/office/drawing/2014/main" id="{8B4ACB6B-4E16-48B2-8E7E-C07F30DDB5AF}"/>
                </a:ext>
              </a:extLst>
            </p:cNvPr>
            <p:cNvSpPr>
              <a:spLocks/>
            </p:cNvSpPr>
            <p:nvPr/>
          </p:nvSpPr>
          <p:spPr bwMode="auto">
            <a:xfrm>
              <a:off x="2680644" y="3370609"/>
              <a:ext cx="590628" cy="1107428"/>
            </a:xfrm>
            <a:custGeom>
              <a:avLst/>
              <a:gdLst>
                <a:gd name="T0" fmla="*/ 48 w 186"/>
                <a:gd name="T1" fmla="*/ 3 h 349"/>
                <a:gd name="T2" fmla="*/ 40 w 186"/>
                <a:gd name="T3" fmla="*/ 8 h 349"/>
                <a:gd name="T4" fmla="*/ 35 w 186"/>
                <a:gd name="T5" fmla="*/ 15 h 349"/>
                <a:gd name="T6" fmla="*/ 28 w 186"/>
                <a:gd name="T7" fmla="*/ 24 h 349"/>
                <a:gd name="T8" fmla="*/ 14 w 186"/>
                <a:gd name="T9" fmla="*/ 17 h 349"/>
                <a:gd name="T10" fmla="*/ 7 w 186"/>
                <a:gd name="T11" fmla="*/ 35 h 349"/>
                <a:gd name="T12" fmla="*/ 8 w 186"/>
                <a:gd name="T13" fmla="*/ 42 h 349"/>
                <a:gd name="T14" fmla="*/ 0 w 186"/>
                <a:gd name="T15" fmla="*/ 47 h 349"/>
                <a:gd name="T16" fmla="*/ 5 w 186"/>
                <a:gd name="T17" fmla="*/ 53 h 349"/>
                <a:gd name="T18" fmla="*/ 19 w 186"/>
                <a:gd name="T19" fmla="*/ 77 h 349"/>
                <a:gd name="T20" fmla="*/ 24 w 186"/>
                <a:gd name="T21" fmla="*/ 81 h 349"/>
                <a:gd name="T22" fmla="*/ 30 w 186"/>
                <a:gd name="T23" fmla="*/ 89 h 349"/>
                <a:gd name="T24" fmla="*/ 32 w 186"/>
                <a:gd name="T25" fmla="*/ 104 h 349"/>
                <a:gd name="T26" fmla="*/ 27 w 186"/>
                <a:gd name="T27" fmla="*/ 118 h 349"/>
                <a:gd name="T28" fmla="*/ 29 w 186"/>
                <a:gd name="T29" fmla="*/ 145 h 349"/>
                <a:gd name="T30" fmla="*/ 38 w 186"/>
                <a:gd name="T31" fmla="*/ 156 h 349"/>
                <a:gd name="T32" fmla="*/ 40 w 186"/>
                <a:gd name="T33" fmla="*/ 175 h 349"/>
                <a:gd name="T34" fmla="*/ 42 w 186"/>
                <a:gd name="T35" fmla="*/ 180 h 349"/>
                <a:gd name="T36" fmla="*/ 50 w 186"/>
                <a:gd name="T37" fmla="*/ 203 h 349"/>
                <a:gd name="T38" fmla="*/ 32 w 186"/>
                <a:gd name="T39" fmla="*/ 237 h 349"/>
                <a:gd name="T40" fmla="*/ 16 w 186"/>
                <a:gd name="T41" fmla="*/ 269 h 349"/>
                <a:gd name="T42" fmla="*/ 16 w 186"/>
                <a:gd name="T43" fmla="*/ 290 h 349"/>
                <a:gd name="T44" fmla="*/ 35 w 186"/>
                <a:gd name="T45" fmla="*/ 298 h 349"/>
                <a:gd name="T46" fmla="*/ 46 w 186"/>
                <a:gd name="T47" fmla="*/ 311 h 349"/>
                <a:gd name="T48" fmla="*/ 59 w 186"/>
                <a:gd name="T49" fmla="*/ 327 h 349"/>
                <a:gd name="T50" fmla="*/ 77 w 186"/>
                <a:gd name="T51" fmla="*/ 331 h 349"/>
                <a:gd name="T52" fmla="*/ 86 w 186"/>
                <a:gd name="T53" fmla="*/ 342 h 349"/>
                <a:gd name="T54" fmla="*/ 92 w 186"/>
                <a:gd name="T55" fmla="*/ 344 h 349"/>
                <a:gd name="T56" fmla="*/ 102 w 186"/>
                <a:gd name="T57" fmla="*/ 334 h 349"/>
                <a:gd name="T58" fmla="*/ 83 w 186"/>
                <a:gd name="T59" fmla="*/ 324 h 349"/>
                <a:gd name="T60" fmla="*/ 66 w 186"/>
                <a:gd name="T61" fmla="*/ 313 h 349"/>
                <a:gd name="T62" fmla="*/ 56 w 186"/>
                <a:gd name="T63" fmla="*/ 277 h 349"/>
                <a:gd name="T64" fmla="*/ 41 w 186"/>
                <a:gd name="T65" fmla="*/ 263 h 349"/>
                <a:gd name="T66" fmla="*/ 56 w 186"/>
                <a:gd name="T67" fmla="*/ 199 h 349"/>
                <a:gd name="T68" fmla="*/ 67 w 186"/>
                <a:gd name="T69" fmla="*/ 165 h 349"/>
                <a:gd name="T70" fmla="*/ 77 w 186"/>
                <a:gd name="T71" fmla="*/ 183 h 349"/>
                <a:gd name="T72" fmla="*/ 110 w 186"/>
                <a:gd name="T73" fmla="*/ 194 h 349"/>
                <a:gd name="T74" fmla="*/ 120 w 186"/>
                <a:gd name="T75" fmla="*/ 194 h 349"/>
                <a:gd name="T76" fmla="*/ 114 w 186"/>
                <a:gd name="T77" fmla="*/ 187 h 349"/>
                <a:gd name="T78" fmla="*/ 112 w 186"/>
                <a:gd name="T79" fmla="*/ 162 h 349"/>
                <a:gd name="T80" fmla="*/ 139 w 186"/>
                <a:gd name="T81" fmla="*/ 141 h 349"/>
                <a:gd name="T82" fmla="*/ 164 w 186"/>
                <a:gd name="T83" fmla="*/ 142 h 349"/>
                <a:gd name="T84" fmla="*/ 177 w 186"/>
                <a:gd name="T85" fmla="*/ 143 h 349"/>
                <a:gd name="T86" fmla="*/ 183 w 186"/>
                <a:gd name="T87" fmla="*/ 124 h 349"/>
                <a:gd name="T88" fmla="*/ 186 w 186"/>
                <a:gd name="T89" fmla="*/ 115 h 349"/>
                <a:gd name="T90" fmla="*/ 171 w 186"/>
                <a:gd name="T91" fmla="*/ 100 h 349"/>
                <a:gd name="T92" fmla="*/ 166 w 186"/>
                <a:gd name="T93" fmla="*/ 90 h 349"/>
                <a:gd name="T94" fmla="*/ 167 w 186"/>
                <a:gd name="T95" fmla="*/ 76 h 349"/>
                <a:gd name="T96" fmla="*/ 154 w 186"/>
                <a:gd name="T97" fmla="*/ 59 h 349"/>
                <a:gd name="T98" fmla="*/ 140 w 186"/>
                <a:gd name="T99" fmla="*/ 50 h 349"/>
                <a:gd name="T100" fmla="*/ 132 w 186"/>
                <a:gd name="T101" fmla="*/ 55 h 349"/>
                <a:gd name="T102" fmla="*/ 123 w 186"/>
                <a:gd name="T103" fmla="*/ 62 h 349"/>
                <a:gd name="T104" fmla="*/ 106 w 186"/>
                <a:gd name="T105" fmla="*/ 56 h 349"/>
                <a:gd name="T106" fmla="*/ 84 w 186"/>
                <a:gd name="T107" fmla="*/ 73 h 349"/>
                <a:gd name="T108" fmla="*/ 79 w 186"/>
                <a:gd name="T109" fmla="*/ 71 h 349"/>
                <a:gd name="T110" fmla="*/ 79 w 186"/>
                <a:gd name="T111" fmla="*/ 59 h 349"/>
                <a:gd name="T112" fmla="*/ 80 w 186"/>
                <a:gd name="T113" fmla="*/ 47 h 349"/>
                <a:gd name="T114" fmla="*/ 85 w 186"/>
                <a:gd name="T115" fmla="*/ 32 h 349"/>
                <a:gd name="T116" fmla="*/ 82 w 186"/>
                <a:gd name="T117" fmla="*/ 23 h 349"/>
                <a:gd name="T118" fmla="*/ 70 w 186"/>
                <a:gd name="T119" fmla="*/ 23 h 349"/>
                <a:gd name="T120" fmla="*/ 64 w 186"/>
                <a:gd name="T121" fmla="*/ 13 h 349"/>
                <a:gd name="T122" fmla="*/ 56 w 186"/>
                <a:gd name="T123" fmla="*/ 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349">
                  <a:moveTo>
                    <a:pt x="56" y="0"/>
                  </a:moveTo>
                  <a:cubicBezTo>
                    <a:pt x="54" y="1"/>
                    <a:pt x="53" y="2"/>
                    <a:pt x="52" y="2"/>
                  </a:cubicBezTo>
                  <a:cubicBezTo>
                    <a:pt x="51" y="2"/>
                    <a:pt x="51" y="3"/>
                    <a:pt x="50" y="3"/>
                  </a:cubicBezTo>
                  <a:cubicBezTo>
                    <a:pt x="49" y="3"/>
                    <a:pt x="49" y="3"/>
                    <a:pt x="49" y="3"/>
                  </a:cubicBezTo>
                  <a:cubicBezTo>
                    <a:pt x="48" y="3"/>
                    <a:pt x="48" y="3"/>
                    <a:pt x="48" y="3"/>
                  </a:cubicBezTo>
                  <a:cubicBezTo>
                    <a:pt x="48" y="3"/>
                    <a:pt x="48" y="3"/>
                    <a:pt x="48" y="3"/>
                  </a:cubicBezTo>
                  <a:cubicBezTo>
                    <a:pt x="49" y="7"/>
                    <a:pt x="49" y="7"/>
                    <a:pt x="49" y="7"/>
                  </a:cubicBezTo>
                  <a:cubicBezTo>
                    <a:pt x="46" y="8"/>
                    <a:pt x="46" y="8"/>
                    <a:pt x="46" y="8"/>
                  </a:cubicBezTo>
                  <a:cubicBezTo>
                    <a:pt x="45" y="8"/>
                    <a:pt x="45" y="8"/>
                    <a:pt x="45" y="8"/>
                  </a:cubicBezTo>
                  <a:cubicBezTo>
                    <a:pt x="43" y="8"/>
                    <a:pt x="43" y="8"/>
                    <a:pt x="43" y="8"/>
                  </a:cubicBezTo>
                  <a:cubicBezTo>
                    <a:pt x="43" y="8"/>
                    <a:pt x="42" y="8"/>
                    <a:pt x="42" y="8"/>
                  </a:cubicBezTo>
                  <a:cubicBezTo>
                    <a:pt x="41" y="8"/>
                    <a:pt x="41" y="8"/>
                    <a:pt x="40" y="8"/>
                  </a:cubicBezTo>
                  <a:cubicBezTo>
                    <a:pt x="39" y="8"/>
                    <a:pt x="39" y="8"/>
                    <a:pt x="39" y="8"/>
                  </a:cubicBezTo>
                  <a:cubicBezTo>
                    <a:pt x="39" y="8"/>
                    <a:pt x="39" y="8"/>
                    <a:pt x="39" y="8"/>
                  </a:cubicBezTo>
                  <a:cubicBezTo>
                    <a:pt x="39" y="9"/>
                    <a:pt x="38" y="9"/>
                    <a:pt x="38" y="10"/>
                  </a:cubicBezTo>
                  <a:cubicBezTo>
                    <a:pt x="38" y="11"/>
                    <a:pt x="37" y="12"/>
                    <a:pt x="37" y="13"/>
                  </a:cubicBezTo>
                  <a:cubicBezTo>
                    <a:pt x="37" y="13"/>
                    <a:pt x="36" y="13"/>
                    <a:pt x="36" y="14"/>
                  </a:cubicBezTo>
                  <a:cubicBezTo>
                    <a:pt x="36" y="14"/>
                    <a:pt x="36" y="14"/>
                    <a:pt x="35" y="15"/>
                  </a:cubicBezTo>
                  <a:cubicBezTo>
                    <a:pt x="35" y="15"/>
                    <a:pt x="35" y="15"/>
                    <a:pt x="35" y="15"/>
                  </a:cubicBezTo>
                  <a:cubicBezTo>
                    <a:pt x="34" y="16"/>
                    <a:pt x="34" y="16"/>
                    <a:pt x="33" y="16"/>
                  </a:cubicBezTo>
                  <a:cubicBezTo>
                    <a:pt x="32" y="17"/>
                    <a:pt x="31" y="17"/>
                    <a:pt x="30" y="17"/>
                  </a:cubicBezTo>
                  <a:cubicBezTo>
                    <a:pt x="28" y="17"/>
                    <a:pt x="28" y="17"/>
                    <a:pt x="28" y="17"/>
                  </a:cubicBezTo>
                  <a:cubicBezTo>
                    <a:pt x="28" y="18"/>
                    <a:pt x="27" y="18"/>
                    <a:pt x="27" y="18"/>
                  </a:cubicBezTo>
                  <a:cubicBezTo>
                    <a:pt x="28" y="24"/>
                    <a:pt x="28" y="24"/>
                    <a:pt x="28" y="24"/>
                  </a:cubicBezTo>
                  <a:cubicBezTo>
                    <a:pt x="25" y="18"/>
                    <a:pt x="25" y="18"/>
                    <a:pt x="25" y="18"/>
                  </a:cubicBezTo>
                  <a:cubicBezTo>
                    <a:pt x="25" y="18"/>
                    <a:pt x="25" y="18"/>
                    <a:pt x="25" y="18"/>
                  </a:cubicBezTo>
                  <a:cubicBezTo>
                    <a:pt x="24" y="18"/>
                    <a:pt x="23" y="18"/>
                    <a:pt x="22" y="18"/>
                  </a:cubicBezTo>
                  <a:cubicBezTo>
                    <a:pt x="22" y="18"/>
                    <a:pt x="21" y="18"/>
                    <a:pt x="21" y="18"/>
                  </a:cubicBezTo>
                  <a:cubicBezTo>
                    <a:pt x="21" y="18"/>
                    <a:pt x="20" y="18"/>
                    <a:pt x="20" y="18"/>
                  </a:cubicBezTo>
                  <a:cubicBezTo>
                    <a:pt x="18" y="18"/>
                    <a:pt x="16" y="18"/>
                    <a:pt x="14" y="17"/>
                  </a:cubicBezTo>
                  <a:cubicBezTo>
                    <a:pt x="13" y="21"/>
                    <a:pt x="13" y="21"/>
                    <a:pt x="13" y="21"/>
                  </a:cubicBezTo>
                  <a:cubicBezTo>
                    <a:pt x="13" y="17"/>
                    <a:pt x="13" y="17"/>
                    <a:pt x="13" y="17"/>
                  </a:cubicBezTo>
                  <a:cubicBezTo>
                    <a:pt x="13" y="17"/>
                    <a:pt x="12" y="17"/>
                    <a:pt x="12" y="16"/>
                  </a:cubicBezTo>
                  <a:cubicBezTo>
                    <a:pt x="10" y="20"/>
                    <a:pt x="10" y="20"/>
                    <a:pt x="9" y="25"/>
                  </a:cubicBezTo>
                  <a:cubicBezTo>
                    <a:pt x="9" y="28"/>
                    <a:pt x="8" y="31"/>
                    <a:pt x="7" y="34"/>
                  </a:cubicBezTo>
                  <a:cubicBezTo>
                    <a:pt x="7" y="35"/>
                    <a:pt x="7" y="35"/>
                    <a:pt x="7" y="35"/>
                  </a:cubicBezTo>
                  <a:cubicBezTo>
                    <a:pt x="7" y="35"/>
                    <a:pt x="7" y="36"/>
                    <a:pt x="7" y="37"/>
                  </a:cubicBezTo>
                  <a:cubicBezTo>
                    <a:pt x="7" y="38"/>
                    <a:pt x="7" y="38"/>
                    <a:pt x="7" y="38"/>
                  </a:cubicBezTo>
                  <a:cubicBezTo>
                    <a:pt x="7" y="39"/>
                    <a:pt x="7" y="39"/>
                    <a:pt x="7" y="39"/>
                  </a:cubicBezTo>
                  <a:cubicBezTo>
                    <a:pt x="8" y="40"/>
                    <a:pt x="8" y="40"/>
                    <a:pt x="8" y="40"/>
                  </a:cubicBezTo>
                  <a:cubicBezTo>
                    <a:pt x="8" y="41"/>
                    <a:pt x="8" y="41"/>
                    <a:pt x="8" y="41"/>
                  </a:cubicBezTo>
                  <a:cubicBezTo>
                    <a:pt x="8" y="42"/>
                    <a:pt x="8" y="42"/>
                    <a:pt x="8" y="42"/>
                  </a:cubicBezTo>
                  <a:cubicBezTo>
                    <a:pt x="8" y="42"/>
                    <a:pt x="8" y="42"/>
                    <a:pt x="8" y="42"/>
                  </a:cubicBezTo>
                  <a:cubicBezTo>
                    <a:pt x="8" y="44"/>
                    <a:pt x="6" y="46"/>
                    <a:pt x="5" y="46"/>
                  </a:cubicBezTo>
                  <a:cubicBezTo>
                    <a:pt x="4" y="46"/>
                    <a:pt x="4" y="46"/>
                    <a:pt x="4" y="46"/>
                  </a:cubicBezTo>
                  <a:cubicBezTo>
                    <a:pt x="3" y="46"/>
                    <a:pt x="2" y="46"/>
                    <a:pt x="1" y="46"/>
                  </a:cubicBezTo>
                  <a:cubicBezTo>
                    <a:pt x="0" y="46"/>
                    <a:pt x="0" y="46"/>
                    <a:pt x="0" y="46"/>
                  </a:cubicBezTo>
                  <a:cubicBezTo>
                    <a:pt x="0" y="47"/>
                    <a:pt x="0" y="47"/>
                    <a:pt x="0" y="47"/>
                  </a:cubicBezTo>
                  <a:cubicBezTo>
                    <a:pt x="1" y="47"/>
                    <a:pt x="1" y="47"/>
                    <a:pt x="1" y="47"/>
                  </a:cubicBezTo>
                  <a:cubicBezTo>
                    <a:pt x="2" y="47"/>
                    <a:pt x="2" y="47"/>
                    <a:pt x="2" y="48"/>
                  </a:cubicBezTo>
                  <a:cubicBezTo>
                    <a:pt x="3" y="48"/>
                    <a:pt x="4" y="49"/>
                    <a:pt x="4" y="50"/>
                  </a:cubicBezTo>
                  <a:cubicBezTo>
                    <a:pt x="4" y="50"/>
                    <a:pt x="5" y="51"/>
                    <a:pt x="5" y="52"/>
                  </a:cubicBezTo>
                  <a:cubicBezTo>
                    <a:pt x="5" y="52"/>
                    <a:pt x="5" y="52"/>
                    <a:pt x="5" y="52"/>
                  </a:cubicBezTo>
                  <a:cubicBezTo>
                    <a:pt x="5" y="52"/>
                    <a:pt x="5" y="53"/>
                    <a:pt x="5" y="53"/>
                  </a:cubicBezTo>
                  <a:cubicBezTo>
                    <a:pt x="6" y="55"/>
                    <a:pt x="6" y="55"/>
                    <a:pt x="6" y="55"/>
                  </a:cubicBezTo>
                  <a:cubicBezTo>
                    <a:pt x="6" y="55"/>
                    <a:pt x="7" y="56"/>
                    <a:pt x="7" y="57"/>
                  </a:cubicBezTo>
                  <a:cubicBezTo>
                    <a:pt x="7" y="59"/>
                    <a:pt x="6" y="60"/>
                    <a:pt x="6" y="60"/>
                  </a:cubicBezTo>
                  <a:cubicBezTo>
                    <a:pt x="6" y="61"/>
                    <a:pt x="6" y="61"/>
                    <a:pt x="6" y="61"/>
                  </a:cubicBezTo>
                  <a:cubicBezTo>
                    <a:pt x="9" y="64"/>
                    <a:pt x="11" y="67"/>
                    <a:pt x="13" y="70"/>
                  </a:cubicBezTo>
                  <a:cubicBezTo>
                    <a:pt x="15" y="72"/>
                    <a:pt x="17" y="74"/>
                    <a:pt x="19" y="77"/>
                  </a:cubicBezTo>
                  <a:cubicBezTo>
                    <a:pt x="20" y="77"/>
                    <a:pt x="20" y="77"/>
                    <a:pt x="20" y="77"/>
                  </a:cubicBezTo>
                  <a:cubicBezTo>
                    <a:pt x="20" y="77"/>
                    <a:pt x="21" y="78"/>
                    <a:pt x="22" y="78"/>
                  </a:cubicBezTo>
                  <a:cubicBezTo>
                    <a:pt x="23" y="79"/>
                    <a:pt x="23" y="79"/>
                    <a:pt x="23" y="80"/>
                  </a:cubicBezTo>
                  <a:cubicBezTo>
                    <a:pt x="24" y="80"/>
                    <a:pt x="24" y="80"/>
                    <a:pt x="24" y="80"/>
                  </a:cubicBezTo>
                  <a:cubicBezTo>
                    <a:pt x="24" y="81"/>
                    <a:pt x="24" y="81"/>
                    <a:pt x="24" y="81"/>
                  </a:cubicBezTo>
                  <a:cubicBezTo>
                    <a:pt x="24" y="81"/>
                    <a:pt x="24" y="81"/>
                    <a:pt x="24" y="81"/>
                  </a:cubicBezTo>
                  <a:cubicBezTo>
                    <a:pt x="25" y="82"/>
                    <a:pt x="25" y="82"/>
                    <a:pt x="25" y="82"/>
                  </a:cubicBezTo>
                  <a:cubicBezTo>
                    <a:pt x="26" y="84"/>
                    <a:pt x="26" y="85"/>
                    <a:pt x="27" y="87"/>
                  </a:cubicBezTo>
                  <a:cubicBezTo>
                    <a:pt x="27" y="88"/>
                    <a:pt x="27" y="89"/>
                    <a:pt x="27" y="90"/>
                  </a:cubicBezTo>
                  <a:cubicBezTo>
                    <a:pt x="28" y="91"/>
                    <a:pt x="28" y="91"/>
                    <a:pt x="28" y="91"/>
                  </a:cubicBezTo>
                  <a:cubicBezTo>
                    <a:pt x="28" y="92"/>
                    <a:pt x="28" y="92"/>
                    <a:pt x="28" y="92"/>
                  </a:cubicBezTo>
                  <a:cubicBezTo>
                    <a:pt x="30" y="89"/>
                    <a:pt x="30" y="89"/>
                    <a:pt x="30" y="89"/>
                  </a:cubicBezTo>
                  <a:cubicBezTo>
                    <a:pt x="32" y="92"/>
                    <a:pt x="32" y="92"/>
                    <a:pt x="32" y="92"/>
                  </a:cubicBezTo>
                  <a:cubicBezTo>
                    <a:pt x="33" y="94"/>
                    <a:pt x="34" y="95"/>
                    <a:pt x="34" y="97"/>
                  </a:cubicBezTo>
                  <a:cubicBezTo>
                    <a:pt x="34" y="97"/>
                    <a:pt x="34" y="99"/>
                    <a:pt x="34" y="99"/>
                  </a:cubicBezTo>
                  <a:cubicBezTo>
                    <a:pt x="34" y="100"/>
                    <a:pt x="33" y="102"/>
                    <a:pt x="33" y="103"/>
                  </a:cubicBezTo>
                  <a:cubicBezTo>
                    <a:pt x="32" y="103"/>
                    <a:pt x="32" y="103"/>
                    <a:pt x="32" y="103"/>
                  </a:cubicBezTo>
                  <a:cubicBezTo>
                    <a:pt x="32" y="104"/>
                    <a:pt x="32" y="104"/>
                    <a:pt x="32" y="104"/>
                  </a:cubicBezTo>
                  <a:cubicBezTo>
                    <a:pt x="32" y="104"/>
                    <a:pt x="32" y="104"/>
                    <a:pt x="32" y="104"/>
                  </a:cubicBezTo>
                  <a:cubicBezTo>
                    <a:pt x="30" y="106"/>
                    <a:pt x="28" y="106"/>
                    <a:pt x="27" y="106"/>
                  </a:cubicBezTo>
                  <a:cubicBezTo>
                    <a:pt x="26" y="106"/>
                    <a:pt x="26" y="106"/>
                    <a:pt x="26" y="106"/>
                  </a:cubicBezTo>
                  <a:cubicBezTo>
                    <a:pt x="26" y="108"/>
                    <a:pt x="26" y="110"/>
                    <a:pt x="27" y="112"/>
                  </a:cubicBezTo>
                  <a:cubicBezTo>
                    <a:pt x="27" y="115"/>
                    <a:pt x="27" y="115"/>
                    <a:pt x="27" y="115"/>
                  </a:cubicBezTo>
                  <a:cubicBezTo>
                    <a:pt x="27" y="116"/>
                    <a:pt x="27" y="117"/>
                    <a:pt x="27" y="118"/>
                  </a:cubicBezTo>
                  <a:cubicBezTo>
                    <a:pt x="27" y="120"/>
                    <a:pt x="26" y="122"/>
                    <a:pt x="24" y="124"/>
                  </a:cubicBezTo>
                  <a:cubicBezTo>
                    <a:pt x="23" y="125"/>
                    <a:pt x="21" y="125"/>
                    <a:pt x="19" y="126"/>
                  </a:cubicBezTo>
                  <a:cubicBezTo>
                    <a:pt x="19" y="126"/>
                    <a:pt x="18" y="126"/>
                    <a:pt x="18" y="126"/>
                  </a:cubicBezTo>
                  <a:cubicBezTo>
                    <a:pt x="18" y="127"/>
                    <a:pt x="18" y="127"/>
                    <a:pt x="18" y="127"/>
                  </a:cubicBezTo>
                  <a:cubicBezTo>
                    <a:pt x="18" y="129"/>
                    <a:pt x="18" y="130"/>
                    <a:pt x="20" y="132"/>
                  </a:cubicBezTo>
                  <a:cubicBezTo>
                    <a:pt x="22" y="137"/>
                    <a:pt x="25" y="141"/>
                    <a:pt x="29" y="145"/>
                  </a:cubicBezTo>
                  <a:cubicBezTo>
                    <a:pt x="31" y="147"/>
                    <a:pt x="31" y="147"/>
                    <a:pt x="31" y="147"/>
                  </a:cubicBezTo>
                  <a:cubicBezTo>
                    <a:pt x="31" y="148"/>
                    <a:pt x="32" y="148"/>
                    <a:pt x="32" y="149"/>
                  </a:cubicBezTo>
                  <a:cubicBezTo>
                    <a:pt x="35" y="153"/>
                    <a:pt x="35" y="153"/>
                    <a:pt x="35" y="153"/>
                  </a:cubicBezTo>
                  <a:cubicBezTo>
                    <a:pt x="36" y="153"/>
                    <a:pt x="36" y="153"/>
                    <a:pt x="36" y="153"/>
                  </a:cubicBezTo>
                  <a:cubicBezTo>
                    <a:pt x="36" y="154"/>
                    <a:pt x="36" y="154"/>
                    <a:pt x="36" y="154"/>
                  </a:cubicBezTo>
                  <a:cubicBezTo>
                    <a:pt x="37" y="154"/>
                    <a:pt x="37" y="155"/>
                    <a:pt x="38" y="156"/>
                  </a:cubicBezTo>
                  <a:cubicBezTo>
                    <a:pt x="39" y="157"/>
                    <a:pt x="40" y="158"/>
                    <a:pt x="40" y="159"/>
                  </a:cubicBezTo>
                  <a:cubicBezTo>
                    <a:pt x="41" y="160"/>
                    <a:pt x="41" y="163"/>
                    <a:pt x="41" y="167"/>
                  </a:cubicBezTo>
                  <a:cubicBezTo>
                    <a:pt x="41" y="167"/>
                    <a:pt x="41" y="167"/>
                    <a:pt x="41" y="167"/>
                  </a:cubicBezTo>
                  <a:cubicBezTo>
                    <a:pt x="41" y="168"/>
                    <a:pt x="41" y="169"/>
                    <a:pt x="41" y="169"/>
                  </a:cubicBezTo>
                  <a:cubicBezTo>
                    <a:pt x="41" y="170"/>
                    <a:pt x="41" y="170"/>
                    <a:pt x="41" y="170"/>
                  </a:cubicBezTo>
                  <a:cubicBezTo>
                    <a:pt x="41" y="171"/>
                    <a:pt x="41" y="173"/>
                    <a:pt x="40" y="175"/>
                  </a:cubicBezTo>
                  <a:cubicBezTo>
                    <a:pt x="40" y="175"/>
                    <a:pt x="40" y="175"/>
                    <a:pt x="40" y="175"/>
                  </a:cubicBezTo>
                  <a:cubicBezTo>
                    <a:pt x="39" y="176"/>
                    <a:pt x="39" y="176"/>
                    <a:pt x="39" y="176"/>
                  </a:cubicBezTo>
                  <a:cubicBezTo>
                    <a:pt x="39" y="176"/>
                    <a:pt x="40" y="177"/>
                    <a:pt x="40" y="177"/>
                  </a:cubicBezTo>
                  <a:cubicBezTo>
                    <a:pt x="40" y="177"/>
                    <a:pt x="40" y="177"/>
                    <a:pt x="40" y="177"/>
                  </a:cubicBezTo>
                  <a:cubicBezTo>
                    <a:pt x="41" y="178"/>
                    <a:pt x="41" y="178"/>
                    <a:pt x="41" y="178"/>
                  </a:cubicBezTo>
                  <a:cubicBezTo>
                    <a:pt x="41" y="179"/>
                    <a:pt x="42" y="180"/>
                    <a:pt x="42" y="180"/>
                  </a:cubicBezTo>
                  <a:cubicBezTo>
                    <a:pt x="44" y="183"/>
                    <a:pt x="46" y="186"/>
                    <a:pt x="47" y="189"/>
                  </a:cubicBezTo>
                  <a:cubicBezTo>
                    <a:pt x="47" y="190"/>
                    <a:pt x="47" y="190"/>
                    <a:pt x="47" y="191"/>
                  </a:cubicBezTo>
                  <a:cubicBezTo>
                    <a:pt x="47" y="192"/>
                    <a:pt x="47" y="192"/>
                    <a:pt x="47" y="192"/>
                  </a:cubicBezTo>
                  <a:cubicBezTo>
                    <a:pt x="47" y="193"/>
                    <a:pt x="47" y="194"/>
                    <a:pt x="48" y="196"/>
                  </a:cubicBezTo>
                  <a:cubicBezTo>
                    <a:pt x="50" y="197"/>
                    <a:pt x="50" y="199"/>
                    <a:pt x="50" y="201"/>
                  </a:cubicBezTo>
                  <a:cubicBezTo>
                    <a:pt x="50" y="201"/>
                    <a:pt x="50" y="202"/>
                    <a:pt x="50" y="203"/>
                  </a:cubicBezTo>
                  <a:cubicBezTo>
                    <a:pt x="53" y="204"/>
                    <a:pt x="53" y="204"/>
                    <a:pt x="53" y="204"/>
                  </a:cubicBezTo>
                  <a:cubicBezTo>
                    <a:pt x="51" y="207"/>
                    <a:pt x="51" y="207"/>
                    <a:pt x="51" y="207"/>
                  </a:cubicBezTo>
                  <a:cubicBezTo>
                    <a:pt x="50" y="209"/>
                    <a:pt x="49" y="211"/>
                    <a:pt x="47" y="214"/>
                  </a:cubicBezTo>
                  <a:cubicBezTo>
                    <a:pt x="46" y="217"/>
                    <a:pt x="44" y="219"/>
                    <a:pt x="42" y="222"/>
                  </a:cubicBezTo>
                  <a:cubicBezTo>
                    <a:pt x="40" y="225"/>
                    <a:pt x="39" y="227"/>
                    <a:pt x="37" y="229"/>
                  </a:cubicBezTo>
                  <a:cubicBezTo>
                    <a:pt x="34" y="231"/>
                    <a:pt x="33" y="234"/>
                    <a:pt x="32" y="237"/>
                  </a:cubicBezTo>
                  <a:cubicBezTo>
                    <a:pt x="25" y="252"/>
                    <a:pt x="25" y="252"/>
                    <a:pt x="25" y="252"/>
                  </a:cubicBezTo>
                  <a:cubicBezTo>
                    <a:pt x="24" y="251"/>
                    <a:pt x="24" y="251"/>
                    <a:pt x="24" y="251"/>
                  </a:cubicBezTo>
                  <a:cubicBezTo>
                    <a:pt x="24" y="251"/>
                    <a:pt x="24" y="251"/>
                    <a:pt x="24" y="251"/>
                  </a:cubicBezTo>
                  <a:cubicBezTo>
                    <a:pt x="22" y="256"/>
                    <a:pt x="18" y="263"/>
                    <a:pt x="17" y="268"/>
                  </a:cubicBezTo>
                  <a:cubicBezTo>
                    <a:pt x="17" y="269"/>
                    <a:pt x="17" y="270"/>
                    <a:pt x="17" y="271"/>
                  </a:cubicBezTo>
                  <a:cubicBezTo>
                    <a:pt x="17" y="270"/>
                    <a:pt x="17" y="270"/>
                    <a:pt x="16" y="269"/>
                  </a:cubicBezTo>
                  <a:cubicBezTo>
                    <a:pt x="16" y="269"/>
                    <a:pt x="16" y="269"/>
                    <a:pt x="16" y="269"/>
                  </a:cubicBezTo>
                  <a:cubicBezTo>
                    <a:pt x="16" y="270"/>
                    <a:pt x="17" y="270"/>
                    <a:pt x="17" y="271"/>
                  </a:cubicBezTo>
                  <a:cubicBezTo>
                    <a:pt x="17" y="273"/>
                    <a:pt x="17" y="274"/>
                    <a:pt x="16" y="276"/>
                  </a:cubicBezTo>
                  <a:cubicBezTo>
                    <a:pt x="15" y="279"/>
                    <a:pt x="15" y="281"/>
                    <a:pt x="15" y="284"/>
                  </a:cubicBezTo>
                  <a:cubicBezTo>
                    <a:pt x="15" y="283"/>
                    <a:pt x="15" y="283"/>
                    <a:pt x="15" y="283"/>
                  </a:cubicBezTo>
                  <a:cubicBezTo>
                    <a:pt x="14" y="285"/>
                    <a:pt x="15" y="288"/>
                    <a:pt x="16" y="290"/>
                  </a:cubicBezTo>
                  <a:cubicBezTo>
                    <a:pt x="17" y="292"/>
                    <a:pt x="18" y="293"/>
                    <a:pt x="19" y="293"/>
                  </a:cubicBezTo>
                  <a:cubicBezTo>
                    <a:pt x="20" y="293"/>
                    <a:pt x="21" y="292"/>
                    <a:pt x="20" y="289"/>
                  </a:cubicBezTo>
                  <a:cubicBezTo>
                    <a:pt x="22" y="288"/>
                    <a:pt x="23" y="288"/>
                    <a:pt x="24" y="288"/>
                  </a:cubicBezTo>
                  <a:cubicBezTo>
                    <a:pt x="26" y="288"/>
                    <a:pt x="27" y="289"/>
                    <a:pt x="29" y="292"/>
                  </a:cubicBezTo>
                  <a:cubicBezTo>
                    <a:pt x="30" y="293"/>
                    <a:pt x="33" y="298"/>
                    <a:pt x="35" y="298"/>
                  </a:cubicBezTo>
                  <a:cubicBezTo>
                    <a:pt x="35" y="298"/>
                    <a:pt x="35" y="298"/>
                    <a:pt x="35" y="298"/>
                  </a:cubicBezTo>
                  <a:cubicBezTo>
                    <a:pt x="35" y="299"/>
                    <a:pt x="34" y="303"/>
                    <a:pt x="34" y="303"/>
                  </a:cubicBezTo>
                  <a:cubicBezTo>
                    <a:pt x="36" y="304"/>
                    <a:pt x="39" y="304"/>
                    <a:pt x="40" y="305"/>
                  </a:cubicBezTo>
                  <a:cubicBezTo>
                    <a:pt x="40" y="307"/>
                    <a:pt x="41" y="310"/>
                    <a:pt x="42" y="311"/>
                  </a:cubicBezTo>
                  <a:cubicBezTo>
                    <a:pt x="42" y="312"/>
                    <a:pt x="42" y="312"/>
                    <a:pt x="43" y="312"/>
                  </a:cubicBezTo>
                  <a:cubicBezTo>
                    <a:pt x="43" y="312"/>
                    <a:pt x="44" y="312"/>
                    <a:pt x="45" y="312"/>
                  </a:cubicBezTo>
                  <a:cubicBezTo>
                    <a:pt x="45" y="311"/>
                    <a:pt x="46" y="311"/>
                    <a:pt x="46" y="311"/>
                  </a:cubicBezTo>
                  <a:cubicBezTo>
                    <a:pt x="47" y="311"/>
                    <a:pt x="47" y="311"/>
                    <a:pt x="47" y="311"/>
                  </a:cubicBezTo>
                  <a:cubicBezTo>
                    <a:pt x="46" y="315"/>
                    <a:pt x="46" y="316"/>
                    <a:pt x="51" y="317"/>
                  </a:cubicBezTo>
                  <a:cubicBezTo>
                    <a:pt x="50" y="319"/>
                    <a:pt x="49" y="320"/>
                    <a:pt x="49" y="322"/>
                  </a:cubicBezTo>
                  <a:cubicBezTo>
                    <a:pt x="50" y="325"/>
                    <a:pt x="54" y="329"/>
                    <a:pt x="58" y="331"/>
                  </a:cubicBezTo>
                  <a:cubicBezTo>
                    <a:pt x="58" y="330"/>
                    <a:pt x="58" y="330"/>
                    <a:pt x="58" y="330"/>
                  </a:cubicBezTo>
                  <a:cubicBezTo>
                    <a:pt x="58" y="329"/>
                    <a:pt x="58" y="328"/>
                    <a:pt x="59" y="327"/>
                  </a:cubicBezTo>
                  <a:cubicBezTo>
                    <a:pt x="60" y="321"/>
                    <a:pt x="60" y="321"/>
                    <a:pt x="60" y="321"/>
                  </a:cubicBezTo>
                  <a:cubicBezTo>
                    <a:pt x="64" y="325"/>
                    <a:pt x="64" y="325"/>
                    <a:pt x="64" y="325"/>
                  </a:cubicBezTo>
                  <a:cubicBezTo>
                    <a:pt x="67" y="327"/>
                    <a:pt x="67" y="328"/>
                    <a:pt x="69" y="328"/>
                  </a:cubicBezTo>
                  <a:cubicBezTo>
                    <a:pt x="71" y="328"/>
                    <a:pt x="73" y="328"/>
                    <a:pt x="75" y="329"/>
                  </a:cubicBezTo>
                  <a:cubicBezTo>
                    <a:pt x="76" y="330"/>
                    <a:pt x="76" y="330"/>
                    <a:pt x="76" y="330"/>
                  </a:cubicBezTo>
                  <a:cubicBezTo>
                    <a:pt x="76" y="330"/>
                    <a:pt x="77" y="330"/>
                    <a:pt x="77" y="331"/>
                  </a:cubicBezTo>
                  <a:cubicBezTo>
                    <a:pt x="78" y="331"/>
                    <a:pt x="78" y="331"/>
                    <a:pt x="78" y="331"/>
                  </a:cubicBezTo>
                  <a:cubicBezTo>
                    <a:pt x="79" y="332"/>
                    <a:pt x="79" y="334"/>
                    <a:pt x="80" y="335"/>
                  </a:cubicBezTo>
                  <a:cubicBezTo>
                    <a:pt x="80" y="335"/>
                    <a:pt x="80" y="335"/>
                    <a:pt x="80" y="335"/>
                  </a:cubicBezTo>
                  <a:cubicBezTo>
                    <a:pt x="80" y="335"/>
                    <a:pt x="81" y="335"/>
                    <a:pt x="82" y="335"/>
                  </a:cubicBezTo>
                  <a:cubicBezTo>
                    <a:pt x="83" y="335"/>
                    <a:pt x="84" y="335"/>
                    <a:pt x="85" y="336"/>
                  </a:cubicBezTo>
                  <a:cubicBezTo>
                    <a:pt x="87" y="338"/>
                    <a:pt x="87" y="340"/>
                    <a:pt x="86" y="342"/>
                  </a:cubicBezTo>
                  <a:cubicBezTo>
                    <a:pt x="86" y="343"/>
                    <a:pt x="85" y="344"/>
                    <a:pt x="85" y="346"/>
                  </a:cubicBezTo>
                  <a:cubicBezTo>
                    <a:pt x="84" y="347"/>
                    <a:pt x="84" y="348"/>
                    <a:pt x="84" y="348"/>
                  </a:cubicBezTo>
                  <a:cubicBezTo>
                    <a:pt x="84" y="349"/>
                    <a:pt x="84" y="349"/>
                    <a:pt x="84" y="349"/>
                  </a:cubicBezTo>
                  <a:cubicBezTo>
                    <a:pt x="85" y="348"/>
                    <a:pt x="85" y="348"/>
                    <a:pt x="85" y="348"/>
                  </a:cubicBezTo>
                  <a:cubicBezTo>
                    <a:pt x="87" y="346"/>
                    <a:pt x="87" y="346"/>
                    <a:pt x="87" y="346"/>
                  </a:cubicBezTo>
                  <a:cubicBezTo>
                    <a:pt x="88" y="345"/>
                    <a:pt x="90" y="344"/>
                    <a:pt x="92" y="344"/>
                  </a:cubicBezTo>
                  <a:cubicBezTo>
                    <a:pt x="94" y="344"/>
                    <a:pt x="96" y="345"/>
                    <a:pt x="97" y="346"/>
                  </a:cubicBezTo>
                  <a:cubicBezTo>
                    <a:pt x="97" y="346"/>
                    <a:pt x="97" y="346"/>
                    <a:pt x="97" y="346"/>
                  </a:cubicBezTo>
                  <a:cubicBezTo>
                    <a:pt x="100" y="346"/>
                    <a:pt x="101" y="344"/>
                    <a:pt x="102" y="342"/>
                  </a:cubicBezTo>
                  <a:cubicBezTo>
                    <a:pt x="102" y="341"/>
                    <a:pt x="103" y="338"/>
                    <a:pt x="104" y="337"/>
                  </a:cubicBezTo>
                  <a:cubicBezTo>
                    <a:pt x="104" y="336"/>
                    <a:pt x="104" y="336"/>
                    <a:pt x="104" y="336"/>
                  </a:cubicBezTo>
                  <a:cubicBezTo>
                    <a:pt x="103" y="335"/>
                    <a:pt x="103" y="335"/>
                    <a:pt x="102" y="334"/>
                  </a:cubicBezTo>
                  <a:cubicBezTo>
                    <a:pt x="100" y="332"/>
                    <a:pt x="98" y="331"/>
                    <a:pt x="96" y="329"/>
                  </a:cubicBezTo>
                  <a:cubicBezTo>
                    <a:pt x="94" y="325"/>
                    <a:pt x="92" y="322"/>
                    <a:pt x="87" y="321"/>
                  </a:cubicBezTo>
                  <a:cubicBezTo>
                    <a:pt x="88" y="322"/>
                    <a:pt x="88" y="322"/>
                    <a:pt x="89" y="323"/>
                  </a:cubicBezTo>
                  <a:cubicBezTo>
                    <a:pt x="89" y="323"/>
                    <a:pt x="88" y="323"/>
                    <a:pt x="88" y="323"/>
                  </a:cubicBezTo>
                  <a:cubicBezTo>
                    <a:pt x="87" y="323"/>
                    <a:pt x="86" y="323"/>
                    <a:pt x="85" y="323"/>
                  </a:cubicBezTo>
                  <a:cubicBezTo>
                    <a:pt x="85" y="323"/>
                    <a:pt x="84" y="324"/>
                    <a:pt x="83" y="324"/>
                  </a:cubicBezTo>
                  <a:cubicBezTo>
                    <a:pt x="83" y="324"/>
                    <a:pt x="82" y="323"/>
                    <a:pt x="82" y="323"/>
                  </a:cubicBezTo>
                  <a:cubicBezTo>
                    <a:pt x="80" y="323"/>
                    <a:pt x="73" y="315"/>
                    <a:pt x="71" y="315"/>
                  </a:cubicBezTo>
                  <a:cubicBezTo>
                    <a:pt x="71" y="315"/>
                    <a:pt x="71" y="315"/>
                    <a:pt x="71" y="315"/>
                  </a:cubicBezTo>
                  <a:cubicBezTo>
                    <a:pt x="70" y="316"/>
                    <a:pt x="69" y="316"/>
                    <a:pt x="68" y="316"/>
                  </a:cubicBezTo>
                  <a:cubicBezTo>
                    <a:pt x="68" y="316"/>
                    <a:pt x="67" y="316"/>
                    <a:pt x="67" y="316"/>
                  </a:cubicBezTo>
                  <a:cubicBezTo>
                    <a:pt x="66" y="315"/>
                    <a:pt x="66" y="313"/>
                    <a:pt x="66" y="313"/>
                  </a:cubicBezTo>
                  <a:cubicBezTo>
                    <a:pt x="64" y="311"/>
                    <a:pt x="63" y="310"/>
                    <a:pt x="62" y="309"/>
                  </a:cubicBezTo>
                  <a:cubicBezTo>
                    <a:pt x="60" y="306"/>
                    <a:pt x="61" y="305"/>
                    <a:pt x="62" y="302"/>
                  </a:cubicBezTo>
                  <a:cubicBezTo>
                    <a:pt x="65" y="306"/>
                    <a:pt x="67" y="311"/>
                    <a:pt x="70" y="315"/>
                  </a:cubicBezTo>
                  <a:cubicBezTo>
                    <a:pt x="70" y="314"/>
                    <a:pt x="70" y="314"/>
                    <a:pt x="69" y="313"/>
                  </a:cubicBezTo>
                  <a:cubicBezTo>
                    <a:pt x="66" y="308"/>
                    <a:pt x="67" y="303"/>
                    <a:pt x="65" y="298"/>
                  </a:cubicBezTo>
                  <a:cubicBezTo>
                    <a:pt x="63" y="291"/>
                    <a:pt x="59" y="284"/>
                    <a:pt x="56" y="277"/>
                  </a:cubicBezTo>
                  <a:cubicBezTo>
                    <a:pt x="55" y="273"/>
                    <a:pt x="53" y="270"/>
                    <a:pt x="52" y="266"/>
                  </a:cubicBezTo>
                  <a:cubicBezTo>
                    <a:pt x="52" y="265"/>
                    <a:pt x="51" y="265"/>
                    <a:pt x="50" y="265"/>
                  </a:cubicBezTo>
                  <a:cubicBezTo>
                    <a:pt x="48" y="265"/>
                    <a:pt x="46" y="266"/>
                    <a:pt x="45" y="266"/>
                  </a:cubicBezTo>
                  <a:cubicBezTo>
                    <a:pt x="44" y="267"/>
                    <a:pt x="42" y="267"/>
                    <a:pt x="41" y="267"/>
                  </a:cubicBezTo>
                  <a:cubicBezTo>
                    <a:pt x="39" y="267"/>
                    <a:pt x="38" y="267"/>
                    <a:pt x="39" y="265"/>
                  </a:cubicBezTo>
                  <a:cubicBezTo>
                    <a:pt x="39" y="264"/>
                    <a:pt x="40" y="264"/>
                    <a:pt x="41" y="263"/>
                  </a:cubicBezTo>
                  <a:cubicBezTo>
                    <a:pt x="40" y="262"/>
                    <a:pt x="39" y="261"/>
                    <a:pt x="39" y="259"/>
                  </a:cubicBezTo>
                  <a:cubicBezTo>
                    <a:pt x="38" y="257"/>
                    <a:pt x="37" y="255"/>
                    <a:pt x="37" y="253"/>
                  </a:cubicBezTo>
                  <a:cubicBezTo>
                    <a:pt x="38" y="248"/>
                    <a:pt x="39" y="245"/>
                    <a:pt x="37" y="240"/>
                  </a:cubicBezTo>
                  <a:cubicBezTo>
                    <a:pt x="38" y="240"/>
                    <a:pt x="40" y="236"/>
                    <a:pt x="40" y="234"/>
                  </a:cubicBezTo>
                  <a:cubicBezTo>
                    <a:pt x="43" y="230"/>
                    <a:pt x="45" y="226"/>
                    <a:pt x="47" y="222"/>
                  </a:cubicBezTo>
                  <a:cubicBezTo>
                    <a:pt x="50" y="214"/>
                    <a:pt x="53" y="207"/>
                    <a:pt x="56" y="199"/>
                  </a:cubicBezTo>
                  <a:cubicBezTo>
                    <a:pt x="57" y="197"/>
                    <a:pt x="57" y="197"/>
                    <a:pt x="57" y="195"/>
                  </a:cubicBezTo>
                  <a:cubicBezTo>
                    <a:pt x="57" y="192"/>
                    <a:pt x="56" y="189"/>
                    <a:pt x="56" y="186"/>
                  </a:cubicBezTo>
                  <a:cubicBezTo>
                    <a:pt x="56" y="183"/>
                    <a:pt x="59" y="179"/>
                    <a:pt x="59" y="176"/>
                  </a:cubicBezTo>
                  <a:cubicBezTo>
                    <a:pt x="59" y="173"/>
                    <a:pt x="55" y="171"/>
                    <a:pt x="57" y="170"/>
                  </a:cubicBezTo>
                  <a:cubicBezTo>
                    <a:pt x="59" y="167"/>
                    <a:pt x="61" y="167"/>
                    <a:pt x="65" y="166"/>
                  </a:cubicBezTo>
                  <a:cubicBezTo>
                    <a:pt x="66" y="166"/>
                    <a:pt x="67" y="166"/>
                    <a:pt x="67" y="165"/>
                  </a:cubicBezTo>
                  <a:cubicBezTo>
                    <a:pt x="65" y="164"/>
                    <a:pt x="63" y="162"/>
                    <a:pt x="63" y="160"/>
                  </a:cubicBezTo>
                  <a:cubicBezTo>
                    <a:pt x="63" y="156"/>
                    <a:pt x="66" y="153"/>
                    <a:pt x="70" y="153"/>
                  </a:cubicBezTo>
                  <a:cubicBezTo>
                    <a:pt x="73" y="153"/>
                    <a:pt x="76" y="156"/>
                    <a:pt x="76" y="160"/>
                  </a:cubicBezTo>
                  <a:cubicBezTo>
                    <a:pt x="76" y="162"/>
                    <a:pt x="75" y="164"/>
                    <a:pt x="73" y="165"/>
                  </a:cubicBezTo>
                  <a:cubicBezTo>
                    <a:pt x="75" y="166"/>
                    <a:pt x="78" y="166"/>
                    <a:pt x="80" y="166"/>
                  </a:cubicBezTo>
                  <a:cubicBezTo>
                    <a:pt x="79" y="172"/>
                    <a:pt x="78" y="178"/>
                    <a:pt x="77" y="183"/>
                  </a:cubicBezTo>
                  <a:cubicBezTo>
                    <a:pt x="77" y="186"/>
                    <a:pt x="78" y="186"/>
                    <a:pt x="79" y="186"/>
                  </a:cubicBezTo>
                  <a:cubicBezTo>
                    <a:pt x="80" y="186"/>
                    <a:pt x="81" y="186"/>
                    <a:pt x="81" y="186"/>
                  </a:cubicBezTo>
                  <a:cubicBezTo>
                    <a:pt x="85" y="186"/>
                    <a:pt x="90" y="185"/>
                    <a:pt x="94" y="185"/>
                  </a:cubicBezTo>
                  <a:cubicBezTo>
                    <a:pt x="95" y="185"/>
                    <a:pt x="96" y="185"/>
                    <a:pt x="97" y="185"/>
                  </a:cubicBezTo>
                  <a:cubicBezTo>
                    <a:pt x="98" y="185"/>
                    <a:pt x="99" y="185"/>
                    <a:pt x="100" y="186"/>
                  </a:cubicBezTo>
                  <a:cubicBezTo>
                    <a:pt x="102" y="187"/>
                    <a:pt x="107" y="194"/>
                    <a:pt x="110" y="194"/>
                  </a:cubicBezTo>
                  <a:cubicBezTo>
                    <a:pt x="111" y="194"/>
                    <a:pt x="112" y="193"/>
                    <a:pt x="112" y="193"/>
                  </a:cubicBezTo>
                  <a:cubicBezTo>
                    <a:pt x="110" y="198"/>
                    <a:pt x="111" y="196"/>
                    <a:pt x="114" y="197"/>
                  </a:cubicBezTo>
                  <a:cubicBezTo>
                    <a:pt x="115" y="198"/>
                    <a:pt x="116" y="200"/>
                    <a:pt x="117" y="200"/>
                  </a:cubicBezTo>
                  <a:cubicBezTo>
                    <a:pt x="118" y="200"/>
                    <a:pt x="118" y="200"/>
                    <a:pt x="119" y="200"/>
                  </a:cubicBezTo>
                  <a:cubicBezTo>
                    <a:pt x="119" y="200"/>
                    <a:pt x="120" y="200"/>
                    <a:pt x="120" y="200"/>
                  </a:cubicBezTo>
                  <a:cubicBezTo>
                    <a:pt x="120" y="198"/>
                    <a:pt x="120" y="196"/>
                    <a:pt x="120" y="194"/>
                  </a:cubicBezTo>
                  <a:cubicBezTo>
                    <a:pt x="120" y="194"/>
                    <a:pt x="120" y="193"/>
                    <a:pt x="119" y="193"/>
                  </a:cubicBezTo>
                  <a:cubicBezTo>
                    <a:pt x="119" y="193"/>
                    <a:pt x="119" y="193"/>
                    <a:pt x="119" y="193"/>
                  </a:cubicBezTo>
                  <a:cubicBezTo>
                    <a:pt x="119" y="192"/>
                    <a:pt x="119" y="192"/>
                    <a:pt x="119" y="192"/>
                  </a:cubicBezTo>
                  <a:cubicBezTo>
                    <a:pt x="119" y="191"/>
                    <a:pt x="118" y="191"/>
                    <a:pt x="118" y="190"/>
                  </a:cubicBezTo>
                  <a:cubicBezTo>
                    <a:pt x="115" y="188"/>
                    <a:pt x="115" y="188"/>
                    <a:pt x="115" y="188"/>
                  </a:cubicBezTo>
                  <a:cubicBezTo>
                    <a:pt x="115" y="188"/>
                    <a:pt x="114" y="188"/>
                    <a:pt x="114" y="187"/>
                  </a:cubicBezTo>
                  <a:cubicBezTo>
                    <a:pt x="113" y="185"/>
                    <a:pt x="113" y="183"/>
                    <a:pt x="113" y="181"/>
                  </a:cubicBezTo>
                  <a:cubicBezTo>
                    <a:pt x="113" y="180"/>
                    <a:pt x="113" y="180"/>
                    <a:pt x="113" y="180"/>
                  </a:cubicBezTo>
                  <a:cubicBezTo>
                    <a:pt x="113" y="179"/>
                    <a:pt x="113" y="178"/>
                    <a:pt x="112" y="177"/>
                  </a:cubicBezTo>
                  <a:cubicBezTo>
                    <a:pt x="112" y="176"/>
                    <a:pt x="112" y="176"/>
                    <a:pt x="112" y="176"/>
                  </a:cubicBezTo>
                  <a:cubicBezTo>
                    <a:pt x="110" y="172"/>
                    <a:pt x="107" y="167"/>
                    <a:pt x="111" y="163"/>
                  </a:cubicBezTo>
                  <a:cubicBezTo>
                    <a:pt x="112" y="162"/>
                    <a:pt x="112" y="162"/>
                    <a:pt x="112" y="162"/>
                  </a:cubicBezTo>
                  <a:cubicBezTo>
                    <a:pt x="113" y="162"/>
                    <a:pt x="113" y="161"/>
                    <a:pt x="114" y="161"/>
                  </a:cubicBezTo>
                  <a:cubicBezTo>
                    <a:pt x="117" y="158"/>
                    <a:pt x="119" y="155"/>
                    <a:pt x="121" y="153"/>
                  </a:cubicBezTo>
                  <a:cubicBezTo>
                    <a:pt x="121" y="151"/>
                    <a:pt x="122" y="149"/>
                    <a:pt x="124" y="147"/>
                  </a:cubicBezTo>
                  <a:cubicBezTo>
                    <a:pt x="124" y="147"/>
                    <a:pt x="125" y="146"/>
                    <a:pt x="125" y="146"/>
                  </a:cubicBezTo>
                  <a:cubicBezTo>
                    <a:pt x="128" y="144"/>
                    <a:pt x="132" y="142"/>
                    <a:pt x="136" y="142"/>
                  </a:cubicBezTo>
                  <a:cubicBezTo>
                    <a:pt x="137" y="141"/>
                    <a:pt x="138" y="141"/>
                    <a:pt x="139" y="141"/>
                  </a:cubicBezTo>
                  <a:cubicBezTo>
                    <a:pt x="140" y="141"/>
                    <a:pt x="141" y="141"/>
                    <a:pt x="142" y="141"/>
                  </a:cubicBezTo>
                  <a:cubicBezTo>
                    <a:pt x="144" y="141"/>
                    <a:pt x="147" y="141"/>
                    <a:pt x="150" y="142"/>
                  </a:cubicBezTo>
                  <a:cubicBezTo>
                    <a:pt x="150" y="142"/>
                    <a:pt x="150" y="142"/>
                    <a:pt x="150" y="142"/>
                  </a:cubicBezTo>
                  <a:cubicBezTo>
                    <a:pt x="152" y="142"/>
                    <a:pt x="154" y="142"/>
                    <a:pt x="156" y="142"/>
                  </a:cubicBezTo>
                  <a:cubicBezTo>
                    <a:pt x="156" y="142"/>
                    <a:pt x="157" y="142"/>
                    <a:pt x="157" y="142"/>
                  </a:cubicBezTo>
                  <a:cubicBezTo>
                    <a:pt x="159" y="142"/>
                    <a:pt x="161" y="142"/>
                    <a:pt x="164" y="142"/>
                  </a:cubicBezTo>
                  <a:cubicBezTo>
                    <a:pt x="165" y="141"/>
                    <a:pt x="165" y="141"/>
                    <a:pt x="165" y="141"/>
                  </a:cubicBezTo>
                  <a:cubicBezTo>
                    <a:pt x="167" y="141"/>
                    <a:pt x="169" y="141"/>
                    <a:pt x="171" y="141"/>
                  </a:cubicBezTo>
                  <a:cubicBezTo>
                    <a:pt x="171" y="141"/>
                    <a:pt x="171" y="141"/>
                    <a:pt x="171" y="141"/>
                  </a:cubicBezTo>
                  <a:cubicBezTo>
                    <a:pt x="172" y="141"/>
                    <a:pt x="172" y="141"/>
                    <a:pt x="172" y="141"/>
                  </a:cubicBezTo>
                  <a:cubicBezTo>
                    <a:pt x="173" y="141"/>
                    <a:pt x="175" y="141"/>
                    <a:pt x="176" y="142"/>
                  </a:cubicBezTo>
                  <a:cubicBezTo>
                    <a:pt x="177" y="142"/>
                    <a:pt x="177" y="143"/>
                    <a:pt x="177" y="143"/>
                  </a:cubicBezTo>
                  <a:cubicBezTo>
                    <a:pt x="180" y="142"/>
                    <a:pt x="180" y="142"/>
                    <a:pt x="180" y="142"/>
                  </a:cubicBezTo>
                  <a:cubicBezTo>
                    <a:pt x="180" y="142"/>
                    <a:pt x="180" y="142"/>
                    <a:pt x="180" y="142"/>
                  </a:cubicBezTo>
                  <a:cubicBezTo>
                    <a:pt x="182" y="141"/>
                    <a:pt x="183" y="141"/>
                    <a:pt x="183" y="140"/>
                  </a:cubicBezTo>
                  <a:cubicBezTo>
                    <a:pt x="184" y="140"/>
                    <a:pt x="184" y="140"/>
                    <a:pt x="184" y="140"/>
                  </a:cubicBezTo>
                  <a:cubicBezTo>
                    <a:pt x="185" y="138"/>
                    <a:pt x="184" y="135"/>
                    <a:pt x="184" y="132"/>
                  </a:cubicBezTo>
                  <a:cubicBezTo>
                    <a:pt x="183" y="129"/>
                    <a:pt x="182" y="127"/>
                    <a:pt x="183" y="124"/>
                  </a:cubicBezTo>
                  <a:cubicBezTo>
                    <a:pt x="183" y="122"/>
                    <a:pt x="183" y="121"/>
                    <a:pt x="183" y="120"/>
                  </a:cubicBezTo>
                  <a:cubicBezTo>
                    <a:pt x="184" y="118"/>
                    <a:pt x="185" y="118"/>
                    <a:pt x="186" y="117"/>
                  </a:cubicBezTo>
                  <a:cubicBezTo>
                    <a:pt x="186" y="117"/>
                    <a:pt x="186" y="117"/>
                    <a:pt x="186" y="116"/>
                  </a:cubicBezTo>
                  <a:cubicBezTo>
                    <a:pt x="186" y="116"/>
                    <a:pt x="186" y="115"/>
                    <a:pt x="186" y="115"/>
                  </a:cubicBezTo>
                  <a:cubicBezTo>
                    <a:pt x="186" y="115"/>
                    <a:pt x="186" y="115"/>
                    <a:pt x="186" y="115"/>
                  </a:cubicBezTo>
                  <a:cubicBezTo>
                    <a:pt x="186" y="115"/>
                    <a:pt x="186" y="115"/>
                    <a:pt x="186" y="115"/>
                  </a:cubicBezTo>
                  <a:cubicBezTo>
                    <a:pt x="185" y="114"/>
                    <a:pt x="183" y="114"/>
                    <a:pt x="182" y="113"/>
                  </a:cubicBezTo>
                  <a:cubicBezTo>
                    <a:pt x="181" y="111"/>
                    <a:pt x="180" y="110"/>
                    <a:pt x="180" y="108"/>
                  </a:cubicBezTo>
                  <a:cubicBezTo>
                    <a:pt x="180" y="107"/>
                    <a:pt x="180" y="107"/>
                    <a:pt x="180" y="107"/>
                  </a:cubicBezTo>
                  <a:cubicBezTo>
                    <a:pt x="178" y="107"/>
                    <a:pt x="176" y="107"/>
                    <a:pt x="175" y="105"/>
                  </a:cubicBezTo>
                  <a:cubicBezTo>
                    <a:pt x="174" y="104"/>
                    <a:pt x="173" y="103"/>
                    <a:pt x="173" y="102"/>
                  </a:cubicBezTo>
                  <a:cubicBezTo>
                    <a:pt x="172" y="101"/>
                    <a:pt x="171" y="100"/>
                    <a:pt x="171" y="100"/>
                  </a:cubicBezTo>
                  <a:cubicBezTo>
                    <a:pt x="170" y="99"/>
                    <a:pt x="170" y="99"/>
                    <a:pt x="170" y="99"/>
                  </a:cubicBezTo>
                  <a:cubicBezTo>
                    <a:pt x="170" y="98"/>
                    <a:pt x="169" y="98"/>
                    <a:pt x="168" y="97"/>
                  </a:cubicBezTo>
                  <a:cubicBezTo>
                    <a:pt x="167" y="95"/>
                    <a:pt x="167" y="95"/>
                    <a:pt x="167" y="95"/>
                  </a:cubicBezTo>
                  <a:cubicBezTo>
                    <a:pt x="167" y="95"/>
                    <a:pt x="167" y="95"/>
                    <a:pt x="167" y="95"/>
                  </a:cubicBezTo>
                  <a:cubicBezTo>
                    <a:pt x="167" y="94"/>
                    <a:pt x="166" y="93"/>
                    <a:pt x="166" y="92"/>
                  </a:cubicBezTo>
                  <a:cubicBezTo>
                    <a:pt x="166" y="91"/>
                    <a:pt x="166" y="91"/>
                    <a:pt x="166" y="90"/>
                  </a:cubicBezTo>
                  <a:cubicBezTo>
                    <a:pt x="166" y="90"/>
                    <a:pt x="166" y="90"/>
                    <a:pt x="166" y="90"/>
                  </a:cubicBezTo>
                  <a:cubicBezTo>
                    <a:pt x="165" y="87"/>
                    <a:pt x="165" y="83"/>
                    <a:pt x="166" y="80"/>
                  </a:cubicBezTo>
                  <a:cubicBezTo>
                    <a:pt x="166" y="79"/>
                    <a:pt x="166" y="79"/>
                    <a:pt x="166" y="79"/>
                  </a:cubicBezTo>
                  <a:cubicBezTo>
                    <a:pt x="167" y="79"/>
                    <a:pt x="167" y="78"/>
                    <a:pt x="167" y="77"/>
                  </a:cubicBezTo>
                  <a:cubicBezTo>
                    <a:pt x="167" y="77"/>
                    <a:pt x="167" y="77"/>
                    <a:pt x="167" y="77"/>
                  </a:cubicBezTo>
                  <a:cubicBezTo>
                    <a:pt x="167" y="76"/>
                    <a:pt x="167" y="76"/>
                    <a:pt x="167" y="76"/>
                  </a:cubicBezTo>
                  <a:cubicBezTo>
                    <a:pt x="167" y="75"/>
                    <a:pt x="167" y="75"/>
                    <a:pt x="167" y="75"/>
                  </a:cubicBezTo>
                  <a:cubicBezTo>
                    <a:pt x="167" y="75"/>
                    <a:pt x="167" y="75"/>
                    <a:pt x="167" y="75"/>
                  </a:cubicBezTo>
                  <a:cubicBezTo>
                    <a:pt x="167" y="74"/>
                    <a:pt x="167" y="74"/>
                    <a:pt x="167" y="73"/>
                  </a:cubicBezTo>
                  <a:cubicBezTo>
                    <a:pt x="166" y="72"/>
                    <a:pt x="165" y="72"/>
                    <a:pt x="164" y="71"/>
                  </a:cubicBezTo>
                  <a:cubicBezTo>
                    <a:pt x="163" y="70"/>
                    <a:pt x="163" y="70"/>
                    <a:pt x="163" y="70"/>
                  </a:cubicBezTo>
                  <a:cubicBezTo>
                    <a:pt x="159" y="67"/>
                    <a:pt x="156" y="63"/>
                    <a:pt x="154" y="59"/>
                  </a:cubicBezTo>
                  <a:cubicBezTo>
                    <a:pt x="153" y="58"/>
                    <a:pt x="153" y="58"/>
                    <a:pt x="153" y="57"/>
                  </a:cubicBezTo>
                  <a:cubicBezTo>
                    <a:pt x="152" y="56"/>
                    <a:pt x="152" y="56"/>
                    <a:pt x="152" y="56"/>
                  </a:cubicBezTo>
                  <a:cubicBezTo>
                    <a:pt x="151" y="55"/>
                    <a:pt x="151" y="55"/>
                    <a:pt x="150" y="54"/>
                  </a:cubicBezTo>
                  <a:cubicBezTo>
                    <a:pt x="149" y="52"/>
                    <a:pt x="148" y="52"/>
                    <a:pt x="145" y="51"/>
                  </a:cubicBezTo>
                  <a:cubicBezTo>
                    <a:pt x="144" y="51"/>
                    <a:pt x="143" y="51"/>
                    <a:pt x="141" y="50"/>
                  </a:cubicBezTo>
                  <a:cubicBezTo>
                    <a:pt x="140" y="50"/>
                    <a:pt x="140" y="50"/>
                    <a:pt x="140" y="50"/>
                  </a:cubicBezTo>
                  <a:cubicBezTo>
                    <a:pt x="140" y="50"/>
                    <a:pt x="140" y="50"/>
                    <a:pt x="140" y="50"/>
                  </a:cubicBezTo>
                  <a:cubicBezTo>
                    <a:pt x="139" y="50"/>
                    <a:pt x="139" y="50"/>
                    <a:pt x="139" y="50"/>
                  </a:cubicBezTo>
                  <a:cubicBezTo>
                    <a:pt x="138" y="50"/>
                    <a:pt x="138" y="50"/>
                    <a:pt x="138" y="50"/>
                  </a:cubicBezTo>
                  <a:cubicBezTo>
                    <a:pt x="138" y="50"/>
                    <a:pt x="138" y="50"/>
                    <a:pt x="138" y="50"/>
                  </a:cubicBezTo>
                  <a:cubicBezTo>
                    <a:pt x="137" y="51"/>
                    <a:pt x="137" y="51"/>
                    <a:pt x="137" y="51"/>
                  </a:cubicBezTo>
                  <a:cubicBezTo>
                    <a:pt x="132" y="55"/>
                    <a:pt x="132" y="55"/>
                    <a:pt x="132" y="55"/>
                  </a:cubicBezTo>
                  <a:cubicBezTo>
                    <a:pt x="132" y="56"/>
                    <a:pt x="132" y="56"/>
                    <a:pt x="132" y="57"/>
                  </a:cubicBezTo>
                  <a:cubicBezTo>
                    <a:pt x="132" y="58"/>
                    <a:pt x="131" y="58"/>
                    <a:pt x="131" y="59"/>
                  </a:cubicBezTo>
                  <a:cubicBezTo>
                    <a:pt x="129" y="60"/>
                    <a:pt x="127" y="60"/>
                    <a:pt x="126" y="60"/>
                  </a:cubicBezTo>
                  <a:cubicBezTo>
                    <a:pt x="126" y="60"/>
                    <a:pt x="126" y="60"/>
                    <a:pt x="126" y="60"/>
                  </a:cubicBezTo>
                  <a:cubicBezTo>
                    <a:pt x="125" y="61"/>
                    <a:pt x="125" y="61"/>
                    <a:pt x="125" y="61"/>
                  </a:cubicBezTo>
                  <a:cubicBezTo>
                    <a:pt x="124" y="61"/>
                    <a:pt x="124" y="61"/>
                    <a:pt x="123" y="62"/>
                  </a:cubicBezTo>
                  <a:cubicBezTo>
                    <a:pt x="123" y="62"/>
                    <a:pt x="123" y="62"/>
                    <a:pt x="123" y="62"/>
                  </a:cubicBezTo>
                  <a:cubicBezTo>
                    <a:pt x="126" y="70"/>
                    <a:pt x="126" y="70"/>
                    <a:pt x="126" y="70"/>
                  </a:cubicBezTo>
                  <a:cubicBezTo>
                    <a:pt x="118" y="64"/>
                    <a:pt x="118" y="64"/>
                    <a:pt x="118" y="64"/>
                  </a:cubicBezTo>
                  <a:cubicBezTo>
                    <a:pt x="115" y="62"/>
                    <a:pt x="112" y="59"/>
                    <a:pt x="108" y="57"/>
                  </a:cubicBezTo>
                  <a:cubicBezTo>
                    <a:pt x="107" y="56"/>
                    <a:pt x="107" y="56"/>
                    <a:pt x="107" y="56"/>
                  </a:cubicBezTo>
                  <a:cubicBezTo>
                    <a:pt x="106" y="56"/>
                    <a:pt x="106" y="56"/>
                    <a:pt x="106" y="56"/>
                  </a:cubicBezTo>
                  <a:cubicBezTo>
                    <a:pt x="105" y="57"/>
                    <a:pt x="103" y="58"/>
                    <a:pt x="101" y="59"/>
                  </a:cubicBezTo>
                  <a:cubicBezTo>
                    <a:pt x="100" y="60"/>
                    <a:pt x="100" y="60"/>
                    <a:pt x="100" y="60"/>
                  </a:cubicBezTo>
                  <a:cubicBezTo>
                    <a:pt x="99" y="61"/>
                    <a:pt x="98" y="62"/>
                    <a:pt x="97" y="62"/>
                  </a:cubicBezTo>
                  <a:cubicBezTo>
                    <a:pt x="94" y="65"/>
                    <a:pt x="91" y="67"/>
                    <a:pt x="88" y="70"/>
                  </a:cubicBezTo>
                  <a:cubicBezTo>
                    <a:pt x="87" y="71"/>
                    <a:pt x="86" y="72"/>
                    <a:pt x="85" y="73"/>
                  </a:cubicBezTo>
                  <a:cubicBezTo>
                    <a:pt x="84" y="73"/>
                    <a:pt x="84" y="73"/>
                    <a:pt x="84" y="73"/>
                  </a:cubicBezTo>
                  <a:cubicBezTo>
                    <a:pt x="84" y="73"/>
                    <a:pt x="83" y="73"/>
                    <a:pt x="83" y="73"/>
                  </a:cubicBezTo>
                  <a:cubicBezTo>
                    <a:pt x="83" y="71"/>
                    <a:pt x="83" y="71"/>
                    <a:pt x="83" y="71"/>
                  </a:cubicBezTo>
                  <a:cubicBezTo>
                    <a:pt x="83" y="73"/>
                    <a:pt x="83" y="73"/>
                    <a:pt x="83" y="73"/>
                  </a:cubicBezTo>
                  <a:cubicBezTo>
                    <a:pt x="82" y="72"/>
                    <a:pt x="81" y="72"/>
                    <a:pt x="81" y="72"/>
                  </a:cubicBezTo>
                  <a:cubicBezTo>
                    <a:pt x="80" y="71"/>
                    <a:pt x="80" y="71"/>
                    <a:pt x="79" y="71"/>
                  </a:cubicBezTo>
                  <a:cubicBezTo>
                    <a:pt x="79" y="71"/>
                    <a:pt x="79" y="71"/>
                    <a:pt x="79" y="71"/>
                  </a:cubicBezTo>
                  <a:cubicBezTo>
                    <a:pt x="78" y="70"/>
                    <a:pt x="78" y="70"/>
                    <a:pt x="78" y="70"/>
                  </a:cubicBezTo>
                  <a:cubicBezTo>
                    <a:pt x="77" y="70"/>
                    <a:pt x="77" y="70"/>
                    <a:pt x="77" y="70"/>
                  </a:cubicBezTo>
                  <a:cubicBezTo>
                    <a:pt x="76" y="69"/>
                    <a:pt x="76" y="69"/>
                    <a:pt x="76" y="69"/>
                  </a:cubicBezTo>
                  <a:cubicBezTo>
                    <a:pt x="76" y="67"/>
                    <a:pt x="76" y="67"/>
                    <a:pt x="76" y="67"/>
                  </a:cubicBezTo>
                  <a:cubicBezTo>
                    <a:pt x="76" y="64"/>
                    <a:pt x="77" y="62"/>
                    <a:pt x="79" y="59"/>
                  </a:cubicBezTo>
                  <a:cubicBezTo>
                    <a:pt x="79" y="59"/>
                    <a:pt x="79" y="59"/>
                    <a:pt x="79" y="59"/>
                  </a:cubicBezTo>
                  <a:cubicBezTo>
                    <a:pt x="79" y="58"/>
                    <a:pt x="80" y="58"/>
                    <a:pt x="80" y="58"/>
                  </a:cubicBezTo>
                  <a:cubicBezTo>
                    <a:pt x="80" y="58"/>
                    <a:pt x="80" y="58"/>
                    <a:pt x="80" y="58"/>
                  </a:cubicBezTo>
                  <a:cubicBezTo>
                    <a:pt x="81" y="56"/>
                    <a:pt x="81" y="56"/>
                    <a:pt x="81" y="56"/>
                  </a:cubicBezTo>
                  <a:cubicBezTo>
                    <a:pt x="81" y="55"/>
                    <a:pt x="81" y="55"/>
                    <a:pt x="81" y="55"/>
                  </a:cubicBezTo>
                  <a:cubicBezTo>
                    <a:pt x="81" y="55"/>
                    <a:pt x="81" y="54"/>
                    <a:pt x="81" y="53"/>
                  </a:cubicBezTo>
                  <a:cubicBezTo>
                    <a:pt x="80" y="51"/>
                    <a:pt x="79" y="49"/>
                    <a:pt x="80" y="47"/>
                  </a:cubicBezTo>
                  <a:cubicBezTo>
                    <a:pt x="80" y="45"/>
                    <a:pt x="81" y="43"/>
                    <a:pt x="82" y="42"/>
                  </a:cubicBezTo>
                  <a:cubicBezTo>
                    <a:pt x="83" y="41"/>
                    <a:pt x="83" y="41"/>
                    <a:pt x="83" y="41"/>
                  </a:cubicBezTo>
                  <a:cubicBezTo>
                    <a:pt x="83" y="40"/>
                    <a:pt x="83" y="40"/>
                    <a:pt x="83" y="39"/>
                  </a:cubicBezTo>
                  <a:cubicBezTo>
                    <a:pt x="83" y="38"/>
                    <a:pt x="83" y="38"/>
                    <a:pt x="83" y="37"/>
                  </a:cubicBezTo>
                  <a:cubicBezTo>
                    <a:pt x="83" y="36"/>
                    <a:pt x="84" y="35"/>
                    <a:pt x="84" y="34"/>
                  </a:cubicBezTo>
                  <a:cubicBezTo>
                    <a:pt x="85" y="32"/>
                    <a:pt x="85" y="32"/>
                    <a:pt x="85" y="32"/>
                  </a:cubicBezTo>
                  <a:cubicBezTo>
                    <a:pt x="85" y="32"/>
                    <a:pt x="85" y="32"/>
                    <a:pt x="85" y="31"/>
                  </a:cubicBezTo>
                  <a:cubicBezTo>
                    <a:pt x="85" y="30"/>
                    <a:pt x="85" y="30"/>
                    <a:pt x="85" y="30"/>
                  </a:cubicBezTo>
                  <a:cubicBezTo>
                    <a:pt x="85" y="30"/>
                    <a:pt x="85" y="30"/>
                    <a:pt x="85" y="30"/>
                  </a:cubicBezTo>
                  <a:cubicBezTo>
                    <a:pt x="84" y="29"/>
                    <a:pt x="84" y="29"/>
                    <a:pt x="84" y="28"/>
                  </a:cubicBezTo>
                  <a:cubicBezTo>
                    <a:pt x="83" y="27"/>
                    <a:pt x="83" y="27"/>
                    <a:pt x="83" y="27"/>
                  </a:cubicBezTo>
                  <a:cubicBezTo>
                    <a:pt x="83" y="26"/>
                    <a:pt x="82" y="24"/>
                    <a:pt x="82" y="23"/>
                  </a:cubicBezTo>
                  <a:cubicBezTo>
                    <a:pt x="82" y="23"/>
                    <a:pt x="82" y="23"/>
                    <a:pt x="82" y="23"/>
                  </a:cubicBezTo>
                  <a:cubicBezTo>
                    <a:pt x="81" y="23"/>
                    <a:pt x="79" y="23"/>
                    <a:pt x="78" y="23"/>
                  </a:cubicBezTo>
                  <a:cubicBezTo>
                    <a:pt x="76" y="23"/>
                    <a:pt x="75" y="24"/>
                    <a:pt x="73" y="24"/>
                  </a:cubicBezTo>
                  <a:cubicBezTo>
                    <a:pt x="73" y="24"/>
                    <a:pt x="71" y="24"/>
                    <a:pt x="70" y="23"/>
                  </a:cubicBezTo>
                  <a:cubicBezTo>
                    <a:pt x="71" y="22"/>
                    <a:pt x="71" y="22"/>
                    <a:pt x="71" y="22"/>
                  </a:cubicBezTo>
                  <a:cubicBezTo>
                    <a:pt x="70" y="23"/>
                    <a:pt x="70" y="23"/>
                    <a:pt x="70" y="23"/>
                  </a:cubicBezTo>
                  <a:cubicBezTo>
                    <a:pt x="69" y="23"/>
                    <a:pt x="68" y="22"/>
                    <a:pt x="68" y="21"/>
                  </a:cubicBezTo>
                  <a:cubicBezTo>
                    <a:pt x="67" y="21"/>
                    <a:pt x="67" y="20"/>
                    <a:pt x="67" y="20"/>
                  </a:cubicBezTo>
                  <a:cubicBezTo>
                    <a:pt x="67" y="20"/>
                    <a:pt x="67" y="20"/>
                    <a:pt x="67" y="20"/>
                  </a:cubicBezTo>
                  <a:cubicBezTo>
                    <a:pt x="66" y="19"/>
                    <a:pt x="65" y="18"/>
                    <a:pt x="65" y="17"/>
                  </a:cubicBezTo>
                  <a:cubicBezTo>
                    <a:pt x="64" y="17"/>
                    <a:pt x="64" y="17"/>
                    <a:pt x="64" y="17"/>
                  </a:cubicBezTo>
                  <a:cubicBezTo>
                    <a:pt x="63" y="15"/>
                    <a:pt x="64" y="13"/>
                    <a:pt x="64" y="13"/>
                  </a:cubicBezTo>
                  <a:cubicBezTo>
                    <a:pt x="59" y="5"/>
                    <a:pt x="59" y="5"/>
                    <a:pt x="59" y="5"/>
                  </a:cubicBezTo>
                  <a:cubicBezTo>
                    <a:pt x="59" y="5"/>
                    <a:pt x="59" y="5"/>
                    <a:pt x="59" y="5"/>
                  </a:cubicBezTo>
                  <a:cubicBezTo>
                    <a:pt x="58" y="5"/>
                    <a:pt x="58" y="4"/>
                    <a:pt x="58" y="3"/>
                  </a:cubicBezTo>
                  <a:cubicBezTo>
                    <a:pt x="57" y="2"/>
                    <a:pt x="57" y="2"/>
                    <a:pt x="57" y="2"/>
                  </a:cubicBezTo>
                  <a:cubicBezTo>
                    <a:pt x="57" y="1"/>
                    <a:pt x="57" y="1"/>
                    <a:pt x="57" y="1"/>
                  </a:cubicBezTo>
                  <a:cubicBezTo>
                    <a:pt x="56" y="1"/>
                    <a:pt x="56" y="1"/>
                    <a:pt x="56" y="1"/>
                  </a:cubicBezTo>
                  <a:cubicBezTo>
                    <a:pt x="56" y="1"/>
                    <a:pt x="56" y="1"/>
                    <a:pt x="56" y="1"/>
                  </a:cubicBezTo>
                  <a:cubicBezTo>
                    <a:pt x="56" y="0"/>
                    <a:pt x="56" y="0"/>
                    <a:pt x="5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2" name="Freeform 1551">
              <a:extLst>
                <a:ext uri="{FF2B5EF4-FFF2-40B4-BE49-F238E27FC236}">
                  <a16:creationId xmlns:a16="http://schemas.microsoft.com/office/drawing/2014/main" id="{9DC771CF-8DD7-44D5-A3CF-D3D2033FE1F3}"/>
                </a:ext>
              </a:extLst>
            </p:cNvPr>
            <p:cNvSpPr>
              <a:spLocks/>
            </p:cNvSpPr>
            <p:nvPr/>
          </p:nvSpPr>
          <p:spPr bwMode="auto">
            <a:xfrm>
              <a:off x="2880652" y="3212213"/>
              <a:ext cx="542304" cy="640295"/>
            </a:xfrm>
            <a:custGeom>
              <a:avLst/>
              <a:gdLst>
                <a:gd name="T0" fmla="*/ 35 w 171"/>
                <a:gd name="T1" fmla="*/ 6 h 202"/>
                <a:gd name="T2" fmla="*/ 38 w 171"/>
                <a:gd name="T3" fmla="*/ 25 h 202"/>
                <a:gd name="T4" fmla="*/ 29 w 171"/>
                <a:gd name="T5" fmla="*/ 32 h 202"/>
                <a:gd name="T6" fmla="*/ 24 w 171"/>
                <a:gd name="T7" fmla="*/ 32 h 202"/>
                <a:gd name="T8" fmla="*/ 10 w 171"/>
                <a:gd name="T9" fmla="*/ 35 h 202"/>
                <a:gd name="T10" fmla="*/ 3 w 171"/>
                <a:gd name="T11" fmla="*/ 41 h 202"/>
                <a:gd name="T12" fmla="*/ 8 w 171"/>
                <a:gd name="T13" fmla="*/ 50 h 202"/>
                <a:gd name="T14" fmla="*/ 7 w 171"/>
                <a:gd name="T15" fmla="*/ 64 h 202"/>
                <a:gd name="T16" fmla="*/ 19 w 171"/>
                <a:gd name="T17" fmla="*/ 67 h 202"/>
                <a:gd name="T18" fmla="*/ 26 w 171"/>
                <a:gd name="T19" fmla="*/ 73 h 202"/>
                <a:gd name="T20" fmla="*/ 27 w 171"/>
                <a:gd name="T21" fmla="*/ 85 h 202"/>
                <a:gd name="T22" fmla="*/ 24 w 171"/>
                <a:gd name="T23" fmla="*/ 95 h 202"/>
                <a:gd name="T24" fmla="*/ 27 w 171"/>
                <a:gd name="T25" fmla="*/ 111 h 202"/>
                <a:gd name="T26" fmla="*/ 31 w 171"/>
                <a:gd name="T27" fmla="*/ 108 h 202"/>
                <a:gd name="T28" fmla="*/ 46 w 171"/>
                <a:gd name="T29" fmla="*/ 100 h 202"/>
                <a:gd name="T30" fmla="*/ 63 w 171"/>
                <a:gd name="T31" fmla="*/ 105 h 202"/>
                <a:gd name="T32" fmla="*/ 75 w 171"/>
                <a:gd name="T33" fmla="*/ 94 h 202"/>
                <a:gd name="T34" fmla="*/ 93 w 171"/>
                <a:gd name="T35" fmla="*/ 102 h 202"/>
                <a:gd name="T36" fmla="*/ 108 w 171"/>
                <a:gd name="T37" fmla="*/ 119 h 202"/>
                <a:gd name="T38" fmla="*/ 110 w 171"/>
                <a:gd name="T39" fmla="*/ 128 h 202"/>
                <a:gd name="T40" fmla="*/ 109 w 171"/>
                <a:gd name="T41" fmla="*/ 141 h 202"/>
                <a:gd name="T42" fmla="*/ 116 w 171"/>
                <a:gd name="T43" fmla="*/ 151 h 202"/>
                <a:gd name="T44" fmla="*/ 123 w 171"/>
                <a:gd name="T45" fmla="*/ 158 h 202"/>
                <a:gd name="T46" fmla="*/ 129 w 171"/>
                <a:gd name="T47" fmla="*/ 167 h 202"/>
                <a:gd name="T48" fmla="*/ 126 w 171"/>
                <a:gd name="T49" fmla="*/ 193 h 202"/>
                <a:gd name="T50" fmla="*/ 125 w 171"/>
                <a:gd name="T51" fmla="*/ 198 h 202"/>
                <a:gd name="T52" fmla="*/ 134 w 171"/>
                <a:gd name="T53" fmla="*/ 202 h 202"/>
                <a:gd name="T54" fmla="*/ 136 w 171"/>
                <a:gd name="T55" fmla="*/ 202 h 202"/>
                <a:gd name="T56" fmla="*/ 139 w 171"/>
                <a:gd name="T57" fmla="*/ 190 h 202"/>
                <a:gd name="T58" fmla="*/ 149 w 171"/>
                <a:gd name="T59" fmla="*/ 186 h 202"/>
                <a:gd name="T60" fmla="*/ 158 w 171"/>
                <a:gd name="T61" fmla="*/ 192 h 202"/>
                <a:gd name="T62" fmla="*/ 168 w 171"/>
                <a:gd name="T63" fmla="*/ 183 h 202"/>
                <a:gd name="T64" fmla="*/ 168 w 171"/>
                <a:gd name="T65" fmla="*/ 170 h 202"/>
                <a:gd name="T66" fmla="*/ 165 w 171"/>
                <a:gd name="T67" fmla="*/ 155 h 202"/>
                <a:gd name="T68" fmla="*/ 159 w 171"/>
                <a:gd name="T69" fmla="*/ 151 h 202"/>
                <a:gd name="T70" fmla="*/ 154 w 171"/>
                <a:gd name="T71" fmla="*/ 146 h 202"/>
                <a:gd name="T72" fmla="*/ 147 w 171"/>
                <a:gd name="T73" fmla="*/ 145 h 202"/>
                <a:gd name="T74" fmla="*/ 145 w 171"/>
                <a:gd name="T75" fmla="*/ 139 h 202"/>
                <a:gd name="T76" fmla="*/ 142 w 171"/>
                <a:gd name="T77" fmla="*/ 131 h 202"/>
                <a:gd name="T78" fmla="*/ 135 w 171"/>
                <a:gd name="T79" fmla="*/ 123 h 202"/>
                <a:gd name="T80" fmla="*/ 122 w 171"/>
                <a:gd name="T81" fmla="*/ 108 h 202"/>
                <a:gd name="T82" fmla="*/ 112 w 171"/>
                <a:gd name="T83" fmla="*/ 93 h 202"/>
                <a:gd name="T84" fmla="*/ 85 w 171"/>
                <a:gd name="T85" fmla="*/ 71 h 202"/>
                <a:gd name="T86" fmla="*/ 87 w 171"/>
                <a:gd name="T87" fmla="*/ 63 h 202"/>
                <a:gd name="T88" fmla="*/ 95 w 171"/>
                <a:gd name="T89" fmla="*/ 63 h 202"/>
                <a:gd name="T90" fmla="*/ 102 w 171"/>
                <a:gd name="T91" fmla="*/ 63 h 202"/>
                <a:gd name="T92" fmla="*/ 105 w 171"/>
                <a:gd name="T93" fmla="*/ 53 h 202"/>
                <a:gd name="T94" fmla="*/ 96 w 171"/>
                <a:gd name="T95" fmla="*/ 44 h 202"/>
                <a:gd name="T96" fmla="*/ 94 w 171"/>
                <a:gd name="T97" fmla="*/ 45 h 202"/>
                <a:gd name="T98" fmla="*/ 93 w 171"/>
                <a:gd name="T99" fmla="*/ 39 h 202"/>
                <a:gd name="T100" fmla="*/ 86 w 171"/>
                <a:gd name="T101" fmla="*/ 41 h 202"/>
                <a:gd name="T102" fmla="*/ 81 w 171"/>
                <a:gd name="T103" fmla="*/ 45 h 202"/>
                <a:gd name="T104" fmla="*/ 75 w 171"/>
                <a:gd name="T105" fmla="*/ 43 h 202"/>
                <a:gd name="T106" fmla="*/ 61 w 171"/>
                <a:gd name="T107" fmla="*/ 31 h 202"/>
                <a:gd name="T108" fmla="*/ 60 w 171"/>
                <a:gd name="T109" fmla="*/ 26 h 202"/>
                <a:gd name="T110" fmla="*/ 61 w 171"/>
                <a:gd name="T111" fmla="*/ 20 h 202"/>
                <a:gd name="T112" fmla="*/ 54 w 171"/>
                <a:gd name="T113" fmla="*/ 16 h 202"/>
                <a:gd name="T114" fmla="*/ 43 w 171"/>
                <a:gd name="T115" fmla="*/ 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 h="202">
                  <a:moveTo>
                    <a:pt x="36" y="0"/>
                  </a:moveTo>
                  <a:cubicBezTo>
                    <a:pt x="35" y="0"/>
                    <a:pt x="35" y="0"/>
                    <a:pt x="35" y="0"/>
                  </a:cubicBezTo>
                  <a:cubicBezTo>
                    <a:pt x="35" y="1"/>
                    <a:pt x="35" y="1"/>
                    <a:pt x="35" y="1"/>
                  </a:cubicBezTo>
                  <a:cubicBezTo>
                    <a:pt x="34" y="2"/>
                    <a:pt x="34" y="3"/>
                    <a:pt x="34" y="3"/>
                  </a:cubicBezTo>
                  <a:cubicBezTo>
                    <a:pt x="34" y="4"/>
                    <a:pt x="34" y="4"/>
                    <a:pt x="34" y="4"/>
                  </a:cubicBezTo>
                  <a:cubicBezTo>
                    <a:pt x="34" y="4"/>
                    <a:pt x="34" y="5"/>
                    <a:pt x="35" y="6"/>
                  </a:cubicBezTo>
                  <a:cubicBezTo>
                    <a:pt x="35" y="7"/>
                    <a:pt x="35" y="7"/>
                    <a:pt x="35" y="7"/>
                  </a:cubicBezTo>
                  <a:cubicBezTo>
                    <a:pt x="36" y="7"/>
                    <a:pt x="36" y="8"/>
                    <a:pt x="37" y="9"/>
                  </a:cubicBezTo>
                  <a:cubicBezTo>
                    <a:pt x="38" y="12"/>
                    <a:pt x="39" y="14"/>
                    <a:pt x="38" y="18"/>
                  </a:cubicBezTo>
                  <a:cubicBezTo>
                    <a:pt x="38" y="19"/>
                    <a:pt x="38" y="19"/>
                    <a:pt x="38" y="19"/>
                  </a:cubicBezTo>
                  <a:cubicBezTo>
                    <a:pt x="38" y="23"/>
                    <a:pt x="38" y="24"/>
                    <a:pt x="38" y="24"/>
                  </a:cubicBezTo>
                  <a:cubicBezTo>
                    <a:pt x="38" y="25"/>
                    <a:pt x="38" y="25"/>
                    <a:pt x="38" y="25"/>
                  </a:cubicBezTo>
                  <a:cubicBezTo>
                    <a:pt x="38" y="25"/>
                    <a:pt x="38" y="25"/>
                    <a:pt x="39" y="25"/>
                  </a:cubicBezTo>
                  <a:cubicBezTo>
                    <a:pt x="43" y="27"/>
                    <a:pt x="43" y="27"/>
                    <a:pt x="43" y="27"/>
                  </a:cubicBezTo>
                  <a:cubicBezTo>
                    <a:pt x="39" y="30"/>
                    <a:pt x="39" y="30"/>
                    <a:pt x="39" y="30"/>
                  </a:cubicBezTo>
                  <a:cubicBezTo>
                    <a:pt x="37" y="32"/>
                    <a:pt x="36" y="33"/>
                    <a:pt x="34" y="33"/>
                  </a:cubicBezTo>
                  <a:cubicBezTo>
                    <a:pt x="33" y="33"/>
                    <a:pt x="32" y="32"/>
                    <a:pt x="31" y="32"/>
                  </a:cubicBezTo>
                  <a:cubicBezTo>
                    <a:pt x="29" y="32"/>
                    <a:pt x="29" y="32"/>
                    <a:pt x="29" y="32"/>
                  </a:cubicBezTo>
                  <a:cubicBezTo>
                    <a:pt x="29" y="31"/>
                    <a:pt x="28" y="31"/>
                    <a:pt x="28" y="31"/>
                  </a:cubicBezTo>
                  <a:cubicBezTo>
                    <a:pt x="28" y="31"/>
                    <a:pt x="28" y="31"/>
                    <a:pt x="28" y="31"/>
                  </a:cubicBezTo>
                  <a:cubicBezTo>
                    <a:pt x="27" y="31"/>
                    <a:pt x="27" y="31"/>
                    <a:pt x="27" y="31"/>
                  </a:cubicBezTo>
                  <a:cubicBezTo>
                    <a:pt x="26" y="32"/>
                    <a:pt x="26" y="32"/>
                    <a:pt x="26" y="32"/>
                  </a:cubicBezTo>
                  <a:cubicBezTo>
                    <a:pt x="25" y="32"/>
                    <a:pt x="25" y="32"/>
                    <a:pt x="25" y="32"/>
                  </a:cubicBezTo>
                  <a:cubicBezTo>
                    <a:pt x="24" y="32"/>
                    <a:pt x="24" y="32"/>
                    <a:pt x="24" y="32"/>
                  </a:cubicBezTo>
                  <a:cubicBezTo>
                    <a:pt x="21" y="31"/>
                    <a:pt x="20" y="28"/>
                    <a:pt x="19" y="24"/>
                  </a:cubicBezTo>
                  <a:cubicBezTo>
                    <a:pt x="18" y="25"/>
                    <a:pt x="18" y="25"/>
                    <a:pt x="18" y="25"/>
                  </a:cubicBezTo>
                  <a:cubicBezTo>
                    <a:pt x="17" y="25"/>
                    <a:pt x="15" y="26"/>
                    <a:pt x="14" y="28"/>
                  </a:cubicBezTo>
                  <a:cubicBezTo>
                    <a:pt x="13" y="28"/>
                    <a:pt x="13" y="29"/>
                    <a:pt x="12" y="30"/>
                  </a:cubicBezTo>
                  <a:cubicBezTo>
                    <a:pt x="10" y="34"/>
                    <a:pt x="10" y="34"/>
                    <a:pt x="10" y="34"/>
                  </a:cubicBezTo>
                  <a:cubicBezTo>
                    <a:pt x="10" y="34"/>
                    <a:pt x="10" y="34"/>
                    <a:pt x="10" y="35"/>
                  </a:cubicBezTo>
                  <a:cubicBezTo>
                    <a:pt x="11" y="35"/>
                    <a:pt x="11" y="35"/>
                    <a:pt x="11" y="35"/>
                  </a:cubicBezTo>
                  <a:cubicBezTo>
                    <a:pt x="11" y="36"/>
                    <a:pt x="11" y="36"/>
                    <a:pt x="11" y="36"/>
                  </a:cubicBezTo>
                  <a:cubicBezTo>
                    <a:pt x="13" y="40"/>
                    <a:pt x="13" y="40"/>
                    <a:pt x="13" y="40"/>
                  </a:cubicBezTo>
                  <a:cubicBezTo>
                    <a:pt x="9" y="40"/>
                    <a:pt x="9" y="40"/>
                    <a:pt x="9" y="40"/>
                  </a:cubicBezTo>
                  <a:cubicBezTo>
                    <a:pt x="8" y="41"/>
                    <a:pt x="7" y="41"/>
                    <a:pt x="6" y="41"/>
                  </a:cubicBezTo>
                  <a:cubicBezTo>
                    <a:pt x="5" y="41"/>
                    <a:pt x="4" y="41"/>
                    <a:pt x="3" y="41"/>
                  </a:cubicBezTo>
                  <a:cubicBezTo>
                    <a:pt x="3" y="42"/>
                    <a:pt x="3" y="42"/>
                    <a:pt x="3" y="42"/>
                  </a:cubicBezTo>
                  <a:cubicBezTo>
                    <a:pt x="1" y="43"/>
                    <a:pt x="1" y="45"/>
                    <a:pt x="0" y="46"/>
                  </a:cubicBezTo>
                  <a:cubicBezTo>
                    <a:pt x="1" y="46"/>
                    <a:pt x="1" y="46"/>
                    <a:pt x="1" y="46"/>
                  </a:cubicBezTo>
                  <a:cubicBezTo>
                    <a:pt x="1" y="46"/>
                    <a:pt x="1" y="46"/>
                    <a:pt x="1" y="46"/>
                  </a:cubicBezTo>
                  <a:cubicBezTo>
                    <a:pt x="3" y="46"/>
                    <a:pt x="5" y="48"/>
                    <a:pt x="6" y="49"/>
                  </a:cubicBezTo>
                  <a:cubicBezTo>
                    <a:pt x="8" y="50"/>
                    <a:pt x="8" y="50"/>
                    <a:pt x="8" y="50"/>
                  </a:cubicBezTo>
                  <a:cubicBezTo>
                    <a:pt x="8" y="51"/>
                    <a:pt x="8" y="51"/>
                    <a:pt x="9" y="51"/>
                  </a:cubicBezTo>
                  <a:cubicBezTo>
                    <a:pt x="10" y="53"/>
                    <a:pt x="10" y="55"/>
                    <a:pt x="10" y="58"/>
                  </a:cubicBezTo>
                  <a:cubicBezTo>
                    <a:pt x="10" y="59"/>
                    <a:pt x="9" y="61"/>
                    <a:pt x="9" y="62"/>
                  </a:cubicBezTo>
                  <a:cubicBezTo>
                    <a:pt x="8" y="63"/>
                    <a:pt x="8" y="63"/>
                    <a:pt x="8" y="63"/>
                  </a:cubicBezTo>
                  <a:cubicBezTo>
                    <a:pt x="8" y="63"/>
                    <a:pt x="8" y="63"/>
                    <a:pt x="8" y="63"/>
                  </a:cubicBezTo>
                  <a:cubicBezTo>
                    <a:pt x="8" y="63"/>
                    <a:pt x="8" y="64"/>
                    <a:pt x="7" y="64"/>
                  </a:cubicBezTo>
                  <a:cubicBezTo>
                    <a:pt x="7" y="64"/>
                    <a:pt x="7" y="64"/>
                    <a:pt x="7" y="64"/>
                  </a:cubicBezTo>
                  <a:cubicBezTo>
                    <a:pt x="7" y="65"/>
                    <a:pt x="7" y="65"/>
                    <a:pt x="7" y="65"/>
                  </a:cubicBezTo>
                  <a:cubicBezTo>
                    <a:pt x="7" y="65"/>
                    <a:pt x="8" y="66"/>
                    <a:pt x="8" y="66"/>
                  </a:cubicBezTo>
                  <a:cubicBezTo>
                    <a:pt x="8" y="67"/>
                    <a:pt x="9" y="67"/>
                    <a:pt x="9" y="68"/>
                  </a:cubicBezTo>
                  <a:cubicBezTo>
                    <a:pt x="10" y="68"/>
                    <a:pt x="10" y="68"/>
                    <a:pt x="10" y="68"/>
                  </a:cubicBezTo>
                  <a:cubicBezTo>
                    <a:pt x="13" y="68"/>
                    <a:pt x="16" y="67"/>
                    <a:pt x="19" y="67"/>
                  </a:cubicBezTo>
                  <a:cubicBezTo>
                    <a:pt x="21" y="66"/>
                    <a:pt x="23" y="66"/>
                    <a:pt x="24" y="66"/>
                  </a:cubicBezTo>
                  <a:cubicBezTo>
                    <a:pt x="26" y="66"/>
                    <a:pt x="26" y="66"/>
                    <a:pt x="26" y="66"/>
                  </a:cubicBezTo>
                  <a:cubicBezTo>
                    <a:pt x="27" y="68"/>
                    <a:pt x="27" y="68"/>
                    <a:pt x="27" y="68"/>
                  </a:cubicBezTo>
                  <a:cubicBezTo>
                    <a:pt x="27" y="69"/>
                    <a:pt x="27" y="70"/>
                    <a:pt x="27" y="70"/>
                  </a:cubicBezTo>
                  <a:cubicBezTo>
                    <a:pt x="27" y="71"/>
                    <a:pt x="26" y="72"/>
                    <a:pt x="26" y="72"/>
                  </a:cubicBezTo>
                  <a:cubicBezTo>
                    <a:pt x="26" y="73"/>
                    <a:pt x="26" y="73"/>
                    <a:pt x="26" y="73"/>
                  </a:cubicBezTo>
                  <a:cubicBezTo>
                    <a:pt x="25" y="73"/>
                    <a:pt x="25" y="73"/>
                    <a:pt x="25" y="73"/>
                  </a:cubicBezTo>
                  <a:cubicBezTo>
                    <a:pt x="25" y="74"/>
                    <a:pt x="26" y="74"/>
                    <a:pt x="26" y="75"/>
                  </a:cubicBezTo>
                  <a:cubicBezTo>
                    <a:pt x="26" y="76"/>
                    <a:pt x="26" y="76"/>
                    <a:pt x="26" y="76"/>
                  </a:cubicBezTo>
                  <a:cubicBezTo>
                    <a:pt x="26" y="76"/>
                    <a:pt x="27" y="77"/>
                    <a:pt x="27" y="77"/>
                  </a:cubicBezTo>
                  <a:cubicBezTo>
                    <a:pt x="28" y="79"/>
                    <a:pt x="29" y="81"/>
                    <a:pt x="28" y="83"/>
                  </a:cubicBezTo>
                  <a:cubicBezTo>
                    <a:pt x="28" y="84"/>
                    <a:pt x="27" y="85"/>
                    <a:pt x="27" y="85"/>
                  </a:cubicBezTo>
                  <a:cubicBezTo>
                    <a:pt x="26" y="86"/>
                    <a:pt x="26" y="86"/>
                    <a:pt x="26" y="86"/>
                  </a:cubicBezTo>
                  <a:cubicBezTo>
                    <a:pt x="26" y="86"/>
                    <a:pt x="26" y="87"/>
                    <a:pt x="26" y="87"/>
                  </a:cubicBezTo>
                  <a:cubicBezTo>
                    <a:pt x="26" y="88"/>
                    <a:pt x="26" y="88"/>
                    <a:pt x="26" y="88"/>
                  </a:cubicBezTo>
                  <a:cubicBezTo>
                    <a:pt x="26" y="89"/>
                    <a:pt x="26" y="89"/>
                    <a:pt x="26" y="89"/>
                  </a:cubicBezTo>
                  <a:cubicBezTo>
                    <a:pt x="26" y="90"/>
                    <a:pt x="26" y="91"/>
                    <a:pt x="25" y="93"/>
                  </a:cubicBezTo>
                  <a:cubicBezTo>
                    <a:pt x="25" y="94"/>
                    <a:pt x="24" y="94"/>
                    <a:pt x="24" y="95"/>
                  </a:cubicBezTo>
                  <a:cubicBezTo>
                    <a:pt x="23" y="96"/>
                    <a:pt x="23" y="96"/>
                    <a:pt x="23" y="96"/>
                  </a:cubicBezTo>
                  <a:cubicBezTo>
                    <a:pt x="23" y="97"/>
                    <a:pt x="22" y="97"/>
                    <a:pt x="22" y="98"/>
                  </a:cubicBezTo>
                  <a:cubicBezTo>
                    <a:pt x="22" y="99"/>
                    <a:pt x="23" y="100"/>
                    <a:pt x="23" y="101"/>
                  </a:cubicBezTo>
                  <a:cubicBezTo>
                    <a:pt x="24" y="102"/>
                    <a:pt x="24" y="104"/>
                    <a:pt x="24" y="106"/>
                  </a:cubicBezTo>
                  <a:cubicBezTo>
                    <a:pt x="24" y="107"/>
                    <a:pt x="23" y="108"/>
                    <a:pt x="23" y="109"/>
                  </a:cubicBezTo>
                  <a:cubicBezTo>
                    <a:pt x="27" y="111"/>
                    <a:pt x="27" y="111"/>
                    <a:pt x="27" y="111"/>
                  </a:cubicBezTo>
                  <a:cubicBezTo>
                    <a:pt x="22" y="110"/>
                    <a:pt x="22" y="110"/>
                    <a:pt x="22" y="110"/>
                  </a:cubicBezTo>
                  <a:cubicBezTo>
                    <a:pt x="21" y="112"/>
                    <a:pt x="21" y="112"/>
                    <a:pt x="21" y="112"/>
                  </a:cubicBezTo>
                  <a:cubicBezTo>
                    <a:pt x="20" y="114"/>
                    <a:pt x="19" y="115"/>
                    <a:pt x="19" y="116"/>
                  </a:cubicBezTo>
                  <a:cubicBezTo>
                    <a:pt x="20" y="116"/>
                    <a:pt x="20" y="116"/>
                    <a:pt x="21" y="117"/>
                  </a:cubicBezTo>
                  <a:cubicBezTo>
                    <a:pt x="21" y="116"/>
                    <a:pt x="21" y="116"/>
                    <a:pt x="21" y="116"/>
                  </a:cubicBezTo>
                  <a:cubicBezTo>
                    <a:pt x="25" y="113"/>
                    <a:pt x="28" y="110"/>
                    <a:pt x="31" y="108"/>
                  </a:cubicBezTo>
                  <a:cubicBezTo>
                    <a:pt x="31" y="107"/>
                    <a:pt x="32" y="107"/>
                    <a:pt x="33" y="106"/>
                  </a:cubicBezTo>
                  <a:cubicBezTo>
                    <a:pt x="35" y="104"/>
                    <a:pt x="35" y="104"/>
                    <a:pt x="35" y="104"/>
                  </a:cubicBezTo>
                  <a:cubicBezTo>
                    <a:pt x="37" y="103"/>
                    <a:pt x="39" y="102"/>
                    <a:pt x="40" y="101"/>
                  </a:cubicBezTo>
                  <a:cubicBezTo>
                    <a:pt x="41" y="100"/>
                    <a:pt x="42" y="100"/>
                    <a:pt x="43" y="100"/>
                  </a:cubicBezTo>
                  <a:cubicBezTo>
                    <a:pt x="43" y="100"/>
                    <a:pt x="43" y="100"/>
                    <a:pt x="43" y="100"/>
                  </a:cubicBezTo>
                  <a:cubicBezTo>
                    <a:pt x="44" y="100"/>
                    <a:pt x="45" y="100"/>
                    <a:pt x="46" y="100"/>
                  </a:cubicBezTo>
                  <a:cubicBezTo>
                    <a:pt x="46" y="100"/>
                    <a:pt x="46" y="100"/>
                    <a:pt x="46" y="100"/>
                  </a:cubicBezTo>
                  <a:cubicBezTo>
                    <a:pt x="49" y="102"/>
                    <a:pt x="49" y="102"/>
                    <a:pt x="49" y="102"/>
                  </a:cubicBezTo>
                  <a:cubicBezTo>
                    <a:pt x="51" y="104"/>
                    <a:pt x="53" y="106"/>
                    <a:pt x="56" y="108"/>
                  </a:cubicBezTo>
                  <a:cubicBezTo>
                    <a:pt x="57" y="107"/>
                    <a:pt x="57" y="107"/>
                    <a:pt x="57" y="107"/>
                  </a:cubicBezTo>
                  <a:cubicBezTo>
                    <a:pt x="58" y="106"/>
                    <a:pt x="58" y="106"/>
                    <a:pt x="59" y="105"/>
                  </a:cubicBezTo>
                  <a:cubicBezTo>
                    <a:pt x="61" y="105"/>
                    <a:pt x="62" y="105"/>
                    <a:pt x="63" y="105"/>
                  </a:cubicBezTo>
                  <a:cubicBezTo>
                    <a:pt x="64" y="105"/>
                    <a:pt x="64" y="105"/>
                    <a:pt x="64" y="105"/>
                  </a:cubicBezTo>
                  <a:cubicBezTo>
                    <a:pt x="64" y="104"/>
                    <a:pt x="64" y="104"/>
                    <a:pt x="64" y="104"/>
                  </a:cubicBezTo>
                  <a:cubicBezTo>
                    <a:pt x="64" y="104"/>
                    <a:pt x="64" y="102"/>
                    <a:pt x="65" y="101"/>
                  </a:cubicBezTo>
                  <a:cubicBezTo>
                    <a:pt x="67" y="100"/>
                    <a:pt x="68" y="98"/>
                    <a:pt x="69" y="97"/>
                  </a:cubicBezTo>
                  <a:cubicBezTo>
                    <a:pt x="70" y="97"/>
                    <a:pt x="70" y="97"/>
                    <a:pt x="70" y="97"/>
                  </a:cubicBezTo>
                  <a:cubicBezTo>
                    <a:pt x="72" y="95"/>
                    <a:pt x="73" y="94"/>
                    <a:pt x="75" y="94"/>
                  </a:cubicBezTo>
                  <a:cubicBezTo>
                    <a:pt x="76" y="94"/>
                    <a:pt x="76" y="94"/>
                    <a:pt x="76" y="94"/>
                  </a:cubicBezTo>
                  <a:cubicBezTo>
                    <a:pt x="76" y="94"/>
                    <a:pt x="77" y="94"/>
                    <a:pt x="78" y="94"/>
                  </a:cubicBezTo>
                  <a:cubicBezTo>
                    <a:pt x="80" y="95"/>
                    <a:pt x="80" y="95"/>
                    <a:pt x="80" y="95"/>
                  </a:cubicBezTo>
                  <a:cubicBezTo>
                    <a:pt x="81" y="95"/>
                    <a:pt x="82" y="95"/>
                    <a:pt x="83" y="95"/>
                  </a:cubicBezTo>
                  <a:cubicBezTo>
                    <a:pt x="87" y="96"/>
                    <a:pt x="90" y="97"/>
                    <a:pt x="92" y="101"/>
                  </a:cubicBezTo>
                  <a:cubicBezTo>
                    <a:pt x="93" y="102"/>
                    <a:pt x="93" y="102"/>
                    <a:pt x="93" y="102"/>
                  </a:cubicBezTo>
                  <a:cubicBezTo>
                    <a:pt x="96" y="99"/>
                    <a:pt x="96" y="99"/>
                    <a:pt x="96" y="99"/>
                  </a:cubicBezTo>
                  <a:cubicBezTo>
                    <a:pt x="93" y="103"/>
                    <a:pt x="93" y="103"/>
                    <a:pt x="93" y="103"/>
                  </a:cubicBezTo>
                  <a:cubicBezTo>
                    <a:pt x="95" y="105"/>
                    <a:pt x="95" y="105"/>
                    <a:pt x="95" y="105"/>
                  </a:cubicBezTo>
                  <a:cubicBezTo>
                    <a:pt x="95" y="105"/>
                    <a:pt x="95" y="106"/>
                    <a:pt x="96" y="106"/>
                  </a:cubicBezTo>
                  <a:cubicBezTo>
                    <a:pt x="97" y="110"/>
                    <a:pt x="101" y="113"/>
                    <a:pt x="104" y="115"/>
                  </a:cubicBezTo>
                  <a:cubicBezTo>
                    <a:pt x="105" y="117"/>
                    <a:pt x="107" y="118"/>
                    <a:pt x="108" y="119"/>
                  </a:cubicBezTo>
                  <a:cubicBezTo>
                    <a:pt x="109" y="121"/>
                    <a:pt x="110" y="122"/>
                    <a:pt x="110" y="123"/>
                  </a:cubicBezTo>
                  <a:cubicBezTo>
                    <a:pt x="115" y="122"/>
                    <a:pt x="115" y="122"/>
                    <a:pt x="115" y="122"/>
                  </a:cubicBezTo>
                  <a:cubicBezTo>
                    <a:pt x="110" y="124"/>
                    <a:pt x="110" y="124"/>
                    <a:pt x="110" y="124"/>
                  </a:cubicBezTo>
                  <a:cubicBezTo>
                    <a:pt x="110" y="125"/>
                    <a:pt x="110" y="125"/>
                    <a:pt x="110" y="125"/>
                  </a:cubicBezTo>
                  <a:cubicBezTo>
                    <a:pt x="110" y="126"/>
                    <a:pt x="110" y="126"/>
                    <a:pt x="110" y="126"/>
                  </a:cubicBezTo>
                  <a:cubicBezTo>
                    <a:pt x="110" y="127"/>
                    <a:pt x="110" y="127"/>
                    <a:pt x="110" y="128"/>
                  </a:cubicBezTo>
                  <a:cubicBezTo>
                    <a:pt x="110" y="128"/>
                    <a:pt x="110" y="128"/>
                    <a:pt x="110" y="128"/>
                  </a:cubicBezTo>
                  <a:cubicBezTo>
                    <a:pt x="109" y="129"/>
                    <a:pt x="109" y="130"/>
                    <a:pt x="109" y="131"/>
                  </a:cubicBezTo>
                  <a:cubicBezTo>
                    <a:pt x="109" y="132"/>
                    <a:pt x="109" y="132"/>
                    <a:pt x="109" y="132"/>
                  </a:cubicBezTo>
                  <a:cubicBezTo>
                    <a:pt x="108" y="134"/>
                    <a:pt x="108" y="137"/>
                    <a:pt x="108" y="139"/>
                  </a:cubicBezTo>
                  <a:cubicBezTo>
                    <a:pt x="108" y="140"/>
                    <a:pt x="108" y="140"/>
                    <a:pt x="108" y="140"/>
                  </a:cubicBezTo>
                  <a:cubicBezTo>
                    <a:pt x="108" y="140"/>
                    <a:pt x="108" y="141"/>
                    <a:pt x="109" y="141"/>
                  </a:cubicBezTo>
                  <a:cubicBezTo>
                    <a:pt x="109" y="141"/>
                    <a:pt x="109" y="142"/>
                    <a:pt x="109" y="142"/>
                  </a:cubicBezTo>
                  <a:cubicBezTo>
                    <a:pt x="110" y="143"/>
                    <a:pt x="110" y="143"/>
                    <a:pt x="110" y="143"/>
                  </a:cubicBezTo>
                  <a:cubicBezTo>
                    <a:pt x="111" y="144"/>
                    <a:pt x="111" y="145"/>
                    <a:pt x="112" y="146"/>
                  </a:cubicBezTo>
                  <a:cubicBezTo>
                    <a:pt x="113" y="147"/>
                    <a:pt x="114" y="148"/>
                    <a:pt x="115" y="149"/>
                  </a:cubicBezTo>
                  <a:cubicBezTo>
                    <a:pt x="115" y="149"/>
                    <a:pt x="115" y="149"/>
                    <a:pt x="115" y="149"/>
                  </a:cubicBezTo>
                  <a:cubicBezTo>
                    <a:pt x="115" y="150"/>
                    <a:pt x="116" y="151"/>
                    <a:pt x="116" y="151"/>
                  </a:cubicBezTo>
                  <a:cubicBezTo>
                    <a:pt x="116" y="151"/>
                    <a:pt x="118" y="152"/>
                    <a:pt x="120" y="152"/>
                  </a:cubicBezTo>
                  <a:cubicBezTo>
                    <a:pt x="120" y="152"/>
                    <a:pt x="120" y="152"/>
                    <a:pt x="120" y="152"/>
                  </a:cubicBezTo>
                  <a:cubicBezTo>
                    <a:pt x="121" y="152"/>
                    <a:pt x="122" y="152"/>
                    <a:pt x="122" y="153"/>
                  </a:cubicBezTo>
                  <a:cubicBezTo>
                    <a:pt x="129" y="154"/>
                    <a:pt x="129" y="154"/>
                    <a:pt x="129" y="154"/>
                  </a:cubicBezTo>
                  <a:cubicBezTo>
                    <a:pt x="123" y="158"/>
                    <a:pt x="123" y="158"/>
                    <a:pt x="123" y="158"/>
                  </a:cubicBezTo>
                  <a:cubicBezTo>
                    <a:pt x="123" y="158"/>
                    <a:pt x="123" y="158"/>
                    <a:pt x="123" y="158"/>
                  </a:cubicBezTo>
                  <a:cubicBezTo>
                    <a:pt x="124" y="159"/>
                    <a:pt x="124" y="159"/>
                    <a:pt x="124" y="159"/>
                  </a:cubicBezTo>
                  <a:cubicBezTo>
                    <a:pt x="124" y="159"/>
                    <a:pt x="125" y="159"/>
                    <a:pt x="125" y="160"/>
                  </a:cubicBezTo>
                  <a:cubicBezTo>
                    <a:pt x="126" y="160"/>
                    <a:pt x="126" y="160"/>
                    <a:pt x="126" y="160"/>
                  </a:cubicBezTo>
                  <a:cubicBezTo>
                    <a:pt x="126" y="160"/>
                    <a:pt x="127" y="161"/>
                    <a:pt x="127" y="161"/>
                  </a:cubicBezTo>
                  <a:cubicBezTo>
                    <a:pt x="128" y="162"/>
                    <a:pt x="128" y="162"/>
                    <a:pt x="128" y="163"/>
                  </a:cubicBezTo>
                  <a:cubicBezTo>
                    <a:pt x="129" y="164"/>
                    <a:pt x="129" y="166"/>
                    <a:pt x="129" y="167"/>
                  </a:cubicBezTo>
                  <a:cubicBezTo>
                    <a:pt x="128" y="170"/>
                    <a:pt x="127" y="171"/>
                    <a:pt x="126" y="172"/>
                  </a:cubicBezTo>
                  <a:cubicBezTo>
                    <a:pt x="126" y="172"/>
                    <a:pt x="126" y="172"/>
                    <a:pt x="125" y="172"/>
                  </a:cubicBezTo>
                  <a:cubicBezTo>
                    <a:pt x="125" y="172"/>
                    <a:pt x="125" y="173"/>
                    <a:pt x="125" y="174"/>
                  </a:cubicBezTo>
                  <a:cubicBezTo>
                    <a:pt x="125" y="176"/>
                    <a:pt x="126" y="179"/>
                    <a:pt x="126" y="181"/>
                  </a:cubicBezTo>
                  <a:cubicBezTo>
                    <a:pt x="127" y="184"/>
                    <a:pt x="128" y="188"/>
                    <a:pt x="127" y="192"/>
                  </a:cubicBezTo>
                  <a:cubicBezTo>
                    <a:pt x="126" y="192"/>
                    <a:pt x="126" y="192"/>
                    <a:pt x="126" y="193"/>
                  </a:cubicBezTo>
                  <a:cubicBezTo>
                    <a:pt x="125" y="194"/>
                    <a:pt x="125" y="194"/>
                    <a:pt x="124" y="195"/>
                  </a:cubicBezTo>
                  <a:cubicBezTo>
                    <a:pt x="123" y="195"/>
                    <a:pt x="122" y="196"/>
                    <a:pt x="122" y="196"/>
                  </a:cubicBezTo>
                  <a:cubicBezTo>
                    <a:pt x="121" y="196"/>
                    <a:pt x="121" y="196"/>
                    <a:pt x="121" y="196"/>
                  </a:cubicBezTo>
                  <a:cubicBezTo>
                    <a:pt x="122" y="197"/>
                    <a:pt x="122" y="198"/>
                    <a:pt x="123" y="198"/>
                  </a:cubicBezTo>
                  <a:cubicBezTo>
                    <a:pt x="123" y="198"/>
                    <a:pt x="123" y="198"/>
                    <a:pt x="123" y="198"/>
                  </a:cubicBezTo>
                  <a:cubicBezTo>
                    <a:pt x="123" y="198"/>
                    <a:pt x="124" y="198"/>
                    <a:pt x="125" y="198"/>
                  </a:cubicBezTo>
                  <a:cubicBezTo>
                    <a:pt x="125" y="198"/>
                    <a:pt x="126" y="198"/>
                    <a:pt x="127" y="198"/>
                  </a:cubicBezTo>
                  <a:cubicBezTo>
                    <a:pt x="127" y="198"/>
                    <a:pt x="127" y="198"/>
                    <a:pt x="127" y="198"/>
                  </a:cubicBezTo>
                  <a:cubicBezTo>
                    <a:pt x="127" y="198"/>
                    <a:pt x="128" y="198"/>
                    <a:pt x="128" y="198"/>
                  </a:cubicBezTo>
                  <a:cubicBezTo>
                    <a:pt x="130" y="198"/>
                    <a:pt x="131" y="199"/>
                    <a:pt x="132" y="200"/>
                  </a:cubicBezTo>
                  <a:cubicBezTo>
                    <a:pt x="133" y="201"/>
                    <a:pt x="133" y="201"/>
                    <a:pt x="133" y="201"/>
                  </a:cubicBezTo>
                  <a:cubicBezTo>
                    <a:pt x="133" y="201"/>
                    <a:pt x="134" y="202"/>
                    <a:pt x="134" y="202"/>
                  </a:cubicBezTo>
                  <a:cubicBezTo>
                    <a:pt x="134" y="202"/>
                    <a:pt x="134" y="202"/>
                    <a:pt x="134" y="202"/>
                  </a:cubicBezTo>
                  <a:cubicBezTo>
                    <a:pt x="135" y="202"/>
                    <a:pt x="135" y="202"/>
                    <a:pt x="135" y="202"/>
                  </a:cubicBezTo>
                  <a:cubicBezTo>
                    <a:pt x="135" y="202"/>
                    <a:pt x="135" y="202"/>
                    <a:pt x="135" y="202"/>
                  </a:cubicBezTo>
                  <a:cubicBezTo>
                    <a:pt x="136" y="202"/>
                    <a:pt x="136" y="202"/>
                    <a:pt x="136" y="202"/>
                  </a:cubicBezTo>
                  <a:cubicBezTo>
                    <a:pt x="136" y="202"/>
                    <a:pt x="136" y="202"/>
                    <a:pt x="136" y="202"/>
                  </a:cubicBezTo>
                  <a:cubicBezTo>
                    <a:pt x="136" y="202"/>
                    <a:pt x="136" y="202"/>
                    <a:pt x="136" y="202"/>
                  </a:cubicBezTo>
                  <a:cubicBezTo>
                    <a:pt x="136" y="202"/>
                    <a:pt x="136" y="201"/>
                    <a:pt x="134" y="199"/>
                  </a:cubicBezTo>
                  <a:cubicBezTo>
                    <a:pt x="133" y="198"/>
                    <a:pt x="133" y="197"/>
                    <a:pt x="132" y="196"/>
                  </a:cubicBezTo>
                  <a:cubicBezTo>
                    <a:pt x="129" y="189"/>
                    <a:pt x="129" y="189"/>
                    <a:pt x="129" y="189"/>
                  </a:cubicBezTo>
                  <a:cubicBezTo>
                    <a:pt x="136" y="192"/>
                    <a:pt x="136" y="192"/>
                    <a:pt x="136" y="192"/>
                  </a:cubicBezTo>
                  <a:cubicBezTo>
                    <a:pt x="136" y="192"/>
                    <a:pt x="136" y="192"/>
                    <a:pt x="136" y="192"/>
                  </a:cubicBezTo>
                  <a:cubicBezTo>
                    <a:pt x="137" y="192"/>
                    <a:pt x="137" y="192"/>
                    <a:pt x="139" y="190"/>
                  </a:cubicBezTo>
                  <a:cubicBezTo>
                    <a:pt x="140" y="190"/>
                    <a:pt x="140" y="190"/>
                    <a:pt x="140" y="190"/>
                  </a:cubicBezTo>
                  <a:cubicBezTo>
                    <a:pt x="141" y="189"/>
                    <a:pt x="143" y="188"/>
                    <a:pt x="144" y="187"/>
                  </a:cubicBezTo>
                  <a:cubicBezTo>
                    <a:pt x="145" y="187"/>
                    <a:pt x="146" y="187"/>
                    <a:pt x="146" y="187"/>
                  </a:cubicBezTo>
                  <a:cubicBezTo>
                    <a:pt x="146" y="186"/>
                    <a:pt x="146" y="186"/>
                    <a:pt x="146" y="186"/>
                  </a:cubicBezTo>
                  <a:cubicBezTo>
                    <a:pt x="147" y="186"/>
                    <a:pt x="147" y="186"/>
                    <a:pt x="148" y="186"/>
                  </a:cubicBezTo>
                  <a:cubicBezTo>
                    <a:pt x="149" y="186"/>
                    <a:pt x="149" y="186"/>
                    <a:pt x="149" y="186"/>
                  </a:cubicBezTo>
                  <a:cubicBezTo>
                    <a:pt x="150" y="187"/>
                    <a:pt x="151" y="188"/>
                    <a:pt x="151" y="189"/>
                  </a:cubicBezTo>
                  <a:cubicBezTo>
                    <a:pt x="151" y="189"/>
                    <a:pt x="152" y="189"/>
                    <a:pt x="152" y="190"/>
                  </a:cubicBezTo>
                  <a:cubicBezTo>
                    <a:pt x="157" y="192"/>
                    <a:pt x="157" y="192"/>
                    <a:pt x="157" y="192"/>
                  </a:cubicBezTo>
                  <a:cubicBezTo>
                    <a:pt x="157" y="192"/>
                    <a:pt x="158" y="192"/>
                    <a:pt x="158" y="192"/>
                  </a:cubicBezTo>
                  <a:cubicBezTo>
                    <a:pt x="158" y="192"/>
                    <a:pt x="158" y="192"/>
                    <a:pt x="158" y="192"/>
                  </a:cubicBezTo>
                  <a:cubicBezTo>
                    <a:pt x="158" y="192"/>
                    <a:pt x="158" y="192"/>
                    <a:pt x="158" y="192"/>
                  </a:cubicBezTo>
                  <a:cubicBezTo>
                    <a:pt x="160" y="191"/>
                    <a:pt x="162" y="189"/>
                    <a:pt x="164" y="188"/>
                  </a:cubicBezTo>
                  <a:cubicBezTo>
                    <a:pt x="166" y="186"/>
                    <a:pt x="166" y="186"/>
                    <a:pt x="166" y="186"/>
                  </a:cubicBezTo>
                  <a:cubicBezTo>
                    <a:pt x="167" y="186"/>
                    <a:pt x="167" y="186"/>
                    <a:pt x="168" y="185"/>
                  </a:cubicBezTo>
                  <a:cubicBezTo>
                    <a:pt x="168" y="185"/>
                    <a:pt x="168" y="185"/>
                    <a:pt x="168" y="185"/>
                  </a:cubicBezTo>
                  <a:cubicBezTo>
                    <a:pt x="168" y="184"/>
                    <a:pt x="168" y="184"/>
                    <a:pt x="168" y="184"/>
                  </a:cubicBezTo>
                  <a:cubicBezTo>
                    <a:pt x="168" y="184"/>
                    <a:pt x="168" y="183"/>
                    <a:pt x="168" y="183"/>
                  </a:cubicBezTo>
                  <a:cubicBezTo>
                    <a:pt x="168" y="183"/>
                    <a:pt x="168" y="183"/>
                    <a:pt x="168" y="183"/>
                  </a:cubicBezTo>
                  <a:cubicBezTo>
                    <a:pt x="167" y="182"/>
                    <a:pt x="167" y="182"/>
                    <a:pt x="167" y="181"/>
                  </a:cubicBezTo>
                  <a:cubicBezTo>
                    <a:pt x="166" y="178"/>
                    <a:pt x="169" y="176"/>
                    <a:pt x="170" y="175"/>
                  </a:cubicBezTo>
                  <a:cubicBezTo>
                    <a:pt x="171" y="174"/>
                    <a:pt x="171" y="174"/>
                    <a:pt x="171" y="174"/>
                  </a:cubicBezTo>
                  <a:cubicBezTo>
                    <a:pt x="171" y="172"/>
                    <a:pt x="170" y="171"/>
                    <a:pt x="169" y="170"/>
                  </a:cubicBezTo>
                  <a:cubicBezTo>
                    <a:pt x="168" y="170"/>
                    <a:pt x="168" y="170"/>
                    <a:pt x="168" y="170"/>
                  </a:cubicBezTo>
                  <a:cubicBezTo>
                    <a:pt x="166" y="168"/>
                    <a:pt x="163" y="166"/>
                    <a:pt x="161" y="163"/>
                  </a:cubicBezTo>
                  <a:cubicBezTo>
                    <a:pt x="160" y="162"/>
                    <a:pt x="160" y="161"/>
                    <a:pt x="160" y="160"/>
                  </a:cubicBezTo>
                  <a:cubicBezTo>
                    <a:pt x="160" y="158"/>
                    <a:pt x="161" y="157"/>
                    <a:pt x="163" y="156"/>
                  </a:cubicBezTo>
                  <a:cubicBezTo>
                    <a:pt x="163" y="156"/>
                    <a:pt x="163" y="156"/>
                    <a:pt x="164" y="156"/>
                  </a:cubicBezTo>
                  <a:cubicBezTo>
                    <a:pt x="165" y="155"/>
                    <a:pt x="165" y="155"/>
                    <a:pt x="165" y="155"/>
                  </a:cubicBezTo>
                  <a:cubicBezTo>
                    <a:pt x="165" y="155"/>
                    <a:pt x="165" y="155"/>
                    <a:pt x="165" y="155"/>
                  </a:cubicBezTo>
                  <a:cubicBezTo>
                    <a:pt x="166" y="155"/>
                    <a:pt x="166" y="155"/>
                    <a:pt x="166" y="155"/>
                  </a:cubicBezTo>
                  <a:cubicBezTo>
                    <a:pt x="165" y="155"/>
                    <a:pt x="164" y="154"/>
                    <a:pt x="163" y="154"/>
                  </a:cubicBezTo>
                  <a:cubicBezTo>
                    <a:pt x="163" y="153"/>
                    <a:pt x="162" y="153"/>
                    <a:pt x="161" y="153"/>
                  </a:cubicBezTo>
                  <a:cubicBezTo>
                    <a:pt x="161" y="152"/>
                    <a:pt x="160" y="152"/>
                    <a:pt x="160" y="151"/>
                  </a:cubicBezTo>
                  <a:cubicBezTo>
                    <a:pt x="159" y="151"/>
                    <a:pt x="159" y="151"/>
                    <a:pt x="159" y="151"/>
                  </a:cubicBezTo>
                  <a:cubicBezTo>
                    <a:pt x="159" y="151"/>
                    <a:pt x="159" y="151"/>
                    <a:pt x="159" y="151"/>
                  </a:cubicBezTo>
                  <a:cubicBezTo>
                    <a:pt x="159" y="151"/>
                    <a:pt x="158" y="151"/>
                    <a:pt x="157" y="151"/>
                  </a:cubicBezTo>
                  <a:cubicBezTo>
                    <a:pt x="157" y="151"/>
                    <a:pt x="157" y="151"/>
                    <a:pt x="157" y="151"/>
                  </a:cubicBezTo>
                  <a:cubicBezTo>
                    <a:pt x="157" y="150"/>
                    <a:pt x="157" y="150"/>
                    <a:pt x="157" y="150"/>
                  </a:cubicBezTo>
                  <a:cubicBezTo>
                    <a:pt x="156" y="150"/>
                    <a:pt x="156" y="149"/>
                    <a:pt x="155" y="148"/>
                  </a:cubicBezTo>
                  <a:cubicBezTo>
                    <a:pt x="155" y="148"/>
                    <a:pt x="155" y="148"/>
                    <a:pt x="155" y="148"/>
                  </a:cubicBezTo>
                  <a:cubicBezTo>
                    <a:pt x="155" y="147"/>
                    <a:pt x="155" y="147"/>
                    <a:pt x="154" y="146"/>
                  </a:cubicBezTo>
                  <a:cubicBezTo>
                    <a:pt x="154" y="146"/>
                    <a:pt x="154" y="146"/>
                    <a:pt x="154" y="146"/>
                  </a:cubicBezTo>
                  <a:cubicBezTo>
                    <a:pt x="154" y="146"/>
                    <a:pt x="153" y="147"/>
                    <a:pt x="152" y="147"/>
                  </a:cubicBezTo>
                  <a:cubicBezTo>
                    <a:pt x="152" y="147"/>
                    <a:pt x="152" y="147"/>
                    <a:pt x="152" y="147"/>
                  </a:cubicBezTo>
                  <a:cubicBezTo>
                    <a:pt x="152" y="147"/>
                    <a:pt x="152" y="147"/>
                    <a:pt x="152" y="147"/>
                  </a:cubicBezTo>
                  <a:cubicBezTo>
                    <a:pt x="150" y="147"/>
                    <a:pt x="148" y="146"/>
                    <a:pt x="147" y="145"/>
                  </a:cubicBezTo>
                  <a:cubicBezTo>
                    <a:pt x="147" y="145"/>
                    <a:pt x="147" y="145"/>
                    <a:pt x="147" y="145"/>
                  </a:cubicBezTo>
                  <a:cubicBezTo>
                    <a:pt x="147" y="144"/>
                    <a:pt x="147" y="144"/>
                    <a:pt x="147" y="144"/>
                  </a:cubicBezTo>
                  <a:cubicBezTo>
                    <a:pt x="147" y="144"/>
                    <a:pt x="146" y="143"/>
                    <a:pt x="146" y="142"/>
                  </a:cubicBezTo>
                  <a:cubicBezTo>
                    <a:pt x="147" y="141"/>
                    <a:pt x="147" y="141"/>
                    <a:pt x="147" y="141"/>
                  </a:cubicBezTo>
                  <a:cubicBezTo>
                    <a:pt x="147" y="141"/>
                    <a:pt x="147" y="141"/>
                    <a:pt x="147" y="141"/>
                  </a:cubicBezTo>
                  <a:cubicBezTo>
                    <a:pt x="146" y="142"/>
                    <a:pt x="146" y="142"/>
                    <a:pt x="146" y="142"/>
                  </a:cubicBezTo>
                  <a:cubicBezTo>
                    <a:pt x="146" y="141"/>
                    <a:pt x="146" y="140"/>
                    <a:pt x="145" y="139"/>
                  </a:cubicBezTo>
                  <a:cubicBezTo>
                    <a:pt x="145" y="138"/>
                    <a:pt x="145" y="137"/>
                    <a:pt x="145" y="137"/>
                  </a:cubicBezTo>
                  <a:cubicBezTo>
                    <a:pt x="145" y="136"/>
                    <a:pt x="145" y="136"/>
                    <a:pt x="145" y="136"/>
                  </a:cubicBezTo>
                  <a:cubicBezTo>
                    <a:pt x="145" y="135"/>
                    <a:pt x="145" y="135"/>
                    <a:pt x="145" y="134"/>
                  </a:cubicBezTo>
                  <a:cubicBezTo>
                    <a:pt x="144" y="134"/>
                    <a:pt x="143" y="133"/>
                    <a:pt x="143" y="132"/>
                  </a:cubicBezTo>
                  <a:cubicBezTo>
                    <a:pt x="142" y="132"/>
                    <a:pt x="142" y="132"/>
                    <a:pt x="142" y="132"/>
                  </a:cubicBezTo>
                  <a:cubicBezTo>
                    <a:pt x="142" y="131"/>
                    <a:pt x="142" y="131"/>
                    <a:pt x="142" y="131"/>
                  </a:cubicBezTo>
                  <a:cubicBezTo>
                    <a:pt x="142" y="130"/>
                    <a:pt x="142" y="130"/>
                    <a:pt x="142" y="130"/>
                  </a:cubicBezTo>
                  <a:cubicBezTo>
                    <a:pt x="141" y="128"/>
                    <a:pt x="141" y="128"/>
                    <a:pt x="141" y="128"/>
                  </a:cubicBezTo>
                  <a:cubicBezTo>
                    <a:pt x="141" y="127"/>
                    <a:pt x="141" y="127"/>
                    <a:pt x="140" y="127"/>
                  </a:cubicBezTo>
                  <a:cubicBezTo>
                    <a:pt x="140" y="126"/>
                    <a:pt x="139" y="126"/>
                    <a:pt x="138" y="125"/>
                  </a:cubicBezTo>
                  <a:cubicBezTo>
                    <a:pt x="137" y="124"/>
                    <a:pt x="137" y="124"/>
                    <a:pt x="137" y="124"/>
                  </a:cubicBezTo>
                  <a:cubicBezTo>
                    <a:pt x="136" y="124"/>
                    <a:pt x="136" y="123"/>
                    <a:pt x="135" y="123"/>
                  </a:cubicBezTo>
                  <a:cubicBezTo>
                    <a:pt x="135" y="122"/>
                    <a:pt x="135" y="122"/>
                    <a:pt x="135" y="122"/>
                  </a:cubicBezTo>
                  <a:cubicBezTo>
                    <a:pt x="132" y="121"/>
                    <a:pt x="130" y="120"/>
                    <a:pt x="128" y="118"/>
                  </a:cubicBezTo>
                  <a:cubicBezTo>
                    <a:pt x="128" y="117"/>
                    <a:pt x="128" y="117"/>
                    <a:pt x="128" y="117"/>
                  </a:cubicBezTo>
                  <a:cubicBezTo>
                    <a:pt x="127" y="117"/>
                    <a:pt x="126" y="116"/>
                    <a:pt x="126" y="114"/>
                  </a:cubicBezTo>
                  <a:cubicBezTo>
                    <a:pt x="126" y="114"/>
                    <a:pt x="126" y="114"/>
                    <a:pt x="126" y="114"/>
                  </a:cubicBezTo>
                  <a:cubicBezTo>
                    <a:pt x="125" y="111"/>
                    <a:pt x="124" y="110"/>
                    <a:pt x="122" y="108"/>
                  </a:cubicBezTo>
                  <a:cubicBezTo>
                    <a:pt x="122" y="108"/>
                    <a:pt x="122" y="108"/>
                    <a:pt x="122" y="108"/>
                  </a:cubicBezTo>
                  <a:cubicBezTo>
                    <a:pt x="119" y="106"/>
                    <a:pt x="114" y="103"/>
                    <a:pt x="112" y="99"/>
                  </a:cubicBezTo>
                  <a:cubicBezTo>
                    <a:pt x="112" y="98"/>
                    <a:pt x="112" y="97"/>
                    <a:pt x="112" y="97"/>
                  </a:cubicBezTo>
                  <a:cubicBezTo>
                    <a:pt x="112" y="96"/>
                    <a:pt x="112" y="96"/>
                    <a:pt x="112" y="96"/>
                  </a:cubicBezTo>
                  <a:cubicBezTo>
                    <a:pt x="112" y="95"/>
                    <a:pt x="112" y="94"/>
                    <a:pt x="112" y="93"/>
                  </a:cubicBezTo>
                  <a:cubicBezTo>
                    <a:pt x="112" y="93"/>
                    <a:pt x="112" y="93"/>
                    <a:pt x="112" y="93"/>
                  </a:cubicBezTo>
                  <a:cubicBezTo>
                    <a:pt x="111" y="92"/>
                    <a:pt x="109" y="92"/>
                    <a:pt x="107" y="91"/>
                  </a:cubicBezTo>
                  <a:cubicBezTo>
                    <a:pt x="106" y="90"/>
                    <a:pt x="106" y="90"/>
                    <a:pt x="106" y="90"/>
                  </a:cubicBezTo>
                  <a:cubicBezTo>
                    <a:pt x="99" y="87"/>
                    <a:pt x="90" y="82"/>
                    <a:pt x="83" y="77"/>
                  </a:cubicBezTo>
                  <a:cubicBezTo>
                    <a:pt x="79" y="74"/>
                    <a:pt x="79" y="74"/>
                    <a:pt x="79" y="74"/>
                  </a:cubicBezTo>
                  <a:cubicBezTo>
                    <a:pt x="84" y="72"/>
                    <a:pt x="84" y="72"/>
                    <a:pt x="84" y="72"/>
                  </a:cubicBezTo>
                  <a:cubicBezTo>
                    <a:pt x="84" y="72"/>
                    <a:pt x="85" y="72"/>
                    <a:pt x="85" y="71"/>
                  </a:cubicBezTo>
                  <a:cubicBezTo>
                    <a:pt x="86" y="70"/>
                    <a:pt x="86" y="70"/>
                    <a:pt x="86" y="70"/>
                  </a:cubicBezTo>
                  <a:cubicBezTo>
                    <a:pt x="86" y="70"/>
                    <a:pt x="86" y="70"/>
                    <a:pt x="86" y="70"/>
                  </a:cubicBezTo>
                  <a:cubicBezTo>
                    <a:pt x="86" y="70"/>
                    <a:pt x="86" y="69"/>
                    <a:pt x="86" y="69"/>
                  </a:cubicBezTo>
                  <a:cubicBezTo>
                    <a:pt x="86" y="68"/>
                    <a:pt x="86" y="68"/>
                    <a:pt x="86" y="67"/>
                  </a:cubicBezTo>
                  <a:cubicBezTo>
                    <a:pt x="86" y="67"/>
                    <a:pt x="86" y="65"/>
                    <a:pt x="86" y="64"/>
                  </a:cubicBezTo>
                  <a:cubicBezTo>
                    <a:pt x="87" y="63"/>
                    <a:pt x="87" y="63"/>
                    <a:pt x="87" y="63"/>
                  </a:cubicBezTo>
                  <a:cubicBezTo>
                    <a:pt x="89" y="63"/>
                    <a:pt x="89" y="63"/>
                    <a:pt x="89" y="63"/>
                  </a:cubicBezTo>
                  <a:cubicBezTo>
                    <a:pt x="89" y="63"/>
                    <a:pt x="89" y="63"/>
                    <a:pt x="90" y="63"/>
                  </a:cubicBezTo>
                  <a:cubicBezTo>
                    <a:pt x="90" y="63"/>
                    <a:pt x="91" y="63"/>
                    <a:pt x="91" y="63"/>
                  </a:cubicBezTo>
                  <a:cubicBezTo>
                    <a:pt x="92" y="63"/>
                    <a:pt x="92" y="63"/>
                    <a:pt x="92" y="63"/>
                  </a:cubicBezTo>
                  <a:cubicBezTo>
                    <a:pt x="93" y="63"/>
                    <a:pt x="94" y="63"/>
                    <a:pt x="95" y="63"/>
                  </a:cubicBezTo>
                  <a:cubicBezTo>
                    <a:pt x="95" y="63"/>
                    <a:pt x="95" y="63"/>
                    <a:pt x="95" y="63"/>
                  </a:cubicBezTo>
                  <a:cubicBezTo>
                    <a:pt x="96" y="63"/>
                    <a:pt x="97" y="64"/>
                    <a:pt x="98" y="64"/>
                  </a:cubicBezTo>
                  <a:cubicBezTo>
                    <a:pt x="99" y="64"/>
                    <a:pt x="99" y="64"/>
                    <a:pt x="99" y="64"/>
                  </a:cubicBezTo>
                  <a:cubicBezTo>
                    <a:pt x="100" y="64"/>
                    <a:pt x="101" y="65"/>
                    <a:pt x="101" y="65"/>
                  </a:cubicBezTo>
                  <a:cubicBezTo>
                    <a:pt x="101" y="64"/>
                    <a:pt x="101" y="64"/>
                    <a:pt x="101" y="64"/>
                  </a:cubicBezTo>
                  <a:cubicBezTo>
                    <a:pt x="102" y="64"/>
                    <a:pt x="102" y="64"/>
                    <a:pt x="102" y="64"/>
                  </a:cubicBezTo>
                  <a:cubicBezTo>
                    <a:pt x="102" y="63"/>
                    <a:pt x="102" y="63"/>
                    <a:pt x="102" y="63"/>
                  </a:cubicBezTo>
                  <a:cubicBezTo>
                    <a:pt x="103" y="62"/>
                    <a:pt x="104" y="62"/>
                    <a:pt x="104" y="61"/>
                  </a:cubicBezTo>
                  <a:cubicBezTo>
                    <a:pt x="105" y="61"/>
                    <a:pt x="105" y="61"/>
                    <a:pt x="105" y="61"/>
                  </a:cubicBezTo>
                  <a:cubicBezTo>
                    <a:pt x="106" y="60"/>
                    <a:pt x="106" y="60"/>
                    <a:pt x="107" y="59"/>
                  </a:cubicBezTo>
                  <a:cubicBezTo>
                    <a:pt x="107" y="59"/>
                    <a:pt x="108" y="58"/>
                    <a:pt x="107" y="55"/>
                  </a:cubicBezTo>
                  <a:cubicBezTo>
                    <a:pt x="107" y="55"/>
                    <a:pt x="106" y="54"/>
                    <a:pt x="105" y="54"/>
                  </a:cubicBezTo>
                  <a:cubicBezTo>
                    <a:pt x="105" y="53"/>
                    <a:pt x="105" y="53"/>
                    <a:pt x="105" y="53"/>
                  </a:cubicBezTo>
                  <a:cubicBezTo>
                    <a:pt x="104" y="53"/>
                    <a:pt x="104" y="53"/>
                    <a:pt x="104" y="53"/>
                  </a:cubicBezTo>
                  <a:cubicBezTo>
                    <a:pt x="102" y="51"/>
                    <a:pt x="101" y="51"/>
                    <a:pt x="99" y="51"/>
                  </a:cubicBezTo>
                  <a:cubicBezTo>
                    <a:pt x="98" y="50"/>
                    <a:pt x="97" y="50"/>
                    <a:pt x="96" y="50"/>
                  </a:cubicBezTo>
                  <a:cubicBezTo>
                    <a:pt x="92" y="49"/>
                    <a:pt x="92" y="49"/>
                    <a:pt x="92" y="49"/>
                  </a:cubicBezTo>
                  <a:cubicBezTo>
                    <a:pt x="95" y="45"/>
                    <a:pt x="95" y="45"/>
                    <a:pt x="95" y="45"/>
                  </a:cubicBezTo>
                  <a:cubicBezTo>
                    <a:pt x="95" y="45"/>
                    <a:pt x="95" y="45"/>
                    <a:pt x="96" y="44"/>
                  </a:cubicBezTo>
                  <a:cubicBezTo>
                    <a:pt x="97" y="43"/>
                    <a:pt x="98" y="43"/>
                    <a:pt x="99" y="43"/>
                  </a:cubicBezTo>
                  <a:cubicBezTo>
                    <a:pt x="99" y="43"/>
                    <a:pt x="99" y="43"/>
                    <a:pt x="99" y="43"/>
                  </a:cubicBezTo>
                  <a:cubicBezTo>
                    <a:pt x="99" y="42"/>
                    <a:pt x="99" y="42"/>
                    <a:pt x="99" y="42"/>
                  </a:cubicBezTo>
                  <a:cubicBezTo>
                    <a:pt x="98" y="42"/>
                    <a:pt x="98" y="42"/>
                    <a:pt x="98" y="42"/>
                  </a:cubicBezTo>
                  <a:cubicBezTo>
                    <a:pt x="98" y="42"/>
                    <a:pt x="97" y="42"/>
                    <a:pt x="97" y="42"/>
                  </a:cubicBezTo>
                  <a:cubicBezTo>
                    <a:pt x="94" y="45"/>
                    <a:pt x="94" y="45"/>
                    <a:pt x="94" y="45"/>
                  </a:cubicBezTo>
                  <a:cubicBezTo>
                    <a:pt x="95" y="42"/>
                    <a:pt x="95" y="42"/>
                    <a:pt x="95" y="42"/>
                  </a:cubicBezTo>
                  <a:cubicBezTo>
                    <a:pt x="93" y="44"/>
                    <a:pt x="93" y="44"/>
                    <a:pt x="93" y="44"/>
                  </a:cubicBezTo>
                  <a:cubicBezTo>
                    <a:pt x="95" y="40"/>
                    <a:pt x="95" y="40"/>
                    <a:pt x="95" y="40"/>
                  </a:cubicBezTo>
                  <a:cubicBezTo>
                    <a:pt x="94" y="40"/>
                    <a:pt x="94" y="40"/>
                    <a:pt x="94" y="40"/>
                  </a:cubicBezTo>
                  <a:cubicBezTo>
                    <a:pt x="94" y="40"/>
                    <a:pt x="94" y="39"/>
                    <a:pt x="93" y="39"/>
                  </a:cubicBezTo>
                  <a:cubicBezTo>
                    <a:pt x="93" y="39"/>
                    <a:pt x="93" y="39"/>
                    <a:pt x="93" y="39"/>
                  </a:cubicBezTo>
                  <a:cubicBezTo>
                    <a:pt x="93" y="38"/>
                    <a:pt x="92" y="38"/>
                    <a:pt x="92" y="38"/>
                  </a:cubicBezTo>
                  <a:cubicBezTo>
                    <a:pt x="92" y="38"/>
                    <a:pt x="91" y="38"/>
                    <a:pt x="91" y="38"/>
                  </a:cubicBezTo>
                  <a:cubicBezTo>
                    <a:pt x="91" y="38"/>
                    <a:pt x="90" y="38"/>
                    <a:pt x="90" y="38"/>
                  </a:cubicBezTo>
                  <a:cubicBezTo>
                    <a:pt x="89" y="39"/>
                    <a:pt x="89" y="39"/>
                    <a:pt x="89" y="39"/>
                  </a:cubicBezTo>
                  <a:cubicBezTo>
                    <a:pt x="88" y="39"/>
                    <a:pt x="87" y="40"/>
                    <a:pt x="86" y="40"/>
                  </a:cubicBezTo>
                  <a:cubicBezTo>
                    <a:pt x="86" y="41"/>
                    <a:pt x="86" y="41"/>
                    <a:pt x="86" y="41"/>
                  </a:cubicBezTo>
                  <a:cubicBezTo>
                    <a:pt x="85" y="44"/>
                    <a:pt x="85" y="44"/>
                    <a:pt x="85" y="44"/>
                  </a:cubicBezTo>
                  <a:cubicBezTo>
                    <a:pt x="84" y="43"/>
                    <a:pt x="84" y="43"/>
                    <a:pt x="84" y="43"/>
                  </a:cubicBezTo>
                  <a:cubicBezTo>
                    <a:pt x="84" y="44"/>
                    <a:pt x="84" y="44"/>
                    <a:pt x="84" y="44"/>
                  </a:cubicBezTo>
                  <a:cubicBezTo>
                    <a:pt x="83" y="44"/>
                    <a:pt x="83" y="44"/>
                    <a:pt x="83" y="44"/>
                  </a:cubicBezTo>
                  <a:cubicBezTo>
                    <a:pt x="83" y="44"/>
                    <a:pt x="82" y="45"/>
                    <a:pt x="82" y="45"/>
                  </a:cubicBezTo>
                  <a:cubicBezTo>
                    <a:pt x="81" y="45"/>
                    <a:pt x="81" y="45"/>
                    <a:pt x="81" y="45"/>
                  </a:cubicBezTo>
                  <a:cubicBezTo>
                    <a:pt x="80" y="45"/>
                    <a:pt x="80" y="45"/>
                    <a:pt x="80" y="45"/>
                  </a:cubicBezTo>
                  <a:cubicBezTo>
                    <a:pt x="80" y="45"/>
                    <a:pt x="80" y="45"/>
                    <a:pt x="79" y="45"/>
                  </a:cubicBezTo>
                  <a:cubicBezTo>
                    <a:pt x="78" y="44"/>
                    <a:pt x="78" y="44"/>
                    <a:pt x="78" y="44"/>
                  </a:cubicBezTo>
                  <a:cubicBezTo>
                    <a:pt x="77" y="44"/>
                    <a:pt x="77" y="44"/>
                    <a:pt x="77" y="44"/>
                  </a:cubicBezTo>
                  <a:cubicBezTo>
                    <a:pt x="77" y="44"/>
                    <a:pt x="76" y="44"/>
                    <a:pt x="76" y="43"/>
                  </a:cubicBezTo>
                  <a:cubicBezTo>
                    <a:pt x="75" y="43"/>
                    <a:pt x="75" y="43"/>
                    <a:pt x="75" y="43"/>
                  </a:cubicBezTo>
                  <a:cubicBezTo>
                    <a:pt x="75" y="43"/>
                    <a:pt x="74" y="43"/>
                    <a:pt x="74" y="42"/>
                  </a:cubicBezTo>
                  <a:cubicBezTo>
                    <a:pt x="73" y="42"/>
                    <a:pt x="73" y="42"/>
                    <a:pt x="73" y="42"/>
                  </a:cubicBezTo>
                  <a:cubicBezTo>
                    <a:pt x="73" y="42"/>
                    <a:pt x="72" y="41"/>
                    <a:pt x="72" y="41"/>
                  </a:cubicBezTo>
                  <a:cubicBezTo>
                    <a:pt x="72" y="41"/>
                    <a:pt x="71" y="41"/>
                    <a:pt x="71" y="41"/>
                  </a:cubicBezTo>
                  <a:cubicBezTo>
                    <a:pt x="70" y="41"/>
                    <a:pt x="69" y="41"/>
                    <a:pt x="68" y="40"/>
                  </a:cubicBezTo>
                  <a:cubicBezTo>
                    <a:pt x="65" y="38"/>
                    <a:pt x="62" y="35"/>
                    <a:pt x="61" y="31"/>
                  </a:cubicBezTo>
                  <a:cubicBezTo>
                    <a:pt x="60" y="30"/>
                    <a:pt x="60" y="30"/>
                    <a:pt x="60" y="30"/>
                  </a:cubicBezTo>
                  <a:cubicBezTo>
                    <a:pt x="57" y="31"/>
                    <a:pt x="57" y="31"/>
                    <a:pt x="57" y="31"/>
                  </a:cubicBezTo>
                  <a:cubicBezTo>
                    <a:pt x="60" y="29"/>
                    <a:pt x="60" y="29"/>
                    <a:pt x="60" y="29"/>
                  </a:cubicBezTo>
                  <a:cubicBezTo>
                    <a:pt x="60" y="28"/>
                    <a:pt x="60" y="28"/>
                    <a:pt x="60" y="28"/>
                  </a:cubicBezTo>
                  <a:cubicBezTo>
                    <a:pt x="60" y="27"/>
                    <a:pt x="60" y="27"/>
                    <a:pt x="60" y="26"/>
                  </a:cubicBezTo>
                  <a:cubicBezTo>
                    <a:pt x="60" y="26"/>
                    <a:pt x="60" y="26"/>
                    <a:pt x="60" y="26"/>
                  </a:cubicBezTo>
                  <a:cubicBezTo>
                    <a:pt x="59" y="25"/>
                    <a:pt x="59" y="25"/>
                    <a:pt x="59" y="24"/>
                  </a:cubicBezTo>
                  <a:cubicBezTo>
                    <a:pt x="60" y="23"/>
                    <a:pt x="60" y="23"/>
                    <a:pt x="60" y="23"/>
                  </a:cubicBezTo>
                  <a:cubicBezTo>
                    <a:pt x="60" y="22"/>
                    <a:pt x="60" y="21"/>
                    <a:pt x="60" y="21"/>
                  </a:cubicBezTo>
                  <a:cubicBezTo>
                    <a:pt x="60" y="20"/>
                    <a:pt x="60" y="20"/>
                    <a:pt x="60" y="20"/>
                  </a:cubicBezTo>
                  <a:cubicBezTo>
                    <a:pt x="61" y="20"/>
                    <a:pt x="61" y="20"/>
                    <a:pt x="61" y="20"/>
                  </a:cubicBezTo>
                  <a:cubicBezTo>
                    <a:pt x="61" y="20"/>
                    <a:pt x="61" y="20"/>
                    <a:pt x="61" y="20"/>
                  </a:cubicBezTo>
                  <a:cubicBezTo>
                    <a:pt x="60" y="20"/>
                    <a:pt x="60" y="20"/>
                    <a:pt x="59" y="20"/>
                  </a:cubicBezTo>
                  <a:cubicBezTo>
                    <a:pt x="59" y="20"/>
                    <a:pt x="59" y="20"/>
                    <a:pt x="59" y="20"/>
                  </a:cubicBezTo>
                  <a:cubicBezTo>
                    <a:pt x="58" y="20"/>
                    <a:pt x="57" y="20"/>
                    <a:pt x="57" y="20"/>
                  </a:cubicBezTo>
                  <a:cubicBezTo>
                    <a:pt x="55" y="20"/>
                    <a:pt x="55" y="20"/>
                    <a:pt x="55" y="20"/>
                  </a:cubicBezTo>
                  <a:cubicBezTo>
                    <a:pt x="54" y="18"/>
                    <a:pt x="54" y="18"/>
                    <a:pt x="54" y="18"/>
                  </a:cubicBezTo>
                  <a:cubicBezTo>
                    <a:pt x="54" y="18"/>
                    <a:pt x="54" y="17"/>
                    <a:pt x="54" y="16"/>
                  </a:cubicBezTo>
                  <a:cubicBezTo>
                    <a:pt x="54" y="16"/>
                    <a:pt x="54" y="16"/>
                    <a:pt x="54" y="16"/>
                  </a:cubicBezTo>
                  <a:cubicBezTo>
                    <a:pt x="53" y="14"/>
                    <a:pt x="52" y="12"/>
                    <a:pt x="51" y="10"/>
                  </a:cubicBezTo>
                  <a:cubicBezTo>
                    <a:pt x="51" y="10"/>
                    <a:pt x="50" y="10"/>
                    <a:pt x="50" y="9"/>
                  </a:cubicBezTo>
                  <a:cubicBezTo>
                    <a:pt x="50" y="9"/>
                    <a:pt x="50" y="9"/>
                    <a:pt x="50" y="9"/>
                  </a:cubicBezTo>
                  <a:cubicBezTo>
                    <a:pt x="48" y="8"/>
                    <a:pt x="47" y="6"/>
                    <a:pt x="45" y="4"/>
                  </a:cubicBezTo>
                  <a:cubicBezTo>
                    <a:pt x="43" y="2"/>
                    <a:pt x="43" y="2"/>
                    <a:pt x="43" y="2"/>
                  </a:cubicBezTo>
                  <a:cubicBezTo>
                    <a:pt x="42" y="2"/>
                    <a:pt x="42" y="2"/>
                    <a:pt x="42" y="2"/>
                  </a:cubicBezTo>
                  <a:cubicBezTo>
                    <a:pt x="41" y="1"/>
                    <a:pt x="41" y="1"/>
                    <a:pt x="40" y="1"/>
                  </a:cubicBezTo>
                  <a:cubicBezTo>
                    <a:pt x="39" y="0"/>
                    <a:pt x="37"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3" name="Freeform 1552">
              <a:extLst>
                <a:ext uri="{FF2B5EF4-FFF2-40B4-BE49-F238E27FC236}">
                  <a16:creationId xmlns:a16="http://schemas.microsoft.com/office/drawing/2014/main" id="{B8508F79-05B9-408D-B35C-8EB0657346D0}"/>
                </a:ext>
              </a:extLst>
            </p:cNvPr>
            <p:cNvSpPr>
              <a:spLocks/>
            </p:cNvSpPr>
            <p:nvPr/>
          </p:nvSpPr>
          <p:spPr bwMode="auto">
            <a:xfrm>
              <a:off x="3346443" y="3621626"/>
              <a:ext cx="0" cy="268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4" name="Freeform 1553">
              <a:extLst>
                <a:ext uri="{FF2B5EF4-FFF2-40B4-BE49-F238E27FC236}">
                  <a16:creationId xmlns:a16="http://schemas.microsoft.com/office/drawing/2014/main" id="{BCD6A608-3A78-45B5-AADB-805A196EC143}"/>
                </a:ext>
              </a:extLst>
            </p:cNvPr>
            <p:cNvSpPr>
              <a:spLocks/>
            </p:cNvSpPr>
            <p:nvPr/>
          </p:nvSpPr>
          <p:spPr bwMode="auto">
            <a:xfrm>
              <a:off x="3346443" y="3621626"/>
              <a:ext cx="0" cy="268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5" name="Freeform 1554">
              <a:extLst>
                <a:ext uri="{FF2B5EF4-FFF2-40B4-BE49-F238E27FC236}">
                  <a16:creationId xmlns:a16="http://schemas.microsoft.com/office/drawing/2014/main" id="{F0B083DF-148E-42CD-966F-248FED5E565E}"/>
                </a:ext>
              </a:extLst>
            </p:cNvPr>
            <p:cNvSpPr>
              <a:spLocks/>
            </p:cNvSpPr>
            <p:nvPr/>
          </p:nvSpPr>
          <p:spPr bwMode="auto">
            <a:xfrm>
              <a:off x="3032336" y="3145096"/>
              <a:ext cx="536934" cy="996014"/>
            </a:xfrm>
            <a:custGeom>
              <a:avLst/>
              <a:gdLst>
                <a:gd name="T0" fmla="*/ 60 w 169"/>
                <a:gd name="T1" fmla="*/ 11 h 314"/>
                <a:gd name="T2" fmla="*/ 46 w 169"/>
                <a:gd name="T3" fmla="*/ 14 h 314"/>
                <a:gd name="T4" fmla="*/ 33 w 169"/>
                <a:gd name="T5" fmla="*/ 16 h 314"/>
                <a:gd name="T6" fmla="*/ 25 w 169"/>
                <a:gd name="T7" fmla="*/ 15 h 314"/>
                <a:gd name="T8" fmla="*/ 18 w 169"/>
                <a:gd name="T9" fmla="*/ 22 h 314"/>
                <a:gd name="T10" fmla="*/ 6 w 169"/>
                <a:gd name="T11" fmla="*/ 15 h 314"/>
                <a:gd name="T12" fmla="*/ 11 w 169"/>
                <a:gd name="T13" fmla="*/ 35 h 314"/>
                <a:gd name="T14" fmla="*/ 17 w 169"/>
                <a:gd name="T15" fmla="*/ 35 h 314"/>
                <a:gd name="T16" fmla="*/ 17 w 169"/>
                <a:gd name="T17" fmla="*/ 46 h 314"/>
                <a:gd name="T18" fmla="*/ 24 w 169"/>
                <a:gd name="T19" fmla="*/ 56 h 314"/>
                <a:gd name="T20" fmla="*/ 31 w 169"/>
                <a:gd name="T21" fmla="*/ 60 h 314"/>
                <a:gd name="T22" fmla="*/ 38 w 169"/>
                <a:gd name="T23" fmla="*/ 55 h 314"/>
                <a:gd name="T24" fmla="*/ 46 w 169"/>
                <a:gd name="T25" fmla="*/ 53 h 314"/>
                <a:gd name="T26" fmla="*/ 52 w 169"/>
                <a:gd name="T27" fmla="*/ 58 h 314"/>
                <a:gd name="T28" fmla="*/ 58 w 169"/>
                <a:gd name="T29" fmla="*/ 64 h 314"/>
                <a:gd name="T30" fmla="*/ 60 w 169"/>
                <a:gd name="T31" fmla="*/ 70 h 314"/>
                <a:gd name="T32" fmla="*/ 58 w 169"/>
                <a:gd name="T33" fmla="*/ 88 h 314"/>
                <a:gd name="T34" fmla="*/ 52 w 169"/>
                <a:gd name="T35" fmla="*/ 91 h 314"/>
                <a:gd name="T36" fmla="*/ 43 w 169"/>
                <a:gd name="T37" fmla="*/ 94 h 314"/>
                <a:gd name="T38" fmla="*/ 73 w 169"/>
                <a:gd name="T39" fmla="*/ 112 h 314"/>
                <a:gd name="T40" fmla="*/ 78 w 169"/>
                <a:gd name="T41" fmla="*/ 125 h 314"/>
                <a:gd name="T42" fmla="*/ 93 w 169"/>
                <a:gd name="T43" fmla="*/ 141 h 314"/>
                <a:gd name="T44" fmla="*/ 103 w 169"/>
                <a:gd name="T45" fmla="*/ 154 h 314"/>
                <a:gd name="T46" fmla="*/ 104 w 169"/>
                <a:gd name="T47" fmla="*/ 161 h 314"/>
                <a:gd name="T48" fmla="*/ 110 w 169"/>
                <a:gd name="T49" fmla="*/ 162 h 314"/>
                <a:gd name="T50" fmla="*/ 114 w 169"/>
                <a:gd name="T51" fmla="*/ 167 h 314"/>
                <a:gd name="T52" fmla="*/ 123 w 169"/>
                <a:gd name="T53" fmla="*/ 173 h 314"/>
                <a:gd name="T54" fmla="*/ 124 w 169"/>
                <a:gd name="T55" fmla="*/ 186 h 314"/>
                <a:gd name="T56" fmla="*/ 125 w 169"/>
                <a:gd name="T57" fmla="*/ 201 h 314"/>
                <a:gd name="T58" fmla="*/ 126 w 169"/>
                <a:gd name="T59" fmla="*/ 209 h 314"/>
                <a:gd name="T60" fmla="*/ 125 w 169"/>
                <a:gd name="T61" fmla="*/ 228 h 314"/>
                <a:gd name="T62" fmla="*/ 126 w 169"/>
                <a:gd name="T63" fmla="*/ 249 h 314"/>
                <a:gd name="T64" fmla="*/ 127 w 169"/>
                <a:gd name="T65" fmla="*/ 262 h 314"/>
                <a:gd name="T66" fmla="*/ 116 w 169"/>
                <a:gd name="T67" fmla="*/ 268 h 314"/>
                <a:gd name="T68" fmla="*/ 100 w 169"/>
                <a:gd name="T69" fmla="*/ 278 h 314"/>
                <a:gd name="T70" fmla="*/ 86 w 169"/>
                <a:gd name="T71" fmla="*/ 284 h 314"/>
                <a:gd name="T72" fmla="*/ 95 w 169"/>
                <a:gd name="T73" fmla="*/ 301 h 314"/>
                <a:gd name="T74" fmla="*/ 81 w 169"/>
                <a:gd name="T75" fmla="*/ 299 h 314"/>
                <a:gd name="T76" fmla="*/ 89 w 169"/>
                <a:gd name="T77" fmla="*/ 313 h 314"/>
                <a:gd name="T78" fmla="*/ 103 w 169"/>
                <a:gd name="T79" fmla="*/ 308 h 314"/>
                <a:gd name="T80" fmla="*/ 109 w 169"/>
                <a:gd name="T81" fmla="*/ 302 h 314"/>
                <a:gd name="T82" fmla="*/ 113 w 169"/>
                <a:gd name="T83" fmla="*/ 312 h 314"/>
                <a:gd name="T84" fmla="*/ 164 w 169"/>
                <a:gd name="T85" fmla="*/ 275 h 314"/>
                <a:gd name="T86" fmla="*/ 166 w 169"/>
                <a:gd name="T87" fmla="*/ 263 h 314"/>
                <a:gd name="T88" fmla="*/ 167 w 169"/>
                <a:gd name="T89" fmla="*/ 254 h 314"/>
                <a:gd name="T90" fmla="*/ 164 w 169"/>
                <a:gd name="T91" fmla="*/ 224 h 314"/>
                <a:gd name="T92" fmla="*/ 142 w 169"/>
                <a:gd name="T93" fmla="*/ 176 h 314"/>
                <a:gd name="T94" fmla="*/ 139 w 169"/>
                <a:gd name="T95" fmla="*/ 171 h 314"/>
                <a:gd name="T96" fmla="*/ 94 w 169"/>
                <a:gd name="T97" fmla="*/ 134 h 314"/>
                <a:gd name="T98" fmla="*/ 78 w 169"/>
                <a:gd name="T99" fmla="*/ 104 h 314"/>
                <a:gd name="T100" fmla="*/ 100 w 169"/>
                <a:gd name="T101" fmla="*/ 72 h 314"/>
                <a:gd name="T102" fmla="*/ 109 w 169"/>
                <a:gd name="T103" fmla="*/ 57 h 314"/>
                <a:gd name="T104" fmla="*/ 115 w 169"/>
                <a:gd name="T105" fmla="*/ 56 h 314"/>
                <a:gd name="T106" fmla="*/ 125 w 169"/>
                <a:gd name="T107" fmla="*/ 50 h 314"/>
                <a:gd name="T108" fmla="*/ 122 w 169"/>
                <a:gd name="T109" fmla="*/ 42 h 314"/>
                <a:gd name="T110" fmla="*/ 110 w 169"/>
                <a:gd name="T111" fmla="*/ 34 h 314"/>
                <a:gd name="T112" fmla="*/ 100 w 169"/>
                <a:gd name="T113" fmla="*/ 31 h 314"/>
                <a:gd name="T114" fmla="*/ 99 w 169"/>
                <a:gd name="T115" fmla="*/ 23 h 314"/>
                <a:gd name="T116" fmla="*/ 101 w 169"/>
                <a:gd name="T117" fmla="*/ 11 h 314"/>
                <a:gd name="T118" fmla="*/ 80 w 169"/>
                <a:gd name="T119" fmla="*/ 8 h 314"/>
                <a:gd name="T120" fmla="*/ 71 w 169"/>
                <a:gd name="T1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314">
                  <a:moveTo>
                    <a:pt x="70" y="0"/>
                  </a:moveTo>
                  <a:cubicBezTo>
                    <a:pt x="69" y="0"/>
                    <a:pt x="68" y="1"/>
                    <a:pt x="67" y="2"/>
                  </a:cubicBezTo>
                  <a:cubicBezTo>
                    <a:pt x="66" y="3"/>
                    <a:pt x="66" y="3"/>
                    <a:pt x="66" y="3"/>
                  </a:cubicBezTo>
                  <a:cubicBezTo>
                    <a:pt x="66" y="3"/>
                    <a:pt x="65" y="3"/>
                    <a:pt x="65" y="4"/>
                  </a:cubicBezTo>
                  <a:cubicBezTo>
                    <a:pt x="64" y="6"/>
                    <a:pt x="63" y="7"/>
                    <a:pt x="62" y="9"/>
                  </a:cubicBezTo>
                  <a:cubicBezTo>
                    <a:pt x="61" y="10"/>
                    <a:pt x="61" y="10"/>
                    <a:pt x="60" y="11"/>
                  </a:cubicBezTo>
                  <a:cubicBezTo>
                    <a:pt x="60" y="11"/>
                    <a:pt x="60" y="11"/>
                    <a:pt x="60" y="11"/>
                  </a:cubicBezTo>
                  <a:cubicBezTo>
                    <a:pt x="58" y="12"/>
                    <a:pt x="57" y="13"/>
                    <a:pt x="56" y="13"/>
                  </a:cubicBezTo>
                  <a:cubicBezTo>
                    <a:pt x="55" y="14"/>
                    <a:pt x="55" y="14"/>
                    <a:pt x="55" y="14"/>
                  </a:cubicBezTo>
                  <a:cubicBezTo>
                    <a:pt x="51" y="15"/>
                    <a:pt x="51" y="15"/>
                    <a:pt x="51" y="15"/>
                  </a:cubicBezTo>
                  <a:cubicBezTo>
                    <a:pt x="51" y="15"/>
                    <a:pt x="50" y="15"/>
                    <a:pt x="50" y="15"/>
                  </a:cubicBezTo>
                  <a:cubicBezTo>
                    <a:pt x="48" y="15"/>
                    <a:pt x="47" y="15"/>
                    <a:pt x="46" y="14"/>
                  </a:cubicBezTo>
                  <a:cubicBezTo>
                    <a:pt x="42" y="18"/>
                    <a:pt x="42" y="18"/>
                    <a:pt x="42" y="18"/>
                  </a:cubicBezTo>
                  <a:cubicBezTo>
                    <a:pt x="41" y="20"/>
                    <a:pt x="40" y="20"/>
                    <a:pt x="39" y="20"/>
                  </a:cubicBezTo>
                  <a:cubicBezTo>
                    <a:pt x="37" y="20"/>
                    <a:pt x="35" y="19"/>
                    <a:pt x="34" y="17"/>
                  </a:cubicBezTo>
                  <a:cubicBezTo>
                    <a:pt x="34" y="17"/>
                    <a:pt x="34" y="17"/>
                    <a:pt x="34" y="17"/>
                  </a:cubicBezTo>
                  <a:cubicBezTo>
                    <a:pt x="34" y="16"/>
                    <a:pt x="34" y="16"/>
                    <a:pt x="34" y="16"/>
                  </a:cubicBezTo>
                  <a:cubicBezTo>
                    <a:pt x="33" y="16"/>
                    <a:pt x="33" y="16"/>
                    <a:pt x="33" y="16"/>
                  </a:cubicBezTo>
                  <a:cubicBezTo>
                    <a:pt x="33" y="16"/>
                    <a:pt x="33" y="16"/>
                    <a:pt x="33" y="16"/>
                  </a:cubicBezTo>
                  <a:cubicBezTo>
                    <a:pt x="32" y="16"/>
                    <a:pt x="32" y="17"/>
                    <a:pt x="31" y="18"/>
                  </a:cubicBezTo>
                  <a:cubicBezTo>
                    <a:pt x="28" y="20"/>
                    <a:pt x="28" y="20"/>
                    <a:pt x="28" y="20"/>
                  </a:cubicBezTo>
                  <a:cubicBezTo>
                    <a:pt x="27" y="17"/>
                    <a:pt x="27" y="17"/>
                    <a:pt x="27" y="17"/>
                  </a:cubicBezTo>
                  <a:cubicBezTo>
                    <a:pt x="26" y="17"/>
                    <a:pt x="26" y="17"/>
                    <a:pt x="26" y="16"/>
                  </a:cubicBezTo>
                  <a:cubicBezTo>
                    <a:pt x="25" y="15"/>
                    <a:pt x="25" y="15"/>
                    <a:pt x="25" y="15"/>
                  </a:cubicBezTo>
                  <a:cubicBezTo>
                    <a:pt x="25" y="15"/>
                    <a:pt x="25" y="15"/>
                    <a:pt x="25" y="15"/>
                  </a:cubicBezTo>
                  <a:cubicBezTo>
                    <a:pt x="22" y="17"/>
                    <a:pt x="22" y="17"/>
                    <a:pt x="22" y="17"/>
                  </a:cubicBezTo>
                  <a:cubicBezTo>
                    <a:pt x="22" y="18"/>
                    <a:pt x="22" y="19"/>
                    <a:pt x="21" y="19"/>
                  </a:cubicBezTo>
                  <a:cubicBezTo>
                    <a:pt x="20" y="22"/>
                    <a:pt x="20" y="22"/>
                    <a:pt x="20" y="22"/>
                  </a:cubicBezTo>
                  <a:cubicBezTo>
                    <a:pt x="18" y="22"/>
                    <a:pt x="18" y="22"/>
                    <a:pt x="18" y="22"/>
                  </a:cubicBezTo>
                  <a:cubicBezTo>
                    <a:pt x="18" y="22"/>
                    <a:pt x="18" y="22"/>
                    <a:pt x="18" y="22"/>
                  </a:cubicBezTo>
                  <a:cubicBezTo>
                    <a:pt x="16" y="22"/>
                    <a:pt x="14" y="20"/>
                    <a:pt x="13" y="19"/>
                  </a:cubicBezTo>
                  <a:cubicBezTo>
                    <a:pt x="13" y="19"/>
                    <a:pt x="13" y="19"/>
                    <a:pt x="13" y="19"/>
                  </a:cubicBezTo>
                  <a:cubicBezTo>
                    <a:pt x="12" y="18"/>
                    <a:pt x="12" y="18"/>
                    <a:pt x="11" y="17"/>
                  </a:cubicBezTo>
                  <a:cubicBezTo>
                    <a:pt x="11" y="17"/>
                    <a:pt x="10" y="17"/>
                    <a:pt x="10" y="16"/>
                  </a:cubicBezTo>
                  <a:cubicBezTo>
                    <a:pt x="8" y="15"/>
                    <a:pt x="8" y="15"/>
                    <a:pt x="8" y="15"/>
                  </a:cubicBezTo>
                  <a:cubicBezTo>
                    <a:pt x="7" y="15"/>
                    <a:pt x="6" y="15"/>
                    <a:pt x="6" y="15"/>
                  </a:cubicBezTo>
                  <a:cubicBezTo>
                    <a:pt x="5" y="15"/>
                    <a:pt x="5" y="15"/>
                    <a:pt x="5" y="15"/>
                  </a:cubicBezTo>
                  <a:cubicBezTo>
                    <a:pt x="4" y="17"/>
                    <a:pt x="2" y="19"/>
                    <a:pt x="0" y="20"/>
                  </a:cubicBezTo>
                  <a:cubicBezTo>
                    <a:pt x="1" y="21"/>
                    <a:pt x="1" y="21"/>
                    <a:pt x="1" y="21"/>
                  </a:cubicBezTo>
                  <a:cubicBezTo>
                    <a:pt x="3" y="23"/>
                    <a:pt x="4" y="25"/>
                    <a:pt x="6" y="26"/>
                  </a:cubicBezTo>
                  <a:cubicBezTo>
                    <a:pt x="6" y="27"/>
                    <a:pt x="7" y="27"/>
                    <a:pt x="7" y="28"/>
                  </a:cubicBezTo>
                  <a:cubicBezTo>
                    <a:pt x="9" y="30"/>
                    <a:pt x="10" y="32"/>
                    <a:pt x="11" y="35"/>
                  </a:cubicBezTo>
                  <a:cubicBezTo>
                    <a:pt x="12" y="34"/>
                    <a:pt x="12" y="34"/>
                    <a:pt x="12" y="34"/>
                  </a:cubicBezTo>
                  <a:cubicBezTo>
                    <a:pt x="12" y="34"/>
                    <a:pt x="12" y="34"/>
                    <a:pt x="12" y="34"/>
                  </a:cubicBezTo>
                  <a:cubicBezTo>
                    <a:pt x="13" y="34"/>
                    <a:pt x="13" y="34"/>
                    <a:pt x="13" y="34"/>
                  </a:cubicBezTo>
                  <a:cubicBezTo>
                    <a:pt x="13" y="34"/>
                    <a:pt x="13" y="34"/>
                    <a:pt x="13" y="34"/>
                  </a:cubicBezTo>
                  <a:cubicBezTo>
                    <a:pt x="15" y="34"/>
                    <a:pt x="16" y="34"/>
                    <a:pt x="17" y="34"/>
                  </a:cubicBezTo>
                  <a:cubicBezTo>
                    <a:pt x="17" y="35"/>
                    <a:pt x="17" y="35"/>
                    <a:pt x="17" y="35"/>
                  </a:cubicBezTo>
                  <a:cubicBezTo>
                    <a:pt x="18" y="35"/>
                    <a:pt x="18" y="36"/>
                    <a:pt x="19" y="37"/>
                  </a:cubicBezTo>
                  <a:cubicBezTo>
                    <a:pt x="20" y="39"/>
                    <a:pt x="19" y="40"/>
                    <a:pt x="19" y="41"/>
                  </a:cubicBezTo>
                  <a:cubicBezTo>
                    <a:pt x="18" y="44"/>
                    <a:pt x="18" y="44"/>
                    <a:pt x="18" y="44"/>
                  </a:cubicBezTo>
                  <a:cubicBezTo>
                    <a:pt x="18" y="44"/>
                    <a:pt x="17" y="45"/>
                    <a:pt x="17" y="45"/>
                  </a:cubicBezTo>
                  <a:cubicBezTo>
                    <a:pt x="17" y="46"/>
                    <a:pt x="17" y="46"/>
                    <a:pt x="17" y="46"/>
                  </a:cubicBezTo>
                  <a:cubicBezTo>
                    <a:pt x="17" y="46"/>
                    <a:pt x="17" y="46"/>
                    <a:pt x="17" y="46"/>
                  </a:cubicBezTo>
                  <a:cubicBezTo>
                    <a:pt x="17" y="47"/>
                    <a:pt x="17" y="47"/>
                    <a:pt x="17" y="47"/>
                  </a:cubicBezTo>
                  <a:cubicBezTo>
                    <a:pt x="17" y="47"/>
                    <a:pt x="17" y="48"/>
                    <a:pt x="17" y="48"/>
                  </a:cubicBezTo>
                  <a:cubicBezTo>
                    <a:pt x="18" y="49"/>
                    <a:pt x="18" y="49"/>
                    <a:pt x="18" y="49"/>
                  </a:cubicBezTo>
                  <a:cubicBezTo>
                    <a:pt x="18" y="50"/>
                    <a:pt x="18" y="50"/>
                    <a:pt x="18" y="50"/>
                  </a:cubicBezTo>
                  <a:cubicBezTo>
                    <a:pt x="19" y="53"/>
                    <a:pt x="21" y="55"/>
                    <a:pt x="23" y="56"/>
                  </a:cubicBezTo>
                  <a:cubicBezTo>
                    <a:pt x="24" y="56"/>
                    <a:pt x="24" y="56"/>
                    <a:pt x="24" y="56"/>
                  </a:cubicBezTo>
                  <a:cubicBezTo>
                    <a:pt x="24" y="56"/>
                    <a:pt x="24" y="56"/>
                    <a:pt x="24" y="56"/>
                  </a:cubicBezTo>
                  <a:cubicBezTo>
                    <a:pt x="25" y="57"/>
                    <a:pt x="26" y="57"/>
                    <a:pt x="26" y="57"/>
                  </a:cubicBezTo>
                  <a:cubicBezTo>
                    <a:pt x="27" y="57"/>
                    <a:pt x="28" y="58"/>
                    <a:pt x="28" y="58"/>
                  </a:cubicBezTo>
                  <a:cubicBezTo>
                    <a:pt x="29" y="58"/>
                    <a:pt x="29" y="58"/>
                    <a:pt x="29" y="58"/>
                  </a:cubicBezTo>
                  <a:cubicBezTo>
                    <a:pt x="29" y="59"/>
                    <a:pt x="29" y="59"/>
                    <a:pt x="29" y="59"/>
                  </a:cubicBezTo>
                  <a:cubicBezTo>
                    <a:pt x="30" y="59"/>
                    <a:pt x="31" y="59"/>
                    <a:pt x="31" y="60"/>
                  </a:cubicBezTo>
                  <a:cubicBezTo>
                    <a:pt x="31" y="59"/>
                    <a:pt x="31" y="59"/>
                    <a:pt x="31" y="59"/>
                  </a:cubicBezTo>
                  <a:cubicBezTo>
                    <a:pt x="32" y="60"/>
                    <a:pt x="32" y="60"/>
                    <a:pt x="32" y="60"/>
                  </a:cubicBezTo>
                  <a:cubicBezTo>
                    <a:pt x="32" y="60"/>
                    <a:pt x="32" y="60"/>
                    <a:pt x="32" y="60"/>
                  </a:cubicBezTo>
                  <a:cubicBezTo>
                    <a:pt x="32" y="59"/>
                    <a:pt x="32" y="59"/>
                    <a:pt x="32" y="59"/>
                  </a:cubicBezTo>
                  <a:cubicBezTo>
                    <a:pt x="33" y="58"/>
                    <a:pt x="33" y="58"/>
                    <a:pt x="33" y="58"/>
                  </a:cubicBezTo>
                  <a:cubicBezTo>
                    <a:pt x="34" y="57"/>
                    <a:pt x="36" y="55"/>
                    <a:pt x="38" y="55"/>
                  </a:cubicBezTo>
                  <a:cubicBezTo>
                    <a:pt x="39" y="54"/>
                    <a:pt x="39" y="54"/>
                    <a:pt x="39" y="54"/>
                  </a:cubicBezTo>
                  <a:cubicBezTo>
                    <a:pt x="39" y="54"/>
                    <a:pt x="40" y="54"/>
                    <a:pt x="40" y="54"/>
                  </a:cubicBezTo>
                  <a:cubicBezTo>
                    <a:pt x="40" y="53"/>
                    <a:pt x="40" y="53"/>
                    <a:pt x="40" y="53"/>
                  </a:cubicBezTo>
                  <a:cubicBezTo>
                    <a:pt x="41" y="53"/>
                    <a:pt x="42" y="53"/>
                    <a:pt x="43" y="53"/>
                  </a:cubicBezTo>
                  <a:cubicBezTo>
                    <a:pt x="44" y="53"/>
                    <a:pt x="44" y="53"/>
                    <a:pt x="45" y="53"/>
                  </a:cubicBezTo>
                  <a:cubicBezTo>
                    <a:pt x="46" y="53"/>
                    <a:pt x="46" y="53"/>
                    <a:pt x="46" y="53"/>
                  </a:cubicBezTo>
                  <a:cubicBezTo>
                    <a:pt x="48" y="54"/>
                    <a:pt x="49" y="55"/>
                    <a:pt x="49" y="56"/>
                  </a:cubicBezTo>
                  <a:cubicBezTo>
                    <a:pt x="49" y="56"/>
                    <a:pt x="49" y="56"/>
                    <a:pt x="49" y="56"/>
                  </a:cubicBezTo>
                  <a:cubicBezTo>
                    <a:pt x="50" y="56"/>
                    <a:pt x="50" y="56"/>
                    <a:pt x="50" y="56"/>
                  </a:cubicBezTo>
                  <a:cubicBezTo>
                    <a:pt x="51" y="58"/>
                    <a:pt x="51" y="58"/>
                    <a:pt x="51" y="58"/>
                  </a:cubicBezTo>
                  <a:cubicBezTo>
                    <a:pt x="51" y="58"/>
                    <a:pt x="51" y="58"/>
                    <a:pt x="51" y="58"/>
                  </a:cubicBezTo>
                  <a:cubicBezTo>
                    <a:pt x="52" y="58"/>
                    <a:pt x="52" y="58"/>
                    <a:pt x="52" y="58"/>
                  </a:cubicBezTo>
                  <a:cubicBezTo>
                    <a:pt x="52" y="58"/>
                    <a:pt x="53" y="58"/>
                    <a:pt x="54" y="59"/>
                  </a:cubicBezTo>
                  <a:cubicBezTo>
                    <a:pt x="55" y="60"/>
                    <a:pt x="55" y="60"/>
                    <a:pt x="55" y="60"/>
                  </a:cubicBezTo>
                  <a:cubicBezTo>
                    <a:pt x="55" y="60"/>
                    <a:pt x="55" y="60"/>
                    <a:pt x="55" y="60"/>
                  </a:cubicBezTo>
                  <a:cubicBezTo>
                    <a:pt x="56" y="60"/>
                    <a:pt x="56" y="60"/>
                    <a:pt x="56" y="60"/>
                  </a:cubicBezTo>
                  <a:cubicBezTo>
                    <a:pt x="57" y="61"/>
                    <a:pt x="57" y="62"/>
                    <a:pt x="57" y="62"/>
                  </a:cubicBezTo>
                  <a:cubicBezTo>
                    <a:pt x="58" y="63"/>
                    <a:pt x="58" y="63"/>
                    <a:pt x="58" y="64"/>
                  </a:cubicBezTo>
                  <a:cubicBezTo>
                    <a:pt x="57" y="65"/>
                    <a:pt x="57" y="65"/>
                    <a:pt x="57" y="66"/>
                  </a:cubicBezTo>
                  <a:cubicBezTo>
                    <a:pt x="56" y="67"/>
                    <a:pt x="56" y="67"/>
                    <a:pt x="56" y="67"/>
                  </a:cubicBezTo>
                  <a:cubicBezTo>
                    <a:pt x="56" y="67"/>
                    <a:pt x="56" y="67"/>
                    <a:pt x="56" y="67"/>
                  </a:cubicBezTo>
                  <a:cubicBezTo>
                    <a:pt x="57" y="67"/>
                    <a:pt x="58" y="68"/>
                    <a:pt x="59" y="69"/>
                  </a:cubicBezTo>
                  <a:cubicBezTo>
                    <a:pt x="60" y="70"/>
                    <a:pt x="60" y="70"/>
                    <a:pt x="60" y="70"/>
                  </a:cubicBezTo>
                  <a:cubicBezTo>
                    <a:pt x="60" y="70"/>
                    <a:pt x="60" y="70"/>
                    <a:pt x="60" y="70"/>
                  </a:cubicBezTo>
                  <a:cubicBezTo>
                    <a:pt x="62" y="71"/>
                    <a:pt x="65" y="73"/>
                    <a:pt x="65" y="75"/>
                  </a:cubicBezTo>
                  <a:cubicBezTo>
                    <a:pt x="65" y="76"/>
                    <a:pt x="65" y="76"/>
                    <a:pt x="65" y="76"/>
                  </a:cubicBezTo>
                  <a:cubicBezTo>
                    <a:pt x="66" y="79"/>
                    <a:pt x="65" y="82"/>
                    <a:pt x="63" y="84"/>
                  </a:cubicBezTo>
                  <a:cubicBezTo>
                    <a:pt x="62" y="85"/>
                    <a:pt x="61" y="86"/>
                    <a:pt x="60" y="87"/>
                  </a:cubicBezTo>
                  <a:cubicBezTo>
                    <a:pt x="59" y="87"/>
                    <a:pt x="59" y="88"/>
                    <a:pt x="58" y="88"/>
                  </a:cubicBezTo>
                  <a:cubicBezTo>
                    <a:pt x="58" y="88"/>
                    <a:pt x="58" y="88"/>
                    <a:pt x="58" y="88"/>
                  </a:cubicBezTo>
                  <a:cubicBezTo>
                    <a:pt x="58" y="89"/>
                    <a:pt x="58" y="90"/>
                    <a:pt x="57" y="90"/>
                  </a:cubicBezTo>
                  <a:cubicBezTo>
                    <a:pt x="56" y="91"/>
                    <a:pt x="56" y="91"/>
                    <a:pt x="55" y="91"/>
                  </a:cubicBezTo>
                  <a:cubicBezTo>
                    <a:pt x="55" y="91"/>
                    <a:pt x="55" y="91"/>
                    <a:pt x="55" y="91"/>
                  </a:cubicBezTo>
                  <a:cubicBezTo>
                    <a:pt x="54" y="91"/>
                    <a:pt x="54" y="91"/>
                    <a:pt x="53" y="91"/>
                  </a:cubicBezTo>
                  <a:cubicBezTo>
                    <a:pt x="52" y="91"/>
                    <a:pt x="52" y="91"/>
                    <a:pt x="52" y="91"/>
                  </a:cubicBezTo>
                  <a:cubicBezTo>
                    <a:pt x="52" y="91"/>
                    <a:pt x="52" y="91"/>
                    <a:pt x="52" y="91"/>
                  </a:cubicBezTo>
                  <a:cubicBezTo>
                    <a:pt x="51" y="91"/>
                    <a:pt x="51" y="91"/>
                    <a:pt x="50" y="91"/>
                  </a:cubicBezTo>
                  <a:cubicBezTo>
                    <a:pt x="50" y="91"/>
                    <a:pt x="50" y="91"/>
                    <a:pt x="50" y="91"/>
                  </a:cubicBezTo>
                  <a:cubicBezTo>
                    <a:pt x="48" y="90"/>
                    <a:pt x="48" y="90"/>
                    <a:pt x="48" y="90"/>
                  </a:cubicBezTo>
                  <a:cubicBezTo>
                    <a:pt x="47" y="90"/>
                    <a:pt x="45" y="90"/>
                    <a:pt x="44" y="90"/>
                  </a:cubicBezTo>
                  <a:cubicBezTo>
                    <a:pt x="44" y="90"/>
                    <a:pt x="44" y="90"/>
                    <a:pt x="44" y="90"/>
                  </a:cubicBezTo>
                  <a:cubicBezTo>
                    <a:pt x="44" y="91"/>
                    <a:pt x="44" y="92"/>
                    <a:pt x="43" y="94"/>
                  </a:cubicBezTo>
                  <a:cubicBezTo>
                    <a:pt x="43" y="95"/>
                    <a:pt x="42" y="95"/>
                    <a:pt x="42" y="96"/>
                  </a:cubicBezTo>
                  <a:cubicBezTo>
                    <a:pt x="42" y="96"/>
                    <a:pt x="42" y="96"/>
                    <a:pt x="42" y="96"/>
                  </a:cubicBezTo>
                  <a:cubicBezTo>
                    <a:pt x="48" y="100"/>
                    <a:pt x="55" y="103"/>
                    <a:pt x="61" y="106"/>
                  </a:cubicBezTo>
                  <a:cubicBezTo>
                    <a:pt x="63" y="107"/>
                    <a:pt x="63" y="107"/>
                    <a:pt x="63" y="107"/>
                  </a:cubicBezTo>
                  <a:cubicBezTo>
                    <a:pt x="65" y="108"/>
                    <a:pt x="67" y="109"/>
                    <a:pt x="70" y="110"/>
                  </a:cubicBezTo>
                  <a:cubicBezTo>
                    <a:pt x="73" y="112"/>
                    <a:pt x="73" y="112"/>
                    <a:pt x="73" y="112"/>
                  </a:cubicBezTo>
                  <a:cubicBezTo>
                    <a:pt x="70" y="115"/>
                    <a:pt x="70" y="115"/>
                    <a:pt x="70" y="115"/>
                  </a:cubicBezTo>
                  <a:cubicBezTo>
                    <a:pt x="70" y="115"/>
                    <a:pt x="70" y="115"/>
                    <a:pt x="70" y="116"/>
                  </a:cubicBezTo>
                  <a:cubicBezTo>
                    <a:pt x="69" y="116"/>
                    <a:pt x="69" y="117"/>
                    <a:pt x="69" y="117"/>
                  </a:cubicBezTo>
                  <a:cubicBezTo>
                    <a:pt x="69" y="117"/>
                    <a:pt x="70" y="117"/>
                    <a:pt x="70" y="117"/>
                  </a:cubicBezTo>
                  <a:cubicBezTo>
                    <a:pt x="71" y="120"/>
                    <a:pt x="75" y="123"/>
                    <a:pt x="77" y="124"/>
                  </a:cubicBezTo>
                  <a:cubicBezTo>
                    <a:pt x="78" y="125"/>
                    <a:pt x="78" y="125"/>
                    <a:pt x="78" y="125"/>
                  </a:cubicBezTo>
                  <a:cubicBezTo>
                    <a:pt x="81" y="127"/>
                    <a:pt x="82" y="129"/>
                    <a:pt x="83" y="133"/>
                  </a:cubicBezTo>
                  <a:cubicBezTo>
                    <a:pt x="83" y="133"/>
                    <a:pt x="83" y="133"/>
                    <a:pt x="83" y="133"/>
                  </a:cubicBezTo>
                  <a:cubicBezTo>
                    <a:pt x="83" y="134"/>
                    <a:pt x="84" y="134"/>
                    <a:pt x="84" y="135"/>
                  </a:cubicBezTo>
                  <a:cubicBezTo>
                    <a:pt x="85" y="135"/>
                    <a:pt x="85" y="135"/>
                    <a:pt x="85" y="135"/>
                  </a:cubicBezTo>
                  <a:cubicBezTo>
                    <a:pt x="86" y="136"/>
                    <a:pt x="88" y="137"/>
                    <a:pt x="90" y="139"/>
                  </a:cubicBezTo>
                  <a:cubicBezTo>
                    <a:pt x="93" y="141"/>
                    <a:pt x="93" y="141"/>
                    <a:pt x="93" y="141"/>
                  </a:cubicBezTo>
                  <a:cubicBezTo>
                    <a:pt x="94" y="142"/>
                    <a:pt x="96" y="143"/>
                    <a:pt x="97" y="145"/>
                  </a:cubicBezTo>
                  <a:cubicBezTo>
                    <a:pt x="98" y="145"/>
                    <a:pt x="98" y="146"/>
                    <a:pt x="98" y="147"/>
                  </a:cubicBezTo>
                  <a:cubicBezTo>
                    <a:pt x="99" y="148"/>
                    <a:pt x="99" y="148"/>
                    <a:pt x="99" y="148"/>
                  </a:cubicBezTo>
                  <a:cubicBezTo>
                    <a:pt x="99" y="149"/>
                    <a:pt x="99" y="149"/>
                    <a:pt x="99" y="150"/>
                  </a:cubicBezTo>
                  <a:cubicBezTo>
                    <a:pt x="99" y="150"/>
                    <a:pt x="99" y="150"/>
                    <a:pt x="99" y="150"/>
                  </a:cubicBezTo>
                  <a:cubicBezTo>
                    <a:pt x="103" y="151"/>
                    <a:pt x="103" y="152"/>
                    <a:pt x="103" y="154"/>
                  </a:cubicBezTo>
                  <a:cubicBezTo>
                    <a:pt x="103" y="155"/>
                    <a:pt x="103" y="155"/>
                    <a:pt x="103" y="155"/>
                  </a:cubicBezTo>
                  <a:cubicBezTo>
                    <a:pt x="103" y="155"/>
                    <a:pt x="103" y="156"/>
                    <a:pt x="103" y="157"/>
                  </a:cubicBezTo>
                  <a:cubicBezTo>
                    <a:pt x="103" y="157"/>
                    <a:pt x="103" y="158"/>
                    <a:pt x="103" y="158"/>
                  </a:cubicBezTo>
                  <a:cubicBezTo>
                    <a:pt x="103" y="159"/>
                    <a:pt x="103" y="159"/>
                    <a:pt x="103" y="159"/>
                  </a:cubicBezTo>
                  <a:cubicBezTo>
                    <a:pt x="103" y="159"/>
                    <a:pt x="103" y="160"/>
                    <a:pt x="103" y="161"/>
                  </a:cubicBezTo>
                  <a:cubicBezTo>
                    <a:pt x="104" y="161"/>
                    <a:pt x="104" y="161"/>
                    <a:pt x="104" y="161"/>
                  </a:cubicBezTo>
                  <a:cubicBezTo>
                    <a:pt x="104" y="161"/>
                    <a:pt x="104" y="162"/>
                    <a:pt x="104" y="162"/>
                  </a:cubicBezTo>
                  <a:cubicBezTo>
                    <a:pt x="104" y="162"/>
                    <a:pt x="104" y="162"/>
                    <a:pt x="104" y="162"/>
                  </a:cubicBezTo>
                  <a:cubicBezTo>
                    <a:pt x="104" y="162"/>
                    <a:pt x="104" y="162"/>
                    <a:pt x="104" y="162"/>
                  </a:cubicBezTo>
                  <a:cubicBezTo>
                    <a:pt x="107" y="161"/>
                    <a:pt x="107" y="161"/>
                    <a:pt x="107" y="161"/>
                  </a:cubicBezTo>
                  <a:cubicBezTo>
                    <a:pt x="108" y="161"/>
                    <a:pt x="108" y="161"/>
                    <a:pt x="108" y="161"/>
                  </a:cubicBezTo>
                  <a:cubicBezTo>
                    <a:pt x="109" y="161"/>
                    <a:pt x="109" y="161"/>
                    <a:pt x="110" y="162"/>
                  </a:cubicBezTo>
                  <a:cubicBezTo>
                    <a:pt x="110" y="162"/>
                    <a:pt x="110" y="162"/>
                    <a:pt x="110" y="162"/>
                  </a:cubicBezTo>
                  <a:cubicBezTo>
                    <a:pt x="111" y="163"/>
                    <a:pt x="111" y="164"/>
                    <a:pt x="112" y="165"/>
                  </a:cubicBezTo>
                  <a:cubicBezTo>
                    <a:pt x="112" y="166"/>
                    <a:pt x="112" y="166"/>
                    <a:pt x="112" y="166"/>
                  </a:cubicBezTo>
                  <a:cubicBezTo>
                    <a:pt x="112" y="166"/>
                    <a:pt x="112" y="166"/>
                    <a:pt x="112" y="166"/>
                  </a:cubicBezTo>
                  <a:cubicBezTo>
                    <a:pt x="113" y="166"/>
                    <a:pt x="113" y="166"/>
                    <a:pt x="113" y="166"/>
                  </a:cubicBezTo>
                  <a:cubicBezTo>
                    <a:pt x="114" y="167"/>
                    <a:pt x="114" y="167"/>
                    <a:pt x="114" y="167"/>
                  </a:cubicBezTo>
                  <a:cubicBezTo>
                    <a:pt x="114" y="167"/>
                    <a:pt x="115" y="167"/>
                    <a:pt x="115" y="168"/>
                  </a:cubicBezTo>
                  <a:cubicBezTo>
                    <a:pt x="116" y="168"/>
                    <a:pt x="116" y="168"/>
                    <a:pt x="116" y="168"/>
                  </a:cubicBezTo>
                  <a:cubicBezTo>
                    <a:pt x="116" y="168"/>
                    <a:pt x="116" y="169"/>
                    <a:pt x="116" y="169"/>
                  </a:cubicBezTo>
                  <a:cubicBezTo>
                    <a:pt x="117" y="169"/>
                    <a:pt x="117" y="169"/>
                    <a:pt x="118" y="170"/>
                  </a:cubicBezTo>
                  <a:cubicBezTo>
                    <a:pt x="118" y="170"/>
                    <a:pt x="118" y="170"/>
                    <a:pt x="118" y="170"/>
                  </a:cubicBezTo>
                  <a:cubicBezTo>
                    <a:pt x="120" y="171"/>
                    <a:pt x="122" y="172"/>
                    <a:pt x="123" y="173"/>
                  </a:cubicBezTo>
                  <a:cubicBezTo>
                    <a:pt x="124" y="175"/>
                    <a:pt x="124" y="177"/>
                    <a:pt x="124" y="178"/>
                  </a:cubicBezTo>
                  <a:cubicBezTo>
                    <a:pt x="123" y="178"/>
                    <a:pt x="123" y="179"/>
                    <a:pt x="123" y="179"/>
                  </a:cubicBezTo>
                  <a:cubicBezTo>
                    <a:pt x="122" y="180"/>
                    <a:pt x="121" y="180"/>
                    <a:pt x="121" y="181"/>
                  </a:cubicBezTo>
                  <a:cubicBezTo>
                    <a:pt x="119" y="182"/>
                    <a:pt x="119" y="182"/>
                    <a:pt x="119" y="182"/>
                  </a:cubicBezTo>
                  <a:cubicBezTo>
                    <a:pt x="119" y="182"/>
                    <a:pt x="119" y="182"/>
                    <a:pt x="119" y="182"/>
                  </a:cubicBezTo>
                  <a:cubicBezTo>
                    <a:pt x="120" y="183"/>
                    <a:pt x="123" y="185"/>
                    <a:pt x="124" y="186"/>
                  </a:cubicBezTo>
                  <a:cubicBezTo>
                    <a:pt x="125" y="187"/>
                    <a:pt x="125" y="187"/>
                    <a:pt x="125" y="187"/>
                  </a:cubicBezTo>
                  <a:cubicBezTo>
                    <a:pt x="126" y="188"/>
                    <a:pt x="128" y="190"/>
                    <a:pt x="129" y="193"/>
                  </a:cubicBezTo>
                  <a:cubicBezTo>
                    <a:pt x="129" y="193"/>
                    <a:pt x="129" y="193"/>
                    <a:pt x="129" y="193"/>
                  </a:cubicBezTo>
                  <a:cubicBezTo>
                    <a:pt x="129" y="196"/>
                    <a:pt x="129" y="197"/>
                    <a:pt x="128" y="198"/>
                  </a:cubicBezTo>
                  <a:cubicBezTo>
                    <a:pt x="126" y="200"/>
                    <a:pt x="126" y="200"/>
                    <a:pt x="126" y="200"/>
                  </a:cubicBezTo>
                  <a:cubicBezTo>
                    <a:pt x="125" y="201"/>
                    <a:pt x="125" y="201"/>
                    <a:pt x="125" y="201"/>
                  </a:cubicBezTo>
                  <a:cubicBezTo>
                    <a:pt x="125" y="201"/>
                    <a:pt x="125" y="202"/>
                    <a:pt x="125" y="202"/>
                  </a:cubicBezTo>
                  <a:cubicBezTo>
                    <a:pt x="125" y="203"/>
                    <a:pt x="125" y="203"/>
                    <a:pt x="125" y="203"/>
                  </a:cubicBezTo>
                  <a:cubicBezTo>
                    <a:pt x="126" y="204"/>
                    <a:pt x="126" y="204"/>
                    <a:pt x="126" y="204"/>
                  </a:cubicBezTo>
                  <a:cubicBezTo>
                    <a:pt x="126" y="207"/>
                    <a:pt x="126" y="207"/>
                    <a:pt x="126" y="207"/>
                  </a:cubicBezTo>
                  <a:cubicBezTo>
                    <a:pt x="127" y="208"/>
                    <a:pt x="127" y="208"/>
                    <a:pt x="127" y="208"/>
                  </a:cubicBezTo>
                  <a:cubicBezTo>
                    <a:pt x="126" y="209"/>
                    <a:pt x="126" y="209"/>
                    <a:pt x="126" y="209"/>
                  </a:cubicBezTo>
                  <a:cubicBezTo>
                    <a:pt x="126" y="210"/>
                    <a:pt x="126" y="210"/>
                    <a:pt x="126" y="210"/>
                  </a:cubicBezTo>
                  <a:cubicBezTo>
                    <a:pt x="125" y="213"/>
                    <a:pt x="124" y="216"/>
                    <a:pt x="123" y="218"/>
                  </a:cubicBezTo>
                  <a:cubicBezTo>
                    <a:pt x="122" y="222"/>
                    <a:pt x="122" y="222"/>
                    <a:pt x="122" y="222"/>
                  </a:cubicBezTo>
                  <a:cubicBezTo>
                    <a:pt x="122" y="222"/>
                    <a:pt x="123" y="223"/>
                    <a:pt x="123" y="223"/>
                  </a:cubicBezTo>
                  <a:cubicBezTo>
                    <a:pt x="124" y="224"/>
                    <a:pt x="124" y="224"/>
                    <a:pt x="124" y="224"/>
                  </a:cubicBezTo>
                  <a:cubicBezTo>
                    <a:pt x="124" y="225"/>
                    <a:pt x="125" y="226"/>
                    <a:pt x="125" y="228"/>
                  </a:cubicBezTo>
                  <a:cubicBezTo>
                    <a:pt x="124" y="229"/>
                    <a:pt x="125" y="229"/>
                    <a:pt x="125" y="230"/>
                  </a:cubicBezTo>
                  <a:cubicBezTo>
                    <a:pt x="126" y="232"/>
                    <a:pt x="126" y="232"/>
                    <a:pt x="126" y="232"/>
                  </a:cubicBezTo>
                  <a:cubicBezTo>
                    <a:pt x="127" y="234"/>
                    <a:pt x="129" y="237"/>
                    <a:pt x="128" y="240"/>
                  </a:cubicBezTo>
                  <a:cubicBezTo>
                    <a:pt x="128" y="241"/>
                    <a:pt x="128" y="241"/>
                    <a:pt x="128" y="241"/>
                  </a:cubicBezTo>
                  <a:cubicBezTo>
                    <a:pt x="128" y="243"/>
                    <a:pt x="127" y="246"/>
                    <a:pt x="126" y="248"/>
                  </a:cubicBezTo>
                  <a:cubicBezTo>
                    <a:pt x="126" y="249"/>
                    <a:pt x="126" y="249"/>
                    <a:pt x="126" y="249"/>
                  </a:cubicBezTo>
                  <a:cubicBezTo>
                    <a:pt x="126" y="250"/>
                    <a:pt x="126" y="252"/>
                    <a:pt x="126" y="253"/>
                  </a:cubicBezTo>
                  <a:cubicBezTo>
                    <a:pt x="127" y="254"/>
                    <a:pt x="127" y="254"/>
                    <a:pt x="127" y="254"/>
                  </a:cubicBezTo>
                  <a:cubicBezTo>
                    <a:pt x="127" y="256"/>
                    <a:pt x="127" y="258"/>
                    <a:pt x="127" y="260"/>
                  </a:cubicBezTo>
                  <a:cubicBezTo>
                    <a:pt x="127" y="260"/>
                    <a:pt x="127" y="260"/>
                    <a:pt x="127" y="260"/>
                  </a:cubicBezTo>
                  <a:cubicBezTo>
                    <a:pt x="133" y="260"/>
                    <a:pt x="133" y="260"/>
                    <a:pt x="133" y="260"/>
                  </a:cubicBezTo>
                  <a:cubicBezTo>
                    <a:pt x="127" y="262"/>
                    <a:pt x="127" y="262"/>
                    <a:pt x="127" y="262"/>
                  </a:cubicBezTo>
                  <a:cubicBezTo>
                    <a:pt x="127" y="262"/>
                    <a:pt x="127" y="262"/>
                    <a:pt x="127" y="263"/>
                  </a:cubicBezTo>
                  <a:cubicBezTo>
                    <a:pt x="126" y="267"/>
                    <a:pt x="124" y="268"/>
                    <a:pt x="122" y="269"/>
                  </a:cubicBezTo>
                  <a:cubicBezTo>
                    <a:pt x="121" y="269"/>
                    <a:pt x="121" y="269"/>
                    <a:pt x="121" y="269"/>
                  </a:cubicBezTo>
                  <a:cubicBezTo>
                    <a:pt x="119" y="269"/>
                    <a:pt x="118" y="269"/>
                    <a:pt x="118" y="268"/>
                  </a:cubicBezTo>
                  <a:cubicBezTo>
                    <a:pt x="117" y="268"/>
                    <a:pt x="117" y="268"/>
                    <a:pt x="116" y="268"/>
                  </a:cubicBezTo>
                  <a:cubicBezTo>
                    <a:pt x="116" y="268"/>
                    <a:pt x="116" y="268"/>
                    <a:pt x="116" y="268"/>
                  </a:cubicBezTo>
                  <a:cubicBezTo>
                    <a:pt x="116" y="269"/>
                    <a:pt x="115" y="269"/>
                    <a:pt x="115" y="270"/>
                  </a:cubicBezTo>
                  <a:cubicBezTo>
                    <a:pt x="114" y="271"/>
                    <a:pt x="114" y="271"/>
                    <a:pt x="114" y="271"/>
                  </a:cubicBezTo>
                  <a:cubicBezTo>
                    <a:pt x="113" y="272"/>
                    <a:pt x="110" y="273"/>
                    <a:pt x="108" y="273"/>
                  </a:cubicBezTo>
                  <a:cubicBezTo>
                    <a:pt x="107" y="273"/>
                    <a:pt x="107" y="273"/>
                    <a:pt x="107" y="273"/>
                  </a:cubicBezTo>
                  <a:cubicBezTo>
                    <a:pt x="105" y="274"/>
                    <a:pt x="102" y="275"/>
                    <a:pt x="100" y="275"/>
                  </a:cubicBezTo>
                  <a:cubicBezTo>
                    <a:pt x="100" y="276"/>
                    <a:pt x="100" y="277"/>
                    <a:pt x="100" y="278"/>
                  </a:cubicBezTo>
                  <a:cubicBezTo>
                    <a:pt x="101" y="279"/>
                    <a:pt x="101" y="279"/>
                    <a:pt x="101" y="279"/>
                  </a:cubicBezTo>
                  <a:cubicBezTo>
                    <a:pt x="101" y="279"/>
                    <a:pt x="101" y="280"/>
                    <a:pt x="101" y="280"/>
                  </a:cubicBezTo>
                  <a:cubicBezTo>
                    <a:pt x="101" y="284"/>
                    <a:pt x="101" y="284"/>
                    <a:pt x="101" y="284"/>
                  </a:cubicBezTo>
                  <a:cubicBezTo>
                    <a:pt x="88" y="281"/>
                    <a:pt x="88" y="281"/>
                    <a:pt x="88" y="281"/>
                  </a:cubicBezTo>
                  <a:cubicBezTo>
                    <a:pt x="87" y="281"/>
                    <a:pt x="86" y="282"/>
                    <a:pt x="86" y="283"/>
                  </a:cubicBezTo>
                  <a:cubicBezTo>
                    <a:pt x="86" y="284"/>
                    <a:pt x="86" y="284"/>
                    <a:pt x="86" y="284"/>
                  </a:cubicBezTo>
                  <a:cubicBezTo>
                    <a:pt x="86" y="286"/>
                    <a:pt x="87" y="288"/>
                    <a:pt x="88" y="289"/>
                  </a:cubicBezTo>
                  <a:cubicBezTo>
                    <a:pt x="89" y="290"/>
                    <a:pt x="90" y="291"/>
                    <a:pt x="91" y="292"/>
                  </a:cubicBezTo>
                  <a:cubicBezTo>
                    <a:pt x="92" y="293"/>
                    <a:pt x="93" y="294"/>
                    <a:pt x="94" y="295"/>
                  </a:cubicBezTo>
                  <a:cubicBezTo>
                    <a:pt x="100" y="301"/>
                    <a:pt x="100" y="301"/>
                    <a:pt x="100" y="301"/>
                  </a:cubicBezTo>
                  <a:cubicBezTo>
                    <a:pt x="94" y="300"/>
                    <a:pt x="94" y="300"/>
                    <a:pt x="94" y="300"/>
                  </a:cubicBezTo>
                  <a:cubicBezTo>
                    <a:pt x="95" y="301"/>
                    <a:pt x="95" y="301"/>
                    <a:pt x="95" y="301"/>
                  </a:cubicBezTo>
                  <a:cubicBezTo>
                    <a:pt x="96" y="305"/>
                    <a:pt x="96" y="305"/>
                    <a:pt x="96" y="305"/>
                  </a:cubicBezTo>
                  <a:cubicBezTo>
                    <a:pt x="91" y="304"/>
                    <a:pt x="91" y="304"/>
                    <a:pt x="91" y="304"/>
                  </a:cubicBezTo>
                  <a:cubicBezTo>
                    <a:pt x="88" y="303"/>
                    <a:pt x="85" y="302"/>
                    <a:pt x="83" y="300"/>
                  </a:cubicBezTo>
                  <a:cubicBezTo>
                    <a:pt x="82" y="299"/>
                    <a:pt x="82" y="299"/>
                    <a:pt x="82" y="299"/>
                  </a:cubicBezTo>
                  <a:cubicBezTo>
                    <a:pt x="82" y="299"/>
                    <a:pt x="82" y="299"/>
                    <a:pt x="82" y="299"/>
                  </a:cubicBezTo>
                  <a:cubicBezTo>
                    <a:pt x="82" y="299"/>
                    <a:pt x="82" y="299"/>
                    <a:pt x="81" y="299"/>
                  </a:cubicBezTo>
                  <a:cubicBezTo>
                    <a:pt x="80" y="299"/>
                    <a:pt x="80" y="299"/>
                    <a:pt x="80" y="299"/>
                  </a:cubicBezTo>
                  <a:cubicBezTo>
                    <a:pt x="78" y="300"/>
                    <a:pt x="76" y="300"/>
                    <a:pt x="75" y="300"/>
                  </a:cubicBezTo>
                  <a:cubicBezTo>
                    <a:pt x="74" y="300"/>
                    <a:pt x="74" y="300"/>
                    <a:pt x="74" y="300"/>
                  </a:cubicBezTo>
                  <a:cubicBezTo>
                    <a:pt x="73" y="301"/>
                    <a:pt x="72" y="301"/>
                    <a:pt x="71" y="301"/>
                  </a:cubicBezTo>
                  <a:cubicBezTo>
                    <a:pt x="74" y="304"/>
                    <a:pt x="78" y="308"/>
                    <a:pt x="82" y="311"/>
                  </a:cubicBezTo>
                  <a:cubicBezTo>
                    <a:pt x="84" y="313"/>
                    <a:pt x="86" y="313"/>
                    <a:pt x="89" y="313"/>
                  </a:cubicBezTo>
                  <a:cubicBezTo>
                    <a:pt x="91" y="313"/>
                    <a:pt x="93" y="313"/>
                    <a:pt x="94" y="313"/>
                  </a:cubicBezTo>
                  <a:cubicBezTo>
                    <a:pt x="95" y="313"/>
                    <a:pt x="95" y="313"/>
                    <a:pt x="96" y="313"/>
                  </a:cubicBezTo>
                  <a:cubicBezTo>
                    <a:pt x="98" y="313"/>
                    <a:pt x="100" y="313"/>
                    <a:pt x="102" y="314"/>
                  </a:cubicBezTo>
                  <a:cubicBezTo>
                    <a:pt x="102" y="314"/>
                    <a:pt x="102" y="314"/>
                    <a:pt x="102" y="314"/>
                  </a:cubicBezTo>
                  <a:cubicBezTo>
                    <a:pt x="108" y="314"/>
                    <a:pt x="106" y="312"/>
                    <a:pt x="101" y="310"/>
                  </a:cubicBezTo>
                  <a:cubicBezTo>
                    <a:pt x="102" y="309"/>
                    <a:pt x="103" y="309"/>
                    <a:pt x="103" y="308"/>
                  </a:cubicBezTo>
                  <a:cubicBezTo>
                    <a:pt x="103" y="309"/>
                    <a:pt x="103" y="309"/>
                    <a:pt x="103" y="309"/>
                  </a:cubicBezTo>
                  <a:cubicBezTo>
                    <a:pt x="101" y="307"/>
                    <a:pt x="101" y="307"/>
                    <a:pt x="101" y="307"/>
                  </a:cubicBezTo>
                  <a:cubicBezTo>
                    <a:pt x="102" y="305"/>
                    <a:pt x="102" y="305"/>
                    <a:pt x="102" y="305"/>
                  </a:cubicBezTo>
                  <a:cubicBezTo>
                    <a:pt x="105" y="302"/>
                    <a:pt x="105" y="302"/>
                    <a:pt x="105" y="302"/>
                  </a:cubicBezTo>
                  <a:cubicBezTo>
                    <a:pt x="106" y="304"/>
                    <a:pt x="106" y="304"/>
                    <a:pt x="106" y="304"/>
                  </a:cubicBezTo>
                  <a:cubicBezTo>
                    <a:pt x="109" y="302"/>
                    <a:pt x="109" y="302"/>
                    <a:pt x="109" y="302"/>
                  </a:cubicBezTo>
                  <a:cubicBezTo>
                    <a:pt x="109" y="303"/>
                    <a:pt x="109" y="305"/>
                    <a:pt x="108" y="306"/>
                  </a:cubicBezTo>
                  <a:cubicBezTo>
                    <a:pt x="109" y="307"/>
                    <a:pt x="111" y="308"/>
                    <a:pt x="111" y="308"/>
                  </a:cubicBezTo>
                  <a:cubicBezTo>
                    <a:pt x="111" y="307"/>
                    <a:pt x="111" y="306"/>
                    <a:pt x="112" y="305"/>
                  </a:cubicBezTo>
                  <a:cubicBezTo>
                    <a:pt x="112" y="308"/>
                    <a:pt x="110" y="309"/>
                    <a:pt x="114" y="311"/>
                  </a:cubicBezTo>
                  <a:cubicBezTo>
                    <a:pt x="114" y="311"/>
                    <a:pt x="112" y="311"/>
                    <a:pt x="112" y="312"/>
                  </a:cubicBezTo>
                  <a:cubicBezTo>
                    <a:pt x="113" y="312"/>
                    <a:pt x="113" y="312"/>
                    <a:pt x="113" y="312"/>
                  </a:cubicBezTo>
                  <a:cubicBezTo>
                    <a:pt x="116" y="312"/>
                    <a:pt x="120" y="309"/>
                    <a:pt x="121" y="308"/>
                  </a:cubicBezTo>
                  <a:cubicBezTo>
                    <a:pt x="127" y="305"/>
                    <a:pt x="133" y="301"/>
                    <a:pt x="139" y="298"/>
                  </a:cubicBezTo>
                  <a:cubicBezTo>
                    <a:pt x="146" y="294"/>
                    <a:pt x="154" y="291"/>
                    <a:pt x="157" y="285"/>
                  </a:cubicBezTo>
                  <a:cubicBezTo>
                    <a:pt x="158" y="283"/>
                    <a:pt x="165" y="279"/>
                    <a:pt x="162" y="277"/>
                  </a:cubicBezTo>
                  <a:cubicBezTo>
                    <a:pt x="160" y="276"/>
                    <a:pt x="161" y="272"/>
                    <a:pt x="162" y="269"/>
                  </a:cubicBezTo>
                  <a:cubicBezTo>
                    <a:pt x="162" y="271"/>
                    <a:pt x="163" y="274"/>
                    <a:pt x="164" y="275"/>
                  </a:cubicBezTo>
                  <a:cubicBezTo>
                    <a:pt x="164" y="273"/>
                    <a:pt x="163" y="273"/>
                    <a:pt x="163" y="273"/>
                  </a:cubicBezTo>
                  <a:cubicBezTo>
                    <a:pt x="163" y="271"/>
                    <a:pt x="164" y="268"/>
                    <a:pt x="163" y="266"/>
                  </a:cubicBezTo>
                  <a:cubicBezTo>
                    <a:pt x="163" y="264"/>
                    <a:pt x="162" y="263"/>
                    <a:pt x="161" y="262"/>
                  </a:cubicBezTo>
                  <a:cubicBezTo>
                    <a:pt x="161" y="262"/>
                    <a:pt x="161" y="262"/>
                    <a:pt x="162" y="262"/>
                  </a:cubicBezTo>
                  <a:cubicBezTo>
                    <a:pt x="162" y="262"/>
                    <a:pt x="163" y="262"/>
                    <a:pt x="164" y="262"/>
                  </a:cubicBezTo>
                  <a:cubicBezTo>
                    <a:pt x="164" y="263"/>
                    <a:pt x="165" y="263"/>
                    <a:pt x="166" y="263"/>
                  </a:cubicBezTo>
                  <a:cubicBezTo>
                    <a:pt x="166" y="263"/>
                    <a:pt x="166" y="263"/>
                    <a:pt x="166" y="263"/>
                  </a:cubicBezTo>
                  <a:cubicBezTo>
                    <a:pt x="165" y="263"/>
                    <a:pt x="165" y="262"/>
                    <a:pt x="165" y="262"/>
                  </a:cubicBezTo>
                  <a:cubicBezTo>
                    <a:pt x="164" y="257"/>
                    <a:pt x="162" y="257"/>
                    <a:pt x="166" y="253"/>
                  </a:cubicBezTo>
                  <a:cubicBezTo>
                    <a:pt x="166" y="255"/>
                    <a:pt x="167" y="257"/>
                    <a:pt x="168" y="259"/>
                  </a:cubicBezTo>
                  <a:cubicBezTo>
                    <a:pt x="169" y="257"/>
                    <a:pt x="168" y="257"/>
                    <a:pt x="167" y="256"/>
                  </a:cubicBezTo>
                  <a:cubicBezTo>
                    <a:pt x="167" y="255"/>
                    <a:pt x="167" y="255"/>
                    <a:pt x="167" y="254"/>
                  </a:cubicBezTo>
                  <a:cubicBezTo>
                    <a:pt x="167" y="253"/>
                    <a:pt x="166" y="253"/>
                    <a:pt x="167" y="252"/>
                  </a:cubicBezTo>
                  <a:cubicBezTo>
                    <a:pt x="169" y="251"/>
                    <a:pt x="169" y="251"/>
                    <a:pt x="169" y="251"/>
                  </a:cubicBezTo>
                  <a:cubicBezTo>
                    <a:pt x="168" y="248"/>
                    <a:pt x="167" y="245"/>
                    <a:pt x="166" y="242"/>
                  </a:cubicBezTo>
                  <a:cubicBezTo>
                    <a:pt x="165" y="239"/>
                    <a:pt x="164" y="235"/>
                    <a:pt x="163" y="232"/>
                  </a:cubicBezTo>
                  <a:cubicBezTo>
                    <a:pt x="163" y="231"/>
                    <a:pt x="165" y="229"/>
                    <a:pt x="165" y="228"/>
                  </a:cubicBezTo>
                  <a:cubicBezTo>
                    <a:pt x="165" y="227"/>
                    <a:pt x="164" y="226"/>
                    <a:pt x="164" y="224"/>
                  </a:cubicBezTo>
                  <a:cubicBezTo>
                    <a:pt x="163" y="219"/>
                    <a:pt x="161" y="212"/>
                    <a:pt x="159" y="207"/>
                  </a:cubicBezTo>
                  <a:cubicBezTo>
                    <a:pt x="157" y="202"/>
                    <a:pt x="156" y="200"/>
                    <a:pt x="156" y="196"/>
                  </a:cubicBezTo>
                  <a:cubicBezTo>
                    <a:pt x="156" y="194"/>
                    <a:pt x="156" y="194"/>
                    <a:pt x="155" y="194"/>
                  </a:cubicBezTo>
                  <a:cubicBezTo>
                    <a:pt x="150" y="189"/>
                    <a:pt x="146" y="183"/>
                    <a:pt x="142" y="178"/>
                  </a:cubicBezTo>
                  <a:cubicBezTo>
                    <a:pt x="142" y="177"/>
                    <a:pt x="142" y="177"/>
                    <a:pt x="142" y="177"/>
                  </a:cubicBezTo>
                  <a:cubicBezTo>
                    <a:pt x="142" y="176"/>
                    <a:pt x="142" y="176"/>
                    <a:pt x="142" y="176"/>
                  </a:cubicBezTo>
                  <a:cubicBezTo>
                    <a:pt x="142" y="176"/>
                    <a:pt x="142" y="176"/>
                    <a:pt x="142" y="176"/>
                  </a:cubicBezTo>
                  <a:cubicBezTo>
                    <a:pt x="142" y="174"/>
                    <a:pt x="143" y="173"/>
                    <a:pt x="142" y="173"/>
                  </a:cubicBezTo>
                  <a:cubicBezTo>
                    <a:pt x="142" y="173"/>
                    <a:pt x="141" y="172"/>
                    <a:pt x="141" y="172"/>
                  </a:cubicBezTo>
                  <a:cubicBezTo>
                    <a:pt x="140" y="172"/>
                    <a:pt x="139" y="174"/>
                    <a:pt x="139" y="175"/>
                  </a:cubicBezTo>
                  <a:cubicBezTo>
                    <a:pt x="139" y="175"/>
                    <a:pt x="139" y="175"/>
                    <a:pt x="139" y="175"/>
                  </a:cubicBezTo>
                  <a:cubicBezTo>
                    <a:pt x="138" y="174"/>
                    <a:pt x="138" y="172"/>
                    <a:pt x="139" y="171"/>
                  </a:cubicBezTo>
                  <a:cubicBezTo>
                    <a:pt x="135" y="169"/>
                    <a:pt x="129" y="167"/>
                    <a:pt x="126" y="164"/>
                  </a:cubicBezTo>
                  <a:cubicBezTo>
                    <a:pt x="124" y="162"/>
                    <a:pt x="122" y="159"/>
                    <a:pt x="120" y="158"/>
                  </a:cubicBezTo>
                  <a:cubicBezTo>
                    <a:pt x="118" y="157"/>
                    <a:pt x="116" y="156"/>
                    <a:pt x="114" y="155"/>
                  </a:cubicBezTo>
                  <a:cubicBezTo>
                    <a:pt x="112" y="153"/>
                    <a:pt x="112" y="150"/>
                    <a:pt x="111" y="148"/>
                  </a:cubicBezTo>
                  <a:cubicBezTo>
                    <a:pt x="109" y="147"/>
                    <a:pt x="107" y="145"/>
                    <a:pt x="105" y="143"/>
                  </a:cubicBezTo>
                  <a:cubicBezTo>
                    <a:pt x="101" y="140"/>
                    <a:pt x="97" y="137"/>
                    <a:pt x="94" y="134"/>
                  </a:cubicBezTo>
                  <a:cubicBezTo>
                    <a:pt x="94" y="134"/>
                    <a:pt x="94" y="134"/>
                    <a:pt x="94" y="134"/>
                  </a:cubicBezTo>
                  <a:cubicBezTo>
                    <a:pt x="96" y="134"/>
                    <a:pt x="97" y="135"/>
                    <a:pt x="99" y="135"/>
                  </a:cubicBezTo>
                  <a:cubicBezTo>
                    <a:pt x="97" y="133"/>
                    <a:pt x="97" y="131"/>
                    <a:pt x="99" y="129"/>
                  </a:cubicBezTo>
                  <a:cubicBezTo>
                    <a:pt x="99" y="129"/>
                    <a:pt x="87" y="117"/>
                    <a:pt x="85" y="116"/>
                  </a:cubicBezTo>
                  <a:cubicBezTo>
                    <a:pt x="81" y="112"/>
                    <a:pt x="79" y="109"/>
                    <a:pt x="78" y="104"/>
                  </a:cubicBezTo>
                  <a:cubicBezTo>
                    <a:pt x="78" y="104"/>
                    <a:pt x="78" y="104"/>
                    <a:pt x="78" y="104"/>
                  </a:cubicBezTo>
                  <a:cubicBezTo>
                    <a:pt x="79" y="101"/>
                    <a:pt x="81" y="99"/>
                    <a:pt x="82" y="97"/>
                  </a:cubicBezTo>
                  <a:cubicBezTo>
                    <a:pt x="84" y="95"/>
                    <a:pt x="81" y="91"/>
                    <a:pt x="82" y="89"/>
                  </a:cubicBezTo>
                  <a:cubicBezTo>
                    <a:pt x="83" y="88"/>
                    <a:pt x="85" y="85"/>
                    <a:pt x="85" y="84"/>
                  </a:cubicBezTo>
                  <a:cubicBezTo>
                    <a:pt x="88" y="80"/>
                    <a:pt x="89" y="79"/>
                    <a:pt x="92" y="77"/>
                  </a:cubicBezTo>
                  <a:cubicBezTo>
                    <a:pt x="94" y="75"/>
                    <a:pt x="97" y="72"/>
                    <a:pt x="100" y="72"/>
                  </a:cubicBezTo>
                  <a:cubicBezTo>
                    <a:pt x="100" y="72"/>
                    <a:pt x="100" y="72"/>
                    <a:pt x="100" y="72"/>
                  </a:cubicBezTo>
                  <a:cubicBezTo>
                    <a:pt x="101" y="69"/>
                    <a:pt x="101" y="66"/>
                    <a:pt x="101" y="64"/>
                  </a:cubicBezTo>
                  <a:cubicBezTo>
                    <a:pt x="101" y="63"/>
                    <a:pt x="105" y="63"/>
                    <a:pt x="106" y="62"/>
                  </a:cubicBezTo>
                  <a:cubicBezTo>
                    <a:pt x="105" y="61"/>
                    <a:pt x="105" y="61"/>
                    <a:pt x="105" y="61"/>
                  </a:cubicBezTo>
                  <a:cubicBezTo>
                    <a:pt x="104" y="57"/>
                    <a:pt x="105" y="57"/>
                    <a:pt x="102" y="54"/>
                  </a:cubicBezTo>
                  <a:cubicBezTo>
                    <a:pt x="104" y="56"/>
                    <a:pt x="106" y="57"/>
                    <a:pt x="108" y="57"/>
                  </a:cubicBezTo>
                  <a:cubicBezTo>
                    <a:pt x="108" y="57"/>
                    <a:pt x="109" y="57"/>
                    <a:pt x="109" y="57"/>
                  </a:cubicBezTo>
                  <a:cubicBezTo>
                    <a:pt x="109" y="57"/>
                    <a:pt x="109" y="57"/>
                    <a:pt x="109" y="57"/>
                  </a:cubicBezTo>
                  <a:cubicBezTo>
                    <a:pt x="110" y="56"/>
                    <a:pt x="111" y="56"/>
                    <a:pt x="112" y="56"/>
                  </a:cubicBezTo>
                  <a:cubicBezTo>
                    <a:pt x="112" y="55"/>
                    <a:pt x="112" y="55"/>
                    <a:pt x="112" y="55"/>
                  </a:cubicBezTo>
                  <a:cubicBezTo>
                    <a:pt x="113" y="55"/>
                    <a:pt x="113" y="56"/>
                    <a:pt x="114" y="56"/>
                  </a:cubicBezTo>
                  <a:cubicBezTo>
                    <a:pt x="114" y="56"/>
                    <a:pt x="114" y="56"/>
                    <a:pt x="115" y="56"/>
                  </a:cubicBezTo>
                  <a:cubicBezTo>
                    <a:pt x="115" y="56"/>
                    <a:pt x="115" y="56"/>
                    <a:pt x="115" y="56"/>
                  </a:cubicBezTo>
                  <a:cubicBezTo>
                    <a:pt x="116" y="56"/>
                    <a:pt x="118" y="55"/>
                    <a:pt x="119" y="54"/>
                  </a:cubicBezTo>
                  <a:cubicBezTo>
                    <a:pt x="119" y="54"/>
                    <a:pt x="119" y="54"/>
                    <a:pt x="119" y="53"/>
                  </a:cubicBezTo>
                  <a:cubicBezTo>
                    <a:pt x="119" y="52"/>
                    <a:pt x="120" y="51"/>
                    <a:pt x="119" y="50"/>
                  </a:cubicBezTo>
                  <a:cubicBezTo>
                    <a:pt x="120" y="50"/>
                    <a:pt x="121" y="49"/>
                    <a:pt x="122" y="49"/>
                  </a:cubicBezTo>
                  <a:cubicBezTo>
                    <a:pt x="120" y="50"/>
                    <a:pt x="120" y="52"/>
                    <a:pt x="119" y="53"/>
                  </a:cubicBezTo>
                  <a:cubicBezTo>
                    <a:pt x="121" y="52"/>
                    <a:pt x="123" y="51"/>
                    <a:pt x="125" y="50"/>
                  </a:cubicBezTo>
                  <a:cubicBezTo>
                    <a:pt x="124" y="49"/>
                    <a:pt x="123" y="49"/>
                    <a:pt x="122" y="48"/>
                  </a:cubicBezTo>
                  <a:cubicBezTo>
                    <a:pt x="125" y="47"/>
                    <a:pt x="128" y="45"/>
                    <a:pt x="130" y="43"/>
                  </a:cubicBezTo>
                  <a:cubicBezTo>
                    <a:pt x="130" y="43"/>
                    <a:pt x="130" y="43"/>
                    <a:pt x="130" y="43"/>
                  </a:cubicBezTo>
                  <a:cubicBezTo>
                    <a:pt x="130" y="43"/>
                    <a:pt x="130" y="43"/>
                    <a:pt x="130" y="43"/>
                  </a:cubicBezTo>
                  <a:cubicBezTo>
                    <a:pt x="127" y="43"/>
                    <a:pt x="125" y="42"/>
                    <a:pt x="124" y="42"/>
                  </a:cubicBezTo>
                  <a:cubicBezTo>
                    <a:pt x="123" y="42"/>
                    <a:pt x="123" y="42"/>
                    <a:pt x="122" y="42"/>
                  </a:cubicBezTo>
                  <a:cubicBezTo>
                    <a:pt x="122" y="42"/>
                    <a:pt x="122" y="42"/>
                    <a:pt x="122" y="42"/>
                  </a:cubicBezTo>
                  <a:cubicBezTo>
                    <a:pt x="121" y="42"/>
                    <a:pt x="120" y="42"/>
                    <a:pt x="120" y="42"/>
                  </a:cubicBezTo>
                  <a:cubicBezTo>
                    <a:pt x="117" y="42"/>
                    <a:pt x="115" y="40"/>
                    <a:pt x="114" y="39"/>
                  </a:cubicBezTo>
                  <a:cubicBezTo>
                    <a:pt x="114" y="38"/>
                    <a:pt x="114" y="38"/>
                    <a:pt x="113" y="38"/>
                  </a:cubicBezTo>
                  <a:cubicBezTo>
                    <a:pt x="112" y="36"/>
                    <a:pt x="112" y="36"/>
                    <a:pt x="112" y="36"/>
                  </a:cubicBezTo>
                  <a:cubicBezTo>
                    <a:pt x="110" y="34"/>
                    <a:pt x="110" y="34"/>
                    <a:pt x="110" y="34"/>
                  </a:cubicBezTo>
                  <a:cubicBezTo>
                    <a:pt x="110" y="34"/>
                    <a:pt x="109" y="34"/>
                    <a:pt x="108" y="34"/>
                  </a:cubicBezTo>
                  <a:cubicBezTo>
                    <a:pt x="107" y="34"/>
                    <a:pt x="107" y="34"/>
                    <a:pt x="107" y="34"/>
                  </a:cubicBezTo>
                  <a:cubicBezTo>
                    <a:pt x="106" y="34"/>
                    <a:pt x="104" y="34"/>
                    <a:pt x="102" y="33"/>
                  </a:cubicBezTo>
                  <a:cubicBezTo>
                    <a:pt x="102" y="33"/>
                    <a:pt x="102" y="33"/>
                    <a:pt x="102" y="33"/>
                  </a:cubicBezTo>
                  <a:cubicBezTo>
                    <a:pt x="101" y="33"/>
                    <a:pt x="101" y="33"/>
                    <a:pt x="101" y="33"/>
                  </a:cubicBezTo>
                  <a:cubicBezTo>
                    <a:pt x="100" y="31"/>
                    <a:pt x="100" y="31"/>
                    <a:pt x="100" y="31"/>
                  </a:cubicBezTo>
                  <a:cubicBezTo>
                    <a:pt x="100" y="30"/>
                    <a:pt x="100" y="30"/>
                    <a:pt x="100" y="30"/>
                  </a:cubicBezTo>
                  <a:cubicBezTo>
                    <a:pt x="100" y="30"/>
                    <a:pt x="100" y="30"/>
                    <a:pt x="100" y="30"/>
                  </a:cubicBezTo>
                  <a:cubicBezTo>
                    <a:pt x="100" y="28"/>
                    <a:pt x="100" y="28"/>
                    <a:pt x="100" y="28"/>
                  </a:cubicBezTo>
                  <a:cubicBezTo>
                    <a:pt x="101" y="28"/>
                    <a:pt x="101" y="28"/>
                    <a:pt x="101" y="28"/>
                  </a:cubicBezTo>
                  <a:cubicBezTo>
                    <a:pt x="101" y="28"/>
                    <a:pt x="100" y="27"/>
                    <a:pt x="100" y="27"/>
                  </a:cubicBezTo>
                  <a:cubicBezTo>
                    <a:pt x="100" y="25"/>
                    <a:pt x="99" y="24"/>
                    <a:pt x="99" y="23"/>
                  </a:cubicBezTo>
                  <a:cubicBezTo>
                    <a:pt x="98" y="22"/>
                    <a:pt x="98" y="22"/>
                    <a:pt x="98" y="22"/>
                  </a:cubicBezTo>
                  <a:cubicBezTo>
                    <a:pt x="97" y="19"/>
                    <a:pt x="98" y="17"/>
                    <a:pt x="100" y="15"/>
                  </a:cubicBezTo>
                  <a:cubicBezTo>
                    <a:pt x="101" y="13"/>
                    <a:pt x="101" y="13"/>
                    <a:pt x="101" y="13"/>
                  </a:cubicBezTo>
                  <a:cubicBezTo>
                    <a:pt x="101" y="13"/>
                    <a:pt x="102" y="12"/>
                    <a:pt x="102" y="12"/>
                  </a:cubicBezTo>
                  <a:cubicBezTo>
                    <a:pt x="102" y="12"/>
                    <a:pt x="102" y="12"/>
                    <a:pt x="102" y="12"/>
                  </a:cubicBezTo>
                  <a:cubicBezTo>
                    <a:pt x="101" y="11"/>
                    <a:pt x="101" y="11"/>
                    <a:pt x="101" y="11"/>
                  </a:cubicBezTo>
                  <a:cubicBezTo>
                    <a:pt x="100" y="11"/>
                    <a:pt x="99" y="11"/>
                    <a:pt x="97" y="11"/>
                  </a:cubicBezTo>
                  <a:cubicBezTo>
                    <a:pt x="97" y="11"/>
                    <a:pt x="97" y="11"/>
                    <a:pt x="96" y="11"/>
                  </a:cubicBezTo>
                  <a:cubicBezTo>
                    <a:pt x="96" y="11"/>
                    <a:pt x="95" y="11"/>
                    <a:pt x="95" y="11"/>
                  </a:cubicBezTo>
                  <a:cubicBezTo>
                    <a:pt x="94" y="11"/>
                    <a:pt x="94" y="11"/>
                    <a:pt x="93" y="11"/>
                  </a:cubicBezTo>
                  <a:cubicBezTo>
                    <a:pt x="92" y="11"/>
                    <a:pt x="92" y="11"/>
                    <a:pt x="92" y="11"/>
                  </a:cubicBezTo>
                  <a:cubicBezTo>
                    <a:pt x="88" y="11"/>
                    <a:pt x="84" y="11"/>
                    <a:pt x="80" y="8"/>
                  </a:cubicBezTo>
                  <a:cubicBezTo>
                    <a:pt x="79" y="7"/>
                    <a:pt x="79" y="7"/>
                    <a:pt x="79" y="7"/>
                  </a:cubicBezTo>
                  <a:cubicBezTo>
                    <a:pt x="77" y="6"/>
                    <a:pt x="75" y="4"/>
                    <a:pt x="74" y="3"/>
                  </a:cubicBezTo>
                  <a:cubicBezTo>
                    <a:pt x="73" y="2"/>
                    <a:pt x="73" y="2"/>
                    <a:pt x="73" y="2"/>
                  </a:cubicBezTo>
                  <a:cubicBezTo>
                    <a:pt x="73" y="1"/>
                    <a:pt x="72" y="1"/>
                    <a:pt x="72" y="1"/>
                  </a:cubicBezTo>
                  <a:cubicBezTo>
                    <a:pt x="72" y="0"/>
                    <a:pt x="72" y="0"/>
                    <a:pt x="72" y="0"/>
                  </a:cubicBezTo>
                  <a:cubicBezTo>
                    <a:pt x="71" y="0"/>
                    <a:pt x="71" y="0"/>
                    <a:pt x="71" y="0"/>
                  </a:cubicBezTo>
                  <a:cubicBezTo>
                    <a:pt x="70" y="0"/>
                    <a:pt x="70" y="0"/>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6" name="Freeform 1555">
              <a:extLst>
                <a:ext uri="{FF2B5EF4-FFF2-40B4-BE49-F238E27FC236}">
                  <a16:creationId xmlns:a16="http://schemas.microsoft.com/office/drawing/2014/main" id="{C8600737-2583-48B4-AF34-DC4B20B7790C}"/>
                </a:ext>
              </a:extLst>
            </p:cNvPr>
            <p:cNvSpPr>
              <a:spLocks/>
            </p:cNvSpPr>
            <p:nvPr/>
          </p:nvSpPr>
          <p:spPr bwMode="auto">
            <a:xfrm>
              <a:off x="3197443" y="4100840"/>
              <a:ext cx="124837" cy="165107"/>
            </a:xfrm>
            <a:custGeom>
              <a:avLst/>
              <a:gdLst>
                <a:gd name="T0" fmla="*/ 18 w 39"/>
                <a:gd name="T1" fmla="*/ 0 h 52"/>
                <a:gd name="T2" fmla="*/ 16 w 39"/>
                <a:gd name="T3" fmla="*/ 0 h 52"/>
                <a:gd name="T4" fmla="*/ 15 w 39"/>
                <a:gd name="T5" fmla="*/ 0 h 52"/>
                <a:gd name="T6" fmla="*/ 15 w 39"/>
                <a:gd name="T7" fmla="*/ 1 h 52"/>
                <a:gd name="T8" fmla="*/ 5 w 39"/>
                <a:gd name="T9" fmla="*/ 9 h 52"/>
                <a:gd name="T10" fmla="*/ 0 w 39"/>
                <a:gd name="T11" fmla="*/ 11 h 52"/>
                <a:gd name="T12" fmla="*/ 3 w 39"/>
                <a:gd name="T13" fmla="*/ 15 h 52"/>
                <a:gd name="T14" fmla="*/ 14 w 39"/>
                <a:gd name="T15" fmla="*/ 22 h 52"/>
                <a:gd name="T16" fmla="*/ 13 w 39"/>
                <a:gd name="T17" fmla="*/ 21 h 52"/>
                <a:gd name="T18" fmla="*/ 9 w 39"/>
                <a:gd name="T19" fmla="*/ 24 h 52"/>
                <a:gd name="T20" fmla="*/ 7 w 39"/>
                <a:gd name="T21" fmla="*/ 39 h 52"/>
                <a:gd name="T22" fmla="*/ 9 w 39"/>
                <a:gd name="T23" fmla="*/ 50 h 52"/>
                <a:gd name="T24" fmla="*/ 10 w 39"/>
                <a:gd name="T25" fmla="*/ 50 h 52"/>
                <a:gd name="T26" fmla="*/ 5 w 39"/>
                <a:gd name="T27" fmla="*/ 52 h 52"/>
                <a:gd name="T28" fmla="*/ 16 w 39"/>
                <a:gd name="T29" fmla="*/ 49 h 52"/>
                <a:gd name="T30" fmla="*/ 21 w 39"/>
                <a:gd name="T31" fmla="*/ 45 h 52"/>
                <a:gd name="T32" fmla="*/ 34 w 39"/>
                <a:gd name="T33" fmla="*/ 35 h 52"/>
                <a:gd name="T34" fmla="*/ 38 w 39"/>
                <a:gd name="T35" fmla="*/ 30 h 52"/>
                <a:gd name="T36" fmla="*/ 33 w 39"/>
                <a:gd name="T37" fmla="*/ 21 h 52"/>
                <a:gd name="T38" fmla="*/ 31 w 39"/>
                <a:gd name="T39" fmla="*/ 18 h 52"/>
                <a:gd name="T40" fmla="*/ 31 w 39"/>
                <a:gd name="T41" fmla="*/ 18 h 52"/>
                <a:gd name="T42" fmla="*/ 27 w 39"/>
                <a:gd name="T43" fmla="*/ 14 h 52"/>
                <a:gd name="T44" fmla="*/ 27 w 39"/>
                <a:gd name="T45" fmla="*/ 14 h 52"/>
                <a:gd name="T46" fmla="*/ 21 w 39"/>
                <a:gd name="T47" fmla="*/ 9 h 52"/>
                <a:gd name="T48" fmla="*/ 18 w 39"/>
                <a:gd name="T49" fmla="*/ 5 h 52"/>
                <a:gd name="T50" fmla="*/ 19 w 39"/>
                <a:gd name="T51" fmla="*/ 6 h 52"/>
                <a:gd name="T52" fmla="*/ 19 w 39"/>
                <a:gd name="T53" fmla="*/ 6 h 52"/>
                <a:gd name="T54" fmla="*/ 18 w 39"/>
                <a:gd name="T5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52">
                  <a:moveTo>
                    <a:pt x="18" y="0"/>
                  </a:moveTo>
                  <a:cubicBezTo>
                    <a:pt x="17" y="0"/>
                    <a:pt x="16" y="0"/>
                    <a:pt x="16" y="0"/>
                  </a:cubicBezTo>
                  <a:cubicBezTo>
                    <a:pt x="15" y="0"/>
                    <a:pt x="15" y="0"/>
                    <a:pt x="15" y="0"/>
                  </a:cubicBezTo>
                  <a:cubicBezTo>
                    <a:pt x="15" y="1"/>
                    <a:pt x="15" y="1"/>
                    <a:pt x="15" y="1"/>
                  </a:cubicBezTo>
                  <a:cubicBezTo>
                    <a:pt x="15" y="4"/>
                    <a:pt x="10" y="8"/>
                    <a:pt x="5" y="9"/>
                  </a:cubicBezTo>
                  <a:cubicBezTo>
                    <a:pt x="3" y="10"/>
                    <a:pt x="1" y="11"/>
                    <a:pt x="0" y="11"/>
                  </a:cubicBezTo>
                  <a:cubicBezTo>
                    <a:pt x="1" y="13"/>
                    <a:pt x="2" y="15"/>
                    <a:pt x="3" y="15"/>
                  </a:cubicBezTo>
                  <a:cubicBezTo>
                    <a:pt x="5" y="17"/>
                    <a:pt x="14" y="17"/>
                    <a:pt x="14" y="22"/>
                  </a:cubicBezTo>
                  <a:cubicBezTo>
                    <a:pt x="14" y="21"/>
                    <a:pt x="14" y="21"/>
                    <a:pt x="13" y="21"/>
                  </a:cubicBezTo>
                  <a:cubicBezTo>
                    <a:pt x="12" y="21"/>
                    <a:pt x="10" y="23"/>
                    <a:pt x="9" y="24"/>
                  </a:cubicBezTo>
                  <a:cubicBezTo>
                    <a:pt x="7" y="28"/>
                    <a:pt x="7" y="34"/>
                    <a:pt x="7" y="39"/>
                  </a:cubicBezTo>
                  <a:cubicBezTo>
                    <a:pt x="7" y="41"/>
                    <a:pt x="5" y="50"/>
                    <a:pt x="9" y="50"/>
                  </a:cubicBezTo>
                  <a:cubicBezTo>
                    <a:pt x="10" y="50"/>
                    <a:pt x="10" y="50"/>
                    <a:pt x="10" y="50"/>
                  </a:cubicBezTo>
                  <a:cubicBezTo>
                    <a:pt x="8" y="51"/>
                    <a:pt x="7" y="51"/>
                    <a:pt x="5" y="52"/>
                  </a:cubicBezTo>
                  <a:cubicBezTo>
                    <a:pt x="10" y="52"/>
                    <a:pt x="13" y="52"/>
                    <a:pt x="16" y="49"/>
                  </a:cubicBezTo>
                  <a:cubicBezTo>
                    <a:pt x="19" y="48"/>
                    <a:pt x="19" y="47"/>
                    <a:pt x="21" y="45"/>
                  </a:cubicBezTo>
                  <a:cubicBezTo>
                    <a:pt x="23" y="39"/>
                    <a:pt x="30" y="38"/>
                    <a:pt x="34" y="35"/>
                  </a:cubicBezTo>
                  <a:cubicBezTo>
                    <a:pt x="38" y="33"/>
                    <a:pt x="39" y="34"/>
                    <a:pt x="38" y="30"/>
                  </a:cubicBezTo>
                  <a:cubicBezTo>
                    <a:pt x="36" y="27"/>
                    <a:pt x="34" y="24"/>
                    <a:pt x="33" y="21"/>
                  </a:cubicBezTo>
                  <a:cubicBezTo>
                    <a:pt x="32" y="20"/>
                    <a:pt x="32" y="19"/>
                    <a:pt x="31" y="18"/>
                  </a:cubicBezTo>
                  <a:cubicBezTo>
                    <a:pt x="31" y="18"/>
                    <a:pt x="31" y="18"/>
                    <a:pt x="31" y="18"/>
                  </a:cubicBezTo>
                  <a:cubicBezTo>
                    <a:pt x="29" y="17"/>
                    <a:pt x="28" y="16"/>
                    <a:pt x="27" y="14"/>
                  </a:cubicBezTo>
                  <a:cubicBezTo>
                    <a:pt x="27" y="14"/>
                    <a:pt x="27" y="14"/>
                    <a:pt x="27" y="14"/>
                  </a:cubicBezTo>
                  <a:cubicBezTo>
                    <a:pt x="25" y="13"/>
                    <a:pt x="22" y="11"/>
                    <a:pt x="21" y="9"/>
                  </a:cubicBezTo>
                  <a:cubicBezTo>
                    <a:pt x="20" y="8"/>
                    <a:pt x="19" y="7"/>
                    <a:pt x="18" y="5"/>
                  </a:cubicBezTo>
                  <a:cubicBezTo>
                    <a:pt x="18" y="6"/>
                    <a:pt x="18" y="6"/>
                    <a:pt x="19" y="6"/>
                  </a:cubicBezTo>
                  <a:cubicBezTo>
                    <a:pt x="19" y="6"/>
                    <a:pt x="19" y="6"/>
                    <a:pt x="19" y="6"/>
                  </a:cubicBezTo>
                  <a:cubicBezTo>
                    <a:pt x="21" y="6"/>
                    <a:pt x="19" y="2"/>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7" name="Freeform 1556">
              <a:extLst>
                <a:ext uri="{FF2B5EF4-FFF2-40B4-BE49-F238E27FC236}">
                  <a16:creationId xmlns:a16="http://schemas.microsoft.com/office/drawing/2014/main" id="{10DE656B-7375-4E1F-A180-BFF244A1738B}"/>
                </a:ext>
              </a:extLst>
            </p:cNvPr>
            <p:cNvSpPr>
              <a:spLocks/>
            </p:cNvSpPr>
            <p:nvPr/>
          </p:nvSpPr>
          <p:spPr bwMode="auto">
            <a:xfrm>
              <a:off x="3077976" y="4027012"/>
              <a:ext cx="0" cy="9396"/>
            </a:xfrm>
            <a:custGeom>
              <a:avLst/>
              <a:gdLst>
                <a:gd name="T0" fmla="*/ 0 h 3"/>
                <a:gd name="T1" fmla="*/ 0 h 3"/>
                <a:gd name="T2" fmla="*/ 0 h 3"/>
                <a:gd name="T3" fmla="*/ 3 h 3"/>
                <a:gd name="T4" fmla="*/ 0 h 3"/>
              </a:gdLst>
              <a:ahLst/>
              <a:cxnLst>
                <a:cxn ang="0">
                  <a:pos x="0" y="T0"/>
                </a:cxn>
                <a:cxn ang="0">
                  <a:pos x="0" y="T1"/>
                </a:cxn>
                <a:cxn ang="0">
                  <a:pos x="0" y="T2"/>
                </a:cxn>
                <a:cxn ang="0">
                  <a:pos x="0" y="T3"/>
                </a:cxn>
                <a:cxn ang="0">
                  <a:pos x="0" y="T4"/>
                </a:cxn>
              </a:cxnLst>
              <a:rect l="0" t="0" r="r" b="b"/>
              <a:pathLst>
                <a:path h="3">
                  <a:moveTo>
                    <a:pt x="0" y="0"/>
                  </a:moveTo>
                  <a:cubicBezTo>
                    <a:pt x="0" y="0"/>
                    <a:pt x="0" y="0"/>
                    <a:pt x="0" y="0"/>
                  </a:cubicBezTo>
                  <a:cubicBezTo>
                    <a:pt x="0" y="0"/>
                    <a:pt x="0" y="0"/>
                    <a:pt x="0" y="0"/>
                  </a:cubicBezTo>
                  <a:cubicBezTo>
                    <a:pt x="0" y="1"/>
                    <a:pt x="0" y="2"/>
                    <a:pt x="0"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8" name="Freeform 1557">
              <a:extLst>
                <a:ext uri="{FF2B5EF4-FFF2-40B4-BE49-F238E27FC236}">
                  <a16:creationId xmlns:a16="http://schemas.microsoft.com/office/drawing/2014/main" id="{99C2E30D-FC3E-4C31-9016-BAAF71FD9F3A}"/>
                </a:ext>
              </a:extLst>
            </p:cNvPr>
            <p:cNvSpPr>
              <a:spLocks noEditPoints="1"/>
            </p:cNvSpPr>
            <p:nvPr/>
          </p:nvSpPr>
          <p:spPr bwMode="auto">
            <a:xfrm>
              <a:off x="3043075" y="3824319"/>
              <a:ext cx="379881" cy="297999"/>
            </a:xfrm>
            <a:custGeom>
              <a:avLst/>
              <a:gdLst>
                <a:gd name="T0" fmla="*/ 14 w 120"/>
                <a:gd name="T1" fmla="*/ 69 h 94"/>
                <a:gd name="T2" fmla="*/ 92 w 120"/>
                <a:gd name="T3" fmla="*/ 2 h 94"/>
                <a:gd name="T4" fmla="*/ 91 w 120"/>
                <a:gd name="T5" fmla="*/ 9 h 94"/>
                <a:gd name="T6" fmla="*/ 85 w 120"/>
                <a:gd name="T7" fmla="*/ 18 h 94"/>
                <a:gd name="T8" fmla="*/ 82 w 120"/>
                <a:gd name="T9" fmla="*/ 15 h 94"/>
                <a:gd name="T10" fmla="*/ 79 w 120"/>
                <a:gd name="T11" fmla="*/ 14 h 94"/>
                <a:gd name="T12" fmla="*/ 77 w 120"/>
                <a:gd name="T13" fmla="*/ 11 h 94"/>
                <a:gd name="T14" fmla="*/ 75 w 120"/>
                <a:gd name="T15" fmla="*/ 11 h 94"/>
                <a:gd name="T16" fmla="*/ 71 w 120"/>
                <a:gd name="T17" fmla="*/ 11 h 94"/>
                <a:gd name="T18" fmla="*/ 66 w 120"/>
                <a:gd name="T19" fmla="*/ 7 h 94"/>
                <a:gd name="T20" fmla="*/ 59 w 120"/>
                <a:gd name="T21" fmla="*/ 5 h 94"/>
                <a:gd name="T22" fmla="*/ 57 w 120"/>
                <a:gd name="T23" fmla="*/ 4 h 94"/>
                <a:gd name="T24" fmla="*/ 50 w 120"/>
                <a:gd name="T25" fmla="*/ 4 h 94"/>
                <a:gd name="T26" fmla="*/ 37 w 120"/>
                <a:gd name="T27" fmla="*/ 4 h 94"/>
                <a:gd name="T28" fmla="*/ 25 w 120"/>
                <a:gd name="T29" fmla="*/ 4 h 94"/>
                <a:gd name="T30" fmla="*/ 14 w 120"/>
                <a:gd name="T31" fmla="*/ 8 h 94"/>
                <a:gd name="T32" fmla="*/ 2 w 120"/>
                <a:gd name="T33" fmla="*/ 23 h 94"/>
                <a:gd name="T34" fmla="*/ 3 w 120"/>
                <a:gd name="T35" fmla="*/ 31 h 94"/>
                <a:gd name="T36" fmla="*/ 5 w 120"/>
                <a:gd name="T37" fmla="*/ 41 h 94"/>
                <a:gd name="T38" fmla="*/ 10 w 120"/>
                <a:gd name="T39" fmla="*/ 46 h 94"/>
                <a:gd name="T40" fmla="*/ 11 w 120"/>
                <a:gd name="T41" fmla="*/ 48 h 94"/>
                <a:gd name="T42" fmla="*/ 13 w 120"/>
                <a:gd name="T43" fmla="*/ 62 h 94"/>
                <a:gd name="T44" fmla="*/ 14 w 120"/>
                <a:gd name="T45" fmla="*/ 69 h 94"/>
                <a:gd name="T46" fmla="*/ 18 w 120"/>
                <a:gd name="T47" fmla="*/ 85 h 94"/>
                <a:gd name="T48" fmla="*/ 27 w 120"/>
                <a:gd name="T49" fmla="*/ 78 h 94"/>
                <a:gd name="T50" fmla="*/ 27 w 120"/>
                <a:gd name="T51" fmla="*/ 93 h 94"/>
                <a:gd name="T52" fmla="*/ 45 w 120"/>
                <a:gd name="T53" fmla="*/ 94 h 94"/>
                <a:gd name="T54" fmla="*/ 58 w 120"/>
                <a:gd name="T55" fmla="*/ 88 h 94"/>
                <a:gd name="T56" fmla="*/ 63 w 120"/>
                <a:gd name="T57" fmla="*/ 81 h 94"/>
                <a:gd name="T58" fmla="*/ 70 w 120"/>
                <a:gd name="T59" fmla="*/ 81 h 94"/>
                <a:gd name="T60" fmla="*/ 77 w 120"/>
                <a:gd name="T61" fmla="*/ 80 h 94"/>
                <a:gd name="T62" fmla="*/ 77 w 120"/>
                <a:gd name="T63" fmla="*/ 71 h 94"/>
                <a:gd name="T64" fmla="*/ 82 w 120"/>
                <a:gd name="T65" fmla="*/ 62 h 94"/>
                <a:gd name="T66" fmla="*/ 91 w 120"/>
                <a:gd name="T67" fmla="*/ 62 h 94"/>
                <a:gd name="T68" fmla="*/ 104 w 120"/>
                <a:gd name="T69" fmla="*/ 53 h 94"/>
                <a:gd name="T70" fmla="*/ 110 w 120"/>
                <a:gd name="T71" fmla="*/ 49 h 94"/>
                <a:gd name="T72" fmla="*/ 117 w 120"/>
                <a:gd name="T73" fmla="*/ 49 h 94"/>
                <a:gd name="T74" fmla="*/ 118 w 120"/>
                <a:gd name="T75" fmla="*/ 48 h 94"/>
                <a:gd name="T76" fmla="*/ 118 w 120"/>
                <a:gd name="T77" fmla="*/ 46 h 94"/>
                <a:gd name="T78" fmla="*/ 118 w 120"/>
                <a:gd name="T79" fmla="*/ 32 h 94"/>
                <a:gd name="T80" fmla="*/ 118 w 120"/>
                <a:gd name="T81" fmla="*/ 21 h 94"/>
                <a:gd name="T82" fmla="*/ 116 w 120"/>
                <a:gd name="T83" fmla="*/ 14 h 94"/>
                <a:gd name="T84" fmla="*/ 114 w 120"/>
                <a:gd name="T85" fmla="*/ 3 h 94"/>
                <a:gd name="T86" fmla="*/ 110 w 120"/>
                <a:gd name="T87" fmla="*/ 4 h 94"/>
                <a:gd name="T88" fmla="*/ 104 w 120"/>
                <a:gd name="T89" fmla="*/ 4 h 94"/>
                <a:gd name="T90" fmla="*/ 96 w 120"/>
                <a:gd name="T9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94">
                  <a:moveTo>
                    <a:pt x="14" y="69"/>
                  </a:moveTo>
                  <a:cubicBezTo>
                    <a:pt x="14" y="69"/>
                    <a:pt x="13" y="69"/>
                    <a:pt x="13" y="69"/>
                  </a:cubicBezTo>
                  <a:cubicBezTo>
                    <a:pt x="13" y="69"/>
                    <a:pt x="14" y="69"/>
                    <a:pt x="14" y="69"/>
                  </a:cubicBezTo>
                  <a:moveTo>
                    <a:pt x="96" y="0"/>
                  </a:moveTo>
                  <a:cubicBezTo>
                    <a:pt x="94" y="0"/>
                    <a:pt x="93" y="1"/>
                    <a:pt x="92" y="2"/>
                  </a:cubicBezTo>
                  <a:cubicBezTo>
                    <a:pt x="92" y="2"/>
                    <a:pt x="92" y="2"/>
                    <a:pt x="92" y="2"/>
                  </a:cubicBezTo>
                  <a:cubicBezTo>
                    <a:pt x="91" y="2"/>
                    <a:pt x="90" y="3"/>
                    <a:pt x="90" y="3"/>
                  </a:cubicBezTo>
                  <a:cubicBezTo>
                    <a:pt x="89" y="4"/>
                    <a:pt x="89" y="4"/>
                    <a:pt x="89" y="4"/>
                  </a:cubicBezTo>
                  <a:cubicBezTo>
                    <a:pt x="90" y="5"/>
                    <a:pt x="91" y="7"/>
                    <a:pt x="91" y="9"/>
                  </a:cubicBezTo>
                  <a:cubicBezTo>
                    <a:pt x="91" y="10"/>
                    <a:pt x="91" y="11"/>
                    <a:pt x="90" y="12"/>
                  </a:cubicBezTo>
                  <a:cubicBezTo>
                    <a:pt x="89" y="14"/>
                    <a:pt x="87" y="15"/>
                    <a:pt x="85" y="15"/>
                  </a:cubicBezTo>
                  <a:cubicBezTo>
                    <a:pt x="85" y="18"/>
                    <a:pt x="85" y="18"/>
                    <a:pt x="85" y="18"/>
                  </a:cubicBezTo>
                  <a:cubicBezTo>
                    <a:pt x="84" y="15"/>
                    <a:pt x="84" y="15"/>
                    <a:pt x="84" y="15"/>
                  </a:cubicBezTo>
                  <a:cubicBezTo>
                    <a:pt x="83" y="15"/>
                    <a:pt x="83" y="15"/>
                    <a:pt x="83" y="15"/>
                  </a:cubicBezTo>
                  <a:cubicBezTo>
                    <a:pt x="82" y="15"/>
                    <a:pt x="82" y="15"/>
                    <a:pt x="82" y="15"/>
                  </a:cubicBezTo>
                  <a:cubicBezTo>
                    <a:pt x="81" y="15"/>
                    <a:pt x="81" y="15"/>
                    <a:pt x="81" y="15"/>
                  </a:cubicBezTo>
                  <a:cubicBezTo>
                    <a:pt x="81" y="14"/>
                    <a:pt x="81" y="14"/>
                    <a:pt x="81" y="14"/>
                  </a:cubicBezTo>
                  <a:cubicBezTo>
                    <a:pt x="80" y="14"/>
                    <a:pt x="80" y="14"/>
                    <a:pt x="79" y="14"/>
                  </a:cubicBezTo>
                  <a:cubicBezTo>
                    <a:pt x="79" y="13"/>
                    <a:pt x="78" y="12"/>
                    <a:pt x="78" y="12"/>
                  </a:cubicBezTo>
                  <a:cubicBezTo>
                    <a:pt x="77" y="11"/>
                    <a:pt x="77" y="11"/>
                    <a:pt x="77" y="11"/>
                  </a:cubicBezTo>
                  <a:cubicBezTo>
                    <a:pt x="77" y="11"/>
                    <a:pt x="77" y="11"/>
                    <a:pt x="77" y="11"/>
                  </a:cubicBezTo>
                  <a:cubicBezTo>
                    <a:pt x="77" y="11"/>
                    <a:pt x="77" y="11"/>
                    <a:pt x="77" y="11"/>
                  </a:cubicBezTo>
                  <a:cubicBezTo>
                    <a:pt x="76" y="11"/>
                    <a:pt x="76" y="11"/>
                    <a:pt x="76" y="11"/>
                  </a:cubicBezTo>
                  <a:cubicBezTo>
                    <a:pt x="75" y="11"/>
                    <a:pt x="75" y="11"/>
                    <a:pt x="75" y="11"/>
                  </a:cubicBezTo>
                  <a:cubicBezTo>
                    <a:pt x="74" y="11"/>
                    <a:pt x="74" y="11"/>
                    <a:pt x="74" y="11"/>
                  </a:cubicBezTo>
                  <a:cubicBezTo>
                    <a:pt x="73" y="11"/>
                    <a:pt x="73" y="11"/>
                    <a:pt x="72" y="11"/>
                  </a:cubicBezTo>
                  <a:cubicBezTo>
                    <a:pt x="71" y="11"/>
                    <a:pt x="71" y="11"/>
                    <a:pt x="71" y="11"/>
                  </a:cubicBezTo>
                  <a:cubicBezTo>
                    <a:pt x="71" y="11"/>
                    <a:pt x="70" y="11"/>
                    <a:pt x="70" y="11"/>
                  </a:cubicBezTo>
                  <a:cubicBezTo>
                    <a:pt x="70" y="11"/>
                    <a:pt x="68" y="11"/>
                    <a:pt x="67" y="9"/>
                  </a:cubicBezTo>
                  <a:cubicBezTo>
                    <a:pt x="67" y="9"/>
                    <a:pt x="66" y="8"/>
                    <a:pt x="66" y="7"/>
                  </a:cubicBezTo>
                  <a:cubicBezTo>
                    <a:pt x="65" y="7"/>
                    <a:pt x="64" y="8"/>
                    <a:pt x="63" y="8"/>
                  </a:cubicBezTo>
                  <a:cubicBezTo>
                    <a:pt x="61" y="8"/>
                    <a:pt x="60" y="7"/>
                    <a:pt x="60" y="6"/>
                  </a:cubicBezTo>
                  <a:cubicBezTo>
                    <a:pt x="59" y="6"/>
                    <a:pt x="59" y="5"/>
                    <a:pt x="59" y="5"/>
                  </a:cubicBezTo>
                  <a:cubicBezTo>
                    <a:pt x="58" y="4"/>
                    <a:pt x="58" y="4"/>
                    <a:pt x="58" y="4"/>
                  </a:cubicBezTo>
                  <a:cubicBezTo>
                    <a:pt x="58" y="4"/>
                    <a:pt x="58" y="4"/>
                    <a:pt x="58" y="4"/>
                  </a:cubicBezTo>
                  <a:cubicBezTo>
                    <a:pt x="57" y="4"/>
                    <a:pt x="57" y="4"/>
                    <a:pt x="57" y="4"/>
                  </a:cubicBezTo>
                  <a:cubicBezTo>
                    <a:pt x="57" y="4"/>
                    <a:pt x="57" y="4"/>
                    <a:pt x="57" y="4"/>
                  </a:cubicBezTo>
                  <a:cubicBezTo>
                    <a:pt x="56" y="4"/>
                    <a:pt x="54" y="4"/>
                    <a:pt x="52" y="4"/>
                  </a:cubicBezTo>
                  <a:cubicBezTo>
                    <a:pt x="52" y="4"/>
                    <a:pt x="51" y="4"/>
                    <a:pt x="50" y="4"/>
                  </a:cubicBezTo>
                  <a:cubicBezTo>
                    <a:pt x="48" y="5"/>
                    <a:pt x="45" y="5"/>
                    <a:pt x="43" y="5"/>
                  </a:cubicBezTo>
                  <a:cubicBezTo>
                    <a:pt x="43" y="5"/>
                    <a:pt x="42" y="5"/>
                    <a:pt x="42" y="5"/>
                  </a:cubicBezTo>
                  <a:cubicBezTo>
                    <a:pt x="40" y="5"/>
                    <a:pt x="38" y="5"/>
                    <a:pt x="37" y="4"/>
                  </a:cubicBezTo>
                  <a:cubicBezTo>
                    <a:pt x="35" y="4"/>
                    <a:pt x="35" y="4"/>
                    <a:pt x="35" y="4"/>
                  </a:cubicBezTo>
                  <a:cubicBezTo>
                    <a:pt x="33" y="4"/>
                    <a:pt x="30" y="4"/>
                    <a:pt x="27" y="4"/>
                  </a:cubicBezTo>
                  <a:cubicBezTo>
                    <a:pt x="27" y="4"/>
                    <a:pt x="26" y="4"/>
                    <a:pt x="25" y="4"/>
                  </a:cubicBezTo>
                  <a:cubicBezTo>
                    <a:pt x="25" y="4"/>
                    <a:pt x="24" y="4"/>
                    <a:pt x="23" y="4"/>
                  </a:cubicBezTo>
                  <a:cubicBezTo>
                    <a:pt x="20" y="5"/>
                    <a:pt x="17" y="6"/>
                    <a:pt x="15" y="8"/>
                  </a:cubicBezTo>
                  <a:cubicBezTo>
                    <a:pt x="15" y="8"/>
                    <a:pt x="14" y="8"/>
                    <a:pt x="14" y="8"/>
                  </a:cubicBezTo>
                  <a:cubicBezTo>
                    <a:pt x="13" y="9"/>
                    <a:pt x="13" y="11"/>
                    <a:pt x="12" y="12"/>
                  </a:cubicBezTo>
                  <a:cubicBezTo>
                    <a:pt x="9" y="16"/>
                    <a:pt x="7" y="19"/>
                    <a:pt x="4" y="22"/>
                  </a:cubicBezTo>
                  <a:cubicBezTo>
                    <a:pt x="3" y="22"/>
                    <a:pt x="3" y="23"/>
                    <a:pt x="2" y="23"/>
                  </a:cubicBezTo>
                  <a:cubicBezTo>
                    <a:pt x="1" y="25"/>
                    <a:pt x="1" y="25"/>
                    <a:pt x="1" y="25"/>
                  </a:cubicBezTo>
                  <a:cubicBezTo>
                    <a:pt x="0" y="25"/>
                    <a:pt x="1" y="27"/>
                    <a:pt x="3" y="30"/>
                  </a:cubicBezTo>
                  <a:cubicBezTo>
                    <a:pt x="3" y="31"/>
                    <a:pt x="3" y="31"/>
                    <a:pt x="3" y="31"/>
                  </a:cubicBezTo>
                  <a:cubicBezTo>
                    <a:pt x="4" y="34"/>
                    <a:pt x="5" y="35"/>
                    <a:pt x="5" y="37"/>
                  </a:cubicBezTo>
                  <a:cubicBezTo>
                    <a:pt x="5" y="38"/>
                    <a:pt x="5" y="38"/>
                    <a:pt x="5" y="38"/>
                  </a:cubicBezTo>
                  <a:cubicBezTo>
                    <a:pt x="5" y="39"/>
                    <a:pt x="5" y="41"/>
                    <a:pt x="5" y="41"/>
                  </a:cubicBezTo>
                  <a:cubicBezTo>
                    <a:pt x="5" y="41"/>
                    <a:pt x="5" y="41"/>
                    <a:pt x="5" y="41"/>
                  </a:cubicBezTo>
                  <a:cubicBezTo>
                    <a:pt x="7" y="43"/>
                    <a:pt x="7" y="43"/>
                    <a:pt x="7" y="43"/>
                  </a:cubicBezTo>
                  <a:cubicBezTo>
                    <a:pt x="9" y="44"/>
                    <a:pt x="10" y="45"/>
                    <a:pt x="10" y="46"/>
                  </a:cubicBezTo>
                  <a:cubicBezTo>
                    <a:pt x="10" y="46"/>
                    <a:pt x="10" y="46"/>
                    <a:pt x="10" y="46"/>
                  </a:cubicBezTo>
                  <a:cubicBezTo>
                    <a:pt x="11" y="47"/>
                    <a:pt x="11" y="47"/>
                    <a:pt x="11" y="48"/>
                  </a:cubicBezTo>
                  <a:cubicBezTo>
                    <a:pt x="11" y="48"/>
                    <a:pt x="11" y="48"/>
                    <a:pt x="11" y="48"/>
                  </a:cubicBezTo>
                  <a:cubicBezTo>
                    <a:pt x="11" y="49"/>
                    <a:pt x="11" y="49"/>
                    <a:pt x="11" y="49"/>
                  </a:cubicBezTo>
                  <a:cubicBezTo>
                    <a:pt x="11" y="50"/>
                    <a:pt x="11" y="50"/>
                    <a:pt x="11" y="51"/>
                  </a:cubicBezTo>
                  <a:cubicBezTo>
                    <a:pt x="11" y="55"/>
                    <a:pt x="12" y="59"/>
                    <a:pt x="13" y="62"/>
                  </a:cubicBezTo>
                  <a:cubicBezTo>
                    <a:pt x="13" y="64"/>
                    <a:pt x="13" y="64"/>
                    <a:pt x="13" y="64"/>
                  </a:cubicBezTo>
                  <a:cubicBezTo>
                    <a:pt x="12" y="64"/>
                    <a:pt x="12" y="64"/>
                    <a:pt x="12" y="64"/>
                  </a:cubicBezTo>
                  <a:cubicBezTo>
                    <a:pt x="14" y="65"/>
                    <a:pt x="15" y="67"/>
                    <a:pt x="14" y="69"/>
                  </a:cubicBezTo>
                  <a:cubicBezTo>
                    <a:pt x="14" y="69"/>
                    <a:pt x="14" y="69"/>
                    <a:pt x="15" y="69"/>
                  </a:cubicBezTo>
                  <a:cubicBezTo>
                    <a:pt x="17" y="69"/>
                    <a:pt x="18" y="74"/>
                    <a:pt x="17" y="75"/>
                  </a:cubicBezTo>
                  <a:cubicBezTo>
                    <a:pt x="14" y="78"/>
                    <a:pt x="17" y="82"/>
                    <a:pt x="18" y="85"/>
                  </a:cubicBezTo>
                  <a:cubicBezTo>
                    <a:pt x="18" y="85"/>
                    <a:pt x="18" y="85"/>
                    <a:pt x="19" y="85"/>
                  </a:cubicBezTo>
                  <a:cubicBezTo>
                    <a:pt x="20" y="85"/>
                    <a:pt x="23" y="85"/>
                    <a:pt x="23" y="84"/>
                  </a:cubicBezTo>
                  <a:cubicBezTo>
                    <a:pt x="25" y="83"/>
                    <a:pt x="26" y="80"/>
                    <a:pt x="27" y="78"/>
                  </a:cubicBezTo>
                  <a:cubicBezTo>
                    <a:pt x="27" y="82"/>
                    <a:pt x="28" y="85"/>
                    <a:pt x="29" y="88"/>
                  </a:cubicBezTo>
                  <a:cubicBezTo>
                    <a:pt x="30" y="89"/>
                    <a:pt x="28" y="89"/>
                    <a:pt x="27" y="89"/>
                  </a:cubicBezTo>
                  <a:cubicBezTo>
                    <a:pt x="26" y="90"/>
                    <a:pt x="27" y="92"/>
                    <a:pt x="27" y="93"/>
                  </a:cubicBezTo>
                  <a:cubicBezTo>
                    <a:pt x="30" y="92"/>
                    <a:pt x="32" y="92"/>
                    <a:pt x="35" y="92"/>
                  </a:cubicBezTo>
                  <a:cubicBezTo>
                    <a:pt x="38" y="92"/>
                    <a:pt x="42" y="92"/>
                    <a:pt x="45" y="94"/>
                  </a:cubicBezTo>
                  <a:cubicBezTo>
                    <a:pt x="45" y="94"/>
                    <a:pt x="45" y="94"/>
                    <a:pt x="45" y="94"/>
                  </a:cubicBezTo>
                  <a:cubicBezTo>
                    <a:pt x="46" y="93"/>
                    <a:pt x="46" y="93"/>
                    <a:pt x="46" y="93"/>
                  </a:cubicBezTo>
                  <a:cubicBezTo>
                    <a:pt x="48" y="93"/>
                    <a:pt x="50" y="91"/>
                    <a:pt x="53" y="91"/>
                  </a:cubicBezTo>
                  <a:cubicBezTo>
                    <a:pt x="56" y="90"/>
                    <a:pt x="58" y="88"/>
                    <a:pt x="58" y="88"/>
                  </a:cubicBezTo>
                  <a:cubicBezTo>
                    <a:pt x="58" y="86"/>
                    <a:pt x="58" y="83"/>
                    <a:pt x="60" y="82"/>
                  </a:cubicBezTo>
                  <a:cubicBezTo>
                    <a:pt x="60" y="82"/>
                    <a:pt x="61" y="81"/>
                    <a:pt x="62" y="81"/>
                  </a:cubicBezTo>
                  <a:cubicBezTo>
                    <a:pt x="62" y="81"/>
                    <a:pt x="62" y="81"/>
                    <a:pt x="63" y="81"/>
                  </a:cubicBezTo>
                  <a:cubicBezTo>
                    <a:pt x="63" y="81"/>
                    <a:pt x="64" y="81"/>
                    <a:pt x="64" y="81"/>
                  </a:cubicBezTo>
                  <a:cubicBezTo>
                    <a:pt x="64" y="81"/>
                    <a:pt x="65" y="81"/>
                    <a:pt x="65" y="81"/>
                  </a:cubicBezTo>
                  <a:cubicBezTo>
                    <a:pt x="67" y="81"/>
                    <a:pt x="69" y="81"/>
                    <a:pt x="70" y="81"/>
                  </a:cubicBezTo>
                  <a:cubicBezTo>
                    <a:pt x="71" y="81"/>
                    <a:pt x="71" y="81"/>
                    <a:pt x="71" y="81"/>
                  </a:cubicBezTo>
                  <a:cubicBezTo>
                    <a:pt x="73" y="80"/>
                    <a:pt x="77" y="80"/>
                    <a:pt x="77" y="80"/>
                  </a:cubicBezTo>
                  <a:cubicBezTo>
                    <a:pt x="77" y="80"/>
                    <a:pt x="77" y="80"/>
                    <a:pt x="77" y="80"/>
                  </a:cubicBezTo>
                  <a:cubicBezTo>
                    <a:pt x="79" y="80"/>
                    <a:pt x="80" y="80"/>
                    <a:pt x="82" y="80"/>
                  </a:cubicBezTo>
                  <a:cubicBezTo>
                    <a:pt x="81" y="80"/>
                    <a:pt x="81" y="80"/>
                    <a:pt x="80" y="79"/>
                  </a:cubicBezTo>
                  <a:cubicBezTo>
                    <a:pt x="78" y="76"/>
                    <a:pt x="78" y="73"/>
                    <a:pt x="77" y="71"/>
                  </a:cubicBezTo>
                  <a:cubicBezTo>
                    <a:pt x="77" y="70"/>
                    <a:pt x="77" y="70"/>
                    <a:pt x="77" y="70"/>
                  </a:cubicBezTo>
                  <a:cubicBezTo>
                    <a:pt x="77" y="70"/>
                    <a:pt x="77" y="69"/>
                    <a:pt x="77" y="69"/>
                  </a:cubicBezTo>
                  <a:cubicBezTo>
                    <a:pt x="77" y="66"/>
                    <a:pt x="80" y="63"/>
                    <a:pt x="82" y="62"/>
                  </a:cubicBezTo>
                  <a:cubicBezTo>
                    <a:pt x="83" y="61"/>
                    <a:pt x="84" y="61"/>
                    <a:pt x="85" y="61"/>
                  </a:cubicBezTo>
                  <a:cubicBezTo>
                    <a:pt x="85" y="61"/>
                    <a:pt x="85" y="61"/>
                    <a:pt x="86" y="61"/>
                  </a:cubicBezTo>
                  <a:cubicBezTo>
                    <a:pt x="91" y="62"/>
                    <a:pt x="91" y="62"/>
                    <a:pt x="91" y="62"/>
                  </a:cubicBezTo>
                  <a:cubicBezTo>
                    <a:pt x="91" y="60"/>
                    <a:pt x="91" y="57"/>
                    <a:pt x="94" y="56"/>
                  </a:cubicBezTo>
                  <a:cubicBezTo>
                    <a:pt x="97" y="55"/>
                    <a:pt x="100" y="54"/>
                    <a:pt x="103" y="54"/>
                  </a:cubicBezTo>
                  <a:cubicBezTo>
                    <a:pt x="104" y="53"/>
                    <a:pt x="104" y="53"/>
                    <a:pt x="104" y="53"/>
                  </a:cubicBezTo>
                  <a:cubicBezTo>
                    <a:pt x="106" y="53"/>
                    <a:pt x="106" y="53"/>
                    <a:pt x="107" y="53"/>
                  </a:cubicBezTo>
                  <a:cubicBezTo>
                    <a:pt x="107" y="52"/>
                    <a:pt x="107" y="52"/>
                    <a:pt x="107" y="52"/>
                  </a:cubicBezTo>
                  <a:cubicBezTo>
                    <a:pt x="108" y="51"/>
                    <a:pt x="109" y="50"/>
                    <a:pt x="110" y="49"/>
                  </a:cubicBezTo>
                  <a:cubicBezTo>
                    <a:pt x="111" y="49"/>
                    <a:pt x="111" y="49"/>
                    <a:pt x="111" y="49"/>
                  </a:cubicBezTo>
                  <a:cubicBezTo>
                    <a:pt x="112" y="48"/>
                    <a:pt x="113" y="48"/>
                    <a:pt x="114" y="48"/>
                  </a:cubicBezTo>
                  <a:cubicBezTo>
                    <a:pt x="115" y="48"/>
                    <a:pt x="116" y="49"/>
                    <a:pt x="117" y="49"/>
                  </a:cubicBezTo>
                  <a:cubicBezTo>
                    <a:pt x="117" y="49"/>
                    <a:pt x="117" y="49"/>
                    <a:pt x="118" y="49"/>
                  </a:cubicBezTo>
                  <a:cubicBezTo>
                    <a:pt x="118" y="49"/>
                    <a:pt x="118" y="49"/>
                    <a:pt x="118" y="49"/>
                  </a:cubicBezTo>
                  <a:cubicBezTo>
                    <a:pt x="118" y="49"/>
                    <a:pt x="118" y="49"/>
                    <a:pt x="118" y="48"/>
                  </a:cubicBezTo>
                  <a:cubicBezTo>
                    <a:pt x="118" y="47"/>
                    <a:pt x="118" y="47"/>
                    <a:pt x="118" y="47"/>
                  </a:cubicBezTo>
                  <a:cubicBezTo>
                    <a:pt x="118" y="46"/>
                    <a:pt x="118" y="46"/>
                    <a:pt x="118" y="46"/>
                  </a:cubicBezTo>
                  <a:cubicBezTo>
                    <a:pt x="118" y="46"/>
                    <a:pt x="118" y="46"/>
                    <a:pt x="118" y="46"/>
                  </a:cubicBezTo>
                  <a:cubicBezTo>
                    <a:pt x="118" y="44"/>
                    <a:pt x="118" y="42"/>
                    <a:pt x="118" y="40"/>
                  </a:cubicBezTo>
                  <a:cubicBezTo>
                    <a:pt x="117" y="38"/>
                    <a:pt x="117" y="36"/>
                    <a:pt x="117" y="34"/>
                  </a:cubicBezTo>
                  <a:cubicBezTo>
                    <a:pt x="118" y="32"/>
                    <a:pt x="118" y="32"/>
                    <a:pt x="118" y="32"/>
                  </a:cubicBezTo>
                  <a:cubicBezTo>
                    <a:pt x="118" y="30"/>
                    <a:pt x="119" y="28"/>
                    <a:pt x="119" y="26"/>
                  </a:cubicBezTo>
                  <a:cubicBezTo>
                    <a:pt x="120" y="24"/>
                    <a:pt x="120" y="24"/>
                    <a:pt x="120" y="24"/>
                  </a:cubicBezTo>
                  <a:cubicBezTo>
                    <a:pt x="120" y="24"/>
                    <a:pt x="118" y="22"/>
                    <a:pt x="118" y="21"/>
                  </a:cubicBezTo>
                  <a:cubicBezTo>
                    <a:pt x="118" y="20"/>
                    <a:pt x="117" y="20"/>
                    <a:pt x="117" y="19"/>
                  </a:cubicBezTo>
                  <a:cubicBezTo>
                    <a:pt x="116" y="17"/>
                    <a:pt x="116" y="16"/>
                    <a:pt x="116" y="14"/>
                  </a:cubicBezTo>
                  <a:cubicBezTo>
                    <a:pt x="116" y="14"/>
                    <a:pt x="116" y="14"/>
                    <a:pt x="116" y="14"/>
                  </a:cubicBezTo>
                  <a:cubicBezTo>
                    <a:pt x="116" y="13"/>
                    <a:pt x="116" y="13"/>
                    <a:pt x="116" y="13"/>
                  </a:cubicBezTo>
                  <a:cubicBezTo>
                    <a:pt x="114" y="11"/>
                    <a:pt x="112" y="9"/>
                    <a:pt x="113" y="7"/>
                  </a:cubicBezTo>
                  <a:cubicBezTo>
                    <a:pt x="114" y="3"/>
                    <a:pt x="114" y="3"/>
                    <a:pt x="114" y="3"/>
                  </a:cubicBezTo>
                  <a:cubicBezTo>
                    <a:pt x="115" y="2"/>
                    <a:pt x="115" y="1"/>
                    <a:pt x="115" y="1"/>
                  </a:cubicBezTo>
                  <a:cubicBezTo>
                    <a:pt x="115" y="1"/>
                    <a:pt x="114" y="1"/>
                    <a:pt x="114" y="2"/>
                  </a:cubicBezTo>
                  <a:cubicBezTo>
                    <a:pt x="112" y="2"/>
                    <a:pt x="111" y="3"/>
                    <a:pt x="110" y="4"/>
                  </a:cubicBezTo>
                  <a:cubicBezTo>
                    <a:pt x="110" y="4"/>
                    <a:pt x="110" y="4"/>
                    <a:pt x="110" y="4"/>
                  </a:cubicBezTo>
                  <a:cubicBezTo>
                    <a:pt x="109" y="5"/>
                    <a:pt x="108" y="5"/>
                    <a:pt x="107" y="5"/>
                  </a:cubicBezTo>
                  <a:cubicBezTo>
                    <a:pt x="106" y="5"/>
                    <a:pt x="105" y="5"/>
                    <a:pt x="104" y="4"/>
                  </a:cubicBezTo>
                  <a:cubicBezTo>
                    <a:pt x="97" y="2"/>
                    <a:pt x="97" y="2"/>
                    <a:pt x="97" y="2"/>
                  </a:cubicBezTo>
                  <a:cubicBezTo>
                    <a:pt x="97" y="1"/>
                    <a:pt x="96" y="1"/>
                    <a:pt x="96" y="0"/>
                  </a:cubicBezTo>
                  <a:cubicBezTo>
                    <a:pt x="96" y="0"/>
                    <a:pt x="96" y="0"/>
                    <a:pt x="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9" name="Freeform 1558">
              <a:extLst>
                <a:ext uri="{FF2B5EF4-FFF2-40B4-BE49-F238E27FC236}">
                  <a16:creationId xmlns:a16="http://schemas.microsoft.com/office/drawing/2014/main" id="{1D81FE99-D28E-425B-A077-03F26D2DE8B5}"/>
                </a:ext>
              </a:extLst>
            </p:cNvPr>
            <p:cNvSpPr>
              <a:spLocks/>
            </p:cNvSpPr>
            <p:nvPr/>
          </p:nvSpPr>
          <p:spPr bwMode="auto">
            <a:xfrm>
              <a:off x="579889" y="1479256"/>
              <a:ext cx="797347" cy="332900"/>
            </a:xfrm>
            <a:custGeom>
              <a:avLst/>
              <a:gdLst>
                <a:gd name="T0" fmla="*/ 103 w 251"/>
                <a:gd name="T1" fmla="*/ 2 h 105"/>
                <a:gd name="T2" fmla="*/ 95 w 251"/>
                <a:gd name="T3" fmla="*/ 22 h 105"/>
                <a:gd name="T4" fmla="*/ 65 w 251"/>
                <a:gd name="T5" fmla="*/ 12 h 105"/>
                <a:gd name="T6" fmla="*/ 47 w 251"/>
                <a:gd name="T7" fmla="*/ 12 h 105"/>
                <a:gd name="T8" fmla="*/ 43 w 251"/>
                <a:gd name="T9" fmla="*/ 15 h 105"/>
                <a:gd name="T10" fmla="*/ 39 w 251"/>
                <a:gd name="T11" fmla="*/ 21 h 105"/>
                <a:gd name="T12" fmla="*/ 41 w 251"/>
                <a:gd name="T13" fmla="*/ 30 h 105"/>
                <a:gd name="T14" fmla="*/ 25 w 251"/>
                <a:gd name="T15" fmla="*/ 44 h 105"/>
                <a:gd name="T16" fmla="*/ 35 w 251"/>
                <a:gd name="T17" fmla="*/ 50 h 105"/>
                <a:gd name="T18" fmla="*/ 48 w 251"/>
                <a:gd name="T19" fmla="*/ 41 h 105"/>
                <a:gd name="T20" fmla="*/ 63 w 251"/>
                <a:gd name="T21" fmla="*/ 50 h 105"/>
                <a:gd name="T22" fmla="*/ 70 w 251"/>
                <a:gd name="T23" fmla="*/ 56 h 105"/>
                <a:gd name="T24" fmla="*/ 87 w 251"/>
                <a:gd name="T25" fmla="*/ 60 h 105"/>
                <a:gd name="T26" fmla="*/ 86 w 251"/>
                <a:gd name="T27" fmla="*/ 68 h 105"/>
                <a:gd name="T28" fmla="*/ 80 w 251"/>
                <a:gd name="T29" fmla="*/ 71 h 105"/>
                <a:gd name="T30" fmla="*/ 73 w 251"/>
                <a:gd name="T31" fmla="*/ 75 h 105"/>
                <a:gd name="T32" fmla="*/ 64 w 251"/>
                <a:gd name="T33" fmla="*/ 78 h 105"/>
                <a:gd name="T34" fmla="*/ 47 w 251"/>
                <a:gd name="T35" fmla="*/ 82 h 105"/>
                <a:gd name="T36" fmla="*/ 43 w 251"/>
                <a:gd name="T37" fmla="*/ 81 h 105"/>
                <a:gd name="T38" fmla="*/ 37 w 251"/>
                <a:gd name="T39" fmla="*/ 83 h 105"/>
                <a:gd name="T40" fmla="*/ 31 w 251"/>
                <a:gd name="T41" fmla="*/ 87 h 105"/>
                <a:gd name="T42" fmla="*/ 28 w 251"/>
                <a:gd name="T43" fmla="*/ 90 h 105"/>
                <a:gd name="T44" fmla="*/ 24 w 251"/>
                <a:gd name="T45" fmla="*/ 92 h 105"/>
                <a:gd name="T46" fmla="*/ 7 w 251"/>
                <a:gd name="T47" fmla="*/ 85 h 105"/>
                <a:gd name="T48" fmla="*/ 2 w 251"/>
                <a:gd name="T49" fmla="*/ 90 h 105"/>
                <a:gd name="T50" fmla="*/ 36 w 251"/>
                <a:gd name="T51" fmla="*/ 99 h 105"/>
                <a:gd name="T52" fmla="*/ 48 w 251"/>
                <a:gd name="T53" fmla="*/ 95 h 105"/>
                <a:gd name="T54" fmla="*/ 58 w 251"/>
                <a:gd name="T55" fmla="*/ 104 h 105"/>
                <a:gd name="T56" fmla="*/ 80 w 251"/>
                <a:gd name="T57" fmla="*/ 101 h 105"/>
                <a:gd name="T58" fmla="*/ 97 w 251"/>
                <a:gd name="T59" fmla="*/ 99 h 105"/>
                <a:gd name="T60" fmla="*/ 103 w 251"/>
                <a:gd name="T61" fmla="*/ 96 h 105"/>
                <a:gd name="T62" fmla="*/ 104 w 251"/>
                <a:gd name="T63" fmla="*/ 88 h 105"/>
                <a:gd name="T64" fmla="*/ 125 w 251"/>
                <a:gd name="T65" fmla="*/ 76 h 105"/>
                <a:gd name="T66" fmla="*/ 128 w 251"/>
                <a:gd name="T67" fmla="*/ 70 h 105"/>
                <a:gd name="T68" fmla="*/ 138 w 251"/>
                <a:gd name="T69" fmla="*/ 69 h 105"/>
                <a:gd name="T70" fmla="*/ 145 w 251"/>
                <a:gd name="T71" fmla="*/ 66 h 105"/>
                <a:gd name="T72" fmla="*/ 150 w 251"/>
                <a:gd name="T73" fmla="*/ 75 h 105"/>
                <a:gd name="T74" fmla="*/ 156 w 251"/>
                <a:gd name="T75" fmla="*/ 73 h 105"/>
                <a:gd name="T76" fmla="*/ 163 w 251"/>
                <a:gd name="T77" fmla="*/ 73 h 105"/>
                <a:gd name="T78" fmla="*/ 167 w 251"/>
                <a:gd name="T79" fmla="*/ 64 h 105"/>
                <a:gd name="T80" fmla="*/ 191 w 251"/>
                <a:gd name="T81" fmla="*/ 53 h 105"/>
                <a:gd name="T82" fmla="*/ 208 w 251"/>
                <a:gd name="T83" fmla="*/ 50 h 105"/>
                <a:gd name="T84" fmla="*/ 218 w 251"/>
                <a:gd name="T85" fmla="*/ 41 h 105"/>
                <a:gd name="T86" fmla="*/ 250 w 251"/>
                <a:gd name="T87" fmla="*/ 28 h 105"/>
                <a:gd name="T88" fmla="*/ 250 w 251"/>
                <a:gd name="T89" fmla="*/ 26 h 105"/>
                <a:gd name="T90" fmla="*/ 240 w 251"/>
                <a:gd name="T91" fmla="*/ 21 h 105"/>
                <a:gd name="T92" fmla="*/ 228 w 251"/>
                <a:gd name="T93" fmla="*/ 11 h 105"/>
                <a:gd name="T94" fmla="*/ 215 w 251"/>
                <a:gd name="T95" fmla="*/ 9 h 105"/>
                <a:gd name="T96" fmla="*/ 206 w 251"/>
                <a:gd name="T97" fmla="*/ 9 h 105"/>
                <a:gd name="T98" fmla="*/ 188 w 251"/>
                <a:gd name="T99" fmla="*/ 8 h 105"/>
                <a:gd name="T100" fmla="*/ 163 w 251"/>
                <a:gd name="T101" fmla="*/ 7 h 105"/>
                <a:gd name="T102" fmla="*/ 140 w 251"/>
                <a:gd name="T103" fmla="*/ 9 h 105"/>
                <a:gd name="T104" fmla="*/ 129 w 251"/>
                <a:gd name="T105" fmla="*/ 7 h 105"/>
                <a:gd name="T106" fmla="*/ 117 w 251"/>
                <a:gd name="T10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1" h="105">
                  <a:moveTo>
                    <a:pt x="110" y="0"/>
                  </a:moveTo>
                  <a:cubicBezTo>
                    <a:pt x="108" y="0"/>
                    <a:pt x="106" y="0"/>
                    <a:pt x="104" y="2"/>
                  </a:cubicBezTo>
                  <a:cubicBezTo>
                    <a:pt x="104" y="2"/>
                    <a:pt x="104" y="2"/>
                    <a:pt x="104" y="2"/>
                  </a:cubicBezTo>
                  <a:cubicBezTo>
                    <a:pt x="103" y="2"/>
                    <a:pt x="103" y="2"/>
                    <a:pt x="103" y="2"/>
                  </a:cubicBezTo>
                  <a:cubicBezTo>
                    <a:pt x="103" y="2"/>
                    <a:pt x="103" y="2"/>
                    <a:pt x="103" y="2"/>
                  </a:cubicBezTo>
                  <a:cubicBezTo>
                    <a:pt x="98" y="4"/>
                    <a:pt x="97" y="10"/>
                    <a:pt x="98" y="14"/>
                  </a:cubicBezTo>
                  <a:cubicBezTo>
                    <a:pt x="98" y="14"/>
                    <a:pt x="98" y="15"/>
                    <a:pt x="98" y="15"/>
                  </a:cubicBezTo>
                  <a:cubicBezTo>
                    <a:pt x="98" y="16"/>
                    <a:pt x="98" y="17"/>
                    <a:pt x="99" y="17"/>
                  </a:cubicBezTo>
                  <a:cubicBezTo>
                    <a:pt x="102" y="24"/>
                    <a:pt x="102" y="24"/>
                    <a:pt x="102" y="24"/>
                  </a:cubicBezTo>
                  <a:cubicBezTo>
                    <a:pt x="95" y="22"/>
                    <a:pt x="95" y="22"/>
                    <a:pt x="95" y="22"/>
                  </a:cubicBezTo>
                  <a:cubicBezTo>
                    <a:pt x="92" y="21"/>
                    <a:pt x="89" y="20"/>
                    <a:pt x="85" y="18"/>
                  </a:cubicBezTo>
                  <a:cubicBezTo>
                    <a:pt x="80" y="17"/>
                    <a:pt x="75" y="15"/>
                    <a:pt x="69" y="14"/>
                  </a:cubicBezTo>
                  <a:cubicBezTo>
                    <a:pt x="68" y="13"/>
                    <a:pt x="67" y="13"/>
                    <a:pt x="66" y="13"/>
                  </a:cubicBezTo>
                  <a:cubicBezTo>
                    <a:pt x="65" y="12"/>
                    <a:pt x="65" y="12"/>
                    <a:pt x="65" y="12"/>
                  </a:cubicBezTo>
                  <a:cubicBezTo>
                    <a:pt x="65" y="12"/>
                    <a:pt x="65" y="12"/>
                    <a:pt x="65" y="12"/>
                  </a:cubicBezTo>
                  <a:cubicBezTo>
                    <a:pt x="64" y="12"/>
                    <a:pt x="63" y="12"/>
                    <a:pt x="63" y="12"/>
                  </a:cubicBezTo>
                  <a:cubicBezTo>
                    <a:pt x="51" y="12"/>
                    <a:pt x="51" y="12"/>
                    <a:pt x="51" y="12"/>
                  </a:cubicBezTo>
                  <a:cubicBezTo>
                    <a:pt x="51" y="12"/>
                    <a:pt x="51" y="12"/>
                    <a:pt x="51" y="12"/>
                  </a:cubicBezTo>
                  <a:cubicBezTo>
                    <a:pt x="51" y="12"/>
                    <a:pt x="50" y="12"/>
                    <a:pt x="50" y="12"/>
                  </a:cubicBezTo>
                  <a:cubicBezTo>
                    <a:pt x="49" y="12"/>
                    <a:pt x="48" y="12"/>
                    <a:pt x="47" y="12"/>
                  </a:cubicBezTo>
                  <a:cubicBezTo>
                    <a:pt x="47" y="12"/>
                    <a:pt x="47" y="12"/>
                    <a:pt x="46" y="12"/>
                  </a:cubicBezTo>
                  <a:cubicBezTo>
                    <a:pt x="46" y="12"/>
                    <a:pt x="46" y="12"/>
                    <a:pt x="46" y="12"/>
                  </a:cubicBezTo>
                  <a:cubicBezTo>
                    <a:pt x="46" y="13"/>
                    <a:pt x="46" y="13"/>
                    <a:pt x="46" y="13"/>
                  </a:cubicBezTo>
                  <a:cubicBezTo>
                    <a:pt x="45" y="13"/>
                    <a:pt x="44" y="14"/>
                    <a:pt x="44" y="15"/>
                  </a:cubicBezTo>
                  <a:cubicBezTo>
                    <a:pt x="43" y="15"/>
                    <a:pt x="43" y="15"/>
                    <a:pt x="43" y="15"/>
                  </a:cubicBezTo>
                  <a:cubicBezTo>
                    <a:pt x="43" y="15"/>
                    <a:pt x="43" y="15"/>
                    <a:pt x="43" y="15"/>
                  </a:cubicBezTo>
                  <a:cubicBezTo>
                    <a:pt x="43" y="16"/>
                    <a:pt x="43" y="16"/>
                    <a:pt x="42" y="17"/>
                  </a:cubicBezTo>
                  <a:cubicBezTo>
                    <a:pt x="41" y="18"/>
                    <a:pt x="41" y="18"/>
                    <a:pt x="41" y="18"/>
                  </a:cubicBezTo>
                  <a:cubicBezTo>
                    <a:pt x="40" y="19"/>
                    <a:pt x="39" y="20"/>
                    <a:pt x="38" y="21"/>
                  </a:cubicBezTo>
                  <a:cubicBezTo>
                    <a:pt x="39" y="21"/>
                    <a:pt x="39" y="21"/>
                    <a:pt x="39" y="21"/>
                  </a:cubicBezTo>
                  <a:cubicBezTo>
                    <a:pt x="39" y="21"/>
                    <a:pt x="39" y="21"/>
                    <a:pt x="39" y="21"/>
                  </a:cubicBezTo>
                  <a:cubicBezTo>
                    <a:pt x="39" y="21"/>
                    <a:pt x="40" y="21"/>
                    <a:pt x="42" y="22"/>
                  </a:cubicBezTo>
                  <a:cubicBezTo>
                    <a:pt x="42" y="22"/>
                    <a:pt x="43" y="22"/>
                    <a:pt x="44" y="22"/>
                  </a:cubicBezTo>
                  <a:cubicBezTo>
                    <a:pt x="50" y="24"/>
                    <a:pt x="50" y="24"/>
                    <a:pt x="50" y="24"/>
                  </a:cubicBezTo>
                  <a:cubicBezTo>
                    <a:pt x="41" y="30"/>
                    <a:pt x="41" y="30"/>
                    <a:pt x="41" y="30"/>
                  </a:cubicBezTo>
                  <a:cubicBezTo>
                    <a:pt x="37" y="32"/>
                    <a:pt x="27" y="38"/>
                    <a:pt x="22" y="42"/>
                  </a:cubicBezTo>
                  <a:cubicBezTo>
                    <a:pt x="23" y="42"/>
                    <a:pt x="23" y="42"/>
                    <a:pt x="23" y="42"/>
                  </a:cubicBezTo>
                  <a:cubicBezTo>
                    <a:pt x="23" y="42"/>
                    <a:pt x="23" y="42"/>
                    <a:pt x="24" y="43"/>
                  </a:cubicBezTo>
                  <a:cubicBezTo>
                    <a:pt x="24" y="43"/>
                    <a:pt x="24" y="43"/>
                    <a:pt x="24" y="43"/>
                  </a:cubicBezTo>
                  <a:cubicBezTo>
                    <a:pt x="25" y="43"/>
                    <a:pt x="25" y="43"/>
                    <a:pt x="25" y="44"/>
                  </a:cubicBezTo>
                  <a:cubicBezTo>
                    <a:pt x="31" y="42"/>
                    <a:pt x="31" y="42"/>
                    <a:pt x="31" y="42"/>
                  </a:cubicBezTo>
                  <a:cubicBezTo>
                    <a:pt x="32" y="45"/>
                    <a:pt x="32" y="45"/>
                    <a:pt x="32" y="45"/>
                  </a:cubicBezTo>
                  <a:cubicBezTo>
                    <a:pt x="32" y="45"/>
                    <a:pt x="33" y="46"/>
                    <a:pt x="33" y="47"/>
                  </a:cubicBezTo>
                  <a:cubicBezTo>
                    <a:pt x="33" y="48"/>
                    <a:pt x="33" y="49"/>
                    <a:pt x="34" y="49"/>
                  </a:cubicBezTo>
                  <a:cubicBezTo>
                    <a:pt x="35" y="50"/>
                    <a:pt x="35" y="50"/>
                    <a:pt x="35" y="50"/>
                  </a:cubicBezTo>
                  <a:cubicBezTo>
                    <a:pt x="37" y="51"/>
                    <a:pt x="41" y="51"/>
                    <a:pt x="44" y="52"/>
                  </a:cubicBezTo>
                  <a:cubicBezTo>
                    <a:pt x="44" y="51"/>
                    <a:pt x="44" y="50"/>
                    <a:pt x="44" y="48"/>
                  </a:cubicBezTo>
                  <a:cubicBezTo>
                    <a:pt x="45" y="45"/>
                    <a:pt x="45" y="45"/>
                    <a:pt x="45" y="45"/>
                  </a:cubicBezTo>
                  <a:cubicBezTo>
                    <a:pt x="48" y="46"/>
                    <a:pt x="48" y="46"/>
                    <a:pt x="48" y="46"/>
                  </a:cubicBezTo>
                  <a:cubicBezTo>
                    <a:pt x="48" y="41"/>
                    <a:pt x="48" y="41"/>
                    <a:pt x="48" y="41"/>
                  </a:cubicBezTo>
                  <a:cubicBezTo>
                    <a:pt x="52" y="42"/>
                    <a:pt x="52" y="42"/>
                    <a:pt x="52" y="42"/>
                  </a:cubicBezTo>
                  <a:cubicBezTo>
                    <a:pt x="57" y="44"/>
                    <a:pt x="59" y="47"/>
                    <a:pt x="61" y="50"/>
                  </a:cubicBezTo>
                  <a:cubicBezTo>
                    <a:pt x="61" y="50"/>
                    <a:pt x="61" y="50"/>
                    <a:pt x="61" y="50"/>
                  </a:cubicBezTo>
                  <a:cubicBezTo>
                    <a:pt x="61" y="50"/>
                    <a:pt x="61" y="50"/>
                    <a:pt x="61" y="50"/>
                  </a:cubicBezTo>
                  <a:cubicBezTo>
                    <a:pt x="62" y="50"/>
                    <a:pt x="62" y="50"/>
                    <a:pt x="63" y="50"/>
                  </a:cubicBezTo>
                  <a:cubicBezTo>
                    <a:pt x="64" y="50"/>
                    <a:pt x="65" y="50"/>
                    <a:pt x="66" y="51"/>
                  </a:cubicBezTo>
                  <a:cubicBezTo>
                    <a:pt x="67" y="52"/>
                    <a:pt x="67" y="54"/>
                    <a:pt x="67" y="55"/>
                  </a:cubicBezTo>
                  <a:cubicBezTo>
                    <a:pt x="68" y="55"/>
                    <a:pt x="68" y="55"/>
                    <a:pt x="69" y="55"/>
                  </a:cubicBezTo>
                  <a:cubicBezTo>
                    <a:pt x="70" y="50"/>
                    <a:pt x="70" y="50"/>
                    <a:pt x="70" y="50"/>
                  </a:cubicBezTo>
                  <a:cubicBezTo>
                    <a:pt x="70" y="56"/>
                    <a:pt x="70" y="56"/>
                    <a:pt x="70" y="56"/>
                  </a:cubicBezTo>
                  <a:cubicBezTo>
                    <a:pt x="72" y="56"/>
                    <a:pt x="72" y="56"/>
                    <a:pt x="72" y="56"/>
                  </a:cubicBezTo>
                  <a:cubicBezTo>
                    <a:pt x="73" y="57"/>
                    <a:pt x="74" y="57"/>
                    <a:pt x="75" y="57"/>
                  </a:cubicBezTo>
                  <a:cubicBezTo>
                    <a:pt x="76" y="58"/>
                    <a:pt x="76" y="59"/>
                    <a:pt x="77" y="59"/>
                  </a:cubicBezTo>
                  <a:cubicBezTo>
                    <a:pt x="78" y="60"/>
                    <a:pt x="81" y="60"/>
                    <a:pt x="84" y="60"/>
                  </a:cubicBezTo>
                  <a:cubicBezTo>
                    <a:pt x="85" y="60"/>
                    <a:pt x="86" y="60"/>
                    <a:pt x="87" y="60"/>
                  </a:cubicBezTo>
                  <a:cubicBezTo>
                    <a:pt x="91" y="61"/>
                    <a:pt x="91" y="61"/>
                    <a:pt x="91" y="61"/>
                  </a:cubicBezTo>
                  <a:cubicBezTo>
                    <a:pt x="90" y="64"/>
                    <a:pt x="90" y="64"/>
                    <a:pt x="90" y="64"/>
                  </a:cubicBezTo>
                  <a:cubicBezTo>
                    <a:pt x="90" y="65"/>
                    <a:pt x="89" y="66"/>
                    <a:pt x="88" y="67"/>
                  </a:cubicBezTo>
                  <a:cubicBezTo>
                    <a:pt x="87" y="68"/>
                    <a:pt x="87" y="68"/>
                    <a:pt x="87" y="68"/>
                  </a:cubicBezTo>
                  <a:cubicBezTo>
                    <a:pt x="87" y="68"/>
                    <a:pt x="86" y="68"/>
                    <a:pt x="86" y="68"/>
                  </a:cubicBezTo>
                  <a:cubicBezTo>
                    <a:pt x="85" y="69"/>
                    <a:pt x="84" y="69"/>
                    <a:pt x="83" y="70"/>
                  </a:cubicBezTo>
                  <a:cubicBezTo>
                    <a:pt x="82" y="70"/>
                    <a:pt x="82" y="70"/>
                    <a:pt x="82" y="70"/>
                  </a:cubicBezTo>
                  <a:cubicBezTo>
                    <a:pt x="81" y="70"/>
                    <a:pt x="81" y="70"/>
                    <a:pt x="81" y="70"/>
                  </a:cubicBezTo>
                  <a:cubicBezTo>
                    <a:pt x="81" y="71"/>
                    <a:pt x="81" y="71"/>
                    <a:pt x="81" y="71"/>
                  </a:cubicBezTo>
                  <a:cubicBezTo>
                    <a:pt x="80" y="71"/>
                    <a:pt x="80" y="71"/>
                    <a:pt x="80" y="71"/>
                  </a:cubicBezTo>
                  <a:cubicBezTo>
                    <a:pt x="80" y="73"/>
                    <a:pt x="78" y="75"/>
                    <a:pt x="76" y="75"/>
                  </a:cubicBezTo>
                  <a:cubicBezTo>
                    <a:pt x="76" y="75"/>
                    <a:pt x="76" y="75"/>
                    <a:pt x="76" y="75"/>
                  </a:cubicBezTo>
                  <a:cubicBezTo>
                    <a:pt x="76" y="75"/>
                    <a:pt x="75" y="75"/>
                    <a:pt x="75" y="75"/>
                  </a:cubicBezTo>
                  <a:cubicBezTo>
                    <a:pt x="74" y="75"/>
                    <a:pt x="73" y="75"/>
                    <a:pt x="73" y="75"/>
                  </a:cubicBezTo>
                  <a:cubicBezTo>
                    <a:pt x="73" y="75"/>
                    <a:pt x="73" y="75"/>
                    <a:pt x="73" y="75"/>
                  </a:cubicBezTo>
                  <a:cubicBezTo>
                    <a:pt x="74" y="81"/>
                    <a:pt x="74" y="81"/>
                    <a:pt x="74" y="81"/>
                  </a:cubicBezTo>
                  <a:cubicBezTo>
                    <a:pt x="68" y="78"/>
                    <a:pt x="68" y="78"/>
                    <a:pt x="68" y="78"/>
                  </a:cubicBezTo>
                  <a:cubicBezTo>
                    <a:pt x="68" y="78"/>
                    <a:pt x="66" y="77"/>
                    <a:pt x="65" y="77"/>
                  </a:cubicBezTo>
                  <a:cubicBezTo>
                    <a:pt x="65" y="78"/>
                    <a:pt x="65" y="78"/>
                    <a:pt x="65" y="78"/>
                  </a:cubicBezTo>
                  <a:cubicBezTo>
                    <a:pt x="64" y="78"/>
                    <a:pt x="64" y="78"/>
                    <a:pt x="64" y="78"/>
                  </a:cubicBezTo>
                  <a:cubicBezTo>
                    <a:pt x="64" y="80"/>
                    <a:pt x="63" y="81"/>
                    <a:pt x="61" y="83"/>
                  </a:cubicBezTo>
                  <a:cubicBezTo>
                    <a:pt x="60" y="83"/>
                    <a:pt x="60" y="83"/>
                    <a:pt x="60" y="83"/>
                  </a:cubicBezTo>
                  <a:cubicBezTo>
                    <a:pt x="58" y="84"/>
                    <a:pt x="56" y="85"/>
                    <a:pt x="54" y="85"/>
                  </a:cubicBezTo>
                  <a:cubicBezTo>
                    <a:pt x="53" y="85"/>
                    <a:pt x="51" y="84"/>
                    <a:pt x="49" y="83"/>
                  </a:cubicBezTo>
                  <a:cubicBezTo>
                    <a:pt x="49" y="83"/>
                    <a:pt x="48" y="83"/>
                    <a:pt x="47" y="82"/>
                  </a:cubicBezTo>
                  <a:cubicBezTo>
                    <a:pt x="46" y="82"/>
                    <a:pt x="46" y="82"/>
                    <a:pt x="46" y="82"/>
                  </a:cubicBezTo>
                  <a:cubicBezTo>
                    <a:pt x="46" y="82"/>
                    <a:pt x="45" y="81"/>
                    <a:pt x="45" y="81"/>
                  </a:cubicBezTo>
                  <a:cubicBezTo>
                    <a:pt x="45" y="81"/>
                    <a:pt x="45" y="81"/>
                    <a:pt x="45" y="81"/>
                  </a:cubicBezTo>
                  <a:cubicBezTo>
                    <a:pt x="45" y="81"/>
                    <a:pt x="44" y="81"/>
                    <a:pt x="44" y="81"/>
                  </a:cubicBezTo>
                  <a:cubicBezTo>
                    <a:pt x="44" y="81"/>
                    <a:pt x="44" y="81"/>
                    <a:pt x="43" y="81"/>
                  </a:cubicBezTo>
                  <a:cubicBezTo>
                    <a:pt x="43" y="81"/>
                    <a:pt x="42" y="81"/>
                    <a:pt x="41" y="81"/>
                  </a:cubicBezTo>
                  <a:cubicBezTo>
                    <a:pt x="41" y="81"/>
                    <a:pt x="40" y="82"/>
                    <a:pt x="39" y="82"/>
                  </a:cubicBezTo>
                  <a:cubicBezTo>
                    <a:pt x="39" y="82"/>
                    <a:pt x="39" y="82"/>
                    <a:pt x="39" y="82"/>
                  </a:cubicBezTo>
                  <a:cubicBezTo>
                    <a:pt x="38" y="82"/>
                    <a:pt x="38" y="82"/>
                    <a:pt x="38" y="82"/>
                  </a:cubicBezTo>
                  <a:cubicBezTo>
                    <a:pt x="37" y="83"/>
                    <a:pt x="37" y="83"/>
                    <a:pt x="37" y="83"/>
                  </a:cubicBezTo>
                  <a:cubicBezTo>
                    <a:pt x="35" y="85"/>
                    <a:pt x="35" y="85"/>
                    <a:pt x="35" y="85"/>
                  </a:cubicBezTo>
                  <a:cubicBezTo>
                    <a:pt x="34" y="85"/>
                    <a:pt x="34" y="85"/>
                    <a:pt x="34" y="85"/>
                  </a:cubicBezTo>
                  <a:cubicBezTo>
                    <a:pt x="33" y="86"/>
                    <a:pt x="33" y="86"/>
                    <a:pt x="33" y="86"/>
                  </a:cubicBezTo>
                  <a:cubicBezTo>
                    <a:pt x="33" y="86"/>
                    <a:pt x="32" y="86"/>
                    <a:pt x="32" y="87"/>
                  </a:cubicBezTo>
                  <a:cubicBezTo>
                    <a:pt x="31" y="87"/>
                    <a:pt x="31" y="87"/>
                    <a:pt x="31" y="87"/>
                  </a:cubicBezTo>
                  <a:cubicBezTo>
                    <a:pt x="31" y="87"/>
                    <a:pt x="31" y="87"/>
                    <a:pt x="31" y="87"/>
                  </a:cubicBezTo>
                  <a:cubicBezTo>
                    <a:pt x="30" y="88"/>
                    <a:pt x="30" y="88"/>
                    <a:pt x="30" y="88"/>
                  </a:cubicBezTo>
                  <a:cubicBezTo>
                    <a:pt x="29" y="89"/>
                    <a:pt x="29" y="89"/>
                    <a:pt x="29" y="89"/>
                  </a:cubicBezTo>
                  <a:cubicBezTo>
                    <a:pt x="28" y="89"/>
                    <a:pt x="28" y="89"/>
                    <a:pt x="28" y="89"/>
                  </a:cubicBezTo>
                  <a:cubicBezTo>
                    <a:pt x="28" y="90"/>
                    <a:pt x="28" y="90"/>
                    <a:pt x="28" y="90"/>
                  </a:cubicBezTo>
                  <a:cubicBezTo>
                    <a:pt x="27" y="90"/>
                    <a:pt x="27" y="90"/>
                    <a:pt x="27" y="90"/>
                  </a:cubicBezTo>
                  <a:cubicBezTo>
                    <a:pt x="27" y="90"/>
                    <a:pt x="27" y="90"/>
                    <a:pt x="27" y="90"/>
                  </a:cubicBezTo>
                  <a:cubicBezTo>
                    <a:pt x="27" y="90"/>
                    <a:pt x="27" y="90"/>
                    <a:pt x="27" y="90"/>
                  </a:cubicBezTo>
                  <a:cubicBezTo>
                    <a:pt x="26" y="91"/>
                    <a:pt x="26" y="91"/>
                    <a:pt x="26" y="91"/>
                  </a:cubicBezTo>
                  <a:cubicBezTo>
                    <a:pt x="25" y="91"/>
                    <a:pt x="25" y="92"/>
                    <a:pt x="24" y="92"/>
                  </a:cubicBezTo>
                  <a:cubicBezTo>
                    <a:pt x="22" y="92"/>
                    <a:pt x="22" y="92"/>
                    <a:pt x="22" y="92"/>
                  </a:cubicBezTo>
                  <a:cubicBezTo>
                    <a:pt x="21" y="89"/>
                    <a:pt x="21" y="89"/>
                    <a:pt x="21" y="89"/>
                  </a:cubicBezTo>
                  <a:cubicBezTo>
                    <a:pt x="21" y="88"/>
                    <a:pt x="21" y="88"/>
                    <a:pt x="21" y="87"/>
                  </a:cubicBezTo>
                  <a:cubicBezTo>
                    <a:pt x="18" y="85"/>
                    <a:pt x="14" y="84"/>
                    <a:pt x="12" y="84"/>
                  </a:cubicBezTo>
                  <a:cubicBezTo>
                    <a:pt x="11" y="84"/>
                    <a:pt x="9" y="84"/>
                    <a:pt x="7" y="85"/>
                  </a:cubicBezTo>
                  <a:cubicBezTo>
                    <a:pt x="6" y="85"/>
                    <a:pt x="6" y="85"/>
                    <a:pt x="6" y="85"/>
                  </a:cubicBezTo>
                  <a:cubicBezTo>
                    <a:pt x="6" y="86"/>
                    <a:pt x="5" y="86"/>
                    <a:pt x="4" y="86"/>
                  </a:cubicBezTo>
                  <a:cubicBezTo>
                    <a:pt x="4" y="86"/>
                    <a:pt x="4" y="86"/>
                    <a:pt x="4" y="86"/>
                  </a:cubicBezTo>
                  <a:cubicBezTo>
                    <a:pt x="4" y="86"/>
                    <a:pt x="4" y="86"/>
                    <a:pt x="3" y="88"/>
                  </a:cubicBezTo>
                  <a:cubicBezTo>
                    <a:pt x="2" y="89"/>
                    <a:pt x="2" y="90"/>
                    <a:pt x="2" y="90"/>
                  </a:cubicBezTo>
                  <a:cubicBezTo>
                    <a:pt x="0" y="92"/>
                    <a:pt x="0" y="92"/>
                    <a:pt x="0" y="92"/>
                  </a:cubicBezTo>
                  <a:cubicBezTo>
                    <a:pt x="0" y="97"/>
                    <a:pt x="0" y="97"/>
                    <a:pt x="0" y="97"/>
                  </a:cubicBezTo>
                  <a:cubicBezTo>
                    <a:pt x="4" y="96"/>
                    <a:pt x="8" y="96"/>
                    <a:pt x="12" y="96"/>
                  </a:cubicBezTo>
                  <a:cubicBezTo>
                    <a:pt x="16" y="96"/>
                    <a:pt x="21" y="96"/>
                    <a:pt x="24" y="97"/>
                  </a:cubicBezTo>
                  <a:cubicBezTo>
                    <a:pt x="29" y="98"/>
                    <a:pt x="33" y="98"/>
                    <a:pt x="36" y="99"/>
                  </a:cubicBezTo>
                  <a:cubicBezTo>
                    <a:pt x="38" y="95"/>
                    <a:pt x="38" y="95"/>
                    <a:pt x="38" y="95"/>
                  </a:cubicBezTo>
                  <a:cubicBezTo>
                    <a:pt x="38" y="100"/>
                    <a:pt x="38" y="100"/>
                    <a:pt x="38" y="100"/>
                  </a:cubicBezTo>
                  <a:cubicBezTo>
                    <a:pt x="39" y="100"/>
                    <a:pt x="43" y="98"/>
                    <a:pt x="44" y="97"/>
                  </a:cubicBezTo>
                  <a:cubicBezTo>
                    <a:pt x="45" y="97"/>
                    <a:pt x="45" y="97"/>
                    <a:pt x="45" y="97"/>
                  </a:cubicBezTo>
                  <a:cubicBezTo>
                    <a:pt x="46" y="96"/>
                    <a:pt x="47" y="95"/>
                    <a:pt x="48" y="95"/>
                  </a:cubicBezTo>
                  <a:cubicBezTo>
                    <a:pt x="51" y="94"/>
                    <a:pt x="51" y="94"/>
                    <a:pt x="51" y="94"/>
                  </a:cubicBezTo>
                  <a:cubicBezTo>
                    <a:pt x="52" y="99"/>
                    <a:pt x="52" y="99"/>
                    <a:pt x="52" y="99"/>
                  </a:cubicBezTo>
                  <a:cubicBezTo>
                    <a:pt x="52" y="99"/>
                    <a:pt x="52" y="99"/>
                    <a:pt x="52" y="99"/>
                  </a:cubicBezTo>
                  <a:cubicBezTo>
                    <a:pt x="57" y="99"/>
                    <a:pt x="57" y="102"/>
                    <a:pt x="57" y="104"/>
                  </a:cubicBezTo>
                  <a:cubicBezTo>
                    <a:pt x="58" y="104"/>
                    <a:pt x="58" y="104"/>
                    <a:pt x="58" y="104"/>
                  </a:cubicBezTo>
                  <a:cubicBezTo>
                    <a:pt x="59" y="104"/>
                    <a:pt x="59" y="104"/>
                    <a:pt x="59" y="104"/>
                  </a:cubicBezTo>
                  <a:cubicBezTo>
                    <a:pt x="61" y="104"/>
                    <a:pt x="63" y="105"/>
                    <a:pt x="65" y="105"/>
                  </a:cubicBezTo>
                  <a:cubicBezTo>
                    <a:pt x="67" y="103"/>
                    <a:pt x="69" y="101"/>
                    <a:pt x="74" y="101"/>
                  </a:cubicBezTo>
                  <a:cubicBezTo>
                    <a:pt x="75" y="101"/>
                    <a:pt x="75" y="101"/>
                    <a:pt x="75" y="101"/>
                  </a:cubicBezTo>
                  <a:cubicBezTo>
                    <a:pt x="80" y="101"/>
                    <a:pt x="80" y="101"/>
                    <a:pt x="80" y="101"/>
                  </a:cubicBezTo>
                  <a:cubicBezTo>
                    <a:pt x="81" y="101"/>
                    <a:pt x="84" y="101"/>
                    <a:pt x="86" y="101"/>
                  </a:cubicBezTo>
                  <a:cubicBezTo>
                    <a:pt x="87" y="101"/>
                    <a:pt x="88" y="100"/>
                    <a:pt x="89" y="100"/>
                  </a:cubicBezTo>
                  <a:cubicBezTo>
                    <a:pt x="92" y="100"/>
                    <a:pt x="92" y="100"/>
                    <a:pt x="92" y="100"/>
                  </a:cubicBezTo>
                  <a:cubicBezTo>
                    <a:pt x="94" y="100"/>
                    <a:pt x="95" y="100"/>
                    <a:pt x="97" y="99"/>
                  </a:cubicBezTo>
                  <a:cubicBezTo>
                    <a:pt x="97" y="99"/>
                    <a:pt x="97" y="99"/>
                    <a:pt x="97" y="99"/>
                  </a:cubicBezTo>
                  <a:cubicBezTo>
                    <a:pt x="98" y="99"/>
                    <a:pt x="98" y="99"/>
                    <a:pt x="98" y="99"/>
                  </a:cubicBezTo>
                  <a:cubicBezTo>
                    <a:pt x="100" y="98"/>
                    <a:pt x="100" y="98"/>
                    <a:pt x="100" y="98"/>
                  </a:cubicBezTo>
                  <a:cubicBezTo>
                    <a:pt x="100" y="98"/>
                    <a:pt x="101" y="98"/>
                    <a:pt x="101" y="97"/>
                  </a:cubicBezTo>
                  <a:cubicBezTo>
                    <a:pt x="103" y="97"/>
                    <a:pt x="103" y="97"/>
                    <a:pt x="103" y="97"/>
                  </a:cubicBezTo>
                  <a:cubicBezTo>
                    <a:pt x="103" y="96"/>
                    <a:pt x="103" y="96"/>
                    <a:pt x="103" y="96"/>
                  </a:cubicBezTo>
                  <a:cubicBezTo>
                    <a:pt x="103" y="95"/>
                    <a:pt x="103" y="94"/>
                    <a:pt x="103" y="93"/>
                  </a:cubicBezTo>
                  <a:cubicBezTo>
                    <a:pt x="103" y="92"/>
                    <a:pt x="103" y="92"/>
                    <a:pt x="103" y="92"/>
                  </a:cubicBezTo>
                  <a:cubicBezTo>
                    <a:pt x="104" y="91"/>
                    <a:pt x="104" y="91"/>
                    <a:pt x="104" y="90"/>
                  </a:cubicBezTo>
                  <a:cubicBezTo>
                    <a:pt x="104" y="89"/>
                    <a:pt x="104" y="89"/>
                    <a:pt x="104" y="89"/>
                  </a:cubicBezTo>
                  <a:cubicBezTo>
                    <a:pt x="104" y="89"/>
                    <a:pt x="104" y="88"/>
                    <a:pt x="104" y="88"/>
                  </a:cubicBezTo>
                  <a:cubicBezTo>
                    <a:pt x="105" y="86"/>
                    <a:pt x="105" y="83"/>
                    <a:pt x="108" y="82"/>
                  </a:cubicBezTo>
                  <a:cubicBezTo>
                    <a:pt x="115" y="79"/>
                    <a:pt x="115" y="79"/>
                    <a:pt x="115" y="79"/>
                  </a:cubicBezTo>
                  <a:cubicBezTo>
                    <a:pt x="115" y="79"/>
                    <a:pt x="116" y="79"/>
                    <a:pt x="116" y="79"/>
                  </a:cubicBezTo>
                  <a:cubicBezTo>
                    <a:pt x="117" y="79"/>
                    <a:pt x="117" y="79"/>
                    <a:pt x="117" y="79"/>
                  </a:cubicBezTo>
                  <a:cubicBezTo>
                    <a:pt x="119" y="78"/>
                    <a:pt x="123" y="77"/>
                    <a:pt x="125" y="76"/>
                  </a:cubicBezTo>
                  <a:cubicBezTo>
                    <a:pt x="125" y="76"/>
                    <a:pt x="125" y="76"/>
                    <a:pt x="125" y="76"/>
                  </a:cubicBezTo>
                  <a:cubicBezTo>
                    <a:pt x="125" y="76"/>
                    <a:pt x="125" y="76"/>
                    <a:pt x="125" y="76"/>
                  </a:cubicBezTo>
                  <a:cubicBezTo>
                    <a:pt x="124" y="74"/>
                    <a:pt x="124" y="73"/>
                    <a:pt x="124" y="73"/>
                  </a:cubicBezTo>
                  <a:cubicBezTo>
                    <a:pt x="124" y="69"/>
                    <a:pt x="124" y="69"/>
                    <a:pt x="124" y="69"/>
                  </a:cubicBezTo>
                  <a:cubicBezTo>
                    <a:pt x="128" y="70"/>
                    <a:pt x="128" y="70"/>
                    <a:pt x="128" y="70"/>
                  </a:cubicBezTo>
                  <a:cubicBezTo>
                    <a:pt x="129" y="70"/>
                    <a:pt x="129" y="70"/>
                    <a:pt x="130" y="70"/>
                  </a:cubicBezTo>
                  <a:cubicBezTo>
                    <a:pt x="130" y="70"/>
                    <a:pt x="131" y="71"/>
                    <a:pt x="131" y="71"/>
                  </a:cubicBezTo>
                  <a:cubicBezTo>
                    <a:pt x="132" y="71"/>
                    <a:pt x="133" y="71"/>
                    <a:pt x="134" y="71"/>
                  </a:cubicBezTo>
                  <a:cubicBezTo>
                    <a:pt x="135" y="71"/>
                    <a:pt x="136" y="71"/>
                    <a:pt x="138" y="69"/>
                  </a:cubicBezTo>
                  <a:cubicBezTo>
                    <a:pt x="138" y="69"/>
                    <a:pt x="138" y="69"/>
                    <a:pt x="138" y="69"/>
                  </a:cubicBezTo>
                  <a:cubicBezTo>
                    <a:pt x="139" y="69"/>
                    <a:pt x="139" y="69"/>
                    <a:pt x="139" y="69"/>
                  </a:cubicBezTo>
                  <a:cubicBezTo>
                    <a:pt x="140" y="68"/>
                    <a:pt x="142" y="67"/>
                    <a:pt x="143" y="66"/>
                  </a:cubicBezTo>
                  <a:cubicBezTo>
                    <a:pt x="144" y="66"/>
                    <a:pt x="144" y="66"/>
                    <a:pt x="144" y="66"/>
                  </a:cubicBezTo>
                  <a:cubicBezTo>
                    <a:pt x="144" y="66"/>
                    <a:pt x="144" y="66"/>
                    <a:pt x="144" y="66"/>
                  </a:cubicBezTo>
                  <a:cubicBezTo>
                    <a:pt x="145" y="66"/>
                    <a:pt x="145" y="66"/>
                    <a:pt x="145" y="66"/>
                  </a:cubicBezTo>
                  <a:cubicBezTo>
                    <a:pt x="145" y="66"/>
                    <a:pt x="145" y="66"/>
                    <a:pt x="145" y="66"/>
                  </a:cubicBezTo>
                  <a:cubicBezTo>
                    <a:pt x="147" y="67"/>
                    <a:pt x="147" y="67"/>
                    <a:pt x="147" y="67"/>
                  </a:cubicBezTo>
                  <a:cubicBezTo>
                    <a:pt x="148" y="68"/>
                    <a:pt x="148" y="70"/>
                    <a:pt x="148" y="70"/>
                  </a:cubicBezTo>
                  <a:cubicBezTo>
                    <a:pt x="149" y="71"/>
                    <a:pt x="149" y="73"/>
                    <a:pt x="149" y="74"/>
                  </a:cubicBezTo>
                  <a:cubicBezTo>
                    <a:pt x="149" y="74"/>
                    <a:pt x="150" y="75"/>
                    <a:pt x="150" y="75"/>
                  </a:cubicBezTo>
                  <a:cubicBezTo>
                    <a:pt x="150" y="76"/>
                    <a:pt x="150" y="76"/>
                    <a:pt x="150" y="76"/>
                  </a:cubicBezTo>
                  <a:cubicBezTo>
                    <a:pt x="151" y="76"/>
                    <a:pt x="151" y="76"/>
                    <a:pt x="151" y="76"/>
                  </a:cubicBezTo>
                  <a:cubicBezTo>
                    <a:pt x="151" y="75"/>
                    <a:pt x="151" y="75"/>
                    <a:pt x="151" y="75"/>
                  </a:cubicBezTo>
                  <a:cubicBezTo>
                    <a:pt x="152" y="75"/>
                    <a:pt x="152" y="74"/>
                    <a:pt x="153" y="74"/>
                  </a:cubicBezTo>
                  <a:cubicBezTo>
                    <a:pt x="154" y="73"/>
                    <a:pt x="155" y="73"/>
                    <a:pt x="156" y="73"/>
                  </a:cubicBezTo>
                  <a:cubicBezTo>
                    <a:pt x="157" y="73"/>
                    <a:pt x="158" y="73"/>
                    <a:pt x="159" y="73"/>
                  </a:cubicBezTo>
                  <a:cubicBezTo>
                    <a:pt x="159" y="73"/>
                    <a:pt x="159" y="73"/>
                    <a:pt x="160" y="73"/>
                  </a:cubicBezTo>
                  <a:cubicBezTo>
                    <a:pt x="161" y="73"/>
                    <a:pt x="162" y="73"/>
                    <a:pt x="162" y="73"/>
                  </a:cubicBezTo>
                  <a:cubicBezTo>
                    <a:pt x="163" y="73"/>
                    <a:pt x="163" y="73"/>
                    <a:pt x="163" y="73"/>
                  </a:cubicBezTo>
                  <a:cubicBezTo>
                    <a:pt x="163" y="73"/>
                    <a:pt x="163" y="73"/>
                    <a:pt x="163" y="73"/>
                  </a:cubicBezTo>
                  <a:cubicBezTo>
                    <a:pt x="164" y="73"/>
                    <a:pt x="164" y="72"/>
                    <a:pt x="165" y="71"/>
                  </a:cubicBezTo>
                  <a:cubicBezTo>
                    <a:pt x="166" y="70"/>
                    <a:pt x="166" y="69"/>
                    <a:pt x="166" y="69"/>
                  </a:cubicBezTo>
                  <a:cubicBezTo>
                    <a:pt x="166" y="68"/>
                    <a:pt x="166" y="68"/>
                    <a:pt x="166" y="68"/>
                  </a:cubicBezTo>
                  <a:cubicBezTo>
                    <a:pt x="166" y="67"/>
                    <a:pt x="166" y="66"/>
                    <a:pt x="167" y="65"/>
                  </a:cubicBezTo>
                  <a:cubicBezTo>
                    <a:pt x="167" y="64"/>
                    <a:pt x="167" y="64"/>
                    <a:pt x="167" y="64"/>
                  </a:cubicBezTo>
                  <a:cubicBezTo>
                    <a:pt x="168" y="63"/>
                    <a:pt x="169" y="62"/>
                    <a:pt x="170" y="62"/>
                  </a:cubicBezTo>
                  <a:cubicBezTo>
                    <a:pt x="170" y="61"/>
                    <a:pt x="171" y="61"/>
                    <a:pt x="171" y="60"/>
                  </a:cubicBezTo>
                  <a:cubicBezTo>
                    <a:pt x="173" y="58"/>
                    <a:pt x="175" y="56"/>
                    <a:pt x="177" y="55"/>
                  </a:cubicBezTo>
                  <a:cubicBezTo>
                    <a:pt x="180" y="54"/>
                    <a:pt x="184" y="54"/>
                    <a:pt x="187" y="53"/>
                  </a:cubicBezTo>
                  <a:cubicBezTo>
                    <a:pt x="188" y="53"/>
                    <a:pt x="189" y="53"/>
                    <a:pt x="191" y="53"/>
                  </a:cubicBezTo>
                  <a:cubicBezTo>
                    <a:pt x="192" y="53"/>
                    <a:pt x="192" y="53"/>
                    <a:pt x="192" y="53"/>
                  </a:cubicBezTo>
                  <a:cubicBezTo>
                    <a:pt x="195" y="53"/>
                    <a:pt x="197" y="53"/>
                    <a:pt x="199" y="52"/>
                  </a:cubicBezTo>
                  <a:cubicBezTo>
                    <a:pt x="206" y="51"/>
                    <a:pt x="206" y="51"/>
                    <a:pt x="206" y="51"/>
                  </a:cubicBezTo>
                  <a:cubicBezTo>
                    <a:pt x="206" y="51"/>
                    <a:pt x="206" y="51"/>
                    <a:pt x="206" y="51"/>
                  </a:cubicBezTo>
                  <a:cubicBezTo>
                    <a:pt x="206" y="51"/>
                    <a:pt x="207" y="50"/>
                    <a:pt x="208" y="50"/>
                  </a:cubicBezTo>
                  <a:cubicBezTo>
                    <a:pt x="208" y="49"/>
                    <a:pt x="208" y="49"/>
                    <a:pt x="208" y="49"/>
                  </a:cubicBezTo>
                  <a:cubicBezTo>
                    <a:pt x="209" y="48"/>
                    <a:pt x="209" y="48"/>
                    <a:pt x="209" y="47"/>
                  </a:cubicBezTo>
                  <a:cubicBezTo>
                    <a:pt x="210" y="47"/>
                    <a:pt x="210" y="46"/>
                    <a:pt x="211" y="46"/>
                  </a:cubicBezTo>
                  <a:cubicBezTo>
                    <a:pt x="213" y="44"/>
                    <a:pt x="215" y="42"/>
                    <a:pt x="217" y="41"/>
                  </a:cubicBezTo>
                  <a:cubicBezTo>
                    <a:pt x="218" y="41"/>
                    <a:pt x="218" y="41"/>
                    <a:pt x="218" y="41"/>
                  </a:cubicBezTo>
                  <a:cubicBezTo>
                    <a:pt x="220" y="39"/>
                    <a:pt x="224" y="38"/>
                    <a:pt x="227" y="36"/>
                  </a:cubicBezTo>
                  <a:cubicBezTo>
                    <a:pt x="228" y="36"/>
                    <a:pt x="228" y="36"/>
                    <a:pt x="228" y="36"/>
                  </a:cubicBezTo>
                  <a:cubicBezTo>
                    <a:pt x="229" y="36"/>
                    <a:pt x="231" y="35"/>
                    <a:pt x="232" y="35"/>
                  </a:cubicBezTo>
                  <a:cubicBezTo>
                    <a:pt x="236" y="33"/>
                    <a:pt x="241" y="31"/>
                    <a:pt x="246" y="29"/>
                  </a:cubicBezTo>
                  <a:cubicBezTo>
                    <a:pt x="250" y="28"/>
                    <a:pt x="250" y="28"/>
                    <a:pt x="250" y="28"/>
                  </a:cubicBezTo>
                  <a:cubicBezTo>
                    <a:pt x="251" y="28"/>
                    <a:pt x="251" y="28"/>
                    <a:pt x="251" y="28"/>
                  </a:cubicBezTo>
                  <a:cubicBezTo>
                    <a:pt x="251" y="27"/>
                    <a:pt x="251" y="27"/>
                    <a:pt x="251" y="27"/>
                  </a:cubicBezTo>
                  <a:cubicBezTo>
                    <a:pt x="251" y="27"/>
                    <a:pt x="251" y="27"/>
                    <a:pt x="251" y="27"/>
                  </a:cubicBezTo>
                  <a:cubicBezTo>
                    <a:pt x="251" y="26"/>
                    <a:pt x="251" y="26"/>
                    <a:pt x="251" y="26"/>
                  </a:cubicBezTo>
                  <a:cubicBezTo>
                    <a:pt x="250" y="26"/>
                    <a:pt x="250" y="26"/>
                    <a:pt x="250" y="26"/>
                  </a:cubicBezTo>
                  <a:cubicBezTo>
                    <a:pt x="250" y="25"/>
                    <a:pt x="250" y="25"/>
                    <a:pt x="249" y="24"/>
                  </a:cubicBezTo>
                  <a:cubicBezTo>
                    <a:pt x="248" y="24"/>
                    <a:pt x="247" y="23"/>
                    <a:pt x="247" y="22"/>
                  </a:cubicBezTo>
                  <a:cubicBezTo>
                    <a:pt x="246" y="22"/>
                    <a:pt x="246" y="22"/>
                    <a:pt x="245" y="21"/>
                  </a:cubicBezTo>
                  <a:cubicBezTo>
                    <a:pt x="245" y="21"/>
                    <a:pt x="244" y="21"/>
                    <a:pt x="243" y="21"/>
                  </a:cubicBezTo>
                  <a:cubicBezTo>
                    <a:pt x="242" y="21"/>
                    <a:pt x="241" y="21"/>
                    <a:pt x="240" y="21"/>
                  </a:cubicBezTo>
                  <a:cubicBezTo>
                    <a:pt x="236" y="20"/>
                    <a:pt x="233" y="20"/>
                    <a:pt x="231" y="16"/>
                  </a:cubicBezTo>
                  <a:cubicBezTo>
                    <a:pt x="230" y="15"/>
                    <a:pt x="230" y="15"/>
                    <a:pt x="230" y="15"/>
                  </a:cubicBezTo>
                  <a:cubicBezTo>
                    <a:pt x="230" y="14"/>
                    <a:pt x="229" y="13"/>
                    <a:pt x="228" y="12"/>
                  </a:cubicBezTo>
                  <a:cubicBezTo>
                    <a:pt x="228" y="11"/>
                    <a:pt x="228" y="11"/>
                    <a:pt x="228" y="11"/>
                  </a:cubicBezTo>
                  <a:cubicBezTo>
                    <a:pt x="228" y="11"/>
                    <a:pt x="228" y="11"/>
                    <a:pt x="228" y="11"/>
                  </a:cubicBezTo>
                  <a:cubicBezTo>
                    <a:pt x="227" y="11"/>
                    <a:pt x="227" y="11"/>
                    <a:pt x="226" y="11"/>
                  </a:cubicBezTo>
                  <a:cubicBezTo>
                    <a:pt x="226" y="11"/>
                    <a:pt x="225" y="12"/>
                    <a:pt x="224" y="12"/>
                  </a:cubicBezTo>
                  <a:cubicBezTo>
                    <a:pt x="223" y="11"/>
                    <a:pt x="221" y="11"/>
                    <a:pt x="219" y="11"/>
                  </a:cubicBezTo>
                  <a:cubicBezTo>
                    <a:pt x="217" y="10"/>
                    <a:pt x="217" y="10"/>
                    <a:pt x="217" y="10"/>
                  </a:cubicBezTo>
                  <a:cubicBezTo>
                    <a:pt x="216" y="10"/>
                    <a:pt x="215" y="9"/>
                    <a:pt x="215" y="9"/>
                  </a:cubicBezTo>
                  <a:cubicBezTo>
                    <a:pt x="214" y="9"/>
                    <a:pt x="213" y="9"/>
                    <a:pt x="212" y="9"/>
                  </a:cubicBezTo>
                  <a:cubicBezTo>
                    <a:pt x="212" y="9"/>
                    <a:pt x="212" y="9"/>
                    <a:pt x="211" y="9"/>
                  </a:cubicBezTo>
                  <a:cubicBezTo>
                    <a:pt x="211" y="9"/>
                    <a:pt x="211" y="9"/>
                    <a:pt x="210" y="9"/>
                  </a:cubicBezTo>
                  <a:cubicBezTo>
                    <a:pt x="209" y="9"/>
                    <a:pt x="209" y="9"/>
                    <a:pt x="209" y="9"/>
                  </a:cubicBezTo>
                  <a:cubicBezTo>
                    <a:pt x="208" y="9"/>
                    <a:pt x="207" y="9"/>
                    <a:pt x="206" y="9"/>
                  </a:cubicBezTo>
                  <a:cubicBezTo>
                    <a:pt x="201" y="9"/>
                    <a:pt x="197" y="9"/>
                    <a:pt x="193" y="8"/>
                  </a:cubicBezTo>
                  <a:cubicBezTo>
                    <a:pt x="192" y="8"/>
                    <a:pt x="192" y="8"/>
                    <a:pt x="192" y="8"/>
                  </a:cubicBezTo>
                  <a:cubicBezTo>
                    <a:pt x="191" y="8"/>
                    <a:pt x="190" y="8"/>
                    <a:pt x="189" y="8"/>
                  </a:cubicBezTo>
                  <a:cubicBezTo>
                    <a:pt x="189" y="12"/>
                    <a:pt x="189" y="12"/>
                    <a:pt x="189" y="12"/>
                  </a:cubicBezTo>
                  <a:cubicBezTo>
                    <a:pt x="188" y="8"/>
                    <a:pt x="188" y="8"/>
                    <a:pt x="188" y="8"/>
                  </a:cubicBezTo>
                  <a:cubicBezTo>
                    <a:pt x="187" y="8"/>
                    <a:pt x="187" y="8"/>
                    <a:pt x="187" y="8"/>
                  </a:cubicBezTo>
                  <a:cubicBezTo>
                    <a:pt x="182" y="8"/>
                    <a:pt x="177" y="8"/>
                    <a:pt x="171" y="7"/>
                  </a:cubicBezTo>
                  <a:cubicBezTo>
                    <a:pt x="170" y="7"/>
                    <a:pt x="170" y="7"/>
                    <a:pt x="170" y="7"/>
                  </a:cubicBezTo>
                  <a:cubicBezTo>
                    <a:pt x="168" y="7"/>
                    <a:pt x="166" y="7"/>
                    <a:pt x="164" y="7"/>
                  </a:cubicBezTo>
                  <a:cubicBezTo>
                    <a:pt x="163" y="7"/>
                    <a:pt x="163" y="7"/>
                    <a:pt x="163" y="7"/>
                  </a:cubicBezTo>
                  <a:cubicBezTo>
                    <a:pt x="161" y="7"/>
                    <a:pt x="158" y="7"/>
                    <a:pt x="156" y="7"/>
                  </a:cubicBezTo>
                  <a:cubicBezTo>
                    <a:pt x="154" y="7"/>
                    <a:pt x="152" y="7"/>
                    <a:pt x="151" y="7"/>
                  </a:cubicBezTo>
                  <a:cubicBezTo>
                    <a:pt x="150" y="7"/>
                    <a:pt x="150" y="7"/>
                    <a:pt x="150" y="7"/>
                  </a:cubicBezTo>
                  <a:cubicBezTo>
                    <a:pt x="149" y="7"/>
                    <a:pt x="148" y="7"/>
                    <a:pt x="148" y="8"/>
                  </a:cubicBezTo>
                  <a:cubicBezTo>
                    <a:pt x="145" y="9"/>
                    <a:pt x="143" y="9"/>
                    <a:pt x="140" y="9"/>
                  </a:cubicBezTo>
                  <a:cubicBezTo>
                    <a:pt x="139" y="9"/>
                    <a:pt x="138" y="9"/>
                    <a:pt x="138" y="9"/>
                  </a:cubicBezTo>
                  <a:cubicBezTo>
                    <a:pt x="136" y="9"/>
                    <a:pt x="136" y="9"/>
                    <a:pt x="136" y="9"/>
                  </a:cubicBezTo>
                  <a:cubicBezTo>
                    <a:pt x="135" y="9"/>
                    <a:pt x="134" y="9"/>
                    <a:pt x="134" y="8"/>
                  </a:cubicBezTo>
                  <a:cubicBezTo>
                    <a:pt x="132" y="8"/>
                    <a:pt x="132" y="8"/>
                    <a:pt x="132" y="8"/>
                  </a:cubicBezTo>
                  <a:cubicBezTo>
                    <a:pt x="131" y="8"/>
                    <a:pt x="130" y="7"/>
                    <a:pt x="129" y="7"/>
                  </a:cubicBezTo>
                  <a:cubicBezTo>
                    <a:pt x="127" y="6"/>
                    <a:pt x="127" y="6"/>
                    <a:pt x="127" y="6"/>
                  </a:cubicBezTo>
                  <a:cubicBezTo>
                    <a:pt x="126" y="6"/>
                    <a:pt x="124" y="5"/>
                    <a:pt x="123" y="4"/>
                  </a:cubicBezTo>
                  <a:cubicBezTo>
                    <a:pt x="122" y="4"/>
                    <a:pt x="122" y="4"/>
                    <a:pt x="122" y="4"/>
                  </a:cubicBezTo>
                  <a:cubicBezTo>
                    <a:pt x="121" y="3"/>
                    <a:pt x="121" y="3"/>
                    <a:pt x="121" y="3"/>
                  </a:cubicBezTo>
                  <a:cubicBezTo>
                    <a:pt x="120" y="3"/>
                    <a:pt x="119" y="2"/>
                    <a:pt x="117" y="1"/>
                  </a:cubicBezTo>
                  <a:cubicBezTo>
                    <a:pt x="116" y="0"/>
                    <a:pt x="114" y="0"/>
                    <a:pt x="112" y="0"/>
                  </a:cubicBezTo>
                  <a:cubicBezTo>
                    <a:pt x="111" y="0"/>
                    <a:pt x="111" y="0"/>
                    <a:pt x="1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0" name="Rectangle 1559">
              <a:extLst>
                <a:ext uri="{FF2B5EF4-FFF2-40B4-BE49-F238E27FC236}">
                  <a16:creationId xmlns:a16="http://schemas.microsoft.com/office/drawing/2014/main" id="{4204497F-52E9-4E3F-B2E4-D0E74D882E6A}"/>
                </a:ext>
              </a:extLst>
            </p:cNvPr>
            <p:cNvSpPr>
              <a:spLocks noChangeArrowheads="1"/>
            </p:cNvSpPr>
            <p:nvPr/>
          </p:nvSpPr>
          <p:spPr bwMode="auto">
            <a:xfrm>
              <a:off x="726204" y="1514157"/>
              <a:ext cx="1342" cy="2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1" name="Rectangle 1560">
              <a:extLst>
                <a:ext uri="{FF2B5EF4-FFF2-40B4-BE49-F238E27FC236}">
                  <a16:creationId xmlns:a16="http://schemas.microsoft.com/office/drawing/2014/main" id="{47A0774C-56CF-42E2-B1BB-82EC9D62DE2F}"/>
                </a:ext>
              </a:extLst>
            </p:cNvPr>
            <p:cNvSpPr>
              <a:spLocks noChangeArrowheads="1"/>
            </p:cNvSpPr>
            <p:nvPr/>
          </p:nvSpPr>
          <p:spPr bwMode="auto">
            <a:xfrm>
              <a:off x="726204" y="1514157"/>
              <a:ext cx="1342" cy="26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2" name="Freeform 1561">
              <a:extLst>
                <a:ext uri="{FF2B5EF4-FFF2-40B4-BE49-F238E27FC236}">
                  <a16:creationId xmlns:a16="http://schemas.microsoft.com/office/drawing/2014/main" id="{1DFC0771-52D9-41CE-9165-8C4B5E134314}"/>
                </a:ext>
              </a:extLst>
            </p:cNvPr>
            <p:cNvSpPr>
              <a:spLocks/>
            </p:cNvSpPr>
            <p:nvPr/>
          </p:nvSpPr>
          <p:spPr bwMode="auto">
            <a:xfrm>
              <a:off x="0" y="1428247"/>
              <a:ext cx="828221" cy="562439"/>
            </a:xfrm>
            <a:custGeom>
              <a:avLst/>
              <a:gdLst>
                <a:gd name="T0" fmla="*/ 14 w 261"/>
                <a:gd name="T1" fmla="*/ 87 h 177"/>
                <a:gd name="T2" fmla="*/ 22 w 261"/>
                <a:gd name="T3" fmla="*/ 101 h 177"/>
                <a:gd name="T4" fmla="*/ 48 w 261"/>
                <a:gd name="T5" fmla="*/ 120 h 177"/>
                <a:gd name="T6" fmla="*/ 82 w 261"/>
                <a:gd name="T7" fmla="*/ 140 h 177"/>
                <a:gd name="T8" fmla="*/ 96 w 261"/>
                <a:gd name="T9" fmla="*/ 148 h 177"/>
                <a:gd name="T10" fmla="*/ 113 w 261"/>
                <a:gd name="T11" fmla="*/ 153 h 177"/>
                <a:gd name="T12" fmla="*/ 119 w 261"/>
                <a:gd name="T13" fmla="*/ 166 h 177"/>
                <a:gd name="T14" fmla="*/ 132 w 261"/>
                <a:gd name="T15" fmla="*/ 176 h 177"/>
                <a:gd name="T16" fmla="*/ 138 w 261"/>
                <a:gd name="T17" fmla="*/ 177 h 177"/>
                <a:gd name="T18" fmla="*/ 142 w 261"/>
                <a:gd name="T19" fmla="*/ 173 h 177"/>
                <a:gd name="T20" fmla="*/ 148 w 261"/>
                <a:gd name="T21" fmla="*/ 163 h 177"/>
                <a:gd name="T22" fmla="*/ 152 w 261"/>
                <a:gd name="T23" fmla="*/ 149 h 177"/>
                <a:gd name="T24" fmla="*/ 146 w 261"/>
                <a:gd name="T25" fmla="*/ 133 h 177"/>
                <a:gd name="T26" fmla="*/ 132 w 261"/>
                <a:gd name="T27" fmla="*/ 120 h 177"/>
                <a:gd name="T28" fmla="*/ 146 w 261"/>
                <a:gd name="T29" fmla="*/ 111 h 177"/>
                <a:gd name="T30" fmla="*/ 161 w 261"/>
                <a:gd name="T31" fmla="*/ 108 h 177"/>
                <a:gd name="T32" fmla="*/ 173 w 261"/>
                <a:gd name="T33" fmla="*/ 94 h 177"/>
                <a:gd name="T34" fmla="*/ 178 w 261"/>
                <a:gd name="T35" fmla="*/ 80 h 177"/>
                <a:gd name="T36" fmla="*/ 184 w 261"/>
                <a:gd name="T37" fmla="*/ 79 h 177"/>
                <a:gd name="T38" fmla="*/ 189 w 261"/>
                <a:gd name="T39" fmla="*/ 82 h 177"/>
                <a:gd name="T40" fmla="*/ 199 w 261"/>
                <a:gd name="T41" fmla="*/ 76 h 177"/>
                <a:gd name="T42" fmla="*/ 207 w 261"/>
                <a:gd name="T43" fmla="*/ 70 h 177"/>
                <a:gd name="T44" fmla="*/ 216 w 261"/>
                <a:gd name="T45" fmla="*/ 93 h 177"/>
                <a:gd name="T46" fmla="*/ 226 w 261"/>
                <a:gd name="T47" fmla="*/ 91 h 177"/>
                <a:gd name="T48" fmla="*/ 240 w 261"/>
                <a:gd name="T49" fmla="*/ 94 h 177"/>
                <a:gd name="T50" fmla="*/ 245 w 261"/>
                <a:gd name="T51" fmla="*/ 88 h 177"/>
                <a:gd name="T52" fmla="*/ 248 w 261"/>
                <a:gd name="T53" fmla="*/ 88 h 177"/>
                <a:gd name="T54" fmla="*/ 253 w 261"/>
                <a:gd name="T55" fmla="*/ 83 h 177"/>
                <a:gd name="T56" fmla="*/ 259 w 261"/>
                <a:gd name="T57" fmla="*/ 84 h 177"/>
                <a:gd name="T58" fmla="*/ 255 w 261"/>
                <a:gd name="T59" fmla="*/ 79 h 177"/>
                <a:gd name="T60" fmla="*/ 251 w 261"/>
                <a:gd name="T61" fmla="*/ 77 h 177"/>
                <a:gd name="T62" fmla="*/ 245 w 261"/>
                <a:gd name="T63" fmla="*/ 73 h 177"/>
                <a:gd name="T64" fmla="*/ 239 w 261"/>
                <a:gd name="T65" fmla="*/ 69 h 177"/>
                <a:gd name="T66" fmla="*/ 233 w 261"/>
                <a:gd name="T67" fmla="*/ 69 h 177"/>
                <a:gd name="T68" fmla="*/ 227 w 261"/>
                <a:gd name="T69" fmla="*/ 74 h 177"/>
                <a:gd name="T70" fmla="*/ 209 w 261"/>
                <a:gd name="T71" fmla="*/ 66 h 177"/>
                <a:gd name="T72" fmla="*/ 202 w 261"/>
                <a:gd name="T73" fmla="*/ 63 h 177"/>
                <a:gd name="T74" fmla="*/ 196 w 261"/>
                <a:gd name="T75" fmla="*/ 55 h 177"/>
                <a:gd name="T76" fmla="*/ 180 w 261"/>
                <a:gd name="T77" fmla="*/ 67 h 177"/>
                <a:gd name="T78" fmla="*/ 167 w 261"/>
                <a:gd name="T79" fmla="*/ 80 h 177"/>
                <a:gd name="T80" fmla="*/ 162 w 261"/>
                <a:gd name="T81" fmla="*/ 89 h 177"/>
                <a:gd name="T82" fmla="*/ 159 w 261"/>
                <a:gd name="T83" fmla="*/ 88 h 177"/>
                <a:gd name="T84" fmla="*/ 149 w 261"/>
                <a:gd name="T85" fmla="*/ 74 h 177"/>
                <a:gd name="T86" fmla="*/ 142 w 261"/>
                <a:gd name="T87" fmla="*/ 72 h 177"/>
                <a:gd name="T88" fmla="*/ 115 w 261"/>
                <a:gd name="T89" fmla="*/ 66 h 177"/>
                <a:gd name="T90" fmla="*/ 112 w 261"/>
                <a:gd name="T91" fmla="*/ 49 h 177"/>
                <a:gd name="T92" fmla="*/ 105 w 261"/>
                <a:gd name="T93" fmla="*/ 50 h 177"/>
                <a:gd name="T94" fmla="*/ 102 w 261"/>
                <a:gd name="T95" fmla="*/ 26 h 177"/>
                <a:gd name="T96" fmla="*/ 94 w 261"/>
                <a:gd name="T97" fmla="*/ 18 h 177"/>
                <a:gd name="T98" fmla="*/ 81 w 261"/>
                <a:gd name="T99" fmla="*/ 5 h 177"/>
                <a:gd name="T100" fmla="*/ 72 w 261"/>
                <a:gd name="T101" fmla="*/ 3 h 177"/>
                <a:gd name="T102" fmla="*/ 39 w 261"/>
                <a:gd name="T103" fmla="*/ 3 h 177"/>
                <a:gd name="T104" fmla="*/ 8 w 261"/>
                <a:gd name="T105" fmla="*/ 6 h 177"/>
                <a:gd name="T106" fmla="*/ 0 w 261"/>
                <a:gd name="T10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1" h="177">
                  <a:moveTo>
                    <a:pt x="0" y="0"/>
                  </a:moveTo>
                  <a:cubicBezTo>
                    <a:pt x="0" y="64"/>
                    <a:pt x="0" y="64"/>
                    <a:pt x="0" y="64"/>
                  </a:cubicBezTo>
                  <a:cubicBezTo>
                    <a:pt x="1" y="65"/>
                    <a:pt x="3" y="66"/>
                    <a:pt x="4" y="67"/>
                  </a:cubicBezTo>
                  <a:cubicBezTo>
                    <a:pt x="8" y="71"/>
                    <a:pt x="10" y="77"/>
                    <a:pt x="13" y="82"/>
                  </a:cubicBezTo>
                  <a:cubicBezTo>
                    <a:pt x="13" y="83"/>
                    <a:pt x="13" y="83"/>
                    <a:pt x="13" y="83"/>
                  </a:cubicBezTo>
                  <a:cubicBezTo>
                    <a:pt x="13" y="85"/>
                    <a:pt x="14" y="86"/>
                    <a:pt x="14" y="87"/>
                  </a:cubicBezTo>
                  <a:cubicBezTo>
                    <a:pt x="15" y="87"/>
                    <a:pt x="15" y="88"/>
                    <a:pt x="16" y="89"/>
                  </a:cubicBezTo>
                  <a:cubicBezTo>
                    <a:pt x="17" y="90"/>
                    <a:pt x="19" y="91"/>
                    <a:pt x="20" y="94"/>
                  </a:cubicBezTo>
                  <a:cubicBezTo>
                    <a:pt x="20" y="94"/>
                    <a:pt x="20" y="94"/>
                    <a:pt x="20" y="94"/>
                  </a:cubicBezTo>
                  <a:cubicBezTo>
                    <a:pt x="20" y="95"/>
                    <a:pt x="20" y="96"/>
                    <a:pt x="21" y="97"/>
                  </a:cubicBezTo>
                  <a:cubicBezTo>
                    <a:pt x="21" y="97"/>
                    <a:pt x="21" y="97"/>
                    <a:pt x="21" y="97"/>
                  </a:cubicBezTo>
                  <a:cubicBezTo>
                    <a:pt x="21" y="99"/>
                    <a:pt x="21" y="100"/>
                    <a:pt x="22" y="101"/>
                  </a:cubicBezTo>
                  <a:cubicBezTo>
                    <a:pt x="22" y="102"/>
                    <a:pt x="22" y="102"/>
                    <a:pt x="22" y="102"/>
                  </a:cubicBezTo>
                  <a:cubicBezTo>
                    <a:pt x="23" y="103"/>
                    <a:pt x="25" y="104"/>
                    <a:pt x="26" y="105"/>
                  </a:cubicBezTo>
                  <a:cubicBezTo>
                    <a:pt x="27" y="105"/>
                    <a:pt x="28" y="106"/>
                    <a:pt x="29" y="106"/>
                  </a:cubicBezTo>
                  <a:cubicBezTo>
                    <a:pt x="33" y="109"/>
                    <a:pt x="33" y="109"/>
                    <a:pt x="33" y="109"/>
                  </a:cubicBezTo>
                  <a:cubicBezTo>
                    <a:pt x="34" y="110"/>
                    <a:pt x="35" y="111"/>
                    <a:pt x="37" y="112"/>
                  </a:cubicBezTo>
                  <a:cubicBezTo>
                    <a:pt x="40" y="115"/>
                    <a:pt x="44" y="118"/>
                    <a:pt x="48" y="120"/>
                  </a:cubicBezTo>
                  <a:cubicBezTo>
                    <a:pt x="49" y="120"/>
                    <a:pt x="50" y="121"/>
                    <a:pt x="51" y="121"/>
                  </a:cubicBezTo>
                  <a:cubicBezTo>
                    <a:pt x="54" y="123"/>
                    <a:pt x="54" y="123"/>
                    <a:pt x="54" y="123"/>
                  </a:cubicBezTo>
                  <a:cubicBezTo>
                    <a:pt x="58" y="125"/>
                    <a:pt x="64" y="127"/>
                    <a:pt x="68" y="131"/>
                  </a:cubicBezTo>
                  <a:cubicBezTo>
                    <a:pt x="70" y="133"/>
                    <a:pt x="73" y="135"/>
                    <a:pt x="76" y="137"/>
                  </a:cubicBezTo>
                  <a:cubicBezTo>
                    <a:pt x="79" y="138"/>
                    <a:pt x="79" y="138"/>
                    <a:pt x="79" y="138"/>
                  </a:cubicBezTo>
                  <a:cubicBezTo>
                    <a:pt x="80" y="139"/>
                    <a:pt x="81" y="139"/>
                    <a:pt x="82" y="140"/>
                  </a:cubicBezTo>
                  <a:cubicBezTo>
                    <a:pt x="84" y="141"/>
                    <a:pt x="86" y="143"/>
                    <a:pt x="88" y="144"/>
                  </a:cubicBezTo>
                  <a:cubicBezTo>
                    <a:pt x="89" y="145"/>
                    <a:pt x="89" y="145"/>
                    <a:pt x="89" y="145"/>
                  </a:cubicBezTo>
                  <a:cubicBezTo>
                    <a:pt x="89" y="145"/>
                    <a:pt x="90" y="145"/>
                    <a:pt x="91" y="146"/>
                  </a:cubicBezTo>
                  <a:cubicBezTo>
                    <a:pt x="92" y="147"/>
                    <a:pt x="92" y="147"/>
                    <a:pt x="92" y="147"/>
                  </a:cubicBezTo>
                  <a:cubicBezTo>
                    <a:pt x="93" y="148"/>
                    <a:pt x="94" y="149"/>
                    <a:pt x="95" y="149"/>
                  </a:cubicBezTo>
                  <a:cubicBezTo>
                    <a:pt x="96" y="149"/>
                    <a:pt x="96" y="148"/>
                    <a:pt x="96" y="148"/>
                  </a:cubicBezTo>
                  <a:cubicBezTo>
                    <a:pt x="97" y="148"/>
                    <a:pt x="97" y="148"/>
                    <a:pt x="97" y="148"/>
                  </a:cubicBezTo>
                  <a:cubicBezTo>
                    <a:pt x="98" y="148"/>
                    <a:pt x="98" y="148"/>
                    <a:pt x="98" y="148"/>
                  </a:cubicBezTo>
                  <a:cubicBezTo>
                    <a:pt x="99" y="147"/>
                    <a:pt x="99" y="147"/>
                    <a:pt x="100" y="147"/>
                  </a:cubicBezTo>
                  <a:cubicBezTo>
                    <a:pt x="103" y="147"/>
                    <a:pt x="105" y="149"/>
                    <a:pt x="108" y="150"/>
                  </a:cubicBezTo>
                  <a:cubicBezTo>
                    <a:pt x="108" y="151"/>
                    <a:pt x="108" y="151"/>
                    <a:pt x="108" y="151"/>
                  </a:cubicBezTo>
                  <a:cubicBezTo>
                    <a:pt x="110" y="151"/>
                    <a:pt x="111" y="152"/>
                    <a:pt x="113" y="153"/>
                  </a:cubicBezTo>
                  <a:cubicBezTo>
                    <a:pt x="119" y="156"/>
                    <a:pt x="119" y="156"/>
                    <a:pt x="119" y="156"/>
                  </a:cubicBezTo>
                  <a:cubicBezTo>
                    <a:pt x="121" y="157"/>
                    <a:pt x="121" y="159"/>
                    <a:pt x="121" y="159"/>
                  </a:cubicBezTo>
                  <a:cubicBezTo>
                    <a:pt x="120" y="160"/>
                    <a:pt x="120" y="160"/>
                    <a:pt x="120" y="161"/>
                  </a:cubicBezTo>
                  <a:cubicBezTo>
                    <a:pt x="120" y="161"/>
                    <a:pt x="120" y="162"/>
                    <a:pt x="120" y="163"/>
                  </a:cubicBezTo>
                  <a:cubicBezTo>
                    <a:pt x="120" y="164"/>
                    <a:pt x="120" y="164"/>
                    <a:pt x="120" y="164"/>
                  </a:cubicBezTo>
                  <a:cubicBezTo>
                    <a:pt x="120" y="165"/>
                    <a:pt x="119" y="165"/>
                    <a:pt x="119" y="166"/>
                  </a:cubicBezTo>
                  <a:cubicBezTo>
                    <a:pt x="119" y="171"/>
                    <a:pt x="119" y="171"/>
                    <a:pt x="119" y="171"/>
                  </a:cubicBezTo>
                  <a:cubicBezTo>
                    <a:pt x="118" y="171"/>
                    <a:pt x="118" y="172"/>
                    <a:pt x="118" y="172"/>
                  </a:cubicBezTo>
                  <a:cubicBezTo>
                    <a:pt x="122" y="172"/>
                    <a:pt x="122" y="172"/>
                    <a:pt x="122" y="172"/>
                  </a:cubicBezTo>
                  <a:cubicBezTo>
                    <a:pt x="123" y="172"/>
                    <a:pt x="124" y="172"/>
                    <a:pt x="125" y="172"/>
                  </a:cubicBezTo>
                  <a:cubicBezTo>
                    <a:pt x="127" y="173"/>
                    <a:pt x="129" y="174"/>
                    <a:pt x="131" y="176"/>
                  </a:cubicBezTo>
                  <a:cubicBezTo>
                    <a:pt x="132" y="176"/>
                    <a:pt x="132" y="176"/>
                    <a:pt x="132" y="176"/>
                  </a:cubicBezTo>
                  <a:cubicBezTo>
                    <a:pt x="132" y="177"/>
                    <a:pt x="132" y="177"/>
                    <a:pt x="132" y="177"/>
                  </a:cubicBezTo>
                  <a:cubicBezTo>
                    <a:pt x="133" y="177"/>
                    <a:pt x="133" y="177"/>
                    <a:pt x="133" y="177"/>
                  </a:cubicBezTo>
                  <a:cubicBezTo>
                    <a:pt x="133" y="177"/>
                    <a:pt x="133" y="177"/>
                    <a:pt x="133" y="177"/>
                  </a:cubicBezTo>
                  <a:cubicBezTo>
                    <a:pt x="133" y="177"/>
                    <a:pt x="133" y="177"/>
                    <a:pt x="133" y="177"/>
                  </a:cubicBezTo>
                  <a:cubicBezTo>
                    <a:pt x="134" y="177"/>
                    <a:pt x="135" y="177"/>
                    <a:pt x="136" y="177"/>
                  </a:cubicBezTo>
                  <a:cubicBezTo>
                    <a:pt x="137" y="177"/>
                    <a:pt x="137" y="177"/>
                    <a:pt x="138" y="177"/>
                  </a:cubicBezTo>
                  <a:cubicBezTo>
                    <a:pt x="139" y="177"/>
                    <a:pt x="140" y="177"/>
                    <a:pt x="141" y="177"/>
                  </a:cubicBezTo>
                  <a:cubicBezTo>
                    <a:pt x="141" y="175"/>
                    <a:pt x="141" y="175"/>
                    <a:pt x="141" y="175"/>
                  </a:cubicBezTo>
                  <a:cubicBezTo>
                    <a:pt x="142" y="176"/>
                    <a:pt x="142" y="176"/>
                    <a:pt x="142" y="176"/>
                  </a:cubicBezTo>
                  <a:cubicBezTo>
                    <a:pt x="142" y="175"/>
                    <a:pt x="142" y="175"/>
                    <a:pt x="142" y="175"/>
                  </a:cubicBezTo>
                  <a:cubicBezTo>
                    <a:pt x="142" y="174"/>
                    <a:pt x="142" y="174"/>
                    <a:pt x="142" y="174"/>
                  </a:cubicBezTo>
                  <a:cubicBezTo>
                    <a:pt x="142" y="174"/>
                    <a:pt x="142" y="173"/>
                    <a:pt x="142" y="173"/>
                  </a:cubicBezTo>
                  <a:cubicBezTo>
                    <a:pt x="142" y="172"/>
                    <a:pt x="142" y="172"/>
                    <a:pt x="142" y="172"/>
                  </a:cubicBezTo>
                  <a:cubicBezTo>
                    <a:pt x="143" y="171"/>
                    <a:pt x="143" y="171"/>
                    <a:pt x="143" y="171"/>
                  </a:cubicBezTo>
                  <a:cubicBezTo>
                    <a:pt x="143" y="171"/>
                    <a:pt x="143" y="170"/>
                    <a:pt x="143" y="170"/>
                  </a:cubicBezTo>
                  <a:cubicBezTo>
                    <a:pt x="144" y="169"/>
                    <a:pt x="145" y="168"/>
                    <a:pt x="146" y="166"/>
                  </a:cubicBezTo>
                  <a:cubicBezTo>
                    <a:pt x="147" y="164"/>
                    <a:pt x="147" y="164"/>
                    <a:pt x="147" y="164"/>
                  </a:cubicBezTo>
                  <a:cubicBezTo>
                    <a:pt x="147" y="164"/>
                    <a:pt x="147" y="164"/>
                    <a:pt x="148" y="163"/>
                  </a:cubicBezTo>
                  <a:cubicBezTo>
                    <a:pt x="149" y="162"/>
                    <a:pt x="149" y="162"/>
                    <a:pt x="149" y="162"/>
                  </a:cubicBezTo>
                  <a:cubicBezTo>
                    <a:pt x="154" y="155"/>
                    <a:pt x="155" y="153"/>
                    <a:pt x="155" y="153"/>
                  </a:cubicBezTo>
                  <a:cubicBezTo>
                    <a:pt x="155" y="152"/>
                    <a:pt x="155" y="152"/>
                    <a:pt x="155" y="152"/>
                  </a:cubicBezTo>
                  <a:cubicBezTo>
                    <a:pt x="154" y="152"/>
                    <a:pt x="154" y="152"/>
                    <a:pt x="153" y="151"/>
                  </a:cubicBezTo>
                  <a:cubicBezTo>
                    <a:pt x="153" y="151"/>
                    <a:pt x="153" y="150"/>
                    <a:pt x="152" y="150"/>
                  </a:cubicBezTo>
                  <a:cubicBezTo>
                    <a:pt x="152" y="149"/>
                    <a:pt x="152" y="149"/>
                    <a:pt x="152" y="149"/>
                  </a:cubicBezTo>
                  <a:cubicBezTo>
                    <a:pt x="151" y="149"/>
                    <a:pt x="151" y="149"/>
                    <a:pt x="151" y="148"/>
                  </a:cubicBezTo>
                  <a:cubicBezTo>
                    <a:pt x="150" y="147"/>
                    <a:pt x="149" y="146"/>
                    <a:pt x="149" y="145"/>
                  </a:cubicBezTo>
                  <a:cubicBezTo>
                    <a:pt x="149" y="144"/>
                    <a:pt x="149" y="144"/>
                    <a:pt x="149" y="143"/>
                  </a:cubicBezTo>
                  <a:cubicBezTo>
                    <a:pt x="150" y="139"/>
                    <a:pt x="150" y="139"/>
                    <a:pt x="150" y="139"/>
                  </a:cubicBezTo>
                  <a:cubicBezTo>
                    <a:pt x="151" y="135"/>
                    <a:pt x="151" y="134"/>
                    <a:pt x="151" y="134"/>
                  </a:cubicBezTo>
                  <a:cubicBezTo>
                    <a:pt x="150" y="134"/>
                    <a:pt x="148" y="133"/>
                    <a:pt x="146" y="133"/>
                  </a:cubicBezTo>
                  <a:cubicBezTo>
                    <a:pt x="141" y="133"/>
                    <a:pt x="140" y="133"/>
                    <a:pt x="137" y="129"/>
                  </a:cubicBezTo>
                  <a:cubicBezTo>
                    <a:pt x="136" y="129"/>
                    <a:pt x="136" y="129"/>
                    <a:pt x="136" y="129"/>
                  </a:cubicBezTo>
                  <a:cubicBezTo>
                    <a:pt x="135" y="128"/>
                    <a:pt x="135" y="128"/>
                    <a:pt x="135" y="128"/>
                  </a:cubicBezTo>
                  <a:cubicBezTo>
                    <a:pt x="134" y="127"/>
                    <a:pt x="134" y="126"/>
                    <a:pt x="134" y="126"/>
                  </a:cubicBezTo>
                  <a:cubicBezTo>
                    <a:pt x="132" y="125"/>
                    <a:pt x="132" y="123"/>
                    <a:pt x="132" y="121"/>
                  </a:cubicBezTo>
                  <a:cubicBezTo>
                    <a:pt x="132" y="120"/>
                    <a:pt x="132" y="120"/>
                    <a:pt x="132" y="120"/>
                  </a:cubicBezTo>
                  <a:cubicBezTo>
                    <a:pt x="133" y="117"/>
                    <a:pt x="133" y="115"/>
                    <a:pt x="137" y="113"/>
                  </a:cubicBezTo>
                  <a:cubicBezTo>
                    <a:pt x="137" y="113"/>
                    <a:pt x="137" y="113"/>
                    <a:pt x="137" y="113"/>
                  </a:cubicBezTo>
                  <a:cubicBezTo>
                    <a:pt x="139" y="112"/>
                    <a:pt x="140" y="111"/>
                    <a:pt x="141" y="111"/>
                  </a:cubicBezTo>
                  <a:cubicBezTo>
                    <a:pt x="141" y="111"/>
                    <a:pt x="141" y="111"/>
                    <a:pt x="141" y="111"/>
                  </a:cubicBezTo>
                  <a:cubicBezTo>
                    <a:pt x="142" y="110"/>
                    <a:pt x="143" y="110"/>
                    <a:pt x="143" y="110"/>
                  </a:cubicBezTo>
                  <a:cubicBezTo>
                    <a:pt x="144" y="110"/>
                    <a:pt x="145" y="110"/>
                    <a:pt x="146" y="111"/>
                  </a:cubicBezTo>
                  <a:cubicBezTo>
                    <a:pt x="149" y="111"/>
                    <a:pt x="151" y="112"/>
                    <a:pt x="154" y="112"/>
                  </a:cubicBezTo>
                  <a:cubicBezTo>
                    <a:pt x="155" y="112"/>
                    <a:pt x="156" y="112"/>
                    <a:pt x="157" y="112"/>
                  </a:cubicBezTo>
                  <a:cubicBezTo>
                    <a:pt x="158" y="112"/>
                    <a:pt x="158" y="112"/>
                    <a:pt x="158" y="112"/>
                  </a:cubicBezTo>
                  <a:cubicBezTo>
                    <a:pt x="159" y="112"/>
                    <a:pt x="159" y="112"/>
                    <a:pt x="159" y="112"/>
                  </a:cubicBezTo>
                  <a:cubicBezTo>
                    <a:pt x="159" y="112"/>
                    <a:pt x="159" y="112"/>
                    <a:pt x="159" y="112"/>
                  </a:cubicBezTo>
                  <a:cubicBezTo>
                    <a:pt x="160" y="112"/>
                    <a:pt x="160" y="110"/>
                    <a:pt x="161" y="108"/>
                  </a:cubicBezTo>
                  <a:cubicBezTo>
                    <a:pt x="161" y="107"/>
                    <a:pt x="161" y="107"/>
                    <a:pt x="161" y="107"/>
                  </a:cubicBezTo>
                  <a:cubicBezTo>
                    <a:pt x="162" y="105"/>
                    <a:pt x="163" y="104"/>
                    <a:pt x="164" y="103"/>
                  </a:cubicBezTo>
                  <a:cubicBezTo>
                    <a:pt x="164" y="102"/>
                    <a:pt x="164" y="102"/>
                    <a:pt x="165" y="102"/>
                  </a:cubicBezTo>
                  <a:cubicBezTo>
                    <a:pt x="164" y="101"/>
                    <a:pt x="162" y="100"/>
                    <a:pt x="161" y="99"/>
                  </a:cubicBezTo>
                  <a:cubicBezTo>
                    <a:pt x="160" y="95"/>
                    <a:pt x="160" y="95"/>
                    <a:pt x="160" y="95"/>
                  </a:cubicBezTo>
                  <a:cubicBezTo>
                    <a:pt x="173" y="94"/>
                    <a:pt x="173" y="94"/>
                    <a:pt x="173" y="94"/>
                  </a:cubicBezTo>
                  <a:cubicBezTo>
                    <a:pt x="173" y="94"/>
                    <a:pt x="173" y="94"/>
                    <a:pt x="174" y="94"/>
                  </a:cubicBezTo>
                  <a:cubicBezTo>
                    <a:pt x="174" y="94"/>
                    <a:pt x="175" y="94"/>
                    <a:pt x="176" y="94"/>
                  </a:cubicBezTo>
                  <a:cubicBezTo>
                    <a:pt x="175" y="91"/>
                    <a:pt x="174" y="89"/>
                    <a:pt x="175" y="86"/>
                  </a:cubicBezTo>
                  <a:cubicBezTo>
                    <a:pt x="175" y="85"/>
                    <a:pt x="176" y="83"/>
                    <a:pt x="177" y="82"/>
                  </a:cubicBezTo>
                  <a:cubicBezTo>
                    <a:pt x="178" y="81"/>
                    <a:pt x="178" y="81"/>
                    <a:pt x="178" y="81"/>
                  </a:cubicBezTo>
                  <a:cubicBezTo>
                    <a:pt x="178" y="80"/>
                    <a:pt x="178" y="80"/>
                    <a:pt x="178" y="80"/>
                  </a:cubicBezTo>
                  <a:cubicBezTo>
                    <a:pt x="179" y="79"/>
                    <a:pt x="179" y="79"/>
                    <a:pt x="179" y="79"/>
                  </a:cubicBezTo>
                  <a:cubicBezTo>
                    <a:pt x="181" y="79"/>
                    <a:pt x="181" y="79"/>
                    <a:pt x="181" y="79"/>
                  </a:cubicBezTo>
                  <a:cubicBezTo>
                    <a:pt x="181" y="79"/>
                    <a:pt x="181" y="79"/>
                    <a:pt x="181" y="79"/>
                  </a:cubicBezTo>
                  <a:cubicBezTo>
                    <a:pt x="182" y="79"/>
                    <a:pt x="182" y="79"/>
                    <a:pt x="182" y="79"/>
                  </a:cubicBezTo>
                  <a:cubicBezTo>
                    <a:pt x="183" y="79"/>
                    <a:pt x="183" y="79"/>
                    <a:pt x="183" y="79"/>
                  </a:cubicBezTo>
                  <a:cubicBezTo>
                    <a:pt x="183" y="79"/>
                    <a:pt x="184" y="79"/>
                    <a:pt x="184" y="79"/>
                  </a:cubicBezTo>
                  <a:cubicBezTo>
                    <a:pt x="184" y="80"/>
                    <a:pt x="184" y="80"/>
                    <a:pt x="184" y="80"/>
                  </a:cubicBezTo>
                  <a:cubicBezTo>
                    <a:pt x="185" y="80"/>
                    <a:pt x="185" y="80"/>
                    <a:pt x="185" y="80"/>
                  </a:cubicBezTo>
                  <a:cubicBezTo>
                    <a:pt x="186" y="80"/>
                    <a:pt x="187" y="81"/>
                    <a:pt x="187" y="81"/>
                  </a:cubicBezTo>
                  <a:cubicBezTo>
                    <a:pt x="188" y="81"/>
                    <a:pt x="188" y="81"/>
                    <a:pt x="188" y="81"/>
                  </a:cubicBezTo>
                  <a:cubicBezTo>
                    <a:pt x="189" y="81"/>
                    <a:pt x="189" y="82"/>
                    <a:pt x="189" y="82"/>
                  </a:cubicBezTo>
                  <a:cubicBezTo>
                    <a:pt x="189" y="82"/>
                    <a:pt x="189" y="82"/>
                    <a:pt x="189" y="82"/>
                  </a:cubicBezTo>
                  <a:cubicBezTo>
                    <a:pt x="189" y="81"/>
                    <a:pt x="189" y="81"/>
                    <a:pt x="189" y="81"/>
                  </a:cubicBezTo>
                  <a:cubicBezTo>
                    <a:pt x="190" y="81"/>
                    <a:pt x="190" y="81"/>
                    <a:pt x="191" y="81"/>
                  </a:cubicBezTo>
                  <a:cubicBezTo>
                    <a:pt x="192" y="80"/>
                    <a:pt x="193" y="79"/>
                    <a:pt x="195" y="79"/>
                  </a:cubicBezTo>
                  <a:cubicBezTo>
                    <a:pt x="195" y="79"/>
                    <a:pt x="195" y="79"/>
                    <a:pt x="195" y="79"/>
                  </a:cubicBezTo>
                  <a:cubicBezTo>
                    <a:pt x="196" y="79"/>
                    <a:pt x="196" y="79"/>
                    <a:pt x="196" y="79"/>
                  </a:cubicBezTo>
                  <a:cubicBezTo>
                    <a:pt x="197" y="78"/>
                    <a:pt x="198" y="77"/>
                    <a:pt x="199" y="76"/>
                  </a:cubicBezTo>
                  <a:cubicBezTo>
                    <a:pt x="200" y="75"/>
                    <a:pt x="200" y="75"/>
                    <a:pt x="200" y="75"/>
                  </a:cubicBezTo>
                  <a:cubicBezTo>
                    <a:pt x="200" y="75"/>
                    <a:pt x="201" y="75"/>
                    <a:pt x="201" y="74"/>
                  </a:cubicBezTo>
                  <a:cubicBezTo>
                    <a:pt x="202" y="74"/>
                    <a:pt x="202" y="74"/>
                    <a:pt x="203" y="73"/>
                  </a:cubicBezTo>
                  <a:cubicBezTo>
                    <a:pt x="203" y="73"/>
                    <a:pt x="204" y="72"/>
                    <a:pt x="205" y="72"/>
                  </a:cubicBezTo>
                  <a:cubicBezTo>
                    <a:pt x="205" y="72"/>
                    <a:pt x="205" y="72"/>
                    <a:pt x="205" y="72"/>
                  </a:cubicBezTo>
                  <a:cubicBezTo>
                    <a:pt x="207" y="70"/>
                    <a:pt x="207" y="70"/>
                    <a:pt x="207" y="70"/>
                  </a:cubicBezTo>
                  <a:cubicBezTo>
                    <a:pt x="219" y="83"/>
                    <a:pt x="219" y="83"/>
                    <a:pt x="219" y="83"/>
                  </a:cubicBezTo>
                  <a:cubicBezTo>
                    <a:pt x="217" y="85"/>
                    <a:pt x="217" y="85"/>
                    <a:pt x="217" y="85"/>
                  </a:cubicBezTo>
                  <a:cubicBezTo>
                    <a:pt x="214" y="87"/>
                    <a:pt x="212" y="89"/>
                    <a:pt x="209" y="91"/>
                  </a:cubicBezTo>
                  <a:cubicBezTo>
                    <a:pt x="211" y="92"/>
                    <a:pt x="212" y="92"/>
                    <a:pt x="213" y="93"/>
                  </a:cubicBezTo>
                  <a:cubicBezTo>
                    <a:pt x="213" y="93"/>
                    <a:pt x="214" y="93"/>
                    <a:pt x="216" y="93"/>
                  </a:cubicBezTo>
                  <a:cubicBezTo>
                    <a:pt x="216" y="93"/>
                    <a:pt x="216" y="93"/>
                    <a:pt x="216" y="93"/>
                  </a:cubicBezTo>
                  <a:cubicBezTo>
                    <a:pt x="216" y="93"/>
                    <a:pt x="217" y="93"/>
                    <a:pt x="217" y="93"/>
                  </a:cubicBezTo>
                  <a:cubicBezTo>
                    <a:pt x="219" y="92"/>
                    <a:pt x="219" y="92"/>
                    <a:pt x="219" y="92"/>
                  </a:cubicBezTo>
                  <a:cubicBezTo>
                    <a:pt x="219" y="93"/>
                    <a:pt x="219" y="93"/>
                    <a:pt x="219" y="93"/>
                  </a:cubicBezTo>
                  <a:cubicBezTo>
                    <a:pt x="220" y="92"/>
                    <a:pt x="220" y="92"/>
                    <a:pt x="221" y="92"/>
                  </a:cubicBezTo>
                  <a:cubicBezTo>
                    <a:pt x="221" y="92"/>
                    <a:pt x="221" y="92"/>
                    <a:pt x="221" y="92"/>
                  </a:cubicBezTo>
                  <a:cubicBezTo>
                    <a:pt x="223" y="92"/>
                    <a:pt x="225" y="91"/>
                    <a:pt x="226" y="91"/>
                  </a:cubicBezTo>
                  <a:cubicBezTo>
                    <a:pt x="227" y="91"/>
                    <a:pt x="227" y="91"/>
                    <a:pt x="227" y="91"/>
                  </a:cubicBezTo>
                  <a:cubicBezTo>
                    <a:pt x="228" y="91"/>
                    <a:pt x="229" y="92"/>
                    <a:pt x="230" y="92"/>
                  </a:cubicBezTo>
                  <a:cubicBezTo>
                    <a:pt x="231" y="92"/>
                    <a:pt x="231" y="93"/>
                    <a:pt x="232" y="93"/>
                  </a:cubicBezTo>
                  <a:cubicBezTo>
                    <a:pt x="233" y="93"/>
                    <a:pt x="234" y="94"/>
                    <a:pt x="235" y="94"/>
                  </a:cubicBezTo>
                  <a:cubicBezTo>
                    <a:pt x="236" y="95"/>
                    <a:pt x="236" y="95"/>
                    <a:pt x="237" y="95"/>
                  </a:cubicBezTo>
                  <a:cubicBezTo>
                    <a:pt x="238" y="95"/>
                    <a:pt x="239" y="95"/>
                    <a:pt x="240" y="94"/>
                  </a:cubicBezTo>
                  <a:cubicBezTo>
                    <a:pt x="240" y="94"/>
                    <a:pt x="240" y="94"/>
                    <a:pt x="240" y="94"/>
                  </a:cubicBezTo>
                  <a:cubicBezTo>
                    <a:pt x="241" y="94"/>
                    <a:pt x="241" y="94"/>
                    <a:pt x="241" y="94"/>
                  </a:cubicBezTo>
                  <a:cubicBezTo>
                    <a:pt x="242" y="93"/>
                    <a:pt x="242" y="93"/>
                    <a:pt x="242" y="93"/>
                  </a:cubicBezTo>
                  <a:cubicBezTo>
                    <a:pt x="242" y="92"/>
                    <a:pt x="242" y="92"/>
                    <a:pt x="242" y="91"/>
                  </a:cubicBezTo>
                  <a:cubicBezTo>
                    <a:pt x="243" y="90"/>
                    <a:pt x="243" y="89"/>
                    <a:pt x="244" y="89"/>
                  </a:cubicBezTo>
                  <a:cubicBezTo>
                    <a:pt x="245" y="88"/>
                    <a:pt x="245" y="88"/>
                    <a:pt x="245" y="88"/>
                  </a:cubicBezTo>
                  <a:cubicBezTo>
                    <a:pt x="246" y="88"/>
                    <a:pt x="246" y="88"/>
                    <a:pt x="246" y="88"/>
                  </a:cubicBezTo>
                  <a:cubicBezTo>
                    <a:pt x="246" y="88"/>
                    <a:pt x="246" y="88"/>
                    <a:pt x="246" y="88"/>
                  </a:cubicBezTo>
                  <a:cubicBezTo>
                    <a:pt x="247" y="89"/>
                    <a:pt x="247" y="89"/>
                    <a:pt x="247" y="89"/>
                  </a:cubicBezTo>
                  <a:cubicBezTo>
                    <a:pt x="247" y="88"/>
                    <a:pt x="247" y="88"/>
                    <a:pt x="247" y="88"/>
                  </a:cubicBezTo>
                  <a:cubicBezTo>
                    <a:pt x="247" y="88"/>
                    <a:pt x="247" y="88"/>
                    <a:pt x="248" y="88"/>
                  </a:cubicBezTo>
                  <a:cubicBezTo>
                    <a:pt x="248" y="88"/>
                    <a:pt x="248" y="88"/>
                    <a:pt x="248" y="88"/>
                  </a:cubicBezTo>
                  <a:cubicBezTo>
                    <a:pt x="248" y="88"/>
                    <a:pt x="249" y="88"/>
                    <a:pt x="249" y="88"/>
                  </a:cubicBezTo>
                  <a:cubicBezTo>
                    <a:pt x="249" y="87"/>
                    <a:pt x="249" y="87"/>
                    <a:pt x="249" y="87"/>
                  </a:cubicBezTo>
                  <a:cubicBezTo>
                    <a:pt x="249" y="86"/>
                    <a:pt x="249" y="86"/>
                    <a:pt x="249" y="86"/>
                  </a:cubicBezTo>
                  <a:cubicBezTo>
                    <a:pt x="249" y="85"/>
                    <a:pt x="250" y="84"/>
                    <a:pt x="251" y="83"/>
                  </a:cubicBezTo>
                  <a:cubicBezTo>
                    <a:pt x="252" y="83"/>
                    <a:pt x="252" y="83"/>
                    <a:pt x="252" y="83"/>
                  </a:cubicBezTo>
                  <a:cubicBezTo>
                    <a:pt x="252" y="83"/>
                    <a:pt x="252" y="83"/>
                    <a:pt x="253" y="83"/>
                  </a:cubicBezTo>
                  <a:cubicBezTo>
                    <a:pt x="254" y="83"/>
                    <a:pt x="254" y="83"/>
                    <a:pt x="255" y="83"/>
                  </a:cubicBezTo>
                  <a:cubicBezTo>
                    <a:pt x="255" y="84"/>
                    <a:pt x="255" y="84"/>
                    <a:pt x="255" y="84"/>
                  </a:cubicBezTo>
                  <a:cubicBezTo>
                    <a:pt x="256" y="84"/>
                    <a:pt x="256" y="84"/>
                    <a:pt x="257" y="85"/>
                  </a:cubicBezTo>
                  <a:cubicBezTo>
                    <a:pt x="257" y="85"/>
                    <a:pt x="258" y="85"/>
                    <a:pt x="258" y="85"/>
                  </a:cubicBezTo>
                  <a:cubicBezTo>
                    <a:pt x="258" y="85"/>
                    <a:pt x="258" y="85"/>
                    <a:pt x="258" y="85"/>
                  </a:cubicBezTo>
                  <a:cubicBezTo>
                    <a:pt x="259" y="84"/>
                    <a:pt x="259" y="84"/>
                    <a:pt x="259" y="84"/>
                  </a:cubicBezTo>
                  <a:cubicBezTo>
                    <a:pt x="259" y="84"/>
                    <a:pt x="259" y="83"/>
                    <a:pt x="260" y="83"/>
                  </a:cubicBezTo>
                  <a:cubicBezTo>
                    <a:pt x="261" y="82"/>
                    <a:pt x="261" y="82"/>
                    <a:pt x="261" y="82"/>
                  </a:cubicBezTo>
                  <a:cubicBezTo>
                    <a:pt x="261" y="82"/>
                    <a:pt x="261" y="82"/>
                    <a:pt x="261" y="82"/>
                  </a:cubicBezTo>
                  <a:cubicBezTo>
                    <a:pt x="259" y="81"/>
                    <a:pt x="258" y="81"/>
                    <a:pt x="256" y="80"/>
                  </a:cubicBezTo>
                  <a:cubicBezTo>
                    <a:pt x="256" y="80"/>
                    <a:pt x="256" y="80"/>
                    <a:pt x="256" y="80"/>
                  </a:cubicBezTo>
                  <a:cubicBezTo>
                    <a:pt x="255" y="79"/>
                    <a:pt x="255" y="79"/>
                    <a:pt x="255" y="79"/>
                  </a:cubicBezTo>
                  <a:cubicBezTo>
                    <a:pt x="255" y="79"/>
                    <a:pt x="255" y="78"/>
                    <a:pt x="255" y="78"/>
                  </a:cubicBezTo>
                  <a:cubicBezTo>
                    <a:pt x="254" y="78"/>
                    <a:pt x="254" y="78"/>
                    <a:pt x="254" y="78"/>
                  </a:cubicBezTo>
                  <a:cubicBezTo>
                    <a:pt x="253" y="78"/>
                    <a:pt x="253" y="78"/>
                    <a:pt x="253" y="78"/>
                  </a:cubicBezTo>
                  <a:cubicBezTo>
                    <a:pt x="252" y="81"/>
                    <a:pt x="252" y="81"/>
                    <a:pt x="252" y="81"/>
                  </a:cubicBezTo>
                  <a:cubicBezTo>
                    <a:pt x="251" y="77"/>
                    <a:pt x="251" y="77"/>
                    <a:pt x="251" y="77"/>
                  </a:cubicBezTo>
                  <a:cubicBezTo>
                    <a:pt x="251" y="77"/>
                    <a:pt x="251" y="77"/>
                    <a:pt x="251" y="77"/>
                  </a:cubicBezTo>
                  <a:cubicBezTo>
                    <a:pt x="251" y="77"/>
                    <a:pt x="251" y="77"/>
                    <a:pt x="250" y="77"/>
                  </a:cubicBezTo>
                  <a:cubicBezTo>
                    <a:pt x="250" y="77"/>
                    <a:pt x="250" y="77"/>
                    <a:pt x="250" y="77"/>
                  </a:cubicBezTo>
                  <a:cubicBezTo>
                    <a:pt x="249" y="77"/>
                    <a:pt x="249" y="77"/>
                    <a:pt x="249" y="77"/>
                  </a:cubicBezTo>
                  <a:cubicBezTo>
                    <a:pt x="245" y="79"/>
                    <a:pt x="245" y="79"/>
                    <a:pt x="245" y="79"/>
                  </a:cubicBezTo>
                  <a:cubicBezTo>
                    <a:pt x="245" y="75"/>
                    <a:pt x="245" y="75"/>
                    <a:pt x="245" y="75"/>
                  </a:cubicBezTo>
                  <a:cubicBezTo>
                    <a:pt x="245" y="75"/>
                    <a:pt x="245" y="74"/>
                    <a:pt x="245" y="73"/>
                  </a:cubicBezTo>
                  <a:cubicBezTo>
                    <a:pt x="245" y="73"/>
                    <a:pt x="245" y="73"/>
                    <a:pt x="245" y="72"/>
                  </a:cubicBezTo>
                  <a:cubicBezTo>
                    <a:pt x="244" y="72"/>
                    <a:pt x="244" y="72"/>
                    <a:pt x="244" y="72"/>
                  </a:cubicBezTo>
                  <a:cubicBezTo>
                    <a:pt x="243" y="72"/>
                    <a:pt x="243" y="72"/>
                    <a:pt x="243" y="72"/>
                  </a:cubicBezTo>
                  <a:cubicBezTo>
                    <a:pt x="243" y="72"/>
                    <a:pt x="243" y="72"/>
                    <a:pt x="243" y="72"/>
                  </a:cubicBezTo>
                  <a:cubicBezTo>
                    <a:pt x="242" y="72"/>
                    <a:pt x="241" y="72"/>
                    <a:pt x="240" y="71"/>
                  </a:cubicBezTo>
                  <a:cubicBezTo>
                    <a:pt x="240" y="70"/>
                    <a:pt x="239" y="69"/>
                    <a:pt x="239" y="69"/>
                  </a:cubicBezTo>
                  <a:cubicBezTo>
                    <a:pt x="238" y="68"/>
                    <a:pt x="237" y="67"/>
                    <a:pt x="237" y="66"/>
                  </a:cubicBezTo>
                  <a:cubicBezTo>
                    <a:pt x="237" y="69"/>
                    <a:pt x="237" y="69"/>
                    <a:pt x="237" y="69"/>
                  </a:cubicBezTo>
                  <a:cubicBezTo>
                    <a:pt x="234" y="69"/>
                    <a:pt x="234" y="69"/>
                    <a:pt x="234" y="69"/>
                  </a:cubicBezTo>
                  <a:cubicBezTo>
                    <a:pt x="234" y="69"/>
                    <a:pt x="234" y="69"/>
                    <a:pt x="233" y="69"/>
                  </a:cubicBezTo>
                  <a:cubicBezTo>
                    <a:pt x="233" y="69"/>
                    <a:pt x="233" y="69"/>
                    <a:pt x="233" y="69"/>
                  </a:cubicBezTo>
                  <a:cubicBezTo>
                    <a:pt x="233" y="69"/>
                    <a:pt x="233" y="69"/>
                    <a:pt x="233" y="69"/>
                  </a:cubicBezTo>
                  <a:cubicBezTo>
                    <a:pt x="233" y="70"/>
                    <a:pt x="233" y="70"/>
                    <a:pt x="233" y="70"/>
                  </a:cubicBezTo>
                  <a:cubicBezTo>
                    <a:pt x="233" y="70"/>
                    <a:pt x="233" y="71"/>
                    <a:pt x="233" y="71"/>
                  </a:cubicBezTo>
                  <a:cubicBezTo>
                    <a:pt x="233" y="74"/>
                    <a:pt x="233" y="74"/>
                    <a:pt x="233" y="74"/>
                  </a:cubicBezTo>
                  <a:cubicBezTo>
                    <a:pt x="229" y="74"/>
                    <a:pt x="229" y="74"/>
                    <a:pt x="229" y="74"/>
                  </a:cubicBezTo>
                  <a:cubicBezTo>
                    <a:pt x="229" y="74"/>
                    <a:pt x="229" y="74"/>
                    <a:pt x="228" y="74"/>
                  </a:cubicBezTo>
                  <a:cubicBezTo>
                    <a:pt x="228" y="74"/>
                    <a:pt x="227" y="74"/>
                    <a:pt x="227" y="74"/>
                  </a:cubicBezTo>
                  <a:cubicBezTo>
                    <a:pt x="226" y="73"/>
                    <a:pt x="226" y="73"/>
                    <a:pt x="226" y="73"/>
                  </a:cubicBezTo>
                  <a:cubicBezTo>
                    <a:pt x="225" y="73"/>
                    <a:pt x="225" y="73"/>
                    <a:pt x="224" y="73"/>
                  </a:cubicBezTo>
                  <a:cubicBezTo>
                    <a:pt x="221" y="73"/>
                    <a:pt x="218" y="72"/>
                    <a:pt x="215" y="71"/>
                  </a:cubicBezTo>
                  <a:cubicBezTo>
                    <a:pt x="212" y="69"/>
                    <a:pt x="211" y="68"/>
                    <a:pt x="211" y="66"/>
                  </a:cubicBezTo>
                  <a:cubicBezTo>
                    <a:pt x="211" y="65"/>
                    <a:pt x="211" y="65"/>
                    <a:pt x="211" y="65"/>
                  </a:cubicBezTo>
                  <a:cubicBezTo>
                    <a:pt x="209" y="66"/>
                    <a:pt x="209" y="66"/>
                    <a:pt x="209" y="66"/>
                  </a:cubicBezTo>
                  <a:cubicBezTo>
                    <a:pt x="209" y="66"/>
                    <a:pt x="208" y="66"/>
                    <a:pt x="208" y="66"/>
                  </a:cubicBezTo>
                  <a:cubicBezTo>
                    <a:pt x="206" y="66"/>
                    <a:pt x="205" y="66"/>
                    <a:pt x="204" y="64"/>
                  </a:cubicBezTo>
                  <a:cubicBezTo>
                    <a:pt x="204" y="64"/>
                    <a:pt x="204" y="64"/>
                    <a:pt x="204" y="64"/>
                  </a:cubicBezTo>
                  <a:cubicBezTo>
                    <a:pt x="203" y="63"/>
                    <a:pt x="203" y="63"/>
                    <a:pt x="203" y="63"/>
                  </a:cubicBezTo>
                  <a:cubicBezTo>
                    <a:pt x="203" y="63"/>
                    <a:pt x="203" y="63"/>
                    <a:pt x="203" y="63"/>
                  </a:cubicBezTo>
                  <a:cubicBezTo>
                    <a:pt x="202" y="63"/>
                    <a:pt x="202" y="63"/>
                    <a:pt x="202" y="63"/>
                  </a:cubicBezTo>
                  <a:cubicBezTo>
                    <a:pt x="201" y="63"/>
                    <a:pt x="201" y="63"/>
                    <a:pt x="200" y="63"/>
                  </a:cubicBezTo>
                  <a:cubicBezTo>
                    <a:pt x="200" y="63"/>
                    <a:pt x="200" y="63"/>
                    <a:pt x="200" y="63"/>
                  </a:cubicBezTo>
                  <a:cubicBezTo>
                    <a:pt x="199" y="63"/>
                    <a:pt x="198" y="62"/>
                    <a:pt x="198" y="61"/>
                  </a:cubicBezTo>
                  <a:cubicBezTo>
                    <a:pt x="197" y="58"/>
                    <a:pt x="199" y="56"/>
                    <a:pt x="201" y="54"/>
                  </a:cubicBezTo>
                  <a:cubicBezTo>
                    <a:pt x="203" y="52"/>
                    <a:pt x="207" y="50"/>
                    <a:pt x="210" y="48"/>
                  </a:cubicBezTo>
                  <a:cubicBezTo>
                    <a:pt x="196" y="55"/>
                    <a:pt x="196" y="55"/>
                    <a:pt x="196" y="55"/>
                  </a:cubicBezTo>
                  <a:cubicBezTo>
                    <a:pt x="193" y="57"/>
                    <a:pt x="191" y="59"/>
                    <a:pt x="187" y="61"/>
                  </a:cubicBezTo>
                  <a:cubicBezTo>
                    <a:pt x="186" y="62"/>
                    <a:pt x="186" y="62"/>
                    <a:pt x="186" y="62"/>
                  </a:cubicBezTo>
                  <a:cubicBezTo>
                    <a:pt x="185" y="63"/>
                    <a:pt x="183" y="65"/>
                    <a:pt x="181" y="66"/>
                  </a:cubicBezTo>
                  <a:cubicBezTo>
                    <a:pt x="185" y="71"/>
                    <a:pt x="185" y="71"/>
                    <a:pt x="185" y="71"/>
                  </a:cubicBezTo>
                  <a:cubicBezTo>
                    <a:pt x="180" y="66"/>
                    <a:pt x="180" y="66"/>
                    <a:pt x="180" y="66"/>
                  </a:cubicBezTo>
                  <a:cubicBezTo>
                    <a:pt x="180" y="67"/>
                    <a:pt x="180" y="67"/>
                    <a:pt x="180" y="67"/>
                  </a:cubicBezTo>
                  <a:cubicBezTo>
                    <a:pt x="178" y="67"/>
                    <a:pt x="177" y="69"/>
                    <a:pt x="176" y="70"/>
                  </a:cubicBezTo>
                  <a:cubicBezTo>
                    <a:pt x="176" y="70"/>
                    <a:pt x="175" y="71"/>
                    <a:pt x="174" y="72"/>
                  </a:cubicBezTo>
                  <a:cubicBezTo>
                    <a:pt x="172" y="74"/>
                    <a:pt x="172" y="74"/>
                    <a:pt x="172" y="74"/>
                  </a:cubicBezTo>
                  <a:cubicBezTo>
                    <a:pt x="168" y="76"/>
                    <a:pt x="167" y="77"/>
                    <a:pt x="167" y="79"/>
                  </a:cubicBezTo>
                  <a:cubicBezTo>
                    <a:pt x="167" y="80"/>
                    <a:pt x="167" y="80"/>
                    <a:pt x="167" y="80"/>
                  </a:cubicBezTo>
                  <a:cubicBezTo>
                    <a:pt x="167" y="80"/>
                    <a:pt x="167" y="80"/>
                    <a:pt x="167" y="80"/>
                  </a:cubicBezTo>
                  <a:cubicBezTo>
                    <a:pt x="167" y="83"/>
                    <a:pt x="167" y="86"/>
                    <a:pt x="165" y="88"/>
                  </a:cubicBezTo>
                  <a:cubicBezTo>
                    <a:pt x="165" y="88"/>
                    <a:pt x="164" y="88"/>
                    <a:pt x="163" y="88"/>
                  </a:cubicBezTo>
                  <a:cubicBezTo>
                    <a:pt x="163" y="89"/>
                    <a:pt x="163" y="89"/>
                    <a:pt x="163" y="89"/>
                  </a:cubicBezTo>
                  <a:cubicBezTo>
                    <a:pt x="163" y="87"/>
                    <a:pt x="163" y="87"/>
                    <a:pt x="163" y="87"/>
                  </a:cubicBezTo>
                  <a:cubicBezTo>
                    <a:pt x="163" y="89"/>
                    <a:pt x="163" y="89"/>
                    <a:pt x="163" y="89"/>
                  </a:cubicBezTo>
                  <a:cubicBezTo>
                    <a:pt x="162" y="89"/>
                    <a:pt x="162" y="89"/>
                    <a:pt x="162" y="89"/>
                  </a:cubicBezTo>
                  <a:cubicBezTo>
                    <a:pt x="162" y="89"/>
                    <a:pt x="162" y="89"/>
                    <a:pt x="162" y="89"/>
                  </a:cubicBezTo>
                  <a:cubicBezTo>
                    <a:pt x="161" y="89"/>
                    <a:pt x="161" y="89"/>
                    <a:pt x="161" y="89"/>
                  </a:cubicBezTo>
                  <a:cubicBezTo>
                    <a:pt x="161" y="87"/>
                    <a:pt x="161" y="87"/>
                    <a:pt x="161" y="87"/>
                  </a:cubicBezTo>
                  <a:cubicBezTo>
                    <a:pt x="161" y="87"/>
                    <a:pt x="161" y="87"/>
                    <a:pt x="161" y="87"/>
                  </a:cubicBezTo>
                  <a:cubicBezTo>
                    <a:pt x="160" y="89"/>
                    <a:pt x="160" y="89"/>
                    <a:pt x="160" y="89"/>
                  </a:cubicBezTo>
                  <a:cubicBezTo>
                    <a:pt x="160" y="88"/>
                    <a:pt x="159" y="88"/>
                    <a:pt x="159" y="88"/>
                  </a:cubicBezTo>
                  <a:cubicBezTo>
                    <a:pt x="154" y="87"/>
                    <a:pt x="152" y="85"/>
                    <a:pt x="148" y="82"/>
                  </a:cubicBezTo>
                  <a:cubicBezTo>
                    <a:pt x="145" y="80"/>
                    <a:pt x="145" y="80"/>
                    <a:pt x="145" y="80"/>
                  </a:cubicBezTo>
                  <a:cubicBezTo>
                    <a:pt x="147" y="78"/>
                    <a:pt x="147" y="78"/>
                    <a:pt x="147" y="78"/>
                  </a:cubicBezTo>
                  <a:cubicBezTo>
                    <a:pt x="148" y="77"/>
                    <a:pt x="149" y="76"/>
                    <a:pt x="149" y="76"/>
                  </a:cubicBezTo>
                  <a:cubicBezTo>
                    <a:pt x="149" y="75"/>
                    <a:pt x="149" y="75"/>
                    <a:pt x="149" y="75"/>
                  </a:cubicBezTo>
                  <a:cubicBezTo>
                    <a:pt x="149" y="74"/>
                    <a:pt x="149" y="74"/>
                    <a:pt x="149" y="74"/>
                  </a:cubicBezTo>
                  <a:cubicBezTo>
                    <a:pt x="148" y="74"/>
                    <a:pt x="148" y="74"/>
                    <a:pt x="148" y="74"/>
                  </a:cubicBezTo>
                  <a:cubicBezTo>
                    <a:pt x="148" y="74"/>
                    <a:pt x="147" y="74"/>
                    <a:pt x="147" y="74"/>
                  </a:cubicBezTo>
                  <a:cubicBezTo>
                    <a:pt x="146" y="73"/>
                    <a:pt x="146" y="73"/>
                    <a:pt x="146" y="72"/>
                  </a:cubicBezTo>
                  <a:cubicBezTo>
                    <a:pt x="146" y="72"/>
                    <a:pt x="145" y="72"/>
                    <a:pt x="145" y="72"/>
                  </a:cubicBezTo>
                  <a:cubicBezTo>
                    <a:pt x="144" y="72"/>
                    <a:pt x="143" y="72"/>
                    <a:pt x="142" y="72"/>
                  </a:cubicBezTo>
                  <a:cubicBezTo>
                    <a:pt x="142" y="72"/>
                    <a:pt x="142" y="72"/>
                    <a:pt x="142" y="72"/>
                  </a:cubicBezTo>
                  <a:cubicBezTo>
                    <a:pt x="141" y="72"/>
                    <a:pt x="141" y="73"/>
                    <a:pt x="140" y="73"/>
                  </a:cubicBezTo>
                  <a:cubicBezTo>
                    <a:pt x="120" y="73"/>
                    <a:pt x="120" y="73"/>
                    <a:pt x="120" y="73"/>
                  </a:cubicBezTo>
                  <a:cubicBezTo>
                    <a:pt x="120" y="73"/>
                    <a:pt x="120" y="73"/>
                    <a:pt x="120" y="73"/>
                  </a:cubicBezTo>
                  <a:cubicBezTo>
                    <a:pt x="118" y="73"/>
                    <a:pt x="117" y="72"/>
                    <a:pt x="117" y="71"/>
                  </a:cubicBezTo>
                  <a:cubicBezTo>
                    <a:pt x="117" y="69"/>
                    <a:pt x="116" y="68"/>
                    <a:pt x="116" y="67"/>
                  </a:cubicBezTo>
                  <a:cubicBezTo>
                    <a:pt x="115" y="66"/>
                    <a:pt x="115" y="66"/>
                    <a:pt x="115" y="66"/>
                  </a:cubicBezTo>
                  <a:cubicBezTo>
                    <a:pt x="115" y="65"/>
                    <a:pt x="115" y="65"/>
                    <a:pt x="115" y="65"/>
                  </a:cubicBezTo>
                  <a:cubicBezTo>
                    <a:pt x="114" y="62"/>
                    <a:pt x="114" y="62"/>
                    <a:pt x="114" y="62"/>
                  </a:cubicBezTo>
                  <a:cubicBezTo>
                    <a:pt x="113" y="59"/>
                    <a:pt x="112" y="56"/>
                    <a:pt x="112" y="52"/>
                  </a:cubicBezTo>
                  <a:cubicBezTo>
                    <a:pt x="112" y="52"/>
                    <a:pt x="112" y="51"/>
                    <a:pt x="112" y="51"/>
                  </a:cubicBezTo>
                  <a:cubicBezTo>
                    <a:pt x="112" y="50"/>
                    <a:pt x="112" y="50"/>
                    <a:pt x="112" y="50"/>
                  </a:cubicBezTo>
                  <a:cubicBezTo>
                    <a:pt x="112" y="50"/>
                    <a:pt x="112" y="50"/>
                    <a:pt x="112" y="49"/>
                  </a:cubicBezTo>
                  <a:cubicBezTo>
                    <a:pt x="111" y="49"/>
                    <a:pt x="111" y="49"/>
                    <a:pt x="111" y="49"/>
                  </a:cubicBezTo>
                  <a:cubicBezTo>
                    <a:pt x="111" y="49"/>
                    <a:pt x="110" y="49"/>
                    <a:pt x="109" y="49"/>
                  </a:cubicBezTo>
                  <a:cubicBezTo>
                    <a:pt x="108" y="49"/>
                    <a:pt x="108" y="50"/>
                    <a:pt x="107" y="50"/>
                  </a:cubicBezTo>
                  <a:cubicBezTo>
                    <a:pt x="107" y="50"/>
                    <a:pt x="106" y="50"/>
                    <a:pt x="106" y="50"/>
                  </a:cubicBezTo>
                  <a:cubicBezTo>
                    <a:pt x="106" y="50"/>
                    <a:pt x="106" y="50"/>
                    <a:pt x="106" y="50"/>
                  </a:cubicBezTo>
                  <a:cubicBezTo>
                    <a:pt x="105" y="50"/>
                    <a:pt x="105" y="50"/>
                    <a:pt x="105" y="50"/>
                  </a:cubicBezTo>
                  <a:cubicBezTo>
                    <a:pt x="102" y="49"/>
                    <a:pt x="101" y="48"/>
                    <a:pt x="101" y="47"/>
                  </a:cubicBezTo>
                  <a:cubicBezTo>
                    <a:pt x="100" y="45"/>
                    <a:pt x="100" y="44"/>
                    <a:pt x="100" y="41"/>
                  </a:cubicBezTo>
                  <a:cubicBezTo>
                    <a:pt x="100" y="40"/>
                    <a:pt x="100" y="39"/>
                    <a:pt x="100" y="38"/>
                  </a:cubicBezTo>
                  <a:cubicBezTo>
                    <a:pt x="100" y="38"/>
                    <a:pt x="101" y="37"/>
                    <a:pt x="101" y="37"/>
                  </a:cubicBezTo>
                  <a:cubicBezTo>
                    <a:pt x="101" y="35"/>
                    <a:pt x="101" y="33"/>
                    <a:pt x="101" y="31"/>
                  </a:cubicBezTo>
                  <a:cubicBezTo>
                    <a:pt x="101" y="30"/>
                    <a:pt x="102" y="28"/>
                    <a:pt x="102" y="26"/>
                  </a:cubicBezTo>
                  <a:cubicBezTo>
                    <a:pt x="102" y="26"/>
                    <a:pt x="102" y="26"/>
                    <a:pt x="102" y="26"/>
                  </a:cubicBezTo>
                  <a:cubicBezTo>
                    <a:pt x="102" y="25"/>
                    <a:pt x="102" y="24"/>
                    <a:pt x="102" y="23"/>
                  </a:cubicBezTo>
                  <a:cubicBezTo>
                    <a:pt x="102" y="23"/>
                    <a:pt x="101" y="23"/>
                    <a:pt x="101" y="23"/>
                  </a:cubicBezTo>
                  <a:cubicBezTo>
                    <a:pt x="98" y="23"/>
                    <a:pt x="96" y="20"/>
                    <a:pt x="95" y="19"/>
                  </a:cubicBezTo>
                  <a:cubicBezTo>
                    <a:pt x="95" y="19"/>
                    <a:pt x="95" y="19"/>
                    <a:pt x="95" y="19"/>
                  </a:cubicBezTo>
                  <a:cubicBezTo>
                    <a:pt x="94" y="18"/>
                    <a:pt x="94" y="18"/>
                    <a:pt x="94" y="18"/>
                  </a:cubicBezTo>
                  <a:cubicBezTo>
                    <a:pt x="94" y="18"/>
                    <a:pt x="94" y="18"/>
                    <a:pt x="94" y="18"/>
                  </a:cubicBezTo>
                  <a:cubicBezTo>
                    <a:pt x="93" y="16"/>
                    <a:pt x="93" y="16"/>
                    <a:pt x="93" y="16"/>
                  </a:cubicBezTo>
                  <a:cubicBezTo>
                    <a:pt x="91" y="14"/>
                    <a:pt x="88" y="12"/>
                    <a:pt x="86" y="10"/>
                  </a:cubicBezTo>
                  <a:cubicBezTo>
                    <a:pt x="84" y="8"/>
                    <a:pt x="84" y="8"/>
                    <a:pt x="84" y="8"/>
                  </a:cubicBezTo>
                  <a:cubicBezTo>
                    <a:pt x="84" y="8"/>
                    <a:pt x="83" y="7"/>
                    <a:pt x="83" y="7"/>
                  </a:cubicBezTo>
                  <a:cubicBezTo>
                    <a:pt x="81" y="5"/>
                    <a:pt x="81" y="5"/>
                    <a:pt x="81" y="5"/>
                  </a:cubicBezTo>
                  <a:cubicBezTo>
                    <a:pt x="80" y="4"/>
                    <a:pt x="78" y="2"/>
                    <a:pt x="77" y="2"/>
                  </a:cubicBezTo>
                  <a:cubicBezTo>
                    <a:pt x="77" y="1"/>
                    <a:pt x="76" y="1"/>
                    <a:pt x="76" y="0"/>
                  </a:cubicBezTo>
                  <a:cubicBezTo>
                    <a:pt x="75" y="1"/>
                    <a:pt x="74" y="2"/>
                    <a:pt x="74" y="2"/>
                  </a:cubicBezTo>
                  <a:cubicBezTo>
                    <a:pt x="73" y="2"/>
                    <a:pt x="73" y="2"/>
                    <a:pt x="73" y="2"/>
                  </a:cubicBezTo>
                  <a:cubicBezTo>
                    <a:pt x="76" y="7"/>
                    <a:pt x="76" y="7"/>
                    <a:pt x="76" y="7"/>
                  </a:cubicBezTo>
                  <a:cubicBezTo>
                    <a:pt x="72" y="3"/>
                    <a:pt x="72" y="3"/>
                    <a:pt x="72" y="3"/>
                  </a:cubicBezTo>
                  <a:cubicBezTo>
                    <a:pt x="71" y="3"/>
                    <a:pt x="71" y="3"/>
                    <a:pt x="71" y="3"/>
                  </a:cubicBezTo>
                  <a:cubicBezTo>
                    <a:pt x="69" y="4"/>
                    <a:pt x="68" y="4"/>
                    <a:pt x="65" y="4"/>
                  </a:cubicBezTo>
                  <a:cubicBezTo>
                    <a:pt x="65" y="4"/>
                    <a:pt x="65" y="4"/>
                    <a:pt x="65" y="4"/>
                  </a:cubicBezTo>
                  <a:cubicBezTo>
                    <a:pt x="58" y="4"/>
                    <a:pt x="58" y="4"/>
                    <a:pt x="58" y="4"/>
                  </a:cubicBezTo>
                  <a:cubicBezTo>
                    <a:pt x="56" y="4"/>
                    <a:pt x="53" y="4"/>
                    <a:pt x="51" y="4"/>
                  </a:cubicBezTo>
                  <a:cubicBezTo>
                    <a:pt x="47" y="3"/>
                    <a:pt x="43" y="3"/>
                    <a:pt x="39" y="3"/>
                  </a:cubicBezTo>
                  <a:cubicBezTo>
                    <a:pt x="38" y="3"/>
                    <a:pt x="37" y="3"/>
                    <a:pt x="36" y="3"/>
                  </a:cubicBezTo>
                  <a:cubicBezTo>
                    <a:pt x="32" y="3"/>
                    <a:pt x="27" y="4"/>
                    <a:pt x="22" y="5"/>
                  </a:cubicBezTo>
                  <a:cubicBezTo>
                    <a:pt x="19" y="6"/>
                    <a:pt x="15" y="6"/>
                    <a:pt x="12" y="7"/>
                  </a:cubicBezTo>
                  <a:cubicBezTo>
                    <a:pt x="11" y="7"/>
                    <a:pt x="11" y="7"/>
                    <a:pt x="11" y="7"/>
                  </a:cubicBezTo>
                  <a:cubicBezTo>
                    <a:pt x="10" y="7"/>
                    <a:pt x="9" y="7"/>
                    <a:pt x="8" y="7"/>
                  </a:cubicBezTo>
                  <a:cubicBezTo>
                    <a:pt x="8" y="6"/>
                    <a:pt x="8" y="6"/>
                    <a:pt x="8" y="6"/>
                  </a:cubicBezTo>
                  <a:cubicBezTo>
                    <a:pt x="6" y="6"/>
                    <a:pt x="5" y="5"/>
                    <a:pt x="5" y="5"/>
                  </a:cubicBezTo>
                  <a:cubicBezTo>
                    <a:pt x="4" y="4"/>
                    <a:pt x="4" y="4"/>
                    <a:pt x="4" y="4"/>
                  </a:cubicBezTo>
                  <a:cubicBezTo>
                    <a:pt x="3" y="4"/>
                    <a:pt x="3" y="3"/>
                    <a:pt x="2" y="2"/>
                  </a:cubicBezTo>
                  <a:cubicBezTo>
                    <a:pt x="1" y="1"/>
                    <a:pt x="1" y="1"/>
                    <a:pt x="1" y="1"/>
                  </a:cubicBezTo>
                  <a:cubicBezTo>
                    <a:pt x="1" y="1"/>
                    <a:pt x="1"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3" name="Freeform 1562">
              <a:extLst>
                <a:ext uri="{FF2B5EF4-FFF2-40B4-BE49-F238E27FC236}">
                  <a16:creationId xmlns:a16="http://schemas.microsoft.com/office/drawing/2014/main" id="{5320ACA8-0946-4D14-A35B-32FDDE2FB687}"/>
                </a:ext>
              </a:extLst>
            </p:cNvPr>
            <p:cNvSpPr>
              <a:spLocks/>
            </p:cNvSpPr>
            <p:nvPr/>
          </p:nvSpPr>
          <p:spPr bwMode="auto">
            <a:xfrm>
              <a:off x="1957125" y="628215"/>
              <a:ext cx="2379961" cy="974537"/>
            </a:xfrm>
            <a:custGeom>
              <a:avLst/>
              <a:gdLst>
                <a:gd name="T0" fmla="*/ 248 w 750"/>
                <a:gd name="T1" fmla="*/ 12 h 307"/>
                <a:gd name="T2" fmla="*/ 239 w 750"/>
                <a:gd name="T3" fmla="*/ 27 h 307"/>
                <a:gd name="T4" fmla="*/ 246 w 750"/>
                <a:gd name="T5" fmla="*/ 54 h 307"/>
                <a:gd name="T6" fmla="*/ 231 w 750"/>
                <a:gd name="T7" fmla="*/ 68 h 307"/>
                <a:gd name="T8" fmla="*/ 203 w 750"/>
                <a:gd name="T9" fmla="*/ 69 h 307"/>
                <a:gd name="T10" fmla="*/ 182 w 750"/>
                <a:gd name="T11" fmla="*/ 68 h 307"/>
                <a:gd name="T12" fmla="*/ 151 w 750"/>
                <a:gd name="T13" fmla="*/ 55 h 307"/>
                <a:gd name="T14" fmla="*/ 124 w 750"/>
                <a:gd name="T15" fmla="*/ 45 h 307"/>
                <a:gd name="T16" fmla="*/ 107 w 750"/>
                <a:gd name="T17" fmla="*/ 40 h 307"/>
                <a:gd name="T18" fmla="*/ 87 w 750"/>
                <a:gd name="T19" fmla="*/ 48 h 307"/>
                <a:gd name="T20" fmla="*/ 46 w 750"/>
                <a:gd name="T21" fmla="*/ 72 h 307"/>
                <a:gd name="T22" fmla="*/ 11 w 750"/>
                <a:gd name="T23" fmla="*/ 82 h 307"/>
                <a:gd name="T24" fmla="*/ 9 w 750"/>
                <a:gd name="T25" fmla="*/ 87 h 307"/>
                <a:gd name="T26" fmla="*/ 2 w 750"/>
                <a:gd name="T27" fmla="*/ 98 h 307"/>
                <a:gd name="T28" fmla="*/ 20 w 750"/>
                <a:gd name="T29" fmla="*/ 114 h 307"/>
                <a:gd name="T30" fmla="*/ 41 w 750"/>
                <a:gd name="T31" fmla="*/ 122 h 307"/>
                <a:gd name="T32" fmla="*/ 63 w 750"/>
                <a:gd name="T33" fmla="*/ 140 h 307"/>
                <a:gd name="T34" fmla="*/ 77 w 750"/>
                <a:gd name="T35" fmla="*/ 181 h 307"/>
                <a:gd name="T36" fmla="*/ 73 w 750"/>
                <a:gd name="T37" fmla="*/ 205 h 307"/>
                <a:gd name="T38" fmla="*/ 155 w 750"/>
                <a:gd name="T39" fmla="*/ 224 h 307"/>
                <a:gd name="T40" fmla="*/ 180 w 750"/>
                <a:gd name="T41" fmla="*/ 235 h 307"/>
                <a:gd name="T42" fmla="*/ 199 w 750"/>
                <a:gd name="T43" fmla="*/ 270 h 307"/>
                <a:gd name="T44" fmla="*/ 217 w 750"/>
                <a:gd name="T45" fmla="*/ 274 h 307"/>
                <a:gd name="T46" fmla="*/ 276 w 750"/>
                <a:gd name="T47" fmla="*/ 279 h 307"/>
                <a:gd name="T48" fmla="*/ 328 w 750"/>
                <a:gd name="T49" fmla="*/ 284 h 307"/>
                <a:gd name="T50" fmla="*/ 372 w 750"/>
                <a:gd name="T51" fmla="*/ 301 h 307"/>
                <a:gd name="T52" fmla="*/ 392 w 750"/>
                <a:gd name="T53" fmla="*/ 303 h 307"/>
                <a:gd name="T54" fmla="*/ 402 w 750"/>
                <a:gd name="T55" fmla="*/ 307 h 307"/>
                <a:gd name="T56" fmla="*/ 442 w 750"/>
                <a:gd name="T57" fmla="*/ 288 h 307"/>
                <a:gd name="T58" fmla="*/ 492 w 750"/>
                <a:gd name="T59" fmla="*/ 283 h 307"/>
                <a:gd name="T60" fmla="*/ 531 w 750"/>
                <a:gd name="T61" fmla="*/ 271 h 307"/>
                <a:gd name="T62" fmla="*/ 563 w 750"/>
                <a:gd name="T63" fmla="*/ 247 h 307"/>
                <a:gd name="T64" fmla="*/ 556 w 750"/>
                <a:gd name="T65" fmla="*/ 217 h 307"/>
                <a:gd name="T66" fmla="*/ 599 w 750"/>
                <a:gd name="T67" fmla="*/ 216 h 307"/>
                <a:gd name="T68" fmla="*/ 621 w 750"/>
                <a:gd name="T69" fmla="*/ 200 h 307"/>
                <a:gd name="T70" fmla="*/ 634 w 750"/>
                <a:gd name="T71" fmla="*/ 197 h 307"/>
                <a:gd name="T72" fmla="*/ 660 w 750"/>
                <a:gd name="T73" fmla="*/ 192 h 307"/>
                <a:gd name="T74" fmla="*/ 685 w 750"/>
                <a:gd name="T75" fmla="*/ 169 h 307"/>
                <a:gd name="T76" fmla="*/ 738 w 750"/>
                <a:gd name="T77" fmla="*/ 161 h 307"/>
                <a:gd name="T78" fmla="*/ 732 w 750"/>
                <a:gd name="T79" fmla="*/ 137 h 307"/>
                <a:gd name="T80" fmla="*/ 719 w 750"/>
                <a:gd name="T81" fmla="*/ 128 h 307"/>
                <a:gd name="T82" fmla="*/ 694 w 750"/>
                <a:gd name="T83" fmla="*/ 137 h 307"/>
                <a:gd name="T84" fmla="*/ 661 w 750"/>
                <a:gd name="T85" fmla="*/ 136 h 307"/>
                <a:gd name="T86" fmla="*/ 653 w 750"/>
                <a:gd name="T87" fmla="*/ 116 h 307"/>
                <a:gd name="T88" fmla="*/ 673 w 750"/>
                <a:gd name="T89" fmla="*/ 69 h 307"/>
                <a:gd name="T90" fmla="*/ 647 w 750"/>
                <a:gd name="T91" fmla="*/ 68 h 307"/>
                <a:gd name="T92" fmla="*/ 612 w 750"/>
                <a:gd name="T93" fmla="*/ 62 h 307"/>
                <a:gd name="T94" fmla="*/ 539 w 750"/>
                <a:gd name="T95" fmla="*/ 92 h 307"/>
                <a:gd name="T96" fmla="*/ 486 w 750"/>
                <a:gd name="T97" fmla="*/ 86 h 307"/>
                <a:gd name="T98" fmla="*/ 463 w 750"/>
                <a:gd name="T99" fmla="*/ 67 h 307"/>
                <a:gd name="T100" fmla="*/ 430 w 750"/>
                <a:gd name="T101" fmla="*/ 56 h 307"/>
                <a:gd name="T102" fmla="*/ 391 w 750"/>
                <a:gd name="T103" fmla="*/ 56 h 307"/>
                <a:gd name="T104" fmla="*/ 342 w 750"/>
                <a:gd name="T105" fmla="*/ 51 h 307"/>
                <a:gd name="T106" fmla="*/ 334 w 750"/>
                <a:gd name="T107" fmla="*/ 30 h 307"/>
                <a:gd name="T108" fmla="*/ 299 w 750"/>
                <a:gd name="T109" fmla="*/ 13 h 307"/>
                <a:gd name="T110" fmla="*/ 262 w 750"/>
                <a:gd name="T111" fmla="*/ 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0" h="307">
                  <a:moveTo>
                    <a:pt x="260" y="0"/>
                  </a:moveTo>
                  <a:cubicBezTo>
                    <a:pt x="256" y="4"/>
                    <a:pt x="256" y="4"/>
                    <a:pt x="256" y="4"/>
                  </a:cubicBezTo>
                  <a:cubicBezTo>
                    <a:pt x="254" y="6"/>
                    <a:pt x="252" y="8"/>
                    <a:pt x="250" y="10"/>
                  </a:cubicBezTo>
                  <a:cubicBezTo>
                    <a:pt x="250" y="10"/>
                    <a:pt x="250" y="10"/>
                    <a:pt x="250" y="10"/>
                  </a:cubicBezTo>
                  <a:cubicBezTo>
                    <a:pt x="249" y="11"/>
                    <a:pt x="249" y="11"/>
                    <a:pt x="249" y="11"/>
                  </a:cubicBezTo>
                  <a:cubicBezTo>
                    <a:pt x="249" y="11"/>
                    <a:pt x="249" y="11"/>
                    <a:pt x="249" y="11"/>
                  </a:cubicBezTo>
                  <a:cubicBezTo>
                    <a:pt x="248" y="12"/>
                    <a:pt x="248" y="12"/>
                    <a:pt x="248" y="12"/>
                  </a:cubicBezTo>
                  <a:cubicBezTo>
                    <a:pt x="248" y="12"/>
                    <a:pt x="248" y="12"/>
                    <a:pt x="248" y="12"/>
                  </a:cubicBezTo>
                  <a:cubicBezTo>
                    <a:pt x="248" y="13"/>
                    <a:pt x="248" y="13"/>
                    <a:pt x="248" y="13"/>
                  </a:cubicBezTo>
                  <a:cubicBezTo>
                    <a:pt x="247" y="13"/>
                    <a:pt x="247" y="13"/>
                    <a:pt x="247" y="13"/>
                  </a:cubicBezTo>
                  <a:cubicBezTo>
                    <a:pt x="247" y="14"/>
                    <a:pt x="247" y="14"/>
                    <a:pt x="247" y="15"/>
                  </a:cubicBezTo>
                  <a:cubicBezTo>
                    <a:pt x="247" y="17"/>
                    <a:pt x="246" y="20"/>
                    <a:pt x="242" y="20"/>
                  </a:cubicBezTo>
                  <a:cubicBezTo>
                    <a:pt x="241" y="21"/>
                    <a:pt x="241" y="21"/>
                    <a:pt x="241" y="21"/>
                  </a:cubicBezTo>
                  <a:cubicBezTo>
                    <a:pt x="241" y="22"/>
                    <a:pt x="240" y="24"/>
                    <a:pt x="240" y="25"/>
                  </a:cubicBezTo>
                  <a:cubicBezTo>
                    <a:pt x="239" y="26"/>
                    <a:pt x="239" y="26"/>
                    <a:pt x="239" y="26"/>
                  </a:cubicBezTo>
                  <a:cubicBezTo>
                    <a:pt x="239" y="27"/>
                    <a:pt x="239" y="27"/>
                    <a:pt x="239" y="27"/>
                  </a:cubicBezTo>
                  <a:cubicBezTo>
                    <a:pt x="239" y="28"/>
                    <a:pt x="239" y="28"/>
                    <a:pt x="239" y="29"/>
                  </a:cubicBezTo>
                  <a:cubicBezTo>
                    <a:pt x="239" y="30"/>
                    <a:pt x="238" y="30"/>
                    <a:pt x="238" y="31"/>
                  </a:cubicBezTo>
                  <a:cubicBezTo>
                    <a:pt x="238" y="31"/>
                    <a:pt x="238" y="31"/>
                    <a:pt x="238" y="31"/>
                  </a:cubicBezTo>
                  <a:cubicBezTo>
                    <a:pt x="238" y="34"/>
                    <a:pt x="239" y="36"/>
                    <a:pt x="240" y="38"/>
                  </a:cubicBezTo>
                  <a:cubicBezTo>
                    <a:pt x="240" y="40"/>
                    <a:pt x="241" y="41"/>
                    <a:pt x="242" y="42"/>
                  </a:cubicBezTo>
                  <a:cubicBezTo>
                    <a:pt x="243" y="43"/>
                    <a:pt x="244" y="43"/>
                    <a:pt x="244" y="43"/>
                  </a:cubicBezTo>
                  <a:cubicBezTo>
                    <a:pt x="246" y="44"/>
                    <a:pt x="249" y="46"/>
                    <a:pt x="247" y="51"/>
                  </a:cubicBezTo>
                  <a:cubicBezTo>
                    <a:pt x="247" y="52"/>
                    <a:pt x="247" y="53"/>
                    <a:pt x="246" y="54"/>
                  </a:cubicBezTo>
                  <a:cubicBezTo>
                    <a:pt x="245" y="60"/>
                    <a:pt x="245" y="60"/>
                    <a:pt x="245" y="60"/>
                  </a:cubicBezTo>
                  <a:cubicBezTo>
                    <a:pt x="245" y="60"/>
                    <a:pt x="244" y="61"/>
                    <a:pt x="244" y="61"/>
                  </a:cubicBezTo>
                  <a:cubicBezTo>
                    <a:pt x="242" y="65"/>
                    <a:pt x="238" y="66"/>
                    <a:pt x="235" y="67"/>
                  </a:cubicBezTo>
                  <a:cubicBezTo>
                    <a:pt x="234" y="67"/>
                    <a:pt x="234" y="67"/>
                    <a:pt x="233" y="67"/>
                  </a:cubicBezTo>
                  <a:cubicBezTo>
                    <a:pt x="233" y="67"/>
                    <a:pt x="232" y="67"/>
                    <a:pt x="232" y="68"/>
                  </a:cubicBezTo>
                  <a:cubicBezTo>
                    <a:pt x="231" y="68"/>
                    <a:pt x="231" y="68"/>
                    <a:pt x="231" y="68"/>
                  </a:cubicBezTo>
                  <a:cubicBezTo>
                    <a:pt x="231" y="68"/>
                    <a:pt x="231" y="68"/>
                    <a:pt x="231" y="68"/>
                  </a:cubicBezTo>
                  <a:cubicBezTo>
                    <a:pt x="231" y="68"/>
                    <a:pt x="231" y="68"/>
                    <a:pt x="231" y="68"/>
                  </a:cubicBezTo>
                  <a:cubicBezTo>
                    <a:pt x="230" y="69"/>
                    <a:pt x="230" y="69"/>
                    <a:pt x="230" y="69"/>
                  </a:cubicBezTo>
                  <a:cubicBezTo>
                    <a:pt x="229" y="71"/>
                    <a:pt x="228" y="72"/>
                    <a:pt x="225" y="73"/>
                  </a:cubicBezTo>
                  <a:cubicBezTo>
                    <a:pt x="224" y="74"/>
                    <a:pt x="223" y="74"/>
                    <a:pt x="222" y="74"/>
                  </a:cubicBezTo>
                  <a:cubicBezTo>
                    <a:pt x="220" y="74"/>
                    <a:pt x="218" y="73"/>
                    <a:pt x="216" y="72"/>
                  </a:cubicBezTo>
                  <a:cubicBezTo>
                    <a:pt x="215" y="72"/>
                    <a:pt x="214" y="71"/>
                    <a:pt x="213" y="71"/>
                  </a:cubicBezTo>
                  <a:cubicBezTo>
                    <a:pt x="212" y="71"/>
                    <a:pt x="210" y="71"/>
                    <a:pt x="209" y="70"/>
                  </a:cubicBezTo>
                  <a:cubicBezTo>
                    <a:pt x="204" y="69"/>
                    <a:pt x="204" y="69"/>
                    <a:pt x="204" y="69"/>
                  </a:cubicBezTo>
                  <a:cubicBezTo>
                    <a:pt x="203" y="69"/>
                    <a:pt x="203" y="69"/>
                    <a:pt x="203" y="69"/>
                  </a:cubicBezTo>
                  <a:cubicBezTo>
                    <a:pt x="202" y="69"/>
                    <a:pt x="202" y="69"/>
                    <a:pt x="202" y="69"/>
                  </a:cubicBezTo>
                  <a:cubicBezTo>
                    <a:pt x="201" y="68"/>
                    <a:pt x="199" y="68"/>
                    <a:pt x="198" y="68"/>
                  </a:cubicBezTo>
                  <a:cubicBezTo>
                    <a:pt x="197" y="67"/>
                    <a:pt x="197" y="67"/>
                    <a:pt x="197" y="67"/>
                  </a:cubicBezTo>
                  <a:cubicBezTo>
                    <a:pt x="196" y="67"/>
                    <a:pt x="194" y="67"/>
                    <a:pt x="193" y="66"/>
                  </a:cubicBezTo>
                  <a:cubicBezTo>
                    <a:pt x="192" y="66"/>
                    <a:pt x="191" y="66"/>
                    <a:pt x="191" y="66"/>
                  </a:cubicBezTo>
                  <a:cubicBezTo>
                    <a:pt x="190" y="66"/>
                    <a:pt x="189" y="66"/>
                    <a:pt x="189" y="66"/>
                  </a:cubicBezTo>
                  <a:cubicBezTo>
                    <a:pt x="187" y="66"/>
                    <a:pt x="185" y="67"/>
                    <a:pt x="184" y="67"/>
                  </a:cubicBezTo>
                  <a:cubicBezTo>
                    <a:pt x="182" y="68"/>
                    <a:pt x="182" y="68"/>
                    <a:pt x="182" y="68"/>
                  </a:cubicBezTo>
                  <a:cubicBezTo>
                    <a:pt x="181" y="68"/>
                    <a:pt x="181" y="68"/>
                    <a:pt x="181" y="68"/>
                  </a:cubicBezTo>
                  <a:cubicBezTo>
                    <a:pt x="180" y="69"/>
                    <a:pt x="179" y="69"/>
                    <a:pt x="178" y="69"/>
                  </a:cubicBezTo>
                  <a:cubicBezTo>
                    <a:pt x="178" y="69"/>
                    <a:pt x="177" y="69"/>
                    <a:pt x="177" y="69"/>
                  </a:cubicBezTo>
                  <a:cubicBezTo>
                    <a:pt x="176" y="69"/>
                    <a:pt x="176" y="69"/>
                    <a:pt x="175" y="69"/>
                  </a:cubicBezTo>
                  <a:cubicBezTo>
                    <a:pt x="162" y="66"/>
                    <a:pt x="162" y="66"/>
                    <a:pt x="162" y="66"/>
                  </a:cubicBezTo>
                  <a:cubicBezTo>
                    <a:pt x="157" y="65"/>
                    <a:pt x="156" y="64"/>
                    <a:pt x="153" y="60"/>
                  </a:cubicBezTo>
                  <a:cubicBezTo>
                    <a:pt x="153" y="59"/>
                    <a:pt x="153" y="59"/>
                    <a:pt x="153" y="59"/>
                  </a:cubicBezTo>
                  <a:cubicBezTo>
                    <a:pt x="152" y="58"/>
                    <a:pt x="152" y="56"/>
                    <a:pt x="151" y="55"/>
                  </a:cubicBezTo>
                  <a:cubicBezTo>
                    <a:pt x="151" y="54"/>
                    <a:pt x="151" y="54"/>
                    <a:pt x="151" y="54"/>
                  </a:cubicBezTo>
                  <a:cubicBezTo>
                    <a:pt x="150" y="52"/>
                    <a:pt x="149" y="50"/>
                    <a:pt x="149" y="49"/>
                  </a:cubicBezTo>
                  <a:cubicBezTo>
                    <a:pt x="148" y="49"/>
                    <a:pt x="148" y="49"/>
                    <a:pt x="148" y="49"/>
                  </a:cubicBezTo>
                  <a:cubicBezTo>
                    <a:pt x="148" y="49"/>
                    <a:pt x="147" y="49"/>
                    <a:pt x="147" y="49"/>
                  </a:cubicBezTo>
                  <a:cubicBezTo>
                    <a:pt x="137" y="48"/>
                    <a:pt x="137" y="48"/>
                    <a:pt x="137" y="48"/>
                  </a:cubicBezTo>
                  <a:cubicBezTo>
                    <a:pt x="134" y="47"/>
                    <a:pt x="131" y="47"/>
                    <a:pt x="128" y="46"/>
                  </a:cubicBezTo>
                  <a:cubicBezTo>
                    <a:pt x="128" y="46"/>
                    <a:pt x="127" y="46"/>
                    <a:pt x="127" y="46"/>
                  </a:cubicBezTo>
                  <a:cubicBezTo>
                    <a:pt x="126" y="46"/>
                    <a:pt x="125" y="45"/>
                    <a:pt x="124" y="45"/>
                  </a:cubicBezTo>
                  <a:cubicBezTo>
                    <a:pt x="122" y="44"/>
                    <a:pt x="121" y="44"/>
                    <a:pt x="120" y="43"/>
                  </a:cubicBezTo>
                  <a:cubicBezTo>
                    <a:pt x="120" y="43"/>
                    <a:pt x="119" y="42"/>
                    <a:pt x="118" y="42"/>
                  </a:cubicBezTo>
                  <a:cubicBezTo>
                    <a:pt x="118" y="42"/>
                    <a:pt x="118" y="42"/>
                    <a:pt x="118" y="42"/>
                  </a:cubicBezTo>
                  <a:cubicBezTo>
                    <a:pt x="115" y="42"/>
                    <a:pt x="115" y="42"/>
                    <a:pt x="115" y="42"/>
                  </a:cubicBezTo>
                  <a:cubicBezTo>
                    <a:pt x="114" y="41"/>
                    <a:pt x="113" y="41"/>
                    <a:pt x="111" y="41"/>
                  </a:cubicBezTo>
                  <a:cubicBezTo>
                    <a:pt x="111" y="41"/>
                    <a:pt x="111" y="41"/>
                    <a:pt x="111" y="41"/>
                  </a:cubicBezTo>
                  <a:cubicBezTo>
                    <a:pt x="110" y="41"/>
                    <a:pt x="110" y="41"/>
                    <a:pt x="109" y="41"/>
                  </a:cubicBezTo>
                  <a:cubicBezTo>
                    <a:pt x="108" y="41"/>
                    <a:pt x="107" y="41"/>
                    <a:pt x="107" y="40"/>
                  </a:cubicBezTo>
                  <a:cubicBezTo>
                    <a:pt x="107" y="40"/>
                    <a:pt x="107" y="40"/>
                    <a:pt x="107" y="40"/>
                  </a:cubicBezTo>
                  <a:cubicBezTo>
                    <a:pt x="106" y="42"/>
                    <a:pt x="105" y="43"/>
                    <a:pt x="104" y="44"/>
                  </a:cubicBezTo>
                  <a:cubicBezTo>
                    <a:pt x="104" y="44"/>
                    <a:pt x="103" y="44"/>
                    <a:pt x="103" y="44"/>
                  </a:cubicBezTo>
                  <a:cubicBezTo>
                    <a:pt x="102" y="45"/>
                    <a:pt x="101" y="45"/>
                    <a:pt x="100" y="45"/>
                  </a:cubicBezTo>
                  <a:cubicBezTo>
                    <a:pt x="99" y="45"/>
                    <a:pt x="98" y="45"/>
                    <a:pt x="97" y="45"/>
                  </a:cubicBezTo>
                  <a:cubicBezTo>
                    <a:pt x="95" y="45"/>
                    <a:pt x="95" y="45"/>
                    <a:pt x="95" y="45"/>
                  </a:cubicBezTo>
                  <a:cubicBezTo>
                    <a:pt x="93" y="45"/>
                    <a:pt x="91" y="45"/>
                    <a:pt x="90" y="46"/>
                  </a:cubicBezTo>
                  <a:cubicBezTo>
                    <a:pt x="87" y="48"/>
                    <a:pt x="87" y="48"/>
                    <a:pt x="87" y="48"/>
                  </a:cubicBezTo>
                  <a:cubicBezTo>
                    <a:pt x="85" y="49"/>
                    <a:pt x="82" y="50"/>
                    <a:pt x="80" y="51"/>
                  </a:cubicBezTo>
                  <a:cubicBezTo>
                    <a:pt x="72" y="55"/>
                    <a:pt x="72" y="55"/>
                    <a:pt x="72" y="55"/>
                  </a:cubicBezTo>
                  <a:cubicBezTo>
                    <a:pt x="68" y="57"/>
                    <a:pt x="63" y="59"/>
                    <a:pt x="59" y="61"/>
                  </a:cubicBezTo>
                  <a:cubicBezTo>
                    <a:pt x="59" y="62"/>
                    <a:pt x="58" y="62"/>
                    <a:pt x="57" y="63"/>
                  </a:cubicBezTo>
                  <a:cubicBezTo>
                    <a:pt x="55" y="64"/>
                    <a:pt x="55" y="64"/>
                    <a:pt x="55" y="64"/>
                  </a:cubicBezTo>
                  <a:cubicBezTo>
                    <a:pt x="54" y="65"/>
                    <a:pt x="53" y="65"/>
                    <a:pt x="52" y="66"/>
                  </a:cubicBezTo>
                  <a:cubicBezTo>
                    <a:pt x="45" y="70"/>
                    <a:pt x="45" y="70"/>
                    <a:pt x="45" y="70"/>
                  </a:cubicBezTo>
                  <a:cubicBezTo>
                    <a:pt x="46" y="70"/>
                    <a:pt x="46" y="71"/>
                    <a:pt x="46" y="72"/>
                  </a:cubicBezTo>
                  <a:cubicBezTo>
                    <a:pt x="45" y="74"/>
                    <a:pt x="43" y="75"/>
                    <a:pt x="41" y="76"/>
                  </a:cubicBezTo>
                  <a:cubicBezTo>
                    <a:pt x="36" y="79"/>
                    <a:pt x="31" y="80"/>
                    <a:pt x="26" y="81"/>
                  </a:cubicBezTo>
                  <a:cubicBezTo>
                    <a:pt x="20" y="81"/>
                    <a:pt x="20" y="81"/>
                    <a:pt x="20" y="81"/>
                  </a:cubicBezTo>
                  <a:cubicBezTo>
                    <a:pt x="19" y="82"/>
                    <a:pt x="19" y="82"/>
                    <a:pt x="18" y="82"/>
                  </a:cubicBezTo>
                  <a:cubicBezTo>
                    <a:pt x="16" y="82"/>
                    <a:pt x="15" y="82"/>
                    <a:pt x="14" y="83"/>
                  </a:cubicBezTo>
                  <a:cubicBezTo>
                    <a:pt x="14" y="83"/>
                    <a:pt x="14" y="83"/>
                    <a:pt x="14" y="83"/>
                  </a:cubicBezTo>
                  <a:cubicBezTo>
                    <a:pt x="13" y="83"/>
                    <a:pt x="12" y="82"/>
                    <a:pt x="12" y="82"/>
                  </a:cubicBezTo>
                  <a:cubicBezTo>
                    <a:pt x="11" y="82"/>
                    <a:pt x="11" y="82"/>
                    <a:pt x="11" y="82"/>
                  </a:cubicBezTo>
                  <a:cubicBezTo>
                    <a:pt x="10" y="82"/>
                    <a:pt x="10" y="82"/>
                    <a:pt x="10" y="82"/>
                  </a:cubicBezTo>
                  <a:cubicBezTo>
                    <a:pt x="10" y="82"/>
                    <a:pt x="10" y="82"/>
                    <a:pt x="10" y="82"/>
                  </a:cubicBezTo>
                  <a:cubicBezTo>
                    <a:pt x="10" y="83"/>
                    <a:pt x="10" y="83"/>
                    <a:pt x="10" y="83"/>
                  </a:cubicBezTo>
                  <a:cubicBezTo>
                    <a:pt x="10" y="84"/>
                    <a:pt x="10" y="84"/>
                    <a:pt x="10" y="84"/>
                  </a:cubicBezTo>
                  <a:cubicBezTo>
                    <a:pt x="10" y="87"/>
                    <a:pt x="10" y="87"/>
                    <a:pt x="10" y="87"/>
                  </a:cubicBezTo>
                  <a:cubicBezTo>
                    <a:pt x="10" y="85"/>
                    <a:pt x="10" y="85"/>
                    <a:pt x="10" y="85"/>
                  </a:cubicBezTo>
                  <a:cubicBezTo>
                    <a:pt x="9" y="86"/>
                    <a:pt x="9" y="86"/>
                    <a:pt x="9" y="86"/>
                  </a:cubicBezTo>
                  <a:cubicBezTo>
                    <a:pt x="9" y="87"/>
                    <a:pt x="9" y="87"/>
                    <a:pt x="9" y="87"/>
                  </a:cubicBezTo>
                  <a:cubicBezTo>
                    <a:pt x="6" y="89"/>
                    <a:pt x="6" y="89"/>
                    <a:pt x="6" y="89"/>
                  </a:cubicBezTo>
                  <a:cubicBezTo>
                    <a:pt x="3" y="90"/>
                    <a:pt x="3" y="90"/>
                    <a:pt x="3" y="90"/>
                  </a:cubicBezTo>
                  <a:cubicBezTo>
                    <a:pt x="4" y="92"/>
                    <a:pt x="4" y="92"/>
                    <a:pt x="4" y="92"/>
                  </a:cubicBezTo>
                  <a:cubicBezTo>
                    <a:pt x="2" y="92"/>
                    <a:pt x="2" y="92"/>
                    <a:pt x="2" y="92"/>
                  </a:cubicBezTo>
                  <a:cubicBezTo>
                    <a:pt x="2" y="93"/>
                    <a:pt x="1" y="94"/>
                    <a:pt x="1" y="95"/>
                  </a:cubicBezTo>
                  <a:cubicBezTo>
                    <a:pt x="1" y="96"/>
                    <a:pt x="0" y="97"/>
                    <a:pt x="0" y="98"/>
                  </a:cubicBezTo>
                  <a:cubicBezTo>
                    <a:pt x="1" y="98"/>
                    <a:pt x="1" y="98"/>
                    <a:pt x="1" y="98"/>
                  </a:cubicBezTo>
                  <a:cubicBezTo>
                    <a:pt x="1" y="98"/>
                    <a:pt x="1" y="98"/>
                    <a:pt x="2" y="98"/>
                  </a:cubicBezTo>
                  <a:cubicBezTo>
                    <a:pt x="4" y="99"/>
                    <a:pt x="7" y="100"/>
                    <a:pt x="7" y="103"/>
                  </a:cubicBezTo>
                  <a:cubicBezTo>
                    <a:pt x="8" y="104"/>
                    <a:pt x="7" y="105"/>
                    <a:pt x="7" y="106"/>
                  </a:cubicBezTo>
                  <a:cubicBezTo>
                    <a:pt x="7" y="106"/>
                    <a:pt x="7" y="106"/>
                    <a:pt x="7" y="106"/>
                  </a:cubicBezTo>
                  <a:cubicBezTo>
                    <a:pt x="8" y="106"/>
                    <a:pt x="8" y="106"/>
                    <a:pt x="8" y="106"/>
                  </a:cubicBezTo>
                  <a:cubicBezTo>
                    <a:pt x="8" y="107"/>
                    <a:pt x="8" y="107"/>
                    <a:pt x="8" y="107"/>
                  </a:cubicBezTo>
                  <a:cubicBezTo>
                    <a:pt x="8" y="106"/>
                    <a:pt x="8" y="106"/>
                    <a:pt x="8" y="106"/>
                  </a:cubicBezTo>
                  <a:cubicBezTo>
                    <a:pt x="9" y="106"/>
                    <a:pt x="10" y="107"/>
                    <a:pt x="12" y="107"/>
                  </a:cubicBezTo>
                  <a:cubicBezTo>
                    <a:pt x="15" y="109"/>
                    <a:pt x="18" y="110"/>
                    <a:pt x="20" y="114"/>
                  </a:cubicBezTo>
                  <a:cubicBezTo>
                    <a:pt x="21" y="117"/>
                    <a:pt x="23" y="118"/>
                    <a:pt x="26" y="120"/>
                  </a:cubicBezTo>
                  <a:cubicBezTo>
                    <a:pt x="27" y="120"/>
                    <a:pt x="27" y="120"/>
                    <a:pt x="27" y="120"/>
                  </a:cubicBezTo>
                  <a:cubicBezTo>
                    <a:pt x="28" y="121"/>
                    <a:pt x="28" y="121"/>
                    <a:pt x="28" y="121"/>
                  </a:cubicBezTo>
                  <a:cubicBezTo>
                    <a:pt x="28" y="121"/>
                    <a:pt x="29" y="121"/>
                    <a:pt x="29" y="121"/>
                  </a:cubicBezTo>
                  <a:cubicBezTo>
                    <a:pt x="30" y="121"/>
                    <a:pt x="30" y="121"/>
                    <a:pt x="31" y="121"/>
                  </a:cubicBezTo>
                  <a:cubicBezTo>
                    <a:pt x="32" y="121"/>
                    <a:pt x="32" y="121"/>
                    <a:pt x="33" y="121"/>
                  </a:cubicBezTo>
                  <a:cubicBezTo>
                    <a:pt x="34" y="121"/>
                    <a:pt x="35" y="121"/>
                    <a:pt x="36" y="121"/>
                  </a:cubicBezTo>
                  <a:cubicBezTo>
                    <a:pt x="38" y="121"/>
                    <a:pt x="40" y="121"/>
                    <a:pt x="41" y="122"/>
                  </a:cubicBezTo>
                  <a:cubicBezTo>
                    <a:pt x="42" y="123"/>
                    <a:pt x="42" y="123"/>
                    <a:pt x="42" y="123"/>
                  </a:cubicBezTo>
                  <a:cubicBezTo>
                    <a:pt x="45" y="126"/>
                    <a:pt x="46" y="126"/>
                    <a:pt x="48" y="126"/>
                  </a:cubicBezTo>
                  <a:cubicBezTo>
                    <a:pt x="48" y="126"/>
                    <a:pt x="49" y="126"/>
                    <a:pt x="49" y="126"/>
                  </a:cubicBezTo>
                  <a:cubicBezTo>
                    <a:pt x="50" y="126"/>
                    <a:pt x="50" y="126"/>
                    <a:pt x="50" y="126"/>
                  </a:cubicBezTo>
                  <a:cubicBezTo>
                    <a:pt x="54" y="126"/>
                    <a:pt x="56" y="129"/>
                    <a:pt x="58" y="131"/>
                  </a:cubicBezTo>
                  <a:cubicBezTo>
                    <a:pt x="58" y="131"/>
                    <a:pt x="58" y="131"/>
                    <a:pt x="58" y="131"/>
                  </a:cubicBezTo>
                  <a:cubicBezTo>
                    <a:pt x="59" y="131"/>
                    <a:pt x="59" y="132"/>
                    <a:pt x="59" y="132"/>
                  </a:cubicBezTo>
                  <a:cubicBezTo>
                    <a:pt x="62" y="134"/>
                    <a:pt x="63" y="137"/>
                    <a:pt x="63" y="140"/>
                  </a:cubicBezTo>
                  <a:cubicBezTo>
                    <a:pt x="64" y="141"/>
                    <a:pt x="64" y="141"/>
                    <a:pt x="64" y="141"/>
                  </a:cubicBezTo>
                  <a:cubicBezTo>
                    <a:pt x="65" y="143"/>
                    <a:pt x="66" y="145"/>
                    <a:pt x="67" y="147"/>
                  </a:cubicBezTo>
                  <a:cubicBezTo>
                    <a:pt x="76" y="161"/>
                    <a:pt x="76" y="161"/>
                    <a:pt x="76" y="161"/>
                  </a:cubicBezTo>
                  <a:cubicBezTo>
                    <a:pt x="77" y="163"/>
                    <a:pt x="77" y="166"/>
                    <a:pt x="77" y="168"/>
                  </a:cubicBezTo>
                  <a:cubicBezTo>
                    <a:pt x="77" y="169"/>
                    <a:pt x="77" y="169"/>
                    <a:pt x="77" y="169"/>
                  </a:cubicBezTo>
                  <a:cubicBezTo>
                    <a:pt x="76" y="173"/>
                    <a:pt x="76" y="176"/>
                    <a:pt x="77" y="180"/>
                  </a:cubicBezTo>
                  <a:cubicBezTo>
                    <a:pt x="77" y="180"/>
                    <a:pt x="77" y="180"/>
                    <a:pt x="77" y="180"/>
                  </a:cubicBezTo>
                  <a:cubicBezTo>
                    <a:pt x="77" y="181"/>
                    <a:pt x="77" y="181"/>
                    <a:pt x="77" y="181"/>
                  </a:cubicBezTo>
                  <a:cubicBezTo>
                    <a:pt x="77" y="182"/>
                    <a:pt x="76" y="183"/>
                    <a:pt x="76" y="184"/>
                  </a:cubicBezTo>
                  <a:cubicBezTo>
                    <a:pt x="76" y="185"/>
                    <a:pt x="76" y="185"/>
                    <a:pt x="75" y="186"/>
                  </a:cubicBezTo>
                  <a:cubicBezTo>
                    <a:pt x="75" y="188"/>
                    <a:pt x="74" y="189"/>
                    <a:pt x="73" y="190"/>
                  </a:cubicBezTo>
                  <a:cubicBezTo>
                    <a:pt x="72" y="192"/>
                    <a:pt x="72" y="192"/>
                    <a:pt x="72" y="192"/>
                  </a:cubicBezTo>
                  <a:cubicBezTo>
                    <a:pt x="72" y="193"/>
                    <a:pt x="71" y="194"/>
                    <a:pt x="71" y="194"/>
                  </a:cubicBezTo>
                  <a:cubicBezTo>
                    <a:pt x="69" y="197"/>
                    <a:pt x="69" y="198"/>
                    <a:pt x="69" y="199"/>
                  </a:cubicBezTo>
                  <a:cubicBezTo>
                    <a:pt x="70" y="201"/>
                    <a:pt x="71" y="202"/>
                    <a:pt x="73" y="204"/>
                  </a:cubicBezTo>
                  <a:cubicBezTo>
                    <a:pt x="73" y="205"/>
                    <a:pt x="73" y="205"/>
                    <a:pt x="73" y="205"/>
                  </a:cubicBezTo>
                  <a:cubicBezTo>
                    <a:pt x="74" y="205"/>
                    <a:pt x="74" y="205"/>
                    <a:pt x="74" y="205"/>
                  </a:cubicBezTo>
                  <a:cubicBezTo>
                    <a:pt x="77" y="205"/>
                    <a:pt x="80" y="206"/>
                    <a:pt x="83" y="206"/>
                  </a:cubicBezTo>
                  <a:cubicBezTo>
                    <a:pt x="88" y="207"/>
                    <a:pt x="93" y="207"/>
                    <a:pt x="98" y="207"/>
                  </a:cubicBezTo>
                  <a:cubicBezTo>
                    <a:pt x="106" y="208"/>
                    <a:pt x="116" y="209"/>
                    <a:pt x="125" y="210"/>
                  </a:cubicBezTo>
                  <a:cubicBezTo>
                    <a:pt x="128" y="210"/>
                    <a:pt x="128" y="210"/>
                    <a:pt x="128" y="210"/>
                  </a:cubicBezTo>
                  <a:cubicBezTo>
                    <a:pt x="130" y="210"/>
                    <a:pt x="133" y="211"/>
                    <a:pt x="136" y="212"/>
                  </a:cubicBezTo>
                  <a:cubicBezTo>
                    <a:pt x="152" y="222"/>
                    <a:pt x="152" y="222"/>
                    <a:pt x="152" y="222"/>
                  </a:cubicBezTo>
                  <a:cubicBezTo>
                    <a:pt x="153" y="223"/>
                    <a:pt x="154" y="223"/>
                    <a:pt x="155" y="224"/>
                  </a:cubicBezTo>
                  <a:cubicBezTo>
                    <a:pt x="159" y="226"/>
                    <a:pt x="163" y="229"/>
                    <a:pt x="167" y="230"/>
                  </a:cubicBezTo>
                  <a:cubicBezTo>
                    <a:pt x="168" y="231"/>
                    <a:pt x="169" y="231"/>
                    <a:pt x="170" y="231"/>
                  </a:cubicBezTo>
                  <a:cubicBezTo>
                    <a:pt x="172" y="231"/>
                    <a:pt x="173" y="231"/>
                    <a:pt x="175" y="231"/>
                  </a:cubicBezTo>
                  <a:cubicBezTo>
                    <a:pt x="180" y="230"/>
                    <a:pt x="180" y="230"/>
                    <a:pt x="180" y="230"/>
                  </a:cubicBezTo>
                  <a:cubicBezTo>
                    <a:pt x="180" y="234"/>
                    <a:pt x="180" y="234"/>
                    <a:pt x="180" y="234"/>
                  </a:cubicBezTo>
                  <a:cubicBezTo>
                    <a:pt x="180" y="235"/>
                    <a:pt x="179" y="236"/>
                    <a:pt x="179" y="237"/>
                  </a:cubicBezTo>
                  <a:cubicBezTo>
                    <a:pt x="179" y="237"/>
                    <a:pt x="178" y="238"/>
                    <a:pt x="178" y="238"/>
                  </a:cubicBezTo>
                  <a:cubicBezTo>
                    <a:pt x="180" y="235"/>
                    <a:pt x="180" y="235"/>
                    <a:pt x="180" y="235"/>
                  </a:cubicBezTo>
                  <a:cubicBezTo>
                    <a:pt x="180" y="239"/>
                    <a:pt x="180" y="239"/>
                    <a:pt x="180" y="239"/>
                  </a:cubicBezTo>
                  <a:cubicBezTo>
                    <a:pt x="180" y="239"/>
                    <a:pt x="180" y="239"/>
                    <a:pt x="180" y="239"/>
                  </a:cubicBezTo>
                  <a:cubicBezTo>
                    <a:pt x="182" y="240"/>
                    <a:pt x="183" y="241"/>
                    <a:pt x="183" y="243"/>
                  </a:cubicBezTo>
                  <a:cubicBezTo>
                    <a:pt x="184" y="245"/>
                    <a:pt x="184" y="245"/>
                    <a:pt x="184" y="245"/>
                  </a:cubicBezTo>
                  <a:cubicBezTo>
                    <a:pt x="185" y="246"/>
                    <a:pt x="185" y="247"/>
                    <a:pt x="185" y="248"/>
                  </a:cubicBezTo>
                  <a:cubicBezTo>
                    <a:pt x="190" y="259"/>
                    <a:pt x="190" y="259"/>
                    <a:pt x="190" y="259"/>
                  </a:cubicBezTo>
                  <a:cubicBezTo>
                    <a:pt x="192" y="262"/>
                    <a:pt x="194" y="265"/>
                    <a:pt x="197" y="268"/>
                  </a:cubicBezTo>
                  <a:cubicBezTo>
                    <a:pt x="197" y="269"/>
                    <a:pt x="198" y="269"/>
                    <a:pt x="199" y="270"/>
                  </a:cubicBezTo>
                  <a:cubicBezTo>
                    <a:pt x="199" y="271"/>
                    <a:pt x="199" y="271"/>
                    <a:pt x="199" y="271"/>
                  </a:cubicBezTo>
                  <a:cubicBezTo>
                    <a:pt x="200" y="271"/>
                    <a:pt x="200" y="271"/>
                    <a:pt x="200" y="271"/>
                  </a:cubicBezTo>
                  <a:cubicBezTo>
                    <a:pt x="200" y="271"/>
                    <a:pt x="200" y="272"/>
                    <a:pt x="201" y="272"/>
                  </a:cubicBezTo>
                  <a:cubicBezTo>
                    <a:pt x="201" y="273"/>
                    <a:pt x="202" y="274"/>
                    <a:pt x="202" y="275"/>
                  </a:cubicBezTo>
                  <a:cubicBezTo>
                    <a:pt x="202" y="275"/>
                    <a:pt x="202" y="275"/>
                    <a:pt x="202" y="275"/>
                  </a:cubicBezTo>
                  <a:cubicBezTo>
                    <a:pt x="207" y="275"/>
                    <a:pt x="207" y="275"/>
                    <a:pt x="207" y="275"/>
                  </a:cubicBezTo>
                  <a:cubicBezTo>
                    <a:pt x="209" y="274"/>
                    <a:pt x="211" y="274"/>
                    <a:pt x="214" y="274"/>
                  </a:cubicBezTo>
                  <a:cubicBezTo>
                    <a:pt x="215" y="274"/>
                    <a:pt x="216" y="274"/>
                    <a:pt x="217" y="274"/>
                  </a:cubicBezTo>
                  <a:cubicBezTo>
                    <a:pt x="222" y="274"/>
                    <a:pt x="226" y="274"/>
                    <a:pt x="229" y="275"/>
                  </a:cubicBezTo>
                  <a:cubicBezTo>
                    <a:pt x="234" y="276"/>
                    <a:pt x="234" y="276"/>
                    <a:pt x="234" y="276"/>
                  </a:cubicBezTo>
                  <a:cubicBezTo>
                    <a:pt x="235" y="276"/>
                    <a:pt x="236" y="276"/>
                    <a:pt x="237" y="276"/>
                  </a:cubicBezTo>
                  <a:cubicBezTo>
                    <a:pt x="240" y="277"/>
                    <a:pt x="240" y="277"/>
                    <a:pt x="240" y="277"/>
                  </a:cubicBezTo>
                  <a:cubicBezTo>
                    <a:pt x="242" y="277"/>
                    <a:pt x="243" y="277"/>
                    <a:pt x="245" y="277"/>
                  </a:cubicBezTo>
                  <a:cubicBezTo>
                    <a:pt x="255" y="278"/>
                    <a:pt x="264" y="279"/>
                    <a:pt x="274" y="279"/>
                  </a:cubicBezTo>
                  <a:cubicBezTo>
                    <a:pt x="275" y="279"/>
                    <a:pt x="275" y="279"/>
                    <a:pt x="275" y="279"/>
                  </a:cubicBezTo>
                  <a:cubicBezTo>
                    <a:pt x="276" y="279"/>
                    <a:pt x="276" y="279"/>
                    <a:pt x="276" y="279"/>
                  </a:cubicBezTo>
                  <a:cubicBezTo>
                    <a:pt x="277" y="279"/>
                    <a:pt x="278" y="278"/>
                    <a:pt x="279" y="278"/>
                  </a:cubicBezTo>
                  <a:cubicBezTo>
                    <a:pt x="280" y="277"/>
                    <a:pt x="282" y="276"/>
                    <a:pt x="285" y="276"/>
                  </a:cubicBezTo>
                  <a:cubicBezTo>
                    <a:pt x="285" y="276"/>
                    <a:pt x="285" y="276"/>
                    <a:pt x="286" y="276"/>
                  </a:cubicBezTo>
                  <a:cubicBezTo>
                    <a:pt x="286" y="276"/>
                    <a:pt x="286" y="276"/>
                    <a:pt x="286" y="276"/>
                  </a:cubicBezTo>
                  <a:cubicBezTo>
                    <a:pt x="287" y="276"/>
                    <a:pt x="288" y="277"/>
                    <a:pt x="289" y="277"/>
                  </a:cubicBezTo>
                  <a:cubicBezTo>
                    <a:pt x="321" y="282"/>
                    <a:pt x="321" y="282"/>
                    <a:pt x="321" y="282"/>
                  </a:cubicBezTo>
                  <a:cubicBezTo>
                    <a:pt x="321" y="282"/>
                    <a:pt x="322" y="282"/>
                    <a:pt x="322" y="283"/>
                  </a:cubicBezTo>
                  <a:cubicBezTo>
                    <a:pt x="324" y="283"/>
                    <a:pt x="327" y="283"/>
                    <a:pt x="328" y="284"/>
                  </a:cubicBezTo>
                  <a:cubicBezTo>
                    <a:pt x="329" y="284"/>
                    <a:pt x="330" y="285"/>
                    <a:pt x="330" y="286"/>
                  </a:cubicBezTo>
                  <a:cubicBezTo>
                    <a:pt x="331" y="287"/>
                    <a:pt x="332" y="288"/>
                    <a:pt x="333" y="289"/>
                  </a:cubicBezTo>
                  <a:cubicBezTo>
                    <a:pt x="333" y="290"/>
                    <a:pt x="333" y="290"/>
                    <a:pt x="333" y="290"/>
                  </a:cubicBezTo>
                  <a:cubicBezTo>
                    <a:pt x="333" y="290"/>
                    <a:pt x="333" y="290"/>
                    <a:pt x="333" y="290"/>
                  </a:cubicBezTo>
                  <a:cubicBezTo>
                    <a:pt x="344" y="293"/>
                    <a:pt x="344" y="293"/>
                    <a:pt x="344" y="293"/>
                  </a:cubicBezTo>
                  <a:cubicBezTo>
                    <a:pt x="348" y="294"/>
                    <a:pt x="351" y="295"/>
                    <a:pt x="354" y="295"/>
                  </a:cubicBezTo>
                  <a:cubicBezTo>
                    <a:pt x="358" y="296"/>
                    <a:pt x="361" y="297"/>
                    <a:pt x="364" y="298"/>
                  </a:cubicBezTo>
                  <a:cubicBezTo>
                    <a:pt x="367" y="299"/>
                    <a:pt x="369" y="301"/>
                    <a:pt x="372" y="301"/>
                  </a:cubicBezTo>
                  <a:cubicBezTo>
                    <a:pt x="373" y="301"/>
                    <a:pt x="374" y="301"/>
                    <a:pt x="375" y="301"/>
                  </a:cubicBezTo>
                  <a:cubicBezTo>
                    <a:pt x="376" y="301"/>
                    <a:pt x="377" y="301"/>
                    <a:pt x="378" y="301"/>
                  </a:cubicBezTo>
                  <a:cubicBezTo>
                    <a:pt x="379" y="301"/>
                    <a:pt x="379" y="301"/>
                    <a:pt x="380" y="301"/>
                  </a:cubicBezTo>
                  <a:cubicBezTo>
                    <a:pt x="380" y="301"/>
                    <a:pt x="380" y="301"/>
                    <a:pt x="380" y="301"/>
                  </a:cubicBezTo>
                  <a:cubicBezTo>
                    <a:pt x="382" y="300"/>
                    <a:pt x="384" y="300"/>
                    <a:pt x="386" y="300"/>
                  </a:cubicBezTo>
                  <a:cubicBezTo>
                    <a:pt x="390" y="300"/>
                    <a:pt x="391" y="301"/>
                    <a:pt x="392" y="302"/>
                  </a:cubicBezTo>
                  <a:cubicBezTo>
                    <a:pt x="392" y="303"/>
                    <a:pt x="392" y="303"/>
                    <a:pt x="392" y="303"/>
                  </a:cubicBezTo>
                  <a:cubicBezTo>
                    <a:pt x="392" y="303"/>
                    <a:pt x="392" y="303"/>
                    <a:pt x="392" y="303"/>
                  </a:cubicBezTo>
                  <a:cubicBezTo>
                    <a:pt x="393" y="305"/>
                    <a:pt x="393" y="305"/>
                    <a:pt x="393" y="305"/>
                  </a:cubicBezTo>
                  <a:cubicBezTo>
                    <a:pt x="393" y="305"/>
                    <a:pt x="393" y="305"/>
                    <a:pt x="393" y="305"/>
                  </a:cubicBezTo>
                  <a:cubicBezTo>
                    <a:pt x="394" y="306"/>
                    <a:pt x="394" y="306"/>
                    <a:pt x="394" y="306"/>
                  </a:cubicBezTo>
                  <a:cubicBezTo>
                    <a:pt x="394" y="306"/>
                    <a:pt x="394" y="306"/>
                    <a:pt x="394" y="306"/>
                  </a:cubicBezTo>
                  <a:cubicBezTo>
                    <a:pt x="396" y="306"/>
                    <a:pt x="396" y="306"/>
                    <a:pt x="396" y="306"/>
                  </a:cubicBezTo>
                  <a:cubicBezTo>
                    <a:pt x="397" y="306"/>
                    <a:pt x="400" y="307"/>
                    <a:pt x="401" y="307"/>
                  </a:cubicBezTo>
                  <a:cubicBezTo>
                    <a:pt x="401" y="307"/>
                    <a:pt x="401" y="307"/>
                    <a:pt x="401" y="307"/>
                  </a:cubicBezTo>
                  <a:cubicBezTo>
                    <a:pt x="402" y="307"/>
                    <a:pt x="402" y="307"/>
                    <a:pt x="402" y="307"/>
                  </a:cubicBezTo>
                  <a:cubicBezTo>
                    <a:pt x="404" y="305"/>
                    <a:pt x="406" y="304"/>
                    <a:pt x="408" y="303"/>
                  </a:cubicBezTo>
                  <a:cubicBezTo>
                    <a:pt x="411" y="301"/>
                    <a:pt x="415" y="299"/>
                    <a:pt x="419" y="297"/>
                  </a:cubicBezTo>
                  <a:cubicBezTo>
                    <a:pt x="421" y="297"/>
                    <a:pt x="423" y="296"/>
                    <a:pt x="425" y="295"/>
                  </a:cubicBezTo>
                  <a:cubicBezTo>
                    <a:pt x="428" y="294"/>
                    <a:pt x="428" y="294"/>
                    <a:pt x="428" y="294"/>
                  </a:cubicBezTo>
                  <a:cubicBezTo>
                    <a:pt x="431" y="292"/>
                    <a:pt x="435" y="291"/>
                    <a:pt x="439" y="289"/>
                  </a:cubicBezTo>
                  <a:cubicBezTo>
                    <a:pt x="438" y="285"/>
                    <a:pt x="438" y="285"/>
                    <a:pt x="438" y="285"/>
                  </a:cubicBezTo>
                  <a:cubicBezTo>
                    <a:pt x="441" y="289"/>
                    <a:pt x="441" y="289"/>
                    <a:pt x="441" y="289"/>
                  </a:cubicBezTo>
                  <a:cubicBezTo>
                    <a:pt x="442" y="288"/>
                    <a:pt x="442" y="288"/>
                    <a:pt x="442" y="288"/>
                  </a:cubicBezTo>
                  <a:cubicBezTo>
                    <a:pt x="442" y="288"/>
                    <a:pt x="443" y="288"/>
                    <a:pt x="443" y="288"/>
                  </a:cubicBezTo>
                  <a:cubicBezTo>
                    <a:pt x="449" y="286"/>
                    <a:pt x="454" y="286"/>
                    <a:pt x="460" y="285"/>
                  </a:cubicBezTo>
                  <a:cubicBezTo>
                    <a:pt x="462" y="285"/>
                    <a:pt x="465" y="285"/>
                    <a:pt x="467" y="285"/>
                  </a:cubicBezTo>
                  <a:cubicBezTo>
                    <a:pt x="472" y="284"/>
                    <a:pt x="472" y="284"/>
                    <a:pt x="472" y="284"/>
                  </a:cubicBezTo>
                  <a:cubicBezTo>
                    <a:pt x="476" y="283"/>
                    <a:pt x="480" y="283"/>
                    <a:pt x="483" y="283"/>
                  </a:cubicBezTo>
                  <a:cubicBezTo>
                    <a:pt x="488" y="283"/>
                    <a:pt x="488" y="283"/>
                    <a:pt x="488" y="283"/>
                  </a:cubicBezTo>
                  <a:cubicBezTo>
                    <a:pt x="489" y="283"/>
                    <a:pt x="490" y="283"/>
                    <a:pt x="491" y="283"/>
                  </a:cubicBezTo>
                  <a:cubicBezTo>
                    <a:pt x="492" y="283"/>
                    <a:pt x="492" y="283"/>
                    <a:pt x="492" y="283"/>
                  </a:cubicBezTo>
                  <a:cubicBezTo>
                    <a:pt x="493" y="283"/>
                    <a:pt x="495" y="283"/>
                    <a:pt x="496" y="283"/>
                  </a:cubicBezTo>
                  <a:cubicBezTo>
                    <a:pt x="497" y="283"/>
                    <a:pt x="499" y="284"/>
                    <a:pt x="500" y="284"/>
                  </a:cubicBezTo>
                  <a:cubicBezTo>
                    <a:pt x="503" y="284"/>
                    <a:pt x="506" y="283"/>
                    <a:pt x="508" y="282"/>
                  </a:cubicBezTo>
                  <a:cubicBezTo>
                    <a:pt x="510" y="281"/>
                    <a:pt x="512" y="281"/>
                    <a:pt x="515" y="280"/>
                  </a:cubicBezTo>
                  <a:cubicBezTo>
                    <a:pt x="518" y="279"/>
                    <a:pt x="518" y="279"/>
                    <a:pt x="518" y="279"/>
                  </a:cubicBezTo>
                  <a:cubicBezTo>
                    <a:pt x="521" y="277"/>
                    <a:pt x="521" y="277"/>
                    <a:pt x="521" y="277"/>
                  </a:cubicBezTo>
                  <a:cubicBezTo>
                    <a:pt x="523" y="276"/>
                    <a:pt x="525" y="275"/>
                    <a:pt x="527" y="274"/>
                  </a:cubicBezTo>
                  <a:cubicBezTo>
                    <a:pt x="529" y="274"/>
                    <a:pt x="530" y="273"/>
                    <a:pt x="531" y="271"/>
                  </a:cubicBezTo>
                  <a:cubicBezTo>
                    <a:pt x="532" y="270"/>
                    <a:pt x="533" y="269"/>
                    <a:pt x="534" y="268"/>
                  </a:cubicBezTo>
                  <a:cubicBezTo>
                    <a:pt x="534" y="268"/>
                    <a:pt x="534" y="268"/>
                    <a:pt x="534" y="268"/>
                  </a:cubicBezTo>
                  <a:cubicBezTo>
                    <a:pt x="536" y="265"/>
                    <a:pt x="539" y="261"/>
                    <a:pt x="542" y="259"/>
                  </a:cubicBezTo>
                  <a:cubicBezTo>
                    <a:pt x="544" y="257"/>
                    <a:pt x="548" y="256"/>
                    <a:pt x="551" y="254"/>
                  </a:cubicBezTo>
                  <a:cubicBezTo>
                    <a:pt x="552" y="254"/>
                    <a:pt x="552" y="254"/>
                    <a:pt x="552" y="254"/>
                  </a:cubicBezTo>
                  <a:cubicBezTo>
                    <a:pt x="556" y="252"/>
                    <a:pt x="559" y="250"/>
                    <a:pt x="562" y="248"/>
                  </a:cubicBezTo>
                  <a:cubicBezTo>
                    <a:pt x="563" y="248"/>
                    <a:pt x="563" y="247"/>
                    <a:pt x="563" y="247"/>
                  </a:cubicBezTo>
                  <a:cubicBezTo>
                    <a:pt x="563" y="247"/>
                    <a:pt x="563" y="247"/>
                    <a:pt x="563" y="247"/>
                  </a:cubicBezTo>
                  <a:cubicBezTo>
                    <a:pt x="563" y="247"/>
                    <a:pt x="563" y="247"/>
                    <a:pt x="563" y="247"/>
                  </a:cubicBezTo>
                  <a:cubicBezTo>
                    <a:pt x="562" y="245"/>
                    <a:pt x="561" y="245"/>
                    <a:pt x="560" y="244"/>
                  </a:cubicBezTo>
                  <a:cubicBezTo>
                    <a:pt x="559" y="244"/>
                    <a:pt x="559" y="243"/>
                    <a:pt x="558" y="243"/>
                  </a:cubicBezTo>
                  <a:cubicBezTo>
                    <a:pt x="557" y="242"/>
                    <a:pt x="556" y="240"/>
                    <a:pt x="555" y="239"/>
                  </a:cubicBezTo>
                  <a:cubicBezTo>
                    <a:pt x="554" y="237"/>
                    <a:pt x="552" y="235"/>
                    <a:pt x="552" y="232"/>
                  </a:cubicBezTo>
                  <a:cubicBezTo>
                    <a:pt x="551" y="229"/>
                    <a:pt x="551" y="228"/>
                    <a:pt x="552" y="227"/>
                  </a:cubicBezTo>
                  <a:cubicBezTo>
                    <a:pt x="553" y="225"/>
                    <a:pt x="553" y="225"/>
                    <a:pt x="553" y="225"/>
                  </a:cubicBezTo>
                  <a:cubicBezTo>
                    <a:pt x="554" y="223"/>
                    <a:pt x="555" y="220"/>
                    <a:pt x="556" y="217"/>
                  </a:cubicBezTo>
                  <a:cubicBezTo>
                    <a:pt x="557" y="215"/>
                    <a:pt x="559" y="213"/>
                    <a:pt x="562" y="211"/>
                  </a:cubicBezTo>
                  <a:cubicBezTo>
                    <a:pt x="563" y="210"/>
                    <a:pt x="564" y="209"/>
                    <a:pt x="565" y="208"/>
                  </a:cubicBezTo>
                  <a:cubicBezTo>
                    <a:pt x="566" y="207"/>
                    <a:pt x="568" y="207"/>
                    <a:pt x="569" y="207"/>
                  </a:cubicBezTo>
                  <a:cubicBezTo>
                    <a:pt x="570" y="207"/>
                    <a:pt x="572" y="207"/>
                    <a:pt x="573" y="208"/>
                  </a:cubicBezTo>
                  <a:cubicBezTo>
                    <a:pt x="575" y="208"/>
                    <a:pt x="578" y="208"/>
                    <a:pt x="580" y="209"/>
                  </a:cubicBezTo>
                  <a:cubicBezTo>
                    <a:pt x="584" y="210"/>
                    <a:pt x="588" y="212"/>
                    <a:pt x="591" y="214"/>
                  </a:cubicBezTo>
                  <a:cubicBezTo>
                    <a:pt x="593" y="214"/>
                    <a:pt x="594" y="215"/>
                    <a:pt x="595" y="215"/>
                  </a:cubicBezTo>
                  <a:cubicBezTo>
                    <a:pt x="596" y="216"/>
                    <a:pt x="598" y="216"/>
                    <a:pt x="599" y="216"/>
                  </a:cubicBezTo>
                  <a:cubicBezTo>
                    <a:pt x="600" y="216"/>
                    <a:pt x="600" y="216"/>
                    <a:pt x="601" y="217"/>
                  </a:cubicBezTo>
                  <a:cubicBezTo>
                    <a:pt x="602" y="217"/>
                    <a:pt x="602" y="217"/>
                    <a:pt x="602" y="217"/>
                  </a:cubicBezTo>
                  <a:cubicBezTo>
                    <a:pt x="602" y="217"/>
                    <a:pt x="603" y="217"/>
                    <a:pt x="603" y="217"/>
                  </a:cubicBezTo>
                  <a:cubicBezTo>
                    <a:pt x="605" y="217"/>
                    <a:pt x="607" y="216"/>
                    <a:pt x="608" y="215"/>
                  </a:cubicBezTo>
                  <a:cubicBezTo>
                    <a:pt x="609" y="215"/>
                    <a:pt x="609" y="215"/>
                    <a:pt x="609" y="215"/>
                  </a:cubicBezTo>
                  <a:cubicBezTo>
                    <a:pt x="610" y="214"/>
                    <a:pt x="611" y="213"/>
                    <a:pt x="611" y="213"/>
                  </a:cubicBezTo>
                  <a:cubicBezTo>
                    <a:pt x="616" y="210"/>
                    <a:pt x="620" y="207"/>
                    <a:pt x="623" y="203"/>
                  </a:cubicBezTo>
                  <a:cubicBezTo>
                    <a:pt x="621" y="200"/>
                    <a:pt x="621" y="200"/>
                    <a:pt x="621" y="200"/>
                  </a:cubicBezTo>
                  <a:cubicBezTo>
                    <a:pt x="624" y="202"/>
                    <a:pt x="624" y="202"/>
                    <a:pt x="624" y="202"/>
                  </a:cubicBezTo>
                  <a:cubicBezTo>
                    <a:pt x="625" y="202"/>
                    <a:pt x="625" y="202"/>
                    <a:pt x="625" y="202"/>
                  </a:cubicBezTo>
                  <a:cubicBezTo>
                    <a:pt x="625" y="202"/>
                    <a:pt x="625" y="202"/>
                    <a:pt x="625" y="202"/>
                  </a:cubicBezTo>
                  <a:cubicBezTo>
                    <a:pt x="625" y="202"/>
                    <a:pt x="625" y="202"/>
                    <a:pt x="625" y="202"/>
                  </a:cubicBezTo>
                  <a:cubicBezTo>
                    <a:pt x="626" y="201"/>
                    <a:pt x="626" y="201"/>
                    <a:pt x="626" y="201"/>
                  </a:cubicBezTo>
                  <a:cubicBezTo>
                    <a:pt x="626" y="200"/>
                    <a:pt x="627" y="200"/>
                    <a:pt x="628" y="199"/>
                  </a:cubicBezTo>
                  <a:cubicBezTo>
                    <a:pt x="628" y="198"/>
                    <a:pt x="628" y="198"/>
                    <a:pt x="628" y="198"/>
                  </a:cubicBezTo>
                  <a:cubicBezTo>
                    <a:pt x="630" y="197"/>
                    <a:pt x="631" y="197"/>
                    <a:pt x="634" y="197"/>
                  </a:cubicBezTo>
                  <a:cubicBezTo>
                    <a:pt x="634" y="197"/>
                    <a:pt x="635" y="197"/>
                    <a:pt x="636" y="197"/>
                  </a:cubicBezTo>
                  <a:cubicBezTo>
                    <a:pt x="637" y="197"/>
                    <a:pt x="637" y="197"/>
                    <a:pt x="637" y="197"/>
                  </a:cubicBezTo>
                  <a:cubicBezTo>
                    <a:pt x="637" y="197"/>
                    <a:pt x="637" y="197"/>
                    <a:pt x="637" y="197"/>
                  </a:cubicBezTo>
                  <a:cubicBezTo>
                    <a:pt x="652" y="197"/>
                    <a:pt x="652" y="197"/>
                    <a:pt x="652" y="197"/>
                  </a:cubicBezTo>
                  <a:cubicBezTo>
                    <a:pt x="653" y="197"/>
                    <a:pt x="653" y="197"/>
                    <a:pt x="654" y="196"/>
                  </a:cubicBezTo>
                  <a:cubicBezTo>
                    <a:pt x="654" y="196"/>
                    <a:pt x="654" y="196"/>
                    <a:pt x="655" y="195"/>
                  </a:cubicBezTo>
                  <a:cubicBezTo>
                    <a:pt x="656" y="195"/>
                    <a:pt x="656" y="194"/>
                    <a:pt x="657" y="194"/>
                  </a:cubicBezTo>
                  <a:cubicBezTo>
                    <a:pt x="658" y="193"/>
                    <a:pt x="659" y="193"/>
                    <a:pt x="660" y="192"/>
                  </a:cubicBezTo>
                  <a:cubicBezTo>
                    <a:pt x="660" y="192"/>
                    <a:pt x="660" y="192"/>
                    <a:pt x="661" y="192"/>
                  </a:cubicBezTo>
                  <a:cubicBezTo>
                    <a:pt x="662" y="191"/>
                    <a:pt x="662" y="191"/>
                    <a:pt x="662" y="191"/>
                  </a:cubicBezTo>
                  <a:cubicBezTo>
                    <a:pt x="662" y="191"/>
                    <a:pt x="663" y="190"/>
                    <a:pt x="664" y="190"/>
                  </a:cubicBezTo>
                  <a:cubicBezTo>
                    <a:pt x="664" y="189"/>
                    <a:pt x="664" y="189"/>
                    <a:pt x="664" y="189"/>
                  </a:cubicBezTo>
                  <a:cubicBezTo>
                    <a:pt x="664" y="189"/>
                    <a:pt x="664" y="188"/>
                    <a:pt x="664" y="187"/>
                  </a:cubicBezTo>
                  <a:cubicBezTo>
                    <a:pt x="664" y="187"/>
                    <a:pt x="664" y="187"/>
                    <a:pt x="664" y="186"/>
                  </a:cubicBezTo>
                  <a:cubicBezTo>
                    <a:pt x="664" y="181"/>
                    <a:pt x="671" y="175"/>
                    <a:pt x="672" y="174"/>
                  </a:cubicBezTo>
                  <a:cubicBezTo>
                    <a:pt x="675" y="170"/>
                    <a:pt x="681" y="169"/>
                    <a:pt x="685" y="169"/>
                  </a:cubicBezTo>
                  <a:cubicBezTo>
                    <a:pt x="687" y="169"/>
                    <a:pt x="689" y="170"/>
                    <a:pt x="691" y="170"/>
                  </a:cubicBezTo>
                  <a:cubicBezTo>
                    <a:pt x="693" y="170"/>
                    <a:pt x="693" y="170"/>
                    <a:pt x="693" y="170"/>
                  </a:cubicBezTo>
                  <a:cubicBezTo>
                    <a:pt x="693" y="170"/>
                    <a:pt x="694" y="170"/>
                    <a:pt x="694" y="170"/>
                  </a:cubicBezTo>
                  <a:cubicBezTo>
                    <a:pt x="702" y="167"/>
                    <a:pt x="710" y="164"/>
                    <a:pt x="718" y="161"/>
                  </a:cubicBezTo>
                  <a:cubicBezTo>
                    <a:pt x="720" y="160"/>
                    <a:pt x="723" y="160"/>
                    <a:pt x="726" y="160"/>
                  </a:cubicBezTo>
                  <a:cubicBezTo>
                    <a:pt x="728" y="160"/>
                    <a:pt x="730" y="160"/>
                    <a:pt x="733" y="160"/>
                  </a:cubicBezTo>
                  <a:cubicBezTo>
                    <a:pt x="733" y="160"/>
                    <a:pt x="733" y="160"/>
                    <a:pt x="733" y="160"/>
                  </a:cubicBezTo>
                  <a:cubicBezTo>
                    <a:pt x="735" y="160"/>
                    <a:pt x="737" y="161"/>
                    <a:pt x="738" y="161"/>
                  </a:cubicBezTo>
                  <a:cubicBezTo>
                    <a:pt x="750" y="161"/>
                    <a:pt x="750" y="161"/>
                    <a:pt x="750" y="161"/>
                  </a:cubicBezTo>
                  <a:cubicBezTo>
                    <a:pt x="750" y="158"/>
                    <a:pt x="750" y="155"/>
                    <a:pt x="747" y="152"/>
                  </a:cubicBezTo>
                  <a:cubicBezTo>
                    <a:pt x="747" y="151"/>
                    <a:pt x="746" y="150"/>
                    <a:pt x="745" y="149"/>
                  </a:cubicBezTo>
                  <a:cubicBezTo>
                    <a:pt x="744" y="149"/>
                    <a:pt x="744" y="149"/>
                    <a:pt x="744" y="149"/>
                  </a:cubicBezTo>
                  <a:cubicBezTo>
                    <a:pt x="743" y="148"/>
                    <a:pt x="741" y="147"/>
                    <a:pt x="740" y="145"/>
                  </a:cubicBezTo>
                  <a:cubicBezTo>
                    <a:pt x="739" y="144"/>
                    <a:pt x="738" y="143"/>
                    <a:pt x="737" y="142"/>
                  </a:cubicBezTo>
                  <a:cubicBezTo>
                    <a:pt x="736" y="141"/>
                    <a:pt x="735" y="141"/>
                    <a:pt x="734" y="139"/>
                  </a:cubicBezTo>
                  <a:cubicBezTo>
                    <a:pt x="733" y="138"/>
                    <a:pt x="732" y="137"/>
                    <a:pt x="732" y="137"/>
                  </a:cubicBezTo>
                  <a:cubicBezTo>
                    <a:pt x="731" y="136"/>
                    <a:pt x="730" y="135"/>
                    <a:pt x="728" y="135"/>
                  </a:cubicBezTo>
                  <a:cubicBezTo>
                    <a:pt x="727" y="134"/>
                    <a:pt x="725" y="133"/>
                    <a:pt x="723" y="131"/>
                  </a:cubicBezTo>
                  <a:cubicBezTo>
                    <a:pt x="723" y="131"/>
                    <a:pt x="722" y="130"/>
                    <a:pt x="722" y="130"/>
                  </a:cubicBezTo>
                  <a:cubicBezTo>
                    <a:pt x="722" y="129"/>
                    <a:pt x="722" y="129"/>
                    <a:pt x="722" y="129"/>
                  </a:cubicBezTo>
                  <a:cubicBezTo>
                    <a:pt x="721" y="129"/>
                    <a:pt x="721" y="129"/>
                    <a:pt x="721" y="128"/>
                  </a:cubicBezTo>
                  <a:cubicBezTo>
                    <a:pt x="721" y="128"/>
                    <a:pt x="721" y="128"/>
                    <a:pt x="721" y="128"/>
                  </a:cubicBezTo>
                  <a:cubicBezTo>
                    <a:pt x="720" y="128"/>
                    <a:pt x="720" y="128"/>
                    <a:pt x="720" y="128"/>
                  </a:cubicBezTo>
                  <a:cubicBezTo>
                    <a:pt x="720" y="128"/>
                    <a:pt x="719" y="128"/>
                    <a:pt x="719" y="128"/>
                  </a:cubicBezTo>
                  <a:cubicBezTo>
                    <a:pt x="717" y="128"/>
                    <a:pt x="715" y="128"/>
                    <a:pt x="713" y="128"/>
                  </a:cubicBezTo>
                  <a:cubicBezTo>
                    <a:pt x="712" y="129"/>
                    <a:pt x="710" y="129"/>
                    <a:pt x="709" y="129"/>
                  </a:cubicBezTo>
                  <a:cubicBezTo>
                    <a:pt x="707" y="129"/>
                    <a:pt x="706" y="129"/>
                    <a:pt x="705" y="129"/>
                  </a:cubicBezTo>
                  <a:cubicBezTo>
                    <a:pt x="702" y="130"/>
                    <a:pt x="701" y="131"/>
                    <a:pt x="699" y="133"/>
                  </a:cubicBezTo>
                  <a:cubicBezTo>
                    <a:pt x="699" y="134"/>
                    <a:pt x="699" y="134"/>
                    <a:pt x="699" y="134"/>
                  </a:cubicBezTo>
                  <a:cubicBezTo>
                    <a:pt x="697" y="135"/>
                    <a:pt x="696" y="137"/>
                    <a:pt x="695" y="137"/>
                  </a:cubicBezTo>
                  <a:cubicBezTo>
                    <a:pt x="694" y="137"/>
                    <a:pt x="694" y="137"/>
                    <a:pt x="694" y="137"/>
                  </a:cubicBezTo>
                  <a:cubicBezTo>
                    <a:pt x="694" y="137"/>
                    <a:pt x="694" y="137"/>
                    <a:pt x="694" y="137"/>
                  </a:cubicBezTo>
                  <a:cubicBezTo>
                    <a:pt x="691" y="137"/>
                    <a:pt x="689" y="135"/>
                    <a:pt x="685" y="133"/>
                  </a:cubicBezTo>
                  <a:cubicBezTo>
                    <a:pt x="685" y="133"/>
                    <a:pt x="684" y="132"/>
                    <a:pt x="684" y="132"/>
                  </a:cubicBezTo>
                  <a:cubicBezTo>
                    <a:pt x="683" y="132"/>
                    <a:pt x="683" y="131"/>
                    <a:pt x="682" y="131"/>
                  </a:cubicBezTo>
                  <a:cubicBezTo>
                    <a:pt x="681" y="131"/>
                    <a:pt x="681" y="131"/>
                    <a:pt x="681" y="131"/>
                  </a:cubicBezTo>
                  <a:cubicBezTo>
                    <a:pt x="671" y="133"/>
                    <a:pt x="671" y="133"/>
                    <a:pt x="671" y="133"/>
                  </a:cubicBezTo>
                  <a:cubicBezTo>
                    <a:pt x="669" y="133"/>
                    <a:pt x="666" y="133"/>
                    <a:pt x="664" y="134"/>
                  </a:cubicBezTo>
                  <a:cubicBezTo>
                    <a:pt x="664" y="134"/>
                    <a:pt x="664" y="134"/>
                    <a:pt x="664" y="134"/>
                  </a:cubicBezTo>
                  <a:cubicBezTo>
                    <a:pt x="664" y="135"/>
                    <a:pt x="663" y="136"/>
                    <a:pt x="661" y="136"/>
                  </a:cubicBezTo>
                  <a:cubicBezTo>
                    <a:pt x="661" y="136"/>
                    <a:pt x="661" y="136"/>
                    <a:pt x="661" y="136"/>
                  </a:cubicBezTo>
                  <a:cubicBezTo>
                    <a:pt x="658" y="136"/>
                    <a:pt x="656" y="134"/>
                    <a:pt x="653" y="132"/>
                  </a:cubicBezTo>
                  <a:cubicBezTo>
                    <a:pt x="651" y="130"/>
                    <a:pt x="650" y="129"/>
                    <a:pt x="649" y="127"/>
                  </a:cubicBezTo>
                  <a:cubicBezTo>
                    <a:pt x="649" y="127"/>
                    <a:pt x="649" y="126"/>
                    <a:pt x="649" y="126"/>
                  </a:cubicBezTo>
                  <a:cubicBezTo>
                    <a:pt x="649" y="125"/>
                    <a:pt x="649" y="125"/>
                    <a:pt x="649" y="125"/>
                  </a:cubicBezTo>
                  <a:cubicBezTo>
                    <a:pt x="649" y="125"/>
                    <a:pt x="649" y="125"/>
                    <a:pt x="649" y="125"/>
                  </a:cubicBezTo>
                  <a:cubicBezTo>
                    <a:pt x="648" y="124"/>
                    <a:pt x="648" y="123"/>
                    <a:pt x="648" y="122"/>
                  </a:cubicBezTo>
                  <a:cubicBezTo>
                    <a:pt x="647" y="118"/>
                    <a:pt x="651" y="116"/>
                    <a:pt x="653" y="116"/>
                  </a:cubicBezTo>
                  <a:cubicBezTo>
                    <a:pt x="653" y="115"/>
                    <a:pt x="654" y="115"/>
                    <a:pt x="654" y="115"/>
                  </a:cubicBezTo>
                  <a:cubicBezTo>
                    <a:pt x="654" y="115"/>
                    <a:pt x="654" y="114"/>
                    <a:pt x="654" y="113"/>
                  </a:cubicBezTo>
                  <a:cubicBezTo>
                    <a:pt x="654" y="112"/>
                    <a:pt x="654" y="110"/>
                    <a:pt x="654" y="108"/>
                  </a:cubicBezTo>
                  <a:cubicBezTo>
                    <a:pt x="663" y="91"/>
                    <a:pt x="663" y="91"/>
                    <a:pt x="663" y="91"/>
                  </a:cubicBezTo>
                  <a:cubicBezTo>
                    <a:pt x="665" y="87"/>
                    <a:pt x="667" y="83"/>
                    <a:pt x="669" y="80"/>
                  </a:cubicBezTo>
                  <a:cubicBezTo>
                    <a:pt x="674" y="70"/>
                    <a:pt x="674" y="70"/>
                    <a:pt x="674" y="70"/>
                  </a:cubicBezTo>
                  <a:cubicBezTo>
                    <a:pt x="673" y="69"/>
                    <a:pt x="673" y="69"/>
                    <a:pt x="673" y="69"/>
                  </a:cubicBezTo>
                  <a:cubicBezTo>
                    <a:pt x="673" y="69"/>
                    <a:pt x="673" y="69"/>
                    <a:pt x="673" y="69"/>
                  </a:cubicBezTo>
                  <a:cubicBezTo>
                    <a:pt x="668" y="66"/>
                    <a:pt x="667" y="66"/>
                    <a:pt x="667" y="65"/>
                  </a:cubicBezTo>
                  <a:cubicBezTo>
                    <a:pt x="667" y="66"/>
                    <a:pt x="667" y="66"/>
                    <a:pt x="667" y="66"/>
                  </a:cubicBezTo>
                  <a:cubicBezTo>
                    <a:pt x="652" y="69"/>
                    <a:pt x="652" y="69"/>
                    <a:pt x="652" y="69"/>
                  </a:cubicBezTo>
                  <a:cubicBezTo>
                    <a:pt x="652" y="69"/>
                    <a:pt x="651" y="69"/>
                    <a:pt x="651" y="69"/>
                  </a:cubicBezTo>
                  <a:cubicBezTo>
                    <a:pt x="651" y="69"/>
                    <a:pt x="650" y="69"/>
                    <a:pt x="650" y="69"/>
                  </a:cubicBezTo>
                  <a:cubicBezTo>
                    <a:pt x="650" y="69"/>
                    <a:pt x="650" y="69"/>
                    <a:pt x="650" y="69"/>
                  </a:cubicBezTo>
                  <a:cubicBezTo>
                    <a:pt x="649" y="69"/>
                    <a:pt x="649" y="69"/>
                    <a:pt x="649" y="69"/>
                  </a:cubicBezTo>
                  <a:cubicBezTo>
                    <a:pt x="648" y="69"/>
                    <a:pt x="648" y="68"/>
                    <a:pt x="647" y="68"/>
                  </a:cubicBezTo>
                  <a:cubicBezTo>
                    <a:pt x="633" y="59"/>
                    <a:pt x="633" y="59"/>
                    <a:pt x="633" y="59"/>
                  </a:cubicBezTo>
                  <a:cubicBezTo>
                    <a:pt x="631" y="59"/>
                    <a:pt x="631" y="59"/>
                    <a:pt x="631" y="59"/>
                  </a:cubicBezTo>
                  <a:cubicBezTo>
                    <a:pt x="629" y="59"/>
                    <a:pt x="628" y="59"/>
                    <a:pt x="627" y="59"/>
                  </a:cubicBezTo>
                  <a:cubicBezTo>
                    <a:pt x="625" y="59"/>
                    <a:pt x="624" y="59"/>
                    <a:pt x="623" y="59"/>
                  </a:cubicBezTo>
                  <a:cubicBezTo>
                    <a:pt x="621" y="59"/>
                    <a:pt x="620" y="59"/>
                    <a:pt x="618" y="59"/>
                  </a:cubicBezTo>
                  <a:cubicBezTo>
                    <a:pt x="618" y="59"/>
                    <a:pt x="618" y="59"/>
                    <a:pt x="618" y="59"/>
                  </a:cubicBezTo>
                  <a:cubicBezTo>
                    <a:pt x="617" y="59"/>
                    <a:pt x="614" y="61"/>
                    <a:pt x="612" y="62"/>
                  </a:cubicBezTo>
                  <a:cubicBezTo>
                    <a:pt x="612" y="62"/>
                    <a:pt x="612" y="62"/>
                    <a:pt x="612" y="62"/>
                  </a:cubicBezTo>
                  <a:cubicBezTo>
                    <a:pt x="611" y="63"/>
                    <a:pt x="610" y="63"/>
                    <a:pt x="609" y="64"/>
                  </a:cubicBezTo>
                  <a:cubicBezTo>
                    <a:pt x="606" y="65"/>
                    <a:pt x="606" y="65"/>
                    <a:pt x="606" y="65"/>
                  </a:cubicBezTo>
                  <a:cubicBezTo>
                    <a:pt x="601" y="69"/>
                    <a:pt x="601" y="69"/>
                    <a:pt x="601" y="69"/>
                  </a:cubicBezTo>
                  <a:cubicBezTo>
                    <a:pt x="590" y="80"/>
                    <a:pt x="590" y="80"/>
                    <a:pt x="590" y="80"/>
                  </a:cubicBezTo>
                  <a:cubicBezTo>
                    <a:pt x="589" y="80"/>
                    <a:pt x="588" y="80"/>
                    <a:pt x="587" y="81"/>
                  </a:cubicBezTo>
                  <a:cubicBezTo>
                    <a:pt x="571" y="84"/>
                    <a:pt x="571" y="84"/>
                    <a:pt x="571" y="84"/>
                  </a:cubicBezTo>
                  <a:cubicBezTo>
                    <a:pt x="543" y="91"/>
                    <a:pt x="543" y="91"/>
                    <a:pt x="543" y="91"/>
                  </a:cubicBezTo>
                  <a:cubicBezTo>
                    <a:pt x="541" y="92"/>
                    <a:pt x="540" y="92"/>
                    <a:pt x="539" y="92"/>
                  </a:cubicBezTo>
                  <a:cubicBezTo>
                    <a:pt x="526" y="90"/>
                    <a:pt x="526" y="90"/>
                    <a:pt x="526" y="90"/>
                  </a:cubicBezTo>
                  <a:cubicBezTo>
                    <a:pt x="505" y="87"/>
                    <a:pt x="505" y="87"/>
                    <a:pt x="505" y="87"/>
                  </a:cubicBezTo>
                  <a:cubicBezTo>
                    <a:pt x="505" y="87"/>
                    <a:pt x="504" y="87"/>
                    <a:pt x="504" y="87"/>
                  </a:cubicBezTo>
                  <a:cubicBezTo>
                    <a:pt x="501" y="86"/>
                    <a:pt x="501" y="86"/>
                    <a:pt x="501" y="86"/>
                  </a:cubicBezTo>
                  <a:cubicBezTo>
                    <a:pt x="486" y="86"/>
                    <a:pt x="486" y="86"/>
                    <a:pt x="486" y="86"/>
                  </a:cubicBezTo>
                  <a:cubicBezTo>
                    <a:pt x="486" y="86"/>
                    <a:pt x="486" y="86"/>
                    <a:pt x="486" y="86"/>
                  </a:cubicBezTo>
                  <a:cubicBezTo>
                    <a:pt x="486" y="85"/>
                    <a:pt x="486" y="85"/>
                    <a:pt x="486" y="85"/>
                  </a:cubicBezTo>
                  <a:cubicBezTo>
                    <a:pt x="486" y="86"/>
                    <a:pt x="486" y="86"/>
                    <a:pt x="486" y="86"/>
                  </a:cubicBezTo>
                  <a:cubicBezTo>
                    <a:pt x="485" y="86"/>
                    <a:pt x="484" y="86"/>
                    <a:pt x="484" y="86"/>
                  </a:cubicBezTo>
                  <a:cubicBezTo>
                    <a:pt x="473" y="78"/>
                    <a:pt x="473" y="78"/>
                    <a:pt x="473" y="78"/>
                  </a:cubicBezTo>
                  <a:cubicBezTo>
                    <a:pt x="472" y="78"/>
                    <a:pt x="472" y="77"/>
                    <a:pt x="472" y="77"/>
                  </a:cubicBezTo>
                  <a:cubicBezTo>
                    <a:pt x="471" y="76"/>
                    <a:pt x="471" y="76"/>
                    <a:pt x="471" y="76"/>
                  </a:cubicBezTo>
                  <a:cubicBezTo>
                    <a:pt x="470" y="68"/>
                    <a:pt x="470" y="68"/>
                    <a:pt x="470" y="68"/>
                  </a:cubicBezTo>
                  <a:cubicBezTo>
                    <a:pt x="469" y="67"/>
                    <a:pt x="469" y="67"/>
                    <a:pt x="469" y="67"/>
                  </a:cubicBezTo>
                  <a:cubicBezTo>
                    <a:pt x="469" y="67"/>
                    <a:pt x="468" y="67"/>
                    <a:pt x="467" y="67"/>
                  </a:cubicBezTo>
                  <a:cubicBezTo>
                    <a:pt x="466" y="67"/>
                    <a:pt x="464" y="67"/>
                    <a:pt x="463" y="67"/>
                  </a:cubicBezTo>
                  <a:cubicBezTo>
                    <a:pt x="461" y="67"/>
                    <a:pt x="461" y="67"/>
                    <a:pt x="461" y="67"/>
                  </a:cubicBezTo>
                  <a:cubicBezTo>
                    <a:pt x="456" y="66"/>
                    <a:pt x="453" y="63"/>
                    <a:pt x="450" y="61"/>
                  </a:cubicBezTo>
                  <a:cubicBezTo>
                    <a:pt x="448" y="59"/>
                    <a:pt x="446" y="57"/>
                    <a:pt x="444" y="57"/>
                  </a:cubicBezTo>
                  <a:cubicBezTo>
                    <a:pt x="443" y="56"/>
                    <a:pt x="442" y="56"/>
                    <a:pt x="442" y="56"/>
                  </a:cubicBezTo>
                  <a:cubicBezTo>
                    <a:pt x="441" y="56"/>
                    <a:pt x="440" y="56"/>
                    <a:pt x="440" y="56"/>
                  </a:cubicBezTo>
                  <a:cubicBezTo>
                    <a:pt x="439" y="56"/>
                    <a:pt x="439" y="56"/>
                    <a:pt x="439" y="56"/>
                  </a:cubicBezTo>
                  <a:cubicBezTo>
                    <a:pt x="437" y="56"/>
                    <a:pt x="437" y="56"/>
                    <a:pt x="437" y="56"/>
                  </a:cubicBezTo>
                  <a:cubicBezTo>
                    <a:pt x="430" y="56"/>
                    <a:pt x="430" y="56"/>
                    <a:pt x="430" y="56"/>
                  </a:cubicBezTo>
                  <a:cubicBezTo>
                    <a:pt x="428" y="56"/>
                    <a:pt x="427" y="55"/>
                    <a:pt x="427" y="55"/>
                  </a:cubicBezTo>
                  <a:cubicBezTo>
                    <a:pt x="426" y="54"/>
                    <a:pt x="426" y="54"/>
                    <a:pt x="426" y="54"/>
                  </a:cubicBezTo>
                  <a:cubicBezTo>
                    <a:pt x="424" y="53"/>
                    <a:pt x="420" y="53"/>
                    <a:pt x="418" y="53"/>
                  </a:cubicBezTo>
                  <a:cubicBezTo>
                    <a:pt x="416" y="52"/>
                    <a:pt x="414" y="52"/>
                    <a:pt x="412" y="52"/>
                  </a:cubicBezTo>
                  <a:cubicBezTo>
                    <a:pt x="411" y="52"/>
                    <a:pt x="411" y="52"/>
                    <a:pt x="411" y="52"/>
                  </a:cubicBezTo>
                  <a:cubicBezTo>
                    <a:pt x="408" y="52"/>
                    <a:pt x="405" y="53"/>
                    <a:pt x="402" y="53"/>
                  </a:cubicBezTo>
                  <a:cubicBezTo>
                    <a:pt x="401" y="54"/>
                    <a:pt x="401" y="54"/>
                    <a:pt x="401" y="54"/>
                  </a:cubicBezTo>
                  <a:cubicBezTo>
                    <a:pt x="398" y="54"/>
                    <a:pt x="394" y="55"/>
                    <a:pt x="391" y="56"/>
                  </a:cubicBezTo>
                  <a:cubicBezTo>
                    <a:pt x="391" y="57"/>
                    <a:pt x="390" y="57"/>
                    <a:pt x="389" y="57"/>
                  </a:cubicBezTo>
                  <a:cubicBezTo>
                    <a:pt x="389" y="58"/>
                    <a:pt x="389" y="58"/>
                    <a:pt x="389" y="58"/>
                  </a:cubicBezTo>
                  <a:cubicBezTo>
                    <a:pt x="388" y="58"/>
                    <a:pt x="388" y="58"/>
                    <a:pt x="387" y="59"/>
                  </a:cubicBezTo>
                  <a:cubicBezTo>
                    <a:pt x="386" y="59"/>
                    <a:pt x="386" y="59"/>
                    <a:pt x="386" y="59"/>
                  </a:cubicBezTo>
                  <a:cubicBezTo>
                    <a:pt x="384" y="60"/>
                    <a:pt x="382" y="61"/>
                    <a:pt x="379" y="61"/>
                  </a:cubicBezTo>
                  <a:cubicBezTo>
                    <a:pt x="378" y="61"/>
                    <a:pt x="377" y="61"/>
                    <a:pt x="376" y="61"/>
                  </a:cubicBezTo>
                  <a:cubicBezTo>
                    <a:pt x="350" y="54"/>
                    <a:pt x="350" y="54"/>
                    <a:pt x="350" y="54"/>
                  </a:cubicBezTo>
                  <a:cubicBezTo>
                    <a:pt x="347" y="54"/>
                    <a:pt x="344" y="52"/>
                    <a:pt x="342" y="51"/>
                  </a:cubicBezTo>
                  <a:cubicBezTo>
                    <a:pt x="340" y="50"/>
                    <a:pt x="339" y="49"/>
                    <a:pt x="339" y="48"/>
                  </a:cubicBezTo>
                  <a:cubicBezTo>
                    <a:pt x="338" y="47"/>
                    <a:pt x="338" y="47"/>
                    <a:pt x="338" y="47"/>
                  </a:cubicBezTo>
                  <a:cubicBezTo>
                    <a:pt x="337" y="45"/>
                    <a:pt x="336" y="44"/>
                    <a:pt x="336" y="43"/>
                  </a:cubicBezTo>
                  <a:cubicBezTo>
                    <a:pt x="336" y="42"/>
                    <a:pt x="335" y="41"/>
                    <a:pt x="335" y="39"/>
                  </a:cubicBezTo>
                  <a:cubicBezTo>
                    <a:pt x="335" y="38"/>
                    <a:pt x="335" y="38"/>
                    <a:pt x="335" y="38"/>
                  </a:cubicBezTo>
                  <a:cubicBezTo>
                    <a:pt x="334" y="36"/>
                    <a:pt x="334" y="36"/>
                    <a:pt x="334" y="36"/>
                  </a:cubicBezTo>
                  <a:cubicBezTo>
                    <a:pt x="334" y="35"/>
                    <a:pt x="334" y="34"/>
                    <a:pt x="334" y="34"/>
                  </a:cubicBezTo>
                  <a:cubicBezTo>
                    <a:pt x="334" y="33"/>
                    <a:pt x="334" y="31"/>
                    <a:pt x="334" y="30"/>
                  </a:cubicBezTo>
                  <a:cubicBezTo>
                    <a:pt x="333" y="29"/>
                    <a:pt x="333" y="28"/>
                    <a:pt x="333" y="26"/>
                  </a:cubicBezTo>
                  <a:cubicBezTo>
                    <a:pt x="333" y="26"/>
                    <a:pt x="333" y="25"/>
                    <a:pt x="333" y="24"/>
                  </a:cubicBezTo>
                  <a:cubicBezTo>
                    <a:pt x="332" y="24"/>
                    <a:pt x="331" y="23"/>
                    <a:pt x="330" y="23"/>
                  </a:cubicBezTo>
                  <a:cubicBezTo>
                    <a:pt x="329" y="23"/>
                    <a:pt x="329" y="23"/>
                    <a:pt x="329" y="23"/>
                  </a:cubicBezTo>
                  <a:cubicBezTo>
                    <a:pt x="326" y="22"/>
                    <a:pt x="324" y="22"/>
                    <a:pt x="322" y="21"/>
                  </a:cubicBezTo>
                  <a:cubicBezTo>
                    <a:pt x="316" y="19"/>
                    <a:pt x="316" y="19"/>
                    <a:pt x="316" y="19"/>
                  </a:cubicBezTo>
                  <a:cubicBezTo>
                    <a:pt x="313" y="19"/>
                    <a:pt x="310" y="18"/>
                    <a:pt x="308" y="16"/>
                  </a:cubicBezTo>
                  <a:cubicBezTo>
                    <a:pt x="305" y="15"/>
                    <a:pt x="302" y="14"/>
                    <a:pt x="299" y="13"/>
                  </a:cubicBezTo>
                  <a:cubicBezTo>
                    <a:pt x="299" y="13"/>
                    <a:pt x="298" y="13"/>
                    <a:pt x="297" y="13"/>
                  </a:cubicBezTo>
                  <a:cubicBezTo>
                    <a:pt x="297" y="13"/>
                    <a:pt x="297" y="13"/>
                    <a:pt x="297" y="13"/>
                  </a:cubicBezTo>
                  <a:cubicBezTo>
                    <a:pt x="296" y="13"/>
                    <a:pt x="296" y="13"/>
                    <a:pt x="296" y="13"/>
                  </a:cubicBezTo>
                  <a:cubicBezTo>
                    <a:pt x="295" y="13"/>
                    <a:pt x="295" y="13"/>
                    <a:pt x="295" y="13"/>
                  </a:cubicBezTo>
                  <a:cubicBezTo>
                    <a:pt x="295" y="13"/>
                    <a:pt x="295" y="13"/>
                    <a:pt x="295" y="13"/>
                  </a:cubicBezTo>
                  <a:cubicBezTo>
                    <a:pt x="287" y="12"/>
                    <a:pt x="282" y="11"/>
                    <a:pt x="275" y="8"/>
                  </a:cubicBezTo>
                  <a:cubicBezTo>
                    <a:pt x="262" y="1"/>
                    <a:pt x="262" y="1"/>
                    <a:pt x="262" y="1"/>
                  </a:cubicBezTo>
                  <a:cubicBezTo>
                    <a:pt x="262" y="1"/>
                    <a:pt x="262" y="1"/>
                    <a:pt x="262" y="1"/>
                  </a:cubicBezTo>
                  <a:cubicBezTo>
                    <a:pt x="260" y="0"/>
                    <a:pt x="260" y="0"/>
                    <a:pt x="26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4" name="Freeform 1563">
              <a:extLst>
                <a:ext uri="{FF2B5EF4-FFF2-40B4-BE49-F238E27FC236}">
                  <a16:creationId xmlns:a16="http://schemas.microsoft.com/office/drawing/2014/main" id="{B1A6223E-0E09-4865-B466-AA2856090C88}"/>
                </a:ext>
              </a:extLst>
            </p:cNvPr>
            <p:cNvSpPr>
              <a:spLocks/>
            </p:cNvSpPr>
            <p:nvPr/>
          </p:nvSpPr>
          <p:spPr bwMode="auto">
            <a:xfrm>
              <a:off x="4676697" y="1495364"/>
              <a:ext cx="463106" cy="460422"/>
            </a:xfrm>
            <a:custGeom>
              <a:avLst/>
              <a:gdLst>
                <a:gd name="T0" fmla="*/ 133 w 146"/>
                <a:gd name="T1" fmla="*/ 0 h 145"/>
                <a:gd name="T2" fmla="*/ 131 w 146"/>
                <a:gd name="T3" fmla="*/ 7 h 145"/>
                <a:gd name="T4" fmla="*/ 128 w 146"/>
                <a:gd name="T5" fmla="*/ 13 h 145"/>
                <a:gd name="T6" fmla="*/ 118 w 146"/>
                <a:gd name="T7" fmla="*/ 18 h 145"/>
                <a:gd name="T8" fmla="*/ 112 w 146"/>
                <a:gd name="T9" fmla="*/ 26 h 145"/>
                <a:gd name="T10" fmla="*/ 100 w 146"/>
                <a:gd name="T11" fmla="*/ 27 h 145"/>
                <a:gd name="T12" fmla="*/ 94 w 146"/>
                <a:gd name="T13" fmla="*/ 33 h 145"/>
                <a:gd name="T14" fmla="*/ 96 w 146"/>
                <a:gd name="T15" fmla="*/ 40 h 145"/>
                <a:gd name="T16" fmla="*/ 89 w 146"/>
                <a:gd name="T17" fmla="*/ 46 h 145"/>
                <a:gd name="T18" fmla="*/ 82 w 146"/>
                <a:gd name="T19" fmla="*/ 45 h 145"/>
                <a:gd name="T20" fmla="*/ 68 w 146"/>
                <a:gd name="T21" fmla="*/ 43 h 145"/>
                <a:gd name="T22" fmla="*/ 63 w 146"/>
                <a:gd name="T23" fmla="*/ 38 h 145"/>
                <a:gd name="T24" fmla="*/ 60 w 146"/>
                <a:gd name="T25" fmla="*/ 35 h 145"/>
                <a:gd name="T26" fmla="*/ 59 w 146"/>
                <a:gd name="T27" fmla="*/ 36 h 145"/>
                <a:gd name="T28" fmla="*/ 57 w 146"/>
                <a:gd name="T29" fmla="*/ 38 h 145"/>
                <a:gd name="T30" fmla="*/ 45 w 146"/>
                <a:gd name="T31" fmla="*/ 55 h 145"/>
                <a:gd name="T32" fmla="*/ 40 w 146"/>
                <a:gd name="T33" fmla="*/ 60 h 145"/>
                <a:gd name="T34" fmla="*/ 32 w 146"/>
                <a:gd name="T35" fmla="*/ 62 h 145"/>
                <a:gd name="T36" fmla="*/ 26 w 146"/>
                <a:gd name="T37" fmla="*/ 67 h 145"/>
                <a:gd name="T38" fmla="*/ 3 w 146"/>
                <a:gd name="T39" fmla="*/ 82 h 145"/>
                <a:gd name="T40" fmla="*/ 1 w 146"/>
                <a:gd name="T41" fmla="*/ 83 h 145"/>
                <a:gd name="T42" fmla="*/ 0 w 146"/>
                <a:gd name="T43" fmla="*/ 84 h 145"/>
                <a:gd name="T44" fmla="*/ 10 w 146"/>
                <a:gd name="T45" fmla="*/ 88 h 145"/>
                <a:gd name="T46" fmla="*/ 23 w 146"/>
                <a:gd name="T47" fmla="*/ 94 h 145"/>
                <a:gd name="T48" fmla="*/ 23 w 146"/>
                <a:gd name="T49" fmla="*/ 105 h 145"/>
                <a:gd name="T50" fmla="*/ 31 w 146"/>
                <a:gd name="T51" fmla="*/ 120 h 145"/>
                <a:gd name="T52" fmla="*/ 26 w 146"/>
                <a:gd name="T53" fmla="*/ 118 h 145"/>
                <a:gd name="T54" fmla="*/ 19 w 146"/>
                <a:gd name="T55" fmla="*/ 120 h 145"/>
                <a:gd name="T56" fmla="*/ 15 w 146"/>
                <a:gd name="T57" fmla="*/ 131 h 145"/>
                <a:gd name="T58" fmla="*/ 8 w 146"/>
                <a:gd name="T59" fmla="*/ 133 h 145"/>
                <a:gd name="T60" fmla="*/ 18 w 146"/>
                <a:gd name="T61" fmla="*/ 138 h 145"/>
                <a:gd name="T62" fmla="*/ 22 w 146"/>
                <a:gd name="T63" fmla="*/ 141 h 145"/>
                <a:gd name="T64" fmla="*/ 22 w 146"/>
                <a:gd name="T65" fmla="*/ 142 h 145"/>
                <a:gd name="T66" fmla="*/ 26 w 146"/>
                <a:gd name="T67" fmla="*/ 140 h 145"/>
                <a:gd name="T68" fmla="*/ 25 w 146"/>
                <a:gd name="T69" fmla="*/ 143 h 145"/>
                <a:gd name="T70" fmla="*/ 24 w 146"/>
                <a:gd name="T71" fmla="*/ 145 h 145"/>
                <a:gd name="T72" fmla="*/ 33 w 146"/>
                <a:gd name="T73" fmla="*/ 138 h 145"/>
                <a:gd name="T74" fmla="*/ 40 w 146"/>
                <a:gd name="T75" fmla="*/ 142 h 145"/>
                <a:gd name="T76" fmla="*/ 46 w 146"/>
                <a:gd name="T77" fmla="*/ 142 h 145"/>
                <a:gd name="T78" fmla="*/ 53 w 146"/>
                <a:gd name="T79" fmla="*/ 141 h 145"/>
                <a:gd name="T80" fmla="*/ 54 w 146"/>
                <a:gd name="T81" fmla="*/ 139 h 145"/>
                <a:gd name="T82" fmla="*/ 58 w 146"/>
                <a:gd name="T83" fmla="*/ 133 h 145"/>
                <a:gd name="T84" fmla="*/ 63 w 146"/>
                <a:gd name="T85" fmla="*/ 128 h 145"/>
                <a:gd name="T86" fmla="*/ 72 w 146"/>
                <a:gd name="T87" fmla="*/ 127 h 145"/>
                <a:gd name="T88" fmla="*/ 87 w 146"/>
                <a:gd name="T89" fmla="*/ 125 h 145"/>
                <a:gd name="T90" fmla="*/ 89 w 146"/>
                <a:gd name="T91" fmla="*/ 123 h 145"/>
                <a:gd name="T92" fmla="*/ 92 w 146"/>
                <a:gd name="T93" fmla="*/ 119 h 145"/>
                <a:gd name="T94" fmla="*/ 93 w 146"/>
                <a:gd name="T95" fmla="*/ 118 h 145"/>
                <a:gd name="T96" fmla="*/ 88 w 146"/>
                <a:gd name="T97" fmla="*/ 112 h 145"/>
                <a:gd name="T98" fmla="*/ 74 w 146"/>
                <a:gd name="T99" fmla="*/ 104 h 145"/>
                <a:gd name="T100" fmla="*/ 76 w 146"/>
                <a:gd name="T101" fmla="*/ 101 h 145"/>
                <a:gd name="T102" fmla="*/ 77 w 146"/>
                <a:gd name="T103" fmla="*/ 93 h 145"/>
                <a:gd name="T104" fmla="*/ 94 w 146"/>
                <a:gd name="T105" fmla="*/ 81 h 145"/>
                <a:gd name="T106" fmla="*/ 128 w 146"/>
                <a:gd name="T107" fmla="*/ 56 h 145"/>
                <a:gd name="T108" fmla="*/ 127 w 146"/>
                <a:gd name="T109" fmla="*/ 49 h 145"/>
                <a:gd name="T110" fmla="*/ 128 w 146"/>
                <a:gd name="T111" fmla="*/ 43 h 145"/>
                <a:gd name="T112" fmla="*/ 144 w 146"/>
                <a:gd name="T113" fmla="*/ 17 h 145"/>
                <a:gd name="T114" fmla="*/ 146 w 146"/>
                <a:gd name="T115" fmla="*/ 17 h 145"/>
                <a:gd name="T116" fmla="*/ 144 w 146"/>
                <a:gd name="T117" fmla="*/ 14 h 145"/>
                <a:gd name="T118" fmla="*/ 136 w 146"/>
                <a:gd name="T119" fmla="*/ 7 h 145"/>
                <a:gd name="T120" fmla="*/ 137 w 146"/>
                <a:gd name="T121" fmla="*/ 4 h 145"/>
                <a:gd name="T122" fmla="*/ 134 w 146"/>
                <a:gd name="T1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 h="145">
                  <a:moveTo>
                    <a:pt x="133" y="0"/>
                  </a:moveTo>
                  <a:cubicBezTo>
                    <a:pt x="133" y="0"/>
                    <a:pt x="133" y="0"/>
                    <a:pt x="133" y="0"/>
                  </a:cubicBezTo>
                  <a:cubicBezTo>
                    <a:pt x="132" y="1"/>
                    <a:pt x="132" y="3"/>
                    <a:pt x="131" y="6"/>
                  </a:cubicBezTo>
                  <a:cubicBezTo>
                    <a:pt x="131" y="7"/>
                    <a:pt x="131" y="7"/>
                    <a:pt x="131" y="7"/>
                  </a:cubicBezTo>
                  <a:cubicBezTo>
                    <a:pt x="131" y="9"/>
                    <a:pt x="131" y="10"/>
                    <a:pt x="130" y="11"/>
                  </a:cubicBezTo>
                  <a:cubicBezTo>
                    <a:pt x="129" y="12"/>
                    <a:pt x="129" y="12"/>
                    <a:pt x="128" y="13"/>
                  </a:cubicBezTo>
                  <a:cubicBezTo>
                    <a:pt x="127" y="14"/>
                    <a:pt x="125" y="14"/>
                    <a:pt x="122" y="15"/>
                  </a:cubicBezTo>
                  <a:cubicBezTo>
                    <a:pt x="120" y="16"/>
                    <a:pt x="119" y="17"/>
                    <a:pt x="118" y="18"/>
                  </a:cubicBezTo>
                  <a:cubicBezTo>
                    <a:pt x="118" y="18"/>
                    <a:pt x="118" y="18"/>
                    <a:pt x="118" y="18"/>
                  </a:cubicBezTo>
                  <a:cubicBezTo>
                    <a:pt x="118" y="21"/>
                    <a:pt x="113" y="25"/>
                    <a:pt x="112" y="26"/>
                  </a:cubicBezTo>
                  <a:cubicBezTo>
                    <a:pt x="109" y="27"/>
                    <a:pt x="106" y="27"/>
                    <a:pt x="103" y="27"/>
                  </a:cubicBezTo>
                  <a:cubicBezTo>
                    <a:pt x="102" y="27"/>
                    <a:pt x="101" y="27"/>
                    <a:pt x="100" y="27"/>
                  </a:cubicBezTo>
                  <a:cubicBezTo>
                    <a:pt x="91" y="29"/>
                    <a:pt x="91" y="29"/>
                    <a:pt x="91" y="29"/>
                  </a:cubicBezTo>
                  <a:cubicBezTo>
                    <a:pt x="92" y="30"/>
                    <a:pt x="93" y="31"/>
                    <a:pt x="94" y="33"/>
                  </a:cubicBezTo>
                  <a:cubicBezTo>
                    <a:pt x="94" y="33"/>
                    <a:pt x="94" y="33"/>
                    <a:pt x="94" y="33"/>
                  </a:cubicBezTo>
                  <a:cubicBezTo>
                    <a:pt x="95" y="34"/>
                    <a:pt x="97" y="36"/>
                    <a:pt x="96" y="40"/>
                  </a:cubicBezTo>
                  <a:cubicBezTo>
                    <a:pt x="96" y="42"/>
                    <a:pt x="95" y="43"/>
                    <a:pt x="93" y="44"/>
                  </a:cubicBezTo>
                  <a:cubicBezTo>
                    <a:pt x="92" y="46"/>
                    <a:pt x="90" y="46"/>
                    <a:pt x="89" y="46"/>
                  </a:cubicBezTo>
                  <a:cubicBezTo>
                    <a:pt x="88" y="46"/>
                    <a:pt x="88" y="46"/>
                    <a:pt x="88" y="46"/>
                  </a:cubicBezTo>
                  <a:cubicBezTo>
                    <a:pt x="86" y="46"/>
                    <a:pt x="84" y="46"/>
                    <a:pt x="82" y="45"/>
                  </a:cubicBezTo>
                  <a:cubicBezTo>
                    <a:pt x="80" y="45"/>
                    <a:pt x="80" y="45"/>
                    <a:pt x="80" y="45"/>
                  </a:cubicBezTo>
                  <a:cubicBezTo>
                    <a:pt x="76" y="45"/>
                    <a:pt x="71" y="45"/>
                    <a:pt x="68" y="43"/>
                  </a:cubicBezTo>
                  <a:cubicBezTo>
                    <a:pt x="67" y="42"/>
                    <a:pt x="67" y="42"/>
                    <a:pt x="67" y="42"/>
                  </a:cubicBezTo>
                  <a:cubicBezTo>
                    <a:pt x="65" y="41"/>
                    <a:pt x="64" y="39"/>
                    <a:pt x="63" y="38"/>
                  </a:cubicBezTo>
                  <a:cubicBezTo>
                    <a:pt x="62" y="37"/>
                    <a:pt x="61" y="36"/>
                    <a:pt x="61" y="35"/>
                  </a:cubicBezTo>
                  <a:cubicBezTo>
                    <a:pt x="60" y="35"/>
                    <a:pt x="60" y="35"/>
                    <a:pt x="60" y="35"/>
                  </a:cubicBezTo>
                  <a:cubicBezTo>
                    <a:pt x="60" y="35"/>
                    <a:pt x="60" y="35"/>
                    <a:pt x="60" y="35"/>
                  </a:cubicBezTo>
                  <a:cubicBezTo>
                    <a:pt x="59" y="36"/>
                    <a:pt x="59" y="36"/>
                    <a:pt x="59" y="36"/>
                  </a:cubicBezTo>
                  <a:cubicBezTo>
                    <a:pt x="59" y="36"/>
                    <a:pt x="59" y="36"/>
                    <a:pt x="59" y="36"/>
                  </a:cubicBezTo>
                  <a:cubicBezTo>
                    <a:pt x="58" y="36"/>
                    <a:pt x="57" y="37"/>
                    <a:pt x="57" y="38"/>
                  </a:cubicBezTo>
                  <a:cubicBezTo>
                    <a:pt x="54" y="44"/>
                    <a:pt x="50" y="50"/>
                    <a:pt x="46" y="54"/>
                  </a:cubicBezTo>
                  <a:cubicBezTo>
                    <a:pt x="45" y="54"/>
                    <a:pt x="45" y="55"/>
                    <a:pt x="45" y="55"/>
                  </a:cubicBezTo>
                  <a:cubicBezTo>
                    <a:pt x="43" y="57"/>
                    <a:pt x="42" y="59"/>
                    <a:pt x="40" y="60"/>
                  </a:cubicBezTo>
                  <a:cubicBezTo>
                    <a:pt x="40" y="60"/>
                    <a:pt x="40" y="60"/>
                    <a:pt x="40" y="60"/>
                  </a:cubicBezTo>
                  <a:cubicBezTo>
                    <a:pt x="38" y="60"/>
                    <a:pt x="37" y="60"/>
                    <a:pt x="36" y="61"/>
                  </a:cubicBezTo>
                  <a:cubicBezTo>
                    <a:pt x="34" y="61"/>
                    <a:pt x="33" y="61"/>
                    <a:pt x="32" y="62"/>
                  </a:cubicBezTo>
                  <a:cubicBezTo>
                    <a:pt x="31" y="63"/>
                    <a:pt x="31" y="63"/>
                    <a:pt x="31" y="63"/>
                  </a:cubicBezTo>
                  <a:cubicBezTo>
                    <a:pt x="30" y="64"/>
                    <a:pt x="28" y="66"/>
                    <a:pt x="26" y="67"/>
                  </a:cubicBezTo>
                  <a:cubicBezTo>
                    <a:pt x="19" y="71"/>
                    <a:pt x="12" y="76"/>
                    <a:pt x="5" y="80"/>
                  </a:cubicBezTo>
                  <a:cubicBezTo>
                    <a:pt x="4" y="81"/>
                    <a:pt x="4" y="82"/>
                    <a:pt x="3" y="82"/>
                  </a:cubicBezTo>
                  <a:cubicBezTo>
                    <a:pt x="3" y="83"/>
                    <a:pt x="3" y="83"/>
                    <a:pt x="3" y="83"/>
                  </a:cubicBezTo>
                  <a:cubicBezTo>
                    <a:pt x="1" y="83"/>
                    <a:pt x="1" y="83"/>
                    <a:pt x="1" y="83"/>
                  </a:cubicBezTo>
                  <a:cubicBezTo>
                    <a:pt x="1" y="83"/>
                    <a:pt x="1" y="83"/>
                    <a:pt x="1" y="83"/>
                  </a:cubicBezTo>
                  <a:cubicBezTo>
                    <a:pt x="1" y="84"/>
                    <a:pt x="0" y="84"/>
                    <a:pt x="0" y="84"/>
                  </a:cubicBezTo>
                  <a:cubicBezTo>
                    <a:pt x="1" y="88"/>
                    <a:pt x="9" y="88"/>
                    <a:pt x="7" y="93"/>
                  </a:cubicBezTo>
                  <a:cubicBezTo>
                    <a:pt x="9" y="92"/>
                    <a:pt x="11" y="90"/>
                    <a:pt x="10" y="88"/>
                  </a:cubicBezTo>
                  <a:cubicBezTo>
                    <a:pt x="12" y="89"/>
                    <a:pt x="15" y="91"/>
                    <a:pt x="17" y="93"/>
                  </a:cubicBezTo>
                  <a:cubicBezTo>
                    <a:pt x="19" y="93"/>
                    <a:pt x="21" y="94"/>
                    <a:pt x="23" y="94"/>
                  </a:cubicBezTo>
                  <a:cubicBezTo>
                    <a:pt x="24" y="94"/>
                    <a:pt x="25" y="94"/>
                    <a:pt x="27" y="94"/>
                  </a:cubicBezTo>
                  <a:cubicBezTo>
                    <a:pt x="25" y="97"/>
                    <a:pt x="24" y="101"/>
                    <a:pt x="23" y="105"/>
                  </a:cubicBezTo>
                  <a:cubicBezTo>
                    <a:pt x="22" y="107"/>
                    <a:pt x="20" y="110"/>
                    <a:pt x="20" y="112"/>
                  </a:cubicBezTo>
                  <a:cubicBezTo>
                    <a:pt x="20" y="118"/>
                    <a:pt x="29" y="116"/>
                    <a:pt x="31" y="120"/>
                  </a:cubicBezTo>
                  <a:cubicBezTo>
                    <a:pt x="29" y="119"/>
                    <a:pt x="28" y="118"/>
                    <a:pt x="26" y="118"/>
                  </a:cubicBezTo>
                  <a:cubicBezTo>
                    <a:pt x="26" y="118"/>
                    <a:pt x="26" y="118"/>
                    <a:pt x="26" y="118"/>
                  </a:cubicBezTo>
                  <a:cubicBezTo>
                    <a:pt x="24" y="118"/>
                    <a:pt x="22" y="118"/>
                    <a:pt x="21" y="119"/>
                  </a:cubicBezTo>
                  <a:cubicBezTo>
                    <a:pt x="19" y="119"/>
                    <a:pt x="20" y="118"/>
                    <a:pt x="19" y="120"/>
                  </a:cubicBezTo>
                  <a:cubicBezTo>
                    <a:pt x="17" y="121"/>
                    <a:pt x="16" y="125"/>
                    <a:pt x="15" y="127"/>
                  </a:cubicBezTo>
                  <a:cubicBezTo>
                    <a:pt x="14" y="128"/>
                    <a:pt x="13" y="131"/>
                    <a:pt x="15" y="131"/>
                  </a:cubicBezTo>
                  <a:cubicBezTo>
                    <a:pt x="15" y="131"/>
                    <a:pt x="15" y="131"/>
                    <a:pt x="16" y="131"/>
                  </a:cubicBezTo>
                  <a:cubicBezTo>
                    <a:pt x="13" y="132"/>
                    <a:pt x="11" y="132"/>
                    <a:pt x="8" y="133"/>
                  </a:cubicBezTo>
                  <a:cubicBezTo>
                    <a:pt x="12" y="135"/>
                    <a:pt x="16" y="136"/>
                    <a:pt x="19" y="138"/>
                  </a:cubicBezTo>
                  <a:cubicBezTo>
                    <a:pt x="19" y="138"/>
                    <a:pt x="18" y="138"/>
                    <a:pt x="18" y="138"/>
                  </a:cubicBezTo>
                  <a:cubicBezTo>
                    <a:pt x="16" y="138"/>
                    <a:pt x="16" y="138"/>
                    <a:pt x="16" y="139"/>
                  </a:cubicBezTo>
                  <a:cubicBezTo>
                    <a:pt x="17" y="140"/>
                    <a:pt x="21" y="141"/>
                    <a:pt x="22" y="141"/>
                  </a:cubicBezTo>
                  <a:cubicBezTo>
                    <a:pt x="22" y="142"/>
                    <a:pt x="22" y="142"/>
                    <a:pt x="22" y="142"/>
                  </a:cubicBezTo>
                  <a:cubicBezTo>
                    <a:pt x="22" y="142"/>
                    <a:pt x="22" y="142"/>
                    <a:pt x="22" y="142"/>
                  </a:cubicBezTo>
                  <a:cubicBezTo>
                    <a:pt x="23" y="142"/>
                    <a:pt x="24" y="141"/>
                    <a:pt x="24" y="141"/>
                  </a:cubicBezTo>
                  <a:cubicBezTo>
                    <a:pt x="25" y="141"/>
                    <a:pt x="26" y="140"/>
                    <a:pt x="26" y="140"/>
                  </a:cubicBezTo>
                  <a:cubicBezTo>
                    <a:pt x="27" y="140"/>
                    <a:pt x="28" y="140"/>
                    <a:pt x="28" y="141"/>
                  </a:cubicBezTo>
                  <a:cubicBezTo>
                    <a:pt x="28" y="142"/>
                    <a:pt x="26" y="142"/>
                    <a:pt x="25" y="143"/>
                  </a:cubicBezTo>
                  <a:cubicBezTo>
                    <a:pt x="26" y="143"/>
                    <a:pt x="26" y="143"/>
                    <a:pt x="26" y="143"/>
                  </a:cubicBezTo>
                  <a:cubicBezTo>
                    <a:pt x="25" y="143"/>
                    <a:pt x="24" y="144"/>
                    <a:pt x="24" y="145"/>
                  </a:cubicBezTo>
                  <a:cubicBezTo>
                    <a:pt x="27" y="144"/>
                    <a:pt x="29" y="143"/>
                    <a:pt x="31" y="141"/>
                  </a:cubicBezTo>
                  <a:cubicBezTo>
                    <a:pt x="32" y="140"/>
                    <a:pt x="30" y="139"/>
                    <a:pt x="33" y="138"/>
                  </a:cubicBezTo>
                  <a:cubicBezTo>
                    <a:pt x="32" y="138"/>
                    <a:pt x="30" y="138"/>
                    <a:pt x="30" y="136"/>
                  </a:cubicBezTo>
                  <a:cubicBezTo>
                    <a:pt x="33" y="138"/>
                    <a:pt x="36" y="140"/>
                    <a:pt x="40" y="142"/>
                  </a:cubicBezTo>
                  <a:cubicBezTo>
                    <a:pt x="41" y="143"/>
                    <a:pt x="42" y="143"/>
                    <a:pt x="43" y="143"/>
                  </a:cubicBezTo>
                  <a:cubicBezTo>
                    <a:pt x="43" y="143"/>
                    <a:pt x="44" y="143"/>
                    <a:pt x="46" y="142"/>
                  </a:cubicBezTo>
                  <a:cubicBezTo>
                    <a:pt x="48" y="141"/>
                    <a:pt x="49" y="140"/>
                    <a:pt x="50" y="140"/>
                  </a:cubicBezTo>
                  <a:cubicBezTo>
                    <a:pt x="51" y="140"/>
                    <a:pt x="52" y="140"/>
                    <a:pt x="53" y="141"/>
                  </a:cubicBezTo>
                  <a:cubicBezTo>
                    <a:pt x="53" y="141"/>
                    <a:pt x="53" y="141"/>
                    <a:pt x="53" y="141"/>
                  </a:cubicBezTo>
                  <a:cubicBezTo>
                    <a:pt x="54" y="139"/>
                    <a:pt x="54" y="139"/>
                    <a:pt x="54" y="139"/>
                  </a:cubicBezTo>
                  <a:cubicBezTo>
                    <a:pt x="54" y="138"/>
                    <a:pt x="56" y="136"/>
                    <a:pt x="57" y="135"/>
                  </a:cubicBezTo>
                  <a:cubicBezTo>
                    <a:pt x="58" y="134"/>
                    <a:pt x="58" y="133"/>
                    <a:pt x="58" y="133"/>
                  </a:cubicBezTo>
                  <a:cubicBezTo>
                    <a:pt x="59" y="132"/>
                    <a:pt x="59" y="132"/>
                    <a:pt x="59" y="132"/>
                  </a:cubicBezTo>
                  <a:cubicBezTo>
                    <a:pt x="60" y="130"/>
                    <a:pt x="61" y="129"/>
                    <a:pt x="63" y="128"/>
                  </a:cubicBezTo>
                  <a:cubicBezTo>
                    <a:pt x="65" y="127"/>
                    <a:pt x="67" y="127"/>
                    <a:pt x="70" y="127"/>
                  </a:cubicBezTo>
                  <a:cubicBezTo>
                    <a:pt x="70" y="127"/>
                    <a:pt x="71" y="127"/>
                    <a:pt x="72" y="127"/>
                  </a:cubicBezTo>
                  <a:cubicBezTo>
                    <a:pt x="87" y="126"/>
                    <a:pt x="87" y="126"/>
                    <a:pt x="87" y="126"/>
                  </a:cubicBezTo>
                  <a:cubicBezTo>
                    <a:pt x="87" y="125"/>
                    <a:pt x="87" y="125"/>
                    <a:pt x="87" y="125"/>
                  </a:cubicBezTo>
                  <a:cubicBezTo>
                    <a:pt x="88" y="125"/>
                    <a:pt x="88" y="125"/>
                    <a:pt x="88" y="125"/>
                  </a:cubicBezTo>
                  <a:cubicBezTo>
                    <a:pt x="89" y="124"/>
                    <a:pt x="89" y="124"/>
                    <a:pt x="89" y="123"/>
                  </a:cubicBezTo>
                  <a:cubicBezTo>
                    <a:pt x="92" y="120"/>
                    <a:pt x="92" y="120"/>
                    <a:pt x="92" y="120"/>
                  </a:cubicBezTo>
                  <a:cubicBezTo>
                    <a:pt x="92" y="119"/>
                    <a:pt x="92" y="119"/>
                    <a:pt x="92" y="119"/>
                  </a:cubicBezTo>
                  <a:cubicBezTo>
                    <a:pt x="93" y="118"/>
                    <a:pt x="93" y="118"/>
                    <a:pt x="93" y="118"/>
                  </a:cubicBezTo>
                  <a:cubicBezTo>
                    <a:pt x="93" y="118"/>
                    <a:pt x="93" y="118"/>
                    <a:pt x="93" y="118"/>
                  </a:cubicBezTo>
                  <a:cubicBezTo>
                    <a:pt x="93" y="117"/>
                    <a:pt x="93" y="117"/>
                    <a:pt x="93" y="117"/>
                  </a:cubicBezTo>
                  <a:cubicBezTo>
                    <a:pt x="91" y="115"/>
                    <a:pt x="89" y="113"/>
                    <a:pt x="88" y="112"/>
                  </a:cubicBezTo>
                  <a:cubicBezTo>
                    <a:pt x="85" y="110"/>
                    <a:pt x="83" y="108"/>
                    <a:pt x="81" y="106"/>
                  </a:cubicBezTo>
                  <a:cubicBezTo>
                    <a:pt x="80" y="105"/>
                    <a:pt x="76" y="105"/>
                    <a:pt x="74" y="104"/>
                  </a:cubicBezTo>
                  <a:cubicBezTo>
                    <a:pt x="71" y="103"/>
                    <a:pt x="73" y="101"/>
                    <a:pt x="73" y="98"/>
                  </a:cubicBezTo>
                  <a:cubicBezTo>
                    <a:pt x="75" y="99"/>
                    <a:pt x="75" y="100"/>
                    <a:pt x="76" y="101"/>
                  </a:cubicBezTo>
                  <a:cubicBezTo>
                    <a:pt x="76" y="99"/>
                    <a:pt x="75" y="98"/>
                    <a:pt x="76" y="96"/>
                  </a:cubicBezTo>
                  <a:cubicBezTo>
                    <a:pt x="76" y="96"/>
                    <a:pt x="77" y="94"/>
                    <a:pt x="77" y="93"/>
                  </a:cubicBezTo>
                  <a:cubicBezTo>
                    <a:pt x="76" y="91"/>
                    <a:pt x="75" y="92"/>
                    <a:pt x="75" y="90"/>
                  </a:cubicBezTo>
                  <a:cubicBezTo>
                    <a:pt x="75" y="86"/>
                    <a:pt x="90" y="83"/>
                    <a:pt x="94" y="81"/>
                  </a:cubicBezTo>
                  <a:cubicBezTo>
                    <a:pt x="102" y="78"/>
                    <a:pt x="107" y="71"/>
                    <a:pt x="114" y="66"/>
                  </a:cubicBezTo>
                  <a:cubicBezTo>
                    <a:pt x="118" y="64"/>
                    <a:pt x="127" y="60"/>
                    <a:pt x="128" y="56"/>
                  </a:cubicBezTo>
                  <a:cubicBezTo>
                    <a:pt x="128" y="55"/>
                    <a:pt x="127" y="54"/>
                    <a:pt x="127" y="53"/>
                  </a:cubicBezTo>
                  <a:cubicBezTo>
                    <a:pt x="127" y="52"/>
                    <a:pt x="127" y="50"/>
                    <a:pt x="127" y="49"/>
                  </a:cubicBezTo>
                  <a:cubicBezTo>
                    <a:pt x="128" y="47"/>
                    <a:pt x="128" y="46"/>
                    <a:pt x="129" y="45"/>
                  </a:cubicBezTo>
                  <a:cubicBezTo>
                    <a:pt x="129" y="44"/>
                    <a:pt x="128" y="43"/>
                    <a:pt x="128" y="43"/>
                  </a:cubicBezTo>
                  <a:cubicBezTo>
                    <a:pt x="129" y="34"/>
                    <a:pt x="132" y="27"/>
                    <a:pt x="139" y="21"/>
                  </a:cubicBezTo>
                  <a:cubicBezTo>
                    <a:pt x="140" y="20"/>
                    <a:pt x="143" y="17"/>
                    <a:pt x="144" y="17"/>
                  </a:cubicBezTo>
                  <a:cubicBezTo>
                    <a:pt x="144" y="17"/>
                    <a:pt x="145" y="17"/>
                    <a:pt x="145" y="17"/>
                  </a:cubicBezTo>
                  <a:cubicBezTo>
                    <a:pt x="145" y="17"/>
                    <a:pt x="145" y="17"/>
                    <a:pt x="146" y="17"/>
                  </a:cubicBezTo>
                  <a:cubicBezTo>
                    <a:pt x="145" y="16"/>
                    <a:pt x="144" y="15"/>
                    <a:pt x="144" y="14"/>
                  </a:cubicBezTo>
                  <a:cubicBezTo>
                    <a:pt x="144" y="14"/>
                    <a:pt x="144" y="14"/>
                    <a:pt x="144" y="14"/>
                  </a:cubicBezTo>
                  <a:cubicBezTo>
                    <a:pt x="142" y="12"/>
                    <a:pt x="140" y="10"/>
                    <a:pt x="138" y="8"/>
                  </a:cubicBezTo>
                  <a:cubicBezTo>
                    <a:pt x="136" y="7"/>
                    <a:pt x="136" y="7"/>
                    <a:pt x="136" y="7"/>
                  </a:cubicBezTo>
                  <a:cubicBezTo>
                    <a:pt x="137" y="6"/>
                    <a:pt x="137" y="6"/>
                    <a:pt x="137" y="6"/>
                  </a:cubicBezTo>
                  <a:cubicBezTo>
                    <a:pt x="137" y="5"/>
                    <a:pt x="137" y="4"/>
                    <a:pt x="137" y="4"/>
                  </a:cubicBezTo>
                  <a:cubicBezTo>
                    <a:pt x="137" y="3"/>
                    <a:pt x="137" y="2"/>
                    <a:pt x="136" y="2"/>
                  </a:cubicBezTo>
                  <a:cubicBezTo>
                    <a:pt x="136" y="2"/>
                    <a:pt x="135" y="1"/>
                    <a:pt x="134" y="0"/>
                  </a:cubicBezTo>
                  <a:cubicBezTo>
                    <a:pt x="133" y="0"/>
                    <a:pt x="133" y="0"/>
                    <a:pt x="1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5" name="Freeform 1564">
              <a:extLst>
                <a:ext uri="{FF2B5EF4-FFF2-40B4-BE49-F238E27FC236}">
                  <a16:creationId xmlns:a16="http://schemas.microsoft.com/office/drawing/2014/main" id="{F07E57F4-5FF1-4A5C-AA17-7D86D834C14D}"/>
                </a:ext>
              </a:extLst>
            </p:cNvPr>
            <p:cNvSpPr>
              <a:spLocks noEditPoints="1"/>
            </p:cNvSpPr>
            <p:nvPr/>
          </p:nvSpPr>
          <p:spPr bwMode="auto">
            <a:xfrm>
              <a:off x="4812273" y="1885984"/>
              <a:ext cx="257728" cy="361089"/>
            </a:xfrm>
            <a:custGeom>
              <a:avLst/>
              <a:gdLst>
                <a:gd name="T0" fmla="*/ 54 w 81"/>
                <a:gd name="T1" fmla="*/ 98 h 114"/>
                <a:gd name="T2" fmla="*/ 54 w 81"/>
                <a:gd name="T3" fmla="*/ 0 h 114"/>
                <a:gd name="T4" fmla="*/ 52 w 81"/>
                <a:gd name="T5" fmla="*/ 2 h 114"/>
                <a:gd name="T6" fmla="*/ 50 w 81"/>
                <a:gd name="T7" fmla="*/ 5 h 114"/>
                <a:gd name="T8" fmla="*/ 44 w 81"/>
                <a:gd name="T9" fmla="*/ 8 h 114"/>
                <a:gd name="T10" fmla="*/ 27 w 81"/>
                <a:gd name="T11" fmla="*/ 10 h 114"/>
                <a:gd name="T12" fmla="*/ 21 w 81"/>
                <a:gd name="T13" fmla="*/ 12 h 114"/>
                <a:gd name="T14" fmla="*/ 19 w 81"/>
                <a:gd name="T15" fmla="*/ 15 h 114"/>
                <a:gd name="T16" fmla="*/ 16 w 81"/>
                <a:gd name="T17" fmla="*/ 19 h 114"/>
                <a:gd name="T18" fmla="*/ 15 w 81"/>
                <a:gd name="T19" fmla="*/ 20 h 114"/>
                <a:gd name="T20" fmla="*/ 14 w 81"/>
                <a:gd name="T21" fmla="*/ 24 h 114"/>
                <a:gd name="T22" fmla="*/ 10 w 81"/>
                <a:gd name="T23" fmla="*/ 22 h 114"/>
                <a:gd name="T24" fmla="*/ 10 w 81"/>
                <a:gd name="T25" fmla="*/ 21 h 114"/>
                <a:gd name="T26" fmla="*/ 11 w 81"/>
                <a:gd name="T27" fmla="*/ 25 h 114"/>
                <a:gd name="T28" fmla="*/ 17 w 81"/>
                <a:gd name="T29" fmla="*/ 34 h 114"/>
                <a:gd name="T30" fmla="*/ 13 w 81"/>
                <a:gd name="T31" fmla="*/ 37 h 114"/>
                <a:gd name="T32" fmla="*/ 14 w 81"/>
                <a:gd name="T33" fmla="*/ 37 h 114"/>
                <a:gd name="T34" fmla="*/ 17 w 81"/>
                <a:gd name="T35" fmla="*/ 37 h 114"/>
                <a:gd name="T36" fmla="*/ 17 w 81"/>
                <a:gd name="T37" fmla="*/ 40 h 114"/>
                <a:gd name="T38" fmla="*/ 16 w 81"/>
                <a:gd name="T39" fmla="*/ 47 h 114"/>
                <a:gd name="T40" fmla="*/ 15 w 81"/>
                <a:gd name="T41" fmla="*/ 44 h 114"/>
                <a:gd name="T42" fmla="*/ 14 w 81"/>
                <a:gd name="T43" fmla="*/ 43 h 114"/>
                <a:gd name="T44" fmla="*/ 12 w 81"/>
                <a:gd name="T45" fmla="*/ 43 h 114"/>
                <a:gd name="T46" fmla="*/ 9 w 81"/>
                <a:gd name="T47" fmla="*/ 40 h 114"/>
                <a:gd name="T48" fmla="*/ 6 w 81"/>
                <a:gd name="T49" fmla="*/ 41 h 114"/>
                <a:gd name="T50" fmla="*/ 3 w 81"/>
                <a:gd name="T51" fmla="*/ 47 h 114"/>
                <a:gd name="T52" fmla="*/ 1 w 81"/>
                <a:gd name="T53" fmla="*/ 46 h 114"/>
                <a:gd name="T54" fmla="*/ 0 w 81"/>
                <a:gd name="T55" fmla="*/ 47 h 114"/>
                <a:gd name="T56" fmla="*/ 7 w 81"/>
                <a:gd name="T57" fmla="*/ 48 h 114"/>
                <a:gd name="T58" fmla="*/ 8 w 81"/>
                <a:gd name="T59" fmla="*/ 56 h 114"/>
                <a:gd name="T60" fmla="*/ 17 w 81"/>
                <a:gd name="T61" fmla="*/ 66 h 114"/>
                <a:gd name="T62" fmla="*/ 11 w 81"/>
                <a:gd name="T63" fmla="*/ 71 h 114"/>
                <a:gd name="T64" fmla="*/ 12 w 81"/>
                <a:gd name="T65" fmla="*/ 71 h 114"/>
                <a:gd name="T66" fmla="*/ 15 w 81"/>
                <a:gd name="T67" fmla="*/ 74 h 114"/>
                <a:gd name="T68" fmla="*/ 8 w 81"/>
                <a:gd name="T69" fmla="*/ 79 h 114"/>
                <a:gd name="T70" fmla="*/ 4 w 81"/>
                <a:gd name="T71" fmla="*/ 88 h 114"/>
                <a:gd name="T72" fmla="*/ 3 w 81"/>
                <a:gd name="T73" fmla="*/ 92 h 114"/>
                <a:gd name="T74" fmla="*/ 7 w 81"/>
                <a:gd name="T75" fmla="*/ 100 h 114"/>
                <a:gd name="T76" fmla="*/ 9 w 81"/>
                <a:gd name="T77" fmla="*/ 100 h 114"/>
                <a:gd name="T78" fmla="*/ 12 w 81"/>
                <a:gd name="T79" fmla="*/ 100 h 114"/>
                <a:gd name="T80" fmla="*/ 6 w 81"/>
                <a:gd name="T81" fmla="*/ 102 h 114"/>
                <a:gd name="T82" fmla="*/ 11 w 81"/>
                <a:gd name="T83" fmla="*/ 105 h 114"/>
                <a:gd name="T84" fmla="*/ 9 w 81"/>
                <a:gd name="T85" fmla="*/ 105 h 114"/>
                <a:gd name="T86" fmla="*/ 3 w 81"/>
                <a:gd name="T87" fmla="*/ 104 h 114"/>
                <a:gd name="T88" fmla="*/ 5 w 81"/>
                <a:gd name="T89" fmla="*/ 106 h 114"/>
                <a:gd name="T90" fmla="*/ 19 w 81"/>
                <a:gd name="T91" fmla="*/ 104 h 114"/>
                <a:gd name="T92" fmla="*/ 28 w 81"/>
                <a:gd name="T93" fmla="*/ 102 h 114"/>
                <a:gd name="T94" fmla="*/ 29 w 81"/>
                <a:gd name="T95" fmla="*/ 109 h 114"/>
                <a:gd name="T96" fmla="*/ 32 w 81"/>
                <a:gd name="T97" fmla="*/ 105 h 114"/>
                <a:gd name="T98" fmla="*/ 33 w 81"/>
                <a:gd name="T99" fmla="*/ 98 h 114"/>
                <a:gd name="T100" fmla="*/ 38 w 81"/>
                <a:gd name="T101" fmla="*/ 100 h 114"/>
                <a:gd name="T102" fmla="*/ 45 w 81"/>
                <a:gd name="T103" fmla="*/ 93 h 114"/>
                <a:gd name="T104" fmla="*/ 53 w 81"/>
                <a:gd name="T105" fmla="*/ 99 h 114"/>
                <a:gd name="T106" fmla="*/ 54 w 81"/>
                <a:gd name="T107" fmla="*/ 98 h 114"/>
                <a:gd name="T108" fmla="*/ 59 w 81"/>
                <a:gd name="T109" fmla="*/ 93 h 114"/>
                <a:gd name="T110" fmla="*/ 66 w 81"/>
                <a:gd name="T111" fmla="*/ 91 h 114"/>
                <a:gd name="T112" fmla="*/ 68 w 81"/>
                <a:gd name="T113" fmla="*/ 92 h 114"/>
                <a:gd name="T114" fmla="*/ 81 w 81"/>
                <a:gd name="T115" fmla="*/ 66 h 114"/>
                <a:gd name="T116" fmla="*/ 76 w 81"/>
                <a:gd name="T117" fmla="*/ 67 h 114"/>
                <a:gd name="T118" fmla="*/ 73 w 81"/>
                <a:gd name="T119" fmla="*/ 32 h 114"/>
                <a:gd name="T120" fmla="*/ 54 w 81"/>
                <a:gd name="T1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 h="114">
                  <a:moveTo>
                    <a:pt x="54" y="98"/>
                  </a:moveTo>
                  <a:cubicBezTo>
                    <a:pt x="54" y="98"/>
                    <a:pt x="54" y="98"/>
                    <a:pt x="54" y="98"/>
                  </a:cubicBezTo>
                  <a:cubicBezTo>
                    <a:pt x="54" y="98"/>
                    <a:pt x="54" y="98"/>
                    <a:pt x="54" y="98"/>
                  </a:cubicBezTo>
                  <a:moveTo>
                    <a:pt x="54" y="0"/>
                  </a:moveTo>
                  <a:cubicBezTo>
                    <a:pt x="54" y="0"/>
                    <a:pt x="54" y="0"/>
                    <a:pt x="54" y="0"/>
                  </a:cubicBezTo>
                  <a:cubicBezTo>
                    <a:pt x="53" y="1"/>
                    <a:pt x="53" y="2"/>
                    <a:pt x="52" y="2"/>
                  </a:cubicBezTo>
                  <a:cubicBezTo>
                    <a:pt x="50" y="5"/>
                    <a:pt x="50" y="5"/>
                    <a:pt x="50" y="5"/>
                  </a:cubicBezTo>
                  <a:cubicBezTo>
                    <a:pt x="50" y="5"/>
                    <a:pt x="50" y="5"/>
                    <a:pt x="50" y="5"/>
                  </a:cubicBezTo>
                  <a:cubicBezTo>
                    <a:pt x="49" y="6"/>
                    <a:pt x="48" y="7"/>
                    <a:pt x="47" y="7"/>
                  </a:cubicBezTo>
                  <a:cubicBezTo>
                    <a:pt x="46" y="8"/>
                    <a:pt x="45" y="8"/>
                    <a:pt x="44" y="8"/>
                  </a:cubicBezTo>
                  <a:cubicBezTo>
                    <a:pt x="29" y="10"/>
                    <a:pt x="29" y="10"/>
                    <a:pt x="29" y="10"/>
                  </a:cubicBezTo>
                  <a:cubicBezTo>
                    <a:pt x="29" y="10"/>
                    <a:pt x="28" y="10"/>
                    <a:pt x="27" y="10"/>
                  </a:cubicBezTo>
                  <a:cubicBezTo>
                    <a:pt x="25" y="10"/>
                    <a:pt x="23" y="10"/>
                    <a:pt x="22" y="10"/>
                  </a:cubicBezTo>
                  <a:cubicBezTo>
                    <a:pt x="22" y="10"/>
                    <a:pt x="21" y="11"/>
                    <a:pt x="21" y="12"/>
                  </a:cubicBezTo>
                  <a:cubicBezTo>
                    <a:pt x="21" y="12"/>
                    <a:pt x="20" y="13"/>
                    <a:pt x="20" y="13"/>
                  </a:cubicBezTo>
                  <a:cubicBezTo>
                    <a:pt x="20" y="14"/>
                    <a:pt x="19" y="14"/>
                    <a:pt x="19" y="15"/>
                  </a:cubicBezTo>
                  <a:cubicBezTo>
                    <a:pt x="18" y="15"/>
                    <a:pt x="18" y="15"/>
                    <a:pt x="18" y="15"/>
                  </a:cubicBezTo>
                  <a:cubicBezTo>
                    <a:pt x="17" y="16"/>
                    <a:pt x="16" y="18"/>
                    <a:pt x="16" y="19"/>
                  </a:cubicBezTo>
                  <a:cubicBezTo>
                    <a:pt x="15" y="20"/>
                    <a:pt x="15" y="20"/>
                    <a:pt x="15" y="20"/>
                  </a:cubicBezTo>
                  <a:cubicBezTo>
                    <a:pt x="15" y="20"/>
                    <a:pt x="15" y="20"/>
                    <a:pt x="15" y="20"/>
                  </a:cubicBezTo>
                  <a:cubicBezTo>
                    <a:pt x="15" y="21"/>
                    <a:pt x="14" y="21"/>
                    <a:pt x="13" y="21"/>
                  </a:cubicBezTo>
                  <a:cubicBezTo>
                    <a:pt x="14" y="22"/>
                    <a:pt x="14" y="23"/>
                    <a:pt x="14" y="24"/>
                  </a:cubicBezTo>
                  <a:cubicBezTo>
                    <a:pt x="13" y="24"/>
                    <a:pt x="12" y="23"/>
                    <a:pt x="11" y="22"/>
                  </a:cubicBezTo>
                  <a:cubicBezTo>
                    <a:pt x="10" y="22"/>
                    <a:pt x="10" y="22"/>
                    <a:pt x="10" y="22"/>
                  </a:cubicBezTo>
                  <a:cubicBezTo>
                    <a:pt x="11" y="21"/>
                    <a:pt x="11" y="21"/>
                    <a:pt x="11" y="21"/>
                  </a:cubicBezTo>
                  <a:cubicBezTo>
                    <a:pt x="10" y="21"/>
                    <a:pt x="10" y="21"/>
                    <a:pt x="10" y="21"/>
                  </a:cubicBezTo>
                  <a:cubicBezTo>
                    <a:pt x="10" y="21"/>
                    <a:pt x="9" y="21"/>
                    <a:pt x="9" y="22"/>
                  </a:cubicBezTo>
                  <a:cubicBezTo>
                    <a:pt x="9" y="23"/>
                    <a:pt x="11" y="24"/>
                    <a:pt x="11" y="25"/>
                  </a:cubicBezTo>
                  <a:cubicBezTo>
                    <a:pt x="13" y="26"/>
                    <a:pt x="13" y="29"/>
                    <a:pt x="14" y="30"/>
                  </a:cubicBezTo>
                  <a:cubicBezTo>
                    <a:pt x="15" y="32"/>
                    <a:pt x="16" y="33"/>
                    <a:pt x="17" y="34"/>
                  </a:cubicBezTo>
                  <a:cubicBezTo>
                    <a:pt x="17" y="34"/>
                    <a:pt x="17" y="34"/>
                    <a:pt x="17" y="34"/>
                  </a:cubicBezTo>
                  <a:cubicBezTo>
                    <a:pt x="16" y="34"/>
                    <a:pt x="12" y="36"/>
                    <a:pt x="13" y="37"/>
                  </a:cubicBezTo>
                  <a:cubicBezTo>
                    <a:pt x="13" y="37"/>
                    <a:pt x="13" y="37"/>
                    <a:pt x="13" y="37"/>
                  </a:cubicBezTo>
                  <a:cubicBezTo>
                    <a:pt x="13" y="37"/>
                    <a:pt x="13" y="37"/>
                    <a:pt x="14" y="37"/>
                  </a:cubicBezTo>
                  <a:cubicBezTo>
                    <a:pt x="15" y="37"/>
                    <a:pt x="15" y="37"/>
                    <a:pt x="16" y="37"/>
                  </a:cubicBezTo>
                  <a:cubicBezTo>
                    <a:pt x="16" y="37"/>
                    <a:pt x="17" y="37"/>
                    <a:pt x="17" y="37"/>
                  </a:cubicBezTo>
                  <a:cubicBezTo>
                    <a:pt x="16" y="38"/>
                    <a:pt x="15" y="39"/>
                    <a:pt x="15" y="40"/>
                  </a:cubicBezTo>
                  <a:cubicBezTo>
                    <a:pt x="15" y="40"/>
                    <a:pt x="16" y="40"/>
                    <a:pt x="17" y="40"/>
                  </a:cubicBezTo>
                  <a:cubicBezTo>
                    <a:pt x="15" y="42"/>
                    <a:pt x="19" y="43"/>
                    <a:pt x="20" y="43"/>
                  </a:cubicBezTo>
                  <a:cubicBezTo>
                    <a:pt x="18" y="44"/>
                    <a:pt x="17" y="44"/>
                    <a:pt x="16" y="47"/>
                  </a:cubicBezTo>
                  <a:cubicBezTo>
                    <a:pt x="16" y="46"/>
                    <a:pt x="17" y="44"/>
                    <a:pt x="16" y="44"/>
                  </a:cubicBezTo>
                  <a:cubicBezTo>
                    <a:pt x="16" y="44"/>
                    <a:pt x="15" y="44"/>
                    <a:pt x="15" y="44"/>
                  </a:cubicBezTo>
                  <a:cubicBezTo>
                    <a:pt x="15" y="43"/>
                    <a:pt x="15" y="42"/>
                    <a:pt x="15" y="42"/>
                  </a:cubicBezTo>
                  <a:cubicBezTo>
                    <a:pt x="14" y="42"/>
                    <a:pt x="14" y="42"/>
                    <a:pt x="14" y="43"/>
                  </a:cubicBezTo>
                  <a:cubicBezTo>
                    <a:pt x="13" y="42"/>
                    <a:pt x="13" y="42"/>
                    <a:pt x="13" y="41"/>
                  </a:cubicBezTo>
                  <a:cubicBezTo>
                    <a:pt x="13" y="42"/>
                    <a:pt x="12" y="43"/>
                    <a:pt x="12" y="43"/>
                  </a:cubicBezTo>
                  <a:cubicBezTo>
                    <a:pt x="12" y="42"/>
                    <a:pt x="11" y="41"/>
                    <a:pt x="10" y="40"/>
                  </a:cubicBezTo>
                  <a:cubicBezTo>
                    <a:pt x="10" y="40"/>
                    <a:pt x="9" y="40"/>
                    <a:pt x="9" y="40"/>
                  </a:cubicBezTo>
                  <a:cubicBezTo>
                    <a:pt x="8" y="40"/>
                    <a:pt x="8" y="43"/>
                    <a:pt x="8" y="45"/>
                  </a:cubicBezTo>
                  <a:cubicBezTo>
                    <a:pt x="8" y="44"/>
                    <a:pt x="7" y="41"/>
                    <a:pt x="6" y="41"/>
                  </a:cubicBezTo>
                  <a:cubicBezTo>
                    <a:pt x="6" y="41"/>
                    <a:pt x="6" y="41"/>
                    <a:pt x="6" y="41"/>
                  </a:cubicBezTo>
                  <a:cubicBezTo>
                    <a:pt x="3" y="41"/>
                    <a:pt x="5" y="45"/>
                    <a:pt x="3" y="47"/>
                  </a:cubicBezTo>
                  <a:cubicBezTo>
                    <a:pt x="3" y="45"/>
                    <a:pt x="4" y="43"/>
                    <a:pt x="4" y="42"/>
                  </a:cubicBezTo>
                  <a:cubicBezTo>
                    <a:pt x="3" y="46"/>
                    <a:pt x="1" y="42"/>
                    <a:pt x="1" y="46"/>
                  </a:cubicBezTo>
                  <a:cubicBezTo>
                    <a:pt x="0" y="45"/>
                    <a:pt x="0" y="45"/>
                    <a:pt x="0" y="45"/>
                  </a:cubicBezTo>
                  <a:cubicBezTo>
                    <a:pt x="0" y="46"/>
                    <a:pt x="0" y="47"/>
                    <a:pt x="0" y="47"/>
                  </a:cubicBezTo>
                  <a:cubicBezTo>
                    <a:pt x="2" y="48"/>
                    <a:pt x="5" y="47"/>
                    <a:pt x="7" y="49"/>
                  </a:cubicBezTo>
                  <a:cubicBezTo>
                    <a:pt x="7" y="49"/>
                    <a:pt x="7" y="48"/>
                    <a:pt x="7" y="48"/>
                  </a:cubicBezTo>
                  <a:cubicBezTo>
                    <a:pt x="8" y="48"/>
                    <a:pt x="8" y="49"/>
                    <a:pt x="8" y="51"/>
                  </a:cubicBezTo>
                  <a:cubicBezTo>
                    <a:pt x="8" y="53"/>
                    <a:pt x="8" y="54"/>
                    <a:pt x="8" y="56"/>
                  </a:cubicBezTo>
                  <a:cubicBezTo>
                    <a:pt x="9" y="58"/>
                    <a:pt x="11" y="63"/>
                    <a:pt x="8" y="64"/>
                  </a:cubicBezTo>
                  <a:cubicBezTo>
                    <a:pt x="11" y="65"/>
                    <a:pt x="14" y="66"/>
                    <a:pt x="17" y="66"/>
                  </a:cubicBezTo>
                  <a:cubicBezTo>
                    <a:pt x="16" y="67"/>
                    <a:pt x="11" y="69"/>
                    <a:pt x="11" y="70"/>
                  </a:cubicBezTo>
                  <a:cubicBezTo>
                    <a:pt x="11" y="71"/>
                    <a:pt x="11" y="71"/>
                    <a:pt x="11" y="71"/>
                  </a:cubicBezTo>
                  <a:cubicBezTo>
                    <a:pt x="11" y="71"/>
                    <a:pt x="12" y="71"/>
                    <a:pt x="12" y="71"/>
                  </a:cubicBezTo>
                  <a:cubicBezTo>
                    <a:pt x="12" y="71"/>
                    <a:pt x="12" y="71"/>
                    <a:pt x="12" y="71"/>
                  </a:cubicBezTo>
                  <a:cubicBezTo>
                    <a:pt x="12" y="71"/>
                    <a:pt x="12" y="71"/>
                    <a:pt x="12" y="71"/>
                  </a:cubicBezTo>
                  <a:cubicBezTo>
                    <a:pt x="12" y="71"/>
                    <a:pt x="15" y="74"/>
                    <a:pt x="15" y="74"/>
                  </a:cubicBezTo>
                  <a:cubicBezTo>
                    <a:pt x="15" y="74"/>
                    <a:pt x="15" y="74"/>
                    <a:pt x="14" y="74"/>
                  </a:cubicBezTo>
                  <a:cubicBezTo>
                    <a:pt x="12" y="74"/>
                    <a:pt x="7" y="77"/>
                    <a:pt x="8" y="79"/>
                  </a:cubicBezTo>
                  <a:cubicBezTo>
                    <a:pt x="8" y="79"/>
                    <a:pt x="11" y="79"/>
                    <a:pt x="12" y="80"/>
                  </a:cubicBezTo>
                  <a:cubicBezTo>
                    <a:pt x="9" y="81"/>
                    <a:pt x="5" y="84"/>
                    <a:pt x="4" y="88"/>
                  </a:cubicBezTo>
                  <a:cubicBezTo>
                    <a:pt x="4" y="90"/>
                    <a:pt x="6" y="92"/>
                    <a:pt x="7" y="94"/>
                  </a:cubicBezTo>
                  <a:cubicBezTo>
                    <a:pt x="6" y="93"/>
                    <a:pt x="4" y="92"/>
                    <a:pt x="3" y="92"/>
                  </a:cubicBezTo>
                  <a:cubicBezTo>
                    <a:pt x="3" y="94"/>
                    <a:pt x="4" y="96"/>
                    <a:pt x="5" y="97"/>
                  </a:cubicBezTo>
                  <a:cubicBezTo>
                    <a:pt x="6" y="101"/>
                    <a:pt x="5" y="99"/>
                    <a:pt x="7" y="100"/>
                  </a:cubicBezTo>
                  <a:cubicBezTo>
                    <a:pt x="7" y="100"/>
                    <a:pt x="7" y="100"/>
                    <a:pt x="8" y="100"/>
                  </a:cubicBezTo>
                  <a:cubicBezTo>
                    <a:pt x="8" y="100"/>
                    <a:pt x="9" y="100"/>
                    <a:pt x="9" y="100"/>
                  </a:cubicBezTo>
                  <a:cubicBezTo>
                    <a:pt x="10" y="99"/>
                    <a:pt x="10" y="99"/>
                    <a:pt x="10" y="99"/>
                  </a:cubicBezTo>
                  <a:cubicBezTo>
                    <a:pt x="11" y="99"/>
                    <a:pt x="11" y="99"/>
                    <a:pt x="12" y="100"/>
                  </a:cubicBezTo>
                  <a:cubicBezTo>
                    <a:pt x="11" y="100"/>
                    <a:pt x="10" y="100"/>
                    <a:pt x="9" y="101"/>
                  </a:cubicBezTo>
                  <a:cubicBezTo>
                    <a:pt x="9" y="102"/>
                    <a:pt x="7" y="101"/>
                    <a:pt x="6" y="102"/>
                  </a:cubicBezTo>
                  <a:cubicBezTo>
                    <a:pt x="6" y="102"/>
                    <a:pt x="6" y="102"/>
                    <a:pt x="6" y="102"/>
                  </a:cubicBezTo>
                  <a:cubicBezTo>
                    <a:pt x="8" y="102"/>
                    <a:pt x="10" y="103"/>
                    <a:pt x="11" y="105"/>
                  </a:cubicBezTo>
                  <a:cubicBezTo>
                    <a:pt x="10" y="105"/>
                    <a:pt x="10" y="105"/>
                    <a:pt x="10" y="105"/>
                  </a:cubicBezTo>
                  <a:cubicBezTo>
                    <a:pt x="9" y="105"/>
                    <a:pt x="9" y="105"/>
                    <a:pt x="9" y="105"/>
                  </a:cubicBezTo>
                  <a:cubicBezTo>
                    <a:pt x="7" y="106"/>
                    <a:pt x="7" y="106"/>
                    <a:pt x="7" y="106"/>
                  </a:cubicBezTo>
                  <a:cubicBezTo>
                    <a:pt x="6" y="106"/>
                    <a:pt x="5" y="104"/>
                    <a:pt x="3" y="104"/>
                  </a:cubicBezTo>
                  <a:cubicBezTo>
                    <a:pt x="3" y="104"/>
                    <a:pt x="3" y="104"/>
                    <a:pt x="3" y="104"/>
                  </a:cubicBezTo>
                  <a:cubicBezTo>
                    <a:pt x="3" y="106"/>
                    <a:pt x="4" y="105"/>
                    <a:pt x="5" y="106"/>
                  </a:cubicBezTo>
                  <a:cubicBezTo>
                    <a:pt x="7" y="108"/>
                    <a:pt x="8" y="111"/>
                    <a:pt x="9" y="114"/>
                  </a:cubicBezTo>
                  <a:cubicBezTo>
                    <a:pt x="12" y="109"/>
                    <a:pt x="14" y="106"/>
                    <a:pt x="19" y="104"/>
                  </a:cubicBezTo>
                  <a:cubicBezTo>
                    <a:pt x="20" y="104"/>
                    <a:pt x="25" y="101"/>
                    <a:pt x="27" y="101"/>
                  </a:cubicBezTo>
                  <a:cubicBezTo>
                    <a:pt x="28" y="101"/>
                    <a:pt x="28" y="101"/>
                    <a:pt x="28" y="102"/>
                  </a:cubicBezTo>
                  <a:cubicBezTo>
                    <a:pt x="28" y="103"/>
                    <a:pt x="23" y="105"/>
                    <a:pt x="23" y="107"/>
                  </a:cubicBezTo>
                  <a:cubicBezTo>
                    <a:pt x="23" y="107"/>
                    <a:pt x="28" y="109"/>
                    <a:pt x="29" y="109"/>
                  </a:cubicBezTo>
                  <a:cubicBezTo>
                    <a:pt x="29" y="109"/>
                    <a:pt x="29" y="109"/>
                    <a:pt x="29" y="109"/>
                  </a:cubicBezTo>
                  <a:cubicBezTo>
                    <a:pt x="30" y="109"/>
                    <a:pt x="32" y="105"/>
                    <a:pt x="32" y="105"/>
                  </a:cubicBezTo>
                  <a:cubicBezTo>
                    <a:pt x="32" y="104"/>
                    <a:pt x="31" y="104"/>
                    <a:pt x="31" y="104"/>
                  </a:cubicBezTo>
                  <a:cubicBezTo>
                    <a:pt x="30" y="102"/>
                    <a:pt x="31" y="100"/>
                    <a:pt x="33" y="98"/>
                  </a:cubicBezTo>
                  <a:cubicBezTo>
                    <a:pt x="32" y="100"/>
                    <a:pt x="34" y="104"/>
                    <a:pt x="35" y="104"/>
                  </a:cubicBezTo>
                  <a:cubicBezTo>
                    <a:pt x="35" y="103"/>
                    <a:pt x="38" y="102"/>
                    <a:pt x="38" y="100"/>
                  </a:cubicBezTo>
                  <a:cubicBezTo>
                    <a:pt x="39" y="99"/>
                    <a:pt x="38" y="98"/>
                    <a:pt x="38" y="96"/>
                  </a:cubicBezTo>
                  <a:cubicBezTo>
                    <a:pt x="38" y="95"/>
                    <a:pt x="44" y="93"/>
                    <a:pt x="45" y="93"/>
                  </a:cubicBezTo>
                  <a:cubicBezTo>
                    <a:pt x="44" y="95"/>
                    <a:pt x="48" y="96"/>
                    <a:pt x="49" y="97"/>
                  </a:cubicBezTo>
                  <a:cubicBezTo>
                    <a:pt x="51" y="97"/>
                    <a:pt x="52" y="99"/>
                    <a:pt x="53" y="99"/>
                  </a:cubicBezTo>
                  <a:cubicBezTo>
                    <a:pt x="54" y="99"/>
                    <a:pt x="54" y="98"/>
                    <a:pt x="54" y="98"/>
                  </a:cubicBezTo>
                  <a:cubicBezTo>
                    <a:pt x="54" y="98"/>
                    <a:pt x="54" y="98"/>
                    <a:pt x="54" y="98"/>
                  </a:cubicBezTo>
                  <a:cubicBezTo>
                    <a:pt x="54" y="98"/>
                    <a:pt x="54" y="96"/>
                    <a:pt x="54" y="96"/>
                  </a:cubicBezTo>
                  <a:cubicBezTo>
                    <a:pt x="54" y="95"/>
                    <a:pt x="58" y="94"/>
                    <a:pt x="59" y="93"/>
                  </a:cubicBezTo>
                  <a:cubicBezTo>
                    <a:pt x="58" y="92"/>
                    <a:pt x="58" y="90"/>
                    <a:pt x="58" y="89"/>
                  </a:cubicBezTo>
                  <a:cubicBezTo>
                    <a:pt x="60" y="91"/>
                    <a:pt x="64" y="91"/>
                    <a:pt x="66" y="91"/>
                  </a:cubicBezTo>
                  <a:cubicBezTo>
                    <a:pt x="67" y="91"/>
                    <a:pt x="67" y="93"/>
                    <a:pt x="68" y="93"/>
                  </a:cubicBezTo>
                  <a:cubicBezTo>
                    <a:pt x="68" y="93"/>
                    <a:pt x="68" y="93"/>
                    <a:pt x="68" y="92"/>
                  </a:cubicBezTo>
                  <a:cubicBezTo>
                    <a:pt x="69" y="92"/>
                    <a:pt x="72" y="91"/>
                    <a:pt x="73" y="89"/>
                  </a:cubicBezTo>
                  <a:cubicBezTo>
                    <a:pt x="76" y="81"/>
                    <a:pt x="79" y="75"/>
                    <a:pt x="81" y="66"/>
                  </a:cubicBezTo>
                  <a:cubicBezTo>
                    <a:pt x="79" y="66"/>
                    <a:pt x="78" y="67"/>
                    <a:pt x="76" y="67"/>
                  </a:cubicBezTo>
                  <a:cubicBezTo>
                    <a:pt x="76" y="67"/>
                    <a:pt x="76" y="67"/>
                    <a:pt x="76" y="67"/>
                  </a:cubicBezTo>
                  <a:cubicBezTo>
                    <a:pt x="77" y="57"/>
                    <a:pt x="76" y="47"/>
                    <a:pt x="76" y="38"/>
                  </a:cubicBezTo>
                  <a:cubicBezTo>
                    <a:pt x="76" y="36"/>
                    <a:pt x="74" y="34"/>
                    <a:pt x="73" y="32"/>
                  </a:cubicBezTo>
                  <a:cubicBezTo>
                    <a:pt x="70" y="27"/>
                    <a:pt x="68" y="23"/>
                    <a:pt x="65" y="18"/>
                  </a:cubicBezTo>
                  <a:cubicBezTo>
                    <a:pt x="61" y="12"/>
                    <a:pt x="58" y="6"/>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6" name="Freeform 1565">
              <a:extLst>
                <a:ext uri="{FF2B5EF4-FFF2-40B4-BE49-F238E27FC236}">
                  <a16:creationId xmlns:a16="http://schemas.microsoft.com/office/drawing/2014/main" id="{655D67C5-9C60-404F-9E1D-273EB09213EF}"/>
                </a:ext>
              </a:extLst>
            </p:cNvPr>
            <p:cNvSpPr>
              <a:spLocks/>
            </p:cNvSpPr>
            <p:nvPr/>
          </p:nvSpPr>
          <p:spPr bwMode="auto">
            <a:xfrm>
              <a:off x="4727706" y="5534456"/>
              <a:ext cx="170477" cy="79198"/>
            </a:xfrm>
            <a:custGeom>
              <a:avLst/>
              <a:gdLst>
                <a:gd name="T0" fmla="*/ 52 w 54"/>
                <a:gd name="T1" fmla="*/ 0 h 25"/>
                <a:gd name="T2" fmla="*/ 18 w 54"/>
                <a:gd name="T3" fmla="*/ 4 h 25"/>
                <a:gd name="T4" fmla="*/ 7 w 54"/>
                <a:gd name="T5" fmla="*/ 6 h 25"/>
                <a:gd name="T6" fmla="*/ 0 w 54"/>
                <a:gd name="T7" fmla="*/ 12 h 25"/>
                <a:gd name="T8" fmla="*/ 1 w 54"/>
                <a:gd name="T9" fmla="*/ 12 h 25"/>
                <a:gd name="T10" fmla="*/ 1 w 54"/>
                <a:gd name="T11" fmla="*/ 12 h 25"/>
                <a:gd name="T12" fmla="*/ 4 w 54"/>
                <a:gd name="T13" fmla="*/ 13 h 25"/>
                <a:gd name="T14" fmla="*/ 5 w 54"/>
                <a:gd name="T15" fmla="*/ 13 h 25"/>
                <a:gd name="T16" fmla="*/ 5 w 54"/>
                <a:gd name="T17" fmla="*/ 13 h 25"/>
                <a:gd name="T18" fmla="*/ 6 w 54"/>
                <a:gd name="T19" fmla="*/ 15 h 25"/>
                <a:gd name="T20" fmla="*/ 6 w 54"/>
                <a:gd name="T21" fmla="*/ 15 h 25"/>
                <a:gd name="T22" fmla="*/ 7 w 54"/>
                <a:gd name="T23" fmla="*/ 16 h 25"/>
                <a:gd name="T24" fmla="*/ 7 w 54"/>
                <a:gd name="T25" fmla="*/ 18 h 25"/>
                <a:gd name="T26" fmla="*/ 7 w 54"/>
                <a:gd name="T27" fmla="*/ 19 h 25"/>
                <a:gd name="T28" fmla="*/ 6 w 54"/>
                <a:gd name="T29" fmla="*/ 20 h 25"/>
                <a:gd name="T30" fmla="*/ 6 w 54"/>
                <a:gd name="T31" fmla="*/ 20 h 25"/>
                <a:gd name="T32" fmla="*/ 5 w 54"/>
                <a:gd name="T33" fmla="*/ 24 h 25"/>
                <a:gd name="T34" fmla="*/ 5 w 54"/>
                <a:gd name="T35" fmla="*/ 25 h 25"/>
                <a:gd name="T36" fmla="*/ 33 w 54"/>
                <a:gd name="T37" fmla="*/ 14 h 25"/>
                <a:gd name="T38" fmla="*/ 46 w 54"/>
                <a:gd name="T39" fmla="*/ 8 h 25"/>
                <a:gd name="T40" fmla="*/ 53 w 54"/>
                <a:gd name="T41" fmla="*/ 3 h 25"/>
                <a:gd name="T42" fmla="*/ 52 w 54"/>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25">
                  <a:moveTo>
                    <a:pt x="52" y="0"/>
                  </a:moveTo>
                  <a:cubicBezTo>
                    <a:pt x="41" y="1"/>
                    <a:pt x="29" y="3"/>
                    <a:pt x="18" y="4"/>
                  </a:cubicBezTo>
                  <a:cubicBezTo>
                    <a:pt x="14" y="5"/>
                    <a:pt x="11" y="5"/>
                    <a:pt x="7" y="6"/>
                  </a:cubicBezTo>
                  <a:cubicBezTo>
                    <a:pt x="3" y="7"/>
                    <a:pt x="2" y="9"/>
                    <a:pt x="0" y="12"/>
                  </a:cubicBezTo>
                  <a:cubicBezTo>
                    <a:pt x="1" y="12"/>
                    <a:pt x="1" y="12"/>
                    <a:pt x="1" y="12"/>
                  </a:cubicBezTo>
                  <a:cubicBezTo>
                    <a:pt x="1" y="12"/>
                    <a:pt x="1" y="12"/>
                    <a:pt x="1" y="12"/>
                  </a:cubicBezTo>
                  <a:cubicBezTo>
                    <a:pt x="2" y="12"/>
                    <a:pt x="3" y="12"/>
                    <a:pt x="4" y="13"/>
                  </a:cubicBezTo>
                  <a:cubicBezTo>
                    <a:pt x="5" y="13"/>
                    <a:pt x="5" y="13"/>
                    <a:pt x="5" y="13"/>
                  </a:cubicBezTo>
                  <a:cubicBezTo>
                    <a:pt x="5" y="13"/>
                    <a:pt x="5" y="13"/>
                    <a:pt x="5" y="13"/>
                  </a:cubicBezTo>
                  <a:cubicBezTo>
                    <a:pt x="5" y="14"/>
                    <a:pt x="6" y="14"/>
                    <a:pt x="6" y="15"/>
                  </a:cubicBezTo>
                  <a:cubicBezTo>
                    <a:pt x="6" y="15"/>
                    <a:pt x="6" y="15"/>
                    <a:pt x="6" y="15"/>
                  </a:cubicBezTo>
                  <a:cubicBezTo>
                    <a:pt x="7" y="16"/>
                    <a:pt x="7" y="16"/>
                    <a:pt x="7" y="16"/>
                  </a:cubicBezTo>
                  <a:cubicBezTo>
                    <a:pt x="7" y="17"/>
                    <a:pt x="7" y="17"/>
                    <a:pt x="7" y="18"/>
                  </a:cubicBezTo>
                  <a:cubicBezTo>
                    <a:pt x="7" y="19"/>
                    <a:pt x="7" y="19"/>
                    <a:pt x="7" y="19"/>
                  </a:cubicBezTo>
                  <a:cubicBezTo>
                    <a:pt x="7" y="19"/>
                    <a:pt x="6" y="20"/>
                    <a:pt x="6" y="20"/>
                  </a:cubicBezTo>
                  <a:cubicBezTo>
                    <a:pt x="6" y="20"/>
                    <a:pt x="6" y="20"/>
                    <a:pt x="6" y="20"/>
                  </a:cubicBezTo>
                  <a:cubicBezTo>
                    <a:pt x="6" y="21"/>
                    <a:pt x="5" y="23"/>
                    <a:pt x="5" y="24"/>
                  </a:cubicBezTo>
                  <a:cubicBezTo>
                    <a:pt x="5" y="25"/>
                    <a:pt x="5" y="25"/>
                    <a:pt x="5" y="25"/>
                  </a:cubicBezTo>
                  <a:cubicBezTo>
                    <a:pt x="14" y="21"/>
                    <a:pt x="23" y="17"/>
                    <a:pt x="33" y="14"/>
                  </a:cubicBezTo>
                  <a:cubicBezTo>
                    <a:pt x="38" y="13"/>
                    <a:pt x="42" y="10"/>
                    <a:pt x="46" y="8"/>
                  </a:cubicBezTo>
                  <a:cubicBezTo>
                    <a:pt x="48" y="7"/>
                    <a:pt x="52" y="5"/>
                    <a:pt x="53" y="3"/>
                  </a:cubicBezTo>
                  <a:cubicBezTo>
                    <a:pt x="54" y="1"/>
                    <a:pt x="54" y="1"/>
                    <a:pt x="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7" name="Freeform 1566">
              <a:extLst>
                <a:ext uri="{FF2B5EF4-FFF2-40B4-BE49-F238E27FC236}">
                  <a16:creationId xmlns:a16="http://schemas.microsoft.com/office/drawing/2014/main" id="{E24E959B-B405-45A1-BAE1-85A63C3AA1CE}"/>
                </a:ext>
              </a:extLst>
            </p:cNvPr>
            <p:cNvSpPr>
              <a:spLocks/>
            </p:cNvSpPr>
            <p:nvPr/>
          </p:nvSpPr>
          <p:spPr bwMode="auto">
            <a:xfrm>
              <a:off x="4613608" y="5582780"/>
              <a:ext cx="119468" cy="104702"/>
            </a:xfrm>
            <a:custGeom>
              <a:avLst/>
              <a:gdLst>
                <a:gd name="T0" fmla="*/ 34 w 38"/>
                <a:gd name="T1" fmla="*/ 0 h 33"/>
                <a:gd name="T2" fmla="*/ 27 w 38"/>
                <a:gd name="T3" fmla="*/ 3 h 33"/>
                <a:gd name="T4" fmla="*/ 27 w 38"/>
                <a:gd name="T5" fmla="*/ 3 h 33"/>
                <a:gd name="T6" fmla="*/ 27 w 38"/>
                <a:gd name="T7" fmla="*/ 4 h 33"/>
                <a:gd name="T8" fmla="*/ 25 w 38"/>
                <a:gd name="T9" fmla="*/ 10 h 33"/>
                <a:gd name="T10" fmla="*/ 23 w 38"/>
                <a:gd name="T11" fmla="*/ 14 h 33"/>
                <a:gd name="T12" fmla="*/ 22 w 38"/>
                <a:gd name="T13" fmla="*/ 15 h 33"/>
                <a:gd name="T14" fmla="*/ 8 w 38"/>
                <a:gd name="T15" fmla="*/ 13 h 33"/>
                <a:gd name="T16" fmla="*/ 8 w 38"/>
                <a:gd name="T17" fmla="*/ 13 h 33"/>
                <a:gd name="T18" fmla="*/ 5 w 38"/>
                <a:gd name="T19" fmla="*/ 15 h 33"/>
                <a:gd name="T20" fmla="*/ 5 w 38"/>
                <a:gd name="T21" fmla="*/ 21 h 33"/>
                <a:gd name="T22" fmla="*/ 6 w 38"/>
                <a:gd name="T23" fmla="*/ 25 h 33"/>
                <a:gd name="T24" fmla="*/ 7 w 38"/>
                <a:gd name="T25" fmla="*/ 26 h 33"/>
                <a:gd name="T26" fmla="*/ 0 w 38"/>
                <a:gd name="T27" fmla="*/ 33 h 33"/>
                <a:gd name="T28" fmla="*/ 14 w 38"/>
                <a:gd name="T29" fmla="*/ 29 h 33"/>
                <a:gd name="T30" fmla="*/ 23 w 38"/>
                <a:gd name="T31" fmla="*/ 28 h 33"/>
                <a:gd name="T32" fmla="*/ 37 w 38"/>
                <a:gd name="T33" fmla="*/ 13 h 33"/>
                <a:gd name="T34" fmla="*/ 36 w 38"/>
                <a:gd name="T35" fmla="*/ 12 h 33"/>
                <a:gd name="T36" fmla="*/ 36 w 38"/>
                <a:gd name="T37" fmla="*/ 11 h 33"/>
                <a:gd name="T38" fmla="*/ 36 w 38"/>
                <a:gd name="T39" fmla="*/ 10 h 33"/>
                <a:gd name="T40" fmla="*/ 36 w 38"/>
                <a:gd name="T41" fmla="*/ 9 h 33"/>
                <a:gd name="T42" fmla="*/ 37 w 38"/>
                <a:gd name="T43" fmla="*/ 4 h 33"/>
                <a:gd name="T44" fmla="*/ 37 w 38"/>
                <a:gd name="T45" fmla="*/ 3 h 33"/>
                <a:gd name="T46" fmla="*/ 37 w 38"/>
                <a:gd name="T47" fmla="*/ 3 h 33"/>
                <a:gd name="T48" fmla="*/ 38 w 38"/>
                <a:gd name="T49" fmla="*/ 2 h 33"/>
                <a:gd name="T50" fmla="*/ 37 w 38"/>
                <a:gd name="T51" fmla="*/ 2 h 33"/>
                <a:gd name="T52" fmla="*/ 37 w 38"/>
                <a:gd name="T53" fmla="*/ 2 h 33"/>
                <a:gd name="T54" fmla="*/ 36 w 38"/>
                <a:gd name="T55" fmla="*/ 2 h 33"/>
                <a:gd name="T56" fmla="*/ 34 w 38"/>
                <a:gd name="T57" fmla="*/ 1 h 33"/>
                <a:gd name="T58" fmla="*/ 33 w 38"/>
                <a:gd name="T59" fmla="*/ 1 h 33"/>
                <a:gd name="T60" fmla="*/ 34 w 38"/>
                <a:gd name="T6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33">
                  <a:moveTo>
                    <a:pt x="34" y="0"/>
                  </a:moveTo>
                  <a:cubicBezTo>
                    <a:pt x="31" y="1"/>
                    <a:pt x="29" y="2"/>
                    <a:pt x="27" y="3"/>
                  </a:cubicBezTo>
                  <a:cubicBezTo>
                    <a:pt x="27" y="3"/>
                    <a:pt x="27" y="3"/>
                    <a:pt x="27" y="3"/>
                  </a:cubicBezTo>
                  <a:cubicBezTo>
                    <a:pt x="27" y="4"/>
                    <a:pt x="27" y="4"/>
                    <a:pt x="27" y="4"/>
                  </a:cubicBezTo>
                  <a:cubicBezTo>
                    <a:pt x="27" y="5"/>
                    <a:pt x="26" y="7"/>
                    <a:pt x="25" y="10"/>
                  </a:cubicBezTo>
                  <a:cubicBezTo>
                    <a:pt x="24" y="10"/>
                    <a:pt x="23" y="14"/>
                    <a:pt x="23" y="14"/>
                  </a:cubicBezTo>
                  <a:cubicBezTo>
                    <a:pt x="22" y="15"/>
                    <a:pt x="22" y="15"/>
                    <a:pt x="22" y="15"/>
                  </a:cubicBezTo>
                  <a:cubicBezTo>
                    <a:pt x="8" y="13"/>
                    <a:pt x="8" y="13"/>
                    <a:pt x="8" y="13"/>
                  </a:cubicBezTo>
                  <a:cubicBezTo>
                    <a:pt x="8" y="13"/>
                    <a:pt x="8" y="13"/>
                    <a:pt x="8" y="13"/>
                  </a:cubicBezTo>
                  <a:cubicBezTo>
                    <a:pt x="7" y="13"/>
                    <a:pt x="6" y="14"/>
                    <a:pt x="5" y="15"/>
                  </a:cubicBezTo>
                  <a:cubicBezTo>
                    <a:pt x="4" y="17"/>
                    <a:pt x="5" y="19"/>
                    <a:pt x="5" y="21"/>
                  </a:cubicBezTo>
                  <a:cubicBezTo>
                    <a:pt x="5" y="23"/>
                    <a:pt x="6" y="24"/>
                    <a:pt x="6" y="25"/>
                  </a:cubicBezTo>
                  <a:cubicBezTo>
                    <a:pt x="6" y="26"/>
                    <a:pt x="8" y="25"/>
                    <a:pt x="7" y="26"/>
                  </a:cubicBezTo>
                  <a:cubicBezTo>
                    <a:pt x="5" y="28"/>
                    <a:pt x="2" y="31"/>
                    <a:pt x="0" y="33"/>
                  </a:cubicBezTo>
                  <a:cubicBezTo>
                    <a:pt x="5" y="32"/>
                    <a:pt x="10" y="30"/>
                    <a:pt x="14" y="29"/>
                  </a:cubicBezTo>
                  <a:cubicBezTo>
                    <a:pt x="17" y="29"/>
                    <a:pt x="22" y="29"/>
                    <a:pt x="23" y="28"/>
                  </a:cubicBezTo>
                  <a:cubicBezTo>
                    <a:pt x="27" y="24"/>
                    <a:pt x="34" y="18"/>
                    <a:pt x="37" y="13"/>
                  </a:cubicBezTo>
                  <a:cubicBezTo>
                    <a:pt x="36" y="12"/>
                    <a:pt x="36" y="12"/>
                    <a:pt x="36" y="12"/>
                  </a:cubicBezTo>
                  <a:cubicBezTo>
                    <a:pt x="36" y="11"/>
                    <a:pt x="36" y="11"/>
                    <a:pt x="36" y="11"/>
                  </a:cubicBezTo>
                  <a:cubicBezTo>
                    <a:pt x="36" y="10"/>
                    <a:pt x="36" y="10"/>
                    <a:pt x="36" y="10"/>
                  </a:cubicBezTo>
                  <a:cubicBezTo>
                    <a:pt x="36" y="9"/>
                    <a:pt x="36" y="9"/>
                    <a:pt x="36" y="9"/>
                  </a:cubicBezTo>
                  <a:cubicBezTo>
                    <a:pt x="36" y="7"/>
                    <a:pt x="37" y="5"/>
                    <a:pt x="37" y="4"/>
                  </a:cubicBezTo>
                  <a:cubicBezTo>
                    <a:pt x="37" y="3"/>
                    <a:pt x="37" y="3"/>
                    <a:pt x="37" y="3"/>
                  </a:cubicBezTo>
                  <a:cubicBezTo>
                    <a:pt x="37" y="3"/>
                    <a:pt x="37" y="3"/>
                    <a:pt x="37" y="3"/>
                  </a:cubicBezTo>
                  <a:cubicBezTo>
                    <a:pt x="38" y="2"/>
                    <a:pt x="38" y="2"/>
                    <a:pt x="38" y="2"/>
                  </a:cubicBezTo>
                  <a:cubicBezTo>
                    <a:pt x="37" y="2"/>
                    <a:pt x="37" y="2"/>
                    <a:pt x="37" y="2"/>
                  </a:cubicBezTo>
                  <a:cubicBezTo>
                    <a:pt x="38" y="2"/>
                    <a:pt x="37" y="2"/>
                    <a:pt x="37" y="2"/>
                  </a:cubicBezTo>
                  <a:cubicBezTo>
                    <a:pt x="36" y="2"/>
                    <a:pt x="36" y="2"/>
                    <a:pt x="36" y="2"/>
                  </a:cubicBezTo>
                  <a:cubicBezTo>
                    <a:pt x="35" y="2"/>
                    <a:pt x="35" y="1"/>
                    <a:pt x="34" y="1"/>
                  </a:cubicBezTo>
                  <a:cubicBezTo>
                    <a:pt x="33" y="1"/>
                    <a:pt x="33" y="1"/>
                    <a:pt x="33" y="1"/>
                  </a:cubicBez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8" name="Freeform 1567">
              <a:extLst>
                <a:ext uri="{FF2B5EF4-FFF2-40B4-BE49-F238E27FC236}">
                  <a16:creationId xmlns:a16="http://schemas.microsoft.com/office/drawing/2014/main" id="{C7777B3D-F47C-45B6-8684-59C51317FA5A}"/>
                </a:ext>
              </a:extLst>
            </p:cNvPr>
            <p:cNvSpPr>
              <a:spLocks noEditPoints="1"/>
            </p:cNvSpPr>
            <p:nvPr/>
          </p:nvSpPr>
          <p:spPr bwMode="auto">
            <a:xfrm>
              <a:off x="2873941" y="4424343"/>
              <a:ext cx="314107" cy="390620"/>
            </a:xfrm>
            <a:custGeom>
              <a:avLst/>
              <a:gdLst>
                <a:gd name="T0" fmla="*/ 31 w 99"/>
                <a:gd name="T1" fmla="*/ 17 h 123"/>
                <a:gd name="T2" fmla="*/ 2 w 99"/>
                <a:gd name="T3" fmla="*/ 0 h 123"/>
                <a:gd name="T4" fmla="*/ 0 w 99"/>
                <a:gd name="T5" fmla="*/ 4 h 123"/>
                <a:gd name="T6" fmla="*/ 4 w 99"/>
                <a:gd name="T7" fmla="*/ 12 h 123"/>
                <a:gd name="T8" fmla="*/ 5 w 99"/>
                <a:gd name="T9" fmla="*/ 32 h 123"/>
                <a:gd name="T10" fmla="*/ 10 w 99"/>
                <a:gd name="T11" fmla="*/ 49 h 123"/>
                <a:gd name="T12" fmla="*/ 12 w 99"/>
                <a:gd name="T13" fmla="*/ 61 h 123"/>
                <a:gd name="T14" fmla="*/ 21 w 99"/>
                <a:gd name="T15" fmla="*/ 70 h 123"/>
                <a:gd name="T16" fmla="*/ 28 w 99"/>
                <a:gd name="T17" fmla="*/ 87 h 123"/>
                <a:gd name="T18" fmla="*/ 45 w 99"/>
                <a:gd name="T19" fmla="*/ 98 h 123"/>
                <a:gd name="T20" fmla="*/ 69 w 99"/>
                <a:gd name="T21" fmla="*/ 114 h 123"/>
                <a:gd name="T22" fmla="*/ 84 w 99"/>
                <a:gd name="T23" fmla="*/ 119 h 123"/>
                <a:gd name="T24" fmla="*/ 87 w 99"/>
                <a:gd name="T25" fmla="*/ 119 h 123"/>
                <a:gd name="T26" fmla="*/ 90 w 99"/>
                <a:gd name="T27" fmla="*/ 115 h 123"/>
                <a:gd name="T28" fmla="*/ 94 w 99"/>
                <a:gd name="T29" fmla="*/ 121 h 123"/>
                <a:gd name="T30" fmla="*/ 92 w 99"/>
                <a:gd name="T31" fmla="*/ 108 h 123"/>
                <a:gd name="T32" fmla="*/ 77 w 99"/>
                <a:gd name="T33" fmla="*/ 83 h 123"/>
                <a:gd name="T34" fmla="*/ 77 w 99"/>
                <a:gd name="T35" fmla="*/ 52 h 123"/>
                <a:gd name="T36" fmla="*/ 59 w 99"/>
                <a:gd name="T37" fmla="*/ 18 h 123"/>
                <a:gd name="T38" fmla="*/ 48 w 99"/>
                <a:gd name="T39" fmla="*/ 7 h 123"/>
                <a:gd name="T40" fmla="*/ 47 w 99"/>
                <a:gd name="T41" fmla="*/ 10 h 123"/>
                <a:gd name="T42" fmla="*/ 46 w 99"/>
                <a:gd name="T43" fmla="*/ 13 h 123"/>
                <a:gd name="T44" fmla="*/ 36 w 99"/>
                <a:gd name="T45" fmla="*/ 20 h 123"/>
                <a:gd name="T46" fmla="*/ 31 w 99"/>
                <a:gd name="T47" fmla="*/ 17 h 123"/>
                <a:gd name="T48" fmla="*/ 29 w 99"/>
                <a:gd name="T49" fmla="*/ 20 h 123"/>
                <a:gd name="T50" fmla="*/ 27 w 99"/>
                <a:gd name="T51" fmla="*/ 21 h 123"/>
                <a:gd name="T52" fmla="*/ 25 w 99"/>
                <a:gd name="T53" fmla="*/ 22 h 123"/>
                <a:gd name="T54" fmla="*/ 22 w 99"/>
                <a:gd name="T55" fmla="*/ 22 h 123"/>
                <a:gd name="T56" fmla="*/ 18 w 99"/>
                <a:gd name="T57" fmla="*/ 11 h 123"/>
                <a:gd name="T58" fmla="*/ 18 w 99"/>
                <a:gd name="T59" fmla="*/ 9 h 123"/>
                <a:gd name="T60" fmla="*/ 13 w 99"/>
                <a:gd name="T61" fmla="*/ 6 h 123"/>
                <a:gd name="T62" fmla="*/ 13 w 99"/>
                <a:gd name="T63" fmla="*/ 3 h 123"/>
                <a:gd name="T64" fmla="*/ 11 w 99"/>
                <a:gd name="T65" fmla="*/ 2 h 123"/>
                <a:gd name="T66" fmla="*/ 8 w 99"/>
                <a:gd name="T67" fmla="*/ 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123">
                  <a:moveTo>
                    <a:pt x="31" y="17"/>
                  </a:moveTo>
                  <a:cubicBezTo>
                    <a:pt x="31" y="17"/>
                    <a:pt x="31" y="17"/>
                    <a:pt x="31" y="17"/>
                  </a:cubicBezTo>
                  <a:cubicBezTo>
                    <a:pt x="31" y="17"/>
                    <a:pt x="31" y="17"/>
                    <a:pt x="31" y="17"/>
                  </a:cubicBezTo>
                  <a:moveTo>
                    <a:pt x="2" y="0"/>
                  </a:moveTo>
                  <a:cubicBezTo>
                    <a:pt x="1" y="4"/>
                    <a:pt x="1" y="4"/>
                    <a:pt x="1" y="4"/>
                  </a:cubicBezTo>
                  <a:cubicBezTo>
                    <a:pt x="0" y="4"/>
                    <a:pt x="0" y="4"/>
                    <a:pt x="0" y="4"/>
                  </a:cubicBezTo>
                  <a:cubicBezTo>
                    <a:pt x="0" y="5"/>
                    <a:pt x="0" y="5"/>
                    <a:pt x="0" y="5"/>
                  </a:cubicBezTo>
                  <a:cubicBezTo>
                    <a:pt x="1" y="7"/>
                    <a:pt x="3" y="9"/>
                    <a:pt x="4" y="12"/>
                  </a:cubicBezTo>
                  <a:cubicBezTo>
                    <a:pt x="5" y="15"/>
                    <a:pt x="4" y="19"/>
                    <a:pt x="4" y="21"/>
                  </a:cubicBezTo>
                  <a:cubicBezTo>
                    <a:pt x="4" y="25"/>
                    <a:pt x="5" y="29"/>
                    <a:pt x="5" y="32"/>
                  </a:cubicBezTo>
                  <a:cubicBezTo>
                    <a:pt x="6" y="35"/>
                    <a:pt x="7" y="38"/>
                    <a:pt x="9" y="41"/>
                  </a:cubicBezTo>
                  <a:cubicBezTo>
                    <a:pt x="10" y="45"/>
                    <a:pt x="10" y="45"/>
                    <a:pt x="10" y="49"/>
                  </a:cubicBezTo>
                  <a:cubicBezTo>
                    <a:pt x="9" y="53"/>
                    <a:pt x="12" y="55"/>
                    <a:pt x="15" y="58"/>
                  </a:cubicBezTo>
                  <a:cubicBezTo>
                    <a:pt x="14" y="58"/>
                    <a:pt x="12" y="59"/>
                    <a:pt x="12" y="61"/>
                  </a:cubicBezTo>
                  <a:cubicBezTo>
                    <a:pt x="13" y="62"/>
                    <a:pt x="16" y="62"/>
                    <a:pt x="17" y="64"/>
                  </a:cubicBezTo>
                  <a:cubicBezTo>
                    <a:pt x="18" y="66"/>
                    <a:pt x="20" y="68"/>
                    <a:pt x="21" y="70"/>
                  </a:cubicBezTo>
                  <a:cubicBezTo>
                    <a:pt x="24" y="74"/>
                    <a:pt x="27" y="77"/>
                    <a:pt x="27" y="81"/>
                  </a:cubicBezTo>
                  <a:cubicBezTo>
                    <a:pt x="26" y="84"/>
                    <a:pt x="26" y="85"/>
                    <a:pt x="28" y="87"/>
                  </a:cubicBezTo>
                  <a:cubicBezTo>
                    <a:pt x="30" y="88"/>
                    <a:pt x="32" y="90"/>
                    <a:pt x="34" y="91"/>
                  </a:cubicBezTo>
                  <a:cubicBezTo>
                    <a:pt x="38" y="93"/>
                    <a:pt x="41" y="96"/>
                    <a:pt x="45" y="98"/>
                  </a:cubicBezTo>
                  <a:cubicBezTo>
                    <a:pt x="49" y="101"/>
                    <a:pt x="53" y="103"/>
                    <a:pt x="57" y="106"/>
                  </a:cubicBezTo>
                  <a:cubicBezTo>
                    <a:pt x="61" y="109"/>
                    <a:pt x="65" y="111"/>
                    <a:pt x="69" y="114"/>
                  </a:cubicBezTo>
                  <a:cubicBezTo>
                    <a:pt x="73" y="116"/>
                    <a:pt x="76" y="120"/>
                    <a:pt x="79" y="123"/>
                  </a:cubicBezTo>
                  <a:cubicBezTo>
                    <a:pt x="80" y="121"/>
                    <a:pt x="82" y="119"/>
                    <a:pt x="84" y="119"/>
                  </a:cubicBezTo>
                  <a:cubicBezTo>
                    <a:pt x="85" y="119"/>
                    <a:pt x="85" y="119"/>
                    <a:pt x="86" y="119"/>
                  </a:cubicBezTo>
                  <a:cubicBezTo>
                    <a:pt x="86" y="119"/>
                    <a:pt x="87" y="119"/>
                    <a:pt x="87" y="119"/>
                  </a:cubicBezTo>
                  <a:cubicBezTo>
                    <a:pt x="88" y="119"/>
                    <a:pt x="88" y="119"/>
                    <a:pt x="89" y="119"/>
                  </a:cubicBezTo>
                  <a:cubicBezTo>
                    <a:pt x="90" y="119"/>
                    <a:pt x="90" y="118"/>
                    <a:pt x="90" y="115"/>
                  </a:cubicBezTo>
                  <a:cubicBezTo>
                    <a:pt x="94" y="117"/>
                    <a:pt x="92" y="117"/>
                    <a:pt x="93" y="121"/>
                  </a:cubicBezTo>
                  <a:cubicBezTo>
                    <a:pt x="93" y="121"/>
                    <a:pt x="93" y="121"/>
                    <a:pt x="94" y="121"/>
                  </a:cubicBezTo>
                  <a:cubicBezTo>
                    <a:pt x="95" y="121"/>
                    <a:pt x="96" y="120"/>
                    <a:pt x="96" y="120"/>
                  </a:cubicBezTo>
                  <a:cubicBezTo>
                    <a:pt x="99" y="116"/>
                    <a:pt x="93" y="110"/>
                    <a:pt x="92" y="108"/>
                  </a:cubicBezTo>
                  <a:cubicBezTo>
                    <a:pt x="90" y="101"/>
                    <a:pt x="85" y="96"/>
                    <a:pt x="81" y="90"/>
                  </a:cubicBezTo>
                  <a:cubicBezTo>
                    <a:pt x="80" y="88"/>
                    <a:pt x="77" y="85"/>
                    <a:pt x="77" y="83"/>
                  </a:cubicBezTo>
                  <a:cubicBezTo>
                    <a:pt x="76" y="79"/>
                    <a:pt x="76" y="75"/>
                    <a:pt x="76" y="71"/>
                  </a:cubicBezTo>
                  <a:cubicBezTo>
                    <a:pt x="76" y="64"/>
                    <a:pt x="77" y="58"/>
                    <a:pt x="77" y="52"/>
                  </a:cubicBezTo>
                  <a:cubicBezTo>
                    <a:pt x="77" y="44"/>
                    <a:pt x="76" y="39"/>
                    <a:pt x="73" y="32"/>
                  </a:cubicBezTo>
                  <a:cubicBezTo>
                    <a:pt x="69" y="25"/>
                    <a:pt x="65" y="22"/>
                    <a:pt x="59" y="18"/>
                  </a:cubicBezTo>
                  <a:cubicBezTo>
                    <a:pt x="56" y="16"/>
                    <a:pt x="54" y="14"/>
                    <a:pt x="53" y="11"/>
                  </a:cubicBezTo>
                  <a:cubicBezTo>
                    <a:pt x="52" y="10"/>
                    <a:pt x="50" y="8"/>
                    <a:pt x="48" y="7"/>
                  </a:cubicBezTo>
                  <a:cubicBezTo>
                    <a:pt x="48" y="8"/>
                    <a:pt x="48" y="8"/>
                    <a:pt x="48" y="8"/>
                  </a:cubicBezTo>
                  <a:cubicBezTo>
                    <a:pt x="48" y="8"/>
                    <a:pt x="47" y="9"/>
                    <a:pt x="47" y="10"/>
                  </a:cubicBezTo>
                  <a:cubicBezTo>
                    <a:pt x="47" y="10"/>
                    <a:pt x="47" y="10"/>
                    <a:pt x="47" y="10"/>
                  </a:cubicBezTo>
                  <a:cubicBezTo>
                    <a:pt x="47" y="11"/>
                    <a:pt x="46" y="12"/>
                    <a:pt x="46" y="13"/>
                  </a:cubicBezTo>
                  <a:cubicBezTo>
                    <a:pt x="45" y="15"/>
                    <a:pt x="43" y="18"/>
                    <a:pt x="38" y="20"/>
                  </a:cubicBezTo>
                  <a:cubicBezTo>
                    <a:pt x="37" y="20"/>
                    <a:pt x="37" y="20"/>
                    <a:pt x="36" y="20"/>
                  </a:cubicBezTo>
                  <a:cubicBezTo>
                    <a:pt x="34" y="20"/>
                    <a:pt x="33" y="19"/>
                    <a:pt x="32" y="18"/>
                  </a:cubicBezTo>
                  <a:cubicBezTo>
                    <a:pt x="31" y="17"/>
                    <a:pt x="31" y="17"/>
                    <a:pt x="31" y="17"/>
                  </a:cubicBezTo>
                  <a:cubicBezTo>
                    <a:pt x="31" y="17"/>
                    <a:pt x="31" y="18"/>
                    <a:pt x="30" y="19"/>
                  </a:cubicBezTo>
                  <a:cubicBezTo>
                    <a:pt x="29" y="20"/>
                    <a:pt x="29" y="20"/>
                    <a:pt x="29" y="20"/>
                  </a:cubicBezTo>
                  <a:cubicBezTo>
                    <a:pt x="28" y="20"/>
                    <a:pt x="28" y="20"/>
                    <a:pt x="28" y="20"/>
                  </a:cubicBezTo>
                  <a:cubicBezTo>
                    <a:pt x="27" y="21"/>
                    <a:pt x="27" y="21"/>
                    <a:pt x="27" y="21"/>
                  </a:cubicBezTo>
                  <a:cubicBezTo>
                    <a:pt x="26" y="21"/>
                    <a:pt x="26" y="22"/>
                    <a:pt x="26" y="22"/>
                  </a:cubicBezTo>
                  <a:cubicBezTo>
                    <a:pt x="25" y="22"/>
                    <a:pt x="25" y="22"/>
                    <a:pt x="25" y="22"/>
                  </a:cubicBezTo>
                  <a:cubicBezTo>
                    <a:pt x="24" y="23"/>
                    <a:pt x="24" y="23"/>
                    <a:pt x="23" y="23"/>
                  </a:cubicBezTo>
                  <a:cubicBezTo>
                    <a:pt x="22" y="22"/>
                    <a:pt x="22" y="22"/>
                    <a:pt x="22" y="22"/>
                  </a:cubicBezTo>
                  <a:cubicBezTo>
                    <a:pt x="21" y="22"/>
                    <a:pt x="20" y="21"/>
                    <a:pt x="18" y="20"/>
                  </a:cubicBezTo>
                  <a:cubicBezTo>
                    <a:pt x="15" y="17"/>
                    <a:pt x="17" y="13"/>
                    <a:pt x="18" y="11"/>
                  </a:cubicBezTo>
                  <a:cubicBezTo>
                    <a:pt x="19" y="10"/>
                    <a:pt x="19" y="9"/>
                    <a:pt x="19" y="9"/>
                  </a:cubicBezTo>
                  <a:cubicBezTo>
                    <a:pt x="19" y="9"/>
                    <a:pt x="18" y="9"/>
                    <a:pt x="18" y="9"/>
                  </a:cubicBezTo>
                  <a:cubicBezTo>
                    <a:pt x="18" y="9"/>
                    <a:pt x="18" y="9"/>
                    <a:pt x="18" y="9"/>
                  </a:cubicBezTo>
                  <a:cubicBezTo>
                    <a:pt x="15" y="9"/>
                    <a:pt x="14" y="7"/>
                    <a:pt x="13" y="6"/>
                  </a:cubicBezTo>
                  <a:cubicBezTo>
                    <a:pt x="13" y="5"/>
                    <a:pt x="13" y="5"/>
                    <a:pt x="13" y="4"/>
                  </a:cubicBezTo>
                  <a:cubicBezTo>
                    <a:pt x="13" y="3"/>
                    <a:pt x="13" y="3"/>
                    <a:pt x="13" y="3"/>
                  </a:cubicBezTo>
                  <a:cubicBezTo>
                    <a:pt x="12" y="3"/>
                    <a:pt x="12" y="3"/>
                    <a:pt x="12" y="3"/>
                  </a:cubicBezTo>
                  <a:cubicBezTo>
                    <a:pt x="11" y="2"/>
                    <a:pt x="11" y="2"/>
                    <a:pt x="11" y="2"/>
                  </a:cubicBezTo>
                  <a:cubicBezTo>
                    <a:pt x="11" y="2"/>
                    <a:pt x="9" y="2"/>
                    <a:pt x="8" y="2"/>
                  </a:cubicBezTo>
                  <a:cubicBezTo>
                    <a:pt x="8" y="2"/>
                    <a:pt x="8" y="2"/>
                    <a:pt x="8" y="2"/>
                  </a:cubicBezTo>
                  <a:cubicBezTo>
                    <a:pt x="5" y="2"/>
                    <a:pt x="4"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9" name="Freeform 1568">
              <a:extLst>
                <a:ext uri="{FF2B5EF4-FFF2-40B4-BE49-F238E27FC236}">
                  <a16:creationId xmlns:a16="http://schemas.microsoft.com/office/drawing/2014/main" id="{5A22D811-3230-409F-97C5-D6093A199BD8}"/>
                </a:ext>
              </a:extLst>
            </p:cNvPr>
            <p:cNvSpPr>
              <a:spLocks/>
            </p:cNvSpPr>
            <p:nvPr/>
          </p:nvSpPr>
          <p:spPr bwMode="auto">
            <a:xfrm>
              <a:off x="0" y="520828"/>
              <a:ext cx="9396" cy="2685"/>
            </a:xfrm>
            <a:custGeom>
              <a:avLst/>
              <a:gdLst>
                <a:gd name="T0" fmla="*/ 0 w 3"/>
                <a:gd name="T1" fmla="*/ 0 h 1"/>
                <a:gd name="T2" fmla="*/ 0 w 3"/>
                <a:gd name="T3" fmla="*/ 1 h 1"/>
                <a:gd name="T4" fmla="*/ 0 w 3"/>
                <a:gd name="T5" fmla="*/ 1 h 1"/>
                <a:gd name="T6" fmla="*/ 1 w 3"/>
                <a:gd name="T7" fmla="*/ 1 h 1"/>
                <a:gd name="T8" fmla="*/ 2 w 3"/>
                <a:gd name="T9" fmla="*/ 1 h 1"/>
                <a:gd name="T10" fmla="*/ 2 w 3"/>
                <a:gd name="T11" fmla="*/ 1 h 1"/>
                <a:gd name="T12" fmla="*/ 3 w 3"/>
                <a:gd name="T13" fmla="*/ 1 h 1"/>
                <a:gd name="T14" fmla="*/ 1 w 3"/>
                <a:gd name="T15" fmla="*/ 0 h 1"/>
                <a:gd name="T16" fmla="*/ 0 w 3"/>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0" y="0"/>
                  </a:moveTo>
                  <a:cubicBezTo>
                    <a:pt x="0" y="1"/>
                    <a:pt x="0" y="1"/>
                    <a:pt x="0" y="1"/>
                  </a:cubicBezTo>
                  <a:cubicBezTo>
                    <a:pt x="0" y="1"/>
                    <a:pt x="0" y="1"/>
                    <a:pt x="0" y="1"/>
                  </a:cubicBezTo>
                  <a:cubicBezTo>
                    <a:pt x="0" y="1"/>
                    <a:pt x="0" y="1"/>
                    <a:pt x="1" y="1"/>
                  </a:cubicBezTo>
                  <a:cubicBezTo>
                    <a:pt x="1" y="1"/>
                    <a:pt x="1" y="1"/>
                    <a:pt x="2" y="1"/>
                  </a:cubicBezTo>
                  <a:cubicBezTo>
                    <a:pt x="2" y="1"/>
                    <a:pt x="2" y="1"/>
                    <a:pt x="2" y="1"/>
                  </a:cubicBezTo>
                  <a:cubicBezTo>
                    <a:pt x="3" y="1"/>
                    <a:pt x="3" y="1"/>
                    <a:pt x="3" y="1"/>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0" name="Freeform 1569">
              <a:extLst>
                <a:ext uri="{FF2B5EF4-FFF2-40B4-BE49-F238E27FC236}">
                  <a16:creationId xmlns:a16="http://schemas.microsoft.com/office/drawing/2014/main" id="{8D2141D6-C667-42B6-A670-7F03926227F6}"/>
                </a:ext>
              </a:extLst>
            </p:cNvPr>
            <p:cNvSpPr>
              <a:spLocks/>
            </p:cNvSpPr>
            <p:nvPr/>
          </p:nvSpPr>
          <p:spPr bwMode="auto">
            <a:xfrm>
              <a:off x="304710" y="355720"/>
              <a:ext cx="2685" cy="2685"/>
            </a:xfrm>
            <a:custGeom>
              <a:avLst/>
              <a:gdLst>
                <a:gd name="T0" fmla="*/ 0 w 2"/>
                <a:gd name="T1" fmla="*/ 0 h 2"/>
                <a:gd name="T2" fmla="*/ 0 w 2"/>
                <a:gd name="T3" fmla="*/ 2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1" name="Freeform 1570">
              <a:extLst>
                <a:ext uri="{FF2B5EF4-FFF2-40B4-BE49-F238E27FC236}">
                  <a16:creationId xmlns:a16="http://schemas.microsoft.com/office/drawing/2014/main" id="{600FF691-0527-4EE0-94EF-74B79C87846A}"/>
                </a:ext>
              </a:extLst>
            </p:cNvPr>
            <p:cNvSpPr>
              <a:spLocks/>
            </p:cNvSpPr>
            <p:nvPr/>
          </p:nvSpPr>
          <p:spPr bwMode="auto">
            <a:xfrm>
              <a:off x="304710" y="355720"/>
              <a:ext cx="2685" cy="2685"/>
            </a:xfrm>
            <a:custGeom>
              <a:avLst/>
              <a:gdLst>
                <a:gd name="T0" fmla="*/ 0 w 2"/>
                <a:gd name="T1" fmla="*/ 0 h 2"/>
                <a:gd name="T2" fmla="*/ 0 w 2"/>
                <a:gd name="T3" fmla="*/ 2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2" name="Freeform 1571">
              <a:extLst>
                <a:ext uri="{FF2B5EF4-FFF2-40B4-BE49-F238E27FC236}">
                  <a16:creationId xmlns:a16="http://schemas.microsoft.com/office/drawing/2014/main" id="{8CFD31C8-5A4A-4F2F-8FCC-B1A8AB03CB54}"/>
                </a:ext>
              </a:extLst>
            </p:cNvPr>
            <p:cNvSpPr>
              <a:spLocks noEditPoints="1"/>
            </p:cNvSpPr>
            <p:nvPr/>
          </p:nvSpPr>
          <p:spPr bwMode="auto">
            <a:xfrm>
              <a:off x="0" y="1"/>
              <a:ext cx="7594935" cy="1542345"/>
            </a:xfrm>
            <a:custGeom>
              <a:avLst/>
              <a:gdLst>
                <a:gd name="T0" fmla="*/ 1124 w 2394"/>
                <a:gd name="T1" fmla="*/ 135 h 486"/>
                <a:gd name="T2" fmla="*/ 1053 w 2394"/>
                <a:gd name="T3" fmla="*/ 189 h 486"/>
                <a:gd name="T4" fmla="*/ 1129 w 2394"/>
                <a:gd name="T5" fmla="*/ 78 h 486"/>
                <a:gd name="T6" fmla="*/ 17 w 2394"/>
                <a:gd name="T7" fmla="*/ 132 h 486"/>
                <a:gd name="T8" fmla="*/ 50 w 2394"/>
                <a:gd name="T9" fmla="*/ 124 h 486"/>
                <a:gd name="T10" fmla="*/ 69 w 2394"/>
                <a:gd name="T11" fmla="*/ 120 h 486"/>
                <a:gd name="T12" fmla="*/ 98 w 2394"/>
                <a:gd name="T13" fmla="*/ 110 h 486"/>
                <a:gd name="T14" fmla="*/ 142 w 2394"/>
                <a:gd name="T15" fmla="*/ 103 h 486"/>
                <a:gd name="T16" fmla="*/ 168 w 2394"/>
                <a:gd name="T17" fmla="*/ 88 h 486"/>
                <a:gd name="T18" fmla="*/ 201 w 2394"/>
                <a:gd name="T19" fmla="*/ 95 h 486"/>
                <a:gd name="T20" fmla="*/ 226 w 2394"/>
                <a:gd name="T21" fmla="*/ 127 h 486"/>
                <a:gd name="T22" fmla="*/ 255 w 2394"/>
                <a:gd name="T23" fmla="*/ 129 h 486"/>
                <a:gd name="T24" fmla="*/ 276 w 2394"/>
                <a:gd name="T25" fmla="*/ 146 h 486"/>
                <a:gd name="T26" fmla="*/ 358 w 2394"/>
                <a:gd name="T27" fmla="*/ 124 h 486"/>
                <a:gd name="T28" fmla="*/ 434 w 2394"/>
                <a:gd name="T29" fmla="*/ 233 h 486"/>
                <a:gd name="T30" fmla="*/ 443 w 2394"/>
                <a:gd name="T31" fmla="*/ 221 h 486"/>
                <a:gd name="T32" fmla="*/ 469 w 2394"/>
                <a:gd name="T33" fmla="*/ 236 h 486"/>
                <a:gd name="T34" fmla="*/ 506 w 2394"/>
                <a:gd name="T35" fmla="*/ 228 h 486"/>
                <a:gd name="T36" fmla="*/ 553 w 2394"/>
                <a:gd name="T37" fmla="*/ 259 h 486"/>
                <a:gd name="T38" fmla="*/ 558 w 2394"/>
                <a:gd name="T39" fmla="*/ 271 h 486"/>
                <a:gd name="T40" fmla="*/ 609 w 2394"/>
                <a:gd name="T41" fmla="*/ 285 h 486"/>
                <a:gd name="T42" fmla="*/ 629 w 2394"/>
                <a:gd name="T43" fmla="*/ 275 h 486"/>
                <a:gd name="T44" fmla="*/ 668 w 2394"/>
                <a:gd name="T45" fmla="*/ 258 h 486"/>
                <a:gd name="T46" fmla="*/ 723 w 2394"/>
                <a:gd name="T47" fmla="*/ 232 h 486"/>
                <a:gd name="T48" fmla="*/ 764 w 2394"/>
                <a:gd name="T49" fmla="*/ 241 h 486"/>
                <a:gd name="T50" fmla="*/ 808 w 2394"/>
                <a:gd name="T51" fmla="*/ 258 h 486"/>
                <a:gd name="T52" fmla="*/ 847 w 2394"/>
                <a:gd name="T53" fmla="*/ 260 h 486"/>
                <a:gd name="T54" fmla="*/ 853 w 2394"/>
                <a:gd name="T55" fmla="*/ 216 h 486"/>
                <a:gd name="T56" fmla="*/ 895 w 2394"/>
                <a:gd name="T57" fmla="*/ 201 h 486"/>
                <a:gd name="T58" fmla="*/ 957 w 2394"/>
                <a:gd name="T59" fmla="*/ 236 h 486"/>
                <a:gd name="T60" fmla="*/ 1017 w 2394"/>
                <a:gd name="T61" fmla="*/ 246 h 486"/>
                <a:gd name="T62" fmla="*/ 1083 w 2394"/>
                <a:gd name="T63" fmla="*/ 258 h 486"/>
                <a:gd name="T64" fmla="*/ 1203 w 2394"/>
                <a:gd name="T65" fmla="*/ 273 h 486"/>
                <a:gd name="T66" fmla="*/ 1268 w 2394"/>
                <a:gd name="T67" fmla="*/ 261 h 486"/>
                <a:gd name="T68" fmla="*/ 1348 w 2394"/>
                <a:gd name="T69" fmla="*/ 259 h 486"/>
                <a:gd name="T70" fmla="*/ 1385 w 2394"/>
                <a:gd name="T71" fmla="*/ 188 h 486"/>
                <a:gd name="T72" fmla="*/ 1389 w 2394"/>
                <a:gd name="T73" fmla="*/ 159 h 486"/>
                <a:gd name="T74" fmla="*/ 1455 w 2394"/>
                <a:gd name="T75" fmla="*/ 147 h 486"/>
                <a:gd name="T76" fmla="*/ 1501 w 2394"/>
                <a:gd name="T77" fmla="*/ 162 h 486"/>
                <a:gd name="T78" fmla="*/ 1516 w 2394"/>
                <a:gd name="T79" fmla="*/ 180 h 486"/>
                <a:gd name="T80" fmla="*/ 1542 w 2394"/>
                <a:gd name="T81" fmla="*/ 231 h 486"/>
                <a:gd name="T82" fmla="*/ 1581 w 2394"/>
                <a:gd name="T83" fmla="*/ 274 h 486"/>
                <a:gd name="T84" fmla="*/ 1629 w 2394"/>
                <a:gd name="T85" fmla="*/ 317 h 486"/>
                <a:gd name="T86" fmla="*/ 1665 w 2394"/>
                <a:gd name="T87" fmla="*/ 327 h 486"/>
                <a:gd name="T88" fmla="*/ 1721 w 2394"/>
                <a:gd name="T89" fmla="*/ 317 h 486"/>
                <a:gd name="T90" fmla="*/ 1707 w 2394"/>
                <a:gd name="T91" fmla="*/ 356 h 486"/>
                <a:gd name="T92" fmla="*/ 1692 w 2394"/>
                <a:gd name="T93" fmla="*/ 392 h 486"/>
                <a:gd name="T94" fmla="*/ 1652 w 2394"/>
                <a:gd name="T95" fmla="*/ 406 h 486"/>
                <a:gd name="T96" fmla="*/ 1625 w 2394"/>
                <a:gd name="T97" fmla="*/ 481 h 486"/>
                <a:gd name="T98" fmla="*/ 1646 w 2394"/>
                <a:gd name="T99" fmla="*/ 465 h 486"/>
                <a:gd name="T100" fmla="*/ 1686 w 2394"/>
                <a:gd name="T101" fmla="*/ 475 h 486"/>
                <a:gd name="T102" fmla="*/ 1849 w 2394"/>
                <a:gd name="T103" fmla="*/ 291 h 486"/>
                <a:gd name="T104" fmla="*/ 1872 w 2394"/>
                <a:gd name="T105" fmla="*/ 172 h 486"/>
                <a:gd name="T106" fmla="*/ 1812 w 2394"/>
                <a:gd name="T107" fmla="*/ 133 h 486"/>
                <a:gd name="T108" fmla="*/ 1784 w 2394"/>
                <a:gd name="T109" fmla="*/ 135 h 486"/>
                <a:gd name="T110" fmla="*/ 1767 w 2394"/>
                <a:gd name="T111" fmla="*/ 122 h 486"/>
                <a:gd name="T112" fmla="*/ 1799 w 2394"/>
                <a:gd name="T113" fmla="*/ 53 h 486"/>
                <a:gd name="T114" fmla="*/ 2255 w 2394"/>
                <a:gd name="T115" fmla="*/ 9 h 486"/>
                <a:gd name="T116" fmla="*/ 2228 w 2394"/>
                <a:gd name="T117" fmla="*/ 184 h 486"/>
                <a:gd name="T118" fmla="*/ 2296 w 2394"/>
                <a:gd name="T119" fmla="*/ 163 h 486"/>
                <a:gd name="T120" fmla="*/ 2339 w 2394"/>
                <a:gd name="T121" fmla="*/ 116 h 486"/>
                <a:gd name="T122" fmla="*/ 2382 w 2394"/>
                <a:gd name="T123" fmla="*/ 57 h 486"/>
                <a:gd name="T124" fmla="*/ 2359 w 2394"/>
                <a:gd name="T125"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94" h="486">
                  <a:moveTo>
                    <a:pt x="1133" y="79"/>
                  </a:moveTo>
                  <a:cubicBezTo>
                    <a:pt x="1131" y="78"/>
                    <a:pt x="1130" y="78"/>
                    <a:pt x="1128" y="77"/>
                  </a:cubicBezTo>
                  <a:cubicBezTo>
                    <a:pt x="1129" y="77"/>
                    <a:pt x="1129" y="77"/>
                    <a:pt x="1129" y="77"/>
                  </a:cubicBezTo>
                  <a:cubicBezTo>
                    <a:pt x="1132" y="77"/>
                    <a:pt x="1135" y="78"/>
                    <a:pt x="1136" y="81"/>
                  </a:cubicBezTo>
                  <a:cubicBezTo>
                    <a:pt x="1135" y="83"/>
                    <a:pt x="1134" y="83"/>
                    <a:pt x="1134" y="85"/>
                  </a:cubicBezTo>
                  <a:cubicBezTo>
                    <a:pt x="1134" y="86"/>
                    <a:pt x="1135" y="87"/>
                    <a:pt x="1135" y="88"/>
                  </a:cubicBezTo>
                  <a:cubicBezTo>
                    <a:pt x="1135" y="88"/>
                    <a:pt x="1134" y="88"/>
                    <a:pt x="1134" y="88"/>
                  </a:cubicBezTo>
                  <a:cubicBezTo>
                    <a:pt x="1134" y="89"/>
                    <a:pt x="1133" y="90"/>
                    <a:pt x="1133" y="91"/>
                  </a:cubicBezTo>
                  <a:cubicBezTo>
                    <a:pt x="1132" y="92"/>
                    <a:pt x="1133" y="94"/>
                    <a:pt x="1132" y="96"/>
                  </a:cubicBezTo>
                  <a:cubicBezTo>
                    <a:pt x="1132" y="96"/>
                    <a:pt x="1131" y="96"/>
                    <a:pt x="1131" y="97"/>
                  </a:cubicBezTo>
                  <a:cubicBezTo>
                    <a:pt x="1131" y="98"/>
                    <a:pt x="1132" y="100"/>
                    <a:pt x="1132" y="101"/>
                  </a:cubicBezTo>
                  <a:cubicBezTo>
                    <a:pt x="1132" y="102"/>
                    <a:pt x="1131" y="104"/>
                    <a:pt x="1131" y="105"/>
                  </a:cubicBezTo>
                  <a:cubicBezTo>
                    <a:pt x="1130" y="107"/>
                    <a:pt x="1129" y="108"/>
                    <a:pt x="1129" y="109"/>
                  </a:cubicBezTo>
                  <a:cubicBezTo>
                    <a:pt x="1128" y="111"/>
                    <a:pt x="1129" y="112"/>
                    <a:pt x="1128" y="114"/>
                  </a:cubicBezTo>
                  <a:cubicBezTo>
                    <a:pt x="1127" y="115"/>
                    <a:pt x="1126" y="115"/>
                    <a:pt x="1126" y="117"/>
                  </a:cubicBezTo>
                  <a:cubicBezTo>
                    <a:pt x="1126" y="120"/>
                    <a:pt x="1126" y="122"/>
                    <a:pt x="1126" y="124"/>
                  </a:cubicBezTo>
                  <a:cubicBezTo>
                    <a:pt x="1126" y="128"/>
                    <a:pt x="1126" y="131"/>
                    <a:pt x="1124" y="135"/>
                  </a:cubicBezTo>
                  <a:cubicBezTo>
                    <a:pt x="1123" y="138"/>
                    <a:pt x="1119" y="147"/>
                    <a:pt x="1116" y="148"/>
                  </a:cubicBezTo>
                  <a:cubicBezTo>
                    <a:pt x="1116" y="148"/>
                    <a:pt x="1115" y="148"/>
                    <a:pt x="1115" y="148"/>
                  </a:cubicBezTo>
                  <a:cubicBezTo>
                    <a:pt x="1113" y="148"/>
                    <a:pt x="1116" y="145"/>
                    <a:pt x="1115" y="144"/>
                  </a:cubicBezTo>
                  <a:cubicBezTo>
                    <a:pt x="1114" y="143"/>
                    <a:pt x="1113" y="142"/>
                    <a:pt x="1112" y="142"/>
                  </a:cubicBezTo>
                  <a:cubicBezTo>
                    <a:pt x="1108" y="142"/>
                    <a:pt x="1104" y="149"/>
                    <a:pt x="1103" y="152"/>
                  </a:cubicBezTo>
                  <a:cubicBezTo>
                    <a:pt x="1105" y="151"/>
                    <a:pt x="1108" y="148"/>
                    <a:pt x="1110" y="148"/>
                  </a:cubicBezTo>
                  <a:cubicBezTo>
                    <a:pt x="1111" y="148"/>
                    <a:pt x="1111" y="149"/>
                    <a:pt x="1111" y="149"/>
                  </a:cubicBezTo>
                  <a:cubicBezTo>
                    <a:pt x="1113" y="150"/>
                    <a:pt x="1114" y="155"/>
                    <a:pt x="1113" y="156"/>
                  </a:cubicBezTo>
                  <a:cubicBezTo>
                    <a:pt x="1112" y="158"/>
                    <a:pt x="1109" y="158"/>
                    <a:pt x="1107" y="159"/>
                  </a:cubicBezTo>
                  <a:cubicBezTo>
                    <a:pt x="1105" y="160"/>
                    <a:pt x="1103" y="160"/>
                    <a:pt x="1101" y="162"/>
                  </a:cubicBezTo>
                  <a:cubicBezTo>
                    <a:pt x="1098" y="164"/>
                    <a:pt x="1095" y="168"/>
                    <a:pt x="1093" y="171"/>
                  </a:cubicBezTo>
                  <a:cubicBezTo>
                    <a:pt x="1089" y="175"/>
                    <a:pt x="1086" y="177"/>
                    <a:pt x="1081" y="177"/>
                  </a:cubicBezTo>
                  <a:cubicBezTo>
                    <a:pt x="1075" y="178"/>
                    <a:pt x="1069" y="184"/>
                    <a:pt x="1064" y="188"/>
                  </a:cubicBezTo>
                  <a:cubicBezTo>
                    <a:pt x="1062" y="189"/>
                    <a:pt x="1061" y="189"/>
                    <a:pt x="1060" y="189"/>
                  </a:cubicBezTo>
                  <a:cubicBezTo>
                    <a:pt x="1059" y="189"/>
                    <a:pt x="1058" y="189"/>
                    <a:pt x="1058" y="189"/>
                  </a:cubicBezTo>
                  <a:cubicBezTo>
                    <a:pt x="1057" y="189"/>
                    <a:pt x="1056" y="189"/>
                    <a:pt x="1055" y="189"/>
                  </a:cubicBezTo>
                  <a:cubicBezTo>
                    <a:pt x="1054" y="189"/>
                    <a:pt x="1054" y="189"/>
                    <a:pt x="1053" y="189"/>
                  </a:cubicBezTo>
                  <a:cubicBezTo>
                    <a:pt x="1050" y="189"/>
                    <a:pt x="1049" y="190"/>
                    <a:pt x="1049" y="192"/>
                  </a:cubicBezTo>
                  <a:cubicBezTo>
                    <a:pt x="1049" y="195"/>
                    <a:pt x="1050" y="194"/>
                    <a:pt x="1049" y="197"/>
                  </a:cubicBezTo>
                  <a:cubicBezTo>
                    <a:pt x="1048" y="199"/>
                    <a:pt x="1046" y="200"/>
                    <a:pt x="1045" y="202"/>
                  </a:cubicBezTo>
                  <a:cubicBezTo>
                    <a:pt x="1042" y="206"/>
                    <a:pt x="1042" y="207"/>
                    <a:pt x="1037" y="209"/>
                  </a:cubicBezTo>
                  <a:cubicBezTo>
                    <a:pt x="1028" y="211"/>
                    <a:pt x="1018" y="215"/>
                    <a:pt x="1008" y="215"/>
                  </a:cubicBezTo>
                  <a:cubicBezTo>
                    <a:pt x="1006" y="215"/>
                    <a:pt x="1005" y="215"/>
                    <a:pt x="1003" y="215"/>
                  </a:cubicBezTo>
                  <a:cubicBezTo>
                    <a:pt x="1000" y="214"/>
                    <a:pt x="997" y="213"/>
                    <a:pt x="994" y="212"/>
                  </a:cubicBezTo>
                  <a:cubicBezTo>
                    <a:pt x="993" y="211"/>
                    <a:pt x="991" y="211"/>
                    <a:pt x="990" y="210"/>
                  </a:cubicBezTo>
                  <a:cubicBezTo>
                    <a:pt x="988" y="207"/>
                    <a:pt x="996" y="207"/>
                    <a:pt x="998" y="207"/>
                  </a:cubicBezTo>
                  <a:cubicBezTo>
                    <a:pt x="1011" y="204"/>
                    <a:pt x="1026" y="204"/>
                    <a:pt x="1035" y="193"/>
                  </a:cubicBezTo>
                  <a:cubicBezTo>
                    <a:pt x="1040" y="188"/>
                    <a:pt x="1043" y="183"/>
                    <a:pt x="1050" y="180"/>
                  </a:cubicBezTo>
                  <a:cubicBezTo>
                    <a:pt x="1053" y="179"/>
                    <a:pt x="1054" y="179"/>
                    <a:pt x="1056" y="177"/>
                  </a:cubicBezTo>
                  <a:cubicBezTo>
                    <a:pt x="1057" y="175"/>
                    <a:pt x="1064" y="170"/>
                    <a:pt x="1061" y="167"/>
                  </a:cubicBezTo>
                  <a:cubicBezTo>
                    <a:pt x="1073" y="156"/>
                    <a:pt x="1089" y="149"/>
                    <a:pt x="1097" y="135"/>
                  </a:cubicBezTo>
                  <a:cubicBezTo>
                    <a:pt x="1104" y="122"/>
                    <a:pt x="1112" y="110"/>
                    <a:pt x="1116" y="96"/>
                  </a:cubicBezTo>
                  <a:cubicBezTo>
                    <a:pt x="1117" y="91"/>
                    <a:pt x="1118" y="86"/>
                    <a:pt x="1122" y="82"/>
                  </a:cubicBezTo>
                  <a:cubicBezTo>
                    <a:pt x="1124" y="80"/>
                    <a:pt x="1125" y="78"/>
                    <a:pt x="1129" y="78"/>
                  </a:cubicBezTo>
                  <a:cubicBezTo>
                    <a:pt x="1129" y="78"/>
                    <a:pt x="1129" y="78"/>
                    <a:pt x="1129" y="78"/>
                  </a:cubicBezTo>
                  <a:cubicBezTo>
                    <a:pt x="1131" y="78"/>
                    <a:pt x="1132" y="79"/>
                    <a:pt x="1133" y="79"/>
                  </a:cubicBezTo>
                  <a:moveTo>
                    <a:pt x="1857" y="0"/>
                  </a:moveTo>
                  <a:cubicBezTo>
                    <a:pt x="0" y="0"/>
                    <a:pt x="0" y="0"/>
                    <a:pt x="0" y="0"/>
                  </a:cubicBezTo>
                  <a:cubicBezTo>
                    <a:pt x="0" y="132"/>
                    <a:pt x="0" y="132"/>
                    <a:pt x="0" y="132"/>
                  </a:cubicBezTo>
                  <a:cubicBezTo>
                    <a:pt x="1" y="132"/>
                    <a:pt x="1" y="132"/>
                    <a:pt x="2" y="132"/>
                  </a:cubicBezTo>
                  <a:cubicBezTo>
                    <a:pt x="3" y="132"/>
                    <a:pt x="3" y="132"/>
                    <a:pt x="3" y="132"/>
                  </a:cubicBezTo>
                  <a:cubicBezTo>
                    <a:pt x="4" y="132"/>
                    <a:pt x="4" y="132"/>
                    <a:pt x="4" y="132"/>
                  </a:cubicBezTo>
                  <a:cubicBezTo>
                    <a:pt x="4" y="132"/>
                    <a:pt x="4" y="132"/>
                    <a:pt x="4" y="132"/>
                  </a:cubicBezTo>
                  <a:cubicBezTo>
                    <a:pt x="10" y="132"/>
                    <a:pt x="10" y="132"/>
                    <a:pt x="10" y="132"/>
                  </a:cubicBezTo>
                  <a:cubicBezTo>
                    <a:pt x="11" y="128"/>
                    <a:pt x="11" y="128"/>
                    <a:pt x="11" y="128"/>
                  </a:cubicBezTo>
                  <a:cubicBezTo>
                    <a:pt x="11" y="132"/>
                    <a:pt x="11" y="132"/>
                    <a:pt x="11" y="132"/>
                  </a:cubicBezTo>
                  <a:cubicBezTo>
                    <a:pt x="12" y="132"/>
                    <a:pt x="12" y="132"/>
                    <a:pt x="12" y="132"/>
                  </a:cubicBezTo>
                  <a:cubicBezTo>
                    <a:pt x="12" y="132"/>
                    <a:pt x="13" y="132"/>
                    <a:pt x="14" y="132"/>
                  </a:cubicBezTo>
                  <a:cubicBezTo>
                    <a:pt x="15" y="132"/>
                    <a:pt x="15" y="132"/>
                    <a:pt x="15" y="132"/>
                  </a:cubicBezTo>
                  <a:cubicBezTo>
                    <a:pt x="15" y="132"/>
                    <a:pt x="15" y="132"/>
                    <a:pt x="15" y="132"/>
                  </a:cubicBezTo>
                  <a:cubicBezTo>
                    <a:pt x="16" y="132"/>
                    <a:pt x="17" y="132"/>
                    <a:pt x="17" y="132"/>
                  </a:cubicBezTo>
                  <a:cubicBezTo>
                    <a:pt x="18" y="131"/>
                    <a:pt x="18" y="131"/>
                    <a:pt x="18" y="131"/>
                  </a:cubicBezTo>
                  <a:cubicBezTo>
                    <a:pt x="20" y="131"/>
                    <a:pt x="20" y="131"/>
                    <a:pt x="20" y="131"/>
                  </a:cubicBezTo>
                  <a:cubicBezTo>
                    <a:pt x="20" y="130"/>
                    <a:pt x="20" y="130"/>
                    <a:pt x="20" y="130"/>
                  </a:cubicBezTo>
                  <a:cubicBezTo>
                    <a:pt x="22" y="131"/>
                    <a:pt x="22" y="131"/>
                    <a:pt x="22" y="131"/>
                  </a:cubicBezTo>
                  <a:cubicBezTo>
                    <a:pt x="22" y="130"/>
                    <a:pt x="22" y="130"/>
                    <a:pt x="22" y="130"/>
                  </a:cubicBezTo>
                  <a:cubicBezTo>
                    <a:pt x="23" y="130"/>
                    <a:pt x="23" y="130"/>
                    <a:pt x="24" y="130"/>
                  </a:cubicBezTo>
                  <a:cubicBezTo>
                    <a:pt x="25" y="130"/>
                    <a:pt x="25" y="130"/>
                    <a:pt x="25" y="130"/>
                  </a:cubicBezTo>
                  <a:cubicBezTo>
                    <a:pt x="25" y="130"/>
                    <a:pt x="25" y="130"/>
                    <a:pt x="25" y="130"/>
                  </a:cubicBezTo>
                  <a:cubicBezTo>
                    <a:pt x="26" y="130"/>
                    <a:pt x="26" y="130"/>
                    <a:pt x="26" y="130"/>
                  </a:cubicBezTo>
                  <a:cubicBezTo>
                    <a:pt x="26" y="129"/>
                    <a:pt x="26" y="129"/>
                    <a:pt x="26" y="129"/>
                  </a:cubicBezTo>
                  <a:cubicBezTo>
                    <a:pt x="22" y="129"/>
                    <a:pt x="22" y="129"/>
                    <a:pt x="22" y="129"/>
                  </a:cubicBezTo>
                  <a:cubicBezTo>
                    <a:pt x="35" y="127"/>
                    <a:pt x="35" y="127"/>
                    <a:pt x="35" y="127"/>
                  </a:cubicBezTo>
                  <a:cubicBezTo>
                    <a:pt x="35" y="121"/>
                    <a:pt x="35" y="121"/>
                    <a:pt x="35" y="121"/>
                  </a:cubicBezTo>
                  <a:cubicBezTo>
                    <a:pt x="36" y="126"/>
                    <a:pt x="36" y="126"/>
                    <a:pt x="36" y="126"/>
                  </a:cubicBezTo>
                  <a:cubicBezTo>
                    <a:pt x="47" y="125"/>
                    <a:pt x="47" y="125"/>
                    <a:pt x="47" y="125"/>
                  </a:cubicBezTo>
                  <a:cubicBezTo>
                    <a:pt x="47" y="124"/>
                    <a:pt x="48" y="124"/>
                    <a:pt x="48" y="124"/>
                  </a:cubicBezTo>
                  <a:cubicBezTo>
                    <a:pt x="50" y="124"/>
                    <a:pt x="50" y="124"/>
                    <a:pt x="50" y="124"/>
                  </a:cubicBezTo>
                  <a:cubicBezTo>
                    <a:pt x="50" y="124"/>
                    <a:pt x="50" y="124"/>
                    <a:pt x="50" y="124"/>
                  </a:cubicBezTo>
                  <a:cubicBezTo>
                    <a:pt x="53" y="123"/>
                    <a:pt x="53" y="123"/>
                    <a:pt x="53" y="123"/>
                  </a:cubicBezTo>
                  <a:cubicBezTo>
                    <a:pt x="54" y="123"/>
                    <a:pt x="54" y="123"/>
                    <a:pt x="54" y="123"/>
                  </a:cubicBezTo>
                  <a:cubicBezTo>
                    <a:pt x="55" y="123"/>
                    <a:pt x="55" y="123"/>
                    <a:pt x="55" y="123"/>
                  </a:cubicBezTo>
                  <a:cubicBezTo>
                    <a:pt x="56" y="122"/>
                    <a:pt x="56" y="122"/>
                    <a:pt x="56" y="122"/>
                  </a:cubicBezTo>
                  <a:cubicBezTo>
                    <a:pt x="57" y="122"/>
                    <a:pt x="57" y="122"/>
                    <a:pt x="57" y="122"/>
                  </a:cubicBezTo>
                  <a:cubicBezTo>
                    <a:pt x="59" y="122"/>
                    <a:pt x="59" y="122"/>
                    <a:pt x="59" y="122"/>
                  </a:cubicBezTo>
                  <a:cubicBezTo>
                    <a:pt x="59" y="122"/>
                    <a:pt x="59" y="122"/>
                    <a:pt x="59" y="122"/>
                  </a:cubicBezTo>
                  <a:cubicBezTo>
                    <a:pt x="62" y="121"/>
                    <a:pt x="62" y="121"/>
                    <a:pt x="62" y="121"/>
                  </a:cubicBezTo>
                  <a:cubicBezTo>
                    <a:pt x="63" y="121"/>
                    <a:pt x="63" y="121"/>
                    <a:pt x="63" y="121"/>
                  </a:cubicBezTo>
                  <a:cubicBezTo>
                    <a:pt x="63" y="121"/>
                    <a:pt x="63" y="121"/>
                    <a:pt x="64" y="121"/>
                  </a:cubicBezTo>
                  <a:cubicBezTo>
                    <a:pt x="64" y="121"/>
                    <a:pt x="64" y="121"/>
                    <a:pt x="64" y="121"/>
                  </a:cubicBezTo>
                  <a:cubicBezTo>
                    <a:pt x="64" y="121"/>
                    <a:pt x="65" y="121"/>
                    <a:pt x="66" y="121"/>
                  </a:cubicBezTo>
                  <a:cubicBezTo>
                    <a:pt x="66" y="121"/>
                    <a:pt x="66" y="121"/>
                    <a:pt x="66" y="121"/>
                  </a:cubicBezTo>
                  <a:cubicBezTo>
                    <a:pt x="67" y="121"/>
                    <a:pt x="67" y="121"/>
                    <a:pt x="67" y="120"/>
                  </a:cubicBezTo>
                  <a:cubicBezTo>
                    <a:pt x="68" y="120"/>
                    <a:pt x="68" y="120"/>
                    <a:pt x="69" y="120"/>
                  </a:cubicBezTo>
                  <a:cubicBezTo>
                    <a:pt x="69" y="120"/>
                    <a:pt x="69" y="120"/>
                    <a:pt x="69" y="120"/>
                  </a:cubicBezTo>
                  <a:cubicBezTo>
                    <a:pt x="69" y="120"/>
                    <a:pt x="70" y="120"/>
                    <a:pt x="70" y="120"/>
                  </a:cubicBezTo>
                  <a:cubicBezTo>
                    <a:pt x="70" y="120"/>
                    <a:pt x="70" y="120"/>
                    <a:pt x="71" y="121"/>
                  </a:cubicBezTo>
                  <a:cubicBezTo>
                    <a:pt x="72" y="121"/>
                    <a:pt x="72" y="121"/>
                    <a:pt x="72" y="121"/>
                  </a:cubicBezTo>
                  <a:cubicBezTo>
                    <a:pt x="73" y="121"/>
                    <a:pt x="73" y="121"/>
                    <a:pt x="73" y="121"/>
                  </a:cubicBezTo>
                  <a:cubicBezTo>
                    <a:pt x="73" y="121"/>
                    <a:pt x="73" y="121"/>
                    <a:pt x="73" y="121"/>
                  </a:cubicBezTo>
                  <a:cubicBezTo>
                    <a:pt x="74" y="120"/>
                    <a:pt x="75" y="119"/>
                    <a:pt x="77" y="119"/>
                  </a:cubicBezTo>
                  <a:cubicBezTo>
                    <a:pt x="78" y="119"/>
                    <a:pt x="78" y="120"/>
                    <a:pt x="79" y="120"/>
                  </a:cubicBezTo>
                  <a:cubicBezTo>
                    <a:pt x="79" y="119"/>
                    <a:pt x="80" y="119"/>
                    <a:pt x="80" y="119"/>
                  </a:cubicBezTo>
                  <a:cubicBezTo>
                    <a:pt x="80" y="119"/>
                    <a:pt x="80" y="119"/>
                    <a:pt x="80" y="119"/>
                  </a:cubicBezTo>
                  <a:cubicBezTo>
                    <a:pt x="81" y="117"/>
                    <a:pt x="81" y="117"/>
                    <a:pt x="81" y="117"/>
                  </a:cubicBezTo>
                  <a:cubicBezTo>
                    <a:pt x="81" y="117"/>
                    <a:pt x="81" y="117"/>
                    <a:pt x="81" y="117"/>
                  </a:cubicBezTo>
                  <a:cubicBezTo>
                    <a:pt x="82" y="116"/>
                    <a:pt x="82" y="116"/>
                    <a:pt x="82" y="116"/>
                  </a:cubicBezTo>
                  <a:cubicBezTo>
                    <a:pt x="74" y="114"/>
                    <a:pt x="74" y="114"/>
                    <a:pt x="74" y="114"/>
                  </a:cubicBezTo>
                  <a:cubicBezTo>
                    <a:pt x="90" y="112"/>
                    <a:pt x="90" y="112"/>
                    <a:pt x="90" y="112"/>
                  </a:cubicBezTo>
                  <a:cubicBezTo>
                    <a:pt x="92" y="112"/>
                    <a:pt x="92" y="112"/>
                    <a:pt x="92" y="112"/>
                  </a:cubicBezTo>
                  <a:cubicBezTo>
                    <a:pt x="96" y="112"/>
                    <a:pt x="96" y="112"/>
                    <a:pt x="96" y="112"/>
                  </a:cubicBezTo>
                  <a:cubicBezTo>
                    <a:pt x="98" y="110"/>
                    <a:pt x="98" y="110"/>
                    <a:pt x="98" y="110"/>
                  </a:cubicBezTo>
                  <a:cubicBezTo>
                    <a:pt x="99" y="110"/>
                    <a:pt x="99" y="110"/>
                    <a:pt x="100" y="110"/>
                  </a:cubicBezTo>
                  <a:cubicBezTo>
                    <a:pt x="100" y="110"/>
                    <a:pt x="101" y="110"/>
                    <a:pt x="101" y="110"/>
                  </a:cubicBezTo>
                  <a:cubicBezTo>
                    <a:pt x="101" y="110"/>
                    <a:pt x="101" y="110"/>
                    <a:pt x="101" y="110"/>
                  </a:cubicBezTo>
                  <a:cubicBezTo>
                    <a:pt x="102" y="110"/>
                    <a:pt x="102" y="110"/>
                    <a:pt x="103" y="110"/>
                  </a:cubicBezTo>
                  <a:cubicBezTo>
                    <a:pt x="103" y="110"/>
                    <a:pt x="104" y="111"/>
                    <a:pt x="104" y="112"/>
                  </a:cubicBezTo>
                  <a:cubicBezTo>
                    <a:pt x="107" y="111"/>
                    <a:pt x="107" y="111"/>
                    <a:pt x="107" y="111"/>
                  </a:cubicBezTo>
                  <a:cubicBezTo>
                    <a:pt x="108" y="111"/>
                    <a:pt x="109" y="110"/>
                    <a:pt x="111" y="110"/>
                  </a:cubicBezTo>
                  <a:cubicBezTo>
                    <a:pt x="112" y="109"/>
                    <a:pt x="112" y="109"/>
                    <a:pt x="112" y="109"/>
                  </a:cubicBezTo>
                  <a:cubicBezTo>
                    <a:pt x="114" y="109"/>
                    <a:pt x="115" y="109"/>
                    <a:pt x="116" y="109"/>
                  </a:cubicBezTo>
                  <a:cubicBezTo>
                    <a:pt x="114" y="108"/>
                    <a:pt x="114" y="108"/>
                    <a:pt x="114" y="108"/>
                  </a:cubicBezTo>
                  <a:cubicBezTo>
                    <a:pt x="123" y="107"/>
                    <a:pt x="123" y="107"/>
                    <a:pt x="123" y="107"/>
                  </a:cubicBezTo>
                  <a:cubicBezTo>
                    <a:pt x="125" y="107"/>
                    <a:pt x="125" y="107"/>
                    <a:pt x="125" y="107"/>
                  </a:cubicBezTo>
                  <a:cubicBezTo>
                    <a:pt x="127" y="106"/>
                    <a:pt x="128" y="106"/>
                    <a:pt x="129" y="106"/>
                  </a:cubicBezTo>
                  <a:cubicBezTo>
                    <a:pt x="131" y="105"/>
                    <a:pt x="131" y="105"/>
                    <a:pt x="131" y="105"/>
                  </a:cubicBezTo>
                  <a:cubicBezTo>
                    <a:pt x="133" y="104"/>
                    <a:pt x="133" y="104"/>
                    <a:pt x="133" y="104"/>
                  </a:cubicBezTo>
                  <a:cubicBezTo>
                    <a:pt x="133" y="104"/>
                    <a:pt x="133" y="104"/>
                    <a:pt x="133" y="104"/>
                  </a:cubicBezTo>
                  <a:cubicBezTo>
                    <a:pt x="142" y="103"/>
                    <a:pt x="142" y="103"/>
                    <a:pt x="142" y="103"/>
                  </a:cubicBezTo>
                  <a:cubicBezTo>
                    <a:pt x="143" y="102"/>
                    <a:pt x="143" y="102"/>
                    <a:pt x="143" y="102"/>
                  </a:cubicBezTo>
                  <a:cubicBezTo>
                    <a:pt x="144" y="102"/>
                    <a:pt x="144" y="102"/>
                    <a:pt x="144" y="102"/>
                  </a:cubicBezTo>
                  <a:cubicBezTo>
                    <a:pt x="144" y="101"/>
                    <a:pt x="145" y="101"/>
                    <a:pt x="146" y="101"/>
                  </a:cubicBezTo>
                  <a:cubicBezTo>
                    <a:pt x="146" y="101"/>
                    <a:pt x="147" y="101"/>
                    <a:pt x="147" y="101"/>
                  </a:cubicBezTo>
                  <a:cubicBezTo>
                    <a:pt x="148" y="101"/>
                    <a:pt x="149" y="101"/>
                    <a:pt x="149" y="101"/>
                  </a:cubicBezTo>
                  <a:cubicBezTo>
                    <a:pt x="150" y="102"/>
                    <a:pt x="150" y="102"/>
                    <a:pt x="150" y="102"/>
                  </a:cubicBezTo>
                  <a:cubicBezTo>
                    <a:pt x="150" y="102"/>
                    <a:pt x="150" y="102"/>
                    <a:pt x="150" y="102"/>
                  </a:cubicBezTo>
                  <a:cubicBezTo>
                    <a:pt x="151" y="102"/>
                    <a:pt x="151" y="101"/>
                    <a:pt x="152" y="101"/>
                  </a:cubicBezTo>
                  <a:cubicBezTo>
                    <a:pt x="154" y="100"/>
                    <a:pt x="154" y="100"/>
                    <a:pt x="154" y="100"/>
                  </a:cubicBezTo>
                  <a:cubicBezTo>
                    <a:pt x="154" y="99"/>
                    <a:pt x="154" y="99"/>
                    <a:pt x="154" y="99"/>
                  </a:cubicBezTo>
                  <a:cubicBezTo>
                    <a:pt x="155" y="99"/>
                    <a:pt x="155" y="99"/>
                    <a:pt x="155" y="99"/>
                  </a:cubicBezTo>
                  <a:cubicBezTo>
                    <a:pt x="155" y="98"/>
                    <a:pt x="156" y="98"/>
                    <a:pt x="157" y="97"/>
                  </a:cubicBezTo>
                  <a:cubicBezTo>
                    <a:pt x="158" y="97"/>
                    <a:pt x="161" y="95"/>
                    <a:pt x="161" y="95"/>
                  </a:cubicBezTo>
                  <a:cubicBezTo>
                    <a:pt x="162" y="94"/>
                    <a:pt x="162" y="93"/>
                    <a:pt x="163" y="92"/>
                  </a:cubicBezTo>
                  <a:cubicBezTo>
                    <a:pt x="163" y="90"/>
                    <a:pt x="163" y="90"/>
                    <a:pt x="163" y="90"/>
                  </a:cubicBezTo>
                  <a:cubicBezTo>
                    <a:pt x="164" y="89"/>
                    <a:pt x="166" y="88"/>
                    <a:pt x="168" y="88"/>
                  </a:cubicBezTo>
                  <a:cubicBezTo>
                    <a:pt x="168" y="88"/>
                    <a:pt x="168" y="88"/>
                    <a:pt x="168" y="88"/>
                  </a:cubicBezTo>
                  <a:cubicBezTo>
                    <a:pt x="168" y="89"/>
                    <a:pt x="168" y="89"/>
                    <a:pt x="168" y="89"/>
                  </a:cubicBezTo>
                  <a:cubicBezTo>
                    <a:pt x="168" y="88"/>
                    <a:pt x="168" y="88"/>
                    <a:pt x="168" y="88"/>
                  </a:cubicBezTo>
                  <a:cubicBezTo>
                    <a:pt x="174" y="88"/>
                    <a:pt x="174" y="88"/>
                    <a:pt x="174" y="88"/>
                  </a:cubicBezTo>
                  <a:cubicBezTo>
                    <a:pt x="175" y="89"/>
                    <a:pt x="175" y="89"/>
                    <a:pt x="175" y="89"/>
                  </a:cubicBezTo>
                  <a:cubicBezTo>
                    <a:pt x="175" y="88"/>
                    <a:pt x="175" y="88"/>
                    <a:pt x="175" y="88"/>
                  </a:cubicBezTo>
                  <a:cubicBezTo>
                    <a:pt x="178" y="88"/>
                    <a:pt x="178" y="88"/>
                    <a:pt x="178" y="88"/>
                  </a:cubicBezTo>
                  <a:cubicBezTo>
                    <a:pt x="178" y="88"/>
                    <a:pt x="178" y="88"/>
                    <a:pt x="178" y="88"/>
                  </a:cubicBezTo>
                  <a:cubicBezTo>
                    <a:pt x="179" y="88"/>
                    <a:pt x="179" y="88"/>
                    <a:pt x="179" y="88"/>
                  </a:cubicBezTo>
                  <a:cubicBezTo>
                    <a:pt x="179" y="88"/>
                    <a:pt x="179" y="88"/>
                    <a:pt x="179" y="88"/>
                  </a:cubicBezTo>
                  <a:cubicBezTo>
                    <a:pt x="188" y="89"/>
                    <a:pt x="188" y="89"/>
                    <a:pt x="188" y="89"/>
                  </a:cubicBezTo>
                  <a:cubicBezTo>
                    <a:pt x="190" y="89"/>
                    <a:pt x="190" y="89"/>
                    <a:pt x="191" y="90"/>
                  </a:cubicBezTo>
                  <a:cubicBezTo>
                    <a:pt x="193" y="91"/>
                    <a:pt x="193" y="91"/>
                    <a:pt x="193" y="91"/>
                  </a:cubicBezTo>
                  <a:cubicBezTo>
                    <a:pt x="194" y="92"/>
                    <a:pt x="195" y="93"/>
                    <a:pt x="196" y="93"/>
                  </a:cubicBezTo>
                  <a:cubicBezTo>
                    <a:pt x="196" y="94"/>
                    <a:pt x="196" y="94"/>
                    <a:pt x="196" y="94"/>
                  </a:cubicBezTo>
                  <a:cubicBezTo>
                    <a:pt x="197" y="94"/>
                    <a:pt x="197" y="94"/>
                    <a:pt x="197" y="94"/>
                  </a:cubicBezTo>
                  <a:cubicBezTo>
                    <a:pt x="198" y="94"/>
                    <a:pt x="199" y="95"/>
                    <a:pt x="200" y="95"/>
                  </a:cubicBezTo>
                  <a:cubicBezTo>
                    <a:pt x="201" y="95"/>
                    <a:pt x="201" y="95"/>
                    <a:pt x="201" y="95"/>
                  </a:cubicBezTo>
                  <a:cubicBezTo>
                    <a:pt x="202" y="94"/>
                    <a:pt x="205" y="92"/>
                    <a:pt x="208" y="90"/>
                  </a:cubicBezTo>
                  <a:cubicBezTo>
                    <a:pt x="209" y="90"/>
                    <a:pt x="209" y="90"/>
                    <a:pt x="209" y="90"/>
                  </a:cubicBezTo>
                  <a:cubicBezTo>
                    <a:pt x="214" y="90"/>
                    <a:pt x="214" y="90"/>
                    <a:pt x="214" y="90"/>
                  </a:cubicBezTo>
                  <a:cubicBezTo>
                    <a:pt x="215" y="90"/>
                    <a:pt x="215" y="90"/>
                    <a:pt x="215" y="90"/>
                  </a:cubicBezTo>
                  <a:cubicBezTo>
                    <a:pt x="216" y="91"/>
                    <a:pt x="218" y="92"/>
                    <a:pt x="219" y="93"/>
                  </a:cubicBezTo>
                  <a:cubicBezTo>
                    <a:pt x="220" y="96"/>
                    <a:pt x="222" y="99"/>
                    <a:pt x="223" y="103"/>
                  </a:cubicBezTo>
                  <a:cubicBezTo>
                    <a:pt x="228" y="112"/>
                    <a:pt x="228" y="112"/>
                    <a:pt x="228" y="112"/>
                  </a:cubicBezTo>
                  <a:cubicBezTo>
                    <a:pt x="228" y="113"/>
                    <a:pt x="228" y="114"/>
                    <a:pt x="228" y="115"/>
                  </a:cubicBezTo>
                  <a:cubicBezTo>
                    <a:pt x="228" y="116"/>
                    <a:pt x="228" y="116"/>
                    <a:pt x="228" y="116"/>
                  </a:cubicBezTo>
                  <a:cubicBezTo>
                    <a:pt x="226" y="117"/>
                    <a:pt x="226" y="117"/>
                    <a:pt x="226" y="117"/>
                  </a:cubicBezTo>
                  <a:cubicBezTo>
                    <a:pt x="226" y="119"/>
                    <a:pt x="226" y="119"/>
                    <a:pt x="226" y="119"/>
                  </a:cubicBezTo>
                  <a:cubicBezTo>
                    <a:pt x="227" y="119"/>
                    <a:pt x="227" y="119"/>
                    <a:pt x="227" y="119"/>
                  </a:cubicBezTo>
                  <a:cubicBezTo>
                    <a:pt x="227" y="120"/>
                    <a:pt x="227" y="120"/>
                    <a:pt x="227" y="120"/>
                  </a:cubicBezTo>
                  <a:cubicBezTo>
                    <a:pt x="227" y="121"/>
                    <a:pt x="227" y="121"/>
                    <a:pt x="227" y="121"/>
                  </a:cubicBezTo>
                  <a:cubicBezTo>
                    <a:pt x="227" y="121"/>
                    <a:pt x="227" y="121"/>
                    <a:pt x="227" y="121"/>
                  </a:cubicBezTo>
                  <a:cubicBezTo>
                    <a:pt x="228" y="123"/>
                    <a:pt x="228" y="123"/>
                    <a:pt x="228" y="123"/>
                  </a:cubicBezTo>
                  <a:cubicBezTo>
                    <a:pt x="227" y="125"/>
                    <a:pt x="227" y="126"/>
                    <a:pt x="226" y="127"/>
                  </a:cubicBezTo>
                  <a:cubicBezTo>
                    <a:pt x="225" y="127"/>
                    <a:pt x="225" y="128"/>
                    <a:pt x="224" y="128"/>
                  </a:cubicBezTo>
                  <a:cubicBezTo>
                    <a:pt x="225" y="129"/>
                    <a:pt x="225" y="129"/>
                    <a:pt x="225" y="129"/>
                  </a:cubicBezTo>
                  <a:cubicBezTo>
                    <a:pt x="227" y="129"/>
                    <a:pt x="227" y="129"/>
                    <a:pt x="227" y="129"/>
                  </a:cubicBezTo>
                  <a:cubicBezTo>
                    <a:pt x="227" y="129"/>
                    <a:pt x="227" y="129"/>
                    <a:pt x="227" y="129"/>
                  </a:cubicBezTo>
                  <a:cubicBezTo>
                    <a:pt x="228" y="129"/>
                    <a:pt x="228" y="129"/>
                    <a:pt x="228" y="129"/>
                  </a:cubicBezTo>
                  <a:cubicBezTo>
                    <a:pt x="230" y="129"/>
                    <a:pt x="231" y="129"/>
                    <a:pt x="232" y="129"/>
                  </a:cubicBezTo>
                  <a:cubicBezTo>
                    <a:pt x="236" y="128"/>
                    <a:pt x="236" y="128"/>
                    <a:pt x="236" y="128"/>
                  </a:cubicBezTo>
                  <a:cubicBezTo>
                    <a:pt x="242" y="127"/>
                    <a:pt x="242" y="127"/>
                    <a:pt x="242" y="127"/>
                  </a:cubicBezTo>
                  <a:cubicBezTo>
                    <a:pt x="243" y="127"/>
                    <a:pt x="243" y="127"/>
                    <a:pt x="243" y="127"/>
                  </a:cubicBezTo>
                  <a:cubicBezTo>
                    <a:pt x="242" y="126"/>
                    <a:pt x="242" y="125"/>
                    <a:pt x="242" y="124"/>
                  </a:cubicBezTo>
                  <a:cubicBezTo>
                    <a:pt x="241" y="121"/>
                    <a:pt x="241" y="121"/>
                    <a:pt x="241" y="121"/>
                  </a:cubicBezTo>
                  <a:cubicBezTo>
                    <a:pt x="247" y="120"/>
                    <a:pt x="247" y="120"/>
                    <a:pt x="247" y="120"/>
                  </a:cubicBezTo>
                  <a:cubicBezTo>
                    <a:pt x="249" y="121"/>
                    <a:pt x="249" y="121"/>
                    <a:pt x="249" y="121"/>
                  </a:cubicBezTo>
                  <a:cubicBezTo>
                    <a:pt x="249" y="121"/>
                    <a:pt x="249" y="121"/>
                    <a:pt x="249" y="121"/>
                  </a:cubicBezTo>
                  <a:cubicBezTo>
                    <a:pt x="253" y="126"/>
                    <a:pt x="253" y="126"/>
                    <a:pt x="253" y="126"/>
                  </a:cubicBezTo>
                  <a:cubicBezTo>
                    <a:pt x="254" y="127"/>
                    <a:pt x="254" y="128"/>
                    <a:pt x="255" y="129"/>
                  </a:cubicBezTo>
                  <a:cubicBezTo>
                    <a:pt x="255" y="129"/>
                    <a:pt x="255" y="129"/>
                    <a:pt x="255" y="129"/>
                  </a:cubicBezTo>
                  <a:cubicBezTo>
                    <a:pt x="256" y="129"/>
                    <a:pt x="256" y="129"/>
                    <a:pt x="256" y="129"/>
                  </a:cubicBezTo>
                  <a:cubicBezTo>
                    <a:pt x="256" y="128"/>
                    <a:pt x="257" y="128"/>
                    <a:pt x="258" y="128"/>
                  </a:cubicBezTo>
                  <a:cubicBezTo>
                    <a:pt x="258" y="128"/>
                    <a:pt x="259" y="128"/>
                    <a:pt x="259" y="129"/>
                  </a:cubicBezTo>
                  <a:cubicBezTo>
                    <a:pt x="260" y="129"/>
                    <a:pt x="260" y="129"/>
                    <a:pt x="260" y="129"/>
                  </a:cubicBezTo>
                  <a:cubicBezTo>
                    <a:pt x="261" y="129"/>
                    <a:pt x="261" y="129"/>
                    <a:pt x="261" y="129"/>
                  </a:cubicBezTo>
                  <a:cubicBezTo>
                    <a:pt x="262" y="129"/>
                    <a:pt x="262" y="130"/>
                    <a:pt x="263" y="130"/>
                  </a:cubicBezTo>
                  <a:cubicBezTo>
                    <a:pt x="264" y="131"/>
                    <a:pt x="264" y="131"/>
                    <a:pt x="264" y="131"/>
                  </a:cubicBezTo>
                  <a:cubicBezTo>
                    <a:pt x="266" y="132"/>
                    <a:pt x="268" y="133"/>
                    <a:pt x="270" y="133"/>
                  </a:cubicBezTo>
                  <a:cubicBezTo>
                    <a:pt x="270" y="133"/>
                    <a:pt x="270" y="133"/>
                    <a:pt x="270" y="133"/>
                  </a:cubicBezTo>
                  <a:cubicBezTo>
                    <a:pt x="290" y="130"/>
                    <a:pt x="290" y="130"/>
                    <a:pt x="290" y="130"/>
                  </a:cubicBezTo>
                  <a:cubicBezTo>
                    <a:pt x="287" y="135"/>
                    <a:pt x="287" y="135"/>
                    <a:pt x="287" y="135"/>
                  </a:cubicBezTo>
                  <a:cubicBezTo>
                    <a:pt x="287" y="135"/>
                    <a:pt x="286" y="136"/>
                    <a:pt x="286" y="136"/>
                  </a:cubicBezTo>
                  <a:cubicBezTo>
                    <a:pt x="284" y="139"/>
                    <a:pt x="284" y="139"/>
                    <a:pt x="284" y="139"/>
                  </a:cubicBezTo>
                  <a:cubicBezTo>
                    <a:pt x="283" y="140"/>
                    <a:pt x="282" y="141"/>
                    <a:pt x="280" y="141"/>
                  </a:cubicBezTo>
                  <a:cubicBezTo>
                    <a:pt x="279" y="142"/>
                    <a:pt x="279" y="142"/>
                    <a:pt x="279" y="142"/>
                  </a:cubicBezTo>
                  <a:cubicBezTo>
                    <a:pt x="278" y="143"/>
                    <a:pt x="278" y="143"/>
                    <a:pt x="278" y="143"/>
                  </a:cubicBezTo>
                  <a:cubicBezTo>
                    <a:pt x="277" y="144"/>
                    <a:pt x="277" y="145"/>
                    <a:pt x="276" y="146"/>
                  </a:cubicBezTo>
                  <a:cubicBezTo>
                    <a:pt x="276" y="147"/>
                    <a:pt x="276" y="147"/>
                    <a:pt x="276" y="147"/>
                  </a:cubicBezTo>
                  <a:cubicBezTo>
                    <a:pt x="278" y="150"/>
                    <a:pt x="278" y="150"/>
                    <a:pt x="278" y="150"/>
                  </a:cubicBezTo>
                  <a:cubicBezTo>
                    <a:pt x="280" y="148"/>
                    <a:pt x="280" y="148"/>
                    <a:pt x="280" y="148"/>
                  </a:cubicBezTo>
                  <a:cubicBezTo>
                    <a:pt x="282" y="147"/>
                    <a:pt x="284" y="146"/>
                    <a:pt x="286" y="146"/>
                  </a:cubicBezTo>
                  <a:cubicBezTo>
                    <a:pt x="286" y="146"/>
                    <a:pt x="287" y="146"/>
                    <a:pt x="287" y="146"/>
                  </a:cubicBezTo>
                  <a:cubicBezTo>
                    <a:pt x="293" y="146"/>
                    <a:pt x="293" y="146"/>
                    <a:pt x="293" y="146"/>
                  </a:cubicBezTo>
                  <a:cubicBezTo>
                    <a:pt x="296" y="147"/>
                    <a:pt x="296" y="147"/>
                    <a:pt x="296" y="147"/>
                  </a:cubicBezTo>
                  <a:cubicBezTo>
                    <a:pt x="297" y="147"/>
                    <a:pt x="297" y="147"/>
                    <a:pt x="298" y="148"/>
                  </a:cubicBezTo>
                  <a:cubicBezTo>
                    <a:pt x="298" y="147"/>
                    <a:pt x="298" y="147"/>
                    <a:pt x="298" y="147"/>
                  </a:cubicBezTo>
                  <a:cubicBezTo>
                    <a:pt x="298" y="146"/>
                    <a:pt x="298" y="146"/>
                    <a:pt x="298" y="146"/>
                  </a:cubicBezTo>
                  <a:cubicBezTo>
                    <a:pt x="298" y="145"/>
                    <a:pt x="299" y="144"/>
                    <a:pt x="300" y="143"/>
                  </a:cubicBezTo>
                  <a:cubicBezTo>
                    <a:pt x="301" y="143"/>
                    <a:pt x="301" y="143"/>
                    <a:pt x="301" y="143"/>
                  </a:cubicBezTo>
                  <a:cubicBezTo>
                    <a:pt x="311" y="138"/>
                    <a:pt x="311" y="138"/>
                    <a:pt x="311" y="138"/>
                  </a:cubicBezTo>
                  <a:cubicBezTo>
                    <a:pt x="315" y="137"/>
                    <a:pt x="318" y="135"/>
                    <a:pt x="321" y="133"/>
                  </a:cubicBezTo>
                  <a:cubicBezTo>
                    <a:pt x="324" y="132"/>
                    <a:pt x="327" y="130"/>
                    <a:pt x="331" y="128"/>
                  </a:cubicBezTo>
                  <a:cubicBezTo>
                    <a:pt x="375" y="110"/>
                    <a:pt x="375" y="110"/>
                    <a:pt x="375" y="110"/>
                  </a:cubicBezTo>
                  <a:cubicBezTo>
                    <a:pt x="358" y="124"/>
                    <a:pt x="358" y="124"/>
                    <a:pt x="358" y="124"/>
                  </a:cubicBezTo>
                  <a:cubicBezTo>
                    <a:pt x="359" y="127"/>
                    <a:pt x="359" y="127"/>
                    <a:pt x="359" y="127"/>
                  </a:cubicBezTo>
                  <a:cubicBezTo>
                    <a:pt x="359" y="128"/>
                    <a:pt x="358" y="129"/>
                    <a:pt x="358" y="130"/>
                  </a:cubicBezTo>
                  <a:cubicBezTo>
                    <a:pt x="357" y="131"/>
                    <a:pt x="357" y="131"/>
                    <a:pt x="357" y="131"/>
                  </a:cubicBezTo>
                  <a:cubicBezTo>
                    <a:pt x="357" y="132"/>
                    <a:pt x="357" y="132"/>
                    <a:pt x="357" y="132"/>
                  </a:cubicBezTo>
                  <a:cubicBezTo>
                    <a:pt x="357" y="132"/>
                    <a:pt x="357" y="132"/>
                    <a:pt x="357" y="132"/>
                  </a:cubicBezTo>
                  <a:cubicBezTo>
                    <a:pt x="356" y="132"/>
                    <a:pt x="356" y="132"/>
                    <a:pt x="356" y="132"/>
                  </a:cubicBezTo>
                  <a:cubicBezTo>
                    <a:pt x="356" y="133"/>
                    <a:pt x="356" y="133"/>
                    <a:pt x="355" y="133"/>
                  </a:cubicBezTo>
                  <a:cubicBezTo>
                    <a:pt x="354" y="134"/>
                    <a:pt x="354" y="134"/>
                    <a:pt x="354" y="134"/>
                  </a:cubicBezTo>
                  <a:cubicBezTo>
                    <a:pt x="356" y="135"/>
                    <a:pt x="357" y="136"/>
                    <a:pt x="358" y="136"/>
                  </a:cubicBezTo>
                  <a:cubicBezTo>
                    <a:pt x="363" y="141"/>
                    <a:pt x="363" y="141"/>
                    <a:pt x="363" y="141"/>
                  </a:cubicBezTo>
                  <a:cubicBezTo>
                    <a:pt x="376" y="150"/>
                    <a:pt x="376" y="150"/>
                    <a:pt x="376" y="150"/>
                  </a:cubicBezTo>
                  <a:cubicBezTo>
                    <a:pt x="380" y="153"/>
                    <a:pt x="383" y="157"/>
                    <a:pt x="385" y="159"/>
                  </a:cubicBezTo>
                  <a:cubicBezTo>
                    <a:pt x="396" y="174"/>
                    <a:pt x="396" y="174"/>
                    <a:pt x="396" y="174"/>
                  </a:cubicBezTo>
                  <a:cubicBezTo>
                    <a:pt x="400" y="180"/>
                    <a:pt x="400" y="180"/>
                    <a:pt x="400" y="180"/>
                  </a:cubicBezTo>
                  <a:cubicBezTo>
                    <a:pt x="406" y="189"/>
                    <a:pt x="412" y="198"/>
                    <a:pt x="417" y="207"/>
                  </a:cubicBezTo>
                  <a:cubicBezTo>
                    <a:pt x="422" y="215"/>
                    <a:pt x="427" y="223"/>
                    <a:pt x="432" y="231"/>
                  </a:cubicBezTo>
                  <a:cubicBezTo>
                    <a:pt x="434" y="233"/>
                    <a:pt x="434" y="233"/>
                    <a:pt x="434" y="233"/>
                  </a:cubicBezTo>
                  <a:cubicBezTo>
                    <a:pt x="434" y="232"/>
                    <a:pt x="435" y="232"/>
                    <a:pt x="436" y="231"/>
                  </a:cubicBezTo>
                  <a:cubicBezTo>
                    <a:pt x="436" y="231"/>
                    <a:pt x="436" y="231"/>
                    <a:pt x="436" y="231"/>
                  </a:cubicBezTo>
                  <a:cubicBezTo>
                    <a:pt x="437" y="231"/>
                    <a:pt x="438" y="230"/>
                    <a:pt x="439" y="230"/>
                  </a:cubicBezTo>
                  <a:cubicBezTo>
                    <a:pt x="440" y="230"/>
                    <a:pt x="440" y="230"/>
                    <a:pt x="440" y="230"/>
                  </a:cubicBezTo>
                  <a:cubicBezTo>
                    <a:pt x="440" y="230"/>
                    <a:pt x="440" y="230"/>
                    <a:pt x="440" y="230"/>
                  </a:cubicBezTo>
                  <a:cubicBezTo>
                    <a:pt x="440" y="229"/>
                    <a:pt x="440" y="229"/>
                    <a:pt x="440" y="229"/>
                  </a:cubicBezTo>
                  <a:cubicBezTo>
                    <a:pt x="439" y="229"/>
                    <a:pt x="439" y="229"/>
                    <a:pt x="439" y="229"/>
                  </a:cubicBezTo>
                  <a:cubicBezTo>
                    <a:pt x="439" y="228"/>
                    <a:pt x="439" y="227"/>
                    <a:pt x="439" y="227"/>
                  </a:cubicBezTo>
                  <a:cubicBezTo>
                    <a:pt x="439" y="226"/>
                    <a:pt x="439" y="226"/>
                    <a:pt x="439" y="226"/>
                  </a:cubicBezTo>
                  <a:cubicBezTo>
                    <a:pt x="439" y="226"/>
                    <a:pt x="439" y="226"/>
                    <a:pt x="439" y="226"/>
                  </a:cubicBezTo>
                  <a:cubicBezTo>
                    <a:pt x="439" y="225"/>
                    <a:pt x="439" y="225"/>
                    <a:pt x="439" y="225"/>
                  </a:cubicBezTo>
                  <a:cubicBezTo>
                    <a:pt x="439" y="225"/>
                    <a:pt x="439" y="225"/>
                    <a:pt x="439" y="225"/>
                  </a:cubicBezTo>
                  <a:cubicBezTo>
                    <a:pt x="439" y="223"/>
                    <a:pt x="439" y="223"/>
                    <a:pt x="439" y="223"/>
                  </a:cubicBezTo>
                  <a:cubicBezTo>
                    <a:pt x="439" y="223"/>
                    <a:pt x="440" y="222"/>
                    <a:pt x="440" y="222"/>
                  </a:cubicBezTo>
                  <a:cubicBezTo>
                    <a:pt x="441" y="221"/>
                    <a:pt x="442" y="221"/>
                    <a:pt x="443" y="221"/>
                  </a:cubicBezTo>
                  <a:cubicBezTo>
                    <a:pt x="443" y="221"/>
                    <a:pt x="443" y="221"/>
                    <a:pt x="443" y="221"/>
                  </a:cubicBezTo>
                  <a:cubicBezTo>
                    <a:pt x="443" y="221"/>
                    <a:pt x="443" y="221"/>
                    <a:pt x="443" y="221"/>
                  </a:cubicBezTo>
                  <a:cubicBezTo>
                    <a:pt x="444" y="221"/>
                    <a:pt x="444" y="221"/>
                    <a:pt x="444" y="221"/>
                  </a:cubicBezTo>
                  <a:cubicBezTo>
                    <a:pt x="444" y="221"/>
                    <a:pt x="444" y="221"/>
                    <a:pt x="444" y="221"/>
                  </a:cubicBezTo>
                  <a:cubicBezTo>
                    <a:pt x="445" y="220"/>
                    <a:pt x="446" y="218"/>
                    <a:pt x="448" y="218"/>
                  </a:cubicBezTo>
                  <a:cubicBezTo>
                    <a:pt x="448" y="218"/>
                    <a:pt x="449" y="218"/>
                    <a:pt x="449" y="218"/>
                  </a:cubicBezTo>
                  <a:cubicBezTo>
                    <a:pt x="457" y="221"/>
                    <a:pt x="457" y="221"/>
                    <a:pt x="457" y="221"/>
                  </a:cubicBezTo>
                  <a:cubicBezTo>
                    <a:pt x="461" y="222"/>
                    <a:pt x="461" y="224"/>
                    <a:pt x="461" y="225"/>
                  </a:cubicBezTo>
                  <a:cubicBezTo>
                    <a:pt x="461" y="227"/>
                    <a:pt x="461" y="227"/>
                    <a:pt x="461" y="227"/>
                  </a:cubicBezTo>
                  <a:cubicBezTo>
                    <a:pt x="461" y="228"/>
                    <a:pt x="460" y="228"/>
                    <a:pt x="460" y="228"/>
                  </a:cubicBezTo>
                  <a:cubicBezTo>
                    <a:pt x="460" y="229"/>
                    <a:pt x="460" y="229"/>
                    <a:pt x="460" y="229"/>
                  </a:cubicBezTo>
                  <a:cubicBezTo>
                    <a:pt x="460" y="229"/>
                    <a:pt x="460" y="229"/>
                    <a:pt x="460" y="229"/>
                  </a:cubicBezTo>
                  <a:cubicBezTo>
                    <a:pt x="461" y="230"/>
                    <a:pt x="461" y="230"/>
                    <a:pt x="461" y="230"/>
                  </a:cubicBezTo>
                  <a:cubicBezTo>
                    <a:pt x="462" y="231"/>
                    <a:pt x="463" y="232"/>
                    <a:pt x="463" y="232"/>
                  </a:cubicBezTo>
                  <a:cubicBezTo>
                    <a:pt x="464" y="233"/>
                    <a:pt x="464" y="233"/>
                    <a:pt x="464" y="233"/>
                  </a:cubicBezTo>
                  <a:cubicBezTo>
                    <a:pt x="465" y="234"/>
                    <a:pt x="466" y="235"/>
                    <a:pt x="467" y="235"/>
                  </a:cubicBezTo>
                  <a:cubicBezTo>
                    <a:pt x="467" y="236"/>
                    <a:pt x="467" y="236"/>
                    <a:pt x="467" y="236"/>
                  </a:cubicBezTo>
                  <a:cubicBezTo>
                    <a:pt x="468" y="236"/>
                    <a:pt x="468" y="236"/>
                    <a:pt x="468" y="236"/>
                  </a:cubicBezTo>
                  <a:cubicBezTo>
                    <a:pt x="468" y="236"/>
                    <a:pt x="469" y="236"/>
                    <a:pt x="469" y="236"/>
                  </a:cubicBezTo>
                  <a:cubicBezTo>
                    <a:pt x="469" y="236"/>
                    <a:pt x="469" y="236"/>
                    <a:pt x="470" y="236"/>
                  </a:cubicBezTo>
                  <a:cubicBezTo>
                    <a:pt x="470" y="236"/>
                    <a:pt x="470" y="236"/>
                    <a:pt x="470" y="236"/>
                  </a:cubicBezTo>
                  <a:cubicBezTo>
                    <a:pt x="471" y="235"/>
                    <a:pt x="471" y="235"/>
                    <a:pt x="471" y="235"/>
                  </a:cubicBezTo>
                  <a:cubicBezTo>
                    <a:pt x="472" y="235"/>
                    <a:pt x="472" y="235"/>
                    <a:pt x="472" y="235"/>
                  </a:cubicBezTo>
                  <a:cubicBezTo>
                    <a:pt x="473" y="235"/>
                    <a:pt x="474" y="235"/>
                    <a:pt x="475" y="235"/>
                  </a:cubicBezTo>
                  <a:cubicBezTo>
                    <a:pt x="476" y="235"/>
                    <a:pt x="476" y="235"/>
                    <a:pt x="477" y="235"/>
                  </a:cubicBezTo>
                  <a:cubicBezTo>
                    <a:pt x="490" y="236"/>
                    <a:pt x="490" y="236"/>
                    <a:pt x="490" y="236"/>
                  </a:cubicBezTo>
                  <a:cubicBezTo>
                    <a:pt x="490" y="236"/>
                    <a:pt x="490" y="236"/>
                    <a:pt x="490" y="236"/>
                  </a:cubicBezTo>
                  <a:cubicBezTo>
                    <a:pt x="491" y="236"/>
                    <a:pt x="491" y="235"/>
                    <a:pt x="492" y="235"/>
                  </a:cubicBezTo>
                  <a:cubicBezTo>
                    <a:pt x="493" y="235"/>
                    <a:pt x="493" y="235"/>
                    <a:pt x="493" y="235"/>
                  </a:cubicBezTo>
                  <a:cubicBezTo>
                    <a:pt x="493" y="235"/>
                    <a:pt x="493" y="235"/>
                    <a:pt x="493" y="235"/>
                  </a:cubicBezTo>
                  <a:cubicBezTo>
                    <a:pt x="493" y="234"/>
                    <a:pt x="493" y="234"/>
                    <a:pt x="493" y="234"/>
                  </a:cubicBezTo>
                  <a:cubicBezTo>
                    <a:pt x="494" y="232"/>
                    <a:pt x="495" y="231"/>
                    <a:pt x="496" y="230"/>
                  </a:cubicBezTo>
                  <a:cubicBezTo>
                    <a:pt x="497" y="230"/>
                    <a:pt x="497" y="230"/>
                    <a:pt x="497" y="230"/>
                  </a:cubicBezTo>
                  <a:cubicBezTo>
                    <a:pt x="504" y="228"/>
                    <a:pt x="504" y="228"/>
                    <a:pt x="504" y="228"/>
                  </a:cubicBezTo>
                  <a:cubicBezTo>
                    <a:pt x="505" y="228"/>
                    <a:pt x="505" y="228"/>
                    <a:pt x="506" y="228"/>
                  </a:cubicBezTo>
                  <a:cubicBezTo>
                    <a:pt x="506" y="228"/>
                    <a:pt x="506" y="228"/>
                    <a:pt x="506" y="228"/>
                  </a:cubicBezTo>
                  <a:cubicBezTo>
                    <a:pt x="507" y="228"/>
                    <a:pt x="507" y="228"/>
                    <a:pt x="507" y="228"/>
                  </a:cubicBezTo>
                  <a:cubicBezTo>
                    <a:pt x="517" y="230"/>
                    <a:pt x="517" y="230"/>
                    <a:pt x="517" y="230"/>
                  </a:cubicBezTo>
                  <a:cubicBezTo>
                    <a:pt x="518" y="231"/>
                    <a:pt x="520" y="231"/>
                    <a:pt x="521" y="231"/>
                  </a:cubicBezTo>
                  <a:cubicBezTo>
                    <a:pt x="522" y="231"/>
                    <a:pt x="523" y="232"/>
                    <a:pt x="524" y="232"/>
                  </a:cubicBezTo>
                  <a:cubicBezTo>
                    <a:pt x="524" y="232"/>
                    <a:pt x="524" y="232"/>
                    <a:pt x="524" y="232"/>
                  </a:cubicBezTo>
                  <a:cubicBezTo>
                    <a:pt x="525" y="234"/>
                    <a:pt x="525" y="234"/>
                    <a:pt x="525" y="234"/>
                  </a:cubicBezTo>
                  <a:cubicBezTo>
                    <a:pt x="527" y="235"/>
                    <a:pt x="527" y="235"/>
                    <a:pt x="527" y="235"/>
                  </a:cubicBezTo>
                  <a:cubicBezTo>
                    <a:pt x="530" y="239"/>
                    <a:pt x="530" y="239"/>
                    <a:pt x="530" y="239"/>
                  </a:cubicBezTo>
                  <a:cubicBezTo>
                    <a:pt x="531" y="241"/>
                    <a:pt x="532" y="243"/>
                    <a:pt x="532" y="245"/>
                  </a:cubicBezTo>
                  <a:cubicBezTo>
                    <a:pt x="533" y="246"/>
                    <a:pt x="533" y="246"/>
                    <a:pt x="533" y="246"/>
                  </a:cubicBezTo>
                  <a:cubicBezTo>
                    <a:pt x="533" y="247"/>
                    <a:pt x="533" y="248"/>
                    <a:pt x="533" y="249"/>
                  </a:cubicBezTo>
                  <a:cubicBezTo>
                    <a:pt x="534" y="249"/>
                    <a:pt x="534" y="249"/>
                    <a:pt x="534" y="249"/>
                  </a:cubicBezTo>
                  <a:cubicBezTo>
                    <a:pt x="534" y="250"/>
                    <a:pt x="534" y="250"/>
                    <a:pt x="534" y="250"/>
                  </a:cubicBezTo>
                  <a:cubicBezTo>
                    <a:pt x="534" y="250"/>
                    <a:pt x="534" y="250"/>
                    <a:pt x="534" y="250"/>
                  </a:cubicBezTo>
                  <a:cubicBezTo>
                    <a:pt x="537" y="251"/>
                    <a:pt x="537" y="251"/>
                    <a:pt x="537" y="251"/>
                  </a:cubicBezTo>
                  <a:cubicBezTo>
                    <a:pt x="537" y="251"/>
                    <a:pt x="538" y="251"/>
                    <a:pt x="538" y="251"/>
                  </a:cubicBezTo>
                  <a:cubicBezTo>
                    <a:pt x="553" y="259"/>
                    <a:pt x="553" y="259"/>
                    <a:pt x="553" y="259"/>
                  </a:cubicBezTo>
                  <a:cubicBezTo>
                    <a:pt x="553" y="260"/>
                    <a:pt x="553" y="260"/>
                    <a:pt x="553" y="260"/>
                  </a:cubicBezTo>
                  <a:cubicBezTo>
                    <a:pt x="553" y="261"/>
                    <a:pt x="553" y="261"/>
                    <a:pt x="553" y="261"/>
                  </a:cubicBezTo>
                  <a:cubicBezTo>
                    <a:pt x="557" y="261"/>
                    <a:pt x="557" y="261"/>
                    <a:pt x="557" y="261"/>
                  </a:cubicBezTo>
                  <a:cubicBezTo>
                    <a:pt x="553" y="262"/>
                    <a:pt x="553" y="262"/>
                    <a:pt x="553" y="262"/>
                  </a:cubicBezTo>
                  <a:cubicBezTo>
                    <a:pt x="553" y="263"/>
                    <a:pt x="553" y="263"/>
                    <a:pt x="553" y="263"/>
                  </a:cubicBezTo>
                  <a:cubicBezTo>
                    <a:pt x="552" y="263"/>
                    <a:pt x="552" y="263"/>
                    <a:pt x="552" y="263"/>
                  </a:cubicBezTo>
                  <a:cubicBezTo>
                    <a:pt x="553" y="264"/>
                    <a:pt x="553" y="264"/>
                    <a:pt x="553" y="264"/>
                  </a:cubicBezTo>
                  <a:cubicBezTo>
                    <a:pt x="554" y="265"/>
                    <a:pt x="554" y="265"/>
                    <a:pt x="554" y="265"/>
                  </a:cubicBezTo>
                  <a:cubicBezTo>
                    <a:pt x="554" y="266"/>
                    <a:pt x="554" y="266"/>
                    <a:pt x="554" y="266"/>
                  </a:cubicBezTo>
                  <a:cubicBezTo>
                    <a:pt x="555" y="266"/>
                    <a:pt x="555" y="266"/>
                    <a:pt x="555" y="266"/>
                  </a:cubicBezTo>
                  <a:cubicBezTo>
                    <a:pt x="555" y="267"/>
                    <a:pt x="555" y="267"/>
                    <a:pt x="555" y="267"/>
                  </a:cubicBezTo>
                  <a:cubicBezTo>
                    <a:pt x="555" y="267"/>
                    <a:pt x="555" y="267"/>
                    <a:pt x="555" y="267"/>
                  </a:cubicBezTo>
                  <a:cubicBezTo>
                    <a:pt x="555" y="268"/>
                    <a:pt x="556" y="268"/>
                    <a:pt x="557" y="270"/>
                  </a:cubicBezTo>
                  <a:cubicBezTo>
                    <a:pt x="557" y="270"/>
                    <a:pt x="557" y="270"/>
                    <a:pt x="557" y="270"/>
                  </a:cubicBezTo>
                  <a:cubicBezTo>
                    <a:pt x="557" y="271"/>
                    <a:pt x="557" y="271"/>
                    <a:pt x="557" y="271"/>
                  </a:cubicBezTo>
                  <a:cubicBezTo>
                    <a:pt x="561" y="269"/>
                    <a:pt x="561" y="269"/>
                    <a:pt x="561" y="269"/>
                  </a:cubicBezTo>
                  <a:cubicBezTo>
                    <a:pt x="558" y="271"/>
                    <a:pt x="558" y="271"/>
                    <a:pt x="558" y="271"/>
                  </a:cubicBezTo>
                  <a:cubicBezTo>
                    <a:pt x="569" y="272"/>
                    <a:pt x="569" y="272"/>
                    <a:pt x="569" y="272"/>
                  </a:cubicBezTo>
                  <a:cubicBezTo>
                    <a:pt x="570" y="272"/>
                    <a:pt x="570" y="272"/>
                    <a:pt x="570" y="272"/>
                  </a:cubicBezTo>
                  <a:cubicBezTo>
                    <a:pt x="576" y="273"/>
                    <a:pt x="576" y="273"/>
                    <a:pt x="576" y="273"/>
                  </a:cubicBezTo>
                  <a:cubicBezTo>
                    <a:pt x="575" y="274"/>
                    <a:pt x="575" y="274"/>
                    <a:pt x="575" y="274"/>
                  </a:cubicBezTo>
                  <a:cubicBezTo>
                    <a:pt x="576" y="274"/>
                    <a:pt x="576" y="274"/>
                    <a:pt x="576" y="274"/>
                  </a:cubicBezTo>
                  <a:cubicBezTo>
                    <a:pt x="579" y="272"/>
                    <a:pt x="579" y="272"/>
                    <a:pt x="579" y="272"/>
                  </a:cubicBezTo>
                  <a:cubicBezTo>
                    <a:pt x="580" y="271"/>
                    <a:pt x="581" y="269"/>
                    <a:pt x="583" y="268"/>
                  </a:cubicBezTo>
                  <a:cubicBezTo>
                    <a:pt x="590" y="261"/>
                    <a:pt x="590" y="261"/>
                    <a:pt x="590" y="261"/>
                  </a:cubicBezTo>
                  <a:cubicBezTo>
                    <a:pt x="590" y="267"/>
                    <a:pt x="590" y="267"/>
                    <a:pt x="590" y="267"/>
                  </a:cubicBezTo>
                  <a:cubicBezTo>
                    <a:pt x="590" y="268"/>
                    <a:pt x="590" y="269"/>
                    <a:pt x="590" y="270"/>
                  </a:cubicBezTo>
                  <a:cubicBezTo>
                    <a:pt x="590" y="271"/>
                    <a:pt x="590" y="272"/>
                    <a:pt x="590" y="273"/>
                  </a:cubicBezTo>
                  <a:cubicBezTo>
                    <a:pt x="590" y="273"/>
                    <a:pt x="590" y="273"/>
                    <a:pt x="590" y="273"/>
                  </a:cubicBezTo>
                  <a:cubicBezTo>
                    <a:pt x="591" y="274"/>
                    <a:pt x="591" y="274"/>
                    <a:pt x="591" y="274"/>
                  </a:cubicBezTo>
                  <a:cubicBezTo>
                    <a:pt x="595" y="277"/>
                    <a:pt x="599" y="281"/>
                    <a:pt x="603" y="284"/>
                  </a:cubicBezTo>
                  <a:cubicBezTo>
                    <a:pt x="604" y="285"/>
                    <a:pt x="604" y="285"/>
                    <a:pt x="604" y="285"/>
                  </a:cubicBezTo>
                  <a:cubicBezTo>
                    <a:pt x="605" y="285"/>
                    <a:pt x="605" y="285"/>
                    <a:pt x="606" y="285"/>
                  </a:cubicBezTo>
                  <a:cubicBezTo>
                    <a:pt x="607" y="285"/>
                    <a:pt x="608" y="285"/>
                    <a:pt x="609" y="285"/>
                  </a:cubicBezTo>
                  <a:cubicBezTo>
                    <a:pt x="609" y="285"/>
                    <a:pt x="610" y="285"/>
                    <a:pt x="611" y="285"/>
                  </a:cubicBezTo>
                  <a:cubicBezTo>
                    <a:pt x="611" y="285"/>
                    <a:pt x="611" y="285"/>
                    <a:pt x="611" y="285"/>
                  </a:cubicBezTo>
                  <a:cubicBezTo>
                    <a:pt x="615" y="284"/>
                    <a:pt x="615" y="284"/>
                    <a:pt x="615" y="284"/>
                  </a:cubicBezTo>
                  <a:cubicBezTo>
                    <a:pt x="621" y="281"/>
                    <a:pt x="621" y="281"/>
                    <a:pt x="621" y="281"/>
                  </a:cubicBezTo>
                  <a:cubicBezTo>
                    <a:pt x="621" y="281"/>
                    <a:pt x="621" y="280"/>
                    <a:pt x="621" y="280"/>
                  </a:cubicBezTo>
                  <a:cubicBezTo>
                    <a:pt x="622" y="278"/>
                    <a:pt x="622" y="278"/>
                    <a:pt x="622" y="278"/>
                  </a:cubicBezTo>
                  <a:cubicBezTo>
                    <a:pt x="622" y="277"/>
                    <a:pt x="623" y="276"/>
                    <a:pt x="623" y="276"/>
                  </a:cubicBezTo>
                  <a:cubicBezTo>
                    <a:pt x="624" y="275"/>
                    <a:pt x="624" y="275"/>
                    <a:pt x="624" y="275"/>
                  </a:cubicBezTo>
                  <a:cubicBezTo>
                    <a:pt x="624" y="275"/>
                    <a:pt x="624" y="275"/>
                    <a:pt x="624" y="275"/>
                  </a:cubicBezTo>
                  <a:cubicBezTo>
                    <a:pt x="626" y="275"/>
                    <a:pt x="626" y="275"/>
                    <a:pt x="626" y="275"/>
                  </a:cubicBezTo>
                  <a:cubicBezTo>
                    <a:pt x="626" y="275"/>
                    <a:pt x="626" y="275"/>
                    <a:pt x="626" y="275"/>
                  </a:cubicBezTo>
                  <a:cubicBezTo>
                    <a:pt x="626" y="275"/>
                    <a:pt x="626" y="275"/>
                    <a:pt x="626" y="275"/>
                  </a:cubicBezTo>
                  <a:cubicBezTo>
                    <a:pt x="626" y="275"/>
                    <a:pt x="627" y="275"/>
                    <a:pt x="628" y="274"/>
                  </a:cubicBezTo>
                  <a:cubicBezTo>
                    <a:pt x="628" y="274"/>
                    <a:pt x="628" y="274"/>
                    <a:pt x="628" y="274"/>
                  </a:cubicBezTo>
                  <a:cubicBezTo>
                    <a:pt x="628" y="274"/>
                    <a:pt x="628" y="274"/>
                    <a:pt x="628" y="274"/>
                  </a:cubicBezTo>
                  <a:cubicBezTo>
                    <a:pt x="628" y="274"/>
                    <a:pt x="628" y="274"/>
                    <a:pt x="628" y="274"/>
                  </a:cubicBezTo>
                  <a:cubicBezTo>
                    <a:pt x="629" y="275"/>
                    <a:pt x="629" y="275"/>
                    <a:pt x="629" y="275"/>
                  </a:cubicBezTo>
                  <a:cubicBezTo>
                    <a:pt x="630" y="275"/>
                    <a:pt x="630" y="275"/>
                    <a:pt x="631" y="275"/>
                  </a:cubicBezTo>
                  <a:cubicBezTo>
                    <a:pt x="631" y="275"/>
                    <a:pt x="631" y="275"/>
                    <a:pt x="631" y="275"/>
                  </a:cubicBezTo>
                  <a:cubicBezTo>
                    <a:pt x="632" y="275"/>
                    <a:pt x="632" y="274"/>
                    <a:pt x="633" y="274"/>
                  </a:cubicBezTo>
                  <a:cubicBezTo>
                    <a:pt x="634" y="274"/>
                    <a:pt x="635" y="274"/>
                    <a:pt x="637" y="274"/>
                  </a:cubicBezTo>
                  <a:cubicBezTo>
                    <a:pt x="642" y="273"/>
                    <a:pt x="642" y="273"/>
                    <a:pt x="642" y="273"/>
                  </a:cubicBezTo>
                  <a:cubicBezTo>
                    <a:pt x="647" y="272"/>
                    <a:pt x="651" y="271"/>
                    <a:pt x="656" y="269"/>
                  </a:cubicBezTo>
                  <a:cubicBezTo>
                    <a:pt x="656" y="270"/>
                    <a:pt x="656" y="270"/>
                    <a:pt x="656" y="270"/>
                  </a:cubicBezTo>
                  <a:cubicBezTo>
                    <a:pt x="656" y="269"/>
                    <a:pt x="656" y="269"/>
                    <a:pt x="656" y="269"/>
                  </a:cubicBezTo>
                  <a:cubicBezTo>
                    <a:pt x="656" y="269"/>
                    <a:pt x="656" y="269"/>
                    <a:pt x="656" y="269"/>
                  </a:cubicBezTo>
                  <a:cubicBezTo>
                    <a:pt x="656" y="269"/>
                    <a:pt x="656" y="269"/>
                    <a:pt x="656" y="269"/>
                  </a:cubicBezTo>
                  <a:cubicBezTo>
                    <a:pt x="655" y="265"/>
                    <a:pt x="655" y="265"/>
                    <a:pt x="655" y="265"/>
                  </a:cubicBezTo>
                  <a:cubicBezTo>
                    <a:pt x="652" y="256"/>
                    <a:pt x="652" y="256"/>
                    <a:pt x="652" y="256"/>
                  </a:cubicBezTo>
                  <a:cubicBezTo>
                    <a:pt x="659" y="261"/>
                    <a:pt x="659" y="261"/>
                    <a:pt x="659" y="261"/>
                  </a:cubicBezTo>
                  <a:cubicBezTo>
                    <a:pt x="660" y="260"/>
                    <a:pt x="662" y="260"/>
                    <a:pt x="664" y="260"/>
                  </a:cubicBezTo>
                  <a:cubicBezTo>
                    <a:pt x="664" y="260"/>
                    <a:pt x="665" y="259"/>
                    <a:pt x="665" y="259"/>
                  </a:cubicBezTo>
                  <a:cubicBezTo>
                    <a:pt x="666" y="259"/>
                    <a:pt x="666" y="258"/>
                    <a:pt x="667" y="258"/>
                  </a:cubicBezTo>
                  <a:cubicBezTo>
                    <a:pt x="668" y="258"/>
                    <a:pt x="668" y="258"/>
                    <a:pt x="668" y="258"/>
                  </a:cubicBezTo>
                  <a:cubicBezTo>
                    <a:pt x="667" y="257"/>
                    <a:pt x="667" y="257"/>
                    <a:pt x="667" y="257"/>
                  </a:cubicBezTo>
                  <a:cubicBezTo>
                    <a:pt x="669" y="256"/>
                    <a:pt x="669" y="256"/>
                    <a:pt x="669" y="256"/>
                  </a:cubicBezTo>
                  <a:cubicBezTo>
                    <a:pt x="669" y="257"/>
                    <a:pt x="669" y="257"/>
                    <a:pt x="669" y="257"/>
                  </a:cubicBezTo>
                  <a:cubicBezTo>
                    <a:pt x="671" y="256"/>
                    <a:pt x="671" y="256"/>
                    <a:pt x="671" y="256"/>
                  </a:cubicBezTo>
                  <a:cubicBezTo>
                    <a:pt x="672" y="255"/>
                    <a:pt x="673" y="255"/>
                    <a:pt x="673" y="254"/>
                  </a:cubicBezTo>
                  <a:cubicBezTo>
                    <a:pt x="678" y="252"/>
                    <a:pt x="682" y="250"/>
                    <a:pt x="687" y="248"/>
                  </a:cubicBezTo>
                  <a:cubicBezTo>
                    <a:pt x="694" y="244"/>
                    <a:pt x="694" y="244"/>
                    <a:pt x="694" y="244"/>
                  </a:cubicBezTo>
                  <a:cubicBezTo>
                    <a:pt x="697" y="243"/>
                    <a:pt x="699" y="241"/>
                    <a:pt x="702" y="240"/>
                  </a:cubicBezTo>
                  <a:cubicBezTo>
                    <a:pt x="705" y="239"/>
                    <a:pt x="705" y="239"/>
                    <a:pt x="705" y="239"/>
                  </a:cubicBezTo>
                  <a:cubicBezTo>
                    <a:pt x="707" y="238"/>
                    <a:pt x="709" y="238"/>
                    <a:pt x="712" y="238"/>
                  </a:cubicBezTo>
                  <a:cubicBezTo>
                    <a:pt x="713" y="237"/>
                    <a:pt x="713" y="237"/>
                    <a:pt x="713" y="237"/>
                  </a:cubicBezTo>
                  <a:cubicBezTo>
                    <a:pt x="714" y="237"/>
                    <a:pt x="715" y="237"/>
                    <a:pt x="716" y="237"/>
                  </a:cubicBezTo>
                  <a:cubicBezTo>
                    <a:pt x="717" y="237"/>
                    <a:pt x="717" y="237"/>
                    <a:pt x="718" y="237"/>
                  </a:cubicBezTo>
                  <a:cubicBezTo>
                    <a:pt x="718" y="237"/>
                    <a:pt x="718" y="236"/>
                    <a:pt x="718" y="236"/>
                  </a:cubicBezTo>
                  <a:cubicBezTo>
                    <a:pt x="719" y="235"/>
                    <a:pt x="719" y="234"/>
                    <a:pt x="720" y="234"/>
                  </a:cubicBezTo>
                  <a:cubicBezTo>
                    <a:pt x="721" y="232"/>
                    <a:pt x="722" y="232"/>
                    <a:pt x="723" y="232"/>
                  </a:cubicBezTo>
                  <a:cubicBezTo>
                    <a:pt x="723" y="232"/>
                    <a:pt x="723" y="232"/>
                    <a:pt x="723" y="232"/>
                  </a:cubicBezTo>
                  <a:cubicBezTo>
                    <a:pt x="724" y="232"/>
                    <a:pt x="725" y="232"/>
                    <a:pt x="726" y="233"/>
                  </a:cubicBezTo>
                  <a:cubicBezTo>
                    <a:pt x="726" y="233"/>
                    <a:pt x="727" y="233"/>
                    <a:pt x="727" y="233"/>
                  </a:cubicBezTo>
                  <a:cubicBezTo>
                    <a:pt x="727" y="233"/>
                    <a:pt x="727" y="233"/>
                    <a:pt x="727" y="233"/>
                  </a:cubicBezTo>
                  <a:cubicBezTo>
                    <a:pt x="727" y="233"/>
                    <a:pt x="728" y="233"/>
                    <a:pt x="728" y="233"/>
                  </a:cubicBezTo>
                  <a:cubicBezTo>
                    <a:pt x="729" y="233"/>
                    <a:pt x="729" y="233"/>
                    <a:pt x="729" y="233"/>
                  </a:cubicBezTo>
                  <a:cubicBezTo>
                    <a:pt x="730" y="234"/>
                    <a:pt x="731" y="234"/>
                    <a:pt x="732" y="234"/>
                  </a:cubicBezTo>
                  <a:cubicBezTo>
                    <a:pt x="733" y="234"/>
                    <a:pt x="733" y="234"/>
                    <a:pt x="733" y="234"/>
                  </a:cubicBezTo>
                  <a:cubicBezTo>
                    <a:pt x="733" y="234"/>
                    <a:pt x="734" y="234"/>
                    <a:pt x="734" y="234"/>
                  </a:cubicBezTo>
                  <a:cubicBezTo>
                    <a:pt x="735" y="234"/>
                    <a:pt x="735" y="234"/>
                    <a:pt x="735" y="234"/>
                  </a:cubicBezTo>
                  <a:cubicBezTo>
                    <a:pt x="737" y="234"/>
                    <a:pt x="738" y="234"/>
                    <a:pt x="738" y="235"/>
                  </a:cubicBezTo>
                  <a:cubicBezTo>
                    <a:pt x="739" y="235"/>
                    <a:pt x="740" y="236"/>
                    <a:pt x="740" y="236"/>
                  </a:cubicBezTo>
                  <a:cubicBezTo>
                    <a:pt x="741" y="237"/>
                    <a:pt x="742" y="237"/>
                    <a:pt x="743" y="238"/>
                  </a:cubicBezTo>
                  <a:cubicBezTo>
                    <a:pt x="744" y="238"/>
                    <a:pt x="744" y="238"/>
                    <a:pt x="745" y="238"/>
                  </a:cubicBezTo>
                  <a:cubicBezTo>
                    <a:pt x="745" y="238"/>
                    <a:pt x="745" y="238"/>
                    <a:pt x="745" y="238"/>
                  </a:cubicBezTo>
                  <a:cubicBezTo>
                    <a:pt x="746" y="239"/>
                    <a:pt x="746" y="239"/>
                    <a:pt x="747" y="239"/>
                  </a:cubicBezTo>
                  <a:cubicBezTo>
                    <a:pt x="749" y="239"/>
                    <a:pt x="752" y="240"/>
                    <a:pt x="754" y="240"/>
                  </a:cubicBezTo>
                  <a:cubicBezTo>
                    <a:pt x="764" y="241"/>
                    <a:pt x="764" y="241"/>
                    <a:pt x="764" y="241"/>
                  </a:cubicBezTo>
                  <a:cubicBezTo>
                    <a:pt x="766" y="241"/>
                    <a:pt x="767" y="241"/>
                    <a:pt x="768" y="241"/>
                  </a:cubicBezTo>
                  <a:cubicBezTo>
                    <a:pt x="769" y="242"/>
                    <a:pt x="770" y="243"/>
                    <a:pt x="771" y="244"/>
                  </a:cubicBezTo>
                  <a:cubicBezTo>
                    <a:pt x="772" y="246"/>
                    <a:pt x="773" y="248"/>
                    <a:pt x="773" y="250"/>
                  </a:cubicBezTo>
                  <a:cubicBezTo>
                    <a:pt x="774" y="251"/>
                    <a:pt x="774" y="251"/>
                    <a:pt x="774" y="251"/>
                  </a:cubicBezTo>
                  <a:cubicBezTo>
                    <a:pt x="774" y="252"/>
                    <a:pt x="774" y="253"/>
                    <a:pt x="775" y="254"/>
                  </a:cubicBezTo>
                  <a:cubicBezTo>
                    <a:pt x="775" y="255"/>
                    <a:pt x="775" y="255"/>
                    <a:pt x="775" y="255"/>
                  </a:cubicBezTo>
                  <a:cubicBezTo>
                    <a:pt x="777" y="258"/>
                    <a:pt x="777" y="258"/>
                    <a:pt x="780" y="258"/>
                  </a:cubicBezTo>
                  <a:cubicBezTo>
                    <a:pt x="793" y="261"/>
                    <a:pt x="793" y="261"/>
                    <a:pt x="793" y="261"/>
                  </a:cubicBezTo>
                  <a:cubicBezTo>
                    <a:pt x="794" y="261"/>
                    <a:pt x="795" y="261"/>
                    <a:pt x="795" y="261"/>
                  </a:cubicBezTo>
                  <a:cubicBezTo>
                    <a:pt x="796" y="261"/>
                    <a:pt x="796" y="261"/>
                    <a:pt x="796" y="261"/>
                  </a:cubicBezTo>
                  <a:cubicBezTo>
                    <a:pt x="797" y="261"/>
                    <a:pt x="797" y="261"/>
                    <a:pt x="797" y="261"/>
                  </a:cubicBezTo>
                  <a:cubicBezTo>
                    <a:pt x="797" y="261"/>
                    <a:pt x="797" y="261"/>
                    <a:pt x="797" y="261"/>
                  </a:cubicBezTo>
                  <a:cubicBezTo>
                    <a:pt x="798" y="260"/>
                    <a:pt x="798" y="260"/>
                    <a:pt x="798" y="260"/>
                  </a:cubicBezTo>
                  <a:cubicBezTo>
                    <a:pt x="801" y="259"/>
                    <a:pt x="803" y="258"/>
                    <a:pt x="805" y="258"/>
                  </a:cubicBezTo>
                  <a:cubicBezTo>
                    <a:pt x="806" y="258"/>
                    <a:pt x="806" y="258"/>
                    <a:pt x="806" y="258"/>
                  </a:cubicBezTo>
                  <a:cubicBezTo>
                    <a:pt x="806" y="258"/>
                    <a:pt x="806" y="258"/>
                    <a:pt x="806" y="258"/>
                  </a:cubicBezTo>
                  <a:cubicBezTo>
                    <a:pt x="807" y="258"/>
                    <a:pt x="808" y="258"/>
                    <a:pt x="808" y="258"/>
                  </a:cubicBezTo>
                  <a:cubicBezTo>
                    <a:pt x="809" y="258"/>
                    <a:pt x="810" y="258"/>
                    <a:pt x="811" y="259"/>
                  </a:cubicBezTo>
                  <a:cubicBezTo>
                    <a:pt x="813" y="259"/>
                    <a:pt x="814" y="259"/>
                    <a:pt x="816" y="260"/>
                  </a:cubicBezTo>
                  <a:cubicBezTo>
                    <a:pt x="816" y="260"/>
                    <a:pt x="816" y="260"/>
                    <a:pt x="816" y="260"/>
                  </a:cubicBezTo>
                  <a:cubicBezTo>
                    <a:pt x="818" y="260"/>
                    <a:pt x="819" y="261"/>
                    <a:pt x="820" y="261"/>
                  </a:cubicBezTo>
                  <a:cubicBezTo>
                    <a:pt x="821" y="261"/>
                    <a:pt x="821" y="261"/>
                    <a:pt x="822" y="261"/>
                  </a:cubicBezTo>
                  <a:cubicBezTo>
                    <a:pt x="825" y="262"/>
                    <a:pt x="825" y="262"/>
                    <a:pt x="825" y="262"/>
                  </a:cubicBezTo>
                  <a:cubicBezTo>
                    <a:pt x="827" y="263"/>
                    <a:pt x="829" y="263"/>
                    <a:pt x="832" y="264"/>
                  </a:cubicBezTo>
                  <a:cubicBezTo>
                    <a:pt x="833" y="264"/>
                    <a:pt x="834" y="264"/>
                    <a:pt x="835" y="265"/>
                  </a:cubicBezTo>
                  <a:cubicBezTo>
                    <a:pt x="835" y="265"/>
                    <a:pt x="835" y="265"/>
                    <a:pt x="835" y="265"/>
                  </a:cubicBezTo>
                  <a:cubicBezTo>
                    <a:pt x="837" y="266"/>
                    <a:pt x="838" y="266"/>
                    <a:pt x="839" y="266"/>
                  </a:cubicBezTo>
                  <a:cubicBezTo>
                    <a:pt x="840" y="266"/>
                    <a:pt x="840" y="266"/>
                    <a:pt x="840" y="266"/>
                  </a:cubicBezTo>
                  <a:cubicBezTo>
                    <a:pt x="841" y="266"/>
                    <a:pt x="841" y="265"/>
                    <a:pt x="842" y="264"/>
                  </a:cubicBezTo>
                  <a:cubicBezTo>
                    <a:pt x="842" y="264"/>
                    <a:pt x="843" y="263"/>
                    <a:pt x="843" y="263"/>
                  </a:cubicBezTo>
                  <a:cubicBezTo>
                    <a:pt x="843" y="262"/>
                    <a:pt x="844" y="262"/>
                    <a:pt x="844" y="261"/>
                  </a:cubicBezTo>
                  <a:cubicBezTo>
                    <a:pt x="845" y="261"/>
                    <a:pt x="845" y="261"/>
                    <a:pt x="845" y="261"/>
                  </a:cubicBezTo>
                  <a:cubicBezTo>
                    <a:pt x="846" y="261"/>
                    <a:pt x="846" y="260"/>
                    <a:pt x="846" y="260"/>
                  </a:cubicBezTo>
                  <a:cubicBezTo>
                    <a:pt x="847" y="260"/>
                    <a:pt x="847" y="260"/>
                    <a:pt x="847" y="260"/>
                  </a:cubicBezTo>
                  <a:cubicBezTo>
                    <a:pt x="847" y="260"/>
                    <a:pt x="848" y="260"/>
                    <a:pt x="848" y="260"/>
                  </a:cubicBezTo>
                  <a:cubicBezTo>
                    <a:pt x="849" y="259"/>
                    <a:pt x="850" y="259"/>
                    <a:pt x="851" y="259"/>
                  </a:cubicBezTo>
                  <a:cubicBezTo>
                    <a:pt x="853" y="258"/>
                    <a:pt x="855" y="258"/>
                    <a:pt x="856" y="256"/>
                  </a:cubicBezTo>
                  <a:cubicBezTo>
                    <a:pt x="857" y="252"/>
                    <a:pt x="857" y="252"/>
                    <a:pt x="857" y="252"/>
                  </a:cubicBezTo>
                  <a:cubicBezTo>
                    <a:pt x="858" y="251"/>
                    <a:pt x="858" y="250"/>
                    <a:pt x="858" y="250"/>
                  </a:cubicBezTo>
                  <a:cubicBezTo>
                    <a:pt x="859" y="247"/>
                    <a:pt x="859" y="247"/>
                    <a:pt x="859" y="247"/>
                  </a:cubicBezTo>
                  <a:cubicBezTo>
                    <a:pt x="859" y="247"/>
                    <a:pt x="859" y="247"/>
                    <a:pt x="859" y="247"/>
                  </a:cubicBezTo>
                  <a:cubicBezTo>
                    <a:pt x="859" y="247"/>
                    <a:pt x="859" y="247"/>
                    <a:pt x="859" y="247"/>
                  </a:cubicBezTo>
                  <a:cubicBezTo>
                    <a:pt x="858" y="246"/>
                    <a:pt x="857" y="246"/>
                    <a:pt x="855" y="244"/>
                  </a:cubicBezTo>
                  <a:cubicBezTo>
                    <a:pt x="854" y="243"/>
                    <a:pt x="852" y="241"/>
                    <a:pt x="851" y="238"/>
                  </a:cubicBezTo>
                  <a:cubicBezTo>
                    <a:pt x="850" y="235"/>
                    <a:pt x="850" y="232"/>
                    <a:pt x="850" y="229"/>
                  </a:cubicBezTo>
                  <a:cubicBezTo>
                    <a:pt x="850" y="228"/>
                    <a:pt x="850" y="228"/>
                    <a:pt x="850" y="228"/>
                  </a:cubicBezTo>
                  <a:cubicBezTo>
                    <a:pt x="850" y="228"/>
                    <a:pt x="850" y="227"/>
                    <a:pt x="850" y="226"/>
                  </a:cubicBezTo>
                  <a:cubicBezTo>
                    <a:pt x="850" y="225"/>
                    <a:pt x="850" y="224"/>
                    <a:pt x="851" y="224"/>
                  </a:cubicBezTo>
                  <a:cubicBezTo>
                    <a:pt x="851" y="223"/>
                    <a:pt x="851" y="223"/>
                    <a:pt x="851" y="223"/>
                  </a:cubicBezTo>
                  <a:cubicBezTo>
                    <a:pt x="851" y="222"/>
                    <a:pt x="851" y="222"/>
                    <a:pt x="851" y="222"/>
                  </a:cubicBezTo>
                  <a:cubicBezTo>
                    <a:pt x="852" y="220"/>
                    <a:pt x="852" y="217"/>
                    <a:pt x="853" y="216"/>
                  </a:cubicBezTo>
                  <a:cubicBezTo>
                    <a:pt x="854" y="215"/>
                    <a:pt x="854" y="215"/>
                    <a:pt x="854" y="214"/>
                  </a:cubicBezTo>
                  <a:cubicBezTo>
                    <a:pt x="856" y="213"/>
                    <a:pt x="857" y="213"/>
                    <a:pt x="858" y="213"/>
                  </a:cubicBezTo>
                  <a:cubicBezTo>
                    <a:pt x="858" y="213"/>
                    <a:pt x="858" y="213"/>
                    <a:pt x="858" y="213"/>
                  </a:cubicBezTo>
                  <a:cubicBezTo>
                    <a:pt x="858" y="212"/>
                    <a:pt x="858" y="212"/>
                    <a:pt x="858" y="212"/>
                  </a:cubicBezTo>
                  <a:cubicBezTo>
                    <a:pt x="858" y="211"/>
                    <a:pt x="859" y="210"/>
                    <a:pt x="859" y="209"/>
                  </a:cubicBezTo>
                  <a:cubicBezTo>
                    <a:pt x="860" y="208"/>
                    <a:pt x="860" y="208"/>
                    <a:pt x="860" y="208"/>
                  </a:cubicBezTo>
                  <a:cubicBezTo>
                    <a:pt x="860" y="207"/>
                    <a:pt x="860" y="207"/>
                    <a:pt x="861" y="206"/>
                  </a:cubicBezTo>
                  <a:cubicBezTo>
                    <a:pt x="861" y="206"/>
                    <a:pt x="861" y="206"/>
                    <a:pt x="861" y="206"/>
                  </a:cubicBezTo>
                  <a:cubicBezTo>
                    <a:pt x="861" y="206"/>
                    <a:pt x="861" y="206"/>
                    <a:pt x="861" y="206"/>
                  </a:cubicBezTo>
                  <a:cubicBezTo>
                    <a:pt x="862" y="205"/>
                    <a:pt x="862" y="205"/>
                    <a:pt x="863" y="204"/>
                  </a:cubicBezTo>
                  <a:cubicBezTo>
                    <a:pt x="863" y="204"/>
                    <a:pt x="863" y="204"/>
                    <a:pt x="863" y="204"/>
                  </a:cubicBezTo>
                  <a:cubicBezTo>
                    <a:pt x="865" y="202"/>
                    <a:pt x="867" y="200"/>
                    <a:pt x="869" y="198"/>
                  </a:cubicBezTo>
                  <a:cubicBezTo>
                    <a:pt x="877" y="191"/>
                    <a:pt x="877" y="191"/>
                    <a:pt x="877" y="191"/>
                  </a:cubicBezTo>
                  <a:cubicBezTo>
                    <a:pt x="880" y="193"/>
                    <a:pt x="880" y="193"/>
                    <a:pt x="880" y="193"/>
                  </a:cubicBezTo>
                  <a:cubicBezTo>
                    <a:pt x="882" y="189"/>
                    <a:pt x="882" y="189"/>
                    <a:pt x="882" y="189"/>
                  </a:cubicBezTo>
                  <a:cubicBezTo>
                    <a:pt x="881" y="194"/>
                    <a:pt x="881" y="194"/>
                    <a:pt x="881" y="194"/>
                  </a:cubicBezTo>
                  <a:cubicBezTo>
                    <a:pt x="895" y="201"/>
                    <a:pt x="895" y="201"/>
                    <a:pt x="895" y="201"/>
                  </a:cubicBezTo>
                  <a:cubicBezTo>
                    <a:pt x="901" y="204"/>
                    <a:pt x="905" y="204"/>
                    <a:pt x="912" y="205"/>
                  </a:cubicBezTo>
                  <a:cubicBezTo>
                    <a:pt x="913" y="205"/>
                    <a:pt x="913" y="205"/>
                    <a:pt x="913" y="205"/>
                  </a:cubicBezTo>
                  <a:cubicBezTo>
                    <a:pt x="914" y="205"/>
                    <a:pt x="914" y="205"/>
                    <a:pt x="914" y="205"/>
                  </a:cubicBezTo>
                  <a:cubicBezTo>
                    <a:pt x="915" y="205"/>
                    <a:pt x="915" y="205"/>
                    <a:pt x="915" y="205"/>
                  </a:cubicBezTo>
                  <a:cubicBezTo>
                    <a:pt x="916" y="206"/>
                    <a:pt x="916" y="206"/>
                    <a:pt x="917" y="206"/>
                  </a:cubicBezTo>
                  <a:cubicBezTo>
                    <a:pt x="921" y="206"/>
                    <a:pt x="924" y="208"/>
                    <a:pt x="927" y="209"/>
                  </a:cubicBezTo>
                  <a:cubicBezTo>
                    <a:pt x="930" y="210"/>
                    <a:pt x="932" y="211"/>
                    <a:pt x="934" y="212"/>
                  </a:cubicBezTo>
                  <a:cubicBezTo>
                    <a:pt x="947" y="215"/>
                    <a:pt x="947" y="215"/>
                    <a:pt x="947" y="215"/>
                  </a:cubicBezTo>
                  <a:cubicBezTo>
                    <a:pt x="947" y="215"/>
                    <a:pt x="948" y="215"/>
                    <a:pt x="948" y="216"/>
                  </a:cubicBezTo>
                  <a:cubicBezTo>
                    <a:pt x="954" y="217"/>
                    <a:pt x="956" y="217"/>
                    <a:pt x="957" y="219"/>
                  </a:cubicBezTo>
                  <a:cubicBezTo>
                    <a:pt x="957" y="220"/>
                    <a:pt x="957" y="220"/>
                    <a:pt x="957" y="220"/>
                  </a:cubicBezTo>
                  <a:cubicBezTo>
                    <a:pt x="958" y="222"/>
                    <a:pt x="956" y="223"/>
                    <a:pt x="956" y="224"/>
                  </a:cubicBezTo>
                  <a:cubicBezTo>
                    <a:pt x="956" y="224"/>
                    <a:pt x="956" y="224"/>
                    <a:pt x="956" y="224"/>
                  </a:cubicBezTo>
                  <a:cubicBezTo>
                    <a:pt x="956" y="225"/>
                    <a:pt x="956" y="226"/>
                    <a:pt x="956" y="227"/>
                  </a:cubicBezTo>
                  <a:cubicBezTo>
                    <a:pt x="956" y="229"/>
                    <a:pt x="957" y="230"/>
                    <a:pt x="957" y="231"/>
                  </a:cubicBezTo>
                  <a:cubicBezTo>
                    <a:pt x="957" y="231"/>
                    <a:pt x="957" y="233"/>
                    <a:pt x="957" y="234"/>
                  </a:cubicBezTo>
                  <a:cubicBezTo>
                    <a:pt x="957" y="236"/>
                    <a:pt x="957" y="236"/>
                    <a:pt x="957" y="236"/>
                  </a:cubicBezTo>
                  <a:cubicBezTo>
                    <a:pt x="958" y="237"/>
                    <a:pt x="958" y="239"/>
                    <a:pt x="958" y="240"/>
                  </a:cubicBezTo>
                  <a:cubicBezTo>
                    <a:pt x="959" y="240"/>
                    <a:pt x="959" y="241"/>
                    <a:pt x="959" y="241"/>
                  </a:cubicBezTo>
                  <a:cubicBezTo>
                    <a:pt x="960" y="242"/>
                    <a:pt x="960" y="242"/>
                    <a:pt x="960" y="242"/>
                  </a:cubicBezTo>
                  <a:cubicBezTo>
                    <a:pt x="961" y="243"/>
                    <a:pt x="961" y="244"/>
                    <a:pt x="962" y="244"/>
                  </a:cubicBezTo>
                  <a:cubicBezTo>
                    <a:pt x="964" y="245"/>
                    <a:pt x="966" y="246"/>
                    <a:pt x="968" y="247"/>
                  </a:cubicBezTo>
                  <a:cubicBezTo>
                    <a:pt x="995" y="253"/>
                    <a:pt x="995" y="253"/>
                    <a:pt x="995" y="253"/>
                  </a:cubicBezTo>
                  <a:cubicBezTo>
                    <a:pt x="995" y="253"/>
                    <a:pt x="996" y="253"/>
                    <a:pt x="996" y="253"/>
                  </a:cubicBezTo>
                  <a:cubicBezTo>
                    <a:pt x="997" y="253"/>
                    <a:pt x="997" y="253"/>
                    <a:pt x="997" y="253"/>
                  </a:cubicBezTo>
                  <a:cubicBezTo>
                    <a:pt x="997" y="253"/>
                    <a:pt x="997" y="253"/>
                    <a:pt x="997" y="253"/>
                  </a:cubicBezTo>
                  <a:cubicBezTo>
                    <a:pt x="998" y="253"/>
                    <a:pt x="998" y="253"/>
                    <a:pt x="998" y="253"/>
                  </a:cubicBezTo>
                  <a:cubicBezTo>
                    <a:pt x="999" y="253"/>
                    <a:pt x="999" y="253"/>
                    <a:pt x="999" y="253"/>
                  </a:cubicBezTo>
                  <a:cubicBezTo>
                    <a:pt x="999" y="253"/>
                    <a:pt x="1000" y="252"/>
                    <a:pt x="1001" y="252"/>
                  </a:cubicBezTo>
                  <a:cubicBezTo>
                    <a:pt x="1001" y="252"/>
                    <a:pt x="1001" y="252"/>
                    <a:pt x="1001" y="252"/>
                  </a:cubicBezTo>
                  <a:cubicBezTo>
                    <a:pt x="1002" y="251"/>
                    <a:pt x="1003" y="251"/>
                    <a:pt x="1003" y="251"/>
                  </a:cubicBezTo>
                  <a:cubicBezTo>
                    <a:pt x="1004" y="250"/>
                    <a:pt x="1004" y="250"/>
                    <a:pt x="1004" y="250"/>
                  </a:cubicBezTo>
                  <a:cubicBezTo>
                    <a:pt x="1005" y="250"/>
                    <a:pt x="1005" y="250"/>
                    <a:pt x="1005" y="249"/>
                  </a:cubicBezTo>
                  <a:cubicBezTo>
                    <a:pt x="1009" y="247"/>
                    <a:pt x="1013" y="247"/>
                    <a:pt x="1017" y="246"/>
                  </a:cubicBezTo>
                  <a:cubicBezTo>
                    <a:pt x="1021" y="245"/>
                    <a:pt x="1024" y="244"/>
                    <a:pt x="1028" y="244"/>
                  </a:cubicBezTo>
                  <a:cubicBezTo>
                    <a:pt x="1028" y="244"/>
                    <a:pt x="1029" y="244"/>
                    <a:pt x="1029" y="244"/>
                  </a:cubicBezTo>
                  <a:cubicBezTo>
                    <a:pt x="1031" y="244"/>
                    <a:pt x="1034" y="244"/>
                    <a:pt x="1036" y="245"/>
                  </a:cubicBezTo>
                  <a:cubicBezTo>
                    <a:pt x="1039" y="245"/>
                    <a:pt x="1043" y="246"/>
                    <a:pt x="1046" y="247"/>
                  </a:cubicBezTo>
                  <a:cubicBezTo>
                    <a:pt x="1047" y="247"/>
                    <a:pt x="1047" y="248"/>
                    <a:pt x="1047" y="248"/>
                  </a:cubicBezTo>
                  <a:cubicBezTo>
                    <a:pt x="1054" y="248"/>
                    <a:pt x="1054" y="248"/>
                    <a:pt x="1054" y="248"/>
                  </a:cubicBezTo>
                  <a:cubicBezTo>
                    <a:pt x="1055" y="248"/>
                    <a:pt x="1055" y="248"/>
                    <a:pt x="1055" y="248"/>
                  </a:cubicBezTo>
                  <a:cubicBezTo>
                    <a:pt x="1055" y="248"/>
                    <a:pt x="1056" y="248"/>
                    <a:pt x="1056" y="248"/>
                  </a:cubicBezTo>
                  <a:cubicBezTo>
                    <a:pt x="1057" y="248"/>
                    <a:pt x="1057" y="248"/>
                    <a:pt x="1057" y="248"/>
                  </a:cubicBezTo>
                  <a:cubicBezTo>
                    <a:pt x="1058" y="248"/>
                    <a:pt x="1058" y="248"/>
                    <a:pt x="1058" y="248"/>
                  </a:cubicBezTo>
                  <a:cubicBezTo>
                    <a:pt x="1059" y="249"/>
                    <a:pt x="1059" y="249"/>
                    <a:pt x="1059" y="249"/>
                  </a:cubicBezTo>
                  <a:cubicBezTo>
                    <a:pt x="1061" y="249"/>
                    <a:pt x="1062" y="249"/>
                    <a:pt x="1063" y="249"/>
                  </a:cubicBezTo>
                  <a:cubicBezTo>
                    <a:pt x="1066" y="250"/>
                    <a:pt x="1068" y="252"/>
                    <a:pt x="1070" y="254"/>
                  </a:cubicBezTo>
                  <a:cubicBezTo>
                    <a:pt x="1073" y="256"/>
                    <a:pt x="1076" y="259"/>
                    <a:pt x="1079" y="259"/>
                  </a:cubicBezTo>
                  <a:cubicBezTo>
                    <a:pt x="1080" y="259"/>
                    <a:pt x="1080" y="259"/>
                    <a:pt x="1080" y="259"/>
                  </a:cubicBezTo>
                  <a:cubicBezTo>
                    <a:pt x="1081" y="259"/>
                    <a:pt x="1082" y="259"/>
                    <a:pt x="1082" y="259"/>
                  </a:cubicBezTo>
                  <a:cubicBezTo>
                    <a:pt x="1083" y="258"/>
                    <a:pt x="1083" y="258"/>
                    <a:pt x="1083" y="258"/>
                  </a:cubicBezTo>
                  <a:cubicBezTo>
                    <a:pt x="1088" y="260"/>
                    <a:pt x="1088" y="260"/>
                    <a:pt x="1088" y="260"/>
                  </a:cubicBezTo>
                  <a:cubicBezTo>
                    <a:pt x="1088" y="260"/>
                    <a:pt x="1088" y="260"/>
                    <a:pt x="1088" y="260"/>
                  </a:cubicBezTo>
                  <a:cubicBezTo>
                    <a:pt x="1089" y="260"/>
                    <a:pt x="1089" y="260"/>
                    <a:pt x="1089" y="260"/>
                  </a:cubicBezTo>
                  <a:cubicBezTo>
                    <a:pt x="1090" y="260"/>
                    <a:pt x="1090" y="260"/>
                    <a:pt x="1090" y="260"/>
                  </a:cubicBezTo>
                  <a:cubicBezTo>
                    <a:pt x="1091" y="260"/>
                    <a:pt x="1091" y="260"/>
                    <a:pt x="1091" y="260"/>
                  </a:cubicBezTo>
                  <a:cubicBezTo>
                    <a:pt x="1092" y="262"/>
                    <a:pt x="1092" y="262"/>
                    <a:pt x="1092" y="262"/>
                  </a:cubicBezTo>
                  <a:cubicBezTo>
                    <a:pt x="1093" y="266"/>
                    <a:pt x="1093" y="266"/>
                    <a:pt x="1093" y="266"/>
                  </a:cubicBezTo>
                  <a:cubicBezTo>
                    <a:pt x="1094" y="272"/>
                    <a:pt x="1094" y="272"/>
                    <a:pt x="1094" y="272"/>
                  </a:cubicBezTo>
                  <a:cubicBezTo>
                    <a:pt x="1104" y="279"/>
                    <a:pt x="1104" y="279"/>
                    <a:pt x="1104" y="279"/>
                  </a:cubicBezTo>
                  <a:cubicBezTo>
                    <a:pt x="1119" y="278"/>
                    <a:pt x="1119" y="278"/>
                    <a:pt x="1119" y="278"/>
                  </a:cubicBezTo>
                  <a:cubicBezTo>
                    <a:pt x="1123" y="279"/>
                    <a:pt x="1123" y="279"/>
                    <a:pt x="1123" y="279"/>
                  </a:cubicBezTo>
                  <a:cubicBezTo>
                    <a:pt x="1123" y="279"/>
                    <a:pt x="1123" y="279"/>
                    <a:pt x="1123" y="279"/>
                  </a:cubicBezTo>
                  <a:cubicBezTo>
                    <a:pt x="1124" y="280"/>
                    <a:pt x="1124" y="280"/>
                    <a:pt x="1124" y="280"/>
                  </a:cubicBezTo>
                  <a:cubicBezTo>
                    <a:pt x="1156" y="284"/>
                    <a:pt x="1156" y="284"/>
                    <a:pt x="1156" y="284"/>
                  </a:cubicBezTo>
                  <a:cubicBezTo>
                    <a:pt x="1157" y="284"/>
                    <a:pt x="1157" y="284"/>
                    <a:pt x="1158" y="284"/>
                  </a:cubicBezTo>
                  <a:cubicBezTo>
                    <a:pt x="1187" y="276"/>
                    <a:pt x="1187" y="276"/>
                    <a:pt x="1187" y="276"/>
                  </a:cubicBezTo>
                  <a:cubicBezTo>
                    <a:pt x="1203" y="273"/>
                    <a:pt x="1203" y="273"/>
                    <a:pt x="1203" y="273"/>
                  </a:cubicBezTo>
                  <a:cubicBezTo>
                    <a:pt x="1204" y="273"/>
                    <a:pt x="1204" y="273"/>
                    <a:pt x="1204" y="273"/>
                  </a:cubicBezTo>
                  <a:cubicBezTo>
                    <a:pt x="1215" y="262"/>
                    <a:pt x="1215" y="262"/>
                    <a:pt x="1215" y="262"/>
                  </a:cubicBezTo>
                  <a:cubicBezTo>
                    <a:pt x="1220" y="259"/>
                    <a:pt x="1220" y="259"/>
                    <a:pt x="1220" y="259"/>
                  </a:cubicBezTo>
                  <a:cubicBezTo>
                    <a:pt x="1224" y="257"/>
                    <a:pt x="1224" y="257"/>
                    <a:pt x="1224" y="257"/>
                  </a:cubicBezTo>
                  <a:cubicBezTo>
                    <a:pt x="1224" y="256"/>
                    <a:pt x="1225" y="256"/>
                    <a:pt x="1226" y="256"/>
                  </a:cubicBezTo>
                  <a:cubicBezTo>
                    <a:pt x="1226" y="255"/>
                    <a:pt x="1226" y="255"/>
                    <a:pt x="1226" y="255"/>
                  </a:cubicBezTo>
                  <a:cubicBezTo>
                    <a:pt x="1227" y="255"/>
                    <a:pt x="1227" y="254"/>
                    <a:pt x="1228" y="254"/>
                  </a:cubicBezTo>
                  <a:cubicBezTo>
                    <a:pt x="1230" y="253"/>
                    <a:pt x="1232" y="252"/>
                    <a:pt x="1234" y="251"/>
                  </a:cubicBezTo>
                  <a:cubicBezTo>
                    <a:pt x="1235" y="251"/>
                    <a:pt x="1235" y="251"/>
                    <a:pt x="1235" y="251"/>
                  </a:cubicBezTo>
                  <a:cubicBezTo>
                    <a:pt x="1236" y="251"/>
                    <a:pt x="1237" y="251"/>
                    <a:pt x="1238" y="251"/>
                  </a:cubicBezTo>
                  <a:cubicBezTo>
                    <a:pt x="1240" y="251"/>
                    <a:pt x="1240" y="251"/>
                    <a:pt x="1240" y="251"/>
                  </a:cubicBezTo>
                  <a:cubicBezTo>
                    <a:pt x="1241" y="251"/>
                    <a:pt x="1242" y="251"/>
                    <a:pt x="1244" y="251"/>
                  </a:cubicBezTo>
                  <a:cubicBezTo>
                    <a:pt x="1245" y="251"/>
                    <a:pt x="1247" y="251"/>
                    <a:pt x="1248" y="251"/>
                  </a:cubicBezTo>
                  <a:cubicBezTo>
                    <a:pt x="1251" y="251"/>
                    <a:pt x="1251" y="251"/>
                    <a:pt x="1251" y="251"/>
                  </a:cubicBezTo>
                  <a:cubicBezTo>
                    <a:pt x="1267" y="261"/>
                    <a:pt x="1267" y="261"/>
                    <a:pt x="1267" y="261"/>
                  </a:cubicBezTo>
                  <a:cubicBezTo>
                    <a:pt x="1268" y="261"/>
                    <a:pt x="1268" y="261"/>
                    <a:pt x="1268" y="261"/>
                  </a:cubicBezTo>
                  <a:cubicBezTo>
                    <a:pt x="1268" y="261"/>
                    <a:pt x="1268" y="261"/>
                    <a:pt x="1268" y="261"/>
                  </a:cubicBezTo>
                  <a:cubicBezTo>
                    <a:pt x="1268" y="261"/>
                    <a:pt x="1268" y="261"/>
                    <a:pt x="1268" y="261"/>
                  </a:cubicBezTo>
                  <a:cubicBezTo>
                    <a:pt x="1268" y="261"/>
                    <a:pt x="1268" y="261"/>
                    <a:pt x="1268" y="261"/>
                  </a:cubicBezTo>
                  <a:cubicBezTo>
                    <a:pt x="1284" y="257"/>
                    <a:pt x="1284" y="257"/>
                    <a:pt x="1284" y="257"/>
                  </a:cubicBezTo>
                  <a:cubicBezTo>
                    <a:pt x="1285" y="258"/>
                    <a:pt x="1285" y="258"/>
                    <a:pt x="1285" y="258"/>
                  </a:cubicBezTo>
                  <a:cubicBezTo>
                    <a:pt x="1287" y="258"/>
                    <a:pt x="1289" y="260"/>
                    <a:pt x="1293" y="262"/>
                  </a:cubicBezTo>
                  <a:cubicBezTo>
                    <a:pt x="1293" y="262"/>
                    <a:pt x="1293" y="262"/>
                    <a:pt x="1293" y="262"/>
                  </a:cubicBezTo>
                  <a:cubicBezTo>
                    <a:pt x="1294" y="263"/>
                    <a:pt x="1294" y="263"/>
                    <a:pt x="1295" y="263"/>
                  </a:cubicBezTo>
                  <a:cubicBezTo>
                    <a:pt x="1295" y="263"/>
                    <a:pt x="1295" y="263"/>
                    <a:pt x="1295" y="263"/>
                  </a:cubicBezTo>
                  <a:cubicBezTo>
                    <a:pt x="1296" y="264"/>
                    <a:pt x="1296" y="264"/>
                    <a:pt x="1296" y="264"/>
                  </a:cubicBezTo>
                  <a:cubicBezTo>
                    <a:pt x="1298" y="265"/>
                    <a:pt x="1300" y="265"/>
                    <a:pt x="1301" y="266"/>
                  </a:cubicBezTo>
                  <a:cubicBezTo>
                    <a:pt x="1314" y="270"/>
                    <a:pt x="1314" y="270"/>
                    <a:pt x="1314" y="270"/>
                  </a:cubicBezTo>
                  <a:cubicBezTo>
                    <a:pt x="1314" y="270"/>
                    <a:pt x="1314" y="270"/>
                    <a:pt x="1314" y="270"/>
                  </a:cubicBezTo>
                  <a:cubicBezTo>
                    <a:pt x="1322" y="272"/>
                    <a:pt x="1322" y="272"/>
                    <a:pt x="1322" y="272"/>
                  </a:cubicBezTo>
                  <a:cubicBezTo>
                    <a:pt x="1329" y="267"/>
                    <a:pt x="1329" y="267"/>
                    <a:pt x="1329" y="267"/>
                  </a:cubicBezTo>
                  <a:cubicBezTo>
                    <a:pt x="1331" y="265"/>
                    <a:pt x="1334" y="262"/>
                    <a:pt x="1338" y="261"/>
                  </a:cubicBezTo>
                  <a:cubicBezTo>
                    <a:pt x="1339" y="261"/>
                    <a:pt x="1339" y="261"/>
                    <a:pt x="1339" y="261"/>
                  </a:cubicBezTo>
                  <a:cubicBezTo>
                    <a:pt x="1348" y="259"/>
                    <a:pt x="1348" y="259"/>
                    <a:pt x="1348" y="259"/>
                  </a:cubicBezTo>
                  <a:cubicBezTo>
                    <a:pt x="1354" y="256"/>
                    <a:pt x="1354" y="256"/>
                    <a:pt x="1354" y="256"/>
                  </a:cubicBezTo>
                  <a:cubicBezTo>
                    <a:pt x="1354" y="255"/>
                    <a:pt x="1354" y="255"/>
                    <a:pt x="1354" y="255"/>
                  </a:cubicBezTo>
                  <a:cubicBezTo>
                    <a:pt x="1354" y="254"/>
                    <a:pt x="1354" y="254"/>
                    <a:pt x="1354" y="253"/>
                  </a:cubicBezTo>
                  <a:cubicBezTo>
                    <a:pt x="1354" y="253"/>
                    <a:pt x="1354" y="253"/>
                    <a:pt x="1354" y="253"/>
                  </a:cubicBezTo>
                  <a:cubicBezTo>
                    <a:pt x="1354" y="249"/>
                    <a:pt x="1354" y="249"/>
                    <a:pt x="1354" y="249"/>
                  </a:cubicBezTo>
                  <a:cubicBezTo>
                    <a:pt x="1355" y="240"/>
                    <a:pt x="1355" y="240"/>
                    <a:pt x="1355" y="240"/>
                  </a:cubicBezTo>
                  <a:cubicBezTo>
                    <a:pt x="1359" y="232"/>
                    <a:pt x="1359" y="232"/>
                    <a:pt x="1359" y="232"/>
                  </a:cubicBezTo>
                  <a:cubicBezTo>
                    <a:pt x="1364" y="224"/>
                    <a:pt x="1364" y="224"/>
                    <a:pt x="1364" y="224"/>
                  </a:cubicBezTo>
                  <a:cubicBezTo>
                    <a:pt x="1365" y="222"/>
                    <a:pt x="1367" y="219"/>
                    <a:pt x="1368" y="216"/>
                  </a:cubicBezTo>
                  <a:cubicBezTo>
                    <a:pt x="1370" y="213"/>
                    <a:pt x="1370" y="213"/>
                    <a:pt x="1370" y="213"/>
                  </a:cubicBezTo>
                  <a:cubicBezTo>
                    <a:pt x="1382" y="200"/>
                    <a:pt x="1382" y="200"/>
                    <a:pt x="1382" y="200"/>
                  </a:cubicBezTo>
                  <a:cubicBezTo>
                    <a:pt x="1384" y="198"/>
                    <a:pt x="1386" y="196"/>
                    <a:pt x="1388" y="194"/>
                  </a:cubicBezTo>
                  <a:cubicBezTo>
                    <a:pt x="1387" y="193"/>
                    <a:pt x="1387" y="193"/>
                    <a:pt x="1387" y="193"/>
                  </a:cubicBezTo>
                  <a:cubicBezTo>
                    <a:pt x="1387" y="193"/>
                    <a:pt x="1387" y="193"/>
                    <a:pt x="1387" y="193"/>
                  </a:cubicBezTo>
                  <a:cubicBezTo>
                    <a:pt x="1385" y="192"/>
                    <a:pt x="1385" y="192"/>
                    <a:pt x="1385" y="192"/>
                  </a:cubicBezTo>
                  <a:cubicBezTo>
                    <a:pt x="1385" y="190"/>
                    <a:pt x="1385" y="190"/>
                    <a:pt x="1385" y="190"/>
                  </a:cubicBezTo>
                  <a:cubicBezTo>
                    <a:pt x="1385" y="188"/>
                    <a:pt x="1385" y="188"/>
                    <a:pt x="1385" y="188"/>
                  </a:cubicBezTo>
                  <a:cubicBezTo>
                    <a:pt x="1386" y="184"/>
                    <a:pt x="1386" y="184"/>
                    <a:pt x="1386" y="184"/>
                  </a:cubicBezTo>
                  <a:cubicBezTo>
                    <a:pt x="1386" y="184"/>
                    <a:pt x="1385" y="184"/>
                    <a:pt x="1385" y="183"/>
                  </a:cubicBezTo>
                  <a:cubicBezTo>
                    <a:pt x="1384" y="183"/>
                    <a:pt x="1384" y="183"/>
                    <a:pt x="1384" y="183"/>
                  </a:cubicBezTo>
                  <a:cubicBezTo>
                    <a:pt x="1384" y="183"/>
                    <a:pt x="1384" y="183"/>
                    <a:pt x="1384" y="183"/>
                  </a:cubicBezTo>
                  <a:cubicBezTo>
                    <a:pt x="1383" y="183"/>
                    <a:pt x="1383" y="183"/>
                    <a:pt x="1383" y="183"/>
                  </a:cubicBezTo>
                  <a:cubicBezTo>
                    <a:pt x="1383" y="183"/>
                    <a:pt x="1381" y="183"/>
                    <a:pt x="1381" y="183"/>
                  </a:cubicBezTo>
                  <a:cubicBezTo>
                    <a:pt x="1380" y="183"/>
                    <a:pt x="1380" y="183"/>
                    <a:pt x="1380" y="183"/>
                  </a:cubicBezTo>
                  <a:cubicBezTo>
                    <a:pt x="1379" y="183"/>
                    <a:pt x="1378" y="183"/>
                    <a:pt x="1377" y="183"/>
                  </a:cubicBezTo>
                  <a:cubicBezTo>
                    <a:pt x="1372" y="184"/>
                    <a:pt x="1372" y="184"/>
                    <a:pt x="1372" y="184"/>
                  </a:cubicBezTo>
                  <a:cubicBezTo>
                    <a:pt x="1372" y="181"/>
                    <a:pt x="1372" y="181"/>
                    <a:pt x="1372" y="181"/>
                  </a:cubicBezTo>
                  <a:cubicBezTo>
                    <a:pt x="1371" y="180"/>
                    <a:pt x="1370" y="179"/>
                    <a:pt x="1371" y="175"/>
                  </a:cubicBezTo>
                  <a:cubicBezTo>
                    <a:pt x="1371" y="173"/>
                    <a:pt x="1371" y="173"/>
                    <a:pt x="1371" y="173"/>
                  </a:cubicBezTo>
                  <a:cubicBezTo>
                    <a:pt x="1373" y="172"/>
                    <a:pt x="1373" y="172"/>
                    <a:pt x="1373" y="172"/>
                  </a:cubicBezTo>
                  <a:cubicBezTo>
                    <a:pt x="1374" y="171"/>
                    <a:pt x="1376" y="170"/>
                    <a:pt x="1377" y="169"/>
                  </a:cubicBezTo>
                  <a:cubicBezTo>
                    <a:pt x="1378" y="168"/>
                    <a:pt x="1378" y="168"/>
                    <a:pt x="1379" y="167"/>
                  </a:cubicBezTo>
                  <a:cubicBezTo>
                    <a:pt x="1383" y="163"/>
                    <a:pt x="1383" y="163"/>
                    <a:pt x="1383" y="163"/>
                  </a:cubicBezTo>
                  <a:cubicBezTo>
                    <a:pt x="1385" y="162"/>
                    <a:pt x="1387" y="160"/>
                    <a:pt x="1389" y="159"/>
                  </a:cubicBezTo>
                  <a:cubicBezTo>
                    <a:pt x="1390" y="157"/>
                    <a:pt x="1390" y="157"/>
                    <a:pt x="1390" y="157"/>
                  </a:cubicBezTo>
                  <a:cubicBezTo>
                    <a:pt x="1391" y="157"/>
                    <a:pt x="1391" y="157"/>
                    <a:pt x="1392" y="156"/>
                  </a:cubicBezTo>
                  <a:cubicBezTo>
                    <a:pt x="1393" y="156"/>
                    <a:pt x="1393" y="156"/>
                    <a:pt x="1393" y="156"/>
                  </a:cubicBezTo>
                  <a:cubicBezTo>
                    <a:pt x="1394" y="156"/>
                    <a:pt x="1394" y="156"/>
                    <a:pt x="1394" y="156"/>
                  </a:cubicBezTo>
                  <a:cubicBezTo>
                    <a:pt x="1395" y="156"/>
                    <a:pt x="1395" y="156"/>
                    <a:pt x="1395" y="156"/>
                  </a:cubicBezTo>
                  <a:cubicBezTo>
                    <a:pt x="1396" y="155"/>
                    <a:pt x="1397" y="155"/>
                    <a:pt x="1398" y="155"/>
                  </a:cubicBezTo>
                  <a:cubicBezTo>
                    <a:pt x="1399" y="155"/>
                    <a:pt x="1400" y="155"/>
                    <a:pt x="1401" y="155"/>
                  </a:cubicBezTo>
                  <a:cubicBezTo>
                    <a:pt x="1406" y="155"/>
                    <a:pt x="1411" y="154"/>
                    <a:pt x="1416" y="152"/>
                  </a:cubicBezTo>
                  <a:cubicBezTo>
                    <a:pt x="1420" y="152"/>
                    <a:pt x="1420" y="152"/>
                    <a:pt x="1420" y="152"/>
                  </a:cubicBezTo>
                  <a:cubicBezTo>
                    <a:pt x="1432" y="151"/>
                    <a:pt x="1432" y="151"/>
                    <a:pt x="1432" y="151"/>
                  </a:cubicBezTo>
                  <a:cubicBezTo>
                    <a:pt x="1436" y="150"/>
                    <a:pt x="1439" y="150"/>
                    <a:pt x="1442" y="149"/>
                  </a:cubicBezTo>
                  <a:cubicBezTo>
                    <a:pt x="1444" y="149"/>
                    <a:pt x="1444" y="149"/>
                    <a:pt x="1444" y="149"/>
                  </a:cubicBezTo>
                  <a:cubicBezTo>
                    <a:pt x="1445" y="148"/>
                    <a:pt x="1446" y="148"/>
                    <a:pt x="1446" y="148"/>
                  </a:cubicBezTo>
                  <a:cubicBezTo>
                    <a:pt x="1447" y="147"/>
                    <a:pt x="1448" y="147"/>
                    <a:pt x="1449" y="147"/>
                  </a:cubicBezTo>
                  <a:cubicBezTo>
                    <a:pt x="1450" y="147"/>
                    <a:pt x="1450" y="147"/>
                    <a:pt x="1450" y="147"/>
                  </a:cubicBezTo>
                  <a:cubicBezTo>
                    <a:pt x="1453" y="147"/>
                    <a:pt x="1453" y="147"/>
                    <a:pt x="1453" y="147"/>
                  </a:cubicBezTo>
                  <a:cubicBezTo>
                    <a:pt x="1455" y="147"/>
                    <a:pt x="1455" y="147"/>
                    <a:pt x="1455" y="147"/>
                  </a:cubicBezTo>
                  <a:cubicBezTo>
                    <a:pt x="1459" y="148"/>
                    <a:pt x="1459" y="148"/>
                    <a:pt x="1459" y="148"/>
                  </a:cubicBezTo>
                  <a:cubicBezTo>
                    <a:pt x="1461" y="149"/>
                    <a:pt x="1461" y="149"/>
                    <a:pt x="1461" y="149"/>
                  </a:cubicBezTo>
                  <a:cubicBezTo>
                    <a:pt x="1464" y="150"/>
                    <a:pt x="1468" y="151"/>
                    <a:pt x="1471" y="153"/>
                  </a:cubicBezTo>
                  <a:cubicBezTo>
                    <a:pt x="1482" y="159"/>
                    <a:pt x="1482" y="159"/>
                    <a:pt x="1482" y="159"/>
                  </a:cubicBezTo>
                  <a:cubicBezTo>
                    <a:pt x="1487" y="159"/>
                    <a:pt x="1487" y="159"/>
                    <a:pt x="1487" y="159"/>
                  </a:cubicBezTo>
                  <a:cubicBezTo>
                    <a:pt x="1487" y="159"/>
                    <a:pt x="1487" y="159"/>
                    <a:pt x="1487" y="159"/>
                  </a:cubicBezTo>
                  <a:cubicBezTo>
                    <a:pt x="1488" y="159"/>
                    <a:pt x="1488" y="159"/>
                    <a:pt x="1488" y="159"/>
                  </a:cubicBezTo>
                  <a:cubicBezTo>
                    <a:pt x="1490" y="159"/>
                    <a:pt x="1491" y="158"/>
                    <a:pt x="1493" y="158"/>
                  </a:cubicBezTo>
                  <a:cubicBezTo>
                    <a:pt x="1493" y="158"/>
                    <a:pt x="1494" y="158"/>
                    <a:pt x="1494" y="159"/>
                  </a:cubicBezTo>
                  <a:cubicBezTo>
                    <a:pt x="1494" y="159"/>
                    <a:pt x="1494" y="159"/>
                    <a:pt x="1494" y="159"/>
                  </a:cubicBezTo>
                  <a:cubicBezTo>
                    <a:pt x="1496" y="159"/>
                    <a:pt x="1496" y="159"/>
                    <a:pt x="1496" y="159"/>
                  </a:cubicBezTo>
                  <a:cubicBezTo>
                    <a:pt x="1496" y="159"/>
                    <a:pt x="1496" y="159"/>
                    <a:pt x="1496" y="159"/>
                  </a:cubicBezTo>
                  <a:cubicBezTo>
                    <a:pt x="1497" y="160"/>
                    <a:pt x="1497" y="160"/>
                    <a:pt x="1498" y="160"/>
                  </a:cubicBezTo>
                  <a:cubicBezTo>
                    <a:pt x="1498" y="160"/>
                    <a:pt x="1498" y="160"/>
                    <a:pt x="1498" y="160"/>
                  </a:cubicBezTo>
                  <a:cubicBezTo>
                    <a:pt x="1498" y="160"/>
                    <a:pt x="1498" y="160"/>
                    <a:pt x="1498" y="160"/>
                  </a:cubicBezTo>
                  <a:cubicBezTo>
                    <a:pt x="1500" y="161"/>
                    <a:pt x="1500" y="161"/>
                    <a:pt x="1500" y="161"/>
                  </a:cubicBezTo>
                  <a:cubicBezTo>
                    <a:pt x="1500" y="161"/>
                    <a:pt x="1501" y="162"/>
                    <a:pt x="1501" y="162"/>
                  </a:cubicBezTo>
                  <a:cubicBezTo>
                    <a:pt x="1502" y="162"/>
                    <a:pt x="1502" y="162"/>
                    <a:pt x="1502" y="162"/>
                  </a:cubicBezTo>
                  <a:cubicBezTo>
                    <a:pt x="1503" y="163"/>
                    <a:pt x="1503" y="163"/>
                    <a:pt x="1503" y="163"/>
                  </a:cubicBezTo>
                  <a:cubicBezTo>
                    <a:pt x="1503" y="163"/>
                    <a:pt x="1503" y="163"/>
                    <a:pt x="1503" y="163"/>
                  </a:cubicBezTo>
                  <a:cubicBezTo>
                    <a:pt x="1505" y="163"/>
                    <a:pt x="1505" y="163"/>
                    <a:pt x="1505" y="163"/>
                  </a:cubicBezTo>
                  <a:cubicBezTo>
                    <a:pt x="1506" y="164"/>
                    <a:pt x="1506" y="164"/>
                    <a:pt x="1506" y="164"/>
                  </a:cubicBezTo>
                  <a:cubicBezTo>
                    <a:pt x="1512" y="169"/>
                    <a:pt x="1512" y="169"/>
                    <a:pt x="1512" y="169"/>
                  </a:cubicBezTo>
                  <a:cubicBezTo>
                    <a:pt x="1515" y="166"/>
                    <a:pt x="1515" y="166"/>
                    <a:pt x="1515" y="166"/>
                  </a:cubicBezTo>
                  <a:cubicBezTo>
                    <a:pt x="1513" y="170"/>
                    <a:pt x="1513" y="170"/>
                    <a:pt x="1513" y="170"/>
                  </a:cubicBezTo>
                  <a:cubicBezTo>
                    <a:pt x="1513" y="170"/>
                    <a:pt x="1513" y="170"/>
                    <a:pt x="1513" y="170"/>
                  </a:cubicBezTo>
                  <a:cubicBezTo>
                    <a:pt x="1514" y="170"/>
                    <a:pt x="1514" y="171"/>
                    <a:pt x="1515" y="171"/>
                  </a:cubicBezTo>
                  <a:cubicBezTo>
                    <a:pt x="1515" y="171"/>
                    <a:pt x="1515" y="171"/>
                    <a:pt x="1515" y="171"/>
                  </a:cubicBezTo>
                  <a:cubicBezTo>
                    <a:pt x="1516" y="172"/>
                    <a:pt x="1516" y="172"/>
                    <a:pt x="1516" y="172"/>
                  </a:cubicBezTo>
                  <a:cubicBezTo>
                    <a:pt x="1518" y="173"/>
                    <a:pt x="1518" y="173"/>
                    <a:pt x="1518" y="173"/>
                  </a:cubicBezTo>
                  <a:cubicBezTo>
                    <a:pt x="1519" y="175"/>
                    <a:pt x="1519" y="175"/>
                    <a:pt x="1519" y="175"/>
                  </a:cubicBezTo>
                  <a:cubicBezTo>
                    <a:pt x="1518" y="177"/>
                    <a:pt x="1518" y="177"/>
                    <a:pt x="1518" y="177"/>
                  </a:cubicBezTo>
                  <a:cubicBezTo>
                    <a:pt x="1518" y="177"/>
                    <a:pt x="1517" y="179"/>
                    <a:pt x="1517" y="179"/>
                  </a:cubicBezTo>
                  <a:cubicBezTo>
                    <a:pt x="1516" y="180"/>
                    <a:pt x="1516" y="180"/>
                    <a:pt x="1516" y="180"/>
                  </a:cubicBezTo>
                  <a:cubicBezTo>
                    <a:pt x="1517" y="181"/>
                    <a:pt x="1517" y="181"/>
                    <a:pt x="1517" y="181"/>
                  </a:cubicBezTo>
                  <a:cubicBezTo>
                    <a:pt x="1518" y="181"/>
                    <a:pt x="1519" y="182"/>
                    <a:pt x="1519" y="183"/>
                  </a:cubicBezTo>
                  <a:cubicBezTo>
                    <a:pt x="1522" y="185"/>
                    <a:pt x="1526" y="189"/>
                    <a:pt x="1527" y="193"/>
                  </a:cubicBezTo>
                  <a:cubicBezTo>
                    <a:pt x="1528" y="194"/>
                    <a:pt x="1528" y="194"/>
                    <a:pt x="1528" y="194"/>
                  </a:cubicBezTo>
                  <a:cubicBezTo>
                    <a:pt x="1528" y="197"/>
                    <a:pt x="1528" y="197"/>
                    <a:pt x="1528" y="197"/>
                  </a:cubicBezTo>
                  <a:cubicBezTo>
                    <a:pt x="1528" y="199"/>
                    <a:pt x="1528" y="199"/>
                    <a:pt x="1528" y="199"/>
                  </a:cubicBezTo>
                  <a:cubicBezTo>
                    <a:pt x="1527" y="200"/>
                    <a:pt x="1527" y="200"/>
                    <a:pt x="1527" y="200"/>
                  </a:cubicBezTo>
                  <a:cubicBezTo>
                    <a:pt x="1527" y="200"/>
                    <a:pt x="1527" y="200"/>
                    <a:pt x="1527" y="200"/>
                  </a:cubicBezTo>
                  <a:cubicBezTo>
                    <a:pt x="1528" y="201"/>
                    <a:pt x="1528" y="201"/>
                    <a:pt x="1528" y="201"/>
                  </a:cubicBezTo>
                  <a:cubicBezTo>
                    <a:pt x="1530" y="206"/>
                    <a:pt x="1532" y="211"/>
                    <a:pt x="1534" y="215"/>
                  </a:cubicBezTo>
                  <a:cubicBezTo>
                    <a:pt x="1535" y="219"/>
                    <a:pt x="1535" y="219"/>
                    <a:pt x="1535" y="219"/>
                  </a:cubicBezTo>
                  <a:cubicBezTo>
                    <a:pt x="1536" y="218"/>
                    <a:pt x="1536" y="218"/>
                    <a:pt x="1536" y="218"/>
                  </a:cubicBezTo>
                  <a:cubicBezTo>
                    <a:pt x="1539" y="218"/>
                    <a:pt x="1539" y="218"/>
                    <a:pt x="1539" y="218"/>
                  </a:cubicBezTo>
                  <a:cubicBezTo>
                    <a:pt x="1541" y="230"/>
                    <a:pt x="1541" y="230"/>
                    <a:pt x="1541" y="230"/>
                  </a:cubicBezTo>
                  <a:cubicBezTo>
                    <a:pt x="1542" y="231"/>
                    <a:pt x="1542" y="231"/>
                    <a:pt x="1542" y="231"/>
                  </a:cubicBezTo>
                  <a:cubicBezTo>
                    <a:pt x="1542" y="231"/>
                    <a:pt x="1542" y="231"/>
                    <a:pt x="1542" y="231"/>
                  </a:cubicBezTo>
                  <a:cubicBezTo>
                    <a:pt x="1542" y="231"/>
                    <a:pt x="1542" y="231"/>
                    <a:pt x="1542" y="231"/>
                  </a:cubicBezTo>
                  <a:cubicBezTo>
                    <a:pt x="1543" y="233"/>
                    <a:pt x="1543" y="233"/>
                    <a:pt x="1543" y="233"/>
                  </a:cubicBezTo>
                  <a:cubicBezTo>
                    <a:pt x="1550" y="249"/>
                    <a:pt x="1550" y="249"/>
                    <a:pt x="1550" y="249"/>
                  </a:cubicBezTo>
                  <a:cubicBezTo>
                    <a:pt x="1550" y="249"/>
                    <a:pt x="1551" y="250"/>
                    <a:pt x="1551" y="251"/>
                  </a:cubicBezTo>
                  <a:cubicBezTo>
                    <a:pt x="1551" y="252"/>
                    <a:pt x="1551" y="252"/>
                    <a:pt x="1551" y="252"/>
                  </a:cubicBezTo>
                  <a:cubicBezTo>
                    <a:pt x="1551" y="251"/>
                    <a:pt x="1551" y="251"/>
                    <a:pt x="1551" y="251"/>
                  </a:cubicBezTo>
                  <a:cubicBezTo>
                    <a:pt x="1552" y="252"/>
                    <a:pt x="1552" y="252"/>
                    <a:pt x="1553" y="253"/>
                  </a:cubicBezTo>
                  <a:cubicBezTo>
                    <a:pt x="1553" y="253"/>
                    <a:pt x="1553" y="253"/>
                    <a:pt x="1553" y="253"/>
                  </a:cubicBezTo>
                  <a:cubicBezTo>
                    <a:pt x="1554" y="255"/>
                    <a:pt x="1554" y="255"/>
                    <a:pt x="1554" y="255"/>
                  </a:cubicBezTo>
                  <a:cubicBezTo>
                    <a:pt x="1553" y="258"/>
                    <a:pt x="1553" y="258"/>
                    <a:pt x="1553" y="258"/>
                  </a:cubicBezTo>
                  <a:cubicBezTo>
                    <a:pt x="1553" y="258"/>
                    <a:pt x="1553" y="259"/>
                    <a:pt x="1553" y="260"/>
                  </a:cubicBezTo>
                  <a:cubicBezTo>
                    <a:pt x="1553" y="261"/>
                    <a:pt x="1553" y="261"/>
                    <a:pt x="1553" y="261"/>
                  </a:cubicBezTo>
                  <a:cubicBezTo>
                    <a:pt x="1552" y="262"/>
                    <a:pt x="1552" y="263"/>
                    <a:pt x="1553" y="263"/>
                  </a:cubicBezTo>
                  <a:cubicBezTo>
                    <a:pt x="1558" y="271"/>
                    <a:pt x="1558" y="271"/>
                    <a:pt x="1558" y="271"/>
                  </a:cubicBezTo>
                  <a:cubicBezTo>
                    <a:pt x="1558" y="271"/>
                    <a:pt x="1558" y="271"/>
                    <a:pt x="1561" y="271"/>
                  </a:cubicBezTo>
                  <a:cubicBezTo>
                    <a:pt x="1573" y="271"/>
                    <a:pt x="1573" y="271"/>
                    <a:pt x="1573" y="271"/>
                  </a:cubicBezTo>
                  <a:cubicBezTo>
                    <a:pt x="1575" y="271"/>
                    <a:pt x="1578" y="273"/>
                    <a:pt x="1580" y="274"/>
                  </a:cubicBezTo>
                  <a:cubicBezTo>
                    <a:pt x="1581" y="274"/>
                    <a:pt x="1581" y="274"/>
                    <a:pt x="1581" y="274"/>
                  </a:cubicBezTo>
                  <a:cubicBezTo>
                    <a:pt x="1582" y="274"/>
                    <a:pt x="1582" y="275"/>
                    <a:pt x="1583" y="275"/>
                  </a:cubicBezTo>
                  <a:cubicBezTo>
                    <a:pt x="1590" y="277"/>
                    <a:pt x="1590" y="277"/>
                    <a:pt x="1590" y="277"/>
                  </a:cubicBezTo>
                  <a:cubicBezTo>
                    <a:pt x="1593" y="276"/>
                    <a:pt x="1593" y="276"/>
                    <a:pt x="1593" y="276"/>
                  </a:cubicBezTo>
                  <a:cubicBezTo>
                    <a:pt x="1597" y="277"/>
                    <a:pt x="1597" y="277"/>
                    <a:pt x="1597" y="277"/>
                  </a:cubicBezTo>
                  <a:cubicBezTo>
                    <a:pt x="1614" y="293"/>
                    <a:pt x="1614" y="293"/>
                    <a:pt x="1614" y="293"/>
                  </a:cubicBezTo>
                  <a:cubicBezTo>
                    <a:pt x="1615" y="293"/>
                    <a:pt x="1615" y="293"/>
                    <a:pt x="1615" y="293"/>
                  </a:cubicBezTo>
                  <a:cubicBezTo>
                    <a:pt x="1616" y="293"/>
                    <a:pt x="1616" y="293"/>
                    <a:pt x="1616" y="293"/>
                  </a:cubicBezTo>
                  <a:cubicBezTo>
                    <a:pt x="1617" y="293"/>
                    <a:pt x="1617" y="293"/>
                    <a:pt x="1617" y="293"/>
                  </a:cubicBezTo>
                  <a:cubicBezTo>
                    <a:pt x="1626" y="293"/>
                    <a:pt x="1626" y="293"/>
                    <a:pt x="1626" y="293"/>
                  </a:cubicBezTo>
                  <a:cubicBezTo>
                    <a:pt x="1624" y="302"/>
                    <a:pt x="1624" y="302"/>
                    <a:pt x="1624" y="302"/>
                  </a:cubicBezTo>
                  <a:cubicBezTo>
                    <a:pt x="1624" y="303"/>
                    <a:pt x="1624" y="303"/>
                    <a:pt x="1624" y="303"/>
                  </a:cubicBezTo>
                  <a:cubicBezTo>
                    <a:pt x="1624" y="303"/>
                    <a:pt x="1625" y="304"/>
                    <a:pt x="1625" y="304"/>
                  </a:cubicBezTo>
                  <a:cubicBezTo>
                    <a:pt x="1626" y="304"/>
                    <a:pt x="1626" y="305"/>
                    <a:pt x="1627" y="305"/>
                  </a:cubicBezTo>
                  <a:cubicBezTo>
                    <a:pt x="1627" y="305"/>
                    <a:pt x="1628" y="306"/>
                    <a:pt x="1628" y="307"/>
                  </a:cubicBezTo>
                  <a:cubicBezTo>
                    <a:pt x="1629" y="308"/>
                    <a:pt x="1629" y="309"/>
                    <a:pt x="1629" y="310"/>
                  </a:cubicBezTo>
                  <a:cubicBezTo>
                    <a:pt x="1630" y="310"/>
                    <a:pt x="1630" y="311"/>
                    <a:pt x="1630" y="311"/>
                  </a:cubicBezTo>
                  <a:cubicBezTo>
                    <a:pt x="1630" y="312"/>
                    <a:pt x="1630" y="314"/>
                    <a:pt x="1629" y="317"/>
                  </a:cubicBezTo>
                  <a:cubicBezTo>
                    <a:pt x="1628" y="317"/>
                    <a:pt x="1628" y="317"/>
                    <a:pt x="1628" y="318"/>
                  </a:cubicBezTo>
                  <a:cubicBezTo>
                    <a:pt x="1627" y="319"/>
                    <a:pt x="1627" y="319"/>
                    <a:pt x="1627" y="319"/>
                  </a:cubicBezTo>
                  <a:cubicBezTo>
                    <a:pt x="1627" y="320"/>
                    <a:pt x="1628" y="320"/>
                    <a:pt x="1628" y="321"/>
                  </a:cubicBezTo>
                  <a:cubicBezTo>
                    <a:pt x="1628" y="321"/>
                    <a:pt x="1629" y="321"/>
                    <a:pt x="1629" y="322"/>
                  </a:cubicBezTo>
                  <a:cubicBezTo>
                    <a:pt x="1629" y="322"/>
                    <a:pt x="1629" y="322"/>
                    <a:pt x="1629" y="322"/>
                  </a:cubicBezTo>
                  <a:cubicBezTo>
                    <a:pt x="1630" y="322"/>
                    <a:pt x="1630" y="323"/>
                    <a:pt x="1631" y="324"/>
                  </a:cubicBezTo>
                  <a:cubicBezTo>
                    <a:pt x="1631" y="324"/>
                    <a:pt x="1631" y="324"/>
                    <a:pt x="1631" y="324"/>
                  </a:cubicBezTo>
                  <a:cubicBezTo>
                    <a:pt x="1632" y="324"/>
                    <a:pt x="1632" y="325"/>
                    <a:pt x="1632" y="325"/>
                  </a:cubicBezTo>
                  <a:cubicBezTo>
                    <a:pt x="1632" y="326"/>
                    <a:pt x="1632" y="326"/>
                    <a:pt x="1633" y="326"/>
                  </a:cubicBezTo>
                  <a:cubicBezTo>
                    <a:pt x="1633" y="327"/>
                    <a:pt x="1633" y="328"/>
                    <a:pt x="1633" y="328"/>
                  </a:cubicBezTo>
                  <a:cubicBezTo>
                    <a:pt x="1633" y="328"/>
                    <a:pt x="1633" y="328"/>
                    <a:pt x="1633" y="328"/>
                  </a:cubicBezTo>
                  <a:cubicBezTo>
                    <a:pt x="1635" y="329"/>
                    <a:pt x="1637" y="329"/>
                    <a:pt x="1639" y="329"/>
                  </a:cubicBezTo>
                  <a:cubicBezTo>
                    <a:pt x="1639" y="329"/>
                    <a:pt x="1639" y="329"/>
                    <a:pt x="1640" y="329"/>
                  </a:cubicBezTo>
                  <a:cubicBezTo>
                    <a:pt x="1640" y="329"/>
                    <a:pt x="1641" y="329"/>
                    <a:pt x="1642" y="329"/>
                  </a:cubicBezTo>
                  <a:cubicBezTo>
                    <a:pt x="1644" y="329"/>
                    <a:pt x="1647" y="329"/>
                    <a:pt x="1649" y="329"/>
                  </a:cubicBezTo>
                  <a:cubicBezTo>
                    <a:pt x="1654" y="329"/>
                    <a:pt x="1658" y="329"/>
                    <a:pt x="1664" y="328"/>
                  </a:cubicBezTo>
                  <a:cubicBezTo>
                    <a:pt x="1665" y="328"/>
                    <a:pt x="1665" y="328"/>
                    <a:pt x="1665" y="327"/>
                  </a:cubicBezTo>
                  <a:cubicBezTo>
                    <a:pt x="1666" y="326"/>
                    <a:pt x="1666" y="325"/>
                    <a:pt x="1667" y="324"/>
                  </a:cubicBezTo>
                  <a:cubicBezTo>
                    <a:pt x="1669" y="321"/>
                    <a:pt x="1672" y="320"/>
                    <a:pt x="1674" y="319"/>
                  </a:cubicBezTo>
                  <a:cubicBezTo>
                    <a:pt x="1676" y="318"/>
                    <a:pt x="1679" y="316"/>
                    <a:pt x="1681" y="316"/>
                  </a:cubicBezTo>
                  <a:cubicBezTo>
                    <a:pt x="1684" y="316"/>
                    <a:pt x="1686" y="316"/>
                    <a:pt x="1688" y="315"/>
                  </a:cubicBezTo>
                  <a:cubicBezTo>
                    <a:pt x="1694" y="313"/>
                    <a:pt x="1694" y="313"/>
                    <a:pt x="1694" y="313"/>
                  </a:cubicBezTo>
                  <a:cubicBezTo>
                    <a:pt x="1697" y="312"/>
                    <a:pt x="1700" y="310"/>
                    <a:pt x="1703" y="309"/>
                  </a:cubicBezTo>
                  <a:cubicBezTo>
                    <a:pt x="1702" y="309"/>
                    <a:pt x="1702" y="309"/>
                    <a:pt x="1702" y="309"/>
                  </a:cubicBezTo>
                  <a:cubicBezTo>
                    <a:pt x="1713" y="307"/>
                    <a:pt x="1713" y="307"/>
                    <a:pt x="1713" y="307"/>
                  </a:cubicBezTo>
                  <a:cubicBezTo>
                    <a:pt x="1717" y="307"/>
                    <a:pt x="1720" y="306"/>
                    <a:pt x="1723" y="306"/>
                  </a:cubicBezTo>
                  <a:cubicBezTo>
                    <a:pt x="1723" y="306"/>
                    <a:pt x="1724" y="306"/>
                    <a:pt x="1724" y="306"/>
                  </a:cubicBezTo>
                  <a:cubicBezTo>
                    <a:pt x="1724" y="306"/>
                    <a:pt x="1724" y="306"/>
                    <a:pt x="1725" y="306"/>
                  </a:cubicBezTo>
                  <a:cubicBezTo>
                    <a:pt x="1725" y="306"/>
                    <a:pt x="1725" y="306"/>
                    <a:pt x="1725" y="306"/>
                  </a:cubicBezTo>
                  <a:cubicBezTo>
                    <a:pt x="1734" y="306"/>
                    <a:pt x="1734" y="306"/>
                    <a:pt x="1734" y="306"/>
                  </a:cubicBezTo>
                  <a:cubicBezTo>
                    <a:pt x="1727" y="311"/>
                    <a:pt x="1727" y="311"/>
                    <a:pt x="1727" y="311"/>
                  </a:cubicBezTo>
                  <a:cubicBezTo>
                    <a:pt x="1727" y="312"/>
                    <a:pt x="1726" y="312"/>
                    <a:pt x="1726" y="313"/>
                  </a:cubicBezTo>
                  <a:cubicBezTo>
                    <a:pt x="1724" y="315"/>
                    <a:pt x="1723" y="316"/>
                    <a:pt x="1721" y="316"/>
                  </a:cubicBezTo>
                  <a:cubicBezTo>
                    <a:pt x="1721" y="317"/>
                    <a:pt x="1721" y="317"/>
                    <a:pt x="1721" y="317"/>
                  </a:cubicBezTo>
                  <a:cubicBezTo>
                    <a:pt x="1720" y="318"/>
                    <a:pt x="1718" y="321"/>
                    <a:pt x="1718" y="322"/>
                  </a:cubicBezTo>
                  <a:cubicBezTo>
                    <a:pt x="1718" y="323"/>
                    <a:pt x="1719" y="324"/>
                    <a:pt x="1720" y="325"/>
                  </a:cubicBezTo>
                  <a:cubicBezTo>
                    <a:pt x="1721" y="325"/>
                    <a:pt x="1721" y="327"/>
                    <a:pt x="1722" y="328"/>
                  </a:cubicBezTo>
                  <a:cubicBezTo>
                    <a:pt x="1722" y="328"/>
                    <a:pt x="1722" y="328"/>
                    <a:pt x="1722" y="328"/>
                  </a:cubicBezTo>
                  <a:cubicBezTo>
                    <a:pt x="1723" y="329"/>
                    <a:pt x="1723" y="329"/>
                    <a:pt x="1723" y="329"/>
                  </a:cubicBezTo>
                  <a:cubicBezTo>
                    <a:pt x="1723" y="330"/>
                    <a:pt x="1723" y="331"/>
                    <a:pt x="1723" y="331"/>
                  </a:cubicBezTo>
                  <a:cubicBezTo>
                    <a:pt x="1723" y="336"/>
                    <a:pt x="1717" y="338"/>
                    <a:pt x="1714" y="340"/>
                  </a:cubicBezTo>
                  <a:cubicBezTo>
                    <a:pt x="1713" y="341"/>
                    <a:pt x="1713" y="341"/>
                    <a:pt x="1713" y="341"/>
                  </a:cubicBezTo>
                  <a:cubicBezTo>
                    <a:pt x="1713" y="341"/>
                    <a:pt x="1713" y="341"/>
                    <a:pt x="1712" y="341"/>
                  </a:cubicBezTo>
                  <a:cubicBezTo>
                    <a:pt x="1712" y="342"/>
                    <a:pt x="1711" y="342"/>
                    <a:pt x="1711" y="342"/>
                  </a:cubicBezTo>
                  <a:cubicBezTo>
                    <a:pt x="1710" y="343"/>
                    <a:pt x="1710" y="343"/>
                    <a:pt x="1710" y="343"/>
                  </a:cubicBezTo>
                  <a:cubicBezTo>
                    <a:pt x="1710" y="343"/>
                    <a:pt x="1710" y="344"/>
                    <a:pt x="1710" y="345"/>
                  </a:cubicBezTo>
                  <a:cubicBezTo>
                    <a:pt x="1710" y="345"/>
                    <a:pt x="1709" y="346"/>
                    <a:pt x="1709" y="348"/>
                  </a:cubicBezTo>
                  <a:cubicBezTo>
                    <a:pt x="1709" y="348"/>
                    <a:pt x="1709" y="348"/>
                    <a:pt x="1709" y="348"/>
                  </a:cubicBezTo>
                  <a:cubicBezTo>
                    <a:pt x="1709" y="350"/>
                    <a:pt x="1708" y="352"/>
                    <a:pt x="1707" y="354"/>
                  </a:cubicBezTo>
                  <a:cubicBezTo>
                    <a:pt x="1707" y="354"/>
                    <a:pt x="1707" y="354"/>
                    <a:pt x="1707" y="354"/>
                  </a:cubicBezTo>
                  <a:cubicBezTo>
                    <a:pt x="1707" y="355"/>
                    <a:pt x="1707" y="356"/>
                    <a:pt x="1707" y="356"/>
                  </a:cubicBezTo>
                  <a:cubicBezTo>
                    <a:pt x="1706" y="358"/>
                    <a:pt x="1706" y="358"/>
                    <a:pt x="1706" y="358"/>
                  </a:cubicBezTo>
                  <a:cubicBezTo>
                    <a:pt x="1706" y="359"/>
                    <a:pt x="1706" y="361"/>
                    <a:pt x="1705" y="362"/>
                  </a:cubicBezTo>
                  <a:cubicBezTo>
                    <a:pt x="1705" y="362"/>
                    <a:pt x="1705" y="363"/>
                    <a:pt x="1705" y="363"/>
                  </a:cubicBezTo>
                  <a:cubicBezTo>
                    <a:pt x="1704" y="365"/>
                    <a:pt x="1703" y="366"/>
                    <a:pt x="1703" y="366"/>
                  </a:cubicBezTo>
                  <a:cubicBezTo>
                    <a:pt x="1703" y="367"/>
                    <a:pt x="1703" y="367"/>
                    <a:pt x="1703" y="367"/>
                  </a:cubicBezTo>
                  <a:cubicBezTo>
                    <a:pt x="1702" y="367"/>
                    <a:pt x="1702" y="367"/>
                    <a:pt x="1702" y="367"/>
                  </a:cubicBezTo>
                  <a:cubicBezTo>
                    <a:pt x="1702" y="368"/>
                    <a:pt x="1702" y="368"/>
                    <a:pt x="1702" y="369"/>
                  </a:cubicBezTo>
                  <a:cubicBezTo>
                    <a:pt x="1702" y="369"/>
                    <a:pt x="1702" y="369"/>
                    <a:pt x="1702" y="369"/>
                  </a:cubicBezTo>
                  <a:cubicBezTo>
                    <a:pt x="1702" y="372"/>
                    <a:pt x="1702" y="374"/>
                    <a:pt x="1701" y="376"/>
                  </a:cubicBezTo>
                  <a:cubicBezTo>
                    <a:pt x="1700" y="379"/>
                    <a:pt x="1698" y="382"/>
                    <a:pt x="1696" y="384"/>
                  </a:cubicBezTo>
                  <a:cubicBezTo>
                    <a:pt x="1695" y="384"/>
                    <a:pt x="1695" y="385"/>
                    <a:pt x="1694" y="386"/>
                  </a:cubicBezTo>
                  <a:cubicBezTo>
                    <a:pt x="1693" y="387"/>
                    <a:pt x="1693" y="388"/>
                    <a:pt x="1693" y="390"/>
                  </a:cubicBezTo>
                  <a:cubicBezTo>
                    <a:pt x="1693" y="390"/>
                    <a:pt x="1693" y="390"/>
                    <a:pt x="1693" y="390"/>
                  </a:cubicBezTo>
                  <a:cubicBezTo>
                    <a:pt x="1698" y="390"/>
                    <a:pt x="1698" y="390"/>
                    <a:pt x="1698" y="390"/>
                  </a:cubicBezTo>
                  <a:cubicBezTo>
                    <a:pt x="1693" y="391"/>
                    <a:pt x="1693" y="391"/>
                    <a:pt x="1693" y="391"/>
                  </a:cubicBezTo>
                  <a:cubicBezTo>
                    <a:pt x="1693" y="392"/>
                    <a:pt x="1693" y="392"/>
                    <a:pt x="1693" y="392"/>
                  </a:cubicBezTo>
                  <a:cubicBezTo>
                    <a:pt x="1692" y="392"/>
                    <a:pt x="1692" y="392"/>
                    <a:pt x="1692" y="392"/>
                  </a:cubicBezTo>
                  <a:cubicBezTo>
                    <a:pt x="1692" y="393"/>
                    <a:pt x="1692" y="393"/>
                    <a:pt x="1692" y="393"/>
                  </a:cubicBezTo>
                  <a:cubicBezTo>
                    <a:pt x="1692" y="394"/>
                    <a:pt x="1692" y="394"/>
                    <a:pt x="1692" y="394"/>
                  </a:cubicBezTo>
                  <a:cubicBezTo>
                    <a:pt x="1691" y="394"/>
                    <a:pt x="1691" y="395"/>
                    <a:pt x="1691" y="395"/>
                  </a:cubicBezTo>
                  <a:cubicBezTo>
                    <a:pt x="1690" y="396"/>
                    <a:pt x="1688" y="398"/>
                    <a:pt x="1686" y="399"/>
                  </a:cubicBezTo>
                  <a:cubicBezTo>
                    <a:pt x="1685" y="399"/>
                    <a:pt x="1685" y="399"/>
                    <a:pt x="1685" y="399"/>
                  </a:cubicBezTo>
                  <a:cubicBezTo>
                    <a:pt x="1684" y="400"/>
                    <a:pt x="1684" y="401"/>
                    <a:pt x="1684" y="401"/>
                  </a:cubicBezTo>
                  <a:cubicBezTo>
                    <a:pt x="1684" y="402"/>
                    <a:pt x="1684" y="403"/>
                    <a:pt x="1684" y="403"/>
                  </a:cubicBezTo>
                  <a:cubicBezTo>
                    <a:pt x="1684" y="406"/>
                    <a:pt x="1684" y="406"/>
                    <a:pt x="1684" y="406"/>
                  </a:cubicBezTo>
                  <a:cubicBezTo>
                    <a:pt x="1684" y="406"/>
                    <a:pt x="1684" y="408"/>
                    <a:pt x="1682" y="409"/>
                  </a:cubicBezTo>
                  <a:cubicBezTo>
                    <a:pt x="1681" y="411"/>
                    <a:pt x="1677" y="412"/>
                    <a:pt x="1675" y="412"/>
                  </a:cubicBezTo>
                  <a:cubicBezTo>
                    <a:pt x="1675" y="412"/>
                    <a:pt x="1674" y="412"/>
                    <a:pt x="1674" y="412"/>
                  </a:cubicBezTo>
                  <a:cubicBezTo>
                    <a:pt x="1674" y="412"/>
                    <a:pt x="1674" y="412"/>
                    <a:pt x="1674" y="412"/>
                  </a:cubicBezTo>
                  <a:cubicBezTo>
                    <a:pt x="1672" y="412"/>
                    <a:pt x="1669" y="411"/>
                    <a:pt x="1666" y="410"/>
                  </a:cubicBezTo>
                  <a:cubicBezTo>
                    <a:pt x="1666" y="410"/>
                    <a:pt x="1666" y="410"/>
                    <a:pt x="1666" y="410"/>
                  </a:cubicBezTo>
                  <a:cubicBezTo>
                    <a:pt x="1666" y="410"/>
                    <a:pt x="1665" y="410"/>
                    <a:pt x="1665" y="409"/>
                  </a:cubicBezTo>
                  <a:cubicBezTo>
                    <a:pt x="1664" y="409"/>
                    <a:pt x="1663" y="409"/>
                    <a:pt x="1662" y="409"/>
                  </a:cubicBezTo>
                  <a:cubicBezTo>
                    <a:pt x="1658" y="408"/>
                    <a:pt x="1654" y="408"/>
                    <a:pt x="1652" y="406"/>
                  </a:cubicBezTo>
                  <a:cubicBezTo>
                    <a:pt x="1652" y="405"/>
                    <a:pt x="1652" y="405"/>
                    <a:pt x="1652" y="405"/>
                  </a:cubicBezTo>
                  <a:cubicBezTo>
                    <a:pt x="1652" y="406"/>
                    <a:pt x="1652" y="406"/>
                    <a:pt x="1652" y="406"/>
                  </a:cubicBezTo>
                  <a:cubicBezTo>
                    <a:pt x="1655" y="410"/>
                    <a:pt x="1655" y="410"/>
                    <a:pt x="1655" y="410"/>
                  </a:cubicBezTo>
                  <a:cubicBezTo>
                    <a:pt x="1651" y="407"/>
                    <a:pt x="1651" y="407"/>
                    <a:pt x="1651" y="407"/>
                  </a:cubicBezTo>
                  <a:cubicBezTo>
                    <a:pt x="1649" y="409"/>
                    <a:pt x="1648" y="411"/>
                    <a:pt x="1646" y="412"/>
                  </a:cubicBezTo>
                  <a:cubicBezTo>
                    <a:pt x="1645" y="413"/>
                    <a:pt x="1645" y="413"/>
                    <a:pt x="1645" y="413"/>
                  </a:cubicBezTo>
                  <a:cubicBezTo>
                    <a:pt x="1643" y="415"/>
                    <a:pt x="1639" y="416"/>
                    <a:pt x="1635" y="417"/>
                  </a:cubicBezTo>
                  <a:cubicBezTo>
                    <a:pt x="1635" y="417"/>
                    <a:pt x="1635" y="417"/>
                    <a:pt x="1635" y="417"/>
                  </a:cubicBezTo>
                  <a:cubicBezTo>
                    <a:pt x="1637" y="424"/>
                    <a:pt x="1640" y="431"/>
                    <a:pt x="1640" y="440"/>
                  </a:cubicBezTo>
                  <a:cubicBezTo>
                    <a:pt x="1640" y="443"/>
                    <a:pt x="1640" y="446"/>
                    <a:pt x="1640" y="449"/>
                  </a:cubicBezTo>
                  <a:cubicBezTo>
                    <a:pt x="1640" y="450"/>
                    <a:pt x="1641" y="452"/>
                    <a:pt x="1641" y="453"/>
                  </a:cubicBezTo>
                  <a:cubicBezTo>
                    <a:pt x="1641" y="458"/>
                    <a:pt x="1640" y="462"/>
                    <a:pt x="1639" y="465"/>
                  </a:cubicBezTo>
                  <a:cubicBezTo>
                    <a:pt x="1638" y="467"/>
                    <a:pt x="1638" y="467"/>
                    <a:pt x="1638" y="467"/>
                  </a:cubicBezTo>
                  <a:cubicBezTo>
                    <a:pt x="1637" y="472"/>
                    <a:pt x="1635" y="475"/>
                    <a:pt x="1629" y="475"/>
                  </a:cubicBezTo>
                  <a:cubicBezTo>
                    <a:pt x="1627" y="476"/>
                    <a:pt x="1626" y="476"/>
                    <a:pt x="1624" y="477"/>
                  </a:cubicBezTo>
                  <a:cubicBezTo>
                    <a:pt x="1624" y="478"/>
                    <a:pt x="1625" y="479"/>
                    <a:pt x="1625" y="480"/>
                  </a:cubicBezTo>
                  <a:cubicBezTo>
                    <a:pt x="1625" y="481"/>
                    <a:pt x="1625" y="481"/>
                    <a:pt x="1625" y="481"/>
                  </a:cubicBezTo>
                  <a:cubicBezTo>
                    <a:pt x="1622" y="481"/>
                    <a:pt x="1622" y="481"/>
                    <a:pt x="1622" y="481"/>
                  </a:cubicBezTo>
                  <a:cubicBezTo>
                    <a:pt x="1624" y="483"/>
                    <a:pt x="1625" y="485"/>
                    <a:pt x="1626" y="486"/>
                  </a:cubicBezTo>
                  <a:cubicBezTo>
                    <a:pt x="1627" y="485"/>
                    <a:pt x="1628" y="483"/>
                    <a:pt x="1628" y="481"/>
                  </a:cubicBezTo>
                  <a:cubicBezTo>
                    <a:pt x="1628" y="480"/>
                    <a:pt x="1625" y="479"/>
                    <a:pt x="1624" y="477"/>
                  </a:cubicBezTo>
                  <a:cubicBezTo>
                    <a:pt x="1625" y="477"/>
                    <a:pt x="1625" y="477"/>
                    <a:pt x="1626" y="477"/>
                  </a:cubicBezTo>
                  <a:cubicBezTo>
                    <a:pt x="1626" y="477"/>
                    <a:pt x="1627" y="477"/>
                    <a:pt x="1627" y="477"/>
                  </a:cubicBezTo>
                  <a:cubicBezTo>
                    <a:pt x="1626" y="479"/>
                    <a:pt x="1626" y="479"/>
                    <a:pt x="1626" y="479"/>
                  </a:cubicBezTo>
                  <a:cubicBezTo>
                    <a:pt x="1628" y="479"/>
                    <a:pt x="1629" y="479"/>
                    <a:pt x="1630" y="479"/>
                  </a:cubicBezTo>
                  <a:cubicBezTo>
                    <a:pt x="1629" y="479"/>
                    <a:pt x="1629" y="479"/>
                    <a:pt x="1628" y="479"/>
                  </a:cubicBezTo>
                  <a:cubicBezTo>
                    <a:pt x="1628" y="479"/>
                    <a:pt x="1628" y="479"/>
                    <a:pt x="1627" y="479"/>
                  </a:cubicBezTo>
                  <a:cubicBezTo>
                    <a:pt x="1628" y="479"/>
                    <a:pt x="1628" y="480"/>
                    <a:pt x="1629" y="480"/>
                  </a:cubicBezTo>
                  <a:cubicBezTo>
                    <a:pt x="1629" y="480"/>
                    <a:pt x="1630" y="479"/>
                    <a:pt x="1631" y="479"/>
                  </a:cubicBezTo>
                  <a:cubicBezTo>
                    <a:pt x="1632" y="478"/>
                    <a:pt x="1633" y="478"/>
                    <a:pt x="1633" y="478"/>
                  </a:cubicBezTo>
                  <a:cubicBezTo>
                    <a:pt x="1635" y="478"/>
                    <a:pt x="1634" y="479"/>
                    <a:pt x="1637" y="481"/>
                  </a:cubicBezTo>
                  <a:cubicBezTo>
                    <a:pt x="1636" y="478"/>
                    <a:pt x="1641" y="474"/>
                    <a:pt x="1643" y="471"/>
                  </a:cubicBezTo>
                  <a:cubicBezTo>
                    <a:pt x="1644" y="469"/>
                    <a:pt x="1645" y="467"/>
                    <a:pt x="1646" y="466"/>
                  </a:cubicBezTo>
                  <a:cubicBezTo>
                    <a:pt x="1646" y="465"/>
                    <a:pt x="1646" y="465"/>
                    <a:pt x="1646" y="465"/>
                  </a:cubicBezTo>
                  <a:cubicBezTo>
                    <a:pt x="1646" y="461"/>
                    <a:pt x="1649" y="458"/>
                    <a:pt x="1652" y="458"/>
                  </a:cubicBezTo>
                  <a:cubicBezTo>
                    <a:pt x="1654" y="458"/>
                    <a:pt x="1655" y="459"/>
                    <a:pt x="1656" y="459"/>
                  </a:cubicBezTo>
                  <a:cubicBezTo>
                    <a:pt x="1656" y="459"/>
                    <a:pt x="1656" y="459"/>
                    <a:pt x="1656" y="459"/>
                  </a:cubicBezTo>
                  <a:cubicBezTo>
                    <a:pt x="1657" y="460"/>
                    <a:pt x="1658" y="462"/>
                    <a:pt x="1659" y="463"/>
                  </a:cubicBezTo>
                  <a:cubicBezTo>
                    <a:pt x="1660" y="462"/>
                    <a:pt x="1662" y="460"/>
                    <a:pt x="1662" y="459"/>
                  </a:cubicBezTo>
                  <a:cubicBezTo>
                    <a:pt x="1662" y="462"/>
                    <a:pt x="1660" y="471"/>
                    <a:pt x="1663" y="473"/>
                  </a:cubicBezTo>
                  <a:cubicBezTo>
                    <a:pt x="1663" y="473"/>
                    <a:pt x="1663" y="473"/>
                    <a:pt x="1663" y="473"/>
                  </a:cubicBezTo>
                  <a:cubicBezTo>
                    <a:pt x="1663" y="473"/>
                    <a:pt x="1663" y="471"/>
                    <a:pt x="1663" y="471"/>
                  </a:cubicBezTo>
                  <a:cubicBezTo>
                    <a:pt x="1663" y="471"/>
                    <a:pt x="1663" y="471"/>
                    <a:pt x="1663" y="471"/>
                  </a:cubicBezTo>
                  <a:cubicBezTo>
                    <a:pt x="1664" y="471"/>
                    <a:pt x="1666" y="472"/>
                    <a:pt x="1667" y="472"/>
                  </a:cubicBezTo>
                  <a:cubicBezTo>
                    <a:pt x="1667" y="472"/>
                    <a:pt x="1667" y="472"/>
                    <a:pt x="1667" y="472"/>
                  </a:cubicBezTo>
                  <a:cubicBezTo>
                    <a:pt x="1669" y="472"/>
                    <a:pt x="1671" y="471"/>
                    <a:pt x="1672" y="471"/>
                  </a:cubicBezTo>
                  <a:cubicBezTo>
                    <a:pt x="1672" y="471"/>
                    <a:pt x="1672" y="471"/>
                    <a:pt x="1672" y="471"/>
                  </a:cubicBezTo>
                  <a:cubicBezTo>
                    <a:pt x="1673" y="471"/>
                    <a:pt x="1675" y="473"/>
                    <a:pt x="1676" y="474"/>
                  </a:cubicBezTo>
                  <a:cubicBezTo>
                    <a:pt x="1678" y="476"/>
                    <a:pt x="1679" y="477"/>
                    <a:pt x="1681" y="477"/>
                  </a:cubicBezTo>
                  <a:cubicBezTo>
                    <a:pt x="1681" y="477"/>
                    <a:pt x="1681" y="477"/>
                    <a:pt x="1681" y="477"/>
                  </a:cubicBezTo>
                  <a:cubicBezTo>
                    <a:pt x="1683" y="477"/>
                    <a:pt x="1684" y="476"/>
                    <a:pt x="1686" y="475"/>
                  </a:cubicBezTo>
                  <a:cubicBezTo>
                    <a:pt x="1689" y="474"/>
                    <a:pt x="1693" y="473"/>
                    <a:pt x="1697" y="473"/>
                  </a:cubicBezTo>
                  <a:cubicBezTo>
                    <a:pt x="1703" y="471"/>
                    <a:pt x="1709" y="466"/>
                    <a:pt x="1714" y="463"/>
                  </a:cubicBezTo>
                  <a:cubicBezTo>
                    <a:pt x="1718" y="460"/>
                    <a:pt x="1724" y="458"/>
                    <a:pt x="1729" y="454"/>
                  </a:cubicBezTo>
                  <a:cubicBezTo>
                    <a:pt x="1732" y="451"/>
                    <a:pt x="1736" y="446"/>
                    <a:pt x="1738" y="442"/>
                  </a:cubicBezTo>
                  <a:cubicBezTo>
                    <a:pt x="1739" y="440"/>
                    <a:pt x="1741" y="435"/>
                    <a:pt x="1742" y="434"/>
                  </a:cubicBezTo>
                  <a:cubicBezTo>
                    <a:pt x="1745" y="431"/>
                    <a:pt x="1748" y="428"/>
                    <a:pt x="1752" y="426"/>
                  </a:cubicBezTo>
                  <a:cubicBezTo>
                    <a:pt x="1756" y="421"/>
                    <a:pt x="1759" y="416"/>
                    <a:pt x="1764" y="411"/>
                  </a:cubicBezTo>
                  <a:cubicBezTo>
                    <a:pt x="1769" y="405"/>
                    <a:pt x="1775" y="400"/>
                    <a:pt x="1780" y="395"/>
                  </a:cubicBezTo>
                  <a:cubicBezTo>
                    <a:pt x="1785" y="391"/>
                    <a:pt x="1789" y="387"/>
                    <a:pt x="1792" y="382"/>
                  </a:cubicBezTo>
                  <a:cubicBezTo>
                    <a:pt x="1796" y="376"/>
                    <a:pt x="1802" y="370"/>
                    <a:pt x="1805" y="364"/>
                  </a:cubicBezTo>
                  <a:cubicBezTo>
                    <a:pt x="1807" y="359"/>
                    <a:pt x="1807" y="353"/>
                    <a:pt x="1811" y="349"/>
                  </a:cubicBezTo>
                  <a:cubicBezTo>
                    <a:pt x="1814" y="345"/>
                    <a:pt x="1819" y="342"/>
                    <a:pt x="1822" y="336"/>
                  </a:cubicBezTo>
                  <a:cubicBezTo>
                    <a:pt x="1824" y="332"/>
                    <a:pt x="1826" y="328"/>
                    <a:pt x="1829" y="325"/>
                  </a:cubicBezTo>
                  <a:cubicBezTo>
                    <a:pt x="1834" y="321"/>
                    <a:pt x="1840" y="317"/>
                    <a:pt x="1843" y="312"/>
                  </a:cubicBezTo>
                  <a:cubicBezTo>
                    <a:pt x="1846" y="308"/>
                    <a:pt x="1848" y="301"/>
                    <a:pt x="1851" y="296"/>
                  </a:cubicBezTo>
                  <a:cubicBezTo>
                    <a:pt x="1852" y="294"/>
                    <a:pt x="1853" y="291"/>
                    <a:pt x="1850" y="291"/>
                  </a:cubicBezTo>
                  <a:cubicBezTo>
                    <a:pt x="1850" y="291"/>
                    <a:pt x="1850" y="291"/>
                    <a:pt x="1849" y="291"/>
                  </a:cubicBezTo>
                  <a:cubicBezTo>
                    <a:pt x="1851" y="287"/>
                    <a:pt x="1856" y="280"/>
                    <a:pt x="1856" y="275"/>
                  </a:cubicBezTo>
                  <a:cubicBezTo>
                    <a:pt x="1856" y="273"/>
                    <a:pt x="1855" y="271"/>
                    <a:pt x="1856" y="269"/>
                  </a:cubicBezTo>
                  <a:cubicBezTo>
                    <a:pt x="1856" y="267"/>
                    <a:pt x="1852" y="267"/>
                    <a:pt x="1854" y="264"/>
                  </a:cubicBezTo>
                  <a:cubicBezTo>
                    <a:pt x="1855" y="261"/>
                    <a:pt x="1858" y="261"/>
                    <a:pt x="1859" y="259"/>
                  </a:cubicBezTo>
                  <a:cubicBezTo>
                    <a:pt x="1859" y="259"/>
                    <a:pt x="1858" y="259"/>
                    <a:pt x="1858" y="259"/>
                  </a:cubicBezTo>
                  <a:cubicBezTo>
                    <a:pt x="1856" y="259"/>
                    <a:pt x="1856" y="258"/>
                    <a:pt x="1856" y="255"/>
                  </a:cubicBezTo>
                  <a:cubicBezTo>
                    <a:pt x="1856" y="252"/>
                    <a:pt x="1855" y="250"/>
                    <a:pt x="1855" y="247"/>
                  </a:cubicBezTo>
                  <a:cubicBezTo>
                    <a:pt x="1854" y="242"/>
                    <a:pt x="1854" y="239"/>
                    <a:pt x="1857" y="235"/>
                  </a:cubicBezTo>
                  <a:cubicBezTo>
                    <a:pt x="1859" y="231"/>
                    <a:pt x="1858" y="225"/>
                    <a:pt x="1859" y="221"/>
                  </a:cubicBezTo>
                  <a:cubicBezTo>
                    <a:pt x="1860" y="220"/>
                    <a:pt x="1862" y="219"/>
                    <a:pt x="1863" y="218"/>
                  </a:cubicBezTo>
                  <a:cubicBezTo>
                    <a:pt x="1865" y="217"/>
                    <a:pt x="1862" y="217"/>
                    <a:pt x="1862" y="216"/>
                  </a:cubicBezTo>
                  <a:cubicBezTo>
                    <a:pt x="1863" y="210"/>
                    <a:pt x="1873" y="205"/>
                    <a:pt x="1877" y="201"/>
                  </a:cubicBezTo>
                  <a:cubicBezTo>
                    <a:pt x="1872" y="197"/>
                    <a:pt x="1876" y="196"/>
                    <a:pt x="1879" y="192"/>
                  </a:cubicBezTo>
                  <a:cubicBezTo>
                    <a:pt x="1879" y="193"/>
                    <a:pt x="1878" y="193"/>
                    <a:pt x="1878" y="193"/>
                  </a:cubicBezTo>
                  <a:cubicBezTo>
                    <a:pt x="1874" y="193"/>
                    <a:pt x="1871" y="188"/>
                    <a:pt x="1870" y="186"/>
                  </a:cubicBezTo>
                  <a:cubicBezTo>
                    <a:pt x="1868" y="184"/>
                    <a:pt x="1871" y="184"/>
                    <a:pt x="1871" y="184"/>
                  </a:cubicBezTo>
                  <a:cubicBezTo>
                    <a:pt x="1873" y="180"/>
                    <a:pt x="1873" y="176"/>
                    <a:pt x="1872" y="172"/>
                  </a:cubicBezTo>
                  <a:cubicBezTo>
                    <a:pt x="1872" y="172"/>
                    <a:pt x="1872" y="172"/>
                    <a:pt x="1872" y="172"/>
                  </a:cubicBezTo>
                  <a:cubicBezTo>
                    <a:pt x="1870" y="172"/>
                    <a:pt x="1868" y="171"/>
                    <a:pt x="1867" y="170"/>
                  </a:cubicBezTo>
                  <a:cubicBezTo>
                    <a:pt x="1866" y="169"/>
                    <a:pt x="1866" y="168"/>
                    <a:pt x="1865" y="167"/>
                  </a:cubicBezTo>
                  <a:cubicBezTo>
                    <a:pt x="1863" y="166"/>
                    <a:pt x="1861" y="165"/>
                    <a:pt x="1860" y="164"/>
                  </a:cubicBezTo>
                  <a:cubicBezTo>
                    <a:pt x="1863" y="165"/>
                    <a:pt x="1867" y="167"/>
                    <a:pt x="1871" y="168"/>
                  </a:cubicBezTo>
                  <a:cubicBezTo>
                    <a:pt x="1871" y="168"/>
                    <a:pt x="1871" y="168"/>
                    <a:pt x="1871" y="168"/>
                  </a:cubicBezTo>
                  <a:cubicBezTo>
                    <a:pt x="1872" y="168"/>
                    <a:pt x="1872" y="167"/>
                    <a:pt x="1872" y="167"/>
                  </a:cubicBezTo>
                  <a:cubicBezTo>
                    <a:pt x="1875" y="165"/>
                    <a:pt x="1876" y="164"/>
                    <a:pt x="1876" y="161"/>
                  </a:cubicBezTo>
                  <a:cubicBezTo>
                    <a:pt x="1876" y="156"/>
                    <a:pt x="1868" y="153"/>
                    <a:pt x="1864" y="151"/>
                  </a:cubicBezTo>
                  <a:cubicBezTo>
                    <a:pt x="1860" y="149"/>
                    <a:pt x="1857" y="147"/>
                    <a:pt x="1854" y="145"/>
                  </a:cubicBezTo>
                  <a:cubicBezTo>
                    <a:pt x="1848" y="140"/>
                    <a:pt x="1844" y="133"/>
                    <a:pt x="1840" y="128"/>
                  </a:cubicBezTo>
                  <a:cubicBezTo>
                    <a:pt x="1839" y="127"/>
                    <a:pt x="1837" y="126"/>
                    <a:pt x="1836" y="126"/>
                  </a:cubicBezTo>
                  <a:cubicBezTo>
                    <a:pt x="1834" y="126"/>
                    <a:pt x="1833" y="127"/>
                    <a:pt x="1832" y="127"/>
                  </a:cubicBezTo>
                  <a:cubicBezTo>
                    <a:pt x="1830" y="127"/>
                    <a:pt x="1829" y="127"/>
                    <a:pt x="1828" y="127"/>
                  </a:cubicBezTo>
                  <a:cubicBezTo>
                    <a:pt x="1828" y="127"/>
                    <a:pt x="1828" y="127"/>
                    <a:pt x="1828" y="127"/>
                  </a:cubicBezTo>
                  <a:cubicBezTo>
                    <a:pt x="1822" y="127"/>
                    <a:pt x="1817" y="126"/>
                    <a:pt x="1811" y="126"/>
                  </a:cubicBezTo>
                  <a:cubicBezTo>
                    <a:pt x="1815" y="127"/>
                    <a:pt x="1813" y="131"/>
                    <a:pt x="1812" y="133"/>
                  </a:cubicBezTo>
                  <a:cubicBezTo>
                    <a:pt x="1813" y="133"/>
                    <a:pt x="1813" y="132"/>
                    <a:pt x="1814" y="132"/>
                  </a:cubicBezTo>
                  <a:cubicBezTo>
                    <a:pt x="1816" y="132"/>
                    <a:pt x="1812" y="138"/>
                    <a:pt x="1812" y="139"/>
                  </a:cubicBezTo>
                  <a:cubicBezTo>
                    <a:pt x="1812" y="140"/>
                    <a:pt x="1813" y="141"/>
                    <a:pt x="1812" y="142"/>
                  </a:cubicBezTo>
                  <a:cubicBezTo>
                    <a:pt x="1812" y="144"/>
                    <a:pt x="1810" y="146"/>
                    <a:pt x="1808" y="148"/>
                  </a:cubicBezTo>
                  <a:cubicBezTo>
                    <a:pt x="1806" y="152"/>
                    <a:pt x="1805" y="151"/>
                    <a:pt x="1801" y="152"/>
                  </a:cubicBezTo>
                  <a:cubicBezTo>
                    <a:pt x="1802" y="150"/>
                    <a:pt x="1803" y="148"/>
                    <a:pt x="1804" y="147"/>
                  </a:cubicBezTo>
                  <a:cubicBezTo>
                    <a:pt x="1805" y="146"/>
                    <a:pt x="1807" y="144"/>
                    <a:pt x="1808" y="143"/>
                  </a:cubicBezTo>
                  <a:cubicBezTo>
                    <a:pt x="1809" y="141"/>
                    <a:pt x="1811" y="137"/>
                    <a:pt x="1808" y="136"/>
                  </a:cubicBezTo>
                  <a:cubicBezTo>
                    <a:pt x="1808" y="136"/>
                    <a:pt x="1808" y="136"/>
                    <a:pt x="1808" y="136"/>
                  </a:cubicBezTo>
                  <a:cubicBezTo>
                    <a:pt x="1805" y="136"/>
                    <a:pt x="1799" y="144"/>
                    <a:pt x="1798" y="145"/>
                  </a:cubicBezTo>
                  <a:cubicBezTo>
                    <a:pt x="1795" y="148"/>
                    <a:pt x="1793" y="150"/>
                    <a:pt x="1789" y="150"/>
                  </a:cubicBezTo>
                  <a:cubicBezTo>
                    <a:pt x="1788" y="150"/>
                    <a:pt x="1787" y="150"/>
                    <a:pt x="1785" y="150"/>
                  </a:cubicBezTo>
                  <a:cubicBezTo>
                    <a:pt x="1782" y="150"/>
                    <a:pt x="1777" y="150"/>
                    <a:pt x="1778" y="148"/>
                  </a:cubicBezTo>
                  <a:cubicBezTo>
                    <a:pt x="1778" y="147"/>
                    <a:pt x="1783" y="146"/>
                    <a:pt x="1784" y="146"/>
                  </a:cubicBezTo>
                  <a:cubicBezTo>
                    <a:pt x="1786" y="144"/>
                    <a:pt x="1785" y="143"/>
                    <a:pt x="1787" y="141"/>
                  </a:cubicBezTo>
                  <a:cubicBezTo>
                    <a:pt x="1787" y="140"/>
                    <a:pt x="1793" y="138"/>
                    <a:pt x="1791" y="138"/>
                  </a:cubicBezTo>
                  <a:cubicBezTo>
                    <a:pt x="1788" y="137"/>
                    <a:pt x="1786" y="136"/>
                    <a:pt x="1784" y="135"/>
                  </a:cubicBezTo>
                  <a:cubicBezTo>
                    <a:pt x="1781" y="134"/>
                    <a:pt x="1777" y="133"/>
                    <a:pt x="1783" y="133"/>
                  </a:cubicBezTo>
                  <a:cubicBezTo>
                    <a:pt x="1784" y="133"/>
                    <a:pt x="1786" y="130"/>
                    <a:pt x="1785" y="129"/>
                  </a:cubicBezTo>
                  <a:cubicBezTo>
                    <a:pt x="1784" y="127"/>
                    <a:pt x="1782" y="127"/>
                    <a:pt x="1782" y="127"/>
                  </a:cubicBezTo>
                  <a:cubicBezTo>
                    <a:pt x="1780" y="127"/>
                    <a:pt x="1779" y="127"/>
                    <a:pt x="1777" y="128"/>
                  </a:cubicBezTo>
                  <a:cubicBezTo>
                    <a:pt x="1775" y="130"/>
                    <a:pt x="1774" y="131"/>
                    <a:pt x="1776" y="133"/>
                  </a:cubicBezTo>
                  <a:cubicBezTo>
                    <a:pt x="1777" y="134"/>
                    <a:pt x="1779" y="134"/>
                    <a:pt x="1779" y="136"/>
                  </a:cubicBezTo>
                  <a:cubicBezTo>
                    <a:pt x="1778" y="138"/>
                    <a:pt x="1770" y="142"/>
                    <a:pt x="1767" y="142"/>
                  </a:cubicBezTo>
                  <a:cubicBezTo>
                    <a:pt x="1766" y="142"/>
                    <a:pt x="1766" y="142"/>
                    <a:pt x="1766" y="142"/>
                  </a:cubicBezTo>
                  <a:cubicBezTo>
                    <a:pt x="1762" y="140"/>
                    <a:pt x="1766" y="135"/>
                    <a:pt x="1767" y="133"/>
                  </a:cubicBezTo>
                  <a:cubicBezTo>
                    <a:pt x="1768" y="131"/>
                    <a:pt x="1767" y="130"/>
                    <a:pt x="1767" y="129"/>
                  </a:cubicBezTo>
                  <a:cubicBezTo>
                    <a:pt x="1768" y="127"/>
                    <a:pt x="1768" y="127"/>
                    <a:pt x="1768" y="127"/>
                  </a:cubicBezTo>
                  <a:cubicBezTo>
                    <a:pt x="1768" y="127"/>
                    <a:pt x="1767" y="127"/>
                    <a:pt x="1767" y="126"/>
                  </a:cubicBezTo>
                  <a:cubicBezTo>
                    <a:pt x="1767" y="126"/>
                    <a:pt x="1768" y="126"/>
                    <a:pt x="1768" y="126"/>
                  </a:cubicBezTo>
                  <a:cubicBezTo>
                    <a:pt x="1767" y="125"/>
                    <a:pt x="1767" y="125"/>
                    <a:pt x="1767" y="125"/>
                  </a:cubicBezTo>
                  <a:cubicBezTo>
                    <a:pt x="1767" y="124"/>
                    <a:pt x="1766" y="123"/>
                    <a:pt x="1766" y="122"/>
                  </a:cubicBezTo>
                  <a:cubicBezTo>
                    <a:pt x="1766" y="122"/>
                    <a:pt x="1767" y="122"/>
                    <a:pt x="1767" y="122"/>
                  </a:cubicBezTo>
                  <a:cubicBezTo>
                    <a:pt x="1767" y="122"/>
                    <a:pt x="1767" y="122"/>
                    <a:pt x="1767" y="122"/>
                  </a:cubicBezTo>
                  <a:cubicBezTo>
                    <a:pt x="1767" y="122"/>
                    <a:pt x="1768" y="122"/>
                    <a:pt x="1768" y="122"/>
                  </a:cubicBezTo>
                  <a:cubicBezTo>
                    <a:pt x="1768" y="122"/>
                    <a:pt x="1768" y="122"/>
                    <a:pt x="1768" y="122"/>
                  </a:cubicBezTo>
                  <a:cubicBezTo>
                    <a:pt x="1768" y="121"/>
                    <a:pt x="1768" y="121"/>
                    <a:pt x="1768" y="121"/>
                  </a:cubicBezTo>
                  <a:cubicBezTo>
                    <a:pt x="1769" y="119"/>
                    <a:pt x="1768" y="117"/>
                    <a:pt x="1767" y="115"/>
                  </a:cubicBezTo>
                  <a:cubicBezTo>
                    <a:pt x="1765" y="114"/>
                    <a:pt x="1762" y="113"/>
                    <a:pt x="1759" y="113"/>
                  </a:cubicBezTo>
                  <a:cubicBezTo>
                    <a:pt x="1758" y="113"/>
                    <a:pt x="1757" y="113"/>
                    <a:pt x="1756" y="113"/>
                  </a:cubicBezTo>
                  <a:cubicBezTo>
                    <a:pt x="1755" y="114"/>
                    <a:pt x="1754" y="114"/>
                    <a:pt x="1753" y="114"/>
                  </a:cubicBezTo>
                  <a:cubicBezTo>
                    <a:pt x="1752" y="114"/>
                    <a:pt x="1752" y="114"/>
                    <a:pt x="1752" y="114"/>
                  </a:cubicBezTo>
                  <a:cubicBezTo>
                    <a:pt x="1745" y="113"/>
                    <a:pt x="1738" y="114"/>
                    <a:pt x="1731" y="113"/>
                  </a:cubicBezTo>
                  <a:cubicBezTo>
                    <a:pt x="1732" y="111"/>
                    <a:pt x="1729" y="110"/>
                    <a:pt x="1729" y="108"/>
                  </a:cubicBezTo>
                  <a:cubicBezTo>
                    <a:pt x="1729" y="106"/>
                    <a:pt x="1732" y="104"/>
                    <a:pt x="1733" y="103"/>
                  </a:cubicBezTo>
                  <a:cubicBezTo>
                    <a:pt x="1737" y="100"/>
                    <a:pt x="1740" y="99"/>
                    <a:pt x="1744" y="97"/>
                  </a:cubicBezTo>
                  <a:cubicBezTo>
                    <a:pt x="1749" y="94"/>
                    <a:pt x="1752" y="93"/>
                    <a:pt x="1756" y="89"/>
                  </a:cubicBezTo>
                  <a:cubicBezTo>
                    <a:pt x="1760" y="84"/>
                    <a:pt x="1769" y="81"/>
                    <a:pt x="1775" y="77"/>
                  </a:cubicBezTo>
                  <a:cubicBezTo>
                    <a:pt x="1780" y="74"/>
                    <a:pt x="1784" y="70"/>
                    <a:pt x="1789" y="66"/>
                  </a:cubicBezTo>
                  <a:cubicBezTo>
                    <a:pt x="1791" y="65"/>
                    <a:pt x="1802" y="57"/>
                    <a:pt x="1802" y="54"/>
                  </a:cubicBezTo>
                  <a:cubicBezTo>
                    <a:pt x="1802" y="54"/>
                    <a:pt x="1799" y="54"/>
                    <a:pt x="1799" y="53"/>
                  </a:cubicBezTo>
                  <a:cubicBezTo>
                    <a:pt x="1799" y="52"/>
                    <a:pt x="1803" y="48"/>
                    <a:pt x="1804" y="47"/>
                  </a:cubicBezTo>
                  <a:cubicBezTo>
                    <a:pt x="1808" y="41"/>
                    <a:pt x="1811" y="37"/>
                    <a:pt x="1816" y="34"/>
                  </a:cubicBezTo>
                  <a:cubicBezTo>
                    <a:pt x="1824" y="28"/>
                    <a:pt x="1831" y="22"/>
                    <a:pt x="1839" y="17"/>
                  </a:cubicBezTo>
                  <a:cubicBezTo>
                    <a:pt x="1843" y="13"/>
                    <a:pt x="1848" y="12"/>
                    <a:pt x="1853" y="9"/>
                  </a:cubicBezTo>
                  <a:cubicBezTo>
                    <a:pt x="1855" y="8"/>
                    <a:pt x="1855" y="7"/>
                    <a:pt x="1856" y="5"/>
                  </a:cubicBezTo>
                  <a:cubicBezTo>
                    <a:pt x="1856" y="3"/>
                    <a:pt x="1857" y="1"/>
                    <a:pt x="1857" y="0"/>
                  </a:cubicBezTo>
                  <a:moveTo>
                    <a:pt x="2359" y="0"/>
                  </a:moveTo>
                  <a:cubicBezTo>
                    <a:pt x="2274" y="0"/>
                    <a:pt x="2274" y="0"/>
                    <a:pt x="2274" y="0"/>
                  </a:cubicBezTo>
                  <a:cubicBezTo>
                    <a:pt x="2273" y="1"/>
                    <a:pt x="2273" y="1"/>
                    <a:pt x="2272" y="2"/>
                  </a:cubicBezTo>
                  <a:cubicBezTo>
                    <a:pt x="2273" y="2"/>
                    <a:pt x="2274" y="3"/>
                    <a:pt x="2274" y="4"/>
                  </a:cubicBezTo>
                  <a:cubicBezTo>
                    <a:pt x="2273" y="3"/>
                    <a:pt x="2272" y="2"/>
                    <a:pt x="2271" y="2"/>
                  </a:cubicBezTo>
                  <a:cubicBezTo>
                    <a:pt x="2270" y="2"/>
                    <a:pt x="2269" y="3"/>
                    <a:pt x="2268" y="3"/>
                  </a:cubicBezTo>
                  <a:cubicBezTo>
                    <a:pt x="2267" y="3"/>
                    <a:pt x="2266" y="3"/>
                    <a:pt x="2264" y="3"/>
                  </a:cubicBezTo>
                  <a:cubicBezTo>
                    <a:pt x="2264" y="3"/>
                    <a:pt x="2264" y="3"/>
                    <a:pt x="2264" y="3"/>
                  </a:cubicBezTo>
                  <a:cubicBezTo>
                    <a:pt x="2263" y="3"/>
                    <a:pt x="2261" y="3"/>
                    <a:pt x="2260" y="3"/>
                  </a:cubicBezTo>
                  <a:cubicBezTo>
                    <a:pt x="2260" y="3"/>
                    <a:pt x="2260" y="3"/>
                    <a:pt x="2259" y="3"/>
                  </a:cubicBezTo>
                  <a:cubicBezTo>
                    <a:pt x="2256" y="3"/>
                    <a:pt x="2257" y="7"/>
                    <a:pt x="2255" y="9"/>
                  </a:cubicBezTo>
                  <a:cubicBezTo>
                    <a:pt x="2253" y="10"/>
                    <a:pt x="2248" y="10"/>
                    <a:pt x="2246" y="10"/>
                  </a:cubicBezTo>
                  <a:cubicBezTo>
                    <a:pt x="2243" y="11"/>
                    <a:pt x="2240" y="11"/>
                    <a:pt x="2237" y="12"/>
                  </a:cubicBezTo>
                  <a:cubicBezTo>
                    <a:pt x="2239" y="15"/>
                    <a:pt x="2241" y="19"/>
                    <a:pt x="2242" y="23"/>
                  </a:cubicBezTo>
                  <a:cubicBezTo>
                    <a:pt x="2242" y="24"/>
                    <a:pt x="2241" y="26"/>
                    <a:pt x="2240" y="27"/>
                  </a:cubicBezTo>
                  <a:cubicBezTo>
                    <a:pt x="2238" y="29"/>
                    <a:pt x="2237" y="33"/>
                    <a:pt x="2235" y="35"/>
                  </a:cubicBezTo>
                  <a:cubicBezTo>
                    <a:pt x="2235" y="34"/>
                    <a:pt x="2234" y="34"/>
                    <a:pt x="2234" y="34"/>
                  </a:cubicBezTo>
                  <a:cubicBezTo>
                    <a:pt x="2233" y="34"/>
                    <a:pt x="2231" y="37"/>
                    <a:pt x="2230" y="38"/>
                  </a:cubicBezTo>
                  <a:cubicBezTo>
                    <a:pt x="2229" y="39"/>
                    <a:pt x="2228" y="40"/>
                    <a:pt x="2226" y="40"/>
                  </a:cubicBezTo>
                  <a:cubicBezTo>
                    <a:pt x="2225" y="42"/>
                    <a:pt x="2224" y="43"/>
                    <a:pt x="2222" y="45"/>
                  </a:cubicBezTo>
                  <a:cubicBezTo>
                    <a:pt x="2217" y="49"/>
                    <a:pt x="2217" y="54"/>
                    <a:pt x="2215" y="60"/>
                  </a:cubicBezTo>
                  <a:cubicBezTo>
                    <a:pt x="2210" y="79"/>
                    <a:pt x="2209" y="99"/>
                    <a:pt x="2212" y="118"/>
                  </a:cubicBezTo>
                  <a:cubicBezTo>
                    <a:pt x="2215" y="130"/>
                    <a:pt x="2218" y="142"/>
                    <a:pt x="2220" y="154"/>
                  </a:cubicBezTo>
                  <a:cubicBezTo>
                    <a:pt x="2221" y="162"/>
                    <a:pt x="2221" y="171"/>
                    <a:pt x="2224" y="178"/>
                  </a:cubicBezTo>
                  <a:cubicBezTo>
                    <a:pt x="2225" y="180"/>
                    <a:pt x="2226" y="181"/>
                    <a:pt x="2227" y="182"/>
                  </a:cubicBezTo>
                  <a:cubicBezTo>
                    <a:pt x="2228" y="183"/>
                    <a:pt x="2229" y="183"/>
                    <a:pt x="2230" y="184"/>
                  </a:cubicBezTo>
                  <a:cubicBezTo>
                    <a:pt x="2230" y="185"/>
                    <a:pt x="2230" y="185"/>
                    <a:pt x="2229" y="185"/>
                  </a:cubicBezTo>
                  <a:cubicBezTo>
                    <a:pt x="2229" y="185"/>
                    <a:pt x="2228" y="184"/>
                    <a:pt x="2228" y="184"/>
                  </a:cubicBezTo>
                  <a:cubicBezTo>
                    <a:pt x="2229" y="192"/>
                    <a:pt x="2231" y="200"/>
                    <a:pt x="2231" y="208"/>
                  </a:cubicBezTo>
                  <a:cubicBezTo>
                    <a:pt x="2231" y="212"/>
                    <a:pt x="2231" y="218"/>
                    <a:pt x="2232" y="222"/>
                  </a:cubicBezTo>
                  <a:cubicBezTo>
                    <a:pt x="2233" y="223"/>
                    <a:pt x="2235" y="225"/>
                    <a:pt x="2236" y="226"/>
                  </a:cubicBezTo>
                  <a:cubicBezTo>
                    <a:pt x="2238" y="229"/>
                    <a:pt x="2236" y="231"/>
                    <a:pt x="2235" y="234"/>
                  </a:cubicBezTo>
                  <a:cubicBezTo>
                    <a:pt x="2241" y="230"/>
                    <a:pt x="2247" y="225"/>
                    <a:pt x="2253" y="220"/>
                  </a:cubicBezTo>
                  <a:cubicBezTo>
                    <a:pt x="2257" y="217"/>
                    <a:pt x="2260" y="212"/>
                    <a:pt x="2264" y="208"/>
                  </a:cubicBezTo>
                  <a:cubicBezTo>
                    <a:pt x="2269" y="202"/>
                    <a:pt x="2274" y="196"/>
                    <a:pt x="2279" y="190"/>
                  </a:cubicBezTo>
                  <a:cubicBezTo>
                    <a:pt x="2281" y="188"/>
                    <a:pt x="2278" y="185"/>
                    <a:pt x="2279" y="183"/>
                  </a:cubicBezTo>
                  <a:cubicBezTo>
                    <a:pt x="2279" y="182"/>
                    <a:pt x="2278" y="182"/>
                    <a:pt x="2278" y="181"/>
                  </a:cubicBezTo>
                  <a:cubicBezTo>
                    <a:pt x="2278" y="180"/>
                    <a:pt x="2277" y="180"/>
                    <a:pt x="2278" y="179"/>
                  </a:cubicBezTo>
                  <a:cubicBezTo>
                    <a:pt x="2278" y="178"/>
                    <a:pt x="2280" y="178"/>
                    <a:pt x="2281" y="177"/>
                  </a:cubicBezTo>
                  <a:cubicBezTo>
                    <a:pt x="2281" y="177"/>
                    <a:pt x="2281" y="175"/>
                    <a:pt x="2281" y="173"/>
                  </a:cubicBezTo>
                  <a:cubicBezTo>
                    <a:pt x="2278" y="173"/>
                    <a:pt x="2275" y="170"/>
                    <a:pt x="2275" y="167"/>
                  </a:cubicBezTo>
                  <a:cubicBezTo>
                    <a:pt x="2275" y="164"/>
                    <a:pt x="2278" y="161"/>
                    <a:pt x="2282" y="161"/>
                  </a:cubicBezTo>
                  <a:cubicBezTo>
                    <a:pt x="2285" y="161"/>
                    <a:pt x="2288" y="163"/>
                    <a:pt x="2288" y="167"/>
                  </a:cubicBezTo>
                  <a:cubicBezTo>
                    <a:pt x="2289" y="166"/>
                    <a:pt x="2289" y="166"/>
                    <a:pt x="2289" y="166"/>
                  </a:cubicBezTo>
                  <a:cubicBezTo>
                    <a:pt x="2291" y="165"/>
                    <a:pt x="2293" y="164"/>
                    <a:pt x="2296" y="163"/>
                  </a:cubicBezTo>
                  <a:cubicBezTo>
                    <a:pt x="2298" y="162"/>
                    <a:pt x="2300" y="161"/>
                    <a:pt x="2303" y="160"/>
                  </a:cubicBezTo>
                  <a:cubicBezTo>
                    <a:pt x="2305" y="159"/>
                    <a:pt x="2307" y="160"/>
                    <a:pt x="2309" y="159"/>
                  </a:cubicBezTo>
                  <a:cubicBezTo>
                    <a:pt x="2306" y="161"/>
                    <a:pt x="2313" y="164"/>
                    <a:pt x="2315" y="164"/>
                  </a:cubicBezTo>
                  <a:cubicBezTo>
                    <a:pt x="2315" y="163"/>
                    <a:pt x="2314" y="161"/>
                    <a:pt x="2314" y="160"/>
                  </a:cubicBezTo>
                  <a:cubicBezTo>
                    <a:pt x="2313" y="160"/>
                    <a:pt x="2313" y="161"/>
                    <a:pt x="2313" y="161"/>
                  </a:cubicBezTo>
                  <a:cubicBezTo>
                    <a:pt x="2312" y="161"/>
                    <a:pt x="2313" y="159"/>
                    <a:pt x="2313" y="158"/>
                  </a:cubicBezTo>
                  <a:cubicBezTo>
                    <a:pt x="2313" y="157"/>
                    <a:pt x="2313" y="157"/>
                    <a:pt x="2313" y="157"/>
                  </a:cubicBezTo>
                  <a:cubicBezTo>
                    <a:pt x="2312" y="156"/>
                    <a:pt x="2312" y="156"/>
                    <a:pt x="2312" y="156"/>
                  </a:cubicBezTo>
                  <a:cubicBezTo>
                    <a:pt x="2311" y="155"/>
                    <a:pt x="2309" y="153"/>
                    <a:pt x="2309" y="151"/>
                  </a:cubicBezTo>
                  <a:cubicBezTo>
                    <a:pt x="2310" y="151"/>
                    <a:pt x="2311" y="151"/>
                    <a:pt x="2312" y="151"/>
                  </a:cubicBezTo>
                  <a:cubicBezTo>
                    <a:pt x="2313" y="151"/>
                    <a:pt x="2314" y="151"/>
                    <a:pt x="2312" y="148"/>
                  </a:cubicBezTo>
                  <a:cubicBezTo>
                    <a:pt x="2312" y="148"/>
                    <a:pt x="2311" y="148"/>
                    <a:pt x="2310" y="147"/>
                  </a:cubicBezTo>
                  <a:cubicBezTo>
                    <a:pt x="2310" y="147"/>
                    <a:pt x="2310" y="144"/>
                    <a:pt x="2310" y="143"/>
                  </a:cubicBezTo>
                  <a:cubicBezTo>
                    <a:pt x="2310" y="139"/>
                    <a:pt x="2312" y="134"/>
                    <a:pt x="2314" y="130"/>
                  </a:cubicBezTo>
                  <a:cubicBezTo>
                    <a:pt x="2316" y="128"/>
                    <a:pt x="2320" y="126"/>
                    <a:pt x="2323" y="124"/>
                  </a:cubicBezTo>
                  <a:cubicBezTo>
                    <a:pt x="2327" y="121"/>
                    <a:pt x="2332" y="118"/>
                    <a:pt x="2337" y="117"/>
                  </a:cubicBezTo>
                  <a:cubicBezTo>
                    <a:pt x="2338" y="117"/>
                    <a:pt x="2339" y="116"/>
                    <a:pt x="2339" y="116"/>
                  </a:cubicBezTo>
                  <a:cubicBezTo>
                    <a:pt x="2340" y="116"/>
                    <a:pt x="2340" y="116"/>
                    <a:pt x="2340" y="116"/>
                  </a:cubicBezTo>
                  <a:cubicBezTo>
                    <a:pt x="2342" y="117"/>
                    <a:pt x="2341" y="118"/>
                    <a:pt x="2342" y="118"/>
                  </a:cubicBezTo>
                  <a:cubicBezTo>
                    <a:pt x="2344" y="119"/>
                    <a:pt x="2345" y="119"/>
                    <a:pt x="2346" y="119"/>
                  </a:cubicBezTo>
                  <a:cubicBezTo>
                    <a:pt x="2347" y="119"/>
                    <a:pt x="2348" y="119"/>
                    <a:pt x="2349" y="119"/>
                  </a:cubicBezTo>
                  <a:cubicBezTo>
                    <a:pt x="2353" y="118"/>
                    <a:pt x="2358" y="115"/>
                    <a:pt x="2362" y="112"/>
                  </a:cubicBezTo>
                  <a:cubicBezTo>
                    <a:pt x="2365" y="109"/>
                    <a:pt x="2364" y="108"/>
                    <a:pt x="2362" y="105"/>
                  </a:cubicBezTo>
                  <a:cubicBezTo>
                    <a:pt x="2361" y="104"/>
                    <a:pt x="2360" y="102"/>
                    <a:pt x="2358" y="101"/>
                  </a:cubicBezTo>
                  <a:cubicBezTo>
                    <a:pt x="2354" y="98"/>
                    <a:pt x="2355" y="88"/>
                    <a:pt x="2355" y="83"/>
                  </a:cubicBezTo>
                  <a:cubicBezTo>
                    <a:pt x="2355" y="80"/>
                    <a:pt x="2358" y="76"/>
                    <a:pt x="2359" y="73"/>
                  </a:cubicBezTo>
                  <a:cubicBezTo>
                    <a:pt x="2361" y="70"/>
                    <a:pt x="2362" y="67"/>
                    <a:pt x="2366" y="65"/>
                  </a:cubicBezTo>
                  <a:cubicBezTo>
                    <a:pt x="2368" y="64"/>
                    <a:pt x="2374" y="63"/>
                    <a:pt x="2374" y="60"/>
                  </a:cubicBezTo>
                  <a:cubicBezTo>
                    <a:pt x="2373" y="57"/>
                    <a:pt x="2368" y="58"/>
                    <a:pt x="2373" y="56"/>
                  </a:cubicBezTo>
                  <a:cubicBezTo>
                    <a:pt x="2376" y="54"/>
                    <a:pt x="2376" y="55"/>
                    <a:pt x="2379" y="54"/>
                  </a:cubicBezTo>
                  <a:cubicBezTo>
                    <a:pt x="2381" y="54"/>
                    <a:pt x="2381" y="54"/>
                    <a:pt x="2382" y="53"/>
                  </a:cubicBezTo>
                  <a:cubicBezTo>
                    <a:pt x="2383" y="53"/>
                    <a:pt x="2384" y="52"/>
                    <a:pt x="2384" y="52"/>
                  </a:cubicBezTo>
                  <a:cubicBezTo>
                    <a:pt x="2385" y="52"/>
                    <a:pt x="2385" y="53"/>
                    <a:pt x="2385" y="54"/>
                  </a:cubicBezTo>
                  <a:cubicBezTo>
                    <a:pt x="2386" y="54"/>
                    <a:pt x="2383" y="57"/>
                    <a:pt x="2382" y="57"/>
                  </a:cubicBezTo>
                  <a:cubicBezTo>
                    <a:pt x="2379" y="59"/>
                    <a:pt x="2376" y="59"/>
                    <a:pt x="2374" y="63"/>
                  </a:cubicBezTo>
                  <a:cubicBezTo>
                    <a:pt x="2376" y="63"/>
                    <a:pt x="2377" y="66"/>
                    <a:pt x="2379" y="67"/>
                  </a:cubicBezTo>
                  <a:cubicBezTo>
                    <a:pt x="2380" y="68"/>
                    <a:pt x="2381" y="68"/>
                    <a:pt x="2382" y="68"/>
                  </a:cubicBezTo>
                  <a:cubicBezTo>
                    <a:pt x="2385" y="68"/>
                    <a:pt x="2388" y="66"/>
                    <a:pt x="2390" y="65"/>
                  </a:cubicBezTo>
                  <a:cubicBezTo>
                    <a:pt x="2394" y="63"/>
                    <a:pt x="2392" y="61"/>
                    <a:pt x="2391" y="57"/>
                  </a:cubicBezTo>
                  <a:cubicBezTo>
                    <a:pt x="2391" y="54"/>
                    <a:pt x="2390" y="50"/>
                    <a:pt x="2389" y="47"/>
                  </a:cubicBezTo>
                  <a:cubicBezTo>
                    <a:pt x="2388" y="44"/>
                    <a:pt x="2383" y="46"/>
                    <a:pt x="2381" y="44"/>
                  </a:cubicBezTo>
                  <a:cubicBezTo>
                    <a:pt x="2379" y="42"/>
                    <a:pt x="2379" y="41"/>
                    <a:pt x="2380" y="38"/>
                  </a:cubicBezTo>
                  <a:cubicBezTo>
                    <a:pt x="2380" y="35"/>
                    <a:pt x="2379" y="31"/>
                    <a:pt x="2379" y="27"/>
                  </a:cubicBezTo>
                  <a:cubicBezTo>
                    <a:pt x="2378" y="21"/>
                    <a:pt x="2387" y="18"/>
                    <a:pt x="2389" y="12"/>
                  </a:cubicBezTo>
                  <a:cubicBezTo>
                    <a:pt x="2391" y="7"/>
                    <a:pt x="2387" y="9"/>
                    <a:pt x="2384" y="8"/>
                  </a:cubicBezTo>
                  <a:cubicBezTo>
                    <a:pt x="2381" y="7"/>
                    <a:pt x="2379" y="4"/>
                    <a:pt x="2376" y="4"/>
                  </a:cubicBezTo>
                  <a:cubicBezTo>
                    <a:pt x="2375" y="4"/>
                    <a:pt x="2375" y="4"/>
                    <a:pt x="2374" y="5"/>
                  </a:cubicBezTo>
                  <a:cubicBezTo>
                    <a:pt x="2370" y="7"/>
                    <a:pt x="2374" y="11"/>
                    <a:pt x="2369" y="13"/>
                  </a:cubicBezTo>
                  <a:cubicBezTo>
                    <a:pt x="2370" y="9"/>
                    <a:pt x="2370" y="10"/>
                    <a:pt x="2366" y="8"/>
                  </a:cubicBezTo>
                  <a:cubicBezTo>
                    <a:pt x="2363" y="6"/>
                    <a:pt x="2359" y="4"/>
                    <a:pt x="2359" y="1"/>
                  </a:cubicBezTo>
                  <a:cubicBezTo>
                    <a:pt x="2359" y="1"/>
                    <a:pt x="2359" y="0"/>
                    <a:pt x="235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pic>
          <p:nvPicPr>
            <p:cNvPr id="503" name="Picture 1572">
              <a:extLst>
                <a:ext uri="{FF2B5EF4-FFF2-40B4-BE49-F238E27FC236}">
                  <a16:creationId xmlns:a16="http://schemas.microsoft.com/office/drawing/2014/main" id="{BDE267D8-9877-4B1F-9811-87E64117AE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264" y="3263222"/>
              <a:ext cx="16108" cy="308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504" name="Freeform 1577">
              <a:extLst>
                <a:ext uri="{FF2B5EF4-FFF2-40B4-BE49-F238E27FC236}">
                  <a16:creationId xmlns:a16="http://schemas.microsoft.com/office/drawing/2014/main" id="{C73F3C17-8AC3-48EE-B117-2CCE6994BBAC}"/>
                </a:ext>
              </a:extLst>
            </p:cNvPr>
            <p:cNvSpPr>
              <a:spLocks/>
            </p:cNvSpPr>
            <p:nvPr/>
          </p:nvSpPr>
          <p:spPr bwMode="auto">
            <a:xfrm>
              <a:off x="2034724" y="2741469"/>
              <a:ext cx="233566" cy="120810"/>
            </a:xfrm>
            <a:custGeom>
              <a:avLst/>
              <a:gdLst>
                <a:gd name="T0" fmla="*/ 60 w 71"/>
                <a:gd name="T1" fmla="*/ 11 h 35"/>
                <a:gd name="T2" fmla="*/ 60 w 71"/>
                <a:gd name="T3" fmla="*/ 11 h 35"/>
                <a:gd name="T4" fmla="*/ 60 w 71"/>
                <a:gd name="T5" fmla="*/ 13 h 35"/>
                <a:gd name="T6" fmla="*/ 60 w 71"/>
                <a:gd name="T7" fmla="*/ 16 h 35"/>
                <a:gd name="T8" fmla="*/ 61 w 71"/>
                <a:gd name="T9" fmla="*/ 18 h 35"/>
                <a:gd name="T10" fmla="*/ 62 w 71"/>
                <a:gd name="T11" fmla="*/ 20 h 35"/>
                <a:gd name="T12" fmla="*/ 69 w 71"/>
                <a:gd name="T13" fmla="*/ 22 h 35"/>
                <a:gd name="T14" fmla="*/ 69 w 71"/>
                <a:gd name="T15" fmla="*/ 26 h 35"/>
                <a:gd name="T16" fmla="*/ 71 w 71"/>
                <a:gd name="T17" fmla="*/ 31 h 35"/>
                <a:gd name="T18" fmla="*/ 70 w 71"/>
                <a:gd name="T19" fmla="*/ 31 h 35"/>
                <a:gd name="T20" fmla="*/ 68 w 71"/>
                <a:gd name="T21" fmla="*/ 31 h 35"/>
                <a:gd name="T22" fmla="*/ 67 w 71"/>
                <a:gd name="T23" fmla="*/ 31 h 35"/>
                <a:gd name="T24" fmla="*/ 62 w 71"/>
                <a:gd name="T25" fmla="*/ 32 h 35"/>
                <a:gd name="T26" fmla="*/ 57 w 71"/>
                <a:gd name="T27" fmla="*/ 32 h 35"/>
                <a:gd name="T28" fmla="*/ 51 w 71"/>
                <a:gd name="T29" fmla="*/ 32 h 35"/>
                <a:gd name="T30" fmla="*/ 43 w 71"/>
                <a:gd name="T31" fmla="*/ 33 h 35"/>
                <a:gd name="T32" fmla="*/ 42 w 71"/>
                <a:gd name="T33" fmla="*/ 32 h 35"/>
                <a:gd name="T34" fmla="*/ 38 w 71"/>
                <a:gd name="T35" fmla="*/ 32 h 35"/>
                <a:gd name="T36" fmla="*/ 31 w 71"/>
                <a:gd name="T37" fmla="*/ 30 h 35"/>
                <a:gd name="T38" fmla="*/ 29 w 71"/>
                <a:gd name="T39" fmla="*/ 31 h 35"/>
                <a:gd name="T40" fmla="*/ 21 w 71"/>
                <a:gd name="T41" fmla="*/ 35 h 35"/>
                <a:gd name="T42" fmla="*/ 19 w 71"/>
                <a:gd name="T43" fmla="*/ 34 h 35"/>
                <a:gd name="T44" fmla="*/ 19 w 71"/>
                <a:gd name="T45" fmla="*/ 27 h 35"/>
                <a:gd name="T46" fmla="*/ 17 w 71"/>
                <a:gd name="T47" fmla="*/ 33 h 35"/>
                <a:gd name="T48" fmla="*/ 11 w 71"/>
                <a:gd name="T49" fmla="*/ 31 h 35"/>
                <a:gd name="T50" fmla="*/ 9 w 71"/>
                <a:gd name="T51" fmla="*/ 31 h 35"/>
                <a:gd name="T52" fmla="*/ 7 w 71"/>
                <a:gd name="T53" fmla="*/ 31 h 35"/>
                <a:gd name="T54" fmla="*/ 6 w 71"/>
                <a:gd name="T55" fmla="*/ 31 h 35"/>
                <a:gd name="T56" fmla="*/ 4 w 71"/>
                <a:gd name="T57" fmla="*/ 31 h 35"/>
                <a:gd name="T58" fmla="*/ 2 w 71"/>
                <a:gd name="T59" fmla="*/ 29 h 35"/>
                <a:gd name="T60" fmla="*/ 0 w 71"/>
                <a:gd name="T61" fmla="*/ 26 h 35"/>
                <a:gd name="T62" fmla="*/ 2 w 71"/>
                <a:gd name="T63" fmla="*/ 23 h 35"/>
                <a:gd name="T64" fmla="*/ 5 w 71"/>
                <a:gd name="T65" fmla="*/ 18 h 35"/>
                <a:gd name="T66" fmla="*/ 13 w 71"/>
                <a:gd name="T67" fmla="*/ 8 h 35"/>
                <a:gd name="T68" fmla="*/ 15 w 71"/>
                <a:gd name="T69" fmla="*/ 5 h 35"/>
                <a:gd name="T70" fmla="*/ 27 w 71"/>
                <a:gd name="T71" fmla="*/ 0 h 35"/>
                <a:gd name="T72" fmla="*/ 29 w 71"/>
                <a:gd name="T73" fmla="*/ 0 h 35"/>
                <a:gd name="T74" fmla="*/ 31 w 71"/>
                <a:gd name="T75" fmla="*/ 1 h 35"/>
                <a:gd name="T76" fmla="*/ 35 w 71"/>
                <a:gd name="T77" fmla="*/ 6 h 35"/>
                <a:gd name="T78" fmla="*/ 38 w 71"/>
                <a:gd name="T79" fmla="*/ 6 h 35"/>
                <a:gd name="T80" fmla="*/ 43 w 71"/>
                <a:gd name="T81" fmla="*/ 6 h 35"/>
                <a:gd name="T82" fmla="*/ 44 w 71"/>
                <a:gd name="T83" fmla="*/ 7 h 35"/>
                <a:gd name="T84" fmla="*/ 48 w 71"/>
                <a:gd name="T85" fmla="*/ 8 h 35"/>
                <a:gd name="T86" fmla="*/ 52 w 71"/>
                <a:gd name="T87" fmla="*/ 7 h 35"/>
                <a:gd name="T88" fmla="*/ 58 w 71"/>
                <a:gd name="T89" fmla="*/ 7 h 35"/>
                <a:gd name="T90" fmla="*/ 61 w 71"/>
                <a:gd name="T91" fmla="*/ 8 h 35"/>
                <a:gd name="T92" fmla="*/ 61 w 71"/>
                <a:gd name="T93"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 h="35">
                  <a:moveTo>
                    <a:pt x="61" y="10"/>
                  </a:moveTo>
                  <a:cubicBezTo>
                    <a:pt x="60" y="11"/>
                    <a:pt x="60" y="11"/>
                    <a:pt x="60" y="11"/>
                  </a:cubicBezTo>
                  <a:cubicBezTo>
                    <a:pt x="61" y="11"/>
                    <a:pt x="61" y="11"/>
                    <a:pt x="61" y="11"/>
                  </a:cubicBezTo>
                  <a:cubicBezTo>
                    <a:pt x="60" y="11"/>
                    <a:pt x="60" y="11"/>
                    <a:pt x="60" y="11"/>
                  </a:cubicBezTo>
                  <a:cubicBezTo>
                    <a:pt x="60" y="11"/>
                    <a:pt x="60" y="12"/>
                    <a:pt x="60" y="12"/>
                  </a:cubicBezTo>
                  <a:cubicBezTo>
                    <a:pt x="60" y="12"/>
                    <a:pt x="60" y="13"/>
                    <a:pt x="60" y="13"/>
                  </a:cubicBezTo>
                  <a:cubicBezTo>
                    <a:pt x="60" y="13"/>
                    <a:pt x="60" y="13"/>
                    <a:pt x="60" y="14"/>
                  </a:cubicBezTo>
                  <a:cubicBezTo>
                    <a:pt x="60" y="14"/>
                    <a:pt x="60" y="15"/>
                    <a:pt x="60" y="16"/>
                  </a:cubicBezTo>
                  <a:cubicBezTo>
                    <a:pt x="60" y="16"/>
                    <a:pt x="60" y="16"/>
                    <a:pt x="60" y="16"/>
                  </a:cubicBezTo>
                  <a:cubicBezTo>
                    <a:pt x="60" y="17"/>
                    <a:pt x="60" y="17"/>
                    <a:pt x="61" y="18"/>
                  </a:cubicBezTo>
                  <a:cubicBezTo>
                    <a:pt x="61" y="18"/>
                    <a:pt x="61" y="18"/>
                    <a:pt x="61" y="19"/>
                  </a:cubicBezTo>
                  <a:cubicBezTo>
                    <a:pt x="62" y="19"/>
                    <a:pt x="62" y="19"/>
                    <a:pt x="62" y="20"/>
                  </a:cubicBezTo>
                  <a:cubicBezTo>
                    <a:pt x="63" y="20"/>
                    <a:pt x="64" y="21"/>
                    <a:pt x="65" y="21"/>
                  </a:cubicBezTo>
                  <a:cubicBezTo>
                    <a:pt x="67" y="22"/>
                    <a:pt x="68" y="22"/>
                    <a:pt x="69" y="22"/>
                  </a:cubicBezTo>
                  <a:cubicBezTo>
                    <a:pt x="70" y="22"/>
                    <a:pt x="70" y="23"/>
                    <a:pt x="71" y="23"/>
                  </a:cubicBezTo>
                  <a:cubicBezTo>
                    <a:pt x="70" y="23"/>
                    <a:pt x="69" y="24"/>
                    <a:pt x="69" y="26"/>
                  </a:cubicBezTo>
                  <a:cubicBezTo>
                    <a:pt x="69" y="26"/>
                    <a:pt x="69" y="27"/>
                    <a:pt x="69" y="28"/>
                  </a:cubicBezTo>
                  <a:cubicBezTo>
                    <a:pt x="70" y="30"/>
                    <a:pt x="70" y="31"/>
                    <a:pt x="71" y="31"/>
                  </a:cubicBezTo>
                  <a:cubicBezTo>
                    <a:pt x="71" y="32"/>
                    <a:pt x="71" y="32"/>
                    <a:pt x="70" y="32"/>
                  </a:cubicBezTo>
                  <a:cubicBezTo>
                    <a:pt x="70" y="32"/>
                    <a:pt x="70" y="31"/>
                    <a:pt x="70" y="31"/>
                  </a:cubicBezTo>
                  <a:cubicBezTo>
                    <a:pt x="69" y="31"/>
                    <a:pt x="69" y="31"/>
                    <a:pt x="68" y="31"/>
                  </a:cubicBezTo>
                  <a:cubicBezTo>
                    <a:pt x="68" y="31"/>
                    <a:pt x="68" y="31"/>
                    <a:pt x="68" y="31"/>
                  </a:cubicBezTo>
                  <a:cubicBezTo>
                    <a:pt x="68" y="31"/>
                    <a:pt x="68" y="31"/>
                    <a:pt x="68" y="31"/>
                  </a:cubicBezTo>
                  <a:cubicBezTo>
                    <a:pt x="68" y="31"/>
                    <a:pt x="67" y="31"/>
                    <a:pt x="67" y="31"/>
                  </a:cubicBezTo>
                  <a:cubicBezTo>
                    <a:pt x="65" y="32"/>
                    <a:pt x="64" y="32"/>
                    <a:pt x="63" y="32"/>
                  </a:cubicBezTo>
                  <a:cubicBezTo>
                    <a:pt x="62" y="32"/>
                    <a:pt x="62" y="32"/>
                    <a:pt x="62" y="32"/>
                  </a:cubicBezTo>
                  <a:cubicBezTo>
                    <a:pt x="61" y="32"/>
                    <a:pt x="61" y="32"/>
                    <a:pt x="61" y="32"/>
                  </a:cubicBezTo>
                  <a:cubicBezTo>
                    <a:pt x="60" y="32"/>
                    <a:pt x="59" y="32"/>
                    <a:pt x="57" y="32"/>
                  </a:cubicBezTo>
                  <a:cubicBezTo>
                    <a:pt x="56" y="32"/>
                    <a:pt x="54" y="32"/>
                    <a:pt x="52" y="32"/>
                  </a:cubicBezTo>
                  <a:cubicBezTo>
                    <a:pt x="51" y="32"/>
                    <a:pt x="51" y="32"/>
                    <a:pt x="51" y="32"/>
                  </a:cubicBezTo>
                  <a:cubicBezTo>
                    <a:pt x="49" y="33"/>
                    <a:pt x="47" y="33"/>
                    <a:pt x="46" y="33"/>
                  </a:cubicBezTo>
                  <a:cubicBezTo>
                    <a:pt x="45" y="33"/>
                    <a:pt x="44" y="33"/>
                    <a:pt x="43" y="33"/>
                  </a:cubicBezTo>
                  <a:cubicBezTo>
                    <a:pt x="43" y="33"/>
                    <a:pt x="42" y="33"/>
                    <a:pt x="42" y="33"/>
                  </a:cubicBezTo>
                  <a:cubicBezTo>
                    <a:pt x="42" y="32"/>
                    <a:pt x="42" y="32"/>
                    <a:pt x="42" y="32"/>
                  </a:cubicBezTo>
                  <a:cubicBezTo>
                    <a:pt x="41" y="32"/>
                    <a:pt x="40" y="32"/>
                    <a:pt x="39" y="32"/>
                  </a:cubicBezTo>
                  <a:cubicBezTo>
                    <a:pt x="38" y="32"/>
                    <a:pt x="38" y="32"/>
                    <a:pt x="38" y="32"/>
                  </a:cubicBezTo>
                  <a:cubicBezTo>
                    <a:pt x="37" y="31"/>
                    <a:pt x="37" y="31"/>
                    <a:pt x="36" y="31"/>
                  </a:cubicBezTo>
                  <a:cubicBezTo>
                    <a:pt x="35" y="30"/>
                    <a:pt x="33" y="30"/>
                    <a:pt x="31" y="30"/>
                  </a:cubicBezTo>
                  <a:cubicBezTo>
                    <a:pt x="31" y="30"/>
                    <a:pt x="30" y="31"/>
                    <a:pt x="29" y="31"/>
                  </a:cubicBezTo>
                  <a:cubicBezTo>
                    <a:pt x="29" y="31"/>
                    <a:pt x="29" y="31"/>
                    <a:pt x="29" y="31"/>
                  </a:cubicBezTo>
                  <a:cubicBezTo>
                    <a:pt x="27" y="32"/>
                    <a:pt x="27" y="32"/>
                    <a:pt x="27" y="32"/>
                  </a:cubicBezTo>
                  <a:cubicBezTo>
                    <a:pt x="26" y="33"/>
                    <a:pt x="23" y="35"/>
                    <a:pt x="21" y="35"/>
                  </a:cubicBezTo>
                  <a:cubicBezTo>
                    <a:pt x="21" y="35"/>
                    <a:pt x="21" y="35"/>
                    <a:pt x="21" y="35"/>
                  </a:cubicBezTo>
                  <a:cubicBezTo>
                    <a:pt x="20" y="34"/>
                    <a:pt x="19" y="34"/>
                    <a:pt x="19" y="34"/>
                  </a:cubicBezTo>
                  <a:cubicBezTo>
                    <a:pt x="18" y="34"/>
                    <a:pt x="18" y="34"/>
                    <a:pt x="18" y="34"/>
                  </a:cubicBezTo>
                  <a:cubicBezTo>
                    <a:pt x="19" y="27"/>
                    <a:pt x="19" y="27"/>
                    <a:pt x="19" y="27"/>
                  </a:cubicBezTo>
                  <a:cubicBezTo>
                    <a:pt x="17" y="33"/>
                    <a:pt x="17" y="33"/>
                    <a:pt x="17" y="33"/>
                  </a:cubicBezTo>
                  <a:cubicBezTo>
                    <a:pt x="17" y="33"/>
                    <a:pt x="17" y="33"/>
                    <a:pt x="17" y="33"/>
                  </a:cubicBezTo>
                  <a:cubicBezTo>
                    <a:pt x="16" y="33"/>
                    <a:pt x="15" y="32"/>
                    <a:pt x="13" y="32"/>
                  </a:cubicBezTo>
                  <a:cubicBezTo>
                    <a:pt x="12" y="31"/>
                    <a:pt x="11" y="31"/>
                    <a:pt x="11" y="31"/>
                  </a:cubicBezTo>
                  <a:cubicBezTo>
                    <a:pt x="11" y="31"/>
                    <a:pt x="11" y="31"/>
                    <a:pt x="11" y="31"/>
                  </a:cubicBezTo>
                  <a:cubicBezTo>
                    <a:pt x="10" y="31"/>
                    <a:pt x="10" y="31"/>
                    <a:pt x="9" y="31"/>
                  </a:cubicBezTo>
                  <a:cubicBezTo>
                    <a:pt x="9" y="31"/>
                    <a:pt x="9" y="31"/>
                    <a:pt x="9" y="31"/>
                  </a:cubicBezTo>
                  <a:cubicBezTo>
                    <a:pt x="7" y="31"/>
                    <a:pt x="7" y="31"/>
                    <a:pt x="7" y="31"/>
                  </a:cubicBezTo>
                  <a:cubicBezTo>
                    <a:pt x="7" y="31"/>
                    <a:pt x="7" y="31"/>
                    <a:pt x="7" y="31"/>
                  </a:cubicBezTo>
                  <a:cubicBezTo>
                    <a:pt x="6" y="31"/>
                    <a:pt x="6" y="31"/>
                    <a:pt x="6" y="31"/>
                  </a:cubicBezTo>
                  <a:cubicBezTo>
                    <a:pt x="6" y="31"/>
                    <a:pt x="5" y="31"/>
                    <a:pt x="5" y="31"/>
                  </a:cubicBezTo>
                  <a:cubicBezTo>
                    <a:pt x="5" y="31"/>
                    <a:pt x="4" y="31"/>
                    <a:pt x="4" y="31"/>
                  </a:cubicBezTo>
                  <a:cubicBezTo>
                    <a:pt x="3" y="30"/>
                    <a:pt x="3" y="30"/>
                    <a:pt x="2" y="29"/>
                  </a:cubicBezTo>
                  <a:cubicBezTo>
                    <a:pt x="2" y="29"/>
                    <a:pt x="2" y="29"/>
                    <a:pt x="2" y="29"/>
                  </a:cubicBezTo>
                  <a:cubicBezTo>
                    <a:pt x="1" y="28"/>
                    <a:pt x="1" y="27"/>
                    <a:pt x="0" y="26"/>
                  </a:cubicBezTo>
                  <a:cubicBezTo>
                    <a:pt x="0" y="26"/>
                    <a:pt x="0" y="26"/>
                    <a:pt x="0" y="26"/>
                  </a:cubicBezTo>
                  <a:cubicBezTo>
                    <a:pt x="2" y="24"/>
                    <a:pt x="2" y="24"/>
                    <a:pt x="2" y="24"/>
                  </a:cubicBezTo>
                  <a:cubicBezTo>
                    <a:pt x="2" y="23"/>
                    <a:pt x="2" y="23"/>
                    <a:pt x="2" y="23"/>
                  </a:cubicBezTo>
                  <a:cubicBezTo>
                    <a:pt x="2" y="22"/>
                    <a:pt x="2" y="22"/>
                    <a:pt x="2" y="22"/>
                  </a:cubicBezTo>
                  <a:cubicBezTo>
                    <a:pt x="3" y="20"/>
                    <a:pt x="4" y="19"/>
                    <a:pt x="5" y="18"/>
                  </a:cubicBezTo>
                  <a:cubicBezTo>
                    <a:pt x="6" y="16"/>
                    <a:pt x="7" y="15"/>
                    <a:pt x="8" y="14"/>
                  </a:cubicBezTo>
                  <a:cubicBezTo>
                    <a:pt x="9" y="12"/>
                    <a:pt x="11" y="9"/>
                    <a:pt x="13" y="8"/>
                  </a:cubicBezTo>
                  <a:cubicBezTo>
                    <a:pt x="13" y="7"/>
                    <a:pt x="13" y="7"/>
                    <a:pt x="13" y="7"/>
                  </a:cubicBezTo>
                  <a:cubicBezTo>
                    <a:pt x="14" y="7"/>
                    <a:pt x="15" y="6"/>
                    <a:pt x="15" y="5"/>
                  </a:cubicBezTo>
                  <a:cubicBezTo>
                    <a:pt x="17" y="3"/>
                    <a:pt x="21" y="1"/>
                    <a:pt x="26" y="0"/>
                  </a:cubicBezTo>
                  <a:cubicBezTo>
                    <a:pt x="27" y="0"/>
                    <a:pt x="27" y="0"/>
                    <a:pt x="27" y="0"/>
                  </a:cubicBezTo>
                  <a:cubicBezTo>
                    <a:pt x="27" y="0"/>
                    <a:pt x="28" y="0"/>
                    <a:pt x="28" y="0"/>
                  </a:cubicBezTo>
                  <a:cubicBezTo>
                    <a:pt x="29" y="0"/>
                    <a:pt x="29" y="0"/>
                    <a:pt x="29" y="0"/>
                  </a:cubicBezTo>
                  <a:cubicBezTo>
                    <a:pt x="30" y="0"/>
                    <a:pt x="31" y="0"/>
                    <a:pt x="31" y="0"/>
                  </a:cubicBezTo>
                  <a:cubicBezTo>
                    <a:pt x="31" y="0"/>
                    <a:pt x="31" y="1"/>
                    <a:pt x="31" y="1"/>
                  </a:cubicBezTo>
                  <a:cubicBezTo>
                    <a:pt x="31" y="2"/>
                    <a:pt x="32" y="4"/>
                    <a:pt x="34" y="5"/>
                  </a:cubicBezTo>
                  <a:cubicBezTo>
                    <a:pt x="35" y="6"/>
                    <a:pt x="35" y="6"/>
                    <a:pt x="35" y="6"/>
                  </a:cubicBezTo>
                  <a:cubicBezTo>
                    <a:pt x="36" y="6"/>
                    <a:pt x="36" y="6"/>
                    <a:pt x="37" y="6"/>
                  </a:cubicBezTo>
                  <a:cubicBezTo>
                    <a:pt x="38" y="6"/>
                    <a:pt x="38" y="6"/>
                    <a:pt x="38" y="6"/>
                  </a:cubicBezTo>
                  <a:cubicBezTo>
                    <a:pt x="38" y="6"/>
                    <a:pt x="38" y="6"/>
                    <a:pt x="39" y="6"/>
                  </a:cubicBezTo>
                  <a:cubicBezTo>
                    <a:pt x="40" y="6"/>
                    <a:pt x="41" y="6"/>
                    <a:pt x="43" y="6"/>
                  </a:cubicBezTo>
                  <a:cubicBezTo>
                    <a:pt x="43" y="7"/>
                    <a:pt x="43" y="7"/>
                    <a:pt x="43" y="7"/>
                  </a:cubicBezTo>
                  <a:cubicBezTo>
                    <a:pt x="43" y="7"/>
                    <a:pt x="44" y="7"/>
                    <a:pt x="44" y="7"/>
                  </a:cubicBezTo>
                  <a:cubicBezTo>
                    <a:pt x="46" y="7"/>
                    <a:pt x="46" y="7"/>
                    <a:pt x="46" y="7"/>
                  </a:cubicBezTo>
                  <a:cubicBezTo>
                    <a:pt x="47" y="8"/>
                    <a:pt x="47" y="8"/>
                    <a:pt x="48" y="8"/>
                  </a:cubicBezTo>
                  <a:cubicBezTo>
                    <a:pt x="49" y="8"/>
                    <a:pt x="50" y="8"/>
                    <a:pt x="51" y="7"/>
                  </a:cubicBezTo>
                  <a:cubicBezTo>
                    <a:pt x="52" y="7"/>
                    <a:pt x="52" y="7"/>
                    <a:pt x="52" y="7"/>
                  </a:cubicBezTo>
                  <a:cubicBezTo>
                    <a:pt x="52" y="6"/>
                    <a:pt x="54" y="6"/>
                    <a:pt x="54" y="6"/>
                  </a:cubicBezTo>
                  <a:cubicBezTo>
                    <a:pt x="54" y="6"/>
                    <a:pt x="56" y="6"/>
                    <a:pt x="58" y="7"/>
                  </a:cubicBezTo>
                  <a:cubicBezTo>
                    <a:pt x="60" y="7"/>
                    <a:pt x="61" y="8"/>
                    <a:pt x="61" y="8"/>
                  </a:cubicBezTo>
                  <a:cubicBezTo>
                    <a:pt x="61" y="8"/>
                    <a:pt x="61" y="8"/>
                    <a:pt x="61" y="8"/>
                  </a:cubicBezTo>
                  <a:cubicBezTo>
                    <a:pt x="61" y="8"/>
                    <a:pt x="61" y="9"/>
                    <a:pt x="61" y="10"/>
                  </a:cubicBezTo>
                  <a:cubicBezTo>
                    <a:pt x="61" y="10"/>
                    <a:pt x="61" y="10"/>
                    <a:pt x="61" y="10"/>
                  </a:cubicBezTo>
                  <a:cubicBezTo>
                    <a:pt x="61" y="10"/>
                    <a:pt x="61" y="10"/>
                    <a:pt x="61" y="1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East Asia</a:t>
            </a:r>
            <a:endParaRPr lang="de-DE" dirty="0"/>
          </a:p>
        </p:txBody>
      </p:sp>
      <p:sp>
        <p:nvSpPr>
          <p:cNvPr id="21" name="Freeform: Shape 20">
            <a:hlinkClick r:id="rId4"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sp>
        <p:nvSpPr>
          <p:cNvPr id="4" name="Rectangle 3">
            <a:hlinkClick r:id="rId4" action="ppaction://hlinksldjump"/>
            <a:extLst>
              <a:ext uri="{FF2B5EF4-FFF2-40B4-BE49-F238E27FC236}">
                <a16:creationId xmlns:a16="http://schemas.microsoft.com/office/drawing/2014/main" id="{7DB09BD1-99D4-412A-8B47-CD71C4C223F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8462863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5" name="Group 1134">
            <a:extLst>
              <a:ext uri="{FF2B5EF4-FFF2-40B4-BE49-F238E27FC236}">
                <a16:creationId xmlns:a16="http://schemas.microsoft.com/office/drawing/2014/main" id="{B54AC3E2-5DA6-49BF-A380-1D107A6A0FFF}"/>
              </a:ext>
            </a:extLst>
          </p:cNvPr>
          <p:cNvGrpSpPr>
            <a:grpSpLocks noChangeAspect="1"/>
          </p:cNvGrpSpPr>
          <p:nvPr/>
        </p:nvGrpSpPr>
        <p:grpSpPr bwMode="auto">
          <a:xfrm>
            <a:off x="0" y="0"/>
            <a:ext cx="8362947" cy="6689558"/>
            <a:chOff x="20" y="0"/>
            <a:chExt cx="6277" cy="5021"/>
          </a:xfrm>
          <a:solidFill>
            <a:srgbClr val="96968C">
              <a:lumMod val="40000"/>
              <a:lumOff val="60000"/>
            </a:srgbClr>
          </a:solidFill>
        </p:grpSpPr>
        <p:grpSp>
          <p:nvGrpSpPr>
            <p:cNvPr id="6" name="Group 1335">
              <a:extLst>
                <a:ext uri="{FF2B5EF4-FFF2-40B4-BE49-F238E27FC236}">
                  <a16:creationId xmlns:a16="http://schemas.microsoft.com/office/drawing/2014/main" id="{9B9D64DF-DF53-4D23-AB06-528EFC5F7573}"/>
                </a:ext>
              </a:extLst>
            </p:cNvPr>
            <p:cNvGrpSpPr>
              <a:grpSpLocks/>
            </p:cNvGrpSpPr>
            <p:nvPr/>
          </p:nvGrpSpPr>
          <p:grpSpPr bwMode="auto">
            <a:xfrm>
              <a:off x="202" y="0"/>
              <a:ext cx="6095" cy="5021"/>
              <a:chOff x="202" y="0"/>
              <a:chExt cx="6095" cy="5021"/>
            </a:xfrm>
            <a:grpFill/>
          </p:grpSpPr>
          <p:sp>
            <p:nvSpPr>
              <p:cNvPr id="203" name="Oval 1135">
                <a:extLst>
                  <a:ext uri="{FF2B5EF4-FFF2-40B4-BE49-F238E27FC236}">
                    <a16:creationId xmlns:a16="http://schemas.microsoft.com/office/drawing/2014/main" id="{2F449346-3E85-42F0-8A1D-4F50DAD77DBA}"/>
                  </a:ext>
                </a:extLst>
              </p:cNvPr>
              <p:cNvSpPr>
                <a:spLocks noChangeArrowheads="1"/>
              </p:cNvSpPr>
              <p:nvPr/>
            </p:nvSpPr>
            <p:spPr bwMode="auto">
              <a:xfrm>
                <a:off x="6039" y="2177"/>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4" name="Freeform 1136">
                <a:extLst>
                  <a:ext uri="{FF2B5EF4-FFF2-40B4-BE49-F238E27FC236}">
                    <a16:creationId xmlns:a16="http://schemas.microsoft.com/office/drawing/2014/main" id="{949543FA-468E-4682-BC41-8A3B3E9A34C4}"/>
                  </a:ext>
                </a:extLst>
              </p:cNvPr>
              <p:cNvSpPr>
                <a:spLocks/>
              </p:cNvSpPr>
              <p:nvPr/>
            </p:nvSpPr>
            <p:spPr bwMode="auto">
              <a:xfrm>
                <a:off x="415" y="284"/>
                <a:ext cx="12" cy="17"/>
              </a:xfrm>
              <a:custGeom>
                <a:avLst/>
                <a:gdLst>
                  <a:gd name="T0" fmla="*/ 1 w 5"/>
                  <a:gd name="T1" fmla="*/ 0 h 7"/>
                  <a:gd name="T2" fmla="*/ 0 w 5"/>
                  <a:gd name="T3" fmla="*/ 1 h 7"/>
                  <a:gd name="T4" fmla="*/ 5 w 5"/>
                  <a:gd name="T5" fmla="*/ 7 h 7"/>
                  <a:gd name="T6" fmla="*/ 3 w 5"/>
                  <a:gd name="T7" fmla="*/ 1 h 7"/>
                  <a:gd name="T8" fmla="*/ 2 w 5"/>
                  <a:gd name="T9" fmla="*/ 0 h 7"/>
                  <a:gd name="T10" fmla="*/ 1 w 5"/>
                  <a:gd name="T11" fmla="*/ 0 h 7"/>
                  <a:gd name="T12" fmla="*/ 1 w 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1" y="0"/>
                    </a:moveTo>
                    <a:cubicBezTo>
                      <a:pt x="0" y="0"/>
                      <a:pt x="0" y="1"/>
                      <a:pt x="0" y="1"/>
                    </a:cubicBezTo>
                    <a:cubicBezTo>
                      <a:pt x="0" y="3"/>
                      <a:pt x="5" y="7"/>
                      <a:pt x="5" y="7"/>
                    </a:cubicBezTo>
                    <a:cubicBezTo>
                      <a:pt x="5" y="6"/>
                      <a:pt x="4" y="1"/>
                      <a:pt x="3" y="1"/>
                    </a:cubicBezTo>
                    <a:cubicBezTo>
                      <a:pt x="3" y="0"/>
                      <a:pt x="2" y="0"/>
                      <a:pt x="2" y="0"/>
                    </a:cubicBezTo>
                    <a:cubicBezTo>
                      <a:pt x="2" y="0"/>
                      <a:pt x="2"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5" name="Freeform 1137">
                <a:extLst>
                  <a:ext uri="{FF2B5EF4-FFF2-40B4-BE49-F238E27FC236}">
                    <a16:creationId xmlns:a16="http://schemas.microsoft.com/office/drawing/2014/main" id="{08720C2A-273B-4DE3-A86D-FD30B1342FD0}"/>
                  </a:ext>
                </a:extLst>
              </p:cNvPr>
              <p:cNvSpPr>
                <a:spLocks/>
              </p:cNvSpPr>
              <p:nvPr/>
            </p:nvSpPr>
            <p:spPr bwMode="auto">
              <a:xfrm>
                <a:off x="3551" y="1785"/>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0"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6" name="Freeform 1138">
                <a:extLst>
                  <a:ext uri="{FF2B5EF4-FFF2-40B4-BE49-F238E27FC236}">
                    <a16:creationId xmlns:a16="http://schemas.microsoft.com/office/drawing/2014/main" id="{A1A7B8D7-E7C2-489E-BFD3-B6FDFD99879C}"/>
                  </a:ext>
                </a:extLst>
              </p:cNvPr>
              <p:cNvSpPr>
                <a:spLocks/>
              </p:cNvSpPr>
              <p:nvPr/>
            </p:nvSpPr>
            <p:spPr bwMode="auto">
              <a:xfrm>
                <a:off x="3541" y="1740"/>
                <a:ext cx="3" cy="2"/>
              </a:xfrm>
              <a:custGeom>
                <a:avLst/>
                <a:gdLst>
                  <a:gd name="T0" fmla="*/ 0 w 1"/>
                  <a:gd name="T1" fmla="*/ 0 h 1"/>
                  <a:gd name="T2" fmla="*/ 0 w 1"/>
                  <a:gd name="T3" fmla="*/ 1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1" y="1"/>
                      <a:pt x="1" y="1"/>
                      <a:pt x="1" y="1"/>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7" name="Freeform 1139">
                <a:extLst>
                  <a:ext uri="{FF2B5EF4-FFF2-40B4-BE49-F238E27FC236}">
                    <a16:creationId xmlns:a16="http://schemas.microsoft.com/office/drawing/2014/main" id="{0828223C-150B-4E81-9A3D-C143612E70EA}"/>
                  </a:ext>
                </a:extLst>
              </p:cNvPr>
              <p:cNvSpPr>
                <a:spLocks/>
              </p:cNvSpPr>
              <p:nvPr/>
            </p:nvSpPr>
            <p:spPr bwMode="auto">
              <a:xfrm>
                <a:off x="3496" y="1773"/>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8" name="Freeform 1140">
                <a:extLst>
                  <a:ext uri="{FF2B5EF4-FFF2-40B4-BE49-F238E27FC236}">
                    <a16:creationId xmlns:a16="http://schemas.microsoft.com/office/drawing/2014/main" id="{149A8D7A-D8FE-46E8-9C79-E35C832601EB}"/>
                  </a:ext>
                </a:extLst>
              </p:cNvPr>
              <p:cNvSpPr>
                <a:spLocks/>
              </p:cNvSpPr>
              <p:nvPr/>
            </p:nvSpPr>
            <p:spPr bwMode="auto">
              <a:xfrm>
                <a:off x="3997" y="4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9" name="Oval 1141">
                <a:extLst>
                  <a:ext uri="{FF2B5EF4-FFF2-40B4-BE49-F238E27FC236}">
                    <a16:creationId xmlns:a16="http://schemas.microsoft.com/office/drawing/2014/main" id="{1C1DE979-150F-46C9-8E59-5C6370D06B81}"/>
                  </a:ext>
                </a:extLst>
              </p:cNvPr>
              <p:cNvSpPr>
                <a:spLocks noChangeArrowheads="1"/>
              </p:cNvSpPr>
              <p:nvPr/>
            </p:nvSpPr>
            <p:spPr bwMode="auto">
              <a:xfrm>
                <a:off x="4080" y="530"/>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0" name="Freeform 1142">
                <a:extLst>
                  <a:ext uri="{FF2B5EF4-FFF2-40B4-BE49-F238E27FC236}">
                    <a16:creationId xmlns:a16="http://schemas.microsoft.com/office/drawing/2014/main" id="{9E866CA9-17BB-41D3-8F33-21A08BE1CE53}"/>
                  </a:ext>
                </a:extLst>
              </p:cNvPr>
              <p:cNvSpPr>
                <a:spLocks/>
              </p:cNvSpPr>
              <p:nvPr/>
            </p:nvSpPr>
            <p:spPr bwMode="auto">
              <a:xfrm>
                <a:off x="4090" y="53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1" name="Freeform 1143">
                <a:extLst>
                  <a:ext uri="{FF2B5EF4-FFF2-40B4-BE49-F238E27FC236}">
                    <a16:creationId xmlns:a16="http://schemas.microsoft.com/office/drawing/2014/main" id="{3700A644-D780-4E53-A147-6AB473FA38B9}"/>
                  </a:ext>
                </a:extLst>
              </p:cNvPr>
              <p:cNvSpPr>
                <a:spLocks noEditPoints="1"/>
              </p:cNvSpPr>
              <p:nvPr/>
            </p:nvSpPr>
            <p:spPr bwMode="auto">
              <a:xfrm>
                <a:off x="4101" y="54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2" name="Freeform 1144">
                <a:extLst>
                  <a:ext uri="{FF2B5EF4-FFF2-40B4-BE49-F238E27FC236}">
                    <a16:creationId xmlns:a16="http://schemas.microsoft.com/office/drawing/2014/main" id="{32AC4C5D-9DAB-459B-8A86-020BAE0B4E54}"/>
                  </a:ext>
                </a:extLst>
              </p:cNvPr>
              <p:cNvSpPr>
                <a:spLocks/>
              </p:cNvSpPr>
              <p:nvPr/>
            </p:nvSpPr>
            <p:spPr bwMode="auto">
              <a:xfrm>
                <a:off x="6290" y="4288"/>
                <a:ext cx="7" cy="10"/>
              </a:xfrm>
              <a:custGeom>
                <a:avLst/>
                <a:gdLst>
                  <a:gd name="T0" fmla="*/ 1 w 3"/>
                  <a:gd name="T1" fmla="*/ 0 h 4"/>
                  <a:gd name="T2" fmla="*/ 0 w 3"/>
                  <a:gd name="T3" fmla="*/ 1 h 4"/>
                  <a:gd name="T4" fmla="*/ 0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0"/>
                      <a:pt x="1" y="0"/>
                      <a:pt x="0" y="1"/>
                    </a:cubicBezTo>
                    <a:cubicBezTo>
                      <a:pt x="0" y="2"/>
                      <a:pt x="1" y="3"/>
                      <a:pt x="0" y="4"/>
                    </a:cubicBezTo>
                    <a:cubicBezTo>
                      <a:pt x="2"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3" name="Freeform 1145">
                <a:extLst>
                  <a:ext uri="{FF2B5EF4-FFF2-40B4-BE49-F238E27FC236}">
                    <a16:creationId xmlns:a16="http://schemas.microsoft.com/office/drawing/2014/main" id="{C31E563A-77A3-43F2-B183-1D540C7AE359}"/>
                  </a:ext>
                </a:extLst>
              </p:cNvPr>
              <p:cNvSpPr>
                <a:spLocks/>
              </p:cNvSpPr>
              <p:nvPr/>
            </p:nvSpPr>
            <p:spPr bwMode="auto">
              <a:xfrm>
                <a:off x="6247" y="4246"/>
                <a:ext cx="47" cy="33"/>
              </a:xfrm>
              <a:custGeom>
                <a:avLst/>
                <a:gdLst>
                  <a:gd name="T0" fmla="*/ 9 w 20"/>
                  <a:gd name="T1" fmla="*/ 0 h 14"/>
                  <a:gd name="T2" fmla="*/ 4 w 20"/>
                  <a:gd name="T3" fmla="*/ 2 h 14"/>
                  <a:gd name="T4" fmla="*/ 3 w 20"/>
                  <a:gd name="T5" fmla="*/ 2 h 14"/>
                  <a:gd name="T6" fmla="*/ 3 w 20"/>
                  <a:gd name="T7" fmla="*/ 2 h 14"/>
                  <a:gd name="T8" fmla="*/ 2 w 20"/>
                  <a:gd name="T9" fmla="*/ 2 h 14"/>
                  <a:gd name="T10" fmla="*/ 0 w 20"/>
                  <a:gd name="T11" fmla="*/ 4 h 14"/>
                  <a:gd name="T12" fmla="*/ 2 w 20"/>
                  <a:gd name="T13" fmla="*/ 4 h 14"/>
                  <a:gd name="T14" fmla="*/ 5 w 20"/>
                  <a:gd name="T15" fmla="*/ 4 h 14"/>
                  <a:gd name="T16" fmla="*/ 6 w 20"/>
                  <a:gd name="T17" fmla="*/ 3 h 14"/>
                  <a:gd name="T18" fmla="*/ 7 w 20"/>
                  <a:gd name="T19" fmla="*/ 3 h 14"/>
                  <a:gd name="T20" fmla="*/ 8 w 20"/>
                  <a:gd name="T21" fmla="*/ 4 h 14"/>
                  <a:gd name="T22" fmla="*/ 7 w 20"/>
                  <a:gd name="T23" fmla="*/ 9 h 14"/>
                  <a:gd name="T24" fmla="*/ 8 w 20"/>
                  <a:gd name="T25" fmla="*/ 14 h 14"/>
                  <a:gd name="T26" fmla="*/ 10 w 20"/>
                  <a:gd name="T27" fmla="*/ 14 h 14"/>
                  <a:gd name="T28" fmla="*/ 16 w 20"/>
                  <a:gd name="T29" fmla="*/ 12 h 14"/>
                  <a:gd name="T30" fmla="*/ 14 w 20"/>
                  <a:gd name="T31" fmla="*/ 10 h 14"/>
                  <a:gd name="T32" fmla="*/ 13 w 20"/>
                  <a:gd name="T33" fmla="*/ 3 h 14"/>
                  <a:gd name="T34" fmla="*/ 13 w 20"/>
                  <a:gd name="T35" fmla="*/ 3 h 14"/>
                  <a:gd name="T36" fmla="*/ 10 w 20"/>
                  <a:gd name="T37" fmla="*/ 2 h 14"/>
                  <a:gd name="T38" fmla="*/ 11 w 20"/>
                  <a:gd name="T39" fmla="*/ 1 h 14"/>
                  <a:gd name="T40" fmla="*/ 12 w 20"/>
                  <a:gd name="T41" fmla="*/ 1 h 14"/>
                  <a:gd name="T42" fmla="*/ 13 w 20"/>
                  <a:gd name="T43" fmla="*/ 1 h 14"/>
                  <a:gd name="T44" fmla="*/ 17 w 20"/>
                  <a:gd name="T45" fmla="*/ 2 h 14"/>
                  <a:gd name="T46" fmla="*/ 20 w 20"/>
                  <a:gd name="T47" fmla="*/ 1 h 14"/>
                  <a:gd name="T48" fmla="*/ 19 w 20"/>
                  <a:gd name="T49" fmla="*/ 1 h 14"/>
                  <a:gd name="T50" fmla="*/ 13 w 20"/>
                  <a:gd name="T51" fmla="*/ 0 h 14"/>
                  <a:gd name="T52" fmla="*/ 9 w 20"/>
                  <a:gd name="T53" fmla="*/ 0 h 14"/>
                  <a:gd name="T54" fmla="*/ 9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9" y="0"/>
                    </a:moveTo>
                    <a:cubicBezTo>
                      <a:pt x="7" y="0"/>
                      <a:pt x="6" y="0"/>
                      <a:pt x="4" y="2"/>
                    </a:cubicBezTo>
                    <a:cubicBezTo>
                      <a:pt x="4" y="2"/>
                      <a:pt x="3" y="2"/>
                      <a:pt x="3" y="2"/>
                    </a:cubicBezTo>
                    <a:cubicBezTo>
                      <a:pt x="3" y="2"/>
                      <a:pt x="3" y="2"/>
                      <a:pt x="3" y="2"/>
                    </a:cubicBezTo>
                    <a:cubicBezTo>
                      <a:pt x="2" y="2"/>
                      <a:pt x="2" y="2"/>
                      <a:pt x="2" y="2"/>
                    </a:cubicBezTo>
                    <a:cubicBezTo>
                      <a:pt x="2" y="2"/>
                      <a:pt x="1" y="2"/>
                      <a:pt x="0" y="4"/>
                    </a:cubicBezTo>
                    <a:cubicBezTo>
                      <a:pt x="0" y="4"/>
                      <a:pt x="1" y="4"/>
                      <a:pt x="2" y="4"/>
                    </a:cubicBezTo>
                    <a:cubicBezTo>
                      <a:pt x="3" y="4"/>
                      <a:pt x="4" y="4"/>
                      <a:pt x="5" y="4"/>
                    </a:cubicBezTo>
                    <a:cubicBezTo>
                      <a:pt x="5" y="3"/>
                      <a:pt x="6" y="3"/>
                      <a:pt x="6" y="3"/>
                    </a:cubicBezTo>
                    <a:cubicBezTo>
                      <a:pt x="7" y="3"/>
                      <a:pt x="7" y="3"/>
                      <a:pt x="7" y="3"/>
                    </a:cubicBezTo>
                    <a:cubicBezTo>
                      <a:pt x="8" y="3"/>
                      <a:pt x="8" y="4"/>
                      <a:pt x="8" y="4"/>
                    </a:cubicBezTo>
                    <a:cubicBezTo>
                      <a:pt x="9" y="5"/>
                      <a:pt x="8" y="7"/>
                      <a:pt x="7" y="9"/>
                    </a:cubicBezTo>
                    <a:cubicBezTo>
                      <a:pt x="7" y="13"/>
                      <a:pt x="7" y="14"/>
                      <a:pt x="8" y="14"/>
                    </a:cubicBezTo>
                    <a:cubicBezTo>
                      <a:pt x="9" y="14"/>
                      <a:pt x="10" y="14"/>
                      <a:pt x="10" y="14"/>
                    </a:cubicBezTo>
                    <a:cubicBezTo>
                      <a:pt x="12" y="13"/>
                      <a:pt x="14" y="12"/>
                      <a:pt x="16" y="12"/>
                    </a:cubicBezTo>
                    <a:cubicBezTo>
                      <a:pt x="16" y="11"/>
                      <a:pt x="15" y="11"/>
                      <a:pt x="14" y="10"/>
                    </a:cubicBezTo>
                    <a:cubicBezTo>
                      <a:pt x="12" y="7"/>
                      <a:pt x="9" y="4"/>
                      <a:pt x="13" y="3"/>
                    </a:cubicBezTo>
                    <a:cubicBezTo>
                      <a:pt x="13" y="3"/>
                      <a:pt x="13" y="3"/>
                      <a:pt x="13" y="3"/>
                    </a:cubicBezTo>
                    <a:cubicBezTo>
                      <a:pt x="11" y="3"/>
                      <a:pt x="11" y="3"/>
                      <a:pt x="10" y="2"/>
                    </a:cubicBezTo>
                    <a:cubicBezTo>
                      <a:pt x="11" y="1"/>
                      <a:pt x="11" y="1"/>
                      <a:pt x="11" y="1"/>
                    </a:cubicBezTo>
                    <a:cubicBezTo>
                      <a:pt x="12" y="1"/>
                      <a:pt x="12" y="1"/>
                      <a:pt x="12" y="1"/>
                    </a:cubicBezTo>
                    <a:cubicBezTo>
                      <a:pt x="12" y="1"/>
                      <a:pt x="13" y="1"/>
                      <a:pt x="13" y="1"/>
                    </a:cubicBezTo>
                    <a:cubicBezTo>
                      <a:pt x="14" y="1"/>
                      <a:pt x="16" y="2"/>
                      <a:pt x="17" y="2"/>
                    </a:cubicBezTo>
                    <a:cubicBezTo>
                      <a:pt x="18" y="2"/>
                      <a:pt x="19" y="2"/>
                      <a:pt x="20" y="1"/>
                    </a:cubicBezTo>
                    <a:cubicBezTo>
                      <a:pt x="19" y="1"/>
                      <a:pt x="19" y="1"/>
                      <a:pt x="19" y="1"/>
                    </a:cubicBezTo>
                    <a:cubicBezTo>
                      <a:pt x="16" y="1"/>
                      <a:pt x="14" y="0"/>
                      <a:pt x="13" y="0"/>
                    </a:cubicBezTo>
                    <a:cubicBezTo>
                      <a:pt x="11" y="0"/>
                      <a:pt x="10" y="0"/>
                      <a:pt x="9"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4" name="Freeform 1146">
                <a:extLst>
                  <a:ext uri="{FF2B5EF4-FFF2-40B4-BE49-F238E27FC236}">
                    <a16:creationId xmlns:a16="http://schemas.microsoft.com/office/drawing/2014/main" id="{EEDF42E9-DCEA-43B2-8B2A-CED54C67C014}"/>
                  </a:ext>
                </a:extLst>
              </p:cNvPr>
              <p:cNvSpPr>
                <a:spLocks/>
              </p:cNvSpPr>
              <p:nvPr/>
            </p:nvSpPr>
            <p:spPr bwMode="auto">
              <a:xfrm>
                <a:off x="6101" y="2229"/>
                <a:ext cx="4"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1" y="2"/>
                      <a:pt x="2" y="3"/>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5" name="Freeform 1147">
                <a:extLst>
                  <a:ext uri="{FF2B5EF4-FFF2-40B4-BE49-F238E27FC236}">
                    <a16:creationId xmlns:a16="http://schemas.microsoft.com/office/drawing/2014/main" id="{9E557BD2-708D-4A12-AF27-0F751EB70948}"/>
                  </a:ext>
                </a:extLst>
              </p:cNvPr>
              <p:cNvSpPr>
                <a:spLocks/>
              </p:cNvSpPr>
              <p:nvPr/>
            </p:nvSpPr>
            <p:spPr bwMode="auto">
              <a:xfrm>
                <a:off x="6025" y="2199"/>
                <a:ext cx="21" cy="16"/>
              </a:xfrm>
              <a:custGeom>
                <a:avLst/>
                <a:gdLst>
                  <a:gd name="T0" fmla="*/ 7 w 9"/>
                  <a:gd name="T1" fmla="*/ 0 h 7"/>
                  <a:gd name="T2" fmla="*/ 5 w 9"/>
                  <a:gd name="T3" fmla="*/ 1 h 7"/>
                  <a:gd name="T4" fmla="*/ 4 w 9"/>
                  <a:gd name="T5" fmla="*/ 3 h 7"/>
                  <a:gd name="T6" fmla="*/ 4 w 9"/>
                  <a:gd name="T7" fmla="*/ 2 h 7"/>
                  <a:gd name="T8" fmla="*/ 0 w 9"/>
                  <a:gd name="T9" fmla="*/ 7 h 7"/>
                  <a:gd name="T10" fmla="*/ 3 w 9"/>
                  <a:gd name="T11" fmla="*/ 7 h 7"/>
                  <a:gd name="T12" fmla="*/ 4 w 9"/>
                  <a:gd name="T13" fmla="*/ 7 h 7"/>
                  <a:gd name="T14" fmla="*/ 4 w 9"/>
                  <a:gd name="T15" fmla="*/ 7 h 7"/>
                  <a:gd name="T16" fmla="*/ 9 w 9"/>
                  <a:gd name="T17" fmla="*/ 1 h 7"/>
                  <a:gd name="T18" fmla="*/ 7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7" y="0"/>
                    </a:moveTo>
                    <a:cubicBezTo>
                      <a:pt x="6" y="0"/>
                      <a:pt x="5" y="0"/>
                      <a:pt x="5" y="1"/>
                    </a:cubicBezTo>
                    <a:cubicBezTo>
                      <a:pt x="4" y="1"/>
                      <a:pt x="4" y="2"/>
                      <a:pt x="4" y="3"/>
                    </a:cubicBezTo>
                    <a:cubicBezTo>
                      <a:pt x="4" y="2"/>
                      <a:pt x="4" y="2"/>
                      <a:pt x="4" y="2"/>
                    </a:cubicBezTo>
                    <a:cubicBezTo>
                      <a:pt x="3" y="3"/>
                      <a:pt x="1" y="5"/>
                      <a:pt x="0" y="7"/>
                    </a:cubicBezTo>
                    <a:cubicBezTo>
                      <a:pt x="1" y="7"/>
                      <a:pt x="2" y="7"/>
                      <a:pt x="3" y="7"/>
                    </a:cubicBezTo>
                    <a:cubicBezTo>
                      <a:pt x="3" y="7"/>
                      <a:pt x="3" y="7"/>
                      <a:pt x="4" y="7"/>
                    </a:cubicBezTo>
                    <a:cubicBezTo>
                      <a:pt x="4" y="7"/>
                      <a:pt x="4" y="7"/>
                      <a:pt x="4" y="7"/>
                    </a:cubicBezTo>
                    <a:cubicBezTo>
                      <a:pt x="4" y="6"/>
                      <a:pt x="9" y="2"/>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6" name="Freeform 1148">
                <a:extLst>
                  <a:ext uri="{FF2B5EF4-FFF2-40B4-BE49-F238E27FC236}">
                    <a16:creationId xmlns:a16="http://schemas.microsoft.com/office/drawing/2014/main" id="{CC8660E2-3324-42FA-9ECD-F9DF64EAEF8E}"/>
                  </a:ext>
                </a:extLst>
              </p:cNvPr>
              <p:cNvSpPr>
                <a:spLocks/>
              </p:cNvSpPr>
              <p:nvPr/>
            </p:nvSpPr>
            <p:spPr bwMode="auto">
              <a:xfrm>
                <a:off x="5061" y="1773"/>
                <a:ext cx="23" cy="12"/>
              </a:xfrm>
              <a:custGeom>
                <a:avLst/>
                <a:gdLst>
                  <a:gd name="T0" fmla="*/ 5 w 10"/>
                  <a:gd name="T1" fmla="*/ 0 h 5"/>
                  <a:gd name="T2" fmla="*/ 4 w 10"/>
                  <a:gd name="T3" fmla="*/ 0 h 5"/>
                  <a:gd name="T4" fmla="*/ 0 w 10"/>
                  <a:gd name="T5" fmla="*/ 5 h 5"/>
                  <a:gd name="T6" fmla="*/ 4 w 10"/>
                  <a:gd name="T7" fmla="*/ 3 h 5"/>
                  <a:gd name="T8" fmla="*/ 5 w 10"/>
                  <a:gd name="T9" fmla="*/ 4 h 5"/>
                  <a:gd name="T10" fmla="*/ 5 w 10"/>
                  <a:gd name="T11" fmla="*/ 3 h 5"/>
                  <a:gd name="T12" fmla="*/ 7 w 10"/>
                  <a:gd name="T13" fmla="*/ 4 h 5"/>
                  <a:gd name="T14" fmla="*/ 9 w 10"/>
                  <a:gd name="T15" fmla="*/ 3 h 5"/>
                  <a:gd name="T16" fmla="*/ 10 w 10"/>
                  <a:gd name="T17" fmla="*/ 1 h 5"/>
                  <a:gd name="T18" fmla="*/ 5 w 1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5">
                    <a:moveTo>
                      <a:pt x="5" y="0"/>
                    </a:moveTo>
                    <a:cubicBezTo>
                      <a:pt x="4" y="0"/>
                      <a:pt x="4" y="0"/>
                      <a:pt x="4" y="0"/>
                    </a:cubicBezTo>
                    <a:cubicBezTo>
                      <a:pt x="2" y="0"/>
                      <a:pt x="1" y="1"/>
                      <a:pt x="0" y="5"/>
                    </a:cubicBezTo>
                    <a:cubicBezTo>
                      <a:pt x="2" y="5"/>
                      <a:pt x="3" y="3"/>
                      <a:pt x="4" y="3"/>
                    </a:cubicBezTo>
                    <a:cubicBezTo>
                      <a:pt x="4" y="3"/>
                      <a:pt x="5" y="3"/>
                      <a:pt x="5" y="4"/>
                    </a:cubicBezTo>
                    <a:cubicBezTo>
                      <a:pt x="5" y="3"/>
                      <a:pt x="5" y="3"/>
                      <a:pt x="5" y="3"/>
                    </a:cubicBezTo>
                    <a:cubicBezTo>
                      <a:pt x="6" y="3"/>
                      <a:pt x="6" y="4"/>
                      <a:pt x="7" y="4"/>
                    </a:cubicBezTo>
                    <a:cubicBezTo>
                      <a:pt x="7" y="4"/>
                      <a:pt x="8" y="3"/>
                      <a:pt x="9" y="3"/>
                    </a:cubicBezTo>
                    <a:cubicBezTo>
                      <a:pt x="9" y="2"/>
                      <a:pt x="9" y="1"/>
                      <a:pt x="10"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7" name="Freeform 1149">
                <a:extLst>
                  <a:ext uri="{FF2B5EF4-FFF2-40B4-BE49-F238E27FC236}">
                    <a16:creationId xmlns:a16="http://schemas.microsoft.com/office/drawing/2014/main" id="{85C61076-EC1F-4778-9670-8AB06AED2C5E}"/>
                  </a:ext>
                </a:extLst>
              </p:cNvPr>
              <p:cNvSpPr>
                <a:spLocks/>
              </p:cNvSpPr>
              <p:nvPr/>
            </p:nvSpPr>
            <p:spPr bwMode="auto">
              <a:xfrm>
                <a:off x="5129" y="1839"/>
                <a:ext cx="12" cy="7"/>
              </a:xfrm>
              <a:custGeom>
                <a:avLst/>
                <a:gdLst>
                  <a:gd name="T0" fmla="*/ 1 w 5"/>
                  <a:gd name="T1" fmla="*/ 0 h 3"/>
                  <a:gd name="T2" fmla="*/ 0 w 5"/>
                  <a:gd name="T3" fmla="*/ 0 h 3"/>
                  <a:gd name="T4" fmla="*/ 0 w 5"/>
                  <a:gd name="T5" fmla="*/ 0 h 3"/>
                  <a:gd name="T6" fmla="*/ 0 w 5"/>
                  <a:gd name="T7" fmla="*/ 0 h 3"/>
                  <a:gd name="T8" fmla="*/ 1 w 5"/>
                  <a:gd name="T9" fmla="*/ 3 h 3"/>
                  <a:gd name="T10" fmla="*/ 2 w 5"/>
                  <a:gd name="T11" fmla="*/ 3 h 3"/>
                  <a:gd name="T12" fmla="*/ 5 w 5"/>
                  <a:gd name="T13" fmla="*/ 3 h 3"/>
                  <a:gd name="T14" fmla="*/ 1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1" y="0"/>
                    </a:moveTo>
                    <a:cubicBezTo>
                      <a:pt x="1" y="0"/>
                      <a:pt x="0" y="0"/>
                      <a:pt x="0" y="0"/>
                    </a:cubicBezTo>
                    <a:cubicBezTo>
                      <a:pt x="0" y="0"/>
                      <a:pt x="0" y="0"/>
                      <a:pt x="0" y="0"/>
                    </a:cubicBezTo>
                    <a:cubicBezTo>
                      <a:pt x="0" y="0"/>
                      <a:pt x="0" y="0"/>
                      <a:pt x="0" y="0"/>
                    </a:cubicBezTo>
                    <a:cubicBezTo>
                      <a:pt x="0" y="1"/>
                      <a:pt x="1" y="2"/>
                      <a:pt x="1" y="3"/>
                    </a:cubicBezTo>
                    <a:cubicBezTo>
                      <a:pt x="2" y="3"/>
                      <a:pt x="2" y="3"/>
                      <a:pt x="2" y="3"/>
                    </a:cubicBezTo>
                    <a:cubicBezTo>
                      <a:pt x="3" y="3"/>
                      <a:pt x="4" y="3"/>
                      <a:pt x="5" y="3"/>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8" name="Freeform 1150">
                <a:extLst>
                  <a:ext uri="{FF2B5EF4-FFF2-40B4-BE49-F238E27FC236}">
                    <a16:creationId xmlns:a16="http://schemas.microsoft.com/office/drawing/2014/main" id="{48D7A5D8-E0E6-4175-B687-8EC6197B8ACA}"/>
                  </a:ext>
                </a:extLst>
              </p:cNvPr>
              <p:cNvSpPr>
                <a:spLocks/>
              </p:cNvSpPr>
              <p:nvPr/>
            </p:nvSpPr>
            <p:spPr bwMode="auto">
              <a:xfrm>
                <a:off x="795" y="943"/>
                <a:ext cx="22" cy="5"/>
              </a:xfrm>
              <a:custGeom>
                <a:avLst/>
                <a:gdLst>
                  <a:gd name="T0" fmla="*/ 7 w 9"/>
                  <a:gd name="T1" fmla="*/ 0 h 2"/>
                  <a:gd name="T2" fmla="*/ 0 w 9"/>
                  <a:gd name="T3" fmla="*/ 2 h 2"/>
                  <a:gd name="T4" fmla="*/ 9 w 9"/>
                  <a:gd name="T5" fmla="*/ 1 h 2"/>
                  <a:gd name="T6" fmla="*/ 7 w 9"/>
                  <a:gd name="T7" fmla="*/ 0 h 2"/>
                </a:gdLst>
                <a:ahLst/>
                <a:cxnLst>
                  <a:cxn ang="0">
                    <a:pos x="T0" y="T1"/>
                  </a:cxn>
                  <a:cxn ang="0">
                    <a:pos x="T2" y="T3"/>
                  </a:cxn>
                  <a:cxn ang="0">
                    <a:pos x="T4" y="T5"/>
                  </a:cxn>
                  <a:cxn ang="0">
                    <a:pos x="T6" y="T7"/>
                  </a:cxn>
                </a:cxnLst>
                <a:rect l="0" t="0" r="r" b="b"/>
                <a:pathLst>
                  <a:path w="9" h="2">
                    <a:moveTo>
                      <a:pt x="7" y="0"/>
                    </a:moveTo>
                    <a:cubicBezTo>
                      <a:pt x="5" y="0"/>
                      <a:pt x="1" y="0"/>
                      <a:pt x="0" y="2"/>
                    </a:cubicBezTo>
                    <a:cubicBezTo>
                      <a:pt x="3" y="2"/>
                      <a:pt x="6" y="1"/>
                      <a:pt x="9" y="1"/>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19" name="Freeform 1151">
                <a:extLst>
                  <a:ext uri="{FF2B5EF4-FFF2-40B4-BE49-F238E27FC236}">
                    <a16:creationId xmlns:a16="http://schemas.microsoft.com/office/drawing/2014/main" id="{F4A57982-99D5-4C8F-8E9B-E57502BD6F7C}"/>
                  </a:ext>
                </a:extLst>
              </p:cNvPr>
              <p:cNvSpPr>
                <a:spLocks noEditPoints="1"/>
              </p:cNvSpPr>
              <p:nvPr/>
            </p:nvSpPr>
            <p:spPr bwMode="auto">
              <a:xfrm>
                <a:off x="2175" y="338"/>
                <a:ext cx="60" cy="43"/>
              </a:xfrm>
              <a:custGeom>
                <a:avLst/>
                <a:gdLst>
                  <a:gd name="T0" fmla="*/ 2 w 25"/>
                  <a:gd name="T1" fmla="*/ 15 h 18"/>
                  <a:gd name="T2" fmla="*/ 2 w 25"/>
                  <a:gd name="T3" fmla="*/ 15 h 18"/>
                  <a:gd name="T4" fmla="*/ 2 w 25"/>
                  <a:gd name="T5" fmla="*/ 15 h 18"/>
                  <a:gd name="T6" fmla="*/ 1 w 25"/>
                  <a:gd name="T7" fmla="*/ 12 h 18"/>
                  <a:gd name="T8" fmla="*/ 1 w 25"/>
                  <a:gd name="T9" fmla="*/ 12 h 18"/>
                  <a:gd name="T10" fmla="*/ 1 w 25"/>
                  <a:gd name="T11" fmla="*/ 12 h 18"/>
                  <a:gd name="T12" fmla="*/ 14 w 25"/>
                  <a:gd name="T13" fmla="*/ 0 h 18"/>
                  <a:gd name="T14" fmla="*/ 8 w 25"/>
                  <a:gd name="T15" fmla="*/ 5 h 18"/>
                  <a:gd name="T16" fmla="*/ 1 w 25"/>
                  <a:gd name="T17" fmla="*/ 12 h 18"/>
                  <a:gd name="T18" fmla="*/ 1 w 25"/>
                  <a:gd name="T19" fmla="*/ 12 h 18"/>
                  <a:gd name="T20" fmla="*/ 2 w 25"/>
                  <a:gd name="T21" fmla="*/ 14 h 18"/>
                  <a:gd name="T22" fmla="*/ 2 w 25"/>
                  <a:gd name="T23" fmla="*/ 15 h 18"/>
                  <a:gd name="T24" fmla="*/ 2 w 25"/>
                  <a:gd name="T25" fmla="*/ 15 h 18"/>
                  <a:gd name="T26" fmla="*/ 9 w 25"/>
                  <a:gd name="T27" fmla="*/ 18 h 18"/>
                  <a:gd name="T28" fmla="*/ 22 w 25"/>
                  <a:gd name="T29" fmla="*/ 13 h 18"/>
                  <a:gd name="T30" fmla="*/ 24 w 25"/>
                  <a:gd name="T31" fmla="*/ 11 h 18"/>
                  <a:gd name="T32" fmla="*/ 23 w 25"/>
                  <a:gd name="T33" fmla="*/ 10 h 18"/>
                  <a:gd name="T34" fmla="*/ 23 w 25"/>
                  <a:gd name="T35" fmla="*/ 9 h 18"/>
                  <a:gd name="T36" fmla="*/ 22 w 25"/>
                  <a:gd name="T37" fmla="*/ 4 h 18"/>
                  <a:gd name="T38" fmla="*/ 15 w 25"/>
                  <a:gd name="T39" fmla="*/ 0 h 18"/>
                  <a:gd name="T40" fmla="*/ 14 w 25"/>
                  <a:gd name="T4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8">
                    <a:moveTo>
                      <a:pt x="2" y="15"/>
                    </a:moveTo>
                    <a:cubicBezTo>
                      <a:pt x="2" y="15"/>
                      <a:pt x="2" y="15"/>
                      <a:pt x="2" y="15"/>
                    </a:cubicBezTo>
                    <a:cubicBezTo>
                      <a:pt x="2" y="15"/>
                      <a:pt x="2" y="15"/>
                      <a:pt x="2" y="15"/>
                    </a:cubicBezTo>
                    <a:moveTo>
                      <a:pt x="1" y="12"/>
                    </a:moveTo>
                    <a:cubicBezTo>
                      <a:pt x="1" y="12"/>
                      <a:pt x="1" y="12"/>
                      <a:pt x="1" y="12"/>
                    </a:cubicBezTo>
                    <a:cubicBezTo>
                      <a:pt x="1" y="12"/>
                      <a:pt x="1" y="12"/>
                      <a:pt x="1" y="12"/>
                    </a:cubicBezTo>
                    <a:moveTo>
                      <a:pt x="14" y="0"/>
                    </a:moveTo>
                    <a:cubicBezTo>
                      <a:pt x="11" y="0"/>
                      <a:pt x="10" y="3"/>
                      <a:pt x="8" y="5"/>
                    </a:cubicBezTo>
                    <a:cubicBezTo>
                      <a:pt x="6" y="7"/>
                      <a:pt x="0" y="8"/>
                      <a:pt x="1" y="12"/>
                    </a:cubicBezTo>
                    <a:cubicBezTo>
                      <a:pt x="1" y="12"/>
                      <a:pt x="1" y="12"/>
                      <a:pt x="1" y="12"/>
                    </a:cubicBezTo>
                    <a:cubicBezTo>
                      <a:pt x="1" y="12"/>
                      <a:pt x="1" y="13"/>
                      <a:pt x="2" y="14"/>
                    </a:cubicBezTo>
                    <a:cubicBezTo>
                      <a:pt x="2" y="14"/>
                      <a:pt x="3" y="15"/>
                      <a:pt x="2" y="15"/>
                    </a:cubicBezTo>
                    <a:cubicBezTo>
                      <a:pt x="2" y="15"/>
                      <a:pt x="2" y="15"/>
                      <a:pt x="2" y="15"/>
                    </a:cubicBezTo>
                    <a:cubicBezTo>
                      <a:pt x="4" y="17"/>
                      <a:pt x="6" y="17"/>
                      <a:pt x="9" y="18"/>
                    </a:cubicBezTo>
                    <a:cubicBezTo>
                      <a:pt x="13" y="16"/>
                      <a:pt x="19" y="16"/>
                      <a:pt x="22" y="13"/>
                    </a:cubicBezTo>
                    <a:cubicBezTo>
                      <a:pt x="25" y="12"/>
                      <a:pt x="23" y="13"/>
                      <a:pt x="24" y="11"/>
                    </a:cubicBezTo>
                    <a:cubicBezTo>
                      <a:pt x="23" y="10"/>
                      <a:pt x="23" y="10"/>
                      <a:pt x="23" y="10"/>
                    </a:cubicBezTo>
                    <a:cubicBezTo>
                      <a:pt x="23" y="9"/>
                      <a:pt x="23" y="9"/>
                      <a:pt x="23" y="9"/>
                    </a:cubicBezTo>
                    <a:cubicBezTo>
                      <a:pt x="23" y="7"/>
                      <a:pt x="23" y="5"/>
                      <a:pt x="22" y="4"/>
                    </a:cubicBezTo>
                    <a:cubicBezTo>
                      <a:pt x="22" y="3"/>
                      <a:pt x="17" y="1"/>
                      <a:pt x="15" y="0"/>
                    </a:cubicBezTo>
                    <a:cubicBezTo>
                      <a:pt x="15" y="0"/>
                      <a:pt x="15"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0" name="Freeform 1152">
                <a:extLst>
                  <a:ext uri="{FF2B5EF4-FFF2-40B4-BE49-F238E27FC236}">
                    <a16:creationId xmlns:a16="http://schemas.microsoft.com/office/drawing/2014/main" id="{052169D3-2710-4227-9DD5-B39A333328EB}"/>
                  </a:ext>
                </a:extLst>
              </p:cNvPr>
              <p:cNvSpPr>
                <a:spLocks/>
              </p:cNvSpPr>
              <p:nvPr/>
            </p:nvSpPr>
            <p:spPr bwMode="auto">
              <a:xfrm>
                <a:off x="2209" y="171"/>
                <a:ext cx="96" cy="106"/>
              </a:xfrm>
              <a:custGeom>
                <a:avLst/>
                <a:gdLst>
                  <a:gd name="T0" fmla="*/ 23 w 41"/>
                  <a:gd name="T1" fmla="*/ 0 h 45"/>
                  <a:gd name="T2" fmla="*/ 18 w 41"/>
                  <a:gd name="T3" fmla="*/ 1 h 45"/>
                  <a:gd name="T4" fmla="*/ 0 w 41"/>
                  <a:gd name="T5" fmla="*/ 1 h 45"/>
                  <a:gd name="T6" fmla="*/ 11 w 41"/>
                  <a:gd name="T7" fmla="*/ 15 h 45"/>
                  <a:gd name="T8" fmla="*/ 23 w 41"/>
                  <a:gd name="T9" fmla="*/ 26 h 45"/>
                  <a:gd name="T10" fmla="*/ 22 w 41"/>
                  <a:gd name="T11" fmla="*/ 29 h 45"/>
                  <a:gd name="T12" fmla="*/ 23 w 41"/>
                  <a:gd name="T13" fmla="*/ 37 h 45"/>
                  <a:gd name="T14" fmla="*/ 28 w 41"/>
                  <a:gd name="T15" fmla="*/ 44 h 45"/>
                  <a:gd name="T16" fmla="*/ 29 w 41"/>
                  <a:gd name="T17" fmla="*/ 44 h 45"/>
                  <a:gd name="T18" fmla="*/ 30 w 41"/>
                  <a:gd name="T19" fmla="*/ 44 h 45"/>
                  <a:gd name="T20" fmla="*/ 31 w 41"/>
                  <a:gd name="T21" fmla="*/ 44 h 45"/>
                  <a:gd name="T22" fmla="*/ 32 w 41"/>
                  <a:gd name="T23" fmla="*/ 44 h 45"/>
                  <a:gd name="T24" fmla="*/ 37 w 41"/>
                  <a:gd name="T25" fmla="*/ 45 h 45"/>
                  <a:gd name="T26" fmla="*/ 37 w 41"/>
                  <a:gd name="T27" fmla="*/ 43 h 45"/>
                  <a:gd name="T28" fmla="*/ 38 w 41"/>
                  <a:gd name="T29" fmla="*/ 43 h 45"/>
                  <a:gd name="T30" fmla="*/ 39 w 41"/>
                  <a:gd name="T31" fmla="*/ 43 h 45"/>
                  <a:gd name="T32" fmla="*/ 41 w 41"/>
                  <a:gd name="T33" fmla="*/ 43 h 45"/>
                  <a:gd name="T34" fmla="*/ 37 w 41"/>
                  <a:gd name="T35" fmla="*/ 41 h 45"/>
                  <a:gd name="T36" fmla="*/ 40 w 41"/>
                  <a:gd name="T37" fmla="*/ 37 h 45"/>
                  <a:gd name="T38" fmla="*/ 38 w 41"/>
                  <a:gd name="T39" fmla="*/ 24 h 45"/>
                  <a:gd name="T40" fmla="*/ 37 w 41"/>
                  <a:gd name="T41" fmla="*/ 12 h 45"/>
                  <a:gd name="T42" fmla="*/ 37 w 41"/>
                  <a:gd name="T43" fmla="*/ 12 h 45"/>
                  <a:gd name="T44" fmla="*/ 33 w 41"/>
                  <a:gd name="T45" fmla="*/ 10 h 45"/>
                  <a:gd name="T46" fmla="*/ 31 w 41"/>
                  <a:gd name="T47" fmla="*/ 6 h 45"/>
                  <a:gd name="T48" fmla="*/ 32 w 41"/>
                  <a:gd name="T49" fmla="*/ 6 h 45"/>
                  <a:gd name="T50" fmla="*/ 27 w 41"/>
                  <a:gd name="T51" fmla="*/ 1 h 45"/>
                  <a:gd name="T52" fmla="*/ 23 w 41"/>
                  <a:gd name="T5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45">
                    <a:moveTo>
                      <a:pt x="23" y="0"/>
                    </a:moveTo>
                    <a:cubicBezTo>
                      <a:pt x="21" y="0"/>
                      <a:pt x="19" y="1"/>
                      <a:pt x="18" y="1"/>
                    </a:cubicBezTo>
                    <a:cubicBezTo>
                      <a:pt x="12" y="1"/>
                      <a:pt x="6" y="1"/>
                      <a:pt x="0" y="1"/>
                    </a:cubicBezTo>
                    <a:cubicBezTo>
                      <a:pt x="3" y="9"/>
                      <a:pt x="4" y="10"/>
                      <a:pt x="11" y="15"/>
                    </a:cubicBezTo>
                    <a:cubicBezTo>
                      <a:pt x="14" y="18"/>
                      <a:pt x="20" y="22"/>
                      <a:pt x="23" y="26"/>
                    </a:cubicBezTo>
                    <a:cubicBezTo>
                      <a:pt x="21" y="26"/>
                      <a:pt x="22" y="27"/>
                      <a:pt x="22" y="29"/>
                    </a:cubicBezTo>
                    <a:cubicBezTo>
                      <a:pt x="21" y="31"/>
                      <a:pt x="21" y="34"/>
                      <a:pt x="23" y="37"/>
                    </a:cubicBezTo>
                    <a:cubicBezTo>
                      <a:pt x="25" y="39"/>
                      <a:pt x="26" y="42"/>
                      <a:pt x="28" y="44"/>
                    </a:cubicBezTo>
                    <a:cubicBezTo>
                      <a:pt x="28" y="44"/>
                      <a:pt x="29" y="44"/>
                      <a:pt x="29" y="44"/>
                    </a:cubicBezTo>
                    <a:cubicBezTo>
                      <a:pt x="29" y="44"/>
                      <a:pt x="30" y="44"/>
                      <a:pt x="30" y="44"/>
                    </a:cubicBezTo>
                    <a:cubicBezTo>
                      <a:pt x="31" y="44"/>
                      <a:pt x="31" y="44"/>
                      <a:pt x="31" y="44"/>
                    </a:cubicBezTo>
                    <a:cubicBezTo>
                      <a:pt x="31" y="44"/>
                      <a:pt x="31" y="44"/>
                      <a:pt x="32" y="44"/>
                    </a:cubicBezTo>
                    <a:cubicBezTo>
                      <a:pt x="33" y="44"/>
                      <a:pt x="36" y="44"/>
                      <a:pt x="37" y="45"/>
                    </a:cubicBezTo>
                    <a:cubicBezTo>
                      <a:pt x="37" y="43"/>
                      <a:pt x="37" y="43"/>
                      <a:pt x="37" y="43"/>
                    </a:cubicBezTo>
                    <a:cubicBezTo>
                      <a:pt x="38" y="43"/>
                      <a:pt x="38" y="43"/>
                      <a:pt x="38" y="43"/>
                    </a:cubicBezTo>
                    <a:cubicBezTo>
                      <a:pt x="39" y="43"/>
                      <a:pt x="39" y="43"/>
                      <a:pt x="39" y="43"/>
                    </a:cubicBezTo>
                    <a:cubicBezTo>
                      <a:pt x="40" y="43"/>
                      <a:pt x="40" y="43"/>
                      <a:pt x="41" y="43"/>
                    </a:cubicBezTo>
                    <a:cubicBezTo>
                      <a:pt x="39" y="42"/>
                      <a:pt x="39" y="42"/>
                      <a:pt x="37" y="41"/>
                    </a:cubicBezTo>
                    <a:cubicBezTo>
                      <a:pt x="38" y="40"/>
                      <a:pt x="40" y="39"/>
                      <a:pt x="40" y="37"/>
                    </a:cubicBezTo>
                    <a:cubicBezTo>
                      <a:pt x="41" y="34"/>
                      <a:pt x="39" y="27"/>
                      <a:pt x="38" y="24"/>
                    </a:cubicBezTo>
                    <a:cubicBezTo>
                      <a:pt x="37" y="22"/>
                      <a:pt x="36" y="13"/>
                      <a:pt x="37" y="12"/>
                    </a:cubicBezTo>
                    <a:cubicBezTo>
                      <a:pt x="37" y="12"/>
                      <a:pt x="37" y="12"/>
                      <a:pt x="37" y="12"/>
                    </a:cubicBezTo>
                    <a:cubicBezTo>
                      <a:pt x="36" y="11"/>
                      <a:pt x="34" y="11"/>
                      <a:pt x="33" y="10"/>
                    </a:cubicBezTo>
                    <a:cubicBezTo>
                      <a:pt x="29" y="9"/>
                      <a:pt x="32" y="9"/>
                      <a:pt x="31" y="6"/>
                    </a:cubicBezTo>
                    <a:cubicBezTo>
                      <a:pt x="31" y="6"/>
                      <a:pt x="31" y="6"/>
                      <a:pt x="32" y="6"/>
                    </a:cubicBezTo>
                    <a:cubicBezTo>
                      <a:pt x="30" y="4"/>
                      <a:pt x="29" y="2"/>
                      <a:pt x="27" y="1"/>
                    </a:cubicBezTo>
                    <a:cubicBezTo>
                      <a:pt x="26" y="1"/>
                      <a:pt x="24"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1" name="Freeform 1153">
                <a:extLst>
                  <a:ext uri="{FF2B5EF4-FFF2-40B4-BE49-F238E27FC236}">
                    <a16:creationId xmlns:a16="http://schemas.microsoft.com/office/drawing/2014/main" id="{4AB6DEC9-4D9E-47FA-98C5-6D434EB94BD9}"/>
                  </a:ext>
                </a:extLst>
              </p:cNvPr>
              <p:cNvSpPr>
                <a:spLocks/>
              </p:cNvSpPr>
              <p:nvPr/>
            </p:nvSpPr>
            <p:spPr bwMode="auto">
              <a:xfrm>
                <a:off x="2211" y="246"/>
                <a:ext cx="66" cy="102"/>
              </a:xfrm>
              <a:custGeom>
                <a:avLst/>
                <a:gdLst>
                  <a:gd name="T0" fmla="*/ 0 w 28"/>
                  <a:gd name="T1" fmla="*/ 0 h 43"/>
                  <a:gd name="T2" fmla="*/ 3 w 28"/>
                  <a:gd name="T3" fmla="*/ 7 h 43"/>
                  <a:gd name="T4" fmla="*/ 3 w 28"/>
                  <a:gd name="T5" fmla="*/ 13 h 43"/>
                  <a:gd name="T6" fmla="*/ 3 w 28"/>
                  <a:gd name="T7" fmla="*/ 17 h 43"/>
                  <a:gd name="T8" fmla="*/ 4 w 28"/>
                  <a:gd name="T9" fmla="*/ 17 h 43"/>
                  <a:gd name="T10" fmla="*/ 5 w 28"/>
                  <a:gd name="T11" fmla="*/ 19 h 43"/>
                  <a:gd name="T12" fmla="*/ 7 w 28"/>
                  <a:gd name="T13" fmla="*/ 17 h 43"/>
                  <a:gd name="T14" fmla="*/ 9 w 28"/>
                  <a:gd name="T15" fmla="*/ 15 h 43"/>
                  <a:gd name="T16" fmla="*/ 9 w 28"/>
                  <a:gd name="T17" fmla="*/ 15 h 43"/>
                  <a:gd name="T18" fmla="*/ 14 w 28"/>
                  <a:gd name="T19" fmla="*/ 39 h 43"/>
                  <a:gd name="T20" fmla="*/ 22 w 28"/>
                  <a:gd name="T21" fmla="*/ 43 h 43"/>
                  <a:gd name="T22" fmla="*/ 21 w 28"/>
                  <a:gd name="T23" fmla="*/ 33 h 43"/>
                  <a:gd name="T24" fmla="*/ 25 w 28"/>
                  <a:gd name="T25" fmla="*/ 40 h 43"/>
                  <a:gd name="T26" fmla="*/ 28 w 28"/>
                  <a:gd name="T27" fmla="*/ 34 h 43"/>
                  <a:gd name="T28" fmla="*/ 25 w 28"/>
                  <a:gd name="T29" fmla="*/ 26 h 43"/>
                  <a:gd name="T30" fmla="*/ 20 w 28"/>
                  <a:gd name="T31" fmla="*/ 3 h 43"/>
                  <a:gd name="T32" fmla="*/ 11 w 28"/>
                  <a:gd name="T33" fmla="*/ 6 h 43"/>
                  <a:gd name="T34" fmla="*/ 8 w 28"/>
                  <a:gd name="T35" fmla="*/ 5 h 43"/>
                  <a:gd name="T36" fmla="*/ 0 w 28"/>
                  <a:gd name="T3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43">
                    <a:moveTo>
                      <a:pt x="0" y="0"/>
                    </a:moveTo>
                    <a:cubicBezTo>
                      <a:pt x="1" y="2"/>
                      <a:pt x="2" y="5"/>
                      <a:pt x="3" y="7"/>
                    </a:cubicBezTo>
                    <a:cubicBezTo>
                      <a:pt x="3" y="9"/>
                      <a:pt x="3" y="11"/>
                      <a:pt x="3" y="13"/>
                    </a:cubicBezTo>
                    <a:cubicBezTo>
                      <a:pt x="3" y="14"/>
                      <a:pt x="2" y="17"/>
                      <a:pt x="3" y="17"/>
                    </a:cubicBezTo>
                    <a:cubicBezTo>
                      <a:pt x="3" y="17"/>
                      <a:pt x="4" y="17"/>
                      <a:pt x="4" y="17"/>
                    </a:cubicBezTo>
                    <a:cubicBezTo>
                      <a:pt x="4" y="18"/>
                      <a:pt x="5" y="19"/>
                      <a:pt x="5" y="19"/>
                    </a:cubicBezTo>
                    <a:cubicBezTo>
                      <a:pt x="6" y="19"/>
                      <a:pt x="6" y="18"/>
                      <a:pt x="7" y="17"/>
                    </a:cubicBezTo>
                    <a:cubicBezTo>
                      <a:pt x="8" y="16"/>
                      <a:pt x="9" y="15"/>
                      <a:pt x="9" y="15"/>
                    </a:cubicBezTo>
                    <a:cubicBezTo>
                      <a:pt x="9" y="15"/>
                      <a:pt x="9" y="15"/>
                      <a:pt x="9" y="15"/>
                    </a:cubicBezTo>
                    <a:cubicBezTo>
                      <a:pt x="17" y="16"/>
                      <a:pt x="14" y="36"/>
                      <a:pt x="14" y="39"/>
                    </a:cubicBezTo>
                    <a:cubicBezTo>
                      <a:pt x="16" y="41"/>
                      <a:pt x="19" y="42"/>
                      <a:pt x="22" y="43"/>
                    </a:cubicBezTo>
                    <a:cubicBezTo>
                      <a:pt x="22" y="39"/>
                      <a:pt x="20" y="37"/>
                      <a:pt x="21" y="33"/>
                    </a:cubicBezTo>
                    <a:cubicBezTo>
                      <a:pt x="22" y="35"/>
                      <a:pt x="23" y="37"/>
                      <a:pt x="25" y="40"/>
                    </a:cubicBezTo>
                    <a:cubicBezTo>
                      <a:pt x="26" y="38"/>
                      <a:pt x="28" y="36"/>
                      <a:pt x="28" y="34"/>
                    </a:cubicBezTo>
                    <a:cubicBezTo>
                      <a:pt x="28" y="32"/>
                      <a:pt x="26" y="27"/>
                      <a:pt x="25" y="26"/>
                    </a:cubicBezTo>
                    <a:cubicBezTo>
                      <a:pt x="19" y="20"/>
                      <a:pt x="21" y="12"/>
                      <a:pt x="20" y="3"/>
                    </a:cubicBezTo>
                    <a:cubicBezTo>
                      <a:pt x="17" y="4"/>
                      <a:pt x="14" y="6"/>
                      <a:pt x="11" y="6"/>
                    </a:cubicBezTo>
                    <a:cubicBezTo>
                      <a:pt x="10" y="6"/>
                      <a:pt x="9" y="6"/>
                      <a:pt x="8" y="5"/>
                    </a:cubicBezTo>
                    <a:cubicBezTo>
                      <a:pt x="5" y="4"/>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2" name="Freeform 1154">
                <a:extLst>
                  <a:ext uri="{FF2B5EF4-FFF2-40B4-BE49-F238E27FC236}">
                    <a16:creationId xmlns:a16="http://schemas.microsoft.com/office/drawing/2014/main" id="{60987E26-E422-4195-AC7A-4498DE6DCE01}"/>
                  </a:ext>
                </a:extLst>
              </p:cNvPr>
              <p:cNvSpPr>
                <a:spLocks/>
              </p:cNvSpPr>
              <p:nvPr/>
            </p:nvSpPr>
            <p:spPr bwMode="auto">
              <a:xfrm>
                <a:off x="1920" y="0"/>
                <a:ext cx="284" cy="173"/>
              </a:xfrm>
              <a:custGeom>
                <a:avLst/>
                <a:gdLst>
                  <a:gd name="T0" fmla="*/ 0 w 120"/>
                  <a:gd name="T1" fmla="*/ 0 h 73"/>
                  <a:gd name="T2" fmla="*/ 2 w 120"/>
                  <a:gd name="T3" fmla="*/ 7 h 73"/>
                  <a:gd name="T4" fmla="*/ 10 w 120"/>
                  <a:gd name="T5" fmla="*/ 13 h 73"/>
                  <a:gd name="T6" fmla="*/ 12 w 120"/>
                  <a:gd name="T7" fmla="*/ 18 h 73"/>
                  <a:gd name="T8" fmla="*/ 15 w 120"/>
                  <a:gd name="T9" fmla="*/ 6 h 73"/>
                  <a:gd name="T10" fmla="*/ 28 w 120"/>
                  <a:gd name="T11" fmla="*/ 5 h 73"/>
                  <a:gd name="T12" fmla="*/ 28 w 120"/>
                  <a:gd name="T13" fmla="*/ 21 h 73"/>
                  <a:gd name="T14" fmla="*/ 16 w 120"/>
                  <a:gd name="T15" fmla="*/ 25 h 73"/>
                  <a:gd name="T16" fmla="*/ 20 w 120"/>
                  <a:gd name="T17" fmla="*/ 33 h 73"/>
                  <a:gd name="T18" fmla="*/ 24 w 120"/>
                  <a:gd name="T19" fmla="*/ 39 h 73"/>
                  <a:gd name="T20" fmla="*/ 35 w 120"/>
                  <a:gd name="T21" fmla="*/ 42 h 73"/>
                  <a:gd name="T22" fmla="*/ 42 w 120"/>
                  <a:gd name="T23" fmla="*/ 35 h 73"/>
                  <a:gd name="T24" fmla="*/ 55 w 120"/>
                  <a:gd name="T25" fmla="*/ 35 h 73"/>
                  <a:gd name="T26" fmla="*/ 66 w 120"/>
                  <a:gd name="T27" fmla="*/ 43 h 73"/>
                  <a:gd name="T28" fmla="*/ 66 w 120"/>
                  <a:gd name="T29" fmla="*/ 43 h 73"/>
                  <a:gd name="T30" fmla="*/ 71 w 120"/>
                  <a:gd name="T31" fmla="*/ 40 h 73"/>
                  <a:gd name="T32" fmla="*/ 71 w 120"/>
                  <a:gd name="T33" fmla="*/ 32 h 73"/>
                  <a:gd name="T34" fmla="*/ 91 w 120"/>
                  <a:gd name="T35" fmla="*/ 50 h 73"/>
                  <a:gd name="T36" fmla="*/ 101 w 120"/>
                  <a:gd name="T37" fmla="*/ 61 h 73"/>
                  <a:gd name="T38" fmla="*/ 111 w 120"/>
                  <a:gd name="T39" fmla="*/ 62 h 73"/>
                  <a:gd name="T40" fmla="*/ 113 w 120"/>
                  <a:gd name="T41" fmla="*/ 61 h 73"/>
                  <a:gd name="T42" fmla="*/ 115 w 120"/>
                  <a:gd name="T43" fmla="*/ 61 h 73"/>
                  <a:gd name="T44" fmla="*/ 113 w 120"/>
                  <a:gd name="T45" fmla="*/ 65 h 73"/>
                  <a:gd name="T46" fmla="*/ 112 w 120"/>
                  <a:gd name="T47" fmla="*/ 64 h 73"/>
                  <a:gd name="T48" fmla="*/ 110 w 120"/>
                  <a:gd name="T49" fmla="*/ 65 h 73"/>
                  <a:gd name="T50" fmla="*/ 120 w 120"/>
                  <a:gd name="T51" fmla="*/ 59 h 73"/>
                  <a:gd name="T52" fmla="*/ 112 w 120"/>
                  <a:gd name="T53" fmla="*/ 57 h 73"/>
                  <a:gd name="T54" fmla="*/ 111 w 120"/>
                  <a:gd name="T55" fmla="*/ 53 h 73"/>
                  <a:gd name="T56" fmla="*/ 102 w 120"/>
                  <a:gd name="T57" fmla="*/ 39 h 73"/>
                  <a:gd name="T58" fmla="*/ 107 w 120"/>
                  <a:gd name="T59" fmla="*/ 39 h 73"/>
                  <a:gd name="T60" fmla="*/ 110 w 120"/>
                  <a:gd name="T61" fmla="*/ 39 h 73"/>
                  <a:gd name="T62" fmla="*/ 114 w 120"/>
                  <a:gd name="T63" fmla="*/ 39 h 73"/>
                  <a:gd name="T64" fmla="*/ 96 w 120"/>
                  <a:gd name="T65" fmla="*/ 28 h 73"/>
                  <a:gd name="T66" fmla="*/ 95 w 120"/>
                  <a:gd name="T67" fmla="*/ 35 h 73"/>
                  <a:gd name="T68" fmla="*/ 87 w 120"/>
                  <a:gd name="T69" fmla="*/ 29 h 73"/>
                  <a:gd name="T70" fmla="*/ 73 w 120"/>
                  <a:gd name="T71" fmla="*/ 20 h 73"/>
                  <a:gd name="T72" fmla="*/ 64 w 120"/>
                  <a:gd name="T73" fmla="*/ 31 h 73"/>
                  <a:gd name="T74" fmla="*/ 63 w 120"/>
                  <a:gd name="T75" fmla="*/ 34 h 73"/>
                  <a:gd name="T76" fmla="*/ 49 w 120"/>
                  <a:gd name="T77" fmla="*/ 21 h 73"/>
                  <a:gd name="T78" fmla="*/ 44 w 120"/>
                  <a:gd name="T79"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0" h="73">
                    <a:moveTo>
                      <a:pt x="43" y="0"/>
                    </a:moveTo>
                    <a:cubicBezTo>
                      <a:pt x="0" y="0"/>
                      <a:pt x="0" y="0"/>
                      <a:pt x="0" y="0"/>
                    </a:cubicBezTo>
                    <a:cubicBezTo>
                      <a:pt x="0" y="2"/>
                      <a:pt x="1" y="5"/>
                      <a:pt x="1" y="7"/>
                    </a:cubicBezTo>
                    <a:cubicBezTo>
                      <a:pt x="2" y="7"/>
                      <a:pt x="2" y="7"/>
                      <a:pt x="2" y="7"/>
                    </a:cubicBezTo>
                    <a:cubicBezTo>
                      <a:pt x="4" y="7"/>
                      <a:pt x="6" y="7"/>
                      <a:pt x="7" y="7"/>
                    </a:cubicBezTo>
                    <a:cubicBezTo>
                      <a:pt x="4" y="12"/>
                      <a:pt x="8" y="10"/>
                      <a:pt x="10" y="13"/>
                    </a:cubicBezTo>
                    <a:cubicBezTo>
                      <a:pt x="10" y="14"/>
                      <a:pt x="9" y="15"/>
                      <a:pt x="10" y="16"/>
                    </a:cubicBezTo>
                    <a:cubicBezTo>
                      <a:pt x="10" y="17"/>
                      <a:pt x="10" y="17"/>
                      <a:pt x="12" y="18"/>
                    </a:cubicBezTo>
                    <a:cubicBezTo>
                      <a:pt x="12" y="18"/>
                      <a:pt x="13" y="18"/>
                      <a:pt x="13" y="18"/>
                    </a:cubicBezTo>
                    <a:cubicBezTo>
                      <a:pt x="17" y="18"/>
                      <a:pt x="15" y="9"/>
                      <a:pt x="15" y="6"/>
                    </a:cubicBezTo>
                    <a:cubicBezTo>
                      <a:pt x="17" y="7"/>
                      <a:pt x="19" y="8"/>
                      <a:pt x="21" y="9"/>
                    </a:cubicBezTo>
                    <a:cubicBezTo>
                      <a:pt x="23" y="7"/>
                      <a:pt x="25" y="5"/>
                      <a:pt x="28" y="5"/>
                    </a:cubicBezTo>
                    <a:cubicBezTo>
                      <a:pt x="32" y="5"/>
                      <a:pt x="36" y="9"/>
                      <a:pt x="36" y="13"/>
                    </a:cubicBezTo>
                    <a:cubicBezTo>
                      <a:pt x="36" y="18"/>
                      <a:pt x="32" y="21"/>
                      <a:pt x="28" y="21"/>
                    </a:cubicBezTo>
                    <a:cubicBezTo>
                      <a:pt x="26" y="21"/>
                      <a:pt x="24" y="20"/>
                      <a:pt x="23" y="19"/>
                    </a:cubicBezTo>
                    <a:cubicBezTo>
                      <a:pt x="20" y="21"/>
                      <a:pt x="16" y="23"/>
                      <a:pt x="16" y="25"/>
                    </a:cubicBezTo>
                    <a:cubicBezTo>
                      <a:pt x="17" y="29"/>
                      <a:pt x="17" y="33"/>
                      <a:pt x="18" y="37"/>
                    </a:cubicBezTo>
                    <a:cubicBezTo>
                      <a:pt x="19" y="35"/>
                      <a:pt x="20" y="33"/>
                      <a:pt x="20" y="33"/>
                    </a:cubicBezTo>
                    <a:cubicBezTo>
                      <a:pt x="21" y="33"/>
                      <a:pt x="22" y="34"/>
                      <a:pt x="25" y="36"/>
                    </a:cubicBezTo>
                    <a:cubicBezTo>
                      <a:pt x="27" y="38"/>
                      <a:pt x="23" y="38"/>
                      <a:pt x="24" y="39"/>
                    </a:cubicBezTo>
                    <a:cubicBezTo>
                      <a:pt x="25" y="40"/>
                      <a:pt x="29" y="42"/>
                      <a:pt x="31" y="42"/>
                    </a:cubicBezTo>
                    <a:cubicBezTo>
                      <a:pt x="32" y="42"/>
                      <a:pt x="33" y="42"/>
                      <a:pt x="35" y="42"/>
                    </a:cubicBezTo>
                    <a:cubicBezTo>
                      <a:pt x="35" y="42"/>
                      <a:pt x="36" y="42"/>
                      <a:pt x="36" y="42"/>
                    </a:cubicBezTo>
                    <a:cubicBezTo>
                      <a:pt x="39" y="41"/>
                      <a:pt x="40" y="37"/>
                      <a:pt x="42" y="35"/>
                    </a:cubicBezTo>
                    <a:cubicBezTo>
                      <a:pt x="45" y="34"/>
                      <a:pt x="47" y="33"/>
                      <a:pt x="49" y="33"/>
                    </a:cubicBezTo>
                    <a:cubicBezTo>
                      <a:pt x="50" y="33"/>
                      <a:pt x="52" y="33"/>
                      <a:pt x="55" y="35"/>
                    </a:cubicBezTo>
                    <a:cubicBezTo>
                      <a:pt x="56" y="36"/>
                      <a:pt x="58" y="36"/>
                      <a:pt x="60" y="38"/>
                    </a:cubicBezTo>
                    <a:cubicBezTo>
                      <a:pt x="62" y="39"/>
                      <a:pt x="62" y="43"/>
                      <a:pt x="66" y="43"/>
                    </a:cubicBezTo>
                    <a:cubicBezTo>
                      <a:pt x="66" y="43"/>
                      <a:pt x="66" y="43"/>
                      <a:pt x="66" y="43"/>
                    </a:cubicBezTo>
                    <a:cubicBezTo>
                      <a:pt x="66" y="43"/>
                      <a:pt x="66" y="43"/>
                      <a:pt x="66" y="43"/>
                    </a:cubicBezTo>
                    <a:cubicBezTo>
                      <a:pt x="71" y="43"/>
                      <a:pt x="71" y="53"/>
                      <a:pt x="74" y="55"/>
                    </a:cubicBezTo>
                    <a:cubicBezTo>
                      <a:pt x="73" y="50"/>
                      <a:pt x="72" y="45"/>
                      <a:pt x="71" y="40"/>
                    </a:cubicBezTo>
                    <a:cubicBezTo>
                      <a:pt x="71" y="38"/>
                      <a:pt x="71" y="34"/>
                      <a:pt x="69" y="33"/>
                    </a:cubicBezTo>
                    <a:cubicBezTo>
                      <a:pt x="70" y="33"/>
                      <a:pt x="71" y="32"/>
                      <a:pt x="71" y="32"/>
                    </a:cubicBezTo>
                    <a:cubicBezTo>
                      <a:pt x="74" y="32"/>
                      <a:pt x="75" y="34"/>
                      <a:pt x="77" y="36"/>
                    </a:cubicBezTo>
                    <a:cubicBezTo>
                      <a:pt x="82" y="41"/>
                      <a:pt x="87" y="45"/>
                      <a:pt x="91" y="50"/>
                    </a:cubicBezTo>
                    <a:cubicBezTo>
                      <a:pt x="94" y="53"/>
                      <a:pt x="95" y="53"/>
                      <a:pt x="94" y="58"/>
                    </a:cubicBezTo>
                    <a:cubicBezTo>
                      <a:pt x="94" y="59"/>
                      <a:pt x="100" y="61"/>
                      <a:pt x="101" y="61"/>
                    </a:cubicBezTo>
                    <a:cubicBezTo>
                      <a:pt x="105" y="62"/>
                      <a:pt x="107" y="63"/>
                      <a:pt x="108" y="63"/>
                    </a:cubicBezTo>
                    <a:cubicBezTo>
                      <a:pt x="109" y="63"/>
                      <a:pt x="110" y="63"/>
                      <a:pt x="111" y="62"/>
                    </a:cubicBezTo>
                    <a:cubicBezTo>
                      <a:pt x="112" y="62"/>
                      <a:pt x="111" y="61"/>
                      <a:pt x="112" y="61"/>
                    </a:cubicBezTo>
                    <a:cubicBezTo>
                      <a:pt x="112" y="61"/>
                      <a:pt x="112" y="61"/>
                      <a:pt x="113" y="61"/>
                    </a:cubicBezTo>
                    <a:cubicBezTo>
                      <a:pt x="113" y="61"/>
                      <a:pt x="113" y="61"/>
                      <a:pt x="114" y="61"/>
                    </a:cubicBezTo>
                    <a:cubicBezTo>
                      <a:pt x="114" y="61"/>
                      <a:pt x="115" y="61"/>
                      <a:pt x="115" y="61"/>
                    </a:cubicBezTo>
                    <a:cubicBezTo>
                      <a:pt x="115" y="61"/>
                      <a:pt x="115" y="61"/>
                      <a:pt x="115" y="61"/>
                    </a:cubicBezTo>
                    <a:cubicBezTo>
                      <a:pt x="115" y="62"/>
                      <a:pt x="114" y="64"/>
                      <a:pt x="113" y="65"/>
                    </a:cubicBezTo>
                    <a:cubicBezTo>
                      <a:pt x="113" y="65"/>
                      <a:pt x="112" y="65"/>
                      <a:pt x="112" y="65"/>
                    </a:cubicBezTo>
                    <a:cubicBezTo>
                      <a:pt x="112" y="65"/>
                      <a:pt x="112" y="65"/>
                      <a:pt x="112" y="64"/>
                    </a:cubicBezTo>
                    <a:cubicBezTo>
                      <a:pt x="111" y="64"/>
                      <a:pt x="111" y="64"/>
                      <a:pt x="111" y="64"/>
                    </a:cubicBezTo>
                    <a:cubicBezTo>
                      <a:pt x="111" y="64"/>
                      <a:pt x="111" y="64"/>
                      <a:pt x="110" y="65"/>
                    </a:cubicBezTo>
                    <a:cubicBezTo>
                      <a:pt x="109" y="68"/>
                      <a:pt x="116" y="72"/>
                      <a:pt x="118" y="73"/>
                    </a:cubicBezTo>
                    <a:cubicBezTo>
                      <a:pt x="118" y="71"/>
                      <a:pt x="120" y="59"/>
                      <a:pt x="120" y="59"/>
                    </a:cubicBezTo>
                    <a:cubicBezTo>
                      <a:pt x="118" y="58"/>
                      <a:pt x="116" y="57"/>
                      <a:pt x="114" y="57"/>
                    </a:cubicBezTo>
                    <a:cubicBezTo>
                      <a:pt x="113" y="57"/>
                      <a:pt x="113" y="57"/>
                      <a:pt x="112" y="57"/>
                    </a:cubicBezTo>
                    <a:cubicBezTo>
                      <a:pt x="109" y="59"/>
                      <a:pt x="109" y="59"/>
                      <a:pt x="109" y="59"/>
                    </a:cubicBezTo>
                    <a:cubicBezTo>
                      <a:pt x="107" y="58"/>
                      <a:pt x="109" y="53"/>
                      <a:pt x="111" y="53"/>
                    </a:cubicBezTo>
                    <a:cubicBezTo>
                      <a:pt x="111" y="53"/>
                      <a:pt x="111" y="53"/>
                      <a:pt x="111" y="53"/>
                    </a:cubicBezTo>
                    <a:cubicBezTo>
                      <a:pt x="109" y="51"/>
                      <a:pt x="99" y="42"/>
                      <a:pt x="102" y="39"/>
                    </a:cubicBezTo>
                    <a:cubicBezTo>
                      <a:pt x="103" y="39"/>
                      <a:pt x="103" y="39"/>
                      <a:pt x="104" y="39"/>
                    </a:cubicBezTo>
                    <a:cubicBezTo>
                      <a:pt x="105" y="39"/>
                      <a:pt x="106" y="39"/>
                      <a:pt x="107" y="39"/>
                    </a:cubicBezTo>
                    <a:cubicBezTo>
                      <a:pt x="107" y="39"/>
                      <a:pt x="107" y="39"/>
                      <a:pt x="107" y="39"/>
                    </a:cubicBezTo>
                    <a:cubicBezTo>
                      <a:pt x="108" y="39"/>
                      <a:pt x="109" y="39"/>
                      <a:pt x="110" y="39"/>
                    </a:cubicBezTo>
                    <a:cubicBezTo>
                      <a:pt x="111" y="39"/>
                      <a:pt x="112" y="39"/>
                      <a:pt x="113" y="39"/>
                    </a:cubicBezTo>
                    <a:cubicBezTo>
                      <a:pt x="113" y="39"/>
                      <a:pt x="114" y="39"/>
                      <a:pt x="114" y="39"/>
                    </a:cubicBezTo>
                    <a:cubicBezTo>
                      <a:pt x="113" y="32"/>
                      <a:pt x="99" y="32"/>
                      <a:pt x="96" y="30"/>
                    </a:cubicBezTo>
                    <a:cubicBezTo>
                      <a:pt x="96" y="29"/>
                      <a:pt x="96" y="29"/>
                      <a:pt x="96" y="28"/>
                    </a:cubicBezTo>
                    <a:cubicBezTo>
                      <a:pt x="95" y="29"/>
                      <a:pt x="95" y="31"/>
                      <a:pt x="95" y="33"/>
                    </a:cubicBezTo>
                    <a:cubicBezTo>
                      <a:pt x="95" y="35"/>
                      <a:pt x="95" y="35"/>
                      <a:pt x="95" y="35"/>
                    </a:cubicBezTo>
                    <a:cubicBezTo>
                      <a:pt x="94" y="38"/>
                      <a:pt x="91" y="38"/>
                      <a:pt x="89" y="40"/>
                    </a:cubicBezTo>
                    <a:cubicBezTo>
                      <a:pt x="86" y="36"/>
                      <a:pt x="89" y="33"/>
                      <a:pt x="87" y="29"/>
                    </a:cubicBezTo>
                    <a:cubicBezTo>
                      <a:pt x="86" y="28"/>
                      <a:pt x="85" y="25"/>
                      <a:pt x="83" y="24"/>
                    </a:cubicBezTo>
                    <a:cubicBezTo>
                      <a:pt x="80" y="22"/>
                      <a:pt x="77" y="20"/>
                      <a:pt x="73" y="20"/>
                    </a:cubicBezTo>
                    <a:cubicBezTo>
                      <a:pt x="73" y="20"/>
                      <a:pt x="72" y="20"/>
                      <a:pt x="71" y="21"/>
                    </a:cubicBezTo>
                    <a:cubicBezTo>
                      <a:pt x="67" y="22"/>
                      <a:pt x="67" y="31"/>
                      <a:pt x="64" y="31"/>
                    </a:cubicBezTo>
                    <a:cubicBezTo>
                      <a:pt x="63" y="31"/>
                      <a:pt x="63" y="31"/>
                      <a:pt x="62" y="31"/>
                    </a:cubicBezTo>
                    <a:cubicBezTo>
                      <a:pt x="63" y="31"/>
                      <a:pt x="63" y="33"/>
                      <a:pt x="63" y="34"/>
                    </a:cubicBezTo>
                    <a:cubicBezTo>
                      <a:pt x="60" y="33"/>
                      <a:pt x="57" y="32"/>
                      <a:pt x="54" y="30"/>
                    </a:cubicBezTo>
                    <a:cubicBezTo>
                      <a:pt x="50" y="28"/>
                      <a:pt x="50" y="25"/>
                      <a:pt x="49" y="21"/>
                    </a:cubicBezTo>
                    <a:cubicBezTo>
                      <a:pt x="49" y="18"/>
                      <a:pt x="49" y="13"/>
                      <a:pt x="49" y="10"/>
                    </a:cubicBezTo>
                    <a:cubicBezTo>
                      <a:pt x="48" y="7"/>
                      <a:pt x="45" y="4"/>
                      <a:pt x="44" y="1"/>
                    </a:cubicBezTo>
                    <a:cubicBezTo>
                      <a:pt x="44" y="1"/>
                      <a:pt x="44" y="0"/>
                      <a:pt x="4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3" name="Freeform 1155">
                <a:extLst>
                  <a:ext uri="{FF2B5EF4-FFF2-40B4-BE49-F238E27FC236}">
                    <a16:creationId xmlns:a16="http://schemas.microsoft.com/office/drawing/2014/main" id="{EA6122F4-27D6-4925-82CC-FE8C6D66986C}"/>
                  </a:ext>
                </a:extLst>
              </p:cNvPr>
              <p:cNvSpPr>
                <a:spLocks/>
              </p:cNvSpPr>
              <p:nvPr/>
            </p:nvSpPr>
            <p:spPr bwMode="auto">
              <a:xfrm>
                <a:off x="1724" y="251"/>
                <a:ext cx="173" cy="215"/>
              </a:xfrm>
              <a:custGeom>
                <a:avLst/>
                <a:gdLst>
                  <a:gd name="T0" fmla="*/ 66 w 73"/>
                  <a:gd name="T1" fmla="*/ 0 h 91"/>
                  <a:gd name="T2" fmla="*/ 62 w 73"/>
                  <a:gd name="T3" fmla="*/ 15 h 91"/>
                  <a:gd name="T4" fmla="*/ 66 w 73"/>
                  <a:gd name="T5" fmla="*/ 21 h 91"/>
                  <a:gd name="T6" fmla="*/ 65 w 73"/>
                  <a:gd name="T7" fmla="*/ 21 h 91"/>
                  <a:gd name="T8" fmla="*/ 61 w 73"/>
                  <a:gd name="T9" fmla="*/ 17 h 91"/>
                  <a:gd name="T10" fmla="*/ 59 w 73"/>
                  <a:gd name="T11" fmla="*/ 15 h 91"/>
                  <a:gd name="T12" fmla="*/ 59 w 73"/>
                  <a:gd name="T13" fmla="*/ 17 h 91"/>
                  <a:gd name="T14" fmla="*/ 60 w 73"/>
                  <a:gd name="T15" fmla="*/ 26 h 91"/>
                  <a:gd name="T16" fmla="*/ 56 w 73"/>
                  <a:gd name="T17" fmla="*/ 31 h 91"/>
                  <a:gd name="T18" fmla="*/ 56 w 73"/>
                  <a:gd name="T19" fmla="*/ 29 h 91"/>
                  <a:gd name="T20" fmla="*/ 48 w 73"/>
                  <a:gd name="T21" fmla="*/ 40 h 91"/>
                  <a:gd name="T22" fmla="*/ 46 w 73"/>
                  <a:gd name="T23" fmla="*/ 42 h 91"/>
                  <a:gd name="T24" fmla="*/ 46 w 73"/>
                  <a:gd name="T25" fmla="*/ 40 h 91"/>
                  <a:gd name="T26" fmla="*/ 32 w 73"/>
                  <a:gd name="T27" fmla="*/ 56 h 91"/>
                  <a:gd name="T28" fmla="*/ 24 w 73"/>
                  <a:gd name="T29" fmla="*/ 64 h 91"/>
                  <a:gd name="T30" fmla="*/ 23 w 73"/>
                  <a:gd name="T31" fmla="*/ 64 h 91"/>
                  <a:gd name="T32" fmla="*/ 12 w 73"/>
                  <a:gd name="T33" fmla="*/ 73 h 91"/>
                  <a:gd name="T34" fmla="*/ 3 w 73"/>
                  <a:gd name="T35" fmla="*/ 82 h 91"/>
                  <a:gd name="T36" fmla="*/ 0 w 73"/>
                  <a:gd name="T37" fmla="*/ 91 h 91"/>
                  <a:gd name="T38" fmla="*/ 20 w 73"/>
                  <a:gd name="T39" fmla="*/ 76 h 91"/>
                  <a:gd name="T40" fmla="*/ 38 w 73"/>
                  <a:gd name="T41" fmla="*/ 63 h 91"/>
                  <a:gd name="T42" fmla="*/ 42 w 73"/>
                  <a:gd name="T43" fmla="*/ 56 h 91"/>
                  <a:gd name="T44" fmla="*/ 45 w 73"/>
                  <a:gd name="T45" fmla="*/ 52 h 91"/>
                  <a:gd name="T46" fmla="*/ 50 w 73"/>
                  <a:gd name="T47" fmla="*/ 43 h 91"/>
                  <a:gd name="T48" fmla="*/ 55 w 73"/>
                  <a:gd name="T49" fmla="*/ 42 h 91"/>
                  <a:gd name="T50" fmla="*/ 64 w 73"/>
                  <a:gd name="T51" fmla="*/ 32 h 91"/>
                  <a:gd name="T52" fmla="*/ 73 w 73"/>
                  <a:gd name="T53" fmla="*/ 27 h 91"/>
                  <a:gd name="T54" fmla="*/ 72 w 73"/>
                  <a:gd name="T55" fmla="*/ 26 h 91"/>
                  <a:gd name="T56" fmla="*/ 71 w 73"/>
                  <a:gd name="T57" fmla="*/ 22 h 91"/>
                  <a:gd name="T58" fmla="*/ 69 w 73"/>
                  <a:gd name="T59" fmla="*/ 23 h 91"/>
                  <a:gd name="T60" fmla="*/ 70 w 73"/>
                  <a:gd name="T61" fmla="*/ 20 h 91"/>
                  <a:gd name="T62" fmla="*/ 69 w 73"/>
                  <a:gd name="T63" fmla="*/ 18 h 91"/>
                  <a:gd name="T64" fmla="*/ 69 w 73"/>
                  <a:gd name="T65" fmla="*/ 18 h 91"/>
                  <a:gd name="T66" fmla="*/ 68 w 73"/>
                  <a:gd name="T67" fmla="*/ 18 h 91"/>
                  <a:gd name="T68" fmla="*/ 68 w 73"/>
                  <a:gd name="T69" fmla="*/ 18 h 91"/>
                  <a:gd name="T70" fmla="*/ 67 w 73"/>
                  <a:gd name="T71" fmla="*/ 17 h 91"/>
                  <a:gd name="T72" fmla="*/ 69 w 73"/>
                  <a:gd name="T73" fmla="*/ 11 h 91"/>
                  <a:gd name="T74" fmla="*/ 68 w 73"/>
                  <a:gd name="T75" fmla="*/ 11 h 91"/>
                  <a:gd name="T76" fmla="*/ 69 w 73"/>
                  <a:gd name="T77" fmla="*/ 7 h 91"/>
                  <a:gd name="T78" fmla="*/ 66 w 73"/>
                  <a:gd name="T7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91">
                    <a:moveTo>
                      <a:pt x="66" y="0"/>
                    </a:moveTo>
                    <a:cubicBezTo>
                      <a:pt x="65" y="4"/>
                      <a:pt x="61" y="10"/>
                      <a:pt x="62" y="15"/>
                    </a:cubicBezTo>
                    <a:cubicBezTo>
                      <a:pt x="62" y="16"/>
                      <a:pt x="65" y="19"/>
                      <a:pt x="66" y="21"/>
                    </a:cubicBezTo>
                    <a:cubicBezTo>
                      <a:pt x="65" y="21"/>
                      <a:pt x="65" y="21"/>
                      <a:pt x="65" y="21"/>
                    </a:cubicBezTo>
                    <a:cubicBezTo>
                      <a:pt x="65" y="20"/>
                      <a:pt x="62" y="17"/>
                      <a:pt x="61" y="17"/>
                    </a:cubicBezTo>
                    <a:cubicBezTo>
                      <a:pt x="60" y="16"/>
                      <a:pt x="60" y="15"/>
                      <a:pt x="59" y="15"/>
                    </a:cubicBezTo>
                    <a:cubicBezTo>
                      <a:pt x="59" y="15"/>
                      <a:pt x="59" y="16"/>
                      <a:pt x="59" y="17"/>
                    </a:cubicBezTo>
                    <a:cubicBezTo>
                      <a:pt x="58" y="19"/>
                      <a:pt x="60" y="24"/>
                      <a:pt x="60" y="26"/>
                    </a:cubicBezTo>
                    <a:cubicBezTo>
                      <a:pt x="60" y="28"/>
                      <a:pt x="57" y="31"/>
                      <a:pt x="56" y="31"/>
                    </a:cubicBezTo>
                    <a:cubicBezTo>
                      <a:pt x="56" y="31"/>
                      <a:pt x="56" y="30"/>
                      <a:pt x="56" y="29"/>
                    </a:cubicBezTo>
                    <a:cubicBezTo>
                      <a:pt x="54" y="32"/>
                      <a:pt x="51" y="38"/>
                      <a:pt x="48" y="40"/>
                    </a:cubicBezTo>
                    <a:cubicBezTo>
                      <a:pt x="47" y="41"/>
                      <a:pt x="46" y="42"/>
                      <a:pt x="46" y="42"/>
                    </a:cubicBezTo>
                    <a:cubicBezTo>
                      <a:pt x="46" y="42"/>
                      <a:pt x="46" y="41"/>
                      <a:pt x="46" y="40"/>
                    </a:cubicBezTo>
                    <a:cubicBezTo>
                      <a:pt x="41" y="45"/>
                      <a:pt x="36" y="51"/>
                      <a:pt x="32" y="56"/>
                    </a:cubicBezTo>
                    <a:cubicBezTo>
                      <a:pt x="31" y="57"/>
                      <a:pt x="26" y="64"/>
                      <a:pt x="24" y="64"/>
                    </a:cubicBezTo>
                    <a:cubicBezTo>
                      <a:pt x="23" y="64"/>
                      <a:pt x="23" y="64"/>
                      <a:pt x="23" y="64"/>
                    </a:cubicBezTo>
                    <a:cubicBezTo>
                      <a:pt x="19" y="64"/>
                      <a:pt x="16" y="70"/>
                      <a:pt x="12" y="73"/>
                    </a:cubicBezTo>
                    <a:cubicBezTo>
                      <a:pt x="9" y="76"/>
                      <a:pt x="6" y="79"/>
                      <a:pt x="3" y="82"/>
                    </a:cubicBezTo>
                    <a:cubicBezTo>
                      <a:pt x="1" y="85"/>
                      <a:pt x="1" y="88"/>
                      <a:pt x="0" y="91"/>
                    </a:cubicBezTo>
                    <a:cubicBezTo>
                      <a:pt x="7" y="86"/>
                      <a:pt x="13" y="81"/>
                      <a:pt x="20" y="76"/>
                    </a:cubicBezTo>
                    <a:cubicBezTo>
                      <a:pt x="25" y="72"/>
                      <a:pt x="34" y="68"/>
                      <a:pt x="38" y="63"/>
                    </a:cubicBezTo>
                    <a:cubicBezTo>
                      <a:pt x="39" y="60"/>
                      <a:pt x="41" y="58"/>
                      <a:pt x="42" y="56"/>
                    </a:cubicBezTo>
                    <a:cubicBezTo>
                      <a:pt x="43" y="55"/>
                      <a:pt x="47" y="52"/>
                      <a:pt x="45" y="52"/>
                    </a:cubicBezTo>
                    <a:cubicBezTo>
                      <a:pt x="49" y="48"/>
                      <a:pt x="43" y="45"/>
                      <a:pt x="50" y="43"/>
                    </a:cubicBezTo>
                    <a:cubicBezTo>
                      <a:pt x="51" y="43"/>
                      <a:pt x="53" y="42"/>
                      <a:pt x="55" y="42"/>
                    </a:cubicBezTo>
                    <a:cubicBezTo>
                      <a:pt x="60" y="40"/>
                      <a:pt x="59" y="34"/>
                      <a:pt x="64" y="32"/>
                    </a:cubicBezTo>
                    <a:cubicBezTo>
                      <a:pt x="66" y="31"/>
                      <a:pt x="73" y="29"/>
                      <a:pt x="73" y="27"/>
                    </a:cubicBezTo>
                    <a:cubicBezTo>
                      <a:pt x="73" y="27"/>
                      <a:pt x="72" y="26"/>
                      <a:pt x="72" y="26"/>
                    </a:cubicBezTo>
                    <a:cubicBezTo>
                      <a:pt x="72" y="24"/>
                      <a:pt x="72" y="22"/>
                      <a:pt x="71" y="22"/>
                    </a:cubicBezTo>
                    <a:cubicBezTo>
                      <a:pt x="71" y="22"/>
                      <a:pt x="70" y="23"/>
                      <a:pt x="69" y="23"/>
                    </a:cubicBezTo>
                    <a:cubicBezTo>
                      <a:pt x="70" y="22"/>
                      <a:pt x="70" y="21"/>
                      <a:pt x="70" y="20"/>
                    </a:cubicBezTo>
                    <a:cubicBezTo>
                      <a:pt x="69" y="18"/>
                      <a:pt x="69" y="18"/>
                      <a:pt x="69" y="18"/>
                    </a:cubicBezTo>
                    <a:cubicBezTo>
                      <a:pt x="69" y="18"/>
                      <a:pt x="69" y="18"/>
                      <a:pt x="69" y="18"/>
                    </a:cubicBezTo>
                    <a:cubicBezTo>
                      <a:pt x="69" y="18"/>
                      <a:pt x="68" y="18"/>
                      <a:pt x="68" y="18"/>
                    </a:cubicBezTo>
                    <a:cubicBezTo>
                      <a:pt x="68" y="18"/>
                      <a:pt x="68" y="18"/>
                      <a:pt x="68" y="18"/>
                    </a:cubicBezTo>
                    <a:cubicBezTo>
                      <a:pt x="68" y="18"/>
                      <a:pt x="67" y="17"/>
                      <a:pt x="67" y="17"/>
                    </a:cubicBezTo>
                    <a:cubicBezTo>
                      <a:pt x="67" y="14"/>
                      <a:pt x="70" y="13"/>
                      <a:pt x="69" y="11"/>
                    </a:cubicBezTo>
                    <a:cubicBezTo>
                      <a:pt x="69" y="11"/>
                      <a:pt x="68" y="11"/>
                      <a:pt x="68" y="11"/>
                    </a:cubicBezTo>
                    <a:cubicBezTo>
                      <a:pt x="66" y="11"/>
                      <a:pt x="68" y="8"/>
                      <a:pt x="69" y="7"/>
                    </a:cubicBezTo>
                    <a:cubicBezTo>
                      <a:pt x="69" y="2"/>
                      <a:pt x="67" y="5"/>
                      <a:pt x="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4" name="Freeform 1156">
                <a:extLst>
                  <a:ext uri="{FF2B5EF4-FFF2-40B4-BE49-F238E27FC236}">
                    <a16:creationId xmlns:a16="http://schemas.microsoft.com/office/drawing/2014/main" id="{C8BB8CD4-DCB5-49B4-B693-8D9F6062F49A}"/>
                  </a:ext>
                </a:extLst>
              </p:cNvPr>
              <p:cNvSpPr>
                <a:spLocks/>
              </p:cNvSpPr>
              <p:nvPr/>
            </p:nvSpPr>
            <p:spPr bwMode="auto">
              <a:xfrm>
                <a:off x="2142" y="263"/>
                <a:ext cx="55" cy="130"/>
              </a:xfrm>
              <a:custGeom>
                <a:avLst/>
                <a:gdLst>
                  <a:gd name="T0" fmla="*/ 22 w 23"/>
                  <a:gd name="T1" fmla="*/ 0 h 55"/>
                  <a:gd name="T2" fmla="*/ 18 w 23"/>
                  <a:gd name="T3" fmla="*/ 8 h 55"/>
                  <a:gd name="T4" fmla="*/ 15 w 23"/>
                  <a:gd name="T5" fmla="*/ 17 h 55"/>
                  <a:gd name="T6" fmla="*/ 7 w 23"/>
                  <a:gd name="T7" fmla="*/ 32 h 55"/>
                  <a:gd name="T8" fmla="*/ 3 w 23"/>
                  <a:gd name="T9" fmla="*/ 41 h 55"/>
                  <a:gd name="T10" fmla="*/ 1 w 23"/>
                  <a:gd name="T11" fmla="*/ 55 h 55"/>
                  <a:gd name="T12" fmla="*/ 13 w 23"/>
                  <a:gd name="T13" fmla="*/ 33 h 55"/>
                  <a:gd name="T14" fmla="*/ 22 w 23"/>
                  <a:gd name="T15" fmla="*/ 23 h 55"/>
                  <a:gd name="T16" fmla="*/ 21 w 23"/>
                  <a:gd name="T17" fmla="*/ 17 h 55"/>
                  <a:gd name="T18" fmla="*/ 22 w 23"/>
                  <a:gd name="T19"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55">
                    <a:moveTo>
                      <a:pt x="22" y="0"/>
                    </a:moveTo>
                    <a:cubicBezTo>
                      <a:pt x="19" y="0"/>
                      <a:pt x="19" y="6"/>
                      <a:pt x="18" y="8"/>
                    </a:cubicBezTo>
                    <a:cubicBezTo>
                      <a:pt x="18" y="11"/>
                      <a:pt x="16" y="14"/>
                      <a:pt x="15" y="17"/>
                    </a:cubicBezTo>
                    <a:cubicBezTo>
                      <a:pt x="12" y="22"/>
                      <a:pt x="10" y="28"/>
                      <a:pt x="7" y="32"/>
                    </a:cubicBezTo>
                    <a:cubicBezTo>
                      <a:pt x="4" y="36"/>
                      <a:pt x="3" y="38"/>
                      <a:pt x="3" y="41"/>
                    </a:cubicBezTo>
                    <a:cubicBezTo>
                      <a:pt x="2" y="46"/>
                      <a:pt x="0" y="50"/>
                      <a:pt x="1" y="55"/>
                    </a:cubicBezTo>
                    <a:cubicBezTo>
                      <a:pt x="5" y="48"/>
                      <a:pt x="7" y="38"/>
                      <a:pt x="13" y="33"/>
                    </a:cubicBezTo>
                    <a:cubicBezTo>
                      <a:pt x="16" y="29"/>
                      <a:pt x="21" y="28"/>
                      <a:pt x="22" y="23"/>
                    </a:cubicBezTo>
                    <a:cubicBezTo>
                      <a:pt x="22" y="21"/>
                      <a:pt x="21" y="19"/>
                      <a:pt x="21" y="17"/>
                    </a:cubicBezTo>
                    <a:cubicBezTo>
                      <a:pt x="21" y="11"/>
                      <a:pt x="23" y="6"/>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5" name="Freeform 1157">
                <a:extLst>
                  <a:ext uri="{FF2B5EF4-FFF2-40B4-BE49-F238E27FC236}">
                    <a16:creationId xmlns:a16="http://schemas.microsoft.com/office/drawing/2014/main" id="{83AB3DA5-C84C-417B-BF67-2BF326DFCC84}"/>
                  </a:ext>
                </a:extLst>
              </p:cNvPr>
              <p:cNvSpPr>
                <a:spLocks/>
              </p:cNvSpPr>
              <p:nvPr/>
            </p:nvSpPr>
            <p:spPr bwMode="auto">
              <a:xfrm>
                <a:off x="2131" y="171"/>
                <a:ext cx="66" cy="61"/>
              </a:xfrm>
              <a:custGeom>
                <a:avLst/>
                <a:gdLst>
                  <a:gd name="T0" fmla="*/ 4 w 28"/>
                  <a:gd name="T1" fmla="*/ 0 h 26"/>
                  <a:gd name="T2" fmla="*/ 4 w 28"/>
                  <a:gd name="T3" fmla="*/ 7 h 26"/>
                  <a:gd name="T4" fmla="*/ 3 w 28"/>
                  <a:gd name="T5" fmla="*/ 11 h 26"/>
                  <a:gd name="T6" fmla="*/ 4 w 28"/>
                  <a:gd name="T7" fmla="*/ 11 h 26"/>
                  <a:gd name="T8" fmla="*/ 4 w 28"/>
                  <a:gd name="T9" fmla="*/ 11 h 26"/>
                  <a:gd name="T10" fmla="*/ 4 w 28"/>
                  <a:gd name="T11" fmla="*/ 11 h 26"/>
                  <a:gd name="T12" fmla="*/ 4 w 28"/>
                  <a:gd name="T13" fmla="*/ 11 h 26"/>
                  <a:gd name="T14" fmla="*/ 5 w 28"/>
                  <a:gd name="T15" fmla="*/ 11 h 26"/>
                  <a:gd name="T16" fmla="*/ 5 w 28"/>
                  <a:gd name="T17" fmla="*/ 12 h 26"/>
                  <a:gd name="T18" fmla="*/ 5 w 28"/>
                  <a:gd name="T19" fmla="*/ 13 h 26"/>
                  <a:gd name="T20" fmla="*/ 2 w 28"/>
                  <a:gd name="T21" fmla="*/ 20 h 26"/>
                  <a:gd name="T22" fmla="*/ 4 w 28"/>
                  <a:gd name="T23" fmla="*/ 19 h 26"/>
                  <a:gd name="T24" fmla="*/ 11 w 28"/>
                  <a:gd name="T25" fmla="*/ 12 h 26"/>
                  <a:gd name="T26" fmla="*/ 13 w 28"/>
                  <a:gd name="T27" fmla="*/ 13 h 26"/>
                  <a:gd name="T28" fmla="*/ 15 w 28"/>
                  <a:gd name="T29" fmla="*/ 16 h 26"/>
                  <a:gd name="T30" fmla="*/ 18 w 28"/>
                  <a:gd name="T31" fmla="*/ 20 h 26"/>
                  <a:gd name="T32" fmla="*/ 22 w 28"/>
                  <a:gd name="T33" fmla="*/ 21 h 26"/>
                  <a:gd name="T34" fmla="*/ 28 w 28"/>
                  <a:gd name="T35" fmla="*/ 26 h 26"/>
                  <a:gd name="T36" fmla="*/ 22 w 28"/>
                  <a:gd name="T37" fmla="*/ 11 h 26"/>
                  <a:gd name="T38" fmla="*/ 18 w 28"/>
                  <a:gd name="T39" fmla="*/ 9 h 26"/>
                  <a:gd name="T40" fmla="*/ 4 w 2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6">
                    <a:moveTo>
                      <a:pt x="4" y="0"/>
                    </a:moveTo>
                    <a:cubicBezTo>
                      <a:pt x="4" y="3"/>
                      <a:pt x="5" y="4"/>
                      <a:pt x="4" y="7"/>
                    </a:cubicBezTo>
                    <a:cubicBezTo>
                      <a:pt x="4" y="8"/>
                      <a:pt x="3" y="10"/>
                      <a:pt x="3" y="11"/>
                    </a:cubicBezTo>
                    <a:cubicBezTo>
                      <a:pt x="3" y="11"/>
                      <a:pt x="4" y="11"/>
                      <a:pt x="4" y="11"/>
                    </a:cubicBezTo>
                    <a:cubicBezTo>
                      <a:pt x="4" y="11"/>
                      <a:pt x="4" y="11"/>
                      <a:pt x="4" y="11"/>
                    </a:cubicBezTo>
                    <a:cubicBezTo>
                      <a:pt x="4" y="11"/>
                      <a:pt x="4" y="11"/>
                      <a:pt x="4" y="11"/>
                    </a:cubicBezTo>
                    <a:cubicBezTo>
                      <a:pt x="4" y="11"/>
                      <a:pt x="4" y="11"/>
                      <a:pt x="4" y="11"/>
                    </a:cubicBezTo>
                    <a:cubicBezTo>
                      <a:pt x="4" y="11"/>
                      <a:pt x="4" y="11"/>
                      <a:pt x="5" y="11"/>
                    </a:cubicBezTo>
                    <a:cubicBezTo>
                      <a:pt x="5" y="11"/>
                      <a:pt x="5" y="11"/>
                      <a:pt x="5" y="12"/>
                    </a:cubicBezTo>
                    <a:cubicBezTo>
                      <a:pt x="5" y="13"/>
                      <a:pt x="5" y="12"/>
                      <a:pt x="5" y="13"/>
                    </a:cubicBezTo>
                    <a:cubicBezTo>
                      <a:pt x="4" y="14"/>
                      <a:pt x="0" y="20"/>
                      <a:pt x="2" y="20"/>
                    </a:cubicBezTo>
                    <a:cubicBezTo>
                      <a:pt x="2" y="20"/>
                      <a:pt x="3" y="20"/>
                      <a:pt x="4" y="19"/>
                    </a:cubicBezTo>
                    <a:cubicBezTo>
                      <a:pt x="6" y="17"/>
                      <a:pt x="8" y="12"/>
                      <a:pt x="11" y="12"/>
                    </a:cubicBezTo>
                    <a:cubicBezTo>
                      <a:pt x="12" y="12"/>
                      <a:pt x="12" y="12"/>
                      <a:pt x="13" y="13"/>
                    </a:cubicBezTo>
                    <a:cubicBezTo>
                      <a:pt x="14" y="13"/>
                      <a:pt x="15" y="16"/>
                      <a:pt x="15" y="16"/>
                    </a:cubicBezTo>
                    <a:cubicBezTo>
                      <a:pt x="16" y="17"/>
                      <a:pt x="18" y="19"/>
                      <a:pt x="18" y="20"/>
                    </a:cubicBezTo>
                    <a:cubicBezTo>
                      <a:pt x="19" y="20"/>
                      <a:pt x="20" y="20"/>
                      <a:pt x="22" y="21"/>
                    </a:cubicBezTo>
                    <a:cubicBezTo>
                      <a:pt x="24" y="22"/>
                      <a:pt x="26" y="24"/>
                      <a:pt x="28" y="26"/>
                    </a:cubicBezTo>
                    <a:cubicBezTo>
                      <a:pt x="26" y="22"/>
                      <a:pt x="25" y="14"/>
                      <a:pt x="22" y="11"/>
                    </a:cubicBezTo>
                    <a:cubicBezTo>
                      <a:pt x="22" y="11"/>
                      <a:pt x="19" y="10"/>
                      <a:pt x="18" y="9"/>
                    </a:cubicBezTo>
                    <a:cubicBezTo>
                      <a:pt x="14"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6" name="Freeform 1158">
                <a:extLst>
                  <a:ext uri="{FF2B5EF4-FFF2-40B4-BE49-F238E27FC236}">
                    <a16:creationId xmlns:a16="http://schemas.microsoft.com/office/drawing/2014/main" id="{DAFCE51C-F30B-4BE6-B27C-1A24DFDF5346}"/>
                  </a:ext>
                </a:extLst>
              </p:cNvPr>
              <p:cNvSpPr>
                <a:spLocks/>
              </p:cNvSpPr>
              <p:nvPr/>
            </p:nvSpPr>
            <p:spPr bwMode="auto">
              <a:xfrm>
                <a:off x="1911" y="213"/>
                <a:ext cx="12" cy="24"/>
              </a:xfrm>
              <a:custGeom>
                <a:avLst/>
                <a:gdLst>
                  <a:gd name="T0" fmla="*/ 0 w 5"/>
                  <a:gd name="T1" fmla="*/ 0 h 10"/>
                  <a:gd name="T2" fmla="*/ 1 w 5"/>
                  <a:gd name="T3" fmla="*/ 10 h 10"/>
                  <a:gd name="T4" fmla="*/ 4 w 5"/>
                  <a:gd name="T5" fmla="*/ 4 h 10"/>
                  <a:gd name="T6" fmla="*/ 5 w 5"/>
                  <a:gd name="T7" fmla="*/ 4 h 10"/>
                  <a:gd name="T8" fmla="*/ 3 w 5"/>
                  <a:gd name="T9" fmla="*/ 2 h 10"/>
                  <a:gd name="T10" fmla="*/ 3 w 5"/>
                  <a:gd name="T11" fmla="*/ 2 h 10"/>
                  <a:gd name="T12" fmla="*/ 0 w 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0" y="0"/>
                    </a:moveTo>
                    <a:cubicBezTo>
                      <a:pt x="0" y="3"/>
                      <a:pt x="1" y="7"/>
                      <a:pt x="1" y="10"/>
                    </a:cubicBezTo>
                    <a:cubicBezTo>
                      <a:pt x="4" y="8"/>
                      <a:pt x="5" y="6"/>
                      <a:pt x="4" y="4"/>
                    </a:cubicBezTo>
                    <a:cubicBezTo>
                      <a:pt x="5" y="4"/>
                      <a:pt x="5" y="4"/>
                      <a:pt x="5" y="4"/>
                    </a:cubicBezTo>
                    <a:cubicBezTo>
                      <a:pt x="4" y="3"/>
                      <a:pt x="3" y="3"/>
                      <a:pt x="3" y="2"/>
                    </a:cubicBezTo>
                    <a:cubicBezTo>
                      <a:pt x="3" y="2"/>
                      <a:pt x="3" y="2"/>
                      <a:pt x="3" y="2"/>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7" name="Freeform 1159">
                <a:extLst>
                  <a:ext uri="{FF2B5EF4-FFF2-40B4-BE49-F238E27FC236}">
                    <a16:creationId xmlns:a16="http://schemas.microsoft.com/office/drawing/2014/main" id="{FEFB2B85-B761-40B2-B93A-B4125F38B495}"/>
                  </a:ext>
                </a:extLst>
              </p:cNvPr>
              <p:cNvSpPr>
                <a:spLocks/>
              </p:cNvSpPr>
              <p:nvPr/>
            </p:nvSpPr>
            <p:spPr bwMode="auto">
              <a:xfrm>
                <a:off x="2239" y="402"/>
                <a:ext cx="7" cy="12"/>
              </a:xfrm>
              <a:custGeom>
                <a:avLst/>
                <a:gdLst>
                  <a:gd name="T0" fmla="*/ 0 w 3"/>
                  <a:gd name="T1" fmla="*/ 0 h 5"/>
                  <a:gd name="T2" fmla="*/ 2 w 3"/>
                  <a:gd name="T3" fmla="*/ 5 h 5"/>
                  <a:gd name="T4" fmla="*/ 0 w 3"/>
                  <a:gd name="T5" fmla="*/ 0 h 5"/>
                </a:gdLst>
                <a:ahLst/>
                <a:cxnLst>
                  <a:cxn ang="0">
                    <a:pos x="T0" y="T1"/>
                  </a:cxn>
                  <a:cxn ang="0">
                    <a:pos x="T2" y="T3"/>
                  </a:cxn>
                  <a:cxn ang="0">
                    <a:pos x="T4" y="T5"/>
                  </a:cxn>
                </a:cxnLst>
                <a:rect l="0" t="0" r="r" b="b"/>
                <a:pathLst>
                  <a:path w="3" h="5">
                    <a:moveTo>
                      <a:pt x="0" y="0"/>
                    </a:moveTo>
                    <a:cubicBezTo>
                      <a:pt x="0" y="2"/>
                      <a:pt x="1" y="4"/>
                      <a:pt x="2" y="5"/>
                    </a:cubicBezTo>
                    <a:cubicBezTo>
                      <a:pt x="3" y="3"/>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8" name="Freeform 1160">
                <a:extLst>
                  <a:ext uri="{FF2B5EF4-FFF2-40B4-BE49-F238E27FC236}">
                    <a16:creationId xmlns:a16="http://schemas.microsoft.com/office/drawing/2014/main" id="{25D8F208-E2D0-46BE-A0F2-CEF951F2F789}"/>
                  </a:ext>
                </a:extLst>
              </p:cNvPr>
              <p:cNvSpPr>
                <a:spLocks/>
              </p:cNvSpPr>
              <p:nvPr/>
            </p:nvSpPr>
            <p:spPr bwMode="auto">
              <a:xfrm>
                <a:off x="2076" y="282"/>
                <a:ext cx="85" cy="134"/>
              </a:xfrm>
              <a:custGeom>
                <a:avLst/>
                <a:gdLst>
                  <a:gd name="T0" fmla="*/ 26 w 36"/>
                  <a:gd name="T1" fmla="*/ 0 h 57"/>
                  <a:gd name="T2" fmla="*/ 24 w 36"/>
                  <a:gd name="T3" fmla="*/ 1 h 57"/>
                  <a:gd name="T4" fmla="*/ 10 w 36"/>
                  <a:gd name="T5" fmla="*/ 25 h 57"/>
                  <a:gd name="T6" fmla="*/ 8 w 36"/>
                  <a:gd name="T7" fmla="*/ 30 h 57"/>
                  <a:gd name="T8" fmla="*/ 8 w 36"/>
                  <a:gd name="T9" fmla="*/ 30 h 57"/>
                  <a:gd name="T10" fmla="*/ 7 w 36"/>
                  <a:gd name="T11" fmla="*/ 30 h 57"/>
                  <a:gd name="T12" fmla="*/ 6 w 36"/>
                  <a:gd name="T13" fmla="*/ 30 h 57"/>
                  <a:gd name="T14" fmla="*/ 6 w 36"/>
                  <a:gd name="T15" fmla="*/ 30 h 57"/>
                  <a:gd name="T16" fmla="*/ 4 w 36"/>
                  <a:gd name="T17" fmla="*/ 31 h 57"/>
                  <a:gd name="T18" fmla="*/ 8 w 36"/>
                  <a:gd name="T19" fmla="*/ 46 h 57"/>
                  <a:gd name="T20" fmla="*/ 14 w 36"/>
                  <a:gd name="T21" fmla="*/ 48 h 57"/>
                  <a:gd name="T22" fmla="*/ 16 w 36"/>
                  <a:gd name="T23" fmla="*/ 51 h 57"/>
                  <a:gd name="T24" fmla="*/ 21 w 36"/>
                  <a:gd name="T25" fmla="*/ 57 h 57"/>
                  <a:gd name="T26" fmla="*/ 22 w 36"/>
                  <a:gd name="T27" fmla="*/ 57 h 57"/>
                  <a:gd name="T28" fmla="*/ 23 w 36"/>
                  <a:gd name="T29" fmla="*/ 42 h 57"/>
                  <a:gd name="T30" fmla="*/ 28 w 36"/>
                  <a:gd name="T31" fmla="*/ 23 h 57"/>
                  <a:gd name="T32" fmla="*/ 36 w 36"/>
                  <a:gd name="T33" fmla="*/ 5 h 57"/>
                  <a:gd name="T34" fmla="*/ 35 w 36"/>
                  <a:gd name="T35" fmla="*/ 3 h 57"/>
                  <a:gd name="T36" fmla="*/ 31 w 36"/>
                  <a:gd name="T37" fmla="*/ 2 h 57"/>
                  <a:gd name="T38" fmla="*/ 26 w 36"/>
                  <a:gd name="T3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57">
                    <a:moveTo>
                      <a:pt x="26" y="0"/>
                    </a:moveTo>
                    <a:cubicBezTo>
                      <a:pt x="25" y="0"/>
                      <a:pt x="25" y="0"/>
                      <a:pt x="24" y="1"/>
                    </a:cubicBezTo>
                    <a:cubicBezTo>
                      <a:pt x="15" y="3"/>
                      <a:pt x="14" y="16"/>
                      <a:pt x="10" y="25"/>
                    </a:cubicBezTo>
                    <a:cubicBezTo>
                      <a:pt x="10" y="26"/>
                      <a:pt x="9" y="29"/>
                      <a:pt x="8" y="30"/>
                    </a:cubicBezTo>
                    <a:cubicBezTo>
                      <a:pt x="8" y="30"/>
                      <a:pt x="8" y="30"/>
                      <a:pt x="8" y="30"/>
                    </a:cubicBezTo>
                    <a:cubicBezTo>
                      <a:pt x="7" y="30"/>
                      <a:pt x="7" y="30"/>
                      <a:pt x="7" y="30"/>
                    </a:cubicBezTo>
                    <a:cubicBezTo>
                      <a:pt x="7" y="30"/>
                      <a:pt x="7" y="30"/>
                      <a:pt x="6" y="30"/>
                    </a:cubicBezTo>
                    <a:cubicBezTo>
                      <a:pt x="6" y="30"/>
                      <a:pt x="6" y="30"/>
                      <a:pt x="6" y="30"/>
                    </a:cubicBezTo>
                    <a:cubicBezTo>
                      <a:pt x="5" y="30"/>
                      <a:pt x="5" y="30"/>
                      <a:pt x="4" y="31"/>
                    </a:cubicBezTo>
                    <a:cubicBezTo>
                      <a:pt x="0" y="34"/>
                      <a:pt x="6" y="43"/>
                      <a:pt x="8" y="46"/>
                    </a:cubicBezTo>
                    <a:cubicBezTo>
                      <a:pt x="10" y="48"/>
                      <a:pt x="12" y="47"/>
                      <a:pt x="14" y="48"/>
                    </a:cubicBezTo>
                    <a:cubicBezTo>
                      <a:pt x="16" y="49"/>
                      <a:pt x="15" y="49"/>
                      <a:pt x="16" y="51"/>
                    </a:cubicBezTo>
                    <a:cubicBezTo>
                      <a:pt x="17" y="54"/>
                      <a:pt x="17" y="57"/>
                      <a:pt x="21" y="57"/>
                    </a:cubicBezTo>
                    <a:cubicBezTo>
                      <a:pt x="21" y="57"/>
                      <a:pt x="21" y="57"/>
                      <a:pt x="22" y="57"/>
                    </a:cubicBezTo>
                    <a:cubicBezTo>
                      <a:pt x="29" y="57"/>
                      <a:pt x="24" y="47"/>
                      <a:pt x="23" y="42"/>
                    </a:cubicBezTo>
                    <a:cubicBezTo>
                      <a:pt x="22" y="37"/>
                      <a:pt x="26" y="29"/>
                      <a:pt x="28" y="23"/>
                    </a:cubicBezTo>
                    <a:cubicBezTo>
                      <a:pt x="30" y="17"/>
                      <a:pt x="33" y="11"/>
                      <a:pt x="36" y="5"/>
                    </a:cubicBezTo>
                    <a:cubicBezTo>
                      <a:pt x="35" y="4"/>
                      <a:pt x="36" y="4"/>
                      <a:pt x="35" y="3"/>
                    </a:cubicBezTo>
                    <a:cubicBezTo>
                      <a:pt x="34" y="2"/>
                      <a:pt x="33" y="2"/>
                      <a:pt x="31" y="2"/>
                    </a:cubicBezTo>
                    <a:cubicBezTo>
                      <a:pt x="29" y="1"/>
                      <a:pt x="28"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9" name="Freeform 1161">
                <a:extLst>
                  <a:ext uri="{FF2B5EF4-FFF2-40B4-BE49-F238E27FC236}">
                    <a16:creationId xmlns:a16="http://schemas.microsoft.com/office/drawing/2014/main" id="{A7878BD1-D14E-48EF-BE7F-7D4C223C2741}"/>
                  </a:ext>
                </a:extLst>
              </p:cNvPr>
              <p:cNvSpPr>
                <a:spLocks/>
              </p:cNvSpPr>
              <p:nvPr/>
            </p:nvSpPr>
            <p:spPr bwMode="auto">
              <a:xfrm>
                <a:off x="2041" y="364"/>
                <a:ext cx="331" cy="293"/>
              </a:xfrm>
              <a:custGeom>
                <a:avLst/>
                <a:gdLst>
                  <a:gd name="T0" fmla="*/ 108 w 140"/>
                  <a:gd name="T1" fmla="*/ 17 h 124"/>
                  <a:gd name="T2" fmla="*/ 99 w 140"/>
                  <a:gd name="T3" fmla="*/ 21 h 124"/>
                  <a:gd name="T4" fmla="*/ 93 w 140"/>
                  <a:gd name="T5" fmla="*/ 26 h 124"/>
                  <a:gd name="T6" fmla="*/ 89 w 140"/>
                  <a:gd name="T7" fmla="*/ 23 h 124"/>
                  <a:gd name="T8" fmla="*/ 77 w 140"/>
                  <a:gd name="T9" fmla="*/ 35 h 124"/>
                  <a:gd name="T10" fmla="*/ 68 w 140"/>
                  <a:gd name="T11" fmla="*/ 45 h 124"/>
                  <a:gd name="T12" fmla="*/ 54 w 140"/>
                  <a:gd name="T13" fmla="*/ 53 h 124"/>
                  <a:gd name="T14" fmla="*/ 57 w 140"/>
                  <a:gd name="T15" fmla="*/ 36 h 124"/>
                  <a:gd name="T16" fmla="*/ 46 w 140"/>
                  <a:gd name="T17" fmla="*/ 32 h 124"/>
                  <a:gd name="T18" fmla="*/ 34 w 140"/>
                  <a:gd name="T19" fmla="*/ 42 h 124"/>
                  <a:gd name="T20" fmla="*/ 28 w 140"/>
                  <a:gd name="T21" fmla="*/ 49 h 124"/>
                  <a:gd name="T22" fmla="*/ 9 w 140"/>
                  <a:gd name="T23" fmla="*/ 65 h 124"/>
                  <a:gd name="T24" fmla="*/ 5 w 140"/>
                  <a:gd name="T25" fmla="*/ 84 h 124"/>
                  <a:gd name="T26" fmla="*/ 11 w 140"/>
                  <a:gd name="T27" fmla="*/ 82 h 124"/>
                  <a:gd name="T28" fmla="*/ 17 w 140"/>
                  <a:gd name="T29" fmla="*/ 71 h 124"/>
                  <a:gd name="T30" fmla="*/ 18 w 140"/>
                  <a:gd name="T31" fmla="*/ 65 h 124"/>
                  <a:gd name="T32" fmla="*/ 29 w 140"/>
                  <a:gd name="T33" fmla="*/ 63 h 124"/>
                  <a:gd name="T34" fmla="*/ 37 w 140"/>
                  <a:gd name="T35" fmla="*/ 62 h 124"/>
                  <a:gd name="T36" fmla="*/ 40 w 140"/>
                  <a:gd name="T37" fmla="*/ 65 h 124"/>
                  <a:gd name="T38" fmla="*/ 40 w 140"/>
                  <a:gd name="T39" fmla="*/ 68 h 124"/>
                  <a:gd name="T40" fmla="*/ 46 w 140"/>
                  <a:gd name="T41" fmla="*/ 71 h 124"/>
                  <a:gd name="T42" fmla="*/ 51 w 140"/>
                  <a:gd name="T43" fmla="*/ 58 h 124"/>
                  <a:gd name="T44" fmla="*/ 69 w 140"/>
                  <a:gd name="T45" fmla="*/ 75 h 124"/>
                  <a:gd name="T46" fmla="*/ 65 w 140"/>
                  <a:gd name="T47" fmla="*/ 94 h 124"/>
                  <a:gd name="T48" fmla="*/ 87 w 140"/>
                  <a:gd name="T49" fmla="*/ 113 h 124"/>
                  <a:gd name="T50" fmla="*/ 96 w 140"/>
                  <a:gd name="T51" fmla="*/ 113 h 124"/>
                  <a:gd name="T52" fmla="*/ 100 w 140"/>
                  <a:gd name="T53" fmla="*/ 108 h 124"/>
                  <a:gd name="T54" fmla="*/ 103 w 140"/>
                  <a:gd name="T55" fmla="*/ 124 h 124"/>
                  <a:gd name="T56" fmla="*/ 112 w 140"/>
                  <a:gd name="T57" fmla="*/ 113 h 124"/>
                  <a:gd name="T58" fmla="*/ 105 w 140"/>
                  <a:gd name="T59" fmla="*/ 93 h 124"/>
                  <a:gd name="T60" fmla="*/ 105 w 140"/>
                  <a:gd name="T61" fmla="*/ 88 h 124"/>
                  <a:gd name="T62" fmla="*/ 116 w 140"/>
                  <a:gd name="T63" fmla="*/ 72 h 124"/>
                  <a:gd name="T64" fmla="*/ 124 w 140"/>
                  <a:gd name="T65" fmla="*/ 86 h 124"/>
                  <a:gd name="T66" fmla="*/ 127 w 140"/>
                  <a:gd name="T67" fmla="*/ 103 h 124"/>
                  <a:gd name="T68" fmla="*/ 128 w 140"/>
                  <a:gd name="T69" fmla="*/ 85 h 124"/>
                  <a:gd name="T70" fmla="*/ 130 w 140"/>
                  <a:gd name="T71" fmla="*/ 86 h 124"/>
                  <a:gd name="T72" fmla="*/ 133 w 140"/>
                  <a:gd name="T73" fmla="*/ 85 h 124"/>
                  <a:gd name="T74" fmla="*/ 138 w 140"/>
                  <a:gd name="T75" fmla="*/ 76 h 124"/>
                  <a:gd name="T76" fmla="*/ 132 w 140"/>
                  <a:gd name="T77" fmla="*/ 56 h 124"/>
                  <a:gd name="T78" fmla="*/ 132 w 140"/>
                  <a:gd name="T79" fmla="*/ 47 h 124"/>
                  <a:gd name="T80" fmla="*/ 130 w 140"/>
                  <a:gd name="T81" fmla="*/ 37 h 124"/>
                  <a:gd name="T82" fmla="*/ 127 w 140"/>
                  <a:gd name="T83" fmla="*/ 38 h 124"/>
                  <a:gd name="T84" fmla="*/ 130 w 140"/>
                  <a:gd name="T85" fmla="*/ 30 h 124"/>
                  <a:gd name="T86" fmla="*/ 124 w 140"/>
                  <a:gd name="T87" fmla="*/ 16 h 124"/>
                  <a:gd name="T88" fmla="*/ 105 w 140"/>
                  <a:gd name="T8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24">
                    <a:moveTo>
                      <a:pt x="105" y="0"/>
                    </a:moveTo>
                    <a:cubicBezTo>
                      <a:pt x="106" y="6"/>
                      <a:pt x="107" y="11"/>
                      <a:pt x="108" y="17"/>
                    </a:cubicBezTo>
                    <a:cubicBezTo>
                      <a:pt x="108" y="19"/>
                      <a:pt x="108" y="22"/>
                      <a:pt x="108" y="23"/>
                    </a:cubicBezTo>
                    <a:cubicBezTo>
                      <a:pt x="105" y="23"/>
                      <a:pt x="102" y="22"/>
                      <a:pt x="99" y="21"/>
                    </a:cubicBezTo>
                    <a:cubicBezTo>
                      <a:pt x="98" y="25"/>
                      <a:pt x="98" y="27"/>
                      <a:pt x="97" y="27"/>
                    </a:cubicBezTo>
                    <a:cubicBezTo>
                      <a:pt x="96" y="27"/>
                      <a:pt x="95" y="27"/>
                      <a:pt x="93" y="26"/>
                    </a:cubicBezTo>
                    <a:cubicBezTo>
                      <a:pt x="92" y="25"/>
                      <a:pt x="90" y="23"/>
                      <a:pt x="89" y="23"/>
                    </a:cubicBezTo>
                    <a:cubicBezTo>
                      <a:pt x="89" y="23"/>
                      <a:pt x="89" y="23"/>
                      <a:pt x="89" y="23"/>
                    </a:cubicBezTo>
                    <a:cubicBezTo>
                      <a:pt x="85" y="24"/>
                      <a:pt x="86" y="35"/>
                      <a:pt x="85" y="38"/>
                    </a:cubicBezTo>
                    <a:cubicBezTo>
                      <a:pt x="84" y="38"/>
                      <a:pt x="77" y="35"/>
                      <a:pt x="77" y="35"/>
                    </a:cubicBezTo>
                    <a:cubicBezTo>
                      <a:pt x="77" y="35"/>
                      <a:pt x="77" y="35"/>
                      <a:pt x="77" y="35"/>
                    </a:cubicBezTo>
                    <a:cubicBezTo>
                      <a:pt x="74" y="39"/>
                      <a:pt x="72" y="43"/>
                      <a:pt x="68" y="45"/>
                    </a:cubicBezTo>
                    <a:cubicBezTo>
                      <a:pt x="66" y="47"/>
                      <a:pt x="58" y="53"/>
                      <a:pt x="55" y="53"/>
                    </a:cubicBezTo>
                    <a:cubicBezTo>
                      <a:pt x="54" y="53"/>
                      <a:pt x="54" y="53"/>
                      <a:pt x="54" y="53"/>
                    </a:cubicBezTo>
                    <a:cubicBezTo>
                      <a:pt x="57" y="51"/>
                      <a:pt x="59" y="50"/>
                      <a:pt x="60" y="47"/>
                    </a:cubicBezTo>
                    <a:cubicBezTo>
                      <a:pt x="60" y="44"/>
                      <a:pt x="59" y="38"/>
                      <a:pt x="57" y="36"/>
                    </a:cubicBezTo>
                    <a:cubicBezTo>
                      <a:pt x="56" y="35"/>
                      <a:pt x="56" y="35"/>
                      <a:pt x="54" y="35"/>
                    </a:cubicBezTo>
                    <a:cubicBezTo>
                      <a:pt x="50" y="35"/>
                      <a:pt x="49" y="33"/>
                      <a:pt x="46" y="32"/>
                    </a:cubicBezTo>
                    <a:cubicBezTo>
                      <a:pt x="46" y="32"/>
                      <a:pt x="46" y="32"/>
                      <a:pt x="47" y="32"/>
                    </a:cubicBezTo>
                    <a:cubicBezTo>
                      <a:pt x="41" y="36"/>
                      <a:pt x="37" y="37"/>
                      <a:pt x="34" y="42"/>
                    </a:cubicBezTo>
                    <a:cubicBezTo>
                      <a:pt x="34" y="43"/>
                      <a:pt x="33" y="47"/>
                      <a:pt x="32" y="49"/>
                    </a:cubicBezTo>
                    <a:cubicBezTo>
                      <a:pt x="31" y="49"/>
                      <a:pt x="29" y="49"/>
                      <a:pt x="28" y="49"/>
                    </a:cubicBezTo>
                    <a:cubicBezTo>
                      <a:pt x="21" y="51"/>
                      <a:pt x="14" y="52"/>
                      <a:pt x="10" y="58"/>
                    </a:cubicBezTo>
                    <a:cubicBezTo>
                      <a:pt x="9" y="60"/>
                      <a:pt x="8" y="63"/>
                      <a:pt x="9" y="65"/>
                    </a:cubicBezTo>
                    <a:cubicBezTo>
                      <a:pt x="8" y="66"/>
                      <a:pt x="8" y="67"/>
                      <a:pt x="8" y="67"/>
                    </a:cubicBezTo>
                    <a:cubicBezTo>
                      <a:pt x="6" y="70"/>
                      <a:pt x="0" y="81"/>
                      <a:pt x="5" y="84"/>
                    </a:cubicBezTo>
                    <a:cubicBezTo>
                      <a:pt x="7" y="84"/>
                      <a:pt x="8" y="85"/>
                      <a:pt x="8" y="85"/>
                    </a:cubicBezTo>
                    <a:cubicBezTo>
                      <a:pt x="9" y="85"/>
                      <a:pt x="10" y="84"/>
                      <a:pt x="11" y="82"/>
                    </a:cubicBezTo>
                    <a:cubicBezTo>
                      <a:pt x="12" y="81"/>
                      <a:pt x="13" y="79"/>
                      <a:pt x="13" y="79"/>
                    </a:cubicBezTo>
                    <a:cubicBezTo>
                      <a:pt x="14" y="76"/>
                      <a:pt x="13" y="73"/>
                      <a:pt x="17" y="71"/>
                    </a:cubicBezTo>
                    <a:cubicBezTo>
                      <a:pt x="13" y="70"/>
                      <a:pt x="19" y="66"/>
                      <a:pt x="20" y="65"/>
                    </a:cubicBezTo>
                    <a:cubicBezTo>
                      <a:pt x="20" y="65"/>
                      <a:pt x="19" y="65"/>
                      <a:pt x="18" y="65"/>
                    </a:cubicBezTo>
                    <a:cubicBezTo>
                      <a:pt x="20" y="63"/>
                      <a:pt x="22" y="61"/>
                      <a:pt x="24" y="61"/>
                    </a:cubicBezTo>
                    <a:cubicBezTo>
                      <a:pt x="26" y="61"/>
                      <a:pt x="27" y="61"/>
                      <a:pt x="29" y="63"/>
                    </a:cubicBezTo>
                    <a:cubicBezTo>
                      <a:pt x="31" y="66"/>
                      <a:pt x="28" y="68"/>
                      <a:pt x="29" y="69"/>
                    </a:cubicBezTo>
                    <a:cubicBezTo>
                      <a:pt x="32" y="68"/>
                      <a:pt x="34" y="64"/>
                      <a:pt x="37" y="62"/>
                    </a:cubicBezTo>
                    <a:cubicBezTo>
                      <a:pt x="37" y="62"/>
                      <a:pt x="38" y="62"/>
                      <a:pt x="38" y="62"/>
                    </a:cubicBezTo>
                    <a:cubicBezTo>
                      <a:pt x="39" y="62"/>
                      <a:pt x="40" y="63"/>
                      <a:pt x="40" y="65"/>
                    </a:cubicBezTo>
                    <a:cubicBezTo>
                      <a:pt x="40" y="66"/>
                      <a:pt x="37" y="65"/>
                      <a:pt x="38" y="67"/>
                    </a:cubicBezTo>
                    <a:cubicBezTo>
                      <a:pt x="39" y="68"/>
                      <a:pt x="39" y="68"/>
                      <a:pt x="40" y="68"/>
                    </a:cubicBezTo>
                    <a:cubicBezTo>
                      <a:pt x="41" y="68"/>
                      <a:pt x="43" y="68"/>
                      <a:pt x="43" y="67"/>
                    </a:cubicBezTo>
                    <a:cubicBezTo>
                      <a:pt x="43" y="69"/>
                      <a:pt x="45" y="70"/>
                      <a:pt x="46" y="71"/>
                    </a:cubicBezTo>
                    <a:cubicBezTo>
                      <a:pt x="47" y="67"/>
                      <a:pt x="43" y="64"/>
                      <a:pt x="47" y="59"/>
                    </a:cubicBezTo>
                    <a:cubicBezTo>
                      <a:pt x="48" y="58"/>
                      <a:pt x="50" y="58"/>
                      <a:pt x="51" y="58"/>
                    </a:cubicBezTo>
                    <a:cubicBezTo>
                      <a:pt x="57" y="58"/>
                      <a:pt x="64" y="65"/>
                      <a:pt x="67" y="68"/>
                    </a:cubicBezTo>
                    <a:cubicBezTo>
                      <a:pt x="70" y="71"/>
                      <a:pt x="72" y="70"/>
                      <a:pt x="69" y="75"/>
                    </a:cubicBezTo>
                    <a:cubicBezTo>
                      <a:pt x="68" y="76"/>
                      <a:pt x="66" y="77"/>
                      <a:pt x="65" y="78"/>
                    </a:cubicBezTo>
                    <a:cubicBezTo>
                      <a:pt x="62" y="83"/>
                      <a:pt x="65" y="89"/>
                      <a:pt x="65" y="94"/>
                    </a:cubicBezTo>
                    <a:cubicBezTo>
                      <a:pt x="65" y="96"/>
                      <a:pt x="64" y="98"/>
                      <a:pt x="66" y="100"/>
                    </a:cubicBezTo>
                    <a:cubicBezTo>
                      <a:pt x="72" y="107"/>
                      <a:pt x="78" y="109"/>
                      <a:pt x="87" y="113"/>
                    </a:cubicBezTo>
                    <a:cubicBezTo>
                      <a:pt x="89" y="114"/>
                      <a:pt x="91" y="115"/>
                      <a:pt x="93" y="115"/>
                    </a:cubicBezTo>
                    <a:cubicBezTo>
                      <a:pt x="94" y="115"/>
                      <a:pt x="95" y="115"/>
                      <a:pt x="96" y="113"/>
                    </a:cubicBezTo>
                    <a:cubicBezTo>
                      <a:pt x="97" y="112"/>
                      <a:pt x="97" y="108"/>
                      <a:pt x="99" y="108"/>
                    </a:cubicBezTo>
                    <a:cubicBezTo>
                      <a:pt x="99" y="108"/>
                      <a:pt x="100" y="108"/>
                      <a:pt x="100" y="108"/>
                    </a:cubicBezTo>
                    <a:cubicBezTo>
                      <a:pt x="100" y="114"/>
                      <a:pt x="97" y="116"/>
                      <a:pt x="100" y="121"/>
                    </a:cubicBezTo>
                    <a:cubicBezTo>
                      <a:pt x="101" y="123"/>
                      <a:pt x="102" y="124"/>
                      <a:pt x="103" y="124"/>
                    </a:cubicBezTo>
                    <a:cubicBezTo>
                      <a:pt x="104" y="124"/>
                      <a:pt x="105" y="122"/>
                      <a:pt x="107" y="120"/>
                    </a:cubicBezTo>
                    <a:cubicBezTo>
                      <a:pt x="108" y="118"/>
                      <a:pt x="111" y="115"/>
                      <a:pt x="112" y="113"/>
                    </a:cubicBezTo>
                    <a:cubicBezTo>
                      <a:pt x="114" y="109"/>
                      <a:pt x="111" y="99"/>
                      <a:pt x="108" y="96"/>
                    </a:cubicBezTo>
                    <a:cubicBezTo>
                      <a:pt x="108" y="95"/>
                      <a:pt x="106" y="94"/>
                      <a:pt x="105" y="93"/>
                    </a:cubicBezTo>
                    <a:cubicBezTo>
                      <a:pt x="105" y="94"/>
                      <a:pt x="105" y="94"/>
                      <a:pt x="105" y="94"/>
                    </a:cubicBezTo>
                    <a:cubicBezTo>
                      <a:pt x="104" y="94"/>
                      <a:pt x="105" y="89"/>
                      <a:pt x="105" y="88"/>
                    </a:cubicBezTo>
                    <a:cubicBezTo>
                      <a:pt x="107" y="85"/>
                      <a:pt x="111" y="73"/>
                      <a:pt x="115" y="72"/>
                    </a:cubicBezTo>
                    <a:cubicBezTo>
                      <a:pt x="116" y="72"/>
                      <a:pt x="116" y="72"/>
                      <a:pt x="116" y="72"/>
                    </a:cubicBezTo>
                    <a:cubicBezTo>
                      <a:pt x="119" y="72"/>
                      <a:pt x="120" y="78"/>
                      <a:pt x="121" y="81"/>
                    </a:cubicBezTo>
                    <a:cubicBezTo>
                      <a:pt x="122" y="84"/>
                      <a:pt x="123" y="85"/>
                      <a:pt x="124" y="86"/>
                    </a:cubicBezTo>
                    <a:cubicBezTo>
                      <a:pt x="125" y="89"/>
                      <a:pt x="124" y="93"/>
                      <a:pt x="124" y="96"/>
                    </a:cubicBezTo>
                    <a:cubicBezTo>
                      <a:pt x="125" y="99"/>
                      <a:pt x="128" y="100"/>
                      <a:pt x="127" y="103"/>
                    </a:cubicBezTo>
                    <a:cubicBezTo>
                      <a:pt x="128" y="99"/>
                      <a:pt x="127" y="94"/>
                      <a:pt x="127" y="89"/>
                    </a:cubicBezTo>
                    <a:cubicBezTo>
                      <a:pt x="127" y="88"/>
                      <a:pt x="126" y="85"/>
                      <a:pt x="128" y="85"/>
                    </a:cubicBezTo>
                    <a:cubicBezTo>
                      <a:pt x="128" y="85"/>
                      <a:pt x="129" y="85"/>
                      <a:pt x="129" y="85"/>
                    </a:cubicBezTo>
                    <a:cubicBezTo>
                      <a:pt x="130" y="85"/>
                      <a:pt x="129" y="86"/>
                      <a:pt x="130" y="86"/>
                    </a:cubicBezTo>
                    <a:cubicBezTo>
                      <a:pt x="131" y="86"/>
                      <a:pt x="131" y="88"/>
                      <a:pt x="132" y="88"/>
                    </a:cubicBezTo>
                    <a:cubicBezTo>
                      <a:pt x="132" y="88"/>
                      <a:pt x="132" y="87"/>
                      <a:pt x="133" y="85"/>
                    </a:cubicBezTo>
                    <a:cubicBezTo>
                      <a:pt x="133" y="83"/>
                      <a:pt x="135" y="83"/>
                      <a:pt x="135" y="82"/>
                    </a:cubicBezTo>
                    <a:cubicBezTo>
                      <a:pt x="136" y="81"/>
                      <a:pt x="138" y="77"/>
                      <a:pt x="138" y="76"/>
                    </a:cubicBezTo>
                    <a:cubicBezTo>
                      <a:pt x="140" y="72"/>
                      <a:pt x="139" y="67"/>
                      <a:pt x="138" y="63"/>
                    </a:cubicBezTo>
                    <a:cubicBezTo>
                      <a:pt x="138" y="60"/>
                      <a:pt x="135" y="58"/>
                      <a:pt x="132" y="56"/>
                    </a:cubicBezTo>
                    <a:cubicBezTo>
                      <a:pt x="136" y="53"/>
                      <a:pt x="134" y="49"/>
                      <a:pt x="135" y="46"/>
                    </a:cubicBezTo>
                    <a:cubicBezTo>
                      <a:pt x="134" y="47"/>
                      <a:pt x="133" y="47"/>
                      <a:pt x="132" y="47"/>
                    </a:cubicBezTo>
                    <a:cubicBezTo>
                      <a:pt x="130" y="47"/>
                      <a:pt x="134" y="43"/>
                      <a:pt x="133" y="39"/>
                    </a:cubicBezTo>
                    <a:cubicBezTo>
                      <a:pt x="133" y="38"/>
                      <a:pt x="131" y="37"/>
                      <a:pt x="130" y="37"/>
                    </a:cubicBezTo>
                    <a:cubicBezTo>
                      <a:pt x="129" y="37"/>
                      <a:pt x="129" y="37"/>
                      <a:pt x="128" y="37"/>
                    </a:cubicBezTo>
                    <a:cubicBezTo>
                      <a:pt x="128" y="38"/>
                      <a:pt x="127" y="38"/>
                      <a:pt x="127" y="38"/>
                    </a:cubicBezTo>
                    <a:cubicBezTo>
                      <a:pt x="126" y="38"/>
                      <a:pt x="126" y="37"/>
                      <a:pt x="126" y="37"/>
                    </a:cubicBezTo>
                    <a:cubicBezTo>
                      <a:pt x="123" y="34"/>
                      <a:pt x="130" y="32"/>
                      <a:pt x="130" y="30"/>
                    </a:cubicBezTo>
                    <a:cubicBezTo>
                      <a:pt x="133" y="25"/>
                      <a:pt x="128" y="20"/>
                      <a:pt x="128" y="15"/>
                    </a:cubicBezTo>
                    <a:cubicBezTo>
                      <a:pt x="126" y="16"/>
                      <a:pt x="125" y="16"/>
                      <a:pt x="124" y="16"/>
                    </a:cubicBezTo>
                    <a:cubicBezTo>
                      <a:pt x="123" y="16"/>
                      <a:pt x="122" y="14"/>
                      <a:pt x="120" y="11"/>
                    </a:cubicBezTo>
                    <a:cubicBezTo>
                      <a:pt x="118" y="6"/>
                      <a:pt x="110" y="3"/>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0" name="Freeform 1162">
                <a:extLst>
                  <a:ext uri="{FF2B5EF4-FFF2-40B4-BE49-F238E27FC236}">
                    <a16:creationId xmlns:a16="http://schemas.microsoft.com/office/drawing/2014/main" id="{D09C483C-4C60-4125-B33E-395756DB9536}"/>
                  </a:ext>
                </a:extLst>
              </p:cNvPr>
              <p:cNvSpPr>
                <a:spLocks/>
              </p:cNvSpPr>
              <p:nvPr/>
            </p:nvSpPr>
            <p:spPr bwMode="auto">
              <a:xfrm>
                <a:off x="2083" y="178"/>
                <a:ext cx="19" cy="16"/>
              </a:xfrm>
              <a:custGeom>
                <a:avLst/>
                <a:gdLst>
                  <a:gd name="T0" fmla="*/ 4 w 8"/>
                  <a:gd name="T1" fmla="*/ 0 h 7"/>
                  <a:gd name="T2" fmla="*/ 0 w 8"/>
                  <a:gd name="T3" fmla="*/ 1 h 7"/>
                  <a:gd name="T4" fmla="*/ 6 w 8"/>
                  <a:gd name="T5" fmla="*/ 7 h 7"/>
                  <a:gd name="T6" fmla="*/ 6 w 8"/>
                  <a:gd name="T7" fmla="*/ 0 h 7"/>
                  <a:gd name="T8" fmla="*/ 4 w 8"/>
                  <a:gd name="T9" fmla="*/ 0 h 7"/>
                </a:gdLst>
                <a:ahLst/>
                <a:cxnLst>
                  <a:cxn ang="0">
                    <a:pos x="T0" y="T1"/>
                  </a:cxn>
                  <a:cxn ang="0">
                    <a:pos x="T2" y="T3"/>
                  </a:cxn>
                  <a:cxn ang="0">
                    <a:pos x="T4" y="T5"/>
                  </a:cxn>
                  <a:cxn ang="0">
                    <a:pos x="T6" y="T7"/>
                  </a:cxn>
                  <a:cxn ang="0">
                    <a:pos x="T8" y="T9"/>
                  </a:cxn>
                </a:cxnLst>
                <a:rect l="0" t="0" r="r" b="b"/>
                <a:pathLst>
                  <a:path w="8" h="7">
                    <a:moveTo>
                      <a:pt x="4" y="0"/>
                    </a:moveTo>
                    <a:cubicBezTo>
                      <a:pt x="3" y="0"/>
                      <a:pt x="0" y="0"/>
                      <a:pt x="0" y="1"/>
                    </a:cubicBezTo>
                    <a:cubicBezTo>
                      <a:pt x="0" y="2"/>
                      <a:pt x="6" y="6"/>
                      <a:pt x="6" y="7"/>
                    </a:cubicBezTo>
                    <a:cubicBezTo>
                      <a:pt x="7" y="4"/>
                      <a:pt x="8" y="1"/>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1" name="Freeform 1163">
                <a:extLst>
                  <a:ext uri="{FF2B5EF4-FFF2-40B4-BE49-F238E27FC236}">
                    <a16:creationId xmlns:a16="http://schemas.microsoft.com/office/drawing/2014/main" id="{B6AC7BDC-BAE9-41CD-87FE-7E982D619402}"/>
                  </a:ext>
                </a:extLst>
              </p:cNvPr>
              <p:cNvSpPr>
                <a:spLocks/>
              </p:cNvSpPr>
              <p:nvPr/>
            </p:nvSpPr>
            <p:spPr bwMode="auto">
              <a:xfrm>
                <a:off x="2036" y="0"/>
                <a:ext cx="26" cy="29"/>
              </a:xfrm>
              <a:custGeom>
                <a:avLst/>
                <a:gdLst>
                  <a:gd name="T0" fmla="*/ 8 w 11"/>
                  <a:gd name="T1" fmla="*/ 0 h 12"/>
                  <a:gd name="T2" fmla="*/ 4 w 11"/>
                  <a:gd name="T3" fmla="*/ 0 h 12"/>
                  <a:gd name="T4" fmla="*/ 6 w 11"/>
                  <a:gd name="T5" fmla="*/ 12 h 12"/>
                  <a:gd name="T6" fmla="*/ 7 w 11"/>
                  <a:gd name="T7" fmla="*/ 5 h 12"/>
                  <a:gd name="T8" fmla="*/ 8 w 11"/>
                  <a:gd name="T9" fmla="*/ 2 h 12"/>
                  <a:gd name="T10" fmla="*/ 8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8" y="0"/>
                    </a:moveTo>
                    <a:cubicBezTo>
                      <a:pt x="4" y="0"/>
                      <a:pt x="4" y="0"/>
                      <a:pt x="4" y="0"/>
                    </a:cubicBezTo>
                    <a:cubicBezTo>
                      <a:pt x="0" y="2"/>
                      <a:pt x="5" y="9"/>
                      <a:pt x="6" y="12"/>
                    </a:cubicBezTo>
                    <a:cubicBezTo>
                      <a:pt x="11" y="8"/>
                      <a:pt x="7" y="8"/>
                      <a:pt x="7" y="5"/>
                    </a:cubicBezTo>
                    <a:cubicBezTo>
                      <a:pt x="7" y="4"/>
                      <a:pt x="8" y="3"/>
                      <a:pt x="8" y="2"/>
                    </a:cubicBezTo>
                    <a:cubicBezTo>
                      <a:pt x="8" y="2"/>
                      <a:pt x="9"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2" name="Freeform 1164">
                <a:extLst>
                  <a:ext uri="{FF2B5EF4-FFF2-40B4-BE49-F238E27FC236}">
                    <a16:creationId xmlns:a16="http://schemas.microsoft.com/office/drawing/2014/main" id="{7AC22E94-7223-4AB6-AF26-884D67C3664C}"/>
                  </a:ext>
                </a:extLst>
              </p:cNvPr>
              <p:cNvSpPr>
                <a:spLocks noEditPoints="1"/>
              </p:cNvSpPr>
              <p:nvPr/>
            </p:nvSpPr>
            <p:spPr bwMode="auto">
              <a:xfrm>
                <a:off x="1880" y="702"/>
                <a:ext cx="0" cy="5"/>
              </a:xfrm>
              <a:custGeom>
                <a:avLst/>
                <a:gdLst>
                  <a:gd name="T0" fmla="*/ 2 h 2"/>
                  <a:gd name="T1" fmla="*/ 2 h 2"/>
                  <a:gd name="T2" fmla="*/ 2 h 2"/>
                  <a:gd name="T3" fmla="*/ 0 h 2"/>
                  <a:gd name="T4" fmla="*/ 2 h 2"/>
                  <a:gd name="T5" fmla="*/ 0 h 2"/>
                </a:gdLst>
                <a:ahLst/>
                <a:cxnLst>
                  <a:cxn ang="0">
                    <a:pos x="0" y="T0"/>
                  </a:cxn>
                  <a:cxn ang="0">
                    <a:pos x="0" y="T1"/>
                  </a:cxn>
                  <a:cxn ang="0">
                    <a:pos x="0" y="T2"/>
                  </a:cxn>
                  <a:cxn ang="0">
                    <a:pos x="0" y="T3"/>
                  </a:cxn>
                  <a:cxn ang="0">
                    <a:pos x="0" y="T4"/>
                  </a:cxn>
                  <a:cxn ang="0">
                    <a:pos x="0" y="T5"/>
                  </a:cxn>
                </a:cxnLst>
                <a:rect l="0" t="0" r="r" b="b"/>
                <a:pathLst>
                  <a:path h="2">
                    <a:moveTo>
                      <a:pt x="0" y="2"/>
                    </a:moveTo>
                    <a:cubicBezTo>
                      <a:pt x="0" y="2"/>
                      <a:pt x="0" y="2"/>
                      <a:pt x="0" y="2"/>
                    </a:cubicBezTo>
                    <a:cubicBezTo>
                      <a:pt x="0" y="2"/>
                      <a:pt x="0" y="2"/>
                      <a:pt x="0" y="2"/>
                    </a:cubicBezTo>
                    <a:moveTo>
                      <a:pt x="0" y="0"/>
                    </a:moveTo>
                    <a:cubicBezTo>
                      <a:pt x="0" y="1"/>
                      <a:pt x="0" y="1"/>
                      <a:pt x="0" y="2"/>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3" name="Freeform 1165">
                <a:extLst>
                  <a:ext uri="{FF2B5EF4-FFF2-40B4-BE49-F238E27FC236}">
                    <a16:creationId xmlns:a16="http://schemas.microsoft.com/office/drawing/2014/main" id="{EF2E2F10-6163-4288-857E-8CEEC8B622A5}"/>
                  </a:ext>
                </a:extLst>
              </p:cNvPr>
              <p:cNvSpPr>
                <a:spLocks/>
              </p:cNvSpPr>
              <p:nvPr/>
            </p:nvSpPr>
            <p:spPr bwMode="auto">
              <a:xfrm>
                <a:off x="2086" y="298"/>
                <a:ext cx="16" cy="26"/>
              </a:xfrm>
              <a:custGeom>
                <a:avLst/>
                <a:gdLst>
                  <a:gd name="T0" fmla="*/ 6 w 7"/>
                  <a:gd name="T1" fmla="*/ 0 h 11"/>
                  <a:gd name="T2" fmla="*/ 2 w 7"/>
                  <a:gd name="T3" fmla="*/ 6 h 11"/>
                  <a:gd name="T4" fmla="*/ 2 w 7"/>
                  <a:gd name="T5" fmla="*/ 11 h 11"/>
                  <a:gd name="T6" fmla="*/ 6 w 7"/>
                  <a:gd name="T7" fmla="*/ 0 h 11"/>
                </a:gdLst>
                <a:ahLst/>
                <a:cxnLst>
                  <a:cxn ang="0">
                    <a:pos x="T0" y="T1"/>
                  </a:cxn>
                  <a:cxn ang="0">
                    <a:pos x="T2" y="T3"/>
                  </a:cxn>
                  <a:cxn ang="0">
                    <a:pos x="T4" y="T5"/>
                  </a:cxn>
                  <a:cxn ang="0">
                    <a:pos x="T6" y="T7"/>
                  </a:cxn>
                </a:cxnLst>
                <a:rect l="0" t="0" r="r" b="b"/>
                <a:pathLst>
                  <a:path w="7" h="11">
                    <a:moveTo>
                      <a:pt x="6" y="0"/>
                    </a:moveTo>
                    <a:cubicBezTo>
                      <a:pt x="5" y="2"/>
                      <a:pt x="1" y="4"/>
                      <a:pt x="2" y="6"/>
                    </a:cubicBezTo>
                    <a:cubicBezTo>
                      <a:pt x="0" y="8"/>
                      <a:pt x="1" y="9"/>
                      <a:pt x="2" y="11"/>
                    </a:cubicBezTo>
                    <a:cubicBezTo>
                      <a:pt x="5" y="7"/>
                      <a:pt x="7" y="5"/>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4" name="Freeform 1166">
                <a:extLst>
                  <a:ext uri="{FF2B5EF4-FFF2-40B4-BE49-F238E27FC236}">
                    <a16:creationId xmlns:a16="http://schemas.microsoft.com/office/drawing/2014/main" id="{9C3F13F9-2735-4A0E-9AE8-BD76B031C325}"/>
                  </a:ext>
                </a:extLst>
              </p:cNvPr>
              <p:cNvSpPr>
                <a:spLocks/>
              </p:cNvSpPr>
              <p:nvPr/>
            </p:nvSpPr>
            <p:spPr bwMode="auto">
              <a:xfrm>
                <a:off x="2322" y="348"/>
                <a:ext cx="19" cy="21"/>
              </a:xfrm>
              <a:custGeom>
                <a:avLst/>
                <a:gdLst>
                  <a:gd name="T0" fmla="*/ 4 w 8"/>
                  <a:gd name="T1" fmla="*/ 0 h 9"/>
                  <a:gd name="T2" fmla="*/ 4 w 8"/>
                  <a:gd name="T3" fmla="*/ 9 h 9"/>
                  <a:gd name="T4" fmla="*/ 8 w 8"/>
                  <a:gd name="T5" fmla="*/ 7 h 9"/>
                  <a:gd name="T6" fmla="*/ 4 w 8"/>
                  <a:gd name="T7" fmla="*/ 0 h 9"/>
                </a:gdLst>
                <a:ahLst/>
                <a:cxnLst>
                  <a:cxn ang="0">
                    <a:pos x="T0" y="T1"/>
                  </a:cxn>
                  <a:cxn ang="0">
                    <a:pos x="T2" y="T3"/>
                  </a:cxn>
                  <a:cxn ang="0">
                    <a:pos x="T4" y="T5"/>
                  </a:cxn>
                  <a:cxn ang="0">
                    <a:pos x="T6" y="T7"/>
                  </a:cxn>
                </a:cxnLst>
                <a:rect l="0" t="0" r="r" b="b"/>
                <a:pathLst>
                  <a:path w="8" h="9">
                    <a:moveTo>
                      <a:pt x="4" y="0"/>
                    </a:moveTo>
                    <a:cubicBezTo>
                      <a:pt x="3" y="3"/>
                      <a:pt x="0" y="6"/>
                      <a:pt x="4" y="9"/>
                    </a:cubicBezTo>
                    <a:cubicBezTo>
                      <a:pt x="5" y="8"/>
                      <a:pt x="7" y="8"/>
                      <a:pt x="8" y="7"/>
                    </a:cubicBezTo>
                    <a:cubicBezTo>
                      <a:pt x="6" y="5"/>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5" name="Freeform 1167">
                <a:extLst>
                  <a:ext uri="{FF2B5EF4-FFF2-40B4-BE49-F238E27FC236}">
                    <a16:creationId xmlns:a16="http://schemas.microsoft.com/office/drawing/2014/main" id="{E93F0FA8-E58D-47C0-A52A-1828B2127CC3}"/>
                  </a:ext>
                </a:extLst>
              </p:cNvPr>
              <p:cNvSpPr>
                <a:spLocks/>
              </p:cNvSpPr>
              <p:nvPr/>
            </p:nvSpPr>
            <p:spPr bwMode="auto">
              <a:xfrm>
                <a:off x="2154" y="400"/>
                <a:ext cx="19" cy="14"/>
              </a:xfrm>
              <a:custGeom>
                <a:avLst/>
                <a:gdLst>
                  <a:gd name="T0" fmla="*/ 4 w 8"/>
                  <a:gd name="T1" fmla="*/ 0 h 6"/>
                  <a:gd name="T2" fmla="*/ 0 w 8"/>
                  <a:gd name="T3" fmla="*/ 3 h 6"/>
                  <a:gd name="T4" fmla="*/ 4 w 8"/>
                  <a:gd name="T5" fmla="*/ 6 h 6"/>
                  <a:gd name="T6" fmla="*/ 4 w 8"/>
                  <a:gd name="T7" fmla="*/ 0 h 6"/>
                </a:gdLst>
                <a:ahLst/>
                <a:cxnLst>
                  <a:cxn ang="0">
                    <a:pos x="T0" y="T1"/>
                  </a:cxn>
                  <a:cxn ang="0">
                    <a:pos x="T2" y="T3"/>
                  </a:cxn>
                  <a:cxn ang="0">
                    <a:pos x="T4" y="T5"/>
                  </a:cxn>
                  <a:cxn ang="0">
                    <a:pos x="T6" y="T7"/>
                  </a:cxn>
                </a:cxnLst>
                <a:rect l="0" t="0" r="r" b="b"/>
                <a:pathLst>
                  <a:path w="8" h="6">
                    <a:moveTo>
                      <a:pt x="4" y="0"/>
                    </a:moveTo>
                    <a:cubicBezTo>
                      <a:pt x="4" y="2"/>
                      <a:pt x="0" y="2"/>
                      <a:pt x="0" y="3"/>
                    </a:cubicBezTo>
                    <a:cubicBezTo>
                      <a:pt x="0" y="4"/>
                      <a:pt x="3" y="6"/>
                      <a:pt x="4" y="6"/>
                    </a:cubicBezTo>
                    <a:cubicBezTo>
                      <a:pt x="8" y="5"/>
                      <a:pt x="7"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6" name="Freeform 1168">
                <a:extLst>
                  <a:ext uri="{FF2B5EF4-FFF2-40B4-BE49-F238E27FC236}">
                    <a16:creationId xmlns:a16="http://schemas.microsoft.com/office/drawing/2014/main" id="{82D3E70B-BAE6-4D22-B59A-0DEF5CD56708}"/>
                  </a:ext>
                </a:extLst>
              </p:cNvPr>
              <p:cNvSpPr>
                <a:spLocks/>
              </p:cNvSpPr>
              <p:nvPr/>
            </p:nvSpPr>
            <p:spPr bwMode="auto">
              <a:xfrm>
                <a:off x="1708" y="483"/>
                <a:ext cx="11" cy="21"/>
              </a:xfrm>
              <a:custGeom>
                <a:avLst/>
                <a:gdLst>
                  <a:gd name="T0" fmla="*/ 2 w 5"/>
                  <a:gd name="T1" fmla="*/ 0 h 9"/>
                  <a:gd name="T2" fmla="*/ 2 w 5"/>
                  <a:gd name="T3" fmla="*/ 9 h 9"/>
                  <a:gd name="T4" fmla="*/ 3 w 5"/>
                  <a:gd name="T5" fmla="*/ 3 h 9"/>
                  <a:gd name="T6" fmla="*/ 4 w 5"/>
                  <a:gd name="T7" fmla="*/ 1 h 9"/>
                  <a:gd name="T8" fmla="*/ 2 w 5"/>
                  <a:gd name="T9" fmla="*/ 0 h 9"/>
                </a:gdLst>
                <a:ahLst/>
                <a:cxnLst>
                  <a:cxn ang="0">
                    <a:pos x="T0" y="T1"/>
                  </a:cxn>
                  <a:cxn ang="0">
                    <a:pos x="T2" y="T3"/>
                  </a:cxn>
                  <a:cxn ang="0">
                    <a:pos x="T4" y="T5"/>
                  </a:cxn>
                  <a:cxn ang="0">
                    <a:pos x="T6" y="T7"/>
                  </a:cxn>
                  <a:cxn ang="0">
                    <a:pos x="T8" y="T9"/>
                  </a:cxn>
                </a:cxnLst>
                <a:rect l="0" t="0" r="r" b="b"/>
                <a:pathLst>
                  <a:path w="5" h="9">
                    <a:moveTo>
                      <a:pt x="2" y="0"/>
                    </a:moveTo>
                    <a:cubicBezTo>
                      <a:pt x="0" y="0"/>
                      <a:pt x="2" y="7"/>
                      <a:pt x="2" y="9"/>
                    </a:cubicBezTo>
                    <a:cubicBezTo>
                      <a:pt x="3" y="6"/>
                      <a:pt x="5" y="5"/>
                      <a:pt x="3" y="3"/>
                    </a:cubicBezTo>
                    <a:cubicBezTo>
                      <a:pt x="3" y="3"/>
                      <a:pt x="4" y="1"/>
                      <a:pt x="4" y="1"/>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7" name="Freeform 1169">
                <a:extLst>
                  <a:ext uri="{FF2B5EF4-FFF2-40B4-BE49-F238E27FC236}">
                    <a16:creationId xmlns:a16="http://schemas.microsoft.com/office/drawing/2014/main" id="{75E415CB-703E-4734-93A0-1C86A200190C}"/>
                  </a:ext>
                </a:extLst>
              </p:cNvPr>
              <p:cNvSpPr>
                <a:spLocks/>
              </p:cNvSpPr>
              <p:nvPr/>
            </p:nvSpPr>
            <p:spPr bwMode="auto">
              <a:xfrm>
                <a:off x="2043" y="575"/>
                <a:ext cx="38" cy="23"/>
              </a:xfrm>
              <a:custGeom>
                <a:avLst/>
                <a:gdLst>
                  <a:gd name="T0" fmla="*/ 7 w 16"/>
                  <a:gd name="T1" fmla="*/ 0 h 10"/>
                  <a:gd name="T2" fmla="*/ 4 w 16"/>
                  <a:gd name="T3" fmla="*/ 2 h 10"/>
                  <a:gd name="T4" fmla="*/ 1 w 16"/>
                  <a:gd name="T5" fmla="*/ 3 h 10"/>
                  <a:gd name="T6" fmla="*/ 0 w 16"/>
                  <a:gd name="T7" fmla="*/ 2 h 10"/>
                  <a:gd name="T8" fmla="*/ 4 w 16"/>
                  <a:gd name="T9" fmla="*/ 10 h 10"/>
                  <a:gd name="T10" fmla="*/ 10 w 16"/>
                  <a:gd name="T11" fmla="*/ 9 h 10"/>
                  <a:gd name="T12" fmla="*/ 11 w 16"/>
                  <a:gd name="T13" fmla="*/ 6 h 10"/>
                  <a:gd name="T14" fmla="*/ 11 w 16"/>
                  <a:gd name="T15" fmla="*/ 3 h 10"/>
                  <a:gd name="T16" fmla="*/ 7 w 16"/>
                  <a:gd name="T17" fmla="*/ 0 h 10"/>
                  <a:gd name="T18" fmla="*/ 7 w 1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7" y="0"/>
                    </a:moveTo>
                    <a:cubicBezTo>
                      <a:pt x="5" y="0"/>
                      <a:pt x="5" y="1"/>
                      <a:pt x="4" y="2"/>
                    </a:cubicBezTo>
                    <a:cubicBezTo>
                      <a:pt x="3" y="2"/>
                      <a:pt x="2" y="3"/>
                      <a:pt x="1" y="3"/>
                    </a:cubicBezTo>
                    <a:cubicBezTo>
                      <a:pt x="1" y="3"/>
                      <a:pt x="0" y="3"/>
                      <a:pt x="0" y="2"/>
                    </a:cubicBezTo>
                    <a:cubicBezTo>
                      <a:pt x="1" y="5"/>
                      <a:pt x="3" y="8"/>
                      <a:pt x="4" y="10"/>
                    </a:cubicBezTo>
                    <a:cubicBezTo>
                      <a:pt x="5" y="10"/>
                      <a:pt x="9" y="10"/>
                      <a:pt x="10" y="9"/>
                    </a:cubicBezTo>
                    <a:cubicBezTo>
                      <a:pt x="10" y="8"/>
                      <a:pt x="10" y="7"/>
                      <a:pt x="11" y="6"/>
                    </a:cubicBezTo>
                    <a:cubicBezTo>
                      <a:pt x="13" y="5"/>
                      <a:pt x="16" y="4"/>
                      <a:pt x="11" y="3"/>
                    </a:cubicBezTo>
                    <a:cubicBezTo>
                      <a:pt x="9" y="3"/>
                      <a:pt x="9" y="1"/>
                      <a:pt x="7"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8" name="Freeform 1170">
                <a:extLst>
                  <a:ext uri="{FF2B5EF4-FFF2-40B4-BE49-F238E27FC236}">
                    <a16:creationId xmlns:a16="http://schemas.microsoft.com/office/drawing/2014/main" id="{2CD151A4-C9AB-4058-87B6-F220E8B6E54C}"/>
                  </a:ext>
                </a:extLst>
              </p:cNvPr>
              <p:cNvSpPr>
                <a:spLocks/>
              </p:cNvSpPr>
              <p:nvPr/>
            </p:nvSpPr>
            <p:spPr bwMode="auto">
              <a:xfrm>
                <a:off x="2305" y="546"/>
                <a:ext cx="7" cy="19"/>
              </a:xfrm>
              <a:custGeom>
                <a:avLst/>
                <a:gdLst>
                  <a:gd name="T0" fmla="*/ 1 w 3"/>
                  <a:gd name="T1" fmla="*/ 0 h 8"/>
                  <a:gd name="T2" fmla="*/ 3 w 3"/>
                  <a:gd name="T3" fmla="*/ 8 h 8"/>
                  <a:gd name="T4" fmla="*/ 1 w 3"/>
                  <a:gd name="T5" fmla="*/ 0 h 8"/>
                </a:gdLst>
                <a:ahLst/>
                <a:cxnLst>
                  <a:cxn ang="0">
                    <a:pos x="T0" y="T1"/>
                  </a:cxn>
                  <a:cxn ang="0">
                    <a:pos x="T2" y="T3"/>
                  </a:cxn>
                  <a:cxn ang="0">
                    <a:pos x="T4" y="T5"/>
                  </a:cxn>
                </a:cxnLst>
                <a:rect l="0" t="0" r="r" b="b"/>
                <a:pathLst>
                  <a:path w="3" h="8">
                    <a:moveTo>
                      <a:pt x="1" y="0"/>
                    </a:moveTo>
                    <a:cubicBezTo>
                      <a:pt x="0" y="2"/>
                      <a:pt x="2" y="5"/>
                      <a:pt x="3" y="8"/>
                    </a:cubicBezTo>
                    <a:cubicBezTo>
                      <a:pt x="2" y="5"/>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9" name="Freeform 1171">
                <a:extLst>
                  <a:ext uri="{FF2B5EF4-FFF2-40B4-BE49-F238E27FC236}">
                    <a16:creationId xmlns:a16="http://schemas.microsoft.com/office/drawing/2014/main" id="{B02C28EF-C4D6-4245-8E48-4688D60991B5}"/>
                  </a:ext>
                </a:extLst>
              </p:cNvPr>
              <p:cNvSpPr>
                <a:spLocks/>
              </p:cNvSpPr>
              <p:nvPr/>
            </p:nvSpPr>
            <p:spPr bwMode="auto">
              <a:xfrm>
                <a:off x="2159" y="163"/>
                <a:ext cx="19" cy="24"/>
              </a:xfrm>
              <a:custGeom>
                <a:avLst/>
                <a:gdLst>
                  <a:gd name="T0" fmla="*/ 2 w 8"/>
                  <a:gd name="T1" fmla="*/ 0 h 10"/>
                  <a:gd name="T2" fmla="*/ 8 w 8"/>
                  <a:gd name="T3" fmla="*/ 10 h 10"/>
                  <a:gd name="T4" fmla="*/ 2 w 8"/>
                  <a:gd name="T5" fmla="*/ 0 h 10"/>
                </a:gdLst>
                <a:ahLst/>
                <a:cxnLst>
                  <a:cxn ang="0">
                    <a:pos x="T0" y="T1"/>
                  </a:cxn>
                  <a:cxn ang="0">
                    <a:pos x="T2" y="T3"/>
                  </a:cxn>
                  <a:cxn ang="0">
                    <a:pos x="T4" y="T5"/>
                  </a:cxn>
                </a:cxnLst>
                <a:rect l="0" t="0" r="r" b="b"/>
                <a:pathLst>
                  <a:path w="8" h="10">
                    <a:moveTo>
                      <a:pt x="2" y="0"/>
                    </a:moveTo>
                    <a:cubicBezTo>
                      <a:pt x="0" y="3"/>
                      <a:pt x="6" y="9"/>
                      <a:pt x="8" y="10"/>
                    </a:cubicBezTo>
                    <a:cubicBezTo>
                      <a:pt x="6" y="7"/>
                      <a:pt x="5"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0" name="Freeform 1172">
                <a:extLst>
                  <a:ext uri="{FF2B5EF4-FFF2-40B4-BE49-F238E27FC236}">
                    <a16:creationId xmlns:a16="http://schemas.microsoft.com/office/drawing/2014/main" id="{C95FD1D6-4219-4D44-B7F6-426A8150A381}"/>
                  </a:ext>
                </a:extLst>
              </p:cNvPr>
              <p:cNvSpPr>
                <a:spLocks/>
              </p:cNvSpPr>
              <p:nvPr/>
            </p:nvSpPr>
            <p:spPr bwMode="auto">
              <a:xfrm>
                <a:off x="2043" y="218"/>
                <a:ext cx="90" cy="101"/>
              </a:xfrm>
              <a:custGeom>
                <a:avLst/>
                <a:gdLst>
                  <a:gd name="T0" fmla="*/ 3 w 38"/>
                  <a:gd name="T1" fmla="*/ 0 h 43"/>
                  <a:gd name="T2" fmla="*/ 1 w 38"/>
                  <a:gd name="T3" fmla="*/ 4 h 43"/>
                  <a:gd name="T4" fmla="*/ 2 w 38"/>
                  <a:gd name="T5" fmla="*/ 5 h 43"/>
                  <a:gd name="T6" fmla="*/ 7 w 38"/>
                  <a:gd name="T7" fmla="*/ 13 h 43"/>
                  <a:gd name="T8" fmla="*/ 6 w 38"/>
                  <a:gd name="T9" fmla="*/ 21 h 43"/>
                  <a:gd name="T10" fmla="*/ 4 w 38"/>
                  <a:gd name="T11" fmla="*/ 31 h 43"/>
                  <a:gd name="T12" fmla="*/ 4 w 38"/>
                  <a:gd name="T13" fmla="*/ 43 h 43"/>
                  <a:gd name="T14" fmla="*/ 6 w 38"/>
                  <a:gd name="T15" fmla="*/ 43 h 43"/>
                  <a:gd name="T16" fmla="*/ 29 w 38"/>
                  <a:gd name="T17" fmla="*/ 30 h 43"/>
                  <a:gd name="T18" fmla="*/ 37 w 38"/>
                  <a:gd name="T19" fmla="*/ 22 h 43"/>
                  <a:gd name="T20" fmla="*/ 37 w 38"/>
                  <a:gd name="T21" fmla="*/ 20 h 43"/>
                  <a:gd name="T22" fmla="*/ 38 w 38"/>
                  <a:gd name="T23" fmla="*/ 15 h 43"/>
                  <a:gd name="T24" fmla="*/ 36 w 38"/>
                  <a:gd name="T25" fmla="*/ 12 h 43"/>
                  <a:gd name="T26" fmla="*/ 30 w 38"/>
                  <a:gd name="T27" fmla="*/ 14 h 43"/>
                  <a:gd name="T28" fmla="*/ 20 w 38"/>
                  <a:gd name="T29" fmla="*/ 10 h 43"/>
                  <a:gd name="T30" fmla="*/ 3 w 38"/>
                  <a:gd name="T3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43">
                    <a:moveTo>
                      <a:pt x="3" y="0"/>
                    </a:moveTo>
                    <a:cubicBezTo>
                      <a:pt x="1" y="0"/>
                      <a:pt x="1" y="2"/>
                      <a:pt x="1" y="4"/>
                    </a:cubicBezTo>
                    <a:cubicBezTo>
                      <a:pt x="1" y="4"/>
                      <a:pt x="2" y="5"/>
                      <a:pt x="2" y="5"/>
                    </a:cubicBezTo>
                    <a:cubicBezTo>
                      <a:pt x="8" y="7"/>
                      <a:pt x="8" y="7"/>
                      <a:pt x="7" y="13"/>
                    </a:cubicBezTo>
                    <a:cubicBezTo>
                      <a:pt x="7" y="15"/>
                      <a:pt x="6" y="18"/>
                      <a:pt x="6" y="21"/>
                    </a:cubicBezTo>
                    <a:cubicBezTo>
                      <a:pt x="6" y="26"/>
                      <a:pt x="5" y="27"/>
                      <a:pt x="4" y="31"/>
                    </a:cubicBezTo>
                    <a:cubicBezTo>
                      <a:pt x="4" y="34"/>
                      <a:pt x="0" y="43"/>
                      <a:pt x="4" y="43"/>
                    </a:cubicBezTo>
                    <a:cubicBezTo>
                      <a:pt x="4" y="43"/>
                      <a:pt x="5" y="43"/>
                      <a:pt x="6" y="43"/>
                    </a:cubicBezTo>
                    <a:cubicBezTo>
                      <a:pt x="13" y="39"/>
                      <a:pt x="23" y="36"/>
                      <a:pt x="29" y="30"/>
                    </a:cubicBezTo>
                    <a:cubicBezTo>
                      <a:pt x="31" y="28"/>
                      <a:pt x="36" y="25"/>
                      <a:pt x="37" y="22"/>
                    </a:cubicBezTo>
                    <a:cubicBezTo>
                      <a:pt x="38" y="21"/>
                      <a:pt x="36" y="21"/>
                      <a:pt x="37" y="20"/>
                    </a:cubicBezTo>
                    <a:cubicBezTo>
                      <a:pt x="37" y="18"/>
                      <a:pt x="38" y="17"/>
                      <a:pt x="38" y="15"/>
                    </a:cubicBezTo>
                    <a:cubicBezTo>
                      <a:pt x="38" y="13"/>
                      <a:pt x="37" y="12"/>
                      <a:pt x="36" y="12"/>
                    </a:cubicBezTo>
                    <a:cubicBezTo>
                      <a:pt x="35" y="12"/>
                      <a:pt x="33" y="13"/>
                      <a:pt x="30" y="14"/>
                    </a:cubicBezTo>
                    <a:cubicBezTo>
                      <a:pt x="28" y="12"/>
                      <a:pt x="23" y="12"/>
                      <a:pt x="20" y="10"/>
                    </a:cubicBezTo>
                    <a:cubicBezTo>
                      <a:pt x="14" y="6"/>
                      <a:pt x="9"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1" name="Freeform 1173">
                <a:extLst>
                  <a:ext uri="{FF2B5EF4-FFF2-40B4-BE49-F238E27FC236}">
                    <a16:creationId xmlns:a16="http://schemas.microsoft.com/office/drawing/2014/main" id="{D85E8D79-AF81-4D3D-8B0F-C9176732E351}"/>
                  </a:ext>
                </a:extLst>
              </p:cNvPr>
              <p:cNvSpPr>
                <a:spLocks/>
              </p:cNvSpPr>
              <p:nvPr/>
            </p:nvSpPr>
            <p:spPr bwMode="auto">
              <a:xfrm>
                <a:off x="2119" y="137"/>
                <a:ext cx="7" cy="5"/>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0" y="1"/>
                      <a:pt x="1" y="2"/>
                      <a:pt x="3"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2" name="Freeform 1174">
                <a:extLst>
                  <a:ext uri="{FF2B5EF4-FFF2-40B4-BE49-F238E27FC236}">
                    <a16:creationId xmlns:a16="http://schemas.microsoft.com/office/drawing/2014/main" id="{7F167B19-BF77-404C-9B68-FDBE9444E86A}"/>
                  </a:ext>
                </a:extLst>
              </p:cNvPr>
              <p:cNvSpPr>
                <a:spLocks/>
              </p:cNvSpPr>
              <p:nvPr/>
            </p:nvSpPr>
            <p:spPr bwMode="auto">
              <a:xfrm>
                <a:off x="1908" y="674"/>
                <a:ext cx="26" cy="19"/>
              </a:xfrm>
              <a:custGeom>
                <a:avLst/>
                <a:gdLst>
                  <a:gd name="T0" fmla="*/ 9 w 11"/>
                  <a:gd name="T1" fmla="*/ 1 h 8"/>
                  <a:gd name="T2" fmla="*/ 0 w 11"/>
                  <a:gd name="T3" fmla="*/ 8 h 8"/>
                  <a:gd name="T4" fmla="*/ 4 w 11"/>
                  <a:gd name="T5" fmla="*/ 6 h 8"/>
                  <a:gd name="T6" fmla="*/ 4 w 11"/>
                  <a:gd name="T7" fmla="*/ 4 h 8"/>
                  <a:gd name="T8" fmla="*/ 5 w 11"/>
                  <a:gd name="T9" fmla="*/ 4 h 8"/>
                  <a:gd name="T10" fmla="*/ 6 w 11"/>
                  <a:gd name="T11" fmla="*/ 4 h 8"/>
                  <a:gd name="T12" fmla="*/ 7 w 11"/>
                  <a:gd name="T13" fmla="*/ 4 h 8"/>
                  <a:gd name="T14" fmla="*/ 7 w 11"/>
                  <a:gd name="T15" fmla="*/ 3 h 8"/>
                  <a:gd name="T16" fmla="*/ 8 w 11"/>
                  <a:gd name="T17" fmla="*/ 4 h 8"/>
                  <a:gd name="T18" fmla="*/ 10 w 11"/>
                  <a:gd name="T19" fmla="*/ 6 h 8"/>
                  <a:gd name="T20" fmla="*/ 11 w 11"/>
                  <a:gd name="T21" fmla="*/ 2 h 8"/>
                  <a:gd name="T22" fmla="*/ 9 w 11"/>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9" y="1"/>
                    </a:moveTo>
                    <a:cubicBezTo>
                      <a:pt x="7" y="0"/>
                      <a:pt x="1" y="6"/>
                      <a:pt x="0" y="8"/>
                    </a:cubicBezTo>
                    <a:cubicBezTo>
                      <a:pt x="1" y="7"/>
                      <a:pt x="3" y="6"/>
                      <a:pt x="4" y="6"/>
                    </a:cubicBezTo>
                    <a:cubicBezTo>
                      <a:pt x="4" y="6"/>
                      <a:pt x="4" y="5"/>
                      <a:pt x="4" y="4"/>
                    </a:cubicBezTo>
                    <a:cubicBezTo>
                      <a:pt x="5" y="4"/>
                      <a:pt x="5" y="4"/>
                      <a:pt x="5" y="4"/>
                    </a:cubicBezTo>
                    <a:cubicBezTo>
                      <a:pt x="5" y="4"/>
                      <a:pt x="6" y="4"/>
                      <a:pt x="6" y="4"/>
                    </a:cubicBezTo>
                    <a:cubicBezTo>
                      <a:pt x="6" y="4"/>
                      <a:pt x="6" y="4"/>
                      <a:pt x="7" y="4"/>
                    </a:cubicBezTo>
                    <a:cubicBezTo>
                      <a:pt x="7" y="4"/>
                      <a:pt x="7" y="4"/>
                      <a:pt x="7" y="3"/>
                    </a:cubicBezTo>
                    <a:cubicBezTo>
                      <a:pt x="8" y="3"/>
                      <a:pt x="8" y="4"/>
                      <a:pt x="8" y="4"/>
                    </a:cubicBezTo>
                    <a:cubicBezTo>
                      <a:pt x="9" y="4"/>
                      <a:pt x="9" y="5"/>
                      <a:pt x="10" y="6"/>
                    </a:cubicBezTo>
                    <a:cubicBezTo>
                      <a:pt x="10" y="5"/>
                      <a:pt x="11" y="3"/>
                      <a:pt x="11" y="2"/>
                    </a:cubicBezTo>
                    <a:cubicBezTo>
                      <a:pt x="11" y="1"/>
                      <a:pt x="10" y="1"/>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3" name="Freeform 1175">
                <a:extLst>
                  <a:ext uri="{FF2B5EF4-FFF2-40B4-BE49-F238E27FC236}">
                    <a16:creationId xmlns:a16="http://schemas.microsoft.com/office/drawing/2014/main" id="{BADC9CAB-78A6-4999-BB1D-5E0336337AD9}"/>
                  </a:ext>
                </a:extLst>
              </p:cNvPr>
              <p:cNvSpPr>
                <a:spLocks/>
              </p:cNvSpPr>
              <p:nvPr/>
            </p:nvSpPr>
            <p:spPr bwMode="auto">
              <a:xfrm>
                <a:off x="2216" y="234"/>
                <a:ext cx="23" cy="15"/>
              </a:xfrm>
              <a:custGeom>
                <a:avLst/>
                <a:gdLst>
                  <a:gd name="T0" fmla="*/ 2 w 10"/>
                  <a:gd name="T1" fmla="*/ 0 h 6"/>
                  <a:gd name="T2" fmla="*/ 0 w 10"/>
                  <a:gd name="T3" fmla="*/ 0 h 6"/>
                  <a:gd name="T4" fmla="*/ 4 w 10"/>
                  <a:gd name="T5" fmla="*/ 6 h 6"/>
                  <a:gd name="T6" fmla="*/ 2 w 10"/>
                  <a:gd name="T7" fmla="*/ 0 h 6"/>
                </a:gdLst>
                <a:ahLst/>
                <a:cxnLst>
                  <a:cxn ang="0">
                    <a:pos x="T0" y="T1"/>
                  </a:cxn>
                  <a:cxn ang="0">
                    <a:pos x="T2" y="T3"/>
                  </a:cxn>
                  <a:cxn ang="0">
                    <a:pos x="T4" y="T5"/>
                  </a:cxn>
                  <a:cxn ang="0">
                    <a:pos x="T6" y="T7"/>
                  </a:cxn>
                </a:cxnLst>
                <a:rect l="0" t="0" r="r" b="b"/>
                <a:pathLst>
                  <a:path w="10" h="6">
                    <a:moveTo>
                      <a:pt x="2" y="0"/>
                    </a:moveTo>
                    <a:cubicBezTo>
                      <a:pt x="1" y="0"/>
                      <a:pt x="0" y="0"/>
                      <a:pt x="0" y="0"/>
                    </a:cubicBezTo>
                    <a:cubicBezTo>
                      <a:pt x="2" y="2"/>
                      <a:pt x="1" y="5"/>
                      <a:pt x="4" y="6"/>
                    </a:cubicBezTo>
                    <a:cubicBezTo>
                      <a:pt x="10" y="4"/>
                      <a:pt x="6"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4" name="Freeform 1176">
                <a:extLst>
                  <a:ext uri="{FF2B5EF4-FFF2-40B4-BE49-F238E27FC236}">
                    <a16:creationId xmlns:a16="http://schemas.microsoft.com/office/drawing/2014/main" id="{90CE49CD-46A4-481E-A61F-B499E110D4CE}"/>
                  </a:ext>
                </a:extLst>
              </p:cNvPr>
              <p:cNvSpPr>
                <a:spLocks/>
              </p:cNvSpPr>
              <p:nvPr/>
            </p:nvSpPr>
            <p:spPr bwMode="auto">
              <a:xfrm>
                <a:off x="2041" y="104"/>
                <a:ext cx="26" cy="24"/>
              </a:xfrm>
              <a:custGeom>
                <a:avLst/>
                <a:gdLst>
                  <a:gd name="T0" fmla="*/ 2 w 11"/>
                  <a:gd name="T1" fmla="*/ 0 h 10"/>
                  <a:gd name="T2" fmla="*/ 1 w 11"/>
                  <a:gd name="T3" fmla="*/ 4 h 10"/>
                  <a:gd name="T4" fmla="*/ 7 w 11"/>
                  <a:gd name="T5" fmla="*/ 10 h 10"/>
                  <a:gd name="T6" fmla="*/ 7 w 11"/>
                  <a:gd name="T7" fmla="*/ 1 h 10"/>
                  <a:gd name="T8" fmla="*/ 2 w 11"/>
                  <a:gd name="T9" fmla="*/ 0 h 10"/>
                </a:gdLst>
                <a:ahLst/>
                <a:cxnLst>
                  <a:cxn ang="0">
                    <a:pos x="T0" y="T1"/>
                  </a:cxn>
                  <a:cxn ang="0">
                    <a:pos x="T2" y="T3"/>
                  </a:cxn>
                  <a:cxn ang="0">
                    <a:pos x="T4" y="T5"/>
                  </a:cxn>
                  <a:cxn ang="0">
                    <a:pos x="T6" y="T7"/>
                  </a:cxn>
                  <a:cxn ang="0">
                    <a:pos x="T8" y="T9"/>
                  </a:cxn>
                </a:cxnLst>
                <a:rect l="0" t="0" r="r" b="b"/>
                <a:pathLst>
                  <a:path w="11" h="10">
                    <a:moveTo>
                      <a:pt x="2" y="0"/>
                    </a:moveTo>
                    <a:cubicBezTo>
                      <a:pt x="2" y="1"/>
                      <a:pt x="0" y="2"/>
                      <a:pt x="1" y="4"/>
                    </a:cubicBezTo>
                    <a:cubicBezTo>
                      <a:pt x="1" y="8"/>
                      <a:pt x="4" y="8"/>
                      <a:pt x="7" y="10"/>
                    </a:cubicBezTo>
                    <a:cubicBezTo>
                      <a:pt x="8" y="6"/>
                      <a:pt x="11" y="3"/>
                      <a:pt x="7" y="1"/>
                    </a:cubicBezTo>
                    <a:cubicBezTo>
                      <a:pt x="6"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5" name="Freeform 1177">
                <a:extLst>
                  <a:ext uri="{FF2B5EF4-FFF2-40B4-BE49-F238E27FC236}">
                    <a16:creationId xmlns:a16="http://schemas.microsoft.com/office/drawing/2014/main" id="{3F03BDF2-B6B2-4102-AF8D-55BDBEDF0C83}"/>
                  </a:ext>
                </a:extLst>
              </p:cNvPr>
              <p:cNvSpPr>
                <a:spLocks/>
              </p:cNvSpPr>
              <p:nvPr/>
            </p:nvSpPr>
            <p:spPr bwMode="auto">
              <a:xfrm>
                <a:off x="1906" y="192"/>
                <a:ext cx="33" cy="23"/>
              </a:xfrm>
              <a:custGeom>
                <a:avLst/>
                <a:gdLst>
                  <a:gd name="T0" fmla="*/ 1 w 14"/>
                  <a:gd name="T1" fmla="*/ 0 h 10"/>
                  <a:gd name="T2" fmla="*/ 1 w 14"/>
                  <a:gd name="T3" fmla="*/ 0 h 10"/>
                  <a:gd name="T4" fmla="*/ 0 w 14"/>
                  <a:gd name="T5" fmla="*/ 3 h 10"/>
                  <a:gd name="T6" fmla="*/ 1 w 14"/>
                  <a:gd name="T7" fmla="*/ 3 h 10"/>
                  <a:gd name="T8" fmla="*/ 3 w 14"/>
                  <a:gd name="T9" fmla="*/ 6 h 10"/>
                  <a:gd name="T10" fmla="*/ 7 w 14"/>
                  <a:gd name="T11" fmla="*/ 10 h 10"/>
                  <a:gd name="T12" fmla="*/ 14 w 14"/>
                  <a:gd name="T13" fmla="*/ 6 h 10"/>
                  <a:gd name="T14" fmla="*/ 11 w 14"/>
                  <a:gd name="T15" fmla="*/ 2 h 10"/>
                  <a:gd name="T16" fmla="*/ 11 w 14"/>
                  <a:gd name="T17" fmla="*/ 5 h 10"/>
                  <a:gd name="T18" fmla="*/ 11 w 14"/>
                  <a:gd name="T19" fmla="*/ 5 h 10"/>
                  <a:gd name="T20" fmla="*/ 6 w 14"/>
                  <a:gd name="T21" fmla="*/ 2 h 10"/>
                  <a:gd name="T22" fmla="*/ 1 w 14"/>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0">
                    <a:moveTo>
                      <a:pt x="1" y="0"/>
                    </a:moveTo>
                    <a:cubicBezTo>
                      <a:pt x="1" y="0"/>
                      <a:pt x="1" y="0"/>
                      <a:pt x="1" y="0"/>
                    </a:cubicBezTo>
                    <a:cubicBezTo>
                      <a:pt x="1" y="2"/>
                      <a:pt x="1" y="2"/>
                      <a:pt x="0" y="3"/>
                    </a:cubicBezTo>
                    <a:cubicBezTo>
                      <a:pt x="1" y="3"/>
                      <a:pt x="1" y="3"/>
                      <a:pt x="1" y="3"/>
                    </a:cubicBezTo>
                    <a:cubicBezTo>
                      <a:pt x="2" y="3"/>
                      <a:pt x="2" y="5"/>
                      <a:pt x="3" y="6"/>
                    </a:cubicBezTo>
                    <a:cubicBezTo>
                      <a:pt x="4" y="8"/>
                      <a:pt x="5" y="9"/>
                      <a:pt x="7" y="10"/>
                    </a:cubicBezTo>
                    <a:cubicBezTo>
                      <a:pt x="10" y="8"/>
                      <a:pt x="12" y="7"/>
                      <a:pt x="14" y="6"/>
                    </a:cubicBezTo>
                    <a:cubicBezTo>
                      <a:pt x="13" y="5"/>
                      <a:pt x="12" y="3"/>
                      <a:pt x="11" y="2"/>
                    </a:cubicBezTo>
                    <a:cubicBezTo>
                      <a:pt x="11" y="3"/>
                      <a:pt x="11" y="4"/>
                      <a:pt x="11" y="5"/>
                    </a:cubicBezTo>
                    <a:cubicBezTo>
                      <a:pt x="11" y="5"/>
                      <a:pt x="11" y="5"/>
                      <a:pt x="11" y="5"/>
                    </a:cubicBezTo>
                    <a:cubicBezTo>
                      <a:pt x="10" y="5"/>
                      <a:pt x="8" y="4"/>
                      <a:pt x="6" y="2"/>
                    </a:cubicBezTo>
                    <a:cubicBezTo>
                      <a:pt x="4"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6" name="Freeform 1178">
                <a:extLst>
                  <a:ext uri="{FF2B5EF4-FFF2-40B4-BE49-F238E27FC236}">
                    <a16:creationId xmlns:a16="http://schemas.microsoft.com/office/drawing/2014/main" id="{B8142A9E-82E1-426C-9557-35C1EF3BE269}"/>
                  </a:ext>
                </a:extLst>
              </p:cNvPr>
              <p:cNvSpPr>
                <a:spLocks/>
              </p:cNvSpPr>
              <p:nvPr/>
            </p:nvSpPr>
            <p:spPr bwMode="auto">
              <a:xfrm>
                <a:off x="2294" y="319"/>
                <a:ext cx="11" cy="36"/>
              </a:xfrm>
              <a:custGeom>
                <a:avLst/>
                <a:gdLst>
                  <a:gd name="T0" fmla="*/ 4 w 5"/>
                  <a:gd name="T1" fmla="*/ 0 h 15"/>
                  <a:gd name="T2" fmla="*/ 0 w 5"/>
                  <a:gd name="T3" fmla="*/ 7 h 15"/>
                  <a:gd name="T4" fmla="*/ 1 w 5"/>
                  <a:gd name="T5" fmla="*/ 11 h 15"/>
                  <a:gd name="T6" fmla="*/ 2 w 5"/>
                  <a:gd name="T7" fmla="*/ 14 h 15"/>
                  <a:gd name="T8" fmla="*/ 3 w 5"/>
                  <a:gd name="T9" fmla="*/ 14 h 15"/>
                  <a:gd name="T10" fmla="*/ 3 w 5"/>
                  <a:gd name="T11" fmla="*/ 15 h 15"/>
                  <a:gd name="T12" fmla="*/ 4 w 5"/>
                  <a:gd name="T13" fmla="*/ 15 h 15"/>
                  <a:gd name="T14" fmla="*/ 4 w 5"/>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5">
                    <a:moveTo>
                      <a:pt x="4" y="0"/>
                    </a:moveTo>
                    <a:cubicBezTo>
                      <a:pt x="3" y="3"/>
                      <a:pt x="1" y="4"/>
                      <a:pt x="0" y="7"/>
                    </a:cubicBezTo>
                    <a:cubicBezTo>
                      <a:pt x="0" y="9"/>
                      <a:pt x="0" y="10"/>
                      <a:pt x="1" y="11"/>
                    </a:cubicBezTo>
                    <a:cubicBezTo>
                      <a:pt x="1" y="12"/>
                      <a:pt x="5" y="11"/>
                      <a:pt x="2" y="14"/>
                    </a:cubicBezTo>
                    <a:cubicBezTo>
                      <a:pt x="3" y="14"/>
                      <a:pt x="3" y="14"/>
                      <a:pt x="3" y="14"/>
                    </a:cubicBezTo>
                    <a:cubicBezTo>
                      <a:pt x="3" y="14"/>
                      <a:pt x="3" y="14"/>
                      <a:pt x="3" y="15"/>
                    </a:cubicBezTo>
                    <a:cubicBezTo>
                      <a:pt x="4" y="15"/>
                      <a:pt x="4" y="15"/>
                      <a:pt x="4" y="15"/>
                    </a:cubicBezTo>
                    <a:cubicBezTo>
                      <a:pt x="4" y="10"/>
                      <a:pt x="5" y="5"/>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7" name="Freeform 1179">
                <a:extLst>
                  <a:ext uri="{FF2B5EF4-FFF2-40B4-BE49-F238E27FC236}">
                    <a16:creationId xmlns:a16="http://schemas.microsoft.com/office/drawing/2014/main" id="{5DFBC730-5878-47FE-948E-497881C40B69}"/>
                  </a:ext>
                </a:extLst>
              </p:cNvPr>
              <p:cNvSpPr>
                <a:spLocks/>
              </p:cNvSpPr>
              <p:nvPr/>
            </p:nvSpPr>
            <p:spPr bwMode="auto">
              <a:xfrm>
                <a:off x="1939" y="107"/>
                <a:ext cx="85" cy="90"/>
              </a:xfrm>
              <a:custGeom>
                <a:avLst/>
                <a:gdLst>
                  <a:gd name="T0" fmla="*/ 3 w 36"/>
                  <a:gd name="T1" fmla="*/ 0 h 38"/>
                  <a:gd name="T2" fmla="*/ 0 w 36"/>
                  <a:gd name="T3" fmla="*/ 2 h 38"/>
                  <a:gd name="T4" fmla="*/ 13 w 36"/>
                  <a:gd name="T5" fmla="*/ 19 h 38"/>
                  <a:gd name="T6" fmla="*/ 27 w 36"/>
                  <a:gd name="T7" fmla="*/ 38 h 38"/>
                  <a:gd name="T8" fmla="*/ 30 w 36"/>
                  <a:gd name="T9" fmla="*/ 35 h 38"/>
                  <a:gd name="T10" fmla="*/ 31 w 36"/>
                  <a:gd name="T11" fmla="*/ 36 h 38"/>
                  <a:gd name="T12" fmla="*/ 32 w 36"/>
                  <a:gd name="T13" fmla="*/ 34 h 38"/>
                  <a:gd name="T14" fmla="*/ 33 w 36"/>
                  <a:gd name="T15" fmla="*/ 34 h 38"/>
                  <a:gd name="T16" fmla="*/ 34 w 36"/>
                  <a:gd name="T17" fmla="*/ 29 h 38"/>
                  <a:gd name="T18" fmla="*/ 35 w 36"/>
                  <a:gd name="T19" fmla="*/ 20 h 38"/>
                  <a:gd name="T20" fmla="*/ 34 w 36"/>
                  <a:gd name="T21" fmla="*/ 15 h 38"/>
                  <a:gd name="T22" fmla="*/ 36 w 36"/>
                  <a:gd name="T23" fmla="*/ 12 h 38"/>
                  <a:gd name="T24" fmla="*/ 30 w 36"/>
                  <a:gd name="T25" fmla="*/ 8 h 38"/>
                  <a:gd name="T26" fmla="*/ 17 w 36"/>
                  <a:gd name="T27" fmla="*/ 0 h 38"/>
                  <a:gd name="T28" fmla="*/ 12 w 36"/>
                  <a:gd name="T29" fmla="*/ 1 h 38"/>
                  <a:gd name="T30" fmla="*/ 10 w 36"/>
                  <a:gd name="T31" fmla="*/ 1 h 38"/>
                  <a:gd name="T32" fmla="*/ 6 w 36"/>
                  <a:gd name="T33" fmla="*/ 0 h 38"/>
                  <a:gd name="T34" fmla="*/ 3 w 36"/>
                  <a:gd name="T3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8">
                    <a:moveTo>
                      <a:pt x="3" y="0"/>
                    </a:moveTo>
                    <a:cubicBezTo>
                      <a:pt x="2" y="0"/>
                      <a:pt x="0" y="0"/>
                      <a:pt x="0" y="2"/>
                    </a:cubicBezTo>
                    <a:cubicBezTo>
                      <a:pt x="8" y="3"/>
                      <a:pt x="10" y="12"/>
                      <a:pt x="13" y="19"/>
                    </a:cubicBezTo>
                    <a:cubicBezTo>
                      <a:pt x="15" y="27"/>
                      <a:pt x="21" y="32"/>
                      <a:pt x="27" y="38"/>
                    </a:cubicBezTo>
                    <a:cubicBezTo>
                      <a:pt x="28" y="37"/>
                      <a:pt x="29" y="35"/>
                      <a:pt x="30" y="35"/>
                    </a:cubicBezTo>
                    <a:cubicBezTo>
                      <a:pt x="30" y="35"/>
                      <a:pt x="31" y="36"/>
                      <a:pt x="31" y="36"/>
                    </a:cubicBezTo>
                    <a:cubicBezTo>
                      <a:pt x="31" y="35"/>
                      <a:pt x="31" y="34"/>
                      <a:pt x="32" y="34"/>
                    </a:cubicBezTo>
                    <a:cubicBezTo>
                      <a:pt x="32" y="34"/>
                      <a:pt x="32" y="34"/>
                      <a:pt x="33" y="34"/>
                    </a:cubicBezTo>
                    <a:cubicBezTo>
                      <a:pt x="31" y="31"/>
                      <a:pt x="33" y="31"/>
                      <a:pt x="34" y="29"/>
                    </a:cubicBezTo>
                    <a:cubicBezTo>
                      <a:pt x="36" y="25"/>
                      <a:pt x="36" y="25"/>
                      <a:pt x="35" y="20"/>
                    </a:cubicBezTo>
                    <a:cubicBezTo>
                      <a:pt x="34" y="19"/>
                      <a:pt x="34" y="16"/>
                      <a:pt x="34" y="15"/>
                    </a:cubicBezTo>
                    <a:cubicBezTo>
                      <a:pt x="34" y="14"/>
                      <a:pt x="36" y="13"/>
                      <a:pt x="36" y="12"/>
                    </a:cubicBezTo>
                    <a:cubicBezTo>
                      <a:pt x="36" y="11"/>
                      <a:pt x="31" y="9"/>
                      <a:pt x="30" y="8"/>
                    </a:cubicBezTo>
                    <a:cubicBezTo>
                      <a:pt x="25" y="5"/>
                      <a:pt x="21" y="3"/>
                      <a:pt x="17" y="0"/>
                    </a:cubicBezTo>
                    <a:cubicBezTo>
                      <a:pt x="17" y="1"/>
                      <a:pt x="14" y="1"/>
                      <a:pt x="12" y="1"/>
                    </a:cubicBezTo>
                    <a:cubicBezTo>
                      <a:pt x="11" y="1"/>
                      <a:pt x="10" y="1"/>
                      <a:pt x="10" y="1"/>
                    </a:cubicBezTo>
                    <a:cubicBezTo>
                      <a:pt x="9" y="1"/>
                      <a:pt x="8" y="0"/>
                      <a:pt x="6" y="0"/>
                    </a:cubicBezTo>
                    <a:cubicBezTo>
                      <a:pt x="5"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8" name="Freeform 1180">
                <a:extLst>
                  <a:ext uri="{FF2B5EF4-FFF2-40B4-BE49-F238E27FC236}">
                    <a16:creationId xmlns:a16="http://schemas.microsoft.com/office/drawing/2014/main" id="{105F4BE8-1E81-45E1-B10A-FDD0E5780CBB}"/>
                  </a:ext>
                </a:extLst>
              </p:cNvPr>
              <p:cNvSpPr>
                <a:spLocks/>
              </p:cNvSpPr>
              <p:nvPr/>
            </p:nvSpPr>
            <p:spPr bwMode="auto">
              <a:xfrm>
                <a:off x="2045" y="166"/>
                <a:ext cx="22" cy="40"/>
              </a:xfrm>
              <a:custGeom>
                <a:avLst/>
                <a:gdLst>
                  <a:gd name="T0" fmla="*/ 7 w 9"/>
                  <a:gd name="T1" fmla="*/ 0 h 17"/>
                  <a:gd name="T2" fmla="*/ 6 w 9"/>
                  <a:gd name="T3" fmla="*/ 0 h 17"/>
                  <a:gd name="T4" fmla="*/ 4 w 9"/>
                  <a:gd name="T5" fmla="*/ 17 h 17"/>
                  <a:gd name="T6" fmla="*/ 8 w 9"/>
                  <a:gd name="T7" fmla="*/ 3 h 17"/>
                  <a:gd name="T8" fmla="*/ 7 w 9"/>
                  <a:gd name="T9" fmla="*/ 0 h 17"/>
                </a:gdLst>
                <a:ahLst/>
                <a:cxnLst>
                  <a:cxn ang="0">
                    <a:pos x="T0" y="T1"/>
                  </a:cxn>
                  <a:cxn ang="0">
                    <a:pos x="T2" y="T3"/>
                  </a:cxn>
                  <a:cxn ang="0">
                    <a:pos x="T4" y="T5"/>
                  </a:cxn>
                  <a:cxn ang="0">
                    <a:pos x="T6" y="T7"/>
                  </a:cxn>
                  <a:cxn ang="0">
                    <a:pos x="T8" y="T9"/>
                  </a:cxn>
                </a:cxnLst>
                <a:rect l="0" t="0" r="r" b="b"/>
                <a:pathLst>
                  <a:path w="9" h="17">
                    <a:moveTo>
                      <a:pt x="7" y="0"/>
                    </a:moveTo>
                    <a:cubicBezTo>
                      <a:pt x="7" y="0"/>
                      <a:pt x="7" y="0"/>
                      <a:pt x="6" y="0"/>
                    </a:cubicBezTo>
                    <a:cubicBezTo>
                      <a:pt x="0" y="3"/>
                      <a:pt x="2" y="12"/>
                      <a:pt x="4" y="17"/>
                    </a:cubicBezTo>
                    <a:cubicBezTo>
                      <a:pt x="6" y="15"/>
                      <a:pt x="7" y="6"/>
                      <a:pt x="8" y="3"/>
                    </a:cubicBezTo>
                    <a:cubicBezTo>
                      <a:pt x="8" y="2"/>
                      <a:pt x="9"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9" name="Freeform 1181">
                <a:extLst>
                  <a:ext uri="{FF2B5EF4-FFF2-40B4-BE49-F238E27FC236}">
                    <a16:creationId xmlns:a16="http://schemas.microsoft.com/office/drawing/2014/main" id="{7BCFEA57-FB07-4E08-AB5F-0E8BEC0B7DF8}"/>
                  </a:ext>
                </a:extLst>
              </p:cNvPr>
              <p:cNvSpPr>
                <a:spLocks/>
              </p:cNvSpPr>
              <p:nvPr/>
            </p:nvSpPr>
            <p:spPr bwMode="auto">
              <a:xfrm>
                <a:off x="2192" y="69"/>
                <a:ext cx="31" cy="38"/>
              </a:xfrm>
              <a:custGeom>
                <a:avLst/>
                <a:gdLst>
                  <a:gd name="T0" fmla="*/ 5 w 13"/>
                  <a:gd name="T1" fmla="*/ 0 h 16"/>
                  <a:gd name="T2" fmla="*/ 4 w 13"/>
                  <a:gd name="T3" fmla="*/ 5 h 16"/>
                  <a:gd name="T4" fmla="*/ 1 w 13"/>
                  <a:gd name="T5" fmla="*/ 11 h 16"/>
                  <a:gd name="T6" fmla="*/ 6 w 13"/>
                  <a:gd name="T7" fmla="*/ 16 h 16"/>
                  <a:gd name="T8" fmla="*/ 11 w 13"/>
                  <a:gd name="T9" fmla="*/ 5 h 16"/>
                  <a:gd name="T10" fmla="*/ 10 w 13"/>
                  <a:gd name="T11" fmla="*/ 4 h 16"/>
                  <a:gd name="T12" fmla="*/ 9 w 13"/>
                  <a:gd name="T13" fmla="*/ 4 h 16"/>
                  <a:gd name="T14" fmla="*/ 5 w 13"/>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5" y="0"/>
                    </a:moveTo>
                    <a:cubicBezTo>
                      <a:pt x="4" y="0"/>
                      <a:pt x="4" y="2"/>
                      <a:pt x="4" y="5"/>
                    </a:cubicBezTo>
                    <a:cubicBezTo>
                      <a:pt x="4" y="9"/>
                      <a:pt x="3" y="8"/>
                      <a:pt x="1" y="11"/>
                    </a:cubicBezTo>
                    <a:cubicBezTo>
                      <a:pt x="0" y="13"/>
                      <a:pt x="5" y="15"/>
                      <a:pt x="6" y="16"/>
                    </a:cubicBezTo>
                    <a:cubicBezTo>
                      <a:pt x="8" y="13"/>
                      <a:pt x="13" y="8"/>
                      <a:pt x="11" y="5"/>
                    </a:cubicBezTo>
                    <a:cubicBezTo>
                      <a:pt x="11" y="4"/>
                      <a:pt x="10" y="4"/>
                      <a:pt x="10" y="4"/>
                    </a:cubicBezTo>
                    <a:cubicBezTo>
                      <a:pt x="10" y="4"/>
                      <a:pt x="9" y="4"/>
                      <a:pt x="9" y="4"/>
                    </a:cubicBezTo>
                    <a:cubicBezTo>
                      <a:pt x="7" y="1"/>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0" name="Freeform 1182">
                <a:extLst>
                  <a:ext uri="{FF2B5EF4-FFF2-40B4-BE49-F238E27FC236}">
                    <a16:creationId xmlns:a16="http://schemas.microsoft.com/office/drawing/2014/main" id="{72D14599-F0EE-4685-A8B5-09EA89B171C8}"/>
                  </a:ext>
                </a:extLst>
              </p:cNvPr>
              <p:cNvSpPr>
                <a:spLocks/>
              </p:cNvSpPr>
              <p:nvPr/>
            </p:nvSpPr>
            <p:spPr bwMode="auto">
              <a:xfrm>
                <a:off x="1977" y="622"/>
                <a:ext cx="42" cy="14"/>
              </a:xfrm>
              <a:custGeom>
                <a:avLst/>
                <a:gdLst>
                  <a:gd name="T0" fmla="*/ 6 w 18"/>
                  <a:gd name="T1" fmla="*/ 0 h 6"/>
                  <a:gd name="T2" fmla="*/ 3 w 18"/>
                  <a:gd name="T3" fmla="*/ 1 h 6"/>
                  <a:gd name="T4" fmla="*/ 0 w 18"/>
                  <a:gd name="T5" fmla="*/ 2 h 6"/>
                  <a:gd name="T6" fmla="*/ 12 w 18"/>
                  <a:gd name="T7" fmla="*/ 6 h 6"/>
                  <a:gd name="T8" fmla="*/ 13 w 18"/>
                  <a:gd name="T9" fmla="*/ 2 h 6"/>
                  <a:gd name="T10" fmla="*/ 13 w 18"/>
                  <a:gd name="T11" fmla="*/ 2 h 6"/>
                  <a:gd name="T12" fmla="*/ 11 w 18"/>
                  <a:gd name="T13" fmla="*/ 2 h 6"/>
                  <a:gd name="T14" fmla="*/ 10 w 18"/>
                  <a:gd name="T15" fmla="*/ 2 h 6"/>
                  <a:gd name="T16" fmla="*/ 10 w 18"/>
                  <a:gd name="T17" fmla="*/ 2 h 6"/>
                  <a:gd name="T18" fmla="*/ 9 w 18"/>
                  <a:gd name="T19" fmla="*/ 1 h 6"/>
                  <a:gd name="T20" fmla="*/ 6 w 18"/>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6">
                    <a:moveTo>
                      <a:pt x="6" y="0"/>
                    </a:moveTo>
                    <a:cubicBezTo>
                      <a:pt x="5" y="0"/>
                      <a:pt x="4" y="0"/>
                      <a:pt x="3" y="1"/>
                    </a:cubicBezTo>
                    <a:cubicBezTo>
                      <a:pt x="2" y="1"/>
                      <a:pt x="1" y="2"/>
                      <a:pt x="0" y="2"/>
                    </a:cubicBezTo>
                    <a:cubicBezTo>
                      <a:pt x="0" y="5"/>
                      <a:pt x="11" y="6"/>
                      <a:pt x="12" y="6"/>
                    </a:cubicBezTo>
                    <a:cubicBezTo>
                      <a:pt x="16" y="5"/>
                      <a:pt x="18" y="3"/>
                      <a:pt x="13" y="2"/>
                    </a:cubicBezTo>
                    <a:cubicBezTo>
                      <a:pt x="13" y="2"/>
                      <a:pt x="13" y="2"/>
                      <a:pt x="13" y="2"/>
                    </a:cubicBezTo>
                    <a:cubicBezTo>
                      <a:pt x="12" y="2"/>
                      <a:pt x="12" y="2"/>
                      <a:pt x="11" y="2"/>
                    </a:cubicBezTo>
                    <a:cubicBezTo>
                      <a:pt x="11" y="2"/>
                      <a:pt x="10" y="2"/>
                      <a:pt x="10" y="2"/>
                    </a:cubicBezTo>
                    <a:cubicBezTo>
                      <a:pt x="10" y="2"/>
                      <a:pt x="10" y="2"/>
                      <a:pt x="10" y="2"/>
                    </a:cubicBezTo>
                    <a:cubicBezTo>
                      <a:pt x="9" y="2"/>
                      <a:pt x="9" y="1"/>
                      <a:pt x="9" y="1"/>
                    </a:cubicBezTo>
                    <a:cubicBezTo>
                      <a:pt x="7"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1" name="Freeform 1183">
                <a:extLst>
                  <a:ext uri="{FF2B5EF4-FFF2-40B4-BE49-F238E27FC236}">
                    <a16:creationId xmlns:a16="http://schemas.microsoft.com/office/drawing/2014/main" id="{C90D021D-FCFB-4C10-9ECC-23AE81A58122}"/>
                  </a:ext>
                </a:extLst>
              </p:cNvPr>
              <p:cNvSpPr>
                <a:spLocks/>
              </p:cNvSpPr>
              <p:nvPr/>
            </p:nvSpPr>
            <p:spPr bwMode="auto">
              <a:xfrm>
                <a:off x="2913" y="511"/>
                <a:ext cx="9" cy="24"/>
              </a:xfrm>
              <a:custGeom>
                <a:avLst/>
                <a:gdLst>
                  <a:gd name="T0" fmla="*/ 4 w 4"/>
                  <a:gd name="T1" fmla="*/ 0 h 10"/>
                  <a:gd name="T2" fmla="*/ 4 w 4"/>
                  <a:gd name="T3" fmla="*/ 0 h 10"/>
                  <a:gd name="T4" fmla="*/ 2 w 4"/>
                  <a:gd name="T5" fmla="*/ 2 h 10"/>
                  <a:gd name="T6" fmla="*/ 0 w 4"/>
                  <a:gd name="T7" fmla="*/ 8 h 10"/>
                  <a:gd name="T8" fmla="*/ 1 w 4"/>
                  <a:gd name="T9" fmla="*/ 10 h 10"/>
                  <a:gd name="T10" fmla="*/ 1 w 4"/>
                  <a:gd name="T11" fmla="*/ 9 h 10"/>
                  <a:gd name="T12" fmla="*/ 4 w 4"/>
                  <a:gd name="T13" fmla="*/ 2 h 10"/>
                  <a:gd name="T14" fmla="*/ 4 w 4"/>
                  <a:gd name="T15" fmla="*/ 0 h 10"/>
                  <a:gd name="T16" fmla="*/ 4 w 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4" y="0"/>
                    </a:moveTo>
                    <a:cubicBezTo>
                      <a:pt x="4" y="0"/>
                      <a:pt x="4" y="0"/>
                      <a:pt x="4" y="0"/>
                    </a:cubicBezTo>
                    <a:cubicBezTo>
                      <a:pt x="3" y="1"/>
                      <a:pt x="3" y="1"/>
                      <a:pt x="2" y="2"/>
                    </a:cubicBezTo>
                    <a:cubicBezTo>
                      <a:pt x="1" y="4"/>
                      <a:pt x="0" y="6"/>
                      <a:pt x="0" y="8"/>
                    </a:cubicBezTo>
                    <a:cubicBezTo>
                      <a:pt x="0" y="8"/>
                      <a:pt x="0" y="9"/>
                      <a:pt x="1" y="10"/>
                    </a:cubicBezTo>
                    <a:cubicBezTo>
                      <a:pt x="1" y="9"/>
                      <a:pt x="1" y="9"/>
                      <a:pt x="1" y="9"/>
                    </a:cubicBezTo>
                    <a:cubicBezTo>
                      <a:pt x="3" y="7"/>
                      <a:pt x="4" y="5"/>
                      <a:pt x="4" y="2"/>
                    </a:cubicBezTo>
                    <a:cubicBezTo>
                      <a:pt x="4" y="2"/>
                      <a:pt x="4" y="1"/>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2" name="Freeform 1184">
                <a:extLst>
                  <a:ext uri="{FF2B5EF4-FFF2-40B4-BE49-F238E27FC236}">
                    <a16:creationId xmlns:a16="http://schemas.microsoft.com/office/drawing/2014/main" id="{514AA62F-B547-400F-B552-711829FA4280}"/>
                  </a:ext>
                </a:extLst>
              </p:cNvPr>
              <p:cNvSpPr>
                <a:spLocks/>
              </p:cNvSpPr>
              <p:nvPr/>
            </p:nvSpPr>
            <p:spPr bwMode="auto">
              <a:xfrm>
                <a:off x="2903" y="537"/>
                <a:ext cx="5" cy="7"/>
              </a:xfrm>
              <a:custGeom>
                <a:avLst/>
                <a:gdLst>
                  <a:gd name="T0" fmla="*/ 2 w 2"/>
                  <a:gd name="T1" fmla="*/ 0 h 3"/>
                  <a:gd name="T2" fmla="*/ 2 w 2"/>
                  <a:gd name="T3" fmla="*/ 1 h 3"/>
                  <a:gd name="T4" fmla="*/ 0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2" y="1"/>
                      <a:pt x="2" y="1"/>
                      <a:pt x="2" y="1"/>
                    </a:cubicBezTo>
                    <a:cubicBezTo>
                      <a:pt x="1" y="1"/>
                      <a:pt x="0" y="2"/>
                      <a:pt x="0" y="3"/>
                    </a:cubicBezTo>
                    <a:cubicBezTo>
                      <a:pt x="1" y="2"/>
                      <a:pt x="1" y="2"/>
                      <a:pt x="2" y="1"/>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3" name="Freeform 1185">
                <a:extLst>
                  <a:ext uri="{FF2B5EF4-FFF2-40B4-BE49-F238E27FC236}">
                    <a16:creationId xmlns:a16="http://schemas.microsoft.com/office/drawing/2014/main" id="{669E9559-88C6-4C16-8259-B9D3DE65566D}"/>
                  </a:ext>
                </a:extLst>
              </p:cNvPr>
              <p:cNvSpPr>
                <a:spLocks/>
              </p:cNvSpPr>
              <p:nvPr/>
            </p:nvSpPr>
            <p:spPr bwMode="auto">
              <a:xfrm>
                <a:off x="5177" y="4496"/>
                <a:ext cx="49" cy="52"/>
              </a:xfrm>
              <a:custGeom>
                <a:avLst/>
                <a:gdLst>
                  <a:gd name="T0" fmla="*/ 10 w 21"/>
                  <a:gd name="T1" fmla="*/ 0 h 22"/>
                  <a:gd name="T2" fmla="*/ 6 w 21"/>
                  <a:gd name="T3" fmla="*/ 2 h 22"/>
                  <a:gd name="T4" fmla="*/ 7 w 21"/>
                  <a:gd name="T5" fmla="*/ 8 h 22"/>
                  <a:gd name="T6" fmla="*/ 0 w 21"/>
                  <a:gd name="T7" fmla="*/ 22 h 22"/>
                  <a:gd name="T8" fmla="*/ 5 w 21"/>
                  <a:gd name="T9" fmla="*/ 18 h 22"/>
                  <a:gd name="T10" fmla="*/ 6 w 21"/>
                  <a:gd name="T11" fmla="*/ 18 h 22"/>
                  <a:gd name="T12" fmla="*/ 8 w 21"/>
                  <a:gd name="T13" fmla="*/ 18 h 22"/>
                  <a:gd name="T14" fmla="*/ 10 w 21"/>
                  <a:gd name="T15" fmla="*/ 18 h 22"/>
                  <a:gd name="T16" fmla="*/ 12 w 21"/>
                  <a:gd name="T17" fmla="*/ 18 h 22"/>
                  <a:gd name="T18" fmla="*/ 20 w 21"/>
                  <a:gd name="T19" fmla="*/ 15 h 22"/>
                  <a:gd name="T20" fmla="*/ 20 w 21"/>
                  <a:gd name="T21" fmla="*/ 9 h 22"/>
                  <a:gd name="T22" fmla="*/ 18 w 21"/>
                  <a:gd name="T23" fmla="*/ 11 h 22"/>
                  <a:gd name="T24" fmla="*/ 13 w 21"/>
                  <a:gd name="T25" fmla="*/ 8 h 22"/>
                  <a:gd name="T26" fmla="*/ 15 w 21"/>
                  <a:gd name="T27" fmla="*/ 3 h 22"/>
                  <a:gd name="T28" fmla="*/ 10 w 21"/>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2">
                    <a:moveTo>
                      <a:pt x="10" y="0"/>
                    </a:moveTo>
                    <a:cubicBezTo>
                      <a:pt x="8" y="0"/>
                      <a:pt x="7" y="1"/>
                      <a:pt x="6" y="2"/>
                    </a:cubicBezTo>
                    <a:cubicBezTo>
                      <a:pt x="5" y="3"/>
                      <a:pt x="8" y="6"/>
                      <a:pt x="7" y="8"/>
                    </a:cubicBezTo>
                    <a:cubicBezTo>
                      <a:pt x="7" y="13"/>
                      <a:pt x="1" y="17"/>
                      <a:pt x="0" y="22"/>
                    </a:cubicBezTo>
                    <a:cubicBezTo>
                      <a:pt x="3" y="22"/>
                      <a:pt x="3" y="19"/>
                      <a:pt x="5" y="18"/>
                    </a:cubicBezTo>
                    <a:cubicBezTo>
                      <a:pt x="6" y="18"/>
                      <a:pt x="6" y="18"/>
                      <a:pt x="6" y="18"/>
                    </a:cubicBezTo>
                    <a:cubicBezTo>
                      <a:pt x="7" y="18"/>
                      <a:pt x="8" y="18"/>
                      <a:pt x="8" y="18"/>
                    </a:cubicBezTo>
                    <a:cubicBezTo>
                      <a:pt x="9" y="18"/>
                      <a:pt x="9" y="18"/>
                      <a:pt x="10" y="18"/>
                    </a:cubicBezTo>
                    <a:cubicBezTo>
                      <a:pt x="10" y="18"/>
                      <a:pt x="11" y="18"/>
                      <a:pt x="12" y="18"/>
                    </a:cubicBezTo>
                    <a:cubicBezTo>
                      <a:pt x="14" y="16"/>
                      <a:pt x="19" y="17"/>
                      <a:pt x="20" y="15"/>
                    </a:cubicBezTo>
                    <a:cubicBezTo>
                      <a:pt x="21" y="14"/>
                      <a:pt x="20" y="11"/>
                      <a:pt x="20" y="9"/>
                    </a:cubicBezTo>
                    <a:cubicBezTo>
                      <a:pt x="19" y="10"/>
                      <a:pt x="19" y="11"/>
                      <a:pt x="18" y="11"/>
                    </a:cubicBezTo>
                    <a:cubicBezTo>
                      <a:pt x="17" y="11"/>
                      <a:pt x="15" y="9"/>
                      <a:pt x="13" y="8"/>
                    </a:cubicBezTo>
                    <a:cubicBezTo>
                      <a:pt x="20" y="8"/>
                      <a:pt x="18" y="7"/>
                      <a:pt x="15" y="3"/>
                    </a:cubicBezTo>
                    <a:cubicBezTo>
                      <a:pt x="13" y="2"/>
                      <a:pt x="12"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4" name="Freeform 1186">
                <a:extLst>
                  <a:ext uri="{FF2B5EF4-FFF2-40B4-BE49-F238E27FC236}">
                    <a16:creationId xmlns:a16="http://schemas.microsoft.com/office/drawing/2014/main" id="{8F7F5C84-2161-41F4-8D48-B5EBA8AC51A5}"/>
                  </a:ext>
                </a:extLst>
              </p:cNvPr>
              <p:cNvSpPr>
                <a:spLocks/>
              </p:cNvSpPr>
              <p:nvPr/>
            </p:nvSpPr>
            <p:spPr bwMode="auto">
              <a:xfrm>
                <a:off x="5531" y="3496"/>
                <a:ext cx="404" cy="572"/>
              </a:xfrm>
              <a:custGeom>
                <a:avLst/>
                <a:gdLst>
                  <a:gd name="T0" fmla="*/ 4 w 171"/>
                  <a:gd name="T1" fmla="*/ 1 h 242"/>
                  <a:gd name="T2" fmla="*/ 0 w 171"/>
                  <a:gd name="T3" fmla="*/ 1 h 242"/>
                  <a:gd name="T4" fmla="*/ 20 w 171"/>
                  <a:gd name="T5" fmla="*/ 37 h 242"/>
                  <a:gd name="T6" fmla="*/ 25 w 171"/>
                  <a:gd name="T7" fmla="*/ 34 h 242"/>
                  <a:gd name="T8" fmla="*/ 28 w 171"/>
                  <a:gd name="T9" fmla="*/ 43 h 242"/>
                  <a:gd name="T10" fmla="*/ 42 w 171"/>
                  <a:gd name="T11" fmla="*/ 66 h 242"/>
                  <a:gd name="T12" fmla="*/ 38 w 171"/>
                  <a:gd name="T13" fmla="*/ 57 h 242"/>
                  <a:gd name="T14" fmla="*/ 45 w 171"/>
                  <a:gd name="T15" fmla="*/ 61 h 242"/>
                  <a:gd name="T16" fmla="*/ 47 w 171"/>
                  <a:gd name="T17" fmla="*/ 59 h 242"/>
                  <a:gd name="T18" fmla="*/ 48 w 171"/>
                  <a:gd name="T19" fmla="*/ 62 h 242"/>
                  <a:gd name="T20" fmla="*/ 46 w 171"/>
                  <a:gd name="T21" fmla="*/ 65 h 242"/>
                  <a:gd name="T22" fmla="*/ 44 w 171"/>
                  <a:gd name="T23" fmla="*/ 69 h 242"/>
                  <a:gd name="T24" fmla="*/ 47 w 171"/>
                  <a:gd name="T25" fmla="*/ 75 h 242"/>
                  <a:gd name="T26" fmla="*/ 53 w 171"/>
                  <a:gd name="T27" fmla="*/ 87 h 242"/>
                  <a:gd name="T28" fmla="*/ 57 w 171"/>
                  <a:gd name="T29" fmla="*/ 84 h 242"/>
                  <a:gd name="T30" fmla="*/ 57 w 171"/>
                  <a:gd name="T31" fmla="*/ 95 h 242"/>
                  <a:gd name="T32" fmla="*/ 61 w 171"/>
                  <a:gd name="T33" fmla="*/ 122 h 242"/>
                  <a:gd name="T34" fmla="*/ 63 w 171"/>
                  <a:gd name="T35" fmla="*/ 122 h 242"/>
                  <a:gd name="T36" fmla="*/ 64 w 171"/>
                  <a:gd name="T37" fmla="*/ 122 h 242"/>
                  <a:gd name="T38" fmla="*/ 46 w 171"/>
                  <a:gd name="T39" fmla="*/ 155 h 242"/>
                  <a:gd name="T40" fmla="*/ 42 w 171"/>
                  <a:gd name="T41" fmla="*/ 175 h 242"/>
                  <a:gd name="T42" fmla="*/ 61 w 171"/>
                  <a:gd name="T43" fmla="*/ 183 h 242"/>
                  <a:gd name="T44" fmla="*/ 69 w 171"/>
                  <a:gd name="T45" fmla="*/ 216 h 242"/>
                  <a:gd name="T46" fmla="*/ 57 w 171"/>
                  <a:gd name="T47" fmla="*/ 232 h 242"/>
                  <a:gd name="T48" fmla="*/ 61 w 171"/>
                  <a:gd name="T49" fmla="*/ 232 h 242"/>
                  <a:gd name="T50" fmla="*/ 63 w 171"/>
                  <a:gd name="T51" fmla="*/ 232 h 242"/>
                  <a:gd name="T52" fmla="*/ 66 w 171"/>
                  <a:gd name="T53" fmla="*/ 236 h 242"/>
                  <a:gd name="T54" fmla="*/ 72 w 171"/>
                  <a:gd name="T55" fmla="*/ 236 h 242"/>
                  <a:gd name="T56" fmla="*/ 96 w 171"/>
                  <a:gd name="T57" fmla="*/ 229 h 242"/>
                  <a:gd name="T58" fmla="*/ 117 w 171"/>
                  <a:gd name="T59" fmla="*/ 198 h 242"/>
                  <a:gd name="T60" fmla="*/ 127 w 171"/>
                  <a:gd name="T61" fmla="*/ 175 h 242"/>
                  <a:gd name="T62" fmla="*/ 134 w 171"/>
                  <a:gd name="T63" fmla="*/ 156 h 242"/>
                  <a:gd name="T64" fmla="*/ 150 w 171"/>
                  <a:gd name="T65" fmla="*/ 156 h 242"/>
                  <a:gd name="T66" fmla="*/ 152 w 171"/>
                  <a:gd name="T67" fmla="*/ 159 h 242"/>
                  <a:gd name="T68" fmla="*/ 159 w 171"/>
                  <a:gd name="T69" fmla="*/ 141 h 242"/>
                  <a:gd name="T70" fmla="*/ 166 w 171"/>
                  <a:gd name="T71" fmla="*/ 107 h 242"/>
                  <a:gd name="T72" fmla="*/ 154 w 171"/>
                  <a:gd name="T73" fmla="*/ 107 h 242"/>
                  <a:gd name="T74" fmla="*/ 132 w 171"/>
                  <a:gd name="T75" fmla="*/ 119 h 242"/>
                  <a:gd name="T76" fmla="*/ 101 w 171"/>
                  <a:gd name="T77" fmla="*/ 109 h 242"/>
                  <a:gd name="T78" fmla="*/ 93 w 171"/>
                  <a:gd name="T79" fmla="*/ 90 h 242"/>
                  <a:gd name="T80" fmla="*/ 87 w 171"/>
                  <a:gd name="T81" fmla="*/ 76 h 242"/>
                  <a:gd name="T82" fmla="*/ 87 w 171"/>
                  <a:gd name="T83" fmla="*/ 76 h 242"/>
                  <a:gd name="T84" fmla="*/ 82 w 171"/>
                  <a:gd name="T85" fmla="*/ 71 h 242"/>
                  <a:gd name="T86" fmla="*/ 83 w 171"/>
                  <a:gd name="T87" fmla="*/ 90 h 242"/>
                  <a:gd name="T88" fmla="*/ 67 w 171"/>
                  <a:gd name="T89" fmla="*/ 82 h 242"/>
                  <a:gd name="T90" fmla="*/ 66 w 171"/>
                  <a:gd name="T91" fmla="*/ 82 h 242"/>
                  <a:gd name="T92" fmla="*/ 64 w 171"/>
                  <a:gd name="T93" fmla="*/ 82 h 242"/>
                  <a:gd name="T94" fmla="*/ 58 w 171"/>
                  <a:gd name="T95" fmla="*/ 82 h 242"/>
                  <a:gd name="T96" fmla="*/ 60 w 171"/>
                  <a:gd name="T97" fmla="*/ 70 h 242"/>
                  <a:gd name="T98" fmla="*/ 57 w 171"/>
                  <a:gd name="T99" fmla="*/ 58 h 242"/>
                  <a:gd name="T100" fmla="*/ 48 w 171"/>
                  <a:gd name="T101" fmla="*/ 45 h 242"/>
                  <a:gd name="T102" fmla="*/ 50 w 171"/>
                  <a:gd name="T103" fmla="*/ 45 h 242"/>
                  <a:gd name="T104" fmla="*/ 45 w 171"/>
                  <a:gd name="T105" fmla="*/ 31 h 242"/>
                  <a:gd name="T106" fmla="*/ 31 w 171"/>
                  <a:gd name="T107" fmla="*/ 19 h 242"/>
                  <a:gd name="T108" fmla="*/ 26 w 171"/>
                  <a:gd name="T109" fmla="*/ 17 h 242"/>
                  <a:gd name="T110" fmla="*/ 21 w 171"/>
                  <a:gd name="T111" fmla="*/ 13 h 242"/>
                  <a:gd name="T112" fmla="*/ 18 w 171"/>
                  <a:gd name="T113" fmla="*/ 18 h 242"/>
                  <a:gd name="T114" fmla="*/ 13 w 171"/>
                  <a:gd name="T115" fmla="*/ 14 h 242"/>
                  <a:gd name="T116" fmla="*/ 7 w 171"/>
                  <a:gd name="T117" fmla="*/ 3 h 242"/>
                  <a:gd name="T118" fmla="*/ 9 w 171"/>
                  <a:gd name="T119"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 h="242">
                    <a:moveTo>
                      <a:pt x="8" y="0"/>
                    </a:moveTo>
                    <a:cubicBezTo>
                      <a:pt x="7" y="0"/>
                      <a:pt x="6" y="0"/>
                      <a:pt x="4" y="1"/>
                    </a:cubicBezTo>
                    <a:cubicBezTo>
                      <a:pt x="2" y="1"/>
                      <a:pt x="1" y="1"/>
                      <a:pt x="0" y="1"/>
                    </a:cubicBezTo>
                    <a:cubicBezTo>
                      <a:pt x="0" y="1"/>
                      <a:pt x="0" y="1"/>
                      <a:pt x="0" y="1"/>
                    </a:cubicBezTo>
                    <a:cubicBezTo>
                      <a:pt x="4" y="7"/>
                      <a:pt x="9" y="12"/>
                      <a:pt x="12" y="19"/>
                    </a:cubicBezTo>
                    <a:cubicBezTo>
                      <a:pt x="15" y="24"/>
                      <a:pt x="17" y="31"/>
                      <a:pt x="20" y="37"/>
                    </a:cubicBezTo>
                    <a:cubicBezTo>
                      <a:pt x="21" y="32"/>
                      <a:pt x="23" y="33"/>
                      <a:pt x="26" y="32"/>
                    </a:cubicBezTo>
                    <a:cubicBezTo>
                      <a:pt x="25" y="32"/>
                      <a:pt x="25" y="33"/>
                      <a:pt x="25" y="34"/>
                    </a:cubicBezTo>
                    <a:cubicBezTo>
                      <a:pt x="24" y="33"/>
                      <a:pt x="24" y="33"/>
                      <a:pt x="24" y="33"/>
                    </a:cubicBezTo>
                    <a:cubicBezTo>
                      <a:pt x="24" y="36"/>
                      <a:pt x="27" y="40"/>
                      <a:pt x="28" y="43"/>
                    </a:cubicBezTo>
                    <a:cubicBezTo>
                      <a:pt x="32" y="50"/>
                      <a:pt x="35" y="56"/>
                      <a:pt x="38" y="63"/>
                    </a:cubicBezTo>
                    <a:cubicBezTo>
                      <a:pt x="39" y="64"/>
                      <a:pt x="40" y="66"/>
                      <a:pt x="42" y="66"/>
                    </a:cubicBezTo>
                    <a:cubicBezTo>
                      <a:pt x="42" y="66"/>
                      <a:pt x="43" y="66"/>
                      <a:pt x="43" y="65"/>
                    </a:cubicBezTo>
                    <a:cubicBezTo>
                      <a:pt x="44" y="63"/>
                      <a:pt x="39" y="58"/>
                      <a:pt x="38" y="57"/>
                    </a:cubicBezTo>
                    <a:cubicBezTo>
                      <a:pt x="39" y="58"/>
                      <a:pt x="40" y="57"/>
                      <a:pt x="41" y="58"/>
                    </a:cubicBezTo>
                    <a:cubicBezTo>
                      <a:pt x="43" y="59"/>
                      <a:pt x="43" y="60"/>
                      <a:pt x="45" y="61"/>
                    </a:cubicBezTo>
                    <a:cubicBezTo>
                      <a:pt x="45" y="60"/>
                      <a:pt x="44" y="59"/>
                      <a:pt x="44" y="58"/>
                    </a:cubicBezTo>
                    <a:cubicBezTo>
                      <a:pt x="45" y="58"/>
                      <a:pt x="46" y="59"/>
                      <a:pt x="47" y="59"/>
                    </a:cubicBezTo>
                    <a:cubicBezTo>
                      <a:pt x="48" y="59"/>
                      <a:pt x="49" y="59"/>
                      <a:pt x="49" y="58"/>
                    </a:cubicBezTo>
                    <a:cubicBezTo>
                      <a:pt x="48" y="61"/>
                      <a:pt x="47" y="62"/>
                      <a:pt x="48" y="62"/>
                    </a:cubicBezTo>
                    <a:cubicBezTo>
                      <a:pt x="49" y="62"/>
                      <a:pt x="50" y="62"/>
                      <a:pt x="52" y="61"/>
                    </a:cubicBezTo>
                    <a:cubicBezTo>
                      <a:pt x="50" y="62"/>
                      <a:pt x="47" y="63"/>
                      <a:pt x="46" y="65"/>
                    </a:cubicBezTo>
                    <a:cubicBezTo>
                      <a:pt x="49" y="65"/>
                      <a:pt x="50" y="71"/>
                      <a:pt x="50" y="73"/>
                    </a:cubicBezTo>
                    <a:cubicBezTo>
                      <a:pt x="48" y="72"/>
                      <a:pt x="47" y="69"/>
                      <a:pt x="44" y="69"/>
                    </a:cubicBezTo>
                    <a:cubicBezTo>
                      <a:pt x="44" y="69"/>
                      <a:pt x="44" y="69"/>
                      <a:pt x="43" y="69"/>
                    </a:cubicBezTo>
                    <a:cubicBezTo>
                      <a:pt x="44" y="71"/>
                      <a:pt x="46" y="73"/>
                      <a:pt x="47" y="75"/>
                    </a:cubicBezTo>
                    <a:cubicBezTo>
                      <a:pt x="50" y="79"/>
                      <a:pt x="50" y="83"/>
                      <a:pt x="53" y="87"/>
                    </a:cubicBezTo>
                    <a:cubicBezTo>
                      <a:pt x="53" y="87"/>
                      <a:pt x="53" y="87"/>
                      <a:pt x="53" y="87"/>
                    </a:cubicBezTo>
                    <a:cubicBezTo>
                      <a:pt x="54" y="87"/>
                      <a:pt x="56" y="85"/>
                      <a:pt x="57" y="85"/>
                    </a:cubicBezTo>
                    <a:cubicBezTo>
                      <a:pt x="57" y="84"/>
                      <a:pt x="57" y="84"/>
                      <a:pt x="57" y="84"/>
                    </a:cubicBezTo>
                    <a:cubicBezTo>
                      <a:pt x="59" y="84"/>
                      <a:pt x="62" y="87"/>
                      <a:pt x="64" y="88"/>
                    </a:cubicBezTo>
                    <a:cubicBezTo>
                      <a:pt x="60" y="89"/>
                      <a:pt x="60" y="91"/>
                      <a:pt x="57" y="95"/>
                    </a:cubicBezTo>
                    <a:cubicBezTo>
                      <a:pt x="63" y="98"/>
                      <a:pt x="64" y="107"/>
                      <a:pt x="66" y="113"/>
                    </a:cubicBezTo>
                    <a:cubicBezTo>
                      <a:pt x="63" y="113"/>
                      <a:pt x="62" y="119"/>
                      <a:pt x="61" y="122"/>
                    </a:cubicBezTo>
                    <a:cubicBezTo>
                      <a:pt x="61" y="122"/>
                      <a:pt x="62" y="122"/>
                      <a:pt x="62" y="122"/>
                    </a:cubicBezTo>
                    <a:cubicBezTo>
                      <a:pt x="62" y="122"/>
                      <a:pt x="62" y="122"/>
                      <a:pt x="63" y="122"/>
                    </a:cubicBezTo>
                    <a:cubicBezTo>
                      <a:pt x="63" y="122"/>
                      <a:pt x="64" y="122"/>
                      <a:pt x="64" y="122"/>
                    </a:cubicBezTo>
                    <a:cubicBezTo>
                      <a:pt x="64" y="122"/>
                      <a:pt x="64" y="122"/>
                      <a:pt x="64" y="122"/>
                    </a:cubicBezTo>
                    <a:cubicBezTo>
                      <a:pt x="58" y="128"/>
                      <a:pt x="60" y="137"/>
                      <a:pt x="56" y="144"/>
                    </a:cubicBezTo>
                    <a:cubicBezTo>
                      <a:pt x="53" y="149"/>
                      <a:pt x="51" y="152"/>
                      <a:pt x="46" y="155"/>
                    </a:cubicBezTo>
                    <a:cubicBezTo>
                      <a:pt x="41" y="158"/>
                      <a:pt x="36" y="161"/>
                      <a:pt x="31" y="163"/>
                    </a:cubicBezTo>
                    <a:cubicBezTo>
                      <a:pt x="34" y="169"/>
                      <a:pt x="37" y="172"/>
                      <a:pt x="42" y="175"/>
                    </a:cubicBezTo>
                    <a:cubicBezTo>
                      <a:pt x="46" y="177"/>
                      <a:pt x="51" y="179"/>
                      <a:pt x="55" y="181"/>
                    </a:cubicBezTo>
                    <a:cubicBezTo>
                      <a:pt x="56" y="182"/>
                      <a:pt x="60" y="182"/>
                      <a:pt x="61" y="183"/>
                    </a:cubicBezTo>
                    <a:cubicBezTo>
                      <a:pt x="67" y="186"/>
                      <a:pt x="73" y="189"/>
                      <a:pt x="74" y="197"/>
                    </a:cubicBezTo>
                    <a:cubicBezTo>
                      <a:pt x="75" y="204"/>
                      <a:pt x="72" y="211"/>
                      <a:pt x="69" y="216"/>
                    </a:cubicBezTo>
                    <a:cubicBezTo>
                      <a:pt x="67" y="219"/>
                      <a:pt x="64" y="222"/>
                      <a:pt x="62" y="225"/>
                    </a:cubicBezTo>
                    <a:cubicBezTo>
                      <a:pt x="61" y="226"/>
                      <a:pt x="56" y="231"/>
                      <a:pt x="57" y="232"/>
                    </a:cubicBezTo>
                    <a:cubicBezTo>
                      <a:pt x="57" y="234"/>
                      <a:pt x="58" y="234"/>
                      <a:pt x="58" y="234"/>
                    </a:cubicBezTo>
                    <a:cubicBezTo>
                      <a:pt x="60" y="234"/>
                      <a:pt x="61" y="233"/>
                      <a:pt x="61" y="232"/>
                    </a:cubicBezTo>
                    <a:cubicBezTo>
                      <a:pt x="62" y="231"/>
                      <a:pt x="62" y="230"/>
                      <a:pt x="62" y="230"/>
                    </a:cubicBezTo>
                    <a:cubicBezTo>
                      <a:pt x="63" y="230"/>
                      <a:pt x="63" y="231"/>
                      <a:pt x="63" y="232"/>
                    </a:cubicBezTo>
                    <a:cubicBezTo>
                      <a:pt x="63" y="235"/>
                      <a:pt x="63" y="236"/>
                      <a:pt x="66" y="236"/>
                    </a:cubicBezTo>
                    <a:cubicBezTo>
                      <a:pt x="66" y="236"/>
                      <a:pt x="66" y="236"/>
                      <a:pt x="66" y="236"/>
                    </a:cubicBezTo>
                    <a:cubicBezTo>
                      <a:pt x="67" y="236"/>
                      <a:pt x="69" y="235"/>
                      <a:pt x="70" y="235"/>
                    </a:cubicBezTo>
                    <a:cubicBezTo>
                      <a:pt x="71" y="235"/>
                      <a:pt x="72" y="235"/>
                      <a:pt x="72" y="236"/>
                    </a:cubicBezTo>
                    <a:cubicBezTo>
                      <a:pt x="74" y="237"/>
                      <a:pt x="74" y="240"/>
                      <a:pt x="74" y="242"/>
                    </a:cubicBezTo>
                    <a:cubicBezTo>
                      <a:pt x="82" y="238"/>
                      <a:pt x="89" y="234"/>
                      <a:pt x="96" y="229"/>
                    </a:cubicBezTo>
                    <a:cubicBezTo>
                      <a:pt x="100" y="226"/>
                      <a:pt x="102" y="218"/>
                      <a:pt x="105" y="214"/>
                    </a:cubicBezTo>
                    <a:cubicBezTo>
                      <a:pt x="108" y="208"/>
                      <a:pt x="114" y="204"/>
                      <a:pt x="117" y="198"/>
                    </a:cubicBezTo>
                    <a:cubicBezTo>
                      <a:pt x="121" y="190"/>
                      <a:pt x="125" y="183"/>
                      <a:pt x="128" y="175"/>
                    </a:cubicBezTo>
                    <a:cubicBezTo>
                      <a:pt x="127" y="175"/>
                      <a:pt x="127" y="175"/>
                      <a:pt x="127" y="175"/>
                    </a:cubicBezTo>
                    <a:cubicBezTo>
                      <a:pt x="122" y="175"/>
                      <a:pt x="123" y="166"/>
                      <a:pt x="125" y="163"/>
                    </a:cubicBezTo>
                    <a:cubicBezTo>
                      <a:pt x="127" y="160"/>
                      <a:pt x="130" y="158"/>
                      <a:pt x="134" y="156"/>
                    </a:cubicBezTo>
                    <a:cubicBezTo>
                      <a:pt x="136" y="156"/>
                      <a:pt x="141" y="155"/>
                      <a:pt x="145" y="155"/>
                    </a:cubicBezTo>
                    <a:cubicBezTo>
                      <a:pt x="147" y="155"/>
                      <a:pt x="149" y="155"/>
                      <a:pt x="150" y="156"/>
                    </a:cubicBezTo>
                    <a:cubicBezTo>
                      <a:pt x="151" y="156"/>
                      <a:pt x="149" y="160"/>
                      <a:pt x="151" y="160"/>
                    </a:cubicBezTo>
                    <a:cubicBezTo>
                      <a:pt x="151" y="160"/>
                      <a:pt x="152" y="160"/>
                      <a:pt x="152" y="159"/>
                    </a:cubicBezTo>
                    <a:cubicBezTo>
                      <a:pt x="155" y="158"/>
                      <a:pt x="154" y="156"/>
                      <a:pt x="153" y="155"/>
                    </a:cubicBezTo>
                    <a:cubicBezTo>
                      <a:pt x="149" y="151"/>
                      <a:pt x="155" y="144"/>
                      <a:pt x="159" y="141"/>
                    </a:cubicBezTo>
                    <a:cubicBezTo>
                      <a:pt x="168" y="133"/>
                      <a:pt x="162" y="123"/>
                      <a:pt x="167" y="114"/>
                    </a:cubicBezTo>
                    <a:cubicBezTo>
                      <a:pt x="169" y="110"/>
                      <a:pt x="171" y="109"/>
                      <a:pt x="166" y="107"/>
                    </a:cubicBezTo>
                    <a:cubicBezTo>
                      <a:pt x="162" y="106"/>
                      <a:pt x="160" y="105"/>
                      <a:pt x="158" y="105"/>
                    </a:cubicBezTo>
                    <a:cubicBezTo>
                      <a:pt x="157" y="105"/>
                      <a:pt x="156" y="105"/>
                      <a:pt x="154" y="107"/>
                    </a:cubicBezTo>
                    <a:cubicBezTo>
                      <a:pt x="151" y="109"/>
                      <a:pt x="147" y="112"/>
                      <a:pt x="143" y="115"/>
                    </a:cubicBezTo>
                    <a:cubicBezTo>
                      <a:pt x="140" y="118"/>
                      <a:pt x="136" y="119"/>
                      <a:pt x="132" y="119"/>
                    </a:cubicBezTo>
                    <a:cubicBezTo>
                      <a:pt x="122" y="119"/>
                      <a:pt x="111" y="111"/>
                      <a:pt x="102" y="108"/>
                    </a:cubicBezTo>
                    <a:cubicBezTo>
                      <a:pt x="101" y="109"/>
                      <a:pt x="101" y="109"/>
                      <a:pt x="101" y="109"/>
                    </a:cubicBezTo>
                    <a:cubicBezTo>
                      <a:pt x="99" y="109"/>
                      <a:pt x="96" y="105"/>
                      <a:pt x="95" y="103"/>
                    </a:cubicBezTo>
                    <a:cubicBezTo>
                      <a:pt x="95" y="99"/>
                      <a:pt x="93" y="95"/>
                      <a:pt x="93" y="90"/>
                    </a:cubicBezTo>
                    <a:cubicBezTo>
                      <a:pt x="93" y="86"/>
                      <a:pt x="93" y="82"/>
                      <a:pt x="89" y="80"/>
                    </a:cubicBezTo>
                    <a:cubicBezTo>
                      <a:pt x="87" y="78"/>
                      <a:pt x="96" y="76"/>
                      <a:pt x="87" y="76"/>
                    </a:cubicBezTo>
                    <a:cubicBezTo>
                      <a:pt x="87" y="76"/>
                      <a:pt x="87" y="76"/>
                      <a:pt x="87" y="76"/>
                    </a:cubicBezTo>
                    <a:cubicBezTo>
                      <a:pt x="87" y="76"/>
                      <a:pt x="87" y="76"/>
                      <a:pt x="87" y="76"/>
                    </a:cubicBezTo>
                    <a:cubicBezTo>
                      <a:pt x="82" y="76"/>
                      <a:pt x="86" y="73"/>
                      <a:pt x="82" y="71"/>
                    </a:cubicBezTo>
                    <a:cubicBezTo>
                      <a:pt x="82" y="71"/>
                      <a:pt x="82" y="71"/>
                      <a:pt x="82" y="71"/>
                    </a:cubicBezTo>
                    <a:cubicBezTo>
                      <a:pt x="80" y="71"/>
                      <a:pt x="81" y="81"/>
                      <a:pt x="81" y="83"/>
                    </a:cubicBezTo>
                    <a:cubicBezTo>
                      <a:pt x="81" y="85"/>
                      <a:pt x="82" y="88"/>
                      <a:pt x="83" y="90"/>
                    </a:cubicBezTo>
                    <a:cubicBezTo>
                      <a:pt x="82" y="91"/>
                      <a:pt x="81" y="91"/>
                      <a:pt x="81" y="91"/>
                    </a:cubicBezTo>
                    <a:cubicBezTo>
                      <a:pt x="75" y="91"/>
                      <a:pt x="72" y="85"/>
                      <a:pt x="67" y="82"/>
                    </a:cubicBezTo>
                    <a:cubicBezTo>
                      <a:pt x="67" y="83"/>
                      <a:pt x="67" y="83"/>
                      <a:pt x="66" y="83"/>
                    </a:cubicBezTo>
                    <a:cubicBezTo>
                      <a:pt x="66" y="83"/>
                      <a:pt x="66" y="83"/>
                      <a:pt x="66" y="82"/>
                    </a:cubicBezTo>
                    <a:cubicBezTo>
                      <a:pt x="65" y="82"/>
                      <a:pt x="65" y="82"/>
                      <a:pt x="65" y="82"/>
                    </a:cubicBezTo>
                    <a:cubicBezTo>
                      <a:pt x="64" y="82"/>
                      <a:pt x="64" y="82"/>
                      <a:pt x="64" y="82"/>
                    </a:cubicBezTo>
                    <a:cubicBezTo>
                      <a:pt x="63" y="81"/>
                      <a:pt x="62" y="81"/>
                      <a:pt x="61" y="81"/>
                    </a:cubicBezTo>
                    <a:cubicBezTo>
                      <a:pt x="60" y="81"/>
                      <a:pt x="59" y="81"/>
                      <a:pt x="58" y="82"/>
                    </a:cubicBezTo>
                    <a:cubicBezTo>
                      <a:pt x="61" y="79"/>
                      <a:pt x="64" y="78"/>
                      <a:pt x="62" y="73"/>
                    </a:cubicBezTo>
                    <a:cubicBezTo>
                      <a:pt x="61" y="71"/>
                      <a:pt x="58" y="74"/>
                      <a:pt x="60" y="70"/>
                    </a:cubicBezTo>
                    <a:cubicBezTo>
                      <a:pt x="60" y="68"/>
                      <a:pt x="61" y="66"/>
                      <a:pt x="63" y="65"/>
                    </a:cubicBezTo>
                    <a:cubicBezTo>
                      <a:pt x="62" y="62"/>
                      <a:pt x="59" y="60"/>
                      <a:pt x="57" y="58"/>
                    </a:cubicBezTo>
                    <a:cubicBezTo>
                      <a:pt x="55" y="55"/>
                      <a:pt x="55" y="51"/>
                      <a:pt x="52" y="49"/>
                    </a:cubicBezTo>
                    <a:cubicBezTo>
                      <a:pt x="51" y="47"/>
                      <a:pt x="48" y="48"/>
                      <a:pt x="48" y="45"/>
                    </a:cubicBezTo>
                    <a:cubicBezTo>
                      <a:pt x="48" y="45"/>
                      <a:pt x="48" y="45"/>
                      <a:pt x="48" y="45"/>
                    </a:cubicBezTo>
                    <a:cubicBezTo>
                      <a:pt x="49" y="45"/>
                      <a:pt x="49" y="45"/>
                      <a:pt x="50" y="45"/>
                    </a:cubicBezTo>
                    <a:cubicBezTo>
                      <a:pt x="50" y="39"/>
                      <a:pt x="49" y="32"/>
                      <a:pt x="47" y="26"/>
                    </a:cubicBezTo>
                    <a:cubicBezTo>
                      <a:pt x="46" y="28"/>
                      <a:pt x="43" y="28"/>
                      <a:pt x="45" y="31"/>
                    </a:cubicBezTo>
                    <a:cubicBezTo>
                      <a:pt x="42" y="30"/>
                      <a:pt x="40" y="28"/>
                      <a:pt x="38" y="27"/>
                    </a:cubicBezTo>
                    <a:cubicBezTo>
                      <a:pt x="45" y="22"/>
                      <a:pt x="33" y="21"/>
                      <a:pt x="31" y="19"/>
                    </a:cubicBezTo>
                    <a:cubicBezTo>
                      <a:pt x="30" y="18"/>
                      <a:pt x="27" y="17"/>
                      <a:pt x="26" y="17"/>
                    </a:cubicBezTo>
                    <a:cubicBezTo>
                      <a:pt x="26" y="17"/>
                      <a:pt x="26" y="17"/>
                      <a:pt x="26" y="17"/>
                    </a:cubicBezTo>
                    <a:cubicBezTo>
                      <a:pt x="24" y="17"/>
                      <a:pt x="23" y="18"/>
                      <a:pt x="22" y="18"/>
                    </a:cubicBezTo>
                    <a:cubicBezTo>
                      <a:pt x="21" y="18"/>
                      <a:pt x="21" y="17"/>
                      <a:pt x="21" y="13"/>
                    </a:cubicBezTo>
                    <a:cubicBezTo>
                      <a:pt x="21" y="14"/>
                      <a:pt x="19" y="14"/>
                      <a:pt x="19" y="15"/>
                    </a:cubicBezTo>
                    <a:cubicBezTo>
                      <a:pt x="18" y="16"/>
                      <a:pt x="19" y="17"/>
                      <a:pt x="18" y="18"/>
                    </a:cubicBezTo>
                    <a:cubicBezTo>
                      <a:pt x="18" y="18"/>
                      <a:pt x="18" y="19"/>
                      <a:pt x="17" y="19"/>
                    </a:cubicBezTo>
                    <a:cubicBezTo>
                      <a:pt x="15" y="19"/>
                      <a:pt x="14" y="15"/>
                      <a:pt x="13" y="14"/>
                    </a:cubicBezTo>
                    <a:cubicBezTo>
                      <a:pt x="11" y="11"/>
                      <a:pt x="7" y="7"/>
                      <a:pt x="6" y="4"/>
                    </a:cubicBezTo>
                    <a:cubicBezTo>
                      <a:pt x="6" y="4"/>
                      <a:pt x="7" y="3"/>
                      <a:pt x="7" y="3"/>
                    </a:cubicBezTo>
                    <a:cubicBezTo>
                      <a:pt x="8" y="3"/>
                      <a:pt x="8" y="4"/>
                      <a:pt x="9" y="4"/>
                    </a:cubicBezTo>
                    <a:cubicBezTo>
                      <a:pt x="10" y="4"/>
                      <a:pt x="11" y="1"/>
                      <a:pt x="9"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5" name="Freeform 1187">
                <a:extLst>
                  <a:ext uri="{FF2B5EF4-FFF2-40B4-BE49-F238E27FC236}">
                    <a16:creationId xmlns:a16="http://schemas.microsoft.com/office/drawing/2014/main" id="{31D8D130-8A87-4C3E-B3EC-301A164E0295}"/>
                  </a:ext>
                </a:extLst>
              </p:cNvPr>
              <p:cNvSpPr>
                <a:spLocks noEditPoints="1"/>
              </p:cNvSpPr>
              <p:nvPr/>
            </p:nvSpPr>
            <p:spPr bwMode="auto">
              <a:xfrm>
                <a:off x="5101" y="3978"/>
                <a:ext cx="544" cy="518"/>
              </a:xfrm>
              <a:custGeom>
                <a:avLst/>
                <a:gdLst>
                  <a:gd name="T0" fmla="*/ 187 w 230"/>
                  <a:gd name="T1" fmla="*/ 1 h 219"/>
                  <a:gd name="T2" fmla="*/ 166 w 230"/>
                  <a:gd name="T3" fmla="*/ 18 h 219"/>
                  <a:gd name="T4" fmla="*/ 150 w 230"/>
                  <a:gd name="T5" fmla="*/ 43 h 219"/>
                  <a:gd name="T6" fmla="*/ 148 w 230"/>
                  <a:gd name="T7" fmla="*/ 43 h 219"/>
                  <a:gd name="T8" fmla="*/ 138 w 230"/>
                  <a:gd name="T9" fmla="*/ 70 h 219"/>
                  <a:gd name="T10" fmla="*/ 80 w 230"/>
                  <a:gd name="T11" fmla="*/ 115 h 219"/>
                  <a:gd name="T12" fmla="*/ 49 w 230"/>
                  <a:gd name="T13" fmla="*/ 134 h 219"/>
                  <a:gd name="T14" fmla="*/ 28 w 230"/>
                  <a:gd name="T15" fmla="*/ 153 h 219"/>
                  <a:gd name="T16" fmla="*/ 24 w 230"/>
                  <a:gd name="T17" fmla="*/ 158 h 219"/>
                  <a:gd name="T18" fmla="*/ 25 w 230"/>
                  <a:gd name="T19" fmla="*/ 160 h 219"/>
                  <a:gd name="T20" fmla="*/ 20 w 230"/>
                  <a:gd name="T21" fmla="*/ 169 h 219"/>
                  <a:gd name="T22" fmla="*/ 16 w 230"/>
                  <a:gd name="T23" fmla="*/ 173 h 219"/>
                  <a:gd name="T24" fmla="*/ 10 w 230"/>
                  <a:gd name="T25" fmla="*/ 179 h 219"/>
                  <a:gd name="T26" fmla="*/ 16 w 230"/>
                  <a:gd name="T27" fmla="*/ 178 h 219"/>
                  <a:gd name="T28" fmla="*/ 15 w 230"/>
                  <a:gd name="T29" fmla="*/ 181 h 219"/>
                  <a:gd name="T30" fmla="*/ 16 w 230"/>
                  <a:gd name="T31" fmla="*/ 185 h 219"/>
                  <a:gd name="T32" fmla="*/ 8 w 230"/>
                  <a:gd name="T33" fmla="*/ 190 h 219"/>
                  <a:gd name="T34" fmla="*/ 10 w 230"/>
                  <a:gd name="T35" fmla="*/ 197 h 219"/>
                  <a:gd name="T36" fmla="*/ 18 w 230"/>
                  <a:gd name="T37" fmla="*/ 202 h 219"/>
                  <a:gd name="T38" fmla="*/ 42 w 230"/>
                  <a:gd name="T39" fmla="*/ 208 h 219"/>
                  <a:gd name="T40" fmla="*/ 59 w 230"/>
                  <a:gd name="T41" fmla="*/ 216 h 219"/>
                  <a:gd name="T42" fmla="*/ 93 w 230"/>
                  <a:gd name="T43" fmla="*/ 213 h 219"/>
                  <a:gd name="T44" fmla="*/ 123 w 230"/>
                  <a:gd name="T45" fmla="*/ 189 h 219"/>
                  <a:gd name="T46" fmla="*/ 138 w 230"/>
                  <a:gd name="T47" fmla="*/ 147 h 219"/>
                  <a:gd name="T48" fmla="*/ 154 w 230"/>
                  <a:gd name="T49" fmla="*/ 128 h 219"/>
                  <a:gd name="T50" fmla="*/ 181 w 230"/>
                  <a:gd name="T51" fmla="*/ 115 h 219"/>
                  <a:gd name="T52" fmla="*/ 178 w 230"/>
                  <a:gd name="T53" fmla="*/ 117 h 219"/>
                  <a:gd name="T54" fmla="*/ 189 w 230"/>
                  <a:gd name="T55" fmla="*/ 119 h 219"/>
                  <a:gd name="T56" fmla="*/ 189 w 230"/>
                  <a:gd name="T57" fmla="*/ 111 h 219"/>
                  <a:gd name="T58" fmla="*/ 185 w 230"/>
                  <a:gd name="T59" fmla="*/ 109 h 219"/>
                  <a:gd name="T60" fmla="*/ 193 w 230"/>
                  <a:gd name="T61" fmla="*/ 89 h 219"/>
                  <a:gd name="T62" fmla="*/ 228 w 230"/>
                  <a:gd name="T63" fmla="*/ 43 h 219"/>
                  <a:gd name="T64" fmla="*/ 228 w 230"/>
                  <a:gd name="T65" fmla="*/ 26 h 219"/>
                  <a:gd name="T66" fmla="*/ 219 w 230"/>
                  <a:gd name="T67" fmla="*/ 26 h 219"/>
                  <a:gd name="T68" fmla="*/ 226 w 230"/>
                  <a:gd name="T69" fmla="*/ 21 h 219"/>
                  <a:gd name="T70" fmla="*/ 227 w 230"/>
                  <a:gd name="T71" fmla="*/ 21 h 219"/>
                  <a:gd name="T72" fmla="*/ 228 w 230"/>
                  <a:gd name="T73" fmla="*/ 21 h 219"/>
                  <a:gd name="T74" fmla="*/ 217 w 230"/>
                  <a:gd name="T75" fmla="*/ 23 h 219"/>
                  <a:gd name="T76" fmla="*/ 223 w 230"/>
                  <a:gd name="T77" fmla="*/ 23 h 219"/>
                  <a:gd name="T78" fmla="*/ 217 w 230"/>
                  <a:gd name="T79" fmla="*/ 20 h 219"/>
                  <a:gd name="T80" fmla="*/ 193 w 230"/>
                  <a:gd name="T81" fmla="*/ 16 h 219"/>
                  <a:gd name="T82" fmla="*/ 187 w 230"/>
                  <a:gd name="T83" fmla="*/ 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219">
                    <a:moveTo>
                      <a:pt x="187" y="1"/>
                    </a:moveTo>
                    <a:cubicBezTo>
                      <a:pt x="187" y="1"/>
                      <a:pt x="187" y="1"/>
                      <a:pt x="188" y="1"/>
                    </a:cubicBezTo>
                    <a:cubicBezTo>
                      <a:pt x="187" y="1"/>
                      <a:pt x="187" y="1"/>
                      <a:pt x="187" y="1"/>
                    </a:cubicBezTo>
                    <a:moveTo>
                      <a:pt x="182" y="0"/>
                    </a:moveTo>
                    <a:cubicBezTo>
                      <a:pt x="178" y="3"/>
                      <a:pt x="174" y="6"/>
                      <a:pt x="170" y="9"/>
                    </a:cubicBezTo>
                    <a:cubicBezTo>
                      <a:pt x="168" y="11"/>
                      <a:pt x="167" y="15"/>
                      <a:pt x="166" y="18"/>
                    </a:cubicBezTo>
                    <a:cubicBezTo>
                      <a:pt x="165" y="22"/>
                      <a:pt x="166" y="25"/>
                      <a:pt x="165" y="28"/>
                    </a:cubicBezTo>
                    <a:cubicBezTo>
                      <a:pt x="164" y="34"/>
                      <a:pt x="158" y="38"/>
                      <a:pt x="153" y="41"/>
                    </a:cubicBezTo>
                    <a:cubicBezTo>
                      <a:pt x="152" y="42"/>
                      <a:pt x="151" y="43"/>
                      <a:pt x="150" y="43"/>
                    </a:cubicBezTo>
                    <a:cubicBezTo>
                      <a:pt x="150" y="43"/>
                      <a:pt x="150" y="43"/>
                      <a:pt x="149" y="43"/>
                    </a:cubicBezTo>
                    <a:cubicBezTo>
                      <a:pt x="149" y="43"/>
                      <a:pt x="149" y="43"/>
                      <a:pt x="149" y="43"/>
                    </a:cubicBezTo>
                    <a:cubicBezTo>
                      <a:pt x="148" y="43"/>
                      <a:pt x="148" y="43"/>
                      <a:pt x="148" y="43"/>
                    </a:cubicBezTo>
                    <a:cubicBezTo>
                      <a:pt x="148" y="43"/>
                      <a:pt x="148" y="43"/>
                      <a:pt x="148" y="43"/>
                    </a:cubicBezTo>
                    <a:cubicBezTo>
                      <a:pt x="146" y="45"/>
                      <a:pt x="146" y="49"/>
                      <a:pt x="145" y="52"/>
                    </a:cubicBezTo>
                    <a:cubicBezTo>
                      <a:pt x="143" y="58"/>
                      <a:pt x="141" y="64"/>
                      <a:pt x="138" y="70"/>
                    </a:cubicBezTo>
                    <a:cubicBezTo>
                      <a:pt x="137" y="75"/>
                      <a:pt x="129" y="79"/>
                      <a:pt x="125" y="83"/>
                    </a:cubicBezTo>
                    <a:cubicBezTo>
                      <a:pt x="118" y="88"/>
                      <a:pt x="111" y="94"/>
                      <a:pt x="104" y="99"/>
                    </a:cubicBezTo>
                    <a:cubicBezTo>
                      <a:pt x="96" y="104"/>
                      <a:pt x="88" y="110"/>
                      <a:pt x="80" y="115"/>
                    </a:cubicBezTo>
                    <a:cubicBezTo>
                      <a:pt x="74" y="119"/>
                      <a:pt x="70" y="122"/>
                      <a:pt x="64" y="123"/>
                    </a:cubicBezTo>
                    <a:cubicBezTo>
                      <a:pt x="61" y="123"/>
                      <a:pt x="56" y="123"/>
                      <a:pt x="55" y="126"/>
                    </a:cubicBezTo>
                    <a:cubicBezTo>
                      <a:pt x="53" y="129"/>
                      <a:pt x="51" y="132"/>
                      <a:pt x="49" y="134"/>
                    </a:cubicBezTo>
                    <a:cubicBezTo>
                      <a:pt x="45" y="139"/>
                      <a:pt x="38" y="141"/>
                      <a:pt x="43" y="147"/>
                    </a:cubicBezTo>
                    <a:cubicBezTo>
                      <a:pt x="40" y="147"/>
                      <a:pt x="38" y="149"/>
                      <a:pt x="35" y="150"/>
                    </a:cubicBezTo>
                    <a:cubicBezTo>
                      <a:pt x="33" y="151"/>
                      <a:pt x="29" y="152"/>
                      <a:pt x="28" y="153"/>
                    </a:cubicBezTo>
                    <a:cubicBezTo>
                      <a:pt x="27" y="154"/>
                      <a:pt x="30" y="156"/>
                      <a:pt x="28" y="158"/>
                    </a:cubicBezTo>
                    <a:cubicBezTo>
                      <a:pt x="28" y="158"/>
                      <a:pt x="27" y="158"/>
                      <a:pt x="25" y="158"/>
                    </a:cubicBezTo>
                    <a:cubicBezTo>
                      <a:pt x="25" y="158"/>
                      <a:pt x="24" y="158"/>
                      <a:pt x="24" y="158"/>
                    </a:cubicBezTo>
                    <a:cubicBezTo>
                      <a:pt x="23" y="158"/>
                      <a:pt x="23" y="158"/>
                      <a:pt x="22" y="158"/>
                    </a:cubicBezTo>
                    <a:cubicBezTo>
                      <a:pt x="22" y="158"/>
                      <a:pt x="22" y="158"/>
                      <a:pt x="21" y="158"/>
                    </a:cubicBezTo>
                    <a:cubicBezTo>
                      <a:pt x="23" y="159"/>
                      <a:pt x="24" y="160"/>
                      <a:pt x="25" y="160"/>
                    </a:cubicBezTo>
                    <a:cubicBezTo>
                      <a:pt x="22" y="162"/>
                      <a:pt x="16" y="160"/>
                      <a:pt x="21" y="165"/>
                    </a:cubicBezTo>
                    <a:cubicBezTo>
                      <a:pt x="20" y="164"/>
                      <a:pt x="19" y="164"/>
                      <a:pt x="19" y="164"/>
                    </a:cubicBezTo>
                    <a:cubicBezTo>
                      <a:pt x="16" y="164"/>
                      <a:pt x="17" y="169"/>
                      <a:pt x="20" y="169"/>
                    </a:cubicBezTo>
                    <a:cubicBezTo>
                      <a:pt x="14" y="170"/>
                      <a:pt x="25" y="174"/>
                      <a:pt x="19" y="176"/>
                    </a:cubicBezTo>
                    <a:cubicBezTo>
                      <a:pt x="21" y="174"/>
                      <a:pt x="20" y="173"/>
                      <a:pt x="18" y="173"/>
                    </a:cubicBezTo>
                    <a:cubicBezTo>
                      <a:pt x="18" y="173"/>
                      <a:pt x="17" y="173"/>
                      <a:pt x="16" y="173"/>
                    </a:cubicBezTo>
                    <a:cubicBezTo>
                      <a:pt x="18" y="172"/>
                      <a:pt x="16" y="171"/>
                      <a:pt x="15" y="171"/>
                    </a:cubicBezTo>
                    <a:cubicBezTo>
                      <a:pt x="12" y="171"/>
                      <a:pt x="8" y="173"/>
                      <a:pt x="8" y="177"/>
                    </a:cubicBezTo>
                    <a:cubicBezTo>
                      <a:pt x="8" y="179"/>
                      <a:pt x="9" y="179"/>
                      <a:pt x="10" y="179"/>
                    </a:cubicBezTo>
                    <a:cubicBezTo>
                      <a:pt x="10" y="179"/>
                      <a:pt x="11" y="179"/>
                      <a:pt x="12" y="178"/>
                    </a:cubicBezTo>
                    <a:cubicBezTo>
                      <a:pt x="13" y="178"/>
                      <a:pt x="13" y="178"/>
                      <a:pt x="14" y="178"/>
                    </a:cubicBezTo>
                    <a:cubicBezTo>
                      <a:pt x="15" y="178"/>
                      <a:pt x="16" y="178"/>
                      <a:pt x="16" y="178"/>
                    </a:cubicBezTo>
                    <a:cubicBezTo>
                      <a:pt x="15" y="179"/>
                      <a:pt x="9" y="180"/>
                      <a:pt x="9" y="181"/>
                    </a:cubicBezTo>
                    <a:cubicBezTo>
                      <a:pt x="10" y="182"/>
                      <a:pt x="10" y="182"/>
                      <a:pt x="11" y="182"/>
                    </a:cubicBezTo>
                    <a:cubicBezTo>
                      <a:pt x="12" y="182"/>
                      <a:pt x="14" y="181"/>
                      <a:pt x="15" y="181"/>
                    </a:cubicBezTo>
                    <a:cubicBezTo>
                      <a:pt x="13" y="182"/>
                      <a:pt x="11" y="183"/>
                      <a:pt x="10" y="184"/>
                    </a:cubicBezTo>
                    <a:cubicBezTo>
                      <a:pt x="11" y="184"/>
                      <a:pt x="11" y="184"/>
                      <a:pt x="12" y="184"/>
                    </a:cubicBezTo>
                    <a:cubicBezTo>
                      <a:pt x="13" y="184"/>
                      <a:pt x="14" y="184"/>
                      <a:pt x="16" y="185"/>
                    </a:cubicBezTo>
                    <a:cubicBezTo>
                      <a:pt x="13" y="186"/>
                      <a:pt x="10" y="186"/>
                      <a:pt x="8" y="187"/>
                    </a:cubicBezTo>
                    <a:cubicBezTo>
                      <a:pt x="2" y="189"/>
                      <a:pt x="0" y="188"/>
                      <a:pt x="2" y="195"/>
                    </a:cubicBezTo>
                    <a:cubicBezTo>
                      <a:pt x="4" y="193"/>
                      <a:pt x="6" y="192"/>
                      <a:pt x="8" y="190"/>
                    </a:cubicBezTo>
                    <a:cubicBezTo>
                      <a:pt x="9" y="193"/>
                      <a:pt x="5" y="194"/>
                      <a:pt x="5" y="197"/>
                    </a:cubicBezTo>
                    <a:cubicBezTo>
                      <a:pt x="8" y="196"/>
                      <a:pt x="10" y="194"/>
                      <a:pt x="13" y="193"/>
                    </a:cubicBezTo>
                    <a:cubicBezTo>
                      <a:pt x="11" y="194"/>
                      <a:pt x="11" y="196"/>
                      <a:pt x="10" y="197"/>
                    </a:cubicBezTo>
                    <a:cubicBezTo>
                      <a:pt x="9" y="198"/>
                      <a:pt x="6" y="199"/>
                      <a:pt x="6" y="200"/>
                    </a:cubicBezTo>
                    <a:cubicBezTo>
                      <a:pt x="6" y="202"/>
                      <a:pt x="10" y="203"/>
                      <a:pt x="13" y="203"/>
                    </a:cubicBezTo>
                    <a:cubicBezTo>
                      <a:pt x="15" y="203"/>
                      <a:pt x="17" y="202"/>
                      <a:pt x="18" y="202"/>
                    </a:cubicBezTo>
                    <a:cubicBezTo>
                      <a:pt x="24" y="202"/>
                      <a:pt x="29" y="202"/>
                      <a:pt x="35" y="202"/>
                    </a:cubicBezTo>
                    <a:cubicBezTo>
                      <a:pt x="35" y="202"/>
                      <a:pt x="35" y="202"/>
                      <a:pt x="35" y="202"/>
                    </a:cubicBezTo>
                    <a:cubicBezTo>
                      <a:pt x="37" y="202"/>
                      <a:pt x="38" y="208"/>
                      <a:pt x="42" y="208"/>
                    </a:cubicBezTo>
                    <a:cubicBezTo>
                      <a:pt x="45" y="209"/>
                      <a:pt x="52" y="209"/>
                      <a:pt x="55" y="211"/>
                    </a:cubicBezTo>
                    <a:cubicBezTo>
                      <a:pt x="58" y="213"/>
                      <a:pt x="56" y="213"/>
                      <a:pt x="56" y="217"/>
                    </a:cubicBezTo>
                    <a:cubicBezTo>
                      <a:pt x="57" y="216"/>
                      <a:pt x="57" y="216"/>
                      <a:pt x="59" y="216"/>
                    </a:cubicBezTo>
                    <a:cubicBezTo>
                      <a:pt x="61" y="216"/>
                      <a:pt x="65" y="217"/>
                      <a:pt x="67" y="218"/>
                    </a:cubicBezTo>
                    <a:cubicBezTo>
                      <a:pt x="70" y="218"/>
                      <a:pt x="72" y="219"/>
                      <a:pt x="74" y="219"/>
                    </a:cubicBezTo>
                    <a:cubicBezTo>
                      <a:pt x="81" y="219"/>
                      <a:pt x="87" y="216"/>
                      <a:pt x="93" y="213"/>
                    </a:cubicBezTo>
                    <a:cubicBezTo>
                      <a:pt x="102" y="209"/>
                      <a:pt x="105" y="200"/>
                      <a:pt x="112" y="195"/>
                    </a:cubicBezTo>
                    <a:cubicBezTo>
                      <a:pt x="116" y="192"/>
                      <a:pt x="121" y="192"/>
                      <a:pt x="125" y="190"/>
                    </a:cubicBezTo>
                    <a:cubicBezTo>
                      <a:pt x="125" y="189"/>
                      <a:pt x="124" y="189"/>
                      <a:pt x="123" y="189"/>
                    </a:cubicBezTo>
                    <a:cubicBezTo>
                      <a:pt x="122" y="189"/>
                      <a:pt x="121" y="190"/>
                      <a:pt x="120" y="190"/>
                    </a:cubicBezTo>
                    <a:cubicBezTo>
                      <a:pt x="120" y="180"/>
                      <a:pt x="130" y="168"/>
                      <a:pt x="136" y="159"/>
                    </a:cubicBezTo>
                    <a:cubicBezTo>
                      <a:pt x="138" y="156"/>
                      <a:pt x="139" y="152"/>
                      <a:pt x="138" y="147"/>
                    </a:cubicBezTo>
                    <a:cubicBezTo>
                      <a:pt x="138" y="145"/>
                      <a:pt x="138" y="143"/>
                      <a:pt x="139" y="141"/>
                    </a:cubicBezTo>
                    <a:cubicBezTo>
                      <a:pt x="140" y="139"/>
                      <a:pt x="140" y="137"/>
                      <a:pt x="141" y="135"/>
                    </a:cubicBezTo>
                    <a:cubicBezTo>
                      <a:pt x="143" y="132"/>
                      <a:pt x="150" y="129"/>
                      <a:pt x="154" y="128"/>
                    </a:cubicBezTo>
                    <a:cubicBezTo>
                      <a:pt x="159" y="125"/>
                      <a:pt x="164" y="122"/>
                      <a:pt x="169" y="119"/>
                    </a:cubicBezTo>
                    <a:cubicBezTo>
                      <a:pt x="172" y="117"/>
                      <a:pt x="175" y="114"/>
                      <a:pt x="178" y="114"/>
                    </a:cubicBezTo>
                    <a:cubicBezTo>
                      <a:pt x="179" y="114"/>
                      <a:pt x="180" y="115"/>
                      <a:pt x="181" y="115"/>
                    </a:cubicBezTo>
                    <a:cubicBezTo>
                      <a:pt x="179" y="117"/>
                      <a:pt x="176" y="116"/>
                      <a:pt x="174" y="117"/>
                    </a:cubicBezTo>
                    <a:cubicBezTo>
                      <a:pt x="174" y="117"/>
                      <a:pt x="175" y="117"/>
                      <a:pt x="175" y="117"/>
                    </a:cubicBezTo>
                    <a:cubicBezTo>
                      <a:pt x="176" y="117"/>
                      <a:pt x="177" y="117"/>
                      <a:pt x="178" y="117"/>
                    </a:cubicBezTo>
                    <a:cubicBezTo>
                      <a:pt x="179" y="117"/>
                      <a:pt x="180" y="117"/>
                      <a:pt x="181" y="117"/>
                    </a:cubicBezTo>
                    <a:cubicBezTo>
                      <a:pt x="182" y="117"/>
                      <a:pt x="182" y="117"/>
                      <a:pt x="183" y="117"/>
                    </a:cubicBezTo>
                    <a:cubicBezTo>
                      <a:pt x="185" y="117"/>
                      <a:pt x="187" y="119"/>
                      <a:pt x="189" y="119"/>
                    </a:cubicBezTo>
                    <a:cubicBezTo>
                      <a:pt x="189" y="119"/>
                      <a:pt x="189" y="119"/>
                      <a:pt x="189" y="119"/>
                    </a:cubicBezTo>
                    <a:cubicBezTo>
                      <a:pt x="196" y="118"/>
                      <a:pt x="193" y="110"/>
                      <a:pt x="190" y="110"/>
                    </a:cubicBezTo>
                    <a:cubicBezTo>
                      <a:pt x="190" y="110"/>
                      <a:pt x="189" y="110"/>
                      <a:pt x="189" y="111"/>
                    </a:cubicBezTo>
                    <a:cubicBezTo>
                      <a:pt x="189" y="110"/>
                      <a:pt x="188" y="109"/>
                      <a:pt x="188" y="109"/>
                    </a:cubicBezTo>
                    <a:cubicBezTo>
                      <a:pt x="187" y="109"/>
                      <a:pt x="187" y="109"/>
                      <a:pt x="186" y="110"/>
                    </a:cubicBezTo>
                    <a:cubicBezTo>
                      <a:pt x="186" y="109"/>
                      <a:pt x="185" y="109"/>
                      <a:pt x="185" y="109"/>
                    </a:cubicBezTo>
                    <a:cubicBezTo>
                      <a:pt x="184" y="109"/>
                      <a:pt x="183" y="110"/>
                      <a:pt x="182" y="110"/>
                    </a:cubicBezTo>
                    <a:cubicBezTo>
                      <a:pt x="182" y="108"/>
                      <a:pt x="182" y="103"/>
                      <a:pt x="183" y="101"/>
                    </a:cubicBezTo>
                    <a:cubicBezTo>
                      <a:pt x="184" y="97"/>
                      <a:pt x="190" y="92"/>
                      <a:pt x="193" y="89"/>
                    </a:cubicBezTo>
                    <a:cubicBezTo>
                      <a:pt x="200" y="80"/>
                      <a:pt x="207" y="72"/>
                      <a:pt x="214" y="63"/>
                    </a:cubicBezTo>
                    <a:cubicBezTo>
                      <a:pt x="217" y="58"/>
                      <a:pt x="220" y="54"/>
                      <a:pt x="223" y="50"/>
                    </a:cubicBezTo>
                    <a:cubicBezTo>
                      <a:pt x="224" y="48"/>
                      <a:pt x="228" y="45"/>
                      <a:pt x="228" y="43"/>
                    </a:cubicBezTo>
                    <a:cubicBezTo>
                      <a:pt x="229" y="41"/>
                      <a:pt x="225" y="36"/>
                      <a:pt x="224" y="34"/>
                    </a:cubicBezTo>
                    <a:cubicBezTo>
                      <a:pt x="221" y="27"/>
                      <a:pt x="226" y="30"/>
                      <a:pt x="229" y="26"/>
                    </a:cubicBezTo>
                    <a:cubicBezTo>
                      <a:pt x="229" y="26"/>
                      <a:pt x="229" y="26"/>
                      <a:pt x="228" y="26"/>
                    </a:cubicBezTo>
                    <a:cubicBezTo>
                      <a:pt x="227" y="26"/>
                      <a:pt x="226" y="26"/>
                      <a:pt x="225" y="26"/>
                    </a:cubicBezTo>
                    <a:cubicBezTo>
                      <a:pt x="223" y="27"/>
                      <a:pt x="222" y="27"/>
                      <a:pt x="221" y="27"/>
                    </a:cubicBezTo>
                    <a:cubicBezTo>
                      <a:pt x="220" y="27"/>
                      <a:pt x="220" y="27"/>
                      <a:pt x="219" y="26"/>
                    </a:cubicBezTo>
                    <a:cubicBezTo>
                      <a:pt x="221" y="25"/>
                      <a:pt x="223" y="26"/>
                      <a:pt x="224" y="25"/>
                    </a:cubicBezTo>
                    <a:cubicBezTo>
                      <a:pt x="227" y="23"/>
                      <a:pt x="224" y="23"/>
                      <a:pt x="226" y="21"/>
                    </a:cubicBezTo>
                    <a:cubicBezTo>
                      <a:pt x="226" y="21"/>
                      <a:pt x="226" y="21"/>
                      <a:pt x="226" y="21"/>
                    </a:cubicBezTo>
                    <a:cubicBezTo>
                      <a:pt x="226" y="21"/>
                      <a:pt x="226" y="21"/>
                      <a:pt x="226" y="21"/>
                    </a:cubicBezTo>
                    <a:cubicBezTo>
                      <a:pt x="226" y="22"/>
                      <a:pt x="226" y="22"/>
                      <a:pt x="227" y="22"/>
                    </a:cubicBezTo>
                    <a:cubicBezTo>
                      <a:pt x="227" y="22"/>
                      <a:pt x="227" y="22"/>
                      <a:pt x="227" y="21"/>
                    </a:cubicBezTo>
                    <a:cubicBezTo>
                      <a:pt x="227" y="22"/>
                      <a:pt x="227" y="22"/>
                      <a:pt x="227" y="22"/>
                    </a:cubicBezTo>
                    <a:cubicBezTo>
                      <a:pt x="227" y="22"/>
                      <a:pt x="227" y="21"/>
                      <a:pt x="227" y="21"/>
                    </a:cubicBezTo>
                    <a:cubicBezTo>
                      <a:pt x="228" y="21"/>
                      <a:pt x="228" y="21"/>
                      <a:pt x="228" y="21"/>
                    </a:cubicBezTo>
                    <a:cubicBezTo>
                      <a:pt x="228" y="21"/>
                      <a:pt x="228" y="21"/>
                      <a:pt x="228" y="21"/>
                    </a:cubicBezTo>
                    <a:cubicBezTo>
                      <a:pt x="229" y="20"/>
                      <a:pt x="229" y="19"/>
                      <a:pt x="230" y="18"/>
                    </a:cubicBezTo>
                    <a:cubicBezTo>
                      <a:pt x="228" y="18"/>
                      <a:pt x="218" y="22"/>
                      <a:pt x="217" y="23"/>
                    </a:cubicBezTo>
                    <a:cubicBezTo>
                      <a:pt x="217" y="24"/>
                      <a:pt x="218" y="24"/>
                      <a:pt x="219" y="24"/>
                    </a:cubicBezTo>
                    <a:cubicBezTo>
                      <a:pt x="220" y="24"/>
                      <a:pt x="221" y="24"/>
                      <a:pt x="222" y="24"/>
                    </a:cubicBezTo>
                    <a:cubicBezTo>
                      <a:pt x="222" y="24"/>
                      <a:pt x="223" y="23"/>
                      <a:pt x="223" y="23"/>
                    </a:cubicBezTo>
                    <a:cubicBezTo>
                      <a:pt x="223" y="23"/>
                      <a:pt x="223" y="23"/>
                      <a:pt x="224" y="23"/>
                    </a:cubicBezTo>
                    <a:cubicBezTo>
                      <a:pt x="221" y="25"/>
                      <a:pt x="218" y="24"/>
                      <a:pt x="216" y="27"/>
                    </a:cubicBezTo>
                    <a:cubicBezTo>
                      <a:pt x="216" y="24"/>
                      <a:pt x="217" y="22"/>
                      <a:pt x="217" y="20"/>
                    </a:cubicBezTo>
                    <a:cubicBezTo>
                      <a:pt x="218" y="19"/>
                      <a:pt x="217" y="17"/>
                      <a:pt x="219" y="15"/>
                    </a:cubicBezTo>
                    <a:cubicBezTo>
                      <a:pt x="210" y="18"/>
                      <a:pt x="204" y="23"/>
                      <a:pt x="197" y="28"/>
                    </a:cubicBezTo>
                    <a:cubicBezTo>
                      <a:pt x="196" y="24"/>
                      <a:pt x="195" y="19"/>
                      <a:pt x="193" y="16"/>
                    </a:cubicBezTo>
                    <a:cubicBezTo>
                      <a:pt x="192" y="12"/>
                      <a:pt x="191" y="13"/>
                      <a:pt x="187" y="12"/>
                    </a:cubicBezTo>
                    <a:cubicBezTo>
                      <a:pt x="185" y="11"/>
                      <a:pt x="184" y="10"/>
                      <a:pt x="184" y="7"/>
                    </a:cubicBezTo>
                    <a:cubicBezTo>
                      <a:pt x="185" y="5"/>
                      <a:pt x="185" y="1"/>
                      <a:pt x="187" y="1"/>
                    </a:cubicBezTo>
                    <a:cubicBezTo>
                      <a:pt x="187" y="1"/>
                      <a:pt x="187" y="1"/>
                      <a:pt x="187" y="1"/>
                    </a:cubicBezTo>
                    <a:cubicBezTo>
                      <a:pt x="186" y="1"/>
                      <a:pt x="184"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6" name="Freeform 1188">
                <a:extLst>
                  <a:ext uri="{FF2B5EF4-FFF2-40B4-BE49-F238E27FC236}">
                    <a16:creationId xmlns:a16="http://schemas.microsoft.com/office/drawing/2014/main" id="{4AFCFCC9-7DC4-4417-B837-BE3196D93434}"/>
                  </a:ext>
                </a:extLst>
              </p:cNvPr>
              <p:cNvSpPr>
                <a:spLocks/>
              </p:cNvSpPr>
              <p:nvPr/>
            </p:nvSpPr>
            <p:spPr bwMode="auto">
              <a:xfrm>
                <a:off x="5947" y="4758"/>
                <a:ext cx="7" cy="5"/>
              </a:xfrm>
              <a:custGeom>
                <a:avLst/>
                <a:gdLst>
                  <a:gd name="T0" fmla="*/ 1 w 3"/>
                  <a:gd name="T1" fmla="*/ 0 h 2"/>
                  <a:gd name="T2" fmla="*/ 0 w 3"/>
                  <a:gd name="T3" fmla="*/ 1 h 2"/>
                  <a:gd name="T4" fmla="*/ 0 w 3"/>
                  <a:gd name="T5" fmla="*/ 2 h 2"/>
                  <a:gd name="T6" fmla="*/ 3 w 3"/>
                  <a:gd name="T7" fmla="*/ 0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0" y="0"/>
                      <a:pt x="0" y="1"/>
                      <a:pt x="0" y="1"/>
                    </a:cubicBezTo>
                    <a:cubicBezTo>
                      <a:pt x="0" y="1"/>
                      <a:pt x="0" y="2"/>
                      <a:pt x="0" y="2"/>
                    </a:cubicBezTo>
                    <a:cubicBezTo>
                      <a:pt x="1" y="2"/>
                      <a:pt x="2" y="1"/>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7" name="Freeform 1189">
                <a:extLst>
                  <a:ext uri="{FF2B5EF4-FFF2-40B4-BE49-F238E27FC236}">
                    <a16:creationId xmlns:a16="http://schemas.microsoft.com/office/drawing/2014/main" id="{CCCB8D5B-9B64-47A5-AC34-85F51AAD9B17}"/>
                  </a:ext>
                </a:extLst>
              </p:cNvPr>
              <p:cNvSpPr>
                <a:spLocks/>
              </p:cNvSpPr>
              <p:nvPr/>
            </p:nvSpPr>
            <p:spPr bwMode="auto">
              <a:xfrm>
                <a:off x="5056" y="4836"/>
                <a:ext cx="38" cy="31"/>
              </a:xfrm>
              <a:custGeom>
                <a:avLst/>
                <a:gdLst>
                  <a:gd name="T0" fmla="*/ 12 w 16"/>
                  <a:gd name="T1" fmla="*/ 0 h 13"/>
                  <a:gd name="T2" fmla="*/ 10 w 16"/>
                  <a:gd name="T3" fmla="*/ 4 h 13"/>
                  <a:gd name="T4" fmla="*/ 7 w 16"/>
                  <a:gd name="T5" fmla="*/ 7 h 13"/>
                  <a:gd name="T6" fmla="*/ 13 w 16"/>
                  <a:gd name="T7" fmla="*/ 13 h 13"/>
                  <a:gd name="T8" fmla="*/ 12 w 16"/>
                  <a:gd name="T9" fmla="*/ 7 h 13"/>
                  <a:gd name="T10" fmla="*/ 16 w 16"/>
                  <a:gd name="T11" fmla="*/ 2 h 13"/>
                  <a:gd name="T12" fmla="*/ 12 w 1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6" h="13">
                    <a:moveTo>
                      <a:pt x="12" y="0"/>
                    </a:moveTo>
                    <a:cubicBezTo>
                      <a:pt x="11" y="0"/>
                      <a:pt x="10" y="1"/>
                      <a:pt x="10" y="4"/>
                    </a:cubicBezTo>
                    <a:cubicBezTo>
                      <a:pt x="10" y="6"/>
                      <a:pt x="8" y="6"/>
                      <a:pt x="7" y="7"/>
                    </a:cubicBezTo>
                    <a:cubicBezTo>
                      <a:pt x="0" y="13"/>
                      <a:pt x="9" y="10"/>
                      <a:pt x="13" y="13"/>
                    </a:cubicBezTo>
                    <a:cubicBezTo>
                      <a:pt x="13" y="11"/>
                      <a:pt x="12" y="9"/>
                      <a:pt x="12" y="7"/>
                    </a:cubicBezTo>
                    <a:cubicBezTo>
                      <a:pt x="12" y="5"/>
                      <a:pt x="14" y="3"/>
                      <a:pt x="16" y="2"/>
                    </a:cubicBezTo>
                    <a:cubicBezTo>
                      <a:pt x="14" y="0"/>
                      <a:pt x="13"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8" name="Freeform 1190">
                <a:extLst>
                  <a:ext uri="{FF2B5EF4-FFF2-40B4-BE49-F238E27FC236}">
                    <a16:creationId xmlns:a16="http://schemas.microsoft.com/office/drawing/2014/main" id="{A6936013-B90E-44EE-9E10-E050FEAE8991}"/>
                  </a:ext>
                </a:extLst>
              </p:cNvPr>
              <p:cNvSpPr>
                <a:spLocks/>
              </p:cNvSpPr>
              <p:nvPr/>
            </p:nvSpPr>
            <p:spPr bwMode="auto">
              <a:xfrm>
                <a:off x="5281" y="5014"/>
                <a:ext cx="11" cy="7"/>
              </a:xfrm>
              <a:custGeom>
                <a:avLst/>
                <a:gdLst>
                  <a:gd name="T0" fmla="*/ 5 w 5"/>
                  <a:gd name="T1" fmla="*/ 0 h 3"/>
                  <a:gd name="T2" fmla="*/ 0 w 5"/>
                  <a:gd name="T3" fmla="*/ 1 h 3"/>
                  <a:gd name="T4" fmla="*/ 0 w 5"/>
                  <a:gd name="T5" fmla="*/ 1 h 3"/>
                  <a:gd name="T6" fmla="*/ 3 w 5"/>
                  <a:gd name="T7" fmla="*/ 3 h 3"/>
                  <a:gd name="T8" fmla="*/ 5 w 5"/>
                  <a:gd name="T9" fmla="*/ 0 h 3"/>
                </a:gdLst>
                <a:ahLst/>
                <a:cxnLst>
                  <a:cxn ang="0">
                    <a:pos x="T0" y="T1"/>
                  </a:cxn>
                  <a:cxn ang="0">
                    <a:pos x="T2" y="T3"/>
                  </a:cxn>
                  <a:cxn ang="0">
                    <a:pos x="T4" y="T5"/>
                  </a:cxn>
                  <a:cxn ang="0">
                    <a:pos x="T6" y="T7"/>
                  </a:cxn>
                  <a:cxn ang="0">
                    <a:pos x="T8" y="T9"/>
                  </a:cxn>
                </a:cxnLst>
                <a:rect l="0" t="0" r="r" b="b"/>
                <a:pathLst>
                  <a:path w="5" h="3">
                    <a:moveTo>
                      <a:pt x="5" y="0"/>
                    </a:moveTo>
                    <a:cubicBezTo>
                      <a:pt x="3" y="0"/>
                      <a:pt x="2" y="1"/>
                      <a:pt x="0" y="1"/>
                    </a:cubicBezTo>
                    <a:cubicBezTo>
                      <a:pt x="0" y="1"/>
                      <a:pt x="0" y="1"/>
                      <a:pt x="0" y="1"/>
                    </a:cubicBezTo>
                    <a:cubicBezTo>
                      <a:pt x="1" y="2"/>
                      <a:pt x="2" y="3"/>
                      <a:pt x="3" y="3"/>
                    </a:cubicBezTo>
                    <a:cubicBezTo>
                      <a:pt x="4" y="3"/>
                      <a:pt x="5"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9" name="Freeform 1191">
                <a:extLst>
                  <a:ext uri="{FF2B5EF4-FFF2-40B4-BE49-F238E27FC236}">
                    <a16:creationId xmlns:a16="http://schemas.microsoft.com/office/drawing/2014/main" id="{68CEE342-825F-462F-9861-BD0CBE1FE9F6}"/>
                  </a:ext>
                </a:extLst>
              </p:cNvPr>
              <p:cNvSpPr>
                <a:spLocks/>
              </p:cNvSpPr>
              <p:nvPr/>
            </p:nvSpPr>
            <p:spPr bwMode="auto">
              <a:xfrm>
                <a:off x="5167" y="2017"/>
                <a:ext cx="17" cy="11"/>
              </a:xfrm>
              <a:custGeom>
                <a:avLst/>
                <a:gdLst>
                  <a:gd name="T0" fmla="*/ 4 w 7"/>
                  <a:gd name="T1" fmla="*/ 0 h 5"/>
                  <a:gd name="T2" fmla="*/ 2 w 7"/>
                  <a:gd name="T3" fmla="*/ 5 h 5"/>
                  <a:gd name="T4" fmla="*/ 3 w 7"/>
                  <a:gd name="T5" fmla="*/ 5 h 5"/>
                  <a:gd name="T6" fmla="*/ 4 w 7"/>
                  <a:gd name="T7" fmla="*/ 5 h 5"/>
                  <a:gd name="T8" fmla="*/ 5 w 7"/>
                  <a:gd name="T9" fmla="*/ 5 h 5"/>
                  <a:gd name="T10" fmla="*/ 5 w 7"/>
                  <a:gd name="T11" fmla="*/ 0 h 5"/>
                  <a:gd name="T12" fmla="*/ 4 w 7"/>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4" y="0"/>
                    </a:moveTo>
                    <a:cubicBezTo>
                      <a:pt x="2" y="0"/>
                      <a:pt x="0" y="3"/>
                      <a:pt x="2" y="5"/>
                    </a:cubicBezTo>
                    <a:cubicBezTo>
                      <a:pt x="2" y="5"/>
                      <a:pt x="2" y="5"/>
                      <a:pt x="3" y="5"/>
                    </a:cubicBezTo>
                    <a:cubicBezTo>
                      <a:pt x="4" y="5"/>
                      <a:pt x="4" y="5"/>
                      <a:pt x="4" y="5"/>
                    </a:cubicBezTo>
                    <a:cubicBezTo>
                      <a:pt x="5" y="5"/>
                      <a:pt x="5" y="5"/>
                      <a:pt x="5" y="5"/>
                    </a:cubicBezTo>
                    <a:cubicBezTo>
                      <a:pt x="6" y="3"/>
                      <a:pt x="7" y="1"/>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0" name="Freeform 1192">
                <a:extLst>
                  <a:ext uri="{FF2B5EF4-FFF2-40B4-BE49-F238E27FC236}">
                    <a16:creationId xmlns:a16="http://schemas.microsoft.com/office/drawing/2014/main" id="{52F1ED0B-8163-4E3B-B138-CF89859F0388}"/>
                  </a:ext>
                </a:extLst>
              </p:cNvPr>
              <p:cNvSpPr>
                <a:spLocks noEditPoints="1"/>
              </p:cNvSpPr>
              <p:nvPr/>
            </p:nvSpPr>
            <p:spPr bwMode="auto">
              <a:xfrm>
                <a:off x="5186" y="1981"/>
                <a:ext cx="5" cy="5"/>
              </a:xfrm>
              <a:custGeom>
                <a:avLst/>
                <a:gdLst>
                  <a:gd name="T0" fmla="*/ 0 w 2"/>
                  <a:gd name="T1" fmla="*/ 1 h 2"/>
                  <a:gd name="T2" fmla="*/ 0 w 2"/>
                  <a:gd name="T3" fmla="*/ 2 h 2"/>
                  <a:gd name="T4" fmla="*/ 0 w 2"/>
                  <a:gd name="T5" fmla="*/ 1 h 2"/>
                  <a:gd name="T6" fmla="*/ 1 w 2"/>
                  <a:gd name="T7" fmla="*/ 0 h 2"/>
                  <a:gd name="T8" fmla="*/ 0 w 2"/>
                  <a:gd name="T9" fmla="*/ 1 h 2"/>
                  <a:gd name="T10" fmla="*/ 2 w 2"/>
                  <a:gd name="T11" fmla="*/ 0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2"/>
                      <a:pt x="0" y="2"/>
                    </a:cubicBezTo>
                    <a:cubicBezTo>
                      <a:pt x="0" y="2"/>
                      <a:pt x="0" y="1"/>
                      <a:pt x="0" y="1"/>
                    </a:cubicBezTo>
                    <a:moveTo>
                      <a:pt x="1" y="0"/>
                    </a:moveTo>
                    <a:cubicBezTo>
                      <a:pt x="1" y="0"/>
                      <a:pt x="1" y="1"/>
                      <a:pt x="0" y="1"/>
                    </a:cubicBezTo>
                    <a:cubicBezTo>
                      <a:pt x="1" y="1"/>
                      <a:pt x="1" y="1"/>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1" name="Freeform 1193">
                <a:extLst>
                  <a:ext uri="{FF2B5EF4-FFF2-40B4-BE49-F238E27FC236}">
                    <a16:creationId xmlns:a16="http://schemas.microsoft.com/office/drawing/2014/main" id="{3B154655-1889-41CA-9382-E5E9871C5AF6}"/>
                  </a:ext>
                </a:extLst>
              </p:cNvPr>
              <p:cNvSpPr>
                <a:spLocks/>
              </p:cNvSpPr>
              <p:nvPr/>
            </p:nvSpPr>
            <p:spPr bwMode="auto">
              <a:xfrm>
                <a:off x="5148" y="2121"/>
                <a:ext cx="12" cy="9"/>
              </a:xfrm>
              <a:custGeom>
                <a:avLst/>
                <a:gdLst>
                  <a:gd name="T0" fmla="*/ 2 w 5"/>
                  <a:gd name="T1" fmla="*/ 0 h 4"/>
                  <a:gd name="T2" fmla="*/ 1 w 5"/>
                  <a:gd name="T3" fmla="*/ 0 h 4"/>
                  <a:gd name="T4" fmla="*/ 0 w 5"/>
                  <a:gd name="T5" fmla="*/ 0 h 4"/>
                  <a:gd name="T6" fmla="*/ 0 w 5"/>
                  <a:gd name="T7" fmla="*/ 1 h 4"/>
                  <a:gd name="T8" fmla="*/ 3 w 5"/>
                  <a:gd name="T9" fmla="*/ 4 h 4"/>
                  <a:gd name="T10" fmla="*/ 2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2" y="0"/>
                    </a:moveTo>
                    <a:cubicBezTo>
                      <a:pt x="1" y="0"/>
                      <a:pt x="1" y="0"/>
                      <a:pt x="1" y="0"/>
                    </a:cubicBezTo>
                    <a:cubicBezTo>
                      <a:pt x="0" y="0"/>
                      <a:pt x="0" y="0"/>
                      <a:pt x="0" y="0"/>
                    </a:cubicBezTo>
                    <a:cubicBezTo>
                      <a:pt x="0" y="1"/>
                      <a:pt x="0" y="1"/>
                      <a:pt x="0" y="1"/>
                    </a:cubicBezTo>
                    <a:cubicBezTo>
                      <a:pt x="1" y="2"/>
                      <a:pt x="2" y="3"/>
                      <a:pt x="3" y="4"/>
                    </a:cubicBezTo>
                    <a:cubicBezTo>
                      <a:pt x="5" y="1"/>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2" name="Freeform 1194">
                <a:extLst>
                  <a:ext uri="{FF2B5EF4-FFF2-40B4-BE49-F238E27FC236}">
                    <a16:creationId xmlns:a16="http://schemas.microsoft.com/office/drawing/2014/main" id="{D72E4FF2-E078-47F9-82B3-BCB26B38B373}"/>
                  </a:ext>
                </a:extLst>
              </p:cNvPr>
              <p:cNvSpPr>
                <a:spLocks/>
              </p:cNvSpPr>
              <p:nvPr/>
            </p:nvSpPr>
            <p:spPr bwMode="auto">
              <a:xfrm>
                <a:off x="5219" y="2187"/>
                <a:ext cx="24" cy="19"/>
              </a:xfrm>
              <a:custGeom>
                <a:avLst/>
                <a:gdLst>
                  <a:gd name="T0" fmla="*/ 0 w 10"/>
                  <a:gd name="T1" fmla="*/ 0 h 8"/>
                  <a:gd name="T2" fmla="*/ 0 w 10"/>
                  <a:gd name="T3" fmla="*/ 4 h 8"/>
                  <a:gd name="T4" fmla="*/ 0 w 10"/>
                  <a:gd name="T5" fmla="*/ 5 h 8"/>
                  <a:gd name="T6" fmla="*/ 10 w 10"/>
                  <a:gd name="T7" fmla="*/ 8 h 8"/>
                  <a:gd name="T8" fmla="*/ 5 w 10"/>
                  <a:gd name="T9" fmla="*/ 4 h 8"/>
                  <a:gd name="T10" fmla="*/ 5 w 10"/>
                  <a:gd name="T11" fmla="*/ 4 h 8"/>
                  <a:gd name="T12" fmla="*/ 4 w 10"/>
                  <a:gd name="T13" fmla="*/ 4 h 8"/>
                  <a:gd name="T14" fmla="*/ 3 w 10"/>
                  <a:gd name="T15" fmla="*/ 4 h 8"/>
                  <a:gd name="T16" fmla="*/ 3 w 10"/>
                  <a:gd name="T17" fmla="*/ 2 h 8"/>
                  <a:gd name="T18" fmla="*/ 0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0" y="0"/>
                    </a:moveTo>
                    <a:cubicBezTo>
                      <a:pt x="0" y="0"/>
                      <a:pt x="0" y="1"/>
                      <a:pt x="0" y="4"/>
                    </a:cubicBezTo>
                    <a:cubicBezTo>
                      <a:pt x="0" y="5"/>
                      <a:pt x="0" y="5"/>
                      <a:pt x="0" y="5"/>
                    </a:cubicBezTo>
                    <a:cubicBezTo>
                      <a:pt x="1" y="8"/>
                      <a:pt x="7" y="8"/>
                      <a:pt x="10" y="8"/>
                    </a:cubicBezTo>
                    <a:cubicBezTo>
                      <a:pt x="9" y="7"/>
                      <a:pt x="7" y="5"/>
                      <a:pt x="5" y="4"/>
                    </a:cubicBezTo>
                    <a:cubicBezTo>
                      <a:pt x="5" y="4"/>
                      <a:pt x="5" y="4"/>
                      <a:pt x="5" y="4"/>
                    </a:cubicBezTo>
                    <a:cubicBezTo>
                      <a:pt x="4" y="4"/>
                      <a:pt x="4" y="4"/>
                      <a:pt x="4" y="4"/>
                    </a:cubicBezTo>
                    <a:cubicBezTo>
                      <a:pt x="4" y="4"/>
                      <a:pt x="3" y="4"/>
                      <a:pt x="3" y="4"/>
                    </a:cubicBezTo>
                    <a:cubicBezTo>
                      <a:pt x="3" y="3"/>
                      <a:pt x="3" y="2"/>
                      <a:pt x="3" y="2"/>
                    </a:cubicBezTo>
                    <a:cubicBezTo>
                      <a:pt x="2"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3" name="Freeform 1195">
                <a:extLst>
                  <a:ext uri="{FF2B5EF4-FFF2-40B4-BE49-F238E27FC236}">
                    <a16:creationId xmlns:a16="http://schemas.microsoft.com/office/drawing/2014/main" id="{E949989F-22BF-41F3-AD06-B8CC9389E3B6}"/>
                  </a:ext>
                </a:extLst>
              </p:cNvPr>
              <p:cNvSpPr>
                <a:spLocks/>
              </p:cNvSpPr>
              <p:nvPr/>
            </p:nvSpPr>
            <p:spPr bwMode="auto">
              <a:xfrm>
                <a:off x="5108" y="2052"/>
                <a:ext cx="50" cy="69"/>
              </a:xfrm>
              <a:custGeom>
                <a:avLst/>
                <a:gdLst>
                  <a:gd name="T0" fmla="*/ 2 w 21"/>
                  <a:gd name="T1" fmla="*/ 0 h 29"/>
                  <a:gd name="T2" fmla="*/ 0 w 21"/>
                  <a:gd name="T3" fmla="*/ 4 h 29"/>
                  <a:gd name="T4" fmla="*/ 1 w 21"/>
                  <a:gd name="T5" fmla="*/ 7 h 29"/>
                  <a:gd name="T6" fmla="*/ 3 w 21"/>
                  <a:gd name="T7" fmla="*/ 13 h 29"/>
                  <a:gd name="T8" fmla="*/ 4 w 21"/>
                  <a:gd name="T9" fmla="*/ 20 h 29"/>
                  <a:gd name="T10" fmla="*/ 7 w 21"/>
                  <a:gd name="T11" fmla="*/ 29 h 29"/>
                  <a:gd name="T12" fmla="*/ 14 w 21"/>
                  <a:gd name="T13" fmla="*/ 28 h 29"/>
                  <a:gd name="T14" fmla="*/ 14 w 21"/>
                  <a:gd name="T15" fmla="*/ 28 h 29"/>
                  <a:gd name="T16" fmla="*/ 15 w 21"/>
                  <a:gd name="T17" fmla="*/ 28 h 29"/>
                  <a:gd name="T18" fmla="*/ 16 w 21"/>
                  <a:gd name="T19" fmla="*/ 28 h 29"/>
                  <a:gd name="T20" fmla="*/ 16 w 21"/>
                  <a:gd name="T21" fmla="*/ 28 h 29"/>
                  <a:gd name="T22" fmla="*/ 20 w 21"/>
                  <a:gd name="T23" fmla="*/ 26 h 29"/>
                  <a:gd name="T24" fmla="*/ 21 w 21"/>
                  <a:gd name="T25" fmla="*/ 26 h 29"/>
                  <a:gd name="T26" fmla="*/ 21 w 21"/>
                  <a:gd name="T27" fmla="*/ 26 h 29"/>
                  <a:gd name="T28" fmla="*/ 21 w 21"/>
                  <a:gd name="T29" fmla="*/ 26 h 29"/>
                  <a:gd name="T30" fmla="*/ 17 w 21"/>
                  <a:gd name="T31" fmla="*/ 14 h 29"/>
                  <a:gd name="T32" fmla="*/ 16 w 21"/>
                  <a:gd name="T33" fmla="*/ 8 h 29"/>
                  <a:gd name="T34" fmla="*/ 15 w 21"/>
                  <a:gd name="T35" fmla="*/ 8 h 29"/>
                  <a:gd name="T36" fmla="*/ 12 w 21"/>
                  <a:gd name="T37" fmla="*/ 15 h 29"/>
                  <a:gd name="T38" fmla="*/ 11 w 21"/>
                  <a:gd name="T39" fmla="*/ 15 h 29"/>
                  <a:gd name="T40" fmla="*/ 8 w 21"/>
                  <a:gd name="T41" fmla="*/ 13 h 29"/>
                  <a:gd name="T42" fmla="*/ 7 w 21"/>
                  <a:gd name="T43" fmla="*/ 7 h 29"/>
                  <a:gd name="T44" fmla="*/ 5 w 21"/>
                  <a:gd name="T45" fmla="*/ 4 h 29"/>
                  <a:gd name="T46" fmla="*/ 5 w 21"/>
                  <a:gd name="T47" fmla="*/ 3 h 29"/>
                  <a:gd name="T48" fmla="*/ 2 w 21"/>
                  <a:gd name="T4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9">
                    <a:moveTo>
                      <a:pt x="2" y="0"/>
                    </a:moveTo>
                    <a:cubicBezTo>
                      <a:pt x="1" y="0"/>
                      <a:pt x="1" y="1"/>
                      <a:pt x="0" y="4"/>
                    </a:cubicBezTo>
                    <a:cubicBezTo>
                      <a:pt x="0" y="5"/>
                      <a:pt x="1" y="6"/>
                      <a:pt x="1" y="7"/>
                    </a:cubicBezTo>
                    <a:cubicBezTo>
                      <a:pt x="1" y="9"/>
                      <a:pt x="2" y="11"/>
                      <a:pt x="3" y="13"/>
                    </a:cubicBezTo>
                    <a:cubicBezTo>
                      <a:pt x="3" y="16"/>
                      <a:pt x="3" y="17"/>
                      <a:pt x="4" y="20"/>
                    </a:cubicBezTo>
                    <a:cubicBezTo>
                      <a:pt x="4" y="23"/>
                      <a:pt x="8" y="27"/>
                      <a:pt x="7" y="29"/>
                    </a:cubicBezTo>
                    <a:cubicBezTo>
                      <a:pt x="9" y="29"/>
                      <a:pt x="11" y="28"/>
                      <a:pt x="14" y="28"/>
                    </a:cubicBezTo>
                    <a:cubicBezTo>
                      <a:pt x="14" y="28"/>
                      <a:pt x="14" y="28"/>
                      <a:pt x="14" y="28"/>
                    </a:cubicBezTo>
                    <a:cubicBezTo>
                      <a:pt x="14" y="28"/>
                      <a:pt x="14" y="28"/>
                      <a:pt x="15" y="28"/>
                    </a:cubicBezTo>
                    <a:cubicBezTo>
                      <a:pt x="15" y="28"/>
                      <a:pt x="15" y="28"/>
                      <a:pt x="16" y="28"/>
                    </a:cubicBezTo>
                    <a:cubicBezTo>
                      <a:pt x="16" y="28"/>
                      <a:pt x="16" y="28"/>
                      <a:pt x="16" y="28"/>
                    </a:cubicBezTo>
                    <a:cubicBezTo>
                      <a:pt x="17" y="28"/>
                      <a:pt x="18" y="26"/>
                      <a:pt x="20" y="26"/>
                    </a:cubicBezTo>
                    <a:cubicBezTo>
                      <a:pt x="20" y="26"/>
                      <a:pt x="20" y="26"/>
                      <a:pt x="21" y="26"/>
                    </a:cubicBezTo>
                    <a:cubicBezTo>
                      <a:pt x="21" y="26"/>
                      <a:pt x="21" y="26"/>
                      <a:pt x="21" y="26"/>
                    </a:cubicBezTo>
                    <a:cubicBezTo>
                      <a:pt x="21" y="26"/>
                      <a:pt x="21" y="26"/>
                      <a:pt x="21" y="26"/>
                    </a:cubicBezTo>
                    <a:cubicBezTo>
                      <a:pt x="20" y="22"/>
                      <a:pt x="19" y="18"/>
                      <a:pt x="17" y="14"/>
                    </a:cubicBezTo>
                    <a:cubicBezTo>
                      <a:pt x="16" y="12"/>
                      <a:pt x="15" y="10"/>
                      <a:pt x="16" y="8"/>
                    </a:cubicBezTo>
                    <a:cubicBezTo>
                      <a:pt x="16" y="8"/>
                      <a:pt x="15" y="8"/>
                      <a:pt x="15" y="8"/>
                    </a:cubicBezTo>
                    <a:cubicBezTo>
                      <a:pt x="12" y="8"/>
                      <a:pt x="14" y="14"/>
                      <a:pt x="12" y="15"/>
                    </a:cubicBezTo>
                    <a:cubicBezTo>
                      <a:pt x="11" y="15"/>
                      <a:pt x="11" y="15"/>
                      <a:pt x="11" y="15"/>
                    </a:cubicBezTo>
                    <a:cubicBezTo>
                      <a:pt x="9" y="15"/>
                      <a:pt x="9" y="14"/>
                      <a:pt x="8" y="13"/>
                    </a:cubicBezTo>
                    <a:cubicBezTo>
                      <a:pt x="7" y="11"/>
                      <a:pt x="8" y="9"/>
                      <a:pt x="7" y="7"/>
                    </a:cubicBezTo>
                    <a:cubicBezTo>
                      <a:pt x="7" y="6"/>
                      <a:pt x="6" y="5"/>
                      <a:pt x="5" y="4"/>
                    </a:cubicBezTo>
                    <a:cubicBezTo>
                      <a:pt x="5" y="4"/>
                      <a:pt x="5" y="4"/>
                      <a:pt x="5" y="3"/>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4" name="Freeform 1196">
                <a:extLst>
                  <a:ext uri="{FF2B5EF4-FFF2-40B4-BE49-F238E27FC236}">
                    <a16:creationId xmlns:a16="http://schemas.microsoft.com/office/drawing/2014/main" id="{1CFF889F-8417-45A0-BD59-44420D57163D}"/>
                  </a:ext>
                </a:extLst>
              </p:cNvPr>
              <p:cNvSpPr>
                <a:spLocks/>
              </p:cNvSpPr>
              <p:nvPr/>
            </p:nvSpPr>
            <p:spPr bwMode="auto">
              <a:xfrm>
                <a:off x="5151" y="2139"/>
                <a:ext cx="47" cy="50"/>
              </a:xfrm>
              <a:custGeom>
                <a:avLst/>
                <a:gdLst>
                  <a:gd name="T0" fmla="*/ 3 w 20"/>
                  <a:gd name="T1" fmla="*/ 0 h 21"/>
                  <a:gd name="T2" fmla="*/ 1 w 20"/>
                  <a:gd name="T3" fmla="*/ 2 h 21"/>
                  <a:gd name="T4" fmla="*/ 3 w 20"/>
                  <a:gd name="T5" fmla="*/ 8 h 21"/>
                  <a:gd name="T6" fmla="*/ 4 w 20"/>
                  <a:gd name="T7" fmla="*/ 8 h 21"/>
                  <a:gd name="T8" fmla="*/ 5 w 20"/>
                  <a:gd name="T9" fmla="*/ 8 h 21"/>
                  <a:gd name="T10" fmla="*/ 5 w 20"/>
                  <a:gd name="T11" fmla="*/ 7 h 21"/>
                  <a:gd name="T12" fmla="*/ 7 w 20"/>
                  <a:gd name="T13" fmla="*/ 9 h 21"/>
                  <a:gd name="T14" fmla="*/ 7 w 20"/>
                  <a:gd name="T15" fmla="*/ 12 h 21"/>
                  <a:gd name="T16" fmla="*/ 11 w 20"/>
                  <a:gd name="T17" fmla="*/ 21 h 21"/>
                  <a:gd name="T18" fmla="*/ 17 w 20"/>
                  <a:gd name="T19" fmla="*/ 18 h 21"/>
                  <a:gd name="T20" fmla="*/ 20 w 20"/>
                  <a:gd name="T21" fmla="*/ 16 h 21"/>
                  <a:gd name="T22" fmla="*/ 19 w 20"/>
                  <a:gd name="T23" fmla="*/ 16 h 21"/>
                  <a:gd name="T24" fmla="*/ 15 w 20"/>
                  <a:gd name="T25" fmla="*/ 10 h 21"/>
                  <a:gd name="T26" fmla="*/ 10 w 20"/>
                  <a:gd name="T27" fmla="*/ 6 h 21"/>
                  <a:gd name="T28" fmla="*/ 10 w 20"/>
                  <a:gd name="T29" fmla="*/ 7 h 21"/>
                  <a:gd name="T30" fmla="*/ 5 w 20"/>
                  <a:gd name="T31" fmla="*/ 1 h 21"/>
                  <a:gd name="T32" fmla="*/ 3 w 20"/>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1">
                    <a:moveTo>
                      <a:pt x="3" y="0"/>
                    </a:moveTo>
                    <a:cubicBezTo>
                      <a:pt x="2" y="0"/>
                      <a:pt x="2" y="1"/>
                      <a:pt x="1" y="2"/>
                    </a:cubicBezTo>
                    <a:cubicBezTo>
                      <a:pt x="0" y="5"/>
                      <a:pt x="0" y="7"/>
                      <a:pt x="3" y="8"/>
                    </a:cubicBezTo>
                    <a:cubicBezTo>
                      <a:pt x="3" y="8"/>
                      <a:pt x="3" y="8"/>
                      <a:pt x="4" y="8"/>
                    </a:cubicBezTo>
                    <a:cubicBezTo>
                      <a:pt x="4" y="8"/>
                      <a:pt x="4" y="8"/>
                      <a:pt x="5" y="8"/>
                    </a:cubicBezTo>
                    <a:cubicBezTo>
                      <a:pt x="5" y="7"/>
                      <a:pt x="5" y="7"/>
                      <a:pt x="5" y="7"/>
                    </a:cubicBezTo>
                    <a:cubicBezTo>
                      <a:pt x="6" y="7"/>
                      <a:pt x="6" y="8"/>
                      <a:pt x="7" y="9"/>
                    </a:cubicBezTo>
                    <a:cubicBezTo>
                      <a:pt x="7" y="10"/>
                      <a:pt x="7" y="11"/>
                      <a:pt x="7" y="12"/>
                    </a:cubicBezTo>
                    <a:cubicBezTo>
                      <a:pt x="8" y="15"/>
                      <a:pt x="8" y="20"/>
                      <a:pt x="11" y="21"/>
                    </a:cubicBezTo>
                    <a:cubicBezTo>
                      <a:pt x="12" y="20"/>
                      <a:pt x="15" y="19"/>
                      <a:pt x="17" y="18"/>
                    </a:cubicBezTo>
                    <a:cubicBezTo>
                      <a:pt x="18" y="17"/>
                      <a:pt x="19" y="17"/>
                      <a:pt x="20" y="16"/>
                    </a:cubicBezTo>
                    <a:cubicBezTo>
                      <a:pt x="20" y="16"/>
                      <a:pt x="20" y="16"/>
                      <a:pt x="19" y="16"/>
                    </a:cubicBezTo>
                    <a:cubicBezTo>
                      <a:pt x="19" y="14"/>
                      <a:pt x="17" y="12"/>
                      <a:pt x="15" y="10"/>
                    </a:cubicBezTo>
                    <a:cubicBezTo>
                      <a:pt x="13" y="9"/>
                      <a:pt x="11" y="8"/>
                      <a:pt x="10" y="6"/>
                    </a:cubicBezTo>
                    <a:cubicBezTo>
                      <a:pt x="10" y="7"/>
                      <a:pt x="10" y="7"/>
                      <a:pt x="10" y="7"/>
                    </a:cubicBezTo>
                    <a:cubicBezTo>
                      <a:pt x="8" y="6"/>
                      <a:pt x="7" y="3"/>
                      <a:pt x="5" y="1"/>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5" name="Freeform 1197">
                <a:extLst>
                  <a:ext uri="{FF2B5EF4-FFF2-40B4-BE49-F238E27FC236}">
                    <a16:creationId xmlns:a16="http://schemas.microsoft.com/office/drawing/2014/main" id="{93782951-4BA6-47ED-9790-B422B1AC3D08}"/>
                  </a:ext>
                </a:extLst>
              </p:cNvPr>
              <p:cNvSpPr>
                <a:spLocks/>
              </p:cNvSpPr>
              <p:nvPr/>
            </p:nvSpPr>
            <p:spPr bwMode="auto">
              <a:xfrm>
                <a:off x="5174" y="1986"/>
                <a:ext cx="7" cy="16"/>
              </a:xfrm>
              <a:custGeom>
                <a:avLst/>
                <a:gdLst>
                  <a:gd name="T0" fmla="*/ 0 w 3"/>
                  <a:gd name="T1" fmla="*/ 0 h 7"/>
                  <a:gd name="T2" fmla="*/ 0 w 3"/>
                  <a:gd name="T3" fmla="*/ 3 h 7"/>
                  <a:gd name="T4" fmla="*/ 0 w 3"/>
                  <a:gd name="T5" fmla="*/ 7 h 7"/>
                  <a:gd name="T6" fmla="*/ 2 w 3"/>
                  <a:gd name="T7" fmla="*/ 3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0" y="1"/>
                      <a:pt x="0" y="2"/>
                      <a:pt x="0" y="3"/>
                    </a:cubicBezTo>
                    <a:cubicBezTo>
                      <a:pt x="0" y="4"/>
                      <a:pt x="0" y="6"/>
                      <a:pt x="0" y="7"/>
                    </a:cubicBezTo>
                    <a:cubicBezTo>
                      <a:pt x="2" y="6"/>
                      <a:pt x="3" y="4"/>
                      <a:pt x="2" y="3"/>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6" name="Freeform 1198">
                <a:extLst>
                  <a:ext uri="{FF2B5EF4-FFF2-40B4-BE49-F238E27FC236}">
                    <a16:creationId xmlns:a16="http://schemas.microsoft.com/office/drawing/2014/main" id="{17B69255-8519-45B8-A9A8-3645C8501D63}"/>
                  </a:ext>
                </a:extLst>
              </p:cNvPr>
              <p:cNvSpPr>
                <a:spLocks/>
              </p:cNvSpPr>
              <p:nvPr/>
            </p:nvSpPr>
            <p:spPr bwMode="auto">
              <a:xfrm>
                <a:off x="5188" y="2097"/>
                <a:ext cx="22" cy="14"/>
              </a:xfrm>
              <a:custGeom>
                <a:avLst/>
                <a:gdLst>
                  <a:gd name="T0" fmla="*/ 8 w 9"/>
                  <a:gd name="T1" fmla="*/ 0 h 6"/>
                  <a:gd name="T2" fmla="*/ 2 w 9"/>
                  <a:gd name="T3" fmla="*/ 3 h 6"/>
                  <a:gd name="T4" fmla="*/ 0 w 9"/>
                  <a:gd name="T5" fmla="*/ 4 h 6"/>
                  <a:gd name="T6" fmla="*/ 3 w 9"/>
                  <a:gd name="T7" fmla="*/ 5 h 6"/>
                  <a:gd name="T8" fmla="*/ 4 w 9"/>
                  <a:gd name="T9" fmla="*/ 6 h 6"/>
                  <a:gd name="T10" fmla="*/ 5 w 9"/>
                  <a:gd name="T11" fmla="*/ 6 h 6"/>
                  <a:gd name="T12" fmla="*/ 9 w 9"/>
                  <a:gd name="T13" fmla="*/ 0 h 6"/>
                  <a:gd name="T14" fmla="*/ 9 w 9"/>
                  <a:gd name="T15" fmla="*/ 0 h 6"/>
                  <a:gd name="T16" fmla="*/ 8 w 9"/>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8" y="0"/>
                    </a:moveTo>
                    <a:cubicBezTo>
                      <a:pt x="5" y="0"/>
                      <a:pt x="4" y="1"/>
                      <a:pt x="2" y="3"/>
                    </a:cubicBezTo>
                    <a:cubicBezTo>
                      <a:pt x="1" y="3"/>
                      <a:pt x="1" y="4"/>
                      <a:pt x="0" y="4"/>
                    </a:cubicBezTo>
                    <a:cubicBezTo>
                      <a:pt x="1" y="5"/>
                      <a:pt x="2" y="5"/>
                      <a:pt x="3" y="5"/>
                    </a:cubicBezTo>
                    <a:cubicBezTo>
                      <a:pt x="4" y="6"/>
                      <a:pt x="4" y="6"/>
                      <a:pt x="4" y="6"/>
                    </a:cubicBezTo>
                    <a:cubicBezTo>
                      <a:pt x="4" y="6"/>
                      <a:pt x="4" y="6"/>
                      <a:pt x="5" y="6"/>
                    </a:cubicBezTo>
                    <a:cubicBezTo>
                      <a:pt x="7" y="4"/>
                      <a:pt x="7" y="2"/>
                      <a:pt x="9" y="0"/>
                    </a:cubicBezTo>
                    <a:cubicBezTo>
                      <a:pt x="9" y="0"/>
                      <a:pt x="9"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7" name="Freeform 1199">
                <a:extLst>
                  <a:ext uri="{FF2B5EF4-FFF2-40B4-BE49-F238E27FC236}">
                    <a16:creationId xmlns:a16="http://schemas.microsoft.com/office/drawing/2014/main" id="{8FB05616-3357-4F65-B518-42618251817C}"/>
                  </a:ext>
                </a:extLst>
              </p:cNvPr>
              <p:cNvSpPr>
                <a:spLocks/>
              </p:cNvSpPr>
              <p:nvPr/>
            </p:nvSpPr>
            <p:spPr bwMode="auto">
              <a:xfrm>
                <a:off x="5219" y="2071"/>
                <a:ext cx="5" cy="33"/>
              </a:xfrm>
              <a:custGeom>
                <a:avLst/>
                <a:gdLst>
                  <a:gd name="T0" fmla="*/ 0 w 2"/>
                  <a:gd name="T1" fmla="*/ 0 h 14"/>
                  <a:gd name="T2" fmla="*/ 0 w 2"/>
                  <a:gd name="T3" fmla="*/ 2 h 14"/>
                  <a:gd name="T4" fmla="*/ 0 w 2"/>
                  <a:gd name="T5" fmla="*/ 11 h 14"/>
                  <a:gd name="T6" fmla="*/ 0 w 2"/>
                  <a:gd name="T7" fmla="*/ 14 h 14"/>
                  <a:gd name="T8" fmla="*/ 2 w 2"/>
                  <a:gd name="T9" fmla="*/ 11 h 14"/>
                  <a:gd name="T10" fmla="*/ 1 w 2"/>
                  <a:gd name="T11" fmla="*/ 3 h 14"/>
                  <a:gd name="T12" fmla="*/ 0 w 2"/>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 h="14">
                    <a:moveTo>
                      <a:pt x="0" y="0"/>
                    </a:moveTo>
                    <a:cubicBezTo>
                      <a:pt x="0" y="1"/>
                      <a:pt x="0" y="2"/>
                      <a:pt x="0" y="2"/>
                    </a:cubicBezTo>
                    <a:cubicBezTo>
                      <a:pt x="0" y="5"/>
                      <a:pt x="0" y="8"/>
                      <a:pt x="0" y="11"/>
                    </a:cubicBezTo>
                    <a:cubicBezTo>
                      <a:pt x="0" y="12"/>
                      <a:pt x="0" y="13"/>
                      <a:pt x="0" y="14"/>
                    </a:cubicBezTo>
                    <a:cubicBezTo>
                      <a:pt x="1" y="13"/>
                      <a:pt x="1" y="12"/>
                      <a:pt x="2" y="11"/>
                    </a:cubicBezTo>
                    <a:cubicBezTo>
                      <a:pt x="2" y="8"/>
                      <a:pt x="1" y="6"/>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8" name="Freeform 1200">
                <a:extLst>
                  <a:ext uri="{FF2B5EF4-FFF2-40B4-BE49-F238E27FC236}">
                    <a16:creationId xmlns:a16="http://schemas.microsoft.com/office/drawing/2014/main" id="{B14EA656-427F-434F-8369-B802AC624C0D}"/>
                  </a:ext>
                </a:extLst>
              </p:cNvPr>
              <p:cNvSpPr>
                <a:spLocks/>
              </p:cNvSpPr>
              <p:nvPr/>
            </p:nvSpPr>
            <p:spPr bwMode="auto">
              <a:xfrm>
                <a:off x="5222" y="2113"/>
                <a:ext cx="7" cy="34"/>
              </a:xfrm>
              <a:custGeom>
                <a:avLst/>
                <a:gdLst>
                  <a:gd name="T0" fmla="*/ 0 w 3"/>
                  <a:gd name="T1" fmla="*/ 0 h 14"/>
                  <a:gd name="T2" fmla="*/ 1 w 3"/>
                  <a:gd name="T3" fmla="*/ 3 h 14"/>
                  <a:gd name="T4" fmla="*/ 1 w 3"/>
                  <a:gd name="T5" fmla="*/ 5 h 14"/>
                  <a:gd name="T6" fmla="*/ 1 w 3"/>
                  <a:gd name="T7" fmla="*/ 8 h 14"/>
                  <a:gd name="T8" fmla="*/ 1 w 3"/>
                  <a:gd name="T9" fmla="*/ 14 h 14"/>
                  <a:gd name="T10" fmla="*/ 2 w 3"/>
                  <a:gd name="T11" fmla="*/ 8 h 14"/>
                  <a:gd name="T12" fmla="*/ 2 w 3"/>
                  <a:gd name="T13" fmla="*/ 4 h 14"/>
                  <a:gd name="T14" fmla="*/ 2 w 3"/>
                  <a:gd name="T15" fmla="*/ 3 h 14"/>
                  <a:gd name="T16" fmla="*/ 2 w 3"/>
                  <a:gd name="T17" fmla="*/ 3 h 14"/>
                  <a:gd name="T18" fmla="*/ 0 w 3"/>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4">
                    <a:moveTo>
                      <a:pt x="0" y="0"/>
                    </a:moveTo>
                    <a:cubicBezTo>
                      <a:pt x="0" y="1"/>
                      <a:pt x="1" y="2"/>
                      <a:pt x="1" y="3"/>
                    </a:cubicBezTo>
                    <a:cubicBezTo>
                      <a:pt x="1" y="4"/>
                      <a:pt x="1" y="5"/>
                      <a:pt x="1" y="5"/>
                    </a:cubicBezTo>
                    <a:cubicBezTo>
                      <a:pt x="1" y="6"/>
                      <a:pt x="1" y="7"/>
                      <a:pt x="1" y="8"/>
                    </a:cubicBezTo>
                    <a:cubicBezTo>
                      <a:pt x="1" y="10"/>
                      <a:pt x="1" y="12"/>
                      <a:pt x="1" y="14"/>
                    </a:cubicBezTo>
                    <a:cubicBezTo>
                      <a:pt x="2" y="13"/>
                      <a:pt x="3" y="11"/>
                      <a:pt x="2" y="8"/>
                    </a:cubicBezTo>
                    <a:cubicBezTo>
                      <a:pt x="2" y="7"/>
                      <a:pt x="2" y="5"/>
                      <a:pt x="2" y="4"/>
                    </a:cubicBezTo>
                    <a:cubicBezTo>
                      <a:pt x="2" y="3"/>
                      <a:pt x="2" y="3"/>
                      <a:pt x="2" y="3"/>
                    </a:cubicBezTo>
                    <a:cubicBezTo>
                      <a:pt x="2" y="3"/>
                      <a:pt x="2" y="3"/>
                      <a:pt x="2" y="3"/>
                    </a:cubicBezTo>
                    <a:cubicBezTo>
                      <a:pt x="1"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9" name="Freeform 1201">
                <a:extLst>
                  <a:ext uri="{FF2B5EF4-FFF2-40B4-BE49-F238E27FC236}">
                    <a16:creationId xmlns:a16="http://schemas.microsoft.com/office/drawing/2014/main" id="{26B21694-A348-47CB-8A5E-F30881F839F5}"/>
                  </a:ext>
                </a:extLst>
              </p:cNvPr>
              <p:cNvSpPr>
                <a:spLocks/>
              </p:cNvSpPr>
              <p:nvPr/>
            </p:nvSpPr>
            <p:spPr bwMode="auto">
              <a:xfrm>
                <a:off x="5205" y="2154"/>
                <a:ext cx="28" cy="19"/>
              </a:xfrm>
              <a:custGeom>
                <a:avLst/>
                <a:gdLst>
                  <a:gd name="T0" fmla="*/ 7 w 12"/>
                  <a:gd name="T1" fmla="*/ 0 h 8"/>
                  <a:gd name="T2" fmla="*/ 5 w 12"/>
                  <a:gd name="T3" fmla="*/ 2 h 8"/>
                  <a:gd name="T4" fmla="*/ 2 w 12"/>
                  <a:gd name="T5" fmla="*/ 3 h 8"/>
                  <a:gd name="T6" fmla="*/ 2 w 12"/>
                  <a:gd name="T7" fmla="*/ 3 h 8"/>
                  <a:gd name="T8" fmla="*/ 2 w 12"/>
                  <a:gd name="T9" fmla="*/ 3 h 8"/>
                  <a:gd name="T10" fmla="*/ 1 w 12"/>
                  <a:gd name="T11" fmla="*/ 5 h 8"/>
                  <a:gd name="T12" fmla="*/ 2 w 12"/>
                  <a:gd name="T13" fmla="*/ 6 h 8"/>
                  <a:gd name="T14" fmla="*/ 2 w 12"/>
                  <a:gd name="T15" fmla="*/ 7 h 8"/>
                  <a:gd name="T16" fmla="*/ 2 w 12"/>
                  <a:gd name="T17" fmla="*/ 6 h 8"/>
                  <a:gd name="T18" fmla="*/ 6 w 12"/>
                  <a:gd name="T19" fmla="*/ 8 h 8"/>
                  <a:gd name="T20" fmla="*/ 10 w 12"/>
                  <a:gd name="T21" fmla="*/ 4 h 8"/>
                  <a:gd name="T22" fmla="*/ 9 w 12"/>
                  <a:gd name="T23" fmla="*/ 3 h 8"/>
                  <a:gd name="T24" fmla="*/ 9 w 12"/>
                  <a:gd name="T25" fmla="*/ 3 h 8"/>
                  <a:gd name="T26" fmla="*/ 7 w 12"/>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8">
                    <a:moveTo>
                      <a:pt x="7" y="0"/>
                    </a:moveTo>
                    <a:cubicBezTo>
                      <a:pt x="6" y="0"/>
                      <a:pt x="6" y="1"/>
                      <a:pt x="5" y="2"/>
                    </a:cubicBezTo>
                    <a:cubicBezTo>
                      <a:pt x="4" y="2"/>
                      <a:pt x="3" y="3"/>
                      <a:pt x="2" y="3"/>
                    </a:cubicBezTo>
                    <a:cubicBezTo>
                      <a:pt x="2" y="3"/>
                      <a:pt x="2" y="3"/>
                      <a:pt x="2" y="3"/>
                    </a:cubicBezTo>
                    <a:cubicBezTo>
                      <a:pt x="2" y="3"/>
                      <a:pt x="2" y="3"/>
                      <a:pt x="2" y="3"/>
                    </a:cubicBezTo>
                    <a:cubicBezTo>
                      <a:pt x="0" y="3"/>
                      <a:pt x="0" y="4"/>
                      <a:pt x="1" y="5"/>
                    </a:cubicBezTo>
                    <a:cubicBezTo>
                      <a:pt x="2" y="6"/>
                      <a:pt x="2" y="6"/>
                      <a:pt x="2" y="6"/>
                    </a:cubicBezTo>
                    <a:cubicBezTo>
                      <a:pt x="2" y="7"/>
                      <a:pt x="2" y="7"/>
                      <a:pt x="2" y="7"/>
                    </a:cubicBezTo>
                    <a:cubicBezTo>
                      <a:pt x="2" y="6"/>
                      <a:pt x="2" y="6"/>
                      <a:pt x="2" y="6"/>
                    </a:cubicBezTo>
                    <a:cubicBezTo>
                      <a:pt x="4" y="7"/>
                      <a:pt x="5" y="7"/>
                      <a:pt x="6" y="8"/>
                    </a:cubicBezTo>
                    <a:cubicBezTo>
                      <a:pt x="12" y="6"/>
                      <a:pt x="12" y="6"/>
                      <a:pt x="10" y="4"/>
                    </a:cubicBezTo>
                    <a:cubicBezTo>
                      <a:pt x="9" y="3"/>
                      <a:pt x="9" y="3"/>
                      <a:pt x="9" y="3"/>
                    </a:cubicBezTo>
                    <a:cubicBezTo>
                      <a:pt x="9" y="3"/>
                      <a:pt x="9" y="3"/>
                      <a:pt x="9" y="3"/>
                    </a:cubicBezTo>
                    <a:cubicBezTo>
                      <a:pt x="8" y="1"/>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0" name="Freeform 1202">
                <a:extLst>
                  <a:ext uri="{FF2B5EF4-FFF2-40B4-BE49-F238E27FC236}">
                    <a16:creationId xmlns:a16="http://schemas.microsoft.com/office/drawing/2014/main" id="{28C32BD4-D070-4B7F-A03A-BBF42292CA46}"/>
                  </a:ext>
                </a:extLst>
              </p:cNvPr>
              <p:cNvSpPr>
                <a:spLocks/>
              </p:cNvSpPr>
              <p:nvPr/>
            </p:nvSpPr>
            <p:spPr bwMode="auto">
              <a:xfrm>
                <a:off x="5278" y="2331"/>
                <a:ext cx="24" cy="24"/>
              </a:xfrm>
              <a:custGeom>
                <a:avLst/>
                <a:gdLst>
                  <a:gd name="T0" fmla="*/ 2 w 10"/>
                  <a:gd name="T1" fmla="*/ 0 h 10"/>
                  <a:gd name="T2" fmla="*/ 0 w 10"/>
                  <a:gd name="T3" fmla="*/ 7 h 10"/>
                  <a:gd name="T4" fmla="*/ 10 w 10"/>
                  <a:gd name="T5" fmla="*/ 10 h 10"/>
                  <a:gd name="T6" fmla="*/ 8 w 10"/>
                  <a:gd name="T7" fmla="*/ 6 h 10"/>
                  <a:gd name="T8" fmla="*/ 5 w 10"/>
                  <a:gd name="T9" fmla="*/ 1 h 10"/>
                  <a:gd name="T10" fmla="*/ 2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2" y="0"/>
                    </a:moveTo>
                    <a:cubicBezTo>
                      <a:pt x="0" y="0"/>
                      <a:pt x="0" y="4"/>
                      <a:pt x="0" y="7"/>
                    </a:cubicBezTo>
                    <a:cubicBezTo>
                      <a:pt x="3" y="8"/>
                      <a:pt x="7" y="9"/>
                      <a:pt x="10" y="10"/>
                    </a:cubicBezTo>
                    <a:cubicBezTo>
                      <a:pt x="9" y="9"/>
                      <a:pt x="8" y="7"/>
                      <a:pt x="8" y="6"/>
                    </a:cubicBezTo>
                    <a:cubicBezTo>
                      <a:pt x="8" y="5"/>
                      <a:pt x="6" y="2"/>
                      <a:pt x="5" y="1"/>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1" name="Freeform 1203">
                <a:extLst>
                  <a:ext uri="{FF2B5EF4-FFF2-40B4-BE49-F238E27FC236}">
                    <a16:creationId xmlns:a16="http://schemas.microsoft.com/office/drawing/2014/main" id="{52945894-B24F-4E6B-8A98-0D41A7AC8402}"/>
                  </a:ext>
                </a:extLst>
              </p:cNvPr>
              <p:cNvSpPr>
                <a:spLocks/>
              </p:cNvSpPr>
              <p:nvPr/>
            </p:nvSpPr>
            <p:spPr bwMode="auto">
              <a:xfrm>
                <a:off x="5328" y="2442"/>
                <a:ext cx="7" cy="7"/>
              </a:xfrm>
              <a:custGeom>
                <a:avLst/>
                <a:gdLst>
                  <a:gd name="T0" fmla="*/ 1 w 3"/>
                  <a:gd name="T1" fmla="*/ 0 h 3"/>
                  <a:gd name="T2" fmla="*/ 3 w 3"/>
                  <a:gd name="T3" fmla="*/ 3 h 3"/>
                  <a:gd name="T4" fmla="*/ 1 w 3"/>
                  <a:gd name="T5" fmla="*/ 0 h 3"/>
                </a:gdLst>
                <a:ahLst/>
                <a:cxnLst>
                  <a:cxn ang="0">
                    <a:pos x="T0" y="T1"/>
                  </a:cxn>
                  <a:cxn ang="0">
                    <a:pos x="T2" y="T3"/>
                  </a:cxn>
                  <a:cxn ang="0">
                    <a:pos x="T4" y="T5"/>
                  </a:cxn>
                </a:cxnLst>
                <a:rect l="0" t="0" r="r" b="b"/>
                <a:pathLst>
                  <a:path w="3" h="3">
                    <a:moveTo>
                      <a:pt x="1" y="0"/>
                    </a:moveTo>
                    <a:cubicBezTo>
                      <a:pt x="0" y="1"/>
                      <a:pt x="2" y="2"/>
                      <a:pt x="3"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2" name="Freeform 1204">
                <a:extLst>
                  <a:ext uri="{FF2B5EF4-FFF2-40B4-BE49-F238E27FC236}">
                    <a16:creationId xmlns:a16="http://schemas.microsoft.com/office/drawing/2014/main" id="{A1325BDD-2F04-4A92-8BE3-9E73BDE43ED6}"/>
                  </a:ext>
                </a:extLst>
              </p:cNvPr>
              <p:cNvSpPr>
                <a:spLocks/>
              </p:cNvSpPr>
              <p:nvPr/>
            </p:nvSpPr>
            <p:spPr bwMode="auto">
              <a:xfrm>
                <a:off x="5292" y="2383"/>
                <a:ext cx="24" cy="24"/>
              </a:xfrm>
              <a:custGeom>
                <a:avLst/>
                <a:gdLst>
                  <a:gd name="T0" fmla="*/ 1 w 10"/>
                  <a:gd name="T1" fmla="*/ 0 h 10"/>
                  <a:gd name="T2" fmla="*/ 1 w 10"/>
                  <a:gd name="T3" fmla="*/ 5 h 10"/>
                  <a:gd name="T4" fmla="*/ 7 w 10"/>
                  <a:gd name="T5" fmla="*/ 10 h 10"/>
                  <a:gd name="T6" fmla="*/ 1 w 10"/>
                  <a:gd name="T7" fmla="*/ 0 h 10"/>
                </a:gdLst>
                <a:ahLst/>
                <a:cxnLst>
                  <a:cxn ang="0">
                    <a:pos x="T0" y="T1"/>
                  </a:cxn>
                  <a:cxn ang="0">
                    <a:pos x="T2" y="T3"/>
                  </a:cxn>
                  <a:cxn ang="0">
                    <a:pos x="T4" y="T5"/>
                  </a:cxn>
                  <a:cxn ang="0">
                    <a:pos x="T6" y="T7"/>
                  </a:cxn>
                </a:cxnLst>
                <a:rect l="0" t="0" r="r" b="b"/>
                <a:pathLst>
                  <a:path w="10" h="10">
                    <a:moveTo>
                      <a:pt x="1" y="0"/>
                    </a:moveTo>
                    <a:cubicBezTo>
                      <a:pt x="1" y="2"/>
                      <a:pt x="0" y="3"/>
                      <a:pt x="1" y="5"/>
                    </a:cubicBezTo>
                    <a:cubicBezTo>
                      <a:pt x="2" y="7"/>
                      <a:pt x="5" y="9"/>
                      <a:pt x="7" y="10"/>
                    </a:cubicBezTo>
                    <a:cubicBezTo>
                      <a:pt x="10" y="5"/>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3" name="Freeform 1205">
                <a:extLst>
                  <a:ext uri="{FF2B5EF4-FFF2-40B4-BE49-F238E27FC236}">
                    <a16:creationId xmlns:a16="http://schemas.microsoft.com/office/drawing/2014/main" id="{F9312D80-9DBE-4512-9A9F-D529E9564569}"/>
                  </a:ext>
                </a:extLst>
              </p:cNvPr>
              <p:cNvSpPr>
                <a:spLocks/>
              </p:cNvSpPr>
              <p:nvPr/>
            </p:nvSpPr>
            <p:spPr bwMode="auto">
              <a:xfrm>
                <a:off x="5219" y="2255"/>
                <a:ext cx="31" cy="22"/>
              </a:xfrm>
              <a:custGeom>
                <a:avLst/>
                <a:gdLst>
                  <a:gd name="T0" fmla="*/ 7 w 13"/>
                  <a:gd name="T1" fmla="*/ 0 h 9"/>
                  <a:gd name="T2" fmla="*/ 1 w 13"/>
                  <a:gd name="T3" fmla="*/ 6 h 9"/>
                  <a:gd name="T4" fmla="*/ 3 w 13"/>
                  <a:gd name="T5" fmla="*/ 5 h 9"/>
                  <a:gd name="T6" fmla="*/ 4 w 13"/>
                  <a:gd name="T7" fmla="*/ 7 h 9"/>
                  <a:gd name="T8" fmla="*/ 5 w 13"/>
                  <a:gd name="T9" fmla="*/ 7 h 9"/>
                  <a:gd name="T10" fmla="*/ 7 w 13"/>
                  <a:gd name="T11" fmla="*/ 9 h 9"/>
                  <a:gd name="T12" fmla="*/ 13 w 13"/>
                  <a:gd name="T13" fmla="*/ 5 h 9"/>
                  <a:gd name="T14" fmla="*/ 9 w 13"/>
                  <a:gd name="T15" fmla="*/ 0 h 9"/>
                  <a:gd name="T16" fmla="*/ 7 w 13"/>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7" y="0"/>
                    </a:moveTo>
                    <a:cubicBezTo>
                      <a:pt x="4" y="0"/>
                      <a:pt x="0" y="4"/>
                      <a:pt x="1" y="6"/>
                    </a:cubicBezTo>
                    <a:cubicBezTo>
                      <a:pt x="2" y="5"/>
                      <a:pt x="3" y="5"/>
                      <a:pt x="3" y="5"/>
                    </a:cubicBezTo>
                    <a:cubicBezTo>
                      <a:pt x="4" y="5"/>
                      <a:pt x="5" y="6"/>
                      <a:pt x="4" y="7"/>
                    </a:cubicBezTo>
                    <a:cubicBezTo>
                      <a:pt x="4" y="7"/>
                      <a:pt x="4" y="7"/>
                      <a:pt x="5" y="7"/>
                    </a:cubicBezTo>
                    <a:cubicBezTo>
                      <a:pt x="6" y="7"/>
                      <a:pt x="7" y="8"/>
                      <a:pt x="7" y="9"/>
                    </a:cubicBezTo>
                    <a:cubicBezTo>
                      <a:pt x="9" y="7"/>
                      <a:pt x="11" y="6"/>
                      <a:pt x="13" y="5"/>
                    </a:cubicBezTo>
                    <a:cubicBezTo>
                      <a:pt x="11" y="4"/>
                      <a:pt x="11" y="1"/>
                      <a:pt x="9" y="0"/>
                    </a:cubicBezTo>
                    <a:cubicBezTo>
                      <a:pt x="8" y="0"/>
                      <a:pt x="8"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4" name="Freeform 1206">
                <a:extLst>
                  <a:ext uri="{FF2B5EF4-FFF2-40B4-BE49-F238E27FC236}">
                    <a16:creationId xmlns:a16="http://schemas.microsoft.com/office/drawing/2014/main" id="{205E9E75-1159-4569-8755-288BB9FC87CB}"/>
                  </a:ext>
                </a:extLst>
              </p:cNvPr>
              <p:cNvSpPr>
                <a:spLocks/>
              </p:cNvSpPr>
              <p:nvPr/>
            </p:nvSpPr>
            <p:spPr bwMode="auto">
              <a:xfrm>
                <a:off x="533" y="610"/>
                <a:ext cx="0" cy="5"/>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cubicBezTo>
                      <a:pt x="0" y="0"/>
                      <a:pt x="0" y="1"/>
                      <a:pt x="0" y="2"/>
                    </a:cubicBezTo>
                    <a:cubicBezTo>
                      <a:pt x="0" y="2"/>
                      <a:pt x="0" y="2"/>
                      <a:pt x="0" y="2"/>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5" name="Freeform 1207">
                <a:extLst>
                  <a:ext uri="{FF2B5EF4-FFF2-40B4-BE49-F238E27FC236}">
                    <a16:creationId xmlns:a16="http://schemas.microsoft.com/office/drawing/2014/main" id="{1FCEE398-479D-440A-8116-1D0554C26713}"/>
                  </a:ext>
                </a:extLst>
              </p:cNvPr>
              <p:cNvSpPr>
                <a:spLocks/>
              </p:cNvSpPr>
              <p:nvPr/>
            </p:nvSpPr>
            <p:spPr bwMode="auto">
              <a:xfrm>
                <a:off x="1826" y="731"/>
                <a:ext cx="4" cy="2"/>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0"/>
                      <a:pt x="1" y="1"/>
                      <a:pt x="2" y="1"/>
                    </a:cubicBezTo>
                    <a:cubicBezTo>
                      <a:pt x="2" y="1"/>
                      <a:pt x="2" y="1"/>
                      <a:pt x="2" y="1"/>
                    </a:cubicBezTo>
                    <a:cubicBezTo>
                      <a:pt x="1"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6" name="Freeform 1208">
                <a:extLst>
                  <a:ext uri="{FF2B5EF4-FFF2-40B4-BE49-F238E27FC236}">
                    <a16:creationId xmlns:a16="http://schemas.microsoft.com/office/drawing/2014/main" id="{7E939699-EDD8-4F10-9CBD-C8A9301ED34E}"/>
                  </a:ext>
                </a:extLst>
              </p:cNvPr>
              <p:cNvSpPr>
                <a:spLocks/>
              </p:cNvSpPr>
              <p:nvPr/>
            </p:nvSpPr>
            <p:spPr bwMode="auto">
              <a:xfrm>
                <a:off x="1585" y="669"/>
                <a:ext cx="7" cy="7"/>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2"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7" name="Freeform 1209">
                <a:extLst>
                  <a:ext uri="{FF2B5EF4-FFF2-40B4-BE49-F238E27FC236}">
                    <a16:creationId xmlns:a16="http://schemas.microsoft.com/office/drawing/2014/main" id="{AC075BFE-38DC-456F-BED2-954DD8A09CD5}"/>
                  </a:ext>
                </a:extLst>
              </p:cNvPr>
              <p:cNvSpPr>
                <a:spLocks/>
              </p:cNvSpPr>
              <p:nvPr/>
            </p:nvSpPr>
            <p:spPr bwMode="auto">
              <a:xfrm>
                <a:off x="521" y="596"/>
                <a:ext cx="19" cy="12"/>
              </a:xfrm>
              <a:custGeom>
                <a:avLst/>
                <a:gdLst>
                  <a:gd name="T0" fmla="*/ 6 w 8"/>
                  <a:gd name="T1" fmla="*/ 0 h 5"/>
                  <a:gd name="T2" fmla="*/ 2 w 8"/>
                  <a:gd name="T3" fmla="*/ 1 h 5"/>
                  <a:gd name="T4" fmla="*/ 0 w 8"/>
                  <a:gd name="T5" fmla="*/ 1 h 5"/>
                  <a:gd name="T6" fmla="*/ 4 w 8"/>
                  <a:gd name="T7" fmla="*/ 5 h 5"/>
                  <a:gd name="T8" fmla="*/ 6 w 8"/>
                  <a:gd name="T9" fmla="*/ 0 h 5"/>
                </a:gdLst>
                <a:ahLst/>
                <a:cxnLst>
                  <a:cxn ang="0">
                    <a:pos x="T0" y="T1"/>
                  </a:cxn>
                  <a:cxn ang="0">
                    <a:pos x="T2" y="T3"/>
                  </a:cxn>
                  <a:cxn ang="0">
                    <a:pos x="T4" y="T5"/>
                  </a:cxn>
                  <a:cxn ang="0">
                    <a:pos x="T6" y="T7"/>
                  </a:cxn>
                  <a:cxn ang="0">
                    <a:pos x="T8" y="T9"/>
                  </a:cxn>
                </a:cxnLst>
                <a:rect l="0" t="0" r="r" b="b"/>
                <a:pathLst>
                  <a:path w="8" h="5">
                    <a:moveTo>
                      <a:pt x="6" y="0"/>
                    </a:moveTo>
                    <a:cubicBezTo>
                      <a:pt x="4" y="1"/>
                      <a:pt x="3" y="1"/>
                      <a:pt x="2" y="1"/>
                    </a:cubicBezTo>
                    <a:cubicBezTo>
                      <a:pt x="1" y="1"/>
                      <a:pt x="1" y="1"/>
                      <a:pt x="0" y="1"/>
                    </a:cubicBezTo>
                    <a:cubicBezTo>
                      <a:pt x="0" y="4"/>
                      <a:pt x="2" y="5"/>
                      <a:pt x="4" y="5"/>
                    </a:cubicBezTo>
                    <a:cubicBezTo>
                      <a:pt x="6" y="5"/>
                      <a:pt x="8" y="4"/>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8" name="Freeform 1210">
                <a:extLst>
                  <a:ext uri="{FF2B5EF4-FFF2-40B4-BE49-F238E27FC236}">
                    <a16:creationId xmlns:a16="http://schemas.microsoft.com/office/drawing/2014/main" id="{7A633C1A-EDFF-4EEB-9382-75103A0AC2A3}"/>
                  </a:ext>
                </a:extLst>
              </p:cNvPr>
              <p:cNvSpPr>
                <a:spLocks/>
              </p:cNvSpPr>
              <p:nvPr/>
            </p:nvSpPr>
            <p:spPr bwMode="auto">
              <a:xfrm>
                <a:off x="1736" y="579"/>
                <a:ext cx="12" cy="5"/>
              </a:xfrm>
              <a:custGeom>
                <a:avLst/>
                <a:gdLst>
                  <a:gd name="T0" fmla="*/ 4 w 5"/>
                  <a:gd name="T1" fmla="*/ 0 h 2"/>
                  <a:gd name="T2" fmla="*/ 0 w 5"/>
                  <a:gd name="T3" fmla="*/ 1 h 2"/>
                  <a:gd name="T4" fmla="*/ 2 w 5"/>
                  <a:gd name="T5" fmla="*/ 2 h 2"/>
                  <a:gd name="T6" fmla="*/ 5 w 5"/>
                  <a:gd name="T7" fmla="*/ 0 h 2"/>
                  <a:gd name="T8" fmla="*/ 4 w 5"/>
                  <a:gd name="T9" fmla="*/ 0 h 2"/>
                </a:gdLst>
                <a:ahLst/>
                <a:cxnLst>
                  <a:cxn ang="0">
                    <a:pos x="T0" y="T1"/>
                  </a:cxn>
                  <a:cxn ang="0">
                    <a:pos x="T2" y="T3"/>
                  </a:cxn>
                  <a:cxn ang="0">
                    <a:pos x="T4" y="T5"/>
                  </a:cxn>
                  <a:cxn ang="0">
                    <a:pos x="T6" y="T7"/>
                  </a:cxn>
                  <a:cxn ang="0">
                    <a:pos x="T8" y="T9"/>
                  </a:cxn>
                </a:cxnLst>
                <a:rect l="0" t="0" r="r" b="b"/>
                <a:pathLst>
                  <a:path w="5" h="2">
                    <a:moveTo>
                      <a:pt x="4" y="0"/>
                    </a:moveTo>
                    <a:cubicBezTo>
                      <a:pt x="2" y="0"/>
                      <a:pt x="1" y="0"/>
                      <a:pt x="0" y="1"/>
                    </a:cubicBezTo>
                    <a:cubicBezTo>
                      <a:pt x="0" y="1"/>
                      <a:pt x="1" y="2"/>
                      <a:pt x="2" y="2"/>
                    </a:cubicBezTo>
                    <a:cubicBezTo>
                      <a:pt x="3" y="2"/>
                      <a:pt x="4" y="1"/>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9" name="Freeform 1211">
                <a:extLst>
                  <a:ext uri="{FF2B5EF4-FFF2-40B4-BE49-F238E27FC236}">
                    <a16:creationId xmlns:a16="http://schemas.microsoft.com/office/drawing/2014/main" id="{2A3AE446-7B5E-4912-B023-01C360F78DD2}"/>
                  </a:ext>
                </a:extLst>
              </p:cNvPr>
              <p:cNvSpPr>
                <a:spLocks/>
              </p:cNvSpPr>
              <p:nvPr/>
            </p:nvSpPr>
            <p:spPr bwMode="auto">
              <a:xfrm>
                <a:off x="1715" y="535"/>
                <a:ext cx="16" cy="16"/>
              </a:xfrm>
              <a:custGeom>
                <a:avLst/>
                <a:gdLst>
                  <a:gd name="T0" fmla="*/ 6 w 7"/>
                  <a:gd name="T1" fmla="*/ 0 h 7"/>
                  <a:gd name="T2" fmla="*/ 1 w 7"/>
                  <a:gd name="T3" fmla="*/ 1 h 7"/>
                  <a:gd name="T4" fmla="*/ 0 w 7"/>
                  <a:gd name="T5" fmla="*/ 7 h 7"/>
                  <a:gd name="T6" fmla="*/ 6 w 7"/>
                  <a:gd name="T7" fmla="*/ 4 h 7"/>
                  <a:gd name="T8" fmla="*/ 6 w 7"/>
                  <a:gd name="T9" fmla="*/ 0 h 7"/>
                </a:gdLst>
                <a:ahLst/>
                <a:cxnLst>
                  <a:cxn ang="0">
                    <a:pos x="T0" y="T1"/>
                  </a:cxn>
                  <a:cxn ang="0">
                    <a:pos x="T2" y="T3"/>
                  </a:cxn>
                  <a:cxn ang="0">
                    <a:pos x="T4" y="T5"/>
                  </a:cxn>
                  <a:cxn ang="0">
                    <a:pos x="T6" y="T7"/>
                  </a:cxn>
                  <a:cxn ang="0">
                    <a:pos x="T8" y="T9"/>
                  </a:cxn>
                </a:cxnLst>
                <a:rect l="0" t="0" r="r" b="b"/>
                <a:pathLst>
                  <a:path w="7" h="7">
                    <a:moveTo>
                      <a:pt x="6" y="0"/>
                    </a:moveTo>
                    <a:cubicBezTo>
                      <a:pt x="5" y="0"/>
                      <a:pt x="3" y="1"/>
                      <a:pt x="1" y="1"/>
                    </a:cubicBezTo>
                    <a:cubicBezTo>
                      <a:pt x="0" y="3"/>
                      <a:pt x="0" y="5"/>
                      <a:pt x="0" y="7"/>
                    </a:cubicBezTo>
                    <a:cubicBezTo>
                      <a:pt x="1" y="7"/>
                      <a:pt x="6" y="5"/>
                      <a:pt x="6" y="4"/>
                    </a:cubicBezTo>
                    <a:cubicBezTo>
                      <a:pt x="7"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0" name="Freeform 1212">
                <a:extLst>
                  <a:ext uri="{FF2B5EF4-FFF2-40B4-BE49-F238E27FC236}">
                    <a16:creationId xmlns:a16="http://schemas.microsoft.com/office/drawing/2014/main" id="{4406548B-02B3-4791-AC3C-E42C9600DF8C}"/>
                  </a:ext>
                </a:extLst>
              </p:cNvPr>
              <p:cNvSpPr>
                <a:spLocks/>
              </p:cNvSpPr>
              <p:nvPr/>
            </p:nvSpPr>
            <p:spPr bwMode="auto">
              <a:xfrm>
                <a:off x="826" y="842"/>
                <a:ext cx="7" cy="12"/>
              </a:xfrm>
              <a:custGeom>
                <a:avLst/>
                <a:gdLst>
                  <a:gd name="T0" fmla="*/ 3 w 3"/>
                  <a:gd name="T1" fmla="*/ 0 h 5"/>
                  <a:gd name="T2" fmla="*/ 2 w 3"/>
                  <a:gd name="T3" fmla="*/ 5 h 5"/>
                  <a:gd name="T4" fmla="*/ 3 w 3"/>
                  <a:gd name="T5" fmla="*/ 0 h 5"/>
                </a:gdLst>
                <a:ahLst/>
                <a:cxnLst>
                  <a:cxn ang="0">
                    <a:pos x="T0" y="T1"/>
                  </a:cxn>
                  <a:cxn ang="0">
                    <a:pos x="T2" y="T3"/>
                  </a:cxn>
                  <a:cxn ang="0">
                    <a:pos x="T4" y="T5"/>
                  </a:cxn>
                </a:cxnLst>
                <a:rect l="0" t="0" r="r" b="b"/>
                <a:pathLst>
                  <a:path w="3" h="5">
                    <a:moveTo>
                      <a:pt x="3" y="0"/>
                    </a:moveTo>
                    <a:cubicBezTo>
                      <a:pt x="1" y="2"/>
                      <a:pt x="0" y="3"/>
                      <a:pt x="2"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1" name="Freeform 1213">
                <a:extLst>
                  <a:ext uri="{FF2B5EF4-FFF2-40B4-BE49-F238E27FC236}">
                    <a16:creationId xmlns:a16="http://schemas.microsoft.com/office/drawing/2014/main" id="{AAD3BCD2-C117-449E-89C7-7AD4BA59B781}"/>
                  </a:ext>
                </a:extLst>
              </p:cNvPr>
              <p:cNvSpPr>
                <a:spLocks/>
              </p:cNvSpPr>
              <p:nvPr/>
            </p:nvSpPr>
            <p:spPr bwMode="auto">
              <a:xfrm>
                <a:off x="1320" y="849"/>
                <a:ext cx="9" cy="26"/>
              </a:xfrm>
              <a:custGeom>
                <a:avLst/>
                <a:gdLst>
                  <a:gd name="T0" fmla="*/ 1 w 4"/>
                  <a:gd name="T1" fmla="*/ 0 h 11"/>
                  <a:gd name="T2" fmla="*/ 0 w 4"/>
                  <a:gd name="T3" fmla="*/ 8 h 11"/>
                  <a:gd name="T4" fmla="*/ 2 w 4"/>
                  <a:gd name="T5" fmla="*/ 11 h 11"/>
                  <a:gd name="T6" fmla="*/ 1 w 4"/>
                  <a:gd name="T7" fmla="*/ 0 h 11"/>
                </a:gdLst>
                <a:ahLst/>
                <a:cxnLst>
                  <a:cxn ang="0">
                    <a:pos x="T0" y="T1"/>
                  </a:cxn>
                  <a:cxn ang="0">
                    <a:pos x="T2" y="T3"/>
                  </a:cxn>
                  <a:cxn ang="0">
                    <a:pos x="T4" y="T5"/>
                  </a:cxn>
                  <a:cxn ang="0">
                    <a:pos x="T6" y="T7"/>
                  </a:cxn>
                </a:cxnLst>
                <a:rect l="0" t="0" r="r" b="b"/>
                <a:pathLst>
                  <a:path w="4" h="11">
                    <a:moveTo>
                      <a:pt x="1" y="0"/>
                    </a:moveTo>
                    <a:cubicBezTo>
                      <a:pt x="0" y="3"/>
                      <a:pt x="1" y="5"/>
                      <a:pt x="0" y="8"/>
                    </a:cubicBezTo>
                    <a:cubicBezTo>
                      <a:pt x="1" y="10"/>
                      <a:pt x="2" y="11"/>
                      <a:pt x="2" y="11"/>
                    </a:cubicBezTo>
                    <a:cubicBezTo>
                      <a:pt x="4" y="11"/>
                      <a:pt x="3"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2" name="Freeform 1214">
                <a:extLst>
                  <a:ext uri="{FF2B5EF4-FFF2-40B4-BE49-F238E27FC236}">
                    <a16:creationId xmlns:a16="http://schemas.microsoft.com/office/drawing/2014/main" id="{2573D744-8E60-4FF5-BA57-27C628D762B1}"/>
                  </a:ext>
                </a:extLst>
              </p:cNvPr>
              <p:cNvSpPr>
                <a:spLocks/>
              </p:cNvSpPr>
              <p:nvPr/>
            </p:nvSpPr>
            <p:spPr bwMode="auto">
              <a:xfrm>
                <a:off x="1807" y="719"/>
                <a:ext cx="14" cy="5"/>
              </a:xfrm>
              <a:custGeom>
                <a:avLst/>
                <a:gdLst>
                  <a:gd name="T0" fmla="*/ 0 w 6"/>
                  <a:gd name="T1" fmla="*/ 0 h 2"/>
                  <a:gd name="T2" fmla="*/ 4 w 6"/>
                  <a:gd name="T3" fmla="*/ 2 h 2"/>
                  <a:gd name="T4" fmla="*/ 6 w 6"/>
                  <a:gd name="T5" fmla="*/ 1 h 2"/>
                  <a:gd name="T6" fmla="*/ 0 w 6"/>
                  <a:gd name="T7" fmla="*/ 0 h 2"/>
                </a:gdLst>
                <a:ahLst/>
                <a:cxnLst>
                  <a:cxn ang="0">
                    <a:pos x="T0" y="T1"/>
                  </a:cxn>
                  <a:cxn ang="0">
                    <a:pos x="T2" y="T3"/>
                  </a:cxn>
                  <a:cxn ang="0">
                    <a:pos x="T4" y="T5"/>
                  </a:cxn>
                  <a:cxn ang="0">
                    <a:pos x="T6" y="T7"/>
                  </a:cxn>
                </a:cxnLst>
                <a:rect l="0" t="0" r="r" b="b"/>
                <a:pathLst>
                  <a:path w="6" h="2">
                    <a:moveTo>
                      <a:pt x="0" y="0"/>
                    </a:moveTo>
                    <a:cubicBezTo>
                      <a:pt x="1" y="1"/>
                      <a:pt x="3" y="2"/>
                      <a:pt x="4" y="2"/>
                    </a:cubicBezTo>
                    <a:cubicBezTo>
                      <a:pt x="5" y="2"/>
                      <a:pt x="5" y="2"/>
                      <a:pt x="6" y="1"/>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3" name="Freeform 1215">
                <a:extLst>
                  <a:ext uri="{FF2B5EF4-FFF2-40B4-BE49-F238E27FC236}">
                    <a16:creationId xmlns:a16="http://schemas.microsoft.com/office/drawing/2014/main" id="{FB1715C3-88DA-4A21-AA87-4CA4A245DF98}"/>
                  </a:ext>
                </a:extLst>
              </p:cNvPr>
              <p:cNvSpPr>
                <a:spLocks/>
              </p:cNvSpPr>
              <p:nvPr/>
            </p:nvSpPr>
            <p:spPr bwMode="auto">
              <a:xfrm>
                <a:off x="202" y="646"/>
                <a:ext cx="7" cy="2"/>
              </a:xfrm>
              <a:custGeom>
                <a:avLst/>
                <a:gdLst>
                  <a:gd name="T0" fmla="*/ 1 w 3"/>
                  <a:gd name="T1" fmla="*/ 0 h 1"/>
                  <a:gd name="T2" fmla="*/ 0 w 3"/>
                  <a:gd name="T3" fmla="*/ 0 h 1"/>
                  <a:gd name="T4" fmla="*/ 3 w 3"/>
                  <a:gd name="T5" fmla="*/ 1 h 1"/>
                  <a:gd name="T6" fmla="*/ 1 w 3"/>
                  <a:gd name="T7" fmla="*/ 0 h 1"/>
                </a:gdLst>
                <a:ahLst/>
                <a:cxnLst>
                  <a:cxn ang="0">
                    <a:pos x="T0" y="T1"/>
                  </a:cxn>
                  <a:cxn ang="0">
                    <a:pos x="T2" y="T3"/>
                  </a:cxn>
                  <a:cxn ang="0">
                    <a:pos x="T4" y="T5"/>
                  </a:cxn>
                  <a:cxn ang="0">
                    <a:pos x="T6" y="T7"/>
                  </a:cxn>
                </a:cxnLst>
                <a:rect l="0" t="0" r="r" b="b"/>
                <a:pathLst>
                  <a:path w="3" h="1">
                    <a:moveTo>
                      <a:pt x="1" y="0"/>
                    </a:moveTo>
                    <a:cubicBezTo>
                      <a:pt x="1" y="0"/>
                      <a:pt x="0" y="0"/>
                      <a:pt x="0" y="0"/>
                    </a:cubicBezTo>
                    <a:cubicBezTo>
                      <a:pt x="1" y="0"/>
                      <a:pt x="2" y="1"/>
                      <a:pt x="3" y="1"/>
                    </a:cubicBezTo>
                    <a:cubicBezTo>
                      <a:pt x="3"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4" name="Freeform 1216">
                <a:extLst>
                  <a:ext uri="{FF2B5EF4-FFF2-40B4-BE49-F238E27FC236}">
                    <a16:creationId xmlns:a16="http://schemas.microsoft.com/office/drawing/2014/main" id="{3C6D3ABA-365E-40BF-889E-B91EA4CA0B1D}"/>
                  </a:ext>
                </a:extLst>
              </p:cNvPr>
              <p:cNvSpPr>
                <a:spLocks/>
              </p:cNvSpPr>
              <p:nvPr/>
            </p:nvSpPr>
            <p:spPr bwMode="auto">
              <a:xfrm>
                <a:off x="847" y="1029"/>
                <a:ext cx="5" cy="9"/>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1" y="1"/>
                      <a:pt x="1" y="3"/>
                      <a:pt x="2" y="4"/>
                    </a:cubicBezTo>
                    <a:cubicBezTo>
                      <a:pt x="2"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5" name="Freeform 1217">
                <a:extLst>
                  <a:ext uri="{FF2B5EF4-FFF2-40B4-BE49-F238E27FC236}">
                    <a16:creationId xmlns:a16="http://schemas.microsoft.com/office/drawing/2014/main" id="{11489DE4-DEFA-4718-AE45-7C701A28979B}"/>
                  </a:ext>
                </a:extLst>
              </p:cNvPr>
              <p:cNvSpPr>
                <a:spLocks/>
              </p:cNvSpPr>
              <p:nvPr/>
            </p:nvSpPr>
            <p:spPr bwMode="auto">
              <a:xfrm>
                <a:off x="2617" y="1040"/>
                <a:ext cx="81" cy="31"/>
              </a:xfrm>
              <a:custGeom>
                <a:avLst/>
                <a:gdLst>
                  <a:gd name="T0" fmla="*/ 18 w 34"/>
                  <a:gd name="T1" fmla="*/ 0 h 13"/>
                  <a:gd name="T2" fmla="*/ 0 w 34"/>
                  <a:gd name="T3" fmla="*/ 6 h 13"/>
                  <a:gd name="T4" fmla="*/ 6 w 34"/>
                  <a:gd name="T5" fmla="*/ 7 h 13"/>
                  <a:gd name="T6" fmla="*/ 6 w 34"/>
                  <a:gd name="T7" fmla="*/ 7 h 13"/>
                  <a:gd name="T8" fmla="*/ 7 w 34"/>
                  <a:gd name="T9" fmla="*/ 7 h 13"/>
                  <a:gd name="T10" fmla="*/ 8 w 34"/>
                  <a:gd name="T11" fmla="*/ 7 h 13"/>
                  <a:gd name="T12" fmla="*/ 8 w 34"/>
                  <a:gd name="T13" fmla="*/ 7 h 13"/>
                  <a:gd name="T14" fmla="*/ 10 w 34"/>
                  <a:gd name="T15" fmla="*/ 12 h 13"/>
                  <a:gd name="T16" fmla="*/ 11 w 34"/>
                  <a:gd name="T17" fmla="*/ 9 h 13"/>
                  <a:gd name="T18" fmla="*/ 12 w 34"/>
                  <a:gd name="T19" fmla="*/ 9 h 13"/>
                  <a:gd name="T20" fmla="*/ 16 w 34"/>
                  <a:gd name="T21" fmla="*/ 13 h 13"/>
                  <a:gd name="T22" fmla="*/ 17 w 34"/>
                  <a:gd name="T23" fmla="*/ 13 h 13"/>
                  <a:gd name="T24" fmla="*/ 21 w 34"/>
                  <a:gd name="T25" fmla="*/ 9 h 13"/>
                  <a:gd name="T26" fmla="*/ 22 w 34"/>
                  <a:gd name="T27" fmla="*/ 10 h 13"/>
                  <a:gd name="T28" fmla="*/ 23 w 34"/>
                  <a:gd name="T29" fmla="*/ 10 h 13"/>
                  <a:gd name="T30" fmla="*/ 25 w 34"/>
                  <a:gd name="T31" fmla="*/ 10 h 13"/>
                  <a:gd name="T32" fmla="*/ 25 w 34"/>
                  <a:gd name="T33" fmla="*/ 10 h 13"/>
                  <a:gd name="T34" fmla="*/ 30 w 34"/>
                  <a:gd name="T35" fmla="*/ 11 h 13"/>
                  <a:gd name="T36" fmla="*/ 30 w 34"/>
                  <a:gd name="T37" fmla="*/ 11 h 13"/>
                  <a:gd name="T38" fmla="*/ 31 w 34"/>
                  <a:gd name="T39" fmla="*/ 4 h 13"/>
                  <a:gd name="T40" fmla="*/ 25 w 34"/>
                  <a:gd name="T41" fmla="*/ 2 h 13"/>
                  <a:gd name="T42" fmla="*/ 23 w 34"/>
                  <a:gd name="T43" fmla="*/ 1 h 13"/>
                  <a:gd name="T44" fmla="*/ 18 w 34"/>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13">
                    <a:moveTo>
                      <a:pt x="18" y="0"/>
                    </a:moveTo>
                    <a:cubicBezTo>
                      <a:pt x="12" y="2"/>
                      <a:pt x="6" y="3"/>
                      <a:pt x="0" y="6"/>
                    </a:cubicBezTo>
                    <a:cubicBezTo>
                      <a:pt x="3" y="6"/>
                      <a:pt x="4" y="7"/>
                      <a:pt x="6" y="7"/>
                    </a:cubicBezTo>
                    <a:cubicBezTo>
                      <a:pt x="6" y="7"/>
                      <a:pt x="6" y="7"/>
                      <a:pt x="6" y="7"/>
                    </a:cubicBezTo>
                    <a:cubicBezTo>
                      <a:pt x="6" y="7"/>
                      <a:pt x="6" y="7"/>
                      <a:pt x="7" y="7"/>
                    </a:cubicBezTo>
                    <a:cubicBezTo>
                      <a:pt x="7" y="7"/>
                      <a:pt x="8" y="7"/>
                      <a:pt x="8" y="7"/>
                    </a:cubicBezTo>
                    <a:cubicBezTo>
                      <a:pt x="8" y="7"/>
                      <a:pt x="8" y="7"/>
                      <a:pt x="8" y="7"/>
                    </a:cubicBezTo>
                    <a:cubicBezTo>
                      <a:pt x="10" y="8"/>
                      <a:pt x="9" y="10"/>
                      <a:pt x="10" y="12"/>
                    </a:cubicBezTo>
                    <a:cubicBezTo>
                      <a:pt x="10" y="11"/>
                      <a:pt x="10" y="9"/>
                      <a:pt x="11" y="9"/>
                    </a:cubicBezTo>
                    <a:cubicBezTo>
                      <a:pt x="12" y="9"/>
                      <a:pt x="12" y="9"/>
                      <a:pt x="12" y="9"/>
                    </a:cubicBezTo>
                    <a:cubicBezTo>
                      <a:pt x="14" y="9"/>
                      <a:pt x="14" y="12"/>
                      <a:pt x="16" y="13"/>
                    </a:cubicBezTo>
                    <a:cubicBezTo>
                      <a:pt x="16" y="13"/>
                      <a:pt x="16" y="13"/>
                      <a:pt x="17" y="13"/>
                    </a:cubicBezTo>
                    <a:cubicBezTo>
                      <a:pt x="19" y="13"/>
                      <a:pt x="22" y="11"/>
                      <a:pt x="21" y="9"/>
                    </a:cubicBezTo>
                    <a:cubicBezTo>
                      <a:pt x="21" y="10"/>
                      <a:pt x="22" y="10"/>
                      <a:pt x="22" y="10"/>
                    </a:cubicBezTo>
                    <a:cubicBezTo>
                      <a:pt x="23" y="10"/>
                      <a:pt x="23" y="10"/>
                      <a:pt x="23" y="10"/>
                    </a:cubicBezTo>
                    <a:cubicBezTo>
                      <a:pt x="24" y="10"/>
                      <a:pt x="24" y="10"/>
                      <a:pt x="25" y="10"/>
                    </a:cubicBezTo>
                    <a:cubicBezTo>
                      <a:pt x="25" y="10"/>
                      <a:pt x="25" y="10"/>
                      <a:pt x="25" y="10"/>
                    </a:cubicBezTo>
                    <a:cubicBezTo>
                      <a:pt x="26" y="10"/>
                      <a:pt x="29" y="11"/>
                      <a:pt x="30" y="11"/>
                    </a:cubicBezTo>
                    <a:cubicBezTo>
                      <a:pt x="30" y="11"/>
                      <a:pt x="30" y="11"/>
                      <a:pt x="30" y="11"/>
                    </a:cubicBezTo>
                    <a:cubicBezTo>
                      <a:pt x="34" y="10"/>
                      <a:pt x="32" y="6"/>
                      <a:pt x="31" y="4"/>
                    </a:cubicBezTo>
                    <a:cubicBezTo>
                      <a:pt x="30" y="3"/>
                      <a:pt x="27" y="2"/>
                      <a:pt x="25" y="2"/>
                    </a:cubicBezTo>
                    <a:cubicBezTo>
                      <a:pt x="24" y="1"/>
                      <a:pt x="24" y="1"/>
                      <a:pt x="23" y="1"/>
                    </a:cubicBezTo>
                    <a:cubicBezTo>
                      <a:pt x="22" y="1"/>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6" name="Freeform 1218">
                <a:extLst>
                  <a:ext uri="{FF2B5EF4-FFF2-40B4-BE49-F238E27FC236}">
                    <a16:creationId xmlns:a16="http://schemas.microsoft.com/office/drawing/2014/main" id="{DB6E4C52-FA7C-4F70-BA9C-950DB86E2A0A}"/>
                  </a:ext>
                </a:extLst>
              </p:cNvPr>
              <p:cNvSpPr>
                <a:spLocks/>
              </p:cNvSpPr>
              <p:nvPr/>
            </p:nvSpPr>
            <p:spPr bwMode="auto">
              <a:xfrm>
                <a:off x="2183" y="1605"/>
                <a:ext cx="30" cy="24"/>
              </a:xfrm>
              <a:custGeom>
                <a:avLst/>
                <a:gdLst>
                  <a:gd name="T0" fmla="*/ 13 w 13"/>
                  <a:gd name="T1" fmla="*/ 0 h 10"/>
                  <a:gd name="T2" fmla="*/ 3 w 13"/>
                  <a:gd name="T3" fmla="*/ 3 h 10"/>
                  <a:gd name="T4" fmla="*/ 5 w 13"/>
                  <a:gd name="T5" fmla="*/ 8 h 10"/>
                  <a:gd name="T6" fmla="*/ 7 w 13"/>
                  <a:gd name="T7" fmla="*/ 10 h 10"/>
                  <a:gd name="T8" fmla="*/ 8 w 13"/>
                  <a:gd name="T9" fmla="*/ 9 h 10"/>
                  <a:gd name="T10" fmla="*/ 13 w 13"/>
                  <a:gd name="T11" fmla="*/ 0 h 10"/>
                </a:gdLst>
                <a:ahLst/>
                <a:cxnLst>
                  <a:cxn ang="0">
                    <a:pos x="T0" y="T1"/>
                  </a:cxn>
                  <a:cxn ang="0">
                    <a:pos x="T2" y="T3"/>
                  </a:cxn>
                  <a:cxn ang="0">
                    <a:pos x="T4" y="T5"/>
                  </a:cxn>
                  <a:cxn ang="0">
                    <a:pos x="T6" y="T7"/>
                  </a:cxn>
                  <a:cxn ang="0">
                    <a:pos x="T8" y="T9"/>
                  </a:cxn>
                  <a:cxn ang="0">
                    <a:pos x="T10" y="T11"/>
                  </a:cxn>
                </a:cxnLst>
                <a:rect l="0" t="0" r="r" b="b"/>
                <a:pathLst>
                  <a:path w="13" h="10">
                    <a:moveTo>
                      <a:pt x="13" y="0"/>
                    </a:moveTo>
                    <a:cubicBezTo>
                      <a:pt x="9" y="0"/>
                      <a:pt x="6" y="2"/>
                      <a:pt x="3" y="3"/>
                    </a:cubicBezTo>
                    <a:cubicBezTo>
                      <a:pt x="0" y="8"/>
                      <a:pt x="2" y="7"/>
                      <a:pt x="5" y="8"/>
                    </a:cubicBezTo>
                    <a:cubicBezTo>
                      <a:pt x="6" y="8"/>
                      <a:pt x="6" y="10"/>
                      <a:pt x="7" y="10"/>
                    </a:cubicBezTo>
                    <a:cubicBezTo>
                      <a:pt x="7" y="10"/>
                      <a:pt x="7" y="10"/>
                      <a:pt x="8" y="9"/>
                    </a:cubicBezTo>
                    <a:cubicBezTo>
                      <a:pt x="10" y="8"/>
                      <a:pt x="13"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7" name="Freeform 1219">
                <a:extLst>
                  <a:ext uri="{FF2B5EF4-FFF2-40B4-BE49-F238E27FC236}">
                    <a16:creationId xmlns:a16="http://schemas.microsoft.com/office/drawing/2014/main" id="{80AE9882-01EA-46DC-880E-BBC5FB3417DD}"/>
                  </a:ext>
                </a:extLst>
              </p:cNvPr>
              <p:cNvSpPr>
                <a:spLocks/>
              </p:cNvSpPr>
              <p:nvPr/>
            </p:nvSpPr>
            <p:spPr bwMode="auto">
              <a:xfrm>
                <a:off x="838" y="1064"/>
                <a:ext cx="24" cy="21"/>
              </a:xfrm>
              <a:custGeom>
                <a:avLst/>
                <a:gdLst>
                  <a:gd name="T0" fmla="*/ 6 w 10"/>
                  <a:gd name="T1" fmla="*/ 0 h 9"/>
                  <a:gd name="T2" fmla="*/ 2 w 10"/>
                  <a:gd name="T3" fmla="*/ 2 h 9"/>
                  <a:gd name="T4" fmla="*/ 1 w 10"/>
                  <a:gd name="T5" fmla="*/ 1 h 9"/>
                  <a:gd name="T6" fmla="*/ 0 w 10"/>
                  <a:gd name="T7" fmla="*/ 2 h 9"/>
                  <a:gd name="T8" fmla="*/ 2 w 10"/>
                  <a:gd name="T9" fmla="*/ 7 h 9"/>
                  <a:gd name="T10" fmla="*/ 2 w 10"/>
                  <a:gd name="T11" fmla="*/ 9 h 9"/>
                  <a:gd name="T12" fmla="*/ 3 w 10"/>
                  <a:gd name="T13" fmla="*/ 9 h 9"/>
                  <a:gd name="T14" fmla="*/ 7 w 10"/>
                  <a:gd name="T15" fmla="*/ 7 h 9"/>
                  <a:gd name="T16" fmla="*/ 6 w 10"/>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9">
                    <a:moveTo>
                      <a:pt x="6" y="0"/>
                    </a:moveTo>
                    <a:cubicBezTo>
                      <a:pt x="4" y="1"/>
                      <a:pt x="3" y="1"/>
                      <a:pt x="2" y="2"/>
                    </a:cubicBezTo>
                    <a:cubicBezTo>
                      <a:pt x="2" y="1"/>
                      <a:pt x="1" y="1"/>
                      <a:pt x="1" y="1"/>
                    </a:cubicBezTo>
                    <a:cubicBezTo>
                      <a:pt x="0" y="1"/>
                      <a:pt x="0" y="1"/>
                      <a:pt x="0" y="2"/>
                    </a:cubicBezTo>
                    <a:cubicBezTo>
                      <a:pt x="0" y="4"/>
                      <a:pt x="1" y="6"/>
                      <a:pt x="2" y="7"/>
                    </a:cubicBezTo>
                    <a:cubicBezTo>
                      <a:pt x="3" y="7"/>
                      <a:pt x="2" y="9"/>
                      <a:pt x="2" y="9"/>
                    </a:cubicBezTo>
                    <a:cubicBezTo>
                      <a:pt x="3" y="9"/>
                      <a:pt x="3" y="9"/>
                      <a:pt x="3" y="9"/>
                    </a:cubicBezTo>
                    <a:cubicBezTo>
                      <a:pt x="4" y="9"/>
                      <a:pt x="6" y="8"/>
                      <a:pt x="7" y="7"/>
                    </a:cubicBezTo>
                    <a:cubicBezTo>
                      <a:pt x="10" y="5"/>
                      <a:pt x="8"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8" name="Freeform 1220">
                <a:extLst>
                  <a:ext uri="{FF2B5EF4-FFF2-40B4-BE49-F238E27FC236}">
                    <a16:creationId xmlns:a16="http://schemas.microsoft.com/office/drawing/2014/main" id="{8197698F-1493-4152-8423-FE44EF12DB61}"/>
                  </a:ext>
                </a:extLst>
              </p:cNvPr>
              <p:cNvSpPr>
                <a:spLocks/>
              </p:cNvSpPr>
              <p:nvPr/>
            </p:nvSpPr>
            <p:spPr bwMode="auto">
              <a:xfrm>
                <a:off x="921" y="1445"/>
                <a:ext cx="626" cy="198"/>
              </a:xfrm>
              <a:custGeom>
                <a:avLst/>
                <a:gdLst>
                  <a:gd name="T0" fmla="*/ 0 w 265"/>
                  <a:gd name="T1" fmla="*/ 26 h 84"/>
                  <a:gd name="T2" fmla="*/ 27 w 265"/>
                  <a:gd name="T3" fmla="*/ 43 h 84"/>
                  <a:gd name="T4" fmla="*/ 34 w 265"/>
                  <a:gd name="T5" fmla="*/ 44 h 84"/>
                  <a:gd name="T6" fmla="*/ 75 w 265"/>
                  <a:gd name="T7" fmla="*/ 54 h 84"/>
                  <a:gd name="T8" fmla="*/ 87 w 265"/>
                  <a:gd name="T9" fmla="*/ 54 h 84"/>
                  <a:gd name="T10" fmla="*/ 98 w 265"/>
                  <a:gd name="T11" fmla="*/ 52 h 84"/>
                  <a:gd name="T12" fmla="*/ 148 w 265"/>
                  <a:gd name="T13" fmla="*/ 65 h 84"/>
                  <a:gd name="T14" fmla="*/ 173 w 265"/>
                  <a:gd name="T15" fmla="*/ 69 h 84"/>
                  <a:gd name="T16" fmla="*/ 183 w 265"/>
                  <a:gd name="T17" fmla="*/ 70 h 84"/>
                  <a:gd name="T18" fmla="*/ 193 w 265"/>
                  <a:gd name="T19" fmla="*/ 71 h 84"/>
                  <a:gd name="T20" fmla="*/ 209 w 265"/>
                  <a:gd name="T21" fmla="*/ 74 h 84"/>
                  <a:gd name="T22" fmla="*/ 223 w 265"/>
                  <a:gd name="T23" fmla="*/ 71 h 84"/>
                  <a:gd name="T24" fmla="*/ 265 w 265"/>
                  <a:gd name="T25" fmla="*/ 84 h 84"/>
                  <a:gd name="T26" fmla="*/ 260 w 265"/>
                  <a:gd name="T27" fmla="*/ 63 h 84"/>
                  <a:gd name="T28" fmla="*/ 248 w 265"/>
                  <a:gd name="T29" fmla="*/ 50 h 84"/>
                  <a:gd name="T30" fmla="*/ 235 w 265"/>
                  <a:gd name="T31" fmla="*/ 53 h 84"/>
                  <a:gd name="T32" fmla="*/ 214 w 265"/>
                  <a:gd name="T33" fmla="*/ 49 h 84"/>
                  <a:gd name="T34" fmla="*/ 209 w 265"/>
                  <a:gd name="T35" fmla="*/ 40 h 84"/>
                  <a:gd name="T36" fmla="*/ 204 w 265"/>
                  <a:gd name="T37" fmla="*/ 28 h 84"/>
                  <a:gd name="T38" fmla="*/ 196 w 265"/>
                  <a:gd name="T39" fmla="*/ 29 h 84"/>
                  <a:gd name="T40" fmla="*/ 168 w 265"/>
                  <a:gd name="T41" fmla="*/ 24 h 84"/>
                  <a:gd name="T42" fmla="*/ 158 w 265"/>
                  <a:gd name="T43" fmla="*/ 15 h 84"/>
                  <a:gd name="T44" fmla="*/ 144 w 265"/>
                  <a:gd name="T45" fmla="*/ 31 h 84"/>
                  <a:gd name="T46" fmla="*/ 120 w 265"/>
                  <a:gd name="T47" fmla="*/ 28 h 84"/>
                  <a:gd name="T48" fmla="*/ 114 w 265"/>
                  <a:gd name="T49" fmla="*/ 28 h 84"/>
                  <a:gd name="T50" fmla="*/ 109 w 265"/>
                  <a:gd name="T51" fmla="*/ 28 h 84"/>
                  <a:gd name="T52" fmla="*/ 90 w 265"/>
                  <a:gd name="T53" fmla="*/ 23 h 84"/>
                  <a:gd name="T54" fmla="*/ 81 w 265"/>
                  <a:gd name="T55" fmla="*/ 11 h 84"/>
                  <a:gd name="T56" fmla="*/ 78 w 265"/>
                  <a:gd name="T57" fmla="*/ 11 h 84"/>
                  <a:gd name="T58" fmla="*/ 65 w 265"/>
                  <a:gd name="T59" fmla="*/ 10 h 84"/>
                  <a:gd name="T60" fmla="*/ 48 w 265"/>
                  <a:gd name="T61" fmla="*/ 1 h 84"/>
                  <a:gd name="T62" fmla="*/ 44 w 265"/>
                  <a:gd name="T63" fmla="*/ 16 h 84"/>
                  <a:gd name="T64" fmla="*/ 37 w 265"/>
                  <a:gd name="T65" fmla="*/ 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5" h="84">
                    <a:moveTo>
                      <a:pt x="16" y="0"/>
                    </a:moveTo>
                    <a:cubicBezTo>
                      <a:pt x="10" y="8"/>
                      <a:pt x="6" y="18"/>
                      <a:pt x="0" y="26"/>
                    </a:cubicBezTo>
                    <a:cubicBezTo>
                      <a:pt x="10" y="27"/>
                      <a:pt x="19" y="29"/>
                      <a:pt x="27" y="32"/>
                    </a:cubicBezTo>
                    <a:cubicBezTo>
                      <a:pt x="33" y="34"/>
                      <a:pt x="29" y="37"/>
                      <a:pt x="27" y="43"/>
                    </a:cubicBezTo>
                    <a:cubicBezTo>
                      <a:pt x="28" y="43"/>
                      <a:pt x="28" y="43"/>
                      <a:pt x="28" y="43"/>
                    </a:cubicBezTo>
                    <a:cubicBezTo>
                      <a:pt x="30" y="43"/>
                      <a:pt x="32" y="44"/>
                      <a:pt x="34" y="44"/>
                    </a:cubicBezTo>
                    <a:cubicBezTo>
                      <a:pt x="41" y="45"/>
                      <a:pt x="49" y="46"/>
                      <a:pt x="56" y="47"/>
                    </a:cubicBezTo>
                    <a:cubicBezTo>
                      <a:pt x="62" y="48"/>
                      <a:pt x="68" y="53"/>
                      <a:pt x="75" y="54"/>
                    </a:cubicBezTo>
                    <a:cubicBezTo>
                      <a:pt x="78" y="55"/>
                      <a:pt x="80" y="55"/>
                      <a:pt x="83" y="55"/>
                    </a:cubicBezTo>
                    <a:cubicBezTo>
                      <a:pt x="84" y="55"/>
                      <a:pt x="85" y="55"/>
                      <a:pt x="87" y="54"/>
                    </a:cubicBezTo>
                    <a:cubicBezTo>
                      <a:pt x="90" y="53"/>
                      <a:pt x="94" y="52"/>
                      <a:pt x="97" y="52"/>
                    </a:cubicBezTo>
                    <a:cubicBezTo>
                      <a:pt x="97" y="52"/>
                      <a:pt x="98" y="52"/>
                      <a:pt x="98" y="52"/>
                    </a:cubicBezTo>
                    <a:cubicBezTo>
                      <a:pt x="108" y="53"/>
                      <a:pt x="117" y="54"/>
                      <a:pt x="126" y="56"/>
                    </a:cubicBezTo>
                    <a:cubicBezTo>
                      <a:pt x="134" y="58"/>
                      <a:pt x="140" y="62"/>
                      <a:pt x="148" y="65"/>
                    </a:cubicBezTo>
                    <a:cubicBezTo>
                      <a:pt x="151" y="66"/>
                      <a:pt x="155" y="68"/>
                      <a:pt x="160" y="68"/>
                    </a:cubicBezTo>
                    <a:cubicBezTo>
                      <a:pt x="164" y="68"/>
                      <a:pt x="169" y="68"/>
                      <a:pt x="173" y="69"/>
                    </a:cubicBezTo>
                    <a:cubicBezTo>
                      <a:pt x="176" y="70"/>
                      <a:pt x="178" y="72"/>
                      <a:pt x="180" y="72"/>
                    </a:cubicBezTo>
                    <a:cubicBezTo>
                      <a:pt x="181" y="72"/>
                      <a:pt x="182" y="71"/>
                      <a:pt x="183" y="70"/>
                    </a:cubicBezTo>
                    <a:cubicBezTo>
                      <a:pt x="183" y="69"/>
                      <a:pt x="183" y="69"/>
                      <a:pt x="184" y="69"/>
                    </a:cubicBezTo>
                    <a:cubicBezTo>
                      <a:pt x="187" y="69"/>
                      <a:pt x="192" y="71"/>
                      <a:pt x="193" y="71"/>
                    </a:cubicBezTo>
                    <a:cubicBezTo>
                      <a:pt x="198" y="71"/>
                      <a:pt x="203" y="72"/>
                      <a:pt x="208" y="74"/>
                    </a:cubicBezTo>
                    <a:cubicBezTo>
                      <a:pt x="208" y="74"/>
                      <a:pt x="209" y="74"/>
                      <a:pt x="209" y="74"/>
                    </a:cubicBezTo>
                    <a:cubicBezTo>
                      <a:pt x="212" y="74"/>
                      <a:pt x="215" y="72"/>
                      <a:pt x="217" y="71"/>
                    </a:cubicBezTo>
                    <a:cubicBezTo>
                      <a:pt x="219" y="71"/>
                      <a:pt x="221" y="71"/>
                      <a:pt x="223" y="71"/>
                    </a:cubicBezTo>
                    <a:cubicBezTo>
                      <a:pt x="230" y="71"/>
                      <a:pt x="235" y="74"/>
                      <a:pt x="242" y="77"/>
                    </a:cubicBezTo>
                    <a:cubicBezTo>
                      <a:pt x="249" y="80"/>
                      <a:pt x="258" y="82"/>
                      <a:pt x="265" y="84"/>
                    </a:cubicBezTo>
                    <a:cubicBezTo>
                      <a:pt x="261" y="80"/>
                      <a:pt x="258" y="77"/>
                      <a:pt x="258" y="71"/>
                    </a:cubicBezTo>
                    <a:cubicBezTo>
                      <a:pt x="258" y="69"/>
                      <a:pt x="259" y="66"/>
                      <a:pt x="260" y="63"/>
                    </a:cubicBezTo>
                    <a:cubicBezTo>
                      <a:pt x="260" y="57"/>
                      <a:pt x="262" y="56"/>
                      <a:pt x="256" y="54"/>
                    </a:cubicBezTo>
                    <a:cubicBezTo>
                      <a:pt x="254" y="53"/>
                      <a:pt x="251" y="50"/>
                      <a:pt x="248" y="50"/>
                    </a:cubicBezTo>
                    <a:cubicBezTo>
                      <a:pt x="248" y="50"/>
                      <a:pt x="248" y="50"/>
                      <a:pt x="248" y="50"/>
                    </a:cubicBezTo>
                    <a:cubicBezTo>
                      <a:pt x="245" y="50"/>
                      <a:pt x="239" y="52"/>
                      <a:pt x="235" y="53"/>
                    </a:cubicBezTo>
                    <a:cubicBezTo>
                      <a:pt x="233" y="53"/>
                      <a:pt x="230" y="53"/>
                      <a:pt x="228" y="53"/>
                    </a:cubicBezTo>
                    <a:cubicBezTo>
                      <a:pt x="223" y="53"/>
                      <a:pt x="219" y="52"/>
                      <a:pt x="214" y="49"/>
                    </a:cubicBezTo>
                    <a:cubicBezTo>
                      <a:pt x="212" y="48"/>
                      <a:pt x="213" y="46"/>
                      <a:pt x="213" y="43"/>
                    </a:cubicBezTo>
                    <a:cubicBezTo>
                      <a:pt x="213" y="41"/>
                      <a:pt x="211" y="41"/>
                      <a:pt x="209" y="40"/>
                    </a:cubicBezTo>
                    <a:cubicBezTo>
                      <a:pt x="206" y="37"/>
                      <a:pt x="207" y="34"/>
                      <a:pt x="207" y="30"/>
                    </a:cubicBezTo>
                    <a:cubicBezTo>
                      <a:pt x="207" y="29"/>
                      <a:pt x="206" y="28"/>
                      <a:pt x="204" y="28"/>
                    </a:cubicBezTo>
                    <a:cubicBezTo>
                      <a:pt x="203" y="28"/>
                      <a:pt x="201" y="28"/>
                      <a:pt x="200" y="29"/>
                    </a:cubicBezTo>
                    <a:cubicBezTo>
                      <a:pt x="198" y="29"/>
                      <a:pt x="197" y="29"/>
                      <a:pt x="196" y="29"/>
                    </a:cubicBezTo>
                    <a:cubicBezTo>
                      <a:pt x="195" y="29"/>
                      <a:pt x="195" y="29"/>
                      <a:pt x="195" y="29"/>
                    </a:cubicBezTo>
                    <a:cubicBezTo>
                      <a:pt x="185" y="26"/>
                      <a:pt x="178" y="24"/>
                      <a:pt x="168" y="24"/>
                    </a:cubicBezTo>
                    <a:cubicBezTo>
                      <a:pt x="164" y="23"/>
                      <a:pt x="161" y="18"/>
                      <a:pt x="159" y="15"/>
                    </a:cubicBezTo>
                    <a:cubicBezTo>
                      <a:pt x="159" y="15"/>
                      <a:pt x="159" y="15"/>
                      <a:pt x="158" y="15"/>
                    </a:cubicBezTo>
                    <a:cubicBezTo>
                      <a:pt x="157" y="15"/>
                      <a:pt x="152" y="17"/>
                      <a:pt x="151" y="18"/>
                    </a:cubicBezTo>
                    <a:cubicBezTo>
                      <a:pt x="151" y="21"/>
                      <a:pt x="148" y="31"/>
                      <a:pt x="144" y="31"/>
                    </a:cubicBezTo>
                    <a:cubicBezTo>
                      <a:pt x="144" y="31"/>
                      <a:pt x="144" y="31"/>
                      <a:pt x="144" y="31"/>
                    </a:cubicBezTo>
                    <a:cubicBezTo>
                      <a:pt x="136" y="30"/>
                      <a:pt x="128" y="29"/>
                      <a:pt x="120" y="28"/>
                    </a:cubicBezTo>
                    <a:cubicBezTo>
                      <a:pt x="120" y="28"/>
                      <a:pt x="119" y="28"/>
                      <a:pt x="118" y="28"/>
                    </a:cubicBezTo>
                    <a:cubicBezTo>
                      <a:pt x="117" y="28"/>
                      <a:pt x="116" y="28"/>
                      <a:pt x="114" y="28"/>
                    </a:cubicBezTo>
                    <a:cubicBezTo>
                      <a:pt x="113" y="28"/>
                      <a:pt x="112" y="28"/>
                      <a:pt x="110" y="28"/>
                    </a:cubicBezTo>
                    <a:cubicBezTo>
                      <a:pt x="110" y="28"/>
                      <a:pt x="109" y="28"/>
                      <a:pt x="109" y="28"/>
                    </a:cubicBezTo>
                    <a:cubicBezTo>
                      <a:pt x="106" y="28"/>
                      <a:pt x="102" y="27"/>
                      <a:pt x="99" y="27"/>
                    </a:cubicBezTo>
                    <a:cubicBezTo>
                      <a:pt x="96" y="26"/>
                      <a:pt x="91" y="27"/>
                      <a:pt x="90" y="23"/>
                    </a:cubicBezTo>
                    <a:cubicBezTo>
                      <a:pt x="89" y="18"/>
                      <a:pt x="87" y="16"/>
                      <a:pt x="84" y="12"/>
                    </a:cubicBezTo>
                    <a:cubicBezTo>
                      <a:pt x="83" y="11"/>
                      <a:pt x="82" y="11"/>
                      <a:pt x="81" y="11"/>
                    </a:cubicBezTo>
                    <a:cubicBezTo>
                      <a:pt x="80" y="11"/>
                      <a:pt x="80" y="11"/>
                      <a:pt x="79" y="11"/>
                    </a:cubicBezTo>
                    <a:cubicBezTo>
                      <a:pt x="79" y="11"/>
                      <a:pt x="79" y="11"/>
                      <a:pt x="78" y="11"/>
                    </a:cubicBezTo>
                    <a:cubicBezTo>
                      <a:pt x="78" y="11"/>
                      <a:pt x="78" y="11"/>
                      <a:pt x="78" y="11"/>
                    </a:cubicBezTo>
                    <a:cubicBezTo>
                      <a:pt x="74" y="11"/>
                      <a:pt x="69" y="11"/>
                      <a:pt x="65" y="10"/>
                    </a:cubicBezTo>
                    <a:cubicBezTo>
                      <a:pt x="61" y="10"/>
                      <a:pt x="58" y="7"/>
                      <a:pt x="55" y="6"/>
                    </a:cubicBezTo>
                    <a:cubicBezTo>
                      <a:pt x="54" y="5"/>
                      <a:pt x="51" y="3"/>
                      <a:pt x="48" y="1"/>
                    </a:cubicBezTo>
                    <a:cubicBezTo>
                      <a:pt x="50" y="3"/>
                      <a:pt x="52" y="5"/>
                      <a:pt x="52" y="8"/>
                    </a:cubicBezTo>
                    <a:cubicBezTo>
                      <a:pt x="52" y="13"/>
                      <a:pt x="49" y="16"/>
                      <a:pt x="44" y="16"/>
                    </a:cubicBezTo>
                    <a:cubicBezTo>
                      <a:pt x="40" y="16"/>
                      <a:pt x="36" y="13"/>
                      <a:pt x="36" y="8"/>
                    </a:cubicBezTo>
                    <a:cubicBezTo>
                      <a:pt x="36" y="7"/>
                      <a:pt x="37" y="6"/>
                      <a:pt x="37" y="5"/>
                    </a:cubicBezTo>
                    <a:cubicBezTo>
                      <a:pt x="30" y="4"/>
                      <a:pt x="23" y="2"/>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9" name="Freeform 1221">
                <a:extLst>
                  <a:ext uri="{FF2B5EF4-FFF2-40B4-BE49-F238E27FC236}">
                    <a16:creationId xmlns:a16="http://schemas.microsoft.com/office/drawing/2014/main" id="{0BE88C47-83D1-453C-AA67-8356C1F4BFB9}"/>
                  </a:ext>
                </a:extLst>
              </p:cNvPr>
              <p:cNvSpPr>
                <a:spLocks/>
              </p:cNvSpPr>
              <p:nvPr/>
            </p:nvSpPr>
            <p:spPr bwMode="auto">
              <a:xfrm>
                <a:off x="689" y="943"/>
                <a:ext cx="28" cy="34"/>
              </a:xfrm>
              <a:custGeom>
                <a:avLst/>
                <a:gdLst>
                  <a:gd name="T0" fmla="*/ 4 w 12"/>
                  <a:gd name="T1" fmla="*/ 0 h 14"/>
                  <a:gd name="T2" fmla="*/ 8 w 12"/>
                  <a:gd name="T3" fmla="*/ 14 h 14"/>
                  <a:gd name="T4" fmla="*/ 8 w 12"/>
                  <a:gd name="T5" fmla="*/ 2 h 14"/>
                  <a:gd name="T6" fmla="*/ 4 w 12"/>
                  <a:gd name="T7" fmla="*/ 0 h 14"/>
                </a:gdLst>
                <a:ahLst/>
                <a:cxnLst>
                  <a:cxn ang="0">
                    <a:pos x="T0" y="T1"/>
                  </a:cxn>
                  <a:cxn ang="0">
                    <a:pos x="T2" y="T3"/>
                  </a:cxn>
                  <a:cxn ang="0">
                    <a:pos x="T4" y="T5"/>
                  </a:cxn>
                  <a:cxn ang="0">
                    <a:pos x="T6" y="T7"/>
                  </a:cxn>
                </a:cxnLst>
                <a:rect l="0" t="0" r="r" b="b"/>
                <a:pathLst>
                  <a:path w="12" h="14">
                    <a:moveTo>
                      <a:pt x="4" y="0"/>
                    </a:moveTo>
                    <a:cubicBezTo>
                      <a:pt x="0" y="2"/>
                      <a:pt x="6" y="11"/>
                      <a:pt x="8" y="14"/>
                    </a:cubicBezTo>
                    <a:cubicBezTo>
                      <a:pt x="10" y="9"/>
                      <a:pt x="12" y="6"/>
                      <a:pt x="8" y="2"/>
                    </a:cubicBezTo>
                    <a:cubicBezTo>
                      <a:pt x="7"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0" name="Freeform 1222">
                <a:extLst>
                  <a:ext uri="{FF2B5EF4-FFF2-40B4-BE49-F238E27FC236}">
                    <a16:creationId xmlns:a16="http://schemas.microsoft.com/office/drawing/2014/main" id="{2D105FCB-F1B9-4C76-BE01-D05F55444177}"/>
                  </a:ext>
                </a:extLst>
              </p:cNvPr>
              <p:cNvSpPr>
                <a:spLocks/>
              </p:cNvSpPr>
              <p:nvPr/>
            </p:nvSpPr>
            <p:spPr bwMode="auto">
              <a:xfrm>
                <a:off x="2218" y="1151"/>
                <a:ext cx="64" cy="26"/>
              </a:xfrm>
              <a:custGeom>
                <a:avLst/>
                <a:gdLst>
                  <a:gd name="T0" fmla="*/ 5 w 27"/>
                  <a:gd name="T1" fmla="*/ 0 h 11"/>
                  <a:gd name="T2" fmla="*/ 1 w 27"/>
                  <a:gd name="T3" fmla="*/ 1 h 11"/>
                  <a:gd name="T4" fmla="*/ 1 w 27"/>
                  <a:gd name="T5" fmla="*/ 11 h 11"/>
                  <a:gd name="T6" fmla="*/ 9 w 27"/>
                  <a:gd name="T7" fmla="*/ 10 h 11"/>
                  <a:gd name="T8" fmla="*/ 13 w 27"/>
                  <a:gd name="T9" fmla="*/ 8 h 11"/>
                  <a:gd name="T10" fmla="*/ 13 w 27"/>
                  <a:gd name="T11" fmla="*/ 8 h 11"/>
                  <a:gd name="T12" fmla="*/ 19 w 27"/>
                  <a:gd name="T13" fmla="*/ 9 h 11"/>
                  <a:gd name="T14" fmla="*/ 25 w 27"/>
                  <a:gd name="T15" fmla="*/ 8 h 11"/>
                  <a:gd name="T16" fmla="*/ 27 w 27"/>
                  <a:gd name="T17" fmla="*/ 5 h 11"/>
                  <a:gd name="T18" fmla="*/ 26 w 27"/>
                  <a:gd name="T19" fmla="*/ 3 h 11"/>
                  <a:gd name="T20" fmla="*/ 26 w 27"/>
                  <a:gd name="T21" fmla="*/ 3 h 11"/>
                  <a:gd name="T22" fmla="*/ 25 w 27"/>
                  <a:gd name="T23" fmla="*/ 4 h 11"/>
                  <a:gd name="T24" fmla="*/ 24 w 27"/>
                  <a:gd name="T25" fmla="*/ 5 h 11"/>
                  <a:gd name="T26" fmla="*/ 24 w 27"/>
                  <a:gd name="T27" fmla="*/ 5 h 11"/>
                  <a:gd name="T28" fmla="*/ 24 w 27"/>
                  <a:gd name="T29" fmla="*/ 3 h 11"/>
                  <a:gd name="T30" fmla="*/ 24 w 27"/>
                  <a:gd name="T31" fmla="*/ 3 h 11"/>
                  <a:gd name="T32" fmla="*/ 21 w 27"/>
                  <a:gd name="T33" fmla="*/ 2 h 11"/>
                  <a:gd name="T34" fmla="*/ 21 w 27"/>
                  <a:gd name="T35" fmla="*/ 2 h 11"/>
                  <a:gd name="T36" fmla="*/ 19 w 27"/>
                  <a:gd name="T37" fmla="*/ 4 h 11"/>
                  <a:gd name="T38" fmla="*/ 19 w 27"/>
                  <a:gd name="T39" fmla="*/ 4 h 11"/>
                  <a:gd name="T40" fmla="*/ 18 w 27"/>
                  <a:gd name="T41" fmla="*/ 3 h 11"/>
                  <a:gd name="T42" fmla="*/ 5 w 27"/>
                  <a:gd name="T4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11">
                    <a:moveTo>
                      <a:pt x="5" y="0"/>
                    </a:moveTo>
                    <a:cubicBezTo>
                      <a:pt x="4" y="0"/>
                      <a:pt x="2" y="0"/>
                      <a:pt x="1" y="1"/>
                    </a:cubicBezTo>
                    <a:cubicBezTo>
                      <a:pt x="1" y="4"/>
                      <a:pt x="0" y="8"/>
                      <a:pt x="1" y="11"/>
                    </a:cubicBezTo>
                    <a:cubicBezTo>
                      <a:pt x="4" y="11"/>
                      <a:pt x="6" y="11"/>
                      <a:pt x="9" y="10"/>
                    </a:cubicBezTo>
                    <a:cubicBezTo>
                      <a:pt x="11" y="9"/>
                      <a:pt x="11" y="8"/>
                      <a:pt x="13" y="8"/>
                    </a:cubicBezTo>
                    <a:cubicBezTo>
                      <a:pt x="13" y="8"/>
                      <a:pt x="13" y="8"/>
                      <a:pt x="13" y="8"/>
                    </a:cubicBezTo>
                    <a:cubicBezTo>
                      <a:pt x="15" y="9"/>
                      <a:pt x="17" y="9"/>
                      <a:pt x="19" y="9"/>
                    </a:cubicBezTo>
                    <a:cubicBezTo>
                      <a:pt x="21" y="9"/>
                      <a:pt x="23" y="8"/>
                      <a:pt x="25" y="8"/>
                    </a:cubicBezTo>
                    <a:cubicBezTo>
                      <a:pt x="27" y="7"/>
                      <a:pt x="27" y="7"/>
                      <a:pt x="27" y="5"/>
                    </a:cubicBezTo>
                    <a:cubicBezTo>
                      <a:pt x="26" y="3"/>
                      <a:pt x="26" y="3"/>
                      <a:pt x="26" y="3"/>
                    </a:cubicBezTo>
                    <a:cubicBezTo>
                      <a:pt x="26" y="3"/>
                      <a:pt x="26" y="3"/>
                      <a:pt x="26" y="3"/>
                    </a:cubicBezTo>
                    <a:cubicBezTo>
                      <a:pt x="25" y="3"/>
                      <a:pt x="24" y="3"/>
                      <a:pt x="25" y="4"/>
                    </a:cubicBezTo>
                    <a:cubicBezTo>
                      <a:pt x="25" y="4"/>
                      <a:pt x="24" y="5"/>
                      <a:pt x="24" y="5"/>
                    </a:cubicBezTo>
                    <a:cubicBezTo>
                      <a:pt x="24" y="5"/>
                      <a:pt x="24" y="5"/>
                      <a:pt x="24" y="5"/>
                    </a:cubicBezTo>
                    <a:cubicBezTo>
                      <a:pt x="24" y="4"/>
                      <a:pt x="24" y="3"/>
                      <a:pt x="24" y="3"/>
                    </a:cubicBezTo>
                    <a:cubicBezTo>
                      <a:pt x="24" y="3"/>
                      <a:pt x="24" y="3"/>
                      <a:pt x="24" y="3"/>
                    </a:cubicBezTo>
                    <a:cubicBezTo>
                      <a:pt x="22" y="3"/>
                      <a:pt x="22" y="2"/>
                      <a:pt x="21" y="2"/>
                    </a:cubicBezTo>
                    <a:cubicBezTo>
                      <a:pt x="21" y="2"/>
                      <a:pt x="21" y="2"/>
                      <a:pt x="21" y="2"/>
                    </a:cubicBezTo>
                    <a:cubicBezTo>
                      <a:pt x="21" y="2"/>
                      <a:pt x="20" y="4"/>
                      <a:pt x="19" y="4"/>
                    </a:cubicBezTo>
                    <a:cubicBezTo>
                      <a:pt x="19" y="4"/>
                      <a:pt x="19" y="4"/>
                      <a:pt x="19" y="4"/>
                    </a:cubicBezTo>
                    <a:cubicBezTo>
                      <a:pt x="18" y="4"/>
                      <a:pt x="19" y="3"/>
                      <a:pt x="18" y="3"/>
                    </a:cubicBezTo>
                    <a:cubicBezTo>
                      <a:pt x="15" y="2"/>
                      <a:pt x="9"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1" name="Freeform 1223">
                <a:extLst>
                  <a:ext uri="{FF2B5EF4-FFF2-40B4-BE49-F238E27FC236}">
                    <a16:creationId xmlns:a16="http://schemas.microsoft.com/office/drawing/2014/main" id="{B67ADAB1-2FF1-4D80-A37F-EAAC8AB84D0E}"/>
                  </a:ext>
                </a:extLst>
              </p:cNvPr>
              <p:cNvSpPr>
                <a:spLocks/>
              </p:cNvSpPr>
              <p:nvPr/>
            </p:nvSpPr>
            <p:spPr bwMode="auto">
              <a:xfrm>
                <a:off x="2138" y="1603"/>
                <a:ext cx="49" cy="26"/>
              </a:xfrm>
              <a:custGeom>
                <a:avLst/>
                <a:gdLst>
                  <a:gd name="T0" fmla="*/ 17 w 21"/>
                  <a:gd name="T1" fmla="*/ 0 h 11"/>
                  <a:gd name="T2" fmla="*/ 14 w 21"/>
                  <a:gd name="T3" fmla="*/ 2 h 11"/>
                  <a:gd name="T4" fmla="*/ 14 w 21"/>
                  <a:gd name="T5" fmla="*/ 2 h 11"/>
                  <a:gd name="T6" fmla="*/ 13 w 21"/>
                  <a:gd name="T7" fmla="*/ 1 h 11"/>
                  <a:gd name="T8" fmla="*/ 13 w 21"/>
                  <a:gd name="T9" fmla="*/ 1 h 11"/>
                  <a:gd name="T10" fmla="*/ 13 w 21"/>
                  <a:gd name="T11" fmla="*/ 1 h 11"/>
                  <a:gd name="T12" fmla="*/ 12 w 21"/>
                  <a:gd name="T13" fmla="*/ 3 h 11"/>
                  <a:gd name="T14" fmla="*/ 10 w 21"/>
                  <a:gd name="T15" fmla="*/ 5 h 11"/>
                  <a:gd name="T16" fmla="*/ 10 w 21"/>
                  <a:gd name="T17" fmla="*/ 5 h 11"/>
                  <a:gd name="T18" fmla="*/ 9 w 21"/>
                  <a:gd name="T19" fmla="*/ 2 h 11"/>
                  <a:gd name="T20" fmla="*/ 5 w 21"/>
                  <a:gd name="T21" fmla="*/ 2 h 11"/>
                  <a:gd name="T22" fmla="*/ 0 w 21"/>
                  <a:gd name="T23" fmla="*/ 10 h 11"/>
                  <a:gd name="T24" fmla="*/ 6 w 21"/>
                  <a:gd name="T25" fmla="*/ 11 h 11"/>
                  <a:gd name="T26" fmla="*/ 8 w 21"/>
                  <a:gd name="T27" fmla="*/ 11 h 11"/>
                  <a:gd name="T28" fmla="*/ 11 w 21"/>
                  <a:gd name="T29" fmla="*/ 11 h 11"/>
                  <a:gd name="T30" fmla="*/ 11 w 21"/>
                  <a:gd name="T31" fmla="*/ 9 h 11"/>
                  <a:gd name="T32" fmla="*/ 11 w 21"/>
                  <a:gd name="T33" fmla="*/ 9 h 11"/>
                  <a:gd name="T34" fmla="*/ 11 w 21"/>
                  <a:gd name="T35" fmla="*/ 8 h 11"/>
                  <a:gd name="T36" fmla="*/ 14 w 21"/>
                  <a:gd name="T37" fmla="*/ 7 h 11"/>
                  <a:gd name="T38" fmla="*/ 21 w 21"/>
                  <a:gd name="T39" fmla="*/ 1 h 11"/>
                  <a:gd name="T40" fmla="*/ 17 w 21"/>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1">
                    <a:moveTo>
                      <a:pt x="17" y="0"/>
                    </a:moveTo>
                    <a:cubicBezTo>
                      <a:pt x="16" y="0"/>
                      <a:pt x="15" y="1"/>
                      <a:pt x="14" y="2"/>
                    </a:cubicBezTo>
                    <a:cubicBezTo>
                      <a:pt x="14" y="2"/>
                      <a:pt x="14" y="2"/>
                      <a:pt x="14" y="2"/>
                    </a:cubicBezTo>
                    <a:cubicBezTo>
                      <a:pt x="14" y="2"/>
                      <a:pt x="13" y="2"/>
                      <a:pt x="13" y="1"/>
                    </a:cubicBezTo>
                    <a:cubicBezTo>
                      <a:pt x="13" y="1"/>
                      <a:pt x="13" y="1"/>
                      <a:pt x="13" y="1"/>
                    </a:cubicBezTo>
                    <a:cubicBezTo>
                      <a:pt x="13" y="1"/>
                      <a:pt x="13" y="1"/>
                      <a:pt x="13" y="1"/>
                    </a:cubicBezTo>
                    <a:cubicBezTo>
                      <a:pt x="12" y="2"/>
                      <a:pt x="13" y="3"/>
                      <a:pt x="12" y="3"/>
                    </a:cubicBezTo>
                    <a:cubicBezTo>
                      <a:pt x="11" y="4"/>
                      <a:pt x="11" y="5"/>
                      <a:pt x="10" y="5"/>
                    </a:cubicBezTo>
                    <a:cubicBezTo>
                      <a:pt x="10" y="5"/>
                      <a:pt x="10" y="5"/>
                      <a:pt x="10" y="5"/>
                    </a:cubicBezTo>
                    <a:cubicBezTo>
                      <a:pt x="7" y="5"/>
                      <a:pt x="11" y="2"/>
                      <a:pt x="9" y="2"/>
                    </a:cubicBezTo>
                    <a:cubicBezTo>
                      <a:pt x="8" y="2"/>
                      <a:pt x="7" y="2"/>
                      <a:pt x="5" y="2"/>
                    </a:cubicBezTo>
                    <a:cubicBezTo>
                      <a:pt x="11" y="6"/>
                      <a:pt x="3" y="8"/>
                      <a:pt x="0" y="10"/>
                    </a:cubicBezTo>
                    <a:cubicBezTo>
                      <a:pt x="2" y="11"/>
                      <a:pt x="5" y="11"/>
                      <a:pt x="6" y="11"/>
                    </a:cubicBezTo>
                    <a:cubicBezTo>
                      <a:pt x="7" y="11"/>
                      <a:pt x="8" y="11"/>
                      <a:pt x="8" y="11"/>
                    </a:cubicBezTo>
                    <a:cubicBezTo>
                      <a:pt x="9" y="11"/>
                      <a:pt x="10" y="11"/>
                      <a:pt x="11" y="11"/>
                    </a:cubicBezTo>
                    <a:cubicBezTo>
                      <a:pt x="11" y="10"/>
                      <a:pt x="11" y="9"/>
                      <a:pt x="11" y="9"/>
                    </a:cubicBezTo>
                    <a:cubicBezTo>
                      <a:pt x="11" y="9"/>
                      <a:pt x="11" y="9"/>
                      <a:pt x="11" y="9"/>
                    </a:cubicBezTo>
                    <a:cubicBezTo>
                      <a:pt x="11" y="9"/>
                      <a:pt x="11" y="8"/>
                      <a:pt x="11" y="8"/>
                    </a:cubicBezTo>
                    <a:cubicBezTo>
                      <a:pt x="12" y="7"/>
                      <a:pt x="13" y="7"/>
                      <a:pt x="14" y="7"/>
                    </a:cubicBezTo>
                    <a:cubicBezTo>
                      <a:pt x="16" y="6"/>
                      <a:pt x="19" y="3"/>
                      <a:pt x="21" y="1"/>
                    </a:cubicBezTo>
                    <a:cubicBezTo>
                      <a:pt x="19"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2" name="Freeform 1224">
                <a:extLst>
                  <a:ext uri="{FF2B5EF4-FFF2-40B4-BE49-F238E27FC236}">
                    <a16:creationId xmlns:a16="http://schemas.microsoft.com/office/drawing/2014/main" id="{21C4A3D2-472F-4D42-B8B1-81C61D5AD205}"/>
                  </a:ext>
                </a:extLst>
              </p:cNvPr>
              <p:cNvSpPr>
                <a:spLocks/>
              </p:cNvSpPr>
              <p:nvPr/>
            </p:nvSpPr>
            <p:spPr bwMode="auto">
              <a:xfrm>
                <a:off x="502" y="1177"/>
                <a:ext cx="33" cy="26"/>
              </a:xfrm>
              <a:custGeom>
                <a:avLst/>
                <a:gdLst>
                  <a:gd name="T0" fmla="*/ 7 w 14"/>
                  <a:gd name="T1" fmla="*/ 0 h 11"/>
                  <a:gd name="T2" fmla="*/ 6 w 14"/>
                  <a:gd name="T3" fmla="*/ 1 h 11"/>
                  <a:gd name="T4" fmla="*/ 14 w 14"/>
                  <a:gd name="T5" fmla="*/ 11 h 11"/>
                  <a:gd name="T6" fmla="*/ 9 w 14"/>
                  <a:gd name="T7" fmla="*/ 2 h 11"/>
                  <a:gd name="T8" fmla="*/ 7 w 14"/>
                  <a:gd name="T9" fmla="*/ 0 h 11"/>
                </a:gdLst>
                <a:ahLst/>
                <a:cxnLst>
                  <a:cxn ang="0">
                    <a:pos x="T0" y="T1"/>
                  </a:cxn>
                  <a:cxn ang="0">
                    <a:pos x="T2" y="T3"/>
                  </a:cxn>
                  <a:cxn ang="0">
                    <a:pos x="T4" y="T5"/>
                  </a:cxn>
                  <a:cxn ang="0">
                    <a:pos x="T6" y="T7"/>
                  </a:cxn>
                  <a:cxn ang="0">
                    <a:pos x="T8" y="T9"/>
                  </a:cxn>
                </a:cxnLst>
                <a:rect l="0" t="0" r="r" b="b"/>
                <a:pathLst>
                  <a:path w="14" h="11">
                    <a:moveTo>
                      <a:pt x="7" y="0"/>
                    </a:moveTo>
                    <a:cubicBezTo>
                      <a:pt x="6" y="0"/>
                      <a:pt x="6" y="0"/>
                      <a:pt x="6" y="1"/>
                    </a:cubicBezTo>
                    <a:cubicBezTo>
                      <a:pt x="0" y="5"/>
                      <a:pt x="13" y="10"/>
                      <a:pt x="14" y="11"/>
                    </a:cubicBezTo>
                    <a:cubicBezTo>
                      <a:pt x="13" y="9"/>
                      <a:pt x="10" y="3"/>
                      <a:pt x="9" y="2"/>
                    </a:cubicBezTo>
                    <a:cubicBezTo>
                      <a:pt x="8" y="1"/>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3" name="Freeform 1225">
                <a:extLst>
                  <a:ext uri="{FF2B5EF4-FFF2-40B4-BE49-F238E27FC236}">
                    <a16:creationId xmlns:a16="http://schemas.microsoft.com/office/drawing/2014/main" id="{E841AF44-53BD-4FAE-9BDC-3A41C08BFA56}"/>
                  </a:ext>
                </a:extLst>
              </p:cNvPr>
              <p:cNvSpPr>
                <a:spLocks/>
              </p:cNvSpPr>
              <p:nvPr/>
            </p:nvSpPr>
            <p:spPr bwMode="auto">
              <a:xfrm>
                <a:off x="1752" y="757"/>
                <a:ext cx="8" cy="9"/>
              </a:xfrm>
              <a:custGeom>
                <a:avLst/>
                <a:gdLst>
                  <a:gd name="T0" fmla="*/ 0 w 3"/>
                  <a:gd name="T1" fmla="*/ 0 h 4"/>
                  <a:gd name="T2" fmla="*/ 1 w 3"/>
                  <a:gd name="T3" fmla="*/ 3 h 4"/>
                  <a:gd name="T4" fmla="*/ 1 w 3"/>
                  <a:gd name="T5" fmla="*/ 3 h 4"/>
                  <a:gd name="T6" fmla="*/ 2 w 3"/>
                  <a:gd name="T7" fmla="*/ 4 h 4"/>
                  <a:gd name="T8" fmla="*/ 3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cubicBezTo>
                      <a:pt x="0" y="1"/>
                      <a:pt x="1" y="2"/>
                      <a:pt x="1" y="3"/>
                    </a:cubicBezTo>
                    <a:cubicBezTo>
                      <a:pt x="1" y="3"/>
                      <a:pt x="1" y="3"/>
                      <a:pt x="1" y="3"/>
                    </a:cubicBezTo>
                    <a:cubicBezTo>
                      <a:pt x="2" y="4"/>
                      <a:pt x="2" y="4"/>
                      <a:pt x="2" y="4"/>
                    </a:cubicBezTo>
                    <a:cubicBezTo>
                      <a:pt x="2" y="4"/>
                      <a:pt x="3" y="4"/>
                      <a:pt x="3" y="4"/>
                    </a:cubicBezTo>
                    <a:cubicBezTo>
                      <a:pt x="3" y="3"/>
                      <a:pt x="3"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4" name="Freeform 1226">
                <a:extLst>
                  <a:ext uri="{FF2B5EF4-FFF2-40B4-BE49-F238E27FC236}">
                    <a16:creationId xmlns:a16="http://schemas.microsoft.com/office/drawing/2014/main" id="{07EB7DC3-A100-4424-BAAC-2E277BE7ADF7}"/>
                  </a:ext>
                </a:extLst>
              </p:cNvPr>
              <p:cNvSpPr>
                <a:spLocks/>
              </p:cNvSpPr>
              <p:nvPr/>
            </p:nvSpPr>
            <p:spPr bwMode="auto">
              <a:xfrm>
                <a:off x="3128" y="1546"/>
                <a:ext cx="97" cy="73"/>
              </a:xfrm>
              <a:custGeom>
                <a:avLst/>
                <a:gdLst>
                  <a:gd name="T0" fmla="*/ 30 w 41"/>
                  <a:gd name="T1" fmla="*/ 0 h 31"/>
                  <a:gd name="T2" fmla="*/ 19 w 41"/>
                  <a:gd name="T3" fmla="*/ 2 h 31"/>
                  <a:gd name="T4" fmla="*/ 6 w 41"/>
                  <a:gd name="T5" fmla="*/ 15 h 31"/>
                  <a:gd name="T6" fmla="*/ 0 w 41"/>
                  <a:gd name="T7" fmla="*/ 31 h 31"/>
                  <a:gd name="T8" fmla="*/ 3 w 41"/>
                  <a:gd name="T9" fmla="*/ 30 h 31"/>
                  <a:gd name="T10" fmla="*/ 9 w 41"/>
                  <a:gd name="T11" fmla="*/ 30 h 31"/>
                  <a:gd name="T12" fmla="*/ 12 w 41"/>
                  <a:gd name="T13" fmla="*/ 30 h 31"/>
                  <a:gd name="T14" fmla="*/ 19 w 41"/>
                  <a:gd name="T15" fmla="*/ 31 h 31"/>
                  <a:gd name="T16" fmla="*/ 23 w 41"/>
                  <a:gd name="T17" fmla="*/ 30 h 31"/>
                  <a:gd name="T18" fmla="*/ 28 w 41"/>
                  <a:gd name="T19" fmla="*/ 25 h 31"/>
                  <a:gd name="T20" fmla="*/ 31 w 41"/>
                  <a:gd name="T21" fmla="*/ 23 h 31"/>
                  <a:gd name="T22" fmla="*/ 36 w 41"/>
                  <a:gd name="T23" fmla="*/ 20 h 31"/>
                  <a:gd name="T24" fmla="*/ 36 w 41"/>
                  <a:gd name="T25" fmla="*/ 17 h 31"/>
                  <a:gd name="T26" fmla="*/ 39 w 41"/>
                  <a:gd name="T27" fmla="*/ 14 h 31"/>
                  <a:gd name="T28" fmla="*/ 39 w 41"/>
                  <a:gd name="T29" fmla="*/ 11 h 31"/>
                  <a:gd name="T30" fmla="*/ 40 w 41"/>
                  <a:gd name="T31" fmla="*/ 7 h 31"/>
                  <a:gd name="T32" fmla="*/ 36 w 41"/>
                  <a:gd name="T33" fmla="*/ 4 h 31"/>
                  <a:gd name="T34" fmla="*/ 30 w 41"/>
                  <a:gd name="T35" fmla="*/ 0 h 31"/>
                  <a:gd name="T36" fmla="*/ 30 w 41"/>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31">
                    <a:moveTo>
                      <a:pt x="30" y="0"/>
                    </a:moveTo>
                    <a:cubicBezTo>
                      <a:pt x="27" y="0"/>
                      <a:pt x="22" y="1"/>
                      <a:pt x="19" y="2"/>
                    </a:cubicBezTo>
                    <a:cubicBezTo>
                      <a:pt x="13" y="6"/>
                      <a:pt x="10" y="8"/>
                      <a:pt x="6" y="15"/>
                    </a:cubicBezTo>
                    <a:cubicBezTo>
                      <a:pt x="4" y="20"/>
                      <a:pt x="1" y="26"/>
                      <a:pt x="0" y="31"/>
                    </a:cubicBezTo>
                    <a:cubicBezTo>
                      <a:pt x="1" y="31"/>
                      <a:pt x="2" y="30"/>
                      <a:pt x="3" y="30"/>
                    </a:cubicBezTo>
                    <a:cubicBezTo>
                      <a:pt x="5" y="30"/>
                      <a:pt x="7" y="30"/>
                      <a:pt x="9" y="30"/>
                    </a:cubicBezTo>
                    <a:cubicBezTo>
                      <a:pt x="10" y="30"/>
                      <a:pt x="11" y="30"/>
                      <a:pt x="12" y="30"/>
                    </a:cubicBezTo>
                    <a:cubicBezTo>
                      <a:pt x="14" y="30"/>
                      <a:pt x="17" y="31"/>
                      <a:pt x="19" y="31"/>
                    </a:cubicBezTo>
                    <a:cubicBezTo>
                      <a:pt x="20" y="31"/>
                      <a:pt x="21" y="30"/>
                      <a:pt x="23" y="30"/>
                    </a:cubicBezTo>
                    <a:cubicBezTo>
                      <a:pt x="24" y="29"/>
                      <a:pt x="26" y="27"/>
                      <a:pt x="28" y="25"/>
                    </a:cubicBezTo>
                    <a:cubicBezTo>
                      <a:pt x="29" y="24"/>
                      <a:pt x="29" y="24"/>
                      <a:pt x="31" y="23"/>
                    </a:cubicBezTo>
                    <a:cubicBezTo>
                      <a:pt x="32" y="22"/>
                      <a:pt x="35" y="23"/>
                      <a:pt x="36" y="20"/>
                    </a:cubicBezTo>
                    <a:cubicBezTo>
                      <a:pt x="37" y="20"/>
                      <a:pt x="36" y="18"/>
                      <a:pt x="36" y="17"/>
                    </a:cubicBezTo>
                    <a:cubicBezTo>
                      <a:pt x="36" y="15"/>
                      <a:pt x="38" y="15"/>
                      <a:pt x="39" y="14"/>
                    </a:cubicBezTo>
                    <a:cubicBezTo>
                      <a:pt x="39" y="13"/>
                      <a:pt x="38" y="12"/>
                      <a:pt x="39" y="11"/>
                    </a:cubicBezTo>
                    <a:cubicBezTo>
                      <a:pt x="40" y="10"/>
                      <a:pt x="41" y="8"/>
                      <a:pt x="40" y="7"/>
                    </a:cubicBezTo>
                    <a:cubicBezTo>
                      <a:pt x="39" y="5"/>
                      <a:pt x="37" y="5"/>
                      <a:pt x="36" y="4"/>
                    </a:cubicBezTo>
                    <a:cubicBezTo>
                      <a:pt x="34" y="1"/>
                      <a:pt x="34" y="0"/>
                      <a:pt x="30" y="0"/>
                    </a:cubicBez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5" name="Freeform 1227">
                <a:extLst>
                  <a:ext uri="{FF2B5EF4-FFF2-40B4-BE49-F238E27FC236}">
                    <a16:creationId xmlns:a16="http://schemas.microsoft.com/office/drawing/2014/main" id="{C1784006-2FDC-4E5E-8519-157B8469C6AA}"/>
                  </a:ext>
                </a:extLst>
              </p:cNvPr>
              <p:cNvSpPr>
                <a:spLocks/>
              </p:cNvSpPr>
              <p:nvPr/>
            </p:nvSpPr>
            <p:spPr bwMode="auto">
              <a:xfrm>
                <a:off x="2880" y="1463"/>
                <a:ext cx="42" cy="50"/>
              </a:xfrm>
              <a:custGeom>
                <a:avLst/>
                <a:gdLst>
                  <a:gd name="T0" fmla="*/ 3 w 18"/>
                  <a:gd name="T1" fmla="*/ 0 h 21"/>
                  <a:gd name="T2" fmla="*/ 5 w 18"/>
                  <a:gd name="T3" fmla="*/ 9 h 21"/>
                  <a:gd name="T4" fmla="*/ 4 w 18"/>
                  <a:gd name="T5" fmla="*/ 9 h 21"/>
                  <a:gd name="T6" fmla="*/ 2 w 18"/>
                  <a:gd name="T7" fmla="*/ 20 h 21"/>
                  <a:gd name="T8" fmla="*/ 5 w 18"/>
                  <a:gd name="T9" fmla="*/ 21 h 21"/>
                  <a:gd name="T10" fmla="*/ 12 w 18"/>
                  <a:gd name="T11" fmla="*/ 14 h 21"/>
                  <a:gd name="T12" fmla="*/ 12 w 18"/>
                  <a:gd name="T13" fmla="*/ 14 h 21"/>
                  <a:gd name="T14" fmla="*/ 3 w 18"/>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3" y="0"/>
                    </a:moveTo>
                    <a:cubicBezTo>
                      <a:pt x="2" y="4"/>
                      <a:pt x="2" y="8"/>
                      <a:pt x="5" y="9"/>
                    </a:cubicBezTo>
                    <a:cubicBezTo>
                      <a:pt x="5" y="9"/>
                      <a:pt x="5" y="9"/>
                      <a:pt x="4" y="9"/>
                    </a:cubicBezTo>
                    <a:cubicBezTo>
                      <a:pt x="0" y="9"/>
                      <a:pt x="0" y="17"/>
                      <a:pt x="2" y="20"/>
                    </a:cubicBezTo>
                    <a:cubicBezTo>
                      <a:pt x="3" y="21"/>
                      <a:pt x="4" y="21"/>
                      <a:pt x="5" y="21"/>
                    </a:cubicBezTo>
                    <a:cubicBezTo>
                      <a:pt x="8" y="21"/>
                      <a:pt x="11" y="17"/>
                      <a:pt x="12" y="14"/>
                    </a:cubicBezTo>
                    <a:cubicBezTo>
                      <a:pt x="12" y="14"/>
                      <a:pt x="12" y="14"/>
                      <a:pt x="12" y="14"/>
                    </a:cubicBezTo>
                    <a:cubicBezTo>
                      <a:pt x="18" y="14"/>
                      <a:pt x="4"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6" name="Freeform 1228">
                <a:extLst>
                  <a:ext uri="{FF2B5EF4-FFF2-40B4-BE49-F238E27FC236}">
                    <a16:creationId xmlns:a16="http://schemas.microsoft.com/office/drawing/2014/main" id="{82A13F74-B9D5-4B9F-9A92-7B30E36D8F81}"/>
                  </a:ext>
                </a:extLst>
              </p:cNvPr>
              <p:cNvSpPr>
                <a:spLocks/>
              </p:cNvSpPr>
              <p:nvPr/>
            </p:nvSpPr>
            <p:spPr bwMode="auto">
              <a:xfrm>
                <a:off x="1415" y="1511"/>
                <a:ext cx="99" cy="23"/>
              </a:xfrm>
              <a:custGeom>
                <a:avLst/>
                <a:gdLst>
                  <a:gd name="T0" fmla="*/ 16 w 42"/>
                  <a:gd name="T1" fmla="*/ 0 h 10"/>
                  <a:gd name="T2" fmla="*/ 2 w 42"/>
                  <a:gd name="T3" fmla="*/ 6 h 10"/>
                  <a:gd name="T4" fmla="*/ 5 w 42"/>
                  <a:gd name="T5" fmla="*/ 9 h 10"/>
                  <a:gd name="T6" fmla="*/ 14 w 42"/>
                  <a:gd name="T7" fmla="*/ 10 h 10"/>
                  <a:gd name="T8" fmla="*/ 42 w 42"/>
                  <a:gd name="T9" fmla="*/ 3 h 10"/>
                  <a:gd name="T10" fmla="*/ 34 w 42"/>
                  <a:gd name="T11" fmla="*/ 0 h 10"/>
                  <a:gd name="T12" fmla="*/ 28 w 42"/>
                  <a:gd name="T13" fmla="*/ 1 h 10"/>
                  <a:gd name="T14" fmla="*/ 16 w 4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0">
                    <a:moveTo>
                      <a:pt x="16" y="0"/>
                    </a:moveTo>
                    <a:cubicBezTo>
                      <a:pt x="10" y="0"/>
                      <a:pt x="4" y="1"/>
                      <a:pt x="2" y="6"/>
                    </a:cubicBezTo>
                    <a:cubicBezTo>
                      <a:pt x="0" y="10"/>
                      <a:pt x="2" y="8"/>
                      <a:pt x="5" y="9"/>
                    </a:cubicBezTo>
                    <a:cubicBezTo>
                      <a:pt x="8" y="10"/>
                      <a:pt x="11" y="10"/>
                      <a:pt x="14" y="10"/>
                    </a:cubicBezTo>
                    <a:cubicBezTo>
                      <a:pt x="24" y="10"/>
                      <a:pt x="33" y="7"/>
                      <a:pt x="42" y="3"/>
                    </a:cubicBezTo>
                    <a:cubicBezTo>
                      <a:pt x="39" y="1"/>
                      <a:pt x="37" y="0"/>
                      <a:pt x="34" y="0"/>
                    </a:cubicBezTo>
                    <a:cubicBezTo>
                      <a:pt x="32" y="0"/>
                      <a:pt x="30" y="1"/>
                      <a:pt x="28" y="1"/>
                    </a:cubicBezTo>
                    <a:cubicBezTo>
                      <a:pt x="25" y="1"/>
                      <a:pt x="20"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7" name="Freeform 1229">
                <a:extLst>
                  <a:ext uri="{FF2B5EF4-FFF2-40B4-BE49-F238E27FC236}">
                    <a16:creationId xmlns:a16="http://schemas.microsoft.com/office/drawing/2014/main" id="{10F68C05-4259-41E7-A574-5C41F5CF9B12}"/>
                  </a:ext>
                </a:extLst>
              </p:cNvPr>
              <p:cNvSpPr>
                <a:spLocks/>
              </p:cNvSpPr>
              <p:nvPr/>
            </p:nvSpPr>
            <p:spPr bwMode="auto">
              <a:xfrm>
                <a:off x="2809" y="1402"/>
                <a:ext cx="12" cy="24"/>
              </a:xfrm>
              <a:custGeom>
                <a:avLst/>
                <a:gdLst>
                  <a:gd name="T0" fmla="*/ 5 w 5"/>
                  <a:gd name="T1" fmla="*/ 0 h 10"/>
                  <a:gd name="T2" fmla="*/ 0 w 5"/>
                  <a:gd name="T3" fmla="*/ 10 h 10"/>
                  <a:gd name="T4" fmla="*/ 5 w 5"/>
                  <a:gd name="T5" fmla="*/ 0 h 10"/>
                </a:gdLst>
                <a:ahLst/>
                <a:cxnLst>
                  <a:cxn ang="0">
                    <a:pos x="T0" y="T1"/>
                  </a:cxn>
                  <a:cxn ang="0">
                    <a:pos x="T2" y="T3"/>
                  </a:cxn>
                  <a:cxn ang="0">
                    <a:pos x="T4" y="T5"/>
                  </a:cxn>
                </a:cxnLst>
                <a:rect l="0" t="0" r="r" b="b"/>
                <a:pathLst>
                  <a:path w="5" h="10">
                    <a:moveTo>
                      <a:pt x="5" y="0"/>
                    </a:moveTo>
                    <a:cubicBezTo>
                      <a:pt x="2" y="0"/>
                      <a:pt x="0" y="8"/>
                      <a:pt x="0" y="10"/>
                    </a:cubicBezTo>
                    <a:cubicBezTo>
                      <a:pt x="2" y="7"/>
                      <a:pt x="3" y="4"/>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8" name="Freeform 1230">
                <a:extLst>
                  <a:ext uri="{FF2B5EF4-FFF2-40B4-BE49-F238E27FC236}">
                    <a16:creationId xmlns:a16="http://schemas.microsoft.com/office/drawing/2014/main" id="{086D3555-D802-42BE-8A35-98A2E21562EB}"/>
                  </a:ext>
                </a:extLst>
              </p:cNvPr>
              <p:cNvSpPr>
                <a:spLocks/>
              </p:cNvSpPr>
              <p:nvPr/>
            </p:nvSpPr>
            <p:spPr bwMode="auto">
              <a:xfrm>
                <a:off x="2797" y="1428"/>
                <a:ext cx="12" cy="24"/>
              </a:xfrm>
              <a:custGeom>
                <a:avLst/>
                <a:gdLst>
                  <a:gd name="T0" fmla="*/ 5 w 5"/>
                  <a:gd name="T1" fmla="*/ 0 h 10"/>
                  <a:gd name="T2" fmla="*/ 0 w 5"/>
                  <a:gd name="T3" fmla="*/ 10 h 10"/>
                  <a:gd name="T4" fmla="*/ 5 w 5"/>
                  <a:gd name="T5" fmla="*/ 0 h 10"/>
                  <a:gd name="T6" fmla="*/ 5 w 5"/>
                  <a:gd name="T7" fmla="*/ 0 h 10"/>
                </a:gdLst>
                <a:ahLst/>
                <a:cxnLst>
                  <a:cxn ang="0">
                    <a:pos x="T0" y="T1"/>
                  </a:cxn>
                  <a:cxn ang="0">
                    <a:pos x="T2" y="T3"/>
                  </a:cxn>
                  <a:cxn ang="0">
                    <a:pos x="T4" y="T5"/>
                  </a:cxn>
                  <a:cxn ang="0">
                    <a:pos x="T6" y="T7"/>
                  </a:cxn>
                </a:cxnLst>
                <a:rect l="0" t="0" r="r" b="b"/>
                <a:pathLst>
                  <a:path w="5" h="10">
                    <a:moveTo>
                      <a:pt x="5" y="0"/>
                    </a:moveTo>
                    <a:cubicBezTo>
                      <a:pt x="3" y="0"/>
                      <a:pt x="1" y="8"/>
                      <a:pt x="0" y="10"/>
                    </a:cubicBezTo>
                    <a:cubicBezTo>
                      <a:pt x="2" y="7"/>
                      <a:pt x="4" y="3"/>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9" name="Freeform 1231">
                <a:extLst>
                  <a:ext uri="{FF2B5EF4-FFF2-40B4-BE49-F238E27FC236}">
                    <a16:creationId xmlns:a16="http://schemas.microsoft.com/office/drawing/2014/main" id="{D518181D-AFFF-4FCD-8C7D-78BDC7614ACD}"/>
                  </a:ext>
                </a:extLst>
              </p:cNvPr>
              <p:cNvSpPr>
                <a:spLocks/>
              </p:cNvSpPr>
              <p:nvPr/>
            </p:nvSpPr>
            <p:spPr bwMode="auto">
              <a:xfrm>
                <a:off x="1899" y="1593"/>
                <a:ext cx="227" cy="62"/>
              </a:xfrm>
              <a:custGeom>
                <a:avLst/>
                <a:gdLst>
                  <a:gd name="T0" fmla="*/ 91 w 96"/>
                  <a:gd name="T1" fmla="*/ 0 h 26"/>
                  <a:gd name="T2" fmla="*/ 93 w 96"/>
                  <a:gd name="T3" fmla="*/ 4 h 26"/>
                  <a:gd name="T4" fmla="*/ 80 w 96"/>
                  <a:gd name="T5" fmla="*/ 13 h 26"/>
                  <a:gd name="T6" fmla="*/ 80 w 96"/>
                  <a:gd name="T7" fmla="*/ 16 h 26"/>
                  <a:gd name="T8" fmla="*/ 76 w 96"/>
                  <a:gd name="T9" fmla="*/ 17 h 26"/>
                  <a:gd name="T10" fmla="*/ 72 w 96"/>
                  <a:gd name="T11" fmla="*/ 16 h 26"/>
                  <a:gd name="T12" fmla="*/ 59 w 96"/>
                  <a:gd name="T13" fmla="*/ 12 h 26"/>
                  <a:gd name="T14" fmla="*/ 55 w 96"/>
                  <a:gd name="T15" fmla="*/ 12 h 26"/>
                  <a:gd name="T16" fmla="*/ 51 w 96"/>
                  <a:gd name="T17" fmla="*/ 16 h 26"/>
                  <a:gd name="T18" fmla="*/ 51 w 96"/>
                  <a:gd name="T19" fmla="*/ 16 h 26"/>
                  <a:gd name="T20" fmla="*/ 40 w 96"/>
                  <a:gd name="T21" fmla="*/ 10 h 26"/>
                  <a:gd name="T22" fmla="*/ 23 w 96"/>
                  <a:gd name="T23" fmla="*/ 8 h 26"/>
                  <a:gd name="T24" fmla="*/ 17 w 96"/>
                  <a:gd name="T25" fmla="*/ 8 h 26"/>
                  <a:gd name="T26" fmla="*/ 2 w 96"/>
                  <a:gd name="T27" fmla="*/ 15 h 26"/>
                  <a:gd name="T28" fmla="*/ 12 w 96"/>
                  <a:gd name="T29" fmla="*/ 23 h 26"/>
                  <a:gd name="T30" fmla="*/ 16 w 96"/>
                  <a:gd name="T31" fmla="*/ 22 h 26"/>
                  <a:gd name="T32" fmla="*/ 27 w 96"/>
                  <a:gd name="T33" fmla="*/ 22 h 26"/>
                  <a:gd name="T34" fmla="*/ 31 w 96"/>
                  <a:gd name="T35" fmla="*/ 22 h 26"/>
                  <a:gd name="T36" fmla="*/ 35 w 96"/>
                  <a:gd name="T37" fmla="*/ 26 h 26"/>
                  <a:gd name="T38" fmla="*/ 37 w 96"/>
                  <a:gd name="T39" fmla="*/ 26 h 26"/>
                  <a:gd name="T40" fmla="*/ 47 w 96"/>
                  <a:gd name="T41" fmla="*/ 22 h 26"/>
                  <a:gd name="T42" fmla="*/ 48 w 96"/>
                  <a:gd name="T43" fmla="*/ 22 h 26"/>
                  <a:gd name="T44" fmla="*/ 52 w 96"/>
                  <a:gd name="T45" fmla="*/ 23 h 26"/>
                  <a:gd name="T46" fmla="*/ 56 w 96"/>
                  <a:gd name="T47" fmla="*/ 25 h 26"/>
                  <a:gd name="T48" fmla="*/ 56 w 96"/>
                  <a:gd name="T49" fmla="*/ 25 h 26"/>
                  <a:gd name="T50" fmla="*/ 66 w 96"/>
                  <a:gd name="T51" fmla="*/ 22 h 26"/>
                  <a:gd name="T52" fmla="*/ 82 w 96"/>
                  <a:gd name="T53" fmla="*/ 18 h 26"/>
                  <a:gd name="T54" fmla="*/ 89 w 96"/>
                  <a:gd name="T55" fmla="*/ 16 h 26"/>
                  <a:gd name="T56" fmla="*/ 91 w 96"/>
                  <a:gd name="T57" fmla="*/ 13 h 26"/>
                  <a:gd name="T58" fmla="*/ 94 w 96"/>
                  <a:gd name="T59" fmla="*/ 9 h 26"/>
                  <a:gd name="T60" fmla="*/ 94 w 96"/>
                  <a:gd name="T61" fmla="*/ 9 h 26"/>
                  <a:gd name="T62" fmla="*/ 96 w 96"/>
                  <a:gd name="T63" fmla="*/ 8 h 26"/>
                  <a:gd name="T64" fmla="*/ 91 w 96"/>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26">
                    <a:moveTo>
                      <a:pt x="91" y="0"/>
                    </a:moveTo>
                    <a:cubicBezTo>
                      <a:pt x="91" y="2"/>
                      <a:pt x="92" y="4"/>
                      <a:pt x="93" y="4"/>
                    </a:cubicBezTo>
                    <a:cubicBezTo>
                      <a:pt x="89" y="7"/>
                      <a:pt x="83" y="9"/>
                      <a:pt x="80" y="13"/>
                    </a:cubicBezTo>
                    <a:cubicBezTo>
                      <a:pt x="80" y="14"/>
                      <a:pt x="81" y="15"/>
                      <a:pt x="80" y="16"/>
                    </a:cubicBezTo>
                    <a:cubicBezTo>
                      <a:pt x="79" y="17"/>
                      <a:pt x="78" y="17"/>
                      <a:pt x="76" y="17"/>
                    </a:cubicBezTo>
                    <a:cubicBezTo>
                      <a:pt x="75" y="17"/>
                      <a:pt x="73" y="16"/>
                      <a:pt x="72" y="16"/>
                    </a:cubicBezTo>
                    <a:cubicBezTo>
                      <a:pt x="68" y="14"/>
                      <a:pt x="63" y="12"/>
                      <a:pt x="59" y="12"/>
                    </a:cubicBezTo>
                    <a:cubicBezTo>
                      <a:pt x="57" y="12"/>
                      <a:pt x="56" y="12"/>
                      <a:pt x="55" y="12"/>
                    </a:cubicBezTo>
                    <a:cubicBezTo>
                      <a:pt x="54" y="13"/>
                      <a:pt x="53" y="16"/>
                      <a:pt x="51" y="16"/>
                    </a:cubicBezTo>
                    <a:cubicBezTo>
                      <a:pt x="51" y="16"/>
                      <a:pt x="51" y="16"/>
                      <a:pt x="51" y="16"/>
                    </a:cubicBezTo>
                    <a:cubicBezTo>
                      <a:pt x="47" y="14"/>
                      <a:pt x="44" y="12"/>
                      <a:pt x="40" y="10"/>
                    </a:cubicBezTo>
                    <a:cubicBezTo>
                      <a:pt x="34" y="8"/>
                      <a:pt x="29" y="8"/>
                      <a:pt x="23" y="8"/>
                    </a:cubicBezTo>
                    <a:cubicBezTo>
                      <a:pt x="21" y="8"/>
                      <a:pt x="19" y="8"/>
                      <a:pt x="17" y="8"/>
                    </a:cubicBezTo>
                    <a:cubicBezTo>
                      <a:pt x="10" y="8"/>
                      <a:pt x="3" y="9"/>
                      <a:pt x="2" y="15"/>
                    </a:cubicBezTo>
                    <a:cubicBezTo>
                      <a:pt x="0" y="22"/>
                      <a:pt x="6" y="23"/>
                      <a:pt x="12" y="23"/>
                    </a:cubicBezTo>
                    <a:cubicBezTo>
                      <a:pt x="13" y="23"/>
                      <a:pt x="15" y="22"/>
                      <a:pt x="16" y="22"/>
                    </a:cubicBezTo>
                    <a:cubicBezTo>
                      <a:pt x="19" y="22"/>
                      <a:pt x="23" y="22"/>
                      <a:pt x="27" y="22"/>
                    </a:cubicBezTo>
                    <a:cubicBezTo>
                      <a:pt x="28" y="22"/>
                      <a:pt x="30" y="22"/>
                      <a:pt x="31" y="22"/>
                    </a:cubicBezTo>
                    <a:cubicBezTo>
                      <a:pt x="33" y="23"/>
                      <a:pt x="33" y="25"/>
                      <a:pt x="35" y="26"/>
                    </a:cubicBezTo>
                    <a:cubicBezTo>
                      <a:pt x="36" y="26"/>
                      <a:pt x="36" y="26"/>
                      <a:pt x="37" y="26"/>
                    </a:cubicBezTo>
                    <a:cubicBezTo>
                      <a:pt x="40" y="26"/>
                      <a:pt x="44" y="23"/>
                      <a:pt x="47" y="22"/>
                    </a:cubicBezTo>
                    <a:cubicBezTo>
                      <a:pt x="47" y="22"/>
                      <a:pt x="48" y="22"/>
                      <a:pt x="48" y="22"/>
                    </a:cubicBezTo>
                    <a:cubicBezTo>
                      <a:pt x="49" y="22"/>
                      <a:pt x="51" y="23"/>
                      <a:pt x="52" y="23"/>
                    </a:cubicBezTo>
                    <a:cubicBezTo>
                      <a:pt x="53" y="24"/>
                      <a:pt x="55" y="25"/>
                      <a:pt x="56" y="25"/>
                    </a:cubicBezTo>
                    <a:cubicBezTo>
                      <a:pt x="56" y="25"/>
                      <a:pt x="56" y="25"/>
                      <a:pt x="56" y="25"/>
                    </a:cubicBezTo>
                    <a:cubicBezTo>
                      <a:pt x="59" y="25"/>
                      <a:pt x="63" y="23"/>
                      <a:pt x="66" y="22"/>
                    </a:cubicBezTo>
                    <a:cubicBezTo>
                      <a:pt x="71" y="21"/>
                      <a:pt x="76" y="19"/>
                      <a:pt x="82" y="18"/>
                    </a:cubicBezTo>
                    <a:cubicBezTo>
                      <a:pt x="84" y="18"/>
                      <a:pt x="87" y="17"/>
                      <a:pt x="89" y="16"/>
                    </a:cubicBezTo>
                    <a:cubicBezTo>
                      <a:pt x="90" y="15"/>
                      <a:pt x="91" y="15"/>
                      <a:pt x="91" y="13"/>
                    </a:cubicBezTo>
                    <a:cubicBezTo>
                      <a:pt x="92" y="12"/>
                      <a:pt x="94" y="9"/>
                      <a:pt x="94" y="9"/>
                    </a:cubicBezTo>
                    <a:cubicBezTo>
                      <a:pt x="94" y="9"/>
                      <a:pt x="94" y="9"/>
                      <a:pt x="94" y="9"/>
                    </a:cubicBezTo>
                    <a:cubicBezTo>
                      <a:pt x="94" y="8"/>
                      <a:pt x="95" y="8"/>
                      <a:pt x="96" y="8"/>
                    </a:cubicBezTo>
                    <a:cubicBezTo>
                      <a:pt x="96" y="6"/>
                      <a:pt x="92" y="1"/>
                      <a:pt x="9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0" name="Freeform 1232">
                <a:extLst>
                  <a:ext uri="{FF2B5EF4-FFF2-40B4-BE49-F238E27FC236}">
                    <a16:creationId xmlns:a16="http://schemas.microsoft.com/office/drawing/2014/main" id="{ACF59F45-0245-4AB4-A8B5-85EFCFCF11EE}"/>
                  </a:ext>
                </a:extLst>
              </p:cNvPr>
              <p:cNvSpPr>
                <a:spLocks/>
              </p:cNvSpPr>
              <p:nvPr/>
            </p:nvSpPr>
            <p:spPr bwMode="auto">
              <a:xfrm>
                <a:off x="1537" y="1593"/>
                <a:ext cx="85" cy="55"/>
              </a:xfrm>
              <a:custGeom>
                <a:avLst/>
                <a:gdLst>
                  <a:gd name="T0" fmla="*/ 18 w 36"/>
                  <a:gd name="T1" fmla="*/ 0 h 23"/>
                  <a:gd name="T2" fmla="*/ 0 w 36"/>
                  <a:gd name="T3" fmla="*/ 3 h 23"/>
                  <a:gd name="T4" fmla="*/ 13 w 36"/>
                  <a:gd name="T5" fmla="*/ 12 h 23"/>
                  <a:gd name="T6" fmla="*/ 18 w 36"/>
                  <a:gd name="T7" fmla="*/ 17 h 23"/>
                  <a:gd name="T8" fmla="*/ 19 w 36"/>
                  <a:gd name="T9" fmla="*/ 23 h 23"/>
                  <a:gd name="T10" fmla="*/ 19 w 36"/>
                  <a:gd name="T11" fmla="*/ 23 h 23"/>
                  <a:gd name="T12" fmla="*/ 25 w 36"/>
                  <a:gd name="T13" fmla="*/ 17 h 23"/>
                  <a:gd name="T14" fmla="*/ 36 w 36"/>
                  <a:gd name="T15" fmla="*/ 9 h 23"/>
                  <a:gd name="T16" fmla="*/ 32 w 36"/>
                  <a:gd name="T17" fmla="*/ 5 h 23"/>
                  <a:gd name="T18" fmla="*/ 18 w 36"/>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3">
                    <a:moveTo>
                      <a:pt x="18" y="0"/>
                    </a:moveTo>
                    <a:cubicBezTo>
                      <a:pt x="12" y="0"/>
                      <a:pt x="6" y="2"/>
                      <a:pt x="0" y="3"/>
                    </a:cubicBezTo>
                    <a:cubicBezTo>
                      <a:pt x="4" y="9"/>
                      <a:pt x="5" y="10"/>
                      <a:pt x="13" y="12"/>
                    </a:cubicBezTo>
                    <a:cubicBezTo>
                      <a:pt x="14" y="12"/>
                      <a:pt x="18" y="16"/>
                      <a:pt x="18" y="17"/>
                    </a:cubicBezTo>
                    <a:cubicBezTo>
                      <a:pt x="18" y="18"/>
                      <a:pt x="18" y="23"/>
                      <a:pt x="19" y="23"/>
                    </a:cubicBezTo>
                    <a:cubicBezTo>
                      <a:pt x="19" y="23"/>
                      <a:pt x="19" y="23"/>
                      <a:pt x="19" y="23"/>
                    </a:cubicBezTo>
                    <a:cubicBezTo>
                      <a:pt x="21" y="23"/>
                      <a:pt x="23" y="18"/>
                      <a:pt x="25" y="17"/>
                    </a:cubicBezTo>
                    <a:cubicBezTo>
                      <a:pt x="27" y="15"/>
                      <a:pt x="36" y="12"/>
                      <a:pt x="36" y="9"/>
                    </a:cubicBezTo>
                    <a:cubicBezTo>
                      <a:pt x="32" y="5"/>
                      <a:pt x="32" y="5"/>
                      <a:pt x="32" y="5"/>
                    </a:cubicBezTo>
                    <a:cubicBezTo>
                      <a:pt x="28" y="2"/>
                      <a:pt x="23"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1" name="Freeform 1233">
                <a:extLst>
                  <a:ext uri="{FF2B5EF4-FFF2-40B4-BE49-F238E27FC236}">
                    <a16:creationId xmlns:a16="http://schemas.microsoft.com/office/drawing/2014/main" id="{DB2EF5D0-C026-4F90-9489-CF481DB7129B}"/>
                  </a:ext>
                </a:extLst>
              </p:cNvPr>
              <p:cNvSpPr>
                <a:spLocks/>
              </p:cNvSpPr>
              <p:nvPr/>
            </p:nvSpPr>
            <p:spPr bwMode="auto">
              <a:xfrm>
                <a:off x="436" y="922"/>
                <a:ext cx="12" cy="5"/>
              </a:xfrm>
              <a:custGeom>
                <a:avLst/>
                <a:gdLst>
                  <a:gd name="T0" fmla="*/ 1 w 5"/>
                  <a:gd name="T1" fmla="*/ 0 h 2"/>
                  <a:gd name="T2" fmla="*/ 0 w 5"/>
                  <a:gd name="T3" fmla="*/ 1 h 2"/>
                  <a:gd name="T4" fmla="*/ 5 w 5"/>
                  <a:gd name="T5" fmla="*/ 2 h 2"/>
                  <a:gd name="T6" fmla="*/ 1 w 5"/>
                  <a:gd name="T7" fmla="*/ 0 h 2"/>
                </a:gdLst>
                <a:ahLst/>
                <a:cxnLst>
                  <a:cxn ang="0">
                    <a:pos x="T0" y="T1"/>
                  </a:cxn>
                  <a:cxn ang="0">
                    <a:pos x="T2" y="T3"/>
                  </a:cxn>
                  <a:cxn ang="0">
                    <a:pos x="T4" y="T5"/>
                  </a:cxn>
                  <a:cxn ang="0">
                    <a:pos x="T6" y="T7"/>
                  </a:cxn>
                </a:cxnLst>
                <a:rect l="0" t="0" r="r" b="b"/>
                <a:pathLst>
                  <a:path w="5" h="2">
                    <a:moveTo>
                      <a:pt x="1" y="0"/>
                    </a:moveTo>
                    <a:cubicBezTo>
                      <a:pt x="1" y="0"/>
                      <a:pt x="1" y="0"/>
                      <a:pt x="0" y="1"/>
                    </a:cubicBezTo>
                    <a:cubicBezTo>
                      <a:pt x="2" y="1"/>
                      <a:pt x="3" y="2"/>
                      <a:pt x="5" y="2"/>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2" name="Freeform 1234">
                <a:extLst>
                  <a:ext uri="{FF2B5EF4-FFF2-40B4-BE49-F238E27FC236}">
                    <a16:creationId xmlns:a16="http://schemas.microsoft.com/office/drawing/2014/main" id="{169BC306-13E4-4A5E-BE06-F83D3899CAF7}"/>
                  </a:ext>
                </a:extLst>
              </p:cNvPr>
              <p:cNvSpPr>
                <a:spLocks/>
              </p:cNvSpPr>
              <p:nvPr/>
            </p:nvSpPr>
            <p:spPr bwMode="auto">
              <a:xfrm>
                <a:off x="1611" y="1636"/>
                <a:ext cx="4" cy="9"/>
              </a:xfrm>
              <a:custGeom>
                <a:avLst/>
                <a:gdLst>
                  <a:gd name="T0" fmla="*/ 0 w 2"/>
                  <a:gd name="T1" fmla="*/ 0 h 4"/>
                  <a:gd name="T2" fmla="*/ 0 w 2"/>
                  <a:gd name="T3" fmla="*/ 0 h 4"/>
                  <a:gd name="T4" fmla="*/ 2 w 2"/>
                  <a:gd name="T5" fmla="*/ 4 h 4"/>
                  <a:gd name="T6" fmla="*/ 0 w 2"/>
                  <a:gd name="T7" fmla="*/ 0 h 4"/>
                </a:gdLst>
                <a:ahLst/>
                <a:cxnLst>
                  <a:cxn ang="0">
                    <a:pos x="T0" y="T1"/>
                  </a:cxn>
                  <a:cxn ang="0">
                    <a:pos x="T2" y="T3"/>
                  </a:cxn>
                  <a:cxn ang="0">
                    <a:pos x="T4" y="T5"/>
                  </a:cxn>
                  <a:cxn ang="0">
                    <a:pos x="T6" y="T7"/>
                  </a:cxn>
                </a:cxnLst>
                <a:rect l="0" t="0" r="r" b="b"/>
                <a:pathLst>
                  <a:path w="2" h="4">
                    <a:moveTo>
                      <a:pt x="0" y="0"/>
                    </a:moveTo>
                    <a:cubicBezTo>
                      <a:pt x="0" y="0"/>
                      <a:pt x="0" y="0"/>
                      <a:pt x="0" y="0"/>
                    </a:cubicBezTo>
                    <a:cubicBezTo>
                      <a:pt x="0" y="1"/>
                      <a:pt x="1" y="3"/>
                      <a:pt x="2"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3" name="Freeform 1235">
                <a:extLst>
                  <a:ext uri="{FF2B5EF4-FFF2-40B4-BE49-F238E27FC236}">
                    <a16:creationId xmlns:a16="http://schemas.microsoft.com/office/drawing/2014/main" id="{DC239D3F-CB44-45CB-A81B-D9E161ECB052}"/>
                  </a:ext>
                </a:extLst>
              </p:cNvPr>
              <p:cNvSpPr>
                <a:spLocks/>
              </p:cNvSpPr>
              <p:nvPr/>
            </p:nvSpPr>
            <p:spPr bwMode="auto">
              <a:xfrm>
                <a:off x="1006" y="1239"/>
                <a:ext cx="11" cy="7"/>
              </a:xfrm>
              <a:custGeom>
                <a:avLst/>
                <a:gdLst>
                  <a:gd name="T0" fmla="*/ 3 w 5"/>
                  <a:gd name="T1" fmla="*/ 0 h 3"/>
                  <a:gd name="T2" fmla="*/ 0 w 5"/>
                  <a:gd name="T3" fmla="*/ 1 h 3"/>
                  <a:gd name="T4" fmla="*/ 4 w 5"/>
                  <a:gd name="T5" fmla="*/ 3 h 3"/>
                  <a:gd name="T6" fmla="*/ 3 w 5"/>
                  <a:gd name="T7" fmla="*/ 0 h 3"/>
                </a:gdLst>
                <a:ahLst/>
                <a:cxnLst>
                  <a:cxn ang="0">
                    <a:pos x="T0" y="T1"/>
                  </a:cxn>
                  <a:cxn ang="0">
                    <a:pos x="T2" y="T3"/>
                  </a:cxn>
                  <a:cxn ang="0">
                    <a:pos x="T4" y="T5"/>
                  </a:cxn>
                  <a:cxn ang="0">
                    <a:pos x="T6" y="T7"/>
                  </a:cxn>
                </a:cxnLst>
                <a:rect l="0" t="0" r="r" b="b"/>
                <a:pathLst>
                  <a:path w="5" h="3">
                    <a:moveTo>
                      <a:pt x="3" y="0"/>
                    </a:moveTo>
                    <a:cubicBezTo>
                      <a:pt x="2" y="0"/>
                      <a:pt x="1" y="1"/>
                      <a:pt x="0" y="1"/>
                    </a:cubicBezTo>
                    <a:cubicBezTo>
                      <a:pt x="1" y="3"/>
                      <a:pt x="3" y="3"/>
                      <a:pt x="4" y="3"/>
                    </a:cubicBezTo>
                    <a:cubicBezTo>
                      <a:pt x="5" y="3"/>
                      <a:pt x="5"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4" name="Freeform 1236">
                <a:extLst>
                  <a:ext uri="{FF2B5EF4-FFF2-40B4-BE49-F238E27FC236}">
                    <a16:creationId xmlns:a16="http://schemas.microsoft.com/office/drawing/2014/main" id="{E2700CCA-3B2B-4C39-9C07-312BA701A10A}"/>
                  </a:ext>
                </a:extLst>
              </p:cNvPr>
              <p:cNvSpPr>
                <a:spLocks/>
              </p:cNvSpPr>
              <p:nvPr/>
            </p:nvSpPr>
            <p:spPr bwMode="auto">
              <a:xfrm>
                <a:off x="781" y="1055"/>
                <a:ext cx="19" cy="9"/>
              </a:xfrm>
              <a:custGeom>
                <a:avLst/>
                <a:gdLst>
                  <a:gd name="T0" fmla="*/ 4 w 8"/>
                  <a:gd name="T1" fmla="*/ 0 h 4"/>
                  <a:gd name="T2" fmla="*/ 0 w 8"/>
                  <a:gd name="T3" fmla="*/ 4 h 4"/>
                  <a:gd name="T4" fmla="*/ 8 w 8"/>
                  <a:gd name="T5" fmla="*/ 2 h 4"/>
                  <a:gd name="T6" fmla="*/ 4 w 8"/>
                  <a:gd name="T7" fmla="*/ 0 h 4"/>
                </a:gdLst>
                <a:ahLst/>
                <a:cxnLst>
                  <a:cxn ang="0">
                    <a:pos x="T0" y="T1"/>
                  </a:cxn>
                  <a:cxn ang="0">
                    <a:pos x="T2" y="T3"/>
                  </a:cxn>
                  <a:cxn ang="0">
                    <a:pos x="T4" y="T5"/>
                  </a:cxn>
                  <a:cxn ang="0">
                    <a:pos x="T6" y="T7"/>
                  </a:cxn>
                </a:cxnLst>
                <a:rect l="0" t="0" r="r" b="b"/>
                <a:pathLst>
                  <a:path w="8" h="4">
                    <a:moveTo>
                      <a:pt x="4" y="0"/>
                    </a:moveTo>
                    <a:cubicBezTo>
                      <a:pt x="2" y="0"/>
                      <a:pt x="1" y="1"/>
                      <a:pt x="0" y="4"/>
                    </a:cubicBezTo>
                    <a:cubicBezTo>
                      <a:pt x="3" y="3"/>
                      <a:pt x="6" y="2"/>
                      <a:pt x="8" y="2"/>
                    </a:cubicBezTo>
                    <a:cubicBezTo>
                      <a:pt x="7"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5" name="Freeform 1237">
                <a:extLst>
                  <a:ext uri="{FF2B5EF4-FFF2-40B4-BE49-F238E27FC236}">
                    <a16:creationId xmlns:a16="http://schemas.microsoft.com/office/drawing/2014/main" id="{D8C05657-11F7-4AA2-866D-9E70B94A1BFD}"/>
                  </a:ext>
                </a:extLst>
              </p:cNvPr>
              <p:cNvSpPr>
                <a:spLocks/>
              </p:cNvSpPr>
              <p:nvPr/>
            </p:nvSpPr>
            <p:spPr bwMode="auto">
              <a:xfrm>
                <a:off x="890" y="1142"/>
                <a:ext cx="125" cy="111"/>
              </a:xfrm>
              <a:custGeom>
                <a:avLst/>
                <a:gdLst>
                  <a:gd name="T0" fmla="*/ 25 w 53"/>
                  <a:gd name="T1" fmla="*/ 0 h 47"/>
                  <a:gd name="T2" fmla="*/ 20 w 53"/>
                  <a:gd name="T3" fmla="*/ 1 h 47"/>
                  <a:gd name="T4" fmla="*/ 22 w 53"/>
                  <a:gd name="T5" fmla="*/ 9 h 47"/>
                  <a:gd name="T6" fmla="*/ 15 w 53"/>
                  <a:gd name="T7" fmla="*/ 1 h 47"/>
                  <a:gd name="T8" fmla="*/ 12 w 53"/>
                  <a:gd name="T9" fmla="*/ 2 h 47"/>
                  <a:gd name="T10" fmla="*/ 9 w 53"/>
                  <a:gd name="T11" fmla="*/ 5 h 47"/>
                  <a:gd name="T12" fmla="*/ 9 w 53"/>
                  <a:gd name="T13" fmla="*/ 10 h 47"/>
                  <a:gd name="T14" fmla="*/ 7 w 53"/>
                  <a:gd name="T15" fmla="*/ 17 h 47"/>
                  <a:gd name="T16" fmla="*/ 9 w 53"/>
                  <a:gd name="T17" fmla="*/ 18 h 47"/>
                  <a:gd name="T18" fmla="*/ 10 w 53"/>
                  <a:gd name="T19" fmla="*/ 18 h 47"/>
                  <a:gd name="T20" fmla="*/ 13 w 53"/>
                  <a:gd name="T21" fmla="*/ 18 h 47"/>
                  <a:gd name="T22" fmla="*/ 16 w 53"/>
                  <a:gd name="T23" fmla="*/ 17 h 47"/>
                  <a:gd name="T24" fmla="*/ 17 w 53"/>
                  <a:gd name="T25" fmla="*/ 18 h 47"/>
                  <a:gd name="T26" fmla="*/ 18 w 53"/>
                  <a:gd name="T27" fmla="*/ 18 h 47"/>
                  <a:gd name="T28" fmla="*/ 19 w 53"/>
                  <a:gd name="T29" fmla="*/ 18 h 47"/>
                  <a:gd name="T30" fmla="*/ 19 w 53"/>
                  <a:gd name="T31" fmla="*/ 18 h 47"/>
                  <a:gd name="T32" fmla="*/ 21 w 53"/>
                  <a:gd name="T33" fmla="*/ 19 h 47"/>
                  <a:gd name="T34" fmla="*/ 23 w 53"/>
                  <a:gd name="T35" fmla="*/ 25 h 47"/>
                  <a:gd name="T36" fmla="*/ 26 w 53"/>
                  <a:gd name="T37" fmla="*/ 30 h 47"/>
                  <a:gd name="T38" fmla="*/ 27 w 53"/>
                  <a:gd name="T39" fmla="*/ 37 h 47"/>
                  <a:gd name="T40" fmla="*/ 29 w 53"/>
                  <a:gd name="T41" fmla="*/ 39 h 47"/>
                  <a:gd name="T42" fmla="*/ 33 w 53"/>
                  <a:gd name="T43" fmla="*/ 40 h 47"/>
                  <a:gd name="T44" fmla="*/ 48 w 53"/>
                  <a:gd name="T45" fmla="*/ 47 h 47"/>
                  <a:gd name="T46" fmla="*/ 50 w 53"/>
                  <a:gd name="T47" fmla="*/ 46 h 47"/>
                  <a:gd name="T48" fmla="*/ 46 w 53"/>
                  <a:gd name="T49" fmla="*/ 42 h 47"/>
                  <a:gd name="T50" fmla="*/ 53 w 53"/>
                  <a:gd name="T51" fmla="*/ 31 h 47"/>
                  <a:gd name="T52" fmla="*/ 37 w 53"/>
                  <a:gd name="T53" fmla="*/ 26 h 47"/>
                  <a:gd name="T54" fmla="*/ 32 w 53"/>
                  <a:gd name="T55" fmla="*/ 14 h 47"/>
                  <a:gd name="T56" fmla="*/ 29 w 53"/>
                  <a:gd name="T57" fmla="*/ 2 h 47"/>
                  <a:gd name="T58" fmla="*/ 25 w 53"/>
                  <a:gd name="T5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47">
                    <a:moveTo>
                      <a:pt x="25" y="0"/>
                    </a:moveTo>
                    <a:cubicBezTo>
                      <a:pt x="23" y="0"/>
                      <a:pt x="21" y="1"/>
                      <a:pt x="20" y="1"/>
                    </a:cubicBezTo>
                    <a:cubicBezTo>
                      <a:pt x="21" y="3"/>
                      <a:pt x="21" y="6"/>
                      <a:pt x="22" y="9"/>
                    </a:cubicBezTo>
                    <a:cubicBezTo>
                      <a:pt x="20" y="5"/>
                      <a:pt x="18" y="1"/>
                      <a:pt x="15" y="1"/>
                    </a:cubicBezTo>
                    <a:cubicBezTo>
                      <a:pt x="14" y="1"/>
                      <a:pt x="13" y="2"/>
                      <a:pt x="12" y="2"/>
                    </a:cubicBezTo>
                    <a:cubicBezTo>
                      <a:pt x="11" y="3"/>
                      <a:pt x="9" y="4"/>
                      <a:pt x="9" y="5"/>
                    </a:cubicBezTo>
                    <a:cubicBezTo>
                      <a:pt x="9" y="7"/>
                      <a:pt x="12" y="8"/>
                      <a:pt x="9" y="10"/>
                    </a:cubicBezTo>
                    <a:cubicBezTo>
                      <a:pt x="4" y="14"/>
                      <a:pt x="0" y="16"/>
                      <a:pt x="7" y="17"/>
                    </a:cubicBezTo>
                    <a:cubicBezTo>
                      <a:pt x="7" y="17"/>
                      <a:pt x="8" y="18"/>
                      <a:pt x="9" y="18"/>
                    </a:cubicBezTo>
                    <a:cubicBezTo>
                      <a:pt x="9" y="18"/>
                      <a:pt x="10" y="18"/>
                      <a:pt x="10" y="18"/>
                    </a:cubicBezTo>
                    <a:cubicBezTo>
                      <a:pt x="11" y="18"/>
                      <a:pt x="12" y="18"/>
                      <a:pt x="13" y="18"/>
                    </a:cubicBezTo>
                    <a:cubicBezTo>
                      <a:pt x="14" y="18"/>
                      <a:pt x="15" y="17"/>
                      <a:pt x="16" y="17"/>
                    </a:cubicBezTo>
                    <a:cubicBezTo>
                      <a:pt x="17" y="18"/>
                      <a:pt x="17" y="18"/>
                      <a:pt x="17" y="18"/>
                    </a:cubicBezTo>
                    <a:cubicBezTo>
                      <a:pt x="17" y="18"/>
                      <a:pt x="18" y="18"/>
                      <a:pt x="18" y="18"/>
                    </a:cubicBezTo>
                    <a:cubicBezTo>
                      <a:pt x="18" y="18"/>
                      <a:pt x="18" y="18"/>
                      <a:pt x="19" y="18"/>
                    </a:cubicBezTo>
                    <a:cubicBezTo>
                      <a:pt x="19" y="18"/>
                      <a:pt x="19" y="18"/>
                      <a:pt x="19" y="18"/>
                    </a:cubicBezTo>
                    <a:cubicBezTo>
                      <a:pt x="20" y="18"/>
                      <a:pt x="21" y="18"/>
                      <a:pt x="21" y="19"/>
                    </a:cubicBezTo>
                    <a:cubicBezTo>
                      <a:pt x="22" y="21"/>
                      <a:pt x="22" y="24"/>
                      <a:pt x="23" y="25"/>
                    </a:cubicBezTo>
                    <a:cubicBezTo>
                      <a:pt x="24" y="27"/>
                      <a:pt x="26" y="28"/>
                      <a:pt x="26" y="30"/>
                    </a:cubicBezTo>
                    <a:cubicBezTo>
                      <a:pt x="27" y="32"/>
                      <a:pt x="27" y="34"/>
                      <a:pt x="27" y="37"/>
                    </a:cubicBezTo>
                    <a:cubicBezTo>
                      <a:pt x="28" y="38"/>
                      <a:pt x="28" y="38"/>
                      <a:pt x="29" y="39"/>
                    </a:cubicBezTo>
                    <a:cubicBezTo>
                      <a:pt x="29" y="39"/>
                      <a:pt x="32" y="40"/>
                      <a:pt x="33" y="40"/>
                    </a:cubicBezTo>
                    <a:cubicBezTo>
                      <a:pt x="34" y="41"/>
                      <a:pt x="43" y="47"/>
                      <a:pt x="48" y="47"/>
                    </a:cubicBezTo>
                    <a:cubicBezTo>
                      <a:pt x="49" y="47"/>
                      <a:pt x="49" y="47"/>
                      <a:pt x="50" y="46"/>
                    </a:cubicBezTo>
                    <a:cubicBezTo>
                      <a:pt x="51" y="43"/>
                      <a:pt x="46" y="43"/>
                      <a:pt x="46" y="42"/>
                    </a:cubicBezTo>
                    <a:cubicBezTo>
                      <a:pt x="44" y="38"/>
                      <a:pt x="51" y="33"/>
                      <a:pt x="53" y="31"/>
                    </a:cubicBezTo>
                    <a:cubicBezTo>
                      <a:pt x="48" y="30"/>
                      <a:pt x="39" y="31"/>
                      <a:pt x="37" y="26"/>
                    </a:cubicBezTo>
                    <a:cubicBezTo>
                      <a:pt x="35" y="22"/>
                      <a:pt x="34" y="18"/>
                      <a:pt x="32" y="14"/>
                    </a:cubicBezTo>
                    <a:cubicBezTo>
                      <a:pt x="31" y="11"/>
                      <a:pt x="31" y="5"/>
                      <a:pt x="29" y="2"/>
                    </a:cubicBezTo>
                    <a:cubicBezTo>
                      <a:pt x="27" y="1"/>
                      <a:pt x="26"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6" name="Freeform 1238">
                <a:extLst>
                  <a:ext uri="{FF2B5EF4-FFF2-40B4-BE49-F238E27FC236}">
                    <a16:creationId xmlns:a16="http://schemas.microsoft.com/office/drawing/2014/main" id="{091A275C-D240-4082-B352-23DF94E56809}"/>
                  </a:ext>
                </a:extLst>
              </p:cNvPr>
              <p:cNvSpPr>
                <a:spLocks/>
              </p:cNvSpPr>
              <p:nvPr/>
            </p:nvSpPr>
            <p:spPr bwMode="auto">
              <a:xfrm>
                <a:off x="1060" y="1213"/>
                <a:ext cx="54" cy="47"/>
              </a:xfrm>
              <a:custGeom>
                <a:avLst/>
                <a:gdLst>
                  <a:gd name="T0" fmla="*/ 8 w 23"/>
                  <a:gd name="T1" fmla="*/ 0 h 20"/>
                  <a:gd name="T2" fmla="*/ 4 w 23"/>
                  <a:gd name="T3" fmla="*/ 1 h 20"/>
                  <a:gd name="T4" fmla="*/ 4 w 23"/>
                  <a:gd name="T5" fmla="*/ 5 h 20"/>
                  <a:gd name="T6" fmla="*/ 2 w 23"/>
                  <a:gd name="T7" fmla="*/ 11 h 20"/>
                  <a:gd name="T8" fmla="*/ 2 w 23"/>
                  <a:gd name="T9" fmla="*/ 11 h 20"/>
                  <a:gd name="T10" fmla="*/ 3 w 23"/>
                  <a:gd name="T11" fmla="*/ 20 h 20"/>
                  <a:gd name="T12" fmla="*/ 4 w 23"/>
                  <a:gd name="T13" fmla="*/ 20 h 20"/>
                  <a:gd name="T14" fmla="*/ 11 w 23"/>
                  <a:gd name="T15" fmla="*/ 15 h 20"/>
                  <a:gd name="T16" fmla="*/ 17 w 23"/>
                  <a:gd name="T17" fmla="*/ 20 h 20"/>
                  <a:gd name="T18" fmla="*/ 20 w 23"/>
                  <a:gd name="T19" fmla="*/ 18 h 20"/>
                  <a:gd name="T20" fmla="*/ 22 w 23"/>
                  <a:gd name="T21" fmla="*/ 8 h 20"/>
                  <a:gd name="T22" fmla="*/ 19 w 23"/>
                  <a:gd name="T23" fmla="*/ 4 h 20"/>
                  <a:gd name="T24" fmla="*/ 8 w 23"/>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0">
                    <a:moveTo>
                      <a:pt x="8" y="0"/>
                    </a:moveTo>
                    <a:cubicBezTo>
                      <a:pt x="7" y="0"/>
                      <a:pt x="5" y="0"/>
                      <a:pt x="4" y="1"/>
                    </a:cubicBezTo>
                    <a:cubicBezTo>
                      <a:pt x="4" y="2"/>
                      <a:pt x="4" y="4"/>
                      <a:pt x="4" y="5"/>
                    </a:cubicBezTo>
                    <a:cubicBezTo>
                      <a:pt x="3" y="6"/>
                      <a:pt x="0" y="11"/>
                      <a:pt x="2" y="11"/>
                    </a:cubicBezTo>
                    <a:cubicBezTo>
                      <a:pt x="2" y="11"/>
                      <a:pt x="2" y="11"/>
                      <a:pt x="2" y="11"/>
                    </a:cubicBezTo>
                    <a:cubicBezTo>
                      <a:pt x="2" y="12"/>
                      <a:pt x="2" y="19"/>
                      <a:pt x="3" y="20"/>
                    </a:cubicBezTo>
                    <a:cubicBezTo>
                      <a:pt x="3" y="20"/>
                      <a:pt x="4" y="20"/>
                      <a:pt x="4" y="20"/>
                    </a:cubicBezTo>
                    <a:cubicBezTo>
                      <a:pt x="6" y="20"/>
                      <a:pt x="10" y="16"/>
                      <a:pt x="11" y="15"/>
                    </a:cubicBezTo>
                    <a:cubicBezTo>
                      <a:pt x="12" y="17"/>
                      <a:pt x="14" y="19"/>
                      <a:pt x="17" y="20"/>
                    </a:cubicBezTo>
                    <a:cubicBezTo>
                      <a:pt x="17" y="19"/>
                      <a:pt x="19" y="18"/>
                      <a:pt x="20" y="18"/>
                    </a:cubicBezTo>
                    <a:cubicBezTo>
                      <a:pt x="19" y="15"/>
                      <a:pt x="23" y="11"/>
                      <a:pt x="22" y="8"/>
                    </a:cubicBezTo>
                    <a:cubicBezTo>
                      <a:pt x="22" y="6"/>
                      <a:pt x="20" y="5"/>
                      <a:pt x="19" y="4"/>
                    </a:cubicBezTo>
                    <a:cubicBezTo>
                      <a:pt x="16" y="2"/>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7" name="Freeform 1239">
                <a:extLst>
                  <a:ext uri="{FF2B5EF4-FFF2-40B4-BE49-F238E27FC236}">
                    <a16:creationId xmlns:a16="http://schemas.microsoft.com/office/drawing/2014/main" id="{F20C124D-3C88-4A75-BB82-82F91CE1B748}"/>
                  </a:ext>
                </a:extLst>
              </p:cNvPr>
              <p:cNvSpPr>
                <a:spLocks/>
              </p:cNvSpPr>
              <p:nvPr/>
            </p:nvSpPr>
            <p:spPr bwMode="auto">
              <a:xfrm>
                <a:off x="2700" y="1312"/>
                <a:ext cx="2" cy="7"/>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8" name="Freeform 1240">
                <a:extLst>
                  <a:ext uri="{FF2B5EF4-FFF2-40B4-BE49-F238E27FC236}">
                    <a16:creationId xmlns:a16="http://schemas.microsoft.com/office/drawing/2014/main" id="{690FB037-F2D5-4070-A9F9-85BD42341DED}"/>
                  </a:ext>
                </a:extLst>
              </p:cNvPr>
              <p:cNvSpPr>
                <a:spLocks/>
              </p:cNvSpPr>
              <p:nvPr/>
            </p:nvSpPr>
            <p:spPr bwMode="auto">
              <a:xfrm>
                <a:off x="2454" y="1232"/>
                <a:ext cx="211" cy="73"/>
              </a:xfrm>
              <a:custGeom>
                <a:avLst/>
                <a:gdLst>
                  <a:gd name="T0" fmla="*/ 48 w 89"/>
                  <a:gd name="T1" fmla="*/ 0 h 31"/>
                  <a:gd name="T2" fmla="*/ 43 w 89"/>
                  <a:gd name="T3" fmla="*/ 2 h 31"/>
                  <a:gd name="T4" fmla="*/ 39 w 89"/>
                  <a:gd name="T5" fmla="*/ 4 h 31"/>
                  <a:gd name="T6" fmla="*/ 36 w 89"/>
                  <a:gd name="T7" fmla="*/ 3 h 31"/>
                  <a:gd name="T8" fmla="*/ 35 w 89"/>
                  <a:gd name="T9" fmla="*/ 0 h 31"/>
                  <a:gd name="T10" fmla="*/ 35 w 89"/>
                  <a:gd name="T11" fmla="*/ 0 h 31"/>
                  <a:gd name="T12" fmla="*/ 32 w 89"/>
                  <a:gd name="T13" fmla="*/ 2 h 31"/>
                  <a:gd name="T14" fmla="*/ 26 w 89"/>
                  <a:gd name="T15" fmla="*/ 2 h 31"/>
                  <a:gd name="T16" fmla="*/ 21 w 89"/>
                  <a:gd name="T17" fmla="*/ 2 h 31"/>
                  <a:gd name="T18" fmla="*/ 17 w 89"/>
                  <a:gd name="T19" fmla="*/ 2 h 31"/>
                  <a:gd name="T20" fmla="*/ 15 w 89"/>
                  <a:gd name="T21" fmla="*/ 2 h 31"/>
                  <a:gd name="T22" fmla="*/ 7 w 89"/>
                  <a:gd name="T23" fmla="*/ 5 h 31"/>
                  <a:gd name="T24" fmla="*/ 0 w 89"/>
                  <a:gd name="T25" fmla="*/ 10 h 31"/>
                  <a:gd name="T26" fmla="*/ 3 w 89"/>
                  <a:gd name="T27" fmla="*/ 17 h 31"/>
                  <a:gd name="T28" fmla="*/ 2 w 89"/>
                  <a:gd name="T29" fmla="*/ 22 h 31"/>
                  <a:gd name="T30" fmla="*/ 6 w 89"/>
                  <a:gd name="T31" fmla="*/ 16 h 31"/>
                  <a:gd name="T32" fmla="*/ 7 w 89"/>
                  <a:gd name="T33" fmla="*/ 11 h 31"/>
                  <a:gd name="T34" fmla="*/ 9 w 89"/>
                  <a:gd name="T35" fmla="*/ 8 h 31"/>
                  <a:gd name="T36" fmla="*/ 10 w 89"/>
                  <a:gd name="T37" fmla="*/ 8 h 31"/>
                  <a:gd name="T38" fmla="*/ 10 w 89"/>
                  <a:gd name="T39" fmla="*/ 10 h 31"/>
                  <a:gd name="T40" fmla="*/ 10 w 89"/>
                  <a:gd name="T41" fmla="*/ 12 h 31"/>
                  <a:gd name="T42" fmla="*/ 13 w 89"/>
                  <a:gd name="T43" fmla="*/ 13 h 31"/>
                  <a:gd name="T44" fmla="*/ 18 w 89"/>
                  <a:gd name="T45" fmla="*/ 19 h 31"/>
                  <a:gd name="T46" fmla="*/ 19 w 89"/>
                  <a:gd name="T47" fmla="*/ 19 h 31"/>
                  <a:gd name="T48" fmla="*/ 28 w 89"/>
                  <a:gd name="T49" fmla="*/ 13 h 31"/>
                  <a:gd name="T50" fmla="*/ 30 w 89"/>
                  <a:gd name="T51" fmla="*/ 12 h 31"/>
                  <a:gd name="T52" fmla="*/ 31 w 89"/>
                  <a:gd name="T53" fmla="*/ 14 h 31"/>
                  <a:gd name="T54" fmla="*/ 45 w 89"/>
                  <a:gd name="T55" fmla="*/ 17 h 31"/>
                  <a:gd name="T56" fmla="*/ 47 w 89"/>
                  <a:gd name="T57" fmla="*/ 17 h 31"/>
                  <a:gd name="T58" fmla="*/ 49 w 89"/>
                  <a:gd name="T59" fmla="*/ 17 h 31"/>
                  <a:gd name="T60" fmla="*/ 50 w 89"/>
                  <a:gd name="T61" fmla="*/ 17 h 31"/>
                  <a:gd name="T62" fmla="*/ 51 w 89"/>
                  <a:gd name="T63" fmla="*/ 15 h 31"/>
                  <a:gd name="T64" fmla="*/ 55 w 89"/>
                  <a:gd name="T65" fmla="*/ 15 h 31"/>
                  <a:gd name="T66" fmla="*/ 87 w 89"/>
                  <a:gd name="T67" fmla="*/ 31 h 31"/>
                  <a:gd name="T68" fmla="*/ 86 w 89"/>
                  <a:gd name="T69" fmla="*/ 20 h 31"/>
                  <a:gd name="T70" fmla="*/ 84 w 89"/>
                  <a:gd name="T71" fmla="*/ 17 h 31"/>
                  <a:gd name="T72" fmla="*/ 81 w 89"/>
                  <a:gd name="T73" fmla="*/ 14 h 31"/>
                  <a:gd name="T74" fmla="*/ 71 w 89"/>
                  <a:gd name="T75" fmla="*/ 5 h 31"/>
                  <a:gd name="T76" fmla="*/ 58 w 89"/>
                  <a:gd name="T77" fmla="*/ 3 h 31"/>
                  <a:gd name="T78" fmla="*/ 51 w 89"/>
                  <a:gd name="T79" fmla="*/ 0 h 31"/>
                  <a:gd name="T80" fmla="*/ 48 w 89"/>
                  <a:gd name="T8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31">
                    <a:moveTo>
                      <a:pt x="48" y="0"/>
                    </a:moveTo>
                    <a:cubicBezTo>
                      <a:pt x="46" y="0"/>
                      <a:pt x="45" y="1"/>
                      <a:pt x="43" y="2"/>
                    </a:cubicBezTo>
                    <a:cubicBezTo>
                      <a:pt x="41" y="3"/>
                      <a:pt x="40" y="4"/>
                      <a:pt x="39" y="4"/>
                    </a:cubicBezTo>
                    <a:cubicBezTo>
                      <a:pt x="38" y="4"/>
                      <a:pt x="37" y="4"/>
                      <a:pt x="36" y="3"/>
                    </a:cubicBezTo>
                    <a:cubicBezTo>
                      <a:pt x="35" y="2"/>
                      <a:pt x="37" y="0"/>
                      <a:pt x="35" y="0"/>
                    </a:cubicBezTo>
                    <a:cubicBezTo>
                      <a:pt x="35" y="0"/>
                      <a:pt x="35" y="0"/>
                      <a:pt x="35" y="0"/>
                    </a:cubicBezTo>
                    <a:cubicBezTo>
                      <a:pt x="34" y="0"/>
                      <a:pt x="32" y="1"/>
                      <a:pt x="32" y="2"/>
                    </a:cubicBezTo>
                    <a:cubicBezTo>
                      <a:pt x="30" y="2"/>
                      <a:pt x="28" y="2"/>
                      <a:pt x="26" y="2"/>
                    </a:cubicBezTo>
                    <a:cubicBezTo>
                      <a:pt x="25" y="2"/>
                      <a:pt x="23" y="2"/>
                      <a:pt x="21" y="2"/>
                    </a:cubicBezTo>
                    <a:cubicBezTo>
                      <a:pt x="20" y="2"/>
                      <a:pt x="18" y="2"/>
                      <a:pt x="17" y="2"/>
                    </a:cubicBezTo>
                    <a:cubicBezTo>
                      <a:pt x="16" y="2"/>
                      <a:pt x="16" y="2"/>
                      <a:pt x="15" y="2"/>
                    </a:cubicBezTo>
                    <a:cubicBezTo>
                      <a:pt x="12" y="2"/>
                      <a:pt x="8" y="1"/>
                      <a:pt x="7" y="5"/>
                    </a:cubicBezTo>
                    <a:cubicBezTo>
                      <a:pt x="6" y="8"/>
                      <a:pt x="3" y="10"/>
                      <a:pt x="0" y="10"/>
                    </a:cubicBezTo>
                    <a:cubicBezTo>
                      <a:pt x="1" y="13"/>
                      <a:pt x="3" y="15"/>
                      <a:pt x="3" y="17"/>
                    </a:cubicBezTo>
                    <a:cubicBezTo>
                      <a:pt x="3" y="19"/>
                      <a:pt x="1" y="20"/>
                      <a:pt x="2" y="22"/>
                    </a:cubicBezTo>
                    <a:cubicBezTo>
                      <a:pt x="3" y="20"/>
                      <a:pt x="5" y="18"/>
                      <a:pt x="6" y="16"/>
                    </a:cubicBezTo>
                    <a:cubicBezTo>
                      <a:pt x="6" y="15"/>
                      <a:pt x="6" y="13"/>
                      <a:pt x="7" y="11"/>
                    </a:cubicBezTo>
                    <a:cubicBezTo>
                      <a:pt x="7" y="11"/>
                      <a:pt x="8" y="9"/>
                      <a:pt x="9" y="8"/>
                    </a:cubicBezTo>
                    <a:cubicBezTo>
                      <a:pt x="9" y="8"/>
                      <a:pt x="9" y="8"/>
                      <a:pt x="10" y="8"/>
                    </a:cubicBezTo>
                    <a:cubicBezTo>
                      <a:pt x="10" y="8"/>
                      <a:pt x="9" y="9"/>
                      <a:pt x="10" y="10"/>
                    </a:cubicBezTo>
                    <a:cubicBezTo>
                      <a:pt x="10" y="12"/>
                      <a:pt x="10" y="12"/>
                      <a:pt x="10" y="12"/>
                    </a:cubicBezTo>
                    <a:cubicBezTo>
                      <a:pt x="11" y="12"/>
                      <a:pt x="12" y="12"/>
                      <a:pt x="13" y="13"/>
                    </a:cubicBezTo>
                    <a:cubicBezTo>
                      <a:pt x="15" y="14"/>
                      <a:pt x="16" y="18"/>
                      <a:pt x="18" y="19"/>
                    </a:cubicBezTo>
                    <a:cubicBezTo>
                      <a:pt x="18" y="19"/>
                      <a:pt x="19" y="19"/>
                      <a:pt x="19" y="19"/>
                    </a:cubicBezTo>
                    <a:cubicBezTo>
                      <a:pt x="23" y="19"/>
                      <a:pt x="25" y="15"/>
                      <a:pt x="28" y="13"/>
                    </a:cubicBezTo>
                    <a:cubicBezTo>
                      <a:pt x="29" y="13"/>
                      <a:pt x="30" y="12"/>
                      <a:pt x="30" y="12"/>
                    </a:cubicBezTo>
                    <a:cubicBezTo>
                      <a:pt x="31" y="12"/>
                      <a:pt x="31" y="13"/>
                      <a:pt x="31" y="14"/>
                    </a:cubicBezTo>
                    <a:cubicBezTo>
                      <a:pt x="33" y="17"/>
                      <a:pt x="39" y="17"/>
                      <a:pt x="45" y="17"/>
                    </a:cubicBezTo>
                    <a:cubicBezTo>
                      <a:pt x="46" y="17"/>
                      <a:pt x="46" y="17"/>
                      <a:pt x="47" y="17"/>
                    </a:cubicBezTo>
                    <a:cubicBezTo>
                      <a:pt x="48" y="17"/>
                      <a:pt x="49" y="17"/>
                      <a:pt x="49" y="17"/>
                    </a:cubicBezTo>
                    <a:cubicBezTo>
                      <a:pt x="50" y="17"/>
                      <a:pt x="50" y="17"/>
                      <a:pt x="50" y="17"/>
                    </a:cubicBezTo>
                    <a:cubicBezTo>
                      <a:pt x="47" y="15"/>
                      <a:pt x="49" y="15"/>
                      <a:pt x="51" y="15"/>
                    </a:cubicBezTo>
                    <a:cubicBezTo>
                      <a:pt x="52" y="15"/>
                      <a:pt x="54" y="15"/>
                      <a:pt x="55" y="15"/>
                    </a:cubicBezTo>
                    <a:cubicBezTo>
                      <a:pt x="67" y="16"/>
                      <a:pt x="77" y="25"/>
                      <a:pt x="87" y="31"/>
                    </a:cubicBezTo>
                    <a:cubicBezTo>
                      <a:pt x="87" y="27"/>
                      <a:pt x="89" y="23"/>
                      <a:pt x="86" y="20"/>
                    </a:cubicBezTo>
                    <a:cubicBezTo>
                      <a:pt x="86" y="18"/>
                      <a:pt x="85" y="19"/>
                      <a:pt x="84" y="17"/>
                    </a:cubicBezTo>
                    <a:cubicBezTo>
                      <a:pt x="82" y="16"/>
                      <a:pt x="82" y="17"/>
                      <a:pt x="81" y="14"/>
                    </a:cubicBezTo>
                    <a:cubicBezTo>
                      <a:pt x="80" y="10"/>
                      <a:pt x="76" y="6"/>
                      <a:pt x="71" y="5"/>
                    </a:cubicBezTo>
                    <a:cubicBezTo>
                      <a:pt x="66" y="5"/>
                      <a:pt x="62" y="5"/>
                      <a:pt x="58" y="3"/>
                    </a:cubicBezTo>
                    <a:cubicBezTo>
                      <a:pt x="56" y="2"/>
                      <a:pt x="54" y="1"/>
                      <a:pt x="51" y="0"/>
                    </a:cubicBezTo>
                    <a:cubicBezTo>
                      <a:pt x="50" y="0"/>
                      <a:pt x="49" y="0"/>
                      <a:pt x="4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9" name="Freeform 1241">
                <a:extLst>
                  <a:ext uri="{FF2B5EF4-FFF2-40B4-BE49-F238E27FC236}">
                    <a16:creationId xmlns:a16="http://schemas.microsoft.com/office/drawing/2014/main" id="{74E1A0E3-B002-4398-87E0-C6BFE24E8997}"/>
                  </a:ext>
                </a:extLst>
              </p:cNvPr>
              <p:cNvSpPr>
                <a:spLocks/>
              </p:cNvSpPr>
              <p:nvPr/>
            </p:nvSpPr>
            <p:spPr bwMode="auto">
              <a:xfrm>
                <a:off x="774" y="962"/>
                <a:ext cx="7" cy="7"/>
              </a:xfrm>
              <a:custGeom>
                <a:avLst/>
                <a:gdLst>
                  <a:gd name="T0" fmla="*/ 1 w 3"/>
                  <a:gd name="T1" fmla="*/ 0 h 3"/>
                  <a:gd name="T2" fmla="*/ 0 w 3"/>
                  <a:gd name="T3" fmla="*/ 0 h 3"/>
                  <a:gd name="T4" fmla="*/ 3 w 3"/>
                  <a:gd name="T5" fmla="*/ 3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0" y="0"/>
                      <a:pt x="0" y="0"/>
                    </a:cubicBezTo>
                    <a:cubicBezTo>
                      <a:pt x="1" y="1"/>
                      <a:pt x="2" y="2"/>
                      <a:pt x="3" y="3"/>
                    </a:cubicBezTo>
                    <a:cubicBezTo>
                      <a:pt x="2"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0" name="Freeform 1242">
                <a:extLst>
                  <a:ext uri="{FF2B5EF4-FFF2-40B4-BE49-F238E27FC236}">
                    <a16:creationId xmlns:a16="http://schemas.microsoft.com/office/drawing/2014/main" id="{DC6D0834-C355-404A-8948-069DBB5AA621}"/>
                  </a:ext>
                </a:extLst>
              </p:cNvPr>
              <p:cNvSpPr>
                <a:spLocks/>
              </p:cNvSpPr>
              <p:nvPr/>
            </p:nvSpPr>
            <p:spPr bwMode="auto">
              <a:xfrm>
                <a:off x="800" y="979"/>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2"/>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1" name="Freeform 1243">
                <a:extLst>
                  <a:ext uri="{FF2B5EF4-FFF2-40B4-BE49-F238E27FC236}">
                    <a16:creationId xmlns:a16="http://schemas.microsoft.com/office/drawing/2014/main" id="{1CFEFBCA-BB10-4F37-93F1-583943B5FBD4}"/>
                  </a:ext>
                </a:extLst>
              </p:cNvPr>
              <p:cNvSpPr>
                <a:spLocks/>
              </p:cNvSpPr>
              <p:nvPr/>
            </p:nvSpPr>
            <p:spPr bwMode="auto">
              <a:xfrm>
                <a:off x="2320" y="1251"/>
                <a:ext cx="96" cy="52"/>
              </a:xfrm>
              <a:custGeom>
                <a:avLst/>
                <a:gdLst>
                  <a:gd name="T0" fmla="*/ 20 w 41"/>
                  <a:gd name="T1" fmla="*/ 0 h 22"/>
                  <a:gd name="T2" fmla="*/ 16 w 41"/>
                  <a:gd name="T3" fmla="*/ 0 h 22"/>
                  <a:gd name="T4" fmla="*/ 5 w 41"/>
                  <a:gd name="T5" fmla="*/ 10 h 22"/>
                  <a:gd name="T6" fmla="*/ 10 w 41"/>
                  <a:gd name="T7" fmla="*/ 15 h 22"/>
                  <a:gd name="T8" fmla="*/ 24 w 41"/>
                  <a:gd name="T9" fmla="*/ 22 h 22"/>
                  <a:gd name="T10" fmla="*/ 24 w 41"/>
                  <a:gd name="T11" fmla="*/ 22 h 22"/>
                  <a:gd name="T12" fmla="*/ 40 w 41"/>
                  <a:gd name="T13" fmla="*/ 15 h 22"/>
                  <a:gd name="T14" fmla="*/ 40 w 41"/>
                  <a:gd name="T15" fmla="*/ 8 h 22"/>
                  <a:gd name="T16" fmla="*/ 37 w 41"/>
                  <a:gd name="T17" fmla="*/ 6 h 22"/>
                  <a:gd name="T18" fmla="*/ 33 w 41"/>
                  <a:gd name="T19" fmla="*/ 2 h 22"/>
                  <a:gd name="T20" fmla="*/ 20 w 41"/>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2">
                    <a:moveTo>
                      <a:pt x="20" y="0"/>
                    </a:moveTo>
                    <a:cubicBezTo>
                      <a:pt x="18" y="0"/>
                      <a:pt x="17" y="0"/>
                      <a:pt x="16" y="0"/>
                    </a:cubicBezTo>
                    <a:cubicBezTo>
                      <a:pt x="10" y="1"/>
                      <a:pt x="0" y="1"/>
                      <a:pt x="5" y="10"/>
                    </a:cubicBezTo>
                    <a:cubicBezTo>
                      <a:pt x="6" y="11"/>
                      <a:pt x="9" y="14"/>
                      <a:pt x="10" y="15"/>
                    </a:cubicBezTo>
                    <a:cubicBezTo>
                      <a:pt x="12" y="18"/>
                      <a:pt x="20" y="22"/>
                      <a:pt x="24" y="22"/>
                    </a:cubicBezTo>
                    <a:cubicBezTo>
                      <a:pt x="24" y="22"/>
                      <a:pt x="24" y="22"/>
                      <a:pt x="24" y="22"/>
                    </a:cubicBezTo>
                    <a:cubicBezTo>
                      <a:pt x="27" y="22"/>
                      <a:pt x="38" y="18"/>
                      <a:pt x="40" y="15"/>
                    </a:cubicBezTo>
                    <a:cubicBezTo>
                      <a:pt x="41" y="14"/>
                      <a:pt x="40" y="9"/>
                      <a:pt x="40" y="8"/>
                    </a:cubicBezTo>
                    <a:cubicBezTo>
                      <a:pt x="39" y="7"/>
                      <a:pt x="38" y="8"/>
                      <a:pt x="37" y="6"/>
                    </a:cubicBezTo>
                    <a:cubicBezTo>
                      <a:pt x="36" y="4"/>
                      <a:pt x="35" y="3"/>
                      <a:pt x="33" y="2"/>
                    </a:cubicBezTo>
                    <a:cubicBezTo>
                      <a:pt x="29" y="0"/>
                      <a:pt x="25"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2" name="Freeform 1244">
                <a:extLst>
                  <a:ext uri="{FF2B5EF4-FFF2-40B4-BE49-F238E27FC236}">
                    <a16:creationId xmlns:a16="http://schemas.microsoft.com/office/drawing/2014/main" id="{CBD4F236-B6ED-42B2-BC06-7C36C3500D12}"/>
                  </a:ext>
                </a:extLst>
              </p:cNvPr>
              <p:cNvSpPr>
                <a:spLocks/>
              </p:cNvSpPr>
              <p:nvPr/>
            </p:nvSpPr>
            <p:spPr bwMode="auto">
              <a:xfrm>
                <a:off x="1845" y="1679"/>
                <a:ext cx="132" cy="70"/>
              </a:xfrm>
              <a:custGeom>
                <a:avLst/>
                <a:gdLst>
                  <a:gd name="T0" fmla="*/ 28 w 56"/>
                  <a:gd name="T1" fmla="*/ 1 h 30"/>
                  <a:gd name="T2" fmla="*/ 27 w 56"/>
                  <a:gd name="T3" fmla="*/ 2 h 30"/>
                  <a:gd name="T4" fmla="*/ 0 w 56"/>
                  <a:gd name="T5" fmla="*/ 8 h 30"/>
                  <a:gd name="T6" fmla="*/ 2 w 56"/>
                  <a:gd name="T7" fmla="*/ 11 h 30"/>
                  <a:gd name="T8" fmla="*/ 13 w 56"/>
                  <a:gd name="T9" fmla="*/ 14 h 30"/>
                  <a:gd name="T10" fmla="*/ 13 w 56"/>
                  <a:gd name="T11" fmla="*/ 14 h 30"/>
                  <a:gd name="T12" fmla="*/ 15 w 56"/>
                  <a:gd name="T13" fmla="*/ 14 h 30"/>
                  <a:gd name="T14" fmla="*/ 17 w 56"/>
                  <a:gd name="T15" fmla="*/ 14 h 30"/>
                  <a:gd name="T16" fmla="*/ 22 w 56"/>
                  <a:gd name="T17" fmla="*/ 16 h 30"/>
                  <a:gd name="T18" fmla="*/ 44 w 56"/>
                  <a:gd name="T19" fmla="*/ 30 h 30"/>
                  <a:gd name="T20" fmla="*/ 44 w 56"/>
                  <a:gd name="T21" fmla="*/ 30 h 30"/>
                  <a:gd name="T22" fmla="*/ 47 w 56"/>
                  <a:gd name="T23" fmla="*/ 28 h 30"/>
                  <a:gd name="T24" fmla="*/ 55 w 56"/>
                  <a:gd name="T25" fmla="*/ 21 h 30"/>
                  <a:gd name="T26" fmla="*/ 49 w 56"/>
                  <a:gd name="T27" fmla="*/ 17 h 30"/>
                  <a:gd name="T28" fmla="*/ 45 w 56"/>
                  <a:gd name="T29" fmla="*/ 11 h 30"/>
                  <a:gd name="T30" fmla="*/ 42 w 56"/>
                  <a:gd name="T31" fmla="*/ 10 h 30"/>
                  <a:gd name="T32" fmla="*/ 42 w 56"/>
                  <a:gd name="T33" fmla="*/ 10 h 30"/>
                  <a:gd name="T34" fmla="*/ 41 w 56"/>
                  <a:gd name="T35" fmla="*/ 11 h 30"/>
                  <a:gd name="T36" fmla="*/ 40 w 56"/>
                  <a:gd name="T37" fmla="*/ 11 h 30"/>
                  <a:gd name="T38" fmla="*/ 39 w 56"/>
                  <a:gd name="T39" fmla="*/ 11 h 30"/>
                  <a:gd name="T40" fmla="*/ 38 w 56"/>
                  <a:gd name="T41" fmla="*/ 7 h 30"/>
                  <a:gd name="T42" fmla="*/ 35 w 56"/>
                  <a:gd name="T43" fmla="*/ 6 h 30"/>
                  <a:gd name="T44" fmla="*/ 28 w 56"/>
                  <a:gd name="T45"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30">
                    <a:moveTo>
                      <a:pt x="28" y="1"/>
                    </a:moveTo>
                    <a:cubicBezTo>
                      <a:pt x="28" y="1"/>
                      <a:pt x="27" y="1"/>
                      <a:pt x="27" y="2"/>
                    </a:cubicBezTo>
                    <a:cubicBezTo>
                      <a:pt x="17" y="2"/>
                      <a:pt x="8" y="0"/>
                      <a:pt x="0" y="8"/>
                    </a:cubicBezTo>
                    <a:cubicBezTo>
                      <a:pt x="0" y="8"/>
                      <a:pt x="2" y="11"/>
                      <a:pt x="2" y="11"/>
                    </a:cubicBezTo>
                    <a:cubicBezTo>
                      <a:pt x="5" y="13"/>
                      <a:pt x="10" y="14"/>
                      <a:pt x="13" y="14"/>
                    </a:cubicBezTo>
                    <a:cubicBezTo>
                      <a:pt x="13" y="14"/>
                      <a:pt x="13" y="14"/>
                      <a:pt x="13" y="14"/>
                    </a:cubicBezTo>
                    <a:cubicBezTo>
                      <a:pt x="13" y="14"/>
                      <a:pt x="14" y="14"/>
                      <a:pt x="15" y="14"/>
                    </a:cubicBezTo>
                    <a:cubicBezTo>
                      <a:pt x="15" y="14"/>
                      <a:pt x="16" y="14"/>
                      <a:pt x="17" y="14"/>
                    </a:cubicBezTo>
                    <a:cubicBezTo>
                      <a:pt x="18" y="14"/>
                      <a:pt x="20" y="15"/>
                      <a:pt x="22" y="16"/>
                    </a:cubicBezTo>
                    <a:cubicBezTo>
                      <a:pt x="29" y="21"/>
                      <a:pt x="36" y="25"/>
                      <a:pt x="44" y="30"/>
                    </a:cubicBezTo>
                    <a:cubicBezTo>
                      <a:pt x="44" y="30"/>
                      <a:pt x="44" y="30"/>
                      <a:pt x="44" y="30"/>
                    </a:cubicBezTo>
                    <a:cubicBezTo>
                      <a:pt x="44" y="30"/>
                      <a:pt x="46" y="28"/>
                      <a:pt x="47" y="28"/>
                    </a:cubicBezTo>
                    <a:cubicBezTo>
                      <a:pt x="50" y="27"/>
                      <a:pt x="56" y="27"/>
                      <a:pt x="55" y="21"/>
                    </a:cubicBezTo>
                    <a:cubicBezTo>
                      <a:pt x="54" y="19"/>
                      <a:pt x="51" y="18"/>
                      <a:pt x="49" y="17"/>
                    </a:cubicBezTo>
                    <a:cubicBezTo>
                      <a:pt x="48" y="15"/>
                      <a:pt x="48" y="13"/>
                      <a:pt x="45" y="11"/>
                    </a:cubicBezTo>
                    <a:cubicBezTo>
                      <a:pt x="43" y="11"/>
                      <a:pt x="44" y="11"/>
                      <a:pt x="42" y="10"/>
                    </a:cubicBezTo>
                    <a:cubicBezTo>
                      <a:pt x="42" y="10"/>
                      <a:pt x="42" y="10"/>
                      <a:pt x="42" y="10"/>
                    </a:cubicBezTo>
                    <a:cubicBezTo>
                      <a:pt x="41" y="10"/>
                      <a:pt x="41" y="11"/>
                      <a:pt x="41" y="11"/>
                    </a:cubicBezTo>
                    <a:cubicBezTo>
                      <a:pt x="40" y="11"/>
                      <a:pt x="40" y="11"/>
                      <a:pt x="40" y="11"/>
                    </a:cubicBezTo>
                    <a:cubicBezTo>
                      <a:pt x="40" y="11"/>
                      <a:pt x="39" y="11"/>
                      <a:pt x="39" y="11"/>
                    </a:cubicBezTo>
                    <a:cubicBezTo>
                      <a:pt x="37" y="10"/>
                      <a:pt x="39" y="8"/>
                      <a:pt x="38" y="7"/>
                    </a:cubicBezTo>
                    <a:cubicBezTo>
                      <a:pt x="36" y="5"/>
                      <a:pt x="36" y="6"/>
                      <a:pt x="35" y="6"/>
                    </a:cubicBezTo>
                    <a:cubicBezTo>
                      <a:pt x="32" y="4"/>
                      <a:pt x="31" y="1"/>
                      <a:pt x="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3" name="Freeform 1245">
                <a:extLst>
                  <a:ext uri="{FF2B5EF4-FFF2-40B4-BE49-F238E27FC236}">
                    <a16:creationId xmlns:a16="http://schemas.microsoft.com/office/drawing/2014/main" id="{6C8039C1-3BF7-418E-8359-5B2AA59648F6}"/>
                  </a:ext>
                </a:extLst>
              </p:cNvPr>
              <p:cNvSpPr>
                <a:spLocks/>
              </p:cNvSpPr>
              <p:nvPr/>
            </p:nvSpPr>
            <p:spPr bwMode="auto">
              <a:xfrm>
                <a:off x="2093" y="1343"/>
                <a:ext cx="47" cy="85"/>
              </a:xfrm>
              <a:custGeom>
                <a:avLst/>
                <a:gdLst>
                  <a:gd name="T0" fmla="*/ 13 w 20"/>
                  <a:gd name="T1" fmla="*/ 0 h 36"/>
                  <a:gd name="T2" fmla="*/ 10 w 20"/>
                  <a:gd name="T3" fmla="*/ 2 h 36"/>
                  <a:gd name="T4" fmla="*/ 8 w 20"/>
                  <a:gd name="T5" fmla="*/ 10 h 36"/>
                  <a:gd name="T6" fmla="*/ 6 w 20"/>
                  <a:gd name="T7" fmla="*/ 20 h 36"/>
                  <a:gd name="T8" fmla="*/ 2 w 20"/>
                  <a:gd name="T9" fmla="*/ 29 h 36"/>
                  <a:gd name="T10" fmla="*/ 2 w 20"/>
                  <a:gd name="T11" fmla="*/ 33 h 36"/>
                  <a:gd name="T12" fmla="*/ 6 w 20"/>
                  <a:gd name="T13" fmla="*/ 36 h 36"/>
                  <a:gd name="T14" fmla="*/ 7 w 20"/>
                  <a:gd name="T15" fmla="*/ 36 h 36"/>
                  <a:gd name="T16" fmla="*/ 9 w 20"/>
                  <a:gd name="T17" fmla="*/ 35 h 36"/>
                  <a:gd name="T18" fmla="*/ 19 w 20"/>
                  <a:gd name="T19" fmla="*/ 25 h 36"/>
                  <a:gd name="T20" fmla="*/ 15 w 20"/>
                  <a:gd name="T21" fmla="*/ 22 h 36"/>
                  <a:gd name="T22" fmla="*/ 14 w 20"/>
                  <a:gd name="T23" fmla="*/ 10 h 36"/>
                  <a:gd name="T24" fmla="*/ 16 w 20"/>
                  <a:gd name="T25" fmla="*/ 9 h 36"/>
                  <a:gd name="T26" fmla="*/ 19 w 20"/>
                  <a:gd name="T27" fmla="*/ 11 h 36"/>
                  <a:gd name="T28" fmla="*/ 13 w 2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6">
                    <a:moveTo>
                      <a:pt x="13" y="0"/>
                    </a:moveTo>
                    <a:cubicBezTo>
                      <a:pt x="12" y="0"/>
                      <a:pt x="11" y="0"/>
                      <a:pt x="10" y="2"/>
                    </a:cubicBezTo>
                    <a:cubicBezTo>
                      <a:pt x="8" y="5"/>
                      <a:pt x="9" y="8"/>
                      <a:pt x="8" y="10"/>
                    </a:cubicBezTo>
                    <a:cubicBezTo>
                      <a:pt x="8" y="13"/>
                      <a:pt x="6" y="17"/>
                      <a:pt x="6" y="20"/>
                    </a:cubicBezTo>
                    <a:cubicBezTo>
                      <a:pt x="5" y="23"/>
                      <a:pt x="4" y="26"/>
                      <a:pt x="2" y="29"/>
                    </a:cubicBezTo>
                    <a:cubicBezTo>
                      <a:pt x="1" y="31"/>
                      <a:pt x="0" y="32"/>
                      <a:pt x="2" y="33"/>
                    </a:cubicBezTo>
                    <a:cubicBezTo>
                      <a:pt x="3" y="34"/>
                      <a:pt x="5" y="36"/>
                      <a:pt x="6" y="36"/>
                    </a:cubicBezTo>
                    <a:cubicBezTo>
                      <a:pt x="7" y="36"/>
                      <a:pt x="7" y="36"/>
                      <a:pt x="7" y="36"/>
                    </a:cubicBezTo>
                    <a:cubicBezTo>
                      <a:pt x="8" y="36"/>
                      <a:pt x="8" y="36"/>
                      <a:pt x="9" y="35"/>
                    </a:cubicBezTo>
                    <a:cubicBezTo>
                      <a:pt x="11" y="33"/>
                      <a:pt x="20" y="28"/>
                      <a:pt x="19" y="25"/>
                    </a:cubicBezTo>
                    <a:cubicBezTo>
                      <a:pt x="18" y="24"/>
                      <a:pt x="15" y="22"/>
                      <a:pt x="15" y="22"/>
                    </a:cubicBezTo>
                    <a:cubicBezTo>
                      <a:pt x="12" y="19"/>
                      <a:pt x="12" y="12"/>
                      <a:pt x="14" y="10"/>
                    </a:cubicBezTo>
                    <a:cubicBezTo>
                      <a:pt x="15" y="9"/>
                      <a:pt x="16" y="9"/>
                      <a:pt x="16" y="9"/>
                    </a:cubicBezTo>
                    <a:cubicBezTo>
                      <a:pt x="17" y="9"/>
                      <a:pt x="18" y="10"/>
                      <a:pt x="19" y="11"/>
                    </a:cubicBezTo>
                    <a:cubicBezTo>
                      <a:pt x="19" y="7"/>
                      <a:pt x="17"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4" name="Freeform 1246">
                <a:extLst>
                  <a:ext uri="{FF2B5EF4-FFF2-40B4-BE49-F238E27FC236}">
                    <a16:creationId xmlns:a16="http://schemas.microsoft.com/office/drawing/2014/main" id="{A76389F1-1551-443C-9383-AB160125ACD6}"/>
                  </a:ext>
                </a:extLst>
              </p:cNvPr>
              <p:cNvSpPr>
                <a:spLocks/>
              </p:cNvSpPr>
              <p:nvPr/>
            </p:nvSpPr>
            <p:spPr bwMode="auto">
              <a:xfrm>
                <a:off x="559" y="1229"/>
                <a:ext cx="28" cy="38"/>
              </a:xfrm>
              <a:custGeom>
                <a:avLst/>
                <a:gdLst>
                  <a:gd name="T0" fmla="*/ 0 w 12"/>
                  <a:gd name="T1" fmla="*/ 0 h 16"/>
                  <a:gd name="T2" fmla="*/ 7 w 12"/>
                  <a:gd name="T3" fmla="*/ 16 h 16"/>
                  <a:gd name="T4" fmla="*/ 5 w 12"/>
                  <a:gd name="T5" fmla="*/ 11 h 16"/>
                  <a:gd name="T6" fmla="*/ 0 w 12"/>
                  <a:gd name="T7" fmla="*/ 0 h 16"/>
                </a:gdLst>
                <a:ahLst/>
                <a:cxnLst>
                  <a:cxn ang="0">
                    <a:pos x="T0" y="T1"/>
                  </a:cxn>
                  <a:cxn ang="0">
                    <a:pos x="T2" y="T3"/>
                  </a:cxn>
                  <a:cxn ang="0">
                    <a:pos x="T4" y="T5"/>
                  </a:cxn>
                  <a:cxn ang="0">
                    <a:pos x="T6" y="T7"/>
                  </a:cxn>
                </a:cxnLst>
                <a:rect l="0" t="0" r="r" b="b"/>
                <a:pathLst>
                  <a:path w="12" h="16">
                    <a:moveTo>
                      <a:pt x="0" y="0"/>
                    </a:moveTo>
                    <a:cubicBezTo>
                      <a:pt x="2" y="6"/>
                      <a:pt x="5" y="11"/>
                      <a:pt x="7" y="16"/>
                    </a:cubicBezTo>
                    <a:cubicBezTo>
                      <a:pt x="7" y="15"/>
                      <a:pt x="6" y="12"/>
                      <a:pt x="5" y="11"/>
                    </a:cubicBezTo>
                    <a:cubicBezTo>
                      <a:pt x="12" y="10"/>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5" name="Freeform 1247">
                <a:extLst>
                  <a:ext uri="{FF2B5EF4-FFF2-40B4-BE49-F238E27FC236}">
                    <a16:creationId xmlns:a16="http://schemas.microsoft.com/office/drawing/2014/main" id="{433B8A26-0C65-4648-8C31-18F9BF94D5EA}"/>
                  </a:ext>
                </a:extLst>
              </p:cNvPr>
              <p:cNvSpPr>
                <a:spLocks/>
              </p:cNvSpPr>
              <p:nvPr/>
            </p:nvSpPr>
            <p:spPr bwMode="auto">
              <a:xfrm>
                <a:off x="1663" y="1272"/>
                <a:ext cx="9" cy="17"/>
              </a:xfrm>
              <a:custGeom>
                <a:avLst/>
                <a:gdLst>
                  <a:gd name="T0" fmla="*/ 4 w 4"/>
                  <a:gd name="T1" fmla="*/ 0 h 7"/>
                  <a:gd name="T2" fmla="*/ 2 w 4"/>
                  <a:gd name="T3" fmla="*/ 2 h 7"/>
                  <a:gd name="T4" fmla="*/ 2 w 4"/>
                  <a:gd name="T5" fmla="*/ 2 h 7"/>
                  <a:gd name="T6" fmla="*/ 2 w 4"/>
                  <a:gd name="T7" fmla="*/ 3 h 7"/>
                  <a:gd name="T8" fmla="*/ 2 w 4"/>
                  <a:gd name="T9" fmla="*/ 7 h 7"/>
                  <a:gd name="T10" fmla="*/ 4 w 4"/>
                  <a:gd name="T11" fmla="*/ 0 h 7"/>
                </a:gdLst>
                <a:ahLst/>
                <a:cxnLst>
                  <a:cxn ang="0">
                    <a:pos x="T0" y="T1"/>
                  </a:cxn>
                  <a:cxn ang="0">
                    <a:pos x="T2" y="T3"/>
                  </a:cxn>
                  <a:cxn ang="0">
                    <a:pos x="T4" y="T5"/>
                  </a:cxn>
                  <a:cxn ang="0">
                    <a:pos x="T6" y="T7"/>
                  </a:cxn>
                  <a:cxn ang="0">
                    <a:pos x="T8" y="T9"/>
                  </a:cxn>
                  <a:cxn ang="0">
                    <a:pos x="T10" y="T11"/>
                  </a:cxn>
                </a:cxnLst>
                <a:rect l="0" t="0" r="r" b="b"/>
                <a:pathLst>
                  <a:path w="4" h="7">
                    <a:moveTo>
                      <a:pt x="4" y="0"/>
                    </a:moveTo>
                    <a:cubicBezTo>
                      <a:pt x="3" y="1"/>
                      <a:pt x="3" y="2"/>
                      <a:pt x="2" y="2"/>
                    </a:cubicBezTo>
                    <a:cubicBezTo>
                      <a:pt x="2" y="2"/>
                      <a:pt x="2" y="2"/>
                      <a:pt x="2" y="2"/>
                    </a:cubicBezTo>
                    <a:cubicBezTo>
                      <a:pt x="2" y="3"/>
                      <a:pt x="2" y="3"/>
                      <a:pt x="2" y="3"/>
                    </a:cubicBezTo>
                    <a:cubicBezTo>
                      <a:pt x="0" y="4"/>
                      <a:pt x="1" y="6"/>
                      <a:pt x="2" y="7"/>
                    </a:cubicBezTo>
                    <a:cubicBezTo>
                      <a:pt x="3" y="5"/>
                      <a:pt x="4" y="3"/>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6" name="Freeform 1248">
                <a:extLst>
                  <a:ext uri="{FF2B5EF4-FFF2-40B4-BE49-F238E27FC236}">
                    <a16:creationId xmlns:a16="http://schemas.microsoft.com/office/drawing/2014/main" id="{3DE9FFD4-ABF6-4D38-8BDB-880B310459D2}"/>
                  </a:ext>
                </a:extLst>
              </p:cNvPr>
              <p:cNvSpPr>
                <a:spLocks/>
              </p:cNvSpPr>
              <p:nvPr/>
            </p:nvSpPr>
            <p:spPr bwMode="auto">
              <a:xfrm>
                <a:off x="2889" y="1414"/>
                <a:ext cx="43" cy="61"/>
              </a:xfrm>
              <a:custGeom>
                <a:avLst/>
                <a:gdLst>
                  <a:gd name="T0" fmla="*/ 11 w 18"/>
                  <a:gd name="T1" fmla="*/ 0 h 26"/>
                  <a:gd name="T2" fmla="*/ 9 w 18"/>
                  <a:gd name="T3" fmla="*/ 1 h 26"/>
                  <a:gd name="T4" fmla="*/ 10 w 18"/>
                  <a:gd name="T5" fmla="*/ 3 h 26"/>
                  <a:gd name="T6" fmla="*/ 9 w 18"/>
                  <a:gd name="T7" fmla="*/ 3 h 26"/>
                  <a:gd name="T8" fmla="*/ 8 w 18"/>
                  <a:gd name="T9" fmla="*/ 4 h 26"/>
                  <a:gd name="T10" fmla="*/ 5 w 18"/>
                  <a:gd name="T11" fmla="*/ 7 h 26"/>
                  <a:gd name="T12" fmla="*/ 3 w 18"/>
                  <a:gd name="T13" fmla="*/ 9 h 26"/>
                  <a:gd name="T14" fmla="*/ 6 w 18"/>
                  <a:gd name="T15" fmla="*/ 11 h 26"/>
                  <a:gd name="T16" fmla="*/ 4 w 18"/>
                  <a:gd name="T17" fmla="*/ 14 h 26"/>
                  <a:gd name="T18" fmla="*/ 3 w 18"/>
                  <a:gd name="T19" fmla="*/ 19 h 26"/>
                  <a:gd name="T20" fmla="*/ 13 w 18"/>
                  <a:gd name="T21" fmla="*/ 26 h 26"/>
                  <a:gd name="T22" fmla="*/ 13 w 18"/>
                  <a:gd name="T23" fmla="*/ 26 h 26"/>
                  <a:gd name="T24" fmla="*/ 16 w 18"/>
                  <a:gd name="T25" fmla="*/ 21 h 26"/>
                  <a:gd name="T26" fmla="*/ 15 w 18"/>
                  <a:gd name="T27" fmla="*/ 22 h 26"/>
                  <a:gd name="T28" fmla="*/ 15 w 18"/>
                  <a:gd name="T29" fmla="*/ 16 h 26"/>
                  <a:gd name="T30" fmla="*/ 15 w 18"/>
                  <a:gd name="T31" fmla="*/ 2 h 26"/>
                  <a:gd name="T32" fmla="*/ 12 w 18"/>
                  <a:gd name="T33" fmla="*/ 0 h 26"/>
                  <a:gd name="T34" fmla="*/ 11 w 18"/>
                  <a:gd name="T3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6">
                    <a:moveTo>
                      <a:pt x="11" y="0"/>
                    </a:moveTo>
                    <a:cubicBezTo>
                      <a:pt x="10" y="0"/>
                      <a:pt x="10" y="0"/>
                      <a:pt x="9" y="1"/>
                    </a:cubicBezTo>
                    <a:cubicBezTo>
                      <a:pt x="9" y="1"/>
                      <a:pt x="10" y="2"/>
                      <a:pt x="10" y="3"/>
                    </a:cubicBezTo>
                    <a:cubicBezTo>
                      <a:pt x="10" y="3"/>
                      <a:pt x="10" y="3"/>
                      <a:pt x="9" y="3"/>
                    </a:cubicBezTo>
                    <a:cubicBezTo>
                      <a:pt x="9" y="3"/>
                      <a:pt x="8" y="3"/>
                      <a:pt x="8" y="4"/>
                    </a:cubicBezTo>
                    <a:cubicBezTo>
                      <a:pt x="7" y="5"/>
                      <a:pt x="7" y="6"/>
                      <a:pt x="5" y="7"/>
                    </a:cubicBezTo>
                    <a:cubicBezTo>
                      <a:pt x="2" y="9"/>
                      <a:pt x="0" y="7"/>
                      <a:pt x="3" y="9"/>
                    </a:cubicBezTo>
                    <a:cubicBezTo>
                      <a:pt x="4" y="10"/>
                      <a:pt x="6" y="9"/>
                      <a:pt x="6" y="11"/>
                    </a:cubicBezTo>
                    <a:cubicBezTo>
                      <a:pt x="6" y="12"/>
                      <a:pt x="4" y="12"/>
                      <a:pt x="4" y="14"/>
                    </a:cubicBezTo>
                    <a:cubicBezTo>
                      <a:pt x="3" y="19"/>
                      <a:pt x="3" y="19"/>
                      <a:pt x="3" y="19"/>
                    </a:cubicBezTo>
                    <a:cubicBezTo>
                      <a:pt x="3" y="22"/>
                      <a:pt x="9" y="26"/>
                      <a:pt x="13" y="26"/>
                    </a:cubicBezTo>
                    <a:cubicBezTo>
                      <a:pt x="13" y="26"/>
                      <a:pt x="13" y="26"/>
                      <a:pt x="13" y="26"/>
                    </a:cubicBezTo>
                    <a:cubicBezTo>
                      <a:pt x="15" y="26"/>
                      <a:pt x="18" y="21"/>
                      <a:pt x="16" y="21"/>
                    </a:cubicBezTo>
                    <a:cubicBezTo>
                      <a:pt x="15" y="21"/>
                      <a:pt x="15" y="22"/>
                      <a:pt x="15" y="22"/>
                    </a:cubicBezTo>
                    <a:cubicBezTo>
                      <a:pt x="18" y="20"/>
                      <a:pt x="17" y="18"/>
                      <a:pt x="15" y="16"/>
                    </a:cubicBezTo>
                    <a:cubicBezTo>
                      <a:pt x="16" y="11"/>
                      <a:pt x="18" y="6"/>
                      <a:pt x="15" y="2"/>
                    </a:cubicBezTo>
                    <a:cubicBezTo>
                      <a:pt x="13" y="1"/>
                      <a:pt x="14" y="0"/>
                      <a:pt x="12" y="0"/>
                    </a:cubicBezTo>
                    <a:cubicBezTo>
                      <a:pt x="11" y="0"/>
                      <a:pt x="11"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7" name="Freeform 1249">
                <a:extLst>
                  <a:ext uri="{FF2B5EF4-FFF2-40B4-BE49-F238E27FC236}">
                    <a16:creationId xmlns:a16="http://schemas.microsoft.com/office/drawing/2014/main" id="{186A7E5D-F544-451B-BF69-6C0A1AD17DAB}"/>
                  </a:ext>
                </a:extLst>
              </p:cNvPr>
              <p:cNvSpPr>
                <a:spLocks noEditPoints="1"/>
              </p:cNvSpPr>
              <p:nvPr/>
            </p:nvSpPr>
            <p:spPr bwMode="auto">
              <a:xfrm>
                <a:off x="2634" y="1069"/>
                <a:ext cx="14" cy="4"/>
              </a:xfrm>
              <a:custGeom>
                <a:avLst/>
                <a:gdLst>
                  <a:gd name="T0" fmla="*/ 5 w 6"/>
                  <a:gd name="T1" fmla="*/ 0 h 2"/>
                  <a:gd name="T2" fmla="*/ 0 w 6"/>
                  <a:gd name="T3" fmla="*/ 1 h 2"/>
                  <a:gd name="T4" fmla="*/ 0 w 6"/>
                  <a:gd name="T5" fmla="*/ 2 h 2"/>
                  <a:gd name="T6" fmla="*/ 5 w 6"/>
                  <a:gd name="T7" fmla="*/ 0 h 2"/>
                  <a:gd name="T8" fmla="*/ 6 w 6"/>
                  <a:gd name="T9" fmla="*/ 0 h 2"/>
                  <a:gd name="T10" fmla="*/ 5 w 6"/>
                  <a:gd name="T11" fmla="*/ 0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5" y="0"/>
                    </a:moveTo>
                    <a:cubicBezTo>
                      <a:pt x="3" y="1"/>
                      <a:pt x="2" y="1"/>
                      <a:pt x="0" y="1"/>
                    </a:cubicBezTo>
                    <a:cubicBezTo>
                      <a:pt x="0" y="2"/>
                      <a:pt x="0" y="2"/>
                      <a:pt x="0" y="2"/>
                    </a:cubicBezTo>
                    <a:cubicBezTo>
                      <a:pt x="2" y="2"/>
                      <a:pt x="4" y="1"/>
                      <a:pt x="5" y="0"/>
                    </a:cubicBezTo>
                    <a:moveTo>
                      <a:pt x="6" y="0"/>
                    </a:moveTo>
                    <a:cubicBezTo>
                      <a:pt x="5" y="0"/>
                      <a:pt x="5" y="0"/>
                      <a:pt x="5" y="0"/>
                    </a:cubicBezTo>
                    <a:cubicBezTo>
                      <a:pt x="5" y="0"/>
                      <a:pt x="5"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8" name="Freeform 1250">
                <a:extLst>
                  <a:ext uri="{FF2B5EF4-FFF2-40B4-BE49-F238E27FC236}">
                    <a16:creationId xmlns:a16="http://schemas.microsoft.com/office/drawing/2014/main" id="{DE426BB6-4B1A-4107-A25B-5C839001E9E1}"/>
                  </a:ext>
                </a:extLst>
              </p:cNvPr>
              <p:cNvSpPr>
                <a:spLocks/>
              </p:cNvSpPr>
              <p:nvPr/>
            </p:nvSpPr>
            <p:spPr bwMode="auto">
              <a:xfrm>
                <a:off x="2109" y="1118"/>
                <a:ext cx="52" cy="33"/>
              </a:xfrm>
              <a:custGeom>
                <a:avLst/>
                <a:gdLst>
                  <a:gd name="T0" fmla="*/ 11 w 22"/>
                  <a:gd name="T1" fmla="*/ 0 h 14"/>
                  <a:gd name="T2" fmla="*/ 8 w 22"/>
                  <a:gd name="T3" fmla="*/ 0 h 14"/>
                  <a:gd name="T4" fmla="*/ 8 w 22"/>
                  <a:gd name="T5" fmla="*/ 0 h 14"/>
                  <a:gd name="T6" fmla="*/ 2 w 22"/>
                  <a:gd name="T7" fmla="*/ 2 h 14"/>
                  <a:gd name="T8" fmla="*/ 1 w 22"/>
                  <a:gd name="T9" fmla="*/ 9 h 14"/>
                  <a:gd name="T10" fmla="*/ 3 w 22"/>
                  <a:gd name="T11" fmla="*/ 12 h 14"/>
                  <a:gd name="T12" fmla="*/ 10 w 22"/>
                  <a:gd name="T13" fmla="*/ 5 h 14"/>
                  <a:gd name="T14" fmla="*/ 11 w 22"/>
                  <a:gd name="T15" fmla="*/ 9 h 14"/>
                  <a:gd name="T16" fmla="*/ 13 w 22"/>
                  <a:gd name="T17" fmla="*/ 14 h 14"/>
                  <a:gd name="T18" fmla="*/ 22 w 22"/>
                  <a:gd name="T19" fmla="*/ 4 h 14"/>
                  <a:gd name="T20" fmla="*/ 17 w 22"/>
                  <a:gd name="T21" fmla="*/ 2 h 14"/>
                  <a:gd name="T22" fmla="*/ 15 w 22"/>
                  <a:gd name="T23" fmla="*/ 4 h 14"/>
                  <a:gd name="T24" fmla="*/ 11 w 22"/>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4">
                    <a:moveTo>
                      <a:pt x="11" y="0"/>
                    </a:moveTo>
                    <a:cubicBezTo>
                      <a:pt x="12" y="0"/>
                      <a:pt x="9" y="0"/>
                      <a:pt x="8" y="0"/>
                    </a:cubicBezTo>
                    <a:cubicBezTo>
                      <a:pt x="8" y="0"/>
                      <a:pt x="8" y="0"/>
                      <a:pt x="8" y="0"/>
                    </a:cubicBezTo>
                    <a:cubicBezTo>
                      <a:pt x="6" y="1"/>
                      <a:pt x="4" y="1"/>
                      <a:pt x="2" y="2"/>
                    </a:cubicBezTo>
                    <a:cubicBezTo>
                      <a:pt x="0" y="4"/>
                      <a:pt x="0" y="7"/>
                      <a:pt x="1" y="9"/>
                    </a:cubicBezTo>
                    <a:cubicBezTo>
                      <a:pt x="1" y="12"/>
                      <a:pt x="2" y="12"/>
                      <a:pt x="3" y="12"/>
                    </a:cubicBezTo>
                    <a:cubicBezTo>
                      <a:pt x="5" y="12"/>
                      <a:pt x="8" y="6"/>
                      <a:pt x="10" y="5"/>
                    </a:cubicBezTo>
                    <a:cubicBezTo>
                      <a:pt x="10" y="6"/>
                      <a:pt x="11" y="8"/>
                      <a:pt x="11" y="9"/>
                    </a:cubicBezTo>
                    <a:cubicBezTo>
                      <a:pt x="10" y="13"/>
                      <a:pt x="8" y="12"/>
                      <a:pt x="13" y="14"/>
                    </a:cubicBezTo>
                    <a:cubicBezTo>
                      <a:pt x="14" y="7"/>
                      <a:pt x="15" y="8"/>
                      <a:pt x="22" y="4"/>
                    </a:cubicBezTo>
                    <a:cubicBezTo>
                      <a:pt x="20" y="3"/>
                      <a:pt x="19" y="2"/>
                      <a:pt x="17" y="2"/>
                    </a:cubicBezTo>
                    <a:cubicBezTo>
                      <a:pt x="16" y="2"/>
                      <a:pt x="15" y="3"/>
                      <a:pt x="15" y="4"/>
                    </a:cubicBezTo>
                    <a:cubicBezTo>
                      <a:pt x="14" y="3"/>
                      <a:pt x="13" y="1"/>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9" name="Freeform 1251">
                <a:extLst>
                  <a:ext uri="{FF2B5EF4-FFF2-40B4-BE49-F238E27FC236}">
                    <a16:creationId xmlns:a16="http://schemas.microsoft.com/office/drawing/2014/main" id="{597F1D82-DCF5-4480-A1FE-0A3FDBAD2590}"/>
                  </a:ext>
                </a:extLst>
              </p:cNvPr>
              <p:cNvSpPr>
                <a:spLocks/>
              </p:cNvSpPr>
              <p:nvPr/>
            </p:nvSpPr>
            <p:spPr bwMode="auto">
              <a:xfrm>
                <a:off x="2499" y="1525"/>
                <a:ext cx="10" cy="9"/>
              </a:xfrm>
              <a:custGeom>
                <a:avLst/>
                <a:gdLst>
                  <a:gd name="T0" fmla="*/ 4 w 4"/>
                  <a:gd name="T1" fmla="*/ 0 h 4"/>
                  <a:gd name="T2" fmla="*/ 4 w 4"/>
                  <a:gd name="T3" fmla="*/ 4 h 4"/>
                  <a:gd name="T4" fmla="*/ 4 w 4"/>
                  <a:gd name="T5" fmla="*/ 0 h 4"/>
                </a:gdLst>
                <a:ahLst/>
                <a:cxnLst>
                  <a:cxn ang="0">
                    <a:pos x="T0" y="T1"/>
                  </a:cxn>
                  <a:cxn ang="0">
                    <a:pos x="T2" y="T3"/>
                  </a:cxn>
                  <a:cxn ang="0">
                    <a:pos x="T4" y="T5"/>
                  </a:cxn>
                </a:cxnLst>
                <a:rect l="0" t="0" r="r" b="b"/>
                <a:pathLst>
                  <a:path w="4" h="4">
                    <a:moveTo>
                      <a:pt x="4" y="0"/>
                    </a:moveTo>
                    <a:cubicBezTo>
                      <a:pt x="0" y="1"/>
                      <a:pt x="1" y="3"/>
                      <a:pt x="4" y="4"/>
                    </a:cubicBezTo>
                    <a:cubicBezTo>
                      <a:pt x="4" y="3"/>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0" name="Freeform 1252">
                <a:extLst>
                  <a:ext uri="{FF2B5EF4-FFF2-40B4-BE49-F238E27FC236}">
                    <a16:creationId xmlns:a16="http://schemas.microsoft.com/office/drawing/2014/main" id="{C955EA5D-DB52-401B-9826-7ED784E790B0}"/>
                  </a:ext>
                </a:extLst>
              </p:cNvPr>
              <p:cNvSpPr>
                <a:spLocks/>
              </p:cNvSpPr>
              <p:nvPr/>
            </p:nvSpPr>
            <p:spPr bwMode="auto">
              <a:xfrm>
                <a:off x="2421" y="1135"/>
                <a:ext cx="57" cy="24"/>
              </a:xfrm>
              <a:custGeom>
                <a:avLst/>
                <a:gdLst>
                  <a:gd name="T0" fmla="*/ 11 w 24"/>
                  <a:gd name="T1" fmla="*/ 0 h 10"/>
                  <a:gd name="T2" fmla="*/ 3 w 24"/>
                  <a:gd name="T3" fmla="*/ 1 h 10"/>
                  <a:gd name="T4" fmla="*/ 1 w 24"/>
                  <a:gd name="T5" fmla="*/ 7 h 10"/>
                  <a:gd name="T6" fmla="*/ 6 w 24"/>
                  <a:gd name="T7" fmla="*/ 10 h 10"/>
                  <a:gd name="T8" fmla="*/ 9 w 24"/>
                  <a:gd name="T9" fmla="*/ 9 h 10"/>
                  <a:gd name="T10" fmla="*/ 16 w 24"/>
                  <a:gd name="T11" fmla="*/ 9 h 10"/>
                  <a:gd name="T12" fmla="*/ 18 w 24"/>
                  <a:gd name="T13" fmla="*/ 9 h 10"/>
                  <a:gd name="T14" fmla="*/ 20 w 24"/>
                  <a:gd name="T15" fmla="*/ 9 h 10"/>
                  <a:gd name="T16" fmla="*/ 19 w 24"/>
                  <a:gd name="T17" fmla="*/ 3 h 10"/>
                  <a:gd name="T18" fmla="*/ 11 w 24"/>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0">
                    <a:moveTo>
                      <a:pt x="11" y="0"/>
                    </a:moveTo>
                    <a:cubicBezTo>
                      <a:pt x="9" y="0"/>
                      <a:pt x="6" y="0"/>
                      <a:pt x="3" y="1"/>
                    </a:cubicBezTo>
                    <a:cubicBezTo>
                      <a:pt x="2" y="3"/>
                      <a:pt x="0" y="6"/>
                      <a:pt x="1" y="7"/>
                    </a:cubicBezTo>
                    <a:cubicBezTo>
                      <a:pt x="2" y="9"/>
                      <a:pt x="4" y="10"/>
                      <a:pt x="6" y="10"/>
                    </a:cubicBezTo>
                    <a:cubicBezTo>
                      <a:pt x="7" y="10"/>
                      <a:pt x="8" y="10"/>
                      <a:pt x="9" y="9"/>
                    </a:cubicBezTo>
                    <a:cubicBezTo>
                      <a:pt x="11" y="9"/>
                      <a:pt x="13" y="9"/>
                      <a:pt x="16" y="9"/>
                    </a:cubicBezTo>
                    <a:cubicBezTo>
                      <a:pt x="16" y="9"/>
                      <a:pt x="17" y="9"/>
                      <a:pt x="18" y="9"/>
                    </a:cubicBezTo>
                    <a:cubicBezTo>
                      <a:pt x="18" y="9"/>
                      <a:pt x="19" y="9"/>
                      <a:pt x="20" y="9"/>
                    </a:cubicBezTo>
                    <a:cubicBezTo>
                      <a:pt x="24" y="9"/>
                      <a:pt x="24" y="8"/>
                      <a:pt x="19" y="3"/>
                    </a:cubicBezTo>
                    <a:cubicBezTo>
                      <a:pt x="16" y="1"/>
                      <a:pt x="13"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1" name="Freeform 1253">
                <a:extLst>
                  <a:ext uri="{FF2B5EF4-FFF2-40B4-BE49-F238E27FC236}">
                    <a16:creationId xmlns:a16="http://schemas.microsoft.com/office/drawing/2014/main" id="{B3372147-5694-48F9-893C-0F26F5CD9C20}"/>
                  </a:ext>
                </a:extLst>
              </p:cNvPr>
              <p:cNvSpPr>
                <a:spLocks/>
              </p:cNvSpPr>
              <p:nvPr/>
            </p:nvSpPr>
            <p:spPr bwMode="auto">
              <a:xfrm>
                <a:off x="344" y="934"/>
                <a:ext cx="59" cy="66"/>
              </a:xfrm>
              <a:custGeom>
                <a:avLst/>
                <a:gdLst>
                  <a:gd name="T0" fmla="*/ 8 w 25"/>
                  <a:gd name="T1" fmla="*/ 0 h 28"/>
                  <a:gd name="T2" fmla="*/ 0 w 25"/>
                  <a:gd name="T3" fmla="*/ 4 h 28"/>
                  <a:gd name="T4" fmla="*/ 13 w 25"/>
                  <a:gd name="T5" fmla="*/ 18 h 28"/>
                  <a:gd name="T6" fmla="*/ 22 w 25"/>
                  <a:gd name="T7" fmla="*/ 28 h 28"/>
                  <a:gd name="T8" fmla="*/ 24 w 25"/>
                  <a:gd name="T9" fmla="*/ 22 h 28"/>
                  <a:gd name="T10" fmla="*/ 22 w 25"/>
                  <a:gd name="T11" fmla="*/ 15 h 28"/>
                  <a:gd name="T12" fmla="*/ 8 w 2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5" h="28">
                    <a:moveTo>
                      <a:pt x="8" y="0"/>
                    </a:moveTo>
                    <a:cubicBezTo>
                      <a:pt x="8" y="4"/>
                      <a:pt x="2" y="2"/>
                      <a:pt x="0" y="4"/>
                    </a:cubicBezTo>
                    <a:cubicBezTo>
                      <a:pt x="5" y="5"/>
                      <a:pt x="8" y="14"/>
                      <a:pt x="13" y="18"/>
                    </a:cubicBezTo>
                    <a:cubicBezTo>
                      <a:pt x="16" y="22"/>
                      <a:pt x="18" y="25"/>
                      <a:pt x="22" y="28"/>
                    </a:cubicBezTo>
                    <a:cubicBezTo>
                      <a:pt x="24" y="27"/>
                      <a:pt x="23" y="25"/>
                      <a:pt x="24" y="22"/>
                    </a:cubicBezTo>
                    <a:cubicBezTo>
                      <a:pt x="24" y="19"/>
                      <a:pt x="25" y="18"/>
                      <a:pt x="22" y="15"/>
                    </a:cubicBezTo>
                    <a:cubicBezTo>
                      <a:pt x="17" y="10"/>
                      <a:pt x="13" y="5"/>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2" name="Freeform 1254">
                <a:extLst>
                  <a:ext uri="{FF2B5EF4-FFF2-40B4-BE49-F238E27FC236}">
                    <a16:creationId xmlns:a16="http://schemas.microsoft.com/office/drawing/2014/main" id="{83B4DE0B-3E1C-4BD1-9DEA-4F147BF7BE74}"/>
                  </a:ext>
                </a:extLst>
              </p:cNvPr>
              <p:cNvSpPr>
                <a:spLocks/>
              </p:cNvSpPr>
              <p:nvPr/>
            </p:nvSpPr>
            <p:spPr bwMode="auto">
              <a:xfrm>
                <a:off x="2899" y="1177"/>
                <a:ext cx="7" cy="10"/>
              </a:xfrm>
              <a:custGeom>
                <a:avLst/>
                <a:gdLst>
                  <a:gd name="T0" fmla="*/ 3 w 3"/>
                  <a:gd name="T1" fmla="*/ 0 h 4"/>
                  <a:gd name="T2" fmla="*/ 1 w 3"/>
                  <a:gd name="T3" fmla="*/ 4 h 4"/>
                  <a:gd name="T4" fmla="*/ 3 w 3"/>
                  <a:gd name="T5" fmla="*/ 0 h 4"/>
                </a:gdLst>
                <a:ahLst/>
                <a:cxnLst>
                  <a:cxn ang="0">
                    <a:pos x="T0" y="T1"/>
                  </a:cxn>
                  <a:cxn ang="0">
                    <a:pos x="T2" y="T3"/>
                  </a:cxn>
                  <a:cxn ang="0">
                    <a:pos x="T4" y="T5"/>
                  </a:cxn>
                </a:cxnLst>
                <a:rect l="0" t="0" r="r" b="b"/>
                <a:pathLst>
                  <a:path w="3" h="4">
                    <a:moveTo>
                      <a:pt x="3" y="0"/>
                    </a:moveTo>
                    <a:cubicBezTo>
                      <a:pt x="1" y="1"/>
                      <a:pt x="0" y="2"/>
                      <a:pt x="1" y="4"/>
                    </a:cubicBezTo>
                    <a:cubicBezTo>
                      <a:pt x="2"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3" name="Freeform 1255">
                <a:extLst>
                  <a:ext uri="{FF2B5EF4-FFF2-40B4-BE49-F238E27FC236}">
                    <a16:creationId xmlns:a16="http://schemas.microsoft.com/office/drawing/2014/main" id="{10ACF148-0CA9-4ABE-9227-BD74863A95F4}"/>
                  </a:ext>
                </a:extLst>
              </p:cNvPr>
              <p:cNvSpPr>
                <a:spLocks/>
              </p:cNvSpPr>
              <p:nvPr/>
            </p:nvSpPr>
            <p:spPr bwMode="auto">
              <a:xfrm>
                <a:off x="2419" y="981"/>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0" y="1"/>
                      <a:pt x="0" y="2"/>
                      <a:pt x="0" y="2"/>
                    </a:cubicBezTo>
                    <a:cubicBezTo>
                      <a:pt x="0" y="2"/>
                      <a:pt x="0"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4" name="Freeform 1256">
                <a:extLst>
                  <a:ext uri="{FF2B5EF4-FFF2-40B4-BE49-F238E27FC236}">
                    <a16:creationId xmlns:a16="http://schemas.microsoft.com/office/drawing/2014/main" id="{5F258ECE-329D-4C32-81C9-EC80E629E7BF}"/>
                  </a:ext>
                </a:extLst>
              </p:cNvPr>
              <p:cNvSpPr>
                <a:spLocks/>
              </p:cNvSpPr>
              <p:nvPr/>
            </p:nvSpPr>
            <p:spPr bwMode="auto">
              <a:xfrm>
                <a:off x="2414" y="1062"/>
                <a:ext cx="45" cy="37"/>
              </a:xfrm>
              <a:custGeom>
                <a:avLst/>
                <a:gdLst>
                  <a:gd name="T0" fmla="*/ 8 w 19"/>
                  <a:gd name="T1" fmla="*/ 0 h 16"/>
                  <a:gd name="T2" fmla="*/ 6 w 19"/>
                  <a:gd name="T3" fmla="*/ 3 h 16"/>
                  <a:gd name="T4" fmla="*/ 6 w 19"/>
                  <a:gd name="T5" fmla="*/ 3 h 16"/>
                  <a:gd name="T6" fmla="*/ 5 w 19"/>
                  <a:gd name="T7" fmla="*/ 1 h 16"/>
                  <a:gd name="T8" fmla="*/ 4 w 19"/>
                  <a:gd name="T9" fmla="*/ 0 h 16"/>
                  <a:gd name="T10" fmla="*/ 4 w 19"/>
                  <a:gd name="T11" fmla="*/ 0 h 16"/>
                  <a:gd name="T12" fmla="*/ 3 w 19"/>
                  <a:gd name="T13" fmla="*/ 8 h 16"/>
                  <a:gd name="T14" fmla="*/ 6 w 19"/>
                  <a:gd name="T15" fmla="*/ 10 h 16"/>
                  <a:gd name="T16" fmla="*/ 6 w 19"/>
                  <a:gd name="T17" fmla="*/ 11 h 16"/>
                  <a:gd name="T18" fmla="*/ 7 w 19"/>
                  <a:gd name="T19" fmla="*/ 14 h 16"/>
                  <a:gd name="T20" fmla="*/ 8 w 19"/>
                  <a:gd name="T21" fmla="*/ 14 h 16"/>
                  <a:gd name="T22" fmla="*/ 11 w 19"/>
                  <a:gd name="T23" fmla="*/ 13 h 16"/>
                  <a:gd name="T24" fmla="*/ 14 w 19"/>
                  <a:gd name="T25" fmla="*/ 16 h 16"/>
                  <a:gd name="T26" fmla="*/ 15 w 19"/>
                  <a:gd name="T27" fmla="*/ 16 h 16"/>
                  <a:gd name="T28" fmla="*/ 18 w 19"/>
                  <a:gd name="T29" fmla="*/ 14 h 16"/>
                  <a:gd name="T30" fmla="*/ 13 w 19"/>
                  <a:gd name="T31" fmla="*/ 11 h 16"/>
                  <a:gd name="T32" fmla="*/ 13 w 19"/>
                  <a:gd name="T33" fmla="*/ 11 h 16"/>
                  <a:gd name="T34" fmla="*/ 13 w 19"/>
                  <a:gd name="T35" fmla="*/ 11 h 16"/>
                  <a:gd name="T36" fmla="*/ 12 w 19"/>
                  <a:gd name="T37" fmla="*/ 11 h 16"/>
                  <a:gd name="T38" fmla="*/ 12 w 19"/>
                  <a:gd name="T39" fmla="*/ 10 h 16"/>
                  <a:gd name="T40" fmla="*/ 8 w 19"/>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16">
                    <a:moveTo>
                      <a:pt x="8" y="0"/>
                    </a:moveTo>
                    <a:cubicBezTo>
                      <a:pt x="8" y="0"/>
                      <a:pt x="7" y="3"/>
                      <a:pt x="6" y="3"/>
                    </a:cubicBezTo>
                    <a:cubicBezTo>
                      <a:pt x="6" y="3"/>
                      <a:pt x="6" y="3"/>
                      <a:pt x="6" y="3"/>
                    </a:cubicBezTo>
                    <a:cubicBezTo>
                      <a:pt x="5" y="3"/>
                      <a:pt x="5" y="2"/>
                      <a:pt x="5" y="1"/>
                    </a:cubicBezTo>
                    <a:cubicBezTo>
                      <a:pt x="4" y="1"/>
                      <a:pt x="4" y="0"/>
                      <a:pt x="4" y="0"/>
                    </a:cubicBezTo>
                    <a:cubicBezTo>
                      <a:pt x="4" y="0"/>
                      <a:pt x="4" y="0"/>
                      <a:pt x="4" y="0"/>
                    </a:cubicBezTo>
                    <a:cubicBezTo>
                      <a:pt x="0" y="1"/>
                      <a:pt x="2" y="6"/>
                      <a:pt x="3" y="8"/>
                    </a:cubicBezTo>
                    <a:cubicBezTo>
                      <a:pt x="4" y="8"/>
                      <a:pt x="6" y="9"/>
                      <a:pt x="6" y="10"/>
                    </a:cubicBezTo>
                    <a:cubicBezTo>
                      <a:pt x="7" y="10"/>
                      <a:pt x="6" y="11"/>
                      <a:pt x="6" y="11"/>
                    </a:cubicBezTo>
                    <a:cubicBezTo>
                      <a:pt x="6" y="13"/>
                      <a:pt x="5" y="14"/>
                      <a:pt x="7" y="14"/>
                    </a:cubicBezTo>
                    <a:cubicBezTo>
                      <a:pt x="7" y="14"/>
                      <a:pt x="7" y="14"/>
                      <a:pt x="8" y="14"/>
                    </a:cubicBezTo>
                    <a:cubicBezTo>
                      <a:pt x="9" y="13"/>
                      <a:pt x="10" y="13"/>
                      <a:pt x="11" y="13"/>
                    </a:cubicBezTo>
                    <a:cubicBezTo>
                      <a:pt x="13" y="13"/>
                      <a:pt x="11" y="16"/>
                      <a:pt x="14" y="16"/>
                    </a:cubicBezTo>
                    <a:cubicBezTo>
                      <a:pt x="14" y="16"/>
                      <a:pt x="15" y="16"/>
                      <a:pt x="15" y="16"/>
                    </a:cubicBezTo>
                    <a:cubicBezTo>
                      <a:pt x="16" y="16"/>
                      <a:pt x="17" y="15"/>
                      <a:pt x="18" y="14"/>
                    </a:cubicBezTo>
                    <a:cubicBezTo>
                      <a:pt x="19" y="13"/>
                      <a:pt x="14" y="12"/>
                      <a:pt x="13" y="11"/>
                    </a:cubicBezTo>
                    <a:cubicBezTo>
                      <a:pt x="13" y="11"/>
                      <a:pt x="13" y="11"/>
                      <a:pt x="13" y="11"/>
                    </a:cubicBezTo>
                    <a:cubicBezTo>
                      <a:pt x="13" y="11"/>
                      <a:pt x="13" y="11"/>
                      <a:pt x="13" y="11"/>
                    </a:cubicBezTo>
                    <a:cubicBezTo>
                      <a:pt x="12" y="11"/>
                      <a:pt x="12" y="11"/>
                      <a:pt x="12" y="11"/>
                    </a:cubicBezTo>
                    <a:cubicBezTo>
                      <a:pt x="12" y="11"/>
                      <a:pt x="12" y="11"/>
                      <a:pt x="12" y="10"/>
                    </a:cubicBezTo>
                    <a:cubicBezTo>
                      <a:pt x="11" y="5"/>
                      <a:pt x="11" y="4"/>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5" name="Freeform 1257">
                <a:extLst>
                  <a:ext uri="{FF2B5EF4-FFF2-40B4-BE49-F238E27FC236}">
                    <a16:creationId xmlns:a16="http://schemas.microsoft.com/office/drawing/2014/main" id="{73502A1D-8088-4774-AB59-0968FEF4023B}"/>
                  </a:ext>
                </a:extLst>
              </p:cNvPr>
              <p:cNvSpPr>
                <a:spLocks/>
              </p:cNvSpPr>
              <p:nvPr/>
            </p:nvSpPr>
            <p:spPr bwMode="auto">
              <a:xfrm>
                <a:off x="1407" y="1433"/>
                <a:ext cx="10" cy="7"/>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2" y="1"/>
                      <a:pt x="0" y="1"/>
                      <a:pt x="0" y="3"/>
                    </a:cubicBezTo>
                    <a:cubicBezTo>
                      <a:pt x="2" y="2"/>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6" name="Freeform 1258">
                <a:extLst>
                  <a:ext uri="{FF2B5EF4-FFF2-40B4-BE49-F238E27FC236}">
                    <a16:creationId xmlns:a16="http://schemas.microsoft.com/office/drawing/2014/main" id="{9D3B4EE3-2520-4E2E-ADBC-3120F4E44699}"/>
                  </a:ext>
                </a:extLst>
              </p:cNvPr>
              <p:cNvSpPr>
                <a:spLocks/>
              </p:cNvSpPr>
              <p:nvPr/>
            </p:nvSpPr>
            <p:spPr bwMode="auto">
              <a:xfrm>
                <a:off x="214" y="653"/>
                <a:ext cx="747" cy="794"/>
              </a:xfrm>
              <a:custGeom>
                <a:avLst/>
                <a:gdLst>
                  <a:gd name="T0" fmla="*/ 2 w 316"/>
                  <a:gd name="T1" fmla="*/ 6 h 336"/>
                  <a:gd name="T2" fmla="*/ 55 w 316"/>
                  <a:gd name="T3" fmla="*/ 63 h 336"/>
                  <a:gd name="T4" fmla="*/ 71 w 316"/>
                  <a:gd name="T5" fmla="*/ 87 h 336"/>
                  <a:gd name="T6" fmla="*/ 91 w 316"/>
                  <a:gd name="T7" fmla="*/ 104 h 336"/>
                  <a:gd name="T8" fmla="*/ 104 w 316"/>
                  <a:gd name="T9" fmla="*/ 117 h 336"/>
                  <a:gd name="T10" fmla="*/ 124 w 316"/>
                  <a:gd name="T11" fmla="*/ 159 h 336"/>
                  <a:gd name="T12" fmla="*/ 162 w 316"/>
                  <a:gd name="T13" fmla="*/ 215 h 336"/>
                  <a:gd name="T14" fmla="*/ 204 w 316"/>
                  <a:gd name="T15" fmla="*/ 272 h 336"/>
                  <a:gd name="T16" fmla="*/ 239 w 316"/>
                  <a:gd name="T17" fmla="*/ 302 h 336"/>
                  <a:gd name="T18" fmla="*/ 274 w 316"/>
                  <a:gd name="T19" fmla="*/ 336 h 336"/>
                  <a:gd name="T20" fmla="*/ 276 w 316"/>
                  <a:gd name="T21" fmla="*/ 324 h 336"/>
                  <a:gd name="T22" fmla="*/ 289 w 316"/>
                  <a:gd name="T23" fmla="*/ 331 h 336"/>
                  <a:gd name="T24" fmla="*/ 295 w 316"/>
                  <a:gd name="T25" fmla="*/ 324 h 336"/>
                  <a:gd name="T26" fmla="*/ 310 w 316"/>
                  <a:gd name="T27" fmla="*/ 291 h 336"/>
                  <a:gd name="T28" fmla="*/ 311 w 316"/>
                  <a:gd name="T29" fmla="*/ 264 h 336"/>
                  <a:gd name="T30" fmla="*/ 293 w 316"/>
                  <a:gd name="T31" fmla="*/ 232 h 336"/>
                  <a:gd name="T32" fmla="*/ 279 w 316"/>
                  <a:gd name="T33" fmla="*/ 233 h 336"/>
                  <a:gd name="T34" fmla="*/ 274 w 316"/>
                  <a:gd name="T35" fmla="*/ 233 h 336"/>
                  <a:gd name="T36" fmla="*/ 270 w 316"/>
                  <a:gd name="T37" fmla="*/ 217 h 336"/>
                  <a:gd name="T38" fmla="*/ 265 w 316"/>
                  <a:gd name="T39" fmla="*/ 194 h 336"/>
                  <a:gd name="T40" fmla="*/ 261 w 316"/>
                  <a:gd name="T41" fmla="*/ 194 h 336"/>
                  <a:gd name="T42" fmla="*/ 238 w 316"/>
                  <a:gd name="T43" fmla="*/ 177 h 336"/>
                  <a:gd name="T44" fmla="*/ 237 w 316"/>
                  <a:gd name="T45" fmla="*/ 174 h 336"/>
                  <a:gd name="T46" fmla="*/ 235 w 316"/>
                  <a:gd name="T47" fmla="*/ 171 h 336"/>
                  <a:gd name="T48" fmla="*/ 245 w 316"/>
                  <a:gd name="T49" fmla="*/ 165 h 336"/>
                  <a:gd name="T50" fmla="*/ 245 w 316"/>
                  <a:gd name="T51" fmla="*/ 154 h 336"/>
                  <a:gd name="T52" fmla="*/ 226 w 316"/>
                  <a:gd name="T53" fmla="*/ 153 h 336"/>
                  <a:gd name="T54" fmla="*/ 215 w 316"/>
                  <a:gd name="T55" fmla="*/ 158 h 336"/>
                  <a:gd name="T56" fmla="*/ 230 w 316"/>
                  <a:gd name="T57" fmla="*/ 151 h 336"/>
                  <a:gd name="T58" fmla="*/ 209 w 316"/>
                  <a:gd name="T59" fmla="*/ 139 h 336"/>
                  <a:gd name="T60" fmla="*/ 183 w 316"/>
                  <a:gd name="T61" fmla="*/ 114 h 336"/>
                  <a:gd name="T62" fmla="*/ 165 w 316"/>
                  <a:gd name="T63" fmla="*/ 99 h 336"/>
                  <a:gd name="T64" fmla="*/ 167 w 316"/>
                  <a:gd name="T65" fmla="*/ 111 h 336"/>
                  <a:gd name="T66" fmla="*/ 152 w 316"/>
                  <a:gd name="T67" fmla="*/ 97 h 336"/>
                  <a:gd name="T68" fmla="*/ 140 w 316"/>
                  <a:gd name="T69" fmla="*/ 87 h 336"/>
                  <a:gd name="T70" fmla="*/ 109 w 316"/>
                  <a:gd name="T71" fmla="*/ 58 h 336"/>
                  <a:gd name="T72" fmla="*/ 93 w 316"/>
                  <a:gd name="T73" fmla="*/ 60 h 336"/>
                  <a:gd name="T74" fmla="*/ 94 w 316"/>
                  <a:gd name="T75" fmla="*/ 46 h 336"/>
                  <a:gd name="T76" fmla="*/ 89 w 316"/>
                  <a:gd name="T77" fmla="*/ 38 h 336"/>
                  <a:gd name="T78" fmla="*/ 69 w 316"/>
                  <a:gd name="T79" fmla="*/ 12 h 336"/>
                  <a:gd name="T80" fmla="*/ 58 w 316"/>
                  <a:gd name="T81" fmla="*/ 13 h 336"/>
                  <a:gd name="T82" fmla="*/ 39 w 316"/>
                  <a:gd name="T83" fmla="*/ 1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6" h="336">
                    <a:moveTo>
                      <a:pt x="12" y="0"/>
                    </a:moveTo>
                    <a:cubicBezTo>
                      <a:pt x="8" y="0"/>
                      <a:pt x="6" y="0"/>
                      <a:pt x="3" y="2"/>
                    </a:cubicBezTo>
                    <a:cubicBezTo>
                      <a:pt x="0" y="3"/>
                      <a:pt x="1" y="3"/>
                      <a:pt x="2" y="6"/>
                    </a:cubicBezTo>
                    <a:cubicBezTo>
                      <a:pt x="3" y="12"/>
                      <a:pt x="4" y="15"/>
                      <a:pt x="8" y="20"/>
                    </a:cubicBezTo>
                    <a:cubicBezTo>
                      <a:pt x="18" y="33"/>
                      <a:pt x="29" y="48"/>
                      <a:pt x="44" y="56"/>
                    </a:cubicBezTo>
                    <a:cubicBezTo>
                      <a:pt x="47" y="58"/>
                      <a:pt x="52" y="60"/>
                      <a:pt x="55" y="63"/>
                    </a:cubicBezTo>
                    <a:cubicBezTo>
                      <a:pt x="58" y="67"/>
                      <a:pt x="61" y="71"/>
                      <a:pt x="65" y="75"/>
                    </a:cubicBezTo>
                    <a:cubicBezTo>
                      <a:pt x="66" y="77"/>
                      <a:pt x="69" y="79"/>
                      <a:pt x="70" y="80"/>
                    </a:cubicBezTo>
                    <a:cubicBezTo>
                      <a:pt x="71" y="82"/>
                      <a:pt x="71" y="85"/>
                      <a:pt x="71" y="87"/>
                    </a:cubicBezTo>
                    <a:cubicBezTo>
                      <a:pt x="72" y="90"/>
                      <a:pt x="72" y="95"/>
                      <a:pt x="74" y="97"/>
                    </a:cubicBezTo>
                    <a:cubicBezTo>
                      <a:pt x="76" y="98"/>
                      <a:pt x="78" y="98"/>
                      <a:pt x="80" y="99"/>
                    </a:cubicBezTo>
                    <a:cubicBezTo>
                      <a:pt x="84" y="100"/>
                      <a:pt x="87" y="102"/>
                      <a:pt x="91" y="104"/>
                    </a:cubicBezTo>
                    <a:cubicBezTo>
                      <a:pt x="96" y="107"/>
                      <a:pt x="99" y="110"/>
                      <a:pt x="103" y="113"/>
                    </a:cubicBezTo>
                    <a:cubicBezTo>
                      <a:pt x="103" y="113"/>
                      <a:pt x="103" y="112"/>
                      <a:pt x="103" y="112"/>
                    </a:cubicBezTo>
                    <a:cubicBezTo>
                      <a:pt x="105" y="112"/>
                      <a:pt x="104" y="115"/>
                      <a:pt x="104" y="117"/>
                    </a:cubicBezTo>
                    <a:cubicBezTo>
                      <a:pt x="105" y="122"/>
                      <a:pt x="106" y="125"/>
                      <a:pt x="108" y="130"/>
                    </a:cubicBezTo>
                    <a:cubicBezTo>
                      <a:pt x="110" y="137"/>
                      <a:pt x="112" y="145"/>
                      <a:pt x="114" y="152"/>
                    </a:cubicBezTo>
                    <a:cubicBezTo>
                      <a:pt x="116" y="158"/>
                      <a:pt x="118" y="157"/>
                      <a:pt x="124" y="159"/>
                    </a:cubicBezTo>
                    <a:cubicBezTo>
                      <a:pt x="128" y="160"/>
                      <a:pt x="129" y="161"/>
                      <a:pt x="131" y="166"/>
                    </a:cubicBezTo>
                    <a:cubicBezTo>
                      <a:pt x="136" y="175"/>
                      <a:pt x="149" y="183"/>
                      <a:pt x="150" y="193"/>
                    </a:cubicBezTo>
                    <a:cubicBezTo>
                      <a:pt x="151" y="201"/>
                      <a:pt x="158" y="208"/>
                      <a:pt x="162" y="215"/>
                    </a:cubicBezTo>
                    <a:cubicBezTo>
                      <a:pt x="166" y="221"/>
                      <a:pt x="167" y="228"/>
                      <a:pt x="169" y="234"/>
                    </a:cubicBezTo>
                    <a:cubicBezTo>
                      <a:pt x="171" y="242"/>
                      <a:pt x="180" y="249"/>
                      <a:pt x="185" y="255"/>
                    </a:cubicBezTo>
                    <a:cubicBezTo>
                      <a:pt x="190" y="261"/>
                      <a:pt x="198" y="266"/>
                      <a:pt x="204" y="272"/>
                    </a:cubicBezTo>
                    <a:cubicBezTo>
                      <a:pt x="207" y="274"/>
                      <a:pt x="205" y="278"/>
                      <a:pt x="207" y="279"/>
                    </a:cubicBezTo>
                    <a:cubicBezTo>
                      <a:pt x="211" y="282"/>
                      <a:pt x="215" y="286"/>
                      <a:pt x="219" y="289"/>
                    </a:cubicBezTo>
                    <a:cubicBezTo>
                      <a:pt x="226" y="293"/>
                      <a:pt x="232" y="298"/>
                      <a:pt x="239" y="302"/>
                    </a:cubicBezTo>
                    <a:cubicBezTo>
                      <a:pt x="245" y="307"/>
                      <a:pt x="250" y="312"/>
                      <a:pt x="256" y="318"/>
                    </a:cubicBezTo>
                    <a:cubicBezTo>
                      <a:pt x="260" y="323"/>
                      <a:pt x="265" y="327"/>
                      <a:pt x="269" y="332"/>
                    </a:cubicBezTo>
                    <a:cubicBezTo>
                      <a:pt x="270" y="334"/>
                      <a:pt x="272" y="336"/>
                      <a:pt x="274" y="336"/>
                    </a:cubicBezTo>
                    <a:cubicBezTo>
                      <a:pt x="274" y="336"/>
                      <a:pt x="275" y="336"/>
                      <a:pt x="275" y="336"/>
                    </a:cubicBezTo>
                    <a:cubicBezTo>
                      <a:pt x="274" y="333"/>
                      <a:pt x="271" y="323"/>
                      <a:pt x="275" y="323"/>
                    </a:cubicBezTo>
                    <a:cubicBezTo>
                      <a:pt x="275" y="323"/>
                      <a:pt x="276" y="324"/>
                      <a:pt x="276" y="324"/>
                    </a:cubicBezTo>
                    <a:cubicBezTo>
                      <a:pt x="277" y="324"/>
                      <a:pt x="279" y="326"/>
                      <a:pt x="280" y="327"/>
                    </a:cubicBezTo>
                    <a:cubicBezTo>
                      <a:pt x="281" y="328"/>
                      <a:pt x="283" y="329"/>
                      <a:pt x="285" y="329"/>
                    </a:cubicBezTo>
                    <a:cubicBezTo>
                      <a:pt x="286" y="330"/>
                      <a:pt x="287" y="331"/>
                      <a:pt x="289" y="331"/>
                    </a:cubicBezTo>
                    <a:cubicBezTo>
                      <a:pt x="289" y="331"/>
                      <a:pt x="290" y="330"/>
                      <a:pt x="290" y="329"/>
                    </a:cubicBezTo>
                    <a:cubicBezTo>
                      <a:pt x="291" y="327"/>
                      <a:pt x="292" y="324"/>
                      <a:pt x="294" y="324"/>
                    </a:cubicBezTo>
                    <a:cubicBezTo>
                      <a:pt x="295" y="324"/>
                      <a:pt x="295" y="324"/>
                      <a:pt x="295" y="324"/>
                    </a:cubicBezTo>
                    <a:cubicBezTo>
                      <a:pt x="299" y="324"/>
                      <a:pt x="303" y="332"/>
                      <a:pt x="307" y="335"/>
                    </a:cubicBezTo>
                    <a:cubicBezTo>
                      <a:pt x="308" y="333"/>
                      <a:pt x="308" y="331"/>
                      <a:pt x="309" y="329"/>
                    </a:cubicBezTo>
                    <a:cubicBezTo>
                      <a:pt x="311" y="317"/>
                      <a:pt x="311" y="303"/>
                      <a:pt x="310" y="291"/>
                    </a:cubicBezTo>
                    <a:cubicBezTo>
                      <a:pt x="309" y="286"/>
                      <a:pt x="309" y="284"/>
                      <a:pt x="312" y="279"/>
                    </a:cubicBezTo>
                    <a:cubicBezTo>
                      <a:pt x="312" y="277"/>
                      <a:pt x="313" y="276"/>
                      <a:pt x="313" y="274"/>
                    </a:cubicBezTo>
                    <a:cubicBezTo>
                      <a:pt x="311" y="269"/>
                      <a:pt x="308" y="270"/>
                      <a:pt x="311" y="264"/>
                    </a:cubicBezTo>
                    <a:cubicBezTo>
                      <a:pt x="312" y="262"/>
                      <a:pt x="316" y="259"/>
                      <a:pt x="316" y="258"/>
                    </a:cubicBezTo>
                    <a:cubicBezTo>
                      <a:pt x="315" y="249"/>
                      <a:pt x="309" y="242"/>
                      <a:pt x="304" y="235"/>
                    </a:cubicBezTo>
                    <a:cubicBezTo>
                      <a:pt x="302" y="232"/>
                      <a:pt x="296" y="232"/>
                      <a:pt x="293" y="232"/>
                    </a:cubicBezTo>
                    <a:cubicBezTo>
                      <a:pt x="289" y="231"/>
                      <a:pt x="285" y="231"/>
                      <a:pt x="281" y="230"/>
                    </a:cubicBezTo>
                    <a:cubicBezTo>
                      <a:pt x="281" y="230"/>
                      <a:pt x="281" y="230"/>
                      <a:pt x="281" y="230"/>
                    </a:cubicBezTo>
                    <a:cubicBezTo>
                      <a:pt x="281" y="230"/>
                      <a:pt x="279" y="232"/>
                      <a:pt x="279" y="233"/>
                    </a:cubicBezTo>
                    <a:cubicBezTo>
                      <a:pt x="278" y="234"/>
                      <a:pt x="279" y="235"/>
                      <a:pt x="278" y="237"/>
                    </a:cubicBezTo>
                    <a:cubicBezTo>
                      <a:pt x="277" y="240"/>
                      <a:pt x="274" y="242"/>
                      <a:pt x="272" y="244"/>
                    </a:cubicBezTo>
                    <a:cubicBezTo>
                      <a:pt x="272" y="237"/>
                      <a:pt x="281" y="240"/>
                      <a:pt x="274" y="233"/>
                    </a:cubicBezTo>
                    <a:cubicBezTo>
                      <a:pt x="275" y="232"/>
                      <a:pt x="277" y="232"/>
                      <a:pt x="279" y="230"/>
                    </a:cubicBezTo>
                    <a:cubicBezTo>
                      <a:pt x="284" y="225"/>
                      <a:pt x="274" y="226"/>
                      <a:pt x="273" y="222"/>
                    </a:cubicBezTo>
                    <a:cubicBezTo>
                      <a:pt x="271" y="220"/>
                      <a:pt x="271" y="220"/>
                      <a:pt x="270" y="217"/>
                    </a:cubicBezTo>
                    <a:cubicBezTo>
                      <a:pt x="270" y="215"/>
                      <a:pt x="271" y="213"/>
                      <a:pt x="271" y="210"/>
                    </a:cubicBezTo>
                    <a:cubicBezTo>
                      <a:pt x="270" y="206"/>
                      <a:pt x="269" y="202"/>
                      <a:pt x="268" y="197"/>
                    </a:cubicBezTo>
                    <a:cubicBezTo>
                      <a:pt x="267" y="194"/>
                      <a:pt x="266" y="194"/>
                      <a:pt x="265" y="194"/>
                    </a:cubicBezTo>
                    <a:cubicBezTo>
                      <a:pt x="265" y="194"/>
                      <a:pt x="264" y="194"/>
                      <a:pt x="263" y="194"/>
                    </a:cubicBezTo>
                    <a:cubicBezTo>
                      <a:pt x="263" y="194"/>
                      <a:pt x="262" y="194"/>
                      <a:pt x="262" y="194"/>
                    </a:cubicBezTo>
                    <a:cubicBezTo>
                      <a:pt x="261" y="194"/>
                      <a:pt x="261" y="194"/>
                      <a:pt x="261" y="194"/>
                    </a:cubicBezTo>
                    <a:cubicBezTo>
                      <a:pt x="259" y="194"/>
                      <a:pt x="257" y="193"/>
                      <a:pt x="255" y="192"/>
                    </a:cubicBezTo>
                    <a:cubicBezTo>
                      <a:pt x="252" y="192"/>
                      <a:pt x="250" y="192"/>
                      <a:pt x="247" y="191"/>
                    </a:cubicBezTo>
                    <a:cubicBezTo>
                      <a:pt x="240" y="188"/>
                      <a:pt x="239" y="184"/>
                      <a:pt x="238" y="177"/>
                    </a:cubicBezTo>
                    <a:cubicBezTo>
                      <a:pt x="238" y="178"/>
                      <a:pt x="239" y="179"/>
                      <a:pt x="240" y="179"/>
                    </a:cubicBezTo>
                    <a:cubicBezTo>
                      <a:pt x="241" y="179"/>
                      <a:pt x="243" y="177"/>
                      <a:pt x="244" y="176"/>
                    </a:cubicBezTo>
                    <a:cubicBezTo>
                      <a:pt x="242" y="174"/>
                      <a:pt x="240" y="175"/>
                      <a:pt x="237" y="174"/>
                    </a:cubicBezTo>
                    <a:cubicBezTo>
                      <a:pt x="239" y="173"/>
                      <a:pt x="240" y="172"/>
                      <a:pt x="241" y="170"/>
                    </a:cubicBezTo>
                    <a:cubicBezTo>
                      <a:pt x="240" y="170"/>
                      <a:pt x="238" y="171"/>
                      <a:pt x="236" y="171"/>
                    </a:cubicBezTo>
                    <a:cubicBezTo>
                      <a:pt x="236" y="171"/>
                      <a:pt x="236" y="171"/>
                      <a:pt x="235" y="171"/>
                    </a:cubicBezTo>
                    <a:cubicBezTo>
                      <a:pt x="239" y="170"/>
                      <a:pt x="239" y="170"/>
                      <a:pt x="242" y="167"/>
                    </a:cubicBezTo>
                    <a:cubicBezTo>
                      <a:pt x="243" y="166"/>
                      <a:pt x="243" y="164"/>
                      <a:pt x="244" y="164"/>
                    </a:cubicBezTo>
                    <a:cubicBezTo>
                      <a:pt x="245" y="165"/>
                      <a:pt x="245" y="165"/>
                      <a:pt x="245" y="165"/>
                    </a:cubicBezTo>
                    <a:cubicBezTo>
                      <a:pt x="247" y="165"/>
                      <a:pt x="249" y="164"/>
                      <a:pt x="251" y="164"/>
                    </a:cubicBezTo>
                    <a:cubicBezTo>
                      <a:pt x="250" y="162"/>
                      <a:pt x="249" y="154"/>
                      <a:pt x="246" y="154"/>
                    </a:cubicBezTo>
                    <a:cubicBezTo>
                      <a:pt x="246" y="154"/>
                      <a:pt x="245" y="154"/>
                      <a:pt x="245" y="154"/>
                    </a:cubicBezTo>
                    <a:cubicBezTo>
                      <a:pt x="244" y="152"/>
                      <a:pt x="242" y="150"/>
                      <a:pt x="240" y="149"/>
                    </a:cubicBezTo>
                    <a:cubicBezTo>
                      <a:pt x="239" y="149"/>
                      <a:pt x="238" y="148"/>
                      <a:pt x="237" y="148"/>
                    </a:cubicBezTo>
                    <a:cubicBezTo>
                      <a:pt x="234" y="148"/>
                      <a:pt x="230" y="151"/>
                      <a:pt x="226" y="153"/>
                    </a:cubicBezTo>
                    <a:cubicBezTo>
                      <a:pt x="223" y="156"/>
                      <a:pt x="219" y="158"/>
                      <a:pt x="215" y="158"/>
                    </a:cubicBezTo>
                    <a:cubicBezTo>
                      <a:pt x="214" y="158"/>
                      <a:pt x="212" y="158"/>
                      <a:pt x="211" y="156"/>
                    </a:cubicBezTo>
                    <a:cubicBezTo>
                      <a:pt x="213" y="157"/>
                      <a:pt x="214" y="158"/>
                      <a:pt x="215" y="158"/>
                    </a:cubicBezTo>
                    <a:cubicBezTo>
                      <a:pt x="216" y="158"/>
                      <a:pt x="217" y="157"/>
                      <a:pt x="219" y="156"/>
                    </a:cubicBezTo>
                    <a:cubicBezTo>
                      <a:pt x="221" y="155"/>
                      <a:pt x="223" y="154"/>
                      <a:pt x="224" y="154"/>
                    </a:cubicBezTo>
                    <a:cubicBezTo>
                      <a:pt x="225" y="153"/>
                      <a:pt x="229" y="151"/>
                      <a:pt x="230" y="151"/>
                    </a:cubicBezTo>
                    <a:cubicBezTo>
                      <a:pt x="230" y="149"/>
                      <a:pt x="226" y="144"/>
                      <a:pt x="225" y="144"/>
                    </a:cubicBezTo>
                    <a:cubicBezTo>
                      <a:pt x="221" y="143"/>
                      <a:pt x="218" y="142"/>
                      <a:pt x="214" y="142"/>
                    </a:cubicBezTo>
                    <a:cubicBezTo>
                      <a:pt x="211" y="141"/>
                      <a:pt x="211" y="140"/>
                      <a:pt x="209" y="139"/>
                    </a:cubicBezTo>
                    <a:cubicBezTo>
                      <a:pt x="205" y="136"/>
                      <a:pt x="204" y="134"/>
                      <a:pt x="203" y="129"/>
                    </a:cubicBezTo>
                    <a:cubicBezTo>
                      <a:pt x="202" y="125"/>
                      <a:pt x="197" y="121"/>
                      <a:pt x="194" y="118"/>
                    </a:cubicBezTo>
                    <a:cubicBezTo>
                      <a:pt x="191" y="116"/>
                      <a:pt x="187" y="115"/>
                      <a:pt x="183" y="114"/>
                    </a:cubicBezTo>
                    <a:cubicBezTo>
                      <a:pt x="180" y="113"/>
                      <a:pt x="181" y="113"/>
                      <a:pt x="179" y="111"/>
                    </a:cubicBezTo>
                    <a:cubicBezTo>
                      <a:pt x="178" y="109"/>
                      <a:pt x="177" y="106"/>
                      <a:pt x="175" y="104"/>
                    </a:cubicBezTo>
                    <a:cubicBezTo>
                      <a:pt x="172" y="100"/>
                      <a:pt x="171" y="100"/>
                      <a:pt x="165" y="99"/>
                    </a:cubicBezTo>
                    <a:cubicBezTo>
                      <a:pt x="165" y="99"/>
                      <a:pt x="165" y="99"/>
                      <a:pt x="164" y="99"/>
                    </a:cubicBezTo>
                    <a:cubicBezTo>
                      <a:pt x="163" y="99"/>
                      <a:pt x="163" y="100"/>
                      <a:pt x="164" y="102"/>
                    </a:cubicBezTo>
                    <a:cubicBezTo>
                      <a:pt x="165" y="105"/>
                      <a:pt x="167" y="106"/>
                      <a:pt x="167" y="111"/>
                    </a:cubicBezTo>
                    <a:cubicBezTo>
                      <a:pt x="166" y="109"/>
                      <a:pt x="166" y="107"/>
                      <a:pt x="165" y="106"/>
                    </a:cubicBezTo>
                    <a:cubicBezTo>
                      <a:pt x="162" y="103"/>
                      <a:pt x="159" y="103"/>
                      <a:pt x="156" y="101"/>
                    </a:cubicBezTo>
                    <a:cubicBezTo>
                      <a:pt x="154" y="100"/>
                      <a:pt x="153" y="98"/>
                      <a:pt x="152" y="97"/>
                    </a:cubicBezTo>
                    <a:cubicBezTo>
                      <a:pt x="149" y="93"/>
                      <a:pt x="151" y="88"/>
                      <a:pt x="143" y="88"/>
                    </a:cubicBezTo>
                    <a:cubicBezTo>
                      <a:pt x="144" y="89"/>
                      <a:pt x="144" y="90"/>
                      <a:pt x="144" y="90"/>
                    </a:cubicBezTo>
                    <a:cubicBezTo>
                      <a:pt x="142" y="89"/>
                      <a:pt x="141" y="88"/>
                      <a:pt x="140" y="87"/>
                    </a:cubicBezTo>
                    <a:cubicBezTo>
                      <a:pt x="138" y="82"/>
                      <a:pt x="141" y="81"/>
                      <a:pt x="137" y="78"/>
                    </a:cubicBezTo>
                    <a:cubicBezTo>
                      <a:pt x="130" y="72"/>
                      <a:pt x="123" y="65"/>
                      <a:pt x="115" y="61"/>
                    </a:cubicBezTo>
                    <a:cubicBezTo>
                      <a:pt x="114" y="60"/>
                      <a:pt x="111" y="59"/>
                      <a:pt x="109" y="58"/>
                    </a:cubicBezTo>
                    <a:cubicBezTo>
                      <a:pt x="109" y="58"/>
                      <a:pt x="109" y="59"/>
                      <a:pt x="109" y="60"/>
                    </a:cubicBezTo>
                    <a:cubicBezTo>
                      <a:pt x="109" y="64"/>
                      <a:pt x="106" y="67"/>
                      <a:pt x="101" y="67"/>
                    </a:cubicBezTo>
                    <a:cubicBezTo>
                      <a:pt x="97" y="67"/>
                      <a:pt x="93" y="64"/>
                      <a:pt x="93" y="60"/>
                    </a:cubicBezTo>
                    <a:cubicBezTo>
                      <a:pt x="93" y="55"/>
                      <a:pt x="97" y="52"/>
                      <a:pt x="101" y="52"/>
                    </a:cubicBezTo>
                    <a:cubicBezTo>
                      <a:pt x="102" y="52"/>
                      <a:pt x="102" y="52"/>
                      <a:pt x="102" y="52"/>
                    </a:cubicBezTo>
                    <a:cubicBezTo>
                      <a:pt x="100" y="49"/>
                      <a:pt x="98" y="48"/>
                      <a:pt x="94" y="46"/>
                    </a:cubicBezTo>
                    <a:cubicBezTo>
                      <a:pt x="92" y="45"/>
                      <a:pt x="90" y="44"/>
                      <a:pt x="88" y="44"/>
                    </a:cubicBezTo>
                    <a:cubicBezTo>
                      <a:pt x="88" y="44"/>
                      <a:pt x="88" y="44"/>
                      <a:pt x="87" y="44"/>
                    </a:cubicBezTo>
                    <a:cubicBezTo>
                      <a:pt x="88" y="42"/>
                      <a:pt x="90" y="40"/>
                      <a:pt x="89" y="38"/>
                    </a:cubicBezTo>
                    <a:cubicBezTo>
                      <a:pt x="88" y="37"/>
                      <a:pt x="86" y="32"/>
                      <a:pt x="84" y="32"/>
                    </a:cubicBezTo>
                    <a:cubicBezTo>
                      <a:pt x="80" y="31"/>
                      <a:pt x="82" y="27"/>
                      <a:pt x="81" y="24"/>
                    </a:cubicBezTo>
                    <a:cubicBezTo>
                      <a:pt x="79" y="19"/>
                      <a:pt x="73" y="16"/>
                      <a:pt x="69" y="12"/>
                    </a:cubicBezTo>
                    <a:cubicBezTo>
                      <a:pt x="68" y="11"/>
                      <a:pt x="67" y="11"/>
                      <a:pt x="66" y="11"/>
                    </a:cubicBezTo>
                    <a:cubicBezTo>
                      <a:pt x="65" y="11"/>
                      <a:pt x="63" y="12"/>
                      <a:pt x="61" y="13"/>
                    </a:cubicBezTo>
                    <a:cubicBezTo>
                      <a:pt x="60" y="13"/>
                      <a:pt x="59" y="13"/>
                      <a:pt x="58" y="13"/>
                    </a:cubicBezTo>
                    <a:cubicBezTo>
                      <a:pt x="57" y="13"/>
                      <a:pt x="57" y="13"/>
                      <a:pt x="55" y="12"/>
                    </a:cubicBezTo>
                    <a:cubicBezTo>
                      <a:pt x="53" y="11"/>
                      <a:pt x="51" y="10"/>
                      <a:pt x="49" y="10"/>
                    </a:cubicBezTo>
                    <a:cubicBezTo>
                      <a:pt x="45" y="10"/>
                      <a:pt x="42" y="11"/>
                      <a:pt x="39" y="11"/>
                    </a:cubicBezTo>
                    <a:cubicBezTo>
                      <a:pt x="39" y="11"/>
                      <a:pt x="38" y="11"/>
                      <a:pt x="38" y="11"/>
                    </a:cubicBezTo>
                    <a:cubicBezTo>
                      <a:pt x="28" y="11"/>
                      <a:pt x="21" y="3"/>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7" name="Freeform 1259">
                <a:extLst>
                  <a:ext uri="{FF2B5EF4-FFF2-40B4-BE49-F238E27FC236}">
                    <a16:creationId xmlns:a16="http://schemas.microsoft.com/office/drawing/2014/main" id="{9963AB64-901D-4A92-900E-0A49731C57B9}"/>
                  </a:ext>
                </a:extLst>
              </p:cNvPr>
              <p:cNvSpPr>
                <a:spLocks/>
              </p:cNvSpPr>
              <p:nvPr/>
            </p:nvSpPr>
            <p:spPr bwMode="auto">
              <a:xfrm>
                <a:off x="2972" y="1083"/>
                <a:ext cx="33" cy="14"/>
              </a:xfrm>
              <a:custGeom>
                <a:avLst/>
                <a:gdLst>
                  <a:gd name="T0" fmla="*/ 0 w 14"/>
                  <a:gd name="T1" fmla="*/ 0 h 6"/>
                  <a:gd name="T2" fmla="*/ 9 w 14"/>
                  <a:gd name="T3" fmla="*/ 6 h 6"/>
                  <a:gd name="T4" fmla="*/ 0 w 14"/>
                  <a:gd name="T5" fmla="*/ 0 h 6"/>
                </a:gdLst>
                <a:ahLst/>
                <a:cxnLst>
                  <a:cxn ang="0">
                    <a:pos x="T0" y="T1"/>
                  </a:cxn>
                  <a:cxn ang="0">
                    <a:pos x="T2" y="T3"/>
                  </a:cxn>
                  <a:cxn ang="0">
                    <a:pos x="T4" y="T5"/>
                  </a:cxn>
                </a:cxnLst>
                <a:rect l="0" t="0" r="r" b="b"/>
                <a:pathLst>
                  <a:path w="14" h="6">
                    <a:moveTo>
                      <a:pt x="0" y="0"/>
                    </a:moveTo>
                    <a:cubicBezTo>
                      <a:pt x="3" y="2"/>
                      <a:pt x="6" y="4"/>
                      <a:pt x="9" y="6"/>
                    </a:cubicBezTo>
                    <a:cubicBezTo>
                      <a:pt x="14"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8" name="Freeform 1260">
                <a:extLst>
                  <a:ext uri="{FF2B5EF4-FFF2-40B4-BE49-F238E27FC236}">
                    <a16:creationId xmlns:a16="http://schemas.microsoft.com/office/drawing/2014/main" id="{8BDB39BF-D9AB-4C5A-932C-0357A004CF56}"/>
                  </a:ext>
                </a:extLst>
              </p:cNvPr>
              <p:cNvSpPr>
                <a:spLocks/>
              </p:cNvSpPr>
              <p:nvPr/>
            </p:nvSpPr>
            <p:spPr bwMode="auto">
              <a:xfrm>
                <a:off x="2424" y="889"/>
                <a:ext cx="104" cy="213"/>
              </a:xfrm>
              <a:custGeom>
                <a:avLst/>
                <a:gdLst>
                  <a:gd name="T0" fmla="*/ 20 w 44"/>
                  <a:gd name="T1" fmla="*/ 0 h 90"/>
                  <a:gd name="T2" fmla="*/ 10 w 44"/>
                  <a:gd name="T3" fmla="*/ 7 h 90"/>
                  <a:gd name="T4" fmla="*/ 5 w 44"/>
                  <a:gd name="T5" fmla="*/ 14 h 90"/>
                  <a:gd name="T6" fmla="*/ 2 w 44"/>
                  <a:gd name="T7" fmla="*/ 26 h 90"/>
                  <a:gd name="T8" fmla="*/ 2 w 44"/>
                  <a:gd name="T9" fmla="*/ 34 h 90"/>
                  <a:gd name="T10" fmla="*/ 6 w 44"/>
                  <a:gd name="T11" fmla="*/ 39 h 90"/>
                  <a:gd name="T12" fmla="*/ 5 w 44"/>
                  <a:gd name="T13" fmla="*/ 45 h 90"/>
                  <a:gd name="T14" fmla="*/ 10 w 44"/>
                  <a:gd name="T15" fmla="*/ 56 h 90"/>
                  <a:gd name="T16" fmla="*/ 8 w 44"/>
                  <a:gd name="T17" fmla="*/ 70 h 90"/>
                  <a:gd name="T18" fmla="*/ 17 w 44"/>
                  <a:gd name="T19" fmla="*/ 81 h 90"/>
                  <a:gd name="T20" fmla="*/ 31 w 44"/>
                  <a:gd name="T21" fmla="*/ 90 h 90"/>
                  <a:gd name="T22" fmla="*/ 16 w 44"/>
                  <a:gd name="T23" fmla="*/ 66 h 90"/>
                  <a:gd name="T24" fmla="*/ 15 w 44"/>
                  <a:gd name="T25" fmla="*/ 57 h 90"/>
                  <a:gd name="T26" fmla="*/ 17 w 44"/>
                  <a:gd name="T27" fmla="*/ 51 h 90"/>
                  <a:gd name="T28" fmla="*/ 18 w 44"/>
                  <a:gd name="T29" fmla="*/ 51 h 90"/>
                  <a:gd name="T30" fmla="*/ 36 w 44"/>
                  <a:gd name="T31" fmla="*/ 55 h 90"/>
                  <a:gd name="T32" fmla="*/ 44 w 44"/>
                  <a:gd name="T33" fmla="*/ 58 h 90"/>
                  <a:gd name="T34" fmla="*/ 31 w 44"/>
                  <a:gd name="T35" fmla="*/ 46 h 90"/>
                  <a:gd name="T36" fmla="*/ 28 w 44"/>
                  <a:gd name="T37" fmla="*/ 45 h 90"/>
                  <a:gd name="T38" fmla="*/ 35 w 44"/>
                  <a:gd name="T39" fmla="*/ 34 h 90"/>
                  <a:gd name="T40" fmla="*/ 38 w 44"/>
                  <a:gd name="T41" fmla="*/ 28 h 90"/>
                  <a:gd name="T42" fmla="*/ 40 w 44"/>
                  <a:gd name="T43" fmla="*/ 24 h 90"/>
                  <a:gd name="T44" fmla="*/ 39 w 44"/>
                  <a:gd name="T45" fmla="*/ 19 h 90"/>
                  <a:gd name="T46" fmla="*/ 36 w 44"/>
                  <a:gd name="T47" fmla="*/ 19 h 90"/>
                  <a:gd name="T48" fmla="*/ 29 w 44"/>
                  <a:gd name="T49" fmla="*/ 20 h 90"/>
                  <a:gd name="T50" fmla="*/ 23 w 44"/>
                  <a:gd name="T51" fmla="*/ 24 h 90"/>
                  <a:gd name="T52" fmla="*/ 21 w 44"/>
                  <a:gd name="T53" fmla="*/ 27 h 90"/>
                  <a:gd name="T54" fmla="*/ 23 w 44"/>
                  <a:gd name="T55" fmla="*/ 31 h 90"/>
                  <a:gd name="T56" fmla="*/ 17 w 44"/>
                  <a:gd name="T57" fmla="*/ 34 h 90"/>
                  <a:gd name="T58" fmla="*/ 14 w 44"/>
                  <a:gd name="T59" fmla="*/ 40 h 90"/>
                  <a:gd name="T60" fmla="*/ 12 w 44"/>
                  <a:gd name="T61" fmla="*/ 40 h 90"/>
                  <a:gd name="T62" fmla="*/ 8 w 44"/>
                  <a:gd name="T63" fmla="*/ 37 h 90"/>
                  <a:gd name="T64" fmla="*/ 13 w 44"/>
                  <a:gd name="T65" fmla="*/ 31 h 90"/>
                  <a:gd name="T66" fmla="*/ 13 w 44"/>
                  <a:gd name="T67" fmla="*/ 30 h 90"/>
                  <a:gd name="T68" fmla="*/ 14 w 44"/>
                  <a:gd name="T69" fmla="*/ 30 h 90"/>
                  <a:gd name="T70" fmla="*/ 14 w 44"/>
                  <a:gd name="T71" fmla="*/ 31 h 90"/>
                  <a:gd name="T72" fmla="*/ 15 w 44"/>
                  <a:gd name="T73" fmla="*/ 30 h 90"/>
                  <a:gd name="T74" fmla="*/ 15 w 44"/>
                  <a:gd name="T75" fmla="*/ 29 h 90"/>
                  <a:gd name="T76" fmla="*/ 17 w 44"/>
                  <a:gd name="T77" fmla="*/ 26 h 90"/>
                  <a:gd name="T78" fmla="*/ 16 w 44"/>
                  <a:gd name="T79" fmla="*/ 12 h 90"/>
                  <a:gd name="T80" fmla="*/ 16 w 44"/>
                  <a:gd name="T81" fmla="*/ 6 h 90"/>
                  <a:gd name="T82" fmla="*/ 20 w 44"/>
                  <a:gd name="T8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 h="90">
                    <a:moveTo>
                      <a:pt x="20" y="0"/>
                    </a:moveTo>
                    <a:cubicBezTo>
                      <a:pt x="16" y="2"/>
                      <a:pt x="13" y="5"/>
                      <a:pt x="10" y="7"/>
                    </a:cubicBezTo>
                    <a:cubicBezTo>
                      <a:pt x="8" y="9"/>
                      <a:pt x="6" y="12"/>
                      <a:pt x="5" y="14"/>
                    </a:cubicBezTo>
                    <a:cubicBezTo>
                      <a:pt x="4" y="18"/>
                      <a:pt x="3" y="22"/>
                      <a:pt x="2" y="26"/>
                    </a:cubicBezTo>
                    <a:cubicBezTo>
                      <a:pt x="1" y="29"/>
                      <a:pt x="0" y="31"/>
                      <a:pt x="2" y="34"/>
                    </a:cubicBezTo>
                    <a:cubicBezTo>
                      <a:pt x="3" y="35"/>
                      <a:pt x="6" y="38"/>
                      <a:pt x="6" y="39"/>
                    </a:cubicBezTo>
                    <a:cubicBezTo>
                      <a:pt x="7" y="40"/>
                      <a:pt x="5" y="42"/>
                      <a:pt x="5" y="45"/>
                    </a:cubicBezTo>
                    <a:cubicBezTo>
                      <a:pt x="4" y="49"/>
                      <a:pt x="10" y="51"/>
                      <a:pt x="10" y="56"/>
                    </a:cubicBezTo>
                    <a:cubicBezTo>
                      <a:pt x="10" y="60"/>
                      <a:pt x="7" y="66"/>
                      <a:pt x="8" y="70"/>
                    </a:cubicBezTo>
                    <a:cubicBezTo>
                      <a:pt x="9" y="74"/>
                      <a:pt x="15" y="78"/>
                      <a:pt x="17" y="81"/>
                    </a:cubicBezTo>
                    <a:cubicBezTo>
                      <a:pt x="21" y="86"/>
                      <a:pt x="26" y="87"/>
                      <a:pt x="31" y="90"/>
                    </a:cubicBezTo>
                    <a:cubicBezTo>
                      <a:pt x="26" y="82"/>
                      <a:pt x="21" y="74"/>
                      <a:pt x="16" y="66"/>
                    </a:cubicBezTo>
                    <a:cubicBezTo>
                      <a:pt x="14" y="63"/>
                      <a:pt x="16" y="60"/>
                      <a:pt x="15" y="57"/>
                    </a:cubicBezTo>
                    <a:cubicBezTo>
                      <a:pt x="15" y="55"/>
                      <a:pt x="13" y="51"/>
                      <a:pt x="17" y="51"/>
                    </a:cubicBezTo>
                    <a:cubicBezTo>
                      <a:pt x="17" y="51"/>
                      <a:pt x="18" y="51"/>
                      <a:pt x="18" y="51"/>
                    </a:cubicBezTo>
                    <a:cubicBezTo>
                      <a:pt x="25" y="51"/>
                      <a:pt x="30" y="53"/>
                      <a:pt x="36" y="55"/>
                    </a:cubicBezTo>
                    <a:cubicBezTo>
                      <a:pt x="39" y="56"/>
                      <a:pt x="42" y="56"/>
                      <a:pt x="44" y="58"/>
                    </a:cubicBezTo>
                    <a:cubicBezTo>
                      <a:pt x="40" y="53"/>
                      <a:pt x="37" y="48"/>
                      <a:pt x="31" y="46"/>
                    </a:cubicBezTo>
                    <a:cubicBezTo>
                      <a:pt x="30" y="46"/>
                      <a:pt x="29" y="45"/>
                      <a:pt x="28" y="45"/>
                    </a:cubicBezTo>
                    <a:cubicBezTo>
                      <a:pt x="20" y="40"/>
                      <a:pt x="31" y="36"/>
                      <a:pt x="35" y="34"/>
                    </a:cubicBezTo>
                    <a:cubicBezTo>
                      <a:pt x="39" y="32"/>
                      <a:pt x="38" y="32"/>
                      <a:pt x="38" y="28"/>
                    </a:cubicBezTo>
                    <a:cubicBezTo>
                      <a:pt x="39" y="26"/>
                      <a:pt x="40" y="25"/>
                      <a:pt x="40" y="24"/>
                    </a:cubicBezTo>
                    <a:cubicBezTo>
                      <a:pt x="40" y="22"/>
                      <a:pt x="37" y="20"/>
                      <a:pt x="39" y="19"/>
                    </a:cubicBezTo>
                    <a:cubicBezTo>
                      <a:pt x="38" y="19"/>
                      <a:pt x="37" y="19"/>
                      <a:pt x="36" y="19"/>
                    </a:cubicBezTo>
                    <a:cubicBezTo>
                      <a:pt x="34" y="19"/>
                      <a:pt x="31" y="19"/>
                      <a:pt x="29" y="20"/>
                    </a:cubicBezTo>
                    <a:cubicBezTo>
                      <a:pt x="27" y="20"/>
                      <a:pt x="25" y="23"/>
                      <a:pt x="23" y="24"/>
                    </a:cubicBezTo>
                    <a:cubicBezTo>
                      <a:pt x="21" y="27"/>
                      <a:pt x="21" y="27"/>
                      <a:pt x="21" y="27"/>
                    </a:cubicBezTo>
                    <a:cubicBezTo>
                      <a:pt x="21" y="29"/>
                      <a:pt x="25" y="28"/>
                      <a:pt x="23" y="31"/>
                    </a:cubicBezTo>
                    <a:cubicBezTo>
                      <a:pt x="21" y="32"/>
                      <a:pt x="18" y="31"/>
                      <a:pt x="17" y="34"/>
                    </a:cubicBezTo>
                    <a:cubicBezTo>
                      <a:pt x="15" y="36"/>
                      <a:pt x="16" y="39"/>
                      <a:pt x="14" y="40"/>
                    </a:cubicBezTo>
                    <a:cubicBezTo>
                      <a:pt x="13" y="40"/>
                      <a:pt x="13" y="40"/>
                      <a:pt x="12" y="40"/>
                    </a:cubicBezTo>
                    <a:cubicBezTo>
                      <a:pt x="10" y="40"/>
                      <a:pt x="8" y="39"/>
                      <a:pt x="8" y="37"/>
                    </a:cubicBezTo>
                    <a:cubicBezTo>
                      <a:pt x="9" y="34"/>
                      <a:pt x="11" y="32"/>
                      <a:pt x="13" y="31"/>
                    </a:cubicBezTo>
                    <a:cubicBezTo>
                      <a:pt x="13" y="31"/>
                      <a:pt x="13" y="30"/>
                      <a:pt x="13" y="30"/>
                    </a:cubicBezTo>
                    <a:cubicBezTo>
                      <a:pt x="13" y="30"/>
                      <a:pt x="14" y="30"/>
                      <a:pt x="14" y="30"/>
                    </a:cubicBezTo>
                    <a:cubicBezTo>
                      <a:pt x="14" y="31"/>
                      <a:pt x="14" y="31"/>
                      <a:pt x="14" y="31"/>
                    </a:cubicBezTo>
                    <a:cubicBezTo>
                      <a:pt x="14" y="31"/>
                      <a:pt x="14" y="30"/>
                      <a:pt x="15" y="30"/>
                    </a:cubicBezTo>
                    <a:cubicBezTo>
                      <a:pt x="15" y="30"/>
                      <a:pt x="15" y="29"/>
                      <a:pt x="15" y="29"/>
                    </a:cubicBezTo>
                    <a:cubicBezTo>
                      <a:pt x="16" y="28"/>
                      <a:pt x="17" y="27"/>
                      <a:pt x="17" y="26"/>
                    </a:cubicBezTo>
                    <a:cubicBezTo>
                      <a:pt x="20" y="21"/>
                      <a:pt x="18" y="17"/>
                      <a:pt x="16" y="12"/>
                    </a:cubicBezTo>
                    <a:cubicBezTo>
                      <a:pt x="14" y="8"/>
                      <a:pt x="15" y="9"/>
                      <a:pt x="16" y="6"/>
                    </a:cubicBezTo>
                    <a:cubicBezTo>
                      <a:pt x="17" y="4"/>
                      <a:pt x="19" y="2"/>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9" name="Freeform 1261">
                <a:extLst>
                  <a:ext uri="{FF2B5EF4-FFF2-40B4-BE49-F238E27FC236}">
                    <a16:creationId xmlns:a16="http://schemas.microsoft.com/office/drawing/2014/main" id="{C10AB158-1FC7-4CCD-BA5C-9D8B819B1661}"/>
                  </a:ext>
                </a:extLst>
              </p:cNvPr>
              <p:cNvSpPr>
                <a:spLocks/>
              </p:cNvSpPr>
              <p:nvPr/>
            </p:nvSpPr>
            <p:spPr bwMode="auto">
              <a:xfrm>
                <a:off x="1150" y="1567"/>
                <a:ext cx="14" cy="8"/>
              </a:xfrm>
              <a:custGeom>
                <a:avLst/>
                <a:gdLst>
                  <a:gd name="T0" fmla="*/ 0 w 6"/>
                  <a:gd name="T1" fmla="*/ 0 h 3"/>
                  <a:gd name="T2" fmla="*/ 6 w 6"/>
                  <a:gd name="T3" fmla="*/ 3 h 3"/>
                  <a:gd name="T4" fmla="*/ 0 w 6"/>
                  <a:gd name="T5" fmla="*/ 0 h 3"/>
                </a:gdLst>
                <a:ahLst/>
                <a:cxnLst>
                  <a:cxn ang="0">
                    <a:pos x="T0" y="T1"/>
                  </a:cxn>
                  <a:cxn ang="0">
                    <a:pos x="T2" y="T3"/>
                  </a:cxn>
                  <a:cxn ang="0">
                    <a:pos x="T4" y="T5"/>
                  </a:cxn>
                </a:cxnLst>
                <a:rect l="0" t="0" r="r" b="b"/>
                <a:pathLst>
                  <a:path w="6" h="3">
                    <a:moveTo>
                      <a:pt x="0" y="0"/>
                    </a:moveTo>
                    <a:cubicBezTo>
                      <a:pt x="2" y="2"/>
                      <a:pt x="4" y="3"/>
                      <a:pt x="6" y="3"/>
                    </a:cubicBezTo>
                    <a:cubicBezTo>
                      <a:pt x="5"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0" name="Freeform 1262">
                <a:extLst>
                  <a:ext uri="{FF2B5EF4-FFF2-40B4-BE49-F238E27FC236}">
                    <a16:creationId xmlns:a16="http://schemas.microsoft.com/office/drawing/2014/main" id="{972C95E0-116E-401E-97C7-BF31AE561F44}"/>
                  </a:ext>
                </a:extLst>
              </p:cNvPr>
              <p:cNvSpPr>
                <a:spLocks/>
              </p:cNvSpPr>
              <p:nvPr/>
            </p:nvSpPr>
            <p:spPr bwMode="auto">
              <a:xfrm>
                <a:off x="2783" y="1426"/>
                <a:ext cx="9" cy="21"/>
              </a:xfrm>
              <a:custGeom>
                <a:avLst/>
                <a:gdLst>
                  <a:gd name="T0" fmla="*/ 0 w 4"/>
                  <a:gd name="T1" fmla="*/ 0 h 9"/>
                  <a:gd name="T2" fmla="*/ 3 w 4"/>
                  <a:gd name="T3" fmla="*/ 9 h 9"/>
                  <a:gd name="T4" fmla="*/ 4 w 4"/>
                  <a:gd name="T5" fmla="*/ 2 h 9"/>
                  <a:gd name="T6" fmla="*/ 0 w 4"/>
                  <a:gd name="T7" fmla="*/ 0 h 9"/>
                </a:gdLst>
                <a:ahLst/>
                <a:cxnLst>
                  <a:cxn ang="0">
                    <a:pos x="T0" y="T1"/>
                  </a:cxn>
                  <a:cxn ang="0">
                    <a:pos x="T2" y="T3"/>
                  </a:cxn>
                  <a:cxn ang="0">
                    <a:pos x="T4" y="T5"/>
                  </a:cxn>
                  <a:cxn ang="0">
                    <a:pos x="T6" y="T7"/>
                  </a:cxn>
                </a:cxnLst>
                <a:rect l="0" t="0" r="r" b="b"/>
                <a:pathLst>
                  <a:path w="4" h="9">
                    <a:moveTo>
                      <a:pt x="0" y="0"/>
                    </a:moveTo>
                    <a:cubicBezTo>
                      <a:pt x="1" y="2"/>
                      <a:pt x="1" y="9"/>
                      <a:pt x="3" y="9"/>
                    </a:cubicBezTo>
                    <a:cubicBezTo>
                      <a:pt x="4" y="7"/>
                      <a:pt x="3" y="4"/>
                      <a:pt x="4"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1" name="Freeform 1263">
                <a:extLst>
                  <a:ext uri="{FF2B5EF4-FFF2-40B4-BE49-F238E27FC236}">
                    <a16:creationId xmlns:a16="http://schemas.microsoft.com/office/drawing/2014/main" id="{C25D5C25-F19C-47D7-86D5-41ABA853ECEC}"/>
                  </a:ext>
                </a:extLst>
              </p:cNvPr>
              <p:cNvSpPr>
                <a:spLocks/>
              </p:cNvSpPr>
              <p:nvPr/>
            </p:nvSpPr>
            <p:spPr bwMode="auto">
              <a:xfrm>
                <a:off x="446" y="1102"/>
                <a:ext cx="49" cy="61"/>
              </a:xfrm>
              <a:custGeom>
                <a:avLst/>
                <a:gdLst>
                  <a:gd name="T0" fmla="*/ 8 w 21"/>
                  <a:gd name="T1" fmla="*/ 0 h 26"/>
                  <a:gd name="T2" fmla="*/ 3 w 21"/>
                  <a:gd name="T3" fmla="*/ 3 h 26"/>
                  <a:gd name="T4" fmla="*/ 6 w 21"/>
                  <a:gd name="T5" fmla="*/ 16 h 26"/>
                  <a:gd name="T6" fmla="*/ 16 w 21"/>
                  <a:gd name="T7" fmla="*/ 26 h 26"/>
                  <a:gd name="T8" fmla="*/ 18 w 21"/>
                  <a:gd name="T9" fmla="*/ 15 h 26"/>
                  <a:gd name="T10" fmla="*/ 11 w 21"/>
                  <a:gd name="T11" fmla="*/ 2 h 26"/>
                  <a:gd name="T12" fmla="*/ 8 w 2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1" h="26">
                    <a:moveTo>
                      <a:pt x="8" y="0"/>
                    </a:moveTo>
                    <a:cubicBezTo>
                      <a:pt x="6" y="0"/>
                      <a:pt x="4" y="2"/>
                      <a:pt x="3" y="3"/>
                    </a:cubicBezTo>
                    <a:cubicBezTo>
                      <a:pt x="0" y="8"/>
                      <a:pt x="3" y="12"/>
                      <a:pt x="6" y="16"/>
                    </a:cubicBezTo>
                    <a:cubicBezTo>
                      <a:pt x="9" y="20"/>
                      <a:pt x="10" y="24"/>
                      <a:pt x="16" y="26"/>
                    </a:cubicBezTo>
                    <a:cubicBezTo>
                      <a:pt x="21" y="20"/>
                      <a:pt x="21" y="21"/>
                      <a:pt x="18" y="15"/>
                    </a:cubicBezTo>
                    <a:cubicBezTo>
                      <a:pt x="16" y="11"/>
                      <a:pt x="13" y="6"/>
                      <a:pt x="11" y="2"/>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2" name="Freeform 1264">
                <a:extLst>
                  <a:ext uri="{FF2B5EF4-FFF2-40B4-BE49-F238E27FC236}">
                    <a16:creationId xmlns:a16="http://schemas.microsoft.com/office/drawing/2014/main" id="{A7B3C5FC-2D44-4B49-A535-311E95465C71}"/>
                  </a:ext>
                </a:extLst>
              </p:cNvPr>
              <p:cNvSpPr>
                <a:spLocks/>
              </p:cNvSpPr>
              <p:nvPr/>
            </p:nvSpPr>
            <p:spPr bwMode="auto">
              <a:xfrm>
                <a:off x="2315" y="1560"/>
                <a:ext cx="75" cy="31"/>
              </a:xfrm>
              <a:custGeom>
                <a:avLst/>
                <a:gdLst>
                  <a:gd name="T0" fmla="*/ 23 w 32"/>
                  <a:gd name="T1" fmla="*/ 0 h 13"/>
                  <a:gd name="T2" fmla="*/ 21 w 32"/>
                  <a:gd name="T3" fmla="*/ 0 h 13"/>
                  <a:gd name="T4" fmla="*/ 17 w 32"/>
                  <a:gd name="T5" fmla="*/ 2 h 13"/>
                  <a:gd name="T6" fmla="*/ 11 w 32"/>
                  <a:gd name="T7" fmla="*/ 4 h 13"/>
                  <a:gd name="T8" fmla="*/ 10 w 32"/>
                  <a:gd name="T9" fmla="*/ 4 h 13"/>
                  <a:gd name="T10" fmla="*/ 6 w 32"/>
                  <a:gd name="T11" fmla="*/ 3 h 13"/>
                  <a:gd name="T12" fmla="*/ 3 w 32"/>
                  <a:gd name="T13" fmla="*/ 5 h 13"/>
                  <a:gd name="T14" fmla="*/ 0 w 32"/>
                  <a:gd name="T15" fmla="*/ 13 h 13"/>
                  <a:gd name="T16" fmla="*/ 10 w 32"/>
                  <a:gd name="T17" fmla="*/ 10 h 13"/>
                  <a:gd name="T18" fmla="*/ 14 w 32"/>
                  <a:gd name="T19" fmla="*/ 10 h 13"/>
                  <a:gd name="T20" fmla="*/ 18 w 32"/>
                  <a:gd name="T21" fmla="*/ 11 h 13"/>
                  <a:gd name="T22" fmla="*/ 27 w 32"/>
                  <a:gd name="T23" fmla="*/ 6 h 13"/>
                  <a:gd name="T24" fmla="*/ 25 w 32"/>
                  <a:gd name="T25" fmla="*/ 1 h 13"/>
                  <a:gd name="T26" fmla="*/ 23 w 32"/>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3">
                    <a:moveTo>
                      <a:pt x="23" y="0"/>
                    </a:moveTo>
                    <a:cubicBezTo>
                      <a:pt x="22" y="0"/>
                      <a:pt x="22" y="0"/>
                      <a:pt x="21" y="0"/>
                    </a:cubicBezTo>
                    <a:cubicBezTo>
                      <a:pt x="20" y="1"/>
                      <a:pt x="18" y="1"/>
                      <a:pt x="17" y="2"/>
                    </a:cubicBezTo>
                    <a:cubicBezTo>
                      <a:pt x="15" y="3"/>
                      <a:pt x="13" y="4"/>
                      <a:pt x="11" y="4"/>
                    </a:cubicBezTo>
                    <a:cubicBezTo>
                      <a:pt x="11" y="4"/>
                      <a:pt x="10" y="4"/>
                      <a:pt x="10" y="4"/>
                    </a:cubicBezTo>
                    <a:cubicBezTo>
                      <a:pt x="8" y="4"/>
                      <a:pt x="7" y="3"/>
                      <a:pt x="6" y="3"/>
                    </a:cubicBezTo>
                    <a:cubicBezTo>
                      <a:pt x="5" y="3"/>
                      <a:pt x="4" y="4"/>
                      <a:pt x="3" y="5"/>
                    </a:cubicBezTo>
                    <a:cubicBezTo>
                      <a:pt x="1" y="7"/>
                      <a:pt x="1" y="9"/>
                      <a:pt x="0" y="13"/>
                    </a:cubicBezTo>
                    <a:cubicBezTo>
                      <a:pt x="4" y="11"/>
                      <a:pt x="6" y="10"/>
                      <a:pt x="10" y="10"/>
                    </a:cubicBezTo>
                    <a:cubicBezTo>
                      <a:pt x="11" y="10"/>
                      <a:pt x="12" y="10"/>
                      <a:pt x="14" y="10"/>
                    </a:cubicBezTo>
                    <a:cubicBezTo>
                      <a:pt x="15" y="10"/>
                      <a:pt x="17" y="11"/>
                      <a:pt x="18" y="11"/>
                    </a:cubicBezTo>
                    <a:cubicBezTo>
                      <a:pt x="21" y="11"/>
                      <a:pt x="23" y="9"/>
                      <a:pt x="27" y="6"/>
                    </a:cubicBezTo>
                    <a:cubicBezTo>
                      <a:pt x="32" y="3"/>
                      <a:pt x="28" y="2"/>
                      <a:pt x="25" y="1"/>
                    </a:cubicBezTo>
                    <a:cubicBezTo>
                      <a:pt x="24" y="0"/>
                      <a:pt x="23" y="0"/>
                      <a:pt x="2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3" name="Freeform 1265">
                <a:extLst>
                  <a:ext uri="{FF2B5EF4-FFF2-40B4-BE49-F238E27FC236}">
                    <a16:creationId xmlns:a16="http://schemas.microsoft.com/office/drawing/2014/main" id="{8E0F55A6-B55B-4D41-99AF-55E155B11E6F}"/>
                  </a:ext>
                </a:extLst>
              </p:cNvPr>
              <p:cNvSpPr>
                <a:spLocks/>
              </p:cNvSpPr>
              <p:nvPr/>
            </p:nvSpPr>
            <p:spPr bwMode="auto">
              <a:xfrm>
                <a:off x="2679" y="1530"/>
                <a:ext cx="42" cy="61"/>
              </a:xfrm>
              <a:custGeom>
                <a:avLst/>
                <a:gdLst>
                  <a:gd name="T0" fmla="*/ 16 w 18"/>
                  <a:gd name="T1" fmla="*/ 0 h 26"/>
                  <a:gd name="T2" fmla="*/ 4 w 18"/>
                  <a:gd name="T3" fmla="*/ 12 h 26"/>
                  <a:gd name="T4" fmla="*/ 1 w 18"/>
                  <a:gd name="T5" fmla="*/ 17 h 26"/>
                  <a:gd name="T6" fmla="*/ 0 w 18"/>
                  <a:gd name="T7" fmla="*/ 17 h 26"/>
                  <a:gd name="T8" fmla="*/ 0 w 18"/>
                  <a:gd name="T9" fmla="*/ 17 h 26"/>
                  <a:gd name="T10" fmla="*/ 0 w 18"/>
                  <a:gd name="T11" fmla="*/ 17 h 26"/>
                  <a:gd name="T12" fmla="*/ 1 w 18"/>
                  <a:gd name="T13" fmla="*/ 18 h 26"/>
                  <a:gd name="T14" fmla="*/ 1 w 18"/>
                  <a:gd name="T15" fmla="*/ 18 h 26"/>
                  <a:gd name="T16" fmla="*/ 1 w 18"/>
                  <a:gd name="T17" fmla="*/ 23 h 26"/>
                  <a:gd name="T18" fmla="*/ 2 w 18"/>
                  <a:gd name="T19" fmla="*/ 25 h 26"/>
                  <a:gd name="T20" fmla="*/ 4 w 18"/>
                  <a:gd name="T21" fmla="*/ 26 h 26"/>
                  <a:gd name="T22" fmla="*/ 7 w 18"/>
                  <a:gd name="T23" fmla="*/ 25 h 26"/>
                  <a:gd name="T24" fmla="*/ 8 w 18"/>
                  <a:gd name="T25" fmla="*/ 22 h 26"/>
                  <a:gd name="T26" fmla="*/ 10 w 18"/>
                  <a:gd name="T27" fmla="*/ 20 h 26"/>
                  <a:gd name="T28" fmla="*/ 15 w 18"/>
                  <a:gd name="T29" fmla="*/ 15 h 26"/>
                  <a:gd name="T30" fmla="*/ 17 w 18"/>
                  <a:gd name="T31" fmla="*/ 8 h 26"/>
                  <a:gd name="T32" fmla="*/ 18 w 18"/>
                  <a:gd name="T33" fmla="*/ 2 h 26"/>
                  <a:gd name="T34" fmla="*/ 16 w 18"/>
                  <a:gd name="T3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6">
                    <a:moveTo>
                      <a:pt x="16" y="0"/>
                    </a:moveTo>
                    <a:cubicBezTo>
                      <a:pt x="12" y="3"/>
                      <a:pt x="6" y="7"/>
                      <a:pt x="4" y="12"/>
                    </a:cubicBezTo>
                    <a:cubicBezTo>
                      <a:pt x="3" y="14"/>
                      <a:pt x="4" y="17"/>
                      <a:pt x="1" y="17"/>
                    </a:cubicBezTo>
                    <a:cubicBezTo>
                      <a:pt x="1" y="17"/>
                      <a:pt x="1" y="17"/>
                      <a:pt x="0" y="17"/>
                    </a:cubicBezTo>
                    <a:cubicBezTo>
                      <a:pt x="0" y="17"/>
                      <a:pt x="0" y="17"/>
                      <a:pt x="0" y="17"/>
                    </a:cubicBezTo>
                    <a:cubicBezTo>
                      <a:pt x="0" y="17"/>
                      <a:pt x="0" y="17"/>
                      <a:pt x="0" y="17"/>
                    </a:cubicBezTo>
                    <a:cubicBezTo>
                      <a:pt x="0" y="17"/>
                      <a:pt x="1" y="18"/>
                      <a:pt x="1" y="18"/>
                    </a:cubicBezTo>
                    <a:cubicBezTo>
                      <a:pt x="1" y="18"/>
                      <a:pt x="1" y="18"/>
                      <a:pt x="1" y="18"/>
                    </a:cubicBezTo>
                    <a:cubicBezTo>
                      <a:pt x="1" y="23"/>
                      <a:pt x="1" y="23"/>
                      <a:pt x="1" y="23"/>
                    </a:cubicBezTo>
                    <a:cubicBezTo>
                      <a:pt x="1" y="26"/>
                      <a:pt x="0" y="25"/>
                      <a:pt x="2" y="25"/>
                    </a:cubicBezTo>
                    <a:cubicBezTo>
                      <a:pt x="2" y="26"/>
                      <a:pt x="3" y="26"/>
                      <a:pt x="4" y="26"/>
                    </a:cubicBezTo>
                    <a:cubicBezTo>
                      <a:pt x="5" y="26"/>
                      <a:pt x="6" y="26"/>
                      <a:pt x="7" y="25"/>
                    </a:cubicBezTo>
                    <a:cubicBezTo>
                      <a:pt x="8" y="22"/>
                      <a:pt x="8" y="22"/>
                      <a:pt x="8" y="22"/>
                    </a:cubicBezTo>
                    <a:cubicBezTo>
                      <a:pt x="9" y="21"/>
                      <a:pt x="9" y="21"/>
                      <a:pt x="10" y="20"/>
                    </a:cubicBezTo>
                    <a:cubicBezTo>
                      <a:pt x="11" y="18"/>
                      <a:pt x="13" y="17"/>
                      <a:pt x="15" y="15"/>
                    </a:cubicBezTo>
                    <a:cubicBezTo>
                      <a:pt x="16" y="13"/>
                      <a:pt x="16" y="10"/>
                      <a:pt x="17" y="8"/>
                    </a:cubicBezTo>
                    <a:cubicBezTo>
                      <a:pt x="15" y="7"/>
                      <a:pt x="15" y="3"/>
                      <a:pt x="18" y="2"/>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4" name="Freeform 1266">
                <a:extLst>
                  <a:ext uri="{FF2B5EF4-FFF2-40B4-BE49-F238E27FC236}">
                    <a16:creationId xmlns:a16="http://schemas.microsoft.com/office/drawing/2014/main" id="{E413DD91-1012-4422-B8A4-B377E469D199}"/>
                  </a:ext>
                </a:extLst>
              </p:cNvPr>
              <p:cNvSpPr>
                <a:spLocks/>
              </p:cNvSpPr>
              <p:nvPr/>
            </p:nvSpPr>
            <p:spPr bwMode="auto">
              <a:xfrm>
                <a:off x="2981" y="1149"/>
                <a:ext cx="95" cy="21"/>
              </a:xfrm>
              <a:custGeom>
                <a:avLst/>
                <a:gdLst>
                  <a:gd name="T0" fmla="*/ 0 w 40"/>
                  <a:gd name="T1" fmla="*/ 0 h 9"/>
                  <a:gd name="T2" fmla="*/ 28 w 40"/>
                  <a:gd name="T3" fmla="*/ 9 h 9"/>
                  <a:gd name="T4" fmla="*/ 30 w 40"/>
                  <a:gd name="T5" fmla="*/ 8 h 9"/>
                  <a:gd name="T6" fmla="*/ 31 w 40"/>
                  <a:gd name="T7" fmla="*/ 8 h 9"/>
                  <a:gd name="T8" fmla="*/ 40 w 40"/>
                  <a:gd name="T9" fmla="*/ 6 h 9"/>
                  <a:gd name="T10" fmla="*/ 36 w 40"/>
                  <a:gd name="T11" fmla="*/ 4 h 9"/>
                  <a:gd name="T12" fmla="*/ 27 w 40"/>
                  <a:gd name="T13" fmla="*/ 4 h 9"/>
                  <a:gd name="T14" fmla="*/ 20 w 40"/>
                  <a:gd name="T15" fmla="*/ 2 h 9"/>
                  <a:gd name="T16" fmla="*/ 0 w 40"/>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9">
                    <a:moveTo>
                      <a:pt x="0" y="0"/>
                    </a:moveTo>
                    <a:cubicBezTo>
                      <a:pt x="1" y="1"/>
                      <a:pt x="21" y="9"/>
                      <a:pt x="28" y="9"/>
                    </a:cubicBezTo>
                    <a:cubicBezTo>
                      <a:pt x="29" y="9"/>
                      <a:pt x="30" y="9"/>
                      <a:pt x="30" y="8"/>
                    </a:cubicBezTo>
                    <a:cubicBezTo>
                      <a:pt x="30" y="8"/>
                      <a:pt x="31" y="8"/>
                      <a:pt x="31" y="8"/>
                    </a:cubicBezTo>
                    <a:cubicBezTo>
                      <a:pt x="34" y="8"/>
                      <a:pt x="38" y="7"/>
                      <a:pt x="40" y="6"/>
                    </a:cubicBezTo>
                    <a:cubicBezTo>
                      <a:pt x="39" y="5"/>
                      <a:pt x="38" y="5"/>
                      <a:pt x="36" y="4"/>
                    </a:cubicBezTo>
                    <a:cubicBezTo>
                      <a:pt x="33" y="4"/>
                      <a:pt x="30" y="4"/>
                      <a:pt x="27" y="4"/>
                    </a:cubicBezTo>
                    <a:cubicBezTo>
                      <a:pt x="25" y="3"/>
                      <a:pt x="22" y="2"/>
                      <a:pt x="20" y="2"/>
                    </a:cubicBezTo>
                    <a:cubicBezTo>
                      <a:pt x="13" y="1"/>
                      <a:pt x="6"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5" name="Freeform 1267">
                <a:extLst>
                  <a:ext uri="{FF2B5EF4-FFF2-40B4-BE49-F238E27FC236}">
                    <a16:creationId xmlns:a16="http://schemas.microsoft.com/office/drawing/2014/main" id="{661FF150-D1EB-4C8A-85A0-F88380B71DEB}"/>
                  </a:ext>
                </a:extLst>
              </p:cNvPr>
              <p:cNvSpPr>
                <a:spLocks/>
              </p:cNvSpPr>
              <p:nvPr/>
            </p:nvSpPr>
            <p:spPr bwMode="auto">
              <a:xfrm>
                <a:off x="2041" y="1388"/>
                <a:ext cx="12" cy="28"/>
              </a:xfrm>
              <a:custGeom>
                <a:avLst/>
                <a:gdLst>
                  <a:gd name="T0" fmla="*/ 4 w 5"/>
                  <a:gd name="T1" fmla="*/ 0 h 12"/>
                  <a:gd name="T2" fmla="*/ 0 w 5"/>
                  <a:gd name="T3" fmla="*/ 6 h 12"/>
                  <a:gd name="T4" fmla="*/ 4 w 5"/>
                  <a:gd name="T5" fmla="*/ 12 h 12"/>
                  <a:gd name="T6" fmla="*/ 5 w 5"/>
                  <a:gd name="T7" fmla="*/ 0 h 12"/>
                  <a:gd name="T8" fmla="*/ 4 w 5"/>
                  <a:gd name="T9" fmla="*/ 0 h 12"/>
                </a:gdLst>
                <a:ahLst/>
                <a:cxnLst>
                  <a:cxn ang="0">
                    <a:pos x="T0" y="T1"/>
                  </a:cxn>
                  <a:cxn ang="0">
                    <a:pos x="T2" y="T3"/>
                  </a:cxn>
                  <a:cxn ang="0">
                    <a:pos x="T4" y="T5"/>
                  </a:cxn>
                  <a:cxn ang="0">
                    <a:pos x="T6" y="T7"/>
                  </a:cxn>
                  <a:cxn ang="0">
                    <a:pos x="T8" y="T9"/>
                  </a:cxn>
                </a:cxnLst>
                <a:rect l="0" t="0" r="r" b="b"/>
                <a:pathLst>
                  <a:path w="5" h="12">
                    <a:moveTo>
                      <a:pt x="4" y="0"/>
                    </a:moveTo>
                    <a:cubicBezTo>
                      <a:pt x="2" y="0"/>
                      <a:pt x="0" y="3"/>
                      <a:pt x="0" y="6"/>
                    </a:cubicBezTo>
                    <a:cubicBezTo>
                      <a:pt x="1" y="9"/>
                      <a:pt x="4" y="10"/>
                      <a:pt x="4" y="12"/>
                    </a:cubicBezTo>
                    <a:cubicBezTo>
                      <a:pt x="5" y="8"/>
                      <a:pt x="5" y="4"/>
                      <a:pt x="5"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6" name="Freeform 1268">
                <a:extLst>
                  <a:ext uri="{FF2B5EF4-FFF2-40B4-BE49-F238E27FC236}">
                    <a16:creationId xmlns:a16="http://schemas.microsoft.com/office/drawing/2014/main" id="{47756204-06FB-4A48-B87D-70F826003C1E}"/>
                  </a:ext>
                </a:extLst>
              </p:cNvPr>
              <p:cNvSpPr>
                <a:spLocks/>
              </p:cNvSpPr>
              <p:nvPr/>
            </p:nvSpPr>
            <p:spPr bwMode="auto">
              <a:xfrm>
                <a:off x="1833" y="920"/>
                <a:ext cx="444" cy="510"/>
              </a:xfrm>
              <a:custGeom>
                <a:avLst/>
                <a:gdLst>
                  <a:gd name="T0" fmla="*/ 168 w 188"/>
                  <a:gd name="T1" fmla="*/ 11 h 216"/>
                  <a:gd name="T2" fmla="*/ 150 w 188"/>
                  <a:gd name="T3" fmla="*/ 26 h 216"/>
                  <a:gd name="T4" fmla="*/ 121 w 188"/>
                  <a:gd name="T5" fmla="*/ 26 h 216"/>
                  <a:gd name="T6" fmla="*/ 91 w 188"/>
                  <a:gd name="T7" fmla="*/ 20 h 216"/>
                  <a:gd name="T8" fmla="*/ 85 w 188"/>
                  <a:gd name="T9" fmla="*/ 20 h 216"/>
                  <a:gd name="T10" fmla="*/ 74 w 188"/>
                  <a:gd name="T11" fmla="*/ 14 h 216"/>
                  <a:gd name="T12" fmla="*/ 59 w 188"/>
                  <a:gd name="T13" fmla="*/ 19 h 216"/>
                  <a:gd name="T14" fmla="*/ 49 w 188"/>
                  <a:gd name="T15" fmla="*/ 27 h 216"/>
                  <a:gd name="T16" fmla="*/ 45 w 188"/>
                  <a:gd name="T17" fmla="*/ 22 h 216"/>
                  <a:gd name="T18" fmla="*/ 36 w 188"/>
                  <a:gd name="T19" fmla="*/ 31 h 216"/>
                  <a:gd name="T20" fmla="*/ 28 w 188"/>
                  <a:gd name="T21" fmla="*/ 51 h 216"/>
                  <a:gd name="T22" fmla="*/ 30 w 188"/>
                  <a:gd name="T23" fmla="*/ 57 h 216"/>
                  <a:gd name="T24" fmla="*/ 18 w 188"/>
                  <a:gd name="T25" fmla="*/ 84 h 216"/>
                  <a:gd name="T26" fmla="*/ 3 w 188"/>
                  <a:gd name="T27" fmla="*/ 128 h 216"/>
                  <a:gd name="T28" fmla="*/ 2 w 188"/>
                  <a:gd name="T29" fmla="*/ 133 h 216"/>
                  <a:gd name="T30" fmla="*/ 8 w 188"/>
                  <a:gd name="T31" fmla="*/ 153 h 216"/>
                  <a:gd name="T32" fmla="*/ 24 w 188"/>
                  <a:gd name="T33" fmla="*/ 164 h 216"/>
                  <a:gd name="T34" fmla="*/ 19 w 188"/>
                  <a:gd name="T35" fmla="*/ 213 h 216"/>
                  <a:gd name="T36" fmla="*/ 26 w 188"/>
                  <a:gd name="T37" fmla="*/ 216 h 216"/>
                  <a:gd name="T38" fmla="*/ 44 w 188"/>
                  <a:gd name="T39" fmla="*/ 211 h 216"/>
                  <a:gd name="T40" fmla="*/ 48 w 188"/>
                  <a:gd name="T41" fmla="*/ 184 h 216"/>
                  <a:gd name="T42" fmla="*/ 43 w 188"/>
                  <a:gd name="T43" fmla="*/ 138 h 216"/>
                  <a:gd name="T44" fmla="*/ 62 w 188"/>
                  <a:gd name="T45" fmla="*/ 127 h 216"/>
                  <a:gd name="T46" fmla="*/ 63 w 188"/>
                  <a:gd name="T47" fmla="*/ 154 h 216"/>
                  <a:gd name="T48" fmla="*/ 71 w 188"/>
                  <a:gd name="T49" fmla="*/ 161 h 216"/>
                  <a:gd name="T50" fmla="*/ 77 w 188"/>
                  <a:gd name="T51" fmla="*/ 166 h 216"/>
                  <a:gd name="T52" fmla="*/ 79 w 188"/>
                  <a:gd name="T53" fmla="*/ 184 h 216"/>
                  <a:gd name="T54" fmla="*/ 94 w 188"/>
                  <a:gd name="T55" fmla="*/ 192 h 216"/>
                  <a:gd name="T56" fmla="*/ 110 w 188"/>
                  <a:gd name="T57" fmla="*/ 179 h 216"/>
                  <a:gd name="T58" fmla="*/ 117 w 188"/>
                  <a:gd name="T59" fmla="*/ 170 h 216"/>
                  <a:gd name="T60" fmla="*/ 109 w 188"/>
                  <a:gd name="T61" fmla="*/ 166 h 216"/>
                  <a:gd name="T62" fmla="*/ 105 w 188"/>
                  <a:gd name="T63" fmla="*/ 159 h 216"/>
                  <a:gd name="T64" fmla="*/ 105 w 188"/>
                  <a:gd name="T65" fmla="*/ 159 h 216"/>
                  <a:gd name="T66" fmla="*/ 105 w 188"/>
                  <a:gd name="T67" fmla="*/ 144 h 216"/>
                  <a:gd name="T68" fmla="*/ 94 w 188"/>
                  <a:gd name="T69" fmla="*/ 129 h 216"/>
                  <a:gd name="T70" fmla="*/ 84 w 188"/>
                  <a:gd name="T71" fmla="*/ 114 h 216"/>
                  <a:gd name="T72" fmla="*/ 79 w 188"/>
                  <a:gd name="T73" fmla="*/ 110 h 216"/>
                  <a:gd name="T74" fmla="*/ 75 w 188"/>
                  <a:gd name="T75" fmla="*/ 105 h 216"/>
                  <a:gd name="T76" fmla="*/ 112 w 188"/>
                  <a:gd name="T77" fmla="*/ 85 h 216"/>
                  <a:gd name="T78" fmla="*/ 125 w 188"/>
                  <a:gd name="T79" fmla="*/ 76 h 216"/>
                  <a:gd name="T80" fmla="*/ 128 w 188"/>
                  <a:gd name="T81" fmla="*/ 67 h 216"/>
                  <a:gd name="T82" fmla="*/ 115 w 188"/>
                  <a:gd name="T83" fmla="*/ 73 h 216"/>
                  <a:gd name="T84" fmla="*/ 101 w 188"/>
                  <a:gd name="T85" fmla="*/ 73 h 216"/>
                  <a:gd name="T86" fmla="*/ 84 w 188"/>
                  <a:gd name="T87" fmla="*/ 75 h 216"/>
                  <a:gd name="T88" fmla="*/ 76 w 188"/>
                  <a:gd name="T89" fmla="*/ 79 h 216"/>
                  <a:gd name="T90" fmla="*/ 65 w 188"/>
                  <a:gd name="T91" fmla="*/ 92 h 216"/>
                  <a:gd name="T92" fmla="*/ 55 w 188"/>
                  <a:gd name="T93" fmla="*/ 91 h 216"/>
                  <a:gd name="T94" fmla="*/ 47 w 188"/>
                  <a:gd name="T95" fmla="*/ 77 h 216"/>
                  <a:gd name="T96" fmla="*/ 45 w 188"/>
                  <a:gd name="T97" fmla="*/ 78 h 216"/>
                  <a:gd name="T98" fmla="*/ 36 w 188"/>
                  <a:gd name="T99" fmla="*/ 57 h 216"/>
                  <a:gd name="T100" fmla="*/ 65 w 188"/>
                  <a:gd name="T101" fmla="*/ 36 h 216"/>
                  <a:gd name="T102" fmla="*/ 96 w 188"/>
                  <a:gd name="T103" fmla="*/ 37 h 216"/>
                  <a:gd name="T104" fmla="*/ 107 w 188"/>
                  <a:gd name="T105" fmla="*/ 36 h 216"/>
                  <a:gd name="T106" fmla="*/ 136 w 188"/>
                  <a:gd name="T107" fmla="*/ 42 h 216"/>
                  <a:gd name="T108" fmla="*/ 160 w 188"/>
                  <a:gd name="T109" fmla="*/ 39 h 216"/>
                  <a:gd name="T110" fmla="*/ 184 w 188"/>
                  <a:gd name="T111" fmla="*/ 1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216">
                    <a:moveTo>
                      <a:pt x="182" y="0"/>
                    </a:moveTo>
                    <a:cubicBezTo>
                      <a:pt x="179" y="0"/>
                      <a:pt x="177" y="3"/>
                      <a:pt x="176" y="5"/>
                    </a:cubicBezTo>
                    <a:cubicBezTo>
                      <a:pt x="174" y="9"/>
                      <a:pt x="173" y="9"/>
                      <a:pt x="168" y="11"/>
                    </a:cubicBezTo>
                    <a:cubicBezTo>
                      <a:pt x="170" y="14"/>
                      <a:pt x="170" y="14"/>
                      <a:pt x="168" y="17"/>
                    </a:cubicBezTo>
                    <a:cubicBezTo>
                      <a:pt x="165" y="19"/>
                      <a:pt x="160" y="21"/>
                      <a:pt x="157" y="23"/>
                    </a:cubicBezTo>
                    <a:cubicBezTo>
                      <a:pt x="155" y="23"/>
                      <a:pt x="151" y="25"/>
                      <a:pt x="150" y="26"/>
                    </a:cubicBezTo>
                    <a:cubicBezTo>
                      <a:pt x="145" y="26"/>
                      <a:pt x="140" y="25"/>
                      <a:pt x="134" y="25"/>
                    </a:cubicBezTo>
                    <a:cubicBezTo>
                      <a:pt x="132" y="25"/>
                      <a:pt x="130" y="24"/>
                      <a:pt x="129" y="24"/>
                    </a:cubicBezTo>
                    <a:cubicBezTo>
                      <a:pt x="126" y="24"/>
                      <a:pt x="124" y="25"/>
                      <a:pt x="121" y="26"/>
                    </a:cubicBezTo>
                    <a:cubicBezTo>
                      <a:pt x="120" y="26"/>
                      <a:pt x="119" y="26"/>
                      <a:pt x="117" y="26"/>
                    </a:cubicBezTo>
                    <a:cubicBezTo>
                      <a:pt x="112" y="26"/>
                      <a:pt x="105" y="23"/>
                      <a:pt x="99" y="21"/>
                    </a:cubicBezTo>
                    <a:cubicBezTo>
                      <a:pt x="97" y="20"/>
                      <a:pt x="94" y="20"/>
                      <a:pt x="91" y="20"/>
                    </a:cubicBezTo>
                    <a:cubicBezTo>
                      <a:pt x="90" y="20"/>
                      <a:pt x="89" y="20"/>
                      <a:pt x="88" y="20"/>
                    </a:cubicBezTo>
                    <a:cubicBezTo>
                      <a:pt x="87" y="20"/>
                      <a:pt x="86" y="20"/>
                      <a:pt x="86" y="20"/>
                    </a:cubicBezTo>
                    <a:cubicBezTo>
                      <a:pt x="85" y="20"/>
                      <a:pt x="85" y="20"/>
                      <a:pt x="85" y="20"/>
                    </a:cubicBezTo>
                    <a:cubicBezTo>
                      <a:pt x="80" y="20"/>
                      <a:pt x="81" y="17"/>
                      <a:pt x="78" y="14"/>
                    </a:cubicBezTo>
                    <a:cubicBezTo>
                      <a:pt x="77" y="14"/>
                      <a:pt x="77" y="13"/>
                      <a:pt x="76" y="13"/>
                    </a:cubicBezTo>
                    <a:cubicBezTo>
                      <a:pt x="76" y="13"/>
                      <a:pt x="75" y="13"/>
                      <a:pt x="74" y="14"/>
                    </a:cubicBezTo>
                    <a:cubicBezTo>
                      <a:pt x="73" y="14"/>
                      <a:pt x="72" y="14"/>
                      <a:pt x="71" y="14"/>
                    </a:cubicBezTo>
                    <a:cubicBezTo>
                      <a:pt x="67" y="14"/>
                      <a:pt x="64" y="13"/>
                      <a:pt x="60" y="12"/>
                    </a:cubicBezTo>
                    <a:cubicBezTo>
                      <a:pt x="60" y="14"/>
                      <a:pt x="60" y="17"/>
                      <a:pt x="59" y="19"/>
                    </a:cubicBezTo>
                    <a:cubicBezTo>
                      <a:pt x="58" y="21"/>
                      <a:pt x="56" y="22"/>
                      <a:pt x="54" y="25"/>
                    </a:cubicBezTo>
                    <a:cubicBezTo>
                      <a:pt x="53" y="26"/>
                      <a:pt x="53" y="27"/>
                      <a:pt x="52" y="27"/>
                    </a:cubicBezTo>
                    <a:cubicBezTo>
                      <a:pt x="51" y="27"/>
                      <a:pt x="50" y="27"/>
                      <a:pt x="49" y="27"/>
                    </a:cubicBezTo>
                    <a:cubicBezTo>
                      <a:pt x="47" y="26"/>
                      <a:pt x="46" y="25"/>
                      <a:pt x="46" y="24"/>
                    </a:cubicBezTo>
                    <a:cubicBezTo>
                      <a:pt x="45" y="24"/>
                      <a:pt x="46" y="22"/>
                      <a:pt x="46" y="22"/>
                    </a:cubicBezTo>
                    <a:cubicBezTo>
                      <a:pt x="45" y="22"/>
                      <a:pt x="45" y="22"/>
                      <a:pt x="45" y="22"/>
                    </a:cubicBezTo>
                    <a:cubicBezTo>
                      <a:pt x="44" y="22"/>
                      <a:pt x="44" y="23"/>
                      <a:pt x="43" y="24"/>
                    </a:cubicBezTo>
                    <a:cubicBezTo>
                      <a:pt x="42" y="26"/>
                      <a:pt x="41" y="28"/>
                      <a:pt x="39" y="29"/>
                    </a:cubicBezTo>
                    <a:cubicBezTo>
                      <a:pt x="38" y="29"/>
                      <a:pt x="37" y="30"/>
                      <a:pt x="36" y="31"/>
                    </a:cubicBezTo>
                    <a:cubicBezTo>
                      <a:pt x="36" y="33"/>
                      <a:pt x="35" y="35"/>
                      <a:pt x="35" y="36"/>
                    </a:cubicBezTo>
                    <a:cubicBezTo>
                      <a:pt x="34" y="37"/>
                      <a:pt x="33" y="37"/>
                      <a:pt x="33" y="37"/>
                    </a:cubicBezTo>
                    <a:cubicBezTo>
                      <a:pt x="30" y="41"/>
                      <a:pt x="29" y="46"/>
                      <a:pt x="28" y="51"/>
                    </a:cubicBezTo>
                    <a:cubicBezTo>
                      <a:pt x="27" y="50"/>
                      <a:pt x="27" y="50"/>
                      <a:pt x="26" y="50"/>
                    </a:cubicBezTo>
                    <a:cubicBezTo>
                      <a:pt x="26" y="50"/>
                      <a:pt x="25" y="50"/>
                      <a:pt x="25" y="51"/>
                    </a:cubicBezTo>
                    <a:cubicBezTo>
                      <a:pt x="28" y="53"/>
                      <a:pt x="29" y="53"/>
                      <a:pt x="30" y="57"/>
                    </a:cubicBezTo>
                    <a:cubicBezTo>
                      <a:pt x="31" y="61"/>
                      <a:pt x="33" y="71"/>
                      <a:pt x="30" y="73"/>
                    </a:cubicBezTo>
                    <a:cubicBezTo>
                      <a:pt x="29" y="72"/>
                      <a:pt x="28" y="71"/>
                      <a:pt x="28" y="69"/>
                    </a:cubicBezTo>
                    <a:cubicBezTo>
                      <a:pt x="23" y="73"/>
                      <a:pt x="21" y="79"/>
                      <a:pt x="18" y="84"/>
                    </a:cubicBezTo>
                    <a:cubicBezTo>
                      <a:pt x="17" y="85"/>
                      <a:pt x="16" y="86"/>
                      <a:pt x="16" y="87"/>
                    </a:cubicBezTo>
                    <a:cubicBezTo>
                      <a:pt x="14" y="93"/>
                      <a:pt x="18" y="100"/>
                      <a:pt x="15" y="106"/>
                    </a:cubicBezTo>
                    <a:cubicBezTo>
                      <a:pt x="11" y="113"/>
                      <a:pt x="7" y="120"/>
                      <a:pt x="3" y="128"/>
                    </a:cubicBezTo>
                    <a:cubicBezTo>
                      <a:pt x="2" y="127"/>
                      <a:pt x="2" y="127"/>
                      <a:pt x="1" y="127"/>
                    </a:cubicBezTo>
                    <a:cubicBezTo>
                      <a:pt x="1" y="127"/>
                      <a:pt x="1" y="127"/>
                      <a:pt x="1" y="128"/>
                    </a:cubicBezTo>
                    <a:cubicBezTo>
                      <a:pt x="0" y="129"/>
                      <a:pt x="2" y="132"/>
                      <a:pt x="2" y="133"/>
                    </a:cubicBezTo>
                    <a:cubicBezTo>
                      <a:pt x="4" y="137"/>
                      <a:pt x="1" y="137"/>
                      <a:pt x="1" y="140"/>
                    </a:cubicBezTo>
                    <a:cubicBezTo>
                      <a:pt x="0" y="142"/>
                      <a:pt x="3" y="146"/>
                      <a:pt x="4" y="149"/>
                    </a:cubicBezTo>
                    <a:cubicBezTo>
                      <a:pt x="6" y="152"/>
                      <a:pt x="6" y="153"/>
                      <a:pt x="8" y="153"/>
                    </a:cubicBezTo>
                    <a:cubicBezTo>
                      <a:pt x="9" y="153"/>
                      <a:pt x="10" y="153"/>
                      <a:pt x="11" y="153"/>
                    </a:cubicBezTo>
                    <a:cubicBezTo>
                      <a:pt x="14" y="153"/>
                      <a:pt x="17" y="152"/>
                      <a:pt x="21" y="152"/>
                    </a:cubicBezTo>
                    <a:cubicBezTo>
                      <a:pt x="20" y="158"/>
                      <a:pt x="20" y="159"/>
                      <a:pt x="24" y="164"/>
                    </a:cubicBezTo>
                    <a:cubicBezTo>
                      <a:pt x="26" y="168"/>
                      <a:pt x="24" y="177"/>
                      <a:pt x="24" y="182"/>
                    </a:cubicBezTo>
                    <a:cubicBezTo>
                      <a:pt x="24" y="187"/>
                      <a:pt x="22" y="193"/>
                      <a:pt x="20" y="198"/>
                    </a:cubicBezTo>
                    <a:cubicBezTo>
                      <a:pt x="18" y="204"/>
                      <a:pt x="17" y="208"/>
                      <a:pt x="19" y="213"/>
                    </a:cubicBezTo>
                    <a:cubicBezTo>
                      <a:pt x="20" y="212"/>
                      <a:pt x="21" y="212"/>
                      <a:pt x="21" y="212"/>
                    </a:cubicBezTo>
                    <a:cubicBezTo>
                      <a:pt x="23" y="212"/>
                      <a:pt x="24" y="215"/>
                      <a:pt x="26" y="216"/>
                    </a:cubicBezTo>
                    <a:cubicBezTo>
                      <a:pt x="26" y="216"/>
                      <a:pt x="26" y="216"/>
                      <a:pt x="26" y="216"/>
                    </a:cubicBezTo>
                    <a:cubicBezTo>
                      <a:pt x="28" y="216"/>
                      <a:pt x="29" y="215"/>
                      <a:pt x="30" y="214"/>
                    </a:cubicBezTo>
                    <a:cubicBezTo>
                      <a:pt x="34" y="213"/>
                      <a:pt x="37" y="214"/>
                      <a:pt x="41" y="212"/>
                    </a:cubicBezTo>
                    <a:cubicBezTo>
                      <a:pt x="43" y="212"/>
                      <a:pt x="44" y="211"/>
                      <a:pt x="44" y="211"/>
                    </a:cubicBezTo>
                    <a:cubicBezTo>
                      <a:pt x="46" y="211"/>
                      <a:pt x="47" y="212"/>
                      <a:pt x="49" y="214"/>
                    </a:cubicBezTo>
                    <a:cubicBezTo>
                      <a:pt x="47" y="208"/>
                      <a:pt x="43" y="202"/>
                      <a:pt x="45" y="196"/>
                    </a:cubicBezTo>
                    <a:cubicBezTo>
                      <a:pt x="46" y="192"/>
                      <a:pt x="49" y="187"/>
                      <a:pt x="48" y="184"/>
                    </a:cubicBezTo>
                    <a:cubicBezTo>
                      <a:pt x="47" y="176"/>
                      <a:pt x="47" y="171"/>
                      <a:pt x="48" y="164"/>
                    </a:cubicBezTo>
                    <a:cubicBezTo>
                      <a:pt x="49" y="158"/>
                      <a:pt x="49" y="152"/>
                      <a:pt x="47" y="146"/>
                    </a:cubicBezTo>
                    <a:cubicBezTo>
                      <a:pt x="47" y="143"/>
                      <a:pt x="43" y="141"/>
                      <a:pt x="43" y="138"/>
                    </a:cubicBezTo>
                    <a:cubicBezTo>
                      <a:pt x="44" y="135"/>
                      <a:pt x="45" y="135"/>
                      <a:pt x="48" y="133"/>
                    </a:cubicBezTo>
                    <a:cubicBezTo>
                      <a:pt x="52" y="130"/>
                      <a:pt x="55" y="127"/>
                      <a:pt x="60" y="127"/>
                    </a:cubicBezTo>
                    <a:cubicBezTo>
                      <a:pt x="60" y="127"/>
                      <a:pt x="61" y="127"/>
                      <a:pt x="62" y="127"/>
                    </a:cubicBezTo>
                    <a:cubicBezTo>
                      <a:pt x="69" y="128"/>
                      <a:pt x="67" y="137"/>
                      <a:pt x="66" y="142"/>
                    </a:cubicBezTo>
                    <a:cubicBezTo>
                      <a:pt x="66" y="145"/>
                      <a:pt x="63" y="146"/>
                      <a:pt x="62" y="149"/>
                    </a:cubicBezTo>
                    <a:cubicBezTo>
                      <a:pt x="61" y="151"/>
                      <a:pt x="60" y="151"/>
                      <a:pt x="63" y="154"/>
                    </a:cubicBezTo>
                    <a:cubicBezTo>
                      <a:pt x="65" y="156"/>
                      <a:pt x="67" y="159"/>
                      <a:pt x="70" y="161"/>
                    </a:cubicBezTo>
                    <a:cubicBezTo>
                      <a:pt x="70" y="161"/>
                      <a:pt x="70" y="161"/>
                      <a:pt x="70" y="161"/>
                    </a:cubicBezTo>
                    <a:cubicBezTo>
                      <a:pt x="70" y="161"/>
                      <a:pt x="70" y="161"/>
                      <a:pt x="71" y="161"/>
                    </a:cubicBezTo>
                    <a:cubicBezTo>
                      <a:pt x="71" y="161"/>
                      <a:pt x="71" y="161"/>
                      <a:pt x="71" y="161"/>
                    </a:cubicBezTo>
                    <a:cubicBezTo>
                      <a:pt x="71" y="161"/>
                      <a:pt x="71" y="161"/>
                      <a:pt x="72" y="161"/>
                    </a:cubicBezTo>
                    <a:cubicBezTo>
                      <a:pt x="74" y="163"/>
                      <a:pt x="74" y="165"/>
                      <a:pt x="77" y="166"/>
                    </a:cubicBezTo>
                    <a:cubicBezTo>
                      <a:pt x="78" y="167"/>
                      <a:pt x="79" y="167"/>
                      <a:pt x="80" y="167"/>
                    </a:cubicBezTo>
                    <a:cubicBezTo>
                      <a:pt x="82" y="169"/>
                      <a:pt x="83" y="168"/>
                      <a:pt x="82" y="172"/>
                    </a:cubicBezTo>
                    <a:cubicBezTo>
                      <a:pt x="81" y="175"/>
                      <a:pt x="77" y="182"/>
                      <a:pt x="79" y="184"/>
                    </a:cubicBezTo>
                    <a:cubicBezTo>
                      <a:pt x="83" y="188"/>
                      <a:pt x="84" y="191"/>
                      <a:pt x="89" y="191"/>
                    </a:cubicBezTo>
                    <a:cubicBezTo>
                      <a:pt x="90" y="192"/>
                      <a:pt x="91" y="192"/>
                      <a:pt x="93" y="192"/>
                    </a:cubicBezTo>
                    <a:cubicBezTo>
                      <a:pt x="93" y="192"/>
                      <a:pt x="94" y="192"/>
                      <a:pt x="94" y="192"/>
                    </a:cubicBezTo>
                    <a:cubicBezTo>
                      <a:pt x="98" y="190"/>
                      <a:pt x="98" y="186"/>
                      <a:pt x="99" y="181"/>
                    </a:cubicBezTo>
                    <a:cubicBezTo>
                      <a:pt x="99" y="181"/>
                      <a:pt x="105" y="180"/>
                      <a:pt x="107" y="179"/>
                    </a:cubicBezTo>
                    <a:cubicBezTo>
                      <a:pt x="110" y="179"/>
                      <a:pt x="110" y="179"/>
                      <a:pt x="110" y="179"/>
                    </a:cubicBezTo>
                    <a:cubicBezTo>
                      <a:pt x="113" y="179"/>
                      <a:pt x="113" y="181"/>
                      <a:pt x="115" y="181"/>
                    </a:cubicBezTo>
                    <a:cubicBezTo>
                      <a:pt x="115" y="181"/>
                      <a:pt x="116" y="180"/>
                      <a:pt x="118" y="179"/>
                    </a:cubicBezTo>
                    <a:cubicBezTo>
                      <a:pt x="121" y="177"/>
                      <a:pt x="121" y="170"/>
                      <a:pt x="117" y="170"/>
                    </a:cubicBezTo>
                    <a:cubicBezTo>
                      <a:pt x="116" y="170"/>
                      <a:pt x="115" y="170"/>
                      <a:pt x="114" y="171"/>
                    </a:cubicBezTo>
                    <a:cubicBezTo>
                      <a:pt x="113" y="169"/>
                      <a:pt x="113" y="166"/>
                      <a:pt x="110" y="166"/>
                    </a:cubicBezTo>
                    <a:cubicBezTo>
                      <a:pt x="110" y="166"/>
                      <a:pt x="110" y="166"/>
                      <a:pt x="109" y="166"/>
                    </a:cubicBezTo>
                    <a:cubicBezTo>
                      <a:pt x="111" y="166"/>
                      <a:pt x="111" y="165"/>
                      <a:pt x="112" y="165"/>
                    </a:cubicBezTo>
                    <a:cubicBezTo>
                      <a:pt x="111" y="163"/>
                      <a:pt x="108" y="160"/>
                      <a:pt x="106" y="159"/>
                    </a:cubicBezTo>
                    <a:cubicBezTo>
                      <a:pt x="106" y="159"/>
                      <a:pt x="106" y="159"/>
                      <a:pt x="105" y="159"/>
                    </a:cubicBezTo>
                    <a:cubicBezTo>
                      <a:pt x="105" y="159"/>
                      <a:pt x="105" y="159"/>
                      <a:pt x="105" y="159"/>
                    </a:cubicBezTo>
                    <a:cubicBezTo>
                      <a:pt x="105" y="159"/>
                      <a:pt x="105" y="159"/>
                      <a:pt x="105" y="159"/>
                    </a:cubicBezTo>
                    <a:cubicBezTo>
                      <a:pt x="105" y="159"/>
                      <a:pt x="105" y="159"/>
                      <a:pt x="105" y="159"/>
                    </a:cubicBezTo>
                    <a:cubicBezTo>
                      <a:pt x="104" y="159"/>
                      <a:pt x="102" y="158"/>
                      <a:pt x="101" y="157"/>
                    </a:cubicBezTo>
                    <a:cubicBezTo>
                      <a:pt x="99" y="153"/>
                      <a:pt x="103" y="154"/>
                      <a:pt x="104" y="151"/>
                    </a:cubicBezTo>
                    <a:cubicBezTo>
                      <a:pt x="106" y="148"/>
                      <a:pt x="102" y="145"/>
                      <a:pt x="105" y="144"/>
                    </a:cubicBezTo>
                    <a:cubicBezTo>
                      <a:pt x="106" y="144"/>
                      <a:pt x="107" y="143"/>
                      <a:pt x="107" y="143"/>
                    </a:cubicBezTo>
                    <a:cubicBezTo>
                      <a:pt x="102" y="139"/>
                      <a:pt x="103" y="139"/>
                      <a:pt x="99" y="134"/>
                    </a:cubicBezTo>
                    <a:cubicBezTo>
                      <a:pt x="98" y="131"/>
                      <a:pt x="96" y="131"/>
                      <a:pt x="94" y="129"/>
                    </a:cubicBezTo>
                    <a:cubicBezTo>
                      <a:pt x="92" y="124"/>
                      <a:pt x="90" y="117"/>
                      <a:pt x="85" y="114"/>
                    </a:cubicBezTo>
                    <a:cubicBezTo>
                      <a:pt x="85" y="114"/>
                      <a:pt x="85" y="114"/>
                      <a:pt x="84" y="114"/>
                    </a:cubicBezTo>
                    <a:cubicBezTo>
                      <a:pt x="84" y="114"/>
                      <a:pt x="84" y="114"/>
                      <a:pt x="84" y="114"/>
                    </a:cubicBezTo>
                    <a:cubicBezTo>
                      <a:pt x="83" y="114"/>
                      <a:pt x="83" y="114"/>
                      <a:pt x="83" y="114"/>
                    </a:cubicBezTo>
                    <a:cubicBezTo>
                      <a:pt x="82" y="114"/>
                      <a:pt x="82" y="114"/>
                      <a:pt x="82" y="114"/>
                    </a:cubicBezTo>
                    <a:cubicBezTo>
                      <a:pt x="80" y="113"/>
                      <a:pt x="79" y="110"/>
                      <a:pt x="79" y="110"/>
                    </a:cubicBezTo>
                    <a:cubicBezTo>
                      <a:pt x="78" y="108"/>
                      <a:pt x="77" y="107"/>
                      <a:pt x="76" y="107"/>
                    </a:cubicBezTo>
                    <a:cubicBezTo>
                      <a:pt x="76" y="107"/>
                      <a:pt x="75" y="107"/>
                      <a:pt x="75" y="108"/>
                    </a:cubicBezTo>
                    <a:cubicBezTo>
                      <a:pt x="74" y="107"/>
                      <a:pt x="74" y="106"/>
                      <a:pt x="75" y="105"/>
                    </a:cubicBezTo>
                    <a:cubicBezTo>
                      <a:pt x="78" y="105"/>
                      <a:pt x="80" y="106"/>
                      <a:pt x="82" y="106"/>
                    </a:cubicBezTo>
                    <a:cubicBezTo>
                      <a:pt x="83" y="106"/>
                      <a:pt x="85" y="106"/>
                      <a:pt x="88" y="103"/>
                    </a:cubicBezTo>
                    <a:cubicBezTo>
                      <a:pt x="96" y="96"/>
                      <a:pt x="106" y="92"/>
                      <a:pt x="112" y="85"/>
                    </a:cubicBezTo>
                    <a:cubicBezTo>
                      <a:pt x="114" y="83"/>
                      <a:pt x="115" y="81"/>
                      <a:pt x="117" y="79"/>
                    </a:cubicBezTo>
                    <a:cubicBezTo>
                      <a:pt x="119" y="77"/>
                      <a:pt x="119" y="77"/>
                      <a:pt x="123" y="76"/>
                    </a:cubicBezTo>
                    <a:cubicBezTo>
                      <a:pt x="124" y="76"/>
                      <a:pt x="124" y="76"/>
                      <a:pt x="125" y="76"/>
                    </a:cubicBezTo>
                    <a:cubicBezTo>
                      <a:pt x="128" y="76"/>
                      <a:pt x="130" y="78"/>
                      <a:pt x="133" y="80"/>
                    </a:cubicBezTo>
                    <a:cubicBezTo>
                      <a:pt x="134" y="75"/>
                      <a:pt x="137" y="70"/>
                      <a:pt x="131" y="68"/>
                    </a:cubicBezTo>
                    <a:cubicBezTo>
                      <a:pt x="130" y="67"/>
                      <a:pt x="129" y="67"/>
                      <a:pt x="128" y="67"/>
                    </a:cubicBezTo>
                    <a:cubicBezTo>
                      <a:pt x="128" y="67"/>
                      <a:pt x="127" y="67"/>
                      <a:pt x="127" y="67"/>
                    </a:cubicBezTo>
                    <a:cubicBezTo>
                      <a:pt x="124" y="67"/>
                      <a:pt x="122" y="68"/>
                      <a:pt x="120" y="72"/>
                    </a:cubicBezTo>
                    <a:cubicBezTo>
                      <a:pt x="124" y="73"/>
                      <a:pt x="118" y="73"/>
                      <a:pt x="115" y="73"/>
                    </a:cubicBezTo>
                    <a:cubicBezTo>
                      <a:pt x="114" y="73"/>
                      <a:pt x="114" y="73"/>
                      <a:pt x="113" y="73"/>
                    </a:cubicBezTo>
                    <a:cubicBezTo>
                      <a:pt x="111" y="73"/>
                      <a:pt x="108" y="72"/>
                      <a:pt x="105" y="72"/>
                    </a:cubicBezTo>
                    <a:cubicBezTo>
                      <a:pt x="103" y="72"/>
                      <a:pt x="102" y="72"/>
                      <a:pt x="101" y="73"/>
                    </a:cubicBezTo>
                    <a:cubicBezTo>
                      <a:pt x="97" y="73"/>
                      <a:pt x="94" y="76"/>
                      <a:pt x="91" y="78"/>
                    </a:cubicBezTo>
                    <a:cubicBezTo>
                      <a:pt x="90" y="78"/>
                      <a:pt x="90" y="78"/>
                      <a:pt x="89" y="78"/>
                    </a:cubicBezTo>
                    <a:cubicBezTo>
                      <a:pt x="88" y="78"/>
                      <a:pt x="86" y="76"/>
                      <a:pt x="84" y="75"/>
                    </a:cubicBezTo>
                    <a:cubicBezTo>
                      <a:pt x="83" y="75"/>
                      <a:pt x="84" y="74"/>
                      <a:pt x="83" y="74"/>
                    </a:cubicBezTo>
                    <a:cubicBezTo>
                      <a:pt x="83" y="74"/>
                      <a:pt x="83" y="74"/>
                      <a:pt x="82" y="75"/>
                    </a:cubicBezTo>
                    <a:cubicBezTo>
                      <a:pt x="80" y="76"/>
                      <a:pt x="78" y="78"/>
                      <a:pt x="76" y="79"/>
                    </a:cubicBezTo>
                    <a:cubicBezTo>
                      <a:pt x="75" y="81"/>
                      <a:pt x="73" y="82"/>
                      <a:pt x="72" y="84"/>
                    </a:cubicBezTo>
                    <a:cubicBezTo>
                      <a:pt x="71" y="86"/>
                      <a:pt x="70" y="89"/>
                      <a:pt x="68" y="90"/>
                    </a:cubicBezTo>
                    <a:cubicBezTo>
                      <a:pt x="68" y="91"/>
                      <a:pt x="66" y="92"/>
                      <a:pt x="65" y="92"/>
                    </a:cubicBezTo>
                    <a:cubicBezTo>
                      <a:pt x="64" y="92"/>
                      <a:pt x="63" y="91"/>
                      <a:pt x="62" y="91"/>
                    </a:cubicBezTo>
                    <a:cubicBezTo>
                      <a:pt x="61" y="91"/>
                      <a:pt x="59" y="90"/>
                      <a:pt x="58" y="90"/>
                    </a:cubicBezTo>
                    <a:cubicBezTo>
                      <a:pt x="57" y="90"/>
                      <a:pt x="56" y="90"/>
                      <a:pt x="55" y="91"/>
                    </a:cubicBezTo>
                    <a:cubicBezTo>
                      <a:pt x="53" y="87"/>
                      <a:pt x="53" y="80"/>
                      <a:pt x="48" y="78"/>
                    </a:cubicBezTo>
                    <a:cubicBezTo>
                      <a:pt x="48" y="78"/>
                      <a:pt x="48" y="77"/>
                      <a:pt x="47" y="77"/>
                    </a:cubicBezTo>
                    <a:cubicBezTo>
                      <a:pt x="47" y="77"/>
                      <a:pt x="47" y="77"/>
                      <a:pt x="47" y="77"/>
                    </a:cubicBezTo>
                    <a:cubicBezTo>
                      <a:pt x="46" y="77"/>
                      <a:pt x="46" y="77"/>
                      <a:pt x="46" y="77"/>
                    </a:cubicBezTo>
                    <a:cubicBezTo>
                      <a:pt x="46" y="78"/>
                      <a:pt x="45" y="78"/>
                      <a:pt x="45" y="78"/>
                    </a:cubicBezTo>
                    <a:cubicBezTo>
                      <a:pt x="45" y="78"/>
                      <a:pt x="45" y="78"/>
                      <a:pt x="45" y="78"/>
                    </a:cubicBezTo>
                    <a:cubicBezTo>
                      <a:pt x="43" y="77"/>
                      <a:pt x="41" y="74"/>
                      <a:pt x="40" y="72"/>
                    </a:cubicBezTo>
                    <a:cubicBezTo>
                      <a:pt x="38" y="70"/>
                      <a:pt x="38" y="68"/>
                      <a:pt x="37" y="65"/>
                    </a:cubicBezTo>
                    <a:cubicBezTo>
                      <a:pt x="37" y="63"/>
                      <a:pt x="36" y="60"/>
                      <a:pt x="36" y="57"/>
                    </a:cubicBezTo>
                    <a:cubicBezTo>
                      <a:pt x="36" y="51"/>
                      <a:pt x="40" y="41"/>
                      <a:pt x="46" y="37"/>
                    </a:cubicBezTo>
                    <a:cubicBezTo>
                      <a:pt x="49" y="35"/>
                      <a:pt x="52" y="35"/>
                      <a:pt x="55" y="35"/>
                    </a:cubicBezTo>
                    <a:cubicBezTo>
                      <a:pt x="58" y="35"/>
                      <a:pt x="61" y="35"/>
                      <a:pt x="65" y="36"/>
                    </a:cubicBezTo>
                    <a:cubicBezTo>
                      <a:pt x="68" y="37"/>
                      <a:pt x="71" y="37"/>
                      <a:pt x="74" y="37"/>
                    </a:cubicBezTo>
                    <a:cubicBezTo>
                      <a:pt x="74" y="37"/>
                      <a:pt x="74" y="37"/>
                      <a:pt x="74" y="37"/>
                    </a:cubicBezTo>
                    <a:cubicBezTo>
                      <a:pt x="82" y="37"/>
                      <a:pt x="89" y="37"/>
                      <a:pt x="96" y="37"/>
                    </a:cubicBezTo>
                    <a:cubicBezTo>
                      <a:pt x="97" y="37"/>
                      <a:pt x="98" y="37"/>
                      <a:pt x="99" y="37"/>
                    </a:cubicBezTo>
                    <a:cubicBezTo>
                      <a:pt x="99" y="37"/>
                      <a:pt x="99" y="37"/>
                      <a:pt x="100" y="37"/>
                    </a:cubicBezTo>
                    <a:cubicBezTo>
                      <a:pt x="102" y="37"/>
                      <a:pt x="104" y="37"/>
                      <a:pt x="107" y="36"/>
                    </a:cubicBezTo>
                    <a:cubicBezTo>
                      <a:pt x="109" y="36"/>
                      <a:pt x="112" y="36"/>
                      <a:pt x="114" y="36"/>
                    </a:cubicBezTo>
                    <a:cubicBezTo>
                      <a:pt x="118" y="36"/>
                      <a:pt x="122" y="36"/>
                      <a:pt x="125" y="38"/>
                    </a:cubicBezTo>
                    <a:cubicBezTo>
                      <a:pt x="129" y="39"/>
                      <a:pt x="133" y="41"/>
                      <a:pt x="136" y="42"/>
                    </a:cubicBezTo>
                    <a:cubicBezTo>
                      <a:pt x="138" y="42"/>
                      <a:pt x="140" y="43"/>
                      <a:pt x="141" y="43"/>
                    </a:cubicBezTo>
                    <a:cubicBezTo>
                      <a:pt x="143" y="43"/>
                      <a:pt x="145" y="42"/>
                      <a:pt x="148" y="42"/>
                    </a:cubicBezTo>
                    <a:cubicBezTo>
                      <a:pt x="151" y="41"/>
                      <a:pt x="158" y="41"/>
                      <a:pt x="160" y="39"/>
                    </a:cubicBezTo>
                    <a:cubicBezTo>
                      <a:pt x="164" y="35"/>
                      <a:pt x="167" y="31"/>
                      <a:pt x="171" y="28"/>
                    </a:cubicBezTo>
                    <a:cubicBezTo>
                      <a:pt x="173" y="25"/>
                      <a:pt x="177" y="24"/>
                      <a:pt x="178" y="21"/>
                    </a:cubicBezTo>
                    <a:cubicBezTo>
                      <a:pt x="180" y="18"/>
                      <a:pt x="183" y="14"/>
                      <a:pt x="184" y="10"/>
                    </a:cubicBezTo>
                    <a:cubicBezTo>
                      <a:pt x="186" y="5"/>
                      <a:pt x="188" y="3"/>
                      <a:pt x="182" y="1"/>
                    </a:cubicBezTo>
                    <a:cubicBezTo>
                      <a:pt x="182" y="0"/>
                      <a:pt x="182"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7" name="Freeform 1269">
                <a:extLst>
                  <a:ext uri="{FF2B5EF4-FFF2-40B4-BE49-F238E27FC236}">
                    <a16:creationId xmlns:a16="http://schemas.microsoft.com/office/drawing/2014/main" id="{85420872-9B30-40AF-9450-568029524E36}"/>
                  </a:ext>
                </a:extLst>
              </p:cNvPr>
              <p:cNvSpPr>
                <a:spLocks/>
              </p:cNvSpPr>
              <p:nvPr/>
            </p:nvSpPr>
            <p:spPr bwMode="auto">
              <a:xfrm>
                <a:off x="2584" y="1118"/>
                <a:ext cx="10" cy="5"/>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0"/>
                      <a:pt x="1" y="0"/>
                      <a:pt x="0" y="2"/>
                    </a:cubicBezTo>
                    <a:cubicBezTo>
                      <a:pt x="2" y="1"/>
                      <a:pt x="3"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8" name="Freeform 1270">
                <a:extLst>
                  <a:ext uri="{FF2B5EF4-FFF2-40B4-BE49-F238E27FC236}">
                    <a16:creationId xmlns:a16="http://schemas.microsoft.com/office/drawing/2014/main" id="{281C32B4-65EB-4B5E-806F-705726F72BBD}"/>
                  </a:ext>
                </a:extLst>
              </p:cNvPr>
              <p:cNvSpPr>
                <a:spLocks/>
              </p:cNvSpPr>
              <p:nvPr/>
            </p:nvSpPr>
            <p:spPr bwMode="auto">
              <a:xfrm>
                <a:off x="1632" y="1608"/>
                <a:ext cx="73" cy="47"/>
              </a:xfrm>
              <a:custGeom>
                <a:avLst/>
                <a:gdLst>
                  <a:gd name="T0" fmla="*/ 18 w 31"/>
                  <a:gd name="T1" fmla="*/ 0 h 20"/>
                  <a:gd name="T2" fmla="*/ 7 w 31"/>
                  <a:gd name="T3" fmla="*/ 8 h 20"/>
                  <a:gd name="T4" fmla="*/ 0 w 31"/>
                  <a:gd name="T5" fmla="*/ 16 h 20"/>
                  <a:gd name="T6" fmla="*/ 3 w 31"/>
                  <a:gd name="T7" fmla="*/ 17 h 20"/>
                  <a:gd name="T8" fmla="*/ 3 w 31"/>
                  <a:gd name="T9" fmla="*/ 17 h 20"/>
                  <a:gd name="T10" fmla="*/ 4 w 31"/>
                  <a:gd name="T11" fmla="*/ 18 h 20"/>
                  <a:gd name="T12" fmla="*/ 5 w 31"/>
                  <a:gd name="T13" fmla="*/ 18 h 20"/>
                  <a:gd name="T14" fmla="*/ 5 w 31"/>
                  <a:gd name="T15" fmla="*/ 18 h 20"/>
                  <a:gd name="T16" fmla="*/ 12 w 31"/>
                  <a:gd name="T17" fmla="*/ 19 h 20"/>
                  <a:gd name="T18" fmla="*/ 15 w 31"/>
                  <a:gd name="T19" fmla="*/ 20 h 20"/>
                  <a:gd name="T20" fmla="*/ 17 w 31"/>
                  <a:gd name="T21" fmla="*/ 19 h 20"/>
                  <a:gd name="T22" fmla="*/ 18 w 31"/>
                  <a:gd name="T23" fmla="*/ 17 h 20"/>
                  <a:gd name="T24" fmla="*/ 19 w 31"/>
                  <a:gd name="T25" fmla="*/ 17 h 20"/>
                  <a:gd name="T26" fmla="*/ 22 w 31"/>
                  <a:gd name="T27" fmla="*/ 18 h 20"/>
                  <a:gd name="T28" fmla="*/ 23 w 31"/>
                  <a:gd name="T29" fmla="*/ 0 h 20"/>
                  <a:gd name="T30" fmla="*/ 18 w 31"/>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0">
                    <a:moveTo>
                      <a:pt x="18" y="0"/>
                    </a:moveTo>
                    <a:cubicBezTo>
                      <a:pt x="12" y="0"/>
                      <a:pt x="5" y="2"/>
                      <a:pt x="7" y="8"/>
                    </a:cubicBezTo>
                    <a:cubicBezTo>
                      <a:pt x="9" y="13"/>
                      <a:pt x="3" y="15"/>
                      <a:pt x="0" y="16"/>
                    </a:cubicBezTo>
                    <a:cubicBezTo>
                      <a:pt x="1" y="17"/>
                      <a:pt x="2" y="17"/>
                      <a:pt x="3" y="17"/>
                    </a:cubicBezTo>
                    <a:cubicBezTo>
                      <a:pt x="3" y="17"/>
                      <a:pt x="3" y="17"/>
                      <a:pt x="3" y="17"/>
                    </a:cubicBezTo>
                    <a:cubicBezTo>
                      <a:pt x="3" y="17"/>
                      <a:pt x="3" y="18"/>
                      <a:pt x="4" y="18"/>
                    </a:cubicBezTo>
                    <a:cubicBezTo>
                      <a:pt x="4" y="18"/>
                      <a:pt x="5" y="18"/>
                      <a:pt x="5" y="18"/>
                    </a:cubicBezTo>
                    <a:cubicBezTo>
                      <a:pt x="5" y="18"/>
                      <a:pt x="5" y="18"/>
                      <a:pt x="5" y="18"/>
                    </a:cubicBezTo>
                    <a:cubicBezTo>
                      <a:pt x="6" y="19"/>
                      <a:pt x="9" y="18"/>
                      <a:pt x="12" y="19"/>
                    </a:cubicBezTo>
                    <a:cubicBezTo>
                      <a:pt x="14" y="20"/>
                      <a:pt x="14" y="20"/>
                      <a:pt x="15" y="20"/>
                    </a:cubicBezTo>
                    <a:cubicBezTo>
                      <a:pt x="15" y="20"/>
                      <a:pt x="16" y="20"/>
                      <a:pt x="17" y="19"/>
                    </a:cubicBezTo>
                    <a:cubicBezTo>
                      <a:pt x="19" y="19"/>
                      <a:pt x="16" y="17"/>
                      <a:pt x="18" y="17"/>
                    </a:cubicBezTo>
                    <a:cubicBezTo>
                      <a:pt x="18" y="17"/>
                      <a:pt x="19" y="17"/>
                      <a:pt x="19" y="17"/>
                    </a:cubicBezTo>
                    <a:cubicBezTo>
                      <a:pt x="20" y="17"/>
                      <a:pt x="21" y="18"/>
                      <a:pt x="22" y="18"/>
                    </a:cubicBezTo>
                    <a:cubicBezTo>
                      <a:pt x="18" y="16"/>
                      <a:pt x="31" y="4"/>
                      <a:pt x="23" y="0"/>
                    </a:cubicBezTo>
                    <a:cubicBezTo>
                      <a:pt x="22" y="0"/>
                      <a:pt x="20"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9" name="Freeform 1271">
                <a:extLst>
                  <a:ext uri="{FF2B5EF4-FFF2-40B4-BE49-F238E27FC236}">
                    <a16:creationId xmlns:a16="http://schemas.microsoft.com/office/drawing/2014/main" id="{B7049AE7-E01A-428C-95F3-BC7E28FA747B}"/>
                  </a:ext>
                </a:extLst>
              </p:cNvPr>
              <p:cNvSpPr>
                <a:spLocks/>
              </p:cNvSpPr>
              <p:nvPr/>
            </p:nvSpPr>
            <p:spPr bwMode="auto">
              <a:xfrm>
                <a:off x="1691" y="1596"/>
                <a:ext cx="170" cy="71"/>
              </a:xfrm>
              <a:custGeom>
                <a:avLst/>
                <a:gdLst>
                  <a:gd name="T0" fmla="*/ 37 w 72"/>
                  <a:gd name="T1" fmla="*/ 0 h 30"/>
                  <a:gd name="T2" fmla="*/ 31 w 72"/>
                  <a:gd name="T3" fmla="*/ 2 h 30"/>
                  <a:gd name="T4" fmla="*/ 35 w 72"/>
                  <a:gd name="T5" fmla="*/ 9 h 30"/>
                  <a:gd name="T6" fmla="*/ 46 w 72"/>
                  <a:gd name="T7" fmla="*/ 15 h 30"/>
                  <a:gd name="T8" fmla="*/ 33 w 72"/>
                  <a:gd name="T9" fmla="*/ 18 h 30"/>
                  <a:gd name="T10" fmla="*/ 31 w 72"/>
                  <a:gd name="T11" fmla="*/ 18 h 30"/>
                  <a:gd name="T12" fmla="*/ 30 w 72"/>
                  <a:gd name="T13" fmla="*/ 16 h 30"/>
                  <a:gd name="T14" fmla="*/ 19 w 72"/>
                  <a:gd name="T15" fmla="*/ 11 h 30"/>
                  <a:gd name="T16" fmla="*/ 13 w 72"/>
                  <a:gd name="T17" fmla="*/ 9 h 30"/>
                  <a:gd name="T18" fmla="*/ 7 w 72"/>
                  <a:gd name="T19" fmla="*/ 11 h 30"/>
                  <a:gd name="T20" fmla="*/ 3 w 72"/>
                  <a:gd name="T21" fmla="*/ 15 h 30"/>
                  <a:gd name="T22" fmla="*/ 2 w 72"/>
                  <a:gd name="T23" fmla="*/ 21 h 30"/>
                  <a:gd name="T24" fmla="*/ 7 w 72"/>
                  <a:gd name="T25" fmla="*/ 29 h 30"/>
                  <a:gd name="T26" fmla="*/ 11 w 72"/>
                  <a:gd name="T27" fmla="*/ 30 h 30"/>
                  <a:gd name="T28" fmla="*/ 12 w 72"/>
                  <a:gd name="T29" fmla="*/ 30 h 30"/>
                  <a:gd name="T30" fmla="*/ 31 w 72"/>
                  <a:gd name="T31" fmla="*/ 26 h 30"/>
                  <a:gd name="T32" fmla="*/ 42 w 72"/>
                  <a:gd name="T33" fmla="*/ 21 h 30"/>
                  <a:gd name="T34" fmla="*/ 50 w 72"/>
                  <a:gd name="T35" fmla="*/ 15 h 30"/>
                  <a:gd name="T36" fmla="*/ 50 w 72"/>
                  <a:gd name="T37" fmla="*/ 18 h 30"/>
                  <a:gd name="T38" fmla="*/ 52 w 72"/>
                  <a:gd name="T39" fmla="*/ 23 h 30"/>
                  <a:gd name="T40" fmla="*/ 52 w 72"/>
                  <a:gd name="T41" fmla="*/ 23 h 30"/>
                  <a:gd name="T42" fmla="*/ 59 w 72"/>
                  <a:gd name="T43" fmla="*/ 21 h 30"/>
                  <a:gd name="T44" fmla="*/ 72 w 72"/>
                  <a:gd name="T45" fmla="*/ 18 h 30"/>
                  <a:gd name="T46" fmla="*/ 72 w 72"/>
                  <a:gd name="T47" fmla="*/ 15 h 30"/>
                  <a:gd name="T48" fmla="*/ 69 w 72"/>
                  <a:gd name="T49" fmla="*/ 16 h 30"/>
                  <a:gd name="T50" fmla="*/ 67 w 72"/>
                  <a:gd name="T51" fmla="*/ 14 h 30"/>
                  <a:gd name="T52" fmla="*/ 68 w 72"/>
                  <a:gd name="T53" fmla="*/ 11 h 30"/>
                  <a:gd name="T54" fmla="*/ 64 w 72"/>
                  <a:gd name="T55" fmla="*/ 7 h 30"/>
                  <a:gd name="T56" fmla="*/ 64 w 72"/>
                  <a:gd name="T57" fmla="*/ 7 h 30"/>
                  <a:gd name="T58" fmla="*/ 58 w 72"/>
                  <a:gd name="T59" fmla="*/ 12 h 30"/>
                  <a:gd name="T60" fmla="*/ 53 w 72"/>
                  <a:gd name="T61" fmla="*/ 5 h 30"/>
                  <a:gd name="T62" fmla="*/ 47 w 72"/>
                  <a:gd name="T63" fmla="*/ 8 h 30"/>
                  <a:gd name="T64" fmla="*/ 37 w 72"/>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30">
                    <a:moveTo>
                      <a:pt x="37" y="0"/>
                    </a:moveTo>
                    <a:cubicBezTo>
                      <a:pt x="35" y="0"/>
                      <a:pt x="33" y="1"/>
                      <a:pt x="31" y="2"/>
                    </a:cubicBezTo>
                    <a:cubicBezTo>
                      <a:pt x="32" y="5"/>
                      <a:pt x="32" y="7"/>
                      <a:pt x="35" y="9"/>
                    </a:cubicBezTo>
                    <a:cubicBezTo>
                      <a:pt x="36" y="11"/>
                      <a:pt x="46" y="14"/>
                      <a:pt x="46" y="15"/>
                    </a:cubicBezTo>
                    <a:cubicBezTo>
                      <a:pt x="46" y="16"/>
                      <a:pt x="36" y="18"/>
                      <a:pt x="33" y="18"/>
                    </a:cubicBezTo>
                    <a:cubicBezTo>
                      <a:pt x="32" y="18"/>
                      <a:pt x="32" y="18"/>
                      <a:pt x="31" y="18"/>
                    </a:cubicBezTo>
                    <a:cubicBezTo>
                      <a:pt x="31" y="18"/>
                      <a:pt x="30" y="16"/>
                      <a:pt x="30" y="16"/>
                    </a:cubicBezTo>
                    <a:cubicBezTo>
                      <a:pt x="26" y="14"/>
                      <a:pt x="23" y="12"/>
                      <a:pt x="19" y="11"/>
                    </a:cubicBezTo>
                    <a:cubicBezTo>
                      <a:pt x="16" y="9"/>
                      <a:pt x="15" y="9"/>
                      <a:pt x="13" y="9"/>
                    </a:cubicBezTo>
                    <a:cubicBezTo>
                      <a:pt x="12" y="9"/>
                      <a:pt x="10" y="9"/>
                      <a:pt x="7" y="11"/>
                    </a:cubicBezTo>
                    <a:cubicBezTo>
                      <a:pt x="5" y="12"/>
                      <a:pt x="4" y="13"/>
                      <a:pt x="3" y="15"/>
                    </a:cubicBezTo>
                    <a:cubicBezTo>
                      <a:pt x="2" y="17"/>
                      <a:pt x="2" y="18"/>
                      <a:pt x="2" y="21"/>
                    </a:cubicBezTo>
                    <a:cubicBezTo>
                      <a:pt x="2" y="27"/>
                      <a:pt x="0" y="27"/>
                      <a:pt x="7" y="29"/>
                    </a:cubicBezTo>
                    <a:cubicBezTo>
                      <a:pt x="9" y="29"/>
                      <a:pt x="10" y="30"/>
                      <a:pt x="11" y="30"/>
                    </a:cubicBezTo>
                    <a:cubicBezTo>
                      <a:pt x="11" y="30"/>
                      <a:pt x="11" y="30"/>
                      <a:pt x="12" y="30"/>
                    </a:cubicBezTo>
                    <a:cubicBezTo>
                      <a:pt x="18" y="29"/>
                      <a:pt x="25" y="27"/>
                      <a:pt x="31" y="26"/>
                    </a:cubicBezTo>
                    <a:cubicBezTo>
                      <a:pt x="35" y="25"/>
                      <a:pt x="38" y="23"/>
                      <a:pt x="42" y="21"/>
                    </a:cubicBezTo>
                    <a:cubicBezTo>
                      <a:pt x="46" y="19"/>
                      <a:pt x="47" y="18"/>
                      <a:pt x="50" y="15"/>
                    </a:cubicBezTo>
                    <a:cubicBezTo>
                      <a:pt x="50" y="16"/>
                      <a:pt x="50" y="17"/>
                      <a:pt x="50" y="18"/>
                    </a:cubicBezTo>
                    <a:cubicBezTo>
                      <a:pt x="51" y="19"/>
                      <a:pt x="51" y="23"/>
                      <a:pt x="52" y="23"/>
                    </a:cubicBezTo>
                    <a:cubicBezTo>
                      <a:pt x="52" y="23"/>
                      <a:pt x="52" y="23"/>
                      <a:pt x="52" y="23"/>
                    </a:cubicBezTo>
                    <a:cubicBezTo>
                      <a:pt x="54" y="22"/>
                      <a:pt x="57" y="22"/>
                      <a:pt x="59" y="21"/>
                    </a:cubicBezTo>
                    <a:cubicBezTo>
                      <a:pt x="62" y="21"/>
                      <a:pt x="70" y="20"/>
                      <a:pt x="72" y="18"/>
                    </a:cubicBezTo>
                    <a:cubicBezTo>
                      <a:pt x="72" y="17"/>
                      <a:pt x="72" y="15"/>
                      <a:pt x="72" y="15"/>
                    </a:cubicBezTo>
                    <a:cubicBezTo>
                      <a:pt x="71" y="16"/>
                      <a:pt x="70" y="16"/>
                      <a:pt x="69" y="16"/>
                    </a:cubicBezTo>
                    <a:cubicBezTo>
                      <a:pt x="68" y="16"/>
                      <a:pt x="68" y="15"/>
                      <a:pt x="67" y="14"/>
                    </a:cubicBezTo>
                    <a:cubicBezTo>
                      <a:pt x="67" y="13"/>
                      <a:pt x="68" y="11"/>
                      <a:pt x="68" y="11"/>
                    </a:cubicBezTo>
                    <a:cubicBezTo>
                      <a:pt x="68" y="8"/>
                      <a:pt x="67" y="7"/>
                      <a:pt x="64" y="7"/>
                    </a:cubicBezTo>
                    <a:cubicBezTo>
                      <a:pt x="64" y="7"/>
                      <a:pt x="64" y="7"/>
                      <a:pt x="64" y="7"/>
                    </a:cubicBezTo>
                    <a:cubicBezTo>
                      <a:pt x="59" y="7"/>
                      <a:pt x="59" y="7"/>
                      <a:pt x="58" y="12"/>
                    </a:cubicBezTo>
                    <a:cubicBezTo>
                      <a:pt x="57" y="8"/>
                      <a:pt x="55" y="5"/>
                      <a:pt x="53" y="5"/>
                    </a:cubicBezTo>
                    <a:cubicBezTo>
                      <a:pt x="51" y="5"/>
                      <a:pt x="49" y="6"/>
                      <a:pt x="47" y="8"/>
                    </a:cubicBezTo>
                    <a:cubicBezTo>
                      <a:pt x="43" y="3"/>
                      <a:pt x="41" y="0"/>
                      <a:pt x="3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0" name="Freeform 1272">
                <a:extLst>
                  <a:ext uri="{FF2B5EF4-FFF2-40B4-BE49-F238E27FC236}">
                    <a16:creationId xmlns:a16="http://schemas.microsoft.com/office/drawing/2014/main" id="{0850C6D4-64E2-433D-8FD1-C43055DF4864}"/>
                  </a:ext>
                </a:extLst>
              </p:cNvPr>
              <p:cNvSpPr>
                <a:spLocks/>
              </p:cNvSpPr>
              <p:nvPr/>
            </p:nvSpPr>
            <p:spPr bwMode="auto">
              <a:xfrm>
                <a:off x="2421" y="1556"/>
                <a:ext cx="5" cy="9"/>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1" y="2"/>
                      <a:pt x="0" y="3"/>
                      <a:pt x="0"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1" name="Freeform 1273">
                <a:extLst>
                  <a:ext uri="{FF2B5EF4-FFF2-40B4-BE49-F238E27FC236}">
                    <a16:creationId xmlns:a16="http://schemas.microsoft.com/office/drawing/2014/main" id="{E38795C9-E7F9-4305-AB6A-1CFC354DC758}"/>
                  </a:ext>
                </a:extLst>
              </p:cNvPr>
              <p:cNvSpPr>
                <a:spLocks/>
              </p:cNvSpPr>
              <p:nvPr/>
            </p:nvSpPr>
            <p:spPr bwMode="auto">
              <a:xfrm>
                <a:off x="1585" y="1508"/>
                <a:ext cx="28" cy="12"/>
              </a:xfrm>
              <a:custGeom>
                <a:avLst/>
                <a:gdLst>
                  <a:gd name="T0" fmla="*/ 4 w 12"/>
                  <a:gd name="T1" fmla="*/ 0 h 5"/>
                  <a:gd name="T2" fmla="*/ 5 w 12"/>
                  <a:gd name="T3" fmla="*/ 5 h 5"/>
                  <a:gd name="T4" fmla="*/ 7 w 12"/>
                  <a:gd name="T5" fmla="*/ 5 h 5"/>
                  <a:gd name="T6" fmla="*/ 10 w 12"/>
                  <a:gd name="T7" fmla="*/ 3 h 5"/>
                  <a:gd name="T8" fmla="*/ 12 w 12"/>
                  <a:gd name="T9" fmla="*/ 3 h 5"/>
                  <a:gd name="T10" fmla="*/ 4 w 12"/>
                  <a:gd name="T11" fmla="*/ 0 h 5"/>
                </a:gdLst>
                <a:ahLst/>
                <a:cxnLst>
                  <a:cxn ang="0">
                    <a:pos x="T0" y="T1"/>
                  </a:cxn>
                  <a:cxn ang="0">
                    <a:pos x="T2" y="T3"/>
                  </a:cxn>
                  <a:cxn ang="0">
                    <a:pos x="T4" y="T5"/>
                  </a:cxn>
                  <a:cxn ang="0">
                    <a:pos x="T6" y="T7"/>
                  </a:cxn>
                  <a:cxn ang="0">
                    <a:pos x="T8" y="T9"/>
                  </a:cxn>
                  <a:cxn ang="0">
                    <a:pos x="T10" y="T11"/>
                  </a:cxn>
                </a:cxnLst>
                <a:rect l="0" t="0" r="r" b="b"/>
                <a:pathLst>
                  <a:path w="12" h="5">
                    <a:moveTo>
                      <a:pt x="4" y="0"/>
                    </a:moveTo>
                    <a:cubicBezTo>
                      <a:pt x="0" y="3"/>
                      <a:pt x="3" y="5"/>
                      <a:pt x="5" y="5"/>
                    </a:cubicBezTo>
                    <a:cubicBezTo>
                      <a:pt x="6" y="5"/>
                      <a:pt x="6" y="5"/>
                      <a:pt x="7" y="5"/>
                    </a:cubicBezTo>
                    <a:cubicBezTo>
                      <a:pt x="10" y="3"/>
                      <a:pt x="10" y="3"/>
                      <a:pt x="10" y="3"/>
                    </a:cubicBezTo>
                    <a:cubicBezTo>
                      <a:pt x="12" y="3"/>
                      <a:pt x="12" y="3"/>
                      <a:pt x="12" y="3"/>
                    </a:cubicBezTo>
                    <a:cubicBezTo>
                      <a:pt x="9" y="2"/>
                      <a:pt x="7"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2" name="Freeform 1274">
                <a:extLst>
                  <a:ext uri="{FF2B5EF4-FFF2-40B4-BE49-F238E27FC236}">
                    <a16:creationId xmlns:a16="http://schemas.microsoft.com/office/drawing/2014/main" id="{6D76C092-AD65-4CDD-A95C-3406BC6C2932}"/>
                  </a:ext>
                </a:extLst>
              </p:cNvPr>
              <p:cNvSpPr>
                <a:spLocks/>
              </p:cNvSpPr>
              <p:nvPr/>
            </p:nvSpPr>
            <p:spPr bwMode="auto">
              <a:xfrm>
                <a:off x="1849" y="1598"/>
                <a:ext cx="5" cy="10"/>
              </a:xfrm>
              <a:custGeom>
                <a:avLst/>
                <a:gdLst>
                  <a:gd name="T0" fmla="*/ 2 w 2"/>
                  <a:gd name="T1" fmla="*/ 0 h 4"/>
                  <a:gd name="T2" fmla="*/ 1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3"/>
                      <a:pt x="1" y="4"/>
                    </a:cubicBezTo>
                    <a:cubicBezTo>
                      <a:pt x="1"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3" name="Freeform 1275">
                <a:extLst>
                  <a:ext uri="{FF2B5EF4-FFF2-40B4-BE49-F238E27FC236}">
                    <a16:creationId xmlns:a16="http://schemas.microsoft.com/office/drawing/2014/main" id="{0309C7A9-D552-43D7-B928-0E70190B9BB7}"/>
                  </a:ext>
                </a:extLst>
              </p:cNvPr>
              <p:cNvSpPr>
                <a:spLocks/>
              </p:cNvSpPr>
              <p:nvPr/>
            </p:nvSpPr>
            <p:spPr bwMode="auto">
              <a:xfrm>
                <a:off x="1147" y="1147"/>
                <a:ext cx="12" cy="0"/>
              </a:xfrm>
              <a:custGeom>
                <a:avLst/>
                <a:gdLst>
                  <a:gd name="T0" fmla="*/ 2 w 5"/>
                  <a:gd name="T1" fmla="*/ 0 w 5"/>
                  <a:gd name="T2" fmla="*/ 2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1" y="0"/>
                      <a:pt x="2" y="0"/>
                    </a:cubicBezTo>
                    <a:cubicBezTo>
                      <a:pt x="3" y="0"/>
                      <a:pt x="4" y="0"/>
                      <a:pt x="5" y="0"/>
                    </a:cubicBezTo>
                    <a:cubicBezTo>
                      <a:pt x="4" y="0"/>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4" name="Freeform 1276">
                <a:extLst>
                  <a:ext uri="{FF2B5EF4-FFF2-40B4-BE49-F238E27FC236}">
                    <a16:creationId xmlns:a16="http://schemas.microsoft.com/office/drawing/2014/main" id="{C37715C8-5A11-4434-97D9-09F085334C2C}"/>
                  </a:ext>
                </a:extLst>
              </p:cNvPr>
              <p:cNvSpPr>
                <a:spLocks/>
              </p:cNvSpPr>
              <p:nvPr/>
            </p:nvSpPr>
            <p:spPr bwMode="auto">
              <a:xfrm>
                <a:off x="2655" y="1596"/>
                <a:ext cx="29" cy="19"/>
              </a:xfrm>
              <a:custGeom>
                <a:avLst/>
                <a:gdLst>
                  <a:gd name="T0" fmla="*/ 9 w 12"/>
                  <a:gd name="T1" fmla="*/ 0 h 8"/>
                  <a:gd name="T2" fmla="*/ 0 w 12"/>
                  <a:gd name="T3" fmla="*/ 8 h 8"/>
                  <a:gd name="T4" fmla="*/ 7 w 12"/>
                  <a:gd name="T5" fmla="*/ 4 h 8"/>
                  <a:gd name="T6" fmla="*/ 12 w 12"/>
                  <a:gd name="T7" fmla="*/ 1 h 8"/>
                  <a:gd name="T8" fmla="*/ 9 w 12"/>
                  <a:gd name="T9" fmla="*/ 0 h 8"/>
                </a:gdLst>
                <a:ahLst/>
                <a:cxnLst>
                  <a:cxn ang="0">
                    <a:pos x="T0" y="T1"/>
                  </a:cxn>
                  <a:cxn ang="0">
                    <a:pos x="T2" y="T3"/>
                  </a:cxn>
                  <a:cxn ang="0">
                    <a:pos x="T4" y="T5"/>
                  </a:cxn>
                  <a:cxn ang="0">
                    <a:pos x="T6" y="T7"/>
                  </a:cxn>
                  <a:cxn ang="0">
                    <a:pos x="T8" y="T9"/>
                  </a:cxn>
                </a:cxnLst>
                <a:rect l="0" t="0" r="r" b="b"/>
                <a:pathLst>
                  <a:path w="12" h="8">
                    <a:moveTo>
                      <a:pt x="9" y="0"/>
                    </a:moveTo>
                    <a:cubicBezTo>
                      <a:pt x="5" y="0"/>
                      <a:pt x="3" y="4"/>
                      <a:pt x="0" y="8"/>
                    </a:cubicBezTo>
                    <a:cubicBezTo>
                      <a:pt x="4" y="6"/>
                      <a:pt x="4" y="5"/>
                      <a:pt x="7" y="4"/>
                    </a:cubicBezTo>
                    <a:cubicBezTo>
                      <a:pt x="9" y="3"/>
                      <a:pt x="11" y="2"/>
                      <a:pt x="12" y="1"/>
                    </a:cubicBezTo>
                    <a:cubicBezTo>
                      <a:pt x="11"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5" name="Freeform 1277">
                <a:extLst>
                  <a:ext uri="{FF2B5EF4-FFF2-40B4-BE49-F238E27FC236}">
                    <a16:creationId xmlns:a16="http://schemas.microsoft.com/office/drawing/2014/main" id="{2EEB32C7-02E0-404B-8ED7-B18A5265D7D3}"/>
                  </a:ext>
                </a:extLst>
              </p:cNvPr>
              <p:cNvSpPr>
                <a:spLocks/>
              </p:cNvSpPr>
              <p:nvPr/>
            </p:nvSpPr>
            <p:spPr bwMode="auto">
              <a:xfrm>
                <a:off x="2421" y="988"/>
                <a:ext cx="7" cy="10"/>
              </a:xfrm>
              <a:custGeom>
                <a:avLst/>
                <a:gdLst>
                  <a:gd name="T0" fmla="*/ 3 w 3"/>
                  <a:gd name="T1" fmla="*/ 0 h 4"/>
                  <a:gd name="T2" fmla="*/ 1 w 3"/>
                  <a:gd name="T3" fmla="*/ 4 h 4"/>
                  <a:gd name="T4" fmla="*/ 3 w 3"/>
                  <a:gd name="T5" fmla="*/ 0 h 4"/>
                </a:gdLst>
                <a:ahLst/>
                <a:cxnLst>
                  <a:cxn ang="0">
                    <a:pos x="T0" y="T1"/>
                  </a:cxn>
                  <a:cxn ang="0">
                    <a:pos x="T2" y="T3"/>
                  </a:cxn>
                  <a:cxn ang="0">
                    <a:pos x="T4" y="T5"/>
                  </a:cxn>
                </a:cxnLst>
                <a:rect l="0" t="0" r="r" b="b"/>
                <a:pathLst>
                  <a:path w="3" h="4">
                    <a:moveTo>
                      <a:pt x="3" y="0"/>
                    </a:moveTo>
                    <a:cubicBezTo>
                      <a:pt x="1" y="1"/>
                      <a:pt x="0" y="2"/>
                      <a:pt x="1" y="4"/>
                    </a:cubicBezTo>
                    <a:cubicBezTo>
                      <a:pt x="2" y="3"/>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6" name="Freeform 1278">
                <a:extLst>
                  <a:ext uri="{FF2B5EF4-FFF2-40B4-BE49-F238E27FC236}">
                    <a16:creationId xmlns:a16="http://schemas.microsoft.com/office/drawing/2014/main" id="{589A6098-7F6C-4BF5-96F2-1662498F978C}"/>
                  </a:ext>
                </a:extLst>
              </p:cNvPr>
              <p:cNvSpPr>
                <a:spLocks/>
              </p:cNvSpPr>
              <p:nvPr/>
            </p:nvSpPr>
            <p:spPr bwMode="auto">
              <a:xfrm>
                <a:off x="2459" y="1286"/>
                <a:ext cx="26" cy="10"/>
              </a:xfrm>
              <a:custGeom>
                <a:avLst/>
                <a:gdLst>
                  <a:gd name="T0" fmla="*/ 6 w 11"/>
                  <a:gd name="T1" fmla="*/ 0 h 4"/>
                  <a:gd name="T2" fmla="*/ 1 w 11"/>
                  <a:gd name="T3" fmla="*/ 2 h 4"/>
                  <a:gd name="T4" fmla="*/ 2 w 11"/>
                  <a:gd name="T5" fmla="*/ 4 h 4"/>
                  <a:gd name="T6" fmla="*/ 5 w 11"/>
                  <a:gd name="T7" fmla="*/ 3 h 4"/>
                  <a:gd name="T8" fmla="*/ 11 w 11"/>
                  <a:gd name="T9" fmla="*/ 1 h 4"/>
                  <a:gd name="T10" fmla="*/ 6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6" y="0"/>
                    </a:moveTo>
                    <a:cubicBezTo>
                      <a:pt x="4" y="0"/>
                      <a:pt x="2" y="0"/>
                      <a:pt x="1" y="2"/>
                    </a:cubicBezTo>
                    <a:cubicBezTo>
                      <a:pt x="0" y="4"/>
                      <a:pt x="1" y="4"/>
                      <a:pt x="2" y="4"/>
                    </a:cubicBezTo>
                    <a:cubicBezTo>
                      <a:pt x="3" y="4"/>
                      <a:pt x="4" y="4"/>
                      <a:pt x="5" y="3"/>
                    </a:cubicBezTo>
                    <a:cubicBezTo>
                      <a:pt x="7" y="2"/>
                      <a:pt x="9" y="2"/>
                      <a:pt x="11" y="1"/>
                    </a:cubicBezTo>
                    <a:cubicBezTo>
                      <a:pt x="9"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7" name="Freeform 1279">
                <a:extLst>
                  <a:ext uri="{FF2B5EF4-FFF2-40B4-BE49-F238E27FC236}">
                    <a16:creationId xmlns:a16="http://schemas.microsoft.com/office/drawing/2014/main" id="{9D968ACC-8B0E-4170-BDDD-7881B7A0946E}"/>
                  </a:ext>
                </a:extLst>
              </p:cNvPr>
              <p:cNvSpPr>
                <a:spLocks/>
              </p:cNvSpPr>
              <p:nvPr/>
            </p:nvSpPr>
            <p:spPr bwMode="auto">
              <a:xfrm>
                <a:off x="2379" y="728"/>
                <a:ext cx="11" cy="38"/>
              </a:xfrm>
              <a:custGeom>
                <a:avLst/>
                <a:gdLst>
                  <a:gd name="T0" fmla="*/ 1 w 5"/>
                  <a:gd name="T1" fmla="*/ 0 h 16"/>
                  <a:gd name="T2" fmla="*/ 1 w 5"/>
                  <a:gd name="T3" fmla="*/ 16 h 16"/>
                  <a:gd name="T4" fmla="*/ 4 w 5"/>
                  <a:gd name="T5" fmla="*/ 10 h 16"/>
                  <a:gd name="T6" fmla="*/ 5 w 5"/>
                  <a:gd name="T7" fmla="*/ 7 h 16"/>
                  <a:gd name="T8" fmla="*/ 4 w 5"/>
                  <a:gd name="T9" fmla="*/ 5 h 16"/>
                  <a:gd name="T10" fmla="*/ 4 w 5"/>
                  <a:gd name="T11" fmla="*/ 3 h 16"/>
                  <a:gd name="T12" fmla="*/ 1 w 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5" h="16">
                    <a:moveTo>
                      <a:pt x="1" y="0"/>
                    </a:moveTo>
                    <a:cubicBezTo>
                      <a:pt x="0" y="5"/>
                      <a:pt x="1" y="11"/>
                      <a:pt x="1" y="16"/>
                    </a:cubicBezTo>
                    <a:cubicBezTo>
                      <a:pt x="2" y="14"/>
                      <a:pt x="2" y="12"/>
                      <a:pt x="4" y="10"/>
                    </a:cubicBezTo>
                    <a:cubicBezTo>
                      <a:pt x="4" y="9"/>
                      <a:pt x="5" y="8"/>
                      <a:pt x="5" y="7"/>
                    </a:cubicBezTo>
                    <a:cubicBezTo>
                      <a:pt x="5" y="6"/>
                      <a:pt x="4" y="6"/>
                      <a:pt x="4" y="5"/>
                    </a:cubicBezTo>
                    <a:cubicBezTo>
                      <a:pt x="4" y="5"/>
                      <a:pt x="4" y="3"/>
                      <a:pt x="4"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8" name="Freeform 1280">
                <a:extLst>
                  <a:ext uri="{FF2B5EF4-FFF2-40B4-BE49-F238E27FC236}">
                    <a16:creationId xmlns:a16="http://schemas.microsoft.com/office/drawing/2014/main" id="{386F2F2A-D42C-4C70-A6CF-B9997EDF52E4}"/>
                  </a:ext>
                </a:extLst>
              </p:cNvPr>
              <p:cNvSpPr>
                <a:spLocks/>
              </p:cNvSpPr>
              <p:nvPr/>
            </p:nvSpPr>
            <p:spPr bwMode="auto">
              <a:xfrm>
                <a:off x="1093" y="750"/>
                <a:ext cx="31" cy="37"/>
              </a:xfrm>
              <a:custGeom>
                <a:avLst/>
                <a:gdLst>
                  <a:gd name="T0" fmla="*/ 7 w 13"/>
                  <a:gd name="T1" fmla="*/ 0 h 16"/>
                  <a:gd name="T2" fmla="*/ 1 w 13"/>
                  <a:gd name="T3" fmla="*/ 5 h 16"/>
                  <a:gd name="T4" fmla="*/ 2 w 13"/>
                  <a:gd name="T5" fmla="*/ 11 h 16"/>
                  <a:gd name="T6" fmla="*/ 8 w 13"/>
                  <a:gd name="T7" fmla="*/ 14 h 16"/>
                  <a:gd name="T8" fmla="*/ 3 w 13"/>
                  <a:gd name="T9" fmla="*/ 16 h 16"/>
                  <a:gd name="T10" fmla="*/ 6 w 13"/>
                  <a:gd name="T11" fmla="*/ 16 h 16"/>
                  <a:gd name="T12" fmla="*/ 8 w 13"/>
                  <a:gd name="T13" fmla="*/ 16 h 16"/>
                  <a:gd name="T14" fmla="*/ 12 w 13"/>
                  <a:gd name="T15" fmla="*/ 11 h 16"/>
                  <a:gd name="T16" fmla="*/ 7 w 1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6">
                    <a:moveTo>
                      <a:pt x="7" y="0"/>
                    </a:moveTo>
                    <a:cubicBezTo>
                      <a:pt x="6" y="1"/>
                      <a:pt x="2" y="3"/>
                      <a:pt x="1" y="5"/>
                    </a:cubicBezTo>
                    <a:cubicBezTo>
                      <a:pt x="0" y="7"/>
                      <a:pt x="1" y="8"/>
                      <a:pt x="2" y="11"/>
                    </a:cubicBezTo>
                    <a:cubicBezTo>
                      <a:pt x="4" y="12"/>
                      <a:pt x="8" y="11"/>
                      <a:pt x="8" y="14"/>
                    </a:cubicBezTo>
                    <a:cubicBezTo>
                      <a:pt x="7" y="14"/>
                      <a:pt x="3" y="14"/>
                      <a:pt x="3" y="16"/>
                    </a:cubicBezTo>
                    <a:cubicBezTo>
                      <a:pt x="4" y="16"/>
                      <a:pt x="5" y="16"/>
                      <a:pt x="6" y="16"/>
                    </a:cubicBezTo>
                    <a:cubicBezTo>
                      <a:pt x="7" y="16"/>
                      <a:pt x="8" y="16"/>
                      <a:pt x="8" y="16"/>
                    </a:cubicBezTo>
                    <a:cubicBezTo>
                      <a:pt x="10" y="15"/>
                      <a:pt x="11" y="13"/>
                      <a:pt x="12" y="11"/>
                    </a:cubicBezTo>
                    <a:cubicBezTo>
                      <a:pt x="13" y="6"/>
                      <a:pt x="8" y="4"/>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9" name="Freeform 1281">
                <a:extLst>
                  <a:ext uri="{FF2B5EF4-FFF2-40B4-BE49-F238E27FC236}">
                    <a16:creationId xmlns:a16="http://schemas.microsoft.com/office/drawing/2014/main" id="{D3C8E2B6-ED9A-43EE-BD5F-B2F0E395715B}"/>
                  </a:ext>
                </a:extLst>
              </p:cNvPr>
              <p:cNvSpPr>
                <a:spLocks/>
              </p:cNvSpPr>
              <p:nvPr/>
            </p:nvSpPr>
            <p:spPr bwMode="auto">
              <a:xfrm>
                <a:off x="760" y="991"/>
                <a:ext cx="12" cy="9"/>
              </a:xfrm>
              <a:custGeom>
                <a:avLst/>
                <a:gdLst>
                  <a:gd name="T0" fmla="*/ 2 w 5"/>
                  <a:gd name="T1" fmla="*/ 0 h 4"/>
                  <a:gd name="T2" fmla="*/ 0 w 5"/>
                  <a:gd name="T3" fmla="*/ 4 h 4"/>
                  <a:gd name="T4" fmla="*/ 5 w 5"/>
                  <a:gd name="T5" fmla="*/ 3 h 4"/>
                  <a:gd name="T6" fmla="*/ 2 w 5"/>
                  <a:gd name="T7" fmla="*/ 0 h 4"/>
                </a:gdLst>
                <a:ahLst/>
                <a:cxnLst>
                  <a:cxn ang="0">
                    <a:pos x="T0" y="T1"/>
                  </a:cxn>
                  <a:cxn ang="0">
                    <a:pos x="T2" y="T3"/>
                  </a:cxn>
                  <a:cxn ang="0">
                    <a:pos x="T4" y="T5"/>
                  </a:cxn>
                  <a:cxn ang="0">
                    <a:pos x="T6" y="T7"/>
                  </a:cxn>
                </a:cxnLst>
                <a:rect l="0" t="0" r="r" b="b"/>
                <a:pathLst>
                  <a:path w="5" h="4">
                    <a:moveTo>
                      <a:pt x="2" y="0"/>
                    </a:moveTo>
                    <a:cubicBezTo>
                      <a:pt x="1" y="0"/>
                      <a:pt x="0" y="2"/>
                      <a:pt x="0" y="4"/>
                    </a:cubicBezTo>
                    <a:cubicBezTo>
                      <a:pt x="2" y="4"/>
                      <a:pt x="3" y="4"/>
                      <a:pt x="5" y="3"/>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0" name="Freeform 1282">
                <a:extLst>
                  <a:ext uri="{FF2B5EF4-FFF2-40B4-BE49-F238E27FC236}">
                    <a16:creationId xmlns:a16="http://schemas.microsoft.com/office/drawing/2014/main" id="{97929D85-C522-40B6-8164-409CDA84E80E}"/>
                  </a:ext>
                </a:extLst>
              </p:cNvPr>
              <p:cNvSpPr>
                <a:spLocks/>
              </p:cNvSpPr>
              <p:nvPr/>
            </p:nvSpPr>
            <p:spPr bwMode="auto">
              <a:xfrm>
                <a:off x="710" y="960"/>
                <a:ext cx="52" cy="26"/>
              </a:xfrm>
              <a:custGeom>
                <a:avLst/>
                <a:gdLst>
                  <a:gd name="T0" fmla="*/ 11 w 22"/>
                  <a:gd name="T1" fmla="*/ 0 h 11"/>
                  <a:gd name="T2" fmla="*/ 11 w 22"/>
                  <a:gd name="T3" fmla="*/ 0 h 11"/>
                  <a:gd name="T4" fmla="*/ 6 w 22"/>
                  <a:gd name="T5" fmla="*/ 4 h 11"/>
                  <a:gd name="T6" fmla="*/ 6 w 22"/>
                  <a:gd name="T7" fmla="*/ 3 h 11"/>
                  <a:gd name="T8" fmla="*/ 4 w 22"/>
                  <a:gd name="T9" fmla="*/ 1 h 11"/>
                  <a:gd name="T10" fmla="*/ 3 w 22"/>
                  <a:gd name="T11" fmla="*/ 1 h 11"/>
                  <a:gd name="T12" fmla="*/ 3 w 22"/>
                  <a:gd name="T13" fmla="*/ 6 h 11"/>
                  <a:gd name="T14" fmla="*/ 0 w 22"/>
                  <a:gd name="T15" fmla="*/ 8 h 11"/>
                  <a:gd name="T16" fmla="*/ 10 w 22"/>
                  <a:gd name="T17" fmla="*/ 11 h 11"/>
                  <a:gd name="T18" fmla="*/ 15 w 22"/>
                  <a:gd name="T19" fmla="*/ 11 h 11"/>
                  <a:gd name="T20" fmla="*/ 19 w 22"/>
                  <a:gd name="T21" fmla="*/ 11 h 11"/>
                  <a:gd name="T22" fmla="*/ 19 w 22"/>
                  <a:gd name="T23" fmla="*/ 11 h 11"/>
                  <a:gd name="T24" fmla="*/ 7 w 22"/>
                  <a:gd name="T25" fmla="*/ 5 h 11"/>
                  <a:gd name="T26" fmla="*/ 6 w 22"/>
                  <a:gd name="T27" fmla="*/ 4 h 11"/>
                  <a:gd name="T28" fmla="*/ 8 w 22"/>
                  <a:gd name="T29" fmla="*/ 5 h 11"/>
                  <a:gd name="T30" fmla="*/ 9 w 22"/>
                  <a:gd name="T31" fmla="*/ 4 h 11"/>
                  <a:gd name="T32" fmla="*/ 22 w 22"/>
                  <a:gd name="T33" fmla="*/ 9 h 11"/>
                  <a:gd name="T34" fmla="*/ 15 w 22"/>
                  <a:gd name="T35" fmla="*/ 1 h 11"/>
                  <a:gd name="T36" fmla="*/ 11 w 22"/>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1">
                    <a:moveTo>
                      <a:pt x="11" y="0"/>
                    </a:moveTo>
                    <a:cubicBezTo>
                      <a:pt x="11" y="0"/>
                      <a:pt x="11" y="0"/>
                      <a:pt x="11" y="0"/>
                    </a:cubicBezTo>
                    <a:cubicBezTo>
                      <a:pt x="8" y="0"/>
                      <a:pt x="8" y="2"/>
                      <a:pt x="6" y="4"/>
                    </a:cubicBezTo>
                    <a:cubicBezTo>
                      <a:pt x="6" y="3"/>
                      <a:pt x="6" y="3"/>
                      <a:pt x="6" y="3"/>
                    </a:cubicBezTo>
                    <a:cubicBezTo>
                      <a:pt x="5" y="2"/>
                      <a:pt x="4" y="1"/>
                      <a:pt x="4" y="1"/>
                    </a:cubicBezTo>
                    <a:cubicBezTo>
                      <a:pt x="3" y="1"/>
                      <a:pt x="3" y="1"/>
                      <a:pt x="3" y="1"/>
                    </a:cubicBezTo>
                    <a:cubicBezTo>
                      <a:pt x="0" y="1"/>
                      <a:pt x="3" y="4"/>
                      <a:pt x="3" y="6"/>
                    </a:cubicBezTo>
                    <a:cubicBezTo>
                      <a:pt x="2" y="7"/>
                      <a:pt x="0" y="6"/>
                      <a:pt x="0" y="8"/>
                    </a:cubicBezTo>
                    <a:cubicBezTo>
                      <a:pt x="0" y="11"/>
                      <a:pt x="5" y="11"/>
                      <a:pt x="10" y="11"/>
                    </a:cubicBezTo>
                    <a:cubicBezTo>
                      <a:pt x="12" y="11"/>
                      <a:pt x="14" y="11"/>
                      <a:pt x="15" y="11"/>
                    </a:cubicBezTo>
                    <a:cubicBezTo>
                      <a:pt x="17" y="11"/>
                      <a:pt x="18" y="11"/>
                      <a:pt x="19" y="11"/>
                    </a:cubicBezTo>
                    <a:cubicBezTo>
                      <a:pt x="19" y="11"/>
                      <a:pt x="19" y="11"/>
                      <a:pt x="19" y="11"/>
                    </a:cubicBezTo>
                    <a:cubicBezTo>
                      <a:pt x="15" y="6"/>
                      <a:pt x="12" y="7"/>
                      <a:pt x="7" y="5"/>
                    </a:cubicBezTo>
                    <a:cubicBezTo>
                      <a:pt x="7" y="4"/>
                      <a:pt x="7" y="4"/>
                      <a:pt x="6" y="4"/>
                    </a:cubicBezTo>
                    <a:cubicBezTo>
                      <a:pt x="7" y="4"/>
                      <a:pt x="8" y="4"/>
                      <a:pt x="8" y="5"/>
                    </a:cubicBezTo>
                    <a:cubicBezTo>
                      <a:pt x="8" y="4"/>
                      <a:pt x="9" y="4"/>
                      <a:pt x="9" y="4"/>
                    </a:cubicBezTo>
                    <a:cubicBezTo>
                      <a:pt x="12" y="4"/>
                      <a:pt x="20" y="8"/>
                      <a:pt x="22" y="9"/>
                    </a:cubicBezTo>
                    <a:cubicBezTo>
                      <a:pt x="20" y="5"/>
                      <a:pt x="18" y="3"/>
                      <a:pt x="15" y="1"/>
                    </a:cubicBezTo>
                    <a:cubicBezTo>
                      <a:pt x="14" y="1"/>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1" name="Freeform 1283">
                <a:extLst>
                  <a:ext uri="{FF2B5EF4-FFF2-40B4-BE49-F238E27FC236}">
                    <a16:creationId xmlns:a16="http://schemas.microsoft.com/office/drawing/2014/main" id="{0B611F14-51C7-40C4-936D-DEB677B52073}"/>
                  </a:ext>
                </a:extLst>
              </p:cNvPr>
              <p:cNvSpPr>
                <a:spLocks/>
              </p:cNvSpPr>
              <p:nvPr/>
            </p:nvSpPr>
            <p:spPr bwMode="auto">
              <a:xfrm>
                <a:off x="2832" y="1322"/>
                <a:ext cx="12" cy="9"/>
              </a:xfrm>
              <a:custGeom>
                <a:avLst/>
                <a:gdLst>
                  <a:gd name="T0" fmla="*/ 0 w 5"/>
                  <a:gd name="T1" fmla="*/ 0 h 4"/>
                  <a:gd name="T2" fmla="*/ 4 w 5"/>
                  <a:gd name="T3" fmla="*/ 4 h 4"/>
                  <a:gd name="T4" fmla="*/ 5 w 5"/>
                  <a:gd name="T5" fmla="*/ 4 h 4"/>
                  <a:gd name="T6" fmla="*/ 0 w 5"/>
                  <a:gd name="T7" fmla="*/ 0 h 4"/>
                </a:gdLst>
                <a:ahLst/>
                <a:cxnLst>
                  <a:cxn ang="0">
                    <a:pos x="T0" y="T1"/>
                  </a:cxn>
                  <a:cxn ang="0">
                    <a:pos x="T2" y="T3"/>
                  </a:cxn>
                  <a:cxn ang="0">
                    <a:pos x="T4" y="T5"/>
                  </a:cxn>
                  <a:cxn ang="0">
                    <a:pos x="T6" y="T7"/>
                  </a:cxn>
                </a:cxnLst>
                <a:rect l="0" t="0" r="r" b="b"/>
                <a:pathLst>
                  <a:path w="5" h="4">
                    <a:moveTo>
                      <a:pt x="0" y="0"/>
                    </a:moveTo>
                    <a:cubicBezTo>
                      <a:pt x="0" y="2"/>
                      <a:pt x="2" y="4"/>
                      <a:pt x="4" y="4"/>
                    </a:cubicBezTo>
                    <a:cubicBezTo>
                      <a:pt x="5" y="4"/>
                      <a:pt x="5" y="4"/>
                      <a:pt x="5" y="4"/>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2" name="Freeform 1284">
                <a:extLst>
                  <a:ext uri="{FF2B5EF4-FFF2-40B4-BE49-F238E27FC236}">
                    <a16:creationId xmlns:a16="http://schemas.microsoft.com/office/drawing/2014/main" id="{1556B9BB-7131-4037-AF9A-0E5DF5F9467C}"/>
                  </a:ext>
                </a:extLst>
              </p:cNvPr>
              <p:cNvSpPr>
                <a:spLocks/>
              </p:cNvSpPr>
              <p:nvPr/>
            </p:nvSpPr>
            <p:spPr bwMode="auto">
              <a:xfrm>
                <a:off x="2045" y="1062"/>
                <a:ext cx="10" cy="2"/>
              </a:xfrm>
              <a:custGeom>
                <a:avLst/>
                <a:gdLst>
                  <a:gd name="T0" fmla="*/ 3 w 4"/>
                  <a:gd name="T1" fmla="*/ 0 h 1"/>
                  <a:gd name="T2" fmla="*/ 0 w 4"/>
                  <a:gd name="T3" fmla="*/ 1 h 1"/>
                  <a:gd name="T4" fmla="*/ 4 w 4"/>
                  <a:gd name="T5" fmla="*/ 0 h 1"/>
                  <a:gd name="T6" fmla="*/ 3 w 4"/>
                  <a:gd name="T7" fmla="*/ 0 h 1"/>
                </a:gdLst>
                <a:ahLst/>
                <a:cxnLst>
                  <a:cxn ang="0">
                    <a:pos x="T0" y="T1"/>
                  </a:cxn>
                  <a:cxn ang="0">
                    <a:pos x="T2" y="T3"/>
                  </a:cxn>
                  <a:cxn ang="0">
                    <a:pos x="T4" y="T5"/>
                  </a:cxn>
                  <a:cxn ang="0">
                    <a:pos x="T6" y="T7"/>
                  </a:cxn>
                </a:cxnLst>
                <a:rect l="0" t="0" r="r" b="b"/>
                <a:pathLst>
                  <a:path w="4" h="1">
                    <a:moveTo>
                      <a:pt x="3" y="0"/>
                    </a:moveTo>
                    <a:cubicBezTo>
                      <a:pt x="1" y="0"/>
                      <a:pt x="0" y="0"/>
                      <a:pt x="0" y="1"/>
                    </a:cubicBezTo>
                    <a:cubicBezTo>
                      <a:pt x="1" y="1"/>
                      <a:pt x="3" y="1"/>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3" name="Freeform 1285">
                <a:extLst>
                  <a:ext uri="{FF2B5EF4-FFF2-40B4-BE49-F238E27FC236}">
                    <a16:creationId xmlns:a16="http://schemas.microsoft.com/office/drawing/2014/main" id="{70BE39B8-5788-4E8D-BBEF-435716440D72}"/>
                  </a:ext>
                </a:extLst>
              </p:cNvPr>
              <p:cNvSpPr>
                <a:spLocks/>
              </p:cNvSpPr>
              <p:nvPr/>
            </p:nvSpPr>
            <p:spPr bwMode="auto">
              <a:xfrm>
                <a:off x="2421" y="1014"/>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1"/>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4" name="Freeform 1286">
                <a:extLst>
                  <a:ext uri="{FF2B5EF4-FFF2-40B4-BE49-F238E27FC236}">
                    <a16:creationId xmlns:a16="http://schemas.microsoft.com/office/drawing/2014/main" id="{B9B55D22-B0F1-4C9C-9EA0-DA1DCC0DE712}"/>
                  </a:ext>
                </a:extLst>
              </p:cNvPr>
              <p:cNvSpPr>
                <a:spLocks/>
              </p:cNvSpPr>
              <p:nvPr/>
            </p:nvSpPr>
            <p:spPr bwMode="auto">
              <a:xfrm>
                <a:off x="2175" y="1170"/>
                <a:ext cx="8" cy="3"/>
              </a:xfrm>
              <a:custGeom>
                <a:avLst/>
                <a:gdLst>
                  <a:gd name="T0" fmla="*/ 0 w 3"/>
                  <a:gd name="T1" fmla="*/ 0 h 1"/>
                  <a:gd name="T2" fmla="*/ 3 w 3"/>
                  <a:gd name="T3" fmla="*/ 1 h 1"/>
                  <a:gd name="T4" fmla="*/ 0 w 3"/>
                  <a:gd name="T5" fmla="*/ 0 h 1"/>
                </a:gdLst>
                <a:ahLst/>
                <a:cxnLst>
                  <a:cxn ang="0">
                    <a:pos x="T0" y="T1"/>
                  </a:cxn>
                  <a:cxn ang="0">
                    <a:pos x="T2" y="T3"/>
                  </a:cxn>
                  <a:cxn ang="0">
                    <a:pos x="T4" y="T5"/>
                  </a:cxn>
                </a:cxnLst>
                <a:rect l="0" t="0" r="r" b="b"/>
                <a:pathLst>
                  <a:path w="3" h="1">
                    <a:moveTo>
                      <a:pt x="0" y="0"/>
                    </a:moveTo>
                    <a:cubicBezTo>
                      <a:pt x="1" y="0"/>
                      <a:pt x="2" y="1"/>
                      <a:pt x="3" y="1"/>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5" name="Freeform 1287">
                <a:extLst>
                  <a:ext uri="{FF2B5EF4-FFF2-40B4-BE49-F238E27FC236}">
                    <a16:creationId xmlns:a16="http://schemas.microsoft.com/office/drawing/2014/main" id="{2EE040E3-6D31-469C-B1A3-AD9C9CA1DD1F}"/>
                  </a:ext>
                </a:extLst>
              </p:cNvPr>
              <p:cNvSpPr>
                <a:spLocks/>
              </p:cNvSpPr>
              <p:nvPr/>
            </p:nvSpPr>
            <p:spPr bwMode="auto">
              <a:xfrm>
                <a:off x="807" y="979"/>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2"/>
                      <a:pt x="3" y="3"/>
                    </a:cubicBezTo>
                    <a:cubicBezTo>
                      <a:pt x="3" y="1"/>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6" name="Freeform 1288">
                <a:extLst>
                  <a:ext uri="{FF2B5EF4-FFF2-40B4-BE49-F238E27FC236}">
                    <a16:creationId xmlns:a16="http://schemas.microsoft.com/office/drawing/2014/main" id="{BF8AD873-EB8D-4083-9F59-366EDE5FC0B4}"/>
                  </a:ext>
                </a:extLst>
              </p:cNvPr>
              <p:cNvSpPr>
                <a:spLocks/>
              </p:cNvSpPr>
              <p:nvPr/>
            </p:nvSpPr>
            <p:spPr bwMode="auto">
              <a:xfrm>
                <a:off x="833" y="986"/>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1"/>
                      <a:pt x="2" y="2"/>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7" name="Freeform 1289">
                <a:extLst>
                  <a:ext uri="{FF2B5EF4-FFF2-40B4-BE49-F238E27FC236}">
                    <a16:creationId xmlns:a16="http://schemas.microsoft.com/office/drawing/2014/main" id="{C7E50C87-D2BE-400C-942F-E54646E21D94}"/>
                  </a:ext>
                </a:extLst>
              </p:cNvPr>
              <p:cNvSpPr>
                <a:spLocks/>
              </p:cNvSpPr>
              <p:nvPr/>
            </p:nvSpPr>
            <p:spPr bwMode="auto">
              <a:xfrm>
                <a:off x="774" y="979"/>
                <a:ext cx="12" cy="14"/>
              </a:xfrm>
              <a:custGeom>
                <a:avLst/>
                <a:gdLst>
                  <a:gd name="T0" fmla="*/ 1 w 5"/>
                  <a:gd name="T1" fmla="*/ 0 h 6"/>
                  <a:gd name="T2" fmla="*/ 2 w 5"/>
                  <a:gd name="T3" fmla="*/ 6 h 6"/>
                  <a:gd name="T4" fmla="*/ 5 w 5"/>
                  <a:gd name="T5" fmla="*/ 4 h 6"/>
                  <a:gd name="T6" fmla="*/ 1 w 5"/>
                  <a:gd name="T7" fmla="*/ 0 h 6"/>
                </a:gdLst>
                <a:ahLst/>
                <a:cxnLst>
                  <a:cxn ang="0">
                    <a:pos x="T0" y="T1"/>
                  </a:cxn>
                  <a:cxn ang="0">
                    <a:pos x="T2" y="T3"/>
                  </a:cxn>
                  <a:cxn ang="0">
                    <a:pos x="T4" y="T5"/>
                  </a:cxn>
                  <a:cxn ang="0">
                    <a:pos x="T6" y="T7"/>
                  </a:cxn>
                </a:cxnLst>
                <a:rect l="0" t="0" r="r" b="b"/>
                <a:pathLst>
                  <a:path w="5" h="6">
                    <a:moveTo>
                      <a:pt x="1" y="0"/>
                    </a:moveTo>
                    <a:cubicBezTo>
                      <a:pt x="0" y="2"/>
                      <a:pt x="0" y="6"/>
                      <a:pt x="2" y="6"/>
                    </a:cubicBezTo>
                    <a:cubicBezTo>
                      <a:pt x="3" y="6"/>
                      <a:pt x="4" y="5"/>
                      <a:pt x="5" y="4"/>
                    </a:cubicBezTo>
                    <a:cubicBezTo>
                      <a:pt x="4"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8" name="Freeform 1290">
                <a:extLst>
                  <a:ext uri="{FF2B5EF4-FFF2-40B4-BE49-F238E27FC236}">
                    <a16:creationId xmlns:a16="http://schemas.microsoft.com/office/drawing/2014/main" id="{20A11A1E-6575-4880-87EF-50A13C593895}"/>
                  </a:ext>
                </a:extLst>
              </p:cNvPr>
              <p:cNvSpPr>
                <a:spLocks/>
              </p:cNvSpPr>
              <p:nvPr/>
            </p:nvSpPr>
            <p:spPr bwMode="auto">
              <a:xfrm>
                <a:off x="2452" y="1596"/>
                <a:ext cx="21" cy="12"/>
              </a:xfrm>
              <a:custGeom>
                <a:avLst/>
                <a:gdLst>
                  <a:gd name="T0" fmla="*/ 0 w 9"/>
                  <a:gd name="T1" fmla="*/ 0 h 5"/>
                  <a:gd name="T2" fmla="*/ 5 w 9"/>
                  <a:gd name="T3" fmla="*/ 5 h 5"/>
                  <a:gd name="T4" fmla="*/ 5 w 9"/>
                  <a:gd name="T5" fmla="*/ 5 h 5"/>
                  <a:gd name="T6" fmla="*/ 9 w 9"/>
                  <a:gd name="T7" fmla="*/ 3 h 5"/>
                  <a:gd name="T8" fmla="*/ 0 w 9"/>
                  <a:gd name="T9" fmla="*/ 0 h 5"/>
                </a:gdLst>
                <a:ahLst/>
                <a:cxnLst>
                  <a:cxn ang="0">
                    <a:pos x="T0" y="T1"/>
                  </a:cxn>
                  <a:cxn ang="0">
                    <a:pos x="T2" y="T3"/>
                  </a:cxn>
                  <a:cxn ang="0">
                    <a:pos x="T4" y="T5"/>
                  </a:cxn>
                  <a:cxn ang="0">
                    <a:pos x="T6" y="T7"/>
                  </a:cxn>
                  <a:cxn ang="0">
                    <a:pos x="T8" y="T9"/>
                  </a:cxn>
                </a:cxnLst>
                <a:rect l="0" t="0" r="r" b="b"/>
                <a:pathLst>
                  <a:path w="9" h="5">
                    <a:moveTo>
                      <a:pt x="0" y="0"/>
                    </a:moveTo>
                    <a:cubicBezTo>
                      <a:pt x="0" y="3"/>
                      <a:pt x="3" y="5"/>
                      <a:pt x="5" y="5"/>
                    </a:cubicBezTo>
                    <a:cubicBezTo>
                      <a:pt x="5" y="5"/>
                      <a:pt x="5" y="5"/>
                      <a:pt x="5" y="5"/>
                    </a:cubicBezTo>
                    <a:cubicBezTo>
                      <a:pt x="7" y="5"/>
                      <a:pt x="7" y="4"/>
                      <a:pt x="9" y="3"/>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9" name="Freeform 1291">
                <a:extLst>
                  <a:ext uri="{FF2B5EF4-FFF2-40B4-BE49-F238E27FC236}">
                    <a16:creationId xmlns:a16="http://schemas.microsoft.com/office/drawing/2014/main" id="{A268A064-13E3-4F7C-B0F2-BAB5317A2153}"/>
                  </a:ext>
                </a:extLst>
              </p:cNvPr>
              <p:cNvSpPr>
                <a:spLocks/>
              </p:cNvSpPr>
              <p:nvPr/>
            </p:nvSpPr>
            <p:spPr bwMode="auto">
              <a:xfrm>
                <a:off x="1944" y="1437"/>
                <a:ext cx="7" cy="48"/>
              </a:xfrm>
              <a:custGeom>
                <a:avLst/>
                <a:gdLst>
                  <a:gd name="T0" fmla="*/ 3 w 3"/>
                  <a:gd name="T1" fmla="*/ 0 h 20"/>
                  <a:gd name="T2" fmla="*/ 2 w 3"/>
                  <a:gd name="T3" fmla="*/ 20 h 20"/>
                  <a:gd name="T4" fmla="*/ 3 w 3"/>
                  <a:gd name="T5" fmla="*/ 0 h 20"/>
                </a:gdLst>
                <a:ahLst/>
                <a:cxnLst>
                  <a:cxn ang="0">
                    <a:pos x="T0" y="T1"/>
                  </a:cxn>
                  <a:cxn ang="0">
                    <a:pos x="T2" y="T3"/>
                  </a:cxn>
                  <a:cxn ang="0">
                    <a:pos x="T4" y="T5"/>
                  </a:cxn>
                </a:cxnLst>
                <a:rect l="0" t="0" r="r" b="b"/>
                <a:pathLst>
                  <a:path w="3" h="20">
                    <a:moveTo>
                      <a:pt x="3" y="0"/>
                    </a:moveTo>
                    <a:cubicBezTo>
                      <a:pt x="0" y="5"/>
                      <a:pt x="2" y="15"/>
                      <a:pt x="2" y="20"/>
                    </a:cubicBezTo>
                    <a:cubicBezTo>
                      <a:pt x="3" y="13"/>
                      <a:pt x="3" y="6"/>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0" name="Freeform 1292">
                <a:extLst>
                  <a:ext uri="{FF2B5EF4-FFF2-40B4-BE49-F238E27FC236}">
                    <a16:creationId xmlns:a16="http://schemas.microsoft.com/office/drawing/2014/main" id="{43F1E344-B37A-4D4E-BB36-9E6E5052B7CC}"/>
                  </a:ext>
                </a:extLst>
              </p:cNvPr>
              <p:cNvSpPr>
                <a:spLocks/>
              </p:cNvSpPr>
              <p:nvPr/>
            </p:nvSpPr>
            <p:spPr bwMode="auto">
              <a:xfrm>
                <a:off x="857" y="1026"/>
                <a:ext cx="9" cy="12"/>
              </a:xfrm>
              <a:custGeom>
                <a:avLst/>
                <a:gdLst>
                  <a:gd name="T0" fmla="*/ 0 w 4"/>
                  <a:gd name="T1" fmla="*/ 0 h 5"/>
                  <a:gd name="T2" fmla="*/ 4 w 4"/>
                  <a:gd name="T3" fmla="*/ 5 h 5"/>
                  <a:gd name="T4" fmla="*/ 0 w 4"/>
                  <a:gd name="T5" fmla="*/ 0 h 5"/>
                </a:gdLst>
                <a:ahLst/>
                <a:cxnLst>
                  <a:cxn ang="0">
                    <a:pos x="T0" y="T1"/>
                  </a:cxn>
                  <a:cxn ang="0">
                    <a:pos x="T2" y="T3"/>
                  </a:cxn>
                  <a:cxn ang="0">
                    <a:pos x="T4" y="T5"/>
                  </a:cxn>
                </a:cxnLst>
                <a:rect l="0" t="0" r="r" b="b"/>
                <a:pathLst>
                  <a:path w="4" h="5">
                    <a:moveTo>
                      <a:pt x="0" y="0"/>
                    </a:moveTo>
                    <a:cubicBezTo>
                      <a:pt x="0" y="3"/>
                      <a:pt x="2" y="3"/>
                      <a:pt x="4"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1" name="Freeform 1293">
                <a:extLst>
                  <a:ext uri="{FF2B5EF4-FFF2-40B4-BE49-F238E27FC236}">
                    <a16:creationId xmlns:a16="http://schemas.microsoft.com/office/drawing/2014/main" id="{1C509435-5B59-4541-83A0-D3F247377CFF}"/>
                  </a:ext>
                </a:extLst>
              </p:cNvPr>
              <p:cNvSpPr>
                <a:spLocks/>
              </p:cNvSpPr>
              <p:nvPr/>
            </p:nvSpPr>
            <p:spPr bwMode="auto">
              <a:xfrm>
                <a:off x="2733" y="1534"/>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2" name="Freeform 1294">
                <a:extLst>
                  <a:ext uri="{FF2B5EF4-FFF2-40B4-BE49-F238E27FC236}">
                    <a16:creationId xmlns:a16="http://schemas.microsoft.com/office/drawing/2014/main" id="{DC5A4724-8ED2-4AAB-A297-1AA053536B8B}"/>
                  </a:ext>
                </a:extLst>
              </p:cNvPr>
              <p:cNvSpPr>
                <a:spLocks noEditPoints="1"/>
              </p:cNvSpPr>
              <p:nvPr/>
            </p:nvSpPr>
            <p:spPr bwMode="auto">
              <a:xfrm>
                <a:off x="2724" y="1530"/>
                <a:ext cx="9" cy="4"/>
              </a:xfrm>
              <a:custGeom>
                <a:avLst/>
                <a:gdLst>
                  <a:gd name="T0" fmla="*/ 0 w 4"/>
                  <a:gd name="T1" fmla="*/ 0 h 2"/>
                  <a:gd name="T2" fmla="*/ 4 w 4"/>
                  <a:gd name="T3" fmla="*/ 2 h 2"/>
                  <a:gd name="T4" fmla="*/ 0 w 4"/>
                  <a:gd name="T5" fmla="*/ 0 h 2"/>
                  <a:gd name="T6" fmla="*/ 0 w 4"/>
                  <a:gd name="T7" fmla="*/ 0 h 2"/>
                  <a:gd name="T8" fmla="*/ 0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cubicBezTo>
                      <a:pt x="1" y="0"/>
                      <a:pt x="3" y="1"/>
                      <a:pt x="4" y="2"/>
                    </a:cubicBezTo>
                    <a:cubicBezTo>
                      <a:pt x="4" y="0"/>
                      <a:pt x="2"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3" name="Freeform 1295">
                <a:extLst>
                  <a:ext uri="{FF2B5EF4-FFF2-40B4-BE49-F238E27FC236}">
                    <a16:creationId xmlns:a16="http://schemas.microsoft.com/office/drawing/2014/main" id="{DEC1CE28-ECFB-403A-BFD0-EB3B0E4DA840}"/>
                  </a:ext>
                </a:extLst>
              </p:cNvPr>
              <p:cNvSpPr>
                <a:spLocks/>
              </p:cNvSpPr>
              <p:nvPr/>
            </p:nvSpPr>
            <p:spPr bwMode="auto">
              <a:xfrm>
                <a:off x="2071" y="1357"/>
                <a:ext cx="38" cy="54"/>
              </a:xfrm>
              <a:custGeom>
                <a:avLst/>
                <a:gdLst>
                  <a:gd name="T0" fmla="*/ 13 w 16"/>
                  <a:gd name="T1" fmla="*/ 0 h 23"/>
                  <a:gd name="T2" fmla="*/ 8 w 16"/>
                  <a:gd name="T3" fmla="*/ 2 h 23"/>
                  <a:gd name="T4" fmla="*/ 3 w 16"/>
                  <a:gd name="T5" fmla="*/ 4 h 23"/>
                  <a:gd name="T6" fmla="*/ 2 w 16"/>
                  <a:gd name="T7" fmla="*/ 16 h 23"/>
                  <a:gd name="T8" fmla="*/ 5 w 16"/>
                  <a:gd name="T9" fmla="*/ 23 h 23"/>
                  <a:gd name="T10" fmla="*/ 8 w 16"/>
                  <a:gd name="T11" fmla="*/ 23 h 23"/>
                  <a:gd name="T12" fmla="*/ 11 w 16"/>
                  <a:gd name="T13" fmla="*/ 21 h 23"/>
                  <a:gd name="T14" fmla="*/ 12 w 16"/>
                  <a:gd name="T15" fmla="*/ 19 h 23"/>
                  <a:gd name="T16" fmla="*/ 12 w 16"/>
                  <a:gd name="T17" fmla="*/ 14 h 23"/>
                  <a:gd name="T18" fmla="*/ 15 w 16"/>
                  <a:gd name="T19" fmla="*/ 10 h 23"/>
                  <a:gd name="T20" fmla="*/ 13 w 16"/>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3">
                    <a:moveTo>
                      <a:pt x="13" y="0"/>
                    </a:moveTo>
                    <a:cubicBezTo>
                      <a:pt x="11" y="0"/>
                      <a:pt x="10" y="2"/>
                      <a:pt x="8" y="2"/>
                    </a:cubicBezTo>
                    <a:cubicBezTo>
                      <a:pt x="7" y="3"/>
                      <a:pt x="4" y="3"/>
                      <a:pt x="3" y="4"/>
                    </a:cubicBezTo>
                    <a:cubicBezTo>
                      <a:pt x="1" y="8"/>
                      <a:pt x="6" y="11"/>
                      <a:pt x="2" y="16"/>
                    </a:cubicBezTo>
                    <a:cubicBezTo>
                      <a:pt x="1" y="22"/>
                      <a:pt x="0" y="22"/>
                      <a:pt x="5" y="23"/>
                    </a:cubicBezTo>
                    <a:cubicBezTo>
                      <a:pt x="7" y="23"/>
                      <a:pt x="8" y="23"/>
                      <a:pt x="8" y="23"/>
                    </a:cubicBezTo>
                    <a:cubicBezTo>
                      <a:pt x="9" y="23"/>
                      <a:pt x="10" y="23"/>
                      <a:pt x="11" y="21"/>
                    </a:cubicBezTo>
                    <a:cubicBezTo>
                      <a:pt x="11" y="20"/>
                      <a:pt x="11" y="21"/>
                      <a:pt x="12" y="19"/>
                    </a:cubicBezTo>
                    <a:cubicBezTo>
                      <a:pt x="12" y="16"/>
                      <a:pt x="10" y="17"/>
                      <a:pt x="12" y="14"/>
                    </a:cubicBezTo>
                    <a:cubicBezTo>
                      <a:pt x="13" y="13"/>
                      <a:pt x="14" y="12"/>
                      <a:pt x="15" y="10"/>
                    </a:cubicBezTo>
                    <a:cubicBezTo>
                      <a:pt x="16" y="7"/>
                      <a:pt x="14" y="2"/>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4" name="Freeform 1296">
                <a:extLst>
                  <a:ext uri="{FF2B5EF4-FFF2-40B4-BE49-F238E27FC236}">
                    <a16:creationId xmlns:a16="http://schemas.microsoft.com/office/drawing/2014/main" id="{17E00D98-6444-4FAC-B40F-D787E982CA68}"/>
                  </a:ext>
                </a:extLst>
              </p:cNvPr>
              <p:cNvSpPr>
                <a:spLocks/>
              </p:cNvSpPr>
              <p:nvPr/>
            </p:nvSpPr>
            <p:spPr bwMode="auto">
              <a:xfrm>
                <a:off x="2121" y="1610"/>
                <a:ext cx="28" cy="7"/>
              </a:xfrm>
              <a:custGeom>
                <a:avLst/>
                <a:gdLst>
                  <a:gd name="T0" fmla="*/ 6 w 12"/>
                  <a:gd name="T1" fmla="*/ 0 h 3"/>
                  <a:gd name="T2" fmla="*/ 3 w 12"/>
                  <a:gd name="T3" fmla="*/ 0 h 3"/>
                  <a:gd name="T4" fmla="*/ 5 w 12"/>
                  <a:gd name="T5" fmla="*/ 3 h 3"/>
                  <a:gd name="T6" fmla="*/ 8 w 12"/>
                  <a:gd name="T7" fmla="*/ 3 h 3"/>
                  <a:gd name="T8" fmla="*/ 8 w 12"/>
                  <a:gd name="T9" fmla="*/ 3 h 3"/>
                  <a:gd name="T10" fmla="*/ 9 w 12"/>
                  <a:gd name="T11" fmla="*/ 3 h 3"/>
                  <a:gd name="T12" fmla="*/ 9 w 12"/>
                  <a:gd name="T13" fmla="*/ 3 h 3"/>
                  <a:gd name="T14" fmla="*/ 10 w 12"/>
                  <a:gd name="T15" fmla="*/ 3 h 3"/>
                  <a:gd name="T16" fmla="*/ 6 w 1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6" y="0"/>
                    </a:moveTo>
                    <a:cubicBezTo>
                      <a:pt x="5" y="0"/>
                      <a:pt x="4" y="0"/>
                      <a:pt x="3" y="0"/>
                    </a:cubicBezTo>
                    <a:cubicBezTo>
                      <a:pt x="0" y="3"/>
                      <a:pt x="2" y="3"/>
                      <a:pt x="5" y="3"/>
                    </a:cubicBezTo>
                    <a:cubicBezTo>
                      <a:pt x="6" y="3"/>
                      <a:pt x="7" y="3"/>
                      <a:pt x="8" y="3"/>
                    </a:cubicBezTo>
                    <a:cubicBezTo>
                      <a:pt x="8" y="3"/>
                      <a:pt x="8" y="3"/>
                      <a:pt x="8" y="3"/>
                    </a:cubicBezTo>
                    <a:cubicBezTo>
                      <a:pt x="8" y="3"/>
                      <a:pt x="8" y="3"/>
                      <a:pt x="9" y="3"/>
                    </a:cubicBezTo>
                    <a:cubicBezTo>
                      <a:pt x="9" y="3"/>
                      <a:pt x="9" y="3"/>
                      <a:pt x="9" y="3"/>
                    </a:cubicBezTo>
                    <a:cubicBezTo>
                      <a:pt x="9" y="3"/>
                      <a:pt x="10" y="3"/>
                      <a:pt x="10" y="3"/>
                    </a:cubicBezTo>
                    <a:cubicBezTo>
                      <a:pt x="12" y="0"/>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5" name="Freeform 1297">
                <a:extLst>
                  <a:ext uri="{FF2B5EF4-FFF2-40B4-BE49-F238E27FC236}">
                    <a16:creationId xmlns:a16="http://schemas.microsoft.com/office/drawing/2014/main" id="{38215EF2-562F-4D3D-BFD5-B775565397A3}"/>
                  </a:ext>
                </a:extLst>
              </p:cNvPr>
              <p:cNvSpPr>
                <a:spLocks/>
              </p:cNvSpPr>
              <p:nvPr/>
            </p:nvSpPr>
            <p:spPr bwMode="auto">
              <a:xfrm>
                <a:off x="2036" y="1759"/>
                <a:ext cx="19" cy="9"/>
              </a:xfrm>
              <a:custGeom>
                <a:avLst/>
                <a:gdLst>
                  <a:gd name="T0" fmla="*/ 8 w 8"/>
                  <a:gd name="T1" fmla="*/ 0 h 4"/>
                  <a:gd name="T2" fmla="*/ 0 w 8"/>
                  <a:gd name="T3" fmla="*/ 3 h 4"/>
                  <a:gd name="T4" fmla="*/ 4 w 8"/>
                  <a:gd name="T5" fmla="*/ 4 h 4"/>
                  <a:gd name="T6" fmla="*/ 8 w 8"/>
                  <a:gd name="T7" fmla="*/ 0 h 4"/>
                </a:gdLst>
                <a:ahLst/>
                <a:cxnLst>
                  <a:cxn ang="0">
                    <a:pos x="T0" y="T1"/>
                  </a:cxn>
                  <a:cxn ang="0">
                    <a:pos x="T2" y="T3"/>
                  </a:cxn>
                  <a:cxn ang="0">
                    <a:pos x="T4" y="T5"/>
                  </a:cxn>
                  <a:cxn ang="0">
                    <a:pos x="T6" y="T7"/>
                  </a:cxn>
                </a:cxnLst>
                <a:rect l="0" t="0" r="r" b="b"/>
                <a:pathLst>
                  <a:path w="8" h="4">
                    <a:moveTo>
                      <a:pt x="8" y="0"/>
                    </a:moveTo>
                    <a:cubicBezTo>
                      <a:pt x="5" y="1"/>
                      <a:pt x="2" y="2"/>
                      <a:pt x="0" y="3"/>
                    </a:cubicBezTo>
                    <a:cubicBezTo>
                      <a:pt x="1" y="4"/>
                      <a:pt x="2" y="4"/>
                      <a:pt x="4" y="4"/>
                    </a:cubicBezTo>
                    <a:cubicBezTo>
                      <a:pt x="6" y="4"/>
                      <a:pt x="8" y="3"/>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6" name="Freeform 1298">
                <a:extLst>
                  <a:ext uri="{FF2B5EF4-FFF2-40B4-BE49-F238E27FC236}">
                    <a16:creationId xmlns:a16="http://schemas.microsoft.com/office/drawing/2014/main" id="{2C03CAF1-5CAA-44FB-AF80-645720F4D5D6}"/>
                  </a:ext>
                </a:extLst>
              </p:cNvPr>
              <p:cNvSpPr>
                <a:spLocks/>
              </p:cNvSpPr>
              <p:nvPr/>
            </p:nvSpPr>
            <p:spPr bwMode="auto">
              <a:xfrm>
                <a:off x="2407" y="1081"/>
                <a:ext cx="12" cy="14"/>
              </a:xfrm>
              <a:custGeom>
                <a:avLst/>
                <a:gdLst>
                  <a:gd name="T0" fmla="*/ 3 w 5"/>
                  <a:gd name="T1" fmla="*/ 0 h 6"/>
                  <a:gd name="T2" fmla="*/ 0 w 5"/>
                  <a:gd name="T3" fmla="*/ 5 h 6"/>
                  <a:gd name="T4" fmla="*/ 3 w 5"/>
                  <a:gd name="T5" fmla="*/ 6 h 6"/>
                  <a:gd name="T6" fmla="*/ 4 w 5"/>
                  <a:gd name="T7" fmla="*/ 6 h 6"/>
                  <a:gd name="T8" fmla="*/ 3 w 5"/>
                  <a:gd name="T9" fmla="*/ 0 h 6"/>
                </a:gdLst>
                <a:ahLst/>
                <a:cxnLst>
                  <a:cxn ang="0">
                    <a:pos x="T0" y="T1"/>
                  </a:cxn>
                  <a:cxn ang="0">
                    <a:pos x="T2" y="T3"/>
                  </a:cxn>
                  <a:cxn ang="0">
                    <a:pos x="T4" y="T5"/>
                  </a:cxn>
                  <a:cxn ang="0">
                    <a:pos x="T6" y="T7"/>
                  </a:cxn>
                  <a:cxn ang="0">
                    <a:pos x="T8" y="T9"/>
                  </a:cxn>
                </a:cxnLst>
                <a:rect l="0" t="0" r="r" b="b"/>
                <a:pathLst>
                  <a:path w="5" h="6">
                    <a:moveTo>
                      <a:pt x="3" y="0"/>
                    </a:moveTo>
                    <a:cubicBezTo>
                      <a:pt x="2" y="1"/>
                      <a:pt x="0" y="4"/>
                      <a:pt x="0" y="5"/>
                    </a:cubicBezTo>
                    <a:cubicBezTo>
                      <a:pt x="1" y="6"/>
                      <a:pt x="3" y="6"/>
                      <a:pt x="3" y="6"/>
                    </a:cubicBezTo>
                    <a:cubicBezTo>
                      <a:pt x="4" y="6"/>
                      <a:pt x="4" y="6"/>
                      <a:pt x="4" y="6"/>
                    </a:cubicBezTo>
                    <a:cubicBezTo>
                      <a:pt x="5" y="5"/>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7" name="Freeform 1299">
                <a:extLst>
                  <a:ext uri="{FF2B5EF4-FFF2-40B4-BE49-F238E27FC236}">
                    <a16:creationId xmlns:a16="http://schemas.microsoft.com/office/drawing/2014/main" id="{208EAD48-A7A0-4453-8608-366AAC3CA76F}"/>
                  </a:ext>
                </a:extLst>
              </p:cNvPr>
              <p:cNvSpPr>
                <a:spLocks/>
              </p:cNvSpPr>
              <p:nvPr/>
            </p:nvSpPr>
            <p:spPr bwMode="auto">
              <a:xfrm>
                <a:off x="2556" y="1036"/>
                <a:ext cx="16" cy="19"/>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2" y="3"/>
                      <a:pt x="4" y="6"/>
                      <a:pt x="7" y="8"/>
                    </a:cubicBezTo>
                    <a:cubicBezTo>
                      <a:pt x="7"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8" name="Freeform 1300">
                <a:extLst>
                  <a:ext uri="{FF2B5EF4-FFF2-40B4-BE49-F238E27FC236}">
                    <a16:creationId xmlns:a16="http://schemas.microsoft.com/office/drawing/2014/main" id="{C15DB3CA-74A7-4FA6-8B73-A35107B563AC}"/>
                  </a:ext>
                </a:extLst>
              </p:cNvPr>
              <p:cNvSpPr>
                <a:spLocks/>
              </p:cNvSpPr>
              <p:nvPr/>
            </p:nvSpPr>
            <p:spPr bwMode="auto">
              <a:xfrm>
                <a:off x="219" y="634"/>
                <a:ext cx="9" cy="5"/>
              </a:xfrm>
              <a:custGeom>
                <a:avLst/>
                <a:gdLst>
                  <a:gd name="T0" fmla="*/ 0 w 4"/>
                  <a:gd name="T1" fmla="*/ 0 h 2"/>
                  <a:gd name="T2" fmla="*/ 4 w 4"/>
                  <a:gd name="T3" fmla="*/ 2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cubicBezTo>
                      <a:pt x="1" y="1"/>
                      <a:pt x="2" y="2"/>
                      <a:pt x="4" y="2"/>
                    </a:cubicBezTo>
                    <a:cubicBezTo>
                      <a:pt x="4" y="2"/>
                      <a:pt x="4" y="2"/>
                      <a:pt x="4" y="2"/>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9" name="Freeform 1301">
                <a:extLst>
                  <a:ext uri="{FF2B5EF4-FFF2-40B4-BE49-F238E27FC236}">
                    <a16:creationId xmlns:a16="http://schemas.microsoft.com/office/drawing/2014/main" id="{74EF9268-9366-4F5A-9869-BB29A79DE51D}"/>
                  </a:ext>
                </a:extLst>
              </p:cNvPr>
              <p:cNvSpPr>
                <a:spLocks/>
              </p:cNvSpPr>
              <p:nvPr/>
            </p:nvSpPr>
            <p:spPr bwMode="auto">
              <a:xfrm>
                <a:off x="637" y="894"/>
                <a:ext cx="31" cy="28"/>
              </a:xfrm>
              <a:custGeom>
                <a:avLst/>
                <a:gdLst>
                  <a:gd name="T0" fmla="*/ 8 w 13"/>
                  <a:gd name="T1" fmla="*/ 0 h 12"/>
                  <a:gd name="T2" fmla="*/ 8 w 13"/>
                  <a:gd name="T3" fmla="*/ 0 h 12"/>
                  <a:gd name="T4" fmla="*/ 5 w 13"/>
                  <a:gd name="T5" fmla="*/ 2 h 12"/>
                  <a:gd name="T6" fmla="*/ 4 w 13"/>
                  <a:gd name="T7" fmla="*/ 2 h 12"/>
                  <a:gd name="T8" fmla="*/ 4 w 13"/>
                  <a:gd name="T9" fmla="*/ 2 h 12"/>
                  <a:gd name="T10" fmla="*/ 3 w 13"/>
                  <a:gd name="T11" fmla="*/ 2 h 12"/>
                  <a:gd name="T12" fmla="*/ 2 w 13"/>
                  <a:gd name="T13" fmla="*/ 2 h 12"/>
                  <a:gd name="T14" fmla="*/ 3 w 13"/>
                  <a:gd name="T15" fmla="*/ 11 h 12"/>
                  <a:gd name="T16" fmla="*/ 6 w 13"/>
                  <a:gd name="T17" fmla="*/ 12 h 12"/>
                  <a:gd name="T18" fmla="*/ 13 w 13"/>
                  <a:gd name="T19" fmla="*/ 5 h 12"/>
                  <a:gd name="T20" fmla="*/ 8 w 1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2">
                    <a:moveTo>
                      <a:pt x="8" y="0"/>
                    </a:moveTo>
                    <a:cubicBezTo>
                      <a:pt x="8" y="0"/>
                      <a:pt x="8" y="0"/>
                      <a:pt x="8" y="0"/>
                    </a:cubicBezTo>
                    <a:cubicBezTo>
                      <a:pt x="5" y="2"/>
                      <a:pt x="5" y="2"/>
                      <a:pt x="5" y="2"/>
                    </a:cubicBezTo>
                    <a:cubicBezTo>
                      <a:pt x="5" y="2"/>
                      <a:pt x="4" y="2"/>
                      <a:pt x="4" y="2"/>
                    </a:cubicBezTo>
                    <a:cubicBezTo>
                      <a:pt x="4" y="2"/>
                      <a:pt x="4" y="2"/>
                      <a:pt x="4" y="2"/>
                    </a:cubicBezTo>
                    <a:cubicBezTo>
                      <a:pt x="4" y="2"/>
                      <a:pt x="3" y="2"/>
                      <a:pt x="3" y="2"/>
                    </a:cubicBezTo>
                    <a:cubicBezTo>
                      <a:pt x="3" y="2"/>
                      <a:pt x="3" y="2"/>
                      <a:pt x="2" y="2"/>
                    </a:cubicBezTo>
                    <a:cubicBezTo>
                      <a:pt x="0" y="4"/>
                      <a:pt x="2" y="9"/>
                      <a:pt x="3" y="11"/>
                    </a:cubicBezTo>
                    <a:cubicBezTo>
                      <a:pt x="4" y="11"/>
                      <a:pt x="5" y="12"/>
                      <a:pt x="6" y="12"/>
                    </a:cubicBezTo>
                    <a:cubicBezTo>
                      <a:pt x="9" y="12"/>
                      <a:pt x="11" y="7"/>
                      <a:pt x="13" y="5"/>
                    </a:cubicBezTo>
                    <a:cubicBezTo>
                      <a:pt x="12"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0" name="Freeform 1302">
                <a:extLst>
                  <a:ext uri="{FF2B5EF4-FFF2-40B4-BE49-F238E27FC236}">
                    <a16:creationId xmlns:a16="http://schemas.microsoft.com/office/drawing/2014/main" id="{7A485447-391B-4373-B5CD-5277B781C3B9}"/>
                  </a:ext>
                </a:extLst>
              </p:cNvPr>
              <p:cNvSpPr>
                <a:spLocks/>
              </p:cNvSpPr>
              <p:nvPr/>
            </p:nvSpPr>
            <p:spPr bwMode="auto">
              <a:xfrm>
                <a:off x="2287" y="851"/>
                <a:ext cx="4"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0" y="0"/>
                      <a:pt x="0" y="1"/>
                      <a:pt x="0" y="3"/>
                    </a:cubicBezTo>
                    <a:cubicBezTo>
                      <a:pt x="1" y="2"/>
                      <a:pt x="1"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1" name="Freeform 1303">
                <a:extLst>
                  <a:ext uri="{FF2B5EF4-FFF2-40B4-BE49-F238E27FC236}">
                    <a16:creationId xmlns:a16="http://schemas.microsoft.com/office/drawing/2014/main" id="{082E1569-770C-4C95-B61F-99091FE82262}"/>
                  </a:ext>
                </a:extLst>
              </p:cNvPr>
              <p:cNvSpPr>
                <a:spLocks/>
              </p:cNvSpPr>
              <p:nvPr/>
            </p:nvSpPr>
            <p:spPr bwMode="auto">
              <a:xfrm>
                <a:off x="1162" y="865"/>
                <a:ext cx="7" cy="3"/>
              </a:xfrm>
              <a:custGeom>
                <a:avLst/>
                <a:gdLst>
                  <a:gd name="T0" fmla="*/ 0 w 3"/>
                  <a:gd name="T1" fmla="*/ 0 h 1"/>
                  <a:gd name="T2" fmla="*/ 2 w 3"/>
                  <a:gd name="T3" fmla="*/ 1 h 1"/>
                  <a:gd name="T4" fmla="*/ 3 w 3"/>
                  <a:gd name="T5" fmla="*/ 1 h 1"/>
                  <a:gd name="T6" fmla="*/ 0 w 3"/>
                  <a:gd name="T7" fmla="*/ 0 h 1"/>
                </a:gdLst>
                <a:ahLst/>
                <a:cxnLst>
                  <a:cxn ang="0">
                    <a:pos x="T0" y="T1"/>
                  </a:cxn>
                  <a:cxn ang="0">
                    <a:pos x="T2" y="T3"/>
                  </a:cxn>
                  <a:cxn ang="0">
                    <a:pos x="T4" y="T5"/>
                  </a:cxn>
                  <a:cxn ang="0">
                    <a:pos x="T6" y="T7"/>
                  </a:cxn>
                </a:cxnLst>
                <a:rect l="0" t="0" r="r" b="b"/>
                <a:pathLst>
                  <a:path w="3" h="1">
                    <a:moveTo>
                      <a:pt x="0" y="0"/>
                    </a:moveTo>
                    <a:cubicBezTo>
                      <a:pt x="0" y="1"/>
                      <a:pt x="1" y="1"/>
                      <a:pt x="2" y="1"/>
                    </a:cubicBezTo>
                    <a:cubicBezTo>
                      <a:pt x="3" y="1"/>
                      <a:pt x="3" y="1"/>
                      <a:pt x="3" y="1"/>
                    </a:cubicBezTo>
                    <a:cubicBezTo>
                      <a:pt x="2" y="0"/>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2" name="Freeform 1304">
                <a:extLst>
                  <a:ext uri="{FF2B5EF4-FFF2-40B4-BE49-F238E27FC236}">
                    <a16:creationId xmlns:a16="http://schemas.microsoft.com/office/drawing/2014/main" id="{D92BC50B-41D0-4BED-AE68-D7161843F6D9}"/>
                  </a:ext>
                </a:extLst>
              </p:cNvPr>
              <p:cNvSpPr>
                <a:spLocks/>
              </p:cNvSpPr>
              <p:nvPr/>
            </p:nvSpPr>
            <p:spPr bwMode="auto">
              <a:xfrm>
                <a:off x="682" y="929"/>
                <a:ext cx="38" cy="24"/>
              </a:xfrm>
              <a:custGeom>
                <a:avLst/>
                <a:gdLst>
                  <a:gd name="T0" fmla="*/ 1 w 16"/>
                  <a:gd name="T1" fmla="*/ 0 h 10"/>
                  <a:gd name="T2" fmla="*/ 0 w 16"/>
                  <a:gd name="T3" fmla="*/ 0 h 10"/>
                  <a:gd name="T4" fmla="*/ 7 w 16"/>
                  <a:gd name="T5" fmla="*/ 6 h 10"/>
                  <a:gd name="T6" fmla="*/ 14 w 16"/>
                  <a:gd name="T7" fmla="*/ 10 h 10"/>
                  <a:gd name="T8" fmla="*/ 7 w 16"/>
                  <a:gd name="T9" fmla="*/ 1 h 10"/>
                  <a:gd name="T10" fmla="*/ 1 w 16"/>
                  <a:gd name="T11" fmla="*/ 0 h 10"/>
                </a:gdLst>
                <a:ahLst/>
                <a:cxnLst>
                  <a:cxn ang="0">
                    <a:pos x="T0" y="T1"/>
                  </a:cxn>
                  <a:cxn ang="0">
                    <a:pos x="T2" y="T3"/>
                  </a:cxn>
                  <a:cxn ang="0">
                    <a:pos x="T4" y="T5"/>
                  </a:cxn>
                  <a:cxn ang="0">
                    <a:pos x="T6" y="T7"/>
                  </a:cxn>
                  <a:cxn ang="0">
                    <a:pos x="T8" y="T9"/>
                  </a:cxn>
                  <a:cxn ang="0">
                    <a:pos x="T10" y="T11"/>
                  </a:cxn>
                </a:cxnLst>
                <a:rect l="0" t="0" r="r" b="b"/>
                <a:pathLst>
                  <a:path w="16" h="10">
                    <a:moveTo>
                      <a:pt x="1" y="0"/>
                    </a:moveTo>
                    <a:cubicBezTo>
                      <a:pt x="1" y="0"/>
                      <a:pt x="0" y="0"/>
                      <a:pt x="0" y="0"/>
                    </a:cubicBezTo>
                    <a:cubicBezTo>
                      <a:pt x="2" y="3"/>
                      <a:pt x="3" y="4"/>
                      <a:pt x="7" y="6"/>
                    </a:cubicBezTo>
                    <a:cubicBezTo>
                      <a:pt x="10" y="6"/>
                      <a:pt x="12" y="8"/>
                      <a:pt x="14" y="10"/>
                    </a:cubicBezTo>
                    <a:cubicBezTo>
                      <a:pt x="16" y="2"/>
                      <a:pt x="12" y="2"/>
                      <a:pt x="7" y="1"/>
                    </a:cubicBezTo>
                    <a:cubicBezTo>
                      <a:pt x="5"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3" name="Freeform 1305">
                <a:extLst>
                  <a:ext uri="{FF2B5EF4-FFF2-40B4-BE49-F238E27FC236}">
                    <a16:creationId xmlns:a16="http://schemas.microsoft.com/office/drawing/2014/main" id="{0B32E9F2-3AF1-4BFE-9209-39BC6C28F0AC}"/>
                  </a:ext>
                </a:extLst>
              </p:cNvPr>
              <p:cNvSpPr>
                <a:spLocks/>
              </p:cNvSpPr>
              <p:nvPr/>
            </p:nvSpPr>
            <p:spPr bwMode="auto">
              <a:xfrm>
                <a:off x="2492" y="1281"/>
                <a:ext cx="12" cy="8"/>
              </a:xfrm>
              <a:custGeom>
                <a:avLst/>
                <a:gdLst>
                  <a:gd name="T0" fmla="*/ 2 w 5"/>
                  <a:gd name="T1" fmla="*/ 0 h 3"/>
                  <a:gd name="T2" fmla="*/ 0 w 5"/>
                  <a:gd name="T3" fmla="*/ 3 h 3"/>
                  <a:gd name="T4" fmla="*/ 1 w 5"/>
                  <a:gd name="T5" fmla="*/ 3 h 3"/>
                  <a:gd name="T6" fmla="*/ 5 w 5"/>
                  <a:gd name="T7" fmla="*/ 2 h 3"/>
                  <a:gd name="T8" fmla="*/ 2 w 5"/>
                  <a:gd name="T9" fmla="*/ 0 h 3"/>
                </a:gdLst>
                <a:ahLst/>
                <a:cxnLst>
                  <a:cxn ang="0">
                    <a:pos x="T0" y="T1"/>
                  </a:cxn>
                  <a:cxn ang="0">
                    <a:pos x="T2" y="T3"/>
                  </a:cxn>
                  <a:cxn ang="0">
                    <a:pos x="T4" y="T5"/>
                  </a:cxn>
                  <a:cxn ang="0">
                    <a:pos x="T6" y="T7"/>
                  </a:cxn>
                  <a:cxn ang="0">
                    <a:pos x="T8" y="T9"/>
                  </a:cxn>
                </a:cxnLst>
                <a:rect l="0" t="0" r="r" b="b"/>
                <a:pathLst>
                  <a:path w="5" h="3">
                    <a:moveTo>
                      <a:pt x="2" y="0"/>
                    </a:moveTo>
                    <a:cubicBezTo>
                      <a:pt x="1" y="1"/>
                      <a:pt x="1" y="2"/>
                      <a:pt x="0" y="3"/>
                    </a:cubicBezTo>
                    <a:cubicBezTo>
                      <a:pt x="0" y="3"/>
                      <a:pt x="1" y="3"/>
                      <a:pt x="1" y="3"/>
                    </a:cubicBezTo>
                    <a:cubicBezTo>
                      <a:pt x="2" y="3"/>
                      <a:pt x="4" y="3"/>
                      <a:pt x="5" y="2"/>
                    </a:cubicBezTo>
                    <a:cubicBezTo>
                      <a:pt x="4"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4" name="Freeform 1306">
                <a:extLst>
                  <a:ext uri="{FF2B5EF4-FFF2-40B4-BE49-F238E27FC236}">
                    <a16:creationId xmlns:a16="http://schemas.microsoft.com/office/drawing/2014/main" id="{B53EC8E6-EEC3-45AC-BEFF-30CD5A2FEDE3}"/>
                  </a:ext>
                </a:extLst>
              </p:cNvPr>
              <p:cNvSpPr>
                <a:spLocks/>
              </p:cNvSpPr>
              <p:nvPr/>
            </p:nvSpPr>
            <p:spPr bwMode="auto">
              <a:xfrm>
                <a:off x="2929" y="1104"/>
                <a:ext cx="17" cy="12"/>
              </a:xfrm>
              <a:custGeom>
                <a:avLst/>
                <a:gdLst>
                  <a:gd name="T0" fmla="*/ 4 w 7"/>
                  <a:gd name="T1" fmla="*/ 0 h 5"/>
                  <a:gd name="T2" fmla="*/ 5 w 7"/>
                  <a:gd name="T3" fmla="*/ 5 h 5"/>
                  <a:gd name="T4" fmla="*/ 4 w 7"/>
                  <a:gd name="T5" fmla="*/ 0 h 5"/>
                </a:gdLst>
                <a:ahLst/>
                <a:cxnLst>
                  <a:cxn ang="0">
                    <a:pos x="T0" y="T1"/>
                  </a:cxn>
                  <a:cxn ang="0">
                    <a:pos x="T2" y="T3"/>
                  </a:cxn>
                  <a:cxn ang="0">
                    <a:pos x="T4" y="T5"/>
                  </a:cxn>
                </a:cxnLst>
                <a:rect l="0" t="0" r="r" b="b"/>
                <a:pathLst>
                  <a:path w="7" h="5">
                    <a:moveTo>
                      <a:pt x="4" y="0"/>
                    </a:moveTo>
                    <a:cubicBezTo>
                      <a:pt x="0" y="2"/>
                      <a:pt x="3" y="5"/>
                      <a:pt x="5" y="5"/>
                    </a:cubicBezTo>
                    <a:cubicBezTo>
                      <a:pt x="6" y="5"/>
                      <a:pt x="7" y="4"/>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5" name="Freeform 1307">
                <a:extLst>
                  <a:ext uri="{FF2B5EF4-FFF2-40B4-BE49-F238E27FC236}">
                    <a16:creationId xmlns:a16="http://schemas.microsoft.com/office/drawing/2014/main" id="{C3808170-4D17-4D0B-B4F9-61DCE418999F}"/>
                  </a:ext>
                </a:extLst>
              </p:cNvPr>
              <p:cNvSpPr>
                <a:spLocks/>
              </p:cNvSpPr>
              <p:nvPr/>
            </p:nvSpPr>
            <p:spPr bwMode="auto">
              <a:xfrm>
                <a:off x="2915" y="1199"/>
                <a:ext cx="2" cy="9"/>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0" y="1"/>
                      <a:pt x="0" y="3"/>
                      <a:pt x="0" y="4"/>
                    </a:cubicBezTo>
                    <a:cubicBezTo>
                      <a:pt x="0"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6" name="Freeform 1308">
                <a:extLst>
                  <a:ext uri="{FF2B5EF4-FFF2-40B4-BE49-F238E27FC236}">
                    <a16:creationId xmlns:a16="http://schemas.microsoft.com/office/drawing/2014/main" id="{438F542C-1248-47AF-8535-CCC66713AE47}"/>
                  </a:ext>
                </a:extLst>
              </p:cNvPr>
              <p:cNvSpPr>
                <a:spLocks/>
              </p:cNvSpPr>
              <p:nvPr/>
            </p:nvSpPr>
            <p:spPr bwMode="auto">
              <a:xfrm>
                <a:off x="812" y="960"/>
                <a:ext cx="19" cy="12"/>
              </a:xfrm>
              <a:custGeom>
                <a:avLst/>
                <a:gdLst>
                  <a:gd name="T0" fmla="*/ 3 w 8"/>
                  <a:gd name="T1" fmla="*/ 0 h 5"/>
                  <a:gd name="T2" fmla="*/ 1 w 8"/>
                  <a:gd name="T3" fmla="*/ 2 h 5"/>
                  <a:gd name="T4" fmla="*/ 0 w 8"/>
                  <a:gd name="T5" fmla="*/ 2 h 5"/>
                  <a:gd name="T6" fmla="*/ 4 w 8"/>
                  <a:gd name="T7" fmla="*/ 5 h 5"/>
                  <a:gd name="T8" fmla="*/ 8 w 8"/>
                  <a:gd name="T9" fmla="*/ 1 h 5"/>
                  <a:gd name="T10" fmla="*/ 3 w 8"/>
                  <a:gd name="T11" fmla="*/ 0 h 5"/>
                </a:gdLst>
                <a:ahLst/>
                <a:cxnLst>
                  <a:cxn ang="0">
                    <a:pos x="T0" y="T1"/>
                  </a:cxn>
                  <a:cxn ang="0">
                    <a:pos x="T2" y="T3"/>
                  </a:cxn>
                  <a:cxn ang="0">
                    <a:pos x="T4" y="T5"/>
                  </a:cxn>
                  <a:cxn ang="0">
                    <a:pos x="T6" y="T7"/>
                  </a:cxn>
                  <a:cxn ang="0">
                    <a:pos x="T8" y="T9"/>
                  </a:cxn>
                  <a:cxn ang="0">
                    <a:pos x="T10" y="T11"/>
                  </a:cxn>
                </a:cxnLst>
                <a:rect l="0" t="0" r="r" b="b"/>
                <a:pathLst>
                  <a:path w="8" h="5">
                    <a:moveTo>
                      <a:pt x="3" y="0"/>
                    </a:moveTo>
                    <a:cubicBezTo>
                      <a:pt x="2" y="0"/>
                      <a:pt x="1" y="0"/>
                      <a:pt x="1" y="2"/>
                    </a:cubicBezTo>
                    <a:cubicBezTo>
                      <a:pt x="1" y="2"/>
                      <a:pt x="1" y="2"/>
                      <a:pt x="0" y="2"/>
                    </a:cubicBezTo>
                    <a:cubicBezTo>
                      <a:pt x="2" y="4"/>
                      <a:pt x="3" y="5"/>
                      <a:pt x="4" y="5"/>
                    </a:cubicBezTo>
                    <a:cubicBezTo>
                      <a:pt x="5" y="5"/>
                      <a:pt x="6" y="3"/>
                      <a:pt x="8" y="1"/>
                    </a:cubicBezTo>
                    <a:cubicBezTo>
                      <a:pt x="6" y="0"/>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7" name="Freeform 1309">
                <a:extLst>
                  <a:ext uri="{FF2B5EF4-FFF2-40B4-BE49-F238E27FC236}">
                    <a16:creationId xmlns:a16="http://schemas.microsoft.com/office/drawing/2014/main" id="{D667E127-3635-4B83-9DFA-39A11554766C}"/>
                  </a:ext>
                </a:extLst>
              </p:cNvPr>
              <p:cNvSpPr>
                <a:spLocks/>
              </p:cNvSpPr>
              <p:nvPr/>
            </p:nvSpPr>
            <p:spPr bwMode="auto">
              <a:xfrm>
                <a:off x="836" y="955"/>
                <a:ext cx="28" cy="26"/>
              </a:xfrm>
              <a:custGeom>
                <a:avLst/>
                <a:gdLst>
                  <a:gd name="T0" fmla="*/ 9 w 12"/>
                  <a:gd name="T1" fmla="*/ 0 h 11"/>
                  <a:gd name="T2" fmla="*/ 0 w 12"/>
                  <a:gd name="T3" fmla="*/ 4 h 11"/>
                  <a:gd name="T4" fmla="*/ 4 w 12"/>
                  <a:gd name="T5" fmla="*/ 6 h 11"/>
                  <a:gd name="T6" fmla="*/ 9 w 12"/>
                  <a:gd name="T7" fmla="*/ 11 h 11"/>
                  <a:gd name="T8" fmla="*/ 11 w 12"/>
                  <a:gd name="T9" fmla="*/ 10 h 11"/>
                  <a:gd name="T10" fmla="*/ 12 w 12"/>
                  <a:gd name="T11" fmla="*/ 8 h 11"/>
                  <a:gd name="T12" fmla="*/ 12 w 12"/>
                  <a:gd name="T13" fmla="*/ 4 h 11"/>
                  <a:gd name="T14" fmla="*/ 12 w 12"/>
                  <a:gd name="T15" fmla="*/ 4 h 11"/>
                  <a:gd name="T16" fmla="*/ 11 w 12"/>
                  <a:gd name="T17" fmla="*/ 2 h 11"/>
                  <a:gd name="T18" fmla="*/ 10 w 12"/>
                  <a:gd name="T19" fmla="*/ 0 h 11"/>
                  <a:gd name="T20" fmla="*/ 10 w 12"/>
                  <a:gd name="T21" fmla="*/ 0 h 11"/>
                  <a:gd name="T22" fmla="*/ 9 w 12"/>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1">
                    <a:moveTo>
                      <a:pt x="9" y="0"/>
                    </a:moveTo>
                    <a:cubicBezTo>
                      <a:pt x="6" y="0"/>
                      <a:pt x="3" y="2"/>
                      <a:pt x="0" y="4"/>
                    </a:cubicBezTo>
                    <a:cubicBezTo>
                      <a:pt x="1" y="5"/>
                      <a:pt x="3" y="5"/>
                      <a:pt x="4" y="6"/>
                    </a:cubicBezTo>
                    <a:cubicBezTo>
                      <a:pt x="7" y="7"/>
                      <a:pt x="7" y="11"/>
                      <a:pt x="9" y="11"/>
                    </a:cubicBezTo>
                    <a:cubicBezTo>
                      <a:pt x="9" y="11"/>
                      <a:pt x="10" y="11"/>
                      <a:pt x="11" y="10"/>
                    </a:cubicBezTo>
                    <a:cubicBezTo>
                      <a:pt x="12" y="9"/>
                      <a:pt x="12" y="9"/>
                      <a:pt x="12" y="8"/>
                    </a:cubicBezTo>
                    <a:cubicBezTo>
                      <a:pt x="12" y="7"/>
                      <a:pt x="12" y="5"/>
                      <a:pt x="12" y="4"/>
                    </a:cubicBezTo>
                    <a:cubicBezTo>
                      <a:pt x="12" y="4"/>
                      <a:pt x="12" y="4"/>
                      <a:pt x="12" y="4"/>
                    </a:cubicBezTo>
                    <a:cubicBezTo>
                      <a:pt x="12" y="4"/>
                      <a:pt x="11" y="3"/>
                      <a:pt x="11" y="2"/>
                    </a:cubicBezTo>
                    <a:cubicBezTo>
                      <a:pt x="10" y="1"/>
                      <a:pt x="9" y="0"/>
                      <a:pt x="10" y="0"/>
                    </a:cubicBezTo>
                    <a:cubicBezTo>
                      <a:pt x="10" y="0"/>
                      <a:pt x="10" y="0"/>
                      <a:pt x="10" y="0"/>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8" name="Freeform 1310">
                <a:extLst>
                  <a:ext uri="{FF2B5EF4-FFF2-40B4-BE49-F238E27FC236}">
                    <a16:creationId xmlns:a16="http://schemas.microsoft.com/office/drawing/2014/main" id="{B79B36C7-463E-4F08-B980-7801D9A46717}"/>
                  </a:ext>
                </a:extLst>
              </p:cNvPr>
              <p:cNvSpPr>
                <a:spLocks/>
              </p:cNvSpPr>
              <p:nvPr/>
            </p:nvSpPr>
            <p:spPr bwMode="auto">
              <a:xfrm>
                <a:off x="429" y="1040"/>
                <a:ext cx="17" cy="26"/>
              </a:xfrm>
              <a:custGeom>
                <a:avLst/>
                <a:gdLst>
                  <a:gd name="T0" fmla="*/ 0 w 7"/>
                  <a:gd name="T1" fmla="*/ 0 h 11"/>
                  <a:gd name="T2" fmla="*/ 7 w 7"/>
                  <a:gd name="T3" fmla="*/ 11 h 11"/>
                  <a:gd name="T4" fmla="*/ 0 w 7"/>
                  <a:gd name="T5" fmla="*/ 0 h 11"/>
                </a:gdLst>
                <a:ahLst/>
                <a:cxnLst>
                  <a:cxn ang="0">
                    <a:pos x="T0" y="T1"/>
                  </a:cxn>
                  <a:cxn ang="0">
                    <a:pos x="T2" y="T3"/>
                  </a:cxn>
                  <a:cxn ang="0">
                    <a:pos x="T4" y="T5"/>
                  </a:cxn>
                </a:cxnLst>
                <a:rect l="0" t="0" r="r" b="b"/>
                <a:pathLst>
                  <a:path w="7" h="11">
                    <a:moveTo>
                      <a:pt x="0" y="0"/>
                    </a:moveTo>
                    <a:cubicBezTo>
                      <a:pt x="2" y="4"/>
                      <a:pt x="4" y="7"/>
                      <a:pt x="7" y="11"/>
                    </a:cubicBezTo>
                    <a:cubicBezTo>
                      <a:pt x="6" y="9"/>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9" name="Freeform 1311">
                <a:extLst>
                  <a:ext uri="{FF2B5EF4-FFF2-40B4-BE49-F238E27FC236}">
                    <a16:creationId xmlns:a16="http://schemas.microsoft.com/office/drawing/2014/main" id="{7F9D966E-DCB5-4CDA-A26C-ECF46EEEA2F5}"/>
                  </a:ext>
                </a:extLst>
              </p:cNvPr>
              <p:cNvSpPr>
                <a:spLocks/>
              </p:cNvSpPr>
              <p:nvPr/>
            </p:nvSpPr>
            <p:spPr bwMode="auto">
              <a:xfrm>
                <a:off x="2291" y="785"/>
                <a:ext cx="17" cy="24"/>
              </a:xfrm>
              <a:custGeom>
                <a:avLst/>
                <a:gdLst>
                  <a:gd name="T0" fmla="*/ 0 w 7"/>
                  <a:gd name="T1" fmla="*/ 0 h 10"/>
                  <a:gd name="T2" fmla="*/ 0 w 7"/>
                  <a:gd name="T3" fmla="*/ 0 h 10"/>
                  <a:gd name="T4" fmla="*/ 6 w 7"/>
                  <a:gd name="T5" fmla="*/ 10 h 10"/>
                  <a:gd name="T6" fmla="*/ 4 w 7"/>
                  <a:gd name="T7" fmla="*/ 4 h 10"/>
                  <a:gd name="T8" fmla="*/ 0 w 7"/>
                  <a:gd name="T9" fmla="*/ 0 h 10"/>
                </a:gdLst>
                <a:ahLst/>
                <a:cxnLst>
                  <a:cxn ang="0">
                    <a:pos x="T0" y="T1"/>
                  </a:cxn>
                  <a:cxn ang="0">
                    <a:pos x="T2" y="T3"/>
                  </a:cxn>
                  <a:cxn ang="0">
                    <a:pos x="T4" y="T5"/>
                  </a:cxn>
                  <a:cxn ang="0">
                    <a:pos x="T6" y="T7"/>
                  </a:cxn>
                  <a:cxn ang="0">
                    <a:pos x="T8" y="T9"/>
                  </a:cxn>
                </a:cxnLst>
                <a:rect l="0" t="0" r="r" b="b"/>
                <a:pathLst>
                  <a:path w="7" h="10">
                    <a:moveTo>
                      <a:pt x="0" y="0"/>
                    </a:moveTo>
                    <a:cubicBezTo>
                      <a:pt x="0" y="0"/>
                      <a:pt x="0" y="0"/>
                      <a:pt x="0" y="0"/>
                    </a:cubicBezTo>
                    <a:cubicBezTo>
                      <a:pt x="1" y="4"/>
                      <a:pt x="4" y="7"/>
                      <a:pt x="6" y="10"/>
                    </a:cubicBezTo>
                    <a:cubicBezTo>
                      <a:pt x="7" y="7"/>
                      <a:pt x="7" y="6"/>
                      <a:pt x="4" y="4"/>
                    </a:cubicBezTo>
                    <a:cubicBezTo>
                      <a:pt x="5" y="3"/>
                      <a:pt x="3"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0" name="Freeform 1312">
                <a:extLst>
                  <a:ext uri="{FF2B5EF4-FFF2-40B4-BE49-F238E27FC236}">
                    <a16:creationId xmlns:a16="http://schemas.microsoft.com/office/drawing/2014/main" id="{B15E8629-4EC0-4EFE-9A33-562141633704}"/>
                  </a:ext>
                </a:extLst>
              </p:cNvPr>
              <p:cNvSpPr>
                <a:spLocks/>
              </p:cNvSpPr>
              <p:nvPr/>
            </p:nvSpPr>
            <p:spPr bwMode="auto">
              <a:xfrm>
                <a:off x="2031" y="1071"/>
                <a:ext cx="17" cy="5"/>
              </a:xfrm>
              <a:custGeom>
                <a:avLst/>
                <a:gdLst>
                  <a:gd name="T0" fmla="*/ 1 w 7"/>
                  <a:gd name="T1" fmla="*/ 0 h 2"/>
                  <a:gd name="T2" fmla="*/ 0 w 7"/>
                  <a:gd name="T3" fmla="*/ 2 h 2"/>
                  <a:gd name="T4" fmla="*/ 7 w 7"/>
                  <a:gd name="T5" fmla="*/ 1 h 2"/>
                  <a:gd name="T6" fmla="*/ 1 w 7"/>
                  <a:gd name="T7" fmla="*/ 0 h 2"/>
                </a:gdLst>
                <a:ahLst/>
                <a:cxnLst>
                  <a:cxn ang="0">
                    <a:pos x="T0" y="T1"/>
                  </a:cxn>
                  <a:cxn ang="0">
                    <a:pos x="T2" y="T3"/>
                  </a:cxn>
                  <a:cxn ang="0">
                    <a:pos x="T4" y="T5"/>
                  </a:cxn>
                  <a:cxn ang="0">
                    <a:pos x="T6" y="T7"/>
                  </a:cxn>
                </a:cxnLst>
                <a:rect l="0" t="0" r="r" b="b"/>
                <a:pathLst>
                  <a:path w="7" h="2">
                    <a:moveTo>
                      <a:pt x="1" y="0"/>
                    </a:moveTo>
                    <a:cubicBezTo>
                      <a:pt x="0" y="1"/>
                      <a:pt x="0" y="1"/>
                      <a:pt x="0" y="2"/>
                    </a:cubicBezTo>
                    <a:cubicBezTo>
                      <a:pt x="2" y="2"/>
                      <a:pt x="5" y="2"/>
                      <a:pt x="7" y="1"/>
                    </a:cubicBezTo>
                    <a:cubicBezTo>
                      <a:pt x="5" y="0"/>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1" name="Freeform 1313">
                <a:extLst>
                  <a:ext uri="{FF2B5EF4-FFF2-40B4-BE49-F238E27FC236}">
                    <a16:creationId xmlns:a16="http://schemas.microsoft.com/office/drawing/2014/main" id="{4618C03F-B1BD-4228-A3A9-DAEBF4C7C3EB}"/>
                  </a:ext>
                </a:extLst>
              </p:cNvPr>
              <p:cNvSpPr>
                <a:spLocks/>
              </p:cNvSpPr>
              <p:nvPr/>
            </p:nvSpPr>
            <p:spPr bwMode="auto">
              <a:xfrm>
                <a:off x="1147" y="835"/>
                <a:ext cx="10" cy="7"/>
              </a:xfrm>
              <a:custGeom>
                <a:avLst/>
                <a:gdLst>
                  <a:gd name="T0" fmla="*/ 3 w 4"/>
                  <a:gd name="T1" fmla="*/ 0 h 3"/>
                  <a:gd name="T2" fmla="*/ 0 w 4"/>
                  <a:gd name="T3" fmla="*/ 2 h 3"/>
                  <a:gd name="T4" fmla="*/ 2 w 4"/>
                  <a:gd name="T5" fmla="*/ 3 h 3"/>
                  <a:gd name="T6" fmla="*/ 3 w 4"/>
                  <a:gd name="T7" fmla="*/ 0 h 3"/>
                </a:gdLst>
                <a:ahLst/>
                <a:cxnLst>
                  <a:cxn ang="0">
                    <a:pos x="T0" y="T1"/>
                  </a:cxn>
                  <a:cxn ang="0">
                    <a:pos x="T2" y="T3"/>
                  </a:cxn>
                  <a:cxn ang="0">
                    <a:pos x="T4" y="T5"/>
                  </a:cxn>
                  <a:cxn ang="0">
                    <a:pos x="T6" y="T7"/>
                  </a:cxn>
                </a:cxnLst>
                <a:rect l="0" t="0" r="r" b="b"/>
                <a:pathLst>
                  <a:path w="4" h="3">
                    <a:moveTo>
                      <a:pt x="3" y="0"/>
                    </a:moveTo>
                    <a:cubicBezTo>
                      <a:pt x="2" y="1"/>
                      <a:pt x="1" y="1"/>
                      <a:pt x="0" y="2"/>
                    </a:cubicBezTo>
                    <a:cubicBezTo>
                      <a:pt x="1" y="3"/>
                      <a:pt x="1" y="3"/>
                      <a:pt x="2" y="3"/>
                    </a:cubicBezTo>
                    <a:cubicBezTo>
                      <a:pt x="3" y="3"/>
                      <a:pt x="4"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2" name="Freeform 1314">
                <a:extLst>
                  <a:ext uri="{FF2B5EF4-FFF2-40B4-BE49-F238E27FC236}">
                    <a16:creationId xmlns:a16="http://schemas.microsoft.com/office/drawing/2014/main" id="{5072BDEE-51CD-4BFF-B31B-0A0BC837A1D1}"/>
                  </a:ext>
                </a:extLst>
              </p:cNvPr>
              <p:cNvSpPr>
                <a:spLocks noEditPoints="1"/>
              </p:cNvSpPr>
              <p:nvPr/>
            </p:nvSpPr>
            <p:spPr bwMode="auto">
              <a:xfrm>
                <a:off x="1819" y="882"/>
                <a:ext cx="4" cy="7"/>
              </a:xfrm>
              <a:custGeom>
                <a:avLst/>
                <a:gdLst>
                  <a:gd name="T0" fmla="*/ 2 w 2"/>
                  <a:gd name="T1" fmla="*/ 3 h 3"/>
                  <a:gd name="T2" fmla="*/ 2 w 2"/>
                  <a:gd name="T3" fmla="*/ 3 h 3"/>
                  <a:gd name="T4" fmla="*/ 2 w 2"/>
                  <a:gd name="T5" fmla="*/ 3 h 3"/>
                  <a:gd name="T6" fmla="*/ 0 w 2"/>
                  <a:gd name="T7" fmla="*/ 0 h 3"/>
                  <a:gd name="T8" fmla="*/ 2 w 2"/>
                  <a:gd name="T9" fmla="*/ 3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3"/>
                      <a:pt x="2" y="3"/>
                      <a:pt x="2" y="3"/>
                    </a:cubicBezTo>
                    <a:moveTo>
                      <a:pt x="0" y="0"/>
                    </a:moveTo>
                    <a:cubicBezTo>
                      <a:pt x="1" y="1"/>
                      <a:pt x="2" y="2"/>
                      <a:pt x="2" y="3"/>
                    </a:cubicBezTo>
                    <a:cubicBezTo>
                      <a:pt x="2"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3" name="Freeform 1315">
                <a:extLst>
                  <a:ext uri="{FF2B5EF4-FFF2-40B4-BE49-F238E27FC236}">
                    <a16:creationId xmlns:a16="http://schemas.microsoft.com/office/drawing/2014/main" id="{890443B7-2726-4ED3-BE7B-5CA4850E64C6}"/>
                  </a:ext>
                </a:extLst>
              </p:cNvPr>
              <p:cNvSpPr>
                <a:spLocks/>
              </p:cNvSpPr>
              <p:nvPr/>
            </p:nvSpPr>
            <p:spPr bwMode="auto">
              <a:xfrm>
                <a:off x="1190" y="1107"/>
                <a:ext cx="26" cy="18"/>
              </a:xfrm>
              <a:custGeom>
                <a:avLst/>
                <a:gdLst>
                  <a:gd name="T0" fmla="*/ 4 w 11"/>
                  <a:gd name="T1" fmla="*/ 0 h 8"/>
                  <a:gd name="T2" fmla="*/ 3 w 11"/>
                  <a:gd name="T3" fmla="*/ 0 h 8"/>
                  <a:gd name="T4" fmla="*/ 2 w 11"/>
                  <a:gd name="T5" fmla="*/ 0 h 8"/>
                  <a:gd name="T6" fmla="*/ 2 w 11"/>
                  <a:gd name="T7" fmla="*/ 0 h 8"/>
                  <a:gd name="T8" fmla="*/ 2 w 11"/>
                  <a:gd name="T9" fmla="*/ 0 h 8"/>
                  <a:gd name="T10" fmla="*/ 2 w 11"/>
                  <a:gd name="T11" fmla="*/ 0 h 8"/>
                  <a:gd name="T12" fmla="*/ 2 w 11"/>
                  <a:gd name="T13" fmla="*/ 1 h 8"/>
                  <a:gd name="T14" fmla="*/ 0 w 11"/>
                  <a:gd name="T15" fmla="*/ 8 h 8"/>
                  <a:gd name="T16" fmla="*/ 10 w 11"/>
                  <a:gd name="T17" fmla="*/ 5 h 8"/>
                  <a:gd name="T18" fmla="*/ 10 w 11"/>
                  <a:gd name="T19" fmla="*/ 4 h 8"/>
                  <a:gd name="T20" fmla="*/ 11 w 11"/>
                  <a:gd name="T21" fmla="*/ 3 h 8"/>
                  <a:gd name="T22" fmla="*/ 11 w 11"/>
                  <a:gd name="T23" fmla="*/ 3 h 8"/>
                  <a:gd name="T24" fmla="*/ 10 w 11"/>
                  <a:gd name="T25" fmla="*/ 2 h 8"/>
                  <a:gd name="T26" fmla="*/ 7 w 11"/>
                  <a:gd name="T27" fmla="*/ 1 h 8"/>
                  <a:gd name="T28" fmla="*/ 6 w 11"/>
                  <a:gd name="T29" fmla="*/ 0 h 8"/>
                  <a:gd name="T30" fmla="*/ 4 w 11"/>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8">
                    <a:moveTo>
                      <a:pt x="4" y="0"/>
                    </a:move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1"/>
                      <a:pt x="2" y="1"/>
                      <a:pt x="2" y="1"/>
                    </a:cubicBezTo>
                    <a:cubicBezTo>
                      <a:pt x="1" y="2"/>
                      <a:pt x="1" y="6"/>
                      <a:pt x="0" y="8"/>
                    </a:cubicBezTo>
                    <a:cubicBezTo>
                      <a:pt x="3" y="8"/>
                      <a:pt x="8" y="7"/>
                      <a:pt x="10" y="5"/>
                    </a:cubicBezTo>
                    <a:cubicBezTo>
                      <a:pt x="10" y="4"/>
                      <a:pt x="10" y="4"/>
                      <a:pt x="10" y="4"/>
                    </a:cubicBezTo>
                    <a:cubicBezTo>
                      <a:pt x="10" y="4"/>
                      <a:pt x="11" y="3"/>
                      <a:pt x="11" y="3"/>
                    </a:cubicBezTo>
                    <a:cubicBezTo>
                      <a:pt x="11" y="3"/>
                      <a:pt x="11" y="3"/>
                      <a:pt x="11" y="3"/>
                    </a:cubicBezTo>
                    <a:cubicBezTo>
                      <a:pt x="11" y="2"/>
                      <a:pt x="10" y="2"/>
                      <a:pt x="10" y="2"/>
                    </a:cubicBezTo>
                    <a:cubicBezTo>
                      <a:pt x="10" y="1"/>
                      <a:pt x="8" y="1"/>
                      <a:pt x="7" y="1"/>
                    </a:cubicBezTo>
                    <a:cubicBezTo>
                      <a:pt x="6" y="0"/>
                      <a:pt x="6" y="0"/>
                      <a:pt x="6"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4" name="Freeform 1316">
                <a:extLst>
                  <a:ext uri="{FF2B5EF4-FFF2-40B4-BE49-F238E27FC236}">
                    <a16:creationId xmlns:a16="http://schemas.microsoft.com/office/drawing/2014/main" id="{F6909640-CEAC-4FB5-A112-0BEB5F17C956}"/>
                  </a:ext>
                </a:extLst>
              </p:cNvPr>
              <p:cNvSpPr>
                <a:spLocks/>
              </p:cNvSpPr>
              <p:nvPr/>
            </p:nvSpPr>
            <p:spPr bwMode="auto">
              <a:xfrm>
                <a:off x="2402" y="1057"/>
                <a:ext cx="12" cy="19"/>
              </a:xfrm>
              <a:custGeom>
                <a:avLst/>
                <a:gdLst>
                  <a:gd name="T0" fmla="*/ 4 w 5"/>
                  <a:gd name="T1" fmla="*/ 0 h 8"/>
                  <a:gd name="T2" fmla="*/ 1 w 5"/>
                  <a:gd name="T3" fmla="*/ 5 h 8"/>
                  <a:gd name="T4" fmla="*/ 1 w 5"/>
                  <a:gd name="T5" fmla="*/ 5 h 8"/>
                  <a:gd name="T6" fmla="*/ 1 w 5"/>
                  <a:gd name="T7" fmla="*/ 6 h 8"/>
                  <a:gd name="T8" fmla="*/ 1 w 5"/>
                  <a:gd name="T9" fmla="*/ 7 h 8"/>
                  <a:gd name="T10" fmla="*/ 1 w 5"/>
                  <a:gd name="T11" fmla="*/ 7 h 8"/>
                  <a:gd name="T12" fmla="*/ 3 w 5"/>
                  <a:gd name="T13" fmla="*/ 8 h 8"/>
                  <a:gd name="T14" fmla="*/ 5 w 5"/>
                  <a:gd name="T15" fmla="*/ 0 h 8"/>
                  <a:gd name="T16" fmla="*/ 4 w 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4" y="0"/>
                    </a:moveTo>
                    <a:cubicBezTo>
                      <a:pt x="1" y="0"/>
                      <a:pt x="0" y="2"/>
                      <a:pt x="1" y="5"/>
                    </a:cubicBezTo>
                    <a:cubicBezTo>
                      <a:pt x="1" y="5"/>
                      <a:pt x="1" y="5"/>
                      <a:pt x="1" y="5"/>
                    </a:cubicBezTo>
                    <a:cubicBezTo>
                      <a:pt x="1" y="5"/>
                      <a:pt x="1" y="6"/>
                      <a:pt x="1" y="6"/>
                    </a:cubicBezTo>
                    <a:cubicBezTo>
                      <a:pt x="1" y="7"/>
                      <a:pt x="1" y="7"/>
                      <a:pt x="1" y="7"/>
                    </a:cubicBezTo>
                    <a:cubicBezTo>
                      <a:pt x="1" y="7"/>
                      <a:pt x="1" y="7"/>
                      <a:pt x="1" y="7"/>
                    </a:cubicBezTo>
                    <a:cubicBezTo>
                      <a:pt x="2" y="8"/>
                      <a:pt x="2" y="8"/>
                      <a:pt x="3" y="8"/>
                    </a:cubicBezTo>
                    <a:cubicBezTo>
                      <a:pt x="5" y="8"/>
                      <a:pt x="5" y="2"/>
                      <a:pt x="5" y="0"/>
                    </a:cubicBezTo>
                    <a:cubicBezTo>
                      <a:pt x="5"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5" name="Freeform 1317">
                <a:extLst>
                  <a:ext uri="{FF2B5EF4-FFF2-40B4-BE49-F238E27FC236}">
                    <a16:creationId xmlns:a16="http://schemas.microsoft.com/office/drawing/2014/main" id="{8AF9965A-049F-491E-A4BF-6293EC68DB01}"/>
                  </a:ext>
                </a:extLst>
              </p:cNvPr>
              <p:cNvSpPr>
                <a:spLocks/>
              </p:cNvSpPr>
              <p:nvPr/>
            </p:nvSpPr>
            <p:spPr bwMode="auto">
              <a:xfrm>
                <a:off x="689" y="1402"/>
                <a:ext cx="21" cy="14"/>
              </a:xfrm>
              <a:custGeom>
                <a:avLst/>
                <a:gdLst>
                  <a:gd name="T0" fmla="*/ 2 w 9"/>
                  <a:gd name="T1" fmla="*/ 0 h 6"/>
                  <a:gd name="T2" fmla="*/ 0 w 9"/>
                  <a:gd name="T3" fmla="*/ 1 h 6"/>
                  <a:gd name="T4" fmla="*/ 8 w 9"/>
                  <a:gd name="T5" fmla="*/ 6 h 6"/>
                  <a:gd name="T6" fmla="*/ 2 w 9"/>
                  <a:gd name="T7" fmla="*/ 0 h 6"/>
                </a:gdLst>
                <a:ahLst/>
                <a:cxnLst>
                  <a:cxn ang="0">
                    <a:pos x="T0" y="T1"/>
                  </a:cxn>
                  <a:cxn ang="0">
                    <a:pos x="T2" y="T3"/>
                  </a:cxn>
                  <a:cxn ang="0">
                    <a:pos x="T4" y="T5"/>
                  </a:cxn>
                  <a:cxn ang="0">
                    <a:pos x="T6" y="T7"/>
                  </a:cxn>
                </a:cxnLst>
                <a:rect l="0" t="0" r="r" b="b"/>
                <a:pathLst>
                  <a:path w="9" h="6">
                    <a:moveTo>
                      <a:pt x="2" y="0"/>
                    </a:moveTo>
                    <a:cubicBezTo>
                      <a:pt x="2" y="0"/>
                      <a:pt x="1" y="1"/>
                      <a:pt x="0" y="1"/>
                    </a:cubicBezTo>
                    <a:cubicBezTo>
                      <a:pt x="3" y="3"/>
                      <a:pt x="5" y="5"/>
                      <a:pt x="8" y="6"/>
                    </a:cubicBezTo>
                    <a:cubicBezTo>
                      <a:pt x="9" y="3"/>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6" name="Freeform 1318">
                <a:extLst>
                  <a:ext uri="{FF2B5EF4-FFF2-40B4-BE49-F238E27FC236}">
                    <a16:creationId xmlns:a16="http://schemas.microsoft.com/office/drawing/2014/main" id="{A4DAE117-BF3A-4714-83B3-9E458532A726}"/>
                  </a:ext>
                </a:extLst>
              </p:cNvPr>
              <p:cNvSpPr>
                <a:spLocks/>
              </p:cNvSpPr>
              <p:nvPr/>
            </p:nvSpPr>
            <p:spPr bwMode="auto">
              <a:xfrm>
                <a:off x="2955" y="1142"/>
                <a:ext cx="14" cy="2"/>
              </a:xfrm>
              <a:custGeom>
                <a:avLst/>
                <a:gdLst>
                  <a:gd name="T0" fmla="*/ 0 w 6"/>
                  <a:gd name="T1" fmla="*/ 0 h 1"/>
                  <a:gd name="T2" fmla="*/ 4 w 6"/>
                  <a:gd name="T3" fmla="*/ 1 h 1"/>
                  <a:gd name="T4" fmla="*/ 6 w 6"/>
                  <a:gd name="T5" fmla="*/ 0 h 1"/>
                  <a:gd name="T6" fmla="*/ 0 w 6"/>
                  <a:gd name="T7" fmla="*/ 0 h 1"/>
                </a:gdLst>
                <a:ahLst/>
                <a:cxnLst>
                  <a:cxn ang="0">
                    <a:pos x="T0" y="T1"/>
                  </a:cxn>
                  <a:cxn ang="0">
                    <a:pos x="T2" y="T3"/>
                  </a:cxn>
                  <a:cxn ang="0">
                    <a:pos x="T4" y="T5"/>
                  </a:cxn>
                  <a:cxn ang="0">
                    <a:pos x="T6" y="T7"/>
                  </a:cxn>
                </a:cxnLst>
                <a:rect l="0" t="0" r="r" b="b"/>
                <a:pathLst>
                  <a:path w="6" h="1">
                    <a:moveTo>
                      <a:pt x="0" y="0"/>
                    </a:moveTo>
                    <a:cubicBezTo>
                      <a:pt x="1" y="0"/>
                      <a:pt x="2" y="1"/>
                      <a:pt x="4" y="1"/>
                    </a:cubicBezTo>
                    <a:cubicBezTo>
                      <a:pt x="4" y="1"/>
                      <a:pt x="5" y="1"/>
                      <a:pt x="6" y="0"/>
                    </a:cubicBezTo>
                    <a:cubicBezTo>
                      <a:pt x="4" y="0"/>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7" name="Freeform 1319">
                <a:extLst>
                  <a:ext uri="{FF2B5EF4-FFF2-40B4-BE49-F238E27FC236}">
                    <a16:creationId xmlns:a16="http://schemas.microsoft.com/office/drawing/2014/main" id="{F0EF7ECA-C292-4892-9414-FC18E029E5EE}"/>
                  </a:ext>
                </a:extLst>
              </p:cNvPr>
              <p:cNvSpPr>
                <a:spLocks noEditPoints="1"/>
              </p:cNvSpPr>
              <p:nvPr/>
            </p:nvSpPr>
            <p:spPr bwMode="auto">
              <a:xfrm>
                <a:off x="2142" y="1738"/>
                <a:ext cx="10" cy="14"/>
              </a:xfrm>
              <a:custGeom>
                <a:avLst/>
                <a:gdLst>
                  <a:gd name="T0" fmla="*/ 4 w 4"/>
                  <a:gd name="T1" fmla="*/ 0 h 6"/>
                  <a:gd name="T2" fmla="*/ 1 w 4"/>
                  <a:gd name="T3" fmla="*/ 6 h 6"/>
                  <a:gd name="T4" fmla="*/ 4 w 4"/>
                  <a:gd name="T5" fmla="*/ 0 h 6"/>
                  <a:gd name="T6" fmla="*/ 4 w 4"/>
                  <a:gd name="T7" fmla="*/ 0 h 6"/>
                  <a:gd name="T8" fmla="*/ 4 w 4"/>
                  <a:gd name="T9" fmla="*/ 0 h 6"/>
                  <a:gd name="T10" fmla="*/ 4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4" y="0"/>
                    </a:moveTo>
                    <a:cubicBezTo>
                      <a:pt x="3" y="2"/>
                      <a:pt x="0" y="3"/>
                      <a:pt x="1" y="6"/>
                    </a:cubicBezTo>
                    <a:cubicBezTo>
                      <a:pt x="2" y="4"/>
                      <a:pt x="3" y="2"/>
                      <a:pt x="4" y="0"/>
                    </a:cubicBezTo>
                    <a:moveTo>
                      <a:pt x="4" y="0"/>
                    </a:move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8" name="Freeform 1320">
                <a:extLst>
                  <a:ext uri="{FF2B5EF4-FFF2-40B4-BE49-F238E27FC236}">
                    <a16:creationId xmlns:a16="http://schemas.microsoft.com/office/drawing/2014/main" id="{D6DE8930-84A3-4629-B8DF-B0A1FD98717B}"/>
                  </a:ext>
                </a:extLst>
              </p:cNvPr>
              <p:cNvSpPr>
                <a:spLocks/>
              </p:cNvSpPr>
              <p:nvPr/>
            </p:nvSpPr>
            <p:spPr bwMode="auto">
              <a:xfrm>
                <a:off x="810" y="969"/>
                <a:ext cx="4" cy="8"/>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cubicBezTo>
                      <a:pt x="0" y="0"/>
                      <a:pt x="0" y="0"/>
                      <a:pt x="0" y="0"/>
                    </a:cubicBezTo>
                    <a:cubicBezTo>
                      <a:pt x="0" y="1"/>
                      <a:pt x="1" y="2"/>
                      <a:pt x="2" y="3"/>
                    </a:cubicBezTo>
                    <a:cubicBezTo>
                      <a:pt x="2" y="1"/>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9" name="Freeform 1321">
                <a:extLst>
                  <a:ext uri="{FF2B5EF4-FFF2-40B4-BE49-F238E27FC236}">
                    <a16:creationId xmlns:a16="http://schemas.microsoft.com/office/drawing/2014/main" id="{944BF4D8-82F8-4AA2-83D5-0A3A13018523}"/>
                  </a:ext>
                </a:extLst>
              </p:cNvPr>
              <p:cNvSpPr>
                <a:spLocks/>
              </p:cNvSpPr>
              <p:nvPr/>
            </p:nvSpPr>
            <p:spPr bwMode="auto">
              <a:xfrm>
                <a:off x="2887" y="1159"/>
                <a:ext cx="7" cy="14"/>
              </a:xfrm>
              <a:custGeom>
                <a:avLst/>
                <a:gdLst>
                  <a:gd name="T0" fmla="*/ 3 w 3"/>
                  <a:gd name="T1" fmla="*/ 0 h 6"/>
                  <a:gd name="T2" fmla="*/ 1 w 3"/>
                  <a:gd name="T3" fmla="*/ 6 h 6"/>
                  <a:gd name="T4" fmla="*/ 3 w 3"/>
                  <a:gd name="T5" fmla="*/ 0 h 6"/>
                </a:gdLst>
                <a:ahLst/>
                <a:cxnLst>
                  <a:cxn ang="0">
                    <a:pos x="T0" y="T1"/>
                  </a:cxn>
                  <a:cxn ang="0">
                    <a:pos x="T2" y="T3"/>
                  </a:cxn>
                  <a:cxn ang="0">
                    <a:pos x="T4" y="T5"/>
                  </a:cxn>
                </a:cxnLst>
                <a:rect l="0" t="0" r="r" b="b"/>
                <a:pathLst>
                  <a:path w="3" h="6">
                    <a:moveTo>
                      <a:pt x="3" y="0"/>
                    </a:moveTo>
                    <a:cubicBezTo>
                      <a:pt x="1" y="2"/>
                      <a:pt x="0" y="4"/>
                      <a:pt x="1" y="6"/>
                    </a:cubicBezTo>
                    <a:cubicBezTo>
                      <a:pt x="2"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0" name="Freeform 1322">
                <a:extLst>
                  <a:ext uri="{FF2B5EF4-FFF2-40B4-BE49-F238E27FC236}">
                    <a16:creationId xmlns:a16="http://schemas.microsoft.com/office/drawing/2014/main" id="{FE68681B-AA85-4BBA-B75A-35B97AE80E68}"/>
                  </a:ext>
                </a:extLst>
              </p:cNvPr>
              <p:cNvSpPr>
                <a:spLocks/>
              </p:cNvSpPr>
              <p:nvPr/>
            </p:nvSpPr>
            <p:spPr bwMode="auto">
              <a:xfrm>
                <a:off x="895" y="1489"/>
                <a:ext cx="11" cy="5"/>
              </a:xfrm>
              <a:custGeom>
                <a:avLst/>
                <a:gdLst>
                  <a:gd name="T0" fmla="*/ 5 w 5"/>
                  <a:gd name="T1" fmla="*/ 0 h 2"/>
                  <a:gd name="T2" fmla="*/ 0 w 5"/>
                  <a:gd name="T3" fmla="*/ 2 h 2"/>
                  <a:gd name="T4" fmla="*/ 5 w 5"/>
                  <a:gd name="T5" fmla="*/ 0 h 2"/>
                </a:gdLst>
                <a:ahLst/>
                <a:cxnLst>
                  <a:cxn ang="0">
                    <a:pos x="T0" y="T1"/>
                  </a:cxn>
                  <a:cxn ang="0">
                    <a:pos x="T2" y="T3"/>
                  </a:cxn>
                  <a:cxn ang="0">
                    <a:pos x="T4" y="T5"/>
                  </a:cxn>
                </a:cxnLst>
                <a:rect l="0" t="0" r="r" b="b"/>
                <a:pathLst>
                  <a:path w="5" h="2">
                    <a:moveTo>
                      <a:pt x="5" y="0"/>
                    </a:moveTo>
                    <a:cubicBezTo>
                      <a:pt x="3" y="0"/>
                      <a:pt x="2" y="1"/>
                      <a:pt x="0" y="2"/>
                    </a:cubicBezTo>
                    <a:cubicBezTo>
                      <a:pt x="2" y="1"/>
                      <a:pt x="3"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1" name="Freeform 1323">
                <a:extLst>
                  <a:ext uri="{FF2B5EF4-FFF2-40B4-BE49-F238E27FC236}">
                    <a16:creationId xmlns:a16="http://schemas.microsoft.com/office/drawing/2014/main" id="{18ED1841-1621-453D-AAD7-A37B3454F733}"/>
                  </a:ext>
                </a:extLst>
              </p:cNvPr>
              <p:cNvSpPr>
                <a:spLocks/>
              </p:cNvSpPr>
              <p:nvPr/>
            </p:nvSpPr>
            <p:spPr bwMode="auto">
              <a:xfrm>
                <a:off x="826" y="974"/>
                <a:ext cx="12" cy="12"/>
              </a:xfrm>
              <a:custGeom>
                <a:avLst/>
                <a:gdLst>
                  <a:gd name="T0" fmla="*/ 0 w 5"/>
                  <a:gd name="T1" fmla="*/ 0 h 5"/>
                  <a:gd name="T2" fmla="*/ 2 w 5"/>
                  <a:gd name="T3" fmla="*/ 5 h 5"/>
                  <a:gd name="T4" fmla="*/ 5 w 5"/>
                  <a:gd name="T5" fmla="*/ 3 h 5"/>
                  <a:gd name="T6" fmla="*/ 0 w 5"/>
                  <a:gd name="T7" fmla="*/ 0 h 5"/>
                </a:gdLst>
                <a:ahLst/>
                <a:cxnLst>
                  <a:cxn ang="0">
                    <a:pos x="T0" y="T1"/>
                  </a:cxn>
                  <a:cxn ang="0">
                    <a:pos x="T2" y="T3"/>
                  </a:cxn>
                  <a:cxn ang="0">
                    <a:pos x="T4" y="T5"/>
                  </a:cxn>
                  <a:cxn ang="0">
                    <a:pos x="T6" y="T7"/>
                  </a:cxn>
                </a:cxnLst>
                <a:rect l="0" t="0" r="r" b="b"/>
                <a:pathLst>
                  <a:path w="5" h="5">
                    <a:moveTo>
                      <a:pt x="0" y="0"/>
                    </a:moveTo>
                    <a:cubicBezTo>
                      <a:pt x="1" y="2"/>
                      <a:pt x="1" y="3"/>
                      <a:pt x="2" y="5"/>
                    </a:cubicBezTo>
                    <a:cubicBezTo>
                      <a:pt x="3" y="4"/>
                      <a:pt x="4" y="4"/>
                      <a:pt x="5" y="3"/>
                    </a:cubicBezTo>
                    <a:cubicBezTo>
                      <a:pt x="3"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2" name="Freeform 1324">
                <a:extLst>
                  <a:ext uri="{FF2B5EF4-FFF2-40B4-BE49-F238E27FC236}">
                    <a16:creationId xmlns:a16="http://schemas.microsoft.com/office/drawing/2014/main" id="{00FDDFB3-DFC2-4B7D-81A5-A0D4C5B929D7}"/>
                  </a:ext>
                </a:extLst>
              </p:cNvPr>
              <p:cNvSpPr>
                <a:spLocks/>
              </p:cNvSpPr>
              <p:nvPr/>
            </p:nvSpPr>
            <p:spPr bwMode="auto">
              <a:xfrm>
                <a:off x="2572" y="1575"/>
                <a:ext cx="24" cy="18"/>
              </a:xfrm>
              <a:custGeom>
                <a:avLst/>
                <a:gdLst>
                  <a:gd name="T0" fmla="*/ 2 w 10"/>
                  <a:gd name="T1" fmla="*/ 0 h 8"/>
                  <a:gd name="T2" fmla="*/ 4 w 10"/>
                  <a:gd name="T3" fmla="*/ 7 h 8"/>
                  <a:gd name="T4" fmla="*/ 5 w 10"/>
                  <a:gd name="T5" fmla="*/ 8 h 8"/>
                  <a:gd name="T6" fmla="*/ 9 w 10"/>
                  <a:gd name="T7" fmla="*/ 5 h 8"/>
                  <a:gd name="T8" fmla="*/ 2 w 10"/>
                  <a:gd name="T9" fmla="*/ 0 h 8"/>
                </a:gdLst>
                <a:ahLst/>
                <a:cxnLst>
                  <a:cxn ang="0">
                    <a:pos x="T0" y="T1"/>
                  </a:cxn>
                  <a:cxn ang="0">
                    <a:pos x="T2" y="T3"/>
                  </a:cxn>
                  <a:cxn ang="0">
                    <a:pos x="T4" y="T5"/>
                  </a:cxn>
                  <a:cxn ang="0">
                    <a:pos x="T6" y="T7"/>
                  </a:cxn>
                  <a:cxn ang="0">
                    <a:pos x="T8" y="T9"/>
                  </a:cxn>
                </a:cxnLst>
                <a:rect l="0" t="0" r="r" b="b"/>
                <a:pathLst>
                  <a:path w="10" h="8">
                    <a:moveTo>
                      <a:pt x="2" y="0"/>
                    </a:moveTo>
                    <a:cubicBezTo>
                      <a:pt x="0" y="2"/>
                      <a:pt x="1" y="6"/>
                      <a:pt x="4" y="7"/>
                    </a:cubicBezTo>
                    <a:cubicBezTo>
                      <a:pt x="4" y="8"/>
                      <a:pt x="5" y="8"/>
                      <a:pt x="5" y="8"/>
                    </a:cubicBezTo>
                    <a:cubicBezTo>
                      <a:pt x="7" y="8"/>
                      <a:pt x="8" y="7"/>
                      <a:pt x="9" y="5"/>
                    </a:cubicBezTo>
                    <a:cubicBezTo>
                      <a:pt x="10" y="1"/>
                      <a:pt x="6"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3" name="Freeform 1325">
                <a:extLst>
                  <a:ext uri="{FF2B5EF4-FFF2-40B4-BE49-F238E27FC236}">
                    <a16:creationId xmlns:a16="http://schemas.microsoft.com/office/drawing/2014/main" id="{20660E59-8C42-40EE-9A3D-88C54730F05D}"/>
                  </a:ext>
                </a:extLst>
              </p:cNvPr>
              <p:cNvSpPr>
                <a:spLocks/>
              </p:cNvSpPr>
              <p:nvPr/>
            </p:nvSpPr>
            <p:spPr bwMode="auto">
              <a:xfrm>
                <a:off x="2506" y="1279"/>
                <a:ext cx="10" cy="10"/>
              </a:xfrm>
              <a:custGeom>
                <a:avLst/>
                <a:gdLst>
                  <a:gd name="T0" fmla="*/ 0 w 4"/>
                  <a:gd name="T1" fmla="*/ 0 h 4"/>
                  <a:gd name="T2" fmla="*/ 2 w 4"/>
                  <a:gd name="T3" fmla="*/ 4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cubicBezTo>
                      <a:pt x="0" y="2"/>
                      <a:pt x="1" y="4"/>
                      <a:pt x="2" y="4"/>
                    </a:cubicBezTo>
                    <a:cubicBezTo>
                      <a:pt x="3" y="4"/>
                      <a:pt x="3" y="4"/>
                      <a:pt x="4" y="4"/>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4" name="Freeform 1326">
                <a:extLst>
                  <a:ext uri="{FF2B5EF4-FFF2-40B4-BE49-F238E27FC236}">
                    <a16:creationId xmlns:a16="http://schemas.microsoft.com/office/drawing/2014/main" id="{4E35D4F3-AAAB-4426-9C85-3A8DB5A28AD1}"/>
                  </a:ext>
                </a:extLst>
              </p:cNvPr>
              <p:cNvSpPr>
                <a:spLocks/>
              </p:cNvSpPr>
              <p:nvPr/>
            </p:nvSpPr>
            <p:spPr bwMode="auto">
              <a:xfrm>
                <a:off x="935" y="830"/>
                <a:ext cx="12" cy="14"/>
              </a:xfrm>
              <a:custGeom>
                <a:avLst/>
                <a:gdLst>
                  <a:gd name="T0" fmla="*/ 1 w 5"/>
                  <a:gd name="T1" fmla="*/ 0 h 6"/>
                  <a:gd name="T2" fmla="*/ 1 w 5"/>
                  <a:gd name="T3" fmla="*/ 6 h 6"/>
                  <a:gd name="T4" fmla="*/ 5 w 5"/>
                  <a:gd name="T5" fmla="*/ 2 h 6"/>
                  <a:gd name="T6" fmla="*/ 1 w 5"/>
                  <a:gd name="T7" fmla="*/ 0 h 6"/>
                </a:gdLst>
                <a:ahLst/>
                <a:cxnLst>
                  <a:cxn ang="0">
                    <a:pos x="T0" y="T1"/>
                  </a:cxn>
                  <a:cxn ang="0">
                    <a:pos x="T2" y="T3"/>
                  </a:cxn>
                  <a:cxn ang="0">
                    <a:pos x="T4" y="T5"/>
                  </a:cxn>
                  <a:cxn ang="0">
                    <a:pos x="T6" y="T7"/>
                  </a:cxn>
                </a:cxnLst>
                <a:rect l="0" t="0" r="r" b="b"/>
                <a:pathLst>
                  <a:path w="5" h="6">
                    <a:moveTo>
                      <a:pt x="1" y="0"/>
                    </a:moveTo>
                    <a:cubicBezTo>
                      <a:pt x="0" y="2"/>
                      <a:pt x="1" y="4"/>
                      <a:pt x="1" y="6"/>
                    </a:cubicBezTo>
                    <a:cubicBezTo>
                      <a:pt x="3" y="4"/>
                      <a:pt x="4" y="4"/>
                      <a:pt x="5" y="2"/>
                    </a:cubicBezTo>
                    <a:cubicBezTo>
                      <a:pt x="3" y="2"/>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5" name="Freeform 1327">
                <a:extLst>
                  <a:ext uri="{FF2B5EF4-FFF2-40B4-BE49-F238E27FC236}">
                    <a16:creationId xmlns:a16="http://schemas.microsoft.com/office/drawing/2014/main" id="{2F6AC9D2-AA82-4508-AC18-7779369B491A}"/>
                  </a:ext>
                </a:extLst>
              </p:cNvPr>
              <p:cNvSpPr>
                <a:spLocks/>
              </p:cNvSpPr>
              <p:nvPr/>
            </p:nvSpPr>
            <p:spPr bwMode="auto">
              <a:xfrm>
                <a:off x="2428" y="1121"/>
                <a:ext cx="17" cy="4"/>
              </a:xfrm>
              <a:custGeom>
                <a:avLst/>
                <a:gdLst>
                  <a:gd name="T0" fmla="*/ 3 w 7"/>
                  <a:gd name="T1" fmla="*/ 0 h 2"/>
                  <a:gd name="T2" fmla="*/ 0 w 7"/>
                  <a:gd name="T3" fmla="*/ 1 h 2"/>
                  <a:gd name="T4" fmla="*/ 6 w 7"/>
                  <a:gd name="T5" fmla="*/ 2 h 2"/>
                  <a:gd name="T6" fmla="*/ 7 w 7"/>
                  <a:gd name="T7" fmla="*/ 2 h 2"/>
                  <a:gd name="T8" fmla="*/ 3 w 7"/>
                  <a:gd name="T9" fmla="*/ 0 h 2"/>
                </a:gdLst>
                <a:ahLst/>
                <a:cxnLst>
                  <a:cxn ang="0">
                    <a:pos x="T0" y="T1"/>
                  </a:cxn>
                  <a:cxn ang="0">
                    <a:pos x="T2" y="T3"/>
                  </a:cxn>
                  <a:cxn ang="0">
                    <a:pos x="T4" y="T5"/>
                  </a:cxn>
                  <a:cxn ang="0">
                    <a:pos x="T6" y="T7"/>
                  </a:cxn>
                  <a:cxn ang="0">
                    <a:pos x="T8" y="T9"/>
                  </a:cxn>
                </a:cxnLst>
                <a:rect l="0" t="0" r="r" b="b"/>
                <a:pathLst>
                  <a:path w="7" h="2">
                    <a:moveTo>
                      <a:pt x="3" y="0"/>
                    </a:moveTo>
                    <a:cubicBezTo>
                      <a:pt x="2" y="0"/>
                      <a:pt x="1" y="1"/>
                      <a:pt x="0" y="1"/>
                    </a:cubicBezTo>
                    <a:cubicBezTo>
                      <a:pt x="2" y="2"/>
                      <a:pt x="4" y="2"/>
                      <a:pt x="6" y="2"/>
                    </a:cubicBezTo>
                    <a:cubicBezTo>
                      <a:pt x="6" y="2"/>
                      <a:pt x="6" y="2"/>
                      <a:pt x="7" y="2"/>
                    </a:cubicBezTo>
                    <a:cubicBezTo>
                      <a:pt x="6" y="1"/>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6" name="Freeform 1328">
                <a:extLst>
                  <a:ext uri="{FF2B5EF4-FFF2-40B4-BE49-F238E27FC236}">
                    <a16:creationId xmlns:a16="http://schemas.microsoft.com/office/drawing/2014/main" id="{B72BA81D-B6E4-44CE-904D-DE22A25439A9}"/>
                  </a:ext>
                </a:extLst>
              </p:cNvPr>
              <p:cNvSpPr>
                <a:spLocks/>
              </p:cNvSpPr>
              <p:nvPr/>
            </p:nvSpPr>
            <p:spPr bwMode="auto">
              <a:xfrm>
                <a:off x="545" y="1211"/>
                <a:ext cx="16" cy="23"/>
              </a:xfrm>
              <a:custGeom>
                <a:avLst/>
                <a:gdLst>
                  <a:gd name="T0" fmla="*/ 0 w 7"/>
                  <a:gd name="T1" fmla="*/ 0 h 10"/>
                  <a:gd name="T2" fmla="*/ 1 w 7"/>
                  <a:gd name="T3" fmla="*/ 10 h 10"/>
                  <a:gd name="T4" fmla="*/ 1 w 7"/>
                  <a:gd name="T5" fmla="*/ 10 h 10"/>
                  <a:gd name="T6" fmla="*/ 5 w 7"/>
                  <a:gd name="T7" fmla="*/ 5 h 10"/>
                  <a:gd name="T8" fmla="*/ 0 w 7"/>
                  <a:gd name="T9" fmla="*/ 0 h 10"/>
                </a:gdLst>
                <a:ahLst/>
                <a:cxnLst>
                  <a:cxn ang="0">
                    <a:pos x="T0" y="T1"/>
                  </a:cxn>
                  <a:cxn ang="0">
                    <a:pos x="T2" y="T3"/>
                  </a:cxn>
                  <a:cxn ang="0">
                    <a:pos x="T4" y="T5"/>
                  </a:cxn>
                  <a:cxn ang="0">
                    <a:pos x="T6" y="T7"/>
                  </a:cxn>
                  <a:cxn ang="0">
                    <a:pos x="T8" y="T9"/>
                  </a:cxn>
                </a:cxnLst>
                <a:rect l="0" t="0" r="r" b="b"/>
                <a:pathLst>
                  <a:path w="7" h="10">
                    <a:moveTo>
                      <a:pt x="0" y="0"/>
                    </a:moveTo>
                    <a:cubicBezTo>
                      <a:pt x="0" y="3"/>
                      <a:pt x="0" y="7"/>
                      <a:pt x="1" y="10"/>
                    </a:cubicBezTo>
                    <a:cubicBezTo>
                      <a:pt x="1" y="10"/>
                      <a:pt x="1" y="10"/>
                      <a:pt x="1" y="10"/>
                    </a:cubicBezTo>
                    <a:cubicBezTo>
                      <a:pt x="4" y="10"/>
                      <a:pt x="7" y="8"/>
                      <a:pt x="5" y="5"/>
                    </a:cubicBezTo>
                    <a:cubicBezTo>
                      <a:pt x="4"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7" name="Freeform 1329">
                <a:extLst>
                  <a:ext uri="{FF2B5EF4-FFF2-40B4-BE49-F238E27FC236}">
                    <a16:creationId xmlns:a16="http://schemas.microsoft.com/office/drawing/2014/main" id="{FF72561B-531C-41BD-8862-EA5A613470B5}"/>
                  </a:ext>
                </a:extLst>
              </p:cNvPr>
              <p:cNvSpPr>
                <a:spLocks/>
              </p:cNvSpPr>
              <p:nvPr/>
            </p:nvSpPr>
            <p:spPr bwMode="auto">
              <a:xfrm>
                <a:off x="427" y="1057"/>
                <a:ext cx="16" cy="19"/>
              </a:xfrm>
              <a:custGeom>
                <a:avLst/>
                <a:gdLst>
                  <a:gd name="T0" fmla="*/ 5 w 7"/>
                  <a:gd name="T1" fmla="*/ 0 h 8"/>
                  <a:gd name="T2" fmla="*/ 3 w 7"/>
                  <a:gd name="T3" fmla="*/ 4 h 8"/>
                  <a:gd name="T4" fmla="*/ 0 w 7"/>
                  <a:gd name="T5" fmla="*/ 8 h 8"/>
                  <a:gd name="T6" fmla="*/ 2 w 7"/>
                  <a:gd name="T7" fmla="*/ 8 h 8"/>
                  <a:gd name="T8" fmla="*/ 7 w 7"/>
                  <a:gd name="T9" fmla="*/ 6 h 8"/>
                  <a:gd name="T10" fmla="*/ 5 w 7"/>
                  <a:gd name="T11" fmla="*/ 0 h 8"/>
                </a:gdLst>
                <a:ahLst/>
                <a:cxnLst>
                  <a:cxn ang="0">
                    <a:pos x="T0" y="T1"/>
                  </a:cxn>
                  <a:cxn ang="0">
                    <a:pos x="T2" y="T3"/>
                  </a:cxn>
                  <a:cxn ang="0">
                    <a:pos x="T4" y="T5"/>
                  </a:cxn>
                  <a:cxn ang="0">
                    <a:pos x="T6" y="T7"/>
                  </a:cxn>
                  <a:cxn ang="0">
                    <a:pos x="T8" y="T9"/>
                  </a:cxn>
                  <a:cxn ang="0">
                    <a:pos x="T10" y="T11"/>
                  </a:cxn>
                </a:cxnLst>
                <a:rect l="0" t="0" r="r" b="b"/>
                <a:pathLst>
                  <a:path w="7" h="8">
                    <a:moveTo>
                      <a:pt x="5" y="0"/>
                    </a:moveTo>
                    <a:cubicBezTo>
                      <a:pt x="4" y="0"/>
                      <a:pt x="3" y="1"/>
                      <a:pt x="3" y="4"/>
                    </a:cubicBezTo>
                    <a:cubicBezTo>
                      <a:pt x="2" y="6"/>
                      <a:pt x="3" y="8"/>
                      <a:pt x="0" y="8"/>
                    </a:cubicBezTo>
                    <a:cubicBezTo>
                      <a:pt x="1" y="8"/>
                      <a:pt x="2" y="8"/>
                      <a:pt x="2" y="8"/>
                    </a:cubicBezTo>
                    <a:cubicBezTo>
                      <a:pt x="4" y="8"/>
                      <a:pt x="5" y="8"/>
                      <a:pt x="7" y="6"/>
                    </a:cubicBezTo>
                    <a:cubicBezTo>
                      <a:pt x="7" y="4"/>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8" name="Freeform 1330">
                <a:extLst>
                  <a:ext uri="{FF2B5EF4-FFF2-40B4-BE49-F238E27FC236}">
                    <a16:creationId xmlns:a16="http://schemas.microsoft.com/office/drawing/2014/main" id="{44256BCC-5D01-42E5-9057-E9F50AF78396}"/>
                  </a:ext>
                </a:extLst>
              </p:cNvPr>
              <p:cNvSpPr>
                <a:spLocks/>
              </p:cNvSpPr>
              <p:nvPr/>
            </p:nvSpPr>
            <p:spPr bwMode="auto">
              <a:xfrm>
                <a:off x="2315" y="1175"/>
                <a:ext cx="16" cy="36"/>
              </a:xfrm>
              <a:custGeom>
                <a:avLst/>
                <a:gdLst>
                  <a:gd name="T0" fmla="*/ 5 w 7"/>
                  <a:gd name="T1" fmla="*/ 0 h 15"/>
                  <a:gd name="T2" fmla="*/ 4 w 7"/>
                  <a:gd name="T3" fmla="*/ 8 h 15"/>
                  <a:gd name="T4" fmla="*/ 7 w 7"/>
                  <a:gd name="T5" fmla="*/ 15 h 15"/>
                  <a:gd name="T6" fmla="*/ 5 w 7"/>
                  <a:gd name="T7" fmla="*/ 0 h 15"/>
                </a:gdLst>
                <a:ahLst/>
                <a:cxnLst>
                  <a:cxn ang="0">
                    <a:pos x="T0" y="T1"/>
                  </a:cxn>
                  <a:cxn ang="0">
                    <a:pos x="T2" y="T3"/>
                  </a:cxn>
                  <a:cxn ang="0">
                    <a:pos x="T4" y="T5"/>
                  </a:cxn>
                  <a:cxn ang="0">
                    <a:pos x="T6" y="T7"/>
                  </a:cxn>
                </a:cxnLst>
                <a:rect l="0" t="0" r="r" b="b"/>
                <a:pathLst>
                  <a:path w="7" h="15">
                    <a:moveTo>
                      <a:pt x="5" y="0"/>
                    </a:moveTo>
                    <a:cubicBezTo>
                      <a:pt x="0" y="2"/>
                      <a:pt x="3" y="5"/>
                      <a:pt x="4" y="8"/>
                    </a:cubicBezTo>
                    <a:cubicBezTo>
                      <a:pt x="5" y="11"/>
                      <a:pt x="5" y="14"/>
                      <a:pt x="7" y="15"/>
                    </a:cubicBezTo>
                    <a:cubicBezTo>
                      <a:pt x="7" y="10"/>
                      <a:pt x="6" y="5"/>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9" name="Freeform 1331">
                <a:extLst>
                  <a:ext uri="{FF2B5EF4-FFF2-40B4-BE49-F238E27FC236}">
                    <a16:creationId xmlns:a16="http://schemas.microsoft.com/office/drawing/2014/main" id="{94E7F21F-72A7-4D3A-A84A-44F9B1249E12}"/>
                  </a:ext>
                </a:extLst>
              </p:cNvPr>
              <p:cNvSpPr>
                <a:spLocks/>
              </p:cNvSpPr>
              <p:nvPr/>
            </p:nvSpPr>
            <p:spPr bwMode="auto">
              <a:xfrm>
                <a:off x="346" y="887"/>
                <a:ext cx="17" cy="12"/>
              </a:xfrm>
              <a:custGeom>
                <a:avLst/>
                <a:gdLst>
                  <a:gd name="T0" fmla="*/ 2 w 7"/>
                  <a:gd name="T1" fmla="*/ 0 h 5"/>
                  <a:gd name="T2" fmla="*/ 0 w 7"/>
                  <a:gd name="T3" fmla="*/ 0 h 5"/>
                  <a:gd name="T4" fmla="*/ 7 w 7"/>
                  <a:gd name="T5" fmla="*/ 5 h 5"/>
                  <a:gd name="T6" fmla="*/ 2 w 7"/>
                  <a:gd name="T7" fmla="*/ 0 h 5"/>
                </a:gdLst>
                <a:ahLst/>
                <a:cxnLst>
                  <a:cxn ang="0">
                    <a:pos x="T0" y="T1"/>
                  </a:cxn>
                  <a:cxn ang="0">
                    <a:pos x="T2" y="T3"/>
                  </a:cxn>
                  <a:cxn ang="0">
                    <a:pos x="T4" y="T5"/>
                  </a:cxn>
                  <a:cxn ang="0">
                    <a:pos x="T6" y="T7"/>
                  </a:cxn>
                </a:cxnLst>
                <a:rect l="0" t="0" r="r" b="b"/>
                <a:pathLst>
                  <a:path w="7" h="5">
                    <a:moveTo>
                      <a:pt x="2" y="0"/>
                    </a:moveTo>
                    <a:cubicBezTo>
                      <a:pt x="2" y="0"/>
                      <a:pt x="1" y="0"/>
                      <a:pt x="0" y="0"/>
                    </a:cubicBezTo>
                    <a:cubicBezTo>
                      <a:pt x="2" y="2"/>
                      <a:pt x="5" y="3"/>
                      <a:pt x="7" y="5"/>
                    </a:cubicBezTo>
                    <a:cubicBezTo>
                      <a:pt x="7" y="1"/>
                      <a:pt x="5"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0" name="Freeform 1332">
                <a:extLst>
                  <a:ext uri="{FF2B5EF4-FFF2-40B4-BE49-F238E27FC236}">
                    <a16:creationId xmlns:a16="http://schemas.microsoft.com/office/drawing/2014/main" id="{F9CE6B89-8211-4DBF-A074-C9CD04C19AE8}"/>
                  </a:ext>
                </a:extLst>
              </p:cNvPr>
              <p:cNvSpPr>
                <a:spLocks/>
              </p:cNvSpPr>
              <p:nvPr/>
            </p:nvSpPr>
            <p:spPr bwMode="auto">
              <a:xfrm>
                <a:off x="2154" y="1142"/>
                <a:ext cx="7" cy="17"/>
              </a:xfrm>
              <a:custGeom>
                <a:avLst/>
                <a:gdLst>
                  <a:gd name="T0" fmla="*/ 2 w 3"/>
                  <a:gd name="T1" fmla="*/ 0 h 7"/>
                  <a:gd name="T2" fmla="*/ 1 w 3"/>
                  <a:gd name="T3" fmla="*/ 6 h 7"/>
                  <a:gd name="T4" fmla="*/ 2 w 3"/>
                  <a:gd name="T5" fmla="*/ 7 h 7"/>
                  <a:gd name="T6" fmla="*/ 2 w 3"/>
                  <a:gd name="T7" fmla="*/ 0 h 7"/>
                </a:gdLst>
                <a:ahLst/>
                <a:cxnLst>
                  <a:cxn ang="0">
                    <a:pos x="T0" y="T1"/>
                  </a:cxn>
                  <a:cxn ang="0">
                    <a:pos x="T2" y="T3"/>
                  </a:cxn>
                  <a:cxn ang="0">
                    <a:pos x="T4" y="T5"/>
                  </a:cxn>
                  <a:cxn ang="0">
                    <a:pos x="T6" y="T7"/>
                  </a:cxn>
                </a:cxnLst>
                <a:rect l="0" t="0" r="r" b="b"/>
                <a:pathLst>
                  <a:path w="3" h="7">
                    <a:moveTo>
                      <a:pt x="2" y="0"/>
                    </a:moveTo>
                    <a:cubicBezTo>
                      <a:pt x="1" y="1"/>
                      <a:pt x="0" y="4"/>
                      <a:pt x="1" y="6"/>
                    </a:cubicBezTo>
                    <a:cubicBezTo>
                      <a:pt x="1" y="7"/>
                      <a:pt x="2" y="7"/>
                      <a:pt x="2" y="7"/>
                    </a:cubicBezTo>
                    <a:cubicBezTo>
                      <a:pt x="3" y="7"/>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1" name="Freeform 1333">
                <a:extLst>
                  <a:ext uri="{FF2B5EF4-FFF2-40B4-BE49-F238E27FC236}">
                    <a16:creationId xmlns:a16="http://schemas.microsoft.com/office/drawing/2014/main" id="{31BB803E-A344-4266-ADCB-ECCAAA6BD5F2}"/>
                  </a:ext>
                </a:extLst>
              </p:cNvPr>
              <p:cNvSpPr>
                <a:spLocks/>
              </p:cNvSpPr>
              <p:nvPr/>
            </p:nvSpPr>
            <p:spPr bwMode="auto">
              <a:xfrm>
                <a:off x="2119" y="1312"/>
                <a:ext cx="21" cy="19"/>
              </a:xfrm>
              <a:custGeom>
                <a:avLst/>
                <a:gdLst>
                  <a:gd name="T0" fmla="*/ 3 w 9"/>
                  <a:gd name="T1" fmla="*/ 0 h 8"/>
                  <a:gd name="T2" fmla="*/ 3 w 9"/>
                  <a:gd name="T3" fmla="*/ 7 h 8"/>
                  <a:gd name="T4" fmla="*/ 5 w 9"/>
                  <a:gd name="T5" fmla="*/ 8 h 8"/>
                  <a:gd name="T6" fmla="*/ 8 w 9"/>
                  <a:gd name="T7" fmla="*/ 5 h 8"/>
                  <a:gd name="T8" fmla="*/ 3 w 9"/>
                  <a:gd name="T9" fmla="*/ 0 h 8"/>
                </a:gdLst>
                <a:ahLst/>
                <a:cxnLst>
                  <a:cxn ang="0">
                    <a:pos x="T0" y="T1"/>
                  </a:cxn>
                  <a:cxn ang="0">
                    <a:pos x="T2" y="T3"/>
                  </a:cxn>
                  <a:cxn ang="0">
                    <a:pos x="T4" y="T5"/>
                  </a:cxn>
                  <a:cxn ang="0">
                    <a:pos x="T6" y="T7"/>
                  </a:cxn>
                  <a:cxn ang="0">
                    <a:pos x="T8" y="T9"/>
                  </a:cxn>
                </a:cxnLst>
                <a:rect l="0" t="0" r="r" b="b"/>
                <a:pathLst>
                  <a:path w="9" h="8">
                    <a:moveTo>
                      <a:pt x="3" y="0"/>
                    </a:moveTo>
                    <a:cubicBezTo>
                      <a:pt x="0" y="2"/>
                      <a:pt x="0" y="6"/>
                      <a:pt x="3" y="7"/>
                    </a:cubicBezTo>
                    <a:cubicBezTo>
                      <a:pt x="4" y="8"/>
                      <a:pt x="4" y="8"/>
                      <a:pt x="5" y="8"/>
                    </a:cubicBezTo>
                    <a:cubicBezTo>
                      <a:pt x="7" y="8"/>
                      <a:pt x="8" y="7"/>
                      <a:pt x="8" y="5"/>
                    </a:cubicBezTo>
                    <a:cubicBezTo>
                      <a:pt x="9" y="2"/>
                      <a:pt x="7"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2" name="Freeform 1334">
                <a:extLst>
                  <a:ext uri="{FF2B5EF4-FFF2-40B4-BE49-F238E27FC236}">
                    <a16:creationId xmlns:a16="http://schemas.microsoft.com/office/drawing/2014/main" id="{9CC626F6-9679-4B63-B9C6-A9AB4DA75FE4}"/>
                  </a:ext>
                </a:extLst>
              </p:cNvPr>
              <p:cNvSpPr>
                <a:spLocks/>
              </p:cNvSpPr>
              <p:nvPr/>
            </p:nvSpPr>
            <p:spPr bwMode="auto">
              <a:xfrm>
                <a:off x="1873" y="1619"/>
                <a:ext cx="16" cy="22"/>
              </a:xfrm>
              <a:custGeom>
                <a:avLst/>
                <a:gdLst>
                  <a:gd name="T0" fmla="*/ 3 w 7"/>
                  <a:gd name="T1" fmla="*/ 0 h 9"/>
                  <a:gd name="T2" fmla="*/ 1 w 7"/>
                  <a:gd name="T3" fmla="*/ 7 h 9"/>
                  <a:gd name="T4" fmla="*/ 2 w 7"/>
                  <a:gd name="T5" fmla="*/ 9 h 9"/>
                  <a:gd name="T6" fmla="*/ 4 w 7"/>
                  <a:gd name="T7" fmla="*/ 8 h 9"/>
                  <a:gd name="T8" fmla="*/ 3 w 7"/>
                  <a:gd name="T9" fmla="*/ 0 h 9"/>
                </a:gdLst>
                <a:ahLst/>
                <a:cxnLst>
                  <a:cxn ang="0">
                    <a:pos x="T0" y="T1"/>
                  </a:cxn>
                  <a:cxn ang="0">
                    <a:pos x="T2" y="T3"/>
                  </a:cxn>
                  <a:cxn ang="0">
                    <a:pos x="T4" y="T5"/>
                  </a:cxn>
                  <a:cxn ang="0">
                    <a:pos x="T6" y="T7"/>
                  </a:cxn>
                  <a:cxn ang="0">
                    <a:pos x="T8" y="T9"/>
                  </a:cxn>
                </a:cxnLst>
                <a:rect l="0" t="0" r="r" b="b"/>
                <a:pathLst>
                  <a:path w="7" h="9">
                    <a:moveTo>
                      <a:pt x="3" y="0"/>
                    </a:moveTo>
                    <a:cubicBezTo>
                      <a:pt x="2" y="4"/>
                      <a:pt x="0" y="4"/>
                      <a:pt x="1" y="7"/>
                    </a:cubicBezTo>
                    <a:cubicBezTo>
                      <a:pt x="1" y="8"/>
                      <a:pt x="1" y="9"/>
                      <a:pt x="2" y="9"/>
                    </a:cubicBezTo>
                    <a:cubicBezTo>
                      <a:pt x="2" y="9"/>
                      <a:pt x="3" y="9"/>
                      <a:pt x="4" y="8"/>
                    </a:cubicBezTo>
                    <a:cubicBezTo>
                      <a:pt x="7" y="4"/>
                      <a:pt x="7" y="4"/>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7" name="Freeform 1336">
              <a:extLst>
                <a:ext uri="{FF2B5EF4-FFF2-40B4-BE49-F238E27FC236}">
                  <a16:creationId xmlns:a16="http://schemas.microsoft.com/office/drawing/2014/main" id="{65C5A6A4-A269-4833-B8AC-B8C30E732B02}"/>
                </a:ext>
              </a:extLst>
            </p:cNvPr>
            <p:cNvSpPr>
              <a:spLocks/>
            </p:cNvSpPr>
            <p:nvPr/>
          </p:nvSpPr>
          <p:spPr bwMode="auto">
            <a:xfrm>
              <a:off x="3187" y="1601"/>
              <a:ext cx="31" cy="16"/>
            </a:xfrm>
            <a:custGeom>
              <a:avLst/>
              <a:gdLst>
                <a:gd name="T0" fmla="*/ 9 w 13"/>
                <a:gd name="T1" fmla="*/ 0 h 7"/>
                <a:gd name="T2" fmla="*/ 1 w 13"/>
                <a:gd name="T3" fmla="*/ 5 h 7"/>
                <a:gd name="T4" fmla="*/ 8 w 13"/>
                <a:gd name="T5" fmla="*/ 7 h 7"/>
                <a:gd name="T6" fmla="*/ 8 w 13"/>
                <a:gd name="T7" fmla="*/ 7 h 7"/>
                <a:gd name="T8" fmla="*/ 9 w 13"/>
                <a:gd name="T9" fmla="*/ 0 h 7"/>
              </a:gdLst>
              <a:ahLst/>
              <a:cxnLst>
                <a:cxn ang="0">
                  <a:pos x="T0" y="T1"/>
                </a:cxn>
                <a:cxn ang="0">
                  <a:pos x="T2" y="T3"/>
                </a:cxn>
                <a:cxn ang="0">
                  <a:pos x="T4" y="T5"/>
                </a:cxn>
                <a:cxn ang="0">
                  <a:pos x="T6" y="T7"/>
                </a:cxn>
                <a:cxn ang="0">
                  <a:pos x="T8" y="T9"/>
                </a:cxn>
              </a:cxnLst>
              <a:rect l="0" t="0" r="r" b="b"/>
              <a:pathLst>
                <a:path w="13" h="7">
                  <a:moveTo>
                    <a:pt x="9" y="0"/>
                  </a:moveTo>
                  <a:cubicBezTo>
                    <a:pt x="8" y="0"/>
                    <a:pt x="0" y="3"/>
                    <a:pt x="1" y="5"/>
                  </a:cubicBezTo>
                  <a:cubicBezTo>
                    <a:pt x="1" y="6"/>
                    <a:pt x="6" y="7"/>
                    <a:pt x="8" y="7"/>
                  </a:cubicBezTo>
                  <a:cubicBezTo>
                    <a:pt x="8" y="7"/>
                    <a:pt x="8" y="7"/>
                    <a:pt x="8" y="7"/>
                  </a:cubicBezTo>
                  <a:cubicBezTo>
                    <a:pt x="13" y="7"/>
                    <a:pt x="11" y="5"/>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1337">
              <a:extLst>
                <a:ext uri="{FF2B5EF4-FFF2-40B4-BE49-F238E27FC236}">
                  <a16:creationId xmlns:a16="http://schemas.microsoft.com/office/drawing/2014/main" id="{6E2CC3F0-E0D4-420F-AF62-9204CEA73BCB}"/>
                </a:ext>
              </a:extLst>
            </p:cNvPr>
            <p:cNvSpPr>
              <a:spLocks/>
            </p:cNvSpPr>
            <p:nvPr/>
          </p:nvSpPr>
          <p:spPr bwMode="auto">
            <a:xfrm>
              <a:off x="3000" y="1090"/>
              <a:ext cx="40" cy="33"/>
            </a:xfrm>
            <a:custGeom>
              <a:avLst/>
              <a:gdLst>
                <a:gd name="T0" fmla="*/ 1 w 17"/>
                <a:gd name="T1" fmla="*/ 0 h 14"/>
                <a:gd name="T2" fmla="*/ 0 w 17"/>
                <a:gd name="T3" fmla="*/ 0 h 14"/>
                <a:gd name="T4" fmla="*/ 3 w 17"/>
                <a:gd name="T5" fmla="*/ 14 h 14"/>
                <a:gd name="T6" fmla="*/ 5 w 17"/>
                <a:gd name="T7" fmla="*/ 13 h 14"/>
                <a:gd name="T8" fmla="*/ 7 w 17"/>
                <a:gd name="T9" fmla="*/ 14 h 14"/>
                <a:gd name="T10" fmla="*/ 8 w 17"/>
                <a:gd name="T11" fmla="*/ 14 h 14"/>
                <a:gd name="T12" fmla="*/ 8 w 17"/>
                <a:gd name="T13" fmla="*/ 14 h 14"/>
                <a:gd name="T14" fmla="*/ 10 w 17"/>
                <a:gd name="T15" fmla="*/ 14 h 14"/>
                <a:gd name="T16" fmla="*/ 17 w 17"/>
                <a:gd name="T17" fmla="*/ 11 h 14"/>
                <a:gd name="T18" fmla="*/ 17 w 17"/>
                <a:gd name="T19" fmla="*/ 11 h 14"/>
                <a:gd name="T20" fmla="*/ 15 w 17"/>
                <a:gd name="T21" fmla="*/ 10 h 14"/>
                <a:gd name="T22" fmla="*/ 12 w 17"/>
                <a:gd name="T23" fmla="*/ 10 h 14"/>
                <a:gd name="T24" fmla="*/ 8 w 17"/>
                <a:gd name="T25" fmla="*/ 5 h 14"/>
                <a:gd name="T26" fmla="*/ 1 w 17"/>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4">
                  <a:moveTo>
                    <a:pt x="1" y="0"/>
                  </a:moveTo>
                  <a:cubicBezTo>
                    <a:pt x="0" y="0"/>
                    <a:pt x="0" y="0"/>
                    <a:pt x="0" y="0"/>
                  </a:cubicBezTo>
                  <a:cubicBezTo>
                    <a:pt x="0" y="3"/>
                    <a:pt x="1" y="12"/>
                    <a:pt x="3" y="14"/>
                  </a:cubicBezTo>
                  <a:cubicBezTo>
                    <a:pt x="3" y="14"/>
                    <a:pt x="4" y="13"/>
                    <a:pt x="5" y="13"/>
                  </a:cubicBezTo>
                  <a:cubicBezTo>
                    <a:pt x="5" y="13"/>
                    <a:pt x="6" y="14"/>
                    <a:pt x="7" y="14"/>
                  </a:cubicBezTo>
                  <a:cubicBezTo>
                    <a:pt x="7" y="14"/>
                    <a:pt x="8" y="14"/>
                    <a:pt x="8" y="14"/>
                  </a:cubicBezTo>
                  <a:cubicBezTo>
                    <a:pt x="8" y="14"/>
                    <a:pt x="8" y="14"/>
                    <a:pt x="8" y="14"/>
                  </a:cubicBezTo>
                  <a:cubicBezTo>
                    <a:pt x="9" y="14"/>
                    <a:pt x="9" y="14"/>
                    <a:pt x="10" y="14"/>
                  </a:cubicBezTo>
                  <a:cubicBezTo>
                    <a:pt x="13" y="14"/>
                    <a:pt x="15" y="13"/>
                    <a:pt x="17" y="11"/>
                  </a:cubicBezTo>
                  <a:cubicBezTo>
                    <a:pt x="17" y="11"/>
                    <a:pt x="17" y="11"/>
                    <a:pt x="17" y="11"/>
                  </a:cubicBezTo>
                  <a:cubicBezTo>
                    <a:pt x="16" y="11"/>
                    <a:pt x="15" y="10"/>
                    <a:pt x="15" y="10"/>
                  </a:cubicBezTo>
                  <a:cubicBezTo>
                    <a:pt x="12" y="10"/>
                    <a:pt x="12" y="10"/>
                    <a:pt x="12" y="10"/>
                  </a:cubicBezTo>
                  <a:cubicBezTo>
                    <a:pt x="10" y="9"/>
                    <a:pt x="10" y="6"/>
                    <a:pt x="8" y="5"/>
                  </a:cubicBezTo>
                  <a:cubicBezTo>
                    <a:pt x="8" y="3"/>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1338">
              <a:extLst>
                <a:ext uri="{FF2B5EF4-FFF2-40B4-BE49-F238E27FC236}">
                  <a16:creationId xmlns:a16="http://schemas.microsoft.com/office/drawing/2014/main" id="{34BEE657-31BB-446E-BFD6-55EE4DBB0DFD}"/>
                </a:ext>
              </a:extLst>
            </p:cNvPr>
            <p:cNvSpPr>
              <a:spLocks/>
            </p:cNvSpPr>
            <p:nvPr/>
          </p:nvSpPr>
          <p:spPr bwMode="auto">
            <a:xfrm>
              <a:off x="2213" y="1598"/>
              <a:ext cx="59" cy="24"/>
            </a:xfrm>
            <a:custGeom>
              <a:avLst/>
              <a:gdLst>
                <a:gd name="T0" fmla="*/ 14 w 25"/>
                <a:gd name="T1" fmla="*/ 0 h 10"/>
                <a:gd name="T2" fmla="*/ 9 w 25"/>
                <a:gd name="T3" fmla="*/ 0 h 10"/>
                <a:gd name="T4" fmla="*/ 5 w 25"/>
                <a:gd name="T5" fmla="*/ 0 h 10"/>
                <a:gd name="T6" fmla="*/ 5 w 25"/>
                <a:gd name="T7" fmla="*/ 0 h 10"/>
                <a:gd name="T8" fmla="*/ 3 w 25"/>
                <a:gd name="T9" fmla="*/ 4 h 10"/>
                <a:gd name="T10" fmla="*/ 6 w 25"/>
                <a:gd name="T11" fmla="*/ 3 h 10"/>
                <a:gd name="T12" fmla="*/ 2 w 25"/>
                <a:gd name="T13" fmla="*/ 6 h 10"/>
                <a:gd name="T14" fmla="*/ 4 w 25"/>
                <a:gd name="T15" fmla="*/ 10 h 10"/>
                <a:gd name="T16" fmla="*/ 6 w 25"/>
                <a:gd name="T17" fmla="*/ 9 h 10"/>
                <a:gd name="T18" fmla="*/ 14 w 25"/>
                <a:gd name="T19" fmla="*/ 8 h 10"/>
                <a:gd name="T20" fmla="*/ 22 w 25"/>
                <a:gd name="T21" fmla="*/ 7 h 10"/>
                <a:gd name="T22" fmla="*/ 23 w 25"/>
                <a:gd name="T23" fmla="*/ 2 h 10"/>
                <a:gd name="T24" fmla="*/ 14 w 25"/>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0">
                  <a:moveTo>
                    <a:pt x="14" y="0"/>
                  </a:moveTo>
                  <a:cubicBezTo>
                    <a:pt x="13" y="0"/>
                    <a:pt x="11" y="0"/>
                    <a:pt x="9" y="0"/>
                  </a:cubicBezTo>
                  <a:cubicBezTo>
                    <a:pt x="8" y="0"/>
                    <a:pt x="6" y="0"/>
                    <a:pt x="5" y="0"/>
                  </a:cubicBezTo>
                  <a:cubicBezTo>
                    <a:pt x="5" y="0"/>
                    <a:pt x="5" y="0"/>
                    <a:pt x="5" y="0"/>
                  </a:cubicBezTo>
                  <a:cubicBezTo>
                    <a:pt x="2" y="2"/>
                    <a:pt x="2" y="4"/>
                    <a:pt x="3" y="4"/>
                  </a:cubicBezTo>
                  <a:cubicBezTo>
                    <a:pt x="4" y="4"/>
                    <a:pt x="5" y="4"/>
                    <a:pt x="6" y="3"/>
                  </a:cubicBezTo>
                  <a:cubicBezTo>
                    <a:pt x="5" y="4"/>
                    <a:pt x="3" y="5"/>
                    <a:pt x="2" y="6"/>
                  </a:cubicBezTo>
                  <a:cubicBezTo>
                    <a:pt x="0" y="9"/>
                    <a:pt x="1" y="10"/>
                    <a:pt x="4" y="10"/>
                  </a:cubicBezTo>
                  <a:cubicBezTo>
                    <a:pt x="4" y="10"/>
                    <a:pt x="5" y="9"/>
                    <a:pt x="6" y="9"/>
                  </a:cubicBezTo>
                  <a:cubicBezTo>
                    <a:pt x="9" y="9"/>
                    <a:pt x="11" y="9"/>
                    <a:pt x="14" y="8"/>
                  </a:cubicBezTo>
                  <a:cubicBezTo>
                    <a:pt x="16" y="8"/>
                    <a:pt x="21" y="8"/>
                    <a:pt x="22" y="7"/>
                  </a:cubicBezTo>
                  <a:cubicBezTo>
                    <a:pt x="24" y="6"/>
                    <a:pt x="25" y="4"/>
                    <a:pt x="23" y="2"/>
                  </a:cubicBezTo>
                  <a:cubicBezTo>
                    <a:pt x="22" y="0"/>
                    <a:pt x="18"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1339">
              <a:extLst>
                <a:ext uri="{FF2B5EF4-FFF2-40B4-BE49-F238E27FC236}">
                  <a16:creationId xmlns:a16="http://schemas.microsoft.com/office/drawing/2014/main" id="{9D1B5A3B-27A9-47E6-BB43-D71DC2FFEC36}"/>
                </a:ext>
              </a:extLst>
            </p:cNvPr>
            <p:cNvSpPr>
              <a:spLocks/>
            </p:cNvSpPr>
            <p:nvPr/>
          </p:nvSpPr>
          <p:spPr bwMode="auto">
            <a:xfrm>
              <a:off x="2648" y="1102"/>
              <a:ext cx="28" cy="28"/>
            </a:xfrm>
            <a:custGeom>
              <a:avLst/>
              <a:gdLst>
                <a:gd name="T0" fmla="*/ 7 w 12"/>
                <a:gd name="T1" fmla="*/ 0 h 12"/>
                <a:gd name="T2" fmla="*/ 6 w 12"/>
                <a:gd name="T3" fmla="*/ 0 h 12"/>
                <a:gd name="T4" fmla="*/ 2 w 12"/>
                <a:gd name="T5" fmla="*/ 6 h 12"/>
                <a:gd name="T6" fmla="*/ 6 w 12"/>
                <a:gd name="T7" fmla="*/ 12 h 12"/>
                <a:gd name="T8" fmla="*/ 6 w 12"/>
                <a:gd name="T9" fmla="*/ 12 h 12"/>
                <a:gd name="T10" fmla="*/ 12 w 12"/>
                <a:gd name="T11" fmla="*/ 3 h 12"/>
                <a:gd name="T12" fmla="*/ 7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7" y="0"/>
                  </a:moveTo>
                  <a:cubicBezTo>
                    <a:pt x="7" y="0"/>
                    <a:pt x="6" y="0"/>
                    <a:pt x="6" y="0"/>
                  </a:cubicBezTo>
                  <a:cubicBezTo>
                    <a:pt x="1" y="0"/>
                    <a:pt x="0" y="2"/>
                    <a:pt x="2" y="6"/>
                  </a:cubicBezTo>
                  <a:cubicBezTo>
                    <a:pt x="2" y="7"/>
                    <a:pt x="4" y="12"/>
                    <a:pt x="6" y="12"/>
                  </a:cubicBezTo>
                  <a:cubicBezTo>
                    <a:pt x="6" y="12"/>
                    <a:pt x="6" y="12"/>
                    <a:pt x="6" y="12"/>
                  </a:cubicBezTo>
                  <a:cubicBezTo>
                    <a:pt x="10" y="12"/>
                    <a:pt x="12" y="6"/>
                    <a:pt x="12" y="3"/>
                  </a:cubicBezTo>
                  <a:cubicBezTo>
                    <a:pt x="11" y="0"/>
                    <a:pt x="11"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1340">
              <a:extLst>
                <a:ext uri="{FF2B5EF4-FFF2-40B4-BE49-F238E27FC236}">
                  <a16:creationId xmlns:a16="http://schemas.microsoft.com/office/drawing/2014/main" id="{6152AE64-C3FA-4B71-ADBF-9F47C9037A9E}"/>
                </a:ext>
              </a:extLst>
            </p:cNvPr>
            <p:cNvSpPr>
              <a:spLocks/>
            </p:cNvSpPr>
            <p:nvPr/>
          </p:nvSpPr>
          <p:spPr bwMode="auto">
            <a:xfrm>
              <a:off x="2632" y="1095"/>
              <a:ext cx="18" cy="7"/>
            </a:xfrm>
            <a:custGeom>
              <a:avLst/>
              <a:gdLst>
                <a:gd name="T0" fmla="*/ 4 w 8"/>
                <a:gd name="T1" fmla="*/ 0 h 3"/>
                <a:gd name="T2" fmla="*/ 3 w 8"/>
                <a:gd name="T3" fmla="*/ 1 h 3"/>
                <a:gd name="T4" fmla="*/ 2 w 8"/>
                <a:gd name="T5" fmla="*/ 1 h 3"/>
                <a:gd name="T6" fmla="*/ 2 w 8"/>
                <a:gd name="T7" fmla="*/ 0 h 3"/>
                <a:gd name="T8" fmla="*/ 1 w 8"/>
                <a:gd name="T9" fmla="*/ 0 h 3"/>
                <a:gd name="T10" fmla="*/ 0 w 8"/>
                <a:gd name="T11" fmla="*/ 3 h 3"/>
                <a:gd name="T12" fmla="*/ 8 w 8"/>
                <a:gd name="T13" fmla="*/ 0 h 3"/>
                <a:gd name="T14" fmla="*/ 7 w 8"/>
                <a:gd name="T15" fmla="*/ 0 h 3"/>
                <a:gd name="T16" fmla="*/ 7 w 8"/>
                <a:gd name="T17" fmla="*/ 0 h 3"/>
                <a:gd name="T18" fmla="*/ 6 w 8"/>
                <a:gd name="T19" fmla="*/ 0 h 3"/>
                <a:gd name="T20" fmla="*/ 4 w 8"/>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4" y="0"/>
                  </a:moveTo>
                  <a:cubicBezTo>
                    <a:pt x="4" y="1"/>
                    <a:pt x="4" y="1"/>
                    <a:pt x="3" y="1"/>
                  </a:cubicBezTo>
                  <a:cubicBezTo>
                    <a:pt x="3" y="1"/>
                    <a:pt x="3" y="1"/>
                    <a:pt x="2" y="1"/>
                  </a:cubicBezTo>
                  <a:cubicBezTo>
                    <a:pt x="2" y="0"/>
                    <a:pt x="2" y="0"/>
                    <a:pt x="2" y="0"/>
                  </a:cubicBezTo>
                  <a:cubicBezTo>
                    <a:pt x="2" y="0"/>
                    <a:pt x="1" y="0"/>
                    <a:pt x="1" y="0"/>
                  </a:cubicBezTo>
                  <a:cubicBezTo>
                    <a:pt x="1" y="1"/>
                    <a:pt x="1" y="2"/>
                    <a:pt x="0" y="3"/>
                  </a:cubicBezTo>
                  <a:cubicBezTo>
                    <a:pt x="3" y="2"/>
                    <a:pt x="5" y="1"/>
                    <a:pt x="8" y="0"/>
                  </a:cubicBezTo>
                  <a:cubicBezTo>
                    <a:pt x="8" y="0"/>
                    <a:pt x="8" y="0"/>
                    <a:pt x="7" y="0"/>
                  </a:cubicBezTo>
                  <a:cubicBezTo>
                    <a:pt x="7" y="0"/>
                    <a:pt x="7" y="0"/>
                    <a:pt x="7" y="0"/>
                  </a:cubicBezTo>
                  <a:cubicBezTo>
                    <a:pt x="6" y="0"/>
                    <a:pt x="6" y="0"/>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1341">
              <a:extLst>
                <a:ext uri="{FF2B5EF4-FFF2-40B4-BE49-F238E27FC236}">
                  <a16:creationId xmlns:a16="http://schemas.microsoft.com/office/drawing/2014/main" id="{BD65129E-65A0-4B91-B9E8-1EA2206C08A1}"/>
                </a:ext>
              </a:extLst>
            </p:cNvPr>
            <p:cNvSpPr>
              <a:spLocks/>
            </p:cNvSpPr>
            <p:nvPr/>
          </p:nvSpPr>
          <p:spPr bwMode="auto">
            <a:xfrm>
              <a:off x="850" y="1038"/>
              <a:ext cx="33" cy="24"/>
            </a:xfrm>
            <a:custGeom>
              <a:avLst/>
              <a:gdLst>
                <a:gd name="T0" fmla="*/ 2 w 14"/>
                <a:gd name="T1" fmla="*/ 0 h 10"/>
                <a:gd name="T2" fmla="*/ 0 w 14"/>
                <a:gd name="T3" fmla="*/ 7 h 10"/>
                <a:gd name="T4" fmla="*/ 4 w 14"/>
                <a:gd name="T5" fmla="*/ 8 h 10"/>
                <a:gd name="T6" fmla="*/ 4 w 14"/>
                <a:gd name="T7" fmla="*/ 8 h 10"/>
                <a:gd name="T8" fmla="*/ 8 w 14"/>
                <a:gd name="T9" fmla="*/ 7 h 10"/>
                <a:gd name="T10" fmla="*/ 8 w 14"/>
                <a:gd name="T11" fmla="*/ 7 h 10"/>
                <a:gd name="T12" fmla="*/ 14 w 14"/>
                <a:gd name="T13" fmla="*/ 10 h 10"/>
                <a:gd name="T14" fmla="*/ 2 w 1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0">
                  <a:moveTo>
                    <a:pt x="2" y="0"/>
                  </a:moveTo>
                  <a:cubicBezTo>
                    <a:pt x="2" y="3"/>
                    <a:pt x="0" y="5"/>
                    <a:pt x="0" y="7"/>
                  </a:cubicBezTo>
                  <a:cubicBezTo>
                    <a:pt x="0" y="8"/>
                    <a:pt x="3" y="8"/>
                    <a:pt x="4" y="8"/>
                  </a:cubicBezTo>
                  <a:cubicBezTo>
                    <a:pt x="4" y="8"/>
                    <a:pt x="4" y="8"/>
                    <a:pt x="4" y="8"/>
                  </a:cubicBezTo>
                  <a:cubicBezTo>
                    <a:pt x="5" y="8"/>
                    <a:pt x="6" y="7"/>
                    <a:pt x="8" y="7"/>
                  </a:cubicBezTo>
                  <a:cubicBezTo>
                    <a:pt x="8" y="7"/>
                    <a:pt x="8" y="7"/>
                    <a:pt x="8" y="7"/>
                  </a:cubicBezTo>
                  <a:cubicBezTo>
                    <a:pt x="10" y="7"/>
                    <a:pt x="12" y="10"/>
                    <a:pt x="14" y="10"/>
                  </a:cubicBezTo>
                  <a:cubicBezTo>
                    <a:pt x="10" y="7"/>
                    <a:pt x="6" y="3"/>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Freeform 1342">
              <a:extLst>
                <a:ext uri="{FF2B5EF4-FFF2-40B4-BE49-F238E27FC236}">
                  <a16:creationId xmlns:a16="http://schemas.microsoft.com/office/drawing/2014/main" id="{4106961E-D30C-4CE3-A04A-018CAEDE33EC}"/>
                </a:ext>
              </a:extLst>
            </p:cNvPr>
            <p:cNvSpPr>
              <a:spLocks/>
            </p:cNvSpPr>
            <p:nvPr/>
          </p:nvSpPr>
          <p:spPr bwMode="auto">
            <a:xfrm>
              <a:off x="2480" y="858"/>
              <a:ext cx="31" cy="45"/>
            </a:xfrm>
            <a:custGeom>
              <a:avLst/>
              <a:gdLst>
                <a:gd name="T0" fmla="*/ 10 w 13"/>
                <a:gd name="T1" fmla="*/ 0 h 19"/>
                <a:gd name="T2" fmla="*/ 1 w 13"/>
                <a:gd name="T3" fmla="*/ 10 h 19"/>
                <a:gd name="T4" fmla="*/ 1 w 13"/>
                <a:gd name="T5" fmla="*/ 14 h 19"/>
                <a:gd name="T6" fmla="*/ 2 w 13"/>
                <a:gd name="T7" fmla="*/ 19 h 19"/>
                <a:gd name="T8" fmla="*/ 9 w 13"/>
                <a:gd name="T9" fmla="*/ 16 h 19"/>
                <a:gd name="T10" fmla="*/ 10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10" y="0"/>
                  </a:moveTo>
                  <a:cubicBezTo>
                    <a:pt x="7" y="2"/>
                    <a:pt x="2" y="5"/>
                    <a:pt x="1" y="10"/>
                  </a:cubicBezTo>
                  <a:cubicBezTo>
                    <a:pt x="0" y="11"/>
                    <a:pt x="0" y="12"/>
                    <a:pt x="1" y="14"/>
                  </a:cubicBezTo>
                  <a:cubicBezTo>
                    <a:pt x="2" y="16"/>
                    <a:pt x="2" y="17"/>
                    <a:pt x="2" y="19"/>
                  </a:cubicBezTo>
                  <a:cubicBezTo>
                    <a:pt x="4" y="18"/>
                    <a:pt x="8" y="18"/>
                    <a:pt x="9" y="16"/>
                  </a:cubicBezTo>
                  <a:cubicBezTo>
                    <a:pt x="13" y="14"/>
                    <a:pt x="12" y="3"/>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Freeform 1343">
              <a:extLst>
                <a:ext uri="{FF2B5EF4-FFF2-40B4-BE49-F238E27FC236}">
                  <a16:creationId xmlns:a16="http://schemas.microsoft.com/office/drawing/2014/main" id="{CCE958D8-FF26-4FCE-853D-A7FDB41BACD7}"/>
                </a:ext>
              </a:extLst>
            </p:cNvPr>
            <p:cNvSpPr>
              <a:spLocks/>
            </p:cNvSpPr>
            <p:nvPr/>
          </p:nvSpPr>
          <p:spPr bwMode="auto">
            <a:xfrm>
              <a:off x="2275" y="1161"/>
              <a:ext cx="78" cy="12"/>
            </a:xfrm>
            <a:custGeom>
              <a:avLst/>
              <a:gdLst>
                <a:gd name="T0" fmla="*/ 6 w 33"/>
                <a:gd name="T1" fmla="*/ 0 h 5"/>
                <a:gd name="T2" fmla="*/ 6 w 33"/>
                <a:gd name="T3" fmla="*/ 5 h 5"/>
                <a:gd name="T4" fmla="*/ 15 w 33"/>
                <a:gd name="T5" fmla="*/ 4 h 5"/>
                <a:gd name="T6" fmla="*/ 15 w 33"/>
                <a:gd name="T7" fmla="*/ 4 h 5"/>
                <a:gd name="T8" fmla="*/ 18 w 33"/>
                <a:gd name="T9" fmla="*/ 5 h 5"/>
                <a:gd name="T10" fmla="*/ 20 w 33"/>
                <a:gd name="T11" fmla="*/ 5 h 5"/>
                <a:gd name="T12" fmla="*/ 21 w 33"/>
                <a:gd name="T13" fmla="*/ 5 h 5"/>
                <a:gd name="T14" fmla="*/ 33 w 33"/>
                <a:gd name="T15" fmla="*/ 2 h 5"/>
                <a:gd name="T16" fmla="*/ 6 w 3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
                  <a:moveTo>
                    <a:pt x="6" y="0"/>
                  </a:moveTo>
                  <a:cubicBezTo>
                    <a:pt x="0" y="3"/>
                    <a:pt x="7" y="3"/>
                    <a:pt x="6" y="5"/>
                  </a:cubicBezTo>
                  <a:cubicBezTo>
                    <a:pt x="9" y="5"/>
                    <a:pt x="12" y="5"/>
                    <a:pt x="15" y="4"/>
                  </a:cubicBezTo>
                  <a:cubicBezTo>
                    <a:pt x="15" y="4"/>
                    <a:pt x="15" y="4"/>
                    <a:pt x="15" y="4"/>
                  </a:cubicBezTo>
                  <a:cubicBezTo>
                    <a:pt x="16" y="4"/>
                    <a:pt x="17" y="4"/>
                    <a:pt x="18" y="5"/>
                  </a:cubicBezTo>
                  <a:cubicBezTo>
                    <a:pt x="19" y="5"/>
                    <a:pt x="19" y="5"/>
                    <a:pt x="20" y="5"/>
                  </a:cubicBezTo>
                  <a:cubicBezTo>
                    <a:pt x="20" y="5"/>
                    <a:pt x="20" y="5"/>
                    <a:pt x="21" y="5"/>
                  </a:cubicBezTo>
                  <a:cubicBezTo>
                    <a:pt x="24" y="4"/>
                    <a:pt x="31" y="4"/>
                    <a:pt x="33" y="2"/>
                  </a:cubicBezTo>
                  <a:cubicBezTo>
                    <a:pt x="24" y="1"/>
                    <a:pt x="15" y="1"/>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Freeform 1344">
              <a:extLst>
                <a:ext uri="{FF2B5EF4-FFF2-40B4-BE49-F238E27FC236}">
                  <a16:creationId xmlns:a16="http://schemas.microsoft.com/office/drawing/2014/main" id="{028904F7-135B-4DBF-AE5A-5DD9BF3F6A30}"/>
                </a:ext>
              </a:extLst>
            </p:cNvPr>
            <p:cNvSpPr>
              <a:spLocks/>
            </p:cNvSpPr>
            <p:nvPr/>
          </p:nvSpPr>
          <p:spPr bwMode="auto">
            <a:xfrm>
              <a:off x="2107" y="1759"/>
              <a:ext cx="45" cy="31"/>
            </a:xfrm>
            <a:custGeom>
              <a:avLst/>
              <a:gdLst>
                <a:gd name="T0" fmla="*/ 18 w 19"/>
                <a:gd name="T1" fmla="*/ 0 h 13"/>
                <a:gd name="T2" fmla="*/ 8 w 19"/>
                <a:gd name="T3" fmla="*/ 6 h 13"/>
                <a:gd name="T4" fmla="*/ 2 w 19"/>
                <a:gd name="T5" fmla="*/ 9 h 13"/>
                <a:gd name="T6" fmla="*/ 2 w 19"/>
                <a:gd name="T7" fmla="*/ 13 h 13"/>
                <a:gd name="T8" fmla="*/ 10 w 19"/>
                <a:gd name="T9" fmla="*/ 11 h 13"/>
                <a:gd name="T10" fmla="*/ 14 w 19"/>
                <a:gd name="T11" fmla="*/ 10 h 13"/>
                <a:gd name="T12" fmla="*/ 18 w 1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9" h="13">
                  <a:moveTo>
                    <a:pt x="18" y="0"/>
                  </a:moveTo>
                  <a:cubicBezTo>
                    <a:pt x="15" y="2"/>
                    <a:pt x="11" y="4"/>
                    <a:pt x="8" y="6"/>
                  </a:cubicBezTo>
                  <a:cubicBezTo>
                    <a:pt x="6" y="7"/>
                    <a:pt x="3" y="8"/>
                    <a:pt x="2" y="9"/>
                  </a:cubicBezTo>
                  <a:cubicBezTo>
                    <a:pt x="0" y="12"/>
                    <a:pt x="1" y="13"/>
                    <a:pt x="2" y="13"/>
                  </a:cubicBezTo>
                  <a:cubicBezTo>
                    <a:pt x="5" y="13"/>
                    <a:pt x="9" y="12"/>
                    <a:pt x="10" y="11"/>
                  </a:cubicBezTo>
                  <a:cubicBezTo>
                    <a:pt x="12" y="11"/>
                    <a:pt x="12" y="11"/>
                    <a:pt x="14" y="10"/>
                  </a:cubicBezTo>
                  <a:cubicBezTo>
                    <a:pt x="19" y="6"/>
                    <a:pt x="18" y="7"/>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Freeform 1345">
              <a:extLst>
                <a:ext uri="{FF2B5EF4-FFF2-40B4-BE49-F238E27FC236}">
                  <a16:creationId xmlns:a16="http://schemas.microsoft.com/office/drawing/2014/main" id="{F8978CDD-2D32-40C4-A5BB-83550F7E6859}"/>
                </a:ext>
              </a:extLst>
            </p:cNvPr>
            <p:cNvSpPr>
              <a:spLocks/>
            </p:cNvSpPr>
            <p:nvPr/>
          </p:nvSpPr>
          <p:spPr bwMode="auto">
            <a:xfrm>
              <a:off x="2584" y="1154"/>
              <a:ext cx="50" cy="28"/>
            </a:xfrm>
            <a:custGeom>
              <a:avLst/>
              <a:gdLst>
                <a:gd name="T0" fmla="*/ 17 w 21"/>
                <a:gd name="T1" fmla="*/ 0 h 12"/>
                <a:gd name="T2" fmla="*/ 7 w 21"/>
                <a:gd name="T3" fmla="*/ 3 h 12"/>
                <a:gd name="T4" fmla="*/ 0 w 21"/>
                <a:gd name="T5" fmla="*/ 6 h 12"/>
                <a:gd name="T6" fmla="*/ 11 w 21"/>
                <a:gd name="T7" fmla="*/ 12 h 12"/>
                <a:gd name="T8" fmla="*/ 15 w 21"/>
                <a:gd name="T9" fmla="*/ 11 h 12"/>
                <a:gd name="T10" fmla="*/ 17 w 21"/>
                <a:gd name="T11" fmla="*/ 9 h 12"/>
                <a:gd name="T12" fmla="*/ 17 w 21"/>
                <a:gd name="T13" fmla="*/ 9 h 12"/>
                <a:gd name="T14" fmla="*/ 18 w 21"/>
                <a:gd name="T15" fmla="*/ 9 h 12"/>
                <a:gd name="T16" fmla="*/ 19 w 21"/>
                <a:gd name="T17" fmla="*/ 10 h 12"/>
                <a:gd name="T18" fmla="*/ 20 w 21"/>
                <a:gd name="T19" fmla="*/ 9 h 12"/>
                <a:gd name="T20" fmla="*/ 21 w 21"/>
                <a:gd name="T21" fmla="*/ 5 h 12"/>
                <a:gd name="T22" fmla="*/ 18 w 21"/>
                <a:gd name="T23" fmla="*/ 1 h 12"/>
                <a:gd name="T24" fmla="*/ 18 w 21"/>
                <a:gd name="T25" fmla="*/ 1 h 12"/>
                <a:gd name="T26" fmla="*/ 17 w 21"/>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2">
                  <a:moveTo>
                    <a:pt x="17" y="0"/>
                  </a:moveTo>
                  <a:cubicBezTo>
                    <a:pt x="15" y="0"/>
                    <a:pt x="9" y="2"/>
                    <a:pt x="7" y="3"/>
                  </a:cubicBezTo>
                  <a:cubicBezTo>
                    <a:pt x="5" y="4"/>
                    <a:pt x="2" y="5"/>
                    <a:pt x="0" y="6"/>
                  </a:cubicBezTo>
                  <a:cubicBezTo>
                    <a:pt x="4" y="8"/>
                    <a:pt x="8" y="10"/>
                    <a:pt x="11" y="12"/>
                  </a:cubicBezTo>
                  <a:cubicBezTo>
                    <a:pt x="12" y="12"/>
                    <a:pt x="14" y="12"/>
                    <a:pt x="15" y="11"/>
                  </a:cubicBezTo>
                  <a:cubicBezTo>
                    <a:pt x="16" y="11"/>
                    <a:pt x="16" y="9"/>
                    <a:pt x="17" y="9"/>
                  </a:cubicBezTo>
                  <a:cubicBezTo>
                    <a:pt x="17" y="9"/>
                    <a:pt x="17" y="9"/>
                    <a:pt x="17" y="9"/>
                  </a:cubicBezTo>
                  <a:cubicBezTo>
                    <a:pt x="18" y="9"/>
                    <a:pt x="18" y="9"/>
                    <a:pt x="18" y="9"/>
                  </a:cubicBezTo>
                  <a:cubicBezTo>
                    <a:pt x="18" y="10"/>
                    <a:pt x="19" y="10"/>
                    <a:pt x="19" y="10"/>
                  </a:cubicBezTo>
                  <a:cubicBezTo>
                    <a:pt x="19" y="10"/>
                    <a:pt x="19" y="10"/>
                    <a:pt x="20" y="9"/>
                  </a:cubicBezTo>
                  <a:cubicBezTo>
                    <a:pt x="20" y="9"/>
                    <a:pt x="21" y="5"/>
                    <a:pt x="21" y="5"/>
                  </a:cubicBezTo>
                  <a:cubicBezTo>
                    <a:pt x="20" y="4"/>
                    <a:pt x="18" y="1"/>
                    <a:pt x="18" y="1"/>
                  </a:cubicBezTo>
                  <a:cubicBezTo>
                    <a:pt x="18" y="1"/>
                    <a:pt x="18" y="1"/>
                    <a:pt x="18" y="1"/>
                  </a:cubicBezTo>
                  <a:cubicBezTo>
                    <a:pt x="18"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Freeform 1346">
              <a:extLst>
                <a:ext uri="{FF2B5EF4-FFF2-40B4-BE49-F238E27FC236}">
                  <a16:creationId xmlns:a16="http://schemas.microsoft.com/office/drawing/2014/main" id="{C455E3C9-86B9-4534-B659-6B4731D3A2D7}"/>
                </a:ext>
              </a:extLst>
            </p:cNvPr>
            <p:cNvSpPr>
              <a:spLocks/>
            </p:cNvSpPr>
            <p:nvPr/>
          </p:nvSpPr>
          <p:spPr bwMode="auto">
            <a:xfrm>
              <a:off x="247" y="839"/>
              <a:ext cx="52" cy="41"/>
            </a:xfrm>
            <a:custGeom>
              <a:avLst/>
              <a:gdLst>
                <a:gd name="T0" fmla="*/ 4 w 22"/>
                <a:gd name="T1" fmla="*/ 0 h 17"/>
                <a:gd name="T2" fmla="*/ 2 w 22"/>
                <a:gd name="T3" fmla="*/ 4 h 17"/>
                <a:gd name="T4" fmla="*/ 2 w 22"/>
                <a:gd name="T5" fmla="*/ 4 h 17"/>
                <a:gd name="T6" fmla="*/ 5 w 22"/>
                <a:gd name="T7" fmla="*/ 8 h 17"/>
                <a:gd name="T8" fmla="*/ 10 w 22"/>
                <a:gd name="T9" fmla="*/ 9 h 17"/>
                <a:gd name="T10" fmla="*/ 22 w 22"/>
                <a:gd name="T11" fmla="*/ 17 h 17"/>
                <a:gd name="T12" fmla="*/ 22 w 22"/>
                <a:gd name="T13" fmla="*/ 17 h 17"/>
                <a:gd name="T14" fmla="*/ 17 w 22"/>
                <a:gd name="T15" fmla="*/ 9 h 17"/>
                <a:gd name="T16" fmla="*/ 4 w 2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4" y="0"/>
                  </a:moveTo>
                  <a:cubicBezTo>
                    <a:pt x="3" y="1"/>
                    <a:pt x="0" y="4"/>
                    <a:pt x="2" y="4"/>
                  </a:cubicBezTo>
                  <a:cubicBezTo>
                    <a:pt x="2" y="4"/>
                    <a:pt x="2" y="4"/>
                    <a:pt x="2" y="4"/>
                  </a:cubicBezTo>
                  <a:cubicBezTo>
                    <a:pt x="3" y="5"/>
                    <a:pt x="4" y="7"/>
                    <a:pt x="5" y="8"/>
                  </a:cubicBezTo>
                  <a:cubicBezTo>
                    <a:pt x="6" y="9"/>
                    <a:pt x="8" y="9"/>
                    <a:pt x="10" y="9"/>
                  </a:cubicBezTo>
                  <a:cubicBezTo>
                    <a:pt x="13" y="11"/>
                    <a:pt x="19" y="17"/>
                    <a:pt x="22" y="17"/>
                  </a:cubicBezTo>
                  <a:cubicBezTo>
                    <a:pt x="22" y="17"/>
                    <a:pt x="22" y="17"/>
                    <a:pt x="22" y="17"/>
                  </a:cubicBezTo>
                  <a:cubicBezTo>
                    <a:pt x="22" y="11"/>
                    <a:pt x="21" y="12"/>
                    <a:pt x="17" y="9"/>
                  </a:cubicBezTo>
                  <a:cubicBezTo>
                    <a:pt x="12" y="6"/>
                    <a:pt x="8"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1347">
              <a:extLst>
                <a:ext uri="{FF2B5EF4-FFF2-40B4-BE49-F238E27FC236}">
                  <a16:creationId xmlns:a16="http://schemas.microsoft.com/office/drawing/2014/main" id="{A3AABB3D-AB74-47D2-AC3F-F99E0A542101}"/>
                </a:ext>
              </a:extLst>
            </p:cNvPr>
            <p:cNvSpPr>
              <a:spLocks/>
            </p:cNvSpPr>
            <p:nvPr/>
          </p:nvSpPr>
          <p:spPr bwMode="auto">
            <a:xfrm>
              <a:off x="1644" y="1265"/>
              <a:ext cx="19" cy="54"/>
            </a:xfrm>
            <a:custGeom>
              <a:avLst/>
              <a:gdLst>
                <a:gd name="T0" fmla="*/ 7 w 8"/>
                <a:gd name="T1" fmla="*/ 0 h 23"/>
                <a:gd name="T2" fmla="*/ 5 w 8"/>
                <a:gd name="T3" fmla="*/ 0 h 23"/>
                <a:gd name="T4" fmla="*/ 4 w 8"/>
                <a:gd name="T5" fmla="*/ 1 h 23"/>
                <a:gd name="T6" fmla="*/ 4 w 8"/>
                <a:gd name="T7" fmla="*/ 1 h 23"/>
                <a:gd name="T8" fmla="*/ 3 w 8"/>
                <a:gd name="T9" fmla="*/ 2 h 23"/>
                <a:gd name="T10" fmla="*/ 2 w 8"/>
                <a:gd name="T11" fmla="*/ 3 h 23"/>
                <a:gd name="T12" fmla="*/ 2 w 8"/>
                <a:gd name="T13" fmla="*/ 4 h 23"/>
                <a:gd name="T14" fmla="*/ 0 w 8"/>
                <a:gd name="T15" fmla="*/ 13 h 23"/>
                <a:gd name="T16" fmla="*/ 2 w 8"/>
                <a:gd name="T17" fmla="*/ 19 h 23"/>
                <a:gd name="T18" fmla="*/ 2 w 8"/>
                <a:gd name="T19" fmla="*/ 19 h 23"/>
                <a:gd name="T20" fmla="*/ 1 w 8"/>
                <a:gd name="T21" fmla="*/ 20 h 23"/>
                <a:gd name="T22" fmla="*/ 1 w 8"/>
                <a:gd name="T23" fmla="*/ 22 h 23"/>
                <a:gd name="T24" fmla="*/ 2 w 8"/>
                <a:gd name="T25" fmla="*/ 23 h 23"/>
                <a:gd name="T26" fmla="*/ 2 w 8"/>
                <a:gd name="T27" fmla="*/ 22 h 23"/>
                <a:gd name="T28" fmla="*/ 2 w 8"/>
                <a:gd name="T29" fmla="*/ 22 h 23"/>
                <a:gd name="T30" fmla="*/ 2 w 8"/>
                <a:gd name="T31" fmla="*/ 22 h 23"/>
                <a:gd name="T32" fmla="*/ 8 w 8"/>
                <a:gd name="T33" fmla="*/ 18 h 23"/>
                <a:gd name="T34" fmla="*/ 7 w 8"/>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3">
                  <a:moveTo>
                    <a:pt x="7" y="0"/>
                  </a:moveTo>
                  <a:cubicBezTo>
                    <a:pt x="7" y="0"/>
                    <a:pt x="6" y="0"/>
                    <a:pt x="5" y="0"/>
                  </a:cubicBezTo>
                  <a:cubicBezTo>
                    <a:pt x="5" y="1"/>
                    <a:pt x="4" y="1"/>
                    <a:pt x="4" y="1"/>
                  </a:cubicBezTo>
                  <a:cubicBezTo>
                    <a:pt x="4" y="1"/>
                    <a:pt x="4" y="1"/>
                    <a:pt x="4" y="1"/>
                  </a:cubicBezTo>
                  <a:cubicBezTo>
                    <a:pt x="3" y="2"/>
                    <a:pt x="3" y="2"/>
                    <a:pt x="3" y="2"/>
                  </a:cubicBezTo>
                  <a:cubicBezTo>
                    <a:pt x="2" y="3"/>
                    <a:pt x="2" y="3"/>
                    <a:pt x="2" y="3"/>
                  </a:cubicBezTo>
                  <a:cubicBezTo>
                    <a:pt x="2" y="4"/>
                    <a:pt x="2" y="4"/>
                    <a:pt x="2" y="4"/>
                  </a:cubicBezTo>
                  <a:cubicBezTo>
                    <a:pt x="0" y="7"/>
                    <a:pt x="0" y="11"/>
                    <a:pt x="0" y="13"/>
                  </a:cubicBezTo>
                  <a:cubicBezTo>
                    <a:pt x="1" y="15"/>
                    <a:pt x="1" y="17"/>
                    <a:pt x="2" y="19"/>
                  </a:cubicBezTo>
                  <a:cubicBezTo>
                    <a:pt x="2" y="19"/>
                    <a:pt x="2" y="19"/>
                    <a:pt x="2" y="19"/>
                  </a:cubicBezTo>
                  <a:cubicBezTo>
                    <a:pt x="2" y="20"/>
                    <a:pt x="1" y="20"/>
                    <a:pt x="1" y="20"/>
                  </a:cubicBezTo>
                  <a:cubicBezTo>
                    <a:pt x="1" y="21"/>
                    <a:pt x="1" y="22"/>
                    <a:pt x="1" y="22"/>
                  </a:cubicBezTo>
                  <a:cubicBezTo>
                    <a:pt x="1" y="22"/>
                    <a:pt x="1" y="23"/>
                    <a:pt x="2" y="23"/>
                  </a:cubicBezTo>
                  <a:cubicBezTo>
                    <a:pt x="2" y="23"/>
                    <a:pt x="2" y="23"/>
                    <a:pt x="2" y="22"/>
                  </a:cubicBezTo>
                  <a:cubicBezTo>
                    <a:pt x="2" y="22"/>
                    <a:pt x="2" y="22"/>
                    <a:pt x="2" y="22"/>
                  </a:cubicBezTo>
                  <a:cubicBezTo>
                    <a:pt x="2" y="22"/>
                    <a:pt x="2" y="22"/>
                    <a:pt x="2" y="22"/>
                  </a:cubicBezTo>
                  <a:cubicBezTo>
                    <a:pt x="4" y="22"/>
                    <a:pt x="7" y="19"/>
                    <a:pt x="8" y="18"/>
                  </a:cubicBezTo>
                  <a:cubicBezTo>
                    <a:pt x="8" y="12"/>
                    <a:pt x="8" y="6"/>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Freeform 1348">
              <a:extLst>
                <a:ext uri="{FF2B5EF4-FFF2-40B4-BE49-F238E27FC236}">
                  <a16:creationId xmlns:a16="http://schemas.microsoft.com/office/drawing/2014/main" id="{DB03F4FA-91FB-47F7-9B61-9268F9087634}"/>
                </a:ext>
              </a:extLst>
            </p:cNvPr>
            <p:cNvSpPr>
              <a:spLocks/>
            </p:cNvSpPr>
            <p:nvPr/>
          </p:nvSpPr>
          <p:spPr bwMode="auto">
            <a:xfrm>
              <a:off x="3605" y="102"/>
              <a:ext cx="24" cy="24"/>
            </a:xfrm>
            <a:custGeom>
              <a:avLst/>
              <a:gdLst>
                <a:gd name="T0" fmla="*/ 10 w 10"/>
                <a:gd name="T1" fmla="*/ 0 h 10"/>
                <a:gd name="T2" fmla="*/ 6 w 10"/>
                <a:gd name="T3" fmla="*/ 1 h 10"/>
                <a:gd name="T4" fmla="*/ 1 w 10"/>
                <a:gd name="T5" fmla="*/ 4 h 10"/>
                <a:gd name="T6" fmla="*/ 1 w 10"/>
                <a:gd name="T7" fmla="*/ 4 h 10"/>
                <a:gd name="T8" fmla="*/ 2 w 10"/>
                <a:gd name="T9" fmla="*/ 10 h 10"/>
                <a:gd name="T10" fmla="*/ 2 w 10"/>
                <a:gd name="T11" fmla="*/ 10 h 10"/>
                <a:gd name="T12" fmla="*/ 10 w 1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0" y="0"/>
                  </a:moveTo>
                  <a:cubicBezTo>
                    <a:pt x="9" y="0"/>
                    <a:pt x="7" y="1"/>
                    <a:pt x="6" y="1"/>
                  </a:cubicBezTo>
                  <a:cubicBezTo>
                    <a:pt x="4" y="2"/>
                    <a:pt x="2" y="4"/>
                    <a:pt x="1" y="4"/>
                  </a:cubicBezTo>
                  <a:cubicBezTo>
                    <a:pt x="1" y="4"/>
                    <a:pt x="1" y="4"/>
                    <a:pt x="1" y="4"/>
                  </a:cubicBezTo>
                  <a:cubicBezTo>
                    <a:pt x="1" y="5"/>
                    <a:pt x="0" y="9"/>
                    <a:pt x="2" y="10"/>
                  </a:cubicBezTo>
                  <a:cubicBezTo>
                    <a:pt x="2" y="10"/>
                    <a:pt x="2" y="10"/>
                    <a:pt x="2" y="10"/>
                  </a:cubicBezTo>
                  <a:cubicBezTo>
                    <a:pt x="4" y="10"/>
                    <a:pt x="9" y="2"/>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Freeform 1349">
              <a:extLst>
                <a:ext uri="{FF2B5EF4-FFF2-40B4-BE49-F238E27FC236}">
                  <a16:creationId xmlns:a16="http://schemas.microsoft.com/office/drawing/2014/main" id="{C7C768EE-0404-4ADA-9A44-C2A642C491E9}"/>
                </a:ext>
              </a:extLst>
            </p:cNvPr>
            <p:cNvSpPr>
              <a:spLocks/>
            </p:cNvSpPr>
            <p:nvPr/>
          </p:nvSpPr>
          <p:spPr bwMode="auto">
            <a:xfrm>
              <a:off x="3156" y="383"/>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0"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 name="Freeform 1350">
              <a:extLst>
                <a:ext uri="{FF2B5EF4-FFF2-40B4-BE49-F238E27FC236}">
                  <a16:creationId xmlns:a16="http://schemas.microsoft.com/office/drawing/2014/main" id="{5B8E09F1-9611-46BA-9520-A88A66EAFCD2}"/>
                </a:ext>
              </a:extLst>
            </p:cNvPr>
            <p:cNvSpPr>
              <a:spLocks/>
            </p:cNvSpPr>
            <p:nvPr/>
          </p:nvSpPr>
          <p:spPr bwMode="auto">
            <a:xfrm>
              <a:off x="4862" y="672"/>
              <a:ext cx="7" cy="7"/>
            </a:xfrm>
            <a:custGeom>
              <a:avLst/>
              <a:gdLst>
                <a:gd name="T0" fmla="*/ 3 w 3"/>
                <a:gd name="T1" fmla="*/ 0 h 3"/>
                <a:gd name="T2" fmla="*/ 0 w 3"/>
                <a:gd name="T3" fmla="*/ 1 h 3"/>
                <a:gd name="T4" fmla="*/ 2 w 3"/>
                <a:gd name="T5" fmla="*/ 3 h 3"/>
                <a:gd name="T6" fmla="*/ 3 w 3"/>
                <a:gd name="T7" fmla="*/ 0 h 3"/>
              </a:gdLst>
              <a:ahLst/>
              <a:cxnLst>
                <a:cxn ang="0">
                  <a:pos x="T0" y="T1"/>
                </a:cxn>
                <a:cxn ang="0">
                  <a:pos x="T2" y="T3"/>
                </a:cxn>
                <a:cxn ang="0">
                  <a:pos x="T4" y="T5"/>
                </a:cxn>
                <a:cxn ang="0">
                  <a:pos x="T6" y="T7"/>
                </a:cxn>
              </a:cxnLst>
              <a:rect l="0" t="0" r="r" b="b"/>
              <a:pathLst>
                <a:path w="3" h="3">
                  <a:moveTo>
                    <a:pt x="3" y="0"/>
                  </a:moveTo>
                  <a:cubicBezTo>
                    <a:pt x="2" y="0"/>
                    <a:pt x="1" y="0"/>
                    <a:pt x="0" y="1"/>
                  </a:cubicBezTo>
                  <a:cubicBezTo>
                    <a:pt x="1" y="2"/>
                    <a:pt x="1" y="2"/>
                    <a:pt x="2" y="3"/>
                  </a:cubicBezTo>
                  <a:cubicBezTo>
                    <a:pt x="3"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Freeform 1351">
              <a:extLst>
                <a:ext uri="{FF2B5EF4-FFF2-40B4-BE49-F238E27FC236}">
                  <a16:creationId xmlns:a16="http://schemas.microsoft.com/office/drawing/2014/main" id="{72AE6BCC-0007-4AE5-9DA4-51AE1E6B39C6}"/>
                </a:ext>
              </a:extLst>
            </p:cNvPr>
            <p:cNvSpPr>
              <a:spLocks/>
            </p:cNvSpPr>
            <p:nvPr/>
          </p:nvSpPr>
          <p:spPr bwMode="auto">
            <a:xfrm>
              <a:off x="4539" y="561"/>
              <a:ext cx="11" cy="11"/>
            </a:xfrm>
            <a:custGeom>
              <a:avLst/>
              <a:gdLst>
                <a:gd name="T0" fmla="*/ 0 w 5"/>
                <a:gd name="T1" fmla="*/ 0 h 5"/>
                <a:gd name="T2" fmla="*/ 1 w 5"/>
                <a:gd name="T3" fmla="*/ 5 h 5"/>
                <a:gd name="T4" fmla="*/ 3 w 5"/>
                <a:gd name="T5" fmla="*/ 3 h 5"/>
                <a:gd name="T6" fmla="*/ 0 w 5"/>
                <a:gd name="T7" fmla="*/ 0 h 5"/>
              </a:gdLst>
              <a:ahLst/>
              <a:cxnLst>
                <a:cxn ang="0">
                  <a:pos x="T0" y="T1"/>
                </a:cxn>
                <a:cxn ang="0">
                  <a:pos x="T2" y="T3"/>
                </a:cxn>
                <a:cxn ang="0">
                  <a:pos x="T4" y="T5"/>
                </a:cxn>
                <a:cxn ang="0">
                  <a:pos x="T6" y="T7"/>
                </a:cxn>
              </a:cxnLst>
              <a:rect l="0" t="0" r="r" b="b"/>
              <a:pathLst>
                <a:path w="5" h="5">
                  <a:moveTo>
                    <a:pt x="0" y="0"/>
                  </a:moveTo>
                  <a:cubicBezTo>
                    <a:pt x="0" y="2"/>
                    <a:pt x="0" y="4"/>
                    <a:pt x="1" y="5"/>
                  </a:cubicBezTo>
                  <a:cubicBezTo>
                    <a:pt x="2" y="5"/>
                    <a:pt x="3" y="4"/>
                    <a:pt x="3" y="3"/>
                  </a:cubicBezTo>
                  <a:cubicBezTo>
                    <a:pt x="5" y="2"/>
                    <a:pt x="1"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 name="Freeform 1352">
              <a:extLst>
                <a:ext uri="{FF2B5EF4-FFF2-40B4-BE49-F238E27FC236}">
                  <a16:creationId xmlns:a16="http://schemas.microsoft.com/office/drawing/2014/main" id="{515CA0A6-1DD0-4C69-9EEA-321D8F224C36}"/>
                </a:ext>
              </a:extLst>
            </p:cNvPr>
            <p:cNvSpPr>
              <a:spLocks/>
            </p:cNvSpPr>
            <p:nvPr/>
          </p:nvSpPr>
          <p:spPr bwMode="auto">
            <a:xfrm>
              <a:off x="5871" y="2324"/>
              <a:ext cx="3" cy="7"/>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1" y="3"/>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 name="Freeform 1353">
              <a:extLst>
                <a:ext uri="{FF2B5EF4-FFF2-40B4-BE49-F238E27FC236}">
                  <a16:creationId xmlns:a16="http://schemas.microsoft.com/office/drawing/2014/main" id="{29735361-FE4B-448E-9661-0FB885C89804}"/>
                </a:ext>
              </a:extLst>
            </p:cNvPr>
            <p:cNvSpPr>
              <a:spLocks/>
            </p:cNvSpPr>
            <p:nvPr/>
          </p:nvSpPr>
          <p:spPr bwMode="auto">
            <a:xfrm>
              <a:off x="5836" y="2239"/>
              <a:ext cx="109" cy="66"/>
            </a:xfrm>
            <a:custGeom>
              <a:avLst/>
              <a:gdLst>
                <a:gd name="T0" fmla="*/ 31 w 46"/>
                <a:gd name="T1" fmla="*/ 0 h 28"/>
                <a:gd name="T2" fmla="*/ 19 w 46"/>
                <a:gd name="T3" fmla="*/ 3 h 28"/>
                <a:gd name="T4" fmla="*/ 5 w 46"/>
                <a:gd name="T5" fmla="*/ 22 h 28"/>
                <a:gd name="T6" fmla="*/ 11 w 46"/>
                <a:gd name="T7" fmla="*/ 26 h 28"/>
                <a:gd name="T8" fmla="*/ 19 w 46"/>
                <a:gd name="T9" fmla="*/ 28 h 28"/>
                <a:gd name="T10" fmla="*/ 20 w 46"/>
                <a:gd name="T11" fmla="*/ 28 h 28"/>
                <a:gd name="T12" fmla="*/ 41 w 46"/>
                <a:gd name="T13" fmla="*/ 24 h 28"/>
                <a:gd name="T14" fmla="*/ 46 w 46"/>
                <a:gd name="T15" fmla="*/ 21 h 28"/>
                <a:gd name="T16" fmla="*/ 45 w 46"/>
                <a:gd name="T17" fmla="*/ 21 h 28"/>
                <a:gd name="T18" fmla="*/ 43 w 46"/>
                <a:gd name="T19" fmla="*/ 14 h 28"/>
                <a:gd name="T20" fmla="*/ 42 w 46"/>
                <a:gd name="T21" fmla="*/ 13 h 28"/>
                <a:gd name="T22" fmla="*/ 43 w 46"/>
                <a:gd name="T23" fmla="*/ 10 h 28"/>
                <a:gd name="T24" fmla="*/ 40 w 46"/>
                <a:gd name="T25" fmla="*/ 9 h 28"/>
                <a:gd name="T26" fmla="*/ 31 w 46"/>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8">
                  <a:moveTo>
                    <a:pt x="31" y="0"/>
                  </a:moveTo>
                  <a:cubicBezTo>
                    <a:pt x="30" y="3"/>
                    <a:pt x="21" y="2"/>
                    <a:pt x="19" y="3"/>
                  </a:cubicBezTo>
                  <a:cubicBezTo>
                    <a:pt x="13" y="6"/>
                    <a:pt x="0" y="14"/>
                    <a:pt x="5" y="22"/>
                  </a:cubicBezTo>
                  <a:cubicBezTo>
                    <a:pt x="6" y="24"/>
                    <a:pt x="8" y="25"/>
                    <a:pt x="11" y="26"/>
                  </a:cubicBezTo>
                  <a:cubicBezTo>
                    <a:pt x="13" y="26"/>
                    <a:pt x="17" y="28"/>
                    <a:pt x="19" y="28"/>
                  </a:cubicBezTo>
                  <a:cubicBezTo>
                    <a:pt x="20" y="28"/>
                    <a:pt x="20" y="28"/>
                    <a:pt x="20" y="28"/>
                  </a:cubicBezTo>
                  <a:cubicBezTo>
                    <a:pt x="27" y="28"/>
                    <a:pt x="34" y="25"/>
                    <a:pt x="41" y="24"/>
                  </a:cubicBezTo>
                  <a:cubicBezTo>
                    <a:pt x="43" y="23"/>
                    <a:pt x="46" y="24"/>
                    <a:pt x="46" y="21"/>
                  </a:cubicBezTo>
                  <a:cubicBezTo>
                    <a:pt x="46" y="21"/>
                    <a:pt x="46" y="21"/>
                    <a:pt x="45" y="21"/>
                  </a:cubicBezTo>
                  <a:cubicBezTo>
                    <a:pt x="43" y="21"/>
                    <a:pt x="43" y="16"/>
                    <a:pt x="43" y="14"/>
                  </a:cubicBezTo>
                  <a:cubicBezTo>
                    <a:pt x="43" y="14"/>
                    <a:pt x="42" y="13"/>
                    <a:pt x="42" y="13"/>
                  </a:cubicBezTo>
                  <a:cubicBezTo>
                    <a:pt x="42" y="12"/>
                    <a:pt x="43" y="11"/>
                    <a:pt x="43" y="10"/>
                  </a:cubicBezTo>
                  <a:cubicBezTo>
                    <a:pt x="43" y="9"/>
                    <a:pt x="41" y="9"/>
                    <a:pt x="40" y="9"/>
                  </a:cubicBezTo>
                  <a:cubicBezTo>
                    <a:pt x="37" y="6"/>
                    <a:pt x="34" y="3"/>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Freeform 1354">
              <a:extLst>
                <a:ext uri="{FF2B5EF4-FFF2-40B4-BE49-F238E27FC236}">
                  <a16:creationId xmlns:a16="http://schemas.microsoft.com/office/drawing/2014/main" id="{E7840482-4C4C-4774-A013-6720694F783F}"/>
                </a:ext>
              </a:extLst>
            </p:cNvPr>
            <p:cNvSpPr>
              <a:spLocks/>
            </p:cNvSpPr>
            <p:nvPr/>
          </p:nvSpPr>
          <p:spPr bwMode="auto">
            <a:xfrm>
              <a:off x="5947" y="2260"/>
              <a:ext cx="5" cy="9"/>
            </a:xfrm>
            <a:custGeom>
              <a:avLst/>
              <a:gdLst>
                <a:gd name="T0" fmla="*/ 2 w 2"/>
                <a:gd name="T1" fmla="*/ 0 h 4"/>
                <a:gd name="T2" fmla="*/ 1 w 2"/>
                <a:gd name="T3" fmla="*/ 4 h 4"/>
                <a:gd name="T4" fmla="*/ 2 w 2"/>
                <a:gd name="T5" fmla="*/ 0 h 4"/>
              </a:gdLst>
              <a:ahLst/>
              <a:cxnLst>
                <a:cxn ang="0">
                  <a:pos x="T0" y="T1"/>
                </a:cxn>
                <a:cxn ang="0">
                  <a:pos x="T2" y="T3"/>
                </a:cxn>
                <a:cxn ang="0">
                  <a:pos x="T4" y="T5"/>
                </a:cxn>
              </a:cxnLst>
              <a:rect l="0" t="0" r="r" b="b"/>
              <a:pathLst>
                <a:path w="2" h="4">
                  <a:moveTo>
                    <a:pt x="2" y="0"/>
                  </a:moveTo>
                  <a:cubicBezTo>
                    <a:pt x="0" y="1"/>
                    <a:pt x="0" y="3"/>
                    <a:pt x="1" y="4"/>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 name="Freeform 1355">
              <a:extLst>
                <a:ext uri="{FF2B5EF4-FFF2-40B4-BE49-F238E27FC236}">
                  <a16:creationId xmlns:a16="http://schemas.microsoft.com/office/drawing/2014/main" id="{3ADB95B8-F74B-416A-A4E4-C6E595C5B3AA}"/>
                </a:ext>
              </a:extLst>
            </p:cNvPr>
            <p:cNvSpPr>
              <a:spLocks/>
            </p:cNvSpPr>
            <p:nvPr/>
          </p:nvSpPr>
          <p:spPr bwMode="auto">
            <a:xfrm>
              <a:off x="5930" y="2158"/>
              <a:ext cx="104" cy="59"/>
            </a:xfrm>
            <a:custGeom>
              <a:avLst/>
              <a:gdLst>
                <a:gd name="T0" fmla="*/ 44 w 44"/>
                <a:gd name="T1" fmla="*/ 0 h 25"/>
                <a:gd name="T2" fmla="*/ 39 w 44"/>
                <a:gd name="T3" fmla="*/ 2 h 25"/>
                <a:gd name="T4" fmla="*/ 37 w 44"/>
                <a:gd name="T5" fmla="*/ 1 h 25"/>
                <a:gd name="T6" fmla="*/ 37 w 44"/>
                <a:gd name="T7" fmla="*/ 1 h 25"/>
                <a:gd name="T8" fmla="*/ 33 w 44"/>
                <a:gd name="T9" fmla="*/ 3 h 25"/>
                <a:gd name="T10" fmla="*/ 31 w 44"/>
                <a:gd name="T11" fmla="*/ 2 h 25"/>
                <a:gd name="T12" fmla="*/ 30 w 44"/>
                <a:gd name="T13" fmla="*/ 3 h 25"/>
                <a:gd name="T14" fmla="*/ 30 w 44"/>
                <a:gd name="T15" fmla="*/ 3 h 25"/>
                <a:gd name="T16" fmla="*/ 25 w 44"/>
                <a:gd name="T17" fmla="*/ 7 h 25"/>
                <a:gd name="T18" fmla="*/ 17 w 44"/>
                <a:gd name="T19" fmla="*/ 8 h 25"/>
                <a:gd name="T20" fmla="*/ 13 w 44"/>
                <a:gd name="T21" fmla="*/ 9 h 25"/>
                <a:gd name="T22" fmla="*/ 10 w 44"/>
                <a:gd name="T23" fmla="*/ 12 h 25"/>
                <a:gd name="T24" fmla="*/ 9 w 44"/>
                <a:gd name="T25" fmla="*/ 14 h 25"/>
                <a:gd name="T26" fmla="*/ 8 w 44"/>
                <a:gd name="T27" fmla="*/ 13 h 25"/>
                <a:gd name="T28" fmla="*/ 6 w 44"/>
                <a:gd name="T29" fmla="*/ 14 h 25"/>
                <a:gd name="T30" fmla="*/ 6 w 44"/>
                <a:gd name="T31" fmla="*/ 14 h 25"/>
                <a:gd name="T32" fmla="*/ 5 w 44"/>
                <a:gd name="T33" fmla="*/ 14 h 25"/>
                <a:gd name="T34" fmla="*/ 4 w 44"/>
                <a:gd name="T35" fmla="*/ 14 h 25"/>
                <a:gd name="T36" fmla="*/ 4 w 44"/>
                <a:gd name="T37" fmla="*/ 14 h 25"/>
                <a:gd name="T38" fmla="*/ 4 w 44"/>
                <a:gd name="T39" fmla="*/ 14 h 25"/>
                <a:gd name="T40" fmla="*/ 3 w 44"/>
                <a:gd name="T41" fmla="*/ 14 h 25"/>
                <a:gd name="T42" fmla="*/ 2 w 44"/>
                <a:gd name="T43" fmla="*/ 14 h 25"/>
                <a:gd name="T44" fmla="*/ 1 w 44"/>
                <a:gd name="T45" fmla="*/ 14 h 25"/>
                <a:gd name="T46" fmla="*/ 0 w 44"/>
                <a:gd name="T47" fmla="*/ 18 h 25"/>
                <a:gd name="T48" fmla="*/ 5 w 44"/>
                <a:gd name="T49" fmla="*/ 23 h 25"/>
                <a:gd name="T50" fmla="*/ 6 w 44"/>
                <a:gd name="T51" fmla="*/ 25 h 25"/>
                <a:gd name="T52" fmla="*/ 7 w 44"/>
                <a:gd name="T53" fmla="*/ 25 h 25"/>
                <a:gd name="T54" fmla="*/ 15 w 44"/>
                <a:gd name="T55" fmla="*/ 22 h 25"/>
                <a:gd name="T56" fmla="*/ 30 w 44"/>
                <a:gd name="T57" fmla="*/ 19 h 25"/>
                <a:gd name="T58" fmla="*/ 38 w 44"/>
                <a:gd name="T59" fmla="*/ 17 h 25"/>
                <a:gd name="T60" fmla="*/ 39 w 44"/>
                <a:gd name="T61" fmla="*/ 17 h 25"/>
                <a:gd name="T62" fmla="*/ 40 w 44"/>
                <a:gd name="T63" fmla="*/ 18 h 25"/>
                <a:gd name="T64" fmla="*/ 39 w 44"/>
                <a:gd name="T65" fmla="*/ 11 h 25"/>
                <a:gd name="T66" fmla="*/ 29 w 44"/>
                <a:gd name="T67" fmla="*/ 18 h 25"/>
                <a:gd name="T68" fmla="*/ 29 w 44"/>
                <a:gd name="T69" fmla="*/ 18 h 25"/>
                <a:gd name="T70" fmla="*/ 44 w 44"/>
                <a:gd name="T7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25">
                  <a:moveTo>
                    <a:pt x="44" y="0"/>
                  </a:moveTo>
                  <a:cubicBezTo>
                    <a:pt x="43" y="0"/>
                    <a:pt x="40" y="2"/>
                    <a:pt x="39" y="2"/>
                  </a:cubicBezTo>
                  <a:cubicBezTo>
                    <a:pt x="37" y="1"/>
                    <a:pt x="37" y="1"/>
                    <a:pt x="37" y="1"/>
                  </a:cubicBezTo>
                  <a:cubicBezTo>
                    <a:pt x="37" y="1"/>
                    <a:pt x="37" y="1"/>
                    <a:pt x="37" y="1"/>
                  </a:cubicBezTo>
                  <a:cubicBezTo>
                    <a:pt x="35" y="1"/>
                    <a:pt x="33" y="2"/>
                    <a:pt x="33" y="3"/>
                  </a:cubicBezTo>
                  <a:cubicBezTo>
                    <a:pt x="32" y="2"/>
                    <a:pt x="32" y="2"/>
                    <a:pt x="31" y="2"/>
                  </a:cubicBezTo>
                  <a:cubicBezTo>
                    <a:pt x="30" y="3"/>
                    <a:pt x="30" y="3"/>
                    <a:pt x="30" y="3"/>
                  </a:cubicBezTo>
                  <a:cubicBezTo>
                    <a:pt x="30" y="3"/>
                    <a:pt x="30" y="3"/>
                    <a:pt x="30" y="3"/>
                  </a:cubicBezTo>
                  <a:cubicBezTo>
                    <a:pt x="28" y="3"/>
                    <a:pt x="26" y="6"/>
                    <a:pt x="25" y="7"/>
                  </a:cubicBezTo>
                  <a:cubicBezTo>
                    <a:pt x="23" y="7"/>
                    <a:pt x="20" y="7"/>
                    <a:pt x="17" y="8"/>
                  </a:cubicBezTo>
                  <a:cubicBezTo>
                    <a:pt x="16" y="8"/>
                    <a:pt x="13" y="9"/>
                    <a:pt x="13" y="9"/>
                  </a:cubicBezTo>
                  <a:cubicBezTo>
                    <a:pt x="12" y="9"/>
                    <a:pt x="12" y="11"/>
                    <a:pt x="10" y="12"/>
                  </a:cubicBezTo>
                  <a:cubicBezTo>
                    <a:pt x="10" y="12"/>
                    <a:pt x="10" y="12"/>
                    <a:pt x="9" y="14"/>
                  </a:cubicBezTo>
                  <a:cubicBezTo>
                    <a:pt x="8" y="13"/>
                    <a:pt x="8" y="13"/>
                    <a:pt x="8" y="13"/>
                  </a:cubicBezTo>
                  <a:cubicBezTo>
                    <a:pt x="8" y="13"/>
                    <a:pt x="8" y="14"/>
                    <a:pt x="6" y="14"/>
                  </a:cubicBezTo>
                  <a:cubicBezTo>
                    <a:pt x="6" y="14"/>
                    <a:pt x="6" y="14"/>
                    <a:pt x="6" y="14"/>
                  </a:cubicBezTo>
                  <a:cubicBezTo>
                    <a:pt x="6" y="14"/>
                    <a:pt x="6" y="14"/>
                    <a:pt x="5" y="14"/>
                  </a:cubicBezTo>
                  <a:cubicBezTo>
                    <a:pt x="5" y="14"/>
                    <a:pt x="5" y="14"/>
                    <a:pt x="4" y="14"/>
                  </a:cubicBezTo>
                  <a:cubicBezTo>
                    <a:pt x="4" y="14"/>
                    <a:pt x="4" y="14"/>
                    <a:pt x="4" y="14"/>
                  </a:cubicBezTo>
                  <a:cubicBezTo>
                    <a:pt x="4" y="14"/>
                    <a:pt x="4" y="14"/>
                    <a:pt x="4" y="14"/>
                  </a:cubicBezTo>
                  <a:cubicBezTo>
                    <a:pt x="3" y="14"/>
                    <a:pt x="3" y="14"/>
                    <a:pt x="3" y="14"/>
                  </a:cubicBezTo>
                  <a:cubicBezTo>
                    <a:pt x="3" y="14"/>
                    <a:pt x="2" y="14"/>
                    <a:pt x="2" y="14"/>
                  </a:cubicBezTo>
                  <a:cubicBezTo>
                    <a:pt x="2" y="14"/>
                    <a:pt x="2" y="14"/>
                    <a:pt x="1" y="14"/>
                  </a:cubicBezTo>
                  <a:cubicBezTo>
                    <a:pt x="1" y="14"/>
                    <a:pt x="1" y="17"/>
                    <a:pt x="0" y="18"/>
                  </a:cubicBezTo>
                  <a:cubicBezTo>
                    <a:pt x="4" y="19"/>
                    <a:pt x="3" y="20"/>
                    <a:pt x="5" y="23"/>
                  </a:cubicBezTo>
                  <a:cubicBezTo>
                    <a:pt x="6" y="24"/>
                    <a:pt x="5" y="24"/>
                    <a:pt x="6" y="25"/>
                  </a:cubicBezTo>
                  <a:cubicBezTo>
                    <a:pt x="7" y="25"/>
                    <a:pt x="7" y="25"/>
                    <a:pt x="7" y="25"/>
                  </a:cubicBezTo>
                  <a:cubicBezTo>
                    <a:pt x="9" y="25"/>
                    <a:pt x="14" y="23"/>
                    <a:pt x="15" y="22"/>
                  </a:cubicBezTo>
                  <a:cubicBezTo>
                    <a:pt x="20" y="21"/>
                    <a:pt x="25" y="20"/>
                    <a:pt x="30" y="19"/>
                  </a:cubicBezTo>
                  <a:cubicBezTo>
                    <a:pt x="32" y="18"/>
                    <a:pt x="35" y="17"/>
                    <a:pt x="38" y="17"/>
                  </a:cubicBezTo>
                  <a:cubicBezTo>
                    <a:pt x="38" y="17"/>
                    <a:pt x="39" y="17"/>
                    <a:pt x="39" y="17"/>
                  </a:cubicBezTo>
                  <a:cubicBezTo>
                    <a:pt x="40" y="18"/>
                    <a:pt x="40" y="17"/>
                    <a:pt x="40" y="18"/>
                  </a:cubicBezTo>
                  <a:cubicBezTo>
                    <a:pt x="40" y="16"/>
                    <a:pt x="40" y="13"/>
                    <a:pt x="39" y="11"/>
                  </a:cubicBezTo>
                  <a:cubicBezTo>
                    <a:pt x="36" y="13"/>
                    <a:pt x="32" y="18"/>
                    <a:pt x="29" y="18"/>
                  </a:cubicBezTo>
                  <a:cubicBezTo>
                    <a:pt x="29" y="18"/>
                    <a:pt x="29" y="18"/>
                    <a:pt x="29" y="18"/>
                  </a:cubicBezTo>
                  <a:cubicBezTo>
                    <a:pt x="28" y="11"/>
                    <a:pt x="42" y="6"/>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 name="Freeform 1356">
              <a:extLst>
                <a:ext uri="{FF2B5EF4-FFF2-40B4-BE49-F238E27FC236}">
                  <a16:creationId xmlns:a16="http://schemas.microsoft.com/office/drawing/2014/main" id="{7A54B253-A75B-46B6-8453-71028A1D3B65}"/>
                </a:ext>
              </a:extLst>
            </p:cNvPr>
            <p:cNvSpPr>
              <a:spLocks/>
            </p:cNvSpPr>
            <p:nvPr/>
          </p:nvSpPr>
          <p:spPr bwMode="auto">
            <a:xfrm>
              <a:off x="5841" y="2222"/>
              <a:ext cx="7" cy="7"/>
            </a:xfrm>
            <a:custGeom>
              <a:avLst/>
              <a:gdLst>
                <a:gd name="T0" fmla="*/ 3 w 3"/>
                <a:gd name="T1" fmla="*/ 0 h 3"/>
                <a:gd name="T2" fmla="*/ 0 w 3"/>
                <a:gd name="T3" fmla="*/ 3 h 3"/>
                <a:gd name="T4" fmla="*/ 3 w 3"/>
                <a:gd name="T5" fmla="*/ 0 h 3"/>
                <a:gd name="T6" fmla="*/ 3 w 3"/>
                <a:gd name="T7" fmla="*/ 0 h 3"/>
              </a:gdLst>
              <a:ahLst/>
              <a:cxnLst>
                <a:cxn ang="0">
                  <a:pos x="T0" y="T1"/>
                </a:cxn>
                <a:cxn ang="0">
                  <a:pos x="T2" y="T3"/>
                </a:cxn>
                <a:cxn ang="0">
                  <a:pos x="T4" y="T5"/>
                </a:cxn>
                <a:cxn ang="0">
                  <a:pos x="T6" y="T7"/>
                </a:cxn>
              </a:cxnLst>
              <a:rect l="0" t="0" r="r" b="b"/>
              <a:pathLst>
                <a:path w="3" h="3">
                  <a:moveTo>
                    <a:pt x="3" y="0"/>
                  </a:moveTo>
                  <a:cubicBezTo>
                    <a:pt x="1" y="0"/>
                    <a:pt x="0" y="1"/>
                    <a:pt x="0" y="3"/>
                  </a:cubicBezTo>
                  <a:cubicBezTo>
                    <a:pt x="1" y="2"/>
                    <a:pt x="2"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Freeform 1357">
              <a:extLst>
                <a:ext uri="{FF2B5EF4-FFF2-40B4-BE49-F238E27FC236}">
                  <a16:creationId xmlns:a16="http://schemas.microsoft.com/office/drawing/2014/main" id="{A17BACD8-A5B7-44E1-A487-E773E31EC556}"/>
                </a:ext>
              </a:extLst>
            </p:cNvPr>
            <p:cNvSpPr>
              <a:spLocks/>
            </p:cNvSpPr>
            <p:nvPr/>
          </p:nvSpPr>
          <p:spPr bwMode="auto">
            <a:xfrm>
              <a:off x="5992" y="2234"/>
              <a:ext cx="5" cy="12"/>
            </a:xfrm>
            <a:custGeom>
              <a:avLst/>
              <a:gdLst>
                <a:gd name="T0" fmla="*/ 1 w 2"/>
                <a:gd name="T1" fmla="*/ 0 h 5"/>
                <a:gd name="T2" fmla="*/ 0 w 2"/>
                <a:gd name="T3" fmla="*/ 5 h 5"/>
                <a:gd name="T4" fmla="*/ 1 w 2"/>
                <a:gd name="T5" fmla="*/ 0 h 5"/>
              </a:gdLst>
              <a:ahLst/>
              <a:cxnLst>
                <a:cxn ang="0">
                  <a:pos x="T0" y="T1"/>
                </a:cxn>
                <a:cxn ang="0">
                  <a:pos x="T2" y="T3"/>
                </a:cxn>
                <a:cxn ang="0">
                  <a:pos x="T4" y="T5"/>
                </a:cxn>
              </a:cxnLst>
              <a:rect l="0" t="0" r="r" b="b"/>
              <a:pathLst>
                <a:path w="2" h="5">
                  <a:moveTo>
                    <a:pt x="1" y="0"/>
                  </a:moveTo>
                  <a:cubicBezTo>
                    <a:pt x="1" y="2"/>
                    <a:pt x="0" y="3"/>
                    <a:pt x="0" y="5"/>
                  </a:cubicBezTo>
                  <a:cubicBezTo>
                    <a:pt x="1"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1358">
              <a:extLst>
                <a:ext uri="{FF2B5EF4-FFF2-40B4-BE49-F238E27FC236}">
                  <a16:creationId xmlns:a16="http://schemas.microsoft.com/office/drawing/2014/main" id="{6119C177-7B88-4B9C-A625-45F5B9DF9DF2}"/>
                </a:ext>
              </a:extLst>
            </p:cNvPr>
            <p:cNvSpPr>
              <a:spLocks/>
            </p:cNvSpPr>
            <p:nvPr/>
          </p:nvSpPr>
          <p:spPr bwMode="auto">
            <a:xfrm>
              <a:off x="5982" y="2284"/>
              <a:ext cx="8" cy="11"/>
            </a:xfrm>
            <a:custGeom>
              <a:avLst/>
              <a:gdLst>
                <a:gd name="T0" fmla="*/ 1 w 3"/>
                <a:gd name="T1" fmla="*/ 0 h 5"/>
                <a:gd name="T2" fmla="*/ 2 w 3"/>
                <a:gd name="T3" fmla="*/ 5 h 5"/>
                <a:gd name="T4" fmla="*/ 1 w 3"/>
                <a:gd name="T5" fmla="*/ 0 h 5"/>
              </a:gdLst>
              <a:ahLst/>
              <a:cxnLst>
                <a:cxn ang="0">
                  <a:pos x="T0" y="T1"/>
                </a:cxn>
                <a:cxn ang="0">
                  <a:pos x="T2" y="T3"/>
                </a:cxn>
                <a:cxn ang="0">
                  <a:pos x="T4" y="T5"/>
                </a:cxn>
              </a:cxnLst>
              <a:rect l="0" t="0" r="r" b="b"/>
              <a:pathLst>
                <a:path w="3" h="5">
                  <a:moveTo>
                    <a:pt x="1" y="0"/>
                  </a:moveTo>
                  <a:cubicBezTo>
                    <a:pt x="0" y="0"/>
                    <a:pt x="0" y="2"/>
                    <a:pt x="2" y="5"/>
                  </a:cubicBezTo>
                  <a:cubicBezTo>
                    <a:pt x="3" y="3"/>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 name="Freeform 1359">
              <a:extLst>
                <a:ext uri="{FF2B5EF4-FFF2-40B4-BE49-F238E27FC236}">
                  <a16:creationId xmlns:a16="http://schemas.microsoft.com/office/drawing/2014/main" id="{6AA2DDB6-1361-43E7-9624-72D88EFF8D4E}"/>
                </a:ext>
              </a:extLst>
            </p:cNvPr>
            <p:cNvSpPr>
              <a:spLocks/>
            </p:cNvSpPr>
            <p:nvPr/>
          </p:nvSpPr>
          <p:spPr bwMode="auto">
            <a:xfrm>
              <a:off x="5857" y="2199"/>
              <a:ext cx="7" cy="7"/>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 name="Freeform 1360">
              <a:extLst>
                <a:ext uri="{FF2B5EF4-FFF2-40B4-BE49-F238E27FC236}">
                  <a16:creationId xmlns:a16="http://schemas.microsoft.com/office/drawing/2014/main" id="{5E7F7121-41C8-4ED0-9D41-35B553EF9758}"/>
                </a:ext>
              </a:extLst>
            </p:cNvPr>
            <p:cNvSpPr>
              <a:spLocks/>
            </p:cNvSpPr>
            <p:nvPr/>
          </p:nvSpPr>
          <p:spPr bwMode="auto">
            <a:xfrm>
              <a:off x="5893" y="2355"/>
              <a:ext cx="40" cy="16"/>
            </a:xfrm>
            <a:custGeom>
              <a:avLst/>
              <a:gdLst>
                <a:gd name="T0" fmla="*/ 12 w 17"/>
                <a:gd name="T1" fmla="*/ 0 h 7"/>
                <a:gd name="T2" fmla="*/ 0 w 17"/>
                <a:gd name="T3" fmla="*/ 5 h 7"/>
                <a:gd name="T4" fmla="*/ 4 w 17"/>
                <a:gd name="T5" fmla="*/ 7 h 7"/>
                <a:gd name="T6" fmla="*/ 5 w 17"/>
                <a:gd name="T7" fmla="*/ 7 h 7"/>
                <a:gd name="T8" fmla="*/ 9 w 17"/>
                <a:gd name="T9" fmla="*/ 3 h 7"/>
                <a:gd name="T10" fmla="*/ 10 w 17"/>
                <a:gd name="T11" fmla="*/ 2 h 7"/>
                <a:gd name="T12" fmla="*/ 12 w 17"/>
                <a:gd name="T13" fmla="*/ 3 h 7"/>
                <a:gd name="T14" fmla="*/ 13 w 17"/>
                <a:gd name="T15" fmla="*/ 3 h 7"/>
                <a:gd name="T16" fmla="*/ 14 w 17"/>
                <a:gd name="T17" fmla="*/ 3 h 7"/>
                <a:gd name="T18" fmla="*/ 12 w 17"/>
                <a:gd name="T19" fmla="*/ 0 h 7"/>
                <a:gd name="T20" fmla="*/ 12 w 1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
                  <a:moveTo>
                    <a:pt x="12" y="0"/>
                  </a:moveTo>
                  <a:cubicBezTo>
                    <a:pt x="8" y="0"/>
                    <a:pt x="4" y="4"/>
                    <a:pt x="0" y="5"/>
                  </a:cubicBezTo>
                  <a:cubicBezTo>
                    <a:pt x="2" y="6"/>
                    <a:pt x="3" y="6"/>
                    <a:pt x="4" y="7"/>
                  </a:cubicBezTo>
                  <a:cubicBezTo>
                    <a:pt x="4" y="7"/>
                    <a:pt x="5" y="7"/>
                    <a:pt x="5" y="7"/>
                  </a:cubicBezTo>
                  <a:cubicBezTo>
                    <a:pt x="8" y="7"/>
                    <a:pt x="6" y="3"/>
                    <a:pt x="9" y="3"/>
                  </a:cubicBezTo>
                  <a:cubicBezTo>
                    <a:pt x="9" y="2"/>
                    <a:pt x="10" y="2"/>
                    <a:pt x="10" y="2"/>
                  </a:cubicBezTo>
                  <a:cubicBezTo>
                    <a:pt x="11" y="2"/>
                    <a:pt x="11" y="3"/>
                    <a:pt x="12" y="3"/>
                  </a:cubicBezTo>
                  <a:cubicBezTo>
                    <a:pt x="12" y="3"/>
                    <a:pt x="13" y="3"/>
                    <a:pt x="13" y="3"/>
                  </a:cubicBezTo>
                  <a:cubicBezTo>
                    <a:pt x="13" y="3"/>
                    <a:pt x="14" y="3"/>
                    <a:pt x="14" y="3"/>
                  </a:cubicBezTo>
                  <a:cubicBezTo>
                    <a:pt x="17" y="3"/>
                    <a:pt x="16" y="0"/>
                    <a:pt x="12" y="0"/>
                  </a:cubicBezTo>
                  <a:cubicBezTo>
                    <a:pt x="12" y="0"/>
                    <a:pt x="12" y="0"/>
                    <a:pt x="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Freeform 1361">
              <a:extLst>
                <a:ext uri="{FF2B5EF4-FFF2-40B4-BE49-F238E27FC236}">
                  <a16:creationId xmlns:a16="http://schemas.microsoft.com/office/drawing/2014/main" id="{89829755-19F9-4E50-881E-2F25CE50583F}"/>
                </a:ext>
              </a:extLst>
            </p:cNvPr>
            <p:cNvSpPr>
              <a:spLocks/>
            </p:cNvSpPr>
            <p:nvPr/>
          </p:nvSpPr>
          <p:spPr bwMode="auto">
            <a:xfrm>
              <a:off x="3645" y="59"/>
              <a:ext cx="7" cy="5"/>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2"/>
                    <a:pt x="0" y="2"/>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 name="Freeform 1362">
              <a:extLst>
                <a:ext uri="{FF2B5EF4-FFF2-40B4-BE49-F238E27FC236}">
                  <a16:creationId xmlns:a16="http://schemas.microsoft.com/office/drawing/2014/main" id="{21443B02-E099-4E32-A23D-408DE19C9A17}"/>
                </a:ext>
              </a:extLst>
            </p:cNvPr>
            <p:cNvSpPr>
              <a:spLocks/>
            </p:cNvSpPr>
            <p:nvPr/>
          </p:nvSpPr>
          <p:spPr bwMode="auto">
            <a:xfrm>
              <a:off x="3676" y="0"/>
              <a:ext cx="0" cy="10"/>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cubicBezTo>
                    <a:pt x="0" y="0"/>
                    <a:pt x="0" y="0"/>
                    <a:pt x="0" y="0"/>
                  </a:cubicBezTo>
                  <a:cubicBezTo>
                    <a:pt x="0" y="1"/>
                    <a:pt x="0" y="2"/>
                    <a:pt x="0" y="4"/>
                  </a:cubicBezTo>
                  <a:cubicBezTo>
                    <a:pt x="0"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 name="Freeform 1363">
              <a:extLst>
                <a:ext uri="{FF2B5EF4-FFF2-40B4-BE49-F238E27FC236}">
                  <a16:creationId xmlns:a16="http://schemas.microsoft.com/office/drawing/2014/main" id="{5BB3F775-D25D-4E61-89B2-89C68462D63D}"/>
                </a:ext>
              </a:extLst>
            </p:cNvPr>
            <p:cNvSpPr>
              <a:spLocks/>
            </p:cNvSpPr>
            <p:nvPr/>
          </p:nvSpPr>
          <p:spPr bwMode="auto">
            <a:xfrm>
              <a:off x="748" y="253"/>
              <a:ext cx="5" cy="12"/>
            </a:xfrm>
            <a:custGeom>
              <a:avLst/>
              <a:gdLst>
                <a:gd name="T0" fmla="*/ 2 w 2"/>
                <a:gd name="T1" fmla="*/ 0 h 5"/>
                <a:gd name="T2" fmla="*/ 2 w 2"/>
                <a:gd name="T3" fmla="*/ 5 h 5"/>
                <a:gd name="T4" fmla="*/ 2 w 2"/>
                <a:gd name="T5" fmla="*/ 0 h 5"/>
              </a:gdLst>
              <a:ahLst/>
              <a:cxnLst>
                <a:cxn ang="0">
                  <a:pos x="T0" y="T1"/>
                </a:cxn>
                <a:cxn ang="0">
                  <a:pos x="T2" y="T3"/>
                </a:cxn>
                <a:cxn ang="0">
                  <a:pos x="T4" y="T5"/>
                </a:cxn>
              </a:cxnLst>
              <a:rect l="0" t="0" r="r" b="b"/>
              <a:pathLst>
                <a:path w="2" h="5">
                  <a:moveTo>
                    <a:pt x="2" y="0"/>
                  </a:moveTo>
                  <a:cubicBezTo>
                    <a:pt x="1" y="2"/>
                    <a:pt x="0" y="4"/>
                    <a:pt x="2" y="5"/>
                  </a:cubicBezTo>
                  <a:cubicBezTo>
                    <a:pt x="2" y="3"/>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 name="Freeform 1364">
              <a:extLst>
                <a:ext uri="{FF2B5EF4-FFF2-40B4-BE49-F238E27FC236}">
                  <a16:creationId xmlns:a16="http://schemas.microsoft.com/office/drawing/2014/main" id="{EECCD5EB-336F-49FD-AADF-8B7C964266D9}"/>
                </a:ext>
              </a:extLst>
            </p:cNvPr>
            <p:cNvSpPr>
              <a:spLocks/>
            </p:cNvSpPr>
            <p:nvPr/>
          </p:nvSpPr>
          <p:spPr bwMode="auto">
            <a:xfrm>
              <a:off x="4553" y="1558"/>
              <a:ext cx="101" cy="69"/>
            </a:xfrm>
            <a:custGeom>
              <a:avLst/>
              <a:gdLst>
                <a:gd name="T0" fmla="*/ 2 w 43"/>
                <a:gd name="T1" fmla="*/ 0 h 29"/>
                <a:gd name="T2" fmla="*/ 1 w 43"/>
                <a:gd name="T3" fmla="*/ 0 h 29"/>
                <a:gd name="T4" fmla="*/ 2 w 43"/>
                <a:gd name="T5" fmla="*/ 1 h 29"/>
                <a:gd name="T6" fmla="*/ 5 w 43"/>
                <a:gd name="T7" fmla="*/ 3 h 29"/>
                <a:gd name="T8" fmla="*/ 5 w 43"/>
                <a:gd name="T9" fmla="*/ 7 h 29"/>
                <a:gd name="T10" fmla="*/ 8 w 43"/>
                <a:gd name="T11" fmla="*/ 8 h 29"/>
                <a:gd name="T12" fmla="*/ 20 w 43"/>
                <a:gd name="T13" fmla="*/ 17 h 29"/>
                <a:gd name="T14" fmla="*/ 34 w 43"/>
                <a:gd name="T15" fmla="*/ 25 h 29"/>
                <a:gd name="T16" fmla="*/ 35 w 43"/>
                <a:gd name="T17" fmla="*/ 25 h 29"/>
                <a:gd name="T18" fmla="*/ 43 w 43"/>
                <a:gd name="T19" fmla="*/ 29 h 29"/>
                <a:gd name="T20" fmla="*/ 41 w 43"/>
                <a:gd name="T21" fmla="*/ 27 h 29"/>
                <a:gd name="T22" fmla="*/ 40 w 43"/>
                <a:gd name="T23" fmla="*/ 26 h 29"/>
                <a:gd name="T24" fmla="*/ 41 w 43"/>
                <a:gd name="T25" fmla="*/ 24 h 29"/>
                <a:gd name="T26" fmla="*/ 39 w 43"/>
                <a:gd name="T27" fmla="*/ 21 h 29"/>
                <a:gd name="T28" fmla="*/ 32 w 43"/>
                <a:gd name="T29" fmla="*/ 16 h 29"/>
                <a:gd name="T30" fmla="*/ 22 w 43"/>
                <a:gd name="T31" fmla="*/ 11 h 29"/>
                <a:gd name="T32" fmla="*/ 22 w 43"/>
                <a:gd name="T33" fmla="*/ 11 h 29"/>
                <a:gd name="T34" fmla="*/ 21 w 43"/>
                <a:gd name="T35" fmla="*/ 11 h 29"/>
                <a:gd name="T36" fmla="*/ 21 w 43"/>
                <a:gd name="T37" fmla="*/ 11 h 29"/>
                <a:gd name="T38" fmla="*/ 20 w 43"/>
                <a:gd name="T39" fmla="*/ 11 h 29"/>
                <a:gd name="T40" fmla="*/ 15 w 43"/>
                <a:gd name="T41" fmla="*/ 6 h 29"/>
                <a:gd name="T42" fmla="*/ 7 w 43"/>
                <a:gd name="T43" fmla="*/ 1 h 29"/>
                <a:gd name="T44" fmla="*/ 2 w 43"/>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 h="29">
                  <a:moveTo>
                    <a:pt x="2" y="0"/>
                  </a:moveTo>
                  <a:cubicBezTo>
                    <a:pt x="1" y="0"/>
                    <a:pt x="1" y="0"/>
                    <a:pt x="1" y="0"/>
                  </a:cubicBezTo>
                  <a:cubicBezTo>
                    <a:pt x="0" y="1"/>
                    <a:pt x="2" y="1"/>
                    <a:pt x="2" y="1"/>
                  </a:cubicBezTo>
                  <a:cubicBezTo>
                    <a:pt x="2" y="2"/>
                    <a:pt x="4" y="3"/>
                    <a:pt x="5" y="3"/>
                  </a:cubicBezTo>
                  <a:cubicBezTo>
                    <a:pt x="5" y="5"/>
                    <a:pt x="4" y="5"/>
                    <a:pt x="5" y="7"/>
                  </a:cubicBezTo>
                  <a:cubicBezTo>
                    <a:pt x="6" y="8"/>
                    <a:pt x="7" y="8"/>
                    <a:pt x="8" y="8"/>
                  </a:cubicBezTo>
                  <a:cubicBezTo>
                    <a:pt x="12" y="11"/>
                    <a:pt x="15" y="14"/>
                    <a:pt x="20" y="17"/>
                  </a:cubicBezTo>
                  <a:cubicBezTo>
                    <a:pt x="25" y="20"/>
                    <a:pt x="29" y="22"/>
                    <a:pt x="34" y="25"/>
                  </a:cubicBezTo>
                  <a:cubicBezTo>
                    <a:pt x="34" y="25"/>
                    <a:pt x="35" y="25"/>
                    <a:pt x="35" y="25"/>
                  </a:cubicBezTo>
                  <a:cubicBezTo>
                    <a:pt x="38" y="27"/>
                    <a:pt x="40" y="28"/>
                    <a:pt x="43" y="29"/>
                  </a:cubicBezTo>
                  <a:cubicBezTo>
                    <a:pt x="42" y="28"/>
                    <a:pt x="42" y="28"/>
                    <a:pt x="41" y="27"/>
                  </a:cubicBezTo>
                  <a:cubicBezTo>
                    <a:pt x="41" y="26"/>
                    <a:pt x="40" y="26"/>
                    <a:pt x="40" y="26"/>
                  </a:cubicBezTo>
                  <a:cubicBezTo>
                    <a:pt x="39" y="25"/>
                    <a:pt x="41" y="24"/>
                    <a:pt x="41" y="24"/>
                  </a:cubicBezTo>
                  <a:cubicBezTo>
                    <a:pt x="41" y="23"/>
                    <a:pt x="41" y="23"/>
                    <a:pt x="39" y="21"/>
                  </a:cubicBezTo>
                  <a:cubicBezTo>
                    <a:pt x="38" y="19"/>
                    <a:pt x="34" y="18"/>
                    <a:pt x="32" y="16"/>
                  </a:cubicBezTo>
                  <a:cubicBezTo>
                    <a:pt x="28" y="13"/>
                    <a:pt x="26" y="12"/>
                    <a:pt x="22" y="11"/>
                  </a:cubicBezTo>
                  <a:cubicBezTo>
                    <a:pt x="22" y="11"/>
                    <a:pt x="22" y="11"/>
                    <a:pt x="22" y="11"/>
                  </a:cubicBezTo>
                  <a:cubicBezTo>
                    <a:pt x="22" y="11"/>
                    <a:pt x="21" y="11"/>
                    <a:pt x="21" y="11"/>
                  </a:cubicBezTo>
                  <a:cubicBezTo>
                    <a:pt x="21" y="11"/>
                    <a:pt x="21" y="11"/>
                    <a:pt x="21" y="11"/>
                  </a:cubicBezTo>
                  <a:cubicBezTo>
                    <a:pt x="20" y="11"/>
                    <a:pt x="20" y="11"/>
                    <a:pt x="20" y="11"/>
                  </a:cubicBezTo>
                  <a:cubicBezTo>
                    <a:pt x="18" y="10"/>
                    <a:pt x="16" y="7"/>
                    <a:pt x="15" y="6"/>
                  </a:cubicBezTo>
                  <a:cubicBezTo>
                    <a:pt x="12" y="4"/>
                    <a:pt x="10" y="2"/>
                    <a:pt x="7" y="1"/>
                  </a:cubicBezTo>
                  <a:cubicBezTo>
                    <a:pt x="6"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 name="Freeform 1365">
              <a:extLst>
                <a:ext uri="{FF2B5EF4-FFF2-40B4-BE49-F238E27FC236}">
                  <a16:creationId xmlns:a16="http://schemas.microsoft.com/office/drawing/2014/main" id="{1349AA29-41BC-4BBE-A47F-3DE49D269870}"/>
                </a:ext>
              </a:extLst>
            </p:cNvPr>
            <p:cNvSpPr>
              <a:spLocks/>
            </p:cNvSpPr>
            <p:nvPr/>
          </p:nvSpPr>
          <p:spPr bwMode="auto">
            <a:xfrm>
              <a:off x="4470" y="1589"/>
              <a:ext cx="47" cy="40"/>
            </a:xfrm>
            <a:custGeom>
              <a:avLst/>
              <a:gdLst>
                <a:gd name="T0" fmla="*/ 9 w 20"/>
                <a:gd name="T1" fmla="*/ 0 h 17"/>
                <a:gd name="T2" fmla="*/ 1 w 20"/>
                <a:gd name="T3" fmla="*/ 6 h 17"/>
                <a:gd name="T4" fmla="*/ 1 w 20"/>
                <a:gd name="T5" fmla="*/ 10 h 17"/>
                <a:gd name="T6" fmla="*/ 2 w 20"/>
                <a:gd name="T7" fmla="*/ 10 h 17"/>
                <a:gd name="T8" fmla="*/ 4 w 20"/>
                <a:gd name="T9" fmla="*/ 9 h 17"/>
                <a:gd name="T10" fmla="*/ 8 w 20"/>
                <a:gd name="T11" fmla="*/ 8 h 17"/>
                <a:gd name="T12" fmla="*/ 8 w 20"/>
                <a:gd name="T13" fmla="*/ 8 h 17"/>
                <a:gd name="T14" fmla="*/ 10 w 20"/>
                <a:gd name="T15" fmla="*/ 10 h 17"/>
                <a:gd name="T16" fmla="*/ 17 w 20"/>
                <a:gd name="T17" fmla="*/ 17 h 17"/>
                <a:gd name="T18" fmla="*/ 16 w 20"/>
                <a:gd name="T19" fmla="*/ 7 h 17"/>
                <a:gd name="T20" fmla="*/ 11 w 20"/>
                <a:gd name="T21" fmla="*/ 1 h 17"/>
                <a:gd name="T22" fmla="*/ 9 w 20"/>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7">
                  <a:moveTo>
                    <a:pt x="9" y="0"/>
                  </a:moveTo>
                  <a:cubicBezTo>
                    <a:pt x="6" y="0"/>
                    <a:pt x="3" y="3"/>
                    <a:pt x="1" y="6"/>
                  </a:cubicBezTo>
                  <a:cubicBezTo>
                    <a:pt x="0" y="7"/>
                    <a:pt x="0" y="9"/>
                    <a:pt x="1" y="10"/>
                  </a:cubicBezTo>
                  <a:cubicBezTo>
                    <a:pt x="1" y="10"/>
                    <a:pt x="2" y="10"/>
                    <a:pt x="2" y="10"/>
                  </a:cubicBezTo>
                  <a:cubicBezTo>
                    <a:pt x="3" y="10"/>
                    <a:pt x="4" y="9"/>
                    <a:pt x="4" y="9"/>
                  </a:cubicBezTo>
                  <a:cubicBezTo>
                    <a:pt x="5" y="8"/>
                    <a:pt x="7" y="8"/>
                    <a:pt x="8" y="8"/>
                  </a:cubicBezTo>
                  <a:cubicBezTo>
                    <a:pt x="8" y="8"/>
                    <a:pt x="8" y="8"/>
                    <a:pt x="8" y="8"/>
                  </a:cubicBezTo>
                  <a:cubicBezTo>
                    <a:pt x="11" y="8"/>
                    <a:pt x="9" y="8"/>
                    <a:pt x="10" y="10"/>
                  </a:cubicBezTo>
                  <a:cubicBezTo>
                    <a:pt x="12" y="15"/>
                    <a:pt x="12" y="14"/>
                    <a:pt x="17" y="17"/>
                  </a:cubicBezTo>
                  <a:cubicBezTo>
                    <a:pt x="20" y="13"/>
                    <a:pt x="19" y="11"/>
                    <a:pt x="16" y="7"/>
                  </a:cubicBezTo>
                  <a:cubicBezTo>
                    <a:pt x="15" y="6"/>
                    <a:pt x="13" y="2"/>
                    <a:pt x="11" y="1"/>
                  </a:cubicBezTo>
                  <a:cubicBezTo>
                    <a:pt x="10"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Freeform 1366">
              <a:extLst>
                <a:ext uri="{FF2B5EF4-FFF2-40B4-BE49-F238E27FC236}">
                  <a16:creationId xmlns:a16="http://schemas.microsoft.com/office/drawing/2014/main" id="{A4333C06-FE2A-45E4-B372-26F0022968FD}"/>
                </a:ext>
              </a:extLst>
            </p:cNvPr>
            <p:cNvSpPr>
              <a:spLocks/>
            </p:cNvSpPr>
            <p:nvPr/>
          </p:nvSpPr>
          <p:spPr bwMode="auto">
            <a:xfrm>
              <a:off x="4747" y="1742"/>
              <a:ext cx="78" cy="45"/>
            </a:xfrm>
            <a:custGeom>
              <a:avLst/>
              <a:gdLst>
                <a:gd name="T0" fmla="*/ 4 w 33"/>
                <a:gd name="T1" fmla="*/ 0 h 19"/>
                <a:gd name="T2" fmla="*/ 4 w 33"/>
                <a:gd name="T3" fmla="*/ 0 h 19"/>
                <a:gd name="T4" fmla="*/ 3 w 33"/>
                <a:gd name="T5" fmla="*/ 4 h 19"/>
                <a:gd name="T6" fmla="*/ 3 w 33"/>
                <a:gd name="T7" fmla="*/ 4 h 19"/>
                <a:gd name="T8" fmla="*/ 4 w 33"/>
                <a:gd name="T9" fmla="*/ 4 h 19"/>
                <a:gd name="T10" fmla="*/ 5 w 33"/>
                <a:gd name="T11" fmla="*/ 4 h 19"/>
                <a:gd name="T12" fmla="*/ 7 w 33"/>
                <a:gd name="T13" fmla="*/ 4 h 19"/>
                <a:gd name="T14" fmla="*/ 9 w 33"/>
                <a:gd name="T15" fmla="*/ 11 h 19"/>
                <a:gd name="T16" fmla="*/ 12 w 33"/>
                <a:gd name="T17" fmla="*/ 12 h 19"/>
                <a:gd name="T18" fmla="*/ 18 w 33"/>
                <a:gd name="T19" fmla="*/ 16 h 19"/>
                <a:gd name="T20" fmla="*/ 24 w 33"/>
                <a:gd name="T21" fmla="*/ 18 h 19"/>
                <a:gd name="T22" fmla="*/ 32 w 33"/>
                <a:gd name="T23" fmla="*/ 19 h 19"/>
                <a:gd name="T24" fmla="*/ 33 w 33"/>
                <a:gd name="T25" fmla="*/ 19 h 19"/>
                <a:gd name="T26" fmla="*/ 25 w 33"/>
                <a:gd name="T27" fmla="*/ 8 h 19"/>
                <a:gd name="T28" fmla="*/ 25 w 33"/>
                <a:gd name="T29" fmla="*/ 7 h 19"/>
                <a:gd name="T30" fmla="*/ 24 w 33"/>
                <a:gd name="T31" fmla="*/ 7 h 19"/>
                <a:gd name="T32" fmla="*/ 23 w 33"/>
                <a:gd name="T33" fmla="*/ 8 h 19"/>
                <a:gd name="T34" fmla="*/ 23 w 33"/>
                <a:gd name="T35" fmla="*/ 8 h 19"/>
                <a:gd name="T36" fmla="*/ 11 w 33"/>
                <a:gd name="T37" fmla="*/ 3 h 19"/>
                <a:gd name="T38" fmla="*/ 4 w 33"/>
                <a:gd name="T3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19">
                  <a:moveTo>
                    <a:pt x="4" y="0"/>
                  </a:moveTo>
                  <a:cubicBezTo>
                    <a:pt x="4" y="0"/>
                    <a:pt x="4" y="0"/>
                    <a:pt x="4" y="0"/>
                  </a:cubicBezTo>
                  <a:cubicBezTo>
                    <a:pt x="1" y="0"/>
                    <a:pt x="0" y="2"/>
                    <a:pt x="3" y="4"/>
                  </a:cubicBezTo>
                  <a:cubicBezTo>
                    <a:pt x="3" y="4"/>
                    <a:pt x="3" y="4"/>
                    <a:pt x="3" y="4"/>
                  </a:cubicBezTo>
                  <a:cubicBezTo>
                    <a:pt x="3" y="4"/>
                    <a:pt x="4" y="4"/>
                    <a:pt x="4" y="4"/>
                  </a:cubicBezTo>
                  <a:cubicBezTo>
                    <a:pt x="5" y="4"/>
                    <a:pt x="5" y="4"/>
                    <a:pt x="5" y="4"/>
                  </a:cubicBezTo>
                  <a:cubicBezTo>
                    <a:pt x="6" y="4"/>
                    <a:pt x="6" y="4"/>
                    <a:pt x="7" y="4"/>
                  </a:cubicBezTo>
                  <a:cubicBezTo>
                    <a:pt x="8" y="5"/>
                    <a:pt x="8" y="9"/>
                    <a:pt x="9" y="11"/>
                  </a:cubicBezTo>
                  <a:cubicBezTo>
                    <a:pt x="10" y="11"/>
                    <a:pt x="12" y="12"/>
                    <a:pt x="12" y="12"/>
                  </a:cubicBezTo>
                  <a:cubicBezTo>
                    <a:pt x="14" y="14"/>
                    <a:pt x="16" y="15"/>
                    <a:pt x="18" y="16"/>
                  </a:cubicBezTo>
                  <a:cubicBezTo>
                    <a:pt x="20" y="16"/>
                    <a:pt x="22" y="17"/>
                    <a:pt x="24" y="18"/>
                  </a:cubicBezTo>
                  <a:cubicBezTo>
                    <a:pt x="26" y="18"/>
                    <a:pt x="29" y="19"/>
                    <a:pt x="32" y="19"/>
                  </a:cubicBezTo>
                  <a:cubicBezTo>
                    <a:pt x="32" y="19"/>
                    <a:pt x="33" y="19"/>
                    <a:pt x="33" y="19"/>
                  </a:cubicBezTo>
                  <a:cubicBezTo>
                    <a:pt x="32" y="15"/>
                    <a:pt x="28" y="11"/>
                    <a:pt x="25" y="8"/>
                  </a:cubicBezTo>
                  <a:cubicBezTo>
                    <a:pt x="25" y="7"/>
                    <a:pt x="25" y="7"/>
                    <a:pt x="25" y="7"/>
                  </a:cubicBezTo>
                  <a:cubicBezTo>
                    <a:pt x="24" y="7"/>
                    <a:pt x="24" y="7"/>
                    <a:pt x="24" y="7"/>
                  </a:cubicBezTo>
                  <a:cubicBezTo>
                    <a:pt x="24" y="8"/>
                    <a:pt x="24" y="8"/>
                    <a:pt x="23" y="8"/>
                  </a:cubicBezTo>
                  <a:cubicBezTo>
                    <a:pt x="23" y="8"/>
                    <a:pt x="23" y="8"/>
                    <a:pt x="23" y="8"/>
                  </a:cubicBezTo>
                  <a:cubicBezTo>
                    <a:pt x="19" y="7"/>
                    <a:pt x="15" y="4"/>
                    <a:pt x="11" y="3"/>
                  </a:cubicBezTo>
                  <a:cubicBezTo>
                    <a:pt x="9" y="2"/>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Freeform 1367">
              <a:extLst>
                <a:ext uri="{FF2B5EF4-FFF2-40B4-BE49-F238E27FC236}">
                  <a16:creationId xmlns:a16="http://schemas.microsoft.com/office/drawing/2014/main" id="{A8818EC5-86E9-4468-BF96-C9C5C761906C}"/>
                </a:ext>
              </a:extLst>
            </p:cNvPr>
            <p:cNvSpPr>
              <a:spLocks/>
            </p:cNvSpPr>
            <p:nvPr/>
          </p:nvSpPr>
          <p:spPr bwMode="auto">
            <a:xfrm>
              <a:off x="4463" y="1601"/>
              <a:ext cx="7" cy="9"/>
            </a:xfrm>
            <a:custGeom>
              <a:avLst/>
              <a:gdLst>
                <a:gd name="T0" fmla="*/ 1 w 3"/>
                <a:gd name="T1" fmla="*/ 0 h 4"/>
                <a:gd name="T2" fmla="*/ 0 w 3"/>
                <a:gd name="T3" fmla="*/ 0 h 4"/>
                <a:gd name="T4" fmla="*/ 3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0" y="0"/>
                    <a:pt x="0" y="0"/>
                    <a:pt x="0" y="0"/>
                  </a:cubicBezTo>
                  <a:cubicBezTo>
                    <a:pt x="1" y="1"/>
                    <a:pt x="2" y="3"/>
                    <a:pt x="3" y="4"/>
                  </a:cubicBezTo>
                  <a:cubicBezTo>
                    <a:pt x="3" y="2"/>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Freeform 1368">
              <a:extLst>
                <a:ext uri="{FF2B5EF4-FFF2-40B4-BE49-F238E27FC236}">
                  <a16:creationId xmlns:a16="http://schemas.microsoft.com/office/drawing/2014/main" id="{F3F2A90F-952E-4267-A04D-EB918C71770E}"/>
                </a:ext>
              </a:extLst>
            </p:cNvPr>
            <p:cNvSpPr>
              <a:spLocks/>
            </p:cNvSpPr>
            <p:nvPr/>
          </p:nvSpPr>
          <p:spPr bwMode="auto">
            <a:xfrm>
              <a:off x="4699" y="1610"/>
              <a:ext cx="57" cy="92"/>
            </a:xfrm>
            <a:custGeom>
              <a:avLst/>
              <a:gdLst>
                <a:gd name="T0" fmla="*/ 5 w 24"/>
                <a:gd name="T1" fmla="*/ 0 h 39"/>
                <a:gd name="T2" fmla="*/ 5 w 24"/>
                <a:gd name="T3" fmla="*/ 2 h 39"/>
                <a:gd name="T4" fmla="*/ 2 w 24"/>
                <a:gd name="T5" fmla="*/ 1 h 39"/>
                <a:gd name="T6" fmla="*/ 3 w 24"/>
                <a:gd name="T7" fmla="*/ 5 h 39"/>
                <a:gd name="T8" fmla="*/ 3 w 24"/>
                <a:gd name="T9" fmla="*/ 10 h 39"/>
                <a:gd name="T10" fmla="*/ 9 w 24"/>
                <a:gd name="T11" fmla="*/ 25 h 39"/>
                <a:gd name="T12" fmla="*/ 24 w 24"/>
                <a:gd name="T13" fmla="*/ 39 h 39"/>
                <a:gd name="T14" fmla="*/ 24 w 24"/>
                <a:gd name="T15" fmla="*/ 35 h 39"/>
                <a:gd name="T16" fmla="*/ 22 w 24"/>
                <a:gd name="T17" fmla="*/ 32 h 39"/>
                <a:gd name="T18" fmla="*/ 21 w 24"/>
                <a:gd name="T19" fmla="*/ 28 h 39"/>
                <a:gd name="T20" fmla="*/ 18 w 24"/>
                <a:gd name="T21" fmla="*/ 21 h 39"/>
                <a:gd name="T22" fmla="*/ 15 w 24"/>
                <a:gd name="T23" fmla="*/ 18 h 39"/>
                <a:gd name="T24" fmla="*/ 10 w 24"/>
                <a:gd name="T25" fmla="*/ 7 h 39"/>
                <a:gd name="T26" fmla="*/ 5 w 24"/>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9">
                  <a:moveTo>
                    <a:pt x="5" y="0"/>
                  </a:moveTo>
                  <a:cubicBezTo>
                    <a:pt x="5" y="1"/>
                    <a:pt x="5" y="1"/>
                    <a:pt x="5" y="2"/>
                  </a:cubicBezTo>
                  <a:cubicBezTo>
                    <a:pt x="3" y="1"/>
                    <a:pt x="2" y="1"/>
                    <a:pt x="2" y="1"/>
                  </a:cubicBezTo>
                  <a:cubicBezTo>
                    <a:pt x="0" y="1"/>
                    <a:pt x="2" y="3"/>
                    <a:pt x="3" y="5"/>
                  </a:cubicBezTo>
                  <a:cubicBezTo>
                    <a:pt x="5" y="8"/>
                    <a:pt x="4" y="8"/>
                    <a:pt x="3" y="10"/>
                  </a:cubicBezTo>
                  <a:cubicBezTo>
                    <a:pt x="3" y="14"/>
                    <a:pt x="7" y="22"/>
                    <a:pt x="9" y="25"/>
                  </a:cubicBezTo>
                  <a:cubicBezTo>
                    <a:pt x="14" y="30"/>
                    <a:pt x="19" y="35"/>
                    <a:pt x="24" y="39"/>
                  </a:cubicBezTo>
                  <a:cubicBezTo>
                    <a:pt x="24" y="38"/>
                    <a:pt x="24" y="36"/>
                    <a:pt x="24" y="35"/>
                  </a:cubicBezTo>
                  <a:cubicBezTo>
                    <a:pt x="23" y="34"/>
                    <a:pt x="22" y="33"/>
                    <a:pt x="22" y="32"/>
                  </a:cubicBezTo>
                  <a:cubicBezTo>
                    <a:pt x="21" y="30"/>
                    <a:pt x="21" y="30"/>
                    <a:pt x="21" y="28"/>
                  </a:cubicBezTo>
                  <a:cubicBezTo>
                    <a:pt x="20" y="26"/>
                    <a:pt x="20" y="23"/>
                    <a:pt x="18" y="21"/>
                  </a:cubicBezTo>
                  <a:cubicBezTo>
                    <a:pt x="17" y="20"/>
                    <a:pt x="16" y="18"/>
                    <a:pt x="15" y="18"/>
                  </a:cubicBezTo>
                  <a:cubicBezTo>
                    <a:pt x="13" y="15"/>
                    <a:pt x="13" y="10"/>
                    <a:pt x="10" y="7"/>
                  </a:cubicBezTo>
                  <a:cubicBezTo>
                    <a:pt x="9" y="5"/>
                    <a:pt x="8"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Freeform 1369">
              <a:extLst>
                <a:ext uri="{FF2B5EF4-FFF2-40B4-BE49-F238E27FC236}">
                  <a16:creationId xmlns:a16="http://schemas.microsoft.com/office/drawing/2014/main" id="{C1FAFF2C-5B9F-47F6-A0D7-DC87B92E3105}"/>
                </a:ext>
              </a:extLst>
            </p:cNvPr>
            <p:cNvSpPr>
              <a:spLocks/>
            </p:cNvSpPr>
            <p:nvPr/>
          </p:nvSpPr>
          <p:spPr bwMode="auto">
            <a:xfrm>
              <a:off x="4425" y="1586"/>
              <a:ext cx="5" cy="17"/>
            </a:xfrm>
            <a:custGeom>
              <a:avLst/>
              <a:gdLst>
                <a:gd name="T0" fmla="*/ 0 w 2"/>
                <a:gd name="T1" fmla="*/ 0 h 7"/>
                <a:gd name="T2" fmla="*/ 1 w 2"/>
                <a:gd name="T3" fmla="*/ 7 h 7"/>
                <a:gd name="T4" fmla="*/ 0 w 2"/>
                <a:gd name="T5" fmla="*/ 0 h 7"/>
              </a:gdLst>
              <a:ahLst/>
              <a:cxnLst>
                <a:cxn ang="0">
                  <a:pos x="T0" y="T1"/>
                </a:cxn>
                <a:cxn ang="0">
                  <a:pos x="T2" y="T3"/>
                </a:cxn>
                <a:cxn ang="0">
                  <a:pos x="T4" y="T5"/>
                </a:cxn>
              </a:cxnLst>
              <a:rect l="0" t="0" r="r" b="b"/>
              <a:pathLst>
                <a:path w="2" h="7">
                  <a:moveTo>
                    <a:pt x="0" y="0"/>
                  </a:moveTo>
                  <a:cubicBezTo>
                    <a:pt x="0" y="2"/>
                    <a:pt x="1" y="5"/>
                    <a:pt x="1" y="7"/>
                  </a:cubicBezTo>
                  <a:cubicBezTo>
                    <a:pt x="2" y="5"/>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 name="Freeform 1370">
              <a:extLst>
                <a:ext uri="{FF2B5EF4-FFF2-40B4-BE49-F238E27FC236}">
                  <a16:creationId xmlns:a16="http://schemas.microsoft.com/office/drawing/2014/main" id="{BDE49DD1-AD1A-4E6E-83CC-672C5A84B983}"/>
                </a:ext>
              </a:extLst>
            </p:cNvPr>
            <p:cNvSpPr>
              <a:spLocks/>
            </p:cNvSpPr>
            <p:nvPr/>
          </p:nvSpPr>
          <p:spPr bwMode="auto">
            <a:xfrm>
              <a:off x="4487" y="1638"/>
              <a:ext cx="11" cy="7"/>
            </a:xfrm>
            <a:custGeom>
              <a:avLst/>
              <a:gdLst>
                <a:gd name="T0" fmla="*/ 2 w 5"/>
                <a:gd name="T1" fmla="*/ 0 h 3"/>
                <a:gd name="T2" fmla="*/ 0 w 5"/>
                <a:gd name="T3" fmla="*/ 0 h 3"/>
                <a:gd name="T4" fmla="*/ 5 w 5"/>
                <a:gd name="T5" fmla="*/ 3 h 3"/>
                <a:gd name="T6" fmla="*/ 2 w 5"/>
                <a:gd name="T7" fmla="*/ 0 h 3"/>
              </a:gdLst>
              <a:ahLst/>
              <a:cxnLst>
                <a:cxn ang="0">
                  <a:pos x="T0" y="T1"/>
                </a:cxn>
                <a:cxn ang="0">
                  <a:pos x="T2" y="T3"/>
                </a:cxn>
                <a:cxn ang="0">
                  <a:pos x="T4" y="T5"/>
                </a:cxn>
                <a:cxn ang="0">
                  <a:pos x="T6" y="T7"/>
                </a:cxn>
              </a:cxnLst>
              <a:rect l="0" t="0" r="r" b="b"/>
              <a:pathLst>
                <a:path w="5" h="3">
                  <a:moveTo>
                    <a:pt x="2" y="0"/>
                  </a:moveTo>
                  <a:cubicBezTo>
                    <a:pt x="2" y="0"/>
                    <a:pt x="1" y="0"/>
                    <a:pt x="0" y="0"/>
                  </a:cubicBezTo>
                  <a:cubicBezTo>
                    <a:pt x="2" y="1"/>
                    <a:pt x="3" y="2"/>
                    <a:pt x="5" y="3"/>
                  </a:cubicBezTo>
                  <a:cubicBezTo>
                    <a:pt x="4" y="0"/>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 name="Freeform 1371">
              <a:extLst>
                <a:ext uri="{FF2B5EF4-FFF2-40B4-BE49-F238E27FC236}">
                  <a16:creationId xmlns:a16="http://schemas.microsoft.com/office/drawing/2014/main" id="{D4FB7F3D-0B1C-461B-9E43-0DB0F9B58A53}"/>
                </a:ext>
              </a:extLst>
            </p:cNvPr>
            <p:cNvSpPr>
              <a:spLocks/>
            </p:cNvSpPr>
            <p:nvPr/>
          </p:nvSpPr>
          <p:spPr bwMode="auto">
            <a:xfrm>
              <a:off x="4468" y="1619"/>
              <a:ext cx="21" cy="22"/>
            </a:xfrm>
            <a:custGeom>
              <a:avLst/>
              <a:gdLst>
                <a:gd name="T0" fmla="*/ 5 w 9"/>
                <a:gd name="T1" fmla="*/ 0 h 9"/>
                <a:gd name="T2" fmla="*/ 2 w 9"/>
                <a:gd name="T3" fmla="*/ 2 h 9"/>
                <a:gd name="T4" fmla="*/ 6 w 9"/>
                <a:gd name="T5" fmla="*/ 9 h 9"/>
                <a:gd name="T6" fmla="*/ 6 w 9"/>
                <a:gd name="T7" fmla="*/ 0 h 9"/>
                <a:gd name="T8" fmla="*/ 5 w 9"/>
                <a:gd name="T9" fmla="*/ 0 h 9"/>
              </a:gdLst>
              <a:ahLst/>
              <a:cxnLst>
                <a:cxn ang="0">
                  <a:pos x="T0" y="T1"/>
                </a:cxn>
                <a:cxn ang="0">
                  <a:pos x="T2" y="T3"/>
                </a:cxn>
                <a:cxn ang="0">
                  <a:pos x="T4" y="T5"/>
                </a:cxn>
                <a:cxn ang="0">
                  <a:pos x="T6" y="T7"/>
                </a:cxn>
                <a:cxn ang="0">
                  <a:pos x="T8" y="T9"/>
                </a:cxn>
              </a:cxnLst>
              <a:rect l="0" t="0" r="r" b="b"/>
              <a:pathLst>
                <a:path w="9" h="9">
                  <a:moveTo>
                    <a:pt x="5" y="0"/>
                  </a:moveTo>
                  <a:cubicBezTo>
                    <a:pt x="4" y="0"/>
                    <a:pt x="2" y="1"/>
                    <a:pt x="2" y="2"/>
                  </a:cubicBezTo>
                  <a:cubicBezTo>
                    <a:pt x="0" y="5"/>
                    <a:pt x="3" y="7"/>
                    <a:pt x="6" y="9"/>
                  </a:cubicBezTo>
                  <a:cubicBezTo>
                    <a:pt x="2" y="4"/>
                    <a:pt x="9" y="4"/>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 name="Freeform 1372">
              <a:extLst>
                <a:ext uri="{FF2B5EF4-FFF2-40B4-BE49-F238E27FC236}">
                  <a16:creationId xmlns:a16="http://schemas.microsoft.com/office/drawing/2014/main" id="{83BD6E48-58E4-40B9-9B8A-539C8A810F2E}"/>
                </a:ext>
              </a:extLst>
            </p:cNvPr>
            <p:cNvSpPr>
              <a:spLocks/>
            </p:cNvSpPr>
            <p:nvPr/>
          </p:nvSpPr>
          <p:spPr bwMode="auto">
            <a:xfrm>
              <a:off x="4416" y="1494"/>
              <a:ext cx="80" cy="52"/>
            </a:xfrm>
            <a:custGeom>
              <a:avLst/>
              <a:gdLst>
                <a:gd name="T0" fmla="*/ 3 w 34"/>
                <a:gd name="T1" fmla="*/ 0 h 22"/>
                <a:gd name="T2" fmla="*/ 1 w 34"/>
                <a:gd name="T3" fmla="*/ 3 h 22"/>
                <a:gd name="T4" fmla="*/ 7 w 34"/>
                <a:gd name="T5" fmla="*/ 8 h 22"/>
                <a:gd name="T6" fmla="*/ 12 w 34"/>
                <a:gd name="T7" fmla="*/ 15 h 22"/>
                <a:gd name="T8" fmla="*/ 24 w 34"/>
                <a:gd name="T9" fmla="*/ 22 h 22"/>
                <a:gd name="T10" fmla="*/ 27 w 34"/>
                <a:gd name="T11" fmla="*/ 22 h 22"/>
                <a:gd name="T12" fmla="*/ 32 w 34"/>
                <a:gd name="T13" fmla="*/ 20 h 22"/>
                <a:gd name="T14" fmla="*/ 26 w 34"/>
                <a:gd name="T15" fmla="*/ 19 h 22"/>
                <a:gd name="T16" fmla="*/ 22 w 34"/>
                <a:gd name="T17" fmla="*/ 16 h 22"/>
                <a:gd name="T18" fmla="*/ 17 w 34"/>
                <a:gd name="T19" fmla="*/ 8 h 22"/>
                <a:gd name="T20" fmla="*/ 10 w 34"/>
                <a:gd name="T21" fmla="*/ 4 h 22"/>
                <a:gd name="T22" fmla="*/ 5 w 34"/>
                <a:gd name="T23" fmla="*/ 1 h 22"/>
                <a:gd name="T24" fmla="*/ 3 w 34"/>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2">
                  <a:moveTo>
                    <a:pt x="3" y="0"/>
                  </a:moveTo>
                  <a:cubicBezTo>
                    <a:pt x="1" y="0"/>
                    <a:pt x="0" y="1"/>
                    <a:pt x="1" y="3"/>
                  </a:cubicBezTo>
                  <a:cubicBezTo>
                    <a:pt x="2" y="5"/>
                    <a:pt x="5" y="6"/>
                    <a:pt x="7" y="8"/>
                  </a:cubicBezTo>
                  <a:cubicBezTo>
                    <a:pt x="9" y="10"/>
                    <a:pt x="10" y="12"/>
                    <a:pt x="12" y="15"/>
                  </a:cubicBezTo>
                  <a:cubicBezTo>
                    <a:pt x="17" y="18"/>
                    <a:pt x="19" y="20"/>
                    <a:pt x="24" y="22"/>
                  </a:cubicBezTo>
                  <a:cubicBezTo>
                    <a:pt x="25" y="22"/>
                    <a:pt x="26" y="22"/>
                    <a:pt x="27" y="22"/>
                  </a:cubicBezTo>
                  <a:cubicBezTo>
                    <a:pt x="30" y="22"/>
                    <a:pt x="34" y="22"/>
                    <a:pt x="32" y="20"/>
                  </a:cubicBezTo>
                  <a:cubicBezTo>
                    <a:pt x="31" y="20"/>
                    <a:pt x="28" y="20"/>
                    <a:pt x="26" y="19"/>
                  </a:cubicBezTo>
                  <a:cubicBezTo>
                    <a:pt x="25" y="19"/>
                    <a:pt x="23" y="17"/>
                    <a:pt x="22" y="16"/>
                  </a:cubicBezTo>
                  <a:cubicBezTo>
                    <a:pt x="20" y="13"/>
                    <a:pt x="21" y="10"/>
                    <a:pt x="17" y="8"/>
                  </a:cubicBezTo>
                  <a:cubicBezTo>
                    <a:pt x="15" y="7"/>
                    <a:pt x="12" y="6"/>
                    <a:pt x="10" y="4"/>
                  </a:cubicBezTo>
                  <a:cubicBezTo>
                    <a:pt x="8" y="3"/>
                    <a:pt x="7" y="2"/>
                    <a:pt x="5" y="1"/>
                  </a:cubicBezTo>
                  <a:cubicBezTo>
                    <a:pt x="4"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 name="Freeform 1373">
              <a:extLst>
                <a:ext uri="{FF2B5EF4-FFF2-40B4-BE49-F238E27FC236}">
                  <a16:creationId xmlns:a16="http://schemas.microsoft.com/office/drawing/2014/main" id="{590DA3FD-1938-4B0B-84B4-C715B7F019AB}"/>
                </a:ext>
              </a:extLst>
            </p:cNvPr>
            <p:cNvSpPr>
              <a:spLocks/>
            </p:cNvSpPr>
            <p:nvPr/>
          </p:nvSpPr>
          <p:spPr bwMode="auto">
            <a:xfrm>
              <a:off x="4543" y="1553"/>
              <a:ext cx="10" cy="7"/>
            </a:xfrm>
            <a:custGeom>
              <a:avLst/>
              <a:gdLst>
                <a:gd name="T0" fmla="*/ 0 w 4"/>
                <a:gd name="T1" fmla="*/ 0 h 3"/>
                <a:gd name="T2" fmla="*/ 4 w 4"/>
                <a:gd name="T3" fmla="*/ 3 h 3"/>
                <a:gd name="T4" fmla="*/ 0 w 4"/>
                <a:gd name="T5" fmla="*/ 0 h 3"/>
              </a:gdLst>
              <a:ahLst/>
              <a:cxnLst>
                <a:cxn ang="0">
                  <a:pos x="T0" y="T1"/>
                </a:cxn>
                <a:cxn ang="0">
                  <a:pos x="T2" y="T3"/>
                </a:cxn>
                <a:cxn ang="0">
                  <a:pos x="T4" y="T5"/>
                </a:cxn>
              </a:cxnLst>
              <a:rect l="0" t="0" r="r" b="b"/>
              <a:pathLst>
                <a:path w="4" h="3">
                  <a:moveTo>
                    <a:pt x="0" y="0"/>
                  </a:moveTo>
                  <a:cubicBezTo>
                    <a:pt x="2" y="1"/>
                    <a:pt x="3" y="2"/>
                    <a:pt x="4" y="3"/>
                  </a:cubicBezTo>
                  <a:cubicBezTo>
                    <a:pt x="3" y="1"/>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 name="Freeform 1374">
              <a:extLst>
                <a:ext uri="{FF2B5EF4-FFF2-40B4-BE49-F238E27FC236}">
                  <a16:creationId xmlns:a16="http://schemas.microsoft.com/office/drawing/2014/main" id="{F96085DF-0284-4936-A15C-B4B33237755A}"/>
                </a:ext>
              </a:extLst>
            </p:cNvPr>
            <p:cNvSpPr>
              <a:spLocks/>
            </p:cNvSpPr>
            <p:nvPr/>
          </p:nvSpPr>
          <p:spPr bwMode="auto">
            <a:xfrm>
              <a:off x="4794" y="1707"/>
              <a:ext cx="2" cy="12"/>
            </a:xfrm>
            <a:custGeom>
              <a:avLst/>
              <a:gdLst>
                <a:gd name="T0" fmla="*/ 1 w 1"/>
                <a:gd name="T1" fmla="*/ 0 h 5"/>
                <a:gd name="T2" fmla="*/ 1 w 1"/>
                <a:gd name="T3" fmla="*/ 5 h 5"/>
                <a:gd name="T4" fmla="*/ 1 w 1"/>
                <a:gd name="T5" fmla="*/ 0 h 5"/>
              </a:gdLst>
              <a:ahLst/>
              <a:cxnLst>
                <a:cxn ang="0">
                  <a:pos x="T0" y="T1"/>
                </a:cxn>
                <a:cxn ang="0">
                  <a:pos x="T2" y="T3"/>
                </a:cxn>
                <a:cxn ang="0">
                  <a:pos x="T4" y="T5"/>
                </a:cxn>
              </a:cxnLst>
              <a:rect l="0" t="0" r="r" b="b"/>
              <a:pathLst>
                <a:path w="1" h="5">
                  <a:moveTo>
                    <a:pt x="1" y="0"/>
                  </a:moveTo>
                  <a:cubicBezTo>
                    <a:pt x="0" y="1"/>
                    <a:pt x="1" y="3"/>
                    <a:pt x="1" y="5"/>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Freeform 1375">
              <a:extLst>
                <a:ext uri="{FF2B5EF4-FFF2-40B4-BE49-F238E27FC236}">
                  <a16:creationId xmlns:a16="http://schemas.microsoft.com/office/drawing/2014/main" id="{A7E47388-1A87-4C4F-A756-A6AF3EDCA0EB}"/>
                </a:ext>
              </a:extLst>
            </p:cNvPr>
            <p:cNvSpPr>
              <a:spLocks/>
            </p:cNvSpPr>
            <p:nvPr/>
          </p:nvSpPr>
          <p:spPr bwMode="auto">
            <a:xfrm>
              <a:off x="4631" y="1676"/>
              <a:ext cx="85" cy="47"/>
            </a:xfrm>
            <a:custGeom>
              <a:avLst/>
              <a:gdLst>
                <a:gd name="T0" fmla="*/ 4 w 36"/>
                <a:gd name="T1" fmla="*/ 0 h 20"/>
                <a:gd name="T2" fmla="*/ 1 w 36"/>
                <a:gd name="T3" fmla="*/ 2 h 20"/>
                <a:gd name="T4" fmla="*/ 3 w 36"/>
                <a:gd name="T5" fmla="*/ 10 h 20"/>
                <a:gd name="T6" fmla="*/ 14 w 36"/>
                <a:gd name="T7" fmla="*/ 17 h 20"/>
                <a:gd name="T8" fmla="*/ 15 w 36"/>
                <a:gd name="T9" fmla="*/ 17 h 20"/>
                <a:gd name="T10" fmla="*/ 17 w 36"/>
                <a:gd name="T11" fmla="*/ 16 h 20"/>
                <a:gd name="T12" fmla="*/ 20 w 36"/>
                <a:gd name="T13" fmla="*/ 16 h 20"/>
                <a:gd name="T14" fmla="*/ 23 w 36"/>
                <a:gd name="T15" fmla="*/ 17 h 20"/>
                <a:gd name="T16" fmla="*/ 25 w 36"/>
                <a:gd name="T17" fmla="*/ 19 h 20"/>
                <a:gd name="T18" fmla="*/ 32 w 36"/>
                <a:gd name="T19" fmla="*/ 20 h 20"/>
                <a:gd name="T20" fmla="*/ 35 w 36"/>
                <a:gd name="T21" fmla="*/ 14 h 20"/>
                <a:gd name="T22" fmla="*/ 34 w 36"/>
                <a:gd name="T23" fmla="*/ 13 h 20"/>
                <a:gd name="T24" fmla="*/ 30 w 36"/>
                <a:gd name="T25" fmla="*/ 9 h 20"/>
                <a:gd name="T26" fmla="*/ 18 w 36"/>
                <a:gd name="T27" fmla="*/ 5 h 20"/>
                <a:gd name="T28" fmla="*/ 18 w 36"/>
                <a:gd name="T29" fmla="*/ 5 h 20"/>
                <a:gd name="T30" fmla="*/ 16 w 36"/>
                <a:gd name="T31" fmla="*/ 5 h 20"/>
                <a:gd name="T32" fmla="*/ 15 w 36"/>
                <a:gd name="T33" fmla="*/ 5 h 20"/>
                <a:gd name="T34" fmla="*/ 14 w 36"/>
                <a:gd name="T35" fmla="*/ 5 h 20"/>
                <a:gd name="T36" fmla="*/ 4 w 36"/>
                <a:gd name="T3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0">
                  <a:moveTo>
                    <a:pt x="4" y="0"/>
                  </a:moveTo>
                  <a:cubicBezTo>
                    <a:pt x="3" y="0"/>
                    <a:pt x="2" y="1"/>
                    <a:pt x="1" y="2"/>
                  </a:cubicBezTo>
                  <a:cubicBezTo>
                    <a:pt x="0" y="5"/>
                    <a:pt x="2" y="8"/>
                    <a:pt x="3" y="10"/>
                  </a:cubicBezTo>
                  <a:cubicBezTo>
                    <a:pt x="6" y="15"/>
                    <a:pt x="9" y="16"/>
                    <a:pt x="14" y="17"/>
                  </a:cubicBezTo>
                  <a:cubicBezTo>
                    <a:pt x="14" y="17"/>
                    <a:pt x="15" y="17"/>
                    <a:pt x="15" y="17"/>
                  </a:cubicBezTo>
                  <a:cubicBezTo>
                    <a:pt x="16" y="17"/>
                    <a:pt x="17" y="17"/>
                    <a:pt x="17" y="16"/>
                  </a:cubicBezTo>
                  <a:cubicBezTo>
                    <a:pt x="18" y="16"/>
                    <a:pt x="19" y="16"/>
                    <a:pt x="20" y="16"/>
                  </a:cubicBezTo>
                  <a:cubicBezTo>
                    <a:pt x="21" y="16"/>
                    <a:pt x="22" y="16"/>
                    <a:pt x="23" y="17"/>
                  </a:cubicBezTo>
                  <a:cubicBezTo>
                    <a:pt x="24" y="17"/>
                    <a:pt x="25" y="18"/>
                    <a:pt x="25" y="19"/>
                  </a:cubicBezTo>
                  <a:cubicBezTo>
                    <a:pt x="27" y="19"/>
                    <a:pt x="30" y="19"/>
                    <a:pt x="32" y="20"/>
                  </a:cubicBezTo>
                  <a:cubicBezTo>
                    <a:pt x="34" y="18"/>
                    <a:pt x="36" y="16"/>
                    <a:pt x="35" y="14"/>
                  </a:cubicBezTo>
                  <a:cubicBezTo>
                    <a:pt x="34" y="13"/>
                    <a:pt x="34" y="13"/>
                    <a:pt x="34" y="13"/>
                  </a:cubicBezTo>
                  <a:cubicBezTo>
                    <a:pt x="33" y="12"/>
                    <a:pt x="31" y="10"/>
                    <a:pt x="30" y="9"/>
                  </a:cubicBezTo>
                  <a:cubicBezTo>
                    <a:pt x="26" y="5"/>
                    <a:pt x="22" y="5"/>
                    <a:pt x="18" y="5"/>
                  </a:cubicBezTo>
                  <a:cubicBezTo>
                    <a:pt x="18" y="5"/>
                    <a:pt x="18" y="5"/>
                    <a:pt x="18" y="5"/>
                  </a:cubicBezTo>
                  <a:cubicBezTo>
                    <a:pt x="17" y="5"/>
                    <a:pt x="17" y="5"/>
                    <a:pt x="16" y="5"/>
                  </a:cubicBezTo>
                  <a:cubicBezTo>
                    <a:pt x="16" y="5"/>
                    <a:pt x="16" y="5"/>
                    <a:pt x="15" y="5"/>
                  </a:cubicBezTo>
                  <a:cubicBezTo>
                    <a:pt x="15" y="5"/>
                    <a:pt x="15" y="5"/>
                    <a:pt x="14" y="5"/>
                  </a:cubicBezTo>
                  <a:cubicBezTo>
                    <a:pt x="12" y="4"/>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 name="Freeform 1376">
              <a:extLst>
                <a:ext uri="{FF2B5EF4-FFF2-40B4-BE49-F238E27FC236}">
                  <a16:creationId xmlns:a16="http://schemas.microsoft.com/office/drawing/2014/main" id="{7BA7FBBC-D769-4B68-8AA8-5873D3F4BADF}"/>
                </a:ext>
              </a:extLst>
            </p:cNvPr>
            <p:cNvSpPr>
              <a:spLocks/>
            </p:cNvSpPr>
            <p:nvPr/>
          </p:nvSpPr>
          <p:spPr bwMode="auto">
            <a:xfrm>
              <a:off x="4754" y="1683"/>
              <a:ext cx="14" cy="31"/>
            </a:xfrm>
            <a:custGeom>
              <a:avLst/>
              <a:gdLst>
                <a:gd name="T0" fmla="*/ 0 w 6"/>
                <a:gd name="T1" fmla="*/ 0 h 13"/>
                <a:gd name="T2" fmla="*/ 6 w 6"/>
                <a:gd name="T3" fmla="*/ 13 h 13"/>
                <a:gd name="T4" fmla="*/ 0 w 6"/>
                <a:gd name="T5" fmla="*/ 0 h 13"/>
              </a:gdLst>
              <a:ahLst/>
              <a:cxnLst>
                <a:cxn ang="0">
                  <a:pos x="T0" y="T1"/>
                </a:cxn>
                <a:cxn ang="0">
                  <a:pos x="T2" y="T3"/>
                </a:cxn>
                <a:cxn ang="0">
                  <a:pos x="T4" y="T5"/>
                </a:cxn>
              </a:cxnLst>
              <a:rect l="0" t="0" r="r" b="b"/>
              <a:pathLst>
                <a:path w="6" h="13">
                  <a:moveTo>
                    <a:pt x="0" y="0"/>
                  </a:moveTo>
                  <a:cubicBezTo>
                    <a:pt x="2" y="4"/>
                    <a:pt x="4" y="9"/>
                    <a:pt x="6" y="13"/>
                  </a:cubicBezTo>
                  <a:cubicBezTo>
                    <a:pt x="6" y="8"/>
                    <a:pt x="4"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 name="Freeform 1377">
              <a:extLst>
                <a:ext uri="{FF2B5EF4-FFF2-40B4-BE49-F238E27FC236}">
                  <a16:creationId xmlns:a16="http://schemas.microsoft.com/office/drawing/2014/main" id="{4041DAD1-58D4-43F4-8775-DCB873201743}"/>
                </a:ext>
              </a:extLst>
            </p:cNvPr>
            <p:cNvSpPr>
              <a:spLocks/>
            </p:cNvSpPr>
            <p:nvPr/>
          </p:nvSpPr>
          <p:spPr bwMode="auto">
            <a:xfrm>
              <a:off x="4633" y="1617"/>
              <a:ext cx="7" cy="10"/>
            </a:xfrm>
            <a:custGeom>
              <a:avLst/>
              <a:gdLst>
                <a:gd name="T0" fmla="*/ 0 w 3"/>
                <a:gd name="T1" fmla="*/ 0 h 4"/>
                <a:gd name="T2" fmla="*/ 3 w 3"/>
                <a:gd name="T3" fmla="*/ 4 h 4"/>
                <a:gd name="T4" fmla="*/ 1 w 3"/>
                <a:gd name="T5" fmla="*/ 0 h 4"/>
                <a:gd name="T6" fmla="*/ 0 w 3"/>
                <a:gd name="T7" fmla="*/ 0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1"/>
                    <a:pt x="2" y="3"/>
                    <a:pt x="3" y="4"/>
                  </a:cubicBezTo>
                  <a:cubicBezTo>
                    <a:pt x="2" y="3"/>
                    <a:pt x="2" y="1"/>
                    <a:pt x="1" y="0"/>
                  </a:cubicBezTo>
                  <a:cubicBezTo>
                    <a:pt x="1"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Freeform 1378">
              <a:extLst>
                <a:ext uri="{FF2B5EF4-FFF2-40B4-BE49-F238E27FC236}">
                  <a16:creationId xmlns:a16="http://schemas.microsoft.com/office/drawing/2014/main" id="{27761C8E-C970-45DF-BB2B-4F7E2DF7C859}"/>
                </a:ext>
              </a:extLst>
            </p:cNvPr>
            <p:cNvSpPr>
              <a:spLocks/>
            </p:cNvSpPr>
            <p:nvPr/>
          </p:nvSpPr>
          <p:spPr bwMode="auto">
            <a:xfrm>
              <a:off x="4546" y="1560"/>
              <a:ext cx="14" cy="5"/>
            </a:xfrm>
            <a:custGeom>
              <a:avLst/>
              <a:gdLst>
                <a:gd name="T0" fmla="*/ 1 w 6"/>
                <a:gd name="T1" fmla="*/ 0 h 2"/>
                <a:gd name="T2" fmla="*/ 0 w 6"/>
                <a:gd name="T3" fmla="*/ 0 h 2"/>
                <a:gd name="T4" fmla="*/ 6 w 6"/>
                <a:gd name="T5" fmla="*/ 2 h 2"/>
                <a:gd name="T6" fmla="*/ 1 w 6"/>
                <a:gd name="T7" fmla="*/ 0 h 2"/>
              </a:gdLst>
              <a:ahLst/>
              <a:cxnLst>
                <a:cxn ang="0">
                  <a:pos x="T0" y="T1"/>
                </a:cxn>
                <a:cxn ang="0">
                  <a:pos x="T2" y="T3"/>
                </a:cxn>
                <a:cxn ang="0">
                  <a:pos x="T4" y="T5"/>
                </a:cxn>
                <a:cxn ang="0">
                  <a:pos x="T6" y="T7"/>
                </a:cxn>
              </a:cxnLst>
              <a:rect l="0" t="0" r="r" b="b"/>
              <a:pathLst>
                <a:path w="6" h="2">
                  <a:moveTo>
                    <a:pt x="1" y="0"/>
                  </a:moveTo>
                  <a:cubicBezTo>
                    <a:pt x="1" y="0"/>
                    <a:pt x="1" y="0"/>
                    <a:pt x="0" y="0"/>
                  </a:cubicBezTo>
                  <a:cubicBezTo>
                    <a:pt x="2" y="1"/>
                    <a:pt x="4" y="2"/>
                    <a:pt x="6" y="2"/>
                  </a:cubicBezTo>
                  <a:cubicBezTo>
                    <a:pt x="4"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Freeform 1379">
              <a:extLst>
                <a:ext uri="{FF2B5EF4-FFF2-40B4-BE49-F238E27FC236}">
                  <a16:creationId xmlns:a16="http://schemas.microsoft.com/office/drawing/2014/main" id="{952D8BD4-C55F-4A7D-B973-557CC82B2126}"/>
                </a:ext>
              </a:extLst>
            </p:cNvPr>
            <p:cNvSpPr>
              <a:spLocks/>
            </p:cNvSpPr>
            <p:nvPr/>
          </p:nvSpPr>
          <p:spPr bwMode="auto">
            <a:xfrm>
              <a:off x="4449" y="1579"/>
              <a:ext cx="21" cy="22"/>
            </a:xfrm>
            <a:custGeom>
              <a:avLst/>
              <a:gdLst>
                <a:gd name="T0" fmla="*/ 5 w 9"/>
                <a:gd name="T1" fmla="*/ 0 h 9"/>
                <a:gd name="T2" fmla="*/ 2 w 9"/>
                <a:gd name="T3" fmla="*/ 3 h 9"/>
                <a:gd name="T4" fmla="*/ 7 w 9"/>
                <a:gd name="T5" fmla="*/ 9 h 9"/>
                <a:gd name="T6" fmla="*/ 7 w 9"/>
                <a:gd name="T7" fmla="*/ 1 h 9"/>
                <a:gd name="T8" fmla="*/ 5 w 9"/>
                <a:gd name="T9" fmla="*/ 0 h 9"/>
              </a:gdLst>
              <a:ahLst/>
              <a:cxnLst>
                <a:cxn ang="0">
                  <a:pos x="T0" y="T1"/>
                </a:cxn>
                <a:cxn ang="0">
                  <a:pos x="T2" y="T3"/>
                </a:cxn>
                <a:cxn ang="0">
                  <a:pos x="T4" y="T5"/>
                </a:cxn>
                <a:cxn ang="0">
                  <a:pos x="T6" y="T7"/>
                </a:cxn>
                <a:cxn ang="0">
                  <a:pos x="T8" y="T9"/>
                </a:cxn>
              </a:cxnLst>
              <a:rect l="0" t="0" r="r" b="b"/>
              <a:pathLst>
                <a:path w="9" h="9">
                  <a:moveTo>
                    <a:pt x="5" y="0"/>
                  </a:moveTo>
                  <a:cubicBezTo>
                    <a:pt x="4" y="0"/>
                    <a:pt x="3" y="1"/>
                    <a:pt x="2" y="3"/>
                  </a:cubicBezTo>
                  <a:cubicBezTo>
                    <a:pt x="0" y="5"/>
                    <a:pt x="6" y="8"/>
                    <a:pt x="7" y="9"/>
                  </a:cubicBezTo>
                  <a:cubicBezTo>
                    <a:pt x="9" y="7"/>
                    <a:pt x="9" y="2"/>
                    <a:pt x="7" y="1"/>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 name="Freeform 1380">
              <a:extLst>
                <a:ext uri="{FF2B5EF4-FFF2-40B4-BE49-F238E27FC236}">
                  <a16:creationId xmlns:a16="http://schemas.microsoft.com/office/drawing/2014/main" id="{EA7914E0-A8E3-4FAB-9538-B0B4FB408137}"/>
                </a:ext>
              </a:extLst>
            </p:cNvPr>
            <p:cNvSpPr>
              <a:spLocks/>
            </p:cNvSpPr>
            <p:nvPr/>
          </p:nvSpPr>
          <p:spPr bwMode="auto">
            <a:xfrm>
              <a:off x="4536" y="1638"/>
              <a:ext cx="3" cy="10"/>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1" y="1"/>
                    <a:pt x="1" y="2"/>
                    <a:pt x="0" y="4"/>
                  </a:cubicBezTo>
                  <a:cubicBezTo>
                    <a:pt x="1" y="3"/>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Freeform 1381">
              <a:extLst>
                <a:ext uri="{FF2B5EF4-FFF2-40B4-BE49-F238E27FC236}">
                  <a16:creationId xmlns:a16="http://schemas.microsoft.com/office/drawing/2014/main" id="{E04706A5-B259-4103-A390-50B1BC1C5225}"/>
                </a:ext>
              </a:extLst>
            </p:cNvPr>
            <p:cNvSpPr>
              <a:spLocks/>
            </p:cNvSpPr>
            <p:nvPr/>
          </p:nvSpPr>
          <p:spPr bwMode="auto">
            <a:xfrm>
              <a:off x="4368" y="1518"/>
              <a:ext cx="17" cy="12"/>
            </a:xfrm>
            <a:custGeom>
              <a:avLst/>
              <a:gdLst>
                <a:gd name="T0" fmla="*/ 0 w 7"/>
                <a:gd name="T1" fmla="*/ 0 h 5"/>
                <a:gd name="T2" fmla="*/ 1 w 7"/>
                <a:gd name="T3" fmla="*/ 5 h 5"/>
                <a:gd name="T4" fmla="*/ 0 w 7"/>
                <a:gd name="T5" fmla="*/ 0 h 5"/>
              </a:gdLst>
              <a:ahLst/>
              <a:cxnLst>
                <a:cxn ang="0">
                  <a:pos x="T0" y="T1"/>
                </a:cxn>
                <a:cxn ang="0">
                  <a:pos x="T2" y="T3"/>
                </a:cxn>
                <a:cxn ang="0">
                  <a:pos x="T4" y="T5"/>
                </a:cxn>
              </a:cxnLst>
              <a:rect l="0" t="0" r="r" b="b"/>
              <a:pathLst>
                <a:path w="7" h="5">
                  <a:moveTo>
                    <a:pt x="0" y="0"/>
                  </a:moveTo>
                  <a:cubicBezTo>
                    <a:pt x="0" y="2"/>
                    <a:pt x="1" y="3"/>
                    <a:pt x="1" y="5"/>
                  </a:cubicBezTo>
                  <a:cubicBezTo>
                    <a:pt x="7"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 name="Freeform 1382">
              <a:extLst>
                <a:ext uri="{FF2B5EF4-FFF2-40B4-BE49-F238E27FC236}">
                  <a16:creationId xmlns:a16="http://schemas.microsoft.com/office/drawing/2014/main" id="{62451A0B-5E7F-4355-9E27-4F9A5C4776AC}"/>
                </a:ext>
              </a:extLst>
            </p:cNvPr>
            <p:cNvSpPr>
              <a:spLocks/>
            </p:cNvSpPr>
            <p:nvPr/>
          </p:nvSpPr>
          <p:spPr bwMode="auto">
            <a:xfrm>
              <a:off x="4678" y="1667"/>
              <a:ext cx="9" cy="4"/>
            </a:xfrm>
            <a:custGeom>
              <a:avLst/>
              <a:gdLst>
                <a:gd name="T0" fmla="*/ 3 w 4"/>
                <a:gd name="T1" fmla="*/ 0 h 2"/>
                <a:gd name="T2" fmla="*/ 0 w 4"/>
                <a:gd name="T3" fmla="*/ 2 h 2"/>
                <a:gd name="T4" fmla="*/ 1 w 4"/>
                <a:gd name="T5" fmla="*/ 2 h 2"/>
                <a:gd name="T6" fmla="*/ 4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2" y="0"/>
                    <a:pt x="1" y="1"/>
                    <a:pt x="0" y="2"/>
                  </a:cubicBezTo>
                  <a:cubicBezTo>
                    <a:pt x="0" y="2"/>
                    <a:pt x="1" y="2"/>
                    <a:pt x="1" y="2"/>
                  </a:cubicBezTo>
                  <a:cubicBezTo>
                    <a:pt x="3" y="2"/>
                    <a:pt x="4" y="2"/>
                    <a:pt x="4" y="1"/>
                  </a:cubicBezTo>
                  <a:cubicBezTo>
                    <a:pt x="4"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 name="Freeform 1383">
              <a:extLst>
                <a:ext uri="{FF2B5EF4-FFF2-40B4-BE49-F238E27FC236}">
                  <a16:creationId xmlns:a16="http://schemas.microsoft.com/office/drawing/2014/main" id="{189C8008-B732-4565-BF15-9B7AE36C5E40}"/>
                </a:ext>
              </a:extLst>
            </p:cNvPr>
            <p:cNvSpPr>
              <a:spLocks/>
            </p:cNvSpPr>
            <p:nvPr/>
          </p:nvSpPr>
          <p:spPr bwMode="auto">
            <a:xfrm>
              <a:off x="4458" y="1603"/>
              <a:ext cx="7" cy="9"/>
            </a:xfrm>
            <a:custGeom>
              <a:avLst/>
              <a:gdLst>
                <a:gd name="T0" fmla="*/ 0 w 3"/>
                <a:gd name="T1" fmla="*/ 0 h 4"/>
                <a:gd name="T2" fmla="*/ 0 w 3"/>
                <a:gd name="T3" fmla="*/ 0 h 4"/>
                <a:gd name="T4" fmla="*/ 3 w 3"/>
                <a:gd name="T5" fmla="*/ 4 h 4"/>
                <a:gd name="T6" fmla="*/ 0 w 3"/>
                <a:gd name="T7" fmla="*/ 0 h 4"/>
              </a:gdLst>
              <a:ah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2"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Freeform 1384">
              <a:extLst>
                <a:ext uri="{FF2B5EF4-FFF2-40B4-BE49-F238E27FC236}">
                  <a16:creationId xmlns:a16="http://schemas.microsoft.com/office/drawing/2014/main" id="{C205125D-90BC-47BF-9403-A52389D30FC8}"/>
                </a:ext>
              </a:extLst>
            </p:cNvPr>
            <p:cNvSpPr>
              <a:spLocks/>
            </p:cNvSpPr>
            <p:nvPr/>
          </p:nvSpPr>
          <p:spPr bwMode="auto">
            <a:xfrm>
              <a:off x="4666" y="1660"/>
              <a:ext cx="17" cy="7"/>
            </a:xfrm>
            <a:custGeom>
              <a:avLst/>
              <a:gdLst>
                <a:gd name="T0" fmla="*/ 3 w 7"/>
                <a:gd name="T1" fmla="*/ 0 h 3"/>
                <a:gd name="T2" fmla="*/ 0 w 7"/>
                <a:gd name="T3" fmla="*/ 1 h 3"/>
                <a:gd name="T4" fmla="*/ 6 w 7"/>
                <a:gd name="T5" fmla="*/ 3 h 3"/>
                <a:gd name="T6" fmla="*/ 3 w 7"/>
                <a:gd name="T7" fmla="*/ 0 h 3"/>
              </a:gdLst>
              <a:ahLst/>
              <a:cxnLst>
                <a:cxn ang="0">
                  <a:pos x="T0" y="T1"/>
                </a:cxn>
                <a:cxn ang="0">
                  <a:pos x="T2" y="T3"/>
                </a:cxn>
                <a:cxn ang="0">
                  <a:pos x="T4" y="T5"/>
                </a:cxn>
                <a:cxn ang="0">
                  <a:pos x="T6" y="T7"/>
                </a:cxn>
              </a:cxnLst>
              <a:rect l="0" t="0" r="r" b="b"/>
              <a:pathLst>
                <a:path w="7" h="3">
                  <a:moveTo>
                    <a:pt x="3" y="0"/>
                  </a:moveTo>
                  <a:cubicBezTo>
                    <a:pt x="2" y="0"/>
                    <a:pt x="1" y="0"/>
                    <a:pt x="0" y="1"/>
                  </a:cubicBezTo>
                  <a:cubicBezTo>
                    <a:pt x="2" y="2"/>
                    <a:pt x="4" y="3"/>
                    <a:pt x="6" y="3"/>
                  </a:cubicBezTo>
                  <a:cubicBezTo>
                    <a:pt x="7"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Freeform 1385">
              <a:extLst>
                <a:ext uri="{FF2B5EF4-FFF2-40B4-BE49-F238E27FC236}">
                  <a16:creationId xmlns:a16="http://schemas.microsoft.com/office/drawing/2014/main" id="{95A0EBE0-A756-4059-82D5-C99FDBB23AAB}"/>
                </a:ext>
              </a:extLst>
            </p:cNvPr>
            <p:cNvSpPr>
              <a:spLocks noEditPoints="1"/>
            </p:cNvSpPr>
            <p:nvPr/>
          </p:nvSpPr>
          <p:spPr bwMode="auto">
            <a:xfrm>
              <a:off x="4517" y="1624"/>
              <a:ext cx="17" cy="19"/>
            </a:xfrm>
            <a:custGeom>
              <a:avLst/>
              <a:gdLst>
                <a:gd name="T0" fmla="*/ 7 w 7"/>
                <a:gd name="T1" fmla="*/ 2 h 8"/>
                <a:gd name="T2" fmla="*/ 7 w 7"/>
                <a:gd name="T3" fmla="*/ 2 h 8"/>
                <a:gd name="T4" fmla="*/ 7 w 7"/>
                <a:gd name="T5" fmla="*/ 2 h 8"/>
                <a:gd name="T6" fmla="*/ 4 w 7"/>
                <a:gd name="T7" fmla="*/ 0 h 8"/>
                <a:gd name="T8" fmla="*/ 0 w 7"/>
                <a:gd name="T9" fmla="*/ 2 h 8"/>
                <a:gd name="T10" fmla="*/ 3 w 7"/>
                <a:gd name="T11" fmla="*/ 8 h 8"/>
                <a:gd name="T12" fmla="*/ 6 w 7"/>
                <a:gd name="T13" fmla="*/ 4 h 8"/>
                <a:gd name="T14" fmla="*/ 6 w 7"/>
                <a:gd name="T15" fmla="*/ 4 h 8"/>
                <a:gd name="T16" fmla="*/ 6 w 7"/>
                <a:gd name="T17" fmla="*/ 3 h 8"/>
                <a:gd name="T18" fmla="*/ 7 w 7"/>
                <a:gd name="T19" fmla="*/ 2 h 8"/>
                <a:gd name="T20" fmla="*/ 7 w 7"/>
                <a:gd name="T21" fmla="*/ 2 h 8"/>
                <a:gd name="T22" fmla="*/ 4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2"/>
                  </a:moveTo>
                  <a:cubicBezTo>
                    <a:pt x="7" y="2"/>
                    <a:pt x="7" y="2"/>
                    <a:pt x="7" y="2"/>
                  </a:cubicBezTo>
                  <a:cubicBezTo>
                    <a:pt x="7" y="2"/>
                    <a:pt x="7" y="2"/>
                    <a:pt x="7" y="2"/>
                  </a:cubicBezTo>
                  <a:moveTo>
                    <a:pt x="4" y="0"/>
                  </a:moveTo>
                  <a:cubicBezTo>
                    <a:pt x="3" y="0"/>
                    <a:pt x="1" y="1"/>
                    <a:pt x="0" y="2"/>
                  </a:cubicBezTo>
                  <a:cubicBezTo>
                    <a:pt x="1" y="4"/>
                    <a:pt x="2" y="6"/>
                    <a:pt x="3" y="8"/>
                  </a:cubicBezTo>
                  <a:cubicBezTo>
                    <a:pt x="6" y="6"/>
                    <a:pt x="5" y="6"/>
                    <a:pt x="6" y="4"/>
                  </a:cubicBezTo>
                  <a:cubicBezTo>
                    <a:pt x="6" y="4"/>
                    <a:pt x="6" y="4"/>
                    <a:pt x="6" y="4"/>
                  </a:cubicBezTo>
                  <a:cubicBezTo>
                    <a:pt x="6" y="4"/>
                    <a:pt x="6" y="4"/>
                    <a:pt x="6" y="3"/>
                  </a:cubicBezTo>
                  <a:cubicBezTo>
                    <a:pt x="6" y="2"/>
                    <a:pt x="7" y="2"/>
                    <a:pt x="7" y="2"/>
                  </a:cubicBezTo>
                  <a:cubicBezTo>
                    <a:pt x="7" y="2"/>
                    <a:pt x="7" y="2"/>
                    <a:pt x="7" y="2"/>
                  </a:cubicBezTo>
                  <a:cubicBezTo>
                    <a:pt x="6"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 name="Freeform 1386">
              <a:extLst>
                <a:ext uri="{FF2B5EF4-FFF2-40B4-BE49-F238E27FC236}">
                  <a16:creationId xmlns:a16="http://schemas.microsoft.com/office/drawing/2014/main" id="{6ED45468-E3CA-427E-A391-7E0694397B09}"/>
                </a:ext>
              </a:extLst>
            </p:cNvPr>
            <p:cNvSpPr>
              <a:spLocks/>
            </p:cNvSpPr>
            <p:nvPr/>
          </p:nvSpPr>
          <p:spPr bwMode="auto">
            <a:xfrm>
              <a:off x="4428" y="1560"/>
              <a:ext cx="16" cy="26"/>
            </a:xfrm>
            <a:custGeom>
              <a:avLst/>
              <a:gdLst>
                <a:gd name="T0" fmla="*/ 0 w 7"/>
                <a:gd name="T1" fmla="*/ 0 h 11"/>
                <a:gd name="T2" fmla="*/ 3 w 7"/>
                <a:gd name="T3" fmla="*/ 11 h 11"/>
                <a:gd name="T4" fmla="*/ 5 w 7"/>
                <a:gd name="T5" fmla="*/ 4 h 11"/>
                <a:gd name="T6" fmla="*/ 0 w 7"/>
                <a:gd name="T7" fmla="*/ 0 h 11"/>
              </a:gdLst>
              <a:ahLst/>
              <a:cxnLst>
                <a:cxn ang="0">
                  <a:pos x="T0" y="T1"/>
                </a:cxn>
                <a:cxn ang="0">
                  <a:pos x="T2" y="T3"/>
                </a:cxn>
                <a:cxn ang="0">
                  <a:pos x="T4" y="T5"/>
                </a:cxn>
                <a:cxn ang="0">
                  <a:pos x="T6" y="T7"/>
                </a:cxn>
              </a:cxnLst>
              <a:rect l="0" t="0" r="r" b="b"/>
              <a:pathLst>
                <a:path w="7" h="11">
                  <a:moveTo>
                    <a:pt x="0" y="0"/>
                  </a:moveTo>
                  <a:cubicBezTo>
                    <a:pt x="0" y="4"/>
                    <a:pt x="2" y="7"/>
                    <a:pt x="3" y="11"/>
                  </a:cubicBezTo>
                  <a:cubicBezTo>
                    <a:pt x="3" y="7"/>
                    <a:pt x="7" y="7"/>
                    <a:pt x="5" y="4"/>
                  </a:cubicBezTo>
                  <a:cubicBezTo>
                    <a:pt x="5" y="3"/>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Freeform 1387">
              <a:extLst>
                <a:ext uri="{FF2B5EF4-FFF2-40B4-BE49-F238E27FC236}">
                  <a16:creationId xmlns:a16="http://schemas.microsoft.com/office/drawing/2014/main" id="{56BD9044-B32E-4202-97AC-FBF4DD59FAF9}"/>
                </a:ext>
              </a:extLst>
            </p:cNvPr>
            <p:cNvSpPr>
              <a:spLocks/>
            </p:cNvSpPr>
            <p:nvPr/>
          </p:nvSpPr>
          <p:spPr bwMode="auto">
            <a:xfrm>
              <a:off x="4659" y="1830"/>
              <a:ext cx="47" cy="26"/>
            </a:xfrm>
            <a:custGeom>
              <a:avLst/>
              <a:gdLst>
                <a:gd name="T0" fmla="*/ 1 w 20"/>
                <a:gd name="T1" fmla="*/ 0 h 11"/>
                <a:gd name="T2" fmla="*/ 0 w 20"/>
                <a:gd name="T3" fmla="*/ 1 h 11"/>
                <a:gd name="T4" fmla="*/ 15 w 20"/>
                <a:gd name="T5" fmla="*/ 11 h 11"/>
                <a:gd name="T6" fmla="*/ 8 w 20"/>
                <a:gd name="T7" fmla="*/ 4 h 11"/>
                <a:gd name="T8" fmla="*/ 1 w 20"/>
                <a:gd name="T9" fmla="*/ 0 h 11"/>
              </a:gdLst>
              <a:ahLst/>
              <a:cxnLst>
                <a:cxn ang="0">
                  <a:pos x="T0" y="T1"/>
                </a:cxn>
                <a:cxn ang="0">
                  <a:pos x="T2" y="T3"/>
                </a:cxn>
                <a:cxn ang="0">
                  <a:pos x="T4" y="T5"/>
                </a:cxn>
                <a:cxn ang="0">
                  <a:pos x="T6" y="T7"/>
                </a:cxn>
                <a:cxn ang="0">
                  <a:pos x="T8" y="T9"/>
                </a:cxn>
              </a:cxnLst>
              <a:rect l="0" t="0" r="r" b="b"/>
              <a:pathLst>
                <a:path w="20" h="11">
                  <a:moveTo>
                    <a:pt x="1" y="0"/>
                  </a:moveTo>
                  <a:cubicBezTo>
                    <a:pt x="1" y="0"/>
                    <a:pt x="1" y="1"/>
                    <a:pt x="0" y="1"/>
                  </a:cubicBezTo>
                  <a:cubicBezTo>
                    <a:pt x="5" y="5"/>
                    <a:pt x="10" y="8"/>
                    <a:pt x="15" y="11"/>
                  </a:cubicBezTo>
                  <a:cubicBezTo>
                    <a:pt x="20" y="8"/>
                    <a:pt x="10" y="5"/>
                    <a:pt x="8" y="4"/>
                  </a:cubicBezTo>
                  <a:cubicBezTo>
                    <a:pt x="7" y="3"/>
                    <a:pt x="4"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 name="Freeform 1388">
              <a:extLst>
                <a:ext uri="{FF2B5EF4-FFF2-40B4-BE49-F238E27FC236}">
                  <a16:creationId xmlns:a16="http://schemas.microsoft.com/office/drawing/2014/main" id="{2DFE2E0A-B9FE-40E9-A2E9-FA3A9BA5F47C}"/>
                </a:ext>
              </a:extLst>
            </p:cNvPr>
            <p:cNvSpPr>
              <a:spLocks/>
            </p:cNvSpPr>
            <p:nvPr/>
          </p:nvSpPr>
          <p:spPr bwMode="auto">
            <a:xfrm>
              <a:off x="420" y="338"/>
              <a:ext cx="4" cy="10"/>
            </a:xfrm>
            <a:custGeom>
              <a:avLst/>
              <a:gdLst>
                <a:gd name="T0" fmla="*/ 1 w 2"/>
                <a:gd name="T1" fmla="*/ 0 h 4"/>
                <a:gd name="T2" fmla="*/ 0 w 2"/>
                <a:gd name="T3" fmla="*/ 4 h 4"/>
                <a:gd name="T4" fmla="*/ 1 w 2"/>
                <a:gd name="T5" fmla="*/ 0 h 4"/>
              </a:gdLst>
              <a:ahLst/>
              <a:cxnLst>
                <a:cxn ang="0">
                  <a:pos x="T0" y="T1"/>
                </a:cxn>
                <a:cxn ang="0">
                  <a:pos x="T2" y="T3"/>
                </a:cxn>
                <a:cxn ang="0">
                  <a:pos x="T4" y="T5"/>
                </a:cxn>
              </a:cxnLst>
              <a:rect l="0" t="0" r="r" b="b"/>
              <a:pathLst>
                <a:path w="2" h="4">
                  <a:moveTo>
                    <a:pt x="1" y="0"/>
                  </a:moveTo>
                  <a:cubicBezTo>
                    <a:pt x="0" y="1"/>
                    <a:pt x="0" y="3"/>
                    <a:pt x="0" y="4"/>
                  </a:cubicBezTo>
                  <a:cubicBezTo>
                    <a:pt x="1"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 name="Freeform 1389">
              <a:extLst>
                <a:ext uri="{FF2B5EF4-FFF2-40B4-BE49-F238E27FC236}">
                  <a16:creationId xmlns:a16="http://schemas.microsoft.com/office/drawing/2014/main" id="{4AC9051A-58C8-4A5C-A791-D1C2BF35D1AC}"/>
                </a:ext>
              </a:extLst>
            </p:cNvPr>
            <p:cNvSpPr>
              <a:spLocks/>
            </p:cNvSpPr>
            <p:nvPr/>
          </p:nvSpPr>
          <p:spPr bwMode="auto">
            <a:xfrm>
              <a:off x="422" y="348"/>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 name="Freeform 1390">
              <a:extLst>
                <a:ext uri="{FF2B5EF4-FFF2-40B4-BE49-F238E27FC236}">
                  <a16:creationId xmlns:a16="http://schemas.microsoft.com/office/drawing/2014/main" id="{CDE875A3-15F1-425F-A92B-2BFBB8DC89DE}"/>
                </a:ext>
              </a:extLst>
            </p:cNvPr>
            <p:cNvSpPr>
              <a:spLocks/>
            </p:cNvSpPr>
            <p:nvPr/>
          </p:nvSpPr>
          <p:spPr bwMode="auto">
            <a:xfrm>
              <a:off x="410" y="225"/>
              <a:ext cx="3" cy="12"/>
            </a:xfrm>
            <a:custGeom>
              <a:avLst/>
              <a:gdLst>
                <a:gd name="T0" fmla="*/ 0 w 1"/>
                <a:gd name="T1" fmla="*/ 0 h 5"/>
                <a:gd name="T2" fmla="*/ 0 w 1"/>
                <a:gd name="T3" fmla="*/ 5 h 5"/>
                <a:gd name="T4" fmla="*/ 0 w 1"/>
                <a:gd name="T5" fmla="*/ 0 h 5"/>
              </a:gdLst>
              <a:ahLst/>
              <a:cxnLst>
                <a:cxn ang="0">
                  <a:pos x="T0" y="T1"/>
                </a:cxn>
                <a:cxn ang="0">
                  <a:pos x="T2" y="T3"/>
                </a:cxn>
                <a:cxn ang="0">
                  <a:pos x="T4" y="T5"/>
                </a:cxn>
              </a:cxnLst>
              <a:rect l="0" t="0" r="r" b="b"/>
              <a:pathLst>
                <a:path w="1" h="5">
                  <a:moveTo>
                    <a:pt x="0" y="0"/>
                  </a:moveTo>
                  <a:cubicBezTo>
                    <a:pt x="0" y="2"/>
                    <a:pt x="0" y="3"/>
                    <a:pt x="0"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Freeform 1391">
              <a:extLst>
                <a:ext uri="{FF2B5EF4-FFF2-40B4-BE49-F238E27FC236}">
                  <a16:creationId xmlns:a16="http://schemas.microsoft.com/office/drawing/2014/main" id="{ED1B7358-D1C5-4DFD-B33C-C06FFEC49498}"/>
                </a:ext>
              </a:extLst>
            </p:cNvPr>
            <p:cNvSpPr>
              <a:spLocks/>
            </p:cNvSpPr>
            <p:nvPr/>
          </p:nvSpPr>
          <p:spPr bwMode="auto">
            <a:xfrm>
              <a:off x="424" y="128"/>
              <a:ext cx="5" cy="17"/>
            </a:xfrm>
            <a:custGeom>
              <a:avLst/>
              <a:gdLst>
                <a:gd name="T0" fmla="*/ 0 w 2"/>
                <a:gd name="T1" fmla="*/ 0 h 7"/>
                <a:gd name="T2" fmla="*/ 1 w 2"/>
                <a:gd name="T3" fmla="*/ 6 h 7"/>
                <a:gd name="T4" fmla="*/ 1 w 2"/>
                <a:gd name="T5" fmla="*/ 7 h 7"/>
                <a:gd name="T6" fmla="*/ 2 w 2"/>
                <a:gd name="T7" fmla="*/ 4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cubicBezTo>
                    <a:pt x="0" y="2"/>
                    <a:pt x="1" y="4"/>
                    <a:pt x="1" y="6"/>
                  </a:cubicBezTo>
                  <a:cubicBezTo>
                    <a:pt x="1" y="6"/>
                    <a:pt x="1" y="6"/>
                    <a:pt x="1" y="7"/>
                  </a:cubicBezTo>
                  <a:cubicBezTo>
                    <a:pt x="2" y="6"/>
                    <a:pt x="2" y="5"/>
                    <a:pt x="2" y="4"/>
                  </a:cubicBezTo>
                  <a:cubicBezTo>
                    <a:pt x="2"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Freeform 1392">
              <a:extLst>
                <a:ext uri="{FF2B5EF4-FFF2-40B4-BE49-F238E27FC236}">
                  <a16:creationId xmlns:a16="http://schemas.microsoft.com/office/drawing/2014/main" id="{816C4D7F-607C-4889-B038-91734A67AA5E}"/>
                </a:ext>
              </a:extLst>
            </p:cNvPr>
            <p:cNvSpPr>
              <a:spLocks/>
            </p:cNvSpPr>
            <p:nvPr/>
          </p:nvSpPr>
          <p:spPr bwMode="auto">
            <a:xfrm>
              <a:off x="429" y="166"/>
              <a:ext cx="14" cy="21"/>
            </a:xfrm>
            <a:custGeom>
              <a:avLst/>
              <a:gdLst>
                <a:gd name="T0" fmla="*/ 0 w 6"/>
                <a:gd name="T1" fmla="*/ 0 h 9"/>
                <a:gd name="T2" fmla="*/ 0 w 6"/>
                <a:gd name="T3" fmla="*/ 0 h 9"/>
                <a:gd name="T4" fmla="*/ 0 w 6"/>
                <a:gd name="T5" fmla="*/ 9 h 9"/>
                <a:gd name="T6" fmla="*/ 0 w 6"/>
                <a:gd name="T7" fmla="*/ 0 h 9"/>
                <a:gd name="T8" fmla="*/ 0 w 6"/>
                <a:gd name="T9" fmla="*/ 0 h 9"/>
              </a:gdLst>
              <a:ahLst/>
              <a:cxnLst>
                <a:cxn ang="0">
                  <a:pos x="T0" y="T1"/>
                </a:cxn>
                <a:cxn ang="0">
                  <a:pos x="T2" y="T3"/>
                </a:cxn>
                <a:cxn ang="0">
                  <a:pos x="T4" y="T5"/>
                </a:cxn>
                <a:cxn ang="0">
                  <a:pos x="T6" y="T7"/>
                </a:cxn>
                <a:cxn ang="0">
                  <a:pos x="T8" y="T9"/>
                </a:cxn>
              </a:cxnLst>
              <a:rect l="0" t="0" r="r" b="b"/>
              <a:pathLst>
                <a:path w="6" h="9">
                  <a:moveTo>
                    <a:pt x="0" y="0"/>
                  </a:moveTo>
                  <a:cubicBezTo>
                    <a:pt x="0" y="0"/>
                    <a:pt x="0" y="0"/>
                    <a:pt x="0" y="0"/>
                  </a:cubicBezTo>
                  <a:cubicBezTo>
                    <a:pt x="0" y="3"/>
                    <a:pt x="0" y="6"/>
                    <a:pt x="0" y="9"/>
                  </a:cubicBezTo>
                  <a:cubicBezTo>
                    <a:pt x="6" y="9"/>
                    <a:pt x="5"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Freeform 1393">
              <a:extLst>
                <a:ext uri="{FF2B5EF4-FFF2-40B4-BE49-F238E27FC236}">
                  <a16:creationId xmlns:a16="http://schemas.microsoft.com/office/drawing/2014/main" id="{F250EE75-BAD2-4792-AA77-EC8DB05BFB54}"/>
                </a:ext>
              </a:extLst>
            </p:cNvPr>
            <p:cNvSpPr>
              <a:spLocks/>
            </p:cNvSpPr>
            <p:nvPr/>
          </p:nvSpPr>
          <p:spPr bwMode="auto">
            <a:xfrm>
              <a:off x="420" y="227"/>
              <a:ext cx="11" cy="24"/>
            </a:xfrm>
            <a:custGeom>
              <a:avLst/>
              <a:gdLst>
                <a:gd name="T0" fmla="*/ 4 w 5"/>
                <a:gd name="T1" fmla="*/ 0 h 10"/>
                <a:gd name="T2" fmla="*/ 0 w 5"/>
                <a:gd name="T3" fmla="*/ 10 h 10"/>
                <a:gd name="T4" fmla="*/ 3 w 5"/>
                <a:gd name="T5" fmla="*/ 5 h 10"/>
                <a:gd name="T6" fmla="*/ 4 w 5"/>
                <a:gd name="T7" fmla="*/ 0 h 10"/>
              </a:gdLst>
              <a:ahLst/>
              <a:cxnLst>
                <a:cxn ang="0">
                  <a:pos x="T0" y="T1"/>
                </a:cxn>
                <a:cxn ang="0">
                  <a:pos x="T2" y="T3"/>
                </a:cxn>
                <a:cxn ang="0">
                  <a:pos x="T4" y="T5"/>
                </a:cxn>
                <a:cxn ang="0">
                  <a:pos x="T6" y="T7"/>
                </a:cxn>
              </a:cxnLst>
              <a:rect l="0" t="0" r="r" b="b"/>
              <a:pathLst>
                <a:path w="5" h="10">
                  <a:moveTo>
                    <a:pt x="4" y="0"/>
                  </a:moveTo>
                  <a:cubicBezTo>
                    <a:pt x="2" y="3"/>
                    <a:pt x="1" y="6"/>
                    <a:pt x="0" y="10"/>
                  </a:cubicBezTo>
                  <a:cubicBezTo>
                    <a:pt x="4" y="9"/>
                    <a:pt x="3" y="8"/>
                    <a:pt x="3" y="5"/>
                  </a:cubicBezTo>
                  <a:cubicBezTo>
                    <a:pt x="4" y="3"/>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 name="Freeform 1394">
              <a:extLst>
                <a:ext uri="{FF2B5EF4-FFF2-40B4-BE49-F238E27FC236}">
                  <a16:creationId xmlns:a16="http://schemas.microsoft.com/office/drawing/2014/main" id="{1E81B26F-AD41-4944-9B57-F5A7F9963B56}"/>
                </a:ext>
              </a:extLst>
            </p:cNvPr>
            <p:cNvSpPr>
              <a:spLocks/>
            </p:cNvSpPr>
            <p:nvPr/>
          </p:nvSpPr>
          <p:spPr bwMode="auto">
            <a:xfrm>
              <a:off x="431" y="227"/>
              <a:ext cx="15" cy="17"/>
            </a:xfrm>
            <a:custGeom>
              <a:avLst/>
              <a:gdLst>
                <a:gd name="T0" fmla="*/ 4 w 6"/>
                <a:gd name="T1" fmla="*/ 0 h 7"/>
                <a:gd name="T2" fmla="*/ 2 w 6"/>
                <a:gd name="T3" fmla="*/ 0 h 7"/>
                <a:gd name="T4" fmla="*/ 2 w 6"/>
                <a:gd name="T5" fmla="*/ 5 h 7"/>
                <a:gd name="T6" fmla="*/ 2 w 6"/>
                <a:gd name="T7" fmla="*/ 5 h 7"/>
                <a:gd name="T8" fmla="*/ 5 w 6"/>
                <a:gd name="T9" fmla="*/ 7 h 7"/>
                <a:gd name="T10" fmla="*/ 6 w 6"/>
                <a:gd name="T11" fmla="*/ 1 h 7"/>
                <a:gd name="T12" fmla="*/ 6 w 6"/>
                <a:gd name="T13" fmla="*/ 0 h 7"/>
                <a:gd name="T14" fmla="*/ 4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0"/>
                  </a:moveTo>
                  <a:cubicBezTo>
                    <a:pt x="3" y="0"/>
                    <a:pt x="3" y="0"/>
                    <a:pt x="2" y="0"/>
                  </a:cubicBezTo>
                  <a:cubicBezTo>
                    <a:pt x="0" y="0"/>
                    <a:pt x="1" y="3"/>
                    <a:pt x="2" y="5"/>
                  </a:cubicBezTo>
                  <a:cubicBezTo>
                    <a:pt x="2" y="5"/>
                    <a:pt x="2" y="5"/>
                    <a:pt x="2" y="5"/>
                  </a:cubicBezTo>
                  <a:cubicBezTo>
                    <a:pt x="3" y="6"/>
                    <a:pt x="4" y="6"/>
                    <a:pt x="5" y="7"/>
                  </a:cubicBezTo>
                  <a:cubicBezTo>
                    <a:pt x="5" y="7"/>
                    <a:pt x="6" y="2"/>
                    <a:pt x="6" y="1"/>
                  </a:cubicBezTo>
                  <a:cubicBezTo>
                    <a:pt x="6" y="0"/>
                    <a:pt x="6" y="0"/>
                    <a:pt x="6" y="0"/>
                  </a:cubicBezTo>
                  <a:cubicBezTo>
                    <a:pt x="6"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 name="Freeform 1395">
              <a:extLst>
                <a:ext uri="{FF2B5EF4-FFF2-40B4-BE49-F238E27FC236}">
                  <a16:creationId xmlns:a16="http://schemas.microsoft.com/office/drawing/2014/main" id="{11332552-A491-4FD8-A056-5636C8925313}"/>
                </a:ext>
              </a:extLst>
            </p:cNvPr>
            <p:cNvSpPr>
              <a:spLocks/>
            </p:cNvSpPr>
            <p:nvPr/>
          </p:nvSpPr>
          <p:spPr bwMode="auto">
            <a:xfrm>
              <a:off x="408" y="182"/>
              <a:ext cx="7" cy="10"/>
            </a:xfrm>
            <a:custGeom>
              <a:avLst/>
              <a:gdLst>
                <a:gd name="T0" fmla="*/ 3 w 3"/>
                <a:gd name="T1" fmla="*/ 0 h 4"/>
                <a:gd name="T2" fmla="*/ 0 w 3"/>
                <a:gd name="T3" fmla="*/ 4 h 4"/>
                <a:gd name="T4" fmla="*/ 3 w 3"/>
                <a:gd name="T5" fmla="*/ 0 h 4"/>
              </a:gdLst>
              <a:ahLst/>
              <a:cxnLst>
                <a:cxn ang="0">
                  <a:pos x="T0" y="T1"/>
                </a:cxn>
                <a:cxn ang="0">
                  <a:pos x="T2" y="T3"/>
                </a:cxn>
                <a:cxn ang="0">
                  <a:pos x="T4" y="T5"/>
                </a:cxn>
              </a:cxnLst>
              <a:rect l="0" t="0" r="r" b="b"/>
              <a:pathLst>
                <a:path w="3" h="4">
                  <a:moveTo>
                    <a:pt x="3" y="0"/>
                  </a:moveTo>
                  <a:cubicBezTo>
                    <a:pt x="1" y="1"/>
                    <a:pt x="1" y="3"/>
                    <a:pt x="0" y="4"/>
                  </a:cubicBezTo>
                  <a:cubicBezTo>
                    <a:pt x="1" y="2"/>
                    <a:pt x="3"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 name="Freeform 1396">
              <a:extLst>
                <a:ext uri="{FF2B5EF4-FFF2-40B4-BE49-F238E27FC236}">
                  <a16:creationId xmlns:a16="http://schemas.microsoft.com/office/drawing/2014/main" id="{2836D4DF-0204-4A45-8310-77C4BC56CAB5}"/>
                </a:ext>
              </a:extLst>
            </p:cNvPr>
            <p:cNvSpPr>
              <a:spLocks/>
            </p:cNvSpPr>
            <p:nvPr/>
          </p:nvSpPr>
          <p:spPr bwMode="auto">
            <a:xfrm>
              <a:off x="3038" y="1983"/>
              <a:ext cx="43" cy="43"/>
            </a:xfrm>
            <a:custGeom>
              <a:avLst/>
              <a:gdLst>
                <a:gd name="T0" fmla="*/ 11 w 18"/>
                <a:gd name="T1" fmla="*/ 0 h 18"/>
                <a:gd name="T2" fmla="*/ 8 w 18"/>
                <a:gd name="T3" fmla="*/ 1 h 18"/>
                <a:gd name="T4" fmla="*/ 7 w 18"/>
                <a:gd name="T5" fmla="*/ 1 h 18"/>
                <a:gd name="T6" fmla="*/ 2 w 18"/>
                <a:gd name="T7" fmla="*/ 5 h 18"/>
                <a:gd name="T8" fmla="*/ 1 w 18"/>
                <a:gd name="T9" fmla="*/ 15 h 18"/>
                <a:gd name="T10" fmla="*/ 17 w 18"/>
                <a:gd name="T11" fmla="*/ 18 h 18"/>
                <a:gd name="T12" fmla="*/ 18 w 18"/>
                <a:gd name="T13" fmla="*/ 18 h 18"/>
                <a:gd name="T14" fmla="*/ 18 w 18"/>
                <a:gd name="T15" fmla="*/ 14 h 18"/>
                <a:gd name="T16" fmla="*/ 14 w 18"/>
                <a:gd name="T17" fmla="*/ 16 h 18"/>
                <a:gd name="T18" fmla="*/ 12 w 18"/>
                <a:gd name="T19" fmla="*/ 15 h 18"/>
                <a:gd name="T20" fmla="*/ 14 w 18"/>
                <a:gd name="T21" fmla="*/ 10 h 18"/>
                <a:gd name="T22" fmla="*/ 13 w 18"/>
                <a:gd name="T23" fmla="*/ 10 h 18"/>
                <a:gd name="T24" fmla="*/ 16 w 18"/>
                <a:gd name="T25" fmla="*/ 3 h 18"/>
                <a:gd name="T26" fmla="*/ 16 w 18"/>
                <a:gd name="T27" fmla="*/ 2 h 18"/>
                <a:gd name="T28" fmla="*/ 14 w 18"/>
                <a:gd name="T29" fmla="*/ 5 h 18"/>
                <a:gd name="T30" fmla="*/ 13 w 18"/>
                <a:gd name="T31" fmla="*/ 5 h 18"/>
                <a:gd name="T32" fmla="*/ 11 w 18"/>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11" y="0"/>
                  </a:moveTo>
                  <a:cubicBezTo>
                    <a:pt x="10" y="0"/>
                    <a:pt x="9" y="1"/>
                    <a:pt x="8" y="1"/>
                  </a:cubicBezTo>
                  <a:cubicBezTo>
                    <a:pt x="7" y="1"/>
                    <a:pt x="7" y="1"/>
                    <a:pt x="7" y="1"/>
                  </a:cubicBezTo>
                  <a:cubicBezTo>
                    <a:pt x="10" y="5"/>
                    <a:pt x="4" y="3"/>
                    <a:pt x="2" y="5"/>
                  </a:cubicBezTo>
                  <a:cubicBezTo>
                    <a:pt x="0" y="8"/>
                    <a:pt x="5" y="13"/>
                    <a:pt x="1" y="15"/>
                  </a:cubicBezTo>
                  <a:cubicBezTo>
                    <a:pt x="6" y="16"/>
                    <a:pt x="12" y="18"/>
                    <a:pt x="17" y="18"/>
                  </a:cubicBezTo>
                  <a:cubicBezTo>
                    <a:pt x="17" y="18"/>
                    <a:pt x="17" y="18"/>
                    <a:pt x="18" y="18"/>
                  </a:cubicBezTo>
                  <a:cubicBezTo>
                    <a:pt x="17" y="16"/>
                    <a:pt x="18" y="15"/>
                    <a:pt x="18" y="14"/>
                  </a:cubicBezTo>
                  <a:cubicBezTo>
                    <a:pt x="17" y="15"/>
                    <a:pt x="15" y="16"/>
                    <a:pt x="14" y="16"/>
                  </a:cubicBezTo>
                  <a:cubicBezTo>
                    <a:pt x="13" y="16"/>
                    <a:pt x="12" y="16"/>
                    <a:pt x="12" y="15"/>
                  </a:cubicBezTo>
                  <a:cubicBezTo>
                    <a:pt x="10" y="13"/>
                    <a:pt x="11" y="13"/>
                    <a:pt x="14" y="10"/>
                  </a:cubicBezTo>
                  <a:cubicBezTo>
                    <a:pt x="13" y="10"/>
                    <a:pt x="13" y="10"/>
                    <a:pt x="13" y="10"/>
                  </a:cubicBezTo>
                  <a:cubicBezTo>
                    <a:pt x="13" y="9"/>
                    <a:pt x="17" y="3"/>
                    <a:pt x="16" y="3"/>
                  </a:cubicBezTo>
                  <a:cubicBezTo>
                    <a:pt x="16" y="2"/>
                    <a:pt x="16" y="2"/>
                    <a:pt x="16" y="2"/>
                  </a:cubicBezTo>
                  <a:cubicBezTo>
                    <a:pt x="15" y="2"/>
                    <a:pt x="14" y="5"/>
                    <a:pt x="14" y="5"/>
                  </a:cubicBezTo>
                  <a:cubicBezTo>
                    <a:pt x="14" y="5"/>
                    <a:pt x="13" y="5"/>
                    <a:pt x="13" y="5"/>
                  </a:cubicBezTo>
                  <a:cubicBezTo>
                    <a:pt x="11" y="5"/>
                    <a:pt x="11" y="2"/>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 name="Freeform 1397">
              <a:extLst>
                <a:ext uri="{FF2B5EF4-FFF2-40B4-BE49-F238E27FC236}">
                  <a16:creationId xmlns:a16="http://schemas.microsoft.com/office/drawing/2014/main" id="{13517A52-989D-4B33-BC57-E2749C808F9D}"/>
                </a:ext>
              </a:extLst>
            </p:cNvPr>
            <p:cNvSpPr>
              <a:spLocks/>
            </p:cNvSpPr>
            <p:nvPr/>
          </p:nvSpPr>
          <p:spPr bwMode="auto">
            <a:xfrm>
              <a:off x="3026" y="1830"/>
              <a:ext cx="21" cy="16"/>
            </a:xfrm>
            <a:custGeom>
              <a:avLst/>
              <a:gdLst>
                <a:gd name="T0" fmla="*/ 9 w 9"/>
                <a:gd name="T1" fmla="*/ 0 h 7"/>
                <a:gd name="T2" fmla="*/ 0 w 9"/>
                <a:gd name="T3" fmla="*/ 7 h 7"/>
                <a:gd name="T4" fmla="*/ 9 w 9"/>
                <a:gd name="T5" fmla="*/ 0 h 7"/>
              </a:gdLst>
              <a:ahLst/>
              <a:cxnLst>
                <a:cxn ang="0">
                  <a:pos x="T0" y="T1"/>
                </a:cxn>
                <a:cxn ang="0">
                  <a:pos x="T2" y="T3"/>
                </a:cxn>
                <a:cxn ang="0">
                  <a:pos x="T4" y="T5"/>
                </a:cxn>
              </a:cxnLst>
              <a:rect l="0" t="0" r="r" b="b"/>
              <a:pathLst>
                <a:path w="9" h="7">
                  <a:moveTo>
                    <a:pt x="9" y="0"/>
                  </a:moveTo>
                  <a:cubicBezTo>
                    <a:pt x="6" y="2"/>
                    <a:pt x="3" y="4"/>
                    <a:pt x="0" y="7"/>
                  </a:cubicBezTo>
                  <a:cubicBezTo>
                    <a:pt x="2" y="6"/>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 name="Freeform 1398">
              <a:extLst>
                <a:ext uri="{FF2B5EF4-FFF2-40B4-BE49-F238E27FC236}">
                  <a16:creationId xmlns:a16="http://schemas.microsoft.com/office/drawing/2014/main" id="{7B848545-16D6-4AA2-BD99-F4F44D2B6513}"/>
                </a:ext>
              </a:extLst>
            </p:cNvPr>
            <p:cNvSpPr>
              <a:spLocks/>
            </p:cNvSpPr>
            <p:nvPr/>
          </p:nvSpPr>
          <p:spPr bwMode="auto">
            <a:xfrm>
              <a:off x="3437" y="1733"/>
              <a:ext cx="3" cy="7"/>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1"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 name="Freeform 1399">
              <a:extLst>
                <a:ext uri="{FF2B5EF4-FFF2-40B4-BE49-F238E27FC236}">
                  <a16:creationId xmlns:a16="http://schemas.microsoft.com/office/drawing/2014/main" id="{855354C3-57F5-4388-BFF8-04E62451644D}"/>
                </a:ext>
              </a:extLst>
            </p:cNvPr>
            <p:cNvSpPr>
              <a:spLocks/>
            </p:cNvSpPr>
            <p:nvPr/>
          </p:nvSpPr>
          <p:spPr bwMode="auto">
            <a:xfrm>
              <a:off x="3707" y="2303"/>
              <a:ext cx="21" cy="21"/>
            </a:xfrm>
            <a:custGeom>
              <a:avLst/>
              <a:gdLst>
                <a:gd name="T0" fmla="*/ 4 w 9"/>
                <a:gd name="T1" fmla="*/ 0 h 9"/>
                <a:gd name="T2" fmla="*/ 0 w 9"/>
                <a:gd name="T3" fmla="*/ 1 h 9"/>
                <a:gd name="T4" fmla="*/ 6 w 9"/>
                <a:gd name="T5" fmla="*/ 9 h 9"/>
                <a:gd name="T6" fmla="*/ 6 w 9"/>
                <a:gd name="T7" fmla="*/ 1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cubicBezTo>
                    <a:pt x="3" y="0"/>
                    <a:pt x="2" y="1"/>
                    <a:pt x="0" y="1"/>
                  </a:cubicBezTo>
                  <a:cubicBezTo>
                    <a:pt x="2" y="4"/>
                    <a:pt x="4" y="6"/>
                    <a:pt x="6" y="9"/>
                  </a:cubicBezTo>
                  <a:cubicBezTo>
                    <a:pt x="9" y="5"/>
                    <a:pt x="4" y="4"/>
                    <a:pt x="6" y="1"/>
                  </a:cubicBezTo>
                  <a:cubicBezTo>
                    <a:pt x="5" y="1"/>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 name="Freeform 1400">
              <a:extLst>
                <a:ext uri="{FF2B5EF4-FFF2-40B4-BE49-F238E27FC236}">
                  <a16:creationId xmlns:a16="http://schemas.microsoft.com/office/drawing/2014/main" id="{3005BFAC-526F-4F6C-AA24-D9460AF9BDEB}"/>
                </a:ext>
              </a:extLst>
            </p:cNvPr>
            <p:cNvSpPr>
              <a:spLocks/>
            </p:cNvSpPr>
            <p:nvPr/>
          </p:nvSpPr>
          <p:spPr bwMode="auto">
            <a:xfrm>
              <a:off x="3839" y="3967"/>
              <a:ext cx="31" cy="14"/>
            </a:xfrm>
            <a:custGeom>
              <a:avLst/>
              <a:gdLst>
                <a:gd name="T0" fmla="*/ 9 w 13"/>
                <a:gd name="T1" fmla="*/ 0 h 6"/>
                <a:gd name="T2" fmla="*/ 5 w 13"/>
                <a:gd name="T3" fmla="*/ 1 h 6"/>
                <a:gd name="T4" fmla="*/ 4 w 13"/>
                <a:gd name="T5" fmla="*/ 1 h 6"/>
                <a:gd name="T6" fmla="*/ 3 w 13"/>
                <a:gd name="T7" fmla="*/ 1 h 6"/>
                <a:gd name="T8" fmla="*/ 3 w 13"/>
                <a:gd name="T9" fmla="*/ 1 h 6"/>
                <a:gd name="T10" fmla="*/ 0 w 13"/>
                <a:gd name="T11" fmla="*/ 2 h 6"/>
                <a:gd name="T12" fmla="*/ 9 w 13"/>
                <a:gd name="T13" fmla="*/ 6 h 6"/>
                <a:gd name="T14" fmla="*/ 13 w 13"/>
                <a:gd name="T15" fmla="*/ 4 h 6"/>
                <a:gd name="T16" fmla="*/ 13 w 13"/>
                <a:gd name="T17" fmla="*/ 4 h 6"/>
                <a:gd name="T18" fmla="*/ 9 w 13"/>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
                  <a:moveTo>
                    <a:pt x="9" y="0"/>
                  </a:moveTo>
                  <a:cubicBezTo>
                    <a:pt x="8" y="0"/>
                    <a:pt x="7" y="0"/>
                    <a:pt x="5" y="1"/>
                  </a:cubicBezTo>
                  <a:cubicBezTo>
                    <a:pt x="4" y="1"/>
                    <a:pt x="4" y="1"/>
                    <a:pt x="4" y="1"/>
                  </a:cubicBezTo>
                  <a:cubicBezTo>
                    <a:pt x="3" y="1"/>
                    <a:pt x="3" y="1"/>
                    <a:pt x="3" y="1"/>
                  </a:cubicBezTo>
                  <a:cubicBezTo>
                    <a:pt x="3" y="1"/>
                    <a:pt x="3" y="1"/>
                    <a:pt x="3" y="1"/>
                  </a:cubicBezTo>
                  <a:cubicBezTo>
                    <a:pt x="2" y="1"/>
                    <a:pt x="1" y="1"/>
                    <a:pt x="0" y="2"/>
                  </a:cubicBezTo>
                  <a:cubicBezTo>
                    <a:pt x="3" y="3"/>
                    <a:pt x="6" y="4"/>
                    <a:pt x="9" y="6"/>
                  </a:cubicBezTo>
                  <a:cubicBezTo>
                    <a:pt x="11" y="5"/>
                    <a:pt x="12" y="4"/>
                    <a:pt x="13" y="4"/>
                  </a:cubicBezTo>
                  <a:cubicBezTo>
                    <a:pt x="13" y="4"/>
                    <a:pt x="13" y="4"/>
                    <a:pt x="13" y="4"/>
                  </a:cubicBezTo>
                  <a:cubicBezTo>
                    <a:pt x="13" y="1"/>
                    <a:pt x="11"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3" name="Freeform 1401">
              <a:extLst>
                <a:ext uri="{FF2B5EF4-FFF2-40B4-BE49-F238E27FC236}">
                  <a16:creationId xmlns:a16="http://schemas.microsoft.com/office/drawing/2014/main" id="{281361A2-9B18-4A5B-8D79-8EA73E21592C}"/>
                </a:ext>
              </a:extLst>
            </p:cNvPr>
            <p:cNvSpPr>
              <a:spLocks/>
            </p:cNvSpPr>
            <p:nvPr/>
          </p:nvSpPr>
          <p:spPr bwMode="auto">
            <a:xfrm>
              <a:off x="3903" y="2435"/>
              <a:ext cx="2" cy="7"/>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0" y="3"/>
                  </a:cubicBezTo>
                  <a:cubicBezTo>
                    <a:pt x="0"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4" name="Freeform 1402">
              <a:extLst>
                <a:ext uri="{FF2B5EF4-FFF2-40B4-BE49-F238E27FC236}">
                  <a16:creationId xmlns:a16="http://schemas.microsoft.com/office/drawing/2014/main" id="{0D91978D-A1E5-4AD0-B0AF-A823918A1890}"/>
                </a:ext>
              </a:extLst>
            </p:cNvPr>
            <p:cNvSpPr>
              <a:spLocks/>
            </p:cNvSpPr>
            <p:nvPr/>
          </p:nvSpPr>
          <p:spPr bwMode="auto">
            <a:xfrm>
              <a:off x="2773" y="1794"/>
              <a:ext cx="10" cy="26"/>
            </a:xfrm>
            <a:custGeom>
              <a:avLst/>
              <a:gdLst>
                <a:gd name="T0" fmla="*/ 3 w 4"/>
                <a:gd name="T1" fmla="*/ 0 h 11"/>
                <a:gd name="T2" fmla="*/ 0 w 4"/>
                <a:gd name="T3" fmla="*/ 2 h 11"/>
                <a:gd name="T4" fmla="*/ 3 w 4"/>
                <a:gd name="T5" fmla="*/ 11 h 11"/>
                <a:gd name="T6" fmla="*/ 4 w 4"/>
                <a:gd name="T7" fmla="*/ 5 h 11"/>
                <a:gd name="T8" fmla="*/ 3 w 4"/>
                <a:gd name="T9" fmla="*/ 0 h 11"/>
              </a:gdLst>
              <a:ahLst/>
              <a:cxnLst>
                <a:cxn ang="0">
                  <a:pos x="T0" y="T1"/>
                </a:cxn>
                <a:cxn ang="0">
                  <a:pos x="T2" y="T3"/>
                </a:cxn>
                <a:cxn ang="0">
                  <a:pos x="T4" y="T5"/>
                </a:cxn>
                <a:cxn ang="0">
                  <a:pos x="T6" y="T7"/>
                </a:cxn>
                <a:cxn ang="0">
                  <a:pos x="T8" y="T9"/>
                </a:cxn>
              </a:cxnLst>
              <a:rect l="0" t="0" r="r" b="b"/>
              <a:pathLst>
                <a:path w="4" h="11">
                  <a:moveTo>
                    <a:pt x="3" y="0"/>
                  </a:moveTo>
                  <a:cubicBezTo>
                    <a:pt x="2" y="1"/>
                    <a:pt x="1" y="2"/>
                    <a:pt x="0" y="2"/>
                  </a:cubicBezTo>
                  <a:cubicBezTo>
                    <a:pt x="1" y="5"/>
                    <a:pt x="2" y="8"/>
                    <a:pt x="3" y="11"/>
                  </a:cubicBezTo>
                  <a:cubicBezTo>
                    <a:pt x="4" y="8"/>
                    <a:pt x="4" y="6"/>
                    <a:pt x="4" y="5"/>
                  </a:cubicBezTo>
                  <a:cubicBezTo>
                    <a:pt x="3" y="4"/>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5" name="Freeform 1403">
              <a:extLst>
                <a:ext uri="{FF2B5EF4-FFF2-40B4-BE49-F238E27FC236}">
                  <a16:creationId xmlns:a16="http://schemas.microsoft.com/office/drawing/2014/main" id="{B445DB55-5F46-4967-9A9C-EFD4543A455E}"/>
                </a:ext>
              </a:extLst>
            </p:cNvPr>
            <p:cNvSpPr>
              <a:spLocks/>
            </p:cNvSpPr>
            <p:nvPr/>
          </p:nvSpPr>
          <p:spPr bwMode="auto">
            <a:xfrm>
              <a:off x="3047" y="3588"/>
              <a:ext cx="114" cy="38"/>
            </a:xfrm>
            <a:custGeom>
              <a:avLst/>
              <a:gdLst>
                <a:gd name="T0" fmla="*/ 30 w 48"/>
                <a:gd name="T1" fmla="*/ 0 h 16"/>
                <a:gd name="T2" fmla="*/ 24 w 48"/>
                <a:gd name="T3" fmla="*/ 0 h 16"/>
                <a:gd name="T4" fmla="*/ 16 w 48"/>
                <a:gd name="T5" fmla="*/ 3 h 16"/>
                <a:gd name="T6" fmla="*/ 7 w 48"/>
                <a:gd name="T7" fmla="*/ 5 h 16"/>
                <a:gd name="T8" fmla="*/ 3 w 48"/>
                <a:gd name="T9" fmla="*/ 12 h 16"/>
                <a:gd name="T10" fmla="*/ 6 w 48"/>
                <a:gd name="T11" fmla="*/ 15 h 16"/>
                <a:gd name="T12" fmla="*/ 8 w 48"/>
                <a:gd name="T13" fmla="*/ 15 h 16"/>
                <a:gd name="T14" fmla="*/ 10 w 48"/>
                <a:gd name="T15" fmla="*/ 15 h 16"/>
                <a:gd name="T16" fmla="*/ 14 w 48"/>
                <a:gd name="T17" fmla="*/ 15 h 16"/>
                <a:gd name="T18" fmla="*/ 18 w 48"/>
                <a:gd name="T19" fmla="*/ 15 h 16"/>
                <a:gd name="T20" fmla="*/ 24 w 48"/>
                <a:gd name="T21" fmla="*/ 14 h 16"/>
                <a:gd name="T22" fmla="*/ 28 w 48"/>
                <a:gd name="T23" fmla="*/ 16 h 16"/>
                <a:gd name="T24" fmla="*/ 37 w 48"/>
                <a:gd name="T25" fmla="*/ 10 h 16"/>
                <a:gd name="T26" fmla="*/ 48 w 48"/>
                <a:gd name="T27" fmla="*/ 9 h 16"/>
                <a:gd name="T28" fmla="*/ 44 w 48"/>
                <a:gd name="T29" fmla="*/ 5 h 16"/>
                <a:gd name="T30" fmla="*/ 43 w 48"/>
                <a:gd name="T31" fmla="*/ 5 h 16"/>
                <a:gd name="T32" fmla="*/ 40 w 48"/>
                <a:gd name="T33" fmla="*/ 7 h 16"/>
                <a:gd name="T34" fmla="*/ 40 w 48"/>
                <a:gd name="T35" fmla="*/ 7 h 16"/>
                <a:gd name="T36" fmla="*/ 37 w 48"/>
                <a:gd name="T37" fmla="*/ 5 h 16"/>
                <a:gd name="T38" fmla="*/ 35 w 48"/>
                <a:gd name="T39" fmla="*/ 4 h 16"/>
                <a:gd name="T40" fmla="*/ 32 w 48"/>
                <a:gd name="T41" fmla="*/ 0 h 16"/>
                <a:gd name="T42" fmla="*/ 30 w 48"/>
                <a:gd name="T4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16">
                  <a:moveTo>
                    <a:pt x="30" y="0"/>
                  </a:moveTo>
                  <a:cubicBezTo>
                    <a:pt x="28" y="0"/>
                    <a:pt x="25" y="0"/>
                    <a:pt x="24" y="0"/>
                  </a:cubicBezTo>
                  <a:cubicBezTo>
                    <a:pt x="22" y="1"/>
                    <a:pt x="19" y="3"/>
                    <a:pt x="16" y="3"/>
                  </a:cubicBezTo>
                  <a:cubicBezTo>
                    <a:pt x="13" y="4"/>
                    <a:pt x="10" y="4"/>
                    <a:pt x="7" y="5"/>
                  </a:cubicBezTo>
                  <a:cubicBezTo>
                    <a:pt x="3" y="6"/>
                    <a:pt x="0" y="9"/>
                    <a:pt x="3" y="12"/>
                  </a:cubicBezTo>
                  <a:cubicBezTo>
                    <a:pt x="6" y="15"/>
                    <a:pt x="6" y="15"/>
                    <a:pt x="6" y="15"/>
                  </a:cubicBezTo>
                  <a:cubicBezTo>
                    <a:pt x="7" y="15"/>
                    <a:pt x="8" y="15"/>
                    <a:pt x="8" y="15"/>
                  </a:cubicBezTo>
                  <a:cubicBezTo>
                    <a:pt x="8" y="15"/>
                    <a:pt x="9" y="15"/>
                    <a:pt x="10" y="15"/>
                  </a:cubicBezTo>
                  <a:cubicBezTo>
                    <a:pt x="11" y="15"/>
                    <a:pt x="13" y="15"/>
                    <a:pt x="14" y="15"/>
                  </a:cubicBezTo>
                  <a:cubicBezTo>
                    <a:pt x="16" y="15"/>
                    <a:pt x="17" y="15"/>
                    <a:pt x="18" y="15"/>
                  </a:cubicBezTo>
                  <a:cubicBezTo>
                    <a:pt x="20" y="15"/>
                    <a:pt x="22" y="14"/>
                    <a:pt x="24" y="14"/>
                  </a:cubicBezTo>
                  <a:cubicBezTo>
                    <a:pt x="25" y="14"/>
                    <a:pt x="27" y="14"/>
                    <a:pt x="28" y="16"/>
                  </a:cubicBezTo>
                  <a:cubicBezTo>
                    <a:pt x="31" y="14"/>
                    <a:pt x="34" y="11"/>
                    <a:pt x="37" y="10"/>
                  </a:cubicBezTo>
                  <a:cubicBezTo>
                    <a:pt x="40" y="9"/>
                    <a:pt x="44" y="9"/>
                    <a:pt x="48" y="9"/>
                  </a:cubicBezTo>
                  <a:cubicBezTo>
                    <a:pt x="47" y="8"/>
                    <a:pt x="46" y="6"/>
                    <a:pt x="44" y="5"/>
                  </a:cubicBezTo>
                  <a:cubicBezTo>
                    <a:pt x="44" y="5"/>
                    <a:pt x="44" y="5"/>
                    <a:pt x="43" y="5"/>
                  </a:cubicBezTo>
                  <a:cubicBezTo>
                    <a:pt x="41" y="5"/>
                    <a:pt x="42" y="7"/>
                    <a:pt x="40" y="7"/>
                  </a:cubicBezTo>
                  <a:cubicBezTo>
                    <a:pt x="40" y="7"/>
                    <a:pt x="40" y="7"/>
                    <a:pt x="40" y="7"/>
                  </a:cubicBezTo>
                  <a:cubicBezTo>
                    <a:pt x="38" y="7"/>
                    <a:pt x="38" y="6"/>
                    <a:pt x="37" y="5"/>
                  </a:cubicBezTo>
                  <a:cubicBezTo>
                    <a:pt x="36" y="5"/>
                    <a:pt x="36" y="6"/>
                    <a:pt x="35" y="4"/>
                  </a:cubicBezTo>
                  <a:cubicBezTo>
                    <a:pt x="33" y="2"/>
                    <a:pt x="34" y="1"/>
                    <a:pt x="32" y="0"/>
                  </a:cubicBezTo>
                  <a:cubicBezTo>
                    <a:pt x="31" y="0"/>
                    <a:pt x="31"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6" name="Freeform 1404">
              <a:extLst>
                <a:ext uri="{FF2B5EF4-FFF2-40B4-BE49-F238E27FC236}">
                  <a16:creationId xmlns:a16="http://schemas.microsoft.com/office/drawing/2014/main" id="{FF1D9B07-9E7A-4FF6-B52F-76447486C9C2}"/>
                </a:ext>
              </a:extLst>
            </p:cNvPr>
            <p:cNvSpPr>
              <a:spLocks/>
            </p:cNvSpPr>
            <p:nvPr/>
          </p:nvSpPr>
          <p:spPr bwMode="auto">
            <a:xfrm>
              <a:off x="2847" y="3331"/>
              <a:ext cx="9" cy="7"/>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2" y="1"/>
                    <a:pt x="1" y="2"/>
                    <a:pt x="0" y="3"/>
                  </a:cubicBezTo>
                  <a:cubicBezTo>
                    <a:pt x="1" y="2"/>
                    <a:pt x="2"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7" name="Freeform 1405">
              <a:extLst>
                <a:ext uri="{FF2B5EF4-FFF2-40B4-BE49-F238E27FC236}">
                  <a16:creationId xmlns:a16="http://schemas.microsoft.com/office/drawing/2014/main" id="{61AC46E7-0E62-4D86-BFD9-06C6B809C5F6}"/>
                </a:ext>
              </a:extLst>
            </p:cNvPr>
            <p:cNvSpPr>
              <a:spLocks/>
            </p:cNvSpPr>
            <p:nvPr/>
          </p:nvSpPr>
          <p:spPr bwMode="auto">
            <a:xfrm>
              <a:off x="3652" y="3804"/>
              <a:ext cx="15" cy="9"/>
            </a:xfrm>
            <a:custGeom>
              <a:avLst/>
              <a:gdLst>
                <a:gd name="T0" fmla="*/ 1 w 6"/>
                <a:gd name="T1" fmla="*/ 0 h 4"/>
                <a:gd name="T2" fmla="*/ 2 w 6"/>
                <a:gd name="T3" fmla="*/ 4 h 4"/>
                <a:gd name="T4" fmla="*/ 6 w 6"/>
                <a:gd name="T5" fmla="*/ 2 h 4"/>
                <a:gd name="T6" fmla="*/ 6 w 6"/>
                <a:gd name="T7" fmla="*/ 2 h 4"/>
                <a:gd name="T8" fmla="*/ 1 w 6"/>
                <a:gd name="T9" fmla="*/ 0 h 4"/>
              </a:gdLst>
              <a:ahLst/>
              <a:cxnLst>
                <a:cxn ang="0">
                  <a:pos x="T0" y="T1"/>
                </a:cxn>
                <a:cxn ang="0">
                  <a:pos x="T2" y="T3"/>
                </a:cxn>
                <a:cxn ang="0">
                  <a:pos x="T4" y="T5"/>
                </a:cxn>
                <a:cxn ang="0">
                  <a:pos x="T6" y="T7"/>
                </a:cxn>
                <a:cxn ang="0">
                  <a:pos x="T8" y="T9"/>
                </a:cxn>
              </a:cxnLst>
              <a:rect l="0" t="0" r="r" b="b"/>
              <a:pathLst>
                <a:path w="6" h="4">
                  <a:moveTo>
                    <a:pt x="1" y="0"/>
                  </a:moveTo>
                  <a:cubicBezTo>
                    <a:pt x="0" y="1"/>
                    <a:pt x="1" y="3"/>
                    <a:pt x="2" y="4"/>
                  </a:cubicBezTo>
                  <a:cubicBezTo>
                    <a:pt x="3" y="3"/>
                    <a:pt x="4" y="2"/>
                    <a:pt x="6" y="2"/>
                  </a:cubicBezTo>
                  <a:cubicBezTo>
                    <a:pt x="6" y="2"/>
                    <a:pt x="6" y="2"/>
                    <a:pt x="6" y="2"/>
                  </a:cubicBezTo>
                  <a:cubicBezTo>
                    <a:pt x="4" y="1"/>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8" name="Freeform 1406">
              <a:extLst>
                <a:ext uri="{FF2B5EF4-FFF2-40B4-BE49-F238E27FC236}">
                  <a16:creationId xmlns:a16="http://schemas.microsoft.com/office/drawing/2014/main" id="{630BBD45-69D2-492A-8A90-EC27504B7B19}"/>
                </a:ext>
              </a:extLst>
            </p:cNvPr>
            <p:cNvSpPr>
              <a:spLocks/>
            </p:cNvSpPr>
            <p:nvPr/>
          </p:nvSpPr>
          <p:spPr bwMode="auto">
            <a:xfrm>
              <a:off x="1599" y="2477"/>
              <a:ext cx="9" cy="17"/>
            </a:xfrm>
            <a:custGeom>
              <a:avLst/>
              <a:gdLst>
                <a:gd name="T0" fmla="*/ 3 w 4"/>
                <a:gd name="T1" fmla="*/ 0 h 7"/>
                <a:gd name="T2" fmla="*/ 0 w 4"/>
                <a:gd name="T3" fmla="*/ 7 h 7"/>
                <a:gd name="T4" fmla="*/ 3 w 4"/>
                <a:gd name="T5" fmla="*/ 0 h 7"/>
              </a:gdLst>
              <a:ahLst/>
              <a:cxnLst>
                <a:cxn ang="0">
                  <a:pos x="T0" y="T1"/>
                </a:cxn>
                <a:cxn ang="0">
                  <a:pos x="T2" y="T3"/>
                </a:cxn>
                <a:cxn ang="0">
                  <a:pos x="T4" y="T5"/>
                </a:cxn>
              </a:cxnLst>
              <a:rect l="0" t="0" r="r" b="b"/>
              <a:pathLst>
                <a:path w="4" h="7">
                  <a:moveTo>
                    <a:pt x="3" y="0"/>
                  </a:moveTo>
                  <a:cubicBezTo>
                    <a:pt x="2" y="2"/>
                    <a:pt x="1" y="5"/>
                    <a:pt x="0" y="7"/>
                  </a:cubicBezTo>
                  <a:cubicBezTo>
                    <a:pt x="2" y="5"/>
                    <a:pt x="4"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9" name="Freeform 1407">
              <a:extLst>
                <a:ext uri="{FF2B5EF4-FFF2-40B4-BE49-F238E27FC236}">
                  <a16:creationId xmlns:a16="http://schemas.microsoft.com/office/drawing/2014/main" id="{BDFE4D36-FC20-4A6E-AE23-E9924BB371AF}"/>
                </a:ext>
              </a:extLst>
            </p:cNvPr>
            <p:cNvSpPr>
              <a:spLocks/>
            </p:cNvSpPr>
            <p:nvPr/>
          </p:nvSpPr>
          <p:spPr bwMode="auto">
            <a:xfrm>
              <a:off x="4009" y="2589"/>
              <a:ext cx="3" cy="9"/>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2"/>
                    <a:pt x="0" y="3"/>
                    <a:pt x="0" y="4"/>
                  </a:cubicBezTo>
                  <a:cubicBezTo>
                    <a:pt x="1" y="3"/>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0" name="Freeform 1408">
              <a:extLst>
                <a:ext uri="{FF2B5EF4-FFF2-40B4-BE49-F238E27FC236}">
                  <a16:creationId xmlns:a16="http://schemas.microsoft.com/office/drawing/2014/main" id="{66663E5F-4ED5-4DFD-A262-292309AB8D33}"/>
                </a:ext>
              </a:extLst>
            </p:cNvPr>
            <p:cNvSpPr>
              <a:spLocks noEditPoints="1"/>
            </p:cNvSpPr>
            <p:nvPr/>
          </p:nvSpPr>
          <p:spPr bwMode="auto">
            <a:xfrm>
              <a:off x="3823" y="3917"/>
              <a:ext cx="47" cy="43"/>
            </a:xfrm>
            <a:custGeom>
              <a:avLst/>
              <a:gdLst>
                <a:gd name="T0" fmla="*/ 14 w 20"/>
                <a:gd name="T1" fmla="*/ 17 h 18"/>
                <a:gd name="T2" fmla="*/ 14 w 20"/>
                <a:gd name="T3" fmla="*/ 17 h 18"/>
                <a:gd name="T4" fmla="*/ 14 w 20"/>
                <a:gd name="T5" fmla="*/ 17 h 18"/>
                <a:gd name="T6" fmla="*/ 5 w 20"/>
                <a:gd name="T7" fmla="*/ 0 h 18"/>
                <a:gd name="T8" fmla="*/ 2 w 20"/>
                <a:gd name="T9" fmla="*/ 4 h 18"/>
                <a:gd name="T10" fmla="*/ 0 w 20"/>
                <a:gd name="T11" fmla="*/ 5 h 18"/>
                <a:gd name="T12" fmla="*/ 7 w 20"/>
                <a:gd name="T13" fmla="*/ 16 h 18"/>
                <a:gd name="T14" fmla="*/ 10 w 20"/>
                <a:gd name="T15" fmla="*/ 18 h 18"/>
                <a:gd name="T16" fmla="*/ 12 w 20"/>
                <a:gd name="T17" fmla="*/ 18 h 18"/>
                <a:gd name="T18" fmla="*/ 12 w 20"/>
                <a:gd name="T19" fmla="*/ 18 h 18"/>
                <a:gd name="T20" fmla="*/ 13 w 20"/>
                <a:gd name="T21" fmla="*/ 17 h 18"/>
                <a:gd name="T22" fmla="*/ 14 w 20"/>
                <a:gd name="T23" fmla="*/ 17 h 18"/>
                <a:gd name="T24" fmla="*/ 14 w 20"/>
                <a:gd name="T25" fmla="*/ 17 h 18"/>
                <a:gd name="T26" fmla="*/ 14 w 20"/>
                <a:gd name="T27" fmla="*/ 17 h 18"/>
                <a:gd name="T28" fmla="*/ 15 w 20"/>
                <a:gd name="T29" fmla="*/ 17 h 18"/>
                <a:gd name="T30" fmla="*/ 15 w 20"/>
                <a:gd name="T31" fmla="*/ 18 h 18"/>
                <a:gd name="T32" fmla="*/ 16 w 20"/>
                <a:gd name="T33" fmla="*/ 17 h 18"/>
                <a:gd name="T34" fmla="*/ 5 w 20"/>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8">
                  <a:moveTo>
                    <a:pt x="14" y="17"/>
                  </a:moveTo>
                  <a:cubicBezTo>
                    <a:pt x="14" y="17"/>
                    <a:pt x="14" y="17"/>
                    <a:pt x="14" y="17"/>
                  </a:cubicBezTo>
                  <a:cubicBezTo>
                    <a:pt x="14" y="17"/>
                    <a:pt x="14" y="17"/>
                    <a:pt x="14" y="17"/>
                  </a:cubicBezTo>
                  <a:moveTo>
                    <a:pt x="5" y="0"/>
                  </a:moveTo>
                  <a:cubicBezTo>
                    <a:pt x="3" y="0"/>
                    <a:pt x="2" y="2"/>
                    <a:pt x="2" y="4"/>
                  </a:cubicBezTo>
                  <a:cubicBezTo>
                    <a:pt x="1" y="4"/>
                    <a:pt x="0" y="4"/>
                    <a:pt x="0" y="5"/>
                  </a:cubicBezTo>
                  <a:cubicBezTo>
                    <a:pt x="0" y="8"/>
                    <a:pt x="6" y="14"/>
                    <a:pt x="7" y="16"/>
                  </a:cubicBezTo>
                  <a:cubicBezTo>
                    <a:pt x="8" y="18"/>
                    <a:pt x="9" y="18"/>
                    <a:pt x="10" y="18"/>
                  </a:cubicBezTo>
                  <a:cubicBezTo>
                    <a:pt x="10" y="18"/>
                    <a:pt x="11" y="18"/>
                    <a:pt x="12" y="18"/>
                  </a:cubicBezTo>
                  <a:cubicBezTo>
                    <a:pt x="12" y="18"/>
                    <a:pt x="12" y="18"/>
                    <a:pt x="12" y="18"/>
                  </a:cubicBezTo>
                  <a:cubicBezTo>
                    <a:pt x="12" y="18"/>
                    <a:pt x="12" y="17"/>
                    <a:pt x="13" y="17"/>
                  </a:cubicBezTo>
                  <a:cubicBezTo>
                    <a:pt x="13" y="17"/>
                    <a:pt x="14" y="17"/>
                    <a:pt x="14" y="17"/>
                  </a:cubicBezTo>
                  <a:cubicBezTo>
                    <a:pt x="14" y="17"/>
                    <a:pt x="14" y="17"/>
                    <a:pt x="14" y="17"/>
                  </a:cubicBezTo>
                  <a:cubicBezTo>
                    <a:pt x="14" y="17"/>
                    <a:pt x="14" y="17"/>
                    <a:pt x="14" y="17"/>
                  </a:cubicBezTo>
                  <a:cubicBezTo>
                    <a:pt x="14" y="17"/>
                    <a:pt x="14" y="17"/>
                    <a:pt x="15" y="17"/>
                  </a:cubicBezTo>
                  <a:cubicBezTo>
                    <a:pt x="15" y="17"/>
                    <a:pt x="15" y="18"/>
                    <a:pt x="15" y="18"/>
                  </a:cubicBezTo>
                  <a:cubicBezTo>
                    <a:pt x="16" y="18"/>
                    <a:pt x="16" y="17"/>
                    <a:pt x="16" y="17"/>
                  </a:cubicBezTo>
                  <a:cubicBezTo>
                    <a:pt x="20" y="13"/>
                    <a:pt x="7" y="2"/>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1" name="Freeform 1409">
              <a:extLst>
                <a:ext uri="{FF2B5EF4-FFF2-40B4-BE49-F238E27FC236}">
                  <a16:creationId xmlns:a16="http://schemas.microsoft.com/office/drawing/2014/main" id="{A103B59C-5CF7-4160-B951-7DA08F11B9B8}"/>
                </a:ext>
              </a:extLst>
            </p:cNvPr>
            <p:cNvSpPr>
              <a:spLocks/>
            </p:cNvSpPr>
            <p:nvPr/>
          </p:nvSpPr>
          <p:spPr bwMode="auto">
            <a:xfrm>
              <a:off x="3615" y="3974"/>
              <a:ext cx="4" cy="14"/>
            </a:xfrm>
            <a:custGeom>
              <a:avLst/>
              <a:gdLst>
                <a:gd name="T0" fmla="*/ 1 w 2"/>
                <a:gd name="T1" fmla="*/ 0 h 6"/>
                <a:gd name="T2" fmla="*/ 0 w 2"/>
                <a:gd name="T3" fmla="*/ 6 h 6"/>
                <a:gd name="T4" fmla="*/ 1 w 2"/>
                <a:gd name="T5" fmla="*/ 0 h 6"/>
              </a:gdLst>
              <a:ahLst/>
              <a:cxnLst>
                <a:cxn ang="0">
                  <a:pos x="T0" y="T1"/>
                </a:cxn>
                <a:cxn ang="0">
                  <a:pos x="T2" y="T3"/>
                </a:cxn>
                <a:cxn ang="0">
                  <a:pos x="T4" y="T5"/>
                </a:cxn>
              </a:cxnLst>
              <a:rect l="0" t="0" r="r" b="b"/>
              <a:pathLst>
                <a:path w="2" h="6">
                  <a:moveTo>
                    <a:pt x="1" y="0"/>
                  </a:moveTo>
                  <a:cubicBezTo>
                    <a:pt x="1" y="2"/>
                    <a:pt x="0" y="4"/>
                    <a:pt x="0" y="6"/>
                  </a:cubicBezTo>
                  <a:cubicBezTo>
                    <a:pt x="1" y="4"/>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2" name="Freeform 1410">
              <a:extLst>
                <a:ext uri="{FF2B5EF4-FFF2-40B4-BE49-F238E27FC236}">
                  <a16:creationId xmlns:a16="http://schemas.microsoft.com/office/drawing/2014/main" id="{8DBD43AD-FCE9-443D-8F86-CA4605BBFC80}"/>
                </a:ext>
              </a:extLst>
            </p:cNvPr>
            <p:cNvSpPr>
              <a:spLocks noEditPoints="1"/>
            </p:cNvSpPr>
            <p:nvPr/>
          </p:nvSpPr>
          <p:spPr bwMode="auto">
            <a:xfrm>
              <a:off x="3605" y="3993"/>
              <a:ext cx="258" cy="243"/>
            </a:xfrm>
            <a:custGeom>
              <a:avLst/>
              <a:gdLst>
                <a:gd name="T0" fmla="*/ 109 w 109"/>
                <a:gd name="T1" fmla="*/ 54 h 103"/>
                <a:gd name="T2" fmla="*/ 109 w 109"/>
                <a:gd name="T3" fmla="*/ 54 h 103"/>
                <a:gd name="T4" fmla="*/ 109 w 109"/>
                <a:gd name="T5" fmla="*/ 54 h 103"/>
                <a:gd name="T6" fmla="*/ 3 w 109"/>
                <a:gd name="T7" fmla="*/ 0 h 103"/>
                <a:gd name="T8" fmla="*/ 2 w 109"/>
                <a:gd name="T9" fmla="*/ 18 h 103"/>
                <a:gd name="T10" fmla="*/ 5 w 109"/>
                <a:gd name="T11" fmla="*/ 28 h 103"/>
                <a:gd name="T12" fmla="*/ 11 w 109"/>
                <a:gd name="T13" fmla="*/ 38 h 103"/>
                <a:gd name="T14" fmla="*/ 18 w 109"/>
                <a:gd name="T15" fmla="*/ 49 h 103"/>
                <a:gd name="T16" fmla="*/ 21 w 109"/>
                <a:gd name="T17" fmla="*/ 56 h 103"/>
                <a:gd name="T18" fmla="*/ 25 w 109"/>
                <a:gd name="T19" fmla="*/ 65 h 103"/>
                <a:gd name="T20" fmla="*/ 17 w 109"/>
                <a:gd name="T21" fmla="*/ 54 h 103"/>
                <a:gd name="T22" fmla="*/ 18 w 109"/>
                <a:gd name="T23" fmla="*/ 63 h 103"/>
                <a:gd name="T24" fmla="*/ 25 w 109"/>
                <a:gd name="T25" fmla="*/ 78 h 103"/>
                <a:gd name="T26" fmla="*/ 29 w 109"/>
                <a:gd name="T27" fmla="*/ 81 h 103"/>
                <a:gd name="T28" fmla="*/ 33 w 109"/>
                <a:gd name="T29" fmla="*/ 87 h 103"/>
                <a:gd name="T30" fmla="*/ 36 w 109"/>
                <a:gd name="T31" fmla="*/ 92 h 103"/>
                <a:gd name="T32" fmla="*/ 38 w 109"/>
                <a:gd name="T33" fmla="*/ 90 h 103"/>
                <a:gd name="T34" fmla="*/ 40 w 109"/>
                <a:gd name="T35" fmla="*/ 90 h 103"/>
                <a:gd name="T36" fmla="*/ 47 w 109"/>
                <a:gd name="T37" fmla="*/ 95 h 103"/>
                <a:gd name="T38" fmla="*/ 46 w 109"/>
                <a:gd name="T39" fmla="*/ 95 h 103"/>
                <a:gd name="T40" fmla="*/ 45 w 109"/>
                <a:gd name="T41" fmla="*/ 96 h 103"/>
                <a:gd name="T42" fmla="*/ 44 w 109"/>
                <a:gd name="T43" fmla="*/ 95 h 103"/>
                <a:gd name="T44" fmla="*/ 41 w 109"/>
                <a:gd name="T45" fmla="*/ 101 h 103"/>
                <a:gd name="T46" fmla="*/ 55 w 109"/>
                <a:gd name="T47" fmla="*/ 98 h 103"/>
                <a:gd name="T48" fmla="*/ 56 w 109"/>
                <a:gd name="T49" fmla="*/ 99 h 103"/>
                <a:gd name="T50" fmla="*/ 68 w 109"/>
                <a:gd name="T51" fmla="*/ 103 h 103"/>
                <a:gd name="T52" fmla="*/ 72 w 109"/>
                <a:gd name="T53" fmla="*/ 92 h 103"/>
                <a:gd name="T54" fmla="*/ 70 w 109"/>
                <a:gd name="T55" fmla="*/ 85 h 103"/>
                <a:gd name="T56" fmla="*/ 75 w 109"/>
                <a:gd name="T57" fmla="*/ 92 h 103"/>
                <a:gd name="T58" fmla="*/ 78 w 109"/>
                <a:gd name="T59" fmla="*/ 82 h 103"/>
                <a:gd name="T60" fmla="*/ 78 w 109"/>
                <a:gd name="T61" fmla="*/ 74 h 103"/>
                <a:gd name="T62" fmla="*/ 85 w 109"/>
                <a:gd name="T63" fmla="*/ 82 h 103"/>
                <a:gd name="T64" fmla="*/ 86 w 109"/>
                <a:gd name="T65" fmla="*/ 76 h 103"/>
                <a:gd name="T66" fmla="*/ 86 w 109"/>
                <a:gd name="T67" fmla="*/ 76 h 103"/>
                <a:gd name="T68" fmla="*/ 96 w 109"/>
                <a:gd name="T69" fmla="*/ 83 h 103"/>
                <a:gd name="T70" fmla="*/ 90 w 109"/>
                <a:gd name="T71" fmla="*/ 88 h 103"/>
                <a:gd name="T72" fmla="*/ 94 w 109"/>
                <a:gd name="T73" fmla="*/ 90 h 103"/>
                <a:gd name="T74" fmla="*/ 98 w 109"/>
                <a:gd name="T75" fmla="*/ 89 h 103"/>
                <a:gd name="T76" fmla="*/ 97 w 109"/>
                <a:gd name="T77" fmla="*/ 83 h 103"/>
                <a:gd name="T78" fmla="*/ 97 w 109"/>
                <a:gd name="T79" fmla="*/ 77 h 103"/>
                <a:gd name="T80" fmla="*/ 95 w 109"/>
                <a:gd name="T81" fmla="*/ 78 h 103"/>
                <a:gd name="T82" fmla="*/ 97 w 109"/>
                <a:gd name="T83" fmla="*/ 61 h 103"/>
                <a:gd name="T84" fmla="*/ 103 w 109"/>
                <a:gd name="T85" fmla="*/ 49 h 103"/>
                <a:gd name="T86" fmla="*/ 109 w 109"/>
                <a:gd name="T87" fmla="*/ 54 h 103"/>
                <a:gd name="T88" fmla="*/ 108 w 109"/>
                <a:gd name="T89" fmla="*/ 49 h 103"/>
                <a:gd name="T90" fmla="*/ 107 w 109"/>
                <a:gd name="T91" fmla="*/ 46 h 103"/>
                <a:gd name="T92" fmla="*/ 107 w 109"/>
                <a:gd name="T93" fmla="*/ 29 h 103"/>
                <a:gd name="T94" fmla="*/ 108 w 109"/>
                <a:gd name="T95" fmla="*/ 11 h 103"/>
                <a:gd name="T96" fmla="*/ 105 w 109"/>
                <a:gd name="T97" fmla="*/ 8 h 103"/>
                <a:gd name="T98" fmla="*/ 98 w 109"/>
                <a:gd name="T99" fmla="*/ 3 h 103"/>
                <a:gd name="T100" fmla="*/ 98 w 109"/>
                <a:gd name="T101" fmla="*/ 3 h 103"/>
                <a:gd name="T102" fmla="*/ 90 w 109"/>
                <a:gd name="T103" fmla="*/ 7 h 103"/>
                <a:gd name="T104" fmla="*/ 67 w 109"/>
                <a:gd name="T105" fmla="*/ 13 h 103"/>
                <a:gd name="T106" fmla="*/ 68 w 109"/>
                <a:gd name="T107" fmla="*/ 18 h 103"/>
                <a:gd name="T108" fmla="*/ 59 w 109"/>
                <a:gd name="T109" fmla="*/ 16 h 103"/>
                <a:gd name="T110" fmla="*/ 59 w 109"/>
                <a:gd name="T111" fmla="*/ 16 h 103"/>
                <a:gd name="T112" fmla="*/ 52 w 109"/>
                <a:gd name="T113" fmla="*/ 18 h 103"/>
                <a:gd name="T114" fmla="*/ 51 w 109"/>
                <a:gd name="T115" fmla="*/ 18 h 103"/>
                <a:gd name="T116" fmla="*/ 37 w 109"/>
                <a:gd name="T117" fmla="*/ 14 h 103"/>
                <a:gd name="T118" fmla="*/ 25 w 109"/>
                <a:gd name="T119" fmla="*/ 7 h 103"/>
                <a:gd name="T120" fmla="*/ 10 w 109"/>
                <a:gd name="T121" fmla="*/ 2 h 103"/>
                <a:gd name="T122" fmla="*/ 8 w 109"/>
                <a:gd name="T123" fmla="*/ 3 h 103"/>
                <a:gd name="T124" fmla="*/ 3 w 109"/>
                <a:gd name="T12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 h="103">
                  <a:moveTo>
                    <a:pt x="109" y="54"/>
                  </a:moveTo>
                  <a:cubicBezTo>
                    <a:pt x="109" y="54"/>
                    <a:pt x="109" y="54"/>
                    <a:pt x="109" y="54"/>
                  </a:cubicBezTo>
                  <a:cubicBezTo>
                    <a:pt x="109" y="54"/>
                    <a:pt x="109" y="54"/>
                    <a:pt x="109" y="54"/>
                  </a:cubicBezTo>
                  <a:moveTo>
                    <a:pt x="3" y="0"/>
                  </a:moveTo>
                  <a:cubicBezTo>
                    <a:pt x="1" y="7"/>
                    <a:pt x="0" y="11"/>
                    <a:pt x="2" y="18"/>
                  </a:cubicBezTo>
                  <a:cubicBezTo>
                    <a:pt x="3" y="21"/>
                    <a:pt x="3" y="25"/>
                    <a:pt x="5" y="28"/>
                  </a:cubicBezTo>
                  <a:cubicBezTo>
                    <a:pt x="7" y="31"/>
                    <a:pt x="9" y="34"/>
                    <a:pt x="11" y="38"/>
                  </a:cubicBezTo>
                  <a:cubicBezTo>
                    <a:pt x="14" y="41"/>
                    <a:pt x="19" y="45"/>
                    <a:pt x="18" y="49"/>
                  </a:cubicBezTo>
                  <a:cubicBezTo>
                    <a:pt x="18" y="53"/>
                    <a:pt x="18" y="54"/>
                    <a:pt x="21" y="56"/>
                  </a:cubicBezTo>
                  <a:cubicBezTo>
                    <a:pt x="24" y="59"/>
                    <a:pt x="28" y="60"/>
                    <a:pt x="25" y="65"/>
                  </a:cubicBezTo>
                  <a:cubicBezTo>
                    <a:pt x="23" y="61"/>
                    <a:pt x="20" y="57"/>
                    <a:pt x="17" y="54"/>
                  </a:cubicBezTo>
                  <a:cubicBezTo>
                    <a:pt x="18" y="56"/>
                    <a:pt x="18" y="60"/>
                    <a:pt x="18" y="63"/>
                  </a:cubicBezTo>
                  <a:cubicBezTo>
                    <a:pt x="19" y="67"/>
                    <a:pt x="22" y="75"/>
                    <a:pt x="25" y="78"/>
                  </a:cubicBezTo>
                  <a:cubicBezTo>
                    <a:pt x="27" y="80"/>
                    <a:pt x="28" y="80"/>
                    <a:pt x="29" y="81"/>
                  </a:cubicBezTo>
                  <a:cubicBezTo>
                    <a:pt x="30" y="83"/>
                    <a:pt x="32" y="85"/>
                    <a:pt x="33" y="87"/>
                  </a:cubicBezTo>
                  <a:cubicBezTo>
                    <a:pt x="34" y="88"/>
                    <a:pt x="35" y="92"/>
                    <a:pt x="36" y="92"/>
                  </a:cubicBezTo>
                  <a:cubicBezTo>
                    <a:pt x="37" y="92"/>
                    <a:pt x="37" y="91"/>
                    <a:pt x="38" y="90"/>
                  </a:cubicBezTo>
                  <a:cubicBezTo>
                    <a:pt x="38" y="90"/>
                    <a:pt x="39" y="90"/>
                    <a:pt x="40" y="90"/>
                  </a:cubicBezTo>
                  <a:cubicBezTo>
                    <a:pt x="43" y="90"/>
                    <a:pt x="48" y="93"/>
                    <a:pt x="47" y="95"/>
                  </a:cubicBezTo>
                  <a:cubicBezTo>
                    <a:pt x="47" y="95"/>
                    <a:pt x="46" y="95"/>
                    <a:pt x="46" y="95"/>
                  </a:cubicBezTo>
                  <a:cubicBezTo>
                    <a:pt x="46" y="95"/>
                    <a:pt x="45" y="95"/>
                    <a:pt x="45" y="96"/>
                  </a:cubicBezTo>
                  <a:cubicBezTo>
                    <a:pt x="45" y="95"/>
                    <a:pt x="44" y="95"/>
                    <a:pt x="44" y="95"/>
                  </a:cubicBezTo>
                  <a:cubicBezTo>
                    <a:pt x="42" y="95"/>
                    <a:pt x="42" y="99"/>
                    <a:pt x="41" y="101"/>
                  </a:cubicBezTo>
                  <a:cubicBezTo>
                    <a:pt x="45" y="100"/>
                    <a:pt x="50" y="98"/>
                    <a:pt x="55" y="98"/>
                  </a:cubicBezTo>
                  <a:cubicBezTo>
                    <a:pt x="55" y="98"/>
                    <a:pt x="55" y="98"/>
                    <a:pt x="56" y="99"/>
                  </a:cubicBezTo>
                  <a:cubicBezTo>
                    <a:pt x="60" y="99"/>
                    <a:pt x="64" y="101"/>
                    <a:pt x="68" y="103"/>
                  </a:cubicBezTo>
                  <a:cubicBezTo>
                    <a:pt x="68" y="98"/>
                    <a:pt x="68" y="95"/>
                    <a:pt x="72" y="92"/>
                  </a:cubicBezTo>
                  <a:cubicBezTo>
                    <a:pt x="71" y="90"/>
                    <a:pt x="68" y="87"/>
                    <a:pt x="70" y="85"/>
                  </a:cubicBezTo>
                  <a:cubicBezTo>
                    <a:pt x="71" y="87"/>
                    <a:pt x="73" y="90"/>
                    <a:pt x="75" y="92"/>
                  </a:cubicBezTo>
                  <a:cubicBezTo>
                    <a:pt x="77" y="88"/>
                    <a:pt x="78" y="86"/>
                    <a:pt x="78" y="82"/>
                  </a:cubicBezTo>
                  <a:cubicBezTo>
                    <a:pt x="78" y="79"/>
                    <a:pt x="77" y="77"/>
                    <a:pt x="78" y="74"/>
                  </a:cubicBezTo>
                  <a:cubicBezTo>
                    <a:pt x="81" y="77"/>
                    <a:pt x="82" y="79"/>
                    <a:pt x="85" y="82"/>
                  </a:cubicBezTo>
                  <a:cubicBezTo>
                    <a:pt x="86" y="80"/>
                    <a:pt x="83" y="77"/>
                    <a:pt x="86" y="76"/>
                  </a:cubicBezTo>
                  <a:cubicBezTo>
                    <a:pt x="86" y="76"/>
                    <a:pt x="86" y="76"/>
                    <a:pt x="86" y="76"/>
                  </a:cubicBezTo>
                  <a:cubicBezTo>
                    <a:pt x="88" y="76"/>
                    <a:pt x="94" y="81"/>
                    <a:pt x="96" y="83"/>
                  </a:cubicBezTo>
                  <a:cubicBezTo>
                    <a:pt x="94" y="83"/>
                    <a:pt x="90" y="85"/>
                    <a:pt x="90" y="88"/>
                  </a:cubicBezTo>
                  <a:cubicBezTo>
                    <a:pt x="90" y="89"/>
                    <a:pt x="92" y="90"/>
                    <a:pt x="94" y="90"/>
                  </a:cubicBezTo>
                  <a:cubicBezTo>
                    <a:pt x="96" y="90"/>
                    <a:pt x="98" y="89"/>
                    <a:pt x="98" y="89"/>
                  </a:cubicBezTo>
                  <a:cubicBezTo>
                    <a:pt x="99" y="87"/>
                    <a:pt x="97" y="86"/>
                    <a:pt x="97" y="83"/>
                  </a:cubicBezTo>
                  <a:cubicBezTo>
                    <a:pt x="98" y="82"/>
                    <a:pt x="99" y="77"/>
                    <a:pt x="97" y="77"/>
                  </a:cubicBezTo>
                  <a:cubicBezTo>
                    <a:pt x="97" y="77"/>
                    <a:pt x="96" y="77"/>
                    <a:pt x="95" y="78"/>
                  </a:cubicBezTo>
                  <a:cubicBezTo>
                    <a:pt x="95" y="73"/>
                    <a:pt x="97" y="66"/>
                    <a:pt x="97" y="61"/>
                  </a:cubicBezTo>
                  <a:cubicBezTo>
                    <a:pt x="98" y="56"/>
                    <a:pt x="103" y="53"/>
                    <a:pt x="103" y="49"/>
                  </a:cubicBezTo>
                  <a:cubicBezTo>
                    <a:pt x="106" y="49"/>
                    <a:pt x="108" y="52"/>
                    <a:pt x="109" y="54"/>
                  </a:cubicBezTo>
                  <a:cubicBezTo>
                    <a:pt x="108" y="52"/>
                    <a:pt x="108" y="50"/>
                    <a:pt x="108" y="49"/>
                  </a:cubicBezTo>
                  <a:cubicBezTo>
                    <a:pt x="108" y="48"/>
                    <a:pt x="107" y="47"/>
                    <a:pt x="107" y="46"/>
                  </a:cubicBezTo>
                  <a:cubicBezTo>
                    <a:pt x="107" y="40"/>
                    <a:pt x="106" y="35"/>
                    <a:pt x="107" y="29"/>
                  </a:cubicBezTo>
                  <a:cubicBezTo>
                    <a:pt x="107" y="24"/>
                    <a:pt x="109" y="16"/>
                    <a:pt x="108" y="11"/>
                  </a:cubicBezTo>
                  <a:cubicBezTo>
                    <a:pt x="107" y="10"/>
                    <a:pt x="106" y="8"/>
                    <a:pt x="105" y="8"/>
                  </a:cubicBezTo>
                  <a:cubicBezTo>
                    <a:pt x="105" y="7"/>
                    <a:pt x="98" y="3"/>
                    <a:pt x="98" y="3"/>
                  </a:cubicBezTo>
                  <a:cubicBezTo>
                    <a:pt x="98" y="3"/>
                    <a:pt x="98" y="3"/>
                    <a:pt x="98" y="3"/>
                  </a:cubicBezTo>
                  <a:cubicBezTo>
                    <a:pt x="95" y="5"/>
                    <a:pt x="93" y="7"/>
                    <a:pt x="90" y="7"/>
                  </a:cubicBezTo>
                  <a:cubicBezTo>
                    <a:pt x="83" y="10"/>
                    <a:pt x="75" y="12"/>
                    <a:pt x="67" y="13"/>
                  </a:cubicBezTo>
                  <a:cubicBezTo>
                    <a:pt x="63" y="14"/>
                    <a:pt x="64" y="16"/>
                    <a:pt x="68" y="18"/>
                  </a:cubicBezTo>
                  <a:cubicBezTo>
                    <a:pt x="65" y="17"/>
                    <a:pt x="62" y="16"/>
                    <a:pt x="59" y="16"/>
                  </a:cubicBezTo>
                  <a:cubicBezTo>
                    <a:pt x="59" y="16"/>
                    <a:pt x="59" y="16"/>
                    <a:pt x="59" y="16"/>
                  </a:cubicBezTo>
                  <a:cubicBezTo>
                    <a:pt x="57" y="16"/>
                    <a:pt x="54" y="18"/>
                    <a:pt x="52" y="18"/>
                  </a:cubicBezTo>
                  <a:cubicBezTo>
                    <a:pt x="52" y="18"/>
                    <a:pt x="52" y="18"/>
                    <a:pt x="51" y="18"/>
                  </a:cubicBezTo>
                  <a:cubicBezTo>
                    <a:pt x="46" y="18"/>
                    <a:pt x="42" y="15"/>
                    <a:pt x="37" y="14"/>
                  </a:cubicBezTo>
                  <a:cubicBezTo>
                    <a:pt x="33" y="12"/>
                    <a:pt x="29" y="9"/>
                    <a:pt x="25" y="7"/>
                  </a:cubicBezTo>
                  <a:cubicBezTo>
                    <a:pt x="22" y="6"/>
                    <a:pt x="15" y="2"/>
                    <a:pt x="10" y="2"/>
                  </a:cubicBezTo>
                  <a:cubicBezTo>
                    <a:pt x="9" y="2"/>
                    <a:pt x="9" y="2"/>
                    <a:pt x="8" y="3"/>
                  </a:cubicBezTo>
                  <a:cubicBezTo>
                    <a:pt x="9" y="1"/>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3" name="Freeform 1411">
              <a:extLst>
                <a:ext uri="{FF2B5EF4-FFF2-40B4-BE49-F238E27FC236}">
                  <a16:creationId xmlns:a16="http://schemas.microsoft.com/office/drawing/2014/main" id="{CA4E5BDE-793B-4F0C-B997-A63CC75CF3A5}"/>
                </a:ext>
              </a:extLst>
            </p:cNvPr>
            <p:cNvSpPr>
              <a:spLocks/>
            </p:cNvSpPr>
            <p:nvPr/>
          </p:nvSpPr>
          <p:spPr bwMode="auto">
            <a:xfrm>
              <a:off x="2629" y="1811"/>
              <a:ext cx="81" cy="52"/>
            </a:xfrm>
            <a:custGeom>
              <a:avLst/>
              <a:gdLst>
                <a:gd name="T0" fmla="*/ 26 w 34"/>
                <a:gd name="T1" fmla="*/ 0 h 22"/>
                <a:gd name="T2" fmla="*/ 25 w 34"/>
                <a:gd name="T3" fmla="*/ 6 h 22"/>
                <a:gd name="T4" fmla="*/ 22 w 34"/>
                <a:gd name="T5" fmla="*/ 2 h 22"/>
                <a:gd name="T6" fmla="*/ 20 w 34"/>
                <a:gd name="T7" fmla="*/ 3 h 22"/>
                <a:gd name="T8" fmla="*/ 10 w 34"/>
                <a:gd name="T9" fmla="*/ 6 h 22"/>
                <a:gd name="T10" fmla="*/ 8 w 34"/>
                <a:gd name="T11" fmla="*/ 6 h 22"/>
                <a:gd name="T12" fmla="*/ 0 w 34"/>
                <a:gd name="T13" fmla="*/ 1 h 22"/>
                <a:gd name="T14" fmla="*/ 5 w 34"/>
                <a:gd name="T15" fmla="*/ 14 h 22"/>
                <a:gd name="T16" fmla="*/ 10 w 34"/>
                <a:gd name="T17" fmla="*/ 18 h 22"/>
                <a:gd name="T18" fmla="*/ 16 w 34"/>
                <a:gd name="T19" fmla="*/ 22 h 22"/>
                <a:gd name="T20" fmla="*/ 17 w 34"/>
                <a:gd name="T21" fmla="*/ 22 h 22"/>
                <a:gd name="T22" fmla="*/ 29 w 34"/>
                <a:gd name="T23" fmla="*/ 13 h 22"/>
                <a:gd name="T24" fmla="*/ 34 w 34"/>
                <a:gd name="T25" fmla="*/ 7 h 22"/>
                <a:gd name="T26" fmla="*/ 31 w 34"/>
                <a:gd name="T27" fmla="*/ 3 h 22"/>
                <a:gd name="T28" fmla="*/ 26 w 34"/>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2">
                  <a:moveTo>
                    <a:pt x="26" y="0"/>
                  </a:moveTo>
                  <a:cubicBezTo>
                    <a:pt x="24" y="0"/>
                    <a:pt x="23" y="2"/>
                    <a:pt x="25" y="6"/>
                  </a:cubicBezTo>
                  <a:cubicBezTo>
                    <a:pt x="23" y="3"/>
                    <a:pt x="23" y="2"/>
                    <a:pt x="22" y="2"/>
                  </a:cubicBezTo>
                  <a:cubicBezTo>
                    <a:pt x="21" y="2"/>
                    <a:pt x="21" y="2"/>
                    <a:pt x="20" y="3"/>
                  </a:cubicBezTo>
                  <a:cubicBezTo>
                    <a:pt x="16" y="3"/>
                    <a:pt x="13" y="5"/>
                    <a:pt x="10" y="6"/>
                  </a:cubicBezTo>
                  <a:cubicBezTo>
                    <a:pt x="9" y="6"/>
                    <a:pt x="9" y="6"/>
                    <a:pt x="8" y="6"/>
                  </a:cubicBezTo>
                  <a:cubicBezTo>
                    <a:pt x="5" y="6"/>
                    <a:pt x="4" y="2"/>
                    <a:pt x="0" y="1"/>
                  </a:cubicBezTo>
                  <a:cubicBezTo>
                    <a:pt x="1" y="5"/>
                    <a:pt x="2" y="11"/>
                    <a:pt x="5" y="14"/>
                  </a:cubicBezTo>
                  <a:cubicBezTo>
                    <a:pt x="7" y="15"/>
                    <a:pt x="8" y="17"/>
                    <a:pt x="10" y="18"/>
                  </a:cubicBezTo>
                  <a:cubicBezTo>
                    <a:pt x="11" y="19"/>
                    <a:pt x="16" y="21"/>
                    <a:pt x="16" y="22"/>
                  </a:cubicBezTo>
                  <a:cubicBezTo>
                    <a:pt x="17" y="22"/>
                    <a:pt x="17" y="22"/>
                    <a:pt x="17" y="22"/>
                  </a:cubicBezTo>
                  <a:cubicBezTo>
                    <a:pt x="20" y="22"/>
                    <a:pt x="26" y="14"/>
                    <a:pt x="29" y="13"/>
                  </a:cubicBezTo>
                  <a:cubicBezTo>
                    <a:pt x="31" y="12"/>
                    <a:pt x="34" y="10"/>
                    <a:pt x="34" y="7"/>
                  </a:cubicBezTo>
                  <a:cubicBezTo>
                    <a:pt x="34" y="5"/>
                    <a:pt x="32" y="5"/>
                    <a:pt x="31" y="3"/>
                  </a:cubicBezTo>
                  <a:cubicBezTo>
                    <a:pt x="30" y="1"/>
                    <a:pt x="28"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4" name="Freeform 1412">
              <a:extLst>
                <a:ext uri="{FF2B5EF4-FFF2-40B4-BE49-F238E27FC236}">
                  <a16:creationId xmlns:a16="http://schemas.microsoft.com/office/drawing/2014/main" id="{4A23B08B-4BCC-4DF4-A113-2B5A017FECFC}"/>
                </a:ext>
              </a:extLst>
            </p:cNvPr>
            <p:cNvSpPr>
              <a:spLocks/>
            </p:cNvSpPr>
            <p:nvPr/>
          </p:nvSpPr>
          <p:spPr bwMode="auto">
            <a:xfrm>
              <a:off x="4177" y="2771"/>
              <a:ext cx="33" cy="78"/>
            </a:xfrm>
            <a:custGeom>
              <a:avLst/>
              <a:gdLst>
                <a:gd name="T0" fmla="*/ 9 w 14"/>
                <a:gd name="T1" fmla="*/ 0 h 33"/>
                <a:gd name="T2" fmla="*/ 6 w 14"/>
                <a:gd name="T3" fmla="*/ 3 h 33"/>
                <a:gd name="T4" fmla="*/ 2 w 14"/>
                <a:gd name="T5" fmla="*/ 16 h 33"/>
                <a:gd name="T6" fmla="*/ 1 w 14"/>
                <a:gd name="T7" fmla="*/ 24 h 33"/>
                <a:gd name="T8" fmla="*/ 4 w 14"/>
                <a:gd name="T9" fmla="*/ 33 h 33"/>
                <a:gd name="T10" fmla="*/ 11 w 14"/>
                <a:gd name="T11" fmla="*/ 13 h 33"/>
                <a:gd name="T12" fmla="*/ 11 w 14"/>
                <a:gd name="T13" fmla="*/ 5 h 33"/>
                <a:gd name="T14" fmla="*/ 9 w 14"/>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3">
                  <a:moveTo>
                    <a:pt x="9" y="0"/>
                  </a:moveTo>
                  <a:cubicBezTo>
                    <a:pt x="8" y="0"/>
                    <a:pt x="7" y="1"/>
                    <a:pt x="6" y="3"/>
                  </a:cubicBezTo>
                  <a:cubicBezTo>
                    <a:pt x="14" y="7"/>
                    <a:pt x="4" y="12"/>
                    <a:pt x="2" y="16"/>
                  </a:cubicBezTo>
                  <a:cubicBezTo>
                    <a:pt x="5" y="16"/>
                    <a:pt x="2" y="22"/>
                    <a:pt x="1" y="24"/>
                  </a:cubicBezTo>
                  <a:cubicBezTo>
                    <a:pt x="0" y="26"/>
                    <a:pt x="0" y="31"/>
                    <a:pt x="4" y="33"/>
                  </a:cubicBezTo>
                  <a:cubicBezTo>
                    <a:pt x="6" y="27"/>
                    <a:pt x="9" y="20"/>
                    <a:pt x="11" y="13"/>
                  </a:cubicBezTo>
                  <a:cubicBezTo>
                    <a:pt x="13" y="9"/>
                    <a:pt x="12" y="9"/>
                    <a:pt x="11" y="5"/>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5" name="Freeform 1413">
              <a:extLst>
                <a:ext uri="{FF2B5EF4-FFF2-40B4-BE49-F238E27FC236}">
                  <a16:creationId xmlns:a16="http://schemas.microsoft.com/office/drawing/2014/main" id="{E5734755-AD0D-4463-A54F-1D043EA34556}"/>
                </a:ext>
              </a:extLst>
            </p:cNvPr>
            <p:cNvSpPr>
              <a:spLocks/>
            </p:cNvSpPr>
            <p:nvPr/>
          </p:nvSpPr>
          <p:spPr bwMode="auto">
            <a:xfrm>
              <a:off x="3021" y="1962"/>
              <a:ext cx="8" cy="12"/>
            </a:xfrm>
            <a:custGeom>
              <a:avLst/>
              <a:gdLst>
                <a:gd name="T0" fmla="*/ 0 w 3"/>
                <a:gd name="T1" fmla="*/ 0 h 5"/>
                <a:gd name="T2" fmla="*/ 2 w 3"/>
                <a:gd name="T3" fmla="*/ 5 h 5"/>
                <a:gd name="T4" fmla="*/ 0 w 3"/>
                <a:gd name="T5" fmla="*/ 0 h 5"/>
              </a:gdLst>
              <a:ahLst/>
              <a:cxnLst>
                <a:cxn ang="0">
                  <a:pos x="T0" y="T1"/>
                </a:cxn>
                <a:cxn ang="0">
                  <a:pos x="T2" y="T3"/>
                </a:cxn>
                <a:cxn ang="0">
                  <a:pos x="T4" y="T5"/>
                </a:cxn>
              </a:cxnLst>
              <a:rect l="0" t="0" r="r" b="b"/>
              <a:pathLst>
                <a:path w="3" h="5">
                  <a:moveTo>
                    <a:pt x="0" y="0"/>
                  </a:moveTo>
                  <a:cubicBezTo>
                    <a:pt x="1" y="2"/>
                    <a:pt x="1" y="3"/>
                    <a:pt x="2" y="5"/>
                  </a:cubicBezTo>
                  <a:cubicBezTo>
                    <a:pt x="3"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6" name="Freeform 1414">
              <a:extLst>
                <a:ext uri="{FF2B5EF4-FFF2-40B4-BE49-F238E27FC236}">
                  <a16:creationId xmlns:a16="http://schemas.microsoft.com/office/drawing/2014/main" id="{5031CBBC-39AC-47D7-B2A7-0309330DD397}"/>
                </a:ext>
              </a:extLst>
            </p:cNvPr>
            <p:cNvSpPr>
              <a:spLocks/>
            </p:cNvSpPr>
            <p:nvPr/>
          </p:nvSpPr>
          <p:spPr bwMode="auto">
            <a:xfrm>
              <a:off x="3251" y="2217"/>
              <a:ext cx="9" cy="10"/>
            </a:xfrm>
            <a:custGeom>
              <a:avLst/>
              <a:gdLst>
                <a:gd name="T0" fmla="*/ 2 w 4"/>
                <a:gd name="T1" fmla="*/ 0 h 4"/>
                <a:gd name="T2" fmla="*/ 0 w 4"/>
                <a:gd name="T3" fmla="*/ 4 h 4"/>
                <a:gd name="T4" fmla="*/ 4 w 4"/>
                <a:gd name="T5" fmla="*/ 2 h 4"/>
                <a:gd name="T6" fmla="*/ 2 w 4"/>
                <a:gd name="T7" fmla="*/ 0 h 4"/>
              </a:gdLst>
              <a:ahLst/>
              <a:cxnLst>
                <a:cxn ang="0">
                  <a:pos x="T0" y="T1"/>
                </a:cxn>
                <a:cxn ang="0">
                  <a:pos x="T2" y="T3"/>
                </a:cxn>
                <a:cxn ang="0">
                  <a:pos x="T4" y="T5"/>
                </a:cxn>
                <a:cxn ang="0">
                  <a:pos x="T6" y="T7"/>
                </a:cxn>
              </a:cxnLst>
              <a:rect l="0" t="0" r="r" b="b"/>
              <a:pathLst>
                <a:path w="4" h="4">
                  <a:moveTo>
                    <a:pt x="2" y="0"/>
                  </a:moveTo>
                  <a:cubicBezTo>
                    <a:pt x="1" y="0"/>
                    <a:pt x="0" y="3"/>
                    <a:pt x="0" y="4"/>
                  </a:cubicBezTo>
                  <a:cubicBezTo>
                    <a:pt x="1" y="4"/>
                    <a:pt x="4" y="4"/>
                    <a:pt x="4" y="2"/>
                  </a:cubicBezTo>
                  <a:cubicBezTo>
                    <a:pt x="3" y="1"/>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7" name="Freeform 1415">
              <a:extLst>
                <a:ext uri="{FF2B5EF4-FFF2-40B4-BE49-F238E27FC236}">
                  <a16:creationId xmlns:a16="http://schemas.microsoft.com/office/drawing/2014/main" id="{57EBE0E7-14F9-40DF-9EB7-14A5D976A9A0}"/>
                </a:ext>
              </a:extLst>
            </p:cNvPr>
            <p:cNvSpPr>
              <a:spLocks/>
            </p:cNvSpPr>
            <p:nvPr/>
          </p:nvSpPr>
          <p:spPr bwMode="auto">
            <a:xfrm>
              <a:off x="3440" y="1768"/>
              <a:ext cx="9" cy="12"/>
            </a:xfrm>
            <a:custGeom>
              <a:avLst/>
              <a:gdLst>
                <a:gd name="T0" fmla="*/ 0 w 4"/>
                <a:gd name="T1" fmla="*/ 0 h 5"/>
                <a:gd name="T2" fmla="*/ 0 w 4"/>
                <a:gd name="T3" fmla="*/ 5 h 5"/>
                <a:gd name="T4" fmla="*/ 0 w 4"/>
                <a:gd name="T5" fmla="*/ 0 h 5"/>
              </a:gdLst>
              <a:ahLst/>
              <a:cxnLst>
                <a:cxn ang="0">
                  <a:pos x="T0" y="T1"/>
                </a:cxn>
                <a:cxn ang="0">
                  <a:pos x="T2" y="T3"/>
                </a:cxn>
                <a:cxn ang="0">
                  <a:pos x="T4" y="T5"/>
                </a:cxn>
              </a:cxnLst>
              <a:rect l="0" t="0" r="r" b="b"/>
              <a:pathLst>
                <a:path w="4" h="5">
                  <a:moveTo>
                    <a:pt x="0" y="0"/>
                  </a:moveTo>
                  <a:cubicBezTo>
                    <a:pt x="0" y="2"/>
                    <a:pt x="0" y="4"/>
                    <a:pt x="0" y="5"/>
                  </a:cubicBezTo>
                  <a:cubicBezTo>
                    <a:pt x="4" y="5"/>
                    <a:pt x="2"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8" name="Freeform 1416">
              <a:extLst>
                <a:ext uri="{FF2B5EF4-FFF2-40B4-BE49-F238E27FC236}">
                  <a16:creationId xmlns:a16="http://schemas.microsoft.com/office/drawing/2014/main" id="{2F8197A1-DDBA-4FCD-974B-E495A396F83D}"/>
                </a:ext>
              </a:extLst>
            </p:cNvPr>
            <p:cNvSpPr>
              <a:spLocks/>
            </p:cNvSpPr>
            <p:nvPr/>
          </p:nvSpPr>
          <p:spPr bwMode="auto">
            <a:xfrm>
              <a:off x="4208" y="2967"/>
              <a:ext cx="12" cy="26"/>
            </a:xfrm>
            <a:custGeom>
              <a:avLst/>
              <a:gdLst>
                <a:gd name="T0" fmla="*/ 3 w 5"/>
                <a:gd name="T1" fmla="*/ 0 h 11"/>
                <a:gd name="T2" fmla="*/ 1 w 5"/>
                <a:gd name="T3" fmla="*/ 11 h 11"/>
                <a:gd name="T4" fmla="*/ 4 w 5"/>
                <a:gd name="T5" fmla="*/ 3 h 11"/>
                <a:gd name="T6" fmla="*/ 3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0" y="0"/>
                    <a:pt x="1" y="9"/>
                    <a:pt x="1" y="11"/>
                  </a:cubicBezTo>
                  <a:cubicBezTo>
                    <a:pt x="2" y="9"/>
                    <a:pt x="4" y="5"/>
                    <a:pt x="4" y="3"/>
                  </a:cubicBezTo>
                  <a:cubicBezTo>
                    <a:pt x="4" y="2"/>
                    <a:pt x="5"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9" name="Freeform 1417">
              <a:extLst>
                <a:ext uri="{FF2B5EF4-FFF2-40B4-BE49-F238E27FC236}">
                  <a16:creationId xmlns:a16="http://schemas.microsoft.com/office/drawing/2014/main" id="{4D54580A-AD46-4AB6-97D0-A929BD174D47}"/>
                </a:ext>
              </a:extLst>
            </p:cNvPr>
            <p:cNvSpPr>
              <a:spLocks/>
            </p:cNvSpPr>
            <p:nvPr/>
          </p:nvSpPr>
          <p:spPr bwMode="auto">
            <a:xfrm>
              <a:off x="3624" y="3971"/>
              <a:ext cx="5" cy="7"/>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0" name="Freeform 1418">
              <a:extLst>
                <a:ext uri="{FF2B5EF4-FFF2-40B4-BE49-F238E27FC236}">
                  <a16:creationId xmlns:a16="http://schemas.microsoft.com/office/drawing/2014/main" id="{955030A9-B33B-46A6-819D-80995954D223}"/>
                </a:ext>
              </a:extLst>
            </p:cNvPr>
            <p:cNvSpPr>
              <a:spLocks/>
            </p:cNvSpPr>
            <p:nvPr/>
          </p:nvSpPr>
          <p:spPr bwMode="auto">
            <a:xfrm>
              <a:off x="3021" y="3539"/>
              <a:ext cx="8" cy="9"/>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2"/>
                    <a:pt x="2" y="3"/>
                    <a:pt x="3" y="4"/>
                  </a:cubicBezTo>
                  <a:cubicBezTo>
                    <a:pt x="2" y="3"/>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1" name="Freeform 1419">
              <a:extLst>
                <a:ext uri="{FF2B5EF4-FFF2-40B4-BE49-F238E27FC236}">
                  <a16:creationId xmlns:a16="http://schemas.microsoft.com/office/drawing/2014/main" id="{2354A1F1-EC47-473C-83C8-C13E3B1823B9}"/>
                </a:ext>
              </a:extLst>
            </p:cNvPr>
            <p:cNvSpPr>
              <a:spLocks/>
            </p:cNvSpPr>
            <p:nvPr/>
          </p:nvSpPr>
          <p:spPr bwMode="auto">
            <a:xfrm>
              <a:off x="3905" y="2442"/>
              <a:ext cx="10" cy="12"/>
            </a:xfrm>
            <a:custGeom>
              <a:avLst/>
              <a:gdLst>
                <a:gd name="T0" fmla="*/ 0 w 4"/>
                <a:gd name="T1" fmla="*/ 0 h 5"/>
                <a:gd name="T2" fmla="*/ 0 w 4"/>
                <a:gd name="T3" fmla="*/ 5 h 5"/>
                <a:gd name="T4" fmla="*/ 0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0" y="2"/>
                    <a:pt x="0" y="3"/>
                    <a:pt x="0" y="5"/>
                  </a:cubicBezTo>
                  <a:cubicBezTo>
                    <a:pt x="0" y="5"/>
                    <a:pt x="0" y="5"/>
                    <a:pt x="0" y="5"/>
                  </a:cubicBezTo>
                  <a:cubicBezTo>
                    <a:pt x="4" y="5"/>
                    <a:pt x="1"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2" name="Freeform 1420">
              <a:extLst>
                <a:ext uri="{FF2B5EF4-FFF2-40B4-BE49-F238E27FC236}">
                  <a16:creationId xmlns:a16="http://schemas.microsoft.com/office/drawing/2014/main" id="{9748B1C4-88EE-479A-8B74-A4B9AAE3BF1A}"/>
                </a:ext>
              </a:extLst>
            </p:cNvPr>
            <p:cNvSpPr>
              <a:spLocks/>
            </p:cNvSpPr>
            <p:nvPr/>
          </p:nvSpPr>
          <p:spPr bwMode="auto">
            <a:xfrm>
              <a:off x="3050" y="2113"/>
              <a:ext cx="7" cy="8"/>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2" y="3"/>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3" name="Freeform 1421">
              <a:extLst>
                <a:ext uri="{FF2B5EF4-FFF2-40B4-BE49-F238E27FC236}">
                  <a16:creationId xmlns:a16="http://schemas.microsoft.com/office/drawing/2014/main" id="{5B606909-84AC-4BDD-9B22-EEE33B8A9E58}"/>
                </a:ext>
              </a:extLst>
            </p:cNvPr>
            <p:cNvSpPr>
              <a:spLocks/>
            </p:cNvSpPr>
            <p:nvPr/>
          </p:nvSpPr>
          <p:spPr bwMode="auto">
            <a:xfrm>
              <a:off x="3029" y="1983"/>
              <a:ext cx="7" cy="15"/>
            </a:xfrm>
            <a:custGeom>
              <a:avLst/>
              <a:gdLst>
                <a:gd name="T0" fmla="*/ 1 w 3"/>
                <a:gd name="T1" fmla="*/ 0 h 6"/>
                <a:gd name="T2" fmla="*/ 0 w 3"/>
                <a:gd name="T3" fmla="*/ 6 h 6"/>
                <a:gd name="T4" fmla="*/ 1 w 3"/>
                <a:gd name="T5" fmla="*/ 0 h 6"/>
              </a:gdLst>
              <a:ahLst/>
              <a:cxnLst>
                <a:cxn ang="0">
                  <a:pos x="T0" y="T1"/>
                </a:cxn>
                <a:cxn ang="0">
                  <a:pos x="T2" y="T3"/>
                </a:cxn>
                <a:cxn ang="0">
                  <a:pos x="T4" y="T5"/>
                </a:cxn>
              </a:cxnLst>
              <a:rect l="0" t="0" r="r" b="b"/>
              <a:pathLst>
                <a:path w="3" h="6">
                  <a:moveTo>
                    <a:pt x="1" y="0"/>
                  </a:moveTo>
                  <a:cubicBezTo>
                    <a:pt x="1" y="0"/>
                    <a:pt x="0" y="2"/>
                    <a:pt x="0" y="6"/>
                  </a:cubicBezTo>
                  <a:cubicBezTo>
                    <a:pt x="3" y="4"/>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4" name="Freeform 1422">
              <a:extLst>
                <a:ext uri="{FF2B5EF4-FFF2-40B4-BE49-F238E27FC236}">
                  <a16:creationId xmlns:a16="http://schemas.microsoft.com/office/drawing/2014/main" id="{D0A7C940-C7F8-4F87-AFBE-BA0205E337AF}"/>
                </a:ext>
              </a:extLst>
            </p:cNvPr>
            <p:cNvSpPr>
              <a:spLocks/>
            </p:cNvSpPr>
            <p:nvPr/>
          </p:nvSpPr>
          <p:spPr bwMode="auto">
            <a:xfrm>
              <a:off x="3085" y="2118"/>
              <a:ext cx="5" cy="17"/>
            </a:xfrm>
            <a:custGeom>
              <a:avLst/>
              <a:gdLst>
                <a:gd name="T0" fmla="*/ 0 w 2"/>
                <a:gd name="T1" fmla="*/ 0 h 7"/>
                <a:gd name="T2" fmla="*/ 1 w 2"/>
                <a:gd name="T3" fmla="*/ 7 h 7"/>
                <a:gd name="T4" fmla="*/ 0 w 2"/>
                <a:gd name="T5" fmla="*/ 0 h 7"/>
              </a:gdLst>
              <a:ahLst/>
              <a:cxnLst>
                <a:cxn ang="0">
                  <a:pos x="T0" y="T1"/>
                </a:cxn>
                <a:cxn ang="0">
                  <a:pos x="T2" y="T3"/>
                </a:cxn>
                <a:cxn ang="0">
                  <a:pos x="T4" y="T5"/>
                </a:cxn>
              </a:cxnLst>
              <a:rect l="0" t="0" r="r" b="b"/>
              <a:pathLst>
                <a:path w="2" h="7">
                  <a:moveTo>
                    <a:pt x="0" y="0"/>
                  </a:moveTo>
                  <a:cubicBezTo>
                    <a:pt x="0" y="2"/>
                    <a:pt x="0" y="5"/>
                    <a:pt x="1" y="7"/>
                  </a:cubicBezTo>
                  <a:cubicBezTo>
                    <a:pt x="1"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5" name="Freeform 1423">
              <a:extLst>
                <a:ext uri="{FF2B5EF4-FFF2-40B4-BE49-F238E27FC236}">
                  <a16:creationId xmlns:a16="http://schemas.microsoft.com/office/drawing/2014/main" id="{E5967EAD-DFBE-4DAF-BCED-108CF812DB72}"/>
                </a:ext>
              </a:extLst>
            </p:cNvPr>
            <p:cNvSpPr>
              <a:spLocks/>
            </p:cNvSpPr>
            <p:nvPr/>
          </p:nvSpPr>
          <p:spPr bwMode="auto">
            <a:xfrm>
              <a:off x="3641" y="3815"/>
              <a:ext cx="16" cy="10"/>
            </a:xfrm>
            <a:custGeom>
              <a:avLst/>
              <a:gdLst>
                <a:gd name="T0" fmla="*/ 3 w 7"/>
                <a:gd name="T1" fmla="*/ 0 h 4"/>
                <a:gd name="T2" fmla="*/ 0 w 7"/>
                <a:gd name="T3" fmla="*/ 2 h 4"/>
                <a:gd name="T4" fmla="*/ 7 w 7"/>
                <a:gd name="T5" fmla="*/ 4 h 4"/>
                <a:gd name="T6" fmla="*/ 3 w 7"/>
                <a:gd name="T7" fmla="*/ 0 h 4"/>
              </a:gdLst>
              <a:ahLst/>
              <a:cxnLst>
                <a:cxn ang="0">
                  <a:pos x="T0" y="T1"/>
                </a:cxn>
                <a:cxn ang="0">
                  <a:pos x="T2" y="T3"/>
                </a:cxn>
                <a:cxn ang="0">
                  <a:pos x="T4" y="T5"/>
                </a:cxn>
                <a:cxn ang="0">
                  <a:pos x="T6" y="T7"/>
                </a:cxn>
              </a:cxnLst>
              <a:rect l="0" t="0" r="r" b="b"/>
              <a:pathLst>
                <a:path w="7" h="4">
                  <a:moveTo>
                    <a:pt x="3" y="0"/>
                  </a:moveTo>
                  <a:cubicBezTo>
                    <a:pt x="2" y="0"/>
                    <a:pt x="1" y="1"/>
                    <a:pt x="0" y="2"/>
                  </a:cubicBezTo>
                  <a:cubicBezTo>
                    <a:pt x="2" y="3"/>
                    <a:pt x="4" y="3"/>
                    <a:pt x="7" y="4"/>
                  </a:cubicBezTo>
                  <a:cubicBezTo>
                    <a:pt x="6" y="2"/>
                    <a:pt x="5"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6" name="Freeform 1424">
              <a:extLst>
                <a:ext uri="{FF2B5EF4-FFF2-40B4-BE49-F238E27FC236}">
                  <a16:creationId xmlns:a16="http://schemas.microsoft.com/office/drawing/2014/main" id="{BF6A85F5-4BC6-42F9-8234-E2337E5F9BE4}"/>
                </a:ext>
              </a:extLst>
            </p:cNvPr>
            <p:cNvSpPr>
              <a:spLocks/>
            </p:cNvSpPr>
            <p:nvPr/>
          </p:nvSpPr>
          <p:spPr bwMode="auto">
            <a:xfrm>
              <a:off x="3442" y="1738"/>
              <a:ext cx="10" cy="9"/>
            </a:xfrm>
            <a:custGeom>
              <a:avLst/>
              <a:gdLst>
                <a:gd name="T0" fmla="*/ 2 w 4"/>
                <a:gd name="T1" fmla="*/ 0 h 4"/>
                <a:gd name="T2" fmla="*/ 2 w 4"/>
                <a:gd name="T3" fmla="*/ 4 h 4"/>
                <a:gd name="T4" fmla="*/ 2 w 4"/>
                <a:gd name="T5" fmla="*/ 0 h 4"/>
              </a:gdLst>
              <a:ahLst/>
              <a:cxnLst>
                <a:cxn ang="0">
                  <a:pos x="T0" y="T1"/>
                </a:cxn>
                <a:cxn ang="0">
                  <a:pos x="T2" y="T3"/>
                </a:cxn>
                <a:cxn ang="0">
                  <a:pos x="T4" y="T5"/>
                </a:cxn>
              </a:cxnLst>
              <a:rect l="0" t="0" r="r" b="b"/>
              <a:pathLst>
                <a:path w="4" h="4">
                  <a:moveTo>
                    <a:pt x="2" y="0"/>
                  </a:moveTo>
                  <a:cubicBezTo>
                    <a:pt x="1" y="0"/>
                    <a:pt x="0" y="1"/>
                    <a:pt x="2" y="4"/>
                  </a:cubicBezTo>
                  <a:cubicBezTo>
                    <a:pt x="4" y="2"/>
                    <a:pt x="3"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7" name="Freeform 1425">
              <a:extLst>
                <a:ext uri="{FF2B5EF4-FFF2-40B4-BE49-F238E27FC236}">
                  <a16:creationId xmlns:a16="http://schemas.microsoft.com/office/drawing/2014/main" id="{B569B8FE-7C8E-448E-A0D0-BC5C1C8771DA}"/>
                </a:ext>
              </a:extLst>
            </p:cNvPr>
            <p:cNvSpPr>
              <a:spLocks/>
            </p:cNvSpPr>
            <p:nvPr/>
          </p:nvSpPr>
          <p:spPr bwMode="auto">
            <a:xfrm>
              <a:off x="3969" y="2579"/>
              <a:ext cx="2" cy="12"/>
            </a:xfrm>
            <a:custGeom>
              <a:avLst/>
              <a:gdLst>
                <a:gd name="T0" fmla="*/ 0 w 1"/>
                <a:gd name="T1" fmla="*/ 0 h 5"/>
                <a:gd name="T2" fmla="*/ 0 w 1"/>
                <a:gd name="T3" fmla="*/ 5 h 5"/>
                <a:gd name="T4" fmla="*/ 0 w 1"/>
                <a:gd name="T5" fmla="*/ 0 h 5"/>
              </a:gdLst>
              <a:ahLst/>
              <a:cxnLst>
                <a:cxn ang="0">
                  <a:pos x="T0" y="T1"/>
                </a:cxn>
                <a:cxn ang="0">
                  <a:pos x="T2" y="T3"/>
                </a:cxn>
                <a:cxn ang="0">
                  <a:pos x="T4" y="T5"/>
                </a:cxn>
              </a:cxnLst>
              <a:rect l="0" t="0" r="r" b="b"/>
              <a:pathLst>
                <a:path w="1" h="5">
                  <a:moveTo>
                    <a:pt x="0" y="0"/>
                  </a:moveTo>
                  <a:cubicBezTo>
                    <a:pt x="0" y="1"/>
                    <a:pt x="0" y="3"/>
                    <a:pt x="0" y="5"/>
                  </a:cubicBezTo>
                  <a:cubicBezTo>
                    <a:pt x="1"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8" name="Freeform 1426">
              <a:extLst>
                <a:ext uri="{FF2B5EF4-FFF2-40B4-BE49-F238E27FC236}">
                  <a16:creationId xmlns:a16="http://schemas.microsoft.com/office/drawing/2014/main" id="{E889C6C8-3DAB-478D-8943-6DCB9F6F8FF4}"/>
                </a:ext>
              </a:extLst>
            </p:cNvPr>
            <p:cNvSpPr>
              <a:spLocks/>
            </p:cNvSpPr>
            <p:nvPr/>
          </p:nvSpPr>
          <p:spPr bwMode="auto">
            <a:xfrm>
              <a:off x="3775" y="4194"/>
              <a:ext cx="24" cy="35"/>
            </a:xfrm>
            <a:custGeom>
              <a:avLst/>
              <a:gdLst>
                <a:gd name="T0" fmla="*/ 8 w 10"/>
                <a:gd name="T1" fmla="*/ 0 h 15"/>
                <a:gd name="T2" fmla="*/ 4 w 10"/>
                <a:gd name="T3" fmla="*/ 10 h 15"/>
                <a:gd name="T4" fmla="*/ 4 w 10"/>
                <a:gd name="T5" fmla="*/ 9 h 15"/>
                <a:gd name="T6" fmla="*/ 3 w 10"/>
                <a:gd name="T7" fmla="*/ 11 h 15"/>
                <a:gd name="T8" fmla="*/ 3 w 10"/>
                <a:gd name="T9" fmla="*/ 13 h 15"/>
                <a:gd name="T10" fmla="*/ 0 w 10"/>
                <a:gd name="T11" fmla="*/ 12 h 15"/>
                <a:gd name="T12" fmla="*/ 3 w 10"/>
                <a:gd name="T13" fmla="*/ 14 h 15"/>
                <a:gd name="T14" fmla="*/ 5 w 10"/>
                <a:gd name="T15" fmla="*/ 15 h 15"/>
                <a:gd name="T16" fmla="*/ 8 w 10"/>
                <a:gd name="T17" fmla="*/ 6 h 15"/>
                <a:gd name="T18" fmla="*/ 8 w 10"/>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8" y="0"/>
                  </a:moveTo>
                  <a:cubicBezTo>
                    <a:pt x="6" y="3"/>
                    <a:pt x="5" y="7"/>
                    <a:pt x="4" y="10"/>
                  </a:cubicBezTo>
                  <a:cubicBezTo>
                    <a:pt x="4" y="9"/>
                    <a:pt x="4" y="9"/>
                    <a:pt x="4" y="9"/>
                  </a:cubicBezTo>
                  <a:cubicBezTo>
                    <a:pt x="4" y="9"/>
                    <a:pt x="3" y="10"/>
                    <a:pt x="3" y="11"/>
                  </a:cubicBezTo>
                  <a:cubicBezTo>
                    <a:pt x="2" y="11"/>
                    <a:pt x="3" y="12"/>
                    <a:pt x="3" y="13"/>
                  </a:cubicBezTo>
                  <a:cubicBezTo>
                    <a:pt x="3" y="12"/>
                    <a:pt x="1" y="12"/>
                    <a:pt x="0" y="12"/>
                  </a:cubicBezTo>
                  <a:cubicBezTo>
                    <a:pt x="0" y="12"/>
                    <a:pt x="0" y="12"/>
                    <a:pt x="3" y="14"/>
                  </a:cubicBezTo>
                  <a:cubicBezTo>
                    <a:pt x="3" y="14"/>
                    <a:pt x="4" y="15"/>
                    <a:pt x="5" y="15"/>
                  </a:cubicBezTo>
                  <a:cubicBezTo>
                    <a:pt x="8" y="15"/>
                    <a:pt x="8" y="9"/>
                    <a:pt x="8" y="6"/>
                  </a:cubicBezTo>
                  <a:cubicBezTo>
                    <a:pt x="9" y="4"/>
                    <a:pt x="10"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9" name="Freeform 1427">
              <a:extLst>
                <a:ext uri="{FF2B5EF4-FFF2-40B4-BE49-F238E27FC236}">
                  <a16:creationId xmlns:a16="http://schemas.microsoft.com/office/drawing/2014/main" id="{1836AF70-5DC0-456D-BD31-5EA3C3E0442A}"/>
                </a:ext>
              </a:extLst>
            </p:cNvPr>
            <p:cNvSpPr>
              <a:spLocks/>
            </p:cNvSpPr>
            <p:nvPr/>
          </p:nvSpPr>
          <p:spPr bwMode="auto">
            <a:xfrm>
              <a:off x="3846" y="3981"/>
              <a:ext cx="7" cy="7"/>
            </a:xfrm>
            <a:custGeom>
              <a:avLst/>
              <a:gdLst>
                <a:gd name="T0" fmla="*/ 3 w 3"/>
                <a:gd name="T1" fmla="*/ 0 h 3"/>
                <a:gd name="T2" fmla="*/ 0 w 3"/>
                <a:gd name="T3" fmla="*/ 1 h 3"/>
                <a:gd name="T4" fmla="*/ 2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2" y="0"/>
                    <a:pt x="1" y="0"/>
                    <a:pt x="0" y="1"/>
                  </a:cubicBezTo>
                  <a:cubicBezTo>
                    <a:pt x="0" y="2"/>
                    <a:pt x="1" y="3"/>
                    <a:pt x="2" y="3"/>
                  </a:cubicBezTo>
                  <a:cubicBezTo>
                    <a:pt x="3" y="2"/>
                    <a:pt x="3" y="1"/>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0" name="Freeform 1428">
              <a:extLst>
                <a:ext uri="{FF2B5EF4-FFF2-40B4-BE49-F238E27FC236}">
                  <a16:creationId xmlns:a16="http://schemas.microsoft.com/office/drawing/2014/main" id="{70209A30-CFFD-4B23-A461-DC618F25D6C7}"/>
                </a:ext>
              </a:extLst>
            </p:cNvPr>
            <p:cNvSpPr>
              <a:spLocks/>
            </p:cNvSpPr>
            <p:nvPr/>
          </p:nvSpPr>
          <p:spPr bwMode="auto">
            <a:xfrm>
              <a:off x="3029" y="1865"/>
              <a:ext cx="7" cy="7"/>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1" y="3"/>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1" name="Freeform 1429">
              <a:extLst>
                <a:ext uri="{FF2B5EF4-FFF2-40B4-BE49-F238E27FC236}">
                  <a16:creationId xmlns:a16="http://schemas.microsoft.com/office/drawing/2014/main" id="{C03502D0-0D88-45B0-AA54-C97173F55C01}"/>
                </a:ext>
              </a:extLst>
            </p:cNvPr>
            <p:cNvSpPr>
              <a:spLocks/>
            </p:cNvSpPr>
            <p:nvPr/>
          </p:nvSpPr>
          <p:spPr bwMode="auto">
            <a:xfrm>
              <a:off x="4047" y="2678"/>
              <a:ext cx="17" cy="24"/>
            </a:xfrm>
            <a:custGeom>
              <a:avLst/>
              <a:gdLst>
                <a:gd name="T0" fmla="*/ 0 w 7"/>
                <a:gd name="T1" fmla="*/ 0 h 10"/>
                <a:gd name="T2" fmla="*/ 4 w 7"/>
                <a:gd name="T3" fmla="*/ 8 h 10"/>
                <a:gd name="T4" fmla="*/ 6 w 7"/>
                <a:gd name="T5" fmla="*/ 10 h 10"/>
                <a:gd name="T6" fmla="*/ 5 w 7"/>
                <a:gd name="T7" fmla="*/ 3 h 10"/>
                <a:gd name="T8" fmla="*/ 0 w 7"/>
                <a:gd name="T9" fmla="*/ 0 h 10"/>
              </a:gdLst>
              <a:ahLst/>
              <a:cxnLst>
                <a:cxn ang="0">
                  <a:pos x="T0" y="T1"/>
                </a:cxn>
                <a:cxn ang="0">
                  <a:pos x="T2" y="T3"/>
                </a:cxn>
                <a:cxn ang="0">
                  <a:pos x="T4" y="T5"/>
                </a:cxn>
                <a:cxn ang="0">
                  <a:pos x="T6" y="T7"/>
                </a:cxn>
                <a:cxn ang="0">
                  <a:pos x="T8" y="T9"/>
                </a:cxn>
              </a:cxnLst>
              <a:rect l="0" t="0" r="r" b="b"/>
              <a:pathLst>
                <a:path w="7" h="10">
                  <a:moveTo>
                    <a:pt x="0" y="0"/>
                  </a:moveTo>
                  <a:cubicBezTo>
                    <a:pt x="1" y="3"/>
                    <a:pt x="3" y="6"/>
                    <a:pt x="4" y="8"/>
                  </a:cubicBezTo>
                  <a:cubicBezTo>
                    <a:pt x="5" y="9"/>
                    <a:pt x="5" y="9"/>
                    <a:pt x="6" y="10"/>
                  </a:cubicBezTo>
                  <a:cubicBezTo>
                    <a:pt x="7" y="9"/>
                    <a:pt x="6" y="4"/>
                    <a:pt x="5" y="3"/>
                  </a:cubicBezTo>
                  <a:cubicBezTo>
                    <a:pt x="4"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2" name="Freeform 1430">
              <a:extLst>
                <a:ext uri="{FF2B5EF4-FFF2-40B4-BE49-F238E27FC236}">
                  <a16:creationId xmlns:a16="http://schemas.microsoft.com/office/drawing/2014/main" id="{5552AA83-638B-4BEA-A594-8C4F4D4C41F0}"/>
                </a:ext>
              </a:extLst>
            </p:cNvPr>
            <p:cNvSpPr>
              <a:spLocks/>
            </p:cNvSpPr>
            <p:nvPr/>
          </p:nvSpPr>
          <p:spPr bwMode="auto">
            <a:xfrm>
              <a:off x="4210" y="2945"/>
              <a:ext cx="2" cy="19"/>
            </a:xfrm>
            <a:custGeom>
              <a:avLst/>
              <a:gdLst>
                <a:gd name="T0" fmla="*/ 1 w 1"/>
                <a:gd name="T1" fmla="*/ 0 h 8"/>
                <a:gd name="T2" fmla="*/ 0 w 1"/>
                <a:gd name="T3" fmla="*/ 8 h 8"/>
                <a:gd name="T4" fmla="*/ 1 w 1"/>
                <a:gd name="T5" fmla="*/ 0 h 8"/>
              </a:gdLst>
              <a:ahLst/>
              <a:cxnLst>
                <a:cxn ang="0">
                  <a:pos x="T0" y="T1"/>
                </a:cxn>
                <a:cxn ang="0">
                  <a:pos x="T2" y="T3"/>
                </a:cxn>
                <a:cxn ang="0">
                  <a:pos x="T4" y="T5"/>
                </a:cxn>
              </a:cxnLst>
              <a:rect l="0" t="0" r="r" b="b"/>
              <a:pathLst>
                <a:path w="1" h="8">
                  <a:moveTo>
                    <a:pt x="1" y="0"/>
                  </a:moveTo>
                  <a:cubicBezTo>
                    <a:pt x="0" y="3"/>
                    <a:pt x="0" y="5"/>
                    <a:pt x="0" y="8"/>
                  </a:cubicBezTo>
                  <a:cubicBezTo>
                    <a:pt x="0" y="5"/>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3" name="Freeform 1431">
              <a:extLst>
                <a:ext uri="{FF2B5EF4-FFF2-40B4-BE49-F238E27FC236}">
                  <a16:creationId xmlns:a16="http://schemas.microsoft.com/office/drawing/2014/main" id="{8493B97D-A825-4ED3-B53D-A821A2F70817}"/>
                </a:ext>
              </a:extLst>
            </p:cNvPr>
            <p:cNvSpPr>
              <a:spLocks/>
            </p:cNvSpPr>
            <p:nvPr/>
          </p:nvSpPr>
          <p:spPr bwMode="auto">
            <a:xfrm>
              <a:off x="3050" y="1799"/>
              <a:ext cx="19" cy="31"/>
            </a:xfrm>
            <a:custGeom>
              <a:avLst/>
              <a:gdLst>
                <a:gd name="T0" fmla="*/ 8 w 8"/>
                <a:gd name="T1" fmla="*/ 0 h 13"/>
                <a:gd name="T2" fmla="*/ 0 w 8"/>
                <a:gd name="T3" fmla="*/ 13 h 13"/>
                <a:gd name="T4" fmla="*/ 8 w 8"/>
                <a:gd name="T5" fmla="*/ 0 h 13"/>
              </a:gdLst>
              <a:ahLst/>
              <a:cxnLst>
                <a:cxn ang="0">
                  <a:pos x="T0" y="T1"/>
                </a:cxn>
                <a:cxn ang="0">
                  <a:pos x="T2" y="T3"/>
                </a:cxn>
                <a:cxn ang="0">
                  <a:pos x="T4" y="T5"/>
                </a:cxn>
              </a:cxnLst>
              <a:rect l="0" t="0" r="r" b="b"/>
              <a:pathLst>
                <a:path w="8" h="13">
                  <a:moveTo>
                    <a:pt x="8" y="0"/>
                  </a:moveTo>
                  <a:cubicBezTo>
                    <a:pt x="5" y="4"/>
                    <a:pt x="2" y="8"/>
                    <a:pt x="0" y="13"/>
                  </a:cubicBezTo>
                  <a:cubicBezTo>
                    <a:pt x="4" y="9"/>
                    <a:pt x="6" y="5"/>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4" name="Freeform 1432">
              <a:extLst>
                <a:ext uri="{FF2B5EF4-FFF2-40B4-BE49-F238E27FC236}">
                  <a16:creationId xmlns:a16="http://schemas.microsoft.com/office/drawing/2014/main" id="{0A52739C-E7FB-4D7D-AF60-332E29D4AC1B}"/>
                </a:ext>
              </a:extLst>
            </p:cNvPr>
            <p:cNvSpPr>
              <a:spLocks/>
            </p:cNvSpPr>
            <p:nvPr/>
          </p:nvSpPr>
          <p:spPr bwMode="auto">
            <a:xfrm>
              <a:off x="2601" y="1820"/>
              <a:ext cx="45" cy="36"/>
            </a:xfrm>
            <a:custGeom>
              <a:avLst/>
              <a:gdLst>
                <a:gd name="T0" fmla="*/ 10 w 19"/>
                <a:gd name="T1" fmla="*/ 0 h 15"/>
                <a:gd name="T2" fmla="*/ 6 w 19"/>
                <a:gd name="T3" fmla="*/ 4 h 15"/>
                <a:gd name="T4" fmla="*/ 7 w 19"/>
                <a:gd name="T5" fmla="*/ 10 h 15"/>
                <a:gd name="T6" fmla="*/ 5 w 19"/>
                <a:gd name="T7" fmla="*/ 11 h 15"/>
                <a:gd name="T8" fmla="*/ 5 w 19"/>
                <a:gd name="T9" fmla="*/ 10 h 15"/>
                <a:gd name="T10" fmla="*/ 4 w 19"/>
                <a:gd name="T11" fmla="*/ 10 h 15"/>
                <a:gd name="T12" fmla="*/ 4 w 19"/>
                <a:gd name="T13" fmla="*/ 10 h 15"/>
                <a:gd name="T14" fmla="*/ 2 w 19"/>
                <a:gd name="T15" fmla="*/ 13 h 15"/>
                <a:gd name="T16" fmla="*/ 3 w 19"/>
                <a:gd name="T17" fmla="*/ 14 h 15"/>
                <a:gd name="T18" fmla="*/ 15 w 19"/>
                <a:gd name="T19" fmla="*/ 15 h 15"/>
                <a:gd name="T20" fmla="*/ 16 w 19"/>
                <a:gd name="T21" fmla="*/ 15 h 15"/>
                <a:gd name="T22" fmla="*/ 19 w 19"/>
                <a:gd name="T23" fmla="*/ 13 h 15"/>
                <a:gd name="T24" fmla="*/ 15 w 19"/>
                <a:gd name="T25" fmla="*/ 11 h 15"/>
                <a:gd name="T26" fmla="*/ 14 w 19"/>
                <a:gd name="T27" fmla="*/ 11 h 15"/>
                <a:gd name="T28" fmla="*/ 12 w 19"/>
                <a:gd name="T29" fmla="*/ 4 h 15"/>
                <a:gd name="T30" fmla="*/ 11 w 19"/>
                <a:gd name="T31" fmla="*/ 1 h 15"/>
                <a:gd name="T32" fmla="*/ 10 w 19"/>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5">
                  <a:moveTo>
                    <a:pt x="10" y="0"/>
                  </a:moveTo>
                  <a:cubicBezTo>
                    <a:pt x="8" y="0"/>
                    <a:pt x="6" y="2"/>
                    <a:pt x="6" y="4"/>
                  </a:cubicBezTo>
                  <a:cubicBezTo>
                    <a:pt x="5" y="5"/>
                    <a:pt x="8" y="8"/>
                    <a:pt x="7" y="10"/>
                  </a:cubicBezTo>
                  <a:cubicBezTo>
                    <a:pt x="6" y="10"/>
                    <a:pt x="6" y="11"/>
                    <a:pt x="5" y="11"/>
                  </a:cubicBezTo>
                  <a:cubicBezTo>
                    <a:pt x="5" y="11"/>
                    <a:pt x="5" y="10"/>
                    <a:pt x="5" y="10"/>
                  </a:cubicBezTo>
                  <a:cubicBezTo>
                    <a:pt x="4" y="10"/>
                    <a:pt x="4" y="10"/>
                    <a:pt x="4" y="10"/>
                  </a:cubicBezTo>
                  <a:cubicBezTo>
                    <a:pt x="4" y="10"/>
                    <a:pt x="4" y="10"/>
                    <a:pt x="4" y="10"/>
                  </a:cubicBezTo>
                  <a:cubicBezTo>
                    <a:pt x="2" y="13"/>
                    <a:pt x="2" y="13"/>
                    <a:pt x="2" y="13"/>
                  </a:cubicBezTo>
                  <a:cubicBezTo>
                    <a:pt x="2" y="13"/>
                    <a:pt x="0" y="13"/>
                    <a:pt x="3" y="14"/>
                  </a:cubicBezTo>
                  <a:cubicBezTo>
                    <a:pt x="7" y="14"/>
                    <a:pt x="11" y="14"/>
                    <a:pt x="15" y="15"/>
                  </a:cubicBezTo>
                  <a:cubicBezTo>
                    <a:pt x="15" y="15"/>
                    <a:pt x="15" y="15"/>
                    <a:pt x="16" y="15"/>
                  </a:cubicBezTo>
                  <a:cubicBezTo>
                    <a:pt x="19" y="15"/>
                    <a:pt x="19" y="14"/>
                    <a:pt x="19" y="13"/>
                  </a:cubicBezTo>
                  <a:cubicBezTo>
                    <a:pt x="18" y="12"/>
                    <a:pt x="16" y="11"/>
                    <a:pt x="15" y="11"/>
                  </a:cubicBezTo>
                  <a:cubicBezTo>
                    <a:pt x="15" y="11"/>
                    <a:pt x="14" y="11"/>
                    <a:pt x="14" y="11"/>
                  </a:cubicBezTo>
                  <a:cubicBezTo>
                    <a:pt x="15" y="8"/>
                    <a:pt x="13" y="6"/>
                    <a:pt x="12" y="4"/>
                  </a:cubicBezTo>
                  <a:cubicBezTo>
                    <a:pt x="12" y="3"/>
                    <a:pt x="12" y="1"/>
                    <a:pt x="11" y="1"/>
                  </a:cubicBezTo>
                  <a:cubicBezTo>
                    <a:pt x="11"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5" name="Freeform 1433">
              <a:extLst>
                <a:ext uri="{FF2B5EF4-FFF2-40B4-BE49-F238E27FC236}">
                  <a16:creationId xmlns:a16="http://schemas.microsoft.com/office/drawing/2014/main" id="{5EBF3E25-3675-40F4-A9E8-1CB5B67D2288}"/>
                </a:ext>
              </a:extLst>
            </p:cNvPr>
            <p:cNvSpPr>
              <a:spLocks noEditPoints="1"/>
            </p:cNvSpPr>
            <p:nvPr/>
          </p:nvSpPr>
          <p:spPr bwMode="auto">
            <a:xfrm>
              <a:off x="3232" y="2175"/>
              <a:ext cx="40" cy="24"/>
            </a:xfrm>
            <a:custGeom>
              <a:avLst/>
              <a:gdLst>
                <a:gd name="T0" fmla="*/ 7 w 17"/>
                <a:gd name="T1" fmla="*/ 8 h 10"/>
                <a:gd name="T2" fmla="*/ 7 w 17"/>
                <a:gd name="T3" fmla="*/ 8 h 10"/>
                <a:gd name="T4" fmla="*/ 7 w 17"/>
                <a:gd name="T5" fmla="*/ 8 h 10"/>
                <a:gd name="T6" fmla="*/ 7 w 17"/>
                <a:gd name="T7" fmla="*/ 8 h 10"/>
                <a:gd name="T8" fmla="*/ 7 w 17"/>
                <a:gd name="T9" fmla="*/ 8 h 10"/>
                <a:gd name="T10" fmla="*/ 7 w 17"/>
                <a:gd name="T11" fmla="*/ 8 h 10"/>
                <a:gd name="T12" fmla="*/ 13 w 17"/>
                <a:gd name="T13" fmla="*/ 0 h 10"/>
                <a:gd name="T14" fmla="*/ 7 w 17"/>
                <a:gd name="T15" fmla="*/ 1 h 10"/>
                <a:gd name="T16" fmla="*/ 0 w 17"/>
                <a:gd name="T17" fmla="*/ 8 h 10"/>
                <a:gd name="T18" fmla="*/ 3 w 17"/>
                <a:gd name="T19" fmla="*/ 10 h 10"/>
                <a:gd name="T20" fmla="*/ 5 w 17"/>
                <a:gd name="T21" fmla="*/ 9 h 10"/>
                <a:gd name="T22" fmla="*/ 8 w 17"/>
                <a:gd name="T23" fmla="*/ 8 h 10"/>
                <a:gd name="T24" fmla="*/ 7 w 17"/>
                <a:gd name="T25" fmla="*/ 8 h 10"/>
                <a:gd name="T26" fmla="*/ 11 w 17"/>
                <a:gd name="T27" fmla="*/ 3 h 10"/>
                <a:gd name="T28" fmla="*/ 11 w 17"/>
                <a:gd name="T29" fmla="*/ 3 h 10"/>
                <a:gd name="T30" fmla="*/ 12 w 17"/>
                <a:gd name="T31" fmla="*/ 4 h 10"/>
                <a:gd name="T32" fmla="*/ 13 w 17"/>
                <a:gd name="T33" fmla="*/ 4 h 10"/>
                <a:gd name="T34" fmla="*/ 13 w 17"/>
                <a:gd name="T35" fmla="*/ 4 h 10"/>
                <a:gd name="T36" fmla="*/ 14 w 17"/>
                <a:gd name="T37" fmla="*/ 4 h 10"/>
                <a:gd name="T38" fmla="*/ 17 w 17"/>
                <a:gd name="T39" fmla="*/ 2 h 10"/>
                <a:gd name="T40" fmla="*/ 13 w 17"/>
                <a:gd name="T4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0">
                  <a:moveTo>
                    <a:pt x="7" y="8"/>
                  </a:moveTo>
                  <a:cubicBezTo>
                    <a:pt x="7" y="8"/>
                    <a:pt x="7" y="8"/>
                    <a:pt x="7" y="8"/>
                  </a:cubicBezTo>
                  <a:cubicBezTo>
                    <a:pt x="7" y="8"/>
                    <a:pt x="7" y="8"/>
                    <a:pt x="7" y="8"/>
                  </a:cubicBezTo>
                  <a:moveTo>
                    <a:pt x="7" y="8"/>
                  </a:moveTo>
                  <a:cubicBezTo>
                    <a:pt x="7" y="8"/>
                    <a:pt x="7" y="8"/>
                    <a:pt x="7" y="8"/>
                  </a:cubicBezTo>
                  <a:cubicBezTo>
                    <a:pt x="7" y="8"/>
                    <a:pt x="7" y="8"/>
                    <a:pt x="7" y="8"/>
                  </a:cubicBezTo>
                  <a:moveTo>
                    <a:pt x="13" y="0"/>
                  </a:moveTo>
                  <a:cubicBezTo>
                    <a:pt x="11" y="0"/>
                    <a:pt x="9" y="1"/>
                    <a:pt x="7" y="1"/>
                  </a:cubicBezTo>
                  <a:cubicBezTo>
                    <a:pt x="3" y="3"/>
                    <a:pt x="3" y="4"/>
                    <a:pt x="0" y="8"/>
                  </a:cubicBezTo>
                  <a:cubicBezTo>
                    <a:pt x="1" y="9"/>
                    <a:pt x="2" y="10"/>
                    <a:pt x="3" y="10"/>
                  </a:cubicBezTo>
                  <a:cubicBezTo>
                    <a:pt x="3" y="10"/>
                    <a:pt x="4" y="9"/>
                    <a:pt x="5" y="9"/>
                  </a:cubicBezTo>
                  <a:cubicBezTo>
                    <a:pt x="5" y="9"/>
                    <a:pt x="7" y="8"/>
                    <a:pt x="8" y="8"/>
                  </a:cubicBezTo>
                  <a:cubicBezTo>
                    <a:pt x="8" y="8"/>
                    <a:pt x="8" y="8"/>
                    <a:pt x="7" y="8"/>
                  </a:cubicBezTo>
                  <a:cubicBezTo>
                    <a:pt x="8" y="7"/>
                    <a:pt x="10" y="3"/>
                    <a:pt x="11" y="3"/>
                  </a:cubicBezTo>
                  <a:cubicBezTo>
                    <a:pt x="11" y="3"/>
                    <a:pt x="11" y="3"/>
                    <a:pt x="11" y="3"/>
                  </a:cubicBezTo>
                  <a:cubicBezTo>
                    <a:pt x="12" y="3"/>
                    <a:pt x="12" y="3"/>
                    <a:pt x="12" y="4"/>
                  </a:cubicBezTo>
                  <a:cubicBezTo>
                    <a:pt x="12" y="4"/>
                    <a:pt x="13" y="4"/>
                    <a:pt x="13" y="4"/>
                  </a:cubicBezTo>
                  <a:cubicBezTo>
                    <a:pt x="13" y="4"/>
                    <a:pt x="13" y="4"/>
                    <a:pt x="13" y="4"/>
                  </a:cubicBezTo>
                  <a:cubicBezTo>
                    <a:pt x="13" y="4"/>
                    <a:pt x="14" y="4"/>
                    <a:pt x="14" y="4"/>
                  </a:cubicBezTo>
                  <a:cubicBezTo>
                    <a:pt x="15" y="4"/>
                    <a:pt x="17" y="3"/>
                    <a:pt x="17" y="2"/>
                  </a:cubicBezTo>
                  <a:cubicBezTo>
                    <a:pt x="16" y="1"/>
                    <a:pt x="15"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6" name="Freeform 1434">
              <a:extLst>
                <a:ext uri="{FF2B5EF4-FFF2-40B4-BE49-F238E27FC236}">
                  <a16:creationId xmlns:a16="http://schemas.microsoft.com/office/drawing/2014/main" id="{509C86E0-25F5-4D49-A92F-76E193483A09}"/>
                </a:ext>
              </a:extLst>
            </p:cNvPr>
            <p:cNvSpPr>
              <a:spLocks/>
            </p:cNvSpPr>
            <p:nvPr/>
          </p:nvSpPr>
          <p:spPr bwMode="auto">
            <a:xfrm>
              <a:off x="3553" y="3905"/>
              <a:ext cx="19" cy="40"/>
            </a:xfrm>
            <a:custGeom>
              <a:avLst/>
              <a:gdLst>
                <a:gd name="T0" fmla="*/ 4 w 8"/>
                <a:gd name="T1" fmla="*/ 0 h 17"/>
                <a:gd name="T2" fmla="*/ 0 w 8"/>
                <a:gd name="T3" fmla="*/ 12 h 17"/>
                <a:gd name="T4" fmla="*/ 1 w 8"/>
                <a:gd name="T5" fmla="*/ 17 h 17"/>
                <a:gd name="T6" fmla="*/ 3 w 8"/>
                <a:gd name="T7" fmla="*/ 17 h 17"/>
                <a:gd name="T8" fmla="*/ 8 w 8"/>
                <a:gd name="T9" fmla="*/ 16 h 17"/>
                <a:gd name="T10" fmla="*/ 8 w 8"/>
                <a:gd name="T11" fmla="*/ 6 h 17"/>
                <a:gd name="T12" fmla="*/ 4 w 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4" y="0"/>
                  </a:moveTo>
                  <a:cubicBezTo>
                    <a:pt x="1" y="4"/>
                    <a:pt x="0" y="7"/>
                    <a:pt x="0" y="12"/>
                  </a:cubicBezTo>
                  <a:cubicBezTo>
                    <a:pt x="0" y="13"/>
                    <a:pt x="0" y="16"/>
                    <a:pt x="1" y="17"/>
                  </a:cubicBezTo>
                  <a:cubicBezTo>
                    <a:pt x="1" y="17"/>
                    <a:pt x="2" y="17"/>
                    <a:pt x="3" y="17"/>
                  </a:cubicBezTo>
                  <a:cubicBezTo>
                    <a:pt x="5" y="17"/>
                    <a:pt x="7" y="16"/>
                    <a:pt x="8" y="16"/>
                  </a:cubicBezTo>
                  <a:cubicBezTo>
                    <a:pt x="8" y="15"/>
                    <a:pt x="8" y="7"/>
                    <a:pt x="8" y="6"/>
                  </a:cubicBezTo>
                  <a:cubicBezTo>
                    <a:pt x="7" y="3"/>
                    <a:pt x="6"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7" name="Freeform 1435">
              <a:extLst>
                <a:ext uri="{FF2B5EF4-FFF2-40B4-BE49-F238E27FC236}">
                  <a16:creationId xmlns:a16="http://schemas.microsoft.com/office/drawing/2014/main" id="{FDB1AC3C-FD03-46BD-B88D-6A14B02DD34B}"/>
                </a:ext>
              </a:extLst>
            </p:cNvPr>
            <p:cNvSpPr>
              <a:spLocks/>
            </p:cNvSpPr>
            <p:nvPr/>
          </p:nvSpPr>
          <p:spPr bwMode="auto">
            <a:xfrm>
              <a:off x="3626" y="3990"/>
              <a:ext cx="10" cy="7"/>
            </a:xfrm>
            <a:custGeom>
              <a:avLst/>
              <a:gdLst>
                <a:gd name="T0" fmla="*/ 1 w 4"/>
                <a:gd name="T1" fmla="*/ 0 h 3"/>
                <a:gd name="T2" fmla="*/ 0 w 4"/>
                <a:gd name="T3" fmla="*/ 3 h 3"/>
                <a:gd name="T4" fmla="*/ 1 w 4"/>
                <a:gd name="T5" fmla="*/ 3 h 3"/>
                <a:gd name="T6" fmla="*/ 2 w 4"/>
                <a:gd name="T7" fmla="*/ 3 h 3"/>
                <a:gd name="T8" fmla="*/ 3 w 4"/>
                <a:gd name="T9" fmla="*/ 3 h 3"/>
                <a:gd name="T10" fmla="*/ 4 w 4"/>
                <a:gd name="T11" fmla="*/ 3 h 3"/>
                <a:gd name="T12" fmla="*/ 1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0"/>
                  </a:moveTo>
                  <a:cubicBezTo>
                    <a:pt x="0" y="0"/>
                    <a:pt x="0" y="1"/>
                    <a:pt x="0" y="3"/>
                  </a:cubicBezTo>
                  <a:cubicBezTo>
                    <a:pt x="0" y="3"/>
                    <a:pt x="1" y="3"/>
                    <a:pt x="1" y="3"/>
                  </a:cubicBezTo>
                  <a:cubicBezTo>
                    <a:pt x="1" y="3"/>
                    <a:pt x="2" y="3"/>
                    <a:pt x="2" y="3"/>
                  </a:cubicBezTo>
                  <a:cubicBezTo>
                    <a:pt x="2" y="3"/>
                    <a:pt x="2" y="3"/>
                    <a:pt x="3" y="3"/>
                  </a:cubicBezTo>
                  <a:cubicBezTo>
                    <a:pt x="3" y="3"/>
                    <a:pt x="4" y="3"/>
                    <a:pt x="4" y="3"/>
                  </a:cubicBezTo>
                  <a:cubicBezTo>
                    <a:pt x="3" y="2"/>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8" name="Freeform 1436">
              <a:extLst>
                <a:ext uri="{FF2B5EF4-FFF2-40B4-BE49-F238E27FC236}">
                  <a16:creationId xmlns:a16="http://schemas.microsoft.com/office/drawing/2014/main" id="{951861F8-93F6-437B-96A1-3DB6A253001E}"/>
                </a:ext>
              </a:extLst>
            </p:cNvPr>
            <p:cNvSpPr>
              <a:spLocks/>
            </p:cNvSpPr>
            <p:nvPr/>
          </p:nvSpPr>
          <p:spPr bwMode="auto">
            <a:xfrm>
              <a:off x="3839" y="4151"/>
              <a:ext cx="14" cy="14"/>
            </a:xfrm>
            <a:custGeom>
              <a:avLst/>
              <a:gdLst>
                <a:gd name="T0" fmla="*/ 3 w 6"/>
                <a:gd name="T1" fmla="*/ 0 h 6"/>
                <a:gd name="T2" fmla="*/ 0 w 6"/>
                <a:gd name="T3" fmla="*/ 6 h 6"/>
                <a:gd name="T4" fmla="*/ 3 w 6"/>
                <a:gd name="T5" fmla="*/ 3 h 6"/>
                <a:gd name="T6" fmla="*/ 3 w 6"/>
                <a:gd name="T7" fmla="*/ 0 h 6"/>
              </a:gdLst>
              <a:ahLst/>
              <a:cxnLst>
                <a:cxn ang="0">
                  <a:pos x="T0" y="T1"/>
                </a:cxn>
                <a:cxn ang="0">
                  <a:pos x="T2" y="T3"/>
                </a:cxn>
                <a:cxn ang="0">
                  <a:pos x="T4" y="T5"/>
                </a:cxn>
                <a:cxn ang="0">
                  <a:pos x="T6" y="T7"/>
                </a:cxn>
              </a:cxnLst>
              <a:rect l="0" t="0" r="r" b="b"/>
              <a:pathLst>
                <a:path w="6" h="6">
                  <a:moveTo>
                    <a:pt x="3" y="0"/>
                  </a:moveTo>
                  <a:cubicBezTo>
                    <a:pt x="2" y="2"/>
                    <a:pt x="1" y="4"/>
                    <a:pt x="0" y="6"/>
                  </a:cubicBezTo>
                  <a:cubicBezTo>
                    <a:pt x="2" y="6"/>
                    <a:pt x="3" y="4"/>
                    <a:pt x="3" y="3"/>
                  </a:cubicBezTo>
                  <a:cubicBezTo>
                    <a:pt x="3" y="2"/>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9" name="Freeform 1437">
              <a:extLst>
                <a:ext uri="{FF2B5EF4-FFF2-40B4-BE49-F238E27FC236}">
                  <a16:creationId xmlns:a16="http://schemas.microsoft.com/office/drawing/2014/main" id="{FC9395F8-86C2-4462-ADB9-DEEDCE8A6723}"/>
                </a:ext>
              </a:extLst>
            </p:cNvPr>
            <p:cNvSpPr>
              <a:spLocks/>
            </p:cNvSpPr>
            <p:nvPr/>
          </p:nvSpPr>
          <p:spPr bwMode="auto">
            <a:xfrm>
              <a:off x="3508" y="1619"/>
              <a:ext cx="31" cy="22"/>
            </a:xfrm>
            <a:custGeom>
              <a:avLst/>
              <a:gdLst>
                <a:gd name="T0" fmla="*/ 0 w 13"/>
                <a:gd name="T1" fmla="*/ 0 h 9"/>
                <a:gd name="T2" fmla="*/ 13 w 13"/>
                <a:gd name="T3" fmla="*/ 9 h 9"/>
                <a:gd name="T4" fmla="*/ 0 w 13"/>
                <a:gd name="T5" fmla="*/ 0 h 9"/>
              </a:gdLst>
              <a:ahLst/>
              <a:cxnLst>
                <a:cxn ang="0">
                  <a:pos x="T0" y="T1"/>
                </a:cxn>
                <a:cxn ang="0">
                  <a:pos x="T2" y="T3"/>
                </a:cxn>
                <a:cxn ang="0">
                  <a:pos x="T4" y="T5"/>
                </a:cxn>
              </a:cxnLst>
              <a:rect l="0" t="0" r="r" b="b"/>
              <a:pathLst>
                <a:path w="13" h="9">
                  <a:moveTo>
                    <a:pt x="0" y="0"/>
                  </a:moveTo>
                  <a:cubicBezTo>
                    <a:pt x="4" y="3"/>
                    <a:pt x="9" y="6"/>
                    <a:pt x="13" y="9"/>
                  </a:cubicBezTo>
                  <a:cubicBezTo>
                    <a:pt x="12" y="3"/>
                    <a:pt x="4"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0" name="Freeform 1438">
              <a:extLst>
                <a:ext uri="{FF2B5EF4-FFF2-40B4-BE49-F238E27FC236}">
                  <a16:creationId xmlns:a16="http://schemas.microsoft.com/office/drawing/2014/main" id="{B7F8FDF7-C7AF-460C-9988-AC8013035EF4}"/>
                </a:ext>
              </a:extLst>
            </p:cNvPr>
            <p:cNvSpPr>
              <a:spLocks noEditPoints="1"/>
            </p:cNvSpPr>
            <p:nvPr/>
          </p:nvSpPr>
          <p:spPr bwMode="auto">
            <a:xfrm>
              <a:off x="4038" y="1619"/>
              <a:ext cx="16" cy="29"/>
            </a:xfrm>
            <a:custGeom>
              <a:avLst/>
              <a:gdLst>
                <a:gd name="T0" fmla="*/ 6 w 7"/>
                <a:gd name="T1" fmla="*/ 10 h 12"/>
                <a:gd name="T2" fmla="*/ 7 w 7"/>
                <a:gd name="T3" fmla="*/ 12 h 12"/>
                <a:gd name="T4" fmla="*/ 6 w 7"/>
                <a:gd name="T5" fmla="*/ 10 h 12"/>
                <a:gd name="T6" fmla="*/ 6 w 7"/>
                <a:gd name="T7" fmla="*/ 0 h 12"/>
                <a:gd name="T8" fmla="*/ 6 w 7"/>
                <a:gd name="T9" fmla="*/ 10 h 12"/>
                <a:gd name="T10" fmla="*/ 7 w 7"/>
                <a:gd name="T11" fmla="*/ 4 h 12"/>
                <a:gd name="T12" fmla="*/ 6 w 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6" y="10"/>
                  </a:moveTo>
                  <a:cubicBezTo>
                    <a:pt x="6" y="11"/>
                    <a:pt x="7" y="11"/>
                    <a:pt x="7" y="12"/>
                  </a:cubicBezTo>
                  <a:cubicBezTo>
                    <a:pt x="7" y="11"/>
                    <a:pt x="6" y="11"/>
                    <a:pt x="6" y="10"/>
                  </a:cubicBezTo>
                  <a:moveTo>
                    <a:pt x="6" y="0"/>
                  </a:moveTo>
                  <a:cubicBezTo>
                    <a:pt x="0" y="2"/>
                    <a:pt x="4" y="6"/>
                    <a:pt x="6" y="10"/>
                  </a:cubicBezTo>
                  <a:cubicBezTo>
                    <a:pt x="5" y="8"/>
                    <a:pt x="7" y="7"/>
                    <a:pt x="7" y="4"/>
                  </a:cubicBezTo>
                  <a:cubicBezTo>
                    <a:pt x="7" y="2"/>
                    <a:pt x="6" y="2"/>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1" name="Freeform 1439">
              <a:extLst>
                <a:ext uri="{FF2B5EF4-FFF2-40B4-BE49-F238E27FC236}">
                  <a16:creationId xmlns:a16="http://schemas.microsoft.com/office/drawing/2014/main" id="{75E92B8F-DBD3-4157-84DE-211B47008611}"/>
                </a:ext>
              </a:extLst>
            </p:cNvPr>
            <p:cNvSpPr>
              <a:spLocks/>
            </p:cNvSpPr>
            <p:nvPr/>
          </p:nvSpPr>
          <p:spPr bwMode="auto">
            <a:xfrm>
              <a:off x="4151" y="1771"/>
              <a:ext cx="21" cy="7"/>
            </a:xfrm>
            <a:custGeom>
              <a:avLst/>
              <a:gdLst>
                <a:gd name="T0" fmla="*/ 0 w 9"/>
                <a:gd name="T1" fmla="*/ 0 h 3"/>
                <a:gd name="T2" fmla="*/ 5 w 9"/>
                <a:gd name="T3" fmla="*/ 3 h 3"/>
                <a:gd name="T4" fmla="*/ 9 w 9"/>
                <a:gd name="T5" fmla="*/ 2 h 3"/>
                <a:gd name="T6" fmla="*/ 0 w 9"/>
                <a:gd name="T7" fmla="*/ 0 h 3"/>
              </a:gdLst>
              <a:ahLst/>
              <a:cxnLst>
                <a:cxn ang="0">
                  <a:pos x="T0" y="T1"/>
                </a:cxn>
                <a:cxn ang="0">
                  <a:pos x="T2" y="T3"/>
                </a:cxn>
                <a:cxn ang="0">
                  <a:pos x="T4" y="T5"/>
                </a:cxn>
                <a:cxn ang="0">
                  <a:pos x="T6" y="T7"/>
                </a:cxn>
              </a:cxnLst>
              <a:rect l="0" t="0" r="r" b="b"/>
              <a:pathLst>
                <a:path w="9" h="3">
                  <a:moveTo>
                    <a:pt x="0" y="0"/>
                  </a:moveTo>
                  <a:cubicBezTo>
                    <a:pt x="1" y="1"/>
                    <a:pt x="3" y="2"/>
                    <a:pt x="5" y="3"/>
                  </a:cubicBezTo>
                  <a:cubicBezTo>
                    <a:pt x="7" y="3"/>
                    <a:pt x="8" y="2"/>
                    <a:pt x="9" y="2"/>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2" name="Freeform 1440">
              <a:extLst>
                <a:ext uri="{FF2B5EF4-FFF2-40B4-BE49-F238E27FC236}">
                  <a16:creationId xmlns:a16="http://schemas.microsoft.com/office/drawing/2014/main" id="{0CA2CD3B-8F77-4C05-8FB3-108ECDDE7838}"/>
                </a:ext>
              </a:extLst>
            </p:cNvPr>
            <p:cNvSpPr>
              <a:spLocks/>
            </p:cNvSpPr>
            <p:nvPr/>
          </p:nvSpPr>
          <p:spPr bwMode="auto">
            <a:xfrm>
              <a:off x="3979" y="1674"/>
              <a:ext cx="23" cy="21"/>
            </a:xfrm>
            <a:custGeom>
              <a:avLst/>
              <a:gdLst>
                <a:gd name="T0" fmla="*/ 5 w 10"/>
                <a:gd name="T1" fmla="*/ 0 h 9"/>
                <a:gd name="T2" fmla="*/ 2 w 10"/>
                <a:gd name="T3" fmla="*/ 2 h 9"/>
                <a:gd name="T4" fmla="*/ 8 w 10"/>
                <a:gd name="T5" fmla="*/ 9 h 9"/>
                <a:gd name="T6" fmla="*/ 7 w 10"/>
                <a:gd name="T7" fmla="*/ 1 h 9"/>
                <a:gd name="T8" fmla="*/ 5 w 10"/>
                <a:gd name="T9" fmla="*/ 0 h 9"/>
              </a:gdLst>
              <a:ahLst/>
              <a:cxnLst>
                <a:cxn ang="0">
                  <a:pos x="T0" y="T1"/>
                </a:cxn>
                <a:cxn ang="0">
                  <a:pos x="T2" y="T3"/>
                </a:cxn>
                <a:cxn ang="0">
                  <a:pos x="T4" y="T5"/>
                </a:cxn>
                <a:cxn ang="0">
                  <a:pos x="T6" y="T7"/>
                </a:cxn>
                <a:cxn ang="0">
                  <a:pos x="T8" y="T9"/>
                </a:cxn>
              </a:cxnLst>
              <a:rect l="0" t="0" r="r" b="b"/>
              <a:pathLst>
                <a:path w="10" h="9">
                  <a:moveTo>
                    <a:pt x="5" y="0"/>
                  </a:moveTo>
                  <a:cubicBezTo>
                    <a:pt x="4" y="0"/>
                    <a:pt x="3" y="0"/>
                    <a:pt x="2" y="2"/>
                  </a:cubicBezTo>
                  <a:cubicBezTo>
                    <a:pt x="0" y="5"/>
                    <a:pt x="6" y="7"/>
                    <a:pt x="8" y="9"/>
                  </a:cubicBezTo>
                  <a:cubicBezTo>
                    <a:pt x="9" y="6"/>
                    <a:pt x="10" y="3"/>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3" name="Freeform 1441">
              <a:extLst>
                <a:ext uri="{FF2B5EF4-FFF2-40B4-BE49-F238E27FC236}">
                  <a16:creationId xmlns:a16="http://schemas.microsoft.com/office/drawing/2014/main" id="{CEC30719-EEF0-4113-9410-CEB1B43B41CA}"/>
                </a:ext>
              </a:extLst>
            </p:cNvPr>
            <p:cNvSpPr>
              <a:spLocks/>
            </p:cNvSpPr>
            <p:nvPr/>
          </p:nvSpPr>
          <p:spPr bwMode="auto">
            <a:xfrm>
              <a:off x="4196" y="1820"/>
              <a:ext cx="38" cy="22"/>
            </a:xfrm>
            <a:custGeom>
              <a:avLst/>
              <a:gdLst>
                <a:gd name="T0" fmla="*/ 0 w 16"/>
                <a:gd name="T1" fmla="*/ 0 h 9"/>
                <a:gd name="T2" fmla="*/ 10 w 16"/>
                <a:gd name="T3" fmla="*/ 9 h 9"/>
                <a:gd name="T4" fmla="*/ 16 w 16"/>
                <a:gd name="T5" fmla="*/ 8 h 9"/>
                <a:gd name="T6" fmla="*/ 0 w 16"/>
                <a:gd name="T7" fmla="*/ 0 h 9"/>
              </a:gdLst>
              <a:ahLst/>
              <a:cxnLst>
                <a:cxn ang="0">
                  <a:pos x="T0" y="T1"/>
                </a:cxn>
                <a:cxn ang="0">
                  <a:pos x="T2" y="T3"/>
                </a:cxn>
                <a:cxn ang="0">
                  <a:pos x="T4" y="T5"/>
                </a:cxn>
                <a:cxn ang="0">
                  <a:pos x="T6" y="T7"/>
                </a:cxn>
              </a:cxnLst>
              <a:rect l="0" t="0" r="r" b="b"/>
              <a:pathLst>
                <a:path w="16" h="9">
                  <a:moveTo>
                    <a:pt x="0" y="0"/>
                  </a:moveTo>
                  <a:cubicBezTo>
                    <a:pt x="3" y="3"/>
                    <a:pt x="7" y="6"/>
                    <a:pt x="10" y="9"/>
                  </a:cubicBezTo>
                  <a:cubicBezTo>
                    <a:pt x="12" y="9"/>
                    <a:pt x="14" y="8"/>
                    <a:pt x="16" y="8"/>
                  </a:cubicBezTo>
                  <a:cubicBezTo>
                    <a:pt x="13" y="4"/>
                    <a:pt x="5"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4" name="Freeform 1442">
              <a:extLst>
                <a:ext uri="{FF2B5EF4-FFF2-40B4-BE49-F238E27FC236}">
                  <a16:creationId xmlns:a16="http://schemas.microsoft.com/office/drawing/2014/main" id="{97268BA0-EFB6-46C1-9C0C-81C9702FD55D}"/>
                </a:ext>
              </a:extLst>
            </p:cNvPr>
            <p:cNvSpPr>
              <a:spLocks/>
            </p:cNvSpPr>
            <p:nvPr/>
          </p:nvSpPr>
          <p:spPr bwMode="auto">
            <a:xfrm>
              <a:off x="4028" y="1215"/>
              <a:ext cx="166" cy="156"/>
            </a:xfrm>
            <a:custGeom>
              <a:avLst/>
              <a:gdLst>
                <a:gd name="T0" fmla="*/ 1 w 70"/>
                <a:gd name="T1" fmla="*/ 0 h 66"/>
                <a:gd name="T2" fmla="*/ 0 w 70"/>
                <a:gd name="T3" fmla="*/ 6 h 66"/>
                <a:gd name="T4" fmla="*/ 1 w 70"/>
                <a:gd name="T5" fmla="*/ 6 h 66"/>
                <a:gd name="T6" fmla="*/ 2 w 70"/>
                <a:gd name="T7" fmla="*/ 7 h 66"/>
                <a:gd name="T8" fmla="*/ 3 w 70"/>
                <a:gd name="T9" fmla="*/ 6 h 66"/>
                <a:gd name="T10" fmla="*/ 4 w 70"/>
                <a:gd name="T11" fmla="*/ 6 h 66"/>
                <a:gd name="T12" fmla="*/ 5 w 70"/>
                <a:gd name="T13" fmla="*/ 7 h 66"/>
                <a:gd name="T14" fmla="*/ 32 w 70"/>
                <a:gd name="T15" fmla="*/ 23 h 66"/>
                <a:gd name="T16" fmla="*/ 53 w 70"/>
                <a:gd name="T17" fmla="*/ 41 h 66"/>
                <a:gd name="T18" fmla="*/ 56 w 70"/>
                <a:gd name="T19" fmla="*/ 49 h 66"/>
                <a:gd name="T20" fmla="*/ 56 w 70"/>
                <a:gd name="T21" fmla="*/ 53 h 66"/>
                <a:gd name="T22" fmla="*/ 62 w 70"/>
                <a:gd name="T23" fmla="*/ 66 h 66"/>
                <a:gd name="T24" fmla="*/ 69 w 70"/>
                <a:gd name="T25" fmla="*/ 49 h 66"/>
                <a:gd name="T26" fmla="*/ 67 w 70"/>
                <a:gd name="T27" fmla="*/ 47 h 66"/>
                <a:gd name="T28" fmla="*/ 59 w 70"/>
                <a:gd name="T29" fmla="*/ 38 h 66"/>
                <a:gd name="T30" fmla="*/ 59 w 70"/>
                <a:gd name="T31" fmla="*/ 38 h 66"/>
                <a:gd name="T32" fmla="*/ 58 w 70"/>
                <a:gd name="T33" fmla="*/ 38 h 66"/>
                <a:gd name="T34" fmla="*/ 57 w 70"/>
                <a:gd name="T35" fmla="*/ 39 h 66"/>
                <a:gd name="T36" fmla="*/ 56 w 70"/>
                <a:gd name="T37" fmla="*/ 38 h 66"/>
                <a:gd name="T38" fmla="*/ 48 w 70"/>
                <a:gd name="T39" fmla="*/ 31 h 66"/>
                <a:gd name="T40" fmla="*/ 40 w 70"/>
                <a:gd name="T41" fmla="*/ 23 h 66"/>
                <a:gd name="T42" fmla="*/ 29 w 70"/>
                <a:gd name="T43" fmla="*/ 17 h 66"/>
                <a:gd name="T44" fmla="*/ 19 w 70"/>
                <a:gd name="T45" fmla="*/ 10 h 66"/>
                <a:gd name="T46" fmla="*/ 14 w 70"/>
                <a:gd name="T47" fmla="*/ 9 h 66"/>
                <a:gd name="T48" fmla="*/ 1 w 70"/>
                <a:gd name="T4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 h="66">
                  <a:moveTo>
                    <a:pt x="1" y="0"/>
                  </a:moveTo>
                  <a:cubicBezTo>
                    <a:pt x="4" y="5"/>
                    <a:pt x="4" y="3"/>
                    <a:pt x="0" y="6"/>
                  </a:cubicBezTo>
                  <a:cubicBezTo>
                    <a:pt x="0" y="6"/>
                    <a:pt x="1" y="6"/>
                    <a:pt x="1" y="6"/>
                  </a:cubicBezTo>
                  <a:cubicBezTo>
                    <a:pt x="1" y="7"/>
                    <a:pt x="2" y="7"/>
                    <a:pt x="2" y="7"/>
                  </a:cubicBezTo>
                  <a:cubicBezTo>
                    <a:pt x="2" y="7"/>
                    <a:pt x="3" y="6"/>
                    <a:pt x="3" y="6"/>
                  </a:cubicBezTo>
                  <a:cubicBezTo>
                    <a:pt x="3" y="6"/>
                    <a:pt x="4" y="6"/>
                    <a:pt x="4" y="6"/>
                  </a:cubicBezTo>
                  <a:cubicBezTo>
                    <a:pt x="4" y="6"/>
                    <a:pt x="5" y="6"/>
                    <a:pt x="5" y="7"/>
                  </a:cubicBezTo>
                  <a:cubicBezTo>
                    <a:pt x="14" y="12"/>
                    <a:pt x="23" y="18"/>
                    <a:pt x="32" y="23"/>
                  </a:cubicBezTo>
                  <a:cubicBezTo>
                    <a:pt x="41" y="28"/>
                    <a:pt x="48" y="32"/>
                    <a:pt x="53" y="41"/>
                  </a:cubicBezTo>
                  <a:cubicBezTo>
                    <a:pt x="54" y="44"/>
                    <a:pt x="56" y="46"/>
                    <a:pt x="56" y="49"/>
                  </a:cubicBezTo>
                  <a:cubicBezTo>
                    <a:pt x="56" y="50"/>
                    <a:pt x="56" y="52"/>
                    <a:pt x="56" y="53"/>
                  </a:cubicBezTo>
                  <a:cubicBezTo>
                    <a:pt x="56" y="58"/>
                    <a:pt x="59" y="62"/>
                    <a:pt x="62" y="66"/>
                  </a:cubicBezTo>
                  <a:cubicBezTo>
                    <a:pt x="64" y="62"/>
                    <a:pt x="70" y="54"/>
                    <a:pt x="69" y="49"/>
                  </a:cubicBezTo>
                  <a:cubicBezTo>
                    <a:pt x="68" y="48"/>
                    <a:pt x="67" y="48"/>
                    <a:pt x="67" y="47"/>
                  </a:cubicBezTo>
                  <a:cubicBezTo>
                    <a:pt x="65" y="44"/>
                    <a:pt x="63" y="39"/>
                    <a:pt x="59" y="38"/>
                  </a:cubicBezTo>
                  <a:cubicBezTo>
                    <a:pt x="59" y="38"/>
                    <a:pt x="59" y="38"/>
                    <a:pt x="59" y="38"/>
                  </a:cubicBezTo>
                  <a:cubicBezTo>
                    <a:pt x="59" y="38"/>
                    <a:pt x="59" y="38"/>
                    <a:pt x="58" y="38"/>
                  </a:cubicBezTo>
                  <a:cubicBezTo>
                    <a:pt x="58" y="38"/>
                    <a:pt x="58" y="39"/>
                    <a:pt x="57" y="39"/>
                  </a:cubicBezTo>
                  <a:cubicBezTo>
                    <a:pt x="57" y="39"/>
                    <a:pt x="57" y="39"/>
                    <a:pt x="56" y="38"/>
                  </a:cubicBezTo>
                  <a:cubicBezTo>
                    <a:pt x="54" y="37"/>
                    <a:pt x="50" y="33"/>
                    <a:pt x="48" y="31"/>
                  </a:cubicBezTo>
                  <a:cubicBezTo>
                    <a:pt x="46" y="28"/>
                    <a:pt x="43" y="26"/>
                    <a:pt x="40" y="23"/>
                  </a:cubicBezTo>
                  <a:cubicBezTo>
                    <a:pt x="37" y="19"/>
                    <a:pt x="33" y="19"/>
                    <a:pt x="29" y="17"/>
                  </a:cubicBezTo>
                  <a:cubicBezTo>
                    <a:pt x="26" y="15"/>
                    <a:pt x="22" y="11"/>
                    <a:pt x="19" y="10"/>
                  </a:cubicBezTo>
                  <a:cubicBezTo>
                    <a:pt x="18" y="9"/>
                    <a:pt x="15" y="10"/>
                    <a:pt x="14" y="9"/>
                  </a:cubicBezTo>
                  <a:cubicBezTo>
                    <a:pt x="10" y="6"/>
                    <a:pt x="6"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5" name="Freeform 1443">
              <a:extLst>
                <a:ext uri="{FF2B5EF4-FFF2-40B4-BE49-F238E27FC236}">
                  <a16:creationId xmlns:a16="http://schemas.microsoft.com/office/drawing/2014/main" id="{B33341B1-B8A9-4FAC-B457-54967E56DE12}"/>
                </a:ext>
              </a:extLst>
            </p:cNvPr>
            <p:cNvSpPr>
              <a:spLocks/>
            </p:cNvSpPr>
            <p:nvPr/>
          </p:nvSpPr>
          <p:spPr bwMode="auto">
            <a:xfrm>
              <a:off x="4255" y="1818"/>
              <a:ext cx="14" cy="9"/>
            </a:xfrm>
            <a:custGeom>
              <a:avLst/>
              <a:gdLst>
                <a:gd name="T0" fmla="*/ 2 w 6"/>
                <a:gd name="T1" fmla="*/ 0 h 4"/>
                <a:gd name="T2" fmla="*/ 1 w 6"/>
                <a:gd name="T3" fmla="*/ 4 h 4"/>
                <a:gd name="T4" fmla="*/ 6 w 6"/>
                <a:gd name="T5" fmla="*/ 3 h 4"/>
                <a:gd name="T6" fmla="*/ 2 w 6"/>
                <a:gd name="T7" fmla="*/ 0 h 4"/>
              </a:gdLst>
              <a:ahLst/>
              <a:cxnLst>
                <a:cxn ang="0">
                  <a:pos x="T0" y="T1"/>
                </a:cxn>
                <a:cxn ang="0">
                  <a:pos x="T2" y="T3"/>
                </a:cxn>
                <a:cxn ang="0">
                  <a:pos x="T4" y="T5"/>
                </a:cxn>
                <a:cxn ang="0">
                  <a:pos x="T6" y="T7"/>
                </a:cxn>
              </a:cxnLst>
              <a:rect l="0" t="0" r="r" b="b"/>
              <a:pathLst>
                <a:path w="6" h="4">
                  <a:moveTo>
                    <a:pt x="2" y="0"/>
                  </a:moveTo>
                  <a:cubicBezTo>
                    <a:pt x="1" y="0"/>
                    <a:pt x="0" y="1"/>
                    <a:pt x="1" y="4"/>
                  </a:cubicBezTo>
                  <a:cubicBezTo>
                    <a:pt x="2" y="3"/>
                    <a:pt x="6" y="4"/>
                    <a:pt x="6" y="3"/>
                  </a:cubicBezTo>
                  <a:cubicBezTo>
                    <a:pt x="6" y="2"/>
                    <a:pt x="4"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6" name="Freeform 1444">
              <a:extLst>
                <a:ext uri="{FF2B5EF4-FFF2-40B4-BE49-F238E27FC236}">
                  <a16:creationId xmlns:a16="http://schemas.microsoft.com/office/drawing/2014/main" id="{88416C5C-7AB6-4B1B-82AF-D1F339B7FC64}"/>
                </a:ext>
              </a:extLst>
            </p:cNvPr>
            <p:cNvSpPr>
              <a:spLocks/>
            </p:cNvSpPr>
            <p:nvPr/>
          </p:nvSpPr>
          <p:spPr bwMode="auto">
            <a:xfrm>
              <a:off x="4005" y="1683"/>
              <a:ext cx="35" cy="26"/>
            </a:xfrm>
            <a:custGeom>
              <a:avLst/>
              <a:gdLst>
                <a:gd name="T0" fmla="*/ 2 w 15"/>
                <a:gd name="T1" fmla="*/ 0 h 11"/>
                <a:gd name="T2" fmla="*/ 2 w 15"/>
                <a:gd name="T3" fmla="*/ 6 h 11"/>
                <a:gd name="T4" fmla="*/ 0 w 15"/>
                <a:gd name="T5" fmla="*/ 7 h 11"/>
                <a:gd name="T6" fmla="*/ 12 w 15"/>
                <a:gd name="T7" fmla="*/ 11 h 11"/>
                <a:gd name="T8" fmla="*/ 13 w 15"/>
                <a:gd name="T9" fmla="*/ 6 h 11"/>
                <a:gd name="T10" fmla="*/ 11 w 15"/>
                <a:gd name="T11" fmla="*/ 2 h 11"/>
                <a:gd name="T12" fmla="*/ 10 w 15"/>
                <a:gd name="T13" fmla="*/ 2 h 11"/>
                <a:gd name="T14" fmla="*/ 9 w 15"/>
                <a:gd name="T15" fmla="*/ 2 h 11"/>
                <a:gd name="T16" fmla="*/ 7 w 15"/>
                <a:gd name="T17" fmla="*/ 2 h 11"/>
                <a:gd name="T18" fmla="*/ 7 w 15"/>
                <a:gd name="T19" fmla="*/ 2 h 11"/>
                <a:gd name="T20" fmla="*/ 4 w 15"/>
                <a:gd name="T21" fmla="*/ 1 h 11"/>
                <a:gd name="T22" fmla="*/ 2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2" y="0"/>
                  </a:moveTo>
                  <a:cubicBezTo>
                    <a:pt x="0" y="0"/>
                    <a:pt x="2" y="2"/>
                    <a:pt x="2" y="6"/>
                  </a:cubicBezTo>
                  <a:cubicBezTo>
                    <a:pt x="2" y="7"/>
                    <a:pt x="0" y="7"/>
                    <a:pt x="0" y="7"/>
                  </a:cubicBezTo>
                  <a:cubicBezTo>
                    <a:pt x="1" y="10"/>
                    <a:pt x="10" y="10"/>
                    <a:pt x="12" y="11"/>
                  </a:cubicBezTo>
                  <a:cubicBezTo>
                    <a:pt x="15" y="10"/>
                    <a:pt x="15" y="8"/>
                    <a:pt x="13" y="6"/>
                  </a:cubicBezTo>
                  <a:cubicBezTo>
                    <a:pt x="13" y="5"/>
                    <a:pt x="12" y="3"/>
                    <a:pt x="11" y="2"/>
                  </a:cubicBezTo>
                  <a:cubicBezTo>
                    <a:pt x="10" y="2"/>
                    <a:pt x="10" y="2"/>
                    <a:pt x="10" y="2"/>
                  </a:cubicBezTo>
                  <a:cubicBezTo>
                    <a:pt x="9" y="2"/>
                    <a:pt x="9" y="2"/>
                    <a:pt x="9" y="2"/>
                  </a:cubicBezTo>
                  <a:cubicBezTo>
                    <a:pt x="8" y="2"/>
                    <a:pt x="8" y="2"/>
                    <a:pt x="7" y="2"/>
                  </a:cubicBezTo>
                  <a:cubicBezTo>
                    <a:pt x="7" y="2"/>
                    <a:pt x="7" y="2"/>
                    <a:pt x="7" y="2"/>
                  </a:cubicBezTo>
                  <a:cubicBezTo>
                    <a:pt x="6" y="2"/>
                    <a:pt x="5" y="1"/>
                    <a:pt x="4" y="1"/>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7" name="Freeform 1445">
              <a:extLst>
                <a:ext uri="{FF2B5EF4-FFF2-40B4-BE49-F238E27FC236}">
                  <a16:creationId xmlns:a16="http://schemas.microsoft.com/office/drawing/2014/main" id="{FBC34D67-1D70-4316-9057-D4B2E3A31639}"/>
                </a:ext>
              </a:extLst>
            </p:cNvPr>
            <p:cNvSpPr>
              <a:spLocks/>
            </p:cNvSpPr>
            <p:nvPr/>
          </p:nvSpPr>
          <p:spPr bwMode="auto">
            <a:xfrm>
              <a:off x="3858" y="1326"/>
              <a:ext cx="286" cy="149"/>
            </a:xfrm>
            <a:custGeom>
              <a:avLst/>
              <a:gdLst>
                <a:gd name="T0" fmla="*/ 111 w 121"/>
                <a:gd name="T1" fmla="*/ 0 h 63"/>
                <a:gd name="T2" fmla="*/ 110 w 121"/>
                <a:gd name="T3" fmla="*/ 1 h 63"/>
                <a:gd name="T4" fmla="*/ 109 w 121"/>
                <a:gd name="T5" fmla="*/ 1 h 63"/>
                <a:gd name="T6" fmla="*/ 108 w 121"/>
                <a:gd name="T7" fmla="*/ 0 h 63"/>
                <a:gd name="T8" fmla="*/ 95 w 121"/>
                <a:gd name="T9" fmla="*/ 0 h 63"/>
                <a:gd name="T10" fmla="*/ 93 w 121"/>
                <a:gd name="T11" fmla="*/ 21 h 63"/>
                <a:gd name="T12" fmla="*/ 73 w 121"/>
                <a:gd name="T13" fmla="*/ 37 h 63"/>
                <a:gd name="T14" fmla="*/ 68 w 121"/>
                <a:gd name="T15" fmla="*/ 40 h 63"/>
                <a:gd name="T16" fmla="*/ 63 w 121"/>
                <a:gd name="T17" fmla="*/ 37 h 63"/>
                <a:gd name="T18" fmla="*/ 57 w 121"/>
                <a:gd name="T19" fmla="*/ 40 h 63"/>
                <a:gd name="T20" fmla="*/ 52 w 121"/>
                <a:gd name="T21" fmla="*/ 36 h 63"/>
                <a:gd name="T22" fmla="*/ 53 w 121"/>
                <a:gd name="T23" fmla="*/ 24 h 63"/>
                <a:gd name="T24" fmla="*/ 49 w 121"/>
                <a:gd name="T25" fmla="*/ 32 h 63"/>
                <a:gd name="T26" fmla="*/ 49 w 121"/>
                <a:gd name="T27" fmla="*/ 37 h 63"/>
                <a:gd name="T28" fmla="*/ 41 w 121"/>
                <a:gd name="T29" fmla="*/ 40 h 63"/>
                <a:gd name="T30" fmla="*/ 40 w 121"/>
                <a:gd name="T31" fmla="*/ 38 h 63"/>
                <a:gd name="T32" fmla="*/ 30 w 121"/>
                <a:gd name="T33" fmla="*/ 41 h 63"/>
                <a:gd name="T34" fmla="*/ 23 w 121"/>
                <a:gd name="T35" fmla="*/ 39 h 63"/>
                <a:gd name="T36" fmla="*/ 16 w 121"/>
                <a:gd name="T37" fmla="*/ 39 h 63"/>
                <a:gd name="T38" fmla="*/ 13 w 121"/>
                <a:gd name="T39" fmla="*/ 38 h 63"/>
                <a:gd name="T40" fmla="*/ 11 w 121"/>
                <a:gd name="T41" fmla="*/ 39 h 63"/>
                <a:gd name="T42" fmla="*/ 9 w 121"/>
                <a:gd name="T43" fmla="*/ 39 h 63"/>
                <a:gd name="T44" fmla="*/ 4 w 121"/>
                <a:gd name="T45" fmla="*/ 37 h 63"/>
                <a:gd name="T46" fmla="*/ 3 w 121"/>
                <a:gd name="T47" fmla="*/ 46 h 63"/>
                <a:gd name="T48" fmla="*/ 22 w 121"/>
                <a:gd name="T49" fmla="*/ 55 h 63"/>
                <a:gd name="T50" fmla="*/ 30 w 121"/>
                <a:gd name="T51" fmla="*/ 56 h 63"/>
                <a:gd name="T52" fmla="*/ 37 w 121"/>
                <a:gd name="T53" fmla="*/ 61 h 63"/>
                <a:gd name="T54" fmla="*/ 54 w 121"/>
                <a:gd name="T55" fmla="*/ 61 h 63"/>
                <a:gd name="T56" fmla="*/ 80 w 121"/>
                <a:gd name="T57" fmla="*/ 54 h 63"/>
                <a:gd name="T58" fmla="*/ 89 w 121"/>
                <a:gd name="T59" fmla="*/ 48 h 63"/>
                <a:gd name="T60" fmla="*/ 99 w 121"/>
                <a:gd name="T61" fmla="*/ 40 h 63"/>
                <a:gd name="T62" fmla="*/ 103 w 121"/>
                <a:gd name="T63" fmla="*/ 41 h 63"/>
                <a:gd name="T64" fmla="*/ 111 w 121"/>
                <a:gd name="T65" fmla="*/ 37 h 63"/>
                <a:gd name="T66" fmla="*/ 108 w 121"/>
                <a:gd name="T67" fmla="*/ 23 h 63"/>
                <a:gd name="T68" fmla="*/ 112 w 121"/>
                <a:gd name="T69" fmla="*/ 24 h 63"/>
                <a:gd name="T70" fmla="*/ 118 w 121"/>
                <a:gd name="T71" fmla="*/ 19 h 63"/>
                <a:gd name="T72" fmla="*/ 113 w 121"/>
                <a:gd name="T73"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63">
                  <a:moveTo>
                    <a:pt x="114" y="0"/>
                  </a:moveTo>
                  <a:cubicBezTo>
                    <a:pt x="113" y="0"/>
                    <a:pt x="112" y="0"/>
                    <a:pt x="111" y="0"/>
                  </a:cubicBezTo>
                  <a:cubicBezTo>
                    <a:pt x="111" y="1"/>
                    <a:pt x="110" y="1"/>
                    <a:pt x="110" y="1"/>
                  </a:cubicBezTo>
                  <a:cubicBezTo>
                    <a:pt x="110" y="1"/>
                    <a:pt x="110" y="1"/>
                    <a:pt x="110" y="1"/>
                  </a:cubicBezTo>
                  <a:cubicBezTo>
                    <a:pt x="110" y="1"/>
                    <a:pt x="110" y="1"/>
                    <a:pt x="110" y="1"/>
                  </a:cubicBezTo>
                  <a:cubicBezTo>
                    <a:pt x="109" y="1"/>
                    <a:pt x="109" y="1"/>
                    <a:pt x="109" y="1"/>
                  </a:cubicBezTo>
                  <a:cubicBezTo>
                    <a:pt x="109" y="1"/>
                    <a:pt x="109" y="0"/>
                    <a:pt x="108" y="0"/>
                  </a:cubicBezTo>
                  <a:cubicBezTo>
                    <a:pt x="108" y="0"/>
                    <a:pt x="108" y="0"/>
                    <a:pt x="108" y="0"/>
                  </a:cubicBezTo>
                  <a:cubicBezTo>
                    <a:pt x="107" y="1"/>
                    <a:pt x="105" y="2"/>
                    <a:pt x="104" y="3"/>
                  </a:cubicBezTo>
                  <a:cubicBezTo>
                    <a:pt x="104" y="0"/>
                    <a:pt x="97" y="1"/>
                    <a:pt x="95" y="0"/>
                  </a:cubicBezTo>
                  <a:cubicBezTo>
                    <a:pt x="95" y="8"/>
                    <a:pt x="96" y="15"/>
                    <a:pt x="97" y="22"/>
                  </a:cubicBezTo>
                  <a:cubicBezTo>
                    <a:pt x="96" y="22"/>
                    <a:pt x="94" y="21"/>
                    <a:pt x="93" y="21"/>
                  </a:cubicBezTo>
                  <a:cubicBezTo>
                    <a:pt x="85" y="21"/>
                    <a:pt x="80" y="31"/>
                    <a:pt x="75" y="38"/>
                  </a:cubicBezTo>
                  <a:cubicBezTo>
                    <a:pt x="74" y="37"/>
                    <a:pt x="74" y="37"/>
                    <a:pt x="73" y="37"/>
                  </a:cubicBezTo>
                  <a:cubicBezTo>
                    <a:pt x="72" y="37"/>
                    <a:pt x="72" y="38"/>
                    <a:pt x="71" y="38"/>
                  </a:cubicBezTo>
                  <a:cubicBezTo>
                    <a:pt x="70" y="39"/>
                    <a:pt x="69" y="40"/>
                    <a:pt x="68" y="40"/>
                  </a:cubicBezTo>
                  <a:cubicBezTo>
                    <a:pt x="68" y="40"/>
                    <a:pt x="68" y="40"/>
                    <a:pt x="68" y="40"/>
                  </a:cubicBezTo>
                  <a:cubicBezTo>
                    <a:pt x="66" y="40"/>
                    <a:pt x="66" y="37"/>
                    <a:pt x="63" y="37"/>
                  </a:cubicBezTo>
                  <a:cubicBezTo>
                    <a:pt x="63" y="37"/>
                    <a:pt x="63" y="37"/>
                    <a:pt x="63" y="37"/>
                  </a:cubicBezTo>
                  <a:cubicBezTo>
                    <a:pt x="60" y="37"/>
                    <a:pt x="59" y="40"/>
                    <a:pt x="57" y="40"/>
                  </a:cubicBezTo>
                  <a:cubicBezTo>
                    <a:pt x="57" y="40"/>
                    <a:pt x="56" y="40"/>
                    <a:pt x="56" y="40"/>
                  </a:cubicBezTo>
                  <a:cubicBezTo>
                    <a:pt x="53" y="40"/>
                    <a:pt x="54" y="39"/>
                    <a:pt x="52" y="36"/>
                  </a:cubicBezTo>
                  <a:cubicBezTo>
                    <a:pt x="51" y="33"/>
                    <a:pt x="50" y="29"/>
                    <a:pt x="53" y="28"/>
                  </a:cubicBezTo>
                  <a:cubicBezTo>
                    <a:pt x="56" y="26"/>
                    <a:pt x="54" y="24"/>
                    <a:pt x="53" y="24"/>
                  </a:cubicBezTo>
                  <a:cubicBezTo>
                    <a:pt x="51" y="24"/>
                    <a:pt x="50" y="25"/>
                    <a:pt x="50" y="28"/>
                  </a:cubicBezTo>
                  <a:cubicBezTo>
                    <a:pt x="50" y="31"/>
                    <a:pt x="49" y="31"/>
                    <a:pt x="49" y="32"/>
                  </a:cubicBezTo>
                  <a:cubicBezTo>
                    <a:pt x="48" y="33"/>
                    <a:pt x="48" y="33"/>
                    <a:pt x="47" y="34"/>
                  </a:cubicBezTo>
                  <a:cubicBezTo>
                    <a:pt x="47" y="35"/>
                    <a:pt x="49" y="36"/>
                    <a:pt x="49" y="37"/>
                  </a:cubicBezTo>
                  <a:cubicBezTo>
                    <a:pt x="48" y="40"/>
                    <a:pt x="44" y="39"/>
                    <a:pt x="43" y="39"/>
                  </a:cubicBezTo>
                  <a:cubicBezTo>
                    <a:pt x="43" y="39"/>
                    <a:pt x="42" y="40"/>
                    <a:pt x="41" y="40"/>
                  </a:cubicBezTo>
                  <a:cubicBezTo>
                    <a:pt x="41" y="40"/>
                    <a:pt x="40" y="40"/>
                    <a:pt x="40" y="39"/>
                  </a:cubicBezTo>
                  <a:cubicBezTo>
                    <a:pt x="40" y="39"/>
                    <a:pt x="40" y="38"/>
                    <a:pt x="40" y="38"/>
                  </a:cubicBezTo>
                  <a:cubicBezTo>
                    <a:pt x="39" y="38"/>
                    <a:pt x="38" y="39"/>
                    <a:pt x="37" y="39"/>
                  </a:cubicBezTo>
                  <a:cubicBezTo>
                    <a:pt x="34" y="41"/>
                    <a:pt x="32" y="41"/>
                    <a:pt x="30" y="41"/>
                  </a:cubicBezTo>
                  <a:cubicBezTo>
                    <a:pt x="29" y="41"/>
                    <a:pt x="29" y="41"/>
                    <a:pt x="29" y="41"/>
                  </a:cubicBezTo>
                  <a:cubicBezTo>
                    <a:pt x="27" y="41"/>
                    <a:pt x="26" y="40"/>
                    <a:pt x="23" y="39"/>
                  </a:cubicBezTo>
                  <a:cubicBezTo>
                    <a:pt x="22" y="39"/>
                    <a:pt x="21" y="38"/>
                    <a:pt x="21" y="38"/>
                  </a:cubicBezTo>
                  <a:cubicBezTo>
                    <a:pt x="19" y="38"/>
                    <a:pt x="18" y="39"/>
                    <a:pt x="16" y="39"/>
                  </a:cubicBezTo>
                  <a:cubicBezTo>
                    <a:pt x="16" y="39"/>
                    <a:pt x="16" y="40"/>
                    <a:pt x="16" y="40"/>
                  </a:cubicBezTo>
                  <a:cubicBezTo>
                    <a:pt x="15" y="40"/>
                    <a:pt x="14" y="38"/>
                    <a:pt x="13" y="38"/>
                  </a:cubicBezTo>
                  <a:cubicBezTo>
                    <a:pt x="13" y="38"/>
                    <a:pt x="13" y="38"/>
                    <a:pt x="12" y="38"/>
                  </a:cubicBezTo>
                  <a:cubicBezTo>
                    <a:pt x="12" y="38"/>
                    <a:pt x="11" y="38"/>
                    <a:pt x="11" y="39"/>
                  </a:cubicBezTo>
                  <a:cubicBezTo>
                    <a:pt x="10" y="39"/>
                    <a:pt x="10" y="39"/>
                    <a:pt x="9" y="39"/>
                  </a:cubicBezTo>
                  <a:cubicBezTo>
                    <a:pt x="9" y="39"/>
                    <a:pt x="9" y="39"/>
                    <a:pt x="9" y="39"/>
                  </a:cubicBezTo>
                  <a:cubicBezTo>
                    <a:pt x="7" y="39"/>
                    <a:pt x="8" y="38"/>
                    <a:pt x="6" y="38"/>
                  </a:cubicBezTo>
                  <a:cubicBezTo>
                    <a:pt x="5" y="38"/>
                    <a:pt x="5" y="37"/>
                    <a:pt x="4" y="37"/>
                  </a:cubicBezTo>
                  <a:cubicBezTo>
                    <a:pt x="4" y="37"/>
                    <a:pt x="3" y="37"/>
                    <a:pt x="3" y="38"/>
                  </a:cubicBezTo>
                  <a:cubicBezTo>
                    <a:pt x="0" y="39"/>
                    <a:pt x="1" y="45"/>
                    <a:pt x="3" y="46"/>
                  </a:cubicBezTo>
                  <a:cubicBezTo>
                    <a:pt x="5" y="49"/>
                    <a:pt x="11" y="49"/>
                    <a:pt x="14" y="50"/>
                  </a:cubicBezTo>
                  <a:cubicBezTo>
                    <a:pt x="16" y="52"/>
                    <a:pt x="18" y="53"/>
                    <a:pt x="22" y="55"/>
                  </a:cubicBezTo>
                  <a:cubicBezTo>
                    <a:pt x="22" y="55"/>
                    <a:pt x="23" y="57"/>
                    <a:pt x="22" y="58"/>
                  </a:cubicBezTo>
                  <a:cubicBezTo>
                    <a:pt x="25" y="57"/>
                    <a:pt x="27" y="56"/>
                    <a:pt x="30" y="56"/>
                  </a:cubicBezTo>
                  <a:cubicBezTo>
                    <a:pt x="31" y="56"/>
                    <a:pt x="33" y="56"/>
                    <a:pt x="36" y="58"/>
                  </a:cubicBezTo>
                  <a:cubicBezTo>
                    <a:pt x="36" y="59"/>
                    <a:pt x="37" y="60"/>
                    <a:pt x="37" y="61"/>
                  </a:cubicBezTo>
                  <a:cubicBezTo>
                    <a:pt x="39" y="62"/>
                    <a:pt x="42" y="63"/>
                    <a:pt x="45" y="63"/>
                  </a:cubicBezTo>
                  <a:cubicBezTo>
                    <a:pt x="48" y="63"/>
                    <a:pt x="52" y="62"/>
                    <a:pt x="54" y="61"/>
                  </a:cubicBezTo>
                  <a:cubicBezTo>
                    <a:pt x="61" y="60"/>
                    <a:pt x="69" y="59"/>
                    <a:pt x="75" y="56"/>
                  </a:cubicBezTo>
                  <a:cubicBezTo>
                    <a:pt x="76" y="55"/>
                    <a:pt x="79" y="55"/>
                    <a:pt x="80" y="54"/>
                  </a:cubicBezTo>
                  <a:cubicBezTo>
                    <a:pt x="81" y="54"/>
                    <a:pt x="84" y="52"/>
                    <a:pt x="85" y="51"/>
                  </a:cubicBezTo>
                  <a:cubicBezTo>
                    <a:pt x="86" y="49"/>
                    <a:pt x="88" y="49"/>
                    <a:pt x="89" y="48"/>
                  </a:cubicBezTo>
                  <a:cubicBezTo>
                    <a:pt x="92" y="46"/>
                    <a:pt x="94" y="42"/>
                    <a:pt x="96" y="41"/>
                  </a:cubicBezTo>
                  <a:cubicBezTo>
                    <a:pt x="97" y="40"/>
                    <a:pt x="98" y="40"/>
                    <a:pt x="99" y="40"/>
                  </a:cubicBezTo>
                  <a:cubicBezTo>
                    <a:pt x="100" y="40"/>
                    <a:pt x="100" y="40"/>
                    <a:pt x="101" y="40"/>
                  </a:cubicBezTo>
                  <a:cubicBezTo>
                    <a:pt x="101" y="41"/>
                    <a:pt x="102" y="41"/>
                    <a:pt x="103" y="41"/>
                  </a:cubicBezTo>
                  <a:cubicBezTo>
                    <a:pt x="103" y="41"/>
                    <a:pt x="103" y="41"/>
                    <a:pt x="104" y="41"/>
                  </a:cubicBezTo>
                  <a:cubicBezTo>
                    <a:pt x="105" y="41"/>
                    <a:pt x="110" y="38"/>
                    <a:pt x="111" y="37"/>
                  </a:cubicBezTo>
                  <a:cubicBezTo>
                    <a:pt x="114" y="31"/>
                    <a:pt x="104" y="29"/>
                    <a:pt x="107" y="24"/>
                  </a:cubicBezTo>
                  <a:cubicBezTo>
                    <a:pt x="107" y="23"/>
                    <a:pt x="108" y="23"/>
                    <a:pt x="108" y="23"/>
                  </a:cubicBezTo>
                  <a:cubicBezTo>
                    <a:pt x="109" y="23"/>
                    <a:pt x="110" y="23"/>
                    <a:pt x="110" y="24"/>
                  </a:cubicBezTo>
                  <a:cubicBezTo>
                    <a:pt x="111" y="24"/>
                    <a:pt x="112" y="24"/>
                    <a:pt x="112" y="24"/>
                  </a:cubicBezTo>
                  <a:cubicBezTo>
                    <a:pt x="112" y="24"/>
                    <a:pt x="113" y="24"/>
                    <a:pt x="113" y="24"/>
                  </a:cubicBezTo>
                  <a:cubicBezTo>
                    <a:pt x="115" y="23"/>
                    <a:pt x="117" y="22"/>
                    <a:pt x="118" y="19"/>
                  </a:cubicBezTo>
                  <a:cubicBezTo>
                    <a:pt x="121" y="14"/>
                    <a:pt x="117" y="10"/>
                    <a:pt x="120" y="5"/>
                  </a:cubicBezTo>
                  <a:cubicBezTo>
                    <a:pt x="118" y="4"/>
                    <a:pt x="109" y="4"/>
                    <a:pt x="113" y="1"/>
                  </a:cubicBezTo>
                  <a:cubicBezTo>
                    <a:pt x="114" y="0"/>
                    <a:pt x="114"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8" name="Freeform 1446">
              <a:extLst>
                <a:ext uri="{FF2B5EF4-FFF2-40B4-BE49-F238E27FC236}">
                  <a16:creationId xmlns:a16="http://schemas.microsoft.com/office/drawing/2014/main" id="{72B5BA6F-87B7-4AC6-8E1D-279E3771798E}"/>
                </a:ext>
              </a:extLst>
            </p:cNvPr>
            <p:cNvSpPr>
              <a:spLocks/>
            </p:cNvSpPr>
            <p:nvPr/>
          </p:nvSpPr>
          <p:spPr bwMode="auto">
            <a:xfrm>
              <a:off x="4286" y="1385"/>
              <a:ext cx="14" cy="29"/>
            </a:xfrm>
            <a:custGeom>
              <a:avLst/>
              <a:gdLst>
                <a:gd name="T0" fmla="*/ 4 w 6"/>
                <a:gd name="T1" fmla="*/ 0 h 12"/>
                <a:gd name="T2" fmla="*/ 0 w 6"/>
                <a:gd name="T3" fmla="*/ 2 h 12"/>
                <a:gd name="T4" fmla="*/ 3 w 6"/>
                <a:gd name="T5" fmla="*/ 12 h 12"/>
                <a:gd name="T6" fmla="*/ 6 w 6"/>
                <a:gd name="T7" fmla="*/ 6 h 12"/>
                <a:gd name="T8" fmla="*/ 5 w 6"/>
                <a:gd name="T9" fmla="*/ 3 h 12"/>
                <a:gd name="T10" fmla="*/ 4 w 6"/>
                <a:gd name="T11" fmla="*/ 0 h 12"/>
                <a:gd name="T12" fmla="*/ 4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4" y="0"/>
                  </a:moveTo>
                  <a:cubicBezTo>
                    <a:pt x="3" y="0"/>
                    <a:pt x="0" y="2"/>
                    <a:pt x="0" y="2"/>
                  </a:cubicBezTo>
                  <a:cubicBezTo>
                    <a:pt x="0" y="5"/>
                    <a:pt x="3" y="10"/>
                    <a:pt x="3" y="12"/>
                  </a:cubicBezTo>
                  <a:cubicBezTo>
                    <a:pt x="5" y="11"/>
                    <a:pt x="6" y="8"/>
                    <a:pt x="6" y="6"/>
                  </a:cubicBezTo>
                  <a:cubicBezTo>
                    <a:pt x="6" y="5"/>
                    <a:pt x="5" y="5"/>
                    <a:pt x="5" y="3"/>
                  </a:cubicBezTo>
                  <a:cubicBezTo>
                    <a:pt x="4" y="2"/>
                    <a:pt x="5"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9" name="Freeform 1447">
              <a:extLst>
                <a:ext uri="{FF2B5EF4-FFF2-40B4-BE49-F238E27FC236}">
                  <a16:creationId xmlns:a16="http://schemas.microsoft.com/office/drawing/2014/main" id="{535A975C-ED87-471B-AF46-DCF064A19B72}"/>
                </a:ext>
              </a:extLst>
            </p:cNvPr>
            <p:cNvSpPr>
              <a:spLocks/>
            </p:cNvSpPr>
            <p:nvPr/>
          </p:nvSpPr>
          <p:spPr bwMode="auto">
            <a:xfrm>
              <a:off x="4031" y="1766"/>
              <a:ext cx="7" cy="7"/>
            </a:xfrm>
            <a:custGeom>
              <a:avLst/>
              <a:gdLst>
                <a:gd name="T0" fmla="*/ 1 w 3"/>
                <a:gd name="T1" fmla="*/ 0 h 3"/>
                <a:gd name="T2" fmla="*/ 0 w 3"/>
                <a:gd name="T3" fmla="*/ 0 h 3"/>
                <a:gd name="T4" fmla="*/ 2 w 3"/>
                <a:gd name="T5" fmla="*/ 3 h 3"/>
                <a:gd name="T6" fmla="*/ 1 w 3"/>
                <a:gd name="T7" fmla="*/ 0 h 3"/>
              </a:gdLst>
              <a:ahLst/>
              <a:cxnLst>
                <a:cxn ang="0">
                  <a:pos x="T0" y="T1"/>
                </a:cxn>
                <a:cxn ang="0">
                  <a:pos x="T2" y="T3"/>
                </a:cxn>
                <a:cxn ang="0">
                  <a:pos x="T4" y="T5"/>
                </a:cxn>
                <a:cxn ang="0">
                  <a:pos x="T6" y="T7"/>
                </a:cxn>
              </a:cxnLst>
              <a:rect l="0" t="0" r="r" b="b"/>
              <a:pathLst>
                <a:path w="3" h="3">
                  <a:moveTo>
                    <a:pt x="1" y="0"/>
                  </a:moveTo>
                  <a:cubicBezTo>
                    <a:pt x="1" y="0"/>
                    <a:pt x="0" y="0"/>
                    <a:pt x="0" y="0"/>
                  </a:cubicBezTo>
                  <a:cubicBezTo>
                    <a:pt x="0" y="1"/>
                    <a:pt x="1" y="2"/>
                    <a:pt x="2" y="3"/>
                  </a:cubicBezTo>
                  <a:cubicBezTo>
                    <a:pt x="3" y="1"/>
                    <a:pt x="3"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0" name="Freeform 1448">
              <a:extLst>
                <a:ext uri="{FF2B5EF4-FFF2-40B4-BE49-F238E27FC236}">
                  <a16:creationId xmlns:a16="http://schemas.microsoft.com/office/drawing/2014/main" id="{FF94795E-4046-4241-ABD5-8F5FE8EA0603}"/>
                </a:ext>
              </a:extLst>
            </p:cNvPr>
            <p:cNvSpPr>
              <a:spLocks/>
            </p:cNvSpPr>
            <p:nvPr/>
          </p:nvSpPr>
          <p:spPr bwMode="auto">
            <a:xfrm>
              <a:off x="4298" y="1411"/>
              <a:ext cx="87" cy="102"/>
            </a:xfrm>
            <a:custGeom>
              <a:avLst/>
              <a:gdLst>
                <a:gd name="T0" fmla="*/ 1 w 37"/>
                <a:gd name="T1" fmla="*/ 0 h 43"/>
                <a:gd name="T2" fmla="*/ 1 w 37"/>
                <a:gd name="T3" fmla="*/ 12 h 43"/>
                <a:gd name="T4" fmla="*/ 14 w 37"/>
                <a:gd name="T5" fmla="*/ 32 h 43"/>
                <a:gd name="T6" fmla="*/ 13 w 37"/>
                <a:gd name="T7" fmla="*/ 32 h 43"/>
                <a:gd name="T8" fmla="*/ 15 w 37"/>
                <a:gd name="T9" fmla="*/ 34 h 43"/>
                <a:gd name="T10" fmla="*/ 29 w 37"/>
                <a:gd name="T11" fmla="*/ 43 h 43"/>
                <a:gd name="T12" fmla="*/ 34 w 37"/>
                <a:gd name="T13" fmla="*/ 39 h 43"/>
                <a:gd name="T14" fmla="*/ 36 w 37"/>
                <a:gd name="T15" fmla="*/ 39 h 43"/>
                <a:gd name="T16" fmla="*/ 36 w 37"/>
                <a:gd name="T17" fmla="*/ 39 h 43"/>
                <a:gd name="T18" fmla="*/ 36 w 37"/>
                <a:gd name="T19" fmla="*/ 32 h 43"/>
                <a:gd name="T20" fmla="*/ 30 w 37"/>
                <a:gd name="T21" fmla="*/ 26 h 43"/>
                <a:gd name="T22" fmla="*/ 27 w 37"/>
                <a:gd name="T23" fmla="*/ 22 h 43"/>
                <a:gd name="T24" fmla="*/ 24 w 37"/>
                <a:gd name="T25" fmla="*/ 21 h 43"/>
                <a:gd name="T26" fmla="*/ 21 w 37"/>
                <a:gd name="T27" fmla="*/ 19 h 43"/>
                <a:gd name="T28" fmla="*/ 19 w 37"/>
                <a:gd name="T29" fmla="*/ 16 h 43"/>
                <a:gd name="T30" fmla="*/ 15 w 37"/>
                <a:gd name="T31" fmla="*/ 13 h 43"/>
                <a:gd name="T32" fmla="*/ 14 w 37"/>
                <a:gd name="T33" fmla="*/ 9 h 43"/>
                <a:gd name="T34" fmla="*/ 9 w 37"/>
                <a:gd name="T35" fmla="*/ 4 h 43"/>
                <a:gd name="T36" fmla="*/ 1 w 37"/>
                <a:gd name="T3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3">
                  <a:moveTo>
                    <a:pt x="1" y="0"/>
                  </a:moveTo>
                  <a:cubicBezTo>
                    <a:pt x="0" y="4"/>
                    <a:pt x="0" y="8"/>
                    <a:pt x="1" y="12"/>
                  </a:cubicBezTo>
                  <a:cubicBezTo>
                    <a:pt x="2" y="19"/>
                    <a:pt x="10" y="26"/>
                    <a:pt x="14" y="32"/>
                  </a:cubicBezTo>
                  <a:cubicBezTo>
                    <a:pt x="14" y="32"/>
                    <a:pt x="14" y="32"/>
                    <a:pt x="13" y="32"/>
                  </a:cubicBezTo>
                  <a:cubicBezTo>
                    <a:pt x="13" y="32"/>
                    <a:pt x="14" y="33"/>
                    <a:pt x="15" y="34"/>
                  </a:cubicBezTo>
                  <a:cubicBezTo>
                    <a:pt x="19" y="38"/>
                    <a:pt x="24" y="40"/>
                    <a:pt x="29" y="43"/>
                  </a:cubicBezTo>
                  <a:cubicBezTo>
                    <a:pt x="31" y="40"/>
                    <a:pt x="32" y="40"/>
                    <a:pt x="34" y="39"/>
                  </a:cubicBezTo>
                  <a:cubicBezTo>
                    <a:pt x="34" y="39"/>
                    <a:pt x="35" y="39"/>
                    <a:pt x="36" y="39"/>
                  </a:cubicBezTo>
                  <a:cubicBezTo>
                    <a:pt x="36" y="39"/>
                    <a:pt x="36" y="39"/>
                    <a:pt x="36" y="39"/>
                  </a:cubicBezTo>
                  <a:cubicBezTo>
                    <a:pt x="37" y="38"/>
                    <a:pt x="36" y="33"/>
                    <a:pt x="36" y="32"/>
                  </a:cubicBezTo>
                  <a:cubicBezTo>
                    <a:pt x="35" y="30"/>
                    <a:pt x="32" y="28"/>
                    <a:pt x="30" y="26"/>
                  </a:cubicBezTo>
                  <a:cubicBezTo>
                    <a:pt x="30" y="26"/>
                    <a:pt x="27" y="22"/>
                    <a:pt x="27" y="22"/>
                  </a:cubicBezTo>
                  <a:cubicBezTo>
                    <a:pt x="26" y="21"/>
                    <a:pt x="25" y="21"/>
                    <a:pt x="24" y="21"/>
                  </a:cubicBezTo>
                  <a:cubicBezTo>
                    <a:pt x="23" y="21"/>
                    <a:pt x="22" y="21"/>
                    <a:pt x="21" y="19"/>
                  </a:cubicBezTo>
                  <a:cubicBezTo>
                    <a:pt x="20" y="17"/>
                    <a:pt x="20" y="17"/>
                    <a:pt x="19" y="16"/>
                  </a:cubicBezTo>
                  <a:cubicBezTo>
                    <a:pt x="18" y="15"/>
                    <a:pt x="16" y="14"/>
                    <a:pt x="15" y="13"/>
                  </a:cubicBezTo>
                  <a:cubicBezTo>
                    <a:pt x="14" y="12"/>
                    <a:pt x="15" y="11"/>
                    <a:pt x="14" y="9"/>
                  </a:cubicBezTo>
                  <a:cubicBezTo>
                    <a:pt x="12" y="7"/>
                    <a:pt x="11" y="4"/>
                    <a:pt x="9" y="4"/>
                  </a:cubicBezTo>
                  <a:cubicBezTo>
                    <a:pt x="5" y="2"/>
                    <a:pt x="3" y="3"/>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1" name="Freeform 1449">
              <a:extLst>
                <a:ext uri="{FF2B5EF4-FFF2-40B4-BE49-F238E27FC236}">
                  <a16:creationId xmlns:a16="http://schemas.microsoft.com/office/drawing/2014/main" id="{33BBF429-9EF8-44AC-A8C0-5A536C865431}"/>
                </a:ext>
              </a:extLst>
            </p:cNvPr>
            <p:cNvSpPr>
              <a:spLocks/>
            </p:cNvSpPr>
            <p:nvPr/>
          </p:nvSpPr>
          <p:spPr bwMode="auto">
            <a:xfrm>
              <a:off x="4108" y="1225"/>
              <a:ext cx="5" cy="9"/>
            </a:xfrm>
            <a:custGeom>
              <a:avLst/>
              <a:gdLst>
                <a:gd name="T0" fmla="*/ 0 w 2"/>
                <a:gd name="T1" fmla="*/ 0 h 4"/>
                <a:gd name="T2" fmla="*/ 1 w 2"/>
                <a:gd name="T3" fmla="*/ 4 h 4"/>
                <a:gd name="T4" fmla="*/ 0 w 2"/>
                <a:gd name="T5" fmla="*/ 0 h 4"/>
              </a:gdLst>
              <a:ahLst/>
              <a:cxnLst>
                <a:cxn ang="0">
                  <a:pos x="T0" y="T1"/>
                </a:cxn>
                <a:cxn ang="0">
                  <a:pos x="T2" y="T3"/>
                </a:cxn>
                <a:cxn ang="0">
                  <a:pos x="T4" y="T5"/>
                </a:cxn>
              </a:cxnLst>
              <a:rect l="0" t="0" r="r" b="b"/>
              <a:pathLst>
                <a:path w="2" h="4">
                  <a:moveTo>
                    <a:pt x="0" y="0"/>
                  </a:moveTo>
                  <a:cubicBezTo>
                    <a:pt x="0" y="2"/>
                    <a:pt x="0" y="3"/>
                    <a:pt x="1" y="4"/>
                  </a:cubicBezTo>
                  <a:cubicBezTo>
                    <a:pt x="2" y="2"/>
                    <a:pt x="2"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2" name="Freeform 1450">
              <a:extLst>
                <a:ext uri="{FF2B5EF4-FFF2-40B4-BE49-F238E27FC236}">
                  <a16:creationId xmlns:a16="http://schemas.microsoft.com/office/drawing/2014/main" id="{7E12F9A0-2E3B-431D-8D7F-74DA47C21E66}"/>
                </a:ext>
              </a:extLst>
            </p:cNvPr>
            <p:cNvSpPr>
              <a:spLocks/>
            </p:cNvSpPr>
            <p:nvPr/>
          </p:nvSpPr>
          <p:spPr bwMode="auto">
            <a:xfrm>
              <a:off x="3766" y="1397"/>
              <a:ext cx="21" cy="17"/>
            </a:xfrm>
            <a:custGeom>
              <a:avLst/>
              <a:gdLst>
                <a:gd name="T0" fmla="*/ 5 w 9"/>
                <a:gd name="T1" fmla="*/ 0 h 7"/>
                <a:gd name="T2" fmla="*/ 3 w 9"/>
                <a:gd name="T3" fmla="*/ 1 h 7"/>
                <a:gd name="T4" fmla="*/ 5 w 9"/>
                <a:gd name="T5" fmla="*/ 7 h 7"/>
                <a:gd name="T6" fmla="*/ 7 w 9"/>
                <a:gd name="T7" fmla="*/ 1 h 7"/>
                <a:gd name="T8" fmla="*/ 5 w 9"/>
                <a:gd name="T9" fmla="*/ 0 h 7"/>
              </a:gdLst>
              <a:ahLst/>
              <a:cxnLst>
                <a:cxn ang="0">
                  <a:pos x="T0" y="T1"/>
                </a:cxn>
                <a:cxn ang="0">
                  <a:pos x="T2" y="T3"/>
                </a:cxn>
                <a:cxn ang="0">
                  <a:pos x="T4" y="T5"/>
                </a:cxn>
                <a:cxn ang="0">
                  <a:pos x="T6" y="T7"/>
                </a:cxn>
                <a:cxn ang="0">
                  <a:pos x="T8" y="T9"/>
                </a:cxn>
              </a:cxnLst>
              <a:rect l="0" t="0" r="r" b="b"/>
              <a:pathLst>
                <a:path w="9" h="7">
                  <a:moveTo>
                    <a:pt x="5" y="0"/>
                  </a:moveTo>
                  <a:cubicBezTo>
                    <a:pt x="4" y="0"/>
                    <a:pt x="4" y="0"/>
                    <a:pt x="3" y="1"/>
                  </a:cubicBezTo>
                  <a:cubicBezTo>
                    <a:pt x="0" y="2"/>
                    <a:pt x="5" y="6"/>
                    <a:pt x="5" y="7"/>
                  </a:cubicBezTo>
                  <a:cubicBezTo>
                    <a:pt x="9" y="6"/>
                    <a:pt x="9" y="2"/>
                    <a:pt x="7" y="1"/>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3" name="Freeform 1451">
              <a:extLst>
                <a:ext uri="{FF2B5EF4-FFF2-40B4-BE49-F238E27FC236}">
                  <a16:creationId xmlns:a16="http://schemas.microsoft.com/office/drawing/2014/main" id="{27B42C8F-8B5E-4EAF-9EA3-4BBE50D89DC7}"/>
                </a:ext>
              </a:extLst>
            </p:cNvPr>
            <p:cNvSpPr>
              <a:spLocks/>
            </p:cNvSpPr>
            <p:nvPr/>
          </p:nvSpPr>
          <p:spPr bwMode="auto">
            <a:xfrm>
              <a:off x="3823" y="1196"/>
              <a:ext cx="7" cy="5"/>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1"/>
                    <a:pt x="0" y="2"/>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4" name="Freeform 1452">
              <a:extLst>
                <a:ext uri="{FF2B5EF4-FFF2-40B4-BE49-F238E27FC236}">
                  <a16:creationId xmlns:a16="http://schemas.microsoft.com/office/drawing/2014/main" id="{EB8DD7AB-D8F6-4B09-9786-B85DB16312A6}"/>
                </a:ext>
              </a:extLst>
            </p:cNvPr>
            <p:cNvSpPr>
              <a:spLocks/>
            </p:cNvSpPr>
            <p:nvPr/>
          </p:nvSpPr>
          <p:spPr bwMode="auto">
            <a:xfrm>
              <a:off x="4146" y="1248"/>
              <a:ext cx="12" cy="12"/>
            </a:xfrm>
            <a:custGeom>
              <a:avLst/>
              <a:gdLst>
                <a:gd name="T0" fmla="*/ 4 w 5"/>
                <a:gd name="T1" fmla="*/ 0 h 5"/>
                <a:gd name="T2" fmla="*/ 4 w 5"/>
                <a:gd name="T3" fmla="*/ 5 h 5"/>
                <a:gd name="T4" fmla="*/ 4 w 5"/>
                <a:gd name="T5" fmla="*/ 0 h 5"/>
              </a:gdLst>
              <a:ahLst/>
              <a:cxnLst>
                <a:cxn ang="0">
                  <a:pos x="T0" y="T1"/>
                </a:cxn>
                <a:cxn ang="0">
                  <a:pos x="T2" y="T3"/>
                </a:cxn>
                <a:cxn ang="0">
                  <a:pos x="T4" y="T5"/>
                </a:cxn>
              </a:cxnLst>
              <a:rect l="0" t="0" r="r" b="b"/>
              <a:pathLst>
                <a:path w="5" h="5">
                  <a:moveTo>
                    <a:pt x="4" y="0"/>
                  </a:moveTo>
                  <a:cubicBezTo>
                    <a:pt x="0" y="0"/>
                    <a:pt x="3" y="4"/>
                    <a:pt x="4" y="5"/>
                  </a:cubicBezTo>
                  <a:cubicBezTo>
                    <a:pt x="5" y="4"/>
                    <a:pt x="5"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5" name="Freeform 1453">
              <a:extLst>
                <a:ext uri="{FF2B5EF4-FFF2-40B4-BE49-F238E27FC236}">
                  <a16:creationId xmlns:a16="http://schemas.microsoft.com/office/drawing/2014/main" id="{DC2FC4CA-67DB-4221-AF89-A316E62D6942}"/>
                </a:ext>
              </a:extLst>
            </p:cNvPr>
            <p:cNvSpPr>
              <a:spLocks/>
            </p:cNvSpPr>
            <p:nvPr/>
          </p:nvSpPr>
          <p:spPr bwMode="auto">
            <a:xfrm>
              <a:off x="3697" y="1350"/>
              <a:ext cx="10" cy="17"/>
            </a:xfrm>
            <a:custGeom>
              <a:avLst/>
              <a:gdLst>
                <a:gd name="T0" fmla="*/ 1 w 4"/>
                <a:gd name="T1" fmla="*/ 0 h 7"/>
                <a:gd name="T2" fmla="*/ 0 w 4"/>
                <a:gd name="T3" fmla="*/ 7 h 7"/>
                <a:gd name="T4" fmla="*/ 1 w 4"/>
                <a:gd name="T5" fmla="*/ 0 h 7"/>
              </a:gdLst>
              <a:ahLst/>
              <a:cxnLst>
                <a:cxn ang="0">
                  <a:pos x="T0" y="T1"/>
                </a:cxn>
                <a:cxn ang="0">
                  <a:pos x="T2" y="T3"/>
                </a:cxn>
                <a:cxn ang="0">
                  <a:pos x="T4" y="T5"/>
                </a:cxn>
              </a:cxnLst>
              <a:rect l="0" t="0" r="r" b="b"/>
              <a:pathLst>
                <a:path w="4" h="7">
                  <a:moveTo>
                    <a:pt x="1" y="0"/>
                  </a:moveTo>
                  <a:cubicBezTo>
                    <a:pt x="0" y="2"/>
                    <a:pt x="0" y="5"/>
                    <a:pt x="0" y="7"/>
                  </a:cubicBezTo>
                  <a:cubicBezTo>
                    <a:pt x="3" y="6"/>
                    <a:pt x="4"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6" name="Freeform 1454">
              <a:extLst>
                <a:ext uri="{FF2B5EF4-FFF2-40B4-BE49-F238E27FC236}">
                  <a16:creationId xmlns:a16="http://schemas.microsoft.com/office/drawing/2014/main" id="{EE010BA3-13BB-4B10-A387-0020012BA8AD}"/>
                </a:ext>
              </a:extLst>
            </p:cNvPr>
            <p:cNvSpPr>
              <a:spLocks/>
            </p:cNvSpPr>
            <p:nvPr/>
          </p:nvSpPr>
          <p:spPr bwMode="auto">
            <a:xfrm>
              <a:off x="3945" y="1133"/>
              <a:ext cx="15" cy="16"/>
            </a:xfrm>
            <a:custGeom>
              <a:avLst/>
              <a:gdLst>
                <a:gd name="T0" fmla="*/ 0 w 6"/>
                <a:gd name="T1" fmla="*/ 0 h 7"/>
                <a:gd name="T2" fmla="*/ 5 w 6"/>
                <a:gd name="T3" fmla="*/ 7 h 7"/>
                <a:gd name="T4" fmla="*/ 0 w 6"/>
                <a:gd name="T5" fmla="*/ 0 h 7"/>
              </a:gdLst>
              <a:ahLst/>
              <a:cxnLst>
                <a:cxn ang="0">
                  <a:pos x="T0" y="T1"/>
                </a:cxn>
                <a:cxn ang="0">
                  <a:pos x="T2" y="T3"/>
                </a:cxn>
                <a:cxn ang="0">
                  <a:pos x="T4" y="T5"/>
                </a:cxn>
              </a:cxnLst>
              <a:rect l="0" t="0" r="r" b="b"/>
              <a:pathLst>
                <a:path w="6" h="7">
                  <a:moveTo>
                    <a:pt x="0" y="0"/>
                  </a:moveTo>
                  <a:cubicBezTo>
                    <a:pt x="1" y="2"/>
                    <a:pt x="3" y="5"/>
                    <a:pt x="5" y="7"/>
                  </a:cubicBezTo>
                  <a:cubicBezTo>
                    <a:pt x="6" y="3"/>
                    <a:pt x="4"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7" name="Freeform 1455">
              <a:extLst>
                <a:ext uri="{FF2B5EF4-FFF2-40B4-BE49-F238E27FC236}">
                  <a16:creationId xmlns:a16="http://schemas.microsoft.com/office/drawing/2014/main" id="{757F18DD-4A42-4B12-89BF-23CC8395CDA2}"/>
                </a:ext>
              </a:extLst>
            </p:cNvPr>
            <p:cNvSpPr>
              <a:spLocks/>
            </p:cNvSpPr>
            <p:nvPr/>
          </p:nvSpPr>
          <p:spPr bwMode="auto">
            <a:xfrm>
              <a:off x="3518" y="1615"/>
              <a:ext cx="19" cy="9"/>
            </a:xfrm>
            <a:custGeom>
              <a:avLst/>
              <a:gdLst>
                <a:gd name="T0" fmla="*/ 4 w 8"/>
                <a:gd name="T1" fmla="*/ 0 h 4"/>
                <a:gd name="T2" fmla="*/ 0 w 8"/>
                <a:gd name="T3" fmla="*/ 0 h 4"/>
                <a:gd name="T4" fmla="*/ 7 w 8"/>
                <a:gd name="T5" fmla="*/ 4 h 4"/>
                <a:gd name="T6" fmla="*/ 4 w 8"/>
                <a:gd name="T7" fmla="*/ 0 h 4"/>
              </a:gdLst>
              <a:ahLst/>
              <a:cxnLst>
                <a:cxn ang="0">
                  <a:pos x="T0" y="T1"/>
                </a:cxn>
                <a:cxn ang="0">
                  <a:pos x="T2" y="T3"/>
                </a:cxn>
                <a:cxn ang="0">
                  <a:pos x="T4" y="T5"/>
                </a:cxn>
                <a:cxn ang="0">
                  <a:pos x="T6" y="T7"/>
                </a:cxn>
              </a:cxnLst>
              <a:rect l="0" t="0" r="r" b="b"/>
              <a:pathLst>
                <a:path w="8" h="4">
                  <a:moveTo>
                    <a:pt x="4" y="0"/>
                  </a:moveTo>
                  <a:cubicBezTo>
                    <a:pt x="2" y="0"/>
                    <a:pt x="1" y="0"/>
                    <a:pt x="0" y="0"/>
                  </a:cubicBezTo>
                  <a:cubicBezTo>
                    <a:pt x="2" y="2"/>
                    <a:pt x="5" y="3"/>
                    <a:pt x="7" y="4"/>
                  </a:cubicBezTo>
                  <a:cubicBezTo>
                    <a:pt x="8" y="1"/>
                    <a:pt x="6"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8" name="Freeform 1456">
              <a:extLst>
                <a:ext uri="{FF2B5EF4-FFF2-40B4-BE49-F238E27FC236}">
                  <a16:creationId xmlns:a16="http://schemas.microsoft.com/office/drawing/2014/main" id="{D21633A3-D100-411F-A70A-46B2E72A6108}"/>
                </a:ext>
              </a:extLst>
            </p:cNvPr>
            <p:cNvSpPr>
              <a:spLocks/>
            </p:cNvSpPr>
            <p:nvPr/>
          </p:nvSpPr>
          <p:spPr bwMode="auto">
            <a:xfrm>
              <a:off x="3825" y="1416"/>
              <a:ext cx="26" cy="26"/>
            </a:xfrm>
            <a:custGeom>
              <a:avLst/>
              <a:gdLst>
                <a:gd name="T0" fmla="*/ 0 w 11"/>
                <a:gd name="T1" fmla="*/ 0 h 11"/>
                <a:gd name="T2" fmla="*/ 0 w 11"/>
                <a:gd name="T3" fmla="*/ 0 h 11"/>
                <a:gd name="T4" fmla="*/ 5 w 11"/>
                <a:gd name="T5" fmla="*/ 11 h 11"/>
                <a:gd name="T6" fmla="*/ 0 w 11"/>
                <a:gd name="T7" fmla="*/ 0 h 11"/>
              </a:gdLst>
              <a:ahLst/>
              <a:cxnLst>
                <a:cxn ang="0">
                  <a:pos x="T0" y="T1"/>
                </a:cxn>
                <a:cxn ang="0">
                  <a:pos x="T2" y="T3"/>
                </a:cxn>
                <a:cxn ang="0">
                  <a:pos x="T4" y="T5"/>
                </a:cxn>
                <a:cxn ang="0">
                  <a:pos x="T6" y="T7"/>
                </a:cxn>
              </a:cxnLst>
              <a:rect l="0" t="0" r="r" b="b"/>
              <a:pathLst>
                <a:path w="11" h="11">
                  <a:moveTo>
                    <a:pt x="0" y="0"/>
                  </a:moveTo>
                  <a:cubicBezTo>
                    <a:pt x="0" y="0"/>
                    <a:pt x="0" y="0"/>
                    <a:pt x="0" y="0"/>
                  </a:cubicBezTo>
                  <a:cubicBezTo>
                    <a:pt x="1" y="4"/>
                    <a:pt x="3" y="7"/>
                    <a:pt x="5" y="11"/>
                  </a:cubicBezTo>
                  <a:cubicBezTo>
                    <a:pt x="11" y="6"/>
                    <a:pt x="5"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9" name="Freeform 1457">
              <a:extLst>
                <a:ext uri="{FF2B5EF4-FFF2-40B4-BE49-F238E27FC236}">
                  <a16:creationId xmlns:a16="http://schemas.microsoft.com/office/drawing/2014/main" id="{DB363798-1634-4AD1-9698-3A9F94CCBF99}"/>
                </a:ext>
              </a:extLst>
            </p:cNvPr>
            <p:cNvSpPr>
              <a:spLocks/>
            </p:cNvSpPr>
            <p:nvPr/>
          </p:nvSpPr>
          <p:spPr bwMode="auto">
            <a:xfrm>
              <a:off x="3938" y="1359"/>
              <a:ext cx="7" cy="5"/>
            </a:xfrm>
            <a:custGeom>
              <a:avLst/>
              <a:gdLst>
                <a:gd name="T0" fmla="*/ 0 w 3"/>
                <a:gd name="T1" fmla="*/ 0 h 2"/>
                <a:gd name="T2" fmla="*/ 3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1"/>
                    <a:pt x="3"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0" name="Freeform 1458">
              <a:extLst>
                <a:ext uri="{FF2B5EF4-FFF2-40B4-BE49-F238E27FC236}">
                  <a16:creationId xmlns:a16="http://schemas.microsoft.com/office/drawing/2014/main" id="{6F781A25-F52A-4D2A-A4B1-632C005063C0}"/>
                </a:ext>
              </a:extLst>
            </p:cNvPr>
            <p:cNvSpPr>
              <a:spLocks/>
            </p:cNvSpPr>
            <p:nvPr/>
          </p:nvSpPr>
          <p:spPr bwMode="auto">
            <a:xfrm>
              <a:off x="4146" y="1657"/>
              <a:ext cx="38" cy="17"/>
            </a:xfrm>
            <a:custGeom>
              <a:avLst/>
              <a:gdLst>
                <a:gd name="T0" fmla="*/ 5 w 16"/>
                <a:gd name="T1" fmla="*/ 0 h 7"/>
                <a:gd name="T2" fmla="*/ 0 w 16"/>
                <a:gd name="T3" fmla="*/ 1 h 7"/>
                <a:gd name="T4" fmla="*/ 10 w 16"/>
                <a:gd name="T5" fmla="*/ 7 h 7"/>
                <a:gd name="T6" fmla="*/ 12 w 16"/>
                <a:gd name="T7" fmla="*/ 7 h 7"/>
                <a:gd name="T8" fmla="*/ 14 w 16"/>
                <a:gd name="T9" fmla="*/ 7 h 7"/>
                <a:gd name="T10" fmla="*/ 14 w 16"/>
                <a:gd name="T11" fmla="*/ 5 h 7"/>
                <a:gd name="T12" fmla="*/ 15 w 16"/>
                <a:gd name="T13" fmla="*/ 5 h 7"/>
                <a:gd name="T14" fmla="*/ 13 w 16"/>
                <a:gd name="T15" fmla="*/ 2 h 7"/>
                <a:gd name="T16" fmla="*/ 13 w 16"/>
                <a:gd name="T17" fmla="*/ 2 h 7"/>
                <a:gd name="T18" fmla="*/ 11 w 16"/>
                <a:gd name="T19" fmla="*/ 1 h 7"/>
                <a:gd name="T20" fmla="*/ 10 w 16"/>
                <a:gd name="T21" fmla="*/ 0 h 7"/>
                <a:gd name="T22" fmla="*/ 10 w 16"/>
                <a:gd name="T23" fmla="*/ 0 h 7"/>
                <a:gd name="T24" fmla="*/ 5 w 16"/>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7">
                  <a:moveTo>
                    <a:pt x="5" y="0"/>
                  </a:moveTo>
                  <a:cubicBezTo>
                    <a:pt x="3" y="0"/>
                    <a:pt x="2" y="0"/>
                    <a:pt x="0" y="1"/>
                  </a:cubicBezTo>
                  <a:cubicBezTo>
                    <a:pt x="3" y="4"/>
                    <a:pt x="7" y="5"/>
                    <a:pt x="10" y="7"/>
                  </a:cubicBezTo>
                  <a:cubicBezTo>
                    <a:pt x="11" y="7"/>
                    <a:pt x="12" y="7"/>
                    <a:pt x="12" y="7"/>
                  </a:cubicBezTo>
                  <a:cubicBezTo>
                    <a:pt x="13" y="7"/>
                    <a:pt x="13" y="7"/>
                    <a:pt x="14" y="7"/>
                  </a:cubicBezTo>
                  <a:cubicBezTo>
                    <a:pt x="14" y="7"/>
                    <a:pt x="14" y="6"/>
                    <a:pt x="14" y="5"/>
                  </a:cubicBezTo>
                  <a:cubicBezTo>
                    <a:pt x="14" y="5"/>
                    <a:pt x="14" y="5"/>
                    <a:pt x="15" y="5"/>
                  </a:cubicBezTo>
                  <a:cubicBezTo>
                    <a:pt x="16" y="5"/>
                    <a:pt x="14" y="3"/>
                    <a:pt x="13" y="2"/>
                  </a:cubicBezTo>
                  <a:cubicBezTo>
                    <a:pt x="13" y="2"/>
                    <a:pt x="13" y="2"/>
                    <a:pt x="13" y="2"/>
                  </a:cubicBezTo>
                  <a:cubicBezTo>
                    <a:pt x="13" y="2"/>
                    <a:pt x="12" y="1"/>
                    <a:pt x="11" y="1"/>
                  </a:cubicBezTo>
                  <a:cubicBezTo>
                    <a:pt x="10" y="1"/>
                    <a:pt x="10" y="0"/>
                    <a:pt x="10" y="0"/>
                  </a:cubicBezTo>
                  <a:cubicBezTo>
                    <a:pt x="10" y="0"/>
                    <a:pt x="10" y="0"/>
                    <a:pt x="10" y="0"/>
                  </a:cubicBezTo>
                  <a:cubicBezTo>
                    <a:pt x="9" y="0"/>
                    <a:pt x="7"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1" name="Freeform 1459">
              <a:extLst>
                <a:ext uri="{FF2B5EF4-FFF2-40B4-BE49-F238E27FC236}">
                  <a16:creationId xmlns:a16="http://schemas.microsoft.com/office/drawing/2014/main" id="{519006D4-D900-488B-B64D-A908BC289AA8}"/>
                </a:ext>
              </a:extLst>
            </p:cNvPr>
            <p:cNvSpPr>
              <a:spLocks/>
            </p:cNvSpPr>
            <p:nvPr/>
          </p:nvSpPr>
          <p:spPr bwMode="auto">
            <a:xfrm>
              <a:off x="3730" y="1173"/>
              <a:ext cx="67" cy="21"/>
            </a:xfrm>
            <a:custGeom>
              <a:avLst/>
              <a:gdLst>
                <a:gd name="T0" fmla="*/ 17 w 28"/>
                <a:gd name="T1" fmla="*/ 0 h 9"/>
                <a:gd name="T2" fmla="*/ 10 w 28"/>
                <a:gd name="T3" fmla="*/ 1 h 9"/>
                <a:gd name="T4" fmla="*/ 10 w 28"/>
                <a:gd name="T5" fmla="*/ 1 h 9"/>
                <a:gd name="T6" fmla="*/ 9 w 28"/>
                <a:gd name="T7" fmla="*/ 1 h 9"/>
                <a:gd name="T8" fmla="*/ 7 w 28"/>
                <a:gd name="T9" fmla="*/ 1 h 9"/>
                <a:gd name="T10" fmla="*/ 4 w 28"/>
                <a:gd name="T11" fmla="*/ 2 h 9"/>
                <a:gd name="T12" fmla="*/ 6 w 28"/>
                <a:gd name="T13" fmla="*/ 5 h 9"/>
                <a:gd name="T14" fmla="*/ 4 w 28"/>
                <a:gd name="T15" fmla="*/ 9 h 9"/>
                <a:gd name="T16" fmla="*/ 11 w 28"/>
                <a:gd name="T17" fmla="*/ 6 h 9"/>
                <a:gd name="T18" fmla="*/ 18 w 28"/>
                <a:gd name="T19" fmla="*/ 6 h 9"/>
                <a:gd name="T20" fmla="*/ 21 w 28"/>
                <a:gd name="T21" fmla="*/ 7 h 9"/>
                <a:gd name="T22" fmla="*/ 28 w 28"/>
                <a:gd name="T23" fmla="*/ 3 h 9"/>
                <a:gd name="T24" fmla="*/ 22 w 28"/>
                <a:gd name="T25" fmla="*/ 2 h 9"/>
                <a:gd name="T26" fmla="*/ 21 w 28"/>
                <a:gd name="T27" fmla="*/ 2 h 9"/>
                <a:gd name="T28" fmla="*/ 17 w 28"/>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9">
                  <a:moveTo>
                    <a:pt x="17" y="0"/>
                  </a:moveTo>
                  <a:cubicBezTo>
                    <a:pt x="14" y="0"/>
                    <a:pt x="12" y="1"/>
                    <a:pt x="10" y="1"/>
                  </a:cubicBezTo>
                  <a:cubicBezTo>
                    <a:pt x="10" y="1"/>
                    <a:pt x="10" y="1"/>
                    <a:pt x="10" y="1"/>
                  </a:cubicBezTo>
                  <a:cubicBezTo>
                    <a:pt x="10" y="1"/>
                    <a:pt x="9" y="1"/>
                    <a:pt x="9" y="1"/>
                  </a:cubicBezTo>
                  <a:cubicBezTo>
                    <a:pt x="8" y="1"/>
                    <a:pt x="8" y="1"/>
                    <a:pt x="7" y="1"/>
                  </a:cubicBezTo>
                  <a:cubicBezTo>
                    <a:pt x="6" y="1"/>
                    <a:pt x="5" y="1"/>
                    <a:pt x="4" y="2"/>
                  </a:cubicBezTo>
                  <a:cubicBezTo>
                    <a:pt x="4" y="3"/>
                    <a:pt x="6" y="4"/>
                    <a:pt x="6" y="5"/>
                  </a:cubicBezTo>
                  <a:cubicBezTo>
                    <a:pt x="5" y="6"/>
                    <a:pt x="0" y="5"/>
                    <a:pt x="4" y="9"/>
                  </a:cubicBezTo>
                  <a:cubicBezTo>
                    <a:pt x="7" y="6"/>
                    <a:pt x="9" y="6"/>
                    <a:pt x="11" y="6"/>
                  </a:cubicBezTo>
                  <a:cubicBezTo>
                    <a:pt x="13" y="6"/>
                    <a:pt x="15" y="6"/>
                    <a:pt x="18" y="6"/>
                  </a:cubicBezTo>
                  <a:cubicBezTo>
                    <a:pt x="19" y="7"/>
                    <a:pt x="20" y="7"/>
                    <a:pt x="21" y="7"/>
                  </a:cubicBezTo>
                  <a:cubicBezTo>
                    <a:pt x="24" y="7"/>
                    <a:pt x="25" y="6"/>
                    <a:pt x="28" y="3"/>
                  </a:cubicBezTo>
                  <a:cubicBezTo>
                    <a:pt x="27" y="3"/>
                    <a:pt x="24" y="2"/>
                    <a:pt x="22" y="2"/>
                  </a:cubicBezTo>
                  <a:cubicBezTo>
                    <a:pt x="22" y="2"/>
                    <a:pt x="21" y="2"/>
                    <a:pt x="21" y="2"/>
                  </a:cubicBezTo>
                  <a:cubicBezTo>
                    <a:pt x="20"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2" name="Freeform 1460">
              <a:extLst>
                <a:ext uri="{FF2B5EF4-FFF2-40B4-BE49-F238E27FC236}">
                  <a16:creationId xmlns:a16="http://schemas.microsoft.com/office/drawing/2014/main" id="{C7CFCE00-E77F-4295-925A-4A0C7D217313}"/>
                </a:ext>
              </a:extLst>
            </p:cNvPr>
            <p:cNvSpPr>
              <a:spLocks/>
            </p:cNvSpPr>
            <p:nvPr/>
          </p:nvSpPr>
          <p:spPr bwMode="auto">
            <a:xfrm>
              <a:off x="3971" y="1203"/>
              <a:ext cx="38" cy="22"/>
            </a:xfrm>
            <a:custGeom>
              <a:avLst/>
              <a:gdLst>
                <a:gd name="T0" fmla="*/ 7 w 16"/>
                <a:gd name="T1" fmla="*/ 0 h 9"/>
                <a:gd name="T2" fmla="*/ 4 w 16"/>
                <a:gd name="T3" fmla="*/ 1 h 9"/>
                <a:gd name="T4" fmla="*/ 1 w 16"/>
                <a:gd name="T5" fmla="*/ 2 h 9"/>
                <a:gd name="T6" fmla="*/ 0 w 16"/>
                <a:gd name="T7" fmla="*/ 2 h 9"/>
                <a:gd name="T8" fmla="*/ 12 w 16"/>
                <a:gd name="T9" fmla="*/ 9 h 9"/>
                <a:gd name="T10" fmla="*/ 15 w 16"/>
                <a:gd name="T11" fmla="*/ 3 h 9"/>
                <a:gd name="T12" fmla="*/ 9 w 16"/>
                <a:gd name="T13" fmla="*/ 0 h 9"/>
                <a:gd name="T14" fmla="*/ 7 w 1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7" y="0"/>
                  </a:moveTo>
                  <a:cubicBezTo>
                    <a:pt x="6" y="0"/>
                    <a:pt x="5" y="0"/>
                    <a:pt x="4" y="1"/>
                  </a:cubicBezTo>
                  <a:cubicBezTo>
                    <a:pt x="3" y="1"/>
                    <a:pt x="2" y="2"/>
                    <a:pt x="1" y="2"/>
                  </a:cubicBezTo>
                  <a:cubicBezTo>
                    <a:pt x="1" y="2"/>
                    <a:pt x="0" y="2"/>
                    <a:pt x="0" y="2"/>
                  </a:cubicBezTo>
                  <a:cubicBezTo>
                    <a:pt x="4" y="5"/>
                    <a:pt x="8" y="7"/>
                    <a:pt x="12" y="9"/>
                  </a:cubicBezTo>
                  <a:cubicBezTo>
                    <a:pt x="15" y="8"/>
                    <a:pt x="16" y="5"/>
                    <a:pt x="15" y="3"/>
                  </a:cubicBezTo>
                  <a:cubicBezTo>
                    <a:pt x="14" y="2"/>
                    <a:pt x="11" y="1"/>
                    <a:pt x="9" y="0"/>
                  </a:cubicBezTo>
                  <a:cubicBezTo>
                    <a:pt x="8"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3" name="Freeform 1461">
              <a:extLst>
                <a:ext uri="{FF2B5EF4-FFF2-40B4-BE49-F238E27FC236}">
                  <a16:creationId xmlns:a16="http://schemas.microsoft.com/office/drawing/2014/main" id="{E5470A36-9BE6-4D6D-A3B9-8B0E7E63903C}"/>
                </a:ext>
              </a:extLst>
            </p:cNvPr>
            <p:cNvSpPr>
              <a:spLocks/>
            </p:cNvSpPr>
            <p:nvPr/>
          </p:nvSpPr>
          <p:spPr bwMode="auto">
            <a:xfrm>
              <a:off x="4040" y="1244"/>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4" name="Freeform 1462">
              <a:extLst>
                <a:ext uri="{FF2B5EF4-FFF2-40B4-BE49-F238E27FC236}">
                  <a16:creationId xmlns:a16="http://schemas.microsoft.com/office/drawing/2014/main" id="{5D3ED077-9A11-471A-8A1D-5BF7A2490D0B}"/>
                </a:ext>
              </a:extLst>
            </p:cNvPr>
            <p:cNvSpPr>
              <a:spLocks/>
            </p:cNvSpPr>
            <p:nvPr/>
          </p:nvSpPr>
          <p:spPr bwMode="auto">
            <a:xfrm>
              <a:off x="4028" y="1244"/>
              <a:ext cx="10" cy="0"/>
            </a:xfrm>
            <a:custGeom>
              <a:avLst/>
              <a:gdLst>
                <a:gd name="T0" fmla="*/ 3 w 4"/>
                <a:gd name="T1" fmla="*/ 0 w 4"/>
                <a:gd name="T2" fmla="*/ 4 w 4"/>
                <a:gd name="T3" fmla="*/ 3 w 4"/>
              </a:gdLst>
              <a:ahLst/>
              <a:cxnLst>
                <a:cxn ang="0">
                  <a:pos x="T0" y="0"/>
                </a:cxn>
                <a:cxn ang="0">
                  <a:pos x="T1" y="0"/>
                </a:cxn>
                <a:cxn ang="0">
                  <a:pos x="T2" y="0"/>
                </a:cxn>
                <a:cxn ang="0">
                  <a:pos x="T3" y="0"/>
                </a:cxn>
              </a:cxnLst>
              <a:rect l="0" t="0" r="r" b="b"/>
              <a:pathLst>
                <a:path w="4">
                  <a:moveTo>
                    <a:pt x="3" y="0"/>
                  </a:moveTo>
                  <a:cubicBezTo>
                    <a:pt x="2" y="0"/>
                    <a:pt x="1" y="0"/>
                    <a:pt x="0" y="0"/>
                  </a:cubicBezTo>
                  <a:cubicBezTo>
                    <a:pt x="1" y="0"/>
                    <a:pt x="3" y="0"/>
                    <a:pt x="4" y="0"/>
                  </a:cubicBezTo>
                  <a:cubicBezTo>
                    <a:pt x="4"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5" name="Freeform 1463">
              <a:extLst>
                <a:ext uri="{FF2B5EF4-FFF2-40B4-BE49-F238E27FC236}">
                  <a16:creationId xmlns:a16="http://schemas.microsoft.com/office/drawing/2014/main" id="{23134A22-BEF4-4002-8B20-004793F8FC12}"/>
                </a:ext>
              </a:extLst>
            </p:cNvPr>
            <p:cNvSpPr>
              <a:spLocks/>
            </p:cNvSpPr>
            <p:nvPr/>
          </p:nvSpPr>
          <p:spPr bwMode="auto">
            <a:xfrm>
              <a:off x="4042" y="1244"/>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6" name="Freeform 1464">
              <a:extLst>
                <a:ext uri="{FF2B5EF4-FFF2-40B4-BE49-F238E27FC236}">
                  <a16:creationId xmlns:a16="http://schemas.microsoft.com/office/drawing/2014/main" id="{0D6FA71A-9D1F-40AE-BDE4-0E251049B7DA}"/>
                </a:ext>
              </a:extLst>
            </p:cNvPr>
            <p:cNvSpPr>
              <a:spLocks/>
            </p:cNvSpPr>
            <p:nvPr/>
          </p:nvSpPr>
          <p:spPr bwMode="auto">
            <a:xfrm>
              <a:off x="4028" y="1707"/>
              <a:ext cx="38" cy="35"/>
            </a:xfrm>
            <a:custGeom>
              <a:avLst/>
              <a:gdLst>
                <a:gd name="T0" fmla="*/ 0 w 16"/>
                <a:gd name="T1" fmla="*/ 0 h 15"/>
                <a:gd name="T2" fmla="*/ 5 w 16"/>
                <a:gd name="T3" fmla="*/ 11 h 15"/>
                <a:gd name="T4" fmla="*/ 13 w 16"/>
                <a:gd name="T5" fmla="*/ 15 h 15"/>
                <a:gd name="T6" fmla="*/ 15 w 16"/>
                <a:gd name="T7" fmla="*/ 7 h 15"/>
                <a:gd name="T8" fmla="*/ 14 w 16"/>
                <a:gd name="T9" fmla="*/ 6 h 15"/>
                <a:gd name="T10" fmla="*/ 11 w 16"/>
                <a:gd name="T11" fmla="*/ 8 h 15"/>
                <a:gd name="T12" fmla="*/ 10 w 16"/>
                <a:gd name="T13" fmla="*/ 10 h 15"/>
                <a:gd name="T14" fmla="*/ 10 w 16"/>
                <a:gd name="T15" fmla="*/ 10 h 15"/>
                <a:gd name="T16" fmla="*/ 8 w 16"/>
                <a:gd name="T17" fmla="*/ 8 h 15"/>
                <a:gd name="T18" fmla="*/ 6 w 16"/>
                <a:gd name="T19" fmla="*/ 6 h 15"/>
                <a:gd name="T20" fmla="*/ 4 w 16"/>
                <a:gd name="T21" fmla="*/ 4 h 15"/>
                <a:gd name="T22" fmla="*/ 0 w 16"/>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5">
                  <a:moveTo>
                    <a:pt x="0" y="0"/>
                  </a:moveTo>
                  <a:cubicBezTo>
                    <a:pt x="1" y="4"/>
                    <a:pt x="3" y="8"/>
                    <a:pt x="5" y="11"/>
                  </a:cubicBezTo>
                  <a:cubicBezTo>
                    <a:pt x="7" y="13"/>
                    <a:pt x="10" y="14"/>
                    <a:pt x="13" y="15"/>
                  </a:cubicBezTo>
                  <a:cubicBezTo>
                    <a:pt x="13" y="14"/>
                    <a:pt x="16" y="8"/>
                    <a:pt x="15" y="7"/>
                  </a:cubicBezTo>
                  <a:cubicBezTo>
                    <a:pt x="15" y="7"/>
                    <a:pt x="14" y="6"/>
                    <a:pt x="14" y="6"/>
                  </a:cubicBezTo>
                  <a:cubicBezTo>
                    <a:pt x="13" y="6"/>
                    <a:pt x="12" y="7"/>
                    <a:pt x="11" y="8"/>
                  </a:cubicBezTo>
                  <a:cubicBezTo>
                    <a:pt x="11" y="9"/>
                    <a:pt x="10" y="10"/>
                    <a:pt x="10" y="10"/>
                  </a:cubicBezTo>
                  <a:cubicBezTo>
                    <a:pt x="10" y="10"/>
                    <a:pt x="10" y="10"/>
                    <a:pt x="10" y="10"/>
                  </a:cubicBezTo>
                  <a:cubicBezTo>
                    <a:pt x="8" y="10"/>
                    <a:pt x="8" y="9"/>
                    <a:pt x="8" y="8"/>
                  </a:cubicBezTo>
                  <a:cubicBezTo>
                    <a:pt x="6" y="6"/>
                    <a:pt x="6" y="6"/>
                    <a:pt x="6" y="6"/>
                  </a:cubicBezTo>
                  <a:cubicBezTo>
                    <a:pt x="6" y="5"/>
                    <a:pt x="5" y="5"/>
                    <a:pt x="4" y="4"/>
                  </a:cubicBezTo>
                  <a:cubicBezTo>
                    <a:pt x="3" y="3"/>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7" name="Freeform 1465">
              <a:extLst>
                <a:ext uri="{FF2B5EF4-FFF2-40B4-BE49-F238E27FC236}">
                  <a16:creationId xmlns:a16="http://schemas.microsoft.com/office/drawing/2014/main" id="{15703683-105B-4787-94A4-9B5E0AC4FD93}"/>
                </a:ext>
              </a:extLst>
            </p:cNvPr>
            <p:cNvSpPr>
              <a:spLocks/>
            </p:cNvSpPr>
            <p:nvPr/>
          </p:nvSpPr>
          <p:spPr bwMode="auto">
            <a:xfrm>
              <a:off x="4040" y="1771"/>
              <a:ext cx="9" cy="4"/>
            </a:xfrm>
            <a:custGeom>
              <a:avLst/>
              <a:gdLst>
                <a:gd name="T0" fmla="*/ 4 w 4"/>
                <a:gd name="T1" fmla="*/ 0 h 2"/>
                <a:gd name="T2" fmla="*/ 0 w 4"/>
                <a:gd name="T3" fmla="*/ 2 h 2"/>
                <a:gd name="T4" fmla="*/ 0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2" y="0"/>
                    <a:pt x="1" y="1"/>
                    <a:pt x="0" y="2"/>
                  </a:cubicBezTo>
                  <a:cubicBezTo>
                    <a:pt x="0" y="2"/>
                    <a:pt x="0" y="2"/>
                    <a:pt x="0" y="2"/>
                  </a:cubicBezTo>
                  <a:cubicBezTo>
                    <a:pt x="2" y="2"/>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8" name="Freeform 1466">
              <a:extLst>
                <a:ext uri="{FF2B5EF4-FFF2-40B4-BE49-F238E27FC236}">
                  <a16:creationId xmlns:a16="http://schemas.microsoft.com/office/drawing/2014/main" id="{FBD2B013-F2BA-49C0-896E-CBF7BA0A1F65}"/>
                </a:ext>
              </a:extLst>
            </p:cNvPr>
            <p:cNvSpPr>
              <a:spLocks/>
            </p:cNvSpPr>
            <p:nvPr/>
          </p:nvSpPr>
          <p:spPr bwMode="auto">
            <a:xfrm>
              <a:off x="810" y="322"/>
              <a:ext cx="16" cy="26"/>
            </a:xfrm>
            <a:custGeom>
              <a:avLst/>
              <a:gdLst>
                <a:gd name="T0" fmla="*/ 5 w 7"/>
                <a:gd name="T1" fmla="*/ 0 h 11"/>
                <a:gd name="T2" fmla="*/ 3 w 7"/>
                <a:gd name="T3" fmla="*/ 1 h 11"/>
                <a:gd name="T4" fmla="*/ 0 w 7"/>
                <a:gd name="T5" fmla="*/ 1 h 11"/>
                <a:gd name="T6" fmla="*/ 0 w 7"/>
                <a:gd name="T7" fmla="*/ 1 h 11"/>
                <a:gd name="T8" fmla="*/ 4 w 7"/>
                <a:gd name="T9" fmla="*/ 11 h 11"/>
                <a:gd name="T10" fmla="*/ 7 w 7"/>
                <a:gd name="T11" fmla="*/ 2 h 11"/>
                <a:gd name="T12" fmla="*/ 5 w 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5" y="0"/>
                  </a:moveTo>
                  <a:cubicBezTo>
                    <a:pt x="4" y="0"/>
                    <a:pt x="3" y="0"/>
                    <a:pt x="3" y="1"/>
                  </a:cubicBezTo>
                  <a:cubicBezTo>
                    <a:pt x="2" y="1"/>
                    <a:pt x="1" y="1"/>
                    <a:pt x="0" y="1"/>
                  </a:cubicBezTo>
                  <a:cubicBezTo>
                    <a:pt x="0" y="1"/>
                    <a:pt x="0" y="1"/>
                    <a:pt x="0" y="1"/>
                  </a:cubicBezTo>
                  <a:cubicBezTo>
                    <a:pt x="1" y="5"/>
                    <a:pt x="3" y="8"/>
                    <a:pt x="4" y="11"/>
                  </a:cubicBezTo>
                  <a:cubicBezTo>
                    <a:pt x="5" y="9"/>
                    <a:pt x="7" y="5"/>
                    <a:pt x="7" y="2"/>
                  </a:cubicBezTo>
                  <a:cubicBezTo>
                    <a:pt x="6"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9" name="Freeform 1467">
              <a:extLst>
                <a:ext uri="{FF2B5EF4-FFF2-40B4-BE49-F238E27FC236}">
                  <a16:creationId xmlns:a16="http://schemas.microsoft.com/office/drawing/2014/main" id="{9DFE9A5B-BECE-4FC2-AC10-2C2AB2757F43}"/>
                </a:ext>
              </a:extLst>
            </p:cNvPr>
            <p:cNvSpPr>
              <a:spLocks noEditPoints="1"/>
            </p:cNvSpPr>
            <p:nvPr/>
          </p:nvSpPr>
          <p:spPr bwMode="auto">
            <a:xfrm>
              <a:off x="911" y="315"/>
              <a:ext cx="104" cy="66"/>
            </a:xfrm>
            <a:custGeom>
              <a:avLst/>
              <a:gdLst>
                <a:gd name="T0" fmla="*/ 0 w 44"/>
                <a:gd name="T1" fmla="*/ 0 h 28"/>
                <a:gd name="T2" fmla="*/ 4 w 44"/>
                <a:gd name="T3" fmla="*/ 6 h 28"/>
                <a:gd name="T4" fmla="*/ 9 w 44"/>
                <a:gd name="T5" fmla="*/ 10 h 28"/>
                <a:gd name="T6" fmla="*/ 9 w 44"/>
                <a:gd name="T7" fmla="*/ 10 h 28"/>
                <a:gd name="T8" fmla="*/ 14 w 44"/>
                <a:gd name="T9" fmla="*/ 14 h 28"/>
                <a:gd name="T10" fmla="*/ 14 w 44"/>
                <a:gd name="T11" fmla="*/ 14 h 28"/>
                <a:gd name="T12" fmla="*/ 25 w 44"/>
                <a:gd name="T13" fmla="*/ 22 h 28"/>
                <a:gd name="T14" fmla="*/ 34 w 44"/>
                <a:gd name="T15" fmla="*/ 28 h 28"/>
                <a:gd name="T16" fmla="*/ 35 w 44"/>
                <a:gd name="T17" fmla="*/ 27 h 28"/>
                <a:gd name="T18" fmla="*/ 0 w 44"/>
                <a:gd name="T19" fmla="*/ 0 h 28"/>
                <a:gd name="T20" fmla="*/ 0 w 44"/>
                <a:gd name="T21" fmla="*/ 0 h 28"/>
                <a:gd name="T22" fmla="*/ 0 w 44"/>
                <a:gd name="T23" fmla="*/ 0 h 28"/>
                <a:gd name="T24" fmla="*/ 0 w 44"/>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8">
                  <a:moveTo>
                    <a:pt x="0" y="0"/>
                  </a:moveTo>
                  <a:cubicBezTo>
                    <a:pt x="1" y="2"/>
                    <a:pt x="3" y="3"/>
                    <a:pt x="4" y="6"/>
                  </a:cubicBezTo>
                  <a:cubicBezTo>
                    <a:pt x="6" y="7"/>
                    <a:pt x="7" y="8"/>
                    <a:pt x="9" y="10"/>
                  </a:cubicBezTo>
                  <a:cubicBezTo>
                    <a:pt x="9" y="10"/>
                    <a:pt x="9" y="10"/>
                    <a:pt x="9" y="10"/>
                  </a:cubicBezTo>
                  <a:cubicBezTo>
                    <a:pt x="11" y="11"/>
                    <a:pt x="12" y="13"/>
                    <a:pt x="14" y="14"/>
                  </a:cubicBezTo>
                  <a:cubicBezTo>
                    <a:pt x="14" y="14"/>
                    <a:pt x="14" y="14"/>
                    <a:pt x="14" y="14"/>
                  </a:cubicBezTo>
                  <a:cubicBezTo>
                    <a:pt x="17" y="17"/>
                    <a:pt x="21" y="20"/>
                    <a:pt x="25" y="22"/>
                  </a:cubicBezTo>
                  <a:cubicBezTo>
                    <a:pt x="27" y="24"/>
                    <a:pt x="31" y="28"/>
                    <a:pt x="34" y="28"/>
                  </a:cubicBezTo>
                  <a:cubicBezTo>
                    <a:pt x="34" y="28"/>
                    <a:pt x="35" y="27"/>
                    <a:pt x="35" y="27"/>
                  </a:cubicBezTo>
                  <a:cubicBezTo>
                    <a:pt x="44" y="19"/>
                    <a:pt x="1" y="1"/>
                    <a:pt x="0" y="0"/>
                  </a:cubicBezTo>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0" name="Freeform 1468">
              <a:extLst>
                <a:ext uri="{FF2B5EF4-FFF2-40B4-BE49-F238E27FC236}">
                  <a16:creationId xmlns:a16="http://schemas.microsoft.com/office/drawing/2014/main" id="{7FE0140A-E854-49C1-9479-9365ECD5EB0A}"/>
                </a:ext>
              </a:extLst>
            </p:cNvPr>
            <p:cNvSpPr>
              <a:spLocks/>
            </p:cNvSpPr>
            <p:nvPr/>
          </p:nvSpPr>
          <p:spPr bwMode="auto">
            <a:xfrm>
              <a:off x="994" y="438"/>
              <a:ext cx="7" cy="7"/>
            </a:xfrm>
            <a:custGeom>
              <a:avLst/>
              <a:gdLst>
                <a:gd name="T0" fmla="*/ 3 w 3"/>
                <a:gd name="T1" fmla="*/ 0 h 3"/>
                <a:gd name="T2" fmla="*/ 1 w 3"/>
                <a:gd name="T3" fmla="*/ 3 h 3"/>
                <a:gd name="T4" fmla="*/ 3 w 3"/>
                <a:gd name="T5" fmla="*/ 0 h 3"/>
              </a:gdLst>
              <a:ahLst/>
              <a:cxnLst>
                <a:cxn ang="0">
                  <a:pos x="T0" y="T1"/>
                </a:cxn>
                <a:cxn ang="0">
                  <a:pos x="T2" y="T3"/>
                </a:cxn>
                <a:cxn ang="0">
                  <a:pos x="T4" y="T5"/>
                </a:cxn>
              </a:cxnLst>
              <a:rect l="0" t="0" r="r" b="b"/>
              <a:pathLst>
                <a:path w="3" h="3">
                  <a:moveTo>
                    <a:pt x="3" y="0"/>
                  </a:moveTo>
                  <a:cubicBezTo>
                    <a:pt x="2" y="0"/>
                    <a:pt x="0" y="1"/>
                    <a:pt x="1" y="3"/>
                  </a:cubicBezTo>
                  <a:cubicBezTo>
                    <a:pt x="2" y="2"/>
                    <a:pt x="3"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1" name="Freeform 1469">
              <a:extLst>
                <a:ext uri="{FF2B5EF4-FFF2-40B4-BE49-F238E27FC236}">
                  <a16:creationId xmlns:a16="http://schemas.microsoft.com/office/drawing/2014/main" id="{1D2CFE6A-45A3-47F3-A5AE-B4A76BFA744D}"/>
                </a:ext>
              </a:extLst>
            </p:cNvPr>
            <p:cNvSpPr>
              <a:spLocks/>
            </p:cNvSpPr>
            <p:nvPr/>
          </p:nvSpPr>
          <p:spPr bwMode="auto">
            <a:xfrm>
              <a:off x="961" y="331"/>
              <a:ext cx="42" cy="33"/>
            </a:xfrm>
            <a:custGeom>
              <a:avLst/>
              <a:gdLst>
                <a:gd name="T0" fmla="*/ 0 w 18"/>
                <a:gd name="T1" fmla="*/ 0 h 14"/>
                <a:gd name="T2" fmla="*/ 12 w 18"/>
                <a:gd name="T3" fmla="*/ 11 h 14"/>
                <a:gd name="T4" fmla="*/ 17 w 18"/>
                <a:gd name="T5" fmla="*/ 14 h 14"/>
                <a:gd name="T6" fmla="*/ 18 w 18"/>
                <a:gd name="T7" fmla="*/ 12 h 14"/>
                <a:gd name="T8" fmla="*/ 16 w 18"/>
                <a:gd name="T9" fmla="*/ 10 h 14"/>
                <a:gd name="T10" fmla="*/ 12 w 18"/>
                <a:gd name="T11" fmla="*/ 8 h 14"/>
                <a:gd name="T12" fmla="*/ 7 w 18"/>
                <a:gd name="T13" fmla="*/ 1 h 14"/>
                <a:gd name="T14" fmla="*/ 6 w 18"/>
                <a:gd name="T15" fmla="*/ 1 h 14"/>
                <a:gd name="T16" fmla="*/ 6 w 18"/>
                <a:gd name="T17" fmla="*/ 1 h 14"/>
                <a:gd name="T18" fmla="*/ 4 w 18"/>
                <a:gd name="T19" fmla="*/ 2 h 14"/>
                <a:gd name="T20" fmla="*/ 4 w 18"/>
                <a:gd name="T21" fmla="*/ 2 h 14"/>
                <a:gd name="T22" fmla="*/ 0 w 18"/>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4">
                  <a:moveTo>
                    <a:pt x="0" y="0"/>
                  </a:moveTo>
                  <a:cubicBezTo>
                    <a:pt x="2" y="5"/>
                    <a:pt x="9" y="8"/>
                    <a:pt x="12" y="11"/>
                  </a:cubicBezTo>
                  <a:cubicBezTo>
                    <a:pt x="13" y="11"/>
                    <a:pt x="16" y="14"/>
                    <a:pt x="17" y="14"/>
                  </a:cubicBezTo>
                  <a:cubicBezTo>
                    <a:pt x="18" y="14"/>
                    <a:pt x="18" y="13"/>
                    <a:pt x="18" y="12"/>
                  </a:cubicBezTo>
                  <a:cubicBezTo>
                    <a:pt x="18" y="11"/>
                    <a:pt x="16" y="11"/>
                    <a:pt x="16" y="10"/>
                  </a:cubicBezTo>
                  <a:cubicBezTo>
                    <a:pt x="15" y="9"/>
                    <a:pt x="13" y="9"/>
                    <a:pt x="12" y="8"/>
                  </a:cubicBezTo>
                  <a:cubicBezTo>
                    <a:pt x="10" y="6"/>
                    <a:pt x="9" y="2"/>
                    <a:pt x="7" y="1"/>
                  </a:cubicBezTo>
                  <a:cubicBezTo>
                    <a:pt x="6" y="1"/>
                    <a:pt x="6" y="1"/>
                    <a:pt x="6" y="1"/>
                  </a:cubicBezTo>
                  <a:cubicBezTo>
                    <a:pt x="6" y="1"/>
                    <a:pt x="6" y="1"/>
                    <a:pt x="6" y="1"/>
                  </a:cubicBezTo>
                  <a:cubicBezTo>
                    <a:pt x="6" y="1"/>
                    <a:pt x="5" y="2"/>
                    <a:pt x="4" y="2"/>
                  </a:cubicBezTo>
                  <a:cubicBezTo>
                    <a:pt x="4" y="2"/>
                    <a:pt x="4" y="2"/>
                    <a:pt x="4" y="2"/>
                  </a:cubicBezTo>
                  <a:cubicBezTo>
                    <a:pt x="2" y="1"/>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2" name="Freeform 1470">
              <a:extLst>
                <a:ext uri="{FF2B5EF4-FFF2-40B4-BE49-F238E27FC236}">
                  <a16:creationId xmlns:a16="http://schemas.microsoft.com/office/drawing/2014/main" id="{2A076A56-5791-4536-AAC0-7BAA9F9442D6}"/>
                </a:ext>
              </a:extLst>
            </p:cNvPr>
            <p:cNvSpPr>
              <a:spLocks/>
            </p:cNvSpPr>
            <p:nvPr/>
          </p:nvSpPr>
          <p:spPr bwMode="auto">
            <a:xfrm>
              <a:off x="968" y="331"/>
              <a:ext cx="40" cy="24"/>
            </a:xfrm>
            <a:custGeom>
              <a:avLst/>
              <a:gdLst>
                <a:gd name="T0" fmla="*/ 2 w 17"/>
                <a:gd name="T1" fmla="*/ 0 h 10"/>
                <a:gd name="T2" fmla="*/ 0 w 17"/>
                <a:gd name="T3" fmla="*/ 1 h 10"/>
                <a:gd name="T4" fmla="*/ 3 w 17"/>
                <a:gd name="T5" fmla="*/ 1 h 10"/>
                <a:gd name="T6" fmla="*/ 3 w 17"/>
                <a:gd name="T7" fmla="*/ 1 h 10"/>
                <a:gd name="T8" fmla="*/ 6 w 17"/>
                <a:gd name="T9" fmla="*/ 3 h 10"/>
                <a:gd name="T10" fmla="*/ 14 w 17"/>
                <a:gd name="T11" fmla="*/ 10 h 10"/>
                <a:gd name="T12" fmla="*/ 14 w 17"/>
                <a:gd name="T13" fmla="*/ 4 h 10"/>
                <a:gd name="T14" fmla="*/ 14 w 17"/>
                <a:gd name="T15" fmla="*/ 4 h 10"/>
                <a:gd name="T16" fmla="*/ 17 w 17"/>
                <a:gd name="T17" fmla="*/ 3 h 10"/>
                <a:gd name="T18" fmla="*/ 2 w 17"/>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0">
                  <a:moveTo>
                    <a:pt x="2" y="0"/>
                  </a:moveTo>
                  <a:cubicBezTo>
                    <a:pt x="1" y="0"/>
                    <a:pt x="1" y="0"/>
                    <a:pt x="0" y="1"/>
                  </a:cubicBezTo>
                  <a:cubicBezTo>
                    <a:pt x="1" y="1"/>
                    <a:pt x="2" y="1"/>
                    <a:pt x="3" y="1"/>
                  </a:cubicBezTo>
                  <a:cubicBezTo>
                    <a:pt x="3" y="1"/>
                    <a:pt x="3" y="1"/>
                    <a:pt x="3" y="1"/>
                  </a:cubicBezTo>
                  <a:cubicBezTo>
                    <a:pt x="4" y="1"/>
                    <a:pt x="5" y="1"/>
                    <a:pt x="6" y="3"/>
                  </a:cubicBezTo>
                  <a:cubicBezTo>
                    <a:pt x="8" y="6"/>
                    <a:pt x="11" y="8"/>
                    <a:pt x="14" y="10"/>
                  </a:cubicBezTo>
                  <a:cubicBezTo>
                    <a:pt x="14" y="8"/>
                    <a:pt x="14" y="6"/>
                    <a:pt x="14" y="4"/>
                  </a:cubicBezTo>
                  <a:cubicBezTo>
                    <a:pt x="14" y="4"/>
                    <a:pt x="14" y="4"/>
                    <a:pt x="14" y="4"/>
                  </a:cubicBezTo>
                  <a:cubicBezTo>
                    <a:pt x="15" y="4"/>
                    <a:pt x="16" y="4"/>
                    <a:pt x="17" y="3"/>
                  </a:cubicBezTo>
                  <a:cubicBezTo>
                    <a:pt x="13" y="1"/>
                    <a:pt x="7"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3" name="Freeform 1471">
              <a:extLst>
                <a:ext uri="{FF2B5EF4-FFF2-40B4-BE49-F238E27FC236}">
                  <a16:creationId xmlns:a16="http://schemas.microsoft.com/office/drawing/2014/main" id="{13ADE460-6FD8-43A1-9A4F-52A7395E3E9E}"/>
                </a:ext>
              </a:extLst>
            </p:cNvPr>
            <p:cNvSpPr>
              <a:spLocks/>
            </p:cNvSpPr>
            <p:nvPr/>
          </p:nvSpPr>
          <p:spPr bwMode="auto">
            <a:xfrm>
              <a:off x="1013" y="312"/>
              <a:ext cx="4" cy="12"/>
            </a:xfrm>
            <a:custGeom>
              <a:avLst/>
              <a:gdLst>
                <a:gd name="T0" fmla="*/ 1 w 2"/>
                <a:gd name="T1" fmla="*/ 0 h 5"/>
                <a:gd name="T2" fmla="*/ 0 w 2"/>
                <a:gd name="T3" fmla="*/ 1 h 5"/>
                <a:gd name="T4" fmla="*/ 2 w 2"/>
                <a:gd name="T5" fmla="*/ 5 h 5"/>
                <a:gd name="T6" fmla="*/ 1 w 2"/>
                <a:gd name="T7" fmla="*/ 0 h 5"/>
              </a:gdLst>
              <a:ahLst/>
              <a:cxnLst>
                <a:cxn ang="0">
                  <a:pos x="T0" y="T1"/>
                </a:cxn>
                <a:cxn ang="0">
                  <a:pos x="T2" y="T3"/>
                </a:cxn>
                <a:cxn ang="0">
                  <a:pos x="T4" y="T5"/>
                </a:cxn>
                <a:cxn ang="0">
                  <a:pos x="T6" y="T7"/>
                </a:cxn>
              </a:cxnLst>
              <a:rect l="0" t="0" r="r" b="b"/>
              <a:pathLst>
                <a:path w="2" h="5">
                  <a:moveTo>
                    <a:pt x="1" y="0"/>
                  </a:moveTo>
                  <a:cubicBezTo>
                    <a:pt x="1" y="0"/>
                    <a:pt x="0" y="1"/>
                    <a:pt x="0" y="1"/>
                  </a:cubicBezTo>
                  <a:cubicBezTo>
                    <a:pt x="0" y="2"/>
                    <a:pt x="1" y="4"/>
                    <a:pt x="2" y="5"/>
                  </a:cubicBezTo>
                  <a:cubicBezTo>
                    <a:pt x="2" y="3"/>
                    <a:pt x="2"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4" name="Freeform 1472">
              <a:extLst>
                <a:ext uri="{FF2B5EF4-FFF2-40B4-BE49-F238E27FC236}">
                  <a16:creationId xmlns:a16="http://schemas.microsoft.com/office/drawing/2014/main" id="{0B7F10FE-375E-4FDA-8B36-AEA4C8207101}"/>
                </a:ext>
              </a:extLst>
            </p:cNvPr>
            <p:cNvSpPr>
              <a:spLocks/>
            </p:cNvSpPr>
            <p:nvPr/>
          </p:nvSpPr>
          <p:spPr bwMode="auto">
            <a:xfrm>
              <a:off x="424" y="478"/>
              <a:ext cx="15" cy="28"/>
            </a:xfrm>
            <a:custGeom>
              <a:avLst/>
              <a:gdLst>
                <a:gd name="T0" fmla="*/ 3 w 6"/>
                <a:gd name="T1" fmla="*/ 0 h 12"/>
                <a:gd name="T2" fmla="*/ 1 w 6"/>
                <a:gd name="T3" fmla="*/ 8 h 12"/>
                <a:gd name="T4" fmla="*/ 2 w 6"/>
                <a:gd name="T5" fmla="*/ 12 h 12"/>
                <a:gd name="T6" fmla="*/ 2 w 6"/>
                <a:gd name="T7" fmla="*/ 12 h 12"/>
                <a:gd name="T8" fmla="*/ 6 w 6"/>
                <a:gd name="T9" fmla="*/ 8 h 12"/>
                <a:gd name="T10" fmla="*/ 3 w 6"/>
                <a:gd name="T11" fmla="*/ 0 h 12"/>
              </a:gdLst>
              <a:ahLst/>
              <a:cxnLst>
                <a:cxn ang="0">
                  <a:pos x="T0" y="T1"/>
                </a:cxn>
                <a:cxn ang="0">
                  <a:pos x="T2" y="T3"/>
                </a:cxn>
                <a:cxn ang="0">
                  <a:pos x="T4" y="T5"/>
                </a:cxn>
                <a:cxn ang="0">
                  <a:pos x="T6" y="T7"/>
                </a:cxn>
                <a:cxn ang="0">
                  <a:pos x="T8" y="T9"/>
                </a:cxn>
                <a:cxn ang="0">
                  <a:pos x="T10" y="T11"/>
                </a:cxn>
              </a:cxnLst>
              <a:rect l="0" t="0" r="r" b="b"/>
              <a:pathLst>
                <a:path w="6" h="12">
                  <a:moveTo>
                    <a:pt x="3" y="0"/>
                  </a:moveTo>
                  <a:cubicBezTo>
                    <a:pt x="1" y="2"/>
                    <a:pt x="0" y="7"/>
                    <a:pt x="1" y="8"/>
                  </a:cubicBezTo>
                  <a:cubicBezTo>
                    <a:pt x="1" y="9"/>
                    <a:pt x="1" y="12"/>
                    <a:pt x="2" y="12"/>
                  </a:cubicBezTo>
                  <a:cubicBezTo>
                    <a:pt x="2" y="12"/>
                    <a:pt x="2" y="12"/>
                    <a:pt x="2" y="12"/>
                  </a:cubicBezTo>
                  <a:cubicBezTo>
                    <a:pt x="2" y="12"/>
                    <a:pt x="5" y="9"/>
                    <a:pt x="6" y="8"/>
                  </a:cubicBezTo>
                  <a:cubicBezTo>
                    <a:pt x="6" y="6"/>
                    <a:pt x="3"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5" name="Freeform 1473">
              <a:extLst>
                <a:ext uri="{FF2B5EF4-FFF2-40B4-BE49-F238E27FC236}">
                  <a16:creationId xmlns:a16="http://schemas.microsoft.com/office/drawing/2014/main" id="{969DBCEF-1510-4266-82F4-31318613E02B}"/>
                </a:ext>
              </a:extLst>
            </p:cNvPr>
            <p:cNvSpPr>
              <a:spLocks/>
            </p:cNvSpPr>
            <p:nvPr/>
          </p:nvSpPr>
          <p:spPr bwMode="auto">
            <a:xfrm>
              <a:off x="450" y="478"/>
              <a:ext cx="0" cy="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cubicBezTo>
                    <a:pt x="0" y="1"/>
                    <a:pt x="0" y="2"/>
                    <a:pt x="0" y="2"/>
                  </a:cubicBezTo>
                  <a:cubicBezTo>
                    <a:pt x="0" y="2"/>
                    <a:pt x="0" y="1"/>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6" name="Freeform 1474">
              <a:extLst>
                <a:ext uri="{FF2B5EF4-FFF2-40B4-BE49-F238E27FC236}">
                  <a16:creationId xmlns:a16="http://schemas.microsoft.com/office/drawing/2014/main" id="{9131CDE4-42CE-45A9-81D4-6FB00226089B}"/>
                </a:ext>
              </a:extLst>
            </p:cNvPr>
            <p:cNvSpPr>
              <a:spLocks/>
            </p:cNvSpPr>
            <p:nvPr/>
          </p:nvSpPr>
          <p:spPr bwMode="auto">
            <a:xfrm>
              <a:off x="559" y="665"/>
              <a:ext cx="12" cy="9"/>
            </a:xfrm>
            <a:custGeom>
              <a:avLst/>
              <a:gdLst>
                <a:gd name="T0" fmla="*/ 3 w 5"/>
                <a:gd name="T1" fmla="*/ 0 h 4"/>
                <a:gd name="T2" fmla="*/ 0 w 5"/>
                <a:gd name="T3" fmla="*/ 3 h 4"/>
                <a:gd name="T4" fmla="*/ 1 w 5"/>
                <a:gd name="T5" fmla="*/ 4 h 4"/>
                <a:gd name="T6" fmla="*/ 3 w 5"/>
                <a:gd name="T7" fmla="*/ 1 h 4"/>
                <a:gd name="T8" fmla="*/ 3 w 5"/>
                <a:gd name="T9" fmla="*/ 0 h 4"/>
              </a:gdLst>
              <a:ahLst/>
              <a:cxnLst>
                <a:cxn ang="0">
                  <a:pos x="T0" y="T1"/>
                </a:cxn>
                <a:cxn ang="0">
                  <a:pos x="T2" y="T3"/>
                </a:cxn>
                <a:cxn ang="0">
                  <a:pos x="T4" y="T5"/>
                </a:cxn>
                <a:cxn ang="0">
                  <a:pos x="T6" y="T7"/>
                </a:cxn>
                <a:cxn ang="0">
                  <a:pos x="T8" y="T9"/>
                </a:cxn>
              </a:cxnLst>
              <a:rect l="0" t="0" r="r" b="b"/>
              <a:pathLst>
                <a:path w="5" h="4">
                  <a:moveTo>
                    <a:pt x="3" y="0"/>
                  </a:moveTo>
                  <a:cubicBezTo>
                    <a:pt x="2" y="0"/>
                    <a:pt x="0" y="2"/>
                    <a:pt x="0" y="3"/>
                  </a:cubicBezTo>
                  <a:cubicBezTo>
                    <a:pt x="0" y="4"/>
                    <a:pt x="1" y="4"/>
                    <a:pt x="1" y="4"/>
                  </a:cubicBezTo>
                  <a:cubicBezTo>
                    <a:pt x="3" y="4"/>
                    <a:pt x="5" y="2"/>
                    <a:pt x="3" y="1"/>
                  </a:cubicBezTo>
                  <a:cubicBezTo>
                    <a:pt x="3" y="1"/>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7" name="Freeform 1475">
              <a:extLst>
                <a:ext uri="{FF2B5EF4-FFF2-40B4-BE49-F238E27FC236}">
                  <a16:creationId xmlns:a16="http://schemas.microsoft.com/office/drawing/2014/main" id="{AC0EA184-D9CB-4D6F-81A2-7A5972A92FAF}"/>
                </a:ext>
              </a:extLst>
            </p:cNvPr>
            <p:cNvSpPr>
              <a:spLocks/>
            </p:cNvSpPr>
            <p:nvPr/>
          </p:nvSpPr>
          <p:spPr bwMode="auto">
            <a:xfrm>
              <a:off x="698" y="201"/>
              <a:ext cx="12" cy="14"/>
            </a:xfrm>
            <a:custGeom>
              <a:avLst/>
              <a:gdLst>
                <a:gd name="T0" fmla="*/ 0 w 5"/>
                <a:gd name="T1" fmla="*/ 0 h 6"/>
                <a:gd name="T2" fmla="*/ 2 w 5"/>
                <a:gd name="T3" fmla="*/ 6 h 6"/>
                <a:gd name="T4" fmla="*/ 5 w 5"/>
                <a:gd name="T5" fmla="*/ 5 h 6"/>
                <a:gd name="T6" fmla="*/ 0 w 5"/>
                <a:gd name="T7" fmla="*/ 0 h 6"/>
              </a:gdLst>
              <a:ahLst/>
              <a:cxnLst>
                <a:cxn ang="0">
                  <a:pos x="T0" y="T1"/>
                </a:cxn>
                <a:cxn ang="0">
                  <a:pos x="T2" y="T3"/>
                </a:cxn>
                <a:cxn ang="0">
                  <a:pos x="T4" y="T5"/>
                </a:cxn>
                <a:cxn ang="0">
                  <a:pos x="T6" y="T7"/>
                </a:cxn>
              </a:cxnLst>
              <a:rect l="0" t="0" r="r" b="b"/>
              <a:pathLst>
                <a:path w="5" h="6">
                  <a:moveTo>
                    <a:pt x="0" y="0"/>
                  </a:moveTo>
                  <a:cubicBezTo>
                    <a:pt x="1" y="2"/>
                    <a:pt x="1" y="4"/>
                    <a:pt x="2" y="6"/>
                  </a:cubicBezTo>
                  <a:cubicBezTo>
                    <a:pt x="3" y="5"/>
                    <a:pt x="4" y="5"/>
                    <a:pt x="5" y="5"/>
                  </a:cubicBezTo>
                  <a:cubicBezTo>
                    <a:pt x="4" y="3"/>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8" name="Freeform 1476">
              <a:extLst>
                <a:ext uri="{FF2B5EF4-FFF2-40B4-BE49-F238E27FC236}">
                  <a16:creationId xmlns:a16="http://schemas.microsoft.com/office/drawing/2014/main" id="{82B851AC-86D2-4D4F-8FE8-F31D805481BA}"/>
                </a:ext>
              </a:extLst>
            </p:cNvPr>
            <p:cNvSpPr>
              <a:spLocks/>
            </p:cNvSpPr>
            <p:nvPr/>
          </p:nvSpPr>
          <p:spPr bwMode="auto">
            <a:xfrm>
              <a:off x="479" y="513"/>
              <a:ext cx="4" cy="14"/>
            </a:xfrm>
            <a:custGeom>
              <a:avLst/>
              <a:gdLst>
                <a:gd name="T0" fmla="*/ 0 w 2"/>
                <a:gd name="T1" fmla="*/ 0 h 6"/>
                <a:gd name="T2" fmla="*/ 2 w 2"/>
                <a:gd name="T3" fmla="*/ 6 h 6"/>
                <a:gd name="T4" fmla="*/ 0 w 2"/>
                <a:gd name="T5" fmla="*/ 0 h 6"/>
              </a:gdLst>
              <a:ahLst/>
              <a:cxnLst>
                <a:cxn ang="0">
                  <a:pos x="T0" y="T1"/>
                </a:cxn>
                <a:cxn ang="0">
                  <a:pos x="T2" y="T3"/>
                </a:cxn>
                <a:cxn ang="0">
                  <a:pos x="T4" y="T5"/>
                </a:cxn>
              </a:cxnLst>
              <a:rect l="0" t="0" r="r" b="b"/>
              <a:pathLst>
                <a:path w="2" h="6">
                  <a:moveTo>
                    <a:pt x="0" y="0"/>
                  </a:moveTo>
                  <a:cubicBezTo>
                    <a:pt x="0" y="2"/>
                    <a:pt x="1" y="4"/>
                    <a:pt x="2" y="6"/>
                  </a:cubicBezTo>
                  <a:cubicBezTo>
                    <a:pt x="1" y="4"/>
                    <a:pt x="2"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9" name="Freeform 1477">
              <a:extLst>
                <a:ext uri="{FF2B5EF4-FFF2-40B4-BE49-F238E27FC236}">
                  <a16:creationId xmlns:a16="http://schemas.microsoft.com/office/drawing/2014/main" id="{123752F3-A79B-44B8-9262-4D2E9922117C}"/>
                </a:ext>
              </a:extLst>
            </p:cNvPr>
            <p:cNvSpPr>
              <a:spLocks/>
            </p:cNvSpPr>
            <p:nvPr/>
          </p:nvSpPr>
          <p:spPr bwMode="auto">
            <a:xfrm>
              <a:off x="545" y="364"/>
              <a:ext cx="7" cy="10"/>
            </a:xfrm>
            <a:custGeom>
              <a:avLst/>
              <a:gdLst>
                <a:gd name="T0" fmla="*/ 0 w 3"/>
                <a:gd name="T1" fmla="*/ 0 h 4"/>
                <a:gd name="T2" fmla="*/ 0 w 3"/>
                <a:gd name="T3" fmla="*/ 0 h 4"/>
                <a:gd name="T4" fmla="*/ 3 w 3"/>
                <a:gd name="T5" fmla="*/ 4 h 4"/>
                <a:gd name="T6" fmla="*/ 0 w 3"/>
                <a:gd name="T7" fmla="*/ 0 h 4"/>
              </a:gdLst>
              <a:ahLst/>
              <a:cxnLst>
                <a:cxn ang="0">
                  <a:pos x="T0" y="T1"/>
                </a:cxn>
                <a:cxn ang="0">
                  <a:pos x="T2" y="T3"/>
                </a:cxn>
                <a:cxn ang="0">
                  <a:pos x="T4" y="T5"/>
                </a:cxn>
                <a:cxn ang="0">
                  <a:pos x="T6" y="T7"/>
                </a:cxn>
              </a:cxnLst>
              <a:rect l="0" t="0" r="r" b="b"/>
              <a:pathLst>
                <a:path w="3" h="4">
                  <a:moveTo>
                    <a:pt x="0" y="0"/>
                  </a:moveTo>
                  <a:cubicBezTo>
                    <a:pt x="0" y="0"/>
                    <a:pt x="0" y="0"/>
                    <a:pt x="0" y="0"/>
                  </a:cubicBezTo>
                  <a:cubicBezTo>
                    <a:pt x="1" y="2"/>
                    <a:pt x="2" y="3"/>
                    <a:pt x="3" y="4"/>
                  </a:cubicBezTo>
                  <a:cubicBezTo>
                    <a:pt x="3" y="2"/>
                    <a:pt x="2"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0" name="Freeform 1478">
              <a:extLst>
                <a:ext uri="{FF2B5EF4-FFF2-40B4-BE49-F238E27FC236}">
                  <a16:creationId xmlns:a16="http://schemas.microsoft.com/office/drawing/2014/main" id="{2A80936C-9A37-4468-AB9F-1A174603E51E}"/>
                </a:ext>
              </a:extLst>
            </p:cNvPr>
            <p:cNvSpPr>
              <a:spLocks/>
            </p:cNvSpPr>
            <p:nvPr/>
          </p:nvSpPr>
          <p:spPr bwMode="auto">
            <a:xfrm>
              <a:off x="517" y="579"/>
              <a:ext cx="4" cy="15"/>
            </a:xfrm>
            <a:custGeom>
              <a:avLst/>
              <a:gdLst>
                <a:gd name="T0" fmla="*/ 2 w 2"/>
                <a:gd name="T1" fmla="*/ 0 h 6"/>
                <a:gd name="T2" fmla="*/ 2 w 2"/>
                <a:gd name="T3" fmla="*/ 6 h 6"/>
                <a:gd name="T4" fmla="*/ 2 w 2"/>
                <a:gd name="T5" fmla="*/ 0 h 6"/>
              </a:gdLst>
              <a:ahLst/>
              <a:cxnLst>
                <a:cxn ang="0">
                  <a:pos x="T0" y="T1"/>
                </a:cxn>
                <a:cxn ang="0">
                  <a:pos x="T2" y="T3"/>
                </a:cxn>
                <a:cxn ang="0">
                  <a:pos x="T4" y="T5"/>
                </a:cxn>
              </a:cxnLst>
              <a:rect l="0" t="0" r="r" b="b"/>
              <a:pathLst>
                <a:path w="2" h="6">
                  <a:moveTo>
                    <a:pt x="2" y="0"/>
                  </a:moveTo>
                  <a:cubicBezTo>
                    <a:pt x="1" y="3"/>
                    <a:pt x="0" y="3"/>
                    <a:pt x="2" y="6"/>
                  </a:cubicBezTo>
                  <a:cubicBezTo>
                    <a:pt x="2" y="4"/>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1" name="Freeform 1479">
              <a:extLst>
                <a:ext uri="{FF2B5EF4-FFF2-40B4-BE49-F238E27FC236}">
                  <a16:creationId xmlns:a16="http://schemas.microsoft.com/office/drawing/2014/main" id="{4313153B-F8B7-4A0D-BA5B-01077BC28337}"/>
                </a:ext>
              </a:extLst>
            </p:cNvPr>
            <p:cNvSpPr>
              <a:spLocks/>
            </p:cNvSpPr>
            <p:nvPr/>
          </p:nvSpPr>
          <p:spPr bwMode="auto">
            <a:xfrm>
              <a:off x="446" y="490"/>
              <a:ext cx="2" cy="7"/>
            </a:xfrm>
            <a:custGeom>
              <a:avLst/>
              <a:gdLst>
                <a:gd name="T0" fmla="*/ 1 w 1"/>
                <a:gd name="T1" fmla="*/ 0 h 3"/>
                <a:gd name="T2" fmla="*/ 1 w 1"/>
                <a:gd name="T3" fmla="*/ 3 h 3"/>
                <a:gd name="T4" fmla="*/ 1 w 1"/>
                <a:gd name="T5" fmla="*/ 0 h 3"/>
              </a:gdLst>
              <a:ahLst/>
              <a:cxnLst>
                <a:cxn ang="0">
                  <a:pos x="T0" y="T1"/>
                </a:cxn>
                <a:cxn ang="0">
                  <a:pos x="T2" y="T3"/>
                </a:cxn>
                <a:cxn ang="0">
                  <a:pos x="T4" y="T5"/>
                </a:cxn>
              </a:cxnLst>
              <a:rect l="0" t="0" r="r" b="b"/>
              <a:pathLst>
                <a:path w="1" h="3">
                  <a:moveTo>
                    <a:pt x="1" y="0"/>
                  </a:moveTo>
                  <a:cubicBezTo>
                    <a:pt x="0" y="1"/>
                    <a:pt x="0" y="2"/>
                    <a:pt x="1" y="3"/>
                  </a:cubicBezTo>
                  <a:cubicBezTo>
                    <a:pt x="1" y="2"/>
                    <a:pt x="1"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2" name="Freeform 1480">
              <a:extLst>
                <a:ext uri="{FF2B5EF4-FFF2-40B4-BE49-F238E27FC236}">
                  <a16:creationId xmlns:a16="http://schemas.microsoft.com/office/drawing/2014/main" id="{0ACC6000-8AEF-4D26-BA49-3BFD14C4B432}"/>
                </a:ext>
              </a:extLst>
            </p:cNvPr>
            <p:cNvSpPr>
              <a:spLocks/>
            </p:cNvSpPr>
            <p:nvPr/>
          </p:nvSpPr>
          <p:spPr bwMode="auto">
            <a:xfrm>
              <a:off x="538" y="381"/>
              <a:ext cx="14" cy="9"/>
            </a:xfrm>
            <a:custGeom>
              <a:avLst/>
              <a:gdLst>
                <a:gd name="T0" fmla="*/ 4 w 6"/>
                <a:gd name="T1" fmla="*/ 0 h 4"/>
                <a:gd name="T2" fmla="*/ 2 w 6"/>
                <a:gd name="T3" fmla="*/ 0 h 4"/>
                <a:gd name="T4" fmla="*/ 2 w 6"/>
                <a:gd name="T5" fmla="*/ 4 h 4"/>
                <a:gd name="T6" fmla="*/ 6 w 6"/>
                <a:gd name="T7" fmla="*/ 0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cubicBezTo>
                    <a:pt x="3" y="0"/>
                    <a:pt x="3" y="0"/>
                    <a:pt x="2" y="0"/>
                  </a:cubicBezTo>
                  <a:cubicBezTo>
                    <a:pt x="0" y="0"/>
                    <a:pt x="2" y="3"/>
                    <a:pt x="2" y="4"/>
                  </a:cubicBezTo>
                  <a:cubicBezTo>
                    <a:pt x="3" y="4"/>
                    <a:pt x="6" y="2"/>
                    <a:pt x="6" y="0"/>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3" name="Freeform 1481">
              <a:extLst>
                <a:ext uri="{FF2B5EF4-FFF2-40B4-BE49-F238E27FC236}">
                  <a16:creationId xmlns:a16="http://schemas.microsoft.com/office/drawing/2014/main" id="{EB35F5E8-C535-4D7A-ACCA-B8AB586F852C}"/>
                </a:ext>
              </a:extLst>
            </p:cNvPr>
            <p:cNvSpPr>
              <a:spLocks/>
            </p:cNvSpPr>
            <p:nvPr/>
          </p:nvSpPr>
          <p:spPr bwMode="auto">
            <a:xfrm>
              <a:off x="717" y="230"/>
              <a:ext cx="5" cy="11"/>
            </a:xfrm>
            <a:custGeom>
              <a:avLst/>
              <a:gdLst>
                <a:gd name="T0" fmla="*/ 1 w 2"/>
                <a:gd name="T1" fmla="*/ 0 h 5"/>
                <a:gd name="T2" fmla="*/ 2 w 2"/>
                <a:gd name="T3" fmla="*/ 5 h 5"/>
                <a:gd name="T4" fmla="*/ 1 w 2"/>
                <a:gd name="T5" fmla="*/ 0 h 5"/>
              </a:gdLst>
              <a:ahLst/>
              <a:cxnLst>
                <a:cxn ang="0">
                  <a:pos x="T0" y="T1"/>
                </a:cxn>
                <a:cxn ang="0">
                  <a:pos x="T2" y="T3"/>
                </a:cxn>
                <a:cxn ang="0">
                  <a:pos x="T4" y="T5"/>
                </a:cxn>
              </a:cxnLst>
              <a:rect l="0" t="0" r="r" b="b"/>
              <a:pathLst>
                <a:path w="2" h="5">
                  <a:moveTo>
                    <a:pt x="1" y="0"/>
                  </a:moveTo>
                  <a:cubicBezTo>
                    <a:pt x="0" y="2"/>
                    <a:pt x="0" y="4"/>
                    <a:pt x="2" y="5"/>
                  </a:cubicBezTo>
                  <a:cubicBezTo>
                    <a:pt x="2"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4" name="Freeform 1482">
              <a:extLst>
                <a:ext uri="{FF2B5EF4-FFF2-40B4-BE49-F238E27FC236}">
                  <a16:creationId xmlns:a16="http://schemas.microsoft.com/office/drawing/2014/main" id="{5801511F-50D2-479B-A948-0F806EB837BB}"/>
                </a:ext>
              </a:extLst>
            </p:cNvPr>
            <p:cNvSpPr>
              <a:spLocks/>
            </p:cNvSpPr>
            <p:nvPr/>
          </p:nvSpPr>
          <p:spPr bwMode="auto">
            <a:xfrm>
              <a:off x="2294" y="1598"/>
              <a:ext cx="9" cy="12"/>
            </a:xfrm>
            <a:custGeom>
              <a:avLst/>
              <a:gdLst>
                <a:gd name="T0" fmla="*/ 4 w 4"/>
                <a:gd name="T1" fmla="*/ 0 h 5"/>
                <a:gd name="T2" fmla="*/ 1 w 4"/>
                <a:gd name="T3" fmla="*/ 5 h 5"/>
                <a:gd name="T4" fmla="*/ 4 w 4"/>
                <a:gd name="T5" fmla="*/ 0 h 5"/>
              </a:gdLst>
              <a:ahLst/>
              <a:cxnLst>
                <a:cxn ang="0">
                  <a:pos x="T0" y="T1"/>
                </a:cxn>
                <a:cxn ang="0">
                  <a:pos x="T2" y="T3"/>
                </a:cxn>
                <a:cxn ang="0">
                  <a:pos x="T4" y="T5"/>
                </a:cxn>
              </a:cxnLst>
              <a:rect l="0" t="0" r="r" b="b"/>
              <a:pathLst>
                <a:path w="4" h="5">
                  <a:moveTo>
                    <a:pt x="4" y="0"/>
                  </a:moveTo>
                  <a:cubicBezTo>
                    <a:pt x="3" y="2"/>
                    <a:pt x="0" y="3"/>
                    <a:pt x="1" y="5"/>
                  </a:cubicBezTo>
                  <a:cubicBezTo>
                    <a:pt x="2" y="4"/>
                    <a:pt x="3"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5" name="Freeform 1483">
              <a:extLst>
                <a:ext uri="{FF2B5EF4-FFF2-40B4-BE49-F238E27FC236}">
                  <a16:creationId xmlns:a16="http://schemas.microsoft.com/office/drawing/2014/main" id="{4CAB7BC1-B340-42EF-A0C2-CBB739BD5045}"/>
                </a:ext>
              </a:extLst>
            </p:cNvPr>
            <p:cNvSpPr>
              <a:spLocks/>
            </p:cNvSpPr>
            <p:nvPr/>
          </p:nvSpPr>
          <p:spPr bwMode="auto">
            <a:xfrm>
              <a:off x="5108" y="2459"/>
              <a:ext cx="14" cy="23"/>
            </a:xfrm>
            <a:custGeom>
              <a:avLst/>
              <a:gdLst>
                <a:gd name="T0" fmla="*/ 3 w 6"/>
                <a:gd name="T1" fmla="*/ 0 h 10"/>
                <a:gd name="T2" fmla="*/ 0 w 6"/>
                <a:gd name="T3" fmla="*/ 10 h 10"/>
                <a:gd name="T4" fmla="*/ 3 w 6"/>
                <a:gd name="T5" fmla="*/ 3 h 10"/>
                <a:gd name="T6" fmla="*/ 3 w 6"/>
                <a:gd name="T7" fmla="*/ 0 h 10"/>
              </a:gdLst>
              <a:ahLst/>
              <a:cxnLst>
                <a:cxn ang="0">
                  <a:pos x="T0" y="T1"/>
                </a:cxn>
                <a:cxn ang="0">
                  <a:pos x="T2" y="T3"/>
                </a:cxn>
                <a:cxn ang="0">
                  <a:pos x="T4" y="T5"/>
                </a:cxn>
                <a:cxn ang="0">
                  <a:pos x="T6" y="T7"/>
                </a:cxn>
              </a:cxnLst>
              <a:rect l="0" t="0" r="r" b="b"/>
              <a:pathLst>
                <a:path w="6" h="10">
                  <a:moveTo>
                    <a:pt x="3" y="0"/>
                  </a:moveTo>
                  <a:cubicBezTo>
                    <a:pt x="1" y="3"/>
                    <a:pt x="1" y="6"/>
                    <a:pt x="0" y="10"/>
                  </a:cubicBezTo>
                  <a:cubicBezTo>
                    <a:pt x="4" y="7"/>
                    <a:pt x="2" y="7"/>
                    <a:pt x="3" y="3"/>
                  </a:cubicBezTo>
                  <a:cubicBezTo>
                    <a:pt x="3" y="1"/>
                    <a:pt x="6" y="3"/>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6" name="Freeform 1484">
              <a:extLst>
                <a:ext uri="{FF2B5EF4-FFF2-40B4-BE49-F238E27FC236}">
                  <a16:creationId xmlns:a16="http://schemas.microsoft.com/office/drawing/2014/main" id="{B9C2F377-7E15-43CF-B3DF-BC66564238D6}"/>
                </a:ext>
              </a:extLst>
            </p:cNvPr>
            <p:cNvSpPr>
              <a:spLocks/>
            </p:cNvSpPr>
            <p:nvPr/>
          </p:nvSpPr>
          <p:spPr bwMode="auto">
            <a:xfrm>
              <a:off x="4910" y="2404"/>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7" name="Freeform 1485">
              <a:extLst>
                <a:ext uri="{FF2B5EF4-FFF2-40B4-BE49-F238E27FC236}">
                  <a16:creationId xmlns:a16="http://schemas.microsoft.com/office/drawing/2014/main" id="{99AE4892-F8D3-4B6E-8EDA-40800C4FE333}"/>
                </a:ext>
              </a:extLst>
            </p:cNvPr>
            <p:cNvSpPr>
              <a:spLocks/>
            </p:cNvSpPr>
            <p:nvPr/>
          </p:nvSpPr>
          <p:spPr bwMode="auto">
            <a:xfrm>
              <a:off x="5170" y="2612"/>
              <a:ext cx="7" cy="10"/>
            </a:xfrm>
            <a:custGeom>
              <a:avLst/>
              <a:gdLst>
                <a:gd name="T0" fmla="*/ 1 w 3"/>
                <a:gd name="T1" fmla="*/ 0 h 4"/>
                <a:gd name="T2" fmla="*/ 3 w 3"/>
                <a:gd name="T3" fmla="*/ 4 h 4"/>
                <a:gd name="T4" fmla="*/ 1 w 3"/>
                <a:gd name="T5" fmla="*/ 0 h 4"/>
              </a:gdLst>
              <a:ahLst/>
              <a:cxnLst>
                <a:cxn ang="0">
                  <a:pos x="T0" y="T1"/>
                </a:cxn>
                <a:cxn ang="0">
                  <a:pos x="T2" y="T3"/>
                </a:cxn>
                <a:cxn ang="0">
                  <a:pos x="T4" y="T5"/>
                </a:cxn>
              </a:cxnLst>
              <a:rect l="0" t="0" r="r" b="b"/>
              <a:pathLst>
                <a:path w="3" h="4">
                  <a:moveTo>
                    <a:pt x="1" y="0"/>
                  </a:moveTo>
                  <a:cubicBezTo>
                    <a:pt x="0" y="2"/>
                    <a:pt x="1" y="3"/>
                    <a:pt x="3" y="4"/>
                  </a:cubicBezTo>
                  <a:cubicBezTo>
                    <a:pt x="2" y="3"/>
                    <a:pt x="1"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8" name="Freeform 1486">
              <a:extLst>
                <a:ext uri="{FF2B5EF4-FFF2-40B4-BE49-F238E27FC236}">
                  <a16:creationId xmlns:a16="http://schemas.microsoft.com/office/drawing/2014/main" id="{C5BFB5B3-2DAD-40DD-BC2F-1EA45A92765B}"/>
                </a:ext>
              </a:extLst>
            </p:cNvPr>
            <p:cNvSpPr>
              <a:spLocks/>
            </p:cNvSpPr>
            <p:nvPr/>
          </p:nvSpPr>
          <p:spPr bwMode="auto">
            <a:xfrm>
              <a:off x="4657" y="2366"/>
              <a:ext cx="2" cy="17"/>
            </a:xfrm>
            <a:custGeom>
              <a:avLst/>
              <a:gdLst>
                <a:gd name="T0" fmla="*/ 0 w 1"/>
                <a:gd name="T1" fmla="*/ 0 h 7"/>
                <a:gd name="T2" fmla="*/ 0 w 1"/>
                <a:gd name="T3" fmla="*/ 7 h 7"/>
                <a:gd name="T4" fmla="*/ 0 w 1"/>
                <a:gd name="T5" fmla="*/ 0 h 7"/>
              </a:gdLst>
              <a:ahLst/>
              <a:cxnLst>
                <a:cxn ang="0">
                  <a:pos x="T0" y="T1"/>
                </a:cxn>
                <a:cxn ang="0">
                  <a:pos x="T2" y="T3"/>
                </a:cxn>
                <a:cxn ang="0">
                  <a:pos x="T4" y="T5"/>
                </a:cxn>
              </a:cxnLst>
              <a:rect l="0" t="0" r="r" b="b"/>
              <a:pathLst>
                <a:path w="1" h="7">
                  <a:moveTo>
                    <a:pt x="0" y="0"/>
                  </a:moveTo>
                  <a:cubicBezTo>
                    <a:pt x="0" y="3"/>
                    <a:pt x="0" y="5"/>
                    <a:pt x="0" y="7"/>
                  </a:cubicBezTo>
                  <a:cubicBezTo>
                    <a:pt x="0" y="5"/>
                    <a:pt x="1"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9" name="Freeform 1487">
              <a:extLst>
                <a:ext uri="{FF2B5EF4-FFF2-40B4-BE49-F238E27FC236}">
                  <a16:creationId xmlns:a16="http://schemas.microsoft.com/office/drawing/2014/main" id="{9D926A1D-2FDE-4608-840E-5A08ACAB1123}"/>
                </a:ext>
              </a:extLst>
            </p:cNvPr>
            <p:cNvSpPr>
              <a:spLocks/>
            </p:cNvSpPr>
            <p:nvPr/>
          </p:nvSpPr>
          <p:spPr bwMode="auto">
            <a:xfrm>
              <a:off x="5198" y="2527"/>
              <a:ext cx="21" cy="21"/>
            </a:xfrm>
            <a:custGeom>
              <a:avLst/>
              <a:gdLst>
                <a:gd name="T0" fmla="*/ 5 w 9"/>
                <a:gd name="T1" fmla="*/ 0 h 9"/>
                <a:gd name="T2" fmla="*/ 0 w 9"/>
                <a:gd name="T3" fmla="*/ 1 h 9"/>
                <a:gd name="T4" fmla="*/ 1 w 9"/>
                <a:gd name="T5" fmla="*/ 7 h 9"/>
                <a:gd name="T6" fmla="*/ 2 w 9"/>
                <a:gd name="T7" fmla="*/ 7 h 9"/>
                <a:gd name="T8" fmla="*/ 5 w 9"/>
                <a:gd name="T9" fmla="*/ 9 h 9"/>
                <a:gd name="T10" fmla="*/ 9 w 9"/>
                <a:gd name="T11" fmla="*/ 3 h 9"/>
                <a:gd name="T12" fmla="*/ 8 w 9"/>
                <a:gd name="T13" fmla="*/ 3 h 9"/>
                <a:gd name="T14" fmla="*/ 5 w 9"/>
                <a:gd name="T15" fmla="*/ 0 h 9"/>
                <a:gd name="T16" fmla="*/ 5 w 9"/>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5" y="0"/>
                  </a:moveTo>
                  <a:cubicBezTo>
                    <a:pt x="4" y="0"/>
                    <a:pt x="0" y="1"/>
                    <a:pt x="0" y="1"/>
                  </a:cubicBezTo>
                  <a:cubicBezTo>
                    <a:pt x="1" y="3"/>
                    <a:pt x="2" y="6"/>
                    <a:pt x="1" y="7"/>
                  </a:cubicBezTo>
                  <a:cubicBezTo>
                    <a:pt x="1" y="7"/>
                    <a:pt x="1" y="7"/>
                    <a:pt x="2" y="7"/>
                  </a:cubicBezTo>
                  <a:cubicBezTo>
                    <a:pt x="3" y="7"/>
                    <a:pt x="4" y="8"/>
                    <a:pt x="5" y="9"/>
                  </a:cubicBezTo>
                  <a:cubicBezTo>
                    <a:pt x="6" y="7"/>
                    <a:pt x="8" y="5"/>
                    <a:pt x="9" y="3"/>
                  </a:cubicBezTo>
                  <a:cubicBezTo>
                    <a:pt x="9" y="3"/>
                    <a:pt x="8" y="3"/>
                    <a:pt x="8" y="3"/>
                  </a:cubicBezTo>
                  <a:cubicBezTo>
                    <a:pt x="7" y="3"/>
                    <a:pt x="6"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0" name="Freeform 1488">
              <a:extLst>
                <a:ext uri="{FF2B5EF4-FFF2-40B4-BE49-F238E27FC236}">
                  <a16:creationId xmlns:a16="http://schemas.microsoft.com/office/drawing/2014/main" id="{BFC477D8-3D96-41B3-889F-C03F4D5C4B58}"/>
                </a:ext>
              </a:extLst>
            </p:cNvPr>
            <p:cNvSpPr>
              <a:spLocks/>
            </p:cNvSpPr>
            <p:nvPr/>
          </p:nvSpPr>
          <p:spPr bwMode="auto">
            <a:xfrm>
              <a:off x="5144" y="2480"/>
              <a:ext cx="30" cy="35"/>
            </a:xfrm>
            <a:custGeom>
              <a:avLst/>
              <a:gdLst>
                <a:gd name="T0" fmla="*/ 5 w 13"/>
                <a:gd name="T1" fmla="*/ 0 h 15"/>
                <a:gd name="T2" fmla="*/ 0 w 13"/>
                <a:gd name="T3" fmla="*/ 2 h 15"/>
                <a:gd name="T4" fmla="*/ 4 w 13"/>
                <a:gd name="T5" fmla="*/ 3 h 15"/>
                <a:gd name="T6" fmla="*/ 0 w 13"/>
                <a:gd name="T7" fmla="*/ 7 h 15"/>
                <a:gd name="T8" fmla="*/ 3 w 13"/>
                <a:gd name="T9" fmla="*/ 11 h 15"/>
                <a:gd name="T10" fmla="*/ 6 w 13"/>
                <a:gd name="T11" fmla="*/ 12 h 15"/>
                <a:gd name="T12" fmla="*/ 10 w 13"/>
                <a:gd name="T13" fmla="*/ 15 h 15"/>
                <a:gd name="T14" fmla="*/ 9 w 13"/>
                <a:gd name="T15" fmla="*/ 3 h 15"/>
                <a:gd name="T16" fmla="*/ 6 w 13"/>
                <a:gd name="T17" fmla="*/ 0 h 15"/>
                <a:gd name="T18" fmla="*/ 5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5" y="0"/>
                  </a:moveTo>
                  <a:cubicBezTo>
                    <a:pt x="3" y="0"/>
                    <a:pt x="0" y="1"/>
                    <a:pt x="0" y="2"/>
                  </a:cubicBezTo>
                  <a:cubicBezTo>
                    <a:pt x="0" y="2"/>
                    <a:pt x="4" y="2"/>
                    <a:pt x="4" y="3"/>
                  </a:cubicBezTo>
                  <a:cubicBezTo>
                    <a:pt x="6" y="5"/>
                    <a:pt x="1" y="6"/>
                    <a:pt x="0" y="7"/>
                  </a:cubicBezTo>
                  <a:cubicBezTo>
                    <a:pt x="1" y="8"/>
                    <a:pt x="1" y="10"/>
                    <a:pt x="3" y="11"/>
                  </a:cubicBezTo>
                  <a:cubicBezTo>
                    <a:pt x="4" y="12"/>
                    <a:pt x="5" y="11"/>
                    <a:pt x="6" y="12"/>
                  </a:cubicBezTo>
                  <a:cubicBezTo>
                    <a:pt x="7" y="13"/>
                    <a:pt x="8" y="14"/>
                    <a:pt x="10" y="15"/>
                  </a:cubicBezTo>
                  <a:cubicBezTo>
                    <a:pt x="13" y="10"/>
                    <a:pt x="11" y="8"/>
                    <a:pt x="9" y="3"/>
                  </a:cubicBezTo>
                  <a:cubicBezTo>
                    <a:pt x="8" y="1"/>
                    <a:pt x="8" y="0"/>
                    <a:pt x="6" y="0"/>
                  </a:cubicBezTo>
                  <a:cubicBezTo>
                    <a:pt x="6"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1" name="Freeform 1489">
              <a:extLst>
                <a:ext uri="{FF2B5EF4-FFF2-40B4-BE49-F238E27FC236}">
                  <a16:creationId xmlns:a16="http://schemas.microsoft.com/office/drawing/2014/main" id="{759E2208-11EE-4FE1-923B-AD35EA4BD4C1}"/>
                </a:ext>
              </a:extLst>
            </p:cNvPr>
            <p:cNvSpPr>
              <a:spLocks/>
            </p:cNvSpPr>
            <p:nvPr/>
          </p:nvSpPr>
          <p:spPr bwMode="auto">
            <a:xfrm>
              <a:off x="4933" y="2437"/>
              <a:ext cx="211" cy="163"/>
            </a:xfrm>
            <a:custGeom>
              <a:avLst/>
              <a:gdLst>
                <a:gd name="T0" fmla="*/ 1 w 89"/>
                <a:gd name="T1" fmla="*/ 0 h 69"/>
                <a:gd name="T2" fmla="*/ 1 w 89"/>
                <a:gd name="T3" fmla="*/ 0 h 69"/>
                <a:gd name="T4" fmla="*/ 10 w 89"/>
                <a:gd name="T5" fmla="*/ 16 h 69"/>
                <a:gd name="T6" fmla="*/ 47 w 89"/>
                <a:gd name="T7" fmla="*/ 49 h 69"/>
                <a:gd name="T8" fmla="*/ 49 w 89"/>
                <a:gd name="T9" fmla="*/ 50 h 69"/>
                <a:gd name="T10" fmla="*/ 50 w 89"/>
                <a:gd name="T11" fmla="*/ 50 h 69"/>
                <a:gd name="T12" fmla="*/ 51 w 89"/>
                <a:gd name="T13" fmla="*/ 50 h 69"/>
                <a:gd name="T14" fmla="*/ 52 w 89"/>
                <a:gd name="T15" fmla="*/ 50 h 69"/>
                <a:gd name="T16" fmla="*/ 56 w 89"/>
                <a:gd name="T17" fmla="*/ 54 h 69"/>
                <a:gd name="T18" fmla="*/ 68 w 89"/>
                <a:gd name="T19" fmla="*/ 62 h 69"/>
                <a:gd name="T20" fmla="*/ 85 w 89"/>
                <a:gd name="T21" fmla="*/ 69 h 69"/>
                <a:gd name="T22" fmla="*/ 89 w 89"/>
                <a:gd name="T23" fmla="*/ 66 h 69"/>
                <a:gd name="T24" fmla="*/ 79 w 89"/>
                <a:gd name="T25" fmla="*/ 55 h 69"/>
                <a:gd name="T26" fmla="*/ 61 w 89"/>
                <a:gd name="T27" fmla="*/ 42 h 69"/>
                <a:gd name="T28" fmla="*/ 41 w 89"/>
                <a:gd name="T29" fmla="*/ 27 h 69"/>
                <a:gd name="T30" fmla="*/ 22 w 89"/>
                <a:gd name="T31" fmla="*/ 12 h 69"/>
                <a:gd name="T32" fmla="*/ 14 w 89"/>
                <a:gd name="T33" fmla="*/ 6 h 69"/>
                <a:gd name="T34" fmla="*/ 13 w 89"/>
                <a:gd name="T35" fmla="*/ 6 h 69"/>
                <a:gd name="T36" fmla="*/ 12 w 89"/>
                <a:gd name="T37" fmla="*/ 6 h 69"/>
                <a:gd name="T38" fmla="*/ 11 w 89"/>
                <a:gd name="T39" fmla="*/ 7 h 69"/>
                <a:gd name="T40" fmla="*/ 11 w 89"/>
                <a:gd name="T41" fmla="*/ 7 h 69"/>
                <a:gd name="T42" fmla="*/ 6 w 89"/>
                <a:gd name="T43" fmla="*/ 5 h 69"/>
                <a:gd name="T44" fmla="*/ 4 w 89"/>
                <a:gd name="T45" fmla="*/ 2 h 69"/>
                <a:gd name="T46" fmla="*/ 1 w 89"/>
                <a:gd name="T4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 h="69">
                  <a:moveTo>
                    <a:pt x="1" y="0"/>
                  </a:moveTo>
                  <a:cubicBezTo>
                    <a:pt x="1" y="0"/>
                    <a:pt x="1" y="0"/>
                    <a:pt x="1" y="0"/>
                  </a:cubicBezTo>
                  <a:cubicBezTo>
                    <a:pt x="0" y="0"/>
                    <a:pt x="9" y="14"/>
                    <a:pt x="10" y="16"/>
                  </a:cubicBezTo>
                  <a:cubicBezTo>
                    <a:pt x="22" y="28"/>
                    <a:pt x="31" y="42"/>
                    <a:pt x="47" y="49"/>
                  </a:cubicBezTo>
                  <a:cubicBezTo>
                    <a:pt x="48" y="50"/>
                    <a:pt x="49" y="50"/>
                    <a:pt x="49" y="50"/>
                  </a:cubicBezTo>
                  <a:cubicBezTo>
                    <a:pt x="50" y="50"/>
                    <a:pt x="50" y="50"/>
                    <a:pt x="50" y="50"/>
                  </a:cubicBezTo>
                  <a:cubicBezTo>
                    <a:pt x="50" y="50"/>
                    <a:pt x="50" y="50"/>
                    <a:pt x="51" y="50"/>
                  </a:cubicBezTo>
                  <a:cubicBezTo>
                    <a:pt x="51" y="50"/>
                    <a:pt x="52" y="50"/>
                    <a:pt x="52" y="50"/>
                  </a:cubicBezTo>
                  <a:cubicBezTo>
                    <a:pt x="54" y="52"/>
                    <a:pt x="55" y="53"/>
                    <a:pt x="56" y="54"/>
                  </a:cubicBezTo>
                  <a:cubicBezTo>
                    <a:pt x="61" y="56"/>
                    <a:pt x="65" y="59"/>
                    <a:pt x="68" y="62"/>
                  </a:cubicBezTo>
                  <a:cubicBezTo>
                    <a:pt x="71" y="63"/>
                    <a:pt x="79" y="69"/>
                    <a:pt x="85" y="69"/>
                  </a:cubicBezTo>
                  <a:cubicBezTo>
                    <a:pt x="87" y="69"/>
                    <a:pt x="88" y="68"/>
                    <a:pt x="89" y="66"/>
                  </a:cubicBezTo>
                  <a:cubicBezTo>
                    <a:pt x="89" y="61"/>
                    <a:pt x="82" y="57"/>
                    <a:pt x="79" y="55"/>
                  </a:cubicBezTo>
                  <a:cubicBezTo>
                    <a:pt x="73" y="51"/>
                    <a:pt x="67" y="46"/>
                    <a:pt x="61" y="42"/>
                  </a:cubicBezTo>
                  <a:cubicBezTo>
                    <a:pt x="53" y="38"/>
                    <a:pt x="46" y="33"/>
                    <a:pt x="41" y="27"/>
                  </a:cubicBezTo>
                  <a:cubicBezTo>
                    <a:pt x="36" y="20"/>
                    <a:pt x="28" y="16"/>
                    <a:pt x="22" y="12"/>
                  </a:cubicBezTo>
                  <a:cubicBezTo>
                    <a:pt x="19" y="10"/>
                    <a:pt x="17" y="8"/>
                    <a:pt x="14" y="6"/>
                  </a:cubicBezTo>
                  <a:cubicBezTo>
                    <a:pt x="14" y="6"/>
                    <a:pt x="13" y="6"/>
                    <a:pt x="13" y="6"/>
                  </a:cubicBezTo>
                  <a:cubicBezTo>
                    <a:pt x="13" y="6"/>
                    <a:pt x="12" y="6"/>
                    <a:pt x="12" y="6"/>
                  </a:cubicBezTo>
                  <a:cubicBezTo>
                    <a:pt x="12" y="7"/>
                    <a:pt x="12" y="7"/>
                    <a:pt x="11" y="7"/>
                  </a:cubicBezTo>
                  <a:cubicBezTo>
                    <a:pt x="11" y="7"/>
                    <a:pt x="11" y="7"/>
                    <a:pt x="11" y="7"/>
                  </a:cubicBezTo>
                  <a:cubicBezTo>
                    <a:pt x="9" y="7"/>
                    <a:pt x="8" y="5"/>
                    <a:pt x="6" y="5"/>
                  </a:cubicBezTo>
                  <a:cubicBezTo>
                    <a:pt x="5" y="4"/>
                    <a:pt x="5" y="3"/>
                    <a:pt x="4" y="2"/>
                  </a:cubicBezTo>
                  <a:cubicBezTo>
                    <a:pt x="3" y="1"/>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2" name="Freeform 1490">
              <a:extLst>
                <a:ext uri="{FF2B5EF4-FFF2-40B4-BE49-F238E27FC236}">
                  <a16:creationId xmlns:a16="http://schemas.microsoft.com/office/drawing/2014/main" id="{8763D832-0CFE-4AAF-9CC1-CE489C5580B4}"/>
                </a:ext>
              </a:extLst>
            </p:cNvPr>
            <p:cNvSpPr>
              <a:spLocks/>
            </p:cNvSpPr>
            <p:nvPr/>
          </p:nvSpPr>
          <p:spPr bwMode="auto">
            <a:xfrm>
              <a:off x="4066" y="3437"/>
              <a:ext cx="0" cy="2"/>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1"/>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3" name="Freeform 1491">
              <a:extLst>
                <a:ext uri="{FF2B5EF4-FFF2-40B4-BE49-F238E27FC236}">
                  <a16:creationId xmlns:a16="http://schemas.microsoft.com/office/drawing/2014/main" id="{795B3D7A-1C2B-4805-A90F-BF72CF1519CC}"/>
                </a:ext>
              </a:extLst>
            </p:cNvPr>
            <p:cNvSpPr>
              <a:spLocks/>
            </p:cNvSpPr>
            <p:nvPr/>
          </p:nvSpPr>
          <p:spPr bwMode="auto">
            <a:xfrm>
              <a:off x="1440" y="2794"/>
              <a:ext cx="5" cy="17"/>
            </a:xfrm>
            <a:custGeom>
              <a:avLst/>
              <a:gdLst>
                <a:gd name="T0" fmla="*/ 2 w 2"/>
                <a:gd name="T1" fmla="*/ 0 h 7"/>
                <a:gd name="T2" fmla="*/ 0 w 2"/>
                <a:gd name="T3" fmla="*/ 7 h 7"/>
                <a:gd name="T4" fmla="*/ 2 w 2"/>
                <a:gd name="T5" fmla="*/ 0 h 7"/>
              </a:gdLst>
              <a:ahLst/>
              <a:cxnLst>
                <a:cxn ang="0">
                  <a:pos x="T0" y="T1"/>
                </a:cxn>
                <a:cxn ang="0">
                  <a:pos x="T2" y="T3"/>
                </a:cxn>
                <a:cxn ang="0">
                  <a:pos x="T4" y="T5"/>
                </a:cxn>
              </a:cxnLst>
              <a:rect l="0" t="0" r="r" b="b"/>
              <a:pathLst>
                <a:path w="2" h="7">
                  <a:moveTo>
                    <a:pt x="2" y="0"/>
                  </a:moveTo>
                  <a:cubicBezTo>
                    <a:pt x="1" y="2"/>
                    <a:pt x="1" y="5"/>
                    <a:pt x="0" y="7"/>
                  </a:cubicBezTo>
                  <a:cubicBezTo>
                    <a:pt x="1" y="5"/>
                    <a:pt x="2" y="2"/>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4" name="Freeform 1492">
              <a:extLst>
                <a:ext uri="{FF2B5EF4-FFF2-40B4-BE49-F238E27FC236}">
                  <a16:creationId xmlns:a16="http://schemas.microsoft.com/office/drawing/2014/main" id="{D90046A3-A9BA-4562-8CDD-70D5448D59F9}"/>
                </a:ext>
              </a:extLst>
            </p:cNvPr>
            <p:cNvSpPr>
              <a:spLocks/>
            </p:cNvSpPr>
            <p:nvPr/>
          </p:nvSpPr>
          <p:spPr bwMode="auto">
            <a:xfrm>
              <a:off x="1431" y="2827"/>
              <a:ext cx="21" cy="48"/>
            </a:xfrm>
            <a:custGeom>
              <a:avLst/>
              <a:gdLst>
                <a:gd name="T0" fmla="*/ 1 w 9"/>
                <a:gd name="T1" fmla="*/ 0 h 20"/>
                <a:gd name="T2" fmla="*/ 8 w 9"/>
                <a:gd name="T3" fmla="*/ 20 h 20"/>
                <a:gd name="T4" fmla="*/ 6 w 9"/>
                <a:gd name="T5" fmla="*/ 14 h 20"/>
                <a:gd name="T6" fmla="*/ 5 w 9"/>
                <a:gd name="T7" fmla="*/ 12 h 20"/>
                <a:gd name="T8" fmla="*/ 5 w 9"/>
                <a:gd name="T9" fmla="*/ 9 h 20"/>
                <a:gd name="T10" fmla="*/ 3 w 9"/>
                <a:gd name="T11" fmla="*/ 0 h 20"/>
                <a:gd name="T12" fmla="*/ 1 w 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9" h="20">
                  <a:moveTo>
                    <a:pt x="1" y="0"/>
                  </a:moveTo>
                  <a:cubicBezTo>
                    <a:pt x="0" y="8"/>
                    <a:pt x="4" y="13"/>
                    <a:pt x="8" y="20"/>
                  </a:cubicBezTo>
                  <a:cubicBezTo>
                    <a:pt x="9" y="15"/>
                    <a:pt x="7" y="16"/>
                    <a:pt x="6" y="14"/>
                  </a:cubicBezTo>
                  <a:cubicBezTo>
                    <a:pt x="5" y="13"/>
                    <a:pt x="6" y="12"/>
                    <a:pt x="5" y="12"/>
                  </a:cubicBezTo>
                  <a:cubicBezTo>
                    <a:pt x="5" y="11"/>
                    <a:pt x="5" y="10"/>
                    <a:pt x="5" y="9"/>
                  </a:cubicBezTo>
                  <a:cubicBezTo>
                    <a:pt x="4" y="7"/>
                    <a:pt x="1" y="2"/>
                    <a:pt x="3"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5" name="Freeform 1493">
              <a:extLst>
                <a:ext uri="{FF2B5EF4-FFF2-40B4-BE49-F238E27FC236}">
                  <a16:creationId xmlns:a16="http://schemas.microsoft.com/office/drawing/2014/main" id="{1E40F261-36C9-42D6-9C1B-C3335543AFEC}"/>
                </a:ext>
              </a:extLst>
            </p:cNvPr>
            <p:cNvSpPr>
              <a:spLocks/>
            </p:cNvSpPr>
            <p:nvPr/>
          </p:nvSpPr>
          <p:spPr bwMode="auto">
            <a:xfrm>
              <a:off x="1445" y="1778"/>
              <a:ext cx="2779" cy="2092"/>
            </a:xfrm>
            <a:custGeom>
              <a:avLst/>
              <a:gdLst>
                <a:gd name="T0" fmla="*/ 828 w 1176"/>
                <a:gd name="T1" fmla="*/ 64 h 885"/>
                <a:gd name="T2" fmla="*/ 811 w 1176"/>
                <a:gd name="T3" fmla="*/ 183 h 885"/>
                <a:gd name="T4" fmla="*/ 691 w 1176"/>
                <a:gd name="T5" fmla="*/ 154 h 885"/>
                <a:gd name="T6" fmla="*/ 664 w 1176"/>
                <a:gd name="T7" fmla="*/ 76 h 885"/>
                <a:gd name="T8" fmla="*/ 693 w 1176"/>
                <a:gd name="T9" fmla="*/ 48 h 885"/>
                <a:gd name="T10" fmla="*/ 656 w 1176"/>
                <a:gd name="T11" fmla="*/ 46 h 885"/>
                <a:gd name="T12" fmla="*/ 628 w 1176"/>
                <a:gd name="T13" fmla="*/ 36 h 885"/>
                <a:gd name="T14" fmla="*/ 572 w 1176"/>
                <a:gd name="T15" fmla="*/ 20 h 885"/>
                <a:gd name="T16" fmla="*/ 548 w 1176"/>
                <a:gd name="T17" fmla="*/ 21 h 885"/>
                <a:gd name="T18" fmla="*/ 559 w 1176"/>
                <a:gd name="T19" fmla="*/ 49 h 885"/>
                <a:gd name="T20" fmla="*/ 517 w 1176"/>
                <a:gd name="T21" fmla="*/ 52 h 885"/>
                <a:gd name="T22" fmla="*/ 489 w 1176"/>
                <a:gd name="T23" fmla="*/ 83 h 885"/>
                <a:gd name="T24" fmla="*/ 481 w 1176"/>
                <a:gd name="T25" fmla="*/ 132 h 885"/>
                <a:gd name="T26" fmla="*/ 445 w 1176"/>
                <a:gd name="T27" fmla="*/ 122 h 885"/>
                <a:gd name="T28" fmla="*/ 433 w 1176"/>
                <a:gd name="T29" fmla="*/ 112 h 885"/>
                <a:gd name="T30" fmla="*/ 389 w 1176"/>
                <a:gd name="T31" fmla="*/ 99 h 885"/>
                <a:gd name="T32" fmla="*/ 377 w 1176"/>
                <a:gd name="T33" fmla="*/ 103 h 885"/>
                <a:gd name="T34" fmla="*/ 356 w 1176"/>
                <a:gd name="T35" fmla="*/ 113 h 885"/>
                <a:gd name="T36" fmla="*/ 357 w 1176"/>
                <a:gd name="T37" fmla="*/ 130 h 885"/>
                <a:gd name="T38" fmla="*/ 340 w 1176"/>
                <a:gd name="T39" fmla="*/ 137 h 885"/>
                <a:gd name="T40" fmla="*/ 328 w 1176"/>
                <a:gd name="T41" fmla="*/ 166 h 885"/>
                <a:gd name="T42" fmla="*/ 316 w 1176"/>
                <a:gd name="T43" fmla="*/ 167 h 885"/>
                <a:gd name="T44" fmla="*/ 306 w 1176"/>
                <a:gd name="T45" fmla="*/ 170 h 885"/>
                <a:gd name="T46" fmla="*/ 314 w 1176"/>
                <a:gd name="T47" fmla="*/ 180 h 885"/>
                <a:gd name="T48" fmla="*/ 286 w 1176"/>
                <a:gd name="T49" fmla="*/ 167 h 885"/>
                <a:gd name="T50" fmla="*/ 192 w 1176"/>
                <a:gd name="T51" fmla="*/ 276 h 885"/>
                <a:gd name="T52" fmla="*/ 117 w 1176"/>
                <a:gd name="T53" fmla="*/ 295 h 885"/>
                <a:gd name="T54" fmla="*/ 30 w 1176"/>
                <a:gd name="T55" fmla="*/ 353 h 885"/>
                <a:gd name="T56" fmla="*/ 26 w 1176"/>
                <a:gd name="T57" fmla="*/ 472 h 885"/>
                <a:gd name="T58" fmla="*/ 18 w 1176"/>
                <a:gd name="T59" fmla="*/ 478 h 885"/>
                <a:gd name="T60" fmla="*/ 0 w 1176"/>
                <a:gd name="T61" fmla="*/ 464 h 885"/>
                <a:gd name="T62" fmla="*/ 75 w 1176"/>
                <a:gd name="T63" fmla="*/ 674 h 885"/>
                <a:gd name="T64" fmla="*/ 110 w 1176"/>
                <a:gd name="T65" fmla="*/ 748 h 885"/>
                <a:gd name="T66" fmla="*/ 197 w 1176"/>
                <a:gd name="T67" fmla="*/ 715 h 885"/>
                <a:gd name="T68" fmla="*/ 291 w 1176"/>
                <a:gd name="T69" fmla="*/ 714 h 885"/>
                <a:gd name="T70" fmla="*/ 378 w 1176"/>
                <a:gd name="T71" fmla="*/ 658 h 885"/>
                <a:gd name="T72" fmla="*/ 528 w 1176"/>
                <a:gd name="T73" fmla="*/ 635 h 885"/>
                <a:gd name="T74" fmla="*/ 594 w 1176"/>
                <a:gd name="T75" fmla="*/ 653 h 885"/>
                <a:gd name="T76" fmla="*/ 622 w 1176"/>
                <a:gd name="T77" fmla="*/ 689 h 885"/>
                <a:gd name="T78" fmla="*/ 645 w 1176"/>
                <a:gd name="T79" fmla="*/ 736 h 885"/>
                <a:gd name="T80" fmla="*/ 697 w 1176"/>
                <a:gd name="T81" fmla="*/ 705 h 885"/>
                <a:gd name="T82" fmla="*/ 709 w 1176"/>
                <a:gd name="T83" fmla="*/ 717 h 885"/>
                <a:gd name="T84" fmla="*/ 708 w 1176"/>
                <a:gd name="T85" fmla="*/ 751 h 885"/>
                <a:gd name="T86" fmla="*/ 733 w 1176"/>
                <a:gd name="T87" fmla="*/ 768 h 885"/>
                <a:gd name="T88" fmla="*/ 749 w 1176"/>
                <a:gd name="T89" fmla="*/ 766 h 885"/>
                <a:gd name="T90" fmla="*/ 835 w 1176"/>
                <a:gd name="T91" fmla="*/ 857 h 885"/>
                <a:gd name="T92" fmla="*/ 909 w 1176"/>
                <a:gd name="T93" fmla="*/ 852 h 885"/>
                <a:gd name="T94" fmla="*/ 939 w 1176"/>
                <a:gd name="T95" fmla="*/ 855 h 885"/>
                <a:gd name="T96" fmla="*/ 963 w 1176"/>
                <a:gd name="T97" fmla="*/ 877 h 885"/>
                <a:gd name="T98" fmla="*/ 1067 w 1176"/>
                <a:gd name="T99" fmla="*/ 831 h 885"/>
                <a:gd name="T100" fmla="*/ 1094 w 1176"/>
                <a:gd name="T101" fmla="*/ 733 h 885"/>
                <a:gd name="T102" fmla="*/ 1144 w 1176"/>
                <a:gd name="T103" fmla="*/ 658 h 885"/>
                <a:gd name="T104" fmla="*/ 1161 w 1176"/>
                <a:gd name="T105" fmla="*/ 494 h 885"/>
                <a:gd name="T106" fmla="*/ 1141 w 1176"/>
                <a:gd name="T107" fmla="*/ 421 h 885"/>
                <a:gd name="T108" fmla="*/ 1093 w 1176"/>
                <a:gd name="T109" fmla="*/ 353 h 885"/>
                <a:gd name="T110" fmla="*/ 1064 w 1176"/>
                <a:gd name="T111" fmla="*/ 351 h 885"/>
                <a:gd name="T112" fmla="*/ 1025 w 1176"/>
                <a:gd name="T113" fmla="*/ 282 h 885"/>
                <a:gd name="T114" fmla="*/ 984 w 1176"/>
                <a:gd name="T115" fmla="*/ 252 h 885"/>
                <a:gd name="T116" fmla="*/ 939 w 1176"/>
                <a:gd name="T117" fmla="*/ 171 h 885"/>
                <a:gd name="T118" fmla="*/ 904 w 1176"/>
                <a:gd name="T119" fmla="*/ 105 h 885"/>
                <a:gd name="T120" fmla="*/ 872 w 1176"/>
                <a:gd name="T121" fmla="*/ 48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6" h="885">
                  <a:moveTo>
                    <a:pt x="853" y="0"/>
                  </a:moveTo>
                  <a:cubicBezTo>
                    <a:pt x="851" y="0"/>
                    <a:pt x="843" y="6"/>
                    <a:pt x="842" y="7"/>
                  </a:cubicBezTo>
                  <a:cubicBezTo>
                    <a:pt x="840" y="17"/>
                    <a:pt x="838" y="28"/>
                    <a:pt x="835" y="38"/>
                  </a:cubicBezTo>
                  <a:cubicBezTo>
                    <a:pt x="835" y="37"/>
                    <a:pt x="835" y="37"/>
                    <a:pt x="835" y="37"/>
                  </a:cubicBezTo>
                  <a:cubicBezTo>
                    <a:pt x="830" y="39"/>
                    <a:pt x="829" y="49"/>
                    <a:pt x="827" y="53"/>
                  </a:cubicBezTo>
                  <a:cubicBezTo>
                    <a:pt x="827" y="52"/>
                    <a:pt x="828" y="51"/>
                    <a:pt x="829" y="51"/>
                  </a:cubicBezTo>
                  <a:cubicBezTo>
                    <a:pt x="830" y="51"/>
                    <a:pt x="831" y="51"/>
                    <a:pt x="832" y="52"/>
                  </a:cubicBezTo>
                  <a:cubicBezTo>
                    <a:pt x="834" y="54"/>
                    <a:pt x="836" y="54"/>
                    <a:pt x="836" y="58"/>
                  </a:cubicBezTo>
                  <a:cubicBezTo>
                    <a:pt x="835" y="60"/>
                    <a:pt x="837" y="62"/>
                    <a:pt x="836" y="64"/>
                  </a:cubicBezTo>
                  <a:cubicBezTo>
                    <a:pt x="836" y="62"/>
                    <a:pt x="836" y="58"/>
                    <a:pt x="834" y="58"/>
                  </a:cubicBezTo>
                  <a:cubicBezTo>
                    <a:pt x="833" y="58"/>
                    <a:pt x="833" y="58"/>
                    <a:pt x="833" y="58"/>
                  </a:cubicBezTo>
                  <a:cubicBezTo>
                    <a:pt x="833" y="58"/>
                    <a:pt x="833" y="58"/>
                    <a:pt x="833" y="57"/>
                  </a:cubicBezTo>
                  <a:cubicBezTo>
                    <a:pt x="831" y="60"/>
                    <a:pt x="830" y="63"/>
                    <a:pt x="828" y="64"/>
                  </a:cubicBezTo>
                  <a:cubicBezTo>
                    <a:pt x="828" y="67"/>
                    <a:pt x="830" y="71"/>
                    <a:pt x="829" y="74"/>
                  </a:cubicBezTo>
                  <a:cubicBezTo>
                    <a:pt x="829" y="77"/>
                    <a:pt x="826" y="80"/>
                    <a:pt x="825" y="82"/>
                  </a:cubicBezTo>
                  <a:cubicBezTo>
                    <a:pt x="825" y="84"/>
                    <a:pt x="824" y="85"/>
                    <a:pt x="824" y="86"/>
                  </a:cubicBezTo>
                  <a:cubicBezTo>
                    <a:pt x="824" y="87"/>
                    <a:pt x="823" y="89"/>
                    <a:pt x="823" y="91"/>
                  </a:cubicBezTo>
                  <a:cubicBezTo>
                    <a:pt x="823" y="93"/>
                    <a:pt x="824" y="95"/>
                    <a:pt x="825" y="97"/>
                  </a:cubicBezTo>
                  <a:cubicBezTo>
                    <a:pt x="827" y="101"/>
                    <a:pt x="827" y="104"/>
                    <a:pt x="826" y="109"/>
                  </a:cubicBezTo>
                  <a:cubicBezTo>
                    <a:pt x="826" y="113"/>
                    <a:pt x="826" y="117"/>
                    <a:pt x="827" y="121"/>
                  </a:cubicBezTo>
                  <a:cubicBezTo>
                    <a:pt x="827" y="123"/>
                    <a:pt x="828" y="124"/>
                    <a:pt x="828" y="125"/>
                  </a:cubicBezTo>
                  <a:cubicBezTo>
                    <a:pt x="829" y="128"/>
                    <a:pt x="828" y="130"/>
                    <a:pt x="827" y="134"/>
                  </a:cubicBezTo>
                  <a:cubicBezTo>
                    <a:pt x="825" y="141"/>
                    <a:pt x="822" y="147"/>
                    <a:pt x="821" y="154"/>
                  </a:cubicBezTo>
                  <a:cubicBezTo>
                    <a:pt x="820" y="156"/>
                    <a:pt x="822" y="157"/>
                    <a:pt x="822" y="158"/>
                  </a:cubicBezTo>
                  <a:cubicBezTo>
                    <a:pt x="822" y="160"/>
                    <a:pt x="820" y="164"/>
                    <a:pt x="819" y="166"/>
                  </a:cubicBezTo>
                  <a:cubicBezTo>
                    <a:pt x="816" y="172"/>
                    <a:pt x="814" y="177"/>
                    <a:pt x="811" y="183"/>
                  </a:cubicBezTo>
                  <a:cubicBezTo>
                    <a:pt x="809" y="188"/>
                    <a:pt x="808" y="194"/>
                    <a:pt x="805" y="198"/>
                  </a:cubicBezTo>
                  <a:cubicBezTo>
                    <a:pt x="801" y="202"/>
                    <a:pt x="796" y="205"/>
                    <a:pt x="791" y="206"/>
                  </a:cubicBezTo>
                  <a:cubicBezTo>
                    <a:pt x="789" y="207"/>
                    <a:pt x="786" y="207"/>
                    <a:pt x="783" y="207"/>
                  </a:cubicBezTo>
                  <a:cubicBezTo>
                    <a:pt x="783" y="207"/>
                    <a:pt x="782" y="207"/>
                    <a:pt x="782" y="207"/>
                  </a:cubicBezTo>
                  <a:cubicBezTo>
                    <a:pt x="777" y="207"/>
                    <a:pt x="773" y="202"/>
                    <a:pt x="769" y="199"/>
                  </a:cubicBezTo>
                  <a:cubicBezTo>
                    <a:pt x="765" y="196"/>
                    <a:pt x="761" y="193"/>
                    <a:pt x="757" y="190"/>
                  </a:cubicBezTo>
                  <a:cubicBezTo>
                    <a:pt x="755" y="188"/>
                    <a:pt x="756" y="187"/>
                    <a:pt x="754" y="186"/>
                  </a:cubicBezTo>
                  <a:cubicBezTo>
                    <a:pt x="751" y="184"/>
                    <a:pt x="751" y="182"/>
                    <a:pt x="747" y="181"/>
                  </a:cubicBezTo>
                  <a:cubicBezTo>
                    <a:pt x="738" y="178"/>
                    <a:pt x="730" y="175"/>
                    <a:pt x="722" y="173"/>
                  </a:cubicBezTo>
                  <a:cubicBezTo>
                    <a:pt x="722" y="173"/>
                    <a:pt x="722" y="173"/>
                    <a:pt x="722" y="173"/>
                  </a:cubicBezTo>
                  <a:cubicBezTo>
                    <a:pt x="722" y="171"/>
                    <a:pt x="709" y="165"/>
                    <a:pt x="708" y="164"/>
                  </a:cubicBezTo>
                  <a:cubicBezTo>
                    <a:pt x="702" y="160"/>
                    <a:pt x="697" y="157"/>
                    <a:pt x="691" y="153"/>
                  </a:cubicBezTo>
                  <a:cubicBezTo>
                    <a:pt x="691" y="154"/>
                    <a:pt x="691" y="154"/>
                    <a:pt x="691" y="154"/>
                  </a:cubicBezTo>
                  <a:cubicBezTo>
                    <a:pt x="690" y="154"/>
                    <a:pt x="689" y="154"/>
                    <a:pt x="688" y="154"/>
                  </a:cubicBezTo>
                  <a:cubicBezTo>
                    <a:pt x="688" y="154"/>
                    <a:pt x="687" y="154"/>
                    <a:pt x="687" y="154"/>
                  </a:cubicBezTo>
                  <a:cubicBezTo>
                    <a:pt x="686" y="154"/>
                    <a:pt x="686" y="154"/>
                    <a:pt x="686" y="154"/>
                  </a:cubicBezTo>
                  <a:cubicBezTo>
                    <a:pt x="685" y="154"/>
                    <a:pt x="684" y="154"/>
                    <a:pt x="683" y="153"/>
                  </a:cubicBezTo>
                  <a:cubicBezTo>
                    <a:pt x="673" y="144"/>
                    <a:pt x="663" y="135"/>
                    <a:pt x="652" y="127"/>
                  </a:cubicBezTo>
                  <a:cubicBezTo>
                    <a:pt x="651" y="127"/>
                    <a:pt x="650" y="126"/>
                    <a:pt x="649" y="125"/>
                  </a:cubicBezTo>
                  <a:cubicBezTo>
                    <a:pt x="647" y="117"/>
                    <a:pt x="652" y="113"/>
                    <a:pt x="656" y="107"/>
                  </a:cubicBezTo>
                  <a:cubicBezTo>
                    <a:pt x="660" y="103"/>
                    <a:pt x="661" y="98"/>
                    <a:pt x="663" y="93"/>
                  </a:cubicBezTo>
                  <a:cubicBezTo>
                    <a:pt x="664" y="91"/>
                    <a:pt x="666" y="88"/>
                    <a:pt x="666" y="86"/>
                  </a:cubicBezTo>
                  <a:cubicBezTo>
                    <a:pt x="664" y="87"/>
                    <a:pt x="664" y="89"/>
                    <a:pt x="663" y="89"/>
                  </a:cubicBezTo>
                  <a:cubicBezTo>
                    <a:pt x="662" y="89"/>
                    <a:pt x="662" y="89"/>
                    <a:pt x="661" y="88"/>
                  </a:cubicBezTo>
                  <a:cubicBezTo>
                    <a:pt x="660" y="88"/>
                    <a:pt x="660" y="84"/>
                    <a:pt x="660" y="83"/>
                  </a:cubicBezTo>
                  <a:cubicBezTo>
                    <a:pt x="660" y="80"/>
                    <a:pt x="660" y="76"/>
                    <a:pt x="664" y="76"/>
                  </a:cubicBezTo>
                  <a:cubicBezTo>
                    <a:pt x="664" y="76"/>
                    <a:pt x="664" y="76"/>
                    <a:pt x="664" y="76"/>
                  </a:cubicBezTo>
                  <a:cubicBezTo>
                    <a:pt x="664" y="76"/>
                    <a:pt x="664" y="76"/>
                    <a:pt x="664" y="76"/>
                  </a:cubicBezTo>
                  <a:cubicBezTo>
                    <a:pt x="668" y="76"/>
                    <a:pt x="672" y="73"/>
                    <a:pt x="675" y="71"/>
                  </a:cubicBezTo>
                  <a:cubicBezTo>
                    <a:pt x="676" y="73"/>
                    <a:pt x="674" y="74"/>
                    <a:pt x="674" y="77"/>
                  </a:cubicBezTo>
                  <a:cubicBezTo>
                    <a:pt x="675" y="76"/>
                    <a:pt x="676" y="75"/>
                    <a:pt x="678" y="75"/>
                  </a:cubicBezTo>
                  <a:cubicBezTo>
                    <a:pt x="678" y="72"/>
                    <a:pt x="678" y="66"/>
                    <a:pt x="680" y="66"/>
                  </a:cubicBezTo>
                  <a:cubicBezTo>
                    <a:pt x="681" y="66"/>
                    <a:pt x="682" y="66"/>
                    <a:pt x="683" y="68"/>
                  </a:cubicBezTo>
                  <a:cubicBezTo>
                    <a:pt x="682" y="66"/>
                    <a:pt x="681" y="65"/>
                    <a:pt x="680" y="65"/>
                  </a:cubicBezTo>
                  <a:cubicBezTo>
                    <a:pt x="680" y="65"/>
                    <a:pt x="680" y="65"/>
                    <a:pt x="680" y="65"/>
                  </a:cubicBezTo>
                  <a:cubicBezTo>
                    <a:pt x="679" y="64"/>
                    <a:pt x="678" y="62"/>
                    <a:pt x="678" y="61"/>
                  </a:cubicBezTo>
                  <a:cubicBezTo>
                    <a:pt x="680" y="61"/>
                    <a:pt x="681" y="62"/>
                    <a:pt x="682" y="62"/>
                  </a:cubicBezTo>
                  <a:cubicBezTo>
                    <a:pt x="682" y="62"/>
                    <a:pt x="682" y="61"/>
                    <a:pt x="683" y="59"/>
                  </a:cubicBezTo>
                  <a:cubicBezTo>
                    <a:pt x="686" y="52"/>
                    <a:pt x="686" y="52"/>
                    <a:pt x="693" y="48"/>
                  </a:cubicBezTo>
                  <a:cubicBezTo>
                    <a:pt x="691" y="45"/>
                    <a:pt x="689" y="44"/>
                    <a:pt x="687" y="43"/>
                  </a:cubicBezTo>
                  <a:cubicBezTo>
                    <a:pt x="686" y="45"/>
                    <a:pt x="685" y="46"/>
                    <a:pt x="685" y="46"/>
                  </a:cubicBezTo>
                  <a:cubicBezTo>
                    <a:pt x="682" y="46"/>
                    <a:pt x="681" y="38"/>
                    <a:pt x="678" y="37"/>
                  </a:cubicBezTo>
                  <a:cubicBezTo>
                    <a:pt x="680" y="37"/>
                    <a:pt x="682" y="36"/>
                    <a:pt x="681" y="34"/>
                  </a:cubicBezTo>
                  <a:cubicBezTo>
                    <a:pt x="678" y="36"/>
                    <a:pt x="674" y="39"/>
                    <a:pt x="671" y="41"/>
                  </a:cubicBezTo>
                  <a:cubicBezTo>
                    <a:pt x="667" y="45"/>
                    <a:pt x="674" y="42"/>
                    <a:pt x="675" y="45"/>
                  </a:cubicBezTo>
                  <a:cubicBezTo>
                    <a:pt x="675" y="46"/>
                    <a:pt x="673" y="50"/>
                    <a:pt x="672" y="51"/>
                  </a:cubicBezTo>
                  <a:cubicBezTo>
                    <a:pt x="671" y="51"/>
                    <a:pt x="671" y="51"/>
                    <a:pt x="670" y="51"/>
                  </a:cubicBezTo>
                  <a:cubicBezTo>
                    <a:pt x="668" y="51"/>
                    <a:pt x="666" y="48"/>
                    <a:pt x="665" y="46"/>
                  </a:cubicBezTo>
                  <a:cubicBezTo>
                    <a:pt x="665" y="46"/>
                    <a:pt x="667" y="46"/>
                    <a:pt x="666" y="45"/>
                  </a:cubicBezTo>
                  <a:cubicBezTo>
                    <a:pt x="665" y="44"/>
                    <a:pt x="664" y="44"/>
                    <a:pt x="663" y="43"/>
                  </a:cubicBezTo>
                  <a:cubicBezTo>
                    <a:pt x="664" y="42"/>
                    <a:pt x="665" y="41"/>
                    <a:pt x="666" y="40"/>
                  </a:cubicBezTo>
                  <a:cubicBezTo>
                    <a:pt x="662" y="42"/>
                    <a:pt x="659" y="44"/>
                    <a:pt x="656" y="46"/>
                  </a:cubicBezTo>
                  <a:cubicBezTo>
                    <a:pt x="652" y="43"/>
                    <a:pt x="658" y="38"/>
                    <a:pt x="662" y="37"/>
                  </a:cubicBezTo>
                  <a:cubicBezTo>
                    <a:pt x="657" y="36"/>
                    <a:pt x="661" y="35"/>
                    <a:pt x="661" y="33"/>
                  </a:cubicBezTo>
                  <a:cubicBezTo>
                    <a:pt x="662" y="32"/>
                    <a:pt x="663" y="31"/>
                    <a:pt x="662" y="31"/>
                  </a:cubicBezTo>
                  <a:cubicBezTo>
                    <a:pt x="662" y="31"/>
                    <a:pt x="661" y="31"/>
                    <a:pt x="661" y="31"/>
                  </a:cubicBezTo>
                  <a:cubicBezTo>
                    <a:pt x="660" y="32"/>
                    <a:pt x="659" y="34"/>
                    <a:pt x="658" y="35"/>
                  </a:cubicBezTo>
                  <a:cubicBezTo>
                    <a:pt x="657" y="36"/>
                    <a:pt x="656" y="36"/>
                    <a:pt x="655" y="36"/>
                  </a:cubicBezTo>
                  <a:cubicBezTo>
                    <a:pt x="654" y="37"/>
                    <a:pt x="651" y="40"/>
                    <a:pt x="652" y="40"/>
                  </a:cubicBezTo>
                  <a:cubicBezTo>
                    <a:pt x="653" y="40"/>
                    <a:pt x="653" y="39"/>
                    <a:pt x="654" y="39"/>
                  </a:cubicBezTo>
                  <a:cubicBezTo>
                    <a:pt x="651" y="42"/>
                    <a:pt x="646" y="42"/>
                    <a:pt x="643" y="43"/>
                  </a:cubicBezTo>
                  <a:cubicBezTo>
                    <a:pt x="644" y="44"/>
                    <a:pt x="644" y="44"/>
                    <a:pt x="645" y="45"/>
                  </a:cubicBezTo>
                  <a:cubicBezTo>
                    <a:pt x="644" y="45"/>
                    <a:pt x="643" y="45"/>
                    <a:pt x="642" y="45"/>
                  </a:cubicBezTo>
                  <a:cubicBezTo>
                    <a:pt x="639" y="45"/>
                    <a:pt x="637" y="43"/>
                    <a:pt x="633" y="41"/>
                  </a:cubicBezTo>
                  <a:cubicBezTo>
                    <a:pt x="632" y="40"/>
                    <a:pt x="628" y="39"/>
                    <a:pt x="628" y="36"/>
                  </a:cubicBezTo>
                  <a:cubicBezTo>
                    <a:pt x="625" y="38"/>
                    <a:pt x="624" y="39"/>
                    <a:pt x="620" y="39"/>
                  </a:cubicBezTo>
                  <a:cubicBezTo>
                    <a:pt x="620" y="39"/>
                    <a:pt x="620" y="39"/>
                    <a:pt x="620" y="39"/>
                  </a:cubicBezTo>
                  <a:cubicBezTo>
                    <a:pt x="618" y="39"/>
                    <a:pt x="617" y="39"/>
                    <a:pt x="615" y="39"/>
                  </a:cubicBezTo>
                  <a:cubicBezTo>
                    <a:pt x="614" y="39"/>
                    <a:pt x="613" y="39"/>
                    <a:pt x="612" y="40"/>
                  </a:cubicBezTo>
                  <a:cubicBezTo>
                    <a:pt x="610" y="38"/>
                    <a:pt x="612" y="37"/>
                    <a:pt x="611" y="36"/>
                  </a:cubicBezTo>
                  <a:cubicBezTo>
                    <a:pt x="609" y="33"/>
                    <a:pt x="606" y="33"/>
                    <a:pt x="603" y="31"/>
                  </a:cubicBezTo>
                  <a:cubicBezTo>
                    <a:pt x="604" y="30"/>
                    <a:pt x="604" y="30"/>
                    <a:pt x="603" y="30"/>
                  </a:cubicBezTo>
                  <a:cubicBezTo>
                    <a:pt x="601" y="30"/>
                    <a:pt x="598" y="31"/>
                    <a:pt x="597" y="31"/>
                  </a:cubicBezTo>
                  <a:cubicBezTo>
                    <a:pt x="593" y="34"/>
                    <a:pt x="593" y="34"/>
                    <a:pt x="593" y="34"/>
                  </a:cubicBezTo>
                  <a:cubicBezTo>
                    <a:pt x="594" y="29"/>
                    <a:pt x="585" y="28"/>
                    <a:pt x="582" y="26"/>
                  </a:cubicBezTo>
                  <a:cubicBezTo>
                    <a:pt x="579" y="25"/>
                    <a:pt x="580" y="24"/>
                    <a:pt x="578" y="22"/>
                  </a:cubicBezTo>
                  <a:cubicBezTo>
                    <a:pt x="577" y="21"/>
                    <a:pt x="576" y="19"/>
                    <a:pt x="575" y="19"/>
                  </a:cubicBezTo>
                  <a:cubicBezTo>
                    <a:pt x="574" y="19"/>
                    <a:pt x="573" y="19"/>
                    <a:pt x="572" y="20"/>
                  </a:cubicBezTo>
                  <a:cubicBezTo>
                    <a:pt x="572" y="21"/>
                    <a:pt x="571" y="23"/>
                    <a:pt x="570" y="23"/>
                  </a:cubicBezTo>
                  <a:cubicBezTo>
                    <a:pt x="570" y="23"/>
                    <a:pt x="569" y="23"/>
                    <a:pt x="569" y="23"/>
                  </a:cubicBezTo>
                  <a:cubicBezTo>
                    <a:pt x="567" y="23"/>
                    <a:pt x="566" y="20"/>
                    <a:pt x="564" y="18"/>
                  </a:cubicBezTo>
                  <a:cubicBezTo>
                    <a:pt x="563" y="17"/>
                    <a:pt x="559" y="14"/>
                    <a:pt x="558" y="12"/>
                  </a:cubicBezTo>
                  <a:cubicBezTo>
                    <a:pt x="557" y="13"/>
                    <a:pt x="556" y="15"/>
                    <a:pt x="556" y="16"/>
                  </a:cubicBezTo>
                  <a:cubicBezTo>
                    <a:pt x="555" y="15"/>
                    <a:pt x="554" y="14"/>
                    <a:pt x="553" y="12"/>
                  </a:cubicBezTo>
                  <a:cubicBezTo>
                    <a:pt x="553" y="16"/>
                    <a:pt x="555" y="18"/>
                    <a:pt x="554" y="20"/>
                  </a:cubicBezTo>
                  <a:cubicBezTo>
                    <a:pt x="551" y="16"/>
                    <a:pt x="550" y="13"/>
                    <a:pt x="547" y="13"/>
                  </a:cubicBezTo>
                  <a:cubicBezTo>
                    <a:pt x="546" y="13"/>
                    <a:pt x="545" y="13"/>
                    <a:pt x="543" y="14"/>
                  </a:cubicBezTo>
                  <a:cubicBezTo>
                    <a:pt x="544" y="17"/>
                    <a:pt x="546" y="18"/>
                    <a:pt x="547" y="19"/>
                  </a:cubicBezTo>
                  <a:cubicBezTo>
                    <a:pt x="548" y="21"/>
                    <a:pt x="548" y="21"/>
                    <a:pt x="548" y="21"/>
                  </a:cubicBezTo>
                  <a:cubicBezTo>
                    <a:pt x="548" y="21"/>
                    <a:pt x="548" y="21"/>
                    <a:pt x="548" y="21"/>
                  </a:cubicBezTo>
                  <a:cubicBezTo>
                    <a:pt x="548" y="21"/>
                    <a:pt x="548" y="21"/>
                    <a:pt x="548" y="21"/>
                  </a:cubicBezTo>
                  <a:cubicBezTo>
                    <a:pt x="549" y="21"/>
                    <a:pt x="549" y="21"/>
                    <a:pt x="549" y="21"/>
                  </a:cubicBezTo>
                  <a:cubicBezTo>
                    <a:pt x="549" y="21"/>
                    <a:pt x="549" y="21"/>
                    <a:pt x="549" y="21"/>
                  </a:cubicBezTo>
                  <a:cubicBezTo>
                    <a:pt x="551" y="22"/>
                    <a:pt x="549" y="23"/>
                    <a:pt x="552" y="24"/>
                  </a:cubicBezTo>
                  <a:cubicBezTo>
                    <a:pt x="552" y="24"/>
                    <a:pt x="552" y="24"/>
                    <a:pt x="552" y="24"/>
                  </a:cubicBezTo>
                  <a:cubicBezTo>
                    <a:pt x="552" y="24"/>
                    <a:pt x="554" y="22"/>
                    <a:pt x="555" y="22"/>
                  </a:cubicBezTo>
                  <a:cubicBezTo>
                    <a:pt x="556" y="21"/>
                    <a:pt x="557" y="21"/>
                    <a:pt x="558" y="21"/>
                  </a:cubicBezTo>
                  <a:cubicBezTo>
                    <a:pt x="560" y="21"/>
                    <a:pt x="561" y="22"/>
                    <a:pt x="562" y="22"/>
                  </a:cubicBezTo>
                  <a:cubicBezTo>
                    <a:pt x="563" y="23"/>
                    <a:pt x="564" y="25"/>
                    <a:pt x="564" y="26"/>
                  </a:cubicBezTo>
                  <a:cubicBezTo>
                    <a:pt x="565" y="26"/>
                    <a:pt x="567" y="27"/>
                    <a:pt x="568" y="27"/>
                  </a:cubicBezTo>
                  <a:cubicBezTo>
                    <a:pt x="568" y="29"/>
                    <a:pt x="566" y="35"/>
                    <a:pt x="566" y="37"/>
                  </a:cubicBezTo>
                  <a:cubicBezTo>
                    <a:pt x="567" y="40"/>
                    <a:pt x="567" y="41"/>
                    <a:pt x="570" y="41"/>
                  </a:cubicBezTo>
                  <a:cubicBezTo>
                    <a:pt x="567" y="43"/>
                    <a:pt x="563" y="45"/>
                    <a:pt x="561" y="47"/>
                  </a:cubicBezTo>
                  <a:cubicBezTo>
                    <a:pt x="561" y="47"/>
                    <a:pt x="560" y="48"/>
                    <a:pt x="559" y="49"/>
                  </a:cubicBezTo>
                  <a:cubicBezTo>
                    <a:pt x="560" y="47"/>
                    <a:pt x="560" y="44"/>
                    <a:pt x="558" y="43"/>
                  </a:cubicBezTo>
                  <a:cubicBezTo>
                    <a:pt x="557" y="43"/>
                    <a:pt x="557" y="43"/>
                    <a:pt x="556" y="43"/>
                  </a:cubicBezTo>
                  <a:cubicBezTo>
                    <a:pt x="554" y="43"/>
                    <a:pt x="554" y="45"/>
                    <a:pt x="550" y="46"/>
                  </a:cubicBezTo>
                  <a:cubicBezTo>
                    <a:pt x="549" y="47"/>
                    <a:pt x="547" y="47"/>
                    <a:pt x="544" y="47"/>
                  </a:cubicBezTo>
                  <a:cubicBezTo>
                    <a:pt x="539" y="47"/>
                    <a:pt x="530" y="46"/>
                    <a:pt x="530" y="44"/>
                  </a:cubicBezTo>
                  <a:cubicBezTo>
                    <a:pt x="529" y="43"/>
                    <a:pt x="528" y="41"/>
                    <a:pt x="528" y="39"/>
                  </a:cubicBezTo>
                  <a:cubicBezTo>
                    <a:pt x="527" y="41"/>
                    <a:pt x="526" y="43"/>
                    <a:pt x="526" y="44"/>
                  </a:cubicBezTo>
                  <a:cubicBezTo>
                    <a:pt x="526" y="44"/>
                    <a:pt x="522" y="42"/>
                    <a:pt x="521" y="42"/>
                  </a:cubicBezTo>
                  <a:cubicBezTo>
                    <a:pt x="521" y="42"/>
                    <a:pt x="520" y="42"/>
                    <a:pt x="520" y="42"/>
                  </a:cubicBezTo>
                  <a:cubicBezTo>
                    <a:pt x="519" y="43"/>
                    <a:pt x="519" y="47"/>
                    <a:pt x="520" y="48"/>
                  </a:cubicBezTo>
                  <a:cubicBezTo>
                    <a:pt x="519" y="48"/>
                    <a:pt x="518" y="48"/>
                    <a:pt x="517" y="48"/>
                  </a:cubicBezTo>
                  <a:cubicBezTo>
                    <a:pt x="517" y="48"/>
                    <a:pt x="516" y="48"/>
                    <a:pt x="516" y="49"/>
                  </a:cubicBezTo>
                  <a:cubicBezTo>
                    <a:pt x="516" y="52"/>
                    <a:pt x="517" y="51"/>
                    <a:pt x="517" y="52"/>
                  </a:cubicBezTo>
                  <a:cubicBezTo>
                    <a:pt x="518" y="54"/>
                    <a:pt x="517" y="54"/>
                    <a:pt x="518" y="56"/>
                  </a:cubicBezTo>
                  <a:cubicBezTo>
                    <a:pt x="517" y="56"/>
                    <a:pt x="514" y="54"/>
                    <a:pt x="514" y="54"/>
                  </a:cubicBezTo>
                  <a:cubicBezTo>
                    <a:pt x="513" y="53"/>
                    <a:pt x="513" y="52"/>
                    <a:pt x="513" y="52"/>
                  </a:cubicBezTo>
                  <a:cubicBezTo>
                    <a:pt x="512" y="51"/>
                    <a:pt x="512" y="49"/>
                    <a:pt x="509" y="49"/>
                  </a:cubicBezTo>
                  <a:cubicBezTo>
                    <a:pt x="509" y="49"/>
                    <a:pt x="509" y="49"/>
                    <a:pt x="509" y="49"/>
                  </a:cubicBezTo>
                  <a:cubicBezTo>
                    <a:pt x="506" y="49"/>
                    <a:pt x="507" y="53"/>
                    <a:pt x="508" y="55"/>
                  </a:cubicBezTo>
                  <a:cubicBezTo>
                    <a:pt x="508" y="56"/>
                    <a:pt x="507" y="57"/>
                    <a:pt x="508" y="58"/>
                  </a:cubicBezTo>
                  <a:cubicBezTo>
                    <a:pt x="507" y="57"/>
                    <a:pt x="506" y="56"/>
                    <a:pt x="505" y="56"/>
                  </a:cubicBezTo>
                  <a:cubicBezTo>
                    <a:pt x="504" y="56"/>
                    <a:pt x="504" y="56"/>
                    <a:pt x="504" y="56"/>
                  </a:cubicBezTo>
                  <a:cubicBezTo>
                    <a:pt x="501" y="57"/>
                    <a:pt x="494" y="64"/>
                    <a:pt x="494" y="66"/>
                  </a:cubicBezTo>
                  <a:cubicBezTo>
                    <a:pt x="493" y="70"/>
                    <a:pt x="497" y="75"/>
                    <a:pt x="500" y="77"/>
                  </a:cubicBezTo>
                  <a:cubicBezTo>
                    <a:pt x="496" y="78"/>
                    <a:pt x="495" y="80"/>
                    <a:pt x="492" y="81"/>
                  </a:cubicBezTo>
                  <a:cubicBezTo>
                    <a:pt x="491" y="82"/>
                    <a:pt x="490" y="83"/>
                    <a:pt x="489" y="83"/>
                  </a:cubicBezTo>
                  <a:cubicBezTo>
                    <a:pt x="488" y="83"/>
                    <a:pt x="487" y="82"/>
                    <a:pt x="487" y="80"/>
                  </a:cubicBezTo>
                  <a:cubicBezTo>
                    <a:pt x="484" y="83"/>
                    <a:pt x="484" y="87"/>
                    <a:pt x="483" y="91"/>
                  </a:cubicBezTo>
                  <a:cubicBezTo>
                    <a:pt x="483" y="92"/>
                    <a:pt x="481" y="98"/>
                    <a:pt x="479" y="98"/>
                  </a:cubicBezTo>
                  <a:cubicBezTo>
                    <a:pt x="479" y="98"/>
                    <a:pt x="479" y="97"/>
                    <a:pt x="478" y="97"/>
                  </a:cubicBezTo>
                  <a:cubicBezTo>
                    <a:pt x="478" y="98"/>
                    <a:pt x="478" y="99"/>
                    <a:pt x="477" y="99"/>
                  </a:cubicBezTo>
                  <a:cubicBezTo>
                    <a:pt x="476" y="99"/>
                    <a:pt x="476" y="99"/>
                    <a:pt x="475" y="98"/>
                  </a:cubicBezTo>
                  <a:cubicBezTo>
                    <a:pt x="474" y="100"/>
                    <a:pt x="473" y="102"/>
                    <a:pt x="473" y="104"/>
                  </a:cubicBezTo>
                  <a:cubicBezTo>
                    <a:pt x="472" y="108"/>
                    <a:pt x="473" y="109"/>
                    <a:pt x="476" y="113"/>
                  </a:cubicBezTo>
                  <a:cubicBezTo>
                    <a:pt x="477" y="115"/>
                    <a:pt x="478" y="116"/>
                    <a:pt x="480" y="118"/>
                  </a:cubicBezTo>
                  <a:cubicBezTo>
                    <a:pt x="482" y="121"/>
                    <a:pt x="486" y="120"/>
                    <a:pt x="489" y="121"/>
                  </a:cubicBezTo>
                  <a:cubicBezTo>
                    <a:pt x="486" y="122"/>
                    <a:pt x="479" y="122"/>
                    <a:pt x="479" y="126"/>
                  </a:cubicBezTo>
                  <a:cubicBezTo>
                    <a:pt x="479" y="127"/>
                    <a:pt x="480" y="129"/>
                    <a:pt x="480" y="130"/>
                  </a:cubicBezTo>
                  <a:cubicBezTo>
                    <a:pt x="481" y="130"/>
                    <a:pt x="484" y="132"/>
                    <a:pt x="481" y="132"/>
                  </a:cubicBezTo>
                  <a:cubicBezTo>
                    <a:pt x="481" y="132"/>
                    <a:pt x="481" y="132"/>
                    <a:pt x="481" y="132"/>
                  </a:cubicBezTo>
                  <a:cubicBezTo>
                    <a:pt x="479" y="132"/>
                    <a:pt x="477" y="126"/>
                    <a:pt x="475" y="125"/>
                  </a:cubicBezTo>
                  <a:cubicBezTo>
                    <a:pt x="474" y="124"/>
                    <a:pt x="473" y="124"/>
                    <a:pt x="472" y="124"/>
                  </a:cubicBezTo>
                  <a:cubicBezTo>
                    <a:pt x="470" y="124"/>
                    <a:pt x="469" y="125"/>
                    <a:pt x="468" y="126"/>
                  </a:cubicBezTo>
                  <a:cubicBezTo>
                    <a:pt x="468" y="130"/>
                    <a:pt x="468" y="130"/>
                    <a:pt x="468" y="130"/>
                  </a:cubicBezTo>
                  <a:cubicBezTo>
                    <a:pt x="468" y="131"/>
                    <a:pt x="467" y="133"/>
                    <a:pt x="467" y="133"/>
                  </a:cubicBezTo>
                  <a:cubicBezTo>
                    <a:pt x="466" y="133"/>
                    <a:pt x="466" y="133"/>
                    <a:pt x="466" y="133"/>
                  </a:cubicBezTo>
                  <a:cubicBezTo>
                    <a:pt x="465" y="131"/>
                    <a:pt x="467" y="128"/>
                    <a:pt x="466" y="126"/>
                  </a:cubicBezTo>
                  <a:cubicBezTo>
                    <a:pt x="466" y="125"/>
                    <a:pt x="463" y="123"/>
                    <a:pt x="461" y="122"/>
                  </a:cubicBezTo>
                  <a:cubicBezTo>
                    <a:pt x="461" y="123"/>
                    <a:pt x="461" y="124"/>
                    <a:pt x="461" y="125"/>
                  </a:cubicBezTo>
                  <a:cubicBezTo>
                    <a:pt x="461" y="120"/>
                    <a:pt x="456" y="121"/>
                    <a:pt x="452" y="120"/>
                  </a:cubicBezTo>
                  <a:cubicBezTo>
                    <a:pt x="451" y="120"/>
                    <a:pt x="449" y="120"/>
                    <a:pt x="447" y="120"/>
                  </a:cubicBezTo>
                  <a:cubicBezTo>
                    <a:pt x="444" y="120"/>
                    <a:pt x="442" y="120"/>
                    <a:pt x="445" y="122"/>
                  </a:cubicBezTo>
                  <a:cubicBezTo>
                    <a:pt x="443" y="123"/>
                    <a:pt x="446" y="128"/>
                    <a:pt x="444" y="128"/>
                  </a:cubicBezTo>
                  <a:cubicBezTo>
                    <a:pt x="444" y="128"/>
                    <a:pt x="443" y="128"/>
                    <a:pt x="442" y="127"/>
                  </a:cubicBezTo>
                  <a:cubicBezTo>
                    <a:pt x="442" y="128"/>
                    <a:pt x="442" y="128"/>
                    <a:pt x="442" y="128"/>
                  </a:cubicBezTo>
                  <a:cubicBezTo>
                    <a:pt x="441" y="127"/>
                    <a:pt x="440" y="127"/>
                    <a:pt x="439" y="127"/>
                  </a:cubicBezTo>
                  <a:cubicBezTo>
                    <a:pt x="435" y="127"/>
                    <a:pt x="441" y="135"/>
                    <a:pt x="440" y="138"/>
                  </a:cubicBezTo>
                  <a:cubicBezTo>
                    <a:pt x="439" y="138"/>
                    <a:pt x="437" y="137"/>
                    <a:pt x="435" y="136"/>
                  </a:cubicBezTo>
                  <a:cubicBezTo>
                    <a:pt x="435" y="138"/>
                    <a:pt x="435" y="140"/>
                    <a:pt x="433" y="141"/>
                  </a:cubicBezTo>
                  <a:cubicBezTo>
                    <a:pt x="434" y="136"/>
                    <a:pt x="434" y="133"/>
                    <a:pt x="434" y="127"/>
                  </a:cubicBezTo>
                  <a:cubicBezTo>
                    <a:pt x="435" y="126"/>
                    <a:pt x="435" y="123"/>
                    <a:pt x="436" y="122"/>
                  </a:cubicBezTo>
                  <a:cubicBezTo>
                    <a:pt x="437" y="120"/>
                    <a:pt x="437" y="120"/>
                    <a:pt x="437" y="120"/>
                  </a:cubicBezTo>
                  <a:cubicBezTo>
                    <a:pt x="438" y="119"/>
                    <a:pt x="437" y="119"/>
                    <a:pt x="438" y="119"/>
                  </a:cubicBezTo>
                  <a:cubicBezTo>
                    <a:pt x="438" y="119"/>
                    <a:pt x="438" y="119"/>
                    <a:pt x="438" y="119"/>
                  </a:cubicBezTo>
                  <a:cubicBezTo>
                    <a:pt x="438" y="116"/>
                    <a:pt x="435" y="114"/>
                    <a:pt x="433" y="112"/>
                  </a:cubicBezTo>
                  <a:cubicBezTo>
                    <a:pt x="427" y="107"/>
                    <a:pt x="422" y="102"/>
                    <a:pt x="416" y="96"/>
                  </a:cubicBezTo>
                  <a:cubicBezTo>
                    <a:pt x="415" y="95"/>
                    <a:pt x="414" y="95"/>
                    <a:pt x="413" y="95"/>
                  </a:cubicBezTo>
                  <a:cubicBezTo>
                    <a:pt x="412" y="95"/>
                    <a:pt x="412" y="95"/>
                    <a:pt x="411" y="95"/>
                  </a:cubicBezTo>
                  <a:cubicBezTo>
                    <a:pt x="410" y="95"/>
                    <a:pt x="410" y="95"/>
                    <a:pt x="409" y="95"/>
                  </a:cubicBezTo>
                  <a:cubicBezTo>
                    <a:pt x="409" y="95"/>
                    <a:pt x="408" y="95"/>
                    <a:pt x="407" y="95"/>
                  </a:cubicBezTo>
                  <a:cubicBezTo>
                    <a:pt x="407" y="95"/>
                    <a:pt x="407" y="95"/>
                    <a:pt x="407" y="95"/>
                  </a:cubicBezTo>
                  <a:cubicBezTo>
                    <a:pt x="407" y="95"/>
                    <a:pt x="407" y="95"/>
                    <a:pt x="407" y="95"/>
                  </a:cubicBezTo>
                  <a:cubicBezTo>
                    <a:pt x="407" y="95"/>
                    <a:pt x="407" y="96"/>
                    <a:pt x="407" y="96"/>
                  </a:cubicBezTo>
                  <a:cubicBezTo>
                    <a:pt x="407" y="96"/>
                    <a:pt x="407" y="95"/>
                    <a:pt x="406" y="95"/>
                  </a:cubicBezTo>
                  <a:cubicBezTo>
                    <a:pt x="404" y="94"/>
                    <a:pt x="403" y="90"/>
                    <a:pt x="402" y="89"/>
                  </a:cubicBezTo>
                  <a:cubicBezTo>
                    <a:pt x="400" y="92"/>
                    <a:pt x="396" y="102"/>
                    <a:pt x="392" y="103"/>
                  </a:cubicBezTo>
                  <a:cubicBezTo>
                    <a:pt x="391" y="103"/>
                    <a:pt x="391" y="103"/>
                    <a:pt x="391" y="103"/>
                  </a:cubicBezTo>
                  <a:cubicBezTo>
                    <a:pt x="390" y="103"/>
                    <a:pt x="388" y="100"/>
                    <a:pt x="389" y="99"/>
                  </a:cubicBezTo>
                  <a:cubicBezTo>
                    <a:pt x="388" y="99"/>
                    <a:pt x="388" y="99"/>
                    <a:pt x="387" y="99"/>
                  </a:cubicBezTo>
                  <a:cubicBezTo>
                    <a:pt x="386" y="99"/>
                    <a:pt x="390" y="95"/>
                    <a:pt x="390" y="95"/>
                  </a:cubicBezTo>
                  <a:cubicBezTo>
                    <a:pt x="390" y="95"/>
                    <a:pt x="389" y="95"/>
                    <a:pt x="389" y="95"/>
                  </a:cubicBezTo>
                  <a:cubicBezTo>
                    <a:pt x="387" y="95"/>
                    <a:pt x="380" y="101"/>
                    <a:pt x="379" y="102"/>
                  </a:cubicBezTo>
                  <a:cubicBezTo>
                    <a:pt x="380" y="99"/>
                    <a:pt x="378" y="99"/>
                    <a:pt x="379" y="97"/>
                  </a:cubicBezTo>
                  <a:cubicBezTo>
                    <a:pt x="379" y="97"/>
                    <a:pt x="379" y="97"/>
                    <a:pt x="379" y="96"/>
                  </a:cubicBezTo>
                  <a:cubicBezTo>
                    <a:pt x="379" y="96"/>
                    <a:pt x="378" y="97"/>
                    <a:pt x="377" y="97"/>
                  </a:cubicBezTo>
                  <a:cubicBezTo>
                    <a:pt x="378" y="96"/>
                    <a:pt x="378" y="95"/>
                    <a:pt x="378" y="95"/>
                  </a:cubicBezTo>
                  <a:cubicBezTo>
                    <a:pt x="376" y="94"/>
                    <a:pt x="377" y="95"/>
                    <a:pt x="377" y="94"/>
                  </a:cubicBezTo>
                  <a:cubicBezTo>
                    <a:pt x="376" y="94"/>
                    <a:pt x="375" y="94"/>
                    <a:pt x="375" y="94"/>
                  </a:cubicBezTo>
                  <a:cubicBezTo>
                    <a:pt x="375" y="95"/>
                    <a:pt x="376" y="96"/>
                    <a:pt x="376" y="97"/>
                  </a:cubicBezTo>
                  <a:cubicBezTo>
                    <a:pt x="376" y="97"/>
                    <a:pt x="374" y="97"/>
                    <a:pt x="374" y="97"/>
                  </a:cubicBezTo>
                  <a:cubicBezTo>
                    <a:pt x="374" y="101"/>
                    <a:pt x="379" y="97"/>
                    <a:pt x="377" y="103"/>
                  </a:cubicBezTo>
                  <a:cubicBezTo>
                    <a:pt x="377" y="105"/>
                    <a:pt x="375" y="109"/>
                    <a:pt x="374" y="110"/>
                  </a:cubicBezTo>
                  <a:cubicBezTo>
                    <a:pt x="375" y="112"/>
                    <a:pt x="375" y="112"/>
                    <a:pt x="375" y="112"/>
                  </a:cubicBezTo>
                  <a:cubicBezTo>
                    <a:pt x="374" y="113"/>
                    <a:pt x="370" y="113"/>
                    <a:pt x="369" y="114"/>
                  </a:cubicBezTo>
                  <a:cubicBezTo>
                    <a:pt x="369" y="112"/>
                    <a:pt x="369" y="111"/>
                    <a:pt x="369" y="110"/>
                  </a:cubicBezTo>
                  <a:cubicBezTo>
                    <a:pt x="368" y="110"/>
                    <a:pt x="369" y="110"/>
                    <a:pt x="368" y="110"/>
                  </a:cubicBezTo>
                  <a:cubicBezTo>
                    <a:pt x="368" y="110"/>
                    <a:pt x="367" y="110"/>
                    <a:pt x="366" y="111"/>
                  </a:cubicBezTo>
                  <a:cubicBezTo>
                    <a:pt x="366" y="109"/>
                    <a:pt x="366" y="109"/>
                    <a:pt x="366" y="109"/>
                  </a:cubicBezTo>
                  <a:cubicBezTo>
                    <a:pt x="365" y="109"/>
                    <a:pt x="365" y="109"/>
                    <a:pt x="364" y="110"/>
                  </a:cubicBezTo>
                  <a:cubicBezTo>
                    <a:pt x="364" y="108"/>
                    <a:pt x="364" y="106"/>
                    <a:pt x="365" y="105"/>
                  </a:cubicBezTo>
                  <a:cubicBezTo>
                    <a:pt x="364" y="104"/>
                    <a:pt x="363" y="104"/>
                    <a:pt x="363" y="104"/>
                  </a:cubicBezTo>
                  <a:cubicBezTo>
                    <a:pt x="362" y="104"/>
                    <a:pt x="362" y="105"/>
                    <a:pt x="363" y="108"/>
                  </a:cubicBezTo>
                  <a:cubicBezTo>
                    <a:pt x="363" y="114"/>
                    <a:pt x="360" y="110"/>
                    <a:pt x="357" y="114"/>
                  </a:cubicBezTo>
                  <a:cubicBezTo>
                    <a:pt x="356" y="113"/>
                    <a:pt x="356" y="113"/>
                    <a:pt x="356" y="113"/>
                  </a:cubicBezTo>
                  <a:cubicBezTo>
                    <a:pt x="356" y="113"/>
                    <a:pt x="355" y="114"/>
                    <a:pt x="355" y="114"/>
                  </a:cubicBezTo>
                  <a:cubicBezTo>
                    <a:pt x="355" y="113"/>
                    <a:pt x="355" y="112"/>
                    <a:pt x="355" y="111"/>
                  </a:cubicBezTo>
                  <a:cubicBezTo>
                    <a:pt x="354" y="113"/>
                    <a:pt x="351" y="115"/>
                    <a:pt x="350" y="117"/>
                  </a:cubicBezTo>
                  <a:cubicBezTo>
                    <a:pt x="349" y="119"/>
                    <a:pt x="350" y="121"/>
                    <a:pt x="351" y="122"/>
                  </a:cubicBezTo>
                  <a:cubicBezTo>
                    <a:pt x="352" y="122"/>
                    <a:pt x="352" y="122"/>
                    <a:pt x="352" y="122"/>
                  </a:cubicBezTo>
                  <a:cubicBezTo>
                    <a:pt x="353" y="122"/>
                    <a:pt x="354" y="122"/>
                    <a:pt x="354" y="123"/>
                  </a:cubicBezTo>
                  <a:cubicBezTo>
                    <a:pt x="354" y="124"/>
                    <a:pt x="353" y="125"/>
                    <a:pt x="353" y="126"/>
                  </a:cubicBezTo>
                  <a:cubicBezTo>
                    <a:pt x="355" y="126"/>
                    <a:pt x="355" y="126"/>
                    <a:pt x="355" y="126"/>
                  </a:cubicBezTo>
                  <a:cubicBezTo>
                    <a:pt x="356" y="126"/>
                    <a:pt x="356" y="127"/>
                    <a:pt x="357" y="127"/>
                  </a:cubicBezTo>
                  <a:cubicBezTo>
                    <a:pt x="357" y="127"/>
                    <a:pt x="357" y="127"/>
                    <a:pt x="357" y="127"/>
                  </a:cubicBezTo>
                  <a:cubicBezTo>
                    <a:pt x="357" y="128"/>
                    <a:pt x="356" y="129"/>
                    <a:pt x="356" y="130"/>
                  </a:cubicBezTo>
                  <a:cubicBezTo>
                    <a:pt x="356" y="130"/>
                    <a:pt x="357" y="130"/>
                    <a:pt x="357" y="130"/>
                  </a:cubicBezTo>
                  <a:cubicBezTo>
                    <a:pt x="357" y="130"/>
                    <a:pt x="357" y="130"/>
                    <a:pt x="357" y="130"/>
                  </a:cubicBezTo>
                  <a:cubicBezTo>
                    <a:pt x="357" y="130"/>
                    <a:pt x="356" y="130"/>
                    <a:pt x="356" y="130"/>
                  </a:cubicBezTo>
                  <a:cubicBezTo>
                    <a:pt x="353" y="130"/>
                    <a:pt x="351" y="129"/>
                    <a:pt x="349" y="127"/>
                  </a:cubicBezTo>
                  <a:cubicBezTo>
                    <a:pt x="349" y="127"/>
                    <a:pt x="348" y="128"/>
                    <a:pt x="348" y="128"/>
                  </a:cubicBezTo>
                  <a:cubicBezTo>
                    <a:pt x="347" y="128"/>
                    <a:pt x="347" y="127"/>
                    <a:pt x="347" y="127"/>
                  </a:cubicBezTo>
                  <a:cubicBezTo>
                    <a:pt x="347" y="126"/>
                    <a:pt x="346" y="126"/>
                    <a:pt x="346" y="126"/>
                  </a:cubicBezTo>
                  <a:cubicBezTo>
                    <a:pt x="345" y="126"/>
                    <a:pt x="345" y="126"/>
                    <a:pt x="345" y="126"/>
                  </a:cubicBezTo>
                  <a:cubicBezTo>
                    <a:pt x="345" y="130"/>
                    <a:pt x="346" y="131"/>
                    <a:pt x="345" y="135"/>
                  </a:cubicBezTo>
                  <a:cubicBezTo>
                    <a:pt x="346" y="135"/>
                    <a:pt x="346" y="135"/>
                    <a:pt x="347" y="135"/>
                  </a:cubicBezTo>
                  <a:cubicBezTo>
                    <a:pt x="349" y="135"/>
                    <a:pt x="347" y="139"/>
                    <a:pt x="349" y="141"/>
                  </a:cubicBezTo>
                  <a:cubicBezTo>
                    <a:pt x="348" y="140"/>
                    <a:pt x="346" y="141"/>
                    <a:pt x="345" y="140"/>
                  </a:cubicBezTo>
                  <a:cubicBezTo>
                    <a:pt x="343" y="139"/>
                    <a:pt x="346" y="140"/>
                    <a:pt x="344" y="139"/>
                  </a:cubicBezTo>
                  <a:cubicBezTo>
                    <a:pt x="343" y="138"/>
                    <a:pt x="342" y="137"/>
                    <a:pt x="341" y="137"/>
                  </a:cubicBezTo>
                  <a:cubicBezTo>
                    <a:pt x="340" y="137"/>
                    <a:pt x="340" y="137"/>
                    <a:pt x="340" y="137"/>
                  </a:cubicBezTo>
                  <a:cubicBezTo>
                    <a:pt x="340" y="135"/>
                    <a:pt x="339" y="136"/>
                    <a:pt x="338" y="135"/>
                  </a:cubicBezTo>
                  <a:cubicBezTo>
                    <a:pt x="337" y="135"/>
                    <a:pt x="336" y="134"/>
                    <a:pt x="336" y="134"/>
                  </a:cubicBezTo>
                  <a:cubicBezTo>
                    <a:pt x="335" y="134"/>
                    <a:pt x="335" y="135"/>
                    <a:pt x="334" y="136"/>
                  </a:cubicBezTo>
                  <a:cubicBezTo>
                    <a:pt x="333" y="138"/>
                    <a:pt x="335" y="138"/>
                    <a:pt x="333" y="139"/>
                  </a:cubicBezTo>
                  <a:cubicBezTo>
                    <a:pt x="332" y="139"/>
                    <a:pt x="331" y="140"/>
                    <a:pt x="331" y="140"/>
                  </a:cubicBezTo>
                  <a:cubicBezTo>
                    <a:pt x="330" y="141"/>
                    <a:pt x="327" y="142"/>
                    <a:pt x="327" y="142"/>
                  </a:cubicBezTo>
                  <a:cubicBezTo>
                    <a:pt x="326" y="147"/>
                    <a:pt x="327" y="152"/>
                    <a:pt x="330" y="156"/>
                  </a:cubicBezTo>
                  <a:cubicBezTo>
                    <a:pt x="331" y="154"/>
                    <a:pt x="333" y="151"/>
                    <a:pt x="335" y="150"/>
                  </a:cubicBezTo>
                  <a:cubicBezTo>
                    <a:pt x="334" y="153"/>
                    <a:pt x="333" y="156"/>
                    <a:pt x="333" y="159"/>
                  </a:cubicBezTo>
                  <a:cubicBezTo>
                    <a:pt x="332" y="159"/>
                    <a:pt x="330" y="158"/>
                    <a:pt x="329" y="158"/>
                  </a:cubicBezTo>
                  <a:cubicBezTo>
                    <a:pt x="329" y="158"/>
                    <a:pt x="328" y="158"/>
                    <a:pt x="328" y="159"/>
                  </a:cubicBezTo>
                  <a:cubicBezTo>
                    <a:pt x="328" y="160"/>
                    <a:pt x="327" y="163"/>
                    <a:pt x="327" y="165"/>
                  </a:cubicBezTo>
                  <a:cubicBezTo>
                    <a:pt x="327" y="166"/>
                    <a:pt x="328" y="166"/>
                    <a:pt x="328" y="166"/>
                  </a:cubicBezTo>
                  <a:cubicBezTo>
                    <a:pt x="329" y="166"/>
                    <a:pt x="329" y="166"/>
                    <a:pt x="329" y="166"/>
                  </a:cubicBezTo>
                  <a:cubicBezTo>
                    <a:pt x="330" y="166"/>
                    <a:pt x="330" y="166"/>
                    <a:pt x="331" y="166"/>
                  </a:cubicBezTo>
                  <a:cubicBezTo>
                    <a:pt x="331" y="166"/>
                    <a:pt x="331" y="166"/>
                    <a:pt x="331" y="166"/>
                  </a:cubicBezTo>
                  <a:cubicBezTo>
                    <a:pt x="334" y="166"/>
                    <a:pt x="338" y="168"/>
                    <a:pt x="341" y="168"/>
                  </a:cubicBezTo>
                  <a:cubicBezTo>
                    <a:pt x="340" y="168"/>
                    <a:pt x="339" y="168"/>
                    <a:pt x="338" y="168"/>
                  </a:cubicBezTo>
                  <a:cubicBezTo>
                    <a:pt x="336" y="168"/>
                    <a:pt x="333" y="168"/>
                    <a:pt x="331" y="168"/>
                  </a:cubicBezTo>
                  <a:cubicBezTo>
                    <a:pt x="330" y="168"/>
                    <a:pt x="329" y="168"/>
                    <a:pt x="328" y="167"/>
                  </a:cubicBezTo>
                  <a:cubicBezTo>
                    <a:pt x="328" y="167"/>
                    <a:pt x="328" y="167"/>
                    <a:pt x="327" y="167"/>
                  </a:cubicBezTo>
                  <a:cubicBezTo>
                    <a:pt x="326" y="167"/>
                    <a:pt x="324" y="168"/>
                    <a:pt x="323" y="168"/>
                  </a:cubicBezTo>
                  <a:cubicBezTo>
                    <a:pt x="323" y="168"/>
                    <a:pt x="323" y="168"/>
                    <a:pt x="323" y="168"/>
                  </a:cubicBezTo>
                  <a:cubicBezTo>
                    <a:pt x="321" y="168"/>
                    <a:pt x="321" y="165"/>
                    <a:pt x="319" y="164"/>
                  </a:cubicBezTo>
                  <a:cubicBezTo>
                    <a:pt x="318" y="163"/>
                    <a:pt x="315" y="163"/>
                    <a:pt x="313" y="163"/>
                  </a:cubicBezTo>
                  <a:cubicBezTo>
                    <a:pt x="315" y="164"/>
                    <a:pt x="315" y="166"/>
                    <a:pt x="316" y="167"/>
                  </a:cubicBezTo>
                  <a:cubicBezTo>
                    <a:pt x="315" y="167"/>
                    <a:pt x="314" y="167"/>
                    <a:pt x="313" y="167"/>
                  </a:cubicBezTo>
                  <a:cubicBezTo>
                    <a:pt x="313" y="167"/>
                    <a:pt x="312" y="167"/>
                    <a:pt x="311" y="167"/>
                  </a:cubicBezTo>
                  <a:cubicBezTo>
                    <a:pt x="313" y="165"/>
                    <a:pt x="310" y="166"/>
                    <a:pt x="310" y="165"/>
                  </a:cubicBezTo>
                  <a:cubicBezTo>
                    <a:pt x="310" y="165"/>
                    <a:pt x="309" y="165"/>
                    <a:pt x="309" y="164"/>
                  </a:cubicBezTo>
                  <a:cubicBezTo>
                    <a:pt x="308" y="163"/>
                    <a:pt x="309" y="163"/>
                    <a:pt x="309" y="163"/>
                  </a:cubicBezTo>
                  <a:cubicBezTo>
                    <a:pt x="309" y="161"/>
                    <a:pt x="308" y="161"/>
                    <a:pt x="307" y="161"/>
                  </a:cubicBezTo>
                  <a:cubicBezTo>
                    <a:pt x="306" y="161"/>
                    <a:pt x="305" y="161"/>
                    <a:pt x="305" y="161"/>
                  </a:cubicBezTo>
                  <a:cubicBezTo>
                    <a:pt x="305" y="163"/>
                    <a:pt x="308" y="166"/>
                    <a:pt x="307" y="167"/>
                  </a:cubicBezTo>
                  <a:cubicBezTo>
                    <a:pt x="307" y="168"/>
                    <a:pt x="306" y="168"/>
                    <a:pt x="305" y="168"/>
                  </a:cubicBezTo>
                  <a:cubicBezTo>
                    <a:pt x="305" y="168"/>
                    <a:pt x="304" y="168"/>
                    <a:pt x="304" y="168"/>
                  </a:cubicBezTo>
                  <a:cubicBezTo>
                    <a:pt x="303" y="168"/>
                    <a:pt x="303" y="168"/>
                    <a:pt x="302" y="168"/>
                  </a:cubicBezTo>
                  <a:cubicBezTo>
                    <a:pt x="302" y="168"/>
                    <a:pt x="302" y="168"/>
                    <a:pt x="302" y="168"/>
                  </a:cubicBezTo>
                  <a:cubicBezTo>
                    <a:pt x="303" y="169"/>
                    <a:pt x="304" y="170"/>
                    <a:pt x="306" y="170"/>
                  </a:cubicBezTo>
                  <a:cubicBezTo>
                    <a:pt x="305" y="171"/>
                    <a:pt x="304" y="171"/>
                    <a:pt x="304" y="171"/>
                  </a:cubicBezTo>
                  <a:cubicBezTo>
                    <a:pt x="303" y="171"/>
                    <a:pt x="303" y="171"/>
                    <a:pt x="302" y="170"/>
                  </a:cubicBezTo>
                  <a:cubicBezTo>
                    <a:pt x="302" y="170"/>
                    <a:pt x="301" y="170"/>
                    <a:pt x="301" y="170"/>
                  </a:cubicBezTo>
                  <a:cubicBezTo>
                    <a:pt x="300" y="170"/>
                    <a:pt x="300" y="170"/>
                    <a:pt x="299" y="171"/>
                  </a:cubicBezTo>
                  <a:cubicBezTo>
                    <a:pt x="300" y="172"/>
                    <a:pt x="301" y="172"/>
                    <a:pt x="302" y="172"/>
                  </a:cubicBezTo>
                  <a:cubicBezTo>
                    <a:pt x="303" y="172"/>
                    <a:pt x="303" y="172"/>
                    <a:pt x="303" y="172"/>
                  </a:cubicBezTo>
                  <a:cubicBezTo>
                    <a:pt x="303" y="172"/>
                    <a:pt x="303" y="172"/>
                    <a:pt x="303" y="172"/>
                  </a:cubicBezTo>
                  <a:cubicBezTo>
                    <a:pt x="303" y="172"/>
                    <a:pt x="303" y="172"/>
                    <a:pt x="303" y="172"/>
                  </a:cubicBezTo>
                  <a:cubicBezTo>
                    <a:pt x="305" y="174"/>
                    <a:pt x="303" y="173"/>
                    <a:pt x="304" y="176"/>
                  </a:cubicBezTo>
                  <a:cubicBezTo>
                    <a:pt x="305" y="177"/>
                    <a:pt x="307" y="178"/>
                    <a:pt x="307" y="179"/>
                  </a:cubicBezTo>
                  <a:cubicBezTo>
                    <a:pt x="308" y="180"/>
                    <a:pt x="308" y="182"/>
                    <a:pt x="310" y="183"/>
                  </a:cubicBezTo>
                  <a:cubicBezTo>
                    <a:pt x="310" y="183"/>
                    <a:pt x="310" y="183"/>
                    <a:pt x="310" y="183"/>
                  </a:cubicBezTo>
                  <a:cubicBezTo>
                    <a:pt x="311" y="183"/>
                    <a:pt x="314" y="181"/>
                    <a:pt x="314" y="180"/>
                  </a:cubicBezTo>
                  <a:cubicBezTo>
                    <a:pt x="314" y="185"/>
                    <a:pt x="307" y="189"/>
                    <a:pt x="313" y="192"/>
                  </a:cubicBezTo>
                  <a:cubicBezTo>
                    <a:pt x="311" y="191"/>
                    <a:pt x="307" y="188"/>
                    <a:pt x="306" y="186"/>
                  </a:cubicBezTo>
                  <a:cubicBezTo>
                    <a:pt x="303" y="189"/>
                    <a:pt x="306" y="189"/>
                    <a:pt x="305" y="191"/>
                  </a:cubicBezTo>
                  <a:cubicBezTo>
                    <a:pt x="305" y="193"/>
                    <a:pt x="304" y="195"/>
                    <a:pt x="304" y="196"/>
                  </a:cubicBezTo>
                  <a:cubicBezTo>
                    <a:pt x="303" y="199"/>
                    <a:pt x="304" y="201"/>
                    <a:pt x="304" y="204"/>
                  </a:cubicBezTo>
                  <a:cubicBezTo>
                    <a:pt x="300" y="198"/>
                    <a:pt x="298" y="191"/>
                    <a:pt x="294" y="186"/>
                  </a:cubicBezTo>
                  <a:cubicBezTo>
                    <a:pt x="293" y="185"/>
                    <a:pt x="292" y="184"/>
                    <a:pt x="292" y="184"/>
                  </a:cubicBezTo>
                  <a:cubicBezTo>
                    <a:pt x="291" y="182"/>
                    <a:pt x="289" y="178"/>
                    <a:pt x="290" y="177"/>
                  </a:cubicBezTo>
                  <a:cubicBezTo>
                    <a:pt x="290" y="177"/>
                    <a:pt x="290" y="177"/>
                    <a:pt x="289" y="177"/>
                  </a:cubicBezTo>
                  <a:cubicBezTo>
                    <a:pt x="288" y="177"/>
                    <a:pt x="288" y="176"/>
                    <a:pt x="288" y="175"/>
                  </a:cubicBezTo>
                  <a:cubicBezTo>
                    <a:pt x="286" y="173"/>
                    <a:pt x="286" y="175"/>
                    <a:pt x="286" y="172"/>
                  </a:cubicBezTo>
                  <a:cubicBezTo>
                    <a:pt x="287" y="171"/>
                    <a:pt x="288" y="168"/>
                    <a:pt x="287" y="167"/>
                  </a:cubicBezTo>
                  <a:cubicBezTo>
                    <a:pt x="287" y="167"/>
                    <a:pt x="287" y="167"/>
                    <a:pt x="286" y="167"/>
                  </a:cubicBezTo>
                  <a:cubicBezTo>
                    <a:pt x="284" y="167"/>
                    <a:pt x="281" y="178"/>
                    <a:pt x="281" y="179"/>
                  </a:cubicBezTo>
                  <a:cubicBezTo>
                    <a:pt x="277" y="180"/>
                    <a:pt x="271" y="178"/>
                    <a:pt x="275" y="185"/>
                  </a:cubicBezTo>
                  <a:cubicBezTo>
                    <a:pt x="274" y="184"/>
                    <a:pt x="273" y="184"/>
                    <a:pt x="272" y="184"/>
                  </a:cubicBezTo>
                  <a:cubicBezTo>
                    <a:pt x="266" y="184"/>
                    <a:pt x="261" y="199"/>
                    <a:pt x="262" y="203"/>
                  </a:cubicBezTo>
                  <a:cubicBezTo>
                    <a:pt x="262" y="205"/>
                    <a:pt x="263" y="207"/>
                    <a:pt x="263" y="209"/>
                  </a:cubicBezTo>
                  <a:cubicBezTo>
                    <a:pt x="264" y="211"/>
                    <a:pt x="263" y="213"/>
                    <a:pt x="263" y="216"/>
                  </a:cubicBezTo>
                  <a:cubicBezTo>
                    <a:pt x="264" y="215"/>
                    <a:pt x="265" y="215"/>
                    <a:pt x="266" y="215"/>
                  </a:cubicBezTo>
                  <a:cubicBezTo>
                    <a:pt x="267" y="215"/>
                    <a:pt x="269" y="216"/>
                    <a:pt x="268" y="218"/>
                  </a:cubicBezTo>
                  <a:cubicBezTo>
                    <a:pt x="267" y="222"/>
                    <a:pt x="257" y="226"/>
                    <a:pt x="254" y="229"/>
                  </a:cubicBezTo>
                  <a:cubicBezTo>
                    <a:pt x="252" y="231"/>
                    <a:pt x="252" y="231"/>
                    <a:pt x="251" y="234"/>
                  </a:cubicBezTo>
                  <a:cubicBezTo>
                    <a:pt x="251" y="237"/>
                    <a:pt x="248" y="238"/>
                    <a:pt x="247" y="240"/>
                  </a:cubicBezTo>
                  <a:cubicBezTo>
                    <a:pt x="244" y="245"/>
                    <a:pt x="243" y="250"/>
                    <a:pt x="239" y="254"/>
                  </a:cubicBezTo>
                  <a:cubicBezTo>
                    <a:pt x="229" y="268"/>
                    <a:pt x="208" y="271"/>
                    <a:pt x="192" y="276"/>
                  </a:cubicBezTo>
                  <a:cubicBezTo>
                    <a:pt x="191" y="276"/>
                    <a:pt x="189" y="278"/>
                    <a:pt x="188" y="278"/>
                  </a:cubicBezTo>
                  <a:cubicBezTo>
                    <a:pt x="188" y="278"/>
                    <a:pt x="188" y="278"/>
                    <a:pt x="187" y="278"/>
                  </a:cubicBezTo>
                  <a:cubicBezTo>
                    <a:pt x="185" y="278"/>
                    <a:pt x="182" y="276"/>
                    <a:pt x="180" y="276"/>
                  </a:cubicBezTo>
                  <a:cubicBezTo>
                    <a:pt x="179" y="276"/>
                    <a:pt x="179" y="276"/>
                    <a:pt x="178" y="276"/>
                  </a:cubicBezTo>
                  <a:cubicBezTo>
                    <a:pt x="175" y="276"/>
                    <a:pt x="173" y="279"/>
                    <a:pt x="170" y="281"/>
                  </a:cubicBezTo>
                  <a:cubicBezTo>
                    <a:pt x="165" y="284"/>
                    <a:pt x="162" y="285"/>
                    <a:pt x="156" y="286"/>
                  </a:cubicBezTo>
                  <a:cubicBezTo>
                    <a:pt x="154" y="286"/>
                    <a:pt x="151" y="287"/>
                    <a:pt x="148" y="287"/>
                  </a:cubicBezTo>
                  <a:cubicBezTo>
                    <a:pt x="148" y="287"/>
                    <a:pt x="147" y="287"/>
                    <a:pt x="147" y="287"/>
                  </a:cubicBezTo>
                  <a:cubicBezTo>
                    <a:pt x="143" y="289"/>
                    <a:pt x="140" y="292"/>
                    <a:pt x="136" y="295"/>
                  </a:cubicBezTo>
                  <a:cubicBezTo>
                    <a:pt x="133" y="297"/>
                    <a:pt x="126" y="297"/>
                    <a:pt x="122" y="297"/>
                  </a:cubicBezTo>
                  <a:cubicBezTo>
                    <a:pt x="122" y="297"/>
                    <a:pt x="121" y="297"/>
                    <a:pt x="121" y="297"/>
                  </a:cubicBezTo>
                  <a:cubicBezTo>
                    <a:pt x="120" y="297"/>
                    <a:pt x="119" y="297"/>
                    <a:pt x="118" y="296"/>
                  </a:cubicBezTo>
                  <a:cubicBezTo>
                    <a:pt x="117" y="296"/>
                    <a:pt x="117" y="295"/>
                    <a:pt x="117" y="295"/>
                  </a:cubicBezTo>
                  <a:cubicBezTo>
                    <a:pt x="117" y="295"/>
                    <a:pt x="117" y="295"/>
                    <a:pt x="117" y="295"/>
                  </a:cubicBezTo>
                  <a:cubicBezTo>
                    <a:pt x="117" y="294"/>
                    <a:pt x="117" y="294"/>
                    <a:pt x="117" y="294"/>
                  </a:cubicBezTo>
                  <a:cubicBezTo>
                    <a:pt x="116" y="294"/>
                    <a:pt x="114" y="295"/>
                    <a:pt x="112" y="295"/>
                  </a:cubicBezTo>
                  <a:cubicBezTo>
                    <a:pt x="111" y="296"/>
                    <a:pt x="109" y="296"/>
                    <a:pt x="108" y="296"/>
                  </a:cubicBezTo>
                  <a:cubicBezTo>
                    <a:pt x="106" y="296"/>
                    <a:pt x="106" y="295"/>
                    <a:pt x="108" y="292"/>
                  </a:cubicBezTo>
                  <a:cubicBezTo>
                    <a:pt x="108" y="292"/>
                    <a:pt x="108" y="292"/>
                    <a:pt x="108" y="292"/>
                  </a:cubicBezTo>
                  <a:cubicBezTo>
                    <a:pt x="105" y="292"/>
                    <a:pt x="101" y="296"/>
                    <a:pt x="99" y="298"/>
                  </a:cubicBezTo>
                  <a:cubicBezTo>
                    <a:pt x="91" y="304"/>
                    <a:pt x="82" y="310"/>
                    <a:pt x="74" y="316"/>
                  </a:cubicBezTo>
                  <a:cubicBezTo>
                    <a:pt x="67" y="321"/>
                    <a:pt x="59" y="324"/>
                    <a:pt x="52" y="328"/>
                  </a:cubicBezTo>
                  <a:cubicBezTo>
                    <a:pt x="50" y="329"/>
                    <a:pt x="46" y="330"/>
                    <a:pt x="45" y="332"/>
                  </a:cubicBezTo>
                  <a:cubicBezTo>
                    <a:pt x="40" y="335"/>
                    <a:pt x="39" y="344"/>
                    <a:pt x="37" y="349"/>
                  </a:cubicBezTo>
                  <a:cubicBezTo>
                    <a:pt x="36" y="349"/>
                    <a:pt x="37" y="350"/>
                    <a:pt x="36" y="351"/>
                  </a:cubicBezTo>
                  <a:cubicBezTo>
                    <a:pt x="35" y="352"/>
                    <a:pt x="31" y="352"/>
                    <a:pt x="30" y="353"/>
                  </a:cubicBezTo>
                  <a:cubicBezTo>
                    <a:pt x="28" y="346"/>
                    <a:pt x="28" y="339"/>
                    <a:pt x="26" y="332"/>
                  </a:cubicBezTo>
                  <a:cubicBezTo>
                    <a:pt x="23" y="336"/>
                    <a:pt x="22" y="341"/>
                    <a:pt x="20" y="347"/>
                  </a:cubicBezTo>
                  <a:cubicBezTo>
                    <a:pt x="19" y="349"/>
                    <a:pt x="16" y="352"/>
                    <a:pt x="16" y="354"/>
                  </a:cubicBezTo>
                  <a:cubicBezTo>
                    <a:pt x="15" y="357"/>
                    <a:pt x="19" y="362"/>
                    <a:pt x="20" y="366"/>
                  </a:cubicBezTo>
                  <a:cubicBezTo>
                    <a:pt x="20" y="370"/>
                    <a:pt x="20" y="380"/>
                    <a:pt x="18" y="383"/>
                  </a:cubicBezTo>
                  <a:cubicBezTo>
                    <a:pt x="17" y="386"/>
                    <a:pt x="14" y="386"/>
                    <a:pt x="13" y="389"/>
                  </a:cubicBezTo>
                  <a:cubicBezTo>
                    <a:pt x="11" y="392"/>
                    <a:pt x="11" y="395"/>
                    <a:pt x="9" y="398"/>
                  </a:cubicBezTo>
                  <a:cubicBezTo>
                    <a:pt x="9" y="400"/>
                    <a:pt x="8" y="402"/>
                    <a:pt x="8" y="405"/>
                  </a:cubicBezTo>
                  <a:cubicBezTo>
                    <a:pt x="8" y="411"/>
                    <a:pt x="13" y="418"/>
                    <a:pt x="16" y="424"/>
                  </a:cubicBezTo>
                  <a:cubicBezTo>
                    <a:pt x="20" y="432"/>
                    <a:pt x="24" y="441"/>
                    <a:pt x="27" y="449"/>
                  </a:cubicBezTo>
                  <a:cubicBezTo>
                    <a:pt x="28" y="451"/>
                    <a:pt x="31" y="452"/>
                    <a:pt x="32" y="454"/>
                  </a:cubicBezTo>
                  <a:cubicBezTo>
                    <a:pt x="33" y="456"/>
                    <a:pt x="32" y="457"/>
                    <a:pt x="32" y="460"/>
                  </a:cubicBezTo>
                  <a:cubicBezTo>
                    <a:pt x="31" y="465"/>
                    <a:pt x="29" y="468"/>
                    <a:pt x="26" y="472"/>
                  </a:cubicBezTo>
                  <a:cubicBezTo>
                    <a:pt x="22" y="468"/>
                    <a:pt x="23" y="462"/>
                    <a:pt x="21" y="458"/>
                  </a:cubicBezTo>
                  <a:cubicBezTo>
                    <a:pt x="21" y="460"/>
                    <a:pt x="20" y="466"/>
                    <a:pt x="18" y="466"/>
                  </a:cubicBezTo>
                  <a:cubicBezTo>
                    <a:pt x="18" y="466"/>
                    <a:pt x="17" y="465"/>
                    <a:pt x="17" y="465"/>
                  </a:cubicBezTo>
                  <a:cubicBezTo>
                    <a:pt x="14" y="462"/>
                    <a:pt x="18" y="457"/>
                    <a:pt x="17" y="454"/>
                  </a:cubicBezTo>
                  <a:cubicBezTo>
                    <a:pt x="15" y="450"/>
                    <a:pt x="11" y="449"/>
                    <a:pt x="11" y="444"/>
                  </a:cubicBezTo>
                  <a:cubicBezTo>
                    <a:pt x="9" y="448"/>
                    <a:pt x="7" y="448"/>
                    <a:pt x="9" y="452"/>
                  </a:cubicBezTo>
                  <a:cubicBezTo>
                    <a:pt x="12" y="457"/>
                    <a:pt x="14" y="463"/>
                    <a:pt x="18" y="466"/>
                  </a:cubicBezTo>
                  <a:cubicBezTo>
                    <a:pt x="18" y="467"/>
                    <a:pt x="19" y="467"/>
                    <a:pt x="20" y="468"/>
                  </a:cubicBezTo>
                  <a:cubicBezTo>
                    <a:pt x="21" y="469"/>
                    <a:pt x="21" y="470"/>
                    <a:pt x="21" y="471"/>
                  </a:cubicBezTo>
                  <a:cubicBezTo>
                    <a:pt x="21" y="473"/>
                    <a:pt x="20" y="477"/>
                    <a:pt x="19" y="478"/>
                  </a:cubicBezTo>
                  <a:cubicBezTo>
                    <a:pt x="19" y="478"/>
                    <a:pt x="19" y="478"/>
                    <a:pt x="19" y="478"/>
                  </a:cubicBezTo>
                  <a:cubicBezTo>
                    <a:pt x="19" y="478"/>
                    <a:pt x="19" y="478"/>
                    <a:pt x="19" y="478"/>
                  </a:cubicBezTo>
                  <a:cubicBezTo>
                    <a:pt x="19" y="478"/>
                    <a:pt x="18" y="478"/>
                    <a:pt x="18" y="478"/>
                  </a:cubicBezTo>
                  <a:cubicBezTo>
                    <a:pt x="18" y="478"/>
                    <a:pt x="18" y="478"/>
                    <a:pt x="18" y="478"/>
                  </a:cubicBezTo>
                  <a:cubicBezTo>
                    <a:pt x="17" y="479"/>
                    <a:pt x="16" y="479"/>
                    <a:pt x="16" y="479"/>
                  </a:cubicBezTo>
                  <a:cubicBezTo>
                    <a:pt x="14" y="479"/>
                    <a:pt x="14" y="478"/>
                    <a:pt x="14" y="475"/>
                  </a:cubicBezTo>
                  <a:cubicBezTo>
                    <a:pt x="13" y="476"/>
                    <a:pt x="13" y="477"/>
                    <a:pt x="13" y="479"/>
                  </a:cubicBezTo>
                  <a:cubicBezTo>
                    <a:pt x="11" y="475"/>
                    <a:pt x="12" y="472"/>
                    <a:pt x="11" y="468"/>
                  </a:cubicBezTo>
                  <a:cubicBezTo>
                    <a:pt x="11" y="469"/>
                    <a:pt x="10" y="471"/>
                    <a:pt x="10" y="472"/>
                  </a:cubicBezTo>
                  <a:cubicBezTo>
                    <a:pt x="10" y="469"/>
                    <a:pt x="9" y="466"/>
                    <a:pt x="8" y="464"/>
                  </a:cubicBezTo>
                  <a:cubicBezTo>
                    <a:pt x="8" y="465"/>
                    <a:pt x="8" y="465"/>
                    <a:pt x="8" y="465"/>
                  </a:cubicBezTo>
                  <a:cubicBezTo>
                    <a:pt x="7" y="463"/>
                    <a:pt x="7" y="462"/>
                    <a:pt x="7" y="460"/>
                  </a:cubicBezTo>
                  <a:cubicBezTo>
                    <a:pt x="6" y="464"/>
                    <a:pt x="6" y="468"/>
                    <a:pt x="7" y="472"/>
                  </a:cubicBezTo>
                  <a:cubicBezTo>
                    <a:pt x="4" y="469"/>
                    <a:pt x="5" y="464"/>
                    <a:pt x="5" y="460"/>
                  </a:cubicBezTo>
                  <a:cubicBezTo>
                    <a:pt x="4" y="462"/>
                    <a:pt x="4" y="464"/>
                    <a:pt x="4" y="466"/>
                  </a:cubicBezTo>
                  <a:cubicBezTo>
                    <a:pt x="3" y="465"/>
                    <a:pt x="2" y="464"/>
                    <a:pt x="0" y="464"/>
                  </a:cubicBezTo>
                  <a:cubicBezTo>
                    <a:pt x="6" y="472"/>
                    <a:pt x="11" y="480"/>
                    <a:pt x="16" y="487"/>
                  </a:cubicBezTo>
                  <a:cubicBezTo>
                    <a:pt x="19" y="491"/>
                    <a:pt x="21" y="495"/>
                    <a:pt x="24" y="498"/>
                  </a:cubicBezTo>
                  <a:cubicBezTo>
                    <a:pt x="26" y="501"/>
                    <a:pt x="26" y="506"/>
                    <a:pt x="27" y="509"/>
                  </a:cubicBezTo>
                  <a:cubicBezTo>
                    <a:pt x="28" y="514"/>
                    <a:pt x="28" y="519"/>
                    <a:pt x="30" y="523"/>
                  </a:cubicBezTo>
                  <a:cubicBezTo>
                    <a:pt x="34" y="536"/>
                    <a:pt x="48" y="546"/>
                    <a:pt x="50" y="560"/>
                  </a:cubicBezTo>
                  <a:cubicBezTo>
                    <a:pt x="52" y="569"/>
                    <a:pt x="52" y="578"/>
                    <a:pt x="53" y="587"/>
                  </a:cubicBezTo>
                  <a:cubicBezTo>
                    <a:pt x="55" y="596"/>
                    <a:pt x="59" y="604"/>
                    <a:pt x="61" y="613"/>
                  </a:cubicBezTo>
                  <a:cubicBezTo>
                    <a:pt x="65" y="622"/>
                    <a:pt x="70" y="631"/>
                    <a:pt x="74" y="641"/>
                  </a:cubicBezTo>
                  <a:cubicBezTo>
                    <a:pt x="75" y="640"/>
                    <a:pt x="77" y="639"/>
                    <a:pt x="79" y="639"/>
                  </a:cubicBezTo>
                  <a:cubicBezTo>
                    <a:pt x="83" y="639"/>
                    <a:pt x="87" y="643"/>
                    <a:pt x="87" y="647"/>
                  </a:cubicBezTo>
                  <a:cubicBezTo>
                    <a:pt x="87" y="651"/>
                    <a:pt x="83" y="655"/>
                    <a:pt x="79" y="655"/>
                  </a:cubicBezTo>
                  <a:cubicBezTo>
                    <a:pt x="78" y="655"/>
                    <a:pt x="77" y="655"/>
                    <a:pt x="77" y="655"/>
                  </a:cubicBezTo>
                  <a:cubicBezTo>
                    <a:pt x="77" y="661"/>
                    <a:pt x="77" y="669"/>
                    <a:pt x="75" y="674"/>
                  </a:cubicBezTo>
                  <a:cubicBezTo>
                    <a:pt x="74" y="672"/>
                    <a:pt x="73" y="671"/>
                    <a:pt x="73" y="668"/>
                  </a:cubicBezTo>
                  <a:cubicBezTo>
                    <a:pt x="71" y="671"/>
                    <a:pt x="72" y="674"/>
                    <a:pt x="73" y="676"/>
                  </a:cubicBezTo>
                  <a:cubicBezTo>
                    <a:pt x="74" y="682"/>
                    <a:pt x="76" y="691"/>
                    <a:pt x="71" y="695"/>
                  </a:cubicBezTo>
                  <a:cubicBezTo>
                    <a:pt x="69" y="697"/>
                    <a:pt x="61" y="701"/>
                    <a:pt x="58" y="701"/>
                  </a:cubicBezTo>
                  <a:cubicBezTo>
                    <a:pt x="58" y="701"/>
                    <a:pt x="57" y="701"/>
                    <a:pt x="57" y="701"/>
                  </a:cubicBezTo>
                  <a:cubicBezTo>
                    <a:pt x="57" y="701"/>
                    <a:pt x="56" y="699"/>
                    <a:pt x="55" y="698"/>
                  </a:cubicBezTo>
                  <a:cubicBezTo>
                    <a:pt x="53" y="704"/>
                    <a:pt x="53" y="712"/>
                    <a:pt x="54" y="717"/>
                  </a:cubicBezTo>
                  <a:cubicBezTo>
                    <a:pt x="54" y="718"/>
                    <a:pt x="54" y="721"/>
                    <a:pt x="55" y="721"/>
                  </a:cubicBezTo>
                  <a:cubicBezTo>
                    <a:pt x="56" y="724"/>
                    <a:pt x="61" y="726"/>
                    <a:pt x="65" y="728"/>
                  </a:cubicBezTo>
                  <a:cubicBezTo>
                    <a:pt x="72" y="731"/>
                    <a:pt x="78" y="734"/>
                    <a:pt x="83" y="740"/>
                  </a:cubicBezTo>
                  <a:cubicBezTo>
                    <a:pt x="87" y="744"/>
                    <a:pt x="95" y="746"/>
                    <a:pt x="101" y="748"/>
                  </a:cubicBezTo>
                  <a:cubicBezTo>
                    <a:pt x="102" y="748"/>
                    <a:pt x="103" y="748"/>
                    <a:pt x="105" y="748"/>
                  </a:cubicBezTo>
                  <a:cubicBezTo>
                    <a:pt x="106" y="748"/>
                    <a:pt x="108" y="748"/>
                    <a:pt x="110" y="748"/>
                  </a:cubicBezTo>
                  <a:cubicBezTo>
                    <a:pt x="112" y="748"/>
                    <a:pt x="114" y="747"/>
                    <a:pt x="116" y="747"/>
                  </a:cubicBezTo>
                  <a:cubicBezTo>
                    <a:pt x="117" y="747"/>
                    <a:pt x="117" y="747"/>
                    <a:pt x="118" y="747"/>
                  </a:cubicBezTo>
                  <a:cubicBezTo>
                    <a:pt x="126" y="748"/>
                    <a:pt x="134" y="749"/>
                    <a:pt x="142" y="750"/>
                  </a:cubicBezTo>
                  <a:cubicBezTo>
                    <a:pt x="140" y="749"/>
                    <a:pt x="138" y="749"/>
                    <a:pt x="137" y="748"/>
                  </a:cubicBezTo>
                  <a:cubicBezTo>
                    <a:pt x="141" y="747"/>
                    <a:pt x="146" y="748"/>
                    <a:pt x="150" y="746"/>
                  </a:cubicBezTo>
                  <a:cubicBezTo>
                    <a:pt x="157" y="740"/>
                    <a:pt x="164" y="735"/>
                    <a:pt x="171" y="729"/>
                  </a:cubicBezTo>
                  <a:cubicBezTo>
                    <a:pt x="171" y="729"/>
                    <a:pt x="171" y="729"/>
                    <a:pt x="171" y="729"/>
                  </a:cubicBezTo>
                  <a:cubicBezTo>
                    <a:pt x="172" y="729"/>
                    <a:pt x="174" y="729"/>
                    <a:pt x="175" y="730"/>
                  </a:cubicBezTo>
                  <a:cubicBezTo>
                    <a:pt x="176" y="731"/>
                    <a:pt x="177" y="731"/>
                    <a:pt x="178" y="731"/>
                  </a:cubicBezTo>
                  <a:cubicBezTo>
                    <a:pt x="178" y="731"/>
                    <a:pt x="178" y="731"/>
                    <a:pt x="178" y="731"/>
                  </a:cubicBezTo>
                  <a:cubicBezTo>
                    <a:pt x="179" y="731"/>
                    <a:pt x="181" y="730"/>
                    <a:pt x="182" y="730"/>
                  </a:cubicBezTo>
                  <a:cubicBezTo>
                    <a:pt x="187" y="727"/>
                    <a:pt x="184" y="727"/>
                    <a:pt x="184" y="724"/>
                  </a:cubicBezTo>
                  <a:cubicBezTo>
                    <a:pt x="186" y="718"/>
                    <a:pt x="192" y="716"/>
                    <a:pt x="197" y="715"/>
                  </a:cubicBezTo>
                  <a:cubicBezTo>
                    <a:pt x="206" y="713"/>
                    <a:pt x="215" y="710"/>
                    <a:pt x="225" y="709"/>
                  </a:cubicBezTo>
                  <a:cubicBezTo>
                    <a:pt x="229" y="709"/>
                    <a:pt x="234" y="709"/>
                    <a:pt x="238" y="709"/>
                  </a:cubicBezTo>
                  <a:cubicBezTo>
                    <a:pt x="242" y="709"/>
                    <a:pt x="245" y="709"/>
                    <a:pt x="249" y="710"/>
                  </a:cubicBezTo>
                  <a:cubicBezTo>
                    <a:pt x="250" y="710"/>
                    <a:pt x="250" y="710"/>
                    <a:pt x="251" y="710"/>
                  </a:cubicBezTo>
                  <a:cubicBezTo>
                    <a:pt x="252" y="710"/>
                    <a:pt x="253" y="710"/>
                    <a:pt x="254" y="710"/>
                  </a:cubicBezTo>
                  <a:cubicBezTo>
                    <a:pt x="255" y="710"/>
                    <a:pt x="255" y="710"/>
                    <a:pt x="256" y="710"/>
                  </a:cubicBezTo>
                  <a:cubicBezTo>
                    <a:pt x="258" y="710"/>
                    <a:pt x="259" y="710"/>
                    <a:pt x="260" y="712"/>
                  </a:cubicBezTo>
                  <a:cubicBezTo>
                    <a:pt x="261" y="715"/>
                    <a:pt x="259" y="714"/>
                    <a:pt x="262" y="715"/>
                  </a:cubicBezTo>
                  <a:cubicBezTo>
                    <a:pt x="262" y="715"/>
                    <a:pt x="263" y="715"/>
                    <a:pt x="264" y="715"/>
                  </a:cubicBezTo>
                  <a:cubicBezTo>
                    <a:pt x="268" y="715"/>
                    <a:pt x="275" y="712"/>
                    <a:pt x="279" y="711"/>
                  </a:cubicBezTo>
                  <a:cubicBezTo>
                    <a:pt x="281" y="711"/>
                    <a:pt x="285" y="710"/>
                    <a:pt x="287" y="710"/>
                  </a:cubicBezTo>
                  <a:cubicBezTo>
                    <a:pt x="288" y="710"/>
                    <a:pt x="289" y="710"/>
                    <a:pt x="289" y="710"/>
                  </a:cubicBezTo>
                  <a:cubicBezTo>
                    <a:pt x="290" y="711"/>
                    <a:pt x="290" y="713"/>
                    <a:pt x="291" y="714"/>
                  </a:cubicBezTo>
                  <a:cubicBezTo>
                    <a:pt x="291" y="714"/>
                    <a:pt x="292" y="714"/>
                    <a:pt x="292" y="714"/>
                  </a:cubicBezTo>
                  <a:cubicBezTo>
                    <a:pt x="294" y="714"/>
                    <a:pt x="298" y="712"/>
                    <a:pt x="300" y="711"/>
                  </a:cubicBezTo>
                  <a:cubicBezTo>
                    <a:pt x="300" y="711"/>
                    <a:pt x="300" y="711"/>
                    <a:pt x="301" y="711"/>
                  </a:cubicBezTo>
                  <a:cubicBezTo>
                    <a:pt x="301" y="711"/>
                    <a:pt x="301" y="711"/>
                    <a:pt x="301" y="711"/>
                  </a:cubicBezTo>
                  <a:cubicBezTo>
                    <a:pt x="301" y="711"/>
                    <a:pt x="301" y="711"/>
                    <a:pt x="301" y="711"/>
                  </a:cubicBezTo>
                  <a:cubicBezTo>
                    <a:pt x="302" y="711"/>
                    <a:pt x="302" y="711"/>
                    <a:pt x="303" y="711"/>
                  </a:cubicBezTo>
                  <a:cubicBezTo>
                    <a:pt x="306" y="710"/>
                    <a:pt x="310" y="704"/>
                    <a:pt x="312" y="702"/>
                  </a:cubicBezTo>
                  <a:cubicBezTo>
                    <a:pt x="315" y="699"/>
                    <a:pt x="316" y="696"/>
                    <a:pt x="318" y="693"/>
                  </a:cubicBezTo>
                  <a:cubicBezTo>
                    <a:pt x="319" y="691"/>
                    <a:pt x="321" y="683"/>
                    <a:pt x="323" y="682"/>
                  </a:cubicBezTo>
                  <a:cubicBezTo>
                    <a:pt x="332" y="678"/>
                    <a:pt x="341" y="674"/>
                    <a:pt x="350" y="670"/>
                  </a:cubicBezTo>
                  <a:cubicBezTo>
                    <a:pt x="355" y="668"/>
                    <a:pt x="359" y="667"/>
                    <a:pt x="363" y="664"/>
                  </a:cubicBezTo>
                  <a:cubicBezTo>
                    <a:pt x="365" y="662"/>
                    <a:pt x="368" y="660"/>
                    <a:pt x="371" y="659"/>
                  </a:cubicBezTo>
                  <a:cubicBezTo>
                    <a:pt x="373" y="658"/>
                    <a:pt x="375" y="658"/>
                    <a:pt x="378" y="658"/>
                  </a:cubicBezTo>
                  <a:cubicBezTo>
                    <a:pt x="382" y="658"/>
                    <a:pt x="386" y="659"/>
                    <a:pt x="390" y="659"/>
                  </a:cubicBezTo>
                  <a:cubicBezTo>
                    <a:pt x="392" y="659"/>
                    <a:pt x="395" y="659"/>
                    <a:pt x="398" y="659"/>
                  </a:cubicBezTo>
                  <a:cubicBezTo>
                    <a:pt x="403" y="659"/>
                    <a:pt x="408" y="659"/>
                    <a:pt x="412" y="658"/>
                  </a:cubicBezTo>
                  <a:cubicBezTo>
                    <a:pt x="429" y="653"/>
                    <a:pt x="445" y="645"/>
                    <a:pt x="461" y="639"/>
                  </a:cubicBezTo>
                  <a:cubicBezTo>
                    <a:pt x="461" y="639"/>
                    <a:pt x="461" y="639"/>
                    <a:pt x="461" y="639"/>
                  </a:cubicBezTo>
                  <a:cubicBezTo>
                    <a:pt x="461" y="639"/>
                    <a:pt x="461" y="639"/>
                    <a:pt x="461" y="639"/>
                  </a:cubicBezTo>
                  <a:cubicBezTo>
                    <a:pt x="471" y="638"/>
                    <a:pt x="480" y="637"/>
                    <a:pt x="490" y="636"/>
                  </a:cubicBezTo>
                  <a:cubicBezTo>
                    <a:pt x="491" y="636"/>
                    <a:pt x="492" y="636"/>
                    <a:pt x="493" y="636"/>
                  </a:cubicBezTo>
                  <a:cubicBezTo>
                    <a:pt x="496" y="636"/>
                    <a:pt x="498" y="636"/>
                    <a:pt x="501" y="636"/>
                  </a:cubicBezTo>
                  <a:cubicBezTo>
                    <a:pt x="503" y="637"/>
                    <a:pt x="506" y="637"/>
                    <a:pt x="508" y="637"/>
                  </a:cubicBezTo>
                  <a:cubicBezTo>
                    <a:pt x="511" y="637"/>
                    <a:pt x="514" y="636"/>
                    <a:pt x="517" y="635"/>
                  </a:cubicBezTo>
                  <a:cubicBezTo>
                    <a:pt x="520" y="634"/>
                    <a:pt x="521" y="633"/>
                    <a:pt x="523" y="633"/>
                  </a:cubicBezTo>
                  <a:cubicBezTo>
                    <a:pt x="524" y="633"/>
                    <a:pt x="526" y="634"/>
                    <a:pt x="528" y="635"/>
                  </a:cubicBezTo>
                  <a:cubicBezTo>
                    <a:pt x="535" y="638"/>
                    <a:pt x="545" y="641"/>
                    <a:pt x="551" y="647"/>
                  </a:cubicBezTo>
                  <a:cubicBezTo>
                    <a:pt x="552" y="648"/>
                    <a:pt x="552" y="649"/>
                    <a:pt x="553" y="650"/>
                  </a:cubicBezTo>
                  <a:cubicBezTo>
                    <a:pt x="554" y="650"/>
                    <a:pt x="554" y="650"/>
                    <a:pt x="555" y="650"/>
                  </a:cubicBezTo>
                  <a:cubicBezTo>
                    <a:pt x="557" y="650"/>
                    <a:pt x="561" y="648"/>
                    <a:pt x="563" y="647"/>
                  </a:cubicBezTo>
                  <a:cubicBezTo>
                    <a:pt x="564" y="647"/>
                    <a:pt x="565" y="647"/>
                    <a:pt x="565" y="647"/>
                  </a:cubicBezTo>
                  <a:cubicBezTo>
                    <a:pt x="568" y="647"/>
                    <a:pt x="571" y="648"/>
                    <a:pt x="573" y="649"/>
                  </a:cubicBezTo>
                  <a:cubicBezTo>
                    <a:pt x="578" y="651"/>
                    <a:pt x="582" y="653"/>
                    <a:pt x="587" y="655"/>
                  </a:cubicBezTo>
                  <a:cubicBezTo>
                    <a:pt x="587" y="655"/>
                    <a:pt x="587" y="655"/>
                    <a:pt x="587" y="655"/>
                  </a:cubicBezTo>
                  <a:cubicBezTo>
                    <a:pt x="588" y="655"/>
                    <a:pt x="589" y="655"/>
                    <a:pt x="589" y="654"/>
                  </a:cubicBezTo>
                  <a:cubicBezTo>
                    <a:pt x="590" y="654"/>
                    <a:pt x="591" y="653"/>
                    <a:pt x="592" y="653"/>
                  </a:cubicBezTo>
                  <a:cubicBezTo>
                    <a:pt x="592" y="653"/>
                    <a:pt x="592" y="653"/>
                    <a:pt x="592" y="653"/>
                  </a:cubicBezTo>
                  <a:cubicBezTo>
                    <a:pt x="593" y="653"/>
                    <a:pt x="593" y="653"/>
                    <a:pt x="593" y="653"/>
                  </a:cubicBezTo>
                  <a:cubicBezTo>
                    <a:pt x="593" y="653"/>
                    <a:pt x="594" y="653"/>
                    <a:pt x="594" y="653"/>
                  </a:cubicBezTo>
                  <a:cubicBezTo>
                    <a:pt x="594" y="653"/>
                    <a:pt x="595" y="652"/>
                    <a:pt x="595" y="652"/>
                  </a:cubicBezTo>
                  <a:cubicBezTo>
                    <a:pt x="595" y="652"/>
                    <a:pt x="596" y="652"/>
                    <a:pt x="596" y="653"/>
                  </a:cubicBezTo>
                  <a:cubicBezTo>
                    <a:pt x="599" y="654"/>
                    <a:pt x="602" y="660"/>
                    <a:pt x="603" y="663"/>
                  </a:cubicBezTo>
                  <a:cubicBezTo>
                    <a:pt x="603" y="663"/>
                    <a:pt x="603" y="663"/>
                    <a:pt x="603" y="663"/>
                  </a:cubicBezTo>
                  <a:cubicBezTo>
                    <a:pt x="602" y="663"/>
                    <a:pt x="602" y="665"/>
                    <a:pt x="602" y="666"/>
                  </a:cubicBezTo>
                  <a:cubicBezTo>
                    <a:pt x="602" y="666"/>
                    <a:pt x="602" y="666"/>
                    <a:pt x="603" y="666"/>
                  </a:cubicBezTo>
                  <a:cubicBezTo>
                    <a:pt x="606" y="666"/>
                    <a:pt x="609" y="666"/>
                    <a:pt x="612" y="665"/>
                  </a:cubicBezTo>
                  <a:cubicBezTo>
                    <a:pt x="612" y="668"/>
                    <a:pt x="614" y="672"/>
                    <a:pt x="612" y="675"/>
                  </a:cubicBezTo>
                  <a:cubicBezTo>
                    <a:pt x="612" y="675"/>
                    <a:pt x="609" y="672"/>
                    <a:pt x="608" y="672"/>
                  </a:cubicBezTo>
                  <a:cubicBezTo>
                    <a:pt x="608" y="672"/>
                    <a:pt x="608" y="673"/>
                    <a:pt x="608" y="673"/>
                  </a:cubicBezTo>
                  <a:cubicBezTo>
                    <a:pt x="610" y="677"/>
                    <a:pt x="608" y="676"/>
                    <a:pt x="608" y="678"/>
                  </a:cubicBezTo>
                  <a:cubicBezTo>
                    <a:pt x="608" y="680"/>
                    <a:pt x="613" y="686"/>
                    <a:pt x="614" y="687"/>
                  </a:cubicBezTo>
                  <a:cubicBezTo>
                    <a:pt x="616" y="688"/>
                    <a:pt x="619" y="689"/>
                    <a:pt x="622" y="689"/>
                  </a:cubicBezTo>
                  <a:cubicBezTo>
                    <a:pt x="623" y="689"/>
                    <a:pt x="623" y="689"/>
                    <a:pt x="624" y="689"/>
                  </a:cubicBezTo>
                  <a:cubicBezTo>
                    <a:pt x="624" y="688"/>
                    <a:pt x="624" y="687"/>
                    <a:pt x="624" y="687"/>
                  </a:cubicBezTo>
                  <a:cubicBezTo>
                    <a:pt x="626" y="692"/>
                    <a:pt x="628" y="698"/>
                    <a:pt x="631" y="702"/>
                  </a:cubicBezTo>
                  <a:cubicBezTo>
                    <a:pt x="634" y="707"/>
                    <a:pt x="641" y="708"/>
                    <a:pt x="642" y="715"/>
                  </a:cubicBezTo>
                  <a:cubicBezTo>
                    <a:pt x="643" y="716"/>
                    <a:pt x="643" y="717"/>
                    <a:pt x="643" y="718"/>
                  </a:cubicBezTo>
                  <a:cubicBezTo>
                    <a:pt x="643" y="718"/>
                    <a:pt x="642" y="718"/>
                    <a:pt x="642" y="719"/>
                  </a:cubicBezTo>
                  <a:cubicBezTo>
                    <a:pt x="643" y="720"/>
                    <a:pt x="644" y="720"/>
                    <a:pt x="645" y="721"/>
                  </a:cubicBezTo>
                  <a:cubicBezTo>
                    <a:pt x="647" y="725"/>
                    <a:pt x="645" y="732"/>
                    <a:pt x="648" y="735"/>
                  </a:cubicBezTo>
                  <a:cubicBezTo>
                    <a:pt x="648" y="735"/>
                    <a:pt x="648" y="735"/>
                    <a:pt x="647" y="735"/>
                  </a:cubicBezTo>
                  <a:cubicBezTo>
                    <a:pt x="645" y="735"/>
                    <a:pt x="643" y="733"/>
                    <a:pt x="645" y="731"/>
                  </a:cubicBezTo>
                  <a:cubicBezTo>
                    <a:pt x="643" y="731"/>
                    <a:pt x="641" y="731"/>
                    <a:pt x="641" y="728"/>
                  </a:cubicBezTo>
                  <a:cubicBezTo>
                    <a:pt x="641" y="729"/>
                    <a:pt x="638" y="732"/>
                    <a:pt x="639" y="733"/>
                  </a:cubicBezTo>
                  <a:cubicBezTo>
                    <a:pt x="639" y="735"/>
                    <a:pt x="643" y="735"/>
                    <a:pt x="645" y="736"/>
                  </a:cubicBezTo>
                  <a:cubicBezTo>
                    <a:pt x="644" y="737"/>
                    <a:pt x="646" y="736"/>
                    <a:pt x="647" y="737"/>
                  </a:cubicBezTo>
                  <a:cubicBezTo>
                    <a:pt x="648" y="738"/>
                    <a:pt x="649" y="739"/>
                    <a:pt x="650" y="740"/>
                  </a:cubicBezTo>
                  <a:cubicBezTo>
                    <a:pt x="651" y="741"/>
                    <a:pt x="653" y="743"/>
                    <a:pt x="653" y="745"/>
                  </a:cubicBezTo>
                  <a:cubicBezTo>
                    <a:pt x="655" y="745"/>
                    <a:pt x="657" y="743"/>
                    <a:pt x="659" y="743"/>
                  </a:cubicBezTo>
                  <a:cubicBezTo>
                    <a:pt x="659" y="743"/>
                    <a:pt x="660" y="744"/>
                    <a:pt x="660" y="744"/>
                  </a:cubicBezTo>
                  <a:cubicBezTo>
                    <a:pt x="660" y="744"/>
                    <a:pt x="661" y="745"/>
                    <a:pt x="662" y="746"/>
                  </a:cubicBezTo>
                  <a:cubicBezTo>
                    <a:pt x="663" y="746"/>
                    <a:pt x="662" y="747"/>
                    <a:pt x="663" y="747"/>
                  </a:cubicBezTo>
                  <a:cubicBezTo>
                    <a:pt x="663" y="747"/>
                    <a:pt x="663" y="747"/>
                    <a:pt x="663" y="747"/>
                  </a:cubicBezTo>
                  <a:cubicBezTo>
                    <a:pt x="665" y="746"/>
                    <a:pt x="663" y="741"/>
                    <a:pt x="662" y="739"/>
                  </a:cubicBezTo>
                  <a:cubicBezTo>
                    <a:pt x="662" y="740"/>
                    <a:pt x="661" y="741"/>
                    <a:pt x="659" y="741"/>
                  </a:cubicBezTo>
                  <a:cubicBezTo>
                    <a:pt x="659" y="741"/>
                    <a:pt x="659" y="741"/>
                    <a:pt x="659" y="741"/>
                  </a:cubicBezTo>
                  <a:cubicBezTo>
                    <a:pt x="664" y="731"/>
                    <a:pt x="672" y="722"/>
                    <a:pt x="680" y="713"/>
                  </a:cubicBezTo>
                  <a:cubicBezTo>
                    <a:pt x="684" y="708"/>
                    <a:pt x="692" y="707"/>
                    <a:pt x="697" y="705"/>
                  </a:cubicBezTo>
                  <a:cubicBezTo>
                    <a:pt x="699" y="703"/>
                    <a:pt x="700" y="701"/>
                    <a:pt x="701" y="698"/>
                  </a:cubicBezTo>
                  <a:cubicBezTo>
                    <a:pt x="704" y="692"/>
                    <a:pt x="707" y="687"/>
                    <a:pt x="711" y="682"/>
                  </a:cubicBezTo>
                  <a:cubicBezTo>
                    <a:pt x="712" y="680"/>
                    <a:pt x="713" y="681"/>
                    <a:pt x="714" y="678"/>
                  </a:cubicBezTo>
                  <a:cubicBezTo>
                    <a:pt x="715" y="676"/>
                    <a:pt x="716" y="675"/>
                    <a:pt x="716" y="673"/>
                  </a:cubicBezTo>
                  <a:cubicBezTo>
                    <a:pt x="717" y="672"/>
                    <a:pt x="715" y="671"/>
                    <a:pt x="715" y="670"/>
                  </a:cubicBezTo>
                  <a:cubicBezTo>
                    <a:pt x="715" y="669"/>
                    <a:pt x="715" y="668"/>
                    <a:pt x="715" y="667"/>
                  </a:cubicBezTo>
                  <a:cubicBezTo>
                    <a:pt x="717" y="669"/>
                    <a:pt x="718" y="673"/>
                    <a:pt x="720" y="676"/>
                  </a:cubicBezTo>
                  <a:cubicBezTo>
                    <a:pt x="721" y="678"/>
                    <a:pt x="722" y="681"/>
                    <a:pt x="723" y="683"/>
                  </a:cubicBezTo>
                  <a:cubicBezTo>
                    <a:pt x="724" y="685"/>
                    <a:pt x="720" y="686"/>
                    <a:pt x="719" y="687"/>
                  </a:cubicBezTo>
                  <a:cubicBezTo>
                    <a:pt x="719" y="688"/>
                    <a:pt x="718" y="688"/>
                    <a:pt x="717" y="689"/>
                  </a:cubicBezTo>
                  <a:cubicBezTo>
                    <a:pt x="717" y="691"/>
                    <a:pt x="720" y="694"/>
                    <a:pt x="719" y="696"/>
                  </a:cubicBezTo>
                  <a:cubicBezTo>
                    <a:pt x="718" y="700"/>
                    <a:pt x="717" y="703"/>
                    <a:pt x="714" y="706"/>
                  </a:cubicBezTo>
                  <a:cubicBezTo>
                    <a:pt x="712" y="709"/>
                    <a:pt x="710" y="713"/>
                    <a:pt x="709" y="717"/>
                  </a:cubicBezTo>
                  <a:cubicBezTo>
                    <a:pt x="706" y="725"/>
                    <a:pt x="710" y="734"/>
                    <a:pt x="706" y="742"/>
                  </a:cubicBezTo>
                  <a:cubicBezTo>
                    <a:pt x="706" y="744"/>
                    <a:pt x="704" y="744"/>
                    <a:pt x="702" y="744"/>
                  </a:cubicBezTo>
                  <a:cubicBezTo>
                    <a:pt x="701" y="744"/>
                    <a:pt x="700" y="744"/>
                    <a:pt x="700" y="744"/>
                  </a:cubicBezTo>
                  <a:cubicBezTo>
                    <a:pt x="699" y="744"/>
                    <a:pt x="699" y="744"/>
                    <a:pt x="698" y="744"/>
                  </a:cubicBezTo>
                  <a:cubicBezTo>
                    <a:pt x="697" y="744"/>
                    <a:pt x="697" y="744"/>
                    <a:pt x="696" y="744"/>
                  </a:cubicBezTo>
                  <a:cubicBezTo>
                    <a:pt x="696" y="744"/>
                    <a:pt x="696" y="744"/>
                    <a:pt x="696" y="744"/>
                  </a:cubicBezTo>
                  <a:cubicBezTo>
                    <a:pt x="695" y="744"/>
                    <a:pt x="695" y="744"/>
                    <a:pt x="695" y="744"/>
                  </a:cubicBezTo>
                  <a:cubicBezTo>
                    <a:pt x="694" y="744"/>
                    <a:pt x="694" y="744"/>
                    <a:pt x="694" y="744"/>
                  </a:cubicBezTo>
                  <a:cubicBezTo>
                    <a:pt x="694" y="744"/>
                    <a:pt x="694" y="744"/>
                    <a:pt x="693" y="745"/>
                  </a:cubicBezTo>
                  <a:cubicBezTo>
                    <a:pt x="692" y="746"/>
                    <a:pt x="691" y="749"/>
                    <a:pt x="691" y="750"/>
                  </a:cubicBezTo>
                  <a:cubicBezTo>
                    <a:pt x="692" y="752"/>
                    <a:pt x="689" y="753"/>
                    <a:pt x="688" y="755"/>
                  </a:cubicBezTo>
                  <a:cubicBezTo>
                    <a:pt x="695" y="754"/>
                    <a:pt x="701" y="752"/>
                    <a:pt x="707" y="751"/>
                  </a:cubicBezTo>
                  <a:cubicBezTo>
                    <a:pt x="708" y="751"/>
                    <a:pt x="708" y="751"/>
                    <a:pt x="708" y="751"/>
                  </a:cubicBezTo>
                  <a:cubicBezTo>
                    <a:pt x="709" y="751"/>
                    <a:pt x="710" y="751"/>
                    <a:pt x="710" y="752"/>
                  </a:cubicBezTo>
                  <a:cubicBezTo>
                    <a:pt x="711" y="752"/>
                    <a:pt x="712" y="753"/>
                    <a:pt x="712" y="753"/>
                  </a:cubicBezTo>
                  <a:cubicBezTo>
                    <a:pt x="713" y="753"/>
                    <a:pt x="713" y="752"/>
                    <a:pt x="714" y="752"/>
                  </a:cubicBezTo>
                  <a:cubicBezTo>
                    <a:pt x="717" y="750"/>
                    <a:pt x="718" y="741"/>
                    <a:pt x="718" y="737"/>
                  </a:cubicBezTo>
                  <a:cubicBezTo>
                    <a:pt x="719" y="731"/>
                    <a:pt x="721" y="726"/>
                    <a:pt x="724" y="721"/>
                  </a:cubicBezTo>
                  <a:cubicBezTo>
                    <a:pt x="725" y="720"/>
                    <a:pt x="725" y="720"/>
                    <a:pt x="725" y="719"/>
                  </a:cubicBezTo>
                  <a:cubicBezTo>
                    <a:pt x="728" y="723"/>
                    <a:pt x="730" y="727"/>
                    <a:pt x="732" y="731"/>
                  </a:cubicBezTo>
                  <a:cubicBezTo>
                    <a:pt x="733" y="733"/>
                    <a:pt x="734" y="735"/>
                    <a:pt x="735" y="736"/>
                  </a:cubicBezTo>
                  <a:cubicBezTo>
                    <a:pt x="736" y="737"/>
                    <a:pt x="738" y="738"/>
                    <a:pt x="738" y="739"/>
                  </a:cubicBezTo>
                  <a:cubicBezTo>
                    <a:pt x="739" y="742"/>
                    <a:pt x="737" y="747"/>
                    <a:pt x="737" y="750"/>
                  </a:cubicBezTo>
                  <a:cubicBezTo>
                    <a:pt x="736" y="755"/>
                    <a:pt x="736" y="757"/>
                    <a:pt x="732" y="760"/>
                  </a:cubicBezTo>
                  <a:cubicBezTo>
                    <a:pt x="730" y="762"/>
                    <a:pt x="726" y="764"/>
                    <a:pt x="725" y="767"/>
                  </a:cubicBezTo>
                  <a:cubicBezTo>
                    <a:pt x="728" y="768"/>
                    <a:pt x="730" y="768"/>
                    <a:pt x="733" y="768"/>
                  </a:cubicBezTo>
                  <a:cubicBezTo>
                    <a:pt x="733" y="768"/>
                    <a:pt x="734" y="768"/>
                    <a:pt x="734" y="768"/>
                  </a:cubicBezTo>
                  <a:cubicBezTo>
                    <a:pt x="736" y="768"/>
                    <a:pt x="739" y="766"/>
                    <a:pt x="741" y="765"/>
                  </a:cubicBezTo>
                  <a:cubicBezTo>
                    <a:pt x="744" y="765"/>
                    <a:pt x="748" y="764"/>
                    <a:pt x="751" y="762"/>
                  </a:cubicBezTo>
                  <a:cubicBezTo>
                    <a:pt x="754" y="760"/>
                    <a:pt x="756" y="759"/>
                    <a:pt x="760" y="758"/>
                  </a:cubicBezTo>
                  <a:cubicBezTo>
                    <a:pt x="759" y="762"/>
                    <a:pt x="757" y="763"/>
                    <a:pt x="758" y="766"/>
                  </a:cubicBezTo>
                  <a:cubicBezTo>
                    <a:pt x="758" y="767"/>
                    <a:pt x="759" y="770"/>
                    <a:pt x="759" y="770"/>
                  </a:cubicBezTo>
                  <a:cubicBezTo>
                    <a:pt x="759" y="770"/>
                    <a:pt x="758" y="770"/>
                    <a:pt x="758" y="770"/>
                  </a:cubicBezTo>
                  <a:cubicBezTo>
                    <a:pt x="758" y="769"/>
                    <a:pt x="758" y="767"/>
                    <a:pt x="758" y="766"/>
                  </a:cubicBezTo>
                  <a:cubicBezTo>
                    <a:pt x="758" y="764"/>
                    <a:pt x="757" y="763"/>
                    <a:pt x="756" y="763"/>
                  </a:cubicBezTo>
                  <a:cubicBezTo>
                    <a:pt x="755" y="763"/>
                    <a:pt x="753" y="766"/>
                    <a:pt x="752" y="766"/>
                  </a:cubicBezTo>
                  <a:cubicBezTo>
                    <a:pt x="754" y="767"/>
                    <a:pt x="755" y="769"/>
                    <a:pt x="757" y="770"/>
                  </a:cubicBezTo>
                  <a:cubicBezTo>
                    <a:pt x="754" y="768"/>
                    <a:pt x="751" y="766"/>
                    <a:pt x="749" y="766"/>
                  </a:cubicBezTo>
                  <a:cubicBezTo>
                    <a:pt x="749" y="766"/>
                    <a:pt x="749" y="766"/>
                    <a:pt x="749" y="766"/>
                  </a:cubicBezTo>
                  <a:cubicBezTo>
                    <a:pt x="753" y="770"/>
                    <a:pt x="757" y="775"/>
                    <a:pt x="762" y="779"/>
                  </a:cubicBezTo>
                  <a:cubicBezTo>
                    <a:pt x="765" y="783"/>
                    <a:pt x="770" y="787"/>
                    <a:pt x="772" y="792"/>
                  </a:cubicBezTo>
                  <a:cubicBezTo>
                    <a:pt x="773" y="794"/>
                    <a:pt x="776" y="798"/>
                    <a:pt x="776" y="802"/>
                  </a:cubicBezTo>
                  <a:cubicBezTo>
                    <a:pt x="776" y="806"/>
                    <a:pt x="772" y="811"/>
                    <a:pt x="773" y="815"/>
                  </a:cubicBezTo>
                  <a:cubicBezTo>
                    <a:pt x="773" y="822"/>
                    <a:pt x="778" y="826"/>
                    <a:pt x="783" y="830"/>
                  </a:cubicBezTo>
                  <a:cubicBezTo>
                    <a:pt x="787" y="833"/>
                    <a:pt x="790" y="840"/>
                    <a:pt x="793" y="844"/>
                  </a:cubicBezTo>
                  <a:cubicBezTo>
                    <a:pt x="795" y="848"/>
                    <a:pt x="805" y="848"/>
                    <a:pt x="808" y="849"/>
                  </a:cubicBezTo>
                  <a:cubicBezTo>
                    <a:pt x="808" y="849"/>
                    <a:pt x="808" y="849"/>
                    <a:pt x="808" y="849"/>
                  </a:cubicBezTo>
                  <a:cubicBezTo>
                    <a:pt x="808" y="851"/>
                    <a:pt x="818" y="853"/>
                    <a:pt x="820" y="856"/>
                  </a:cubicBezTo>
                  <a:cubicBezTo>
                    <a:pt x="821" y="858"/>
                    <a:pt x="820" y="859"/>
                    <a:pt x="821" y="860"/>
                  </a:cubicBezTo>
                  <a:cubicBezTo>
                    <a:pt x="821" y="861"/>
                    <a:pt x="822" y="861"/>
                    <a:pt x="823" y="861"/>
                  </a:cubicBezTo>
                  <a:cubicBezTo>
                    <a:pt x="825" y="861"/>
                    <a:pt x="828" y="859"/>
                    <a:pt x="829" y="859"/>
                  </a:cubicBezTo>
                  <a:cubicBezTo>
                    <a:pt x="832" y="858"/>
                    <a:pt x="834" y="857"/>
                    <a:pt x="835" y="857"/>
                  </a:cubicBezTo>
                  <a:cubicBezTo>
                    <a:pt x="837" y="857"/>
                    <a:pt x="839" y="858"/>
                    <a:pt x="842" y="859"/>
                  </a:cubicBezTo>
                  <a:cubicBezTo>
                    <a:pt x="843" y="859"/>
                    <a:pt x="844" y="860"/>
                    <a:pt x="845" y="860"/>
                  </a:cubicBezTo>
                  <a:cubicBezTo>
                    <a:pt x="846" y="860"/>
                    <a:pt x="847" y="859"/>
                    <a:pt x="848" y="859"/>
                  </a:cubicBezTo>
                  <a:cubicBezTo>
                    <a:pt x="849" y="859"/>
                    <a:pt x="850" y="859"/>
                    <a:pt x="851" y="859"/>
                  </a:cubicBezTo>
                  <a:cubicBezTo>
                    <a:pt x="851" y="859"/>
                    <a:pt x="852" y="859"/>
                    <a:pt x="852" y="859"/>
                  </a:cubicBezTo>
                  <a:cubicBezTo>
                    <a:pt x="855" y="860"/>
                    <a:pt x="861" y="865"/>
                    <a:pt x="863" y="866"/>
                  </a:cubicBezTo>
                  <a:cubicBezTo>
                    <a:pt x="866" y="868"/>
                    <a:pt x="881" y="875"/>
                    <a:pt x="884" y="875"/>
                  </a:cubicBezTo>
                  <a:cubicBezTo>
                    <a:pt x="884" y="875"/>
                    <a:pt x="884" y="875"/>
                    <a:pt x="884" y="875"/>
                  </a:cubicBezTo>
                  <a:cubicBezTo>
                    <a:pt x="892" y="869"/>
                    <a:pt x="898" y="863"/>
                    <a:pt x="906" y="858"/>
                  </a:cubicBezTo>
                  <a:cubicBezTo>
                    <a:pt x="909" y="857"/>
                    <a:pt x="913" y="857"/>
                    <a:pt x="915" y="855"/>
                  </a:cubicBezTo>
                  <a:cubicBezTo>
                    <a:pt x="917" y="854"/>
                    <a:pt x="918" y="851"/>
                    <a:pt x="916" y="851"/>
                  </a:cubicBezTo>
                  <a:cubicBezTo>
                    <a:pt x="915" y="851"/>
                    <a:pt x="915" y="851"/>
                    <a:pt x="915" y="851"/>
                  </a:cubicBezTo>
                  <a:cubicBezTo>
                    <a:pt x="915" y="851"/>
                    <a:pt x="911" y="852"/>
                    <a:pt x="909" y="852"/>
                  </a:cubicBezTo>
                  <a:cubicBezTo>
                    <a:pt x="908" y="852"/>
                    <a:pt x="907" y="852"/>
                    <a:pt x="907" y="850"/>
                  </a:cubicBezTo>
                  <a:cubicBezTo>
                    <a:pt x="909" y="849"/>
                    <a:pt x="916" y="847"/>
                    <a:pt x="919" y="845"/>
                  </a:cubicBezTo>
                  <a:cubicBezTo>
                    <a:pt x="920" y="844"/>
                    <a:pt x="922" y="843"/>
                    <a:pt x="923" y="842"/>
                  </a:cubicBezTo>
                  <a:cubicBezTo>
                    <a:pt x="926" y="845"/>
                    <a:pt x="929" y="849"/>
                    <a:pt x="928" y="853"/>
                  </a:cubicBezTo>
                  <a:cubicBezTo>
                    <a:pt x="928" y="854"/>
                    <a:pt x="926" y="856"/>
                    <a:pt x="926" y="856"/>
                  </a:cubicBezTo>
                  <a:cubicBezTo>
                    <a:pt x="924" y="858"/>
                    <a:pt x="923" y="860"/>
                    <a:pt x="921" y="860"/>
                  </a:cubicBezTo>
                  <a:cubicBezTo>
                    <a:pt x="920" y="860"/>
                    <a:pt x="919" y="859"/>
                    <a:pt x="918" y="859"/>
                  </a:cubicBezTo>
                  <a:cubicBezTo>
                    <a:pt x="919" y="860"/>
                    <a:pt x="920" y="862"/>
                    <a:pt x="921" y="862"/>
                  </a:cubicBezTo>
                  <a:cubicBezTo>
                    <a:pt x="922" y="863"/>
                    <a:pt x="922" y="863"/>
                    <a:pt x="923" y="863"/>
                  </a:cubicBezTo>
                  <a:cubicBezTo>
                    <a:pt x="923" y="863"/>
                    <a:pt x="923" y="863"/>
                    <a:pt x="924" y="863"/>
                  </a:cubicBezTo>
                  <a:cubicBezTo>
                    <a:pt x="927" y="862"/>
                    <a:pt x="934" y="859"/>
                    <a:pt x="934" y="857"/>
                  </a:cubicBezTo>
                  <a:cubicBezTo>
                    <a:pt x="935" y="857"/>
                    <a:pt x="935" y="857"/>
                    <a:pt x="935" y="857"/>
                  </a:cubicBezTo>
                  <a:cubicBezTo>
                    <a:pt x="936" y="857"/>
                    <a:pt x="938" y="856"/>
                    <a:pt x="939" y="855"/>
                  </a:cubicBezTo>
                  <a:cubicBezTo>
                    <a:pt x="940" y="856"/>
                    <a:pt x="940" y="858"/>
                    <a:pt x="940" y="859"/>
                  </a:cubicBezTo>
                  <a:cubicBezTo>
                    <a:pt x="940" y="859"/>
                    <a:pt x="940" y="859"/>
                    <a:pt x="940" y="859"/>
                  </a:cubicBezTo>
                  <a:cubicBezTo>
                    <a:pt x="940" y="859"/>
                    <a:pt x="940" y="859"/>
                    <a:pt x="940" y="859"/>
                  </a:cubicBezTo>
                  <a:cubicBezTo>
                    <a:pt x="939" y="861"/>
                    <a:pt x="938" y="863"/>
                    <a:pt x="937" y="864"/>
                  </a:cubicBezTo>
                  <a:cubicBezTo>
                    <a:pt x="938" y="865"/>
                    <a:pt x="939" y="866"/>
                    <a:pt x="940" y="866"/>
                  </a:cubicBezTo>
                  <a:cubicBezTo>
                    <a:pt x="942" y="868"/>
                    <a:pt x="943" y="870"/>
                    <a:pt x="944" y="871"/>
                  </a:cubicBezTo>
                  <a:cubicBezTo>
                    <a:pt x="945" y="872"/>
                    <a:pt x="950" y="877"/>
                    <a:pt x="952" y="877"/>
                  </a:cubicBezTo>
                  <a:cubicBezTo>
                    <a:pt x="953" y="877"/>
                    <a:pt x="953" y="877"/>
                    <a:pt x="953" y="876"/>
                  </a:cubicBezTo>
                  <a:cubicBezTo>
                    <a:pt x="954" y="875"/>
                    <a:pt x="955" y="875"/>
                    <a:pt x="956" y="875"/>
                  </a:cubicBezTo>
                  <a:cubicBezTo>
                    <a:pt x="958" y="875"/>
                    <a:pt x="960" y="877"/>
                    <a:pt x="962" y="879"/>
                  </a:cubicBezTo>
                  <a:cubicBezTo>
                    <a:pt x="964" y="881"/>
                    <a:pt x="963" y="885"/>
                    <a:pt x="966" y="885"/>
                  </a:cubicBezTo>
                  <a:cubicBezTo>
                    <a:pt x="966" y="882"/>
                    <a:pt x="966" y="879"/>
                    <a:pt x="965" y="876"/>
                  </a:cubicBezTo>
                  <a:cubicBezTo>
                    <a:pt x="964" y="877"/>
                    <a:pt x="964" y="877"/>
                    <a:pt x="963" y="877"/>
                  </a:cubicBezTo>
                  <a:cubicBezTo>
                    <a:pt x="962" y="877"/>
                    <a:pt x="961" y="874"/>
                    <a:pt x="960" y="872"/>
                  </a:cubicBezTo>
                  <a:cubicBezTo>
                    <a:pt x="963" y="871"/>
                    <a:pt x="971" y="869"/>
                    <a:pt x="976" y="869"/>
                  </a:cubicBezTo>
                  <a:cubicBezTo>
                    <a:pt x="977" y="869"/>
                    <a:pt x="978" y="869"/>
                    <a:pt x="979" y="870"/>
                  </a:cubicBezTo>
                  <a:cubicBezTo>
                    <a:pt x="984" y="865"/>
                    <a:pt x="989" y="860"/>
                    <a:pt x="995" y="855"/>
                  </a:cubicBezTo>
                  <a:cubicBezTo>
                    <a:pt x="1001" y="851"/>
                    <a:pt x="1009" y="842"/>
                    <a:pt x="1017" y="842"/>
                  </a:cubicBezTo>
                  <a:cubicBezTo>
                    <a:pt x="1026" y="841"/>
                    <a:pt x="1034" y="840"/>
                    <a:pt x="1043" y="840"/>
                  </a:cubicBezTo>
                  <a:cubicBezTo>
                    <a:pt x="1043" y="840"/>
                    <a:pt x="1043" y="840"/>
                    <a:pt x="1044" y="840"/>
                  </a:cubicBezTo>
                  <a:cubicBezTo>
                    <a:pt x="1046" y="840"/>
                    <a:pt x="1048" y="840"/>
                    <a:pt x="1049" y="840"/>
                  </a:cubicBezTo>
                  <a:cubicBezTo>
                    <a:pt x="1049" y="840"/>
                    <a:pt x="1049" y="840"/>
                    <a:pt x="1049" y="840"/>
                  </a:cubicBezTo>
                  <a:cubicBezTo>
                    <a:pt x="1052" y="840"/>
                    <a:pt x="1055" y="839"/>
                    <a:pt x="1057" y="837"/>
                  </a:cubicBezTo>
                  <a:cubicBezTo>
                    <a:pt x="1059" y="836"/>
                    <a:pt x="1062" y="831"/>
                    <a:pt x="1063" y="831"/>
                  </a:cubicBezTo>
                  <a:cubicBezTo>
                    <a:pt x="1064" y="830"/>
                    <a:pt x="1064" y="830"/>
                    <a:pt x="1065" y="830"/>
                  </a:cubicBezTo>
                  <a:cubicBezTo>
                    <a:pt x="1066" y="830"/>
                    <a:pt x="1066" y="830"/>
                    <a:pt x="1067" y="831"/>
                  </a:cubicBezTo>
                  <a:cubicBezTo>
                    <a:pt x="1067" y="831"/>
                    <a:pt x="1068" y="831"/>
                    <a:pt x="1068" y="831"/>
                  </a:cubicBezTo>
                  <a:cubicBezTo>
                    <a:pt x="1069" y="831"/>
                    <a:pt x="1070" y="830"/>
                    <a:pt x="1071" y="828"/>
                  </a:cubicBezTo>
                  <a:cubicBezTo>
                    <a:pt x="1071" y="825"/>
                    <a:pt x="1072" y="823"/>
                    <a:pt x="1071" y="821"/>
                  </a:cubicBezTo>
                  <a:cubicBezTo>
                    <a:pt x="1071" y="818"/>
                    <a:pt x="1069" y="819"/>
                    <a:pt x="1068" y="817"/>
                  </a:cubicBezTo>
                  <a:cubicBezTo>
                    <a:pt x="1067" y="815"/>
                    <a:pt x="1068" y="813"/>
                    <a:pt x="1068" y="811"/>
                  </a:cubicBezTo>
                  <a:cubicBezTo>
                    <a:pt x="1068" y="807"/>
                    <a:pt x="1071" y="802"/>
                    <a:pt x="1072" y="797"/>
                  </a:cubicBezTo>
                  <a:cubicBezTo>
                    <a:pt x="1074" y="789"/>
                    <a:pt x="1075" y="778"/>
                    <a:pt x="1080" y="770"/>
                  </a:cubicBezTo>
                  <a:cubicBezTo>
                    <a:pt x="1082" y="765"/>
                    <a:pt x="1085" y="759"/>
                    <a:pt x="1088" y="754"/>
                  </a:cubicBezTo>
                  <a:cubicBezTo>
                    <a:pt x="1089" y="752"/>
                    <a:pt x="1096" y="753"/>
                    <a:pt x="1091" y="749"/>
                  </a:cubicBezTo>
                  <a:cubicBezTo>
                    <a:pt x="1096" y="749"/>
                    <a:pt x="1094" y="749"/>
                    <a:pt x="1094" y="747"/>
                  </a:cubicBezTo>
                  <a:cubicBezTo>
                    <a:pt x="1094" y="745"/>
                    <a:pt x="1093" y="743"/>
                    <a:pt x="1093" y="741"/>
                  </a:cubicBezTo>
                  <a:cubicBezTo>
                    <a:pt x="1093" y="739"/>
                    <a:pt x="1096" y="736"/>
                    <a:pt x="1097" y="734"/>
                  </a:cubicBezTo>
                  <a:cubicBezTo>
                    <a:pt x="1096" y="734"/>
                    <a:pt x="1095" y="733"/>
                    <a:pt x="1094" y="733"/>
                  </a:cubicBezTo>
                  <a:cubicBezTo>
                    <a:pt x="1096" y="729"/>
                    <a:pt x="1099" y="725"/>
                    <a:pt x="1101" y="721"/>
                  </a:cubicBezTo>
                  <a:cubicBezTo>
                    <a:pt x="1101" y="720"/>
                    <a:pt x="1102" y="719"/>
                    <a:pt x="1103" y="718"/>
                  </a:cubicBezTo>
                  <a:cubicBezTo>
                    <a:pt x="1100" y="716"/>
                    <a:pt x="1098" y="714"/>
                    <a:pt x="1098" y="710"/>
                  </a:cubicBezTo>
                  <a:cubicBezTo>
                    <a:pt x="1098" y="706"/>
                    <a:pt x="1102" y="702"/>
                    <a:pt x="1106" y="702"/>
                  </a:cubicBezTo>
                  <a:cubicBezTo>
                    <a:pt x="1107" y="702"/>
                    <a:pt x="1108" y="703"/>
                    <a:pt x="1109" y="703"/>
                  </a:cubicBezTo>
                  <a:cubicBezTo>
                    <a:pt x="1109" y="701"/>
                    <a:pt x="1108" y="700"/>
                    <a:pt x="1107" y="699"/>
                  </a:cubicBezTo>
                  <a:cubicBezTo>
                    <a:pt x="1107" y="700"/>
                    <a:pt x="1108" y="700"/>
                    <a:pt x="1108" y="700"/>
                  </a:cubicBezTo>
                  <a:cubicBezTo>
                    <a:pt x="1109" y="700"/>
                    <a:pt x="1109" y="698"/>
                    <a:pt x="1110" y="697"/>
                  </a:cubicBezTo>
                  <a:cubicBezTo>
                    <a:pt x="1113" y="693"/>
                    <a:pt x="1116" y="690"/>
                    <a:pt x="1119" y="685"/>
                  </a:cubicBezTo>
                  <a:cubicBezTo>
                    <a:pt x="1121" y="681"/>
                    <a:pt x="1122" y="678"/>
                    <a:pt x="1128" y="676"/>
                  </a:cubicBezTo>
                  <a:cubicBezTo>
                    <a:pt x="1130" y="675"/>
                    <a:pt x="1138" y="673"/>
                    <a:pt x="1131" y="672"/>
                  </a:cubicBezTo>
                  <a:cubicBezTo>
                    <a:pt x="1135" y="669"/>
                    <a:pt x="1143" y="666"/>
                    <a:pt x="1144" y="663"/>
                  </a:cubicBezTo>
                  <a:cubicBezTo>
                    <a:pt x="1145" y="661"/>
                    <a:pt x="1144" y="659"/>
                    <a:pt x="1144" y="658"/>
                  </a:cubicBezTo>
                  <a:cubicBezTo>
                    <a:pt x="1145" y="657"/>
                    <a:pt x="1144" y="652"/>
                    <a:pt x="1144" y="652"/>
                  </a:cubicBezTo>
                  <a:cubicBezTo>
                    <a:pt x="1144" y="652"/>
                    <a:pt x="1144" y="652"/>
                    <a:pt x="1144" y="652"/>
                  </a:cubicBezTo>
                  <a:cubicBezTo>
                    <a:pt x="1147" y="649"/>
                    <a:pt x="1149" y="645"/>
                    <a:pt x="1151" y="642"/>
                  </a:cubicBezTo>
                  <a:cubicBezTo>
                    <a:pt x="1155" y="637"/>
                    <a:pt x="1157" y="629"/>
                    <a:pt x="1157" y="623"/>
                  </a:cubicBezTo>
                  <a:cubicBezTo>
                    <a:pt x="1158" y="616"/>
                    <a:pt x="1157" y="608"/>
                    <a:pt x="1159" y="600"/>
                  </a:cubicBezTo>
                  <a:cubicBezTo>
                    <a:pt x="1162" y="593"/>
                    <a:pt x="1164" y="586"/>
                    <a:pt x="1166" y="579"/>
                  </a:cubicBezTo>
                  <a:cubicBezTo>
                    <a:pt x="1168" y="572"/>
                    <a:pt x="1167" y="565"/>
                    <a:pt x="1170" y="558"/>
                  </a:cubicBezTo>
                  <a:cubicBezTo>
                    <a:pt x="1171" y="554"/>
                    <a:pt x="1173" y="551"/>
                    <a:pt x="1174" y="548"/>
                  </a:cubicBezTo>
                  <a:cubicBezTo>
                    <a:pt x="1176" y="545"/>
                    <a:pt x="1175" y="541"/>
                    <a:pt x="1174" y="538"/>
                  </a:cubicBezTo>
                  <a:cubicBezTo>
                    <a:pt x="1173" y="529"/>
                    <a:pt x="1172" y="520"/>
                    <a:pt x="1167" y="512"/>
                  </a:cubicBezTo>
                  <a:cubicBezTo>
                    <a:pt x="1165" y="509"/>
                    <a:pt x="1159" y="502"/>
                    <a:pt x="1160" y="499"/>
                  </a:cubicBezTo>
                  <a:cubicBezTo>
                    <a:pt x="1160" y="498"/>
                    <a:pt x="1160" y="497"/>
                    <a:pt x="1160" y="495"/>
                  </a:cubicBezTo>
                  <a:cubicBezTo>
                    <a:pt x="1160" y="494"/>
                    <a:pt x="1160" y="494"/>
                    <a:pt x="1161" y="494"/>
                  </a:cubicBezTo>
                  <a:cubicBezTo>
                    <a:pt x="1161" y="494"/>
                    <a:pt x="1161" y="494"/>
                    <a:pt x="1161" y="494"/>
                  </a:cubicBezTo>
                  <a:cubicBezTo>
                    <a:pt x="1161" y="494"/>
                    <a:pt x="1161" y="494"/>
                    <a:pt x="1161" y="494"/>
                  </a:cubicBezTo>
                  <a:cubicBezTo>
                    <a:pt x="1161" y="494"/>
                    <a:pt x="1162" y="494"/>
                    <a:pt x="1162" y="494"/>
                  </a:cubicBezTo>
                  <a:cubicBezTo>
                    <a:pt x="1163" y="493"/>
                    <a:pt x="1163" y="494"/>
                    <a:pt x="1164" y="492"/>
                  </a:cubicBezTo>
                  <a:cubicBezTo>
                    <a:pt x="1165" y="490"/>
                    <a:pt x="1162" y="483"/>
                    <a:pt x="1161" y="480"/>
                  </a:cubicBezTo>
                  <a:cubicBezTo>
                    <a:pt x="1161" y="476"/>
                    <a:pt x="1159" y="470"/>
                    <a:pt x="1161" y="466"/>
                  </a:cubicBezTo>
                  <a:cubicBezTo>
                    <a:pt x="1161" y="463"/>
                    <a:pt x="1162" y="461"/>
                    <a:pt x="1164" y="458"/>
                  </a:cubicBezTo>
                  <a:cubicBezTo>
                    <a:pt x="1162" y="458"/>
                    <a:pt x="1159" y="458"/>
                    <a:pt x="1158" y="457"/>
                  </a:cubicBezTo>
                  <a:cubicBezTo>
                    <a:pt x="1157" y="454"/>
                    <a:pt x="1156" y="452"/>
                    <a:pt x="1155" y="450"/>
                  </a:cubicBezTo>
                  <a:cubicBezTo>
                    <a:pt x="1155" y="447"/>
                    <a:pt x="1154" y="444"/>
                    <a:pt x="1155" y="442"/>
                  </a:cubicBezTo>
                  <a:cubicBezTo>
                    <a:pt x="1155" y="441"/>
                    <a:pt x="1156" y="440"/>
                    <a:pt x="1155" y="439"/>
                  </a:cubicBezTo>
                  <a:cubicBezTo>
                    <a:pt x="1155" y="436"/>
                    <a:pt x="1150" y="436"/>
                    <a:pt x="1147" y="435"/>
                  </a:cubicBezTo>
                  <a:cubicBezTo>
                    <a:pt x="1144" y="434"/>
                    <a:pt x="1143" y="424"/>
                    <a:pt x="1141" y="421"/>
                  </a:cubicBezTo>
                  <a:cubicBezTo>
                    <a:pt x="1139" y="419"/>
                    <a:pt x="1135" y="417"/>
                    <a:pt x="1133" y="416"/>
                  </a:cubicBezTo>
                  <a:cubicBezTo>
                    <a:pt x="1130" y="414"/>
                    <a:pt x="1130" y="412"/>
                    <a:pt x="1129" y="409"/>
                  </a:cubicBezTo>
                  <a:cubicBezTo>
                    <a:pt x="1128" y="407"/>
                    <a:pt x="1128" y="405"/>
                    <a:pt x="1126" y="404"/>
                  </a:cubicBezTo>
                  <a:cubicBezTo>
                    <a:pt x="1124" y="401"/>
                    <a:pt x="1123" y="399"/>
                    <a:pt x="1119" y="399"/>
                  </a:cubicBezTo>
                  <a:cubicBezTo>
                    <a:pt x="1119" y="399"/>
                    <a:pt x="1119" y="399"/>
                    <a:pt x="1119" y="399"/>
                  </a:cubicBezTo>
                  <a:cubicBezTo>
                    <a:pt x="1119" y="399"/>
                    <a:pt x="1118" y="399"/>
                    <a:pt x="1118" y="399"/>
                  </a:cubicBezTo>
                  <a:cubicBezTo>
                    <a:pt x="1116" y="399"/>
                    <a:pt x="1114" y="397"/>
                    <a:pt x="1112" y="395"/>
                  </a:cubicBezTo>
                  <a:cubicBezTo>
                    <a:pt x="1110" y="393"/>
                    <a:pt x="1109" y="391"/>
                    <a:pt x="1107" y="391"/>
                  </a:cubicBezTo>
                  <a:cubicBezTo>
                    <a:pt x="1107" y="391"/>
                    <a:pt x="1106" y="391"/>
                    <a:pt x="1106" y="391"/>
                  </a:cubicBezTo>
                  <a:cubicBezTo>
                    <a:pt x="1104" y="386"/>
                    <a:pt x="1098" y="387"/>
                    <a:pt x="1095" y="383"/>
                  </a:cubicBezTo>
                  <a:cubicBezTo>
                    <a:pt x="1093" y="381"/>
                    <a:pt x="1093" y="375"/>
                    <a:pt x="1093" y="371"/>
                  </a:cubicBezTo>
                  <a:cubicBezTo>
                    <a:pt x="1092" y="369"/>
                    <a:pt x="1093" y="367"/>
                    <a:pt x="1092" y="365"/>
                  </a:cubicBezTo>
                  <a:cubicBezTo>
                    <a:pt x="1096" y="365"/>
                    <a:pt x="1093" y="355"/>
                    <a:pt x="1093" y="353"/>
                  </a:cubicBezTo>
                  <a:cubicBezTo>
                    <a:pt x="1093" y="354"/>
                    <a:pt x="1092" y="355"/>
                    <a:pt x="1092" y="355"/>
                  </a:cubicBezTo>
                  <a:cubicBezTo>
                    <a:pt x="1091" y="355"/>
                    <a:pt x="1091" y="354"/>
                    <a:pt x="1090" y="353"/>
                  </a:cubicBezTo>
                  <a:cubicBezTo>
                    <a:pt x="1090" y="352"/>
                    <a:pt x="1090" y="352"/>
                    <a:pt x="1091" y="352"/>
                  </a:cubicBezTo>
                  <a:cubicBezTo>
                    <a:pt x="1091" y="352"/>
                    <a:pt x="1091" y="352"/>
                    <a:pt x="1091" y="352"/>
                  </a:cubicBezTo>
                  <a:cubicBezTo>
                    <a:pt x="1091" y="352"/>
                    <a:pt x="1092" y="352"/>
                    <a:pt x="1092" y="352"/>
                  </a:cubicBezTo>
                  <a:cubicBezTo>
                    <a:pt x="1092" y="352"/>
                    <a:pt x="1092" y="352"/>
                    <a:pt x="1092" y="352"/>
                  </a:cubicBezTo>
                  <a:cubicBezTo>
                    <a:pt x="1092" y="350"/>
                    <a:pt x="1091" y="350"/>
                    <a:pt x="1090" y="348"/>
                  </a:cubicBezTo>
                  <a:cubicBezTo>
                    <a:pt x="1087" y="350"/>
                    <a:pt x="1087" y="352"/>
                    <a:pt x="1088" y="355"/>
                  </a:cubicBezTo>
                  <a:cubicBezTo>
                    <a:pt x="1085" y="353"/>
                    <a:pt x="1083" y="351"/>
                    <a:pt x="1080" y="350"/>
                  </a:cubicBezTo>
                  <a:cubicBezTo>
                    <a:pt x="1077" y="348"/>
                    <a:pt x="1077" y="348"/>
                    <a:pt x="1076" y="347"/>
                  </a:cubicBezTo>
                  <a:cubicBezTo>
                    <a:pt x="1075" y="345"/>
                    <a:pt x="1074" y="343"/>
                    <a:pt x="1072" y="341"/>
                  </a:cubicBezTo>
                  <a:cubicBezTo>
                    <a:pt x="1071" y="346"/>
                    <a:pt x="1070" y="351"/>
                    <a:pt x="1072" y="356"/>
                  </a:cubicBezTo>
                  <a:cubicBezTo>
                    <a:pt x="1069" y="354"/>
                    <a:pt x="1067" y="351"/>
                    <a:pt x="1064" y="351"/>
                  </a:cubicBezTo>
                  <a:cubicBezTo>
                    <a:pt x="1063" y="351"/>
                    <a:pt x="1062" y="351"/>
                    <a:pt x="1061" y="352"/>
                  </a:cubicBezTo>
                  <a:cubicBezTo>
                    <a:pt x="1058" y="343"/>
                    <a:pt x="1058" y="334"/>
                    <a:pt x="1054" y="326"/>
                  </a:cubicBezTo>
                  <a:cubicBezTo>
                    <a:pt x="1053" y="321"/>
                    <a:pt x="1049" y="318"/>
                    <a:pt x="1048" y="313"/>
                  </a:cubicBezTo>
                  <a:cubicBezTo>
                    <a:pt x="1048" y="309"/>
                    <a:pt x="1048" y="309"/>
                    <a:pt x="1044" y="307"/>
                  </a:cubicBezTo>
                  <a:cubicBezTo>
                    <a:pt x="1039" y="304"/>
                    <a:pt x="1037" y="302"/>
                    <a:pt x="1034" y="297"/>
                  </a:cubicBezTo>
                  <a:cubicBezTo>
                    <a:pt x="1033" y="296"/>
                    <a:pt x="1035" y="289"/>
                    <a:pt x="1036" y="289"/>
                  </a:cubicBezTo>
                  <a:cubicBezTo>
                    <a:pt x="1036" y="289"/>
                    <a:pt x="1036" y="289"/>
                    <a:pt x="1036" y="289"/>
                  </a:cubicBezTo>
                  <a:cubicBezTo>
                    <a:pt x="1036" y="289"/>
                    <a:pt x="1037" y="290"/>
                    <a:pt x="1037" y="291"/>
                  </a:cubicBezTo>
                  <a:cubicBezTo>
                    <a:pt x="1038" y="291"/>
                    <a:pt x="1038" y="292"/>
                    <a:pt x="1039" y="292"/>
                  </a:cubicBezTo>
                  <a:cubicBezTo>
                    <a:pt x="1039" y="292"/>
                    <a:pt x="1039" y="292"/>
                    <a:pt x="1039" y="292"/>
                  </a:cubicBezTo>
                  <a:cubicBezTo>
                    <a:pt x="1036" y="287"/>
                    <a:pt x="1031" y="283"/>
                    <a:pt x="1029" y="278"/>
                  </a:cubicBezTo>
                  <a:cubicBezTo>
                    <a:pt x="1027" y="279"/>
                    <a:pt x="1024" y="280"/>
                    <a:pt x="1026" y="282"/>
                  </a:cubicBezTo>
                  <a:cubicBezTo>
                    <a:pt x="1026" y="282"/>
                    <a:pt x="1025" y="282"/>
                    <a:pt x="1025" y="282"/>
                  </a:cubicBezTo>
                  <a:cubicBezTo>
                    <a:pt x="1023" y="282"/>
                    <a:pt x="1022" y="276"/>
                    <a:pt x="1020" y="275"/>
                  </a:cubicBezTo>
                  <a:cubicBezTo>
                    <a:pt x="1017" y="273"/>
                    <a:pt x="1013" y="271"/>
                    <a:pt x="1009" y="269"/>
                  </a:cubicBezTo>
                  <a:cubicBezTo>
                    <a:pt x="1008" y="269"/>
                    <a:pt x="1007" y="268"/>
                    <a:pt x="1007" y="268"/>
                  </a:cubicBezTo>
                  <a:cubicBezTo>
                    <a:pt x="1006" y="268"/>
                    <a:pt x="1006" y="269"/>
                    <a:pt x="1004" y="271"/>
                  </a:cubicBezTo>
                  <a:cubicBezTo>
                    <a:pt x="1002" y="267"/>
                    <a:pt x="1000" y="263"/>
                    <a:pt x="998" y="260"/>
                  </a:cubicBezTo>
                  <a:cubicBezTo>
                    <a:pt x="997" y="259"/>
                    <a:pt x="997" y="256"/>
                    <a:pt x="996" y="256"/>
                  </a:cubicBezTo>
                  <a:cubicBezTo>
                    <a:pt x="996" y="256"/>
                    <a:pt x="996" y="256"/>
                    <a:pt x="996" y="256"/>
                  </a:cubicBezTo>
                  <a:cubicBezTo>
                    <a:pt x="995" y="256"/>
                    <a:pt x="994" y="256"/>
                    <a:pt x="993" y="257"/>
                  </a:cubicBezTo>
                  <a:cubicBezTo>
                    <a:pt x="993" y="258"/>
                    <a:pt x="992" y="259"/>
                    <a:pt x="991" y="259"/>
                  </a:cubicBezTo>
                  <a:cubicBezTo>
                    <a:pt x="991" y="259"/>
                    <a:pt x="991" y="258"/>
                    <a:pt x="991" y="258"/>
                  </a:cubicBezTo>
                  <a:cubicBezTo>
                    <a:pt x="989" y="258"/>
                    <a:pt x="986" y="257"/>
                    <a:pt x="985" y="255"/>
                  </a:cubicBezTo>
                  <a:cubicBezTo>
                    <a:pt x="985" y="255"/>
                    <a:pt x="986" y="252"/>
                    <a:pt x="985" y="252"/>
                  </a:cubicBezTo>
                  <a:cubicBezTo>
                    <a:pt x="984" y="252"/>
                    <a:pt x="984" y="252"/>
                    <a:pt x="984" y="252"/>
                  </a:cubicBezTo>
                  <a:cubicBezTo>
                    <a:pt x="983" y="252"/>
                    <a:pt x="983" y="253"/>
                    <a:pt x="982" y="253"/>
                  </a:cubicBezTo>
                  <a:cubicBezTo>
                    <a:pt x="981" y="254"/>
                    <a:pt x="981" y="255"/>
                    <a:pt x="980" y="255"/>
                  </a:cubicBezTo>
                  <a:cubicBezTo>
                    <a:pt x="980" y="255"/>
                    <a:pt x="980" y="255"/>
                    <a:pt x="980" y="255"/>
                  </a:cubicBezTo>
                  <a:cubicBezTo>
                    <a:pt x="976" y="253"/>
                    <a:pt x="972" y="251"/>
                    <a:pt x="969" y="248"/>
                  </a:cubicBezTo>
                  <a:cubicBezTo>
                    <a:pt x="964" y="244"/>
                    <a:pt x="963" y="244"/>
                    <a:pt x="963" y="237"/>
                  </a:cubicBezTo>
                  <a:cubicBezTo>
                    <a:pt x="964" y="236"/>
                    <a:pt x="964" y="235"/>
                    <a:pt x="964" y="234"/>
                  </a:cubicBezTo>
                  <a:cubicBezTo>
                    <a:pt x="964" y="230"/>
                    <a:pt x="957" y="228"/>
                    <a:pt x="957" y="225"/>
                  </a:cubicBezTo>
                  <a:cubicBezTo>
                    <a:pt x="957" y="216"/>
                    <a:pt x="958" y="207"/>
                    <a:pt x="956" y="199"/>
                  </a:cubicBezTo>
                  <a:cubicBezTo>
                    <a:pt x="956" y="195"/>
                    <a:pt x="953" y="192"/>
                    <a:pt x="953" y="188"/>
                  </a:cubicBezTo>
                  <a:cubicBezTo>
                    <a:pt x="952" y="187"/>
                    <a:pt x="953" y="184"/>
                    <a:pt x="953" y="184"/>
                  </a:cubicBezTo>
                  <a:cubicBezTo>
                    <a:pt x="952" y="183"/>
                    <a:pt x="953" y="183"/>
                    <a:pt x="953" y="183"/>
                  </a:cubicBezTo>
                  <a:cubicBezTo>
                    <a:pt x="951" y="183"/>
                    <a:pt x="950" y="184"/>
                    <a:pt x="948" y="185"/>
                  </a:cubicBezTo>
                  <a:cubicBezTo>
                    <a:pt x="949" y="181"/>
                    <a:pt x="941" y="174"/>
                    <a:pt x="939" y="171"/>
                  </a:cubicBezTo>
                  <a:cubicBezTo>
                    <a:pt x="938" y="170"/>
                    <a:pt x="938" y="171"/>
                    <a:pt x="937" y="168"/>
                  </a:cubicBezTo>
                  <a:cubicBezTo>
                    <a:pt x="936" y="164"/>
                    <a:pt x="937" y="159"/>
                    <a:pt x="937" y="155"/>
                  </a:cubicBezTo>
                  <a:cubicBezTo>
                    <a:pt x="936" y="148"/>
                    <a:pt x="932" y="141"/>
                    <a:pt x="934" y="135"/>
                  </a:cubicBezTo>
                  <a:cubicBezTo>
                    <a:pt x="935" y="133"/>
                    <a:pt x="936" y="135"/>
                    <a:pt x="934" y="131"/>
                  </a:cubicBezTo>
                  <a:cubicBezTo>
                    <a:pt x="933" y="128"/>
                    <a:pt x="935" y="129"/>
                    <a:pt x="935" y="126"/>
                  </a:cubicBezTo>
                  <a:cubicBezTo>
                    <a:pt x="934" y="124"/>
                    <a:pt x="933" y="123"/>
                    <a:pt x="929" y="121"/>
                  </a:cubicBezTo>
                  <a:cubicBezTo>
                    <a:pt x="928" y="121"/>
                    <a:pt x="927" y="120"/>
                    <a:pt x="925" y="119"/>
                  </a:cubicBezTo>
                  <a:cubicBezTo>
                    <a:pt x="923" y="118"/>
                    <a:pt x="920" y="116"/>
                    <a:pt x="918" y="114"/>
                  </a:cubicBezTo>
                  <a:cubicBezTo>
                    <a:pt x="918" y="113"/>
                    <a:pt x="916" y="113"/>
                    <a:pt x="915" y="112"/>
                  </a:cubicBezTo>
                  <a:cubicBezTo>
                    <a:pt x="913" y="110"/>
                    <a:pt x="912" y="106"/>
                    <a:pt x="909" y="104"/>
                  </a:cubicBezTo>
                  <a:cubicBezTo>
                    <a:pt x="908" y="105"/>
                    <a:pt x="907" y="106"/>
                    <a:pt x="906" y="106"/>
                  </a:cubicBezTo>
                  <a:cubicBezTo>
                    <a:pt x="906" y="106"/>
                    <a:pt x="906" y="106"/>
                    <a:pt x="906" y="106"/>
                  </a:cubicBezTo>
                  <a:cubicBezTo>
                    <a:pt x="905" y="106"/>
                    <a:pt x="905" y="105"/>
                    <a:pt x="904" y="105"/>
                  </a:cubicBezTo>
                  <a:cubicBezTo>
                    <a:pt x="904" y="105"/>
                    <a:pt x="903" y="104"/>
                    <a:pt x="903" y="104"/>
                  </a:cubicBezTo>
                  <a:cubicBezTo>
                    <a:pt x="903" y="104"/>
                    <a:pt x="903" y="104"/>
                    <a:pt x="902" y="105"/>
                  </a:cubicBezTo>
                  <a:cubicBezTo>
                    <a:pt x="902" y="105"/>
                    <a:pt x="901" y="108"/>
                    <a:pt x="899" y="110"/>
                  </a:cubicBezTo>
                  <a:cubicBezTo>
                    <a:pt x="898" y="111"/>
                    <a:pt x="896" y="111"/>
                    <a:pt x="895" y="111"/>
                  </a:cubicBezTo>
                  <a:cubicBezTo>
                    <a:pt x="894" y="111"/>
                    <a:pt x="893" y="111"/>
                    <a:pt x="892" y="110"/>
                  </a:cubicBezTo>
                  <a:cubicBezTo>
                    <a:pt x="889" y="108"/>
                    <a:pt x="889" y="102"/>
                    <a:pt x="888" y="99"/>
                  </a:cubicBezTo>
                  <a:cubicBezTo>
                    <a:pt x="887" y="91"/>
                    <a:pt x="885" y="83"/>
                    <a:pt x="883" y="75"/>
                  </a:cubicBezTo>
                  <a:cubicBezTo>
                    <a:pt x="882" y="72"/>
                    <a:pt x="881" y="65"/>
                    <a:pt x="883" y="63"/>
                  </a:cubicBezTo>
                  <a:cubicBezTo>
                    <a:pt x="883" y="63"/>
                    <a:pt x="883" y="63"/>
                    <a:pt x="882" y="63"/>
                  </a:cubicBezTo>
                  <a:cubicBezTo>
                    <a:pt x="881" y="63"/>
                    <a:pt x="879" y="63"/>
                    <a:pt x="878" y="63"/>
                  </a:cubicBezTo>
                  <a:cubicBezTo>
                    <a:pt x="879" y="58"/>
                    <a:pt x="881" y="57"/>
                    <a:pt x="877" y="53"/>
                  </a:cubicBezTo>
                  <a:cubicBezTo>
                    <a:pt x="876" y="51"/>
                    <a:pt x="874" y="49"/>
                    <a:pt x="872" y="48"/>
                  </a:cubicBezTo>
                  <a:cubicBezTo>
                    <a:pt x="872" y="48"/>
                    <a:pt x="872" y="48"/>
                    <a:pt x="872" y="48"/>
                  </a:cubicBezTo>
                  <a:cubicBezTo>
                    <a:pt x="872" y="48"/>
                    <a:pt x="872" y="48"/>
                    <a:pt x="872" y="48"/>
                  </a:cubicBezTo>
                  <a:cubicBezTo>
                    <a:pt x="871" y="48"/>
                    <a:pt x="871" y="48"/>
                    <a:pt x="871" y="48"/>
                  </a:cubicBezTo>
                  <a:cubicBezTo>
                    <a:pt x="871" y="48"/>
                    <a:pt x="871" y="48"/>
                    <a:pt x="870" y="48"/>
                  </a:cubicBezTo>
                  <a:cubicBezTo>
                    <a:pt x="869" y="46"/>
                    <a:pt x="871" y="38"/>
                    <a:pt x="874" y="37"/>
                  </a:cubicBezTo>
                  <a:cubicBezTo>
                    <a:pt x="871" y="34"/>
                    <a:pt x="867" y="37"/>
                    <a:pt x="865" y="34"/>
                  </a:cubicBezTo>
                  <a:cubicBezTo>
                    <a:pt x="861" y="30"/>
                    <a:pt x="862" y="22"/>
                    <a:pt x="861" y="17"/>
                  </a:cubicBezTo>
                  <a:cubicBezTo>
                    <a:pt x="861" y="15"/>
                    <a:pt x="860" y="5"/>
                    <a:pt x="856" y="5"/>
                  </a:cubicBezTo>
                  <a:cubicBezTo>
                    <a:pt x="855" y="5"/>
                    <a:pt x="854" y="6"/>
                    <a:pt x="853" y="7"/>
                  </a:cubicBezTo>
                  <a:cubicBezTo>
                    <a:pt x="855" y="3"/>
                    <a:pt x="858" y="2"/>
                    <a:pt x="854" y="0"/>
                  </a:cubicBezTo>
                  <a:cubicBezTo>
                    <a:pt x="854" y="0"/>
                    <a:pt x="853" y="0"/>
                    <a:pt x="8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6" name="Freeform 1494">
              <a:extLst>
                <a:ext uri="{FF2B5EF4-FFF2-40B4-BE49-F238E27FC236}">
                  <a16:creationId xmlns:a16="http://schemas.microsoft.com/office/drawing/2014/main" id="{77B492D4-C590-44CB-95B3-A011F1BE5B32}"/>
                </a:ext>
              </a:extLst>
            </p:cNvPr>
            <p:cNvSpPr>
              <a:spLocks/>
            </p:cNvSpPr>
            <p:nvPr/>
          </p:nvSpPr>
          <p:spPr bwMode="auto">
            <a:xfrm>
              <a:off x="91" y="475"/>
              <a:ext cx="10" cy="15"/>
            </a:xfrm>
            <a:custGeom>
              <a:avLst/>
              <a:gdLst>
                <a:gd name="T0" fmla="*/ 4 w 4"/>
                <a:gd name="T1" fmla="*/ 0 h 6"/>
                <a:gd name="T2" fmla="*/ 3 w 4"/>
                <a:gd name="T3" fmla="*/ 6 h 6"/>
                <a:gd name="T4" fmla="*/ 4 w 4"/>
                <a:gd name="T5" fmla="*/ 0 h 6"/>
              </a:gdLst>
              <a:ahLst/>
              <a:cxnLst>
                <a:cxn ang="0">
                  <a:pos x="T0" y="T1"/>
                </a:cxn>
                <a:cxn ang="0">
                  <a:pos x="T2" y="T3"/>
                </a:cxn>
                <a:cxn ang="0">
                  <a:pos x="T4" y="T5"/>
                </a:cxn>
              </a:cxnLst>
              <a:rect l="0" t="0" r="r" b="b"/>
              <a:pathLst>
                <a:path w="4" h="6">
                  <a:moveTo>
                    <a:pt x="4" y="0"/>
                  </a:moveTo>
                  <a:cubicBezTo>
                    <a:pt x="0" y="1"/>
                    <a:pt x="3" y="4"/>
                    <a:pt x="3" y="6"/>
                  </a:cubicBezTo>
                  <a:cubicBezTo>
                    <a:pt x="3" y="4"/>
                    <a:pt x="4"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 name="Freeform 1495">
              <a:extLst>
                <a:ext uri="{FF2B5EF4-FFF2-40B4-BE49-F238E27FC236}">
                  <a16:creationId xmlns:a16="http://schemas.microsoft.com/office/drawing/2014/main" id="{456B22B0-B212-4F01-A331-A70DF6CF0338}"/>
                </a:ext>
              </a:extLst>
            </p:cNvPr>
            <p:cNvSpPr>
              <a:spLocks/>
            </p:cNvSpPr>
            <p:nvPr/>
          </p:nvSpPr>
          <p:spPr bwMode="auto">
            <a:xfrm>
              <a:off x="105" y="530"/>
              <a:ext cx="7" cy="12"/>
            </a:xfrm>
            <a:custGeom>
              <a:avLst/>
              <a:gdLst>
                <a:gd name="T0" fmla="*/ 3 w 3"/>
                <a:gd name="T1" fmla="*/ 0 h 5"/>
                <a:gd name="T2" fmla="*/ 1 w 3"/>
                <a:gd name="T3" fmla="*/ 5 h 5"/>
                <a:gd name="T4" fmla="*/ 3 w 3"/>
                <a:gd name="T5" fmla="*/ 0 h 5"/>
              </a:gdLst>
              <a:ahLst/>
              <a:cxnLst>
                <a:cxn ang="0">
                  <a:pos x="T0" y="T1"/>
                </a:cxn>
                <a:cxn ang="0">
                  <a:pos x="T2" y="T3"/>
                </a:cxn>
                <a:cxn ang="0">
                  <a:pos x="T4" y="T5"/>
                </a:cxn>
              </a:cxnLst>
              <a:rect l="0" t="0" r="r" b="b"/>
              <a:pathLst>
                <a:path w="3" h="5">
                  <a:moveTo>
                    <a:pt x="3" y="0"/>
                  </a:moveTo>
                  <a:cubicBezTo>
                    <a:pt x="1" y="1"/>
                    <a:pt x="0" y="3"/>
                    <a:pt x="1" y="5"/>
                  </a:cubicBezTo>
                  <a:cubicBezTo>
                    <a:pt x="2" y="3"/>
                    <a:pt x="2" y="2"/>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 name="Freeform 1496">
              <a:extLst>
                <a:ext uri="{FF2B5EF4-FFF2-40B4-BE49-F238E27FC236}">
                  <a16:creationId xmlns:a16="http://schemas.microsoft.com/office/drawing/2014/main" id="{E79E172A-6166-449B-B52C-A44448E09A6D}"/>
                </a:ext>
              </a:extLst>
            </p:cNvPr>
            <p:cNvSpPr>
              <a:spLocks/>
            </p:cNvSpPr>
            <p:nvPr/>
          </p:nvSpPr>
          <p:spPr bwMode="auto">
            <a:xfrm>
              <a:off x="42" y="145"/>
              <a:ext cx="4" cy="11"/>
            </a:xfrm>
            <a:custGeom>
              <a:avLst/>
              <a:gdLst>
                <a:gd name="T0" fmla="*/ 2 w 2"/>
                <a:gd name="T1" fmla="*/ 0 h 5"/>
                <a:gd name="T2" fmla="*/ 0 w 2"/>
                <a:gd name="T3" fmla="*/ 4 h 5"/>
                <a:gd name="T4" fmla="*/ 1 w 2"/>
                <a:gd name="T5" fmla="*/ 5 h 5"/>
                <a:gd name="T6" fmla="*/ 1 w 2"/>
                <a:gd name="T7" fmla="*/ 3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cubicBezTo>
                    <a:pt x="1" y="1"/>
                    <a:pt x="0" y="2"/>
                    <a:pt x="0" y="4"/>
                  </a:cubicBezTo>
                  <a:cubicBezTo>
                    <a:pt x="0" y="4"/>
                    <a:pt x="0" y="5"/>
                    <a:pt x="1" y="5"/>
                  </a:cubicBezTo>
                  <a:cubicBezTo>
                    <a:pt x="1" y="4"/>
                    <a:pt x="1" y="3"/>
                    <a:pt x="1" y="3"/>
                  </a:cubicBezTo>
                  <a:cubicBezTo>
                    <a:pt x="2"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 name="Freeform 1497">
              <a:extLst>
                <a:ext uri="{FF2B5EF4-FFF2-40B4-BE49-F238E27FC236}">
                  <a16:creationId xmlns:a16="http://schemas.microsoft.com/office/drawing/2014/main" id="{5044B0CA-BE21-4849-BD62-3B0A7DD5EB22}"/>
                </a:ext>
              </a:extLst>
            </p:cNvPr>
            <p:cNvSpPr>
              <a:spLocks/>
            </p:cNvSpPr>
            <p:nvPr/>
          </p:nvSpPr>
          <p:spPr bwMode="auto">
            <a:xfrm>
              <a:off x="72" y="466"/>
              <a:ext cx="5" cy="9"/>
            </a:xfrm>
            <a:custGeom>
              <a:avLst/>
              <a:gdLst>
                <a:gd name="T0" fmla="*/ 0 w 2"/>
                <a:gd name="T1" fmla="*/ 0 h 4"/>
                <a:gd name="T2" fmla="*/ 0 w 2"/>
                <a:gd name="T3" fmla="*/ 1 h 4"/>
                <a:gd name="T4" fmla="*/ 2 w 2"/>
                <a:gd name="T5" fmla="*/ 4 h 4"/>
                <a:gd name="T6" fmla="*/ 0 w 2"/>
                <a:gd name="T7" fmla="*/ 1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1" y="2"/>
                    <a:pt x="1" y="3"/>
                    <a:pt x="2" y="4"/>
                  </a:cubicBezTo>
                  <a:cubicBezTo>
                    <a:pt x="1" y="3"/>
                    <a:pt x="1" y="2"/>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 name="Freeform 1498">
              <a:extLst>
                <a:ext uri="{FF2B5EF4-FFF2-40B4-BE49-F238E27FC236}">
                  <a16:creationId xmlns:a16="http://schemas.microsoft.com/office/drawing/2014/main" id="{CDFEB38B-F2B7-473C-B570-B96069E40EE8}"/>
                </a:ext>
              </a:extLst>
            </p:cNvPr>
            <p:cNvSpPr>
              <a:spLocks/>
            </p:cNvSpPr>
            <p:nvPr/>
          </p:nvSpPr>
          <p:spPr bwMode="auto">
            <a:xfrm>
              <a:off x="20" y="291"/>
              <a:ext cx="14" cy="24"/>
            </a:xfrm>
            <a:custGeom>
              <a:avLst/>
              <a:gdLst>
                <a:gd name="T0" fmla="*/ 4 w 6"/>
                <a:gd name="T1" fmla="*/ 0 h 10"/>
                <a:gd name="T2" fmla="*/ 0 w 6"/>
                <a:gd name="T3" fmla="*/ 3 h 10"/>
                <a:gd name="T4" fmla="*/ 0 w 6"/>
                <a:gd name="T5" fmla="*/ 7 h 10"/>
                <a:gd name="T6" fmla="*/ 0 w 6"/>
                <a:gd name="T7" fmla="*/ 9 h 10"/>
                <a:gd name="T8" fmla="*/ 3 w 6"/>
                <a:gd name="T9" fmla="*/ 10 h 10"/>
                <a:gd name="T10" fmla="*/ 6 w 6"/>
                <a:gd name="T11" fmla="*/ 2 h 10"/>
                <a:gd name="T12" fmla="*/ 6 w 6"/>
                <a:gd name="T13" fmla="*/ 2 h 10"/>
                <a:gd name="T14" fmla="*/ 4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4" y="0"/>
                  </a:moveTo>
                  <a:cubicBezTo>
                    <a:pt x="2" y="0"/>
                    <a:pt x="0" y="2"/>
                    <a:pt x="0" y="3"/>
                  </a:cubicBezTo>
                  <a:cubicBezTo>
                    <a:pt x="0" y="4"/>
                    <a:pt x="0" y="6"/>
                    <a:pt x="0" y="7"/>
                  </a:cubicBezTo>
                  <a:cubicBezTo>
                    <a:pt x="0" y="8"/>
                    <a:pt x="0" y="9"/>
                    <a:pt x="0" y="9"/>
                  </a:cubicBezTo>
                  <a:cubicBezTo>
                    <a:pt x="1" y="10"/>
                    <a:pt x="2" y="10"/>
                    <a:pt x="3" y="10"/>
                  </a:cubicBezTo>
                  <a:cubicBezTo>
                    <a:pt x="5" y="10"/>
                    <a:pt x="6" y="5"/>
                    <a:pt x="6" y="2"/>
                  </a:cubicBezTo>
                  <a:cubicBezTo>
                    <a:pt x="6" y="2"/>
                    <a:pt x="6" y="2"/>
                    <a:pt x="6" y="2"/>
                  </a:cubicBezTo>
                  <a:cubicBezTo>
                    <a:pt x="5" y="0"/>
                    <a:pt x="5"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1" name="Freeform 1499">
              <a:extLst>
                <a:ext uri="{FF2B5EF4-FFF2-40B4-BE49-F238E27FC236}">
                  <a16:creationId xmlns:a16="http://schemas.microsoft.com/office/drawing/2014/main" id="{01382A22-CBFB-46E9-8C96-667460663FB4}"/>
                </a:ext>
              </a:extLst>
            </p:cNvPr>
            <p:cNvSpPr>
              <a:spLocks/>
            </p:cNvSpPr>
            <p:nvPr/>
          </p:nvSpPr>
          <p:spPr bwMode="auto">
            <a:xfrm>
              <a:off x="82" y="490"/>
              <a:ext cx="14" cy="9"/>
            </a:xfrm>
            <a:custGeom>
              <a:avLst/>
              <a:gdLst>
                <a:gd name="T0" fmla="*/ 4 w 6"/>
                <a:gd name="T1" fmla="*/ 0 h 4"/>
                <a:gd name="T2" fmla="*/ 5 w 6"/>
                <a:gd name="T3" fmla="*/ 4 h 4"/>
                <a:gd name="T4" fmla="*/ 6 w 6"/>
                <a:gd name="T5" fmla="*/ 4 h 4"/>
                <a:gd name="T6" fmla="*/ 4 w 6"/>
                <a:gd name="T7" fmla="*/ 0 h 4"/>
              </a:gdLst>
              <a:ahLst/>
              <a:cxnLst>
                <a:cxn ang="0">
                  <a:pos x="T0" y="T1"/>
                </a:cxn>
                <a:cxn ang="0">
                  <a:pos x="T2" y="T3"/>
                </a:cxn>
                <a:cxn ang="0">
                  <a:pos x="T4" y="T5"/>
                </a:cxn>
                <a:cxn ang="0">
                  <a:pos x="T6" y="T7"/>
                </a:cxn>
              </a:cxnLst>
              <a:rect l="0" t="0" r="r" b="b"/>
              <a:pathLst>
                <a:path w="6" h="4">
                  <a:moveTo>
                    <a:pt x="4" y="0"/>
                  </a:moveTo>
                  <a:cubicBezTo>
                    <a:pt x="0" y="1"/>
                    <a:pt x="2" y="4"/>
                    <a:pt x="5" y="4"/>
                  </a:cubicBezTo>
                  <a:cubicBezTo>
                    <a:pt x="5" y="4"/>
                    <a:pt x="5" y="4"/>
                    <a:pt x="6" y="4"/>
                  </a:cubicBezTo>
                  <a:cubicBezTo>
                    <a:pt x="5" y="2"/>
                    <a:pt x="5"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2" name="Freeform 1500">
              <a:extLst>
                <a:ext uri="{FF2B5EF4-FFF2-40B4-BE49-F238E27FC236}">
                  <a16:creationId xmlns:a16="http://schemas.microsoft.com/office/drawing/2014/main" id="{40A88444-0BB4-4731-BCD3-796A5A2ACD82}"/>
                </a:ext>
              </a:extLst>
            </p:cNvPr>
            <p:cNvSpPr>
              <a:spLocks noEditPoints="1"/>
            </p:cNvSpPr>
            <p:nvPr/>
          </p:nvSpPr>
          <p:spPr bwMode="auto">
            <a:xfrm>
              <a:off x="49" y="102"/>
              <a:ext cx="21" cy="90"/>
            </a:xfrm>
            <a:custGeom>
              <a:avLst/>
              <a:gdLst>
                <a:gd name="T0" fmla="*/ 6 w 9"/>
                <a:gd name="T1" fmla="*/ 7 h 38"/>
                <a:gd name="T2" fmla="*/ 6 w 9"/>
                <a:gd name="T3" fmla="*/ 7 h 38"/>
                <a:gd name="T4" fmla="*/ 6 w 9"/>
                <a:gd name="T5" fmla="*/ 7 h 38"/>
                <a:gd name="T6" fmla="*/ 8 w 9"/>
                <a:gd name="T7" fmla="*/ 0 h 38"/>
                <a:gd name="T8" fmla="*/ 3 w 9"/>
                <a:gd name="T9" fmla="*/ 17 h 38"/>
                <a:gd name="T10" fmla="*/ 1 w 9"/>
                <a:gd name="T11" fmla="*/ 20 h 38"/>
                <a:gd name="T12" fmla="*/ 2 w 9"/>
                <a:gd name="T13" fmla="*/ 20 h 38"/>
                <a:gd name="T14" fmla="*/ 0 w 9"/>
                <a:gd name="T15" fmla="*/ 30 h 38"/>
                <a:gd name="T16" fmla="*/ 0 w 9"/>
                <a:gd name="T17" fmla="*/ 38 h 38"/>
                <a:gd name="T18" fmla="*/ 1 w 9"/>
                <a:gd name="T19" fmla="*/ 38 h 38"/>
                <a:gd name="T20" fmla="*/ 1 w 9"/>
                <a:gd name="T21" fmla="*/ 38 h 38"/>
                <a:gd name="T22" fmla="*/ 2 w 9"/>
                <a:gd name="T23" fmla="*/ 37 h 38"/>
                <a:gd name="T24" fmla="*/ 6 w 9"/>
                <a:gd name="T25" fmla="*/ 31 h 38"/>
                <a:gd name="T26" fmla="*/ 5 w 9"/>
                <a:gd name="T27" fmla="*/ 25 h 38"/>
                <a:gd name="T28" fmla="*/ 3 w 9"/>
                <a:gd name="T29" fmla="*/ 20 h 38"/>
                <a:gd name="T30" fmla="*/ 3 w 9"/>
                <a:gd name="T31" fmla="*/ 20 h 38"/>
                <a:gd name="T32" fmla="*/ 5 w 9"/>
                <a:gd name="T33" fmla="*/ 15 h 38"/>
                <a:gd name="T34" fmla="*/ 8 w 9"/>
                <a:gd name="T35" fmla="*/ 13 h 38"/>
                <a:gd name="T36" fmla="*/ 9 w 9"/>
                <a:gd name="T37" fmla="*/ 10 h 38"/>
                <a:gd name="T38" fmla="*/ 8 w 9"/>
                <a:gd name="T39" fmla="*/ 8 h 38"/>
                <a:gd name="T40" fmla="*/ 6 w 9"/>
                <a:gd name="T41" fmla="*/ 7 h 38"/>
                <a:gd name="T42" fmla="*/ 7 w 9"/>
                <a:gd name="T43" fmla="*/ 7 h 38"/>
                <a:gd name="T44" fmla="*/ 8 w 9"/>
                <a:gd name="T45" fmla="*/ 6 h 38"/>
                <a:gd name="T46" fmla="*/ 9 w 9"/>
                <a:gd name="T47" fmla="*/ 5 h 38"/>
                <a:gd name="T48" fmla="*/ 9 w 9"/>
                <a:gd name="T49" fmla="*/ 5 h 38"/>
                <a:gd name="T50" fmla="*/ 8 w 9"/>
                <a:gd name="T5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38">
                  <a:moveTo>
                    <a:pt x="6" y="7"/>
                  </a:moveTo>
                  <a:cubicBezTo>
                    <a:pt x="6" y="7"/>
                    <a:pt x="6" y="7"/>
                    <a:pt x="6" y="7"/>
                  </a:cubicBezTo>
                  <a:cubicBezTo>
                    <a:pt x="6" y="7"/>
                    <a:pt x="6" y="7"/>
                    <a:pt x="6" y="7"/>
                  </a:cubicBezTo>
                  <a:moveTo>
                    <a:pt x="8" y="0"/>
                  </a:moveTo>
                  <a:cubicBezTo>
                    <a:pt x="6" y="6"/>
                    <a:pt x="4" y="11"/>
                    <a:pt x="3" y="17"/>
                  </a:cubicBezTo>
                  <a:cubicBezTo>
                    <a:pt x="2" y="18"/>
                    <a:pt x="2" y="19"/>
                    <a:pt x="1" y="20"/>
                  </a:cubicBezTo>
                  <a:cubicBezTo>
                    <a:pt x="2" y="20"/>
                    <a:pt x="2" y="20"/>
                    <a:pt x="2" y="20"/>
                  </a:cubicBezTo>
                  <a:cubicBezTo>
                    <a:pt x="1" y="21"/>
                    <a:pt x="0" y="26"/>
                    <a:pt x="0" y="30"/>
                  </a:cubicBezTo>
                  <a:cubicBezTo>
                    <a:pt x="0" y="33"/>
                    <a:pt x="0" y="36"/>
                    <a:pt x="0" y="38"/>
                  </a:cubicBezTo>
                  <a:cubicBezTo>
                    <a:pt x="1" y="38"/>
                    <a:pt x="1" y="38"/>
                    <a:pt x="1" y="38"/>
                  </a:cubicBezTo>
                  <a:cubicBezTo>
                    <a:pt x="1" y="38"/>
                    <a:pt x="1" y="38"/>
                    <a:pt x="1" y="38"/>
                  </a:cubicBezTo>
                  <a:cubicBezTo>
                    <a:pt x="2" y="37"/>
                    <a:pt x="2" y="37"/>
                    <a:pt x="2" y="37"/>
                  </a:cubicBezTo>
                  <a:cubicBezTo>
                    <a:pt x="4" y="37"/>
                    <a:pt x="6" y="34"/>
                    <a:pt x="6" y="31"/>
                  </a:cubicBezTo>
                  <a:cubicBezTo>
                    <a:pt x="7" y="30"/>
                    <a:pt x="6" y="27"/>
                    <a:pt x="5" y="25"/>
                  </a:cubicBezTo>
                  <a:cubicBezTo>
                    <a:pt x="5" y="23"/>
                    <a:pt x="4" y="22"/>
                    <a:pt x="3" y="20"/>
                  </a:cubicBezTo>
                  <a:cubicBezTo>
                    <a:pt x="3" y="20"/>
                    <a:pt x="3" y="20"/>
                    <a:pt x="3" y="20"/>
                  </a:cubicBezTo>
                  <a:cubicBezTo>
                    <a:pt x="5" y="19"/>
                    <a:pt x="4" y="16"/>
                    <a:pt x="5" y="15"/>
                  </a:cubicBezTo>
                  <a:cubicBezTo>
                    <a:pt x="6" y="14"/>
                    <a:pt x="7" y="15"/>
                    <a:pt x="8" y="13"/>
                  </a:cubicBezTo>
                  <a:cubicBezTo>
                    <a:pt x="9" y="12"/>
                    <a:pt x="9" y="11"/>
                    <a:pt x="9" y="10"/>
                  </a:cubicBezTo>
                  <a:cubicBezTo>
                    <a:pt x="8" y="10"/>
                    <a:pt x="8" y="9"/>
                    <a:pt x="8" y="8"/>
                  </a:cubicBezTo>
                  <a:cubicBezTo>
                    <a:pt x="8" y="7"/>
                    <a:pt x="6" y="8"/>
                    <a:pt x="6" y="7"/>
                  </a:cubicBezTo>
                  <a:cubicBezTo>
                    <a:pt x="6" y="7"/>
                    <a:pt x="6" y="7"/>
                    <a:pt x="7" y="7"/>
                  </a:cubicBezTo>
                  <a:cubicBezTo>
                    <a:pt x="7" y="7"/>
                    <a:pt x="7" y="6"/>
                    <a:pt x="8" y="6"/>
                  </a:cubicBezTo>
                  <a:cubicBezTo>
                    <a:pt x="8" y="5"/>
                    <a:pt x="8" y="5"/>
                    <a:pt x="9" y="5"/>
                  </a:cubicBezTo>
                  <a:cubicBezTo>
                    <a:pt x="9" y="5"/>
                    <a:pt x="9" y="5"/>
                    <a:pt x="9" y="5"/>
                  </a:cubicBezTo>
                  <a:cubicBezTo>
                    <a:pt x="9" y="4"/>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3" name="Freeform 1501">
              <a:extLst>
                <a:ext uri="{FF2B5EF4-FFF2-40B4-BE49-F238E27FC236}">
                  <a16:creationId xmlns:a16="http://schemas.microsoft.com/office/drawing/2014/main" id="{5E7883AB-2731-45AE-B140-B08451B4FC03}"/>
                </a:ext>
              </a:extLst>
            </p:cNvPr>
            <p:cNvSpPr>
              <a:spLocks/>
            </p:cNvSpPr>
            <p:nvPr/>
          </p:nvSpPr>
          <p:spPr bwMode="auto">
            <a:xfrm>
              <a:off x="30" y="189"/>
              <a:ext cx="26" cy="57"/>
            </a:xfrm>
            <a:custGeom>
              <a:avLst/>
              <a:gdLst>
                <a:gd name="T0" fmla="*/ 10 w 11"/>
                <a:gd name="T1" fmla="*/ 0 h 24"/>
                <a:gd name="T2" fmla="*/ 9 w 11"/>
                <a:gd name="T3" fmla="*/ 1 h 24"/>
                <a:gd name="T4" fmla="*/ 9 w 11"/>
                <a:gd name="T5" fmla="*/ 1 h 24"/>
                <a:gd name="T6" fmla="*/ 8 w 11"/>
                <a:gd name="T7" fmla="*/ 5 h 24"/>
                <a:gd name="T8" fmla="*/ 8 w 11"/>
                <a:gd name="T9" fmla="*/ 5 h 24"/>
                <a:gd name="T10" fmla="*/ 6 w 11"/>
                <a:gd name="T11" fmla="*/ 4 h 24"/>
                <a:gd name="T12" fmla="*/ 4 w 11"/>
                <a:gd name="T13" fmla="*/ 6 h 24"/>
                <a:gd name="T14" fmla="*/ 4 w 11"/>
                <a:gd name="T15" fmla="*/ 9 h 24"/>
                <a:gd name="T16" fmla="*/ 3 w 11"/>
                <a:gd name="T17" fmla="*/ 13 h 24"/>
                <a:gd name="T18" fmla="*/ 2 w 11"/>
                <a:gd name="T19" fmla="*/ 12 h 24"/>
                <a:gd name="T20" fmla="*/ 1 w 11"/>
                <a:gd name="T21" fmla="*/ 13 h 24"/>
                <a:gd name="T22" fmla="*/ 3 w 11"/>
                <a:gd name="T23" fmla="*/ 19 h 24"/>
                <a:gd name="T24" fmla="*/ 4 w 11"/>
                <a:gd name="T25" fmla="*/ 20 h 24"/>
                <a:gd name="T26" fmla="*/ 6 w 11"/>
                <a:gd name="T27" fmla="*/ 24 h 24"/>
                <a:gd name="T28" fmla="*/ 7 w 11"/>
                <a:gd name="T29" fmla="*/ 17 h 24"/>
                <a:gd name="T30" fmla="*/ 8 w 11"/>
                <a:gd name="T31" fmla="*/ 8 h 24"/>
                <a:gd name="T32" fmla="*/ 10 w 11"/>
                <a:gd name="T33" fmla="*/ 2 h 24"/>
                <a:gd name="T34" fmla="*/ 11 w 11"/>
                <a:gd name="T35" fmla="*/ 1 h 24"/>
                <a:gd name="T36" fmla="*/ 10 w 11"/>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4">
                  <a:moveTo>
                    <a:pt x="10" y="0"/>
                  </a:moveTo>
                  <a:cubicBezTo>
                    <a:pt x="9" y="1"/>
                    <a:pt x="9" y="1"/>
                    <a:pt x="9" y="1"/>
                  </a:cubicBezTo>
                  <a:cubicBezTo>
                    <a:pt x="9" y="1"/>
                    <a:pt x="9" y="1"/>
                    <a:pt x="9" y="1"/>
                  </a:cubicBezTo>
                  <a:cubicBezTo>
                    <a:pt x="8" y="1"/>
                    <a:pt x="8" y="3"/>
                    <a:pt x="8" y="5"/>
                  </a:cubicBezTo>
                  <a:cubicBezTo>
                    <a:pt x="8" y="5"/>
                    <a:pt x="8" y="5"/>
                    <a:pt x="8" y="5"/>
                  </a:cubicBezTo>
                  <a:cubicBezTo>
                    <a:pt x="7" y="4"/>
                    <a:pt x="7" y="4"/>
                    <a:pt x="6" y="4"/>
                  </a:cubicBezTo>
                  <a:cubicBezTo>
                    <a:pt x="5" y="4"/>
                    <a:pt x="4" y="5"/>
                    <a:pt x="4" y="6"/>
                  </a:cubicBezTo>
                  <a:cubicBezTo>
                    <a:pt x="4" y="7"/>
                    <a:pt x="4" y="8"/>
                    <a:pt x="4" y="9"/>
                  </a:cubicBezTo>
                  <a:cubicBezTo>
                    <a:pt x="4" y="10"/>
                    <a:pt x="4" y="12"/>
                    <a:pt x="3" y="13"/>
                  </a:cubicBezTo>
                  <a:cubicBezTo>
                    <a:pt x="3" y="12"/>
                    <a:pt x="3" y="12"/>
                    <a:pt x="2" y="12"/>
                  </a:cubicBezTo>
                  <a:cubicBezTo>
                    <a:pt x="2" y="12"/>
                    <a:pt x="1" y="12"/>
                    <a:pt x="1" y="13"/>
                  </a:cubicBezTo>
                  <a:cubicBezTo>
                    <a:pt x="0" y="16"/>
                    <a:pt x="3" y="18"/>
                    <a:pt x="3" y="19"/>
                  </a:cubicBezTo>
                  <a:cubicBezTo>
                    <a:pt x="4" y="19"/>
                    <a:pt x="4" y="20"/>
                    <a:pt x="4" y="20"/>
                  </a:cubicBezTo>
                  <a:cubicBezTo>
                    <a:pt x="4" y="22"/>
                    <a:pt x="5" y="23"/>
                    <a:pt x="6" y="24"/>
                  </a:cubicBezTo>
                  <a:cubicBezTo>
                    <a:pt x="7" y="22"/>
                    <a:pt x="7" y="19"/>
                    <a:pt x="7" y="17"/>
                  </a:cubicBezTo>
                  <a:cubicBezTo>
                    <a:pt x="7" y="14"/>
                    <a:pt x="7" y="11"/>
                    <a:pt x="8" y="8"/>
                  </a:cubicBezTo>
                  <a:cubicBezTo>
                    <a:pt x="9" y="6"/>
                    <a:pt x="9" y="4"/>
                    <a:pt x="10" y="2"/>
                  </a:cubicBezTo>
                  <a:cubicBezTo>
                    <a:pt x="11" y="2"/>
                    <a:pt x="11" y="1"/>
                    <a:pt x="11" y="1"/>
                  </a:cubicBez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4" name="Freeform 1502">
              <a:extLst>
                <a:ext uri="{FF2B5EF4-FFF2-40B4-BE49-F238E27FC236}">
                  <a16:creationId xmlns:a16="http://schemas.microsoft.com/office/drawing/2014/main" id="{6A23F688-FBFB-4A41-BB32-D05B2F5AFE41}"/>
                </a:ext>
              </a:extLst>
            </p:cNvPr>
            <p:cNvSpPr>
              <a:spLocks/>
            </p:cNvSpPr>
            <p:nvPr/>
          </p:nvSpPr>
          <p:spPr bwMode="auto">
            <a:xfrm>
              <a:off x="39" y="246"/>
              <a:ext cx="7" cy="12"/>
            </a:xfrm>
            <a:custGeom>
              <a:avLst/>
              <a:gdLst>
                <a:gd name="T0" fmla="*/ 1 w 3"/>
                <a:gd name="T1" fmla="*/ 0 h 5"/>
                <a:gd name="T2" fmla="*/ 0 w 3"/>
                <a:gd name="T3" fmla="*/ 5 h 5"/>
                <a:gd name="T4" fmla="*/ 1 w 3"/>
                <a:gd name="T5" fmla="*/ 0 h 5"/>
              </a:gdLst>
              <a:ahLst/>
              <a:cxnLst>
                <a:cxn ang="0">
                  <a:pos x="T0" y="T1"/>
                </a:cxn>
                <a:cxn ang="0">
                  <a:pos x="T2" y="T3"/>
                </a:cxn>
                <a:cxn ang="0">
                  <a:pos x="T4" y="T5"/>
                </a:cxn>
              </a:cxnLst>
              <a:rect l="0" t="0" r="r" b="b"/>
              <a:pathLst>
                <a:path w="3" h="5">
                  <a:moveTo>
                    <a:pt x="1" y="0"/>
                  </a:moveTo>
                  <a:cubicBezTo>
                    <a:pt x="0" y="2"/>
                    <a:pt x="0" y="3"/>
                    <a:pt x="0" y="5"/>
                  </a:cubicBezTo>
                  <a:cubicBezTo>
                    <a:pt x="1" y="3"/>
                    <a:pt x="3" y="1"/>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5" name="Freeform 1503">
              <a:extLst>
                <a:ext uri="{FF2B5EF4-FFF2-40B4-BE49-F238E27FC236}">
                  <a16:creationId xmlns:a16="http://schemas.microsoft.com/office/drawing/2014/main" id="{B0A0D087-AD98-40B1-8CA7-D7A08452A60D}"/>
                </a:ext>
              </a:extLst>
            </p:cNvPr>
            <p:cNvSpPr>
              <a:spLocks/>
            </p:cNvSpPr>
            <p:nvPr/>
          </p:nvSpPr>
          <p:spPr bwMode="auto">
            <a:xfrm>
              <a:off x="44" y="405"/>
              <a:ext cx="7" cy="7"/>
            </a:xfrm>
            <a:custGeom>
              <a:avLst/>
              <a:gdLst>
                <a:gd name="T0" fmla="*/ 3 w 3"/>
                <a:gd name="T1" fmla="*/ 0 h 3"/>
                <a:gd name="T2" fmla="*/ 1 w 3"/>
                <a:gd name="T3" fmla="*/ 3 h 3"/>
                <a:gd name="T4" fmla="*/ 3 w 3"/>
                <a:gd name="T5" fmla="*/ 0 h 3"/>
              </a:gdLst>
              <a:ahLst/>
              <a:cxnLst>
                <a:cxn ang="0">
                  <a:pos x="T0" y="T1"/>
                </a:cxn>
                <a:cxn ang="0">
                  <a:pos x="T2" y="T3"/>
                </a:cxn>
                <a:cxn ang="0">
                  <a:pos x="T4" y="T5"/>
                </a:cxn>
              </a:cxnLst>
              <a:rect l="0" t="0" r="r" b="b"/>
              <a:pathLst>
                <a:path w="3" h="3">
                  <a:moveTo>
                    <a:pt x="3" y="0"/>
                  </a:moveTo>
                  <a:cubicBezTo>
                    <a:pt x="1" y="0"/>
                    <a:pt x="0" y="1"/>
                    <a:pt x="1" y="3"/>
                  </a:cubicBezTo>
                  <a:cubicBezTo>
                    <a:pt x="1" y="2"/>
                    <a:pt x="2"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6" name="Freeform 1504">
              <a:extLst>
                <a:ext uri="{FF2B5EF4-FFF2-40B4-BE49-F238E27FC236}">
                  <a16:creationId xmlns:a16="http://schemas.microsoft.com/office/drawing/2014/main" id="{7A05F566-E13D-477D-853F-AA2AB497B001}"/>
                </a:ext>
              </a:extLst>
            </p:cNvPr>
            <p:cNvSpPr>
              <a:spLocks/>
            </p:cNvSpPr>
            <p:nvPr/>
          </p:nvSpPr>
          <p:spPr bwMode="auto">
            <a:xfrm>
              <a:off x="105" y="544"/>
              <a:ext cx="19" cy="31"/>
            </a:xfrm>
            <a:custGeom>
              <a:avLst/>
              <a:gdLst>
                <a:gd name="T0" fmla="*/ 5 w 8"/>
                <a:gd name="T1" fmla="*/ 0 h 13"/>
                <a:gd name="T2" fmla="*/ 2 w 8"/>
                <a:gd name="T3" fmla="*/ 5 h 13"/>
                <a:gd name="T4" fmla="*/ 3 w 8"/>
                <a:gd name="T5" fmla="*/ 7 h 13"/>
                <a:gd name="T6" fmla="*/ 5 w 8"/>
                <a:gd name="T7" fmla="*/ 10 h 13"/>
                <a:gd name="T8" fmla="*/ 6 w 8"/>
                <a:gd name="T9" fmla="*/ 13 h 13"/>
                <a:gd name="T10" fmla="*/ 8 w 8"/>
                <a:gd name="T11" fmla="*/ 3 h 13"/>
                <a:gd name="T12" fmla="*/ 8 w 8"/>
                <a:gd name="T13" fmla="*/ 1 h 13"/>
                <a:gd name="T14" fmla="*/ 5 w 8"/>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3">
                  <a:moveTo>
                    <a:pt x="5" y="0"/>
                  </a:moveTo>
                  <a:cubicBezTo>
                    <a:pt x="3" y="0"/>
                    <a:pt x="0" y="2"/>
                    <a:pt x="2" y="5"/>
                  </a:cubicBezTo>
                  <a:cubicBezTo>
                    <a:pt x="2" y="6"/>
                    <a:pt x="3" y="7"/>
                    <a:pt x="3" y="7"/>
                  </a:cubicBezTo>
                  <a:cubicBezTo>
                    <a:pt x="4" y="8"/>
                    <a:pt x="5" y="9"/>
                    <a:pt x="5" y="10"/>
                  </a:cubicBezTo>
                  <a:cubicBezTo>
                    <a:pt x="6" y="11"/>
                    <a:pt x="6" y="12"/>
                    <a:pt x="6" y="13"/>
                  </a:cubicBezTo>
                  <a:cubicBezTo>
                    <a:pt x="7" y="10"/>
                    <a:pt x="7" y="6"/>
                    <a:pt x="8" y="3"/>
                  </a:cubicBezTo>
                  <a:cubicBezTo>
                    <a:pt x="8" y="2"/>
                    <a:pt x="8" y="1"/>
                    <a:pt x="8" y="1"/>
                  </a:cubicBezTo>
                  <a:cubicBezTo>
                    <a:pt x="7" y="0"/>
                    <a:pt x="6"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7" name="Freeform 1505">
              <a:extLst>
                <a:ext uri="{FF2B5EF4-FFF2-40B4-BE49-F238E27FC236}">
                  <a16:creationId xmlns:a16="http://schemas.microsoft.com/office/drawing/2014/main" id="{D3CD35CA-2C3F-4BCD-ACEF-CDD6FF78B4FE}"/>
                </a:ext>
              </a:extLst>
            </p:cNvPr>
            <p:cNvSpPr>
              <a:spLocks/>
            </p:cNvSpPr>
            <p:nvPr/>
          </p:nvSpPr>
          <p:spPr bwMode="auto">
            <a:xfrm>
              <a:off x="2778" y="1844"/>
              <a:ext cx="7" cy="5"/>
            </a:xfrm>
            <a:custGeom>
              <a:avLst/>
              <a:gdLst>
                <a:gd name="T0" fmla="*/ 3 w 3"/>
                <a:gd name="T1" fmla="*/ 0 h 2"/>
                <a:gd name="T2" fmla="*/ 2 w 3"/>
                <a:gd name="T3" fmla="*/ 0 h 2"/>
                <a:gd name="T4" fmla="*/ 0 w 3"/>
                <a:gd name="T5" fmla="*/ 2 h 2"/>
                <a:gd name="T6" fmla="*/ 0 w 3"/>
                <a:gd name="T7" fmla="*/ 1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cubicBezTo>
                    <a:pt x="2" y="0"/>
                    <a:pt x="2" y="0"/>
                    <a:pt x="2" y="0"/>
                  </a:cubicBezTo>
                  <a:cubicBezTo>
                    <a:pt x="1" y="1"/>
                    <a:pt x="1" y="1"/>
                    <a:pt x="0" y="2"/>
                  </a:cubicBezTo>
                  <a:cubicBezTo>
                    <a:pt x="0" y="1"/>
                    <a:pt x="0" y="1"/>
                    <a:pt x="0" y="1"/>
                  </a:cubicBezTo>
                  <a:cubicBezTo>
                    <a:pt x="1" y="1"/>
                    <a:pt x="2"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8" name="Freeform 1506">
              <a:extLst>
                <a:ext uri="{FF2B5EF4-FFF2-40B4-BE49-F238E27FC236}">
                  <a16:creationId xmlns:a16="http://schemas.microsoft.com/office/drawing/2014/main" id="{9560F357-F646-48B4-A68E-EDB9E9E14903}"/>
                </a:ext>
              </a:extLst>
            </p:cNvPr>
            <p:cNvSpPr>
              <a:spLocks/>
            </p:cNvSpPr>
            <p:nvPr/>
          </p:nvSpPr>
          <p:spPr bwMode="auto">
            <a:xfrm>
              <a:off x="2270" y="2038"/>
              <a:ext cx="5" cy="14"/>
            </a:xfrm>
            <a:custGeom>
              <a:avLst/>
              <a:gdLst>
                <a:gd name="T0" fmla="*/ 1 w 2"/>
                <a:gd name="T1" fmla="*/ 0 h 6"/>
                <a:gd name="T2" fmla="*/ 0 w 2"/>
                <a:gd name="T3" fmla="*/ 6 h 6"/>
                <a:gd name="T4" fmla="*/ 1 w 2"/>
                <a:gd name="T5" fmla="*/ 3 h 6"/>
                <a:gd name="T6" fmla="*/ 1 w 2"/>
                <a:gd name="T7" fmla="*/ 3 h 6"/>
                <a:gd name="T8" fmla="*/ 2 w 2"/>
                <a:gd name="T9" fmla="*/ 1 h 6"/>
                <a:gd name="T10" fmla="*/ 2 w 2"/>
                <a:gd name="T11" fmla="*/ 1 h 6"/>
                <a:gd name="T12" fmla="*/ 1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1" y="0"/>
                  </a:moveTo>
                  <a:cubicBezTo>
                    <a:pt x="0" y="2"/>
                    <a:pt x="0" y="4"/>
                    <a:pt x="0" y="6"/>
                  </a:cubicBezTo>
                  <a:cubicBezTo>
                    <a:pt x="0" y="5"/>
                    <a:pt x="1" y="4"/>
                    <a:pt x="1" y="3"/>
                  </a:cubicBezTo>
                  <a:cubicBezTo>
                    <a:pt x="1" y="3"/>
                    <a:pt x="1" y="3"/>
                    <a:pt x="1" y="3"/>
                  </a:cubicBezTo>
                  <a:cubicBezTo>
                    <a:pt x="1" y="3"/>
                    <a:pt x="2" y="2"/>
                    <a:pt x="2" y="1"/>
                  </a:cubicBezTo>
                  <a:cubicBezTo>
                    <a:pt x="2" y="1"/>
                    <a:pt x="2" y="1"/>
                    <a:pt x="2" y="1"/>
                  </a:cubicBezTo>
                  <a:cubicBezTo>
                    <a:pt x="1"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9" name="Freeform 1507">
              <a:extLst>
                <a:ext uri="{FF2B5EF4-FFF2-40B4-BE49-F238E27FC236}">
                  <a16:creationId xmlns:a16="http://schemas.microsoft.com/office/drawing/2014/main" id="{319CD2E0-C1E9-47A3-B9F6-EFB8C9A5639B}"/>
                </a:ext>
              </a:extLst>
            </p:cNvPr>
            <p:cNvSpPr>
              <a:spLocks/>
            </p:cNvSpPr>
            <p:nvPr/>
          </p:nvSpPr>
          <p:spPr bwMode="auto">
            <a:xfrm>
              <a:off x="2227" y="2097"/>
              <a:ext cx="5" cy="12"/>
            </a:xfrm>
            <a:custGeom>
              <a:avLst/>
              <a:gdLst>
                <a:gd name="T0" fmla="*/ 1 w 2"/>
                <a:gd name="T1" fmla="*/ 0 h 5"/>
                <a:gd name="T2" fmla="*/ 0 w 2"/>
                <a:gd name="T3" fmla="*/ 5 h 5"/>
                <a:gd name="T4" fmla="*/ 1 w 2"/>
                <a:gd name="T5" fmla="*/ 4 h 5"/>
                <a:gd name="T6" fmla="*/ 2 w 2"/>
                <a:gd name="T7" fmla="*/ 4 h 5"/>
                <a:gd name="T8" fmla="*/ 2 w 2"/>
                <a:gd name="T9" fmla="*/ 3 h 5"/>
                <a:gd name="T10" fmla="*/ 2 w 2"/>
                <a:gd name="T11" fmla="*/ 3 h 5"/>
                <a:gd name="T12" fmla="*/ 2 w 2"/>
                <a:gd name="T13" fmla="*/ 1 h 5"/>
                <a:gd name="T14" fmla="*/ 2 w 2"/>
                <a:gd name="T15" fmla="*/ 1 h 5"/>
                <a:gd name="T16" fmla="*/ 1 w 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1" y="0"/>
                  </a:moveTo>
                  <a:cubicBezTo>
                    <a:pt x="1" y="2"/>
                    <a:pt x="0" y="3"/>
                    <a:pt x="0" y="5"/>
                  </a:cubicBezTo>
                  <a:cubicBezTo>
                    <a:pt x="0" y="4"/>
                    <a:pt x="1" y="4"/>
                    <a:pt x="1" y="4"/>
                  </a:cubicBezTo>
                  <a:cubicBezTo>
                    <a:pt x="2" y="4"/>
                    <a:pt x="2" y="4"/>
                    <a:pt x="2" y="4"/>
                  </a:cubicBezTo>
                  <a:cubicBezTo>
                    <a:pt x="2" y="3"/>
                    <a:pt x="2" y="3"/>
                    <a:pt x="2" y="3"/>
                  </a:cubicBezTo>
                  <a:cubicBezTo>
                    <a:pt x="2" y="3"/>
                    <a:pt x="2" y="3"/>
                    <a:pt x="2" y="3"/>
                  </a:cubicBezTo>
                  <a:cubicBezTo>
                    <a:pt x="2" y="2"/>
                    <a:pt x="2" y="2"/>
                    <a:pt x="2" y="1"/>
                  </a:cubicBezTo>
                  <a:cubicBezTo>
                    <a:pt x="2" y="1"/>
                    <a:pt x="2" y="1"/>
                    <a:pt x="2" y="1"/>
                  </a:cubicBezTo>
                  <a:cubicBezTo>
                    <a:pt x="2" y="1"/>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0" name="Freeform 1508">
              <a:extLst>
                <a:ext uri="{FF2B5EF4-FFF2-40B4-BE49-F238E27FC236}">
                  <a16:creationId xmlns:a16="http://schemas.microsoft.com/office/drawing/2014/main" id="{57457525-CF82-4B9A-9E3B-5FE68191D3A5}"/>
                </a:ext>
              </a:extLst>
            </p:cNvPr>
            <p:cNvSpPr>
              <a:spLocks/>
            </p:cNvSpPr>
            <p:nvPr/>
          </p:nvSpPr>
          <p:spPr bwMode="auto">
            <a:xfrm>
              <a:off x="1757" y="752"/>
              <a:ext cx="17" cy="9"/>
            </a:xfrm>
            <a:custGeom>
              <a:avLst/>
              <a:gdLst>
                <a:gd name="T0" fmla="*/ 7 w 7"/>
                <a:gd name="T1" fmla="*/ 0 h 4"/>
                <a:gd name="T2" fmla="*/ 0 w 7"/>
                <a:gd name="T3" fmla="*/ 1 h 4"/>
                <a:gd name="T4" fmla="*/ 4 w 7"/>
                <a:gd name="T5" fmla="*/ 4 h 4"/>
                <a:gd name="T6" fmla="*/ 5 w 7"/>
                <a:gd name="T7" fmla="*/ 4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cubicBezTo>
                    <a:pt x="5" y="0"/>
                    <a:pt x="3" y="0"/>
                    <a:pt x="0" y="1"/>
                  </a:cubicBezTo>
                  <a:cubicBezTo>
                    <a:pt x="2" y="2"/>
                    <a:pt x="3" y="3"/>
                    <a:pt x="4" y="4"/>
                  </a:cubicBezTo>
                  <a:cubicBezTo>
                    <a:pt x="5" y="4"/>
                    <a:pt x="5" y="4"/>
                    <a:pt x="5" y="4"/>
                  </a:cubicBezTo>
                  <a:cubicBezTo>
                    <a:pt x="6" y="4"/>
                    <a:pt x="6" y="2"/>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1" name="Freeform 1509">
              <a:extLst>
                <a:ext uri="{FF2B5EF4-FFF2-40B4-BE49-F238E27FC236}">
                  <a16:creationId xmlns:a16="http://schemas.microsoft.com/office/drawing/2014/main" id="{A3D26EA4-680A-43CC-AC79-087E4EA90D43}"/>
                </a:ext>
              </a:extLst>
            </p:cNvPr>
            <p:cNvSpPr>
              <a:spLocks/>
            </p:cNvSpPr>
            <p:nvPr/>
          </p:nvSpPr>
          <p:spPr bwMode="auto">
            <a:xfrm>
              <a:off x="1764" y="795"/>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3"/>
                    <a:pt x="3" y="3"/>
                  </a:cubicBezTo>
                  <a:cubicBezTo>
                    <a:pt x="3" y="2"/>
                    <a:pt x="1"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2" name="Freeform 1510">
              <a:extLst>
                <a:ext uri="{FF2B5EF4-FFF2-40B4-BE49-F238E27FC236}">
                  <a16:creationId xmlns:a16="http://schemas.microsoft.com/office/drawing/2014/main" id="{5D4C4C96-669B-416A-82A8-43DF9C8DA0F1}"/>
                </a:ext>
              </a:extLst>
            </p:cNvPr>
            <p:cNvSpPr>
              <a:spLocks/>
            </p:cNvSpPr>
            <p:nvPr/>
          </p:nvSpPr>
          <p:spPr bwMode="auto">
            <a:xfrm>
              <a:off x="1748" y="804"/>
              <a:ext cx="7" cy="12"/>
            </a:xfrm>
            <a:custGeom>
              <a:avLst/>
              <a:gdLst>
                <a:gd name="T0" fmla="*/ 1 w 3"/>
                <a:gd name="T1" fmla="*/ 0 h 5"/>
                <a:gd name="T2" fmla="*/ 3 w 3"/>
                <a:gd name="T3" fmla="*/ 5 h 5"/>
                <a:gd name="T4" fmla="*/ 1 w 3"/>
                <a:gd name="T5" fmla="*/ 0 h 5"/>
              </a:gdLst>
              <a:ahLst/>
              <a:cxnLst>
                <a:cxn ang="0">
                  <a:pos x="T0" y="T1"/>
                </a:cxn>
                <a:cxn ang="0">
                  <a:pos x="T2" y="T3"/>
                </a:cxn>
                <a:cxn ang="0">
                  <a:pos x="T4" y="T5"/>
                </a:cxn>
              </a:cxnLst>
              <a:rect l="0" t="0" r="r" b="b"/>
              <a:pathLst>
                <a:path w="3" h="5">
                  <a:moveTo>
                    <a:pt x="1" y="0"/>
                  </a:moveTo>
                  <a:cubicBezTo>
                    <a:pt x="0" y="3"/>
                    <a:pt x="2" y="4"/>
                    <a:pt x="3" y="5"/>
                  </a:cubicBezTo>
                  <a:cubicBezTo>
                    <a:pt x="3" y="3"/>
                    <a:pt x="2" y="2"/>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3" name="Freeform 1511">
              <a:extLst>
                <a:ext uri="{FF2B5EF4-FFF2-40B4-BE49-F238E27FC236}">
                  <a16:creationId xmlns:a16="http://schemas.microsoft.com/office/drawing/2014/main" id="{6ACEBF19-73E9-4FF6-8380-C375C28CE4A4}"/>
                </a:ext>
              </a:extLst>
            </p:cNvPr>
            <p:cNvSpPr>
              <a:spLocks/>
            </p:cNvSpPr>
            <p:nvPr/>
          </p:nvSpPr>
          <p:spPr bwMode="auto">
            <a:xfrm>
              <a:off x="1726" y="795"/>
              <a:ext cx="22" cy="7"/>
            </a:xfrm>
            <a:custGeom>
              <a:avLst/>
              <a:gdLst>
                <a:gd name="T0" fmla="*/ 0 w 9"/>
                <a:gd name="T1" fmla="*/ 0 h 3"/>
                <a:gd name="T2" fmla="*/ 2 w 9"/>
                <a:gd name="T3" fmla="*/ 2 h 3"/>
                <a:gd name="T4" fmla="*/ 3 w 9"/>
                <a:gd name="T5" fmla="*/ 2 h 3"/>
                <a:gd name="T6" fmla="*/ 4 w 9"/>
                <a:gd name="T7" fmla="*/ 2 h 3"/>
                <a:gd name="T8" fmla="*/ 7 w 9"/>
                <a:gd name="T9" fmla="*/ 3 h 3"/>
                <a:gd name="T10" fmla="*/ 8 w 9"/>
                <a:gd name="T11" fmla="*/ 3 h 3"/>
                <a:gd name="T12" fmla="*/ 9 w 9"/>
                <a:gd name="T13" fmla="*/ 3 h 3"/>
                <a:gd name="T14" fmla="*/ 0 w 9"/>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
                  <a:moveTo>
                    <a:pt x="0" y="0"/>
                  </a:moveTo>
                  <a:cubicBezTo>
                    <a:pt x="1" y="0"/>
                    <a:pt x="2" y="1"/>
                    <a:pt x="2" y="2"/>
                  </a:cubicBezTo>
                  <a:cubicBezTo>
                    <a:pt x="3" y="2"/>
                    <a:pt x="3" y="2"/>
                    <a:pt x="3" y="2"/>
                  </a:cubicBezTo>
                  <a:cubicBezTo>
                    <a:pt x="3" y="2"/>
                    <a:pt x="4" y="2"/>
                    <a:pt x="4" y="2"/>
                  </a:cubicBezTo>
                  <a:cubicBezTo>
                    <a:pt x="5" y="3"/>
                    <a:pt x="6" y="3"/>
                    <a:pt x="7" y="3"/>
                  </a:cubicBezTo>
                  <a:cubicBezTo>
                    <a:pt x="7" y="3"/>
                    <a:pt x="7" y="3"/>
                    <a:pt x="8" y="3"/>
                  </a:cubicBezTo>
                  <a:cubicBezTo>
                    <a:pt x="8" y="3"/>
                    <a:pt x="8" y="3"/>
                    <a:pt x="9" y="3"/>
                  </a:cubicBezTo>
                  <a:cubicBezTo>
                    <a:pt x="6" y="1"/>
                    <a:pt x="3"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4" name="Freeform 1512">
              <a:extLst>
                <a:ext uri="{FF2B5EF4-FFF2-40B4-BE49-F238E27FC236}">
                  <a16:creationId xmlns:a16="http://schemas.microsoft.com/office/drawing/2014/main" id="{85754640-4D6F-43AC-B390-C19394208DD7}"/>
                </a:ext>
              </a:extLst>
            </p:cNvPr>
            <p:cNvSpPr>
              <a:spLocks/>
            </p:cNvSpPr>
            <p:nvPr/>
          </p:nvSpPr>
          <p:spPr bwMode="auto">
            <a:xfrm>
              <a:off x="2185" y="1669"/>
              <a:ext cx="40" cy="24"/>
            </a:xfrm>
            <a:custGeom>
              <a:avLst/>
              <a:gdLst>
                <a:gd name="T0" fmla="*/ 17 w 17"/>
                <a:gd name="T1" fmla="*/ 0 h 10"/>
                <a:gd name="T2" fmla="*/ 0 w 17"/>
                <a:gd name="T3" fmla="*/ 9 h 10"/>
                <a:gd name="T4" fmla="*/ 12 w 17"/>
                <a:gd name="T5" fmla="*/ 10 h 10"/>
                <a:gd name="T6" fmla="*/ 15 w 17"/>
                <a:gd name="T7" fmla="*/ 5 h 10"/>
                <a:gd name="T8" fmla="*/ 17 w 17"/>
                <a:gd name="T9" fmla="*/ 0 h 10"/>
              </a:gdLst>
              <a:ahLst/>
              <a:cxnLst>
                <a:cxn ang="0">
                  <a:pos x="T0" y="T1"/>
                </a:cxn>
                <a:cxn ang="0">
                  <a:pos x="T2" y="T3"/>
                </a:cxn>
                <a:cxn ang="0">
                  <a:pos x="T4" y="T5"/>
                </a:cxn>
                <a:cxn ang="0">
                  <a:pos x="T6" y="T7"/>
                </a:cxn>
                <a:cxn ang="0">
                  <a:pos x="T8" y="T9"/>
                </a:cxn>
              </a:cxnLst>
              <a:rect l="0" t="0" r="r" b="b"/>
              <a:pathLst>
                <a:path w="17" h="10">
                  <a:moveTo>
                    <a:pt x="17" y="0"/>
                  </a:moveTo>
                  <a:cubicBezTo>
                    <a:pt x="17" y="0"/>
                    <a:pt x="0" y="7"/>
                    <a:pt x="0" y="9"/>
                  </a:cubicBezTo>
                  <a:cubicBezTo>
                    <a:pt x="12" y="10"/>
                    <a:pt x="12" y="10"/>
                    <a:pt x="12" y="10"/>
                  </a:cubicBezTo>
                  <a:cubicBezTo>
                    <a:pt x="12" y="10"/>
                    <a:pt x="14" y="6"/>
                    <a:pt x="15" y="5"/>
                  </a:cubicBezTo>
                  <a:cubicBezTo>
                    <a:pt x="16" y="2"/>
                    <a:pt x="17"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5" name="Freeform 1513">
              <a:extLst>
                <a:ext uri="{FF2B5EF4-FFF2-40B4-BE49-F238E27FC236}">
                  <a16:creationId xmlns:a16="http://schemas.microsoft.com/office/drawing/2014/main" id="{AA5319FA-7A74-485E-A1F3-58C553EDD6D0}"/>
                </a:ext>
              </a:extLst>
            </p:cNvPr>
            <p:cNvSpPr>
              <a:spLocks/>
            </p:cNvSpPr>
            <p:nvPr/>
          </p:nvSpPr>
          <p:spPr bwMode="auto">
            <a:xfrm>
              <a:off x="3359" y="1222"/>
              <a:ext cx="676" cy="556"/>
            </a:xfrm>
            <a:custGeom>
              <a:avLst/>
              <a:gdLst>
                <a:gd name="T0" fmla="*/ 3 w 286"/>
                <a:gd name="T1" fmla="*/ 64 h 235"/>
                <a:gd name="T2" fmla="*/ 3 w 286"/>
                <a:gd name="T3" fmla="*/ 76 h 235"/>
                <a:gd name="T4" fmla="*/ 2 w 286"/>
                <a:gd name="T5" fmla="*/ 120 h 235"/>
                <a:gd name="T6" fmla="*/ 10 w 286"/>
                <a:gd name="T7" fmla="*/ 191 h 235"/>
                <a:gd name="T8" fmla="*/ 36 w 286"/>
                <a:gd name="T9" fmla="*/ 190 h 235"/>
                <a:gd name="T10" fmla="*/ 59 w 286"/>
                <a:gd name="T11" fmla="*/ 189 h 235"/>
                <a:gd name="T12" fmla="*/ 54 w 286"/>
                <a:gd name="T13" fmla="*/ 168 h 235"/>
                <a:gd name="T14" fmla="*/ 45 w 286"/>
                <a:gd name="T15" fmla="*/ 165 h 235"/>
                <a:gd name="T16" fmla="*/ 42 w 286"/>
                <a:gd name="T17" fmla="*/ 165 h 235"/>
                <a:gd name="T18" fmla="*/ 53 w 286"/>
                <a:gd name="T19" fmla="*/ 164 h 235"/>
                <a:gd name="T20" fmla="*/ 68 w 286"/>
                <a:gd name="T21" fmla="*/ 163 h 235"/>
                <a:gd name="T22" fmla="*/ 69 w 286"/>
                <a:gd name="T23" fmla="*/ 152 h 235"/>
                <a:gd name="T24" fmla="*/ 73 w 286"/>
                <a:gd name="T25" fmla="*/ 155 h 235"/>
                <a:gd name="T26" fmla="*/ 79 w 286"/>
                <a:gd name="T27" fmla="*/ 156 h 235"/>
                <a:gd name="T28" fmla="*/ 85 w 286"/>
                <a:gd name="T29" fmla="*/ 155 h 235"/>
                <a:gd name="T30" fmla="*/ 84 w 286"/>
                <a:gd name="T31" fmla="*/ 146 h 235"/>
                <a:gd name="T32" fmla="*/ 94 w 286"/>
                <a:gd name="T33" fmla="*/ 144 h 235"/>
                <a:gd name="T34" fmla="*/ 97 w 286"/>
                <a:gd name="T35" fmla="*/ 148 h 235"/>
                <a:gd name="T36" fmla="*/ 102 w 286"/>
                <a:gd name="T37" fmla="*/ 145 h 235"/>
                <a:gd name="T38" fmla="*/ 108 w 286"/>
                <a:gd name="T39" fmla="*/ 143 h 235"/>
                <a:gd name="T40" fmla="*/ 111 w 286"/>
                <a:gd name="T41" fmla="*/ 148 h 235"/>
                <a:gd name="T42" fmla="*/ 147 w 286"/>
                <a:gd name="T43" fmla="*/ 158 h 235"/>
                <a:gd name="T44" fmla="*/ 161 w 286"/>
                <a:gd name="T45" fmla="*/ 179 h 235"/>
                <a:gd name="T46" fmla="*/ 173 w 286"/>
                <a:gd name="T47" fmla="*/ 186 h 235"/>
                <a:gd name="T48" fmla="*/ 185 w 286"/>
                <a:gd name="T49" fmla="*/ 204 h 235"/>
                <a:gd name="T50" fmla="*/ 204 w 286"/>
                <a:gd name="T51" fmla="*/ 218 h 235"/>
                <a:gd name="T52" fmla="*/ 215 w 286"/>
                <a:gd name="T53" fmla="*/ 220 h 235"/>
                <a:gd name="T54" fmla="*/ 218 w 286"/>
                <a:gd name="T55" fmla="*/ 219 h 235"/>
                <a:gd name="T56" fmla="*/ 232 w 286"/>
                <a:gd name="T57" fmla="*/ 221 h 235"/>
                <a:gd name="T58" fmla="*/ 271 w 286"/>
                <a:gd name="T59" fmla="*/ 234 h 235"/>
                <a:gd name="T60" fmla="*/ 271 w 286"/>
                <a:gd name="T61" fmla="*/ 223 h 235"/>
                <a:gd name="T62" fmla="*/ 278 w 286"/>
                <a:gd name="T63" fmla="*/ 224 h 235"/>
                <a:gd name="T64" fmla="*/ 277 w 286"/>
                <a:gd name="T65" fmla="*/ 220 h 235"/>
                <a:gd name="T66" fmla="*/ 273 w 286"/>
                <a:gd name="T67" fmla="*/ 220 h 235"/>
                <a:gd name="T68" fmla="*/ 254 w 286"/>
                <a:gd name="T69" fmla="*/ 208 h 235"/>
                <a:gd name="T70" fmla="*/ 257 w 286"/>
                <a:gd name="T71" fmla="*/ 203 h 235"/>
                <a:gd name="T72" fmla="*/ 238 w 286"/>
                <a:gd name="T73" fmla="*/ 194 h 235"/>
                <a:gd name="T74" fmla="*/ 227 w 286"/>
                <a:gd name="T75" fmla="*/ 187 h 235"/>
                <a:gd name="T76" fmla="*/ 209 w 286"/>
                <a:gd name="T77" fmla="*/ 170 h 235"/>
                <a:gd name="T78" fmla="*/ 178 w 286"/>
                <a:gd name="T79" fmla="*/ 136 h 235"/>
                <a:gd name="T80" fmla="*/ 183 w 286"/>
                <a:gd name="T81" fmla="*/ 118 h 235"/>
                <a:gd name="T82" fmla="*/ 198 w 286"/>
                <a:gd name="T83" fmla="*/ 116 h 235"/>
                <a:gd name="T84" fmla="*/ 185 w 286"/>
                <a:gd name="T85" fmla="*/ 96 h 235"/>
                <a:gd name="T86" fmla="*/ 179 w 286"/>
                <a:gd name="T87" fmla="*/ 96 h 235"/>
                <a:gd name="T88" fmla="*/ 146 w 286"/>
                <a:gd name="T89" fmla="*/ 83 h 235"/>
                <a:gd name="T90" fmla="*/ 138 w 286"/>
                <a:gd name="T91" fmla="*/ 68 h 235"/>
                <a:gd name="T92" fmla="*/ 102 w 286"/>
                <a:gd name="T93" fmla="*/ 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6" h="235">
                  <a:moveTo>
                    <a:pt x="3" y="0"/>
                  </a:moveTo>
                  <a:cubicBezTo>
                    <a:pt x="3" y="7"/>
                    <a:pt x="3" y="15"/>
                    <a:pt x="3" y="24"/>
                  </a:cubicBezTo>
                  <a:cubicBezTo>
                    <a:pt x="3" y="36"/>
                    <a:pt x="3" y="51"/>
                    <a:pt x="3" y="64"/>
                  </a:cubicBezTo>
                  <a:cubicBezTo>
                    <a:pt x="3" y="68"/>
                    <a:pt x="3" y="68"/>
                    <a:pt x="3" y="68"/>
                  </a:cubicBezTo>
                  <a:cubicBezTo>
                    <a:pt x="3" y="70"/>
                    <a:pt x="3" y="72"/>
                    <a:pt x="3" y="73"/>
                  </a:cubicBezTo>
                  <a:cubicBezTo>
                    <a:pt x="3" y="76"/>
                    <a:pt x="3" y="76"/>
                    <a:pt x="3" y="76"/>
                  </a:cubicBezTo>
                  <a:cubicBezTo>
                    <a:pt x="3" y="81"/>
                    <a:pt x="2" y="86"/>
                    <a:pt x="2" y="91"/>
                  </a:cubicBezTo>
                  <a:cubicBezTo>
                    <a:pt x="0" y="119"/>
                    <a:pt x="0" y="119"/>
                    <a:pt x="0" y="119"/>
                  </a:cubicBezTo>
                  <a:cubicBezTo>
                    <a:pt x="1" y="119"/>
                    <a:pt x="1" y="120"/>
                    <a:pt x="2" y="120"/>
                  </a:cubicBezTo>
                  <a:cubicBezTo>
                    <a:pt x="3" y="122"/>
                    <a:pt x="3" y="123"/>
                    <a:pt x="3" y="124"/>
                  </a:cubicBezTo>
                  <a:cubicBezTo>
                    <a:pt x="3" y="191"/>
                    <a:pt x="3" y="191"/>
                    <a:pt x="3" y="191"/>
                  </a:cubicBezTo>
                  <a:cubicBezTo>
                    <a:pt x="5" y="191"/>
                    <a:pt x="7" y="191"/>
                    <a:pt x="10" y="191"/>
                  </a:cubicBezTo>
                  <a:cubicBezTo>
                    <a:pt x="14" y="191"/>
                    <a:pt x="19" y="191"/>
                    <a:pt x="24" y="191"/>
                  </a:cubicBezTo>
                  <a:cubicBezTo>
                    <a:pt x="28" y="190"/>
                    <a:pt x="32" y="190"/>
                    <a:pt x="35" y="190"/>
                  </a:cubicBezTo>
                  <a:cubicBezTo>
                    <a:pt x="35" y="190"/>
                    <a:pt x="36" y="190"/>
                    <a:pt x="36" y="190"/>
                  </a:cubicBezTo>
                  <a:cubicBezTo>
                    <a:pt x="40" y="191"/>
                    <a:pt x="43" y="193"/>
                    <a:pt x="47" y="194"/>
                  </a:cubicBezTo>
                  <a:cubicBezTo>
                    <a:pt x="47" y="194"/>
                    <a:pt x="47" y="194"/>
                    <a:pt x="48" y="194"/>
                  </a:cubicBezTo>
                  <a:cubicBezTo>
                    <a:pt x="50" y="194"/>
                    <a:pt x="57" y="190"/>
                    <a:pt x="59" y="189"/>
                  </a:cubicBezTo>
                  <a:cubicBezTo>
                    <a:pt x="61" y="188"/>
                    <a:pt x="67" y="186"/>
                    <a:pt x="68" y="185"/>
                  </a:cubicBezTo>
                  <a:cubicBezTo>
                    <a:pt x="70" y="182"/>
                    <a:pt x="69" y="178"/>
                    <a:pt x="67" y="175"/>
                  </a:cubicBezTo>
                  <a:cubicBezTo>
                    <a:pt x="63" y="170"/>
                    <a:pt x="60" y="170"/>
                    <a:pt x="54" y="168"/>
                  </a:cubicBezTo>
                  <a:cubicBezTo>
                    <a:pt x="52" y="167"/>
                    <a:pt x="51" y="165"/>
                    <a:pt x="48" y="165"/>
                  </a:cubicBezTo>
                  <a:cubicBezTo>
                    <a:pt x="48" y="165"/>
                    <a:pt x="48" y="165"/>
                    <a:pt x="48" y="165"/>
                  </a:cubicBezTo>
                  <a:cubicBezTo>
                    <a:pt x="47" y="165"/>
                    <a:pt x="46" y="165"/>
                    <a:pt x="45" y="165"/>
                  </a:cubicBezTo>
                  <a:cubicBezTo>
                    <a:pt x="44" y="166"/>
                    <a:pt x="43" y="166"/>
                    <a:pt x="42" y="166"/>
                  </a:cubicBezTo>
                  <a:cubicBezTo>
                    <a:pt x="41" y="166"/>
                    <a:pt x="41" y="166"/>
                    <a:pt x="40" y="165"/>
                  </a:cubicBezTo>
                  <a:cubicBezTo>
                    <a:pt x="41" y="165"/>
                    <a:pt x="42" y="165"/>
                    <a:pt x="42" y="165"/>
                  </a:cubicBezTo>
                  <a:cubicBezTo>
                    <a:pt x="44" y="165"/>
                    <a:pt x="45" y="165"/>
                    <a:pt x="47" y="164"/>
                  </a:cubicBezTo>
                  <a:cubicBezTo>
                    <a:pt x="48" y="164"/>
                    <a:pt x="50" y="164"/>
                    <a:pt x="51" y="164"/>
                  </a:cubicBezTo>
                  <a:cubicBezTo>
                    <a:pt x="52" y="164"/>
                    <a:pt x="53" y="164"/>
                    <a:pt x="53" y="164"/>
                  </a:cubicBezTo>
                  <a:cubicBezTo>
                    <a:pt x="55" y="164"/>
                    <a:pt x="56" y="165"/>
                    <a:pt x="57" y="165"/>
                  </a:cubicBezTo>
                  <a:cubicBezTo>
                    <a:pt x="58" y="165"/>
                    <a:pt x="59" y="165"/>
                    <a:pt x="60" y="164"/>
                  </a:cubicBezTo>
                  <a:cubicBezTo>
                    <a:pt x="63" y="164"/>
                    <a:pt x="66" y="163"/>
                    <a:pt x="68" y="163"/>
                  </a:cubicBezTo>
                  <a:cubicBezTo>
                    <a:pt x="72" y="162"/>
                    <a:pt x="77" y="164"/>
                    <a:pt x="74" y="158"/>
                  </a:cubicBezTo>
                  <a:cubicBezTo>
                    <a:pt x="73" y="156"/>
                    <a:pt x="70" y="154"/>
                    <a:pt x="68" y="152"/>
                  </a:cubicBezTo>
                  <a:cubicBezTo>
                    <a:pt x="68" y="152"/>
                    <a:pt x="68" y="152"/>
                    <a:pt x="69" y="152"/>
                  </a:cubicBezTo>
                  <a:cubicBezTo>
                    <a:pt x="71" y="152"/>
                    <a:pt x="70" y="154"/>
                    <a:pt x="71" y="155"/>
                  </a:cubicBezTo>
                  <a:cubicBezTo>
                    <a:pt x="72" y="155"/>
                    <a:pt x="72" y="155"/>
                    <a:pt x="73" y="155"/>
                  </a:cubicBezTo>
                  <a:cubicBezTo>
                    <a:pt x="73" y="155"/>
                    <a:pt x="73" y="155"/>
                    <a:pt x="73" y="155"/>
                  </a:cubicBezTo>
                  <a:cubicBezTo>
                    <a:pt x="74" y="155"/>
                    <a:pt x="74" y="155"/>
                    <a:pt x="74" y="155"/>
                  </a:cubicBezTo>
                  <a:cubicBezTo>
                    <a:pt x="74" y="155"/>
                    <a:pt x="75" y="155"/>
                    <a:pt x="75" y="155"/>
                  </a:cubicBezTo>
                  <a:cubicBezTo>
                    <a:pt x="76" y="155"/>
                    <a:pt x="77" y="156"/>
                    <a:pt x="79" y="156"/>
                  </a:cubicBezTo>
                  <a:cubicBezTo>
                    <a:pt x="79" y="156"/>
                    <a:pt x="80" y="156"/>
                    <a:pt x="81" y="156"/>
                  </a:cubicBezTo>
                  <a:cubicBezTo>
                    <a:pt x="83" y="156"/>
                    <a:pt x="85" y="155"/>
                    <a:pt x="83" y="154"/>
                  </a:cubicBezTo>
                  <a:cubicBezTo>
                    <a:pt x="83" y="155"/>
                    <a:pt x="84" y="155"/>
                    <a:pt x="85" y="155"/>
                  </a:cubicBezTo>
                  <a:cubicBezTo>
                    <a:pt x="82" y="150"/>
                    <a:pt x="79" y="145"/>
                    <a:pt x="76" y="139"/>
                  </a:cubicBezTo>
                  <a:cubicBezTo>
                    <a:pt x="77" y="141"/>
                    <a:pt x="79" y="141"/>
                    <a:pt x="80" y="143"/>
                  </a:cubicBezTo>
                  <a:cubicBezTo>
                    <a:pt x="82" y="144"/>
                    <a:pt x="82" y="145"/>
                    <a:pt x="84" y="146"/>
                  </a:cubicBezTo>
                  <a:cubicBezTo>
                    <a:pt x="85" y="147"/>
                    <a:pt x="85" y="147"/>
                    <a:pt x="86" y="147"/>
                  </a:cubicBezTo>
                  <a:cubicBezTo>
                    <a:pt x="88" y="147"/>
                    <a:pt x="89" y="146"/>
                    <a:pt x="90" y="146"/>
                  </a:cubicBezTo>
                  <a:cubicBezTo>
                    <a:pt x="91" y="145"/>
                    <a:pt x="93" y="144"/>
                    <a:pt x="94" y="144"/>
                  </a:cubicBezTo>
                  <a:cubicBezTo>
                    <a:pt x="94" y="144"/>
                    <a:pt x="95" y="144"/>
                    <a:pt x="95" y="145"/>
                  </a:cubicBezTo>
                  <a:cubicBezTo>
                    <a:pt x="96" y="145"/>
                    <a:pt x="96" y="145"/>
                    <a:pt x="97" y="146"/>
                  </a:cubicBezTo>
                  <a:cubicBezTo>
                    <a:pt x="97" y="148"/>
                    <a:pt x="97" y="148"/>
                    <a:pt x="97" y="148"/>
                  </a:cubicBezTo>
                  <a:cubicBezTo>
                    <a:pt x="98" y="148"/>
                    <a:pt x="100" y="148"/>
                    <a:pt x="101" y="149"/>
                  </a:cubicBezTo>
                  <a:cubicBezTo>
                    <a:pt x="99" y="147"/>
                    <a:pt x="99" y="144"/>
                    <a:pt x="98" y="141"/>
                  </a:cubicBezTo>
                  <a:cubicBezTo>
                    <a:pt x="99" y="143"/>
                    <a:pt x="100" y="144"/>
                    <a:pt x="102" y="145"/>
                  </a:cubicBezTo>
                  <a:cubicBezTo>
                    <a:pt x="101" y="144"/>
                    <a:pt x="101" y="142"/>
                    <a:pt x="102" y="141"/>
                  </a:cubicBezTo>
                  <a:cubicBezTo>
                    <a:pt x="102" y="143"/>
                    <a:pt x="103" y="144"/>
                    <a:pt x="105" y="144"/>
                  </a:cubicBezTo>
                  <a:cubicBezTo>
                    <a:pt x="106" y="144"/>
                    <a:pt x="107" y="143"/>
                    <a:pt x="108" y="143"/>
                  </a:cubicBezTo>
                  <a:cubicBezTo>
                    <a:pt x="109" y="143"/>
                    <a:pt x="110" y="143"/>
                    <a:pt x="111" y="143"/>
                  </a:cubicBezTo>
                  <a:cubicBezTo>
                    <a:pt x="111" y="143"/>
                    <a:pt x="111" y="143"/>
                    <a:pt x="111" y="143"/>
                  </a:cubicBezTo>
                  <a:cubicBezTo>
                    <a:pt x="113" y="143"/>
                    <a:pt x="111" y="147"/>
                    <a:pt x="111" y="148"/>
                  </a:cubicBezTo>
                  <a:cubicBezTo>
                    <a:pt x="112" y="149"/>
                    <a:pt x="116" y="149"/>
                    <a:pt x="118" y="150"/>
                  </a:cubicBezTo>
                  <a:cubicBezTo>
                    <a:pt x="125" y="151"/>
                    <a:pt x="132" y="152"/>
                    <a:pt x="138" y="153"/>
                  </a:cubicBezTo>
                  <a:cubicBezTo>
                    <a:pt x="136" y="157"/>
                    <a:pt x="145" y="157"/>
                    <a:pt x="147" y="158"/>
                  </a:cubicBezTo>
                  <a:cubicBezTo>
                    <a:pt x="147" y="160"/>
                    <a:pt x="148" y="161"/>
                    <a:pt x="150" y="163"/>
                  </a:cubicBezTo>
                  <a:cubicBezTo>
                    <a:pt x="151" y="165"/>
                    <a:pt x="151" y="165"/>
                    <a:pt x="152" y="168"/>
                  </a:cubicBezTo>
                  <a:cubicBezTo>
                    <a:pt x="154" y="172"/>
                    <a:pt x="158" y="176"/>
                    <a:pt x="161" y="179"/>
                  </a:cubicBezTo>
                  <a:cubicBezTo>
                    <a:pt x="163" y="182"/>
                    <a:pt x="161" y="184"/>
                    <a:pt x="165" y="186"/>
                  </a:cubicBezTo>
                  <a:cubicBezTo>
                    <a:pt x="166" y="187"/>
                    <a:pt x="168" y="187"/>
                    <a:pt x="169" y="187"/>
                  </a:cubicBezTo>
                  <a:cubicBezTo>
                    <a:pt x="171" y="187"/>
                    <a:pt x="172" y="187"/>
                    <a:pt x="173" y="186"/>
                  </a:cubicBezTo>
                  <a:cubicBezTo>
                    <a:pt x="172" y="187"/>
                    <a:pt x="172" y="188"/>
                    <a:pt x="173" y="190"/>
                  </a:cubicBezTo>
                  <a:cubicBezTo>
                    <a:pt x="174" y="193"/>
                    <a:pt x="175" y="198"/>
                    <a:pt x="178" y="199"/>
                  </a:cubicBezTo>
                  <a:cubicBezTo>
                    <a:pt x="182" y="200"/>
                    <a:pt x="182" y="200"/>
                    <a:pt x="185" y="204"/>
                  </a:cubicBezTo>
                  <a:cubicBezTo>
                    <a:pt x="188" y="209"/>
                    <a:pt x="192" y="215"/>
                    <a:pt x="197" y="217"/>
                  </a:cubicBezTo>
                  <a:cubicBezTo>
                    <a:pt x="199" y="218"/>
                    <a:pt x="201" y="218"/>
                    <a:pt x="202" y="218"/>
                  </a:cubicBezTo>
                  <a:cubicBezTo>
                    <a:pt x="203" y="218"/>
                    <a:pt x="203" y="218"/>
                    <a:pt x="204" y="218"/>
                  </a:cubicBezTo>
                  <a:cubicBezTo>
                    <a:pt x="204" y="218"/>
                    <a:pt x="205" y="218"/>
                    <a:pt x="205" y="218"/>
                  </a:cubicBezTo>
                  <a:cubicBezTo>
                    <a:pt x="208" y="218"/>
                    <a:pt x="211" y="219"/>
                    <a:pt x="214" y="220"/>
                  </a:cubicBezTo>
                  <a:cubicBezTo>
                    <a:pt x="214" y="220"/>
                    <a:pt x="214" y="220"/>
                    <a:pt x="215" y="220"/>
                  </a:cubicBezTo>
                  <a:cubicBezTo>
                    <a:pt x="215" y="220"/>
                    <a:pt x="216" y="220"/>
                    <a:pt x="216" y="219"/>
                  </a:cubicBezTo>
                  <a:cubicBezTo>
                    <a:pt x="217" y="219"/>
                    <a:pt x="218" y="219"/>
                    <a:pt x="218" y="219"/>
                  </a:cubicBezTo>
                  <a:cubicBezTo>
                    <a:pt x="218" y="219"/>
                    <a:pt x="218" y="219"/>
                    <a:pt x="218" y="219"/>
                  </a:cubicBezTo>
                  <a:cubicBezTo>
                    <a:pt x="221" y="219"/>
                    <a:pt x="223" y="220"/>
                    <a:pt x="225" y="221"/>
                  </a:cubicBezTo>
                  <a:cubicBezTo>
                    <a:pt x="227" y="221"/>
                    <a:pt x="228" y="221"/>
                    <a:pt x="229" y="221"/>
                  </a:cubicBezTo>
                  <a:cubicBezTo>
                    <a:pt x="230" y="221"/>
                    <a:pt x="231" y="221"/>
                    <a:pt x="232" y="221"/>
                  </a:cubicBezTo>
                  <a:cubicBezTo>
                    <a:pt x="232" y="221"/>
                    <a:pt x="233" y="221"/>
                    <a:pt x="233" y="221"/>
                  </a:cubicBezTo>
                  <a:cubicBezTo>
                    <a:pt x="242" y="221"/>
                    <a:pt x="259" y="223"/>
                    <a:pt x="264" y="230"/>
                  </a:cubicBezTo>
                  <a:cubicBezTo>
                    <a:pt x="267" y="235"/>
                    <a:pt x="266" y="233"/>
                    <a:pt x="271" y="234"/>
                  </a:cubicBezTo>
                  <a:cubicBezTo>
                    <a:pt x="271" y="234"/>
                    <a:pt x="271" y="234"/>
                    <a:pt x="271" y="234"/>
                  </a:cubicBezTo>
                  <a:cubicBezTo>
                    <a:pt x="274" y="234"/>
                    <a:pt x="277" y="232"/>
                    <a:pt x="279" y="231"/>
                  </a:cubicBezTo>
                  <a:cubicBezTo>
                    <a:pt x="276" y="229"/>
                    <a:pt x="273" y="226"/>
                    <a:pt x="271" y="223"/>
                  </a:cubicBezTo>
                  <a:cubicBezTo>
                    <a:pt x="272" y="223"/>
                    <a:pt x="272" y="223"/>
                    <a:pt x="273" y="223"/>
                  </a:cubicBezTo>
                  <a:cubicBezTo>
                    <a:pt x="274" y="223"/>
                    <a:pt x="275" y="224"/>
                    <a:pt x="277" y="224"/>
                  </a:cubicBezTo>
                  <a:cubicBezTo>
                    <a:pt x="277" y="224"/>
                    <a:pt x="277" y="224"/>
                    <a:pt x="278" y="224"/>
                  </a:cubicBezTo>
                  <a:cubicBezTo>
                    <a:pt x="281" y="224"/>
                    <a:pt x="283" y="222"/>
                    <a:pt x="286" y="220"/>
                  </a:cubicBezTo>
                  <a:cubicBezTo>
                    <a:pt x="284" y="221"/>
                    <a:pt x="283" y="221"/>
                    <a:pt x="282" y="221"/>
                  </a:cubicBezTo>
                  <a:cubicBezTo>
                    <a:pt x="281" y="221"/>
                    <a:pt x="280" y="221"/>
                    <a:pt x="277" y="220"/>
                  </a:cubicBezTo>
                  <a:cubicBezTo>
                    <a:pt x="277" y="220"/>
                    <a:pt x="276" y="220"/>
                    <a:pt x="275" y="220"/>
                  </a:cubicBezTo>
                  <a:cubicBezTo>
                    <a:pt x="275" y="220"/>
                    <a:pt x="275" y="220"/>
                    <a:pt x="274" y="220"/>
                  </a:cubicBezTo>
                  <a:cubicBezTo>
                    <a:pt x="274" y="220"/>
                    <a:pt x="273" y="220"/>
                    <a:pt x="273" y="220"/>
                  </a:cubicBezTo>
                  <a:cubicBezTo>
                    <a:pt x="272" y="220"/>
                    <a:pt x="271" y="220"/>
                    <a:pt x="270" y="220"/>
                  </a:cubicBezTo>
                  <a:cubicBezTo>
                    <a:pt x="266" y="218"/>
                    <a:pt x="261" y="214"/>
                    <a:pt x="257" y="212"/>
                  </a:cubicBezTo>
                  <a:cubicBezTo>
                    <a:pt x="253" y="210"/>
                    <a:pt x="252" y="210"/>
                    <a:pt x="254" y="208"/>
                  </a:cubicBezTo>
                  <a:cubicBezTo>
                    <a:pt x="257" y="206"/>
                    <a:pt x="260" y="209"/>
                    <a:pt x="261" y="203"/>
                  </a:cubicBezTo>
                  <a:cubicBezTo>
                    <a:pt x="260" y="203"/>
                    <a:pt x="259" y="203"/>
                    <a:pt x="258" y="203"/>
                  </a:cubicBezTo>
                  <a:cubicBezTo>
                    <a:pt x="258" y="203"/>
                    <a:pt x="257" y="203"/>
                    <a:pt x="257" y="203"/>
                  </a:cubicBezTo>
                  <a:cubicBezTo>
                    <a:pt x="253" y="203"/>
                    <a:pt x="245" y="203"/>
                    <a:pt x="243" y="201"/>
                  </a:cubicBezTo>
                  <a:cubicBezTo>
                    <a:pt x="241" y="200"/>
                    <a:pt x="237" y="197"/>
                    <a:pt x="237" y="195"/>
                  </a:cubicBezTo>
                  <a:cubicBezTo>
                    <a:pt x="237" y="194"/>
                    <a:pt x="238" y="194"/>
                    <a:pt x="238" y="194"/>
                  </a:cubicBezTo>
                  <a:cubicBezTo>
                    <a:pt x="239" y="192"/>
                    <a:pt x="241" y="187"/>
                    <a:pt x="240" y="186"/>
                  </a:cubicBezTo>
                  <a:cubicBezTo>
                    <a:pt x="240" y="185"/>
                    <a:pt x="239" y="184"/>
                    <a:pt x="238" y="184"/>
                  </a:cubicBezTo>
                  <a:cubicBezTo>
                    <a:pt x="234" y="184"/>
                    <a:pt x="229" y="187"/>
                    <a:pt x="227" y="187"/>
                  </a:cubicBezTo>
                  <a:cubicBezTo>
                    <a:pt x="226" y="187"/>
                    <a:pt x="225" y="187"/>
                    <a:pt x="224" y="187"/>
                  </a:cubicBezTo>
                  <a:cubicBezTo>
                    <a:pt x="220" y="187"/>
                    <a:pt x="219" y="185"/>
                    <a:pt x="217" y="181"/>
                  </a:cubicBezTo>
                  <a:cubicBezTo>
                    <a:pt x="215" y="177"/>
                    <a:pt x="210" y="174"/>
                    <a:pt x="209" y="170"/>
                  </a:cubicBezTo>
                  <a:cubicBezTo>
                    <a:pt x="209" y="169"/>
                    <a:pt x="210" y="169"/>
                    <a:pt x="209" y="168"/>
                  </a:cubicBezTo>
                  <a:cubicBezTo>
                    <a:pt x="208" y="165"/>
                    <a:pt x="206" y="162"/>
                    <a:pt x="204" y="159"/>
                  </a:cubicBezTo>
                  <a:cubicBezTo>
                    <a:pt x="198" y="149"/>
                    <a:pt x="182" y="147"/>
                    <a:pt x="178" y="136"/>
                  </a:cubicBezTo>
                  <a:cubicBezTo>
                    <a:pt x="176" y="132"/>
                    <a:pt x="169" y="122"/>
                    <a:pt x="173" y="119"/>
                  </a:cubicBezTo>
                  <a:cubicBezTo>
                    <a:pt x="175" y="118"/>
                    <a:pt x="176" y="118"/>
                    <a:pt x="177" y="118"/>
                  </a:cubicBezTo>
                  <a:cubicBezTo>
                    <a:pt x="179" y="118"/>
                    <a:pt x="181" y="118"/>
                    <a:pt x="183" y="118"/>
                  </a:cubicBezTo>
                  <a:cubicBezTo>
                    <a:pt x="185" y="119"/>
                    <a:pt x="187" y="119"/>
                    <a:pt x="188" y="119"/>
                  </a:cubicBezTo>
                  <a:cubicBezTo>
                    <a:pt x="188" y="119"/>
                    <a:pt x="188" y="119"/>
                    <a:pt x="189" y="119"/>
                  </a:cubicBezTo>
                  <a:cubicBezTo>
                    <a:pt x="191" y="119"/>
                    <a:pt x="196" y="118"/>
                    <a:pt x="198" y="116"/>
                  </a:cubicBezTo>
                  <a:cubicBezTo>
                    <a:pt x="199" y="115"/>
                    <a:pt x="198" y="109"/>
                    <a:pt x="197" y="107"/>
                  </a:cubicBezTo>
                  <a:cubicBezTo>
                    <a:pt x="197" y="106"/>
                    <a:pt x="195" y="105"/>
                    <a:pt x="194" y="104"/>
                  </a:cubicBezTo>
                  <a:cubicBezTo>
                    <a:pt x="192" y="101"/>
                    <a:pt x="189" y="97"/>
                    <a:pt x="185" y="96"/>
                  </a:cubicBezTo>
                  <a:cubicBezTo>
                    <a:pt x="184" y="96"/>
                    <a:pt x="184" y="95"/>
                    <a:pt x="183" y="95"/>
                  </a:cubicBezTo>
                  <a:cubicBezTo>
                    <a:pt x="182" y="95"/>
                    <a:pt x="182" y="96"/>
                    <a:pt x="181" y="96"/>
                  </a:cubicBezTo>
                  <a:cubicBezTo>
                    <a:pt x="180" y="96"/>
                    <a:pt x="180" y="96"/>
                    <a:pt x="179" y="96"/>
                  </a:cubicBezTo>
                  <a:cubicBezTo>
                    <a:pt x="179" y="96"/>
                    <a:pt x="178" y="96"/>
                    <a:pt x="178" y="96"/>
                  </a:cubicBezTo>
                  <a:cubicBezTo>
                    <a:pt x="171" y="96"/>
                    <a:pt x="165" y="88"/>
                    <a:pt x="159" y="86"/>
                  </a:cubicBezTo>
                  <a:cubicBezTo>
                    <a:pt x="155" y="85"/>
                    <a:pt x="150" y="84"/>
                    <a:pt x="146" y="83"/>
                  </a:cubicBezTo>
                  <a:cubicBezTo>
                    <a:pt x="144" y="83"/>
                    <a:pt x="138" y="83"/>
                    <a:pt x="137" y="81"/>
                  </a:cubicBezTo>
                  <a:cubicBezTo>
                    <a:pt x="135" y="79"/>
                    <a:pt x="138" y="77"/>
                    <a:pt x="138" y="75"/>
                  </a:cubicBezTo>
                  <a:cubicBezTo>
                    <a:pt x="139" y="73"/>
                    <a:pt x="139" y="70"/>
                    <a:pt x="138" y="68"/>
                  </a:cubicBezTo>
                  <a:cubicBezTo>
                    <a:pt x="136" y="62"/>
                    <a:pt x="130" y="57"/>
                    <a:pt x="127" y="52"/>
                  </a:cubicBezTo>
                  <a:cubicBezTo>
                    <a:pt x="124" y="49"/>
                    <a:pt x="124" y="51"/>
                    <a:pt x="121" y="49"/>
                  </a:cubicBezTo>
                  <a:cubicBezTo>
                    <a:pt x="114" y="46"/>
                    <a:pt x="105" y="42"/>
                    <a:pt x="102" y="35"/>
                  </a:cubicBezTo>
                  <a:cubicBezTo>
                    <a:pt x="101" y="33"/>
                    <a:pt x="99" y="34"/>
                    <a:pt x="97" y="33"/>
                  </a:cubicBezTo>
                  <a:cubicBezTo>
                    <a:pt x="66" y="22"/>
                    <a:pt x="34" y="1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6" name="Freeform 1514">
              <a:extLst>
                <a:ext uri="{FF2B5EF4-FFF2-40B4-BE49-F238E27FC236}">
                  <a16:creationId xmlns:a16="http://schemas.microsoft.com/office/drawing/2014/main" id="{2BEA6C3E-F70D-419C-9BD9-90620B934C24}"/>
                </a:ext>
              </a:extLst>
            </p:cNvPr>
            <p:cNvSpPr>
              <a:spLocks/>
            </p:cNvSpPr>
            <p:nvPr/>
          </p:nvSpPr>
          <p:spPr bwMode="auto">
            <a:xfrm>
              <a:off x="2667" y="1064"/>
              <a:ext cx="683" cy="596"/>
            </a:xfrm>
            <a:custGeom>
              <a:avLst/>
              <a:gdLst>
                <a:gd name="T0" fmla="*/ 15 w 289"/>
                <a:gd name="T1" fmla="*/ 12 h 252"/>
                <a:gd name="T2" fmla="*/ 21 w 289"/>
                <a:gd name="T3" fmla="*/ 33 h 252"/>
                <a:gd name="T4" fmla="*/ 29 w 289"/>
                <a:gd name="T5" fmla="*/ 43 h 252"/>
                <a:gd name="T6" fmla="*/ 41 w 289"/>
                <a:gd name="T7" fmla="*/ 55 h 252"/>
                <a:gd name="T8" fmla="*/ 53 w 289"/>
                <a:gd name="T9" fmla="*/ 55 h 252"/>
                <a:gd name="T10" fmla="*/ 67 w 289"/>
                <a:gd name="T11" fmla="*/ 54 h 252"/>
                <a:gd name="T12" fmla="*/ 77 w 289"/>
                <a:gd name="T13" fmla="*/ 54 h 252"/>
                <a:gd name="T14" fmla="*/ 83 w 289"/>
                <a:gd name="T15" fmla="*/ 56 h 252"/>
                <a:gd name="T16" fmla="*/ 85 w 289"/>
                <a:gd name="T17" fmla="*/ 56 h 252"/>
                <a:gd name="T18" fmla="*/ 86 w 289"/>
                <a:gd name="T19" fmla="*/ 58 h 252"/>
                <a:gd name="T20" fmla="*/ 89 w 289"/>
                <a:gd name="T21" fmla="*/ 59 h 252"/>
                <a:gd name="T22" fmla="*/ 78 w 289"/>
                <a:gd name="T23" fmla="*/ 64 h 252"/>
                <a:gd name="T24" fmla="*/ 71 w 289"/>
                <a:gd name="T25" fmla="*/ 67 h 252"/>
                <a:gd name="T26" fmla="*/ 52 w 289"/>
                <a:gd name="T27" fmla="*/ 71 h 252"/>
                <a:gd name="T28" fmla="*/ 45 w 289"/>
                <a:gd name="T29" fmla="*/ 69 h 252"/>
                <a:gd name="T30" fmla="*/ 39 w 289"/>
                <a:gd name="T31" fmla="*/ 67 h 252"/>
                <a:gd name="T32" fmla="*/ 52 w 289"/>
                <a:gd name="T33" fmla="*/ 86 h 252"/>
                <a:gd name="T34" fmla="*/ 53 w 289"/>
                <a:gd name="T35" fmla="*/ 95 h 252"/>
                <a:gd name="T36" fmla="*/ 62 w 289"/>
                <a:gd name="T37" fmla="*/ 108 h 252"/>
                <a:gd name="T38" fmla="*/ 66 w 289"/>
                <a:gd name="T39" fmla="*/ 108 h 252"/>
                <a:gd name="T40" fmla="*/ 81 w 289"/>
                <a:gd name="T41" fmla="*/ 83 h 252"/>
                <a:gd name="T42" fmla="*/ 82 w 289"/>
                <a:gd name="T43" fmla="*/ 95 h 252"/>
                <a:gd name="T44" fmla="*/ 90 w 289"/>
                <a:gd name="T45" fmla="*/ 101 h 252"/>
                <a:gd name="T46" fmla="*/ 107 w 289"/>
                <a:gd name="T47" fmla="*/ 105 h 252"/>
                <a:gd name="T48" fmla="*/ 116 w 289"/>
                <a:gd name="T49" fmla="*/ 104 h 252"/>
                <a:gd name="T50" fmla="*/ 108 w 289"/>
                <a:gd name="T51" fmla="*/ 108 h 252"/>
                <a:gd name="T52" fmla="*/ 206 w 289"/>
                <a:gd name="T53" fmla="*/ 148 h 252"/>
                <a:gd name="T54" fmla="*/ 215 w 289"/>
                <a:gd name="T55" fmla="*/ 154 h 252"/>
                <a:gd name="T56" fmla="*/ 217 w 289"/>
                <a:gd name="T57" fmla="*/ 170 h 252"/>
                <a:gd name="T58" fmla="*/ 233 w 289"/>
                <a:gd name="T59" fmla="*/ 189 h 252"/>
                <a:gd name="T60" fmla="*/ 224 w 289"/>
                <a:gd name="T61" fmla="*/ 193 h 252"/>
                <a:gd name="T62" fmla="*/ 229 w 289"/>
                <a:gd name="T63" fmla="*/ 199 h 252"/>
                <a:gd name="T64" fmla="*/ 225 w 289"/>
                <a:gd name="T65" fmla="*/ 199 h 252"/>
                <a:gd name="T66" fmla="*/ 236 w 289"/>
                <a:gd name="T67" fmla="*/ 210 h 252"/>
                <a:gd name="T68" fmla="*/ 230 w 289"/>
                <a:gd name="T69" fmla="*/ 227 h 252"/>
                <a:gd name="T70" fmla="*/ 240 w 289"/>
                <a:gd name="T71" fmla="*/ 222 h 252"/>
                <a:gd name="T72" fmla="*/ 254 w 289"/>
                <a:gd name="T73" fmla="*/ 226 h 252"/>
                <a:gd name="T74" fmla="*/ 263 w 289"/>
                <a:gd name="T75" fmla="*/ 225 h 252"/>
                <a:gd name="T76" fmla="*/ 271 w 289"/>
                <a:gd name="T77" fmla="*/ 235 h 252"/>
                <a:gd name="T78" fmla="*/ 287 w 289"/>
                <a:gd name="T79" fmla="*/ 190 h 252"/>
                <a:gd name="T80" fmla="*/ 289 w 289"/>
                <a:gd name="T81" fmla="*/ 139 h 252"/>
                <a:gd name="T82" fmla="*/ 289 w 289"/>
                <a:gd name="T83" fmla="*/ 65 h 252"/>
                <a:gd name="T84" fmla="*/ 266 w 289"/>
                <a:gd name="T85" fmla="*/ 58 h 252"/>
                <a:gd name="T86" fmla="*/ 250 w 289"/>
                <a:gd name="T87" fmla="*/ 55 h 252"/>
                <a:gd name="T88" fmla="*/ 195 w 289"/>
                <a:gd name="T89" fmla="*/ 35 h 252"/>
                <a:gd name="T90" fmla="*/ 183 w 289"/>
                <a:gd name="T91" fmla="*/ 49 h 252"/>
                <a:gd name="T92" fmla="*/ 162 w 289"/>
                <a:gd name="T93" fmla="*/ 53 h 252"/>
                <a:gd name="T94" fmla="*/ 140 w 289"/>
                <a:gd name="T95" fmla="*/ 79 h 252"/>
                <a:gd name="T96" fmla="*/ 127 w 289"/>
                <a:gd name="T97" fmla="*/ 88 h 252"/>
                <a:gd name="T98" fmla="*/ 108 w 289"/>
                <a:gd name="T99" fmla="*/ 72 h 252"/>
                <a:gd name="T100" fmla="*/ 104 w 289"/>
                <a:gd name="T101" fmla="*/ 72 h 252"/>
                <a:gd name="T102" fmla="*/ 92 w 289"/>
                <a:gd name="T103" fmla="*/ 40 h 252"/>
                <a:gd name="T104" fmla="*/ 92 w 289"/>
                <a:gd name="T105" fmla="*/ 21 h 252"/>
                <a:gd name="T106" fmla="*/ 48 w 289"/>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9" h="252">
                  <a:moveTo>
                    <a:pt x="46" y="0"/>
                  </a:moveTo>
                  <a:cubicBezTo>
                    <a:pt x="43" y="0"/>
                    <a:pt x="41" y="1"/>
                    <a:pt x="39" y="2"/>
                  </a:cubicBezTo>
                  <a:cubicBezTo>
                    <a:pt x="35" y="4"/>
                    <a:pt x="31" y="8"/>
                    <a:pt x="28" y="10"/>
                  </a:cubicBezTo>
                  <a:cubicBezTo>
                    <a:pt x="24" y="11"/>
                    <a:pt x="19" y="11"/>
                    <a:pt x="15" y="12"/>
                  </a:cubicBezTo>
                  <a:cubicBezTo>
                    <a:pt x="14" y="12"/>
                    <a:pt x="10" y="13"/>
                    <a:pt x="9" y="13"/>
                  </a:cubicBezTo>
                  <a:cubicBezTo>
                    <a:pt x="8" y="15"/>
                    <a:pt x="10" y="17"/>
                    <a:pt x="10" y="18"/>
                  </a:cubicBezTo>
                  <a:cubicBezTo>
                    <a:pt x="9" y="22"/>
                    <a:pt x="3" y="28"/>
                    <a:pt x="0" y="31"/>
                  </a:cubicBezTo>
                  <a:cubicBezTo>
                    <a:pt x="7" y="32"/>
                    <a:pt x="14" y="32"/>
                    <a:pt x="21" y="33"/>
                  </a:cubicBezTo>
                  <a:cubicBezTo>
                    <a:pt x="23" y="34"/>
                    <a:pt x="26" y="35"/>
                    <a:pt x="29" y="35"/>
                  </a:cubicBezTo>
                  <a:cubicBezTo>
                    <a:pt x="29" y="35"/>
                    <a:pt x="29" y="35"/>
                    <a:pt x="30" y="35"/>
                  </a:cubicBezTo>
                  <a:cubicBezTo>
                    <a:pt x="28" y="36"/>
                    <a:pt x="27" y="37"/>
                    <a:pt x="29" y="39"/>
                  </a:cubicBezTo>
                  <a:cubicBezTo>
                    <a:pt x="30" y="42"/>
                    <a:pt x="29" y="41"/>
                    <a:pt x="29" y="43"/>
                  </a:cubicBezTo>
                  <a:cubicBezTo>
                    <a:pt x="31" y="49"/>
                    <a:pt x="34" y="51"/>
                    <a:pt x="39" y="55"/>
                  </a:cubicBezTo>
                  <a:cubicBezTo>
                    <a:pt x="39" y="55"/>
                    <a:pt x="40" y="55"/>
                    <a:pt x="40" y="55"/>
                  </a:cubicBezTo>
                  <a:cubicBezTo>
                    <a:pt x="40" y="55"/>
                    <a:pt x="40" y="55"/>
                    <a:pt x="40" y="55"/>
                  </a:cubicBezTo>
                  <a:cubicBezTo>
                    <a:pt x="41" y="55"/>
                    <a:pt x="41" y="55"/>
                    <a:pt x="41" y="55"/>
                  </a:cubicBezTo>
                  <a:cubicBezTo>
                    <a:pt x="41" y="55"/>
                    <a:pt x="41" y="55"/>
                    <a:pt x="41" y="55"/>
                  </a:cubicBezTo>
                  <a:cubicBezTo>
                    <a:pt x="43" y="55"/>
                    <a:pt x="45" y="53"/>
                    <a:pt x="47" y="53"/>
                  </a:cubicBezTo>
                  <a:cubicBezTo>
                    <a:pt x="47" y="53"/>
                    <a:pt x="47" y="53"/>
                    <a:pt x="47" y="53"/>
                  </a:cubicBezTo>
                  <a:cubicBezTo>
                    <a:pt x="49" y="53"/>
                    <a:pt x="52" y="54"/>
                    <a:pt x="53" y="55"/>
                  </a:cubicBezTo>
                  <a:cubicBezTo>
                    <a:pt x="55" y="55"/>
                    <a:pt x="57" y="56"/>
                    <a:pt x="59" y="56"/>
                  </a:cubicBezTo>
                  <a:cubicBezTo>
                    <a:pt x="59" y="56"/>
                    <a:pt x="59" y="56"/>
                    <a:pt x="59" y="56"/>
                  </a:cubicBezTo>
                  <a:cubicBezTo>
                    <a:pt x="61" y="56"/>
                    <a:pt x="64" y="54"/>
                    <a:pt x="66" y="54"/>
                  </a:cubicBezTo>
                  <a:cubicBezTo>
                    <a:pt x="66" y="54"/>
                    <a:pt x="67" y="54"/>
                    <a:pt x="67" y="54"/>
                  </a:cubicBezTo>
                  <a:cubicBezTo>
                    <a:pt x="67" y="54"/>
                    <a:pt x="68" y="54"/>
                    <a:pt x="70" y="54"/>
                  </a:cubicBezTo>
                  <a:cubicBezTo>
                    <a:pt x="71" y="54"/>
                    <a:pt x="72" y="54"/>
                    <a:pt x="73" y="54"/>
                  </a:cubicBezTo>
                  <a:cubicBezTo>
                    <a:pt x="74" y="54"/>
                    <a:pt x="75" y="54"/>
                    <a:pt x="75" y="54"/>
                  </a:cubicBezTo>
                  <a:cubicBezTo>
                    <a:pt x="75" y="54"/>
                    <a:pt x="76" y="54"/>
                    <a:pt x="77" y="54"/>
                  </a:cubicBezTo>
                  <a:cubicBezTo>
                    <a:pt x="78" y="54"/>
                    <a:pt x="80" y="53"/>
                    <a:pt x="82" y="52"/>
                  </a:cubicBezTo>
                  <a:cubicBezTo>
                    <a:pt x="83" y="52"/>
                    <a:pt x="85" y="51"/>
                    <a:pt x="87" y="51"/>
                  </a:cubicBezTo>
                  <a:cubicBezTo>
                    <a:pt x="87" y="51"/>
                    <a:pt x="87" y="51"/>
                    <a:pt x="87" y="51"/>
                  </a:cubicBezTo>
                  <a:cubicBezTo>
                    <a:pt x="86" y="52"/>
                    <a:pt x="83" y="55"/>
                    <a:pt x="83" y="56"/>
                  </a:cubicBezTo>
                  <a:cubicBezTo>
                    <a:pt x="84" y="56"/>
                    <a:pt x="84" y="56"/>
                    <a:pt x="84" y="56"/>
                  </a:cubicBezTo>
                  <a:cubicBezTo>
                    <a:pt x="84" y="56"/>
                    <a:pt x="84" y="56"/>
                    <a:pt x="85" y="56"/>
                  </a:cubicBezTo>
                  <a:cubicBezTo>
                    <a:pt x="85" y="56"/>
                    <a:pt x="85" y="56"/>
                    <a:pt x="85" y="56"/>
                  </a:cubicBezTo>
                  <a:cubicBezTo>
                    <a:pt x="85" y="56"/>
                    <a:pt x="85" y="56"/>
                    <a:pt x="85" y="56"/>
                  </a:cubicBezTo>
                  <a:cubicBezTo>
                    <a:pt x="85" y="56"/>
                    <a:pt x="85" y="56"/>
                    <a:pt x="85" y="56"/>
                  </a:cubicBezTo>
                  <a:cubicBezTo>
                    <a:pt x="86" y="56"/>
                    <a:pt x="86" y="56"/>
                    <a:pt x="86" y="56"/>
                  </a:cubicBezTo>
                  <a:cubicBezTo>
                    <a:pt x="86" y="56"/>
                    <a:pt x="87" y="56"/>
                    <a:pt x="87" y="56"/>
                  </a:cubicBezTo>
                  <a:cubicBezTo>
                    <a:pt x="88" y="56"/>
                    <a:pt x="88" y="56"/>
                    <a:pt x="86" y="58"/>
                  </a:cubicBezTo>
                  <a:cubicBezTo>
                    <a:pt x="87" y="57"/>
                    <a:pt x="87" y="58"/>
                    <a:pt x="88" y="57"/>
                  </a:cubicBezTo>
                  <a:cubicBezTo>
                    <a:pt x="87" y="58"/>
                    <a:pt x="87" y="58"/>
                    <a:pt x="86" y="59"/>
                  </a:cubicBezTo>
                  <a:cubicBezTo>
                    <a:pt x="87" y="59"/>
                    <a:pt x="88" y="59"/>
                    <a:pt x="89" y="59"/>
                  </a:cubicBezTo>
                  <a:cubicBezTo>
                    <a:pt x="89" y="59"/>
                    <a:pt x="89" y="59"/>
                    <a:pt x="89" y="59"/>
                  </a:cubicBezTo>
                  <a:cubicBezTo>
                    <a:pt x="86" y="61"/>
                    <a:pt x="84" y="63"/>
                    <a:pt x="84" y="66"/>
                  </a:cubicBezTo>
                  <a:cubicBezTo>
                    <a:pt x="83" y="65"/>
                    <a:pt x="82" y="64"/>
                    <a:pt x="81" y="63"/>
                  </a:cubicBezTo>
                  <a:cubicBezTo>
                    <a:pt x="81" y="65"/>
                    <a:pt x="80" y="66"/>
                    <a:pt x="80" y="68"/>
                  </a:cubicBezTo>
                  <a:cubicBezTo>
                    <a:pt x="79" y="65"/>
                    <a:pt x="79" y="64"/>
                    <a:pt x="78" y="64"/>
                  </a:cubicBezTo>
                  <a:cubicBezTo>
                    <a:pt x="77" y="64"/>
                    <a:pt x="76" y="65"/>
                    <a:pt x="74" y="66"/>
                  </a:cubicBezTo>
                  <a:cubicBezTo>
                    <a:pt x="73" y="65"/>
                    <a:pt x="73" y="64"/>
                    <a:pt x="73" y="62"/>
                  </a:cubicBezTo>
                  <a:cubicBezTo>
                    <a:pt x="72" y="64"/>
                    <a:pt x="72" y="66"/>
                    <a:pt x="72" y="67"/>
                  </a:cubicBezTo>
                  <a:cubicBezTo>
                    <a:pt x="71" y="67"/>
                    <a:pt x="71" y="67"/>
                    <a:pt x="71" y="67"/>
                  </a:cubicBezTo>
                  <a:cubicBezTo>
                    <a:pt x="71" y="64"/>
                    <a:pt x="72" y="62"/>
                    <a:pt x="68" y="61"/>
                  </a:cubicBezTo>
                  <a:cubicBezTo>
                    <a:pt x="67" y="61"/>
                    <a:pt x="67" y="61"/>
                    <a:pt x="66" y="61"/>
                  </a:cubicBezTo>
                  <a:cubicBezTo>
                    <a:pt x="61" y="61"/>
                    <a:pt x="59" y="65"/>
                    <a:pt x="56" y="68"/>
                  </a:cubicBezTo>
                  <a:cubicBezTo>
                    <a:pt x="54" y="70"/>
                    <a:pt x="54" y="71"/>
                    <a:pt x="52" y="71"/>
                  </a:cubicBezTo>
                  <a:cubicBezTo>
                    <a:pt x="52" y="71"/>
                    <a:pt x="51" y="71"/>
                    <a:pt x="50" y="70"/>
                  </a:cubicBezTo>
                  <a:cubicBezTo>
                    <a:pt x="49" y="70"/>
                    <a:pt x="48" y="69"/>
                    <a:pt x="47" y="68"/>
                  </a:cubicBezTo>
                  <a:cubicBezTo>
                    <a:pt x="47" y="68"/>
                    <a:pt x="47" y="68"/>
                    <a:pt x="47" y="68"/>
                  </a:cubicBezTo>
                  <a:cubicBezTo>
                    <a:pt x="46" y="68"/>
                    <a:pt x="45" y="69"/>
                    <a:pt x="45" y="69"/>
                  </a:cubicBezTo>
                  <a:cubicBezTo>
                    <a:pt x="44" y="69"/>
                    <a:pt x="44" y="69"/>
                    <a:pt x="44" y="69"/>
                  </a:cubicBezTo>
                  <a:cubicBezTo>
                    <a:pt x="44" y="69"/>
                    <a:pt x="44" y="69"/>
                    <a:pt x="44" y="69"/>
                  </a:cubicBezTo>
                  <a:cubicBezTo>
                    <a:pt x="43" y="69"/>
                    <a:pt x="41" y="68"/>
                    <a:pt x="40" y="68"/>
                  </a:cubicBezTo>
                  <a:cubicBezTo>
                    <a:pt x="40" y="67"/>
                    <a:pt x="39" y="67"/>
                    <a:pt x="39" y="67"/>
                  </a:cubicBezTo>
                  <a:cubicBezTo>
                    <a:pt x="38" y="67"/>
                    <a:pt x="37" y="67"/>
                    <a:pt x="36" y="68"/>
                  </a:cubicBezTo>
                  <a:cubicBezTo>
                    <a:pt x="34" y="68"/>
                    <a:pt x="32" y="69"/>
                    <a:pt x="30" y="70"/>
                  </a:cubicBezTo>
                  <a:cubicBezTo>
                    <a:pt x="34" y="74"/>
                    <a:pt x="39" y="74"/>
                    <a:pt x="43" y="77"/>
                  </a:cubicBezTo>
                  <a:cubicBezTo>
                    <a:pt x="47" y="80"/>
                    <a:pt x="49" y="83"/>
                    <a:pt x="52" y="86"/>
                  </a:cubicBezTo>
                  <a:cubicBezTo>
                    <a:pt x="52" y="85"/>
                    <a:pt x="53" y="85"/>
                    <a:pt x="53" y="85"/>
                  </a:cubicBezTo>
                  <a:cubicBezTo>
                    <a:pt x="54" y="85"/>
                    <a:pt x="54" y="85"/>
                    <a:pt x="55" y="86"/>
                  </a:cubicBezTo>
                  <a:cubicBezTo>
                    <a:pt x="55" y="88"/>
                    <a:pt x="58" y="92"/>
                    <a:pt x="58" y="93"/>
                  </a:cubicBezTo>
                  <a:cubicBezTo>
                    <a:pt x="57" y="94"/>
                    <a:pt x="54" y="94"/>
                    <a:pt x="53" y="95"/>
                  </a:cubicBezTo>
                  <a:cubicBezTo>
                    <a:pt x="52" y="97"/>
                    <a:pt x="54" y="103"/>
                    <a:pt x="56" y="106"/>
                  </a:cubicBezTo>
                  <a:cubicBezTo>
                    <a:pt x="57" y="109"/>
                    <a:pt x="57" y="109"/>
                    <a:pt x="57" y="109"/>
                  </a:cubicBezTo>
                  <a:cubicBezTo>
                    <a:pt x="58" y="109"/>
                    <a:pt x="58" y="109"/>
                    <a:pt x="59" y="109"/>
                  </a:cubicBezTo>
                  <a:cubicBezTo>
                    <a:pt x="60" y="109"/>
                    <a:pt x="61" y="108"/>
                    <a:pt x="62" y="108"/>
                  </a:cubicBezTo>
                  <a:cubicBezTo>
                    <a:pt x="62" y="108"/>
                    <a:pt x="62" y="108"/>
                    <a:pt x="63" y="108"/>
                  </a:cubicBezTo>
                  <a:cubicBezTo>
                    <a:pt x="63" y="108"/>
                    <a:pt x="64" y="108"/>
                    <a:pt x="64" y="108"/>
                  </a:cubicBezTo>
                  <a:cubicBezTo>
                    <a:pt x="65" y="108"/>
                    <a:pt x="65" y="108"/>
                    <a:pt x="66" y="108"/>
                  </a:cubicBezTo>
                  <a:cubicBezTo>
                    <a:pt x="66" y="108"/>
                    <a:pt x="66" y="108"/>
                    <a:pt x="66" y="108"/>
                  </a:cubicBezTo>
                  <a:cubicBezTo>
                    <a:pt x="71" y="107"/>
                    <a:pt x="72" y="100"/>
                    <a:pt x="74" y="96"/>
                  </a:cubicBezTo>
                  <a:cubicBezTo>
                    <a:pt x="77" y="89"/>
                    <a:pt x="79" y="80"/>
                    <a:pt x="86" y="76"/>
                  </a:cubicBezTo>
                  <a:cubicBezTo>
                    <a:pt x="85" y="78"/>
                    <a:pt x="84" y="79"/>
                    <a:pt x="83" y="81"/>
                  </a:cubicBezTo>
                  <a:cubicBezTo>
                    <a:pt x="82" y="82"/>
                    <a:pt x="81" y="82"/>
                    <a:pt x="81" y="83"/>
                  </a:cubicBezTo>
                  <a:cubicBezTo>
                    <a:pt x="80" y="85"/>
                    <a:pt x="81" y="86"/>
                    <a:pt x="80" y="89"/>
                  </a:cubicBezTo>
                  <a:cubicBezTo>
                    <a:pt x="80" y="90"/>
                    <a:pt x="79" y="90"/>
                    <a:pt x="79" y="91"/>
                  </a:cubicBezTo>
                  <a:cubicBezTo>
                    <a:pt x="79" y="94"/>
                    <a:pt x="79" y="95"/>
                    <a:pt x="80" y="95"/>
                  </a:cubicBezTo>
                  <a:cubicBezTo>
                    <a:pt x="80" y="95"/>
                    <a:pt x="81" y="95"/>
                    <a:pt x="82" y="95"/>
                  </a:cubicBezTo>
                  <a:cubicBezTo>
                    <a:pt x="82" y="94"/>
                    <a:pt x="83" y="94"/>
                    <a:pt x="83" y="94"/>
                  </a:cubicBezTo>
                  <a:cubicBezTo>
                    <a:pt x="84" y="94"/>
                    <a:pt x="84" y="94"/>
                    <a:pt x="84" y="94"/>
                  </a:cubicBezTo>
                  <a:cubicBezTo>
                    <a:pt x="87" y="95"/>
                    <a:pt x="86" y="101"/>
                    <a:pt x="89" y="101"/>
                  </a:cubicBezTo>
                  <a:cubicBezTo>
                    <a:pt x="89" y="101"/>
                    <a:pt x="90" y="101"/>
                    <a:pt x="90" y="101"/>
                  </a:cubicBezTo>
                  <a:cubicBezTo>
                    <a:pt x="92" y="101"/>
                    <a:pt x="93" y="101"/>
                    <a:pt x="93" y="99"/>
                  </a:cubicBezTo>
                  <a:cubicBezTo>
                    <a:pt x="95" y="101"/>
                    <a:pt x="96" y="104"/>
                    <a:pt x="98" y="106"/>
                  </a:cubicBezTo>
                  <a:cubicBezTo>
                    <a:pt x="99" y="105"/>
                    <a:pt x="100" y="104"/>
                    <a:pt x="99" y="102"/>
                  </a:cubicBezTo>
                  <a:cubicBezTo>
                    <a:pt x="101" y="103"/>
                    <a:pt x="104" y="105"/>
                    <a:pt x="107" y="105"/>
                  </a:cubicBezTo>
                  <a:cubicBezTo>
                    <a:pt x="107" y="105"/>
                    <a:pt x="107" y="105"/>
                    <a:pt x="107" y="105"/>
                  </a:cubicBezTo>
                  <a:cubicBezTo>
                    <a:pt x="108" y="105"/>
                    <a:pt x="108" y="103"/>
                    <a:pt x="109" y="103"/>
                  </a:cubicBezTo>
                  <a:cubicBezTo>
                    <a:pt x="109" y="103"/>
                    <a:pt x="110" y="103"/>
                    <a:pt x="110" y="103"/>
                  </a:cubicBezTo>
                  <a:cubicBezTo>
                    <a:pt x="112" y="103"/>
                    <a:pt x="115" y="104"/>
                    <a:pt x="116" y="104"/>
                  </a:cubicBezTo>
                  <a:cubicBezTo>
                    <a:pt x="115" y="104"/>
                    <a:pt x="114" y="104"/>
                    <a:pt x="113" y="104"/>
                  </a:cubicBezTo>
                  <a:cubicBezTo>
                    <a:pt x="113" y="104"/>
                    <a:pt x="112" y="104"/>
                    <a:pt x="112" y="104"/>
                  </a:cubicBezTo>
                  <a:cubicBezTo>
                    <a:pt x="112" y="104"/>
                    <a:pt x="111" y="104"/>
                    <a:pt x="111" y="104"/>
                  </a:cubicBezTo>
                  <a:cubicBezTo>
                    <a:pt x="110" y="104"/>
                    <a:pt x="109" y="105"/>
                    <a:pt x="108" y="108"/>
                  </a:cubicBezTo>
                  <a:cubicBezTo>
                    <a:pt x="107" y="112"/>
                    <a:pt x="133" y="119"/>
                    <a:pt x="134" y="120"/>
                  </a:cubicBezTo>
                  <a:cubicBezTo>
                    <a:pt x="152" y="125"/>
                    <a:pt x="170" y="131"/>
                    <a:pt x="187" y="136"/>
                  </a:cubicBezTo>
                  <a:cubicBezTo>
                    <a:pt x="195" y="139"/>
                    <a:pt x="201" y="143"/>
                    <a:pt x="206" y="148"/>
                  </a:cubicBezTo>
                  <a:cubicBezTo>
                    <a:pt x="206" y="148"/>
                    <a:pt x="206" y="148"/>
                    <a:pt x="206" y="148"/>
                  </a:cubicBezTo>
                  <a:cubicBezTo>
                    <a:pt x="207" y="147"/>
                    <a:pt x="207" y="148"/>
                    <a:pt x="207" y="147"/>
                  </a:cubicBezTo>
                  <a:cubicBezTo>
                    <a:pt x="207" y="149"/>
                    <a:pt x="205" y="156"/>
                    <a:pt x="209" y="156"/>
                  </a:cubicBezTo>
                  <a:cubicBezTo>
                    <a:pt x="209" y="156"/>
                    <a:pt x="209" y="156"/>
                    <a:pt x="209" y="156"/>
                  </a:cubicBezTo>
                  <a:cubicBezTo>
                    <a:pt x="211" y="155"/>
                    <a:pt x="213" y="155"/>
                    <a:pt x="215" y="154"/>
                  </a:cubicBezTo>
                  <a:cubicBezTo>
                    <a:pt x="214" y="155"/>
                    <a:pt x="212" y="156"/>
                    <a:pt x="210" y="157"/>
                  </a:cubicBezTo>
                  <a:cubicBezTo>
                    <a:pt x="212" y="158"/>
                    <a:pt x="214" y="159"/>
                    <a:pt x="216" y="159"/>
                  </a:cubicBezTo>
                  <a:cubicBezTo>
                    <a:pt x="216" y="159"/>
                    <a:pt x="217" y="159"/>
                    <a:pt x="217" y="159"/>
                  </a:cubicBezTo>
                  <a:cubicBezTo>
                    <a:pt x="210" y="162"/>
                    <a:pt x="214" y="164"/>
                    <a:pt x="217" y="170"/>
                  </a:cubicBezTo>
                  <a:cubicBezTo>
                    <a:pt x="219" y="176"/>
                    <a:pt x="224" y="180"/>
                    <a:pt x="229" y="184"/>
                  </a:cubicBezTo>
                  <a:cubicBezTo>
                    <a:pt x="228" y="184"/>
                    <a:pt x="226" y="184"/>
                    <a:pt x="225" y="184"/>
                  </a:cubicBezTo>
                  <a:cubicBezTo>
                    <a:pt x="225" y="184"/>
                    <a:pt x="225" y="184"/>
                    <a:pt x="225" y="184"/>
                  </a:cubicBezTo>
                  <a:cubicBezTo>
                    <a:pt x="225" y="184"/>
                    <a:pt x="229" y="187"/>
                    <a:pt x="233" y="189"/>
                  </a:cubicBezTo>
                  <a:cubicBezTo>
                    <a:pt x="232" y="189"/>
                    <a:pt x="232" y="189"/>
                    <a:pt x="231" y="189"/>
                  </a:cubicBezTo>
                  <a:cubicBezTo>
                    <a:pt x="230" y="189"/>
                    <a:pt x="229" y="189"/>
                    <a:pt x="228" y="189"/>
                  </a:cubicBezTo>
                  <a:cubicBezTo>
                    <a:pt x="227" y="189"/>
                    <a:pt x="223" y="189"/>
                    <a:pt x="222" y="190"/>
                  </a:cubicBezTo>
                  <a:cubicBezTo>
                    <a:pt x="220" y="191"/>
                    <a:pt x="223" y="192"/>
                    <a:pt x="224" y="193"/>
                  </a:cubicBezTo>
                  <a:cubicBezTo>
                    <a:pt x="229" y="195"/>
                    <a:pt x="234" y="197"/>
                    <a:pt x="240" y="200"/>
                  </a:cubicBezTo>
                  <a:cubicBezTo>
                    <a:pt x="239" y="200"/>
                    <a:pt x="238" y="200"/>
                    <a:pt x="237" y="200"/>
                  </a:cubicBezTo>
                  <a:cubicBezTo>
                    <a:pt x="236" y="200"/>
                    <a:pt x="235" y="200"/>
                    <a:pt x="233" y="199"/>
                  </a:cubicBezTo>
                  <a:cubicBezTo>
                    <a:pt x="232" y="199"/>
                    <a:pt x="231" y="199"/>
                    <a:pt x="229" y="199"/>
                  </a:cubicBezTo>
                  <a:cubicBezTo>
                    <a:pt x="228" y="199"/>
                    <a:pt x="228" y="199"/>
                    <a:pt x="227" y="199"/>
                  </a:cubicBezTo>
                  <a:cubicBezTo>
                    <a:pt x="227" y="199"/>
                    <a:pt x="227" y="199"/>
                    <a:pt x="227" y="199"/>
                  </a:cubicBezTo>
                  <a:cubicBezTo>
                    <a:pt x="227" y="199"/>
                    <a:pt x="226" y="199"/>
                    <a:pt x="226" y="199"/>
                  </a:cubicBezTo>
                  <a:cubicBezTo>
                    <a:pt x="226" y="199"/>
                    <a:pt x="225" y="199"/>
                    <a:pt x="225" y="199"/>
                  </a:cubicBezTo>
                  <a:cubicBezTo>
                    <a:pt x="225" y="199"/>
                    <a:pt x="225" y="199"/>
                    <a:pt x="225" y="199"/>
                  </a:cubicBezTo>
                  <a:cubicBezTo>
                    <a:pt x="224" y="200"/>
                    <a:pt x="228" y="204"/>
                    <a:pt x="229" y="205"/>
                  </a:cubicBezTo>
                  <a:cubicBezTo>
                    <a:pt x="231" y="206"/>
                    <a:pt x="233" y="208"/>
                    <a:pt x="234" y="209"/>
                  </a:cubicBezTo>
                  <a:cubicBezTo>
                    <a:pt x="235" y="210"/>
                    <a:pt x="236" y="209"/>
                    <a:pt x="236" y="210"/>
                  </a:cubicBezTo>
                  <a:cubicBezTo>
                    <a:pt x="236" y="211"/>
                    <a:pt x="234" y="217"/>
                    <a:pt x="234" y="218"/>
                  </a:cubicBezTo>
                  <a:cubicBezTo>
                    <a:pt x="233" y="220"/>
                    <a:pt x="232" y="219"/>
                    <a:pt x="232" y="221"/>
                  </a:cubicBezTo>
                  <a:cubicBezTo>
                    <a:pt x="231" y="222"/>
                    <a:pt x="232" y="224"/>
                    <a:pt x="232" y="225"/>
                  </a:cubicBezTo>
                  <a:cubicBezTo>
                    <a:pt x="231" y="226"/>
                    <a:pt x="230" y="225"/>
                    <a:pt x="230" y="227"/>
                  </a:cubicBezTo>
                  <a:cubicBezTo>
                    <a:pt x="230" y="228"/>
                    <a:pt x="231" y="230"/>
                    <a:pt x="232" y="231"/>
                  </a:cubicBezTo>
                  <a:cubicBezTo>
                    <a:pt x="233" y="229"/>
                    <a:pt x="235" y="228"/>
                    <a:pt x="237" y="227"/>
                  </a:cubicBezTo>
                  <a:cubicBezTo>
                    <a:pt x="237" y="226"/>
                    <a:pt x="240" y="226"/>
                    <a:pt x="241" y="225"/>
                  </a:cubicBezTo>
                  <a:cubicBezTo>
                    <a:pt x="241" y="224"/>
                    <a:pt x="240" y="222"/>
                    <a:pt x="240" y="222"/>
                  </a:cubicBezTo>
                  <a:cubicBezTo>
                    <a:pt x="240" y="221"/>
                    <a:pt x="241" y="221"/>
                    <a:pt x="241" y="221"/>
                  </a:cubicBezTo>
                  <a:cubicBezTo>
                    <a:pt x="242" y="221"/>
                    <a:pt x="241" y="226"/>
                    <a:pt x="242" y="226"/>
                  </a:cubicBezTo>
                  <a:cubicBezTo>
                    <a:pt x="243" y="228"/>
                    <a:pt x="244" y="228"/>
                    <a:pt x="245" y="228"/>
                  </a:cubicBezTo>
                  <a:cubicBezTo>
                    <a:pt x="248" y="228"/>
                    <a:pt x="252" y="226"/>
                    <a:pt x="254" y="226"/>
                  </a:cubicBezTo>
                  <a:cubicBezTo>
                    <a:pt x="255" y="226"/>
                    <a:pt x="255" y="226"/>
                    <a:pt x="256" y="226"/>
                  </a:cubicBezTo>
                  <a:cubicBezTo>
                    <a:pt x="256" y="226"/>
                    <a:pt x="257" y="226"/>
                    <a:pt x="257" y="226"/>
                  </a:cubicBezTo>
                  <a:cubicBezTo>
                    <a:pt x="258" y="226"/>
                    <a:pt x="259" y="226"/>
                    <a:pt x="259" y="226"/>
                  </a:cubicBezTo>
                  <a:cubicBezTo>
                    <a:pt x="260" y="226"/>
                    <a:pt x="262" y="226"/>
                    <a:pt x="263" y="225"/>
                  </a:cubicBezTo>
                  <a:cubicBezTo>
                    <a:pt x="265" y="224"/>
                    <a:pt x="264" y="220"/>
                    <a:pt x="266" y="220"/>
                  </a:cubicBezTo>
                  <a:cubicBezTo>
                    <a:pt x="264" y="222"/>
                    <a:pt x="266" y="222"/>
                    <a:pt x="265" y="224"/>
                  </a:cubicBezTo>
                  <a:cubicBezTo>
                    <a:pt x="265" y="225"/>
                    <a:pt x="263" y="225"/>
                    <a:pt x="263" y="226"/>
                  </a:cubicBezTo>
                  <a:cubicBezTo>
                    <a:pt x="262" y="229"/>
                    <a:pt x="269" y="233"/>
                    <a:pt x="271" y="235"/>
                  </a:cubicBezTo>
                  <a:cubicBezTo>
                    <a:pt x="277" y="241"/>
                    <a:pt x="283" y="246"/>
                    <a:pt x="289" y="252"/>
                  </a:cubicBezTo>
                  <a:cubicBezTo>
                    <a:pt x="289" y="192"/>
                    <a:pt x="289" y="192"/>
                    <a:pt x="289" y="192"/>
                  </a:cubicBezTo>
                  <a:cubicBezTo>
                    <a:pt x="288" y="192"/>
                    <a:pt x="288" y="192"/>
                    <a:pt x="288" y="192"/>
                  </a:cubicBezTo>
                  <a:cubicBezTo>
                    <a:pt x="288" y="191"/>
                    <a:pt x="287" y="191"/>
                    <a:pt x="287" y="190"/>
                  </a:cubicBezTo>
                  <a:cubicBezTo>
                    <a:pt x="286" y="189"/>
                    <a:pt x="286" y="188"/>
                    <a:pt x="286" y="187"/>
                  </a:cubicBezTo>
                  <a:cubicBezTo>
                    <a:pt x="288" y="158"/>
                    <a:pt x="288" y="158"/>
                    <a:pt x="288" y="158"/>
                  </a:cubicBezTo>
                  <a:cubicBezTo>
                    <a:pt x="288" y="153"/>
                    <a:pt x="289" y="148"/>
                    <a:pt x="289" y="143"/>
                  </a:cubicBezTo>
                  <a:cubicBezTo>
                    <a:pt x="289" y="139"/>
                    <a:pt x="289" y="139"/>
                    <a:pt x="289" y="139"/>
                  </a:cubicBezTo>
                  <a:cubicBezTo>
                    <a:pt x="289" y="137"/>
                    <a:pt x="289" y="136"/>
                    <a:pt x="289" y="135"/>
                  </a:cubicBezTo>
                  <a:cubicBezTo>
                    <a:pt x="289" y="131"/>
                    <a:pt x="289" y="131"/>
                    <a:pt x="289" y="131"/>
                  </a:cubicBezTo>
                  <a:cubicBezTo>
                    <a:pt x="289" y="118"/>
                    <a:pt x="289" y="103"/>
                    <a:pt x="289" y="91"/>
                  </a:cubicBezTo>
                  <a:cubicBezTo>
                    <a:pt x="289" y="82"/>
                    <a:pt x="289" y="74"/>
                    <a:pt x="289" y="65"/>
                  </a:cubicBezTo>
                  <a:cubicBezTo>
                    <a:pt x="287" y="65"/>
                    <a:pt x="286" y="65"/>
                    <a:pt x="285" y="66"/>
                  </a:cubicBezTo>
                  <a:cubicBezTo>
                    <a:pt x="284" y="65"/>
                    <a:pt x="283" y="61"/>
                    <a:pt x="282" y="61"/>
                  </a:cubicBezTo>
                  <a:cubicBezTo>
                    <a:pt x="278" y="60"/>
                    <a:pt x="273" y="59"/>
                    <a:pt x="269" y="59"/>
                  </a:cubicBezTo>
                  <a:cubicBezTo>
                    <a:pt x="268" y="58"/>
                    <a:pt x="267" y="58"/>
                    <a:pt x="266" y="58"/>
                  </a:cubicBezTo>
                  <a:cubicBezTo>
                    <a:pt x="265" y="58"/>
                    <a:pt x="264" y="58"/>
                    <a:pt x="263" y="58"/>
                  </a:cubicBezTo>
                  <a:cubicBezTo>
                    <a:pt x="262" y="59"/>
                    <a:pt x="261" y="59"/>
                    <a:pt x="260" y="59"/>
                  </a:cubicBezTo>
                  <a:cubicBezTo>
                    <a:pt x="260" y="59"/>
                    <a:pt x="259" y="59"/>
                    <a:pt x="258" y="58"/>
                  </a:cubicBezTo>
                  <a:cubicBezTo>
                    <a:pt x="255" y="58"/>
                    <a:pt x="253" y="56"/>
                    <a:pt x="250" y="55"/>
                  </a:cubicBezTo>
                  <a:cubicBezTo>
                    <a:pt x="242" y="51"/>
                    <a:pt x="234" y="48"/>
                    <a:pt x="226" y="44"/>
                  </a:cubicBezTo>
                  <a:cubicBezTo>
                    <a:pt x="219" y="40"/>
                    <a:pt x="212" y="37"/>
                    <a:pt x="204" y="34"/>
                  </a:cubicBezTo>
                  <a:cubicBezTo>
                    <a:pt x="204" y="33"/>
                    <a:pt x="203" y="33"/>
                    <a:pt x="202" y="33"/>
                  </a:cubicBezTo>
                  <a:cubicBezTo>
                    <a:pt x="199" y="33"/>
                    <a:pt x="197" y="34"/>
                    <a:pt x="195" y="35"/>
                  </a:cubicBezTo>
                  <a:cubicBezTo>
                    <a:pt x="191" y="36"/>
                    <a:pt x="188" y="38"/>
                    <a:pt x="185" y="40"/>
                  </a:cubicBezTo>
                  <a:cubicBezTo>
                    <a:pt x="183" y="41"/>
                    <a:pt x="180" y="41"/>
                    <a:pt x="180" y="43"/>
                  </a:cubicBezTo>
                  <a:cubicBezTo>
                    <a:pt x="181" y="45"/>
                    <a:pt x="182" y="46"/>
                    <a:pt x="182" y="48"/>
                  </a:cubicBezTo>
                  <a:cubicBezTo>
                    <a:pt x="183" y="49"/>
                    <a:pt x="183" y="49"/>
                    <a:pt x="183" y="49"/>
                  </a:cubicBezTo>
                  <a:cubicBezTo>
                    <a:pt x="182" y="51"/>
                    <a:pt x="179" y="51"/>
                    <a:pt x="177" y="52"/>
                  </a:cubicBezTo>
                  <a:cubicBezTo>
                    <a:pt x="173" y="53"/>
                    <a:pt x="169" y="55"/>
                    <a:pt x="166" y="55"/>
                  </a:cubicBezTo>
                  <a:cubicBezTo>
                    <a:pt x="165" y="55"/>
                    <a:pt x="165" y="55"/>
                    <a:pt x="165" y="55"/>
                  </a:cubicBezTo>
                  <a:cubicBezTo>
                    <a:pt x="163" y="55"/>
                    <a:pt x="163" y="53"/>
                    <a:pt x="162" y="53"/>
                  </a:cubicBezTo>
                  <a:cubicBezTo>
                    <a:pt x="158" y="53"/>
                    <a:pt x="157" y="57"/>
                    <a:pt x="155" y="60"/>
                  </a:cubicBezTo>
                  <a:cubicBezTo>
                    <a:pt x="152" y="64"/>
                    <a:pt x="147" y="69"/>
                    <a:pt x="145" y="74"/>
                  </a:cubicBezTo>
                  <a:cubicBezTo>
                    <a:pt x="145" y="74"/>
                    <a:pt x="145" y="75"/>
                    <a:pt x="144" y="77"/>
                  </a:cubicBezTo>
                  <a:cubicBezTo>
                    <a:pt x="143" y="78"/>
                    <a:pt x="141" y="78"/>
                    <a:pt x="140" y="79"/>
                  </a:cubicBezTo>
                  <a:cubicBezTo>
                    <a:pt x="139" y="79"/>
                    <a:pt x="141" y="80"/>
                    <a:pt x="139" y="81"/>
                  </a:cubicBezTo>
                  <a:cubicBezTo>
                    <a:pt x="138" y="82"/>
                    <a:pt x="137" y="82"/>
                    <a:pt x="136" y="82"/>
                  </a:cubicBezTo>
                  <a:cubicBezTo>
                    <a:pt x="135" y="83"/>
                    <a:pt x="135" y="85"/>
                    <a:pt x="134" y="86"/>
                  </a:cubicBezTo>
                  <a:cubicBezTo>
                    <a:pt x="132" y="87"/>
                    <a:pt x="130" y="88"/>
                    <a:pt x="127" y="88"/>
                  </a:cubicBezTo>
                  <a:cubicBezTo>
                    <a:pt x="125" y="88"/>
                    <a:pt x="123" y="88"/>
                    <a:pt x="121" y="87"/>
                  </a:cubicBezTo>
                  <a:cubicBezTo>
                    <a:pt x="115" y="86"/>
                    <a:pt x="114" y="81"/>
                    <a:pt x="114" y="74"/>
                  </a:cubicBezTo>
                  <a:cubicBezTo>
                    <a:pt x="112" y="75"/>
                    <a:pt x="111" y="76"/>
                    <a:pt x="111" y="76"/>
                  </a:cubicBezTo>
                  <a:cubicBezTo>
                    <a:pt x="110" y="76"/>
                    <a:pt x="109" y="75"/>
                    <a:pt x="108" y="72"/>
                  </a:cubicBezTo>
                  <a:cubicBezTo>
                    <a:pt x="108" y="71"/>
                    <a:pt x="109" y="65"/>
                    <a:pt x="108" y="64"/>
                  </a:cubicBezTo>
                  <a:cubicBezTo>
                    <a:pt x="107" y="63"/>
                    <a:pt x="106" y="62"/>
                    <a:pt x="106" y="62"/>
                  </a:cubicBezTo>
                  <a:cubicBezTo>
                    <a:pt x="104" y="62"/>
                    <a:pt x="103" y="64"/>
                    <a:pt x="103" y="66"/>
                  </a:cubicBezTo>
                  <a:cubicBezTo>
                    <a:pt x="103" y="68"/>
                    <a:pt x="105" y="71"/>
                    <a:pt x="104" y="72"/>
                  </a:cubicBezTo>
                  <a:cubicBezTo>
                    <a:pt x="104" y="73"/>
                    <a:pt x="104" y="73"/>
                    <a:pt x="103" y="73"/>
                  </a:cubicBezTo>
                  <a:cubicBezTo>
                    <a:pt x="103" y="73"/>
                    <a:pt x="102" y="72"/>
                    <a:pt x="102" y="71"/>
                  </a:cubicBezTo>
                  <a:cubicBezTo>
                    <a:pt x="100" y="65"/>
                    <a:pt x="98" y="60"/>
                    <a:pt x="96" y="54"/>
                  </a:cubicBezTo>
                  <a:cubicBezTo>
                    <a:pt x="94" y="50"/>
                    <a:pt x="92" y="45"/>
                    <a:pt x="92" y="40"/>
                  </a:cubicBezTo>
                  <a:cubicBezTo>
                    <a:pt x="92" y="38"/>
                    <a:pt x="92" y="39"/>
                    <a:pt x="93" y="37"/>
                  </a:cubicBezTo>
                  <a:cubicBezTo>
                    <a:pt x="95" y="35"/>
                    <a:pt x="96" y="34"/>
                    <a:pt x="96" y="31"/>
                  </a:cubicBezTo>
                  <a:cubicBezTo>
                    <a:pt x="96" y="28"/>
                    <a:pt x="97" y="30"/>
                    <a:pt x="96" y="27"/>
                  </a:cubicBezTo>
                  <a:cubicBezTo>
                    <a:pt x="95" y="25"/>
                    <a:pt x="93" y="23"/>
                    <a:pt x="92" y="21"/>
                  </a:cubicBezTo>
                  <a:cubicBezTo>
                    <a:pt x="90" y="18"/>
                    <a:pt x="90" y="15"/>
                    <a:pt x="94" y="15"/>
                  </a:cubicBezTo>
                  <a:cubicBezTo>
                    <a:pt x="94" y="15"/>
                    <a:pt x="94" y="15"/>
                    <a:pt x="94" y="15"/>
                  </a:cubicBezTo>
                  <a:cubicBezTo>
                    <a:pt x="86" y="13"/>
                    <a:pt x="77" y="13"/>
                    <a:pt x="70" y="10"/>
                  </a:cubicBezTo>
                  <a:cubicBezTo>
                    <a:pt x="62" y="6"/>
                    <a:pt x="56" y="1"/>
                    <a:pt x="48" y="0"/>
                  </a:cubicBezTo>
                  <a:cubicBezTo>
                    <a:pt x="47" y="0"/>
                    <a:pt x="46"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7" name="Freeform 1515">
              <a:extLst>
                <a:ext uri="{FF2B5EF4-FFF2-40B4-BE49-F238E27FC236}">
                  <a16:creationId xmlns:a16="http://schemas.microsoft.com/office/drawing/2014/main" id="{731A09A1-AEB7-49C4-98E7-0E8353D43F48}"/>
                </a:ext>
              </a:extLst>
            </p:cNvPr>
            <p:cNvSpPr>
              <a:spLocks/>
            </p:cNvSpPr>
            <p:nvPr/>
          </p:nvSpPr>
          <p:spPr bwMode="auto">
            <a:xfrm>
              <a:off x="1155" y="745"/>
              <a:ext cx="694" cy="581"/>
            </a:xfrm>
            <a:custGeom>
              <a:avLst/>
              <a:gdLst>
                <a:gd name="T0" fmla="*/ 206 w 294"/>
                <a:gd name="T1" fmla="*/ 2 h 246"/>
                <a:gd name="T2" fmla="*/ 190 w 294"/>
                <a:gd name="T3" fmla="*/ 40 h 246"/>
                <a:gd name="T4" fmla="*/ 184 w 294"/>
                <a:gd name="T5" fmla="*/ 46 h 246"/>
                <a:gd name="T6" fmla="*/ 188 w 294"/>
                <a:gd name="T7" fmla="*/ 50 h 246"/>
                <a:gd name="T8" fmla="*/ 179 w 294"/>
                <a:gd name="T9" fmla="*/ 59 h 246"/>
                <a:gd name="T10" fmla="*/ 176 w 294"/>
                <a:gd name="T11" fmla="*/ 62 h 246"/>
                <a:gd name="T12" fmla="*/ 173 w 294"/>
                <a:gd name="T13" fmla="*/ 74 h 246"/>
                <a:gd name="T14" fmla="*/ 162 w 294"/>
                <a:gd name="T15" fmla="*/ 87 h 246"/>
                <a:gd name="T16" fmla="*/ 159 w 294"/>
                <a:gd name="T17" fmla="*/ 86 h 246"/>
                <a:gd name="T18" fmla="*/ 153 w 294"/>
                <a:gd name="T19" fmla="*/ 87 h 246"/>
                <a:gd name="T20" fmla="*/ 138 w 294"/>
                <a:gd name="T21" fmla="*/ 92 h 246"/>
                <a:gd name="T22" fmla="*/ 113 w 294"/>
                <a:gd name="T23" fmla="*/ 84 h 246"/>
                <a:gd name="T24" fmla="*/ 99 w 294"/>
                <a:gd name="T25" fmla="*/ 86 h 246"/>
                <a:gd name="T26" fmla="*/ 82 w 294"/>
                <a:gd name="T27" fmla="*/ 99 h 246"/>
                <a:gd name="T28" fmla="*/ 64 w 294"/>
                <a:gd name="T29" fmla="*/ 99 h 246"/>
                <a:gd name="T30" fmla="*/ 48 w 294"/>
                <a:gd name="T31" fmla="*/ 103 h 246"/>
                <a:gd name="T32" fmla="*/ 39 w 294"/>
                <a:gd name="T33" fmla="*/ 97 h 246"/>
                <a:gd name="T34" fmla="*/ 17 w 294"/>
                <a:gd name="T35" fmla="*/ 67 h 246"/>
                <a:gd name="T36" fmla="*/ 1 w 294"/>
                <a:gd name="T37" fmla="*/ 90 h 246"/>
                <a:gd name="T38" fmla="*/ 8 w 294"/>
                <a:gd name="T39" fmla="*/ 120 h 246"/>
                <a:gd name="T40" fmla="*/ 9 w 294"/>
                <a:gd name="T41" fmla="*/ 131 h 246"/>
                <a:gd name="T42" fmla="*/ 14 w 294"/>
                <a:gd name="T43" fmla="*/ 150 h 246"/>
                <a:gd name="T44" fmla="*/ 32 w 294"/>
                <a:gd name="T45" fmla="*/ 175 h 246"/>
                <a:gd name="T46" fmla="*/ 36 w 294"/>
                <a:gd name="T47" fmla="*/ 184 h 246"/>
                <a:gd name="T48" fmla="*/ 48 w 294"/>
                <a:gd name="T49" fmla="*/ 213 h 246"/>
                <a:gd name="T50" fmla="*/ 54 w 294"/>
                <a:gd name="T51" fmla="*/ 213 h 246"/>
                <a:gd name="T52" fmla="*/ 61 w 294"/>
                <a:gd name="T53" fmla="*/ 214 h 246"/>
                <a:gd name="T54" fmla="*/ 75 w 294"/>
                <a:gd name="T55" fmla="*/ 211 h 246"/>
                <a:gd name="T56" fmla="*/ 83 w 294"/>
                <a:gd name="T57" fmla="*/ 205 h 246"/>
                <a:gd name="T58" fmla="*/ 121 w 294"/>
                <a:gd name="T59" fmla="*/ 210 h 246"/>
                <a:gd name="T60" fmla="*/ 137 w 294"/>
                <a:gd name="T61" fmla="*/ 217 h 246"/>
                <a:gd name="T62" fmla="*/ 152 w 294"/>
                <a:gd name="T63" fmla="*/ 218 h 246"/>
                <a:gd name="T64" fmla="*/ 162 w 294"/>
                <a:gd name="T65" fmla="*/ 226 h 246"/>
                <a:gd name="T66" fmla="*/ 167 w 294"/>
                <a:gd name="T67" fmla="*/ 246 h 246"/>
                <a:gd name="T68" fmla="*/ 184 w 294"/>
                <a:gd name="T69" fmla="*/ 238 h 246"/>
                <a:gd name="T70" fmla="*/ 214 w 294"/>
                <a:gd name="T71" fmla="*/ 215 h 246"/>
                <a:gd name="T72" fmla="*/ 215 w 294"/>
                <a:gd name="T73" fmla="*/ 198 h 246"/>
                <a:gd name="T74" fmla="*/ 213 w 294"/>
                <a:gd name="T75" fmla="*/ 176 h 246"/>
                <a:gd name="T76" fmla="*/ 232 w 294"/>
                <a:gd name="T77" fmla="*/ 161 h 246"/>
                <a:gd name="T78" fmla="*/ 254 w 294"/>
                <a:gd name="T79" fmla="*/ 147 h 246"/>
                <a:gd name="T80" fmla="*/ 250 w 294"/>
                <a:gd name="T81" fmla="*/ 125 h 246"/>
                <a:gd name="T82" fmla="*/ 263 w 294"/>
                <a:gd name="T83" fmla="*/ 101 h 246"/>
                <a:gd name="T84" fmla="*/ 262 w 294"/>
                <a:gd name="T85" fmla="*/ 92 h 246"/>
                <a:gd name="T86" fmla="*/ 294 w 294"/>
                <a:gd name="T87" fmla="*/ 94 h 246"/>
                <a:gd name="T88" fmla="*/ 260 w 294"/>
                <a:gd name="T89" fmla="*/ 63 h 246"/>
                <a:gd name="T90" fmla="*/ 253 w 294"/>
                <a:gd name="T91" fmla="*/ 42 h 246"/>
                <a:gd name="T92" fmla="*/ 249 w 294"/>
                <a:gd name="T93" fmla="*/ 34 h 246"/>
                <a:gd name="T94" fmla="*/ 244 w 294"/>
                <a:gd name="T95" fmla="*/ 30 h 246"/>
                <a:gd name="T96" fmla="*/ 246 w 294"/>
                <a:gd name="T97" fmla="*/ 30 h 246"/>
                <a:gd name="T98" fmla="*/ 245 w 294"/>
                <a:gd name="T99" fmla="*/ 24 h 246"/>
                <a:gd name="T100" fmla="*/ 240 w 294"/>
                <a:gd name="T101" fmla="*/ 20 h 246"/>
                <a:gd name="T102" fmla="*/ 246 w 294"/>
                <a:gd name="T103" fmla="*/ 20 h 246"/>
                <a:gd name="T104" fmla="*/ 255 w 294"/>
                <a:gd name="T105" fmla="*/ 12 h 246"/>
                <a:gd name="T106" fmla="*/ 246 w 294"/>
                <a:gd name="T107" fmla="*/ 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46">
                  <a:moveTo>
                    <a:pt x="224" y="0"/>
                  </a:moveTo>
                  <a:cubicBezTo>
                    <a:pt x="223" y="0"/>
                    <a:pt x="222" y="0"/>
                    <a:pt x="221" y="1"/>
                  </a:cubicBezTo>
                  <a:cubicBezTo>
                    <a:pt x="216" y="1"/>
                    <a:pt x="212" y="2"/>
                    <a:pt x="209" y="2"/>
                  </a:cubicBezTo>
                  <a:cubicBezTo>
                    <a:pt x="207" y="2"/>
                    <a:pt x="207" y="2"/>
                    <a:pt x="206" y="2"/>
                  </a:cubicBezTo>
                  <a:cubicBezTo>
                    <a:pt x="205" y="2"/>
                    <a:pt x="205" y="1"/>
                    <a:pt x="204" y="1"/>
                  </a:cubicBezTo>
                  <a:cubicBezTo>
                    <a:pt x="200" y="5"/>
                    <a:pt x="197" y="10"/>
                    <a:pt x="198" y="13"/>
                  </a:cubicBezTo>
                  <a:cubicBezTo>
                    <a:pt x="199" y="21"/>
                    <a:pt x="199" y="27"/>
                    <a:pt x="197" y="34"/>
                  </a:cubicBezTo>
                  <a:cubicBezTo>
                    <a:pt x="196" y="36"/>
                    <a:pt x="195" y="40"/>
                    <a:pt x="190" y="40"/>
                  </a:cubicBezTo>
                  <a:cubicBezTo>
                    <a:pt x="190" y="40"/>
                    <a:pt x="189" y="40"/>
                    <a:pt x="189" y="40"/>
                  </a:cubicBezTo>
                  <a:cubicBezTo>
                    <a:pt x="189" y="40"/>
                    <a:pt x="189" y="40"/>
                    <a:pt x="189" y="40"/>
                  </a:cubicBezTo>
                  <a:cubicBezTo>
                    <a:pt x="187" y="40"/>
                    <a:pt x="186" y="40"/>
                    <a:pt x="185" y="42"/>
                  </a:cubicBezTo>
                  <a:cubicBezTo>
                    <a:pt x="184" y="43"/>
                    <a:pt x="184" y="44"/>
                    <a:pt x="184" y="46"/>
                  </a:cubicBezTo>
                  <a:cubicBezTo>
                    <a:pt x="185" y="46"/>
                    <a:pt x="186" y="47"/>
                    <a:pt x="187" y="48"/>
                  </a:cubicBezTo>
                  <a:cubicBezTo>
                    <a:pt x="190" y="47"/>
                    <a:pt x="190" y="47"/>
                    <a:pt x="190" y="47"/>
                  </a:cubicBezTo>
                  <a:cubicBezTo>
                    <a:pt x="187" y="49"/>
                    <a:pt x="187" y="49"/>
                    <a:pt x="187" y="49"/>
                  </a:cubicBezTo>
                  <a:cubicBezTo>
                    <a:pt x="188" y="50"/>
                    <a:pt x="188" y="50"/>
                    <a:pt x="188" y="50"/>
                  </a:cubicBezTo>
                  <a:cubicBezTo>
                    <a:pt x="189" y="52"/>
                    <a:pt x="189" y="52"/>
                    <a:pt x="189" y="52"/>
                  </a:cubicBezTo>
                  <a:cubicBezTo>
                    <a:pt x="187" y="54"/>
                    <a:pt x="187" y="54"/>
                    <a:pt x="187" y="54"/>
                  </a:cubicBezTo>
                  <a:cubicBezTo>
                    <a:pt x="185" y="55"/>
                    <a:pt x="183" y="56"/>
                    <a:pt x="181" y="58"/>
                  </a:cubicBezTo>
                  <a:cubicBezTo>
                    <a:pt x="180" y="58"/>
                    <a:pt x="179" y="58"/>
                    <a:pt x="179" y="59"/>
                  </a:cubicBezTo>
                  <a:cubicBezTo>
                    <a:pt x="179" y="59"/>
                    <a:pt x="178" y="59"/>
                    <a:pt x="177" y="60"/>
                  </a:cubicBezTo>
                  <a:cubicBezTo>
                    <a:pt x="177" y="60"/>
                    <a:pt x="177" y="60"/>
                    <a:pt x="177" y="60"/>
                  </a:cubicBezTo>
                  <a:cubicBezTo>
                    <a:pt x="176" y="60"/>
                    <a:pt x="176" y="61"/>
                    <a:pt x="176" y="61"/>
                  </a:cubicBezTo>
                  <a:cubicBezTo>
                    <a:pt x="176" y="61"/>
                    <a:pt x="176" y="62"/>
                    <a:pt x="176" y="62"/>
                  </a:cubicBezTo>
                  <a:cubicBezTo>
                    <a:pt x="176" y="63"/>
                    <a:pt x="177" y="64"/>
                    <a:pt x="177" y="64"/>
                  </a:cubicBezTo>
                  <a:cubicBezTo>
                    <a:pt x="177" y="66"/>
                    <a:pt x="178" y="68"/>
                    <a:pt x="177" y="70"/>
                  </a:cubicBezTo>
                  <a:cubicBezTo>
                    <a:pt x="176" y="72"/>
                    <a:pt x="174" y="73"/>
                    <a:pt x="173" y="74"/>
                  </a:cubicBezTo>
                  <a:cubicBezTo>
                    <a:pt x="173" y="74"/>
                    <a:pt x="173" y="74"/>
                    <a:pt x="173" y="74"/>
                  </a:cubicBezTo>
                  <a:cubicBezTo>
                    <a:pt x="172" y="74"/>
                    <a:pt x="172" y="75"/>
                    <a:pt x="172" y="75"/>
                  </a:cubicBezTo>
                  <a:cubicBezTo>
                    <a:pt x="172" y="75"/>
                    <a:pt x="171" y="76"/>
                    <a:pt x="171" y="77"/>
                  </a:cubicBezTo>
                  <a:cubicBezTo>
                    <a:pt x="170" y="81"/>
                    <a:pt x="170" y="81"/>
                    <a:pt x="170" y="81"/>
                  </a:cubicBezTo>
                  <a:cubicBezTo>
                    <a:pt x="168" y="85"/>
                    <a:pt x="166" y="86"/>
                    <a:pt x="162" y="87"/>
                  </a:cubicBezTo>
                  <a:cubicBezTo>
                    <a:pt x="162" y="87"/>
                    <a:pt x="162" y="87"/>
                    <a:pt x="161" y="87"/>
                  </a:cubicBezTo>
                  <a:cubicBezTo>
                    <a:pt x="161" y="87"/>
                    <a:pt x="160" y="87"/>
                    <a:pt x="160" y="86"/>
                  </a:cubicBezTo>
                  <a:cubicBezTo>
                    <a:pt x="159" y="85"/>
                    <a:pt x="159" y="85"/>
                    <a:pt x="159" y="85"/>
                  </a:cubicBezTo>
                  <a:cubicBezTo>
                    <a:pt x="159" y="86"/>
                    <a:pt x="159" y="86"/>
                    <a:pt x="159" y="86"/>
                  </a:cubicBezTo>
                  <a:cubicBezTo>
                    <a:pt x="159" y="86"/>
                    <a:pt x="158" y="86"/>
                    <a:pt x="158" y="86"/>
                  </a:cubicBezTo>
                  <a:cubicBezTo>
                    <a:pt x="158" y="86"/>
                    <a:pt x="157" y="86"/>
                    <a:pt x="157" y="87"/>
                  </a:cubicBezTo>
                  <a:cubicBezTo>
                    <a:pt x="156" y="87"/>
                    <a:pt x="156" y="87"/>
                    <a:pt x="156" y="87"/>
                  </a:cubicBezTo>
                  <a:cubicBezTo>
                    <a:pt x="153" y="87"/>
                    <a:pt x="153" y="87"/>
                    <a:pt x="153" y="87"/>
                  </a:cubicBezTo>
                  <a:cubicBezTo>
                    <a:pt x="149" y="88"/>
                    <a:pt x="147" y="88"/>
                    <a:pt x="144" y="90"/>
                  </a:cubicBezTo>
                  <a:cubicBezTo>
                    <a:pt x="144" y="90"/>
                    <a:pt x="144" y="90"/>
                    <a:pt x="144" y="90"/>
                  </a:cubicBezTo>
                  <a:cubicBezTo>
                    <a:pt x="143" y="90"/>
                    <a:pt x="142" y="91"/>
                    <a:pt x="141" y="92"/>
                  </a:cubicBezTo>
                  <a:cubicBezTo>
                    <a:pt x="140" y="92"/>
                    <a:pt x="139" y="92"/>
                    <a:pt x="138" y="92"/>
                  </a:cubicBezTo>
                  <a:cubicBezTo>
                    <a:pt x="134" y="92"/>
                    <a:pt x="130" y="90"/>
                    <a:pt x="126" y="88"/>
                  </a:cubicBezTo>
                  <a:cubicBezTo>
                    <a:pt x="125" y="88"/>
                    <a:pt x="125" y="88"/>
                    <a:pt x="125" y="88"/>
                  </a:cubicBezTo>
                  <a:cubicBezTo>
                    <a:pt x="123" y="87"/>
                    <a:pt x="121" y="86"/>
                    <a:pt x="119" y="86"/>
                  </a:cubicBezTo>
                  <a:cubicBezTo>
                    <a:pt x="113" y="84"/>
                    <a:pt x="113" y="84"/>
                    <a:pt x="113" y="84"/>
                  </a:cubicBezTo>
                  <a:cubicBezTo>
                    <a:pt x="113" y="83"/>
                    <a:pt x="113" y="83"/>
                    <a:pt x="113" y="83"/>
                  </a:cubicBezTo>
                  <a:cubicBezTo>
                    <a:pt x="111" y="84"/>
                    <a:pt x="108" y="84"/>
                    <a:pt x="103" y="85"/>
                  </a:cubicBezTo>
                  <a:cubicBezTo>
                    <a:pt x="100" y="86"/>
                    <a:pt x="100" y="86"/>
                    <a:pt x="100" y="86"/>
                  </a:cubicBezTo>
                  <a:cubicBezTo>
                    <a:pt x="100" y="86"/>
                    <a:pt x="100" y="86"/>
                    <a:pt x="99" y="86"/>
                  </a:cubicBezTo>
                  <a:cubicBezTo>
                    <a:pt x="99" y="86"/>
                    <a:pt x="99" y="87"/>
                    <a:pt x="99" y="88"/>
                  </a:cubicBezTo>
                  <a:cubicBezTo>
                    <a:pt x="99" y="88"/>
                    <a:pt x="99" y="88"/>
                    <a:pt x="99" y="88"/>
                  </a:cubicBezTo>
                  <a:cubicBezTo>
                    <a:pt x="99" y="88"/>
                    <a:pt x="98" y="90"/>
                    <a:pt x="98" y="91"/>
                  </a:cubicBezTo>
                  <a:cubicBezTo>
                    <a:pt x="95" y="95"/>
                    <a:pt x="87" y="99"/>
                    <a:pt x="82" y="99"/>
                  </a:cubicBezTo>
                  <a:cubicBezTo>
                    <a:pt x="82" y="99"/>
                    <a:pt x="81" y="99"/>
                    <a:pt x="81" y="99"/>
                  </a:cubicBezTo>
                  <a:cubicBezTo>
                    <a:pt x="80" y="98"/>
                    <a:pt x="78" y="98"/>
                    <a:pt x="77" y="98"/>
                  </a:cubicBezTo>
                  <a:cubicBezTo>
                    <a:pt x="74" y="98"/>
                    <a:pt x="72" y="97"/>
                    <a:pt x="70" y="97"/>
                  </a:cubicBezTo>
                  <a:cubicBezTo>
                    <a:pt x="68" y="97"/>
                    <a:pt x="66" y="98"/>
                    <a:pt x="64" y="99"/>
                  </a:cubicBezTo>
                  <a:cubicBezTo>
                    <a:pt x="64" y="99"/>
                    <a:pt x="63" y="99"/>
                    <a:pt x="62" y="100"/>
                  </a:cubicBezTo>
                  <a:cubicBezTo>
                    <a:pt x="61" y="100"/>
                    <a:pt x="61" y="100"/>
                    <a:pt x="61" y="100"/>
                  </a:cubicBezTo>
                  <a:cubicBezTo>
                    <a:pt x="58" y="102"/>
                    <a:pt x="54" y="103"/>
                    <a:pt x="50" y="103"/>
                  </a:cubicBezTo>
                  <a:cubicBezTo>
                    <a:pt x="49" y="103"/>
                    <a:pt x="48" y="103"/>
                    <a:pt x="48" y="103"/>
                  </a:cubicBezTo>
                  <a:cubicBezTo>
                    <a:pt x="45" y="103"/>
                    <a:pt x="43" y="101"/>
                    <a:pt x="41" y="99"/>
                  </a:cubicBezTo>
                  <a:cubicBezTo>
                    <a:pt x="41" y="98"/>
                    <a:pt x="41" y="98"/>
                    <a:pt x="41" y="98"/>
                  </a:cubicBezTo>
                  <a:cubicBezTo>
                    <a:pt x="40" y="98"/>
                    <a:pt x="40" y="98"/>
                    <a:pt x="40" y="98"/>
                  </a:cubicBezTo>
                  <a:cubicBezTo>
                    <a:pt x="39" y="97"/>
                    <a:pt x="39" y="97"/>
                    <a:pt x="39" y="97"/>
                  </a:cubicBezTo>
                  <a:cubicBezTo>
                    <a:pt x="36" y="94"/>
                    <a:pt x="33" y="92"/>
                    <a:pt x="30" y="89"/>
                  </a:cubicBezTo>
                  <a:cubicBezTo>
                    <a:pt x="28" y="88"/>
                    <a:pt x="28" y="88"/>
                    <a:pt x="28" y="88"/>
                  </a:cubicBezTo>
                  <a:cubicBezTo>
                    <a:pt x="24" y="84"/>
                    <a:pt x="18" y="79"/>
                    <a:pt x="17" y="73"/>
                  </a:cubicBezTo>
                  <a:cubicBezTo>
                    <a:pt x="16" y="70"/>
                    <a:pt x="17" y="68"/>
                    <a:pt x="17" y="67"/>
                  </a:cubicBezTo>
                  <a:cubicBezTo>
                    <a:pt x="15" y="68"/>
                    <a:pt x="13" y="69"/>
                    <a:pt x="12" y="71"/>
                  </a:cubicBezTo>
                  <a:cubicBezTo>
                    <a:pt x="7" y="78"/>
                    <a:pt x="5" y="79"/>
                    <a:pt x="7" y="87"/>
                  </a:cubicBezTo>
                  <a:cubicBezTo>
                    <a:pt x="5" y="88"/>
                    <a:pt x="4" y="90"/>
                    <a:pt x="1" y="90"/>
                  </a:cubicBezTo>
                  <a:cubicBezTo>
                    <a:pt x="1" y="90"/>
                    <a:pt x="1" y="90"/>
                    <a:pt x="1" y="90"/>
                  </a:cubicBezTo>
                  <a:cubicBezTo>
                    <a:pt x="1" y="92"/>
                    <a:pt x="3" y="95"/>
                    <a:pt x="3" y="96"/>
                  </a:cubicBezTo>
                  <a:cubicBezTo>
                    <a:pt x="0" y="100"/>
                    <a:pt x="0" y="101"/>
                    <a:pt x="1" y="105"/>
                  </a:cubicBezTo>
                  <a:cubicBezTo>
                    <a:pt x="1" y="107"/>
                    <a:pt x="0" y="115"/>
                    <a:pt x="1" y="115"/>
                  </a:cubicBezTo>
                  <a:cubicBezTo>
                    <a:pt x="4" y="117"/>
                    <a:pt x="6" y="117"/>
                    <a:pt x="8" y="120"/>
                  </a:cubicBezTo>
                  <a:cubicBezTo>
                    <a:pt x="9" y="122"/>
                    <a:pt x="10" y="123"/>
                    <a:pt x="12" y="124"/>
                  </a:cubicBezTo>
                  <a:cubicBezTo>
                    <a:pt x="10" y="124"/>
                    <a:pt x="9" y="124"/>
                    <a:pt x="9" y="124"/>
                  </a:cubicBezTo>
                  <a:cubicBezTo>
                    <a:pt x="8" y="124"/>
                    <a:pt x="8" y="125"/>
                    <a:pt x="8" y="127"/>
                  </a:cubicBezTo>
                  <a:cubicBezTo>
                    <a:pt x="8" y="128"/>
                    <a:pt x="9" y="130"/>
                    <a:pt x="9" y="131"/>
                  </a:cubicBezTo>
                  <a:cubicBezTo>
                    <a:pt x="8" y="131"/>
                    <a:pt x="7" y="131"/>
                    <a:pt x="7" y="131"/>
                  </a:cubicBezTo>
                  <a:cubicBezTo>
                    <a:pt x="4" y="131"/>
                    <a:pt x="6" y="135"/>
                    <a:pt x="7" y="138"/>
                  </a:cubicBezTo>
                  <a:cubicBezTo>
                    <a:pt x="8" y="141"/>
                    <a:pt x="9" y="145"/>
                    <a:pt x="11" y="148"/>
                  </a:cubicBezTo>
                  <a:cubicBezTo>
                    <a:pt x="12" y="149"/>
                    <a:pt x="11" y="149"/>
                    <a:pt x="14" y="150"/>
                  </a:cubicBezTo>
                  <a:cubicBezTo>
                    <a:pt x="16" y="151"/>
                    <a:pt x="19" y="152"/>
                    <a:pt x="21" y="152"/>
                  </a:cubicBezTo>
                  <a:cubicBezTo>
                    <a:pt x="23" y="152"/>
                    <a:pt x="25" y="152"/>
                    <a:pt x="26" y="150"/>
                  </a:cubicBezTo>
                  <a:cubicBezTo>
                    <a:pt x="29" y="155"/>
                    <a:pt x="35" y="161"/>
                    <a:pt x="34" y="167"/>
                  </a:cubicBezTo>
                  <a:cubicBezTo>
                    <a:pt x="33" y="170"/>
                    <a:pt x="33" y="173"/>
                    <a:pt x="32" y="175"/>
                  </a:cubicBezTo>
                  <a:cubicBezTo>
                    <a:pt x="32" y="175"/>
                    <a:pt x="31" y="175"/>
                    <a:pt x="31" y="176"/>
                  </a:cubicBezTo>
                  <a:cubicBezTo>
                    <a:pt x="31" y="176"/>
                    <a:pt x="29" y="176"/>
                    <a:pt x="30" y="177"/>
                  </a:cubicBezTo>
                  <a:cubicBezTo>
                    <a:pt x="31" y="179"/>
                    <a:pt x="33" y="179"/>
                    <a:pt x="34" y="180"/>
                  </a:cubicBezTo>
                  <a:cubicBezTo>
                    <a:pt x="35" y="181"/>
                    <a:pt x="36" y="183"/>
                    <a:pt x="36" y="184"/>
                  </a:cubicBezTo>
                  <a:cubicBezTo>
                    <a:pt x="37" y="188"/>
                    <a:pt x="39" y="191"/>
                    <a:pt x="39" y="195"/>
                  </a:cubicBezTo>
                  <a:cubicBezTo>
                    <a:pt x="40" y="199"/>
                    <a:pt x="38" y="198"/>
                    <a:pt x="37" y="200"/>
                  </a:cubicBezTo>
                  <a:cubicBezTo>
                    <a:pt x="37" y="203"/>
                    <a:pt x="39" y="207"/>
                    <a:pt x="39" y="209"/>
                  </a:cubicBezTo>
                  <a:cubicBezTo>
                    <a:pt x="41" y="214"/>
                    <a:pt x="43" y="212"/>
                    <a:pt x="48" y="213"/>
                  </a:cubicBezTo>
                  <a:cubicBezTo>
                    <a:pt x="49" y="213"/>
                    <a:pt x="51" y="214"/>
                    <a:pt x="51" y="214"/>
                  </a:cubicBezTo>
                  <a:cubicBezTo>
                    <a:pt x="51" y="214"/>
                    <a:pt x="51" y="214"/>
                    <a:pt x="51" y="214"/>
                  </a:cubicBezTo>
                  <a:cubicBezTo>
                    <a:pt x="52" y="214"/>
                    <a:pt x="53" y="213"/>
                    <a:pt x="55" y="212"/>
                  </a:cubicBezTo>
                  <a:cubicBezTo>
                    <a:pt x="54" y="213"/>
                    <a:pt x="54" y="213"/>
                    <a:pt x="54" y="213"/>
                  </a:cubicBezTo>
                  <a:cubicBezTo>
                    <a:pt x="54" y="213"/>
                    <a:pt x="55" y="213"/>
                    <a:pt x="55" y="213"/>
                  </a:cubicBezTo>
                  <a:cubicBezTo>
                    <a:pt x="56" y="213"/>
                    <a:pt x="57" y="213"/>
                    <a:pt x="58" y="213"/>
                  </a:cubicBezTo>
                  <a:cubicBezTo>
                    <a:pt x="59" y="214"/>
                    <a:pt x="60" y="214"/>
                    <a:pt x="61" y="214"/>
                  </a:cubicBezTo>
                  <a:cubicBezTo>
                    <a:pt x="61" y="214"/>
                    <a:pt x="61" y="214"/>
                    <a:pt x="61" y="214"/>
                  </a:cubicBezTo>
                  <a:cubicBezTo>
                    <a:pt x="63" y="214"/>
                    <a:pt x="65" y="213"/>
                    <a:pt x="66" y="212"/>
                  </a:cubicBezTo>
                  <a:cubicBezTo>
                    <a:pt x="68" y="211"/>
                    <a:pt x="70" y="210"/>
                    <a:pt x="72" y="210"/>
                  </a:cubicBezTo>
                  <a:cubicBezTo>
                    <a:pt x="72" y="210"/>
                    <a:pt x="72" y="210"/>
                    <a:pt x="72" y="210"/>
                  </a:cubicBezTo>
                  <a:cubicBezTo>
                    <a:pt x="73" y="210"/>
                    <a:pt x="74" y="210"/>
                    <a:pt x="75" y="211"/>
                  </a:cubicBezTo>
                  <a:cubicBezTo>
                    <a:pt x="76" y="211"/>
                    <a:pt x="77" y="212"/>
                    <a:pt x="78" y="212"/>
                  </a:cubicBezTo>
                  <a:cubicBezTo>
                    <a:pt x="78" y="212"/>
                    <a:pt x="78" y="212"/>
                    <a:pt x="78" y="212"/>
                  </a:cubicBezTo>
                  <a:cubicBezTo>
                    <a:pt x="79" y="212"/>
                    <a:pt x="79" y="211"/>
                    <a:pt x="81" y="211"/>
                  </a:cubicBezTo>
                  <a:cubicBezTo>
                    <a:pt x="82" y="210"/>
                    <a:pt x="82" y="207"/>
                    <a:pt x="83" y="205"/>
                  </a:cubicBezTo>
                  <a:cubicBezTo>
                    <a:pt x="83" y="208"/>
                    <a:pt x="85" y="210"/>
                    <a:pt x="86" y="214"/>
                  </a:cubicBezTo>
                  <a:cubicBezTo>
                    <a:pt x="86" y="218"/>
                    <a:pt x="86" y="224"/>
                    <a:pt x="86" y="228"/>
                  </a:cubicBezTo>
                  <a:cubicBezTo>
                    <a:pt x="91" y="225"/>
                    <a:pt x="95" y="221"/>
                    <a:pt x="101" y="221"/>
                  </a:cubicBezTo>
                  <a:cubicBezTo>
                    <a:pt x="111" y="220"/>
                    <a:pt x="119" y="221"/>
                    <a:pt x="121" y="210"/>
                  </a:cubicBezTo>
                  <a:cubicBezTo>
                    <a:pt x="121" y="212"/>
                    <a:pt x="122" y="213"/>
                    <a:pt x="124" y="214"/>
                  </a:cubicBezTo>
                  <a:cubicBezTo>
                    <a:pt x="126" y="215"/>
                    <a:pt x="128" y="219"/>
                    <a:pt x="131" y="219"/>
                  </a:cubicBezTo>
                  <a:cubicBezTo>
                    <a:pt x="131" y="219"/>
                    <a:pt x="131" y="219"/>
                    <a:pt x="131" y="219"/>
                  </a:cubicBezTo>
                  <a:cubicBezTo>
                    <a:pt x="133" y="219"/>
                    <a:pt x="136" y="217"/>
                    <a:pt x="137" y="217"/>
                  </a:cubicBezTo>
                  <a:cubicBezTo>
                    <a:pt x="138" y="221"/>
                    <a:pt x="137" y="225"/>
                    <a:pt x="142" y="225"/>
                  </a:cubicBezTo>
                  <a:cubicBezTo>
                    <a:pt x="142" y="225"/>
                    <a:pt x="142" y="225"/>
                    <a:pt x="142" y="225"/>
                  </a:cubicBezTo>
                  <a:cubicBezTo>
                    <a:pt x="143" y="225"/>
                    <a:pt x="144" y="225"/>
                    <a:pt x="146" y="224"/>
                  </a:cubicBezTo>
                  <a:cubicBezTo>
                    <a:pt x="149" y="223"/>
                    <a:pt x="150" y="221"/>
                    <a:pt x="152" y="218"/>
                  </a:cubicBezTo>
                  <a:cubicBezTo>
                    <a:pt x="152" y="220"/>
                    <a:pt x="154" y="221"/>
                    <a:pt x="155" y="223"/>
                  </a:cubicBezTo>
                  <a:cubicBezTo>
                    <a:pt x="156" y="221"/>
                    <a:pt x="157" y="220"/>
                    <a:pt x="159" y="218"/>
                  </a:cubicBezTo>
                  <a:cubicBezTo>
                    <a:pt x="157" y="220"/>
                    <a:pt x="157" y="222"/>
                    <a:pt x="157" y="224"/>
                  </a:cubicBezTo>
                  <a:cubicBezTo>
                    <a:pt x="158" y="225"/>
                    <a:pt x="161" y="226"/>
                    <a:pt x="162" y="226"/>
                  </a:cubicBezTo>
                  <a:cubicBezTo>
                    <a:pt x="162" y="226"/>
                    <a:pt x="162" y="226"/>
                    <a:pt x="162" y="226"/>
                  </a:cubicBezTo>
                  <a:cubicBezTo>
                    <a:pt x="163" y="226"/>
                    <a:pt x="163" y="224"/>
                    <a:pt x="163" y="223"/>
                  </a:cubicBezTo>
                  <a:cubicBezTo>
                    <a:pt x="165" y="225"/>
                    <a:pt x="164" y="230"/>
                    <a:pt x="165" y="233"/>
                  </a:cubicBezTo>
                  <a:cubicBezTo>
                    <a:pt x="165" y="235"/>
                    <a:pt x="165" y="245"/>
                    <a:pt x="167" y="246"/>
                  </a:cubicBezTo>
                  <a:cubicBezTo>
                    <a:pt x="167" y="246"/>
                    <a:pt x="168" y="246"/>
                    <a:pt x="168" y="246"/>
                  </a:cubicBezTo>
                  <a:cubicBezTo>
                    <a:pt x="169" y="246"/>
                    <a:pt x="170" y="245"/>
                    <a:pt x="171" y="245"/>
                  </a:cubicBezTo>
                  <a:cubicBezTo>
                    <a:pt x="173" y="244"/>
                    <a:pt x="175" y="242"/>
                    <a:pt x="177" y="241"/>
                  </a:cubicBezTo>
                  <a:cubicBezTo>
                    <a:pt x="179" y="240"/>
                    <a:pt x="181" y="239"/>
                    <a:pt x="184" y="238"/>
                  </a:cubicBezTo>
                  <a:cubicBezTo>
                    <a:pt x="186" y="237"/>
                    <a:pt x="189" y="237"/>
                    <a:pt x="192" y="235"/>
                  </a:cubicBezTo>
                  <a:cubicBezTo>
                    <a:pt x="195" y="234"/>
                    <a:pt x="203" y="232"/>
                    <a:pt x="206" y="229"/>
                  </a:cubicBezTo>
                  <a:cubicBezTo>
                    <a:pt x="208" y="227"/>
                    <a:pt x="208" y="221"/>
                    <a:pt x="210" y="219"/>
                  </a:cubicBezTo>
                  <a:cubicBezTo>
                    <a:pt x="212" y="217"/>
                    <a:pt x="214" y="217"/>
                    <a:pt x="214" y="215"/>
                  </a:cubicBezTo>
                  <a:cubicBezTo>
                    <a:pt x="214" y="213"/>
                    <a:pt x="212" y="210"/>
                    <a:pt x="211" y="208"/>
                  </a:cubicBezTo>
                  <a:cubicBezTo>
                    <a:pt x="212" y="209"/>
                    <a:pt x="213" y="209"/>
                    <a:pt x="214" y="209"/>
                  </a:cubicBezTo>
                  <a:cubicBezTo>
                    <a:pt x="215" y="209"/>
                    <a:pt x="216" y="209"/>
                    <a:pt x="217" y="207"/>
                  </a:cubicBezTo>
                  <a:cubicBezTo>
                    <a:pt x="218" y="205"/>
                    <a:pt x="217" y="199"/>
                    <a:pt x="215" y="198"/>
                  </a:cubicBezTo>
                  <a:cubicBezTo>
                    <a:pt x="218" y="198"/>
                    <a:pt x="219" y="196"/>
                    <a:pt x="221" y="195"/>
                  </a:cubicBezTo>
                  <a:cubicBezTo>
                    <a:pt x="227" y="190"/>
                    <a:pt x="219" y="190"/>
                    <a:pt x="215" y="187"/>
                  </a:cubicBezTo>
                  <a:cubicBezTo>
                    <a:pt x="216" y="186"/>
                    <a:pt x="219" y="186"/>
                    <a:pt x="219" y="183"/>
                  </a:cubicBezTo>
                  <a:cubicBezTo>
                    <a:pt x="220" y="175"/>
                    <a:pt x="219" y="176"/>
                    <a:pt x="213" y="176"/>
                  </a:cubicBezTo>
                  <a:cubicBezTo>
                    <a:pt x="215" y="176"/>
                    <a:pt x="216" y="174"/>
                    <a:pt x="218" y="173"/>
                  </a:cubicBezTo>
                  <a:cubicBezTo>
                    <a:pt x="220" y="172"/>
                    <a:pt x="221" y="172"/>
                    <a:pt x="223" y="170"/>
                  </a:cubicBezTo>
                  <a:cubicBezTo>
                    <a:pt x="228" y="166"/>
                    <a:pt x="229" y="163"/>
                    <a:pt x="228" y="157"/>
                  </a:cubicBezTo>
                  <a:cubicBezTo>
                    <a:pt x="229" y="159"/>
                    <a:pt x="230" y="161"/>
                    <a:pt x="232" y="161"/>
                  </a:cubicBezTo>
                  <a:cubicBezTo>
                    <a:pt x="232" y="161"/>
                    <a:pt x="233" y="161"/>
                    <a:pt x="234" y="161"/>
                  </a:cubicBezTo>
                  <a:cubicBezTo>
                    <a:pt x="238" y="159"/>
                    <a:pt x="241" y="152"/>
                    <a:pt x="244" y="148"/>
                  </a:cubicBezTo>
                  <a:cubicBezTo>
                    <a:pt x="245" y="149"/>
                    <a:pt x="245" y="149"/>
                    <a:pt x="246" y="149"/>
                  </a:cubicBezTo>
                  <a:cubicBezTo>
                    <a:pt x="249" y="149"/>
                    <a:pt x="252" y="147"/>
                    <a:pt x="254" y="147"/>
                  </a:cubicBezTo>
                  <a:cubicBezTo>
                    <a:pt x="249" y="145"/>
                    <a:pt x="256" y="138"/>
                    <a:pt x="254" y="137"/>
                  </a:cubicBezTo>
                  <a:cubicBezTo>
                    <a:pt x="254" y="137"/>
                    <a:pt x="254" y="137"/>
                    <a:pt x="253" y="137"/>
                  </a:cubicBezTo>
                  <a:cubicBezTo>
                    <a:pt x="252" y="137"/>
                    <a:pt x="249" y="139"/>
                    <a:pt x="249" y="140"/>
                  </a:cubicBezTo>
                  <a:cubicBezTo>
                    <a:pt x="249" y="134"/>
                    <a:pt x="249" y="131"/>
                    <a:pt x="250" y="125"/>
                  </a:cubicBezTo>
                  <a:cubicBezTo>
                    <a:pt x="250" y="120"/>
                    <a:pt x="251" y="114"/>
                    <a:pt x="254" y="110"/>
                  </a:cubicBezTo>
                  <a:cubicBezTo>
                    <a:pt x="255" y="108"/>
                    <a:pt x="257" y="102"/>
                    <a:pt x="260" y="101"/>
                  </a:cubicBezTo>
                  <a:cubicBezTo>
                    <a:pt x="260" y="101"/>
                    <a:pt x="261" y="101"/>
                    <a:pt x="261" y="101"/>
                  </a:cubicBezTo>
                  <a:cubicBezTo>
                    <a:pt x="262" y="101"/>
                    <a:pt x="262" y="101"/>
                    <a:pt x="263" y="101"/>
                  </a:cubicBezTo>
                  <a:cubicBezTo>
                    <a:pt x="264" y="101"/>
                    <a:pt x="264" y="101"/>
                    <a:pt x="265" y="101"/>
                  </a:cubicBezTo>
                  <a:cubicBezTo>
                    <a:pt x="265" y="101"/>
                    <a:pt x="265" y="101"/>
                    <a:pt x="265" y="101"/>
                  </a:cubicBezTo>
                  <a:cubicBezTo>
                    <a:pt x="266" y="100"/>
                    <a:pt x="265" y="100"/>
                    <a:pt x="265" y="99"/>
                  </a:cubicBezTo>
                  <a:cubicBezTo>
                    <a:pt x="264" y="96"/>
                    <a:pt x="262" y="94"/>
                    <a:pt x="262" y="92"/>
                  </a:cubicBezTo>
                  <a:cubicBezTo>
                    <a:pt x="266" y="94"/>
                    <a:pt x="265" y="98"/>
                    <a:pt x="270" y="99"/>
                  </a:cubicBezTo>
                  <a:cubicBezTo>
                    <a:pt x="273" y="100"/>
                    <a:pt x="276" y="100"/>
                    <a:pt x="279" y="100"/>
                  </a:cubicBezTo>
                  <a:cubicBezTo>
                    <a:pt x="281" y="100"/>
                    <a:pt x="283" y="101"/>
                    <a:pt x="285" y="101"/>
                  </a:cubicBezTo>
                  <a:cubicBezTo>
                    <a:pt x="289" y="101"/>
                    <a:pt x="291" y="100"/>
                    <a:pt x="294" y="94"/>
                  </a:cubicBezTo>
                  <a:cubicBezTo>
                    <a:pt x="291" y="93"/>
                    <a:pt x="289" y="92"/>
                    <a:pt x="287" y="91"/>
                  </a:cubicBezTo>
                  <a:cubicBezTo>
                    <a:pt x="277" y="83"/>
                    <a:pt x="266" y="75"/>
                    <a:pt x="257" y="65"/>
                  </a:cubicBezTo>
                  <a:cubicBezTo>
                    <a:pt x="258" y="65"/>
                    <a:pt x="258" y="66"/>
                    <a:pt x="259" y="66"/>
                  </a:cubicBezTo>
                  <a:cubicBezTo>
                    <a:pt x="260" y="66"/>
                    <a:pt x="261" y="65"/>
                    <a:pt x="260" y="63"/>
                  </a:cubicBezTo>
                  <a:cubicBezTo>
                    <a:pt x="260" y="64"/>
                    <a:pt x="261" y="64"/>
                    <a:pt x="261" y="64"/>
                  </a:cubicBezTo>
                  <a:cubicBezTo>
                    <a:pt x="263" y="64"/>
                    <a:pt x="264" y="62"/>
                    <a:pt x="264" y="61"/>
                  </a:cubicBezTo>
                  <a:cubicBezTo>
                    <a:pt x="266" y="56"/>
                    <a:pt x="263" y="52"/>
                    <a:pt x="259" y="49"/>
                  </a:cubicBezTo>
                  <a:cubicBezTo>
                    <a:pt x="259" y="48"/>
                    <a:pt x="253" y="44"/>
                    <a:pt x="253" y="42"/>
                  </a:cubicBezTo>
                  <a:cubicBezTo>
                    <a:pt x="256" y="40"/>
                    <a:pt x="256" y="40"/>
                    <a:pt x="256" y="40"/>
                  </a:cubicBezTo>
                  <a:cubicBezTo>
                    <a:pt x="255" y="40"/>
                    <a:pt x="253" y="40"/>
                    <a:pt x="251" y="40"/>
                  </a:cubicBezTo>
                  <a:cubicBezTo>
                    <a:pt x="253" y="39"/>
                    <a:pt x="253" y="37"/>
                    <a:pt x="253" y="35"/>
                  </a:cubicBezTo>
                  <a:cubicBezTo>
                    <a:pt x="252" y="35"/>
                    <a:pt x="250" y="34"/>
                    <a:pt x="249" y="34"/>
                  </a:cubicBezTo>
                  <a:cubicBezTo>
                    <a:pt x="248" y="33"/>
                    <a:pt x="243" y="31"/>
                    <a:pt x="243" y="30"/>
                  </a:cubicBezTo>
                  <a:cubicBezTo>
                    <a:pt x="243" y="30"/>
                    <a:pt x="243" y="30"/>
                    <a:pt x="243" y="30"/>
                  </a:cubicBezTo>
                  <a:cubicBezTo>
                    <a:pt x="244" y="30"/>
                    <a:pt x="244" y="30"/>
                    <a:pt x="244" y="30"/>
                  </a:cubicBezTo>
                  <a:cubicBezTo>
                    <a:pt x="244" y="30"/>
                    <a:pt x="244" y="30"/>
                    <a:pt x="244" y="30"/>
                  </a:cubicBezTo>
                  <a:cubicBezTo>
                    <a:pt x="244" y="30"/>
                    <a:pt x="244" y="30"/>
                    <a:pt x="244" y="30"/>
                  </a:cubicBezTo>
                  <a:cubicBezTo>
                    <a:pt x="244" y="31"/>
                    <a:pt x="244" y="31"/>
                    <a:pt x="244" y="31"/>
                  </a:cubicBezTo>
                  <a:cubicBezTo>
                    <a:pt x="245" y="31"/>
                    <a:pt x="245" y="30"/>
                    <a:pt x="245" y="30"/>
                  </a:cubicBezTo>
                  <a:cubicBezTo>
                    <a:pt x="246" y="30"/>
                    <a:pt x="246" y="30"/>
                    <a:pt x="246" y="30"/>
                  </a:cubicBezTo>
                  <a:cubicBezTo>
                    <a:pt x="246" y="30"/>
                    <a:pt x="246" y="30"/>
                    <a:pt x="246" y="30"/>
                  </a:cubicBezTo>
                  <a:cubicBezTo>
                    <a:pt x="247" y="29"/>
                    <a:pt x="248" y="26"/>
                    <a:pt x="248" y="25"/>
                  </a:cubicBezTo>
                  <a:cubicBezTo>
                    <a:pt x="248" y="25"/>
                    <a:pt x="248" y="25"/>
                    <a:pt x="248" y="25"/>
                  </a:cubicBezTo>
                  <a:cubicBezTo>
                    <a:pt x="247" y="25"/>
                    <a:pt x="246" y="25"/>
                    <a:pt x="245" y="24"/>
                  </a:cubicBezTo>
                  <a:cubicBezTo>
                    <a:pt x="245" y="24"/>
                    <a:pt x="244" y="23"/>
                    <a:pt x="244" y="23"/>
                  </a:cubicBezTo>
                  <a:cubicBezTo>
                    <a:pt x="244" y="22"/>
                    <a:pt x="243" y="22"/>
                    <a:pt x="243" y="22"/>
                  </a:cubicBezTo>
                  <a:cubicBezTo>
                    <a:pt x="243" y="22"/>
                    <a:pt x="244" y="22"/>
                    <a:pt x="244" y="23"/>
                  </a:cubicBezTo>
                  <a:cubicBezTo>
                    <a:pt x="242" y="21"/>
                    <a:pt x="242" y="21"/>
                    <a:pt x="240" y="20"/>
                  </a:cubicBezTo>
                  <a:cubicBezTo>
                    <a:pt x="241" y="20"/>
                    <a:pt x="241" y="20"/>
                    <a:pt x="241" y="20"/>
                  </a:cubicBezTo>
                  <a:cubicBezTo>
                    <a:pt x="241" y="20"/>
                    <a:pt x="241" y="20"/>
                    <a:pt x="241" y="20"/>
                  </a:cubicBezTo>
                  <a:cubicBezTo>
                    <a:pt x="242" y="20"/>
                    <a:pt x="243" y="20"/>
                    <a:pt x="244" y="20"/>
                  </a:cubicBezTo>
                  <a:cubicBezTo>
                    <a:pt x="245" y="20"/>
                    <a:pt x="246" y="20"/>
                    <a:pt x="246" y="20"/>
                  </a:cubicBezTo>
                  <a:cubicBezTo>
                    <a:pt x="247" y="20"/>
                    <a:pt x="249" y="20"/>
                    <a:pt x="250" y="20"/>
                  </a:cubicBezTo>
                  <a:cubicBezTo>
                    <a:pt x="252" y="20"/>
                    <a:pt x="250" y="16"/>
                    <a:pt x="249" y="15"/>
                  </a:cubicBezTo>
                  <a:cubicBezTo>
                    <a:pt x="252" y="16"/>
                    <a:pt x="256" y="17"/>
                    <a:pt x="260" y="17"/>
                  </a:cubicBezTo>
                  <a:cubicBezTo>
                    <a:pt x="258" y="16"/>
                    <a:pt x="258" y="13"/>
                    <a:pt x="255" y="12"/>
                  </a:cubicBezTo>
                  <a:cubicBezTo>
                    <a:pt x="256" y="11"/>
                    <a:pt x="252" y="7"/>
                    <a:pt x="250" y="7"/>
                  </a:cubicBezTo>
                  <a:cubicBezTo>
                    <a:pt x="249" y="7"/>
                    <a:pt x="249" y="7"/>
                    <a:pt x="249" y="7"/>
                  </a:cubicBezTo>
                  <a:cubicBezTo>
                    <a:pt x="249" y="7"/>
                    <a:pt x="249" y="6"/>
                    <a:pt x="249" y="6"/>
                  </a:cubicBezTo>
                  <a:cubicBezTo>
                    <a:pt x="248" y="6"/>
                    <a:pt x="247" y="5"/>
                    <a:pt x="246" y="5"/>
                  </a:cubicBezTo>
                  <a:cubicBezTo>
                    <a:pt x="239" y="3"/>
                    <a:pt x="230" y="0"/>
                    <a:pt x="2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8" name="Freeform 1516">
              <a:extLst>
                <a:ext uri="{FF2B5EF4-FFF2-40B4-BE49-F238E27FC236}">
                  <a16:creationId xmlns:a16="http://schemas.microsoft.com/office/drawing/2014/main" id="{EE76FD0D-BD9B-445B-B8FF-B9E160BCB0F1}"/>
                </a:ext>
              </a:extLst>
            </p:cNvPr>
            <p:cNvSpPr>
              <a:spLocks noEditPoints="1"/>
            </p:cNvSpPr>
            <p:nvPr/>
          </p:nvSpPr>
          <p:spPr bwMode="auto">
            <a:xfrm>
              <a:off x="1592" y="556"/>
              <a:ext cx="276" cy="194"/>
            </a:xfrm>
            <a:custGeom>
              <a:avLst/>
              <a:gdLst>
                <a:gd name="T0" fmla="*/ 94 w 117"/>
                <a:gd name="T1" fmla="*/ 72 h 82"/>
                <a:gd name="T2" fmla="*/ 94 w 117"/>
                <a:gd name="T3" fmla="*/ 72 h 82"/>
                <a:gd name="T4" fmla="*/ 39 w 117"/>
                <a:gd name="T5" fmla="*/ 11 h 82"/>
                <a:gd name="T6" fmla="*/ 16 w 117"/>
                <a:gd name="T7" fmla="*/ 44 h 82"/>
                <a:gd name="T8" fmla="*/ 7 w 117"/>
                <a:gd name="T9" fmla="*/ 44 h 82"/>
                <a:gd name="T10" fmla="*/ 4 w 117"/>
                <a:gd name="T11" fmla="*/ 50 h 82"/>
                <a:gd name="T12" fmla="*/ 5 w 117"/>
                <a:gd name="T13" fmla="*/ 58 h 82"/>
                <a:gd name="T14" fmla="*/ 3 w 117"/>
                <a:gd name="T15" fmla="*/ 68 h 82"/>
                <a:gd name="T16" fmla="*/ 6 w 117"/>
                <a:gd name="T17" fmla="*/ 77 h 82"/>
                <a:gd name="T18" fmla="*/ 16 w 117"/>
                <a:gd name="T19" fmla="*/ 74 h 82"/>
                <a:gd name="T20" fmla="*/ 21 w 117"/>
                <a:gd name="T21" fmla="*/ 74 h 82"/>
                <a:gd name="T22" fmla="*/ 23 w 117"/>
                <a:gd name="T23" fmla="*/ 75 h 82"/>
                <a:gd name="T24" fmla="*/ 35 w 117"/>
                <a:gd name="T25" fmla="*/ 73 h 82"/>
                <a:gd name="T26" fmla="*/ 39 w 117"/>
                <a:gd name="T27" fmla="*/ 73 h 82"/>
                <a:gd name="T28" fmla="*/ 69 w 117"/>
                <a:gd name="T29" fmla="*/ 80 h 82"/>
                <a:gd name="T30" fmla="*/ 76 w 117"/>
                <a:gd name="T31" fmla="*/ 79 h 82"/>
                <a:gd name="T32" fmla="*/ 98 w 117"/>
                <a:gd name="T33" fmla="*/ 75 h 82"/>
                <a:gd name="T34" fmla="*/ 95 w 117"/>
                <a:gd name="T35" fmla="*/ 74 h 82"/>
                <a:gd name="T36" fmla="*/ 94 w 117"/>
                <a:gd name="T37" fmla="*/ 74 h 82"/>
                <a:gd name="T38" fmla="*/ 91 w 117"/>
                <a:gd name="T39" fmla="*/ 71 h 82"/>
                <a:gd name="T40" fmla="*/ 90 w 117"/>
                <a:gd name="T41" fmla="*/ 59 h 82"/>
                <a:gd name="T42" fmla="*/ 95 w 117"/>
                <a:gd name="T43" fmla="*/ 61 h 82"/>
                <a:gd name="T44" fmla="*/ 110 w 117"/>
                <a:gd name="T45" fmla="*/ 54 h 82"/>
                <a:gd name="T46" fmla="*/ 115 w 117"/>
                <a:gd name="T47" fmla="*/ 48 h 82"/>
                <a:gd name="T48" fmla="*/ 107 w 117"/>
                <a:gd name="T49" fmla="*/ 48 h 82"/>
                <a:gd name="T50" fmla="*/ 96 w 117"/>
                <a:gd name="T51" fmla="*/ 44 h 82"/>
                <a:gd name="T52" fmla="*/ 86 w 117"/>
                <a:gd name="T53" fmla="*/ 36 h 82"/>
                <a:gd name="T54" fmla="*/ 80 w 117"/>
                <a:gd name="T55" fmla="*/ 39 h 82"/>
                <a:gd name="T56" fmla="*/ 78 w 117"/>
                <a:gd name="T57" fmla="*/ 36 h 82"/>
                <a:gd name="T58" fmla="*/ 81 w 117"/>
                <a:gd name="T59" fmla="*/ 36 h 82"/>
                <a:gd name="T60" fmla="*/ 79 w 117"/>
                <a:gd name="T61" fmla="*/ 29 h 82"/>
                <a:gd name="T62" fmla="*/ 77 w 117"/>
                <a:gd name="T63" fmla="*/ 31 h 82"/>
                <a:gd name="T64" fmla="*/ 68 w 117"/>
                <a:gd name="T65" fmla="*/ 32 h 82"/>
                <a:gd name="T66" fmla="*/ 69 w 117"/>
                <a:gd name="T67" fmla="*/ 26 h 82"/>
                <a:gd name="T68" fmla="*/ 72 w 117"/>
                <a:gd name="T69" fmla="*/ 21 h 82"/>
                <a:gd name="T70" fmla="*/ 62 w 117"/>
                <a:gd name="T71" fmla="*/ 12 h 82"/>
                <a:gd name="T72" fmla="*/ 53 w 117"/>
                <a:gd name="T73" fmla="*/ 1 h 82"/>
                <a:gd name="T74" fmla="*/ 44 w 117"/>
                <a:gd name="T75" fmla="*/ 13 h 82"/>
                <a:gd name="T76" fmla="*/ 44 w 117"/>
                <a:gd name="T7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82">
                  <a:moveTo>
                    <a:pt x="94" y="72"/>
                  </a:moveTo>
                  <a:cubicBezTo>
                    <a:pt x="94" y="72"/>
                    <a:pt x="94" y="72"/>
                    <a:pt x="94" y="72"/>
                  </a:cubicBezTo>
                  <a:cubicBezTo>
                    <a:pt x="94" y="72"/>
                    <a:pt x="94" y="72"/>
                    <a:pt x="94" y="72"/>
                  </a:cubicBezTo>
                  <a:cubicBezTo>
                    <a:pt x="94" y="72"/>
                    <a:pt x="94" y="72"/>
                    <a:pt x="94" y="72"/>
                  </a:cubicBezTo>
                  <a:moveTo>
                    <a:pt x="44" y="0"/>
                  </a:moveTo>
                  <a:cubicBezTo>
                    <a:pt x="42" y="3"/>
                    <a:pt x="42" y="8"/>
                    <a:pt x="39" y="11"/>
                  </a:cubicBezTo>
                  <a:cubicBezTo>
                    <a:pt x="35" y="15"/>
                    <a:pt x="32" y="19"/>
                    <a:pt x="28" y="23"/>
                  </a:cubicBezTo>
                  <a:cubicBezTo>
                    <a:pt x="22" y="29"/>
                    <a:pt x="19" y="37"/>
                    <a:pt x="16" y="44"/>
                  </a:cubicBezTo>
                  <a:cubicBezTo>
                    <a:pt x="13" y="43"/>
                    <a:pt x="12" y="42"/>
                    <a:pt x="11" y="42"/>
                  </a:cubicBezTo>
                  <a:cubicBezTo>
                    <a:pt x="10" y="42"/>
                    <a:pt x="9" y="42"/>
                    <a:pt x="7" y="44"/>
                  </a:cubicBezTo>
                  <a:cubicBezTo>
                    <a:pt x="6" y="46"/>
                    <a:pt x="3" y="47"/>
                    <a:pt x="3" y="50"/>
                  </a:cubicBezTo>
                  <a:cubicBezTo>
                    <a:pt x="4" y="50"/>
                    <a:pt x="4" y="50"/>
                    <a:pt x="4" y="50"/>
                  </a:cubicBezTo>
                  <a:cubicBezTo>
                    <a:pt x="4" y="51"/>
                    <a:pt x="6" y="51"/>
                    <a:pt x="6" y="52"/>
                  </a:cubicBezTo>
                  <a:cubicBezTo>
                    <a:pt x="6" y="54"/>
                    <a:pt x="6" y="56"/>
                    <a:pt x="5" y="58"/>
                  </a:cubicBezTo>
                  <a:cubicBezTo>
                    <a:pt x="5" y="61"/>
                    <a:pt x="3" y="61"/>
                    <a:pt x="0" y="62"/>
                  </a:cubicBezTo>
                  <a:cubicBezTo>
                    <a:pt x="1" y="64"/>
                    <a:pt x="2" y="66"/>
                    <a:pt x="3" y="68"/>
                  </a:cubicBezTo>
                  <a:cubicBezTo>
                    <a:pt x="3" y="69"/>
                    <a:pt x="3" y="69"/>
                    <a:pt x="3" y="69"/>
                  </a:cubicBezTo>
                  <a:cubicBezTo>
                    <a:pt x="4" y="72"/>
                    <a:pt x="5" y="75"/>
                    <a:pt x="6" y="77"/>
                  </a:cubicBezTo>
                  <a:cubicBezTo>
                    <a:pt x="9" y="82"/>
                    <a:pt x="9" y="82"/>
                    <a:pt x="9" y="82"/>
                  </a:cubicBezTo>
                  <a:cubicBezTo>
                    <a:pt x="11" y="79"/>
                    <a:pt x="14" y="77"/>
                    <a:pt x="16" y="74"/>
                  </a:cubicBezTo>
                  <a:cubicBezTo>
                    <a:pt x="20" y="71"/>
                    <a:pt x="20" y="71"/>
                    <a:pt x="20" y="71"/>
                  </a:cubicBezTo>
                  <a:cubicBezTo>
                    <a:pt x="21" y="74"/>
                    <a:pt x="21" y="74"/>
                    <a:pt x="21" y="74"/>
                  </a:cubicBezTo>
                  <a:cubicBezTo>
                    <a:pt x="21" y="74"/>
                    <a:pt x="21" y="74"/>
                    <a:pt x="21" y="74"/>
                  </a:cubicBezTo>
                  <a:cubicBezTo>
                    <a:pt x="22" y="75"/>
                    <a:pt x="22" y="75"/>
                    <a:pt x="23" y="75"/>
                  </a:cubicBezTo>
                  <a:cubicBezTo>
                    <a:pt x="23" y="75"/>
                    <a:pt x="23" y="75"/>
                    <a:pt x="23" y="75"/>
                  </a:cubicBezTo>
                  <a:cubicBezTo>
                    <a:pt x="25" y="74"/>
                    <a:pt x="29" y="74"/>
                    <a:pt x="35" y="73"/>
                  </a:cubicBezTo>
                  <a:cubicBezTo>
                    <a:pt x="35" y="73"/>
                    <a:pt x="35" y="73"/>
                    <a:pt x="35" y="73"/>
                  </a:cubicBezTo>
                  <a:cubicBezTo>
                    <a:pt x="36" y="73"/>
                    <a:pt x="37" y="73"/>
                    <a:pt x="39" y="73"/>
                  </a:cubicBezTo>
                  <a:cubicBezTo>
                    <a:pt x="47" y="73"/>
                    <a:pt x="55" y="76"/>
                    <a:pt x="63" y="78"/>
                  </a:cubicBezTo>
                  <a:cubicBezTo>
                    <a:pt x="65" y="79"/>
                    <a:pt x="67" y="80"/>
                    <a:pt x="69" y="80"/>
                  </a:cubicBezTo>
                  <a:cubicBezTo>
                    <a:pt x="69" y="79"/>
                    <a:pt x="69" y="77"/>
                    <a:pt x="70" y="76"/>
                  </a:cubicBezTo>
                  <a:cubicBezTo>
                    <a:pt x="71" y="78"/>
                    <a:pt x="73" y="79"/>
                    <a:pt x="76" y="79"/>
                  </a:cubicBezTo>
                  <a:cubicBezTo>
                    <a:pt x="77" y="79"/>
                    <a:pt x="80" y="79"/>
                    <a:pt x="83" y="79"/>
                  </a:cubicBezTo>
                  <a:cubicBezTo>
                    <a:pt x="90" y="79"/>
                    <a:pt x="98" y="79"/>
                    <a:pt x="98" y="75"/>
                  </a:cubicBezTo>
                  <a:cubicBezTo>
                    <a:pt x="98" y="74"/>
                    <a:pt x="97" y="74"/>
                    <a:pt x="96" y="74"/>
                  </a:cubicBezTo>
                  <a:cubicBezTo>
                    <a:pt x="96" y="74"/>
                    <a:pt x="95" y="74"/>
                    <a:pt x="95" y="74"/>
                  </a:cubicBezTo>
                  <a:cubicBezTo>
                    <a:pt x="95" y="74"/>
                    <a:pt x="95" y="74"/>
                    <a:pt x="94" y="74"/>
                  </a:cubicBezTo>
                  <a:cubicBezTo>
                    <a:pt x="94" y="74"/>
                    <a:pt x="94" y="74"/>
                    <a:pt x="94" y="74"/>
                  </a:cubicBezTo>
                  <a:cubicBezTo>
                    <a:pt x="94" y="73"/>
                    <a:pt x="94" y="72"/>
                    <a:pt x="94" y="72"/>
                  </a:cubicBezTo>
                  <a:cubicBezTo>
                    <a:pt x="93" y="71"/>
                    <a:pt x="92" y="71"/>
                    <a:pt x="91" y="71"/>
                  </a:cubicBezTo>
                  <a:cubicBezTo>
                    <a:pt x="90" y="70"/>
                    <a:pt x="87" y="68"/>
                    <a:pt x="86" y="66"/>
                  </a:cubicBezTo>
                  <a:cubicBezTo>
                    <a:pt x="84" y="62"/>
                    <a:pt x="87" y="59"/>
                    <a:pt x="90" y="59"/>
                  </a:cubicBezTo>
                  <a:cubicBezTo>
                    <a:pt x="91" y="59"/>
                    <a:pt x="92" y="59"/>
                    <a:pt x="92" y="59"/>
                  </a:cubicBezTo>
                  <a:cubicBezTo>
                    <a:pt x="94" y="60"/>
                    <a:pt x="93" y="61"/>
                    <a:pt x="95" y="61"/>
                  </a:cubicBezTo>
                  <a:cubicBezTo>
                    <a:pt x="95" y="61"/>
                    <a:pt x="95" y="61"/>
                    <a:pt x="96" y="61"/>
                  </a:cubicBezTo>
                  <a:cubicBezTo>
                    <a:pt x="100" y="61"/>
                    <a:pt x="107" y="56"/>
                    <a:pt x="110" y="54"/>
                  </a:cubicBezTo>
                  <a:cubicBezTo>
                    <a:pt x="111" y="54"/>
                    <a:pt x="116" y="53"/>
                    <a:pt x="116" y="52"/>
                  </a:cubicBezTo>
                  <a:cubicBezTo>
                    <a:pt x="117" y="50"/>
                    <a:pt x="116" y="48"/>
                    <a:pt x="115" y="48"/>
                  </a:cubicBezTo>
                  <a:cubicBezTo>
                    <a:pt x="113" y="48"/>
                    <a:pt x="112" y="48"/>
                    <a:pt x="110" y="48"/>
                  </a:cubicBezTo>
                  <a:cubicBezTo>
                    <a:pt x="109" y="48"/>
                    <a:pt x="107" y="48"/>
                    <a:pt x="107" y="48"/>
                  </a:cubicBezTo>
                  <a:cubicBezTo>
                    <a:pt x="104" y="46"/>
                    <a:pt x="101" y="41"/>
                    <a:pt x="98" y="41"/>
                  </a:cubicBezTo>
                  <a:cubicBezTo>
                    <a:pt x="97" y="41"/>
                    <a:pt x="97" y="42"/>
                    <a:pt x="96" y="44"/>
                  </a:cubicBezTo>
                  <a:cubicBezTo>
                    <a:pt x="97" y="40"/>
                    <a:pt x="91" y="36"/>
                    <a:pt x="87" y="36"/>
                  </a:cubicBezTo>
                  <a:cubicBezTo>
                    <a:pt x="87" y="36"/>
                    <a:pt x="86" y="36"/>
                    <a:pt x="86" y="36"/>
                  </a:cubicBezTo>
                  <a:cubicBezTo>
                    <a:pt x="84" y="36"/>
                    <a:pt x="85" y="38"/>
                    <a:pt x="82" y="38"/>
                  </a:cubicBezTo>
                  <a:cubicBezTo>
                    <a:pt x="82" y="38"/>
                    <a:pt x="81" y="39"/>
                    <a:pt x="80" y="39"/>
                  </a:cubicBezTo>
                  <a:cubicBezTo>
                    <a:pt x="78" y="39"/>
                    <a:pt x="76" y="38"/>
                    <a:pt x="77" y="36"/>
                  </a:cubicBezTo>
                  <a:cubicBezTo>
                    <a:pt x="77" y="36"/>
                    <a:pt x="78" y="36"/>
                    <a:pt x="78" y="36"/>
                  </a:cubicBezTo>
                  <a:cubicBezTo>
                    <a:pt x="79" y="36"/>
                    <a:pt x="79" y="36"/>
                    <a:pt x="80" y="36"/>
                  </a:cubicBezTo>
                  <a:cubicBezTo>
                    <a:pt x="80" y="36"/>
                    <a:pt x="80" y="36"/>
                    <a:pt x="81" y="36"/>
                  </a:cubicBezTo>
                  <a:cubicBezTo>
                    <a:pt x="82" y="36"/>
                    <a:pt x="83" y="36"/>
                    <a:pt x="83" y="34"/>
                  </a:cubicBezTo>
                  <a:cubicBezTo>
                    <a:pt x="84" y="33"/>
                    <a:pt x="80" y="29"/>
                    <a:pt x="79" y="29"/>
                  </a:cubicBezTo>
                  <a:cubicBezTo>
                    <a:pt x="79" y="29"/>
                    <a:pt x="79" y="29"/>
                    <a:pt x="79" y="29"/>
                  </a:cubicBezTo>
                  <a:cubicBezTo>
                    <a:pt x="78" y="29"/>
                    <a:pt x="77" y="31"/>
                    <a:pt x="77" y="31"/>
                  </a:cubicBezTo>
                  <a:cubicBezTo>
                    <a:pt x="73" y="33"/>
                    <a:pt x="70" y="33"/>
                    <a:pt x="64" y="34"/>
                  </a:cubicBezTo>
                  <a:cubicBezTo>
                    <a:pt x="65" y="33"/>
                    <a:pt x="67" y="33"/>
                    <a:pt x="68" y="32"/>
                  </a:cubicBezTo>
                  <a:cubicBezTo>
                    <a:pt x="70" y="31"/>
                    <a:pt x="69" y="32"/>
                    <a:pt x="69" y="30"/>
                  </a:cubicBezTo>
                  <a:cubicBezTo>
                    <a:pt x="69" y="28"/>
                    <a:pt x="69" y="27"/>
                    <a:pt x="69" y="26"/>
                  </a:cubicBezTo>
                  <a:cubicBezTo>
                    <a:pt x="69" y="24"/>
                    <a:pt x="68" y="25"/>
                    <a:pt x="70" y="23"/>
                  </a:cubicBezTo>
                  <a:cubicBezTo>
                    <a:pt x="71" y="22"/>
                    <a:pt x="72" y="23"/>
                    <a:pt x="72" y="21"/>
                  </a:cubicBezTo>
                  <a:cubicBezTo>
                    <a:pt x="72" y="19"/>
                    <a:pt x="69" y="16"/>
                    <a:pt x="68" y="14"/>
                  </a:cubicBezTo>
                  <a:cubicBezTo>
                    <a:pt x="66" y="12"/>
                    <a:pt x="65" y="12"/>
                    <a:pt x="62" y="12"/>
                  </a:cubicBezTo>
                  <a:cubicBezTo>
                    <a:pt x="57" y="12"/>
                    <a:pt x="57" y="1"/>
                    <a:pt x="54" y="1"/>
                  </a:cubicBezTo>
                  <a:cubicBezTo>
                    <a:pt x="53" y="1"/>
                    <a:pt x="53" y="1"/>
                    <a:pt x="53" y="1"/>
                  </a:cubicBezTo>
                  <a:cubicBezTo>
                    <a:pt x="52" y="2"/>
                    <a:pt x="52" y="4"/>
                    <a:pt x="52" y="5"/>
                  </a:cubicBezTo>
                  <a:cubicBezTo>
                    <a:pt x="50" y="9"/>
                    <a:pt x="49" y="11"/>
                    <a:pt x="44" y="13"/>
                  </a:cubicBezTo>
                  <a:cubicBezTo>
                    <a:pt x="44" y="11"/>
                    <a:pt x="45" y="10"/>
                    <a:pt x="46" y="9"/>
                  </a:cubicBezTo>
                  <a:cubicBezTo>
                    <a:pt x="46" y="6"/>
                    <a:pt x="45" y="4"/>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9" name="Freeform 1517">
              <a:extLst>
                <a:ext uri="{FF2B5EF4-FFF2-40B4-BE49-F238E27FC236}">
                  <a16:creationId xmlns:a16="http://schemas.microsoft.com/office/drawing/2014/main" id="{3D7DCB26-E55C-473C-8BB5-6902B022B9D5}"/>
                </a:ext>
              </a:extLst>
            </p:cNvPr>
            <p:cNvSpPr>
              <a:spLocks/>
            </p:cNvSpPr>
            <p:nvPr/>
          </p:nvSpPr>
          <p:spPr bwMode="auto">
            <a:xfrm>
              <a:off x="1209" y="717"/>
              <a:ext cx="404" cy="255"/>
            </a:xfrm>
            <a:custGeom>
              <a:avLst/>
              <a:gdLst>
                <a:gd name="T0" fmla="*/ 152 w 171"/>
                <a:gd name="T1" fmla="*/ 1 h 108"/>
                <a:gd name="T2" fmla="*/ 153 w 171"/>
                <a:gd name="T3" fmla="*/ 8 h 108"/>
                <a:gd name="T4" fmla="*/ 153 w 171"/>
                <a:gd name="T5" fmla="*/ 11 h 108"/>
                <a:gd name="T6" fmla="*/ 151 w 171"/>
                <a:gd name="T7" fmla="*/ 19 h 108"/>
                <a:gd name="T8" fmla="*/ 143 w 171"/>
                <a:gd name="T9" fmla="*/ 23 h 108"/>
                <a:gd name="T10" fmla="*/ 133 w 171"/>
                <a:gd name="T11" fmla="*/ 13 h 108"/>
                <a:gd name="T12" fmla="*/ 131 w 171"/>
                <a:gd name="T13" fmla="*/ 11 h 108"/>
                <a:gd name="T14" fmla="*/ 126 w 171"/>
                <a:gd name="T15" fmla="*/ 7 h 108"/>
                <a:gd name="T16" fmla="*/ 99 w 171"/>
                <a:gd name="T17" fmla="*/ 43 h 108"/>
                <a:gd name="T18" fmla="*/ 60 w 171"/>
                <a:gd name="T19" fmla="*/ 54 h 108"/>
                <a:gd name="T20" fmla="*/ 51 w 171"/>
                <a:gd name="T21" fmla="*/ 68 h 108"/>
                <a:gd name="T22" fmla="*/ 46 w 171"/>
                <a:gd name="T23" fmla="*/ 67 h 108"/>
                <a:gd name="T24" fmla="*/ 45 w 171"/>
                <a:gd name="T25" fmla="*/ 67 h 108"/>
                <a:gd name="T26" fmla="*/ 45 w 171"/>
                <a:gd name="T27" fmla="*/ 69 h 108"/>
                <a:gd name="T28" fmla="*/ 46 w 171"/>
                <a:gd name="T29" fmla="*/ 90 h 108"/>
                <a:gd name="T30" fmla="*/ 49 w 171"/>
                <a:gd name="T31" fmla="*/ 98 h 108"/>
                <a:gd name="T32" fmla="*/ 39 w 171"/>
                <a:gd name="T33" fmla="*/ 96 h 108"/>
                <a:gd name="T34" fmla="*/ 29 w 171"/>
                <a:gd name="T35" fmla="*/ 95 h 108"/>
                <a:gd name="T36" fmla="*/ 24 w 171"/>
                <a:gd name="T37" fmla="*/ 86 h 108"/>
                <a:gd name="T38" fmla="*/ 23 w 171"/>
                <a:gd name="T39" fmla="*/ 86 h 108"/>
                <a:gd name="T40" fmla="*/ 13 w 171"/>
                <a:gd name="T41" fmla="*/ 88 h 108"/>
                <a:gd name="T42" fmla="*/ 1 w 171"/>
                <a:gd name="T43" fmla="*/ 80 h 108"/>
                <a:gd name="T44" fmla="*/ 1 w 171"/>
                <a:gd name="T45" fmla="*/ 83 h 108"/>
                <a:gd name="T46" fmla="*/ 12 w 171"/>
                <a:gd name="T47" fmla="*/ 96 h 108"/>
                <a:gd name="T48" fmla="*/ 21 w 171"/>
                <a:gd name="T49" fmla="*/ 104 h 108"/>
                <a:gd name="T50" fmla="*/ 26 w 171"/>
                <a:gd name="T51" fmla="*/ 108 h 108"/>
                <a:gd name="T52" fmla="*/ 35 w 171"/>
                <a:gd name="T53" fmla="*/ 105 h 108"/>
                <a:gd name="T54" fmla="*/ 39 w 171"/>
                <a:gd name="T55" fmla="*/ 104 h 108"/>
                <a:gd name="T56" fmla="*/ 55 w 171"/>
                <a:gd name="T57" fmla="*/ 103 h 108"/>
                <a:gd name="T58" fmla="*/ 59 w 171"/>
                <a:gd name="T59" fmla="*/ 104 h 108"/>
                <a:gd name="T60" fmla="*/ 68 w 171"/>
                <a:gd name="T61" fmla="*/ 100 h 108"/>
                <a:gd name="T62" fmla="*/ 69 w 171"/>
                <a:gd name="T63" fmla="*/ 99 h 108"/>
                <a:gd name="T64" fmla="*/ 78 w 171"/>
                <a:gd name="T65" fmla="*/ 90 h 108"/>
                <a:gd name="T66" fmla="*/ 101 w 171"/>
                <a:gd name="T67" fmla="*/ 91 h 108"/>
                <a:gd name="T68" fmla="*/ 105 w 171"/>
                <a:gd name="T69" fmla="*/ 93 h 108"/>
                <a:gd name="T70" fmla="*/ 115 w 171"/>
                <a:gd name="T71" fmla="*/ 97 h 108"/>
                <a:gd name="T72" fmla="*/ 116 w 171"/>
                <a:gd name="T73" fmla="*/ 97 h 108"/>
                <a:gd name="T74" fmla="*/ 118 w 171"/>
                <a:gd name="T75" fmla="*/ 95 h 108"/>
                <a:gd name="T76" fmla="*/ 130 w 171"/>
                <a:gd name="T77" fmla="*/ 92 h 108"/>
                <a:gd name="T78" fmla="*/ 136 w 171"/>
                <a:gd name="T79" fmla="*/ 91 h 108"/>
                <a:gd name="T80" fmla="*/ 137 w 171"/>
                <a:gd name="T81" fmla="*/ 91 h 108"/>
                <a:gd name="T82" fmla="*/ 140 w 171"/>
                <a:gd name="T83" fmla="*/ 90 h 108"/>
                <a:gd name="T84" fmla="*/ 142 w 171"/>
                <a:gd name="T85" fmla="*/ 84 h 108"/>
                <a:gd name="T86" fmla="*/ 145 w 171"/>
                <a:gd name="T87" fmla="*/ 80 h 108"/>
                <a:gd name="T88" fmla="*/ 147 w 171"/>
                <a:gd name="T89" fmla="*/ 79 h 108"/>
                <a:gd name="T90" fmla="*/ 146 w 171"/>
                <a:gd name="T91" fmla="*/ 77 h 108"/>
                <a:gd name="T92" fmla="*/ 151 w 171"/>
                <a:gd name="T93" fmla="*/ 66 h 108"/>
                <a:gd name="T94" fmla="*/ 154 w 171"/>
                <a:gd name="T95" fmla="*/ 63 h 108"/>
                <a:gd name="T96" fmla="*/ 155 w 171"/>
                <a:gd name="T97" fmla="*/ 62 h 108"/>
                <a:gd name="T98" fmla="*/ 166 w 171"/>
                <a:gd name="T99" fmla="*/ 45 h 108"/>
                <a:gd name="T100" fmla="*/ 167 w 171"/>
                <a:gd name="T101" fmla="*/ 44 h 108"/>
                <a:gd name="T102" fmla="*/ 171 w 171"/>
                <a:gd name="T103" fmla="*/ 15 h 108"/>
                <a:gd name="T104" fmla="*/ 162 w 171"/>
                <a:gd name="T105" fmla="*/ 14 h 108"/>
                <a:gd name="T106" fmla="*/ 154 w 171"/>
                <a:gd name="T107" fmla="*/ 10 h 108"/>
                <a:gd name="T108" fmla="*/ 152 w 171"/>
                <a:gd name="T109"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1" h="108">
                  <a:moveTo>
                    <a:pt x="152" y="0"/>
                  </a:moveTo>
                  <a:cubicBezTo>
                    <a:pt x="152" y="1"/>
                    <a:pt x="152" y="1"/>
                    <a:pt x="152" y="1"/>
                  </a:cubicBezTo>
                  <a:cubicBezTo>
                    <a:pt x="152" y="1"/>
                    <a:pt x="152" y="1"/>
                    <a:pt x="152" y="2"/>
                  </a:cubicBezTo>
                  <a:cubicBezTo>
                    <a:pt x="153" y="4"/>
                    <a:pt x="153" y="6"/>
                    <a:pt x="153" y="8"/>
                  </a:cubicBezTo>
                  <a:cubicBezTo>
                    <a:pt x="153" y="8"/>
                    <a:pt x="153" y="8"/>
                    <a:pt x="153" y="8"/>
                  </a:cubicBezTo>
                  <a:cubicBezTo>
                    <a:pt x="153" y="9"/>
                    <a:pt x="153" y="10"/>
                    <a:pt x="153" y="11"/>
                  </a:cubicBezTo>
                  <a:cubicBezTo>
                    <a:pt x="153" y="12"/>
                    <a:pt x="153" y="14"/>
                    <a:pt x="153" y="15"/>
                  </a:cubicBezTo>
                  <a:cubicBezTo>
                    <a:pt x="152" y="17"/>
                    <a:pt x="152" y="18"/>
                    <a:pt x="151" y="19"/>
                  </a:cubicBezTo>
                  <a:cubicBezTo>
                    <a:pt x="149" y="22"/>
                    <a:pt x="146" y="23"/>
                    <a:pt x="144" y="23"/>
                  </a:cubicBezTo>
                  <a:cubicBezTo>
                    <a:pt x="144" y="23"/>
                    <a:pt x="143" y="23"/>
                    <a:pt x="143" y="23"/>
                  </a:cubicBezTo>
                  <a:cubicBezTo>
                    <a:pt x="140" y="23"/>
                    <a:pt x="137" y="19"/>
                    <a:pt x="134" y="15"/>
                  </a:cubicBezTo>
                  <a:cubicBezTo>
                    <a:pt x="133" y="14"/>
                    <a:pt x="133" y="13"/>
                    <a:pt x="133" y="13"/>
                  </a:cubicBezTo>
                  <a:cubicBezTo>
                    <a:pt x="132" y="13"/>
                    <a:pt x="132" y="12"/>
                    <a:pt x="132" y="12"/>
                  </a:cubicBezTo>
                  <a:cubicBezTo>
                    <a:pt x="131" y="11"/>
                    <a:pt x="131" y="11"/>
                    <a:pt x="131" y="11"/>
                  </a:cubicBezTo>
                  <a:cubicBezTo>
                    <a:pt x="131" y="11"/>
                    <a:pt x="131" y="10"/>
                    <a:pt x="130" y="9"/>
                  </a:cubicBezTo>
                  <a:cubicBezTo>
                    <a:pt x="130" y="9"/>
                    <a:pt x="129" y="8"/>
                    <a:pt x="126" y="7"/>
                  </a:cubicBezTo>
                  <a:cubicBezTo>
                    <a:pt x="121" y="13"/>
                    <a:pt x="115" y="20"/>
                    <a:pt x="110" y="27"/>
                  </a:cubicBezTo>
                  <a:cubicBezTo>
                    <a:pt x="106" y="32"/>
                    <a:pt x="103" y="38"/>
                    <a:pt x="99" y="43"/>
                  </a:cubicBezTo>
                  <a:cubicBezTo>
                    <a:pt x="96" y="45"/>
                    <a:pt x="92" y="46"/>
                    <a:pt x="89" y="48"/>
                  </a:cubicBezTo>
                  <a:cubicBezTo>
                    <a:pt x="79" y="50"/>
                    <a:pt x="70" y="52"/>
                    <a:pt x="60" y="54"/>
                  </a:cubicBezTo>
                  <a:cubicBezTo>
                    <a:pt x="55" y="55"/>
                    <a:pt x="56" y="56"/>
                    <a:pt x="54" y="61"/>
                  </a:cubicBezTo>
                  <a:cubicBezTo>
                    <a:pt x="54" y="64"/>
                    <a:pt x="54" y="68"/>
                    <a:pt x="51" y="68"/>
                  </a:cubicBezTo>
                  <a:cubicBezTo>
                    <a:pt x="49" y="68"/>
                    <a:pt x="48" y="67"/>
                    <a:pt x="46" y="67"/>
                  </a:cubicBezTo>
                  <a:cubicBezTo>
                    <a:pt x="46" y="67"/>
                    <a:pt x="46" y="67"/>
                    <a:pt x="46" y="67"/>
                  </a:cubicBezTo>
                  <a:cubicBezTo>
                    <a:pt x="46" y="67"/>
                    <a:pt x="46" y="67"/>
                    <a:pt x="46" y="67"/>
                  </a:cubicBezTo>
                  <a:cubicBezTo>
                    <a:pt x="45" y="67"/>
                    <a:pt x="45" y="67"/>
                    <a:pt x="45" y="67"/>
                  </a:cubicBezTo>
                  <a:cubicBezTo>
                    <a:pt x="45" y="67"/>
                    <a:pt x="45" y="67"/>
                    <a:pt x="45" y="67"/>
                  </a:cubicBezTo>
                  <a:cubicBezTo>
                    <a:pt x="45" y="67"/>
                    <a:pt x="45" y="67"/>
                    <a:pt x="45" y="69"/>
                  </a:cubicBezTo>
                  <a:cubicBezTo>
                    <a:pt x="46" y="71"/>
                    <a:pt x="47" y="74"/>
                    <a:pt x="48" y="75"/>
                  </a:cubicBezTo>
                  <a:cubicBezTo>
                    <a:pt x="43" y="78"/>
                    <a:pt x="37" y="88"/>
                    <a:pt x="46" y="90"/>
                  </a:cubicBezTo>
                  <a:cubicBezTo>
                    <a:pt x="42" y="90"/>
                    <a:pt x="36" y="89"/>
                    <a:pt x="40" y="94"/>
                  </a:cubicBezTo>
                  <a:cubicBezTo>
                    <a:pt x="42" y="97"/>
                    <a:pt x="47" y="96"/>
                    <a:pt x="49" y="98"/>
                  </a:cubicBezTo>
                  <a:cubicBezTo>
                    <a:pt x="48" y="98"/>
                    <a:pt x="48" y="98"/>
                    <a:pt x="47" y="98"/>
                  </a:cubicBezTo>
                  <a:cubicBezTo>
                    <a:pt x="44" y="98"/>
                    <a:pt x="42" y="97"/>
                    <a:pt x="39" y="96"/>
                  </a:cubicBezTo>
                  <a:cubicBezTo>
                    <a:pt x="37" y="95"/>
                    <a:pt x="34" y="94"/>
                    <a:pt x="32" y="94"/>
                  </a:cubicBezTo>
                  <a:cubicBezTo>
                    <a:pt x="31" y="94"/>
                    <a:pt x="30" y="94"/>
                    <a:pt x="29" y="95"/>
                  </a:cubicBezTo>
                  <a:cubicBezTo>
                    <a:pt x="32" y="92"/>
                    <a:pt x="30" y="92"/>
                    <a:pt x="28" y="90"/>
                  </a:cubicBezTo>
                  <a:cubicBezTo>
                    <a:pt x="28" y="90"/>
                    <a:pt x="24" y="86"/>
                    <a:pt x="24" y="86"/>
                  </a:cubicBezTo>
                  <a:cubicBezTo>
                    <a:pt x="24" y="86"/>
                    <a:pt x="24" y="86"/>
                    <a:pt x="24" y="86"/>
                  </a:cubicBezTo>
                  <a:cubicBezTo>
                    <a:pt x="24" y="86"/>
                    <a:pt x="23" y="86"/>
                    <a:pt x="23" y="86"/>
                  </a:cubicBezTo>
                  <a:cubicBezTo>
                    <a:pt x="20" y="86"/>
                    <a:pt x="17" y="88"/>
                    <a:pt x="15" y="88"/>
                  </a:cubicBezTo>
                  <a:cubicBezTo>
                    <a:pt x="14" y="88"/>
                    <a:pt x="14" y="88"/>
                    <a:pt x="13" y="88"/>
                  </a:cubicBezTo>
                  <a:cubicBezTo>
                    <a:pt x="11" y="88"/>
                    <a:pt x="10" y="88"/>
                    <a:pt x="9" y="88"/>
                  </a:cubicBezTo>
                  <a:cubicBezTo>
                    <a:pt x="6" y="87"/>
                    <a:pt x="4" y="83"/>
                    <a:pt x="1" y="80"/>
                  </a:cubicBezTo>
                  <a:cubicBezTo>
                    <a:pt x="1" y="80"/>
                    <a:pt x="1" y="80"/>
                    <a:pt x="1" y="80"/>
                  </a:cubicBezTo>
                  <a:cubicBezTo>
                    <a:pt x="1" y="81"/>
                    <a:pt x="0" y="83"/>
                    <a:pt x="1" y="83"/>
                  </a:cubicBezTo>
                  <a:cubicBezTo>
                    <a:pt x="1" y="87"/>
                    <a:pt x="6" y="91"/>
                    <a:pt x="10" y="94"/>
                  </a:cubicBezTo>
                  <a:cubicBezTo>
                    <a:pt x="12" y="96"/>
                    <a:pt x="12" y="96"/>
                    <a:pt x="12" y="96"/>
                  </a:cubicBezTo>
                  <a:cubicBezTo>
                    <a:pt x="14" y="98"/>
                    <a:pt x="17" y="100"/>
                    <a:pt x="19" y="102"/>
                  </a:cubicBezTo>
                  <a:cubicBezTo>
                    <a:pt x="21" y="104"/>
                    <a:pt x="21" y="104"/>
                    <a:pt x="21" y="104"/>
                  </a:cubicBezTo>
                  <a:cubicBezTo>
                    <a:pt x="22" y="105"/>
                    <a:pt x="22" y="105"/>
                    <a:pt x="23" y="106"/>
                  </a:cubicBezTo>
                  <a:cubicBezTo>
                    <a:pt x="24" y="106"/>
                    <a:pt x="26" y="108"/>
                    <a:pt x="26" y="108"/>
                  </a:cubicBezTo>
                  <a:cubicBezTo>
                    <a:pt x="26" y="108"/>
                    <a:pt x="27" y="108"/>
                    <a:pt x="27" y="108"/>
                  </a:cubicBezTo>
                  <a:cubicBezTo>
                    <a:pt x="29" y="108"/>
                    <a:pt x="33" y="106"/>
                    <a:pt x="35" y="105"/>
                  </a:cubicBezTo>
                  <a:cubicBezTo>
                    <a:pt x="36" y="105"/>
                    <a:pt x="36" y="105"/>
                    <a:pt x="36" y="105"/>
                  </a:cubicBezTo>
                  <a:cubicBezTo>
                    <a:pt x="37" y="105"/>
                    <a:pt x="38" y="104"/>
                    <a:pt x="39" y="104"/>
                  </a:cubicBezTo>
                  <a:cubicBezTo>
                    <a:pt x="42" y="103"/>
                    <a:pt x="45" y="102"/>
                    <a:pt x="47" y="102"/>
                  </a:cubicBezTo>
                  <a:cubicBezTo>
                    <a:pt x="50" y="102"/>
                    <a:pt x="52" y="103"/>
                    <a:pt x="55" y="103"/>
                  </a:cubicBezTo>
                  <a:cubicBezTo>
                    <a:pt x="56" y="103"/>
                    <a:pt x="56" y="103"/>
                    <a:pt x="56" y="103"/>
                  </a:cubicBezTo>
                  <a:cubicBezTo>
                    <a:pt x="57" y="103"/>
                    <a:pt x="58" y="103"/>
                    <a:pt x="59" y="104"/>
                  </a:cubicBezTo>
                  <a:cubicBezTo>
                    <a:pt x="59" y="104"/>
                    <a:pt x="59" y="104"/>
                    <a:pt x="59" y="104"/>
                  </a:cubicBezTo>
                  <a:cubicBezTo>
                    <a:pt x="62" y="104"/>
                    <a:pt x="67" y="101"/>
                    <a:pt x="68" y="100"/>
                  </a:cubicBezTo>
                  <a:cubicBezTo>
                    <a:pt x="68" y="100"/>
                    <a:pt x="68" y="100"/>
                    <a:pt x="68" y="100"/>
                  </a:cubicBezTo>
                  <a:cubicBezTo>
                    <a:pt x="69" y="99"/>
                    <a:pt x="69" y="99"/>
                    <a:pt x="69" y="99"/>
                  </a:cubicBezTo>
                  <a:cubicBezTo>
                    <a:pt x="70" y="93"/>
                    <a:pt x="71" y="91"/>
                    <a:pt x="76" y="91"/>
                  </a:cubicBezTo>
                  <a:cubicBezTo>
                    <a:pt x="78" y="90"/>
                    <a:pt x="78" y="90"/>
                    <a:pt x="78" y="90"/>
                  </a:cubicBezTo>
                  <a:cubicBezTo>
                    <a:pt x="86" y="89"/>
                    <a:pt x="91" y="88"/>
                    <a:pt x="94" y="88"/>
                  </a:cubicBezTo>
                  <a:cubicBezTo>
                    <a:pt x="99" y="88"/>
                    <a:pt x="100" y="89"/>
                    <a:pt x="101" y="91"/>
                  </a:cubicBezTo>
                  <a:cubicBezTo>
                    <a:pt x="101" y="91"/>
                    <a:pt x="101" y="91"/>
                    <a:pt x="101" y="92"/>
                  </a:cubicBezTo>
                  <a:cubicBezTo>
                    <a:pt x="103" y="92"/>
                    <a:pt x="104" y="93"/>
                    <a:pt x="105" y="93"/>
                  </a:cubicBezTo>
                  <a:cubicBezTo>
                    <a:pt x="106" y="94"/>
                    <a:pt x="106" y="94"/>
                    <a:pt x="106" y="94"/>
                  </a:cubicBezTo>
                  <a:cubicBezTo>
                    <a:pt x="109" y="95"/>
                    <a:pt x="112" y="97"/>
                    <a:pt x="115" y="97"/>
                  </a:cubicBezTo>
                  <a:cubicBezTo>
                    <a:pt x="115" y="97"/>
                    <a:pt x="116" y="97"/>
                    <a:pt x="116" y="97"/>
                  </a:cubicBezTo>
                  <a:cubicBezTo>
                    <a:pt x="116" y="97"/>
                    <a:pt x="116" y="97"/>
                    <a:pt x="116" y="97"/>
                  </a:cubicBezTo>
                  <a:cubicBezTo>
                    <a:pt x="116" y="97"/>
                    <a:pt x="116" y="97"/>
                    <a:pt x="117" y="96"/>
                  </a:cubicBezTo>
                  <a:cubicBezTo>
                    <a:pt x="117" y="96"/>
                    <a:pt x="118" y="95"/>
                    <a:pt x="118" y="95"/>
                  </a:cubicBezTo>
                  <a:cubicBezTo>
                    <a:pt x="121" y="94"/>
                    <a:pt x="125" y="93"/>
                    <a:pt x="129" y="92"/>
                  </a:cubicBezTo>
                  <a:cubicBezTo>
                    <a:pt x="129" y="92"/>
                    <a:pt x="130" y="92"/>
                    <a:pt x="130" y="92"/>
                  </a:cubicBezTo>
                  <a:cubicBezTo>
                    <a:pt x="136" y="90"/>
                    <a:pt x="136" y="90"/>
                    <a:pt x="136" y="90"/>
                  </a:cubicBezTo>
                  <a:cubicBezTo>
                    <a:pt x="136" y="91"/>
                    <a:pt x="136" y="91"/>
                    <a:pt x="136" y="91"/>
                  </a:cubicBezTo>
                  <a:cubicBezTo>
                    <a:pt x="136" y="91"/>
                    <a:pt x="136" y="91"/>
                    <a:pt x="136" y="91"/>
                  </a:cubicBezTo>
                  <a:cubicBezTo>
                    <a:pt x="137" y="91"/>
                    <a:pt x="137" y="91"/>
                    <a:pt x="137" y="91"/>
                  </a:cubicBezTo>
                  <a:cubicBezTo>
                    <a:pt x="137" y="91"/>
                    <a:pt x="138" y="91"/>
                    <a:pt x="139" y="91"/>
                  </a:cubicBezTo>
                  <a:cubicBezTo>
                    <a:pt x="140" y="91"/>
                    <a:pt x="140" y="91"/>
                    <a:pt x="140" y="90"/>
                  </a:cubicBezTo>
                  <a:cubicBezTo>
                    <a:pt x="141" y="87"/>
                    <a:pt x="141" y="87"/>
                    <a:pt x="141" y="87"/>
                  </a:cubicBezTo>
                  <a:cubicBezTo>
                    <a:pt x="142" y="86"/>
                    <a:pt x="142" y="85"/>
                    <a:pt x="142" y="84"/>
                  </a:cubicBezTo>
                  <a:cubicBezTo>
                    <a:pt x="142" y="83"/>
                    <a:pt x="143" y="83"/>
                    <a:pt x="143" y="83"/>
                  </a:cubicBezTo>
                  <a:cubicBezTo>
                    <a:pt x="144" y="82"/>
                    <a:pt x="145" y="81"/>
                    <a:pt x="145" y="80"/>
                  </a:cubicBezTo>
                  <a:cubicBezTo>
                    <a:pt x="146" y="80"/>
                    <a:pt x="146" y="80"/>
                    <a:pt x="146" y="80"/>
                  </a:cubicBezTo>
                  <a:cubicBezTo>
                    <a:pt x="147" y="79"/>
                    <a:pt x="147" y="79"/>
                    <a:pt x="147" y="79"/>
                  </a:cubicBezTo>
                  <a:cubicBezTo>
                    <a:pt x="147" y="79"/>
                    <a:pt x="147" y="79"/>
                    <a:pt x="147" y="78"/>
                  </a:cubicBezTo>
                  <a:cubicBezTo>
                    <a:pt x="147" y="78"/>
                    <a:pt x="147" y="77"/>
                    <a:pt x="146" y="77"/>
                  </a:cubicBezTo>
                  <a:cubicBezTo>
                    <a:pt x="146" y="75"/>
                    <a:pt x="145" y="72"/>
                    <a:pt x="146" y="70"/>
                  </a:cubicBezTo>
                  <a:cubicBezTo>
                    <a:pt x="146" y="68"/>
                    <a:pt x="147" y="68"/>
                    <a:pt x="151" y="66"/>
                  </a:cubicBezTo>
                  <a:cubicBezTo>
                    <a:pt x="152" y="65"/>
                    <a:pt x="152" y="65"/>
                    <a:pt x="152" y="65"/>
                  </a:cubicBezTo>
                  <a:cubicBezTo>
                    <a:pt x="152" y="64"/>
                    <a:pt x="153" y="64"/>
                    <a:pt x="154" y="63"/>
                  </a:cubicBezTo>
                  <a:cubicBezTo>
                    <a:pt x="155" y="63"/>
                    <a:pt x="155" y="63"/>
                    <a:pt x="155" y="63"/>
                  </a:cubicBezTo>
                  <a:cubicBezTo>
                    <a:pt x="155" y="62"/>
                    <a:pt x="155" y="62"/>
                    <a:pt x="155" y="62"/>
                  </a:cubicBezTo>
                  <a:cubicBezTo>
                    <a:pt x="153" y="57"/>
                    <a:pt x="154" y="53"/>
                    <a:pt x="157" y="49"/>
                  </a:cubicBezTo>
                  <a:cubicBezTo>
                    <a:pt x="159" y="46"/>
                    <a:pt x="162" y="45"/>
                    <a:pt x="166" y="45"/>
                  </a:cubicBezTo>
                  <a:cubicBezTo>
                    <a:pt x="166" y="45"/>
                    <a:pt x="166" y="45"/>
                    <a:pt x="167" y="45"/>
                  </a:cubicBezTo>
                  <a:cubicBezTo>
                    <a:pt x="167" y="45"/>
                    <a:pt x="167" y="44"/>
                    <a:pt x="167" y="44"/>
                  </a:cubicBezTo>
                  <a:cubicBezTo>
                    <a:pt x="169" y="38"/>
                    <a:pt x="169" y="33"/>
                    <a:pt x="168" y="26"/>
                  </a:cubicBezTo>
                  <a:cubicBezTo>
                    <a:pt x="167" y="22"/>
                    <a:pt x="169" y="18"/>
                    <a:pt x="171" y="15"/>
                  </a:cubicBezTo>
                  <a:cubicBezTo>
                    <a:pt x="164" y="14"/>
                    <a:pt x="164" y="14"/>
                    <a:pt x="164" y="14"/>
                  </a:cubicBezTo>
                  <a:cubicBezTo>
                    <a:pt x="164" y="14"/>
                    <a:pt x="163" y="14"/>
                    <a:pt x="162" y="14"/>
                  </a:cubicBezTo>
                  <a:cubicBezTo>
                    <a:pt x="161" y="14"/>
                    <a:pt x="161" y="14"/>
                    <a:pt x="161" y="14"/>
                  </a:cubicBezTo>
                  <a:cubicBezTo>
                    <a:pt x="158" y="14"/>
                    <a:pt x="155" y="12"/>
                    <a:pt x="154" y="10"/>
                  </a:cubicBezTo>
                  <a:cubicBezTo>
                    <a:pt x="154" y="8"/>
                    <a:pt x="154" y="8"/>
                    <a:pt x="154" y="8"/>
                  </a:cubicBezTo>
                  <a:cubicBezTo>
                    <a:pt x="153" y="6"/>
                    <a:pt x="152" y="3"/>
                    <a:pt x="1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0" name="Freeform 1518">
              <a:extLst>
                <a:ext uri="{FF2B5EF4-FFF2-40B4-BE49-F238E27FC236}">
                  <a16:creationId xmlns:a16="http://schemas.microsoft.com/office/drawing/2014/main" id="{3248F50D-7241-4DEC-98EB-BAA0EC62CADC}"/>
                </a:ext>
              </a:extLst>
            </p:cNvPr>
            <p:cNvSpPr>
              <a:spLocks/>
            </p:cNvSpPr>
            <p:nvPr/>
          </p:nvSpPr>
          <p:spPr bwMode="auto">
            <a:xfrm>
              <a:off x="1502" y="714"/>
              <a:ext cx="2" cy="3"/>
            </a:xfrm>
            <a:custGeom>
              <a:avLst/>
              <a:gdLst>
                <a:gd name="T0" fmla="*/ 0 w 2"/>
                <a:gd name="T1" fmla="*/ 0 h 3"/>
                <a:gd name="T2" fmla="*/ 0 w 2"/>
                <a:gd name="T3" fmla="*/ 3 h 3"/>
                <a:gd name="T4" fmla="*/ 2 w 2"/>
                <a:gd name="T5" fmla="*/ 0 h 3"/>
                <a:gd name="T6" fmla="*/ 0 w 2"/>
                <a:gd name="T7" fmla="*/ 0 h 3"/>
              </a:gdLst>
              <a:ahLst/>
              <a:cxnLst>
                <a:cxn ang="0">
                  <a:pos x="T0" y="T1"/>
                </a:cxn>
                <a:cxn ang="0">
                  <a:pos x="T2" y="T3"/>
                </a:cxn>
                <a:cxn ang="0">
                  <a:pos x="T4" y="T5"/>
                </a:cxn>
                <a:cxn ang="0">
                  <a:pos x="T6" y="T7"/>
                </a:cxn>
              </a:cxnLst>
              <a:rect l="0" t="0" r="r" b="b"/>
              <a:pathLst>
                <a:path w="2" h="3">
                  <a:moveTo>
                    <a:pt x="0" y="0"/>
                  </a:moveTo>
                  <a:lnTo>
                    <a:pt x="0" y="3"/>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1" name="Freeform 1519">
              <a:extLst>
                <a:ext uri="{FF2B5EF4-FFF2-40B4-BE49-F238E27FC236}">
                  <a16:creationId xmlns:a16="http://schemas.microsoft.com/office/drawing/2014/main" id="{221932E5-F86A-459C-975D-E73CF88AF666}"/>
                </a:ext>
              </a:extLst>
            </p:cNvPr>
            <p:cNvSpPr>
              <a:spLocks/>
            </p:cNvSpPr>
            <p:nvPr/>
          </p:nvSpPr>
          <p:spPr bwMode="auto">
            <a:xfrm>
              <a:off x="1502" y="714"/>
              <a:ext cx="2" cy="3"/>
            </a:xfrm>
            <a:custGeom>
              <a:avLst/>
              <a:gdLst>
                <a:gd name="T0" fmla="*/ 0 w 2"/>
                <a:gd name="T1" fmla="*/ 0 h 3"/>
                <a:gd name="T2" fmla="*/ 0 w 2"/>
                <a:gd name="T3" fmla="*/ 3 h 3"/>
                <a:gd name="T4" fmla="*/ 2 w 2"/>
                <a:gd name="T5" fmla="*/ 0 h 3"/>
                <a:gd name="T6" fmla="*/ 0 w 2"/>
                <a:gd name="T7" fmla="*/ 0 h 3"/>
              </a:gdLst>
              <a:ahLst/>
              <a:cxnLst>
                <a:cxn ang="0">
                  <a:pos x="T0" y="T1"/>
                </a:cxn>
                <a:cxn ang="0">
                  <a:pos x="T2" y="T3"/>
                </a:cxn>
                <a:cxn ang="0">
                  <a:pos x="T4" y="T5"/>
                </a:cxn>
                <a:cxn ang="0">
                  <a:pos x="T6" y="T7"/>
                </a:cxn>
              </a:cxnLst>
              <a:rect l="0" t="0" r="r" b="b"/>
              <a:pathLst>
                <a:path w="2" h="3">
                  <a:moveTo>
                    <a:pt x="0" y="0"/>
                  </a:moveTo>
                  <a:lnTo>
                    <a:pt x="0" y="3"/>
                  </a:lnTo>
                  <a:lnTo>
                    <a:pt x="2"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2" name="Freeform 1520">
              <a:extLst>
                <a:ext uri="{FF2B5EF4-FFF2-40B4-BE49-F238E27FC236}">
                  <a16:creationId xmlns:a16="http://schemas.microsoft.com/office/drawing/2014/main" id="{A98162C4-3E91-42D4-9F7D-3B4DEB233F3E}"/>
                </a:ext>
              </a:extLst>
            </p:cNvPr>
            <p:cNvSpPr>
              <a:spLocks/>
            </p:cNvSpPr>
            <p:nvPr/>
          </p:nvSpPr>
          <p:spPr bwMode="auto">
            <a:xfrm>
              <a:off x="1523" y="695"/>
              <a:ext cx="47" cy="59"/>
            </a:xfrm>
            <a:custGeom>
              <a:avLst/>
              <a:gdLst>
                <a:gd name="T0" fmla="*/ 20 w 20"/>
                <a:gd name="T1" fmla="*/ 0 h 25"/>
                <a:gd name="T2" fmla="*/ 10 w 20"/>
                <a:gd name="T3" fmla="*/ 7 h 25"/>
                <a:gd name="T4" fmla="*/ 0 w 20"/>
                <a:gd name="T5" fmla="*/ 12 h 25"/>
                <a:gd name="T6" fmla="*/ 3 w 20"/>
                <a:gd name="T7" fmla="*/ 14 h 25"/>
                <a:gd name="T8" fmla="*/ 5 w 20"/>
                <a:gd name="T9" fmla="*/ 17 h 25"/>
                <a:gd name="T10" fmla="*/ 5 w 20"/>
                <a:gd name="T11" fmla="*/ 17 h 25"/>
                <a:gd name="T12" fmla="*/ 7 w 20"/>
                <a:gd name="T13" fmla="*/ 19 h 25"/>
                <a:gd name="T14" fmla="*/ 11 w 20"/>
                <a:gd name="T15" fmla="*/ 25 h 25"/>
                <a:gd name="T16" fmla="*/ 12 w 20"/>
                <a:gd name="T17" fmla="*/ 24 h 25"/>
                <a:gd name="T18" fmla="*/ 13 w 20"/>
                <a:gd name="T19" fmla="*/ 23 h 25"/>
                <a:gd name="T20" fmla="*/ 13 w 20"/>
                <a:gd name="T21" fmla="*/ 22 h 25"/>
                <a:gd name="T22" fmla="*/ 13 w 20"/>
                <a:gd name="T23" fmla="*/ 20 h 25"/>
                <a:gd name="T24" fmla="*/ 13 w 20"/>
                <a:gd name="T25" fmla="*/ 18 h 25"/>
                <a:gd name="T26" fmla="*/ 12 w 20"/>
                <a:gd name="T27" fmla="*/ 12 h 25"/>
                <a:gd name="T28" fmla="*/ 12 w 20"/>
                <a:gd name="T29" fmla="*/ 11 h 25"/>
                <a:gd name="T30" fmla="*/ 12 w 20"/>
                <a:gd name="T31" fmla="*/ 7 h 25"/>
                <a:gd name="T32" fmla="*/ 12 w 20"/>
                <a:gd name="T33" fmla="*/ 6 h 25"/>
                <a:gd name="T34" fmla="*/ 13 w 20"/>
                <a:gd name="T35" fmla="*/ 5 h 25"/>
                <a:gd name="T36" fmla="*/ 14 w 20"/>
                <a:gd name="T37" fmla="*/ 4 h 25"/>
                <a:gd name="T38" fmla="*/ 16 w 20"/>
                <a:gd name="T39" fmla="*/ 3 h 25"/>
                <a:gd name="T40" fmla="*/ 17 w 20"/>
                <a:gd name="T41" fmla="*/ 2 h 25"/>
                <a:gd name="T42" fmla="*/ 19 w 20"/>
                <a:gd name="T43" fmla="*/ 1 h 25"/>
                <a:gd name="T44" fmla="*/ 20 w 20"/>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5">
                  <a:moveTo>
                    <a:pt x="20" y="0"/>
                  </a:moveTo>
                  <a:cubicBezTo>
                    <a:pt x="16" y="2"/>
                    <a:pt x="12" y="4"/>
                    <a:pt x="10" y="7"/>
                  </a:cubicBezTo>
                  <a:cubicBezTo>
                    <a:pt x="7" y="10"/>
                    <a:pt x="4" y="11"/>
                    <a:pt x="0" y="12"/>
                  </a:cubicBezTo>
                  <a:cubicBezTo>
                    <a:pt x="2" y="13"/>
                    <a:pt x="3" y="14"/>
                    <a:pt x="3" y="14"/>
                  </a:cubicBezTo>
                  <a:cubicBezTo>
                    <a:pt x="4" y="15"/>
                    <a:pt x="4" y="16"/>
                    <a:pt x="5" y="17"/>
                  </a:cubicBezTo>
                  <a:cubicBezTo>
                    <a:pt x="5" y="17"/>
                    <a:pt x="5" y="17"/>
                    <a:pt x="5" y="17"/>
                  </a:cubicBezTo>
                  <a:cubicBezTo>
                    <a:pt x="5" y="18"/>
                    <a:pt x="6" y="18"/>
                    <a:pt x="7" y="19"/>
                  </a:cubicBezTo>
                  <a:cubicBezTo>
                    <a:pt x="9" y="23"/>
                    <a:pt x="11" y="24"/>
                    <a:pt x="11" y="25"/>
                  </a:cubicBezTo>
                  <a:cubicBezTo>
                    <a:pt x="12" y="24"/>
                    <a:pt x="12" y="24"/>
                    <a:pt x="12" y="24"/>
                  </a:cubicBezTo>
                  <a:cubicBezTo>
                    <a:pt x="13" y="23"/>
                    <a:pt x="13" y="23"/>
                    <a:pt x="13" y="23"/>
                  </a:cubicBezTo>
                  <a:cubicBezTo>
                    <a:pt x="13" y="22"/>
                    <a:pt x="13" y="22"/>
                    <a:pt x="13" y="22"/>
                  </a:cubicBezTo>
                  <a:cubicBezTo>
                    <a:pt x="13" y="21"/>
                    <a:pt x="13" y="20"/>
                    <a:pt x="13" y="20"/>
                  </a:cubicBezTo>
                  <a:cubicBezTo>
                    <a:pt x="13" y="20"/>
                    <a:pt x="13" y="19"/>
                    <a:pt x="13" y="18"/>
                  </a:cubicBezTo>
                  <a:cubicBezTo>
                    <a:pt x="13" y="16"/>
                    <a:pt x="13" y="14"/>
                    <a:pt x="12" y="12"/>
                  </a:cubicBezTo>
                  <a:cubicBezTo>
                    <a:pt x="12" y="12"/>
                    <a:pt x="12" y="11"/>
                    <a:pt x="12" y="11"/>
                  </a:cubicBezTo>
                  <a:cubicBezTo>
                    <a:pt x="11" y="10"/>
                    <a:pt x="11" y="8"/>
                    <a:pt x="12" y="7"/>
                  </a:cubicBezTo>
                  <a:cubicBezTo>
                    <a:pt x="12" y="7"/>
                    <a:pt x="12" y="6"/>
                    <a:pt x="12" y="6"/>
                  </a:cubicBezTo>
                  <a:cubicBezTo>
                    <a:pt x="13" y="5"/>
                    <a:pt x="13" y="5"/>
                    <a:pt x="13" y="5"/>
                  </a:cubicBezTo>
                  <a:cubicBezTo>
                    <a:pt x="14" y="4"/>
                    <a:pt x="14" y="4"/>
                    <a:pt x="14" y="4"/>
                  </a:cubicBezTo>
                  <a:cubicBezTo>
                    <a:pt x="15" y="4"/>
                    <a:pt x="15" y="3"/>
                    <a:pt x="16" y="3"/>
                  </a:cubicBezTo>
                  <a:cubicBezTo>
                    <a:pt x="17" y="2"/>
                    <a:pt x="17" y="2"/>
                    <a:pt x="17" y="2"/>
                  </a:cubicBezTo>
                  <a:cubicBezTo>
                    <a:pt x="18" y="2"/>
                    <a:pt x="19" y="2"/>
                    <a:pt x="19" y="1"/>
                  </a:cubicBezTo>
                  <a:cubicBezTo>
                    <a:pt x="20" y="0"/>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3" name="Freeform 1521">
              <a:extLst>
                <a:ext uri="{FF2B5EF4-FFF2-40B4-BE49-F238E27FC236}">
                  <a16:creationId xmlns:a16="http://schemas.microsoft.com/office/drawing/2014/main" id="{22EC851D-C52E-4585-B19D-E7E25F763680}"/>
                </a:ext>
              </a:extLst>
            </p:cNvPr>
            <p:cNvSpPr>
              <a:spLocks/>
            </p:cNvSpPr>
            <p:nvPr/>
          </p:nvSpPr>
          <p:spPr bwMode="auto">
            <a:xfrm>
              <a:off x="394" y="0"/>
              <a:ext cx="118" cy="338"/>
            </a:xfrm>
            <a:custGeom>
              <a:avLst/>
              <a:gdLst>
                <a:gd name="T0" fmla="*/ 0 w 50"/>
                <a:gd name="T1" fmla="*/ 0 h 143"/>
                <a:gd name="T2" fmla="*/ 1 w 50"/>
                <a:gd name="T3" fmla="*/ 5 h 143"/>
                <a:gd name="T4" fmla="*/ 7 w 50"/>
                <a:gd name="T5" fmla="*/ 11 h 143"/>
                <a:gd name="T6" fmla="*/ 6 w 50"/>
                <a:gd name="T7" fmla="*/ 11 h 143"/>
                <a:gd name="T8" fmla="*/ 7 w 50"/>
                <a:gd name="T9" fmla="*/ 22 h 143"/>
                <a:gd name="T10" fmla="*/ 10 w 50"/>
                <a:gd name="T11" fmla="*/ 42 h 143"/>
                <a:gd name="T12" fmla="*/ 11 w 50"/>
                <a:gd name="T13" fmla="*/ 44 h 143"/>
                <a:gd name="T14" fmla="*/ 11 w 50"/>
                <a:gd name="T15" fmla="*/ 39 h 143"/>
                <a:gd name="T16" fmla="*/ 15 w 50"/>
                <a:gd name="T17" fmla="*/ 36 h 143"/>
                <a:gd name="T18" fmla="*/ 20 w 50"/>
                <a:gd name="T19" fmla="*/ 50 h 143"/>
                <a:gd name="T20" fmla="*/ 24 w 50"/>
                <a:gd name="T21" fmla="*/ 61 h 143"/>
                <a:gd name="T22" fmla="*/ 26 w 50"/>
                <a:gd name="T23" fmla="*/ 70 h 143"/>
                <a:gd name="T24" fmla="*/ 21 w 50"/>
                <a:gd name="T25" fmla="*/ 82 h 143"/>
                <a:gd name="T26" fmla="*/ 26 w 50"/>
                <a:gd name="T27" fmla="*/ 83 h 143"/>
                <a:gd name="T28" fmla="*/ 25 w 50"/>
                <a:gd name="T29" fmla="*/ 88 h 143"/>
                <a:gd name="T30" fmla="*/ 20 w 50"/>
                <a:gd name="T31" fmla="*/ 88 h 143"/>
                <a:gd name="T32" fmla="*/ 19 w 50"/>
                <a:gd name="T33" fmla="*/ 89 h 143"/>
                <a:gd name="T34" fmla="*/ 20 w 50"/>
                <a:gd name="T35" fmla="*/ 93 h 143"/>
                <a:gd name="T36" fmla="*/ 25 w 50"/>
                <a:gd name="T37" fmla="*/ 92 h 143"/>
                <a:gd name="T38" fmla="*/ 23 w 50"/>
                <a:gd name="T39" fmla="*/ 96 h 143"/>
                <a:gd name="T40" fmla="*/ 26 w 50"/>
                <a:gd name="T41" fmla="*/ 99 h 143"/>
                <a:gd name="T42" fmla="*/ 29 w 50"/>
                <a:gd name="T43" fmla="*/ 99 h 143"/>
                <a:gd name="T44" fmla="*/ 28 w 50"/>
                <a:gd name="T45" fmla="*/ 103 h 143"/>
                <a:gd name="T46" fmla="*/ 27 w 50"/>
                <a:gd name="T47" fmla="*/ 118 h 143"/>
                <a:gd name="T48" fmla="*/ 20 w 50"/>
                <a:gd name="T49" fmla="*/ 133 h 143"/>
                <a:gd name="T50" fmla="*/ 21 w 50"/>
                <a:gd name="T51" fmla="*/ 143 h 143"/>
                <a:gd name="T52" fmla="*/ 27 w 50"/>
                <a:gd name="T53" fmla="*/ 130 h 143"/>
                <a:gd name="T54" fmla="*/ 40 w 50"/>
                <a:gd name="T55" fmla="*/ 111 h 143"/>
                <a:gd name="T56" fmla="*/ 50 w 50"/>
                <a:gd name="T57" fmla="*/ 95 h 143"/>
                <a:gd name="T58" fmla="*/ 48 w 50"/>
                <a:gd name="T59" fmla="*/ 90 h 143"/>
                <a:gd name="T60" fmla="*/ 46 w 50"/>
                <a:gd name="T61" fmla="*/ 87 h 143"/>
                <a:gd name="T62" fmla="*/ 45 w 50"/>
                <a:gd name="T63" fmla="*/ 77 h 143"/>
                <a:gd name="T64" fmla="*/ 40 w 50"/>
                <a:gd name="T65" fmla="*/ 68 h 143"/>
                <a:gd name="T66" fmla="*/ 38 w 50"/>
                <a:gd name="T67" fmla="*/ 64 h 143"/>
                <a:gd name="T68" fmla="*/ 37 w 50"/>
                <a:gd name="T69" fmla="*/ 53 h 143"/>
                <a:gd name="T70" fmla="*/ 37 w 50"/>
                <a:gd name="T71" fmla="*/ 52 h 143"/>
                <a:gd name="T72" fmla="*/ 37 w 50"/>
                <a:gd name="T73" fmla="*/ 47 h 143"/>
                <a:gd name="T74" fmla="*/ 36 w 50"/>
                <a:gd name="T75" fmla="*/ 39 h 143"/>
                <a:gd name="T76" fmla="*/ 34 w 50"/>
                <a:gd name="T77" fmla="*/ 36 h 143"/>
                <a:gd name="T78" fmla="*/ 32 w 50"/>
                <a:gd name="T79" fmla="*/ 34 h 143"/>
                <a:gd name="T80" fmla="*/ 26 w 50"/>
                <a:gd name="T81" fmla="*/ 27 h 143"/>
                <a:gd name="T82" fmla="*/ 12 w 50"/>
                <a:gd name="T83" fmla="*/ 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43">
                  <a:moveTo>
                    <a:pt x="9" y="0"/>
                  </a:moveTo>
                  <a:cubicBezTo>
                    <a:pt x="0" y="0"/>
                    <a:pt x="0" y="0"/>
                    <a:pt x="0" y="0"/>
                  </a:cubicBezTo>
                  <a:cubicBezTo>
                    <a:pt x="0" y="1"/>
                    <a:pt x="0" y="2"/>
                    <a:pt x="0" y="2"/>
                  </a:cubicBezTo>
                  <a:cubicBezTo>
                    <a:pt x="0" y="4"/>
                    <a:pt x="0" y="4"/>
                    <a:pt x="1" y="5"/>
                  </a:cubicBezTo>
                  <a:cubicBezTo>
                    <a:pt x="2" y="7"/>
                    <a:pt x="5" y="9"/>
                    <a:pt x="6" y="11"/>
                  </a:cubicBezTo>
                  <a:cubicBezTo>
                    <a:pt x="7" y="11"/>
                    <a:pt x="7" y="11"/>
                    <a:pt x="7" y="11"/>
                  </a:cubicBezTo>
                  <a:cubicBezTo>
                    <a:pt x="6" y="11"/>
                    <a:pt x="6" y="11"/>
                    <a:pt x="6" y="11"/>
                  </a:cubicBezTo>
                  <a:cubicBezTo>
                    <a:pt x="6" y="11"/>
                    <a:pt x="6" y="11"/>
                    <a:pt x="6" y="11"/>
                  </a:cubicBezTo>
                  <a:cubicBezTo>
                    <a:pt x="6" y="12"/>
                    <a:pt x="6" y="12"/>
                    <a:pt x="6" y="12"/>
                  </a:cubicBezTo>
                  <a:cubicBezTo>
                    <a:pt x="6" y="15"/>
                    <a:pt x="6" y="19"/>
                    <a:pt x="7" y="22"/>
                  </a:cubicBezTo>
                  <a:cubicBezTo>
                    <a:pt x="7" y="25"/>
                    <a:pt x="7" y="29"/>
                    <a:pt x="8" y="32"/>
                  </a:cubicBezTo>
                  <a:cubicBezTo>
                    <a:pt x="8" y="35"/>
                    <a:pt x="9" y="38"/>
                    <a:pt x="10" y="42"/>
                  </a:cubicBezTo>
                  <a:cubicBezTo>
                    <a:pt x="10" y="42"/>
                    <a:pt x="10" y="43"/>
                    <a:pt x="10" y="44"/>
                  </a:cubicBezTo>
                  <a:cubicBezTo>
                    <a:pt x="10" y="44"/>
                    <a:pt x="11" y="44"/>
                    <a:pt x="11" y="44"/>
                  </a:cubicBezTo>
                  <a:cubicBezTo>
                    <a:pt x="10" y="43"/>
                    <a:pt x="11" y="41"/>
                    <a:pt x="11" y="40"/>
                  </a:cubicBezTo>
                  <a:cubicBezTo>
                    <a:pt x="11" y="39"/>
                    <a:pt x="11" y="39"/>
                    <a:pt x="11" y="39"/>
                  </a:cubicBezTo>
                  <a:cubicBezTo>
                    <a:pt x="12" y="36"/>
                    <a:pt x="11" y="33"/>
                    <a:pt x="11" y="30"/>
                  </a:cubicBezTo>
                  <a:cubicBezTo>
                    <a:pt x="13" y="30"/>
                    <a:pt x="14" y="33"/>
                    <a:pt x="15" y="36"/>
                  </a:cubicBezTo>
                  <a:cubicBezTo>
                    <a:pt x="16" y="39"/>
                    <a:pt x="17" y="42"/>
                    <a:pt x="18" y="45"/>
                  </a:cubicBezTo>
                  <a:cubicBezTo>
                    <a:pt x="19" y="47"/>
                    <a:pt x="19" y="49"/>
                    <a:pt x="20" y="50"/>
                  </a:cubicBezTo>
                  <a:cubicBezTo>
                    <a:pt x="20" y="51"/>
                    <a:pt x="21" y="52"/>
                    <a:pt x="21" y="53"/>
                  </a:cubicBezTo>
                  <a:cubicBezTo>
                    <a:pt x="22" y="55"/>
                    <a:pt x="23" y="58"/>
                    <a:pt x="24" y="61"/>
                  </a:cubicBezTo>
                  <a:cubicBezTo>
                    <a:pt x="25" y="64"/>
                    <a:pt x="26" y="66"/>
                    <a:pt x="26" y="68"/>
                  </a:cubicBezTo>
                  <a:cubicBezTo>
                    <a:pt x="26" y="69"/>
                    <a:pt x="26" y="70"/>
                    <a:pt x="26" y="70"/>
                  </a:cubicBezTo>
                  <a:cubicBezTo>
                    <a:pt x="25" y="73"/>
                    <a:pt x="23" y="76"/>
                    <a:pt x="24" y="79"/>
                  </a:cubicBezTo>
                  <a:cubicBezTo>
                    <a:pt x="24" y="80"/>
                    <a:pt x="23" y="81"/>
                    <a:pt x="21" y="82"/>
                  </a:cubicBezTo>
                  <a:cubicBezTo>
                    <a:pt x="22" y="82"/>
                    <a:pt x="24" y="82"/>
                    <a:pt x="25" y="82"/>
                  </a:cubicBezTo>
                  <a:cubicBezTo>
                    <a:pt x="26" y="83"/>
                    <a:pt x="26" y="83"/>
                    <a:pt x="26" y="83"/>
                  </a:cubicBezTo>
                  <a:cubicBezTo>
                    <a:pt x="26" y="83"/>
                    <a:pt x="26" y="83"/>
                    <a:pt x="26" y="83"/>
                  </a:cubicBezTo>
                  <a:cubicBezTo>
                    <a:pt x="26" y="83"/>
                    <a:pt x="25" y="88"/>
                    <a:pt x="25" y="88"/>
                  </a:cubicBezTo>
                  <a:cubicBezTo>
                    <a:pt x="25" y="90"/>
                    <a:pt x="25" y="91"/>
                    <a:pt x="25" y="91"/>
                  </a:cubicBezTo>
                  <a:cubicBezTo>
                    <a:pt x="23" y="90"/>
                    <a:pt x="22" y="89"/>
                    <a:pt x="20" y="88"/>
                  </a:cubicBezTo>
                  <a:cubicBezTo>
                    <a:pt x="19" y="87"/>
                    <a:pt x="19" y="87"/>
                    <a:pt x="19" y="87"/>
                  </a:cubicBezTo>
                  <a:cubicBezTo>
                    <a:pt x="19" y="88"/>
                    <a:pt x="19" y="88"/>
                    <a:pt x="19" y="89"/>
                  </a:cubicBezTo>
                  <a:cubicBezTo>
                    <a:pt x="19" y="90"/>
                    <a:pt x="19" y="90"/>
                    <a:pt x="19" y="90"/>
                  </a:cubicBezTo>
                  <a:cubicBezTo>
                    <a:pt x="19" y="92"/>
                    <a:pt x="19" y="93"/>
                    <a:pt x="20" y="93"/>
                  </a:cubicBezTo>
                  <a:cubicBezTo>
                    <a:pt x="22" y="93"/>
                    <a:pt x="23" y="92"/>
                    <a:pt x="25" y="91"/>
                  </a:cubicBezTo>
                  <a:cubicBezTo>
                    <a:pt x="25" y="92"/>
                    <a:pt x="25" y="92"/>
                    <a:pt x="25" y="92"/>
                  </a:cubicBezTo>
                  <a:cubicBezTo>
                    <a:pt x="23" y="92"/>
                    <a:pt x="23" y="92"/>
                    <a:pt x="23" y="92"/>
                  </a:cubicBezTo>
                  <a:cubicBezTo>
                    <a:pt x="23" y="93"/>
                    <a:pt x="22" y="95"/>
                    <a:pt x="23" y="96"/>
                  </a:cubicBezTo>
                  <a:cubicBezTo>
                    <a:pt x="23" y="97"/>
                    <a:pt x="23" y="97"/>
                    <a:pt x="24" y="98"/>
                  </a:cubicBezTo>
                  <a:cubicBezTo>
                    <a:pt x="24" y="98"/>
                    <a:pt x="25" y="99"/>
                    <a:pt x="26" y="99"/>
                  </a:cubicBezTo>
                  <a:cubicBezTo>
                    <a:pt x="27" y="99"/>
                    <a:pt x="28" y="96"/>
                    <a:pt x="30" y="95"/>
                  </a:cubicBezTo>
                  <a:cubicBezTo>
                    <a:pt x="32" y="99"/>
                    <a:pt x="30" y="97"/>
                    <a:pt x="29" y="99"/>
                  </a:cubicBezTo>
                  <a:cubicBezTo>
                    <a:pt x="28" y="100"/>
                    <a:pt x="28" y="101"/>
                    <a:pt x="28" y="103"/>
                  </a:cubicBezTo>
                  <a:cubicBezTo>
                    <a:pt x="28" y="103"/>
                    <a:pt x="28" y="103"/>
                    <a:pt x="28" y="103"/>
                  </a:cubicBezTo>
                  <a:cubicBezTo>
                    <a:pt x="27" y="107"/>
                    <a:pt x="27" y="110"/>
                    <a:pt x="27" y="114"/>
                  </a:cubicBezTo>
                  <a:cubicBezTo>
                    <a:pt x="27" y="115"/>
                    <a:pt x="27" y="117"/>
                    <a:pt x="27" y="118"/>
                  </a:cubicBezTo>
                  <a:cubicBezTo>
                    <a:pt x="26" y="122"/>
                    <a:pt x="24" y="124"/>
                    <a:pt x="20" y="127"/>
                  </a:cubicBezTo>
                  <a:cubicBezTo>
                    <a:pt x="19" y="127"/>
                    <a:pt x="19" y="130"/>
                    <a:pt x="20" y="133"/>
                  </a:cubicBezTo>
                  <a:cubicBezTo>
                    <a:pt x="21" y="135"/>
                    <a:pt x="21" y="136"/>
                    <a:pt x="21" y="137"/>
                  </a:cubicBezTo>
                  <a:cubicBezTo>
                    <a:pt x="21" y="139"/>
                    <a:pt x="21" y="141"/>
                    <a:pt x="21" y="143"/>
                  </a:cubicBezTo>
                  <a:cubicBezTo>
                    <a:pt x="21" y="143"/>
                    <a:pt x="21" y="143"/>
                    <a:pt x="21" y="143"/>
                  </a:cubicBezTo>
                  <a:cubicBezTo>
                    <a:pt x="27" y="130"/>
                    <a:pt x="27" y="130"/>
                    <a:pt x="27" y="130"/>
                  </a:cubicBezTo>
                  <a:cubicBezTo>
                    <a:pt x="28" y="126"/>
                    <a:pt x="30" y="122"/>
                    <a:pt x="34" y="118"/>
                  </a:cubicBezTo>
                  <a:cubicBezTo>
                    <a:pt x="36" y="116"/>
                    <a:pt x="38" y="114"/>
                    <a:pt x="40" y="111"/>
                  </a:cubicBezTo>
                  <a:cubicBezTo>
                    <a:pt x="42" y="108"/>
                    <a:pt x="44" y="105"/>
                    <a:pt x="46" y="102"/>
                  </a:cubicBezTo>
                  <a:cubicBezTo>
                    <a:pt x="47" y="99"/>
                    <a:pt x="49" y="97"/>
                    <a:pt x="50" y="95"/>
                  </a:cubicBezTo>
                  <a:cubicBezTo>
                    <a:pt x="49" y="93"/>
                    <a:pt x="49" y="91"/>
                    <a:pt x="48" y="90"/>
                  </a:cubicBezTo>
                  <a:cubicBezTo>
                    <a:pt x="48" y="90"/>
                    <a:pt x="48" y="90"/>
                    <a:pt x="48" y="90"/>
                  </a:cubicBezTo>
                  <a:cubicBezTo>
                    <a:pt x="48" y="90"/>
                    <a:pt x="48" y="90"/>
                    <a:pt x="48" y="90"/>
                  </a:cubicBezTo>
                  <a:cubicBezTo>
                    <a:pt x="46" y="87"/>
                    <a:pt x="46" y="87"/>
                    <a:pt x="46" y="87"/>
                  </a:cubicBezTo>
                  <a:cubicBezTo>
                    <a:pt x="46" y="84"/>
                    <a:pt x="45" y="81"/>
                    <a:pt x="45" y="78"/>
                  </a:cubicBezTo>
                  <a:cubicBezTo>
                    <a:pt x="45" y="77"/>
                    <a:pt x="45" y="77"/>
                    <a:pt x="45" y="77"/>
                  </a:cubicBezTo>
                  <a:cubicBezTo>
                    <a:pt x="45" y="77"/>
                    <a:pt x="44" y="76"/>
                    <a:pt x="44" y="75"/>
                  </a:cubicBezTo>
                  <a:cubicBezTo>
                    <a:pt x="44" y="73"/>
                    <a:pt x="42" y="70"/>
                    <a:pt x="40" y="68"/>
                  </a:cubicBezTo>
                  <a:cubicBezTo>
                    <a:pt x="40" y="67"/>
                    <a:pt x="39" y="66"/>
                    <a:pt x="38" y="65"/>
                  </a:cubicBezTo>
                  <a:cubicBezTo>
                    <a:pt x="38" y="64"/>
                    <a:pt x="38" y="64"/>
                    <a:pt x="38" y="64"/>
                  </a:cubicBezTo>
                  <a:cubicBezTo>
                    <a:pt x="36" y="62"/>
                    <a:pt x="35" y="60"/>
                    <a:pt x="35" y="57"/>
                  </a:cubicBezTo>
                  <a:cubicBezTo>
                    <a:pt x="35" y="55"/>
                    <a:pt x="36" y="54"/>
                    <a:pt x="37" y="53"/>
                  </a:cubicBezTo>
                  <a:cubicBezTo>
                    <a:pt x="37" y="53"/>
                    <a:pt x="37" y="53"/>
                    <a:pt x="37" y="53"/>
                  </a:cubicBezTo>
                  <a:cubicBezTo>
                    <a:pt x="37" y="53"/>
                    <a:pt x="37" y="52"/>
                    <a:pt x="37" y="52"/>
                  </a:cubicBezTo>
                  <a:cubicBezTo>
                    <a:pt x="37" y="51"/>
                    <a:pt x="37" y="51"/>
                    <a:pt x="37" y="50"/>
                  </a:cubicBezTo>
                  <a:cubicBezTo>
                    <a:pt x="37" y="49"/>
                    <a:pt x="37" y="48"/>
                    <a:pt x="37" y="47"/>
                  </a:cubicBezTo>
                  <a:cubicBezTo>
                    <a:pt x="37" y="43"/>
                    <a:pt x="37" y="41"/>
                    <a:pt x="37" y="40"/>
                  </a:cubicBezTo>
                  <a:cubicBezTo>
                    <a:pt x="36" y="39"/>
                    <a:pt x="36" y="39"/>
                    <a:pt x="36" y="39"/>
                  </a:cubicBezTo>
                  <a:cubicBezTo>
                    <a:pt x="36" y="39"/>
                    <a:pt x="36" y="39"/>
                    <a:pt x="35" y="38"/>
                  </a:cubicBezTo>
                  <a:cubicBezTo>
                    <a:pt x="35" y="37"/>
                    <a:pt x="34" y="37"/>
                    <a:pt x="34" y="36"/>
                  </a:cubicBezTo>
                  <a:cubicBezTo>
                    <a:pt x="33" y="36"/>
                    <a:pt x="33" y="36"/>
                    <a:pt x="33" y="36"/>
                  </a:cubicBezTo>
                  <a:cubicBezTo>
                    <a:pt x="33" y="35"/>
                    <a:pt x="32" y="35"/>
                    <a:pt x="32" y="34"/>
                  </a:cubicBezTo>
                  <a:cubicBezTo>
                    <a:pt x="28" y="30"/>
                    <a:pt x="28" y="30"/>
                    <a:pt x="28" y="30"/>
                  </a:cubicBezTo>
                  <a:cubicBezTo>
                    <a:pt x="27" y="29"/>
                    <a:pt x="26" y="28"/>
                    <a:pt x="26" y="27"/>
                  </a:cubicBezTo>
                  <a:cubicBezTo>
                    <a:pt x="24" y="25"/>
                    <a:pt x="24" y="25"/>
                    <a:pt x="24" y="25"/>
                  </a:cubicBezTo>
                  <a:cubicBezTo>
                    <a:pt x="20" y="20"/>
                    <a:pt x="15" y="15"/>
                    <a:pt x="12" y="8"/>
                  </a:cubicBezTo>
                  <a:cubicBezTo>
                    <a:pt x="10" y="5"/>
                    <a:pt x="9" y="3"/>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4" name="Freeform 1522">
              <a:extLst>
                <a:ext uri="{FF2B5EF4-FFF2-40B4-BE49-F238E27FC236}">
                  <a16:creationId xmlns:a16="http://schemas.microsoft.com/office/drawing/2014/main" id="{78F92DF9-83D4-4228-A85C-129DF5CA5A3F}"/>
                </a:ext>
              </a:extLst>
            </p:cNvPr>
            <p:cNvSpPr>
              <a:spLocks/>
            </p:cNvSpPr>
            <p:nvPr/>
          </p:nvSpPr>
          <p:spPr bwMode="auto">
            <a:xfrm>
              <a:off x="420" y="0"/>
              <a:ext cx="498" cy="641"/>
            </a:xfrm>
            <a:custGeom>
              <a:avLst/>
              <a:gdLst>
                <a:gd name="T0" fmla="*/ 7 w 211"/>
                <a:gd name="T1" fmla="*/ 5 h 271"/>
                <a:gd name="T2" fmla="*/ 22 w 211"/>
                <a:gd name="T3" fmla="*/ 25 h 271"/>
                <a:gd name="T4" fmla="*/ 27 w 211"/>
                <a:gd name="T5" fmla="*/ 31 h 271"/>
                <a:gd name="T6" fmla="*/ 33 w 211"/>
                <a:gd name="T7" fmla="*/ 47 h 271"/>
                <a:gd name="T8" fmla="*/ 33 w 211"/>
                <a:gd name="T9" fmla="*/ 51 h 271"/>
                <a:gd name="T10" fmla="*/ 31 w 211"/>
                <a:gd name="T11" fmla="*/ 58 h 271"/>
                <a:gd name="T12" fmla="*/ 33 w 211"/>
                <a:gd name="T13" fmla="*/ 61 h 271"/>
                <a:gd name="T14" fmla="*/ 41 w 211"/>
                <a:gd name="T15" fmla="*/ 77 h 271"/>
                <a:gd name="T16" fmla="*/ 45 w 211"/>
                <a:gd name="T17" fmla="*/ 89 h 271"/>
                <a:gd name="T18" fmla="*/ 46 w 211"/>
                <a:gd name="T19" fmla="*/ 96 h 271"/>
                <a:gd name="T20" fmla="*/ 28 w 211"/>
                <a:gd name="T21" fmla="*/ 123 h 271"/>
                <a:gd name="T22" fmla="*/ 12 w 211"/>
                <a:gd name="T23" fmla="*/ 151 h 271"/>
                <a:gd name="T24" fmla="*/ 4 w 211"/>
                <a:gd name="T25" fmla="*/ 175 h 271"/>
                <a:gd name="T26" fmla="*/ 4 w 211"/>
                <a:gd name="T27" fmla="*/ 175 h 271"/>
                <a:gd name="T28" fmla="*/ 1 w 211"/>
                <a:gd name="T29" fmla="*/ 190 h 271"/>
                <a:gd name="T30" fmla="*/ 7 w 211"/>
                <a:gd name="T31" fmla="*/ 198 h 271"/>
                <a:gd name="T32" fmla="*/ 26 w 211"/>
                <a:gd name="T33" fmla="*/ 209 h 271"/>
                <a:gd name="T34" fmla="*/ 32 w 211"/>
                <a:gd name="T35" fmla="*/ 218 h 271"/>
                <a:gd name="T36" fmla="*/ 38 w 211"/>
                <a:gd name="T37" fmla="*/ 226 h 271"/>
                <a:gd name="T38" fmla="*/ 45 w 211"/>
                <a:gd name="T39" fmla="*/ 232 h 271"/>
                <a:gd name="T40" fmla="*/ 54 w 211"/>
                <a:gd name="T41" fmla="*/ 248 h 271"/>
                <a:gd name="T42" fmla="*/ 61 w 211"/>
                <a:gd name="T43" fmla="*/ 242 h 271"/>
                <a:gd name="T44" fmla="*/ 76 w 211"/>
                <a:gd name="T45" fmla="*/ 248 h 271"/>
                <a:gd name="T46" fmla="*/ 81 w 211"/>
                <a:gd name="T47" fmla="*/ 255 h 271"/>
                <a:gd name="T48" fmla="*/ 88 w 211"/>
                <a:gd name="T49" fmla="*/ 256 h 271"/>
                <a:gd name="T50" fmla="*/ 86 w 211"/>
                <a:gd name="T51" fmla="*/ 270 h 271"/>
                <a:gd name="T52" fmla="*/ 90 w 211"/>
                <a:gd name="T53" fmla="*/ 268 h 271"/>
                <a:gd name="T54" fmla="*/ 103 w 211"/>
                <a:gd name="T55" fmla="*/ 268 h 271"/>
                <a:gd name="T56" fmla="*/ 111 w 211"/>
                <a:gd name="T57" fmla="*/ 256 h 271"/>
                <a:gd name="T58" fmla="*/ 90 w 211"/>
                <a:gd name="T59" fmla="*/ 237 h 271"/>
                <a:gd name="T60" fmla="*/ 88 w 211"/>
                <a:gd name="T61" fmla="*/ 240 h 271"/>
                <a:gd name="T62" fmla="*/ 70 w 211"/>
                <a:gd name="T63" fmla="*/ 230 h 271"/>
                <a:gd name="T64" fmla="*/ 65 w 211"/>
                <a:gd name="T65" fmla="*/ 231 h 271"/>
                <a:gd name="T66" fmla="*/ 59 w 211"/>
                <a:gd name="T67" fmla="*/ 214 h 271"/>
                <a:gd name="T68" fmla="*/ 63 w 211"/>
                <a:gd name="T69" fmla="*/ 209 h 271"/>
                <a:gd name="T70" fmla="*/ 45 w 211"/>
                <a:gd name="T71" fmla="*/ 168 h 271"/>
                <a:gd name="T72" fmla="*/ 30 w 211"/>
                <a:gd name="T73" fmla="*/ 168 h 271"/>
                <a:gd name="T74" fmla="*/ 28 w 211"/>
                <a:gd name="T75" fmla="*/ 153 h 271"/>
                <a:gd name="T76" fmla="*/ 40 w 211"/>
                <a:gd name="T77" fmla="*/ 115 h 271"/>
                <a:gd name="T78" fmla="*/ 52 w 211"/>
                <a:gd name="T79" fmla="*/ 71 h 271"/>
                <a:gd name="T80" fmla="*/ 64 w 211"/>
                <a:gd name="T81" fmla="*/ 46 h 271"/>
                <a:gd name="T82" fmla="*/ 69 w 211"/>
                <a:gd name="T83" fmla="*/ 30 h 271"/>
                <a:gd name="T84" fmla="*/ 81 w 211"/>
                <a:gd name="T85" fmla="*/ 46 h 271"/>
                <a:gd name="T86" fmla="*/ 83 w 211"/>
                <a:gd name="T87" fmla="*/ 71 h 271"/>
                <a:gd name="T88" fmla="*/ 106 w 211"/>
                <a:gd name="T89" fmla="*/ 70 h 271"/>
                <a:gd name="T90" fmla="*/ 123 w 211"/>
                <a:gd name="T91" fmla="*/ 85 h 271"/>
                <a:gd name="T92" fmla="*/ 131 w 211"/>
                <a:gd name="T93" fmla="*/ 88 h 271"/>
                <a:gd name="T94" fmla="*/ 130 w 211"/>
                <a:gd name="T95" fmla="*/ 79 h 271"/>
                <a:gd name="T96" fmla="*/ 125 w 211"/>
                <a:gd name="T97" fmla="*/ 74 h 271"/>
                <a:gd name="T98" fmla="*/ 123 w 211"/>
                <a:gd name="T99" fmla="*/ 63 h 271"/>
                <a:gd name="T100" fmla="*/ 120 w 211"/>
                <a:gd name="T101" fmla="*/ 43 h 271"/>
                <a:gd name="T102" fmla="*/ 132 w 211"/>
                <a:gd name="T103" fmla="*/ 29 h 271"/>
                <a:gd name="T104" fmla="*/ 151 w 211"/>
                <a:gd name="T105" fmla="*/ 16 h 271"/>
                <a:gd name="T106" fmla="*/ 167 w 211"/>
                <a:gd name="T107" fmla="*/ 16 h 271"/>
                <a:gd name="T108" fmla="*/ 176 w 211"/>
                <a:gd name="T109" fmla="*/ 16 h 271"/>
                <a:gd name="T110" fmla="*/ 194 w 211"/>
                <a:gd name="T111" fmla="*/ 15 h 271"/>
                <a:gd name="T112" fmla="*/ 200 w 211"/>
                <a:gd name="T113" fmla="*/ 16 h 271"/>
                <a:gd name="T114" fmla="*/ 205 w 211"/>
                <a:gd name="T115" fmla="*/ 16 h 271"/>
                <a:gd name="T116" fmla="*/ 209 w 211"/>
                <a:gd name="T117" fmla="*/ 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 h="271">
                  <a:moveTo>
                    <a:pt x="208" y="0"/>
                  </a:moveTo>
                  <a:cubicBezTo>
                    <a:pt x="5" y="0"/>
                    <a:pt x="5" y="0"/>
                    <a:pt x="5" y="0"/>
                  </a:cubicBezTo>
                  <a:cubicBezTo>
                    <a:pt x="5" y="1"/>
                    <a:pt x="6" y="3"/>
                    <a:pt x="7" y="5"/>
                  </a:cubicBezTo>
                  <a:cubicBezTo>
                    <a:pt x="10" y="10"/>
                    <a:pt x="14" y="15"/>
                    <a:pt x="19" y="21"/>
                  </a:cubicBezTo>
                  <a:cubicBezTo>
                    <a:pt x="20" y="23"/>
                    <a:pt x="20" y="23"/>
                    <a:pt x="20" y="23"/>
                  </a:cubicBezTo>
                  <a:cubicBezTo>
                    <a:pt x="21" y="23"/>
                    <a:pt x="22" y="24"/>
                    <a:pt x="22" y="25"/>
                  </a:cubicBezTo>
                  <a:cubicBezTo>
                    <a:pt x="26" y="29"/>
                    <a:pt x="26" y="29"/>
                    <a:pt x="26" y="29"/>
                  </a:cubicBezTo>
                  <a:cubicBezTo>
                    <a:pt x="27" y="30"/>
                    <a:pt x="27" y="30"/>
                    <a:pt x="27" y="30"/>
                  </a:cubicBezTo>
                  <a:cubicBezTo>
                    <a:pt x="27" y="31"/>
                    <a:pt x="27" y="31"/>
                    <a:pt x="27" y="31"/>
                  </a:cubicBezTo>
                  <a:cubicBezTo>
                    <a:pt x="28" y="32"/>
                    <a:pt x="29" y="32"/>
                    <a:pt x="30" y="33"/>
                  </a:cubicBezTo>
                  <a:cubicBezTo>
                    <a:pt x="31" y="35"/>
                    <a:pt x="32" y="36"/>
                    <a:pt x="32" y="37"/>
                  </a:cubicBezTo>
                  <a:cubicBezTo>
                    <a:pt x="33" y="39"/>
                    <a:pt x="33" y="42"/>
                    <a:pt x="33" y="47"/>
                  </a:cubicBezTo>
                  <a:cubicBezTo>
                    <a:pt x="33" y="48"/>
                    <a:pt x="33" y="48"/>
                    <a:pt x="33" y="48"/>
                  </a:cubicBezTo>
                  <a:cubicBezTo>
                    <a:pt x="33" y="48"/>
                    <a:pt x="33" y="49"/>
                    <a:pt x="33" y="50"/>
                  </a:cubicBezTo>
                  <a:cubicBezTo>
                    <a:pt x="33" y="51"/>
                    <a:pt x="33" y="51"/>
                    <a:pt x="33" y="51"/>
                  </a:cubicBezTo>
                  <a:cubicBezTo>
                    <a:pt x="34" y="52"/>
                    <a:pt x="34" y="55"/>
                    <a:pt x="32" y="57"/>
                  </a:cubicBezTo>
                  <a:cubicBezTo>
                    <a:pt x="32" y="58"/>
                    <a:pt x="32" y="58"/>
                    <a:pt x="32" y="58"/>
                  </a:cubicBezTo>
                  <a:cubicBezTo>
                    <a:pt x="31" y="58"/>
                    <a:pt x="31" y="58"/>
                    <a:pt x="31" y="58"/>
                  </a:cubicBezTo>
                  <a:cubicBezTo>
                    <a:pt x="31" y="59"/>
                    <a:pt x="32" y="59"/>
                    <a:pt x="32" y="60"/>
                  </a:cubicBezTo>
                  <a:cubicBezTo>
                    <a:pt x="32" y="60"/>
                    <a:pt x="32" y="60"/>
                    <a:pt x="32" y="60"/>
                  </a:cubicBezTo>
                  <a:cubicBezTo>
                    <a:pt x="33" y="60"/>
                    <a:pt x="33" y="61"/>
                    <a:pt x="33" y="61"/>
                  </a:cubicBezTo>
                  <a:cubicBezTo>
                    <a:pt x="34" y="62"/>
                    <a:pt x="34" y="63"/>
                    <a:pt x="35" y="64"/>
                  </a:cubicBezTo>
                  <a:cubicBezTo>
                    <a:pt x="37" y="67"/>
                    <a:pt x="40" y="70"/>
                    <a:pt x="40" y="74"/>
                  </a:cubicBezTo>
                  <a:cubicBezTo>
                    <a:pt x="41" y="75"/>
                    <a:pt x="41" y="76"/>
                    <a:pt x="41" y="77"/>
                  </a:cubicBezTo>
                  <a:cubicBezTo>
                    <a:pt x="41" y="78"/>
                    <a:pt x="41" y="78"/>
                    <a:pt x="41" y="78"/>
                  </a:cubicBezTo>
                  <a:cubicBezTo>
                    <a:pt x="41" y="79"/>
                    <a:pt x="41" y="81"/>
                    <a:pt x="42" y="83"/>
                  </a:cubicBezTo>
                  <a:cubicBezTo>
                    <a:pt x="44" y="84"/>
                    <a:pt x="44" y="87"/>
                    <a:pt x="45" y="89"/>
                  </a:cubicBezTo>
                  <a:cubicBezTo>
                    <a:pt x="45" y="90"/>
                    <a:pt x="45" y="91"/>
                    <a:pt x="45" y="92"/>
                  </a:cubicBezTo>
                  <a:cubicBezTo>
                    <a:pt x="48" y="93"/>
                    <a:pt x="48" y="93"/>
                    <a:pt x="48" y="93"/>
                  </a:cubicBezTo>
                  <a:cubicBezTo>
                    <a:pt x="46" y="96"/>
                    <a:pt x="46" y="96"/>
                    <a:pt x="46" y="96"/>
                  </a:cubicBezTo>
                  <a:cubicBezTo>
                    <a:pt x="45" y="99"/>
                    <a:pt x="43" y="102"/>
                    <a:pt x="41" y="106"/>
                  </a:cubicBezTo>
                  <a:cubicBezTo>
                    <a:pt x="39" y="109"/>
                    <a:pt x="37" y="112"/>
                    <a:pt x="35" y="115"/>
                  </a:cubicBezTo>
                  <a:cubicBezTo>
                    <a:pt x="32" y="118"/>
                    <a:pt x="30" y="121"/>
                    <a:pt x="28" y="123"/>
                  </a:cubicBezTo>
                  <a:cubicBezTo>
                    <a:pt x="25" y="126"/>
                    <a:pt x="24" y="130"/>
                    <a:pt x="22" y="133"/>
                  </a:cubicBezTo>
                  <a:cubicBezTo>
                    <a:pt x="14" y="152"/>
                    <a:pt x="14" y="152"/>
                    <a:pt x="14" y="152"/>
                  </a:cubicBezTo>
                  <a:cubicBezTo>
                    <a:pt x="12" y="151"/>
                    <a:pt x="12" y="151"/>
                    <a:pt x="12" y="151"/>
                  </a:cubicBezTo>
                  <a:cubicBezTo>
                    <a:pt x="12" y="151"/>
                    <a:pt x="12" y="151"/>
                    <a:pt x="12" y="151"/>
                  </a:cubicBezTo>
                  <a:cubicBezTo>
                    <a:pt x="10" y="157"/>
                    <a:pt x="5" y="165"/>
                    <a:pt x="4" y="172"/>
                  </a:cubicBezTo>
                  <a:cubicBezTo>
                    <a:pt x="4" y="173"/>
                    <a:pt x="4" y="174"/>
                    <a:pt x="4" y="175"/>
                  </a:cubicBezTo>
                  <a:cubicBezTo>
                    <a:pt x="4" y="175"/>
                    <a:pt x="3" y="174"/>
                    <a:pt x="3" y="173"/>
                  </a:cubicBezTo>
                  <a:cubicBezTo>
                    <a:pt x="3" y="173"/>
                    <a:pt x="3" y="173"/>
                    <a:pt x="3" y="173"/>
                  </a:cubicBezTo>
                  <a:cubicBezTo>
                    <a:pt x="3" y="174"/>
                    <a:pt x="4" y="175"/>
                    <a:pt x="4" y="175"/>
                  </a:cubicBezTo>
                  <a:cubicBezTo>
                    <a:pt x="4" y="177"/>
                    <a:pt x="4" y="179"/>
                    <a:pt x="3" y="182"/>
                  </a:cubicBezTo>
                  <a:cubicBezTo>
                    <a:pt x="1" y="185"/>
                    <a:pt x="2" y="188"/>
                    <a:pt x="1" y="191"/>
                  </a:cubicBezTo>
                  <a:cubicBezTo>
                    <a:pt x="1" y="190"/>
                    <a:pt x="1" y="190"/>
                    <a:pt x="1" y="190"/>
                  </a:cubicBezTo>
                  <a:cubicBezTo>
                    <a:pt x="0" y="192"/>
                    <a:pt x="2" y="197"/>
                    <a:pt x="3" y="199"/>
                  </a:cubicBezTo>
                  <a:cubicBezTo>
                    <a:pt x="4" y="201"/>
                    <a:pt x="6" y="202"/>
                    <a:pt x="7" y="202"/>
                  </a:cubicBezTo>
                  <a:cubicBezTo>
                    <a:pt x="8" y="202"/>
                    <a:pt x="8" y="201"/>
                    <a:pt x="7" y="198"/>
                  </a:cubicBezTo>
                  <a:cubicBezTo>
                    <a:pt x="9" y="197"/>
                    <a:pt x="11" y="197"/>
                    <a:pt x="12" y="197"/>
                  </a:cubicBezTo>
                  <a:cubicBezTo>
                    <a:pt x="14" y="197"/>
                    <a:pt x="16" y="198"/>
                    <a:pt x="18" y="201"/>
                  </a:cubicBezTo>
                  <a:cubicBezTo>
                    <a:pt x="19" y="203"/>
                    <a:pt x="24" y="209"/>
                    <a:pt x="26" y="209"/>
                  </a:cubicBezTo>
                  <a:cubicBezTo>
                    <a:pt x="26" y="209"/>
                    <a:pt x="26" y="209"/>
                    <a:pt x="26" y="209"/>
                  </a:cubicBezTo>
                  <a:cubicBezTo>
                    <a:pt x="26" y="211"/>
                    <a:pt x="25" y="215"/>
                    <a:pt x="25" y="215"/>
                  </a:cubicBezTo>
                  <a:cubicBezTo>
                    <a:pt x="27" y="216"/>
                    <a:pt x="31" y="216"/>
                    <a:pt x="32" y="218"/>
                  </a:cubicBezTo>
                  <a:cubicBezTo>
                    <a:pt x="32" y="220"/>
                    <a:pt x="33" y="224"/>
                    <a:pt x="34" y="225"/>
                  </a:cubicBezTo>
                  <a:cubicBezTo>
                    <a:pt x="35" y="226"/>
                    <a:pt x="35" y="226"/>
                    <a:pt x="36" y="226"/>
                  </a:cubicBezTo>
                  <a:cubicBezTo>
                    <a:pt x="36" y="226"/>
                    <a:pt x="37" y="226"/>
                    <a:pt x="38" y="226"/>
                  </a:cubicBezTo>
                  <a:cubicBezTo>
                    <a:pt x="38" y="225"/>
                    <a:pt x="39" y="225"/>
                    <a:pt x="40" y="225"/>
                  </a:cubicBezTo>
                  <a:cubicBezTo>
                    <a:pt x="40" y="225"/>
                    <a:pt x="41" y="225"/>
                    <a:pt x="41" y="225"/>
                  </a:cubicBezTo>
                  <a:cubicBezTo>
                    <a:pt x="39" y="230"/>
                    <a:pt x="40" y="232"/>
                    <a:pt x="45" y="232"/>
                  </a:cubicBezTo>
                  <a:cubicBezTo>
                    <a:pt x="44" y="234"/>
                    <a:pt x="43" y="236"/>
                    <a:pt x="44" y="239"/>
                  </a:cubicBezTo>
                  <a:cubicBezTo>
                    <a:pt x="45" y="242"/>
                    <a:pt x="50" y="247"/>
                    <a:pt x="54" y="250"/>
                  </a:cubicBezTo>
                  <a:cubicBezTo>
                    <a:pt x="54" y="248"/>
                    <a:pt x="54" y="248"/>
                    <a:pt x="54" y="248"/>
                  </a:cubicBezTo>
                  <a:cubicBezTo>
                    <a:pt x="54" y="247"/>
                    <a:pt x="55" y="246"/>
                    <a:pt x="55" y="245"/>
                  </a:cubicBezTo>
                  <a:cubicBezTo>
                    <a:pt x="57" y="238"/>
                    <a:pt x="57" y="238"/>
                    <a:pt x="57" y="238"/>
                  </a:cubicBezTo>
                  <a:cubicBezTo>
                    <a:pt x="61" y="242"/>
                    <a:pt x="61" y="242"/>
                    <a:pt x="61" y="242"/>
                  </a:cubicBezTo>
                  <a:cubicBezTo>
                    <a:pt x="65" y="245"/>
                    <a:pt x="66" y="246"/>
                    <a:pt x="68" y="246"/>
                  </a:cubicBezTo>
                  <a:cubicBezTo>
                    <a:pt x="71" y="246"/>
                    <a:pt x="73" y="246"/>
                    <a:pt x="75" y="247"/>
                  </a:cubicBezTo>
                  <a:cubicBezTo>
                    <a:pt x="76" y="248"/>
                    <a:pt x="76" y="248"/>
                    <a:pt x="76" y="248"/>
                  </a:cubicBezTo>
                  <a:cubicBezTo>
                    <a:pt x="77" y="248"/>
                    <a:pt x="77" y="248"/>
                    <a:pt x="78" y="249"/>
                  </a:cubicBezTo>
                  <a:cubicBezTo>
                    <a:pt x="78" y="249"/>
                    <a:pt x="78" y="249"/>
                    <a:pt x="78" y="249"/>
                  </a:cubicBezTo>
                  <a:cubicBezTo>
                    <a:pt x="80" y="251"/>
                    <a:pt x="81" y="253"/>
                    <a:pt x="81" y="255"/>
                  </a:cubicBezTo>
                  <a:cubicBezTo>
                    <a:pt x="81" y="255"/>
                    <a:pt x="81" y="255"/>
                    <a:pt x="81" y="255"/>
                  </a:cubicBezTo>
                  <a:cubicBezTo>
                    <a:pt x="82" y="254"/>
                    <a:pt x="83" y="254"/>
                    <a:pt x="84" y="254"/>
                  </a:cubicBezTo>
                  <a:cubicBezTo>
                    <a:pt x="85" y="254"/>
                    <a:pt x="87" y="255"/>
                    <a:pt x="88" y="256"/>
                  </a:cubicBezTo>
                  <a:cubicBezTo>
                    <a:pt x="90" y="258"/>
                    <a:pt x="90" y="260"/>
                    <a:pt x="89" y="263"/>
                  </a:cubicBezTo>
                  <a:cubicBezTo>
                    <a:pt x="89" y="265"/>
                    <a:pt x="88" y="266"/>
                    <a:pt x="87" y="268"/>
                  </a:cubicBezTo>
                  <a:cubicBezTo>
                    <a:pt x="86" y="269"/>
                    <a:pt x="86" y="270"/>
                    <a:pt x="86" y="270"/>
                  </a:cubicBezTo>
                  <a:cubicBezTo>
                    <a:pt x="87" y="271"/>
                    <a:pt x="87" y="271"/>
                    <a:pt x="87" y="271"/>
                  </a:cubicBezTo>
                  <a:cubicBezTo>
                    <a:pt x="87" y="271"/>
                    <a:pt x="88" y="271"/>
                    <a:pt x="88" y="270"/>
                  </a:cubicBezTo>
                  <a:cubicBezTo>
                    <a:pt x="90" y="268"/>
                    <a:pt x="90" y="268"/>
                    <a:pt x="90" y="268"/>
                  </a:cubicBezTo>
                  <a:cubicBezTo>
                    <a:pt x="91" y="267"/>
                    <a:pt x="94" y="265"/>
                    <a:pt x="97" y="265"/>
                  </a:cubicBezTo>
                  <a:cubicBezTo>
                    <a:pt x="99" y="265"/>
                    <a:pt x="101" y="267"/>
                    <a:pt x="102" y="268"/>
                  </a:cubicBezTo>
                  <a:cubicBezTo>
                    <a:pt x="103" y="268"/>
                    <a:pt x="103" y="268"/>
                    <a:pt x="103" y="268"/>
                  </a:cubicBezTo>
                  <a:cubicBezTo>
                    <a:pt x="106" y="267"/>
                    <a:pt x="107" y="266"/>
                    <a:pt x="108" y="264"/>
                  </a:cubicBezTo>
                  <a:cubicBezTo>
                    <a:pt x="109" y="262"/>
                    <a:pt x="110" y="259"/>
                    <a:pt x="111" y="256"/>
                  </a:cubicBezTo>
                  <a:cubicBezTo>
                    <a:pt x="111" y="256"/>
                    <a:pt x="111" y="256"/>
                    <a:pt x="111" y="256"/>
                  </a:cubicBezTo>
                  <a:cubicBezTo>
                    <a:pt x="110" y="255"/>
                    <a:pt x="109" y="254"/>
                    <a:pt x="108" y="253"/>
                  </a:cubicBezTo>
                  <a:cubicBezTo>
                    <a:pt x="106" y="251"/>
                    <a:pt x="103" y="249"/>
                    <a:pt x="102" y="247"/>
                  </a:cubicBezTo>
                  <a:cubicBezTo>
                    <a:pt x="99" y="242"/>
                    <a:pt x="96" y="238"/>
                    <a:pt x="90" y="237"/>
                  </a:cubicBezTo>
                  <a:cubicBezTo>
                    <a:pt x="91" y="238"/>
                    <a:pt x="92" y="239"/>
                    <a:pt x="92" y="240"/>
                  </a:cubicBezTo>
                  <a:cubicBezTo>
                    <a:pt x="92" y="239"/>
                    <a:pt x="92" y="239"/>
                    <a:pt x="91" y="239"/>
                  </a:cubicBezTo>
                  <a:cubicBezTo>
                    <a:pt x="90" y="239"/>
                    <a:pt x="89" y="240"/>
                    <a:pt x="88" y="240"/>
                  </a:cubicBezTo>
                  <a:cubicBezTo>
                    <a:pt x="87" y="240"/>
                    <a:pt x="86" y="240"/>
                    <a:pt x="85" y="240"/>
                  </a:cubicBezTo>
                  <a:cubicBezTo>
                    <a:pt x="85" y="240"/>
                    <a:pt x="84" y="240"/>
                    <a:pt x="84" y="240"/>
                  </a:cubicBezTo>
                  <a:cubicBezTo>
                    <a:pt x="82" y="240"/>
                    <a:pt x="73" y="230"/>
                    <a:pt x="70" y="230"/>
                  </a:cubicBezTo>
                  <a:cubicBezTo>
                    <a:pt x="70" y="230"/>
                    <a:pt x="70" y="230"/>
                    <a:pt x="70" y="230"/>
                  </a:cubicBezTo>
                  <a:cubicBezTo>
                    <a:pt x="69" y="231"/>
                    <a:pt x="68" y="231"/>
                    <a:pt x="67" y="231"/>
                  </a:cubicBezTo>
                  <a:cubicBezTo>
                    <a:pt x="66" y="231"/>
                    <a:pt x="66" y="231"/>
                    <a:pt x="65" y="231"/>
                  </a:cubicBezTo>
                  <a:cubicBezTo>
                    <a:pt x="64" y="230"/>
                    <a:pt x="65" y="228"/>
                    <a:pt x="64" y="227"/>
                  </a:cubicBezTo>
                  <a:cubicBezTo>
                    <a:pt x="62" y="225"/>
                    <a:pt x="61" y="224"/>
                    <a:pt x="59" y="222"/>
                  </a:cubicBezTo>
                  <a:cubicBezTo>
                    <a:pt x="57" y="219"/>
                    <a:pt x="58" y="217"/>
                    <a:pt x="59" y="214"/>
                  </a:cubicBezTo>
                  <a:cubicBezTo>
                    <a:pt x="62" y="219"/>
                    <a:pt x="66" y="225"/>
                    <a:pt x="70" y="230"/>
                  </a:cubicBezTo>
                  <a:cubicBezTo>
                    <a:pt x="69" y="229"/>
                    <a:pt x="69" y="229"/>
                    <a:pt x="68" y="227"/>
                  </a:cubicBezTo>
                  <a:cubicBezTo>
                    <a:pt x="65" y="221"/>
                    <a:pt x="65" y="215"/>
                    <a:pt x="63" y="209"/>
                  </a:cubicBezTo>
                  <a:cubicBezTo>
                    <a:pt x="60" y="200"/>
                    <a:pt x="56" y="191"/>
                    <a:pt x="52" y="183"/>
                  </a:cubicBezTo>
                  <a:cubicBezTo>
                    <a:pt x="50" y="178"/>
                    <a:pt x="49" y="174"/>
                    <a:pt x="47" y="169"/>
                  </a:cubicBezTo>
                  <a:cubicBezTo>
                    <a:pt x="47" y="169"/>
                    <a:pt x="46" y="168"/>
                    <a:pt x="45" y="168"/>
                  </a:cubicBezTo>
                  <a:cubicBezTo>
                    <a:pt x="43" y="168"/>
                    <a:pt x="39" y="170"/>
                    <a:pt x="38" y="170"/>
                  </a:cubicBezTo>
                  <a:cubicBezTo>
                    <a:pt x="37" y="170"/>
                    <a:pt x="35" y="171"/>
                    <a:pt x="33" y="171"/>
                  </a:cubicBezTo>
                  <a:cubicBezTo>
                    <a:pt x="31" y="171"/>
                    <a:pt x="30" y="170"/>
                    <a:pt x="30" y="168"/>
                  </a:cubicBezTo>
                  <a:cubicBezTo>
                    <a:pt x="31" y="167"/>
                    <a:pt x="32" y="166"/>
                    <a:pt x="33" y="166"/>
                  </a:cubicBezTo>
                  <a:cubicBezTo>
                    <a:pt x="32" y="165"/>
                    <a:pt x="31" y="163"/>
                    <a:pt x="30" y="161"/>
                  </a:cubicBezTo>
                  <a:cubicBezTo>
                    <a:pt x="29" y="159"/>
                    <a:pt x="28" y="156"/>
                    <a:pt x="28" y="153"/>
                  </a:cubicBezTo>
                  <a:cubicBezTo>
                    <a:pt x="30" y="148"/>
                    <a:pt x="31" y="143"/>
                    <a:pt x="29" y="137"/>
                  </a:cubicBezTo>
                  <a:cubicBezTo>
                    <a:pt x="30" y="137"/>
                    <a:pt x="32" y="132"/>
                    <a:pt x="33" y="130"/>
                  </a:cubicBezTo>
                  <a:cubicBezTo>
                    <a:pt x="35" y="125"/>
                    <a:pt x="38" y="120"/>
                    <a:pt x="40" y="115"/>
                  </a:cubicBezTo>
                  <a:cubicBezTo>
                    <a:pt x="44" y="106"/>
                    <a:pt x="48" y="96"/>
                    <a:pt x="52" y="87"/>
                  </a:cubicBezTo>
                  <a:cubicBezTo>
                    <a:pt x="54" y="84"/>
                    <a:pt x="53" y="84"/>
                    <a:pt x="53" y="82"/>
                  </a:cubicBezTo>
                  <a:cubicBezTo>
                    <a:pt x="53" y="78"/>
                    <a:pt x="52" y="74"/>
                    <a:pt x="52" y="71"/>
                  </a:cubicBezTo>
                  <a:cubicBezTo>
                    <a:pt x="52" y="66"/>
                    <a:pt x="56" y="62"/>
                    <a:pt x="55" y="58"/>
                  </a:cubicBezTo>
                  <a:cubicBezTo>
                    <a:pt x="55" y="55"/>
                    <a:pt x="51" y="52"/>
                    <a:pt x="53" y="50"/>
                  </a:cubicBezTo>
                  <a:cubicBezTo>
                    <a:pt x="56" y="47"/>
                    <a:pt x="59" y="47"/>
                    <a:pt x="64" y="46"/>
                  </a:cubicBezTo>
                  <a:cubicBezTo>
                    <a:pt x="64" y="46"/>
                    <a:pt x="65" y="46"/>
                    <a:pt x="66" y="45"/>
                  </a:cubicBezTo>
                  <a:cubicBezTo>
                    <a:pt x="63" y="44"/>
                    <a:pt x="61" y="41"/>
                    <a:pt x="61" y="38"/>
                  </a:cubicBezTo>
                  <a:cubicBezTo>
                    <a:pt x="61" y="34"/>
                    <a:pt x="64" y="30"/>
                    <a:pt x="69" y="30"/>
                  </a:cubicBezTo>
                  <a:cubicBezTo>
                    <a:pt x="73" y="30"/>
                    <a:pt x="77" y="34"/>
                    <a:pt x="77" y="38"/>
                  </a:cubicBezTo>
                  <a:cubicBezTo>
                    <a:pt x="77" y="41"/>
                    <a:pt x="75" y="43"/>
                    <a:pt x="73" y="44"/>
                  </a:cubicBezTo>
                  <a:cubicBezTo>
                    <a:pt x="76" y="46"/>
                    <a:pt x="79" y="46"/>
                    <a:pt x="81" y="46"/>
                  </a:cubicBezTo>
                  <a:cubicBezTo>
                    <a:pt x="80" y="53"/>
                    <a:pt x="79" y="60"/>
                    <a:pt x="78" y="67"/>
                  </a:cubicBezTo>
                  <a:cubicBezTo>
                    <a:pt x="77" y="70"/>
                    <a:pt x="79" y="71"/>
                    <a:pt x="80" y="71"/>
                  </a:cubicBezTo>
                  <a:cubicBezTo>
                    <a:pt x="81" y="71"/>
                    <a:pt x="82" y="71"/>
                    <a:pt x="83" y="71"/>
                  </a:cubicBezTo>
                  <a:cubicBezTo>
                    <a:pt x="88" y="70"/>
                    <a:pt x="93" y="70"/>
                    <a:pt x="98" y="70"/>
                  </a:cubicBezTo>
                  <a:cubicBezTo>
                    <a:pt x="100" y="69"/>
                    <a:pt x="101" y="69"/>
                    <a:pt x="103" y="69"/>
                  </a:cubicBezTo>
                  <a:cubicBezTo>
                    <a:pt x="104" y="69"/>
                    <a:pt x="105" y="69"/>
                    <a:pt x="106" y="70"/>
                  </a:cubicBezTo>
                  <a:cubicBezTo>
                    <a:pt x="109" y="72"/>
                    <a:pt x="115" y="80"/>
                    <a:pt x="119" y="80"/>
                  </a:cubicBezTo>
                  <a:cubicBezTo>
                    <a:pt x="120" y="80"/>
                    <a:pt x="121" y="80"/>
                    <a:pt x="121" y="79"/>
                  </a:cubicBezTo>
                  <a:cubicBezTo>
                    <a:pt x="119" y="85"/>
                    <a:pt x="119" y="83"/>
                    <a:pt x="123" y="85"/>
                  </a:cubicBezTo>
                  <a:cubicBezTo>
                    <a:pt x="125" y="86"/>
                    <a:pt x="126" y="87"/>
                    <a:pt x="127" y="88"/>
                  </a:cubicBezTo>
                  <a:cubicBezTo>
                    <a:pt x="128" y="88"/>
                    <a:pt x="129" y="88"/>
                    <a:pt x="129" y="88"/>
                  </a:cubicBezTo>
                  <a:cubicBezTo>
                    <a:pt x="130" y="88"/>
                    <a:pt x="130" y="88"/>
                    <a:pt x="131" y="88"/>
                  </a:cubicBezTo>
                  <a:cubicBezTo>
                    <a:pt x="130" y="86"/>
                    <a:pt x="130" y="83"/>
                    <a:pt x="130" y="81"/>
                  </a:cubicBezTo>
                  <a:cubicBezTo>
                    <a:pt x="130" y="80"/>
                    <a:pt x="130" y="80"/>
                    <a:pt x="130" y="79"/>
                  </a:cubicBezTo>
                  <a:cubicBezTo>
                    <a:pt x="130" y="79"/>
                    <a:pt x="130" y="79"/>
                    <a:pt x="130" y="79"/>
                  </a:cubicBezTo>
                  <a:cubicBezTo>
                    <a:pt x="130" y="78"/>
                    <a:pt x="130" y="78"/>
                    <a:pt x="130" y="78"/>
                  </a:cubicBezTo>
                  <a:cubicBezTo>
                    <a:pt x="130" y="77"/>
                    <a:pt x="129" y="77"/>
                    <a:pt x="128" y="76"/>
                  </a:cubicBezTo>
                  <a:cubicBezTo>
                    <a:pt x="125" y="74"/>
                    <a:pt x="125" y="74"/>
                    <a:pt x="125" y="74"/>
                  </a:cubicBezTo>
                  <a:cubicBezTo>
                    <a:pt x="125" y="73"/>
                    <a:pt x="124" y="72"/>
                    <a:pt x="124" y="72"/>
                  </a:cubicBezTo>
                  <a:cubicBezTo>
                    <a:pt x="122" y="69"/>
                    <a:pt x="122" y="67"/>
                    <a:pt x="123" y="64"/>
                  </a:cubicBezTo>
                  <a:cubicBezTo>
                    <a:pt x="123" y="63"/>
                    <a:pt x="123" y="63"/>
                    <a:pt x="123" y="63"/>
                  </a:cubicBezTo>
                  <a:cubicBezTo>
                    <a:pt x="122" y="62"/>
                    <a:pt x="122" y="61"/>
                    <a:pt x="121" y="59"/>
                  </a:cubicBezTo>
                  <a:cubicBezTo>
                    <a:pt x="121" y="58"/>
                    <a:pt x="121" y="58"/>
                    <a:pt x="121" y="58"/>
                  </a:cubicBezTo>
                  <a:cubicBezTo>
                    <a:pt x="118" y="54"/>
                    <a:pt x="115" y="47"/>
                    <a:pt x="120" y="43"/>
                  </a:cubicBezTo>
                  <a:cubicBezTo>
                    <a:pt x="121" y="41"/>
                    <a:pt x="121" y="41"/>
                    <a:pt x="121" y="41"/>
                  </a:cubicBezTo>
                  <a:cubicBezTo>
                    <a:pt x="122" y="41"/>
                    <a:pt x="123" y="40"/>
                    <a:pt x="123" y="39"/>
                  </a:cubicBezTo>
                  <a:cubicBezTo>
                    <a:pt x="127" y="36"/>
                    <a:pt x="129" y="33"/>
                    <a:pt x="132" y="29"/>
                  </a:cubicBezTo>
                  <a:cubicBezTo>
                    <a:pt x="133" y="27"/>
                    <a:pt x="134" y="25"/>
                    <a:pt x="136" y="23"/>
                  </a:cubicBezTo>
                  <a:cubicBezTo>
                    <a:pt x="136" y="22"/>
                    <a:pt x="137" y="22"/>
                    <a:pt x="138" y="21"/>
                  </a:cubicBezTo>
                  <a:cubicBezTo>
                    <a:pt x="140" y="18"/>
                    <a:pt x="145" y="16"/>
                    <a:pt x="151" y="16"/>
                  </a:cubicBezTo>
                  <a:cubicBezTo>
                    <a:pt x="152" y="16"/>
                    <a:pt x="153" y="16"/>
                    <a:pt x="155" y="15"/>
                  </a:cubicBezTo>
                  <a:cubicBezTo>
                    <a:pt x="156" y="15"/>
                    <a:pt x="157" y="15"/>
                    <a:pt x="158" y="15"/>
                  </a:cubicBezTo>
                  <a:cubicBezTo>
                    <a:pt x="161" y="15"/>
                    <a:pt x="164" y="16"/>
                    <a:pt x="167" y="16"/>
                  </a:cubicBezTo>
                  <a:cubicBezTo>
                    <a:pt x="168" y="16"/>
                    <a:pt x="168" y="16"/>
                    <a:pt x="168" y="16"/>
                  </a:cubicBezTo>
                  <a:cubicBezTo>
                    <a:pt x="171" y="16"/>
                    <a:pt x="173" y="16"/>
                    <a:pt x="175" y="16"/>
                  </a:cubicBezTo>
                  <a:cubicBezTo>
                    <a:pt x="176" y="16"/>
                    <a:pt x="176" y="16"/>
                    <a:pt x="176" y="16"/>
                  </a:cubicBezTo>
                  <a:cubicBezTo>
                    <a:pt x="179" y="16"/>
                    <a:pt x="182" y="16"/>
                    <a:pt x="185" y="16"/>
                  </a:cubicBezTo>
                  <a:cubicBezTo>
                    <a:pt x="187" y="16"/>
                    <a:pt x="187" y="16"/>
                    <a:pt x="187" y="16"/>
                  </a:cubicBezTo>
                  <a:cubicBezTo>
                    <a:pt x="189" y="15"/>
                    <a:pt x="191" y="15"/>
                    <a:pt x="194" y="15"/>
                  </a:cubicBezTo>
                  <a:cubicBezTo>
                    <a:pt x="194" y="15"/>
                    <a:pt x="194" y="15"/>
                    <a:pt x="194" y="15"/>
                  </a:cubicBezTo>
                  <a:cubicBezTo>
                    <a:pt x="195" y="15"/>
                    <a:pt x="195" y="15"/>
                    <a:pt x="195" y="15"/>
                  </a:cubicBezTo>
                  <a:cubicBezTo>
                    <a:pt x="197" y="15"/>
                    <a:pt x="199" y="15"/>
                    <a:pt x="200" y="16"/>
                  </a:cubicBezTo>
                  <a:cubicBezTo>
                    <a:pt x="201" y="17"/>
                    <a:pt x="201" y="17"/>
                    <a:pt x="201" y="18"/>
                  </a:cubicBezTo>
                  <a:cubicBezTo>
                    <a:pt x="205" y="16"/>
                    <a:pt x="205" y="16"/>
                    <a:pt x="205" y="16"/>
                  </a:cubicBezTo>
                  <a:cubicBezTo>
                    <a:pt x="205" y="16"/>
                    <a:pt x="205" y="16"/>
                    <a:pt x="205" y="16"/>
                  </a:cubicBezTo>
                  <a:cubicBezTo>
                    <a:pt x="207" y="15"/>
                    <a:pt x="208" y="15"/>
                    <a:pt x="209" y="14"/>
                  </a:cubicBezTo>
                  <a:cubicBezTo>
                    <a:pt x="210" y="14"/>
                    <a:pt x="210" y="14"/>
                    <a:pt x="210" y="14"/>
                  </a:cubicBezTo>
                  <a:cubicBezTo>
                    <a:pt x="211" y="11"/>
                    <a:pt x="210" y="8"/>
                    <a:pt x="209" y="4"/>
                  </a:cubicBezTo>
                  <a:cubicBezTo>
                    <a:pt x="209" y="3"/>
                    <a:pt x="209" y="1"/>
                    <a:pt x="20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5" name="Freeform 1523">
              <a:extLst>
                <a:ext uri="{FF2B5EF4-FFF2-40B4-BE49-F238E27FC236}">
                  <a16:creationId xmlns:a16="http://schemas.microsoft.com/office/drawing/2014/main" id="{DE571E70-C057-4260-9C8C-094410CEB93E}"/>
                </a:ext>
              </a:extLst>
            </p:cNvPr>
            <p:cNvSpPr>
              <a:spLocks/>
            </p:cNvSpPr>
            <p:nvPr/>
          </p:nvSpPr>
          <p:spPr bwMode="auto">
            <a:xfrm>
              <a:off x="916" y="0"/>
              <a:ext cx="137" cy="69"/>
            </a:xfrm>
            <a:custGeom>
              <a:avLst/>
              <a:gdLst>
                <a:gd name="T0" fmla="*/ 57 w 58"/>
                <a:gd name="T1" fmla="*/ 0 h 29"/>
                <a:gd name="T2" fmla="*/ 6 w 58"/>
                <a:gd name="T3" fmla="*/ 0 h 29"/>
                <a:gd name="T4" fmla="*/ 6 w 58"/>
                <a:gd name="T5" fmla="*/ 3 h 29"/>
                <a:gd name="T6" fmla="*/ 7 w 58"/>
                <a:gd name="T7" fmla="*/ 16 h 29"/>
                <a:gd name="T8" fmla="*/ 6 w 58"/>
                <a:gd name="T9" fmla="*/ 17 h 29"/>
                <a:gd name="T10" fmla="*/ 3 w 58"/>
                <a:gd name="T11" fmla="*/ 20 h 29"/>
                <a:gd name="T12" fmla="*/ 0 w 58"/>
                <a:gd name="T13" fmla="*/ 22 h 29"/>
                <a:gd name="T14" fmla="*/ 0 w 58"/>
                <a:gd name="T15" fmla="*/ 22 h 29"/>
                <a:gd name="T16" fmla="*/ 2 w 58"/>
                <a:gd name="T17" fmla="*/ 24 h 29"/>
                <a:gd name="T18" fmla="*/ 2 w 58"/>
                <a:gd name="T19" fmla="*/ 24 h 29"/>
                <a:gd name="T20" fmla="*/ 4 w 58"/>
                <a:gd name="T21" fmla="*/ 24 h 29"/>
                <a:gd name="T22" fmla="*/ 7 w 58"/>
                <a:gd name="T23" fmla="*/ 24 h 29"/>
                <a:gd name="T24" fmla="*/ 7 w 58"/>
                <a:gd name="T25" fmla="*/ 24 h 29"/>
                <a:gd name="T26" fmla="*/ 9 w 58"/>
                <a:gd name="T27" fmla="*/ 24 h 29"/>
                <a:gd name="T28" fmla="*/ 14 w 58"/>
                <a:gd name="T29" fmla="*/ 26 h 29"/>
                <a:gd name="T30" fmla="*/ 15 w 58"/>
                <a:gd name="T31" fmla="*/ 27 h 29"/>
                <a:gd name="T32" fmla="*/ 16 w 58"/>
                <a:gd name="T33" fmla="*/ 29 h 29"/>
                <a:gd name="T34" fmla="*/ 16 w 58"/>
                <a:gd name="T35" fmla="*/ 29 h 29"/>
                <a:gd name="T36" fmla="*/ 17 w 58"/>
                <a:gd name="T37" fmla="*/ 29 h 29"/>
                <a:gd name="T38" fmla="*/ 17 w 58"/>
                <a:gd name="T39" fmla="*/ 29 h 29"/>
                <a:gd name="T40" fmla="*/ 18 w 58"/>
                <a:gd name="T41" fmla="*/ 29 h 29"/>
                <a:gd name="T42" fmla="*/ 18 w 58"/>
                <a:gd name="T43" fmla="*/ 29 h 29"/>
                <a:gd name="T44" fmla="*/ 18 w 58"/>
                <a:gd name="T45" fmla="*/ 29 h 29"/>
                <a:gd name="T46" fmla="*/ 16 w 58"/>
                <a:gd name="T47" fmla="*/ 25 h 29"/>
                <a:gd name="T48" fmla="*/ 14 w 58"/>
                <a:gd name="T49" fmla="*/ 21 h 29"/>
                <a:gd name="T50" fmla="*/ 9 w 58"/>
                <a:gd name="T51" fmla="*/ 12 h 29"/>
                <a:gd name="T52" fmla="*/ 19 w 58"/>
                <a:gd name="T53" fmla="*/ 16 h 29"/>
                <a:gd name="T54" fmla="*/ 19 w 58"/>
                <a:gd name="T55" fmla="*/ 16 h 29"/>
                <a:gd name="T56" fmla="*/ 22 w 58"/>
                <a:gd name="T57" fmla="*/ 14 h 29"/>
                <a:gd name="T58" fmla="*/ 23 w 58"/>
                <a:gd name="T59" fmla="*/ 14 h 29"/>
                <a:gd name="T60" fmla="*/ 29 w 58"/>
                <a:gd name="T61" fmla="*/ 10 h 29"/>
                <a:gd name="T62" fmla="*/ 31 w 58"/>
                <a:gd name="T63" fmla="*/ 10 h 29"/>
                <a:gd name="T64" fmla="*/ 31 w 58"/>
                <a:gd name="T65" fmla="*/ 9 h 29"/>
                <a:gd name="T66" fmla="*/ 33 w 58"/>
                <a:gd name="T67" fmla="*/ 9 h 29"/>
                <a:gd name="T68" fmla="*/ 34 w 58"/>
                <a:gd name="T69" fmla="*/ 9 h 29"/>
                <a:gd name="T70" fmla="*/ 37 w 58"/>
                <a:gd name="T71" fmla="*/ 13 h 29"/>
                <a:gd name="T72" fmla="*/ 38 w 58"/>
                <a:gd name="T73" fmla="*/ 14 h 29"/>
                <a:gd name="T74" fmla="*/ 44 w 58"/>
                <a:gd name="T75" fmla="*/ 16 h 29"/>
                <a:gd name="T76" fmla="*/ 45 w 58"/>
                <a:gd name="T77" fmla="*/ 16 h 29"/>
                <a:gd name="T78" fmla="*/ 46 w 58"/>
                <a:gd name="T79" fmla="*/ 16 h 29"/>
                <a:gd name="T80" fmla="*/ 46 w 58"/>
                <a:gd name="T81" fmla="*/ 16 h 29"/>
                <a:gd name="T82" fmla="*/ 52 w 58"/>
                <a:gd name="T83" fmla="*/ 12 h 29"/>
                <a:gd name="T84" fmla="*/ 56 w 58"/>
                <a:gd name="T85" fmla="*/ 9 h 29"/>
                <a:gd name="T86" fmla="*/ 57 w 58"/>
                <a:gd name="T87" fmla="*/ 8 h 29"/>
                <a:gd name="T88" fmla="*/ 58 w 58"/>
                <a:gd name="T89" fmla="*/ 8 h 29"/>
                <a:gd name="T90" fmla="*/ 58 w 58"/>
                <a:gd name="T91" fmla="*/ 7 h 29"/>
                <a:gd name="T92" fmla="*/ 57 w 58"/>
                <a:gd name="T93" fmla="*/ 5 h 29"/>
                <a:gd name="T94" fmla="*/ 57 w 58"/>
                <a:gd name="T95" fmla="*/ 5 h 29"/>
                <a:gd name="T96" fmla="*/ 57 w 58"/>
                <a:gd name="T97" fmla="*/ 3 h 29"/>
                <a:gd name="T98" fmla="*/ 57 w 58"/>
                <a:gd name="T9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29">
                  <a:moveTo>
                    <a:pt x="57" y="0"/>
                  </a:moveTo>
                  <a:cubicBezTo>
                    <a:pt x="6" y="0"/>
                    <a:pt x="6" y="0"/>
                    <a:pt x="6" y="0"/>
                  </a:cubicBezTo>
                  <a:cubicBezTo>
                    <a:pt x="6" y="1"/>
                    <a:pt x="6" y="2"/>
                    <a:pt x="6" y="3"/>
                  </a:cubicBezTo>
                  <a:cubicBezTo>
                    <a:pt x="7" y="7"/>
                    <a:pt x="8" y="12"/>
                    <a:pt x="7" y="16"/>
                  </a:cubicBezTo>
                  <a:cubicBezTo>
                    <a:pt x="6" y="16"/>
                    <a:pt x="6" y="17"/>
                    <a:pt x="6" y="17"/>
                  </a:cubicBezTo>
                  <a:cubicBezTo>
                    <a:pt x="5" y="18"/>
                    <a:pt x="4" y="19"/>
                    <a:pt x="3" y="20"/>
                  </a:cubicBezTo>
                  <a:cubicBezTo>
                    <a:pt x="2" y="21"/>
                    <a:pt x="1" y="21"/>
                    <a:pt x="0" y="22"/>
                  </a:cubicBezTo>
                  <a:cubicBezTo>
                    <a:pt x="0" y="22"/>
                    <a:pt x="0" y="22"/>
                    <a:pt x="0" y="22"/>
                  </a:cubicBezTo>
                  <a:cubicBezTo>
                    <a:pt x="1" y="23"/>
                    <a:pt x="1" y="23"/>
                    <a:pt x="2" y="24"/>
                  </a:cubicBezTo>
                  <a:cubicBezTo>
                    <a:pt x="2" y="24"/>
                    <a:pt x="2" y="24"/>
                    <a:pt x="2" y="24"/>
                  </a:cubicBezTo>
                  <a:cubicBezTo>
                    <a:pt x="2" y="24"/>
                    <a:pt x="3" y="24"/>
                    <a:pt x="4" y="24"/>
                  </a:cubicBezTo>
                  <a:cubicBezTo>
                    <a:pt x="5" y="24"/>
                    <a:pt x="6" y="24"/>
                    <a:pt x="7" y="24"/>
                  </a:cubicBezTo>
                  <a:cubicBezTo>
                    <a:pt x="7" y="24"/>
                    <a:pt x="7" y="24"/>
                    <a:pt x="7" y="24"/>
                  </a:cubicBezTo>
                  <a:cubicBezTo>
                    <a:pt x="8" y="24"/>
                    <a:pt x="8" y="24"/>
                    <a:pt x="9" y="24"/>
                  </a:cubicBezTo>
                  <a:cubicBezTo>
                    <a:pt x="11" y="24"/>
                    <a:pt x="12" y="25"/>
                    <a:pt x="14" y="26"/>
                  </a:cubicBezTo>
                  <a:cubicBezTo>
                    <a:pt x="15" y="27"/>
                    <a:pt x="15" y="27"/>
                    <a:pt x="15" y="27"/>
                  </a:cubicBezTo>
                  <a:cubicBezTo>
                    <a:pt x="15" y="28"/>
                    <a:pt x="16" y="28"/>
                    <a:pt x="16" y="29"/>
                  </a:cubicBezTo>
                  <a:cubicBezTo>
                    <a:pt x="16" y="29"/>
                    <a:pt x="16" y="29"/>
                    <a:pt x="16" y="29"/>
                  </a:cubicBezTo>
                  <a:cubicBezTo>
                    <a:pt x="17" y="29"/>
                    <a:pt x="17" y="29"/>
                    <a:pt x="17" y="29"/>
                  </a:cubicBezTo>
                  <a:cubicBezTo>
                    <a:pt x="17" y="29"/>
                    <a:pt x="17" y="29"/>
                    <a:pt x="17" y="29"/>
                  </a:cubicBezTo>
                  <a:cubicBezTo>
                    <a:pt x="18" y="29"/>
                    <a:pt x="18" y="29"/>
                    <a:pt x="18" y="29"/>
                  </a:cubicBezTo>
                  <a:cubicBezTo>
                    <a:pt x="18" y="29"/>
                    <a:pt x="18" y="29"/>
                    <a:pt x="18" y="29"/>
                  </a:cubicBezTo>
                  <a:cubicBezTo>
                    <a:pt x="18" y="29"/>
                    <a:pt x="18" y="29"/>
                    <a:pt x="18" y="29"/>
                  </a:cubicBezTo>
                  <a:cubicBezTo>
                    <a:pt x="18" y="28"/>
                    <a:pt x="18" y="27"/>
                    <a:pt x="16" y="25"/>
                  </a:cubicBezTo>
                  <a:cubicBezTo>
                    <a:pt x="15" y="23"/>
                    <a:pt x="14" y="22"/>
                    <a:pt x="14" y="21"/>
                  </a:cubicBezTo>
                  <a:cubicBezTo>
                    <a:pt x="9" y="12"/>
                    <a:pt x="9" y="12"/>
                    <a:pt x="9" y="12"/>
                  </a:cubicBezTo>
                  <a:cubicBezTo>
                    <a:pt x="19" y="16"/>
                    <a:pt x="19" y="16"/>
                    <a:pt x="19" y="16"/>
                  </a:cubicBezTo>
                  <a:cubicBezTo>
                    <a:pt x="19" y="16"/>
                    <a:pt x="19" y="16"/>
                    <a:pt x="19" y="16"/>
                  </a:cubicBezTo>
                  <a:cubicBezTo>
                    <a:pt x="19" y="16"/>
                    <a:pt x="20" y="16"/>
                    <a:pt x="22" y="14"/>
                  </a:cubicBezTo>
                  <a:cubicBezTo>
                    <a:pt x="23" y="14"/>
                    <a:pt x="23" y="14"/>
                    <a:pt x="23" y="14"/>
                  </a:cubicBezTo>
                  <a:cubicBezTo>
                    <a:pt x="24" y="13"/>
                    <a:pt x="26" y="11"/>
                    <a:pt x="29" y="10"/>
                  </a:cubicBezTo>
                  <a:cubicBezTo>
                    <a:pt x="29" y="10"/>
                    <a:pt x="30" y="10"/>
                    <a:pt x="31" y="10"/>
                  </a:cubicBezTo>
                  <a:cubicBezTo>
                    <a:pt x="31" y="9"/>
                    <a:pt x="31" y="9"/>
                    <a:pt x="31" y="9"/>
                  </a:cubicBezTo>
                  <a:cubicBezTo>
                    <a:pt x="32" y="9"/>
                    <a:pt x="32" y="9"/>
                    <a:pt x="33" y="9"/>
                  </a:cubicBezTo>
                  <a:cubicBezTo>
                    <a:pt x="34" y="9"/>
                    <a:pt x="34" y="9"/>
                    <a:pt x="34" y="9"/>
                  </a:cubicBezTo>
                  <a:cubicBezTo>
                    <a:pt x="36" y="10"/>
                    <a:pt x="37" y="12"/>
                    <a:pt x="37" y="13"/>
                  </a:cubicBezTo>
                  <a:cubicBezTo>
                    <a:pt x="37" y="13"/>
                    <a:pt x="38" y="13"/>
                    <a:pt x="38" y="14"/>
                  </a:cubicBezTo>
                  <a:cubicBezTo>
                    <a:pt x="44" y="16"/>
                    <a:pt x="44" y="16"/>
                    <a:pt x="44" y="16"/>
                  </a:cubicBezTo>
                  <a:cubicBezTo>
                    <a:pt x="45" y="16"/>
                    <a:pt x="45" y="16"/>
                    <a:pt x="45" y="16"/>
                  </a:cubicBezTo>
                  <a:cubicBezTo>
                    <a:pt x="45" y="16"/>
                    <a:pt x="46" y="16"/>
                    <a:pt x="46" y="16"/>
                  </a:cubicBezTo>
                  <a:cubicBezTo>
                    <a:pt x="46" y="16"/>
                    <a:pt x="46" y="16"/>
                    <a:pt x="46" y="16"/>
                  </a:cubicBezTo>
                  <a:cubicBezTo>
                    <a:pt x="48" y="15"/>
                    <a:pt x="50" y="13"/>
                    <a:pt x="52" y="12"/>
                  </a:cubicBezTo>
                  <a:cubicBezTo>
                    <a:pt x="56" y="9"/>
                    <a:pt x="56" y="9"/>
                    <a:pt x="56" y="9"/>
                  </a:cubicBezTo>
                  <a:cubicBezTo>
                    <a:pt x="56" y="9"/>
                    <a:pt x="57" y="9"/>
                    <a:pt x="57" y="8"/>
                  </a:cubicBezTo>
                  <a:cubicBezTo>
                    <a:pt x="58" y="8"/>
                    <a:pt x="58" y="8"/>
                    <a:pt x="58" y="8"/>
                  </a:cubicBezTo>
                  <a:cubicBezTo>
                    <a:pt x="58" y="7"/>
                    <a:pt x="58" y="7"/>
                    <a:pt x="58" y="7"/>
                  </a:cubicBezTo>
                  <a:cubicBezTo>
                    <a:pt x="58" y="6"/>
                    <a:pt x="58" y="6"/>
                    <a:pt x="57" y="5"/>
                  </a:cubicBezTo>
                  <a:cubicBezTo>
                    <a:pt x="57" y="5"/>
                    <a:pt x="57" y="5"/>
                    <a:pt x="57" y="5"/>
                  </a:cubicBezTo>
                  <a:cubicBezTo>
                    <a:pt x="57" y="4"/>
                    <a:pt x="57" y="4"/>
                    <a:pt x="57" y="3"/>
                  </a:cubicBezTo>
                  <a:cubicBezTo>
                    <a:pt x="57" y="2"/>
                    <a:pt x="57" y="1"/>
                    <a:pt x="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6" name="Freeform 1524">
              <a:extLst>
                <a:ext uri="{FF2B5EF4-FFF2-40B4-BE49-F238E27FC236}">
                  <a16:creationId xmlns:a16="http://schemas.microsoft.com/office/drawing/2014/main" id="{3BA7F098-D865-4E32-9AD8-F63DFE2350D5}"/>
                </a:ext>
              </a:extLst>
            </p:cNvPr>
            <p:cNvSpPr>
              <a:spLocks/>
            </p:cNvSpPr>
            <p:nvPr/>
          </p:nvSpPr>
          <p:spPr bwMode="auto">
            <a:xfrm>
              <a:off x="909" y="0"/>
              <a:ext cx="286" cy="331"/>
            </a:xfrm>
            <a:custGeom>
              <a:avLst/>
              <a:gdLst>
                <a:gd name="T0" fmla="*/ 69 w 121"/>
                <a:gd name="T1" fmla="*/ 0 h 140"/>
                <a:gd name="T2" fmla="*/ 67 w 121"/>
                <a:gd name="T3" fmla="*/ 2 h 140"/>
                <a:gd name="T4" fmla="*/ 67 w 121"/>
                <a:gd name="T5" fmla="*/ 4 h 140"/>
                <a:gd name="T6" fmla="*/ 68 w 121"/>
                <a:gd name="T7" fmla="*/ 8 h 140"/>
                <a:gd name="T8" fmla="*/ 68 w 121"/>
                <a:gd name="T9" fmla="*/ 12 h 140"/>
                <a:gd name="T10" fmla="*/ 64 w 121"/>
                <a:gd name="T11" fmla="*/ 23 h 140"/>
                <a:gd name="T12" fmla="*/ 65 w 121"/>
                <a:gd name="T13" fmla="*/ 29 h 140"/>
                <a:gd name="T14" fmla="*/ 66 w 121"/>
                <a:gd name="T15" fmla="*/ 34 h 140"/>
                <a:gd name="T16" fmla="*/ 68 w 121"/>
                <a:gd name="T17" fmla="*/ 40 h 140"/>
                <a:gd name="T18" fmla="*/ 71 w 121"/>
                <a:gd name="T19" fmla="*/ 51 h 140"/>
                <a:gd name="T20" fmla="*/ 68 w 121"/>
                <a:gd name="T21" fmla="*/ 61 h 140"/>
                <a:gd name="T22" fmla="*/ 69 w 121"/>
                <a:gd name="T23" fmla="*/ 67 h 140"/>
                <a:gd name="T24" fmla="*/ 70 w 121"/>
                <a:gd name="T25" fmla="*/ 74 h 140"/>
                <a:gd name="T26" fmla="*/ 70 w 121"/>
                <a:gd name="T27" fmla="*/ 76 h 140"/>
                <a:gd name="T28" fmla="*/ 63 w 121"/>
                <a:gd name="T29" fmla="*/ 85 h 140"/>
                <a:gd name="T30" fmla="*/ 58 w 121"/>
                <a:gd name="T31" fmla="*/ 85 h 140"/>
                <a:gd name="T32" fmla="*/ 56 w 121"/>
                <a:gd name="T33" fmla="*/ 84 h 140"/>
                <a:gd name="T34" fmla="*/ 54 w 121"/>
                <a:gd name="T35" fmla="*/ 88 h 140"/>
                <a:gd name="T36" fmla="*/ 45 w 121"/>
                <a:gd name="T37" fmla="*/ 91 h 140"/>
                <a:gd name="T38" fmla="*/ 37 w 121"/>
                <a:gd name="T39" fmla="*/ 96 h 140"/>
                <a:gd name="T40" fmla="*/ 37 w 121"/>
                <a:gd name="T41" fmla="*/ 99 h 140"/>
                <a:gd name="T42" fmla="*/ 21 w 121"/>
                <a:gd name="T43" fmla="*/ 100 h 140"/>
                <a:gd name="T44" fmla="*/ 19 w 121"/>
                <a:gd name="T45" fmla="*/ 104 h 140"/>
                <a:gd name="T46" fmla="*/ 25 w 121"/>
                <a:gd name="T47" fmla="*/ 114 h 140"/>
                <a:gd name="T48" fmla="*/ 37 w 121"/>
                <a:gd name="T49" fmla="*/ 125 h 140"/>
                <a:gd name="T50" fmla="*/ 29 w 121"/>
                <a:gd name="T51" fmla="*/ 124 h 140"/>
                <a:gd name="T52" fmla="*/ 25 w 121"/>
                <a:gd name="T53" fmla="*/ 129 h 140"/>
                <a:gd name="T54" fmla="*/ 14 w 121"/>
                <a:gd name="T55" fmla="*/ 123 h 140"/>
                <a:gd name="T56" fmla="*/ 12 w 121"/>
                <a:gd name="T57" fmla="*/ 123 h 140"/>
                <a:gd name="T58" fmla="*/ 5 w 121"/>
                <a:gd name="T59" fmla="*/ 124 h 140"/>
                <a:gd name="T60" fmla="*/ 0 w 121"/>
                <a:gd name="T61" fmla="*/ 125 h 140"/>
                <a:gd name="T62" fmla="*/ 23 w 121"/>
                <a:gd name="T63" fmla="*/ 140 h 140"/>
                <a:gd name="T64" fmla="*/ 31 w 121"/>
                <a:gd name="T65" fmla="*/ 139 h 140"/>
                <a:gd name="T66" fmla="*/ 39 w 121"/>
                <a:gd name="T67" fmla="*/ 140 h 140"/>
                <a:gd name="T68" fmla="*/ 40 w 121"/>
                <a:gd name="T69" fmla="*/ 134 h 140"/>
                <a:gd name="T70" fmla="*/ 37 w 121"/>
                <a:gd name="T71" fmla="*/ 132 h 140"/>
                <a:gd name="T72" fmla="*/ 42 w 121"/>
                <a:gd name="T73" fmla="*/ 126 h 140"/>
                <a:gd name="T74" fmla="*/ 47 w 121"/>
                <a:gd name="T75" fmla="*/ 126 h 140"/>
                <a:gd name="T76" fmla="*/ 50 w 121"/>
                <a:gd name="T77" fmla="*/ 134 h 140"/>
                <a:gd name="T78" fmla="*/ 53 w 121"/>
                <a:gd name="T79" fmla="*/ 137 h 140"/>
                <a:gd name="T80" fmla="*/ 53 w 121"/>
                <a:gd name="T81" fmla="*/ 138 h 140"/>
                <a:gd name="T82" fmla="*/ 85 w 121"/>
                <a:gd name="T83" fmla="*/ 121 h 140"/>
                <a:gd name="T84" fmla="*/ 113 w 121"/>
                <a:gd name="T85" fmla="*/ 96 h 140"/>
                <a:gd name="T86" fmla="*/ 116 w 121"/>
                <a:gd name="T87" fmla="*/ 93 h 140"/>
                <a:gd name="T88" fmla="*/ 114 w 121"/>
                <a:gd name="T89" fmla="*/ 82 h 140"/>
                <a:gd name="T90" fmla="*/ 112 w 121"/>
                <a:gd name="T91" fmla="*/ 76 h 140"/>
                <a:gd name="T92" fmla="*/ 117 w 121"/>
                <a:gd name="T93" fmla="*/ 78 h 140"/>
                <a:gd name="T94" fmla="*/ 116 w 121"/>
                <a:gd name="T95" fmla="*/ 76 h 140"/>
                <a:gd name="T96" fmla="*/ 120 w 121"/>
                <a:gd name="T97" fmla="*/ 73 h 140"/>
                <a:gd name="T98" fmla="*/ 119 w 121"/>
                <a:gd name="T99" fmla="*/ 67 h 140"/>
                <a:gd name="T100" fmla="*/ 121 w 121"/>
                <a:gd name="T101" fmla="*/ 64 h 140"/>
                <a:gd name="T102" fmla="*/ 114 w 121"/>
                <a:gd name="T103" fmla="*/ 40 h 140"/>
                <a:gd name="T104" fmla="*/ 115 w 121"/>
                <a:gd name="T105" fmla="*/ 31 h 140"/>
                <a:gd name="T106" fmla="*/ 106 w 121"/>
                <a:gd name="T10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 h="140">
                  <a:moveTo>
                    <a:pt x="106" y="0"/>
                  </a:moveTo>
                  <a:cubicBezTo>
                    <a:pt x="69" y="0"/>
                    <a:pt x="69" y="0"/>
                    <a:pt x="69" y="0"/>
                  </a:cubicBezTo>
                  <a:cubicBezTo>
                    <a:pt x="68" y="0"/>
                    <a:pt x="68" y="0"/>
                    <a:pt x="68" y="0"/>
                  </a:cubicBezTo>
                  <a:cubicBezTo>
                    <a:pt x="68" y="0"/>
                    <a:pt x="67" y="1"/>
                    <a:pt x="67" y="2"/>
                  </a:cubicBezTo>
                  <a:cubicBezTo>
                    <a:pt x="67" y="2"/>
                    <a:pt x="67" y="3"/>
                    <a:pt x="67" y="3"/>
                  </a:cubicBezTo>
                  <a:cubicBezTo>
                    <a:pt x="67" y="4"/>
                    <a:pt x="67" y="4"/>
                    <a:pt x="67" y="4"/>
                  </a:cubicBezTo>
                  <a:cubicBezTo>
                    <a:pt x="68" y="4"/>
                    <a:pt x="68" y="5"/>
                    <a:pt x="68" y="5"/>
                  </a:cubicBezTo>
                  <a:cubicBezTo>
                    <a:pt x="68" y="8"/>
                    <a:pt x="68" y="8"/>
                    <a:pt x="68" y="8"/>
                  </a:cubicBezTo>
                  <a:cubicBezTo>
                    <a:pt x="70" y="10"/>
                    <a:pt x="70" y="10"/>
                    <a:pt x="70" y="10"/>
                  </a:cubicBezTo>
                  <a:cubicBezTo>
                    <a:pt x="68" y="12"/>
                    <a:pt x="68" y="12"/>
                    <a:pt x="68" y="12"/>
                  </a:cubicBezTo>
                  <a:cubicBezTo>
                    <a:pt x="68" y="13"/>
                    <a:pt x="68" y="13"/>
                    <a:pt x="68" y="13"/>
                  </a:cubicBezTo>
                  <a:cubicBezTo>
                    <a:pt x="67" y="17"/>
                    <a:pt x="65" y="20"/>
                    <a:pt x="64" y="23"/>
                  </a:cubicBezTo>
                  <a:cubicBezTo>
                    <a:pt x="63" y="27"/>
                    <a:pt x="63" y="27"/>
                    <a:pt x="63" y="27"/>
                  </a:cubicBezTo>
                  <a:cubicBezTo>
                    <a:pt x="63" y="28"/>
                    <a:pt x="64" y="28"/>
                    <a:pt x="65" y="29"/>
                  </a:cubicBezTo>
                  <a:cubicBezTo>
                    <a:pt x="65" y="30"/>
                    <a:pt x="65" y="30"/>
                    <a:pt x="65" y="30"/>
                  </a:cubicBezTo>
                  <a:cubicBezTo>
                    <a:pt x="66" y="31"/>
                    <a:pt x="67" y="33"/>
                    <a:pt x="66" y="34"/>
                  </a:cubicBezTo>
                  <a:cubicBezTo>
                    <a:pt x="66" y="36"/>
                    <a:pt x="67" y="37"/>
                    <a:pt x="67" y="38"/>
                  </a:cubicBezTo>
                  <a:cubicBezTo>
                    <a:pt x="68" y="40"/>
                    <a:pt x="68" y="40"/>
                    <a:pt x="68" y="40"/>
                  </a:cubicBezTo>
                  <a:cubicBezTo>
                    <a:pt x="70" y="43"/>
                    <a:pt x="72" y="46"/>
                    <a:pt x="71" y="49"/>
                  </a:cubicBezTo>
                  <a:cubicBezTo>
                    <a:pt x="71" y="51"/>
                    <a:pt x="71" y="51"/>
                    <a:pt x="71" y="51"/>
                  </a:cubicBezTo>
                  <a:cubicBezTo>
                    <a:pt x="70" y="53"/>
                    <a:pt x="69" y="57"/>
                    <a:pt x="69" y="59"/>
                  </a:cubicBezTo>
                  <a:cubicBezTo>
                    <a:pt x="68" y="61"/>
                    <a:pt x="68" y="61"/>
                    <a:pt x="68" y="61"/>
                  </a:cubicBezTo>
                  <a:cubicBezTo>
                    <a:pt x="68" y="62"/>
                    <a:pt x="69" y="65"/>
                    <a:pt x="69" y="66"/>
                  </a:cubicBezTo>
                  <a:cubicBezTo>
                    <a:pt x="69" y="67"/>
                    <a:pt x="69" y="67"/>
                    <a:pt x="69" y="67"/>
                  </a:cubicBezTo>
                  <a:cubicBezTo>
                    <a:pt x="69" y="69"/>
                    <a:pt x="70" y="72"/>
                    <a:pt x="70" y="74"/>
                  </a:cubicBezTo>
                  <a:cubicBezTo>
                    <a:pt x="70" y="74"/>
                    <a:pt x="70" y="74"/>
                    <a:pt x="70" y="74"/>
                  </a:cubicBezTo>
                  <a:cubicBezTo>
                    <a:pt x="77" y="75"/>
                    <a:pt x="77" y="75"/>
                    <a:pt x="77" y="75"/>
                  </a:cubicBezTo>
                  <a:cubicBezTo>
                    <a:pt x="70" y="76"/>
                    <a:pt x="70" y="76"/>
                    <a:pt x="70" y="76"/>
                  </a:cubicBezTo>
                  <a:cubicBezTo>
                    <a:pt x="70" y="77"/>
                    <a:pt x="70" y="77"/>
                    <a:pt x="69" y="78"/>
                  </a:cubicBezTo>
                  <a:cubicBezTo>
                    <a:pt x="69" y="83"/>
                    <a:pt x="66" y="85"/>
                    <a:pt x="63" y="85"/>
                  </a:cubicBezTo>
                  <a:cubicBezTo>
                    <a:pt x="63" y="85"/>
                    <a:pt x="62" y="86"/>
                    <a:pt x="62" y="86"/>
                  </a:cubicBezTo>
                  <a:cubicBezTo>
                    <a:pt x="60" y="86"/>
                    <a:pt x="59" y="85"/>
                    <a:pt x="58" y="85"/>
                  </a:cubicBezTo>
                  <a:cubicBezTo>
                    <a:pt x="57" y="85"/>
                    <a:pt x="57" y="84"/>
                    <a:pt x="56" y="84"/>
                  </a:cubicBezTo>
                  <a:cubicBezTo>
                    <a:pt x="56" y="84"/>
                    <a:pt x="56" y="84"/>
                    <a:pt x="56" y="84"/>
                  </a:cubicBezTo>
                  <a:cubicBezTo>
                    <a:pt x="56" y="85"/>
                    <a:pt x="55" y="86"/>
                    <a:pt x="55" y="86"/>
                  </a:cubicBezTo>
                  <a:cubicBezTo>
                    <a:pt x="54" y="88"/>
                    <a:pt x="54" y="88"/>
                    <a:pt x="54" y="88"/>
                  </a:cubicBezTo>
                  <a:cubicBezTo>
                    <a:pt x="52" y="90"/>
                    <a:pt x="48" y="90"/>
                    <a:pt x="46" y="91"/>
                  </a:cubicBezTo>
                  <a:cubicBezTo>
                    <a:pt x="45" y="91"/>
                    <a:pt x="45" y="91"/>
                    <a:pt x="45" y="91"/>
                  </a:cubicBezTo>
                  <a:cubicBezTo>
                    <a:pt x="42" y="91"/>
                    <a:pt x="39" y="92"/>
                    <a:pt x="36" y="93"/>
                  </a:cubicBezTo>
                  <a:cubicBezTo>
                    <a:pt x="36" y="94"/>
                    <a:pt x="36" y="95"/>
                    <a:pt x="37" y="96"/>
                  </a:cubicBezTo>
                  <a:cubicBezTo>
                    <a:pt x="37" y="97"/>
                    <a:pt x="37" y="97"/>
                    <a:pt x="37" y="97"/>
                  </a:cubicBezTo>
                  <a:cubicBezTo>
                    <a:pt x="37" y="98"/>
                    <a:pt x="37" y="99"/>
                    <a:pt x="37" y="99"/>
                  </a:cubicBezTo>
                  <a:cubicBezTo>
                    <a:pt x="37" y="104"/>
                    <a:pt x="37" y="104"/>
                    <a:pt x="37" y="104"/>
                  </a:cubicBezTo>
                  <a:cubicBezTo>
                    <a:pt x="21" y="100"/>
                    <a:pt x="21" y="100"/>
                    <a:pt x="21" y="100"/>
                  </a:cubicBezTo>
                  <a:cubicBezTo>
                    <a:pt x="20" y="101"/>
                    <a:pt x="19" y="102"/>
                    <a:pt x="19" y="102"/>
                  </a:cubicBezTo>
                  <a:cubicBezTo>
                    <a:pt x="19" y="104"/>
                    <a:pt x="19" y="104"/>
                    <a:pt x="19" y="104"/>
                  </a:cubicBezTo>
                  <a:cubicBezTo>
                    <a:pt x="19" y="107"/>
                    <a:pt x="20" y="109"/>
                    <a:pt x="21" y="110"/>
                  </a:cubicBezTo>
                  <a:cubicBezTo>
                    <a:pt x="22" y="112"/>
                    <a:pt x="23" y="113"/>
                    <a:pt x="25" y="114"/>
                  </a:cubicBezTo>
                  <a:cubicBezTo>
                    <a:pt x="26" y="115"/>
                    <a:pt x="28" y="116"/>
                    <a:pt x="29" y="117"/>
                  </a:cubicBezTo>
                  <a:cubicBezTo>
                    <a:pt x="37" y="125"/>
                    <a:pt x="37" y="125"/>
                    <a:pt x="37" y="125"/>
                  </a:cubicBezTo>
                  <a:cubicBezTo>
                    <a:pt x="29" y="124"/>
                    <a:pt x="29" y="124"/>
                    <a:pt x="29" y="124"/>
                  </a:cubicBezTo>
                  <a:cubicBezTo>
                    <a:pt x="29" y="124"/>
                    <a:pt x="29" y="124"/>
                    <a:pt x="29" y="124"/>
                  </a:cubicBezTo>
                  <a:cubicBezTo>
                    <a:pt x="31" y="130"/>
                    <a:pt x="31" y="130"/>
                    <a:pt x="31" y="130"/>
                  </a:cubicBezTo>
                  <a:cubicBezTo>
                    <a:pt x="25" y="129"/>
                    <a:pt x="25" y="129"/>
                    <a:pt x="25" y="129"/>
                  </a:cubicBezTo>
                  <a:cubicBezTo>
                    <a:pt x="21" y="128"/>
                    <a:pt x="18" y="126"/>
                    <a:pt x="15" y="124"/>
                  </a:cubicBezTo>
                  <a:cubicBezTo>
                    <a:pt x="14" y="123"/>
                    <a:pt x="14" y="123"/>
                    <a:pt x="14" y="123"/>
                  </a:cubicBezTo>
                  <a:cubicBezTo>
                    <a:pt x="14" y="123"/>
                    <a:pt x="14" y="123"/>
                    <a:pt x="14" y="123"/>
                  </a:cubicBezTo>
                  <a:cubicBezTo>
                    <a:pt x="14" y="123"/>
                    <a:pt x="14" y="123"/>
                    <a:pt x="12" y="123"/>
                  </a:cubicBezTo>
                  <a:cubicBezTo>
                    <a:pt x="12" y="123"/>
                    <a:pt x="11" y="123"/>
                    <a:pt x="11" y="123"/>
                  </a:cubicBezTo>
                  <a:cubicBezTo>
                    <a:pt x="9" y="123"/>
                    <a:pt x="7" y="124"/>
                    <a:pt x="5" y="124"/>
                  </a:cubicBezTo>
                  <a:cubicBezTo>
                    <a:pt x="5" y="124"/>
                    <a:pt x="5" y="124"/>
                    <a:pt x="5" y="124"/>
                  </a:cubicBezTo>
                  <a:cubicBezTo>
                    <a:pt x="3" y="124"/>
                    <a:pt x="2" y="125"/>
                    <a:pt x="0" y="125"/>
                  </a:cubicBezTo>
                  <a:cubicBezTo>
                    <a:pt x="5" y="129"/>
                    <a:pt x="9" y="133"/>
                    <a:pt x="14" y="138"/>
                  </a:cubicBezTo>
                  <a:cubicBezTo>
                    <a:pt x="16" y="139"/>
                    <a:pt x="19" y="140"/>
                    <a:pt x="23" y="140"/>
                  </a:cubicBezTo>
                  <a:cubicBezTo>
                    <a:pt x="25" y="140"/>
                    <a:pt x="27" y="140"/>
                    <a:pt x="29" y="139"/>
                  </a:cubicBezTo>
                  <a:cubicBezTo>
                    <a:pt x="30" y="139"/>
                    <a:pt x="30" y="139"/>
                    <a:pt x="31" y="139"/>
                  </a:cubicBezTo>
                  <a:cubicBezTo>
                    <a:pt x="33" y="139"/>
                    <a:pt x="36" y="140"/>
                    <a:pt x="39" y="140"/>
                  </a:cubicBezTo>
                  <a:cubicBezTo>
                    <a:pt x="39" y="140"/>
                    <a:pt x="39" y="140"/>
                    <a:pt x="39" y="140"/>
                  </a:cubicBezTo>
                  <a:cubicBezTo>
                    <a:pt x="46" y="140"/>
                    <a:pt x="43" y="138"/>
                    <a:pt x="38" y="136"/>
                  </a:cubicBezTo>
                  <a:cubicBezTo>
                    <a:pt x="39" y="135"/>
                    <a:pt x="39" y="135"/>
                    <a:pt x="40" y="134"/>
                  </a:cubicBezTo>
                  <a:cubicBezTo>
                    <a:pt x="40" y="134"/>
                    <a:pt x="40" y="134"/>
                    <a:pt x="40" y="134"/>
                  </a:cubicBezTo>
                  <a:cubicBezTo>
                    <a:pt x="37" y="132"/>
                    <a:pt x="37" y="132"/>
                    <a:pt x="37" y="132"/>
                  </a:cubicBezTo>
                  <a:cubicBezTo>
                    <a:pt x="39" y="130"/>
                    <a:pt x="39" y="130"/>
                    <a:pt x="39" y="130"/>
                  </a:cubicBezTo>
                  <a:cubicBezTo>
                    <a:pt x="42" y="126"/>
                    <a:pt x="42" y="126"/>
                    <a:pt x="42" y="126"/>
                  </a:cubicBezTo>
                  <a:cubicBezTo>
                    <a:pt x="44" y="128"/>
                    <a:pt x="44" y="128"/>
                    <a:pt x="44" y="128"/>
                  </a:cubicBezTo>
                  <a:cubicBezTo>
                    <a:pt x="47" y="126"/>
                    <a:pt x="47" y="126"/>
                    <a:pt x="47" y="126"/>
                  </a:cubicBezTo>
                  <a:cubicBezTo>
                    <a:pt x="47" y="128"/>
                    <a:pt x="47" y="129"/>
                    <a:pt x="46" y="131"/>
                  </a:cubicBezTo>
                  <a:cubicBezTo>
                    <a:pt x="48" y="132"/>
                    <a:pt x="49" y="133"/>
                    <a:pt x="50" y="134"/>
                  </a:cubicBezTo>
                  <a:cubicBezTo>
                    <a:pt x="50" y="132"/>
                    <a:pt x="50" y="131"/>
                    <a:pt x="50" y="130"/>
                  </a:cubicBezTo>
                  <a:cubicBezTo>
                    <a:pt x="51" y="134"/>
                    <a:pt x="49" y="135"/>
                    <a:pt x="53" y="137"/>
                  </a:cubicBezTo>
                  <a:cubicBezTo>
                    <a:pt x="53" y="137"/>
                    <a:pt x="51" y="138"/>
                    <a:pt x="52" y="138"/>
                  </a:cubicBezTo>
                  <a:cubicBezTo>
                    <a:pt x="52" y="138"/>
                    <a:pt x="52" y="138"/>
                    <a:pt x="53" y="138"/>
                  </a:cubicBezTo>
                  <a:cubicBezTo>
                    <a:pt x="55" y="138"/>
                    <a:pt x="60" y="135"/>
                    <a:pt x="62" y="134"/>
                  </a:cubicBezTo>
                  <a:cubicBezTo>
                    <a:pt x="70" y="130"/>
                    <a:pt x="77" y="125"/>
                    <a:pt x="85" y="121"/>
                  </a:cubicBezTo>
                  <a:cubicBezTo>
                    <a:pt x="93" y="116"/>
                    <a:pt x="103" y="113"/>
                    <a:pt x="107" y="105"/>
                  </a:cubicBezTo>
                  <a:cubicBezTo>
                    <a:pt x="108" y="103"/>
                    <a:pt x="116" y="98"/>
                    <a:pt x="113" y="96"/>
                  </a:cubicBezTo>
                  <a:cubicBezTo>
                    <a:pt x="110" y="94"/>
                    <a:pt x="112" y="89"/>
                    <a:pt x="113" y="86"/>
                  </a:cubicBezTo>
                  <a:cubicBezTo>
                    <a:pt x="113" y="88"/>
                    <a:pt x="114" y="91"/>
                    <a:pt x="116" y="93"/>
                  </a:cubicBezTo>
                  <a:cubicBezTo>
                    <a:pt x="116" y="91"/>
                    <a:pt x="114" y="91"/>
                    <a:pt x="114" y="90"/>
                  </a:cubicBezTo>
                  <a:cubicBezTo>
                    <a:pt x="114" y="87"/>
                    <a:pt x="115" y="84"/>
                    <a:pt x="114" y="82"/>
                  </a:cubicBezTo>
                  <a:cubicBezTo>
                    <a:pt x="114" y="80"/>
                    <a:pt x="112" y="78"/>
                    <a:pt x="112" y="77"/>
                  </a:cubicBezTo>
                  <a:cubicBezTo>
                    <a:pt x="112" y="77"/>
                    <a:pt x="112" y="76"/>
                    <a:pt x="112" y="76"/>
                  </a:cubicBezTo>
                  <a:cubicBezTo>
                    <a:pt x="113" y="76"/>
                    <a:pt x="114" y="77"/>
                    <a:pt x="115" y="77"/>
                  </a:cubicBezTo>
                  <a:cubicBezTo>
                    <a:pt x="116" y="77"/>
                    <a:pt x="117" y="78"/>
                    <a:pt x="117" y="78"/>
                  </a:cubicBezTo>
                  <a:cubicBezTo>
                    <a:pt x="117" y="78"/>
                    <a:pt x="117" y="78"/>
                    <a:pt x="117" y="78"/>
                  </a:cubicBezTo>
                  <a:cubicBezTo>
                    <a:pt x="117" y="78"/>
                    <a:pt x="116" y="77"/>
                    <a:pt x="116" y="76"/>
                  </a:cubicBezTo>
                  <a:cubicBezTo>
                    <a:pt x="116" y="71"/>
                    <a:pt x="112" y="70"/>
                    <a:pt x="118" y="66"/>
                  </a:cubicBezTo>
                  <a:cubicBezTo>
                    <a:pt x="118" y="68"/>
                    <a:pt x="119" y="71"/>
                    <a:pt x="120" y="73"/>
                  </a:cubicBezTo>
                  <a:cubicBezTo>
                    <a:pt x="121" y="70"/>
                    <a:pt x="120" y="71"/>
                    <a:pt x="119" y="69"/>
                  </a:cubicBezTo>
                  <a:cubicBezTo>
                    <a:pt x="119" y="68"/>
                    <a:pt x="119" y="68"/>
                    <a:pt x="119" y="67"/>
                  </a:cubicBezTo>
                  <a:cubicBezTo>
                    <a:pt x="119" y="66"/>
                    <a:pt x="118" y="65"/>
                    <a:pt x="119" y="65"/>
                  </a:cubicBezTo>
                  <a:cubicBezTo>
                    <a:pt x="121" y="64"/>
                    <a:pt x="121" y="64"/>
                    <a:pt x="121" y="64"/>
                  </a:cubicBezTo>
                  <a:cubicBezTo>
                    <a:pt x="120" y="60"/>
                    <a:pt x="119" y="56"/>
                    <a:pt x="118" y="52"/>
                  </a:cubicBezTo>
                  <a:cubicBezTo>
                    <a:pt x="116" y="48"/>
                    <a:pt x="115" y="44"/>
                    <a:pt x="114" y="40"/>
                  </a:cubicBezTo>
                  <a:cubicBezTo>
                    <a:pt x="114" y="38"/>
                    <a:pt x="116" y="36"/>
                    <a:pt x="116" y="35"/>
                  </a:cubicBezTo>
                  <a:cubicBezTo>
                    <a:pt x="116" y="34"/>
                    <a:pt x="115" y="32"/>
                    <a:pt x="115" y="31"/>
                  </a:cubicBezTo>
                  <a:cubicBezTo>
                    <a:pt x="114" y="23"/>
                    <a:pt x="111" y="15"/>
                    <a:pt x="108" y="8"/>
                  </a:cubicBezTo>
                  <a:cubicBezTo>
                    <a:pt x="107" y="5"/>
                    <a:pt x="106" y="3"/>
                    <a:pt x="10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7" name="Freeform 1525">
              <a:extLst>
                <a:ext uri="{FF2B5EF4-FFF2-40B4-BE49-F238E27FC236}">
                  <a16:creationId xmlns:a16="http://schemas.microsoft.com/office/drawing/2014/main" id="{0AFC2B14-EFD7-4465-A7D4-8354BE27D80D}"/>
                </a:ext>
              </a:extLst>
            </p:cNvPr>
            <p:cNvSpPr>
              <a:spLocks/>
            </p:cNvSpPr>
            <p:nvPr/>
          </p:nvSpPr>
          <p:spPr bwMode="auto">
            <a:xfrm>
              <a:off x="854" y="296"/>
              <a:ext cx="116" cy="151"/>
            </a:xfrm>
            <a:custGeom>
              <a:avLst/>
              <a:gdLst>
                <a:gd name="T0" fmla="*/ 22 w 49"/>
                <a:gd name="T1" fmla="*/ 0 h 64"/>
                <a:gd name="T2" fmla="*/ 19 w 49"/>
                <a:gd name="T3" fmla="*/ 0 h 64"/>
                <a:gd name="T4" fmla="*/ 18 w 49"/>
                <a:gd name="T5" fmla="*/ 0 h 64"/>
                <a:gd name="T6" fmla="*/ 18 w 49"/>
                <a:gd name="T7" fmla="*/ 1 h 64"/>
                <a:gd name="T8" fmla="*/ 7 w 49"/>
                <a:gd name="T9" fmla="*/ 11 h 64"/>
                <a:gd name="T10" fmla="*/ 0 w 49"/>
                <a:gd name="T11" fmla="*/ 14 h 64"/>
                <a:gd name="T12" fmla="*/ 3 w 49"/>
                <a:gd name="T13" fmla="*/ 19 h 64"/>
                <a:gd name="T14" fmla="*/ 17 w 49"/>
                <a:gd name="T15" fmla="*/ 27 h 64"/>
                <a:gd name="T16" fmla="*/ 16 w 49"/>
                <a:gd name="T17" fmla="*/ 26 h 64"/>
                <a:gd name="T18" fmla="*/ 11 w 49"/>
                <a:gd name="T19" fmla="*/ 29 h 64"/>
                <a:gd name="T20" fmla="*/ 9 w 49"/>
                <a:gd name="T21" fmla="*/ 47 h 64"/>
                <a:gd name="T22" fmla="*/ 11 w 49"/>
                <a:gd name="T23" fmla="*/ 62 h 64"/>
                <a:gd name="T24" fmla="*/ 13 w 49"/>
                <a:gd name="T25" fmla="*/ 61 h 64"/>
                <a:gd name="T26" fmla="*/ 6 w 49"/>
                <a:gd name="T27" fmla="*/ 64 h 64"/>
                <a:gd name="T28" fmla="*/ 20 w 49"/>
                <a:gd name="T29" fmla="*/ 61 h 64"/>
                <a:gd name="T30" fmla="*/ 25 w 49"/>
                <a:gd name="T31" fmla="*/ 55 h 64"/>
                <a:gd name="T32" fmla="*/ 42 w 49"/>
                <a:gd name="T33" fmla="*/ 44 h 64"/>
                <a:gd name="T34" fmla="*/ 46 w 49"/>
                <a:gd name="T35" fmla="*/ 37 h 64"/>
                <a:gd name="T36" fmla="*/ 40 w 49"/>
                <a:gd name="T37" fmla="*/ 26 h 64"/>
                <a:gd name="T38" fmla="*/ 38 w 49"/>
                <a:gd name="T39" fmla="*/ 22 h 64"/>
                <a:gd name="T40" fmla="*/ 38 w 49"/>
                <a:gd name="T41" fmla="*/ 22 h 64"/>
                <a:gd name="T42" fmla="*/ 33 w 49"/>
                <a:gd name="T43" fmla="*/ 18 h 64"/>
                <a:gd name="T44" fmla="*/ 33 w 49"/>
                <a:gd name="T45" fmla="*/ 18 h 64"/>
                <a:gd name="T46" fmla="*/ 26 w 49"/>
                <a:gd name="T47" fmla="*/ 11 h 64"/>
                <a:gd name="T48" fmla="*/ 22 w 49"/>
                <a:gd name="T49" fmla="*/ 7 h 64"/>
                <a:gd name="T50" fmla="*/ 23 w 49"/>
                <a:gd name="T51" fmla="*/ 7 h 64"/>
                <a:gd name="T52" fmla="*/ 23 w 49"/>
                <a:gd name="T53" fmla="*/ 7 h 64"/>
                <a:gd name="T54" fmla="*/ 22 w 49"/>
                <a:gd name="T5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64">
                  <a:moveTo>
                    <a:pt x="22" y="0"/>
                  </a:moveTo>
                  <a:cubicBezTo>
                    <a:pt x="21" y="0"/>
                    <a:pt x="20" y="0"/>
                    <a:pt x="19" y="0"/>
                  </a:cubicBezTo>
                  <a:cubicBezTo>
                    <a:pt x="19" y="0"/>
                    <a:pt x="19" y="0"/>
                    <a:pt x="18" y="0"/>
                  </a:cubicBezTo>
                  <a:cubicBezTo>
                    <a:pt x="18" y="1"/>
                    <a:pt x="18" y="1"/>
                    <a:pt x="18" y="1"/>
                  </a:cubicBezTo>
                  <a:cubicBezTo>
                    <a:pt x="19" y="5"/>
                    <a:pt x="12" y="10"/>
                    <a:pt x="7" y="11"/>
                  </a:cubicBezTo>
                  <a:cubicBezTo>
                    <a:pt x="3" y="12"/>
                    <a:pt x="1" y="14"/>
                    <a:pt x="0" y="14"/>
                  </a:cubicBezTo>
                  <a:cubicBezTo>
                    <a:pt x="1" y="16"/>
                    <a:pt x="2" y="18"/>
                    <a:pt x="3" y="19"/>
                  </a:cubicBezTo>
                  <a:cubicBezTo>
                    <a:pt x="7" y="21"/>
                    <a:pt x="18" y="21"/>
                    <a:pt x="17" y="27"/>
                  </a:cubicBezTo>
                  <a:cubicBezTo>
                    <a:pt x="17" y="26"/>
                    <a:pt x="17" y="26"/>
                    <a:pt x="16" y="26"/>
                  </a:cubicBezTo>
                  <a:cubicBezTo>
                    <a:pt x="14" y="26"/>
                    <a:pt x="12" y="28"/>
                    <a:pt x="11" y="29"/>
                  </a:cubicBezTo>
                  <a:cubicBezTo>
                    <a:pt x="8" y="34"/>
                    <a:pt x="9" y="42"/>
                    <a:pt x="9" y="47"/>
                  </a:cubicBezTo>
                  <a:cubicBezTo>
                    <a:pt x="9" y="50"/>
                    <a:pt x="6" y="62"/>
                    <a:pt x="11" y="62"/>
                  </a:cubicBezTo>
                  <a:cubicBezTo>
                    <a:pt x="12" y="62"/>
                    <a:pt x="12" y="61"/>
                    <a:pt x="13" y="61"/>
                  </a:cubicBezTo>
                  <a:cubicBezTo>
                    <a:pt x="10" y="62"/>
                    <a:pt x="9" y="63"/>
                    <a:pt x="6" y="64"/>
                  </a:cubicBezTo>
                  <a:cubicBezTo>
                    <a:pt x="13" y="64"/>
                    <a:pt x="16" y="64"/>
                    <a:pt x="20" y="61"/>
                  </a:cubicBezTo>
                  <a:cubicBezTo>
                    <a:pt x="23" y="59"/>
                    <a:pt x="24" y="58"/>
                    <a:pt x="25" y="55"/>
                  </a:cubicBezTo>
                  <a:cubicBezTo>
                    <a:pt x="28" y="48"/>
                    <a:pt x="37" y="47"/>
                    <a:pt x="42" y="44"/>
                  </a:cubicBezTo>
                  <a:cubicBezTo>
                    <a:pt x="47" y="41"/>
                    <a:pt x="49" y="42"/>
                    <a:pt x="46" y="37"/>
                  </a:cubicBezTo>
                  <a:cubicBezTo>
                    <a:pt x="44" y="34"/>
                    <a:pt x="42" y="30"/>
                    <a:pt x="40" y="26"/>
                  </a:cubicBezTo>
                  <a:cubicBezTo>
                    <a:pt x="40" y="25"/>
                    <a:pt x="39" y="23"/>
                    <a:pt x="38" y="22"/>
                  </a:cubicBezTo>
                  <a:cubicBezTo>
                    <a:pt x="38" y="22"/>
                    <a:pt x="38" y="22"/>
                    <a:pt x="38" y="22"/>
                  </a:cubicBezTo>
                  <a:cubicBezTo>
                    <a:pt x="36" y="21"/>
                    <a:pt x="35" y="19"/>
                    <a:pt x="33" y="18"/>
                  </a:cubicBezTo>
                  <a:cubicBezTo>
                    <a:pt x="33" y="18"/>
                    <a:pt x="33" y="18"/>
                    <a:pt x="33" y="18"/>
                  </a:cubicBezTo>
                  <a:cubicBezTo>
                    <a:pt x="30" y="16"/>
                    <a:pt x="28" y="13"/>
                    <a:pt x="26" y="11"/>
                  </a:cubicBezTo>
                  <a:cubicBezTo>
                    <a:pt x="24" y="9"/>
                    <a:pt x="23" y="8"/>
                    <a:pt x="22" y="7"/>
                  </a:cubicBezTo>
                  <a:cubicBezTo>
                    <a:pt x="22" y="7"/>
                    <a:pt x="23" y="7"/>
                    <a:pt x="23" y="7"/>
                  </a:cubicBezTo>
                  <a:cubicBezTo>
                    <a:pt x="23" y="7"/>
                    <a:pt x="23" y="7"/>
                    <a:pt x="23" y="7"/>
                  </a:cubicBezTo>
                  <a:cubicBezTo>
                    <a:pt x="26" y="7"/>
                    <a:pt x="24" y="3"/>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8" name="Freeform 1526">
              <a:extLst>
                <a:ext uri="{FF2B5EF4-FFF2-40B4-BE49-F238E27FC236}">
                  <a16:creationId xmlns:a16="http://schemas.microsoft.com/office/drawing/2014/main" id="{80A9CA28-EA77-4C9F-9735-CBF37F9923BE}"/>
                </a:ext>
              </a:extLst>
            </p:cNvPr>
            <p:cNvSpPr>
              <a:spLocks/>
            </p:cNvSpPr>
            <p:nvPr/>
          </p:nvSpPr>
          <p:spPr bwMode="auto">
            <a:xfrm>
              <a:off x="743" y="230"/>
              <a:ext cx="3" cy="7"/>
            </a:xfrm>
            <a:custGeom>
              <a:avLst/>
              <a:gdLst>
                <a:gd name="T0" fmla="*/ 0 w 1"/>
                <a:gd name="T1" fmla="*/ 0 h 3"/>
                <a:gd name="T2" fmla="*/ 0 w 1"/>
                <a:gd name="T3" fmla="*/ 0 h 3"/>
                <a:gd name="T4" fmla="*/ 0 w 1"/>
                <a:gd name="T5" fmla="*/ 0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0" y="0"/>
                    <a:pt x="0" y="0"/>
                    <a:pt x="0" y="0"/>
                  </a:cubicBezTo>
                  <a:cubicBezTo>
                    <a:pt x="0" y="1"/>
                    <a:pt x="0" y="2"/>
                    <a:pt x="1" y="3"/>
                  </a:cubicBezTo>
                  <a:cubicBezTo>
                    <a:pt x="1" y="2"/>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9" name="Freeform 1527">
              <a:extLst>
                <a:ext uri="{FF2B5EF4-FFF2-40B4-BE49-F238E27FC236}">
                  <a16:creationId xmlns:a16="http://schemas.microsoft.com/office/drawing/2014/main" id="{FEB31F2B-A8F9-4112-9FF1-1E8E8C0F4F77}"/>
                </a:ext>
              </a:extLst>
            </p:cNvPr>
            <p:cNvSpPr>
              <a:spLocks noEditPoints="1"/>
            </p:cNvSpPr>
            <p:nvPr/>
          </p:nvSpPr>
          <p:spPr bwMode="auto">
            <a:xfrm>
              <a:off x="713" y="41"/>
              <a:ext cx="347" cy="276"/>
            </a:xfrm>
            <a:custGeom>
              <a:avLst/>
              <a:gdLst>
                <a:gd name="T0" fmla="*/ 16 w 147"/>
                <a:gd name="T1" fmla="*/ 86 h 117"/>
                <a:gd name="T2" fmla="*/ 112 w 147"/>
                <a:gd name="T3" fmla="*/ 3 h 117"/>
                <a:gd name="T4" fmla="*/ 112 w 147"/>
                <a:gd name="T5" fmla="*/ 12 h 117"/>
                <a:gd name="T6" fmla="*/ 105 w 147"/>
                <a:gd name="T7" fmla="*/ 23 h 117"/>
                <a:gd name="T8" fmla="*/ 101 w 147"/>
                <a:gd name="T9" fmla="*/ 19 h 117"/>
                <a:gd name="T10" fmla="*/ 97 w 147"/>
                <a:gd name="T11" fmla="*/ 17 h 117"/>
                <a:gd name="T12" fmla="*/ 94 w 147"/>
                <a:gd name="T13" fmla="*/ 14 h 117"/>
                <a:gd name="T14" fmla="*/ 91 w 147"/>
                <a:gd name="T15" fmla="*/ 14 h 117"/>
                <a:gd name="T16" fmla="*/ 87 w 147"/>
                <a:gd name="T17" fmla="*/ 14 h 117"/>
                <a:gd name="T18" fmla="*/ 80 w 147"/>
                <a:gd name="T19" fmla="*/ 9 h 117"/>
                <a:gd name="T20" fmla="*/ 72 w 147"/>
                <a:gd name="T21" fmla="*/ 6 h 117"/>
                <a:gd name="T22" fmla="*/ 71 w 147"/>
                <a:gd name="T23" fmla="*/ 5 h 117"/>
                <a:gd name="T24" fmla="*/ 64 w 147"/>
                <a:gd name="T25" fmla="*/ 6 h 117"/>
                <a:gd name="T26" fmla="*/ 51 w 147"/>
                <a:gd name="T27" fmla="*/ 6 h 117"/>
                <a:gd name="T28" fmla="*/ 33 w 147"/>
                <a:gd name="T29" fmla="*/ 6 h 117"/>
                <a:gd name="T30" fmla="*/ 18 w 147"/>
                <a:gd name="T31" fmla="*/ 10 h 117"/>
                <a:gd name="T32" fmla="*/ 4 w 147"/>
                <a:gd name="T33" fmla="*/ 28 h 117"/>
                <a:gd name="T34" fmla="*/ 3 w 147"/>
                <a:gd name="T35" fmla="*/ 38 h 117"/>
                <a:gd name="T36" fmla="*/ 6 w 147"/>
                <a:gd name="T37" fmla="*/ 48 h 117"/>
                <a:gd name="T38" fmla="*/ 8 w 147"/>
                <a:gd name="T39" fmla="*/ 54 h 117"/>
                <a:gd name="T40" fmla="*/ 13 w 147"/>
                <a:gd name="T41" fmla="*/ 60 h 117"/>
                <a:gd name="T42" fmla="*/ 13 w 147"/>
                <a:gd name="T43" fmla="*/ 64 h 117"/>
                <a:gd name="T44" fmla="*/ 15 w 147"/>
                <a:gd name="T45" fmla="*/ 79 h 117"/>
                <a:gd name="T46" fmla="*/ 20 w 147"/>
                <a:gd name="T47" fmla="*/ 94 h 117"/>
                <a:gd name="T48" fmla="*/ 28 w 147"/>
                <a:gd name="T49" fmla="*/ 105 h 117"/>
                <a:gd name="T50" fmla="*/ 33 w 147"/>
                <a:gd name="T51" fmla="*/ 111 h 117"/>
                <a:gd name="T52" fmla="*/ 55 w 147"/>
                <a:gd name="T53" fmla="*/ 117 h 117"/>
                <a:gd name="T54" fmla="*/ 65 w 147"/>
                <a:gd name="T55" fmla="*/ 112 h 117"/>
                <a:gd name="T56" fmla="*/ 75 w 147"/>
                <a:gd name="T57" fmla="*/ 101 h 117"/>
                <a:gd name="T58" fmla="*/ 80 w 147"/>
                <a:gd name="T59" fmla="*/ 101 h 117"/>
                <a:gd name="T60" fmla="*/ 95 w 147"/>
                <a:gd name="T61" fmla="*/ 99 h 117"/>
                <a:gd name="T62" fmla="*/ 99 w 147"/>
                <a:gd name="T63" fmla="*/ 98 h 117"/>
                <a:gd name="T64" fmla="*/ 94 w 147"/>
                <a:gd name="T65" fmla="*/ 85 h 117"/>
                <a:gd name="T66" fmla="*/ 105 w 147"/>
                <a:gd name="T67" fmla="*/ 76 h 117"/>
                <a:gd name="T68" fmla="*/ 127 w 147"/>
                <a:gd name="T69" fmla="*/ 67 h 117"/>
                <a:gd name="T70" fmla="*/ 132 w 147"/>
                <a:gd name="T71" fmla="*/ 65 h 117"/>
                <a:gd name="T72" fmla="*/ 140 w 147"/>
                <a:gd name="T73" fmla="*/ 60 h 117"/>
                <a:gd name="T74" fmla="*/ 145 w 147"/>
                <a:gd name="T75" fmla="*/ 61 h 117"/>
                <a:gd name="T76" fmla="*/ 146 w 147"/>
                <a:gd name="T77" fmla="*/ 58 h 117"/>
                <a:gd name="T78" fmla="*/ 144 w 147"/>
                <a:gd name="T79" fmla="*/ 42 h 117"/>
                <a:gd name="T80" fmla="*/ 147 w 147"/>
                <a:gd name="T81" fmla="*/ 30 h 117"/>
                <a:gd name="T82" fmla="*/ 142 w 147"/>
                <a:gd name="T83" fmla="*/ 18 h 117"/>
                <a:gd name="T84" fmla="*/ 139 w 147"/>
                <a:gd name="T85" fmla="*/ 9 h 117"/>
                <a:gd name="T86" fmla="*/ 140 w 147"/>
                <a:gd name="T87" fmla="*/ 3 h 117"/>
                <a:gd name="T88" fmla="*/ 131 w 147"/>
                <a:gd name="T89" fmla="*/ 6 h 117"/>
                <a:gd name="T90" fmla="*/ 118 w 147"/>
                <a:gd name="T91" fmla="*/ 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117">
                  <a:moveTo>
                    <a:pt x="16" y="86"/>
                  </a:moveTo>
                  <a:cubicBezTo>
                    <a:pt x="16" y="86"/>
                    <a:pt x="16" y="86"/>
                    <a:pt x="16" y="86"/>
                  </a:cubicBezTo>
                  <a:cubicBezTo>
                    <a:pt x="16" y="86"/>
                    <a:pt x="16" y="86"/>
                    <a:pt x="16" y="86"/>
                  </a:cubicBezTo>
                  <a:moveTo>
                    <a:pt x="117" y="0"/>
                  </a:moveTo>
                  <a:cubicBezTo>
                    <a:pt x="116" y="1"/>
                    <a:pt x="114" y="2"/>
                    <a:pt x="113" y="3"/>
                  </a:cubicBezTo>
                  <a:cubicBezTo>
                    <a:pt x="112" y="3"/>
                    <a:pt x="112" y="3"/>
                    <a:pt x="112" y="3"/>
                  </a:cubicBezTo>
                  <a:cubicBezTo>
                    <a:pt x="112" y="4"/>
                    <a:pt x="111" y="4"/>
                    <a:pt x="110" y="5"/>
                  </a:cubicBezTo>
                  <a:cubicBezTo>
                    <a:pt x="110" y="5"/>
                    <a:pt x="110" y="5"/>
                    <a:pt x="109" y="5"/>
                  </a:cubicBezTo>
                  <a:cubicBezTo>
                    <a:pt x="110" y="7"/>
                    <a:pt x="112" y="10"/>
                    <a:pt x="112" y="12"/>
                  </a:cubicBezTo>
                  <a:cubicBezTo>
                    <a:pt x="112" y="13"/>
                    <a:pt x="111" y="14"/>
                    <a:pt x="111" y="15"/>
                  </a:cubicBezTo>
                  <a:cubicBezTo>
                    <a:pt x="109" y="18"/>
                    <a:pt x="107" y="19"/>
                    <a:pt x="105" y="19"/>
                  </a:cubicBezTo>
                  <a:cubicBezTo>
                    <a:pt x="105" y="23"/>
                    <a:pt x="105" y="23"/>
                    <a:pt x="105" y="23"/>
                  </a:cubicBezTo>
                  <a:cubicBezTo>
                    <a:pt x="103" y="19"/>
                    <a:pt x="103" y="19"/>
                    <a:pt x="103" y="19"/>
                  </a:cubicBezTo>
                  <a:cubicBezTo>
                    <a:pt x="102" y="19"/>
                    <a:pt x="102" y="19"/>
                    <a:pt x="102" y="19"/>
                  </a:cubicBezTo>
                  <a:cubicBezTo>
                    <a:pt x="101" y="19"/>
                    <a:pt x="101" y="19"/>
                    <a:pt x="101" y="19"/>
                  </a:cubicBezTo>
                  <a:cubicBezTo>
                    <a:pt x="101" y="19"/>
                    <a:pt x="100" y="19"/>
                    <a:pt x="100" y="19"/>
                  </a:cubicBezTo>
                  <a:cubicBezTo>
                    <a:pt x="99" y="18"/>
                    <a:pt x="99" y="18"/>
                    <a:pt x="99" y="18"/>
                  </a:cubicBezTo>
                  <a:cubicBezTo>
                    <a:pt x="98" y="18"/>
                    <a:pt x="98" y="18"/>
                    <a:pt x="97" y="17"/>
                  </a:cubicBezTo>
                  <a:cubicBezTo>
                    <a:pt x="97" y="16"/>
                    <a:pt x="96" y="16"/>
                    <a:pt x="96" y="15"/>
                  </a:cubicBezTo>
                  <a:cubicBezTo>
                    <a:pt x="95" y="14"/>
                    <a:pt x="95" y="14"/>
                    <a:pt x="95" y="14"/>
                  </a:cubicBezTo>
                  <a:cubicBezTo>
                    <a:pt x="94" y="14"/>
                    <a:pt x="94" y="14"/>
                    <a:pt x="94" y="14"/>
                  </a:cubicBezTo>
                  <a:cubicBezTo>
                    <a:pt x="94" y="14"/>
                    <a:pt x="94" y="14"/>
                    <a:pt x="94" y="14"/>
                  </a:cubicBezTo>
                  <a:cubicBezTo>
                    <a:pt x="93" y="14"/>
                    <a:pt x="93" y="14"/>
                    <a:pt x="93" y="14"/>
                  </a:cubicBezTo>
                  <a:cubicBezTo>
                    <a:pt x="93" y="14"/>
                    <a:pt x="92" y="14"/>
                    <a:pt x="91" y="14"/>
                  </a:cubicBezTo>
                  <a:cubicBezTo>
                    <a:pt x="91" y="14"/>
                    <a:pt x="91" y="14"/>
                    <a:pt x="91" y="14"/>
                  </a:cubicBezTo>
                  <a:cubicBezTo>
                    <a:pt x="90" y="14"/>
                    <a:pt x="89" y="14"/>
                    <a:pt x="88" y="14"/>
                  </a:cubicBezTo>
                  <a:cubicBezTo>
                    <a:pt x="87" y="14"/>
                    <a:pt x="87" y="14"/>
                    <a:pt x="87" y="14"/>
                  </a:cubicBezTo>
                  <a:cubicBezTo>
                    <a:pt x="87" y="14"/>
                    <a:pt x="86" y="14"/>
                    <a:pt x="86" y="14"/>
                  </a:cubicBezTo>
                  <a:cubicBezTo>
                    <a:pt x="86" y="14"/>
                    <a:pt x="84" y="14"/>
                    <a:pt x="83" y="12"/>
                  </a:cubicBezTo>
                  <a:cubicBezTo>
                    <a:pt x="82" y="11"/>
                    <a:pt x="81" y="10"/>
                    <a:pt x="80" y="9"/>
                  </a:cubicBezTo>
                  <a:cubicBezTo>
                    <a:pt x="80" y="10"/>
                    <a:pt x="79" y="10"/>
                    <a:pt x="77" y="10"/>
                  </a:cubicBezTo>
                  <a:cubicBezTo>
                    <a:pt x="75" y="10"/>
                    <a:pt x="74" y="9"/>
                    <a:pt x="73" y="8"/>
                  </a:cubicBezTo>
                  <a:cubicBezTo>
                    <a:pt x="72" y="8"/>
                    <a:pt x="72" y="7"/>
                    <a:pt x="72" y="6"/>
                  </a:cubicBezTo>
                  <a:cubicBezTo>
                    <a:pt x="71" y="6"/>
                    <a:pt x="71" y="6"/>
                    <a:pt x="71" y="6"/>
                  </a:cubicBezTo>
                  <a:cubicBezTo>
                    <a:pt x="71" y="5"/>
                    <a:pt x="71" y="5"/>
                    <a:pt x="71" y="5"/>
                  </a:cubicBezTo>
                  <a:cubicBezTo>
                    <a:pt x="71" y="5"/>
                    <a:pt x="71" y="5"/>
                    <a:pt x="71" y="5"/>
                  </a:cubicBezTo>
                  <a:cubicBezTo>
                    <a:pt x="71" y="5"/>
                    <a:pt x="70" y="5"/>
                    <a:pt x="70" y="5"/>
                  </a:cubicBezTo>
                  <a:cubicBezTo>
                    <a:pt x="70" y="5"/>
                    <a:pt x="70" y="5"/>
                    <a:pt x="70" y="5"/>
                  </a:cubicBezTo>
                  <a:cubicBezTo>
                    <a:pt x="68" y="5"/>
                    <a:pt x="66" y="5"/>
                    <a:pt x="64" y="6"/>
                  </a:cubicBezTo>
                  <a:cubicBezTo>
                    <a:pt x="63" y="6"/>
                    <a:pt x="62" y="6"/>
                    <a:pt x="62" y="6"/>
                  </a:cubicBezTo>
                  <a:cubicBezTo>
                    <a:pt x="58" y="6"/>
                    <a:pt x="56" y="6"/>
                    <a:pt x="53" y="6"/>
                  </a:cubicBezTo>
                  <a:cubicBezTo>
                    <a:pt x="52" y="6"/>
                    <a:pt x="51" y="6"/>
                    <a:pt x="51" y="6"/>
                  </a:cubicBezTo>
                  <a:cubicBezTo>
                    <a:pt x="49" y="6"/>
                    <a:pt x="47" y="6"/>
                    <a:pt x="45" y="6"/>
                  </a:cubicBezTo>
                  <a:cubicBezTo>
                    <a:pt x="43" y="6"/>
                    <a:pt x="43" y="6"/>
                    <a:pt x="43" y="6"/>
                  </a:cubicBezTo>
                  <a:cubicBezTo>
                    <a:pt x="40" y="6"/>
                    <a:pt x="37" y="6"/>
                    <a:pt x="33" y="6"/>
                  </a:cubicBezTo>
                  <a:cubicBezTo>
                    <a:pt x="32" y="6"/>
                    <a:pt x="32" y="6"/>
                    <a:pt x="31" y="6"/>
                  </a:cubicBezTo>
                  <a:cubicBezTo>
                    <a:pt x="30" y="6"/>
                    <a:pt x="29" y="6"/>
                    <a:pt x="28" y="6"/>
                  </a:cubicBezTo>
                  <a:cubicBezTo>
                    <a:pt x="24" y="6"/>
                    <a:pt x="20" y="8"/>
                    <a:pt x="18" y="10"/>
                  </a:cubicBezTo>
                  <a:cubicBezTo>
                    <a:pt x="17" y="10"/>
                    <a:pt x="17" y="11"/>
                    <a:pt x="17" y="11"/>
                  </a:cubicBezTo>
                  <a:cubicBezTo>
                    <a:pt x="16" y="12"/>
                    <a:pt x="15" y="14"/>
                    <a:pt x="14" y="16"/>
                  </a:cubicBezTo>
                  <a:cubicBezTo>
                    <a:pt x="11" y="20"/>
                    <a:pt x="8" y="24"/>
                    <a:pt x="4" y="28"/>
                  </a:cubicBezTo>
                  <a:cubicBezTo>
                    <a:pt x="3" y="28"/>
                    <a:pt x="3" y="29"/>
                    <a:pt x="2" y="29"/>
                  </a:cubicBezTo>
                  <a:cubicBezTo>
                    <a:pt x="0" y="31"/>
                    <a:pt x="0" y="31"/>
                    <a:pt x="0" y="31"/>
                  </a:cubicBezTo>
                  <a:cubicBezTo>
                    <a:pt x="0" y="31"/>
                    <a:pt x="1" y="34"/>
                    <a:pt x="3" y="38"/>
                  </a:cubicBezTo>
                  <a:cubicBezTo>
                    <a:pt x="4" y="39"/>
                    <a:pt x="4" y="39"/>
                    <a:pt x="4" y="39"/>
                  </a:cubicBezTo>
                  <a:cubicBezTo>
                    <a:pt x="5" y="42"/>
                    <a:pt x="5" y="44"/>
                    <a:pt x="6" y="46"/>
                  </a:cubicBezTo>
                  <a:cubicBezTo>
                    <a:pt x="6" y="48"/>
                    <a:pt x="6" y="48"/>
                    <a:pt x="6" y="48"/>
                  </a:cubicBezTo>
                  <a:cubicBezTo>
                    <a:pt x="6" y="49"/>
                    <a:pt x="6" y="51"/>
                    <a:pt x="6" y="51"/>
                  </a:cubicBezTo>
                  <a:cubicBezTo>
                    <a:pt x="6" y="52"/>
                    <a:pt x="6" y="52"/>
                    <a:pt x="6" y="52"/>
                  </a:cubicBezTo>
                  <a:cubicBezTo>
                    <a:pt x="8" y="54"/>
                    <a:pt x="8" y="54"/>
                    <a:pt x="8" y="54"/>
                  </a:cubicBezTo>
                  <a:cubicBezTo>
                    <a:pt x="10" y="55"/>
                    <a:pt x="11" y="56"/>
                    <a:pt x="12" y="57"/>
                  </a:cubicBezTo>
                  <a:cubicBezTo>
                    <a:pt x="12" y="58"/>
                    <a:pt x="12" y="58"/>
                    <a:pt x="12" y="58"/>
                  </a:cubicBezTo>
                  <a:cubicBezTo>
                    <a:pt x="13" y="59"/>
                    <a:pt x="13" y="59"/>
                    <a:pt x="13" y="60"/>
                  </a:cubicBezTo>
                  <a:cubicBezTo>
                    <a:pt x="13" y="60"/>
                    <a:pt x="13" y="60"/>
                    <a:pt x="13" y="60"/>
                  </a:cubicBezTo>
                  <a:cubicBezTo>
                    <a:pt x="13" y="61"/>
                    <a:pt x="13" y="61"/>
                    <a:pt x="13" y="62"/>
                  </a:cubicBezTo>
                  <a:cubicBezTo>
                    <a:pt x="13" y="62"/>
                    <a:pt x="13" y="63"/>
                    <a:pt x="13" y="64"/>
                  </a:cubicBezTo>
                  <a:cubicBezTo>
                    <a:pt x="13" y="68"/>
                    <a:pt x="14" y="73"/>
                    <a:pt x="15" y="77"/>
                  </a:cubicBezTo>
                  <a:cubicBezTo>
                    <a:pt x="15" y="79"/>
                    <a:pt x="15" y="79"/>
                    <a:pt x="15" y="79"/>
                  </a:cubicBezTo>
                  <a:cubicBezTo>
                    <a:pt x="15" y="79"/>
                    <a:pt x="15" y="79"/>
                    <a:pt x="15" y="79"/>
                  </a:cubicBezTo>
                  <a:cubicBezTo>
                    <a:pt x="16" y="81"/>
                    <a:pt x="18" y="84"/>
                    <a:pt x="16" y="86"/>
                  </a:cubicBezTo>
                  <a:cubicBezTo>
                    <a:pt x="17" y="85"/>
                    <a:pt x="17" y="85"/>
                    <a:pt x="17" y="85"/>
                  </a:cubicBezTo>
                  <a:cubicBezTo>
                    <a:pt x="20" y="85"/>
                    <a:pt x="22" y="92"/>
                    <a:pt x="20" y="94"/>
                  </a:cubicBezTo>
                  <a:cubicBezTo>
                    <a:pt x="16" y="96"/>
                    <a:pt x="20" y="102"/>
                    <a:pt x="21" y="106"/>
                  </a:cubicBezTo>
                  <a:cubicBezTo>
                    <a:pt x="21" y="106"/>
                    <a:pt x="22" y="106"/>
                    <a:pt x="22" y="106"/>
                  </a:cubicBezTo>
                  <a:cubicBezTo>
                    <a:pt x="24" y="106"/>
                    <a:pt x="28" y="105"/>
                    <a:pt x="28" y="105"/>
                  </a:cubicBezTo>
                  <a:cubicBezTo>
                    <a:pt x="30" y="104"/>
                    <a:pt x="31" y="99"/>
                    <a:pt x="32" y="97"/>
                  </a:cubicBezTo>
                  <a:cubicBezTo>
                    <a:pt x="33" y="101"/>
                    <a:pt x="35" y="105"/>
                    <a:pt x="36" y="109"/>
                  </a:cubicBezTo>
                  <a:cubicBezTo>
                    <a:pt x="36" y="110"/>
                    <a:pt x="34" y="110"/>
                    <a:pt x="33" y="111"/>
                  </a:cubicBezTo>
                  <a:cubicBezTo>
                    <a:pt x="31" y="111"/>
                    <a:pt x="32" y="114"/>
                    <a:pt x="32" y="115"/>
                  </a:cubicBezTo>
                  <a:cubicBezTo>
                    <a:pt x="36" y="114"/>
                    <a:pt x="39" y="114"/>
                    <a:pt x="42" y="114"/>
                  </a:cubicBezTo>
                  <a:cubicBezTo>
                    <a:pt x="47" y="114"/>
                    <a:pt x="51" y="115"/>
                    <a:pt x="55" y="117"/>
                  </a:cubicBezTo>
                  <a:cubicBezTo>
                    <a:pt x="55" y="117"/>
                    <a:pt x="55" y="117"/>
                    <a:pt x="55" y="117"/>
                  </a:cubicBezTo>
                  <a:cubicBezTo>
                    <a:pt x="56" y="116"/>
                    <a:pt x="56" y="116"/>
                    <a:pt x="56" y="116"/>
                  </a:cubicBezTo>
                  <a:cubicBezTo>
                    <a:pt x="58" y="115"/>
                    <a:pt x="61" y="113"/>
                    <a:pt x="65" y="112"/>
                  </a:cubicBezTo>
                  <a:cubicBezTo>
                    <a:pt x="69" y="112"/>
                    <a:pt x="71" y="109"/>
                    <a:pt x="71" y="109"/>
                  </a:cubicBezTo>
                  <a:cubicBezTo>
                    <a:pt x="71" y="106"/>
                    <a:pt x="71" y="104"/>
                    <a:pt x="73" y="102"/>
                  </a:cubicBezTo>
                  <a:cubicBezTo>
                    <a:pt x="74" y="101"/>
                    <a:pt x="75" y="101"/>
                    <a:pt x="75" y="101"/>
                  </a:cubicBezTo>
                  <a:cubicBezTo>
                    <a:pt x="76" y="101"/>
                    <a:pt x="76" y="101"/>
                    <a:pt x="77" y="101"/>
                  </a:cubicBezTo>
                  <a:cubicBezTo>
                    <a:pt x="77" y="101"/>
                    <a:pt x="78" y="101"/>
                    <a:pt x="78" y="101"/>
                  </a:cubicBezTo>
                  <a:cubicBezTo>
                    <a:pt x="79" y="101"/>
                    <a:pt x="79" y="101"/>
                    <a:pt x="80" y="101"/>
                  </a:cubicBezTo>
                  <a:cubicBezTo>
                    <a:pt x="82" y="101"/>
                    <a:pt x="85" y="100"/>
                    <a:pt x="86" y="100"/>
                  </a:cubicBezTo>
                  <a:cubicBezTo>
                    <a:pt x="87" y="100"/>
                    <a:pt x="87" y="100"/>
                    <a:pt x="87" y="100"/>
                  </a:cubicBezTo>
                  <a:cubicBezTo>
                    <a:pt x="89" y="100"/>
                    <a:pt x="95" y="99"/>
                    <a:pt x="95" y="99"/>
                  </a:cubicBezTo>
                  <a:cubicBezTo>
                    <a:pt x="95" y="99"/>
                    <a:pt x="95" y="99"/>
                    <a:pt x="95" y="99"/>
                  </a:cubicBezTo>
                  <a:cubicBezTo>
                    <a:pt x="97" y="99"/>
                    <a:pt x="99" y="99"/>
                    <a:pt x="100" y="100"/>
                  </a:cubicBezTo>
                  <a:cubicBezTo>
                    <a:pt x="100" y="99"/>
                    <a:pt x="99" y="99"/>
                    <a:pt x="99" y="98"/>
                  </a:cubicBezTo>
                  <a:cubicBezTo>
                    <a:pt x="96" y="95"/>
                    <a:pt x="95" y="91"/>
                    <a:pt x="95" y="88"/>
                  </a:cubicBezTo>
                  <a:cubicBezTo>
                    <a:pt x="95" y="87"/>
                    <a:pt x="95" y="87"/>
                    <a:pt x="95" y="87"/>
                  </a:cubicBezTo>
                  <a:cubicBezTo>
                    <a:pt x="95" y="87"/>
                    <a:pt x="95" y="86"/>
                    <a:pt x="94" y="85"/>
                  </a:cubicBezTo>
                  <a:cubicBezTo>
                    <a:pt x="94" y="82"/>
                    <a:pt x="99" y="78"/>
                    <a:pt x="101" y="77"/>
                  </a:cubicBezTo>
                  <a:cubicBezTo>
                    <a:pt x="102" y="76"/>
                    <a:pt x="103" y="76"/>
                    <a:pt x="104" y="76"/>
                  </a:cubicBezTo>
                  <a:cubicBezTo>
                    <a:pt x="104" y="76"/>
                    <a:pt x="105" y="76"/>
                    <a:pt x="105" y="76"/>
                  </a:cubicBezTo>
                  <a:cubicBezTo>
                    <a:pt x="112" y="78"/>
                    <a:pt x="112" y="78"/>
                    <a:pt x="112" y="78"/>
                  </a:cubicBezTo>
                  <a:cubicBezTo>
                    <a:pt x="112" y="75"/>
                    <a:pt x="112" y="71"/>
                    <a:pt x="115" y="70"/>
                  </a:cubicBezTo>
                  <a:cubicBezTo>
                    <a:pt x="119" y="69"/>
                    <a:pt x="123" y="68"/>
                    <a:pt x="127" y="67"/>
                  </a:cubicBezTo>
                  <a:cubicBezTo>
                    <a:pt x="128" y="67"/>
                    <a:pt x="128" y="67"/>
                    <a:pt x="128" y="67"/>
                  </a:cubicBezTo>
                  <a:cubicBezTo>
                    <a:pt x="130" y="66"/>
                    <a:pt x="131" y="66"/>
                    <a:pt x="131" y="66"/>
                  </a:cubicBezTo>
                  <a:cubicBezTo>
                    <a:pt x="132" y="65"/>
                    <a:pt x="132" y="65"/>
                    <a:pt x="132" y="65"/>
                  </a:cubicBezTo>
                  <a:cubicBezTo>
                    <a:pt x="133" y="64"/>
                    <a:pt x="134" y="63"/>
                    <a:pt x="135" y="62"/>
                  </a:cubicBezTo>
                  <a:cubicBezTo>
                    <a:pt x="136" y="61"/>
                    <a:pt x="137" y="61"/>
                    <a:pt x="137" y="61"/>
                  </a:cubicBezTo>
                  <a:cubicBezTo>
                    <a:pt x="138" y="60"/>
                    <a:pt x="139" y="60"/>
                    <a:pt x="140" y="60"/>
                  </a:cubicBezTo>
                  <a:cubicBezTo>
                    <a:pt x="141" y="60"/>
                    <a:pt x="142" y="61"/>
                    <a:pt x="143" y="61"/>
                  </a:cubicBezTo>
                  <a:cubicBezTo>
                    <a:pt x="144" y="61"/>
                    <a:pt x="144" y="61"/>
                    <a:pt x="145" y="61"/>
                  </a:cubicBezTo>
                  <a:cubicBezTo>
                    <a:pt x="145" y="61"/>
                    <a:pt x="145" y="61"/>
                    <a:pt x="145" y="61"/>
                  </a:cubicBezTo>
                  <a:cubicBezTo>
                    <a:pt x="145" y="61"/>
                    <a:pt x="145" y="61"/>
                    <a:pt x="145" y="59"/>
                  </a:cubicBezTo>
                  <a:cubicBezTo>
                    <a:pt x="146" y="59"/>
                    <a:pt x="146" y="59"/>
                    <a:pt x="146" y="59"/>
                  </a:cubicBezTo>
                  <a:cubicBezTo>
                    <a:pt x="146" y="58"/>
                    <a:pt x="146" y="58"/>
                    <a:pt x="146" y="58"/>
                  </a:cubicBezTo>
                  <a:cubicBezTo>
                    <a:pt x="146" y="57"/>
                    <a:pt x="146" y="57"/>
                    <a:pt x="146" y="57"/>
                  </a:cubicBezTo>
                  <a:cubicBezTo>
                    <a:pt x="145" y="55"/>
                    <a:pt x="145" y="53"/>
                    <a:pt x="145" y="51"/>
                  </a:cubicBezTo>
                  <a:cubicBezTo>
                    <a:pt x="144" y="47"/>
                    <a:pt x="144" y="45"/>
                    <a:pt x="144" y="42"/>
                  </a:cubicBezTo>
                  <a:cubicBezTo>
                    <a:pt x="145" y="40"/>
                    <a:pt x="145" y="40"/>
                    <a:pt x="145" y="40"/>
                  </a:cubicBezTo>
                  <a:cubicBezTo>
                    <a:pt x="145" y="38"/>
                    <a:pt x="146" y="35"/>
                    <a:pt x="146" y="33"/>
                  </a:cubicBezTo>
                  <a:cubicBezTo>
                    <a:pt x="147" y="30"/>
                    <a:pt x="147" y="30"/>
                    <a:pt x="147" y="30"/>
                  </a:cubicBezTo>
                  <a:cubicBezTo>
                    <a:pt x="147" y="30"/>
                    <a:pt x="146" y="27"/>
                    <a:pt x="145" y="26"/>
                  </a:cubicBezTo>
                  <a:cubicBezTo>
                    <a:pt x="144" y="25"/>
                    <a:pt x="144" y="25"/>
                    <a:pt x="144" y="24"/>
                  </a:cubicBezTo>
                  <a:cubicBezTo>
                    <a:pt x="143" y="22"/>
                    <a:pt x="142" y="20"/>
                    <a:pt x="142" y="18"/>
                  </a:cubicBezTo>
                  <a:cubicBezTo>
                    <a:pt x="142" y="17"/>
                    <a:pt x="142" y="17"/>
                    <a:pt x="142" y="17"/>
                  </a:cubicBezTo>
                  <a:cubicBezTo>
                    <a:pt x="142" y="17"/>
                    <a:pt x="142" y="17"/>
                    <a:pt x="142" y="17"/>
                  </a:cubicBezTo>
                  <a:cubicBezTo>
                    <a:pt x="140" y="14"/>
                    <a:pt x="138" y="11"/>
                    <a:pt x="139" y="9"/>
                  </a:cubicBezTo>
                  <a:cubicBezTo>
                    <a:pt x="140" y="4"/>
                    <a:pt x="140" y="4"/>
                    <a:pt x="140" y="4"/>
                  </a:cubicBezTo>
                  <a:cubicBezTo>
                    <a:pt x="141" y="3"/>
                    <a:pt x="141" y="2"/>
                    <a:pt x="142" y="1"/>
                  </a:cubicBezTo>
                  <a:cubicBezTo>
                    <a:pt x="141" y="2"/>
                    <a:pt x="140" y="2"/>
                    <a:pt x="140" y="3"/>
                  </a:cubicBezTo>
                  <a:cubicBezTo>
                    <a:pt x="138" y="4"/>
                    <a:pt x="137" y="4"/>
                    <a:pt x="136" y="5"/>
                  </a:cubicBezTo>
                  <a:cubicBezTo>
                    <a:pt x="135" y="6"/>
                    <a:pt x="135" y="6"/>
                    <a:pt x="135" y="6"/>
                  </a:cubicBezTo>
                  <a:cubicBezTo>
                    <a:pt x="134" y="6"/>
                    <a:pt x="132" y="6"/>
                    <a:pt x="131" y="6"/>
                  </a:cubicBezTo>
                  <a:cubicBezTo>
                    <a:pt x="130" y="6"/>
                    <a:pt x="129" y="6"/>
                    <a:pt x="127" y="6"/>
                  </a:cubicBezTo>
                  <a:cubicBezTo>
                    <a:pt x="119" y="2"/>
                    <a:pt x="119" y="2"/>
                    <a:pt x="119" y="2"/>
                  </a:cubicBezTo>
                  <a:cubicBezTo>
                    <a:pt x="119" y="2"/>
                    <a:pt x="118" y="2"/>
                    <a:pt x="118" y="1"/>
                  </a:cubicBezTo>
                  <a:cubicBezTo>
                    <a:pt x="117" y="0"/>
                    <a:pt x="117" y="0"/>
                    <a:pt x="1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0" name="Freeform 1528">
              <a:extLst>
                <a:ext uri="{FF2B5EF4-FFF2-40B4-BE49-F238E27FC236}">
                  <a16:creationId xmlns:a16="http://schemas.microsoft.com/office/drawing/2014/main" id="{6B21095A-3F9F-47CC-A0CA-7EE96F3CDF03}"/>
                </a:ext>
              </a:extLst>
            </p:cNvPr>
            <p:cNvSpPr>
              <a:spLocks/>
            </p:cNvSpPr>
            <p:nvPr/>
          </p:nvSpPr>
          <p:spPr bwMode="auto">
            <a:xfrm>
              <a:off x="2261" y="1612"/>
              <a:ext cx="158" cy="76"/>
            </a:xfrm>
            <a:custGeom>
              <a:avLst/>
              <a:gdLst>
                <a:gd name="T0" fmla="*/ 64 w 67"/>
                <a:gd name="T1" fmla="*/ 0 h 32"/>
                <a:gd name="T2" fmla="*/ 22 w 67"/>
                <a:gd name="T3" fmla="*/ 6 h 32"/>
                <a:gd name="T4" fmla="*/ 8 w 67"/>
                <a:gd name="T5" fmla="*/ 8 h 32"/>
                <a:gd name="T6" fmla="*/ 0 w 67"/>
                <a:gd name="T7" fmla="*/ 15 h 32"/>
                <a:gd name="T8" fmla="*/ 1 w 67"/>
                <a:gd name="T9" fmla="*/ 15 h 32"/>
                <a:gd name="T10" fmla="*/ 1 w 67"/>
                <a:gd name="T11" fmla="*/ 15 h 32"/>
                <a:gd name="T12" fmla="*/ 5 w 67"/>
                <a:gd name="T13" fmla="*/ 16 h 32"/>
                <a:gd name="T14" fmla="*/ 5 w 67"/>
                <a:gd name="T15" fmla="*/ 17 h 32"/>
                <a:gd name="T16" fmla="*/ 6 w 67"/>
                <a:gd name="T17" fmla="*/ 17 h 32"/>
                <a:gd name="T18" fmla="*/ 7 w 67"/>
                <a:gd name="T19" fmla="*/ 19 h 32"/>
                <a:gd name="T20" fmla="*/ 8 w 67"/>
                <a:gd name="T21" fmla="*/ 19 h 32"/>
                <a:gd name="T22" fmla="*/ 8 w 67"/>
                <a:gd name="T23" fmla="*/ 20 h 32"/>
                <a:gd name="T24" fmla="*/ 8 w 67"/>
                <a:gd name="T25" fmla="*/ 23 h 32"/>
                <a:gd name="T26" fmla="*/ 8 w 67"/>
                <a:gd name="T27" fmla="*/ 24 h 32"/>
                <a:gd name="T28" fmla="*/ 7 w 67"/>
                <a:gd name="T29" fmla="*/ 26 h 32"/>
                <a:gd name="T30" fmla="*/ 7 w 67"/>
                <a:gd name="T31" fmla="*/ 26 h 32"/>
                <a:gd name="T32" fmla="*/ 6 w 67"/>
                <a:gd name="T33" fmla="*/ 30 h 32"/>
                <a:gd name="T34" fmla="*/ 6 w 67"/>
                <a:gd name="T35" fmla="*/ 32 h 32"/>
                <a:gd name="T36" fmla="*/ 40 w 67"/>
                <a:gd name="T37" fmla="*/ 18 h 32"/>
                <a:gd name="T38" fmla="*/ 57 w 67"/>
                <a:gd name="T39" fmla="*/ 11 h 32"/>
                <a:gd name="T40" fmla="*/ 65 w 67"/>
                <a:gd name="T41" fmla="*/ 4 h 32"/>
                <a:gd name="T42" fmla="*/ 64 w 67"/>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32">
                  <a:moveTo>
                    <a:pt x="64" y="0"/>
                  </a:moveTo>
                  <a:cubicBezTo>
                    <a:pt x="50" y="2"/>
                    <a:pt x="36" y="4"/>
                    <a:pt x="22" y="6"/>
                  </a:cubicBezTo>
                  <a:cubicBezTo>
                    <a:pt x="17" y="6"/>
                    <a:pt x="13" y="7"/>
                    <a:pt x="8" y="8"/>
                  </a:cubicBezTo>
                  <a:cubicBezTo>
                    <a:pt x="4" y="9"/>
                    <a:pt x="2" y="12"/>
                    <a:pt x="0" y="15"/>
                  </a:cubicBezTo>
                  <a:cubicBezTo>
                    <a:pt x="1" y="15"/>
                    <a:pt x="1" y="15"/>
                    <a:pt x="1" y="15"/>
                  </a:cubicBezTo>
                  <a:cubicBezTo>
                    <a:pt x="1" y="15"/>
                    <a:pt x="1" y="15"/>
                    <a:pt x="1" y="15"/>
                  </a:cubicBezTo>
                  <a:cubicBezTo>
                    <a:pt x="3" y="16"/>
                    <a:pt x="4" y="16"/>
                    <a:pt x="5" y="16"/>
                  </a:cubicBezTo>
                  <a:cubicBezTo>
                    <a:pt x="5" y="17"/>
                    <a:pt x="5" y="17"/>
                    <a:pt x="5" y="17"/>
                  </a:cubicBezTo>
                  <a:cubicBezTo>
                    <a:pt x="6" y="17"/>
                    <a:pt x="6" y="17"/>
                    <a:pt x="6" y="17"/>
                  </a:cubicBezTo>
                  <a:cubicBezTo>
                    <a:pt x="6" y="17"/>
                    <a:pt x="7" y="18"/>
                    <a:pt x="7" y="19"/>
                  </a:cubicBezTo>
                  <a:cubicBezTo>
                    <a:pt x="8" y="19"/>
                    <a:pt x="8" y="19"/>
                    <a:pt x="8" y="19"/>
                  </a:cubicBezTo>
                  <a:cubicBezTo>
                    <a:pt x="8" y="20"/>
                    <a:pt x="8" y="20"/>
                    <a:pt x="8" y="20"/>
                  </a:cubicBezTo>
                  <a:cubicBezTo>
                    <a:pt x="8" y="21"/>
                    <a:pt x="8" y="22"/>
                    <a:pt x="8" y="23"/>
                  </a:cubicBezTo>
                  <a:cubicBezTo>
                    <a:pt x="8" y="24"/>
                    <a:pt x="8" y="24"/>
                    <a:pt x="8" y="24"/>
                  </a:cubicBezTo>
                  <a:cubicBezTo>
                    <a:pt x="8" y="24"/>
                    <a:pt x="8" y="25"/>
                    <a:pt x="7" y="26"/>
                  </a:cubicBezTo>
                  <a:cubicBezTo>
                    <a:pt x="7" y="26"/>
                    <a:pt x="7" y="26"/>
                    <a:pt x="7" y="26"/>
                  </a:cubicBezTo>
                  <a:cubicBezTo>
                    <a:pt x="7" y="27"/>
                    <a:pt x="6" y="29"/>
                    <a:pt x="6" y="30"/>
                  </a:cubicBezTo>
                  <a:cubicBezTo>
                    <a:pt x="6" y="32"/>
                    <a:pt x="6" y="32"/>
                    <a:pt x="6" y="32"/>
                  </a:cubicBezTo>
                  <a:cubicBezTo>
                    <a:pt x="17" y="27"/>
                    <a:pt x="29" y="21"/>
                    <a:pt x="40" y="18"/>
                  </a:cubicBezTo>
                  <a:cubicBezTo>
                    <a:pt x="46" y="17"/>
                    <a:pt x="51" y="13"/>
                    <a:pt x="57" y="11"/>
                  </a:cubicBezTo>
                  <a:cubicBezTo>
                    <a:pt x="59" y="10"/>
                    <a:pt x="64" y="7"/>
                    <a:pt x="65" y="4"/>
                  </a:cubicBezTo>
                  <a:cubicBezTo>
                    <a:pt x="66" y="2"/>
                    <a:pt x="67" y="2"/>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1" name="Freeform 1529">
              <a:extLst>
                <a:ext uri="{FF2B5EF4-FFF2-40B4-BE49-F238E27FC236}">
                  <a16:creationId xmlns:a16="http://schemas.microsoft.com/office/drawing/2014/main" id="{38ED7F76-4ADE-4BD5-ACF3-E7646D223175}"/>
                </a:ext>
              </a:extLst>
            </p:cNvPr>
            <p:cNvSpPr>
              <a:spLocks/>
            </p:cNvSpPr>
            <p:nvPr/>
          </p:nvSpPr>
          <p:spPr bwMode="auto">
            <a:xfrm>
              <a:off x="2154" y="1657"/>
              <a:ext cx="111" cy="97"/>
            </a:xfrm>
            <a:custGeom>
              <a:avLst/>
              <a:gdLst>
                <a:gd name="T0" fmla="*/ 42 w 47"/>
                <a:gd name="T1" fmla="*/ 0 h 41"/>
                <a:gd name="T2" fmla="*/ 33 w 47"/>
                <a:gd name="T3" fmla="*/ 4 h 41"/>
                <a:gd name="T4" fmla="*/ 34 w 47"/>
                <a:gd name="T5" fmla="*/ 4 h 41"/>
                <a:gd name="T6" fmla="*/ 33 w 47"/>
                <a:gd name="T7" fmla="*/ 5 h 41"/>
                <a:gd name="T8" fmla="*/ 31 w 47"/>
                <a:gd name="T9" fmla="*/ 12 h 41"/>
                <a:gd name="T10" fmla="*/ 28 w 47"/>
                <a:gd name="T11" fmla="*/ 17 h 41"/>
                <a:gd name="T12" fmla="*/ 27 w 47"/>
                <a:gd name="T13" fmla="*/ 19 h 41"/>
                <a:gd name="T14" fmla="*/ 10 w 47"/>
                <a:gd name="T15" fmla="*/ 16 h 41"/>
                <a:gd name="T16" fmla="*/ 10 w 47"/>
                <a:gd name="T17" fmla="*/ 16 h 41"/>
                <a:gd name="T18" fmla="*/ 7 w 47"/>
                <a:gd name="T19" fmla="*/ 19 h 41"/>
                <a:gd name="T20" fmla="*/ 6 w 47"/>
                <a:gd name="T21" fmla="*/ 26 h 41"/>
                <a:gd name="T22" fmla="*/ 7 w 47"/>
                <a:gd name="T23" fmla="*/ 31 h 41"/>
                <a:gd name="T24" fmla="*/ 9 w 47"/>
                <a:gd name="T25" fmla="*/ 32 h 41"/>
                <a:gd name="T26" fmla="*/ 0 w 47"/>
                <a:gd name="T27" fmla="*/ 41 h 41"/>
                <a:gd name="T28" fmla="*/ 18 w 47"/>
                <a:gd name="T29" fmla="*/ 36 h 41"/>
                <a:gd name="T30" fmla="*/ 29 w 47"/>
                <a:gd name="T31" fmla="*/ 34 h 41"/>
                <a:gd name="T32" fmla="*/ 46 w 47"/>
                <a:gd name="T33" fmla="*/ 16 h 41"/>
                <a:gd name="T34" fmla="*/ 44 w 47"/>
                <a:gd name="T35" fmla="*/ 15 h 41"/>
                <a:gd name="T36" fmla="*/ 44 w 47"/>
                <a:gd name="T37" fmla="*/ 14 h 41"/>
                <a:gd name="T38" fmla="*/ 44 w 47"/>
                <a:gd name="T39" fmla="*/ 13 h 41"/>
                <a:gd name="T40" fmla="*/ 44 w 47"/>
                <a:gd name="T41" fmla="*/ 11 h 41"/>
                <a:gd name="T42" fmla="*/ 46 w 47"/>
                <a:gd name="T43" fmla="*/ 5 h 41"/>
                <a:gd name="T44" fmla="*/ 46 w 47"/>
                <a:gd name="T45" fmla="*/ 4 h 41"/>
                <a:gd name="T46" fmla="*/ 46 w 47"/>
                <a:gd name="T47" fmla="*/ 4 h 41"/>
                <a:gd name="T48" fmla="*/ 47 w 47"/>
                <a:gd name="T49" fmla="*/ 3 h 41"/>
                <a:gd name="T50" fmla="*/ 47 w 47"/>
                <a:gd name="T51" fmla="*/ 3 h 41"/>
                <a:gd name="T52" fmla="*/ 45 w 47"/>
                <a:gd name="T53" fmla="*/ 3 h 41"/>
                <a:gd name="T54" fmla="*/ 44 w 47"/>
                <a:gd name="T55" fmla="*/ 2 h 41"/>
                <a:gd name="T56" fmla="*/ 43 w 47"/>
                <a:gd name="T57" fmla="*/ 2 h 41"/>
                <a:gd name="T58" fmla="*/ 41 w 47"/>
                <a:gd name="T59" fmla="*/ 1 h 41"/>
                <a:gd name="T60" fmla="*/ 42 w 47"/>
                <a:gd name="T6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41">
                  <a:moveTo>
                    <a:pt x="42" y="0"/>
                  </a:moveTo>
                  <a:cubicBezTo>
                    <a:pt x="39" y="1"/>
                    <a:pt x="36" y="3"/>
                    <a:pt x="33" y="4"/>
                  </a:cubicBezTo>
                  <a:cubicBezTo>
                    <a:pt x="34" y="4"/>
                    <a:pt x="34" y="4"/>
                    <a:pt x="34" y="4"/>
                  </a:cubicBezTo>
                  <a:cubicBezTo>
                    <a:pt x="33" y="5"/>
                    <a:pt x="33" y="5"/>
                    <a:pt x="33" y="5"/>
                  </a:cubicBezTo>
                  <a:cubicBezTo>
                    <a:pt x="33" y="6"/>
                    <a:pt x="32" y="9"/>
                    <a:pt x="31" y="12"/>
                  </a:cubicBezTo>
                  <a:cubicBezTo>
                    <a:pt x="30" y="13"/>
                    <a:pt x="28" y="17"/>
                    <a:pt x="28" y="17"/>
                  </a:cubicBezTo>
                  <a:cubicBezTo>
                    <a:pt x="27" y="19"/>
                    <a:pt x="27" y="19"/>
                    <a:pt x="27" y="19"/>
                  </a:cubicBezTo>
                  <a:cubicBezTo>
                    <a:pt x="10" y="16"/>
                    <a:pt x="10" y="16"/>
                    <a:pt x="10" y="16"/>
                  </a:cubicBezTo>
                  <a:cubicBezTo>
                    <a:pt x="10" y="16"/>
                    <a:pt x="10" y="16"/>
                    <a:pt x="10" y="16"/>
                  </a:cubicBezTo>
                  <a:cubicBezTo>
                    <a:pt x="9" y="16"/>
                    <a:pt x="7" y="18"/>
                    <a:pt x="7" y="19"/>
                  </a:cubicBezTo>
                  <a:cubicBezTo>
                    <a:pt x="6" y="21"/>
                    <a:pt x="6" y="24"/>
                    <a:pt x="6" y="26"/>
                  </a:cubicBezTo>
                  <a:cubicBezTo>
                    <a:pt x="6" y="28"/>
                    <a:pt x="7" y="30"/>
                    <a:pt x="7" y="31"/>
                  </a:cubicBezTo>
                  <a:cubicBezTo>
                    <a:pt x="8" y="32"/>
                    <a:pt x="10" y="31"/>
                    <a:pt x="9" y="32"/>
                  </a:cubicBezTo>
                  <a:cubicBezTo>
                    <a:pt x="6" y="35"/>
                    <a:pt x="3" y="38"/>
                    <a:pt x="0" y="41"/>
                  </a:cubicBezTo>
                  <a:cubicBezTo>
                    <a:pt x="6" y="39"/>
                    <a:pt x="12" y="38"/>
                    <a:pt x="18" y="36"/>
                  </a:cubicBezTo>
                  <a:cubicBezTo>
                    <a:pt x="21" y="35"/>
                    <a:pt x="27" y="36"/>
                    <a:pt x="29" y="34"/>
                  </a:cubicBezTo>
                  <a:cubicBezTo>
                    <a:pt x="33" y="30"/>
                    <a:pt x="43" y="23"/>
                    <a:pt x="46" y="16"/>
                  </a:cubicBezTo>
                  <a:cubicBezTo>
                    <a:pt x="44" y="15"/>
                    <a:pt x="44" y="15"/>
                    <a:pt x="44" y="15"/>
                  </a:cubicBezTo>
                  <a:cubicBezTo>
                    <a:pt x="44" y="14"/>
                    <a:pt x="44" y="14"/>
                    <a:pt x="44" y="14"/>
                  </a:cubicBezTo>
                  <a:cubicBezTo>
                    <a:pt x="44" y="14"/>
                    <a:pt x="44" y="13"/>
                    <a:pt x="44" y="13"/>
                  </a:cubicBezTo>
                  <a:cubicBezTo>
                    <a:pt x="44" y="11"/>
                    <a:pt x="44" y="11"/>
                    <a:pt x="44" y="11"/>
                  </a:cubicBezTo>
                  <a:cubicBezTo>
                    <a:pt x="45" y="9"/>
                    <a:pt x="45" y="7"/>
                    <a:pt x="46" y="5"/>
                  </a:cubicBezTo>
                  <a:cubicBezTo>
                    <a:pt x="46" y="4"/>
                    <a:pt x="46" y="4"/>
                    <a:pt x="46" y="4"/>
                  </a:cubicBezTo>
                  <a:cubicBezTo>
                    <a:pt x="46" y="4"/>
                    <a:pt x="46" y="4"/>
                    <a:pt x="46" y="4"/>
                  </a:cubicBezTo>
                  <a:cubicBezTo>
                    <a:pt x="47" y="3"/>
                    <a:pt x="47" y="3"/>
                    <a:pt x="47" y="3"/>
                  </a:cubicBezTo>
                  <a:cubicBezTo>
                    <a:pt x="47" y="3"/>
                    <a:pt x="47" y="3"/>
                    <a:pt x="47" y="3"/>
                  </a:cubicBezTo>
                  <a:cubicBezTo>
                    <a:pt x="47" y="3"/>
                    <a:pt x="46" y="3"/>
                    <a:pt x="45" y="3"/>
                  </a:cubicBezTo>
                  <a:cubicBezTo>
                    <a:pt x="44" y="2"/>
                    <a:pt x="44" y="2"/>
                    <a:pt x="44" y="2"/>
                  </a:cubicBezTo>
                  <a:cubicBezTo>
                    <a:pt x="44" y="2"/>
                    <a:pt x="43" y="2"/>
                    <a:pt x="43" y="2"/>
                  </a:cubicBezTo>
                  <a:cubicBezTo>
                    <a:pt x="41" y="1"/>
                    <a:pt x="41" y="1"/>
                    <a:pt x="41" y="1"/>
                  </a:cubicBezTo>
                  <a:cubicBezTo>
                    <a:pt x="42" y="0"/>
                    <a:pt x="42" y="0"/>
                    <a:pt x="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2" name="Freeform 1530">
              <a:extLst>
                <a:ext uri="{FF2B5EF4-FFF2-40B4-BE49-F238E27FC236}">
                  <a16:creationId xmlns:a16="http://schemas.microsoft.com/office/drawing/2014/main" id="{7C809C56-D6E4-41E6-B9A8-02488031B0F2}"/>
                </a:ext>
              </a:extLst>
            </p:cNvPr>
            <p:cNvSpPr>
              <a:spLocks noEditPoints="1"/>
            </p:cNvSpPr>
            <p:nvPr/>
          </p:nvSpPr>
          <p:spPr bwMode="auto">
            <a:xfrm>
              <a:off x="557" y="594"/>
              <a:ext cx="288" cy="359"/>
            </a:xfrm>
            <a:custGeom>
              <a:avLst/>
              <a:gdLst>
                <a:gd name="T0" fmla="*/ 38 w 122"/>
                <a:gd name="T1" fmla="*/ 21 h 152"/>
                <a:gd name="T2" fmla="*/ 3 w 122"/>
                <a:gd name="T3" fmla="*/ 0 h 152"/>
                <a:gd name="T4" fmla="*/ 0 w 122"/>
                <a:gd name="T5" fmla="*/ 5 h 152"/>
                <a:gd name="T6" fmla="*/ 5 w 122"/>
                <a:gd name="T7" fmla="*/ 15 h 152"/>
                <a:gd name="T8" fmla="*/ 7 w 122"/>
                <a:gd name="T9" fmla="*/ 39 h 152"/>
                <a:gd name="T10" fmla="*/ 12 w 122"/>
                <a:gd name="T11" fmla="*/ 61 h 152"/>
                <a:gd name="T12" fmla="*/ 15 w 122"/>
                <a:gd name="T13" fmla="*/ 75 h 152"/>
                <a:gd name="T14" fmla="*/ 26 w 122"/>
                <a:gd name="T15" fmla="*/ 87 h 152"/>
                <a:gd name="T16" fmla="*/ 35 w 122"/>
                <a:gd name="T17" fmla="*/ 107 h 152"/>
                <a:gd name="T18" fmla="*/ 55 w 122"/>
                <a:gd name="T19" fmla="*/ 121 h 152"/>
                <a:gd name="T20" fmla="*/ 85 w 122"/>
                <a:gd name="T21" fmla="*/ 140 h 152"/>
                <a:gd name="T22" fmla="*/ 104 w 122"/>
                <a:gd name="T23" fmla="*/ 147 h 152"/>
                <a:gd name="T24" fmla="*/ 108 w 122"/>
                <a:gd name="T25" fmla="*/ 147 h 152"/>
                <a:gd name="T26" fmla="*/ 111 w 122"/>
                <a:gd name="T27" fmla="*/ 142 h 152"/>
                <a:gd name="T28" fmla="*/ 116 w 122"/>
                <a:gd name="T29" fmla="*/ 150 h 152"/>
                <a:gd name="T30" fmla="*/ 114 w 122"/>
                <a:gd name="T31" fmla="*/ 133 h 152"/>
                <a:gd name="T32" fmla="*/ 95 w 122"/>
                <a:gd name="T33" fmla="*/ 102 h 152"/>
                <a:gd name="T34" fmla="*/ 95 w 122"/>
                <a:gd name="T35" fmla="*/ 64 h 152"/>
                <a:gd name="T36" fmla="*/ 73 w 122"/>
                <a:gd name="T37" fmla="*/ 22 h 152"/>
                <a:gd name="T38" fmla="*/ 59 w 122"/>
                <a:gd name="T39" fmla="*/ 9 h 152"/>
                <a:gd name="T40" fmla="*/ 58 w 122"/>
                <a:gd name="T41" fmla="*/ 12 h 152"/>
                <a:gd name="T42" fmla="*/ 57 w 122"/>
                <a:gd name="T43" fmla="*/ 15 h 152"/>
                <a:gd name="T44" fmla="*/ 45 w 122"/>
                <a:gd name="T45" fmla="*/ 25 h 152"/>
                <a:gd name="T46" fmla="*/ 38 w 122"/>
                <a:gd name="T47" fmla="*/ 21 h 152"/>
                <a:gd name="T48" fmla="*/ 35 w 122"/>
                <a:gd name="T49" fmla="*/ 24 h 152"/>
                <a:gd name="T50" fmla="*/ 33 w 122"/>
                <a:gd name="T51" fmla="*/ 26 h 152"/>
                <a:gd name="T52" fmla="*/ 31 w 122"/>
                <a:gd name="T53" fmla="*/ 27 h 152"/>
                <a:gd name="T54" fmla="*/ 27 w 122"/>
                <a:gd name="T55" fmla="*/ 28 h 152"/>
                <a:gd name="T56" fmla="*/ 23 w 122"/>
                <a:gd name="T57" fmla="*/ 14 h 152"/>
                <a:gd name="T58" fmla="*/ 22 w 122"/>
                <a:gd name="T59" fmla="*/ 11 h 152"/>
                <a:gd name="T60" fmla="*/ 16 w 122"/>
                <a:gd name="T61" fmla="*/ 7 h 152"/>
                <a:gd name="T62" fmla="*/ 16 w 122"/>
                <a:gd name="T63" fmla="*/ 3 h 152"/>
                <a:gd name="T64" fmla="*/ 14 w 122"/>
                <a:gd name="T65" fmla="*/ 3 h 152"/>
                <a:gd name="T66" fmla="*/ 10 w 122"/>
                <a:gd name="T67"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152">
                  <a:moveTo>
                    <a:pt x="38" y="21"/>
                  </a:moveTo>
                  <a:cubicBezTo>
                    <a:pt x="38" y="21"/>
                    <a:pt x="38" y="21"/>
                    <a:pt x="38" y="21"/>
                  </a:cubicBezTo>
                  <a:cubicBezTo>
                    <a:pt x="38" y="21"/>
                    <a:pt x="38" y="21"/>
                    <a:pt x="38" y="21"/>
                  </a:cubicBezTo>
                  <a:moveTo>
                    <a:pt x="3" y="0"/>
                  </a:moveTo>
                  <a:cubicBezTo>
                    <a:pt x="2" y="5"/>
                    <a:pt x="2" y="5"/>
                    <a:pt x="2" y="5"/>
                  </a:cubicBezTo>
                  <a:cubicBezTo>
                    <a:pt x="0" y="5"/>
                    <a:pt x="0" y="5"/>
                    <a:pt x="0" y="5"/>
                  </a:cubicBezTo>
                  <a:cubicBezTo>
                    <a:pt x="0" y="5"/>
                    <a:pt x="0" y="5"/>
                    <a:pt x="0" y="5"/>
                  </a:cubicBezTo>
                  <a:cubicBezTo>
                    <a:pt x="1" y="9"/>
                    <a:pt x="4" y="11"/>
                    <a:pt x="5" y="15"/>
                  </a:cubicBezTo>
                  <a:cubicBezTo>
                    <a:pt x="6" y="18"/>
                    <a:pt x="6" y="23"/>
                    <a:pt x="5" y="26"/>
                  </a:cubicBezTo>
                  <a:cubicBezTo>
                    <a:pt x="5" y="30"/>
                    <a:pt x="6" y="35"/>
                    <a:pt x="7" y="39"/>
                  </a:cubicBezTo>
                  <a:cubicBezTo>
                    <a:pt x="7" y="43"/>
                    <a:pt x="9" y="46"/>
                    <a:pt x="11" y="50"/>
                  </a:cubicBezTo>
                  <a:cubicBezTo>
                    <a:pt x="13" y="55"/>
                    <a:pt x="13" y="56"/>
                    <a:pt x="12" y="61"/>
                  </a:cubicBezTo>
                  <a:cubicBezTo>
                    <a:pt x="11" y="65"/>
                    <a:pt x="15" y="68"/>
                    <a:pt x="19" y="72"/>
                  </a:cubicBezTo>
                  <a:cubicBezTo>
                    <a:pt x="17" y="72"/>
                    <a:pt x="14" y="73"/>
                    <a:pt x="15" y="75"/>
                  </a:cubicBezTo>
                  <a:cubicBezTo>
                    <a:pt x="16" y="76"/>
                    <a:pt x="19" y="77"/>
                    <a:pt x="21" y="78"/>
                  </a:cubicBezTo>
                  <a:cubicBezTo>
                    <a:pt x="23" y="81"/>
                    <a:pt x="25" y="84"/>
                    <a:pt x="26" y="87"/>
                  </a:cubicBezTo>
                  <a:cubicBezTo>
                    <a:pt x="29" y="91"/>
                    <a:pt x="33" y="94"/>
                    <a:pt x="33" y="100"/>
                  </a:cubicBezTo>
                  <a:cubicBezTo>
                    <a:pt x="33" y="103"/>
                    <a:pt x="32" y="104"/>
                    <a:pt x="35" y="107"/>
                  </a:cubicBezTo>
                  <a:cubicBezTo>
                    <a:pt x="37" y="108"/>
                    <a:pt x="39" y="111"/>
                    <a:pt x="42" y="112"/>
                  </a:cubicBezTo>
                  <a:cubicBezTo>
                    <a:pt x="46" y="115"/>
                    <a:pt x="51" y="118"/>
                    <a:pt x="55" y="121"/>
                  </a:cubicBezTo>
                  <a:cubicBezTo>
                    <a:pt x="60" y="124"/>
                    <a:pt x="65" y="127"/>
                    <a:pt x="70" y="130"/>
                  </a:cubicBezTo>
                  <a:cubicBezTo>
                    <a:pt x="75" y="134"/>
                    <a:pt x="80" y="137"/>
                    <a:pt x="85" y="140"/>
                  </a:cubicBezTo>
                  <a:cubicBezTo>
                    <a:pt x="90" y="143"/>
                    <a:pt x="93" y="148"/>
                    <a:pt x="97" y="152"/>
                  </a:cubicBezTo>
                  <a:cubicBezTo>
                    <a:pt x="98" y="150"/>
                    <a:pt x="102" y="147"/>
                    <a:pt x="104" y="147"/>
                  </a:cubicBezTo>
                  <a:cubicBezTo>
                    <a:pt x="105" y="146"/>
                    <a:pt x="105" y="146"/>
                    <a:pt x="106" y="146"/>
                  </a:cubicBezTo>
                  <a:cubicBezTo>
                    <a:pt x="106" y="146"/>
                    <a:pt x="107" y="147"/>
                    <a:pt x="108" y="147"/>
                  </a:cubicBezTo>
                  <a:cubicBezTo>
                    <a:pt x="108" y="147"/>
                    <a:pt x="109" y="147"/>
                    <a:pt x="109" y="147"/>
                  </a:cubicBezTo>
                  <a:cubicBezTo>
                    <a:pt x="111" y="147"/>
                    <a:pt x="112" y="146"/>
                    <a:pt x="111" y="142"/>
                  </a:cubicBezTo>
                  <a:cubicBezTo>
                    <a:pt x="116" y="144"/>
                    <a:pt x="114" y="144"/>
                    <a:pt x="115" y="149"/>
                  </a:cubicBezTo>
                  <a:cubicBezTo>
                    <a:pt x="115" y="149"/>
                    <a:pt x="115" y="150"/>
                    <a:pt x="116" y="150"/>
                  </a:cubicBezTo>
                  <a:cubicBezTo>
                    <a:pt x="117" y="150"/>
                    <a:pt x="118" y="148"/>
                    <a:pt x="119" y="148"/>
                  </a:cubicBezTo>
                  <a:cubicBezTo>
                    <a:pt x="122" y="143"/>
                    <a:pt x="115" y="136"/>
                    <a:pt x="114" y="133"/>
                  </a:cubicBezTo>
                  <a:cubicBezTo>
                    <a:pt x="111" y="125"/>
                    <a:pt x="105" y="118"/>
                    <a:pt x="101" y="111"/>
                  </a:cubicBezTo>
                  <a:cubicBezTo>
                    <a:pt x="99" y="109"/>
                    <a:pt x="95" y="105"/>
                    <a:pt x="95" y="102"/>
                  </a:cubicBezTo>
                  <a:cubicBezTo>
                    <a:pt x="94" y="97"/>
                    <a:pt x="94" y="92"/>
                    <a:pt x="94" y="87"/>
                  </a:cubicBezTo>
                  <a:cubicBezTo>
                    <a:pt x="93" y="79"/>
                    <a:pt x="95" y="72"/>
                    <a:pt x="95" y="64"/>
                  </a:cubicBezTo>
                  <a:cubicBezTo>
                    <a:pt x="96" y="54"/>
                    <a:pt x="94" y="48"/>
                    <a:pt x="90" y="39"/>
                  </a:cubicBezTo>
                  <a:cubicBezTo>
                    <a:pt x="85" y="31"/>
                    <a:pt x="80" y="27"/>
                    <a:pt x="73" y="22"/>
                  </a:cubicBezTo>
                  <a:cubicBezTo>
                    <a:pt x="69" y="20"/>
                    <a:pt x="67" y="17"/>
                    <a:pt x="65" y="13"/>
                  </a:cubicBezTo>
                  <a:cubicBezTo>
                    <a:pt x="65" y="12"/>
                    <a:pt x="62" y="10"/>
                    <a:pt x="59" y="9"/>
                  </a:cubicBezTo>
                  <a:cubicBezTo>
                    <a:pt x="59" y="9"/>
                    <a:pt x="59" y="9"/>
                    <a:pt x="59" y="9"/>
                  </a:cubicBezTo>
                  <a:cubicBezTo>
                    <a:pt x="59" y="10"/>
                    <a:pt x="58" y="11"/>
                    <a:pt x="58" y="12"/>
                  </a:cubicBezTo>
                  <a:cubicBezTo>
                    <a:pt x="58" y="12"/>
                    <a:pt x="58" y="12"/>
                    <a:pt x="58" y="12"/>
                  </a:cubicBezTo>
                  <a:cubicBezTo>
                    <a:pt x="58" y="13"/>
                    <a:pt x="57" y="15"/>
                    <a:pt x="57" y="15"/>
                  </a:cubicBezTo>
                  <a:cubicBezTo>
                    <a:pt x="55" y="18"/>
                    <a:pt x="53" y="23"/>
                    <a:pt x="47" y="24"/>
                  </a:cubicBezTo>
                  <a:cubicBezTo>
                    <a:pt x="46" y="24"/>
                    <a:pt x="45" y="25"/>
                    <a:pt x="45" y="25"/>
                  </a:cubicBezTo>
                  <a:cubicBezTo>
                    <a:pt x="42" y="25"/>
                    <a:pt x="41" y="23"/>
                    <a:pt x="39" y="22"/>
                  </a:cubicBezTo>
                  <a:cubicBezTo>
                    <a:pt x="38" y="21"/>
                    <a:pt x="38" y="21"/>
                    <a:pt x="38" y="21"/>
                  </a:cubicBezTo>
                  <a:cubicBezTo>
                    <a:pt x="39" y="21"/>
                    <a:pt x="38" y="21"/>
                    <a:pt x="37" y="23"/>
                  </a:cubicBezTo>
                  <a:cubicBezTo>
                    <a:pt x="35" y="24"/>
                    <a:pt x="35" y="24"/>
                    <a:pt x="35" y="24"/>
                  </a:cubicBezTo>
                  <a:cubicBezTo>
                    <a:pt x="34" y="25"/>
                    <a:pt x="34" y="25"/>
                    <a:pt x="34" y="25"/>
                  </a:cubicBezTo>
                  <a:cubicBezTo>
                    <a:pt x="33" y="26"/>
                    <a:pt x="33" y="26"/>
                    <a:pt x="33" y="26"/>
                  </a:cubicBezTo>
                  <a:cubicBezTo>
                    <a:pt x="33" y="26"/>
                    <a:pt x="32" y="27"/>
                    <a:pt x="32" y="27"/>
                  </a:cubicBezTo>
                  <a:cubicBezTo>
                    <a:pt x="31" y="27"/>
                    <a:pt x="31" y="27"/>
                    <a:pt x="31" y="27"/>
                  </a:cubicBezTo>
                  <a:cubicBezTo>
                    <a:pt x="30" y="28"/>
                    <a:pt x="29" y="28"/>
                    <a:pt x="28" y="28"/>
                  </a:cubicBezTo>
                  <a:cubicBezTo>
                    <a:pt x="27" y="28"/>
                    <a:pt x="27" y="28"/>
                    <a:pt x="27" y="28"/>
                  </a:cubicBezTo>
                  <a:cubicBezTo>
                    <a:pt x="26" y="27"/>
                    <a:pt x="24" y="26"/>
                    <a:pt x="23" y="24"/>
                  </a:cubicBezTo>
                  <a:cubicBezTo>
                    <a:pt x="19" y="21"/>
                    <a:pt x="21" y="16"/>
                    <a:pt x="23" y="14"/>
                  </a:cubicBezTo>
                  <a:cubicBezTo>
                    <a:pt x="23" y="12"/>
                    <a:pt x="24" y="11"/>
                    <a:pt x="24" y="11"/>
                  </a:cubicBezTo>
                  <a:cubicBezTo>
                    <a:pt x="23" y="11"/>
                    <a:pt x="23" y="11"/>
                    <a:pt x="22" y="11"/>
                  </a:cubicBezTo>
                  <a:cubicBezTo>
                    <a:pt x="22" y="11"/>
                    <a:pt x="22" y="11"/>
                    <a:pt x="22" y="11"/>
                  </a:cubicBezTo>
                  <a:cubicBezTo>
                    <a:pt x="18" y="11"/>
                    <a:pt x="17" y="8"/>
                    <a:pt x="16" y="7"/>
                  </a:cubicBezTo>
                  <a:cubicBezTo>
                    <a:pt x="16" y="6"/>
                    <a:pt x="16" y="6"/>
                    <a:pt x="16" y="5"/>
                  </a:cubicBezTo>
                  <a:cubicBezTo>
                    <a:pt x="16" y="4"/>
                    <a:pt x="16" y="4"/>
                    <a:pt x="16" y="3"/>
                  </a:cubicBezTo>
                  <a:cubicBezTo>
                    <a:pt x="15" y="3"/>
                    <a:pt x="15" y="3"/>
                    <a:pt x="15" y="3"/>
                  </a:cubicBezTo>
                  <a:cubicBezTo>
                    <a:pt x="14" y="3"/>
                    <a:pt x="14" y="3"/>
                    <a:pt x="14" y="3"/>
                  </a:cubicBezTo>
                  <a:cubicBezTo>
                    <a:pt x="13" y="3"/>
                    <a:pt x="12" y="2"/>
                    <a:pt x="10" y="2"/>
                  </a:cubicBezTo>
                  <a:cubicBezTo>
                    <a:pt x="10" y="2"/>
                    <a:pt x="10" y="2"/>
                    <a:pt x="10" y="2"/>
                  </a:cubicBezTo>
                  <a:cubicBezTo>
                    <a:pt x="7" y="2"/>
                    <a:pt x="5" y="1"/>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South-East Asia and Australia</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sp>
        <p:nvSpPr>
          <p:cNvPr id="4" name="Rectangle 3">
            <a:hlinkClick r:id="rId3" action="ppaction://hlinksldjump"/>
            <a:extLst>
              <a:ext uri="{FF2B5EF4-FFF2-40B4-BE49-F238E27FC236}">
                <a16:creationId xmlns:a16="http://schemas.microsoft.com/office/drawing/2014/main" id="{65B21AB9-102F-45FC-B028-DA60FDA7EC3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106861804"/>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China</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grpSp>
        <p:nvGrpSpPr>
          <p:cNvPr id="5" name="Group 4">
            <a:extLst>
              <a:ext uri="{FF2B5EF4-FFF2-40B4-BE49-F238E27FC236}">
                <a16:creationId xmlns:a16="http://schemas.microsoft.com/office/drawing/2014/main" id="{D17DC7ED-B3D2-4D70-B275-EF8C02B9E25F}"/>
              </a:ext>
            </a:extLst>
          </p:cNvPr>
          <p:cNvGrpSpPr/>
          <p:nvPr/>
        </p:nvGrpSpPr>
        <p:grpSpPr>
          <a:xfrm>
            <a:off x="3339044" y="1406539"/>
            <a:ext cx="5751551" cy="4681537"/>
            <a:chOff x="1696224" y="1665288"/>
            <a:chExt cx="5751551" cy="4681537"/>
          </a:xfrm>
          <a:solidFill>
            <a:srgbClr val="96968C">
              <a:lumMod val="40000"/>
              <a:lumOff val="60000"/>
            </a:srgbClr>
          </a:solidFill>
        </p:grpSpPr>
        <p:sp>
          <p:nvSpPr>
            <p:cNvPr id="6" name="Freeform 7">
              <a:extLst>
                <a:ext uri="{FF2B5EF4-FFF2-40B4-BE49-F238E27FC236}">
                  <a16:creationId xmlns:a16="http://schemas.microsoft.com/office/drawing/2014/main" id="{E13BFAC2-AB69-4D19-A933-4F8BA6E21C49}"/>
                </a:ext>
              </a:extLst>
            </p:cNvPr>
            <p:cNvSpPr>
              <a:spLocks/>
            </p:cNvSpPr>
            <p:nvPr/>
          </p:nvSpPr>
          <p:spPr bwMode="auto">
            <a:xfrm>
              <a:off x="6208812" y="1665288"/>
              <a:ext cx="1238963" cy="1204446"/>
            </a:xfrm>
            <a:custGeom>
              <a:avLst/>
              <a:gdLst/>
              <a:ahLst/>
              <a:cxnLst>
                <a:cxn ang="0">
                  <a:pos x="1252" y="1031"/>
                </a:cxn>
                <a:cxn ang="0">
                  <a:pos x="1295" y="958"/>
                </a:cxn>
                <a:cxn ang="0">
                  <a:pos x="1325" y="861"/>
                </a:cxn>
                <a:cxn ang="0">
                  <a:pos x="1321" y="751"/>
                </a:cxn>
                <a:cxn ang="0">
                  <a:pos x="1329" y="678"/>
                </a:cxn>
                <a:cxn ang="0">
                  <a:pos x="1344" y="598"/>
                </a:cxn>
                <a:cxn ang="0">
                  <a:pos x="1331" y="529"/>
                </a:cxn>
                <a:cxn ang="0">
                  <a:pos x="1213" y="598"/>
                </a:cxn>
                <a:cxn ang="0">
                  <a:pos x="1097" y="686"/>
                </a:cxn>
                <a:cxn ang="0">
                  <a:pos x="992" y="686"/>
                </a:cxn>
                <a:cxn ang="0">
                  <a:pos x="970" y="622"/>
                </a:cxn>
                <a:cxn ang="0">
                  <a:pos x="942" y="553"/>
                </a:cxn>
                <a:cxn ang="0">
                  <a:pos x="860" y="529"/>
                </a:cxn>
                <a:cxn ang="0">
                  <a:pos x="792" y="512"/>
                </a:cxn>
                <a:cxn ang="0">
                  <a:pos x="693" y="497"/>
                </a:cxn>
                <a:cxn ang="0">
                  <a:pos x="619" y="430"/>
                </a:cxn>
                <a:cxn ang="0">
                  <a:pos x="583" y="360"/>
                </a:cxn>
                <a:cxn ang="0">
                  <a:pos x="538" y="288"/>
                </a:cxn>
                <a:cxn ang="0">
                  <a:pos x="478" y="188"/>
                </a:cxn>
                <a:cxn ang="0">
                  <a:pos x="462" y="151"/>
                </a:cxn>
                <a:cxn ang="0">
                  <a:pos x="389" y="54"/>
                </a:cxn>
                <a:cxn ang="0">
                  <a:pos x="303" y="39"/>
                </a:cxn>
                <a:cxn ang="0">
                  <a:pos x="144" y="5"/>
                </a:cxn>
                <a:cxn ang="0">
                  <a:pos x="67" y="24"/>
                </a:cxn>
                <a:cxn ang="0">
                  <a:pos x="32" y="101"/>
                </a:cxn>
                <a:cxn ang="0">
                  <a:pos x="24" y="175"/>
                </a:cxn>
                <a:cxn ang="0">
                  <a:pos x="82" y="164"/>
                </a:cxn>
                <a:cxn ang="0">
                  <a:pos x="135" y="202"/>
                </a:cxn>
                <a:cxn ang="0">
                  <a:pos x="172" y="312"/>
                </a:cxn>
                <a:cxn ang="0">
                  <a:pos x="247" y="312"/>
                </a:cxn>
                <a:cxn ang="0">
                  <a:pos x="355" y="259"/>
                </a:cxn>
                <a:cxn ang="0">
                  <a:pos x="450" y="316"/>
                </a:cxn>
                <a:cxn ang="0">
                  <a:pos x="413" y="484"/>
                </a:cxn>
                <a:cxn ang="0">
                  <a:pos x="406" y="607"/>
                </a:cxn>
                <a:cxn ang="0">
                  <a:pos x="381" y="695"/>
                </a:cxn>
                <a:cxn ang="0">
                  <a:pos x="383" y="758"/>
                </a:cxn>
                <a:cxn ang="0">
                  <a:pos x="353" y="708"/>
                </a:cxn>
                <a:cxn ang="0">
                  <a:pos x="222" y="856"/>
                </a:cxn>
                <a:cxn ang="0">
                  <a:pos x="245" y="945"/>
                </a:cxn>
                <a:cxn ang="0">
                  <a:pos x="290" y="953"/>
                </a:cxn>
                <a:cxn ang="0">
                  <a:pos x="323" y="955"/>
                </a:cxn>
                <a:cxn ang="0">
                  <a:pos x="275" y="1001"/>
                </a:cxn>
                <a:cxn ang="0">
                  <a:pos x="321" y="1044"/>
                </a:cxn>
                <a:cxn ang="0">
                  <a:pos x="383" y="1091"/>
                </a:cxn>
                <a:cxn ang="0">
                  <a:pos x="452" y="1140"/>
                </a:cxn>
                <a:cxn ang="0">
                  <a:pos x="523" y="1128"/>
                </a:cxn>
                <a:cxn ang="0">
                  <a:pos x="602" y="1160"/>
                </a:cxn>
                <a:cxn ang="0">
                  <a:pos x="697" y="1151"/>
                </a:cxn>
                <a:cxn ang="0">
                  <a:pos x="708" y="1211"/>
                </a:cxn>
                <a:cxn ang="0">
                  <a:pos x="766" y="1239"/>
                </a:cxn>
                <a:cxn ang="0">
                  <a:pos x="828" y="1265"/>
                </a:cxn>
                <a:cxn ang="0">
                  <a:pos x="847" y="1203"/>
                </a:cxn>
                <a:cxn ang="0">
                  <a:pos x="901" y="1298"/>
                </a:cxn>
                <a:cxn ang="0">
                  <a:pos x="951" y="1298"/>
                </a:cxn>
                <a:cxn ang="0">
                  <a:pos x="1019" y="1248"/>
                </a:cxn>
                <a:cxn ang="0">
                  <a:pos x="1060" y="1244"/>
                </a:cxn>
                <a:cxn ang="0">
                  <a:pos x="1161" y="1289"/>
                </a:cxn>
                <a:cxn ang="0">
                  <a:pos x="1099" y="1102"/>
                </a:cxn>
              </a:cxnLst>
              <a:rect l="0" t="0" r="r" b="b"/>
              <a:pathLst>
                <a:path w="1364" h="1326">
                  <a:moveTo>
                    <a:pt x="1149" y="1055"/>
                  </a:moveTo>
                  <a:lnTo>
                    <a:pt x="1149" y="1055"/>
                  </a:lnTo>
                  <a:lnTo>
                    <a:pt x="1153" y="1044"/>
                  </a:lnTo>
                  <a:lnTo>
                    <a:pt x="1159" y="1037"/>
                  </a:lnTo>
                  <a:lnTo>
                    <a:pt x="1166" y="1031"/>
                  </a:lnTo>
                  <a:lnTo>
                    <a:pt x="1176" y="1029"/>
                  </a:lnTo>
                  <a:lnTo>
                    <a:pt x="1187" y="1027"/>
                  </a:lnTo>
                  <a:lnTo>
                    <a:pt x="1200" y="1027"/>
                  </a:lnTo>
                  <a:lnTo>
                    <a:pt x="1226" y="1029"/>
                  </a:lnTo>
                  <a:lnTo>
                    <a:pt x="1252" y="1031"/>
                  </a:lnTo>
                  <a:lnTo>
                    <a:pt x="1263" y="1031"/>
                  </a:lnTo>
                  <a:lnTo>
                    <a:pt x="1275" y="1031"/>
                  </a:lnTo>
                  <a:lnTo>
                    <a:pt x="1282" y="1029"/>
                  </a:lnTo>
                  <a:lnTo>
                    <a:pt x="1290" y="1026"/>
                  </a:lnTo>
                  <a:lnTo>
                    <a:pt x="1293" y="1020"/>
                  </a:lnTo>
                  <a:lnTo>
                    <a:pt x="1293" y="1011"/>
                  </a:lnTo>
                  <a:lnTo>
                    <a:pt x="1293" y="1011"/>
                  </a:lnTo>
                  <a:lnTo>
                    <a:pt x="1293" y="984"/>
                  </a:lnTo>
                  <a:lnTo>
                    <a:pt x="1293" y="968"/>
                  </a:lnTo>
                  <a:lnTo>
                    <a:pt x="1295" y="958"/>
                  </a:lnTo>
                  <a:lnTo>
                    <a:pt x="1297" y="953"/>
                  </a:lnTo>
                  <a:lnTo>
                    <a:pt x="1301" y="949"/>
                  </a:lnTo>
                  <a:lnTo>
                    <a:pt x="1303" y="945"/>
                  </a:lnTo>
                  <a:lnTo>
                    <a:pt x="1304" y="938"/>
                  </a:lnTo>
                  <a:lnTo>
                    <a:pt x="1306" y="923"/>
                  </a:lnTo>
                  <a:lnTo>
                    <a:pt x="1306" y="923"/>
                  </a:lnTo>
                  <a:lnTo>
                    <a:pt x="1306" y="913"/>
                  </a:lnTo>
                  <a:lnTo>
                    <a:pt x="1310" y="900"/>
                  </a:lnTo>
                  <a:lnTo>
                    <a:pt x="1321" y="874"/>
                  </a:lnTo>
                  <a:lnTo>
                    <a:pt x="1325" y="861"/>
                  </a:lnTo>
                  <a:lnTo>
                    <a:pt x="1329" y="846"/>
                  </a:lnTo>
                  <a:lnTo>
                    <a:pt x="1331" y="831"/>
                  </a:lnTo>
                  <a:lnTo>
                    <a:pt x="1327" y="818"/>
                  </a:lnTo>
                  <a:lnTo>
                    <a:pt x="1327" y="818"/>
                  </a:lnTo>
                  <a:lnTo>
                    <a:pt x="1325" y="807"/>
                  </a:lnTo>
                  <a:lnTo>
                    <a:pt x="1325" y="796"/>
                  </a:lnTo>
                  <a:lnTo>
                    <a:pt x="1323" y="779"/>
                  </a:lnTo>
                  <a:lnTo>
                    <a:pt x="1321" y="758"/>
                  </a:lnTo>
                  <a:lnTo>
                    <a:pt x="1321" y="758"/>
                  </a:lnTo>
                  <a:lnTo>
                    <a:pt x="1321" y="751"/>
                  </a:lnTo>
                  <a:lnTo>
                    <a:pt x="1321" y="743"/>
                  </a:lnTo>
                  <a:lnTo>
                    <a:pt x="1325" y="730"/>
                  </a:lnTo>
                  <a:lnTo>
                    <a:pt x="1327" y="717"/>
                  </a:lnTo>
                  <a:lnTo>
                    <a:pt x="1327" y="710"/>
                  </a:lnTo>
                  <a:lnTo>
                    <a:pt x="1325" y="702"/>
                  </a:lnTo>
                  <a:lnTo>
                    <a:pt x="1325" y="702"/>
                  </a:lnTo>
                  <a:lnTo>
                    <a:pt x="1323" y="697"/>
                  </a:lnTo>
                  <a:lnTo>
                    <a:pt x="1323" y="689"/>
                  </a:lnTo>
                  <a:lnTo>
                    <a:pt x="1325" y="684"/>
                  </a:lnTo>
                  <a:lnTo>
                    <a:pt x="1329" y="678"/>
                  </a:lnTo>
                  <a:lnTo>
                    <a:pt x="1340" y="665"/>
                  </a:lnTo>
                  <a:lnTo>
                    <a:pt x="1351" y="654"/>
                  </a:lnTo>
                  <a:lnTo>
                    <a:pt x="1361" y="643"/>
                  </a:lnTo>
                  <a:lnTo>
                    <a:pt x="1362" y="637"/>
                  </a:lnTo>
                  <a:lnTo>
                    <a:pt x="1364" y="629"/>
                  </a:lnTo>
                  <a:lnTo>
                    <a:pt x="1362" y="622"/>
                  </a:lnTo>
                  <a:lnTo>
                    <a:pt x="1359" y="615"/>
                  </a:lnTo>
                  <a:lnTo>
                    <a:pt x="1353" y="607"/>
                  </a:lnTo>
                  <a:lnTo>
                    <a:pt x="1344" y="598"/>
                  </a:lnTo>
                  <a:lnTo>
                    <a:pt x="1344" y="598"/>
                  </a:lnTo>
                  <a:lnTo>
                    <a:pt x="1340" y="594"/>
                  </a:lnTo>
                  <a:lnTo>
                    <a:pt x="1338" y="590"/>
                  </a:lnTo>
                  <a:lnTo>
                    <a:pt x="1336" y="581"/>
                  </a:lnTo>
                  <a:lnTo>
                    <a:pt x="1338" y="570"/>
                  </a:lnTo>
                  <a:lnTo>
                    <a:pt x="1338" y="558"/>
                  </a:lnTo>
                  <a:lnTo>
                    <a:pt x="1340" y="547"/>
                  </a:lnTo>
                  <a:lnTo>
                    <a:pt x="1340" y="538"/>
                  </a:lnTo>
                  <a:lnTo>
                    <a:pt x="1336" y="532"/>
                  </a:lnTo>
                  <a:lnTo>
                    <a:pt x="1334" y="529"/>
                  </a:lnTo>
                  <a:lnTo>
                    <a:pt x="1331" y="529"/>
                  </a:lnTo>
                  <a:lnTo>
                    <a:pt x="1331" y="529"/>
                  </a:lnTo>
                  <a:lnTo>
                    <a:pt x="1323" y="527"/>
                  </a:lnTo>
                  <a:lnTo>
                    <a:pt x="1316" y="529"/>
                  </a:lnTo>
                  <a:lnTo>
                    <a:pt x="1301" y="534"/>
                  </a:lnTo>
                  <a:lnTo>
                    <a:pt x="1286" y="544"/>
                  </a:lnTo>
                  <a:lnTo>
                    <a:pt x="1269" y="555"/>
                  </a:lnTo>
                  <a:lnTo>
                    <a:pt x="1241" y="579"/>
                  </a:lnTo>
                  <a:lnTo>
                    <a:pt x="1226" y="590"/>
                  </a:lnTo>
                  <a:lnTo>
                    <a:pt x="1213" y="598"/>
                  </a:lnTo>
                  <a:lnTo>
                    <a:pt x="1213" y="598"/>
                  </a:lnTo>
                  <a:lnTo>
                    <a:pt x="1196" y="605"/>
                  </a:lnTo>
                  <a:lnTo>
                    <a:pt x="1183" y="616"/>
                  </a:lnTo>
                  <a:lnTo>
                    <a:pt x="1174" y="628"/>
                  </a:lnTo>
                  <a:lnTo>
                    <a:pt x="1166" y="639"/>
                  </a:lnTo>
                  <a:lnTo>
                    <a:pt x="1155" y="661"/>
                  </a:lnTo>
                  <a:lnTo>
                    <a:pt x="1151" y="667"/>
                  </a:lnTo>
                  <a:lnTo>
                    <a:pt x="1147" y="671"/>
                  </a:lnTo>
                  <a:lnTo>
                    <a:pt x="1147" y="671"/>
                  </a:lnTo>
                  <a:lnTo>
                    <a:pt x="1118" y="680"/>
                  </a:lnTo>
                  <a:lnTo>
                    <a:pt x="1097" y="686"/>
                  </a:lnTo>
                  <a:lnTo>
                    <a:pt x="1067" y="691"/>
                  </a:lnTo>
                  <a:lnTo>
                    <a:pt x="1050" y="691"/>
                  </a:lnTo>
                  <a:lnTo>
                    <a:pt x="1035" y="693"/>
                  </a:lnTo>
                  <a:lnTo>
                    <a:pt x="1035" y="693"/>
                  </a:lnTo>
                  <a:lnTo>
                    <a:pt x="1022" y="699"/>
                  </a:lnTo>
                  <a:lnTo>
                    <a:pt x="1015" y="702"/>
                  </a:lnTo>
                  <a:lnTo>
                    <a:pt x="1011" y="706"/>
                  </a:lnTo>
                  <a:lnTo>
                    <a:pt x="1009" y="708"/>
                  </a:lnTo>
                  <a:lnTo>
                    <a:pt x="1002" y="699"/>
                  </a:lnTo>
                  <a:lnTo>
                    <a:pt x="992" y="686"/>
                  </a:lnTo>
                  <a:lnTo>
                    <a:pt x="974" y="667"/>
                  </a:lnTo>
                  <a:lnTo>
                    <a:pt x="974" y="667"/>
                  </a:lnTo>
                  <a:lnTo>
                    <a:pt x="964" y="654"/>
                  </a:lnTo>
                  <a:lnTo>
                    <a:pt x="962" y="650"/>
                  </a:lnTo>
                  <a:lnTo>
                    <a:pt x="964" y="648"/>
                  </a:lnTo>
                  <a:lnTo>
                    <a:pt x="966" y="644"/>
                  </a:lnTo>
                  <a:lnTo>
                    <a:pt x="968" y="641"/>
                  </a:lnTo>
                  <a:lnTo>
                    <a:pt x="970" y="633"/>
                  </a:lnTo>
                  <a:lnTo>
                    <a:pt x="970" y="622"/>
                  </a:lnTo>
                  <a:lnTo>
                    <a:pt x="970" y="622"/>
                  </a:lnTo>
                  <a:lnTo>
                    <a:pt x="968" y="609"/>
                  </a:lnTo>
                  <a:lnTo>
                    <a:pt x="964" y="603"/>
                  </a:lnTo>
                  <a:lnTo>
                    <a:pt x="959" y="600"/>
                  </a:lnTo>
                  <a:lnTo>
                    <a:pt x="953" y="598"/>
                  </a:lnTo>
                  <a:lnTo>
                    <a:pt x="949" y="596"/>
                  </a:lnTo>
                  <a:lnTo>
                    <a:pt x="946" y="590"/>
                  </a:lnTo>
                  <a:lnTo>
                    <a:pt x="942" y="581"/>
                  </a:lnTo>
                  <a:lnTo>
                    <a:pt x="942" y="564"/>
                  </a:lnTo>
                  <a:lnTo>
                    <a:pt x="942" y="564"/>
                  </a:lnTo>
                  <a:lnTo>
                    <a:pt x="942" y="553"/>
                  </a:lnTo>
                  <a:lnTo>
                    <a:pt x="940" y="549"/>
                  </a:lnTo>
                  <a:lnTo>
                    <a:pt x="938" y="549"/>
                  </a:lnTo>
                  <a:lnTo>
                    <a:pt x="931" y="549"/>
                  </a:lnTo>
                  <a:lnTo>
                    <a:pt x="921" y="551"/>
                  </a:lnTo>
                  <a:lnTo>
                    <a:pt x="908" y="551"/>
                  </a:lnTo>
                  <a:lnTo>
                    <a:pt x="901" y="549"/>
                  </a:lnTo>
                  <a:lnTo>
                    <a:pt x="891" y="547"/>
                  </a:lnTo>
                  <a:lnTo>
                    <a:pt x="882" y="544"/>
                  </a:lnTo>
                  <a:lnTo>
                    <a:pt x="871" y="536"/>
                  </a:lnTo>
                  <a:lnTo>
                    <a:pt x="860" y="529"/>
                  </a:lnTo>
                  <a:lnTo>
                    <a:pt x="845" y="515"/>
                  </a:lnTo>
                  <a:lnTo>
                    <a:pt x="845" y="515"/>
                  </a:lnTo>
                  <a:lnTo>
                    <a:pt x="830" y="502"/>
                  </a:lnTo>
                  <a:lnTo>
                    <a:pt x="824" y="501"/>
                  </a:lnTo>
                  <a:lnTo>
                    <a:pt x="819" y="499"/>
                  </a:lnTo>
                  <a:lnTo>
                    <a:pt x="813" y="499"/>
                  </a:lnTo>
                  <a:lnTo>
                    <a:pt x="809" y="499"/>
                  </a:lnTo>
                  <a:lnTo>
                    <a:pt x="804" y="502"/>
                  </a:lnTo>
                  <a:lnTo>
                    <a:pt x="798" y="508"/>
                  </a:lnTo>
                  <a:lnTo>
                    <a:pt x="792" y="512"/>
                  </a:lnTo>
                  <a:lnTo>
                    <a:pt x="791" y="514"/>
                  </a:lnTo>
                  <a:lnTo>
                    <a:pt x="787" y="514"/>
                  </a:lnTo>
                  <a:lnTo>
                    <a:pt x="781" y="512"/>
                  </a:lnTo>
                  <a:lnTo>
                    <a:pt x="776" y="508"/>
                  </a:lnTo>
                  <a:lnTo>
                    <a:pt x="776" y="508"/>
                  </a:lnTo>
                  <a:lnTo>
                    <a:pt x="759" y="495"/>
                  </a:lnTo>
                  <a:lnTo>
                    <a:pt x="744" y="489"/>
                  </a:lnTo>
                  <a:lnTo>
                    <a:pt x="731" y="489"/>
                  </a:lnTo>
                  <a:lnTo>
                    <a:pt x="720" y="491"/>
                  </a:lnTo>
                  <a:lnTo>
                    <a:pt x="693" y="497"/>
                  </a:lnTo>
                  <a:lnTo>
                    <a:pt x="677" y="499"/>
                  </a:lnTo>
                  <a:lnTo>
                    <a:pt x="658" y="499"/>
                  </a:lnTo>
                  <a:lnTo>
                    <a:pt x="658" y="499"/>
                  </a:lnTo>
                  <a:lnTo>
                    <a:pt x="650" y="497"/>
                  </a:lnTo>
                  <a:lnTo>
                    <a:pt x="643" y="495"/>
                  </a:lnTo>
                  <a:lnTo>
                    <a:pt x="637" y="489"/>
                  </a:lnTo>
                  <a:lnTo>
                    <a:pt x="634" y="484"/>
                  </a:lnTo>
                  <a:lnTo>
                    <a:pt x="628" y="473"/>
                  </a:lnTo>
                  <a:lnTo>
                    <a:pt x="622" y="458"/>
                  </a:lnTo>
                  <a:lnTo>
                    <a:pt x="619" y="430"/>
                  </a:lnTo>
                  <a:lnTo>
                    <a:pt x="617" y="418"/>
                  </a:lnTo>
                  <a:lnTo>
                    <a:pt x="615" y="415"/>
                  </a:lnTo>
                  <a:lnTo>
                    <a:pt x="611" y="413"/>
                  </a:lnTo>
                  <a:lnTo>
                    <a:pt x="611" y="413"/>
                  </a:lnTo>
                  <a:lnTo>
                    <a:pt x="604" y="405"/>
                  </a:lnTo>
                  <a:lnTo>
                    <a:pt x="598" y="400"/>
                  </a:lnTo>
                  <a:lnTo>
                    <a:pt x="596" y="396"/>
                  </a:lnTo>
                  <a:lnTo>
                    <a:pt x="594" y="388"/>
                  </a:lnTo>
                  <a:lnTo>
                    <a:pt x="589" y="372"/>
                  </a:lnTo>
                  <a:lnTo>
                    <a:pt x="583" y="360"/>
                  </a:lnTo>
                  <a:lnTo>
                    <a:pt x="574" y="344"/>
                  </a:lnTo>
                  <a:lnTo>
                    <a:pt x="574" y="344"/>
                  </a:lnTo>
                  <a:lnTo>
                    <a:pt x="566" y="332"/>
                  </a:lnTo>
                  <a:lnTo>
                    <a:pt x="559" y="325"/>
                  </a:lnTo>
                  <a:lnTo>
                    <a:pt x="549" y="317"/>
                  </a:lnTo>
                  <a:lnTo>
                    <a:pt x="546" y="316"/>
                  </a:lnTo>
                  <a:lnTo>
                    <a:pt x="542" y="310"/>
                  </a:lnTo>
                  <a:lnTo>
                    <a:pt x="540" y="301"/>
                  </a:lnTo>
                  <a:lnTo>
                    <a:pt x="538" y="288"/>
                  </a:lnTo>
                  <a:lnTo>
                    <a:pt x="538" y="288"/>
                  </a:lnTo>
                  <a:lnTo>
                    <a:pt x="536" y="284"/>
                  </a:lnTo>
                  <a:lnTo>
                    <a:pt x="535" y="278"/>
                  </a:lnTo>
                  <a:lnTo>
                    <a:pt x="529" y="271"/>
                  </a:lnTo>
                  <a:lnTo>
                    <a:pt x="521" y="263"/>
                  </a:lnTo>
                  <a:lnTo>
                    <a:pt x="518" y="254"/>
                  </a:lnTo>
                  <a:lnTo>
                    <a:pt x="518" y="254"/>
                  </a:lnTo>
                  <a:lnTo>
                    <a:pt x="514" y="243"/>
                  </a:lnTo>
                  <a:lnTo>
                    <a:pt x="508" y="231"/>
                  </a:lnTo>
                  <a:lnTo>
                    <a:pt x="495" y="211"/>
                  </a:lnTo>
                  <a:lnTo>
                    <a:pt x="478" y="188"/>
                  </a:lnTo>
                  <a:lnTo>
                    <a:pt x="478" y="188"/>
                  </a:lnTo>
                  <a:lnTo>
                    <a:pt x="477" y="181"/>
                  </a:lnTo>
                  <a:lnTo>
                    <a:pt x="477" y="172"/>
                  </a:lnTo>
                  <a:lnTo>
                    <a:pt x="478" y="162"/>
                  </a:lnTo>
                  <a:lnTo>
                    <a:pt x="475" y="155"/>
                  </a:lnTo>
                  <a:lnTo>
                    <a:pt x="475" y="155"/>
                  </a:lnTo>
                  <a:lnTo>
                    <a:pt x="475" y="153"/>
                  </a:lnTo>
                  <a:lnTo>
                    <a:pt x="471" y="153"/>
                  </a:lnTo>
                  <a:lnTo>
                    <a:pt x="465" y="153"/>
                  </a:lnTo>
                  <a:lnTo>
                    <a:pt x="462" y="151"/>
                  </a:lnTo>
                  <a:lnTo>
                    <a:pt x="458" y="149"/>
                  </a:lnTo>
                  <a:lnTo>
                    <a:pt x="456" y="144"/>
                  </a:lnTo>
                  <a:lnTo>
                    <a:pt x="454" y="136"/>
                  </a:lnTo>
                  <a:lnTo>
                    <a:pt x="454" y="136"/>
                  </a:lnTo>
                  <a:lnTo>
                    <a:pt x="447" y="123"/>
                  </a:lnTo>
                  <a:lnTo>
                    <a:pt x="434" y="101"/>
                  </a:lnTo>
                  <a:lnTo>
                    <a:pt x="415" y="71"/>
                  </a:lnTo>
                  <a:lnTo>
                    <a:pt x="415" y="71"/>
                  </a:lnTo>
                  <a:lnTo>
                    <a:pt x="402" y="63"/>
                  </a:lnTo>
                  <a:lnTo>
                    <a:pt x="389" y="54"/>
                  </a:lnTo>
                  <a:lnTo>
                    <a:pt x="376" y="45"/>
                  </a:lnTo>
                  <a:lnTo>
                    <a:pt x="364" y="35"/>
                  </a:lnTo>
                  <a:lnTo>
                    <a:pt x="351" y="30"/>
                  </a:lnTo>
                  <a:lnTo>
                    <a:pt x="336" y="28"/>
                  </a:lnTo>
                  <a:lnTo>
                    <a:pt x="331" y="28"/>
                  </a:lnTo>
                  <a:lnTo>
                    <a:pt x="323" y="30"/>
                  </a:lnTo>
                  <a:lnTo>
                    <a:pt x="316" y="32"/>
                  </a:lnTo>
                  <a:lnTo>
                    <a:pt x="308" y="35"/>
                  </a:lnTo>
                  <a:lnTo>
                    <a:pt x="308" y="35"/>
                  </a:lnTo>
                  <a:lnTo>
                    <a:pt x="303" y="39"/>
                  </a:lnTo>
                  <a:lnTo>
                    <a:pt x="295" y="39"/>
                  </a:lnTo>
                  <a:lnTo>
                    <a:pt x="290" y="37"/>
                  </a:lnTo>
                  <a:lnTo>
                    <a:pt x="282" y="33"/>
                  </a:lnTo>
                  <a:lnTo>
                    <a:pt x="243" y="13"/>
                  </a:lnTo>
                  <a:lnTo>
                    <a:pt x="221" y="4"/>
                  </a:lnTo>
                  <a:lnTo>
                    <a:pt x="207" y="2"/>
                  </a:lnTo>
                  <a:lnTo>
                    <a:pt x="193" y="0"/>
                  </a:lnTo>
                  <a:lnTo>
                    <a:pt x="178" y="0"/>
                  </a:lnTo>
                  <a:lnTo>
                    <a:pt x="161" y="2"/>
                  </a:lnTo>
                  <a:lnTo>
                    <a:pt x="144" y="5"/>
                  </a:lnTo>
                  <a:lnTo>
                    <a:pt x="127" y="13"/>
                  </a:lnTo>
                  <a:lnTo>
                    <a:pt x="127" y="13"/>
                  </a:lnTo>
                  <a:lnTo>
                    <a:pt x="120" y="15"/>
                  </a:lnTo>
                  <a:lnTo>
                    <a:pt x="110" y="17"/>
                  </a:lnTo>
                  <a:lnTo>
                    <a:pt x="95" y="17"/>
                  </a:lnTo>
                  <a:lnTo>
                    <a:pt x="80" y="17"/>
                  </a:lnTo>
                  <a:lnTo>
                    <a:pt x="75" y="18"/>
                  </a:lnTo>
                  <a:lnTo>
                    <a:pt x="71" y="20"/>
                  </a:lnTo>
                  <a:lnTo>
                    <a:pt x="71" y="20"/>
                  </a:lnTo>
                  <a:lnTo>
                    <a:pt x="67" y="24"/>
                  </a:lnTo>
                  <a:lnTo>
                    <a:pt x="60" y="28"/>
                  </a:lnTo>
                  <a:lnTo>
                    <a:pt x="41" y="33"/>
                  </a:lnTo>
                  <a:lnTo>
                    <a:pt x="0" y="41"/>
                  </a:lnTo>
                  <a:lnTo>
                    <a:pt x="0" y="41"/>
                  </a:lnTo>
                  <a:lnTo>
                    <a:pt x="17" y="52"/>
                  </a:lnTo>
                  <a:lnTo>
                    <a:pt x="28" y="63"/>
                  </a:lnTo>
                  <a:lnTo>
                    <a:pt x="34" y="73"/>
                  </a:lnTo>
                  <a:lnTo>
                    <a:pt x="36" y="84"/>
                  </a:lnTo>
                  <a:lnTo>
                    <a:pt x="36" y="91"/>
                  </a:lnTo>
                  <a:lnTo>
                    <a:pt x="32" y="101"/>
                  </a:lnTo>
                  <a:lnTo>
                    <a:pt x="26" y="110"/>
                  </a:lnTo>
                  <a:lnTo>
                    <a:pt x="21" y="117"/>
                  </a:lnTo>
                  <a:lnTo>
                    <a:pt x="7" y="132"/>
                  </a:lnTo>
                  <a:lnTo>
                    <a:pt x="4" y="140"/>
                  </a:lnTo>
                  <a:lnTo>
                    <a:pt x="0" y="147"/>
                  </a:lnTo>
                  <a:lnTo>
                    <a:pt x="0" y="155"/>
                  </a:lnTo>
                  <a:lnTo>
                    <a:pt x="4" y="160"/>
                  </a:lnTo>
                  <a:lnTo>
                    <a:pt x="11" y="168"/>
                  </a:lnTo>
                  <a:lnTo>
                    <a:pt x="24" y="175"/>
                  </a:lnTo>
                  <a:lnTo>
                    <a:pt x="24" y="175"/>
                  </a:lnTo>
                  <a:lnTo>
                    <a:pt x="34" y="179"/>
                  </a:lnTo>
                  <a:lnTo>
                    <a:pt x="41" y="185"/>
                  </a:lnTo>
                  <a:lnTo>
                    <a:pt x="47" y="188"/>
                  </a:lnTo>
                  <a:lnTo>
                    <a:pt x="52" y="190"/>
                  </a:lnTo>
                  <a:lnTo>
                    <a:pt x="58" y="190"/>
                  </a:lnTo>
                  <a:lnTo>
                    <a:pt x="62" y="188"/>
                  </a:lnTo>
                  <a:lnTo>
                    <a:pt x="69" y="181"/>
                  </a:lnTo>
                  <a:lnTo>
                    <a:pt x="77" y="170"/>
                  </a:lnTo>
                  <a:lnTo>
                    <a:pt x="77" y="170"/>
                  </a:lnTo>
                  <a:lnTo>
                    <a:pt x="82" y="164"/>
                  </a:lnTo>
                  <a:lnTo>
                    <a:pt x="84" y="162"/>
                  </a:lnTo>
                  <a:lnTo>
                    <a:pt x="88" y="162"/>
                  </a:lnTo>
                  <a:lnTo>
                    <a:pt x="93" y="166"/>
                  </a:lnTo>
                  <a:lnTo>
                    <a:pt x="101" y="170"/>
                  </a:lnTo>
                  <a:lnTo>
                    <a:pt x="112" y="185"/>
                  </a:lnTo>
                  <a:lnTo>
                    <a:pt x="118" y="190"/>
                  </a:lnTo>
                  <a:lnTo>
                    <a:pt x="123" y="194"/>
                  </a:lnTo>
                  <a:lnTo>
                    <a:pt x="123" y="194"/>
                  </a:lnTo>
                  <a:lnTo>
                    <a:pt x="136" y="200"/>
                  </a:lnTo>
                  <a:lnTo>
                    <a:pt x="135" y="202"/>
                  </a:lnTo>
                  <a:lnTo>
                    <a:pt x="133" y="202"/>
                  </a:lnTo>
                  <a:lnTo>
                    <a:pt x="131" y="205"/>
                  </a:lnTo>
                  <a:lnTo>
                    <a:pt x="129" y="213"/>
                  </a:lnTo>
                  <a:lnTo>
                    <a:pt x="129" y="222"/>
                  </a:lnTo>
                  <a:lnTo>
                    <a:pt x="136" y="239"/>
                  </a:lnTo>
                  <a:lnTo>
                    <a:pt x="136" y="239"/>
                  </a:lnTo>
                  <a:lnTo>
                    <a:pt x="150" y="273"/>
                  </a:lnTo>
                  <a:lnTo>
                    <a:pt x="157" y="289"/>
                  </a:lnTo>
                  <a:lnTo>
                    <a:pt x="166" y="306"/>
                  </a:lnTo>
                  <a:lnTo>
                    <a:pt x="172" y="312"/>
                  </a:lnTo>
                  <a:lnTo>
                    <a:pt x="178" y="317"/>
                  </a:lnTo>
                  <a:lnTo>
                    <a:pt x="183" y="321"/>
                  </a:lnTo>
                  <a:lnTo>
                    <a:pt x="191" y="325"/>
                  </a:lnTo>
                  <a:lnTo>
                    <a:pt x="198" y="327"/>
                  </a:lnTo>
                  <a:lnTo>
                    <a:pt x="207" y="325"/>
                  </a:lnTo>
                  <a:lnTo>
                    <a:pt x="217" y="323"/>
                  </a:lnTo>
                  <a:lnTo>
                    <a:pt x="228" y="317"/>
                  </a:lnTo>
                  <a:lnTo>
                    <a:pt x="228" y="317"/>
                  </a:lnTo>
                  <a:lnTo>
                    <a:pt x="237" y="314"/>
                  </a:lnTo>
                  <a:lnTo>
                    <a:pt x="247" y="312"/>
                  </a:lnTo>
                  <a:lnTo>
                    <a:pt x="267" y="308"/>
                  </a:lnTo>
                  <a:lnTo>
                    <a:pt x="292" y="304"/>
                  </a:lnTo>
                  <a:lnTo>
                    <a:pt x="308" y="301"/>
                  </a:lnTo>
                  <a:lnTo>
                    <a:pt x="329" y="293"/>
                  </a:lnTo>
                  <a:lnTo>
                    <a:pt x="329" y="293"/>
                  </a:lnTo>
                  <a:lnTo>
                    <a:pt x="338" y="289"/>
                  </a:lnTo>
                  <a:lnTo>
                    <a:pt x="344" y="284"/>
                  </a:lnTo>
                  <a:lnTo>
                    <a:pt x="348" y="278"/>
                  </a:lnTo>
                  <a:lnTo>
                    <a:pt x="351" y="271"/>
                  </a:lnTo>
                  <a:lnTo>
                    <a:pt x="355" y="259"/>
                  </a:lnTo>
                  <a:lnTo>
                    <a:pt x="357" y="250"/>
                  </a:lnTo>
                  <a:lnTo>
                    <a:pt x="361" y="246"/>
                  </a:lnTo>
                  <a:lnTo>
                    <a:pt x="363" y="245"/>
                  </a:lnTo>
                  <a:lnTo>
                    <a:pt x="366" y="245"/>
                  </a:lnTo>
                  <a:lnTo>
                    <a:pt x="374" y="246"/>
                  </a:lnTo>
                  <a:lnTo>
                    <a:pt x="391" y="259"/>
                  </a:lnTo>
                  <a:lnTo>
                    <a:pt x="419" y="284"/>
                  </a:lnTo>
                  <a:lnTo>
                    <a:pt x="419" y="284"/>
                  </a:lnTo>
                  <a:lnTo>
                    <a:pt x="437" y="301"/>
                  </a:lnTo>
                  <a:lnTo>
                    <a:pt x="450" y="316"/>
                  </a:lnTo>
                  <a:lnTo>
                    <a:pt x="454" y="323"/>
                  </a:lnTo>
                  <a:lnTo>
                    <a:pt x="456" y="330"/>
                  </a:lnTo>
                  <a:lnTo>
                    <a:pt x="458" y="338"/>
                  </a:lnTo>
                  <a:lnTo>
                    <a:pt x="458" y="345"/>
                  </a:lnTo>
                  <a:lnTo>
                    <a:pt x="456" y="364"/>
                  </a:lnTo>
                  <a:lnTo>
                    <a:pt x="447" y="388"/>
                  </a:lnTo>
                  <a:lnTo>
                    <a:pt x="417" y="465"/>
                  </a:lnTo>
                  <a:lnTo>
                    <a:pt x="417" y="465"/>
                  </a:lnTo>
                  <a:lnTo>
                    <a:pt x="413" y="474"/>
                  </a:lnTo>
                  <a:lnTo>
                    <a:pt x="413" y="484"/>
                  </a:lnTo>
                  <a:lnTo>
                    <a:pt x="413" y="495"/>
                  </a:lnTo>
                  <a:lnTo>
                    <a:pt x="413" y="506"/>
                  </a:lnTo>
                  <a:lnTo>
                    <a:pt x="419" y="527"/>
                  </a:lnTo>
                  <a:lnTo>
                    <a:pt x="422" y="547"/>
                  </a:lnTo>
                  <a:lnTo>
                    <a:pt x="426" y="568"/>
                  </a:lnTo>
                  <a:lnTo>
                    <a:pt x="424" y="577"/>
                  </a:lnTo>
                  <a:lnTo>
                    <a:pt x="422" y="586"/>
                  </a:lnTo>
                  <a:lnTo>
                    <a:pt x="421" y="594"/>
                  </a:lnTo>
                  <a:lnTo>
                    <a:pt x="415" y="601"/>
                  </a:lnTo>
                  <a:lnTo>
                    <a:pt x="406" y="607"/>
                  </a:lnTo>
                  <a:lnTo>
                    <a:pt x="394" y="613"/>
                  </a:lnTo>
                  <a:lnTo>
                    <a:pt x="394" y="613"/>
                  </a:lnTo>
                  <a:lnTo>
                    <a:pt x="391" y="615"/>
                  </a:lnTo>
                  <a:lnTo>
                    <a:pt x="389" y="618"/>
                  </a:lnTo>
                  <a:lnTo>
                    <a:pt x="385" y="628"/>
                  </a:lnTo>
                  <a:lnTo>
                    <a:pt x="383" y="639"/>
                  </a:lnTo>
                  <a:lnTo>
                    <a:pt x="383" y="652"/>
                  </a:lnTo>
                  <a:lnTo>
                    <a:pt x="383" y="680"/>
                  </a:lnTo>
                  <a:lnTo>
                    <a:pt x="383" y="691"/>
                  </a:lnTo>
                  <a:lnTo>
                    <a:pt x="381" y="695"/>
                  </a:lnTo>
                  <a:lnTo>
                    <a:pt x="378" y="699"/>
                  </a:lnTo>
                  <a:lnTo>
                    <a:pt x="378" y="699"/>
                  </a:lnTo>
                  <a:lnTo>
                    <a:pt x="378" y="704"/>
                  </a:lnTo>
                  <a:lnTo>
                    <a:pt x="378" y="710"/>
                  </a:lnTo>
                  <a:lnTo>
                    <a:pt x="385" y="728"/>
                  </a:lnTo>
                  <a:lnTo>
                    <a:pt x="389" y="736"/>
                  </a:lnTo>
                  <a:lnTo>
                    <a:pt x="391" y="745"/>
                  </a:lnTo>
                  <a:lnTo>
                    <a:pt x="389" y="753"/>
                  </a:lnTo>
                  <a:lnTo>
                    <a:pt x="387" y="757"/>
                  </a:lnTo>
                  <a:lnTo>
                    <a:pt x="383" y="758"/>
                  </a:lnTo>
                  <a:lnTo>
                    <a:pt x="383" y="758"/>
                  </a:lnTo>
                  <a:lnTo>
                    <a:pt x="379" y="758"/>
                  </a:lnTo>
                  <a:lnTo>
                    <a:pt x="376" y="758"/>
                  </a:lnTo>
                  <a:lnTo>
                    <a:pt x="372" y="755"/>
                  </a:lnTo>
                  <a:lnTo>
                    <a:pt x="370" y="751"/>
                  </a:lnTo>
                  <a:lnTo>
                    <a:pt x="366" y="738"/>
                  </a:lnTo>
                  <a:lnTo>
                    <a:pt x="363" y="725"/>
                  </a:lnTo>
                  <a:lnTo>
                    <a:pt x="357" y="714"/>
                  </a:lnTo>
                  <a:lnTo>
                    <a:pt x="355" y="710"/>
                  </a:lnTo>
                  <a:lnTo>
                    <a:pt x="353" y="708"/>
                  </a:lnTo>
                  <a:lnTo>
                    <a:pt x="349" y="708"/>
                  </a:lnTo>
                  <a:lnTo>
                    <a:pt x="346" y="712"/>
                  </a:lnTo>
                  <a:lnTo>
                    <a:pt x="342" y="715"/>
                  </a:lnTo>
                  <a:lnTo>
                    <a:pt x="336" y="725"/>
                  </a:lnTo>
                  <a:lnTo>
                    <a:pt x="336" y="725"/>
                  </a:lnTo>
                  <a:lnTo>
                    <a:pt x="323" y="745"/>
                  </a:lnTo>
                  <a:lnTo>
                    <a:pt x="307" y="768"/>
                  </a:lnTo>
                  <a:lnTo>
                    <a:pt x="284" y="790"/>
                  </a:lnTo>
                  <a:lnTo>
                    <a:pt x="264" y="814"/>
                  </a:lnTo>
                  <a:lnTo>
                    <a:pt x="222" y="856"/>
                  </a:lnTo>
                  <a:lnTo>
                    <a:pt x="209" y="870"/>
                  </a:lnTo>
                  <a:lnTo>
                    <a:pt x="200" y="884"/>
                  </a:lnTo>
                  <a:lnTo>
                    <a:pt x="200" y="884"/>
                  </a:lnTo>
                  <a:lnTo>
                    <a:pt x="200" y="889"/>
                  </a:lnTo>
                  <a:lnTo>
                    <a:pt x="200" y="893"/>
                  </a:lnTo>
                  <a:lnTo>
                    <a:pt x="202" y="902"/>
                  </a:lnTo>
                  <a:lnTo>
                    <a:pt x="209" y="912"/>
                  </a:lnTo>
                  <a:lnTo>
                    <a:pt x="217" y="919"/>
                  </a:lnTo>
                  <a:lnTo>
                    <a:pt x="237" y="936"/>
                  </a:lnTo>
                  <a:lnTo>
                    <a:pt x="245" y="945"/>
                  </a:lnTo>
                  <a:lnTo>
                    <a:pt x="252" y="955"/>
                  </a:lnTo>
                  <a:lnTo>
                    <a:pt x="252" y="955"/>
                  </a:lnTo>
                  <a:lnTo>
                    <a:pt x="258" y="966"/>
                  </a:lnTo>
                  <a:lnTo>
                    <a:pt x="262" y="971"/>
                  </a:lnTo>
                  <a:lnTo>
                    <a:pt x="267" y="975"/>
                  </a:lnTo>
                  <a:lnTo>
                    <a:pt x="271" y="975"/>
                  </a:lnTo>
                  <a:lnTo>
                    <a:pt x="275" y="975"/>
                  </a:lnTo>
                  <a:lnTo>
                    <a:pt x="278" y="971"/>
                  </a:lnTo>
                  <a:lnTo>
                    <a:pt x="284" y="964"/>
                  </a:lnTo>
                  <a:lnTo>
                    <a:pt x="290" y="953"/>
                  </a:lnTo>
                  <a:lnTo>
                    <a:pt x="295" y="947"/>
                  </a:lnTo>
                  <a:lnTo>
                    <a:pt x="297" y="945"/>
                  </a:lnTo>
                  <a:lnTo>
                    <a:pt x="299" y="945"/>
                  </a:lnTo>
                  <a:lnTo>
                    <a:pt x="303" y="949"/>
                  </a:lnTo>
                  <a:lnTo>
                    <a:pt x="307" y="955"/>
                  </a:lnTo>
                  <a:lnTo>
                    <a:pt x="307" y="955"/>
                  </a:lnTo>
                  <a:lnTo>
                    <a:pt x="308" y="956"/>
                  </a:lnTo>
                  <a:lnTo>
                    <a:pt x="310" y="956"/>
                  </a:lnTo>
                  <a:lnTo>
                    <a:pt x="320" y="955"/>
                  </a:lnTo>
                  <a:lnTo>
                    <a:pt x="323" y="955"/>
                  </a:lnTo>
                  <a:lnTo>
                    <a:pt x="327" y="956"/>
                  </a:lnTo>
                  <a:lnTo>
                    <a:pt x="329" y="962"/>
                  </a:lnTo>
                  <a:lnTo>
                    <a:pt x="327" y="968"/>
                  </a:lnTo>
                  <a:lnTo>
                    <a:pt x="327" y="968"/>
                  </a:lnTo>
                  <a:lnTo>
                    <a:pt x="325" y="973"/>
                  </a:lnTo>
                  <a:lnTo>
                    <a:pt x="323" y="977"/>
                  </a:lnTo>
                  <a:lnTo>
                    <a:pt x="312" y="983"/>
                  </a:lnTo>
                  <a:lnTo>
                    <a:pt x="288" y="992"/>
                  </a:lnTo>
                  <a:lnTo>
                    <a:pt x="278" y="998"/>
                  </a:lnTo>
                  <a:lnTo>
                    <a:pt x="275" y="1001"/>
                  </a:lnTo>
                  <a:lnTo>
                    <a:pt x="273" y="1005"/>
                  </a:lnTo>
                  <a:lnTo>
                    <a:pt x="273" y="1011"/>
                  </a:lnTo>
                  <a:lnTo>
                    <a:pt x="277" y="1018"/>
                  </a:lnTo>
                  <a:lnTo>
                    <a:pt x="280" y="1026"/>
                  </a:lnTo>
                  <a:lnTo>
                    <a:pt x="288" y="1037"/>
                  </a:lnTo>
                  <a:lnTo>
                    <a:pt x="288" y="1037"/>
                  </a:lnTo>
                  <a:lnTo>
                    <a:pt x="292" y="1042"/>
                  </a:lnTo>
                  <a:lnTo>
                    <a:pt x="292" y="1042"/>
                  </a:lnTo>
                  <a:lnTo>
                    <a:pt x="312" y="1044"/>
                  </a:lnTo>
                  <a:lnTo>
                    <a:pt x="321" y="1044"/>
                  </a:lnTo>
                  <a:lnTo>
                    <a:pt x="333" y="1042"/>
                  </a:lnTo>
                  <a:lnTo>
                    <a:pt x="333" y="1042"/>
                  </a:lnTo>
                  <a:lnTo>
                    <a:pt x="353" y="1039"/>
                  </a:lnTo>
                  <a:lnTo>
                    <a:pt x="361" y="1039"/>
                  </a:lnTo>
                  <a:lnTo>
                    <a:pt x="366" y="1039"/>
                  </a:lnTo>
                  <a:lnTo>
                    <a:pt x="370" y="1041"/>
                  </a:lnTo>
                  <a:lnTo>
                    <a:pt x="374" y="1044"/>
                  </a:lnTo>
                  <a:lnTo>
                    <a:pt x="376" y="1052"/>
                  </a:lnTo>
                  <a:lnTo>
                    <a:pt x="379" y="1076"/>
                  </a:lnTo>
                  <a:lnTo>
                    <a:pt x="383" y="1091"/>
                  </a:lnTo>
                  <a:lnTo>
                    <a:pt x="387" y="1098"/>
                  </a:lnTo>
                  <a:lnTo>
                    <a:pt x="392" y="1108"/>
                  </a:lnTo>
                  <a:lnTo>
                    <a:pt x="392" y="1108"/>
                  </a:lnTo>
                  <a:lnTo>
                    <a:pt x="402" y="1119"/>
                  </a:lnTo>
                  <a:lnTo>
                    <a:pt x="411" y="1126"/>
                  </a:lnTo>
                  <a:lnTo>
                    <a:pt x="419" y="1134"/>
                  </a:lnTo>
                  <a:lnTo>
                    <a:pt x="426" y="1138"/>
                  </a:lnTo>
                  <a:lnTo>
                    <a:pt x="434" y="1140"/>
                  </a:lnTo>
                  <a:lnTo>
                    <a:pt x="441" y="1141"/>
                  </a:lnTo>
                  <a:lnTo>
                    <a:pt x="452" y="1140"/>
                  </a:lnTo>
                  <a:lnTo>
                    <a:pt x="463" y="1136"/>
                  </a:lnTo>
                  <a:lnTo>
                    <a:pt x="475" y="1132"/>
                  </a:lnTo>
                  <a:lnTo>
                    <a:pt x="484" y="1130"/>
                  </a:lnTo>
                  <a:lnTo>
                    <a:pt x="488" y="1130"/>
                  </a:lnTo>
                  <a:lnTo>
                    <a:pt x="493" y="1134"/>
                  </a:lnTo>
                  <a:lnTo>
                    <a:pt x="493" y="1134"/>
                  </a:lnTo>
                  <a:lnTo>
                    <a:pt x="501" y="1138"/>
                  </a:lnTo>
                  <a:lnTo>
                    <a:pt x="510" y="1136"/>
                  </a:lnTo>
                  <a:lnTo>
                    <a:pt x="518" y="1134"/>
                  </a:lnTo>
                  <a:lnTo>
                    <a:pt x="523" y="1128"/>
                  </a:lnTo>
                  <a:lnTo>
                    <a:pt x="538" y="1117"/>
                  </a:lnTo>
                  <a:lnTo>
                    <a:pt x="546" y="1115"/>
                  </a:lnTo>
                  <a:lnTo>
                    <a:pt x="553" y="1115"/>
                  </a:lnTo>
                  <a:lnTo>
                    <a:pt x="553" y="1115"/>
                  </a:lnTo>
                  <a:lnTo>
                    <a:pt x="559" y="1125"/>
                  </a:lnTo>
                  <a:lnTo>
                    <a:pt x="566" y="1134"/>
                  </a:lnTo>
                  <a:lnTo>
                    <a:pt x="576" y="1143"/>
                  </a:lnTo>
                  <a:lnTo>
                    <a:pt x="585" y="1153"/>
                  </a:lnTo>
                  <a:lnTo>
                    <a:pt x="596" y="1158"/>
                  </a:lnTo>
                  <a:lnTo>
                    <a:pt x="602" y="1160"/>
                  </a:lnTo>
                  <a:lnTo>
                    <a:pt x="607" y="1160"/>
                  </a:lnTo>
                  <a:lnTo>
                    <a:pt x="615" y="1158"/>
                  </a:lnTo>
                  <a:lnTo>
                    <a:pt x="620" y="1155"/>
                  </a:lnTo>
                  <a:lnTo>
                    <a:pt x="620" y="1155"/>
                  </a:lnTo>
                  <a:lnTo>
                    <a:pt x="634" y="1145"/>
                  </a:lnTo>
                  <a:lnTo>
                    <a:pt x="649" y="1140"/>
                  </a:lnTo>
                  <a:lnTo>
                    <a:pt x="663" y="1140"/>
                  </a:lnTo>
                  <a:lnTo>
                    <a:pt x="677" y="1140"/>
                  </a:lnTo>
                  <a:lnTo>
                    <a:pt x="690" y="1145"/>
                  </a:lnTo>
                  <a:lnTo>
                    <a:pt x="697" y="1151"/>
                  </a:lnTo>
                  <a:lnTo>
                    <a:pt x="701" y="1156"/>
                  </a:lnTo>
                  <a:lnTo>
                    <a:pt x="703" y="1160"/>
                  </a:lnTo>
                  <a:lnTo>
                    <a:pt x="703" y="1166"/>
                  </a:lnTo>
                  <a:lnTo>
                    <a:pt x="703" y="1171"/>
                  </a:lnTo>
                  <a:lnTo>
                    <a:pt x="703" y="1171"/>
                  </a:lnTo>
                  <a:lnTo>
                    <a:pt x="701" y="1184"/>
                  </a:lnTo>
                  <a:lnTo>
                    <a:pt x="701" y="1194"/>
                  </a:lnTo>
                  <a:lnTo>
                    <a:pt x="703" y="1201"/>
                  </a:lnTo>
                  <a:lnTo>
                    <a:pt x="705" y="1207"/>
                  </a:lnTo>
                  <a:lnTo>
                    <a:pt x="708" y="1211"/>
                  </a:lnTo>
                  <a:lnTo>
                    <a:pt x="714" y="1212"/>
                  </a:lnTo>
                  <a:lnTo>
                    <a:pt x="725" y="1212"/>
                  </a:lnTo>
                  <a:lnTo>
                    <a:pt x="749" y="1207"/>
                  </a:lnTo>
                  <a:lnTo>
                    <a:pt x="753" y="1207"/>
                  </a:lnTo>
                  <a:lnTo>
                    <a:pt x="757" y="1209"/>
                  </a:lnTo>
                  <a:lnTo>
                    <a:pt x="759" y="1211"/>
                  </a:lnTo>
                  <a:lnTo>
                    <a:pt x="761" y="1214"/>
                  </a:lnTo>
                  <a:lnTo>
                    <a:pt x="761" y="1214"/>
                  </a:lnTo>
                  <a:lnTo>
                    <a:pt x="763" y="1227"/>
                  </a:lnTo>
                  <a:lnTo>
                    <a:pt x="766" y="1239"/>
                  </a:lnTo>
                  <a:lnTo>
                    <a:pt x="770" y="1248"/>
                  </a:lnTo>
                  <a:lnTo>
                    <a:pt x="776" y="1255"/>
                  </a:lnTo>
                  <a:lnTo>
                    <a:pt x="781" y="1263"/>
                  </a:lnTo>
                  <a:lnTo>
                    <a:pt x="787" y="1267"/>
                  </a:lnTo>
                  <a:lnTo>
                    <a:pt x="792" y="1270"/>
                  </a:lnTo>
                  <a:lnTo>
                    <a:pt x="800" y="1272"/>
                  </a:lnTo>
                  <a:lnTo>
                    <a:pt x="811" y="1274"/>
                  </a:lnTo>
                  <a:lnTo>
                    <a:pt x="822" y="1270"/>
                  </a:lnTo>
                  <a:lnTo>
                    <a:pt x="824" y="1268"/>
                  </a:lnTo>
                  <a:lnTo>
                    <a:pt x="828" y="1265"/>
                  </a:lnTo>
                  <a:lnTo>
                    <a:pt x="828" y="1261"/>
                  </a:lnTo>
                  <a:lnTo>
                    <a:pt x="828" y="1257"/>
                  </a:lnTo>
                  <a:lnTo>
                    <a:pt x="828" y="1257"/>
                  </a:lnTo>
                  <a:lnTo>
                    <a:pt x="824" y="1244"/>
                  </a:lnTo>
                  <a:lnTo>
                    <a:pt x="826" y="1231"/>
                  </a:lnTo>
                  <a:lnTo>
                    <a:pt x="828" y="1218"/>
                  </a:lnTo>
                  <a:lnTo>
                    <a:pt x="834" y="1209"/>
                  </a:lnTo>
                  <a:lnTo>
                    <a:pt x="839" y="1203"/>
                  </a:lnTo>
                  <a:lnTo>
                    <a:pt x="843" y="1203"/>
                  </a:lnTo>
                  <a:lnTo>
                    <a:pt x="847" y="1203"/>
                  </a:lnTo>
                  <a:lnTo>
                    <a:pt x="850" y="1203"/>
                  </a:lnTo>
                  <a:lnTo>
                    <a:pt x="852" y="1207"/>
                  </a:lnTo>
                  <a:lnTo>
                    <a:pt x="856" y="1212"/>
                  </a:lnTo>
                  <a:lnTo>
                    <a:pt x="858" y="1220"/>
                  </a:lnTo>
                  <a:lnTo>
                    <a:pt x="858" y="1220"/>
                  </a:lnTo>
                  <a:lnTo>
                    <a:pt x="867" y="1246"/>
                  </a:lnTo>
                  <a:lnTo>
                    <a:pt x="877" y="1261"/>
                  </a:lnTo>
                  <a:lnTo>
                    <a:pt x="886" y="1276"/>
                  </a:lnTo>
                  <a:lnTo>
                    <a:pt x="901" y="1298"/>
                  </a:lnTo>
                  <a:lnTo>
                    <a:pt x="901" y="1298"/>
                  </a:lnTo>
                  <a:lnTo>
                    <a:pt x="910" y="1313"/>
                  </a:lnTo>
                  <a:lnTo>
                    <a:pt x="921" y="1323"/>
                  </a:lnTo>
                  <a:lnTo>
                    <a:pt x="931" y="1326"/>
                  </a:lnTo>
                  <a:lnTo>
                    <a:pt x="940" y="1326"/>
                  </a:lnTo>
                  <a:lnTo>
                    <a:pt x="948" y="1325"/>
                  </a:lnTo>
                  <a:lnTo>
                    <a:pt x="951" y="1319"/>
                  </a:lnTo>
                  <a:lnTo>
                    <a:pt x="955" y="1315"/>
                  </a:lnTo>
                  <a:lnTo>
                    <a:pt x="955" y="1310"/>
                  </a:lnTo>
                  <a:lnTo>
                    <a:pt x="955" y="1310"/>
                  </a:lnTo>
                  <a:lnTo>
                    <a:pt x="951" y="1298"/>
                  </a:lnTo>
                  <a:lnTo>
                    <a:pt x="953" y="1291"/>
                  </a:lnTo>
                  <a:lnTo>
                    <a:pt x="957" y="1285"/>
                  </a:lnTo>
                  <a:lnTo>
                    <a:pt x="962" y="1282"/>
                  </a:lnTo>
                  <a:lnTo>
                    <a:pt x="979" y="1274"/>
                  </a:lnTo>
                  <a:lnTo>
                    <a:pt x="987" y="1270"/>
                  </a:lnTo>
                  <a:lnTo>
                    <a:pt x="994" y="1263"/>
                  </a:lnTo>
                  <a:lnTo>
                    <a:pt x="994" y="1263"/>
                  </a:lnTo>
                  <a:lnTo>
                    <a:pt x="1004" y="1254"/>
                  </a:lnTo>
                  <a:lnTo>
                    <a:pt x="1011" y="1248"/>
                  </a:lnTo>
                  <a:lnTo>
                    <a:pt x="1019" y="1248"/>
                  </a:lnTo>
                  <a:lnTo>
                    <a:pt x="1024" y="1252"/>
                  </a:lnTo>
                  <a:lnTo>
                    <a:pt x="1028" y="1254"/>
                  </a:lnTo>
                  <a:lnTo>
                    <a:pt x="1033" y="1255"/>
                  </a:lnTo>
                  <a:lnTo>
                    <a:pt x="1039" y="1254"/>
                  </a:lnTo>
                  <a:lnTo>
                    <a:pt x="1045" y="1248"/>
                  </a:lnTo>
                  <a:lnTo>
                    <a:pt x="1045" y="1248"/>
                  </a:lnTo>
                  <a:lnTo>
                    <a:pt x="1050" y="1240"/>
                  </a:lnTo>
                  <a:lnTo>
                    <a:pt x="1052" y="1240"/>
                  </a:lnTo>
                  <a:lnTo>
                    <a:pt x="1056" y="1240"/>
                  </a:lnTo>
                  <a:lnTo>
                    <a:pt x="1060" y="1244"/>
                  </a:lnTo>
                  <a:lnTo>
                    <a:pt x="1065" y="1252"/>
                  </a:lnTo>
                  <a:lnTo>
                    <a:pt x="1076" y="1270"/>
                  </a:lnTo>
                  <a:lnTo>
                    <a:pt x="1082" y="1278"/>
                  </a:lnTo>
                  <a:lnTo>
                    <a:pt x="1090" y="1283"/>
                  </a:lnTo>
                  <a:lnTo>
                    <a:pt x="1090" y="1283"/>
                  </a:lnTo>
                  <a:lnTo>
                    <a:pt x="1112" y="1291"/>
                  </a:lnTo>
                  <a:lnTo>
                    <a:pt x="1123" y="1295"/>
                  </a:lnTo>
                  <a:lnTo>
                    <a:pt x="1134" y="1295"/>
                  </a:lnTo>
                  <a:lnTo>
                    <a:pt x="1161" y="1289"/>
                  </a:lnTo>
                  <a:lnTo>
                    <a:pt x="1161" y="1289"/>
                  </a:lnTo>
                  <a:lnTo>
                    <a:pt x="1159" y="1283"/>
                  </a:lnTo>
                  <a:lnTo>
                    <a:pt x="1159" y="1283"/>
                  </a:lnTo>
                  <a:lnTo>
                    <a:pt x="1155" y="1265"/>
                  </a:lnTo>
                  <a:lnTo>
                    <a:pt x="1153" y="1248"/>
                  </a:lnTo>
                  <a:lnTo>
                    <a:pt x="1153" y="1235"/>
                  </a:lnTo>
                  <a:lnTo>
                    <a:pt x="1151" y="1218"/>
                  </a:lnTo>
                  <a:lnTo>
                    <a:pt x="1147" y="1199"/>
                  </a:lnTo>
                  <a:lnTo>
                    <a:pt x="1138" y="1175"/>
                  </a:lnTo>
                  <a:lnTo>
                    <a:pt x="1123" y="1143"/>
                  </a:lnTo>
                  <a:lnTo>
                    <a:pt x="1099" y="1102"/>
                  </a:lnTo>
                  <a:lnTo>
                    <a:pt x="1099" y="1102"/>
                  </a:lnTo>
                  <a:lnTo>
                    <a:pt x="1099" y="1100"/>
                  </a:lnTo>
                  <a:lnTo>
                    <a:pt x="1099" y="1098"/>
                  </a:lnTo>
                  <a:lnTo>
                    <a:pt x="1105" y="1093"/>
                  </a:lnTo>
                  <a:lnTo>
                    <a:pt x="1121" y="1082"/>
                  </a:lnTo>
                  <a:lnTo>
                    <a:pt x="1140" y="1069"/>
                  </a:lnTo>
                  <a:lnTo>
                    <a:pt x="1147" y="1063"/>
                  </a:lnTo>
                  <a:lnTo>
                    <a:pt x="1149" y="1055"/>
                  </a:lnTo>
                  <a:lnTo>
                    <a:pt x="1149" y="105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8">
              <a:extLst>
                <a:ext uri="{FF2B5EF4-FFF2-40B4-BE49-F238E27FC236}">
                  <a16:creationId xmlns:a16="http://schemas.microsoft.com/office/drawing/2014/main" id="{952C3C93-3EF6-4C63-94F7-34DAA776CF2A}"/>
                </a:ext>
              </a:extLst>
            </p:cNvPr>
            <p:cNvSpPr>
              <a:spLocks/>
            </p:cNvSpPr>
            <p:nvPr/>
          </p:nvSpPr>
          <p:spPr bwMode="auto">
            <a:xfrm>
              <a:off x="6346878" y="2608135"/>
              <a:ext cx="917415" cy="653998"/>
            </a:xfrm>
            <a:custGeom>
              <a:avLst/>
              <a:gdLst/>
              <a:ahLst/>
              <a:cxnLst>
                <a:cxn ang="0">
                  <a:pos x="658" y="235"/>
                </a:cxn>
                <a:cxn ang="0">
                  <a:pos x="613" y="200"/>
                </a:cxn>
                <a:cxn ang="0">
                  <a:pos x="596" y="168"/>
                </a:cxn>
                <a:cxn ang="0">
                  <a:pos x="548" y="145"/>
                </a:cxn>
                <a:cxn ang="0">
                  <a:pos x="537" y="106"/>
                </a:cxn>
                <a:cxn ang="0">
                  <a:pos x="462" y="119"/>
                </a:cxn>
                <a:cxn ang="0">
                  <a:pos x="406" y="86"/>
                </a:cxn>
                <a:cxn ang="0">
                  <a:pos x="357" y="97"/>
                </a:cxn>
                <a:cxn ang="0">
                  <a:pos x="310" y="97"/>
                </a:cxn>
                <a:cxn ang="0">
                  <a:pos x="249" y="80"/>
                </a:cxn>
                <a:cxn ang="0">
                  <a:pos x="221" y="5"/>
                </a:cxn>
                <a:cxn ang="0">
                  <a:pos x="168" y="5"/>
                </a:cxn>
                <a:cxn ang="0">
                  <a:pos x="131" y="28"/>
                </a:cxn>
                <a:cxn ang="0">
                  <a:pos x="111" y="52"/>
                </a:cxn>
                <a:cxn ang="0">
                  <a:pos x="107" y="86"/>
                </a:cxn>
                <a:cxn ang="0">
                  <a:pos x="68" y="71"/>
                </a:cxn>
                <a:cxn ang="0">
                  <a:pos x="26" y="59"/>
                </a:cxn>
                <a:cxn ang="0">
                  <a:pos x="4" y="93"/>
                </a:cxn>
                <a:cxn ang="0">
                  <a:pos x="32" y="114"/>
                </a:cxn>
                <a:cxn ang="0">
                  <a:pos x="60" y="162"/>
                </a:cxn>
                <a:cxn ang="0">
                  <a:pos x="60" y="196"/>
                </a:cxn>
                <a:cxn ang="0">
                  <a:pos x="58" y="226"/>
                </a:cxn>
                <a:cxn ang="0">
                  <a:pos x="96" y="299"/>
                </a:cxn>
                <a:cxn ang="0">
                  <a:pos x="159" y="258"/>
                </a:cxn>
                <a:cxn ang="0">
                  <a:pos x="187" y="282"/>
                </a:cxn>
                <a:cxn ang="0">
                  <a:pos x="206" y="319"/>
                </a:cxn>
                <a:cxn ang="0">
                  <a:pos x="223" y="372"/>
                </a:cxn>
                <a:cxn ang="0">
                  <a:pos x="230" y="398"/>
                </a:cxn>
                <a:cxn ang="0">
                  <a:pos x="254" y="388"/>
                </a:cxn>
                <a:cxn ang="0">
                  <a:pos x="282" y="403"/>
                </a:cxn>
                <a:cxn ang="0">
                  <a:pos x="327" y="450"/>
                </a:cxn>
                <a:cxn ang="0">
                  <a:pos x="352" y="441"/>
                </a:cxn>
                <a:cxn ang="0">
                  <a:pos x="376" y="429"/>
                </a:cxn>
                <a:cxn ang="0">
                  <a:pos x="432" y="530"/>
                </a:cxn>
                <a:cxn ang="0">
                  <a:pos x="456" y="545"/>
                </a:cxn>
                <a:cxn ang="0">
                  <a:pos x="449" y="605"/>
                </a:cxn>
                <a:cxn ang="0">
                  <a:pos x="488" y="656"/>
                </a:cxn>
                <a:cxn ang="0">
                  <a:pos x="501" y="697"/>
                </a:cxn>
                <a:cxn ang="0">
                  <a:pos x="520" y="715"/>
                </a:cxn>
                <a:cxn ang="0">
                  <a:pos x="572" y="642"/>
                </a:cxn>
                <a:cxn ang="0">
                  <a:pos x="604" y="577"/>
                </a:cxn>
                <a:cxn ang="0">
                  <a:pos x="638" y="594"/>
                </a:cxn>
                <a:cxn ang="0">
                  <a:pos x="722" y="603"/>
                </a:cxn>
                <a:cxn ang="0">
                  <a:pos x="757" y="588"/>
                </a:cxn>
                <a:cxn ang="0">
                  <a:pos x="729" y="525"/>
                </a:cxn>
                <a:cxn ang="0">
                  <a:pos x="795" y="499"/>
                </a:cxn>
                <a:cxn ang="0">
                  <a:pos x="841" y="441"/>
                </a:cxn>
                <a:cxn ang="0">
                  <a:pos x="864" y="433"/>
                </a:cxn>
                <a:cxn ang="0">
                  <a:pos x="880" y="401"/>
                </a:cxn>
                <a:cxn ang="0">
                  <a:pos x="892" y="343"/>
                </a:cxn>
                <a:cxn ang="0">
                  <a:pos x="968" y="401"/>
                </a:cxn>
                <a:cxn ang="0">
                  <a:pos x="948" y="372"/>
                </a:cxn>
                <a:cxn ang="0">
                  <a:pos x="993" y="336"/>
                </a:cxn>
                <a:cxn ang="0">
                  <a:pos x="1008" y="276"/>
                </a:cxn>
                <a:cxn ang="0">
                  <a:pos x="937" y="244"/>
                </a:cxn>
                <a:cxn ang="0">
                  <a:pos x="899" y="201"/>
                </a:cxn>
                <a:cxn ang="0">
                  <a:pos x="871" y="213"/>
                </a:cxn>
                <a:cxn ang="0">
                  <a:pos x="826" y="237"/>
                </a:cxn>
                <a:cxn ang="0">
                  <a:pos x="802" y="276"/>
                </a:cxn>
                <a:cxn ang="0">
                  <a:pos x="748" y="259"/>
                </a:cxn>
                <a:cxn ang="0">
                  <a:pos x="703" y="173"/>
                </a:cxn>
                <a:cxn ang="0">
                  <a:pos x="675" y="181"/>
                </a:cxn>
              </a:cxnLst>
              <a:rect l="0" t="0" r="r" b="b"/>
              <a:pathLst>
                <a:path w="1009" h="719">
                  <a:moveTo>
                    <a:pt x="675" y="218"/>
                  </a:moveTo>
                  <a:lnTo>
                    <a:pt x="675" y="218"/>
                  </a:lnTo>
                  <a:lnTo>
                    <a:pt x="675" y="222"/>
                  </a:lnTo>
                  <a:lnTo>
                    <a:pt x="675" y="226"/>
                  </a:lnTo>
                  <a:lnTo>
                    <a:pt x="671" y="229"/>
                  </a:lnTo>
                  <a:lnTo>
                    <a:pt x="669" y="231"/>
                  </a:lnTo>
                  <a:lnTo>
                    <a:pt x="658" y="235"/>
                  </a:lnTo>
                  <a:lnTo>
                    <a:pt x="647" y="233"/>
                  </a:lnTo>
                  <a:lnTo>
                    <a:pt x="639" y="231"/>
                  </a:lnTo>
                  <a:lnTo>
                    <a:pt x="634" y="228"/>
                  </a:lnTo>
                  <a:lnTo>
                    <a:pt x="628" y="224"/>
                  </a:lnTo>
                  <a:lnTo>
                    <a:pt x="623" y="216"/>
                  </a:lnTo>
                  <a:lnTo>
                    <a:pt x="617" y="209"/>
                  </a:lnTo>
                  <a:lnTo>
                    <a:pt x="613" y="200"/>
                  </a:lnTo>
                  <a:lnTo>
                    <a:pt x="610" y="188"/>
                  </a:lnTo>
                  <a:lnTo>
                    <a:pt x="608" y="175"/>
                  </a:lnTo>
                  <a:lnTo>
                    <a:pt x="608" y="175"/>
                  </a:lnTo>
                  <a:lnTo>
                    <a:pt x="606" y="172"/>
                  </a:lnTo>
                  <a:lnTo>
                    <a:pt x="604" y="170"/>
                  </a:lnTo>
                  <a:lnTo>
                    <a:pt x="600" y="168"/>
                  </a:lnTo>
                  <a:lnTo>
                    <a:pt x="596" y="168"/>
                  </a:lnTo>
                  <a:lnTo>
                    <a:pt x="572" y="173"/>
                  </a:lnTo>
                  <a:lnTo>
                    <a:pt x="561" y="173"/>
                  </a:lnTo>
                  <a:lnTo>
                    <a:pt x="555" y="172"/>
                  </a:lnTo>
                  <a:lnTo>
                    <a:pt x="552" y="168"/>
                  </a:lnTo>
                  <a:lnTo>
                    <a:pt x="550" y="162"/>
                  </a:lnTo>
                  <a:lnTo>
                    <a:pt x="548" y="155"/>
                  </a:lnTo>
                  <a:lnTo>
                    <a:pt x="548" y="145"/>
                  </a:lnTo>
                  <a:lnTo>
                    <a:pt x="550" y="132"/>
                  </a:lnTo>
                  <a:lnTo>
                    <a:pt x="550" y="132"/>
                  </a:lnTo>
                  <a:lnTo>
                    <a:pt x="550" y="127"/>
                  </a:lnTo>
                  <a:lnTo>
                    <a:pt x="550" y="121"/>
                  </a:lnTo>
                  <a:lnTo>
                    <a:pt x="548" y="117"/>
                  </a:lnTo>
                  <a:lnTo>
                    <a:pt x="544" y="112"/>
                  </a:lnTo>
                  <a:lnTo>
                    <a:pt x="537" y="106"/>
                  </a:lnTo>
                  <a:lnTo>
                    <a:pt x="524" y="101"/>
                  </a:lnTo>
                  <a:lnTo>
                    <a:pt x="510" y="101"/>
                  </a:lnTo>
                  <a:lnTo>
                    <a:pt x="496" y="101"/>
                  </a:lnTo>
                  <a:lnTo>
                    <a:pt x="481" y="106"/>
                  </a:lnTo>
                  <a:lnTo>
                    <a:pt x="467" y="116"/>
                  </a:lnTo>
                  <a:lnTo>
                    <a:pt x="467" y="116"/>
                  </a:lnTo>
                  <a:lnTo>
                    <a:pt x="462" y="119"/>
                  </a:lnTo>
                  <a:lnTo>
                    <a:pt x="454" y="121"/>
                  </a:lnTo>
                  <a:lnTo>
                    <a:pt x="449" y="121"/>
                  </a:lnTo>
                  <a:lnTo>
                    <a:pt x="443" y="119"/>
                  </a:lnTo>
                  <a:lnTo>
                    <a:pt x="432" y="114"/>
                  </a:lnTo>
                  <a:lnTo>
                    <a:pt x="423" y="104"/>
                  </a:lnTo>
                  <a:lnTo>
                    <a:pt x="413" y="95"/>
                  </a:lnTo>
                  <a:lnTo>
                    <a:pt x="406" y="86"/>
                  </a:lnTo>
                  <a:lnTo>
                    <a:pt x="400" y="76"/>
                  </a:lnTo>
                  <a:lnTo>
                    <a:pt x="400" y="76"/>
                  </a:lnTo>
                  <a:lnTo>
                    <a:pt x="393" y="76"/>
                  </a:lnTo>
                  <a:lnTo>
                    <a:pt x="385" y="78"/>
                  </a:lnTo>
                  <a:lnTo>
                    <a:pt x="370" y="89"/>
                  </a:lnTo>
                  <a:lnTo>
                    <a:pt x="365" y="95"/>
                  </a:lnTo>
                  <a:lnTo>
                    <a:pt x="357" y="97"/>
                  </a:lnTo>
                  <a:lnTo>
                    <a:pt x="348" y="99"/>
                  </a:lnTo>
                  <a:lnTo>
                    <a:pt x="340" y="95"/>
                  </a:lnTo>
                  <a:lnTo>
                    <a:pt x="340" y="95"/>
                  </a:lnTo>
                  <a:lnTo>
                    <a:pt x="335" y="91"/>
                  </a:lnTo>
                  <a:lnTo>
                    <a:pt x="331" y="91"/>
                  </a:lnTo>
                  <a:lnTo>
                    <a:pt x="322" y="93"/>
                  </a:lnTo>
                  <a:lnTo>
                    <a:pt x="310" y="97"/>
                  </a:lnTo>
                  <a:lnTo>
                    <a:pt x="299" y="101"/>
                  </a:lnTo>
                  <a:lnTo>
                    <a:pt x="288" y="102"/>
                  </a:lnTo>
                  <a:lnTo>
                    <a:pt x="281" y="101"/>
                  </a:lnTo>
                  <a:lnTo>
                    <a:pt x="273" y="99"/>
                  </a:lnTo>
                  <a:lnTo>
                    <a:pt x="266" y="95"/>
                  </a:lnTo>
                  <a:lnTo>
                    <a:pt x="258" y="87"/>
                  </a:lnTo>
                  <a:lnTo>
                    <a:pt x="249" y="80"/>
                  </a:lnTo>
                  <a:lnTo>
                    <a:pt x="239" y="69"/>
                  </a:lnTo>
                  <a:lnTo>
                    <a:pt x="239" y="69"/>
                  </a:lnTo>
                  <a:lnTo>
                    <a:pt x="234" y="59"/>
                  </a:lnTo>
                  <a:lnTo>
                    <a:pt x="230" y="52"/>
                  </a:lnTo>
                  <a:lnTo>
                    <a:pt x="226" y="37"/>
                  </a:lnTo>
                  <a:lnTo>
                    <a:pt x="223" y="13"/>
                  </a:lnTo>
                  <a:lnTo>
                    <a:pt x="221" y="5"/>
                  </a:lnTo>
                  <a:lnTo>
                    <a:pt x="217" y="2"/>
                  </a:lnTo>
                  <a:lnTo>
                    <a:pt x="213" y="0"/>
                  </a:lnTo>
                  <a:lnTo>
                    <a:pt x="208" y="0"/>
                  </a:lnTo>
                  <a:lnTo>
                    <a:pt x="200" y="0"/>
                  </a:lnTo>
                  <a:lnTo>
                    <a:pt x="180" y="3"/>
                  </a:lnTo>
                  <a:lnTo>
                    <a:pt x="180" y="3"/>
                  </a:lnTo>
                  <a:lnTo>
                    <a:pt x="168" y="5"/>
                  </a:lnTo>
                  <a:lnTo>
                    <a:pt x="159" y="5"/>
                  </a:lnTo>
                  <a:lnTo>
                    <a:pt x="139" y="3"/>
                  </a:lnTo>
                  <a:lnTo>
                    <a:pt x="139" y="3"/>
                  </a:lnTo>
                  <a:lnTo>
                    <a:pt x="137" y="13"/>
                  </a:lnTo>
                  <a:lnTo>
                    <a:pt x="135" y="18"/>
                  </a:lnTo>
                  <a:lnTo>
                    <a:pt x="133" y="24"/>
                  </a:lnTo>
                  <a:lnTo>
                    <a:pt x="131" y="28"/>
                  </a:lnTo>
                  <a:lnTo>
                    <a:pt x="124" y="31"/>
                  </a:lnTo>
                  <a:lnTo>
                    <a:pt x="116" y="35"/>
                  </a:lnTo>
                  <a:lnTo>
                    <a:pt x="111" y="35"/>
                  </a:lnTo>
                  <a:lnTo>
                    <a:pt x="107" y="39"/>
                  </a:lnTo>
                  <a:lnTo>
                    <a:pt x="107" y="41"/>
                  </a:lnTo>
                  <a:lnTo>
                    <a:pt x="107" y="43"/>
                  </a:lnTo>
                  <a:lnTo>
                    <a:pt x="111" y="52"/>
                  </a:lnTo>
                  <a:lnTo>
                    <a:pt x="111" y="52"/>
                  </a:lnTo>
                  <a:lnTo>
                    <a:pt x="112" y="56"/>
                  </a:lnTo>
                  <a:lnTo>
                    <a:pt x="114" y="63"/>
                  </a:lnTo>
                  <a:lnTo>
                    <a:pt x="114" y="71"/>
                  </a:lnTo>
                  <a:lnTo>
                    <a:pt x="114" y="78"/>
                  </a:lnTo>
                  <a:lnTo>
                    <a:pt x="111" y="84"/>
                  </a:lnTo>
                  <a:lnTo>
                    <a:pt x="107" y="86"/>
                  </a:lnTo>
                  <a:lnTo>
                    <a:pt x="103" y="86"/>
                  </a:lnTo>
                  <a:lnTo>
                    <a:pt x="94" y="82"/>
                  </a:lnTo>
                  <a:lnTo>
                    <a:pt x="79" y="73"/>
                  </a:lnTo>
                  <a:lnTo>
                    <a:pt x="79" y="73"/>
                  </a:lnTo>
                  <a:lnTo>
                    <a:pt x="73" y="67"/>
                  </a:lnTo>
                  <a:lnTo>
                    <a:pt x="69" y="67"/>
                  </a:lnTo>
                  <a:lnTo>
                    <a:pt x="68" y="71"/>
                  </a:lnTo>
                  <a:lnTo>
                    <a:pt x="68" y="74"/>
                  </a:lnTo>
                  <a:lnTo>
                    <a:pt x="66" y="78"/>
                  </a:lnTo>
                  <a:lnTo>
                    <a:pt x="60" y="78"/>
                  </a:lnTo>
                  <a:lnTo>
                    <a:pt x="51" y="74"/>
                  </a:lnTo>
                  <a:lnTo>
                    <a:pt x="36" y="65"/>
                  </a:lnTo>
                  <a:lnTo>
                    <a:pt x="36" y="65"/>
                  </a:lnTo>
                  <a:lnTo>
                    <a:pt x="26" y="59"/>
                  </a:lnTo>
                  <a:lnTo>
                    <a:pt x="21" y="56"/>
                  </a:lnTo>
                  <a:lnTo>
                    <a:pt x="17" y="58"/>
                  </a:lnTo>
                  <a:lnTo>
                    <a:pt x="15" y="63"/>
                  </a:lnTo>
                  <a:lnTo>
                    <a:pt x="11" y="76"/>
                  </a:lnTo>
                  <a:lnTo>
                    <a:pt x="10" y="86"/>
                  </a:lnTo>
                  <a:lnTo>
                    <a:pt x="4" y="93"/>
                  </a:lnTo>
                  <a:lnTo>
                    <a:pt x="4" y="93"/>
                  </a:lnTo>
                  <a:lnTo>
                    <a:pt x="0" y="97"/>
                  </a:lnTo>
                  <a:lnTo>
                    <a:pt x="2" y="99"/>
                  </a:lnTo>
                  <a:lnTo>
                    <a:pt x="11" y="99"/>
                  </a:lnTo>
                  <a:lnTo>
                    <a:pt x="17" y="101"/>
                  </a:lnTo>
                  <a:lnTo>
                    <a:pt x="23" y="101"/>
                  </a:lnTo>
                  <a:lnTo>
                    <a:pt x="28" y="106"/>
                  </a:lnTo>
                  <a:lnTo>
                    <a:pt x="32" y="114"/>
                  </a:lnTo>
                  <a:lnTo>
                    <a:pt x="32" y="114"/>
                  </a:lnTo>
                  <a:lnTo>
                    <a:pt x="36" y="119"/>
                  </a:lnTo>
                  <a:lnTo>
                    <a:pt x="40" y="127"/>
                  </a:lnTo>
                  <a:lnTo>
                    <a:pt x="53" y="138"/>
                  </a:lnTo>
                  <a:lnTo>
                    <a:pt x="58" y="145"/>
                  </a:lnTo>
                  <a:lnTo>
                    <a:pt x="62" y="153"/>
                  </a:lnTo>
                  <a:lnTo>
                    <a:pt x="60" y="162"/>
                  </a:lnTo>
                  <a:lnTo>
                    <a:pt x="56" y="173"/>
                  </a:lnTo>
                  <a:lnTo>
                    <a:pt x="56" y="173"/>
                  </a:lnTo>
                  <a:lnTo>
                    <a:pt x="53" y="179"/>
                  </a:lnTo>
                  <a:lnTo>
                    <a:pt x="53" y="185"/>
                  </a:lnTo>
                  <a:lnTo>
                    <a:pt x="54" y="188"/>
                  </a:lnTo>
                  <a:lnTo>
                    <a:pt x="58" y="192"/>
                  </a:lnTo>
                  <a:lnTo>
                    <a:pt x="60" y="196"/>
                  </a:lnTo>
                  <a:lnTo>
                    <a:pt x="62" y="200"/>
                  </a:lnTo>
                  <a:lnTo>
                    <a:pt x="62" y="205"/>
                  </a:lnTo>
                  <a:lnTo>
                    <a:pt x="58" y="211"/>
                  </a:lnTo>
                  <a:lnTo>
                    <a:pt x="58" y="211"/>
                  </a:lnTo>
                  <a:lnTo>
                    <a:pt x="56" y="215"/>
                  </a:lnTo>
                  <a:lnTo>
                    <a:pt x="56" y="218"/>
                  </a:lnTo>
                  <a:lnTo>
                    <a:pt x="58" y="226"/>
                  </a:lnTo>
                  <a:lnTo>
                    <a:pt x="64" y="235"/>
                  </a:lnTo>
                  <a:lnTo>
                    <a:pt x="69" y="246"/>
                  </a:lnTo>
                  <a:lnTo>
                    <a:pt x="84" y="269"/>
                  </a:lnTo>
                  <a:lnTo>
                    <a:pt x="90" y="280"/>
                  </a:lnTo>
                  <a:lnTo>
                    <a:pt x="94" y="291"/>
                  </a:lnTo>
                  <a:lnTo>
                    <a:pt x="94" y="291"/>
                  </a:lnTo>
                  <a:lnTo>
                    <a:pt x="96" y="299"/>
                  </a:lnTo>
                  <a:lnTo>
                    <a:pt x="97" y="299"/>
                  </a:lnTo>
                  <a:lnTo>
                    <a:pt x="99" y="300"/>
                  </a:lnTo>
                  <a:lnTo>
                    <a:pt x="105" y="299"/>
                  </a:lnTo>
                  <a:lnTo>
                    <a:pt x="112" y="293"/>
                  </a:lnTo>
                  <a:lnTo>
                    <a:pt x="133" y="276"/>
                  </a:lnTo>
                  <a:lnTo>
                    <a:pt x="159" y="258"/>
                  </a:lnTo>
                  <a:lnTo>
                    <a:pt x="159" y="258"/>
                  </a:lnTo>
                  <a:lnTo>
                    <a:pt x="174" y="248"/>
                  </a:lnTo>
                  <a:lnTo>
                    <a:pt x="174" y="248"/>
                  </a:lnTo>
                  <a:lnTo>
                    <a:pt x="172" y="252"/>
                  </a:lnTo>
                  <a:lnTo>
                    <a:pt x="172" y="258"/>
                  </a:lnTo>
                  <a:lnTo>
                    <a:pt x="172" y="265"/>
                  </a:lnTo>
                  <a:lnTo>
                    <a:pt x="178" y="272"/>
                  </a:lnTo>
                  <a:lnTo>
                    <a:pt x="187" y="282"/>
                  </a:lnTo>
                  <a:lnTo>
                    <a:pt x="187" y="282"/>
                  </a:lnTo>
                  <a:lnTo>
                    <a:pt x="191" y="284"/>
                  </a:lnTo>
                  <a:lnTo>
                    <a:pt x="195" y="287"/>
                  </a:lnTo>
                  <a:lnTo>
                    <a:pt x="196" y="297"/>
                  </a:lnTo>
                  <a:lnTo>
                    <a:pt x="198" y="302"/>
                  </a:lnTo>
                  <a:lnTo>
                    <a:pt x="200" y="310"/>
                  </a:lnTo>
                  <a:lnTo>
                    <a:pt x="206" y="319"/>
                  </a:lnTo>
                  <a:lnTo>
                    <a:pt x="213" y="329"/>
                  </a:lnTo>
                  <a:lnTo>
                    <a:pt x="213" y="329"/>
                  </a:lnTo>
                  <a:lnTo>
                    <a:pt x="221" y="347"/>
                  </a:lnTo>
                  <a:lnTo>
                    <a:pt x="223" y="362"/>
                  </a:lnTo>
                  <a:lnTo>
                    <a:pt x="223" y="368"/>
                  </a:lnTo>
                  <a:lnTo>
                    <a:pt x="223" y="372"/>
                  </a:lnTo>
                  <a:lnTo>
                    <a:pt x="223" y="372"/>
                  </a:lnTo>
                  <a:lnTo>
                    <a:pt x="213" y="379"/>
                  </a:lnTo>
                  <a:lnTo>
                    <a:pt x="210" y="383"/>
                  </a:lnTo>
                  <a:lnTo>
                    <a:pt x="210" y="386"/>
                  </a:lnTo>
                  <a:lnTo>
                    <a:pt x="211" y="388"/>
                  </a:lnTo>
                  <a:lnTo>
                    <a:pt x="219" y="392"/>
                  </a:lnTo>
                  <a:lnTo>
                    <a:pt x="225" y="394"/>
                  </a:lnTo>
                  <a:lnTo>
                    <a:pt x="230" y="398"/>
                  </a:lnTo>
                  <a:lnTo>
                    <a:pt x="230" y="398"/>
                  </a:lnTo>
                  <a:lnTo>
                    <a:pt x="234" y="400"/>
                  </a:lnTo>
                  <a:lnTo>
                    <a:pt x="236" y="400"/>
                  </a:lnTo>
                  <a:lnTo>
                    <a:pt x="239" y="400"/>
                  </a:lnTo>
                  <a:lnTo>
                    <a:pt x="249" y="400"/>
                  </a:lnTo>
                  <a:lnTo>
                    <a:pt x="249" y="400"/>
                  </a:lnTo>
                  <a:lnTo>
                    <a:pt x="254" y="388"/>
                  </a:lnTo>
                  <a:lnTo>
                    <a:pt x="256" y="386"/>
                  </a:lnTo>
                  <a:lnTo>
                    <a:pt x="258" y="386"/>
                  </a:lnTo>
                  <a:lnTo>
                    <a:pt x="262" y="388"/>
                  </a:lnTo>
                  <a:lnTo>
                    <a:pt x="264" y="390"/>
                  </a:lnTo>
                  <a:lnTo>
                    <a:pt x="264" y="390"/>
                  </a:lnTo>
                  <a:lnTo>
                    <a:pt x="273" y="398"/>
                  </a:lnTo>
                  <a:lnTo>
                    <a:pt x="282" y="403"/>
                  </a:lnTo>
                  <a:lnTo>
                    <a:pt x="301" y="411"/>
                  </a:lnTo>
                  <a:lnTo>
                    <a:pt x="309" y="413"/>
                  </a:lnTo>
                  <a:lnTo>
                    <a:pt x="316" y="416"/>
                  </a:lnTo>
                  <a:lnTo>
                    <a:pt x="320" y="422"/>
                  </a:lnTo>
                  <a:lnTo>
                    <a:pt x="324" y="429"/>
                  </a:lnTo>
                  <a:lnTo>
                    <a:pt x="324" y="429"/>
                  </a:lnTo>
                  <a:lnTo>
                    <a:pt x="327" y="450"/>
                  </a:lnTo>
                  <a:lnTo>
                    <a:pt x="329" y="456"/>
                  </a:lnTo>
                  <a:lnTo>
                    <a:pt x="333" y="459"/>
                  </a:lnTo>
                  <a:lnTo>
                    <a:pt x="335" y="461"/>
                  </a:lnTo>
                  <a:lnTo>
                    <a:pt x="339" y="461"/>
                  </a:lnTo>
                  <a:lnTo>
                    <a:pt x="342" y="456"/>
                  </a:lnTo>
                  <a:lnTo>
                    <a:pt x="348" y="448"/>
                  </a:lnTo>
                  <a:lnTo>
                    <a:pt x="352" y="441"/>
                  </a:lnTo>
                  <a:lnTo>
                    <a:pt x="355" y="429"/>
                  </a:lnTo>
                  <a:lnTo>
                    <a:pt x="355" y="429"/>
                  </a:lnTo>
                  <a:lnTo>
                    <a:pt x="363" y="420"/>
                  </a:lnTo>
                  <a:lnTo>
                    <a:pt x="368" y="414"/>
                  </a:lnTo>
                  <a:lnTo>
                    <a:pt x="372" y="414"/>
                  </a:lnTo>
                  <a:lnTo>
                    <a:pt x="374" y="418"/>
                  </a:lnTo>
                  <a:lnTo>
                    <a:pt x="376" y="429"/>
                  </a:lnTo>
                  <a:lnTo>
                    <a:pt x="376" y="444"/>
                  </a:lnTo>
                  <a:lnTo>
                    <a:pt x="376" y="444"/>
                  </a:lnTo>
                  <a:lnTo>
                    <a:pt x="378" y="450"/>
                  </a:lnTo>
                  <a:lnTo>
                    <a:pt x="383" y="459"/>
                  </a:lnTo>
                  <a:lnTo>
                    <a:pt x="400" y="485"/>
                  </a:lnTo>
                  <a:lnTo>
                    <a:pt x="419" y="512"/>
                  </a:lnTo>
                  <a:lnTo>
                    <a:pt x="432" y="530"/>
                  </a:lnTo>
                  <a:lnTo>
                    <a:pt x="432" y="530"/>
                  </a:lnTo>
                  <a:lnTo>
                    <a:pt x="438" y="540"/>
                  </a:lnTo>
                  <a:lnTo>
                    <a:pt x="445" y="543"/>
                  </a:lnTo>
                  <a:lnTo>
                    <a:pt x="451" y="543"/>
                  </a:lnTo>
                  <a:lnTo>
                    <a:pt x="456" y="543"/>
                  </a:lnTo>
                  <a:lnTo>
                    <a:pt x="462" y="540"/>
                  </a:lnTo>
                  <a:lnTo>
                    <a:pt x="456" y="545"/>
                  </a:lnTo>
                  <a:lnTo>
                    <a:pt x="456" y="545"/>
                  </a:lnTo>
                  <a:lnTo>
                    <a:pt x="453" y="553"/>
                  </a:lnTo>
                  <a:lnTo>
                    <a:pt x="447" y="571"/>
                  </a:lnTo>
                  <a:lnTo>
                    <a:pt x="445" y="583"/>
                  </a:lnTo>
                  <a:lnTo>
                    <a:pt x="443" y="592"/>
                  </a:lnTo>
                  <a:lnTo>
                    <a:pt x="447" y="601"/>
                  </a:lnTo>
                  <a:lnTo>
                    <a:pt x="449" y="605"/>
                  </a:lnTo>
                  <a:lnTo>
                    <a:pt x="451" y="609"/>
                  </a:lnTo>
                  <a:lnTo>
                    <a:pt x="451" y="609"/>
                  </a:lnTo>
                  <a:lnTo>
                    <a:pt x="460" y="614"/>
                  </a:lnTo>
                  <a:lnTo>
                    <a:pt x="467" y="622"/>
                  </a:lnTo>
                  <a:lnTo>
                    <a:pt x="475" y="633"/>
                  </a:lnTo>
                  <a:lnTo>
                    <a:pt x="481" y="644"/>
                  </a:lnTo>
                  <a:lnTo>
                    <a:pt x="488" y="656"/>
                  </a:lnTo>
                  <a:lnTo>
                    <a:pt x="488" y="656"/>
                  </a:lnTo>
                  <a:lnTo>
                    <a:pt x="503" y="670"/>
                  </a:lnTo>
                  <a:lnTo>
                    <a:pt x="510" y="682"/>
                  </a:lnTo>
                  <a:lnTo>
                    <a:pt x="510" y="685"/>
                  </a:lnTo>
                  <a:lnTo>
                    <a:pt x="510" y="689"/>
                  </a:lnTo>
                  <a:lnTo>
                    <a:pt x="507" y="693"/>
                  </a:lnTo>
                  <a:lnTo>
                    <a:pt x="501" y="697"/>
                  </a:lnTo>
                  <a:lnTo>
                    <a:pt x="499" y="702"/>
                  </a:lnTo>
                  <a:lnTo>
                    <a:pt x="499" y="704"/>
                  </a:lnTo>
                  <a:lnTo>
                    <a:pt x="501" y="708"/>
                  </a:lnTo>
                  <a:lnTo>
                    <a:pt x="512" y="719"/>
                  </a:lnTo>
                  <a:lnTo>
                    <a:pt x="512" y="719"/>
                  </a:lnTo>
                  <a:lnTo>
                    <a:pt x="516" y="717"/>
                  </a:lnTo>
                  <a:lnTo>
                    <a:pt x="520" y="715"/>
                  </a:lnTo>
                  <a:lnTo>
                    <a:pt x="520" y="715"/>
                  </a:lnTo>
                  <a:lnTo>
                    <a:pt x="529" y="712"/>
                  </a:lnTo>
                  <a:lnTo>
                    <a:pt x="537" y="704"/>
                  </a:lnTo>
                  <a:lnTo>
                    <a:pt x="544" y="697"/>
                  </a:lnTo>
                  <a:lnTo>
                    <a:pt x="550" y="685"/>
                  </a:lnTo>
                  <a:lnTo>
                    <a:pt x="561" y="663"/>
                  </a:lnTo>
                  <a:lnTo>
                    <a:pt x="572" y="642"/>
                  </a:lnTo>
                  <a:lnTo>
                    <a:pt x="572" y="642"/>
                  </a:lnTo>
                  <a:lnTo>
                    <a:pt x="578" y="633"/>
                  </a:lnTo>
                  <a:lnTo>
                    <a:pt x="581" y="620"/>
                  </a:lnTo>
                  <a:lnTo>
                    <a:pt x="587" y="605"/>
                  </a:lnTo>
                  <a:lnTo>
                    <a:pt x="593" y="592"/>
                  </a:lnTo>
                  <a:lnTo>
                    <a:pt x="600" y="581"/>
                  </a:lnTo>
                  <a:lnTo>
                    <a:pt x="604" y="577"/>
                  </a:lnTo>
                  <a:lnTo>
                    <a:pt x="610" y="575"/>
                  </a:lnTo>
                  <a:lnTo>
                    <a:pt x="613" y="575"/>
                  </a:lnTo>
                  <a:lnTo>
                    <a:pt x="619" y="577"/>
                  </a:lnTo>
                  <a:lnTo>
                    <a:pt x="624" y="581"/>
                  </a:lnTo>
                  <a:lnTo>
                    <a:pt x="630" y="586"/>
                  </a:lnTo>
                  <a:lnTo>
                    <a:pt x="630" y="586"/>
                  </a:lnTo>
                  <a:lnTo>
                    <a:pt x="638" y="594"/>
                  </a:lnTo>
                  <a:lnTo>
                    <a:pt x="643" y="599"/>
                  </a:lnTo>
                  <a:lnTo>
                    <a:pt x="651" y="603"/>
                  </a:lnTo>
                  <a:lnTo>
                    <a:pt x="656" y="607"/>
                  </a:lnTo>
                  <a:lnTo>
                    <a:pt x="669" y="609"/>
                  </a:lnTo>
                  <a:lnTo>
                    <a:pt x="682" y="609"/>
                  </a:lnTo>
                  <a:lnTo>
                    <a:pt x="709" y="605"/>
                  </a:lnTo>
                  <a:lnTo>
                    <a:pt x="722" y="603"/>
                  </a:lnTo>
                  <a:lnTo>
                    <a:pt x="737" y="605"/>
                  </a:lnTo>
                  <a:lnTo>
                    <a:pt x="737" y="605"/>
                  </a:lnTo>
                  <a:lnTo>
                    <a:pt x="744" y="605"/>
                  </a:lnTo>
                  <a:lnTo>
                    <a:pt x="750" y="605"/>
                  </a:lnTo>
                  <a:lnTo>
                    <a:pt x="755" y="601"/>
                  </a:lnTo>
                  <a:lnTo>
                    <a:pt x="757" y="596"/>
                  </a:lnTo>
                  <a:lnTo>
                    <a:pt x="757" y="588"/>
                  </a:lnTo>
                  <a:lnTo>
                    <a:pt x="755" y="577"/>
                  </a:lnTo>
                  <a:lnTo>
                    <a:pt x="750" y="566"/>
                  </a:lnTo>
                  <a:lnTo>
                    <a:pt x="740" y="553"/>
                  </a:lnTo>
                  <a:lnTo>
                    <a:pt x="740" y="553"/>
                  </a:lnTo>
                  <a:lnTo>
                    <a:pt x="733" y="543"/>
                  </a:lnTo>
                  <a:lnTo>
                    <a:pt x="729" y="532"/>
                  </a:lnTo>
                  <a:lnTo>
                    <a:pt x="729" y="525"/>
                  </a:lnTo>
                  <a:lnTo>
                    <a:pt x="731" y="519"/>
                  </a:lnTo>
                  <a:lnTo>
                    <a:pt x="735" y="515"/>
                  </a:lnTo>
                  <a:lnTo>
                    <a:pt x="740" y="514"/>
                  </a:lnTo>
                  <a:lnTo>
                    <a:pt x="740" y="514"/>
                  </a:lnTo>
                  <a:lnTo>
                    <a:pt x="763" y="510"/>
                  </a:lnTo>
                  <a:lnTo>
                    <a:pt x="780" y="504"/>
                  </a:lnTo>
                  <a:lnTo>
                    <a:pt x="795" y="499"/>
                  </a:lnTo>
                  <a:lnTo>
                    <a:pt x="806" y="493"/>
                  </a:lnTo>
                  <a:lnTo>
                    <a:pt x="815" y="485"/>
                  </a:lnTo>
                  <a:lnTo>
                    <a:pt x="823" y="480"/>
                  </a:lnTo>
                  <a:lnTo>
                    <a:pt x="828" y="472"/>
                  </a:lnTo>
                  <a:lnTo>
                    <a:pt x="834" y="465"/>
                  </a:lnTo>
                  <a:lnTo>
                    <a:pt x="838" y="452"/>
                  </a:lnTo>
                  <a:lnTo>
                    <a:pt x="841" y="441"/>
                  </a:lnTo>
                  <a:lnTo>
                    <a:pt x="845" y="433"/>
                  </a:lnTo>
                  <a:lnTo>
                    <a:pt x="847" y="431"/>
                  </a:lnTo>
                  <a:lnTo>
                    <a:pt x="851" y="429"/>
                  </a:lnTo>
                  <a:lnTo>
                    <a:pt x="851" y="429"/>
                  </a:lnTo>
                  <a:lnTo>
                    <a:pt x="858" y="429"/>
                  </a:lnTo>
                  <a:lnTo>
                    <a:pt x="862" y="431"/>
                  </a:lnTo>
                  <a:lnTo>
                    <a:pt x="864" y="433"/>
                  </a:lnTo>
                  <a:lnTo>
                    <a:pt x="866" y="433"/>
                  </a:lnTo>
                  <a:lnTo>
                    <a:pt x="879" y="424"/>
                  </a:lnTo>
                  <a:lnTo>
                    <a:pt x="879" y="424"/>
                  </a:lnTo>
                  <a:lnTo>
                    <a:pt x="882" y="420"/>
                  </a:lnTo>
                  <a:lnTo>
                    <a:pt x="884" y="414"/>
                  </a:lnTo>
                  <a:lnTo>
                    <a:pt x="884" y="407"/>
                  </a:lnTo>
                  <a:lnTo>
                    <a:pt x="880" y="401"/>
                  </a:lnTo>
                  <a:lnTo>
                    <a:pt x="875" y="386"/>
                  </a:lnTo>
                  <a:lnTo>
                    <a:pt x="875" y="379"/>
                  </a:lnTo>
                  <a:lnTo>
                    <a:pt x="877" y="372"/>
                  </a:lnTo>
                  <a:lnTo>
                    <a:pt x="877" y="372"/>
                  </a:lnTo>
                  <a:lnTo>
                    <a:pt x="884" y="355"/>
                  </a:lnTo>
                  <a:lnTo>
                    <a:pt x="888" y="345"/>
                  </a:lnTo>
                  <a:lnTo>
                    <a:pt x="892" y="343"/>
                  </a:lnTo>
                  <a:lnTo>
                    <a:pt x="894" y="342"/>
                  </a:lnTo>
                  <a:lnTo>
                    <a:pt x="894" y="342"/>
                  </a:lnTo>
                  <a:lnTo>
                    <a:pt x="907" y="351"/>
                  </a:lnTo>
                  <a:lnTo>
                    <a:pt x="931" y="372"/>
                  </a:lnTo>
                  <a:lnTo>
                    <a:pt x="968" y="403"/>
                  </a:lnTo>
                  <a:lnTo>
                    <a:pt x="968" y="403"/>
                  </a:lnTo>
                  <a:lnTo>
                    <a:pt x="968" y="401"/>
                  </a:lnTo>
                  <a:lnTo>
                    <a:pt x="968" y="394"/>
                  </a:lnTo>
                  <a:lnTo>
                    <a:pt x="966" y="390"/>
                  </a:lnTo>
                  <a:lnTo>
                    <a:pt x="965" y="385"/>
                  </a:lnTo>
                  <a:lnTo>
                    <a:pt x="961" y="381"/>
                  </a:lnTo>
                  <a:lnTo>
                    <a:pt x="955" y="375"/>
                  </a:lnTo>
                  <a:lnTo>
                    <a:pt x="955" y="375"/>
                  </a:lnTo>
                  <a:lnTo>
                    <a:pt x="948" y="372"/>
                  </a:lnTo>
                  <a:lnTo>
                    <a:pt x="946" y="368"/>
                  </a:lnTo>
                  <a:lnTo>
                    <a:pt x="944" y="364"/>
                  </a:lnTo>
                  <a:lnTo>
                    <a:pt x="946" y="362"/>
                  </a:lnTo>
                  <a:lnTo>
                    <a:pt x="953" y="357"/>
                  </a:lnTo>
                  <a:lnTo>
                    <a:pt x="965" y="351"/>
                  </a:lnTo>
                  <a:lnTo>
                    <a:pt x="980" y="345"/>
                  </a:lnTo>
                  <a:lnTo>
                    <a:pt x="993" y="336"/>
                  </a:lnTo>
                  <a:lnTo>
                    <a:pt x="998" y="330"/>
                  </a:lnTo>
                  <a:lnTo>
                    <a:pt x="1002" y="323"/>
                  </a:lnTo>
                  <a:lnTo>
                    <a:pt x="1006" y="315"/>
                  </a:lnTo>
                  <a:lnTo>
                    <a:pt x="1006" y="304"/>
                  </a:lnTo>
                  <a:lnTo>
                    <a:pt x="1006" y="304"/>
                  </a:lnTo>
                  <a:lnTo>
                    <a:pt x="1006" y="291"/>
                  </a:lnTo>
                  <a:lnTo>
                    <a:pt x="1008" y="276"/>
                  </a:lnTo>
                  <a:lnTo>
                    <a:pt x="1009" y="263"/>
                  </a:lnTo>
                  <a:lnTo>
                    <a:pt x="1008" y="250"/>
                  </a:lnTo>
                  <a:lnTo>
                    <a:pt x="1008" y="250"/>
                  </a:lnTo>
                  <a:lnTo>
                    <a:pt x="981" y="256"/>
                  </a:lnTo>
                  <a:lnTo>
                    <a:pt x="970" y="256"/>
                  </a:lnTo>
                  <a:lnTo>
                    <a:pt x="959" y="252"/>
                  </a:lnTo>
                  <a:lnTo>
                    <a:pt x="937" y="244"/>
                  </a:lnTo>
                  <a:lnTo>
                    <a:pt x="937" y="244"/>
                  </a:lnTo>
                  <a:lnTo>
                    <a:pt x="929" y="239"/>
                  </a:lnTo>
                  <a:lnTo>
                    <a:pt x="923" y="231"/>
                  </a:lnTo>
                  <a:lnTo>
                    <a:pt x="912" y="213"/>
                  </a:lnTo>
                  <a:lnTo>
                    <a:pt x="907" y="205"/>
                  </a:lnTo>
                  <a:lnTo>
                    <a:pt x="903" y="201"/>
                  </a:lnTo>
                  <a:lnTo>
                    <a:pt x="899" y="201"/>
                  </a:lnTo>
                  <a:lnTo>
                    <a:pt x="897" y="201"/>
                  </a:lnTo>
                  <a:lnTo>
                    <a:pt x="892" y="209"/>
                  </a:lnTo>
                  <a:lnTo>
                    <a:pt x="892" y="209"/>
                  </a:lnTo>
                  <a:lnTo>
                    <a:pt x="886" y="215"/>
                  </a:lnTo>
                  <a:lnTo>
                    <a:pt x="880" y="216"/>
                  </a:lnTo>
                  <a:lnTo>
                    <a:pt x="875" y="215"/>
                  </a:lnTo>
                  <a:lnTo>
                    <a:pt x="871" y="213"/>
                  </a:lnTo>
                  <a:lnTo>
                    <a:pt x="866" y="209"/>
                  </a:lnTo>
                  <a:lnTo>
                    <a:pt x="858" y="209"/>
                  </a:lnTo>
                  <a:lnTo>
                    <a:pt x="851" y="215"/>
                  </a:lnTo>
                  <a:lnTo>
                    <a:pt x="841" y="224"/>
                  </a:lnTo>
                  <a:lnTo>
                    <a:pt x="841" y="224"/>
                  </a:lnTo>
                  <a:lnTo>
                    <a:pt x="834" y="231"/>
                  </a:lnTo>
                  <a:lnTo>
                    <a:pt x="826" y="237"/>
                  </a:lnTo>
                  <a:lnTo>
                    <a:pt x="809" y="243"/>
                  </a:lnTo>
                  <a:lnTo>
                    <a:pt x="804" y="246"/>
                  </a:lnTo>
                  <a:lnTo>
                    <a:pt x="800" y="252"/>
                  </a:lnTo>
                  <a:lnTo>
                    <a:pt x="798" y="259"/>
                  </a:lnTo>
                  <a:lnTo>
                    <a:pt x="802" y="271"/>
                  </a:lnTo>
                  <a:lnTo>
                    <a:pt x="802" y="271"/>
                  </a:lnTo>
                  <a:lnTo>
                    <a:pt x="802" y="276"/>
                  </a:lnTo>
                  <a:lnTo>
                    <a:pt x="798" y="280"/>
                  </a:lnTo>
                  <a:lnTo>
                    <a:pt x="795" y="286"/>
                  </a:lnTo>
                  <a:lnTo>
                    <a:pt x="787" y="287"/>
                  </a:lnTo>
                  <a:lnTo>
                    <a:pt x="778" y="287"/>
                  </a:lnTo>
                  <a:lnTo>
                    <a:pt x="768" y="284"/>
                  </a:lnTo>
                  <a:lnTo>
                    <a:pt x="757" y="274"/>
                  </a:lnTo>
                  <a:lnTo>
                    <a:pt x="748" y="259"/>
                  </a:lnTo>
                  <a:lnTo>
                    <a:pt x="748" y="259"/>
                  </a:lnTo>
                  <a:lnTo>
                    <a:pt x="733" y="237"/>
                  </a:lnTo>
                  <a:lnTo>
                    <a:pt x="724" y="222"/>
                  </a:lnTo>
                  <a:lnTo>
                    <a:pt x="714" y="207"/>
                  </a:lnTo>
                  <a:lnTo>
                    <a:pt x="705" y="181"/>
                  </a:lnTo>
                  <a:lnTo>
                    <a:pt x="705" y="181"/>
                  </a:lnTo>
                  <a:lnTo>
                    <a:pt x="703" y="173"/>
                  </a:lnTo>
                  <a:lnTo>
                    <a:pt x="699" y="168"/>
                  </a:lnTo>
                  <a:lnTo>
                    <a:pt x="697" y="164"/>
                  </a:lnTo>
                  <a:lnTo>
                    <a:pt x="694" y="164"/>
                  </a:lnTo>
                  <a:lnTo>
                    <a:pt x="690" y="164"/>
                  </a:lnTo>
                  <a:lnTo>
                    <a:pt x="686" y="164"/>
                  </a:lnTo>
                  <a:lnTo>
                    <a:pt x="681" y="170"/>
                  </a:lnTo>
                  <a:lnTo>
                    <a:pt x="675" y="181"/>
                  </a:lnTo>
                  <a:lnTo>
                    <a:pt x="673" y="192"/>
                  </a:lnTo>
                  <a:lnTo>
                    <a:pt x="671" y="205"/>
                  </a:lnTo>
                  <a:lnTo>
                    <a:pt x="675" y="218"/>
                  </a:lnTo>
                  <a:lnTo>
                    <a:pt x="675" y="21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9">
              <a:extLst>
                <a:ext uri="{FF2B5EF4-FFF2-40B4-BE49-F238E27FC236}">
                  <a16:creationId xmlns:a16="http://schemas.microsoft.com/office/drawing/2014/main" id="{F1ADCBE6-030A-41A2-ABD1-2372918F3131}"/>
                </a:ext>
              </a:extLst>
            </p:cNvPr>
            <p:cNvSpPr>
              <a:spLocks noEditPoints="1"/>
            </p:cNvSpPr>
            <p:nvPr/>
          </p:nvSpPr>
          <p:spPr bwMode="auto">
            <a:xfrm>
              <a:off x="6152495" y="2960567"/>
              <a:ext cx="659449" cy="630381"/>
            </a:xfrm>
            <a:custGeom>
              <a:avLst/>
              <a:gdLst/>
              <a:ahLst/>
              <a:cxnLst>
                <a:cxn ang="0">
                  <a:pos x="591" y="58"/>
                </a:cxn>
                <a:cxn ang="0">
                  <a:pos x="567" y="55"/>
                </a:cxn>
                <a:cxn ang="0">
                  <a:pos x="539" y="43"/>
                </a:cxn>
                <a:cxn ang="0">
                  <a:pos x="479" y="4"/>
                </a:cxn>
                <a:cxn ang="0">
                  <a:pos x="464" y="45"/>
                </a:cxn>
                <a:cxn ang="0">
                  <a:pos x="436" y="66"/>
                </a:cxn>
                <a:cxn ang="0">
                  <a:pos x="406" y="109"/>
                </a:cxn>
                <a:cxn ang="0">
                  <a:pos x="339" y="113"/>
                </a:cxn>
                <a:cxn ang="0">
                  <a:pos x="307" y="128"/>
                </a:cxn>
                <a:cxn ang="0">
                  <a:pos x="281" y="165"/>
                </a:cxn>
                <a:cxn ang="0">
                  <a:pos x="219" y="195"/>
                </a:cxn>
                <a:cxn ang="0">
                  <a:pos x="139" y="264"/>
                </a:cxn>
                <a:cxn ang="0">
                  <a:pos x="92" y="243"/>
                </a:cxn>
                <a:cxn ang="0">
                  <a:pos x="53" y="213"/>
                </a:cxn>
                <a:cxn ang="0">
                  <a:pos x="30" y="241"/>
                </a:cxn>
                <a:cxn ang="0">
                  <a:pos x="47" y="327"/>
                </a:cxn>
                <a:cxn ang="0">
                  <a:pos x="32" y="365"/>
                </a:cxn>
                <a:cxn ang="0">
                  <a:pos x="2" y="436"/>
                </a:cxn>
                <a:cxn ang="0">
                  <a:pos x="56" y="466"/>
                </a:cxn>
                <a:cxn ang="0">
                  <a:pos x="92" y="497"/>
                </a:cxn>
                <a:cxn ang="0">
                  <a:pos x="114" y="535"/>
                </a:cxn>
                <a:cxn ang="0">
                  <a:pos x="226" y="410"/>
                </a:cxn>
                <a:cxn ang="0">
                  <a:pos x="286" y="385"/>
                </a:cxn>
                <a:cxn ang="0">
                  <a:pos x="322" y="369"/>
                </a:cxn>
                <a:cxn ang="0">
                  <a:pos x="355" y="417"/>
                </a:cxn>
                <a:cxn ang="0">
                  <a:pos x="335" y="499"/>
                </a:cxn>
                <a:cxn ang="0">
                  <a:pos x="299" y="557"/>
                </a:cxn>
                <a:cxn ang="0">
                  <a:pos x="273" y="595"/>
                </a:cxn>
                <a:cxn ang="0">
                  <a:pos x="320" y="604"/>
                </a:cxn>
                <a:cxn ang="0">
                  <a:pos x="327" y="638"/>
                </a:cxn>
                <a:cxn ang="0">
                  <a:pos x="400" y="587"/>
                </a:cxn>
                <a:cxn ang="0">
                  <a:pos x="486" y="527"/>
                </a:cxn>
                <a:cxn ang="0">
                  <a:pos x="561" y="503"/>
                </a:cxn>
                <a:cxn ang="0">
                  <a:pos x="613" y="447"/>
                </a:cxn>
                <a:cxn ang="0">
                  <a:pos x="669" y="387"/>
                </a:cxn>
                <a:cxn ang="0">
                  <a:pos x="727" y="333"/>
                </a:cxn>
                <a:cxn ang="0">
                  <a:pos x="725" y="296"/>
                </a:cxn>
                <a:cxn ang="0">
                  <a:pos x="666" y="223"/>
                </a:cxn>
                <a:cxn ang="0">
                  <a:pos x="671" y="159"/>
                </a:cxn>
                <a:cxn ang="0">
                  <a:pos x="647" y="144"/>
                </a:cxn>
                <a:cxn ang="0">
                  <a:pos x="271" y="690"/>
                </a:cxn>
                <a:cxn ang="0">
                  <a:pos x="305" y="681"/>
                </a:cxn>
                <a:cxn ang="0">
                  <a:pos x="305" y="651"/>
                </a:cxn>
                <a:cxn ang="0">
                  <a:pos x="440" y="632"/>
                </a:cxn>
                <a:cxn ang="0">
                  <a:pos x="458" y="625"/>
                </a:cxn>
                <a:cxn ang="0">
                  <a:pos x="484" y="625"/>
                </a:cxn>
                <a:cxn ang="0">
                  <a:pos x="486" y="615"/>
                </a:cxn>
                <a:cxn ang="0">
                  <a:pos x="397" y="626"/>
                </a:cxn>
                <a:cxn ang="0">
                  <a:pos x="402" y="610"/>
                </a:cxn>
                <a:cxn ang="0">
                  <a:pos x="449" y="606"/>
                </a:cxn>
                <a:cxn ang="0">
                  <a:pos x="413" y="595"/>
                </a:cxn>
                <a:cxn ang="0">
                  <a:pos x="462" y="595"/>
                </a:cxn>
                <a:cxn ang="0">
                  <a:pos x="473" y="589"/>
                </a:cxn>
                <a:cxn ang="0">
                  <a:pos x="462" y="595"/>
                </a:cxn>
                <a:cxn ang="0">
                  <a:pos x="475" y="578"/>
                </a:cxn>
                <a:cxn ang="0">
                  <a:pos x="468" y="557"/>
                </a:cxn>
                <a:cxn ang="0">
                  <a:pos x="468" y="563"/>
                </a:cxn>
                <a:cxn ang="0">
                  <a:pos x="228" y="456"/>
                </a:cxn>
                <a:cxn ang="0">
                  <a:pos x="213" y="462"/>
                </a:cxn>
              </a:cxnLst>
              <a:rect l="0" t="0" r="r" b="b"/>
              <a:pathLst>
                <a:path w="727" h="696">
                  <a:moveTo>
                    <a:pt x="647" y="144"/>
                  </a:moveTo>
                  <a:lnTo>
                    <a:pt x="647" y="144"/>
                  </a:lnTo>
                  <a:lnTo>
                    <a:pt x="634" y="126"/>
                  </a:lnTo>
                  <a:lnTo>
                    <a:pt x="615" y="99"/>
                  </a:lnTo>
                  <a:lnTo>
                    <a:pt x="598" y="73"/>
                  </a:lnTo>
                  <a:lnTo>
                    <a:pt x="593" y="64"/>
                  </a:lnTo>
                  <a:lnTo>
                    <a:pt x="591" y="58"/>
                  </a:lnTo>
                  <a:lnTo>
                    <a:pt x="591" y="58"/>
                  </a:lnTo>
                  <a:lnTo>
                    <a:pt x="591" y="43"/>
                  </a:lnTo>
                  <a:lnTo>
                    <a:pt x="589" y="32"/>
                  </a:lnTo>
                  <a:lnTo>
                    <a:pt x="587" y="28"/>
                  </a:lnTo>
                  <a:lnTo>
                    <a:pt x="583" y="28"/>
                  </a:lnTo>
                  <a:lnTo>
                    <a:pt x="578" y="34"/>
                  </a:lnTo>
                  <a:lnTo>
                    <a:pt x="570" y="43"/>
                  </a:lnTo>
                  <a:lnTo>
                    <a:pt x="570" y="43"/>
                  </a:lnTo>
                  <a:lnTo>
                    <a:pt x="567" y="55"/>
                  </a:lnTo>
                  <a:lnTo>
                    <a:pt x="563" y="62"/>
                  </a:lnTo>
                  <a:lnTo>
                    <a:pt x="557" y="70"/>
                  </a:lnTo>
                  <a:lnTo>
                    <a:pt x="554" y="75"/>
                  </a:lnTo>
                  <a:lnTo>
                    <a:pt x="550" y="75"/>
                  </a:lnTo>
                  <a:lnTo>
                    <a:pt x="548" y="73"/>
                  </a:lnTo>
                  <a:lnTo>
                    <a:pt x="544" y="70"/>
                  </a:lnTo>
                  <a:lnTo>
                    <a:pt x="542" y="64"/>
                  </a:lnTo>
                  <a:lnTo>
                    <a:pt x="539" y="43"/>
                  </a:lnTo>
                  <a:lnTo>
                    <a:pt x="539" y="43"/>
                  </a:lnTo>
                  <a:lnTo>
                    <a:pt x="535" y="36"/>
                  </a:lnTo>
                  <a:lnTo>
                    <a:pt x="531" y="30"/>
                  </a:lnTo>
                  <a:lnTo>
                    <a:pt x="524" y="27"/>
                  </a:lnTo>
                  <a:lnTo>
                    <a:pt x="516" y="25"/>
                  </a:lnTo>
                  <a:lnTo>
                    <a:pt x="497" y="17"/>
                  </a:lnTo>
                  <a:lnTo>
                    <a:pt x="488" y="12"/>
                  </a:lnTo>
                  <a:lnTo>
                    <a:pt x="479" y="4"/>
                  </a:lnTo>
                  <a:lnTo>
                    <a:pt x="479" y="4"/>
                  </a:lnTo>
                  <a:lnTo>
                    <a:pt x="477" y="2"/>
                  </a:lnTo>
                  <a:lnTo>
                    <a:pt x="473" y="0"/>
                  </a:lnTo>
                  <a:lnTo>
                    <a:pt x="471" y="0"/>
                  </a:lnTo>
                  <a:lnTo>
                    <a:pt x="469" y="2"/>
                  </a:lnTo>
                  <a:lnTo>
                    <a:pt x="464" y="14"/>
                  </a:lnTo>
                  <a:lnTo>
                    <a:pt x="464" y="14"/>
                  </a:lnTo>
                  <a:lnTo>
                    <a:pt x="464" y="45"/>
                  </a:lnTo>
                  <a:lnTo>
                    <a:pt x="460" y="62"/>
                  </a:lnTo>
                  <a:lnTo>
                    <a:pt x="458" y="66"/>
                  </a:lnTo>
                  <a:lnTo>
                    <a:pt x="456" y="68"/>
                  </a:lnTo>
                  <a:lnTo>
                    <a:pt x="454" y="70"/>
                  </a:lnTo>
                  <a:lnTo>
                    <a:pt x="451" y="68"/>
                  </a:lnTo>
                  <a:lnTo>
                    <a:pt x="445" y="66"/>
                  </a:lnTo>
                  <a:lnTo>
                    <a:pt x="441" y="66"/>
                  </a:lnTo>
                  <a:lnTo>
                    <a:pt x="436" y="66"/>
                  </a:lnTo>
                  <a:lnTo>
                    <a:pt x="432" y="70"/>
                  </a:lnTo>
                  <a:lnTo>
                    <a:pt x="428" y="75"/>
                  </a:lnTo>
                  <a:lnTo>
                    <a:pt x="423" y="83"/>
                  </a:lnTo>
                  <a:lnTo>
                    <a:pt x="419" y="96"/>
                  </a:lnTo>
                  <a:lnTo>
                    <a:pt x="419" y="96"/>
                  </a:lnTo>
                  <a:lnTo>
                    <a:pt x="415" y="101"/>
                  </a:lnTo>
                  <a:lnTo>
                    <a:pt x="411" y="105"/>
                  </a:lnTo>
                  <a:lnTo>
                    <a:pt x="406" y="109"/>
                  </a:lnTo>
                  <a:lnTo>
                    <a:pt x="400" y="111"/>
                  </a:lnTo>
                  <a:lnTo>
                    <a:pt x="385" y="113"/>
                  </a:lnTo>
                  <a:lnTo>
                    <a:pt x="370" y="111"/>
                  </a:lnTo>
                  <a:lnTo>
                    <a:pt x="346" y="107"/>
                  </a:lnTo>
                  <a:lnTo>
                    <a:pt x="339" y="109"/>
                  </a:lnTo>
                  <a:lnTo>
                    <a:pt x="339" y="111"/>
                  </a:lnTo>
                  <a:lnTo>
                    <a:pt x="339" y="113"/>
                  </a:lnTo>
                  <a:lnTo>
                    <a:pt x="339" y="113"/>
                  </a:lnTo>
                  <a:lnTo>
                    <a:pt x="340" y="114"/>
                  </a:lnTo>
                  <a:lnTo>
                    <a:pt x="344" y="116"/>
                  </a:lnTo>
                  <a:lnTo>
                    <a:pt x="346" y="118"/>
                  </a:lnTo>
                  <a:lnTo>
                    <a:pt x="348" y="120"/>
                  </a:lnTo>
                  <a:lnTo>
                    <a:pt x="344" y="122"/>
                  </a:lnTo>
                  <a:lnTo>
                    <a:pt x="339" y="124"/>
                  </a:lnTo>
                  <a:lnTo>
                    <a:pt x="307" y="128"/>
                  </a:lnTo>
                  <a:lnTo>
                    <a:pt x="307" y="128"/>
                  </a:lnTo>
                  <a:lnTo>
                    <a:pt x="301" y="129"/>
                  </a:lnTo>
                  <a:lnTo>
                    <a:pt x="297" y="131"/>
                  </a:lnTo>
                  <a:lnTo>
                    <a:pt x="294" y="137"/>
                  </a:lnTo>
                  <a:lnTo>
                    <a:pt x="292" y="144"/>
                  </a:lnTo>
                  <a:lnTo>
                    <a:pt x="292" y="150"/>
                  </a:lnTo>
                  <a:lnTo>
                    <a:pt x="290" y="157"/>
                  </a:lnTo>
                  <a:lnTo>
                    <a:pt x="284" y="163"/>
                  </a:lnTo>
                  <a:lnTo>
                    <a:pt x="281" y="165"/>
                  </a:lnTo>
                  <a:lnTo>
                    <a:pt x="275" y="165"/>
                  </a:lnTo>
                  <a:lnTo>
                    <a:pt x="260" y="165"/>
                  </a:lnTo>
                  <a:lnTo>
                    <a:pt x="260" y="165"/>
                  </a:lnTo>
                  <a:lnTo>
                    <a:pt x="255" y="165"/>
                  </a:lnTo>
                  <a:lnTo>
                    <a:pt x="249" y="169"/>
                  </a:lnTo>
                  <a:lnTo>
                    <a:pt x="236" y="180"/>
                  </a:lnTo>
                  <a:lnTo>
                    <a:pt x="228" y="187"/>
                  </a:lnTo>
                  <a:lnTo>
                    <a:pt x="219" y="195"/>
                  </a:lnTo>
                  <a:lnTo>
                    <a:pt x="208" y="202"/>
                  </a:lnTo>
                  <a:lnTo>
                    <a:pt x="195" y="210"/>
                  </a:lnTo>
                  <a:lnTo>
                    <a:pt x="195" y="210"/>
                  </a:lnTo>
                  <a:lnTo>
                    <a:pt x="185" y="213"/>
                  </a:lnTo>
                  <a:lnTo>
                    <a:pt x="176" y="219"/>
                  </a:lnTo>
                  <a:lnTo>
                    <a:pt x="161" y="232"/>
                  </a:lnTo>
                  <a:lnTo>
                    <a:pt x="148" y="247"/>
                  </a:lnTo>
                  <a:lnTo>
                    <a:pt x="139" y="264"/>
                  </a:lnTo>
                  <a:lnTo>
                    <a:pt x="129" y="277"/>
                  </a:lnTo>
                  <a:lnTo>
                    <a:pt x="124" y="286"/>
                  </a:lnTo>
                  <a:lnTo>
                    <a:pt x="120" y="288"/>
                  </a:lnTo>
                  <a:lnTo>
                    <a:pt x="118" y="290"/>
                  </a:lnTo>
                  <a:lnTo>
                    <a:pt x="116" y="288"/>
                  </a:lnTo>
                  <a:lnTo>
                    <a:pt x="112" y="284"/>
                  </a:lnTo>
                  <a:lnTo>
                    <a:pt x="112" y="284"/>
                  </a:lnTo>
                  <a:lnTo>
                    <a:pt x="92" y="243"/>
                  </a:lnTo>
                  <a:lnTo>
                    <a:pt x="86" y="234"/>
                  </a:lnTo>
                  <a:lnTo>
                    <a:pt x="81" y="228"/>
                  </a:lnTo>
                  <a:lnTo>
                    <a:pt x="77" y="227"/>
                  </a:lnTo>
                  <a:lnTo>
                    <a:pt x="73" y="225"/>
                  </a:lnTo>
                  <a:lnTo>
                    <a:pt x="68" y="221"/>
                  </a:lnTo>
                  <a:lnTo>
                    <a:pt x="56" y="215"/>
                  </a:lnTo>
                  <a:lnTo>
                    <a:pt x="56" y="215"/>
                  </a:lnTo>
                  <a:lnTo>
                    <a:pt x="53" y="213"/>
                  </a:lnTo>
                  <a:lnTo>
                    <a:pt x="47" y="212"/>
                  </a:lnTo>
                  <a:lnTo>
                    <a:pt x="40" y="213"/>
                  </a:lnTo>
                  <a:lnTo>
                    <a:pt x="32" y="215"/>
                  </a:lnTo>
                  <a:lnTo>
                    <a:pt x="27" y="219"/>
                  </a:lnTo>
                  <a:lnTo>
                    <a:pt x="25" y="225"/>
                  </a:lnTo>
                  <a:lnTo>
                    <a:pt x="25" y="232"/>
                  </a:lnTo>
                  <a:lnTo>
                    <a:pt x="30" y="241"/>
                  </a:lnTo>
                  <a:lnTo>
                    <a:pt x="30" y="241"/>
                  </a:lnTo>
                  <a:lnTo>
                    <a:pt x="36" y="249"/>
                  </a:lnTo>
                  <a:lnTo>
                    <a:pt x="38" y="255"/>
                  </a:lnTo>
                  <a:lnTo>
                    <a:pt x="38" y="271"/>
                  </a:lnTo>
                  <a:lnTo>
                    <a:pt x="38" y="281"/>
                  </a:lnTo>
                  <a:lnTo>
                    <a:pt x="38" y="294"/>
                  </a:lnTo>
                  <a:lnTo>
                    <a:pt x="41" y="309"/>
                  </a:lnTo>
                  <a:lnTo>
                    <a:pt x="47" y="327"/>
                  </a:lnTo>
                  <a:lnTo>
                    <a:pt x="47" y="327"/>
                  </a:lnTo>
                  <a:lnTo>
                    <a:pt x="49" y="333"/>
                  </a:lnTo>
                  <a:lnTo>
                    <a:pt x="51" y="339"/>
                  </a:lnTo>
                  <a:lnTo>
                    <a:pt x="51" y="342"/>
                  </a:lnTo>
                  <a:lnTo>
                    <a:pt x="47" y="346"/>
                  </a:lnTo>
                  <a:lnTo>
                    <a:pt x="41" y="352"/>
                  </a:lnTo>
                  <a:lnTo>
                    <a:pt x="32" y="357"/>
                  </a:lnTo>
                  <a:lnTo>
                    <a:pt x="32" y="357"/>
                  </a:lnTo>
                  <a:lnTo>
                    <a:pt x="32" y="365"/>
                  </a:lnTo>
                  <a:lnTo>
                    <a:pt x="30" y="372"/>
                  </a:lnTo>
                  <a:lnTo>
                    <a:pt x="21" y="387"/>
                  </a:lnTo>
                  <a:lnTo>
                    <a:pt x="21" y="387"/>
                  </a:lnTo>
                  <a:lnTo>
                    <a:pt x="8" y="410"/>
                  </a:lnTo>
                  <a:lnTo>
                    <a:pt x="2" y="425"/>
                  </a:lnTo>
                  <a:lnTo>
                    <a:pt x="0" y="430"/>
                  </a:lnTo>
                  <a:lnTo>
                    <a:pt x="2" y="434"/>
                  </a:lnTo>
                  <a:lnTo>
                    <a:pt x="2" y="436"/>
                  </a:lnTo>
                  <a:lnTo>
                    <a:pt x="6" y="438"/>
                  </a:lnTo>
                  <a:lnTo>
                    <a:pt x="12" y="441"/>
                  </a:lnTo>
                  <a:lnTo>
                    <a:pt x="21" y="445"/>
                  </a:lnTo>
                  <a:lnTo>
                    <a:pt x="32" y="449"/>
                  </a:lnTo>
                  <a:lnTo>
                    <a:pt x="41" y="456"/>
                  </a:lnTo>
                  <a:lnTo>
                    <a:pt x="41" y="456"/>
                  </a:lnTo>
                  <a:lnTo>
                    <a:pt x="49" y="462"/>
                  </a:lnTo>
                  <a:lnTo>
                    <a:pt x="56" y="466"/>
                  </a:lnTo>
                  <a:lnTo>
                    <a:pt x="62" y="464"/>
                  </a:lnTo>
                  <a:lnTo>
                    <a:pt x="68" y="464"/>
                  </a:lnTo>
                  <a:lnTo>
                    <a:pt x="73" y="462"/>
                  </a:lnTo>
                  <a:lnTo>
                    <a:pt x="77" y="464"/>
                  </a:lnTo>
                  <a:lnTo>
                    <a:pt x="81" y="469"/>
                  </a:lnTo>
                  <a:lnTo>
                    <a:pt x="86" y="479"/>
                  </a:lnTo>
                  <a:lnTo>
                    <a:pt x="86" y="479"/>
                  </a:lnTo>
                  <a:lnTo>
                    <a:pt x="92" y="497"/>
                  </a:lnTo>
                  <a:lnTo>
                    <a:pt x="98" y="509"/>
                  </a:lnTo>
                  <a:lnTo>
                    <a:pt x="101" y="514"/>
                  </a:lnTo>
                  <a:lnTo>
                    <a:pt x="105" y="516"/>
                  </a:lnTo>
                  <a:lnTo>
                    <a:pt x="107" y="518"/>
                  </a:lnTo>
                  <a:lnTo>
                    <a:pt x="109" y="520"/>
                  </a:lnTo>
                  <a:lnTo>
                    <a:pt x="112" y="526"/>
                  </a:lnTo>
                  <a:lnTo>
                    <a:pt x="114" y="535"/>
                  </a:lnTo>
                  <a:lnTo>
                    <a:pt x="114" y="535"/>
                  </a:lnTo>
                  <a:lnTo>
                    <a:pt x="135" y="522"/>
                  </a:lnTo>
                  <a:lnTo>
                    <a:pt x="159" y="505"/>
                  </a:lnTo>
                  <a:lnTo>
                    <a:pt x="159" y="505"/>
                  </a:lnTo>
                  <a:lnTo>
                    <a:pt x="165" y="499"/>
                  </a:lnTo>
                  <a:lnTo>
                    <a:pt x="172" y="494"/>
                  </a:lnTo>
                  <a:lnTo>
                    <a:pt x="185" y="475"/>
                  </a:lnTo>
                  <a:lnTo>
                    <a:pt x="212" y="430"/>
                  </a:lnTo>
                  <a:lnTo>
                    <a:pt x="226" y="410"/>
                  </a:lnTo>
                  <a:lnTo>
                    <a:pt x="234" y="400"/>
                  </a:lnTo>
                  <a:lnTo>
                    <a:pt x="241" y="393"/>
                  </a:lnTo>
                  <a:lnTo>
                    <a:pt x="249" y="387"/>
                  </a:lnTo>
                  <a:lnTo>
                    <a:pt x="258" y="383"/>
                  </a:lnTo>
                  <a:lnTo>
                    <a:pt x="266" y="382"/>
                  </a:lnTo>
                  <a:lnTo>
                    <a:pt x="275" y="382"/>
                  </a:lnTo>
                  <a:lnTo>
                    <a:pt x="275" y="382"/>
                  </a:lnTo>
                  <a:lnTo>
                    <a:pt x="286" y="385"/>
                  </a:lnTo>
                  <a:lnTo>
                    <a:pt x="296" y="383"/>
                  </a:lnTo>
                  <a:lnTo>
                    <a:pt x="301" y="380"/>
                  </a:lnTo>
                  <a:lnTo>
                    <a:pt x="305" y="374"/>
                  </a:lnTo>
                  <a:lnTo>
                    <a:pt x="309" y="369"/>
                  </a:lnTo>
                  <a:lnTo>
                    <a:pt x="311" y="367"/>
                  </a:lnTo>
                  <a:lnTo>
                    <a:pt x="316" y="365"/>
                  </a:lnTo>
                  <a:lnTo>
                    <a:pt x="322" y="369"/>
                  </a:lnTo>
                  <a:lnTo>
                    <a:pt x="322" y="369"/>
                  </a:lnTo>
                  <a:lnTo>
                    <a:pt x="326" y="372"/>
                  </a:lnTo>
                  <a:lnTo>
                    <a:pt x="327" y="374"/>
                  </a:lnTo>
                  <a:lnTo>
                    <a:pt x="329" y="382"/>
                  </a:lnTo>
                  <a:lnTo>
                    <a:pt x="333" y="391"/>
                  </a:lnTo>
                  <a:lnTo>
                    <a:pt x="339" y="398"/>
                  </a:lnTo>
                  <a:lnTo>
                    <a:pt x="348" y="406"/>
                  </a:lnTo>
                  <a:lnTo>
                    <a:pt x="348" y="406"/>
                  </a:lnTo>
                  <a:lnTo>
                    <a:pt x="355" y="417"/>
                  </a:lnTo>
                  <a:lnTo>
                    <a:pt x="361" y="426"/>
                  </a:lnTo>
                  <a:lnTo>
                    <a:pt x="363" y="438"/>
                  </a:lnTo>
                  <a:lnTo>
                    <a:pt x="361" y="447"/>
                  </a:lnTo>
                  <a:lnTo>
                    <a:pt x="357" y="458"/>
                  </a:lnTo>
                  <a:lnTo>
                    <a:pt x="354" y="469"/>
                  </a:lnTo>
                  <a:lnTo>
                    <a:pt x="340" y="490"/>
                  </a:lnTo>
                  <a:lnTo>
                    <a:pt x="340" y="490"/>
                  </a:lnTo>
                  <a:lnTo>
                    <a:pt x="335" y="499"/>
                  </a:lnTo>
                  <a:lnTo>
                    <a:pt x="327" y="509"/>
                  </a:lnTo>
                  <a:lnTo>
                    <a:pt x="309" y="526"/>
                  </a:lnTo>
                  <a:lnTo>
                    <a:pt x="301" y="535"/>
                  </a:lnTo>
                  <a:lnTo>
                    <a:pt x="296" y="542"/>
                  </a:lnTo>
                  <a:lnTo>
                    <a:pt x="296" y="550"/>
                  </a:lnTo>
                  <a:lnTo>
                    <a:pt x="297" y="554"/>
                  </a:lnTo>
                  <a:lnTo>
                    <a:pt x="299" y="557"/>
                  </a:lnTo>
                  <a:lnTo>
                    <a:pt x="299" y="557"/>
                  </a:lnTo>
                  <a:lnTo>
                    <a:pt x="299" y="559"/>
                  </a:lnTo>
                  <a:lnTo>
                    <a:pt x="299" y="561"/>
                  </a:lnTo>
                  <a:lnTo>
                    <a:pt x="296" y="567"/>
                  </a:lnTo>
                  <a:lnTo>
                    <a:pt x="281" y="578"/>
                  </a:lnTo>
                  <a:lnTo>
                    <a:pt x="275" y="585"/>
                  </a:lnTo>
                  <a:lnTo>
                    <a:pt x="273" y="589"/>
                  </a:lnTo>
                  <a:lnTo>
                    <a:pt x="273" y="591"/>
                  </a:lnTo>
                  <a:lnTo>
                    <a:pt x="273" y="595"/>
                  </a:lnTo>
                  <a:lnTo>
                    <a:pt x="277" y="598"/>
                  </a:lnTo>
                  <a:lnTo>
                    <a:pt x="281" y="600"/>
                  </a:lnTo>
                  <a:lnTo>
                    <a:pt x="288" y="604"/>
                  </a:lnTo>
                  <a:lnTo>
                    <a:pt x="288" y="604"/>
                  </a:lnTo>
                  <a:lnTo>
                    <a:pt x="294" y="604"/>
                  </a:lnTo>
                  <a:lnTo>
                    <a:pt x="301" y="604"/>
                  </a:lnTo>
                  <a:lnTo>
                    <a:pt x="314" y="604"/>
                  </a:lnTo>
                  <a:lnTo>
                    <a:pt x="320" y="604"/>
                  </a:lnTo>
                  <a:lnTo>
                    <a:pt x="324" y="606"/>
                  </a:lnTo>
                  <a:lnTo>
                    <a:pt x="322" y="610"/>
                  </a:lnTo>
                  <a:lnTo>
                    <a:pt x="318" y="615"/>
                  </a:lnTo>
                  <a:lnTo>
                    <a:pt x="318" y="615"/>
                  </a:lnTo>
                  <a:lnTo>
                    <a:pt x="318" y="619"/>
                  </a:lnTo>
                  <a:lnTo>
                    <a:pt x="318" y="625"/>
                  </a:lnTo>
                  <a:lnTo>
                    <a:pt x="322" y="632"/>
                  </a:lnTo>
                  <a:lnTo>
                    <a:pt x="327" y="638"/>
                  </a:lnTo>
                  <a:lnTo>
                    <a:pt x="333" y="643"/>
                  </a:lnTo>
                  <a:lnTo>
                    <a:pt x="340" y="647"/>
                  </a:lnTo>
                  <a:lnTo>
                    <a:pt x="346" y="647"/>
                  </a:lnTo>
                  <a:lnTo>
                    <a:pt x="350" y="645"/>
                  </a:lnTo>
                  <a:lnTo>
                    <a:pt x="354" y="641"/>
                  </a:lnTo>
                  <a:lnTo>
                    <a:pt x="383" y="606"/>
                  </a:lnTo>
                  <a:lnTo>
                    <a:pt x="383" y="606"/>
                  </a:lnTo>
                  <a:lnTo>
                    <a:pt x="400" y="587"/>
                  </a:lnTo>
                  <a:lnTo>
                    <a:pt x="423" y="567"/>
                  </a:lnTo>
                  <a:lnTo>
                    <a:pt x="449" y="548"/>
                  </a:lnTo>
                  <a:lnTo>
                    <a:pt x="460" y="542"/>
                  </a:lnTo>
                  <a:lnTo>
                    <a:pt x="471" y="539"/>
                  </a:lnTo>
                  <a:lnTo>
                    <a:pt x="471" y="539"/>
                  </a:lnTo>
                  <a:lnTo>
                    <a:pt x="477" y="535"/>
                  </a:lnTo>
                  <a:lnTo>
                    <a:pt x="481" y="533"/>
                  </a:lnTo>
                  <a:lnTo>
                    <a:pt x="486" y="527"/>
                  </a:lnTo>
                  <a:lnTo>
                    <a:pt x="494" y="522"/>
                  </a:lnTo>
                  <a:lnTo>
                    <a:pt x="497" y="520"/>
                  </a:lnTo>
                  <a:lnTo>
                    <a:pt x="503" y="518"/>
                  </a:lnTo>
                  <a:lnTo>
                    <a:pt x="503" y="518"/>
                  </a:lnTo>
                  <a:lnTo>
                    <a:pt x="518" y="516"/>
                  </a:lnTo>
                  <a:lnTo>
                    <a:pt x="531" y="511"/>
                  </a:lnTo>
                  <a:lnTo>
                    <a:pt x="546" y="507"/>
                  </a:lnTo>
                  <a:lnTo>
                    <a:pt x="561" y="503"/>
                  </a:lnTo>
                  <a:lnTo>
                    <a:pt x="561" y="503"/>
                  </a:lnTo>
                  <a:lnTo>
                    <a:pt x="572" y="501"/>
                  </a:lnTo>
                  <a:lnTo>
                    <a:pt x="582" y="497"/>
                  </a:lnTo>
                  <a:lnTo>
                    <a:pt x="585" y="492"/>
                  </a:lnTo>
                  <a:lnTo>
                    <a:pt x="589" y="486"/>
                  </a:lnTo>
                  <a:lnTo>
                    <a:pt x="597" y="469"/>
                  </a:lnTo>
                  <a:lnTo>
                    <a:pt x="604" y="460"/>
                  </a:lnTo>
                  <a:lnTo>
                    <a:pt x="613" y="447"/>
                  </a:lnTo>
                  <a:lnTo>
                    <a:pt x="613" y="447"/>
                  </a:lnTo>
                  <a:lnTo>
                    <a:pt x="625" y="432"/>
                  </a:lnTo>
                  <a:lnTo>
                    <a:pt x="632" y="421"/>
                  </a:lnTo>
                  <a:lnTo>
                    <a:pt x="641" y="412"/>
                  </a:lnTo>
                  <a:lnTo>
                    <a:pt x="658" y="398"/>
                  </a:lnTo>
                  <a:lnTo>
                    <a:pt x="658" y="398"/>
                  </a:lnTo>
                  <a:lnTo>
                    <a:pt x="666" y="393"/>
                  </a:lnTo>
                  <a:lnTo>
                    <a:pt x="669" y="387"/>
                  </a:lnTo>
                  <a:lnTo>
                    <a:pt x="675" y="382"/>
                  </a:lnTo>
                  <a:lnTo>
                    <a:pt x="692" y="369"/>
                  </a:lnTo>
                  <a:lnTo>
                    <a:pt x="692" y="369"/>
                  </a:lnTo>
                  <a:lnTo>
                    <a:pt x="701" y="361"/>
                  </a:lnTo>
                  <a:lnTo>
                    <a:pt x="711" y="352"/>
                  </a:lnTo>
                  <a:lnTo>
                    <a:pt x="718" y="342"/>
                  </a:lnTo>
                  <a:lnTo>
                    <a:pt x="727" y="333"/>
                  </a:lnTo>
                  <a:lnTo>
                    <a:pt x="727" y="333"/>
                  </a:lnTo>
                  <a:lnTo>
                    <a:pt x="716" y="322"/>
                  </a:lnTo>
                  <a:lnTo>
                    <a:pt x="714" y="318"/>
                  </a:lnTo>
                  <a:lnTo>
                    <a:pt x="714" y="316"/>
                  </a:lnTo>
                  <a:lnTo>
                    <a:pt x="716" y="311"/>
                  </a:lnTo>
                  <a:lnTo>
                    <a:pt x="722" y="307"/>
                  </a:lnTo>
                  <a:lnTo>
                    <a:pt x="725" y="303"/>
                  </a:lnTo>
                  <a:lnTo>
                    <a:pt x="725" y="299"/>
                  </a:lnTo>
                  <a:lnTo>
                    <a:pt x="725" y="296"/>
                  </a:lnTo>
                  <a:lnTo>
                    <a:pt x="718" y="284"/>
                  </a:lnTo>
                  <a:lnTo>
                    <a:pt x="703" y="270"/>
                  </a:lnTo>
                  <a:lnTo>
                    <a:pt x="703" y="270"/>
                  </a:lnTo>
                  <a:lnTo>
                    <a:pt x="696" y="258"/>
                  </a:lnTo>
                  <a:lnTo>
                    <a:pt x="690" y="247"/>
                  </a:lnTo>
                  <a:lnTo>
                    <a:pt x="682" y="236"/>
                  </a:lnTo>
                  <a:lnTo>
                    <a:pt x="675" y="228"/>
                  </a:lnTo>
                  <a:lnTo>
                    <a:pt x="666" y="223"/>
                  </a:lnTo>
                  <a:lnTo>
                    <a:pt x="666" y="223"/>
                  </a:lnTo>
                  <a:lnTo>
                    <a:pt x="664" y="219"/>
                  </a:lnTo>
                  <a:lnTo>
                    <a:pt x="662" y="215"/>
                  </a:lnTo>
                  <a:lnTo>
                    <a:pt x="658" y="206"/>
                  </a:lnTo>
                  <a:lnTo>
                    <a:pt x="660" y="197"/>
                  </a:lnTo>
                  <a:lnTo>
                    <a:pt x="662" y="185"/>
                  </a:lnTo>
                  <a:lnTo>
                    <a:pt x="668" y="167"/>
                  </a:lnTo>
                  <a:lnTo>
                    <a:pt x="671" y="159"/>
                  </a:lnTo>
                  <a:lnTo>
                    <a:pt x="671" y="159"/>
                  </a:lnTo>
                  <a:lnTo>
                    <a:pt x="677" y="154"/>
                  </a:lnTo>
                  <a:lnTo>
                    <a:pt x="671" y="157"/>
                  </a:lnTo>
                  <a:lnTo>
                    <a:pt x="666" y="157"/>
                  </a:lnTo>
                  <a:lnTo>
                    <a:pt x="660" y="157"/>
                  </a:lnTo>
                  <a:lnTo>
                    <a:pt x="653" y="154"/>
                  </a:lnTo>
                  <a:lnTo>
                    <a:pt x="647" y="144"/>
                  </a:lnTo>
                  <a:lnTo>
                    <a:pt x="647" y="144"/>
                  </a:lnTo>
                  <a:close/>
                  <a:moveTo>
                    <a:pt x="284" y="658"/>
                  </a:moveTo>
                  <a:lnTo>
                    <a:pt x="284" y="658"/>
                  </a:lnTo>
                  <a:lnTo>
                    <a:pt x="273" y="669"/>
                  </a:lnTo>
                  <a:lnTo>
                    <a:pt x="269" y="671"/>
                  </a:lnTo>
                  <a:lnTo>
                    <a:pt x="271" y="675"/>
                  </a:lnTo>
                  <a:lnTo>
                    <a:pt x="271" y="681"/>
                  </a:lnTo>
                  <a:lnTo>
                    <a:pt x="271" y="690"/>
                  </a:lnTo>
                  <a:lnTo>
                    <a:pt x="271" y="690"/>
                  </a:lnTo>
                  <a:lnTo>
                    <a:pt x="271" y="694"/>
                  </a:lnTo>
                  <a:lnTo>
                    <a:pt x="273" y="696"/>
                  </a:lnTo>
                  <a:lnTo>
                    <a:pt x="275" y="696"/>
                  </a:lnTo>
                  <a:lnTo>
                    <a:pt x="279" y="694"/>
                  </a:lnTo>
                  <a:lnTo>
                    <a:pt x="286" y="688"/>
                  </a:lnTo>
                  <a:lnTo>
                    <a:pt x="296" y="684"/>
                  </a:lnTo>
                  <a:lnTo>
                    <a:pt x="296" y="684"/>
                  </a:lnTo>
                  <a:lnTo>
                    <a:pt x="305" y="681"/>
                  </a:lnTo>
                  <a:lnTo>
                    <a:pt x="316" y="673"/>
                  </a:lnTo>
                  <a:lnTo>
                    <a:pt x="331" y="666"/>
                  </a:lnTo>
                  <a:lnTo>
                    <a:pt x="331" y="666"/>
                  </a:lnTo>
                  <a:lnTo>
                    <a:pt x="329" y="660"/>
                  </a:lnTo>
                  <a:lnTo>
                    <a:pt x="327" y="656"/>
                  </a:lnTo>
                  <a:lnTo>
                    <a:pt x="322" y="649"/>
                  </a:lnTo>
                  <a:lnTo>
                    <a:pt x="322" y="649"/>
                  </a:lnTo>
                  <a:lnTo>
                    <a:pt x="305" y="651"/>
                  </a:lnTo>
                  <a:lnTo>
                    <a:pt x="294" y="654"/>
                  </a:lnTo>
                  <a:lnTo>
                    <a:pt x="284" y="658"/>
                  </a:lnTo>
                  <a:lnTo>
                    <a:pt x="284" y="658"/>
                  </a:lnTo>
                  <a:close/>
                  <a:moveTo>
                    <a:pt x="447" y="625"/>
                  </a:moveTo>
                  <a:lnTo>
                    <a:pt x="447" y="625"/>
                  </a:lnTo>
                  <a:lnTo>
                    <a:pt x="443" y="625"/>
                  </a:lnTo>
                  <a:lnTo>
                    <a:pt x="441" y="626"/>
                  </a:lnTo>
                  <a:lnTo>
                    <a:pt x="440" y="632"/>
                  </a:lnTo>
                  <a:lnTo>
                    <a:pt x="441" y="636"/>
                  </a:lnTo>
                  <a:lnTo>
                    <a:pt x="447" y="639"/>
                  </a:lnTo>
                  <a:lnTo>
                    <a:pt x="447" y="639"/>
                  </a:lnTo>
                  <a:lnTo>
                    <a:pt x="453" y="634"/>
                  </a:lnTo>
                  <a:lnTo>
                    <a:pt x="460" y="628"/>
                  </a:lnTo>
                  <a:lnTo>
                    <a:pt x="464" y="626"/>
                  </a:lnTo>
                  <a:lnTo>
                    <a:pt x="462" y="625"/>
                  </a:lnTo>
                  <a:lnTo>
                    <a:pt x="458" y="625"/>
                  </a:lnTo>
                  <a:lnTo>
                    <a:pt x="451" y="625"/>
                  </a:lnTo>
                  <a:lnTo>
                    <a:pt x="451" y="625"/>
                  </a:lnTo>
                  <a:lnTo>
                    <a:pt x="447" y="625"/>
                  </a:lnTo>
                  <a:lnTo>
                    <a:pt x="447" y="625"/>
                  </a:lnTo>
                  <a:close/>
                  <a:moveTo>
                    <a:pt x="484" y="617"/>
                  </a:moveTo>
                  <a:lnTo>
                    <a:pt x="484" y="617"/>
                  </a:lnTo>
                  <a:lnTo>
                    <a:pt x="483" y="623"/>
                  </a:lnTo>
                  <a:lnTo>
                    <a:pt x="484" y="625"/>
                  </a:lnTo>
                  <a:lnTo>
                    <a:pt x="490" y="626"/>
                  </a:lnTo>
                  <a:lnTo>
                    <a:pt x="496" y="623"/>
                  </a:lnTo>
                  <a:lnTo>
                    <a:pt x="496" y="623"/>
                  </a:lnTo>
                  <a:lnTo>
                    <a:pt x="497" y="621"/>
                  </a:lnTo>
                  <a:lnTo>
                    <a:pt x="497" y="621"/>
                  </a:lnTo>
                  <a:lnTo>
                    <a:pt x="496" y="619"/>
                  </a:lnTo>
                  <a:lnTo>
                    <a:pt x="492" y="617"/>
                  </a:lnTo>
                  <a:lnTo>
                    <a:pt x="486" y="615"/>
                  </a:lnTo>
                  <a:lnTo>
                    <a:pt x="484" y="617"/>
                  </a:lnTo>
                  <a:lnTo>
                    <a:pt x="484" y="617"/>
                  </a:lnTo>
                  <a:close/>
                  <a:moveTo>
                    <a:pt x="402" y="610"/>
                  </a:moveTo>
                  <a:lnTo>
                    <a:pt x="402" y="610"/>
                  </a:lnTo>
                  <a:lnTo>
                    <a:pt x="397" y="615"/>
                  </a:lnTo>
                  <a:lnTo>
                    <a:pt x="395" y="621"/>
                  </a:lnTo>
                  <a:lnTo>
                    <a:pt x="395" y="623"/>
                  </a:lnTo>
                  <a:lnTo>
                    <a:pt x="397" y="626"/>
                  </a:lnTo>
                  <a:lnTo>
                    <a:pt x="400" y="626"/>
                  </a:lnTo>
                  <a:lnTo>
                    <a:pt x="404" y="625"/>
                  </a:lnTo>
                  <a:lnTo>
                    <a:pt x="406" y="619"/>
                  </a:lnTo>
                  <a:lnTo>
                    <a:pt x="408" y="613"/>
                  </a:lnTo>
                  <a:lnTo>
                    <a:pt x="408" y="613"/>
                  </a:lnTo>
                  <a:lnTo>
                    <a:pt x="408" y="611"/>
                  </a:lnTo>
                  <a:lnTo>
                    <a:pt x="406" y="610"/>
                  </a:lnTo>
                  <a:lnTo>
                    <a:pt x="402" y="610"/>
                  </a:lnTo>
                  <a:lnTo>
                    <a:pt x="402" y="610"/>
                  </a:lnTo>
                  <a:close/>
                  <a:moveTo>
                    <a:pt x="423" y="602"/>
                  </a:moveTo>
                  <a:lnTo>
                    <a:pt x="423" y="602"/>
                  </a:lnTo>
                  <a:lnTo>
                    <a:pt x="428" y="608"/>
                  </a:lnTo>
                  <a:lnTo>
                    <a:pt x="434" y="610"/>
                  </a:lnTo>
                  <a:lnTo>
                    <a:pt x="440" y="610"/>
                  </a:lnTo>
                  <a:lnTo>
                    <a:pt x="445" y="610"/>
                  </a:lnTo>
                  <a:lnTo>
                    <a:pt x="449" y="606"/>
                  </a:lnTo>
                  <a:lnTo>
                    <a:pt x="451" y="604"/>
                  </a:lnTo>
                  <a:lnTo>
                    <a:pt x="451" y="602"/>
                  </a:lnTo>
                  <a:lnTo>
                    <a:pt x="449" y="602"/>
                  </a:lnTo>
                  <a:lnTo>
                    <a:pt x="449" y="602"/>
                  </a:lnTo>
                  <a:lnTo>
                    <a:pt x="432" y="598"/>
                  </a:lnTo>
                  <a:lnTo>
                    <a:pt x="425" y="597"/>
                  </a:lnTo>
                  <a:lnTo>
                    <a:pt x="419" y="593"/>
                  </a:lnTo>
                  <a:lnTo>
                    <a:pt x="413" y="595"/>
                  </a:lnTo>
                  <a:lnTo>
                    <a:pt x="413" y="595"/>
                  </a:lnTo>
                  <a:lnTo>
                    <a:pt x="413" y="595"/>
                  </a:lnTo>
                  <a:lnTo>
                    <a:pt x="413" y="597"/>
                  </a:lnTo>
                  <a:lnTo>
                    <a:pt x="417" y="598"/>
                  </a:lnTo>
                  <a:lnTo>
                    <a:pt x="423" y="602"/>
                  </a:lnTo>
                  <a:lnTo>
                    <a:pt x="423" y="602"/>
                  </a:lnTo>
                  <a:close/>
                  <a:moveTo>
                    <a:pt x="462" y="595"/>
                  </a:moveTo>
                  <a:lnTo>
                    <a:pt x="462" y="595"/>
                  </a:lnTo>
                  <a:lnTo>
                    <a:pt x="460" y="597"/>
                  </a:lnTo>
                  <a:lnTo>
                    <a:pt x="462" y="598"/>
                  </a:lnTo>
                  <a:lnTo>
                    <a:pt x="464" y="600"/>
                  </a:lnTo>
                  <a:lnTo>
                    <a:pt x="469" y="600"/>
                  </a:lnTo>
                  <a:lnTo>
                    <a:pt x="473" y="600"/>
                  </a:lnTo>
                  <a:lnTo>
                    <a:pt x="475" y="598"/>
                  </a:lnTo>
                  <a:lnTo>
                    <a:pt x="477" y="595"/>
                  </a:lnTo>
                  <a:lnTo>
                    <a:pt x="473" y="589"/>
                  </a:lnTo>
                  <a:lnTo>
                    <a:pt x="473" y="589"/>
                  </a:lnTo>
                  <a:lnTo>
                    <a:pt x="471" y="587"/>
                  </a:lnTo>
                  <a:lnTo>
                    <a:pt x="469" y="587"/>
                  </a:lnTo>
                  <a:lnTo>
                    <a:pt x="469" y="587"/>
                  </a:lnTo>
                  <a:lnTo>
                    <a:pt x="468" y="589"/>
                  </a:lnTo>
                  <a:lnTo>
                    <a:pt x="469" y="587"/>
                  </a:lnTo>
                  <a:lnTo>
                    <a:pt x="469" y="589"/>
                  </a:lnTo>
                  <a:lnTo>
                    <a:pt x="462" y="595"/>
                  </a:lnTo>
                  <a:lnTo>
                    <a:pt x="462" y="595"/>
                  </a:lnTo>
                  <a:close/>
                  <a:moveTo>
                    <a:pt x="471" y="565"/>
                  </a:moveTo>
                  <a:lnTo>
                    <a:pt x="471" y="565"/>
                  </a:lnTo>
                  <a:lnTo>
                    <a:pt x="469" y="568"/>
                  </a:lnTo>
                  <a:lnTo>
                    <a:pt x="469" y="574"/>
                  </a:lnTo>
                  <a:lnTo>
                    <a:pt x="471" y="578"/>
                  </a:lnTo>
                  <a:lnTo>
                    <a:pt x="473" y="578"/>
                  </a:lnTo>
                  <a:lnTo>
                    <a:pt x="475" y="578"/>
                  </a:lnTo>
                  <a:lnTo>
                    <a:pt x="475" y="578"/>
                  </a:lnTo>
                  <a:lnTo>
                    <a:pt x="475" y="568"/>
                  </a:lnTo>
                  <a:lnTo>
                    <a:pt x="475" y="565"/>
                  </a:lnTo>
                  <a:lnTo>
                    <a:pt x="473" y="565"/>
                  </a:lnTo>
                  <a:lnTo>
                    <a:pt x="471" y="565"/>
                  </a:lnTo>
                  <a:lnTo>
                    <a:pt x="471" y="565"/>
                  </a:lnTo>
                  <a:close/>
                  <a:moveTo>
                    <a:pt x="468" y="557"/>
                  </a:moveTo>
                  <a:lnTo>
                    <a:pt x="468" y="557"/>
                  </a:lnTo>
                  <a:lnTo>
                    <a:pt x="460" y="555"/>
                  </a:lnTo>
                  <a:lnTo>
                    <a:pt x="456" y="555"/>
                  </a:lnTo>
                  <a:lnTo>
                    <a:pt x="454" y="557"/>
                  </a:lnTo>
                  <a:lnTo>
                    <a:pt x="454" y="561"/>
                  </a:lnTo>
                  <a:lnTo>
                    <a:pt x="456" y="563"/>
                  </a:lnTo>
                  <a:lnTo>
                    <a:pt x="458" y="565"/>
                  </a:lnTo>
                  <a:lnTo>
                    <a:pt x="462" y="565"/>
                  </a:lnTo>
                  <a:lnTo>
                    <a:pt x="468" y="563"/>
                  </a:lnTo>
                  <a:lnTo>
                    <a:pt x="468" y="563"/>
                  </a:lnTo>
                  <a:lnTo>
                    <a:pt x="468" y="559"/>
                  </a:lnTo>
                  <a:lnTo>
                    <a:pt x="468" y="557"/>
                  </a:lnTo>
                  <a:lnTo>
                    <a:pt x="468" y="557"/>
                  </a:lnTo>
                  <a:close/>
                  <a:moveTo>
                    <a:pt x="223" y="462"/>
                  </a:moveTo>
                  <a:lnTo>
                    <a:pt x="223" y="462"/>
                  </a:lnTo>
                  <a:lnTo>
                    <a:pt x="225" y="460"/>
                  </a:lnTo>
                  <a:lnTo>
                    <a:pt x="228" y="456"/>
                  </a:lnTo>
                  <a:lnTo>
                    <a:pt x="228" y="455"/>
                  </a:lnTo>
                  <a:lnTo>
                    <a:pt x="228" y="455"/>
                  </a:lnTo>
                  <a:lnTo>
                    <a:pt x="223" y="453"/>
                  </a:lnTo>
                  <a:lnTo>
                    <a:pt x="215" y="453"/>
                  </a:lnTo>
                  <a:lnTo>
                    <a:pt x="215" y="453"/>
                  </a:lnTo>
                  <a:lnTo>
                    <a:pt x="213" y="453"/>
                  </a:lnTo>
                  <a:lnTo>
                    <a:pt x="213" y="453"/>
                  </a:lnTo>
                  <a:lnTo>
                    <a:pt x="213" y="462"/>
                  </a:lnTo>
                  <a:lnTo>
                    <a:pt x="215" y="464"/>
                  </a:lnTo>
                  <a:lnTo>
                    <a:pt x="215" y="464"/>
                  </a:lnTo>
                  <a:lnTo>
                    <a:pt x="219" y="464"/>
                  </a:lnTo>
                  <a:lnTo>
                    <a:pt x="223" y="462"/>
                  </a:lnTo>
                  <a:lnTo>
                    <a:pt x="223" y="46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10">
              <a:extLst>
                <a:ext uri="{FF2B5EF4-FFF2-40B4-BE49-F238E27FC236}">
                  <a16:creationId xmlns:a16="http://schemas.microsoft.com/office/drawing/2014/main" id="{4F9B241B-A3D5-4A68-8762-37800AA333C7}"/>
                </a:ext>
              </a:extLst>
            </p:cNvPr>
            <p:cNvSpPr>
              <a:spLocks noEditPoints="1"/>
            </p:cNvSpPr>
            <p:nvPr/>
          </p:nvSpPr>
          <p:spPr bwMode="auto">
            <a:xfrm>
              <a:off x="5638380" y="3129517"/>
              <a:ext cx="617665" cy="864731"/>
            </a:xfrm>
            <a:custGeom>
              <a:avLst/>
              <a:gdLst/>
              <a:ahLst/>
              <a:cxnLst>
                <a:cxn ang="0">
                  <a:pos x="566" y="243"/>
                </a:cxn>
                <a:cxn ang="0">
                  <a:pos x="583" y="170"/>
                </a:cxn>
                <a:cxn ang="0">
                  <a:pos x="503" y="178"/>
                </a:cxn>
                <a:cxn ang="0">
                  <a:pos x="493" y="107"/>
                </a:cxn>
                <a:cxn ang="0">
                  <a:pos x="449" y="23"/>
                </a:cxn>
                <a:cxn ang="0">
                  <a:pos x="383" y="19"/>
                </a:cxn>
                <a:cxn ang="0">
                  <a:pos x="342" y="60"/>
                </a:cxn>
                <a:cxn ang="0">
                  <a:pos x="314" y="103"/>
                </a:cxn>
                <a:cxn ang="0">
                  <a:pos x="258" y="122"/>
                </a:cxn>
                <a:cxn ang="0">
                  <a:pos x="191" y="137"/>
                </a:cxn>
                <a:cxn ang="0">
                  <a:pos x="123" y="146"/>
                </a:cxn>
                <a:cxn ang="0">
                  <a:pos x="73" y="122"/>
                </a:cxn>
                <a:cxn ang="0">
                  <a:pos x="26" y="206"/>
                </a:cxn>
                <a:cxn ang="0">
                  <a:pos x="39" y="268"/>
                </a:cxn>
                <a:cxn ang="0">
                  <a:pos x="77" y="342"/>
                </a:cxn>
                <a:cxn ang="0">
                  <a:pos x="37" y="380"/>
                </a:cxn>
                <a:cxn ang="0">
                  <a:pos x="86" y="424"/>
                </a:cxn>
                <a:cxn ang="0">
                  <a:pos x="105" y="462"/>
                </a:cxn>
                <a:cxn ang="0">
                  <a:pos x="49" y="529"/>
                </a:cxn>
                <a:cxn ang="0">
                  <a:pos x="28" y="565"/>
                </a:cxn>
                <a:cxn ang="0">
                  <a:pos x="0" y="623"/>
                </a:cxn>
                <a:cxn ang="0">
                  <a:pos x="51" y="695"/>
                </a:cxn>
                <a:cxn ang="0">
                  <a:pos x="24" y="850"/>
                </a:cxn>
                <a:cxn ang="0">
                  <a:pos x="36" y="920"/>
                </a:cxn>
                <a:cxn ang="0">
                  <a:pos x="189" y="938"/>
                </a:cxn>
                <a:cxn ang="0">
                  <a:pos x="224" y="946"/>
                </a:cxn>
                <a:cxn ang="0">
                  <a:pos x="215" y="890"/>
                </a:cxn>
                <a:cxn ang="0">
                  <a:pos x="254" y="839"/>
                </a:cxn>
                <a:cxn ang="0">
                  <a:pos x="305" y="761"/>
                </a:cxn>
                <a:cxn ang="0">
                  <a:pos x="331" y="735"/>
                </a:cxn>
                <a:cxn ang="0">
                  <a:pos x="385" y="692"/>
                </a:cxn>
                <a:cxn ang="0">
                  <a:pos x="452" y="658"/>
                </a:cxn>
                <a:cxn ang="0">
                  <a:pos x="479" y="636"/>
                </a:cxn>
                <a:cxn ang="0">
                  <a:pos x="454" y="581"/>
                </a:cxn>
                <a:cxn ang="0">
                  <a:pos x="351" y="546"/>
                </a:cxn>
                <a:cxn ang="0">
                  <a:pos x="372" y="501"/>
                </a:cxn>
                <a:cxn ang="0">
                  <a:pos x="323" y="443"/>
                </a:cxn>
                <a:cxn ang="0">
                  <a:pos x="273" y="449"/>
                </a:cxn>
                <a:cxn ang="0">
                  <a:pos x="221" y="449"/>
                </a:cxn>
                <a:cxn ang="0">
                  <a:pos x="198" y="389"/>
                </a:cxn>
                <a:cxn ang="0">
                  <a:pos x="245" y="346"/>
                </a:cxn>
                <a:cxn ang="0">
                  <a:pos x="236" y="301"/>
                </a:cxn>
                <a:cxn ang="0">
                  <a:pos x="307" y="245"/>
                </a:cxn>
                <a:cxn ang="0">
                  <a:pos x="359" y="275"/>
                </a:cxn>
                <a:cxn ang="0">
                  <a:pos x="406" y="290"/>
                </a:cxn>
                <a:cxn ang="0">
                  <a:pos x="421" y="344"/>
                </a:cxn>
                <a:cxn ang="0">
                  <a:pos x="436" y="378"/>
                </a:cxn>
                <a:cxn ang="0">
                  <a:pos x="464" y="434"/>
                </a:cxn>
                <a:cxn ang="0">
                  <a:pos x="480" y="466"/>
                </a:cxn>
                <a:cxn ang="0">
                  <a:pos x="523" y="497"/>
                </a:cxn>
                <a:cxn ang="0">
                  <a:pos x="581" y="481"/>
                </a:cxn>
                <a:cxn ang="0">
                  <a:pos x="635" y="400"/>
                </a:cxn>
                <a:cxn ang="0">
                  <a:pos x="667" y="327"/>
                </a:cxn>
                <a:cxn ang="0">
                  <a:pos x="628" y="277"/>
                </a:cxn>
                <a:cxn ang="0">
                  <a:pos x="391" y="395"/>
                </a:cxn>
                <a:cxn ang="0">
                  <a:pos x="348" y="381"/>
                </a:cxn>
                <a:cxn ang="0">
                  <a:pos x="366" y="415"/>
                </a:cxn>
                <a:cxn ang="0">
                  <a:pos x="389" y="432"/>
                </a:cxn>
              </a:cxnLst>
              <a:rect l="0" t="0" r="r" b="b"/>
              <a:pathLst>
                <a:path w="680" h="951">
                  <a:moveTo>
                    <a:pt x="607" y="269"/>
                  </a:moveTo>
                  <a:lnTo>
                    <a:pt x="607" y="269"/>
                  </a:lnTo>
                  <a:lnTo>
                    <a:pt x="598" y="262"/>
                  </a:lnTo>
                  <a:lnTo>
                    <a:pt x="587" y="258"/>
                  </a:lnTo>
                  <a:lnTo>
                    <a:pt x="578" y="254"/>
                  </a:lnTo>
                  <a:lnTo>
                    <a:pt x="572" y="251"/>
                  </a:lnTo>
                  <a:lnTo>
                    <a:pt x="568" y="249"/>
                  </a:lnTo>
                  <a:lnTo>
                    <a:pt x="568" y="247"/>
                  </a:lnTo>
                  <a:lnTo>
                    <a:pt x="566" y="243"/>
                  </a:lnTo>
                  <a:lnTo>
                    <a:pt x="568" y="238"/>
                  </a:lnTo>
                  <a:lnTo>
                    <a:pt x="574" y="223"/>
                  </a:lnTo>
                  <a:lnTo>
                    <a:pt x="587" y="200"/>
                  </a:lnTo>
                  <a:lnTo>
                    <a:pt x="587" y="200"/>
                  </a:lnTo>
                  <a:lnTo>
                    <a:pt x="596" y="185"/>
                  </a:lnTo>
                  <a:lnTo>
                    <a:pt x="598" y="178"/>
                  </a:lnTo>
                  <a:lnTo>
                    <a:pt x="598" y="170"/>
                  </a:lnTo>
                  <a:lnTo>
                    <a:pt x="591" y="170"/>
                  </a:lnTo>
                  <a:lnTo>
                    <a:pt x="583" y="170"/>
                  </a:lnTo>
                  <a:lnTo>
                    <a:pt x="570" y="172"/>
                  </a:lnTo>
                  <a:lnTo>
                    <a:pt x="557" y="172"/>
                  </a:lnTo>
                  <a:lnTo>
                    <a:pt x="551" y="167"/>
                  </a:lnTo>
                  <a:lnTo>
                    <a:pt x="546" y="170"/>
                  </a:lnTo>
                  <a:lnTo>
                    <a:pt x="538" y="170"/>
                  </a:lnTo>
                  <a:lnTo>
                    <a:pt x="531" y="170"/>
                  </a:lnTo>
                  <a:lnTo>
                    <a:pt x="518" y="172"/>
                  </a:lnTo>
                  <a:lnTo>
                    <a:pt x="512" y="178"/>
                  </a:lnTo>
                  <a:lnTo>
                    <a:pt x="503" y="178"/>
                  </a:lnTo>
                  <a:lnTo>
                    <a:pt x="501" y="168"/>
                  </a:lnTo>
                  <a:lnTo>
                    <a:pt x="501" y="157"/>
                  </a:lnTo>
                  <a:lnTo>
                    <a:pt x="499" y="148"/>
                  </a:lnTo>
                  <a:lnTo>
                    <a:pt x="492" y="140"/>
                  </a:lnTo>
                  <a:lnTo>
                    <a:pt x="480" y="137"/>
                  </a:lnTo>
                  <a:lnTo>
                    <a:pt x="475" y="127"/>
                  </a:lnTo>
                  <a:lnTo>
                    <a:pt x="477" y="116"/>
                  </a:lnTo>
                  <a:lnTo>
                    <a:pt x="484" y="111"/>
                  </a:lnTo>
                  <a:lnTo>
                    <a:pt x="493" y="107"/>
                  </a:lnTo>
                  <a:lnTo>
                    <a:pt x="493" y="99"/>
                  </a:lnTo>
                  <a:lnTo>
                    <a:pt x="482" y="92"/>
                  </a:lnTo>
                  <a:lnTo>
                    <a:pt x="477" y="81"/>
                  </a:lnTo>
                  <a:lnTo>
                    <a:pt x="469" y="73"/>
                  </a:lnTo>
                  <a:lnTo>
                    <a:pt x="465" y="62"/>
                  </a:lnTo>
                  <a:lnTo>
                    <a:pt x="458" y="53"/>
                  </a:lnTo>
                  <a:lnTo>
                    <a:pt x="454" y="41"/>
                  </a:lnTo>
                  <a:lnTo>
                    <a:pt x="454" y="32"/>
                  </a:lnTo>
                  <a:lnTo>
                    <a:pt x="449" y="23"/>
                  </a:lnTo>
                  <a:lnTo>
                    <a:pt x="443" y="17"/>
                  </a:lnTo>
                  <a:lnTo>
                    <a:pt x="437" y="10"/>
                  </a:lnTo>
                  <a:lnTo>
                    <a:pt x="430" y="2"/>
                  </a:lnTo>
                  <a:lnTo>
                    <a:pt x="421" y="0"/>
                  </a:lnTo>
                  <a:lnTo>
                    <a:pt x="409" y="0"/>
                  </a:lnTo>
                  <a:lnTo>
                    <a:pt x="400" y="2"/>
                  </a:lnTo>
                  <a:lnTo>
                    <a:pt x="394" y="8"/>
                  </a:lnTo>
                  <a:lnTo>
                    <a:pt x="389" y="13"/>
                  </a:lnTo>
                  <a:lnTo>
                    <a:pt x="383" y="19"/>
                  </a:lnTo>
                  <a:lnTo>
                    <a:pt x="372" y="23"/>
                  </a:lnTo>
                  <a:lnTo>
                    <a:pt x="359" y="23"/>
                  </a:lnTo>
                  <a:lnTo>
                    <a:pt x="350" y="23"/>
                  </a:lnTo>
                  <a:lnTo>
                    <a:pt x="342" y="30"/>
                  </a:lnTo>
                  <a:lnTo>
                    <a:pt x="338" y="38"/>
                  </a:lnTo>
                  <a:lnTo>
                    <a:pt x="336" y="45"/>
                  </a:lnTo>
                  <a:lnTo>
                    <a:pt x="338" y="49"/>
                  </a:lnTo>
                  <a:lnTo>
                    <a:pt x="342" y="53"/>
                  </a:lnTo>
                  <a:lnTo>
                    <a:pt x="342" y="60"/>
                  </a:lnTo>
                  <a:lnTo>
                    <a:pt x="338" y="66"/>
                  </a:lnTo>
                  <a:lnTo>
                    <a:pt x="333" y="71"/>
                  </a:lnTo>
                  <a:lnTo>
                    <a:pt x="336" y="75"/>
                  </a:lnTo>
                  <a:lnTo>
                    <a:pt x="340" y="79"/>
                  </a:lnTo>
                  <a:lnTo>
                    <a:pt x="342" y="84"/>
                  </a:lnTo>
                  <a:lnTo>
                    <a:pt x="336" y="92"/>
                  </a:lnTo>
                  <a:lnTo>
                    <a:pt x="335" y="99"/>
                  </a:lnTo>
                  <a:lnTo>
                    <a:pt x="325" y="103"/>
                  </a:lnTo>
                  <a:lnTo>
                    <a:pt x="314" y="103"/>
                  </a:lnTo>
                  <a:lnTo>
                    <a:pt x="303" y="103"/>
                  </a:lnTo>
                  <a:lnTo>
                    <a:pt x="294" y="103"/>
                  </a:lnTo>
                  <a:lnTo>
                    <a:pt x="286" y="96"/>
                  </a:lnTo>
                  <a:lnTo>
                    <a:pt x="282" y="96"/>
                  </a:lnTo>
                  <a:lnTo>
                    <a:pt x="279" y="97"/>
                  </a:lnTo>
                  <a:lnTo>
                    <a:pt x="275" y="103"/>
                  </a:lnTo>
                  <a:lnTo>
                    <a:pt x="269" y="109"/>
                  </a:lnTo>
                  <a:lnTo>
                    <a:pt x="262" y="116"/>
                  </a:lnTo>
                  <a:lnTo>
                    <a:pt x="258" y="122"/>
                  </a:lnTo>
                  <a:lnTo>
                    <a:pt x="254" y="124"/>
                  </a:lnTo>
                  <a:lnTo>
                    <a:pt x="251" y="127"/>
                  </a:lnTo>
                  <a:lnTo>
                    <a:pt x="239" y="122"/>
                  </a:lnTo>
                  <a:lnTo>
                    <a:pt x="236" y="114"/>
                  </a:lnTo>
                  <a:lnTo>
                    <a:pt x="232" y="109"/>
                  </a:lnTo>
                  <a:lnTo>
                    <a:pt x="219" y="112"/>
                  </a:lnTo>
                  <a:lnTo>
                    <a:pt x="209" y="122"/>
                  </a:lnTo>
                  <a:lnTo>
                    <a:pt x="200" y="127"/>
                  </a:lnTo>
                  <a:lnTo>
                    <a:pt x="191" y="137"/>
                  </a:lnTo>
                  <a:lnTo>
                    <a:pt x="181" y="142"/>
                  </a:lnTo>
                  <a:lnTo>
                    <a:pt x="172" y="150"/>
                  </a:lnTo>
                  <a:lnTo>
                    <a:pt x="166" y="159"/>
                  </a:lnTo>
                  <a:lnTo>
                    <a:pt x="163" y="168"/>
                  </a:lnTo>
                  <a:lnTo>
                    <a:pt x="153" y="174"/>
                  </a:lnTo>
                  <a:lnTo>
                    <a:pt x="142" y="174"/>
                  </a:lnTo>
                  <a:lnTo>
                    <a:pt x="129" y="174"/>
                  </a:lnTo>
                  <a:lnTo>
                    <a:pt x="123" y="159"/>
                  </a:lnTo>
                  <a:lnTo>
                    <a:pt x="123" y="146"/>
                  </a:lnTo>
                  <a:lnTo>
                    <a:pt x="129" y="131"/>
                  </a:lnTo>
                  <a:lnTo>
                    <a:pt x="133" y="118"/>
                  </a:lnTo>
                  <a:lnTo>
                    <a:pt x="125" y="109"/>
                  </a:lnTo>
                  <a:lnTo>
                    <a:pt x="118" y="99"/>
                  </a:lnTo>
                  <a:lnTo>
                    <a:pt x="108" y="94"/>
                  </a:lnTo>
                  <a:lnTo>
                    <a:pt x="99" y="90"/>
                  </a:lnTo>
                  <a:lnTo>
                    <a:pt x="90" y="99"/>
                  </a:lnTo>
                  <a:lnTo>
                    <a:pt x="82" y="111"/>
                  </a:lnTo>
                  <a:lnTo>
                    <a:pt x="73" y="122"/>
                  </a:lnTo>
                  <a:lnTo>
                    <a:pt x="66" y="131"/>
                  </a:lnTo>
                  <a:lnTo>
                    <a:pt x="60" y="139"/>
                  </a:lnTo>
                  <a:lnTo>
                    <a:pt x="58" y="150"/>
                  </a:lnTo>
                  <a:lnTo>
                    <a:pt x="54" y="159"/>
                  </a:lnTo>
                  <a:lnTo>
                    <a:pt x="51" y="170"/>
                  </a:lnTo>
                  <a:lnTo>
                    <a:pt x="45" y="180"/>
                  </a:lnTo>
                  <a:lnTo>
                    <a:pt x="32" y="180"/>
                  </a:lnTo>
                  <a:lnTo>
                    <a:pt x="28" y="191"/>
                  </a:lnTo>
                  <a:lnTo>
                    <a:pt x="26" y="206"/>
                  </a:lnTo>
                  <a:lnTo>
                    <a:pt x="23" y="213"/>
                  </a:lnTo>
                  <a:lnTo>
                    <a:pt x="26" y="221"/>
                  </a:lnTo>
                  <a:lnTo>
                    <a:pt x="30" y="230"/>
                  </a:lnTo>
                  <a:lnTo>
                    <a:pt x="30" y="236"/>
                  </a:lnTo>
                  <a:lnTo>
                    <a:pt x="26" y="241"/>
                  </a:lnTo>
                  <a:lnTo>
                    <a:pt x="26" y="249"/>
                  </a:lnTo>
                  <a:lnTo>
                    <a:pt x="30" y="254"/>
                  </a:lnTo>
                  <a:lnTo>
                    <a:pt x="36" y="260"/>
                  </a:lnTo>
                  <a:lnTo>
                    <a:pt x="39" y="268"/>
                  </a:lnTo>
                  <a:lnTo>
                    <a:pt x="43" y="277"/>
                  </a:lnTo>
                  <a:lnTo>
                    <a:pt x="43" y="277"/>
                  </a:lnTo>
                  <a:lnTo>
                    <a:pt x="54" y="297"/>
                  </a:lnTo>
                  <a:lnTo>
                    <a:pt x="60" y="305"/>
                  </a:lnTo>
                  <a:lnTo>
                    <a:pt x="66" y="314"/>
                  </a:lnTo>
                  <a:lnTo>
                    <a:pt x="73" y="337"/>
                  </a:lnTo>
                  <a:lnTo>
                    <a:pt x="73" y="337"/>
                  </a:lnTo>
                  <a:lnTo>
                    <a:pt x="75" y="339"/>
                  </a:lnTo>
                  <a:lnTo>
                    <a:pt x="77" y="342"/>
                  </a:lnTo>
                  <a:lnTo>
                    <a:pt x="84" y="344"/>
                  </a:lnTo>
                  <a:lnTo>
                    <a:pt x="95" y="346"/>
                  </a:lnTo>
                  <a:lnTo>
                    <a:pt x="97" y="348"/>
                  </a:lnTo>
                  <a:lnTo>
                    <a:pt x="97" y="348"/>
                  </a:lnTo>
                  <a:lnTo>
                    <a:pt x="92" y="352"/>
                  </a:lnTo>
                  <a:lnTo>
                    <a:pt x="52" y="370"/>
                  </a:lnTo>
                  <a:lnTo>
                    <a:pt x="52" y="370"/>
                  </a:lnTo>
                  <a:lnTo>
                    <a:pt x="43" y="376"/>
                  </a:lnTo>
                  <a:lnTo>
                    <a:pt x="37" y="380"/>
                  </a:lnTo>
                  <a:lnTo>
                    <a:pt x="34" y="383"/>
                  </a:lnTo>
                  <a:lnTo>
                    <a:pt x="34" y="387"/>
                  </a:lnTo>
                  <a:lnTo>
                    <a:pt x="36" y="391"/>
                  </a:lnTo>
                  <a:lnTo>
                    <a:pt x="37" y="395"/>
                  </a:lnTo>
                  <a:lnTo>
                    <a:pt x="47" y="402"/>
                  </a:lnTo>
                  <a:lnTo>
                    <a:pt x="71" y="413"/>
                  </a:lnTo>
                  <a:lnTo>
                    <a:pt x="82" y="419"/>
                  </a:lnTo>
                  <a:lnTo>
                    <a:pt x="84" y="423"/>
                  </a:lnTo>
                  <a:lnTo>
                    <a:pt x="86" y="424"/>
                  </a:lnTo>
                  <a:lnTo>
                    <a:pt x="86" y="424"/>
                  </a:lnTo>
                  <a:lnTo>
                    <a:pt x="94" y="445"/>
                  </a:lnTo>
                  <a:lnTo>
                    <a:pt x="99" y="454"/>
                  </a:lnTo>
                  <a:lnTo>
                    <a:pt x="101" y="456"/>
                  </a:lnTo>
                  <a:lnTo>
                    <a:pt x="103" y="456"/>
                  </a:lnTo>
                  <a:lnTo>
                    <a:pt x="105" y="456"/>
                  </a:lnTo>
                  <a:lnTo>
                    <a:pt x="105" y="454"/>
                  </a:lnTo>
                  <a:lnTo>
                    <a:pt x="105" y="456"/>
                  </a:lnTo>
                  <a:lnTo>
                    <a:pt x="105" y="462"/>
                  </a:lnTo>
                  <a:lnTo>
                    <a:pt x="95" y="509"/>
                  </a:lnTo>
                  <a:lnTo>
                    <a:pt x="95" y="509"/>
                  </a:lnTo>
                  <a:lnTo>
                    <a:pt x="94" y="514"/>
                  </a:lnTo>
                  <a:lnTo>
                    <a:pt x="90" y="520"/>
                  </a:lnTo>
                  <a:lnTo>
                    <a:pt x="86" y="522"/>
                  </a:lnTo>
                  <a:lnTo>
                    <a:pt x="82" y="523"/>
                  </a:lnTo>
                  <a:lnTo>
                    <a:pt x="71" y="527"/>
                  </a:lnTo>
                  <a:lnTo>
                    <a:pt x="60" y="527"/>
                  </a:lnTo>
                  <a:lnTo>
                    <a:pt x="49" y="529"/>
                  </a:lnTo>
                  <a:lnTo>
                    <a:pt x="36" y="531"/>
                  </a:lnTo>
                  <a:lnTo>
                    <a:pt x="32" y="533"/>
                  </a:lnTo>
                  <a:lnTo>
                    <a:pt x="26" y="537"/>
                  </a:lnTo>
                  <a:lnTo>
                    <a:pt x="23" y="542"/>
                  </a:lnTo>
                  <a:lnTo>
                    <a:pt x="21" y="548"/>
                  </a:lnTo>
                  <a:lnTo>
                    <a:pt x="21" y="548"/>
                  </a:lnTo>
                  <a:lnTo>
                    <a:pt x="19" y="552"/>
                  </a:lnTo>
                  <a:lnTo>
                    <a:pt x="23" y="555"/>
                  </a:lnTo>
                  <a:lnTo>
                    <a:pt x="28" y="565"/>
                  </a:lnTo>
                  <a:lnTo>
                    <a:pt x="30" y="570"/>
                  </a:lnTo>
                  <a:lnTo>
                    <a:pt x="28" y="576"/>
                  </a:lnTo>
                  <a:lnTo>
                    <a:pt x="24" y="583"/>
                  </a:lnTo>
                  <a:lnTo>
                    <a:pt x="15" y="591"/>
                  </a:lnTo>
                  <a:lnTo>
                    <a:pt x="15" y="591"/>
                  </a:lnTo>
                  <a:lnTo>
                    <a:pt x="11" y="596"/>
                  </a:lnTo>
                  <a:lnTo>
                    <a:pt x="6" y="602"/>
                  </a:lnTo>
                  <a:lnTo>
                    <a:pt x="2" y="611"/>
                  </a:lnTo>
                  <a:lnTo>
                    <a:pt x="0" y="623"/>
                  </a:lnTo>
                  <a:lnTo>
                    <a:pt x="0" y="632"/>
                  </a:lnTo>
                  <a:lnTo>
                    <a:pt x="2" y="641"/>
                  </a:lnTo>
                  <a:lnTo>
                    <a:pt x="8" y="651"/>
                  </a:lnTo>
                  <a:lnTo>
                    <a:pt x="11" y="654"/>
                  </a:lnTo>
                  <a:lnTo>
                    <a:pt x="17" y="656"/>
                  </a:lnTo>
                  <a:lnTo>
                    <a:pt x="17" y="656"/>
                  </a:lnTo>
                  <a:lnTo>
                    <a:pt x="24" y="662"/>
                  </a:lnTo>
                  <a:lnTo>
                    <a:pt x="32" y="669"/>
                  </a:lnTo>
                  <a:lnTo>
                    <a:pt x="51" y="695"/>
                  </a:lnTo>
                  <a:lnTo>
                    <a:pt x="71" y="733"/>
                  </a:lnTo>
                  <a:lnTo>
                    <a:pt x="71" y="733"/>
                  </a:lnTo>
                  <a:lnTo>
                    <a:pt x="51" y="778"/>
                  </a:lnTo>
                  <a:lnTo>
                    <a:pt x="34" y="811"/>
                  </a:lnTo>
                  <a:lnTo>
                    <a:pt x="30" y="826"/>
                  </a:lnTo>
                  <a:lnTo>
                    <a:pt x="26" y="839"/>
                  </a:lnTo>
                  <a:lnTo>
                    <a:pt x="26" y="839"/>
                  </a:lnTo>
                  <a:lnTo>
                    <a:pt x="26" y="845"/>
                  </a:lnTo>
                  <a:lnTo>
                    <a:pt x="24" y="850"/>
                  </a:lnTo>
                  <a:lnTo>
                    <a:pt x="19" y="858"/>
                  </a:lnTo>
                  <a:lnTo>
                    <a:pt x="11" y="862"/>
                  </a:lnTo>
                  <a:lnTo>
                    <a:pt x="6" y="865"/>
                  </a:lnTo>
                  <a:lnTo>
                    <a:pt x="4" y="869"/>
                  </a:lnTo>
                  <a:lnTo>
                    <a:pt x="4" y="871"/>
                  </a:lnTo>
                  <a:lnTo>
                    <a:pt x="4" y="875"/>
                  </a:lnTo>
                  <a:lnTo>
                    <a:pt x="6" y="880"/>
                  </a:lnTo>
                  <a:lnTo>
                    <a:pt x="15" y="895"/>
                  </a:lnTo>
                  <a:lnTo>
                    <a:pt x="36" y="920"/>
                  </a:lnTo>
                  <a:lnTo>
                    <a:pt x="36" y="920"/>
                  </a:lnTo>
                  <a:lnTo>
                    <a:pt x="107" y="935"/>
                  </a:lnTo>
                  <a:lnTo>
                    <a:pt x="170" y="950"/>
                  </a:lnTo>
                  <a:lnTo>
                    <a:pt x="170" y="950"/>
                  </a:lnTo>
                  <a:lnTo>
                    <a:pt x="174" y="951"/>
                  </a:lnTo>
                  <a:lnTo>
                    <a:pt x="178" y="951"/>
                  </a:lnTo>
                  <a:lnTo>
                    <a:pt x="181" y="948"/>
                  </a:lnTo>
                  <a:lnTo>
                    <a:pt x="185" y="944"/>
                  </a:lnTo>
                  <a:lnTo>
                    <a:pt x="189" y="938"/>
                  </a:lnTo>
                  <a:lnTo>
                    <a:pt x="193" y="933"/>
                  </a:lnTo>
                  <a:lnTo>
                    <a:pt x="198" y="931"/>
                  </a:lnTo>
                  <a:lnTo>
                    <a:pt x="200" y="931"/>
                  </a:lnTo>
                  <a:lnTo>
                    <a:pt x="204" y="933"/>
                  </a:lnTo>
                  <a:lnTo>
                    <a:pt x="211" y="940"/>
                  </a:lnTo>
                  <a:lnTo>
                    <a:pt x="211" y="940"/>
                  </a:lnTo>
                  <a:lnTo>
                    <a:pt x="219" y="946"/>
                  </a:lnTo>
                  <a:lnTo>
                    <a:pt x="221" y="946"/>
                  </a:lnTo>
                  <a:lnTo>
                    <a:pt x="224" y="946"/>
                  </a:lnTo>
                  <a:lnTo>
                    <a:pt x="228" y="940"/>
                  </a:lnTo>
                  <a:lnTo>
                    <a:pt x="237" y="935"/>
                  </a:lnTo>
                  <a:lnTo>
                    <a:pt x="237" y="935"/>
                  </a:lnTo>
                  <a:lnTo>
                    <a:pt x="237" y="931"/>
                  </a:lnTo>
                  <a:lnTo>
                    <a:pt x="236" y="927"/>
                  </a:lnTo>
                  <a:lnTo>
                    <a:pt x="230" y="918"/>
                  </a:lnTo>
                  <a:lnTo>
                    <a:pt x="224" y="907"/>
                  </a:lnTo>
                  <a:lnTo>
                    <a:pt x="217" y="895"/>
                  </a:lnTo>
                  <a:lnTo>
                    <a:pt x="215" y="890"/>
                  </a:lnTo>
                  <a:lnTo>
                    <a:pt x="215" y="884"/>
                  </a:lnTo>
                  <a:lnTo>
                    <a:pt x="215" y="877"/>
                  </a:lnTo>
                  <a:lnTo>
                    <a:pt x="217" y="871"/>
                  </a:lnTo>
                  <a:lnTo>
                    <a:pt x="221" y="864"/>
                  </a:lnTo>
                  <a:lnTo>
                    <a:pt x="226" y="856"/>
                  </a:lnTo>
                  <a:lnTo>
                    <a:pt x="236" y="850"/>
                  </a:lnTo>
                  <a:lnTo>
                    <a:pt x="249" y="843"/>
                  </a:lnTo>
                  <a:lnTo>
                    <a:pt x="249" y="843"/>
                  </a:lnTo>
                  <a:lnTo>
                    <a:pt x="254" y="839"/>
                  </a:lnTo>
                  <a:lnTo>
                    <a:pt x="258" y="836"/>
                  </a:lnTo>
                  <a:lnTo>
                    <a:pt x="265" y="824"/>
                  </a:lnTo>
                  <a:lnTo>
                    <a:pt x="271" y="813"/>
                  </a:lnTo>
                  <a:lnTo>
                    <a:pt x="275" y="802"/>
                  </a:lnTo>
                  <a:lnTo>
                    <a:pt x="279" y="789"/>
                  </a:lnTo>
                  <a:lnTo>
                    <a:pt x="284" y="778"/>
                  </a:lnTo>
                  <a:lnTo>
                    <a:pt x="294" y="768"/>
                  </a:lnTo>
                  <a:lnTo>
                    <a:pt x="299" y="765"/>
                  </a:lnTo>
                  <a:lnTo>
                    <a:pt x="305" y="761"/>
                  </a:lnTo>
                  <a:lnTo>
                    <a:pt x="305" y="761"/>
                  </a:lnTo>
                  <a:lnTo>
                    <a:pt x="308" y="759"/>
                  </a:lnTo>
                  <a:lnTo>
                    <a:pt x="312" y="755"/>
                  </a:lnTo>
                  <a:lnTo>
                    <a:pt x="316" y="744"/>
                  </a:lnTo>
                  <a:lnTo>
                    <a:pt x="320" y="735"/>
                  </a:lnTo>
                  <a:lnTo>
                    <a:pt x="323" y="733"/>
                  </a:lnTo>
                  <a:lnTo>
                    <a:pt x="327" y="733"/>
                  </a:lnTo>
                  <a:lnTo>
                    <a:pt x="327" y="733"/>
                  </a:lnTo>
                  <a:lnTo>
                    <a:pt x="331" y="735"/>
                  </a:lnTo>
                  <a:lnTo>
                    <a:pt x="333" y="737"/>
                  </a:lnTo>
                  <a:lnTo>
                    <a:pt x="333" y="740"/>
                  </a:lnTo>
                  <a:lnTo>
                    <a:pt x="335" y="740"/>
                  </a:lnTo>
                  <a:lnTo>
                    <a:pt x="342" y="733"/>
                  </a:lnTo>
                  <a:lnTo>
                    <a:pt x="366" y="701"/>
                  </a:lnTo>
                  <a:lnTo>
                    <a:pt x="366" y="701"/>
                  </a:lnTo>
                  <a:lnTo>
                    <a:pt x="370" y="697"/>
                  </a:lnTo>
                  <a:lnTo>
                    <a:pt x="376" y="695"/>
                  </a:lnTo>
                  <a:lnTo>
                    <a:pt x="385" y="692"/>
                  </a:lnTo>
                  <a:lnTo>
                    <a:pt x="398" y="690"/>
                  </a:lnTo>
                  <a:lnTo>
                    <a:pt x="411" y="688"/>
                  </a:lnTo>
                  <a:lnTo>
                    <a:pt x="424" y="688"/>
                  </a:lnTo>
                  <a:lnTo>
                    <a:pt x="434" y="684"/>
                  </a:lnTo>
                  <a:lnTo>
                    <a:pt x="443" y="680"/>
                  </a:lnTo>
                  <a:lnTo>
                    <a:pt x="447" y="677"/>
                  </a:lnTo>
                  <a:lnTo>
                    <a:pt x="447" y="673"/>
                  </a:lnTo>
                  <a:lnTo>
                    <a:pt x="447" y="673"/>
                  </a:lnTo>
                  <a:lnTo>
                    <a:pt x="452" y="658"/>
                  </a:lnTo>
                  <a:lnTo>
                    <a:pt x="452" y="656"/>
                  </a:lnTo>
                  <a:lnTo>
                    <a:pt x="454" y="654"/>
                  </a:lnTo>
                  <a:lnTo>
                    <a:pt x="460" y="654"/>
                  </a:lnTo>
                  <a:lnTo>
                    <a:pt x="465" y="652"/>
                  </a:lnTo>
                  <a:lnTo>
                    <a:pt x="471" y="649"/>
                  </a:lnTo>
                  <a:lnTo>
                    <a:pt x="471" y="649"/>
                  </a:lnTo>
                  <a:lnTo>
                    <a:pt x="475" y="645"/>
                  </a:lnTo>
                  <a:lnTo>
                    <a:pt x="477" y="639"/>
                  </a:lnTo>
                  <a:lnTo>
                    <a:pt x="479" y="636"/>
                  </a:lnTo>
                  <a:lnTo>
                    <a:pt x="482" y="630"/>
                  </a:lnTo>
                  <a:lnTo>
                    <a:pt x="482" y="630"/>
                  </a:lnTo>
                  <a:lnTo>
                    <a:pt x="475" y="624"/>
                  </a:lnTo>
                  <a:lnTo>
                    <a:pt x="475" y="619"/>
                  </a:lnTo>
                  <a:lnTo>
                    <a:pt x="475" y="615"/>
                  </a:lnTo>
                  <a:lnTo>
                    <a:pt x="471" y="608"/>
                  </a:lnTo>
                  <a:lnTo>
                    <a:pt x="465" y="596"/>
                  </a:lnTo>
                  <a:lnTo>
                    <a:pt x="454" y="581"/>
                  </a:lnTo>
                  <a:lnTo>
                    <a:pt x="454" y="581"/>
                  </a:lnTo>
                  <a:lnTo>
                    <a:pt x="452" y="576"/>
                  </a:lnTo>
                  <a:lnTo>
                    <a:pt x="452" y="576"/>
                  </a:lnTo>
                  <a:lnTo>
                    <a:pt x="430" y="576"/>
                  </a:lnTo>
                  <a:lnTo>
                    <a:pt x="408" y="574"/>
                  </a:lnTo>
                  <a:lnTo>
                    <a:pt x="387" y="568"/>
                  </a:lnTo>
                  <a:lnTo>
                    <a:pt x="368" y="561"/>
                  </a:lnTo>
                  <a:lnTo>
                    <a:pt x="361" y="557"/>
                  </a:lnTo>
                  <a:lnTo>
                    <a:pt x="355" y="552"/>
                  </a:lnTo>
                  <a:lnTo>
                    <a:pt x="351" y="546"/>
                  </a:lnTo>
                  <a:lnTo>
                    <a:pt x="350" y="540"/>
                  </a:lnTo>
                  <a:lnTo>
                    <a:pt x="350" y="535"/>
                  </a:lnTo>
                  <a:lnTo>
                    <a:pt x="351" y="529"/>
                  </a:lnTo>
                  <a:lnTo>
                    <a:pt x="355" y="522"/>
                  </a:lnTo>
                  <a:lnTo>
                    <a:pt x="363" y="516"/>
                  </a:lnTo>
                  <a:lnTo>
                    <a:pt x="363" y="516"/>
                  </a:lnTo>
                  <a:lnTo>
                    <a:pt x="368" y="510"/>
                  </a:lnTo>
                  <a:lnTo>
                    <a:pt x="372" y="505"/>
                  </a:lnTo>
                  <a:lnTo>
                    <a:pt x="372" y="501"/>
                  </a:lnTo>
                  <a:lnTo>
                    <a:pt x="368" y="495"/>
                  </a:lnTo>
                  <a:lnTo>
                    <a:pt x="365" y="486"/>
                  </a:lnTo>
                  <a:lnTo>
                    <a:pt x="361" y="477"/>
                  </a:lnTo>
                  <a:lnTo>
                    <a:pt x="359" y="462"/>
                  </a:lnTo>
                  <a:lnTo>
                    <a:pt x="357" y="441"/>
                  </a:lnTo>
                  <a:lnTo>
                    <a:pt x="357" y="441"/>
                  </a:lnTo>
                  <a:lnTo>
                    <a:pt x="340" y="439"/>
                  </a:lnTo>
                  <a:lnTo>
                    <a:pt x="331" y="439"/>
                  </a:lnTo>
                  <a:lnTo>
                    <a:pt x="323" y="443"/>
                  </a:lnTo>
                  <a:lnTo>
                    <a:pt x="323" y="443"/>
                  </a:lnTo>
                  <a:lnTo>
                    <a:pt x="299" y="464"/>
                  </a:lnTo>
                  <a:lnTo>
                    <a:pt x="295" y="466"/>
                  </a:lnTo>
                  <a:lnTo>
                    <a:pt x="295" y="464"/>
                  </a:lnTo>
                  <a:lnTo>
                    <a:pt x="294" y="460"/>
                  </a:lnTo>
                  <a:lnTo>
                    <a:pt x="292" y="454"/>
                  </a:lnTo>
                  <a:lnTo>
                    <a:pt x="290" y="452"/>
                  </a:lnTo>
                  <a:lnTo>
                    <a:pt x="286" y="451"/>
                  </a:lnTo>
                  <a:lnTo>
                    <a:pt x="273" y="449"/>
                  </a:lnTo>
                  <a:lnTo>
                    <a:pt x="273" y="449"/>
                  </a:lnTo>
                  <a:lnTo>
                    <a:pt x="258" y="449"/>
                  </a:lnTo>
                  <a:lnTo>
                    <a:pt x="251" y="451"/>
                  </a:lnTo>
                  <a:lnTo>
                    <a:pt x="249" y="452"/>
                  </a:lnTo>
                  <a:lnTo>
                    <a:pt x="249" y="454"/>
                  </a:lnTo>
                  <a:lnTo>
                    <a:pt x="247" y="456"/>
                  </a:lnTo>
                  <a:lnTo>
                    <a:pt x="243" y="456"/>
                  </a:lnTo>
                  <a:lnTo>
                    <a:pt x="221" y="449"/>
                  </a:lnTo>
                  <a:lnTo>
                    <a:pt x="221" y="449"/>
                  </a:lnTo>
                  <a:lnTo>
                    <a:pt x="209" y="443"/>
                  </a:lnTo>
                  <a:lnTo>
                    <a:pt x="204" y="439"/>
                  </a:lnTo>
                  <a:lnTo>
                    <a:pt x="202" y="434"/>
                  </a:lnTo>
                  <a:lnTo>
                    <a:pt x="202" y="430"/>
                  </a:lnTo>
                  <a:lnTo>
                    <a:pt x="206" y="421"/>
                  </a:lnTo>
                  <a:lnTo>
                    <a:pt x="208" y="417"/>
                  </a:lnTo>
                  <a:lnTo>
                    <a:pt x="206" y="411"/>
                  </a:lnTo>
                  <a:lnTo>
                    <a:pt x="206" y="411"/>
                  </a:lnTo>
                  <a:lnTo>
                    <a:pt x="198" y="389"/>
                  </a:lnTo>
                  <a:lnTo>
                    <a:pt x="198" y="383"/>
                  </a:lnTo>
                  <a:lnTo>
                    <a:pt x="200" y="381"/>
                  </a:lnTo>
                  <a:lnTo>
                    <a:pt x="213" y="376"/>
                  </a:lnTo>
                  <a:lnTo>
                    <a:pt x="224" y="370"/>
                  </a:lnTo>
                  <a:lnTo>
                    <a:pt x="241" y="357"/>
                  </a:lnTo>
                  <a:lnTo>
                    <a:pt x="241" y="357"/>
                  </a:lnTo>
                  <a:lnTo>
                    <a:pt x="245" y="353"/>
                  </a:lnTo>
                  <a:lnTo>
                    <a:pt x="245" y="350"/>
                  </a:lnTo>
                  <a:lnTo>
                    <a:pt x="245" y="346"/>
                  </a:lnTo>
                  <a:lnTo>
                    <a:pt x="245" y="342"/>
                  </a:lnTo>
                  <a:lnTo>
                    <a:pt x="239" y="333"/>
                  </a:lnTo>
                  <a:lnTo>
                    <a:pt x="234" y="324"/>
                  </a:lnTo>
                  <a:lnTo>
                    <a:pt x="228" y="314"/>
                  </a:lnTo>
                  <a:lnTo>
                    <a:pt x="226" y="310"/>
                  </a:lnTo>
                  <a:lnTo>
                    <a:pt x="226" y="309"/>
                  </a:lnTo>
                  <a:lnTo>
                    <a:pt x="228" y="305"/>
                  </a:lnTo>
                  <a:lnTo>
                    <a:pt x="232" y="303"/>
                  </a:lnTo>
                  <a:lnTo>
                    <a:pt x="236" y="301"/>
                  </a:lnTo>
                  <a:lnTo>
                    <a:pt x="243" y="299"/>
                  </a:lnTo>
                  <a:lnTo>
                    <a:pt x="243" y="299"/>
                  </a:lnTo>
                  <a:lnTo>
                    <a:pt x="249" y="297"/>
                  </a:lnTo>
                  <a:lnTo>
                    <a:pt x="256" y="294"/>
                  </a:lnTo>
                  <a:lnTo>
                    <a:pt x="273" y="281"/>
                  </a:lnTo>
                  <a:lnTo>
                    <a:pt x="295" y="264"/>
                  </a:lnTo>
                  <a:lnTo>
                    <a:pt x="295" y="264"/>
                  </a:lnTo>
                  <a:lnTo>
                    <a:pt x="301" y="253"/>
                  </a:lnTo>
                  <a:lnTo>
                    <a:pt x="307" y="245"/>
                  </a:lnTo>
                  <a:lnTo>
                    <a:pt x="312" y="239"/>
                  </a:lnTo>
                  <a:lnTo>
                    <a:pt x="316" y="236"/>
                  </a:lnTo>
                  <a:lnTo>
                    <a:pt x="322" y="236"/>
                  </a:lnTo>
                  <a:lnTo>
                    <a:pt x="325" y="238"/>
                  </a:lnTo>
                  <a:lnTo>
                    <a:pt x="333" y="245"/>
                  </a:lnTo>
                  <a:lnTo>
                    <a:pt x="340" y="254"/>
                  </a:lnTo>
                  <a:lnTo>
                    <a:pt x="348" y="266"/>
                  </a:lnTo>
                  <a:lnTo>
                    <a:pt x="353" y="271"/>
                  </a:lnTo>
                  <a:lnTo>
                    <a:pt x="359" y="275"/>
                  </a:lnTo>
                  <a:lnTo>
                    <a:pt x="365" y="277"/>
                  </a:lnTo>
                  <a:lnTo>
                    <a:pt x="372" y="277"/>
                  </a:lnTo>
                  <a:lnTo>
                    <a:pt x="372" y="277"/>
                  </a:lnTo>
                  <a:lnTo>
                    <a:pt x="400" y="277"/>
                  </a:lnTo>
                  <a:lnTo>
                    <a:pt x="408" y="277"/>
                  </a:lnTo>
                  <a:lnTo>
                    <a:pt x="413" y="279"/>
                  </a:lnTo>
                  <a:lnTo>
                    <a:pt x="413" y="281"/>
                  </a:lnTo>
                  <a:lnTo>
                    <a:pt x="413" y="282"/>
                  </a:lnTo>
                  <a:lnTo>
                    <a:pt x="406" y="290"/>
                  </a:lnTo>
                  <a:lnTo>
                    <a:pt x="398" y="299"/>
                  </a:lnTo>
                  <a:lnTo>
                    <a:pt x="394" y="305"/>
                  </a:lnTo>
                  <a:lnTo>
                    <a:pt x="393" y="312"/>
                  </a:lnTo>
                  <a:lnTo>
                    <a:pt x="393" y="318"/>
                  </a:lnTo>
                  <a:lnTo>
                    <a:pt x="396" y="325"/>
                  </a:lnTo>
                  <a:lnTo>
                    <a:pt x="404" y="335"/>
                  </a:lnTo>
                  <a:lnTo>
                    <a:pt x="413" y="342"/>
                  </a:lnTo>
                  <a:lnTo>
                    <a:pt x="413" y="342"/>
                  </a:lnTo>
                  <a:lnTo>
                    <a:pt x="421" y="344"/>
                  </a:lnTo>
                  <a:lnTo>
                    <a:pt x="428" y="348"/>
                  </a:lnTo>
                  <a:lnTo>
                    <a:pt x="441" y="357"/>
                  </a:lnTo>
                  <a:lnTo>
                    <a:pt x="447" y="363"/>
                  </a:lnTo>
                  <a:lnTo>
                    <a:pt x="450" y="367"/>
                  </a:lnTo>
                  <a:lnTo>
                    <a:pt x="450" y="372"/>
                  </a:lnTo>
                  <a:lnTo>
                    <a:pt x="445" y="374"/>
                  </a:lnTo>
                  <a:lnTo>
                    <a:pt x="445" y="374"/>
                  </a:lnTo>
                  <a:lnTo>
                    <a:pt x="439" y="376"/>
                  </a:lnTo>
                  <a:lnTo>
                    <a:pt x="436" y="378"/>
                  </a:lnTo>
                  <a:lnTo>
                    <a:pt x="432" y="381"/>
                  </a:lnTo>
                  <a:lnTo>
                    <a:pt x="430" y="385"/>
                  </a:lnTo>
                  <a:lnTo>
                    <a:pt x="430" y="395"/>
                  </a:lnTo>
                  <a:lnTo>
                    <a:pt x="434" y="404"/>
                  </a:lnTo>
                  <a:lnTo>
                    <a:pt x="439" y="413"/>
                  </a:lnTo>
                  <a:lnTo>
                    <a:pt x="447" y="423"/>
                  </a:lnTo>
                  <a:lnTo>
                    <a:pt x="454" y="430"/>
                  </a:lnTo>
                  <a:lnTo>
                    <a:pt x="464" y="434"/>
                  </a:lnTo>
                  <a:lnTo>
                    <a:pt x="464" y="434"/>
                  </a:lnTo>
                  <a:lnTo>
                    <a:pt x="475" y="436"/>
                  </a:lnTo>
                  <a:lnTo>
                    <a:pt x="479" y="439"/>
                  </a:lnTo>
                  <a:lnTo>
                    <a:pt x="479" y="443"/>
                  </a:lnTo>
                  <a:lnTo>
                    <a:pt x="477" y="447"/>
                  </a:lnTo>
                  <a:lnTo>
                    <a:pt x="473" y="451"/>
                  </a:lnTo>
                  <a:lnTo>
                    <a:pt x="473" y="454"/>
                  </a:lnTo>
                  <a:lnTo>
                    <a:pt x="475" y="460"/>
                  </a:lnTo>
                  <a:lnTo>
                    <a:pt x="480" y="466"/>
                  </a:lnTo>
                  <a:lnTo>
                    <a:pt x="480" y="466"/>
                  </a:lnTo>
                  <a:lnTo>
                    <a:pt x="484" y="467"/>
                  </a:lnTo>
                  <a:lnTo>
                    <a:pt x="486" y="469"/>
                  </a:lnTo>
                  <a:lnTo>
                    <a:pt x="486" y="475"/>
                  </a:lnTo>
                  <a:lnTo>
                    <a:pt x="486" y="475"/>
                  </a:lnTo>
                  <a:lnTo>
                    <a:pt x="492" y="475"/>
                  </a:lnTo>
                  <a:lnTo>
                    <a:pt x="495" y="477"/>
                  </a:lnTo>
                  <a:lnTo>
                    <a:pt x="495" y="477"/>
                  </a:lnTo>
                  <a:lnTo>
                    <a:pt x="514" y="490"/>
                  </a:lnTo>
                  <a:lnTo>
                    <a:pt x="523" y="497"/>
                  </a:lnTo>
                  <a:lnTo>
                    <a:pt x="529" y="503"/>
                  </a:lnTo>
                  <a:lnTo>
                    <a:pt x="531" y="503"/>
                  </a:lnTo>
                  <a:lnTo>
                    <a:pt x="536" y="495"/>
                  </a:lnTo>
                  <a:lnTo>
                    <a:pt x="544" y="490"/>
                  </a:lnTo>
                  <a:lnTo>
                    <a:pt x="559" y="481"/>
                  </a:lnTo>
                  <a:lnTo>
                    <a:pt x="559" y="481"/>
                  </a:lnTo>
                  <a:lnTo>
                    <a:pt x="563" y="479"/>
                  </a:lnTo>
                  <a:lnTo>
                    <a:pt x="566" y="479"/>
                  </a:lnTo>
                  <a:lnTo>
                    <a:pt x="581" y="481"/>
                  </a:lnTo>
                  <a:lnTo>
                    <a:pt x="591" y="479"/>
                  </a:lnTo>
                  <a:lnTo>
                    <a:pt x="598" y="477"/>
                  </a:lnTo>
                  <a:lnTo>
                    <a:pt x="607" y="469"/>
                  </a:lnTo>
                  <a:lnTo>
                    <a:pt x="619" y="458"/>
                  </a:lnTo>
                  <a:lnTo>
                    <a:pt x="619" y="458"/>
                  </a:lnTo>
                  <a:lnTo>
                    <a:pt x="622" y="447"/>
                  </a:lnTo>
                  <a:lnTo>
                    <a:pt x="626" y="438"/>
                  </a:lnTo>
                  <a:lnTo>
                    <a:pt x="630" y="415"/>
                  </a:lnTo>
                  <a:lnTo>
                    <a:pt x="635" y="400"/>
                  </a:lnTo>
                  <a:lnTo>
                    <a:pt x="645" y="385"/>
                  </a:lnTo>
                  <a:lnTo>
                    <a:pt x="660" y="368"/>
                  </a:lnTo>
                  <a:lnTo>
                    <a:pt x="680" y="348"/>
                  </a:lnTo>
                  <a:lnTo>
                    <a:pt x="680" y="348"/>
                  </a:lnTo>
                  <a:lnTo>
                    <a:pt x="678" y="339"/>
                  </a:lnTo>
                  <a:lnTo>
                    <a:pt x="675" y="333"/>
                  </a:lnTo>
                  <a:lnTo>
                    <a:pt x="673" y="331"/>
                  </a:lnTo>
                  <a:lnTo>
                    <a:pt x="671" y="329"/>
                  </a:lnTo>
                  <a:lnTo>
                    <a:pt x="667" y="327"/>
                  </a:lnTo>
                  <a:lnTo>
                    <a:pt x="664" y="322"/>
                  </a:lnTo>
                  <a:lnTo>
                    <a:pt x="658" y="310"/>
                  </a:lnTo>
                  <a:lnTo>
                    <a:pt x="652" y="292"/>
                  </a:lnTo>
                  <a:lnTo>
                    <a:pt x="652" y="292"/>
                  </a:lnTo>
                  <a:lnTo>
                    <a:pt x="647" y="282"/>
                  </a:lnTo>
                  <a:lnTo>
                    <a:pt x="643" y="277"/>
                  </a:lnTo>
                  <a:lnTo>
                    <a:pt x="639" y="275"/>
                  </a:lnTo>
                  <a:lnTo>
                    <a:pt x="634" y="277"/>
                  </a:lnTo>
                  <a:lnTo>
                    <a:pt x="628" y="277"/>
                  </a:lnTo>
                  <a:lnTo>
                    <a:pt x="622" y="279"/>
                  </a:lnTo>
                  <a:lnTo>
                    <a:pt x="615" y="275"/>
                  </a:lnTo>
                  <a:lnTo>
                    <a:pt x="607" y="269"/>
                  </a:lnTo>
                  <a:lnTo>
                    <a:pt x="607" y="269"/>
                  </a:lnTo>
                  <a:close/>
                  <a:moveTo>
                    <a:pt x="396" y="406"/>
                  </a:moveTo>
                  <a:lnTo>
                    <a:pt x="396" y="406"/>
                  </a:lnTo>
                  <a:lnTo>
                    <a:pt x="394" y="400"/>
                  </a:lnTo>
                  <a:lnTo>
                    <a:pt x="394" y="398"/>
                  </a:lnTo>
                  <a:lnTo>
                    <a:pt x="391" y="395"/>
                  </a:lnTo>
                  <a:lnTo>
                    <a:pt x="389" y="393"/>
                  </a:lnTo>
                  <a:lnTo>
                    <a:pt x="387" y="389"/>
                  </a:lnTo>
                  <a:lnTo>
                    <a:pt x="387" y="381"/>
                  </a:lnTo>
                  <a:lnTo>
                    <a:pt x="387" y="372"/>
                  </a:lnTo>
                  <a:lnTo>
                    <a:pt x="387" y="372"/>
                  </a:lnTo>
                  <a:lnTo>
                    <a:pt x="374" y="372"/>
                  </a:lnTo>
                  <a:lnTo>
                    <a:pt x="357" y="374"/>
                  </a:lnTo>
                  <a:lnTo>
                    <a:pt x="351" y="378"/>
                  </a:lnTo>
                  <a:lnTo>
                    <a:pt x="348" y="381"/>
                  </a:lnTo>
                  <a:lnTo>
                    <a:pt x="348" y="387"/>
                  </a:lnTo>
                  <a:lnTo>
                    <a:pt x="351" y="396"/>
                  </a:lnTo>
                  <a:lnTo>
                    <a:pt x="351" y="396"/>
                  </a:lnTo>
                  <a:lnTo>
                    <a:pt x="353" y="400"/>
                  </a:lnTo>
                  <a:lnTo>
                    <a:pt x="357" y="402"/>
                  </a:lnTo>
                  <a:lnTo>
                    <a:pt x="363" y="406"/>
                  </a:lnTo>
                  <a:lnTo>
                    <a:pt x="365" y="408"/>
                  </a:lnTo>
                  <a:lnTo>
                    <a:pt x="366" y="410"/>
                  </a:lnTo>
                  <a:lnTo>
                    <a:pt x="366" y="415"/>
                  </a:lnTo>
                  <a:lnTo>
                    <a:pt x="365" y="421"/>
                  </a:lnTo>
                  <a:lnTo>
                    <a:pt x="365" y="421"/>
                  </a:lnTo>
                  <a:lnTo>
                    <a:pt x="365" y="424"/>
                  </a:lnTo>
                  <a:lnTo>
                    <a:pt x="365" y="426"/>
                  </a:lnTo>
                  <a:lnTo>
                    <a:pt x="365" y="426"/>
                  </a:lnTo>
                  <a:lnTo>
                    <a:pt x="374" y="430"/>
                  </a:lnTo>
                  <a:lnTo>
                    <a:pt x="379" y="432"/>
                  </a:lnTo>
                  <a:lnTo>
                    <a:pt x="385" y="432"/>
                  </a:lnTo>
                  <a:lnTo>
                    <a:pt x="389" y="432"/>
                  </a:lnTo>
                  <a:lnTo>
                    <a:pt x="393" y="426"/>
                  </a:lnTo>
                  <a:lnTo>
                    <a:pt x="396" y="419"/>
                  </a:lnTo>
                  <a:lnTo>
                    <a:pt x="396" y="406"/>
                  </a:lnTo>
                  <a:lnTo>
                    <a:pt x="396" y="40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11">
              <a:extLst>
                <a:ext uri="{FF2B5EF4-FFF2-40B4-BE49-F238E27FC236}">
                  <a16:creationId xmlns:a16="http://schemas.microsoft.com/office/drawing/2014/main" id="{D90DD264-5531-4A48-813D-8CA0CCD6FFEE}"/>
                </a:ext>
              </a:extLst>
            </p:cNvPr>
            <p:cNvSpPr>
              <a:spLocks noEditPoints="1"/>
            </p:cNvSpPr>
            <p:nvPr/>
          </p:nvSpPr>
          <p:spPr bwMode="auto">
            <a:xfrm>
              <a:off x="5789162" y="3641816"/>
              <a:ext cx="781165" cy="539548"/>
            </a:xfrm>
            <a:custGeom>
              <a:avLst/>
              <a:gdLst/>
              <a:ahLst/>
              <a:cxnLst>
                <a:cxn ang="0">
                  <a:pos x="415" y="76"/>
                </a:cxn>
                <a:cxn ang="0">
                  <a:pos x="367" y="87"/>
                </a:cxn>
                <a:cxn ang="0">
                  <a:pos x="326" y="71"/>
                </a:cxn>
                <a:cxn ang="0">
                  <a:pos x="305" y="84"/>
                </a:cxn>
                <a:cxn ang="0">
                  <a:pos x="281" y="112"/>
                </a:cxn>
                <a:cxn ang="0">
                  <a:pos x="204" y="132"/>
                </a:cxn>
                <a:cxn ang="0">
                  <a:pos x="161" y="168"/>
                </a:cxn>
                <a:cxn ang="0">
                  <a:pos x="139" y="196"/>
                </a:cxn>
                <a:cxn ang="0">
                  <a:pos x="92" y="271"/>
                </a:cxn>
                <a:cxn ang="0">
                  <a:pos x="49" y="312"/>
                </a:cxn>
                <a:cxn ang="0">
                  <a:pos x="71" y="370"/>
                </a:cxn>
                <a:cxn ang="0">
                  <a:pos x="56" y="405"/>
                </a:cxn>
                <a:cxn ang="0">
                  <a:pos x="96" y="403"/>
                </a:cxn>
                <a:cxn ang="0">
                  <a:pos x="133" y="385"/>
                </a:cxn>
                <a:cxn ang="0">
                  <a:pos x="113" y="413"/>
                </a:cxn>
                <a:cxn ang="0">
                  <a:pos x="55" y="472"/>
                </a:cxn>
                <a:cxn ang="0">
                  <a:pos x="6" y="521"/>
                </a:cxn>
                <a:cxn ang="0">
                  <a:pos x="43" y="541"/>
                </a:cxn>
                <a:cxn ang="0">
                  <a:pos x="73" y="562"/>
                </a:cxn>
                <a:cxn ang="0">
                  <a:pos x="98" y="592"/>
                </a:cxn>
                <a:cxn ang="0">
                  <a:pos x="191" y="575"/>
                </a:cxn>
                <a:cxn ang="0">
                  <a:pos x="213" y="540"/>
                </a:cxn>
                <a:cxn ang="0">
                  <a:pos x="234" y="532"/>
                </a:cxn>
                <a:cxn ang="0">
                  <a:pos x="219" y="484"/>
                </a:cxn>
                <a:cxn ang="0">
                  <a:pos x="273" y="551"/>
                </a:cxn>
                <a:cxn ang="0">
                  <a:pos x="333" y="590"/>
                </a:cxn>
                <a:cxn ang="0">
                  <a:pos x="382" y="562"/>
                </a:cxn>
                <a:cxn ang="0">
                  <a:pos x="423" y="592"/>
                </a:cxn>
                <a:cxn ang="0">
                  <a:pos x="443" y="549"/>
                </a:cxn>
                <a:cxn ang="0">
                  <a:pos x="477" y="502"/>
                </a:cxn>
                <a:cxn ang="0">
                  <a:pos x="535" y="472"/>
                </a:cxn>
                <a:cxn ang="0">
                  <a:pos x="570" y="405"/>
                </a:cxn>
                <a:cxn ang="0">
                  <a:pos x="608" y="345"/>
                </a:cxn>
                <a:cxn ang="0">
                  <a:pos x="621" y="319"/>
                </a:cxn>
                <a:cxn ang="0">
                  <a:pos x="656" y="328"/>
                </a:cxn>
                <a:cxn ang="0">
                  <a:pos x="662" y="284"/>
                </a:cxn>
                <a:cxn ang="0">
                  <a:pos x="683" y="261"/>
                </a:cxn>
                <a:cxn ang="0">
                  <a:pos x="705" y="244"/>
                </a:cxn>
                <a:cxn ang="0">
                  <a:pos x="817" y="194"/>
                </a:cxn>
                <a:cxn ang="0">
                  <a:pos x="853" y="194"/>
                </a:cxn>
                <a:cxn ang="0">
                  <a:pos x="854" y="153"/>
                </a:cxn>
                <a:cxn ang="0">
                  <a:pos x="858" y="119"/>
                </a:cxn>
                <a:cxn ang="0">
                  <a:pos x="806" y="114"/>
                </a:cxn>
                <a:cxn ang="0">
                  <a:pos x="755" y="129"/>
                </a:cxn>
                <a:cxn ang="0">
                  <a:pos x="716" y="114"/>
                </a:cxn>
                <a:cxn ang="0">
                  <a:pos x="655" y="86"/>
                </a:cxn>
                <a:cxn ang="0">
                  <a:pos x="602" y="112"/>
                </a:cxn>
                <a:cxn ang="0">
                  <a:pos x="565" y="160"/>
                </a:cxn>
                <a:cxn ang="0">
                  <a:pos x="520" y="203"/>
                </a:cxn>
                <a:cxn ang="0">
                  <a:pos x="445" y="181"/>
                </a:cxn>
                <a:cxn ang="0">
                  <a:pos x="456" y="119"/>
                </a:cxn>
                <a:cxn ang="0">
                  <a:pos x="451" y="93"/>
                </a:cxn>
                <a:cxn ang="0">
                  <a:pos x="651" y="13"/>
                </a:cxn>
                <a:cxn ang="0">
                  <a:pos x="651" y="0"/>
                </a:cxn>
                <a:cxn ang="0">
                  <a:pos x="638" y="16"/>
                </a:cxn>
                <a:cxn ang="0">
                  <a:pos x="649" y="37"/>
                </a:cxn>
                <a:cxn ang="0">
                  <a:pos x="628" y="50"/>
                </a:cxn>
                <a:cxn ang="0">
                  <a:pos x="658" y="52"/>
                </a:cxn>
                <a:cxn ang="0">
                  <a:pos x="666" y="58"/>
                </a:cxn>
                <a:cxn ang="0">
                  <a:pos x="640" y="78"/>
                </a:cxn>
                <a:cxn ang="0">
                  <a:pos x="632" y="65"/>
                </a:cxn>
                <a:cxn ang="0">
                  <a:pos x="626" y="72"/>
                </a:cxn>
              </a:cxnLst>
              <a:rect l="0" t="0" r="r" b="b"/>
              <a:pathLst>
                <a:path w="862" h="594">
                  <a:moveTo>
                    <a:pt x="141" y="377"/>
                  </a:moveTo>
                  <a:lnTo>
                    <a:pt x="141" y="377"/>
                  </a:lnTo>
                  <a:close/>
                  <a:moveTo>
                    <a:pt x="440" y="78"/>
                  </a:moveTo>
                  <a:lnTo>
                    <a:pt x="440" y="78"/>
                  </a:lnTo>
                  <a:lnTo>
                    <a:pt x="430" y="72"/>
                  </a:lnTo>
                  <a:lnTo>
                    <a:pt x="425" y="71"/>
                  </a:lnTo>
                  <a:lnTo>
                    <a:pt x="419" y="72"/>
                  </a:lnTo>
                  <a:lnTo>
                    <a:pt x="415" y="76"/>
                  </a:lnTo>
                  <a:lnTo>
                    <a:pt x="412" y="82"/>
                  </a:lnTo>
                  <a:lnTo>
                    <a:pt x="406" y="86"/>
                  </a:lnTo>
                  <a:lnTo>
                    <a:pt x="398" y="87"/>
                  </a:lnTo>
                  <a:lnTo>
                    <a:pt x="389" y="84"/>
                  </a:lnTo>
                  <a:lnTo>
                    <a:pt x="389" y="84"/>
                  </a:lnTo>
                  <a:lnTo>
                    <a:pt x="380" y="82"/>
                  </a:lnTo>
                  <a:lnTo>
                    <a:pt x="372" y="84"/>
                  </a:lnTo>
                  <a:lnTo>
                    <a:pt x="367" y="87"/>
                  </a:lnTo>
                  <a:lnTo>
                    <a:pt x="361" y="91"/>
                  </a:lnTo>
                  <a:lnTo>
                    <a:pt x="357" y="95"/>
                  </a:lnTo>
                  <a:lnTo>
                    <a:pt x="352" y="95"/>
                  </a:lnTo>
                  <a:lnTo>
                    <a:pt x="346" y="93"/>
                  </a:lnTo>
                  <a:lnTo>
                    <a:pt x="341" y="86"/>
                  </a:lnTo>
                  <a:lnTo>
                    <a:pt x="341" y="86"/>
                  </a:lnTo>
                  <a:lnTo>
                    <a:pt x="333" y="78"/>
                  </a:lnTo>
                  <a:lnTo>
                    <a:pt x="326" y="71"/>
                  </a:lnTo>
                  <a:lnTo>
                    <a:pt x="326" y="71"/>
                  </a:lnTo>
                  <a:lnTo>
                    <a:pt x="316" y="65"/>
                  </a:lnTo>
                  <a:lnTo>
                    <a:pt x="316" y="65"/>
                  </a:lnTo>
                  <a:lnTo>
                    <a:pt x="313" y="71"/>
                  </a:lnTo>
                  <a:lnTo>
                    <a:pt x="311" y="74"/>
                  </a:lnTo>
                  <a:lnTo>
                    <a:pt x="309" y="80"/>
                  </a:lnTo>
                  <a:lnTo>
                    <a:pt x="305" y="84"/>
                  </a:lnTo>
                  <a:lnTo>
                    <a:pt x="305" y="84"/>
                  </a:lnTo>
                  <a:lnTo>
                    <a:pt x="299" y="87"/>
                  </a:lnTo>
                  <a:lnTo>
                    <a:pt x="294" y="89"/>
                  </a:lnTo>
                  <a:lnTo>
                    <a:pt x="288" y="89"/>
                  </a:lnTo>
                  <a:lnTo>
                    <a:pt x="286" y="91"/>
                  </a:lnTo>
                  <a:lnTo>
                    <a:pt x="286" y="93"/>
                  </a:lnTo>
                  <a:lnTo>
                    <a:pt x="281" y="108"/>
                  </a:lnTo>
                  <a:lnTo>
                    <a:pt x="281" y="108"/>
                  </a:lnTo>
                  <a:lnTo>
                    <a:pt x="281" y="112"/>
                  </a:lnTo>
                  <a:lnTo>
                    <a:pt x="277" y="115"/>
                  </a:lnTo>
                  <a:lnTo>
                    <a:pt x="268" y="119"/>
                  </a:lnTo>
                  <a:lnTo>
                    <a:pt x="258" y="123"/>
                  </a:lnTo>
                  <a:lnTo>
                    <a:pt x="245" y="123"/>
                  </a:lnTo>
                  <a:lnTo>
                    <a:pt x="232" y="125"/>
                  </a:lnTo>
                  <a:lnTo>
                    <a:pt x="219" y="127"/>
                  </a:lnTo>
                  <a:lnTo>
                    <a:pt x="210" y="130"/>
                  </a:lnTo>
                  <a:lnTo>
                    <a:pt x="204" y="132"/>
                  </a:lnTo>
                  <a:lnTo>
                    <a:pt x="200" y="136"/>
                  </a:lnTo>
                  <a:lnTo>
                    <a:pt x="200" y="136"/>
                  </a:lnTo>
                  <a:lnTo>
                    <a:pt x="176" y="168"/>
                  </a:lnTo>
                  <a:lnTo>
                    <a:pt x="169" y="175"/>
                  </a:lnTo>
                  <a:lnTo>
                    <a:pt x="167" y="175"/>
                  </a:lnTo>
                  <a:lnTo>
                    <a:pt x="167" y="172"/>
                  </a:lnTo>
                  <a:lnTo>
                    <a:pt x="165" y="170"/>
                  </a:lnTo>
                  <a:lnTo>
                    <a:pt x="161" y="168"/>
                  </a:lnTo>
                  <a:lnTo>
                    <a:pt x="161" y="168"/>
                  </a:lnTo>
                  <a:lnTo>
                    <a:pt x="157" y="168"/>
                  </a:lnTo>
                  <a:lnTo>
                    <a:pt x="154" y="170"/>
                  </a:lnTo>
                  <a:lnTo>
                    <a:pt x="150" y="179"/>
                  </a:lnTo>
                  <a:lnTo>
                    <a:pt x="146" y="190"/>
                  </a:lnTo>
                  <a:lnTo>
                    <a:pt x="142" y="194"/>
                  </a:lnTo>
                  <a:lnTo>
                    <a:pt x="139" y="196"/>
                  </a:lnTo>
                  <a:lnTo>
                    <a:pt x="139" y="196"/>
                  </a:lnTo>
                  <a:lnTo>
                    <a:pt x="133" y="200"/>
                  </a:lnTo>
                  <a:lnTo>
                    <a:pt x="128" y="203"/>
                  </a:lnTo>
                  <a:lnTo>
                    <a:pt x="118" y="213"/>
                  </a:lnTo>
                  <a:lnTo>
                    <a:pt x="113" y="224"/>
                  </a:lnTo>
                  <a:lnTo>
                    <a:pt x="109" y="237"/>
                  </a:lnTo>
                  <a:lnTo>
                    <a:pt x="105" y="248"/>
                  </a:lnTo>
                  <a:lnTo>
                    <a:pt x="99" y="259"/>
                  </a:lnTo>
                  <a:lnTo>
                    <a:pt x="92" y="271"/>
                  </a:lnTo>
                  <a:lnTo>
                    <a:pt x="88" y="274"/>
                  </a:lnTo>
                  <a:lnTo>
                    <a:pt x="83" y="278"/>
                  </a:lnTo>
                  <a:lnTo>
                    <a:pt x="83" y="278"/>
                  </a:lnTo>
                  <a:lnTo>
                    <a:pt x="70" y="285"/>
                  </a:lnTo>
                  <a:lnTo>
                    <a:pt x="60" y="291"/>
                  </a:lnTo>
                  <a:lnTo>
                    <a:pt x="55" y="299"/>
                  </a:lnTo>
                  <a:lnTo>
                    <a:pt x="51" y="306"/>
                  </a:lnTo>
                  <a:lnTo>
                    <a:pt x="49" y="312"/>
                  </a:lnTo>
                  <a:lnTo>
                    <a:pt x="49" y="319"/>
                  </a:lnTo>
                  <a:lnTo>
                    <a:pt x="49" y="325"/>
                  </a:lnTo>
                  <a:lnTo>
                    <a:pt x="51" y="330"/>
                  </a:lnTo>
                  <a:lnTo>
                    <a:pt x="58" y="342"/>
                  </a:lnTo>
                  <a:lnTo>
                    <a:pt x="64" y="353"/>
                  </a:lnTo>
                  <a:lnTo>
                    <a:pt x="70" y="362"/>
                  </a:lnTo>
                  <a:lnTo>
                    <a:pt x="71" y="366"/>
                  </a:lnTo>
                  <a:lnTo>
                    <a:pt x="71" y="370"/>
                  </a:lnTo>
                  <a:lnTo>
                    <a:pt x="71" y="370"/>
                  </a:lnTo>
                  <a:lnTo>
                    <a:pt x="73" y="377"/>
                  </a:lnTo>
                  <a:lnTo>
                    <a:pt x="73" y="383"/>
                  </a:lnTo>
                  <a:lnTo>
                    <a:pt x="71" y="388"/>
                  </a:lnTo>
                  <a:lnTo>
                    <a:pt x="70" y="392"/>
                  </a:lnTo>
                  <a:lnTo>
                    <a:pt x="62" y="399"/>
                  </a:lnTo>
                  <a:lnTo>
                    <a:pt x="56" y="405"/>
                  </a:lnTo>
                  <a:lnTo>
                    <a:pt x="56" y="405"/>
                  </a:lnTo>
                  <a:lnTo>
                    <a:pt x="55" y="414"/>
                  </a:lnTo>
                  <a:lnTo>
                    <a:pt x="55" y="420"/>
                  </a:lnTo>
                  <a:lnTo>
                    <a:pt x="58" y="422"/>
                  </a:lnTo>
                  <a:lnTo>
                    <a:pt x="64" y="420"/>
                  </a:lnTo>
                  <a:lnTo>
                    <a:pt x="75" y="413"/>
                  </a:lnTo>
                  <a:lnTo>
                    <a:pt x="83" y="407"/>
                  </a:lnTo>
                  <a:lnTo>
                    <a:pt x="83" y="407"/>
                  </a:lnTo>
                  <a:lnTo>
                    <a:pt x="96" y="403"/>
                  </a:lnTo>
                  <a:lnTo>
                    <a:pt x="99" y="401"/>
                  </a:lnTo>
                  <a:lnTo>
                    <a:pt x="99" y="399"/>
                  </a:lnTo>
                  <a:lnTo>
                    <a:pt x="103" y="396"/>
                  </a:lnTo>
                  <a:lnTo>
                    <a:pt x="105" y="394"/>
                  </a:lnTo>
                  <a:lnTo>
                    <a:pt x="111" y="392"/>
                  </a:lnTo>
                  <a:lnTo>
                    <a:pt x="111" y="392"/>
                  </a:lnTo>
                  <a:lnTo>
                    <a:pt x="124" y="388"/>
                  </a:lnTo>
                  <a:lnTo>
                    <a:pt x="133" y="385"/>
                  </a:lnTo>
                  <a:lnTo>
                    <a:pt x="137" y="379"/>
                  </a:lnTo>
                  <a:lnTo>
                    <a:pt x="141" y="377"/>
                  </a:lnTo>
                  <a:lnTo>
                    <a:pt x="141" y="377"/>
                  </a:lnTo>
                  <a:lnTo>
                    <a:pt x="139" y="381"/>
                  </a:lnTo>
                  <a:lnTo>
                    <a:pt x="139" y="381"/>
                  </a:lnTo>
                  <a:lnTo>
                    <a:pt x="133" y="392"/>
                  </a:lnTo>
                  <a:lnTo>
                    <a:pt x="124" y="401"/>
                  </a:lnTo>
                  <a:lnTo>
                    <a:pt x="113" y="413"/>
                  </a:lnTo>
                  <a:lnTo>
                    <a:pt x="99" y="422"/>
                  </a:lnTo>
                  <a:lnTo>
                    <a:pt x="75" y="439"/>
                  </a:lnTo>
                  <a:lnTo>
                    <a:pt x="68" y="446"/>
                  </a:lnTo>
                  <a:lnTo>
                    <a:pt x="64" y="454"/>
                  </a:lnTo>
                  <a:lnTo>
                    <a:pt x="64" y="454"/>
                  </a:lnTo>
                  <a:lnTo>
                    <a:pt x="64" y="463"/>
                  </a:lnTo>
                  <a:lnTo>
                    <a:pt x="60" y="469"/>
                  </a:lnTo>
                  <a:lnTo>
                    <a:pt x="55" y="472"/>
                  </a:lnTo>
                  <a:lnTo>
                    <a:pt x="49" y="476"/>
                  </a:lnTo>
                  <a:lnTo>
                    <a:pt x="36" y="480"/>
                  </a:lnTo>
                  <a:lnTo>
                    <a:pt x="32" y="484"/>
                  </a:lnTo>
                  <a:lnTo>
                    <a:pt x="28" y="489"/>
                  </a:lnTo>
                  <a:lnTo>
                    <a:pt x="28" y="489"/>
                  </a:lnTo>
                  <a:lnTo>
                    <a:pt x="25" y="495"/>
                  </a:lnTo>
                  <a:lnTo>
                    <a:pt x="19" y="502"/>
                  </a:lnTo>
                  <a:lnTo>
                    <a:pt x="6" y="521"/>
                  </a:lnTo>
                  <a:lnTo>
                    <a:pt x="2" y="528"/>
                  </a:lnTo>
                  <a:lnTo>
                    <a:pt x="0" y="536"/>
                  </a:lnTo>
                  <a:lnTo>
                    <a:pt x="2" y="538"/>
                  </a:lnTo>
                  <a:lnTo>
                    <a:pt x="4" y="540"/>
                  </a:lnTo>
                  <a:lnTo>
                    <a:pt x="10" y="541"/>
                  </a:lnTo>
                  <a:lnTo>
                    <a:pt x="15" y="541"/>
                  </a:lnTo>
                  <a:lnTo>
                    <a:pt x="15" y="541"/>
                  </a:lnTo>
                  <a:lnTo>
                    <a:pt x="43" y="541"/>
                  </a:lnTo>
                  <a:lnTo>
                    <a:pt x="47" y="543"/>
                  </a:lnTo>
                  <a:lnTo>
                    <a:pt x="49" y="545"/>
                  </a:lnTo>
                  <a:lnTo>
                    <a:pt x="49" y="549"/>
                  </a:lnTo>
                  <a:lnTo>
                    <a:pt x="51" y="551"/>
                  </a:lnTo>
                  <a:lnTo>
                    <a:pt x="56" y="553"/>
                  </a:lnTo>
                  <a:lnTo>
                    <a:pt x="56" y="553"/>
                  </a:lnTo>
                  <a:lnTo>
                    <a:pt x="66" y="556"/>
                  </a:lnTo>
                  <a:lnTo>
                    <a:pt x="73" y="562"/>
                  </a:lnTo>
                  <a:lnTo>
                    <a:pt x="77" y="566"/>
                  </a:lnTo>
                  <a:lnTo>
                    <a:pt x="79" y="569"/>
                  </a:lnTo>
                  <a:lnTo>
                    <a:pt x="79" y="577"/>
                  </a:lnTo>
                  <a:lnTo>
                    <a:pt x="79" y="584"/>
                  </a:lnTo>
                  <a:lnTo>
                    <a:pt x="81" y="586"/>
                  </a:lnTo>
                  <a:lnTo>
                    <a:pt x="85" y="588"/>
                  </a:lnTo>
                  <a:lnTo>
                    <a:pt x="90" y="592"/>
                  </a:lnTo>
                  <a:lnTo>
                    <a:pt x="98" y="592"/>
                  </a:lnTo>
                  <a:lnTo>
                    <a:pt x="124" y="594"/>
                  </a:lnTo>
                  <a:lnTo>
                    <a:pt x="169" y="594"/>
                  </a:lnTo>
                  <a:lnTo>
                    <a:pt x="169" y="594"/>
                  </a:lnTo>
                  <a:lnTo>
                    <a:pt x="178" y="588"/>
                  </a:lnTo>
                  <a:lnTo>
                    <a:pt x="180" y="586"/>
                  </a:lnTo>
                  <a:lnTo>
                    <a:pt x="187" y="579"/>
                  </a:lnTo>
                  <a:lnTo>
                    <a:pt x="187" y="579"/>
                  </a:lnTo>
                  <a:lnTo>
                    <a:pt x="191" y="575"/>
                  </a:lnTo>
                  <a:lnTo>
                    <a:pt x="193" y="569"/>
                  </a:lnTo>
                  <a:lnTo>
                    <a:pt x="191" y="556"/>
                  </a:lnTo>
                  <a:lnTo>
                    <a:pt x="193" y="551"/>
                  </a:lnTo>
                  <a:lnTo>
                    <a:pt x="195" y="545"/>
                  </a:lnTo>
                  <a:lnTo>
                    <a:pt x="199" y="541"/>
                  </a:lnTo>
                  <a:lnTo>
                    <a:pt x="206" y="540"/>
                  </a:lnTo>
                  <a:lnTo>
                    <a:pt x="206" y="540"/>
                  </a:lnTo>
                  <a:lnTo>
                    <a:pt x="213" y="540"/>
                  </a:lnTo>
                  <a:lnTo>
                    <a:pt x="219" y="538"/>
                  </a:lnTo>
                  <a:lnTo>
                    <a:pt x="225" y="534"/>
                  </a:lnTo>
                  <a:lnTo>
                    <a:pt x="227" y="532"/>
                  </a:lnTo>
                  <a:lnTo>
                    <a:pt x="228" y="530"/>
                  </a:lnTo>
                  <a:lnTo>
                    <a:pt x="230" y="528"/>
                  </a:lnTo>
                  <a:lnTo>
                    <a:pt x="232" y="530"/>
                  </a:lnTo>
                  <a:lnTo>
                    <a:pt x="232" y="530"/>
                  </a:lnTo>
                  <a:lnTo>
                    <a:pt x="234" y="532"/>
                  </a:lnTo>
                  <a:lnTo>
                    <a:pt x="234" y="532"/>
                  </a:lnTo>
                  <a:lnTo>
                    <a:pt x="217" y="515"/>
                  </a:lnTo>
                  <a:lnTo>
                    <a:pt x="208" y="506"/>
                  </a:lnTo>
                  <a:lnTo>
                    <a:pt x="206" y="500"/>
                  </a:lnTo>
                  <a:lnTo>
                    <a:pt x="208" y="497"/>
                  </a:lnTo>
                  <a:lnTo>
                    <a:pt x="212" y="491"/>
                  </a:lnTo>
                  <a:lnTo>
                    <a:pt x="219" y="484"/>
                  </a:lnTo>
                  <a:lnTo>
                    <a:pt x="219" y="484"/>
                  </a:lnTo>
                  <a:lnTo>
                    <a:pt x="223" y="482"/>
                  </a:lnTo>
                  <a:lnTo>
                    <a:pt x="225" y="482"/>
                  </a:lnTo>
                  <a:lnTo>
                    <a:pt x="228" y="491"/>
                  </a:lnTo>
                  <a:lnTo>
                    <a:pt x="236" y="508"/>
                  </a:lnTo>
                  <a:lnTo>
                    <a:pt x="243" y="517"/>
                  </a:lnTo>
                  <a:lnTo>
                    <a:pt x="255" y="530"/>
                  </a:lnTo>
                  <a:lnTo>
                    <a:pt x="273" y="551"/>
                  </a:lnTo>
                  <a:lnTo>
                    <a:pt x="273" y="551"/>
                  </a:lnTo>
                  <a:lnTo>
                    <a:pt x="294" y="569"/>
                  </a:lnTo>
                  <a:lnTo>
                    <a:pt x="294" y="569"/>
                  </a:lnTo>
                  <a:lnTo>
                    <a:pt x="301" y="577"/>
                  </a:lnTo>
                  <a:lnTo>
                    <a:pt x="301" y="577"/>
                  </a:lnTo>
                  <a:lnTo>
                    <a:pt x="311" y="584"/>
                  </a:lnTo>
                  <a:lnTo>
                    <a:pt x="318" y="588"/>
                  </a:lnTo>
                  <a:lnTo>
                    <a:pt x="326" y="590"/>
                  </a:lnTo>
                  <a:lnTo>
                    <a:pt x="333" y="590"/>
                  </a:lnTo>
                  <a:lnTo>
                    <a:pt x="339" y="588"/>
                  </a:lnTo>
                  <a:lnTo>
                    <a:pt x="344" y="584"/>
                  </a:lnTo>
                  <a:lnTo>
                    <a:pt x="354" y="575"/>
                  </a:lnTo>
                  <a:lnTo>
                    <a:pt x="363" y="566"/>
                  </a:lnTo>
                  <a:lnTo>
                    <a:pt x="367" y="562"/>
                  </a:lnTo>
                  <a:lnTo>
                    <a:pt x="372" y="560"/>
                  </a:lnTo>
                  <a:lnTo>
                    <a:pt x="376" y="560"/>
                  </a:lnTo>
                  <a:lnTo>
                    <a:pt x="382" y="562"/>
                  </a:lnTo>
                  <a:lnTo>
                    <a:pt x="385" y="566"/>
                  </a:lnTo>
                  <a:lnTo>
                    <a:pt x="391" y="573"/>
                  </a:lnTo>
                  <a:lnTo>
                    <a:pt x="391" y="573"/>
                  </a:lnTo>
                  <a:lnTo>
                    <a:pt x="398" y="584"/>
                  </a:lnTo>
                  <a:lnTo>
                    <a:pt x="406" y="590"/>
                  </a:lnTo>
                  <a:lnTo>
                    <a:pt x="412" y="594"/>
                  </a:lnTo>
                  <a:lnTo>
                    <a:pt x="417" y="594"/>
                  </a:lnTo>
                  <a:lnTo>
                    <a:pt x="423" y="592"/>
                  </a:lnTo>
                  <a:lnTo>
                    <a:pt x="427" y="590"/>
                  </a:lnTo>
                  <a:lnTo>
                    <a:pt x="428" y="584"/>
                  </a:lnTo>
                  <a:lnTo>
                    <a:pt x="430" y="581"/>
                  </a:lnTo>
                  <a:lnTo>
                    <a:pt x="430" y="581"/>
                  </a:lnTo>
                  <a:lnTo>
                    <a:pt x="434" y="564"/>
                  </a:lnTo>
                  <a:lnTo>
                    <a:pt x="436" y="553"/>
                  </a:lnTo>
                  <a:lnTo>
                    <a:pt x="440" y="549"/>
                  </a:lnTo>
                  <a:lnTo>
                    <a:pt x="443" y="549"/>
                  </a:lnTo>
                  <a:lnTo>
                    <a:pt x="451" y="551"/>
                  </a:lnTo>
                  <a:lnTo>
                    <a:pt x="455" y="551"/>
                  </a:lnTo>
                  <a:lnTo>
                    <a:pt x="458" y="545"/>
                  </a:lnTo>
                  <a:lnTo>
                    <a:pt x="458" y="545"/>
                  </a:lnTo>
                  <a:lnTo>
                    <a:pt x="466" y="530"/>
                  </a:lnTo>
                  <a:lnTo>
                    <a:pt x="469" y="519"/>
                  </a:lnTo>
                  <a:lnTo>
                    <a:pt x="473" y="506"/>
                  </a:lnTo>
                  <a:lnTo>
                    <a:pt x="477" y="502"/>
                  </a:lnTo>
                  <a:lnTo>
                    <a:pt x="484" y="498"/>
                  </a:lnTo>
                  <a:lnTo>
                    <a:pt x="518" y="489"/>
                  </a:lnTo>
                  <a:lnTo>
                    <a:pt x="518" y="489"/>
                  </a:lnTo>
                  <a:lnTo>
                    <a:pt x="522" y="487"/>
                  </a:lnTo>
                  <a:lnTo>
                    <a:pt x="522" y="487"/>
                  </a:lnTo>
                  <a:lnTo>
                    <a:pt x="526" y="485"/>
                  </a:lnTo>
                  <a:lnTo>
                    <a:pt x="529" y="482"/>
                  </a:lnTo>
                  <a:lnTo>
                    <a:pt x="535" y="472"/>
                  </a:lnTo>
                  <a:lnTo>
                    <a:pt x="541" y="459"/>
                  </a:lnTo>
                  <a:lnTo>
                    <a:pt x="544" y="446"/>
                  </a:lnTo>
                  <a:lnTo>
                    <a:pt x="550" y="431"/>
                  </a:lnTo>
                  <a:lnTo>
                    <a:pt x="554" y="420"/>
                  </a:lnTo>
                  <a:lnTo>
                    <a:pt x="561" y="411"/>
                  </a:lnTo>
                  <a:lnTo>
                    <a:pt x="565" y="407"/>
                  </a:lnTo>
                  <a:lnTo>
                    <a:pt x="570" y="405"/>
                  </a:lnTo>
                  <a:lnTo>
                    <a:pt x="570" y="405"/>
                  </a:lnTo>
                  <a:lnTo>
                    <a:pt x="576" y="401"/>
                  </a:lnTo>
                  <a:lnTo>
                    <a:pt x="583" y="396"/>
                  </a:lnTo>
                  <a:lnTo>
                    <a:pt x="591" y="388"/>
                  </a:lnTo>
                  <a:lnTo>
                    <a:pt x="598" y="377"/>
                  </a:lnTo>
                  <a:lnTo>
                    <a:pt x="604" y="368"/>
                  </a:lnTo>
                  <a:lnTo>
                    <a:pt x="608" y="356"/>
                  </a:lnTo>
                  <a:lnTo>
                    <a:pt x="610" y="349"/>
                  </a:lnTo>
                  <a:lnTo>
                    <a:pt x="608" y="345"/>
                  </a:lnTo>
                  <a:lnTo>
                    <a:pt x="606" y="342"/>
                  </a:lnTo>
                  <a:lnTo>
                    <a:pt x="606" y="342"/>
                  </a:lnTo>
                  <a:lnTo>
                    <a:pt x="600" y="334"/>
                  </a:lnTo>
                  <a:lnTo>
                    <a:pt x="600" y="327"/>
                  </a:lnTo>
                  <a:lnTo>
                    <a:pt x="604" y="323"/>
                  </a:lnTo>
                  <a:lnTo>
                    <a:pt x="608" y="319"/>
                  </a:lnTo>
                  <a:lnTo>
                    <a:pt x="615" y="317"/>
                  </a:lnTo>
                  <a:lnTo>
                    <a:pt x="621" y="319"/>
                  </a:lnTo>
                  <a:lnTo>
                    <a:pt x="625" y="325"/>
                  </a:lnTo>
                  <a:lnTo>
                    <a:pt x="625" y="334"/>
                  </a:lnTo>
                  <a:lnTo>
                    <a:pt x="625" y="334"/>
                  </a:lnTo>
                  <a:lnTo>
                    <a:pt x="626" y="338"/>
                  </a:lnTo>
                  <a:lnTo>
                    <a:pt x="630" y="340"/>
                  </a:lnTo>
                  <a:lnTo>
                    <a:pt x="636" y="340"/>
                  </a:lnTo>
                  <a:lnTo>
                    <a:pt x="643" y="336"/>
                  </a:lnTo>
                  <a:lnTo>
                    <a:pt x="656" y="328"/>
                  </a:lnTo>
                  <a:lnTo>
                    <a:pt x="662" y="325"/>
                  </a:lnTo>
                  <a:lnTo>
                    <a:pt x="664" y="321"/>
                  </a:lnTo>
                  <a:lnTo>
                    <a:pt x="664" y="321"/>
                  </a:lnTo>
                  <a:lnTo>
                    <a:pt x="662" y="310"/>
                  </a:lnTo>
                  <a:lnTo>
                    <a:pt x="660" y="299"/>
                  </a:lnTo>
                  <a:lnTo>
                    <a:pt x="658" y="293"/>
                  </a:lnTo>
                  <a:lnTo>
                    <a:pt x="660" y="287"/>
                  </a:lnTo>
                  <a:lnTo>
                    <a:pt x="662" y="284"/>
                  </a:lnTo>
                  <a:lnTo>
                    <a:pt x="668" y="280"/>
                  </a:lnTo>
                  <a:lnTo>
                    <a:pt x="668" y="280"/>
                  </a:lnTo>
                  <a:lnTo>
                    <a:pt x="673" y="280"/>
                  </a:lnTo>
                  <a:lnTo>
                    <a:pt x="683" y="280"/>
                  </a:lnTo>
                  <a:lnTo>
                    <a:pt x="686" y="280"/>
                  </a:lnTo>
                  <a:lnTo>
                    <a:pt x="688" y="276"/>
                  </a:lnTo>
                  <a:lnTo>
                    <a:pt x="688" y="271"/>
                  </a:lnTo>
                  <a:lnTo>
                    <a:pt x="683" y="261"/>
                  </a:lnTo>
                  <a:lnTo>
                    <a:pt x="683" y="261"/>
                  </a:lnTo>
                  <a:lnTo>
                    <a:pt x="681" y="257"/>
                  </a:lnTo>
                  <a:lnTo>
                    <a:pt x="677" y="256"/>
                  </a:lnTo>
                  <a:lnTo>
                    <a:pt x="668" y="256"/>
                  </a:lnTo>
                  <a:lnTo>
                    <a:pt x="664" y="256"/>
                  </a:lnTo>
                  <a:lnTo>
                    <a:pt x="675" y="252"/>
                  </a:lnTo>
                  <a:lnTo>
                    <a:pt x="675" y="252"/>
                  </a:lnTo>
                  <a:lnTo>
                    <a:pt x="705" y="244"/>
                  </a:lnTo>
                  <a:lnTo>
                    <a:pt x="731" y="233"/>
                  </a:lnTo>
                  <a:lnTo>
                    <a:pt x="757" y="218"/>
                  </a:lnTo>
                  <a:lnTo>
                    <a:pt x="782" y="201"/>
                  </a:lnTo>
                  <a:lnTo>
                    <a:pt x="782" y="201"/>
                  </a:lnTo>
                  <a:lnTo>
                    <a:pt x="793" y="196"/>
                  </a:lnTo>
                  <a:lnTo>
                    <a:pt x="806" y="192"/>
                  </a:lnTo>
                  <a:lnTo>
                    <a:pt x="811" y="192"/>
                  </a:lnTo>
                  <a:lnTo>
                    <a:pt x="817" y="194"/>
                  </a:lnTo>
                  <a:lnTo>
                    <a:pt x="821" y="198"/>
                  </a:lnTo>
                  <a:lnTo>
                    <a:pt x="826" y="201"/>
                  </a:lnTo>
                  <a:lnTo>
                    <a:pt x="826" y="201"/>
                  </a:lnTo>
                  <a:lnTo>
                    <a:pt x="830" y="205"/>
                  </a:lnTo>
                  <a:lnTo>
                    <a:pt x="838" y="205"/>
                  </a:lnTo>
                  <a:lnTo>
                    <a:pt x="843" y="203"/>
                  </a:lnTo>
                  <a:lnTo>
                    <a:pt x="849" y="200"/>
                  </a:lnTo>
                  <a:lnTo>
                    <a:pt x="853" y="194"/>
                  </a:lnTo>
                  <a:lnTo>
                    <a:pt x="854" y="188"/>
                  </a:lnTo>
                  <a:lnTo>
                    <a:pt x="853" y="183"/>
                  </a:lnTo>
                  <a:lnTo>
                    <a:pt x="847" y="179"/>
                  </a:lnTo>
                  <a:lnTo>
                    <a:pt x="847" y="179"/>
                  </a:lnTo>
                  <a:lnTo>
                    <a:pt x="845" y="175"/>
                  </a:lnTo>
                  <a:lnTo>
                    <a:pt x="845" y="172"/>
                  </a:lnTo>
                  <a:lnTo>
                    <a:pt x="849" y="162"/>
                  </a:lnTo>
                  <a:lnTo>
                    <a:pt x="854" y="153"/>
                  </a:lnTo>
                  <a:lnTo>
                    <a:pt x="856" y="147"/>
                  </a:lnTo>
                  <a:lnTo>
                    <a:pt x="856" y="143"/>
                  </a:lnTo>
                  <a:lnTo>
                    <a:pt x="856" y="143"/>
                  </a:lnTo>
                  <a:lnTo>
                    <a:pt x="858" y="138"/>
                  </a:lnTo>
                  <a:lnTo>
                    <a:pt x="860" y="132"/>
                  </a:lnTo>
                  <a:lnTo>
                    <a:pt x="862" y="123"/>
                  </a:lnTo>
                  <a:lnTo>
                    <a:pt x="862" y="119"/>
                  </a:lnTo>
                  <a:lnTo>
                    <a:pt x="858" y="119"/>
                  </a:lnTo>
                  <a:lnTo>
                    <a:pt x="853" y="119"/>
                  </a:lnTo>
                  <a:lnTo>
                    <a:pt x="841" y="123"/>
                  </a:lnTo>
                  <a:lnTo>
                    <a:pt x="841" y="123"/>
                  </a:lnTo>
                  <a:lnTo>
                    <a:pt x="832" y="125"/>
                  </a:lnTo>
                  <a:lnTo>
                    <a:pt x="825" y="123"/>
                  </a:lnTo>
                  <a:lnTo>
                    <a:pt x="817" y="121"/>
                  </a:lnTo>
                  <a:lnTo>
                    <a:pt x="811" y="117"/>
                  </a:lnTo>
                  <a:lnTo>
                    <a:pt x="806" y="114"/>
                  </a:lnTo>
                  <a:lnTo>
                    <a:pt x="800" y="112"/>
                  </a:lnTo>
                  <a:lnTo>
                    <a:pt x="795" y="112"/>
                  </a:lnTo>
                  <a:lnTo>
                    <a:pt x="789" y="114"/>
                  </a:lnTo>
                  <a:lnTo>
                    <a:pt x="789" y="114"/>
                  </a:lnTo>
                  <a:lnTo>
                    <a:pt x="783" y="119"/>
                  </a:lnTo>
                  <a:lnTo>
                    <a:pt x="778" y="123"/>
                  </a:lnTo>
                  <a:lnTo>
                    <a:pt x="767" y="127"/>
                  </a:lnTo>
                  <a:lnTo>
                    <a:pt x="755" y="129"/>
                  </a:lnTo>
                  <a:lnTo>
                    <a:pt x="742" y="129"/>
                  </a:lnTo>
                  <a:lnTo>
                    <a:pt x="742" y="129"/>
                  </a:lnTo>
                  <a:lnTo>
                    <a:pt x="739" y="129"/>
                  </a:lnTo>
                  <a:lnTo>
                    <a:pt x="735" y="129"/>
                  </a:lnTo>
                  <a:lnTo>
                    <a:pt x="729" y="121"/>
                  </a:lnTo>
                  <a:lnTo>
                    <a:pt x="726" y="119"/>
                  </a:lnTo>
                  <a:lnTo>
                    <a:pt x="722" y="115"/>
                  </a:lnTo>
                  <a:lnTo>
                    <a:pt x="716" y="114"/>
                  </a:lnTo>
                  <a:lnTo>
                    <a:pt x="709" y="114"/>
                  </a:lnTo>
                  <a:lnTo>
                    <a:pt x="709" y="114"/>
                  </a:lnTo>
                  <a:lnTo>
                    <a:pt x="699" y="112"/>
                  </a:lnTo>
                  <a:lnTo>
                    <a:pt x="692" y="108"/>
                  </a:lnTo>
                  <a:lnTo>
                    <a:pt x="675" y="95"/>
                  </a:lnTo>
                  <a:lnTo>
                    <a:pt x="668" y="89"/>
                  </a:lnTo>
                  <a:lnTo>
                    <a:pt x="658" y="86"/>
                  </a:lnTo>
                  <a:lnTo>
                    <a:pt x="655" y="86"/>
                  </a:lnTo>
                  <a:lnTo>
                    <a:pt x="649" y="86"/>
                  </a:lnTo>
                  <a:lnTo>
                    <a:pt x="643" y="87"/>
                  </a:lnTo>
                  <a:lnTo>
                    <a:pt x="638" y="91"/>
                  </a:lnTo>
                  <a:lnTo>
                    <a:pt x="638" y="91"/>
                  </a:lnTo>
                  <a:lnTo>
                    <a:pt x="625" y="99"/>
                  </a:lnTo>
                  <a:lnTo>
                    <a:pt x="613" y="104"/>
                  </a:lnTo>
                  <a:lnTo>
                    <a:pt x="608" y="108"/>
                  </a:lnTo>
                  <a:lnTo>
                    <a:pt x="602" y="112"/>
                  </a:lnTo>
                  <a:lnTo>
                    <a:pt x="598" y="117"/>
                  </a:lnTo>
                  <a:lnTo>
                    <a:pt x="597" y="125"/>
                  </a:lnTo>
                  <a:lnTo>
                    <a:pt x="597" y="125"/>
                  </a:lnTo>
                  <a:lnTo>
                    <a:pt x="593" y="132"/>
                  </a:lnTo>
                  <a:lnTo>
                    <a:pt x="587" y="138"/>
                  </a:lnTo>
                  <a:lnTo>
                    <a:pt x="576" y="149"/>
                  </a:lnTo>
                  <a:lnTo>
                    <a:pt x="570" y="155"/>
                  </a:lnTo>
                  <a:lnTo>
                    <a:pt x="565" y="160"/>
                  </a:lnTo>
                  <a:lnTo>
                    <a:pt x="559" y="168"/>
                  </a:lnTo>
                  <a:lnTo>
                    <a:pt x="555" y="179"/>
                  </a:lnTo>
                  <a:lnTo>
                    <a:pt x="555" y="179"/>
                  </a:lnTo>
                  <a:lnTo>
                    <a:pt x="552" y="186"/>
                  </a:lnTo>
                  <a:lnTo>
                    <a:pt x="546" y="194"/>
                  </a:lnTo>
                  <a:lnTo>
                    <a:pt x="539" y="198"/>
                  </a:lnTo>
                  <a:lnTo>
                    <a:pt x="529" y="201"/>
                  </a:lnTo>
                  <a:lnTo>
                    <a:pt x="520" y="203"/>
                  </a:lnTo>
                  <a:lnTo>
                    <a:pt x="509" y="205"/>
                  </a:lnTo>
                  <a:lnTo>
                    <a:pt x="498" y="203"/>
                  </a:lnTo>
                  <a:lnTo>
                    <a:pt x="486" y="201"/>
                  </a:lnTo>
                  <a:lnTo>
                    <a:pt x="475" y="200"/>
                  </a:lnTo>
                  <a:lnTo>
                    <a:pt x="466" y="196"/>
                  </a:lnTo>
                  <a:lnTo>
                    <a:pt x="456" y="192"/>
                  </a:lnTo>
                  <a:lnTo>
                    <a:pt x="451" y="186"/>
                  </a:lnTo>
                  <a:lnTo>
                    <a:pt x="445" y="181"/>
                  </a:lnTo>
                  <a:lnTo>
                    <a:pt x="443" y="173"/>
                  </a:lnTo>
                  <a:lnTo>
                    <a:pt x="445" y="168"/>
                  </a:lnTo>
                  <a:lnTo>
                    <a:pt x="449" y="160"/>
                  </a:lnTo>
                  <a:lnTo>
                    <a:pt x="449" y="160"/>
                  </a:lnTo>
                  <a:lnTo>
                    <a:pt x="453" y="151"/>
                  </a:lnTo>
                  <a:lnTo>
                    <a:pt x="456" y="138"/>
                  </a:lnTo>
                  <a:lnTo>
                    <a:pt x="458" y="125"/>
                  </a:lnTo>
                  <a:lnTo>
                    <a:pt x="456" y="119"/>
                  </a:lnTo>
                  <a:lnTo>
                    <a:pt x="455" y="117"/>
                  </a:lnTo>
                  <a:lnTo>
                    <a:pt x="455" y="117"/>
                  </a:lnTo>
                  <a:lnTo>
                    <a:pt x="449" y="112"/>
                  </a:lnTo>
                  <a:lnTo>
                    <a:pt x="447" y="108"/>
                  </a:lnTo>
                  <a:lnTo>
                    <a:pt x="447" y="104"/>
                  </a:lnTo>
                  <a:lnTo>
                    <a:pt x="449" y="100"/>
                  </a:lnTo>
                  <a:lnTo>
                    <a:pt x="451" y="97"/>
                  </a:lnTo>
                  <a:lnTo>
                    <a:pt x="451" y="93"/>
                  </a:lnTo>
                  <a:lnTo>
                    <a:pt x="447" y="86"/>
                  </a:lnTo>
                  <a:lnTo>
                    <a:pt x="440" y="78"/>
                  </a:lnTo>
                  <a:lnTo>
                    <a:pt x="440" y="78"/>
                  </a:lnTo>
                  <a:close/>
                  <a:moveTo>
                    <a:pt x="651" y="0"/>
                  </a:moveTo>
                  <a:lnTo>
                    <a:pt x="651" y="0"/>
                  </a:lnTo>
                  <a:lnTo>
                    <a:pt x="651" y="3"/>
                  </a:lnTo>
                  <a:lnTo>
                    <a:pt x="651" y="9"/>
                  </a:lnTo>
                  <a:lnTo>
                    <a:pt x="651" y="13"/>
                  </a:lnTo>
                  <a:lnTo>
                    <a:pt x="653" y="13"/>
                  </a:lnTo>
                  <a:lnTo>
                    <a:pt x="656" y="11"/>
                  </a:lnTo>
                  <a:lnTo>
                    <a:pt x="662" y="5"/>
                  </a:lnTo>
                  <a:lnTo>
                    <a:pt x="662" y="5"/>
                  </a:lnTo>
                  <a:lnTo>
                    <a:pt x="664" y="3"/>
                  </a:lnTo>
                  <a:lnTo>
                    <a:pt x="664" y="1"/>
                  </a:lnTo>
                  <a:lnTo>
                    <a:pt x="660" y="0"/>
                  </a:lnTo>
                  <a:lnTo>
                    <a:pt x="651" y="0"/>
                  </a:lnTo>
                  <a:lnTo>
                    <a:pt x="651" y="0"/>
                  </a:lnTo>
                  <a:close/>
                  <a:moveTo>
                    <a:pt x="649" y="15"/>
                  </a:moveTo>
                  <a:lnTo>
                    <a:pt x="649" y="15"/>
                  </a:lnTo>
                  <a:lnTo>
                    <a:pt x="643" y="15"/>
                  </a:lnTo>
                  <a:lnTo>
                    <a:pt x="640" y="15"/>
                  </a:lnTo>
                  <a:lnTo>
                    <a:pt x="638" y="15"/>
                  </a:lnTo>
                  <a:lnTo>
                    <a:pt x="638" y="15"/>
                  </a:lnTo>
                  <a:lnTo>
                    <a:pt x="638" y="16"/>
                  </a:lnTo>
                  <a:lnTo>
                    <a:pt x="640" y="20"/>
                  </a:lnTo>
                  <a:lnTo>
                    <a:pt x="647" y="26"/>
                  </a:lnTo>
                  <a:lnTo>
                    <a:pt x="651" y="28"/>
                  </a:lnTo>
                  <a:lnTo>
                    <a:pt x="653" y="26"/>
                  </a:lnTo>
                  <a:lnTo>
                    <a:pt x="653" y="22"/>
                  </a:lnTo>
                  <a:lnTo>
                    <a:pt x="649" y="15"/>
                  </a:lnTo>
                  <a:lnTo>
                    <a:pt x="649" y="15"/>
                  </a:lnTo>
                  <a:close/>
                  <a:moveTo>
                    <a:pt x="649" y="37"/>
                  </a:moveTo>
                  <a:lnTo>
                    <a:pt x="649" y="37"/>
                  </a:lnTo>
                  <a:lnTo>
                    <a:pt x="641" y="35"/>
                  </a:lnTo>
                  <a:lnTo>
                    <a:pt x="634" y="37"/>
                  </a:lnTo>
                  <a:lnTo>
                    <a:pt x="626" y="39"/>
                  </a:lnTo>
                  <a:lnTo>
                    <a:pt x="623" y="43"/>
                  </a:lnTo>
                  <a:lnTo>
                    <a:pt x="621" y="48"/>
                  </a:lnTo>
                  <a:lnTo>
                    <a:pt x="623" y="50"/>
                  </a:lnTo>
                  <a:lnTo>
                    <a:pt x="628" y="50"/>
                  </a:lnTo>
                  <a:lnTo>
                    <a:pt x="638" y="44"/>
                  </a:lnTo>
                  <a:lnTo>
                    <a:pt x="638" y="44"/>
                  </a:lnTo>
                  <a:lnTo>
                    <a:pt x="649" y="43"/>
                  </a:lnTo>
                  <a:lnTo>
                    <a:pt x="651" y="41"/>
                  </a:lnTo>
                  <a:lnTo>
                    <a:pt x="651" y="39"/>
                  </a:lnTo>
                  <a:lnTo>
                    <a:pt x="649" y="37"/>
                  </a:lnTo>
                  <a:lnTo>
                    <a:pt x="649" y="37"/>
                  </a:lnTo>
                  <a:close/>
                  <a:moveTo>
                    <a:pt x="658" y="52"/>
                  </a:moveTo>
                  <a:lnTo>
                    <a:pt x="658" y="52"/>
                  </a:lnTo>
                  <a:lnTo>
                    <a:pt x="656" y="56"/>
                  </a:lnTo>
                  <a:lnTo>
                    <a:pt x="660" y="61"/>
                  </a:lnTo>
                  <a:lnTo>
                    <a:pt x="662" y="61"/>
                  </a:lnTo>
                  <a:lnTo>
                    <a:pt x="664" y="63"/>
                  </a:lnTo>
                  <a:lnTo>
                    <a:pt x="666" y="61"/>
                  </a:lnTo>
                  <a:lnTo>
                    <a:pt x="666" y="58"/>
                  </a:lnTo>
                  <a:lnTo>
                    <a:pt x="666" y="58"/>
                  </a:lnTo>
                  <a:lnTo>
                    <a:pt x="668" y="54"/>
                  </a:lnTo>
                  <a:lnTo>
                    <a:pt x="668" y="52"/>
                  </a:lnTo>
                  <a:lnTo>
                    <a:pt x="666" y="50"/>
                  </a:lnTo>
                  <a:lnTo>
                    <a:pt x="664" y="50"/>
                  </a:lnTo>
                  <a:lnTo>
                    <a:pt x="660" y="50"/>
                  </a:lnTo>
                  <a:lnTo>
                    <a:pt x="658" y="52"/>
                  </a:lnTo>
                  <a:lnTo>
                    <a:pt x="658" y="52"/>
                  </a:lnTo>
                  <a:close/>
                  <a:moveTo>
                    <a:pt x="640" y="78"/>
                  </a:moveTo>
                  <a:lnTo>
                    <a:pt x="640" y="78"/>
                  </a:lnTo>
                  <a:lnTo>
                    <a:pt x="643" y="84"/>
                  </a:lnTo>
                  <a:lnTo>
                    <a:pt x="645" y="84"/>
                  </a:lnTo>
                  <a:lnTo>
                    <a:pt x="647" y="80"/>
                  </a:lnTo>
                  <a:lnTo>
                    <a:pt x="647" y="76"/>
                  </a:lnTo>
                  <a:lnTo>
                    <a:pt x="643" y="71"/>
                  </a:lnTo>
                  <a:lnTo>
                    <a:pt x="640" y="67"/>
                  </a:lnTo>
                  <a:lnTo>
                    <a:pt x="632" y="65"/>
                  </a:lnTo>
                  <a:lnTo>
                    <a:pt x="621" y="65"/>
                  </a:lnTo>
                  <a:lnTo>
                    <a:pt x="621" y="65"/>
                  </a:lnTo>
                  <a:lnTo>
                    <a:pt x="619" y="67"/>
                  </a:lnTo>
                  <a:lnTo>
                    <a:pt x="619" y="69"/>
                  </a:lnTo>
                  <a:lnTo>
                    <a:pt x="619" y="69"/>
                  </a:lnTo>
                  <a:lnTo>
                    <a:pt x="621" y="72"/>
                  </a:lnTo>
                  <a:lnTo>
                    <a:pt x="623" y="72"/>
                  </a:lnTo>
                  <a:lnTo>
                    <a:pt x="626" y="72"/>
                  </a:lnTo>
                  <a:lnTo>
                    <a:pt x="634" y="74"/>
                  </a:lnTo>
                  <a:lnTo>
                    <a:pt x="636" y="76"/>
                  </a:lnTo>
                  <a:lnTo>
                    <a:pt x="640" y="78"/>
                  </a:lnTo>
                  <a:lnTo>
                    <a:pt x="640" y="7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Line 12">
              <a:extLst>
                <a:ext uri="{FF2B5EF4-FFF2-40B4-BE49-F238E27FC236}">
                  <a16:creationId xmlns:a16="http://schemas.microsoft.com/office/drawing/2014/main" id="{07EC955B-F115-4678-B727-3136159C1162}"/>
                </a:ext>
              </a:extLst>
            </p:cNvPr>
            <p:cNvSpPr>
              <a:spLocks noChangeShapeType="1"/>
            </p:cNvSpPr>
            <p:nvPr/>
          </p:nvSpPr>
          <p:spPr bwMode="auto">
            <a:xfrm>
              <a:off x="5916329" y="3985165"/>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13">
              <a:extLst>
                <a:ext uri="{FF2B5EF4-FFF2-40B4-BE49-F238E27FC236}">
                  <a16:creationId xmlns:a16="http://schemas.microsoft.com/office/drawing/2014/main" id="{9E11D270-90A2-4D5E-969A-FE1EAA66FF9A}"/>
                </a:ext>
              </a:extLst>
            </p:cNvPr>
            <p:cNvSpPr>
              <a:spLocks/>
            </p:cNvSpPr>
            <p:nvPr/>
          </p:nvSpPr>
          <p:spPr bwMode="auto">
            <a:xfrm>
              <a:off x="5789162" y="3701765"/>
              <a:ext cx="781165" cy="479599"/>
            </a:xfrm>
            <a:custGeom>
              <a:avLst/>
              <a:gdLst/>
              <a:ahLst/>
              <a:cxnLst>
                <a:cxn ang="0">
                  <a:pos x="412" y="17"/>
                </a:cxn>
                <a:cxn ang="0">
                  <a:pos x="367" y="22"/>
                </a:cxn>
                <a:cxn ang="0">
                  <a:pos x="333" y="13"/>
                </a:cxn>
                <a:cxn ang="0">
                  <a:pos x="309" y="15"/>
                </a:cxn>
                <a:cxn ang="0">
                  <a:pos x="286" y="28"/>
                </a:cxn>
                <a:cxn ang="0">
                  <a:pos x="245" y="58"/>
                </a:cxn>
                <a:cxn ang="0">
                  <a:pos x="176" y="103"/>
                </a:cxn>
                <a:cxn ang="0">
                  <a:pos x="157" y="103"/>
                </a:cxn>
                <a:cxn ang="0">
                  <a:pos x="133" y="135"/>
                </a:cxn>
                <a:cxn ang="0">
                  <a:pos x="92" y="206"/>
                </a:cxn>
                <a:cxn ang="0">
                  <a:pos x="51" y="241"/>
                </a:cxn>
                <a:cxn ang="0">
                  <a:pos x="70" y="297"/>
                </a:cxn>
                <a:cxn ang="0">
                  <a:pos x="70" y="327"/>
                </a:cxn>
                <a:cxn ang="0">
                  <a:pos x="64" y="355"/>
                </a:cxn>
                <a:cxn ang="0">
                  <a:pos x="103" y="331"/>
                </a:cxn>
                <a:cxn ang="0">
                  <a:pos x="141" y="312"/>
                </a:cxn>
                <a:cxn ang="0">
                  <a:pos x="99" y="357"/>
                </a:cxn>
                <a:cxn ang="0">
                  <a:pos x="55" y="407"/>
                </a:cxn>
                <a:cxn ang="0">
                  <a:pos x="19" y="437"/>
                </a:cxn>
                <a:cxn ang="0">
                  <a:pos x="15" y="476"/>
                </a:cxn>
                <a:cxn ang="0">
                  <a:pos x="56" y="488"/>
                </a:cxn>
                <a:cxn ang="0">
                  <a:pos x="79" y="519"/>
                </a:cxn>
                <a:cxn ang="0">
                  <a:pos x="169" y="529"/>
                </a:cxn>
                <a:cxn ang="0">
                  <a:pos x="191" y="491"/>
                </a:cxn>
                <a:cxn ang="0">
                  <a:pos x="219" y="473"/>
                </a:cxn>
                <a:cxn ang="0">
                  <a:pos x="234" y="467"/>
                </a:cxn>
                <a:cxn ang="0">
                  <a:pos x="219" y="419"/>
                </a:cxn>
                <a:cxn ang="0">
                  <a:pos x="255" y="465"/>
                </a:cxn>
                <a:cxn ang="0">
                  <a:pos x="311" y="519"/>
                </a:cxn>
                <a:cxn ang="0">
                  <a:pos x="363" y="501"/>
                </a:cxn>
                <a:cxn ang="0">
                  <a:pos x="391" y="508"/>
                </a:cxn>
                <a:cxn ang="0">
                  <a:pos x="428" y="519"/>
                </a:cxn>
                <a:cxn ang="0">
                  <a:pos x="451" y="486"/>
                </a:cxn>
                <a:cxn ang="0">
                  <a:pos x="477" y="437"/>
                </a:cxn>
                <a:cxn ang="0">
                  <a:pos x="529" y="417"/>
                </a:cxn>
                <a:cxn ang="0">
                  <a:pos x="565" y="342"/>
                </a:cxn>
                <a:cxn ang="0">
                  <a:pos x="604" y="303"/>
                </a:cxn>
                <a:cxn ang="0">
                  <a:pos x="600" y="262"/>
                </a:cxn>
                <a:cxn ang="0">
                  <a:pos x="625" y="269"/>
                </a:cxn>
                <a:cxn ang="0">
                  <a:pos x="664" y="256"/>
                </a:cxn>
                <a:cxn ang="0">
                  <a:pos x="668" y="215"/>
                </a:cxn>
                <a:cxn ang="0">
                  <a:pos x="683" y="196"/>
                </a:cxn>
                <a:cxn ang="0">
                  <a:pos x="675" y="187"/>
                </a:cxn>
                <a:cxn ang="0">
                  <a:pos x="806" y="127"/>
                </a:cxn>
                <a:cxn ang="0">
                  <a:pos x="838" y="140"/>
                </a:cxn>
                <a:cxn ang="0">
                  <a:pos x="847" y="114"/>
                </a:cxn>
                <a:cxn ang="0">
                  <a:pos x="856" y="78"/>
                </a:cxn>
                <a:cxn ang="0">
                  <a:pos x="841" y="58"/>
                </a:cxn>
                <a:cxn ang="0">
                  <a:pos x="800" y="47"/>
                </a:cxn>
                <a:cxn ang="0">
                  <a:pos x="755" y="64"/>
                </a:cxn>
                <a:cxn ang="0">
                  <a:pos x="722" y="50"/>
                </a:cxn>
                <a:cxn ang="0">
                  <a:pos x="668" y="24"/>
                </a:cxn>
                <a:cxn ang="0">
                  <a:pos x="625" y="34"/>
                </a:cxn>
                <a:cxn ang="0">
                  <a:pos x="593" y="67"/>
                </a:cxn>
                <a:cxn ang="0">
                  <a:pos x="555" y="114"/>
                </a:cxn>
                <a:cxn ang="0">
                  <a:pos x="498" y="138"/>
                </a:cxn>
                <a:cxn ang="0">
                  <a:pos x="443" y="108"/>
                </a:cxn>
                <a:cxn ang="0">
                  <a:pos x="456" y="54"/>
                </a:cxn>
                <a:cxn ang="0">
                  <a:pos x="451" y="32"/>
                </a:cxn>
              </a:cxnLst>
              <a:rect l="0" t="0" r="r" b="b"/>
              <a:pathLst>
                <a:path w="862" h="529">
                  <a:moveTo>
                    <a:pt x="440" y="13"/>
                  </a:moveTo>
                  <a:lnTo>
                    <a:pt x="440" y="13"/>
                  </a:lnTo>
                  <a:lnTo>
                    <a:pt x="430" y="7"/>
                  </a:lnTo>
                  <a:lnTo>
                    <a:pt x="425" y="6"/>
                  </a:lnTo>
                  <a:lnTo>
                    <a:pt x="419" y="7"/>
                  </a:lnTo>
                  <a:lnTo>
                    <a:pt x="415" y="11"/>
                  </a:lnTo>
                  <a:lnTo>
                    <a:pt x="412" y="17"/>
                  </a:lnTo>
                  <a:lnTo>
                    <a:pt x="406" y="21"/>
                  </a:lnTo>
                  <a:lnTo>
                    <a:pt x="398" y="22"/>
                  </a:lnTo>
                  <a:lnTo>
                    <a:pt x="389" y="19"/>
                  </a:lnTo>
                  <a:lnTo>
                    <a:pt x="389" y="19"/>
                  </a:lnTo>
                  <a:lnTo>
                    <a:pt x="380" y="17"/>
                  </a:lnTo>
                  <a:lnTo>
                    <a:pt x="372" y="19"/>
                  </a:lnTo>
                  <a:lnTo>
                    <a:pt x="367" y="22"/>
                  </a:lnTo>
                  <a:lnTo>
                    <a:pt x="361" y="26"/>
                  </a:lnTo>
                  <a:lnTo>
                    <a:pt x="357" y="30"/>
                  </a:lnTo>
                  <a:lnTo>
                    <a:pt x="352" y="30"/>
                  </a:lnTo>
                  <a:lnTo>
                    <a:pt x="346" y="28"/>
                  </a:lnTo>
                  <a:lnTo>
                    <a:pt x="341" y="21"/>
                  </a:lnTo>
                  <a:lnTo>
                    <a:pt x="341" y="21"/>
                  </a:lnTo>
                  <a:lnTo>
                    <a:pt x="333" y="13"/>
                  </a:lnTo>
                  <a:lnTo>
                    <a:pt x="326" y="6"/>
                  </a:lnTo>
                  <a:lnTo>
                    <a:pt x="326" y="6"/>
                  </a:lnTo>
                  <a:lnTo>
                    <a:pt x="316" y="0"/>
                  </a:lnTo>
                  <a:lnTo>
                    <a:pt x="316" y="0"/>
                  </a:lnTo>
                  <a:lnTo>
                    <a:pt x="313" y="6"/>
                  </a:lnTo>
                  <a:lnTo>
                    <a:pt x="311" y="9"/>
                  </a:lnTo>
                  <a:lnTo>
                    <a:pt x="309" y="15"/>
                  </a:lnTo>
                  <a:lnTo>
                    <a:pt x="305" y="19"/>
                  </a:lnTo>
                  <a:lnTo>
                    <a:pt x="305" y="19"/>
                  </a:lnTo>
                  <a:lnTo>
                    <a:pt x="299" y="22"/>
                  </a:lnTo>
                  <a:lnTo>
                    <a:pt x="294" y="24"/>
                  </a:lnTo>
                  <a:lnTo>
                    <a:pt x="288" y="24"/>
                  </a:lnTo>
                  <a:lnTo>
                    <a:pt x="286" y="26"/>
                  </a:lnTo>
                  <a:lnTo>
                    <a:pt x="286" y="28"/>
                  </a:lnTo>
                  <a:lnTo>
                    <a:pt x="281" y="43"/>
                  </a:lnTo>
                  <a:lnTo>
                    <a:pt x="281" y="43"/>
                  </a:lnTo>
                  <a:lnTo>
                    <a:pt x="281" y="47"/>
                  </a:lnTo>
                  <a:lnTo>
                    <a:pt x="277" y="50"/>
                  </a:lnTo>
                  <a:lnTo>
                    <a:pt x="268" y="54"/>
                  </a:lnTo>
                  <a:lnTo>
                    <a:pt x="258" y="58"/>
                  </a:lnTo>
                  <a:lnTo>
                    <a:pt x="245" y="58"/>
                  </a:lnTo>
                  <a:lnTo>
                    <a:pt x="232" y="60"/>
                  </a:lnTo>
                  <a:lnTo>
                    <a:pt x="219" y="62"/>
                  </a:lnTo>
                  <a:lnTo>
                    <a:pt x="210" y="65"/>
                  </a:lnTo>
                  <a:lnTo>
                    <a:pt x="204" y="67"/>
                  </a:lnTo>
                  <a:lnTo>
                    <a:pt x="200" y="71"/>
                  </a:lnTo>
                  <a:lnTo>
                    <a:pt x="200" y="71"/>
                  </a:lnTo>
                  <a:lnTo>
                    <a:pt x="176" y="103"/>
                  </a:lnTo>
                  <a:lnTo>
                    <a:pt x="169" y="110"/>
                  </a:lnTo>
                  <a:lnTo>
                    <a:pt x="167" y="110"/>
                  </a:lnTo>
                  <a:lnTo>
                    <a:pt x="167" y="107"/>
                  </a:lnTo>
                  <a:lnTo>
                    <a:pt x="165" y="105"/>
                  </a:lnTo>
                  <a:lnTo>
                    <a:pt x="161" y="103"/>
                  </a:lnTo>
                  <a:lnTo>
                    <a:pt x="161" y="103"/>
                  </a:lnTo>
                  <a:lnTo>
                    <a:pt x="157" y="103"/>
                  </a:lnTo>
                  <a:lnTo>
                    <a:pt x="154" y="105"/>
                  </a:lnTo>
                  <a:lnTo>
                    <a:pt x="150" y="114"/>
                  </a:lnTo>
                  <a:lnTo>
                    <a:pt x="146" y="125"/>
                  </a:lnTo>
                  <a:lnTo>
                    <a:pt x="142" y="129"/>
                  </a:lnTo>
                  <a:lnTo>
                    <a:pt x="139" y="131"/>
                  </a:lnTo>
                  <a:lnTo>
                    <a:pt x="139" y="131"/>
                  </a:lnTo>
                  <a:lnTo>
                    <a:pt x="133" y="135"/>
                  </a:lnTo>
                  <a:lnTo>
                    <a:pt x="128" y="138"/>
                  </a:lnTo>
                  <a:lnTo>
                    <a:pt x="118" y="148"/>
                  </a:lnTo>
                  <a:lnTo>
                    <a:pt x="113" y="159"/>
                  </a:lnTo>
                  <a:lnTo>
                    <a:pt x="109" y="172"/>
                  </a:lnTo>
                  <a:lnTo>
                    <a:pt x="105" y="183"/>
                  </a:lnTo>
                  <a:lnTo>
                    <a:pt x="99" y="194"/>
                  </a:lnTo>
                  <a:lnTo>
                    <a:pt x="92" y="206"/>
                  </a:lnTo>
                  <a:lnTo>
                    <a:pt x="88" y="209"/>
                  </a:lnTo>
                  <a:lnTo>
                    <a:pt x="83" y="213"/>
                  </a:lnTo>
                  <a:lnTo>
                    <a:pt x="83" y="213"/>
                  </a:lnTo>
                  <a:lnTo>
                    <a:pt x="70" y="220"/>
                  </a:lnTo>
                  <a:lnTo>
                    <a:pt x="60" y="226"/>
                  </a:lnTo>
                  <a:lnTo>
                    <a:pt x="55" y="234"/>
                  </a:lnTo>
                  <a:lnTo>
                    <a:pt x="51" y="241"/>
                  </a:lnTo>
                  <a:lnTo>
                    <a:pt x="49" y="247"/>
                  </a:lnTo>
                  <a:lnTo>
                    <a:pt x="49" y="254"/>
                  </a:lnTo>
                  <a:lnTo>
                    <a:pt x="49" y="260"/>
                  </a:lnTo>
                  <a:lnTo>
                    <a:pt x="51" y="265"/>
                  </a:lnTo>
                  <a:lnTo>
                    <a:pt x="58" y="277"/>
                  </a:lnTo>
                  <a:lnTo>
                    <a:pt x="64" y="288"/>
                  </a:lnTo>
                  <a:lnTo>
                    <a:pt x="70" y="297"/>
                  </a:lnTo>
                  <a:lnTo>
                    <a:pt x="71" y="301"/>
                  </a:lnTo>
                  <a:lnTo>
                    <a:pt x="71" y="305"/>
                  </a:lnTo>
                  <a:lnTo>
                    <a:pt x="71" y="305"/>
                  </a:lnTo>
                  <a:lnTo>
                    <a:pt x="73" y="312"/>
                  </a:lnTo>
                  <a:lnTo>
                    <a:pt x="73" y="318"/>
                  </a:lnTo>
                  <a:lnTo>
                    <a:pt x="71" y="323"/>
                  </a:lnTo>
                  <a:lnTo>
                    <a:pt x="70" y="327"/>
                  </a:lnTo>
                  <a:lnTo>
                    <a:pt x="62" y="334"/>
                  </a:lnTo>
                  <a:lnTo>
                    <a:pt x="56" y="340"/>
                  </a:lnTo>
                  <a:lnTo>
                    <a:pt x="56" y="340"/>
                  </a:lnTo>
                  <a:lnTo>
                    <a:pt x="55" y="349"/>
                  </a:lnTo>
                  <a:lnTo>
                    <a:pt x="55" y="355"/>
                  </a:lnTo>
                  <a:lnTo>
                    <a:pt x="58" y="357"/>
                  </a:lnTo>
                  <a:lnTo>
                    <a:pt x="64" y="355"/>
                  </a:lnTo>
                  <a:lnTo>
                    <a:pt x="75" y="348"/>
                  </a:lnTo>
                  <a:lnTo>
                    <a:pt x="83" y="342"/>
                  </a:lnTo>
                  <a:lnTo>
                    <a:pt x="83" y="342"/>
                  </a:lnTo>
                  <a:lnTo>
                    <a:pt x="96" y="338"/>
                  </a:lnTo>
                  <a:lnTo>
                    <a:pt x="99" y="336"/>
                  </a:lnTo>
                  <a:lnTo>
                    <a:pt x="99" y="334"/>
                  </a:lnTo>
                  <a:lnTo>
                    <a:pt x="103" y="331"/>
                  </a:lnTo>
                  <a:lnTo>
                    <a:pt x="105" y="329"/>
                  </a:lnTo>
                  <a:lnTo>
                    <a:pt x="111" y="327"/>
                  </a:lnTo>
                  <a:lnTo>
                    <a:pt x="111" y="327"/>
                  </a:lnTo>
                  <a:lnTo>
                    <a:pt x="124" y="323"/>
                  </a:lnTo>
                  <a:lnTo>
                    <a:pt x="133" y="320"/>
                  </a:lnTo>
                  <a:lnTo>
                    <a:pt x="137" y="314"/>
                  </a:lnTo>
                  <a:lnTo>
                    <a:pt x="141" y="312"/>
                  </a:lnTo>
                  <a:lnTo>
                    <a:pt x="141" y="312"/>
                  </a:lnTo>
                  <a:lnTo>
                    <a:pt x="139" y="316"/>
                  </a:lnTo>
                  <a:lnTo>
                    <a:pt x="139" y="316"/>
                  </a:lnTo>
                  <a:lnTo>
                    <a:pt x="133" y="327"/>
                  </a:lnTo>
                  <a:lnTo>
                    <a:pt x="124" y="336"/>
                  </a:lnTo>
                  <a:lnTo>
                    <a:pt x="113" y="348"/>
                  </a:lnTo>
                  <a:lnTo>
                    <a:pt x="99" y="357"/>
                  </a:lnTo>
                  <a:lnTo>
                    <a:pt x="75" y="374"/>
                  </a:lnTo>
                  <a:lnTo>
                    <a:pt x="68" y="381"/>
                  </a:lnTo>
                  <a:lnTo>
                    <a:pt x="64" y="389"/>
                  </a:lnTo>
                  <a:lnTo>
                    <a:pt x="64" y="389"/>
                  </a:lnTo>
                  <a:lnTo>
                    <a:pt x="64" y="398"/>
                  </a:lnTo>
                  <a:lnTo>
                    <a:pt x="60" y="404"/>
                  </a:lnTo>
                  <a:lnTo>
                    <a:pt x="55" y="407"/>
                  </a:lnTo>
                  <a:lnTo>
                    <a:pt x="49" y="411"/>
                  </a:lnTo>
                  <a:lnTo>
                    <a:pt x="36" y="415"/>
                  </a:lnTo>
                  <a:lnTo>
                    <a:pt x="32" y="419"/>
                  </a:lnTo>
                  <a:lnTo>
                    <a:pt x="28" y="424"/>
                  </a:lnTo>
                  <a:lnTo>
                    <a:pt x="28" y="424"/>
                  </a:lnTo>
                  <a:lnTo>
                    <a:pt x="25" y="430"/>
                  </a:lnTo>
                  <a:lnTo>
                    <a:pt x="19" y="437"/>
                  </a:lnTo>
                  <a:lnTo>
                    <a:pt x="6" y="456"/>
                  </a:lnTo>
                  <a:lnTo>
                    <a:pt x="2" y="463"/>
                  </a:lnTo>
                  <a:lnTo>
                    <a:pt x="0" y="471"/>
                  </a:lnTo>
                  <a:lnTo>
                    <a:pt x="2" y="473"/>
                  </a:lnTo>
                  <a:lnTo>
                    <a:pt x="4" y="475"/>
                  </a:lnTo>
                  <a:lnTo>
                    <a:pt x="10" y="476"/>
                  </a:lnTo>
                  <a:lnTo>
                    <a:pt x="15" y="476"/>
                  </a:lnTo>
                  <a:lnTo>
                    <a:pt x="15" y="476"/>
                  </a:lnTo>
                  <a:lnTo>
                    <a:pt x="43" y="476"/>
                  </a:lnTo>
                  <a:lnTo>
                    <a:pt x="47" y="478"/>
                  </a:lnTo>
                  <a:lnTo>
                    <a:pt x="49" y="480"/>
                  </a:lnTo>
                  <a:lnTo>
                    <a:pt x="49" y="484"/>
                  </a:lnTo>
                  <a:lnTo>
                    <a:pt x="51" y="486"/>
                  </a:lnTo>
                  <a:lnTo>
                    <a:pt x="56" y="488"/>
                  </a:lnTo>
                  <a:lnTo>
                    <a:pt x="56" y="488"/>
                  </a:lnTo>
                  <a:lnTo>
                    <a:pt x="66" y="491"/>
                  </a:lnTo>
                  <a:lnTo>
                    <a:pt x="73" y="497"/>
                  </a:lnTo>
                  <a:lnTo>
                    <a:pt x="77" y="501"/>
                  </a:lnTo>
                  <a:lnTo>
                    <a:pt x="79" y="504"/>
                  </a:lnTo>
                  <a:lnTo>
                    <a:pt x="79" y="512"/>
                  </a:lnTo>
                  <a:lnTo>
                    <a:pt x="79" y="519"/>
                  </a:lnTo>
                  <a:lnTo>
                    <a:pt x="81" y="521"/>
                  </a:lnTo>
                  <a:lnTo>
                    <a:pt x="85" y="523"/>
                  </a:lnTo>
                  <a:lnTo>
                    <a:pt x="90" y="527"/>
                  </a:lnTo>
                  <a:lnTo>
                    <a:pt x="98" y="527"/>
                  </a:lnTo>
                  <a:lnTo>
                    <a:pt x="124" y="529"/>
                  </a:lnTo>
                  <a:lnTo>
                    <a:pt x="169" y="529"/>
                  </a:lnTo>
                  <a:lnTo>
                    <a:pt x="169" y="529"/>
                  </a:lnTo>
                  <a:lnTo>
                    <a:pt x="178" y="523"/>
                  </a:lnTo>
                  <a:lnTo>
                    <a:pt x="180" y="521"/>
                  </a:lnTo>
                  <a:lnTo>
                    <a:pt x="187" y="514"/>
                  </a:lnTo>
                  <a:lnTo>
                    <a:pt x="187" y="514"/>
                  </a:lnTo>
                  <a:lnTo>
                    <a:pt x="191" y="510"/>
                  </a:lnTo>
                  <a:lnTo>
                    <a:pt x="193" y="504"/>
                  </a:lnTo>
                  <a:lnTo>
                    <a:pt x="191" y="491"/>
                  </a:lnTo>
                  <a:lnTo>
                    <a:pt x="193" y="486"/>
                  </a:lnTo>
                  <a:lnTo>
                    <a:pt x="195" y="480"/>
                  </a:lnTo>
                  <a:lnTo>
                    <a:pt x="199" y="476"/>
                  </a:lnTo>
                  <a:lnTo>
                    <a:pt x="206" y="475"/>
                  </a:lnTo>
                  <a:lnTo>
                    <a:pt x="206" y="475"/>
                  </a:lnTo>
                  <a:lnTo>
                    <a:pt x="213" y="475"/>
                  </a:lnTo>
                  <a:lnTo>
                    <a:pt x="219" y="473"/>
                  </a:lnTo>
                  <a:lnTo>
                    <a:pt x="225" y="469"/>
                  </a:lnTo>
                  <a:lnTo>
                    <a:pt x="227" y="467"/>
                  </a:lnTo>
                  <a:lnTo>
                    <a:pt x="228" y="465"/>
                  </a:lnTo>
                  <a:lnTo>
                    <a:pt x="230" y="463"/>
                  </a:lnTo>
                  <a:lnTo>
                    <a:pt x="232" y="465"/>
                  </a:lnTo>
                  <a:lnTo>
                    <a:pt x="232" y="465"/>
                  </a:lnTo>
                  <a:lnTo>
                    <a:pt x="234" y="467"/>
                  </a:lnTo>
                  <a:lnTo>
                    <a:pt x="234" y="467"/>
                  </a:lnTo>
                  <a:lnTo>
                    <a:pt x="217" y="450"/>
                  </a:lnTo>
                  <a:lnTo>
                    <a:pt x="208" y="441"/>
                  </a:lnTo>
                  <a:lnTo>
                    <a:pt x="206" y="435"/>
                  </a:lnTo>
                  <a:lnTo>
                    <a:pt x="208" y="432"/>
                  </a:lnTo>
                  <a:lnTo>
                    <a:pt x="212" y="426"/>
                  </a:lnTo>
                  <a:lnTo>
                    <a:pt x="219" y="419"/>
                  </a:lnTo>
                  <a:lnTo>
                    <a:pt x="219" y="419"/>
                  </a:lnTo>
                  <a:lnTo>
                    <a:pt x="223" y="417"/>
                  </a:lnTo>
                  <a:lnTo>
                    <a:pt x="225" y="417"/>
                  </a:lnTo>
                  <a:lnTo>
                    <a:pt x="228" y="426"/>
                  </a:lnTo>
                  <a:lnTo>
                    <a:pt x="236" y="443"/>
                  </a:lnTo>
                  <a:lnTo>
                    <a:pt x="243" y="452"/>
                  </a:lnTo>
                  <a:lnTo>
                    <a:pt x="255" y="465"/>
                  </a:lnTo>
                  <a:lnTo>
                    <a:pt x="273" y="486"/>
                  </a:lnTo>
                  <a:lnTo>
                    <a:pt x="273" y="486"/>
                  </a:lnTo>
                  <a:lnTo>
                    <a:pt x="294" y="504"/>
                  </a:lnTo>
                  <a:lnTo>
                    <a:pt x="294" y="504"/>
                  </a:lnTo>
                  <a:lnTo>
                    <a:pt x="301" y="512"/>
                  </a:lnTo>
                  <a:lnTo>
                    <a:pt x="301" y="512"/>
                  </a:lnTo>
                  <a:lnTo>
                    <a:pt x="311" y="519"/>
                  </a:lnTo>
                  <a:lnTo>
                    <a:pt x="318" y="523"/>
                  </a:lnTo>
                  <a:lnTo>
                    <a:pt x="326" y="525"/>
                  </a:lnTo>
                  <a:lnTo>
                    <a:pt x="333" y="525"/>
                  </a:lnTo>
                  <a:lnTo>
                    <a:pt x="339" y="523"/>
                  </a:lnTo>
                  <a:lnTo>
                    <a:pt x="344" y="519"/>
                  </a:lnTo>
                  <a:lnTo>
                    <a:pt x="354" y="510"/>
                  </a:lnTo>
                  <a:lnTo>
                    <a:pt x="363" y="501"/>
                  </a:lnTo>
                  <a:lnTo>
                    <a:pt x="367" y="497"/>
                  </a:lnTo>
                  <a:lnTo>
                    <a:pt x="372" y="495"/>
                  </a:lnTo>
                  <a:lnTo>
                    <a:pt x="376" y="495"/>
                  </a:lnTo>
                  <a:lnTo>
                    <a:pt x="382" y="497"/>
                  </a:lnTo>
                  <a:lnTo>
                    <a:pt x="385" y="501"/>
                  </a:lnTo>
                  <a:lnTo>
                    <a:pt x="391" y="508"/>
                  </a:lnTo>
                  <a:lnTo>
                    <a:pt x="391" y="508"/>
                  </a:lnTo>
                  <a:lnTo>
                    <a:pt x="398" y="519"/>
                  </a:lnTo>
                  <a:lnTo>
                    <a:pt x="406" y="525"/>
                  </a:lnTo>
                  <a:lnTo>
                    <a:pt x="412" y="529"/>
                  </a:lnTo>
                  <a:lnTo>
                    <a:pt x="417" y="529"/>
                  </a:lnTo>
                  <a:lnTo>
                    <a:pt x="423" y="527"/>
                  </a:lnTo>
                  <a:lnTo>
                    <a:pt x="427" y="525"/>
                  </a:lnTo>
                  <a:lnTo>
                    <a:pt x="428" y="519"/>
                  </a:lnTo>
                  <a:lnTo>
                    <a:pt x="430" y="516"/>
                  </a:lnTo>
                  <a:lnTo>
                    <a:pt x="430" y="516"/>
                  </a:lnTo>
                  <a:lnTo>
                    <a:pt x="434" y="499"/>
                  </a:lnTo>
                  <a:lnTo>
                    <a:pt x="436" y="488"/>
                  </a:lnTo>
                  <a:lnTo>
                    <a:pt x="440" y="484"/>
                  </a:lnTo>
                  <a:lnTo>
                    <a:pt x="443" y="484"/>
                  </a:lnTo>
                  <a:lnTo>
                    <a:pt x="451" y="486"/>
                  </a:lnTo>
                  <a:lnTo>
                    <a:pt x="455" y="486"/>
                  </a:lnTo>
                  <a:lnTo>
                    <a:pt x="458" y="480"/>
                  </a:lnTo>
                  <a:lnTo>
                    <a:pt x="458" y="480"/>
                  </a:lnTo>
                  <a:lnTo>
                    <a:pt x="466" y="465"/>
                  </a:lnTo>
                  <a:lnTo>
                    <a:pt x="469" y="454"/>
                  </a:lnTo>
                  <a:lnTo>
                    <a:pt x="473" y="441"/>
                  </a:lnTo>
                  <a:lnTo>
                    <a:pt x="477" y="437"/>
                  </a:lnTo>
                  <a:lnTo>
                    <a:pt x="484" y="433"/>
                  </a:lnTo>
                  <a:lnTo>
                    <a:pt x="518" y="424"/>
                  </a:lnTo>
                  <a:lnTo>
                    <a:pt x="518" y="424"/>
                  </a:lnTo>
                  <a:lnTo>
                    <a:pt x="522" y="422"/>
                  </a:lnTo>
                  <a:lnTo>
                    <a:pt x="522" y="422"/>
                  </a:lnTo>
                  <a:lnTo>
                    <a:pt x="526" y="420"/>
                  </a:lnTo>
                  <a:lnTo>
                    <a:pt x="529" y="417"/>
                  </a:lnTo>
                  <a:lnTo>
                    <a:pt x="535" y="407"/>
                  </a:lnTo>
                  <a:lnTo>
                    <a:pt x="541" y="394"/>
                  </a:lnTo>
                  <a:lnTo>
                    <a:pt x="544" y="381"/>
                  </a:lnTo>
                  <a:lnTo>
                    <a:pt x="550" y="366"/>
                  </a:lnTo>
                  <a:lnTo>
                    <a:pt x="554" y="355"/>
                  </a:lnTo>
                  <a:lnTo>
                    <a:pt x="561" y="346"/>
                  </a:lnTo>
                  <a:lnTo>
                    <a:pt x="565" y="342"/>
                  </a:lnTo>
                  <a:lnTo>
                    <a:pt x="570" y="340"/>
                  </a:lnTo>
                  <a:lnTo>
                    <a:pt x="570" y="340"/>
                  </a:lnTo>
                  <a:lnTo>
                    <a:pt x="576" y="336"/>
                  </a:lnTo>
                  <a:lnTo>
                    <a:pt x="583" y="331"/>
                  </a:lnTo>
                  <a:lnTo>
                    <a:pt x="591" y="323"/>
                  </a:lnTo>
                  <a:lnTo>
                    <a:pt x="598" y="312"/>
                  </a:lnTo>
                  <a:lnTo>
                    <a:pt x="604" y="303"/>
                  </a:lnTo>
                  <a:lnTo>
                    <a:pt x="608" y="291"/>
                  </a:lnTo>
                  <a:lnTo>
                    <a:pt x="610" y="284"/>
                  </a:lnTo>
                  <a:lnTo>
                    <a:pt x="608" y="280"/>
                  </a:lnTo>
                  <a:lnTo>
                    <a:pt x="606" y="277"/>
                  </a:lnTo>
                  <a:lnTo>
                    <a:pt x="606" y="277"/>
                  </a:lnTo>
                  <a:lnTo>
                    <a:pt x="600" y="269"/>
                  </a:lnTo>
                  <a:lnTo>
                    <a:pt x="600" y="262"/>
                  </a:lnTo>
                  <a:lnTo>
                    <a:pt x="604" y="258"/>
                  </a:lnTo>
                  <a:lnTo>
                    <a:pt x="608" y="254"/>
                  </a:lnTo>
                  <a:lnTo>
                    <a:pt x="615" y="252"/>
                  </a:lnTo>
                  <a:lnTo>
                    <a:pt x="621" y="254"/>
                  </a:lnTo>
                  <a:lnTo>
                    <a:pt x="625" y="260"/>
                  </a:lnTo>
                  <a:lnTo>
                    <a:pt x="625" y="269"/>
                  </a:lnTo>
                  <a:lnTo>
                    <a:pt x="625" y="269"/>
                  </a:lnTo>
                  <a:lnTo>
                    <a:pt x="626" y="273"/>
                  </a:lnTo>
                  <a:lnTo>
                    <a:pt x="630" y="275"/>
                  </a:lnTo>
                  <a:lnTo>
                    <a:pt x="636" y="275"/>
                  </a:lnTo>
                  <a:lnTo>
                    <a:pt x="643" y="271"/>
                  </a:lnTo>
                  <a:lnTo>
                    <a:pt x="656" y="263"/>
                  </a:lnTo>
                  <a:lnTo>
                    <a:pt x="662" y="260"/>
                  </a:lnTo>
                  <a:lnTo>
                    <a:pt x="664" y="256"/>
                  </a:lnTo>
                  <a:lnTo>
                    <a:pt x="664" y="256"/>
                  </a:lnTo>
                  <a:lnTo>
                    <a:pt x="662" y="245"/>
                  </a:lnTo>
                  <a:lnTo>
                    <a:pt x="660" y="234"/>
                  </a:lnTo>
                  <a:lnTo>
                    <a:pt x="658" y="228"/>
                  </a:lnTo>
                  <a:lnTo>
                    <a:pt x="660" y="222"/>
                  </a:lnTo>
                  <a:lnTo>
                    <a:pt x="662" y="219"/>
                  </a:lnTo>
                  <a:lnTo>
                    <a:pt x="668" y="215"/>
                  </a:lnTo>
                  <a:lnTo>
                    <a:pt x="668" y="215"/>
                  </a:lnTo>
                  <a:lnTo>
                    <a:pt x="673" y="215"/>
                  </a:lnTo>
                  <a:lnTo>
                    <a:pt x="683" y="215"/>
                  </a:lnTo>
                  <a:lnTo>
                    <a:pt x="686" y="215"/>
                  </a:lnTo>
                  <a:lnTo>
                    <a:pt x="688" y="211"/>
                  </a:lnTo>
                  <a:lnTo>
                    <a:pt x="688" y="206"/>
                  </a:lnTo>
                  <a:lnTo>
                    <a:pt x="683" y="196"/>
                  </a:lnTo>
                  <a:lnTo>
                    <a:pt x="683" y="196"/>
                  </a:lnTo>
                  <a:lnTo>
                    <a:pt x="681" y="192"/>
                  </a:lnTo>
                  <a:lnTo>
                    <a:pt x="677" y="191"/>
                  </a:lnTo>
                  <a:lnTo>
                    <a:pt x="668" y="191"/>
                  </a:lnTo>
                  <a:lnTo>
                    <a:pt x="664" y="191"/>
                  </a:lnTo>
                  <a:lnTo>
                    <a:pt x="675" y="187"/>
                  </a:lnTo>
                  <a:lnTo>
                    <a:pt x="675" y="187"/>
                  </a:lnTo>
                  <a:lnTo>
                    <a:pt x="705" y="179"/>
                  </a:lnTo>
                  <a:lnTo>
                    <a:pt x="731" y="168"/>
                  </a:lnTo>
                  <a:lnTo>
                    <a:pt x="757" y="153"/>
                  </a:lnTo>
                  <a:lnTo>
                    <a:pt x="782" y="136"/>
                  </a:lnTo>
                  <a:lnTo>
                    <a:pt x="782" y="136"/>
                  </a:lnTo>
                  <a:lnTo>
                    <a:pt x="793" y="131"/>
                  </a:lnTo>
                  <a:lnTo>
                    <a:pt x="806" y="127"/>
                  </a:lnTo>
                  <a:lnTo>
                    <a:pt x="811" y="127"/>
                  </a:lnTo>
                  <a:lnTo>
                    <a:pt x="817" y="129"/>
                  </a:lnTo>
                  <a:lnTo>
                    <a:pt x="821" y="133"/>
                  </a:lnTo>
                  <a:lnTo>
                    <a:pt x="826" y="136"/>
                  </a:lnTo>
                  <a:lnTo>
                    <a:pt x="826" y="136"/>
                  </a:lnTo>
                  <a:lnTo>
                    <a:pt x="830" y="140"/>
                  </a:lnTo>
                  <a:lnTo>
                    <a:pt x="838" y="140"/>
                  </a:lnTo>
                  <a:lnTo>
                    <a:pt x="843" y="138"/>
                  </a:lnTo>
                  <a:lnTo>
                    <a:pt x="849" y="135"/>
                  </a:lnTo>
                  <a:lnTo>
                    <a:pt x="853" y="129"/>
                  </a:lnTo>
                  <a:lnTo>
                    <a:pt x="854" y="123"/>
                  </a:lnTo>
                  <a:lnTo>
                    <a:pt x="853" y="118"/>
                  </a:lnTo>
                  <a:lnTo>
                    <a:pt x="847" y="114"/>
                  </a:lnTo>
                  <a:lnTo>
                    <a:pt x="847" y="114"/>
                  </a:lnTo>
                  <a:lnTo>
                    <a:pt x="845" y="110"/>
                  </a:lnTo>
                  <a:lnTo>
                    <a:pt x="845" y="107"/>
                  </a:lnTo>
                  <a:lnTo>
                    <a:pt x="849" y="97"/>
                  </a:lnTo>
                  <a:lnTo>
                    <a:pt x="854" y="88"/>
                  </a:lnTo>
                  <a:lnTo>
                    <a:pt x="856" y="82"/>
                  </a:lnTo>
                  <a:lnTo>
                    <a:pt x="856" y="78"/>
                  </a:lnTo>
                  <a:lnTo>
                    <a:pt x="856" y="78"/>
                  </a:lnTo>
                  <a:lnTo>
                    <a:pt x="858" y="73"/>
                  </a:lnTo>
                  <a:lnTo>
                    <a:pt x="860" y="67"/>
                  </a:lnTo>
                  <a:lnTo>
                    <a:pt x="862" y="58"/>
                  </a:lnTo>
                  <a:lnTo>
                    <a:pt x="862" y="54"/>
                  </a:lnTo>
                  <a:lnTo>
                    <a:pt x="858" y="54"/>
                  </a:lnTo>
                  <a:lnTo>
                    <a:pt x="853" y="54"/>
                  </a:lnTo>
                  <a:lnTo>
                    <a:pt x="841" y="58"/>
                  </a:lnTo>
                  <a:lnTo>
                    <a:pt x="841" y="58"/>
                  </a:lnTo>
                  <a:lnTo>
                    <a:pt x="832" y="60"/>
                  </a:lnTo>
                  <a:lnTo>
                    <a:pt x="825" y="58"/>
                  </a:lnTo>
                  <a:lnTo>
                    <a:pt x="817" y="56"/>
                  </a:lnTo>
                  <a:lnTo>
                    <a:pt x="811" y="52"/>
                  </a:lnTo>
                  <a:lnTo>
                    <a:pt x="806" y="49"/>
                  </a:lnTo>
                  <a:lnTo>
                    <a:pt x="800" y="47"/>
                  </a:lnTo>
                  <a:lnTo>
                    <a:pt x="795" y="47"/>
                  </a:lnTo>
                  <a:lnTo>
                    <a:pt x="789" y="49"/>
                  </a:lnTo>
                  <a:lnTo>
                    <a:pt x="789" y="49"/>
                  </a:lnTo>
                  <a:lnTo>
                    <a:pt x="783" y="54"/>
                  </a:lnTo>
                  <a:lnTo>
                    <a:pt x="778" y="58"/>
                  </a:lnTo>
                  <a:lnTo>
                    <a:pt x="767" y="62"/>
                  </a:lnTo>
                  <a:lnTo>
                    <a:pt x="755" y="64"/>
                  </a:lnTo>
                  <a:lnTo>
                    <a:pt x="742" y="64"/>
                  </a:lnTo>
                  <a:lnTo>
                    <a:pt x="742" y="64"/>
                  </a:lnTo>
                  <a:lnTo>
                    <a:pt x="739" y="64"/>
                  </a:lnTo>
                  <a:lnTo>
                    <a:pt x="735" y="64"/>
                  </a:lnTo>
                  <a:lnTo>
                    <a:pt x="729" y="56"/>
                  </a:lnTo>
                  <a:lnTo>
                    <a:pt x="726" y="54"/>
                  </a:lnTo>
                  <a:lnTo>
                    <a:pt x="722" y="50"/>
                  </a:lnTo>
                  <a:lnTo>
                    <a:pt x="716" y="49"/>
                  </a:lnTo>
                  <a:lnTo>
                    <a:pt x="709" y="49"/>
                  </a:lnTo>
                  <a:lnTo>
                    <a:pt x="709" y="49"/>
                  </a:lnTo>
                  <a:lnTo>
                    <a:pt x="699" y="47"/>
                  </a:lnTo>
                  <a:lnTo>
                    <a:pt x="692" y="43"/>
                  </a:lnTo>
                  <a:lnTo>
                    <a:pt x="675" y="30"/>
                  </a:lnTo>
                  <a:lnTo>
                    <a:pt x="668" y="24"/>
                  </a:lnTo>
                  <a:lnTo>
                    <a:pt x="658" y="21"/>
                  </a:lnTo>
                  <a:lnTo>
                    <a:pt x="655" y="21"/>
                  </a:lnTo>
                  <a:lnTo>
                    <a:pt x="649" y="21"/>
                  </a:lnTo>
                  <a:lnTo>
                    <a:pt x="643" y="22"/>
                  </a:lnTo>
                  <a:lnTo>
                    <a:pt x="638" y="26"/>
                  </a:lnTo>
                  <a:lnTo>
                    <a:pt x="638" y="26"/>
                  </a:lnTo>
                  <a:lnTo>
                    <a:pt x="625" y="34"/>
                  </a:lnTo>
                  <a:lnTo>
                    <a:pt x="613" y="39"/>
                  </a:lnTo>
                  <a:lnTo>
                    <a:pt x="608" y="43"/>
                  </a:lnTo>
                  <a:lnTo>
                    <a:pt x="602" y="47"/>
                  </a:lnTo>
                  <a:lnTo>
                    <a:pt x="598" y="52"/>
                  </a:lnTo>
                  <a:lnTo>
                    <a:pt x="597" y="60"/>
                  </a:lnTo>
                  <a:lnTo>
                    <a:pt x="597" y="60"/>
                  </a:lnTo>
                  <a:lnTo>
                    <a:pt x="593" y="67"/>
                  </a:lnTo>
                  <a:lnTo>
                    <a:pt x="587" y="73"/>
                  </a:lnTo>
                  <a:lnTo>
                    <a:pt x="576" y="84"/>
                  </a:lnTo>
                  <a:lnTo>
                    <a:pt x="570" y="90"/>
                  </a:lnTo>
                  <a:lnTo>
                    <a:pt x="565" y="95"/>
                  </a:lnTo>
                  <a:lnTo>
                    <a:pt x="559" y="103"/>
                  </a:lnTo>
                  <a:lnTo>
                    <a:pt x="555" y="114"/>
                  </a:lnTo>
                  <a:lnTo>
                    <a:pt x="555" y="114"/>
                  </a:lnTo>
                  <a:lnTo>
                    <a:pt x="552" y="121"/>
                  </a:lnTo>
                  <a:lnTo>
                    <a:pt x="546" y="129"/>
                  </a:lnTo>
                  <a:lnTo>
                    <a:pt x="539" y="133"/>
                  </a:lnTo>
                  <a:lnTo>
                    <a:pt x="529" y="136"/>
                  </a:lnTo>
                  <a:lnTo>
                    <a:pt x="520" y="138"/>
                  </a:lnTo>
                  <a:lnTo>
                    <a:pt x="509" y="140"/>
                  </a:lnTo>
                  <a:lnTo>
                    <a:pt x="498" y="138"/>
                  </a:lnTo>
                  <a:lnTo>
                    <a:pt x="486" y="136"/>
                  </a:lnTo>
                  <a:lnTo>
                    <a:pt x="475" y="135"/>
                  </a:lnTo>
                  <a:lnTo>
                    <a:pt x="466" y="131"/>
                  </a:lnTo>
                  <a:lnTo>
                    <a:pt x="456" y="127"/>
                  </a:lnTo>
                  <a:lnTo>
                    <a:pt x="451" y="121"/>
                  </a:lnTo>
                  <a:lnTo>
                    <a:pt x="445" y="116"/>
                  </a:lnTo>
                  <a:lnTo>
                    <a:pt x="443" y="108"/>
                  </a:lnTo>
                  <a:lnTo>
                    <a:pt x="445" y="103"/>
                  </a:lnTo>
                  <a:lnTo>
                    <a:pt x="449" y="95"/>
                  </a:lnTo>
                  <a:lnTo>
                    <a:pt x="449" y="95"/>
                  </a:lnTo>
                  <a:lnTo>
                    <a:pt x="453" y="86"/>
                  </a:lnTo>
                  <a:lnTo>
                    <a:pt x="456" y="73"/>
                  </a:lnTo>
                  <a:lnTo>
                    <a:pt x="458" y="60"/>
                  </a:lnTo>
                  <a:lnTo>
                    <a:pt x="456" y="54"/>
                  </a:lnTo>
                  <a:lnTo>
                    <a:pt x="455" y="52"/>
                  </a:lnTo>
                  <a:lnTo>
                    <a:pt x="455" y="52"/>
                  </a:lnTo>
                  <a:lnTo>
                    <a:pt x="449" y="47"/>
                  </a:lnTo>
                  <a:lnTo>
                    <a:pt x="447" y="43"/>
                  </a:lnTo>
                  <a:lnTo>
                    <a:pt x="447" y="39"/>
                  </a:lnTo>
                  <a:lnTo>
                    <a:pt x="449" y="35"/>
                  </a:lnTo>
                  <a:lnTo>
                    <a:pt x="451" y="32"/>
                  </a:lnTo>
                  <a:lnTo>
                    <a:pt x="451" y="28"/>
                  </a:lnTo>
                  <a:lnTo>
                    <a:pt x="447" y="21"/>
                  </a:lnTo>
                  <a:lnTo>
                    <a:pt x="440" y="13"/>
                  </a:lnTo>
                  <a:lnTo>
                    <a:pt x="440"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Freeform 14">
              <a:extLst>
                <a:ext uri="{FF2B5EF4-FFF2-40B4-BE49-F238E27FC236}">
                  <a16:creationId xmlns:a16="http://schemas.microsoft.com/office/drawing/2014/main" id="{95C06FC3-DD42-42F6-8A2E-93ABE46B1B4A}"/>
                </a:ext>
              </a:extLst>
            </p:cNvPr>
            <p:cNvSpPr>
              <a:spLocks/>
            </p:cNvSpPr>
            <p:nvPr/>
          </p:nvSpPr>
          <p:spPr bwMode="auto">
            <a:xfrm>
              <a:off x="6379578" y="3641816"/>
              <a:ext cx="10900" cy="12716"/>
            </a:xfrm>
            <a:custGeom>
              <a:avLst/>
              <a:gdLst/>
              <a:ahLst/>
              <a:cxnLst>
                <a:cxn ang="0">
                  <a:pos x="0" y="0"/>
                </a:cxn>
                <a:cxn ang="0">
                  <a:pos x="0" y="0"/>
                </a:cxn>
                <a:cxn ang="0">
                  <a:pos x="0" y="3"/>
                </a:cxn>
                <a:cxn ang="0">
                  <a:pos x="0" y="9"/>
                </a:cxn>
                <a:cxn ang="0">
                  <a:pos x="0" y="13"/>
                </a:cxn>
                <a:cxn ang="0">
                  <a:pos x="2" y="13"/>
                </a:cxn>
                <a:cxn ang="0">
                  <a:pos x="5" y="11"/>
                </a:cxn>
                <a:cxn ang="0">
                  <a:pos x="11" y="5"/>
                </a:cxn>
                <a:cxn ang="0">
                  <a:pos x="11" y="5"/>
                </a:cxn>
                <a:cxn ang="0">
                  <a:pos x="13" y="3"/>
                </a:cxn>
                <a:cxn ang="0">
                  <a:pos x="13" y="1"/>
                </a:cxn>
                <a:cxn ang="0">
                  <a:pos x="9" y="0"/>
                </a:cxn>
                <a:cxn ang="0">
                  <a:pos x="0" y="0"/>
                </a:cxn>
                <a:cxn ang="0">
                  <a:pos x="0" y="0"/>
                </a:cxn>
              </a:cxnLst>
              <a:rect l="0" t="0" r="r" b="b"/>
              <a:pathLst>
                <a:path w="13" h="13">
                  <a:moveTo>
                    <a:pt x="0" y="0"/>
                  </a:moveTo>
                  <a:lnTo>
                    <a:pt x="0" y="0"/>
                  </a:lnTo>
                  <a:lnTo>
                    <a:pt x="0" y="3"/>
                  </a:lnTo>
                  <a:lnTo>
                    <a:pt x="0" y="9"/>
                  </a:lnTo>
                  <a:lnTo>
                    <a:pt x="0" y="13"/>
                  </a:lnTo>
                  <a:lnTo>
                    <a:pt x="2" y="13"/>
                  </a:lnTo>
                  <a:lnTo>
                    <a:pt x="5" y="11"/>
                  </a:lnTo>
                  <a:lnTo>
                    <a:pt x="11" y="5"/>
                  </a:lnTo>
                  <a:lnTo>
                    <a:pt x="11" y="5"/>
                  </a:lnTo>
                  <a:lnTo>
                    <a:pt x="13" y="3"/>
                  </a:lnTo>
                  <a:lnTo>
                    <a:pt x="13" y="1"/>
                  </a:lnTo>
                  <a:lnTo>
                    <a:pt x="9" y="0"/>
                  </a:lnTo>
                  <a:lnTo>
                    <a:pt x="0" y="0"/>
                  </a:lnTo>
                  <a:lnTo>
                    <a:pt x="0"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Freeform 15">
              <a:extLst>
                <a:ext uri="{FF2B5EF4-FFF2-40B4-BE49-F238E27FC236}">
                  <a16:creationId xmlns:a16="http://schemas.microsoft.com/office/drawing/2014/main" id="{9A7585CE-5636-4C1D-A252-0F895A85D31D}"/>
                </a:ext>
              </a:extLst>
            </p:cNvPr>
            <p:cNvSpPr>
              <a:spLocks/>
            </p:cNvSpPr>
            <p:nvPr/>
          </p:nvSpPr>
          <p:spPr bwMode="auto">
            <a:xfrm>
              <a:off x="6366861" y="3656349"/>
              <a:ext cx="14533" cy="10900"/>
            </a:xfrm>
            <a:custGeom>
              <a:avLst/>
              <a:gdLst/>
              <a:ahLst/>
              <a:cxnLst>
                <a:cxn ang="0">
                  <a:pos x="11" y="0"/>
                </a:cxn>
                <a:cxn ang="0">
                  <a:pos x="11" y="0"/>
                </a:cxn>
                <a:cxn ang="0">
                  <a:pos x="5" y="0"/>
                </a:cxn>
                <a:cxn ang="0">
                  <a:pos x="2" y="0"/>
                </a:cxn>
                <a:cxn ang="0">
                  <a:pos x="0" y="0"/>
                </a:cxn>
                <a:cxn ang="0">
                  <a:pos x="0" y="0"/>
                </a:cxn>
                <a:cxn ang="0">
                  <a:pos x="0" y="1"/>
                </a:cxn>
                <a:cxn ang="0">
                  <a:pos x="2" y="5"/>
                </a:cxn>
                <a:cxn ang="0">
                  <a:pos x="9" y="11"/>
                </a:cxn>
                <a:cxn ang="0">
                  <a:pos x="13" y="13"/>
                </a:cxn>
                <a:cxn ang="0">
                  <a:pos x="15" y="11"/>
                </a:cxn>
                <a:cxn ang="0">
                  <a:pos x="15" y="7"/>
                </a:cxn>
                <a:cxn ang="0">
                  <a:pos x="11" y="0"/>
                </a:cxn>
                <a:cxn ang="0">
                  <a:pos x="11" y="0"/>
                </a:cxn>
              </a:cxnLst>
              <a:rect l="0" t="0" r="r" b="b"/>
              <a:pathLst>
                <a:path w="15" h="13">
                  <a:moveTo>
                    <a:pt x="11" y="0"/>
                  </a:moveTo>
                  <a:lnTo>
                    <a:pt x="11" y="0"/>
                  </a:lnTo>
                  <a:lnTo>
                    <a:pt x="5" y="0"/>
                  </a:lnTo>
                  <a:lnTo>
                    <a:pt x="2" y="0"/>
                  </a:lnTo>
                  <a:lnTo>
                    <a:pt x="0" y="0"/>
                  </a:lnTo>
                  <a:lnTo>
                    <a:pt x="0" y="0"/>
                  </a:lnTo>
                  <a:lnTo>
                    <a:pt x="0" y="1"/>
                  </a:lnTo>
                  <a:lnTo>
                    <a:pt x="2" y="5"/>
                  </a:lnTo>
                  <a:lnTo>
                    <a:pt x="9" y="11"/>
                  </a:lnTo>
                  <a:lnTo>
                    <a:pt x="13" y="13"/>
                  </a:lnTo>
                  <a:lnTo>
                    <a:pt x="15" y="11"/>
                  </a:lnTo>
                  <a:lnTo>
                    <a:pt x="15" y="7"/>
                  </a:lnTo>
                  <a:lnTo>
                    <a:pt x="11" y="0"/>
                  </a:lnTo>
                  <a:lnTo>
                    <a:pt x="11"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Freeform 16">
              <a:extLst>
                <a:ext uri="{FF2B5EF4-FFF2-40B4-BE49-F238E27FC236}">
                  <a16:creationId xmlns:a16="http://schemas.microsoft.com/office/drawing/2014/main" id="{1475A420-487D-4514-AB5C-8BDCD1730152}"/>
                </a:ext>
              </a:extLst>
            </p:cNvPr>
            <p:cNvSpPr>
              <a:spLocks/>
            </p:cNvSpPr>
            <p:nvPr/>
          </p:nvSpPr>
          <p:spPr bwMode="auto">
            <a:xfrm>
              <a:off x="6352327" y="3674516"/>
              <a:ext cx="27250" cy="14533"/>
            </a:xfrm>
            <a:custGeom>
              <a:avLst/>
              <a:gdLst/>
              <a:ahLst/>
              <a:cxnLst>
                <a:cxn ang="0">
                  <a:pos x="28" y="2"/>
                </a:cxn>
                <a:cxn ang="0">
                  <a:pos x="28" y="2"/>
                </a:cxn>
                <a:cxn ang="0">
                  <a:pos x="20" y="0"/>
                </a:cxn>
                <a:cxn ang="0">
                  <a:pos x="13" y="2"/>
                </a:cxn>
                <a:cxn ang="0">
                  <a:pos x="5" y="4"/>
                </a:cxn>
                <a:cxn ang="0">
                  <a:pos x="2" y="8"/>
                </a:cxn>
                <a:cxn ang="0">
                  <a:pos x="0" y="13"/>
                </a:cxn>
                <a:cxn ang="0">
                  <a:pos x="2" y="15"/>
                </a:cxn>
                <a:cxn ang="0">
                  <a:pos x="7" y="15"/>
                </a:cxn>
                <a:cxn ang="0">
                  <a:pos x="17" y="9"/>
                </a:cxn>
                <a:cxn ang="0">
                  <a:pos x="17" y="9"/>
                </a:cxn>
                <a:cxn ang="0">
                  <a:pos x="28" y="8"/>
                </a:cxn>
                <a:cxn ang="0">
                  <a:pos x="30" y="6"/>
                </a:cxn>
                <a:cxn ang="0">
                  <a:pos x="30" y="4"/>
                </a:cxn>
                <a:cxn ang="0">
                  <a:pos x="28" y="2"/>
                </a:cxn>
                <a:cxn ang="0">
                  <a:pos x="28" y="2"/>
                </a:cxn>
              </a:cxnLst>
              <a:rect l="0" t="0" r="r" b="b"/>
              <a:pathLst>
                <a:path w="30" h="15">
                  <a:moveTo>
                    <a:pt x="28" y="2"/>
                  </a:moveTo>
                  <a:lnTo>
                    <a:pt x="28" y="2"/>
                  </a:lnTo>
                  <a:lnTo>
                    <a:pt x="20" y="0"/>
                  </a:lnTo>
                  <a:lnTo>
                    <a:pt x="13" y="2"/>
                  </a:lnTo>
                  <a:lnTo>
                    <a:pt x="5" y="4"/>
                  </a:lnTo>
                  <a:lnTo>
                    <a:pt x="2" y="8"/>
                  </a:lnTo>
                  <a:lnTo>
                    <a:pt x="0" y="13"/>
                  </a:lnTo>
                  <a:lnTo>
                    <a:pt x="2" y="15"/>
                  </a:lnTo>
                  <a:lnTo>
                    <a:pt x="7" y="15"/>
                  </a:lnTo>
                  <a:lnTo>
                    <a:pt x="17" y="9"/>
                  </a:lnTo>
                  <a:lnTo>
                    <a:pt x="17" y="9"/>
                  </a:lnTo>
                  <a:lnTo>
                    <a:pt x="28" y="8"/>
                  </a:lnTo>
                  <a:lnTo>
                    <a:pt x="30" y="6"/>
                  </a:lnTo>
                  <a:lnTo>
                    <a:pt x="30" y="4"/>
                  </a:lnTo>
                  <a:lnTo>
                    <a:pt x="28" y="2"/>
                  </a:lnTo>
                  <a:lnTo>
                    <a:pt x="28"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Freeform 17">
              <a:extLst>
                <a:ext uri="{FF2B5EF4-FFF2-40B4-BE49-F238E27FC236}">
                  <a16:creationId xmlns:a16="http://schemas.microsoft.com/office/drawing/2014/main" id="{20B859E4-0F0C-48FF-803D-756DC522A745}"/>
                </a:ext>
              </a:extLst>
            </p:cNvPr>
            <p:cNvSpPr>
              <a:spLocks/>
            </p:cNvSpPr>
            <p:nvPr/>
          </p:nvSpPr>
          <p:spPr bwMode="auto">
            <a:xfrm>
              <a:off x="6385027" y="3689049"/>
              <a:ext cx="9084" cy="10900"/>
            </a:xfrm>
            <a:custGeom>
              <a:avLst/>
              <a:gdLst/>
              <a:ahLst/>
              <a:cxnLst>
                <a:cxn ang="0">
                  <a:pos x="2" y="2"/>
                </a:cxn>
                <a:cxn ang="0">
                  <a:pos x="2" y="2"/>
                </a:cxn>
                <a:cxn ang="0">
                  <a:pos x="0" y="6"/>
                </a:cxn>
                <a:cxn ang="0">
                  <a:pos x="4" y="11"/>
                </a:cxn>
                <a:cxn ang="0">
                  <a:pos x="6" y="11"/>
                </a:cxn>
                <a:cxn ang="0">
                  <a:pos x="8" y="13"/>
                </a:cxn>
                <a:cxn ang="0">
                  <a:pos x="10" y="11"/>
                </a:cxn>
                <a:cxn ang="0">
                  <a:pos x="10" y="8"/>
                </a:cxn>
                <a:cxn ang="0">
                  <a:pos x="10" y="8"/>
                </a:cxn>
                <a:cxn ang="0">
                  <a:pos x="12" y="4"/>
                </a:cxn>
                <a:cxn ang="0">
                  <a:pos x="12" y="2"/>
                </a:cxn>
                <a:cxn ang="0">
                  <a:pos x="10" y="0"/>
                </a:cxn>
                <a:cxn ang="0">
                  <a:pos x="8" y="0"/>
                </a:cxn>
                <a:cxn ang="0">
                  <a:pos x="4" y="0"/>
                </a:cxn>
                <a:cxn ang="0">
                  <a:pos x="2" y="2"/>
                </a:cxn>
                <a:cxn ang="0">
                  <a:pos x="2" y="2"/>
                </a:cxn>
              </a:cxnLst>
              <a:rect l="0" t="0" r="r" b="b"/>
              <a:pathLst>
                <a:path w="12" h="13">
                  <a:moveTo>
                    <a:pt x="2" y="2"/>
                  </a:moveTo>
                  <a:lnTo>
                    <a:pt x="2" y="2"/>
                  </a:lnTo>
                  <a:lnTo>
                    <a:pt x="0" y="6"/>
                  </a:lnTo>
                  <a:lnTo>
                    <a:pt x="4" y="11"/>
                  </a:lnTo>
                  <a:lnTo>
                    <a:pt x="6" y="11"/>
                  </a:lnTo>
                  <a:lnTo>
                    <a:pt x="8" y="13"/>
                  </a:lnTo>
                  <a:lnTo>
                    <a:pt x="10" y="11"/>
                  </a:lnTo>
                  <a:lnTo>
                    <a:pt x="10" y="8"/>
                  </a:lnTo>
                  <a:lnTo>
                    <a:pt x="10" y="8"/>
                  </a:lnTo>
                  <a:lnTo>
                    <a:pt x="12" y="4"/>
                  </a:lnTo>
                  <a:lnTo>
                    <a:pt x="12" y="2"/>
                  </a:lnTo>
                  <a:lnTo>
                    <a:pt x="10" y="0"/>
                  </a:lnTo>
                  <a:lnTo>
                    <a:pt x="8" y="0"/>
                  </a:lnTo>
                  <a:lnTo>
                    <a:pt x="4" y="0"/>
                  </a:lnTo>
                  <a:lnTo>
                    <a:pt x="2" y="2"/>
                  </a:lnTo>
                  <a:lnTo>
                    <a:pt x="2"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Freeform 18">
              <a:extLst>
                <a:ext uri="{FF2B5EF4-FFF2-40B4-BE49-F238E27FC236}">
                  <a16:creationId xmlns:a16="http://schemas.microsoft.com/office/drawing/2014/main" id="{BFF7A506-B1D0-44C6-BBCC-2C23317F93F5}"/>
                </a:ext>
              </a:extLst>
            </p:cNvPr>
            <p:cNvSpPr>
              <a:spLocks/>
            </p:cNvSpPr>
            <p:nvPr/>
          </p:nvSpPr>
          <p:spPr bwMode="auto">
            <a:xfrm>
              <a:off x="6350511" y="3701765"/>
              <a:ext cx="25433" cy="16349"/>
            </a:xfrm>
            <a:custGeom>
              <a:avLst/>
              <a:gdLst/>
              <a:ahLst/>
              <a:cxnLst>
                <a:cxn ang="0">
                  <a:pos x="21" y="13"/>
                </a:cxn>
                <a:cxn ang="0">
                  <a:pos x="21" y="13"/>
                </a:cxn>
                <a:cxn ang="0">
                  <a:pos x="24" y="19"/>
                </a:cxn>
                <a:cxn ang="0">
                  <a:pos x="26" y="19"/>
                </a:cxn>
                <a:cxn ang="0">
                  <a:pos x="28" y="15"/>
                </a:cxn>
                <a:cxn ang="0">
                  <a:pos x="28" y="11"/>
                </a:cxn>
                <a:cxn ang="0">
                  <a:pos x="24" y="6"/>
                </a:cxn>
                <a:cxn ang="0">
                  <a:pos x="21" y="2"/>
                </a:cxn>
                <a:cxn ang="0">
                  <a:pos x="13" y="0"/>
                </a:cxn>
                <a:cxn ang="0">
                  <a:pos x="2" y="0"/>
                </a:cxn>
                <a:cxn ang="0">
                  <a:pos x="2" y="0"/>
                </a:cxn>
                <a:cxn ang="0">
                  <a:pos x="0" y="2"/>
                </a:cxn>
                <a:cxn ang="0">
                  <a:pos x="0" y="4"/>
                </a:cxn>
                <a:cxn ang="0">
                  <a:pos x="0" y="4"/>
                </a:cxn>
                <a:cxn ang="0">
                  <a:pos x="2" y="7"/>
                </a:cxn>
                <a:cxn ang="0">
                  <a:pos x="4" y="7"/>
                </a:cxn>
                <a:cxn ang="0">
                  <a:pos x="7" y="7"/>
                </a:cxn>
                <a:cxn ang="0">
                  <a:pos x="15" y="9"/>
                </a:cxn>
                <a:cxn ang="0">
                  <a:pos x="17" y="11"/>
                </a:cxn>
                <a:cxn ang="0">
                  <a:pos x="21" y="13"/>
                </a:cxn>
                <a:cxn ang="0">
                  <a:pos x="21" y="13"/>
                </a:cxn>
              </a:cxnLst>
              <a:rect l="0" t="0" r="r" b="b"/>
              <a:pathLst>
                <a:path w="28" h="19">
                  <a:moveTo>
                    <a:pt x="21" y="13"/>
                  </a:moveTo>
                  <a:lnTo>
                    <a:pt x="21" y="13"/>
                  </a:lnTo>
                  <a:lnTo>
                    <a:pt x="24" y="19"/>
                  </a:lnTo>
                  <a:lnTo>
                    <a:pt x="26" y="19"/>
                  </a:lnTo>
                  <a:lnTo>
                    <a:pt x="28" y="15"/>
                  </a:lnTo>
                  <a:lnTo>
                    <a:pt x="28" y="11"/>
                  </a:lnTo>
                  <a:lnTo>
                    <a:pt x="24" y="6"/>
                  </a:lnTo>
                  <a:lnTo>
                    <a:pt x="21" y="2"/>
                  </a:lnTo>
                  <a:lnTo>
                    <a:pt x="13" y="0"/>
                  </a:lnTo>
                  <a:lnTo>
                    <a:pt x="2" y="0"/>
                  </a:lnTo>
                  <a:lnTo>
                    <a:pt x="2" y="0"/>
                  </a:lnTo>
                  <a:lnTo>
                    <a:pt x="0" y="2"/>
                  </a:lnTo>
                  <a:lnTo>
                    <a:pt x="0" y="4"/>
                  </a:lnTo>
                  <a:lnTo>
                    <a:pt x="0" y="4"/>
                  </a:lnTo>
                  <a:lnTo>
                    <a:pt x="2" y="7"/>
                  </a:lnTo>
                  <a:lnTo>
                    <a:pt x="4" y="7"/>
                  </a:lnTo>
                  <a:lnTo>
                    <a:pt x="7" y="7"/>
                  </a:lnTo>
                  <a:lnTo>
                    <a:pt x="15" y="9"/>
                  </a:lnTo>
                  <a:lnTo>
                    <a:pt x="17" y="11"/>
                  </a:lnTo>
                  <a:lnTo>
                    <a:pt x="21" y="13"/>
                  </a:lnTo>
                  <a:lnTo>
                    <a:pt x="21"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19">
              <a:extLst>
                <a:ext uri="{FF2B5EF4-FFF2-40B4-BE49-F238E27FC236}">
                  <a16:creationId xmlns:a16="http://schemas.microsoft.com/office/drawing/2014/main" id="{90D4EABE-5754-41E3-91B8-BD28BF80342B}"/>
                </a:ext>
              </a:extLst>
            </p:cNvPr>
            <p:cNvSpPr>
              <a:spLocks noEditPoints="1"/>
            </p:cNvSpPr>
            <p:nvPr/>
          </p:nvSpPr>
          <p:spPr bwMode="auto">
            <a:xfrm>
              <a:off x="5958112" y="4086898"/>
              <a:ext cx="630382" cy="535915"/>
            </a:xfrm>
            <a:custGeom>
              <a:avLst/>
              <a:gdLst/>
              <a:ahLst/>
              <a:cxnLst>
                <a:cxn ang="0">
                  <a:pos x="253" y="60"/>
                </a:cxn>
                <a:cxn ang="0">
                  <a:pos x="230" y="105"/>
                </a:cxn>
                <a:cxn ang="0">
                  <a:pos x="189" y="71"/>
                </a:cxn>
                <a:cxn ang="0">
                  <a:pos x="139" y="101"/>
                </a:cxn>
                <a:cxn ang="0">
                  <a:pos x="109" y="103"/>
                </a:cxn>
                <a:cxn ang="0">
                  <a:pos x="79" y="75"/>
                </a:cxn>
                <a:cxn ang="0">
                  <a:pos x="43" y="39"/>
                </a:cxn>
                <a:cxn ang="0">
                  <a:pos x="12" y="52"/>
                </a:cxn>
                <a:cxn ang="0">
                  <a:pos x="19" y="103"/>
                </a:cxn>
                <a:cxn ang="0">
                  <a:pos x="90" y="157"/>
                </a:cxn>
                <a:cxn ang="0">
                  <a:pos x="150" y="172"/>
                </a:cxn>
                <a:cxn ang="0">
                  <a:pos x="183" y="206"/>
                </a:cxn>
                <a:cxn ang="0">
                  <a:pos x="215" y="230"/>
                </a:cxn>
                <a:cxn ang="0">
                  <a:pos x="223" y="284"/>
                </a:cxn>
                <a:cxn ang="0">
                  <a:pos x="251" y="269"/>
                </a:cxn>
                <a:cxn ang="0">
                  <a:pos x="275" y="258"/>
                </a:cxn>
                <a:cxn ang="0">
                  <a:pos x="262" y="215"/>
                </a:cxn>
                <a:cxn ang="0">
                  <a:pos x="290" y="239"/>
                </a:cxn>
                <a:cxn ang="0">
                  <a:pos x="296" y="295"/>
                </a:cxn>
                <a:cxn ang="0">
                  <a:pos x="275" y="303"/>
                </a:cxn>
                <a:cxn ang="0">
                  <a:pos x="258" y="292"/>
                </a:cxn>
                <a:cxn ang="0">
                  <a:pos x="243" y="316"/>
                </a:cxn>
                <a:cxn ang="0">
                  <a:pos x="292" y="340"/>
                </a:cxn>
                <a:cxn ang="0">
                  <a:pos x="329" y="303"/>
                </a:cxn>
                <a:cxn ang="0">
                  <a:pos x="359" y="346"/>
                </a:cxn>
                <a:cxn ang="0">
                  <a:pos x="322" y="363"/>
                </a:cxn>
                <a:cxn ang="0">
                  <a:pos x="286" y="370"/>
                </a:cxn>
                <a:cxn ang="0">
                  <a:pos x="303" y="404"/>
                </a:cxn>
                <a:cxn ang="0">
                  <a:pos x="273" y="460"/>
                </a:cxn>
                <a:cxn ang="0">
                  <a:pos x="333" y="510"/>
                </a:cxn>
                <a:cxn ang="0">
                  <a:pos x="322" y="546"/>
                </a:cxn>
                <a:cxn ang="0">
                  <a:pos x="410" y="551"/>
                </a:cxn>
                <a:cxn ang="0">
                  <a:pos x="460" y="544"/>
                </a:cxn>
                <a:cxn ang="0">
                  <a:pos x="522" y="501"/>
                </a:cxn>
                <a:cxn ang="0">
                  <a:pos x="520" y="512"/>
                </a:cxn>
                <a:cxn ang="0">
                  <a:pos x="520" y="525"/>
                </a:cxn>
                <a:cxn ang="0">
                  <a:pos x="527" y="542"/>
                </a:cxn>
                <a:cxn ang="0">
                  <a:pos x="527" y="559"/>
                </a:cxn>
                <a:cxn ang="0">
                  <a:pos x="563" y="570"/>
                </a:cxn>
                <a:cxn ang="0">
                  <a:pos x="589" y="538"/>
                </a:cxn>
                <a:cxn ang="0">
                  <a:pos x="624" y="484"/>
                </a:cxn>
                <a:cxn ang="0">
                  <a:pos x="572" y="447"/>
                </a:cxn>
                <a:cxn ang="0">
                  <a:pos x="535" y="411"/>
                </a:cxn>
                <a:cxn ang="0">
                  <a:pos x="477" y="434"/>
                </a:cxn>
                <a:cxn ang="0">
                  <a:pos x="529" y="406"/>
                </a:cxn>
                <a:cxn ang="0">
                  <a:pos x="587" y="436"/>
                </a:cxn>
                <a:cxn ang="0">
                  <a:pos x="651" y="436"/>
                </a:cxn>
                <a:cxn ang="0">
                  <a:pos x="692" y="430"/>
                </a:cxn>
                <a:cxn ang="0">
                  <a:pos x="639" y="391"/>
                </a:cxn>
                <a:cxn ang="0">
                  <a:pos x="613" y="355"/>
                </a:cxn>
                <a:cxn ang="0">
                  <a:pos x="559" y="307"/>
                </a:cxn>
                <a:cxn ang="0">
                  <a:pos x="490" y="153"/>
                </a:cxn>
                <a:cxn ang="0">
                  <a:pos x="443" y="90"/>
                </a:cxn>
                <a:cxn ang="0">
                  <a:pos x="339" y="45"/>
                </a:cxn>
                <a:cxn ang="0">
                  <a:pos x="331" y="0"/>
                </a:cxn>
                <a:cxn ang="0">
                  <a:pos x="271" y="56"/>
                </a:cxn>
              </a:cxnLst>
              <a:rect l="0" t="0" r="r" b="b"/>
              <a:pathLst>
                <a:path w="694" h="591">
                  <a:moveTo>
                    <a:pt x="533" y="546"/>
                  </a:moveTo>
                  <a:lnTo>
                    <a:pt x="533" y="546"/>
                  </a:lnTo>
                  <a:close/>
                  <a:moveTo>
                    <a:pt x="271" y="56"/>
                  </a:moveTo>
                  <a:lnTo>
                    <a:pt x="271" y="56"/>
                  </a:lnTo>
                  <a:lnTo>
                    <a:pt x="268" y="62"/>
                  </a:lnTo>
                  <a:lnTo>
                    <a:pt x="264" y="62"/>
                  </a:lnTo>
                  <a:lnTo>
                    <a:pt x="256" y="60"/>
                  </a:lnTo>
                  <a:lnTo>
                    <a:pt x="253" y="60"/>
                  </a:lnTo>
                  <a:lnTo>
                    <a:pt x="249" y="64"/>
                  </a:lnTo>
                  <a:lnTo>
                    <a:pt x="247" y="75"/>
                  </a:lnTo>
                  <a:lnTo>
                    <a:pt x="243" y="92"/>
                  </a:lnTo>
                  <a:lnTo>
                    <a:pt x="243" y="92"/>
                  </a:lnTo>
                  <a:lnTo>
                    <a:pt x="241" y="95"/>
                  </a:lnTo>
                  <a:lnTo>
                    <a:pt x="240" y="101"/>
                  </a:lnTo>
                  <a:lnTo>
                    <a:pt x="236" y="103"/>
                  </a:lnTo>
                  <a:lnTo>
                    <a:pt x="230" y="105"/>
                  </a:lnTo>
                  <a:lnTo>
                    <a:pt x="225" y="105"/>
                  </a:lnTo>
                  <a:lnTo>
                    <a:pt x="219" y="101"/>
                  </a:lnTo>
                  <a:lnTo>
                    <a:pt x="211" y="95"/>
                  </a:lnTo>
                  <a:lnTo>
                    <a:pt x="204" y="84"/>
                  </a:lnTo>
                  <a:lnTo>
                    <a:pt x="204" y="84"/>
                  </a:lnTo>
                  <a:lnTo>
                    <a:pt x="198" y="77"/>
                  </a:lnTo>
                  <a:lnTo>
                    <a:pt x="195" y="73"/>
                  </a:lnTo>
                  <a:lnTo>
                    <a:pt x="189" y="71"/>
                  </a:lnTo>
                  <a:lnTo>
                    <a:pt x="185" y="71"/>
                  </a:lnTo>
                  <a:lnTo>
                    <a:pt x="180" y="73"/>
                  </a:lnTo>
                  <a:lnTo>
                    <a:pt x="176" y="77"/>
                  </a:lnTo>
                  <a:lnTo>
                    <a:pt x="167" y="86"/>
                  </a:lnTo>
                  <a:lnTo>
                    <a:pt x="157" y="95"/>
                  </a:lnTo>
                  <a:lnTo>
                    <a:pt x="152" y="99"/>
                  </a:lnTo>
                  <a:lnTo>
                    <a:pt x="146" y="101"/>
                  </a:lnTo>
                  <a:lnTo>
                    <a:pt x="139" y="101"/>
                  </a:lnTo>
                  <a:lnTo>
                    <a:pt x="131" y="99"/>
                  </a:lnTo>
                  <a:lnTo>
                    <a:pt x="124" y="95"/>
                  </a:lnTo>
                  <a:lnTo>
                    <a:pt x="114" y="88"/>
                  </a:lnTo>
                  <a:lnTo>
                    <a:pt x="107" y="80"/>
                  </a:lnTo>
                  <a:lnTo>
                    <a:pt x="107" y="80"/>
                  </a:lnTo>
                  <a:lnTo>
                    <a:pt x="111" y="90"/>
                  </a:lnTo>
                  <a:lnTo>
                    <a:pt x="111" y="97"/>
                  </a:lnTo>
                  <a:lnTo>
                    <a:pt x="109" y="103"/>
                  </a:lnTo>
                  <a:lnTo>
                    <a:pt x="105" y="105"/>
                  </a:lnTo>
                  <a:lnTo>
                    <a:pt x="101" y="107"/>
                  </a:lnTo>
                  <a:lnTo>
                    <a:pt x="97" y="105"/>
                  </a:lnTo>
                  <a:lnTo>
                    <a:pt x="96" y="103"/>
                  </a:lnTo>
                  <a:lnTo>
                    <a:pt x="94" y="97"/>
                  </a:lnTo>
                  <a:lnTo>
                    <a:pt x="94" y="97"/>
                  </a:lnTo>
                  <a:lnTo>
                    <a:pt x="88" y="90"/>
                  </a:lnTo>
                  <a:lnTo>
                    <a:pt x="79" y="75"/>
                  </a:lnTo>
                  <a:lnTo>
                    <a:pt x="66" y="54"/>
                  </a:lnTo>
                  <a:lnTo>
                    <a:pt x="60" y="52"/>
                  </a:lnTo>
                  <a:lnTo>
                    <a:pt x="60" y="52"/>
                  </a:lnTo>
                  <a:lnTo>
                    <a:pt x="47" y="43"/>
                  </a:lnTo>
                  <a:lnTo>
                    <a:pt x="47" y="43"/>
                  </a:lnTo>
                  <a:lnTo>
                    <a:pt x="45" y="41"/>
                  </a:lnTo>
                  <a:lnTo>
                    <a:pt x="45" y="41"/>
                  </a:lnTo>
                  <a:lnTo>
                    <a:pt x="43" y="39"/>
                  </a:lnTo>
                  <a:lnTo>
                    <a:pt x="41" y="41"/>
                  </a:lnTo>
                  <a:lnTo>
                    <a:pt x="40" y="43"/>
                  </a:lnTo>
                  <a:lnTo>
                    <a:pt x="36" y="45"/>
                  </a:lnTo>
                  <a:lnTo>
                    <a:pt x="32" y="49"/>
                  </a:lnTo>
                  <a:lnTo>
                    <a:pt x="26" y="51"/>
                  </a:lnTo>
                  <a:lnTo>
                    <a:pt x="19" y="51"/>
                  </a:lnTo>
                  <a:lnTo>
                    <a:pt x="19" y="51"/>
                  </a:lnTo>
                  <a:lnTo>
                    <a:pt x="12" y="52"/>
                  </a:lnTo>
                  <a:lnTo>
                    <a:pt x="8" y="56"/>
                  </a:lnTo>
                  <a:lnTo>
                    <a:pt x="6" y="62"/>
                  </a:lnTo>
                  <a:lnTo>
                    <a:pt x="4" y="67"/>
                  </a:lnTo>
                  <a:lnTo>
                    <a:pt x="6" y="80"/>
                  </a:lnTo>
                  <a:lnTo>
                    <a:pt x="4" y="86"/>
                  </a:lnTo>
                  <a:lnTo>
                    <a:pt x="0" y="90"/>
                  </a:lnTo>
                  <a:lnTo>
                    <a:pt x="0" y="90"/>
                  </a:lnTo>
                  <a:lnTo>
                    <a:pt x="19" y="103"/>
                  </a:lnTo>
                  <a:lnTo>
                    <a:pt x="32" y="109"/>
                  </a:lnTo>
                  <a:lnTo>
                    <a:pt x="51" y="116"/>
                  </a:lnTo>
                  <a:lnTo>
                    <a:pt x="56" y="120"/>
                  </a:lnTo>
                  <a:lnTo>
                    <a:pt x="64" y="125"/>
                  </a:lnTo>
                  <a:lnTo>
                    <a:pt x="73" y="135"/>
                  </a:lnTo>
                  <a:lnTo>
                    <a:pt x="86" y="151"/>
                  </a:lnTo>
                  <a:lnTo>
                    <a:pt x="86" y="151"/>
                  </a:lnTo>
                  <a:lnTo>
                    <a:pt x="90" y="157"/>
                  </a:lnTo>
                  <a:lnTo>
                    <a:pt x="96" y="161"/>
                  </a:lnTo>
                  <a:lnTo>
                    <a:pt x="101" y="165"/>
                  </a:lnTo>
                  <a:lnTo>
                    <a:pt x="107" y="165"/>
                  </a:lnTo>
                  <a:lnTo>
                    <a:pt x="118" y="166"/>
                  </a:lnTo>
                  <a:lnTo>
                    <a:pt x="129" y="166"/>
                  </a:lnTo>
                  <a:lnTo>
                    <a:pt x="140" y="166"/>
                  </a:lnTo>
                  <a:lnTo>
                    <a:pt x="146" y="168"/>
                  </a:lnTo>
                  <a:lnTo>
                    <a:pt x="150" y="172"/>
                  </a:lnTo>
                  <a:lnTo>
                    <a:pt x="155" y="178"/>
                  </a:lnTo>
                  <a:lnTo>
                    <a:pt x="161" y="183"/>
                  </a:lnTo>
                  <a:lnTo>
                    <a:pt x="165" y="193"/>
                  </a:lnTo>
                  <a:lnTo>
                    <a:pt x="168" y="204"/>
                  </a:lnTo>
                  <a:lnTo>
                    <a:pt x="168" y="204"/>
                  </a:lnTo>
                  <a:lnTo>
                    <a:pt x="170" y="206"/>
                  </a:lnTo>
                  <a:lnTo>
                    <a:pt x="174" y="208"/>
                  </a:lnTo>
                  <a:lnTo>
                    <a:pt x="183" y="206"/>
                  </a:lnTo>
                  <a:lnTo>
                    <a:pt x="195" y="204"/>
                  </a:lnTo>
                  <a:lnTo>
                    <a:pt x="206" y="202"/>
                  </a:lnTo>
                  <a:lnTo>
                    <a:pt x="210" y="202"/>
                  </a:lnTo>
                  <a:lnTo>
                    <a:pt x="213" y="204"/>
                  </a:lnTo>
                  <a:lnTo>
                    <a:pt x="215" y="206"/>
                  </a:lnTo>
                  <a:lnTo>
                    <a:pt x="217" y="211"/>
                  </a:lnTo>
                  <a:lnTo>
                    <a:pt x="217" y="219"/>
                  </a:lnTo>
                  <a:lnTo>
                    <a:pt x="215" y="230"/>
                  </a:lnTo>
                  <a:lnTo>
                    <a:pt x="202" y="262"/>
                  </a:lnTo>
                  <a:lnTo>
                    <a:pt x="202" y="262"/>
                  </a:lnTo>
                  <a:lnTo>
                    <a:pt x="198" y="273"/>
                  </a:lnTo>
                  <a:lnTo>
                    <a:pt x="198" y="282"/>
                  </a:lnTo>
                  <a:lnTo>
                    <a:pt x="202" y="286"/>
                  </a:lnTo>
                  <a:lnTo>
                    <a:pt x="208" y="286"/>
                  </a:lnTo>
                  <a:lnTo>
                    <a:pt x="215" y="286"/>
                  </a:lnTo>
                  <a:lnTo>
                    <a:pt x="223" y="284"/>
                  </a:lnTo>
                  <a:lnTo>
                    <a:pt x="234" y="279"/>
                  </a:lnTo>
                  <a:lnTo>
                    <a:pt x="234" y="279"/>
                  </a:lnTo>
                  <a:lnTo>
                    <a:pt x="228" y="275"/>
                  </a:lnTo>
                  <a:lnTo>
                    <a:pt x="228" y="273"/>
                  </a:lnTo>
                  <a:lnTo>
                    <a:pt x="230" y="271"/>
                  </a:lnTo>
                  <a:lnTo>
                    <a:pt x="234" y="271"/>
                  </a:lnTo>
                  <a:lnTo>
                    <a:pt x="245" y="269"/>
                  </a:lnTo>
                  <a:lnTo>
                    <a:pt x="251" y="269"/>
                  </a:lnTo>
                  <a:lnTo>
                    <a:pt x="256" y="267"/>
                  </a:lnTo>
                  <a:lnTo>
                    <a:pt x="256" y="267"/>
                  </a:lnTo>
                  <a:lnTo>
                    <a:pt x="262" y="262"/>
                  </a:lnTo>
                  <a:lnTo>
                    <a:pt x="269" y="262"/>
                  </a:lnTo>
                  <a:lnTo>
                    <a:pt x="275" y="262"/>
                  </a:lnTo>
                  <a:lnTo>
                    <a:pt x="281" y="262"/>
                  </a:lnTo>
                  <a:lnTo>
                    <a:pt x="282" y="264"/>
                  </a:lnTo>
                  <a:lnTo>
                    <a:pt x="275" y="258"/>
                  </a:lnTo>
                  <a:lnTo>
                    <a:pt x="275" y="258"/>
                  </a:lnTo>
                  <a:lnTo>
                    <a:pt x="271" y="252"/>
                  </a:lnTo>
                  <a:lnTo>
                    <a:pt x="268" y="247"/>
                  </a:lnTo>
                  <a:lnTo>
                    <a:pt x="264" y="237"/>
                  </a:lnTo>
                  <a:lnTo>
                    <a:pt x="260" y="230"/>
                  </a:lnTo>
                  <a:lnTo>
                    <a:pt x="260" y="223"/>
                  </a:lnTo>
                  <a:lnTo>
                    <a:pt x="260" y="217"/>
                  </a:lnTo>
                  <a:lnTo>
                    <a:pt x="262" y="215"/>
                  </a:lnTo>
                  <a:lnTo>
                    <a:pt x="264" y="215"/>
                  </a:lnTo>
                  <a:lnTo>
                    <a:pt x="271" y="215"/>
                  </a:lnTo>
                  <a:lnTo>
                    <a:pt x="271" y="215"/>
                  </a:lnTo>
                  <a:lnTo>
                    <a:pt x="277" y="219"/>
                  </a:lnTo>
                  <a:lnTo>
                    <a:pt x="281" y="224"/>
                  </a:lnTo>
                  <a:lnTo>
                    <a:pt x="281" y="224"/>
                  </a:lnTo>
                  <a:lnTo>
                    <a:pt x="284" y="234"/>
                  </a:lnTo>
                  <a:lnTo>
                    <a:pt x="290" y="239"/>
                  </a:lnTo>
                  <a:lnTo>
                    <a:pt x="303" y="249"/>
                  </a:lnTo>
                  <a:lnTo>
                    <a:pt x="307" y="252"/>
                  </a:lnTo>
                  <a:lnTo>
                    <a:pt x="311" y="256"/>
                  </a:lnTo>
                  <a:lnTo>
                    <a:pt x="312" y="262"/>
                  </a:lnTo>
                  <a:lnTo>
                    <a:pt x="309" y="271"/>
                  </a:lnTo>
                  <a:lnTo>
                    <a:pt x="309" y="271"/>
                  </a:lnTo>
                  <a:lnTo>
                    <a:pt x="303" y="286"/>
                  </a:lnTo>
                  <a:lnTo>
                    <a:pt x="296" y="295"/>
                  </a:lnTo>
                  <a:lnTo>
                    <a:pt x="292" y="301"/>
                  </a:lnTo>
                  <a:lnTo>
                    <a:pt x="288" y="303"/>
                  </a:lnTo>
                  <a:lnTo>
                    <a:pt x="284" y="303"/>
                  </a:lnTo>
                  <a:lnTo>
                    <a:pt x="282" y="301"/>
                  </a:lnTo>
                  <a:lnTo>
                    <a:pt x="281" y="299"/>
                  </a:lnTo>
                  <a:lnTo>
                    <a:pt x="281" y="299"/>
                  </a:lnTo>
                  <a:lnTo>
                    <a:pt x="277" y="301"/>
                  </a:lnTo>
                  <a:lnTo>
                    <a:pt x="275" y="303"/>
                  </a:lnTo>
                  <a:lnTo>
                    <a:pt x="269" y="308"/>
                  </a:lnTo>
                  <a:lnTo>
                    <a:pt x="268" y="310"/>
                  </a:lnTo>
                  <a:lnTo>
                    <a:pt x="264" y="310"/>
                  </a:lnTo>
                  <a:lnTo>
                    <a:pt x="262" y="310"/>
                  </a:lnTo>
                  <a:lnTo>
                    <a:pt x="260" y="305"/>
                  </a:lnTo>
                  <a:lnTo>
                    <a:pt x="260" y="305"/>
                  </a:lnTo>
                  <a:lnTo>
                    <a:pt x="258" y="297"/>
                  </a:lnTo>
                  <a:lnTo>
                    <a:pt x="258" y="292"/>
                  </a:lnTo>
                  <a:lnTo>
                    <a:pt x="258" y="292"/>
                  </a:lnTo>
                  <a:lnTo>
                    <a:pt x="251" y="290"/>
                  </a:lnTo>
                  <a:lnTo>
                    <a:pt x="251" y="290"/>
                  </a:lnTo>
                  <a:lnTo>
                    <a:pt x="240" y="282"/>
                  </a:lnTo>
                  <a:lnTo>
                    <a:pt x="240" y="282"/>
                  </a:lnTo>
                  <a:lnTo>
                    <a:pt x="241" y="292"/>
                  </a:lnTo>
                  <a:lnTo>
                    <a:pt x="241" y="303"/>
                  </a:lnTo>
                  <a:lnTo>
                    <a:pt x="243" y="316"/>
                  </a:lnTo>
                  <a:lnTo>
                    <a:pt x="247" y="329"/>
                  </a:lnTo>
                  <a:lnTo>
                    <a:pt x="253" y="338"/>
                  </a:lnTo>
                  <a:lnTo>
                    <a:pt x="256" y="342"/>
                  </a:lnTo>
                  <a:lnTo>
                    <a:pt x="260" y="346"/>
                  </a:lnTo>
                  <a:lnTo>
                    <a:pt x="266" y="346"/>
                  </a:lnTo>
                  <a:lnTo>
                    <a:pt x="273" y="346"/>
                  </a:lnTo>
                  <a:lnTo>
                    <a:pt x="281" y="344"/>
                  </a:lnTo>
                  <a:lnTo>
                    <a:pt x="292" y="340"/>
                  </a:lnTo>
                  <a:lnTo>
                    <a:pt x="292" y="340"/>
                  </a:lnTo>
                  <a:lnTo>
                    <a:pt x="296" y="335"/>
                  </a:lnTo>
                  <a:lnTo>
                    <a:pt x="301" y="327"/>
                  </a:lnTo>
                  <a:lnTo>
                    <a:pt x="307" y="318"/>
                  </a:lnTo>
                  <a:lnTo>
                    <a:pt x="316" y="308"/>
                  </a:lnTo>
                  <a:lnTo>
                    <a:pt x="320" y="307"/>
                  </a:lnTo>
                  <a:lnTo>
                    <a:pt x="324" y="305"/>
                  </a:lnTo>
                  <a:lnTo>
                    <a:pt x="329" y="303"/>
                  </a:lnTo>
                  <a:lnTo>
                    <a:pt x="333" y="305"/>
                  </a:lnTo>
                  <a:lnTo>
                    <a:pt x="339" y="308"/>
                  </a:lnTo>
                  <a:lnTo>
                    <a:pt x="344" y="312"/>
                  </a:lnTo>
                  <a:lnTo>
                    <a:pt x="350" y="322"/>
                  </a:lnTo>
                  <a:lnTo>
                    <a:pt x="355" y="331"/>
                  </a:lnTo>
                  <a:lnTo>
                    <a:pt x="355" y="331"/>
                  </a:lnTo>
                  <a:lnTo>
                    <a:pt x="357" y="338"/>
                  </a:lnTo>
                  <a:lnTo>
                    <a:pt x="359" y="346"/>
                  </a:lnTo>
                  <a:lnTo>
                    <a:pt x="359" y="353"/>
                  </a:lnTo>
                  <a:lnTo>
                    <a:pt x="357" y="361"/>
                  </a:lnTo>
                  <a:lnTo>
                    <a:pt x="354" y="366"/>
                  </a:lnTo>
                  <a:lnTo>
                    <a:pt x="348" y="368"/>
                  </a:lnTo>
                  <a:lnTo>
                    <a:pt x="340" y="368"/>
                  </a:lnTo>
                  <a:lnTo>
                    <a:pt x="329" y="365"/>
                  </a:lnTo>
                  <a:lnTo>
                    <a:pt x="329" y="365"/>
                  </a:lnTo>
                  <a:lnTo>
                    <a:pt x="322" y="363"/>
                  </a:lnTo>
                  <a:lnTo>
                    <a:pt x="312" y="359"/>
                  </a:lnTo>
                  <a:lnTo>
                    <a:pt x="301" y="359"/>
                  </a:lnTo>
                  <a:lnTo>
                    <a:pt x="292" y="359"/>
                  </a:lnTo>
                  <a:lnTo>
                    <a:pt x="286" y="361"/>
                  </a:lnTo>
                  <a:lnTo>
                    <a:pt x="284" y="363"/>
                  </a:lnTo>
                  <a:lnTo>
                    <a:pt x="284" y="365"/>
                  </a:lnTo>
                  <a:lnTo>
                    <a:pt x="284" y="366"/>
                  </a:lnTo>
                  <a:lnTo>
                    <a:pt x="286" y="370"/>
                  </a:lnTo>
                  <a:lnTo>
                    <a:pt x="296" y="378"/>
                  </a:lnTo>
                  <a:lnTo>
                    <a:pt x="296" y="378"/>
                  </a:lnTo>
                  <a:lnTo>
                    <a:pt x="301" y="383"/>
                  </a:lnTo>
                  <a:lnTo>
                    <a:pt x="305" y="389"/>
                  </a:lnTo>
                  <a:lnTo>
                    <a:pt x="307" y="393"/>
                  </a:lnTo>
                  <a:lnTo>
                    <a:pt x="307" y="396"/>
                  </a:lnTo>
                  <a:lnTo>
                    <a:pt x="305" y="400"/>
                  </a:lnTo>
                  <a:lnTo>
                    <a:pt x="303" y="404"/>
                  </a:lnTo>
                  <a:lnTo>
                    <a:pt x="294" y="409"/>
                  </a:lnTo>
                  <a:lnTo>
                    <a:pt x="277" y="421"/>
                  </a:lnTo>
                  <a:lnTo>
                    <a:pt x="269" y="424"/>
                  </a:lnTo>
                  <a:lnTo>
                    <a:pt x="266" y="428"/>
                  </a:lnTo>
                  <a:lnTo>
                    <a:pt x="266" y="428"/>
                  </a:lnTo>
                  <a:lnTo>
                    <a:pt x="268" y="441"/>
                  </a:lnTo>
                  <a:lnTo>
                    <a:pt x="269" y="450"/>
                  </a:lnTo>
                  <a:lnTo>
                    <a:pt x="273" y="460"/>
                  </a:lnTo>
                  <a:lnTo>
                    <a:pt x="279" y="467"/>
                  </a:lnTo>
                  <a:lnTo>
                    <a:pt x="286" y="475"/>
                  </a:lnTo>
                  <a:lnTo>
                    <a:pt x="294" y="480"/>
                  </a:lnTo>
                  <a:lnTo>
                    <a:pt x="309" y="488"/>
                  </a:lnTo>
                  <a:lnTo>
                    <a:pt x="322" y="495"/>
                  </a:lnTo>
                  <a:lnTo>
                    <a:pt x="327" y="501"/>
                  </a:lnTo>
                  <a:lnTo>
                    <a:pt x="331" y="505"/>
                  </a:lnTo>
                  <a:lnTo>
                    <a:pt x="333" y="510"/>
                  </a:lnTo>
                  <a:lnTo>
                    <a:pt x="333" y="516"/>
                  </a:lnTo>
                  <a:lnTo>
                    <a:pt x="329" y="523"/>
                  </a:lnTo>
                  <a:lnTo>
                    <a:pt x="324" y="533"/>
                  </a:lnTo>
                  <a:lnTo>
                    <a:pt x="324" y="533"/>
                  </a:lnTo>
                  <a:lnTo>
                    <a:pt x="320" y="538"/>
                  </a:lnTo>
                  <a:lnTo>
                    <a:pt x="318" y="542"/>
                  </a:lnTo>
                  <a:lnTo>
                    <a:pt x="318" y="544"/>
                  </a:lnTo>
                  <a:lnTo>
                    <a:pt x="322" y="546"/>
                  </a:lnTo>
                  <a:lnTo>
                    <a:pt x="329" y="548"/>
                  </a:lnTo>
                  <a:lnTo>
                    <a:pt x="344" y="546"/>
                  </a:lnTo>
                  <a:lnTo>
                    <a:pt x="372" y="542"/>
                  </a:lnTo>
                  <a:lnTo>
                    <a:pt x="385" y="540"/>
                  </a:lnTo>
                  <a:lnTo>
                    <a:pt x="393" y="542"/>
                  </a:lnTo>
                  <a:lnTo>
                    <a:pt x="393" y="542"/>
                  </a:lnTo>
                  <a:lnTo>
                    <a:pt x="402" y="548"/>
                  </a:lnTo>
                  <a:lnTo>
                    <a:pt x="410" y="551"/>
                  </a:lnTo>
                  <a:lnTo>
                    <a:pt x="419" y="551"/>
                  </a:lnTo>
                  <a:lnTo>
                    <a:pt x="430" y="551"/>
                  </a:lnTo>
                  <a:lnTo>
                    <a:pt x="430" y="551"/>
                  </a:lnTo>
                  <a:lnTo>
                    <a:pt x="436" y="548"/>
                  </a:lnTo>
                  <a:lnTo>
                    <a:pt x="441" y="546"/>
                  </a:lnTo>
                  <a:lnTo>
                    <a:pt x="451" y="544"/>
                  </a:lnTo>
                  <a:lnTo>
                    <a:pt x="460" y="544"/>
                  </a:lnTo>
                  <a:lnTo>
                    <a:pt x="460" y="544"/>
                  </a:lnTo>
                  <a:lnTo>
                    <a:pt x="462" y="529"/>
                  </a:lnTo>
                  <a:lnTo>
                    <a:pt x="468" y="518"/>
                  </a:lnTo>
                  <a:lnTo>
                    <a:pt x="475" y="508"/>
                  </a:lnTo>
                  <a:lnTo>
                    <a:pt x="484" y="501"/>
                  </a:lnTo>
                  <a:lnTo>
                    <a:pt x="494" y="497"/>
                  </a:lnTo>
                  <a:lnTo>
                    <a:pt x="505" y="495"/>
                  </a:lnTo>
                  <a:lnTo>
                    <a:pt x="514" y="497"/>
                  </a:lnTo>
                  <a:lnTo>
                    <a:pt x="522" y="501"/>
                  </a:lnTo>
                  <a:lnTo>
                    <a:pt x="522" y="501"/>
                  </a:lnTo>
                  <a:lnTo>
                    <a:pt x="524" y="503"/>
                  </a:lnTo>
                  <a:lnTo>
                    <a:pt x="522" y="503"/>
                  </a:lnTo>
                  <a:lnTo>
                    <a:pt x="518" y="503"/>
                  </a:lnTo>
                  <a:lnTo>
                    <a:pt x="516" y="503"/>
                  </a:lnTo>
                  <a:lnTo>
                    <a:pt x="516" y="505"/>
                  </a:lnTo>
                  <a:lnTo>
                    <a:pt x="516" y="507"/>
                  </a:lnTo>
                  <a:lnTo>
                    <a:pt x="520" y="512"/>
                  </a:lnTo>
                  <a:lnTo>
                    <a:pt x="520" y="512"/>
                  </a:lnTo>
                  <a:lnTo>
                    <a:pt x="522" y="516"/>
                  </a:lnTo>
                  <a:lnTo>
                    <a:pt x="522" y="518"/>
                  </a:lnTo>
                  <a:lnTo>
                    <a:pt x="516" y="520"/>
                  </a:lnTo>
                  <a:lnTo>
                    <a:pt x="514" y="520"/>
                  </a:lnTo>
                  <a:lnTo>
                    <a:pt x="514" y="521"/>
                  </a:lnTo>
                  <a:lnTo>
                    <a:pt x="516" y="523"/>
                  </a:lnTo>
                  <a:lnTo>
                    <a:pt x="520" y="525"/>
                  </a:lnTo>
                  <a:lnTo>
                    <a:pt x="520" y="525"/>
                  </a:lnTo>
                  <a:lnTo>
                    <a:pt x="529" y="533"/>
                  </a:lnTo>
                  <a:lnTo>
                    <a:pt x="531" y="535"/>
                  </a:lnTo>
                  <a:lnTo>
                    <a:pt x="531" y="536"/>
                  </a:lnTo>
                  <a:lnTo>
                    <a:pt x="527" y="538"/>
                  </a:lnTo>
                  <a:lnTo>
                    <a:pt x="527" y="540"/>
                  </a:lnTo>
                  <a:lnTo>
                    <a:pt x="527" y="542"/>
                  </a:lnTo>
                  <a:lnTo>
                    <a:pt x="527" y="542"/>
                  </a:lnTo>
                  <a:lnTo>
                    <a:pt x="531" y="546"/>
                  </a:lnTo>
                  <a:lnTo>
                    <a:pt x="533" y="546"/>
                  </a:lnTo>
                  <a:lnTo>
                    <a:pt x="533" y="546"/>
                  </a:lnTo>
                  <a:lnTo>
                    <a:pt x="525" y="549"/>
                  </a:lnTo>
                  <a:lnTo>
                    <a:pt x="525" y="549"/>
                  </a:lnTo>
                  <a:lnTo>
                    <a:pt x="525" y="551"/>
                  </a:lnTo>
                  <a:lnTo>
                    <a:pt x="525" y="551"/>
                  </a:lnTo>
                  <a:lnTo>
                    <a:pt x="527" y="559"/>
                  </a:lnTo>
                  <a:lnTo>
                    <a:pt x="529" y="576"/>
                  </a:lnTo>
                  <a:lnTo>
                    <a:pt x="527" y="581"/>
                  </a:lnTo>
                  <a:lnTo>
                    <a:pt x="537" y="591"/>
                  </a:lnTo>
                  <a:lnTo>
                    <a:pt x="544" y="591"/>
                  </a:lnTo>
                  <a:lnTo>
                    <a:pt x="544" y="591"/>
                  </a:lnTo>
                  <a:lnTo>
                    <a:pt x="550" y="583"/>
                  </a:lnTo>
                  <a:lnTo>
                    <a:pt x="557" y="578"/>
                  </a:lnTo>
                  <a:lnTo>
                    <a:pt x="563" y="570"/>
                  </a:lnTo>
                  <a:lnTo>
                    <a:pt x="567" y="563"/>
                  </a:lnTo>
                  <a:lnTo>
                    <a:pt x="567" y="563"/>
                  </a:lnTo>
                  <a:lnTo>
                    <a:pt x="572" y="559"/>
                  </a:lnTo>
                  <a:lnTo>
                    <a:pt x="578" y="555"/>
                  </a:lnTo>
                  <a:lnTo>
                    <a:pt x="582" y="551"/>
                  </a:lnTo>
                  <a:lnTo>
                    <a:pt x="589" y="549"/>
                  </a:lnTo>
                  <a:lnTo>
                    <a:pt x="589" y="538"/>
                  </a:lnTo>
                  <a:lnTo>
                    <a:pt x="589" y="538"/>
                  </a:lnTo>
                  <a:lnTo>
                    <a:pt x="598" y="533"/>
                  </a:lnTo>
                  <a:lnTo>
                    <a:pt x="602" y="525"/>
                  </a:lnTo>
                  <a:lnTo>
                    <a:pt x="606" y="516"/>
                  </a:lnTo>
                  <a:lnTo>
                    <a:pt x="608" y="508"/>
                  </a:lnTo>
                  <a:lnTo>
                    <a:pt x="608" y="501"/>
                  </a:lnTo>
                  <a:lnTo>
                    <a:pt x="611" y="495"/>
                  </a:lnTo>
                  <a:lnTo>
                    <a:pt x="615" y="488"/>
                  </a:lnTo>
                  <a:lnTo>
                    <a:pt x="624" y="484"/>
                  </a:lnTo>
                  <a:lnTo>
                    <a:pt x="636" y="477"/>
                  </a:lnTo>
                  <a:lnTo>
                    <a:pt x="636" y="477"/>
                  </a:lnTo>
                  <a:lnTo>
                    <a:pt x="632" y="469"/>
                  </a:lnTo>
                  <a:lnTo>
                    <a:pt x="628" y="467"/>
                  </a:lnTo>
                  <a:lnTo>
                    <a:pt x="624" y="464"/>
                  </a:lnTo>
                  <a:lnTo>
                    <a:pt x="617" y="460"/>
                  </a:lnTo>
                  <a:lnTo>
                    <a:pt x="606" y="456"/>
                  </a:lnTo>
                  <a:lnTo>
                    <a:pt x="572" y="447"/>
                  </a:lnTo>
                  <a:lnTo>
                    <a:pt x="572" y="447"/>
                  </a:lnTo>
                  <a:lnTo>
                    <a:pt x="567" y="447"/>
                  </a:lnTo>
                  <a:lnTo>
                    <a:pt x="565" y="443"/>
                  </a:lnTo>
                  <a:lnTo>
                    <a:pt x="557" y="436"/>
                  </a:lnTo>
                  <a:lnTo>
                    <a:pt x="548" y="419"/>
                  </a:lnTo>
                  <a:lnTo>
                    <a:pt x="542" y="413"/>
                  </a:lnTo>
                  <a:lnTo>
                    <a:pt x="539" y="411"/>
                  </a:lnTo>
                  <a:lnTo>
                    <a:pt x="535" y="411"/>
                  </a:lnTo>
                  <a:lnTo>
                    <a:pt x="529" y="413"/>
                  </a:lnTo>
                  <a:lnTo>
                    <a:pt x="524" y="415"/>
                  </a:lnTo>
                  <a:lnTo>
                    <a:pt x="509" y="428"/>
                  </a:lnTo>
                  <a:lnTo>
                    <a:pt x="509" y="428"/>
                  </a:lnTo>
                  <a:lnTo>
                    <a:pt x="501" y="430"/>
                  </a:lnTo>
                  <a:lnTo>
                    <a:pt x="490" y="432"/>
                  </a:lnTo>
                  <a:lnTo>
                    <a:pt x="477" y="434"/>
                  </a:lnTo>
                  <a:lnTo>
                    <a:pt x="477" y="434"/>
                  </a:lnTo>
                  <a:lnTo>
                    <a:pt x="481" y="430"/>
                  </a:lnTo>
                  <a:lnTo>
                    <a:pt x="488" y="428"/>
                  </a:lnTo>
                  <a:lnTo>
                    <a:pt x="497" y="424"/>
                  </a:lnTo>
                  <a:lnTo>
                    <a:pt x="503" y="421"/>
                  </a:lnTo>
                  <a:lnTo>
                    <a:pt x="503" y="421"/>
                  </a:lnTo>
                  <a:lnTo>
                    <a:pt x="512" y="413"/>
                  </a:lnTo>
                  <a:lnTo>
                    <a:pt x="522" y="409"/>
                  </a:lnTo>
                  <a:lnTo>
                    <a:pt x="529" y="406"/>
                  </a:lnTo>
                  <a:lnTo>
                    <a:pt x="537" y="406"/>
                  </a:lnTo>
                  <a:lnTo>
                    <a:pt x="542" y="407"/>
                  </a:lnTo>
                  <a:lnTo>
                    <a:pt x="548" y="409"/>
                  </a:lnTo>
                  <a:lnTo>
                    <a:pt x="559" y="417"/>
                  </a:lnTo>
                  <a:lnTo>
                    <a:pt x="568" y="424"/>
                  </a:lnTo>
                  <a:lnTo>
                    <a:pt x="578" y="432"/>
                  </a:lnTo>
                  <a:lnTo>
                    <a:pt x="583" y="436"/>
                  </a:lnTo>
                  <a:lnTo>
                    <a:pt x="587" y="436"/>
                  </a:lnTo>
                  <a:lnTo>
                    <a:pt x="593" y="436"/>
                  </a:lnTo>
                  <a:lnTo>
                    <a:pt x="598" y="434"/>
                  </a:lnTo>
                  <a:lnTo>
                    <a:pt x="598" y="434"/>
                  </a:lnTo>
                  <a:lnTo>
                    <a:pt x="608" y="430"/>
                  </a:lnTo>
                  <a:lnTo>
                    <a:pt x="615" y="428"/>
                  </a:lnTo>
                  <a:lnTo>
                    <a:pt x="624" y="428"/>
                  </a:lnTo>
                  <a:lnTo>
                    <a:pt x="634" y="430"/>
                  </a:lnTo>
                  <a:lnTo>
                    <a:pt x="651" y="436"/>
                  </a:lnTo>
                  <a:lnTo>
                    <a:pt x="667" y="441"/>
                  </a:lnTo>
                  <a:lnTo>
                    <a:pt x="681" y="447"/>
                  </a:lnTo>
                  <a:lnTo>
                    <a:pt x="686" y="449"/>
                  </a:lnTo>
                  <a:lnTo>
                    <a:pt x="690" y="449"/>
                  </a:lnTo>
                  <a:lnTo>
                    <a:pt x="694" y="447"/>
                  </a:lnTo>
                  <a:lnTo>
                    <a:pt x="694" y="443"/>
                  </a:lnTo>
                  <a:lnTo>
                    <a:pt x="694" y="437"/>
                  </a:lnTo>
                  <a:lnTo>
                    <a:pt x="692" y="430"/>
                  </a:lnTo>
                  <a:lnTo>
                    <a:pt x="692" y="430"/>
                  </a:lnTo>
                  <a:lnTo>
                    <a:pt x="690" y="421"/>
                  </a:lnTo>
                  <a:lnTo>
                    <a:pt x="684" y="413"/>
                  </a:lnTo>
                  <a:lnTo>
                    <a:pt x="681" y="407"/>
                  </a:lnTo>
                  <a:lnTo>
                    <a:pt x="675" y="404"/>
                  </a:lnTo>
                  <a:lnTo>
                    <a:pt x="664" y="398"/>
                  </a:lnTo>
                  <a:lnTo>
                    <a:pt x="651" y="394"/>
                  </a:lnTo>
                  <a:lnTo>
                    <a:pt x="639" y="391"/>
                  </a:lnTo>
                  <a:lnTo>
                    <a:pt x="628" y="387"/>
                  </a:lnTo>
                  <a:lnTo>
                    <a:pt x="624" y="383"/>
                  </a:lnTo>
                  <a:lnTo>
                    <a:pt x="621" y="378"/>
                  </a:lnTo>
                  <a:lnTo>
                    <a:pt x="619" y="372"/>
                  </a:lnTo>
                  <a:lnTo>
                    <a:pt x="617" y="366"/>
                  </a:lnTo>
                  <a:lnTo>
                    <a:pt x="617" y="366"/>
                  </a:lnTo>
                  <a:lnTo>
                    <a:pt x="615" y="361"/>
                  </a:lnTo>
                  <a:lnTo>
                    <a:pt x="613" y="355"/>
                  </a:lnTo>
                  <a:lnTo>
                    <a:pt x="608" y="350"/>
                  </a:lnTo>
                  <a:lnTo>
                    <a:pt x="598" y="344"/>
                  </a:lnTo>
                  <a:lnTo>
                    <a:pt x="587" y="340"/>
                  </a:lnTo>
                  <a:lnTo>
                    <a:pt x="578" y="336"/>
                  </a:lnTo>
                  <a:lnTo>
                    <a:pt x="568" y="329"/>
                  </a:lnTo>
                  <a:lnTo>
                    <a:pt x="565" y="323"/>
                  </a:lnTo>
                  <a:lnTo>
                    <a:pt x="561" y="316"/>
                  </a:lnTo>
                  <a:lnTo>
                    <a:pt x="559" y="307"/>
                  </a:lnTo>
                  <a:lnTo>
                    <a:pt x="557" y="297"/>
                  </a:lnTo>
                  <a:lnTo>
                    <a:pt x="557" y="297"/>
                  </a:lnTo>
                  <a:lnTo>
                    <a:pt x="555" y="286"/>
                  </a:lnTo>
                  <a:lnTo>
                    <a:pt x="548" y="269"/>
                  </a:lnTo>
                  <a:lnTo>
                    <a:pt x="527" y="232"/>
                  </a:lnTo>
                  <a:lnTo>
                    <a:pt x="505" y="189"/>
                  </a:lnTo>
                  <a:lnTo>
                    <a:pt x="496" y="170"/>
                  </a:lnTo>
                  <a:lnTo>
                    <a:pt x="490" y="153"/>
                  </a:lnTo>
                  <a:lnTo>
                    <a:pt x="490" y="153"/>
                  </a:lnTo>
                  <a:lnTo>
                    <a:pt x="486" y="142"/>
                  </a:lnTo>
                  <a:lnTo>
                    <a:pt x="473" y="122"/>
                  </a:lnTo>
                  <a:lnTo>
                    <a:pt x="466" y="110"/>
                  </a:lnTo>
                  <a:lnTo>
                    <a:pt x="458" y="99"/>
                  </a:lnTo>
                  <a:lnTo>
                    <a:pt x="451" y="92"/>
                  </a:lnTo>
                  <a:lnTo>
                    <a:pt x="443" y="90"/>
                  </a:lnTo>
                  <a:lnTo>
                    <a:pt x="443" y="90"/>
                  </a:lnTo>
                  <a:lnTo>
                    <a:pt x="426" y="86"/>
                  </a:lnTo>
                  <a:lnTo>
                    <a:pt x="410" y="80"/>
                  </a:lnTo>
                  <a:lnTo>
                    <a:pt x="395" y="73"/>
                  </a:lnTo>
                  <a:lnTo>
                    <a:pt x="380" y="66"/>
                  </a:lnTo>
                  <a:lnTo>
                    <a:pt x="355" y="51"/>
                  </a:lnTo>
                  <a:lnTo>
                    <a:pt x="346" y="47"/>
                  </a:lnTo>
                  <a:lnTo>
                    <a:pt x="339" y="45"/>
                  </a:lnTo>
                  <a:lnTo>
                    <a:pt x="339" y="45"/>
                  </a:lnTo>
                  <a:lnTo>
                    <a:pt x="333" y="43"/>
                  </a:lnTo>
                  <a:lnTo>
                    <a:pt x="329" y="39"/>
                  </a:lnTo>
                  <a:lnTo>
                    <a:pt x="325" y="34"/>
                  </a:lnTo>
                  <a:lnTo>
                    <a:pt x="324" y="26"/>
                  </a:lnTo>
                  <a:lnTo>
                    <a:pt x="324" y="19"/>
                  </a:lnTo>
                  <a:lnTo>
                    <a:pt x="325" y="11"/>
                  </a:lnTo>
                  <a:lnTo>
                    <a:pt x="327" y="6"/>
                  </a:lnTo>
                  <a:lnTo>
                    <a:pt x="331" y="0"/>
                  </a:lnTo>
                  <a:lnTo>
                    <a:pt x="331" y="0"/>
                  </a:lnTo>
                  <a:lnTo>
                    <a:pt x="297" y="9"/>
                  </a:lnTo>
                  <a:lnTo>
                    <a:pt x="290" y="13"/>
                  </a:lnTo>
                  <a:lnTo>
                    <a:pt x="286" y="17"/>
                  </a:lnTo>
                  <a:lnTo>
                    <a:pt x="282" y="30"/>
                  </a:lnTo>
                  <a:lnTo>
                    <a:pt x="279" y="41"/>
                  </a:lnTo>
                  <a:lnTo>
                    <a:pt x="271" y="56"/>
                  </a:lnTo>
                  <a:lnTo>
                    <a:pt x="271" y="5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Line 20">
              <a:extLst>
                <a:ext uri="{FF2B5EF4-FFF2-40B4-BE49-F238E27FC236}">
                  <a16:creationId xmlns:a16="http://schemas.microsoft.com/office/drawing/2014/main" id="{7F8572B9-AA6C-4025-90FE-47A8945A5909}"/>
                </a:ext>
              </a:extLst>
            </p:cNvPr>
            <p:cNvSpPr>
              <a:spLocks noChangeShapeType="1"/>
            </p:cNvSpPr>
            <p:nvPr/>
          </p:nvSpPr>
          <p:spPr bwMode="auto">
            <a:xfrm>
              <a:off x="6441344" y="4582847"/>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Freeform 21">
              <a:extLst>
                <a:ext uri="{FF2B5EF4-FFF2-40B4-BE49-F238E27FC236}">
                  <a16:creationId xmlns:a16="http://schemas.microsoft.com/office/drawing/2014/main" id="{A645E6E8-FFB9-47D4-B105-880F0F5AE8B6}"/>
                </a:ext>
              </a:extLst>
            </p:cNvPr>
            <p:cNvSpPr>
              <a:spLocks/>
            </p:cNvSpPr>
            <p:nvPr/>
          </p:nvSpPr>
          <p:spPr bwMode="auto">
            <a:xfrm>
              <a:off x="5958112" y="4086898"/>
              <a:ext cx="630382" cy="535915"/>
            </a:xfrm>
            <a:custGeom>
              <a:avLst/>
              <a:gdLst/>
              <a:ahLst/>
              <a:cxnLst>
                <a:cxn ang="0">
                  <a:pos x="249" y="64"/>
                </a:cxn>
                <a:cxn ang="0">
                  <a:pos x="230" y="105"/>
                </a:cxn>
                <a:cxn ang="0">
                  <a:pos x="195" y="73"/>
                </a:cxn>
                <a:cxn ang="0">
                  <a:pos x="152" y="99"/>
                </a:cxn>
                <a:cxn ang="0">
                  <a:pos x="107" y="80"/>
                </a:cxn>
                <a:cxn ang="0">
                  <a:pos x="96" y="103"/>
                </a:cxn>
                <a:cxn ang="0">
                  <a:pos x="60" y="52"/>
                </a:cxn>
                <a:cxn ang="0">
                  <a:pos x="40" y="43"/>
                </a:cxn>
                <a:cxn ang="0">
                  <a:pos x="8" y="56"/>
                </a:cxn>
                <a:cxn ang="0">
                  <a:pos x="19" y="103"/>
                </a:cxn>
                <a:cxn ang="0">
                  <a:pos x="86" y="151"/>
                </a:cxn>
                <a:cxn ang="0">
                  <a:pos x="140" y="166"/>
                </a:cxn>
                <a:cxn ang="0">
                  <a:pos x="168" y="204"/>
                </a:cxn>
                <a:cxn ang="0">
                  <a:pos x="213" y="204"/>
                </a:cxn>
                <a:cxn ang="0">
                  <a:pos x="198" y="273"/>
                </a:cxn>
                <a:cxn ang="0">
                  <a:pos x="234" y="279"/>
                </a:cxn>
                <a:cxn ang="0">
                  <a:pos x="256" y="267"/>
                </a:cxn>
                <a:cxn ang="0">
                  <a:pos x="275" y="258"/>
                </a:cxn>
                <a:cxn ang="0">
                  <a:pos x="260" y="217"/>
                </a:cxn>
                <a:cxn ang="0">
                  <a:pos x="281" y="224"/>
                </a:cxn>
                <a:cxn ang="0">
                  <a:pos x="309" y="271"/>
                </a:cxn>
                <a:cxn ang="0">
                  <a:pos x="282" y="301"/>
                </a:cxn>
                <a:cxn ang="0">
                  <a:pos x="264" y="310"/>
                </a:cxn>
                <a:cxn ang="0">
                  <a:pos x="251" y="290"/>
                </a:cxn>
                <a:cxn ang="0">
                  <a:pos x="247" y="329"/>
                </a:cxn>
                <a:cxn ang="0">
                  <a:pos x="292" y="340"/>
                </a:cxn>
                <a:cxn ang="0">
                  <a:pos x="324" y="305"/>
                </a:cxn>
                <a:cxn ang="0">
                  <a:pos x="355" y="331"/>
                </a:cxn>
                <a:cxn ang="0">
                  <a:pos x="340" y="368"/>
                </a:cxn>
                <a:cxn ang="0">
                  <a:pos x="286" y="361"/>
                </a:cxn>
                <a:cxn ang="0">
                  <a:pos x="301" y="383"/>
                </a:cxn>
                <a:cxn ang="0">
                  <a:pos x="277" y="421"/>
                </a:cxn>
                <a:cxn ang="0">
                  <a:pos x="279" y="467"/>
                </a:cxn>
                <a:cxn ang="0">
                  <a:pos x="333" y="510"/>
                </a:cxn>
                <a:cxn ang="0">
                  <a:pos x="318" y="544"/>
                </a:cxn>
                <a:cxn ang="0">
                  <a:pos x="393" y="542"/>
                </a:cxn>
                <a:cxn ang="0">
                  <a:pos x="441" y="546"/>
                </a:cxn>
                <a:cxn ang="0">
                  <a:pos x="484" y="501"/>
                </a:cxn>
                <a:cxn ang="0">
                  <a:pos x="522" y="503"/>
                </a:cxn>
                <a:cxn ang="0">
                  <a:pos x="522" y="516"/>
                </a:cxn>
                <a:cxn ang="0">
                  <a:pos x="520" y="525"/>
                </a:cxn>
                <a:cxn ang="0">
                  <a:pos x="527" y="542"/>
                </a:cxn>
                <a:cxn ang="0">
                  <a:pos x="525" y="551"/>
                </a:cxn>
                <a:cxn ang="0">
                  <a:pos x="550" y="583"/>
                </a:cxn>
                <a:cxn ang="0">
                  <a:pos x="582" y="551"/>
                </a:cxn>
                <a:cxn ang="0">
                  <a:pos x="608" y="508"/>
                </a:cxn>
                <a:cxn ang="0">
                  <a:pos x="632" y="469"/>
                </a:cxn>
                <a:cxn ang="0">
                  <a:pos x="567" y="447"/>
                </a:cxn>
                <a:cxn ang="0">
                  <a:pos x="529" y="413"/>
                </a:cxn>
                <a:cxn ang="0">
                  <a:pos x="477" y="434"/>
                </a:cxn>
                <a:cxn ang="0">
                  <a:pos x="522" y="409"/>
                </a:cxn>
                <a:cxn ang="0">
                  <a:pos x="578" y="432"/>
                </a:cxn>
                <a:cxn ang="0">
                  <a:pos x="615" y="428"/>
                </a:cxn>
                <a:cxn ang="0">
                  <a:pos x="690" y="449"/>
                </a:cxn>
                <a:cxn ang="0">
                  <a:pos x="684" y="413"/>
                </a:cxn>
                <a:cxn ang="0">
                  <a:pos x="624" y="383"/>
                </a:cxn>
                <a:cxn ang="0">
                  <a:pos x="608" y="350"/>
                </a:cxn>
                <a:cxn ang="0">
                  <a:pos x="559" y="307"/>
                </a:cxn>
                <a:cxn ang="0">
                  <a:pos x="496" y="170"/>
                </a:cxn>
                <a:cxn ang="0">
                  <a:pos x="451" y="92"/>
                </a:cxn>
                <a:cxn ang="0">
                  <a:pos x="355" y="51"/>
                </a:cxn>
                <a:cxn ang="0">
                  <a:pos x="324" y="26"/>
                </a:cxn>
                <a:cxn ang="0">
                  <a:pos x="290" y="13"/>
                </a:cxn>
              </a:cxnLst>
              <a:rect l="0" t="0" r="r" b="b"/>
              <a:pathLst>
                <a:path w="694" h="591">
                  <a:moveTo>
                    <a:pt x="271" y="56"/>
                  </a:moveTo>
                  <a:lnTo>
                    <a:pt x="271" y="56"/>
                  </a:lnTo>
                  <a:lnTo>
                    <a:pt x="268" y="62"/>
                  </a:lnTo>
                  <a:lnTo>
                    <a:pt x="264" y="62"/>
                  </a:lnTo>
                  <a:lnTo>
                    <a:pt x="256" y="60"/>
                  </a:lnTo>
                  <a:lnTo>
                    <a:pt x="253" y="60"/>
                  </a:lnTo>
                  <a:lnTo>
                    <a:pt x="249" y="64"/>
                  </a:lnTo>
                  <a:lnTo>
                    <a:pt x="247" y="75"/>
                  </a:lnTo>
                  <a:lnTo>
                    <a:pt x="243" y="92"/>
                  </a:lnTo>
                  <a:lnTo>
                    <a:pt x="243" y="92"/>
                  </a:lnTo>
                  <a:lnTo>
                    <a:pt x="241" y="95"/>
                  </a:lnTo>
                  <a:lnTo>
                    <a:pt x="240" y="101"/>
                  </a:lnTo>
                  <a:lnTo>
                    <a:pt x="236" y="103"/>
                  </a:lnTo>
                  <a:lnTo>
                    <a:pt x="230" y="105"/>
                  </a:lnTo>
                  <a:lnTo>
                    <a:pt x="225" y="105"/>
                  </a:lnTo>
                  <a:lnTo>
                    <a:pt x="219" y="101"/>
                  </a:lnTo>
                  <a:lnTo>
                    <a:pt x="211" y="95"/>
                  </a:lnTo>
                  <a:lnTo>
                    <a:pt x="204" y="84"/>
                  </a:lnTo>
                  <a:lnTo>
                    <a:pt x="204" y="84"/>
                  </a:lnTo>
                  <a:lnTo>
                    <a:pt x="198" y="77"/>
                  </a:lnTo>
                  <a:lnTo>
                    <a:pt x="195" y="73"/>
                  </a:lnTo>
                  <a:lnTo>
                    <a:pt x="189" y="71"/>
                  </a:lnTo>
                  <a:lnTo>
                    <a:pt x="185" y="71"/>
                  </a:lnTo>
                  <a:lnTo>
                    <a:pt x="180" y="73"/>
                  </a:lnTo>
                  <a:lnTo>
                    <a:pt x="176" y="77"/>
                  </a:lnTo>
                  <a:lnTo>
                    <a:pt x="167" y="86"/>
                  </a:lnTo>
                  <a:lnTo>
                    <a:pt x="157" y="95"/>
                  </a:lnTo>
                  <a:lnTo>
                    <a:pt x="152" y="99"/>
                  </a:lnTo>
                  <a:lnTo>
                    <a:pt x="146" y="101"/>
                  </a:lnTo>
                  <a:lnTo>
                    <a:pt x="139" y="101"/>
                  </a:lnTo>
                  <a:lnTo>
                    <a:pt x="131" y="99"/>
                  </a:lnTo>
                  <a:lnTo>
                    <a:pt x="124" y="95"/>
                  </a:lnTo>
                  <a:lnTo>
                    <a:pt x="114" y="88"/>
                  </a:lnTo>
                  <a:lnTo>
                    <a:pt x="107" y="80"/>
                  </a:lnTo>
                  <a:lnTo>
                    <a:pt x="107" y="80"/>
                  </a:lnTo>
                  <a:lnTo>
                    <a:pt x="111" y="90"/>
                  </a:lnTo>
                  <a:lnTo>
                    <a:pt x="111" y="97"/>
                  </a:lnTo>
                  <a:lnTo>
                    <a:pt x="109" y="103"/>
                  </a:lnTo>
                  <a:lnTo>
                    <a:pt x="105" y="105"/>
                  </a:lnTo>
                  <a:lnTo>
                    <a:pt x="101" y="107"/>
                  </a:lnTo>
                  <a:lnTo>
                    <a:pt x="97" y="105"/>
                  </a:lnTo>
                  <a:lnTo>
                    <a:pt x="96" y="103"/>
                  </a:lnTo>
                  <a:lnTo>
                    <a:pt x="94" y="97"/>
                  </a:lnTo>
                  <a:lnTo>
                    <a:pt x="94" y="97"/>
                  </a:lnTo>
                  <a:lnTo>
                    <a:pt x="88" y="90"/>
                  </a:lnTo>
                  <a:lnTo>
                    <a:pt x="79" y="75"/>
                  </a:lnTo>
                  <a:lnTo>
                    <a:pt x="66" y="54"/>
                  </a:lnTo>
                  <a:lnTo>
                    <a:pt x="60" y="52"/>
                  </a:lnTo>
                  <a:lnTo>
                    <a:pt x="60" y="52"/>
                  </a:lnTo>
                  <a:lnTo>
                    <a:pt x="47" y="43"/>
                  </a:lnTo>
                  <a:lnTo>
                    <a:pt x="47" y="43"/>
                  </a:lnTo>
                  <a:lnTo>
                    <a:pt x="45" y="41"/>
                  </a:lnTo>
                  <a:lnTo>
                    <a:pt x="45" y="41"/>
                  </a:lnTo>
                  <a:lnTo>
                    <a:pt x="43" y="39"/>
                  </a:lnTo>
                  <a:lnTo>
                    <a:pt x="41" y="41"/>
                  </a:lnTo>
                  <a:lnTo>
                    <a:pt x="40" y="43"/>
                  </a:lnTo>
                  <a:lnTo>
                    <a:pt x="36" y="45"/>
                  </a:lnTo>
                  <a:lnTo>
                    <a:pt x="32" y="49"/>
                  </a:lnTo>
                  <a:lnTo>
                    <a:pt x="26" y="51"/>
                  </a:lnTo>
                  <a:lnTo>
                    <a:pt x="19" y="51"/>
                  </a:lnTo>
                  <a:lnTo>
                    <a:pt x="19" y="51"/>
                  </a:lnTo>
                  <a:lnTo>
                    <a:pt x="12" y="52"/>
                  </a:lnTo>
                  <a:lnTo>
                    <a:pt x="8" y="56"/>
                  </a:lnTo>
                  <a:lnTo>
                    <a:pt x="6" y="62"/>
                  </a:lnTo>
                  <a:lnTo>
                    <a:pt x="4" y="67"/>
                  </a:lnTo>
                  <a:lnTo>
                    <a:pt x="6" y="80"/>
                  </a:lnTo>
                  <a:lnTo>
                    <a:pt x="4" y="86"/>
                  </a:lnTo>
                  <a:lnTo>
                    <a:pt x="0" y="90"/>
                  </a:lnTo>
                  <a:lnTo>
                    <a:pt x="0" y="90"/>
                  </a:lnTo>
                  <a:lnTo>
                    <a:pt x="19" y="103"/>
                  </a:lnTo>
                  <a:lnTo>
                    <a:pt x="32" y="109"/>
                  </a:lnTo>
                  <a:lnTo>
                    <a:pt x="51" y="116"/>
                  </a:lnTo>
                  <a:lnTo>
                    <a:pt x="56" y="120"/>
                  </a:lnTo>
                  <a:lnTo>
                    <a:pt x="64" y="125"/>
                  </a:lnTo>
                  <a:lnTo>
                    <a:pt x="73" y="135"/>
                  </a:lnTo>
                  <a:lnTo>
                    <a:pt x="86" y="151"/>
                  </a:lnTo>
                  <a:lnTo>
                    <a:pt x="86" y="151"/>
                  </a:lnTo>
                  <a:lnTo>
                    <a:pt x="90" y="157"/>
                  </a:lnTo>
                  <a:lnTo>
                    <a:pt x="96" y="161"/>
                  </a:lnTo>
                  <a:lnTo>
                    <a:pt x="101" y="165"/>
                  </a:lnTo>
                  <a:lnTo>
                    <a:pt x="107" y="165"/>
                  </a:lnTo>
                  <a:lnTo>
                    <a:pt x="118" y="166"/>
                  </a:lnTo>
                  <a:lnTo>
                    <a:pt x="129" y="166"/>
                  </a:lnTo>
                  <a:lnTo>
                    <a:pt x="140" y="166"/>
                  </a:lnTo>
                  <a:lnTo>
                    <a:pt x="146" y="168"/>
                  </a:lnTo>
                  <a:lnTo>
                    <a:pt x="150" y="172"/>
                  </a:lnTo>
                  <a:lnTo>
                    <a:pt x="155" y="178"/>
                  </a:lnTo>
                  <a:lnTo>
                    <a:pt x="161" y="183"/>
                  </a:lnTo>
                  <a:lnTo>
                    <a:pt x="165" y="193"/>
                  </a:lnTo>
                  <a:lnTo>
                    <a:pt x="168" y="204"/>
                  </a:lnTo>
                  <a:lnTo>
                    <a:pt x="168" y="204"/>
                  </a:lnTo>
                  <a:lnTo>
                    <a:pt x="170" y="206"/>
                  </a:lnTo>
                  <a:lnTo>
                    <a:pt x="174" y="208"/>
                  </a:lnTo>
                  <a:lnTo>
                    <a:pt x="183" y="206"/>
                  </a:lnTo>
                  <a:lnTo>
                    <a:pt x="195" y="204"/>
                  </a:lnTo>
                  <a:lnTo>
                    <a:pt x="206" y="202"/>
                  </a:lnTo>
                  <a:lnTo>
                    <a:pt x="210" y="202"/>
                  </a:lnTo>
                  <a:lnTo>
                    <a:pt x="213" y="204"/>
                  </a:lnTo>
                  <a:lnTo>
                    <a:pt x="215" y="206"/>
                  </a:lnTo>
                  <a:lnTo>
                    <a:pt x="217" y="211"/>
                  </a:lnTo>
                  <a:lnTo>
                    <a:pt x="217" y="219"/>
                  </a:lnTo>
                  <a:lnTo>
                    <a:pt x="215" y="230"/>
                  </a:lnTo>
                  <a:lnTo>
                    <a:pt x="202" y="262"/>
                  </a:lnTo>
                  <a:lnTo>
                    <a:pt x="202" y="262"/>
                  </a:lnTo>
                  <a:lnTo>
                    <a:pt x="198" y="273"/>
                  </a:lnTo>
                  <a:lnTo>
                    <a:pt x="198" y="282"/>
                  </a:lnTo>
                  <a:lnTo>
                    <a:pt x="202" y="286"/>
                  </a:lnTo>
                  <a:lnTo>
                    <a:pt x="208" y="286"/>
                  </a:lnTo>
                  <a:lnTo>
                    <a:pt x="215" y="286"/>
                  </a:lnTo>
                  <a:lnTo>
                    <a:pt x="223" y="284"/>
                  </a:lnTo>
                  <a:lnTo>
                    <a:pt x="234" y="279"/>
                  </a:lnTo>
                  <a:lnTo>
                    <a:pt x="234" y="279"/>
                  </a:lnTo>
                  <a:lnTo>
                    <a:pt x="228" y="275"/>
                  </a:lnTo>
                  <a:lnTo>
                    <a:pt x="228" y="273"/>
                  </a:lnTo>
                  <a:lnTo>
                    <a:pt x="230" y="271"/>
                  </a:lnTo>
                  <a:lnTo>
                    <a:pt x="234" y="271"/>
                  </a:lnTo>
                  <a:lnTo>
                    <a:pt x="245" y="269"/>
                  </a:lnTo>
                  <a:lnTo>
                    <a:pt x="251" y="269"/>
                  </a:lnTo>
                  <a:lnTo>
                    <a:pt x="256" y="267"/>
                  </a:lnTo>
                  <a:lnTo>
                    <a:pt x="256" y="267"/>
                  </a:lnTo>
                  <a:lnTo>
                    <a:pt x="262" y="262"/>
                  </a:lnTo>
                  <a:lnTo>
                    <a:pt x="269" y="262"/>
                  </a:lnTo>
                  <a:lnTo>
                    <a:pt x="275" y="262"/>
                  </a:lnTo>
                  <a:lnTo>
                    <a:pt x="281" y="262"/>
                  </a:lnTo>
                  <a:lnTo>
                    <a:pt x="282" y="264"/>
                  </a:lnTo>
                  <a:lnTo>
                    <a:pt x="275" y="258"/>
                  </a:lnTo>
                  <a:lnTo>
                    <a:pt x="275" y="258"/>
                  </a:lnTo>
                  <a:lnTo>
                    <a:pt x="271" y="252"/>
                  </a:lnTo>
                  <a:lnTo>
                    <a:pt x="268" y="247"/>
                  </a:lnTo>
                  <a:lnTo>
                    <a:pt x="264" y="237"/>
                  </a:lnTo>
                  <a:lnTo>
                    <a:pt x="260" y="230"/>
                  </a:lnTo>
                  <a:lnTo>
                    <a:pt x="260" y="223"/>
                  </a:lnTo>
                  <a:lnTo>
                    <a:pt x="260" y="217"/>
                  </a:lnTo>
                  <a:lnTo>
                    <a:pt x="262" y="215"/>
                  </a:lnTo>
                  <a:lnTo>
                    <a:pt x="264" y="215"/>
                  </a:lnTo>
                  <a:lnTo>
                    <a:pt x="271" y="215"/>
                  </a:lnTo>
                  <a:lnTo>
                    <a:pt x="271" y="215"/>
                  </a:lnTo>
                  <a:lnTo>
                    <a:pt x="277" y="219"/>
                  </a:lnTo>
                  <a:lnTo>
                    <a:pt x="281" y="224"/>
                  </a:lnTo>
                  <a:lnTo>
                    <a:pt x="281" y="224"/>
                  </a:lnTo>
                  <a:lnTo>
                    <a:pt x="284" y="234"/>
                  </a:lnTo>
                  <a:lnTo>
                    <a:pt x="290" y="239"/>
                  </a:lnTo>
                  <a:lnTo>
                    <a:pt x="303" y="249"/>
                  </a:lnTo>
                  <a:lnTo>
                    <a:pt x="307" y="252"/>
                  </a:lnTo>
                  <a:lnTo>
                    <a:pt x="311" y="256"/>
                  </a:lnTo>
                  <a:lnTo>
                    <a:pt x="312" y="262"/>
                  </a:lnTo>
                  <a:lnTo>
                    <a:pt x="309" y="271"/>
                  </a:lnTo>
                  <a:lnTo>
                    <a:pt x="309" y="271"/>
                  </a:lnTo>
                  <a:lnTo>
                    <a:pt x="303" y="286"/>
                  </a:lnTo>
                  <a:lnTo>
                    <a:pt x="296" y="295"/>
                  </a:lnTo>
                  <a:lnTo>
                    <a:pt x="292" y="301"/>
                  </a:lnTo>
                  <a:lnTo>
                    <a:pt x="288" y="303"/>
                  </a:lnTo>
                  <a:lnTo>
                    <a:pt x="284" y="303"/>
                  </a:lnTo>
                  <a:lnTo>
                    <a:pt x="282" y="301"/>
                  </a:lnTo>
                  <a:lnTo>
                    <a:pt x="281" y="299"/>
                  </a:lnTo>
                  <a:lnTo>
                    <a:pt x="281" y="299"/>
                  </a:lnTo>
                  <a:lnTo>
                    <a:pt x="277" y="301"/>
                  </a:lnTo>
                  <a:lnTo>
                    <a:pt x="275" y="303"/>
                  </a:lnTo>
                  <a:lnTo>
                    <a:pt x="269" y="308"/>
                  </a:lnTo>
                  <a:lnTo>
                    <a:pt x="268" y="310"/>
                  </a:lnTo>
                  <a:lnTo>
                    <a:pt x="264" y="310"/>
                  </a:lnTo>
                  <a:lnTo>
                    <a:pt x="262" y="310"/>
                  </a:lnTo>
                  <a:lnTo>
                    <a:pt x="260" y="305"/>
                  </a:lnTo>
                  <a:lnTo>
                    <a:pt x="260" y="305"/>
                  </a:lnTo>
                  <a:lnTo>
                    <a:pt x="258" y="297"/>
                  </a:lnTo>
                  <a:lnTo>
                    <a:pt x="258" y="292"/>
                  </a:lnTo>
                  <a:lnTo>
                    <a:pt x="258" y="292"/>
                  </a:lnTo>
                  <a:lnTo>
                    <a:pt x="251" y="290"/>
                  </a:lnTo>
                  <a:lnTo>
                    <a:pt x="251" y="290"/>
                  </a:lnTo>
                  <a:lnTo>
                    <a:pt x="240" y="282"/>
                  </a:lnTo>
                  <a:lnTo>
                    <a:pt x="240" y="282"/>
                  </a:lnTo>
                  <a:lnTo>
                    <a:pt x="241" y="292"/>
                  </a:lnTo>
                  <a:lnTo>
                    <a:pt x="241" y="303"/>
                  </a:lnTo>
                  <a:lnTo>
                    <a:pt x="243" y="316"/>
                  </a:lnTo>
                  <a:lnTo>
                    <a:pt x="247" y="329"/>
                  </a:lnTo>
                  <a:lnTo>
                    <a:pt x="253" y="338"/>
                  </a:lnTo>
                  <a:lnTo>
                    <a:pt x="256" y="342"/>
                  </a:lnTo>
                  <a:lnTo>
                    <a:pt x="260" y="346"/>
                  </a:lnTo>
                  <a:lnTo>
                    <a:pt x="266" y="346"/>
                  </a:lnTo>
                  <a:lnTo>
                    <a:pt x="273" y="346"/>
                  </a:lnTo>
                  <a:lnTo>
                    <a:pt x="281" y="344"/>
                  </a:lnTo>
                  <a:lnTo>
                    <a:pt x="292" y="340"/>
                  </a:lnTo>
                  <a:lnTo>
                    <a:pt x="292" y="340"/>
                  </a:lnTo>
                  <a:lnTo>
                    <a:pt x="296" y="335"/>
                  </a:lnTo>
                  <a:lnTo>
                    <a:pt x="301" y="327"/>
                  </a:lnTo>
                  <a:lnTo>
                    <a:pt x="307" y="318"/>
                  </a:lnTo>
                  <a:lnTo>
                    <a:pt x="316" y="308"/>
                  </a:lnTo>
                  <a:lnTo>
                    <a:pt x="320" y="307"/>
                  </a:lnTo>
                  <a:lnTo>
                    <a:pt x="324" y="305"/>
                  </a:lnTo>
                  <a:lnTo>
                    <a:pt x="329" y="303"/>
                  </a:lnTo>
                  <a:lnTo>
                    <a:pt x="333" y="305"/>
                  </a:lnTo>
                  <a:lnTo>
                    <a:pt x="339" y="308"/>
                  </a:lnTo>
                  <a:lnTo>
                    <a:pt x="344" y="312"/>
                  </a:lnTo>
                  <a:lnTo>
                    <a:pt x="350" y="322"/>
                  </a:lnTo>
                  <a:lnTo>
                    <a:pt x="355" y="331"/>
                  </a:lnTo>
                  <a:lnTo>
                    <a:pt x="355" y="331"/>
                  </a:lnTo>
                  <a:lnTo>
                    <a:pt x="357" y="338"/>
                  </a:lnTo>
                  <a:lnTo>
                    <a:pt x="359" y="346"/>
                  </a:lnTo>
                  <a:lnTo>
                    <a:pt x="359" y="353"/>
                  </a:lnTo>
                  <a:lnTo>
                    <a:pt x="357" y="361"/>
                  </a:lnTo>
                  <a:lnTo>
                    <a:pt x="354" y="366"/>
                  </a:lnTo>
                  <a:lnTo>
                    <a:pt x="348" y="368"/>
                  </a:lnTo>
                  <a:lnTo>
                    <a:pt x="340" y="368"/>
                  </a:lnTo>
                  <a:lnTo>
                    <a:pt x="329" y="365"/>
                  </a:lnTo>
                  <a:lnTo>
                    <a:pt x="329" y="365"/>
                  </a:lnTo>
                  <a:lnTo>
                    <a:pt x="322" y="363"/>
                  </a:lnTo>
                  <a:lnTo>
                    <a:pt x="312" y="359"/>
                  </a:lnTo>
                  <a:lnTo>
                    <a:pt x="301" y="359"/>
                  </a:lnTo>
                  <a:lnTo>
                    <a:pt x="292" y="359"/>
                  </a:lnTo>
                  <a:lnTo>
                    <a:pt x="286" y="361"/>
                  </a:lnTo>
                  <a:lnTo>
                    <a:pt x="284" y="363"/>
                  </a:lnTo>
                  <a:lnTo>
                    <a:pt x="284" y="365"/>
                  </a:lnTo>
                  <a:lnTo>
                    <a:pt x="284" y="366"/>
                  </a:lnTo>
                  <a:lnTo>
                    <a:pt x="286" y="370"/>
                  </a:lnTo>
                  <a:lnTo>
                    <a:pt x="296" y="378"/>
                  </a:lnTo>
                  <a:lnTo>
                    <a:pt x="296" y="378"/>
                  </a:lnTo>
                  <a:lnTo>
                    <a:pt x="301" y="383"/>
                  </a:lnTo>
                  <a:lnTo>
                    <a:pt x="305" y="389"/>
                  </a:lnTo>
                  <a:lnTo>
                    <a:pt x="307" y="393"/>
                  </a:lnTo>
                  <a:lnTo>
                    <a:pt x="307" y="396"/>
                  </a:lnTo>
                  <a:lnTo>
                    <a:pt x="305" y="400"/>
                  </a:lnTo>
                  <a:lnTo>
                    <a:pt x="303" y="404"/>
                  </a:lnTo>
                  <a:lnTo>
                    <a:pt x="294" y="409"/>
                  </a:lnTo>
                  <a:lnTo>
                    <a:pt x="277" y="421"/>
                  </a:lnTo>
                  <a:lnTo>
                    <a:pt x="269" y="424"/>
                  </a:lnTo>
                  <a:lnTo>
                    <a:pt x="266" y="428"/>
                  </a:lnTo>
                  <a:lnTo>
                    <a:pt x="266" y="428"/>
                  </a:lnTo>
                  <a:lnTo>
                    <a:pt x="268" y="441"/>
                  </a:lnTo>
                  <a:lnTo>
                    <a:pt x="269" y="450"/>
                  </a:lnTo>
                  <a:lnTo>
                    <a:pt x="273" y="460"/>
                  </a:lnTo>
                  <a:lnTo>
                    <a:pt x="279" y="467"/>
                  </a:lnTo>
                  <a:lnTo>
                    <a:pt x="286" y="475"/>
                  </a:lnTo>
                  <a:lnTo>
                    <a:pt x="294" y="480"/>
                  </a:lnTo>
                  <a:lnTo>
                    <a:pt x="309" y="488"/>
                  </a:lnTo>
                  <a:lnTo>
                    <a:pt x="322" y="495"/>
                  </a:lnTo>
                  <a:lnTo>
                    <a:pt x="327" y="501"/>
                  </a:lnTo>
                  <a:lnTo>
                    <a:pt x="331" y="505"/>
                  </a:lnTo>
                  <a:lnTo>
                    <a:pt x="333" y="510"/>
                  </a:lnTo>
                  <a:lnTo>
                    <a:pt x="333" y="516"/>
                  </a:lnTo>
                  <a:lnTo>
                    <a:pt x="329" y="523"/>
                  </a:lnTo>
                  <a:lnTo>
                    <a:pt x="324" y="533"/>
                  </a:lnTo>
                  <a:lnTo>
                    <a:pt x="324" y="533"/>
                  </a:lnTo>
                  <a:lnTo>
                    <a:pt x="320" y="538"/>
                  </a:lnTo>
                  <a:lnTo>
                    <a:pt x="318" y="542"/>
                  </a:lnTo>
                  <a:lnTo>
                    <a:pt x="318" y="544"/>
                  </a:lnTo>
                  <a:lnTo>
                    <a:pt x="322" y="546"/>
                  </a:lnTo>
                  <a:lnTo>
                    <a:pt x="329" y="548"/>
                  </a:lnTo>
                  <a:lnTo>
                    <a:pt x="344" y="546"/>
                  </a:lnTo>
                  <a:lnTo>
                    <a:pt x="372" y="542"/>
                  </a:lnTo>
                  <a:lnTo>
                    <a:pt x="385" y="540"/>
                  </a:lnTo>
                  <a:lnTo>
                    <a:pt x="393" y="542"/>
                  </a:lnTo>
                  <a:lnTo>
                    <a:pt x="393" y="542"/>
                  </a:lnTo>
                  <a:lnTo>
                    <a:pt x="402" y="548"/>
                  </a:lnTo>
                  <a:lnTo>
                    <a:pt x="410" y="551"/>
                  </a:lnTo>
                  <a:lnTo>
                    <a:pt x="419" y="551"/>
                  </a:lnTo>
                  <a:lnTo>
                    <a:pt x="430" y="551"/>
                  </a:lnTo>
                  <a:lnTo>
                    <a:pt x="430" y="551"/>
                  </a:lnTo>
                  <a:lnTo>
                    <a:pt x="436" y="548"/>
                  </a:lnTo>
                  <a:lnTo>
                    <a:pt x="441" y="546"/>
                  </a:lnTo>
                  <a:lnTo>
                    <a:pt x="451" y="544"/>
                  </a:lnTo>
                  <a:lnTo>
                    <a:pt x="460" y="544"/>
                  </a:lnTo>
                  <a:lnTo>
                    <a:pt x="460" y="544"/>
                  </a:lnTo>
                  <a:lnTo>
                    <a:pt x="462" y="529"/>
                  </a:lnTo>
                  <a:lnTo>
                    <a:pt x="468" y="518"/>
                  </a:lnTo>
                  <a:lnTo>
                    <a:pt x="475" y="508"/>
                  </a:lnTo>
                  <a:lnTo>
                    <a:pt x="484" y="501"/>
                  </a:lnTo>
                  <a:lnTo>
                    <a:pt x="494" y="497"/>
                  </a:lnTo>
                  <a:lnTo>
                    <a:pt x="505" y="495"/>
                  </a:lnTo>
                  <a:lnTo>
                    <a:pt x="514" y="497"/>
                  </a:lnTo>
                  <a:lnTo>
                    <a:pt x="522" y="501"/>
                  </a:lnTo>
                  <a:lnTo>
                    <a:pt x="522" y="501"/>
                  </a:lnTo>
                  <a:lnTo>
                    <a:pt x="524" y="503"/>
                  </a:lnTo>
                  <a:lnTo>
                    <a:pt x="522" y="503"/>
                  </a:lnTo>
                  <a:lnTo>
                    <a:pt x="518" y="503"/>
                  </a:lnTo>
                  <a:lnTo>
                    <a:pt x="516" y="503"/>
                  </a:lnTo>
                  <a:lnTo>
                    <a:pt x="516" y="505"/>
                  </a:lnTo>
                  <a:lnTo>
                    <a:pt x="516" y="507"/>
                  </a:lnTo>
                  <a:lnTo>
                    <a:pt x="520" y="512"/>
                  </a:lnTo>
                  <a:lnTo>
                    <a:pt x="520" y="512"/>
                  </a:lnTo>
                  <a:lnTo>
                    <a:pt x="522" y="516"/>
                  </a:lnTo>
                  <a:lnTo>
                    <a:pt x="522" y="518"/>
                  </a:lnTo>
                  <a:lnTo>
                    <a:pt x="516" y="520"/>
                  </a:lnTo>
                  <a:lnTo>
                    <a:pt x="514" y="520"/>
                  </a:lnTo>
                  <a:lnTo>
                    <a:pt x="514" y="521"/>
                  </a:lnTo>
                  <a:lnTo>
                    <a:pt x="516" y="523"/>
                  </a:lnTo>
                  <a:lnTo>
                    <a:pt x="520" y="525"/>
                  </a:lnTo>
                  <a:lnTo>
                    <a:pt x="520" y="525"/>
                  </a:lnTo>
                  <a:lnTo>
                    <a:pt x="529" y="533"/>
                  </a:lnTo>
                  <a:lnTo>
                    <a:pt x="531" y="535"/>
                  </a:lnTo>
                  <a:lnTo>
                    <a:pt x="531" y="536"/>
                  </a:lnTo>
                  <a:lnTo>
                    <a:pt x="527" y="538"/>
                  </a:lnTo>
                  <a:lnTo>
                    <a:pt x="527" y="540"/>
                  </a:lnTo>
                  <a:lnTo>
                    <a:pt x="527" y="542"/>
                  </a:lnTo>
                  <a:lnTo>
                    <a:pt x="527" y="542"/>
                  </a:lnTo>
                  <a:lnTo>
                    <a:pt x="531" y="546"/>
                  </a:lnTo>
                  <a:lnTo>
                    <a:pt x="533" y="546"/>
                  </a:lnTo>
                  <a:lnTo>
                    <a:pt x="533" y="546"/>
                  </a:lnTo>
                  <a:lnTo>
                    <a:pt x="525" y="549"/>
                  </a:lnTo>
                  <a:lnTo>
                    <a:pt x="525" y="549"/>
                  </a:lnTo>
                  <a:lnTo>
                    <a:pt x="525" y="551"/>
                  </a:lnTo>
                  <a:lnTo>
                    <a:pt x="525" y="551"/>
                  </a:lnTo>
                  <a:lnTo>
                    <a:pt x="527" y="559"/>
                  </a:lnTo>
                  <a:lnTo>
                    <a:pt x="529" y="576"/>
                  </a:lnTo>
                  <a:lnTo>
                    <a:pt x="527" y="581"/>
                  </a:lnTo>
                  <a:lnTo>
                    <a:pt x="537" y="591"/>
                  </a:lnTo>
                  <a:lnTo>
                    <a:pt x="544" y="591"/>
                  </a:lnTo>
                  <a:lnTo>
                    <a:pt x="544" y="591"/>
                  </a:lnTo>
                  <a:lnTo>
                    <a:pt x="550" y="583"/>
                  </a:lnTo>
                  <a:lnTo>
                    <a:pt x="557" y="578"/>
                  </a:lnTo>
                  <a:lnTo>
                    <a:pt x="563" y="570"/>
                  </a:lnTo>
                  <a:lnTo>
                    <a:pt x="567" y="563"/>
                  </a:lnTo>
                  <a:lnTo>
                    <a:pt x="567" y="563"/>
                  </a:lnTo>
                  <a:lnTo>
                    <a:pt x="572" y="559"/>
                  </a:lnTo>
                  <a:lnTo>
                    <a:pt x="578" y="555"/>
                  </a:lnTo>
                  <a:lnTo>
                    <a:pt x="582" y="551"/>
                  </a:lnTo>
                  <a:lnTo>
                    <a:pt x="589" y="549"/>
                  </a:lnTo>
                  <a:lnTo>
                    <a:pt x="589" y="538"/>
                  </a:lnTo>
                  <a:lnTo>
                    <a:pt x="589" y="538"/>
                  </a:lnTo>
                  <a:lnTo>
                    <a:pt x="598" y="533"/>
                  </a:lnTo>
                  <a:lnTo>
                    <a:pt x="602" y="525"/>
                  </a:lnTo>
                  <a:lnTo>
                    <a:pt x="606" y="516"/>
                  </a:lnTo>
                  <a:lnTo>
                    <a:pt x="608" y="508"/>
                  </a:lnTo>
                  <a:lnTo>
                    <a:pt x="608" y="501"/>
                  </a:lnTo>
                  <a:lnTo>
                    <a:pt x="611" y="495"/>
                  </a:lnTo>
                  <a:lnTo>
                    <a:pt x="615" y="488"/>
                  </a:lnTo>
                  <a:lnTo>
                    <a:pt x="624" y="484"/>
                  </a:lnTo>
                  <a:lnTo>
                    <a:pt x="636" y="477"/>
                  </a:lnTo>
                  <a:lnTo>
                    <a:pt x="636" y="477"/>
                  </a:lnTo>
                  <a:lnTo>
                    <a:pt x="632" y="469"/>
                  </a:lnTo>
                  <a:lnTo>
                    <a:pt x="628" y="467"/>
                  </a:lnTo>
                  <a:lnTo>
                    <a:pt x="624" y="464"/>
                  </a:lnTo>
                  <a:lnTo>
                    <a:pt x="617" y="460"/>
                  </a:lnTo>
                  <a:lnTo>
                    <a:pt x="606" y="456"/>
                  </a:lnTo>
                  <a:lnTo>
                    <a:pt x="572" y="447"/>
                  </a:lnTo>
                  <a:lnTo>
                    <a:pt x="572" y="447"/>
                  </a:lnTo>
                  <a:lnTo>
                    <a:pt x="567" y="447"/>
                  </a:lnTo>
                  <a:lnTo>
                    <a:pt x="565" y="443"/>
                  </a:lnTo>
                  <a:lnTo>
                    <a:pt x="557" y="436"/>
                  </a:lnTo>
                  <a:lnTo>
                    <a:pt x="548" y="419"/>
                  </a:lnTo>
                  <a:lnTo>
                    <a:pt x="542" y="413"/>
                  </a:lnTo>
                  <a:lnTo>
                    <a:pt x="539" y="411"/>
                  </a:lnTo>
                  <a:lnTo>
                    <a:pt x="535" y="411"/>
                  </a:lnTo>
                  <a:lnTo>
                    <a:pt x="529" y="413"/>
                  </a:lnTo>
                  <a:lnTo>
                    <a:pt x="524" y="415"/>
                  </a:lnTo>
                  <a:lnTo>
                    <a:pt x="509" y="428"/>
                  </a:lnTo>
                  <a:lnTo>
                    <a:pt x="509" y="428"/>
                  </a:lnTo>
                  <a:lnTo>
                    <a:pt x="501" y="430"/>
                  </a:lnTo>
                  <a:lnTo>
                    <a:pt x="490" y="432"/>
                  </a:lnTo>
                  <a:lnTo>
                    <a:pt x="477" y="434"/>
                  </a:lnTo>
                  <a:lnTo>
                    <a:pt x="477" y="434"/>
                  </a:lnTo>
                  <a:lnTo>
                    <a:pt x="481" y="430"/>
                  </a:lnTo>
                  <a:lnTo>
                    <a:pt x="488" y="428"/>
                  </a:lnTo>
                  <a:lnTo>
                    <a:pt x="497" y="424"/>
                  </a:lnTo>
                  <a:lnTo>
                    <a:pt x="503" y="421"/>
                  </a:lnTo>
                  <a:lnTo>
                    <a:pt x="503" y="421"/>
                  </a:lnTo>
                  <a:lnTo>
                    <a:pt x="512" y="413"/>
                  </a:lnTo>
                  <a:lnTo>
                    <a:pt x="522" y="409"/>
                  </a:lnTo>
                  <a:lnTo>
                    <a:pt x="529" y="406"/>
                  </a:lnTo>
                  <a:lnTo>
                    <a:pt x="537" y="406"/>
                  </a:lnTo>
                  <a:lnTo>
                    <a:pt x="542" y="407"/>
                  </a:lnTo>
                  <a:lnTo>
                    <a:pt x="548" y="409"/>
                  </a:lnTo>
                  <a:lnTo>
                    <a:pt x="559" y="417"/>
                  </a:lnTo>
                  <a:lnTo>
                    <a:pt x="568" y="424"/>
                  </a:lnTo>
                  <a:lnTo>
                    <a:pt x="578" y="432"/>
                  </a:lnTo>
                  <a:lnTo>
                    <a:pt x="583" y="436"/>
                  </a:lnTo>
                  <a:lnTo>
                    <a:pt x="587" y="436"/>
                  </a:lnTo>
                  <a:lnTo>
                    <a:pt x="593" y="436"/>
                  </a:lnTo>
                  <a:lnTo>
                    <a:pt x="598" y="434"/>
                  </a:lnTo>
                  <a:lnTo>
                    <a:pt x="598" y="434"/>
                  </a:lnTo>
                  <a:lnTo>
                    <a:pt x="608" y="430"/>
                  </a:lnTo>
                  <a:lnTo>
                    <a:pt x="615" y="428"/>
                  </a:lnTo>
                  <a:lnTo>
                    <a:pt x="624" y="428"/>
                  </a:lnTo>
                  <a:lnTo>
                    <a:pt x="634" y="430"/>
                  </a:lnTo>
                  <a:lnTo>
                    <a:pt x="651" y="436"/>
                  </a:lnTo>
                  <a:lnTo>
                    <a:pt x="667" y="441"/>
                  </a:lnTo>
                  <a:lnTo>
                    <a:pt x="681" y="447"/>
                  </a:lnTo>
                  <a:lnTo>
                    <a:pt x="686" y="449"/>
                  </a:lnTo>
                  <a:lnTo>
                    <a:pt x="690" y="449"/>
                  </a:lnTo>
                  <a:lnTo>
                    <a:pt x="694" y="447"/>
                  </a:lnTo>
                  <a:lnTo>
                    <a:pt x="694" y="443"/>
                  </a:lnTo>
                  <a:lnTo>
                    <a:pt x="694" y="437"/>
                  </a:lnTo>
                  <a:lnTo>
                    <a:pt x="692" y="430"/>
                  </a:lnTo>
                  <a:lnTo>
                    <a:pt x="692" y="430"/>
                  </a:lnTo>
                  <a:lnTo>
                    <a:pt x="690" y="421"/>
                  </a:lnTo>
                  <a:lnTo>
                    <a:pt x="684" y="413"/>
                  </a:lnTo>
                  <a:lnTo>
                    <a:pt x="681" y="407"/>
                  </a:lnTo>
                  <a:lnTo>
                    <a:pt x="675" y="404"/>
                  </a:lnTo>
                  <a:lnTo>
                    <a:pt x="664" y="398"/>
                  </a:lnTo>
                  <a:lnTo>
                    <a:pt x="651" y="394"/>
                  </a:lnTo>
                  <a:lnTo>
                    <a:pt x="639" y="391"/>
                  </a:lnTo>
                  <a:lnTo>
                    <a:pt x="628" y="387"/>
                  </a:lnTo>
                  <a:lnTo>
                    <a:pt x="624" y="383"/>
                  </a:lnTo>
                  <a:lnTo>
                    <a:pt x="621" y="378"/>
                  </a:lnTo>
                  <a:lnTo>
                    <a:pt x="619" y="372"/>
                  </a:lnTo>
                  <a:lnTo>
                    <a:pt x="617" y="366"/>
                  </a:lnTo>
                  <a:lnTo>
                    <a:pt x="617" y="366"/>
                  </a:lnTo>
                  <a:lnTo>
                    <a:pt x="615" y="361"/>
                  </a:lnTo>
                  <a:lnTo>
                    <a:pt x="613" y="355"/>
                  </a:lnTo>
                  <a:lnTo>
                    <a:pt x="608" y="350"/>
                  </a:lnTo>
                  <a:lnTo>
                    <a:pt x="598" y="344"/>
                  </a:lnTo>
                  <a:lnTo>
                    <a:pt x="587" y="340"/>
                  </a:lnTo>
                  <a:lnTo>
                    <a:pt x="578" y="336"/>
                  </a:lnTo>
                  <a:lnTo>
                    <a:pt x="568" y="329"/>
                  </a:lnTo>
                  <a:lnTo>
                    <a:pt x="565" y="323"/>
                  </a:lnTo>
                  <a:lnTo>
                    <a:pt x="561" y="316"/>
                  </a:lnTo>
                  <a:lnTo>
                    <a:pt x="559" y="307"/>
                  </a:lnTo>
                  <a:lnTo>
                    <a:pt x="557" y="297"/>
                  </a:lnTo>
                  <a:lnTo>
                    <a:pt x="557" y="297"/>
                  </a:lnTo>
                  <a:lnTo>
                    <a:pt x="555" y="286"/>
                  </a:lnTo>
                  <a:lnTo>
                    <a:pt x="548" y="269"/>
                  </a:lnTo>
                  <a:lnTo>
                    <a:pt x="527" y="232"/>
                  </a:lnTo>
                  <a:lnTo>
                    <a:pt x="505" y="189"/>
                  </a:lnTo>
                  <a:lnTo>
                    <a:pt x="496" y="170"/>
                  </a:lnTo>
                  <a:lnTo>
                    <a:pt x="490" y="153"/>
                  </a:lnTo>
                  <a:lnTo>
                    <a:pt x="490" y="153"/>
                  </a:lnTo>
                  <a:lnTo>
                    <a:pt x="486" y="142"/>
                  </a:lnTo>
                  <a:lnTo>
                    <a:pt x="473" y="122"/>
                  </a:lnTo>
                  <a:lnTo>
                    <a:pt x="466" y="110"/>
                  </a:lnTo>
                  <a:lnTo>
                    <a:pt x="458" y="99"/>
                  </a:lnTo>
                  <a:lnTo>
                    <a:pt x="451" y="92"/>
                  </a:lnTo>
                  <a:lnTo>
                    <a:pt x="443" y="90"/>
                  </a:lnTo>
                  <a:lnTo>
                    <a:pt x="443" y="90"/>
                  </a:lnTo>
                  <a:lnTo>
                    <a:pt x="426" y="86"/>
                  </a:lnTo>
                  <a:lnTo>
                    <a:pt x="410" y="80"/>
                  </a:lnTo>
                  <a:lnTo>
                    <a:pt x="395" y="73"/>
                  </a:lnTo>
                  <a:lnTo>
                    <a:pt x="380" y="66"/>
                  </a:lnTo>
                  <a:lnTo>
                    <a:pt x="355" y="51"/>
                  </a:lnTo>
                  <a:lnTo>
                    <a:pt x="346" y="47"/>
                  </a:lnTo>
                  <a:lnTo>
                    <a:pt x="339" y="45"/>
                  </a:lnTo>
                  <a:lnTo>
                    <a:pt x="339" y="45"/>
                  </a:lnTo>
                  <a:lnTo>
                    <a:pt x="333" y="43"/>
                  </a:lnTo>
                  <a:lnTo>
                    <a:pt x="329" y="39"/>
                  </a:lnTo>
                  <a:lnTo>
                    <a:pt x="325" y="34"/>
                  </a:lnTo>
                  <a:lnTo>
                    <a:pt x="324" y="26"/>
                  </a:lnTo>
                  <a:lnTo>
                    <a:pt x="324" y="19"/>
                  </a:lnTo>
                  <a:lnTo>
                    <a:pt x="325" y="11"/>
                  </a:lnTo>
                  <a:lnTo>
                    <a:pt x="327" y="6"/>
                  </a:lnTo>
                  <a:lnTo>
                    <a:pt x="331" y="0"/>
                  </a:lnTo>
                  <a:lnTo>
                    <a:pt x="331" y="0"/>
                  </a:lnTo>
                  <a:lnTo>
                    <a:pt x="297" y="9"/>
                  </a:lnTo>
                  <a:lnTo>
                    <a:pt x="290" y="13"/>
                  </a:lnTo>
                  <a:lnTo>
                    <a:pt x="286" y="17"/>
                  </a:lnTo>
                  <a:lnTo>
                    <a:pt x="282" y="30"/>
                  </a:lnTo>
                  <a:lnTo>
                    <a:pt x="279" y="41"/>
                  </a:lnTo>
                  <a:lnTo>
                    <a:pt x="271" y="56"/>
                  </a:lnTo>
                  <a:lnTo>
                    <a:pt x="271" y="5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2" name="Freeform 22">
              <a:extLst>
                <a:ext uri="{FF2B5EF4-FFF2-40B4-BE49-F238E27FC236}">
                  <a16:creationId xmlns:a16="http://schemas.microsoft.com/office/drawing/2014/main" id="{961178D8-1EDE-46B5-99D9-C4DDBB4C2239}"/>
                </a:ext>
              </a:extLst>
            </p:cNvPr>
            <p:cNvSpPr>
              <a:spLocks noEditPoints="1"/>
            </p:cNvSpPr>
            <p:nvPr/>
          </p:nvSpPr>
          <p:spPr bwMode="auto">
            <a:xfrm>
              <a:off x="6190645" y="4537430"/>
              <a:ext cx="543182" cy="554081"/>
            </a:xfrm>
            <a:custGeom>
              <a:avLst/>
              <a:gdLst/>
              <a:ahLst/>
              <a:cxnLst>
                <a:cxn ang="0">
                  <a:pos x="527" y="68"/>
                </a:cxn>
                <a:cxn ang="0">
                  <a:pos x="546" y="54"/>
                </a:cxn>
                <a:cxn ang="0">
                  <a:pos x="550" y="53"/>
                </a:cxn>
                <a:cxn ang="0">
                  <a:pos x="580" y="73"/>
                </a:cxn>
                <a:cxn ang="0">
                  <a:pos x="598" y="105"/>
                </a:cxn>
                <a:cxn ang="0">
                  <a:pos x="580" y="154"/>
                </a:cxn>
                <a:cxn ang="0">
                  <a:pos x="567" y="144"/>
                </a:cxn>
                <a:cxn ang="0">
                  <a:pos x="525" y="112"/>
                </a:cxn>
                <a:cxn ang="0">
                  <a:pos x="477" y="150"/>
                </a:cxn>
                <a:cxn ang="0">
                  <a:pos x="501" y="133"/>
                </a:cxn>
                <a:cxn ang="0">
                  <a:pos x="525" y="139"/>
                </a:cxn>
                <a:cxn ang="0">
                  <a:pos x="509" y="189"/>
                </a:cxn>
                <a:cxn ang="0">
                  <a:pos x="488" y="159"/>
                </a:cxn>
                <a:cxn ang="0">
                  <a:pos x="529" y="226"/>
                </a:cxn>
                <a:cxn ang="0">
                  <a:pos x="520" y="204"/>
                </a:cxn>
                <a:cxn ang="0">
                  <a:pos x="507" y="234"/>
                </a:cxn>
                <a:cxn ang="0">
                  <a:pos x="516" y="256"/>
                </a:cxn>
                <a:cxn ang="0">
                  <a:pos x="499" y="309"/>
                </a:cxn>
                <a:cxn ang="0">
                  <a:pos x="490" y="329"/>
                </a:cxn>
                <a:cxn ang="0">
                  <a:pos x="475" y="324"/>
                </a:cxn>
                <a:cxn ang="0">
                  <a:pos x="484" y="372"/>
                </a:cxn>
                <a:cxn ang="0">
                  <a:pos x="509" y="410"/>
                </a:cxn>
                <a:cxn ang="0">
                  <a:pos x="471" y="447"/>
                </a:cxn>
                <a:cxn ang="0">
                  <a:pos x="415" y="495"/>
                </a:cxn>
                <a:cxn ang="0">
                  <a:pos x="404" y="509"/>
                </a:cxn>
                <a:cxn ang="0">
                  <a:pos x="415" y="507"/>
                </a:cxn>
                <a:cxn ang="0">
                  <a:pos x="425" y="510"/>
                </a:cxn>
                <a:cxn ang="0">
                  <a:pos x="228" y="6"/>
                </a:cxn>
                <a:cxn ang="0">
                  <a:pos x="174" y="73"/>
                </a:cxn>
                <a:cxn ang="0">
                  <a:pos x="137" y="135"/>
                </a:cxn>
                <a:cxn ang="0">
                  <a:pos x="120" y="182"/>
                </a:cxn>
                <a:cxn ang="0">
                  <a:pos x="99" y="226"/>
                </a:cxn>
                <a:cxn ang="0">
                  <a:pos x="75" y="275"/>
                </a:cxn>
                <a:cxn ang="0">
                  <a:pos x="21" y="320"/>
                </a:cxn>
                <a:cxn ang="0">
                  <a:pos x="15" y="380"/>
                </a:cxn>
                <a:cxn ang="0">
                  <a:pos x="77" y="482"/>
                </a:cxn>
                <a:cxn ang="0">
                  <a:pos x="129" y="576"/>
                </a:cxn>
                <a:cxn ang="0">
                  <a:pos x="172" y="594"/>
                </a:cxn>
                <a:cxn ang="0">
                  <a:pos x="241" y="587"/>
                </a:cxn>
                <a:cxn ang="0">
                  <a:pos x="337" y="611"/>
                </a:cxn>
                <a:cxn ang="0">
                  <a:pos x="368" y="516"/>
                </a:cxn>
                <a:cxn ang="0">
                  <a:pos x="389" y="486"/>
                </a:cxn>
                <a:cxn ang="0">
                  <a:pos x="398" y="438"/>
                </a:cxn>
                <a:cxn ang="0">
                  <a:pos x="449" y="438"/>
                </a:cxn>
                <a:cxn ang="0">
                  <a:pos x="438" y="387"/>
                </a:cxn>
                <a:cxn ang="0">
                  <a:pos x="460" y="355"/>
                </a:cxn>
                <a:cxn ang="0">
                  <a:pos x="438" y="322"/>
                </a:cxn>
                <a:cxn ang="0">
                  <a:pos x="466" y="314"/>
                </a:cxn>
                <a:cxn ang="0">
                  <a:pos x="490" y="310"/>
                </a:cxn>
                <a:cxn ang="0">
                  <a:pos x="451" y="266"/>
                </a:cxn>
                <a:cxn ang="0">
                  <a:pos x="473" y="232"/>
                </a:cxn>
                <a:cxn ang="0">
                  <a:pos x="398" y="157"/>
                </a:cxn>
                <a:cxn ang="0">
                  <a:pos x="327" y="185"/>
                </a:cxn>
                <a:cxn ang="0">
                  <a:pos x="260" y="182"/>
                </a:cxn>
                <a:cxn ang="0">
                  <a:pos x="350" y="133"/>
                </a:cxn>
                <a:cxn ang="0">
                  <a:pos x="363" y="84"/>
                </a:cxn>
                <a:cxn ang="0">
                  <a:pos x="326" y="56"/>
                </a:cxn>
                <a:cxn ang="0">
                  <a:pos x="273" y="81"/>
                </a:cxn>
                <a:cxn ang="0">
                  <a:pos x="277" y="51"/>
                </a:cxn>
                <a:cxn ang="0">
                  <a:pos x="258" y="26"/>
                </a:cxn>
                <a:cxn ang="0">
                  <a:pos x="268" y="8"/>
                </a:cxn>
              </a:cxnLst>
              <a:rect l="0" t="0" r="r" b="b"/>
              <a:pathLst>
                <a:path w="598" h="611">
                  <a:moveTo>
                    <a:pt x="475" y="299"/>
                  </a:moveTo>
                  <a:lnTo>
                    <a:pt x="475" y="299"/>
                  </a:lnTo>
                  <a:close/>
                  <a:moveTo>
                    <a:pt x="535" y="84"/>
                  </a:moveTo>
                  <a:lnTo>
                    <a:pt x="535" y="84"/>
                  </a:lnTo>
                  <a:lnTo>
                    <a:pt x="537" y="88"/>
                  </a:lnTo>
                  <a:lnTo>
                    <a:pt x="539" y="88"/>
                  </a:lnTo>
                  <a:lnTo>
                    <a:pt x="540" y="88"/>
                  </a:lnTo>
                  <a:lnTo>
                    <a:pt x="542" y="86"/>
                  </a:lnTo>
                  <a:lnTo>
                    <a:pt x="542" y="83"/>
                  </a:lnTo>
                  <a:lnTo>
                    <a:pt x="540" y="77"/>
                  </a:lnTo>
                  <a:lnTo>
                    <a:pt x="537" y="73"/>
                  </a:lnTo>
                  <a:lnTo>
                    <a:pt x="527" y="68"/>
                  </a:lnTo>
                  <a:lnTo>
                    <a:pt x="527" y="68"/>
                  </a:lnTo>
                  <a:lnTo>
                    <a:pt x="524" y="71"/>
                  </a:lnTo>
                  <a:lnTo>
                    <a:pt x="522" y="75"/>
                  </a:lnTo>
                  <a:lnTo>
                    <a:pt x="522" y="75"/>
                  </a:lnTo>
                  <a:lnTo>
                    <a:pt x="522" y="81"/>
                  </a:lnTo>
                  <a:lnTo>
                    <a:pt x="525" y="83"/>
                  </a:lnTo>
                  <a:lnTo>
                    <a:pt x="537" y="84"/>
                  </a:lnTo>
                  <a:lnTo>
                    <a:pt x="537" y="84"/>
                  </a:lnTo>
                  <a:lnTo>
                    <a:pt x="535" y="84"/>
                  </a:lnTo>
                  <a:lnTo>
                    <a:pt x="535" y="84"/>
                  </a:lnTo>
                  <a:lnTo>
                    <a:pt x="535" y="84"/>
                  </a:lnTo>
                  <a:close/>
                  <a:moveTo>
                    <a:pt x="546" y="54"/>
                  </a:moveTo>
                  <a:lnTo>
                    <a:pt x="546" y="54"/>
                  </a:lnTo>
                  <a:lnTo>
                    <a:pt x="544" y="56"/>
                  </a:lnTo>
                  <a:lnTo>
                    <a:pt x="544" y="58"/>
                  </a:lnTo>
                  <a:lnTo>
                    <a:pt x="550" y="60"/>
                  </a:lnTo>
                  <a:lnTo>
                    <a:pt x="559" y="60"/>
                  </a:lnTo>
                  <a:lnTo>
                    <a:pt x="559" y="60"/>
                  </a:lnTo>
                  <a:lnTo>
                    <a:pt x="559" y="53"/>
                  </a:lnTo>
                  <a:lnTo>
                    <a:pt x="557" y="51"/>
                  </a:lnTo>
                  <a:lnTo>
                    <a:pt x="555" y="49"/>
                  </a:lnTo>
                  <a:lnTo>
                    <a:pt x="555" y="49"/>
                  </a:lnTo>
                  <a:lnTo>
                    <a:pt x="552" y="51"/>
                  </a:lnTo>
                  <a:lnTo>
                    <a:pt x="550" y="53"/>
                  </a:lnTo>
                  <a:lnTo>
                    <a:pt x="546" y="54"/>
                  </a:lnTo>
                  <a:lnTo>
                    <a:pt x="546" y="54"/>
                  </a:lnTo>
                  <a:close/>
                  <a:moveTo>
                    <a:pt x="570" y="68"/>
                  </a:moveTo>
                  <a:lnTo>
                    <a:pt x="570" y="68"/>
                  </a:lnTo>
                  <a:lnTo>
                    <a:pt x="565" y="69"/>
                  </a:lnTo>
                  <a:lnTo>
                    <a:pt x="563" y="71"/>
                  </a:lnTo>
                  <a:lnTo>
                    <a:pt x="563" y="73"/>
                  </a:lnTo>
                  <a:lnTo>
                    <a:pt x="565" y="75"/>
                  </a:lnTo>
                  <a:lnTo>
                    <a:pt x="572" y="77"/>
                  </a:lnTo>
                  <a:lnTo>
                    <a:pt x="580" y="75"/>
                  </a:lnTo>
                  <a:lnTo>
                    <a:pt x="580" y="75"/>
                  </a:lnTo>
                  <a:lnTo>
                    <a:pt x="580" y="73"/>
                  </a:lnTo>
                  <a:lnTo>
                    <a:pt x="576" y="69"/>
                  </a:lnTo>
                  <a:lnTo>
                    <a:pt x="570" y="68"/>
                  </a:lnTo>
                  <a:lnTo>
                    <a:pt x="570" y="68"/>
                  </a:lnTo>
                  <a:close/>
                  <a:moveTo>
                    <a:pt x="589" y="107"/>
                  </a:moveTo>
                  <a:lnTo>
                    <a:pt x="589" y="107"/>
                  </a:lnTo>
                  <a:lnTo>
                    <a:pt x="587" y="111"/>
                  </a:lnTo>
                  <a:lnTo>
                    <a:pt x="589" y="112"/>
                  </a:lnTo>
                  <a:lnTo>
                    <a:pt x="591" y="114"/>
                  </a:lnTo>
                  <a:lnTo>
                    <a:pt x="593" y="112"/>
                  </a:lnTo>
                  <a:lnTo>
                    <a:pt x="596" y="112"/>
                  </a:lnTo>
                  <a:lnTo>
                    <a:pt x="598" y="109"/>
                  </a:lnTo>
                  <a:lnTo>
                    <a:pt x="598" y="105"/>
                  </a:lnTo>
                  <a:lnTo>
                    <a:pt x="595" y="103"/>
                  </a:lnTo>
                  <a:lnTo>
                    <a:pt x="595" y="103"/>
                  </a:lnTo>
                  <a:lnTo>
                    <a:pt x="593" y="101"/>
                  </a:lnTo>
                  <a:lnTo>
                    <a:pt x="593" y="103"/>
                  </a:lnTo>
                  <a:lnTo>
                    <a:pt x="589" y="107"/>
                  </a:lnTo>
                  <a:lnTo>
                    <a:pt x="589" y="107"/>
                  </a:lnTo>
                  <a:close/>
                  <a:moveTo>
                    <a:pt x="576" y="152"/>
                  </a:moveTo>
                  <a:lnTo>
                    <a:pt x="576" y="165"/>
                  </a:lnTo>
                  <a:lnTo>
                    <a:pt x="576" y="165"/>
                  </a:lnTo>
                  <a:lnTo>
                    <a:pt x="580" y="161"/>
                  </a:lnTo>
                  <a:lnTo>
                    <a:pt x="582" y="157"/>
                  </a:lnTo>
                  <a:lnTo>
                    <a:pt x="580" y="154"/>
                  </a:lnTo>
                  <a:lnTo>
                    <a:pt x="578" y="152"/>
                  </a:lnTo>
                  <a:lnTo>
                    <a:pt x="576" y="152"/>
                  </a:lnTo>
                  <a:lnTo>
                    <a:pt x="576" y="152"/>
                  </a:lnTo>
                  <a:close/>
                  <a:moveTo>
                    <a:pt x="559" y="144"/>
                  </a:moveTo>
                  <a:lnTo>
                    <a:pt x="559" y="144"/>
                  </a:lnTo>
                  <a:lnTo>
                    <a:pt x="559" y="146"/>
                  </a:lnTo>
                  <a:lnTo>
                    <a:pt x="559" y="148"/>
                  </a:lnTo>
                  <a:lnTo>
                    <a:pt x="563" y="150"/>
                  </a:lnTo>
                  <a:lnTo>
                    <a:pt x="574" y="150"/>
                  </a:lnTo>
                  <a:lnTo>
                    <a:pt x="574" y="150"/>
                  </a:lnTo>
                  <a:lnTo>
                    <a:pt x="570" y="146"/>
                  </a:lnTo>
                  <a:lnTo>
                    <a:pt x="567" y="144"/>
                  </a:lnTo>
                  <a:lnTo>
                    <a:pt x="561" y="142"/>
                  </a:lnTo>
                  <a:lnTo>
                    <a:pt x="559" y="144"/>
                  </a:lnTo>
                  <a:lnTo>
                    <a:pt x="559" y="144"/>
                  </a:lnTo>
                  <a:close/>
                  <a:moveTo>
                    <a:pt x="509" y="122"/>
                  </a:moveTo>
                  <a:lnTo>
                    <a:pt x="509" y="122"/>
                  </a:lnTo>
                  <a:lnTo>
                    <a:pt x="514" y="122"/>
                  </a:lnTo>
                  <a:lnTo>
                    <a:pt x="524" y="122"/>
                  </a:lnTo>
                  <a:lnTo>
                    <a:pt x="533" y="122"/>
                  </a:lnTo>
                  <a:lnTo>
                    <a:pt x="539" y="118"/>
                  </a:lnTo>
                  <a:lnTo>
                    <a:pt x="539" y="118"/>
                  </a:lnTo>
                  <a:lnTo>
                    <a:pt x="531" y="116"/>
                  </a:lnTo>
                  <a:lnTo>
                    <a:pt x="525" y="112"/>
                  </a:lnTo>
                  <a:lnTo>
                    <a:pt x="524" y="111"/>
                  </a:lnTo>
                  <a:lnTo>
                    <a:pt x="522" y="107"/>
                  </a:lnTo>
                  <a:lnTo>
                    <a:pt x="522" y="107"/>
                  </a:lnTo>
                  <a:lnTo>
                    <a:pt x="514" y="107"/>
                  </a:lnTo>
                  <a:lnTo>
                    <a:pt x="509" y="109"/>
                  </a:lnTo>
                  <a:lnTo>
                    <a:pt x="509" y="109"/>
                  </a:lnTo>
                  <a:lnTo>
                    <a:pt x="507" y="114"/>
                  </a:lnTo>
                  <a:lnTo>
                    <a:pt x="509" y="122"/>
                  </a:lnTo>
                  <a:lnTo>
                    <a:pt x="509" y="122"/>
                  </a:lnTo>
                  <a:close/>
                  <a:moveTo>
                    <a:pt x="475" y="150"/>
                  </a:moveTo>
                  <a:lnTo>
                    <a:pt x="475" y="150"/>
                  </a:lnTo>
                  <a:lnTo>
                    <a:pt x="477" y="150"/>
                  </a:lnTo>
                  <a:lnTo>
                    <a:pt x="477" y="146"/>
                  </a:lnTo>
                  <a:lnTo>
                    <a:pt x="479" y="139"/>
                  </a:lnTo>
                  <a:lnTo>
                    <a:pt x="471" y="137"/>
                  </a:lnTo>
                  <a:lnTo>
                    <a:pt x="471" y="137"/>
                  </a:lnTo>
                  <a:lnTo>
                    <a:pt x="471" y="140"/>
                  </a:lnTo>
                  <a:lnTo>
                    <a:pt x="471" y="146"/>
                  </a:lnTo>
                  <a:lnTo>
                    <a:pt x="471" y="150"/>
                  </a:lnTo>
                  <a:lnTo>
                    <a:pt x="473" y="152"/>
                  </a:lnTo>
                  <a:lnTo>
                    <a:pt x="475" y="150"/>
                  </a:lnTo>
                  <a:lnTo>
                    <a:pt x="475" y="150"/>
                  </a:lnTo>
                  <a:close/>
                  <a:moveTo>
                    <a:pt x="501" y="133"/>
                  </a:moveTo>
                  <a:lnTo>
                    <a:pt x="501" y="133"/>
                  </a:lnTo>
                  <a:lnTo>
                    <a:pt x="494" y="135"/>
                  </a:lnTo>
                  <a:lnTo>
                    <a:pt x="492" y="137"/>
                  </a:lnTo>
                  <a:lnTo>
                    <a:pt x="490" y="142"/>
                  </a:lnTo>
                  <a:lnTo>
                    <a:pt x="494" y="146"/>
                  </a:lnTo>
                  <a:lnTo>
                    <a:pt x="499" y="150"/>
                  </a:lnTo>
                  <a:lnTo>
                    <a:pt x="509" y="154"/>
                  </a:lnTo>
                  <a:lnTo>
                    <a:pt x="520" y="152"/>
                  </a:lnTo>
                  <a:lnTo>
                    <a:pt x="533" y="148"/>
                  </a:lnTo>
                  <a:lnTo>
                    <a:pt x="533" y="148"/>
                  </a:lnTo>
                  <a:lnTo>
                    <a:pt x="529" y="140"/>
                  </a:lnTo>
                  <a:lnTo>
                    <a:pt x="525" y="139"/>
                  </a:lnTo>
                  <a:lnTo>
                    <a:pt x="525" y="139"/>
                  </a:lnTo>
                  <a:lnTo>
                    <a:pt x="525" y="140"/>
                  </a:lnTo>
                  <a:lnTo>
                    <a:pt x="525" y="140"/>
                  </a:lnTo>
                  <a:lnTo>
                    <a:pt x="522" y="144"/>
                  </a:lnTo>
                  <a:lnTo>
                    <a:pt x="518" y="142"/>
                  </a:lnTo>
                  <a:lnTo>
                    <a:pt x="511" y="137"/>
                  </a:lnTo>
                  <a:lnTo>
                    <a:pt x="511" y="137"/>
                  </a:lnTo>
                  <a:lnTo>
                    <a:pt x="501" y="133"/>
                  </a:lnTo>
                  <a:lnTo>
                    <a:pt x="501" y="133"/>
                  </a:lnTo>
                  <a:close/>
                  <a:moveTo>
                    <a:pt x="488" y="185"/>
                  </a:moveTo>
                  <a:lnTo>
                    <a:pt x="488" y="185"/>
                  </a:lnTo>
                  <a:lnTo>
                    <a:pt x="499" y="185"/>
                  </a:lnTo>
                  <a:lnTo>
                    <a:pt x="509" y="189"/>
                  </a:lnTo>
                  <a:lnTo>
                    <a:pt x="518" y="193"/>
                  </a:lnTo>
                  <a:lnTo>
                    <a:pt x="529" y="197"/>
                  </a:lnTo>
                  <a:lnTo>
                    <a:pt x="529" y="197"/>
                  </a:lnTo>
                  <a:lnTo>
                    <a:pt x="539" y="195"/>
                  </a:lnTo>
                  <a:lnTo>
                    <a:pt x="540" y="193"/>
                  </a:lnTo>
                  <a:lnTo>
                    <a:pt x="542" y="191"/>
                  </a:lnTo>
                  <a:lnTo>
                    <a:pt x="537" y="185"/>
                  </a:lnTo>
                  <a:lnTo>
                    <a:pt x="529" y="180"/>
                  </a:lnTo>
                  <a:lnTo>
                    <a:pt x="509" y="167"/>
                  </a:lnTo>
                  <a:lnTo>
                    <a:pt x="494" y="159"/>
                  </a:lnTo>
                  <a:lnTo>
                    <a:pt x="494" y="159"/>
                  </a:lnTo>
                  <a:lnTo>
                    <a:pt x="488" y="159"/>
                  </a:lnTo>
                  <a:lnTo>
                    <a:pt x="484" y="163"/>
                  </a:lnTo>
                  <a:lnTo>
                    <a:pt x="479" y="167"/>
                  </a:lnTo>
                  <a:lnTo>
                    <a:pt x="475" y="172"/>
                  </a:lnTo>
                  <a:lnTo>
                    <a:pt x="473" y="176"/>
                  </a:lnTo>
                  <a:lnTo>
                    <a:pt x="475" y="182"/>
                  </a:lnTo>
                  <a:lnTo>
                    <a:pt x="479" y="183"/>
                  </a:lnTo>
                  <a:lnTo>
                    <a:pt x="488" y="185"/>
                  </a:lnTo>
                  <a:lnTo>
                    <a:pt x="488" y="185"/>
                  </a:lnTo>
                  <a:close/>
                  <a:moveTo>
                    <a:pt x="514" y="232"/>
                  </a:moveTo>
                  <a:lnTo>
                    <a:pt x="514" y="232"/>
                  </a:lnTo>
                  <a:lnTo>
                    <a:pt x="527" y="228"/>
                  </a:lnTo>
                  <a:lnTo>
                    <a:pt x="529" y="226"/>
                  </a:lnTo>
                  <a:lnTo>
                    <a:pt x="529" y="226"/>
                  </a:lnTo>
                  <a:lnTo>
                    <a:pt x="524" y="223"/>
                  </a:lnTo>
                  <a:lnTo>
                    <a:pt x="524" y="223"/>
                  </a:lnTo>
                  <a:lnTo>
                    <a:pt x="524" y="219"/>
                  </a:lnTo>
                  <a:lnTo>
                    <a:pt x="525" y="217"/>
                  </a:lnTo>
                  <a:lnTo>
                    <a:pt x="529" y="215"/>
                  </a:lnTo>
                  <a:lnTo>
                    <a:pt x="531" y="211"/>
                  </a:lnTo>
                  <a:lnTo>
                    <a:pt x="531" y="211"/>
                  </a:lnTo>
                  <a:lnTo>
                    <a:pt x="529" y="208"/>
                  </a:lnTo>
                  <a:lnTo>
                    <a:pt x="525" y="206"/>
                  </a:lnTo>
                  <a:lnTo>
                    <a:pt x="522" y="204"/>
                  </a:lnTo>
                  <a:lnTo>
                    <a:pt x="520" y="204"/>
                  </a:lnTo>
                  <a:lnTo>
                    <a:pt x="520" y="204"/>
                  </a:lnTo>
                  <a:lnTo>
                    <a:pt x="516" y="208"/>
                  </a:lnTo>
                  <a:lnTo>
                    <a:pt x="514" y="213"/>
                  </a:lnTo>
                  <a:lnTo>
                    <a:pt x="512" y="219"/>
                  </a:lnTo>
                  <a:lnTo>
                    <a:pt x="511" y="221"/>
                  </a:lnTo>
                  <a:lnTo>
                    <a:pt x="509" y="221"/>
                  </a:lnTo>
                  <a:lnTo>
                    <a:pt x="509" y="221"/>
                  </a:lnTo>
                  <a:lnTo>
                    <a:pt x="499" y="223"/>
                  </a:lnTo>
                  <a:lnTo>
                    <a:pt x="499" y="223"/>
                  </a:lnTo>
                  <a:lnTo>
                    <a:pt x="499" y="225"/>
                  </a:lnTo>
                  <a:lnTo>
                    <a:pt x="507" y="234"/>
                  </a:lnTo>
                  <a:lnTo>
                    <a:pt x="507" y="234"/>
                  </a:lnTo>
                  <a:lnTo>
                    <a:pt x="511" y="236"/>
                  </a:lnTo>
                  <a:lnTo>
                    <a:pt x="512" y="236"/>
                  </a:lnTo>
                  <a:lnTo>
                    <a:pt x="514" y="232"/>
                  </a:lnTo>
                  <a:lnTo>
                    <a:pt x="514" y="232"/>
                  </a:lnTo>
                  <a:close/>
                  <a:moveTo>
                    <a:pt x="512" y="269"/>
                  </a:moveTo>
                  <a:lnTo>
                    <a:pt x="512" y="269"/>
                  </a:lnTo>
                  <a:lnTo>
                    <a:pt x="520" y="269"/>
                  </a:lnTo>
                  <a:lnTo>
                    <a:pt x="522" y="269"/>
                  </a:lnTo>
                  <a:lnTo>
                    <a:pt x="524" y="266"/>
                  </a:lnTo>
                  <a:lnTo>
                    <a:pt x="524" y="264"/>
                  </a:lnTo>
                  <a:lnTo>
                    <a:pt x="520" y="258"/>
                  </a:lnTo>
                  <a:lnTo>
                    <a:pt x="516" y="256"/>
                  </a:lnTo>
                  <a:lnTo>
                    <a:pt x="514" y="256"/>
                  </a:lnTo>
                  <a:lnTo>
                    <a:pt x="514" y="256"/>
                  </a:lnTo>
                  <a:lnTo>
                    <a:pt x="514" y="260"/>
                  </a:lnTo>
                  <a:lnTo>
                    <a:pt x="514" y="264"/>
                  </a:lnTo>
                  <a:lnTo>
                    <a:pt x="514" y="264"/>
                  </a:lnTo>
                  <a:lnTo>
                    <a:pt x="512" y="269"/>
                  </a:lnTo>
                  <a:lnTo>
                    <a:pt x="512" y="269"/>
                  </a:lnTo>
                  <a:close/>
                  <a:moveTo>
                    <a:pt x="497" y="297"/>
                  </a:moveTo>
                  <a:lnTo>
                    <a:pt x="497" y="297"/>
                  </a:lnTo>
                  <a:lnTo>
                    <a:pt x="496" y="299"/>
                  </a:lnTo>
                  <a:lnTo>
                    <a:pt x="496" y="303"/>
                  </a:lnTo>
                  <a:lnTo>
                    <a:pt x="499" y="309"/>
                  </a:lnTo>
                  <a:lnTo>
                    <a:pt x="505" y="310"/>
                  </a:lnTo>
                  <a:lnTo>
                    <a:pt x="507" y="310"/>
                  </a:lnTo>
                  <a:lnTo>
                    <a:pt x="507" y="307"/>
                  </a:lnTo>
                  <a:lnTo>
                    <a:pt x="507" y="307"/>
                  </a:lnTo>
                  <a:lnTo>
                    <a:pt x="503" y="299"/>
                  </a:lnTo>
                  <a:lnTo>
                    <a:pt x="501" y="297"/>
                  </a:lnTo>
                  <a:lnTo>
                    <a:pt x="497" y="297"/>
                  </a:lnTo>
                  <a:lnTo>
                    <a:pt x="497" y="297"/>
                  </a:lnTo>
                  <a:close/>
                  <a:moveTo>
                    <a:pt x="475" y="324"/>
                  </a:moveTo>
                  <a:lnTo>
                    <a:pt x="475" y="324"/>
                  </a:lnTo>
                  <a:lnTo>
                    <a:pt x="484" y="327"/>
                  </a:lnTo>
                  <a:lnTo>
                    <a:pt x="490" y="329"/>
                  </a:lnTo>
                  <a:lnTo>
                    <a:pt x="494" y="327"/>
                  </a:lnTo>
                  <a:lnTo>
                    <a:pt x="496" y="325"/>
                  </a:lnTo>
                  <a:lnTo>
                    <a:pt x="496" y="322"/>
                  </a:lnTo>
                  <a:lnTo>
                    <a:pt x="494" y="318"/>
                  </a:lnTo>
                  <a:lnTo>
                    <a:pt x="490" y="316"/>
                  </a:lnTo>
                  <a:lnTo>
                    <a:pt x="486" y="316"/>
                  </a:lnTo>
                  <a:lnTo>
                    <a:pt x="486" y="316"/>
                  </a:lnTo>
                  <a:lnTo>
                    <a:pt x="484" y="316"/>
                  </a:lnTo>
                  <a:lnTo>
                    <a:pt x="484" y="316"/>
                  </a:lnTo>
                  <a:lnTo>
                    <a:pt x="479" y="320"/>
                  </a:lnTo>
                  <a:lnTo>
                    <a:pt x="475" y="324"/>
                  </a:lnTo>
                  <a:lnTo>
                    <a:pt x="475" y="324"/>
                  </a:lnTo>
                  <a:close/>
                  <a:moveTo>
                    <a:pt x="479" y="372"/>
                  </a:moveTo>
                  <a:lnTo>
                    <a:pt x="479" y="372"/>
                  </a:lnTo>
                  <a:lnTo>
                    <a:pt x="475" y="374"/>
                  </a:lnTo>
                  <a:lnTo>
                    <a:pt x="477" y="378"/>
                  </a:lnTo>
                  <a:lnTo>
                    <a:pt x="477" y="380"/>
                  </a:lnTo>
                  <a:lnTo>
                    <a:pt x="481" y="381"/>
                  </a:lnTo>
                  <a:lnTo>
                    <a:pt x="486" y="381"/>
                  </a:lnTo>
                  <a:lnTo>
                    <a:pt x="488" y="381"/>
                  </a:lnTo>
                  <a:lnTo>
                    <a:pt x="488" y="378"/>
                  </a:lnTo>
                  <a:lnTo>
                    <a:pt x="488" y="378"/>
                  </a:lnTo>
                  <a:lnTo>
                    <a:pt x="486" y="374"/>
                  </a:lnTo>
                  <a:lnTo>
                    <a:pt x="484" y="372"/>
                  </a:lnTo>
                  <a:lnTo>
                    <a:pt x="479" y="372"/>
                  </a:lnTo>
                  <a:lnTo>
                    <a:pt x="479" y="372"/>
                  </a:lnTo>
                  <a:close/>
                  <a:moveTo>
                    <a:pt x="492" y="400"/>
                  </a:moveTo>
                  <a:lnTo>
                    <a:pt x="492" y="400"/>
                  </a:lnTo>
                  <a:lnTo>
                    <a:pt x="494" y="411"/>
                  </a:lnTo>
                  <a:lnTo>
                    <a:pt x="499" y="424"/>
                  </a:lnTo>
                  <a:lnTo>
                    <a:pt x="501" y="428"/>
                  </a:lnTo>
                  <a:lnTo>
                    <a:pt x="505" y="428"/>
                  </a:lnTo>
                  <a:lnTo>
                    <a:pt x="507" y="426"/>
                  </a:lnTo>
                  <a:lnTo>
                    <a:pt x="509" y="417"/>
                  </a:lnTo>
                  <a:lnTo>
                    <a:pt x="509" y="417"/>
                  </a:lnTo>
                  <a:lnTo>
                    <a:pt x="509" y="410"/>
                  </a:lnTo>
                  <a:lnTo>
                    <a:pt x="507" y="406"/>
                  </a:lnTo>
                  <a:lnTo>
                    <a:pt x="505" y="400"/>
                  </a:lnTo>
                  <a:lnTo>
                    <a:pt x="499" y="398"/>
                  </a:lnTo>
                  <a:lnTo>
                    <a:pt x="492" y="400"/>
                  </a:lnTo>
                  <a:lnTo>
                    <a:pt x="492" y="400"/>
                  </a:lnTo>
                  <a:close/>
                  <a:moveTo>
                    <a:pt x="462" y="438"/>
                  </a:moveTo>
                  <a:lnTo>
                    <a:pt x="462" y="438"/>
                  </a:lnTo>
                  <a:lnTo>
                    <a:pt x="462" y="443"/>
                  </a:lnTo>
                  <a:lnTo>
                    <a:pt x="462" y="447"/>
                  </a:lnTo>
                  <a:lnTo>
                    <a:pt x="466" y="449"/>
                  </a:lnTo>
                  <a:lnTo>
                    <a:pt x="468" y="449"/>
                  </a:lnTo>
                  <a:lnTo>
                    <a:pt x="471" y="447"/>
                  </a:lnTo>
                  <a:lnTo>
                    <a:pt x="473" y="445"/>
                  </a:lnTo>
                  <a:lnTo>
                    <a:pt x="473" y="441"/>
                  </a:lnTo>
                  <a:lnTo>
                    <a:pt x="469" y="438"/>
                  </a:lnTo>
                  <a:lnTo>
                    <a:pt x="469" y="438"/>
                  </a:lnTo>
                  <a:lnTo>
                    <a:pt x="466" y="438"/>
                  </a:lnTo>
                  <a:lnTo>
                    <a:pt x="462" y="438"/>
                  </a:lnTo>
                  <a:lnTo>
                    <a:pt x="462" y="438"/>
                  </a:lnTo>
                  <a:close/>
                  <a:moveTo>
                    <a:pt x="404" y="490"/>
                  </a:moveTo>
                  <a:lnTo>
                    <a:pt x="404" y="490"/>
                  </a:lnTo>
                  <a:lnTo>
                    <a:pt x="406" y="492"/>
                  </a:lnTo>
                  <a:lnTo>
                    <a:pt x="411" y="494"/>
                  </a:lnTo>
                  <a:lnTo>
                    <a:pt x="415" y="495"/>
                  </a:lnTo>
                  <a:lnTo>
                    <a:pt x="421" y="495"/>
                  </a:lnTo>
                  <a:lnTo>
                    <a:pt x="425" y="494"/>
                  </a:lnTo>
                  <a:lnTo>
                    <a:pt x="428" y="490"/>
                  </a:lnTo>
                  <a:lnTo>
                    <a:pt x="426" y="484"/>
                  </a:lnTo>
                  <a:lnTo>
                    <a:pt x="423" y="475"/>
                  </a:lnTo>
                  <a:lnTo>
                    <a:pt x="423" y="475"/>
                  </a:lnTo>
                  <a:lnTo>
                    <a:pt x="419" y="477"/>
                  </a:lnTo>
                  <a:lnTo>
                    <a:pt x="404" y="490"/>
                  </a:lnTo>
                  <a:lnTo>
                    <a:pt x="404" y="490"/>
                  </a:lnTo>
                  <a:close/>
                  <a:moveTo>
                    <a:pt x="400" y="514"/>
                  </a:moveTo>
                  <a:lnTo>
                    <a:pt x="400" y="514"/>
                  </a:lnTo>
                  <a:lnTo>
                    <a:pt x="404" y="509"/>
                  </a:lnTo>
                  <a:lnTo>
                    <a:pt x="404" y="505"/>
                  </a:lnTo>
                  <a:lnTo>
                    <a:pt x="400" y="501"/>
                  </a:lnTo>
                  <a:lnTo>
                    <a:pt x="395" y="501"/>
                  </a:lnTo>
                  <a:lnTo>
                    <a:pt x="395" y="501"/>
                  </a:lnTo>
                  <a:lnTo>
                    <a:pt x="395" y="505"/>
                  </a:lnTo>
                  <a:lnTo>
                    <a:pt x="397" y="509"/>
                  </a:lnTo>
                  <a:lnTo>
                    <a:pt x="400" y="514"/>
                  </a:lnTo>
                  <a:lnTo>
                    <a:pt x="400" y="514"/>
                  </a:lnTo>
                  <a:close/>
                  <a:moveTo>
                    <a:pt x="419" y="505"/>
                  </a:moveTo>
                  <a:lnTo>
                    <a:pt x="419" y="505"/>
                  </a:lnTo>
                  <a:lnTo>
                    <a:pt x="417" y="507"/>
                  </a:lnTo>
                  <a:lnTo>
                    <a:pt x="415" y="507"/>
                  </a:lnTo>
                  <a:lnTo>
                    <a:pt x="413" y="509"/>
                  </a:lnTo>
                  <a:lnTo>
                    <a:pt x="410" y="510"/>
                  </a:lnTo>
                  <a:lnTo>
                    <a:pt x="410" y="510"/>
                  </a:lnTo>
                  <a:lnTo>
                    <a:pt x="406" y="510"/>
                  </a:lnTo>
                  <a:lnTo>
                    <a:pt x="406" y="514"/>
                  </a:lnTo>
                  <a:lnTo>
                    <a:pt x="408" y="516"/>
                  </a:lnTo>
                  <a:lnTo>
                    <a:pt x="411" y="520"/>
                  </a:lnTo>
                  <a:lnTo>
                    <a:pt x="417" y="522"/>
                  </a:lnTo>
                  <a:lnTo>
                    <a:pt x="421" y="522"/>
                  </a:lnTo>
                  <a:lnTo>
                    <a:pt x="425" y="518"/>
                  </a:lnTo>
                  <a:lnTo>
                    <a:pt x="425" y="510"/>
                  </a:lnTo>
                  <a:lnTo>
                    <a:pt x="425" y="510"/>
                  </a:lnTo>
                  <a:lnTo>
                    <a:pt x="423" y="505"/>
                  </a:lnTo>
                  <a:lnTo>
                    <a:pt x="421" y="503"/>
                  </a:lnTo>
                  <a:lnTo>
                    <a:pt x="419" y="505"/>
                  </a:lnTo>
                  <a:lnTo>
                    <a:pt x="419" y="505"/>
                  </a:lnTo>
                  <a:close/>
                  <a:moveTo>
                    <a:pt x="269" y="56"/>
                  </a:moveTo>
                  <a:lnTo>
                    <a:pt x="269" y="56"/>
                  </a:lnTo>
                  <a:close/>
                  <a:moveTo>
                    <a:pt x="266" y="6"/>
                  </a:moveTo>
                  <a:lnTo>
                    <a:pt x="266" y="6"/>
                  </a:lnTo>
                  <a:lnTo>
                    <a:pt x="258" y="2"/>
                  </a:lnTo>
                  <a:lnTo>
                    <a:pt x="249" y="0"/>
                  </a:lnTo>
                  <a:lnTo>
                    <a:pt x="238" y="2"/>
                  </a:lnTo>
                  <a:lnTo>
                    <a:pt x="228" y="6"/>
                  </a:lnTo>
                  <a:lnTo>
                    <a:pt x="219" y="13"/>
                  </a:lnTo>
                  <a:lnTo>
                    <a:pt x="212" y="23"/>
                  </a:lnTo>
                  <a:lnTo>
                    <a:pt x="206" y="34"/>
                  </a:lnTo>
                  <a:lnTo>
                    <a:pt x="204" y="49"/>
                  </a:lnTo>
                  <a:lnTo>
                    <a:pt x="204" y="49"/>
                  </a:lnTo>
                  <a:lnTo>
                    <a:pt x="195" y="49"/>
                  </a:lnTo>
                  <a:lnTo>
                    <a:pt x="185" y="51"/>
                  </a:lnTo>
                  <a:lnTo>
                    <a:pt x="180" y="53"/>
                  </a:lnTo>
                  <a:lnTo>
                    <a:pt x="174" y="56"/>
                  </a:lnTo>
                  <a:lnTo>
                    <a:pt x="174" y="62"/>
                  </a:lnTo>
                  <a:lnTo>
                    <a:pt x="174" y="68"/>
                  </a:lnTo>
                  <a:lnTo>
                    <a:pt x="174" y="73"/>
                  </a:lnTo>
                  <a:lnTo>
                    <a:pt x="170" y="81"/>
                  </a:lnTo>
                  <a:lnTo>
                    <a:pt x="170" y="86"/>
                  </a:lnTo>
                  <a:lnTo>
                    <a:pt x="167" y="94"/>
                  </a:lnTo>
                  <a:lnTo>
                    <a:pt x="167" y="97"/>
                  </a:lnTo>
                  <a:lnTo>
                    <a:pt x="165" y="105"/>
                  </a:lnTo>
                  <a:lnTo>
                    <a:pt x="163" y="109"/>
                  </a:lnTo>
                  <a:lnTo>
                    <a:pt x="161" y="114"/>
                  </a:lnTo>
                  <a:lnTo>
                    <a:pt x="159" y="122"/>
                  </a:lnTo>
                  <a:lnTo>
                    <a:pt x="155" y="125"/>
                  </a:lnTo>
                  <a:lnTo>
                    <a:pt x="148" y="127"/>
                  </a:lnTo>
                  <a:lnTo>
                    <a:pt x="142" y="131"/>
                  </a:lnTo>
                  <a:lnTo>
                    <a:pt x="137" y="135"/>
                  </a:lnTo>
                  <a:lnTo>
                    <a:pt x="131" y="139"/>
                  </a:lnTo>
                  <a:lnTo>
                    <a:pt x="139" y="144"/>
                  </a:lnTo>
                  <a:lnTo>
                    <a:pt x="140" y="146"/>
                  </a:lnTo>
                  <a:lnTo>
                    <a:pt x="146" y="154"/>
                  </a:lnTo>
                  <a:lnTo>
                    <a:pt x="150" y="159"/>
                  </a:lnTo>
                  <a:lnTo>
                    <a:pt x="152" y="163"/>
                  </a:lnTo>
                  <a:lnTo>
                    <a:pt x="148" y="170"/>
                  </a:lnTo>
                  <a:lnTo>
                    <a:pt x="144" y="176"/>
                  </a:lnTo>
                  <a:lnTo>
                    <a:pt x="140" y="180"/>
                  </a:lnTo>
                  <a:lnTo>
                    <a:pt x="133" y="183"/>
                  </a:lnTo>
                  <a:lnTo>
                    <a:pt x="126" y="183"/>
                  </a:lnTo>
                  <a:lnTo>
                    <a:pt x="120" y="182"/>
                  </a:lnTo>
                  <a:lnTo>
                    <a:pt x="112" y="178"/>
                  </a:lnTo>
                  <a:lnTo>
                    <a:pt x="107" y="176"/>
                  </a:lnTo>
                  <a:lnTo>
                    <a:pt x="101" y="178"/>
                  </a:lnTo>
                  <a:lnTo>
                    <a:pt x="96" y="183"/>
                  </a:lnTo>
                  <a:lnTo>
                    <a:pt x="92" y="189"/>
                  </a:lnTo>
                  <a:lnTo>
                    <a:pt x="90" y="195"/>
                  </a:lnTo>
                  <a:lnTo>
                    <a:pt x="90" y="204"/>
                  </a:lnTo>
                  <a:lnTo>
                    <a:pt x="90" y="206"/>
                  </a:lnTo>
                  <a:lnTo>
                    <a:pt x="94" y="213"/>
                  </a:lnTo>
                  <a:lnTo>
                    <a:pt x="96" y="219"/>
                  </a:lnTo>
                  <a:lnTo>
                    <a:pt x="99" y="223"/>
                  </a:lnTo>
                  <a:lnTo>
                    <a:pt x="99" y="226"/>
                  </a:lnTo>
                  <a:lnTo>
                    <a:pt x="99" y="232"/>
                  </a:lnTo>
                  <a:lnTo>
                    <a:pt x="99" y="238"/>
                  </a:lnTo>
                  <a:lnTo>
                    <a:pt x="96" y="241"/>
                  </a:lnTo>
                  <a:lnTo>
                    <a:pt x="92" y="245"/>
                  </a:lnTo>
                  <a:lnTo>
                    <a:pt x="90" y="249"/>
                  </a:lnTo>
                  <a:lnTo>
                    <a:pt x="88" y="254"/>
                  </a:lnTo>
                  <a:lnTo>
                    <a:pt x="86" y="258"/>
                  </a:lnTo>
                  <a:lnTo>
                    <a:pt x="84" y="260"/>
                  </a:lnTo>
                  <a:lnTo>
                    <a:pt x="83" y="262"/>
                  </a:lnTo>
                  <a:lnTo>
                    <a:pt x="81" y="266"/>
                  </a:lnTo>
                  <a:lnTo>
                    <a:pt x="79" y="269"/>
                  </a:lnTo>
                  <a:lnTo>
                    <a:pt x="75" y="275"/>
                  </a:lnTo>
                  <a:lnTo>
                    <a:pt x="71" y="279"/>
                  </a:lnTo>
                  <a:lnTo>
                    <a:pt x="69" y="284"/>
                  </a:lnTo>
                  <a:lnTo>
                    <a:pt x="64" y="288"/>
                  </a:lnTo>
                  <a:lnTo>
                    <a:pt x="60" y="294"/>
                  </a:lnTo>
                  <a:lnTo>
                    <a:pt x="56" y="297"/>
                  </a:lnTo>
                  <a:lnTo>
                    <a:pt x="51" y="303"/>
                  </a:lnTo>
                  <a:lnTo>
                    <a:pt x="47" y="307"/>
                  </a:lnTo>
                  <a:lnTo>
                    <a:pt x="40" y="310"/>
                  </a:lnTo>
                  <a:lnTo>
                    <a:pt x="36" y="312"/>
                  </a:lnTo>
                  <a:lnTo>
                    <a:pt x="30" y="316"/>
                  </a:lnTo>
                  <a:lnTo>
                    <a:pt x="26" y="318"/>
                  </a:lnTo>
                  <a:lnTo>
                    <a:pt x="21" y="320"/>
                  </a:lnTo>
                  <a:lnTo>
                    <a:pt x="17" y="320"/>
                  </a:lnTo>
                  <a:lnTo>
                    <a:pt x="17" y="320"/>
                  </a:lnTo>
                  <a:lnTo>
                    <a:pt x="17" y="325"/>
                  </a:lnTo>
                  <a:lnTo>
                    <a:pt x="15" y="329"/>
                  </a:lnTo>
                  <a:lnTo>
                    <a:pt x="10" y="339"/>
                  </a:lnTo>
                  <a:lnTo>
                    <a:pt x="2" y="348"/>
                  </a:lnTo>
                  <a:lnTo>
                    <a:pt x="2" y="348"/>
                  </a:lnTo>
                  <a:lnTo>
                    <a:pt x="0" y="353"/>
                  </a:lnTo>
                  <a:lnTo>
                    <a:pt x="0" y="359"/>
                  </a:lnTo>
                  <a:lnTo>
                    <a:pt x="2" y="363"/>
                  </a:lnTo>
                  <a:lnTo>
                    <a:pt x="6" y="368"/>
                  </a:lnTo>
                  <a:lnTo>
                    <a:pt x="15" y="380"/>
                  </a:lnTo>
                  <a:lnTo>
                    <a:pt x="26" y="391"/>
                  </a:lnTo>
                  <a:lnTo>
                    <a:pt x="38" y="404"/>
                  </a:lnTo>
                  <a:lnTo>
                    <a:pt x="49" y="417"/>
                  </a:lnTo>
                  <a:lnTo>
                    <a:pt x="58" y="434"/>
                  </a:lnTo>
                  <a:lnTo>
                    <a:pt x="60" y="443"/>
                  </a:lnTo>
                  <a:lnTo>
                    <a:pt x="62" y="454"/>
                  </a:lnTo>
                  <a:lnTo>
                    <a:pt x="62" y="454"/>
                  </a:lnTo>
                  <a:lnTo>
                    <a:pt x="66" y="471"/>
                  </a:lnTo>
                  <a:lnTo>
                    <a:pt x="68" y="475"/>
                  </a:lnTo>
                  <a:lnTo>
                    <a:pt x="71" y="479"/>
                  </a:lnTo>
                  <a:lnTo>
                    <a:pt x="71" y="479"/>
                  </a:lnTo>
                  <a:lnTo>
                    <a:pt x="77" y="482"/>
                  </a:lnTo>
                  <a:lnTo>
                    <a:pt x="83" y="481"/>
                  </a:lnTo>
                  <a:lnTo>
                    <a:pt x="94" y="479"/>
                  </a:lnTo>
                  <a:lnTo>
                    <a:pt x="99" y="479"/>
                  </a:lnTo>
                  <a:lnTo>
                    <a:pt x="103" y="484"/>
                  </a:lnTo>
                  <a:lnTo>
                    <a:pt x="107" y="495"/>
                  </a:lnTo>
                  <a:lnTo>
                    <a:pt x="109" y="514"/>
                  </a:lnTo>
                  <a:lnTo>
                    <a:pt x="109" y="514"/>
                  </a:lnTo>
                  <a:lnTo>
                    <a:pt x="109" y="523"/>
                  </a:lnTo>
                  <a:lnTo>
                    <a:pt x="112" y="531"/>
                  </a:lnTo>
                  <a:lnTo>
                    <a:pt x="120" y="548"/>
                  </a:lnTo>
                  <a:lnTo>
                    <a:pt x="127" y="566"/>
                  </a:lnTo>
                  <a:lnTo>
                    <a:pt x="129" y="576"/>
                  </a:lnTo>
                  <a:lnTo>
                    <a:pt x="131" y="585"/>
                  </a:lnTo>
                  <a:lnTo>
                    <a:pt x="131" y="585"/>
                  </a:lnTo>
                  <a:lnTo>
                    <a:pt x="131" y="591"/>
                  </a:lnTo>
                  <a:lnTo>
                    <a:pt x="135" y="593"/>
                  </a:lnTo>
                  <a:lnTo>
                    <a:pt x="139" y="594"/>
                  </a:lnTo>
                  <a:lnTo>
                    <a:pt x="142" y="593"/>
                  </a:lnTo>
                  <a:lnTo>
                    <a:pt x="154" y="591"/>
                  </a:lnTo>
                  <a:lnTo>
                    <a:pt x="159" y="591"/>
                  </a:lnTo>
                  <a:lnTo>
                    <a:pt x="165" y="593"/>
                  </a:lnTo>
                  <a:lnTo>
                    <a:pt x="165" y="593"/>
                  </a:lnTo>
                  <a:lnTo>
                    <a:pt x="169" y="594"/>
                  </a:lnTo>
                  <a:lnTo>
                    <a:pt x="172" y="594"/>
                  </a:lnTo>
                  <a:lnTo>
                    <a:pt x="178" y="594"/>
                  </a:lnTo>
                  <a:lnTo>
                    <a:pt x="182" y="593"/>
                  </a:lnTo>
                  <a:lnTo>
                    <a:pt x="189" y="585"/>
                  </a:lnTo>
                  <a:lnTo>
                    <a:pt x="198" y="576"/>
                  </a:lnTo>
                  <a:lnTo>
                    <a:pt x="206" y="566"/>
                  </a:lnTo>
                  <a:lnTo>
                    <a:pt x="213" y="561"/>
                  </a:lnTo>
                  <a:lnTo>
                    <a:pt x="217" y="559"/>
                  </a:lnTo>
                  <a:lnTo>
                    <a:pt x="221" y="559"/>
                  </a:lnTo>
                  <a:lnTo>
                    <a:pt x="223" y="559"/>
                  </a:lnTo>
                  <a:lnTo>
                    <a:pt x="226" y="563"/>
                  </a:lnTo>
                  <a:lnTo>
                    <a:pt x="226" y="563"/>
                  </a:lnTo>
                  <a:lnTo>
                    <a:pt x="241" y="587"/>
                  </a:lnTo>
                  <a:lnTo>
                    <a:pt x="245" y="594"/>
                  </a:lnTo>
                  <a:lnTo>
                    <a:pt x="249" y="600"/>
                  </a:lnTo>
                  <a:lnTo>
                    <a:pt x="254" y="600"/>
                  </a:lnTo>
                  <a:lnTo>
                    <a:pt x="262" y="600"/>
                  </a:lnTo>
                  <a:lnTo>
                    <a:pt x="292" y="589"/>
                  </a:lnTo>
                  <a:lnTo>
                    <a:pt x="292" y="589"/>
                  </a:lnTo>
                  <a:lnTo>
                    <a:pt x="299" y="587"/>
                  </a:lnTo>
                  <a:lnTo>
                    <a:pt x="305" y="587"/>
                  </a:lnTo>
                  <a:lnTo>
                    <a:pt x="312" y="589"/>
                  </a:lnTo>
                  <a:lnTo>
                    <a:pt x="318" y="591"/>
                  </a:lnTo>
                  <a:lnTo>
                    <a:pt x="327" y="600"/>
                  </a:lnTo>
                  <a:lnTo>
                    <a:pt x="337" y="611"/>
                  </a:lnTo>
                  <a:lnTo>
                    <a:pt x="337" y="611"/>
                  </a:lnTo>
                  <a:lnTo>
                    <a:pt x="340" y="609"/>
                  </a:lnTo>
                  <a:lnTo>
                    <a:pt x="344" y="606"/>
                  </a:lnTo>
                  <a:lnTo>
                    <a:pt x="350" y="600"/>
                  </a:lnTo>
                  <a:lnTo>
                    <a:pt x="352" y="591"/>
                  </a:lnTo>
                  <a:lnTo>
                    <a:pt x="352" y="581"/>
                  </a:lnTo>
                  <a:lnTo>
                    <a:pt x="350" y="563"/>
                  </a:lnTo>
                  <a:lnTo>
                    <a:pt x="348" y="552"/>
                  </a:lnTo>
                  <a:lnTo>
                    <a:pt x="348" y="552"/>
                  </a:lnTo>
                  <a:lnTo>
                    <a:pt x="357" y="537"/>
                  </a:lnTo>
                  <a:lnTo>
                    <a:pt x="365" y="523"/>
                  </a:lnTo>
                  <a:lnTo>
                    <a:pt x="368" y="516"/>
                  </a:lnTo>
                  <a:lnTo>
                    <a:pt x="367" y="510"/>
                  </a:lnTo>
                  <a:lnTo>
                    <a:pt x="363" y="505"/>
                  </a:lnTo>
                  <a:lnTo>
                    <a:pt x="354" y="499"/>
                  </a:lnTo>
                  <a:lnTo>
                    <a:pt x="354" y="499"/>
                  </a:lnTo>
                  <a:lnTo>
                    <a:pt x="340" y="494"/>
                  </a:lnTo>
                  <a:lnTo>
                    <a:pt x="337" y="490"/>
                  </a:lnTo>
                  <a:lnTo>
                    <a:pt x="340" y="488"/>
                  </a:lnTo>
                  <a:lnTo>
                    <a:pt x="350" y="490"/>
                  </a:lnTo>
                  <a:lnTo>
                    <a:pt x="363" y="490"/>
                  </a:lnTo>
                  <a:lnTo>
                    <a:pt x="376" y="490"/>
                  </a:lnTo>
                  <a:lnTo>
                    <a:pt x="385" y="488"/>
                  </a:lnTo>
                  <a:lnTo>
                    <a:pt x="389" y="486"/>
                  </a:lnTo>
                  <a:lnTo>
                    <a:pt x="391" y="482"/>
                  </a:lnTo>
                  <a:lnTo>
                    <a:pt x="391" y="482"/>
                  </a:lnTo>
                  <a:lnTo>
                    <a:pt x="395" y="475"/>
                  </a:lnTo>
                  <a:lnTo>
                    <a:pt x="397" y="471"/>
                  </a:lnTo>
                  <a:lnTo>
                    <a:pt x="400" y="466"/>
                  </a:lnTo>
                  <a:lnTo>
                    <a:pt x="402" y="462"/>
                  </a:lnTo>
                  <a:lnTo>
                    <a:pt x="402" y="460"/>
                  </a:lnTo>
                  <a:lnTo>
                    <a:pt x="397" y="449"/>
                  </a:lnTo>
                  <a:lnTo>
                    <a:pt x="397" y="449"/>
                  </a:lnTo>
                  <a:lnTo>
                    <a:pt x="395" y="445"/>
                  </a:lnTo>
                  <a:lnTo>
                    <a:pt x="395" y="441"/>
                  </a:lnTo>
                  <a:lnTo>
                    <a:pt x="398" y="438"/>
                  </a:lnTo>
                  <a:lnTo>
                    <a:pt x="402" y="438"/>
                  </a:lnTo>
                  <a:lnTo>
                    <a:pt x="408" y="438"/>
                  </a:lnTo>
                  <a:lnTo>
                    <a:pt x="413" y="441"/>
                  </a:lnTo>
                  <a:lnTo>
                    <a:pt x="419" y="445"/>
                  </a:lnTo>
                  <a:lnTo>
                    <a:pt x="425" y="452"/>
                  </a:lnTo>
                  <a:lnTo>
                    <a:pt x="425" y="452"/>
                  </a:lnTo>
                  <a:lnTo>
                    <a:pt x="430" y="458"/>
                  </a:lnTo>
                  <a:lnTo>
                    <a:pt x="432" y="458"/>
                  </a:lnTo>
                  <a:lnTo>
                    <a:pt x="436" y="454"/>
                  </a:lnTo>
                  <a:lnTo>
                    <a:pt x="440" y="449"/>
                  </a:lnTo>
                  <a:lnTo>
                    <a:pt x="443" y="443"/>
                  </a:lnTo>
                  <a:lnTo>
                    <a:pt x="449" y="438"/>
                  </a:lnTo>
                  <a:lnTo>
                    <a:pt x="454" y="432"/>
                  </a:lnTo>
                  <a:lnTo>
                    <a:pt x="462" y="430"/>
                  </a:lnTo>
                  <a:lnTo>
                    <a:pt x="462" y="430"/>
                  </a:lnTo>
                  <a:lnTo>
                    <a:pt x="468" y="432"/>
                  </a:lnTo>
                  <a:lnTo>
                    <a:pt x="469" y="432"/>
                  </a:lnTo>
                  <a:lnTo>
                    <a:pt x="471" y="430"/>
                  </a:lnTo>
                  <a:lnTo>
                    <a:pt x="471" y="428"/>
                  </a:lnTo>
                  <a:lnTo>
                    <a:pt x="469" y="423"/>
                  </a:lnTo>
                  <a:lnTo>
                    <a:pt x="456" y="404"/>
                  </a:lnTo>
                  <a:lnTo>
                    <a:pt x="456" y="404"/>
                  </a:lnTo>
                  <a:lnTo>
                    <a:pt x="447" y="393"/>
                  </a:lnTo>
                  <a:lnTo>
                    <a:pt x="438" y="387"/>
                  </a:lnTo>
                  <a:lnTo>
                    <a:pt x="425" y="381"/>
                  </a:lnTo>
                  <a:lnTo>
                    <a:pt x="425" y="380"/>
                  </a:lnTo>
                  <a:lnTo>
                    <a:pt x="426" y="380"/>
                  </a:lnTo>
                  <a:lnTo>
                    <a:pt x="453" y="376"/>
                  </a:lnTo>
                  <a:lnTo>
                    <a:pt x="453" y="376"/>
                  </a:lnTo>
                  <a:lnTo>
                    <a:pt x="458" y="374"/>
                  </a:lnTo>
                  <a:lnTo>
                    <a:pt x="462" y="372"/>
                  </a:lnTo>
                  <a:lnTo>
                    <a:pt x="464" y="368"/>
                  </a:lnTo>
                  <a:lnTo>
                    <a:pt x="466" y="365"/>
                  </a:lnTo>
                  <a:lnTo>
                    <a:pt x="466" y="361"/>
                  </a:lnTo>
                  <a:lnTo>
                    <a:pt x="464" y="359"/>
                  </a:lnTo>
                  <a:lnTo>
                    <a:pt x="460" y="355"/>
                  </a:lnTo>
                  <a:lnTo>
                    <a:pt x="456" y="353"/>
                  </a:lnTo>
                  <a:lnTo>
                    <a:pt x="456" y="353"/>
                  </a:lnTo>
                  <a:lnTo>
                    <a:pt x="445" y="350"/>
                  </a:lnTo>
                  <a:lnTo>
                    <a:pt x="443" y="350"/>
                  </a:lnTo>
                  <a:lnTo>
                    <a:pt x="445" y="350"/>
                  </a:lnTo>
                  <a:lnTo>
                    <a:pt x="458" y="348"/>
                  </a:lnTo>
                  <a:lnTo>
                    <a:pt x="466" y="346"/>
                  </a:lnTo>
                  <a:lnTo>
                    <a:pt x="466" y="346"/>
                  </a:lnTo>
                  <a:lnTo>
                    <a:pt x="466" y="342"/>
                  </a:lnTo>
                  <a:lnTo>
                    <a:pt x="464" y="339"/>
                  </a:lnTo>
                  <a:lnTo>
                    <a:pt x="458" y="335"/>
                  </a:lnTo>
                  <a:lnTo>
                    <a:pt x="438" y="322"/>
                  </a:lnTo>
                  <a:lnTo>
                    <a:pt x="438" y="322"/>
                  </a:lnTo>
                  <a:lnTo>
                    <a:pt x="434" y="320"/>
                  </a:lnTo>
                  <a:lnTo>
                    <a:pt x="434" y="316"/>
                  </a:lnTo>
                  <a:lnTo>
                    <a:pt x="438" y="310"/>
                  </a:lnTo>
                  <a:lnTo>
                    <a:pt x="443" y="303"/>
                  </a:lnTo>
                  <a:lnTo>
                    <a:pt x="449" y="296"/>
                  </a:lnTo>
                  <a:lnTo>
                    <a:pt x="449" y="296"/>
                  </a:lnTo>
                  <a:lnTo>
                    <a:pt x="451" y="294"/>
                  </a:lnTo>
                  <a:lnTo>
                    <a:pt x="453" y="296"/>
                  </a:lnTo>
                  <a:lnTo>
                    <a:pt x="458" y="307"/>
                  </a:lnTo>
                  <a:lnTo>
                    <a:pt x="462" y="310"/>
                  </a:lnTo>
                  <a:lnTo>
                    <a:pt x="466" y="314"/>
                  </a:lnTo>
                  <a:lnTo>
                    <a:pt x="468" y="314"/>
                  </a:lnTo>
                  <a:lnTo>
                    <a:pt x="469" y="312"/>
                  </a:lnTo>
                  <a:lnTo>
                    <a:pt x="473" y="307"/>
                  </a:lnTo>
                  <a:lnTo>
                    <a:pt x="473" y="307"/>
                  </a:lnTo>
                  <a:lnTo>
                    <a:pt x="475" y="299"/>
                  </a:lnTo>
                  <a:lnTo>
                    <a:pt x="475" y="299"/>
                  </a:lnTo>
                  <a:lnTo>
                    <a:pt x="475" y="305"/>
                  </a:lnTo>
                  <a:lnTo>
                    <a:pt x="475" y="305"/>
                  </a:lnTo>
                  <a:lnTo>
                    <a:pt x="479" y="310"/>
                  </a:lnTo>
                  <a:lnTo>
                    <a:pt x="482" y="310"/>
                  </a:lnTo>
                  <a:lnTo>
                    <a:pt x="486" y="312"/>
                  </a:lnTo>
                  <a:lnTo>
                    <a:pt x="490" y="310"/>
                  </a:lnTo>
                  <a:lnTo>
                    <a:pt x="492" y="305"/>
                  </a:lnTo>
                  <a:lnTo>
                    <a:pt x="492" y="296"/>
                  </a:lnTo>
                  <a:lnTo>
                    <a:pt x="490" y="284"/>
                  </a:lnTo>
                  <a:lnTo>
                    <a:pt x="490" y="284"/>
                  </a:lnTo>
                  <a:lnTo>
                    <a:pt x="484" y="251"/>
                  </a:lnTo>
                  <a:lnTo>
                    <a:pt x="482" y="245"/>
                  </a:lnTo>
                  <a:lnTo>
                    <a:pt x="481" y="243"/>
                  </a:lnTo>
                  <a:lnTo>
                    <a:pt x="479" y="243"/>
                  </a:lnTo>
                  <a:lnTo>
                    <a:pt x="471" y="253"/>
                  </a:lnTo>
                  <a:lnTo>
                    <a:pt x="464" y="258"/>
                  </a:lnTo>
                  <a:lnTo>
                    <a:pt x="451" y="266"/>
                  </a:lnTo>
                  <a:lnTo>
                    <a:pt x="451" y="266"/>
                  </a:lnTo>
                  <a:lnTo>
                    <a:pt x="445" y="269"/>
                  </a:lnTo>
                  <a:lnTo>
                    <a:pt x="434" y="277"/>
                  </a:lnTo>
                  <a:lnTo>
                    <a:pt x="428" y="279"/>
                  </a:lnTo>
                  <a:lnTo>
                    <a:pt x="423" y="279"/>
                  </a:lnTo>
                  <a:lnTo>
                    <a:pt x="421" y="277"/>
                  </a:lnTo>
                  <a:lnTo>
                    <a:pt x="423" y="269"/>
                  </a:lnTo>
                  <a:lnTo>
                    <a:pt x="423" y="269"/>
                  </a:lnTo>
                  <a:lnTo>
                    <a:pt x="426" y="269"/>
                  </a:lnTo>
                  <a:lnTo>
                    <a:pt x="436" y="264"/>
                  </a:lnTo>
                  <a:lnTo>
                    <a:pt x="451" y="253"/>
                  </a:lnTo>
                  <a:lnTo>
                    <a:pt x="473" y="232"/>
                  </a:lnTo>
                  <a:lnTo>
                    <a:pt x="473" y="232"/>
                  </a:lnTo>
                  <a:lnTo>
                    <a:pt x="488" y="217"/>
                  </a:lnTo>
                  <a:lnTo>
                    <a:pt x="492" y="213"/>
                  </a:lnTo>
                  <a:lnTo>
                    <a:pt x="492" y="211"/>
                  </a:lnTo>
                  <a:lnTo>
                    <a:pt x="490" y="210"/>
                  </a:lnTo>
                  <a:lnTo>
                    <a:pt x="482" y="208"/>
                  </a:lnTo>
                  <a:lnTo>
                    <a:pt x="451" y="198"/>
                  </a:lnTo>
                  <a:lnTo>
                    <a:pt x="451" y="198"/>
                  </a:lnTo>
                  <a:lnTo>
                    <a:pt x="443" y="195"/>
                  </a:lnTo>
                  <a:lnTo>
                    <a:pt x="438" y="191"/>
                  </a:lnTo>
                  <a:lnTo>
                    <a:pt x="426" y="182"/>
                  </a:lnTo>
                  <a:lnTo>
                    <a:pt x="408" y="163"/>
                  </a:lnTo>
                  <a:lnTo>
                    <a:pt x="398" y="157"/>
                  </a:lnTo>
                  <a:lnTo>
                    <a:pt x="393" y="155"/>
                  </a:lnTo>
                  <a:lnTo>
                    <a:pt x="387" y="155"/>
                  </a:lnTo>
                  <a:lnTo>
                    <a:pt x="382" y="157"/>
                  </a:lnTo>
                  <a:lnTo>
                    <a:pt x="374" y="161"/>
                  </a:lnTo>
                  <a:lnTo>
                    <a:pt x="367" y="167"/>
                  </a:lnTo>
                  <a:lnTo>
                    <a:pt x="357" y="174"/>
                  </a:lnTo>
                  <a:lnTo>
                    <a:pt x="357" y="174"/>
                  </a:lnTo>
                  <a:lnTo>
                    <a:pt x="348" y="180"/>
                  </a:lnTo>
                  <a:lnTo>
                    <a:pt x="342" y="185"/>
                  </a:lnTo>
                  <a:lnTo>
                    <a:pt x="337" y="187"/>
                  </a:lnTo>
                  <a:lnTo>
                    <a:pt x="331" y="187"/>
                  </a:lnTo>
                  <a:lnTo>
                    <a:pt x="327" y="185"/>
                  </a:lnTo>
                  <a:lnTo>
                    <a:pt x="324" y="183"/>
                  </a:lnTo>
                  <a:lnTo>
                    <a:pt x="318" y="178"/>
                  </a:lnTo>
                  <a:lnTo>
                    <a:pt x="311" y="170"/>
                  </a:lnTo>
                  <a:lnTo>
                    <a:pt x="307" y="168"/>
                  </a:lnTo>
                  <a:lnTo>
                    <a:pt x="301" y="167"/>
                  </a:lnTo>
                  <a:lnTo>
                    <a:pt x="296" y="167"/>
                  </a:lnTo>
                  <a:lnTo>
                    <a:pt x="290" y="167"/>
                  </a:lnTo>
                  <a:lnTo>
                    <a:pt x="283" y="170"/>
                  </a:lnTo>
                  <a:lnTo>
                    <a:pt x="271" y="176"/>
                  </a:lnTo>
                  <a:lnTo>
                    <a:pt x="271" y="176"/>
                  </a:lnTo>
                  <a:lnTo>
                    <a:pt x="264" y="180"/>
                  </a:lnTo>
                  <a:lnTo>
                    <a:pt x="260" y="182"/>
                  </a:lnTo>
                  <a:lnTo>
                    <a:pt x="262" y="178"/>
                  </a:lnTo>
                  <a:lnTo>
                    <a:pt x="266" y="172"/>
                  </a:lnTo>
                  <a:lnTo>
                    <a:pt x="275" y="167"/>
                  </a:lnTo>
                  <a:lnTo>
                    <a:pt x="284" y="161"/>
                  </a:lnTo>
                  <a:lnTo>
                    <a:pt x="297" y="157"/>
                  </a:lnTo>
                  <a:lnTo>
                    <a:pt x="309" y="155"/>
                  </a:lnTo>
                  <a:lnTo>
                    <a:pt x="309" y="155"/>
                  </a:lnTo>
                  <a:lnTo>
                    <a:pt x="326" y="155"/>
                  </a:lnTo>
                  <a:lnTo>
                    <a:pt x="337" y="154"/>
                  </a:lnTo>
                  <a:lnTo>
                    <a:pt x="342" y="150"/>
                  </a:lnTo>
                  <a:lnTo>
                    <a:pt x="344" y="146"/>
                  </a:lnTo>
                  <a:lnTo>
                    <a:pt x="350" y="133"/>
                  </a:lnTo>
                  <a:lnTo>
                    <a:pt x="355" y="125"/>
                  </a:lnTo>
                  <a:lnTo>
                    <a:pt x="365" y="118"/>
                  </a:lnTo>
                  <a:lnTo>
                    <a:pt x="365" y="118"/>
                  </a:lnTo>
                  <a:lnTo>
                    <a:pt x="378" y="107"/>
                  </a:lnTo>
                  <a:lnTo>
                    <a:pt x="391" y="96"/>
                  </a:lnTo>
                  <a:lnTo>
                    <a:pt x="391" y="96"/>
                  </a:lnTo>
                  <a:lnTo>
                    <a:pt x="380" y="94"/>
                  </a:lnTo>
                  <a:lnTo>
                    <a:pt x="378" y="92"/>
                  </a:lnTo>
                  <a:lnTo>
                    <a:pt x="374" y="86"/>
                  </a:lnTo>
                  <a:lnTo>
                    <a:pt x="374" y="86"/>
                  </a:lnTo>
                  <a:lnTo>
                    <a:pt x="365" y="86"/>
                  </a:lnTo>
                  <a:lnTo>
                    <a:pt x="363" y="84"/>
                  </a:lnTo>
                  <a:lnTo>
                    <a:pt x="361" y="81"/>
                  </a:lnTo>
                  <a:lnTo>
                    <a:pt x="350" y="81"/>
                  </a:lnTo>
                  <a:lnTo>
                    <a:pt x="350" y="81"/>
                  </a:lnTo>
                  <a:lnTo>
                    <a:pt x="346" y="75"/>
                  </a:lnTo>
                  <a:lnTo>
                    <a:pt x="346" y="71"/>
                  </a:lnTo>
                  <a:lnTo>
                    <a:pt x="346" y="64"/>
                  </a:lnTo>
                  <a:lnTo>
                    <a:pt x="346" y="62"/>
                  </a:lnTo>
                  <a:lnTo>
                    <a:pt x="344" y="58"/>
                  </a:lnTo>
                  <a:lnTo>
                    <a:pt x="340" y="56"/>
                  </a:lnTo>
                  <a:lnTo>
                    <a:pt x="333" y="54"/>
                  </a:lnTo>
                  <a:lnTo>
                    <a:pt x="333" y="54"/>
                  </a:lnTo>
                  <a:lnTo>
                    <a:pt x="326" y="56"/>
                  </a:lnTo>
                  <a:lnTo>
                    <a:pt x="322" y="60"/>
                  </a:lnTo>
                  <a:lnTo>
                    <a:pt x="316" y="64"/>
                  </a:lnTo>
                  <a:lnTo>
                    <a:pt x="311" y="68"/>
                  </a:lnTo>
                  <a:lnTo>
                    <a:pt x="311" y="68"/>
                  </a:lnTo>
                  <a:lnTo>
                    <a:pt x="307" y="75"/>
                  </a:lnTo>
                  <a:lnTo>
                    <a:pt x="301" y="83"/>
                  </a:lnTo>
                  <a:lnTo>
                    <a:pt x="294" y="88"/>
                  </a:lnTo>
                  <a:lnTo>
                    <a:pt x="288" y="96"/>
                  </a:lnTo>
                  <a:lnTo>
                    <a:pt x="281" y="96"/>
                  </a:lnTo>
                  <a:lnTo>
                    <a:pt x="271" y="86"/>
                  </a:lnTo>
                  <a:lnTo>
                    <a:pt x="273" y="81"/>
                  </a:lnTo>
                  <a:lnTo>
                    <a:pt x="273" y="81"/>
                  </a:lnTo>
                  <a:lnTo>
                    <a:pt x="271" y="64"/>
                  </a:lnTo>
                  <a:lnTo>
                    <a:pt x="269" y="56"/>
                  </a:lnTo>
                  <a:lnTo>
                    <a:pt x="269" y="56"/>
                  </a:lnTo>
                  <a:lnTo>
                    <a:pt x="269" y="56"/>
                  </a:lnTo>
                  <a:lnTo>
                    <a:pt x="269" y="54"/>
                  </a:lnTo>
                  <a:lnTo>
                    <a:pt x="269" y="54"/>
                  </a:lnTo>
                  <a:lnTo>
                    <a:pt x="273" y="53"/>
                  </a:lnTo>
                  <a:lnTo>
                    <a:pt x="273" y="53"/>
                  </a:lnTo>
                  <a:lnTo>
                    <a:pt x="275" y="53"/>
                  </a:lnTo>
                  <a:lnTo>
                    <a:pt x="275" y="53"/>
                  </a:lnTo>
                  <a:lnTo>
                    <a:pt x="277" y="51"/>
                  </a:lnTo>
                  <a:lnTo>
                    <a:pt x="277" y="51"/>
                  </a:lnTo>
                  <a:lnTo>
                    <a:pt x="275" y="51"/>
                  </a:lnTo>
                  <a:lnTo>
                    <a:pt x="271" y="47"/>
                  </a:lnTo>
                  <a:lnTo>
                    <a:pt x="271" y="47"/>
                  </a:lnTo>
                  <a:lnTo>
                    <a:pt x="271" y="45"/>
                  </a:lnTo>
                  <a:lnTo>
                    <a:pt x="271" y="43"/>
                  </a:lnTo>
                  <a:lnTo>
                    <a:pt x="275" y="41"/>
                  </a:lnTo>
                  <a:lnTo>
                    <a:pt x="275" y="40"/>
                  </a:lnTo>
                  <a:lnTo>
                    <a:pt x="273" y="38"/>
                  </a:lnTo>
                  <a:lnTo>
                    <a:pt x="264" y="30"/>
                  </a:lnTo>
                  <a:lnTo>
                    <a:pt x="264" y="30"/>
                  </a:lnTo>
                  <a:lnTo>
                    <a:pt x="260" y="28"/>
                  </a:lnTo>
                  <a:lnTo>
                    <a:pt x="258" y="26"/>
                  </a:lnTo>
                  <a:lnTo>
                    <a:pt x="258" y="25"/>
                  </a:lnTo>
                  <a:lnTo>
                    <a:pt x="260" y="25"/>
                  </a:lnTo>
                  <a:lnTo>
                    <a:pt x="266" y="23"/>
                  </a:lnTo>
                  <a:lnTo>
                    <a:pt x="266" y="21"/>
                  </a:lnTo>
                  <a:lnTo>
                    <a:pt x="264" y="17"/>
                  </a:lnTo>
                  <a:lnTo>
                    <a:pt x="264" y="17"/>
                  </a:lnTo>
                  <a:lnTo>
                    <a:pt x="260" y="12"/>
                  </a:lnTo>
                  <a:lnTo>
                    <a:pt x="260" y="10"/>
                  </a:lnTo>
                  <a:lnTo>
                    <a:pt x="260" y="8"/>
                  </a:lnTo>
                  <a:lnTo>
                    <a:pt x="262" y="8"/>
                  </a:lnTo>
                  <a:lnTo>
                    <a:pt x="266" y="8"/>
                  </a:lnTo>
                  <a:lnTo>
                    <a:pt x="268" y="8"/>
                  </a:lnTo>
                  <a:lnTo>
                    <a:pt x="266" y="6"/>
                  </a:lnTo>
                  <a:lnTo>
                    <a:pt x="266" y="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Line 23">
              <a:extLst>
                <a:ext uri="{FF2B5EF4-FFF2-40B4-BE49-F238E27FC236}">
                  <a16:creationId xmlns:a16="http://schemas.microsoft.com/office/drawing/2014/main" id="{996FC531-EA1E-47A7-A253-6DB6496C1451}"/>
                </a:ext>
              </a:extLst>
            </p:cNvPr>
            <p:cNvSpPr>
              <a:spLocks noChangeShapeType="1"/>
            </p:cNvSpPr>
            <p:nvPr/>
          </p:nvSpPr>
          <p:spPr bwMode="auto">
            <a:xfrm>
              <a:off x="6623011" y="4808113"/>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4" name="Freeform 24">
              <a:extLst>
                <a:ext uri="{FF2B5EF4-FFF2-40B4-BE49-F238E27FC236}">
                  <a16:creationId xmlns:a16="http://schemas.microsoft.com/office/drawing/2014/main" id="{FC26826F-7AA9-46E9-A9E6-0F7188EDA9D0}"/>
                </a:ext>
              </a:extLst>
            </p:cNvPr>
            <p:cNvSpPr>
              <a:spLocks/>
            </p:cNvSpPr>
            <p:nvPr/>
          </p:nvSpPr>
          <p:spPr bwMode="auto">
            <a:xfrm>
              <a:off x="6664793" y="4597380"/>
              <a:ext cx="18167" cy="19983"/>
            </a:xfrm>
            <a:custGeom>
              <a:avLst/>
              <a:gdLst/>
              <a:ahLst/>
              <a:cxnLst>
                <a:cxn ang="0">
                  <a:pos x="13" y="16"/>
                </a:cxn>
                <a:cxn ang="0">
                  <a:pos x="13" y="16"/>
                </a:cxn>
                <a:cxn ang="0">
                  <a:pos x="15" y="20"/>
                </a:cxn>
                <a:cxn ang="0">
                  <a:pos x="17" y="20"/>
                </a:cxn>
                <a:cxn ang="0">
                  <a:pos x="18" y="20"/>
                </a:cxn>
                <a:cxn ang="0">
                  <a:pos x="20" y="18"/>
                </a:cxn>
                <a:cxn ang="0">
                  <a:pos x="20" y="15"/>
                </a:cxn>
                <a:cxn ang="0">
                  <a:pos x="18" y="9"/>
                </a:cxn>
                <a:cxn ang="0">
                  <a:pos x="15" y="5"/>
                </a:cxn>
                <a:cxn ang="0">
                  <a:pos x="5" y="0"/>
                </a:cxn>
                <a:cxn ang="0">
                  <a:pos x="5" y="0"/>
                </a:cxn>
                <a:cxn ang="0">
                  <a:pos x="2" y="3"/>
                </a:cxn>
                <a:cxn ang="0">
                  <a:pos x="0" y="7"/>
                </a:cxn>
                <a:cxn ang="0">
                  <a:pos x="0" y="7"/>
                </a:cxn>
                <a:cxn ang="0">
                  <a:pos x="0" y="13"/>
                </a:cxn>
                <a:cxn ang="0">
                  <a:pos x="3" y="15"/>
                </a:cxn>
                <a:cxn ang="0">
                  <a:pos x="15" y="16"/>
                </a:cxn>
                <a:cxn ang="0">
                  <a:pos x="15" y="16"/>
                </a:cxn>
                <a:cxn ang="0">
                  <a:pos x="13" y="16"/>
                </a:cxn>
                <a:cxn ang="0">
                  <a:pos x="13" y="16"/>
                </a:cxn>
                <a:cxn ang="0">
                  <a:pos x="13" y="16"/>
                </a:cxn>
              </a:cxnLst>
              <a:rect l="0" t="0" r="r" b="b"/>
              <a:pathLst>
                <a:path w="20" h="20">
                  <a:moveTo>
                    <a:pt x="13" y="16"/>
                  </a:moveTo>
                  <a:lnTo>
                    <a:pt x="13" y="16"/>
                  </a:lnTo>
                  <a:lnTo>
                    <a:pt x="15" y="20"/>
                  </a:lnTo>
                  <a:lnTo>
                    <a:pt x="17" y="20"/>
                  </a:lnTo>
                  <a:lnTo>
                    <a:pt x="18" y="20"/>
                  </a:lnTo>
                  <a:lnTo>
                    <a:pt x="20" y="18"/>
                  </a:lnTo>
                  <a:lnTo>
                    <a:pt x="20" y="15"/>
                  </a:lnTo>
                  <a:lnTo>
                    <a:pt x="18" y="9"/>
                  </a:lnTo>
                  <a:lnTo>
                    <a:pt x="15" y="5"/>
                  </a:lnTo>
                  <a:lnTo>
                    <a:pt x="5" y="0"/>
                  </a:lnTo>
                  <a:lnTo>
                    <a:pt x="5" y="0"/>
                  </a:lnTo>
                  <a:lnTo>
                    <a:pt x="2" y="3"/>
                  </a:lnTo>
                  <a:lnTo>
                    <a:pt x="0" y="7"/>
                  </a:lnTo>
                  <a:lnTo>
                    <a:pt x="0" y="7"/>
                  </a:lnTo>
                  <a:lnTo>
                    <a:pt x="0" y="13"/>
                  </a:lnTo>
                  <a:lnTo>
                    <a:pt x="3" y="15"/>
                  </a:lnTo>
                  <a:lnTo>
                    <a:pt x="15" y="16"/>
                  </a:lnTo>
                  <a:lnTo>
                    <a:pt x="15" y="16"/>
                  </a:lnTo>
                  <a:lnTo>
                    <a:pt x="13" y="16"/>
                  </a:lnTo>
                  <a:lnTo>
                    <a:pt x="13" y="16"/>
                  </a:lnTo>
                  <a:lnTo>
                    <a:pt x="13" y="1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5" name="Freeform 25">
              <a:extLst>
                <a:ext uri="{FF2B5EF4-FFF2-40B4-BE49-F238E27FC236}">
                  <a16:creationId xmlns:a16="http://schemas.microsoft.com/office/drawing/2014/main" id="{5D4B845C-5C6C-4811-8928-572903B46482}"/>
                </a:ext>
              </a:extLst>
            </p:cNvPr>
            <p:cNvSpPr>
              <a:spLocks/>
            </p:cNvSpPr>
            <p:nvPr/>
          </p:nvSpPr>
          <p:spPr bwMode="auto">
            <a:xfrm>
              <a:off x="6684777" y="4581030"/>
              <a:ext cx="14533" cy="10900"/>
            </a:xfrm>
            <a:custGeom>
              <a:avLst/>
              <a:gdLst/>
              <a:ahLst/>
              <a:cxnLst>
                <a:cxn ang="0">
                  <a:pos x="2" y="5"/>
                </a:cxn>
                <a:cxn ang="0">
                  <a:pos x="2" y="5"/>
                </a:cxn>
                <a:cxn ang="0">
                  <a:pos x="0" y="7"/>
                </a:cxn>
                <a:cxn ang="0">
                  <a:pos x="0" y="9"/>
                </a:cxn>
                <a:cxn ang="0">
                  <a:pos x="6" y="11"/>
                </a:cxn>
                <a:cxn ang="0">
                  <a:pos x="15" y="11"/>
                </a:cxn>
                <a:cxn ang="0">
                  <a:pos x="15" y="11"/>
                </a:cxn>
                <a:cxn ang="0">
                  <a:pos x="15" y="4"/>
                </a:cxn>
                <a:cxn ang="0">
                  <a:pos x="13" y="2"/>
                </a:cxn>
                <a:cxn ang="0">
                  <a:pos x="11" y="0"/>
                </a:cxn>
                <a:cxn ang="0">
                  <a:pos x="11" y="0"/>
                </a:cxn>
                <a:cxn ang="0">
                  <a:pos x="8" y="2"/>
                </a:cxn>
                <a:cxn ang="0">
                  <a:pos x="6" y="4"/>
                </a:cxn>
                <a:cxn ang="0">
                  <a:pos x="2" y="5"/>
                </a:cxn>
                <a:cxn ang="0">
                  <a:pos x="2" y="5"/>
                </a:cxn>
              </a:cxnLst>
              <a:rect l="0" t="0" r="r" b="b"/>
              <a:pathLst>
                <a:path w="15" h="11">
                  <a:moveTo>
                    <a:pt x="2" y="5"/>
                  </a:moveTo>
                  <a:lnTo>
                    <a:pt x="2" y="5"/>
                  </a:lnTo>
                  <a:lnTo>
                    <a:pt x="0" y="7"/>
                  </a:lnTo>
                  <a:lnTo>
                    <a:pt x="0" y="9"/>
                  </a:lnTo>
                  <a:lnTo>
                    <a:pt x="6" y="11"/>
                  </a:lnTo>
                  <a:lnTo>
                    <a:pt x="15" y="11"/>
                  </a:lnTo>
                  <a:lnTo>
                    <a:pt x="15" y="11"/>
                  </a:lnTo>
                  <a:lnTo>
                    <a:pt x="15" y="4"/>
                  </a:lnTo>
                  <a:lnTo>
                    <a:pt x="13" y="2"/>
                  </a:lnTo>
                  <a:lnTo>
                    <a:pt x="11" y="0"/>
                  </a:lnTo>
                  <a:lnTo>
                    <a:pt x="11" y="0"/>
                  </a:lnTo>
                  <a:lnTo>
                    <a:pt x="8" y="2"/>
                  </a:lnTo>
                  <a:lnTo>
                    <a:pt x="6" y="4"/>
                  </a:lnTo>
                  <a:lnTo>
                    <a:pt x="2" y="5"/>
                  </a:lnTo>
                  <a:lnTo>
                    <a:pt x="2" y="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Freeform 26">
              <a:extLst>
                <a:ext uri="{FF2B5EF4-FFF2-40B4-BE49-F238E27FC236}">
                  <a16:creationId xmlns:a16="http://schemas.microsoft.com/office/drawing/2014/main" id="{77584860-FCFB-4138-BB17-AD370A7D84C5}"/>
                </a:ext>
              </a:extLst>
            </p:cNvPr>
            <p:cNvSpPr>
              <a:spLocks/>
            </p:cNvSpPr>
            <p:nvPr/>
          </p:nvSpPr>
          <p:spPr bwMode="auto">
            <a:xfrm>
              <a:off x="6701126" y="4597380"/>
              <a:ext cx="16351" cy="9083"/>
            </a:xfrm>
            <a:custGeom>
              <a:avLst/>
              <a:gdLst/>
              <a:ahLst/>
              <a:cxnLst>
                <a:cxn ang="0">
                  <a:pos x="7" y="0"/>
                </a:cxn>
                <a:cxn ang="0">
                  <a:pos x="7" y="0"/>
                </a:cxn>
                <a:cxn ang="0">
                  <a:pos x="2" y="1"/>
                </a:cxn>
                <a:cxn ang="0">
                  <a:pos x="0" y="3"/>
                </a:cxn>
                <a:cxn ang="0">
                  <a:pos x="0" y="5"/>
                </a:cxn>
                <a:cxn ang="0">
                  <a:pos x="2" y="7"/>
                </a:cxn>
                <a:cxn ang="0">
                  <a:pos x="9" y="9"/>
                </a:cxn>
                <a:cxn ang="0">
                  <a:pos x="17" y="7"/>
                </a:cxn>
                <a:cxn ang="0">
                  <a:pos x="17" y="7"/>
                </a:cxn>
                <a:cxn ang="0">
                  <a:pos x="17" y="5"/>
                </a:cxn>
                <a:cxn ang="0">
                  <a:pos x="13" y="1"/>
                </a:cxn>
                <a:cxn ang="0">
                  <a:pos x="7" y="0"/>
                </a:cxn>
                <a:cxn ang="0">
                  <a:pos x="7" y="0"/>
                </a:cxn>
              </a:cxnLst>
              <a:rect l="0" t="0" r="r" b="b"/>
              <a:pathLst>
                <a:path w="17" h="9">
                  <a:moveTo>
                    <a:pt x="7" y="0"/>
                  </a:moveTo>
                  <a:lnTo>
                    <a:pt x="7" y="0"/>
                  </a:lnTo>
                  <a:lnTo>
                    <a:pt x="2" y="1"/>
                  </a:lnTo>
                  <a:lnTo>
                    <a:pt x="0" y="3"/>
                  </a:lnTo>
                  <a:lnTo>
                    <a:pt x="0" y="5"/>
                  </a:lnTo>
                  <a:lnTo>
                    <a:pt x="2" y="7"/>
                  </a:lnTo>
                  <a:lnTo>
                    <a:pt x="9" y="9"/>
                  </a:lnTo>
                  <a:lnTo>
                    <a:pt x="17" y="7"/>
                  </a:lnTo>
                  <a:lnTo>
                    <a:pt x="17" y="7"/>
                  </a:lnTo>
                  <a:lnTo>
                    <a:pt x="17" y="5"/>
                  </a:lnTo>
                  <a:lnTo>
                    <a:pt x="13" y="1"/>
                  </a:lnTo>
                  <a:lnTo>
                    <a:pt x="7" y="0"/>
                  </a:lnTo>
                  <a:lnTo>
                    <a:pt x="7"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 name="Freeform 27">
              <a:extLst>
                <a:ext uri="{FF2B5EF4-FFF2-40B4-BE49-F238E27FC236}">
                  <a16:creationId xmlns:a16="http://schemas.microsoft.com/office/drawing/2014/main" id="{0501C1B5-6E8B-4CDE-BFDF-90A2750E8AB5}"/>
                </a:ext>
              </a:extLst>
            </p:cNvPr>
            <p:cNvSpPr>
              <a:spLocks/>
            </p:cNvSpPr>
            <p:nvPr/>
          </p:nvSpPr>
          <p:spPr bwMode="auto">
            <a:xfrm>
              <a:off x="6724744" y="4628263"/>
              <a:ext cx="9084" cy="12716"/>
            </a:xfrm>
            <a:custGeom>
              <a:avLst/>
              <a:gdLst/>
              <a:ahLst/>
              <a:cxnLst>
                <a:cxn ang="0">
                  <a:pos x="2" y="6"/>
                </a:cxn>
                <a:cxn ang="0">
                  <a:pos x="2" y="6"/>
                </a:cxn>
                <a:cxn ang="0">
                  <a:pos x="0" y="10"/>
                </a:cxn>
                <a:cxn ang="0">
                  <a:pos x="2" y="11"/>
                </a:cxn>
                <a:cxn ang="0">
                  <a:pos x="4" y="13"/>
                </a:cxn>
                <a:cxn ang="0">
                  <a:pos x="6" y="11"/>
                </a:cxn>
                <a:cxn ang="0">
                  <a:pos x="9" y="11"/>
                </a:cxn>
                <a:cxn ang="0">
                  <a:pos x="11" y="8"/>
                </a:cxn>
                <a:cxn ang="0">
                  <a:pos x="11" y="4"/>
                </a:cxn>
                <a:cxn ang="0">
                  <a:pos x="8" y="2"/>
                </a:cxn>
                <a:cxn ang="0">
                  <a:pos x="8" y="2"/>
                </a:cxn>
                <a:cxn ang="0">
                  <a:pos x="6" y="0"/>
                </a:cxn>
                <a:cxn ang="0">
                  <a:pos x="6" y="2"/>
                </a:cxn>
                <a:cxn ang="0">
                  <a:pos x="2" y="6"/>
                </a:cxn>
                <a:cxn ang="0">
                  <a:pos x="2" y="6"/>
                </a:cxn>
              </a:cxnLst>
              <a:rect l="0" t="0" r="r" b="b"/>
              <a:pathLst>
                <a:path w="11" h="13">
                  <a:moveTo>
                    <a:pt x="2" y="6"/>
                  </a:moveTo>
                  <a:lnTo>
                    <a:pt x="2" y="6"/>
                  </a:lnTo>
                  <a:lnTo>
                    <a:pt x="0" y="10"/>
                  </a:lnTo>
                  <a:lnTo>
                    <a:pt x="2" y="11"/>
                  </a:lnTo>
                  <a:lnTo>
                    <a:pt x="4" y="13"/>
                  </a:lnTo>
                  <a:lnTo>
                    <a:pt x="6" y="11"/>
                  </a:lnTo>
                  <a:lnTo>
                    <a:pt x="9" y="11"/>
                  </a:lnTo>
                  <a:lnTo>
                    <a:pt x="11" y="8"/>
                  </a:lnTo>
                  <a:lnTo>
                    <a:pt x="11" y="4"/>
                  </a:lnTo>
                  <a:lnTo>
                    <a:pt x="8" y="2"/>
                  </a:lnTo>
                  <a:lnTo>
                    <a:pt x="8" y="2"/>
                  </a:lnTo>
                  <a:lnTo>
                    <a:pt x="6" y="0"/>
                  </a:lnTo>
                  <a:lnTo>
                    <a:pt x="6" y="2"/>
                  </a:lnTo>
                  <a:lnTo>
                    <a:pt x="2" y="6"/>
                  </a:lnTo>
                  <a:lnTo>
                    <a:pt x="2" y="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8" name="Freeform 28">
              <a:extLst>
                <a:ext uri="{FF2B5EF4-FFF2-40B4-BE49-F238E27FC236}">
                  <a16:creationId xmlns:a16="http://schemas.microsoft.com/office/drawing/2014/main" id="{98B1B4D4-5310-4DF9-885E-40627D077FD5}"/>
                </a:ext>
              </a:extLst>
            </p:cNvPr>
            <p:cNvSpPr>
              <a:spLocks/>
            </p:cNvSpPr>
            <p:nvPr/>
          </p:nvSpPr>
          <p:spPr bwMode="auto">
            <a:xfrm>
              <a:off x="6713844" y="4673680"/>
              <a:ext cx="5451" cy="12716"/>
            </a:xfrm>
            <a:custGeom>
              <a:avLst/>
              <a:gdLst/>
              <a:ahLst/>
              <a:cxnLst>
                <a:cxn ang="0">
                  <a:pos x="0" y="0"/>
                </a:cxn>
                <a:cxn ang="0">
                  <a:pos x="0" y="13"/>
                </a:cxn>
                <a:cxn ang="0">
                  <a:pos x="0" y="13"/>
                </a:cxn>
                <a:cxn ang="0">
                  <a:pos x="4" y="9"/>
                </a:cxn>
                <a:cxn ang="0">
                  <a:pos x="6" y="5"/>
                </a:cxn>
                <a:cxn ang="0">
                  <a:pos x="4" y="2"/>
                </a:cxn>
                <a:cxn ang="0">
                  <a:pos x="2" y="0"/>
                </a:cxn>
                <a:cxn ang="0">
                  <a:pos x="0" y="0"/>
                </a:cxn>
                <a:cxn ang="0">
                  <a:pos x="0" y="0"/>
                </a:cxn>
              </a:cxnLst>
              <a:rect l="0" t="0" r="r" b="b"/>
              <a:pathLst>
                <a:path w="6" h="13">
                  <a:moveTo>
                    <a:pt x="0" y="0"/>
                  </a:moveTo>
                  <a:lnTo>
                    <a:pt x="0" y="13"/>
                  </a:lnTo>
                  <a:lnTo>
                    <a:pt x="0" y="13"/>
                  </a:lnTo>
                  <a:lnTo>
                    <a:pt x="4" y="9"/>
                  </a:lnTo>
                  <a:lnTo>
                    <a:pt x="6" y="5"/>
                  </a:lnTo>
                  <a:lnTo>
                    <a:pt x="4" y="2"/>
                  </a:lnTo>
                  <a:lnTo>
                    <a:pt x="2" y="0"/>
                  </a:lnTo>
                  <a:lnTo>
                    <a:pt x="0" y="0"/>
                  </a:lnTo>
                  <a:lnTo>
                    <a:pt x="0"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Freeform 29">
              <a:extLst>
                <a:ext uri="{FF2B5EF4-FFF2-40B4-BE49-F238E27FC236}">
                  <a16:creationId xmlns:a16="http://schemas.microsoft.com/office/drawing/2014/main" id="{B7E30019-AF16-497D-800A-6E57C0A8C3B8}"/>
                </a:ext>
              </a:extLst>
            </p:cNvPr>
            <p:cNvSpPr>
              <a:spLocks/>
            </p:cNvSpPr>
            <p:nvPr/>
          </p:nvSpPr>
          <p:spPr bwMode="auto">
            <a:xfrm>
              <a:off x="6699310" y="4666413"/>
              <a:ext cx="12717" cy="5449"/>
            </a:xfrm>
            <a:custGeom>
              <a:avLst/>
              <a:gdLst/>
              <a:ahLst/>
              <a:cxnLst>
                <a:cxn ang="0">
                  <a:pos x="0" y="2"/>
                </a:cxn>
                <a:cxn ang="0">
                  <a:pos x="0" y="2"/>
                </a:cxn>
                <a:cxn ang="0">
                  <a:pos x="0" y="4"/>
                </a:cxn>
                <a:cxn ang="0">
                  <a:pos x="0" y="6"/>
                </a:cxn>
                <a:cxn ang="0">
                  <a:pos x="4" y="8"/>
                </a:cxn>
                <a:cxn ang="0">
                  <a:pos x="15" y="8"/>
                </a:cxn>
                <a:cxn ang="0">
                  <a:pos x="15" y="8"/>
                </a:cxn>
                <a:cxn ang="0">
                  <a:pos x="11" y="4"/>
                </a:cxn>
                <a:cxn ang="0">
                  <a:pos x="8" y="2"/>
                </a:cxn>
                <a:cxn ang="0">
                  <a:pos x="2" y="0"/>
                </a:cxn>
                <a:cxn ang="0">
                  <a:pos x="0" y="2"/>
                </a:cxn>
                <a:cxn ang="0">
                  <a:pos x="0" y="2"/>
                </a:cxn>
              </a:cxnLst>
              <a:rect l="0" t="0" r="r" b="b"/>
              <a:pathLst>
                <a:path w="15" h="8">
                  <a:moveTo>
                    <a:pt x="0" y="2"/>
                  </a:moveTo>
                  <a:lnTo>
                    <a:pt x="0" y="2"/>
                  </a:lnTo>
                  <a:lnTo>
                    <a:pt x="0" y="4"/>
                  </a:lnTo>
                  <a:lnTo>
                    <a:pt x="0" y="6"/>
                  </a:lnTo>
                  <a:lnTo>
                    <a:pt x="4" y="8"/>
                  </a:lnTo>
                  <a:lnTo>
                    <a:pt x="15" y="8"/>
                  </a:lnTo>
                  <a:lnTo>
                    <a:pt x="15" y="8"/>
                  </a:lnTo>
                  <a:lnTo>
                    <a:pt x="11" y="4"/>
                  </a:lnTo>
                  <a:lnTo>
                    <a:pt x="8" y="2"/>
                  </a:lnTo>
                  <a:lnTo>
                    <a:pt x="2" y="0"/>
                  </a:lnTo>
                  <a:lnTo>
                    <a:pt x="0" y="2"/>
                  </a:lnTo>
                  <a:lnTo>
                    <a:pt x="0"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30">
              <a:extLst>
                <a:ext uri="{FF2B5EF4-FFF2-40B4-BE49-F238E27FC236}">
                  <a16:creationId xmlns:a16="http://schemas.microsoft.com/office/drawing/2014/main" id="{24CBAAEF-B835-4CEB-A9A9-C1A31A4728AA}"/>
                </a:ext>
              </a:extLst>
            </p:cNvPr>
            <p:cNvSpPr>
              <a:spLocks/>
            </p:cNvSpPr>
            <p:nvPr/>
          </p:nvSpPr>
          <p:spPr bwMode="auto">
            <a:xfrm>
              <a:off x="6650260" y="4633713"/>
              <a:ext cx="29067" cy="12716"/>
            </a:xfrm>
            <a:custGeom>
              <a:avLst/>
              <a:gdLst/>
              <a:ahLst/>
              <a:cxnLst>
                <a:cxn ang="0">
                  <a:pos x="2" y="15"/>
                </a:cxn>
                <a:cxn ang="0">
                  <a:pos x="2" y="15"/>
                </a:cxn>
                <a:cxn ang="0">
                  <a:pos x="7" y="15"/>
                </a:cxn>
                <a:cxn ang="0">
                  <a:pos x="17" y="15"/>
                </a:cxn>
                <a:cxn ang="0">
                  <a:pos x="26" y="15"/>
                </a:cxn>
                <a:cxn ang="0">
                  <a:pos x="32" y="11"/>
                </a:cxn>
                <a:cxn ang="0">
                  <a:pos x="32" y="11"/>
                </a:cxn>
                <a:cxn ang="0">
                  <a:pos x="24" y="9"/>
                </a:cxn>
                <a:cxn ang="0">
                  <a:pos x="18" y="5"/>
                </a:cxn>
                <a:cxn ang="0">
                  <a:pos x="17" y="4"/>
                </a:cxn>
                <a:cxn ang="0">
                  <a:pos x="15" y="0"/>
                </a:cxn>
                <a:cxn ang="0">
                  <a:pos x="15" y="0"/>
                </a:cxn>
                <a:cxn ang="0">
                  <a:pos x="7" y="0"/>
                </a:cxn>
                <a:cxn ang="0">
                  <a:pos x="2" y="2"/>
                </a:cxn>
                <a:cxn ang="0">
                  <a:pos x="2" y="2"/>
                </a:cxn>
                <a:cxn ang="0">
                  <a:pos x="0" y="7"/>
                </a:cxn>
                <a:cxn ang="0">
                  <a:pos x="2" y="15"/>
                </a:cxn>
                <a:cxn ang="0">
                  <a:pos x="2" y="15"/>
                </a:cxn>
              </a:cxnLst>
              <a:rect l="0" t="0" r="r" b="b"/>
              <a:pathLst>
                <a:path w="32" h="15">
                  <a:moveTo>
                    <a:pt x="2" y="15"/>
                  </a:moveTo>
                  <a:lnTo>
                    <a:pt x="2" y="15"/>
                  </a:lnTo>
                  <a:lnTo>
                    <a:pt x="7" y="15"/>
                  </a:lnTo>
                  <a:lnTo>
                    <a:pt x="17" y="15"/>
                  </a:lnTo>
                  <a:lnTo>
                    <a:pt x="26" y="15"/>
                  </a:lnTo>
                  <a:lnTo>
                    <a:pt x="32" y="11"/>
                  </a:lnTo>
                  <a:lnTo>
                    <a:pt x="32" y="11"/>
                  </a:lnTo>
                  <a:lnTo>
                    <a:pt x="24" y="9"/>
                  </a:lnTo>
                  <a:lnTo>
                    <a:pt x="18" y="5"/>
                  </a:lnTo>
                  <a:lnTo>
                    <a:pt x="17" y="4"/>
                  </a:lnTo>
                  <a:lnTo>
                    <a:pt x="15" y="0"/>
                  </a:lnTo>
                  <a:lnTo>
                    <a:pt x="15" y="0"/>
                  </a:lnTo>
                  <a:lnTo>
                    <a:pt x="7" y="0"/>
                  </a:lnTo>
                  <a:lnTo>
                    <a:pt x="2" y="2"/>
                  </a:lnTo>
                  <a:lnTo>
                    <a:pt x="2" y="2"/>
                  </a:lnTo>
                  <a:lnTo>
                    <a:pt x="0" y="7"/>
                  </a:lnTo>
                  <a:lnTo>
                    <a:pt x="2" y="15"/>
                  </a:lnTo>
                  <a:lnTo>
                    <a:pt x="2" y="1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1" name="Freeform 31">
              <a:extLst>
                <a:ext uri="{FF2B5EF4-FFF2-40B4-BE49-F238E27FC236}">
                  <a16:creationId xmlns:a16="http://schemas.microsoft.com/office/drawing/2014/main" id="{F7323604-2459-4EBF-924A-8C14AFC37F67}"/>
                </a:ext>
              </a:extLst>
            </p:cNvPr>
            <p:cNvSpPr>
              <a:spLocks/>
            </p:cNvSpPr>
            <p:nvPr/>
          </p:nvSpPr>
          <p:spPr bwMode="auto">
            <a:xfrm>
              <a:off x="6619377" y="4660963"/>
              <a:ext cx="5451" cy="12716"/>
            </a:xfrm>
            <a:custGeom>
              <a:avLst/>
              <a:gdLst/>
              <a:ahLst/>
              <a:cxnLst>
                <a:cxn ang="0">
                  <a:pos x="4" y="13"/>
                </a:cxn>
                <a:cxn ang="0">
                  <a:pos x="4" y="13"/>
                </a:cxn>
                <a:cxn ang="0">
                  <a:pos x="6" y="13"/>
                </a:cxn>
                <a:cxn ang="0">
                  <a:pos x="6" y="9"/>
                </a:cxn>
                <a:cxn ang="0">
                  <a:pos x="8" y="2"/>
                </a:cxn>
                <a:cxn ang="0">
                  <a:pos x="0" y="0"/>
                </a:cxn>
                <a:cxn ang="0">
                  <a:pos x="0" y="0"/>
                </a:cxn>
                <a:cxn ang="0">
                  <a:pos x="0" y="3"/>
                </a:cxn>
                <a:cxn ang="0">
                  <a:pos x="0" y="9"/>
                </a:cxn>
                <a:cxn ang="0">
                  <a:pos x="0" y="13"/>
                </a:cxn>
                <a:cxn ang="0">
                  <a:pos x="2" y="15"/>
                </a:cxn>
                <a:cxn ang="0">
                  <a:pos x="4" y="13"/>
                </a:cxn>
                <a:cxn ang="0">
                  <a:pos x="4" y="13"/>
                </a:cxn>
              </a:cxnLst>
              <a:rect l="0" t="0" r="r" b="b"/>
              <a:pathLst>
                <a:path w="8" h="15">
                  <a:moveTo>
                    <a:pt x="4" y="13"/>
                  </a:moveTo>
                  <a:lnTo>
                    <a:pt x="4" y="13"/>
                  </a:lnTo>
                  <a:lnTo>
                    <a:pt x="6" y="13"/>
                  </a:lnTo>
                  <a:lnTo>
                    <a:pt x="6" y="9"/>
                  </a:lnTo>
                  <a:lnTo>
                    <a:pt x="8" y="2"/>
                  </a:lnTo>
                  <a:lnTo>
                    <a:pt x="0" y="0"/>
                  </a:lnTo>
                  <a:lnTo>
                    <a:pt x="0" y="0"/>
                  </a:lnTo>
                  <a:lnTo>
                    <a:pt x="0" y="3"/>
                  </a:lnTo>
                  <a:lnTo>
                    <a:pt x="0" y="9"/>
                  </a:lnTo>
                  <a:lnTo>
                    <a:pt x="0" y="13"/>
                  </a:lnTo>
                  <a:lnTo>
                    <a:pt x="2" y="15"/>
                  </a:lnTo>
                  <a:lnTo>
                    <a:pt x="4" y="13"/>
                  </a:lnTo>
                  <a:lnTo>
                    <a:pt x="4"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 name="Freeform 32">
              <a:extLst>
                <a:ext uri="{FF2B5EF4-FFF2-40B4-BE49-F238E27FC236}">
                  <a16:creationId xmlns:a16="http://schemas.microsoft.com/office/drawing/2014/main" id="{A04D6E49-8261-4C8D-9A93-D5E943BE85E4}"/>
                </a:ext>
              </a:extLst>
            </p:cNvPr>
            <p:cNvSpPr>
              <a:spLocks/>
            </p:cNvSpPr>
            <p:nvPr/>
          </p:nvSpPr>
          <p:spPr bwMode="auto">
            <a:xfrm>
              <a:off x="6635727" y="4657329"/>
              <a:ext cx="38150" cy="18167"/>
            </a:xfrm>
            <a:custGeom>
              <a:avLst/>
              <a:gdLst/>
              <a:ahLst/>
              <a:cxnLst>
                <a:cxn ang="0">
                  <a:pos x="11" y="0"/>
                </a:cxn>
                <a:cxn ang="0">
                  <a:pos x="11" y="0"/>
                </a:cxn>
                <a:cxn ang="0">
                  <a:pos x="4" y="2"/>
                </a:cxn>
                <a:cxn ang="0">
                  <a:pos x="2" y="4"/>
                </a:cxn>
                <a:cxn ang="0">
                  <a:pos x="0" y="9"/>
                </a:cxn>
                <a:cxn ang="0">
                  <a:pos x="4" y="13"/>
                </a:cxn>
                <a:cxn ang="0">
                  <a:pos x="9" y="17"/>
                </a:cxn>
                <a:cxn ang="0">
                  <a:pos x="19" y="21"/>
                </a:cxn>
                <a:cxn ang="0">
                  <a:pos x="30" y="19"/>
                </a:cxn>
                <a:cxn ang="0">
                  <a:pos x="43" y="15"/>
                </a:cxn>
                <a:cxn ang="0">
                  <a:pos x="43" y="15"/>
                </a:cxn>
                <a:cxn ang="0">
                  <a:pos x="39" y="7"/>
                </a:cxn>
                <a:cxn ang="0">
                  <a:pos x="35" y="6"/>
                </a:cxn>
                <a:cxn ang="0">
                  <a:pos x="35" y="6"/>
                </a:cxn>
                <a:cxn ang="0">
                  <a:pos x="35" y="7"/>
                </a:cxn>
                <a:cxn ang="0">
                  <a:pos x="35" y="7"/>
                </a:cxn>
                <a:cxn ang="0">
                  <a:pos x="32" y="11"/>
                </a:cxn>
                <a:cxn ang="0">
                  <a:pos x="28" y="9"/>
                </a:cxn>
                <a:cxn ang="0">
                  <a:pos x="21" y="4"/>
                </a:cxn>
                <a:cxn ang="0">
                  <a:pos x="21" y="4"/>
                </a:cxn>
                <a:cxn ang="0">
                  <a:pos x="11" y="0"/>
                </a:cxn>
                <a:cxn ang="0">
                  <a:pos x="11" y="0"/>
                </a:cxn>
              </a:cxnLst>
              <a:rect l="0" t="0" r="r" b="b"/>
              <a:pathLst>
                <a:path w="43" h="21">
                  <a:moveTo>
                    <a:pt x="11" y="0"/>
                  </a:moveTo>
                  <a:lnTo>
                    <a:pt x="11" y="0"/>
                  </a:lnTo>
                  <a:lnTo>
                    <a:pt x="4" y="2"/>
                  </a:lnTo>
                  <a:lnTo>
                    <a:pt x="2" y="4"/>
                  </a:lnTo>
                  <a:lnTo>
                    <a:pt x="0" y="9"/>
                  </a:lnTo>
                  <a:lnTo>
                    <a:pt x="4" y="13"/>
                  </a:lnTo>
                  <a:lnTo>
                    <a:pt x="9" y="17"/>
                  </a:lnTo>
                  <a:lnTo>
                    <a:pt x="19" y="21"/>
                  </a:lnTo>
                  <a:lnTo>
                    <a:pt x="30" y="19"/>
                  </a:lnTo>
                  <a:lnTo>
                    <a:pt x="43" y="15"/>
                  </a:lnTo>
                  <a:lnTo>
                    <a:pt x="43" y="15"/>
                  </a:lnTo>
                  <a:lnTo>
                    <a:pt x="39" y="7"/>
                  </a:lnTo>
                  <a:lnTo>
                    <a:pt x="35" y="6"/>
                  </a:lnTo>
                  <a:lnTo>
                    <a:pt x="35" y="6"/>
                  </a:lnTo>
                  <a:lnTo>
                    <a:pt x="35" y="7"/>
                  </a:lnTo>
                  <a:lnTo>
                    <a:pt x="35" y="7"/>
                  </a:lnTo>
                  <a:lnTo>
                    <a:pt x="32" y="11"/>
                  </a:lnTo>
                  <a:lnTo>
                    <a:pt x="28" y="9"/>
                  </a:lnTo>
                  <a:lnTo>
                    <a:pt x="21" y="4"/>
                  </a:lnTo>
                  <a:lnTo>
                    <a:pt x="21" y="4"/>
                  </a:lnTo>
                  <a:lnTo>
                    <a:pt x="11" y="0"/>
                  </a:lnTo>
                  <a:lnTo>
                    <a:pt x="11"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Freeform 33">
              <a:extLst>
                <a:ext uri="{FF2B5EF4-FFF2-40B4-BE49-F238E27FC236}">
                  <a16:creationId xmlns:a16="http://schemas.microsoft.com/office/drawing/2014/main" id="{EBA7D4FD-0820-4F19-B760-E8948C59D5D4}"/>
                </a:ext>
              </a:extLst>
            </p:cNvPr>
            <p:cNvSpPr>
              <a:spLocks/>
            </p:cNvSpPr>
            <p:nvPr/>
          </p:nvSpPr>
          <p:spPr bwMode="auto">
            <a:xfrm>
              <a:off x="6621193" y="4680947"/>
              <a:ext cx="61766" cy="34516"/>
            </a:xfrm>
            <a:custGeom>
              <a:avLst/>
              <a:gdLst/>
              <a:ahLst/>
              <a:cxnLst>
                <a:cxn ang="0">
                  <a:pos x="15" y="26"/>
                </a:cxn>
                <a:cxn ang="0">
                  <a:pos x="15" y="26"/>
                </a:cxn>
                <a:cxn ang="0">
                  <a:pos x="26" y="26"/>
                </a:cxn>
                <a:cxn ang="0">
                  <a:pos x="36" y="30"/>
                </a:cxn>
                <a:cxn ang="0">
                  <a:pos x="45" y="34"/>
                </a:cxn>
                <a:cxn ang="0">
                  <a:pos x="56" y="38"/>
                </a:cxn>
                <a:cxn ang="0">
                  <a:pos x="56" y="38"/>
                </a:cxn>
                <a:cxn ang="0">
                  <a:pos x="66" y="36"/>
                </a:cxn>
                <a:cxn ang="0">
                  <a:pos x="67" y="34"/>
                </a:cxn>
                <a:cxn ang="0">
                  <a:pos x="69" y="32"/>
                </a:cxn>
                <a:cxn ang="0">
                  <a:pos x="64" y="26"/>
                </a:cxn>
                <a:cxn ang="0">
                  <a:pos x="56" y="21"/>
                </a:cxn>
                <a:cxn ang="0">
                  <a:pos x="36" y="8"/>
                </a:cxn>
                <a:cxn ang="0">
                  <a:pos x="21" y="0"/>
                </a:cxn>
                <a:cxn ang="0">
                  <a:pos x="21" y="0"/>
                </a:cxn>
                <a:cxn ang="0">
                  <a:pos x="15" y="0"/>
                </a:cxn>
                <a:cxn ang="0">
                  <a:pos x="11" y="4"/>
                </a:cxn>
                <a:cxn ang="0">
                  <a:pos x="6" y="8"/>
                </a:cxn>
                <a:cxn ang="0">
                  <a:pos x="2" y="13"/>
                </a:cxn>
                <a:cxn ang="0">
                  <a:pos x="0" y="17"/>
                </a:cxn>
                <a:cxn ang="0">
                  <a:pos x="2" y="23"/>
                </a:cxn>
                <a:cxn ang="0">
                  <a:pos x="6" y="24"/>
                </a:cxn>
                <a:cxn ang="0">
                  <a:pos x="15" y="26"/>
                </a:cxn>
                <a:cxn ang="0">
                  <a:pos x="15" y="26"/>
                </a:cxn>
              </a:cxnLst>
              <a:rect l="0" t="0" r="r" b="b"/>
              <a:pathLst>
                <a:path w="69" h="38">
                  <a:moveTo>
                    <a:pt x="15" y="26"/>
                  </a:moveTo>
                  <a:lnTo>
                    <a:pt x="15" y="26"/>
                  </a:lnTo>
                  <a:lnTo>
                    <a:pt x="26" y="26"/>
                  </a:lnTo>
                  <a:lnTo>
                    <a:pt x="36" y="30"/>
                  </a:lnTo>
                  <a:lnTo>
                    <a:pt x="45" y="34"/>
                  </a:lnTo>
                  <a:lnTo>
                    <a:pt x="56" y="38"/>
                  </a:lnTo>
                  <a:lnTo>
                    <a:pt x="56" y="38"/>
                  </a:lnTo>
                  <a:lnTo>
                    <a:pt x="66" y="36"/>
                  </a:lnTo>
                  <a:lnTo>
                    <a:pt x="67" y="34"/>
                  </a:lnTo>
                  <a:lnTo>
                    <a:pt x="69" y="32"/>
                  </a:lnTo>
                  <a:lnTo>
                    <a:pt x="64" y="26"/>
                  </a:lnTo>
                  <a:lnTo>
                    <a:pt x="56" y="21"/>
                  </a:lnTo>
                  <a:lnTo>
                    <a:pt x="36" y="8"/>
                  </a:lnTo>
                  <a:lnTo>
                    <a:pt x="21" y="0"/>
                  </a:lnTo>
                  <a:lnTo>
                    <a:pt x="21" y="0"/>
                  </a:lnTo>
                  <a:lnTo>
                    <a:pt x="15" y="0"/>
                  </a:lnTo>
                  <a:lnTo>
                    <a:pt x="11" y="4"/>
                  </a:lnTo>
                  <a:lnTo>
                    <a:pt x="6" y="8"/>
                  </a:lnTo>
                  <a:lnTo>
                    <a:pt x="2" y="13"/>
                  </a:lnTo>
                  <a:lnTo>
                    <a:pt x="0" y="17"/>
                  </a:lnTo>
                  <a:lnTo>
                    <a:pt x="2" y="23"/>
                  </a:lnTo>
                  <a:lnTo>
                    <a:pt x="6" y="24"/>
                  </a:lnTo>
                  <a:lnTo>
                    <a:pt x="15" y="26"/>
                  </a:lnTo>
                  <a:lnTo>
                    <a:pt x="15" y="2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4" name="Freeform 34">
              <a:extLst>
                <a:ext uri="{FF2B5EF4-FFF2-40B4-BE49-F238E27FC236}">
                  <a16:creationId xmlns:a16="http://schemas.microsoft.com/office/drawing/2014/main" id="{FFA1CC8E-90ED-48F6-8521-1A8A080D72AA}"/>
                </a:ext>
              </a:extLst>
            </p:cNvPr>
            <p:cNvSpPr>
              <a:spLocks/>
            </p:cNvSpPr>
            <p:nvPr/>
          </p:nvSpPr>
          <p:spPr bwMode="auto">
            <a:xfrm>
              <a:off x="6644811" y="4720913"/>
              <a:ext cx="29067" cy="29067"/>
            </a:xfrm>
            <a:custGeom>
              <a:avLst/>
              <a:gdLst/>
              <a:ahLst/>
              <a:cxnLst>
                <a:cxn ang="0">
                  <a:pos x="15" y="28"/>
                </a:cxn>
                <a:cxn ang="0">
                  <a:pos x="15" y="28"/>
                </a:cxn>
                <a:cxn ang="0">
                  <a:pos x="28" y="24"/>
                </a:cxn>
                <a:cxn ang="0">
                  <a:pos x="30" y="22"/>
                </a:cxn>
                <a:cxn ang="0">
                  <a:pos x="30" y="22"/>
                </a:cxn>
                <a:cxn ang="0">
                  <a:pos x="25" y="19"/>
                </a:cxn>
                <a:cxn ang="0">
                  <a:pos x="25" y="19"/>
                </a:cxn>
                <a:cxn ang="0">
                  <a:pos x="25" y="15"/>
                </a:cxn>
                <a:cxn ang="0">
                  <a:pos x="26" y="13"/>
                </a:cxn>
                <a:cxn ang="0">
                  <a:pos x="30" y="11"/>
                </a:cxn>
                <a:cxn ang="0">
                  <a:pos x="32" y="7"/>
                </a:cxn>
                <a:cxn ang="0">
                  <a:pos x="32" y="7"/>
                </a:cxn>
                <a:cxn ang="0">
                  <a:pos x="30" y="4"/>
                </a:cxn>
                <a:cxn ang="0">
                  <a:pos x="26" y="2"/>
                </a:cxn>
                <a:cxn ang="0">
                  <a:pos x="23" y="0"/>
                </a:cxn>
                <a:cxn ang="0">
                  <a:pos x="21" y="0"/>
                </a:cxn>
                <a:cxn ang="0">
                  <a:pos x="21" y="0"/>
                </a:cxn>
                <a:cxn ang="0">
                  <a:pos x="17" y="4"/>
                </a:cxn>
                <a:cxn ang="0">
                  <a:pos x="15" y="9"/>
                </a:cxn>
                <a:cxn ang="0">
                  <a:pos x="13" y="15"/>
                </a:cxn>
                <a:cxn ang="0">
                  <a:pos x="12" y="17"/>
                </a:cxn>
                <a:cxn ang="0">
                  <a:pos x="10" y="17"/>
                </a:cxn>
                <a:cxn ang="0">
                  <a:pos x="10" y="17"/>
                </a:cxn>
                <a:cxn ang="0">
                  <a:pos x="0" y="19"/>
                </a:cxn>
                <a:cxn ang="0">
                  <a:pos x="0" y="19"/>
                </a:cxn>
                <a:cxn ang="0">
                  <a:pos x="0" y="21"/>
                </a:cxn>
                <a:cxn ang="0">
                  <a:pos x="8" y="30"/>
                </a:cxn>
                <a:cxn ang="0">
                  <a:pos x="8" y="30"/>
                </a:cxn>
                <a:cxn ang="0">
                  <a:pos x="12" y="32"/>
                </a:cxn>
                <a:cxn ang="0">
                  <a:pos x="13" y="32"/>
                </a:cxn>
                <a:cxn ang="0">
                  <a:pos x="15" y="28"/>
                </a:cxn>
                <a:cxn ang="0">
                  <a:pos x="15" y="28"/>
                </a:cxn>
              </a:cxnLst>
              <a:rect l="0" t="0" r="r" b="b"/>
              <a:pathLst>
                <a:path w="32" h="32">
                  <a:moveTo>
                    <a:pt x="15" y="28"/>
                  </a:moveTo>
                  <a:lnTo>
                    <a:pt x="15" y="28"/>
                  </a:lnTo>
                  <a:lnTo>
                    <a:pt x="28" y="24"/>
                  </a:lnTo>
                  <a:lnTo>
                    <a:pt x="30" y="22"/>
                  </a:lnTo>
                  <a:lnTo>
                    <a:pt x="30" y="22"/>
                  </a:lnTo>
                  <a:lnTo>
                    <a:pt x="25" y="19"/>
                  </a:lnTo>
                  <a:lnTo>
                    <a:pt x="25" y="19"/>
                  </a:lnTo>
                  <a:lnTo>
                    <a:pt x="25" y="15"/>
                  </a:lnTo>
                  <a:lnTo>
                    <a:pt x="26" y="13"/>
                  </a:lnTo>
                  <a:lnTo>
                    <a:pt x="30" y="11"/>
                  </a:lnTo>
                  <a:lnTo>
                    <a:pt x="32" y="7"/>
                  </a:lnTo>
                  <a:lnTo>
                    <a:pt x="32" y="7"/>
                  </a:lnTo>
                  <a:lnTo>
                    <a:pt x="30" y="4"/>
                  </a:lnTo>
                  <a:lnTo>
                    <a:pt x="26" y="2"/>
                  </a:lnTo>
                  <a:lnTo>
                    <a:pt x="23" y="0"/>
                  </a:lnTo>
                  <a:lnTo>
                    <a:pt x="21" y="0"/>
                  </a:lnTo>
                  <a:lnTo>
                    <a:pt x="21" y="0"/>
                  </a:lnTo>
                  <a:lnTo>
                    <a:pt x="17" y="4"/>
                  </a:lnTo>
                  <a:lnTo>
                    <a:pt x="15" y="9"/>
                  </a:lnTo>
                  <a:lnTo>
                    <a:pt x="13" y="15"/>
                  </a:lnTo>
                  <a:lnTo>
                    <a:pt x="12" y="17"/>
                  </a:lnTo>
                  <a:lnTo>
                    <a:pt x="10" y="17"/>
                  </a:lnTo>
                  <a:lnTo>
                    <a:pt x="10" y="17"/>
                  </a:lnTo>
                  <a:lnTo>
                    <a:pt x="0" y="19"/>
                  </a:lnTo>
                  <a:lnTo>
                    <a:pt x="0" y="19"/>
                  </a:lnTo>
                  <a:lnTo>
                    <a:pt x="0" y="21"/>
                  </a:lnTo>
                  <a:lnTo>
                    <a:pt x="8" y="30"/>
                  </a:lnTo>
                  <a:lnTo>
                    <a:pt x="8" y="30"/>
                  </a:lnTo>
                  <a:lnTo>
                    <a:pt x="12" y="32"/>
                  </a:lnTo>
                  <a:lnTo>
                    <a:pt x="13" y="32"/>
                  </a:lnTo>
                  <a:lnTo>
                    <a:pt x="15" y="28"/>
                  </a:lnTo>
                  <a:lnTo>
                    <a:pt x="15" y="28"/>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 name="Freeform 35">
              <a:extLst>
                <a:ext uri="{FF2B5EF4-FFF2-40B4-BE49-F238E27FC236}">
                  <a16:creationId xmlns:a16="http://schemas.microsoft.com/office/drawing/2014/main" id="{B63EDAB3-7C1F-4CB9-A92C-697C93D1A1F9}"/>
                </a:ext>
              </a:extLst>
            </p:cNvPr>
            <p:cNvSpPr>
              <a:spLocks/>
            </p:cNvSpPr>
            <p:nvPr/>
          </p:nvSpPr>
          <p:spPr bwMode="auto">
            <a:xfrm>
              <a:off x="6655710" y="4769963"/>
              <a:ext cx="10900" cy="10900"/>
            </a:xfrm>
            <a:custGeom>
              <a:avLst/>
              <a:gdLst/>
              <a:ahLst/>
              <a:cxnLst>
                <a:cxn ang="0">
                  <a:pos x="0" y="13"/>
                </a:cxn>
                <a:cxn ang="0">
                  <a:pos x="0" y="13"/>
                </a:cxn>
                <a:cxn ang="0">
                  <a:pos x="8" y="13"/>
                </a:cxn>
                <a:cxn ang="0">
                  <a:pos x="10" y="13"/>
                </a:cxn>
                <a:cxn ang="0">
                  <a:pos x="12" y="10"/>
                </a:cxn>
                <a:cxn ang="0">
                  <a:pos x="12" y="8"/>
                </a:cxn>
                <a:cxn ang="0">
                  <a:pos x="8" y="2"/>
                </a:cxn>
                <a:cxn ang="0">
                  <a:pos x="4" y="0"/>
                </a:cxn>
                <a:cxn ang="0">
                  <a:pos x="2" y="0"/>
                </a:cxn>
                <a:cxn ang="0">
                  <a:pos x="2" y="0"/>
                </a:cxn>
                <a:cxn ang="0">
                  <a:pos x="2" y="4"/>
                </a:cxn>
                <a:cxn ang="0">
                  <a:pos x="2" y="8"/>
                </a:cxn>
                <a:cxn ang="0">
                  <a:pos x="2" y="8"/>
                </a:cxn>
                <a:cxn ang="0">
                  <a:pos x="0" y="13"/>
                </a:cxn>
                <a:cxn ang="0">
                  <a:pos x="0" y="13"/>
                </a:cxn>
              </a:cxnLst>
              <a:rect l="0" t="0" r="r" b="b"/>
              <a:pathLst>
                <a:path w="12" h="13">
                  <a:moveTo>
                    <a:pt x="0" y="13"/>
                  </a:moveTo>
                  <a:lnTo>
                    <a:pt x="0" y="13"/>
                  </a:lnTo>
                  <a:lnTo>
                    <a:pt x="8" y="13"/>
                  </a:lnTo>
                  <a:lnTo>
                    <a:pt x="10" y="13"/>
                  </a:lnTo>
                  <a:lnTo>
                    <a:pt x="12" y="10"/>
                  </a:lnTo>
                  <a:lnTo>
                    <a:pt x="12" y="8"/>
                  </a:lnTo>
                  <a:lnTo>
                    <a:pt x="8" y="2"/>
                  </a:lnTo>
                  <a:lnTo>
                    <a:pt x="4" y="0"/>
                  </a:lnTo>
                  <a:lnTo>
                    <a:pt x="2" y="0"/>
                  </a:lnTo>
                  <a:lnTo>
                    <a:pt x="2" y="0"/>
                  </a:lnTo>
                  <a:lnTo>
                    <a:pt x="2" y="4"/>
                  </a:lnTo>
                  <a:lnTo>
                    <a:pt x="2" y="8"/>
                  </a:lnTo>
                  <a:lnTo>
                    <a:pt x="2" y="8"/>
                  </a:lnTo>
                  <a:lnTo>
                    <a:pt x="0" y="13"/>
                  </a:lnTo>
                  <a:lnTo>
                    <a:pt x="0"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6" name="Freeform 36">
              <a:extLst>
                <a:ext uri="{FF2B5EF4-FFF2-40B4-BE49-F238E27FC236}">
                  <a16:creationId xmlns:a16="http://schemas.microsoft.com/office/drawing/2014/main" id="{D5239A24-7BA2-4458-B0EC-C7E3384B405F}"/>
                </a:ext>
              </a:extLst>
            </p:cNvPr>
            <p:cNvSpPr>
              <a:spLocks/>
            </p:cNvSpPr>
            <p:nvPr/>
          </p:nvSpPr>
          <p:spPr bwMode="auto">
            <a:xfrm>
              <a:off x="6641177" y="4806296"/>
              <a:ext cx="9084" cy="12716"/>
            </a:xfrm>
            <a:custGeom>
              <a:avLst/>
              <a:gdLst/>
              <a:ahLst/>
              <a:cxnLst>
                <a:cxn ang="0">
                  <a:pos x="1" y="0"/>
                </a:cxn>
                <a:cxn ang="0">
                  <a:pos x="1" y="0"/>
                </a:cxn>
                <a:cxn ang="0">
                  <a:pos x="0" y="2"/>
                </a:cxn>
                <a:cxn ang="0">
                  <a:pos x="0" y="6"/>
                </a:cxn>
                <a:cxn ang="0">
                  <a:pos x="3" y="12"/>
                </a:cxn>
                <a:cxn ang="0">
                  <a:pos x="9" y="13"/>
                </a:cxn>
                <a:cxn ang="0">
                  <a:pos x="11" y="13"/>
                </a:cxn>
                <a:cxn ang="0">
                  <a:pos x="11" y="10"/>
                </a:cxn>
                <a:cxn ang="0">
                  <a:pos x="11" y="10"/>
                </a:cxn>
                <a:cxn ang="0">
                  <a:pos x="7" y="2"/>
                </a:cxn>
                <a:cxn ang="0">
                  <a:pos x="5" y="0"/>
                </a:cxn>
                <a:cxn ang="0">
                  <a:pos x="1" y="0"/>
                </a:cxn>
                <a:cxn ang="0">
                  <a:pos x="1" y="0"/>
                </a:cxn>
              </a:cxnLst>
              <a:rect l="0" t="0" r="r" b="b"/>
              <a:pathLst>
                <a:path w="11" h="13">
                  <a:moveTo>
                    <a:pt x="1" y="0"/>
                  </a:moveTo>
                  <a:lnTo>
                    <a:pt x="1" y="0"/>
                  </a:lnTo>
                  <a:lnTo>
                    <a:pt x="0" y="2"/>
                  </a:lnTo>
                  <a:lnTo>
                    <a:pt x="0" y="6"/>
                  </a:lnTo>
                  <a:lnTo>
                    <a:pt x="3" y="12"/>
                  </a:lnTo>
                  <a:lnTo>
                    <a:pt x="9" y="13"/>
                  </a:lnTo>
                  <a:lnTo>
                    <a:pt x="11" y="13"/>
                  </a:lnTo>
                  <a:lnTo>
                    <a:pt x="11" y="10"/>
                  </a:lnTo>
                  <a:lnTo>
                    <a:pt x="11" y="10"/>
                  </a:lnTo>
                  <a:lnTo>
                    <a:pt x="7" y="2"/>
                  </a:lnTo>
                  <a:lnTo>
                    <a:pt x="5" y="0"/>
                  </a:lnTo>
                  <a:lnTo>
                    <a:pt x="1" y="0"/>
                  </a:lnTo>
                  <a:lnTo>
                    <a:pt x="1"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7" name="Freeform 37">
              <a:extLst>
                <a:ext uri="{FF2B5EF4-FFF2-40B4-BE49-F238E27FC236}">
                  <a16:creationId xmlns:a16="http://schemas.microsoft.com/office/drawing/2014/main" id="{24F15992-066C-40AE-AAD5-12F5744223D4}"/>
                </a:ext>
              </a:extLst>
            </p:cNvPr>
            <p:cNvSpPr>
              <a:spLocks/>
            </p:cNvSpPr>
            <p:nvPr/>
          </p:nvSpPr>
          <p:spPr bwMode="auto">
            <a:xfrm>
              <a:off x="6623011" y="4824462"/>
              <a:ext cx="18167" cy="10900"/>
            </a:xfrm>
            <a:custGeom>
              <a:avLst/>
              <a:gdLst/>
              <a:ahLst/>
              <a:cxnLst>
                <a:cxn ang="0">
                  <a:pos x="0" y="8"/>
                </a:cxn>
                <a:cxn ang="0">
                  <a:pos x="0" y="8"/>
                </a:cxn>
                <a:cxn ang="0">
                  <a:pos x="9" y="11"/>
                </a:cxn>
                <a:cxn ang="0">
                  <a:pos x="15" y="13"/>
                </a:cxn>
                <a:cxn ang="0">
                  <a:pos x="19" y="11"/>
                </a:cxn>
                <a:cxn ang="0">
                  <a:pos x="21" y="9"/>
                </a:cxn>
                <a:cxn ang="0">
                  <a:pos x="21" y="6"/>
                </a:cxn>
                <a:cxn ang="0">
                  <a:pos x="19" y="2"/>
                </a:cxn>
                <a:cxn ang="0">
                  <a:pos x="15" y="0"/>
                </a:cxn>
                <a:cxn ang="0">
                  <a:pos x="11" y="0"/>
                </a:cxn>
                <a:cxn ang="0">
                  <a:pos x="11" y="0"/>
                </a:cxn>
                <a:cxn ang="0">
                  <a:pos x="9" y="0"/>
                </a:cxn>
                <a:cxn ang="0">
                  <a:pos x="9" y="0"/>
                </a:cxn>
                <a:cxn ang="0">
                  <a:pos x="4" y="4"/>
                </a:cxn>
                <a:cxn ang="0">
                  <a:pos x="0" y="8"/>
                </a:cxn>
                <a:cxn ang="0">
                  <a:pos x="0" y="8"/>
                </a:cxn>
              </a:cxnLst>
              <a:rect l="0" t="0" r="r" b="b"/>
              <a:pathLst>
                <a:path w="21" h="13">
                  <a:moveTo>
                    <a:pt x="0" y="8"/>
                  </a:moveTo>
                  <a:lnTo>
                    <a:pt x="0" y="8"/>
                  </a:lnTo>
                  <a:lnTo>
                    <a:pt x="9" y="11"/>
                  </a:lnTo>
                  <a:lnTo>
                    <a:pt x="15" y="13"/>
                  </a:lnTo>
                  <a:lnTo>
                    <a:pt x="19" y="11"/>
                  </a:lnTo>
                  <a:lnTo>
                    <a:pt x="21" y="9"/>
                  </a:lnTo>
                  <a:lnTo>
                    <a:pt x="21" y="6"/>
                  </a:lnTo>
                  <a:lnTo>
                    <a:pt x="19" y="2"/>
                  </a:lnTo>
                  <a:lnTo>
                    <a:pt x="15" y="0"/>
                  </a:lnTo>
                  <a:lnTo>
                    <a:pt x="11" y="0"/>
                  </a:lnTo>
                  <a:lnTo>
                    <a:pt x="11" y="0"/>
                  </a:lnTo>
                  <a:lnTo>
                    <a:pt x="9" y="0"/>
                  </a:lnTo>
                  <a:lnTo>
                    <a:pt x="9" y="0"/>
                  </a:lnTo>
                  <a:lnTo>
                    <a:pt x="4" y="4"/>
                  </a:lnTo>
                  <a:lnTo>
                    <a:pt x="0" y="8"/>
                  </a:lnTo>
                  <a:lnTo>
                    <a:pt x="0" y="8"/>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Freeform 38">
              <a:extLst>
                <a:ext uri="{FF2B5EF4-FFF2-40B4-BE49-F238E27FC236}">
                  <a16:creationId xmlns:a16="http://schemas.microsoft.com/office/drawing/2014/main" id="{E00A8E00-6F45-448F-86DB-2619FAA99CFA}"/>
                </a:ext>
              </a:extLst>
            </p:cNvPr>
            <p:cNvSpPr>
              <a:spLocks/>
            </p:cNvSpPr>
            <p:nvPr/>
          </p:nvSpPr>
          <p:spPr bwMode="auto">
            <a:xfrm>
              <a:off x="6623011" y="4875329"/>
              <a:ext cx="10900" cy="7267"/>
            </a:xfrm>
            <a:custGeom>
              <a:avLst/>
              <a:gdLst/>
              <a:ahLst/>
              <a:cxnLst>
                <a:cxn ang="0">
                  <a:pos x="4" y="0"/>
                </a:cxn>
                <a:cxn ang="0">
                  <a:pos x="4" y="0"/>
                </a:cxn>
                <a:cxn ang="0">
                  <a:pos x="0" y="2"/>
                </a:cxn>
                <a:cxn ang="0">
                  <a:pos x="2" y="6"/>
                </a:cxn>
                <a:cxn ang="0">
                  <a:pos x="2" y="8"/>
                </a:cxn>
                <a:cxn ang="0">
                  <a:pos x="6" y="9"/>
                </a:cxn>
                <a:cxn ang="0">
                  <a:pos x="11" y="9"/>
                </a:cxn>
                <a:cxn ang="0">
                  <a:pos x="13" y="9"/>
                </a:cxn>
                <a:cxn ang="0">
                  <a:pos x="13" y="6"/>
                </a:cxn>
                <a:cxn ang="0">
                  <a:pos x="13" y="6"/>
                </a:cxn>
                <a:cxn ang="0">
                  <a:pos x="11" y="2"/>
                </a:cxn>
                <a:cxn ang="0">
                  <a:pos x="9" y="0"/>
                </a:cxn>
                <a:cxn ang="0">
                  <a:pos x="4" y="0"/>
                </a:cxn>
                <a:cxn ang="0">
                  <a:pos x="4" y="0"/>
                </a:cxn>
              </a:cxnLst>
              <a:rect l="0" t="0" r="r" b="b"/>
              <a:pathLst>
                <a:path w="13" h="9">
                  <a:moveTo>
                    <a:pt x="4" y="0"/>
                  </a:moveTo>
                  <a:lnTo>
                    <a:pt x="4" y="0"/>
                  </a:lnTo>
                  <a:lnTo>
                    <a:pt x="0" y="2"/>
                  </a:lnTo>
                  <a:lnTo>
                    <a:pt x="2" y="6"/>
                  </a:lnTo>
                  <a:lnTo>
                    <a:pt x="2" y="8"/>
                  </a:lnTo>
                  <a:lnTo>
                    <a:pt x="6" y="9"/>
                  </a:lnTo>
                  <a:lnTo>
                    <a:pt x="11" y="9"/>
                  </a:lnTo>
                  <a:lnTo>
                    <a:pt x="13" y="9"/>
                  </a:lnTo>
                  <a:lnTo>
                    <a:pt x="13" y="6"/>
                  </a:lnTo>
                  <a:lnTo>
                    <a:pt x="13" y="6"/>
                  </a:lnTo>
                  <a:lnTo>
                    <a:pt x="11" y="2"/>
                  </a:lnTo>
                  <a:lnTo>
                    <a:pt x="9" y="0"/>
                  </a:lnTo>
                  <a:lnTo>
                    <a:pt x="4" y="0"/>
                  </a:lnTo>
                  <a:lnTo>
                    <a:pt x="4"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Freeform 39">
              <a:extLst>
                <a:ext uri="{FF2B5EF4-FFF2-40B4-BE49-F238E27FC236}">
                  <a16:creationId xmlns:a16="http://schemas.microsoft.com/office/drawing/2014/main" id="{DA85F433-89ED-4279-812E-00778FD5AA88}"/>
                </a:ext>
              </a:extLst>
            </p:cNvPr>
            <p:cNvSpPr>
              <a:spLocks/>
            </p:cNvSpPr>
            <p:nvPr/>
          </p:nvSpPr>
          <p:spPr bwMode="auto">
            <a:xfrm>
              <a:off x="6637544" y="4898946"/>
              <a:ext cx="14533" cy="27249"/>
            </a:xfrm>
            <a:custGeom>
              <a:avLst/>
              <a:gdLst/>
              <a:ahLst/>
              <a:cxnLst>
                <a:cxn ang="0">
                  <a:pos x="0" y="2"/>
                </a:cxn>
                <a:cxn ang="0">
                  <a:pos x="0" y="2"/>
                </a:cxn>
                <a:cxn ang="0">
                  <a:pos x="2" y="13"/>
                </a:cxn>
                <a:cxn ang="0">
                  <a:pos x="7" y="26"/>
                </a:cxn>
                <a:cxn ang="0">
                  <a:pos x="9" y="30"/>
                </a:cxn>
                <a:cxn ang="0">
                  <a:pos x="13" y="30"/>
                </a:cxn>
                <a:cxn ang="0">
                  <a:pos x="15" y="28"/>
                </a:cxn>
                <a:cxn ang="0">
                  <a:pos x="17" y="19"/>
                </a:cxn>
                <a:cxn ang="0">
                  <a:pos x="17" y="19"/>
                </a:cxn>
                <a:cxn ang="0">
                  <a:pos x="17" y="12"/>
                </a:cxn>
                <a:cxn ang="0">
                  <a:pos x="15" y="8"/>
                </a:cxn>
                <a:cxn ang="0">
                  <a:pos x="13" y="2"/>
                </a:cxn>
                <a:cxn ang="0">
                  <a:pos x="7" y="0"/>
                </a:cxn>
                <a:cxn ang="0">
                  <a:pos x="0" y="2"/>
                </a:cxn>
                <a:cxn ang="0">
                  <a:pos x="0" y="2"/>
                </a:cxn>
              </a:cxnLst>
              <a:rect l="0" t="0" r="r" b="b"/>
              <a:pathLst>
                <a:path w="17" h="30">
                  <a:moveTo>
                    <a:pt x="0" y="2"/>
                  </a:moveTo>
                  <a:lnTo>
                    <a:pt x="0" y="2"/>
                  </a:lnTo>
                  <a:lnTo>
                    <a:pt x="2" y="13"/>
                  </a:lnTo>
                  <a:lnTo>
                    <a:pt x="7" y="26"/>
                  </a:lnTo>
                  <a:lnTo>
                    <a:pt x="9" y="30"/>
                  </a:lnTo>
                  <a:lnTo>
                    <a:pt x="13" y="30"/>
                  </a:lnTo>
                  <a:lnTo>
                    <a:pt x="15" y="28"/>
                  </a:lnTo>
                  <a:lnTo>
                    <a:pt x="17" y="19"/>
                  </a:lnTo>
                  <a:lnTo>
                    <a:pt x="17" y="19"/>
                  </a:lnTo>
                  <a:lnTo>
                    <a:pt x="17" y="12"/>
                  </a:lnTo>
                  <a:lnTo>
                    <a:pt x="15" y="8"/>
                  </a:lnTo>
                  <a:lnTo>
                    <a:pt x="13" y="2"/>
                  </a:lnTo>
                  <a:lnTo>
                    <a:pt x="7" y="0"/>
                  </a:lnTo>
                  <a:lnTo>
                    <a:pt x="0" y="2"/>
                  </a:lnTo>
                  <a:lnTo>
                    <a:pt x="0"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Freeform 40">
              <a:extLst>
                <a:ext uri="{FF2B5EF4-FFF2-40B4-BE49-F238E27FC236}">
                  <a16:creationId xmlns:a16="http://schemas.microsoft.com/office/drawing/2014/main" id="{20DDEBE1-1A77-4085-AD55-2536820DAF2D}"/>
                </a:ext>
              </a:extLst>
            </p:cNvPr>
            <p:cNvSpPr>
              <a:spLocks/>
            </p:cNvSpPr>
            <p:nvPr/>
          </p:nvSpPr>
          <p:spPr bwMode="auto">
            <a:xfrm>
              <a:off x="6610293" y="4933462"/>
              <a:ext cx="10900" cy="10900"/>
            </a:xfrm>
            <a:custGeom>
              <a:avLst/>
              <a:gdLst/>
              <a:ahLst/>
              <a:cxnLst>
                <a:cxn ang="0">
                  <a:pos x="0" y="0"/>
                </a:cxn>
                <a:cxn ang="0">
                  <a:pos x="0" y="0"/>
                </a:cxn>
                <a:cxn ang="0">
                  <a:pos x="0" y="5"/>
                </a:cxn>
                <a:cxn ang="0">
                  <a:pos x="0" y="9"/>
                </a:cxn>
                <a:cxn ang="0">
                  <a:pos x="4" y="11"/>
                </a:cxn>
                <a:cxn ang="0">
                  <a:pos x="6" y="11"/>
                </a:cxn>
                <a:cxn ang="0">
                  <a:pos x="9" y="9"/>
                </a:cxn>
                <a:cxn ang="0">
                  <a:pos x="11" y="7"/>
                </a:cxn>
                <a:cxn ang="0">
                  <a:pos x="11" y="3"/>
                </a:cxn>
                <a:cxn ang="0">
                  <a:pos x="7" y="0"/>
                </a:cxn>
                <a:cxn ang="0">
                  <a:pos x="7" y="0"/>
                </a:cxn>
                <a:cxn ang="0">
                  <a:pos x="4" y="0"/>
                </a:cxn>
                <a:cxn ang="0">
                  <a:pos x="0" y="0"/>
                </a:cxn>
                <a:cxn ang="0">
                  <a:pos x="0" y="0"/>
                </a:cxn>
              </a:cxnLst>
              <a:rect l="0" t="0" r="r" b="b"/>
              <a:pathLst>
                <a:path w="11" h="11">
                  <a:moveTo>
                    <a:pt x="0" y="0"/>
                  </a:moveTo>
                  <a:lnTo>
                    <a:pt x="0" y="0"/>
                  </a:lnTo>
                  <a:lnTo>
                    <a:pt x="0" y="5"/>
                  </a:lnTo>
                  <a:lnTo>
                    <a:pt x="0" y="9"/>
                  </a:lnTo>
                  <a:lnTo>
                    <a:pt x="4" y="11"/>
                  </a:lnTo>
                  <a:lnTo>
                    <a:pt x="6" y="11"/>
                  </a:lnTo>
                  <a:lnTo>
                    <a:pt x="9" y="9"/>
                  </a:lnTo>
                  <a:lnTo>
                    <a:pt x="11" y="7"/>
                  </a:lnTo>
                  <a:lnTo>
                    <a:pt x="11" y="3"/>
                  </a:lnTo>
                  <a:lnTo>
                    <a:pt x="7" y="0"/>
                  </a:lnTo>
                  <a:lnTo>
                    <a:pt x="7" y="0"/>
                  </a:lnTo>
                  <a:lnTo>
                    <a:pt x="4" y="0"/>
                  </a:lnTo>
                  <a:lnTo>
                    <a:pt x="0" y="0"/>
                  </a:lnTo>
                  <a:lnTo>
                    <a:pt x="0"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Freeform 41">
              <a:extLst>
                <a:ext uri="{FF2B5EF4-FFF2-40B4-BE49-F238E27FC236}">
                  <a16:creationId xmlns:a16="http://schemas.microsoft.com/office/drawing/2014/main" id="{384E0959-B45F-48D1-AA1C-0EBA248B043C}"/>
                </a:ext>
              </a:extLst>
            </p:cNvPr>
            <p:cNvSpPr>
              <a:spLocks/>
            </p:cNvSpPr>
            <p:nvPr/>
          </p:nvSpPr>
          <p:spPr bwMode="auto">
            <a:xfrm>
              <a:off x="6557611" y="4967979"/>
              <a:ext cx="21800" cy="18167"/>
            </a:xfrm>
            <a:custGeom>
              <a:avLst/>
              <a:gdLst/>
              <a:ahLst/>
              <a:cxnLst>
                <a:cxn ang="0">
                  <a:pos x="0" y="15"/>
                </a:cxn>
                <a:cxn ang="0">
                  <a:pos x="0" y="15"/>
                </a:cxn>
                <a:cxn ang="0">
                  <a:pos x="2" y="17"/>
                </a:cxn>
                <a:cxn ang="0">
                  <a:pos x="7" y="19"/>
                </a:cxn>
                <a:cxn ang="0">
                  <a:pos x="11" y="20"/>
                </a:cxn>
                <a:cxn ang="0">
                  <a:pos x="17" y="20"/>
                </a:cxn>
                <a:cxn ang="0">
                  <a:pos x="21" y="19"/>
                </a:cxn>
                <a:cxn ang="0">
                  <a:pos x="24" y="15"/>
                </a:cxn>
                <a:cxn ang="0">
                  <a:pos x="22" y="9"/>
                </a:cxn>
                <a:cxn ang="0">
                  <a:pos x="19" y="0"/>
                </a:cxn>
                <a:cxn ang="0">
                  <a:pos x="19" y="0"/>
                </a:cxn>
                <a:cxn ang="0">
                  <a:pos x="15" y="2"/>
                </a:cxn>
                <a:cxn ang="0">
                  <a:pos x="0" y="15"/>
                </a:cxn>
                <a:cxn ang="0">
                  <a:pos x="0" y="15"/>
                </a:cxn>
              </a:cxnLst>
              <a:rect l="0" t="0" r="r" b="b"/>
              <a:pathLst>
                <a:path w="24" h="20">
                  <a:moveTo>
                    <a:pt x="0" y="15"/>
                  </a:moveTo>
                  <a:lnTo>
                    <a:pt x="0" y="15"/>
                  </a:lnTo>
                  <a:lnTo>
                    <a:pt x="2" y="17"/>
                  </a:lnTo>
                  <a:lnTo>
                    <a:pt x="7" y="19"/>
                  </a:lnTo>
                  <a:lnTo>
                    <a:pt x="11" y="20"/>
                  </a:lnTo>
                  <a:lnTo>
                    <a:pt x="17" y="20"/>
                  </a:lnTo>
                  <a:lnTo>
                    <a:pt x="21" y="19"/>
                  </a:lnTo>
                  <a:lnTo>
                    <a:pt x="24" y="15"/>
                  </a:lnTo>
                  <a:lnTo>
                    <a:pt x="22" y="9"/>
                  </a:lnTo>
                  <a:lnTo>
                    <a:pt x="19" y="0"/>
                  </a:lnTo>
                  <a:lnTo>
                    <a:pt x="19" y="0"/>
                  </a:lnTo>
                  <a:lnTo>
                    <a:pt x="15" y="2"/>
                  </a:lnTo>
                  <a:lnTo>
                    <a:pt x="0" y="15"/>
                  </a:lnTo>
                  <a:lnTo>
                    <a:pt x="0" y="1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2" name="Freeform 42">
              <a:extLst>
                <a:ext uri="{FF2B5EF4-FFF2-40B4-BE49-F238E27FC236}">
                  <a16:creationId xmlns:a16="http://schemas.microsoft.com/office/drawing/2014/main" id="{A29E92B9-FF15-4026-9EAE-52E590FB4A48}"/>
                </a:ext>
              </a:extLst>
            </p:cNvPr>
            <p:cNvSpPr>
              <a:spLocks/>
            </p:cNvSpPr>
            <p:nvPr/>
          </p:nvSpPr>
          <p:spPr bwMode="auto">
            <a:xfrm>
              <a:off x="6548527" y="4991595"/>
              <a:ext cx="9084" cy="12716"/>
            </a:xfrm>
            <a:custGeom>
              <a:avLst/>
              <a:gdLst/>
              <a:ahLst/>
              <a:cxnLst>
                <a:cxn ang="0">
                  <a:pos x="5" y="13"/>
                </a:cxn>
                <a:cxn ang="0">
                  <a:pos x="5" y="13"/>
                </a:cxn>
                <a:cxn ang="0">
                  <a:pos x="9" y="8"/>
                </a:cxn>
                <a:cxn ang="0">
                  <a:pos x="9" y="4"/>
                </a:cxn>
                <a:cxn ang="0">
                  <a:pos x="5" y="0"/>
                </a:cxn>
                <a:cxn ang="0">
                  <a:pos x="0" y="0"/>
                </a:cxn>
                <a:cxn ang="0">
                  <a:pos x="0" y="0"/>
                </a:cxn>
                <a:cxn ang="0">
                  <a:pos x="0" y="4"/>
                </a:cxn>
                <a:cxn ang="0">
                  <a:pos x="2" y="8"/>
                </a:cxn>
                <a:cxn ang="0">
                  <a:pos x="5" y="13"/>
                </a:cxn>
                <a:cxn ang="0">
                  <a:pos x="5" y="13"/>
                </a:cxn>
              </a:cxnLst>
              <a:rect l="0" t="0" r="r" b="b"/>
              <a:pathLst>
                <a:path w="9" h="13">
                  <a:moveTo>
                    <a:pt x="5" y="13"/>
                  </a:moveTo>
                  <a:lnTo>
                    <a:pt x="5" y="13"/>
                  </a:lnTo>
                  <a:lnTo>
                    <a:pt x="9" y="8"/>
                  </a:lnTo>
                  <a:lnTo>
                    <a:pt x="9" y="4"/>
                  </a:lnTo>
                  <a:lnTo>
                    <a:pt x="5" y="0"/>
                  </a:lnTo>
                  <a:lnTo>
                    <a:pt x="0" y="0"/>
                  </a:lnTo>
                  <a:lnTo>
                    <a:pt x="0" y="0"/>
                  </a:lnTo>
                  <a:lnTo>
                    <a:pt x="0" y="4"/>
                  </a:lnTo>
                  <a:lnTo>
                    <a:pt x="2" y="8"/>
                  </a:lnTo>
                  <a:lnTo>
                    <a:pt x="5" y="13"/>
                  </a:lnTo>
                  <a:lnTo>
                    <a:pt x="5" y="1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 name="Freeform 43">
              <a:extLst>
                <a:ext uri="{FF2B5EF4-FFF2-40B4-BE49-F238E27FC236}">
                  <a16:creationId xmlns:a16="http://schemas.microsoft.com/office/drawing/2014/main" id="{17A70BE6-AD33-4FAC-A26B-4782D72A0583}"/>
                </a:ext>
              </a:extLst>
            </p:cNvPr>
            <p:cNvSpPr>
              <a:spLocks/>
            </p:cNvSpPr>
            <p:nvPr/>
          </p:nvSpPr>
          <p:spPr bwMode="auto">
            <a:xfrm>
              <a:off x="6559427" y="4993412"/>
              <a:ext cx="16351" cy="16349"/>
            </a:xfrm>
            <a:custGeom>
              <a:avLst/>
              <a:gdLst/>
              <a:ahLst/>
              <a:cxnLst>
                <a:cxn ang="0">
                  <a:pos x="13" y="2"/>
                </a:cxn>
                <a:cxn ang="0">
                  <a:pos x="13" y="2"/>
                </a:cxn>
                <a:cxn ang="0">
                  <a:pos x="11" y="4"/>
                </a:cxn>
                <a:cxn ang="0">
                  <a:pos x="9" y="4"/>
                </a:cxn>
                <a:cxn ang="0">
                  <a:pos x="7" y="6"/>
                </a:cxn>
                <a:cxn ang="0">
                  <a:pos x="4" y="7"/>
                </a:cxn>
                <a:cxn ang="0">
                  <a:pos x="4" y="7"/>
                </a:cxn>
                <a:cxn ang="0">
                  <a:pos x="0" y="7"/>
                </a:cxn>
                <a:cxn ang="0">
                  <a:pos x="0" y="11"/>
                </a:cxn>
                <a:cxn ang="0">
                  <a:pos x="2" y="13"/>
                </a:cxn>
                <a:cxn ang="0">
                  <a:pos x="5" y="17"/>
                </a:cxn>
                <a:cxn ang="0">
                  <a:pos x="11" y="19"/>
                </a:cxn>
                <a:cxn ang="0">
                  <a:pos x="15" y="19"/>
                </a:cxn>
                <a:cxn ang="0">
                  <a:pos x="19" y="15"/>
                </a:cxn>
                <a:cxn ang="0">
                  <a:pos x="19" y="7"/>
                </a:cxn>
                <a:cxn ang="0">
                  <a:pos x="19" y="7"/>
                </a:cxn>
                <a:cxn ang="0">
                  <a:pos x="17" y="2"/>
                </a:cxn>
                <a:cxn ang="0">
                  <a:pos x="15" y="0"/>
                </a:cxn>
                <a:cxn ang="0">
                  <a:pos x="13" y="2"/>
                </a:cxn>
                <a:cxn ang="0">
                  <a:pos x="13" y="2"/>
                </a:cxn>
              </a:cxnLst>
              <a:rect l="0" t="0" r="r" b="b"/>
              <a:pathLst>
                <a:path w="19" h="19">
                  <a:moveTo>
                    <a:pt x="13" y="2"/>
                  </a:moveTo>
                  <a:lnTo>
                    <a:pt x="13" y="2"/>
                  </a:lnTo>
                  <a:lnTo>
                    <a:pt x="11" y="4"/>
                  </a:lnTo>
                  <a:lnTo>
                    <a:pt x="9" y="4"/>
                  </a:lnTo>
                  <a:lnTo>
                    <a:pt x="7" y="6"/>
                  </a:lnTo>
                  <a:lnTo>
                    <a:pt x="4" y="7"/>
                  </a:lnTo>
                  <a:lnTo>
                    <a:pt x="4" y="7"/>
                  </a:lnTo>
                  <a:lnTo>
                    <a:pt x="0" y="7"/>
                  </a:lnTo>
                  <a:lnTo>
                    <a:pt x="0" y="11"/>
                  </a:lnTo>
                  <a:lnTo>
                    <a:pt x="2" y="13"/>
                  </a:lnTo>
                  <a:lnTo>
                    <a:pt x="5" y="17"/>
                  </a:lnTo>
                  <a:lnTo>
                    <a:pt x="11" y="19"/>
                  </a:lnTo>
                  <a:lnTo>
                    <a:pt x="15" y="19"/>
                  </a:lnTo>
                  <a:lnTo>
                    <a:pt x="19" y="15"/>
                  </a:lnTo>
                  <a:lnTo>
                    <a:pt x="19" y="7"/>
                  </a:lnTo>
                  <a:lnTo>
                    <a:pt x="19" y="7"/>
                  </a:lnTo>
                  <a:lnTo>
                    <a:pt x="17" y="2"/>
                  </a:lnTo>
                  <a:lnTo>
                    <a:pt x="15" y="0"/>
                  </a:lnTo>
                  <a:lnTo>
                    <a:pt x="13" y="2"/>
                  </a:lnTo>
                  <a:lnTo>
                    <a:pt x="13" y="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 name="Line 44">
              <a:extLst>
                <a:ext uri="{FF2B5EF4-FFF2-40B4-BE49-F238E27FC236}">
                  <a16:creationId xmlns:a16="http://schemas.microsoft.com/office/drawing/2014/main" id="{8F3D8CC0-DEAA-4118-B14A-9EB002EC2BE0}"/>
                </a:ext>
              </a:extLst>
            </p:cNvPr>
            <p:cNvSpPr>
              <a:spLocks noChangeShapeType="1"/>
            </p:cNvSpPr>
            <p:nvPr/>
          </p:nvSpPr>
          <p:spPr bwMode="auto">
            <a:xfrm>
              <a:off x="6435894" y="4588296"/>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 name="Freeform 45">
              <a:extLst>
                <a:ext uri="{FF2B5EF4-FFF2-40B4-BE49-F238E27FC236}">
                  <a16:creationId xmlns:a16="http://schemas.microsoft.com/office/drawing/2014/main" id="{EF656057-D735-4989-8F7C-E2AD08C5E04D}"/>
                </a:ext>
              </a:extLst>
            </p:cNvPr>
            <p:cNvSpPr>
              <a:spLocks/>
            </p:cNvSpPr>
            <p:nvPr/>
          </p:nvSpPr>
          <p:spPr bwMode="auto">
            <a:xfrm>
              <a:off x="6190645" y="4537430"/>
              <a:ext cx="446899" cy="554081"/>
            </a:xfrm>
            <a:custGeom>
              <a:avLst/>
              <a:gdLst/>
              <a:ahLst/>
              <a:cxnLst>
                <a:cxn ang="0">
                  <a:pos x="219" y="13"/>
                </a:cxn>
                <a:cxn ang="0">
                  <a:pos x="180" y="53"/>
                </a:cxn>
                <a:cxn ang="0">
                  <a:pos x="167" y="94"/>
                </a:cxn>
                <a:cxn ang="0">
                  <a:pos x="148" y="127"/>
                </a:cxn>
                <a:cxn ang="0">
                  <a:pos x="150" y="159"/>
                </a:cxn>
                <a:cxn ang="0">
                  <a:pos x="120" y="182"/>
                </a:cxn>
                <a:cxn ang="0">
                  <a:pos x="90" y="204"/>
                </a:cxn>
                <a:cxn ang="0">
                  <a:pos x="99" y="238"/>
                </a:cxn>
                <a:cxn ang="0">
                  <a:pos x="83" y="262"/>
                </a:cxn>
                <a:cxn ang="0">
                  <a:pos x="60" y="294"/>
                </a:cxn>
                <a:cxn ang="0">
                  <a:pos x="26" y="318"/>
                </a:cxn>
                <a:cxn ang="0">
                  <a:pos x="2" y="348"/>
                </a:cxn>
                <a:cxn ang="0">
                  <a:pos x="26" y="391"/>
                </a:cxn>
                <a:cxn ang="0">
                  <a:pos x="66" y="471"/>
                </a:cxn>
                <a:cxn ang="0">
                  <a:pos x="99" y="479"/>
                </a:cxn>
                <a:cxn ang="0">
                  <a:pos x="120" y="548"/>
                </a:cxn>
                <a:cxn ang="0">
                  <a:pos x="139" y="594"/>
                </a:cxn>
                <a:cxn ang="0">
                  <a:pos x="172" y="594"/>
                </a:cxn>
                <a:cxn ang="0">
                  <a:pos x="217" y="559"/>
                </a:cxn>
                <a:cxn ang="0">
                  <a:pos x="249" y="600"/>
                </a:cxn>
                <a:cxn ang="0">
                  <a:pos x="312" y="589"/>
                </a:cxn>
                <a:cxn ang="0">
                  <a:pos x="350" y="600"/>
                </a:cxn>
                <a:cxn ang="0">
                  <a:pos x="365" y="523"/>
                </a:cxn>
                <a:cxn ang="0">
                  <a:pos x="337" y="490"/>
                </a:cxn>
                <a:cxn ang="0">
                  <a:pos x="391" y="482"/>
                </a:cxn>
                <a:cxn ang="0">
                  <a:pos x="397" y="449"/>
                </a:cxn>
                <a:cxn ang="0">
                  <a:pos x="413" y="441"/>
                </a:cxn>
                <a:cxn ang="0">
                  <a:pos x="440" y="449"/>
                </a:cxn>
                <a:cxn ang="0">
                  <a:pos x="469" y="432"/>
                </a:cxn>
                <a:cxn ang="0">
                  <a:pos x="438" y="387"/>
                </a:cxn>
                <a:cxn ang="0">
                  <a:pos x="462" y="372"/>
                </a:cxn>
                <a:cxn ang="0">
                  <a:pos x="456" y="353"/>
                </a:cxn>
                <a:cxn ang="0">
                  <a:pos x="466" y="342"/>
                </a:cxn>
                <a:cxn ang="0">
                  <a:pos x="438" y="310"/>
                </a:cxn>
                <a:cxn ang="0">
                  <a:pos x="462" y="310"/>
                </a:cxn>
                <a:cxn ang="0">
                  <a:pos x="475" y="299"/>
                </a:cxn>
                <a:cxn ang="0">
                  <a:pos x="492" y="305"/>
                </a:cxn>
                <a:cxn ang="0">
                  <a:pos x="479" y="243"/>
                </a:cxn>
                <a:cxn ang="0">
                  <a:pos x="428" y="279"/>
                </a:cxn>
                <a:cxn ang="0">
                  <a:pos x="451" y="253"/>
                </a:cxn>
                <a:cxn ang="0">
                  <a:pos x="482" y="208"/>
                </a:cxn>
                <a:cxn ang="0">
                  <a:pos x="398" y="157"/>
                </a:cxn>
                <a:cxn ang="0">
                  <a:pos x="357" y="174"/>
                </a:cxn>
                <a:cxn ang="0">
                  <a:pos x="318" y="178"/>
                </a:cxn>
                <a:cxn ang="0">
                  <a:pos x="271" y="176"/>
                </a:cxn>
                <a:cxn ang="0">
                  <a:pos x="284" y="161"/>
                </a:cxn>
                <a:cxn ang="0">
                  <a:pos x="344" y="146"/>
                </a:cxn>
                <a:cxn ang="0">
                  <a:pos x="391" y="96"/>
                </a:cxn>
                <a:cxn ang="0">
                  <a:pos x="361" y="81"/>
                </a:cxn>
                <a:cxn ang="0">
                  <a:pos x="344" y="58"/>
                </a:cxn>
                <a:cxn ang="0">
                  <a:pos x="311" y="68"/>
                </a:cxn>
                <a:cxn ang="0">
                  <a:pos x="271" y="86"/>
                </a:cxn>
                <a:cxn ang="0">
                  <a:pos x="269" y="54"/>
                </a:cxn>
                <a:cxn ang="0">
                  <a:pos x="277" y="51"/>
                </a:cxn>
                <a:cxn ang="0">
                  <a:pos x="275" y="40"/>
                </a:cxn>
                <a:cxn ang="0">
                  <a:pos x="260" y="25"/>
                </a:cxn>
                <a:cxn ang="0">
                  <a:pos x="260" y="8"/>
                </a:cxn>
              </a:cxnLst>
              <a:rect l="0" t="0" r="r" b="b"/>
              <a:pathLst>
                <a:path w="492" h="611">
                  <a:moveTo>
                    <a:pt x="266" y="6"/>
                  </a:moveTo>
                  <a:lnTo>
                    <a:pt x="266" y="6"/>
                  </a:lnTo>
                  <a:lnTo>
                    <a:pt x="258" y="2"/>
                  </a:lnTo>
                  <a:lnTo>
                    <a:pt x="249" y="0"/>
                  </a:lnTo>
                  <a:lnTo>
                    <a:pt x="238" y="2"/>
                  </a:lnTo>
                  <a:lnTo>
                    <a:pt x="228" y="6"/>
                  </a:lnTo>
                  <a:lnTo>
                    <a:pt x="219" y="13"/>
                  </a:lnTo>
                  <a:lnTo>
                    <a:pt x="212" y="23"/>
                  </a:lnTo>
                  <a:lnTo>
                    <a:pt x="206" y="34"/>
                  </a:lnTo>
                  <a:lnTo>
                    <a:pt x="204" y="49"/>
                  </a:lnTo>
                  <a:lnTo>
                    <a:pt x="204" y="49"/>
                  </a:lnTo>
                  <a:lnTo>
                    <a:pt x="195" y="49"/>
                  </a:lnTo>
                  <a:lnTo>
                    <a:pt x="185" y="51"/>
                  </a:lnTo>
                  <a:lnTo>
                    <a:pt x="180" y="53"/>
                  </a:lnTo>
                  <a:lnTo>
                    <a:pt x="174" y="56"/>
                  </a:lnTo>
                  <a:lnTo>
                    <a:pt x="174" y="62"/>
                  </a:lnTo>
                  <a:lnTo>
                    <a:pt x="174" y="68"/>
                  </a:lnTo>
                  <a:lnTo>
                    <a:pt x="174" y="73"/>
                  </a:lnTo>
                  <a:lnTo>
                    <a:pt x="170" y="81"/>
                  </a:lnTo>
                  <a:lnTo>
                    <a:pt x="170" y="86"/>
                  </a:lnTo>
                  <a:lnTo>
                    <a:pt x="167" y="94"/>
                  </a:lnTo>
                  <a:lnTo>
                    <a:pt x="167" y="97"/>
                  </a:lnTo>
                  <a:lnTo>
                    <a:pt x="165" y="105"/>
                  </a:lnTo>
                  <a:lnTo>
                    <a:pt x="163" y="109"/>
                  </a:lnTo>
                  <a:lnTo>
                    <a:pt x="161" y="114"/>
                  </a:lnTo>
                  <a:lnTo>
                    <a:pt x="159" y="122"/>
                  </a:lnTo>
                  <a:lnTo>
                    <a:pt x="155" y="125"/>
                  </a:lnTo>
                  <a:lnTo>
                    <a:pt x="148" y="127"/>
                  </a:lnTo>
                  <a:lnTo>
                    <a:pt x="142" y="131"/>
                  </a:lnTo>
                  <a:lnTo>
                    <a:pt x="137" y="135"/>
                  </a:lnTo>
                  <a:lnTo>
                    <a:pt x="131" y="139"/>
                  </a:lnTo>
                  <a:lnTo>
                    <a:pt x="139" y="144"/>
                  </a:lnTo>
                  <a:lnTo>
                    <a:pt x="140" y="146"/>
                  </a:lnTo>
                  <a:lnTo>
                    <a:pt x="146" y="154"/>
                  </a:lnTo>
                  <a:lnTo>
                    <a:pt x="150" y="159"/>
                  </a:lnTo>
                  <a:lnTo>
                    <a:pt x="152" y="163"/>
                  </a:lnTo>
                  <a:lnTo>
                    <a:pt x="148" y="170"/>
                  </a:lnTo>
                  <a:lnTo>
                    <a:pt x="144" y="176"/>
                  </a:lnTo>
                  <a:lnTo>
                    <a:pt x="140" y="180"/>
                  </a:lnTo>
                  <a:lnTo>
                    <a:pt x="133" y="183"/>
                  </a:lnTo>
                  <a:lnTo>
                    <a:pt x="126" y="183"/>
                  </a:lnTo>
                  <a:lnTo>
                    <a:pt x="120" y="182"/>
                  </a:lnTo>
                  <a:lnTo>
                    <a:pt x="112" y="178"/>
                  </a:lnTo>
                  <a:lnTo>
                    <a:pt x="107" y="176"/>
                  </a:lnTo>
                  <a:lnTo>
                    <a:pt x="101" y="178"/>
                  </a:lnTo>
                  <a:lnTo>
                    <a:pt x="96" y="183"/>
                  </a:lnTo>
                  <a:lnTo>
                    <a:pt x="92" y="189"/>
                  </a:lnTo>
                  <a:lnTo>
                    <a:pt x="90" y="195"/>
                  </a:lnTo>
                  <a:lnTo>
                    <a:pt x="90" y="204"/>
                  </a:lnTo>
                  <a:lnTo>
                    <a:pt x="90" y="206"/>
                  </a:lnTo>
                  <a:lnTo>
                    <a:pt x="94" y="213"/>
                  </a:lnTo>
                  <a:lnTo>
                    <a:pt x="96" y="219"/>
                  </a:lnTo>
                  <a:lnTo>
                    <a:pt x="99" y="223"/>
                  </a:lnTo>
                  <a:lnTo>
                    <a:pt x="99" y="226"/>
                  </a:lnTo>
                  <a:lnTo>
                    <a:pt x="99" y="232"/>
                  </a:lnTo>
                  <a:lnTo>
                    <a:pt x="99" y="238"/>
                  </a:lnTo>
                  <a:lnTo>
                    <a:pt x="96" y="241"/>
                  </a:lnTo>
                  <a:lnTo>
                    <a:pt x="92" y="245"/>
                  </a:lnTo>
                  <a:lnTo>
                    <a:pt x="90" y="249"/>
                  </a:lnTo>
                  <a:lnTo>
                    <a:pt x="88" y="254"/>
                  </a:lnTo>
                  <a:lnTo>
                    <a:pt x="86" y="258"/>
                  </a:lnTo>
                  <a:lnTo>
                    <a:pt x="84" y="260"/>
                  </a:lnTo>
                  <a:lnTo>
                    <a:pt x="83" y="262"/>
                  </a:lnTo>
                  <a:lnTo>
                    <a:pt x="81" y="266"/>
                  </a:lnTo>
                  <a:lnTo>
                    <a:pt x="79" y="269"/>
                  </a:lnTo>
                  <a:lnTo>
                    <a:pt x="75" y="275"/>
                  </a:lnTo>
                  <a:lnTo>
                    <a:pt x="71" y="279"/>
                  </a:lnTo>
                  <a:lnTo>
                    <a:pt x="69" y="284"/>
                  </a:lnTo>
                  <a:lnTo>
                    <a:pt x="64" y="288"/>
                  </a:lnTo>
                  <a:lnTo>
                    <a:pt x="60" y="294"/>
                  </a:lnTo>
                  <a:lnTo>
                    <a:pt x="56" y="297"/>
                  </a:lnTo>
                  <a:lnTo>
                    <a:pt x="51" y="303"/>
                  </a:lnTo>
                  <a:lnTo>
                    <a:pt x="47" y="307"/>
                  </a:lnTo>
                  <a:lnTo>
                    <a:pt x="40" y="310"/>
                  </a:lnTo>
                  <a:lnTo>
                    <a:pt x="36" y="312"/>
                  </a:lnTo>
                  <a:lnTo>
                    <a:pt x="30" y="316"/>
                  </a:lnTo>
                  <a:lnTo>
                    <a:pt x="26" y="318"/>
                  </a:lnTo>
                  <a:lnTo>
                    <a:pt x="21" y="320"/>
                  </a:lnTo>
                  <a:lnTo>
                    <a:pt x="17" y="320"/>
                  </a:lnTo>
                  <a:lnTo>
                    <a:pt x="17" y="320"/>
                  </a:lnTo>
                  <a:lnTo>
                    <a:pt x="17" y="325"/>
                  </a:lnTo>
                  <a:lnTo>
                    <a:pt x="15" y="329"/>
                  </a:lnTo>
                  <a:lnTo>
                    <a:pt x="10" y="339"/>
                  </a:lnTo>
                  <a:lnTo>
                    <a:pt x="2" y="348"/>
                  </a:lnTo>
                  <a:lnTo>
                    <a:pt x="2" y="348"/>
                  </a:lnTo>
                  <a:lnTo>
                    <a:pt x="0" y="353"/>
                  </a:lnTo>
                  <a:lnTo>
                    <a:pt x="0" y="359"/>
                  </a:lnTo>
                  <a:lnTo>
                    <a:pt x="2" y="363"/>
                  </a:lnTo>
                  <a:lnTo>
                    <a:pt x="6" y="368"/>
                  </a:lnTo>
                  <a:lnTo>
                    <a:pt x="15" y="380"/>
                  </a:lnTo>
                  <a:lnTo>
                    <a:pt x="26" y="391"/>
                  </a:lnTo>
                  <a:lnTo>
                    <a:pt x="38" y="404"/>
                  </a:lnTo>
                  <a:lnTo>
                    <a:pt x="49" y="417"/>
                  </a:lnTo>
                  <a:lnTo>
                    <a:pt x="58" y="434"/>
                  </a:lnTo>
                  <a:lnTo>
                    <a:pt x="60" y="443"/>
                  </a:lnTo>
                  <a:lnTo>
                    <a:pt x="62" y="454"/>
                  </a:lnTo>
                  <a:lnTo>
                    <a:pt x="62" y="454"/>
                  </a:lnTo>
                  <a:lnTo>
                    <a:pt x="66" y="471"/>
                  </a:lnTo>
                  <a:lnTo>
                    <a:pt x="68" y="475"/>
                  </a:lnTo>
                  <a:lnTo>
                    <a:pt x="71" y="479"/>
                  </a:lnTo>
                  <a:lnTo>
                    <a:pt x="71" y="479"/>
                  </a:lnTo>
                  <a:lnTo>
                    <a:pt x="77" y="482"/>
                  </a:lnTo>
                  <a:lnTo>
                    <a:pt x="83" y="481"/>
                  </a:lnTo>
                  <a:lnTo>
                    <a:pt x="94" y="479"/>
                  </a:lnTo>
                  <a:lnTo>
                    <a:pt x="99" y="479"/>
                  </a:lnTo>
                  <a:lnTo>
                    <a:pt x="103" y="484"/>
                  </a:lnTo>
                  <a:lnTo>
                    <a:pt x="107" y="495"/>
                  </a:lnTo>
                  <a:lnTo>
                    <a:pt x="109" y="514"/>
                  </a:lnTo>
                  <a:lnTo>
                    <a:pt x="109" y="514"/>
                  </a:lnTo>
                  <a:lnTo>
                    <a:pt x="109" y="523"/>
                  </a:lnTo>
                  <a:lnTo>
                    <a:pt x="112" y="531"/>
                  </a:lnTo>
                  <a:lnTo>
                    <a:pt x="120" y="548"/>
                  </a:lnTo>
                  <a:lnTo>
                    <a:pt x="127" y="566"/>
                  </a:lnTo>
                  <a:lnTo>
                    <a:pt x="129" y="576"/>
                  </a:lnTo>
                  <a:lnTo>
                    <a:pt x="131" y="585"/>
                  </a:lnTo>
                  <a:lnTo>
                    <a:pt x="131" y="585"/>
                  </a:lnTo>
                  <a:lnTo>
                    <a:pt x="131" y="591"/>
                  </a:lnTo>
                  <a:lnTo>
                    <a:pt x="135" y="593"/>
                  </a:lnTo>
                  <a:lnTo>
                    <a:pt x="139" y="594"/>
                  </a:lnTo>
                  <a:lnTo>
                    <a:pt x="142" y="593"/>
                  </a:lnTo>
                  <a:lnTo>
                    <a:pt x="154" y="591"/>
                  </a:lnTo>
                  <a:lnTo>
                    <a:pt x="159" y="591"/>
                  </a:lnTo>
                  <a:lnTo>
                    <a:pt x="165" y="593"/>
                  </a:lnTo>
                  <a:lnTo>
                    <a:pt x="165" y="593"/>
                  </a:lnTo>
                  <a:lnTo>
                    <a:pt x="169" y="594"/>
                  </a:lnTo>
                  <a:lnTo>
                    <a:pt x="172" y="594"/>
                  </a:lnTo>
                  <a:lnTo>
                    <a:pt x="178" y="594"/>
                  </a:lnTo>
                  <a:lnTo>
                    <a:pt x="182" y="593"/>
                  </a:lnTo>
                  <a:lnTo>
                    <a:pt x="189" y="585"/>
                  </a:lnTo>
                  <a:lnTo>
                    <a:pt x="198" y="576"/>
                  </a:lnTo>
                  <a:lnTo>
                    <a:pt x="206" y="566"/>
                  </a:lnTo>
                  <a:lnTo>
                    <a:pt x="213" y="561"/>
                  </a:lnTo>
                  <a:lnTo>
                    <a:pt x="217" y="559"/>
                  </a:lnTo>
                  <a:lnTo>
                    <a:pt x="221" y="559"/>
                  </a:lnTo>
                  <a:lnTo>
                    <a:pt x="223" y="559"/>
                  </a:lnTo>
                  <a:lnTo>
                    <a:pt x="226" y="563"/>
                  </a:lnTo>
                  <a:lnTo>
                    <a:pt x="226" y="563"/>
                  </a:lnTo>
                  <a:lnTo>
                    <a:pt x="241" y="587"/>
                  </a:lnTo>
                  <a:lnTo>
                    <a:pt x="245" y="594"/>
                  </a:lnTo>
                  <a:lnTo>
                    <a:pt x="249" y="600"/>
                  </a:lnTo>
                  <a:lnTo>
                    <a:pt x="254" y="600"/>
                  </a:lnTo>
                  <a:lnTo>
                    <a:pt x="262" y="600"/>
                  </a:lnTo>
                  <a:lnTo>
                    <a:pt x="292" y="589"/>
                  </a:lnTo>
                  <a:lnTo>
                    <a:pt x="292" y="589"/>
                  </a:lnTo>
                  <a:lnTo>
                    <a:pt x="299" y="587"/>
                  </a:lnTo>
                  <a:lnTo>
                    <a:pt x="305" y="587"/>
                  </a:lnTo>
                  <a:lnTo>
                    <a:pt x="312" y="589"/>
                  </a:lnTo>
                  <a:lnTo>
                    <a:pt x="318" y="591"/>
                  </a:lnTo>
                  <a:lnTo>
                    <a:pt x="327" y="600"/>
                  </a:lnTo>
                  <a:lnTo>
                    <a:pt x="337" y="611"/>
                  </a:lnTo>
                  <a:lnTo>
                    <a:pt x="337" y="611"/>
                  </a:lnTo>
                  <a:lnTo>
                    <a:pt x="340" y="609"/>
                  </a:lnTo>
                  <a:lnTo>
                    <a:pt x="344" y="606"/>
                  </a:lnTo>
                  <a:lnTo>
                    <a:pt x="350" y="600"/>
                  </a:lnTo>
                  <a:lnTo>
                    <a:pt x="352" y="591"/>
                  </a:lnTo>
                  <a:lnTo>
                    <a:pt x="352" y="581"/>
                  </a:lnTo>
                  <a:lnTo>
                    <a:pt x="350" y="563"/>
                  </a:lnTo>
                  <a:lnTo>
                    <a:pt x="348" y="552"/>
                  </a:lnTo>
                  <a:lnTo>
                    <a:pt x="348" y="552"/>
                  </a:lnTo>
                  <a:lnTo>
                    <a:pt x="357" y="537"/>
                  </a:lnTo>
                  <a:lnTo>
                    <a:pt x="365" y="523"/>
                  </a:lnTo>
                  <a:lnTo>
                    <a:pt x="368" y="516"/>
                  </a:lnTo>
                  <a:lnTo>
                    <a:pt x="367" y="510"/>
                  </a:lnTo>
                  <a:lnTo>
                    <a:pt x="363" y="505"/>
                  </a:lnTo>
                  <a:lnTo>
                    <a:pt x="354" y="499"/>
                  </a:lnTo>
                  <a:lnTo>
                    <a:pt x="354" y="499"/>
                  </a:lnTo>
                  <a:lnTo>
                    <a:pt x="340" y="494"/>
                  </a:lnTo>
                  <a:lnTo>
                    <a:pt x="337" y="490"/>
                  </a:lnTo>
                  <a:lnTo>
                    <a:pt x="340" y="488"/>
                  </a:lnTo>
                  <a:lnTo>
                    <a:pt x="350" y="490"/>
                  </a:lnTo>
                  <a:lnTo>
                    <a:pt x="363" y="490"/>
                  </a:lnTo>
                  <a:lnTo>
                    <a:pt x="376" y="490"/>
                  </a:lnTo>
                  <a:lnTo>
                    <a:pt x="385" y="488"/>
                  </a:lnTo>
                  <a:lnTo>
                    <a:pt x="389" y="486"/>
                  </a:lnTo>
                  <a:lnTo>
                    <a:pt x="391" y="482"/>
                  </a:lnTo>
                  <a:lnTo>
                    <a:pt x="391" y="482"/>
                  </a:lnTo>
                  <a:lnTo>
                    <a:pt x="395" y="475"/>
                  </a:lnTo>
                  <a:lnTo>
                    <a:pt x="397" y="471"/>
                  </a:lnTo>
                  <a:lnTo>
                    <a:pt x="400" y="466"/>
                  </a:lnTo>
                  <a:lnTo>
                    <a:pt x="402" y="462"/>
                  </a:lnTo>
                  <a:lnTo>
                    <a:pt x="402" y="460"/>
                  </a:lnTo>
                  <a:lnTo>
                    <a:pt x="397" y="449"/>
                  </a:lnTo>
                  <a:lnTo>
                    <a:pt x="397" y="449"/>
                  </a:lnTo>
                  <a:lnTo>
                    <a:pt x="395" y="445"/>
                  </a:lnTo>
                  <a:lnTo>
                    <a:pt x="395" y="441"/>
                  </a:lnTo>
                  <a:lnTo>
                    <a:pt x="398" y="438"/>
                  </a:lnTo>
                  <a:lnTo>
                    <a:pt x="402" y="438"/>
                  </a:lnTo>
                  <a:lnTo>
                    <a:pt x="408" y="438"/>
                  </a:lnTo>
                  <a:lnTo>
                    <a:pt x="413" y="441"/>
                  </a:lnTo>
                  <a:lnTo>
                    <a:pt x="419" y="445"/>
                  </a:lnTo>
                  <a:lnTo>
                    <a:pt x="425" y="452"/>
                  </a:lnTo>
                  <a:lnTo>
                    <a:pt x="425" y="452"/>
                  </a:lnTo>
                  <a:lnTo>
                    <a:pt x="430" y="458"/>
                  </a:lnTo>
                  <a:lnTo>
                    <a:pt x="432" y="458"/>
                  </a:lnTo>
                  <a:lnTo>
                    <a:pt x="436" y="454"/>
                  </a:lnTo>
                  <a:lnTo>
                    <a:pt x="440" y="449"/>
                  </a:lnTo>
                  <a:lnTo>
                    <a:pt x="443" y="443"/>
                  </a:lnTo>
                  <a:lnTo>
                    <a:pt x="449" y="438"/>
                  </a:lnTo>
                  <a:lnTo>
                    <a:pt x="454" y="432"/>
                  </a:lnTo>
                  <a:lnTo>
                    <a:pt x="462" y="430"/>
                  </a:lnTo>
                  <a:lnTo>
                    <a:pt x="462" y="430"/>
                  </a:lnTo>
                  <a:lnTo>
                    <a:pt x="468" y="432"/>
                  </a:lnTo>
                  <a:lnTo>
                    <a:pt x="469" y="432"/>
                  </a:lnTo>
                  <a:lnTo>
                    <a:pt x="471" y="430"/>
                  </a:lnTo>
                  <a:lnTo>
                    <a:pt x="471" y="428"/>
                  </a:lnTo>
                  <a:lnTo>
                    <a:pt x="469" y="423"/>
                  </a:lnTo>
                  <a:lnTo>
                    <a:pt x="456" y="404"/>
                  </a:lnTo>
                  <a:lnTo>
                    <a:pt x="456" y="404"/>
                  </a:lnTo>
                  <a:lnTo>
                    <a:pt x="447" y="393"/>
                  </a:lnTo>
                  <a:lnTo>
                    <a:pt x="438" y="387"/>
                  </a:lnTo>
                  <a:lnTo>
                    <a:pt x="425" y="381"/>
                  </a:lnTo>
                  <a:lnTo>
                    <a:pt x="425" y="380"/>
                  </a:lnTo>
                  <a:lnTo>
                    <a:pt x="426" y="380"/>
                  </a:lnTo>
                  <a:lnTo>
                    <a:pt x="453" y="376"/>
                  </a:lnTo>
                  <a:lnTo>
                    <a:pt x="453" y="376"/>
                  </a:lnTo>
                  <a:lnTo>
                    <a:pt x="458" y="374"/>
                  </a:lnTo>
                  <a:lnTo>
                    <a:pt x="462" y="372"/>
                  </a:lnTo>
                  <a:lnTo>
                    <a:pt x="464" y="368"/>
                  </a:lnTo>
                  <a:lnTo>
                    <a:pt x="466" y="365"/>
                  </a:lnTo>
                  <a:lnTo>
                    <a:pt x="466" y="361"/>
                  </a:lnTo>
                  <a:lnTo>
                    <a:pt x="464" y="359"/>
                  </a:lnTo>
                  <a:lnTo>
                    <a:pt x="460" y="355"/>
                  </a:lnTo>
                  <a:lnTo>
                    <a:pt x="456" y="353"/>
                  </a:lnTo>
                  <a:lnTo>
                    <a:pt x="456" y="353"/>
                  </a:lnTo>
                  <a:lnTo>
                    <a:pt x="445" y="350"/>
                  </a:lnTo>
                  <a:lnTo>
                    <a:pt x="443" y="350"/>
                  </a:lnTo>
                  <a:lnTo>
                    <a:pt x="445" y="350"/>
                  </a:lnTo>
                  <a:lnTo>
                    <a:pt x="458" y="348"/>
                  </a:lnTo>
                  <a:lnTo>
                    <a:pt x="466" y="346"/>
                  </a:lnTo>
                  <a:lnTo>
                    <a:pt x="466" y="346"/>
                  </a:lnTo>
                  <a:lnTo>
                    <a:pt x="466" y="342"/>
                  </a:lnTo>
                  <a:lnTo>
                    <a:pt x="464" y="339"/>
                  </a:lnTo>
                  <a:lnTo>
                    <a:pt x="458" y="335"/>
                  </a:lnTo>
                  <a:lnTo>
                    <a:pt x="438" y="322"/>
                  </a:lnTo>
                  <a:lnTo>
                    <a:pt x="438" y="322"/>
                  </a:lnTo>
                  <a:lnTo>
                    <a:pt x="434" y="320"/>
                  </a:lnTo>
                  <a:lnTo>
                    <a:pt x="434" y="316"/>
                  </a:lnTo>
                  <a:lnTo>
                    <a:pt x="438" y="310"/>
                  </a:lnTo>
                  <a:lnTo>
                    <a:pt x="443" y="303"/>
                  </a:lnTo>
                  <a:lnTo>
                    <a:pt x="449" y="296"/>
                  </a:lnTo>
                  <a:lnTo>
                    <a:pt x="449" y="296"/>
                  </a:lnTo>
                  <a:lnTo>
                    <a:pt x="451" y="294"/>
                  </a:lnTo>
                  <a:lnTo>
                    <a:pt x="453" y="296"/>
                  </a:lnTo>
                  <a:lnTo>
                    <a:pt x="458" y="307"/>
                  </a:lnTo>
                  <a:lnTo>
                    <a:pt x="462" y="310"/>
                  </a:lnTo>
                  <a:lnTo>
                    <a:pt x="466" y="314"/>
                  </a:lnTo>
                  <a:lnTo>
                    <a:pt x="468" y="314"/>
                  </a:lnTo>
                  <a:lnTo>
                    <a:pt x="469" y="312"/>
                  </a:lnTo>
                  <a:lnTo>
                    <a:pt x="473" y="307"/>
                  </a:lnTo>
                  <a:lnTo>
                    <a:pt x="473" y="307"/>
                  </a:lnTo>
                  <a:lnTo>
                    <a:pt x="475" y="299"/>
                  </a:lnTo>
                  <a:lnTo>
                    <a:pt x="475" y="299"/>
                  </a:lnTo>
                  <a:lnTo>
                    <a:pt x="475" y="305"/>
                  </a:lnTo>
                  <a:lnTo>
                    <a:pt x="475" y="305"/>
                  </a:lnTo>
                  <a:lnTo>
                    <a:pt x="479" y="310"/>
                  </a:lnTo>
                  <a:lnTo>
                    <a:pt x="482" y="310"/>
                  </a:lnTo>
                  <a:lnTo>
                    <a:pt x="486" y="312"/>
                  </a:lnTo>
                  <a:lnTo>
                    <a:pt x="490" y="310"/>
                  </a:lnTo>
                  <a:lnTo>
                    <a:pt x="492" y="305"/>
                  </a:lnTo>
                  <a:lnTo>
                    <a:pt x="492" y="296"/>
                  </a:lnTo>
                  <a:lnTo>
                    <a:pt x="490" y="284"/>
                  </a:lnTo>
                  <a:lnTo>
                    <a:pt x="490" y="284"/>
                  </a:lnTo>
                  <a:lnTo>
                    <a:pt x="484" y="251"/>
                  </a:lnTo>
                  <a:lnTo>
                    <a:pt x="482" y="245"/>
                  </a:lnTo>
                  <a:lnTo>
                    <a:pt x="481" y="243"/>
                  </a:lnTo>
                  <a:lnTo>
                    <a:pt x="479" y="243"/>
                  </a:lnTo>
                  <a:lnTo>
                    <a:pt x="471" y="253"/>
                  </a:lnTo>
                  <a:lnTo>
                    <a:pt x="464" y="258"/>
                  </a:lnTo>
                  <a:lnTo>
                    <a:pt x="451" y="266"/>
                  </a:lnTo>
                  <a:lnTo>
                    <a:pt x="451" y="266"/>
                  </a:lnTo>
                  <a:lnTo>
                    <a:pt x="445" y="269"/>
                  </a:lnTo>
                  <a:lnTo>
                    <a:pt x="434" y="277"/>
                  </a:lnTo>
                  <a:lnTo>
                    <a:pt x="428" y="279"/>
                  </a:lnTo>
                  <a:lnTo>
                    <a:pt x="423" y="279"/>
                  </a:lnTo>
                  <a:lnTo>
                    <a:pt x="421" y="277"/>
                  </a:lnTo>
                  <a:lnTo>
                    <a:pt x="423" y="269"/>
                  </a:lnTo>
                  <a:lnTo>
                    <a:pt x="423" y="269"/>
                  </a:lnTo>
                  <a:lnTo>
                    <a:pt x="426" y="269"/>
                  </a:lnTo>
                  <a:lnTo>
                    <a:pt x="436" y="264"/>
                  </a:lnTo>
                  <a:lnTo>
                    <a:pt x="451" y="253"/>
                  </a:lnTo>
                  <a:lnTo>
                    <a:pt x="473" y="232"/>
                  </a:lnTo>
                  <a:lnTo>
                    <a:pt x="473" y="232"/>
                  </a:lnTo>
                  <a:lnTo>
                    <a:pt x="488" y="217"/>
                  </a:lnTo>
                  <a:lnTo>
                    <a:pt x="492" y="213"/>
                  </a:lnTo>
                  <a:lnTo>
                    <a:pt x="492" y="211"/>
                  </a:lnTo>
                  <a:lnTo>
                    <a:pt x="490" y="210"/>
                  </a:lnTo>
                  <a:lnTo>
                    <a:pt x="482" y="208"/>
                  </a:lnTo>
                  <a:lnTo>
                    <a:pt x="451" y="198"/>
                  </a:lnTo>
                  <a:lnTo>
                    <a:pt x="451" y="198"/>
                  </a:lnTo>
                  <a:lnTo>
                    <a:pt x="443" y="195"/>
                  </a:lnTo>
                  <a:lnTo>
                    <a:pt x="438" y="191"/>
                  </a:lnTo>
                  <a:lnTo>
                    <a:pt x="426" y="182"/>
                  </a:lnTo>
                  <a:lnTo>
                    <a:pt x="408" y="163"/>
                  </a:lnTo>
                  <a:lnTo>
                    <a:pt x="398" y="157"/>
                  </a:lnTo>
                  <a:lnTo>
                    <a:pt x="393" y="155"/>
                  </a:lnTo>
                  <a:lnTo>
                    <a:pt x="387" y="155"/>
                  </a:lnTo>
                  <a:lnTo>
                    <a:pt x="382" y="157"/>
                  </a:lnTo>
                  <a:lnTo>
                    <a:pt x="374" y="161"/>
                  </a:lnTo>
                  <a:lnTo>
                    <a:pt x="367" y="167"/>
                  </a:lnTo>
                  <a:lnTo>
                    <a:pt x="357" y="174"/>
                  </a:lnTo>
                  <a:lnTo>
                    <a:pt x="357" y="174"/>
                  </a:lnTo>
                  <a:lnTo>
                    <a:pt x="348" y="180"/>
                  </a:lnTo>
                  <a:lnTo>
                    <a:pt x="342" y="185"/>
                  </a:lnTo>
                  <a:lnTo>
                    <a:pt x="337" y="187"/>
                  </a:lnTo>
                  <a:lnTo>
                    <a:pt x="331" y="187"/>
                  </a:lnTo>
                  <a:lnTo>
                    <a:pt x="327" y="185"/>
                  </a:lnTo>
                  <a:lnTo>
                    <a:pt x="324" y="183"/>
                  </a:lnTo>
                  <a:lnTo>
                    <a:pt x="318" y="178"/>
                  </a:lnTo>
                  <a:lnTo>
                    <a:pt x="311" y="170"/>
                  </a:lnTo>
                  <a:lnTo>
                    <a:pt x="307" y="168"/>
                  </a:lnTo>
                  <a:lnTo>
                    <a:pt x="301" y="167"/>
                  </a:lnTo>
                  <a:lnTo>
                    <a:pt x="296" y="167"/>
                  </a:lnTo>
                  <a:lnTo>
                    <a:pt x="290" y="167"/>
                  </a:lnTo>
                  <a:lnTo>
                    <a:pt x="283" y="170"/>
                  </a:lnTo>
                  <a:lnTo>
                    <a:pt x="271" y="176"/>
                  </a:lnTo>
                  <a:lnTo>
                    <a:pt x="271" y="176"/>
                  </a:lnTo>
                  <a:lnTo>
                    <a:pt x="264" y="180"/>
                  </a:lnTo>
                  <a:lnTo>
                    <a:pt x="260" y="182"/>
                  </a:lnTo>
                  <a:lnTo>
                    <a:pt x="262" y="178"/>
                  </a:lnTo>
                  <a:lnTo>
                    <a:pt x="266" y="172"/>
                  </a:lnTo>
                  <a:lnTo>
                    <a:pt x="275" y="167"/>
                  </a:lnTo>
                  <a:lnTo>
                    <a:pt x="284" y="161"/>
                  </a:lnTo>
                  <a:lnTo>
                    <a:pt x="297" y="157"/>
                  </a:lnTo>
                  <a:lnTo>
                    <a:pt x="309" y="155"/>
                  </a:lnTo>
                  <a:lnTo>
                    <a:pt x="309" y="155"/>
                  </a:lnTo>
                  <a:lnTo>
                    <a:pt x="326" y="155"/>
                  </a:lnTo>
                  <a:lnTo>
                    <a:pt x="337" y="154"/>
                  </a:lnTo>
                  <a:lnTo>
                    <a:pt x="342" y="150"/>
                  </a:lnTo>
                  <a:lnTo>
                    <a:pt x="344" y="146"/>
                  </a:lnTo>
                  <a:lnTo>
                    <a:pt x="350" y="133"/>
                  </a:lnTo>
                  <a:lnTo>
                    <a:pt x="355" y="125"/>
                  </a:lnTo>
                  <a:lnTo>
                    <a:pt x="365" y="118"/>
                  </a:lnTo>
                  <a:lnTo>
                    <a:pt x="365" y="118"/>
                  </a:lnTo>
                  <a:lnTo>
                    <a:pt x="378" y="107"/>
                  </a:lnTo>
                  <a:lnTo>
                    <a:pt x="391" y="96"/>
                  </a:lnTo>
                  <a:lnTo>
                    <a:pt x="391" y="96"/>
                  </a:lnTo>
                  <a:lnTo>
                    <a:pt x="380" y="94"/>
                  </a:lnTo>
                  <a:lnTo>
                    <a:pt x="378" y="92"/>
                  </a:lnTo>
                  <a:lnTo>
                    <a:pt x="374" y="86"/>
                  </a:lnTo>
                  <a:lnTo>
                    <a:pt x="374" y="86"/>
                  </a:lnTo>
                  <a:lnTo>
                    <a:pt x="365" y="86"/>
                  </a:lnTo>
                  <a:lnTo>
                    <a:pt x="363" y="84"/>
                  </a:lnTo>
                  <a:lnTo>
                    <a:pt x="361" y="81"/>
                  </a:lnTo>
                  <a:lnTo>
                    <a:pt x="350" y="81"/>
                  </a:lnTo>
                  <a:lnTo>
                    <a:pt x="350" y="81"/>
                  </a:lnTo>
                  <a:lnTo>
                    <a:pt x="346" y="75"/>
                  </a:lnTo>
                  <a:lnTo>
                    <a:pt x="346" y="71"/>
                  </a:lnTo>
                  <a:lnTo>
                    <a:pt x="346" y="64"/>
                  </a:lnTo>
                  <a:lnTo>
                    <a:pt x="346" y="62"/>
                  </a:lnTo>
                  <a:lnTo>
                    <a:pt x="344" y="58"/>
                  </a:lnTo>
                  <a:lnTo>
                    <a:pt x="340" y="56"/>
                  </a:lnTo>
                  <a:lnTo>
                    <a:pt x="333" y="54"/>
                  </a:lnTo>
                  <a:lnTo>
                    <a:pt x="333" y="54"/>
                  </a:lnTo>
                  <a:lnTo>
                    <a:pt x="326" y="56"/>
                  </a:lnTo>
                  <a:lnTo>
                    <a:pt x="322" y="60"/>
                  </a:lnTo>
                  <a:lnTo>
                    <a:pt x="316" y="64"/>
                  </a:lnTo>
                  <a:lnTo>
                    <a:pt x="311" y="68"/>
                  </a:lnTo>
                  <a:lnTo>
                    <a:pt x="311" y="68"/>
                  </a:lnTo>
                  <a:lnTo>
                    <a:pt x="307" y="75"/>
                  </a:lnTo>
                  <a:lnTo>
                    <a:pt x="301" y="83"/>
                  </a:lnTo>
                  <a:lnTo>
                    <a:pt x="294" y="88"/>
                  </a:lnTo>
                  <a:lnTo>
                    <a:pt x="288" y="96"/>
                  </a:lnTo>
                  <a:lnTo>
                    <a:pt x="281" y="96"/>
                  </a:lnTo>
                  <a:lnTo>
                    <a:pt x="271" y="86"/>
                  </a:lnTo>
                  <a:lnTo>
                    <a:pt x="273" y="81"/>
                  </a:lnTo>
                  <a:lnTo>
                    <a:pt x="273" y="81"/>
                  </a:lnTo>
                  <a:lnTo>
                    <a:pt x="271" y="64"/>
                  </a:lnTo>
                  <a:lnTo>
                    <a:pt x="269" y="56"/>
                  </a:lnTo>
                  <a:lnTo>
                    <a:pt x="269" y="56"/>
                  </a:lnTo>
                  <a:lnTo>
                    <a:pt x="269" y="56"/>
                  </a:lnTo>
                  <a:lnTo>
                    <a:pt x="269" y="54"/>
                  </a:lnTo>
                  <a:lnTo>
                    <a:pt x="269" y="54"/>
                  </a:lnTo>
                  <a:lnTo>
                    <a:pt x="273" y="53"/>
                  </a:lnTo>
                  <a:lnTo>
                    <a:pt x="273" y="53"/>
                  </a:lnTo>
                  <a:lnTo>
                    <a:pt x="275" y="53"/>
                  </a:lnTo>
                  <a:lnTo>
                    <a:pt x="275" y="53"/>
                  </a:lnTo>
                  <a:lnTo>
                    <a:pt x="277" y="51"/>
                  </a:lnTo>
                  <a:lnTo>
                    <a:pt x="277" y="51"/>
                  </a:lnTo>
                  <a:lnTo>
                    <a:pt x="275" y="51"/>
                  </a:lnTo>
                  <a:lnTo>
                    <a:pt x="271" y="47"/>
                  </a:lnTo>
                  <a:lnTo>
                    <a:pt x="271" y="47"/>
                  </a:lnTo>
                  <a:lnTo>
                    <a:pt x="271" y="45"/>
                  </a:lnTo>
                  <a:lnTo>
                    <a:pt x="271" y="43"/>
                  </a:lnTo>
                  <a:lnTo>
                    <a:pt x="275" y="41"/>
                  </a:lnTo>
                  <a:lnTo>
                    <a:pt x="275" y="40"/>
                  </a:lnTo>
                  <a:lnTo>
                    <a:pt x="273" y="38"/>
                  </a:lnTo>
                  <a:lnTo>
                    <a:pt x="264" y="30"/>
                  </a:lnTo>
                  <a:lnTo>
                    <a:pt x="264" y="30"/>
                  </a:lnTo>
                  <a:lnTo>
                    <a:pt x="260" y="28"/>
                  </a:lnTo>
                  <a:lnTo>
                    <a:pt x="258" y="26"/>
                  </a:lnTo>
                  <a:lnTo>
                    <a:pt x="258" y="25"/>
                  </a:lnTo>
                  <a:lnTo>
                    <a:pt x="260" y="25"/>
                  </a:lnTo>
                  <a:lnTo>
                    <a:pt x="266" y="23"/>
                  </a:lnTo>
                  <a:lnTo>
                    <a:pt x="266" y="21"/>
                  </a:lnTo>
                  <a:lnTo>
                    <a:pt x="264" y="17"/>
                  </a:lnTo>
                  <a:lnTo>
                    <a:pt x="264" y="17"/>
                  </a:lnTo>
                  <a:lnTo>
                    <a:pt x="260" y="12"/>
                  </a:lnTo>
                  <a:lnTo>
                    <a:pt x="260" y="10"/>
                  </a:lnTo>
                  <a:lnTo>
                    <a:pt x="260" y="8"/>
                  </a:lnTo>
                  <a:lnTo>
                    <a:pt x="262" y="8"/>
                  </a:lnTo>
                  <a:lnTo>
                    <a:pt x="266" y="8"/>
                  </a:lnTo>
                  <a:lnTo>
                    <a:pt x="268" y="8"/>
                  </a:lnTo>
                  <a:lnTo>
                    <a:pt x="266" y="6"/>
                  </a:lnTo>
                  <a:lnTo>
                    <a:pt x="266" y="6"/>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 name="Freeform 46">
              <a:extLst>
                <a:ext uri="{FF2B5EF4-FFF2-40B4-BE49-F238E27FC236}">
                  <a16:creationId xmlns:a16="http://schemas.microsoft.com/office/drawing/2014/main" id="{877726C6-8FB9-4074-A2F0-88C0FF86D713}"/>
                </a:ext>
              </a:extLst>
            </p:cNvPr>
            <p:cNvSpPr>
              <a:spLocks/>
            </p:cNvSpPr>
            <p:nvPr/>
          </p:nvSpPr>
          <p:spPr bwMode="auto">
            <a:xfrm>
              <a:off x="5809146" y="4168648"/>
              <a:ext cx="539549" cy="657632"/>
            </a:xfrm>
            <a:custGeom>
              <a:avLst/>
              <a:gdLst/>
              <a:ahLst/>
              <a:cxnLst>
                <a:cxn ang="0">
                  <a:pos x="540" y="587"/>
                </a:cxn>
                <a:cxn ang="0">
                  <a:pos x="570" y="564"/>
                </a:cxn>
                <a:cxn ang="0">
                  <a:pos x="568" y="532"/>
                </a:cxn>
                <a:cxn ang="0">
                  <a:pos x="587" y="499"/>
                </a:cxn>
                <a:cxn ang="0">
                  <a:pos x="594" y="461"/>
                </a:cxn>
                <a:cxn ang="0">
                  <a:pos x="536" y="452"/>
                </a:cxn>
                <a:cxn ang="0">
                  <a:pos x="488" y="443"/>
                </a:cxn>
                <a:cxn ang="0">
                  <a:pos x="486" y="405"/>
                </a:cxn>
                <a:cxn ang="0">
                  <a:pos x="432" y="351"/>
                </a:cxn>
                <a:cxn ang="0">
                  <a:pos x="469" y="310"/>
                </a:cxn>
                <a:cxn ang="0">
                  <a:pos x="450" y="280"/>
                </a:cxn>
                <a:cxn ang="0">
                  <a:pos x="476" y="269"/>
                </a:cxn>
                <a:cxn ang="0">
                  <a:pos x="521" y="271"/>
                </a:cxn>
                <a:cxn ang="0">
                  <a:pos x="508" y="222"/>
                </a:cxn>
                <a:cxn ang="0">
                  <a:pos x="471" y="228"/>
                </a:cxn>
                <a:cxn ang="0">
                  <a:pos x="430" y="256"/>
                </a:cxn>
                <a:cxn ang="0">
                  <a:pos x="405" y="202"/>
                </a:cxn>
                <a:cxn ang="0">
                  <a:pos x="372" y="196"/>
                </a:cxn>
                <a:cxn ang="0">
                  <a:pos x="381" y="129"/>
                </a:cxn>
                <a:cxn ang="0">
                  <a:pos x="347" y="116"/>
                </a:cxn>
                <a:cxn ang="0">
                  <a:pos x="319" y="88"/>
                </a:cxn>
                <a:cxn ang="0">
                  <a:pos x="265" y="75"/>
                </a:cxn>
                <a:cxn ang="0">
                  <a:pos x="220" y="30"/>
                </a:cxn>
                <a:cxn ang="0">
                  <a:pos x="155" y="9"/>
                </a:cxn>
                <a:cxn ang="0">
                  <a:pos x="155" y="47"/>
                </a:cxn>
                <a:cxn ang="0">
                  <a:pos x="190" y="63"/>
                </a:cxn>
                <a:cxn ang="0">
                  <a:pos x="202" y="101"/>
                </a:cxn>
                <a:cxn ang="0">
                  <a:pos x="142" y="133"/>
                </a:cxn>
                <a:cxn ang="0">
                  <a:pos x="101" y="86"/>
                </a:cxn>
                <a:cxn ang="0">
                  <a:pos x="75" y="106"/>
                </a:cxn>
                <a:cxn ang="0">
                  <a:pos x="76" y="157"/>
                </a:cxn>
                <a:cxn ang="0">
                  <a:pos x="50" y="175"/>
                </a:cxn>
                <a:cxn ang="0">
                  <a:pos x="41" y="226"/>
                </a:cxn>
                <a:cxn ang="0">
                  <a:pos x="0" y="228"/>
                </a:cxn>
                <a:cxn ang="0">
                  <a:pos x="30" y="258"/>
                </a:cxn>
                <a:cxn ang="0">
                  <a:pos x="47" y="297"/>
                </a:cxn>
                <a:cxn ang="0">
                  <a:pos x="86" y="319"/>
                </a:cxn>
                <a:cxn ang="0">
                  <a:pos x="118" y="306"/>
                </a:cxn>
                <a:cxn ang="0">
                  <a:pos x="138" y="387"/>
                </a:cxn>
                <a:cxn ang="0">
                  <a:pos x="95" y="417"/>
                </a:cxn>
                <a:cxn ang="0">
                  <a:pos x="84" y="478"/>
                </a:cxn>
                <a:cxn ang="0">
                  <a:pos x="129" y="499"/>
                </a:cxn>
                <a:cxn ang="0">
                  <a:pos x="147" y="530"/>
                </a:cxn>
                <a:cxn ang="0">
                  <a:pos x="144" y="592"/>
                </a:cxn>
                <a:cxn ang="0">
                  <a:pos x="157" y="620"/>
                </a:cxn>
                <a:cxn ang="0">
                  <a:pos x="185" y="686"/>
                </a:cxn>
                <a:cxn ang="0">
                  <a:pos x="237" y="654"/>
                </a:cxn>
                <a:cxn ang="0">
                  <a:pos x="273" y="663"/>
                </a:cxn>
                <a:cxn ang="0">
                  <a:pos x="248" y="702"/>
                </a:cxn>
                <a:cxn ang="0">
                  <a:pos x="269" y="714"/>
                </a:cxn>
                <a:cxn ang="0">
                  <a:pos x="299" y="678"/>
                </a:cxn>
                <a:cxn ang="0">
                  <a:pos x="314" y="663"/>
                </a:cxn>
                <a:cxn ang="0">
                  <a:pos x="327" y="673"/>
                </a:cxn>
                <a:cxn ang="0">
                  <a:pos x="351" y="701"/>
                </a:cxn>
                <a:cxn ang="0">
                  <a:pos x="428" y="714"/>
                </a:cxn>
                <a:cxn ang="0">
                  <a:pos x="460" y="715"/>
                </a:cxn>
                <a:cxn ang="0">
                  <a:pos x="491" y="684"/>
                </a:cxn>
                <a:cxn ang="0">
                  <a:pos x="508" y="659"/>
                </a:cxn>
                <a:cxn ang="0">
                  <a:pos x="519" y="628"/>
                </a:cxn>
              </a:cxnLst>
              <a:rect l="0" t="0" r="r" b="b"/>
              <a:pathLst>
                <a:path w="594" h="725">
                  <a:moveTo>
                    <a:pt x="510" y="600"/>
                  </a:moveTo>
                  <a:lnTo>
                    <a:pt x="512" y="594"/>
                  </a:lnTo>
                  <a:lnTo>
                    <a:pt x="516" y="588"/>
                  </a:lnTo>
                  <a:lnTo>
                    <a:pt x="521" y="583"/>
                  </a:lnTo>
                  <a:lnTo>
                    <a:pt x="527" y="581"/>
                  </a:lnTo>
                  <a:lnTo>
                    <a:pt x="532" y="583"/>
                  </a:lnTo>
                  <a:lnTo>
                    <a:pt x="540" y="587"/>
                  </a:lnTo>
                  <a:lnTo>
                    <a:pt x="546" y="588"/>
                  </a:lnTo>
                  <a:lnTo>
                    <a:pt x="553" y="588"/>
                  </a:lnTo>
                  <a:lnTo>
                    <a:pt x="560" y="585"/>
                  </a:lnTo>
                  <a:lnTo>
                    <a:pt x="564" y="581"/>
                  </a:lnTo>
                  <a:lnTo>
                    <a:pt x="568" y="575"/>
                  </a:lnTo>
                  <a:lnTo>
                    <a:pt x="572" y="568"/>
                  </a:lnTo>
                  <a:lnTo>
                    <a:pt x="570" y="564"/>
                  </a:lnTo>
                  <a:lnTo>
                    <a:pt x="566" y="559"/>
                  </a:lnTo>
                  <a:lnTo>
                    <a:pt x="560" y="551"/>
                  </a:lnTo>
                  <a:lnTo>
                    <a:pt x="559" y="549"/>
                  </a:lnTo>
                  <a:lnTo>
                    <a:pt x="551" y="544"/>
                  </a:lnTo>
                  <a:lnTo>
                    <a:pt x="557" y="540"/>
                  </a:lnTo>
                  <a:lnTo>
                    <a:pt x="562" y="536"/>
                  </a:lnTo>
                  <a:lnTo>
                    <a:pt x="568" y="532"/>
                  </a:lnTo>
                  <a:lnTo>
                    <a:pt x="575" y="530"/>
                  </a:lnTo>
                  <a:lnTo>
                    <a:pt x="579" y="527"/>
                  </a:lnTo>
                  <a:lnTo>
                    <a:pt x="581" y="519"/>
                  </a:lnTo>
                  <a:lnTo>
                    <a:pt x="583" y="514"/>
                  </a:lnTo>
                  <a:lnTo>
                    <a:pt x="585" y="510"/>
                  </a:lnTo>
                  <a:lnTo>
                    <a:pt x="587" y="502"/>
                  </a:lnTo>
                  <a:lnTo>
                    <a:pt x="587" y="499"/>
                  </a:lnTo>
                  <a:lnTo>
                    <a:pt x="590" y="491"/>
                  </a:lnTo>
                  <a:lnTo>
                    <a:pt x="590" y="486"/>
                  </a:lnTo>
                  <a:lnTo>
                    <a:pt x="594" y="478"/>
                  </a:lnTo>
                  <a:lnTo>
                    <a:pt x="594" y="473"/>
                  </a:lnTo>
                  <a:lnTo>
                    <a:pt x="594" y="467"/>
                  </a:lnTo>
                  <a:lnTo>
                    <a:pt x="594" y="461"/>
                  </a:lnTo>
                  <a:lnTo>
                    <a:pt x="594" y="461"/>
                  </a:lnTo>
                  <a:lnTo>
                    <a:pt x="583" y="461"/>
                  </a:lnTo>
                  <a:lnTo>
                    <a:pt x="574" y="461"/>
                  </a:lnTo>
                  <a:lnTo>
                    <a:pt x="566" y="458"/>
                  </a:lnTo>
                  <a:lnTo>
                    <a:pt x="557" y="452"/>
                  </a:lnTo>
                  <a:lnTo>
                    <a:pt x="557" y="452"/>
                  </a:lnTo>
                  <a:lnTo>
                    <a:pt x="549" y="450"/>
                  </a:lnTo>
                  <a:lnTo>
                    <a:pt x="536" y="452"/>
                  </a:lnTo>
                  <a:lnTo>
                    <a:pt x="508" y="456"/>
                  </a:lnTo>
                  <a:lnTo>
                    <a:pt x="493" y="458"/>
                  </a:lnTo>
                  <a:lnTo>
                    <a:pt x="486" y="456"/>
                  </a:lnTo>
                  <a:lnTo>
                    <a:pt x="482" y="454"/>
                  </a:lnTo>
                  <a:lnTo>
                    <a:pt x="482" y="452"/>
                  </a:lnTo>
                  <a:lnTo>
                    <a:pt x="484" y="448"/>
                  </a:lnTo>
                  <a:lnTo>
                    <a:pt x="488" y="443"/>
                  </a:lnTo>
                  <a:lnTo>
                    <a:pt x="488" y="443"/>
                  </a:lnTo>
                  <a:lnTo>
                    <a:pt x="493" y="433"/>
                  </a:lnTo>
                  <a:lnTo>
                    <a:pt x="497" y="426"/>
                  </a:lnTo>
                  <a:lnTo>
                    <a:pt x="497" y="420"/>
                  </a:lnTo>
                  <a:lnTo>
                    <a:pt x="495" y="415"/>
                  </a:lnTo>
                  <a:lnTo>
                    <a:pt x="491" y="411"/>
                  </a:lnTo>
                  <a:lnTo>
                    <a:pt x="486" y="405"/>
                  </a:lnTo>
                  <a:lnTo>
                    <a:pt x="473" y="398"/>
                  </a:lnTo>
                  <a:lnTo>
                    <a:pt x="458" y="390"/>
                  </a:lnTo>
                  <a:lnTo>
                    <a:pt x="450" y="385"/>
                  </a:lnTo>
                  <a:lnTo>
                    <a:pt x="443" y="377"/>
                  </a:lnTo>
                  <a:lnTo>
                    <a:pt x="437" y="370"/>
                  </a:lnTo>
                  <a:lnTo>
                    <a:pt x="433" y="360"/>
                  </a:lnTo>
                  <a:lnTo>
                    <a:pt x="432" y="351"/>
                  </a:lnTo>
                  <a:lnTo>
                    <a:pt x="430" y="338"/>
                  </a:lnTo>
                  <a:lnTo>
                    <a:pt x="430" y="338"/>
                  </a:lnTo>
                  <a:lnTo>
                    <a:pt x="433" y="334"/>
                  </a:lnTo>
                  <a:lnTo>
                    <a:pt x="441" y="331"/>
                  </a:lnTo>
                  <a:lnTo>
                    <a:pt x="458" y="319"/>
                  </a:lnTo>
                  <a:lnTo>
                    <a:pt x="467" y="314"/>
                  </a:lnTo>
                  <a:lnTo>
                    <a:pt x="469" y="310"/>
                  </a:lnTo>
                  <a:lnTo>
                    <a:pt x="471" y="306"/>
                  </a:lnTo>
                  <a:lnTo>
                    <a:pt x="471" y="303"/>
                  </a:lnTo>
                  <a:lnTo>
                    <a:pt x="469" y="299"/>
                  </a:lnTo>
                  <a:lnTo>
                    <a:pt x="465" y="293"/>
                  </a:lnTo>
                  <a:lnTo>
                    <a:pt x="460" y="288"/>
                  </a:lnTo>
                  <a:lnTo>
                    <a:pt x="460" y="288"/>
                  </a:lnTo>
                  <a:lnTo>
                    <a:pt x="450" y="280"/>
                  </a:lnTo>
                  <a:lnTo>
                    <a:pt x="448" y="276"/>
                  </a:lnTo>
                  <a:lnTo>
                    <a:pt x="448" y="275"/>
                  </a:lnTo>
                  <a:lnTo>
                    <a:pt x="448" y="273"/>
                  </a:lnTo>
                  <a:lnTo>
                    <a:pt x="450" y="271"/>
                  </a:lnTo>
                  <a:lnTo>
                    <a:pt x="456" y="269"/>
                  </a:lnTo>
                  <a:lnTo>
                    <a:pt x="465" y="269"/>
                  </a:lnTo>
                  <a:lnTo>
                    <a:pt x="476" y="269"/>
                  </a:lnTo>
                  <a:lnTo>
                    <a:pt x="486" y="273"/>
                  </a:lnTo>
                  <a:lnTo>
                    <a:pt x="493" y="275"/>
                  </a:lnTo>
                  <a:lnTo>
                    <a:pt x="493" y="275"/>
                  </a:lnTo>
                  <a:lnTo>
                    <a:pt x="504" y="278"/>
                  </a:lnTo>
                  <a:lnTo>
                    <a:pt x="512" y="278"/>
                  </a:lnTo>
                  <a:lnTo>
                    <a:pt x="518" y="276"/>
                  </a:lnTo>
                  <a:lnTo>
                    <a:pt x="521" y="271"/>
                  </a:lnTo>
                  <a:lnTo>
                    <a:pt x="523" y="263"/>
                  </a:lnTo>
                  <a:lnTo>
                    <a:pt x="523" y="256"/>
                  </a:lnTo>
                  <a:lnTo>
                    <a:pt x="521" y="248"/>
                  </a:lnTo>
                  <a:lnTo>
                    <a:pt x="519" y="241"/>
                  </a:lnTo>
                  <a:lnTo>
                    <a:pt x="519" y="241"/>
                  </a:lnTo>
                  <a:lnTo>
                    <a:pt x="514" y="232"/>
                  </a:lnTo>
                  <a:lnTo>
                    <a:pt x="508" y="222"/>
                  </a:lnTo>
                  <a:lnTo>
                    <a:pt x="503" y="218"/>
                  </a:lnTo>
                  <a:lnTo>
                    <a:pt x="497" y="215"/>
                  </a:lnTo>
                  <a:lnTo>
                    <a:pt x="493" y="213"/>
                  </a:lnTo>
                  <a:lnTo>
                    <a:pt x="488" y="215"/>
                  </a:lnTo>
                  <a:lnTo>
                    <a:pt x="484" y="217"/>
                  </a:lnTo>
                  <a:lnTo>
                    <a:pt x="480" y="218"/>
                  </a:lnTo>
                  <a:lnTo>
                    <a:pt x="471" y="228"/>
                  </a:lnTo>
                  <a:lnTo>
                    <a:pt x="465" y="237"/>
                  </a:lnTo>
                  <a:lnTo>
                    <a:pt x="460" y="245"/>
                  </a:lnTo>
                  <a:lnTo>
                    <a:pt x="456" y="250"/>
                  </a:lnTo>
                  <a:lnTo>
                    <a:pt x="456" y="250"/>
                  </a:lnTo>
                  <a:lnTo>
                    <a:pt x="445" y="254"/>
                  </a:lnTo>
                  <a:lnTo>
                    <a:pt x="437" y="256"/>
                  </a:lnTo>
                  <a:lnTo>
                    <a:pt x="430" y="256"/>
                  </a:lnTo>
                  <a:lnTo>
                    <a:pt x="424" y="256"/>
                  </a:lnTo>
                  <a:lnTo>
                    <a:pt x="420" y="252"/>
                  </a:lnTo>
                  <a:lnTo>
                    <a:pt x="417" y="248"/>
                  </a:lnTo>
                  <a:lnTo>
                    <a:pt x="411" y="239"/>
                  </a:lnTo>
                  <a:lnTo>
                    <a:pt x="407" y="226"/>
                  </a:lnTo>
                  <a:lnTo>
                    <a:pt x="405" y="213"/>
                  </a:lnTo>
                  <a:lnTo>
                    <a:pt x="405" y="202"/>
                  </a:lnTo>
                  <a:lnTo>
                    <a:pt x="404" y="192"/>
                  </a:lnTo>
                  <a:lnTo>
                    <a:pt x="404" y="192"/>
                  </a:lnTo>
                  <a:lnTo>
                    <a:pt x="398" y="189"/>
                  </a:lnTo>
                  <a:lnTo>
                    <a:pt x="398" y="189"/>
                  </a:lnTo>
                  <a:lnTo>
                    <a:pt x="387" y="194"/>
                  </a:lnTo>
                  <a:lnTo>
                    <a:pt x="379" y="196"/>
                  </a:lnTo>
                  <a:lnTo>
                    <a:pt x="372" y="196"/>
                  </a:lnTo>
                  <a:lnTo>
                    <a:pt x="366" y="196"/>
                  </a:lnTo>
                  <a:lnTo>
                    <a:pt x="362" y="192"/>
                  </a:lnTo>
                  <a:lnTo>
                    <a:pt x="362" y="183"/>
                  </a:lnTo>
                  <a:lnTo>
                    <a:pt x="366" y="172"/>
                  </a:lnTo>
                  <a:lnTo>
                    <a:pt x="366" y="172"/>
                  </a:lnTo>
                  <a:lnTo>
                    <a:pt x="379" y="140"/>
                  </a:lnTo>
                  <a:lnTo>
                    <a:pt x="381" y="129"/>
                  </a:lnTo>
                  <a:lnTo>
                    <a:pt x="381" y="121"/>
                  </a:lnTo>
                  <a:lnTo>
                    <a:pt x="379" y="116"/>
                  </a:lnTo>
                  <a:lnTo>
                    <a:pt x="377" y="114"/>
                  </a:lnTo>
                  <a:lnTo>
                    <a:pt x="374" y="112"/>
                  </a:lnTo>
                  <a:lnTo>
                    <a:pt x="370" y="112"/>
                  </a:lnTo>
                  <a:lnTo>
                    <a:pt x="359" y="114"/>
                  </a:lnTo>
                  <a:lnTo>
                    <a:pt x="347" y="116"/>
                  </a:lnTo>
                  <a:lnTo>
                    <a:pt x="338" y="118"/>
                  </a:lnTo>
                  <a:lnTo>
                    <a:pt x="334" y="116"/>
                  </a:lnTo>
                  <a:lnTo>
                    <a:pt x="332" y="114"/>
                  </a:lnTo>
                  <a:lnTo>
                    <a:pt x="332" y="114"/>
                  </a:lnTo>
                  <a:lnTo>
                    <a:pt x="329" y="103"/>
                  </a:lnTo>
                  <a:lnTo>
                    <a:pt x="325" y="93"/>
                  </a:lnTo>
                  <a:lnTo>
                    <a:pt x="319" y="88"/>
                  </a:lnTo>
                  <a:lnTo>
                    <a:pt x="314" y="82"/>
                  </a:lnTo>
                  <a:lnTo>
                    <a:pt x="310" y="78"/>
                  </a:lnTo>
                  <a:lnTo>
                    <a:pt x="304" y="76"/>
                  </a:lnTo>
                  <a:lnTo>
                    <a:pt x="293" y="76"/>
                  </a:lnTo>
                  <a:lnTo>
                    <a:pt x="282" y="76"/>
                  </a:lnTo>
                  <a:lnTo>
                    <a:pt x="271" y="75"/>
                  </a:lnTo>
                  <a:lnTo>
                    <a:pt x="265" y="75"/>
                  </a:lnTo>
                  <a:lnTo>
                    <a:pt x="260" y="71"/>
                  </a:lnTo>
                  <a:lnTo>
                    <a:pt x="254" y="67"/>
                  </a:lnTo>
                  <a:lnTo>
                    <a:pt x="250" y="60"/>
                  </a:lnTo>
                  <a:lnTo>
                    <a:pt x="250" y="60"/>
                  </a:lnTo>
                  <a:lnTo>
                    <a:pt x="237" y="45"/>
                  </a:lnTo>
                  <a:lnTo>
                    <a:pt x="228" y="35"/>
                  </a:lnTo>
                  <a:lnTo>
                    <a:pt x="220" y="30"/>
                  </a:lnTo>
                  <a:lnTo>
                    <a:pt x="215" y="26"/>
                  </a:lnTo>
                  <a:lnTo>
                    <a:pt x="196" y="19"/>
                  </a:lnTo>
                  <a:lnTo>
                    <a:pt x="183" y="13"/>
                  </a:lnTo>
                  <a:lnTo>
                    <a:pt x="164" y="0"/>
                  </a:lnTo>
                  <a:lnTo>
                    <a:pt x="164" y="0"/>
                  </a:lnTo>
                  <a:lnTo>
                    <a:pt x="157" y="7"/>
                  </a:lnTo>
                  <a:lnTo>
                    <a:pt x="155" y="9"/>
                  </a:lnTo>
                  <a:lnTo>
                    <a:pt x="146" y="15"/>
                  </a:lnTo>
                  <a:lnTo>
                    <a:pt x="146" y="15"/>
                  </a:lnTo>
                  <a:lnTo>
                    <a:pt x="146" y="24"/>
                  </a:lnTo>
                  <a:lnTo>
                    <a:pt x="147" y="33"/>
                  </a:lnTo>
                  <a:lnTo>
                    <a:pt x="149" y="39"/>
                  </a:lnTo>
                  <a:lnTo>
                    <a:pt x="151" y="43"/>
                  </a:lnTo>
                  <a:lnTo>
                    <a:pt x="155" y="47"/>
                  </a:lnTo>
                  <a:lnTo>
                    <a:pt x="159" y="48"/>
                  </a:lnTo>
                  <a:lnTo>
                    <a:pt x="166" y="50"/>
                  </a:lnTo>
                  <a:lnTo>
                    <a:pt x="176" y="52"/>
                  </a:lnTo>
                  <a:lnTo>
                    <a:pt x="183" y="54"/>
                  </a:lnTo>
                  <a:lnTo>
                    <a:pt x="185" y="56"/>
                  </a:lnTo>
                  <a:lnTo>
                    <a:pt x="189" y="60"/>
                  </a:lnTo>
                  <a:lnTo>
                    <a:pt x="190" y="63"/>
                  </a:lnTo>
                  <a:lnTo>
                    <a:pt x="190" y="69"/>
                  </a:lnTo>
                  <a:lnTo>
                    <a:pt x="190" y="69"/>
                  </a:lnTo>
                  <a:lnTo>
                    <a:pt x="194" y="82"/>
                  </a:lnTo>
                  <a:lnTo>
                    <a:pt x="198" y="90"/>
                  </a:lnTo>
                  <a:lnTo>
                    <a:pt x="202" y="93"/>
                  </a:lnTo>
                  <a:lnTo>
                    <a:pt x="204" y="97"/>
                  </a:lnTo>
                  <a:lnTo>
                    <a:pt x="202" y="101"/>
                  </a:lnTo>
                  <a:lnTo>
                    <a:pt x="196" y="104"/>
                  </a:lnTo>
                  <a:lnTo>
                    <a:pt x="168" y="127"/>
                  </a:lnTo>
                  <a:lnTo>
                    <a:pt x="168" y="127"/>
                  </a:lnTo>
                  <a:lnTo>
                    <a:pt x="161" y="131"/>
                  </a:lnTo>
                  <a:lnTo>
                    <a:pt x="153" y="134"/>
                  </a:lnTo>
                  <a:lnTo>
                    <a:pt x="147" y="134"/>
                  </a:lnTo>
                  <a:lnTo>
                    <a:pt x="142" y="133"/>
                  </a:lnTo>
                  <a:lnTo>
                    <a:pt x="138" y="129"/>
                  </a:lnTo>
                  <a:lnTo>
                    <a:pt x="134" y="123"/>
                  </a:lnTo>
                  <a:lnTo>
                    <a:pt x="127" y="112"/>
                  </a:lnTo>
                  <a:lnTo>
                    <a:pt x="119" y="101"/>
                  </a:lnTo>
                  <a:lnTo>
                    <a:pt x="112" y="91"/>
                  </a:lnTo>
                  <a:lnTo>
                    <a:pt x="106" y="88"/>
                  </a:lnTo>
                  <a:lnTo>
                    <a:pt x="101" y="86"/>
                  </a:lnTo>
                  <a:lnTo>
                    <a:pt x="93" y="88"/>
                  </a:lnTo>
                  <a:lnTo>
                    <a:pt x="86" y="90"/>
                  </a:lnTo>
                  <a:lnTo>
                    <a:pt x="86" y="90"/>
                  </a:lnTo>
                  <a:lnTo>
                    <a:pt x="80" y="93"/>
                  </a:lnTo>
                  <a:lnTo>
                    <a:pt x="76" y="97"/>
                  </a:lnTo>
                  <a:lnTo>
                    <a:pt x="75" y="103"/>
                  </a:lnTo>
                  <a:lnTo>
                    <a:pt x="75" y="106"/>
                  </a:lnTo>
                  <a:lnTo>
                    <a:pt x="76" y="118"/>
                  </a:lnTo>
                  <a:lnTo>
                    <a:pt x="80" y="129"/>
                  </a:lnTo>
                  <a:lnTo>
                    <a:pt x="84" y="140"/>
                  </a:lnTo>
                  <a:lnTo>
                    <a:pt x="84" y="146"/>
                  </a:lnTo>
                  <a:lnTo>
                    <a:pt x="82" y="149"/>
                  </a:lnTo>
                  <a:lnTo>
                    <a:pt x="80" y="153"/>
                  </a:lnTo>
                  <a:lnTo>
                    <a:pt x="76" y="157"/>
                  </a:lnTo>
                  <a:lnTo>
                    <a:pt x="71" y="161"/>
                  </a:lnTo>
                  <a:lnTo>
                    <a:pt x="62" y="162"/>
                  </a:lnTo>
                  <a:lnTo>
                    <a:pt x="62" y="162"/>
                  </a:lnTo>
                  <a:lnTo>
                    <a:pt x="56" y="164"/>
                  </a:lnTo>
                  <a:lnTo>
                    <a:pt x="52" y="168"/>
                  </a:lnTo>
                  <a:lnTo>
                    <a:pt x="50" y="172"/>
                  </a:lnTo>
                  <a:lnTo>
                    <a:pt x="50" y="175"/>
                  </a:lnTo>
                  <a:lnTo>
                    <a:pt x="50" y="187"/>
                  </a:lnTo>
                  <a:lnTo>
                    <a:pt x="54" y="198"/>
                  </a:lnTo>
                  <a:lnTo>
                    <a:pt x="54" y="209"/>
                  </a:lnTo>
                  <a:lnTo>
                    <a:pt x="54" y="215"/>
                  </a:lnTo>
                  <a:lnTo>
                    <a:pt x="52" y="220"/>
                  </a:lnTo>
                  <a:lnTo>
                    <a:pt x="47" y="224"/>
                  </a:lnTo>
                  <a:lnTo>
                    <a:pt x="41" y="226"/>
                  </a:lnTo>
                  <a:lnTo>
                    <a:pt x="32" y="228"/>
                  </a:lnTo>
                  <a:lnTo>
                    <a:pt x="20" y="230"/>
                  </a:lnTo>
                  <a:lnTo>
                    <a:pt x="20" y="230"/>
                  </a:lnTo>
                  <a:lnTo>
                    <a:pt x="13" y="226"/>
                  </a:lnTo>
                  <a:lnTo>
                    <a:pt x="5" y="224"/>
                  </a:lnTo>
                  <a:lnTo>
                    <a:pt x="2" y="226"/>
                  </a:lnTo>
                  <a:lnTo>
                    <a:pt x="0" y="228"/>
                  </a:lnTo>
                  <a:lnTo>
                    <a:pt x="2" y="233"/>
                  </a:lnTo>
                  <a:lnTo>
                    <a:pt x="4" y="243"/>
                  </a:lnTo>
                  <a:lnTo>
                    <a:pt x="4" y="243"/>
                  </a:lnTo>
                  <a:lnTo>
                    <a:pt x="7" y="248"/>
                  </a:lnTo>
                  <a:lnTo>
                    <a:pt x="13" y="252"/>
                  </a:lnTo>
                  <a:lnTo>
                    <a:pt x="24" y="256"/>
                  </a:lnTo>
                  <a:lnTo>
                    <a:pt x="30" y="258"/>
                  </a:lnTo>
                  <a:lnTo>
                    <a:pt x="35" y="263"/>
                  </a:lnTo>
                  <a:lnTo>
                    <a:pt x="37" y="269"/>
                  </a:lnTo>
                  <a:lnTo>
                    <a:pt x="39" y="280"/>
                  </a:lnTo>
                  <a:lnTo>
                    <a:pt x="39" y="280"/>
                  </a:lnTo>
                  <a:lnTo>
                    <a:pt x="41" y="289"/>
                  </a:lnTo>
                  <a:lnTo>
                    <a:pt x="43" y="295"/>
                  </a:lnTo>
                  <a:lnTo>
                    <a:pt x="47" y="297"/>
                  </a:lnTo>
                  <a:lnTo>
                    <a:pt x="50" y="297"/>
                  </a:lnTo>
                  <a:lnTo>
                    <a:pt x="56" y="299"/>
                  </a:lnTo>
                  <a:lnTo>
                    <a:pt x="63" y="301"/>
                  </a:lnTo>
                  <a:lnTo>
                    <a:pt x="71" y="306"/>
                  </a:lnTo>
                  <a:lnTo>
                    <a:pt x="82" y="316"/>
                  </a:lnTo>
                  <a:lnTo>
                    <a:pt x="82" y="316"/>
                  </a:lnTo>
                  <a:lnTo>
                    <a:pt x="86" y="319"/>
                  </a:lnTo>
                  <a:lnTo>
                    <a:pt x="90" y="321"/>
                  </a:lnTo>
                  <a:lnTo>
                    <a:pt x="95" y="321"/>
                  </a:lnTo>
                  <a:lnTo>
                    <a:pt x="99" y="319"/>
                  </a:lnTo>
                  <a:lnTo>
                    <a:pt x="105" y="314"/>
                  </a:lnTo>
                  <a:lnTo>
                    <a:pt x="112" y="308"/>
                  </a:lnTo>
                  <a:lnTo>
                    <a:pt x="116" y="306"/>
                  </a:lnTo>
                  <a:lnTo>
                    <a:pt x="118" y="306"/>
                  </a:lnTo>
                  <a:lnTo>
                    <a:pt x="121" y="308"/>
                  </a:lnTo>
                  <a:lnTo>
                    <a:pt x="123" y="312"/>
                  </a:lnTo>
                  <a:lnTo>
                    <a:pt x="131" y="329"/>
                  </a:lnTo>
                  <a:lnTo>
                    <a:pt x="136" y="360"/>
                  </a:lnTo>
                  <a:lnTo>
                    <a:pt x="136" y="360"/>
                  </a:lnTo>
                  <a:lnTo>
                    <a:pt x="138" y="375"/>
                  </a:lnTo>
                  <a:lnTo>
                    <a:pt x="138" y="387"/>
                  </a:lnTo>
                  <a:lnTo>
                    <a:pt x="136" y="394"/>
                  </a:lnTo>
                  <a:lnTo>
                    <a:pt x="134" y="402"/>
                  </a:lnTo>
                  <a:lnTo>
                    <a:pt x="131" y="405"/>
                  </a:lnTo>
                  <a:lnTo>
                    <a:pt x="125" y="407"/>
                  </a:lnTo>
                  <a:lnTo>
                    <a:pt x="116" y="411"/>
                  </a:lnTo>
                  <a:lnTo>
                    <a:pt x="103" y="415"/>
                  </a:lnTo>
                  <a:lnTo>
                    <a:pt x="95" y="417"/>
                  </a:lnTo>
                  <a:lnTo>
                    <a:pt x="90" y="422"/>
                  </a:lnTo>
                  <a:lnTo>
                    <a:pt x="84" y="430"/>
                  </a:lnTo>
                  <a:lnTo>
                    <a:pt x="78" y="441"/>
                  </a:lnTo>
                  <a:lnTo>
                    <a:pt x="75" y="454"/>
                  </a:lnTo>
                  <a:lnTo>
                    <a:pt x="71" y="471"/>
                  </a:lnTo>
                  <a:lnTo>
                    <a:pt x="71" y="471"/>
                  </a:lnTo>
                  <a:lnTo>
                    <a:pt x="84" y="478"/>
                  </a:lnTo>
                  <a:lnTo>
                    <a:pt x="90" y="484"/>
                  </a:lnTo>
                  <a:lnTo>
                    <a:pt x="95" y="491"/>
                  </a:lnTo>
                  <a:lnTo>
                    <a:pt x="95" y="491"/>
                  </a:lnTo>
                  <a:lnTo>
                    <a:pt x="97" y="493"/>
                  </a:lnTo>
                  <a:lnTo>
                    <a:pt x="103" y="495"/>
                  </a:lnTo>
                  <a:lnTo>
                    <a:pt x="114" y="495"/>
                  </a:lnTo>
                  <a:lnTo>
                    <a:pt x="129" y="499"/>
                  </a:lnTo>
                  <a:lnTo>
                    <a:pt x="136" y="501"/>
                  </a:lnTo>
                  <a:lnTo>
                    <a:pt x="144" y="506"/>
                  </a:lnTo>
                  <a:lnTo>
                    <a:pt x="144" y="506"/>
                  </a:lnTo>
                  <a:lnTo>
                    <a:pt x="157" y="517"/>
                  </a:lnTo>
                  <a:lnTo>
                    <a:pt x="159" y="519"/>
                  </a:lnTo>
                  <a:lnTo>
                    <a:pt x="157" y="523"/>
                  </a:lnTo>
                  <a:lnTo>
                    <a:pt x="147" y="530"/>
                  </a:lnTo>
                  <a:lnTo>
                    <a:pt x="140" y="540"/>
                  </a:lnTo>
                  <a:lnTo>
                    <a:pt x="133" y="551"/>
                  </a:lnTo>
                  <a:lnTo>
                    <a:pt x="133" y="551"/>
                  </a:lnTo>
                  <a:lnTo>
                    <a:pt x="131" y="557"/>
                  </a:lnTo>
                  <a:lnTo>
                    <a:pt x="131" y="564"/>
                  </a:lnTo>
                  <a:lnTo>
                    <a:pt x="136" y="577"/>
                  </a:lnTo>
                  <a:lnTo>
                    <a:pt x="144" y="592"/>
                  </a:lnTo>
                  <a:lnTo>
                    <a:pt x="146" y="600"/>
                  </a:lnTo>
                  <a:lnTo>
                    <a:pt x="147" y="607"/>
                  </a:lnTo>
                  <a:lnTo>
                    <a:pt x="147" y="607"/>
                  </a:lnTo>
                  <a:lnTo>
                    <a:pt x="149" y="615"/>
                  </a:lnTo>
                  <a:lnTo>
                    <a:pt x="151" y="618"/>
                  </a:lnTo>
                  <a:lnTo>
                    <a:pt x="155" y="620"/>
                  </a:lnTo>
                  <a:lnTo>
                    <a:pt x="157" y="620"/>
                  </a:lnTo>
                  <a:lnTo>
                    <a:pt x="161" y="622"/>
                  </a:lnTo>
                  <a:lnTo>
                    <a:pt x="164" y="630"/>
                  </a:lnTo>
                  <a:lnTo>
                    <a:pt x="170" y="644"/>
                  </a:lnTo>
                  <a:lnTo>
                    <a:pt x="176" y="667"/>
                  </a:lnTo>
                  <a:lnTo>
                    <a:pt x="176" y="667"/>
                  </a:lnTo>
                  <a:lnTo>
                    <a:pt x="179" y="678"/>
                  </a:lnTo>
                  <a:lnTo>
                    <a:pt x="185" y="686"/>
                  </a:lnTo>
                  <a:lnTo>
                    <a:pt x="185" y="686"/>
                  </a:lnTo>
                  <a:lnTo>
                    <a:pt x="189" y="687"/>
                  </a:lnTo>
                  <a:lnTo>
                    <a:pt x="192" y="687"/>
                  </a:lnTo>
                  <a:lnTo>
                    <a:pt x="200" y="686"/>
                  </a:lnTo>
                  <a:lnTo>
                    <a:pt x="209" y="680"/>
                  </a:lnTo>
                  <a:lnTo>
                    <a:pt x="219" y="671"/>
                  </a:lnTo>
                  <a:lnTo>
                    <a:pt x="237" y="654"/>
                  </a:lnTo>
                  <a:lnTo>
                    <a:pt x="245" y="650"/>
                  </a:lnTo>
                  <a:lnTo>
                    <a:pt x="248" y="648"/>
                  </a:lnTo>
                  <a:lnTo>
                    <a:pt x="252" y="650"/>
                  </a:lnTo>
                  <a:lnTo>
                    <a:pt x="252" y="650"/>
                  </a:lnTo>
                  <a:lnTo>
                    <a:pt x="267" y="656"/>
                  </a:lnTo>
                  <a:lnTo>
                    <a:pt x="271" y="659"/>
                  </a:lnTo>
                  <a:lnTo>
                    <a:pt x="273" y="663"/>
                  </a:lnTo>
                  <a:lnTo>
                    <a:pt x="273" y="665"/>
                  </a:lnTo>
                  <a:lnTo>
                    <a:pt x="271" y="669"/>
                  </a:lnTo>
                  <a:lnTo>
                    <a:pt x="267" y="674"/>
                  </a:lnTo>
                  <a:lnTo>
                    <a:pt x="260" y="680"/>
                  </a:lnTo>
                  <a:lnTo>
                    <a:pt x="254" y="687"/>
                  </a:lnTo>
                  <a:lnTo>
                    <a:pt x="248" y="697"/>
                  </a:lnTo>
                  <a:lnTo>
                    <a:pt x="248" y="702"/>
                  </a:lnTo>
                  <a:lnTo>
                    <a:pt x="248" y="708"/>
                  </a:lnTo>
                  <a:lnTo>
                    <a:pt x="248" y="708"/>
                  </a:lnTo>
                  <a:lnTo>
                    <a:pt x="250" y="712"/>
                  </a:lnTo>
                  <a:lnTo>
                    <a:pt x="252" y="714"/>
                  </a:lnTo>
                  <a:lnTo>
                    <a:pt x="256" y="715"/>
                  </a:lnTo>
                  <a:lnTo>
                    <a:pt x="260" y="715"/>
                  </a:lnTo>
                  <a:lnTo>
                    <a:pt x="269" y="714"/>
                  </a:lnTo>
                  <a:lnTo>
                    <a:pt x="280" y="708"/>
                  </a:lnTo>
                  <a:lnTo>
                    <a:pt x="290" y="701"/>
                  </a:lnTo>
                  <a:lnTo>
                    <a:pt x="295" y="693"/>
                  </a:lnTo>
                  <a:lnTo>
                    <a:pt x="301" y="686"/>
                  </a:lnTo>
                  <a:lnTo>
                    <a:pt x="301" y="682"/>
                  </a:lnTo>
                  <a:lnTo>
                    <a:pt x="299" y="678"/>
                  </a:lnTo>
                  <a:lnTo>
                    <a:pt x="299" y="678"/>
                  </a:lnTo>
                  <a:lnTo>
                    <a:pt x="297" y="676"/>
                  </a:lnTo>
                  <a:lnTo>
                    <a:pt x="299" y="673"/>
                  </a:lnTo>
                  <a:lnTo>
                    <a:pt x="301" y="669"/>
                  </a:lnTo>
                  <a:lnTo>
                    <a:pt x="303" y="667"/>
                  </a:lnTo>
                  <a:lnTo>
                    <a:pt x="306" y="663"/>
                  </a:lnTo>
                  <a:lnTo>
                    <a:pt x="310" y="663"/>
                  </a:lnTo>
                  <a:lnTo>
                    <a:pt x="314" y="663"/>
                  </a:lnTo>
                  <a:lnTo>
                    <a:pt x="318" y="667"/>
                  </a:lnTo>
                  <a:lnTo>
                    <a:pt x="318" y="667"/>
                  </a:lnTo>
                  <a:lnTo>
                    <a:pt x="319" y="671"/>
                  </a:lnTo>
                  <a:lnTo>
                    <a:pt x="319" y="673"/>
                  </a:lnTo>
                  <a:lnTo>
                    <a:pt x="321" y="673"/>
                  </a:lnTo>
                  <a:lnTo>
                    <a:pt x="327" y="673"/>
                  </a:lnTo>
                  <a:lnTo>
                    <a:pt x="327" y="673"/>
                  </a:lnTo>
                  <a:lnTo>
                    <a:pt x="336" y="674"/>
                  </a:lnTo>
                  <a:lnTo>
                    <a:pt x="340" y="676"/>
                  </a:lnTo>
                  <a:lnTo>
                    <a:pt x="342" y="678"/>
                  </a:lnTo>
                  <a:lnTo>
                    <a:pt x="344" y="684"/>
                  </a:lnTo>
                  <a:lnTo>
                    <a:pt x="346" y="691"/>
                  </a:lnTo>
                  <a:lnTo>
                    <a:pt x="349" y="699"/>
                  </a:lnTo>
                  <a:lnTo>
                    <a:pt x="351" y="701"/>
                  </a:lnTo>
                  <a:lnTo>
                    <a:pt x="357" y="704"/>
                  </a:lnTo>
                  <a:lnTo>
                    <a:pt x="362" y="706"/>
                  </a:lnTo>
                  <a:lnTo>
                    <a:pt x="372" y="708"/>
                  </a:lnTo>
                  <a:lnTo>
                    <a:pt x="394" y="710"/>
                  </a:lnTo>
                  <a:lnTo>
                    <a:pt x="394" y="710"/>
                  </a:lnTo>
                  <a:lnTo>
                    <a:pt x="415" y="710"/>
                  </a:lnTo>
                  <a:lnTo>
                    <a:pt x="428" y="714"/>
                  </a:lnTo>
                  <a:lnTo>
                    <a:pt x="433" y="719"/>
                  </a:lnTo>
                  <a:lnTo>
                    <a:pt x="437" y="725"/>
                  </a:lnTo>
                  <a:lnTo>
                    <a:pt x="441" y="725"/>
                  </a:lnTo>
                  <a:lnTo>
                    <a:pt x="446" y="723"/>
                  </a:lnTo>
                  <a:lnTo>
                    <a:pt x="450" y="721"/>
                  </a:lnTo>
                  <a:lnTo>
                    <a:pt x="456" y="717"/>
                  </a:lnTo>
                  <a:lnTo>
                    <a:pt x="460" y="715"/>
                  </a:lnTo>
                  <a:lnTo>
                    <a:pt x="467" y="712"/>
                  </a:lnTo>
                  <a:lnTo>
                    <a:pt x="471" y="708"/>
                  </a:lnTo>
                  <a:lnTo>
                    <a:pt x="476" y="702"/>
                  </a:lnTo>
                  <a:lnTo>
                    <a:pt x="480" y="699"/>
                  </a:lnTo>
                  <a:lnTo>
                    <a:pt x="484" y="693"/>
                  </a:lnTo>
                  <a:lnTo>
                    <a:pt x="489" y="689"/>
                  </a:lnTo>
                  <a:lnTo>
                    <a:pt x="491" y="684"/>
                  </a:lnTo>
                  <a:lnTo>
                    <a:pt x="495" y="680"/>
                  </a:lnTo>
                  <a:lnTo>
                    <a:pt x="499" y="674"/>
                  </a:lnTo>
                  <a:lnTo>
                    <a:pt x="501" y="671"/>
                  </a:lnTo>
                  <a:lnTo>
                    <a:pt x="503" y="667"/>
                  </a:lnTo>
                  <a:lnTo>
                    <a:pt x="504" y="665"/>
                  </a:lnTo>
                  <a:lnTo>
                    <a:pt x="506" y="663"/>
                  </a:lnTo>
                  <a:lnTo>
                    <a:pt x="508" y="659"/>
                  </a:lnTo>
                  <a:lnTo>
                    <a:pt x="510" y="654"/>
                  </a:lnTo>
                  <a:lnTo>
                    <a:pt x="512" y="650"/>
                  </a:lnTo>
                  <a:lnTo>
                    <a:pt x="516" y="646"/>
                  </a:lnTo>
                  <a:lnTo>
                    <a:pt x="519" y="643"/>
                  </a:lnTo>
                  <a:lnTo>
                    <a:pt x="519" y="637"/>
                  </a:lnTo>
                  <a:lnTo>
                    <a:pt x="521" y="631"/>
                  </a:lnTo>
                  <a:lnTo>
                    <a:pt x="519" y="628"/>
                  </a:lnTo>
                  <a:lnTo>
                    <a:pt x="516" y="624"/>
                  </a:lnTo>
                  <a:lnTo>
                    <a:pt x="514" y="618"/>
                  </a:lnTo>
                  <a:lnTo>
                    <a:pt x="510" y="611"/>
                  </a:lnTo>
                  <a:lnTo>
                    <a:pt x="510" y="609"/>
                  </a:lnTo>
                  <a:lnTo>
                    <a:pt x="510" y="600"/>
                  </a:lnTo>
                  <a:lnTo>
                    <a:pt x="510" y="60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Freeform 47">
              <a:extLst>
                <a:ext uri="{FF2B5EF4-FFF2-40B4-BE49-F238E27FC236}">
                  <a16:creationId xmlns:a16="http://schemas.microsoft.com/office/drawing/2014/main" id="{4704784A-7C95-44D1-BCD9-27472D6D5D2F}"/>
                </a:ext>
              </a:extLst>
            </p:cNvPr>
            <p:cNvSpPr>
              <a:spLocks/>
            </p:cNvSpPr>
            <p:nvPr/>
          </p:nvSpPr>
          <p:spPr bwMode="auto">
            <a:xfrm>
              <a:off x="5316830" y="3965182"/>
              <a:ext cx="677615" cy="630381"/>
            </a:xfrm>
            <a:custGeom>
              <a:avLst/>
              <a:gdLst/>
              <a:ahLst/>
              <a:cxnLst>
                <a:cxn ang="0">
                  <a:pos x="660" y="530"/>
                </a:cxn>
                <a:cxn ang="0">
                  <a:pos x="632" y="545"/>
                </a:cxn>
                <a:cxn ang="0">
                  <a:pos x="598" y="523"/>
                </a:cxn>
                <a:cxn ang="0">
                  <a:pos x="581" y="504"/>
                </a:cxn>
                <a:cxn ang="0">
                  <a:pos x="549" y="472"/>
                </a:cxn>
                <a:cxn ang="0">
                  <a:pos x="547" y="448"/>
                </a:cxn>
                <a:cxn ang="0">
                  <a:pos x="589" y="448"/>
                </a:cxn>
                <a:cxn ang="0">
                  <a:pos x="592" y="399"/>
                </a:cxn>
                <a:cxn ang="0">
                  <a:pos x="613" y="385"/>
                </a:cxn>
                <a:cxn ang="0">
                  <a:pos x="622" y="353"/>
                </a:cxn>
                <a:cxn ang="0">
                  <a:pos x="628" y="314"/>
                </a:cxn>
                <a:cxn ang="0">
                  <a:pos x="661" y="325"/>
                </a:cxn>
                <a:cxn ang="0">
                  <a:pos x="695" y="358"/>
                </a:cxn>
                <a:cxn ang="0">
                  <a:pos x="746" y="321"/>
                </a:cxn>
                <a:cxn ang="0">
                  <a:pos x="732" y="287"/>
                </a:cxn>
                <a:cxn ang="0">
                  <a:pos x="701" y="272"/>
                </a:cxn>
                <a:cxn ang="0">
                  <a:pos x="688" y="239"/>
                </a:cxn>
                <a:cxn ang="0">
                  <a:pos x="600" y="231"/>
                </a:cxn>
                <a:cxn ang="0">
                  <a:pos x="585" y="201"/>
                </a:cxn>
                <a:cxn ang="0">
                  <a:pos x="566" y="188"/>
                </a:cxn>
                <a:cxn ang="0">
                  <a:pos x="521" y="183"/>
                </a:cxn>
                <a:cxn ang="0">
                  <a:pos x="547" y="134"/>
                </a:cxn>
                <a:cxn ang="0">
                  <a:pos x="579" y="114"/>
                </a:cxn>
                <a:cxn ang="0">
                  <a:pos x="618" y="67"/>
                </a:cxn>
                <a:cxn ang="0">
                  <a:pos x="658" y="26"/>
                </a:cxn>
                <a:cxn ang="0">
                  <a:pos x="656" y="24"/>
                </a:cxn>
                <a:cxn ang="0">
                  <a:pos x="622" y="41"/>
                </a:cxn>
                <a:cxn ang="0">
                  <a:pos x="594" y="58"/>
                </a:cxn>
                <a:cxn ang="0">
                  <a:pos x="575" y="50"/>
                </a:cxn>
                <a:cxn ang="0">
                  <a:pos x="590" y="15"/>
                </a:cxn>
                <a:cxn ang="0">
                  <a:pos x="564" y="20"/>
                </a:cxn>
                <a:cxn ang="0">
                  <a:pos x="542" y="18"/>
                </a:cxn>
                <a:cxn ang="0">
                  <a:pos x="523" y="30"/>
                </a:cxn>
                <a:cxn ang="0">
                  <a:pos x="376" y="97"/>
                </a:cxn>
                <a:cxn ang="0">
                  <a:pos x="312" y="147"/>
                </a:cxn>
                <a:cxn ang="0">
                  <a:pos x="293" y="160"/>
                </a:cxn>
                <a:cxn ang="0">
                  <a:pos x="202" y="168"/>
                </a:cxn>
                <a:cxn ang="0">
                  <a:pos x="185" y="185"/>
                </a:cxn>
                <a:cxn ang="0">
                  <a:pos x="144" y="218"/>
                </a:cxn>
                <a:cxn ang="0">
                  <a:pos x="73" y="239"/>
                </a:cxn>
                <a:cxn ang="0">
                  <a:pos x="0" y="263"/>
                </a:cxn>
                <a:cxn ang="0">
                  <a:pos x="19" y="310"/>
                </a:cxn>
                <a:cxn ang="0">
                  <a:pos x="37" y="353"/>
                </a:cxn>
                <a:cxn ang="0">
                  <a:pos x="54" y="379"/>
                </a:cxn>
                <a:cxn ang="0">
                  <a:pos x="73" y="398"/>
                </a:cxn>
                <a:cxn ang="0">
                  <a:pos x="75" y="444"/>
                </a:cxn>
                <a:cxn ang="0">
                  <a:pos x="103" y="476"/>
                </a:cxn>
                <a:cxn ang="0">
                  <a:pos x="136" y="525"/>
                </a:cxn>
                <a:cxn ang="0">
                  <a:pos x="181" y="543"/>
                </a:cxn>
                <a:cxn ang="0">
                  <a:pos x="248" y="570"/>
                </a:cxn>
                <a:cxn ang="0">
                  <a:pos x="290" y="568"/>
                </a:cxn>
                <a:cxn ang="0">
                  <a:pos x="329" y="558"/>
                </a:cxn>
                <a:cxn ang="0">
                  <a:pos x="376" y="573"/>
                </a:cxn>
                <a:cxn ang="0">
                  <a:pos x="407" y="556"/>
                </a:cxn>
                <a:cxn ang="0">
                  <a:pos x="411" y="611"/>
                </a:cxn>
                <a:cxn ang="0">
                  <a:pos x="441" y="642"/>
                </a:cxn>
                <a:cxn ang="0">
                  <a:pos x="476" y="641"/>
                </a:cxn>
                <a:cxn ang="0">
                  <a:pos x="525" y="670"/>
                </a:cxn>
                <a:cxn ang="0">
                  <a:pos x="561" y="685"/>
                </a:cxn>
                <a:cxn ang="0">
                  <a:pos x="592" y="665"/>
                </a:cxn>
                <a:cxn ang="0">
                  <a:pos x="613" y="695"/>
                </a:cxn>
                <a:cxn ang="0">
                  <a:pos x="637" y="641"/>
                </a:cxn>
                <a:cxn ang="0">
                  <a:pos x="678" y="618"/>
                </a:cxn>
              </a:cxnLst>
              <a:rect l="0" t="0" r="r" b="b"/>
              <a:pathLst>
                <a:path w="746" h="695">
                  <a:moveTo>
                    <a:pt x="678" y="584"/>
                  </a:moveTo>
                  <a:lnTo>
                    <a:pt x="678" y="584"/>
                  </a:lnTo>
                  <a:lnTo>
                    <a:pt x="673" y="553"/>
                  </a:lnTo>
                  <a:lnTo>
                    <a:pt x="665" y="536"/>
                  </a:lnTo>
                  <a:lnTo>
                    <a:pt x="663" y="532"/>
                  </a:lnTo>
                  <a:lnTo>
                    <a:pt x="660" y="530"/>
                  </a:lnTo>
                  <a:lnTo>
                    <a:pt x="658" y="530"/>
                  </a:lnTo>
                  <a:lnTo>
                    <a:pt x="654" y="532"/>
                  </a:lnTo>
                  <a:lnTo>
                    <a:pt x="647" y="538"/>
                  </a:lnTo>
                  <a:lnTo>
                    <a:pt x="641" y="543"/>
                  </a:lnTo>
                  <a:lnTo>
                    <a:pt x="637" y="545"/>
                  </a:lnTo>
                  <a:lnTo>
                    <a:pt x="632" y="545"/>
                  </a:lnTo>
                  <a:lnTo>
                    <a:pt x="628" y="543"/>
                  </a:lnTo>
                  <a:lnTo>
                    <a:pt x="624" y="540"/>
                  </a:lnTo>
                  <a:lnTo>
                    <a:pt x="624" y="540"/>
                  </a:lnTo>
                  <a:lnTo>
                    <a:pt x="613" y="530"/>
                  </a:lnTo>
                  <a:lnTo>
                    <a:pt x="605" y="525"/>
                  </a:lnTo>
                  <a:lnTo>
                    <a:pt x="598" y="523"/>
                  </a:lnTo>
                  <a:lnTo>
                    <a:pt x="592" y="521"/>
                  </a:lnTo>
                  <a:lnTo>
                    <a:pt x="589" y="521"/>
                  </a:lnTo>
                  <a:lnTo>
                    <a:pt x="585" y="519"/>
                  </a:lnTo>
                  <a:lnTo>
                    <a:pt x="583" y="513"/>
                  </a:lnTo>
                  <a:lnTo>
                    <a:pt x="581" y="504"/>
                  </a:lnTo>
                  <a:lnTo>
                    <a:pt x="581" y="504"/>
                  </a:lnTo>
                  <a:lnTo>
                    <a:pt x="579" y="493"/>
                  </a:lnTo>
                  <a:lnTo>
                    <a:pt x="577" y="487"/>
                  </a:lnTo>
                  <a:lnTo>
                    <a:pt x="572" y="482"/>
                  </a:lnTo>
                  <a:lnTo>
                    <a:pt x="566" y="480"/>
                  </a:lnTo>
                  <a:lnTo>
                    <a:pt x="555" y="476"/>
                  </a:lnTo>
                  <a:lnTo>
                    <a:pt x="549" y="472"/>
                  </a:lnTo>
                  <a:lnTo>
                    <a:pt x="546" y="467"/>
                  </a:lnTo>
                  <a:lnTo>
                    <a:pt x="546" y="467"/>
                  </a:lnTo>
                  <a:lnTo>
                    <a:pt x="544" y="457"/>
                  </a:lnTo>
                  <a:lnTo>
                    <a:pt x="542" y="452"/>
                  </a:lnTo>
                  <a:lnTo>
                    <a:pt x="544" y="450"/>
                  </a:lnTo>
                  <a:lnTo>
                    <a:pt x="547" y="448"/>
                  </a:lnTo>
                  <a:lnTo>
                    <a:pt x="555" y="450"/>
                  </a:lnTo>
                  <a:lnTo>
                    <a:pt x="562" y="454"/>
                  </a:lnTo>
                  <a:lnTo>
                    <a:pt x="562" y="454"/>
                  </a:lnTo>
                  <a:lnTo>
                    <a:pt x="574" y="452"/>
                  </a:lnTo>
                  <a:lnTo>
                    <a:pt x="583" y="450"/>
                  </a:lnTo>
                  <a:lnTo>
                    <a:pt x="589" y="448"/>
                  </a:lnTo>
                  <a:lnTo>
                    <a:pt x="594" y="444"/>
                  </a:lnTo>
                  <a:lnTo>
                    <a:pt x="596" y="439"/>
                  </a:lnTo>
                  <a:lnTo>
                    <a:pt x="596" y="433"/>
                  </a:lnTo>
                  <a:lnTo>
                    <a:pt x="596" y="422"/>
                  </a:lnTo>
                  <a:lnTo>
                    <a:pt x="592" y="411"/>
                  </a:lnTo>
                  <a:lnTo>
                    <a:pt x="592" y="399"/>
                  </a:lnTo>
                  <a:lnTo>
                    <a:pt x="592" y="396"/>
                  </a:lnTo>
                  <a:lnTo>
                    <a:pt x="594" y="392"/>
                  </a:lnTo>
                  <a:lnTo>
                    <a:pt x="598" y="388"/>
                  </a:lnTo>
                  <a:lnTo>
                    <a:pt x="604" y="386"/>
                  </a:lnTo>
                  <a:lnTo>
                    <a:pt x="604" y="386"/>
                  </a:lnTo>
                  <a:lnTo>
                    <a:pt x="613" y="385"/>
                  </a:lnTo>
                  <a:lnTo>
                    <a:pt x="618" y="381"/>
                  </a:lnTo>
                  <a:lnTo>
                    <a:pt x="622" y="377"/>
                  </a:lnTo>
                  <a:lnTo>
                    <a:pt x="624" y="373"/>
                  </a:lnTo>
                  <a:lnTo>
                    <a:pt x="626" y="370"/>
                  </a:lnTo>
                  <a:lnTo>
                    <a:pt x="626" y="364"/>
                  </a:lnTo>
                  <a:lnTo>
                    <a:pt x="622" y="353"/>
                  </a:lnTo>
                  <a:lnTo>
                    <a:pt x="618" y="342"/>
                  </a:lnTo>
                  <a:lnTo>
                    <a:pt x="617" y="330"/>
                  </a:lnTo>
                  <a:lnTo>
                    <a:pt x="617" y="327"/>
                  </a:lnTo>
                  <a:lnTo>
                    <a:pt x="618" y="321"/>
                  </a:lnTo>
                  <a:lnTo>
                    <a:pt x="622" y="317"/>
                  </a:lnTo>
                  <a:lnTo>
                    <a:pt x="628" y="314"/>
                  </a:lnTo>
                  <a:lnTo>
                    <a:pt x="628" y="314"/>
                  </a:lnTo>
                  <a:lnTo>
                    <a:pt x="635" y="312"/>
                  </a:lnTo>
                  <a:lnTo>
                    <a:pt x="643" y="310"/>
                  </a:lnTo>
                  <a:lnTo>
                    <a:pt x="648" y="312"/>
                  </a:lnTo>
                  <a:lnTo>
                    <a:pt x="654" y="315"/>
                  </a:lnTo>
                  <a:lnTo>
                    <a:pt x="661" y="325"/>
                  </a:lnTo>
                  <a:lnTo>
                    <a:pt x="669" y="336"/>
                  </a:lnTo>
                  <a:lnTo>
                    <a:pt x="676" y="347"/>
                  </a:lnTo>
                  <a:lnTo>
                    <a:pt x="680" y="353"/>
                  </a:lnTo>
                  <a:lnTo>
                    <a:pt x="684" y="357"/>
                  </a:lnTo>
                  <a:lnTo>
                    <a:pt x="689" y="358"/>
                  </a:lnTo>
                  <a:lnTo>
                    <a:pt x="695" y="358"/>
                  </a:lnTo>
                  <a:lnTo>
                    <a:pt x="703" y="355"/>
                  </a:lnTo>
                  <a:lnTo>
                    <a:pt x="710" y="351"/>
                  </a:lnTo>
                  <a:lnTo>
                    <a:pt x="710" y="351"/>
                  </a:lnTo>
                  <a:lnTo>
                    <a:pt x="738" y="328"/>
                  </a:lnTo>
                  <a:lnTo>
                    <a:pt x="744" y="325"/>
                  </a:lnTo>
                  <a:lnTo>
                    <a:pt x="746" y="321"/>
                  </a:lnTo>
                  <a:lnTo>
                    <a:pt x="744" y="317"/>
                  </a:lnTo>
                  <a:lnTo>
                    <a:pt x="740" y="314"/>
                  </a:lnTo>
                  <a:lnTo>
                    <a:pt x="736" y="306"/>
                  </a:lnTo>
                  <a:lnTo>
                    <a:pt x="732" y="293"/>
                  </a:lnTo>
                  <a:lnTo>
                    <a:pt x="732" y="293"/>
                  </a:lnTo>
                  <a:lnTo>
                    <a:pt x="732" y="287"/>
                  </a:lnTo>
                  <a:lnTo>
                    <a:pt x="731" y="284"/>
                  </a:lnTo>
                  <a:lnTo>
                    <a:pt x="727" y="280"/>
                  </a:lnTo>
                  <a:lnTo>
                    <a:pt x="725" y="278"/>
                  </a:lnTo>
                  <a:lnTo>
                    <a:pt x="718" y="276"/>
                  </a:lnTo>
                  <a:lnTo>
                    <a:pt x="708" y="274"/>
                  </a:lnTo>
                  <a:lnTo>
                    <a:pt x="701" y="272"/>
                  </a:lnTo>
                  <a:lnTo>
                    <a:pt x="697" y="271"/>
                  </a:lnTo>
                  <a:lnTo>
                    <a:pt x="693" y="267"/>
                  </a:lnTo>
                  <a:lnTo>
                    <a:pt x="691" y="263"/>
                  </a:lnTo>
                  <a:lnTo>
                    <a:pt x="689" y="257"/>
                  </a:lnTo>
                  <a:lnTo>
                    <a:pt x="688" y="248"/>
                  </a:lnTo>
                  <a:lnTo>
                    <a:pt x="688" y="239"/>
                  </a:lnTo>
                  <a:lnTo>
                    <a:pt x="688" y="239"/>
                  </a:lnTo>
                  <a:lnTo>
                    <a:pt x="643" y="239"/>
                  </a:lnTo>
                  <a:lnTo>
                    <a:pt x="617" y="237"/>
                  </a:lnTo>
                  <a:lnTo>
                    <a:pt x="609" y="237"/>
                  </a:lnTo>
                  <a:lnTo>
                    <a:pt x="604" y="233"/>
                  </a:lnTo>
                  <a:lnTo>
                    <a:pt x="600" y="231"/>
                  </a:lnTo>
                  <a:lnTo>
                    <a:pt x="598" y="229"/>
                  </a:lnTo>
                  <a:lnTo>
                    <a:pt x="598" y="222"/>
                  </a:lnTo>
                  <a:lnTo>
                    <a:pt x="598" y="214"/>
                  </a:lnTo>
                  <a:lnTo>
                    <a:pt x="596" y="211"/>
                  </a:lnTo>
                  <a:lnTo>
                    <a:pt x="592" y="207"/>
                  </a:lnTo>
                  <a:lnTo>
                    <a:pt x="585" y="201"/>
                  </a:lnTo>
                  <a:lnTo>
                    <a:pt x="575" y="198"/>
                  </a:lnTo>
                  <a:lnTo>
                    <a:pt x="575" y="198"/>
                  </a:lnTo>
                  <a:lnTo>
                    <a:pt x="570" y="196"/>
                  </a:lnTo>
                  <a:lnTo>
                    <a:pt x="568" y="194"/>
                  </a:lnTo>
                  <a:lnTo>
                    <a:pt x="568" y="190"/>
                  </a:lnTo>
                  <a:lnTo>
                    <a:pt x="566" y="188"/>
                  </a:lnTo>
                  <a:lnTo>
                    <a:pt x="562" y="186"/>
                  </a:lnTo>
                  <a:lnTo>
                    <a:pt x="534" y="186"/>
                  </a:lnTo>
                  <a:lnTo>
                    <a:pt x="534" y="186"/>
                  </a:lnTo>
                  <a:lnTo>
                    <a:pt x="529" y="186"/>
                  </a:lnTo>
                  <a:lnTo>
                    <a:pt x="523" y="185"/>
                  </a:lnTo>
                  <a:lnTo>
                    <a:pt x="521" y="183"/>
                  </a:lnTo>
                  <a:lnTo>
                    <a:pt x="519" y="181"/>
                  </a:lnTo>
                  <a:lnTo>
                    <a:pt x="521" y="173"/>
                  </a:lnTo>
                  <a:lnTo>
                    <a:pt x="525" y="166"/>
                  </a:lnTo>
                  <a:lnTo>
                    <a:pt x="538" y="147"/>
                  </a:lnTo>
                  <a:lnTo>
                    <a:pt x="544" y="140"/>
                  </a:lnTo>
                  <a:lnTo>
                    <a:pt x="547" y="134"/>
                  </a:lnTo>
                  <a:lnTo>
                    <a:pt x="547" y="134"/>
                  </a:lnTo>
                  <a:lnTo>
                    <a:pt x="551" y="129"/>
                  </a:lnTo>
                  <a:lnTo>
                    <a:pt x="555" y="125"/>
                  </a:lnTo>
                  <a:lnTo>
                    <a:pt x="568" y="121"/>
                  </a:lnTo>
                  <a:lnTo>
                    <a:pt x="574" y="117"/>
                  </a:lnTo>
                  <a:lnTo>
                    <a:pt x="579" y="114"/>
                  </a:lnTo>
                  <a:lnTo>
                    <a:pt x="583" y="108"/>
                  </a:lnTo>
                  <a:lnTo>
                    <a:pt x="583" y="99"/>
                  </a:lnTo>
                  <a:lnTo>
                    <a:pt x="583" y="99"/>
                  </a:lnTo>
                  <a:lnTo>
                    <a:pt x="587" y="91"/>
                  </a:lnTo>
                  <a:lnTo>
                    <a:pt x="594" y="84"/>
                  </a:lnTo>
                  <a:lnTo>
                    <a:pt x="618" y="67"/>
                  </a:lnTo>
                  <a:lnTo>
                    <a:pt x="632" y="58"/>
                  </a:lnTo>
                  <a:lnTo>
                    <a:pt x="643" y="46"/>
                  </a:lnTo>
                  <a:lnTo>
                    <a:pt x="652" y="37"/>
                  </a:lnTo>
                  <a:lnTo>
                    <a:pt x="658" y="26"/>
                  </a:lnTo>
                  <a:lnTo>
                    <a:pt x="658" y="26"/>
                  </a:lnTo>
                  <a:lnTo>
                    <a:pt x="658" y="26"/>
                  </a:lnTo>
                  <a:lnTo>
                    <a:pt x="658" y="26"/>
                  </a:lnTo>
                  <a:lnTo>
                    <a:pt x="660" y="22"/>
                  </a:lnTo>
                  <a:lnTo>
                    <a:pt x="660" y="22"/>
                  </a:lnTo>
                  <a:lnTo>
                    <a:pt x="660" y="22"/>
                  </a:lnTo>
                  <a:lnTo>
                    <a:pt x="660" y="22"/>
                  </a:lnTo>
                  <a:lnTo>
                    <a:pt x="656" y="24"/>
                  </a:lnTo>
                  <a:lnTo>
                    <a:pt x="652" y="30"/>
                  </a:lnTo>
                  <a:lnTo>
                    <a:pt x="643" y="33"/>
                  </a:lnTo>
                  <a:lnTo>
                    <a:pt x="630" y="37"/>
                  </a:lnTo>
                  <a:lnTo>
                    <a:pt x="630" y="37"/>
                  </a:lnTo>
                  <a:lnTo>
                    <a:pt x="624" y="39"/>
                  </a:lnTo>
                  <a:lnTo>
                    <a:pt x="622" y="41"/>
                  </a:lnTo>
                  <a:lnTo>
                    <a:pt x="618" y="44"/>
                  </a:lnTo>
                  <a:lnTo>
                    <a:pt x="618" y="46"/>
                  </a:lnTo>
                  <a:lnTo>
                    <a:pt x="615" y="48"/>
                  </a:lnTo>
                  <a:lnTo>
                    <a:pt x="602" y="52"/>
                  </a:lnTo>
                  <a:lnTo>
                    <a:pt x="602" y="52"/>
                  </a:lnTo>
                  <a:lnTo>
                    <a:pt x="594" y="58"/>
                  </a:lnTo>
                  <a:lnTo>
                    <a:pt x="583" y="65"/>
                  </a:lnTo>
                  <a:lnTo>
                    <a:pt x="577" y="67"/>
                  </a:lnTo>
                  <a:lnTo>
                    <a:pt x="574" y="65"/>
                  </a:lnTo>
                  <a:lnTo>
                    <a:pt x="574" y="59"/>
                  </a:lnTo>
                  <a:lnTo>
                    <a:pt x="575" y="50"/>
                  </a:lnTo>
                  <a:lnTo>
                    <a:pt x="575" y="50"/>
                  </a:lnTo>
                  <a:lnTo>
                    <a:pt x="581" y="44"/>
                  </a:lnTo>
                  <a:lnTo>
                    <a:pt x="589" y="37"/>
                  </a:lnTo>
                  <a:lnTo>
                    <a:pt x="590" y="33"/>
                  </a:lnTo>
                  <a:lnTo>
                    <a:pt x="592" y="28"/>
                  </a:lnTo>
                  <a:lnTo>
                    <a:pt x="592" y="22"/>
                  </a:lnTo>
                  <a:lnTo>
                    <a:pt x="590" y="15"/>
                  </a:lnTo>
                  <a:lnTo>
                    <a:pt x="590" y="15"/>
                  </a:lnTo>
                  <a:lnTo>
                    <a:pt x="581" y="20"/>
                  </a:lnTo>
                  <a:lnTo>
                    <a:pt x="577" y="26"/>
                  </a:lnTo>
                  <a:lnTo>
                    <a:pt x="574" y="26"/>
                  </a:lnTo>
                  <a:lnTo>
                    <a:pt x="572" y="26"/>
                  </a:lnTo>
                  <a:lnTo>
                    <a:pt x="564" y="20"/>
                  </a:lnTo>
                  <a:lnTo>
                    <a:pt x="564" y="20"/>
                  </a:lnTo>
                  <a:lnTo>
                    <a:pt x="557" y="13"/>
                  </a:lnTo>
                  <a:lnTo>
                    <a:pt x="553" y="11"/>
                  </a:lnTo>
                  <a:lnTo>
                    <a:pt x="551" y="11"/>
                  </a:lnTo>
                  <a:lnTo>
                    <a:pt x="546" y="13"/>
                  </a:lnTo>
                  <a:lnTo>
                    <a:pt x="542" y="18"/>
                  </a:lnTo>
                  <a:lnTo>
                    <a:pt x="538" y="24"/>
                  </a:lnTo>
                  <a:lnTo>
                    <a:pt x="534" y="28"/>
                  </a:lnTo>
                  <a:lnTo>
                    <a:pt x="531" y="31"/>
                  </a:lnTo>
                  <a:lnTo>
                    <a:pt x="527" y="31"/>
                  </a:lnTo>
                  <a:lnTo>
                    <a:pt x="523" y="30"/>
                  </a:lnTo>
                  <a:lnTo>
                    <a:pt x="523" y="30"/>
                  </a:lnTo>
                  <a:lnTo>
                    <a:pt x="460" y="15"/>
                  </a:lnTo>
                  <a:lnTo>
                    <a:pt x="389" y="0"/>
                  </a:lnTo>
                  <a:lnTo>
                    <a:pt x="389" y="0"/>
                  </a:lnTo>
                  <a:lnTo>
                    <a:pt x="383" y="58"/>
                  </a:lnTo>
                  <a:lnTo>
                    <a:pt x="379" y="78"/>
                  </a:lnTo>
                  <a:lnTo>
                    <a:pt x="376" y="97"/>
                  </a:lnTo>
                  <a:lnTo>
                    <a:pt x="372" y="106"/>
                  </a:lnTo>
                  <a:lnTo>
                    <a:pt x="366" y="114"/>
                  </a:lnTo>
                  <a:lnTo>
                    <a:pt x="361" y="119"/>
                  </a:lnTo>
                  <a:lnTo>
                    <a:pt x="355" y="125"/>
                  </a:lnTo>
                  <a:lnTo>
                    <a:pt x="336" y="136"/>
                  </a:lnTo>
                  <a:lnTo>
                    <a:pt x="312" y="147"/>
                  </a:lnTo>
                  <a:lnTo>
                    <a:pt x="312" y="147"/>
                  </a:lnTo>
                  <a:lnTo>
                    <a:pt x="299" y="151"/>
                  </a:lnTo>
                  <a:lnTo>
                    <a:pt x="295" y="155"/>
                  </a:lnTo>
                  <a:lnTo>
                    <a:pt x="295" y="158"/>
                  </a:lnTo>
                  <a:lnTo>
                    <a:pt x="295" y="160"/>
                  </a:lnTo>
                  <a:lnTo>
                    <a:pt x="293" y="160"/>
                  </a:lnTo>
                  <a:lnTo>
                    <a:pt x="284" y="160"/>
                  </a:lnTo>
                  <a:lnTo>
                    <a:pt x="232" y="162"/>
                  </a:lnTo>
                  <a:lnTo>
                    <a:pt x="232" y="162"/>
                  </a:lnTo>
                  <a:lnTo>
                    <a:pt x="213" y="164"/>
                  </a:lnTo>
                  <a:lnTo>
                    <a:pt x="204" y="166"/>
                  </a:lnTo>
                  <a:lnTo>
                    <a:pt x="202" y="168"/>
                  </a:lnTo>
                  <a:lnTo>
                    <a:pt x="202" y="170"/>
                  </a:lnTo>
                  <a:lnTo>
                    <a:pt x="204" y="172"/>
                  </a:lnTo>
                  <a:lnTo>
                    <a:pt x="204" y="175"/>
                  </a:lnTo>
                  <a:lnTo>
                    <a:pt x="198" y="181"/>
                  </a:lnTo>
                  <a:lnTo>
                    <a:pt x="185" y="185"/>
                  </a:lnTo>
                  <a:lnTo>
                    <a:pt x="185" y="185"/>
                  </a:lnTo>
                  <a:lnTo>
                    <a:pt x="166" y="192"/>
                  </a:lnTo>
                  <a:lnTo>
                    <a:pt x="157" y="198"/>
                  </a:lnTo>
                  <a:lnTo>
                    <a:pt x="153" y="203"/>
                  </a:lnTo>
                  <a:lnTo>
                    <a:pt x="151" y="209"/>
                  </a:lnTo>
                  <a:lnTo>
                    <a:pt x="149" y="213"/>
                  </a:lnTo>
                  <a:lnTo>
                    <a:pt x="144" y="218"/>
                  </a:lnTo>
                  <a:lnTo>
                    <a:pt x="129" y="222"/>
                  </a:lnTo>
                  <a:lnTo>
                    <a:pt x="105" y="226"/>
                  </a:lnTo>
                  <a:lnTo>
                    <a:pt x="105" y="226"/>
                  </a:lnTo>
                  <a:lnTo>
                    <a:pt x="95" y="229"/>
                  </a:lnTo>
                  <a:lnTo>
                    <a:pt x="86" y="231"/>
                  </a:lnTo>
                  <a:lnTo>
                    <a:pt x="73" y="239"/>
                  </a:lnTo>
                  <a:lnTo>
                    <a:pt x="63" y="244"/>
                  </a:lnTo>
                  <a:lnTo>
                    <a:pt x="50" y="250"/>
                  </a:lnTo>
                  <a:lnTo>
                    <a:pt x="32" y="256"/>
                  </a:lnTo>
                  <a:lnTo>
                    <a:pt x="5" y="259"/>
                  </a:lnTo>
                  <a:lnTo>
                    <a:pt x="5" y="259"/>
                  </a:lnTo>
                  <a:lnTo>
                    <a:pt x="0" y="263"/>
                  </a:lnTo>
                  <a:lnTo>
                    <a:pt x="0" y="263"/>
                  </a:lnTo>
                  <a:lnTo>
                    <a:pt x="4" y="271"/>
                  </a:lnTo>
                  <a:lnTo>
                    <a:pt x="7" y="278"/>
                  </a:lnTo>
                  <a:lnTo>
                    <a:pt x="13" y="293"/>
                  </a:lnTo>
                  <a:lnTo>
                    <a:pt x="17" y="304"/>
                  </a:lnTo>
                  <a:lnTo>
                    <a:pt x="19" y="310"/>
                  </a:lnTo>
                  <a:lnTo>
                    <a:pt x="22" y="312"/>
                  </a:lnTo>
                  <a:lnTo>
                    <a:pt x="22" y="312"/>
                  </a:lnTo>
                  <a:lnTo>
                    <a:pt x="28" y="319"/>
                  </a:lnTo>
                  <a:lnTo>
                    <a:pt x="34" y="332"/>
                  </a:lnTo>
                  <a:lnTo>
                    <a:pt x="37" y="347"/>
                  </a:lnTo>
                  <a:lnTo>
                    <a:pt x="37" y="353"/>
                  </a:lnTo>
                  <a:lnTo>
                    <a:pt x="35" y="357"/>
                  </a:lnTo>
                  <a:lnTo>
                    <a:pt x="35" y="357"/>
                  </a:lnTo>
                  <a:lnTo>
                    <a:pt x="35" y="358"/>
                  </a:lnTo>
                  <a:lnTo>
                    <a:pt x="39" y="362"/>
                  </a:lnTo>
                  <a:lnTo>
                    <a:pt x="47" y="370"/>
                  </a:lnTo>
                  <a:lnTo>
                    <a:pt x="54" y="379"/>
                  </a:lnTo>
                  <a:lnTo>
                    <a:pt x="54" y="379"/>
                  </a:lnTo>
                  <a:lnTo>
                    <a:pt x="62" y="390"/>
                  </a:lnTo>
                  <a:lnTo>
                    <a:pt x="67" y="394"/>
                  </a:lnTo>
                  <a:lnTo>
                    <a:pt x="69" y="396"/>
                  </a:lnTo>
                  <a:lnTo>
                    <a:pt x="73" y="396"/>
                  </a:lnTo>
                  <a:lnTo>
                    <a:pt x="73" y="398"/>
                  </a:lnTo>
                  <a:lnTo>
                    <a:pt x="75" y="403"/>
                  </a:lnTo>
                  <a:lnTo>
                    <a:pt x="75" y="439"/>
                  </a:lnTo>
                  <a:lnTo>
                    <a:pt x="75" y="439"/>
                  </a:lnTo>
                  <a:lnTo>
                    <a:pt x="75" y="444"/>
                  </a:lnTo>
                  <a:lnTo>
                    <a:pt x="75" y="444"/>
                  </a:lnTo>
                  <a:lnTo>
                    <a:pt x="75" y="444"/>
                  </a:lnTo>
                  <a:lnTo>
                    <a:pt x="78" y="448"/>
                  </a:lnTo>
                  <a:lnTo>
                    <a:pt x="80" y="450"/>
                  </a:lnTo>
                  <a:lnTo>
                    <a:pt x="88" y="457"/>
                  </a:lnTo>
                  <a:lnTo>
                    <a:pt x="93" y="461"/>
                  </a:lnTo>
                  <a:lnTo>
                    <a:pt x="97" y="467"/>
                  </a:lnTo>
                  <a:lnTo>
                    <a:pt x="103" y="476"/>
                  </a:lnTo>
                  <a:lnTo>
                    <a:pt x="106" y="485"/>
                  </a:lnTo>
                  <a:lnTo>
                    <a:pt x="106" y="485"/>
                  </a:lnTo>
                  <a:lnTo>
                    <a:pt x="108" y="493"/>
                  </a:lnTo>
                  <a:lnTo>
                    <a:pt x="114" y="500"/>
                  </a:lnTo>
                  <a:lnTo>
                    <a:pt x="127" y="517"/>
                  </a:lnTo>
                  <a:lnTo>
                    <a:pt x="136" y="525"/>
                  </a:lnTo>
                  <a:lnTo>
                    <a:pt x="144" y="530"/>
                  </a:lnTo>
                  <a:lnTo>
                    <a:pt x="151" y="536"/>
                  </a:lnTo>
                  <a:lnTo>
                    <a:pt x="159" y="538"/>
                  </a:lnTo>
                  <a:lnTo>
                    <a:pt x="159" y="538"/>
                  </a:lnTo>
                  <a:lnTo>
                    <a:pt x="170" y="540"/>
                  </a:lnTo>
                  <a:lnTo>
                    <a:pt x="181" y="543"/>
                  </a:lnTo>
                  <a:lnTo>
                    <a:pt x="204" y="558"/>
                  </a:lnTo>
                  <a:lnTo>
                    <a:pt x="215" y="566"/>
                  </a:lnTo>
                  <a:lnTo>
                    <a:pt x="226" y="570"/>
                  </a:lnTo>
                  <a:lnTo>
                    <a:pt x="237" y="571"/>
                  </a:lnTo>
                  <a:lnTo>
                    <a:pt x="243" y="571"/>
                  </a:lnTo>
                  <a:lnTo>
                    <a:pt x="248" y="570"/>
                  </a:lnTo>
                  <a:lnTo>
                    <a:pt x="248" y="570"/>
                  </a:lnTo>
                  <a:lnTo>
                    <a:pt x="258" y="566"/>
                  </a:lnTo>
                  <a:lnTo>
                    <a:pt x="265" y="564"/>
                  </a:lnTo>
                  <a:lnTo>
                    <a:pt x="271" y="564"/>
                  </a:lnTo>
                  <a:lnTo>
                    <a:pt x="276" y="566"/>
                  </a:lnTo>
                  <a:lnTo>
                    <a:pt x="290" y="568"/>
                  </a:lnTo>
                  <a:lnTo>
                    <a:pt x="297" y="566"/>
                  </a:lnTo>
                  <a:lnTo>
                    <a:pt x="306" y="562"/>
                  </a:lnTo>
                  <a:lnTo>
                    <a:pt x="306" y="562"/>
                  </a:lnTo>
                  <a:lnTo>
                    <a:pt x="314" y="560"/>
                  </a:lnTo>
                  <a:lnTo>
                    <a:pt x="321" y="558"/>
                  </a:lnTo>
                  <a:lnTo>
                    <a:pt x="329" y="558"/>
                  </a:lnTo>
                  <a:lnTo>
                    <a:pt x="334" y="558"/>
                  </a:lnTo>
                  <a:lnTo>
                    <a:pt x="344" y="562"/>
                  </a:lnTo>
                  <a:lnTo>
                    <a:pt x="351" y="568"/>
                  </a:lnTo>
                  <a:lnTo>
                    <a:pt x="361" y="571"/>
                  </a:lnTo>
                  <a:lnTo>
                    <a:pt x="370" y="573"/>
                  </a:lnTo>
                  <a:lnTo>
                    <a:pt x="376" y="573"/>
                  </a:lnTo>
                  <a:lnTo>
                    <a:pt x="381" y="571"/>
                  </a:lnTo>
                  <a:lnTo>
                    <a:pt x="396" y="562"/>
                  </a:lnTo>
                  <a:lnTo>
                    <a:pt x="396" y="562"/>
                  </a:lnTo>
                  <a:lnTo>
                    <a:pt x="400" y="558"/>
                  </a:lnTo>
                  <a:lnTo>
                    <a:pt x="405" y="556"/>
                  </a:lnTo>
                  <a:lnTo>
                    <a:pt x="407" y="556"/>
                  </a:lnTo>
                  <a:lnTo>
                    <a:pt x="409" y="558"/>
                  </a:lnTo>
                  <a:lnTo>
                    <a:pt x="413" y="566"/>
                  </a:lnTo>
                  <a:lnTo>
                    <a:pt x="413" y="575"/>
                  </a:lnTo>
                  <a:lnTo>
                    <a:pt x="411" y="598"/>
                  </a:lnTo>
                  <a:lnTo>
                    <a:pt x="411" y="605"/>
                  </a:lnTo>
                  <a:lnTo>
                    <a:pt x="411" y="611"/>
                  </a:lnTo>
                  <a:lnTo>
                    <a:pt x="411" y="611"/>
                  </a:lnTo>
                  <a:lnTo>
                    <a:pt x="422" y="624"/>
                  </a:lnTo>
                  <a:lnTo>
                    <a:pt x="428" y="631"/>
                  </a:lnTo>
                  <a:lnTo>
                    <a:pt x="433" y="637"/>
                  </a:lnTo>
                  <a:lnTo>
                    <a:pt x="433" y="637"/>
                  </a:lnTo>
                  <a:lnTo>
                    <a:pt x="441" y="642"/>
                  </a:lnTo>
                  <a:lnTo>
                    <a:pt x="443" y="646"/>
                  </a:lnTo>
                  <a:lnTo>
                    <a:pt x="445" y="648"/>
                  </a:lnTo>
                  <a:lnTo>
                    <a:pt x="450" y="646"/>
                  </a:lnTo>
                  <a:lnTo>
                    <a:pt x="467" y="639"/>
                  </a:lnTo>
                  <a:lnTo>
                    <a:pt x="467" y="639"/>
                  </a:lnTo>
                  <a:lnTo>
                    <a:pt x="476" y="641"/>
                  </a:lnTo>
                  <a:lnTo>
                    <a:pt x="493" y="644"/>
                  </a:lnTo>
                  <a:lnTo>
                    <a:pt x="510" y="650"/>
                  </a:lnTo>
                  <a:lnTo>
                    <a:pt x="518" y="654"/>
                  </a:lnTo>
                  <a:lnTo>
                    <a:pt x="518" y="654"/>
                  </a:lnTo>
                  <a:lnTo>
                    <a:pt x="521" y="667"/>
                  </a:lnTo>
                  <a:lnTo>
                    <a:pt x="525" y="670"/>
                  </a:lnTo>
                  <a:lnTo>
                    <a:pt x="529" y="674"/>
                  </a:lnTo>
                  <a:lnTo>
                    <a:pt x="538" y="678"/>
                  </a:lnTo>
                  <a:lnTo>
                    <a:pt x="551" y="683"/>
                  </a:lnTo>
                  <a:lnTo>
                    <a:pt x="551" y="683"/>
                  </a:lnTo>
                  <a:lnTo>
                    <a:pt x="557" y="685"/>
                  </a:lnTo>
                  <a:lnTo>
                    <a:pt x="561" y="685"/>
                  </a:lnTo>
                  <a:lnTo>
                    <a:pt x="570" y="682"/>
                  </a:lnTo>
                  <a:lnTo>
                    <a:pt x="577" y="676"/>
                  </a:lnTo>
                  <a:lnTo>
                    <a:pt x="583" y="670"/>
                  </a:lnTo>
                  <a:lnTo>
                    <a:pt x="589" y="665"/>
                  </a:lnTo>
                  <a:lnTo>
                    <a:pt x="590" y="665"/>
                  </a:lnTo>
                  <a:lnTo>
                    <a:pt x="592" y="665"/>
                  </a:lnTo>
                  <a:lnTo>
                    <a:pt x="594" y="669"/>
                  </a:lnTo>
                  <a:lnTo>
                    <a:pt x="596" y="672"/>
                  </a:lnTo>
                  <a:lnTo>
                    <a:pt x="600" y="687"/>
                  </a:lnTo>
                  <a:lnTo>
                    <a:pt x="600" y="687"/>
                  </a:lnTo>
                  <a:lnTo>
                    <a:pt x="604" y="691"/>
                  </a:lnTo>
                  <a:lnTo>
                    <a:pt x="613" y="695"/>
                  </a:lnTo>
                  <a:lnTo>
                    <a:pt x="613" y="695"/>
                  </a:lnTo>
                  <a:lnTo>
                    <a:pt x="617" y="678"/>
                  </a:lnTo>
                  <a:lnTo>
                    <a:pt x="620" y="665"/>
                  </a:lnTo>
                  <a:lnTo>
                    <a:pt x="626" y="654"/>
                  </a:lnTo>
                  <a:lnTo>
                    <a:pt x="632" y="646"/>
                  </a:lnTo>
                  <a:lnTo>
                    <a:pt x="637" y="641"/>
                  </a:lnTo>
                  <a:lnTo>
                    <a:pt x="645" y="639"/>
                  </a:lnTo>
                  <a:lnTo>
                    <a:pt x="658" y="635"/>
                  </a:lnTo>
                  <a:lnTo>
                    <a:pt x="667" y="631"/>
                  </a:lnTo>
                  <a:lnTo>
                    <a:pt x="673" y="629"/>
                  </a:lnTo>
                  <a:lnTo>
                    <a:pt x="676" y="626"/>
                  </a:lnTo>
                  <a:lnTo>
                    <a:pt x="678" y="618"/>
                  </a:lnTo>
                  <a:lnTo>
                    <a:pt x="680" y="611"/>
                  </a:lnTo>
                  <a:lnTo>
                    <a:pt x="680" y="599"/>
                  </a:lnTo>
                  <a:lnTo>
                    <a:pt x="678" y="584"/>
                  </a:lnTo>
                  <a:lnTo>
                    <a:pt x="678" y="58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 name="Freeform 48">
              <a:extLst>
                <a:ext uri="{FF2B5EF4-FFF2-40B4-BE49-F238E27FC236}">
                  <a16:creationId xmlns:a16="http://schemas.microsoft.com/office/drawing/2014/main" id="{C992FB03-248E-42E2-8C89-B58EAE94E73B}"/>
                </a:ext>
              </a:extLst>
            </p:cNvPr>
            <p:cNvSpPr>
              <a:spLocks/>
            </p:cNvSpPr>
            <p:nvPr/>
          </p:nvSpPr>
          <p:spPr bwMode="auto">
            <a:xfrm>
              <a:off x="5302297" y="3380217"/>
              <a:ext cx="430549" cy="824764"/>
            </a:xfrm>
            <a:custGeom>
              <a:avLst/>
              <a:gdLst/>
              <a:ahLst/>
              <a:cxnLst>
                <a:cxn ang="0">
                  <a:pos x="378" y="762"/>
                </a:cxn>
                <a:cxn ang="0">
                  <a:pos x="400" y="701"/>
                </a:cxn>
                <a:cxn ang="0">
                  <a:pos x="374" y="598"/>
                </a:cxn>
                <a:cxn ang="0">
                  <a:pos x="389" y="581"/>
                </a:cxn>
                <a:cxn ang="0">
                  <a:pos x="400" y="549"/>
                </a:cxn>
                <a:cxn ang="0">
                  <a:pos x="421" y="418"/>
                </a:cxn>
                <a:cxn ang="0">
                  <a:pos x="381" y="377"/>
                </a:cxn>
                <a:cxn ang="0">
                  <a:pos x="372" y="334"/>
                </a:cxn>
                <a:cxn ang="0">
                  <a:pos x="394" y="306"/>
                </a:cxn>
                <a:cxn ang="0">
                  <a:pos x="389" y="275"/>
                </a:cxn>
                <a:cxn ang="0">
                  <a:pos x="402" y="256"/>
                </a:cxn>
                <a:cxn ang="0">
                  <a:pos x="452" y="246"/>
                </a:cxn>
                <a:cxn ang="0">
                  <a:pos x="465" y="232"/>
                </a:cxn>
                <a:cxn ang="0">
                  <a:pos x="473" y="179"/>
                </a:cxn>
                <a:cxn ang="0">
                  <a:pos x="456" y="147"/>
                </a:cxn>
                <a:cxn ang="0">
                  <a:pos x="407" y="118"/>
                </a:cxn>
                <a:cxn ang="0">
                  <a:pos x="413" y="99"/>
                </a:cxn>
                <a:cxn ang="0">
                  <a:pos x="467" y="71"/>
                </a:cxn>
                <a:cxn ang="0">
                  <a:pos x="443" y="60"/>
                </a:cxn>
                <a:cxn ang="0">
                  <a:pos x="413" y="0"/>
                </a:cxn>
                <a:cxn ang="0">
                  <a:pos x="404" y="45"/>
                </a:cxn>
                <a:cxn ang="0">
                  <a:pos x="364" y="71"/>
                </a:cxn>
                <a:cxn ang="0">
                  <a:pos x="320" y="73"/>
                </a:cxn>
                <a:cxn ang="0">
                  <a:pos x="293" y="84"/>
                </a:cxn>
                <a:cxn ang="0">
                  <a:pos x="262" y="93"/>
                </a:cxn>
                <a:cxn ang="0">
                  <a:pos x="221" y="95"/>
                </a:cxn>
                <a:cxn ang="0">
                  <a:pos x="200" y="144"/>
                </a:cxn>
                <a:cxn ang="0">
                  <a:pos x="176" y="187"/>
                </a:cxn>
                <a:cxn ang="0">
                  <a:pos x="135" y="189"/>
                </a:cxn>
                <a:cxn ang="0">
                  <a:pos x="110" y="209"/>
                </a:cxn>
                <a:cxn ang="0">
                  <a:pos x="94" y="218"/>
                </a:cxn>
                <a:cxn ang="0">
                  <a:pos x="95" y="256"/>
                </a:cxn>
                <a:cxn ang="0">
                  <a:pos x="77" y="317"/>
                </a:cxn>
                <a:cxn ang="0">
                  <a:pos x="41" y="368"/>
                </a:cxn>
                <a:cxn ang="0">
                  <a:pos x="32" y="407"/>
                </a:cxn>
                <a:cxn ang="0">
                  <a:pos x="54" y="448"/>
                </a:cxn>
                <a:cxn ang="0">
                  <a:pos x="51" y="488"/>
                </a:cxn>
                <a:cxn ang="0">
                  <a:pos x="49" y="516"/>
                </a:cxn>
                <a:cxn ang="0">
                  <a:pos x="22" y="573"/>
                </a:cxn>
                <a:cxn ang="0">
                  <a:pos x="28" y="626"/>
                </a:cxn>
                <a:cxn ang="0">
                  <a:pos x="26" y="695"/>
                </a:cxn>
                <a:cxn ang="0">
                  <a:pos x="41" y="734"/>
                </a:cxn>
                <a:cxn ang="0">
                  <a:pos x="8" y="837"/>
                </a:cxn>
                <a:cxn ang="0">
                  <a:pos x="9" y="899"/>
                </a:cxn>
                <a:cxn ang="0">
                  <a:pos x="22" y="902"/>
                </a:cxn>
                <a:cxn ang="0">
                  <a:pos x="103" y="874"/>
                </a:cxn>
                <a:cxn ang="0">
                  <a:pos x="161" y="861"/>
                </a:cxn>
                <a:cxn ang="0">
                  <a:pos x="183" y="835"/>
                </a:cxn>
                <a:cxn ang="0">
                  <a:pos x="221" y="815"/>
                </a:cxn>
                <a:cxn ang="0">
                  <a:pos x="249" y="805"/>
                </a:cxn>
                <a:cxn ang="0">
                  <a:pos x="312" y="801"/>
                </a:cxn>
              </a:cxnLst>
              <a:rect l="0" t="0" r="r" b="b"/>
              <a:pathLst>
                <a:path w="475" h="906">
                  <a:moveTo>
                    <a:pt x="329" y="790"/>
                  </a:moveTo>
                  <a:lnTo>
                    <a:pt x="329" y="790"/>
                  </a:lnTo>
                  <a:lnTo>
                    <a:pt x="353" y="779"/>
                  </a:lnTo>
                  <a:lnTo>
                    <a:pt x="372" y="768"/>
                  </a:lnTo>
                  <a:lnTo>
                    <a:pt x="378" y="762"/>
                  </a:lnTo>
                  <a:lnTo>
                    <a:pt x="383" y="757"/>
                  </a:lnTo>
                  <a:lnTo>
                    <a:pt x="389" y="749"/>
                  </a:lnTo>
                  <a:lnTo>
                    <a:pt x="393" y="740"/>
                  </a:lnTo>
                  <a:lnTo>
                    <a:pt x="396" y="721"/>
                  </a:lnTo>
                  <a:lnTo>
                    <a:pt x="400" y="701"/>
                  </a:lnTo>
                  <a:lnTo>
                    <a:pt x="406" y="643"/>
                  </a:lnTo>
                  <a:lnTo>
                    <a:pt x="406" y="643"/>
                  </a:lnTo>
                  <a:lnTo>
                    <a:pt x="385" y="618"/>
                  </a:lnTo>
                  <a:lnTo>
                    <a:pt x="376" y="603"/>
                  </a:lnTo>
                  <a:lnTo>
                    <a:pt x="374" y="598"/>
                  </a:lnTo>
                  <a:lnTo>
                    <a:pt x="374" y="594"/>
                  </a:lnTo>
                  <a:lnTo>
                    <a:pt x="374" y="592"/>
                  </a:lnTo>
                  <a:lnTo>
                    <a:pt x="376" y="588"/>
                  </a:lnTo>
                  <a:lnTo>
                    <a:pt x="381" y="585"/>
                  </a:lnTo>
                  <a:lnTo>
                    <a:pt x="389" y="581"/>
                  </a:lnTo>
                  <a:lnTo>
                    <a:pt x="394" y="573"/>
                  </a:lnTo>
                  <a:lnTo>
                    <a:pt x="396" y="568"/>
                  </a:lnTo>
                  <a:lnTo>
                    <a:pt x="396" y="562"/>
                  </a:lnTo>
                  <a:lnTo>
                    <a:pt x="396" y="562"/>
                  </a:lnTo>
                  <a:lnTo>
                    <a:pt x="400" y="549"/>
                  </a:lnTo>
                  <a:lnTo>
                    <a:pt x="404" y="534"/>
                  </a:lnTo>
                  <a:lnTo>
                    <a:pt x="421" y="501"/>
                  </a:lnTo>
                  <a:lnTo>
                    <a:pt x="441" y="456"/>
                  </a:lnTo>
                  <a:lnTo>
                    <a:pt x="441" y="456"/>
                  </a:lnTo>
                  <a:lnTo>
                    <a:pt x="421" y="418"/>
                  </a:lnTo>
                  <a:lnTo>
                    <a:pt x="402" y="392"/>
                  </a:lnTo>
                  <a:lnTo>
                    <a:pt x="394" y="385"/>
                  </a:lnTo>
                  <a:lnTo>
                    <a:pt x="387" y="379"/>
                  </a:lnTo>
                  <a:lnTo>
                    <a:pt x="387" y="379"/>
                  </a:lnTo>
                  <a:lnTo>
                    <a:pt x="381" y="377"/>
                  </a:lnTo>
                  <a:lnTo>
                    <a:pt x="378" y="374"/>
                  </a:lnTo>
                  <a:lnTo>
                    <a:pt x="372" y="364"/>
                  </a:lnTo>
                  <a:lnTo>
                    <a:pt x="370" y="355"/>
                  </a:lnTo>
                  <a:lnTo>
                    <a:pt x="370" y="346"/>
                  </a:lnTo>
                  <a:lnTo>
                    <a:pt x="372" y="334"/>
                  </a:lnTo>
                  <a:lnTo>
                    <a:pt x="376" y="325"/>
                  </a:lnTo>
                  <a:lnTo>
                    <a:pt x="381" y="319"/>
                  </a:lnTo>
                  <a:lnTo>
                    <a:pt x="385" y="314"/>
                  </a:lnTo>
                  <a:lnTo>
                    <a:pt x="385" y="314"/>
                  </a:lnTo>
                  <a:lnTo>
                    <a:pt x="394" y="306"/>
                  </a:lnTo>
                  <a:lnTo>
                    <a:pt x="398" y="299"/>
                  </a:lnTo>
                  <a:lnTo>
                    <a:pt x="400" y="293"/>
                  </a:lnTo>
                  <a:lnTo>
                    <a:pt x="398" y="288"/>
                  </a:lnTo>
                  <a:lnTo>
                    <a:pt x="393" y="278"/>
                  </a:lnTo>
                  <a:lnTo>
                    <a:pt x="389" y="275"/>
                  </a:lnTo>
                  <a:lnTo>
                    <a:pt x="391" y="271"/>
                  </a:lnTo>
                  <a:lnTo>
                    <a:pt x="391" y="271"/>
                  </a:lnTo>
                  <a:lnTo>
                    <a:pt x="393" y="265"/>
                  </a:lnTo>
                  <a:lnTo>
                    <a:pt x="396" y="260"/>
                  </a:lnTo>
                  <a:lnTo>
                    <a:pt x="402" y="256"/>
                  </a:lnTo>
                  <a:lnTo>
                    <a:pt x="406" y="254"/>
                  </a:lnTo>
                  <a:lnTo>
                    <a:pt x="419" y="252"/>
                  </a:lnTo>
                  <a:lnTo>
                    <a:pt x="430" y="250"/>
                  </a:lnTo>
                  <a:lnTo>
                    <a:pt x="441" y="250"/>
                  </a:lnTo>
                  <a:lnTo>
                    <a:pt x="452" y="246"/>
                  </a:lnTo>
                  <a:lnTo>
                    <a:pt x="456" y="245"/>
                  </a:lnTo>
                  <a:lnTo>
                    <a:pt x="460" y="243"/>
                  </a:lnTo>
                  <a:lnTo>
                    <a:pt x="464" y="237"/>
                  </a:lnTo>
                  <a:lnTo>
                    <a:pt x="465" y="232"/>
                  </a:lnTo>
                  <a:lnTo>
                    <a:pt x="465" y="232"/>
                  </a:lnTo>
                  <a:lnTo>
                    <a:pt x="475" y="185"/>
                  </a:lnTo>
                  <a:lnTo>
                    <a:pt x="475" y="179"/>
                  </a:lnTo>
                  <a:lnTo>
                    <a:pt x="475" y="177"/>
                  </a:lnTo>
                  <a:lnTo>
                    <a:pt x="475" y="179"/>
                  </a:lnTo>
                  <a:lnTo>
                    <a:pt x="473" y="179"/>
                  </a:lnTo>
                  <a:lnTo>
                    <a:pt x="471" y="179"/>
                  </a:lnTo>
                  <a:lnTo>
                    <a:pt x="469" y="177"/>
                  </a:lnTo>
                  <a:lnTo>
                    <a:pt x="464" y="168"/>
                  </a:lnTo>
                  <a:lnTo>
                    <a:pt x="456" y="147"/>
                  </a:lnTo>
                  <a:lnTo>
                    <a:pt x="456" y="147"/>
                  </a:lnTo>
                  <a:lnTo>
                    <a:pt x="454" y="146"/>
                  </a:lnTo>
                  <a:lnTo>
                    <a:pt x="452" y="142"/>
                  </a:lnTo>
                  <a:lnTo>
                    <a:pt x="441" y="136"/>
                  </a:lnTo>
                  <a:lnTo>
                    <a:pt x="417" y="125"/>
                  </a:lnTo>
                  <a:lnTo>
                    <a:pt x="407" y="118"/>
                  </a:lnTo>
                  <a:lnTo>
                    <a:pt x="406" y="114"/>
                  </a:lnTo>
                  <a:lnTo>
                    <a:pt x="404" y="110"/>
                  </a:lnTo>
                  <a:lnTo>
                    <a:pt x="404" y="106"/>
                  </a:lnTo>
                  <a:lnTo>
                    <a:pt x="407" y="103"/>
                  </a:lnTo>
                  <a:lnTo>
                    <a:pt x="413" y="99"/>
                  </a:lnTo>
                  <a:lnTo>
                    <a:pt x="422" y="93"/>
                  </a:lnTo>
                  <a:lnTo>
                    <a:pt x="422" y="93"/>
                  </a:lnTo>
                  <a:lnTo>
                    <a:pt x="462" y="75"/>
                  </a:lnTo>
                  <a:lnTo>
                    <a:pt x="467" y="71"/>
                  </a:lnTo>
                  <a:lnTo>
                    <a:pt x="467" y="71"/>
                  </a:lnTo>
                  <a:lnTo>
                    <a:pt x="465" y="69"/>
                  </a:lnTo>
                  <a:lnTo>
                    <a:pt x="454" y="67"/>
                  </a:lnTo>
                  <a:lnTo>
                    <a:pt x="447" y="65"/>
                  </a:lnTo>
                  <a:lnTo>
                    <a:pt x="445" y="62"/>
                  </a:lnTo>
                  <a:lnTo>
                    <a:pt x="443" y="60"/>
                  </a:lnTo>
                  <a:lnTo>
                    <a:pt x="443" y="60"/>
                  </a:lnTo>
                  <a:lnTo>
                    <a:pt x="436" y="37"/>
                  </a:lnTo>
                  <a:lnTo>
                    <a:pt x="430" y="28"/>
                  </a:lnTo>
                  <a:lnTo>
                    <a:pt x="424" y="20"/>
                  </a:lnTo>
                  <a:lnTo>
                    <a:pt x="413" y="0"/>
                  </a:lnTo>
                  <a:lnTo>
                    <a:pt x="413" y="0"/>
                  </a:lnTo>
                  <a:lnTo>
                    <a:pt x="415" y="20"/>
                  </a:lnTo>
                  <a:lnTo>
                    <a:pt x="413" y="33"/>
                  </a:lnTo>
                  <a:lnTo>
                    <a:pt x="409" y="41"/>
                  </a:lnTo>
                  <a:lnTo>
                    <a:pt x="404" y="45"/>
                  </a:lnTo>
                  <a:lnTo>
                    <a:pt x="389" y="52"/>
                  </a:lnTo>
                  <a:lnTo>
                    <a:pt x="379" y="58"/>
                  </a:lnTo>
                  <a:lnTo>
                    <a:pt x="370" y="67"/>
                  </a:lnTo>
                  <a:lnTo>
                    <a:pt x="370" y="67"/>
                  </a:lnTo>
                  <a:lnTo>
                    <a:pt x="364" y="71"/>
                  </a:lnTo>
                  <a:lnTo>
                    <a:pt x="361" y="73"/>
                  </a:lnTo>
                  <a:lnTo>
                    <a:pt x="351" y="75"/>
                  </a:lnTo>
                  <a:lnTo>
                    <a:pt x="342" y="75"/>
                  </a:lnTo>
                  <a:lnTo>
                    <a:pt x="331" y="75"/>
                  </a:lnTo>
                  <a:lnTo>
                    <a:pt x="320" y="73"/>
                  </a:lnTo>
                  <a:lnTo>
                    <a:pt x="310" y="75"/>
                  </a:lnTo>
                  <a:lnTo>
                    <a:pt x="301" y="76"/>
                  </a:lnTo>
                  <a:lnTo>
                    <a:pt x="297" y="80"/>
                  </a:lnTo>
                  <a:lnTo>
                    <a:pt x="293" y="84"/>
                  </a:lnTo>
                  <a:lnTo>
                    <a:pt x="293" y="84"/>
                  </a:lnTo>
                  <a:lnTo>
                    <a:pt x="288" y="90"/>
                  </a:lnTo>
                  <a:lnTo>
                    <a:pt x="284" y="93"/>
                  </a:lnTo>
                  <a:lnTo>
                    <a:pt x="279" y="95"/>
                  </a:lnTo>
                  <a:lnTo>
                    <a:pt x="273" y="95"/>
                  </a:lnTo>
                  <a:lnTo>
                    <a:pt x="262" y="93"/>
                  </a:lnTo>
                  <a:lnTo>
                    <a:pt x="252" y="91"/>
                  </a:lnTo>
                  <a:lnTo>
                    <a:pt x="241" y="90"/>
                  </a:lnTo>
                  <a:lnTo>
                    <a:pt x="230" y="90"/>
                  </a:lnTo>
                  <a:lnTo>
                    <a:pt x="226" y="91"/>
                  </a:lnTo>
                  <a:lnTo>
                    <a:pt x="221" y="95"/>
                  </a:lnTo>
                  <a:lnTo>
                    <a:pt x="217" y="101"/>
                  </a:lnTo>
                  <a:lnTo>
                    <a:pt x="211" y="108"/>
                  </a:lnTo>
                  <a:lnTo>
                    <a:pt x="211" y="108"/>
                  </a:lnTo>
                  <a:lnTo>
                    <a:pt x="206" y="123"/>
                  </a:lnTo>
                  <a:lnTo>
                    <a:pt x="200" y="144"/>
                  </a:lnTo>
                  <a:lnTo>
                    <a:pt x="189" y="179"/>
                  </a:lnTo>
                  <a:lnTo>
                    <a:pt x="189" y="179"/>
                  </a:lnTo>
                  <a:lnTo>
                    <a:pt x="187" y="185"/>
                  </a:lnTo>
                  <a:lnTo>
                    <a:pt x="181" y="187"/>
                  </a:lnTo>
                  <a:lnTo>
                    <a:pt x="176" y="187"/>
                  </a:lnTo>
                  <a:lnTo>
                    <a:pt x="168" y="185"/>
                  </a:lnTo>
                  <a:lnTo>
                    <a:pt x="159" y="181"/>
                  </a:lnTo>
                  <a:lnTo>
                    <a:pt x="150" y="181"/>
                  </a:lnTo>
                  <a:lnTo>
                    <a:pt x="140" y="185"/>
                  </a:lnTo>
                  <a:lnTo>
                    <a:pt x="135" y="189"/>
                  </a:lnTo>
                  <a:lnTo>
                    <a:pt x="129" y="194"/>
                  </a:lnTo>
                  <a:lnTo>
                    <a:pt x="129" y="194"/>
                  </a:lnTo>
                  <a:lnTo>
                    <a:pt x="116" y="207"/>
                  </a:lnTo>
                  <a:lnTo>
                    <a:pt x="112" y="209"/>
                  </a:lnTo>
                  <a:lnTo>
                    <a:pt x="110" y="209"/>
                  </a:lnTo>
                  <a:lnTo>
                    <a:pt x="105" y="207"/>
                  </a:lnTo>
                  <a:lnTo>
                    <a:pt x="101" y="207"/>
                  </a:lnTo>
                  <a:lnTo>
                    <a:pt x="94" y="209"/>
                  </a:lnTo>
                  <a:lnTo>
                    <a:pt x="94" y="209"/>
                  </a:lnTo>
                  <a:lnTo>
                    <a:pt x="94" y="218"/>
                  </a:lnTo>
                  <a:lnTo>
                    <a:pt x="97" y="224"/>
                  </a:lnTo>
                  <a:lnTo>
                    <a:pt x="103" y="232"/>
                  </a:lnTo>
                  <a:lnTo>
                    <a:pt x="103" y="235"/>
                  </a:lnTo>
                  <a:lnTo>
                    <a:pt x="101" y="243"/>
                  </a:lnTo>
                  <a:lnTo>
                    <a:pt x="95" y="256"/>
                  </a:lnTo>
                  <a:lnTo>
                    <a:pt x="86" y="275"/>
                  </a:lnTo>
                  <a:lnTo>
                    <a:pt x="86" y="275"/>
                  </a:lnTo>
                  <a:lnTo>
                    <a:pt x="82" y="284"/>
                  </a:lnTo>
                  <a:lnTo>
                    <a:pt x="80" y="293"/>
                  </a:lnTo>
                  <a:lnTo>
                    <a:pt x="77" y="317"/>
                  </a:lnTo>
                  <a:lnTo>
                    <a:pt x="73" y="331"/>
                  </a:lnTo>
                  <a:lnTo>
                    <a:pt x="65" y="344"/>
                  </a:lnTo>
                  <a:lnTo>
                    <a:pt x="56" y="357"/>
                  </a:lnTo>
                  <a:lnTo>
                    <a:pt x="41" y="368"/>
                  </a:lnTo>
                  <a:lnTo>
                    <a:pt x="41" y="368"/>
                  </a:lnTo>
                  <a:lnTo>
                    <a:pt x="36" y="374"/>
                  </a:lnTo>
                  <a:lnTo>
                    <a:pt x="34" y="381"/>
                  </a:lnTo>
                  <a:lnTo>
                    <a:pt x="32" y="388"/>
                  </a:lnTo>
                  <a:lnTo>
                    <a:pt x="32" y="398"/>
                  </a:lnTo>
                  <a:lnTo>
                    <a:pt x="32" y="407"/>
                  </a:lnTo>
                  <a:lnTo>
                    <a:pt x="34" y="417"/>
                  </a:lnTo>
                  <a:lnTo>
                    <a:pt x="37" y="424"/>
                  </a:lnTo>
                  <a:lnTo>
                    <a:pt x="41" y="430"/>
                  </a:lnTo>
                  <a:lnTo>
                    <a:pt x="41" y="430"/>
                  </a:lnTo>
                  <a:lnTo>
                    <a:pt x="54" y="448"/>
                  </a:lnTo>
                  <a:lnTo>
                    <a:pt x="60" y="461"/>
                  </a:lnTo>
                  <a:lnTo>
                    <a:pt x="60" y="469"/>
                  </a:lnTo>
                  <a:lnTo>
                    <a:pt x="58" y="476"/>
                  </a:lnTo>
                  <a:lnTo>
                    <a:pt x="54" y="482"/>
                  </a:lnTo>
                  <a:lnTo>
                    <a:pt x="51" y="488"/>
                  </a:lnTo>
                  <a:lnTo>
                    <a:pt x="47" y="497"/>
                  </a:lnTo>
                  <a:lnTo>
                    <a:pt x="49" y="508"/>
                  </a:lnTo>
                  <a:lnTo>
                    <a:pt x="49" y="508"/>
                  </a:lnTo>
                  <a:lnTo>
                    <a:pt x="49" y="512"/>
                  </a:lnTo>
                  <a:lnTo>
                    <a:pt x="49" y="516"/>
                  </a:lnTo>
                  <a:lnTo>
                    <a:pt x="45" y="523"/>
                  </a:lnTo>
                  <a:lnTo>
                    <a:pt x="37" y="531"/>
                  </a:lnTo>
                  <a:lnTo>
                    <a:pt x="32" y="542"/>
                  </a:lnTo>
                  <a:lnTo>
                    <a:pt x="24" y="555"/>
                  </a:lnTo>
                  <a:lnTo>
                    <a:pt x="22" y="573"/>
                  </a:lnTo>
                  <a:lnTo>
                    <a:pt x="21" y="585"/>
                  </a:lnTo>
                  <a:lnTo>
                    <a:pt x="22" y="596"/>
                  </a:lnTo>
                  <a:lnTo>
                    <a:pt x="24" y="611"/>
                  </a:lnTo>
                  <a:lnTo>
                    <a:pt x="28" y="626"/>
                  </a:lnTo>
                  <a:lnTo>
                    <a:pt x="28" y="626"/>
                  </a:lnTo>
                  <a:lnTo>
                    <a:pt x="30" y="637"/>
                  </a:lnTo>
                  <a:lnTo>
                    <a:pt x="30" y="648"/>
                  </a:lnTo>
                  <a:lnTo>
                    <a:pt x="26" y="671"/>
                  </a:lnTo>
                  <a:lnTo>
                    <a:pt x="26" y="684"/>
                  </a:lnTo>
                  <a:lnTo>
                    <a:pt x="26" y="695"/>
                  </a:lnTo>
                  <a:lnTo>
                    <a:pt x="30" y="706"/>
                  </a:lnTo>
                  <a:lnTo>
                    <a:pt x="36" y="715"/>
                  </a:lnTo>
                  <a:lnTo>
                    <a:pt x="36" y="715"/>
                  </a:lnTo>
                  <a:lnTo>
                    <a:pt x="39" y="725"/>
                  </a:lnTo>
                  <a:lnTo>
                    <a:pt x="41" y="734"/>
                  </a:lnTo>
                  <a:lnTo>
                    <a:pt x="41" y="744"/>
                  </a:lnTo>
                  <a:lnTo>
                    <a:pt x="39" y="757"/>
                  </a:lnTo>
                  <a:lnTo>
                    <a:pt x="30" y="783"/>
                  </a:lnTo>
                  <a:lnTo>
                    <a:pt x="19" y="809"/>
                  </a:lnTo>
                  <a:lnTo>
                    <a:pt x="8" y="837"/>
                  </a:lnTo>
                  <a:lnTo>
                    <a:pt x="0" y="861"/>
                  </a:lnTo>
                  <a:lnTo>
                    <a:pt x="0" y="872"/>
                  </a:lnTo>
                  <a:lnTo>
                    <a:pt x="0" y="884"/>
                  </a:lnTo>
                  <a:lnTo>
                    <a:pt x="4" y="891"/>
                  </a:lnTo>
                  <a:lnTo>
                    <a:pt x="9" y="899"/>
                  </a:lnTo>
                  <a:lnTo>
                    <a:pt x="9" y="899"/>
                  </a:lnTo>
                  <a:lnTo>
                    <a:pt x="17" y="906"/>
                  </a:lnTo>
                  <a:lnTo>
                    <a:pt x="17" y="906"/>
                  </a:lnTo>
                  <a:lnTo>
                    <a:pt x="22" y="902"/>
                  </a:lnTo>
                  <a:lnTo>
                    <a:pt x="22" y="902"/>
                  </a:lnTo>
                  <a:lnTo>
                    <a:pt x="49" y="899"/>
                  </a:lnTo>
                  <a:lnTo>
                    <a:pt x="67" y="893"/>
                  </a:lnTo>
                  <a:lnTo>
                    <a:pt x="80" y="887"/>
                  </a:lnTo>
                  <a:lnTo>
                    <a:pt x="90" y="882"/>
                  </a:lnTo>
                  <a:lnTo>
                    <a:pt x="103" y="874"/>
                  </a:lnTo>
                  <a:lnTo>
                    <a:pt x="112" y="872"/>
                  </a:lnTo>
                  <a:lnTo>
                    <a:pt x="122" y="869"/>
                  </a:lnTo>
                  <a:lnTo>
                    <a:pt x="122" y="869"/>
                  </a:lnTo>
                  <a:lnTo>
                    <a:pt x="146" y="865"/>
                  </a:lnTo>
                  <a:lnTo>
                    <a:pt x="161" y="861"/>
                  </a:lnTo>
                  <a:lnTo>
                    <a:pt x="166" y="856"/>
                  </a:lnTo>
                  <a:lnTo>
                    <a:pt x="168" y="852"/>
                  </a:lnTo>
                  <a:lnTo>
                    <a:pt x="170" y="846"/>
                  </a:lnTo>
                  <a:lnTo>
                    <a:pt x="174" y="841"/>
                  </a:lnTo>
                  <a:lnTo>
                    <a:pt x="183" y="835"/>
                  </a:lnTo>
                  <a:lnTo>
                    <a:pt x="202" y="828"/>
                  </a:lnTo>
                  <a:lnTo>
                    <a:pt x="202" y="828"/>
                  </a:lnTo>
                  <a:lnTo>
                    <a:pt x="215" y="824"/>
                  </a:lnTo>
                  <a:lnTo>
                    <a:pt x="221" y="818"/>
                  </a:lnTo>
                  <a:lnTo>
                    <a:pt x="221" y="815"/>
                  </a:lnTo>
                  <a:lnTo>
                    <a:pt x="219" y="813"/>
                  </a:lnTo>
                  <a:lnTo>
                    <a:pt x="219" y="811"/>
                  </a:lnTo>
                  <a:lnTo>
                    <a:pt x="221" y="809"/>
                  </a:lnTo>
                  <a:lnTo>
                    <a:pt x="230" y="807"/>
                  </a:lnTo>
                  <a:lnTo>
                    <a:pt x="249" y="805"/>
                  </a:lnTo>
                  <a:lnTo>
                    <a:pt x="249" y="805"/>
                  </a:lnTo>
                  <a:lnTo>
                    <a:pt x="301" y="803"/>
                  </a:lnTo>
                  <a:lnTo>
                    <a:pt x="310" y="803"/>
                  </a:lnTo>
                  <a:lnTo>
                    <a:pt x="312" y="803"/>
                  </a:lnTo>
                  <a:lnTo>
                    <a:pt x="312" y="801"/>
                  </a:lnTo>
                  <a:lnTo>
                    <a:pt x="312" y="798"/>
                  </a:lnTo>
                  <a:lnTo>
                    <a:pt x="316" y="794"/>
                  </a:lnTo>
                  <a:lnTo>
                    <a:pt x="329" y="790"/>
                  </a:lnTo>
                  <a:lnTo>
                    <a:pt x="329" y="79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 name="Freeform 49">
              <a:extLst>
                <a:ext uri="{FF2B5EF4-FFF2-40B4-BE49-F238E27FC236}">
                  <a16:creationId xmlns:a16="http://schemas.microsoft.com/office/drawing/2014/main" id="{D2F789A0-DC99-43E3-A889-8643B7F1E29C}"/>
                </a:ext>
              </a:extLst>
            </p:cNvPr>
            <p:cNvSpPr>
              <a:spLocks noEditPoints="1"/>
            </p:cNvSpPr>
            <p:nvPr/>
          </p:nvSpPr>
          <p:spPr bwMode="auto">
            <a:xfrm>
              <a:off x="4784549" y="3556432"/>
              <a:ext cx="610398" cy="1011880"/>
            </a:xfrm>
            <a:custGeom>
              <a:avLst/>
              <a:gdLst/>
              <a:ahLst/>
              <a:cxnLst>
                <a:cxn ang="0">
                  <a:pos x="570" y="669"/>
                </a:cxn>
                <a:cxn ang="0">
                  <a:pos x="606" y="523"/>
                </a:cxn>
                <a:cxn ang="0">
                  <a:pos x="598" y="434"/>
                </a:cxn>
                <a:cxn ang="0">
                  <a:pos x="607" y="339"/>
                </a:cxn>
                <a:cxn ang="0">
                  <a:pos x="624" y="290"/>
                </a:cxn>
                <a:cxn ang="0">
                  <a:pos x="604" y="225"/>
                </a:cxn>
                <a:cxn ang="0">
                  <a:pos x="626" y="165"/>
                </a:cxn>
                <a:cxn ang="0">
                  <a:pos x="665" y="64"/>
                </a:cxn>
                <a:cxn ang="0">
                  <a:pos x="665" y="8"/>
                </a:cxn>
                <a:cxn ang="0">
                  <a:pos x="622" y="30"/>
                </a:cxn>
                <a:cxn ang="0">
                  <a:pos x="589" y="28"/>
                </a:cxn>
                <a:cxn ang="0">
                  <a:pos x="564" y="36"/>
                </a:cxn>
                <a:cxn ang="0">
                  <a:pos x="533" y="51"/>
                </a:cxn>
                <a:cxn ang="0">
                  <a:pos x="497" y="99"/>
                </a:cxn>
                <a:cxn ang="0">
                  <a:pos x="422" y="196"/>
                </a:cxn>
                <a:cxn ang="0">
                  <a:pos x="411" y="219"/>
                </a:cxn>
                <a:cxn ang="0">
                  <a:pos x="406" y="268"/>
                </a:cxn>
                <a:cxn ang="0">
                  <a:pos x="353" y="269"/>
                </a:cxn>
                <a:cxn ang="0">
                  <a:pos x="286" y="243"/>
                </a:cxn>
                <a:cxn ang="0">
                  <a:pos x="245" y="279"/>
                </a:cxn>
                <a:cxn ang="0">
                  <a:pos x="239" y="374"/>
                </a:cxn>
                <a:cxn ang="0">
                  <a:pos x="336" y="426"/>
                </a:cxn>
                <a:cxn ang="0">
                  <a:pos x="396" y="482"/>
                </a:cxn>
                <a:cxn ang="0">
                  <a:pos x="372" y="555"/>
                </a:cxn>
                <a:cxn ang="0">
                  <a:pos x="353" y="606"/>
                </a:cxn>
                <a:cxn ang="0">
                  <a:pos x="271" y="617"/>
                </a:cxn>
                <a:cxn ang="0">
                  <a:pos x="265" y="654"/>
                </a:cxn>
                <a:cxn ang="0">
                  <a:pos x="165" y="626"/>
                </a:cxn>
                <a:cxn ang="0">
                  <a:pos x="129" y="647"/>
                </a:cxn>
                <a:cxn ang="0">
                  <a:pos x="112" y="701"/>
                </a:cxn>
                <a:cxn ang="0">
                  <a:pos x="151" y="725"/>
                </a:cxn>
                <a:cxn ang="0">
                  <a:pos x="135" y="750"/>
                </a:cxn>
                <a:cxn ang="0">
                  <a:pos x="138" y="837"/>
                </a:cxn>
                <a:cxn ang="0">
                  <a:pos x="80" y="839"/>
                </a:cxn>
                <a:cxn ang="0">
                  <a:pos x="36" y="875"/>
                </a:cxn>
                <a:cxn ang="0">
                  <a:pos x="51" y="929"/>
                </a:cxn>
                <a:cxn ang="0">
                  <a:pos x="2" y="936"/>
                </a:cxn>
                <a:cxn ang="0">
                  <a:pos x="21" y="966"/>
                </a:cxn>
                <a:cxn ang="0">
                  <a:pos x="80" y="964"/>
                </a:cxn>
                <a:cxn ang="0">
                  <a:pos x="153" y="972"/>
                </a:cxn>
                <a:cxn ang="0">
                  <a:pos x="198" y="1000"/>
                </a:cxn>
                <a:cxn ang="0">
                  <a:pos x="236" y="1006"/>
                </a:cxn>
                <a:cxn ang="0">
                  <a:pos x="273" y="1032"/>
                </a:cxn>
                <a:cxn ang="0">
                  <a:pos x="318" y="1037"/>
                </a:cxn>
                <a:cxn ang="0">
                  <a:pos x="398" y="1067"/>
                </a:cxn>
                <a:cxn ang="0">
                  <a:pos x="436" y="1093"/>
                </a:cxn>
                <a:cxn ang="0">
                  <a:pos x="497" y="1116"/>
                </a:cxn>
                <a:cxn ang="0">
                  <a:pos x="497" y="1067"/>
                </a:cxn>
                <a:cxn ang="0">
                  <a:pos x="484" y="1017"/>
                </a:cxn>
                <a:cxn ang="0">
                  <a:pos x="536" y="992"/>
                </a:cxn>
                <a:cxn ang="0">
                  <a:pos x="563" y="964"/>
                </a:cxn>
                <a:cxn ang="0">
                  <a:pos x="521" y="936"/>
                </a:cxn>
                <a:cxn ang="0">
                  <a:pos x="480" y="908"/>
                </a:cxn>
                <a:cxn ang="0">
                  <a:pos x="564" y="905"/>
                </a:cxn>
                <a:cxn ang="0">
                  <a:pos x="615" y="908"/>
                </a:cxn>
                <a:cxn ang="0">
                  <a:pos x="662" y="895"/>
                </a:cxn>
                <a:cxn ang="0">
                  <a:pos x="654" y="845"/>
                </a:cxn>
                <a:cxn ang="0">
                  <a:pos x="622" y="808"/>
                </a:cxn>
                <a:cxn ang="0">
                  <a:pos x="604" y="755"/>
                </a:cxn>
              </a:cxnLst>
              <a:rect l="0" t="0" r="r" b="b"/>
              <a:pathLst>
                <a:path w="673" h="1116">
                  <a:moveTo>
                    <a:pt x="436" y="219"/>
                  </a:moveTo>
                  <a:lnTo>
                    <a:pt x="436" y="219"/>
                  </a:lnTo>
                  <a:close/>
                  <a:moveTo>
                    <a:pt x="579" y="707"/>
                  </a:moveTo>
                  <a:lnTo>
                    <a:pt x="579" y="707"/>
                  </a:lnTo>
                  <a:lnTo>
                    <a:pt x="574" y="699"/>
                  </a:lnTo>
                  <a:lnTo>
                    <a:pt x="570" y="692"/>
                  </a:lnTo>
                  <a:lnTo>
                    <a:pt x="570" y="680"/>
                  </a:lnTo>
                  <a:lnTo>
                    <a:pt x="570" y="669"/>
                  </a:lnTo>
                  <a:lnTo>
                    <a:pt x="578" y="645"/>
                  </a:lnTo>
                  <a:lnTo>
                    <a:pt x="589" y="617"/>
                  </a:lnTo>
                  <a:lnTo>
                    <a:pt x="600" y="591"/>
                  </a:lnTo>
                  <a:lnTo>
                    <a:pt x="609" y="565"/>
                  </a:lnTo>
                  <a:lnTo>
                    <a:pt x="611" y="552"/>
                  </a:lnTo>
                  <a:lnTo>
                    <a:pt x="611" y="542"/>
                  </a:lnTo>
                  <a:lnTo>
                    <a:pt x="609" y="533"/>
                  </a:lnTo>
                  <a:lnTo>
                    <a:pt x="606" y="523"/>
                  </a:lnTo>
                  <a:lnTo>
                    <a:pt x="606" y="523"/>
                  </a:lnTo>
                  <a:lnTo>
                    <a:pt x="600" y="514"/>
                  </a:lnTo>
                  <a:lnTo>
                    <a:pt x="596" y="503"/>
                  </a:lnTo>
                  <a:lnTo>
                    <a:pt x="596" y="492"/>
                  </a:lnTo>
                  <a:lnTo>
                    <a:pt x="596" y="479"/>
                  </a:lnTo>
                  <a:lnTo>
                    <a:pt x="600" y="456"/>
                  </a:lnTo>
                  <a:lnTo>
                    <a:pt x="600" y="445"/>
                  </a:lnTo>
                  <a:lnTo>
                    <a:pt x="598" y="434"/>
                  </a:lnTo>
                  <a:lnTo>
                    <a:pt x="598" y="434"/>
                  </a:lnTo>
                  <a:lnTo>
                    <a:pt x="594" y="419"/>
                  </a:lnTo>
                  <a:lnTo>
                    <a:pt x="592" y="404"/>
                  </a:lnTo>
                  <a:lnTo>
                    <a:pt x="591" y="393"/>
                  </a:lnTo>
                  <a:lnTo>
                    <a:pt x="592" y="381"/>
                  </a:lnTo>
                  <a:lnTo>
                    <a:pt x="594" y="363"/>
                  </a:lnTo>
                  <a:lnTo>
                    <a:pt x="602" y="350"/>
                  </a:lnTo>
                  <a:lnTo>
                    <a:pt x="607" y="339"/>
                  </a:lnTo>
                  <a:lnTo>
                    <a:pt x="615" y="331"/>
                  </a:lnTo>
                  <a:lnTo>
                    <a:pt x="619" y="324"/>
                  </a:lnTo>
                  <a:lnTo>
                    <a:pt x="619" y="320"/>
                  </a:lnTo>
                  <a:lnTo>
                    <a:pt x="619" y="316"/>
                  </a:lnTo>
                  <a:lnTo>
                    <a:pt x="619" y="316"/>
                  </a:lnTo>
                  <a:lnTo>
                    <a:pt x="617" y="305"/>
                  </a:lnTo>
                  <a:lnTo>
                    <a:pt x="621" y="296"/>
                  </a:lnTo>
                  <a:lnTo>
                    <a:pt x="624" y="290"/>
                  </a:lnTo>
                  <a:lnTo>
                    <a:pt x="628" y="284"/>
                  </a:lnTo>
                  <a:lnTo>
                    <a:pt x="630" y="277"/>
                  </a:lnTo>
                  <a:lnTo>
                    <a:pt x="630" y="269"/>
                  </a:lnTo>
                  <a:lnTo>
                    <a:pt x="624" y="256"/>
                  </a:lnTo>
                  <a:lnTo>
                    <a:pt x="611" y="238"/>
                  </a:lnTo>
                  <a:lnTo>
                    <a:pt x="611" y="238"/>
                  </a:lnTo>
                  <a:lnTo>
                    <a:pt x="607" y="232"/>
                  </a:lnTo>
                  <a:lnTo>
                    <a:pt x="604" y="225"/>
                  </a:lnTo>
                  <a:lnTo>
                    <a:pt x="602" y="215"/>
                  </a:lnTo>
                  <a:lnTo>
                    <a:pt x="602" y="206"/>
                  </a:lnTo>
                  <a:lnTo>
                    <a:pt x="602" y="196"/>
                  </a:lnTo>
                  <a:lnTo>
                    <a:pt x="604" y="189"/>
                  </a:lnTo>
                  <a:lnTo>
                    <a:pt x="606" y="182"/>
                  </a:lnTo>
                  <a:lnTo>
                    <a:pt x="611" y="176"/>
                  </a:lnTo>
                  <a:lnTo>
                    <a:pt x="611" y="176"/>
                  </a:lnTo>
                  <a:lnTo>
                    <a:pt x="626" y="165"/>
                  </a:lnTo>
                  <a:lnTo>
                    <a:pt x="635" y="152"/>
                  </a:lnTo>
                  <a:lnTo>
                    <a:pt x="643" y="139"/>
                  </a:lnTo>
                  <a:lnTo>
                    <a:pt x="647" y="125"/>
                  </a:lnTo>
                  <a:lnTo>
                    <a:pt x="650" y="101"/>
                  </a:lnTo>
                  <a:lnTo>
                    <a:pt x="652" y="92"/>
                  </a:lnTo>
                  <a:lnTo>
                    <a:pt x="656" y="83"/>
                  </a:lnTo>
                  <a:lnTo>
                    <a:pt x="656" y="83"/>
                  </a:lnTo>
                  <a:lnTo>
                    <a:pt x="665" y="64"/>
                  </a:lnTo>
                  <a:lnTo>
                    <a:pt x="671" y="51"/>
                  </a:lnTo>
                  <a:lnTo>
                    <a:pt x="673" y="43"/>
                  </a:lnTo>
                  <a:lnTo>
                    <a:pt x="673" y="40"/>
                  </a:lnTo>
                  <a:lnTo>
                    <a:pt x="667" y="32"/>
                  </a:lnTo>
                  <a:lnTo>
                    <a:pt x="664" y="26"/>
                  </a:lnTo>
                  <a:lnTo>
                    <a:pt x="664" y="17"/>
                  </a:lnTo>
                  <a:lnTo>
                    <a:pt x="664" y="17"/>
                  </a:lnTo>
                  <a:lnTo>
                    <a:pt x="665" y="8"/>
                  </a:lnTo>
                  <a:lnTo>
                    <a:pt x="664" y="2"/>
                  </a:lnTo>
                  <a:lnTo>
                    <a:pt x="660" y="0"/>
                  </a:lnTo>
                  <a:lnTo>
                    <a:pt x="652" y="0"/>
                  </a:lnTo>
                  <a:lnTo>
                    <a:pt x="645" y="4"/>
                  </a:lnTo>
                  <a:lnTo>
                    <a:pt x="637" y="12"/>
                  </a:lnTo>
                  <a:lnTo>
                    <a:pt x="630" y="19"/>
                  </a:lnTo>
                  <a:lnTo>
                    <a:pt x="622" y="30"/>
                  </a:lnTo>
                  <a:lnTo>
                    <a:pt x="622" y="30"/>
                  </a:lnTo>
                  <a:lnTo>
                    <a:pt x="617" y="38"/>
                  </a:lnTo>
                  <a:lnTo>
                    <a:pt x="615" y="38"/>
                  </a:lnTo>
                  <a:lnTo>
                    <a:pt x="613" y="36"/>
                  </a:lnTo>
                  <a:lnTo>
                    <a:pt x="611" y="32"/>
                  </a:lnTo>
                  <a:lnTo>
                    <a:pt x="606" y="30"/>
                  </a:lnTo>
                  <a:lnTo>
                    <a:pt x="598" y="28"/>
                  </a:lnTo>
                  <a:lnTo>
                    <a:pt x="589" y="28"/>
                  </a:lnTo>
                  <a:lnTo>
                    <a:pt x="589" y="28"/>
                  </a:lnTo>
                  <a:lnTo>
                    <a:pt x="566" y="21"/>
                  </a:lnTo>
                  <a:lnTo>
                    <a:pt x="555" y="19"/>
                  </a:lnTo>
                  <a:lnTo>
                    <a:pt x="551" y="19"/>
                  </a:lnTo>
                  <a:lnTo>
                    <a:pt x="551" y="23"/>
                  </a:lnTo>
                  <a:lnTo>
                    <a:pt x="551" y="23"/>
                  </a:lnTo>
                  <a:lnTo>
                    <a:pt x="555" y="26"/>
                  </a:lnTo>
                  <a:lnTo>
                    <a:pt x="563" y="32"/>
                  </a:lnTo>
                  <a:lnTo>
                    <a:pt x="564" y="36"/>
                  </a:lnTo>
                  <a:lnTo>
                    <a:pt x="564" y="40"/>
                  </a:lnTo>
                  <a:lnTo>
                    <a:pt x="559" y="43"/>
                  </a:lnTo>
                  <a:lnTo>
                    <a:pt x="550" y="45"/>
                  </a:lnTo>
                  <a:lnTo>
                    <a:pt x="550" y="45"/>
                  </a:lnTo>
                  <a:lnTo>
                    <a:pt x="544" y="45"/>
                  </a:lnTo>
                  <a:lnTo>
                    <a:pt x="540" y="45"/>
                  </a:lnTo>
                  <a:lnTo>
                    <a:pt x="538" y="45"/>
                  </a:lnTo>
                  <a:lnTo>
                    <a:pt x="533" y="51"/>
                  </a:lnTo>
                  <a:lnTo>
                    <a:pt x="514" y="71"/>
                  </a:lnTo>
                  <a:lnTo>
                    <a:pt x="514" y="71"/>
                  </a:lnTo>
                  <a:lnTo>
                    <a:pt x="510" y="77"/>
                  </a:lnTo>
                  <a:lnTo>
                    <a:pt x="508" y="79"/>
                  </a:lnTo>
                  <a:lnTo>
                    <a:pt x="508" y="86"/>
                  </a:lnTo>
                  <a:lnTo>
                    <a:pt x="508" y="90"/>
                  </a:lnTo>
                  <a:lnTo>
                    <a:pt x="505" y="94"/>
                  </a:lnTo>
                  <a:lnTo>
                    <a:pt x="497" y="99"/>
                  </a:lnTo>
                  <a:lnTo>
                    <a:pt x="484" y="105"/>
                  </a:lnTo>
                  <a:lnTo>
                    <a:pt x="484" y="105"/>
                  </a:lnTo>
                  <a:lnTo>
                    <a:pt x="473" y="118"/>
                  </a:lnTo>
                  <a:lnTo>
                    <a:pt x="449" y="146"/>
                  </a:lnTo>
                  <a:lnTo>
                    <a:pt x="437" y="163"/>
                  </a:lnTo>
                  <a:lnTo>
                    <a:pt x="428" y="178"/>
                  </a:lnTo>
                  <a:lnTo>
                    <a:pt x="422" y="191"/>
                  </a:lnTo>
                  <a:lnTo>
                    <a:pt x="422" y="196"/>
                  </a:lnTo>
                  <a:lnTo>
                    <a:pt x="422" y="200"/>
                  </a:lnTo>
                  <a:lnTo>
                    <a:pt x="422" y="200"/>
                  </a:lnTo>
                  <a:lnTo>
                    <a:pt x="430" y="213"/>
                  </a:lnTo>
                  <a:lnTo>
                    <a:pt x="436" y="219"/>
                  </a:lnTo>
                  <a:lnTo>
                    <a:pt x="436" y="219"/>
                  </a:lnTo>
                  <a:lnTo>
                    <a:pt x="428" y="217"/>
                  </a:lnTo>
                  <a:lnTo>
                    <a:pt x="421" y="217"/>
                  </a:lnTo>
                  <a:lnTo>
                    <a:pt x="411" y="219"/>
                  </a:lnTo>
                  <a:lnTo>
                    <a:pt x="411" y="219"/>
                  </a:lnTo>
                  <a:lnTo>
                    <a:pt x="407" y="221"/>
                  </a:lnTo>
                  <a:lnTo>
                    <a:pt x="406" y="223"/>
                  </a:lnTo>
                  <a:lnTo>
                    <a:pt x="406" y="232"/>
                  </a:lnTo>
                  <a:lnTo>
                    <a:pt x="411" y="253"/>
                  </a:lnTo>
                  <a:lnTo>
                    <a:pt x="411" y="262"/>
                  </a:lnTo>
                  <a:lnTo>
                    <a:pt x="409" y="266"/>
                  </a:lnTo>
                  <a:lnTo>
                    <a:pt x="406" y="268"/>
                  </a:lnTo>
                  <a:lnTo>
                    <a:pt x="400" y="269"/>
                  </a:lnTo>
                  <a:lnTo>
                    <a:pt x="393" y="269"/>
                  </a:lnTo>
                  <a:lnTo>
                    <a:pt x="383" y="268"/>
                  </a:lnTo>
                  <a:lnTo>
                    <a:pt x="372" y="264"/>
                  </a:lnTo>
                  <a:lnTo>
                    <a:pt x="372" y="264"/>
                  </a:lnTo>
                  <a:lnTo>
                    <a:pt x="364" y="262"/>
                  </a:lnTo>
                  <a:lnTo>
                    <a:pt x="359" y="264"/>
                  </a:lnTo>
                  <a:lnTo>
                    <a:pt x="353" y="269"/>
                  </a:lnTo>
                  <a:lnTo>
                    <a:pt x="348" y="271"/>
                  </a:lnTo>
                  <a:lnTo>
                    <a:pt x="340" y="271"/>
                  </a:lnTo>
                  <a:lnTo>
                    <a:pt x="329" y="266"/>
                  </a:lnTo>
                  <a:lnTo>
                    <a:pt x="310" y="254"/>
                  </a:lnTo>
                  <a:lnTo>
                    <a:pt x="310" y="254"/>
                  </a:lnTo>
                  <a:lnTo>
                    <a:pt x="301" y="249"/>
                  </a:lnTo>
                  <a:lnTo>
                    <a:pt x="293" y="245"/>
                  </a:lnTo>
                  <a:lnTo>
                    <a:pt x="286" y="243"/>
                  </a:lnTo>
                  <a:lnTo>
                    <a:pt x="279" y="243"/>
                  </a:lnTo>
                  <a:lnTo>
                    <a:pt x="279" y="243"/>
                  </a:lnTo>
                  <a:lnTo>
                    <a:pt x="273" y="247"/>
                  </a:lnTo>
                  <a:lnTo>
                    <a:pt x="265" y="253"/>
                  </a:lnTo>
                  <a:lnTo>
                    <a:pt x="258" y="260"/>
                  </a:lnTo>
                  <a:lnTo>
                    <a:pt x="250" y="269"/>
                  </a:lnTo>
                  <a:lnTo>
                    <a:pt x="250" y="269"/>
                  </a:lnTo>
                  <a:lnTo>
                    <a:pt x="245" y="279"/>
                  </a:lnTo>
                  <a:lnTo>
                    <a:pt x="241" y="288"/>
                  </a:lnTo>
                  <a:lnTo>
                    <a:pt x="237" y="297"/>
                  </a:lnTo>
                  <a:lnTo>
                    <a:pt x="237" y="307"/>
                  </a:lnTo>
                  <a:lnTo>
                    <a:pt x="236" y="344"/>
                  </a:lnTo>
                  <a:lnTo>
                    <a:pt x="236" y="344"/>
                  </a:lnTo>
                  <a:lnTo>
                    <a:pt x="234" y="361"/>
                  </a:lnTo>
                  <a:lnTo>
                    <a:pt x="237" y="370"/>
                  </a:lnTo>
                  <a:lnTo>
                    <a:pt x="239" y="374"/>
                  </a:lnTo>
                  <a:lnTo>
                    <a:pt x="241" y="378"/>
                  </a:lnTo>
                  <a:lnTo>
                    <a:pt x="249" y="381"/>
                  </a:lnTo>
                  <a:lnTo>
                    <a:pt x="260" y="383"/>
                  </a:lnTo>
                  <a:lnTo>
                    <a:pt x="275" y="389"/>
                  </a:lnTo>
                  <a:lnTo>
                    <a:pt x="293" y="398"/>
                  </a:lnTo>
                  <a:lnTo>
                    <a:pt x="316" y="413"/>
                  </a:lnTo>
                  <a:lnTo>
                    <a:pt x="316" y="413"/>
                  </a:lnTo>
                  <a:lnTo>
                    <a:pt x="336" y="426"/>
                  </a:lnTo>
                  <a:lnTo>
                    <a:pt x="353" y="436"/>
                  </a:lnTo>
                  <a:lnTo>
                    <a:pt x="370" y="441"/>
                  </a:lnTo>
                  <a:lnTo>
                    <a:pt x="383" y="449"/>
                  </a:lnTo>
                  <a:lnTo>
                    <a:pt x="393" y="456"/>
                  </a:lnTo>
                  <a:lnTo>
                    <a:pt x="394" y="460"/>
                  </a:lnTo>
                  <a:lnTo>
                    <a:pt x="396" y="466"/>
                  </a:lnTo>
                  <a:lnTo>
                    <a:pt x="398" y="473"/>
                  </a:lnTo>
                  <a:lnTo>
                    <a:pt x="396" y="482"/>
                  </a:lnTo>
                  <a:lnTo>
                    <a:pt x="391" y="503"/>
                  </a:lnTo>
                  <a:lnTo>
                    <a:pt x="391" y="503"/>
                  </a:lnTo>
                  <a:lnTo>
                    <a:pt x="387" y="514"/>
                  </a:lnTo>
                  <a:lnTo>
                    <a:pt x="381" y="520"/>
                  </a:lnTo>
                  <a:lnTo>
                    <a:pt x="370" y="525"/>
                  </a:lnTo>
                  <a:lnTo>
                    <a:pt x="366" y="531"/>
                  </a:lnTo>
                  <a:lnTo>
                    <a:pt x="366" y="538"/>
                  </a:lnTo>
                  <a:lnTo>
                    <a:pt x="372" y="555"/>
                  </a:lnTo>
                  <a:lnTo>
                    <a:pt x="379" y="578"/>
                  </a:lnTo>
                  <a:lnTo>
                    <a:pt x="379" y="578"/>
                  </a:lnTo>
                  <a:lnTo>
                    <a:pt x="381" y="587"/>
                  </a:lnTo>
                  <a:lnTo>
                    <a:pt x="381" y="594"/>
                  </a:lnTo>
                  <a:lnTo>
                    <a:pt x="378" y="600"/>
                  </a:lnTo>
                  <a:lnTo>
                    <a:pt x="370" y="602"/>
                  </a:lnTo>
                  <a:lnTo>
                    <a:pt x="363" y="606"/>
                  </a:lnTo>
                  <a:lnTo>
                    <a:pt x="353" y="606"/>
                  </a:lnTo>
                  <a:lnTo>
                    <a:pt x="331" y="608"/>
                  </a:lnTo>
                  <a:lnTo>
                    <a:pt x="308" y="606"/>
                  </a:lnTo>
                  <a:lnTo>
                    <a:pt x="288" y="606"/>
                  </a:lnTo>
                  <a:lnTo>
                    <a:pt x="280" y="608"/>
                  </a:lnTo>
                  <a:lnTo>
                    <a:pt x="275" y="609"/>
                  </a:lnTo>
                  <a:lnTo>
                    <a:pt x="271" y="611"/>
                  </a:lnTo>
                  <a:lnTo>
                    <a:pt x="271" y="617"/>
                  </a:lnTo>
                  <a:lnTo>
                    <a:pt x="271" y="617"/>
                  </a:lnTo>
                  <a:lnTo>
                    <a:pt x="277" y="624"/>
                  </a:lnTo>
                  <a:lnTo>
                    <a:pt x="282" y="630"/>
                  </a:lnTo>
                  <a:lnTo>
                    <a:pt x="284" y="639"/>
                  </a:lnTo>
                  <a:lnTo>
                    <a:pt x="284" y="643"/>
                  </a:lnTo>
                  <a:lnTo>
                    <a:pt x="282" y="647"/>
                  </a:lnTo>
                  <a:lnTo>
                    <a:pt x="279" y="649"/>
                  </a:lnTo>
                  <a:lnTo>
                    <a:pt x="273" y="652"/>
                  </a:lnTo>
                  <a:lnTo>
                    <a:pt x="265" y="654"/>
                  </a:lnTo>
                  <a:lnTo>
                    <a:pt x="256" y="656"/>
                  </a:lnTo>
                  <a:lnTo>
                    <a:pt x="228" y="658"/>
                  </a:lnTo>
                  <a:lnTo>
                    <a:pt x="228" y="658"/>
                  </a:lnTo>
                  <a:lnTo>
                    <a:pt x="217" y="656"/>
                  </a:lnTo>
                  <a:lnTo>
                    <a:pt x="206" y="651"/>
                  </a:lnTo>
                  <a:lnTo>
                    <a:pt x="185" y="636"/>
                  </a:lnTo>
                  <a:lnTo>
                    <a:pt x="176" y="630"/>
                  </a:lnTo>
                  <a:lnTo>
                    <a:pt x="165" y="626"/>
                  </a:lnTo>
                  <a:lnTo>
                    <a:pt x="157" y="626"/>
                  </a:lnTo>
                  <a:lnTo>
                    <a:pt x="151" y="626"/>
                  </a:lnTo>
                  <a:lnTo>
                    <a:pt x="144" y="628"/>
                  </a:lnTo>
                  <a:lnTo>
                    <a:pt x="136" y="632"/>
                  </a:lnTo>
                  <a:lnTo>
                    <a:pt x="136" y="632"/>
                  </a:lnTo>
                  <a:lnTo>
                    <a:pt x="129" y="637"/>
                  </a:lnTo>
                  <a:lnTo>
                    <a:pt x="127" y="643"/>
                  </a:lnTo>
                  <a:lnTo>
                    <a:pt x="129" y="647"/>
                  </a:lnTo>
                  <a:lnTo>
                    <a:pt x="131" y="651"/>
                  </a:lnTo>
                  <a:lnTo>
                    <a:pt x="135" y="656"/>
                  </a:lnTo>
                  <a:lnTo>
                    <a:pt x="136" y="662"/>
                  </a:lnTo>
                  <a:lnTo>
                    <a:pt x="135" y="671"/>
                  </a:lnTo>
                  <a:lnTo>
                    <a:pt x="125" y="680"/>
                  </a:lnTo>
                  <a:lnTo>
                    <a:pt x="125" y="680"/>
                  </a:lnTo>
                  <a:lnTo>
                    <a:pt x="114" y="695"/>
                  </a:lnTo>
                  <a:lnTo>
                    <a:pt x="112" y="701"/>
                  </a:lnTo>
                  <a:lnTo>
                    <a:pt x="112" y="705"/>
                  </a:lnTo>
                  <a:lnTo>
                    <a:pt x="112" y="707"/>
                  </a:lnTo>
                  <a:lnTo>
                    <a:pt x="116" y="710"/>
                  </a:lnTo>
                  <a:lnTo>
                    <a:pt x="123" y="712"/>
                  </a:lnTo>
                  <a:lnTo>
                    <a:pt x="133" y="716"/>
                  </a:lnTo>
                  <a:lnTo>
                    <a:pt x="144" y="718"/>
                  </a:lnTo>
                  <a:lnTo>
                    <a:pt x="148" y="722"/>
                  </a:lnTo>
                  <a:lnTo>
                    <a:pt x="151" y="725"/>
                  </a:lnTo>
                  <a:lnTo>
                    <a:pt x="155" y="729"/>
                  </a:lnTo>
                  <a:lnTo>
                    <a:pt x="157" y="735"/>
                  </a:lnTo>
                  <a:lnTo>
                    <a:pt x="157" y="735"/>
                  </a:lnTo>
                  <a:lnTo>
                    <a:pt x="157" y="738"/>
                  </a:lnTo>
                  <a:lnTo>
                    <a:pt x="153" y="740"/>
                  </a:lnTo>
                  <a:lnTo>
                    <a:pt x="148" y="742"/>
                  </a:lnTo>
                  <a:lnTo>
                    <a:pt x="140" y="744"/>
                  </a:lnTo>
                  <a:lnTo>
                    <a:pt x="135" y="750"/>
                  </a:lnTo>
                  <a:lnTo>
                    <a:pt x="127" y="759"/>
                  </a:lnTo>
                  <a:lnTo>
                    <a:pt x="123" y="776"/>
                  </a:lnTo>
                  <a:lnTo>
                    <a:pt x="122" y="800"/>
                  </a:lnTo>
                  <a:lnTo>
                    <a:pt x="122" y="800"/>
                  </a:lnTo>
                  <a:lnTo>
                    <a:pt x="123" y="809"/>
                  </a:lnTo>
                  <a:lnTo>
                    <a:pt x="125" y="817"/>
                  </a:lnTo>
                  <a:lnTo>
                    <a:pt x="131" y="830"/>
                  </a:lnTo>
                  <a:lnTo>
                    <a:pt x="138" y="837"/>
                  </a:lnTo>
                  <a:lnTo>
                    <a:pt x="142" y="843"/>
                  </a:lnTo>
                  <a:lnTo>
                    <a:pt x="144" y="843"/>
                  </a:lnTo>
                  <a:lnTo>
                    <a:pt x="144" y="845"/>
                  </a:lnTo>
                  <a:lnTo>
                    <a:pt x="136" y="845"/>
                  </a:lnTo>
                  <a:lnTo>
                    <a:pt x="92" y="843"/>
                  </a:lnTo>
                  <a:lnTo>
                    <a:pt x="92" y="843"/>
                  </a:lnTo>
                  <a:lnTo>
                    <a:pt x="86" y="841"/>
                  </a:lnTo>
                  <a:lnTo>
                    <a:pt x="80" y="839"/>
                  </a:lnTo>
                  <a:lnTo>
                    <a:pt x="77" y="837"/>
                  </a:lnTo>
                  <a:lnTo>
                    <a:pt x="71" y="837"/>
                  </a:lnTo>
                  <a:lnTo>
                    <a:pt x="65" y="839"/>
                  </a:lnTo>
                  <a:lnTo>
                    <a:pt x="56" y="845"/>
                  </a:lnTo>
                  <a:lnTo>
                    <a:pt x="45" y="854"/>
                  </a:lnTo>
                  <a:lnTo>
                    <a:pt x="32" y="869"/>
                  </a:lnTo>
                  <a:lnTo>
                    <a:pt x="32" y="869"/>
                  </a:lnTo>
                  <a:lnTo>
                    <a:pt x="36" y="875"/>
                  </a:lnTo>
                  <a:lnTo>
                    <a:pt x="41" y="882"/>
                  </a:lnTo>
                  <a:lnTo>
                    <a:pt x="49" y="892"/>
                  </a:lnTo>
                  <a:lnTo>
                    <a:pt x="56" y="901"/>
                  </a:lnTo>
                  <a:lnTo>
                    <a:pt x="60" y="912"/>
                  </a:lnTo>
                  <a:lnTo>
                    <a:pt x="60" y="916"/>
                  </a:lnTo>
                  <a:lnTo>
                    <a:pt x="58" y="921"/>
                  </a:lnTo>
                  <a:lnTo>
                    <a:pt x="56" y="925"/>
                  </a:lnTo>
                  <a:lnTo>
                    <a:pt x="51" y="929"/>
                  </a:lnTo>
                  <a:lnTo>
                    <a:pt x="45" y="931"/>
                  </a:lnTo>
                  <a:lnTo>
                    <a:pt x="36" y="935"/>
                  </a:lnTo>
                  <a:lnTo>
                    <a:pt x="36" y="935"/>
                  </a:lnTo>
                  <a:lnTo>
                    <a:pt x="28" y="935"/>
                  </a:lnTo>
                  <a:lnTo>
                    <a:pt x="22" y="935"/>
                  </a:lnTo>
                  <a:lnTo>
                    <a:pt x="11" y="933"/>
                  </a:lnTo>
                  <a:lnTo>
                    <a:pt x="6" y="935"/>
                  </a:lnTo>
                  <a:lnTo>
                    <a:pt x="2" y="936"/>
                  </a:lnTo>
                  <a:lnTo>
                    <a:pt x="0" y="942"/>
                  </a:lnTo>
                  <a:lnTo>
                    <a:pt x="0" y="951"/>
                  </a:lnTo>
                  <a:lnTo>
                    <a:pt x="0" y="951"/>
                  </a:lnTo>
                  <a:lnTo>
                    <a:pt x="2" y="951"/>
                  </a:lnTo>
                  <a:lnTo>
                    <a:pt x="6" y="955"/>
                  </a:lnTo>
                  <a:lnTo>
                    <a:pt x="17" y="966"/>
                  </a:lnTo>
                  <a:lnTo>
                    <a:pt x="17" y="966"/>
                  </a:lnTo>
                  <a:lnTo>
                    <a:pt x="21" y="966"/>
                  </a:lnTo>
                  <a:lnTo>
                    <a:pt x="28" y="963"/>
                  </a:lnTo>
                  <a:lnTo>
                    <a:pt x="47" y="951"/>
                  </a:lnTo>
                  <a:lnTo>
                    <a:pt x="56" y="948"/>
                  </a:lnTo>
                  <a:lnTo>
                    <a:pt x="67" y="948"/>
                  </a:lnTo>
                  <a:lnTo>
                    <a:pt x="71" y="950"/>
                  </a:lnTo>
                  <a:lnTo>
                    <a:pt x="75" y="953"/>
                  </a:lnTo>
                  <a:lnTo>
                    <a:pt x="77" y="957"/>
                  </a:lnTo>
                  <a:lnTo>
                    <a:pt x="80" y="964"/>
                  </a:lnTo>
                  <a:lnTo>
                    <a:pt x="80" y="964"/>
                  </a:lnTo>
                  <a:lnTo>
                    <a:pt x="82" y="970"/>
                  </a:lnTo>
                  <a:lnTo>
                    <a:pt x="86" y="974"/>
                  </a:lnTo>
                  <a:lnTo>
                    <a:pt x="92" y="976"/>
                  </a:lnTo>
                  <a:lnTo>
                    <a:pt x="99" y="978"/>
                  </a:lnTo>
                  <a:lnTo>
                    <a:pt x="116" y="976"/>
                  </a:lnTo>
                  <a:lnTo>
                    <a:pt x="135" y="974"/>
                  </a:lnTo>
                  <a:lnTo>
                    <a:pt x="153" y="972"/>
                  </a:lnTo>
                  <a:lnTo>
                    <a:pt x="170" y="970"/>
                  </a:lnTo>
                  <a:lnTo>
                    <a:pt x="178" y="972"/>
                  </a:lnTo>
                  <a:lnTo>
                    <a:pt x="183" y="974"/>
                  </a:lnTo>
                  <a:lnTo>
                    <a:pt x="187" y="976"/>
                  </a:lnTo>
                  <a:lnTo>
                    <a:pt x="189" y="981"/>
                  </a:lnTo>
                  <a:lnTo>
                    <a:pt x="189" y="981"/>
                  </a:lnTo>
                  <a:lnTo>
                    <a:pt x="194" y="996"/>
                  </a:lnTo>
                  <a:lnTo>
                    <a:pt x="198" y="1000"/>
                  </a:lnTo>
                  <a:lnTo>
                    <a:pt x="202" y="1004"/>
                  </a:lnTo>
                  <a:lnTo>
                    <a:pt x="209" y="1007"/>
                  </a:lnTo>
                  <a:lnTo>
                    <a:pt x="217" y="1006"/>
                  </a:lnTo>
                  <a:lnTo>
                    <a:pt x="228" y="1002"/>
                  </a:lnTo>
                  <a:lnTo>
                    <a:pt x="234" y="1002"/>
                  </a:lnTo>
                  <a:lnTo>
                    <a:pt x="236" y="1002"/>
                  </a:lnTo>
                  <a:lnTo>
                    <a:pt x="236" y="1006"/>
                  </a:lnTo>
                  <a:lnTo>
                    <a:pt x="236" y="1006"/>
                  </a:lnTo>
                  <a:lnTo>
                    <a:pt x="237" y="1011"/>
                  </a:lnTo>
                  <a:lnTo>
                    <a:pt x="241" y="1015"/>
                  </a:lnTo>
                  <a:lnTo>
                    <a:pt x="245" y="1017"/>
                  </a:lnTo>
                  <a:lnTo>
                    <a:pt x="249" y="1019"/>
                  </a:lnTo>
                  <a:lnTo>
                    <a:pt x="260" y="1022"/>
                  </a:lnTo>
                  <a:lnTo>
                    <a:pt x="265" y="1026"/>
                  </a:lnTo>
                  <a:lnTo>
                    <a:pt x="273" y="1032"/>
                  </a:lnTo>
                  <a:lnTo>
                    <a:pt x="273" y="1032"/>
                  </a:lnTo>
                  <a:lnTo>
                    <a:pt x="284" y="1045"/>
                  </a:lnTo>
                  <a:lnTo>
                    <a:pt x="290" y="1047"/>
                  </a:lnTo>
                  <a:lnTo>
                    <a:pt x="293" y="1047"/>
                  </a:lnTo>
                  <a:lnTo>
                    <a:pt x="295" y="1047"/>
                  </a:lnTo>
                  <a:lnTo>
                    <a:pt x="299" y="1045"/>
                  </a:lnTo>
                  <a:lnTo>
                    <a:pt x="310" y="1039"/>
                  </a:lnTo>
                  <a:lnTo>
                    <a:pt x="310" y="1039"/>
                  </a:lnTo>
                  <a:lnTo>
                    <a:pt x="318" y="1037"/>
                  </a:lnTo>
                  <a:lnTo>
                    <a:pt x="327" y="1037"/>
                  </a:lnTo>
                  <a:lnTo>
                    <a:pt x="336" y="1039"/>
                  </a:lnTo>
                  <a:lnTo>
                    <a:pt x="348" y="1041"/>
                  </a:lnTo>
                  <a:lnTo>
                    <a:pt x="348" y="1041"/>
                  </a:lnTo>
                  <a:lnTo>
                    <a:pt x="372" y="1050"/>
                  </a:lnTo>
                  <a:lnTo>
                    <a:pt x="387" y="1058"/>
                  </a:lnTo>
                  <a:lnTo>
                    <a:pt x="394" y="1063"/>
                  </a:lnTo>
                  <a:lnTo>
                    <a:pt x="398" y="1067"/>
                  </a:lnTo>
                  <a:lnTo>
                    <a:pt x="398" y="1071"/>
                  </a:lnTo>
                  <a:lnTo>
                    <a:pt x="400" y="1075"/>
                  </a:lnTo>
                  <a:lnTo>
                    <a:pt x="404" y="1077"/>
                  </a:lnTo>
                  <a:lnTo>
                    <a:pt x="415" y="1080"/>
                  </a:lnTo>
                  <a:lnTo>
                    <a:pt x="415" y="1080"/>
                  </a:lnTo>
                  <a:lnTo>
                    <a:pt x="426" y="1084"/>
                  </a:lnTo>
                  <a:lnTo>
                    <a:pt x="430" y="1086"/>
                  </a:lnTo>
                  <a:lnTo>
                    <a:pt x="436" y="1093"/>
                  </a:lnTo>
                  <a:lnTo>
                    <a:pt x="436" y="1093"/>
                  </a:lnTo>
                  <a:lnTo>
                    <a:pt x="445" y="1105"/>
                  </a:lnTo>
                  <a:lnTo>
                    <a:pt x="454" y="1110"/>
                  </a:lnTo>
                  <a:lnTo>
                    <a:pt x="462" y="1114"/>
                  </a:lnTo>
                  <a:lnTo>
                    <a:pt x="471" y="1116"/>
                  </a:lnTo>
                  <a:lnTo>
                    <a:pt x="486" y="1116"/>
                  </a:lnTo>
                  <a:lnTo>
                    <a:pt x="497" y="1116"/>
                  </a:lnTo>
                  <a:lnTo>
                    <a:pt x="497" y="1116"/>
                  </a:lnTo>
                  <a:lnTo>
                    <a:pt x="499" y="1103"/>
                  </a:lnTo>
                  <a:lnTo>
                    <a:pt x="497" y="1095"/>
                  </a:lnTo>
                  <a:lnTo>
                    <a:pt x="493" y="1090"/>
                  </a:lnTo>
                  <a:lnTo>
                    <a:pt x="492" y="1088"/>
                  </a:lnTo>
                  <a:lnTo>
                    <a:pt x="490" y="1084"/>
                  </a:lnTo>
                  <a:lnTo>
                    <a:pt x="490" y="1080"/>
                  </a:lnTo>
                  <a:lnTo>
                    <a:pt x="492" y="1075"/>
                  </a:lnTo>
                  <a:lnTo>
                    <a:pt x="497" y="1067"/>
                  </a:lnTo>
                  <a:lnTo>
                    <a:pt x="497" y="1067"/>
                  </a:lnTo>
                  <a:lnTo>
                    <a:pt x="497" y="1063"/>
                  </a:lnTo>
                  <a:lnTo>
                    <a:pt x="497" y="1060"/>
                  </a:lnTo>
                  <a:lnTo>
                    <a:pt x="495" y="1054"/>
                  </a:lnTo>
                  <a:lnTo>
                    <a:pt x="488" y="1039"/>
                  </a:lnTo>
                  <a:lnTo>
                    <a:pt x="484" y="1032"/>
                  </a:lnTo>
                  <a:lnTo>
                    <a:pt x="482" y="1022"/>
                  </a:lnTo>
                  <a:lnTo>
                    <a:pt x="484" y="1017"/>
                  </a:lnTo>
                  <a:lnTo>
                    <a:pt x="486" y="1009"/>
                  </a:lnTo>
                  <a:lnTo>
                    <a:pt x="490" y="1004"/>
                  </a:lnTo>
                  <a:lnTo>
                    <a:pt x="495" y="996"/>
                  </a:lnTo>
                  <a:lnTo>
                    <a:pt x="495" y="996"/>
                  </a:lnTo>
                  <a:lnTo>
                    <a:pt x="499" y="994"/>
                  </a:lnTo>
                  <a:lnTo>
                    <a:pt x="503" y="992"/>
                  </a:lnTo>
                  <a:lnTo>
                    <a:pt x="512" y="991"/>
                  </a:lnTo>
                  <a:lnTo>
                    <a:pt x="536" y="992"/>
                  </a:lnTo>
                  <a:lnTo>
                    <a:pt x="548" y="992"/>
                  </a:lnTo>
                  <a:lnTo>
                    <a:pt x="557" y="991"/>
                  </a:lnTo>
                  <a:lnTo>
                    <a:pt x="561" y="989"/>
                  </a:lnTo>
                  <a:lnTo>
                    <a:pt x="564" y="985"/>
                  </a:lnTo>
                  <a:lnTo>
                    <a:pt x="566" y="981"/>
                  </a:lnTo>
                  <a:lnTo>
                    <a:pt x="566" y="978"/>
                  </a:lnTo>
                  <a:lnTo>
                    <a:pt x="566" y="978"/>
                  </a:lnTo>
                  <a:lnTo>
                    <a:pt x="563" y="964"/>
                  </a:lnTo>
                  <a:lnTo>
                    <a:pt x="559" y="957"/>
                  </a:lnTo>
                  <a:lnTo>
                    <a:pt x="551" y="953"/>
                  </a:lnTo>
                  <a:lnTo>
                    <a:pt x="544" y="951"/>
                  </a:lnTo>
                  <a:lnTo>
                    <a:pt x="536" y="950"/>
                  </a:lnTo>
                  <a:lnTo>
                    <a:pt x="531" y="948"/>
                  </a:lnTo>
                  <a:lnTo>
                    <a:pt x="525" y="944"/>
                  </a:lnTo>
                  <a:lnTo>
                    <a:pt x="521" y="936"/>
                  </a:lnTo>
                  <a:lnTo>
                    <a:pt x="521" y="936"/>
                  </a:lnTo>
                  <a:lnTo>
                    <a:pt x="520" y="927"/>
                  </a:lnTo>
                  <a:lnTo>
                    <a:pt x="514" y="920"/>
                  </a:lnTo>
                  <a:lnTo>
                    <a:pt x="507" y="916"/>
                  </a:lnTo>
                  <a:lnTo>
                    <a:pt x="501" y="914"/>
                  </a:lnTo>
                  <a:lnTo>
                    <a:pt x="486" y="912"/>
                  </a:lnTo>
                  <a:lnTo>
                    <a:pt x="482" y="910"/>
                  </a:lnTo>
                  <a:lnTo>
                    <a:pt x="480" y="908"/>
                  </a:lnTo>
                  <a:lnTo>
                    <a:pt x="480" y="908"/>
                  </a:lnTo>
                  <a:lnTo>
                    <a:pt x="478" y="907"/>
                  </a:lnTo>
                  <a:lnTo>
                    <a:pt x="480" y="903"/>
                  </a:lnTo>
                  <a:lnTo>
                    <a:pt x="484" y="901"/>
                  </a:lnTo>
                  <a:lnTo>
                    <a:pt x="488" y="901"/>
                  </a:lnTo>
                  <a:lnTo>
                    <a:pt x="501" y="899"/>
                  </a:lnTo>
                  <a:lnTo>
                    <a:pt x="516" y="899"/>
                  </a:lnTo>
                  <a:lnTo>
                    <a:pt x="546" y="901"/>
                  </a:lnTo>
                  <a:lnTo>
                    <a:pt x="564" y="905"/>
                  </a:lnTo>
                  <a:lnTo>
                    <a:pt x="564" y="905"/>
                  </a:lnTo>
                  <a:lnTo>
                    <a:pt x="583" y="907"/>
                  </a:lnTo>
                  <a:lnTo>
                    <a:pt x="596" y="907"/>
                  </a:lnTo>
                  <a:lnTo>
                    <a:pt x="602" y="903"/>
                  </a:lnTo>
                  <a:lnTo>
                    <a:pt x="604" y="899"/>
                  </a:lnTo>
                  <a:lnTo>
                    <a:pt x="604" y="897"/>
                  </a:lnTo>
                  <a:lnTo>
                    <a:pt x="604" y="897"/>
                  </a:lnTo>
                  <a:lnTo>
                    <a:pt x="615" y="908"/>
                  </a:lnTo>
                  <a:lnTo>
                    <a:pt x="615" y="908"/>
                  </a:lnTo>
                  <a:lnTo>
                    <a:pt x="621" y="914"/>
                  </a:lnTo>
                  <a:lnTo>
                    <a:pt x="626" y="914"/>
                  </a:lnTo>
                  <a:lnTo>
                    <a:pt x="634" y="914"/>
                  </a:lnTo>
                  <a:lnTo>
                    <a:pt x="639" y="910"/>
                  </a:lnTo>
                  <a:lnTo>
                    <a:pt x="650" y="903"/>
                  </a:lnTo>
                  <a:lnTo>
                    <a:pt x="662" y="895"/>
                  </a:lnTo>
                  <a:lnTo>
                    <a:pt x="662" y="895"/>
                  </a:lnTo>
                  <a:lnTo>
                    <a:pt x="662" y="895"/>
                  </a:lnTo>
                  <a:lnTo>
                    <a:pt x="662" y="890"/>
                  </a:lnTo>
                  <a:lnTo>
                    <a:pt x="662" y="890"/>
                  </a:lnTo>
                  <a:lnTo>
                    <a:pt x="662" y="854"/>
                  </a:lnTo>
                  <a:lnTo>
                    <a:pt x="660" y="849"/>
                  </a:lnTo>
                  <a:lnTo>
                    <a:pt x="660" y="847"/>
                  </a:lnTo>
                  <a:lnTo>
                    <a:pt x="656" y="847"/>
                  </a:lnTo>
                  <a:lnTo>
                    <a:pt x="654" y="845"/>
                  </a:lnTo>
                  <a:lnTo>
                    <a:pt x="649" y="841"/>
                  </a:lnTo>
                  <a:lnTo>
                    <a:pt x="641" y="830"/>
                  </a:lnTo>
                  <a:lnTo>
                    <a:pt x="641" y="830"/>
                  </a:lnTo>
                  <a:lnTo>
                    <a:pt x="634" y="821"/>
                  </a:lnTo>
                  <a:lnTo>
                    <a:pt x="626" y="813"/>
                  </a:lnTo>
                  <a:lnTo>
                    <a:pt x="622" y="809"/>
                  </a:lnTo>
                  <a:lnTo>
                    <a:pt x="622" y="808"/>
                  </a:lnTo>
                  <a:lnTo>
                    <a:pt x="622" y="808"/>
                  </a:lnTo>
                  <a:lnTo>
                    <a:pt x="624" y="804"/>
                  </a:lnTo>
                  <a:lnTo>
                    <a:pt x="624" y="798"/>
                  </a:lnTo>
                  <a:lnTo>
                    <a:pt x="621" y="783"/>
                  </a:lnTo>
                  <a:lnTo>
                    <a:pt x="615" y="770"/>
                  </a:lnTo>
                  <a:lnTo>
                    <a:pt x="609" y="763"/>
                  </a:lnTo>
                  <a:lnTo>
                    <a:pt x="609" y="763"/>
                  </a:lnTo>
                  <a:lnTo>
                    <a:pt x="606" y="761"/>
                  </a:lnTo>
                  <a:lnTo>
                    <a:pt x="604" y="755"/>
                  </a:lnTo>
                  <a:lnTo>
                    <a:pt x="600" y="744"/>
                  </a:lnTo>
                  <a:lnTo>
                    <a:pt x="594" y="729"/>
                  </a:lnTo>
                  <a:lnTo>
                    <a:pt x="591" y="722"/>
                  </a:lnTo>
                  <a:lnTo>
                    <a:pt x="587" y="714"/>
                  </a:lnTo>
                  <a:lnTo>
                    <a:pt x="587" y="714"/>
                  </a:lnTo>
                  <a:lnTo>
                    <a:pt x="579" y="707"/>
                  </a:lnTo>
                  <a:lnTo>
                    <a:pt x="579" y="707"/>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Line 50">
              <a:extLst>
                <a:ext uri="{FF2B5EF4-FFF2-40B4-BE49-F238E27FC236}">
                  <a16:creationId xmlns:a16="http://schemas.microsoft.com/office/drawing/2014/main" id="{E32E1DA6-25A7-431D-BBAD-5B4E99741A4C}"/>
                </a:ext>
              </a:extLst>
            </p:cNvPr>
            <p:cNvSpPr>
              <a:spLocks noChangeShapeType="1"/>
            </p:cNvSpPr>
            <p:nvPr/>
          </p:nvSpPr>
          <p:spPr bwMode="auto">
            <a:xfrm>
              <a:off x="5178764" y="3754449"/>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Freeform 51">
              <a:extLst>
                <a:ext uri="{FF2B5EF4-FFF2-40B4-BE49-F238E27FC236}">
                  <a16:creationId xmlns:a16="http://schemas.microsoft.com/office/drawing/2014/main" id="{64867BD4-C56A-4884-A787-575C4F0CC1DE}"/>
                </a:ext>
              </a:extLst>
            </p:cNvPr>
            <p:cNvSpPr>
              <a:spLocks/>
            </p:cNvSpPr>
            <p:nvPr/>
          </p:nvSpPr>
          <p:spPr bwMode="auto">
            <a:xfrm>
              <a:off x="4784549" y="3556432"/>
              <a:ext cx="610398" cy="1011880"/>
            </a:xfrm>
            <a:custGeom>
              <a:avLst/>
              <a:gdLst/>
              <a:ahLst/>
              <a:cxnLst>
                <a:cxn ang="0">
                  <a:pos x="589" y="617"/>
                </a:cxn>
                <a:cxn ang="0">
                  <a:pos x="600" y="514"/>
                </a:cxn>
                <a:cxn ang="0">
                  <a:pos x="594" y="419"/>
                </a:cxn>
                <a:cxn ang="0">
                  <a:pos x="619" y="324"/>
                </a:cxn>
                <a:cxn ang="0">
                  <a:pos x="630" y="277"/>
                </a:cxn>
                <a:cxn ang="0">
                  <a:pos x="602" y="206"/>
                </a:cxn>
                <a:cxn ang="0">
                  <a:pos x="643" y="139"/>
                </a:cxn>
                <a:cxn ang="0">
                  <a:pos x="673" y="43"/>
                </a:cxn>
                <a:cxn ang="0">
                  <a:pos x="660" y="0"/>
                </a:cxn>
                <a:cxn ang="0">
                  <a:pos x="615" y="38"/>
                </a:cxn>
                <a:cxn ang="0">
                  <a:pos x="555" y="19"/>
                </a:cxn>
                <a:cxn ang="0">
                  <a:pos x="559" y="43"/>
                </a:cxn>
                <a:cxn ang="0">
                  <a:pos x="514" y="71"/>
                </a:cxn>
                <a:cxn ang="0">
                  <a:pos x="484" y="105"/>
                </a:cxn>
                <a:cxn ang="0">
                  <a:pos x="422" y="200"/>
                </a:cxn>
                <a:cxn ang="0">
                  <a:pos x="407" y="221"/>
                </a:cxn>
                <a:cxn ang="0">
                  <a:pos x="393" y="269"/>
                </a:cxn>
                <a:cxn ang="0">
                  <a:pos x="340" y="271"/>
                </a:cxn>
                <a:cxn ang="0">
                  <a:pos x="279" y="243"/>
                </a:cxn>
                <a:cxn ang="0">
                  <a:pos x="237" y="297"/>
                </a:cxn>
                <a:cxn ang="0">
                  <a:pos x="249" y="381"/>
                </a:cxn>
                <a:cxn ang="0">
                  <a:pos x="370" y="441"/>
                </a:cxn>
                <a:cxn ang="0">
                  <a:pos x="391" y="503"/>
                </a:cxn>
                <a:cxn ang="0">
                  <a:pos x="379" y="578"/>
                </a:cxn>
                <a:cxn ang="0">
                  <a:pos x="308" y="606"/>
                </a:cxn>
                <a:cxn ang="0">
                  <a:pos x="282" y="630"/>
                </a:cxn>
                <a:cxn ang="0">
                  <a:pos x="228" y="658"/>
                </a:cxn>
                <a:cxn ang="0">
                  <a:pos x="151" y="626"/>
                </a:cxn>
                <a:cxn ang="0">
                  <a:pos x="135" y="656"/>
                </a:cxn>
                <a:cxn ang="0">
                  <a:pos x="112" y="707"/>
                </a:cxn>
                <a:cxn ang="0">
                  <a:pos x="157" y="735"/>
                </a:cxn>
                <a:cxn ang="0">
                  <a:pos x="123" y="776"/>
                </a:cxn>
                <a:cxn ang="0">
                  <a:pos x="144" y="843"/>
                </a:cxn>
                <a:cxn ang="0">
                  <a:pos x="71" y="837"/>
                </a:cxn>
                <a:cxn ang="0">
                  <a:pos x="49" y="892"/>
                </a:cxn>
                <a:cxn ang="0">
                  <a:pos x="36" y="935"/>
                </a:cxn>
                <a:cxn ang="0">
                  <a:pos x="0" y="951"/>
                </a:cxn>
                <a:cxn ang="0">
                  <a:pos x="47" y="951"/>
                </a:cxn>
                <a:cxn ang="0">
                  <a:pos x="82" y="970"/>
                </a:cxn>
                <a:cxn ang="0">
                  <a:pos x="178" y="972"/>
                </a:cxn>
                <a:cxn ang="0">
                  <a:pos x="209" y="1007"/>
                </a:cxn>
                <a:cxn ang="0">
                  <a:pos x="241" y="1015"/>
                </a:cxn>
                <a:cxn ang="0">
                  <a:pos x="290" y="1047"/>
                </a:cxn>
                <a:cxn ang="0">
                  <a:pos x="336" y="1039"/>
                </a:cxn>
                <a:cxn ang="0">
                  <a:pos x="400" y="1075"/>
                </a:cxn>
                <a:cxn ang="0">
                  <a:pos x="445" y="1105"/>
                </a:cxn>
                <a:cxn ang="0">
                  <a:pos x="497" y="1095"/>
                </a:cxn>
                <a:cxn ang="0">
                  <a:pos x="497" y="1063"/>
                </a:cxn>
                <a:cxn ang="0">
                  <a:pos x="490" y="1004"/>
                </a:cxn>
                <a:cxn ang="0">
                  <a:pos x="557" y="991"/>
                </a:cxn>
                <a:cxn ang="0">
                  <a:pos x="551" y="953"/>
                </a:cxn>
                <a:cxn ang="0">
                  <a:pos x="514" y="920"/>
                </a:cxn>
                <a:cxn ang="0">
                  <a:pos x="480" y="903"/>
                </a:cxn>
                <a:cxn ang="0">
                  <a:pos x="583" y="907"/>
                </a:cxn>
                <a:cxn ang="0">
                  <a:pos x="621" y="914"/>
                </a:cxn>
                <a:cxn ang="0">
                  <a:pos x="662" y="890"/>
                </a:cxn>
                <a:cxn ang="0">
                  <a:pos x="641" y="830"/>
                </a:cxn>
                <a:cxn ang="0">
                  <a:pos x="624" y="798"/>
                </a:cxn>
                <a:cxn ang="0">
                  <a:pos x="594" y="729"/>
                </a:cxn>
              </a:cxnLst>
              <a:rect l="0" t="0" r="r" b="b"/>
              <a:pathLst>
                <a:path w="673" h="1116">
                  <a:moveTo>
                    <a:pt x="579" y="707"/>
                  </a:moveTo>
                  <a:lnTo>
                    <a:pt x="579" y="707"/>
                  </a:lnTo>
                  <a:lnTo>
                    <a:pt x="574" y="699"/>
                  </a:lnTo>
                  <a:lnTo>
                    <a:pt x="570" y="692"/>
                  </a:lnTo>
                  <a:lnTo>
                    <a:pt x="570" y="680"/>
                  </a:lnTo>
                  <a:lnTo>
                    <a:pt x="570" y="669"/>
                  </a:lnTo>
                  <a:lnTo>
                    <a:pt x="578" y="645"/>
                  </a:lnTo>
                  <a:lnTo>
                    <a:pt x="589" y="617"/>
                  </a:lnTo>
                  <a:lnTo>
                    <a:pt x="600" y="591"/>
                  </a:lnTo>
                  <a:lnTo>
                    <a:pt x="609" y="565"/>
                  </a:lnTo>
                  <a:lnTo>
                    <a:pt x="611" y="552"/>
                  </a:lnTo>
                  <a:lnTo>
                    <a:pt x="611" y="542"/>
                  </a:lnTo>
                  <a:lnTo>
                    <a:pt x="609" y="533"/>
                  </a:lnTo>
                  <a:lnTo>
                    <a:pt x="606" y="523"/>
                  </a:lnTo>
                  <a:lnTo>
                    <a:pt x="606" y="523"/>
                  </a:lnTo>
                  <a:lnTo>
                    <a:pt x="600" y="514"/>
                  </a:lnTo>
                  <a:lnTo>
                    <a:pt x="596" y="503"/>
                  </a:lnTo>
                  <a:lnTo>
                    <a:pt x="596" y="492"/>
                  </a:lnTo>
                  <a:lnTo>
                    <a:pt x="596" y="479"/>
                  </a:lnTo>
                  <a:lnTo>
                    <a:pt x="600" y="456"/>
                  </a:lnTo>
                  <a:lnTo>
                    <a:pt x="600" y="445"/>
                  </a:lnTo>
                  <a:lnTo>
                    <a:pt x="598" y="434"/>
                  </a:lnTo>
                  <a:lnTo>
                    <a:pt x="598" y="434"/>
                  </a:lnTo>
                  <a:lnTo>
                    <a:pt x="594" y="419"/>
                  </a:lnTo>
                  <a:lnTo>
                    <a:pt x="592" y="404"/>
                  </a:lnTo>
                  <a:lnTo>
                    <a:pt x="591" y="393"/>
                  </a:lnTo>
                  <a:lnTo>
                    <a:pt x="592" y="381"/>
                  </a:lnTo>
                  <a:lnTo>
                    <a:pt x="594" y="363"/>
                  </a:lnTo>
                  <a:lnTo>
                    <a:pt x="602" y="350"/>
                  </a:lnTo>
                  <a:lnTo>
                    <a:pt x="607" y="339"/>
                  </a:lnTo>
                  <a:lnTo>
                    <a:pt x="615" y="331"/>
                  </a:lnTo>
                  <a:lnTo>
                    <a:pt x="619" y="324"/>
                  </a:lnTo>
                  <a:lnTo>
                    <a:pt x="619" y="320"/>
                  </a:lnTo>
                  <a:lnTo>
                    <a:pt x="619" y="316"/>
                  </a:lnTo>
                  <a:lnTo>
                    <a:pt x="619" y="316"/>
                  </a:lnTo>
                  <a:lnTo>
                    <a:pt x="617" y="305"/>
                  </a:lnTo>
                  <a:lnTo>
                    <a:pt x="621" y="296"/>
                  </a:lnTo>
                  <a:lnTo>
                    <a:pt x="624" y="290"/>
                  </a:lnTo>
                  <a:lnTo>
                    <a:pt x="628" y="284"/>
                  </a:lnTo>
                  <a:lnTo>
                    <a:pt x="630" y="277"/>
                  </a:lnTo>
                  <a:lnTo>
                    <a:pt x="630" y="269"/>
                  </a:lnTo>
                  <a:lnTo>
                    <a:pt x="624" y="256"/>
                  </a:lnTo>
                  <a:lnTo>
                    <a:pt x="611" y="238"/>
                  </a:lnTo>
                  <a:lnTo>
                    <a:pt x="611" y="238"/>
                  </a:lnTo>
                  <a:lnTo>
                    <a:pt x="607" y="232"/>
                  </a:lnTo>
                  <a:lnTo>
                    <a:pt x="604" y="225"/>
                  </a:lnTo>
                  <a:lnTo>
                    <a:pt x="602" y="215"/>
                  </a:lnTo>
                  <a:lnTo>
                    <a:pt x="602" y="206"/>
                  </a:lnTo>
                  <a:lnTo>
                    <a:pt x="602" y="196"/>
                  </a:lnTo>
                  <a:lnTo>
                    <a:pt x="604" y="189"/>
                  </a:lnTo>
                  <a:lnTo>
                    <a:pt x="606" y="182"/>
                  </a:lnTo>
                  <a:lnTo>
                    <a:pt x="611" y="176"/>
                  </a:lnTo>
                  <a:lnTo>
                    <a:pt x="611" y="176"/>
                  </a:lnTo>
                  <a:lnTo>
                    <a:pt x="626" y="165"/>
                  </a:lnTo>
                  <a:lnTo>
                    <a:pt x="635" y="152"/>
                  </a:lnTo>
                  <a:lnTo>
                    <a:pt x="643" y="139"/>
                  </a:lnTo>
                  <a:lnTo>
                    <a:pt x="647" y="125"/>
                  </a:lnTo>
                  <a:lnTo>
                    <a:pt x="650" y="101"/>
                  </a:lnTo>
                  <a:lnTo>
                    <a:pt x="652" y="92"/>
                  </a:lnTo>
                  <a:lnTo>
                    <a:pt x="656" y="83"/>
                  </a:lnTo>
                  <a:lnTo>
                    <a:pt x="656" y="83"/>
                  </a:lnTo>
                  <a:lnTo>
                    <a:pt x="665" y="64"/>
                  </a:lnTo>
                  <a:lnTo>
                    <a:pt x="671" y="51"/>
                  </a:lnTo>
                  <a:lnTo>
                    <a:pt x="673" y="43"/>
                  </a:lnTo>
                  <a:lnTo>
                    <a:pt x="673" y="40"/>
                  </a:lnTo>
                  <a:lnTo>
                    <a:pt x="667" y="32"/>
                  </a:lnTo>
                  <a:lnTo>
                    <a:pt x="664" y="26"/>
                  </a:lnTo>
                  <a:lnTo>
                    <a:pt x="664" y="17"/>
                  </a:lnTo>
                  <a:lnTo>
                    <a:pt x="664" y="17"/>
                  </a:lnTo>
                  <a:lnTo>
                    <a:pt x="665" y="8"/>
                  </a:lnTo>
                  <a:lnTo>
                    <a:pt x="664" y="2"/>
                  </a:lnTo>
                  <a:lnTo>
                    <a:pt x="660" y="0"/>
                  </a:lnTo>
                  <a:lnTo>
                    <a:pt x="652" y="0"/>
                  </a:lnTo>
                  <a:lnTo>
                    <a:pt x="645" y="4"/>
                  </a:lnTo>
                  <a:lnTo>
                    <a:pt x="637" y="12"/>
                  </a:lnTo>
                  <a:lnTo>
                    <a:pt x="630" y="19"/>
                  </a:lnTo>
                  <a:lnTo>
                    <a:pt x="622" y="30"/>
                  </a:lnTo>
                  <a:lnTo>
                    <a:pt x="622" y="30"/>
                  </a:lnTo>
                  <a:lnTo>
                    <a:pt x="617" y="38"/>
                  </a:lnTo>
                  <a:lnTo>
                    <a:pt x="615" y="38"/>
                  </a:lnTo>
                  <a:lnTo>
                    <a:pt x="613" y="36"/>
                  </a:lnTo>
                  <a:lnTo>
                    <a:pt x="611" y="32"/>
                  </a:lnTo>
                  <a:lnTo>
                    <a:pt x="606" y="30"/>
                  </a:lnTo>
                  <a:lnTo>
                    <a:pt x="598" y="28"/>
                  </a:lnTo>
                  <a:lnTo>
                    <a:pt x="589" y="28"/>
                  </a:lnTo>
                  <a:lnTo>
                    <a:pt x="589" y="28"/>
                  </a:lnTo>
                  <a:lnTo>
                    <a:pt x="566" y="21"/>
                  </a:lnTo>
                  <a:lnTo>
                    <a:pt x="555" y="19"/>
                  </a:lnTo>
                  <a:lnTo>
                    <a:pt x="551" y="19"/>
                  </a:lnTo>
                  <a:lnTo>
                    <a:pt x="551" y="23"/>
                  </a:lnTo>
                  <a:lnTo>
                    <a:pt x="551" y="23"/>
                  </a:lnTo>
                  <a:lnTo>
                    <a:pt x="555" y="26"/>
                  </a:lnTo>
                  <a:lnTo>
                    <a:pt x="563" y="32"/>
                  </a:lnTo>
                  <a:lnTo>
                    <a:pt x="564" y="36"/>
                  </a:lnTo>
                  <a:lnTo>
                    <a:pt x="564" y="40"/>
                  </a:lnTo>
                  <a:lnTo>
                    <a:pt x="559" y="43"/>
                  </a:lnTo>
                  <a:lnTo>
                    <a:pt x="550" y="45"/>
                  </a:lnTo>
                  <a:lnTo>
                    <a:pt x="550" y="45"/>
                  </a:lnTo>
                  <a:lnTo>
                    <a:pt x="544" y="45"/>
                  </a:lnTo>
                  <a:lnTo>
                    <a:pt x="540" y="45"/>
                  </a:lnTo>
                  <a:lnTo>
                    <a:pt x="538" y="45"/>
                  </a:lnTo>
                  <a:lnTo>
                    <a:pt x="533" y="51"/>
                  </a:lnTo>
                  <a:lnTo>
                    <a:pt x="514" y="71"/>
                  </a:lnTo>
                  <a:lnTo>
                    <a:pt x="514" y="71"/>
                  </a:lnTo>
                  <a:lnTo>
                    <a:pt x="510" y="77"/>
                  </a:lnTo>
                  <a:lnTo>
                    <a:pt x="508" y="79"/>
                  </a:lnTo>
                  <a:lnTo>
                    <a:pt x="508" y="86"/>
                  </a:lnTo>
                  <a:lnTo>
                    <a:pt x="508" y="90"/>
                  </a:lnTo>
                  <a:lnTo>
                    <a:pt x="505" y="94"/>
                  </a:lnTo>
                  <a:lnTo>
                    <a:pt x="497" y="99"/>
                  </a:lnTo>
                  <a:lnTo>
                    <a:pt x="484" y="105"/>
                  </a:lnTo>
                  <a:lnTo>
                    <a:pt x="484" y="105"/>
                  </a:lnTo>
                  <a:lnTo>
                    <a:pt x="473" y="118"/>
                  </a:lnTo>
                  <a:lnTo>
                    <a:pt x="449" y="146"/>
                  </a:lnTo>
                  <a:lnTo>
                    <a:pt x="437" y="163"/>
                  </a:lnTo>
                  <a:lnTo>
                    <a:pt x="428" y="178"/>
                  </a:lnTo>
                  <a:lnTo>
                    <a:pt x="422" y="191"/>
                  </a:lnTo>
                  <a:lnTo>
                    <a:pt x="422" y="196"/>
                  </a:lnTo>
                  <a:lnTo>
                    <a:pt x="422" y="200"/>
                  </a:lnTo>
                  <a:lnTo>
                    <a:pt x="422" y="200"/>
                  </a:lnTo>
                  <a:lnTo>
                    <a:pt x="430" y="213"/>
                  </a:lnTo>
                  <a:lnTo>
                    <a:pt x="436" y="219"/>
                  </a:lnTo>
                  <a:lnTo>
                    <a:pt x="436" y="219"/>
                  </a:lnTo>
                  <a:lnTo>
                    <a:pt x="428" y="217"/>
                  </a:lnTo>
                  <a:lnTo>
                    <a:pt x="421" y="217"/>
                  </a:lnTo>
                  <a:lnTo>
                    <a:pt x="411" y="219"/>
                  </a:lnTo>
                  <a:lnTo>
                    <a:pt x="411" y="219"/>
                  </a:lnTo>
                  <a:lnTo>
                    <a:pt x="407" y="221"/>
                  </a:lnTo>
                  <a:lnTo>
                    <a:pt x="406" y="223"/>
                  </a:lnTo>
                  <a:lnTo>
                    <a:pt x="406" y="232"/>
                  </a:lnTo>
                  <a:lnTo>
                    <a:pt x="411" y="253"/>
                  </a:lnTo>
                  <a:lnTo>
                    <a:pt x="411" y="262"/>
                  </a:lnTo>
                  <a:lnTo>
                    <a:pt x="409" y="266"/>
                  </a:lnTo>
                  <a:lnTo>
                    <a:pt x="406" y="268"/>
                  </a:lnTo>
                  <a:lnTo>
                    <a:pt x="400" y="269"/>
                  </a:lnTo>
                  <a:lnTo>
                    <a:pt x="393" y="269"/>
                  </a:lnTo>
                  <a:lnTo>
                    <a:pt x="383" y="268"/>
                  </a:lnTo>
                  <a:lnTo>
                    <a:pt x="372" y="264"/>
                  </a:lnTo>
                  <a:lnTo>
                    <a:pt x="372" y="264"/>
                  </a:lnTo>
                  <a:lnTo>
                    <a:pt x="364" y="262"/>
                  </a:lnTo>
                  <a:lnTo>
                    <a:pt x="359" y="264"/>
                  </a:lnTo>
                  <a:lnTo>
                    <a:pt x="353" y="269"/>
                  </a:lnTo>
                  <a:lnTo>
                    <a:pt x="348" y="271"/>
                  </a:lnTo>
                  <a:lnTo>
                    <a:pt x="340" y="271"/>
                  </a:lnTo>
                  <a:lnTo>
                    <a:pt x="329" y="266"/>
                  </a:lnTo>
                  <a:lnTo>
                    <a:pt x="310" y="254"/>
                  </a:lnTo>
                  <a:lnTo>
                    <a:pt x="310" y="254"/>
                  </a:lnTo>
                  <a:lnTo>
                    <a:pt x="301" y="249"/>
                  </a:lnTo>
                  <a:lnTo>
                    <a:pt x="293" y="245"/>
                  </a:lnTo>
                  <a:lnTo>
                    <a:pt x="286" y="243"/>
                  </a:lnTo>
                  <a:lnTo>
                    <a:pt x="279" y="243"/>
                  </a:lnTo>
                  <a:lnTo>
                    <a:pt x="279" y="243"/>
                  </a:lnTo>
                  <a:lnTo>
                    <a:pt x="273" y="247"/>
                  </a:lnTo>
                  <a:lnTo>
                    <a:pt x="265" y="253"/>
                  </a:lnTo>
                  <a:lnTo>
                    <a:pt x="258" y="260"/>
                  </a:lnTo>
                  <a:lnTo>
                    <a:pt x="250" y="269"/>
                  </a:lnTo>
                  <a:lnTo>
                    <a:pt x="250" y="269"/>
                  </a:lnTo>
                  <a:lnTo>
                    <a:pt x="245" y="279"/>
                  </a:lnTo>
                  <a:lnTo>
                    <a:pt x="241" y="288"/>
                  </a:lnTo>
                  <a:lnTo>
                    <a:pt x="237" y="297"/>
                  </a:lnTo>
                  <a:lnTo>
                    <a:pt x="237" y="307"/>
                  </a:lnTo>
                  <a:lnTo>
                    <a:pt x="236" y="344"/>
                  </a:lnTo>
                  <a:lnTo>
                    <a:pt x="236" y="344"/>
                  </a:lnTo>
                  <a:lnTo>
                    <a:pt x="234" y="361"/>
                  </a:lnTo>
                  <a:lnTo>
                    <a:pt x="237" y="370"/>
                  </a:lnTo>
                  <a:lnTo>
                    <a:pt x="239" y="374"/>
                  </a:lnTo>
                  <a:lnTo>
                    <a:pt x="241" y="378"/>
                  </a:lnTo>
                  <a:lnTo>
                    <a:pt x="249" y="381"/>
                  </a:lnTo>
                  <a:lnTo>
                    <a:pt x="260" y="383"/>
                  </a:lnTo>
                  <a:lnTo>
                    <a:pt x="275" y="389"/>
                  </a:lnTo>
                  <a:lnTo>
                    <a:pt x="293" y="398"/>
                  </a:lnTo>
                  <a:lnTo>
                    <a:pt x="316" y="413"/>
                  </a:lnTo>
                  <a:lnTo>
                    <a:pt x="316" y="413"/>
                  </a:lnTo>
                  <a:lnTo>
                    <a:pt x="336" y="426"/>
                  </a:lnTo>
                  <a:lnTo>
                    <a:pt x="353" y="436"/>
                  </a:lnTo>
                  <a:lnTo>
                    <a:pt x="370" y="441"/>
                  </a:lnTo>
                  <a:lnTo>
                    <a:pt x="383" y="449"/>
                  </a:lnTo>
                  <a:lnTo>
                    <a:pt x="393" y="456"/>
                  </a:lnTo>
                  <a:lnTo>
                    <a:pt x="394" y="460"/>
                  </a:lnTo>
                  <a:lnTo>
                    <a:pt x="396" y="466"/>
                  </a:lnTo>
                  <a:lnTo>
                    <a:pt x="398" y="473"/>
                  </a:lnTo>
                  <a:lnTo>
                    <a:pt x="396" y="482"/>
                  </a:lnTo>
                  <a:lnTo>
                    <a:pt x="391" y="503"/>
                  </a:lnTo>
                  <a:lnTo>
                    <a:pt x="391" y="503"/>
                  </a:lnTo>
                  <a:lnTo>
                    <a:pt x="387" y="514"/>
                  </a:lnTo>
                  <a:lnTo>
                    <a:pt x="381" y="520"/>
                  </a:lnTo>
                  <a:lnTo>
                    <a:pt x="370" y="525"/>
                  </a:lnTo>
                  <a:lnTo>
                    <a:pt x="366" y="531"/>
                  </a:lnTo>
                  <a:lnTo>
                    <a:pt x="366" y="538"/>
                  </a:lnTo>
                  <a:lnTo>
                    <a:pt x="372" y="555"/>
                  </a:lnTo>
                  <a:lnTo>
                    <a:pt x="379" y="578"/>
                  </a:lnTo>
                  <a:lnTo>
                    <a:pt x="379" y="578"/>
                  </a:lnTo>
                  <a:lnTo>
                    <a:pt x="381" y="587"/>
                  </a:lnTo>
                  <a:lnTo>
                    <a:pt x="381" y="594"/>
                  </a:lnTo>
                  <a:lnTo>
                    <a:pt x="378" y="600"/>
                  </a:lnTo>
                  <a:lnTo>
                    <a:pt x="370" y="602"/>
                  </a:lnTo>
                  <a:lnTo>
                    <a:pt x="363" y="606"/>
                  </a:lnTo>
                  <a:lnTo>
                    <a:pt x="353" y="606"/>
                  </a:lnTo>
                  <a:lnTo>
                    <a:pt x="331" y="608"/>
                  </a:lnTo>
                  <a:lnTo>
                    <a:pt x="308" y="606"/>
                  </a:lnTo>
                  <a:lnTo>
                    <a:pt x="288" y="606"/>
                  </a:lnTo>
                  <a:lnTo>
                    <a:pt x="280" y="608"/>
                  </a:lnTo>
                  <a:lnTo>
                    <a:pt x="275" y="609"/>
                  </a:lnTo>
                  <a:lnTo>
                    <a:pt x="271" y="611"/>
                  </a:lnTo>
                  <a:lnTo>
                    <a:pt x="271" y="617"/>
                  </a:lnTo>
                  <a:lnTo>
                    <a:pt x="271" y="617"/>
                  </a:lnTo>
                  <a:lnTo>
                    <a:pt x="277" y="624"/>
                  </a:lnTo>
                  <a:lnTo>
                    <a:pt x="282" y="630"/>
                  </a:lnTo>
                  <a:lnTo>
                    <a:pt x="284" y="639"/>
                  </a:lnTo>
                  <a:lnTo>
                    <a:pt x="284" y="643"/>
                  </a:lnTo>
                  <a:lnTo>
                    <a:pt x="282" y="647"/>
                  </a:lnTo>
                  <a:lnTo>
                    <a:pt x="279" y="649"/>
                  </a:lnTo>
                  <a:lnTo>
                    <a:pt x="273" y="652"/>
                  </a:lnTo>
                  <a:lnTo>
                    <a:pt x="265" y="654"/>
                  </a:lnTo>
                  <a:lnTo>
                    <a:pt x="256" y="656"/>
                  </a:lnTo>
                  <a:lnTo>
                    <a:pt x="228" y="658"/>
                  </a:lnTo>
                  <a:lnTo>
                    <a:pt x="228" y="658"/>
                  </a:lnTo>
                  <a:lnTo>
                    <a:pt x="217" y="656"/>
                  </a:lnTo>
                  <a:lnTo>
                    <a:pt x="206" y="651"/>
                  </a:lnTo>
                  <a:lnTo>
                    <a:pt x="185" y="636"/>
                  </a:lnTo>
                  <a:lnTo>
                    <a:pt x="176" y="630"/>
                  </a:lnTo>
                  <a:lnTo>
                    <a:pt x="165" y="626"/>
                  </a:lnTo>
                  <a:lnTo>
                    <a:pt x="157" y="626"/>
                  </a:lnTo>
                  <a:lnTo>
                    <a:pt x="151" y="626"/>
                  </a:lnTo>
                  <a:lnTo>
                    <a:pt x="144" y="628"/>
                  </a:lnTo>
                  <a:lnTo>
                    <a:pt x="136" y="632"/>
                  </a:lnTo>
                  <a:lnTo>
                    <a:pt x="136" y="632"/>
                  </a:lnTo>
                  <a:lnTo>
                    <a:pt x="129" y="637"/>
                  </a:lnTo>
                  <a:lnTo>
                    <a:pt x="127" y="643"/>
                  </a:lnTo>
                  <a:lnTo>
                    <a:pt x="129" y="647"/>
                  </a:lnTo>
                  <a:lnTo>
                    <a:pt x="131" y="651"/>
                  </a:lnTo>
                  <a:lnTo>
                    <a:pt x="135" y="656"/>
                  </a:lnTo>
                  <a:lnTo>
                    <a:pt x="136" y="662"/>
                  </a:lnTo>
                  <a:lnTo>
                    <a:pt x="135" y="671"/>
                  </a:lnTo>
                  <a:lnTo>
                    <a:pt x="125" y="680"/>
                  </a:lnTo>
                  <a:lnTo>
                    <a:pt x="125" y="680"/>
                  </a:lnTo>
                  <a:lnTo>
                    <a:pt x="114" y="695"/>
                  </a:lnTo>
                  <a:lnTo>
                    <a:pt x="112" y="701"/>
                  </a:lnTo>
                  <a:lnTo>
                    <a:pt x="112" y="705"/>
                  </a:lnTo>
                  <a:lnTo>
                    <a:pt x="112" y="707"/>
                  </a:lnTo>
                  <a:lnTo>
                    <a:pt x="116" y="710"/>
                  </a:lnTo>
                  <a:lnTo>
                    <a:pt x="123" y="712"/>
                  </a:lnTo>
                  <a:lnTo>
                    <a:pt x="133" y="716"/>
                  </a:lnTo>
                  <a:lnTo>
                    <a:pt x="144" y="718"/>
                  </a:lnTo>
                  <a:lnTo>
                    <a:pt x="148" y="722"/>
                  </a:lnTo>
                  <a:lnTo>
                    <a:pt x="151" y="725"/>
                  </a:lnTo>
                  <a:lnTo>
                    <a:pt x="155" y="729"/>
                  </a:lnTo>
                  <a:lnTo>
                    <a:pt x="157" y="735"/>
                  </a:lnTo>
                  <a:lnTo>
                    <a:pt x="157" y="735"/>
                  </a:lnTo>
                  <a:lnTo>
                    <a:pt x="157" y="738"/>
                  </a:lnTo>
                  <a:lnTo>
                    <a:pt x="153" y="740"/>
                  </a:lnTo>
                  <a:lnTo>
                    <a:pt x="148" y="742"/>
                  </a:lnTo>
                  <a:lnTo>
                    <a:pt x="140" y="744"/>
                  </a:lnTo>
                  <a:lnTo>
                    <a:pt x="135" y="750"/>
                  </a:lnTo>
                  <a:lnTo>
                    <a:pt x="127" y="759"/>
                  </a:lnTo>
                  <a:lnTo>
                    <a:pt x="123" y="776"/>
                  </a:lnTo>
                  <a:lnTo>
                    <a:pt x="122" y="800"/>
                  </a:lnTo>
                  <a:lnTo>
                    <a:pt x="122" y="800"/>
                  </a:lnTo>
                  <a:lnTo>
                    <a:pt x="123" y="809"/>
                  </a:lnTo>
                  <a:lnTo>
                    <a:pt x="125" y="817"/>
                  </a:lnTo>
                  <a:lnTo>
                    <a:pt x="131" y="830"/>
                  </a:lnTo>
                  <a:lnTo>
                    <a:pt x="138" y="837"/>
                  </a:lnTo>
                  <a:lnTo>
                    <a:pt x="142" y="843"/>
                  </a:lnTo>
                  <a:lnTo>
                    <a:pt x="144" y="843"/>
                  </a:lnTo>
                  <a:lnTo>
                    <a:pt x="144" y="845"/>
                  </a:lnTo>
                  <a:lnTo>
                    <a:pt x="136" y="845"/>
                  </a:lnTo>
                  <a:lnTo>
                    <a:pt x="92" y="843"/>
                  </a:lnTo>
                  <a:lnTo>
                    <a:pt x="92" y="843"/>
                  </a:lnTo>
                  <a:lnTo>
                    <a:pt x="86" y="841"/>
                  </a:lnTo>
                  <a:lnTo>
                    <a:pt x="80" y="839"/>
                  </a:lnTo>
                  <a:lnTo>
                    <a:pt x="77" y="837"/>
                  </a:lnTo>
                  <a:lnTo>
                    <a:pt x="71" y="837"/>
                  </a:lnTo>
                  <a:lnTo>
                    <a:pt x="65" y="839"/>
                  </a:lnTo>
                  <a:lnTo>
                    <a:pt x="56" y="845"/>
                  </a:lnTo>
                  <a:lnTo>
                    <a:pt x="45" y="854"/>
                  </a:lnTo>
                  <a:lnTo>
                    <a:pt x="32" y="869"/>
                  </a:lnTo>
                  <a:lnTo>
                    <a:pt x="32" y="869"/>
                  </a:lnTo>
                  <a:lnTo>
                    <a:pt x="36" y="875"/>
                  </a:lnTo>
                  <a:lnTo>
                    <a:pt x="41" y="882"/>
                  </a:lnTo>
                  <a:lnTo>
                    <a:pt x="49" y="892"/>
                  </a:lnTo>
                  <a:lnTo>
                    <a:pt x="56" y="901"/>
                  </a:lnTo>
                  <a:lnTo>
                    <a:pt x="60" y="912"/>
                  </a:lnTo>
                  <a:lnTo>
                    <a:pt x="60" y="916"/>
                  </a:lnTo>
                  <a:lnTo>
                    <a:pt x="58" y="921"/>
                  </a:lnTo>
                  <a:lnTo>
                    <a:pt x="56" y="925"/>
                  </a:lnTo>
                  <a:lnTo>
                    <a:pt x="51" y="929"/>
                  </a:lnTo>
                  <a:lnTo>
                    <a:pt x="45" y="931"/>
                  </a:lnTo>
                  <a:lnTo>
                    <a:pt x="36" y="935"/>
                  </a:lnTo>
                  <a:lnTo>
                    <a:pt x="36" y="935"/>
                  </a:lnTo>
                  <a:lnTo>
                    <a:pt x="28" y="935"/>
                  </a:lnTo>
                  <a:lnTo>
                    <a:pt x="22" y="935"/>
                  </a:lnTo>
                  <a:lnTo>
                    <a:pt x="11" y="933"/>
                  </a:lnTo>
                  <a:lnTo>
                    <a:pt x="6" y="935"/>
                  </a:lnTo>
                  <a:lnTo>
                    <a:pt x="2" y="936"/>
                  </a:lnTo>
                  <a:lnTo>
                    <a:pt x="0" y="942"/>
                  </a:lnTo>
                  <a:lnTo>
                    <a:pt x="0" y="951"/>
                  </a:lnTo>
                  <a:lnTo>
                    <a:pt x="0" y="951"/>
                  </a:lnTo>
                  <a:lnTo>
                    <a:pt x="2" y="951"/>
                  </a:lnTo>
                  <a:lnTo>
                    <a:pt x="6" y="955"/>
                  </a:lnTo>
                  <a:lnTo>
                    <a:pt x="17" y="966"/>
                  </a:lnTo>
                  <a:lnTo>
                    <a:pt x="17" y="966"/>
                  </a:lnTo>
                  <a:lnTo>
                    <a:pt x="21" y="966"/>
                  </a:lnTo>
                  <a:lnTo>
                    <a:pt x="28" y="963"/>
                  </a:lnTo>
                  <a:lnTo>
                    <a:pt x="47" y="951"/>
                  </a:lnTo>
                  <a:lnTo>
                    <a:pt x="56" y="948"/>
                  </a:lnTo>
                  <a:lnTo>
                    <a:pt x="67" y="948"/>
                  </a:lnTo>
                  <a:lnTo>
                    <a:pt x="71" y="950"/>
                  </a:lnTo>
                  <a:lnTo>
                    <a:pt x="75" y="953"/>
                  </a:lnTo>
                  <a:lnTo>
                    <a:pt x="77" y="957"/>
                  </a:lnTo>
                  <a:lnTo>
                    <a:pt x="80" y="964"/>
                  </a:lnTo>
                  <a:lnTo>
                    <a:pt x="80" y="964"/>
                  </a:lnTo>
                  <a:lnTo>
                    <a:pt x="82" y="970"/>
                  </a:lnTo>
                  <a:lnTo>
                    <a:pt x="86" y="974"/>
                  </a:lnTo>
                  <a:lnTo>
                    <a:pt x="92" y="976"/>
                  </a:lnTo>
                  <a:lnTo>
                    <a:pt x="99" y="978"/>
                  </a:lnTo>
                  <a:lnTo>
                    <a:pt x="116" y="976"/>
                  </a:lnTo>
                  <a:lnTo>
                    <a:pt x="135" y="974"/>
                  </a:lnTo>
                  <a:lnTo>
                    <a:pt x="153" y="972"/>
                  </a:lnTo>
                  <a:lnTo>
                    <a:pt x="170" y="970"/>
                  </a:lnTo>
                  <a:lnTo>
                    <a:pt x="178" y="972"/>
                  </a:lnTo>
                  <a:lnTo>
                    <a:pt x="183" y="974"/>
                  </a:lnTo>
                  <a:lnTo>
                    <a:pt x="187" y="976"/>
                  </a:lnTo>
                  <a:lnTo>
                    <a:pt x="189" y="981"/>
                  </a:lnTo>
                  <a:lnTo>
                    <a:pt x="189" y="981"/>
                  </a:lnTo>
                  <a:lnTo>
                    <a:pt x="194" y="996"/>
                  </a:lnTo>
                  <a:lnTo>
                    <a:pt x="198" y="1000"/>
                  </a:lnTo>
                  <a:lnTo>
                    <a:pt x="202" y="1004"/>
                  </a:lnTo>
                  <a:lnTo>
                    <a:pt x="209" y="1007"/>
                  </a:lnTo>
                  <a:lnTo>
                    <a:pt x="217" y="1006"/>
                  </a:lnTo>
                  <a:lnTo>
                    <a:pt x="228" y="1002"/>
                  </a:lnTo>
                  <a:lnTo>
                    <a:pt x="234" y="1002"/>
                  </a:lnTo>
                  <a:lnTo>
                    <a:pt x="236" y="1002"/>
                  </a:lnTo>
                  <a:lnTo>
                    <a:pt x="236" y="1006"/>
                  </a:lnTo>
                  <a:lnTo>
                    <a:pt x="236" y="1006"/>
                  </a:lnTo>
                  <a:lnTo>
                    <a:pt x="237" y="1011"/>
                  </a:lnTo>
                  <a:lnTo>
                    <a:pt x="241" y="1015"/>
                  </a:lnTo>
                  <a:lnTo>
                    <a:pt x="245" y="1017"/>
                  </a:lnTo>
                  <a:lnTo>
                    <a:pt x="249" y="1019"/>
                  </a:lnTo>
                  <a:lnTo>
                    <a:pt x="260" y="1022"/>
                  </a:lnTo>
                  <a:lnTo>
                    <a:pt x="265" y="1026"/>
                  </a:lnTo>
                  <a:lnTo>
                    <a:pt x="273" y="1032"/>
                  </a:lnTo>
                  <a:lnTo>
                    <a:pt x="273" y="1032"/>
                  </a:lnTo>
                  <a:lnTo>
                    <a:pt x="284" y="1045"/>
                  </a:lnTo>
                  <a:lnTo>
                    <a:pt x="290" y="1047"/>
                  </a:lnTo>
                  <a:lnTo>
                    <a:pt x="293" y="1047"/>
                  </a:lnTo>
                  <a:lnTo>
                    <a:pt x="295" y="1047"/>
                  </a:lnTo>
                  <a:lnTo>
                    <a:pt x="299" y="1045"/>
                  </a:lnTo>
                  <a:lnTo>
                    <a:pt x="310" y="1039"/>
                  </a:lnTo>
                  <a:lnTo>
                    <a:pt x="310" y="1039"/>
                  </a:lnTo>
                  <a:lnTo>
                    <a:pt x="318" y="1037"/>
                  </a:lnTo>
                  <a:lnTo>
                    <a:pt x="327" y="1037"/>
                  </a:lnTo>
                  <a:lnTo>
                    <a:pt x="336" y="1039"/>
                  </a:lnTo>
                  <a:lnTo>
                    <a:pt x="348" y="1041"/>
                  </a:lnTo>
                  <a:lnTo>
                    <a:pt x="348" y="1041"/>
                  </a:lnTo>
                  <a:lnTo>
                    <a:pt x="372" y="1050"/>
                  </a:lnTo>
                  <a:lnTo>
                    <a:pt x="387" y="1058"/>
                  </a:lnTo>
                  <a:lnTo>
                    <a:pt x="394" y="1063"/>
                  </a:lnTo>
                  <a:lnTo>
                    <a:pt x="398" y="1067"/>
                  </a:lnTo>
                  <a:lnTo>
                    <a:pt x="398" y="1071"/>
                  </a:lnTo>
                  <a:lnTo>
                    <a:pt x="400" y="1075"/>
                  </a:lnTo>
                  <a:lnTo>
                    <a:pt x="404" y="1077"/>
                  </a:lnTo>
                  <a:lnTo>
                    <a:pt x="415" y="1080"/>
                  </a:lnTo>
                  <a:lnTo>
                    <a:pt x="415" y="1080"/>
                  </a:lnTo>
                  <a:lnTo>
                    <a:pt x="426" y="1084"/>
                  </a:lnTo>
                  <a:lnTo>
                    <a:pt x="430" y="1086"/>
                  </a:lnTo>
                  <a:lnTo>
                    <a:pt x="436" y="1093"/>
                  </a:lnTo>
                  <a:lnTo>
                    <a:pt x="436" y="1093"/>
                  </a:lnTo>
                  <a:lnTo>
                    <a:pt x="445" y="1105"/>
                  </a:lnTo>
                  <a:lnTo>
                    <a:pt x="454" y="1110"/>
                  </a:lnTo>
                  <a:lnTo>
                    <a:pt x="462" y="1114"/>
                  </a:lnTo>
                  <a:lnTo>
                    <a:pt x="471" y="1116"/>
                  </a:lnTo>
                  <a:lnTo>
                    <a:pt x="486" y="1116"/>
                  </a:lnTo>
                  <a:lnTo>
                    <a:pt x="497" y="1116"/>
                  </a:lnTo>
                  <a:lnTo>
                    <a:pt x="497" y="1116"/>
                  </a:lnTo>
                  <a:lnTo>
                    <a:pt x="499" y="1103"/>
                  </a:lnTo>
                  <a:lnTo>
                    <a:pt x="497" y="1095"/>
                  </a:lnTo>
                  <a:lnTo>
                    <a:pt x="493" y="1090"/>
                  </a:lnTo>
                  <a:lnTo>
                    <a:pt x="492" y="1088"/>
                  </a:lnTo>
                  <a:lnTo>
                    <a:pt x="490" y="1084"/>
                  </a:lnTo>
                  <a:lnTo>
                    <a:pt x="490" y="1080"/>
                  </a:lnTo>
                  <a:lnTo>
                    <a:pt x="492" y="1075"/>
                  </a:lnTo>
                  <a:lnTo>
                    <a:pt x="497" y="1067"/>
                  </a:lnTo>
                  <a:lnTo>
                    <a:pt x="497" y="1067"/>
                  </a:lnTo>
                  <a:lnTo>
                    <a:pt x="497" y="1063"/>
                  </a:lnTo>
                  <a:lnTo>
                    <a:pt x="497" y="1060"/>
                  </a:lnTo>
                  <a:lnTo>
                    <a:pt x="495" y="1054"/>
                  </a:lnTo>
                  <a:lnTo>
                    <a:pt x="488" y="1039"/>
                  </a:lnTo>
                  <a:lnTo>
                    <a:pt x="484" y="1032"/>
                  </a:lnTo>
                  <a:lnTo>
                    <a:pt x="482" y="1022"/>
                  </a:lnTo>
                  <a:lnTo>
                    <a:pt x="484" y="1017"/>
                  </a:lnTo>
                  <a:lnTo>
                    <a:pt x="486" y="1009"/>
                  </a:lnTo>
                  <a:lnTo>
                    <a:pt x="490" y="1004"/>
                  </a:lnTo>
                  <a:lnTo>
                    <a:pt x="495" y="996"/>
                  </a:lnTo>
                  <a:lnTo>
                    <a:pt x="495" y="996"/>
                  </a:lnTo>
                  <a:lnTo>
                    <a:pt x="499" y="994"/>
                  </a:lnTo>
                  <a:lnTo>
                    <a:pt x="503" y="992"/>
                  </a:lnTo>
                  <a:lnTo>
                    <a:pt x="512" y="991"/>
                  </a:lnTo>
                  <a:lnTo>
                    <a:pt x="536" y="992"/>
                  </a:lnTo>
                  <a:lnTo>
                    <a:pt x="548" y="992"/>
                  </a:lnTo>
                  <a:lnTo>
                    <a:pt x="557" y="991"/>
                  </a:lnTo>
                  <a:lnTo>
                    <a:pt x="561" y="989"/>
                  </a:lnTo>
                  <a:lnTo>
                    <a:pt x="564" y="985"/>
                  </a:lnTo>
                  <a:lnTo>
                    <a:pt x="566" y="981"/>
                  </a:lnTo>
                  <a:lnTo>
                    <a:pt x="566" y="978"/>
                  </a:lnTo>
                  <a:lnTo>
                    <a:pt x="566" y="978"/>
                  </a:lnTo>
                  <a:lnTo>
                    <a:pt x="563" y="964"/>
                  </a:lnTo>
                  <a:lnTo>
                    <a:pt x="559" y="957"/>
                  </a:lnTo>
                  <a:lnTo>
                    <a:pt x="551" y="953"/>
                  </a:lnTo>
                  <a:lnTo>
                    <a:pt x="544" y="951"/>
                  </a:lnTo>
                  <a:lnTo>
                    <a:pt x="536" y="950"/>
                  </a:lnTo>
                  <a:lnTo>
                    <a:pt x="531" y="948"/>
                  </a:lnTo>
                  <a:lnTo>
                    <a:pt x="525" y="944"/>
                  </a:lnTo>
                  <a:lnTo>
                    <a:pt x="521" y="936"/>
                  </a:lnTo>
                  <a:lnTo>
                    <a:pt x="521" y="936"/>
                  </a:lnTo>
                  <a:lnTo>
                    <a:pt x="520" y="927"/>
                  </a:lnTo>
                  <a:lnTo>
                    <a:pt x="514" y="920"/>
                  </a:lnTo>
                  <a:lnTo>
                    <a:pt x="507" y="916"/>
                  </a:lnTo>
                  <a:lnTo>
                    <a:pt x="501" y="914"/>
                  </a:lnTo>
                  <a:lnTo>
                    <a:pt x="486" y="912"/>
                  </a:lnTo>
                  <a:lnTo>
                    <a:pt x="482" y="910"/>
                  </a:lnTo>
                  <a:lnTo>
                    <a:pt x="480" y="908"/>
                  </a:lnTo>
                  <a:lnTo>
                    <a:pt x="480" y="908"/>
                  </a:lnTo>
                  <a:lnTo>
                    <a:pt x="478" y="907"/>
                  </a:lnTo>
                  <a:lnTo>
                    <a:pt x="480" y="903"/>
                  </a:lnTo>
                  <a:lnTo>
                    <a:pt x="484" y="901"/>
                  </a:lnTo>
                  <a:lnTo>
                    <a:pt x="488" y="901"/>
                  </a:lnTo>
                  <a:lnTo>
                    <a:pt x="501" y="899"/>
                  </a:lnTo>
                  <a:lnTo>
                    <a:pt x="516" y="899"/>
                  </a:lnTo>
                  <a:lnTo>
                    <a:pt x="546" y="901"/>
                  </a:lnTo>
                  <a:lnTo>
                    <a:pt x="564" y="905"/>
                  </a:lnTo>
                  <a:lnTo>
                    <a:pt x="564" y="905"/>
                  </a:lnTo>
                  <a:lnTo>
                    <a:pt x="583" y="907"/>
                  </a:lnTo>
                  <a:lnTo>
                    <a:pt x="596" y="907"/>
                  </a:lnTo>
                  <a:lnTo>
                    <a:pt x="602" y="903"/>
                  </a:lnTo>
                  <a:lnTo>
                    <a:pt x="604" y="899"/>
                  </a:lnTo>
                  <a:lnTo>
                    <a:pt x="604" y="897"/>
                  </a:lnTo>
                  <a:lnTo>
                    <a:pt x="604" y="897"/>
                  </a:lnTo>
                  <a:lnTo>
                    <a:pt x="615" y="908"/>
                  </a:lnTo>
                  <a:lnTo>
                    <a:pt x="615" y="908"/>
                  </a:lnTo>
                  <a:lnTo>
                    <a:pt x="621" y="914"/>
                  </a:lnTo>
                  <a:lnTo>
                    <a:pt x="626" y="914"/>
                  </a:lnTo>
                  <a:lnTo>
                    <a:pt x="634" y="914"/>
                  </a:lnTo>
                  <a:lnTo>
                    <a:pt x="639" y="910"/>
                  </a:lnTo>
                  <a:lnTo>
                    <a:pt x="650" y="903"/>
                  </a:lnTo>
                  <a:lnTo>
                    <a:pt x="662" y="895"/>
                  </a:lnTo>
                  <a:lnTo>
                    <a:pt x="662" y="895"/>
                  </a:lnTo>
                  <a:lnTo>
                    <a:pt x="662" y="895"/>
                  </a:lnTo>
                  <a:lnTo>
                    <a:pt x="662" y="890"/>
                  </a:lnTo>
                  <a:lnTo>
                    <a:pt x="662" y="890"/>
                  </a:lnTo>
                  <a:lnTo>
                    <a:pt x="662" y="854"/>
                  </a:lnTo>
                  <a:lnTo>
                    <a:pt x="660" y="849"/>
                  </a:lnTo>
                  <a:lnTo>
                    <a:pt x="660" y="847"/>
                  </a:lnTo>
                  <a:lnTo>
                    <a:pt x="656" y="847"/>
                  </a:lnTo>
                  <a:lnTo>
                    <a:pt x="654" y="845"/>
                  </a:lnTo>
                  <a:lnTo>
                    <a:pt x="649" y="841"/>
                  </a:lnTo>
                  <a:lnTo>
                    <a:pt x="641" y="830"/>
                  </a:lnTo>
                  <a:lnTo>
                    <a:pt x="641" y="830"/>
                  </a:lnTo>
                  <a:lnTo>
                    <a:pt x="634" y="821"/>
                  </a:lnTo>
                  <a:lnTo>
                    <a:pt x="626" y="813"/>
                  </a:lnTo>
                  <a:lnTo>
                    <a:pt x="622" y="809"/>
                  </a:lnTo>
                  <a:lnTo>
                    <a:pt x="622" y="808"/>
                  </a:lnTo>
                  <a:lnTo>
                    <a:pt x="622" y="808"/>
                  </a:lnTo>
                  <a:lnTo>
                    <a:pt x="624" y="804"/>
                  </a:lnTo>
                  <a:lnTo>
                    <a:pt x="624" y="798"/>
                  </a:lnTo>
                  <a:lnTo>
                    <a:pt x="621" y="783"/>
                  </a:lnTo>
                  <a:lnTo>
                    <a:pt x="615" y="770"/>
                  </a:lnTo>
                  <a:lnTo>
                    <a:pt x="609" y="763"/>
                  </a:lnTo>
                  <a:lnTo>
                    <a:pt x="609" y="763"/>
                  </a:lnTo>
                  <a:lnTo>
                    <a:pt x="606" y="761"/>
                  </a:lnTo>
                  <a:lnTo>
                    <a:pt x="604" y="755"/>
                  </a:lnTo>
                  <a:lnTo>
                    <a:pt x="600" y="744"/>
                  </a:lnTo>
                  <a:lnTo>
                    <a:pt x="594" y="729"/>
                  </a:lnTo>
                  <a:lnTo>
                    <a:pt x="591" y="722"/>
                  </a:lnTo>
                  <a:lnTo>
                    <a:pt x="587" y="714"/>
                  </a:lnTo>
                  <a:lnTo>
                    <a:pt x="587" y="714"/>
                  </a:lnTo>
                  <a:lnTo>
                    <a:pt x="579" y="707"/>
                  </a:lnTo>
                  <a:lnTo>
                    <a:pt x="579" y="707"/>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2" name="Freeform 52">
              <a:extLst>
                <a:ext uri="{FF2B5EF4-FFF2-40B4-BE49-F238E27FC236}">
                  <a16:creationId xmlns:a16="http://schemas.microsoft.com/office/drawing/2014/main" id="{C719756D-BF6F-4DDC-9934-DEE3DEF27905}"/>
                </a:ext>
              </a:extLst>
            </p:cNvPr>
            <p:cNvSpPr>
              <a:spLocks/>
            </p:cNvSpPr>
            <p:nvPr/>
          </p:nvSpPr>
          <p:spPr bwMode="auto">
            <a:xfrm>
              <a:off x="3538319" y="3064118"/>
              <a:ext cx="1607746" cy="1373396"/>
            </a:xfrm>
            <a:custGeom>
              <a:avLst/>
              <a:gdLst/>
              <a:ahLst/>
              <a:cxnLst>
                <a:cxn ang="0">
                  <a:pos x="1421" y="1079"/>
                </a:cxn>
                <a:cxn ang="0">
                  <a:pos x="1406" y="1009"/>
                </a:cxn>
                <a:cxn ang="0">
                  <a:pos x="1389" y="925"/>
                </a:cxn>
                <a:cxn ang="0">
                  <a:pos x="1318" y="852"/>
                </a:cxn>
                <a:cxn ang="0">
                  <a:pos x="1221" y="795"/>
                </a:cxn>
                <a:cxn ang="0">
                  <a:pos x="1195" y="699"/>
                </a:cxn>
                <a:cxn ang="0">
                  <a:pos x="1275" y="589"/>
                </a:cxn>
                <a:cxn ang="0">
                  <a:pos x="1140" y="585"/>
                </a:cxn>
                <a:cxn ang="0">
                  <a:pos x="1026" y="582"/>
                </a:cxn>
                <a:cxn ang="0">
                  <a:pos x="942" y="596"/>
                </a:cxn>
                <a:cxn ang="0">
                  <a:pos x="884" y="516"/>
                </a:cxn>
                <a:cxn ang="0">
                  <a:pos x="810" y="451"/>
                </a:cxn>
                <a:cxn ang="0">
                  <a:pos x="869" y="331"/>
                </a:cxn>
                <a:cxn ang="0">
                  <a:pos x="694" y="316"/>
                </a:cxn>
                <a:cxn ang="0">
                  <a:pos x="664" y="307"/>
                </a:cxn>
                <a:cxn ang="0">
                  <a:pos x="617" y="176"/>
                </a:cxn>
                <a:cxn ang="0">
                  <a:pos x="464" y="19"/>
                </a:cxn>
                <a:cxn ang="0">
                  <a:pos x="421" y="111"/>
                </a:cxn>
                <a:cxn ang="0">
                  <a:pos x="312" y="120"/>
                </a:cxn>
                <a:cxn ang="0">
                  <a:pos x="114" y="266"/>
                </a:cxn>
                <a:cxn ang="0">
                  <a:pos x="45" y="361"/>
                </a:cxn>
                <a:cxn ang="0">
                  <a:pos x="38" y="475"/>
                </a:cxn>
                <a:cxn ang="0">
                  <a:pos x="137" y="520"/>
                </a:cxn>
                <a:cxn ang="0">
                  <a:pos x="185" y="554"/>
                </a:cxn>
                <a:cxn ang="0">
                  <a:pos x="301" y="610"/>
                </a:cxn>
                <a:cxn ang="0">
                  <a:pos x="410" y="645"/>
                </a:cxn>
                <a:cxn ang="0">
                  <a:pos x="454" y="591"/>
                </a:cxn>
                <a:cxn ang="0">
                  <a:pos x="520" y="509"/>
                </a:cxn>
                <a:cxn ang="0">
                  <a:pos x="660" y="555"/>
                </a:cxn>
                <a:cxn ang="0">
                  <a:pos x="817" y="669"/>
                </a:cxn>
                <a:cxn ang="0">
                  <a:pos x="864" y="682"/>
                </a:cxn>
                <a:cxn ang="0">
                  <a:pos x="983" y="787"/>
                </a:cxn>
                <a:cxn ang="0">
                  <a:pos x="1026" y="787"/>
                </a:cxn>
                <a:cxn ang="0">
                  <a:pos x="1073" y="884"/>
                </a:cxn>
                <a:cxn ang="0">
                  <a:pos x="1097" y="946"/>
                </a:cxn>
                <a:cxn ang="0">
                  <a:pos x="1107" y="1034"/>
                </a:cxn>
                <a:cxn ang="0">
                  <a:pos x="1052" y="1092"/>
                </a:cxn>
                <a:cxn ang="0">
                  <a:pos x="980" y="1170"/>
                </a:cxn>
                <a:cxn ang="0">
                  <a:pos x="991" y="1256"/>
                </a:cxn>
                <a:cxn ang="0">
                  <a:pos x="843" y="1243"/>
                </a:cxn>
                <a:cxn ang="0">
                  <a:pos x="938" y="1361"/>
                </a:cxn>
                <a:cxn ang="0">
                  <a:pos x="953" y="1415"/>
                </a:cxn>
                <a:cxn ang="0">
                  <a:pos x="1000" y="1316"/>
                </a:cxn>
                <a:cxn ang="0">
                  <a:pos x="1064" y="1265"/>
                </a:cxn>
                <a:cxn ang="0">
                  <a:pos x="1109" y="1318"/>
                </a:cxn>
                <a:cxn ang="0">
                  <a:pos x="1204" y="1355"/>
                </a:cxn>
                <a:cxn ang="0">
                  <a:pos x="1241" y="1480"/>
                </a:cxn>
                <a:cxn ang="0">
                  <a:pos x="1378" y="1477"/>
                </a:cxn>
                <a:cxn ang="0">
                  <a:pos x="1413" y="1424"/>
                </a:cxn>
                <a:cxn ang="0">
                  <a:pos x="1516" y="1387"/>
                </a:cxn>
                <a:cxn ang="0">
                  <a:pos x="1525" y="1282"/>
                </a:cxn>
                <a:cxn ang="0">
                  <a:pos x="1486" y="1237"/>
                </a:cxn>
                <a:cxn ang="0">
                  <a:pos x="1529" y="1168"/>
                </a:cxn>
                <a:cxn ang="0">
                  <a:pos x="1656" y="1181"/>
                </a:cxn>
                <a:cxn ang="0">
                  <a:pos x="1750" y="1142"/>
                </a:cxn>
                <a:cxn ang="0">
                  <a:pos x="1770" y="1015"/>
                </a:cxn>
                <a:cxn ang="0">
                  <a:pos x="1613" y="920"/>
                </a:cxn>
                <a:cxn ang="0">
                  <a:pos x="1535" y="927"/>
                </a:cxn>
                <a:cxn ang="0">
                  <a:pos x="1512" y="994"/>
                </a:cxn>
                <a:cxn ang="0">
                  <a:pos x="1557" y="1069"/>
                </a:cxn>
                <a:cxn ang="0">
                  <a:pos x="1507" y="1112"/>
                </a:cxn>
              </a:cxnLst>
              <a:rect l="0" t="0" r="r" b="b"/>
              <a:pathLst>
                <a:path w="1770" h="1514">
                  <a:moveTo>
                    <a:pt x="1495" y="1140"/>
                  </a:moveTo>
                  <a:lnTo>
                    <a:pt x="1495" y="1140"/>
                  </a:lnTo>
                  <a:lnTo>
                    <a:pt x="1492" y="1138"/>
                  </a:lnTo>
                  <a:lnTo>
                    <a:pt x="1484" y="1133"/>
                  </a:lnTo>
                  <a:lnTo>
                    <a:pt x="1467" y="1120"/>
                  </a:lnTo>
                  <a:lnTo>
                    <a:pt x="1445" y="1097"/>
                  </a:lnTo>
                  <a:lnTo>
                    <a:pt x="1445" y="1097"/>
                  </a:lnTo>
                  <a:lnTo>
                    <a:pt x="1434" y="1094"/>
                  </a:lnTo>
                  <a:lnTo>
                    <a:pt x="1428" y="1092"/>
                  </a:lnTo>
                  <a:lnTo>
                    <a:pt x="1428" y="1090"/>
                  </a:lnTo>
                  <a:lnTo>
                    <a:pt x="1430" y="1088"/>
                  </a:lnTo>
                  <a:lnTo>
                    <a:pt x="1430" y="1086"/>
                  </a:lnTo>
                  <a:lnTo>
                    <a:pt x="1428" y="1084"/>
                  </a:lnTo>
                  <a:lnTo>
                    <a:pt x="1421" y="1079"/>
                  </a:lnTo>
                  <a:lnTo>
                    <a:pt x="1406" y="1073"/>
                  </a:lnTo>
                  <a:lnTo>
                    <a:pt x="1406" y="1073"/>
                  </a:lnTo>
                  <a:lnTo>
                    <a:pt x="1398" y="1069"/>
                  </a:lnTo>
                  <a:lnTo>
                    <a:pt x="1391" y="1065"/>
                  </a:lnTo>
                  <a:lnTo>
                    <a:pt x="1387" y="1060"/>
                  </a:lnTo>
                  <a:lnTo>
                    <a:pt x="1383" y="1056"/>
                  </a:lnTo>
                  <a:lnTo>
                    <a:pt x="1381" y="1051"/>
                  </a:lnTo>
                  <a:lnTo>
                    <a:pt x="1381" y="1047"/>
                  </a:lnTo>
                  <a:lnTo>
                    <a:pt x="1385" y="1037"/>
                  </a:lnTo>
                  <a:lnTo>
                    <a:pt x="1391" y="1028"/>
                  </a:lnTo>
                  <a:lnTo>
                    <a:pt x="1398" y="1021"/>
                  </a:lnTo>
                  <a:lnTo>
                    <a:pt x="1404" y="1013"/>
                  </a:lnTo>
                  <a:lnTo>
                    <a:pt x="1406" y="1009"/>
                  </a:lnTo>
                  <a:lnTo>
                    <a:pt x="1406" y="1009"/>
                  </a:lnTo>
                  <a:lnTo>
                    <a:pt x="1406" y="1000"/>
                  </a:lnTo>
                  <a:lnTo>
                    <a:pt x="1404" y="993"/>
                  </a:lnTo>
                  <a:lnTo>
                    <a:pt x="1402" y="985"/>
                  </a:lnTo>
                  <a:lnTo>
                    <a:pt x="1398" y="980"/>
                  </a:lnTo>
                  <a:lnTo>
                    <a:pt x="1391" y="972"/>
                  </a:lnTo>
                  <a:lnTo>
                    <a:pt x="1383" y="965"/>
                  </a:lnTo>
                  <a:lnTo>
                    <a:pt x="1378" y="957"/>
                  </a:lnTo>
                  <a:lnTo>
                    <a:pt x="1376" y="953"/>
                  </a:lnTo>
                  <a:lnTo>
                    <a:pt x="1374" y="950"/>
                  </a:lnTo>
                  <a:lnTo>
                    <a:pt x="1376" y="946"/>
                  </a:lnTo>
                  <a:lnTo>
                    <a:pt x="1378" y="940"/>
                  </a:lnTo>
                  <a:lnTo>
                    <a:pt x="1387" y="927"/>
                  </a:lnTo>
                  <a:lnTo>
                    <a:pt x="1387" y="927"/>
                  </a:lnTo>
                  <a:lnTo>
                    <a:pt x="1389" y="925"/>
                  </a:lnTo>
                  <a:lnTo>
                    <a:pt x="1389" y="922"/>
                  </a:lnTo>
                  <a:lnTo>
                    <a:pt x="1387" y="916"/>
                  </a:lnTo>
                  <a:lnTo>
                    <a:pt x="1381" y="909"/>
                  </a:lnTo>
                  <a:lnTo>
                    <a:pt x="1372" y="901"/>
                  </a:lnTo>
                  <a:lnTo>
                    <a:pt x="1355" y="884"/>
                  </a:lnTo>
                  <a:lnTo>
                    <a:pt x="1348" y="877"/>
                  </a:lnTo>
                  <a:lnTo>
                    <a:pt x="1342" y="867"/>
                  </a:lnTo>
                  <a:lnTo>
                    <a:pt x="1342" y="867"/>
                  </a:lnTo>
                  <a:lnTo>
                    <a:pt x="1338" y="862"/>
                  </a:lnTo>
                  <a:lnTo>
                    <a:pt x="1331" y="860"/>
                  </a:lnTo>
                  <a:lnTo>
                    <a:pt x="1318" y="858"/>
                  </a:lnTo>
                  <a:lnTo>
                    <a:pt x="1310" y="858"/>
                  </a:lnTo>
                  <a:lnTo>
                    <a:pt x="1312" y="856"/>
                  </a:lnTo>
                  <a:lnTo>
                    <a:pt x="1318" y="852"/>
                  </a:lnTo>
                  <a:lnTo>
                    <a:pt x="1318" y="852"/>
                  </a:lnTo>
                  <a:lnTo>
                    <a:pt x="1323" y="849"/>
                  </a:lnTo>
                  <a:lnTo>
                    <a:pt x="1325" y="843"/>
                  </a:lnTo>
                  <a:lnTo>
                    <a:pt x="1323" y="839"/>
                  </a:lnTo>
                  <a:lnTo>
                    <a:pt x="1322" y="836"/>
                  </a:lnTo>
                  <a:lnTo>
                    <a:pt x="1316" y="832"/>
                  </a:lnTo>
                  <a:lnTo>
                    <a:pt x="1310" y="828"/>
                  </a:lnTo>
                  <a:lnTo>
                    <a:pt x="1297" y="824"/>
                  </a:lnTo>
                  <a:lnTo>
                    <a:pt x="1297" y="824"/>
                  </a:lnTo>
                  <a:lnTo>
                    <a:pt x="1277" y="824"/>
                  </a:lnTo>
                  <a:lnTo>
                    <a:pt x="1260" y="823"/>
                  </a:lnTo>
                  <a:lnTo>
                    <a:pt x="1249" y="819"/>
                  </a:lnTo>
                  <a:lnTo>
                    <a:pt x="1239" y="811"/>
                  </a:lnTo>
                  <a:lnTo>
                    <a:pt x="1221" y="795"/>
                  </a:lnTo>
                  <a:lnTo>
                    <a:pt x="1209" y="785"/>
                  </a:lnTo>
                  <a:lnTo>
                    <a:pt x="1195" y="772"/>
                  </a:lnTo>
                  <a:lnTo>
                    <a:pt x="1195" y="772"/>
                  </a:lnTo>
                  <a:lnTo>
                    <a:pt x="1185" y="767"/>
                  </a:lnTo>
                  <a:lnTo>
                    <a:pt x="1180" y="763"/>
                  </a:lnTo>
                  <a:lnTo>
                    <a:pt x="1178" y="757"/>
                  </a:lnTo>
                  <a:lnTo>
                    <a:pt x="1178" y="757"/>
                  </a:lnTo>
                  <a:lnTo>
                    <a:pt x="1174" y="748"/>
                  </a:lnTo>
                  <a:lnTo>
                    <a:pt x="1176" y="740"/>
                  </a:lnTo>
                  <a:lnTo>
                    <a:pt x="1180" y="731"/>
                  </a:lnTo>
                  <a:lnTo>
                    <a:pt x="1183" y="724"/>
                  </a:lnTo>
                  <a:lnTo>
                    <a:pt x="1189" y="716"/>
                  </a:lnTo>
                  <a:lnTo>
                    <a:pt x="1193" y="709"/>
                  </a:lnTo>
                  <a:lnTo>
                    <a:pt x="1195" y="699"/>
                  </a:lnTo>
                  <a:lnTo>
                    <a:pt x="1191" y="690"/>
                  </a:lnTo>
                  <a:lnTo>
                    <a:pt x="1191" y="690"/>
                  </a:lnTo>
                  <a:lnTo>
                    <a:pt x="1191" y="684"/>
                  </a:lnTo>
                  <a:lnTo>
                    <a:pt x="1195" y="681"/>
                  </a:lnTo>
                  <a:lnTo>
                    <a:pt x="1211" y="673"/>
                  </a:lnTo>
                  <a:lnTo>
                    <a:pt x="1223" y="667"/>
                  </a:lnTo>
                  <a:lnTo>
                    <a:pt x="1236" y="658"/>
                  </a:lnTo>
                  <a:lnTo>
                    <a:pt x="1251" y="645"/>
                  </a:lnTo>
                  <a:lnTo>
                    <a:pt x="1264" y="625"/>
                  </a:lnTo>
                  <a:lnTo>
                    <a:pt x="1264" y="625"/>
                  </a:lnTo>
                  <a:lnTo>
                    <a:pt x="1273" y="611"/>
                  </a:lnTo>
                  <a:lnTo>
                    <a:pt x="1277" y="600"/>
                  </a:lnTo>
                  <a:lnTo>
                    <a:pt x="1277" y="595"/>
                  </a:lnTo>
                  <a:lnTo>
                    <a:pt x="1275" y="589"/>
                  </a:lnTo>
                  <a:lnTo>
                    <a:pt x="1269" y="580"/>
                  </a:lnTo>
                  <a:lnTo>
                    <a:pt x="1266" y="570"/>
                  </a:lnTo>
                  <a:lnTo>
                    <a:pt x="1264" y="557"/>
                  </a:lnTo>
                  <a:lnTo>
                    <a:pt x="1264" y="557"/>
                  </a:lnTo>
                  <a:lnTo>
                    <a:pt x="1262" y="550"/>
                  </a:lnTo>
                  <a:lnTo>
                    <a:pt x="1258" y="544"/>
                  </a:lnTo>
                  <a:lnTo>
                    <a:pt x="1252" y="542"/>
                  </a:lnTo>
                  <a:lnTo>
                    <a:pt x="1245" y="542"/>
                  </a:lnTo>
                  <a:lnTo>
                    <a:pt x="1238" y="544"/>
                  </a:lnTo>
                  <a:lnTo>
                    <a:pt x="1226" y="548"/>
                  </a:lnTo>
                  <a:lnTo>
                    <a:pt x="1204" y="557"/>
                  </a:lnTo>
                  <a:lnTo>
                    <a:pt x="1181" y="568"/>
                  </a:lnTo>
                  <a:lnTo>
                    <a:pt x="1159" y="580"/>
                  </a:lnTo>
                  <a:lnTo>
                    <a:pt x="1140" y="585"/>
                  </a:lnTo>
                  <a:lnTo>
                    <a:pt x="1133" y="587"/>
                  </a:lnTo>
                  <a:lnTo>
                    <a:pt x="1127" y="585"/>
                  </a:lnTo>
                  <a:lnTo>
                    <a:pt x="1127" y="585"/>
                  </a:lnTo>
                  <a:lnTo>
                    <a:pt x="1112" y="578"/>
                  </a:lnTo>
                  <a:lnTo>
                    <a:pt x="1101" y="572"/>
                  </a:lnTo>
                  <a:lnTo>
                    <a:pt x="1092" y="570"/>
                  </a:lnTo>
                  <a:lnTo>
                    <a:pt x="1084" y="568"/>
                  </a:lnTo>
                  <a:lnTo>
                    <a:pt x="1073" y="570"/>
                  </a:lnTo>
                  <a:lnTo>
                    <a:pt x="1062" y="572"/>
                  </a:lnTo>
                  <a:lnTo>
                    <a:pt x="1062" y="572"/>
                  </a:lnTo>
                  <a:lnTo>
                    <a:pt x="1039" y="574"/>
                  </a:lnTo>
                  <a:lnTo>
                    <a:pt x="1028" y="578"/>
                  </a:lnTo>
                  <a:lnTo>
                    <a:pt x="1026" y="580"/>
                  </a:lnTo>
                  <a:lnTo>
                    <a:pt x="1026" y="582"/>
                  </a:lnTo>
                  <a:lnTo>
                    <a:pt x="1030" y="587"/>
                  </a:lnTo>
                  <a:lnTo>
                    <a:pt x="1041" y="598"/>
                  </a:lnTo>
                  <a:lnTo>
                    <a:pt x="1045" y="606"/>
                  </a:lnTo>
                  <a:lnTo>
                    <a:pt x="1045" y="608"/>
                  </a:lnTo>
                  <a:lnTo>
                    <a:pt x="1043" y="611"/>
                  </a:lnTo>
                  <a:lnTo>
                    <a:pt x="1043" y="611"/>
                  </a:lnTo>
                  <a:lnTo>
                    <a:pt x="1021" y="634"/>
                  </a:lnTo>
                  <a:lnTo>
                    <a:pt x="1013" y="641"/>
                  </a:lnTo>
                  <a:lnTo>
                    <a:pt x="1010" y="641"/>
                  </a:lnTo>
                  <a:lnTo>
                    <a:pt x="1004" y="641"/>
                  </a:lnTo>
                  <a:lnTo>
                    <a:pt x="995" y="639"/>
                  </a:lnTo>
                  <a:lnTo>
                    <a:pt x="983" y="630"/>
                  </a:lnTo>
                  <a:lnTo>
                    <a:pt x="942" y="596"/>
                  </a:lnTo>
                  <a:lnTo>
                    <a:pt x="942" y="596"/>
                  </a:lnTo>
                  <a:lnTo>
                    <a:pt x="935" y="591"/>
                  </a:lnTo>
                  <a:lnTo>
                    <a:pt x="927" y="587"/>
                  </a:lnTo>
                  <a:lnTo>
                    <a:pt x="916" y="585"/>
                  </a:lnTo>
                  <a:lnTo>
                    <a:pt x="912" y="583"/>
                  </a:lnTo>
                  <a:lnTo>
                    <a:pt x="912" y="580"/>
                  </a:lnTo>
                  <a:lnTo>
                    <a:pt x="912" y="574"/>
                  </a:lnTo>
                  <a:lnTo>
                    <a:pt x="914" y="565"/>
                  </a:lnTo>
                  <a:lnTo>
                    <a:pt x="914" y="565"/>
                  </a:lnTo>
                  <a:lnTo>
                    <a:pt x="916" y="550"/>
                  </a:lnTo>
                  <a:lnTo>
                    <a:pt x="916" y="540"/>
                  </a:lnTo>
                  <a:lnTo>
                    <a:pt x="912" y="533"/>
                  </a:lnTo>
                  <a:lnTo>
                    <a:pt x="907" y="527"/>
                  </a:lnTo>
                  <a:lnTo>
                    <a:pt x="894" y="520"/>
                  </a:lnTo>
                  <a:lnTo>
                    <a:pt x="884" y="516"/>
                  </a:lnTo>
                  <a:lnTo>
                    <a:pt x="877" y="509"/>
                  </a:lnTo>
                  <a:lnTo>
                    <a:pt x="877" y="509"/>
                  </a:lnTo>
                  <a:lnTo>
                    <a:pt x="871" y="503"/>
                  </a:lnTo>
                  <a:lnTo>
                    <a:pt x="867" y="501"/>
                  </a:lnTo>
                  <a:lnTo>
                    <a:pt x="864" y="497"/>
                  </a:lnTo>
                  <a:lnTo>
                    <a:pt x="862" y="490"/>
                  </a:lnTo>
                  <a:lnTo>
                    <a:pt x="862" y="490"/>
                  </a:lnTo>
                  <a:lnTo>
                    <a:pt x="860" y="486"/>
                  </a:lnTo>
                  <a:lnTo>
                    <a:pt x="858" y="483"/>
                  </a:lnTo>
                  <a:lnTo>
                    <a:pt x="849" y="477"/>
                  </a:lnTo>
                  <a:lnTo>
                    <a:pt x="828" y="462"/>
                  </a:lnTo>
                  <a:lnTo>
                    <a:pt x="828" y="462"/>
                  </a:lnTo>
                  <a:lnTo>
                    <a:pt x="819" y="456"/>
                  </a:lnTo>
                  <a:lnTo>
                    <a:pt x="810" y="451"/>
                  </a:lnTo>
                  <a:lnTo>
                    <a:pt x="793" y="445"/>
                  </a:lnTo>
                  <a:lnTo>
                    <a:pt x="782" y="443"/>
                  </a:lnTo>
                  <a:lnTo>
                    <a:pt x="776" y="441"/>
                  </a:lnTo>
                  <a:lnTo>
                    <a:pt x="776" y="440"/>
                  </a:lnTo>
                  <a:lnTo>
                    <a:pt x="778" y="438"/>
                  </a:lnTo>
                  <a:lnTo>
                    <a:pt x="789" y="428"/>
                  </a:lnTo>
                  <a:lnTo>
                    <a:pt x="810" y="410"/>
                  </a:lnTo>
                  <a:lnTo>
                    <a:pt x="841" y="378"/>
                  </a:lnTo>
                  <a:lnTo>
                    <a:pt x="841" y="378"/>
                  </a:lnTo>
                  <a:lnTo>
                    <a:pt x="853" y="369"/>
                  </a:lnTo>
                  <a:lnTo>
                    <a:pt x="860" y="357"/>
                  </a:lnTo>
                  <a:lnTo>
                    <a:pt x="866" y="348"/>
                  </a:lnTo>
                  <a:lnTo>
                    <a:pt x="869" y="341"/>
                  </a:lnTo>
                  <a:lnTo>
                    <a:pt x="869" y="331"/>
                  </a:lnTo>
                  <a:lnTo>
                    <a:pt x="867" y="326"/>
                  </a:lnTo>
                  <a:lnTo>
                    <a:pt x="866" y="318"/>
                  </a:lnTo>
                  <a:lnTo>
                    <a:pt x="860" y="312"/>
                  </a:lnTo>
                  <a:lnTo>
                    <a:pt x="853" y="309"/>
                  </a:lnTo>
                  <a:lnTo>
                    <a:pt x="843" y="305"/>
                  </a:lnTo>
                  <a:lnTo>
                    <a:pt x="834" y="303"/>
                  </a:lnTo>
                  <a:lnTo>
                    <a:pt x="823" y="301"/>
                  </a:lnTo>
                  <a:lnTo>
                    <a:pt x="795" y="299"/>
                  </a:lnTo>
                  <a:lnTo>
                    <a:pt x="765" y="301"/>
                  </a:lnTo>
                  <a:lnTo>
                    <a:pt x="765" y="301"/>
                  </a:lnTo>
                  <a:lnTo>
                    <a:pt x="709" y="309"/>
                  </a:lnTo>
                  <a:lnTo>
                    <a:pt x="697" y="311"/>
                  </a:lnTo>
                  <a:lnTo>
                    <a:pt x="694" y="312"/>
                  </a:lnTo>
                  <a:lnTo>
                    <a:pt x="694" y="316"/>
                  </a:lnTo>
                  <a:lnTo>
                    <a:pt x="697" y="320"/>
                  </a:lnTo>
                  <a:lnTo>
                    <a:pt x="697" y="327"/>
                  </a:lnTo>
                  <a:lnTo>
                    <a:pt x="697" y="337"/>
                  </a:lnTo>
                  <a:lnTo>
                    <a:pt x="697" y="337"/>
                  </a:lnTo>
                  <a:lnTo>
                    <a:pt x="694" y="341"/>
                  </a:lnTo>
                  <a:lnTo>
                    <a:pt x="686" y="342"/>
                  </a:lnTo>
                  <a:lnTo>
                    <a:pt x="679" y="342"/>
                  </a:lnTo>
                  <a:lnTo>
                    <a:pt x="671" y="341"/>
                  </a:lnTo>
                  <a:lnTo>
                    <a:pt x="666" y="335"/>
                  </a:lnTo>
                  <a:lnTo>
                    <a:pt x="660" y="327"/>
                  </a:lnTo>
                  <a:lnTo>
                    <a:pt x="660" y="318"/>
                  </a:lnTo>
                  <a:lnTo>
                    <a:pt x="660" y="312"/>
                  </a:lnTo>
                  <a:lnTo>
                    <a:pt x="664" y="307"/>
                  </a:lnTo>
                  <a:lnTo>
                    <a:pt x="664" y="307"/>
                  </a:lnTo>
                  <a:lnTo>
                    <a:pt x="664" y="303"/>
                  </a:lnTo>
                  <a:lnTo>
                    <a:pt x="664" y="299"/>
                  </a:lnTo>
                  <a:lnTo>
                    <a:pt x="660" y="290"/>
                  </a:lnTo>
                  <a:lnTo>
                    <a:pt x="654" y="279"/>
                  </a:lnTo>
                  <a:lnTo>
                    <a:pt x="647" y="266"/>
                  </a:lnTo>
                  <a:lnTo>
                    <a:pt x="628" y="243"/>
                  </a:lnTo>
                  <a:lnTo>
                    <a:pt x="615" y="225"/>
                  </a:lnTo>
                  <a:lnTo>
                    <a:pt x="615" y="225"/>
                  </a:lnTo>
                  <a:lnTo>
                    <a:pt x="604" y="208"/>
                  </a:lnTo>
                  <a:lnTo>
                    <a:pt x="600" y="198"/>
                  </a:lnTo>
                  <a:lnTo>
                    <a:pt x="598" y="193"/>
                  </a:lnTo>
                  <a:lnTo>
                    <a:pt x="602" y="189"/>
                  </a:lnTo>
                  <a:lnTo>
                    <a:pt x="611" y="184"/>
                  </a:lnTo>
                  <a:lnTo>
                    <a:pt x="617" y="176"/>
                  </a:lnTo>
                  <a:lnTo>
                    <a:pt x="621" y="165"/>
                  </a:lnTo>
                  <a:lnTo>
                    <a:pt x="621" y="165"/>
                  </a:lnTo>
                  <a:lnTo>
                    <a:pt x="621" y="156"/>
                  </a:lnTo>
                  <a:lnTo>
                    <a:pt x="617" y="139"/>
                  </a:lnTo>
                  <a:lnTo>
                    <a:pt x="604" y="92"/>
                  </a:lnTo>
                  <a:lnTo>
                    <a:pt x="576" y="12"/>
                  </a:lnTo>
                  <a:lnTo>
                    <a:pt x="576" y="12"/>
                  </a:lnTo>
                  <a:lnTo>
                    <a:pt x="533" y="6"/>
                  </a:lnTo>
                  <a:lnTo>
                    <a:pt x="501" y="4"/>
                  </a:lnTo>
                  <a:lnTo>
                    <a:pt x="501" y="4"/>
                  </a:lnTo>
                  <a:lnTo>
                    <a:pt x="490" y="4"/>
                  </a:lnTo>
                  <a:lnTo>
                    <a:pt x="484" y="0"/>
                  </a:lnTo>
                  <a:lnTo>
                    <a:pt x="484" y="0"/>
                  </a:lnTo>
                  <a:lnTo>
                    <a:pt x="464" y="19"/>
                  </a:lnTo>
                  <a:lnTo>
                    <a:pt x="458" y="27"/>
                  </a:lnTo>
                  <a:lnTo>
                    <a:pt x="454" y="32"/>
                  </a:lnTo>
                  <a:lnTo>
                    <a:pt x="453" y="40"/>
                  </a:lnTo>
                  <a:lnTo>
                    <a:pt x="453" y="47"/>
                  </a:lnTo>
                  <a:lnTo>
                    <a:pt x="458" y="73"/>
                  </a:lnTo>
                  <a:lnTo>
                    <a:pt x="458" y="73"/>
                  </a:lnTo>
                  <a:lnTo>
                    <a:pt x="460" y="86"/>
                  </a:lnTo>
                  <a:lnTo>
                    <a:pt x="462" y="92"/>
                  </a:lnTo>
                  <a:lnTo>
                    <a:pt x="460" y="98"/>
                  </a:lnTo>
                  <a:lnTo>
                    <a:pt x="456" y="101"/>
                  </a:lnTo>
                  <a:lnTo>
                    <a:pt x="449" y="107"/>
                  </a:lnTo>
                  <a:lnTo>
                    <a:pt x="438" y="109"/>
                  </a:lnTo>
                  <a:lnTo>
                    <a:pt x="421" y="111"/>
                  </a:lnTo>
                  <a:lnTo>
                    <a:pt x="421" y="111"/>
                  </a:lnTo>
                  <a:lnTo>
                    <a:pt x="408" y="111"/>
                  </a:lnTo>
                  <a:lnTo>
                    <a:pt x="397" y="114"/>
                  </a:lnTo>
                  <a:lnTo>
                    <a:pt x="389" y="118"/>
                  </a:lnTo>
                  <a:lnTo>
                    <a:pt x="383" y="122"/>
                  </a:lnTo>
                  <a:lnTo>
                    <a:pt x="378" y="126"/>
                  </a:lnTo>
                  <a:lnTo>
                    <a:pt x="374" y="127"/>
                  </a:lnTo>
                  <a:lnTo>
                    <a:pt x="368" y="127"/>
                  </a:lnTo>
                  <a:lnTo>
                    <a:pt x="363" y="124"/>
                  </a:lnTo>
                  <a:lnTo>
                    <a:pt x="363" y="124"/>
                  </a:lnTo>
                  <a:lnTo>
                    <a:pt x="354" y="120"/>
                  </a:lnTo>
                  <a:lnTo>
                    <a:pt x="344" y="116"/>
                  </a:lnTo>
                  <a:lnTo>
                    <a:pt x="333" y="116"/>
                  </a:lnTo>
                  <a:lnTo>
                    <a:pt x="324" y="118"/>
                  </a:lnTo>
                  <a:lnTo>
                    <a:pt x="312" y="120"/>
                  </a:lnTo>
                  <a:lnTo>
                    <a:pt x="301" y="126"/>
                  </a:lnTo>
                  <a:lnTo>
                    <a:pt x="279" y="137"/>
                  </a:lnTo>
                  <a:lnTo>
                    <a:pt x="258" y="152"/>
                  </a:lnTo>
                  <a:lnTo>
                    <a:pt x="240" y="167"/>
                  </a:lnTo>
                  <a:lnTo>
                    <a:pt x="223" y="182"/>
                  </a:lnTo>
                  <a:lnTo>
                    <a:pt x="210" y="197"/>
                  </a:lnTo>
                  <a:lnTo>
                    <a:pt x="210" y="197"/>
                  </a:lnTo>
                  <a:lnTo>
                    <a:pt x="193" y="215"/>
                  </a:lnTo>
                  <a:lnTo>
                    <a:pt x="165" y="241"/>
                  </a:lnTo>
                  <a:lnTo>
                    <a:pt x="152" y="253"/>
                  </a:lnTo>
                  <a:lnTo>
                    <a:pt x="137" y="262"/>
                  </a:lnTo>
                  <a:lnTo>
                    <a:pt x="126" y="266"/>
                  </a:lnTo>
                  <a:lnTo>
                    <a:pt x="120" y="268"/>
                  </a:lnTo>
                  <a:lnTo>
                    <a:pt x="114" y="266"/>
                  </a:lnTo>
                  <a:lnTo>
                    <a:pt x="114" y="266"/>
                  </a:lnTo>
                  <a:lnTo>
                    <a:pt x="94" y="258"/>
                  </a:lnTo>
                  <a:lnTo>
                    <a:pt x="81" y="256"/>
                  </a:lnTo>
                  <a:lnTo>
                    <a:pt x="75" y="256"/>
                  </a:lnTo>
                  <a:lnTo>
                    <a:pt x="71" y="258"/>
                  </a:lnTo>
                  <a:lnTo>
                    <a:pt x="69" y="260"/>
                  </a:lnTo>
                  <a:lnTo>
                    <a:pt x="68" y="264"/>
                  </a:lnTo>
                  <a:lnTo>
                    <a:pt x="64" y="275"/>
                  </a:lnTo>
                  <a:lnTo>
                    <a:pt x="62" y="292"/>
                  </a:lnTo>
                  <a:lnTo>
                    <a:pt x="56" y="311"/>
                  </a:lnTo>
                  <a:lnTo>
                    <a:pt x="51" y="333"/>
                  </a:lnTo>
                  <a:lnTo>
                    <a:pt x="51" y="333"/>
                  </a:lnTo>
                  <a:lnTo>
                    <a:pt x="45" y="348"/>
                  </a:lnTo>
                  <a:lnTo>
                    <a:pt x="45" y="361"/>
                  </a:lnTo>
                  <a:lnTo>
                    <a:pt x="43" y="387"/>
                  </a:lnTo>
                  <a:lnTo>
                    <a:pt x="43" y="398"/>
                  </a:lnTo>
                  <a:lnTo>
                    <a:pt x="40" y="410"/>
                  </a:lnTo>
                  <a:lnTo>
                    <a:pt x="32" y="421"/>
                  </a:lnTo>
                  <a:lnTo>
                    <a:pt x="21" y="432"/>
                  </a:lnTo>
                  <a:lnTo>
                    <a:pt x="21" y="432"/>
                  </a:lnTo>
                  <a:lnTo>
                    <a:pt x="8" y="443"/>
                  </a:lnTo>
                  <a:lnTo>
                    <a:pt x="2" y="451"/>
                  </a:lnTo>
                  <a:lnTo>
                    <a:pt x="0" y="454"/>
                  </a:lnTo>
                  <a:lnTo>
                    <a:pt x="2" y="456"/>
                  </a:lnTo>
                  <a:lnTo>
                    <a:pt x="2" y="456"/>
                  </a:lnTo>
                  <a:lnTo>
                    <a:pt x="10" y="462"/>
                  </a:lnTo>
                  <a:lnTo>
                    <a:pt x="19" y="466"/>
                  </a:lnTo>
                  <a:lnTo>
                    <a:pt x="38" y="475"/>
                  </a:lnTo>
                  <a:lnTo>
                    <a:pt x="47" y="479"/>
                  </a:lnTo>
                  <a:lnTo>
                    <a:pt x="55" y="486"/>
                  </a:lnTo>
                  <a:lnTo>
                    <a:pt x="58" y="494"/>
                  </a:lnTo>
                  <a:lnTo>
                    <a:pt x="62" y="503"/>
                  </a:lnTo>
                  <a:lnTo>
                    <a:pt x="62" y="503"/>
                  </a:lnTo>
                  <a:lnTo>
                    <a:pt x="64" y="505"/>
                  </a:lnTo>
                  <a:lnTo>
                    <a:pt x="66" y="509"/>
                  </a:lnTo>
                  <a:lnTo>
                    <a:pt x="79" y="511"/>
                  </a:lnTo>
                  <a:lnTo>
                    <a:pt x="94" y="514"/>
                  </a:lnTo>
                  <a:lnTo>
                    <a:pt x="109" y="514"/>
                  </a:lnTo>
                  <a:lnTo>
                    <a:pt x="124" y="516"/>
                  </a:lnTo>
                  <a:lnTo>
                    <a:pt x="135" y="518"/>
                  </a:lnTo>
                  <a:lnTo>
                    <a:pt x="137" y="518"/>
                  </a:lnTo>
                  <a:lnTo>
                    <a:pt x="137" y="520"/>
                  </a:lnTo>
                  <a:lnTo>
                    <a:pt x="129" y="525"/>
                  </a:lnTo>
                  <a:lnTo>
                    <a:pt x="129" y="525"/>
                  </a:lnTo>
                  <a:lnTo>
                    <a:pt x="122" y="529"/>
                  </a:lnTo>
                  <a:lnTo>
                    <a:pt x="120" y="533"/>
                  </a:lnTo>
                  <a:lnTo>
                    <a:pt x="122" y="535"/>
                  </a:lnTo>
                  <a:lnTo>
                    <a:pt x="127" y="537"/>
                  </a:lnTo>
                  <a:lnTo>
                    <a:pt x="146" y="539"/>
                  </a:lnTo>
                  <a:lnTo>
                    <a:pt x="165" y="537"/>
                  </a:lnTo>
                  <a:lnTo>
                    <a:pt x="165" y="537"/>
                  </a:lnTo>
                  <a:lnTo>
                    <a:pt x="170" y="537"/>
                  </a:lnTo>
                  <a:lnTo>
                    <a:pt x="174" y="537"/>
                  </a:lnTo>
                  <a:lnTo>
                    <a:pt x="178" y="540"/>
                  </a:lnTo>
                  <a:lnTo>
                    <a:pt x="182" y="544"/>
                  </a:lnTo>
                  <a:lnTo>
                    <a:pt x="185" y="554"/>
                  </a:lnTo>
                  <a:lnTo>
                    <a:pt x="189" y="567"/>
                  </a:lnTo>
                  <a:lnTo>
                    <a:pt x="193" y="578"/>
                  </a:lnTo>
                  <a:lnTo>
                    <a:pt x="198" y="589"/>
                  </a:lnTo>
                  <a:lnTo>
                    <a:pt x="202" y="593"/>
                  </a:lnTo>
                  <a:lnTo>
                    <a:pt x="206" y="596"/>
                  </a:lnTo>
                  <a:lnTo>
                    <a:pt x="212" y="596"/>
                  </a:lnTo>
                  <a:lnTo>
                    <a:pt x="219" y="596"/>
                  </a:lnTo>
                  <a:lnTo>
                    <a:pt x="219" y="596"/>
                  </a:lnTo>
                  <a:lnTo>
                    <a:pt x="249" y="593"/>
                  </a:lnTo>
                  <a:lnTo>
                    <a:pt x="269" y="593"/>
                  </a:lnTo>
                  <a:lnTo>
                    <a:pt x="279" y="595"/>
                  </a:lnTo>
                  <a:lnTo>
                    <a:pt x="286" y="598"/>
                  </a:lnTo>
                  <a:lnTo>
                    <a:pt x="292" y="604"/>
                  </a:lnTo>
                  <a:lnTo>
                    <a:pt x="301" y="610"/>
                  </a:lnTo>
                  <a:lnTo>
                    <a:pt x="316" y="615"/>
                  </a:lnTo>
                  <a:lnTo>
                    <a:pt x="342" y="623"/>
                  </a:lnTo>
                  <a:lnTo>
                    <a:pt x="342" y="623"/>
                  </a:lnTo>
                  <a:lnTo>
                    <a:pt x="350" y="623"/>
                  </a:lnTo>
                  <a:lnTo>
                    <a:pt x="355" y="623"/>
                  </a:lnTo>
                  <a:lnTo>
                    <a:pt x="367" y="621"/>
                  </a:lnTo>
                  <a:lnTo>
                    <a:pt x="372" y="621"/>
                  </a:lnTo>
                  <a:lnTo>
                    <a:pt x="376" y="623"/>
                  </a:lnTo>
                  <a:lnTo>
                    <a:pt x="382" y="626"/>
                  </a:lnTo>
                  <a:lnTo>
                    <a:pt x="389" y="634"/>
                  </a:lnTo>
                  <a:lnTo>
                    <a:pt x="389" y="634"/>
                  </a:lnTo>
                  <a:lnTo>
                    <a:pt x="398" y="641"/>
                  </a:lnTo>
                  <a:lnTo>
                    <a:pt x="404" y="645"/>
                  </a:lnTo>
                  <a:lnTo>
                    <a:pt x="410" y="645"/>
                  </a:lnTo>
                  <a:lnTo>
                    <a:pt x="415" y="643"/>
                  </a:lnTo>
                  <a:lnTo>
                    <a:pt x="423" y="636"/>
                  </a:lnTo>
                  <a:lnTo>
                    <a:pt x="428" y="634"/>
                  </a:lnTo>
                  <a:lnTo>
                    <a:pt x="436" y="634"/>
                  </a:lnTo>
                  <a:lnTo>
                    <a:pt x="436" y="634"/>
                  </a:lnTo>
                  <a:lnTo>
                    <a:pt x="443" y="636"/>
                  </a:lnTo>
                  <a:lnTo>
                    <a:pt x="445" y="634"/>
                  </a:lnTo>
                  <a:lnTo>
                    <a:pt x="447" y="632"/>
                  </a:lnTo>
                  <a:lnTo>
                    <a:pt x="449" y="626"/>
                  </a:lnTo>
                  <a:lnTo>
                    <a:pt x="449" y="619"/>
                  </a:lnTo>
                  <a:lnTo>
                    <a:pt x="449" y="610"/>
                  </a:lnTo>
                  <a:lnTo>
                    <a:pt x="449" y="602"/>
                  </a:lnTo>
                  <a:lnTo>
                    <a:pt x="453" y="595"/>
                  </a:lnTo>
                  <a:lnTo>
                    <a:pt x="454" y="591"/>
                  </a:lnTo>
                  <a:lnTo>
                    <a:pt x="458" y="589"/>
                  </a:lnTo>
                  <a:lnTo>
                    <a:pt x="458" y="589"/>
                  </a:lnTo>
                  <a:lnTo>
                    <a:pt x="466" y="583"/>
                  </a:lnTo>
                  <a:lnTo>
                    <a:pt x="471" y="576"/>
                  </a:lnTo>
                  <a:lnTo>
                    <a:pt x="477" y="567"/>
                  </a:lnTo>
                  <a:lnTo>
                    <a:pt x="479" y="557"/>
                  </a:lnTo>
                  <a:lnTo>
                    <a:pt x="482" y="537"/>
                  </a:lnTo>
                  <a:lnTo>
                    <a:pt x="484" y="518"/>
                  </a:lnTo>
                  <a:lnTo>
                    <a:pt x="486" y="511"/>
                  </a:lnTo>
                  <a:lnTo>
                    <a:pt x="490" y="505"/>
                  </a:lnTo>
                  <a:lnTo>
                    <a:pt x="494" y="501"/>
                  </a:lnTo>
                  <a:lnTo>
                    <a:pt x="501" y="501"/>
                  </a:lnTo>
                  <a:lnTo>
                    <a:pt x="509" y="503"/>
                  </a:lnTo>
                  <a:lnTo>
                    <a:pt x="520" y="509"/>
                  </a:lnTo>
                  <a:lnTo>
                    <a:pt x="535" y="520"/>
                  </a:lnTo>
                  <a:lnTo>
                    <a:pt x="552" y="535"/>
                  </a:lnTo>
                  <a:lnTo>
                    <a:pt x="602" y="574"/>
                  </a:lnTo>
                  <a:lnTo>
                    <a:pt x="602" y="574"/>
                  </a:lnTo>
                  <a:lnTo>
                    <a:pt x="608" y="574"/>
                  </a:lnTo>
                  <a:lnTo>
                    <a:pt x="613" y="570"/>
                  </a:lnTo>
                  <a:lnTo>
                    <a:pt x="621" y="561"/>
                  </a:lnTo>
                  <a:lnTo>
                    <a:pt x="625" y="555"/>
                  </a:lnTo>
                  <a:lnTo>
                    <a:pt x="628" y="552"/>
                  </a:lnTo>
                  <a:lnTo>
                    <a:pt x="634" y="550"/>
                  </a:lnTo>
                  <a:lnTo>
                    <a:pt x="641" y="552"/>
                  </a:lnTo>
                  <a:lnTo>
                    <a:pt x="641" y="552"/>
                  </a:lnTo>
                  <a:lnTo>
                    <a:pt x="651" y="555"/>
                  </a:lnTo>
                  <a:lnTo>
                    <a:pt x="660" y="555"/>
                  </a:lnTo>
                  <a:lnTo>
                    <a:pt x="668" y="554"/>
                  </a:lnTo>
                  <a:lnTo>
                    <a:pt x="673" y="550"/>
                  </a:lnTo>
                  <a:lnTo>
                    <a:pt x="679" y="546"/>
                  </a:lnTo>
                  <a:lnTo>
                    <a:pt x="686" y="546"/>
                  </a:lnTo>
                  <a:lnTo>
                    <a:pt x="692" y="550"/>
                  </a:lnTo>
                  <a:lnTo>
                    <a:pt x="699" y="557"/>
                  </a:lnTo>
                  <a:lnTo>
                    <a:pt x="699" y="557"/>
                  </a:lnTo>
                  <a:lnTo>
                    <a:pt x="722" y="585"/>
                  </a:lnTo>
                  <a:lnTo>
                    <a:pt x="742" y="608"/>
                  </a:lnTo>
                  <a:lnTo>
                    <a:pt x="765" y="630"/>
                  </a:lnTo>
                  <a:lnTo>
                    <a:pt x="785" y="651"/>
                  </a:lnTo>
                  <a:lnTo>
                    <a:pt x="804" y="666"/>
                  </a:lnTo>
                  <a:lnTo>
                    <a:pt x="811" y="669"/>
                  </a:lnTo>
                  <a:lnTo>
                    <a:pt x="817" y="669"/>
                  </a:lnTo>
                  <a:lnTo>
                    <a:pt x="821" y="667"/>
                  </a:lnTo>
                  <a:lnTo>
                    <a:pt x="821" y="662"/>
                  </a:lnTo>
                  <a:lnTo>
                    <a:pt x="821" y="662"/>
                  </a:lnTo>
                  <a:lnTo>
                    <a:pt x="823" y="649"/>
                  </a:lnTo>
                  <a:lnTo>
                    <a:pt x="823" y="645"/>
                  </a:lnTo>
                  <a:lnTo>
                    <a:pt x="824" y="645"/>
                  </a:lnTo>
                  <a:lnTo>
                    <a:pt x="826" y="645"/>
                  </a:lnTo>
                  <a:lnTo>
                    <a:pt x="828" y="645"/>
                  </a:lnTo>
                  <a:lnTo>
                    <a:pt x="834" y="651"/>
                  </a:lnTo>
                  <a:lnTo>
                    <a:pt x="845" y="667"/>
                  </a:lnTo>
                  <a:lnTo>
                    <a:pt x="853" y="675"/>
                  </a:lnTo>
                  <a:lnTo>
                    <a:pt x="858" y="681"/>
                  </a:lnTo>
                  <a:lnTo>
                    <a:pt x="858" y="681"/>
                  </a:lnTo>
                  <a:lnTo>
                    <a:pt x="864" y="682"/>
                  </a:lnTo>
                  <a:lnTo>
                    <a:pt x="866" y="684"/>
                  </a:lnTo>
                  <a:lnTo>
                    <a:pt x="869" y="690"/>
                  </a:lnTo>
                  <a:lnTo>
                    <a:pt x="873" y="696"/>
                  </a:lnTo>
                  <a:lnTo>
                    <a:pt x="877" y="701"/>
                  </a:lnTo>
                  <a:lnTo>
                    <a:pt x="886" y="709"/>
                  </a:lnTo>
                  <a:lnTo>
                    <a:pt x="897" y="718"/>
                  </a:lnTo>
                  <a:lnTo>
                    <a:pt x="897" y="718"/>
                  </a:lnTo>
                  <a:lnTo>
                    <a:pt x="912" y="727"/>
                  </a:lnTo>
                  <a:lnTo>
                    <a:pt x="920" y="733"/>
                  </a:lnTo>
                  <a:lnTo>
                    <a:pt x="931" y="740"/>
                  </a:lnTo>
                  <a:lnTo>
                    <a:pt x="953" y="763"/>
                  </a:lnTo>
                  <a:lnTo>
                    <a:pt x="953" y="763"/>
                  </a:lnTo>
                  <a:lnTo>
                    <a:pt x="972" y="778"/>
                  </a:lnTo>
                  <a:lnTo>
                    <a:pt x="983" y="787"/>
                  </a:lnTo>
                  <a:lnTo>
                    <a:pt x="989" y="787"/>
                  </a:lnTo>
                  <a:lnTo>
                    <a:pt x="993" y="789"/>
                  </a:lnTo>
                  <a:lnTo>
                    <a:pt x="995" y="787"/>
                  </a:lnTo>
                  <a:lnTo>
                    <a:pt x="996" y="785"/>
                  </a:lnTo>
                  <a:lnTo>
                    <a:pt x="1000" y="781"/>
                  </a:lnTo>
                  <a:lnTo>
                    <a:pt x="1004" y="776"/>
                  </a:lnTo>
                  <a:lnTo>
                    <a:pt x="1010" y="770"/>
                  </a:lnTo>
                  <a:lnTo>
                    <a:pt x="1013" y="768"/>
                  </a:lnTo>
                  <a:lnTo>
                    <a:pt x="1017" y="768"/>
                  </a:lnTo>
                  <a:lnTo>
                    <a:pt x="1017" y="768"/>
                  </a:lnTo>
                  <a:lnTo>
                    <a:pt x="1023" y="768"/>
                  </a:lnTo>
                  <a:lnTo>
                    <a:pt x="1024" y="774"/>
                  </a:lnTo>
                  <a:lnTo>
                    <a:pt x="1026" y="780"/>
                  </a:lnTo>
                  <a:lnTo>
                    <a:pt x="1026" y="787"/>
                  </a:lnTo>
                  <a:lnTo>
                    <a:pt x="1026" y="802"/>
                  </a:lnTo>
                  <a:lnTo>
                    <a:pt x="1028" y="808"/>
                  </a:lnTo>
                  <a:lnTo>
                    <a:pt x="1030" y="811"/>
                  </a:lnTo>
                  <a:lnTo>
                    <a:pt x="1030" y="811"/>
                  </a:lnTo>
                  <a:lnTo>
                    <a:pt x="1058" y="830"/>
                  </a:lnTo>
                  <a:lnTo>
                    <a:pt x="1067" y="838"/>
                  </a:lnTo>
                  <a:lnTo>
                    <a:pt x="1073" y="845"/>
                  </a:lnTo>
                  <a:lnTo>
                    <a:pt x="1077" y="851"/>
                  </a:lnTo>
                  <a:lnTo>
                    <a:pt x="1079" y="856"/>
                  </a:lnTo>
                  <a:lnTo>
                    <a:pt x="1079" y="860"/>
                  </a:lnTo>
                  <a:lnTo>
                    <a:pt x="1077" y="864"/>
                  </a:lnTo>
                  <a:lnTo>
                    <a:pt x="1075" y="871"/>
                  </a:lnTo>
                  <a:lnTo>
                    <a:pt x="1073" y="879"/>
                  </a:lnTo>
                  <a:lnTo>
                    <a:pt x="1073" y="884"/>
                  </a:lnTo>
                  <a:lnTo>
                    <a:pt x="1075" y="890"/>
                  </a:lnTo>
                  <a:lnTo>
                    <a:pt x="1081" y="897"/>
                  </a:lnTo>
                  <a:lnTo>
                    <a:pt x="1086" y="905"/>
                  </a:lnTo>
                  <a:lnTo>
                    <a:pt x="1086" y="905"/>
                  </a:lnTo>
                  <a:lnTo>
                    <a:pt x="1090" y="909"/>
                  </a:lnTo>
                  <a:lnTo>
                    <a:pt x="1088" y="910"/>
                  </a:lnTo>
                  <a:lnTo>
                    <a:pt x="1084" y="916"/>
                  </a:lnTo>
                  <a:lnTo>
                    <a:pt x="1082" y="918"/>
                  </a:lnTo>
                  <a:lnTo>
                    <a:pt x="1082" y="923"/>
                  </a:lnTo>
                  <a:lnTo>
                    <a:pt x="1084" y="927"/>
                  </a:lnTo>
                  <a:lnTo>
                    <a:pt x="1090" y="935"/>
                  </a:lnTo>
                  <a:lnTo>
                    <a:pt x="1090" y="935"/>
                  </a:lnTo>
                  <a:lnTo>
                    <a:pt x="1094" y="940"/>
                  </a:lnTo>
                  <a:lnTo>
                    <a:pt x="1097" y="946"/>
                  </a:lnTo>
                  <a:lnTo>
                    <a:pt x="1099" y="955"/>
                  </a:lnTo>
                  <a:lnTo>
                    <a:pt x="1103" y="966"/>
                  </a:lnTo>
                  <a:lnTo>
                    <a:pt x="1107" y="970"/>
                  </a:lnTo>
                  <a:lnTo>
                    <a:pt x="1112" y="976"/>
                  </a:lnTo>
                  <a:lnTo>
                    <a:pt x="1112" y="976"/>
                  </a:lnTo>
                  <a:lnTo>
                    <a:pt x="1118" y="981"/>
                  </a:lnTo>
                  <a:lnTo>
                    <a:pt x="1122" y="987"/>
                  </a:lnTo>
                  <a:lnTo>
                    <a:pt x="1120" y="993"/>
                  </a:lnTo>
                  <a:lnTo>
                    <a:pt x="1118" y="998"/>
                  </a:lnTo>
                  <a:lnTo>
                    <a:pt x="1110" y="1011"/>
                  </a:lnTo>
                  <a:lnTo>
                    <a:pt x="1109" y="1019"/>
                  </a:lnTo>
                  <a:lnTo>
                    <a:pt x="1107" y="1026"/>
                  </a:lnTo>
                  <a:lnTo>
                    <a:pt x="1107" y="1026"/>
                  </a:lnTo>
                  <a:lnTo>
                    <a:pt x="1107" y="1034"/>
                  </a:lnTo>
                  <a:lnTo>
                    <a:pt x="1105" y="1037"/>
                  </a:lnTo>
                  <a:lnTo>
                    <a:pt x="1101" y="1041"/>
                  </a:lnTo>
                  <a:lnTo>
                    <a:pt x="1095" y="1043"/>
                  </a:lnTo>
                  <a:lnTo>
                    <a:pt x="1092" y="1047"/>
                  </a:lnTo>
                  <a:lnTo>
                    <a:pt x="1088" y="1051"/>
                  </a:lnTo>
                  <a:lnTo>
                    <a:pt x="1084" y="1056"/>
                  </a:lnTo>
                  <a:lnTo>
                    <a:pt x="1084" y="1067"/>
                  </a:lnTo>
                  <a:lnTo>
                    <a:pt x="1084" y="1067"/>
                  </a:lnTo>
                  <a:lnTo>
                    <a:pt x="1082" y="1073"/>
                  </a:lnTo>
                  <a:lnTo>
                    <a:pt x="1081" y="1077"/>
                  </a:lnTo>
                  <a:lnTo>
                    <a:pt x="1077" y="1080"/>
                  </a:lnTo>
                  <a:lnTo>
                    <a:pt x="1073" y="1084"/>
                  </a:lnTo>
                  <a:lnTo>
                    <a:pt x="1064" y="1088"/>
                  </a:lnTo>
                  <a:lnTo>
                    <a:pt x="1052" y="1092"/>
                  </a:lnTo>
                  <a:lnTo>
                    <a:pt x="1043" y="1095"/>
                  </a:lnTo>
                  <a:lnTo>
                    <a:pt x="1038" y="1099"/>
                  </a:lnTo>
                  <a:lnTo>
                    <a:pt x="1036" y="1103"/>
                  </a:lnTo>
                  <a:lnTo>
                    <a:pt x="1032" y="1107"/>
                  </a:lnTo>
                  <a:lnTo>
                    <a:pt x="1032" y="1112"/>
                  </a:lnTo>
                  <a:lnTo>
                    <a:pt x="1032" y="1120"/>
                  </a:lnTo>
                  <a:lnTo>
                    <a:pt x="1034" y="1129"/>
                  </a:lnTo>
                  <a:lnTo>
                    <a:pt x="1034" y="1129"/>
                  </a:lnTo>
                  <a:lnTo>
                    <a:pt x="1034" y="1133"/>
                  </a:lnTo>
                  <a:lnTo>
                    <a:pt x="1032" y="1136"/>
                  </a:lnTo>
                  <a:lnTo>
                    <a:pt x="1028" y="1140"/>
                  </a:lnTo>
                  <a:lnTo>
                    <a:pt x="1023" y="1146"/>
                  </a:lnTo>
                  <a:lnTo>
                    <a:pt x="993" y="1161"/>
                  </a:lnTo>
                  <a:lnTo>
                    <a:pt x="980" y="1170"/>
                  </a:lnTo>
                  <a:lnTo>
                    <a:pt x="974" y="1176"/>
                  </a:lnTo>
                  <a:lnTo>
                    <a:pt x="970" y="1179"/>
                  </a:lnTo>
                  <a:lnTo>
                    <a:pt x="968" y="1187"/>
                  </a:lnTo>
                  <a:lnTo>
                    <a:pt x="968" y="1193"/>
                  </a:lnTo>
                  <a:lnTo>
                    <a:pt x="970" y="1200"/>
                  </a:lnTo>
                  <a:lnTo>
                    <a:pt x="976" y="1207"/>
                  </a:lnTo>
                  <a:lnTo>
                    <a:pt x="976" y="1207"/>
                  </a:lnTo>
                  <a:lnTo>
                    <a:pt x="989" y="1222"/>
                  </a:lnTo>
                  <a:lnTo>
                    <a:pt x="1000" y="1232"/>
                  </a:lnTo>
                  <a:lnTo>
                    <a:pt x="1006" y="1237"/>
                  </a:lnTo>
                  <a:lnTo>
                    <a:pt x="1008" y="1241"/>
                  </a:lnTo>
                  <a:lnTo>
                    <a:pt x="1006" y="1243"/>
                  </a:lnTo>
                  <a:lnTo>
                    <a:pt x="1000" y="1249"/>
                  </a:lnTo>
                  <a:lnTo>
                    <a:pt x="991" y="1256"/>
                  </a:lnTo>
                  <a:lnTo>
                    <a:pt x="978" y="1271"/>
                  </a:lnTo>
                  <a:lnTo>
                    <a:pt x="978" y="1271"/>
                  </a:lnTo>
                  <a:lnTo>
                    <a:pt x="970" y="1277"/>
                  </a:lnTo>
                  <a:lnTo>
                    <a:pt x="963" y="1278"/>
                  </a:lnTo>
                  <a:lnTo>
                    <a:pt x="953" y="1277"/>
                  </a:lnTo>
                  <a:lnTo>
                    <a:pt x="944" y="1275"/>
                  </a:lnTo>
                  <a:lnTo>
                    <a:pt x="925" y="1265"/>
                  </a:lnTo>
                  <a:lnTo>
                    <a:pt x="903" y="1252"/>
                  </a:lnTo>
                  <a:lnTo>
                    <a:pt x="882" y="1239"/>
                  </a:lnTo>
                  <a:lnTo>
                    <a:pt x="873" y="1236"/>
                  </a:lnTo>
                  <a:lnTo>
                    <a:pt x="864" y="1234"/>
                  </a:lnTo>
                  <a:lnTo>
                    <a:pt x="856" y="1234"/>
                  </a:lnTo>
                  <a:lnTo>
                    <a:pt x="849" y="1237"/>
                  </a:lnTo>
                  <a:lnTo>
                    <a:pt x="843" y="1243"/>
                  </a:lnTo>
                  <a:lnTo>
                    <a:pt x="838" y="1254"/>
                  </a:lnTo>
                  <a:lnTo>
                    <a:pt x="838" y="1254"/>
                  </a:lnTo>
                  <a:lnTo>
                    <a:pt x="839" y="1258"/>
                  </a:lnTo>
                  <a:lnTo>
                    <a:pt x="845" y="1269"/>
                  </a:lnTo>
                  <a:lnTo>
                    <a:pt x="862" y="1295"/>
                  </a:lnTo>
                  <a:lnTo>
                    <a:pt x="882" y="1323"/>
                  </a:lnTo>
                  <a:lnTo>
                    <a:pt x="890" y="1331"/>
                  </a:lnTo>
                  <a:lnTo>
                    <a:pt x="894" y="1335"/>
                  </a:lnTo>
                  <a:lnTo>
                    <a:pt x="894" y="1335"/>
                  </a:lnTo>
                  <a:lnTo>
                    <a:pt x="910" y="1338"/>
                  </a:lnTo>
                  <a:lnTo>
                    <a:pt x="922" y="1340"/>
                  </a:lnTo>
                  <a:lnTo>
                    <a:pt x="925" y="1342"/>
                  </a:lnTo>
                  <a:lnTo>
                    <a:pt x="929" y="1346"/>
                  </a:lnTo>
                  <a:lnTo>
                    <a:pt x="938" y="1361"/>
                  </a:lnTo>
                  <a:lnTo>
                    <a:pt x="938" y="1361"/>
                  </a:lnTo>
                  <a:lnTo>
                    <a:pt x="940" y="1357"/>
                  </a:lnTo>
                  <a:lnTo>
                    <a:pt x="942" y="1355"/>
                  </a:lnTo>
                  <a:lnTo>
                    <a:pt x="946" y="1353"/>
                  </a:lnTo>
                  <a:lnTo>
                    <a:pt x="952" y="1353"/>
                  </a:lnTo>
                  <a:lnTo>
                    <a:pt x="952" y="1353"/>
                  </a:lnTo>
                  <a:lnTo>
                    <a:pt x="955" y="1355"/>
                  </a:lnTo>
                  <a:lnTo>
                    <a:pt x="957" y="1359"/>
                  </a:lnTo>
                  <a:lnTo>
                    <a:pt x="957" y="1368"/>
                  </a:lnTo>
                  <a:lnTo>
                    <a:pt x="952" y="1394"/>
                  </a:lnTo>
                  <a:lnTo>
                    <a:pt x="950" y="1406"/>
                  </a:lnTo>
                  <a:lnTo>
                    <a:pt x="950" y="1411"/>
                  </a:lnTo>
                  <a:lnTo>
                    <a:pt x="952" y="1413"/>
                  </a:lnTo>
                  <a:lnTo>
                    <a:pt x="953" y="1415"/>
                  </a:lnTo>
                  <a:lnTo>
                    <a:pt x="957" y="1413"/>
                  </a:lnTo>
                  <a:lnTo>
                    <a:pt x="965" y="1411"/>
                  </a:lnTo>
                  <a:lnTo>
                    <a:pt x="972" y="1406"/>
                  </a:lnTo>
                  <a:lnTo>
                    <a:pt x="972" y="1406"/>
                  </a:lnTo>
                  <a:lnTo>
                    <a:pt x="1000" y="1387"/>
                  </a:lnTo>
                  <a:lnTo>
                    <a:pt x="1017" y="1376"/>
                  </a:lnTo>
                  <a:lnTo>
                    <a:pt x="1023" y="1370"/>
                  </a:lnTo>
                  <a:lnTo>
                    <a:pt x="1024" y="1366"/>
                  </a:lnTo>
                  <a:lnTo>
                    <a:pt x="1023" y="1361"/>
                  </a:lnTo>
                  <a:lnTo>
                    <a:pt x="1019" y="1355"/>
                  </a:lnTo>
                  <a:lnTo>
                    <a:pt x="1019" y="1355"/>
                  </a:lnTo>
                  <a:lnTo>
                    <a:pt x="1006" y="1338"/>
                  </a:lnTo>
                  <a:lnTo>
                    <a:pt x="1000" y="1325"/>
                  </a:lnTo>
                  <a:lnTo>
                    <a:pt x="1000" y="1316"/>
                  </a:lnTo>
                  <a:lnTo>
                    <a:pt x="1004" y="1310"/>
                  </a:lnTo>
                  <a:lnTo>
                    <a:pt x="1008" y="1305"/>
                  </a:lnTo>
                  <a:lnTo>
                    <a:pt x="1015" y="1301"/>
                  </a:lnTo>
                  <a:lnTo>
                    <a:pt x="1024" y="1297"/>
                  </a:lnTo>
                  <a:lnTo>
                    <a:pt x="1024" y="1297"/>
                  </a:lnTo>
                  <a:lnTo>
                    <a:pt x="1026" y="1293"/>
                  </a:lnTo>
                  <a:lnTo>
                    <a:pt x="1026" y="1292"/>
                  </a:lnTo>
                  <a:lnTo>
                    <a:pt x="1028" y="1288"/>
                  </a:lnTo>
                  <a:lnTo>
                    <a:pt x="1036" y="1286"/>
                  </a:lnTo>
                  <a:lnTo>
                    <a:pt x="1036" y="1286"/>
                  </a:lnTo>
                  <a:lnTo>
                    <a:pt x="1047" y="1282"/>
                  </a:lnTo>
                  <a:lnTo>
                    <a:pt x="1054" y="1277"/>
                  </a:lnTo>
                  <a:lnTo>
                    <a:pt x="1060" y="1271"/>
                  </a:lnTo>
                  <a:lnTo>
                    <a:pt x="1064" y="1265"/>
                  </a:lnTo>
                  <a:lnTo>
                    <a:pt x="1067" y="1262"/>
                  </a:lnTo>
                  <a:lnTo>
                    <a:pt x="1073" y="1260"/>
                  </a:lnTo>
                  <a:lnTo>
                    <a:pt x="1081" y="1262"/>
                  </a:lnTo>
                  <a:lnTo>
                    <a:pt x="1092" y="1269"/>
                  </a:lnTo>
                  <a:lnTo>
                    <a:pt x="1092" y="1269"/>
                  </a:lnTo>
                  <a:lnTo>
                    <a:pt x="1101" y="1278"/>
                  </a:lnTo>
                  <a:lnTo>
                    <a:pt x="1109" y="1284"/>
                  </a:lnTo>
                  <a:lnTo>
                    <a:pt x="1110" y="1288"/>
                  </a:lnTo>
                  <a:lnTo>
                    <a:pt x="1112" y="1292"/>
                  </a:lnTo>
                  <a:lnTo>
                    <a:pt x="1112" y="1297"/>
                  </a:lnTo>
                  <a:lnTo>
                    <a:pt x="1112" y="1303"/>
                  </a:lnTo>
                  <a:lnTo>
                    <a:pt x="1112" y="1303"/>
                  </a:lnTo>
                  <a:lnTo>
                    <a:pt x="1109" y="1310"/>
                  </a:lnTo>
                  <a:lnTo>
                    <a:pt x="1109" y="1318"/>
                  </a:lnTo>
                  <a:lnTo>
                    <a:pt x="1109" y="1323"/>
                  </a:lnTo>
                  <a:lnTo>
                    <a:pt x="1110" y="1327"/>
                  </a:lnTo>
                  <a:lnTo>
                    <a:pt x="1116" y="1335"/>
                  </a:lnTo>
                  <a:lnTo>
                    <a:pt x="1124" y="1340"/>
                  </a:lnTo>
                  <a:lnTo>
                    <a:pt x="1131" y="1342"/>
                  </a:lnTo>
                  <a:lnTo>
                    <a:pt x="1140" y="1344"/>
                  </a:lnTo>
                  <a:lnTo>
                    <a:pt x="1150" y="1348"/>
                  </a:lnTo>
                  <a:lnTo>
                    <a:pt x="1150" y="1348"/>
                  </a:lnTo>
                  <a:lnTo>
                    <a:pt x="1157" y="1351"/>
                  </a:lnTo>
                  <a:lnTo>
                    <a:pt x="1165" y="1353"/>
                  </a:lnTo>
                  <a:lnTo>
                    <a:pt x="1176" y="1355"/>
                  </a:lnTo>
                  <a:lnTo>
                    <a:pt x="1191" y="1353"/>
                  </a:lnTo>
                  <a:lnTo>
                    <a:pt x="1204" y="1355"/>
                  </a:lnTo>
                  <a:lnTo>
                    <a:pt x="1204" y="1355"/>
                  </a:lnTo>
                  <a:lnTo>
                    <a:pt x="1209" y="1357"/>
                  </a:lnTo>
                  <a:lnTo>
                    <a:pt x="1213" y="1361"/>
                  </a:lnTo>
                  <a:lnTo>
                    <a:pt x="1223" y="1370"/>
                  </a:lnTo>
                  <a:lnTo>
                    <a:pt x="1230" y="1385"/>
                  </a:lnTo>
                  <a:lnTo>
                    <a:pt x="1238" y="1402"/>
                  </a:lnTo>
                  <a:lnTo>
                    <a:pt x="1241" y="1421"/>
                  </a:lnTo>
                  <a:lnTo>
                    <a:pt x="1245" y="1437"/>
                  </a:lnTo>
                  <a:lnTo>
                    <a:pt x="1243" y="1454"/>
                  </a:lnTo>
                  <a:lnTo>
                    <a:pt x="1241" y="1460"/>
                  </a:lnTo>
                  <a:lnTo>
                    <a:pt x="1239" y="1465"/>
                  </a:lnTo>
                  <a:lnTo>
                    <a:pt x="1239" y="1465"/>
                  </a:lnTo>
                  <a:lnTo>
                    <a:pt x="1238" y="1471"/>
                  </a:lnTo>
                  <a:lnTo>
                    <a:pt x="1238" y="1475"/>
                  </a:lnTo>
                  <a:lnTo>
                    <a:pt x="1241" y="1480"/>
                  </a:lnTo>
                  <a:lnTo>
                    <a:pt x="1245" y="1486"/>
                  </a:lnTo>
                  <a:lnTo>
                    <a:pt x="1260" y="1495"/>
                  </a:lnTo>
                  <a:lnTo>
                    <a:pt x="1277" y="1503"/>
                  </a:lnTo>
                  <a:lnTo>
                    <a:pt x="1295" y="1510"/>
                  </a:lnTo>
                  <a:lnTo>
                    <a:pt x="1316" y="1514"/>
                  </a:lnTo>
                  <a:lnTo>
                    <a:pt x="1333" y="1514"/>
                  </a:lnTo>
                  <a:lnTo>
                    <a:pt x="1338" y="1512"/>
                  </a:lnTo>
                  <a:lnTo>
                    <a:pt x="1344" y="1510"/>
                  </a:lnTo>
                  <a:lnTo>
                    <a:pt x="1344" y="1510"/>
                  </a:lnTo>
                  <a:lnTo>
                    <a:pt x="1372" y="1493"/>
                  </a:lnTo>
                  <a:lnTo>
                    <a:pt x="1372" y="1493"/>
                  </a:lnTo>
                  <a:lnTo>
                    <a:pt x="1372" y="1484"/>
                  </a:lnTo>
                  <a:lnTo>
                    <a:pt x="1374" y="1478"/>
                  </a:lnTo>
                  <a:lnTo>
                    <a:pt x="1378" y="1477"/>
                  </a:lnTo>
                  <a:lnTo>
                    <a:pt x="1383" y="1475"/>
                  </a:lnTo>
                  <a:lnTo>
                    <a:pt x="1394" y="1477"/>
                  </a:lnTo>
                  <a:lnTo>
                    <a:pt x="1400" y="1477"/>
                  </a:lnTo>
                  <a:lnTo>
                    <a:pt x="1408" y="1477"/>
                  </a:lnTo>
                  <a:lnTo>
                    <a:pt x="1408" y="1477"/>
                  </a:lnTo>
                  <a:lnTo>
                    <a:pt x="1417" y="1473"/>
                  </a:lnTo>
                  <a:lnTo>
                    <a:pt x="1423" y="1471"/>
                  </a:lnTo>
                  <a:lnTo>
                    <a:pt x="1428" y="1467"/>
                  </a:lnTo>
                  <a:lnTo>
                    <a:pt x="1430" y="1463"/>
                  </a:lnTo>
                  <a:lnTo>
                    <a:pt x="1432" y="1458"/>
                  </a:lnTo>
                  <a:lnTo>
                    <a:pt x="1432" y="1454"/>
                  </a:lnTo>
                  <a:lnTo>
                    <a:pt x="1428" y="1443"/>
                  </a:lnTo>
                  <a:lnTo>
                    <a:pt x="1421" y="1434"/>
                  </a:lnTo>
                  <a:lnTo>
                    <a:pt x="1413" y="1424"/>
                  </a:lnTo>
                  <a:lnTo>
                    <a:pt x="1408" y="1417"/>
                  </a:lnTo>
                  <a:lnTo>
                    <a:pt x="1404" y="1411"/>
                  </a:lnTo>
                  <a:lnTo>
                    <a:pt x="1404" y="1411"/>
                  </a:lnTo>
                  <a:lnTo>
                    <a:pt x="1417" y="1396"/>
                  </a:lnTo>
                  <a:lnTo>
                    <a:pt x="1428" y="1387"/>
                  </a:lnTo>
                  <a:lnTo>
                    <a:pt x="1437" y="1381"/>
                  </a:lnTo>
                  <a:lnTo>
                    <a:pt x="1443" y="1379"/>
                  </a:lnTo>
                  <a:lnTo>
                    <a:pt x="1449" y="1379"/>
                  </a:lnTo>
                  <a:lnTo>
                    <a:pt x="1452" y="1381"/>
                  </a:lnTo>
                  <a:lnTo>
                    <a:pt x="1458" y="1383"/>
                  </a:lnTo>
                  <a:lnTo>
                    <a:pt x="1464" y="1385"/>
                  </a:lnTo>
                  <a:lnTo>
                    <a:pt x="1464" y="1385"/>
                  </a:lnTo>
                  <a:lnTo>
                    <a:pt x="1508" y="1387"/>
                  </a:lnTo>
                  <a:lnTo>
                    <a:pt x="1516" y="1387"/>
                  </a:lnTo>
                  <a:lnTo>
                    <a:pt x="1516" y="1385"/>
                  </a:lnTo>
                  <a:lnTo>
                    <a:pt x="1514" y="1385"/>
                  </a:lnTo>
                  <a:lnTo>
                    <a:pt x="1510" y="1379"/>
                  </a:lnTo>
                  <a:lnTo>
                    <a:pt x="1503" y="1372"/>
                  </a:lnTo>
                  <a:lnTo>
                    <a:pt x="1497" y="1359"/>
                  </a:lnTo>
                  <a:lnTo>
                    <a:pt x="1495" y="1351"/>
                  </a:lnTo>
                  <a:lnTo>
                    <a:pt x="1494" y="1340"/>
                  </a:lnTo>
                  <a:lnTo>
                    <a:pt x="1494" y="1340"/>
                  </a:lnTo>
                  <a:lnTo>
                    <a:pt x="1495" y="1318"/>
                  </a:lnTo>
                  <a:lnTo>
                    <a:pt x="1499" y="1301"/>
                  </a:lnTo>
                  <a:lnTo>
                    <a:pt x="1507" y="1292"/>
                  </a:lnTo>
                  <a:lnTo>
                    <a:pt x="1512" y="1286"/>
                  </a:lnTo>
                  <a:lnTo>
                    <a:pt x="1520" y="1284"/>
                  </a:lnTo>
                  <a:lnTo>
                    <a:pt x="1525" y="1282"/>
                  </a:lnTo>
                  <a:lnTo>
                    <a:pt x="1529" y="1280"/>
                  </a:lnTo>
                  <a:lnTo>
                    <a:pt x="1529" y="1277"/>
                  </a:lnTo>
                  <a:lnTo>
                    <a:pt x="1529" y="1277"/>
                  </a:lnTo>
                  <a:lnTo>
                    <a:pt x="1527" y="1271"/>
                  </a:lnTo>
                  <a:lnTo>
                    <a:pt x="1523" y="1267"/>
                  </a:lnTo>
                  <a:lnTo>
                    <a:pt x="1520" y="1264"/>
                  </a:lnTo>
                  <a:lnTo>
                    <a:pt x="1516" y="1260"/>
                  </a:lnTo>
                  <a:lnTo>
                    <a:pt x="1505" y="1258"/>
                  </a:lnTo>
                  <a:lnTo>
                    <a:pt x="1495" y="1254"/>
                  </a:lnTo>
                  <a:lnTo>
                    <a:pt x="1488" y="1252"/>
                  </a:lnTo>
                  <a:lnTo>
                    <a:pt x="1484" y="1249"/>
                  </a:lnTo>
                  <a:lnTo>
                    <a:pt x="1484" y="1247"/>
                  </a:lnTo>
                  <a:lnTo>
                    <a:pt x="1484" y="1243"/>
                  </a:lnTo>
                  <a:lnTo>
                    <a:pt x="1486" y="1237"/>
                  </a:lnTo>
                  <a:lnTo>
                    <a:pt x="1497" y="1222"/>
                  </a:lnTo>
                  <a:lnTo>
                    <a:pt x="1497" y="1222"/>
                  </a:lnTo>
                  <a:lnTo>
                    <a:pt x="1507" y="1213"/>
                  </a:lnTo>
                  <a:lnTo>
                    <a:pt x="1508" y="1204"/>
                  </a:lnTo>
                  <a:lnTo>
                    <a:pt x="1507" y="1198"/>
                  </a:lnTo>
                  <a:lnTo>
                    <a:pt x="1503" y="1193"/>
                  </a:lnTo>
                  <a:lnTo>
                    <a:pt x="1501" y="1189"/>
                  </a:lnTo>
                  <a:lnTo>
                    <a:pt x="1499" y="1185"/>
                  </a:lnTo>
                  <a:lnTo>
                    <a:pt x="1501" y="1179"/>
                  </a:lnTo>
                  <a:lnTo>
                    <a:pt x="1508" y="1174"/>
                  </a:lnTo>
                  <a:lnTo>
                    <a:pt x="1508" y="1174"/>
                  </a:lnTo>
                  <a:lnTo>
                    <a:pt x="1516" y="1170"/>
                  </a:lnTo>
                  <a:lnTo>
                    <a:pt x="1523" y="1168"/>
                  </a:lnTo>
                  <a:lnTo>
                    <a:pt x="1529" y="1168"/>
                  </a:lnTo>
                  <a:lnTo>
                    <a:pt x="1537" y="1168"/>
                  </a:lnTo>
                  <a:lnTo>
                    <a:pt x="1548" y="1172"/>
                  </a:lnTo>
                  <a:lnTo>
                    <a:pt x="1557" y="1178"/>
                  </a:lnTo>
                  <a:lnTo>
                    <a:pt x="1578" y="1193"/>
                  </a:lnTo>
                  <a:lnTo>
                    <a:pt x="1589" y="1198"/>
                  </a:lnTo>
                  <a:lnTo>
                    <a:pt x="1600" y="1200"/>
                  </a:lnTo>
                  <a:lnTo>
                    <a:pt x="1600" y="1200"/>
                  </a:lnTo>
                  <a:lnTo>
                    <a:pt x="1628" y="1198"/>
                  </a:lnTo>
                  <a:lnTo>
                    <a:pt x="1637" y="1196"/>
                  </a:lnTo>
                  <a:lnTo>
                    <a:pt x="1645" y="1194"/>
                  </a:lnTo>
                  <a:lnTo>
                    <a:pt x="1651" y="1191"/>
                  </a:lnTo>
                  <a:lnTo>
                    <a:pt x="1654" y="1189"/>
                  </a:lnTo>
                  <a:lnTo>
                    <a:pt x="1656" y="1185"/>
                  </a:lnTo>
                  <a:lnTo>
                    <a:pt x="1656" y="1181"/>
                  </a:lnTo>
                  <a:lnTo>
                    <a:pt x="1654" y="1172"/>
                  </a:lnTo>
                  <a:lnTo>
                    <a:pt x="1649" y="1166"/>
                  </a:lnTo>
                  <a:lnTo>
                    <a:pt x="1643" y="1159"/>
                  </a:lnTo>
                  <a:lnTo>
                    <a:pt x="1643" y="1159"/>
                  </a:lnTo>
                  <a:lnTo>
                    <a:pt x="1643" y="1153"/>
                  </a:lnTo>
                  <a:lnTo>
                    <a:pt x="1647" y="1151"/>
                  </a:lnTo>
                  <a:lnTo>
                    <a:pt x="1652" y="1150"/>
                  </a:lnTo>
                  <a:lnTo>
                    <a:pt x="1660" y="1148"/>
                  </a:lnTo>
                  <a:lnTo>
                    <a:pt x="1680" y="1148"/>
                  </a:lnTo>
                  <a:lnTo>
                    <a:pt x="1703" y="1150"/>
                  </a:lnTo>
                  <a:lnTo>
                    <a:pt x="1725" y="1148"/>
                  </a:lnTo>
                  <a:lnTo>
                    <a:pt x="1735" y="1148"/>
                  </a:lnTo>
                  <a:lnTo>
                    <a:pt x="1742" y="1144"/>
                  </a:lnTo>
                  <a:lnTo>
                    <a:pt x="1750" y="1142"/>
                  </a:lnTo>
                  <a:lnTo>
                    <a:pt x="1753" y="1136"/>
                  </a:lnTo>
                  <a:lnTo>
                    <a:pt x="1753" y="1129"/>
                  </a:lnTo>
                  <a:lnTo>
                    <a:pt x="1751" y="1120"/>
                  </a:lnTo>
                  <a:lnTo>
                    <a:pt x="1751" y="1120"/>
                  </a:lnTo>
                  <a:lnTo>
                    <a:pt x="1744" y="1097"/>
                  </a:lnTo>
                  <a:lnTo>
                    <a:pt x="1738" y="1080"/>
                  </a:lnTo>
                  <a:lnTo>
                    <a:pt x="1738" y="1073"/>
                  </a:lnTo>
                  <a:lnTo>
                    <a:pt x="1742" y="1067"/>
                  </a:lnTo>
                  <a:lnTo>
                    <a:pt x="1753" y="1062"/>
                  </a:lnTo>
                  <a:lnTo>
                    <a:pt x="1759" y="1056"/>
                  </a:lnTo>
                  <a:lnTo>
                    <a:pt x="1763" y="1045"/>
                  </a:lnTo>
                  <a:lnTo>
                    <a:pt x="1763" y="1045"/>
                  </a:lnTo>
                  <a:lnTo>
                    <a:pt x="1768" y="1024"/>
                  </a:lnTo>
                  <a:lnTo>
                    <a:pt x="1770" y="1015"/>
                  </a:lnTo>
                  <a:lnTo>
                    <a:pt x="1768" y="1008"/>
                  </a:lnTo>
                  <a:lnTo>
                    <a:pt x="1766" y="1002"/>
                  </a:lnTo>
                  <a:lnTo>
                    <a:pt x="1765" y="998"/>
                  </a:lnTo>
                  <a:lnTo>
                    <a:pt x="1755" y="991"/>
                  </a:lnTo>
                  <a:lnTo>
                    <a:pt x="1742" y="983"/>
                  </a:lnTo>
                  <a:lnTo>
                    <a:pt x="1725" y="978"/>
                  </a:lnTo>
                  <a:lnTo>
                    <a:pt x="1708" y="968"/>
                  </a:lnTo>
                  <a:lnTo>
                    <a:pt x="1688" y="955"/>
                  </a:lnTo>
                  <a:lnTo>
                    <a:pt x="1688" y="955"/>
                  </a:lnTo>
                  <a:lnTo>
                    <a:pt x="1665" y="940"/>
                  </a:lnTo>
                  <a:lnTo>
                    <a:pt x="1647" y="931"/>
                  </a:lnTo>
                  <a:lnTo>
                    <a:pt x="1632" y="925"/>
                  </a:lnTo>
                  <a:lnTo>
                    <a:pt x="1621" y="923"/>
                  </a:lnTo>
                  <a:lnTo>
                    <a:pt x="1613" y="920"/>
                  </a:lnTo>
                  <a:lnTo>
                    <a:pt x="1611" y="916"/>
                  </a:lnTo>
                  <a:lnTo>
                    <a:pt x="1609" y="912"/>
                  </a:lnTo>
                  <a:lnTo>
                    <a:pt x="1606" y="903"/>
                  </a:lnTo>
                  <a:lnTo>
                    <a:pt x="1608" y="886"/>
                  </a:lnTo>
                  <a:lnTo>
                    <a:pt x="1608" y="886"/>
                  </a:lnTo>
                  <a:lnTo>
                    <a:pt x="1576" y="888"/>
                  </a:lnTo>
                  <a:lnTo>
                    <a:pt x="1555" y="888"/>
                  </a:lnTo>
                  <a:lnTo>
                    <a:pt x="1542" y="886"/>
                  </a:lnTo>
                  <a:lnTo>
                    <a:pt x="1537" y="888"/>
                  </a:lnTo>
                  <a:lnTo>
                    <a:pt x="1535" y="888"/>
                  </a:lnTo>
                  <a:lnTo>
                    <a:pt x="1535" y="890"/>
                  </a:lnTo>
                  <a:lnTo>
                    <a:pt x="1535" y="897"/>
                  </a:lnTo>
                  <a:lnTo>
                    <a:pt x="1535" y="909"/>
                  </a:lnTo>
                  <a:lnTo>
                    <a:pt x="1535" y="927"/>
                  </a:lnTo>
                  <a:lnTo>
                    <a:pt x="1535" y="927"/>
                  </a:lnTo>
                  <a:lnTo>
                    <a:pt x="1533" y="933"/>
                  </a:lnTo>
                  <a:lnTo>
                    <a:pt x="1527" y="938"/>
                  </a:lnTo>
                  <a:lnTo>
                    <a:pt x="1516" y="948"/>
                  </a:lnTo>
                  <a:lnTo>
                    <a:pt x="1512" y="952"/>
                  </a:lnTo>
                  <a:lnTo>
                    <a:pt x="1508" y="957"/>
                  </a:lnTo>
                  <a:lnTo>
                    <a:pt x="1507" y="961"/>
                  </a:lnTo>
                  <a:lnTo>
                    <a:pt x="1510" y="966"/>
                  </a:lnTo>
                  <a:lnTo>
                    <a:pt x="1510" y="966"/>
                  </a:lnTo>
                  <a:lnTo>
                    <a:pt x="1518" y="974"/>
                  </a:lnTo>
                  <a:lnTo>
                    <a:pt x="1518" y="981"/>
                  </a:lnTo>
                  <a:lnTo>
                    <a:pt x="1518" y="987"/>
                  </a:lnTo>
                  <a:lnTo>
                    <a:pt x="1514" y="991"/>
                  </a:lnTo>
                  <a:lnTo>
                    <a:pt x="1512" y="994"/>
                  </a:lnTo>
                  <a:lnTo>
                    <a:pt x="1512" y="998"/>
                  </a:lnTo>
                  <a:lnTo>
                    <a:pt x="1516" y="1000"/>
                  </a:lnTo>
                  <a:lnTo>
                    <a:pt x="1523" y="1000"/>
                  </a:lnTo>
                  <a:lnTo>
                    <a:pt x="1523" y="1000"/>
                  </a:lnTo>
                  <a:lnTo>
                    <a:pt x="1535" y="1002"/>
                  </a:lnTo>
                  <a:lnTo>
                    <a:pt x="1544" y="1006"/>
                  </a:lnTo>
                  <a:lnTo>
                    <a:pt x="1551" y="1009"/>
                  </a:lnTo>
                  <a:lnTo>
                    <a:pt x="1557" y="1015"/>
                  </a:lnTo>
                  <a:lnTo>
                    <a:pt x="1561" y="1023"/>
                  </a:lnTo>
                  <a:lnTo>
                    <a:pt x="1563" y="1028"/>
                  </a:lnTo>
                  <a:lnTo>
                    <a:pt x="1565" y="1036"/>
                  </a:lnTo>
                  <a:lnTo>
                    <a:pt x="1565" y="1043"/>
                  </a:lnTo>
                  <a:lnTo>
                    <a:pt x="1563" y="1058"/>
                  </a:lnTo>
                  <a:lnTo>
                    <a:pt x="1557" y="1069"/>
                  </a:lnTo>
                  <a:lnTo>
                    <a:pt x="1553" y="1073"/>
                  </a:lnTo>
                  <a:lnTo>
                    <a:pt x="1550" y="1077"/>
                  </a:lnTo>
                  <a:lnTo>
                    <a:pt x="1546" y="1079"/>
                  </a:lnTo>
                  <a:lnTo>
                    <a:pt x="1540" y="1080"/>
                  </a:lnTo>
                  <a:lnTo>
                    <a:pt x="1540" y="1080"/>
                  </a:lnTo>
                  <a:lnTo>
                    <a:pt x="1531" y="1079"/>
                  </a:lnTo>
                  <a:lnTo>
                    <a:pt x="1525" y="1077"/>
                  </a:lnTo>
                  <a:lnTo>
                    <a:pt x="1520" y="1075"/>
                  </a:lnTo>
                  <a:lnTo>
                    <a:pt x="1516" y="1075"/>
                  </a:lnTo>
                  <a:lnTo>
                    <a:pt x="1512" y="1077"/>
                  </a:lnTo>
                  <a:lnTo>
                    <a:pt x="1510" y="1080"/>
                  </a:lnTo>
                  <a:lnTo>
                    <a:pt x="1505" y="1107"/>
                  </a:lnTo>
                  <a:lnTo>
                    <a:pt x="1505" y="1107"/>
                  </a:lnTo>
                  <a:lnTo>
                    <a:pt x="1507" y="1112"/>
                  </a:lnTo>
                  <a:lnTo>
                    <a:pt x="1510" y="1123"/>
                  </a:lnTo>
                  <a:lnTo>
                    <a:pt x="1510" y="1131"/>
                  </a:lnTo>
                  <a:lnTo>
                    <a:pt x="1508" y="1135"/>
                  </a:lnTo>
                  <a:lnTo>
                    <a:pt x="1503" y="1138"/>
                  </a:lnTo>
                  <a:lnTo>
                    <a:pt x="1495" y="1140"/>
                  </a:lnTo>
                  <a:lnTo>
                    <a:pt x="1495" y="114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Freeform 53">
              <a:extLst>
                <a:ext uri="{FF2B5EF4-FFF2-40B4-BE49-F238E27FC236}">
                  <a16:creationId xmlns:a16="http://schemas.microsoft.com/office/drawing/2014/main" id="{ADB04611-DF6F-4EB5-952B-5E5118FF120E}"/>
                </a:ext>
              </a:extLst>
            </p:cNvPr>
            <p:cNvSpPr>
              <a:spLocks/>
            </p:cNvSpPr>
            <p:nvPr/>
          </p:nvSpPr>
          <p:spPr bwMode="auto">
            <a:xfrm>
              <a:off x="5098831" y="4368481"/>
              <a:ext cx="877448" cy="544999"/>
            </a:xfrm>
            <a:custGeom>
              <a:avLst/>
              <a:gdLst/>
              <a:ahLst/>
              <a:cxnLst>
                <a:cxn ang="0">
                  <a:pos x="140" y="144"/>
                </a:cxn>
                <a:cxn ang="0">
                  <a:pos x="142" y="189"/>
                </a:cxn>
                <a:cxn ang="0">
                  <a:pos x="160" y="225"/>
                </a:cxn>
                <a:cxn ang="0">
                  <a:pos x="172" y="243"/>
                </a:cxn>
                <a:cxn ang="0">
                  <a:pos x="216" y="294"/>
                </a:cxn>
                <a:cxn ang="0">
                  <a:pos x="200" y="344"/>
                </a:cxn>
                <a:cxn ang="0">
                  <a:pos x="149" y="361"/>
                </a:cxn>
                <a:cxn ang="0">
                  <a:pos x="82" y="383"/>
                </a:cxn>
                <a:cxn ang="0">
                  <a:pos x="52" y="393"/>
                </a:cxn>
                <a:cxn ang="0">
                  <a:pos x="2" y="404"/>
                </a:cxn>
                <a:cxn ang="0">
                  <a:pos x="16" y="451"/>
                </a:cxn>
                <a:cxn ang="0">
                  <a:pos x="3" y="499"/>
                </a:cxn>
                <a:cxn ang="0">
                  <a:pos x="26" y="492"/>
                </a:cxn>
                <a:cxn ang="0">
                  <a:pos x="52" y="537"/>
                </a:cxn>
                <a:cxn ang="0">
                  <a:pos x="84" y="570"/>
                </a:cxn>
                <a:cxn ang="0">
                  <a:pos x="106" y="578"/>
                </a:cxn>
                <a:cxn ang="0">
                  <a:pos x="183" y="503"/>
                </a:cxn>
                <a:cxn ang="0">
                  <a:pos x="235" y="514"/>
                </a:cxn>
                <a:cxn ang="0">
                  <a:pos x="273" y="494"/>
                </a:cxn>
                <a:cxn ang="0">
                  <a:pos x="287" y="458"/>
                </a:cxn>
                <a:cxn ang="0">
                  <a:pos x="323" y="458"/>
                </a:cxn>
                <a:cxn ang="0">
                  <a:pos x="411" y="482"/>
                </a:cxn>
                <a:cxn ang="0">
                  <a:pos x="489" y="525"/>
                </a:cxn>
                <a:cxn ang="0">
                  <a:pos x="540" y="510"/>
                </a:cxn>
                <a:cxn ang="0">
                  <a:pos x="573" y="495"/>
                </a:cxn>
                <a:cxn ang="0">
                  <a:pos x="577" y="542"/>
                </a:cxn>
                <a:cxn ang="0">
                  <a:pos x="639" y="482"/>
                </a:cxn>
                <a:cxn ang="0">
                  <a:pos x="659" y="514"/>
                </a:cxn>
                <a:cxn ang="0">
                  <a:pos x="659" y="578"/>
                </a:cxn>
                <a:cxn ang="0">
                  <a:pos x="702" y="578"/>
                </a:cxn>
                <a:cxn ang="0">
                  <a:pos x="775" y="540"/>
                </a:cxn>
                <a:cxn ang="0">
                  <a:pos x="828" y="509"/>
                </a:cxn>
                <a:cxn ang="0">
                  <a:pos x="844" y="501"/>
                </a:cxn>
                <a:cxn ang="0">
                  <a:pos x="882" y="477"/>
                </a:cxn>
                <a:cxn ang="0">
                  <a:pos x="914" y="471"/>
                </a:cxn>
                <a:cxn ang="0">
                  <a:pos x="966" y="466"/>
                </a:cxn>
                <a:cxn ang="0">
                  <a:pos x="936" y="400"/>
                </a:cxn>
                <a:cxn ang="0">
                  <a:pos x="912" y="344"/>
                </a:cxn>
                <a:cxn ang="0">
                  <a:pos x="938" y="297"/>
                </a:cxn>
                <a:cxn ang="0">
                  <a:pos x="876" y="271"/>
                </a:cxn>
                <a:cxn ang="0">
                  <a:pos x="839" y="243"/>
                </a:cxn>
                <a:cxn ang="0">
                  <a:pos x="809" y="238"/>
                </a:cxn>
                <a:cxn ang="0">
                  <a:pos x="760" y="223"/>
                </a:cxn>
                <a:cxn ang="0">
                  <a:pos x="689" y="202"/>
                </a:cxn>
                <a:cxn ang="0">
                  <a:pos x="650" y="165"/>
                </a:cxn>
                <a:cxn ang="0">
                  <a:pos x="643" y="112"/>
                </a:cxn>
                <a:cxn ang="0">
                  <a:pos x="590" y="124"/>
                </a:cxn>
                <a:cxn ang="0">
                  <a:pos x="536" y="122"/>
                </a:cxn>
                <a:cxn ang="0">
                  <a:pos x="482" y="127"/>
                </a:cxn>
                <a:cxn ang="0">
                  <a:pos x="398" y="94"/>
                </a:cxn>
                <a:cxn ang="0">
                  <a:pos x="345" y="41"/>
                </a:cxn>
                <a:cxn ang="0">
                  <a:pos x="314" y="0"/>
                </a:cxn>
                <a:cxn ang="0">
                  <a:pos x="256" y="2"/>
                </a:cxn>
                <a:cxn ang="0">
                  <a:pos x="198" y="6"/>
                </a:cxn>
                <a:cxn ang="0">
                  <a:pos x="132" y="13"/>
                </a:cxn>
                <a:cxn ang="0">
                  <a:pos x="173" y="41"/>
                </a:cxn>
                <a:cxn ang="0">
                  <a:pos x="218" y="83"/>
                </a:cxn>
                <a:cxn ang="0">
                  <a:pos x="164" y="96"/>
                </a:cxn>
              </a:cxnLst>
              <a:rect l="0" t="0" r="r" b="b"/>
              <a:pathLst>
                <a:path w="966" h="600">
                  <a:moveTo>
                    <a:pt x="147" y="101"/>
                  </a:moveTo>
                  <a:lnTo>
                    <a:pt x="147" y="101"/>
                  </a:lnTo>
                  <a:lnTo>
                    <a:pt x="142" y="109"/>
                  </a:lnTo>
                  <a:lnTo>
                    <a:pt x="138" y="114"/>
                  </a:lnTo>
                  <a:lnTo>
                    <a:pt x="136" y="122"/>
                  </a:lnTo>
                  <a:lnTo>
                    <a:pt x="134" y="127"/>
                  </a:lnTo>
                  <a:lnTo>
                    <a:pt x="136" y="137"/>
                  </a:lnTo>
                  <a:lnTo>
                    <a:pt x="140" y="144"/>
                  </a:lnTo>
                  <a:lnTo>
                    <a:pt x="147" y="159"/>
                  </a:lnTo>
                  <a:lnTo>
                    <a:pt x="149" y="165"/>
                  </a:lnTo>
                  <a:lnTo>
                    <a:pt x="149" y="168"/>
                  </a:lnTo>
                  <a:lnTo>
                    <a:pt x="149" y="172"/>
                  </a:lnTo>
                  <a:lnTo>
                    <a:pt x="149" y="172"/>
                  </a:lnTo>
                  <a:lnTo>
                    <a:pt x="144" y="180"/>
                  </a:lnTo>
                  <a:lnTo>
                    <a:pt x="142" y="185"/>
                  </a:lnTo>
                  <a:lnTo>
                    <a:pt x="142" y="189"/>
                  </a:lnTo>
                  <a:lnTo>
                    <a:pt x="144" y="193"/>
                  </a:lnTo>
                  <a:lnTo>
                    <a:pt x="145" y="195"/>
                  </a:lnTo>
                  <a:lnTo>
                    <a:pt x="149" y="200"/>
                  </a:lnTo>
                  <a:lnTo>
                    <a:pt x="151" y="208"/>
                  </a:lnTo>
                  <a:lnTo>
                    <a:pt x="149" y="221"/>
                  </a:lnTo>
                  <a:lnTo>
                    <a:pt x="149" y="221"/>
                  </a:lnTo>
                  <a:lnTo>
                    <a:pt x="157" y="223"/>
                  </a:lnTo>
                  <a:lnTo>
                    <a:pt x="160" y="225"/>
                  </a:lnTo>
                  <a:lnTo>
                    <a:pt x="162" y="226"/>
                  </a:lnTo>
                  <a:lnTo>
                    <a:pt x="162" y="226"/>
                  </a:lnTo>
                  <a:lnTo>
                    <a:pt x="164" y="234"/>
                  </a:lnTo>
                  <a:lnTo>
                    <a:pt x="166" y="238"/>
                  </a:lnTo>
                  <a:lnTo>
                    <a:pt x="164" y="241"/>
                  </a:lnTo>
                  <a:lnTo>
                    <a:pt x="164" y="243"/>
                  </a:lnTo>
                  <a:lnTo>
                    <a:pt x="164" y="243"/>
                  </a:lnTo>
                  <a:lnTo>
                    <a:pt x="172" y="243"/>
                  </a:lnTo>
                  <a:lnTo>
                    <a:pt x="172" y="243"/>
                  </a:lnTo>
                  <a:lnTo>
                    <a:pt x="177" y="243"/>
                  </a:lnTo>
                  <a:lnTo>
                    <a:pt x="185" y="249"/>
                  </a:lnTo>
                  <a:lnTo>
                    <a:pt x="192" y="254"/>
                  </a:lnTo>
                  <a:lnTo>
                    <a:pt x="202" y="262"/>
                  </a:lnTo>
                  <a:lnTo>
                    <a:pt x="209" y="271"/>
                  </a:lnTo>
                  <a:lnTo>
                    <a:pt x="215" y="282"/>
                  </a:lnTo>
                  <a:lnTo>
                    <a:pt x="216" y="294"/>
                  </a:lnTo>
                  <a:lnTo>
                    <a:pt x="216" y="299"/>
                  </a:lnTo>
                  <a:lnTo>
                    <a:pt x="215" y="307"/>
                  </a:lnTo>
                  <a:lnTo>
                    <a:pt x="215" y="307"/>
                  </a:lnTo>
                  <a:lnTo>
                    <a:pt x="213" y="314"/>
                  </a:lnTo>
                  <a:lnTo>
                    <a:pt x="211" y="322"/>
                  </a:lnTo>
                  <a:lnTo>
                    <a:pt x="207" y="335"/>
                  </a:lnTo>
                  <a:lnTo>
                    <a:pt x="205" y="340"/>
                  </a:lnTo>
                  <a:lnTo>
                    <a:pt x="200" y="344"/>
                  </a:lnTo>
                  <a:lnTo>
                    <a:pt x="194" y="344"/>
                  </a:lnTo>
                  <a:lnTo>
                    <a:pt x="185" y="342"/>
                  </a:lnTo>
                  <a:lnTo>
                    <a:pt x="185" y="342"/>
                  </a:lnTo>
                  <a:lnTo>
                    <a:pt x="177" y="342"/>
                  </a:lnTo>
                  <a:lnTo>
                    <a:pt x="172" y="344"/>
                  </a:lnTo>
                  <a:lnTo>
                    <a:pt x="166" y="346"/>
                  </a:lnTo>
                  <a:lnTo>
                    <a:pt x="160" y="350"/>
                  </a:lnTo>
                  <a:lnTo>
                    <a:pt x="149" y="361"/>
                  </a:lnTo>
                  <a:lnTo>
                    <a:pt x="138" y="372"/>
                  </a:lnTo>
                  <a:lnTo>
                    <a:pt x="127" y="382"/>
                  </a:lnTo>
                  <a:lnTo>
                    <a:pt x="119" y="387"/>
                  </a:lnTo>
                  <a:lnTo>
                    <a:pt x="114" y="389"/>
                  </a:lnTo>
                  <a:lnTo>
                    <a:pt x="106" y="391"/>
                  </a:lnTo>
                  <a:lnTo>
                    <a:pt x="99" y="391"/>
                  </a:lnTo>
                  <a:lnTo>
                    <a:pt x="89" y="389"/>
                  </a:lnTo>
                  <a:lnTo>
                    <a:pt x="82" y="383"/>
                  </a:lnTo>
                  <a:lnTo>
                    <a:pt x="82" y="383"/>
                  </a:lnTo>
                  <a:lnTo>
                    <a:pt x="76" y="380"/>
                  </a:lnTo>
                  <a:lnTo>
                    <a:pt x="71" y="378"/>
                  </a:lnTo>
                  <a:lnTo>
                    <a:pt x="67" y="380"/>
                  </a:lnTo>
                  <a:lnTo>
                    <a:pt x="61" y="383"/>
                  </a:lnTo>
                  <a:lnTo>
                    <a:pt x="61" y="383"/>
                  </a:lnTo>
                  <a:lnTo>
                    <a:pt x="56" y="391"/>
                  </a:lnTo>
                  <a:lnTo>
                    <a:pt x="52" y="393"/>
                  </a:lnTo>
                  <a:lnTo>
                    <a:pt x="46" y="395"/>
                  </a:lnTo>
                  <a:lnTo>
                    <a:pt x="43" y="395"/>
                  </a:lnTo>
                  <a:lnTo>
                    <a:pt x="30" y="393"/>
                  </a:lnTo>
                  <a:lnTo>
                    <a:pt x="22" y="393"/>
                  </a:lnTo>
                  <a:lnTo>
                    <a:pt x="13" y="396"/>
                  </a:lnTo>
                  <a:lnTo>
                    <a:pt x="13" y="396"/>
                  </a:lnTo>
                  <a:lnTo>
                    <a:pt x="5" y="400"/>
                  </a:lnTo>
                  <a:lnTo>
                    <a:pt x="2" y="404"/>
                  </a:lnTo>
                  <a:lnTo>
                    <a:pt x="0" y="408"/>
                  </a:lnTo>
                  <a:lnTo>
                    <a:pt x="0" y="410"/>
                  </a:lnTo>
                  <a:lnTo>
                    <a:pt x="5" y="417"/>
                  </a:lnTo>
                  <a:lnTo>
                    <a:pt x="13" y="424"/>
                  </a:lnTo>
                  <a:lnTo>
                    <a:pt x="13" y="424"/>
                  </a:lnTo>
                  <a:lnTo>
                    <a:pt x="15" y="430"/>
                  </a:lnTo>
                  <a:lnTo>
                    <a:pt x="16" y="436"/>
                  </a:lnTo>
                  <a:lnTo>
                    <a:pt x="16" y="451"/>
                  </a:lnTo>
                  <a:lnTo>
                    <a:pt x="15" y="466"/>
                  </a:lnTo>
                  <a:lnTo>
                    <a:pt x="13" y="473"/>
                  </a:lnTo>
                  <a:lnTo>
                    <a:pt x="9" y="477"/>
                  </a:lnTo>
                  <a:lnTo>
                    <a:pt x="9" y="477"/>
                  </a:lnTo>
                  <a:lnTo>
                    <a:pt x="3" y="484"/>
                  </a:lnTo>
                  <a:lnTo>
                    <a:pt x="2" y="490"/>
                  </a:lnTo>
                  <a:lnTo>
                    <a:pt x="2" y="495"/>
                  </a:lnTo>
                  <a:lnTo>
                    <a:pt x="3" y="499"/>
                  </a:lnTo>
                  <a:lnTo>
                    <a:pt x="5" y="501"/>
                  </a:lnTo>
                  <a:lnTo>
                    <a:pt x="9" y="501"/>
                  </a:lnTo>
                  <a:lnTo>
                    <a:pt x="13" y="499"/>
                  </a:lnTo>
                  <a:lnTo>
                    <a:pt x="18" y="494"/>
                  </a:lnTo>
                  <a:lnTo>
                    <a:pt x="18" y="494"/>
                  </a:lnTo>
                  <a:lnTo>
                    <a:pt x="22" y="490"/>
                  </a:lnTo>
                  <a:lnTo>
                    <a:pt x="24" y="490"/>
                  </a:lnTo>
                  <a:lnTo>
                    <a:pt x="26" y="492"/>
                  </a:lnTo>
                  <a:lnTo>
                    <a:pt x="28" y="494"/>
                  </a:lnTo>
                  <a:lnTo>
                    <a:pt x="31" y="503"/>
                  </a:lnTo>
                  <a:lnTo>
                    <a:pt x="33" y="507"/>
                  </a:lnTo>
                  <a:lnTo>
                    <a:pt x="35" y="510"/>
                  </a:lnTo>
                  <a:lnTo>
                    <a:pt x="35" y="510"/>
                  </a:lnTo>
                  <a:lnTo>
                    <a:pt x="41" y="516"/>
                  </a:lnTo>
                  <a:lnTo>
                    <a:pt x="46" y="522"/>
                  </a:lnTo>
                  <a:lnTo>
                    <a:pt x="52" y="537"/>
                  </a:lnTo>
                  <a:lnTo>
                    <a:pt x="56" y="544"/>
                  </a:lnTo>
                  <a:lnTo>
                    <a:pt x="61" y="550"/>
                  </a:lnTo>
                  <a:lnTo>
                    <a:pt x="67" y="553"/>
                  </a:lnTo>
                  <a:lnTo>
                    <a:pt x="73" y="555"/>
                  </a:lnTo>
                  <a:lnTo>
                    <a:pt x="73" y="555"/>
                  </a:lnTo>
                  <a:lnTo>
                    <a:pt x="76" y="557"/>
                  </a:lnTo>
                  <a:lnTo>
                    <a:pt x="80" y="561"/>
                  </a:lnTo>
                  <a:lnTo>
                    <a:pt x="84" y="570"/>
                  </a:lnTo>
                  <a:lnTo>
                    <a:pt x="86" y="581"/>
                  </a:lnTo>
                  <a:lnTo>
                    <a:pt x="89" y="585"/>
                  </a:lnTo>
                  <a:lnTo>
                    <a:pt x="93" y="589"/>
                  </a:lnTo>
                  <a:lnTo>
                    <a:pt x="93" y="589"/>
                  </a:lnTo>
                  <a:lnTo>
                    <a:pt x="97" y="593"/>
                  </a:lnTo>
                  <a:lnTo>
                    <a:pt x="97" y="593"/>
                  </a:lnTo>
                  <a:lnTo>
                    <a:pt x="101" y="587"/>
                  </a:lnTo>
                  <a:lnTo>
                    <a:pt x="106" y="578"/>
                  </a:lnTo>
                  <a:lnTo>
                    <a:pt x="117" y="555"/>
                  </a:lnTo>
                  <a:lnTo>
                    <a:pt x="129" y="533"/>
                  </a:lnTo>
                  <a:lnTo>
                    <a:pt x="134" y="527"/>
                  </a:lnTo>
                  <a:lnTo>
                    <a:pt x="138" y="524"/>
                  </a:lnTo>
                  <a:lnTo>
                    <a:pt x="138" y="524"/>
                  </a:lnTo>
                  <a:lnTo>
                    <a:pt x="147" y="520"/>
                  </a:lnTo>
                  <a:lnTo>
                    <a:pt x="159" y="516"/>
                  </a:lnTo>
                  <a:lnTo>
                    <a:pt x="183" y="503"/>
                  </a:lnTo>
                  <a:lnTo>
                    <a:pt x="194" y="499"/>
                  </a:lnTo>
                  <a:lnTo>
                    <a:pt x="207" y="497"/>
                  </a:lnTo>
                  <a:lnTo>
                    <a:pt x="213" y="497"/>
                  </a:lnTo>
                  <a:lnTo>
                    <a:pt x="218" y="501"/>
                  </a:lnTo>
                  <a:lnTo>
                    <a:pt x="224" y="503"/>
                  </a:lnTo>
                  <a:lnTo>
                    <a:pt x="228" y="509"/>
                  </a:lnTo>
                  <a:lnTo>
                    <a:pt x="228" y="509"/>
                  </a:lnTo>
                  <a:lnTo>
                    <a:pt x="235" y="514"/>
                  </a:lnTo>
                  <a:lnTo>
                    <a:pt x="244" y="516"/>
                  </a:lnTo>
                  <a:lnTo>
                    <a:pt x="252" y="516"/>
                  </a:lnTo>
                  <a:lnTo>
                    <a:pt x="259" y="512"/>
                  </a:lnTo>
                  <a:lnTo>
                    <a:pt x="271" y="505"/>
                  </a:lnTo>
                  <a:lnTo>
                    <a:pt x="274" y="501"/>
                  </a:lnTo>
                  <a:lnTo>
                    <a:pt x="274" y="501"/>
                  </a:lnTo>
                  <a:lnTo>
                    <a:pt x="274" y="497"/>
                  </a:lnTo>
                  <a:lnTo>
                    <a:pt x="273" y="494"/>
                  </a:lnTo>
                  <a:lnTo>
                    <a:pt x="267" y="488"/>
                  </a:lnTo>
                  <a:lnTo>
                    <a:pt x="265" y="482"/>
                  </a:lnTo>
                  <a:lnTo>
                    <a:pt x="263" y="479"/>
                  </a:lnTo>
                  <a:lnTo>
                    <a:pt x="261" y="471"/>
                  </a:lnTo>
                  <a:lnTo>
                    <a:pt x="261" y="462"/>
                  </a:lnTo>
                  <a:lnTo>
                    <a:pt x="261" y="462"/>
                  </a:lnTo>
                  <a:lnTo>
                    <a:pt x="274" y="460"/>
                  </a:lnTo>
                  <a:lnTo>
                    <a:pt x="287" y="458"/>
                  </a:lnTo>
                  <a:lnTo>
                    <a:pt x="287" y="458"/>
                  </a:lnTo>
                  <a:lnTo>
                    <a:pt x="291" y="454"/>
                  </a:lnTo>
                  <a:lnTo>
                    <a:pt x="295" y="453"/>
                  </a:lnTo>
                  <a:lnTo>
                    <a:pt x="299" y="453"/>
                  </a:lnTo>
                  <a:lnTo>
                    <a:pt x="304" y="453"/>
                  </a:lnTo>
                  <a:lnTo>
                    <a:pt x="316" y="456"/>
                  </a:lnTo>
                  <a:lnTo>
                    <a:pt x="323" y="458"/>
                  </a:lnTo>
                  <a:lnTo>
                    <a:pt x="323" y="458"/>
                  </a:lnTo>
                  <a:lnTo>
                    <a:pt x="334" y="460"/>
                  </a:lnTo>
                  <a:lnTo>
                    <a:pt x="344" y="464"/>
                  </a:lnTo>
                  <a:lnTo>
                    <a:pt x="362" y="471"/>
                  </a:lnTo>
                  <a:lnTo>
                    <a:pt x="381" y="477"/>
                  </a:lnTo>
                  <a:lnTo>
                    <a:pt x="390" y="481"/>
                  </a:lnTo>
                  <a:lnTo>
                    <a:pt x="401" y="481"/>
                  </a:lnTo>
                  <a:lnTo>
                    <a:pt x="401" y="481"/>
                  </a:lnTo>
                  <a:lnTo>
                    <a:pt x="411" y="482"/>
                  </a:lnTo>
                  <a:lnTo>
                    <a:pt x="422" y="484"/>
                  </a:lnTo>
                  <a:lnTo>
                    <a:pt x="444" y="495"/>
                  </a:lnTo>
                  <a:lnTo>
                    <a:pt x="465" y="507"/>
                  </a:lnTo>
                  <a:lnTo>
                    <a:pt x="476" y="516"/>
                  </a:lnTo>
                  <a:lnTo>
                    <a:pt x="476" y="516"/>
                  </a:lnTo>
                  <a:lnTo>
                    <a:pt x="480" y="522"/>
                  </a:lnTo>
                  <a:lnTo>
                    <a:pt x="486" y="525"/>
                  </a:lnTo>
                  <a:lnTo>
                    <a:pt x="489" y="525"/>
                  </a:lnTo>
                  <a:lnTo>
                    <a:pt x="493" y="524"/>
                  </a:lnTo>
                  <a:lnTo>
                    <a:pt x="502" y="520"/>
                  </a:lnTo>
                  <a:lnTo>
                    <a:pt x="508" y="518"/>
                  </a:lnTo>
                  <a:lnTo>
                    <a:pt x="514" y="518"/>
                  </a:lnTo>
                  <a:lnTo>
                    <a:pt x="514" y="518"/>
                  </a:lnTo>
                  <a:lnTo>
                    <a:pt x="527" y="516"/>
                  </a:lnTo>
                  <a:lnTo>
                    <a:pt x="534" y="514"/>
                  </a:lnTo>
                  <a:lnTo>
                    <a:pt x="540" y="510"/>
                  </a:lnTo>
                  <a:lnTo>
                    <a:pt x="544" y="507"/>
                  </a:lnTo>
                  <a:lnTo>
                    <a:pt x="547" y="497"/>
                  </a:lnTo>
                  <a:lnTo>
                    <a:pt x="549" y="495"/>
                  </a:lnTo>
                  <a:lnTo>
                    <a:pt x="555" y="492"/>
                  </a:lnTo>
                  <a:lnTo>
                    <a:pt x="555" y="492"/>
                  </a:lnTo>
                  <a:lnTo>
                    <a:pt x="564" y="492"/>
                  </a:lnTo>
                  <a:lnTo>
                    <a:pt x="570" y="492"/>
                  </a:lnTo>
                  <a:lnTo>
                    <a:pt x="573" y="495"/>
                  </a:lnTo>
                  <a:lnTo>
                    <a:pt x="573" y="499"/>
                  </a:lnTo>
                  <a:lnTo>
                    <a:pt x="572" y="510"/>
                  </a:lnTo>
                  <a:lnTo>
                    <a:pt x="570" y="518"/>
                  </a:lnTo>
                  <a:lnTo>
                    <a:pt x="570" y="518"/>
                  </a:lnTo>
                  <a:lnTo>
                    <a:pt x="570" y="529"/>
                  </a:lnTo>
                  <a:lnTo>
                    <a:pt x="572" y="537"/>
                  </a:lnTo>
                  <a:lnTo>
                    <a:pt x="573" y="540"/>
                  </a:lnTo>
                  <a:lnTo>
                    <a:pt x="577" y="542"/>
                  </a:lnTo>
                  <a:lnTo>
                    <a:pt x="583" y="542"/>
                  </a:lnTo>
                  <a:lnTo>
                    <a:pt x="586" y="540"/>
                  </a:lnTo>
                  <a:lnTo>
                    <a:pt x="598" y="533"/>
                  </a:lnTo>
                  <a:lnTo>
                    <a:pt x="609" y="520"/>
                  </a:lnTo>
                  <a:lnTo>
                    <a:pt x="620" y="509"/>
                  </a:lnTo>
                  <a:lnTo>
                    <a:pt x="633" y="488"/>
                  </a:lnTo>
                  <a:lnTo>
                    <a:pt x="633" y="488"/>
                  </a:lnTo>
                  <a:lnTo>
                    <a:pt x="639" y="482"/>
                  </a:lnTo>
                  <a:lnTo>
                    <a:pt x="643" y="481"/>
                  </a:lnTo>
                  <a:lnTo>
                    <a:pt x="643" y="481"/>
                  </a:lnTo>
                  <a:lnTo>
                    <a:pt x="643" y="484"/>
                  </a:lnTo>
                  <a:lnTo>
                    <a:pt x="643" y="495"/>
                  </a:lnTo>
                  <a:lnTo>
                    <a:pt x="643" y="501"/>
                  </a:lnTo>
                  <a:lnTo>
                    <a:pt x="646" y="505"/>
                  </a:lnTo>
                  <a:lnTo>
                    <a:pt x="646" y="505"/>
                  </a:lnTo>
                  <a:lnTo>
                    <a:pt x="659" y="514"/>
                  </a:lnTo>
                  <a:lnTo>
                    <a:pt x="667" y="522"/>
                  </a:lnTo>
                  <a:lnTo>
                    <a:pt x="669" y="529"/>
                  </a:lnTo>
                  <a:lnTo>
                    <a:pt x="669" y="535"/>
                  </a:lnTo>
                  <a:lnTo>
                    <a:pt x="663" y="552"/>
                  </a:lnTo>
                  <a:lnTo>
                    <a:pt x="659" y="561"/>
                  </a:lnTo>
                  <a:lnTo>
                    <a:pt x="659" y="576"/>
                  </a:lnTo>
                  <a:lnTo>
                    <a:pt x="659" y="576"/>
                  </a:lnTo>
                  <a:lnTo>
                    <a:pt x="659" y="578"/>
                  </a:lnTo>
                  <a:lnTo>
                    <a:pt x="661" y="581"/>
                  </a:lnTo>
                  <a:lnTo>
                    <a:pt x="671" y="587"/>
                  </a:lnTo>
                  <a:lnTo>
                    <a:pt x="682" y="593"/>
                  </a:lnTo>
                  <a:lnTo>
                    <a:pt x="695" y="600"/>
                  </a:lnTo>
                  <a:lnTo>
                    <a:pt x="695" y="600"/>
                  </a:lnTo>
                  <a:lnTo>
                    <a:pt x="695" y="591"/>
                  </a:lnTo>
                  <a:lnTo>
                    <a:pt x="699" y="583"/>
                  </a:lnTo>
                  <a:lnTo>
                    <a:pt x="702" y="578"/>
                  </a:lnTo>
                  <a:lnTo>
                    <a:pt x="706" y="574"/>
                  </a:lnTo>
                  <a:lnTo>
                    <a:pt x="719" y="566"/>
                  </a:lnTo>
                  <a:lnTo>
                    <a:pt x="727" y="561"/>
                  </a:lnTo>
                  <a:lnTo>
                    <a:pt x="732" y="555"/>
                  </a:lnTo>
                  <a:lnTo>
                    <a:pt x="732" y="555"/>
                  </a:lnTo>
                  <a:lnTo>
                    <a:pt x="755" y="548"/>
                  </a:lnTo>
                  <a:lnTo>
                    <a:pt x="775" y="540"/>
                  </a:lnTo>
                  <a:lnTo>
                    <a:pt x="775" y="540"/>
                  </a:lnTo>
                  <a:lnTo>
                    <a:pt x="783" y="540"/>
                  </a:lnTo>
                  <a:lnTo>
                    <a:pt x="788" y="538"/>
                  </a:lnTo>
                  <a:lnTo>
                    <a:pt x="800" y="533"/>
                  </a:lnTo>
                  <a:lnTo>
                    <a:pt x="807" y="527"/>
                  </a:lnTo>
                  <a:lnTo>
                    <a:pt x="814" y="520"/>
                  </a:lnTo>
                  <a:lnTo>
                    <a:pt x="820" y="512"/>
                  </a:lnTo>
                  <a:lnTo>
                    <a:pt x="824" y="509"/>
                  </a:lnTo>
                  <a:lnTo>
                    <a:pt x="828" y="509"/>
                  </a:lnTo>
                  <a:lnTo>
                    <a:pt x="829" y="509"/>
                  </a:lnTo>
                  <a:lnTo>
                    <a:pt x="837" y="514"/>
                  </a:lnTo>
                  <a:lnTo>
                    <a:pt x="837" y="514"/>
                  </a:lnTo>
                  <a:lnTo>
                    <a:pt x="841" y="516"/>
                  </a:lnTo>
                  <a:lnTo>
                    <a:pt x="843" y="516"/>
                  </a:lnTo>
                  <a:lnTo>
                    <a:pt x="843" y="514"/>
                  </a:lnTo>
                  <a:lnTo>
                    <a:pt x="844" y="510"/>
                  </a:lnTo>
                  <a:lnTo>
                    <a:pt x="844" y="501"/>
                  </a:lnTo>
                  <a:lnTo>
                    <a:pt x="848" y="499"/>
                  </a:lnTo>
                  <a:lnTo>
                    <a:pt x="852" y="497"/>
                  </a:lnTo>
                  <a:lnTo>
                    <a:pt x="852" y="497"/>
                  </a:lnTo>
                  <a:lnTo>
                    <a:pt x="863" y="495"/>
                  </a:lnTo>
                  <a:lnTo>
                    <a:pt x="872" y="494"/>
                  </a:lnTo>
                  <a:lnTo>
                    <a:pt x="876" y="490"/>
                  </a:lnTo>
                  <a:lnTo>
                    <a:pt x="880" y="486"/>
                  </a:lnTo>
                  <a:lnTo>
                    <a:pt x="882" y="477"/>
                  </a:lnTo>
                  <a:lnTo>
                    <a:pt x="884" y="473"/>
                  </a:lnTo>
                  <a:lnTo>
                    <a:pt x="887" y="469"/>
                  </a:lnTo>
                  <a:lnTo>
                    <a:pt x="887" y="469"/>
                  </a:lnTo>
                  <a:lnTo>
                    <a:pt x="895" y="466"/>
                  </a:lnTo>
                  <a:lnTo>
                    <a:pt x="900" y="466"/>
                  </a:lnTo>
                  <a:lnTo>
                    <a:pt x="904" y="466"/>
                  </a:lnTo>
                  <a:lnTo>
                    <a:pt x="908" y="466"/>
                  </a:lnTo>
                  <a:lnTo>
                    <a:pt x="914" y="471"/>
                  </a:lnTo>
                  <a:lnTo>
                    <a:pt x="921" y="477"/>
                  </a:lnTo>
                  <a:lnTo>
                    <a:pt x="927" y="481"/>
                  </a:lnTo>
                  <a:lnTo>
                    <a:pt x="930" y="482"/>
                  </a:lnTo>
                  <a:lnTo>
                    <a:pt x="936" y="482"/>
                  </a:lnTo>
                  <a:lnTo>
                    <a:pt x="942" y="481"/>
                  </a:lnTo>
                  <a:lnTo>
                    <a:pt x="947" y="479"/>
                  </a:lnTo>
                  <a:lnTo>
                    <a:pt x="966" y="466"/>
                  </a:lnTo>
                  <a:lnTo>
                    <a:pt x="966" y="466"/>
                  </a:lnTo>
                  <a:lnTo>
                    <a:pt x="960" y="458"/>
                  </a:lnTo>
                  <a:lnTo>
                    <a:pt x="957" y="447"/>
                  </a:lnTo>
                  <a:lnTo>
                    <a:pt x="957" y="447"/>
                  </a:lnTo>
                  <a:lnTo>
                    <a:pt x="951" y="424"/>
                  </a:lnTo>
                  <a:lnTo>
                    <a:pt x="945" y="410"/>
                  </a:lnTo>
                  <a:lnTo>
                    <a:pt x="942" y="402"/>
                  </a:lnTo>
                  <a:lnTo>
                    <a:pt x="938" y="400"/>
                  </a:lnTo>
                  <a:lnTo>
                    <a:pt x="936" y="400"/>
                  </a:lnTo>
                  <a:lnTo>
                    <a:pt x="932" y="398"/>
                  </a:lnTo>
                  <a:lnTo>
                    <a:pt x="930" y="395"/>
                  </a:lnTo>
                  <a:lnTo>
                    <a:pt x="928" y="387"/>
                  </a:lnTo>
                  <a:lnTo>
                    <a:pt x="928" y="387"/>
                  </a:lnTo>
                  <a:lnTo>
                    <a:pt x="927" y="380"/>
                  </a:lnTo>
                  <a:lnTo>
                    <a:pt x="925" y="372"/>
                  </a:lnTo>
                  <a:lnTo>
                    <a:pt x="917" y="357"/>
                  </a:lnTo>
                  <a:lnTo>
                    <a:pt x="912" y="344"/>
                  </a:lnTo>
                  <a:lnTo>
                    <a:pt x="912" y="337"/>
                  </a:lnTo>
                  <a:lnTo>
                    <a:pt x="914" y="331"/>
                  </a:lnTo>
                  <a:lnTo>
                    <a:pt x="914" y="331"/>
                  </a:lnTo>
                  <a:lnTo>
                    <a:pt x="921" y="320"/>
                  </a:lnTo>
                  <a:lnTo>
                    <a:pt x="928" y="310"/>
                  </a:lnTo>
                  <a:lnTo>
                    <a:pt x="938" y="303"/>
                  </a:lnTo>
                  <a:lnTo>
                    <a:pt x="940" y="299"/>
                  </a:lnTo>
                  <a:lnTo>
                    <a:pt x="938" y="297"/>
                  </a:lnTo>
                  <a:lnTo>
                    <a:pt x="925" y="286"/>
                  </a:lnTo>
                  <a:lnTo>
                    <a:pt x="925" y="286"/>
                  </a:lnTo>
                  <a:lnTo>
                    <a:pt x="917" y="281"/>
                  </a:lnTo>
                  <a:lnTo>
                    <a:pt x="910" y="279"/>
                  </a:lnTo>
                  <a:lnTo>
                    <a:pt x="895" y="275"/>
                  </a:lnTo>
                  <a:lnTo>
                    <a:pt x="884" y="275"/>
                  </a:lnTo>
                  <a:lnTo>
                    <a:pt x="878" y="273"/>
                  </a:lnTo>
                  <a:lnTo>
                    <a:pt x="876" y="271"/>
                  </a:lnTo>
                  <a:lnTo>
                    <a:pt x="876" y="271"/>
                  </a:lnTo>
                  <a:lnTo>
                    <a:pt x="871" y="264"/>
                  </a:lnTo>
                  <a:lnTo>
                    <a:pt x="865" y="258"/>
                  </a:lnTo>
                  <a:lnTo>
                    <a:pt x="852" y="251"/>
                  </a:lnTo>
                  <a:lnTo>
                    <a:pt x="852" y="251"/>
                  </a:lnTo>
                  <a:lnTo>
                    <a:pt x="843" y="247"/>
                  </a:lnTo>
                  <a:lnTo>
                    <a:pt x="839" y="243"/>
                  </a:lnTo>
                  <a:lnTo>
                    <a:pt x="839" y="243"/>
                  </a:lnTo>
                  <a:lnTo>
                    <a:pt x="835" y="228"/>
                  </a:lnTo>
                  <a:lnTo>
                    <a:pt x="833" y="225"/>
                  </a:lnTo>
                  <a:lnTo>
                    <a:pt x="831" y="221"/>
                  </a:lnTo>
                  <a:lnTo>
                    <a:pt x="829" y="221"/>
                  </a:lnTo>
                  <a:lnTo>
                    <a:pt x="828" y="221"/>
                  </a:lnTo>
                  <a:lnTo>
                    <a:pt x="822" y="226"/>
                  </a:lnTo>
                  <a:lnTo>
                    <a:pt x="816" y="232"/>
                  </a:lnTo>
                  <a:lnTo>
                    <a:pt x="809" y="238"/>
                  </a:lnTo>
                  <a:lnTo>
                    <a:pt x="800" y="241"/>
                  </a:lnTo>
                  <a:lnTo>
                    <a:pt x="796" y="241"/>
                  </a:lnTo>
                  <a:lnTo>
                    <a:pt x="790" y="239"/>
                  </a:lnTo>
                  <a:lnTo>
                    <a:pt x="790" y="239"/>
                  </a:lnTo>
                  <a:lnTo>
                    <a:pt x="777" y="234"/>
                  </a:lnTo>
                  <a:lnTo>
                    <a:pt x="768" y="230"/>
                  </a:lnTo>
                  <a:lnTo>
                    <a:pt x="764" y="226"/>
                  </a:lnTo>
                  <a:lnTo>
                    <a:pt x="760" y="223"/>
                  </a:lnTo>
                  <a:lnTo>
                    <a:pt x="757" y="210"/>
                  </a:lnTo>
                  <a:lnTo>
                    <a:pt x="757" y="210"/>
                  </a:lnTo>
                  <a:lnTo>
                    <a:pt x="749" y="206"/>
                  </a:lnTo>
                  <a:lnTo>
                    <a:pt x="732" y="200"/>
                  </a:lnTo>
                  <a:lnTo>
                    <a:pt x="715" y="197"/>
                  </a:lnTo>
                  <a:lnTo>
                    <a:pt x="706" y="195"/>
                  </a:lnTo>
                  <a:lnTo>
                    <a:pt x="706" y="195"/>
                  </a:lnTo>
                  <a:lnTo>
                    <a:pt x="689" y="202"/>
                  </a:lnTo>
                  <a:lnTo>
                    <a:pt x="684" y="204"/>
                  </a:lnTo>
                  <a:lnTo>
                    <a:pt x="682" y="202"/>
                  </a:lnTo>
                  <a:lnTo>
                    <a:pt x="680" y="198"/>
                  </a:lnTo>
                  <a:lnTo>
                    <a:pt x="672" y="193"/>
                  </a:lnTo>
                  <a:lnTo>
                    <a:pt x="672" y="193"/>
                  </a:lnTo>
                  <a:lnTo>
                    <a:pt x="667" y="187"/>
                  </a:lnTo>
                  <a:lnTo>
                    <a:pt x="661" y="180"/>
                  </a:lnTo>
                  <a:lnTo>
                    <a:pt x="650" y="165"/>
                  </a:lnTo>
                  <a:lnTo>
                    <a:pt x="650" y="165"/>
                  </a:lnTo>
                  <a:lnTo>
                    <a:pt x="650" y="161"/>
                  </a:lnTo>
                  <a:lnTo>
                    <a:pt x="650" y="154"/>
                  </a:lnTo>
                  <a:lnTo>
                    <a:pt x="652" y="131"/>
                  </a:lnTo>
                  <a:lnTo>
                    <a:pt x="652" y="122"/>
                  </a:lnTo>
                  <a:lnTo>
                    <a:pt x="648" y="114"/>
                  </a:lnTo>
                  <a:lnTo>
                    <a:pt x="646" y="112"/>
                  </a:lnTo>
                  <a:lnTo>
                    <a:pt x="643" y="112"/>
                  </a:lnTo>
                  <a:lnTo>
                    <a:pt x="639" y="114"/>
                  </a:lnTo>
                  <a:lnTo>
                    <a:pt x="635" y="118"/>
                  </a:lnTo>
                  <a:lnTo>
                    <a:pt x="635" y="118"/>
                  </a:lnTo>
                  <a:lnTo>
                    <a:pt x="620" y="127"/>
                  </a:lnTo>
                  <a:lnTo>
                    <a:pt x="615" y="129"/>
                  </a:lnTo>
                  <a:lnTo>
                    <a:pt x="609" y="129"/>
                  </a:lnTo>
                  <a:lnTo>
                    <a:pt x="600" y="127"/>
                  </a:lnTo>
                  <a:lnTo>
                    <a:pt x="590" y="124"/>
                  </a:lnTo>
                  <a:lnTo>
                    <a:pt x="583" y="118"/>
                  </a:lnTo>
                  <a:lnTo>
                    <a:pt x="573" y="114"/>
                  </a:lnTo>
                  <a:lnTo>
                    <a:pt x="568" y="114"/>
                  </a:lnTo>
                  <a:lnTo>
                    <a:pt x="560" y="114"/>
                  </a:lnTo>
                  <a:lnTo>
                    <a:pt x="553" y="116"/>
                  </a:lnTo>
                  <a:lnTo>
                    <a:pt x="545" y="118"/>
                  </a:lnTo>
                  <a:lnTo>
                    <a:pt x="545" y="118"/>
                  </a:lnTo>
                  <a:lnTo>
                    <a:pt x="536" y="122"/>
                  </a:lnTo>
                  <a:lnTo>
                    <a:pt x="529" y="124"/>
                  </a:lnTo>
                  <a:lnTo>
                    <a:pt x="515" y="122"/>
                  </a:lnTo>
                  <a:lnTo>
                    <a:pt x="510" y="120"/>
                  </a:lnTo>
                  <a:lnTo>
                    <a:pt x="504" y="120"/>
                  </a:lnTo>
                  <a:lnTo>
                    <a:pt x="497" y="122"/>
                  </a:lnTo>
                  <a:lnTo>
                    <a:pt x="487" y="126"/>
                  </a:lnTo>
                  <a:lnTo>
                    <a:pt x="487" y="126"/>
                  </a:lnTo>
                  <a:lnTo>
                    <a:pt x="482" y="127"/>
                  </a:lnTo>
                  <a:lnTo>
                    <a:pt x="476" y="127"/>
                  </a:lnTo>
                  <a:lnTo>
                    <a:pt x="465" y="126"/>
                  </a:lnTo>
                  <a:lnTo>
                    <a:pt x="454" y="122"/>
                  </a:lnTo>
                  <a:lnTo>
                    <a:pt x="443" y="114"/>
                  </a:lnTo>
                  <a:lnTo>
                    <a:pt x="420" y="99"/>
                  </a:lnTo>
                  <a:lnTo>
                    <a:pt x="409" y="96"/>
                  </a:lnTo>
                  <a:lnTo>
                    <a:pt x="398" y="94"/>
                  </a:lnTo>
                  <a:lnTo>
                    <a:pt x="398" y="94"/>
                  </a:lnTo>
                  <a:lnTo>
                    <a:pt x="390" y="92"/>
                  </a:lnTo>
                  <a:lnTo>
                    <a:pt x="383" y="86"/>
                  </a:lnTo>
                  <a:lnTo>
                    <a:pt x="375" y="81"/>
                  </a:lnTo>
                  <a:lnTo>
                    <a:pt x="366" y="73"/>
                  </a:lnTo>
                  <a:lnTo>
                    <a:pt x="353" y="56"/>
                  </a:lnTo>
                  <a:lnTo>
                    <a:pt x="347" y="49"/>
                  </a:lnTo>
                  <a:lnTo>
                    <a:pt x="345" y="41"/>
                  </a:lnTo>
                  <a:lnTo>
                    <a:pt x="345" y="41"/>
                  </a:lnTo>
                  <a:lnTo>
                    <a:pt x="342" y="32"/>
                  </a:lnTo>
                  <a:lnTo>
                    <a:pt x="336" y="23"/>
                  </a:lnTo>
                  <a:lnTo>
                    <a:pt x="332" y="17"/>
                  </a:lnTo>
                  <a:lnTo>
                    <a:pt x="327" y="13"/>
                  </a:lnTo>
                  <a:lnTo>
                    <a:pt x="319" y="6"/>
                  </a:lnTo>
                  <a:lnTo>
                    <a:pt x="317" y="4"/>
                  </a:lnTo>
                  <a:lnTo>
                    <a:pt x="314" y="0"/>
                  </a:lnTo>
                  <a:lnTo>
                    <a:pt x="314" y="0"/>
                  </a:lnTo>
                  <a:lnTo>
                    <a:pt x="302" y="8"/>
                  </a:lnTo>
                  <a:lnTo>
                    <a:pt x="291" y="15"/>
                  </a:lnTo>
                  <a:lnTo>
                    <a:pt x="286" y="19"/>
                  </a:lnTo>
                  <a:lnTo>
                    <a:pt x="278" y="19"/>
                  </a:lnTo>
                  <a:lnTo>
                    <a:pt x="273" y="19"/>
                  </a:lnTo>
                  <a:lnTo>
                    <a:pt x="267" y="13"/>
                  </a:lnTo>
                  <a:lnTo>
                    <a:pt x="267" y="13"/>
                  </a:lnTo>
                  <a:lnTo>
                    <a:pt x="256" y="2"/>
                  </a:lnTo>
                  <a:lnTo>
                    <a:pt x="256" y="2"/>
                  </a:lnTo>
                  <a:lnTo>
                    <a:pt x="256" y="4"/>
                  </a:lnTo>
                  <a:lnTo>
                    <a:pt x="254" y="8"/>
                  </a:lnTo>
                  <a:lnTo>
                    <a:pt x="248" y="12"/>
                  </a:lnTo>
                  <a:lnTo>
                    <a:pt x="235" y="12"/>
                  </a:lnTo>
                  <a:lnTo>
                    <a:pt x="216" y="10"/>
                  </a:lnTo>
                  <a:lnTo>
                    <a:pt x="216" y="10"/>
                  </a:lnTo>
                  <a:lnTo>
                    <a:pt x="198" y="6"/>
                  </a:lnTo>
                  <a:lnTo>
                    <a:pt x="168" y="4"/>
                  </a:lnTo>
                  <a:lnTo>
                    <a:pt x="153" y="4"/>
                  </a:lnTo>
                  <a:lnTo>
                    <a:pt x="140" y="6"/>
                  </a:lnTo>
                  <a:lnTo>
                    <a:pt x="136" y="6"/>
                  </a:lnTo>
                  <a:lnTo>
                    <a:pt x="132" y="8"/>
                  </a:lnTo>
                  <a:lnTo>
                    <a:pt x="130" y="12"/>
                  </a:lnTo>
                  <a:lnTo>
                    <a:pt x="132" y="13"/>
                  </a:lnTo>
                  <a:lnTo>
                    <a:pt x="132" y="13"/>
                  </a:lnTo>
                  <a:lnTo>
                    <a:pt x="134" y="15"/>
                  </a:lnTo>
                  <a:lnTo>
                    <a:pt x="138" y="17"/>
                  </a:lnTo>
                  <a:lnTo>
                    <a:pt x="153" y="19"/>
                  </a:lnTo>
                  <a:lnTo>
                    <a:pt x="159" y="21"/>
                  </a:lnTo>
                  <a:lnTo>
                    <a:pt x="166" y="25"/>
                  </a:lnTo>
                  <a:lnTo>
                    <a:pt x="172" y="32"/>
                  </a:lnTo>
                  <a:lnTo>
                    <a:pt x="173" y="41"/>
                  </a:lnTo>
                  <a:lnTo>
                    <a:pt x="173" y="41"/>
                  </a:lnTo>
                  <a:lnTo>
                    <a:pt x="177" y="49"/>
                  </a:lnTo>
                  <a:lnTo>
                    <a:pt x="183" y="53"/>
                  </a:lnTo>
                  <a:lnTo>
                    <a:pt x="188" y="55"/>
                  </a:lnTo>
                  <a:lnTo>
                    <a:pt x="196" y="56"/>
                  </a:lnTo>
                  <a:lnTo>
                    <a:pt x="203" y="58"/>
                  </a:lnTo>
                  <a:lnTo>
                    <a:pt x="211" y="62"/>
                  </a:lnTo>
                  <a:lnTo>
                    <a:pt x="215" y="69"/>
                  </a:lnTo>
                  <a:lnTo>
                    <a:pt x="218" y="83"/>
                  </a:lnTo>
                  <a:lnTo>
                    <a:pt x="218" y="83"/>
                  </a:lnTo>
                  <a:lnTo>
                    <a:pt x="218" y="86"/>
                  </a:lnTo>
                  <a:lnTo>
                    <a:pt x="216" y="90"/>
                  </a:lnTo>
                  <a:lnTo>
                    <a:pt x="213" y="94"/>
                  </a:lnTo>
                  <a:lnTo>
                    <a:pt x="209" y="96"/>
                  </a:lnTo>
                  <a:lnTo>
                    <a:pt x="200" y="97"/>
                  </a:lnTo>
                  <a:lnTo>
                    <a:pt x="188" y="97"/>
                  </a:lnTo>
                  <a:lnTo>
                    <a:pt x="164" y="96"/>
                  </a:lnTo>
                  <a:lnTo>
                    <a:pt x="155" y="97"/>
                  </a:lnTo>
                  <a:lnTo>
                    <a:pt x="151" y="99"/>
                  </a:lnTo>
                  <a:lnTo>
                    <a:pt x="147" y="101"/>
                  </a:lnTo>
                  <a:lnTo>
                    <a:pt x="147" y="10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4" name="Freeform 54">
              <a:extLst>
                <a:ext uri="{FF2B5EF4-FFF2-40B4-BE49-F238E27FC236}">
                  <a16:creationId xmlns:a16="http://schemas.microsoft.com/office/drawing/2014/main" id="{5260C6F8-1D96-4B9A-BFBA-057B9F056B5B}"/>
                </a:ext>
              </a:extLst>
            </p:cNvPr>
            <p:cNvSpPr>
              <a:spLocks/>
            </p:cNvSpPr>
            <p:nvPr/>
          </p:nvSpPr>
          <p:spPr bwMode="auto">
            <a:xfrm>
              <a:off x="5694696" y="4757246"/>
              <a:ext cx="561349" cy="739381"/>
            </a:xfrm>
            <a:custGeom>
              <a:avLst/>
              <a:gdLst/>
              <a:ahLst/>
              <a:cxnLst>
                <a:cxn ang="0">
                  <a:pos x="76" y="260"/>
                </a:cxn>
                <a:cxn ang="0">
                  <a:pos x="56" y="290"/>
                </a:cxn>
                <a:cxn ang="0">
                  <a:pos x="28" y="329"/>
                </a:cxn>
                <a:cxn ang="0">
                  <a:pos x="11" y="361"/>
                </a:cxn>
                <a:cxn ang="0">
                  <a:pos x="9" y="411"/>
                </a:cxn>
                <a:cxn ang="0">
                  <a:pos x="41" y="419"/>
                </a:cxn>
                <a:cxn ang="0">
                  <a:pos x="37" y="458"/>
                </a:cxn>
                <a:cxn ang="0">
                  <a:pos x="39" y="503"/>
                </a:cxn>
                <a:cxn ang="0">
                  <a:pos x="65" y="522"/>
                </a:cxn>
                <a:cxn ang="0">
                  <a:pos x="67" y="551"/>
                </a:cxn>
                <a:cxn ang="0">
                  <a:pos x="67" y="585"/>
                </a:cxn>
                <a:cxn ang="0">
                  <a:pos x="89" y="570"/>
                </a:cxn>
                <a:cxn ang="0">
                  <a:pos x="71" y="596"/>
                </a:cxn>
                <a:cxn ang="0">
                  <a:pos x="59" y="671"/>
                </a:cxn>
                <a:cxn ang="0">
                  <a:pos x="76" y="710"/>
                </a:cxn>
                <a:cxn ang="0">
                  <a:pos x="138" y="692"/>
                </a:cxn>
                <a:cxn ang="0">
                  <a:pos x="157" y="731"/>
                </a:cxn>
                <a:cxn ang="0">
                  <a:pos x="123" y="768"/>
                </a:cxn>
                <a:cxn ang="0">
                  <a:pos x="97" y="806"/>
                </a:cxn>
                <a:cxn ang="0">
                  <a:pos x="158" y="809"/>
                </a:cxn>
                <a:cxn ang="0">
                  <a:pos x="198" y="791"/>
                </a:cxn>
                <a:cxn ang="0">
                  <a:pos x="237" y="779"/>
                </a:cxn>
                <a:cxn ang="0">
                  <a:pos x="301" y="807"/>
                </a:cxn>
                <a:cxn ang="0">
                  <a:pos x="304" y="789"/>
                </a:cxn>
                <a:cxn ang="0">
                  <a:pos x="315" y="749"/>
                </a:cxn>
                <a:cxn ang="0">
                  <a:pos x="330" y="654"/>
                </a:cxn>
                <a:cxn ang="0">
                  <a:pos x="360" y="593"/>
                </a:cxn>
                <a:cxn ang="0">
                  <a:pos x="381" y="565"/>
                </a:cxn>
                <a:cxn ang="0">
                  <a:pos x="385" y="535"/>
                </a:cxn>
                <a:cxn ang="0">
                  <a:pos x="398" y="516"/>
                </a:cxn>
                <a:cxn ang="0">
                  <a:pos x="392" y="454"/>
                </a:cxn>
                <a:cxn ang="0">
                  <a:pos x="443" y="426"/>
                </a:cxn>
                <a:cxn ang="0">
                  <a:pos x="452" y="381"/>
                </a:cxn>
                <a:cxn ang="0">
                  <a:pos x="444" y="344"/>
                </a:cxn>
                <a:cxn ang="0">
                  <a:pos x="486" y="301"/>
                </a:cxn>
                <a:cxn ang="0">
                  <a:pos x="506" y="297"/>
                </a:cxn>
                <a:cxn ang="0">
                  <a:pos x="545" y="290"/>
                </a:cxn>
                <a:cxn ang="0">
                  <a:pos x="575" y="277"/>
                </a:cxn>
                <a:cxn ang="0">
                  <a:pos x="598" y="267"/>
                </a:cxn>
                <a:cxn ang="0">
                  <a:pos x="616" y="236"/>
                </a:cxn>
                <a:cxn ang="0">
                  <a:pos x="605" y="200"/>
                </a:cxn>
                <a:cxn ang="0">
                  <a:pos x="551" y="125"/>
                </a:cxn>
                <a:cxn ang="0">
                  <a:pos x="555" y="96"/>
                </a:cxn>
                <a:cxn ang="0">
                  <a:pos x="553" y="66"/>
                </a:cxn>
                <a:cxn ang="0">
                  <a:pos x="482" y="56"/>
                </a:cxn>
                <a:cxn ang="0">
                  <a:pos x="465" y="28"/>
                </a:cxn>
                <a:cxn ang="0">
                  <a:pos x="444" y="23"/>
                </a:cxn>
                <a:cxn ang="0">
                  <a:pos x="428" y="19"/>
                </a:cxn>
                <a:cxn ang="0">
                  <a:pos x="426" y="34"/>
                </a:cxn>
                <a:cxn ang="0">
                  <a:pos x="385" y="67"/>
                </a:cxn>
                <a:cxn ang="0">
                  <a:pos x="373" y="54"/>
                </a:cxn>
                <a:cxn ang="0">
                  <a:pos x="398" y="17"/>
                </a:cxn>
                <a:cxn ang="0">
                  <a:pos x="373" y="0"/>
                </a:cxn>
                <a:cxn ang="0">
                  <a:pos x="317" y="39"/>
                </a:cxn>
                <a:cxn ang="0">
                  <a:pos x="280" y="54"/>
                </a:cxn>
                <a:cxn ang="0">
                  <a:pos x="248" y="38"/>
                </a:cxn>
                <a:cxn ang="0">
                  <a:pos x="226" y="49"/>
                </a:cxn>
                <a:cxn ang="0">
                  <a:pos x="196" y="69"/>
                </a:cxn>
                <a:cxn ang="0">
                  <a:pos x="185" y="88"/>
                </a:cxn>
                <a:cxn ang="0">
                  <a:pos x="164" y="84"/>
                </a:cxn>
                <a:cxn ang="0">
                  <a:pos x="119" y="112"/>
                </a:cxn>
                <a:cxn ang="0">
                  <a:pos x="63" y="138"/>
                </a:cxn>
                <a:cxn ang="0">
                  <a:pos x="39" y="172"/>
                </a:cxn>
              </a:cxnLst>
              <a:rect l="0" t="0" r="r" b="b"/>
              <a:pathLst>
                <a:path w="616" h="813">
                  <a:moveTo>
                    <a:pt x="65" y="215"/>
                  </a:moveTo>
                  <a:lnTo>
                    <a:pt x="65" y="215"/>
                  </a:lnTo>
                  <a:lnTo>
                    <a:pt x="67" y="224"/>
                  </a:lnTo>
                  <a:lnTo>
                    <a:pt x="69" y="234"/>
                  </a:lnTo>
                  <a:lnTo>
                    <a:pt x="74" y="251"/>
                  </a:lnTo>
                  <a:lnTo>
                    <a:pt x="76" y="260"/>
                  </a:lnTo>
                  <a:lnTo>
                    <a:pt x="74" y="267"/>
                  </a:lnTo>
                  <a:lnTo>
                    <a:pt x="71" y="275"/>
                  </a:lnTo>
                  <a:lnTo>
                    <a:pt x="63" y="282"/>
                  </a:lnTo>
                  <a:lnTo>
                    <a:pt x="63" y="282"/>
                  </a:lnTo>
                  <a:lnTo>
                    <a:pt x="59" y="286"/>
                  </a:lnTo>
                  <a:lnTo>
                    <a:pt x="56" y="290"/>
                  </a:lnTo>
                  <a:lnTo>
                    <a:pt x="54" y="299"/>
                  </a:lnTo>
                  <a:lnTo>
                    <a:pt x="50" y="309"/>
                  </a:lnTo>
                  <a:lnTo>
                    <a:pt x="46" y="312"/>
                  </a:lnTo>
                  <a:lnTo>
                    <a:pt x="43" y="316"/>
                  </a:lnTo>
                  <a:lnTo>
                    <a:pt x="43" y="316"/>
                  </a:lnTo>
                  <a:lnTo>
                    <a:pt x="28" y="329"/>
                  </a:lnTo>
                  <a:lnTo>
                    <a:pt x="24" y="333"/>
                  </a:lnTo>
                  <a:lnTo>
                    <a:pt x="22" y="337"/>
                  </a:lnTo>
                  <a:lnTo>
                    <a:pt x="18" y="348"/>
                  </a:lnTo>
                  <a:lnTo>
                    <a:pt x="15" y="353"/>
                  </a:lnTo>
                  <a:lnTo>
                    <a:pt x="11" y="361"/>
                  </a:lnTo>
                  <a:lnTo>
                    <a:pt x="11" y="361"/>
                  </a:lnTo>
                  <a:lnTo>
                    <a:pt x="3" y="376"/>
                  </a:lnTo>
                  <a:lnTo>
                    <a:pt x="2" y="383"/>
                  </a:lnTo>
                  <a:lnTo>
                    <a:pt x="0" y="393"/>
                  </a:lnTo>
                  <a:lnTo>
                    <a:pt x="2" y="400"/>
                  </a:lnTo>
                  <a:lnTo>
                    <a:pt x="3" y="406"/>
                  </a:lnTo>
                  <a:lnTo>
                    <a:pt x="9" y="411"/>
                  </a:lnTo>
                  <a:lnTo>
                    <a:pt x="16" y="413"/>
                  </a:lnTo>
                  <a:lnTo>
                    <a:pt x="16" y="413"/>
                  </a:lnTo>
                  <a:lnTo>
                    <a:pt x="31" y="413"/>
                  </a:lnTo>
                  <a:lnTo>
                    <a:pt x="39" y="415"/>
                  </a:lnTo>
                  <a:lnTo>
                    <a:pt x="39" y="417"/>
                  </a:lnTo>
                  <a:lnTo>
                    <a:pt x="41" y="419"/>
                  </a:lnTo>
                  <a:lnTo>
                    <a:pt x="39" y="424"/>
                  </a:lnTo>
                  <a:lnTo>
                    <a:pt x="35" y="432"/>
                  </a:lnTo>
                  <a:lnTo>
                    <a:pt x="33" y="441"/>
                  </a:lnTo>
                  <a:lnTo>
                    <a:pt x="33" y="447"/>
                  </a:lnTo>
                  <a:lnTo>
                    <a:pt x="35" y="452"/>
                  </a:lnTo>
                  <a:lnTo>
                    <a:pt x="37" y="458"/>
                  </a:lnTo>
                  <a:lnTo>
                    <a:pt x="43" y="464"/>
                  </a:lnTo>
                  <a:lnTo>
                    <a:pt x="43" y="464"/>
                  </a:lnTo>
                  <a:lnTo>
                    <a:pt x="44" y="469"/>
                  </a:lnTo>
                  <a:lnTo>
                    <a:pt x="44" y="477"/>
                  </a:lnTo>
                  <a:lnTo>
                    <a:pt x="41" y="494"/>
                  </a:lnTo>
                  <a:lnTo>
                    <a:pt x="39" y="503"/>
                  </a:lnTo>
                  <a:lnTo>
                    <a:pt x="41" y="510"/>
                  </a:lnTo>
                  <a:lnTo>
                    <a:pt x="43" y="514"/>
                  </a:lnTo>
                  <a:lnTo>
                    <a:pt x="50" y="516"/>
                  </a:lnTo>
                  <a:lnTo>
                    <a:pt x="50" y="516"/>
                  </a:lnTo>
                  <a:lnTo>
                    <a:pt x="61" y="520"/>
                  </a:lnTo>
                  <a:lnTo>
                    <a:pt x="65" y="522"/>
                  </a:lnTo>
                  <a:lnTo>
                    <a:pt x="67" y="523"/>
                  </a:lnTo>
                  <a:lnTo>
                    <a:pt x="67" y="531"/>
                  </a:lnTo>
                  <a:lnTo>
                    <a:pt x="69" y="542"/>
                  </a:lnTo>
                  <a:lnTo>
                    <a:pt x="69" y="542"/>
                  </a:lnTo>
                  <a:lnTo>
                    <a:pt x="69" y="546"/>
                  </a:lnTo>
                  <a:lnTo>
                    <a:pt x="67" y="551"/>
                  </a:lnTo>
                  <a:lnTo>
                    <a:pt x="63" y="563"/>
                  </a:lnTo>
                  <a:lnTo>
                    <a:pt x="59" y="574"/>
                  </a:lnTo>
                  <a:lnTo>
                    <a:pt x="58" y="579"/>
                  </a:lnTo>
                  <a:lnTo>
                    <a:pt x="58" y="579"/>
                  </a:lnTo>
                  <a:lnTo>
                    <a:pt x="61" y="583"/>
                  </a:lnTo>
                  <a:lnTo>
                    <a:pt x="67" y="585"/>
                  </a:lnTo>
                  <a:lnTo>
                    <a:pt x="71" y="583"/>
                  </a:lnTo>
                  <a:lnTo>
                    <a:pt x="76" y="581"/>
                  </a:lnTo>
                  <a:lnTo>
                    <a:pt x="84" y="574"/>
                  </a:lnTo>
                  <a:lnTo>
                    <a:pt x="87" y="570"/>
                  </a:lnTo>
                  <a:lnTo>
                    <a:pt x="89" y="570"/>
                  </a:lnTo>
                  <a:lnTo>
                    <a:pt x="89" y="570"/>
                  </a:lnTo>
                  <a:lnTo>
                    <a:pt x="91" y="574"/>
                  </a:lnTo>
                  <a:lnTo>
                    <a:pt x="89" y="576"/>
                  </a:lnTo>
                  <a:lnTo>
                    <a:pt x="82" y="583"/>
                  </a:lnTo>
                  <a:lnTo>
                    <a:pt x="74" y="591"/>
                  </a:lnTo>
                  <a:lnTo>
                    <a:pt x="71" y="596"/>
                  </a:lnTo>
                  <a:lnTo>
                    <a:pt x="71" y="596"/>
                  </a:lnTo>
                  <a:lnTo>
                    <a:pt x="69" y="609"/>
                  </a:lnTo>
                  <a:lnTo>
                    <a:pt x="65" y="619"/>
                  </a:lnTo>
                  <a:lnTo>
                    <a:pt x="54" y="637"/>
                  </a:lnTo>
                  <a:lnTo>
                    <a:pt x="54" y="637"/>
                  </a:lnTo>
                  <a:lnTo>
                    <a:pt x="56" y="654"/>
                  </a:lnTo>
                  <a:lnTo>
                    <a:pt x="59" y="671"/>
                  </a:lnTo>
                  <a:lnTo>
                    <a:pt x="63" y="688"/>
                  </a:lnTo>
                  <a:lnTo>
                    <a:pt x="63" y="688"/>
                  </a:lnTo>
                  <a:lnTo>
                    <a:pt x="69" y="703"/>
                  </a:lnTo>
                  <a:lnTo>
                    <a:pt x="73" y="708"/>
                  </a:lnTo>
                  <a:lnTo>
                    <a:pt x="76" y="710"/>
                  </a:lnTo>
                  <a:lnTo>
                    <a:pt x="76" y="710"/>
                  </a:lnTo>
                  <a:lnTo>
                    <a:pt x="95" y="708"/>
                  </a:lnTo>
                  <a:lnTo>
                    <a:pt x="110" y="703"/>
                  </a:lnTo>
                  <a:lnTo>
                    <a:pt x="119" y="699"/>
                  </a:lnTo>
                  <a:lnTo>
                    <a:pt x="127" y="693"/>
                  </a:lnTo>
                  <a:lnTo>
                    <a:pt x="132" y="692"/>
                  </a:lnTo>
                  <a:lnTo>
                    <a:pt x="138" y="692"/>
                  </a:lnTo>
                  <a:lnTo>
                    <a:pt x="147" y="697"/>
                  </a:lnTo>
                  <a:lnTo>
                    <a:pt x="160" y="708"/>
                  </a:lnTo>
                  <a:lnTo>
                    <a:pt x="160" y="716"/>
                  </a:lnTo>
                  <a:lnTo>
                    <a:pt x="160" y="716"/>
                  </a:lnTo>
                  <a:lnTo>
                    <a:pt x="160" y="725"/>
                  </a:lnTo>
                  <a:lnTo>
                    <a:pt x="157" y="731"/>
                  </a:lnTo>
                  <a:lnTo>
                    <a:pt x="153" y="735"/>
                  </a:lnTo>
                  <a:lnTo>
                    <a:pt x="147" y="738"/>
                  </a:lnTo>
                  <a:lnTo>
                    <a:pt x="142" y="742"/>
                  </a:lnTo>
                  <a:lnTo>
                    <a:pt x="134" y="748"/>
                  </a:lnTo>
                  <a:lnTo>
                    <a:pt x="129" y="755"/>
                  </a:lnTo>
                  <a:lnTo>
                    <a:pt x="123" y="768"/>
                  </a:lnTo>
                  <a:lnTo>
                    <a:pt x="123" y="768"/>
                  </a:lnTo>
                  <a:lnTo>
                    <a:pt x="117" y="778"/>
                  </a:lnTo>
                  <a:lnTo>
                    <a:pt x="108" y="789"/>
                  </a:lnTo>
                  <a:lnTo>
                    <a:pt x="95" y="802"/>
                  </a:lnTo>
                  <a:lnTo>
                    <a:pt x="95" y="802"/>
                  </a:lnTo>
                  <a:lnTo>
                    <a:pt x="97" y="806"/>
                  </a:lnTo>
                  <a:lnTo>
                    <a:pt x="99" y="807"/>
                  </a:lnTo>
                  <a:lnTo>
                    <a:pt x="106" y="811"/>
                  </a:lnTo>
                  <a:lnTo>
                    <a:pt x="114" y="813"/>
                  </a:lnTo>
                  <a:lnTo>
                    <a:pt x="125" y="813"/>
                  </a:lnTo>
                  <a:lnTo>
                    <a:pt x="144" y="811"/>
                  </a:lnTo>
                  <a:lnTo>
                    <a:pt x="158" y="809"/>
                  </a:lnTo>
                  <a:lnTo>
                    <a:pt x="158" y="809"/>
                  </a:lnTo>
                  <a:lnTo>
                    <a:pt x="172" y="807"/>
                  </a:lnTo>
                  <a:lnTo>
                    <a:pt x="181" y="804"/>
                  </a:lnTo>
                  <a:lnTo>
                    <a:pt x="187" y="800"/>
                  </a:lnTo>
                  <a:lnTo>
                    <a:pt x="192" y="798"/>
                  </a:lnTo>
                  <a:lnTo>
                    <a:pt x="198" y="791"/>
                  </a:lnTo>
                  <a:lnTo>
                    <a:pt x="201" y="789"/>
                  </a:lnTo>
                  <a:lnTo>
                    <a:pt x="207" y="787"/>
                  </a:lnTo>
                  <a:lnTo>
                    <a:pt x="207" y="787"/>
                  </a:lnTo>
                  <a:lnTo>
                    <a:pt x="216" y="787"/>
                  </a:lnTo>
                  <a:lnTo>
                    <a:pt x="224" y="785"/>
                  </a:lnTo>
                  <a:lnTo>
                    <a:pt x="237" y="779"/>
                  </a:lnTo>
                  <a:lnTo>
                    <a:pt x="248" y="776"/>
                  </a:lnTo>
                  <a:lnTo>
                    <a:pt x="258" y="772"/>
                  </a:lnTo>
                  <a:lnTo>
                    <a:pt x="258" y="772"/>
                  </a:lnTo>
                  <a:lnTo>
                    <a:pt x="278" y="792"/>
                  </a:lnTo>
                  <a:lnTo>
                    <a:pt x="291" y="804"/>
                  </a:lnTo>
                  <a:lnTo>
                    <a:pt x="301" y="807"/>
                  </a:lnTo>
                  <a:lnTo>
                    <a:pt x="301" y="807"/>
                  </a:lnTo>
                  <a:lnTo>
                    <a:pt x="306" y="807"/>
                  </a:lnTo>
                  <a:lnTo>
                    <a:pt x="308" y="806"/>
                  </a:lnTo>
                  <a:lnTo>
                    <a:pt x="310" y="802"/>
                  </a:lnTo>
                  <a:lnTo>
                    <a:pt x="308" y="796"/>
                  </a:lnTo>
                  <a:lnTo>
                    <a:pt x="304" y="789"/>
                  </a:lnTo>
                  <a:lnTo>
                    <a:pt x="302" y="783"/>
                  </a:lnTo>
                  <a:lnTo>
                    <a:pt x="302" y="783"/>
                  </a:lnTo>
                  <a:lnTo>
                    <a:pt x="301" y="768"/>
                  </a:lnTo>
                  <a:lnTo>
                    <a:pt x="302" y="759"/>
                  </a:lnTo>
                  <a:lnTo>
                    <a:pt x="308" y="753"/>
                  </a:lnTo>
                  <a:lnTo>
                    <a:pt x="315" y="749"/>
                  </a:lnTo>
                  <a:lnTo>
                    <a:pt x="315" y="749"/>
                  </a:lnTo>
                  <a:lnTo>
                    <a:pt x="317" y="712"/>
                  </a:lnTo>
                  <a:lnTo>
                    <a:pt x="319" y="697"/>
                  </a:lnTo>
                  <a:lnTo>
                    <a:pt x="325" y="684"/>
                  </a:lnTo>
                  <a:lnTo>
                    <a:pt x="330" y="654"/>
                  </a:lnTo>
                  <a:lnTo>
                    <a:pt x="330" y="654"/>
                  </a:lnTo>
                  <a:lnTo>
                    <a:pt x="334" y="639"/>
                  </a:lnTo>
                  <a:lnTo>
                    <a:pt x="338" y="624"/>
                  </a:lnTo>
                  <a:lnTo>
                    <a:pt x="344" y="613"/>
                  </a:lnTo>
                  <a:lnTo>
                    <a:pt x="349" y="606"/>
                  </a:lnTo>
                  <a:lnTo>
                    <a:pt x="355" y="598"/>
                  </a:lnTo>
                  <a:lnTo>
                    <a:pt x="360" y="593"/>
                  </a:lnTo>
                  <a:lnTo>
                    <a:pt x="370" y="585"/>
                  </a:lnTo>
                  <a:lnTo>
                    <a:pt x="379" y="579"/>
                  </a:lnTo>
                  <a:lnTo>
                    <a:pt x="385" y="576"/>
                  </a:lnTo>
                  <a:lnTo>
                    <a:pt x="385" y="574"/>
                  </a:lnTo>
                  <a:lnTo>
                    <a:pt x="385" y="572"/>
                  </a:lnTo>
                  <a:lnTo>
                    <a:pt x="381" y="565"/>
                  </a:lnTo>
                  <a:lnTo>
                    <a:pt x="381" y="565"/>
                  </a:lnTo>
                  <a:lnTo>
                    <a:pt x="375" y="551"/>
                  </a:lnTo>
                  <a:lnTo>
                    <a:pt x="373" y="548"/>
                  </a:lnTo>
                  <a:lnTo>
                    <a:pt x="375" y="544"/>
                  </a:lnTo>
                  <a:lnTo>
                    <a:pt x="377" y="538"/>
                  </a:lnTo>
                  <a:lnTo>
                    <a:pt x="385" y="535"/>
                  </a:lnTo>
                  <a:lnTo>
                    <a:pt x="390" y="531"/>
                  </a:lnTo>
                  <a:lnTo>
                    <a:pt x="396" y="527"/>
                  </a:lnTo>
                  <a:lnTo>
                    <a:pt x="400" y="523"/>
                  </a:lnTo>
                  <a:lnTo>
                    <a:pt x="400" y="520"/>
                  </a:lnTo>
                  <a:lnTo>
                    <a:pt x="398" y="516"/>
                  </a:lnTo>
                  <a:lnTo>
                    <a:pt x="398" y="516"/>
                  </a:lnTo>
                  <a:lnTo>
                    <a:pt x="388" y="492"/>
                  </a:lnTo>
                  <a:lnTo>
                    <a:pt x="385" y="475"/>
                  </a:lnTo>
                  <a:lnTo>
                    <a:pt x="386" y="469"/>
                  </a:lnTo>
                  <a:lnTo>
                    <a:pt x="386" y="464"/>
                  </a:lnTo>
                  <a:lnTo>
                    <a:pt x="388" y="458"/>
                  </a:lnTo>
                  <a:lnTo>
                    <a:pt x="392" y="454"/>
                  </a:lnTo>
                  <a:lnTo>
                    <a:pt x="400" y="449"/>
                  </a:lnTo>
                  <a:lnTo>
                    <a:pt x="409" y="443"/>
                  </a:lnTo>
                  <a:lnTo>
                    <a:pt x="420" y="439"/>
                  </a:lnTo>
                  <a:lnTo>
                    <a:pt x="431" y="434"/>
                  </a:lnTo>
                  <a:lnTo>
                    <a:pt x="431" y="434"/>
                  </a:lnTo>
                  <a:lnTo>
                    <a:pt x="443" y="426"/>
                  </a:lnTo>
                  <a:lnTo>
                    <a:pt x="450" y="417"/>
                  </a:lnTo>
                  <a:lnTo>
                    <a:pt x="454" y="409"/>
                  </a:lnTo>
                  <a:lnTo>
                    <a:pt x="456" y="400"/>
                  </a:lnTo>
                  <a:lnTo>
                    <a:pt x="456" y="393"/>
                  </a:lnTo>
                  <a:lnTo>
                    <a:pt x="454" y="387"/>
                  </a:lnTo>
                  <a:lnTo>
                    <a:pt x="452" y="381"/>
                  </a:lnTo>
                  <a:lnTo>
                    <a:pt x="452" y="381"/>
                  </a:lnTo>
                  <a:lnTo>
                    <a:pt x="450" y="370"/>
                  </a:lnTo>
                  <a:lnTo>
                    <a:pt x="448" y="361"/>
                  </a:lnTo>
                  <a:lnTo>
                    <a:pt x="443" y="350"/>
                  </a:lnTo>
                  <a:lnTo>
                    <a:pt x="443" y="346"/>
                  </a:lnTo>
                  <a:lnTo>
                    <a:pt x="444" y="344"/>
                  </a:lnTo>
                  <a:lnTo>
                    <a:pt x="454" y="340"/>
                  </a:lnTo>
                  <a:lnTo>
                    <a:pt x="454" y="340"/>
                  </a:lnTo>
                  <a:lnTo>
                    <a:pt x="457" y="337"/>
                  </a:lnTo>
                  <a:lnTo>
                    <a:pt x="465" y="329"/>
                  </a:lnTo>
                  <a:lnTo>
                    <a:pt x="478" y="310"/>
                  </a:lnTo>
                  <a:lnTo>
                    <a:pt x="486" y="301"/>
                  </a:lnTo>
                  <a:lnTo>
                    <a:pt x="493" y="295"/>
                  </a:lnTo>
                  <a:lnTo>
                    <a:pt x="497" y="294"/>
                  </a:lnTo>
                  <a:lnTo>
                    <a:pt x="499" y="294"/>
                  </a:lnTo>
                  <a:lnTo>
                    <a:pt x="502" y="295"/>
                  </a:lnTo>
                  <a:lnTo>
                    <a:pt x="506" y="297"/>
                  </a:lnTo>
                  <a:lnTo>
                    <a:pt x="506" y="297"/>
                  </a:lnTo>
                  <a:lnTo>
                    <a:pt x="515" y="307"/>
                  </a:lnTo>
                  <a:lnTo>
                    <a:pt x="521" y="310"/>
                  </a:lnTo>
                  <a:lnTo>
                    <a:pt x="525" y="310"/>
                  </a:lnTo>
                  <a:lnTo>
                    <a:pt x="529" y="307"/>
                  </a:lnTo>
                  <a:lnTo>
                    <a:pt x="538" y="295"/>
                  </a:lnTo>
                  <a:lnTo>
                    <a:pt x="545" y="290"/>
                  </a:lnTo>
                  <a:lnTo>
                    <a:pt x="557" y="286"/>
                  </a:lnTo>
                  <a:lnTo>
                    <a:pt x="557" y="286"/>
                  </a:lnTo>
                  <a:lnTo>
                    <a:pt x="564" y="284"/>
                  </a:lnTo>
                  <a:lnTo>
                    <a:pt x="570" y="280"/>
                  </a:lnTo>
                  <a:lnTo>
                    <a:pt x="573" y="279"/>
                  </a:lnTo>
                  <a:lnTo>
                    <a:pt x="575" y="277"/>
                  </a:lnTo>
                  <a:lnTo>
                    <a:pt x="577" y="273"/>
                  </a:lnTo>
                  <a:lnTo>
                    <a:pt x="579" y="271"/>
                  </a:lnTo>
                  <a:lnTo>
                    <a:pt x="583" y="271"/>
                  </a:lnTo>
                  <a:lnTo>
                    <a:pt x="583" y="271"/>
                  </a:lnTo>
                  <a:lnTo>
                    <a:pt x="594" y="269"/>
                  </a:lnTo>
                  <a:lnTo>
                    <a:pt x="598" y="267"/>
                  </a:lnTo>
                  <a:lnTo>
                    <a:pt x="600" y="266"/>
                  </a:lnTo>
                  <a:lnTo>
                    <a:pt x="598" y="262"/>
                  </a:lnTo>
                  <a:lnTo>
                    <a:pt x="598" y="256"/>
                  </a:lnTo>
                  <a:lnTo>
                    <a:pt x="598" y="251"/>
                  </a:lnTo>
                  <a:lnTo>
                    <a:pt x="603" y="245"/>
                  </a:lnTo>
                  <a:lnTo>
                    <a:pt x="616" y="236"/>
                  </a:lnTo>
                  <a:lnTo>
                    <a:pt x="616" y="236"/>
                  </a:lnTo>
                  <a:lnTo>
                    <a:pt x="613" y="232"/>
                  </a:lnTo>
                  <a:lnTo>
                    <a:pt x="611" y="228"/>
                  </a:lnTo>
                  <a:lnTo>
                    <a:pt x="607" y="211"/>
                  </a:lnTo>
                  <a:lnTo>
                    <a:pt x="607" y="211"/>
                  </a:lnTo>
                  <a:lnTo>
                    <a:pt x="605" y="200"/>
                  </a:lnTo>
                  <a:lnTo>
                    <a:pt x="603" y="191"/>
                  </a:lnTo>
                  <a:lnTo>
                    <a:pt x="594" y="174"/>
                  </a:lnTo>
                  <a:lnTo>
                    <a:pt x="583" y="161"/>
                  </a:lnTo>
                  <a:lnTo>
                    <a:pt x="571" y="148"/>
                  </a:lnTo>
                  <a:lnTo>
                    <a:pt x="560" y="137"/>
                  </a:lnTo>
                  <a:lnTo>
                    <a:pt x="551" y="125"/>
                  </a:lnTo>
                  <a:lnTo>
                    <a:pt x="547" y="120"/>
                  </a:lnTo>
                  <a:lnTo>
                    <a:pt x="545" y="116"/>
                  </a:lnTo>
                  <a:lnTo>
                    <a:pt x="545" y="110"/>
                  </a:lnTo>
                  <a:lnTo>
                    <a:pt x="547" y="105"/>
                  </a:lnTo>
                  <a:lnTo>
                    <a:pt x="547" y="105"/>
                  </a:lnTo>
                  <a:lnTo>
                    <a:pt x="555" y="96"/>
                  </a:lnTo>
                  <a:lnTo>
                    <a:pt x="560" y="86"/>
                  </a:lnTo>
                  <a:lnTo>
                    <a:pt x="562" y="82"/>
                  </a:lnTo>
                  <a:lnTo>
                    <a:pt x="562" y="77"/>
                  </a:lnTo>
                  <a:lnTo>
                    <a:pt x="562" y="77"/>
                  </a:lnTo>
                  <a:lnTo>
                    <a:pt x="558" y="71"/>
                  </a:lnTo>
                  <a:lnTo>
                    <a:pt x="553" y="66"/>
                  </a:lnTo>
                  <a:lnTo>
                    <a:pt x="540" y="62"/>
                  </a:lnTo>
                  <a:lnTo>
                    <a:pt x="519" y="62"/>
                  </a:lnTo>
                  <a:lnTo>
                    <a:pt x="519" y="62"/>
                  </a:lnTo>
                  <a:lnTo>
                    <a:pt x="497" y="60"/>
                  </a:lnTo>
                  <a:lnTo>
                    <a:pt x="487" y="58"/>
                  </a:lnTo>
                  <a:lnTo>
                    <a:pt x="482" y="56"/>
                  </a:lnTo>
                  <a:lnTo>
                    <a:pt x="476" y="53"/>
                  </a:lnTo>
                  <a:lnTo>
                    <a:pt x="474" y="51"/>
                  </a:lnTo>
                  <a:lnTo>
                    <a:pt x="471" y="43"/>
                  </a:lnTo>
                  <a:lnTo>
                    <a:pt x="469" y="36"/>
                  </a:lnTo>
                  <a:lnTo>
                    <a:pt x="467" y="30"/>
                  </a:lnTo>
                  <a:lnTo>
                    <a:pt x="465" y="28"/>
                  </a:lnTo>
                  <a:lnTo>
                    <a:pt x="461" y="26"/>
                  </a:lnTo>
                  <a:lnTo>
                    <a:pt x="452" y="25"/>
                  </a:lnTo>
                  <a:lnTo>
                    <a:pt x="452" y="25"/>
                  </a:lnTo>
                  <a:lnTo>
                    <a:pt x="446" y="25"/>
                  </a:lnTo>
                  <a:lnTo>
                    <a:pt x="444" y="25"/>
                  </a:lnTo>
                  <a:lnTo>
                    <a:pt x="444" y="23"/>
                  </a:lnTo>
                  <a:lnTo>
                    <a:pt x="443" y="19"/>
                  </a:lnTo>
                  <a:lnTo>
                    <a:pt x="443" y="19"/>
                  </a:lnTo>
                  <a:lnTo>
                    <a:pt x="439" y="15"/>
                  </a:lnTo>
                  <a:lnTo>
                    <a:pt x="435" y="15"/>
                  </a:lnTo>
                  <a:lnTo>
                    <a:pt x="431" y="15"/>
                  </a:lnTo>
                  <a:lnTo>
                    <a:pt x="428" y="19"/>
                  </a:lnTo>
                  <a:lnTo>
                    <a:pt x="426" y="21"/>
                  </a:lnTo>
                  <a:lnTo>
                    <a:pt x="424" y="25"/>
                  </a:lnTo>
                  <a:lnTo>
                    <a:pt x="422" y="28"/>
                  </a:lnTo>
                  <a:lnTo>
                    <a:pt x="424" y="30"/>
                  </a:lnTo>
                  <a:lnTo>
                    <a:pt x="424" y="30"/>
                  </a:lnTo>
                  <a:lnTo>
                    <a:pt x="426" y="34"/>
                  </a:lnTo>
                  <a:lnTo>
                    <a:pt x="426" y="38"/>
                  </a:lnTo>
                  <a:lnTo>
                    <a:pt x="420" y="45"/>
                  </a:lnTo>
                  <a:lnTo>
                    <a:pt x="415" y="53"/>
                  </a:lnTo>
                  <a:lnTo>
                    <a:pt x="405" y="60"/>
                  </a:lnTo>
                  <a:lnTo>
                    <a:pt x="394" y="66"/>
                  </a:lnTo>
                  <a:lnTo>
                    <a:pt x="385" y="67"/>
                  </a:lnTo>
                  <a:lnTo>
                    <a:pt x="381" y="67"/>
                  </a:lnTo>
                  <a:lnTo>
                    <a:pt x="377" y="66"/>
                  </a:lnTo>
                  <a:lnTo>
                    <a:pt x="375" y="64"/>
                  </a:lnTo>
                  <a:lnTo>
                    <a:pt x="373" y="60"/>
                  </a:lnTo>
                  <a:lnTo>
                    <a:pt x="373" y="60"/>
                  </a:lnTo>
                  <a:lnTo>
                    <a:pt x="373" y="54"/>
                  </a:lnTo>
                  <a:lnTo>
                    <a:pt x="373" y="49"/>
                  </a:lnTo>
                  <a:lnTo>
                    <a:pt x="379" y="39"/>
                  </a:lnTo>
                  <a:lnTo>
                    <a:pt x="385" y="32"/>
                  </a:lnTo>
                  <a:lnTo>
                    <a:pt x="392" y="26"/>
                  </a:lnTo>
                  <a:lnTo>
                    <a:pt x="396" y="21"/>
                  </a:lnTo>
                  <a:lnTo>
                    <a:pt x="398" y="17"/>
                  </a:lnTo>
                  <a:lnTo>
                    <a:pt x="398" y="15"/>
                  </a:lnTo>
                  <a:lnTo>
                    <a:pt x="396" y="11"/>
                  </a:lnTo>
                  <a:lnTo>
                    <a:pt x="392" y="8"/>
                  </a:lnTo>
                  <a:lnTo>
                    <a:pt x="377" y="2"/>
                  </a:lnTo>
                  <a:lnTo>
                    <a:pt x="377" y="2"/>
                  </a:lnTo>
                  <a:lnTo>
                    <a:pt x="373" y="0"/>
                  </a:lnTo>
                  <a:lnTo>
                    <a:pt x="370" y="2"/>
                  </a:lnTo>
                  <a:lnTo>
                    <a:pt x="362" y="6"/>
                  </a:lnTo>
                  <a:lnTo>
                    <a:pt x="344" y="23"/>
                  </a:lnTo>
                  <a:lnTo>
                    <a:pt x="334" y="32"/>
                  </a:lnTo>
                  <a:lnTo>
                    <a:pt x="325" y="38"/>
                  </a:lnTo>
                  <a:lnTo>
                    <a:pt x="317" y="39"/>
                  </a:lnTo>
                  <a:lnTo>
                    <a:pt x="314" y="39"/>
                  </a:lnTo>
                  <a:lnTo>
                    <a:pt x="310" y="38"/>
                  </a:lnTo>
                  <a:lnTo>
                    <a:pt x="310" y="38"/>
                  </a:lnTo>
                  <a:lnTo>
                    <a:pt x="291" y="51"/>
                  </a:lnTo>
                  <a:lnTo>
                    <a:pt x="286" y="53"/>
                  </a:lnTo>
                  <a:lnTo>
                    <a:pt x="280" y="54"/>
                  </a:lnTo>
                  <a:lnTo>
                    <a:pt x="274" y="54"/>
                  </a:lnTo>
                  <a:lnTo>
                    <a:pt x="271" y="53"/>
                  </a:lnTo>
                  <a:lnTo>
                    <a:pt x="265" y="49"/>
                  </a:lnTo>
                  <a:lnTo>
                    <a:pt x="258" y="43"/>
                  </a:lnTo>
                  <a:lnTo>
                    <a:pt x="252" y="38"/>
                  </a:lnTo>
                  <a:lnTo>
                    <a:pt x="248" y="38"/>
                  </a:lnTo>
                  <a:lnTo>
                    <a:pt x="244" y="38"/>
                  </a:lnTo>
                  <a:lnTo>
                    <a:pt x="239" y="38"/>
                  </a:lnTo>
                  <a:lnTo>
                    <a:pt x="231" y="41"/>
                  </a:lnTo>
                  <a:lnTo>
                    <a:pt x="231" y="41"/>
                  </a:lnTo>
                  <a:lnTo>
                    <a:pt x="228" y="45"/>
                  </a:lnTo>
                  <a:lnTo>
                    <a:pt x="226" y="49"/>
                  </a:lnTo>
                  <a:lnTo>
                    <a:pt x="224" y="58"/>
                  </a:lnTo>
                  <a:lnTo>
                    <a:pt x="220" y="62"/>
                  </a:lnTo>
                  <a:lnTo>
                    <a:pt x="216" y="66"/>
                  </a:lnTo>
                  <a:lnTo>
                    <a:pt x="207" y="67"/>
                  </a:lnTo>
                  <a:lnTo>
                    <a:pt x="196" y="69"/>
                  </a:lnTo>
                  <a:lnTo>
                    <a:pt x="196" y="69"/>
                  </a:lnTo>
                  <a:lnTo>
                    <a:pt x="192" y="71"/>
                  </a:lnTo>
                  <a:lnTo>
                    <a:pt x="188" y="73"/>
                  </a:lnTo>
                  <a:lnTo>
                    <a:pt x="188" y="82"/>
                  </a:lnTo>
                  <a:lnTo>
                    <a:pt x="187" y="86"/>
                  </a:lnTo>
                  <a:lnTo>
                    <a:pt x="187" y="88"/>
                  </a:lnTo>
                  <a:lnTo>
                    <a:pt x="185" y="88"/>
                  </a:lnTo>
                  <a:lnTo>
                    <a:pt x="181" y="86"/>
                  </a:lnTo>
                  <a:lnTo>
                    <a:pt x="181" y="86"/>
                  </a:lnTo>
                  <a:lnTo>
                    <a:pt x="173" y="81"/>
                  </a:lnTo>
                  <a:lnTo>
                    <a:pt x="172" y="81"/>
                  </a:lnTo>
                  <a:lnTo>
                    <a:pt x="168" y="81"/>
                  </a:lnTo>
                  <a:lnTo>
                    <a:pt x="164" y="84"/>
                  </a:lnTo>
                  <a:lnTo>
                    <a:pt x="158" y="92"/>
                  </a:lnTo>
                  <a:lnTo>
                    <a:pt x="151" y="99"/>
                  </a:lnTo>
                  <a:lnTo>
                    <a:pt x="144" y="105"/>
                  </a:lnTo>
                  <a:lnTo>
                    <a:pt x="132" y="110"/>
                  </a:lnTo>
                  <a:lnTo>
                    <a:pt x="127" y="112"/>
                  </a:lnTo>
                  <a:lnTo>
                    <a:pt x="119" y="112"/>
                  </a:lnTo>
                  <a:lnTo>
                    <a:pt x="119" y="112"/>
                  </a:lnTo>
                  <a:lnTo>
                    <a:pt x="99" y="120"/>
                  </a:lnTo>
                  <a:lnTo>
                    <a:pt x="76" y="127"/>
                  </a:lnTo>
                  <a:lnTo>
                    <a:pt x="76" y="127"/>
                  </a:lnTo>
                  <a:lnTo>
                    <a:pt x="71" y="133"/>
                  </a:lnTo>
                  <a:lnTo>
                    <a:pt x="63" y="138"/>
                  </a:lnTo>
                  <a:lnTo>
                    <a:pt x="50" y="146"/>
                  </a:lnTo>
                  <a:lnTo>
                    <a:pt x="46" y="150"/>
                  </a:lnTo>
                  <a:lnTo>
                    <a:pt x="43" y="155"/>
                  </a:lnTo>
                  <a:lnTo>
                    <a:pt x="39" y="163"/>
                  </a:lnTo>
                  <a:lnTo>
                    <a:pt x="39" y="172"/>
                  </a:lnTo>
                  <a:lnTo>
                    <a:pt x="39" y="172"/>
                  </a:lnTo>
                  <a:lnTo>
                    <a:pt x="48" y="180"/>
                  </a:lnTo>
                  <a:lnTo>
                    <a:pt x="56" y="189"/>
                  </a:lnTo>
                  <a:lnTo>
                    <a:pt x="61" y="202"/>
                  </a:lnTo>
                  <a:lnTo>
                    <a:pt x="65" y="215"/>
                  </a:lnTo>
                  <a:lnTo>
                    <a:pt x="65" y="21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5" name="Freeform 55">
              <a:extLst>
                <a:ext uri="{FF2B5EF4-FFF2-40B4-BE49-F238E27FC236}">
                  <a16:creationId xmlns:a16="http://schemas.microsoft.com/office/drawing/2014/main" id="{C1A9FAAF-D29D-4BF3-9B7B-7528CD5FF2CA}"/>
                </a:ext>
              </a:extLst>
            </p:cNvPr>
            <p:cNvSpPr>
              <a:spLocks/>
            </p:cNvSpPr>
            <p:nvPr/>
          </p:nvSpPr>
          <p:spPr bwMode="auto">
            <a:xfrm>
              <a:off x="5156964" y="5961693"/>
              <a:ext cx="12717" cy="14533"/>
            </a:xfrm>
            <a:custGeom>
              <a:avLst/>
              <a:gdLst/>
              <a:ahLst/>
              <a:cxnLst>
                <a:cxn ang="0">
                  <a:pos x="13" y="7"/>
                </a:cxn>
                <a:cxn ang="0">
                  <a:pos x="13" y="7"/>
                </a:cxn>
                <a:cxn ang="0">
                  <a:pos x="13" y="5"/>
                </a:cxn>
                <a:cxn ang="0">
                  <a:pos x="11" y="2"/>
                </a:cxn>
                <a:cxn ang="0">
                  <a:pos x="8" y="0"/>
                </a:cxn>
                <a:cxn ang="0">
                  <a:pos x="4" y="2"/>
                </a:cxn>
                <a:cxn ang="0">
                  <a:pos x="4" y="2"/>
                </a:cxn>
                <a:cxn ang="0">
                  <a:pos x="0" y="5"/>
                </a:cxn>
                <a:cxn ang="0">
                  <a:pos x="0" y="9"/>
                </a:cxn>
                <a:cxn ang="0">
                  <a:pos x="0" y="11"/>
                </a:cxn>
                <a:cxn ang="0">
                  <a:pos x="2" y="13"/>
                </a:cxn>
                <a:cxn ang="0">
                  <a:pos x="4" y="15"/>
                </a:cxn>
                <a:cxn ang="0">
                  <a:pos x="6" y="15"/>
                </a:cxn>
                <a:cxn ang="0">
                  <a:pos x="10" y="11"/>
                </a:cxn>
                <a:cxn ang="0">
                  <a:pos x="13" y="7"/>
                </a:cxn>
                <a:cxn ang="0">
                  <a:pos x="13" y="7"/>
                </a:cxn>
              </a:cxnLst>
              <a:rect l="0" t="0" r="r" b="b"/>
              <a:pathLst>
                <a:path w="13" h="15">
                  <a:moveTo>
                    <a:pt x="13" y="7"/>
                  </a:moveTo>
                  <a:lnTo>
                    <a:pt x="13" y="7"/>
                  </a:lnTo>
                  <a:lnTo>
                    <a:pt x="13" y="5"/>
                  </a:lnTo>
                  <a:lnTo>
                    <a:pt x="11" y="2"/>
                  </a:lnTo>
                  <a:lnTo>
                    <a:pt x="8" y="0"/>
                  </a:lnTo>
                  <a:lnTo>
                    <a:pt x="4" y="2"/>
                  </a:lnTo>
                  <a:lnTo>
                    <a:pt x="4" y="2"/>
                  </a:lnTo>
                  <a:lnTo>
                    <a:pt x="0" y="5"/>
                  </a:lnTo>
                  <a:lnTo>
                    <a:pt x="0" y="9"/>
                  </a:lnTo>
                  <a:lnTo>
                    <a:pt x="0" y="11"/>
                  </a:lnTo>
                  <a:lnTo>
                    <a:pt x="2" y="13"/>
                  </a:lnTo>
                  <a:lnTo>
                    <a:pt x="4" y="15"/>
                  </a:lnTo>
                  <a:lnTo>
                    <a:pt x="6" y="15"/>
                  </a:lnTo>
                  <a:lnTo>
                    <a:pt x="10" y="11"/>
                  </a:lnTo>
                  <a:lnTo>
                    <a:pt x="13" y="7"/>
                  </a:lnTo>
                  <a:lnTo>
                    <a:pt x="13" y="7"/>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Freeform 56">
              <a:extLst>
                <a:ext uri="{FF2B5EF4-FFF2-40B4-BE49-F238E27FC236}">
                  <a16:creationId xmlns:a16="http://schemas.microsoft.com/office/drawing/2014/main" id="{E5BD1FF5-AB24-4D1F-AD7C-11D8762EBDAA}"/>
                </a:ext>
              </a:extLst>
            </p:cNvPr>
            <p:cNvSpPr>
              <a:spLocks/>
            </p:cNvSpPr>
            <p:nvPr/>
          </p:nvSpPr>
          <p:spPr bwMode="auto">
            <a:xfrm>
              <a:off x="5173315" y="5987126"/>
              <a:ext cx="9084" cy="3633"/>
            </a:xfrm>
            <a:custGeom>
              <a:avLst/>
              <a:gdLst/>
              <a:ahLst/>
              <a:cxnLst>
                <a:cxn ang="0">
                  <a:pos x="0" y="4"/>
                </a:cxn>
                <a:cxn ang="0">
                  <a:pos x="0" y="4"/>
                </a:cxn>
                <a:cxn ang="0">
                  <a:pos x="6" y="6"/>
                </a:cxn>
                <a:cxn ang="0">
                  <a:pos x="8" y="6"/>
                </a:cxn>
                <a:cxn ang="0">
                  <a:pos x="9" y="4"/>
                </a:cxn>
                <a:cxn ang="0">
                  <a:pos x="11" y="4"/>
                </a:cxn>
                <a:cxn ang="0">
                  <a:pos x="9" y="2"/>
                </a:cxn>
                <a:cxn ang="0">
                  <a:pos x="8" y="0"/>
                </a:cxn>
                <a:cxn ang="0">
                  <a:pos x="6" y="0"/>
                </a:cxn>
                <a:cxn ang="0">
                  <a:pos x="0" y="0"/>
                </a:cxn>
                <a:cxn ang="0">
                  <a:pos x="0" y="4"/>
                </a:cxn>
              </a:cxnLst>
              <a:rect l="0" t="0" r="r" b="b"/>
              <a:pathLst>
                <a:path w="11" h="6">
                  <a:moveTo>
                    <a:pt x="0" y="4"/>
                  </a:moveTo>
                  <a:lnTo>
                    <a:pt x="0" y="4"/>
                  </a:lnTo>
                  <a:lnTo>
                    <a:pt x="6" y="6"/>
                  </a:lnTo>
                  <a:lnTo>
                    <a:pt x="8" y="6"/>
                  </a:lnTo>
                  <a:lnTo>
                    <a:pt x="9" y="4"/>
                  </a:lnTo>
                  <a:lnTo>
                    <a:pt x="11" y="4"/>
                  </a:lnTo>
                  <a:lnTo>
                    <a:pt x="9" y="2"/>
                  </a:lnTo>
                  <a:lnTo>
                    <a:pt x="8" y="0"/>
                  </a:lnTo>
                  <a:lnTo>
                    <a:pt x="6" y="0"/>
                  </a:lnTo>
                  <a:lnTo>
                    <a:pt x="0" y="0"/>
                  </a:lnTo>
                  <a:lnTo>
                    <a:pt x="0" y="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Freeform 57">
              <a:extLst>
                <a:ext uri="{FF2B5EF4-FFF2-40B4-BE49-F238E27FC236}">
                  <a16:creationId xmlns:a16="http://schemas.microsoft.com/office/drawing/2014/main" id="{C24C6A7D-AF80-4132-9CEF-AB6DE3F2CC2E}"/>
                </a:ext>
              </a:extLst>
            </p:cNvPr>
            <p:cNvSpPr>
              <a:spLocks/>
            </p:cNvSpPr>
            <p:nvPr/>
          </p:nvSpPr>
          <p:spPr bwMode="auto">
            <a:xfrm>
              <a:off x="5135164" y="4779046"/>
              <a:ext cx="643098" cy="713948"/>
            </a:xfrm>
            <a:custGeom>
              <a:avLst/>
              <a:gdLst/>
              <a:ahLst/>
              <a:cxnLst>
                <a:cxn ang="0">
                  <a:pos x="686" y="584"/>
                </a:cxn>
                <a:cxn ang="0">
                  <a:pos x="706" y="545"/>
                </a:cxn>
                <a:cxn ang="0">
                  <a:pos x="675" y="554"/>
                </a:cxn>
                <a:cxn ang="0">
                  <a:pos x="684" y="498"/>
                </a:cxn>
                <a:cxn ang="0">
                  <a:pos x="658" y="469"/>
                </a:cxn>
                <a:cxn ang="0">
                  <a:pos x="650" y="416"/>
                </a:cxn>
                <a:cxn ang="0">
                  <a:pos x="633" y="388"/>
                </a:cxn>
                <a:cxn ang="0">
                  <a:pos x="628" y="336"/>
                </a:cxn>
                <a:cxn ang="0">
                  <a:pos x="663" y="287"/>
                </a:cxn>
                <a:cxn ang="0">
                  <a:pos x="691" y="242"/>
                </a:cxn>
                <a:cxn ang="0">
                  <a:pos x="673" y="164"/>
                </a:cxn>
                <a:cxn ang="0">
                  <a:pos x="620" y="123"/>
                </a:cxn>
                <a:cxn ang="0">
                  <a:pos x="607" y="52"/>
                </a:cxn>
                <a:cxn ang="0">
                  <a:pos x="594" y="35"/>
                </a:cxn>
                <a:cxn ang="0">
                  <a:pos x="534" y="87"/>
                </a:cxn>
                <a:cxn ang="0">
                  <a:pos x="531" y="39"/>
                </a:cxn>
                <a:cxn ang="0">
                  <a:pos x="495" y="61"/>
                </a:cxn>
                <a:cxn ang="0">
                  <a:pos x="447" y="72"/>
                </a:cxn>
                <a:cxn ang="0">
                  <a:pos x="362" y="28"/>
                </a:cxn>
                <a:cxn ang="0">
                  <a:pos x="284" y="5"/>
                </a:cxn>
                <a:cxn ang="0">
                  <a:pos x="235" y="7"/>
                </a:cxn>
                <a:cxn ang="0">
                  <a:pos x="235" y="44"/>
                </a:cxn>
                <a:cxn ang="0">
                  <a:pos x="189" y="56"/>
                </a:cxn>
                <a:cxn ang="0">
                  <a:pos x="120" y="63"/>
                </a:cxn>
                <a:cxn ang="0">
                  <a:pos x="62" y="134"/>
                </a:cxn>
                <a:cxn ang="0">
                  <a:pos x="58" y="175"/>
                </a:cxn>
                <a:cxn ang="0">
                  <a:pos x="63" y="198"/>
                </a:cxn>
                <a:cxn ang="0">
                  <a:pos x="60" y="229"/>
                </a:cxn>
                <a:cxn ang="0">
                  <a:pos x="75" y="274"/>
                </a:cxn>
                <a:cxn ang="0">
                  <a:pos x="67" y="328"/>
                </a:cxn>
                <a:cxn ang="0">
                  <a:pos x="73" y="379"/>
                </a:cxn>
                <a:cxn ang="0">
                  <a:pos x="2" y="437"/>
                </a:cxn>
                <a:cxn ang="0">
                  <a:pos x="73" y="427"/>
                </a:cxn>
                <a:cxn ang="0">
                  <a:pos x="95" y="452"/>
                </a:cxn>
                <a:cxn ang="0">
                  <a:pos x="82" y="483"/>
                </a:cxn>
                <a:cxn ang="0">
                  <a:pos x="75" y="525"/>
                </a:cxn>
                <a:cxn ang="0">
                  <a:pos x="88" y="562"/>
                </a:cxn>
                <a:cxn ang="0">
                  <a:pos x="118" y="597"/>
                </a:cxn>
                <a:cxn ang="0">
                  <a:pos x="136" y="584"/>
                </a:cxn>
                <a:cxn ang="0">
                  <a:pos x="170" y="581"/>
                </a:cxn>
                <a:cxn ang="0">
                  <a:pos x="219" y="564"/>
                </a:cxn>
                <a:cxn ang="0">
                  <a:pos x="267" y="547"/>
                </a:cxn>
                <a:cxn ang="0">
                  <a:pos x="319" y="568"/>
                </a:cxn>
                <a:cxn ang="0">
                  <a:pos x="338" y="599"/>
                </a:cxn>
                <a:cxn ang="0">
                  <a:pos x="327" y="657"/>
                </a:cxn>
                <a:cxn ang="0">
                  <a:pos x="284" y="738"/>
                </a:cxn>
                <a:cxn ang="0">
                  <a:pos x="334" y="713"/>
                </a:cxn>
                <a:cxn ang="0">
                  <a:pos x="349" y="767"/>
                </a:cxn>
                <a:cxn ang="0">
                  <a:pos x="379" y="773"/>
                </a:cxn>
                <a:cxn ang="0">
                  <a:pos x="428" y="767"/>
                </a:cxn>
                <a:cxn ang="0">
                  <a:pos x="448" y="710"/>
                </a:cxn>
                <a:cxn ang="0">
                  <a:pos x="521" y="736"/>
                </a:cxn>
                <a:cxn ang="0">
                  <a:pos x="551" y="728"/>
                </a:cxn>
                <a:cxn ang="0">
                  <a:pos x="538" y="689"/>
                </a:cxn>
                <a:cxn ang="0">
                  <a:pos x="581" y="659"/>
                </a:cxn>
                <a:cxn ang="0">
                  <a:pos x="648" y="678"/>
                </a:cxn>
              </a:cxnLst>
              <a:rect l="0" t="0" r="r" b="b"/>
              <a:pathLst>
                <a:path w="708" h="784">
                  <a:moveTo>
                    <a:pt x="680" y="663"/>
                  </a:moveTo>
                  <a:lnTo>
                    <a:pt x="680" y="663"/>
                  </a:lnTo>
                  <a:lnTo>
                    <a:pt x="676" y="646"/>
                  </a:lnTo>
                  <a:lnTo>
                    <a:pt x="673" y="629"/>
                  </a:lnTo>
                  <a:lnTo>
                    <a:pt x="671" y="612"/>
                  </a:lnTo>
                  <a:lnTo>
                    <a:pt x="671" y="612"/>
                  </a:lnTo>
                  <a:lnTo>
                    <a:pt x="682" y="594"/>
                  </a:lnTo>
                  <a:lnTo>
                    <a:pt x="686" y="584"/>
                  </a:lnTo>
                  <a:lnTo>
                    <a:pt x="688" y="571"/>
                  </a:lnTo>
                  <a:lnTo>
                    <a:pt x="688" y="571"/>
                  </a:lnTo>
                  <a:lnTo>
                    <a:pt x="691" y="566"/>
                  </a:lnTo>
                  <a:lnTo>
                    <a:pt x="699" y="558"/>
                  </a:lnTo>
                  <a:lnTo>
                    <a:pt x="706" y="551"/>
                  </a:lnTo>
                  <a:lnTo>
                    <a:pt x="708" y="549"/>
                  </a:lnTo>
                  <a:lnTo>
                    <a:pt x="706" y="545"/>
                  </a:lnTo>
                  <a:lnTo>
                    <a:pt x="706" y="545"/>
                  </a:lnTo>
                  <a:lnTo>
                    <a:pt x="704" y="545"/>
                  </a:lnTo>
                  <a:lnTo>
                    <a:pt x="701" y="549"/>
                  </a:lnTo>
                  <a:lnTo>
                    <a:pt x="693" y="556"/>
                  </a:lnTo>
                  <a:lnTo>
                    <a:pt x="688" y="558"/>
                  </a:lnTo>
                  <a:lnTo>
                    <a:pt x="684" y="560"/>
                  </a:lnTo>
                  <a:lnTo>
                    <a:pt x="678" y="558"/>
                  </a:lnTo>
                  <a:lnTo>
                    <a:pt x="675" y="554"/>
                  </a:lnTo>
                  <a:lnTo>
                    <a:pt x="675" y="554"/>
                  </a:lnTo>
                  <a:lnTo>
                    <a:pt x="676" y="549"/>
                  </a:lnTo>
                  <a:lnTo>
                    <a:pt x="680" y="538"/>
                  </a:lnTo>
                  <a:lnTo>
                    <a:pt x="684" y="526"/>
                  </a:lnTo>
                  <a:lnTo>
                    <a:pt x="686" y="521"/>
                  </a:lnTo>
                  <a:lnTo>
                    <a:pt x="686" y="517"/>
                  </a:lnTo>
                  <a:lnTo>
                    <a:pt x="686" y="517"/>
                  </a:lnTo>
                  <a:lnTo>
                    <a:pt x="684" y="506"/>
                  </a:lnTo>
                  <a:lnTo>
                    <a:pt x="684" y="498"/>
                  </a:lnTo>
                  <a:lnTo>
                    <a:pt x="682" y="497"/>
                  </a:lnTo>
                  <a:lnTo>
                    <a:pt x="678" y="495"/>
                  </a:lnTo>
                  <a:lnTo>
                    <a:pt x="667" y="491"/>
                  </a:lnTo>
                  <a:lnTo>
                    <a:pt x="667" y="491"/>
                  </a:lnTo>
                  <a:lnTo>
                    <a:pt x="660" y="489"/>
                  </a:lnTo>
                  <a:lnTo>
                    <a:pt x="658" y="485"/>
                  </a:lnTo>
                  <a:lnTo>
                    <a:pt x="656" y="478"/>
                  </a:lnTo>
                  <a:lnTo>
                    <a:pt x="658" y="469"/>
                  </a:lnTo>
                  <a:lnTo>
                    <a:pt x="661" y="452"/>
                  </a:lnTo>
                  <a:lnTo>
                    <a:pt x="661" y="444"/>
                  </a:lnTo>
                  <a:lnTo>
                    <a:pt x="660" y="439"/>
                  </a:lnTo>
                  <a:lnTo>
                    <a:pt x="660" y="439"/>
                  </a:lnTo>
                  <a:lnTo>
                    <a:pt x="654" y="433"/>
                  </a:lnTo>
                  <a:lnTo>
                    <a:pt x="652" y="427"/>
                  </a:lnTo>
                  <a:lnTo>
                    <a:pt x="650" y="422"/>
                  </a:lnTo>
                  <a:lnTo>
                    <a:pt x="650" y="416"/>
                  </a:lnTo>
                  <a:lnTo>
                    <a:pt x="652" y="407"/>
                  </a:lnTo>
                  <a:lnTo>
                    <a:pt x="656" y="399"/>
                  </a:lnTo>
                  <a:lnTo>
                    <a:pt x="658" y="394"/>
                  </a:lnTo>
                  <a:lnTo>
                    <a:pt x="656" y="392"/>
                  </a:lnTo>
                  <a:lnTo>
                    <a:pt x="656" y="390"/>
                  </a:lnTo>
                  <a:lnTo>
                    <a:pt x="648" y="388"/>
                  </a:lnTo>
                  <a:lnTo>
                    <a:pt x="633" y="388"/>
                  </a:lnTo>
                  <a:lnTo>
                    <a:pt x="633" y="388"/>
                  </a:lnTo>
                  <a:lnTo>
                    <a:pt x="626" y="386"/>
                  </a:lnTo>
                  <a:lnTo>
                    <a:pt x="620" y="381"/>
                  </a:lnTo>
                  <a:lnTo>
                    <a:pt x="619" y="375"/>
                  </a:lnTo>
                  <a:lnTo>
                    <a:pt x="617" y="368"/>
                  </a:lnTo>
                  <a:lnTo>
                    <a:pt x="619" y="358"/>
                  </a:lnTo>
                  <a:lnTo>
                    <a:pt x="620" y="351"/>
                  </a:lnTo>
                  <a:lnTo>
                    <a:pt x="628" y="336"/>
                  </a:lnTo>
                  <a:lnTo>
                    <a:pt x="628" y="336"/>
                  </a:lnTo>
                  <a:lnTo>
                    <a:pt x="632" y="328"/>
                  </a:lnTo>
                  <a:lnTo>
                    <a:pt x="635" y="323"/>
                  </a:lnTo>
                  <a:lnTo>
                    <a:pt x="639" y="312"/>
                  </a:lnTo>
                  <a:lnTo>
                    <a:pt x="641" y="308"/>
                  </a:lnTo>
                  <a:lnTo>
                    <a:pt x="645" y="304"/>
                  </a:lnTo>
                  <a:lnTo>
                    <a:pt x="660" y="291"/>
                  </a:lnTo>
                  <a:lnTo>
                    <a:pt x="660" y="291"/>
                  </a:lnTo>
                  <a:lnTo>
                    <a:pt x="663" y="287"/>
                  </a:lnTo>
                  <a:lnTo>
                    <a:pt x="667" y="284"/>
                  </a:lnTo>
                  <a:lnTo>
                    <a:pt x="671" y="274"/>
                  </a:lnTo>
                  <a:lnTo>
                    <a:pt x="673" y="265"/>
                  </a:lnTo>
                  <a:lnTo>
                    <a:pt x="676" y="261"/>
                  </a:lnTo>
                  <a:lnTo>
                    <a:pt x="680" y="257"/>
                  </a:lnTo>
                  <a:lnTo>
                    <a:pt x="680" y="257"/>
                  </a:lnTo>
                  <a:lnTo>
                    <a:pt x="688" y="250"/>
                  </a:lnTo>
                  <a:lnTo>
                    <a:pt x="691" y="242"/>
                  </a:lnTo>
                  <a:lnTo>
                    <a:pt x="693" y="235"/>
                  </a:lnTo>
                  <a:lnTo>
                    <a:pt x="691" y="226"/>
                  </a:lnTo>
                  <a:lnTo>
                    <a:pt x="686" y="209"/>
                  </a:lnTo>
                  <a:lnTo>
                    <a:pt x="684" y="199"/>
                  </a:lnTo>
                  <a:lnTo>
                    <a:pt x="682" y="190"/>
                  </a:lnTo>
                  <a:lnTo>
                    <a:pt x="682" y="190"/>
                  </a:lnTo>
                  <a:lnTo>
                    <a:pt x="678" y="177"/>
                  </a:lnTo>
                  <a:lnTo>
                    <a:pt x="673" y="164"/>
                  </a:lnTo>
                  <a:lnTo>
                    <a:pt x="665" y="155"/>
                  </a:lnTo>
                  <a:lnTo>
                    <a:pt x="656" y="147"/>
                  </a:lnTo>
                  <a:lnTo>
                    <a:pt x="656" y="147"/>
                  </a:lnTo>
                  <a:lnTo>
                    <a:pt x="643" y="140"/>
                  </a:lnTo>
                  <a:lnTo>
                    <a:pt x="632" y="134"/>
                  </a:lnTo>
                  <a:lnTo>
                    <a:pt x="622" y="128"/>
                  </a:lnTo>
                  <a:lnTo>
                    <a:pt x="620" y="125"/>
                  </a:lnTo>
                  <a:lnTo>
                    <a:pt x="620" y="123"/>
                  </a:lnTo>
                  <a:lnTo>
                    <a:pt x="620" y="123"/>
                  </a:lnTo>
                  <a:lnTo>
                    <a:pt x="620" y="108"/>
                  </a:lnTo>
                  <a:lnTo>
                    <a:pt x="624" y="99"/>
                  </a:lnTo>
                  <a:lnTo>
                    <a:pt x="630" y="82"/>
                  </a:lnTo>
                  <a:lnTo>
                    <a:pt x="630" y="76"/>
                  </a:lnTo>
                  <a:lnTo>
                    <a:pt x="628" y="69"/>
                  </a:lnTo>
                  <a:lnTo>
                    <a:pt x="620" y="61"/>
                  </a:lnTo>
                  <a:lnTo>
                    <a:pt x="607" y="52"/>
                  </a:lnTo>
                  <a:lnTo>
                    <a:pt x="607" y="52"/>
                  </a:lnTo>
                  <a:lnTo>
                    <a:pt x="604" y="48"/>
                  </a:lnTo>
                  <a:lnTo>
                    <a:pt x="604" y="42"/>
                  </a:lnTo>
                  <a:lnTo>
                    <a:pt x="604" y="31"/>
                  </a:lnTo>
                  <a:lnTo>
                    <a:pt x="604" y="28"/>
                  </a:lnTo>
                  <a:lnTo>
                    <a:pt x="604" y="28"/>
                  </a:lnTo>
                  <a:lnTo>
                    <a:pt x="600" y="29"/>
                  </a:lnTo>
                  <a:lnTo>
                    <a:pt x="594" y="35"/>
                  </a:lnTo>
                  <a:lnTo>
                    <a:pt x="594" y="35"/>
                  </a:lnTo>
                  <a:lnTo>
                    <a:pt x="581" y="56"/>
                  </a:lnTo>
                  <a:lnTo>
                    <a:pt x="570" y="67"/>
                  </a:lnTo>
                  <a:lnTo>
                    <a:pt x="559" y="80"/>
                  </a:lnTo>
                  <a:lnTo>
                    <a:pt x="547" y="87"/>
                  </a:lnTo>
                  <a:lnTo>
                    <a:pt x="544" y="89"/>
                  </a:lnTo>
                  <a:lnTo>
                    <a:pt x="538" y="89"/>
                  </a:lnTo>
                  <a:lnTo>
                    <a:pt x="534" y="87"/>
                  </a:lnTo>
                  <a:lnTo>
                    <a:pt x="533" y="84"/>
                  </a:lnTo>
                  <a:lnTo>
                    <a:pt x="531" y="76"/>
                  </a:lnTo>
                  <a:lnTo>
                    <a:pt x="531" y="65"/>
                  </a:lnTo>
                  <a:lnTo>
                    <a:pt x="531" y="65"/>
                  </a:lnTo>
                  <a:lnTo>
                    <a:pt x="533" y="57"/>
                  </a:lnTo>
                  <a:lnTo>
                    <a:pt x="534" y="46"/>
                  </a:lnTo>
                  <a:lnTo>
                    <a:pt x="534" y="42"/>
                  </a:lnTo>
                  <a:lnTo>
                    <a:pt x="531" y="39"/>
                  </a:lnTo>
                  <a:lnTo>
                    <a:pt x="525" y="39"/>
                  </a:lnTo>
                  <a:lnTo>
                    <a:pt x="516" y="39"/>
                  </a:lnTo>
                  <a:lnTo>
                    <a:pt x="516" y="39"/>
                  </a:lnTo>
                  <a:lnTo>
                    <a:pt x="510" y="42"/>
                  </a:lnTo>
                  <a:lnTo>
                    <a:pt x="508" y="44"/>
                  </a:lnTo>
                  <a:lnTo>
                    <a:pt x="505" y="54"/>
                  </a:lnTo>
                  <a:lnTo>
                    <a:pt x="501" y="57"/>
                  </a:lnTo>
                  <a:lnTo>
                    <a:pt x="495" y="61"/>
                  </a:lnTo>
                  <a:lnTo>
                    <a:pt x="488" y="63"/>
                  </a:lnTo>
                  <a:lnTo>
                    <a:pt x="475" y="65"/>
                  </a:lnTo>
                  <a:lnTo>
                    <a:pt x="475" y="65"/>
                  </a:lnTo>
                  <a:lnTo>
                    <a:pt x="469" y="65"/>
                  </a:lnTo>
                  <a:lnTo>
                    <a:pt x="463" y="67"/>
                  </a:lnTo>
                  <a:lnTo>
                    <a:pt x="454" y="71"/>
                  </a:lnTo>
                  <a:lnTo>
                    <a:pt x="450" y="72"/>
                  </a:lnTo>
                  <a:lnTo>
                    <a:pt x="447" y="72"/>
                  </a:lnTo>
                  <a:lnTo>
                    <a:pt x="441" y="69"/>
                  </a:lnTo>
                  <a:lnTo>
                    <a:pt x="437" y="63"/>
                  </a:lnTo>
                  <a:lnTo>
                    <a:pt x="437" y="63"/>
                  </a:lnTo>
                  <a:lnTo>
                    <a:pt x="426" y="54"/>
                  </a:lnTo>
                  <a:lnTo>
                    <a:pt x="405" y="42"/>
                  </a:lnTo>
                  <a:lnTo>
                    <a:pt x="383" y="31"/>
                  </a:lnTo>
                  <a:lnTo>
                    <a:pt x="372" y="29"/>
                  </a:lnTo>
                  <a:lnTo>
                    <a:pt x="362" y="28"/>
                  </a:lnTo>
                  <a:lnTo>
                    <a:pt x="362" y="28"/>
                  </a:lnTo>
                  <a:lnTo>
                    <a:pt x="351" y="28"/>
                  </a:lnTo>
                  <a:lnTo>
                    <a:pt x="342" y="24"/>
                  </a:lnTo>
                  <a:lnTo>
                    <a:pt x="323" y="18"/>
                  </a:lnTo>
                  <a:lnTo>
                    <a:pt x="305" y="11"/>
                  </a:lnTo>
                  <a:lnTo>
                    <a:pt x="295" y="7"/>
                  </a:lnTo>
                  <a:lnTo>
                    <a:pt x="284" y="5"/>
                  </a:lnTo>
                  <a:lnTo>
                    <a:pt x="284" y="5"/>
                  </a:lnTo>
                  <a:lnTo>
                    <a:pt x="277" y="3"/>
                  </a:lnTo>
                  <a:lnTo>
                    <a:pt x="265" y="0"/>
                  </a:lnTo>
                  <a:lnTo>
                    <a:pt x="260" y="0"/>
                  </a:lnTo>
                  <a:lnTo>
                    <a:pt x="256" y="0"/>
                  </a:lnTo>
                  <a:lnTo>
                    <a:pt x="252" y="1"/>
                  </a:lnTo>
                  <a:lnTo>
                    <a:pt x="248" y="5"/>
                  </a:lnTo>
                  <a:lnTo>
                    <a:pt x="248" y="5"/>
                  </a:lnTo>
                  <a:lnTo>
                    <a:pt x="235" y="7"/>
                  </a:lnTo>
                  <a:lnTo>
                    <a:pt x="222" y="9"/>
                  </a:lnTo>
                  <a:lnTo>
                    <a:pt x="222" y="9"/>
                  </a:lnTo>
                  <a:lnTo>
                    <a:pt x="222" y="18"/>
                  </a:lnTo>
                  <a:lnTo>
                    <a:pt x="224" y="26"/>
                  </a:lnTo>
                  <a:lnTo>
                    <a:pt x="226" y="29"/>
                  </a:lnTo>
                  <a:lnTo>
                    <a:pt x="228" y="35"/>
                  </a:lnTo>
                  <a:lnTo>
                    <a:pt x="234" y="41"/>
                  </a:lnTo>
                  <a:lnTo>
                    <a:pt x="235" y="44"/>
                  </a:lnTo>
                  <a:lnTo>
                    <a:pt x="235" y="48"/>
                  </a:lnTo>
                  <a:lnTo>
                    <a:pt x="235" y="48"/>
                  </a:lnTo>
                  <a:lnTo>
                    <a:pt x="232" y="52"/>
                  </a:lnTo>
                  <a:lnTo>
                    <a:pt x="220" y="59"/>
                  </a:lnTo>
                  <a:lnTo>
                    <a:pt x="213" y="63"/>
                  </a:lnTo>
                  <a:lnTo>
                    <a:pt x="205" y="63"/>
                  </a:lnTo>
                  <a:lnTo>
                    <a:pt x="196" y="61"/>
                  </a:lnTo>
                  <a:lnTo>
                    <a:pt x="189" y="56"/>
                  </a:lnTo>
                  <a:lnTo>
                    <a:pt x="189" y="56"/>
                  </a:lnTo>
                  <a:lnTo>
                    <a:pt x="185" y="50"/>
                  </a:lnTo>
                  <a:lnTo>
                    <a:pt x="179" y="48"/>
                  </a:lnTo>
                  <a:lnTo>
                    <a:pt x="174" y="44"/>
                  </a:lnTo>
                  <a:lnTo>
                    <a:pt x="168" y="44"/>
                  </a:lnTo>
                  <a:lnTo>
                    <a:pt x="155" y="46"/>
                  </a:lnTo>
                  <a:lnTo>
                    <a:pt x="144" y="50"/>
                  </a:lnTo>
                  <a:lnTo>
                    <a:pt x="120" y="63"/>
                  </a:lnTo>
                  <a:lnTo>
                    <a:pt x="108" y="67"/>
                  </a:lnTo>
                  <a:lnTo>
                    <a:pt x="99" y="71"/>
                  </a:lnTo>
                  <a:lnTo>
                    <a:pt x="99" y="71"/>
                  </a:lnTo>
                  <a:lnTo>
                    <a:pt x="95" y="74"/>
                  </a:lnTo>
                  <a:lnTo>
                    <a:pt x="90" y="80"/>
                  </a:lnTo>
                  <a:lnTo>
                    <a:pt x="78" y="102"/>
                  </a:lnTo>
                  <a:lnTo>
                    <a:pt x="67" y="125"/>
                  </a:lnTo>
                  <a:lnTo>
                    <a:pt x="62" y="134"/>
                  </a:lnTo>
                  <a:lnTo>
                    <a:pt x="58" y="140"/>
                  </a:lnTo>
                  <a:lnTo>
                    <a:pt x="58" y="140"/>
                  </a:lnTo>
                  <a:lnTo>
                    <a:pt x="62" y="143"/>
                  </a:lnTo>
                  <a:lnTo>
                    <a:pt x="65" y="149"/>
                  </a:lnTo>
                  <a:lnTo>
                    <a:pt x="65" y="155"/>
                  </a:lnTo>
                  <a:lnTo>
                    <a:pt x="63" y="158"/>
                  </a:lnTo>
                  <a:lnTo>
                    <a:pt x="60" y="170"/>
                  </a:lnTo>
                  <a:lnTo>
                    <a:pt x="58" y="175"/>
                  </a:lnTo>
                  <a:lnTo>
                    <a:pt x="58" y="183"/>
                  </a:lnTo>
                  <a:lnTo>
                    <a:pt x="58" y="183"/>
                  </a:lnTo>
                  <a:lnTo>
                    <a:pt x="60" y="188"/>
                  </a:lnTo>
                  <a:lnTo>
                    <a:pt x="62" y="192"/>
                  </a:lnTo>
                  <a:lnTo>
                    <a:pt x="63" y="196"/>
                  </a:lnTo>
                  <a:lnTo>
                    <a:pt x="63" y="196"/>
                  </a:lnTo>
                  <a:lnTo>
                    <a:pt x="63" y="198"/>
                  </a:lnTo>
                  <a:lnTo>
                    <a:pt x="63" y="198"/>
                  </a:lnTo>
                  <a:lnTo>
                    <a:pt x="60" y="201"/>
                  </a:lnTo>
                  <a:lnTo>
                    <a:pt x="58" y="205"/>
                  </a:lnTo>
                  <a:lnTo>
                    <a:pt x="56" y="211"/>
                  </a:lnTo>
                  <a:lnTo>
                    <a:pt x="58" y="216"/>
                  </a:lnTo>
                  <a:lnTo>
                    <a:pt x="58" y="216"/>
                  </a:lnTo>
                  <a:lnTo>
                    <a:pt x="63" y="222"/>
                  </a:lnTo>
                  <a:lnTo>
                    <a:pt x="63" y="226"/>
                  </a:lnTo>
                  <a:lnTo>
                    <a:pt x="60" y="229"/>
                  </a:lnTo>
                  <a:lnTo>
                    <a:pt x="58" y="237"/>
                  </a:lnTo>
                  <a:lnTo>
                    <a:pt x="58" y="237"/>
                  </a:lnTo>
                  <a:lnTo>
                    <a:pt x="60" y="248"/>
                  </a:lnTo>
                  <a:lnTo>
                    <a:pt x="63" y="255"/>
                  </a:lnTo>
                  <a:lnTo>
                    <a:pt x="67" y="261"/>
                  </a:lnTo>
                  <a:lnTo>
                    <a:pt x="69" y="265"/>
                  </a:lnTo>
                  <a:lnTo>
                    <a:pt x="75" y="270"/>
                  </a:lnTo>
                  <a:lnTo>
                    <a:pt x="75" y="274"/>
                  </a:lnTo>
                  <a:lnTo>
                    <a:pt x="73" y="280"/>
                  </a:lnTo>
                  <a:lnTo>
                    <a:pt x="73" y="280"/>
                  </a:lnTo>
                  <a:lnTo>
                    <a:pt x="69" y="291"/>
                  </a:lnTo>
                  <a:lnTo>
                    <a:pt x="65" y="300"/>
                  </a:lnTo>
                  <a:lnTo>
                    <a:pt x="65" y="310"/>
                  </a:lnTo>
                  <a:lnTo>
                    <a:pt x="65" y="317"/>
                  </a:lnTo>
                  <a:lnTo>
                    <a:pt x="65" y="323"/>
                  </a:lnTo>
                  <a:lnTo>
                    <a:pt x="67" y="328"/>
                  </a:lnTo>
                  <a:lnTo>
                    <a:pt x="73" y="336"/>
                  </a:lnTo>
                  <a:lnTo>
                    <a:pt x="86" y="347"/>
                  </a:lnTo>
                  <a:lnTo>
                    <a:pt x="90" y="355"/>
                  </a:lnTo>
                  <a:lnTo>
                    <a:pt x="88" y="358"/>
                  </a:lnTo>
                  <a:lnTo>
                    <a:pt x="88" y="362"/>
                  </a:lnTo>
                  <a:lnTo>
                    <a:pt x="88" y="362"/>
                  </a:lnTo>
                  <a:lnTo>
                    <a:pt x="80" y="371"/>
                  </a:lnTo>
                  <a:lnTo>
                    <a:pt x="73" y="379"/>
                  </a:lnTo>
                  <a:lnTo>
                    <a:pt x="65" y="383"/>
                  </a:lnTo>
                  <a:lnTo>
                    <a:pt x="56" y="386"/>
                  </a:lnTo>
                  <a:lnTo>
                    <a:pt x="45" y="392"/>
                  </a:lnTo>
                  <a:lnTo>
                    <a:pt x="34" y="399"/>
                  </a:lnTo>
                  <a:lnTo>
                    <a:pt x="20" y="412"/>
                  </a:lnTo>
                  <a:lnTo>
                    <a:pt x="6" y="431"/>
                  </a:lnTo>
                  <a:lnTo>
                    <a:pt x="6" y="431"/>
                  </a:lnTo>
                  <a:lnTo>
                    <a:pt x="2" y="437"/>
                  </a:lnTo>
                  <a:lnTo>
                    <a:pt x="0" y="440"/>
                  </a:lnTo>
                  <a:lnTo>
                    <a:pt x="2" y="442"/>
                  </a:lnTo>
                  <a:lnTo>
                    <a:pt x="4" y="444"/>
                  </a:lnTo>
                  <a:lnTo>
                    <a:pt x="15" y="440"/>
                  </a:lnTo>
                  <a:lnTo>
                    <a:pt x="28" y="437"/>
                  </a:lnTo>
                  <a:lnTo>
                    <a:pt x="45" y="431"/>
                  </a:lnTo>
                  <a:lnTo>
                    <a:pt x="63" y="427"/>
                  </a:lnTo>
                  <a:lnTo>
                    <a:pt x="73" y="427"/>
                  </a:lnTo>
                  <a:lnTo>
                    <a:pt x="80" y="429"/>
                  </a:lnTo>
                  <a:lnTo>
                    <a:pt x="88" y="431"/>
                  </a:lnTo>
                  <a:lnTo>
                    <a:pt x="93" y="437"/>
                  </a:lnTo>
                  <a:lnTo>
                    <a:pt x="93" y="437"/>
                  </a:lnTo>
                  <a:lnTo>
                    <a:pt x="97" y="442"/>
                  </a:lnTo>
                  <a:lnTo>
                    <a:pt x="99" y="446"/>
                  </a:lnTo>
                  <a:lnTo>
                    <a:pt x="97" y="450"/>
                  </a:lnTo>
                  <a:lnTo>
                    <a:pt x="95" y="452"/>
                  </a:lnTo>
                  <a:lnTo>
                    <a:pt x="90" y="455"/>
                  </a:lnTo>
                  <a:lnTo>
                    <a:pt x="90" y="459"/>
                  </a:lnTo>
                  <a:lnTo>
                    <a:pt x="91" y="463"/>
                  </a:lnTo>
                  <a:lnTo>
                    <a:pt x="91" y="463"/>
                  </a:lnTo>
                  <a:lnTo>
                    <a:pt x="93" y="469"/>
                  </a:lnTo>
                  <a:lnTo>
                    <a:pt x="91" y="474"/>
                  </a:lnTo>
                  <a:lnTo>
                    <a:pt x="88" y="478"/>
                  </a:lnTo>
                  <a:lnTo>
                    <a:pt x="82" y="483"/>
                  </a:lnTo>
                  <a:lnTo>
                    <a:pt x="73" y="491"/>
                  </a:lnTo>
                  <a:lnTo>
                    <a:pt x="71" y="495"/>
                  </a:lnTo>
                  <a:lnTo>
                    <a:pt x="71" y="498"/>
                  </a:lnTo>
                  <a:lnTo>
                    <a:pt x="71" y="498"/>
                  </a:lnTo>
                  <a:lnTo>
                    <a:pt x="77" y="506"/>
                  </a:lnTo>
                  <a:lnTo>
                    <a:pt x="78" y="513"/>
                  </a:lnTo>
                  <a:lnTo>
                    <a:pt x="78" y="521"/>
                  </a:lnTo>
                  <a:lnTo>
                    <a:pt x="75" y="525"/>
                  </a:lnTo>
                  <a:lnTo>
                    <a:pt x="69" y="536"/>
                  </a:lnTo>
                  <a:lnTo>
                    <a:pt x="67" y="543"/>
                  </a:lnTo>
                  <a:lnTo>
                    <a:pt x="67" y="551"/>
                  </a:lnTo>
                  <a:lnTo>
                    <a:pt x="67" y="551"/>
                  </a:lnTo>
                  <a:lnTo>
                    <a:pt x="77" y="551"/>
                  </a:lnTo>
                  <a:lnTo>
                    <a:pt x="86" y="551"/>
                  </a:lnTo>
                  <a:lnTo>
                    <a:pt x="86" y="551"/>
                  </a:lnTo>
                  <a:lnTo>
                    <a:pt x="88" y="562"/>
                  </a:lnTo>
                  <a:lnTo>
                    <a:pt x="90" y="571"/>
                  </a:lnTo>
                  <a:lnTo>
                    <a:pt x="88" y="592"/>
                  </a:lnTo>
                  <a:lnTo>
                    <a:pt x="88" y="592"/>
                  </a:lnTo>
                  <a:lnTo>
                    <a:pt x="95" y="590"/>
                  </a:lnTo>
                  <a:lnTo>
                    <a:pt x="101" y="590"/>
                  </a:lnTo>
                  <a:lnTo>
                    <a:pt x="108" y="592"/>
                  </a:lnTo>
                  <a:lnTo>
                    <a:pt x="118" y="597"/>
                  </a:lnTo>
                  <a:lnTo>
                    <a:pt x="118" y="597"/>
                  </a:lnTo>
                  <a:lnTo>
                    <a:pt x="120" y="603"/>
                  </a:lnTo>
                  <a:lnTo>
                    <a:pt x="123" y="611"/>
                  </a:lnTo>
                  <a:lnTo>
                    <a:pt x="125" y="612"/>
                  </a:lnTo>
                  <a:lnTo>
                    <a:pt x="129" y="611"/>
                  </a:lnTo>
                  <a:lnTo>
                    <a:pt x="131" y="605"/>
                  </a:lnTo>
                  <a:lnTo>
                    <a:pt x="134" y="592"/>
                  </a:lnTo>
                  <a:lnTo>
                    <a:pt x="134" y="592"/>
                  </a:lnTo>
                  <a:lnTo>
                    <a:pt x="136" y="584"/>
                  </a:lnTo>
                  <a:lnTo>
                    <a:pt x="140" y="577"/>
                  </a:lnTo>
                  <a:lnTo>
                    <a:pt x="144" y="571"/>
                  </a:lnTo>
                  <a:lnTo>
                    <a:pt x="149" y="568"/>
                  </a:lnTo>
                  <a:lnTo>
                    <a:pt x="155" y="568"/>
                  </a:lnTo>
                  <a:lnTo>
                    <a:pt x="159" y="569"/>
                  </a:lnTo>
                  <a:lnTo>
                    <a:pt x="164" y="573"/>
                  </a:lnTo>
                  <a:lnTo>
                    <a:pt x="170" y="581"/>
                  </a:lnTo>
                  <a:lnTo>
                    <a:pt x="170" y="581"/>
                  </a:lnTo>
                  <a:lnTo>
                    <a:pt x="176" y="588"/>
                  </a:lnTo>
                  <a:lnTo>
                    <a:pt x="179" y="592"/>
                  </a:lnTo>
                  <a:lnTo>
                    <a:pt x="185" y="594"/>
                  </a:lnTo>
                  <a:lnTo>
                    <a:pt x="189" y="594"/>
                  </a:lnTo>
                  <a:lnTo>
                    <a:pt x="194" y="592"/>
                  </a:lnTo>
                  <a:lnTo>
                    <a:pt x="198" y="588"/>
                  </a:lnTo>
                  <a:lnTo>
                    <a:pt x="207" y="577"/>
                  </a:lnTo>
                  <a:lnTo>
                    <a:pt x="219" y="564"/>
                  </a:lnTo>
                  <a:lnTo>
                    <a:pt x="228" y="554"/>
                  </a:lnTo>
                  <a:lnTo>
                    <a:pt x="234" y="549"/>
                  </a:lnTo>
                  <a:lnTo>
                    <a:pt x="239" y="547"/>
                  </a:lnTo>
                  <a:lnTo>
                    <a:pt x="245" y="547"/>
                  </a:lnTo>
                  <a:lnTo>
                    <a:pt x="250" y="547"/>
                  </a:lnTo>
                  <a:lnTo>
                    <a:pt x="250" y="547"/>
                  </a:lnTo>
                  <a:lnTo>
                    <a:pt x="258" y="549"/>
                  </a:lnTo>
                  <a:lnTo>
                    <a:pt x="267" y="547"/>
                  </a:lnTo>
                  <a:lnTo>
                    <a:pt x="286" y="543"/>
                  </a:lnTo>
                  <a:lnTo>
                    <a:pt x="295" y="543"/>
                  </a:lnTo>
                  <a:lnTo>
                    <a:pt x="305" y="543"/>
                  </a:lnTo>
                  <a:lnTo>
                    <a:pt x="312" y="545"/>
                  </a:lnTo>
                  <a:lnTo>
                    <a:pt x="318" y="553"/>
                  </a:lnTo>
                  <a:lnTo>
                    <a:pt x="318" y="553"/>
                  </a:lnTo>
                  <a:lnTo>
                    <a:pt x="319" y="558"/>
                  </a:lnTo>
                  <a:lnTo>
                    <a:pt x="319" y="568"/>
                  </a:lnTo>
                  <a:lnTo>
                    <a:pt x="314" y="588"/>
                  </a:lnTo>
                  <a:lnTo>
                    <a:pt x="314" y="596"/>
                  </a:lnTo>
                  <a:lnTo>
                    <a:pt x="316" y="603"/>
                  </a:lnTo>
                  <a:lnTo>
                    <a:pt x="318" y="605"/>
                  </a:lnTo>
                  <a:lnTo>
                    <a:pt x="321" y="605"/>
                  </a:lnTo>
                  <a:lnTo>
                    <a:pt x="333" y="601"/>
                  </a:lnTo>
                  <a:lnTo>
                    <a:pt x="333" y="601"/>
                  </a:lnTo>
                  <a:lnTo>
                    <a:pt x="338" y="599"/>
                  </a:lnTo>
                  <a:lnTo>
                    <a:pt x="340" y="601"/>
                  </a:lnTo>
                  <a:lnTo>
                    <a:pt x="340" y="603"/>
                  </a:lnTo>
                  <a:lnTo>
                    <a:pt x="340" y="609"/>
                  </a:lnTo>
                  <a:lnTo>
                    <a:pt x="336" y="616"/>
                  </a:lnTo>
                  <a:lnTo>
                    <a:pt x="331" y="637"/>
                  </a:lnTo>
                  <a:lnTo>
                    <a:pt x="327" y="648"/>
                  </a:lnTo>
                  <a:lnTo>
                    <a:pt x="327" y="657"/>
                  </a:lnTo>
                  <a:lnTo>
                    <a:pt x="327" y="657"/>
                  </a:lnTo>
                  <a:lnTo>
                    <a:pt x="323" y="665"/>
                  </a:lnTo>
                  <a:lnTo>
                    <a:pt x="316" y="676"/>
                  </a:lnTo>
                  <a:lnTo>
                    <a:pt x="297" y="700"/>
                  </a:lnTo>
                  <a:lnTo>
                    <a:pt x="288" y="713"/>
                  </a:lnTo>
                  <a:lnTo>
                    <a:pt x="282" y="724"/>
                  </a:lnTo>
                  <a:lnTo>
                    <a:pt x="282" y="730"/>
                  </a:lnTo>
                  <a:lnTo>
                    <a:pt x="282" y="734"/>
                  </a:lnTo>
                  <a:lnTo>
                    <a:pt x="284" y="738"/>
                  </a:lnTo>
                  <a:lnTo>
                    <a:pt x="290" y="739"/>
                  </a:lnTo>
                  <a:lnTo>
                    <a:pt x="290" y="739"/>
                  </a:lnTo>
                  <a:lnTo>
                    <a:pt x="293" y="738"/>
                  </a:lnTo>
                  <a:lnTo>
                    <a:pt x="301" y="732"/>
                  </a:lnTo>
                  <a:lnTo>
                    <a:pt x="318" y="719"/>
                  </a:lnTo>
                  <a:lnTo>
                    <a:pt x="327" y="713"/>
                  </a:lnTo>
                  <a:lnTo>
                    <a:pt x="331" y="713"/>
                  </a:lnTo>
                  <a:lnTo>
                    <a:pt x="334" y="713"/>
                  </a:lnTo>
                  <a:lnTo>
                    <a:pt x="340" y="715"/>
                  </a:lnTo>
                  <a:lnTo>
                    <a:pt x="344" y="719"/>
                  </a:lnTo>
                  <a:lnTo>
                    <a:pt x="346" y="724"/>
                  </a:lnTo>
                  <a:lnTo>
                    <a:pt x="349" y="734"/>
                  </a:lnTo>
                  <a:lnTo>
                    <a:pt x="349" y="734"/>
                  </a:lnTo>
                  <a:lnTo>
                    <a:pt x="349" y="739"/>
                  </a:lnTo>
                  <a:lnTo>
                    <a:pt x="349" y="749"/>
                  </a:lnTo>
                  <a:lnTo>
                    <a:pt x="349" y="767"/>
                  </a:lnTo>
                  <a:lnTo>
                    <a:pt x="349" y="777"/>
                  </a:lnTo>
                  <a:lnTo>
                    <a:pt x="353" y="782"/>
                  </a:lnTo>
                  <a:lnTo>
                    <a:pt x="355" y="784"/>
                  </a:lnTo>
                  <a:lnTo>
                    <a:pt x="359" y="784"/>
                  </a:lnTo>
                  <a:lnTo>
                    <a:pt x="368" y="781"/>
                  </a:lnTo>
                  <a:lnTo>
                    <a:pt x="368" y="781"/>
                  </a:lnTo>
                  <a:lnTo>
                    <a:pt x="376" y="777"/>
                  </a:lnTo>
                  <a:lnTo>
                    <a:pt x="379" y="773"/>
                  </a:lnTo>
                  <a:lnTo>
                    <a:pt x="381" y="766"/>
                  </a:lnTo>
                  <a:lnTo>
                    <a:pt x="385" y="766"/>
                  </a:lnTo>
                  <a:lnTo>
                    <a:pt x="391" y="764"/>
                  </a:lnTo>
                  <a:lnTo>
                    <a:pt x="415" y="769"/>
                  </a:lnTo>
                  <a:lnTo>
                    <a:pt x="415" y="769"/>
                  </a:lnTo>
                  <a:lnTo>
                    <a:pt x="420" y="771"/>
                  </a:lnTo>
                  <a:lnTo>
                    <a:pt x="426" y="769"/>
                  </a:lnTo>
                  <a:lnTo>
                    <a:pt x="428" y="767"/>
                  </a:lnTo>
                  <a:lnTo>
                    <a:pt x="432" y="764"/>
                  </a:lnTo>
                  <a:lnTo>
                    <a:pt x="435" y="754"/>
                  </a:lnTo>
                  <a:lnTo>
                    <a:pt x="437" y="743"/>
                  </a:lnTo>
                  <a:lnTo>
                    <a:pt x="441" y="721"/>
                  </a:lnTo>
                  <a:lnTo>
                    <a:pt x="443" y="713"/>
                  </a:lnTo>
                  <a:lnTo>
                    <a:pt x="445" y="711"/>
                  </a:lnTo>
                  <a:lnTo>
                    <a:pt x="448" y="710"/>
                  </a:lnTo>
                  <a:lnTo>
                    <a:pt x="448" y="710"/>
                  </a:lnTo>
                  <a:lnTo>
                    <a:pt x="462" y="708"/>
                  </a:lnTo>
                  <a:lnTo>
                    <a:pt x="473" y="708"/>
                  </a:lnTo>
                  <a:lnTo>
                    <a:pt x="482" y="708"/>
                  </a:lnTo>
                  <a:lnTo>
                    <a:pt x="491" y="710"/>
                  </a:lnTo>
                  <a:lnTo>
                    <a:pt x="497" y="713"/>
                  </a:lnTo>
                  <a:lnTo>
                    <a:pt x="505" y="717"/>
                  </a:lnTo>
                  <a:lnTo>
                    <a:pt x="514" y="726"/>
                  </a:lnTo>
                  <a:lnTo>
                    <a:pt x="521" y="736"/>
                  </a:lnTo>
                  <a:lnTo>
                    <a:pt x="529" y="741"/>
                  </a:lnTo>
                  <a:lnTo>
                    <a:pt x="533" y="743"/>
                  </a:lnTo>
                  <a:lnTo>
                    <a:pt x="536" y="743"/>
                  </a:lnTo>
                  <a:lnTo>
                    <a:pt x="540" y="741"/>
                  </a:lnTo>
                  <a:lnTo>
                    <a:pt x="546" y="738"/>
                  </a:lnTo>
                  <a:lnTo>
                    <a:pt x="546" y="738"/>
                  </a:lnTo>
                  <a:lnTo>
                    <a:pt x="549" y="734"/>
                  </a:lnTo>
                  <a:lnTo>
                    <a:pt x="551" y="728"/>
                  </a:lnTo>
                  <a:lnTo>
                    <a:pt x="553" y="713"/>
                  </a:lnTo>
                  <a:lnTo>
                    <a:pt x="553" y="706"/>
                  </a:lnTo>
                  <a:lnTo>
                    <a:pt x="551" y="700"/>
                  </a:lnTo>
                  <a:lnTo>
                    <a:pt x="547" y="695"/>
                  </a:lnTo>
                  <a:lnTo>
                    <a:pt x="544" y="693"/>
                  </a:lnTo>
                  <a:lnTo>
                    <a:pt x="544" y="693"/>
                  </a:lnTo>
                  <a:lnTo>
                    <a:pt x="538" y="691"/>
                  </a:lnTo>
                  <a:lnTo>
                    <a:pt x="538" y="689"/>
                  </a:lnTo>
                  <a:lnTo>
                    <a:pt x="542" y="685"/>
                  </a:lnTo>
                  <a:lnTo>
                    <a:pt x="546" y="682"/>
                  </a:lnTo>
                  <a:lnTo>
                    <a:pt x="559" y="672"/>
                  </a:lnTo>
                  <a:lnTo>
                    <a:pt x="566" y="665"/>
                  </a:lnTo>
                  <a:lnTo>
                    <a:pt x="566" y="665"/>
                  </a:lnTo>
                  <a:lnTo>
                    <a:pt x="572" y="661"/>
                  </a:lnTo>
                  <a:lnTo>
                    <a:pt x="576" y="659"/>
                  </a:lnTo>
                  <a:lnTo>
                    <a:pt x="581" y="659"/>
                  </a:lnTo>
                  <a:lnTo>
                    <a:pt x="587" y="659"/>
                  </a:lnTo>
                  <a:lnTo>
                    <a:pt x="596" y="665"/>
                  </a:lnTo>
                  <a:lnTo>
                    <a:pt x="609" y="670"/>
                  </a:lnTo>
                  <a:lnTo>
                    <a:pt x="620" y="676"/>
                  </a:lnTo>
                  <a:lnTo>
                    <a:pt x="628" y="678"/>
                  </a:lnTo>
                  <a:lnTo>
                    <a:pt x="633" y="680"/>
                  </a:lnTo>
                  <a:lnTo>
                    <a:pt x="641" y="680"/>
                  </a:lnTo>
                  <a:lnTo>
                    <a:pt x="648" y="678"/>
                  </a:lnTo>
                  <a:lnTo>
                    <a:pt x="658" y="674"/>
                  </a:lnTo>
                  <a:lnTo>
                    <a:pt x="665" y="668"/>
                  </a:lnTo>
                  <a:lnTo>
                    <a:pt x="665" y="668"/>
                  </a:lnTo>
                  <a:lnTo>
                    <a:pt x="673" y="665"/>
                  </a:lnTo>
                  <a:lnTo>
                    <a:pt x="680" y="663"/>
                  </a:lnTo>
                  <a:lnTo>
                    <a:pt x="680" y="66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8" name="Freeform 58">
              <a:extLst>
                <a:ext uri="{FF2B5EF4-FFF2-40B4-BE49-F238E27FC236}">
                  <a16:creationId xmlns:a16="http://schemas.microsoft.com/office/drawing/2014/main" id="{671B977A-23D3-4565-93CF-DF4FC22C8804}"/>
                </a:ext>
              </a:extLst>
            </p:cNvPr>
            <p:cNvSpPr>
              <a:spLocks/>
            </p:cNvSpPr>
            <p:nvPr/>
          </p:nvSpPr>
          <p:spPr bwMode="auto">
            <a:xfrm>
              <a:off x="4537483" y="4898946"/>
              <a:ext cx="686698" cy="581332"/>
            </a:xfrm>
            <a:custGeom>
              <a:avLst/>
              <a:gdLst/>
              <a:ahLst/>
              <a:cxnLst>
                <a:cxn ang="0">
                  <a:pos x="735" y="421"/>
                </a:cxn>
                <a:cxn ang="0">
                  <a:pos x="736" y="383"/>
                </a:cxn>
                <a:cxn ang="0">
                  <a:pos x="746" y="348"/>
                </a:cxn>
                <a:cxn ang="0">
                  <a:pos x="753" y="322"/>
                </a:cxn>
                <a:cxn ang="0">
                  <a:pos x="738" y="299"/>
                </a:cxn>
                <a:cxn ang="0">
                  <a:pos x="660" y="312"/>
                </a:cxn>
                <a:cxn ang="0">
                  <a:pos x="703" y="262"/>
                </a:cxn>
                <a:cxn ang="0">
                  <a:pos x="746" y="228"/>
                </a:cxn>
                <a:cxn ang="0">
                  <a:pos x="723" y="180"/>
                </a:cxn>
                <a:cxn ang="0">
                  <a:pos x="727" y="135"/>
                </a:cxn>
                <a:cxn ang="0">
                  <a:pos x="708" y="112"/>
                </a:cxn>
                <a:cxn ang="0">
                  <a:pos x="686" y="148"/>
                </a:cxn>
                <a:cxn ang="0">
                  <a:pos x="654" y="120"/>
                </a:cxn>
                <a:cxn ang="0">
                  <a:pos x="637" y="118"/>
                </a:cxn>
                <a:cxn ang="0">
                  <a:pos x="621" y="77"/>
                </a:cxn>
                <a:cxn ang="0">
                  <a:pos x="600" y="25"/>
                </a:cxn>
                <a:cxn ang="0">
                  <a:pos x="563" y="21"/>
                </a:cxn>
                <a:cxn ang="0">
                  <a:pos x="531" y="13"/>
                </a:cxn>
                <a:cxn ang="0">
                  <a:pos x="486" y="6"/>
                </a:cxn>
                <a:cxn ang="0">
                  <a:pos x="482" y="40"/>
                </a:cxn>
                <a:cxn ang="0">
                  <a:pos x="447" y="38"/>
                </a:cxn>
                <a:cxn ang="0">
                  <a:pos x="417" y="51"/>
                </a:cxn>
                <a:cxn ang="0">
                  <a:pos x="406" y="86"/>
                </a:cxn>
                <a:cxn ang="0">
                  <a:pos x="389" y="73"/>
                </a:cxn>
                <a:cxn ang="0">
                  <a:pos x="374" y="71"/>
                </a:cxn>
                <a:cxn ang="0">
                  <a:pos x="350" y="86"/>
                </a:cxn>
                <a:cxn ang="0">
                  <a:pos x="293" y="68"/>
                </a:cxn>
                <a:cxn ang="0">
                  <a:pos x="260" y="109"/>
                </a:cxn>
                <a:cxn ang="0">
                  <a:pos x="301" y="139"/>
                </a:cxn>
                <a:cxn ang="0">
                  <a:pos x="351" y="170"/>
                </a:cxn>
                <a:cxn ang="0">
                  <a:pos x="297" y="200"/>
                </a:cxn>
                <a:cxn ang="0">
                  <a:pos x="224" y="196"/>
                </a:cxn>
                <a:cxn ang="0">
                  <a:pos x="189" y="247"/>
                </a:cxn>
                <a:cxn ang="0">
                  <a:pos x="105" y="238"/>
                </a:cxn>
                <a:cxn ang="0">
                  <a:pos x="73" y="251"/>
                </a:cxn>
                <a:cxn ang="0">
                  <a:pos x="41" y="238"/>
                </a:cxn>
                <a:cxn ang="0">
                  <a:pos x="0" y="277"/>
                </a:cxn>
                <a:cxn ang="0">
                  <a:pos x="13" y="301"/>
                </a:cxn>
                <a:cxn ang="0">
                  <a:pos x="13" y="335"/>
                </a:cxn>
                <a:cxn ang="0">
                  <a:pos x="47" y="361"/>
                </a:cxn>
                <a:cxn ang="0">
                  <a:pos x="86" y="348"/>
                </a:cxn>
                <a:cxn ang="0">
                  <a:pos x="122" y="372"/>
                </a:cxn>
                <a:cxn ang="0">
                  <a:pos x="105" y="417"/>
                </a:cxn>
                <a:cxn ang="0">
                  <a:pos x="79" y="499"/>
                </a:cxn>
                <a:cxn ang="0">
                  <a:pos x="116" y="540"/>
                </a:cxn>
                <a:cxn ang="0">
                  <a:pos x="118" y="568"/>
                </a:cxn>
                <a:cxn ang="0">
                  <a:pos x="94" y="611"/>
                </a:cxn>
                <a:cxn ang="0">
                  <a:pos x="137" y="623"/>
                </a:cxn>
                <a:cxn ang="0">
                  <a:pos x="208" y="602"/>
                </a:cxn>
                <a:cxn ang="0">
                  <a:pos x="284" y="639"/>
                </a:cxn>
                <a:cxn ang="0">
                  <a:pos x="316" y="600"/>
                </a:cxn>
                <a:cxn ang="0">
                  <a:pos x="372" y="576"/>
                </a:cxn>
                <a:cxn ang="0">
                  <a:pos x="421" y="546"/>
                </a:cxn>
                <a:cxn ang="0">
                  <a:pos x="436" y="514"/>
                </a:cxn>
                <a:cxn ang="0">
                  <a:pos x="465" y="538"/>
                </a:cxn>
                <a:cxn ang="0">
                  <a:pos x="505" y="557"/>
                </a:cxn>
                <a:cxn ang="0">
                  <a:pos x="542" y="580"/>
                </a:cxn>
                <a:cxn ang="0">
                  <a:pos x="593" y="525"/>
                </a:cxn>
                <a:cxn ang="0">
                  <a:pos x="628" y="548"/>
                </a:cxn>
                <a:cxn ang="0">
                  <a:pos x="645" y="512"/>
                </a:cxn>
                <a:cxn ang="0">
                  <a:pos x="682" y="520"/>
                </a:cxn>
                <a:cxn ang="0">
                  <a:pos x="671" y="499"/>
                </a:cxn>
                <a:cxn ang="0">
                  <a:pos x="718" y="492"/>
                </a:cxn>
              </a:cxnLst>
              <a:rect l="0" t="0" r="r" b="b"/>
              <a:pathLst>
                <a:path w="757" h="641">
                  <a:moveTo>
                    <a:pt x="746" y="462"/>
                  </a:moveTo>
                  <a:lnTo>
                    <a:pt x="746" y="462"/>
                  </a:lnTo>
                  <a:lnTo>
                    <a:pt x="748" y="441"/>
                  </a:lnTo>
                  <a:lnTo>
                    <a:pt x="746" y="432"/>
                  </a:lnTo>
                  <a:lnTo>
                    <a:pt x="744" y="421"/>
                  </a:lnTo>
                  <a:lnTo>
                    <a:pt x="744" y="421"/>
                  </a:lnTo>
                  <a:lnTo>
                    <a:pt x="735" y="421"/>
                  </a:lnTo>
                  <a:lnTo>
                    <a:pt x="725" y="421"/>
                  </a:lnTo>
                  <a:lnTo>
                    <a:pt x="725" y="421"/>
                  </a:lnTo>
                  <a:lnTo>
                    <a:pt x="725" y="411"/>
                  </a:lnTo>
                  <a:lnTo>
                    <a:pt x="727" y="406"/>
                  </a:lnTo>
                  <a:lnTo>
                    <a:pt x="733" y="395"/>
                  </a:lnTo>
                  <a:lnTo>
                    <a:pt x="736" y="391"/>
                  </a:lnTo>
                  <a:lnTo>
                    <a:pt x="736" y="383"/>
                  </a:lnTo>
                  <a:lnTo>
                    <a:pt x="735" y="376"/>
                  </a:lnTo>
                  <a:lnTo>
                    <a:pt x="729" y="368"/>
                  </a:lnTo>
                  <a:lnTo>
                    <a:pt x="729" y="368"/>
                  </a:lnTo>
                  <a:lnTo>
                    <a:pt x="729" y="365"/>
                  </a:lnTo>
                  <a:lnTo>
                    <a:pt x="731" y="361"/>
                  </a:lnTo>
                  <a:lnTo>
                    <a:pt x="740" y="353"/>
                  </a:lnTo>
                  <a:lnTo>
                    <a:pt x="746" y="348"/>
                  </a:lnTo>
                  <a:lnTo>
                    <a:pt x="749" y="344"/>
                  </a:lnTo>
                  <a:lnTo>
                    <a:pt x="751" y="339"/>
                  </a:lnTo>
                  <a:lnTo>
                    <a:pt x="749" y="333"/>
                  </a:lnTo>
                  <a:lnTo>
                    <a:pt x="749" y="333"/>
                  </a:lnTo>
                  <a:lnTo>
                    <a:pt x="748" y="329"/>
                  </a:lnTo>
                  <a:lnTo>
                    <a:pt x="748" y="325"/>
                  </a:lnTo>
                  <a:lnTo>
                    <a:pt x="753" y="322"/>
                  </a:lnTo>
                  <a:lnTo>
                    <a:pt x="755" y="320"/>
                  </a:lnTo>
                  <a:lnTo>
                    <a:pt x="757" y="316"/>
                  </a:lnTo>
                  <a:lnTo>
                    <a:pt x="755" y="312"/>
                  </a:lnTo>
                  <a:lnTo>
                    <a:pt x="751" y="307"/>
                  </a:lnTo>
                  <a:lnTo>
                    <a:pt x="751" y="307"/>
                  </a:lnTo>
                  <a:lnTo>
                    <a:pt x="746" y="301"/>
                  </a:lnTo>
                  <a:lnTo>
                    <a:pt x="738" y="299"/>
                  </a:lnTo>
                  <a:lnTo>
                    <a:pt x="731" y="297"/>
                  </a:lnTo>
                  <a:lnTo>
                    <a:pt x="721" y="297"/>
                  </a:lnTo>
                  <a:lnTo>
                    <a:pt x="703" y="301"/>
                  </a:lnTo>
                  <a:lnTo>
                    <a:pt x="686" y="307"/>
                  </a:lnTo>
                  <a:lnTo>
                    <a:pt x="673" y="310"/>
                  </a:lnTo>
                  <a:lnTo>
                    <a:pt x="662" y="314"/>
                  </a:lnTo>
                  <a:lnTo>
                    <a:pt x="660" y="312"/>
                  </a:lnTo>
                  <a:lnTo>
                    <a:pt x="658" y="310"/>
                  </a:lnTo>
                  <a:lnTo>
                    <a:pt x="660" y="307"/>
                  </a:lnTo>
                  <a:lnTo>
                    <a:pt x="664" y="301"/>
                  </a:lnTo>
                  <a:lnTo>
                    <a:pt x="664" y="301"/>
                  </a:lnTo>
                  <a:lnTo>
                    <a:pt x="678" y="282"/>
                  </a:lnTo>
                  <a:lnTo>
                    <a:pt x="692" y="269"/>
                  </a:lnTo>
                  <a:lnTo>
                    <a:pt x="703" y="262"/>
                  </a:lnTo>
                  <a:lnTo>
                    <a:pt x="714" y="256"/>
                  </a:lnTo>
                  <a:lnTo>
                    <a:pt x="723" y="253"/>
                  </a:lnTo>
                  <a:lnTo>
                    <a:pt x="731" y="249"/>
                  </a:lnTo>
                  <a:lnTo>
                    <a:pt x="738" y="241"/>
                  </a:lnTo>
                  <a:lnTo>
                    <a:pt x="746" y="232"/>
                  </a:lnTo>
                  <a:lnTo>
                    <a:pt x="746" y="232"/>
                  </a:lnTo>
                  <a:lnTo>
                    <a:pt x="746" y="228"/>
                  </a:lnTo>
                  <a:lnTo>
                    <a:pt x="748" y="225"/>
                  </a:lnTo>
                  <a:lnTo>
                    <a:pt x="744" y="217"/>
                  </a:lnTo>
                  <a:lnTo>
                    <a:pt x="731" y="206"/>
                  </a:lnTo>
                  <a:lnTo>
                    <a:pt x="725" y="198"/>
                  </a:lnTo>
                  <a:lnTo>
                    <a:pt x="723" y="193"/>
                  </a:lnTo>
                  <a:lnTo>
                    <a:pt x="723" y="187"/>
                  </a:lnTo>
                  <a:lnTo>
                    <a:pt x="723" y="180"/>
                  </a:lnTo>
                  <a:lnTo>
                    <a:pt x="723" y="170"/>
                  </a:lnTo>
                  <a:lnTo>
                    <a:pt x="727" y="161"/>
                  </a:lnTo>
                  <a:lnTo>
                    <a:pt x="731" y="150"/>
                  </a:lnTo>
                  <a:lnTo>
                    <a:pt x="731" y="150"/>
                  </a:lnTo>
                  <a:lnTo>
                    <a:pt x="733" y="144"/>
                  </a:lnTo>
                  <a:lnTo>
                    <a:pt x="733" y="140"/>
                  </a:lnTo>
                  <a:lnTo>
                    <a:pt x="727" y="135"/>
                  </a:lnTo>
                  <a:lnTo>
                    <a:pt x="725" y="131"/>
                  </a:lnTo>
                  <a:lnTo>
                    <a:pt x="721" y="125"/>
                  </a:lnTo>
                  <a:lnTo>
                    <a:pt x="718" y="118"/>
                  </a:lnTo>
                  <a:lnTo>
                    <a:pt x="716" y="107"/>
                  </a:lnTo>
                  <a:lnTo>
                    <a:pt x="716" y="107"/>
                  </a:lnTo>
                  <a:lnTo>
                    <a:pt x="712" y="111"/>
                  </a:lnTo>
                  <a:lnTo>
                    <a:pt x="708" y="112"/>
                  </a:lnTo>
                  <a:lnTo>
                    <a:pt x="705" y="116"/>
                  </a:lnTo>
                  <a:lnTo>
                    <a:pt x="703" y="120"/>
                  </a:lnTo>
                  <a:lnTo>
                    <a:pt x="703" y="120"/>
                  </a:lnTo>
                  <a:lnTo>
                    <a:pt x="697" y="135"/>
                  </a:lnTo>
                  <a:lnTo>
                    <a:pt x="693" y="144"/>
                  </a:lnTo>
                  <a:lnTo>
                    <a:pt x="690" y="148"/>
                  </a:lnTo>
                  <a:lnTo>
                    <a:pt x="686" y="148"/>
                  </a:lnTo>
                  <a:lnTo>
                    <a:pt x="682" y="142"/>
                  </a:lnTo>
                  <a:lnTo>
                    <a:pt x="678" y="139"/>
                  </a:lnTo>
                  <a:lnTo>
                    <a:pt x="673" y="137"/>
                  </a:lnTo>
                  <a:lnTo>
                    <a:pt x="673" y="137"/>
                  </a:lnTo>
                  <a:lnTo>
                    <a:pt x="664" y="133"/>
                  </a:lnTo>
                  <a:lnTo>
                    <a:pt x="658" y="127"/>
                  </a:lnTo>
                  <a:lnTo>
                    <a:pt x="654" y="120"/>
                  </a:lnTo>
                  <a:lnTo>
                    <a:pt x="652" y="114"/>
                  </a:lnTo>
                  <a:lnTo>
                    <a:pt x="650" y="103"/>
                  </a:lnTo>
                  <a:lnTo>
                    <a:pt x="649" y="103"/>
                  </a:lnTo>
                  <a:lnTo>
                    <a:pt x="645" y="105"/>
                  </a:lnTo>
                  <a:lnTo>
                    <a:pt x="645" y="105"/>
                  </a:lnTo>
                  <a:lnTo>
                    <a:pt x="639" y="112"/>
                  </a:lnTo>
                  <a:lnTo>
                    <a:pt x="637" y="118"/>
                  </a:lnTo>
                  <a:lnTo>
                    <a:pt x="635" y="116"/>
                  </a:lnTo>
                  <a:lnTo>
                    <a:pt x="635" y="112"/>
                  </a:lnTo>
                  <a:lnTo>
                    <a:pt x="635" y="88"/>
                  </a:lnTo>
                  <a:lnTo>
                    <a:pt x="635" y="88"/>
                  </a:lnTo>
                  <a:lnTo>
                    <a:pt x="634" y="84"/>
                  </a:lnTo>
                  <a:lnTo>
                    <a:pt x="630" y="81"/>
                  </a:lnTo>
                  <a:lnTo>
                    <a:pt x="621" y="77"/>
                  </a:lnTo>
                  <a:lnTo>
                    <a:pt x="615" y="75"/>
                  </a:lnTo>
                  <a:lnTo>
                    <a:pt x="609" y="71"/>
                  </a:lnTo>
                  <a:lnTo>
                    <a:pt x="606" y="66"/>
                  </a:lnTo>
                  <a:lnTo>
                    <a:pt x="604" y="58"/>
                  </a:lnTo>
                  <a:lnTo>
                    <a:pt x="604" y="58"/>
                  </a:lnTo>
                  <a:lnTo>
                    <a:pt x="602" y="30"/>
                  </a:lnTo>
                  <a:lnTo>
                    <a:pt x="600" y="25"/>
                  </a:lnTo>
                  <a:lnTo>
                    <a:pt x="600" y="23"/>
                  </a:lnTo>
                  <a:lnTo>
                    <a:pt x="593" y="25"/>
                  </a:lnTo>
                  <a:lnTo>
                    <a:pt x="587" y="25"/>
                  </a:lnTo>
                  <a:lnTo>
                    <a:pt x="579" y="23"/>
                  </a:lnTo>
                  <a:lnTo>
                    <a:pt x="579" y="23"/>
                  </a:lnTo>
                  <a:lnTo>
                    <a:pt x="570" y="19"/>
                  </a:lnTo>
                  <a:lnTo>
                    <a:pt x="563" y="21"/>
                  </a:lnTo>
                  <a:lnTo>
                    <a:pt x="557" y="23"/>
                  </a:lnTo>
                  <a:lnTo>
                    <a:pt x="551" y="26"/>
                  </a:lnTo>
                  <a:lnTo>
                    <a:pt x="546" y="28"/>
                  </a:lnTo>
                  <a:lnTo>
                    <a:pt x="542" y="28"/>
                  </a:lnTo>
                  <a:lnTo>
                    <a:pt x="536" y="25"/>
                  </a:lnTo>
                  <a:lnTo>
                    <a:pt x="531" y="13"/>
                  </a:lnTo>
                  <a:lnTo>
                    <a:pt x="531" y="13"/>
                  </a:lnTo>
                  <a:lnTo>
                    <a:pt x="527" y="6"/>
                  </a:lnTo>
                  <a:lnTo>
                    <a:pt x="520" y="2"/>
                  </a:lnTo>
                  <a:lnTo>
                    <a:pt x="512" y="0"/>
                  </a:lnTo>
                  <a:lnTo>
                    <a:pt x="505" y="0"/>
                  </a:lnTo>
                  <a:lnTo>
                    <a:pt x="497" y="2"/>
                  </a:lnTo>
                  <a:lnTo>
                    <a:pt x="492" y="4"/>
                  </a:lnTo>
                  <a:lnTo>
                    <a:pt x="486" y="6"/>
                  </a:lnTo>
                  <a:lnTo>
                    <a:pt x="484" y="8"/>
                  </a:lnTo>
                  <a:lnTo>
                    <a:pt x="484" y="8"/>
                  </a:lnTo>
                  <a:lnTo>
                    <a:pt x="486" y="19"/>
                  </a:lnTo>
                  <a:lnTo>
                    <a:pt x="488" y="26"/>
                  </a:lnTo>
                  <a:lnTo>
                    <a:pt x="488" y="32"/>
                  </a:lnTo>
                  <a:lnTo>
                    <a:pt x="486" y="36"/>
                  </a:lnTo>
                  <a:lnTo>
                    <a:pt x="482" y="40"/>
                  </a:lnTo>
                  <a:lnTo>
                    <a:pt x="482" y="40"/>
                  </a:lnTo>
                  <a:lnTo>
                    <a:pt x="473" y="49"/>
                  </a:lnTo>
                  <a:lnTo>
                    <a:pt x="465" y="51"/>
                  </a:lnTo>
                  <a:lnTo>
                    <a:pt x="460" y="49"/>
                  </a:lnTo>
                  <a:lnTo>
                    <a:pt x="454" y="45"/>
                  </a:lnTo>
                  <a:lnTo>
                    <a:pt x="450" y="41"/>
                  </a:lnTo>
                  <a:lnTo>
                    <a:pt x="447" y="38"/>
                  </a:lnTo>
                  <a:lnTo>
                    <a:pt x="441" y="40"/>
                  </a:lnTo>
                  <a:lnTo>
                    <a:pt x="434" y="45"/>
                  </a:lnTo>
                  <a:lnTo>
                    <a:pt x="434" y="45"/>
                  </a:lnTo>
                  <a:lnTo>
                    <a:pt x="428" y="51"/>
                  </a:lnTo>
                  <a:lnTo>
                    <a:pt x="422" y="53"/>
                  </a:lnTo>
                  <a:lnTo>
                    <a:pt x="419" y="53"/>
                  </a:lnTo>
                  <a:lnTo>
                    <a:pt x="417" y="51"/>
                  </a:lnTo>
                  <a:lnTo>
                    <a:pt x="413" y="49"/>
                  </a:lnTo>
                  <a:lnTo>
                    <a:pt x="417" y="60"/>
                  </a:lnTo>
                  <a:lnTo>
                    <a:pt x="417" y="60"/>
                  </a:lnTo>
                  <a:lnTo>
                    <a:pt x="417" y="64"/>
                  </a:lnTo>
                  <a:lnTo>
                    <a:pt x="415" y="71"/>
                  </a:lnTo>
                  <a:lnTo>
                    <a:pt x="411" y="79"/>
                  </a:lnTo>
                  <a:lnTo>
                    <a:pt x="406" y="86"/>
                  </a:lnTo>
                  <a:lnTo>
                    <a:pt x="398" y="90"/>
                  </a:lnTo>
                  <a:lnTo>
                    <a:pt x="394" y="92"/>
                  </a:lnTo>
                  <a:lnTo>
                    <a:pt x="393" y="92"/>
                  </a:lnTo>
                  <a:lnTo>
                    <a:pt x="391" y="90"/>
                  </a:lnTo>
                  <a:lnTo>
                    <a:pt x="389" y="81"/>
                  </a:lnTo>
                  <a:lnTo>
                    <a:pt x="389" y="81"/>
                  </a:lnTo>
                  <a:lnTo>
                    <a:pt x="389" y="73"/>
                  </a:lnTo>
                  <a:lnTo>
                    <a:pt x="387" y="66"/>
                  </a:lnTo>
                  <a:lnTo>
                    <a:pt x="379" y="53"/>
                  </a:lnTo>
                  <a:lnTo>
                    <a:pt x="378" y="51"/>
                  </a:lnTo>
                  <a:lnTo>
                    <a:pt x="374" y="53"/>
                  </a:lnTo>
                  <a:lnTo>
                    <a:pt x="374" y="58"/>
                  </a:lnTo>
                  <a:lnTo>
                    <a:pt x="374" y="71"/>
                  </a:lnTo>
                  <a:lnTo>
                    <a:pt x="374" y="71"/>
                  </a:lnTo>
                  <a:lnTo>
                    <a:pt x="372" y="77"/>
                  </a:lnTo>
                  <a:lnTo>
                    <a:pt x="372" y="81"/>
                  </a:lnTo>
                  <a:lnTo>
                    <a:pt x="368" y="84"/>
                  </a:lnTo>
                  <a:lnTo>
                    <a:pt x="366" y="86"/>
                  </a:lnTo>
                  <a:lnTo>
                    <a:pt x="359" y="88"/>
                  </a:lnTo>
                  <a:lnTo>
                    <a:pt x="350" y="86"/>
                  </a:lnTo>
                  <a:lnTo>
                    <a:pt x="350" y="86"/>
                  </a:lnTo>
                  <a:lnTo>
                    <a:pt x="344" y="83"/>
                  </a:lnTo>
                  <a:lnTo>
                    <a:pt x="338" y="79"/>
                  </a:lnTo>
                  <a:lnTo>
                    <a:pt x="338" y="79"/>
                  </a:lnTo>
                  <a:lnTo>
                    <a:pt x="329" y="73"/>
                  </a:lnTo>
                  <a:lnTo>
                    <a:pt x="318" y="69"/>
                  </a:lnTo>
                  <a:lnTo>
                    <a:pt x="307" y="68"/>
                  </a:lnTo>
                  <a:lnTo>
                    <a:pt x="293" y="68"/>
                  </a:lnTo>
                  <a:lnTo>
                    <a:pt x="282" y="71"/>
                  </a:lnTo>
                  <a:lnTo>
                    <a:pt x="273" y="75"/>
                  </a:lnTo>
                  <a:lnTo>
                    <a:pt x="265" y="83"/>
                  </a:lnTo>
                  <a:lnTo>
                    <a:pt x="260" y="90"/>
                  </a:lnTo>
                  <a:lnTo>
                    <a:pt x="260" y="90"/>
                  </a:lnTo>
                  <a:lnTo>
                    <a:pt x="260" y="101"/>
                  </a:lnTo>
                  <a:lnTo>
                    <a:pt x="260" y="109"/>
                  </a:lnTo>
                  <a:lnTo>
                    <a:pt x="264" y="114"/>
                  </a:lnTo>
                  <a:lnTo>
                    <a:pt x="269" y="118"/>
                  </a:lnTo>
                  <a:lnTo>
                    <a:pt x="282" y="125"/>
                  </a:lnTo>
                  <a:lnTo>
                    <a:pt x="290" y="129"/>
                  </a:lnTo>
                  <a:lnTo>
                    <a:pt x="295" y="135"/>
                  </a:lnTo>
                  <a:lnTo>
                    <a:pt x="295" y="135"/>
                  </a:lnTo>
                  <a:lnTo>
                    <a:pt x="301" y="139"/>
                  </a:lnTo>
                  <a:lnTo>
                    <a:pt x="310" y="142"/>
                  </a:lnTo>
                  <a:lnTo>
                    <a:pt x="322" y="146"/>
                  </a:lnTo>
                  <a:lnTo>
                    <a:pt x="335" y="152"/>
                  </a:lnTo>
                  <a:lnTo>
                    <a:pt x="344" y="157"/>
                  </a:lnTo>
                  <a:lnTo>
                    <a:pt x="348" y="161"/>
                  </a:lnTo>
                  <a:lnTo>
                    <a:pt x="350" y="167"/>
                  </a:lnTo>
                  <a:lnTo>
                    <a:pt x="351" y="170"/>
                  </a:lnTo>
                  <a:lnTo>
                    <a:pt x="351" y="176"/>
                  </a:lnTo>
                  <a:lnTo>
                    <a:pt x="348" y="182"/>
                  </a:lnTo>
                  <a:lnTo>
                    <a:pt x="344" y="189"/>
                  </a:lnTo>
                  <a:lnTo>
                    <a:pt x="344" y="189"/>
                  </a:lnTo>
                  <a:lnTo>
                    <a:pt x="336" y="193"/>
                  </a:lnTo>
                  <a:lnTo>
                    <a:pt x="327" y="196"/>
                  </a:lnTo>
                  <a:lnTo>
                    <a:pt x="297" y="200"/>
                  </a:lnTo>
                  <a:lnTo>
                    <a:pt x="267" y="202"/>
                  </a:lnTo>
                  <a:lnTo>
                    <a:pt x="256" y="202"/>
                  </a:lnTo>
                  <a:lnTo>
                    <a:pt x="251" y="200"/>
                  </a:lnTo>
                  <a:lnTo>
                    <a:pt x="251" y="200"/>
                  </a:lnTo>
                  <a:lnTo>
                    <a:pt x="243" y="196"/>
                  </a:lnTo>
                  <a:lnTo>
                    <a:pt x="237" y="196"/>
                  </a:lnTo>
                  <a:lnTo>
                    <a:pt x="224" y="196"/>
                  </a:lnTo>
                  <a:lnTo>
                    <a:pt x="224" y="196"/>
                  </a:lnTo>
                  <a:lnTo>
                    <a:pt x="219" y="202"/>
                  </a:lnTo>
                  <a:lnTo>
                    <a:pt x="215" y="210"/>
                  </a:lnTo>
                  <a:lnTo>
                    <a:pt x="209" y="226"/>
                  </a:lnTo>
                  <a:lnTo>
                    <a:pt x="206" y="234"/>
                  </a:lnTo>
                  <a:lnTo>
                    <a:pt x="198" y="241"/>
                  </a:lnTo>
                  <a:lnTo>
                    <a:pt x="189" y="247"/>
                  </a:lnTo>
                  <a:lnTo>
                    <a:pt x="174" y="251"/>
                  </a:lnTo>
                  <a:lnTo>
                    <a:pt x="174" y="251"/>
                  </a:lnTo>
                  <a:lnTo>
                    <a:pt x="148" y="254"/>
                  </a:lnTo>
                  <a:lnTo>
                    <a:pt x="129" y="253"/>
                  </a:lnTo>
                  <a:lnTo>
                    <a:pt x="118" y="251"/>
                  </a:lnTo>
                  <a:lnTo>
                    <a:pt x="112" y="247"/>
                  </a:lnTo>
                  <a:lnTo>
                    <a:pt x="105" y="238"/>
                  </a:lnTo>
                  <a:lnTo>
                    <a:pt x="101" y="236"/>
                  </a:lnTo>
                  <a:lnTo>
                    <a:pt x="94" y="234"/>
                  </a:lnTo>
                  <a:lnTo>
                    <a:pt x="94" y="234"/>
                  </a:lnTo>
                  <a:lnTo>
                    <a:pt x="86" y="236"/>
                  </a:lnTo>
                  <a:lnTo>
                    <a:pt x="80" y="239"/>
                  </a:lnTo>
                  <a:lnTo>
                    <a:pt x="77" y="249"/>
                  </a:lnTo>
                  <a:lnTo>
                    <a:pt x="73" y="251"/>
                  </a:lnTo>
                  <a:lnTo>
                    <a:pt x="69" y="251"/>
                  </a:lnTo>
                  <a:lnTo>
                    <a:pt x="64" y="247"/>
                  </a:lnTo>
                  <a:lnTo>
                    <a:pt x="54" y="239"/>
                  </a:lnTo>
                  <a:lnTo>
                    <a:pt x="54" y="239"/>
                  </a:lnTo>
                  <a:lnTo>
                    <a:pt x="49" y="236"/>
                  </a:lnTo>
                  <a:lnTo>
                    <a:pt x="45" y="236"/>
                  </a:lnTo>
                  <a:lnTo>
                    <a:pt x="41" y="238"/>
                  </a:lnTo>
                  <a:lnTo>
                    <a:pt x="37" y="238"/>
                  </a:lnTo>
                  <a:lnTo>
                    <a:pt x="37" y="238"/>
                  </a:lnTo>
                  <a:lnTo>
                    <a:pt x="34" y="247"/>
                  </a:lnTo>
                  <a:lnTo>
                    <a:pt x="28" y="253"/>
                  </a:lnTo>
                  <a:lnTo>
                    <a:pt x="11" y="266"/>
                  </a:lnTo>
                  <a:lnTo>
                    <a:pt x="6" y="271"/>
                  </a:lnTo>
                  <a:lnTo>
                    <a:pt x="0" y="277"/>
                  </a:lnTo>
                  <a:lnTo>
                    <a:pt x="0" y="279"/>
                  </a:lnTo>
                  <a:lnTo>
                    <a:pt x="0" y="282"/>
                  </a:lnTo>
                  <a:lnTo>
                    <a:pt x="2" y="284"/>
                  </a:lnTo>
                  <a:lnTo>
                    <a:pt x="6" y="288"/>
                  </a:lnTo>
                  <a:lnTo>
                    <a:pt x="6" y="288"/>
                  </a:lnTo>
                  <a:lnTo>
                    <a:pt x="11" y="294"/>
                  </a:lnTo>
                  <a:lnTo>
                    <a:pt x="13" y="301"/>
                  </a:lnTo>
                  <a:lnTo>
                    <a:pt x="11" y="307"/>
                  </a:lnTo>
                  <a:lnTo>
                    <a:pt x="9" y="314"/>
                  </a:lnTo>
                  <a:lnTo>
                    <a:pt x="8" y="320"/>
                  </a:lnTo>
                  <a:lnTo>
                    <a:pt x="6" y="325"/>
                  </a:lnTo>
                  <a:lnTo>
                    <a:pt x="8" y="331"/>
                  </a:lnTo>
                  <a:lnTo>
                    <a:pt x="13" y="335"/>
                  </a:lnTo>
                  <a:lnTo>
                    <a:pt x="13" y="335"/>
                  </a:lnTo>
                  <a:lnTo>
                    <a:pt x="13" y="342"/>
                  </a:lnTo>
                  <a:lnTo>
                    <a:pt x="15" y="348"/>
                  </a:lnTo>
                  <a:lnTo>
                    <a:pt x="17" y="355"/>
                  </a:lnTo>
                  <a:lnTo>
                    <a:pt x="23" y="361"/>
                  </a:lnTo>
                  <a:lnTo>
                    <a:pt x="28" y="365"/>
                  </a:lnTo>
                  <a:lnTo>
                    <a:pt x="36" y="365"/>
                  </a:lnTo>
                  <a:lnTo>
                    <a:pt x="47" y="361"/>
                  </a:lnTo>
                  <a:lnTo>
                    <a:pt x="47" y="361"/>
                  </a:lnTo>
                  <a:lnTo>
                    <a:pt x="54" y="355"/>
                  </a:lnTo>
                  <a:lnTo>
                    <a:pt x="58" y="348"/>
                  </a:lnTo>
                  <a:lnTo>
                    <a:pt x="58" y="348"/>
                  </a:lnTo>
                  <a:lnTo>
                    <a:pt x="73" y="350"/>
                  </a:lnTo>
                  <a:lnTo>
                    <a:pt x="79" y="350"/>
                  </a:lnTo>
                  <a:lnTo>
                    <a:pt x="86" y="348"/>
                  </a:lnTo>
                  <a:lnTo>
                    <a:pt x="86" y="348"/>
                  </a:lnTo>
                  <a:lnTo>
                    <a:pt x="90" y="346"/>
                  </a:lnTo>
                  <a:lnTo>
                    <a:pt x="94" y="346"/>
                  </a:lnTo>
                  <a:lnTo>
                    <a:pt x="103" y="348"/>
                  </a:lnTo>
                  <a:lnTo>
                    <a:pt x="110" y="353"/>
                  </a:lnTo>
                  <a:lnTo>
                    <a:pt x="118" y="363"/>
                  </a:lnTo>
                  <a:lnTo>
                    <a:pt x="122" y="372"/>
                  </a:lnTo>
                  <a:lnTo>
                    <a:pt x="125" y="383"/>
                  </a:lnTo>
                  <a:lnTo>
                    <a:pt x="123" y="393"/>
                  </a:lnTo>
                  <a:lnTo>
                    <a:pt x="122" y="396"/>
                  </a:lnTo>
                  <a:lnTo>
                    <a:pt x="118" y="400"/>
                  </a:lnTo>
                  <a:lnTo>
                    <a:pt x="118" y="400"/>
                  </a:lnTo>
                  <a:lnTo>
                    <a:pt x="112" y="406"/>
                  </a:lnTo>
                  <a:lnTo>
                    <a:pt x="105" y="417"/>
                  </a:lnTo>
                  <a:lnTo>
                    <a:pt x="88" y="445"/>
                  </a:lnTo>
                  <a:lnTo>
                    <a:pt x="80" y="462"/>
                  </a:lnTo>
                  <a:lnTo>
                    <a:pt x="77" y="477"/>
                  </a:lnTo>
                  <a:lnTo>
                    <a:pt x="75" y="490"/>
                  </a:lnTo>
                  <a:lnTo>
                    <a:pt x="75" y="495"/>
                  </a:lnTo>
                  <a:lnTo>
                    <a:pt x="79" y="499"/>
                  </a:lnTo>
                  <a:lnTo>
                    <a:pt x="79" y="499"/>
                  </a:lnTo>
                  <a:lnTo>
                    <a:pt x="86" y="507"/>
                  </a:lnTo>
                  <a:lnTo>
                    <a:pt x="94" y="512"/>
                  </a:lnTo>
                  <a:lnTo>
                    <a:pt x="99" y="520"/>
                  </a:lnTo>
                  <a:lnTo>
                    <a:pt x="105" y="529"/>
                  </a:lnTo>
                  <a:lnTo>
                    <a:pt x="105" y="529"/>
                  </a:lnTo>
                  <a:lnTo>
                    <a:pt x="110" y="535"/>
                  </a:lnTo>
                  <a:lnTo>
                    <a:pt x="116" y="540"/>
                  </a:lnTo>
                  <a:lnTo>
                    <a:pt x="125" y="546"/>
                  </a:lnTo>
                  <a:lnTo>
                    <a:pt x="129" y="550"/>
                  </a:lnTo>
                  <a:lnTo>
                    <a:pt x="131" y="553"/>
                  </a:lnTo>
                  <a:lnTo>
                    <a:pt x="129" y="557"/>
                  </a:lnTo>
                  <a:lnTo>
                    <a:pt x="122" y="563"/>
                  </a:lnTo>
                  <a:lnTo>
                    <a:pt x="122" y="563"/>
                  </a:lnTo>
                  <a:lnTo>
                    <a:pt x="118" y="568"/>
                  </a:lnTo>
                  <a:lnTo>
                    <a:pt x="116" y="578"/>
                  </a:lnTo>
                  <a:lnTo>
                    <a:pt x="112" y="585"/>
                  </a:lnTo>
                  <a:lnTo>
                    <a:pt x="108" y="593"/>
                  </a:lnTo>
                  <a:lnTo>
                    <a:pt x="108" y="593"/>
                  </a:lnTo>
                  <a:lnTo>
                    <a:pt x="99" y="602"/>
                  </a:lnTo>
                  <a:lnTo>
                    <a:pt x="94" y="611"/>
                  </a:lnTo>
                  <a:lnTo>
                    <a:pt x="94" y="611"/>
                  </a:lnTo>
                  <a:lnTo>
                    <a:pt x="97" y="621"/>
                  </a:lnTo>
                  <a:lnTo>
                    <a:pt x="101" y="628"/>
                  </a:lnTo>
                  <a:lnTo>
                    <a:pt x="107" y="632"/>
                  </a:lnTo>
                  <a:lnTo>
                    <a:pt x="112" y="634"/>
                  </a:lnTo>
                  <a:lnTo>
                    <a:pt x="118" y="634"/>
                  </a:lnTo>
                  <a:lnTo>
                    <a:pt x="123" y="630"/>
                  </a:lnTo>
                  <a:lnTo>
                    <a:pt x="137" y="623"/>
                  </a:lnTo>
                  <a:lnTo>
                    <a:pt x="165" y="600"/>
                  </a:lnTo>
                  <a:lnTo>
                    <a:pt x="176" y="593"/>
                  </a:lnTo>
                  <a:lnTo>
                    <a:pt x="181" y="591"/>
                  </a:lnTo>
                  <a:lnTo>
                    <a:pt x="185" y="591"/>
                  </a:lnTo>
                  <a:lnTo>
                    <a:pt x="185" y="591"/>
                  </a:lnTo>
                  <a:lnTo>
                    <a:pt x="198" y="596"/>
                  </a:lnTo>
                  <a:lnTo>
                    <a:pt x="208" y="602"/>
                  </a:lnTo>
                  <a:lnTo>
                    <a:pt x="230" y="615"/>
                  </a:lnTo>
                  <a:lnTo>
                    <a:pt x="251" y="626"/>
                  </a:lnTo>
                  <a:lnTo>
                    <a:pt x="262" y="630"/>
                  </a:lnTo>
                  <a:lnTo>
                    <a:pt x="275" y="634"/>
                  </a:lnTo>
                  <a:lnTo>
                    <a:pt x="275" y="634"/>
                  </a:lnTo>
                  <a:lnTo>
                    <a:pt x="279" y="637"/>
                  </a:lnTo>
                  <a:lnTo>
                    <a:pt x="284" y="639"/>
                  </a:lnTo>
                  <a:lnTo>
                    <a:pt x="292" y="641"/>
                  </a:lnTo>
                  <a:lnTo>
                    <a:pt x="297" y="641"/>
                  </a:lnTo>
                  <a:lnTo>
                    <a:pt x="303" y="636"/>
                  </a:lnTo>
                  <a:lnTo>
                    <a:pt x="308" y="623"/>
                  </a:lnTo>
                  <a:lnTo>
                    <a:pt x="314" y="604"/>
                  </a:lnTo>
                  <a:lnTo>
                    <a:pt x="314" y="604"/>
                  </a:lnTo>
                  <a:lnTo>
                    <a:pt x="316" y="600"/>
                  </a:lnTo>
                  <a:lnTo>
                    <a:pt x="320" y="596"/>
                  </a:lnTo>
                  <a:lnTo>
                    <a:pt x="331" y="594"/>
                  </a:lnTo>
                  <a:lnTo>
                    <a:pt x="348" y="589"/>
                  </a:lnTo>
                  <a:lnTo>
                    <a:pt x="357" y="585"/>
                  </a:lnTo>
                  <a:lnTo>
                    <a:pt x="366" y="580"/>
                  </a:lnTo>
                  <a:lnTo>
                    <a:pt x="366" y="580"/>
                  </a:lnTo>
                  <a:lnTo>
                    <a:pt x="372" y="576"/>
                  </a:lnTo>
                  <a:lnTo>
                    <a:pt x="381" y="574"/>
                  </a:lnTo>
                  <a:lnTo>
                    <a:pt x="402" y="568"/>
                  </a:lnTo>
                  <a:lnTo>
                    <a:pt x="411" y="565"/>
                  </a:lnTo>
                  <a:lnTo>
                    <a:pt x="419" y="559"/>
                  </a:lnTo>
                  <a:lnTo>
                    <a:pt x="421" y="555"/>
                  </a:lnTo>
                  <a:lnTo>
                    <a:pt x="422" y="552"/>
                  </a:lnTo>
                  <a:lnTo>
                    <a:pt x="421" y="546"/>
                  </a:lnTo>
                  <a:lnTo>
                    <a:pt x="421" y="540"/>
                  </a:lnTo>
                  <a:lnTo>
                    <a:pt x="421" y="540"/>
                  </a:lnTo>
                  <a:lnTo>
                    <a:pt x="419" y="537"/>
                  </a:lnTo>
                  <a:lnTo>
                    <a:pt x="419" y="531"/>
                  </a:lnTo>
                  <a:lnTo>
                    <a:pt x="421" y="523"/>
                  </a:lnTo>
                  <a:lnTo>
                    <a:pt x="428" y="516"/>
                  </a:lnTo>
                  <a:lnTo>
                    <a:pt x="436" y="514"/>
                  </a:lnTo>
                  <a:lnTo>
                    <a:pt x="443" y="512"/>
                  </a:lnTo>
                  <a:lnTo>
                    <a:pt x="452" y="514"/>
                  </a:lnTo>
                  <a:lnTo>
                    <a:pt x="458" y="520"/>
                  </a:lnTo>
                  <a:lnTo>
                    <a:pt x="462" y="523"/>
                  </a:lnTo>
                  <a:lnTo>
                    <a:pt x="462" y="529"/>
                  </a:lnTo>
                  <a:lnTo>
                    <a:pt x="462" y="529"/>
                  </a:lnTo>
                  <a:lnTo>
                    <a:pt x="465" y="538"/>
                  </a:lnTo>
                  <a:lnTo>
                    <a:pt x="473" y="552"/>
                  </a:lnTo>
                  <a:lnTo>
                    <a:pt x="482" y="561"/>
                  </a:lnTo>
                  <a:lnTo>
                    <a:pt x="486" y="565"/>
                  </a:lnTo>
                  <a:lnTo>
                    <a:pt x="490" y="565"/>
                  </a:lnTo>
                  <a:lnTo>
                    <a:pt x="490" y="565"/>
                  </a:lnTo>
                  <a:lnTo>
                    <a:pt x="501" y="559"/>
                  </a:lnTo>
                  <a:lnTo>
                    <a:pt x="505" y="557"/>
                  </a:lnTo>
                  <a:lnTo>
                    <a:pt x="507" y="561"/>
                  </a:lnTo>
                  <a:lnTo>
                    <a:pt x="518" y="574"/>
                  </a:lnTo>
                  <a:lnTo>
                    <a:pt x="518" y="574"/>
                  </a:lnTo>
                  <a:lnTo>
                    <a:pt x="523" y="578"/>
                  </a:lnTo>
                  <a:lnTo>
                    <a:pt x="531" y="580"/>
                  </a:lnTo>
                  <a:lnTo>
                    <a:pt x="536" y="581"/>
                  </a:lnTo>
                  <a:lnTo>
                    <a:pt x="542" y="580"/>
                  </a:lnTo>
                  <a:lnTo>
                    <a:pt x="548" y="578"/>
                  </a:lnTo>
                  <a:lnTo>
                    <a:pt x="553" y="574"/>
                  </a:lnTo>
                  <a:lnTo>
                    <a:pt x="563" y="563"/>
                  </a:lnTo>
                  <a:lnTo>
                    <a:pt x="579" y="540"/>
                  </a:lnTo>
                  <a:lnTo>
                    <a:pt x="587" y="531"/>
                  </a:lnTo>
                  <a:lnTo>
                    <a:pt x="593" y="525"/>
                  </a:lnTo>
                  <a:lnTo>
                    <a:pt x="593" y="525"/>
                  </a:lnTo>
                  <a:lnTo>
                    <a:pt x="594" y="525"/>
                  </a:lnTo>
                  <a:lnTo>
                    <a:pt x="598" y="525"/>
                  </a:lnTo>
                  <a:lnTo>
                    <a:pt x="606" y="529"/>
                  </a:lnTo>
                  <a:lnTo>
                    <a:pt x="617" y="540"/>
                  </a:lnTo>
                  <a:lnTo>
                    <a:pt x="622" y="546"/>
                  </a:lnTo>
                  <a:lnTo>
                    <a:pt x="626" y="548"/>
                  </a:lnTo>
                  <a:lnTo>
                    <a:pt x="628" y="548"/>
                  </a:lnTo>
                  <a:lnTo>
                    <a:pt x="630" y="546"/>
                  </a:lnTo>
                  <a:lnTo>
                    <a:pt x="630" y="540"/>
                  </a:lnTo>
                  <a:lnTo>
                    <a:pt x="630" y="540"/>
                  </a:lnTo>
                  <a:lnTo>
                    <a:pt x="634" y="529"/>
                  </a:lnTo>
                  <a:lnTo>
                    <a:pt x="637" y="520"/>
                  </a:lnTo>
                  <a:lnTo>
                    <a:pt x="641" y="516"/>
                  </a:lnTo>
                  <a:lnTo>
                    <a:pt x="645" y="512"/>
                  </a:lnTo>
                  <a:lnTo>
                    <a:pt x="649" y="512"/>
                  </a:lnTo>
                  <a:lnTo>
                    <a:pt x="652" y="514"/>
                  </a:lnTo>
                  <a:lnTo>
                    <a:pt x="652" y="514"/>
                  </a:lnTo>
                  <a:lnTo>
                    <a:pt x="660" y="520"/>
                  </a:lnTo>
                  <a:lnTo>
                    <a:pt x="669" y="523"/>
                  </a:lnTo>
                  <a:lnTo>
                    <a:pt x="677" y="522"/>
                  </a:lnTo>
                  <a:lnTo>
                    <a:pt x="682" y="520"/>
                  </a:lnTo>
                  <a:lnTo>
                    <a:pt x="686" y="516"/>
                  </a:lnTo>
                  <a:lnTo>
                    <a:pt x="688" y="510"/>
                  </a:lnTo>
                  <a:lnTo>
                    <a:pt x="686" y="507"/>
                  </a:lnTo>
                  <a:lnTo>
                    <a:pt x="680" y="503"/>
                  </a:lnTo>
                  <a:lnTo>
                    <a:pt x="680" y="503"/>
                  </a:lnTo>
                  <a:lnTo>
                    <a:pt x="673" y="499"/>
                  </a:lnTo>
                  <a:lnTo>
                    <a:pt x="671" y="499"/>
                  </a:lnTo>
                  <a:lnTo>
                    <a:pt x="671" y="497"/>
                  </a:lnTo>
                  <a:lnTo>
                    <a:pt x="675" y="495"/>
                  </a:lnTo>
                  <a:lnTo>
                    <a:pt x="682" y="494"/>
                  </a:lnTo>
                  <a:lnTo>
                    <a:pt x="701" y="492"/>
                  </a:lnTo>
                  <a:lnTo>
                    <a:pt x="714" y="492"/>
                  </a:lnTo>
                  <a:lnTo>
                    <a:pt x="714" y="492"/>
                  </a:lnTo>
                  <a:lnTo>
                    <a:pt x="718" y="492"/>
                  </a:lnTo>
                  <a:lnTo>
                    <a:pt x="721" y="490"/>
                  </a:lnTo>
                  <a:lnTo>
                    <a:pt x="729" y="481"/>
                  </a:lnTo>
                  <a:lnTo>
                    <a:pt x="736" y="471"/>
                  </a:lnTo>
                  <a:lnTo>
                    <a:pt x="746" y="462"/>
                  </a:lnTo>
                  <a:lnTo>
                    <a:pt x="746" y="46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Freeform 59">
              <a:extLst>
                <a:ext uri="{FF2B5EF4-FFF2-40B4-BE49-F238E27FC236}">
                  <a16:creationId xmlns:a16="http://schemas.microsoft.com/office/drawing/2014/main" id="{7DADDDDE-693F-4C25-A111-DC5A9B405D45}"/>
                </a:ext>
              </a:extLst>
            </p:cNvPr>
            <p:cNvSpPr>
              <a:spLocks/>
            </p:cNvSpPr>
            <p:nvPr/>
          </p:nvSpPr>
          <p:spPr bwMode="auto">
            <a:xfrm>
              <a:off x="3916185" y="4197715"/>
              <a:ext cx="1195363" cy="1064564"/>
            </a:xfrm>
            <a:custGeom>
              <a:avLst/>
              <a:gdLst/>
              <a:ahLst/>
              <a:cxnLst>
                <a:cxn ang="0">
                  <a:pos x="1028" y="854"/>
                </a:cxn>
                <a:cxn ang="0">
                  <a:pos x="992" y="794"/>
                </a:cxn>
                <a:cxn ang="0">
                  <a:pos x="931" y="740"/>
                </a:cxn>
                <a:cxn ang="0">
                  <a:pos x="963" y="635"/>
                </a:cxn>
                <a:cxn ang="0">
                  <a:pos x="1007" y="596"/>
                </a:cxn>
                <a:cxn ang="0">
                  <a:pos x="1075" y="607"/>
                </a:cxn>
                <a:cxn ang="0">
                  <a:pos x="1161" y="607"/>
                </a:cxn>
                <a:cxn ang="0">
                  <a:pos x="1232" y="534"/>
                </a:cxn>
                <a:cxn ang="0">
                  <a:pos x="1312" y="418"/>
                </a:cxn>
                <a:cxn ang="0">
                  <a:pos x="1297" y="364"/>
                </a:cxn>
                <a:cxn ang="0">
                  <a:pos x="1265" y="332"/>
                </a:cxn>
                <a:cxn ang="0">
                  <a:pos x="1196" y="308"/>
                </a:cxn>
                <a:cxn ang="0">
                  <a:pos x="1144" y="274"/>
                </a:cxn>
                <a:cxn ang="0">
                  <a:pos x="1037" y="263"/>
                </a:cxn>
                <a:cxn ang="0">
                  <a:pos x="972" y="259"/>
                </a:cxn>
                <a:cxn ang="0">
                  <a:pos x="843" y="246"/>
                </a:cxn>
                <a:cxn ang="0">
                  <a:pos x="813" y="136"/>
                </a:cxn>
                <a:cxn ang="0">
                  <a:pos x="723" y="95"/>
                </a:cxn>
                <a:cxn ang="0">
                  <a:pos x="693" y="39"/>
                </a:cxn>
                <a:cxn ang="0">
                  <a:pos x="619" y="37"/>
                </a:cxn>
                <a:cxn ang="0">
                  <a:pos x="589" y="89"/>
                </a:cxn>
                <a:cxn ang="0">
                  <a:pos x="536" y="166"/>
                </a:cxn>
                <a:cxn ang="0">
                  <a:pos x="523" y="108"/>
                </a:cxn>
                <a:cxn ang="0">
                  <a:pos x="493" y="158"/>
                </a:cxn>
                <a:cxn ang="0">
                  <a:pos x="449" y="222"/>
                </a:cxn>
                <a:cxn ang="0">
                  <a:pos x="381" y="244"/>
                </a:cxn>
                <a:cxn ang="0">
                  <a:pos x="370" y="220"/>
                </a:cxn>
                <a:cxn ang="0">
                  <a:pos x="318" y="214"/>
                </a:cxn>
                <a:cxn ang="0">
                  <a:pos x="292" y="170"/>
                </a:cxn>
                <a:cxn ang="0">
                  <a:pos x="204" y="147"/>
                </a:cxn>
                <a:cxn ang="0">
                  <a:pos x="148" y="29"/>
                </a:cxn>
                <a:cxn ang="0">
                  <a:pos x="28" y="18"/>
                </a:cxn>
                <a:cxn ang="0">
                  <a:pos x="51" y="86"/>
                </a:cxn>
                <a:cxn ang="0">
                  <a:pos x="4" y="142"/>
                </a:cxn>
                <a:cxn ang="0">
                  <a:pos x="47" y="207"/>
                </a:cxn>
                <a:cxn ang="0">
                  <a:pos x="107" y="300"/>
                </a:cxn>
                <a:cxn ang="0">
                  <a:pos x="148" y="394"/>
                </a:cxn>
                <a:cxn ang="0">
                  <a:pos x="137" y="444"/>
                </a:cxn>
                <a:cxn ang="0">
                  <a:pos x="153" y="568"/>
                </a:cxn>
                <a:cxn ang="0">
                  <a:pos x="157" y="835"/>
                </a:cxn>
                <a:cxn ang="0">
                  <a:pos x="179" y="792"/>
                </a:cxn>
                <a:cxn ang="0">
                  <a:pos x="237" y="807"/>
                </a:cxn>
                <a:cxn ang="0">
                  <a:pos x="260" y="896"/>
                </a:cxn>
                <a:cxn ang="0">
                  <a:pos x="323" y="906"/>
                </a:cxn>
                <a:cxn ang="0">
                  <a:pos x="407" y="1085"/>
                </a:cxn>
                <a:cxn ang="0">
                  <a:pos x="426" y="1151"/>
                </a:cxn>
                <a:cxn ang="0">
                  <a:pos x="538" y="1141"/>
                </a:cxn>
                <a:cxn ang="0">
                  <a:pos x="583" y="1147"/>
                </a:cxn>
                <a:cxn ang="0">
                  <a:pos x="593" y="1010"/>
                </a:cxn>
                <a:cxn ang="0">
                  <a:pos x="673" y="941"/>
                </a:cxn>
                <a:cxn ang="0">
                  <a:pos x="701" y="883"/>
                </a:cxn>
                <a:cxn ang="0">
                  <a:pos x="712" y="842"/>
                </a:cxn>
                <a:cxn ang="0">
                  <a:pos x="785" y="842"/>
                </a:cxn>
                <a:cxn ang="0">
                  <a:pos x="791" y="908"/>
                </a:cxn>
                <a:cxn ang="0">
                  <a:pos x="847" y="934"/>
                </a:cxn>
                <a:cxn ang="0">
                  <a:pos x="895" y="947"/>
                </a:cxn>
                <a:cxn ang="0">
                  <a:pos x="951" y="973"/>
                </a:cxn>
                <a:cxn ang="0">
                  <a:pos x="1019" y="923"/>
                </a:cxn>
                <a:cxn ang="0">
                  <a:pos x="944" y="861"/>
                </a:cxn>
              </a:cxnLst>
              <a:rect l="0" t="0" r="r" b="b"/>
              <a:pathLst>
                <a:path w="1316" h="1171">
                  <a:moveTo>
                    <a:pt x="944" y="861"/>
                  </a:moveTo>
                  <a:lnTo>
                    <a:pt x="944" y="861"/>
                  </a:lnTo>
                  <a:lnTo>
                    <a:pt x="949" y="854"/>
                  </a:lnTo>
                  <a:lnTo>
                    <a:pt x="957" y="846"/>
                  </a:lnTo>
                  <a:lnTo>
                    <a:pt x="966" y="842"/>
                  </a:lnTo>
                  <a:lnTo>
                    <a:pt x="977" y="839"/>
                  </a:lnTo>
                  <a:lnTo>
                    <a:pt x="991" y="839"/>
                  </a:lnTo>
                  <a:lnTo>
                    <a:pt x="1002" y="840"/>
                  </a:lnTo>
                  <a:lnTo>
                    <a:pt x="1013" y="844"/>
                  </a:lnTo>
                  <a:lnTo>
                    <a:pt x="1022" y="850"/>
                  </a:lnTo>
                  <a:lnTo>
                    <a:pt x="1022" y="850"/>
                  </a:lnTo>
                  <a:lnTo>
                    <a:pt x="1028" y="854"/>
                  </a:lnTo>
                  <a:lnTo>
                    <a:pt x="1034" y="857"/>
                  </a:lnTo>
                  <a:lnTo>
                    <a:pt x="1034" y="857"/>
                  </a:lnTo>
                  <a:lnTo>
                    <a:pt x="1035" y="854"/>
                  </a:lnTo>
                  <a:lnTo>
                    <a:pt x="1035" y="854"/>
                  </a:lnTo>
                  <a:lnTo>
                    <a:pt x="1035" y="840"/>
                  </a:lnTo>
                  <a:lnTo>
                    <a:pt x="1035" y="829"/>
                  </a:lnTo>
                  <a:lnTo>
                    <a:pt x="1032" y="820"/>
                  </a:lnTo>
                  <a:lnTo>
                    <a:pt x="1028" y="812"/>
                  </a:lnTo>
                  <a:lnTo>
                    <a:pt x="1024" y="807"/>
                  </a:lnTo>
                  <a:lnTo>
                    <a:pt x="1019" y="801"/>
                  </a:lnTo>
                  <a:lnTo>
                    <a:pt x="1006" y="797"/>
                  </a:lnTo>
                  <a:lnTo>
                    <a:pt x="992" y="794"/>
                  </a:lnTo>
                  <a:lnTo>
                    <a:pt x="981" y="792"/>
                  </a:lnTo>
                  <a:lnTo>
                    <a:pt x="972" y="790"/>
                  </a:lnTo>
                  <a:lnTo>
                    <a:pt x="970" y="788"/>
                  </a:lnTo>
                  <a:lnTo>
                    <a:pt x="968" y="786"/>
                  </a:lnTo>
                  <a:lnTo>
                    <a:pt x="968" y="786"/>
                  </a:lnTo>
                  <a:lnTo>
                    <a:pt x="966" y="766"/>
                  </a:lnTo>
                  <a:lnTo>
                    <a:pt x="963" y="754"/>
                  </a:lnTo>
                  <a:lnTo>
                    <a:pt x="957" y="749"/>
                  </a:lnTo>
                  <a:lnTo>
                    <a:pt x="953" y="747"/>
                  </a:lnTo>
                  <a:lnTo>
                    <a:pt x="942" y="747"/>
                  </a:lnTo>
                  <a:lnTo>
                    <a:pt x="936" y="745"/>
                  </a:lnTo>
                  <a:lnTo>
                    <a:pt x="931" y="740"/>
                  </a:lnTo>
                  <a:lnTo>
                    <a:pt x="906" y="706"/>
                  </a:lnTo>
                  <a:lnTo>
                    <a:pt x="906" y="706"/>
                  </a:lnTo>
                  <a:lnTo>
                    <a:pt x="927" y="689"/>
                  </a:lnTo>
                  <a:lnTo>
                    <a:pt x="953" y="669"/>
                  </a:lnTo>
                  <a:lnTo>
                    <a:pt x="953" y="669"/>
                  </a:lnTo>
                  <a:lnTo>
                    <a:pt x="966" y="661"/>
                  </a:lnTo>
                  <a:lnTo>
                    <a:pt x="970" y="657"/>
                  </a:lnTo>
                  <a:lnTo>
                    <a:pt x="972" y="654"/>
                  </a:lnTo>
                  <a:lnTo>
                    <a:pt x="972" y="650"/>
                  </a:lnTo>
                  <a:lnTo>
                    <a:pt x="972" y="646"/>
                  </a:lnTo>
                  <a:lnTo>
                    <a:pt x="968" y="641"/>
                  </a:lnTo>
                  <a:lnTo>
                    <a:pt x="963" y="635"/>
                  </a:lnTo>
                  <a:lnTo>
                    <a:pt x="957" y="629"/>
                  </a:lnTo>
                  <a:lnTo>
                    <a:pt x="955" y="624"/>
                  </a:lnTo>
                  <a:lnTo>
                    <a:pt x="955" y="618"/>
                  </a:lnTo>
                  <a:lnTo>
                    <a:pt x="957" y="614"/>
                  </a:lnTo>
                  <a:lnTo>
                    <a:pt x="957" y="614"/>
                  </a:lnTo>
                  <a:lnTo>
                    <a:pt x="964" y="603"/>
                  </a:lnTo>
                  <a:lnTo>
                    <a:pt x="970" y="594"/>
                  </a:lnTo>
                  <a:lnTo>
                    <a:pt x="977" y="590"/>
                  </a:lnTo>
                  <a:lnTo>
                    <a:pt x="983" y="586"/>
                  </a:lnTo>
                  <a:lnTo>
                    <a:pt x="991" y="586"/>
                  </a:lnTo>
                  <a:lnTo>
                    <a:pt x="996" y="588"/>
                  </a:lnTo>
                  <a:lnTo>
                    <a:pt x="1007" y="596"/>
                  </a:lnTo>
                  <a:lnTo>
                    <a:pt x="1020" y="603"/>
                  </a:lnTo>
                  <a:lnTo>
                    <a:pt x="1032" y="611"/>
                  </a:lnTo>
                  <a:lnTo>
                    <a:pt x="1037" y="614"/>
                  </a:lnTo>
                  <a:lnTo>
                    <a:pt x="1043" y="614"/>
                  </a:lnTo>
                  <a:lnTo>
                    <a:pt x="1049" y="612"/>
                  </a:lnTo>
                  <a:lnTo>
                    <a:pt x="1054" y="609"/>
                  </a:lnTo>
                  <a:lnTo>
                    <a:pt x="1054" y="609"/>
                  </a:lnTo>
                  <a:lnTo>
                    <a:pt x="1058" y="603"/>
                  </a:lnTo>
                  <a:lnTo>
                    <a:pt x="1063" y="601"/>
                  </a:lnTo>
                  <a:lnTo>
                    <a:pt x="1065" y="601"/>
                  </a:lnTo>
                  <a:lnTo>
                    <a:pt x="1069" y="601"/>
                  </a:lnTo>
                  <a:lnTo>
                    <a:pt x="1075" y="607"/>
                  </a:lnTo>
                  <a:lnTo>
                    <a:pt x="1080" y="616"/>
                  </a:lnTo>
                  <a:lnTo>
                    <a:pt x="1086" y="627"/>
                  </a:lnTo>
                  <a:lnTo>
                    <a:pt x="1091" y="631"/>
                  </a:lnTo>
                  <a:lnTo>
                    <a:pt x="1095" y="637"/>
                  </a:lnTo>
                  <a:lnTo>
                    <a:pt x="1103" y="639"/>
                  </a:lnTo>
                  <a:lnTo>
                    <a:pt x="1110" y="641"/>
                  </a:lnTo>
                  <a:lnTo>
                    <a:pt x="1120" y="642"/>
                  </a:lnTo>
                  <a:lnTo>
                    <a:pt x="1129" y="641"/>
                  </a:lnTo>
                  <a:lnTo>
                    <a:pt x="1129" y="641"/>
                  </a:lnTo>
                  <a:lnTo>
                    <a:pt x="1136" y="639"/>
                  </a:lnTo>
                  <a:lnTo>
                    <a:pt x="1144" y="631"/>
                  </a:lnTo>
                  <a:lnTo>
                    <a:pt x="1161" y="607"/>
                  </a:lnTo>
                  <a:lnTo>
                    <a:pt x="1176" y="583"/>
                  </a:lnTo>
                  <a:lnTo>
                    <a:pt x="1179" y="573"/>
                  </a:lnTo>
                  <a:lnTo>
                    <a:pt x="1181" y="568"/>
                  </a:lnTo>
                  <a:lnTo>
                    <a:pt x="1181" y="568"/>
                  </a:lnTo>
                  <a:lnTo>
                    <a:pt x="1183" y="551"/>
                  </a:lnTo>
                  <a:lnTo>
                    <a:pt x="1185" y="540"/>
                  </a:lnTo>
                  <a:lnTo>
                    <a:pt x="1191" y="534"/>
                  </a:lnTo>
                  <a:lnTo>
                    <a:pt x="1196" y="532"/>
                  </a:lnTo>
                  <a:lnTo>
                    <a:pt x="1204" y="530"/>
                  </a:lnTo>
                  <a:lnTo>
                    <a:pt x="1213" y="532"/>
                  </a:lnTo>
                  <a:lnTo>
                    <a:pt x="1222" y="534"/>
                  </a:lnTo>
                  <a:lnTo>
                    <a:pt x="1232" y="534"/>
                  </a:lnTo>
                  <a:lnTo>
                    <a:pt x="1232" y="534"/>
                  </a:lnTo>
                  <a:lnTo>
                    <a:pt x="1235" y="534"/>
                  </a:lnTo>
                  <a:lnTo>
                    <a:pt x="1237" y="530"/>
                  </a:lnTo>
                  <a:lnTo>
                    <a:pt x="1245" y="519"/>
                  </a:lnTo>
                  <a:lnTo>
                    <a:pt x="1262" y="487"/>
                  </a:lnTo>
                  <a:lnTo>
                    <a:pt x="1278" y="450"/>
                  </a:lnTo>
                  <a:lnTo>
                    <a:pt x="1288" y="437"/>
                  </a:lnTo>
                  <a:lnTo>
                    <a:pt x="1291" y="431"/>
                  </a:lnTo>
                  <a:lnTo>
                    <a:pt x="1297" y="427"/>
                  </a:lnTo>
                  <a:lnTo>
                    <a:pt x="1297" y="427"/>
                  </a:lnTo>
                  <a:lnTo>
                    <a:pt x="1305" y="422"/>
                  </a:lnTo>
                  <a:lnTo>
                    <a:pt x="1312" y="418"/>
                  </a:lnTo>
                  <a:lnTo>
                    <a:pt x="1316" y="413"/>
                  </a:lnTo>
                  <a:lnTo>
                    <a:pt x="1316" y="409"/>
                  </a:lnTo>
                  <a:lnTo>
                    <a:pt x="1316" y="405"/>
                  </a:lnTo>
                  <a:lnTo>
                    <a:pt x="1314" y="401"/>
                  </a:lnTo>
                  <a:lnTo>
                    <a:pt x="1308" y="396"/>
                  </a:lnTo>
                  <a:lnTo>
                    <a:pt x="1293" y="385"/>
                  </a:lnTo>
                  <a:lnTo>
                    <a:pt x="1291" y="383"/>
                  </a:lnTo>
                  <a:lnTo>
                    <a:pt x="1290" y="379"/>
                  </a:lnTo>
                  <a:lnTo>
                    <a:pt x="1290" y="375"/>
                  </a:lnTo>
                  <a:lnTo>
                    <a:pt x="1291" y="371"/>
                  </a:lnTo>
                  <a:lnTo>
                    <a:pt x="1291" y="371"/>
                  </a:lnTo>
                  <a:lnTo>
                    <a:pt x="1297" y="364"/>
                  </a:lnTo>
                  <a:lnTo>
                    <a:pt x="1303" y="360"/>
                  </a:lnTo>
                  <a:lnTo>
                    <a:pt x="1305" y="358"/>
                  </a:lnTo>
                  <a:lnTo>
                    <a:pt x="1306" y="360"/>
                  </a:lnTo>
                  <a:lnTo>
                    <a:pt x="1306" y="360"/>
                  </a:lnTo>
                  <a:lnTo>
                    <a:pt x="1305" y="353"/>
                  </a:lnTo>
                  <a:lnTo>
                    <a:pt x="1303" y="334"/>
                  </a:lnTo>
                  <a:lnTo>
                    <a:pt x="1303" y="334"/>
                  </a:lnTo>
                  <a:lnTo>
                    <a:pt x="1291" y="332"/>
                  </a:lnTo>
                  <a:lnTo>
                    <a:pt x="1282" y="330"/>
                  </a:lnTo>
                  <a:lnTo>
                    <a:pt x="1273" y="330"/>
                  </a:lnTo>
                  <a:lnTo>
                    <a:pt x="1265" y="332"/>
                  </a:lnTo>
                  <a:lnTo>
                    <a:pt x="1265" y="332"/>
                  </a:lnTo>
                  <a:lnTo>
                    <a:pt x="1254" y="338"/>
                  </a:lnTo>
                  <a:lnTo>
                    <a:pt x="1250" y="340"/>
                  </a:lnTo>
                  <a:lnTo>
                    <a:pt x="1248" y="340"/>
                  </a:lnTo>
                  <a:lnTo>
                    <a:pt x="1245" y="340"/>
                  </a:lnTo>
                  <a:lnTo>
                    <a:pt x="1239" y="338"/>
                  </a:lnTo>
                  <a:lnTo>
                    <a:pt x="1228" y="325"/>
                  </a:lnTo>
                  <a:lnTo>
                    <a:pt x="1228" y="325"/>
                  </a:lnTo>
                  <a:lnTo>
                    <a:pt x="1220" y="319"/>
                  </a:lnTo>
                  <a:lnTo>
                    <a:pt x="1215" y="315"/>
                  </a:lnTo>
                  <a:lnTo>
                    <a:pt x="1205" y="312"/>
                  </a:lnTo>
                  <a:lnTo>
                    <a:pt x="1200" y="310"/>
                  </a:lnTo>
                  <a:lnTo>
                    <a:pt x="1196" y="308"/>
                  </a:lnTo>
                  <a:lnTo>
                    <a:pt x="1192" y="304"/>
                  </a:lnTo>
                  <a:lnTo>
                    <a:pt x="1191" y="299"/>
                  </a:lnTo>
                  <a:lnTo>
                    <a:pt x="1191" y="299"/>
                  </a:lnTo>
                  <a:lnTo>
                    <a:pt x="1191" y="295"/>
                  </a:lnTo>
                  <a:lnTo>
                    <a:pt x="1189" y="295"/>
                  </a:lnTo>
                  <a:lnTo>
                    <a:pt x="1183" y="295"/>
                  </a:lnTo>
                  <a:lnTo>
                    <a:pt x="1172" y="299"/>
                  </a:lnTo>
                  <a:lnTo>
                    <a:pt x="1164" y="300"/>
                  </a:lnTo>
                  <a:lnTo>
                    <a:pt x="1157" y="297"/>
                  </a:lnTo>
                  <a:lnTo>
                    <a:pt x="1153" y="293"/>
                  </a:lnTo>
                  <a:lnTo>
                    <a:pt x="1149" y="289"/>
                  </a:lnTo>
                  <a:lnTo>
                    <a:pt x="1144" y="274"/>
                  </a:lnTo>
                  <a:lnTo>
                    <a:pt x="1144" y="274"/>
                  </a:lnTo>
                  <a:lnTo>
                    <a:pt x="1142" y="269"/>
                  </a:lnTo>
                  <a:lnTo>
                    <a:pt x="1138" y="267"/>
                  </a:lnTo>
                  <a:lnTo>
                    <a:pt x="1133" y="265"/>
                  </a:lnTo>
                  <a:lnTo>
                    <a:pt x="1125" y="263"/>
                  </a:lnTo>
                  <a:lnTo>
                    <a:pt x="1108" y="265"/>
                  </a:lnTo>
                  <a:lnTo>
                    <a:pt x="1090" y="267"/>
                  </a:lnTo>
                  <a:lnTo>
                    <a:pt x="1071" y="269"/>
                  </a:lnTo>
                  <a:lnTo>
                    <a:pt x="1054" y="271"/>
                  </a:lnTo>
                  <a:lnTo>
                    <a:pt x="1047" y="269"/>
                  </a:lnTo>
                  <a:lnTo>
                    <a:pt x="1041" y="267"/>
                  </a:lnTo>
                  <a:lnTo>
                    <a:pt x="1037" y="263"/>
                  </a:lnTo>
                  <a:lnTo>
                    <a:pt x="1035" y="257"/>
                  </a:lnTo>
                  <a:lnTo>
                    <a:pt x="1035" y="257"/>
                  </a:lnTo>
                  <a:lnTo>
                    <a:pt x="1032" y="250"/>
                  </a:lnTo>
                  <a:lnTo>
                    <a:pt x="1030" y="246"/>
                  </a:lnTo>
                  <a:lnTo>
                    <a:pt x="1026" y="243"/>
                  </a:lnTo>
                  <a:lnTo>
                    <a:pt x="1022" y="241"/>
                  </a:lnTo>
                  <a:lnTo>
                    <a:pt x="1011" y="241"/>
                  </a:lnTo>
                  <a:lnTo>
                    <a:pt x="1002" y="244"/>
                  </a:lnTo>
                  <a:lnTo>
                    <a:pt x="983" y="256"/>
                  </a:lnTo>
                  <a:lnTo>
                    <a:pt x="976" y="259"/>
                  </a:lnTo>
                  <a:lnTo>
                    <a:pt x="972" y="259"/>
                  </a:lnTo>
                  <a:lnTo>
                    <a:pt x="972" y="259"/>
                  </a:lnTo>
                  <a:lnTo>
                    <a:pt x="961" y="248"/>
                  </a:lnTo>
                  <a:lnTo>
                    <a:pt x="957" y="244"/>
                  </a:lnTo>
                  <a:lnTo>
                    <a:pt x="955" y="244"/>
                  </a:lnTo>
                  <a:lnTo>
                    <a:pt x="955" y="244"/>
                  </a:lnTo>
                  <a:lnTo>
                    <a:pt x="927" y="261"/>
                  </a:lnTo>
                  <a:lnTo>
                    <a:pt x="927" y="261"/>
                  </a:lnTo>
                  <a:lnTo>
                    <a:pt x="921" y="263"/>
                  </a:lnTo>
                  <a:lnTo>
                    <a:pt x="916" y="265"/>
                  </a:lnTo>
                  <a:lnTo>
                    <a:pt x="899" y="265"/>
                  </a:lnTo>
                  <a:lnTo>
                    <a:pt x="878" y="261"/>
                  </a:lnTo>
                  <a:lnTo>
                    <a:pt x="860" y="254"/>
                  </a:lnTo>
                  <a:lnTo>
                    <a:pt x="843" y="246"/>
                  </a:lnTo>
                  <a:lnTo>
                    <a:pt x="828" y="237"/>
                  </a:lnTo>
                  <a:lnTo>
                    <a:pt x="824" y="231"/>
                  </a:lnTo>
                  <a:lnTo>
                    <a:pt x="821" y="226"/>
                  </a:lnTo>
                  <a:lnTo>
                    <a:pt x="821" y="222"/>
                  </a:lnTo>
                  <a:lnTo>
                    <a:pt x="822" y="216"/>
                  </a:lnTo>
                  <a:lnTo>
                    <a:pt x="822" y="216"/>
                  </a:lnTo>
                  <a:lnTo>
                    <a:pt x="824" y="211"/>
                  </a:lnTo>
                  <a:lnTo>
                    <a:pt x="826" y="205"/>
                  </a:lnTo>
                  <a:lnTo>
                    <a:pt x="828" y="188"/>
                  </a:lnTo>
                  <a:lnTo>
                    <a:pt x="824" y="172"/>
                  </a:lnTo>
                  <a:lnTo>
                    <a:pt x="821" y="153"/>
                  </a:lnTo>
                  <a:lnTo>
                    <a:pt x="813" y="136"/>
                  </a:lnTo>
                  <a:lnTo>
                    <a:pt x="806" y="121"/>
                  </a:lnTo>
                  <a:lnTo>
                    <a:pt x="796" y="112"/>
                  </a:lnTo>
                  <a:lnTo>
                    <a:pt x="792" y="108"/>
                  </a:lnTo>
                  <a:lnTo>
                    <a:pt x="787" y="106"/>
                  </a:lnTo>
                  <a:lnTo>
                    <a:pt x="787" y="106"/>
                  </a:lnTo>
                  <a:lnTo>
                    <a:pt x="774" y="104"/>
                  </a:lnTo>
                  <a:lnTo>
                    <a:pt x="759" y="106"/>
                  </a:lnTo>
                  <a:lnTo>
                    <a:pt x="748" y="104"/>
                  </a:lnTo>
                  <a:lnTo>
                    <a:pt x="740" y="102"/>
                  </a:lnTo>
                  <a:lnTo>
                    <a:pt x="733" y="99"/>
                  </a:lnTo>
                  <a:lnTo>
                    <a:pt x="733" y="99"/>
                  </a:lnTo>
                  <a:lnTo>
                    <a:pt x="723" y="95"/>
                  </a:lnTo>
                  <a:lnTo>
                    <a:pt x="714" y="93"/>
                  </a:lnTo>
                  <a:lnTo>
                    <a:pt x="707" y="91"/>
                  </a:lnTo>
                  <a:lnTo>
                    <a:pt x="699" y="86"/>
                  </a:lnTo>
                  <a:lnTo>
                    <a:pt x="693" y="78"/>
                  </a:lnTo>
                  <a:lnTo>
                    <a:pt x="692" y="74"/>
                  </a:lnTo>
                  <a:lnTo>
                    <a:pt x="692" y="69"/>
                  </a:lnTo>
                  <a:lnTo>
                    <a:pt x="692" y="61"/>
                  </a:lnTo>
                  <a:lnTo>
                    <a:pt x="695" y="54"/>
                  </a:lnTo>
                  <a:lnTo>
                    <a:pt x="695" y="54"/>
                  </a:lnTo>
                  <a:lnTo>
                    <a:pt x="695" y="48"/>
                  </a:lnTo>
                  <a:lnTo>
                    <a:pt x="695" y="43"/>
                  </a:lnTo>
                  <a:lnTo>
                    <a:pt x="693" y="39"/>
                  </a:lnTo>
                  <a:lnTo>
                    <a:pt x="692" y="35"/>
                  </a:lnTo>
                  <a:lnTo>
                    <a:pt x="684" y="29"/>
                  </a:lnTo>
                  <a:lnTo>
                    <a:pt x="675" y="20"/>
                  </a:lnTo>
                  <a:lnTo>
                    <a:pt x="675" y="20"/>
                  </a:lnTo>
                  <a:lnTo>
                    <a:pt x="664" y="13"/>
                  </a:lnTo>
                  <a:lnTo>
                    <a:pt x="656" y="11"/>
                  </a:lnTo>
                  <a:lnTo>
                    <a:pt x="650" y="13"/>
                  </a:lnTo>
                  <a:lnTo>
                    <a:pt x="647" y="16"/>
                  </a:lnTo>
                  <a:lnTo>
                    <a:pt x="643" y="22"/>
                  </a:lnTo>
                  <a:lnTo>
                    <a:pt x="637" y="28"/>
                  </a:lnTo>
                  <a:lnTo>
                    <a:pt x="630" y="33"/>
                  </a:lnTo>
                  <a:lnTo>
                    <a:pt x="619" y="37"/>
                  </a:lnTo>
                  <a:lnTo>
                    <a:pt x="619" y="37"/>
                  </a:lnTo>
                  <a:lnTo>
                    <a:pt x="611" y="39"/>
                  </a:lnTo>
                  <a:lnTo>
                    <a:pt x="609" y="43"/>
                  </a:lnTo>
                  <a:lnTo>
                    <a:pt x="609" y="44"/>
                  </a:lnTo>
                  <a:lnTo>
                    <a:pt x="607" y="48"/>
                  </a:lnTo>
                  <a:lnTo>
                    <a:pt x="607" y="48"/>
                  </a:lnTo>
                  <a:lnTo>
                    <a:pt x="598" y="52"/>
                  </a:lnTo>
                  <a:lnTo>
                    <a:pt x="591" y="56"/>
                  </a:lnTo>
                  <a:lnTo>
                    <a:pt x="587" y="61"/>
                  </a:lnTo>
                  <a:lnTo>
                    <a:pt x="583" y="67"/>
                  </a:lnTo>
                  <a:lnTo>
                    <a:pt x="583" y="76"/>
                  </a:lnTo>
                  <a:lnTo>
                    <a:pt x="589" y="89"/>
                  </a:lnTo>
                  <a:lnTo>
                    <a:pt x="602" y="106"/>
                  </a:lnTo>
                  <a:lnTo>
                    <a:pt x="602" y="106"/>
                  </a:lnTo>
                  <a:lnTo>
                    <a:pt x="606" y="112"/>
                  </a:lnTo>
                  <a:lnTo>
                    <a:pt x="607" y="117"/>
                  </a:lnTo>
                  <a:lnTo>
                    <a:pt x="606" y="121"/>
                  </a:lnTo>
                  <a:lnTo>
                    <a:pt x="600" y="127"/>
                  </a:lnTo>
                  <a:lnTo>
                    <a:pt x="583" y="138"/>
                  </a:lnTo>
                  <a:lnTo>
                    <a:pt x="555" y="157"/>
                  </a:lnTo>
                  <a:lnTo>
                    <a:pt x="555" y="157"/>
                  </a:lnTo>
                  <a:lnTo>
                    <a:pt x="548" y="162"/>
                  </a:lnTo>
                  <a:lnTo>
                    <a:pt x="540" y="166"/>
                  </a:lnTo>
                  <a:lnTo>
                    <a:pt x="536" y="166"/>
                  </a:lnTo>
                  <a:lnTo>
                    <a:pt x="535" y="164"/>
                  </a:lnTo>
                  <a:lnTo>
                    <a:pt x="533" y="162"/>
                  </a:lnTo>
                  <a:lnTo>
                    <a:pt x="533" y="157"/>
                  </a:lnTo>
                  <a:lnTo>
                    <a:pt x="535" y="145"/>
                  </a:lnTo>
                  <a:lnTo>
                    <a:pt x="540" y="119"/>
                  </a:lnTo>
                  <a:lnTo>
                    <a:pt x="540" y="110"/>
                  </a:lnTo>
                  <a:lnTo>
                    <a:pt x="538" y="106"/>
                  </a:lnTo>
                  <a:lnTo>
                    <a:pt x="535" y="104"/>
                  </a:lnTo>
                  <a:lnTo>
                    <a:pt x="535" y="104"/>
                  </a:lnTo>
                  <a:lnTo>
                    <a:pt x="529" y="104"/>
                  </a:lnTo>
                  <a:lnTo>
                    <a:pt x="525" y="106"/>
                  </a:lnTo>
                  <a:lnTo>
                    <a:pt x="523" y="108"/>
                  </a:lnTo>
                  <a:lnTo>
                    <a:pt x="521" y="112"/>
                  </a:lnTo>
                  <a:lnTo>
                    <a:pt x="521" y="112"/>
                  </a:lnTo>
                  <a:lnTo>
                    <a:pt x="520" y="121"/>
                  </a:lnTo>
                  <a:lnTo>
                    <a:pt x="520" y="130"/>
                  </a:lnTo>
                  <a:lnTo>
                    <a:pt x="520" y="153"/>
                  </a:lnTo>
                  <a:lnTo>
                    <a:pt x="518" y="160"/>
                  </a:lnTo>
                  <a:lnTo>
                    <a:pt x="516" y="164"/>
                  </a:lnTo>
                  <a:lnTo>
                    <a:pt x="514" y="166"/>
                  </a:lnTo>
                  <a:lnTo>
                    <a:pt x="510" y="166"/>
                  </a:lnTo>
                  <a:lnTo>
                    <a:pt x="507" y="164"/>
                  </a:lnTo>
                  <a:lnTo>
                    <a:pt x="493" y="158"/>
                  </a:lnTo>
                  <a:lnTo>
                    <a:pt x="493" y="158"/>
                  </a:lnTo>
                  <a:lnTo>
                    <a:pt x="484" y="155"/>
                  </a:lnTo>
                  <a:lnTo>
                    <a:pt x="473" y="153"/>
                  </a:lnTo>
                  <a:lnTo>
                    <a:pt x="465" y="157"/>
                  </a:lnTo>
                  <a:lnTo>
                    <a:pt x="458" y="162"/>
                  </a:lnTo>
                  <a:lnTo>
                    <a:pt x="452" y="170"/>
                  </a:lnTo>
                  <a:lnTo>
                    <a:pt x="450" y="179"/>
                  </a:lnTo>
                  <a:lnTo>
                    <a:pt x="450" y="190"/>
                  </a:lnTo>
                  <a:lnTo>
                    <a:pt x="454" y="201"/>
                  </a:lnTo>
                  <a:lnTo>
                    <a:pt x="454" y="201"/>
                  </a:lnTo>
                  <a:lnTo>
                    <a:pt x="456" y="209"/>
                  </a:lnTo>
                  <a:lnTo>
                    <a:pt x="454" y="216"/>
                  </a:lnTo>
                  <a:lnTo>
                    <a:pt x="449" y="222"/>
                  </a:lnTo>
                  <a:lnTo>
                    <a:pt x="439" y="228"/>
                  </a:lnTo>
                  <a:lnTo>
                    <a:pt x="430" y="229"/>
                  </a:lnTo>
                  <a:lnTo>
                    <a:pt x="421" y="231"/>
                  </a:lnTo>
                  <a:lnTo>
                    <a:pt x="402" y="231"/>
                  </a:lnTo>
                  <a:lnTo>
                    <a:pt x="402" y="231"/>
                  </a:lnTo>
                  <a:lnTo>
                    <a:pt x="393" y="229"/>
                  </a:lnTo>
                  <a:lnTo>
                    <a:pt x="393" y="229"/>
                  </a:lnTo>
                  <a:lnTo>
                    <a:pt x="391" y="231"/>
                  </a:lnTo>
                  <a:lnTo>
                    <a:pt x="391" y="235"/>
                  </a:lnTo>
                  <a:lnTo>
                    <a:pt x="387" y="239"/>
                  </a:lnTo>
                  <a:lnTo>
                    <a:pt x="381" y="244"/>
                  </a:lnTo>
                  <a:lnTo>
                    <a:pt x="381" y="244"/>
                  </a:lnTo>
                  <a:lnTo>
                    <a:pt x="374" y="248"/>
                  </a:lnTo>
                  <a:lnTo>
                    <a:pt x="366" y="250"/>
                  </a:lnTo>
                  <a:lnTo>
                    <a:pt x="361" y="250"/>
                  </a:lnTo>
                  <a:lnTo>
                    <a:pt x="359" y="248"/>
                  </a:lnTo>
                  <a:lnTo>
                    <a:pt x="357" y="246"/>
                  </a:lnTo>
                  <a:lnTo>
                    <a:pt x="359" y="243"/>
                  </a:lnTo>
                  <a:lnTo>
                    <a:pt x="359" y="243"/>
                  </a:lnTo>
                  <a:lnTo>
                    <a:pt x="365" y="237"/>
                  </a:lnTo>
                  <a:lnTo>
                    <a:pt x="368" y="233"/>
                  </a:lnTo>
                  <a:lnTo>
                    <a:pt x="370" y="229"/>
                  </a:lnTo>
                  <a:lnTo>
                    <a:pt x="372" y="226"/>
                  </a:lnTo>
                  <a:lnTo>
                    <a:pt x="370" y="220"/>
                  </a:lnTo>
                  <a:lnTo>
                    <a:pt x="365" y="214"/>
                  </a:lnTo>
                  <a:lnTo>
                    <a:pt x="353" y="209"/>
                  </a:lnTo>
                  <a:lnTo>
                    <a:pt x="353" y="209"/>
                  </a:lnTo>
                  <a:lnTo>
                    <a:pt x="350" y="209"/>
                  </a:lnTo>
                  <a:lnTo>
                    <a:pt x="344" y="213"/>
                  </a:lnTo>
                  <a:lnTo>
                    <a:pt x="331" y="222"/>
                  </a:lnTo>
                  <a:lnTo>
                    <a:pt x="325" y="228"/>
                  </a:lnTo>
                  <a:lnTo>
                    <a:pt x="320" y="228"/>
                  </a:lnTo>
                  <a:lnTo>
                    <a:pt x="318" y="228"/>
                  </a:lnTo>
                  <a:lnTo>
                    <a:pt x="318" y="224"/>
                  </a:lnTo>
                  <a:lnTo>
                    <a:pt x="318" y="214"/>
                  </a:lnTo>
                  <a:lnTo>
                    <a:pt x="318" y="214"/>
                  </a:lnTo>
                  <a:lnTo>
                    <a:pt x="320" y="209"/>
                  </a:lnTo>
                  <a:lnTo>
                    <a:pt x="322" y="203"/>
                  </a:lnTo>
                  <a:lnTo>
                    <a:pt x="327" y="198"/>
                  </a:lnTo>
                  <a:lnTo>
                    <a:pt x="327" y="194"/>
                  </a:lnTo>
                  <a:lnTo>
                    <a:pt x="325" y="188"/>
                  </a:lnTo>
                  <a:lnTo>
                    <a:pt x="318" y="181"/>
                  </a:lnTo>
                  <a:lnTo>
                    <a:pt x="305" y="170"/>
                  </a:lnTo>
                  <a:lnTo>
                    <a:pt x="305" y="170"/>
                  </a:lnTo>
                  <a:lnTo>
                    <a:pt x="301" y="168"/>
                  </a:lnTo>
                  <a:lnTo>
                    <a:pt x="297" y="166"/>
                  </a:lnTo>
                  <a:lnTo>
                    <a:pt x="293" y="168"/>
                  </a:lnTo>
                  <a:lnTo>
                    <a:pt x="292" y="170"/>
                  </a:lnTo>
                  <a:lnTo>
                    <a:pt x="284" y="188"/>
                  </a:lnTo>
                  <a:lnTo>
                    <a:pt x="282" y="192"/>
                  </a:lnTo>
                  <a:lnTo>
                    <a:pt x="279" y="196"/>
                  </a:lnTo>
                  <a:lnTo>
                    <a:pt x="273" y="198"/>
                  </a:lnTo>
                  <a:lnTo>
                    <a:pt x="267" y="198"/>
                  </a:lnTo>
                  <a:lnTo>
                    <a:pt x="262" y="196"/>
                  </a:lnTo>
                  <a:lnTo>
                    <a:pt x="252" y="192"/>
                  </a:lnTo>
                  <a:lnTo>
                    <a:pt x="243" y="185"/>
                  </a:lnTo>
                  <a:lnTo>
                    <a:pt x="230" y="175"/>
                  </a:lnTo>
                  <a:lnTo>
                    <a:pt x="230" y="175"/>
                  </a:lnTo>
                  <a:lnTo>
                    <a:pt x="213" y="157"/>
                  </a:lnTo>
                  <a:lnTo>
                    <a:pt x="204" y="147"/>
                  </a:lnTo>
                  <a:lnTo>
                    <a:pt x="193" y="140"/>
                  </a:lnTo>
                  <a:lnTo>
                    <a:pt x="193" y="140"/>
                  </a:lnTo>
                  <a:lnTo>
                    <a:pt x="185" y="136"/>
                  </a:lnTo>
                  <a:lnTo>
                    <a:pt x="179" y="129"/>
                  </a:lnTo>
                  <a:lnTo>
                    <a:pt x="176" y="121"/>
                  </a:lnTo>
                  <a:lnTo>
                    <a:pt x="172" y="112"/>
                  </a:lnTo>
                  <a:lnTo>
                    <a:pt x="168" y="91"/>
                  </a:lnTo>
                  <a:lnTo>
                    <a:pt x="165" y="69"/>
                  </a:lnTo>
                  <a:lnTo>
                    <a:pt x="163" y="58"/>
                  </a:lnTo>
                  <a:lnTo>
                    <a:pt x="159" y="48"/>
                  </a:lnTo>
                  <a:lnTo>
                    <a:pt x="153" y="39"/>
                  </a:lnTo>
                  <a:lnTo>
                    <a:pt x="148" y="29"/>
                  </a:lnTo>
                  <a:lnTo>
                    <a:pt x="140" y="22"/>
                  </a:lnTo>
                  <a:lnTo>
                    <a:pt x="129" y="16"/>
                  </a:lnTo>
                  <a:lnTo>
                    <a:pt x="116" y="13"/>
                  </a:lnTo>
                  <a:lnTo>
                    <a:pt x="101" y="11"/>
                  </a:lnTo>
                  <a:lnTo>
                    <a:pt x="101" y="11"/>
                  </a:lnTo>
                  <a:lnTo>
                    <a:pt x="86" y="9"/>
                  </a:lnTo>
                  <a:lnTo>
                    <a:pt x="75" y="7"/>
                  </a:lnTo>
                  <a:lnTo>
                    <a:pt x="60" y="1"/>
                  </a:lnTo>
                  <a:lnTo>
                    <a:pt x="54" y="0"/>
                  </a:lnTo>
                  <a:lnTo>
                    <a:pt x="49" y="1"/>
                  </a:lnTo>
                  <a:lnTo>
                    <a:pt x="39" y="7"/>
                  </a:lnTo>
                  <a:lnTo>
                    <a:pt x="28" y="18"/>
                  </a:lnTo>
                  <a:lnTo>
                    <a:pt x="28" y="18"/>
                  </a:lnTo>
                  <a:lnTo>
                    <a:pt x="24" y="24"/>
                  </a:lnTo>
                  <a:lnTo>
                    <a:pt x="21" y="29"/>
                  </a:lnTo>
                  <a:lnTo>
                    <a:pt x="19" y="35"/>
                  </a:lnTo>
                  <a:lnTo>
                    <a:pt x="19" y="41"/>
                  </a:lnTo>
                  <a:lnTo>
                    <a:pt x="21" y="46"/>
                  </a:lnTo>
                  <a:lnTo>
                    <a:pt x="24" y="50"/>
                  </a:lnTo>
                  <a:lnTo>
                    <a:pt x="32" y="59"/>
                  </a:lnTo>
                  <a:lnTo>
                    <a:pt x="49" y="74"/>
                  </a:lnTo>
                  <a:lnTo>
                    <a:pt x="52" y="80"/>
                  </a:lnTo>
                  <a:lnTo>
                    <a:pt x="52" y="82"/>
                  </a:lnTo>
                  <a:lnTo>
                    <a:pt x="51" y="86"/>
                  </a:lnTo>
                  <a:lnTo>
                    <a:pt x="51" y="86"/>
                  </a:lnTo>
                  <a:lnTo>
                    <a:pt x="51" y="86"/>
                  </a:lnTo>
                  <a:lnTo>
                    <a:pt x="45" y="87"/>
                  </a:lnTo>
                  <a:lnTo>
                    <a:pt x="36" y="97"/>
                  </a:lnTo>
                  <a:lnTo>
                    <a:pt x="24" y="112"/>
                  </a:lnTo>
                  <a:lnTo>
                    <a:pt x="24" y="112"/>
                  </a:lnTo>
                  <a:lnTo>
                    <a:pt x="19" y="119"/>
                  </a:lnTo>
                  <a:lnTo>
                    <a:pt x="17" y="125"/>
                  </a:lnTo>
                  <a:lnTo>
                    <a:pt x="15" y="130"/>
                  </a:lnTo>
                  <a:lnTo>
                    <a:pt x="9" y="138"/>
                  </a:lnTo>
                  <a:lnTo>
                    <a:pt x="9" y="138"/>
                  </a:lnTo>
                  <a:lnTo>
                    <a:pt x="4" y="142"/>
                  </a:lnTo>
                  <a:lnTo>
                    <a:pt x="2" y="145"/>
                  </a:lnTo>
                  <a:lnTo>
                    <a:pt x="0" y="151"/>
                  </a:lnTo>
                  <a:lnTo>
                    <a:pt x="0" y="157"/>
                  </a:lnTo>
                  <a:lnTo>
                    <a:pt x="2" y="166"/>
                  </a:lnTo>
                  <a:lnTo>
                    <a:pt x="8" y="175"/>
                  </a:lnTo>
                  <a:lnTo>
                    <a:pt x="15" y="185"/>
                  </a:lnTo>
                  <a:lnTo>
                    <a:pt x="24" y="192"/>
                  </a:lnTo>
                  <a:lnTo>
                    <a:pt x="32" y="200"/>
                  </a:lnTo>
                  <a:lnTo>
                    <a:pt x="41" y="203"/>
                  </a:lnTo>
                  <a:lnTo>
                    <a:pt x="41" y="203"/>
                  </a:lnTo>
                  <a:lnTo>
                    <a:pt x="47" y="207"/>
                  </a:lnTo>
                  <a:lnTo>
                    <a:pt x="47" y="207"/>
                  </a:lnTo>
                  <a:lnTo>
                    <a:pt x="54" y="211"/>
                  </a:lnTo>
                  <a:lnTo>
                    <a:pt x="60" y="214"/>
                  </a:lnTo>
                  <a:lnTo>
                    <a:pt x="75" y="226"/>
                  </a:lnTo>
                  <a:lnTo>
                    <a:pt x="80" y="235"/>
                  </a:lnTo>
                  <a:lnTo>
                    <a:pt x="86" y="243"/>
                  </a:lnTo>
                  <a:lnTo>
                    <a:pt x="92" y="252"/>
                  </a:lnTo>
                  <a:lnTo>
                    <a:pt x="94" y="259"/>
                  </a:lnTo>
                  <a:lnTo>
                    <a:pt x="94" y="259"/>
                  </a:lnTo>
                  <a:lnTo>
                    <a:pt x="95" y="267"/>
                  </a:lnTo>
                  <a:lnTo>
                    <a:pt x="101" y="278"/>
                  </a:lnTo>
                  <a:lnTo>
                    <a:pt x="105" y="291"/>
                  </a:lnTo>
                  <a:lnTo>
                    <a:pt x="107" y="300"/>
                  </a:lnTo>
                  <a:lnTo>
                    <a:pt x="107" y="314"/>
                  </a:lnTo>
                  <a:lnTo>
                    <a:pt x="107" y="314"/>
                  </a:lnTo>
                  <a:lnTo>
                    <a:pt x="108" y="321"/>
                  </a:lnTo>
                  <a:lnTo>
                    <a:pt x="116" y="332"/>
                  </a:lnTo>
                  <a:lnTo>
                    <a:pt x="123" y="343"/>
                  </a:lnTo>
                  <a:lnTo>
                    <a:pt x="129" y="353"/>
                  </a:lnTo>
                  <a:lnTo>
                    <a:pt x="129" y="353"/>
                  </a:lnTo>
                  <a:lnTo>
                    <a:pt x="137" y="362"/>
                  </a:lnTo>
                  <a:lnTo>
                    <a:pt x="146" y="379"/>
                  </a:lnTo>
                  <a:lnTo>
                    <a:pt x="150" y="386"/>
                  </a:lnTo>
                  <a:lnTo>
                    <a:pt x="150" y="392"/>
                  </a:lnTo>
                  <a:lnTo>
                    <a:pt x="148" y="394"/>
                  </a:lnTo>
                  <a:lnTo>
                    <a:pt x="146" y="394"/>
                  </a:lnTo>
                  <a:lnTo>
                    <a:pt x="137" y="392"/>
                  </a:lnTo>
                  <a:lnTo>
                    <a:pt x="137" y="392"/>
                  </a:lnTo>
                  <a:lnTo>
                    <a:pt x="127" y="390"/>
                  </a:lnTo>
                  <a:lnTo>
                    <a:pt x="123" y="392"/>
                  </a:lnTo>
                  <a:lnTo>
                    <a:pt x="123" y="394"/>
                  </a:lnTo>
                  <a:lnTo>
                    <a:pt x="122" y="399"/>
                  </a:lnTo>
                  <a:lnTo>
                    <a:pt x="125" y="409"/>
                  </a:lnTo>
                  <a:lnTo>
                    <a:pt x="133" y="429"/>
                  </a:lnTo>
                  <a:lnTo>
                    <a:pt x="137" y="437"/>
                  </a:lnTo>
                  <a:lnTo>
                    <a:pt x="137" y="444"/>
                  </a:lnTo>
                  <a:lnTo>
                    <a:pt x="137" y="444"/>
                  </a:lnTo>
                  <a:lnTo>
                    <a:pt x="137" y="448"/>
                  </a:lnTo>
                  <a:lnTo>
                    <a:pt x="138" y="452"/>
                  </a:lnTo>
                  <a:lnTo>
                    <a:pt x="144" y="457"/>
                  </a:lnTo>
                  <a:lnTo>
                    <a:pt x="148" y="465"/>
                  </a:lnTo>
                  <a:lnTo>
                    <a:pt x="150" y="472"/>
                  </a:lnTo>
                  <a:lnTo>
                    <a:pt x="150" y="484"/>
                  </a:lnTo>
                  <a:lnTo>
                    <a:pt x="146" y="500"/>
                  </a:lnTo>
                  <a:lnTo>
                    <a:pt x="146" y="500"/>
                  </a:lnTo>
                  <a:lnTo>
                    <a:pt x="144" y="513"/>
                  </a:lnTo>
                  <a:lnTo>
                    <a:pt x="144" y="527"/>
                  </a:lnTo>
                  <a:lnTo>
                    <a:pt x="150" y="555"/>
                  </a:lnTo>
                  <a:lnTo>
                    <a:pt x="153" y="568"/>
                  </a:lnTo>
                  <a:lnTo>
                    <a:pt x="153" y="581"/>
                  </a:lnTo>
                  <a:lnTo>
                    <a:pt x="151" y="594"/>
                  </a:lnTo>
                  <a:lnTo>
                    <a:pt x="146" y="605"/>
                  </a:lnTo>
                  <a:lnTo>
                    <a:pt x="146" y="605"/>
                  </a:lnTo>
                  <a:lnTo>
                    <a:pt x="144" y="635"/>
                  </a:lnTo>
                  <a:lnTo>
                    <a:pt x="144" y="698"/>
                  </a:lnTo>
                  <a:lnTo>
                    <a:pt x="144" y="698"/>
                  </a:lnTo>
                  <a:lnTo>
                    <a:pt x="144" y="743"/>
                  </a:lnTo>
                  <a:lnTo>
                    <a:pt x="148" y="784"/>
                  </a:lnTo>
                  <a:lnTo>
                    <a:pt x="151" y="818"/>
                  </a:lnTo>
                  <a:lnTo>
                    <a:pt x="153" y="829"/>
                  </a:lnTo>
                  <a:lnTo>
                    <a:pt x="157" y="835"/>
                  </a:lnTo>
                  <a:lnTo>
                    <a:pt x="157" y="835"/>
                  </a:lnTo>
                  <a:lnTo>
                    <a:pt x="163" y="840"/>
                  </a:lnTo>
                  <a:lnTo>
                    <a:pt x="165" y="842"/>
                  </a:lnTo>
                  <a:lnTo>
                    <a:pt x="166" y="842"/>
                  </a:lnTo>
                  <a:lnTo>
                    <a:pt x="166" y="839"/>
                  </a:lnTo>
                  <a:lnTo>
                    <a:pt x="166" y="831"/>
                  </a:lnTo>
                  <a:lnTo>
                    <a:pt x="166" y="822"/>
                  </a:lnTo>
                  <a:lnTo>
                    <a:pt x="166" y="811"/>
                  </a:lnTo>
                  <a:lnTo>
                    <a:pt x="172" y="801"/>
                  </a:lnTo>
                  <a:lnTo>
                    <a:pt x="176" y="796"/>
                  </a:lnTo>
                  <a:lnTo>
                    <a:pt x="179" y="792"/>
                  </a:lnTo>
                  <a:lnTo>
                    <a:pt x="179" y="792"/>
                  </a:lnTo>
                  <a:lnTo>
                    <a:pt x="187" y="784"/>
                  </a:lnTo>
                  <a:lnTo>
                    <a:pt x="194" y="777"/>
                  </a:lnTo>
                  <a:lnTo>
                    <a:pt x="200" y="771"/>
                  </a:lnTo>
                  <a:lnTo>
                    <a:pt x="208" y="766"/>
                  </a:lnTo>
                  <a:lnTo>
                    <a:pt x="213" y="764"/>
                  </a:lnTo>
                  <a:lnTo>
                    <a:pt x="215" y="764"/>
                  </a:lnTo>
                  <a:lnTo>
                    <a:pt x="217" y="766"/>
                  </a:lnTo>
                  <a:lnTo>
                    <a:pt x="222" y="773"/>
                  </a:lnTo>
                  <a:lnTo>
                    <a:pt x="228" y="788"/>
                  </a:lnTo>
                  <a:lnTo>
                    <a:pt x="228" y="788"/>
                  </a:lnTo>
                  <a:lnTo>
                    <a:pt x="232" y="799"/>
                  </a:lnTo>
                  <a:lnTo>
                    <a:pt x="237" y="807"/>
                  </a:lnTo>
                  <a:lnTo>
                    <a:pt x="252" y="824"/>
                  </a:lnTo>
                  <a:lnTo>
                    <a:pt x="258" y="831"/>
                  </a:lnTo>
                  <a:lnTo>
                    <a:pt x="262" y="839"/>
                  </a:lnTo>
                  <a:lnTo>
                    <a:pt x="262" y="844"/>
                  </a:lnTo>
                  <a:lnTo>
                    <a:pt x="260" y="848"/>
                  </a:lnTo>
                  <a:lnTo>
                    <a:pt x="252" y="859"/>
                  </a:lnTo>
                  <a:lnTo>
                    <a:pt x="252" y="859"/>
                  </a:lnTo>
                  <a:lnTo>
                    <a:pt x="249" y="863"/>
                  </a:lnTo>
                  <a:lnTo>
                    <a:pt x="249" y="867"/>
                  </a:lnTo>
                  <a:lnTo>
                    <a:pt x="249" y="876"/>
                  </a:lnTo>
                  <a:lnTo>
                    <a:pt x="252" y="887"/>
                  </a:lnTo>
                  <a:lnTo>
                    <a:pt x="260" y="896"/>
                  </a:lnTo>
                  <a:lnTo>
                    <a:pt x="267" y="906"/>
                  </a:lnTo>
                  <a:lnTo>
                    <a:pt x="275" y="911"/>
                  </a:lnTo>
                  <a:lnTo>
                    <a:pt x="282" y="913"/>
                  </a:lnTo>
                  <a:lnTo>
                    <a:pt x="284" y="913"/>
                  </a:lnTo>
                  <a:lnTo>
                    <a:pt x="288" y="911"/>
                  </a:lnTo>
                  <a:lnTo>
                    <a:pt x="288" y="911"/>
                  </a:lnTo>
                  <a:lnTo>
                    <a:pt x="295" y="908"/>
                  </a:lnTo>
                  <a:lnTo>
                    <a:pt x="307" y="906"/>
                  </a:lnTo>
                  <a:lnTo>
                    <a:pt x="318" y="904"/>
                  </a:lnTo>
                  <a:lnTo>
                    <a:pt x="322" y="904"/>
                  </a:lnTo>
                  <a:lnTo>
                    <a:pt x="323" y="906"/>
                  </a:lnTo>
                  <a:lnTo>
                    <a:pt x="323" y="906"/>
                  </a:lnTo>
                  <a:lnTo>
                    <a:pt x="348" y="966"/>
                  </a:lnTo>
                  <a:lnTo>
                    <a:pt x="363" y="1001"/>
                  </a:lnTo>
                  <a:lnTo>
                    <a:pt x="370" y="1022"/>
                  </a:lnTo>
                  <a:lnTo>
                    <a:pt x="370" y="1022"/>
                  </a:lnTo>
                  <a:lnTo>
                    <a:pt x="372" y="1031"/>
                  </a:lnTo>
                  <a:lnTo>
                    <a:pt x="378" y="1039"/>
                  </a:lnTo>
                  <a:lnTo>
                    <a:pt x="393" y="1055"/>
                  </a:lnTo>
                  <a:lnTo>
                    <a:pt x="400" y="1063"/>
                  </a:lnTo>
                  <a:lnTo>
                    <a:pt x="406" y="1072"/>
                  </a:lnTo>
                  <a:lnTo>
                    <a:pt x="407" y="1078"/>
                  </a:lnTo>
                  <a:lnTo>
                    <a:pt x="407" y="1081"/>
                  </a:lnTo>
                  <a:lnTo>
                    <a:pt x="407" y="1085"/>
                  </a:lnTo>
                  <a:lnTo>
                    <a:pt x="407" y="1085"/>
                  </a:lnTo>
                  <a:lnTo>
                    <a:pt x="400" y="1096"/>
                  </a:lnTo>
                  <a:lnTo>
                    <a:pt x="400" y="1104"/>
                  </a:lnTo>
                  <a:lnTo>
                    <a:pt x="402" y="1110"/>
                  </a:lnTo>
                  <a:lnTo>
                    <a:pt x="406" y="1113"/>
                  </a:lnTo>
                  <a:lnTo>
                    <a:pt x="411" y="1117"/>
                  </a:lnTo>
                  <a:lnTo>
                    <a:pt x="417" y="1123"/>
                  </a:lnTo>
                  <a:lnTo>
                    <a:pt x="421" y="1128"/>
                  </a:lnTo>
                  <a:lnTo>
                    <a:pt x="424" y="1138"/>
                  </a:lnTo>
                  <a:lnTo>
                    <a:pt x="424" y="1138"/>
                  </a:lnTo>
                  <a:lnTo>
                    <a:pt x="424" y="1145"/>
                  </a:lnTo>
                  <a:lnTo>
                    <a:pt x="426" y="1151"/>
                  </a:lnTo>
                  <a:lnTo>
                    <a:pt x="434" y="1160"/>
                  </a:lnTo>
                  <a:lnTo>
                    <a:pt x="443" y="1166"/>
                  </a:lnTo>
                  <a:lnTo>
                    <a:pt x="454" y="1169"/>
                  </a:lnTo>
                  <a:lnTo>
                    <a:pt x="467" y="1171"/>
                  </a:lnTo>
                  <a:lnTo>
                    <a:pt x="480" y="1169"/>
                  </a:lnTo>
                  <a:lnTo>
                    <a:pt x="493" y="1166"/>
                  </a:lnTo>
                  <a:lnTo>
                    <a:pt x="505" y="1158"/>
                  </a:lnTo>
                  <a:lnTo>
                    <a:pt x="505" y="1158"/>
                  </a:lnTo>
                  <a:lnTo>
                    <a:pt x="516" y="1151"/>
                  </a:lnTo>
                  <a:lnTo>
                    <a:pt x="525" y="1145"/>
                  </a:lnTo>
                  <a:lnTo>
                    <a:pt x="533" y="1141"/>
                  </a:lnTo>
                  <a:lnTo>
                    <a:pt x="538" y="1141"/>
                  </a:lnTo>
                  <a:lnTo>
                    <a:pt x="542" y="1141"/>
                  </a:lnTo>
                  <a:lnTo>
                    <a:pt x="544" y="1145"/>
                  </a:lnTo>
                  <a:lnTo>
                    <a:pt x="548" y="1152"/>
                  </a:lnTo>
                  <a:lnTo>
                    <a:pt x="551" y="1169"/>
                  </a:lnTo>
                  <a:lnTo>
                    <a:pt x="551" y="1171"/>
                  </a:lnTo>
                  <a:lnTo>
                    <a:pt x="553" y="1171"/>
                  </a:lnTo>
                  <a:lnTo>
                    <a:pt x="561" y="1166"/>
                  </a:lnTo>
                  <a:lnTo>
                    <a:pt x="561" y="1166"/>
                  </a:lnTo>
                  <a:lnTo>
                    <a:pt x="570" y="1152"/>
                  </a:lnTo>
                  <a:lnTo>
                    <a:pt x="574" y="1149"/>
                  </a:lnTo>
                  <a:lnTo>
                    <a:pt x="583" y="1147"/>
                  </a:lnTo>
                  <a:lnTo>
                    <a:pt x="583" y="1147"/>
                  </a:lnTo>
                  <a:lnTo>
                    <a:pt x="589" y="1145"/>
                  </a:lnTo>
                  <a:lnTo>
                    <a:pt x="593" y="1139"/>
                  </a:lnTo>
                  <a:lnTo>
                    <a:pt x="594" y="1132"/>
                  </a:lnTo>
                  <a:lnTo>
                    <a:pt x="596" y="1123"/>
                  </a:lnTo>
                  <a:lnTo>
                    <a:pt x="598" y="1111"/>
                  </a:lnTo>
                  <a:lnTo>
                    <a:pt x="598" y="1100"/>
                  </a:lnTo>
                  <a:lnTo>
                    <a:pt x="596" y="1085"/>
                  </a:lnTo>
                  <a:lnTo>
                    <a:pt x="593" y="1072"/>
                  </a:lnTo>
                  <a:lnTo>
                    <a:pt x="593" y="1072"/>
                  </a:lnTo>
                  <a:lnTo>
                    <a:pt x="593" y="1057"/>
                  </a:lnTo>
                  <a:lnTo>
                    <a:pt x="591" y="1035"/>
                  </a:lnTo>
                  <a:lnTo>
                    <a:pt x="593" y="1010"/>
                  </a:lnTo>
                  <a:lnTo>
                    <a:pt x="594" y="999"/>
                  </a:lnTo>
                  <a:lnTo>
                    <a:pt x="594" y="999"/>
                  </a:lnTo>
                  <a:lnTo>
                    <a:pt x="604" y="996"/>
                  </a:lnTo>
                  <a:lnTo>
                    <a:pt x="615" y="992"/>
                  </a:lnTo>
                  <a:lnTo>
                    <a:pt x="622" y="988"/>
                  </a:lnTo>
                  <a:lnTo>
                    <a:pt x="628" y="984"/>
                  </a:lnTo>
                  <a:lnTo>
                    <a:pt x="632" y="979"/>
                  </a:lnTo>
                  <a:lnTo>
                    <a:pt x="632" y="979"/>
                  </a:lnTo>
                  <a:lnTo>
                    <a:pt x="639" y="967"/>
                  </a:lnTo>
                  <a:lnTo>
                    <a:pt x="649" y="960"/>
                  </a:lnTo>
                  <a:lnTo>
                    <a:pt x="665" y="949"/>
                  </a:lnTo>
                  <a:lnTo>
                    <a:pt x="673" y="941"/>
                  </a:lnTo>
                  <a:lnTo>
                    <a:pt x="677" y="932"/>
                  </a:lnTo>
                  <a:lnTo>
                    <a:pt x="677" y="921"/>
                  </a:lnTo>
                  <a:lnTo>
                    <a:pt x="673" y="908"/>
                  </a:lnTo>
                  <a:lnTo>
                    <a:pt x="673" y="908"/>
                  </a:lnTo>
                  <a:lnTo>
                    <a:pt x="673" y="902"/>
                  </a:lnTo>
                  <a:lnTo>
                    <a:pt x="675" y="896"/>
                  </a:lnTo>
                  <a:lnTo>
                    <a:pt x="677" y="891"/>
                  </a:lnTo>
                  <a:lnTo>
                    <a:pt x="680" y="885"/>
                  </a:lnTo>
                  <a:lnTo>
                    <a:pt x="686" y="882"/>
                  </a:lnTo>
                  <a:lnTo>
                    <a:pt x="692" y="880"/>
                  </a:lnTo>
                  <a:lnTo>
                    <a:pt x="697" y="880"/>
                  </a:lnTo>
                  <a:lnTo>
                    <a:pt x="701" y="883"/>
                  </a:lnTo>
                  <a:lnTo>
                    <a:pt x="701" y="883"/>
                  </a:lnTo>
                  <a:lnTo>
                    <a:pt x="707" y="885"/>
                  </a:lnTo>
                  <a:lnTo>
                    <a:pt x="710" y="885"/>
                  </a:lnTo>
                  <a:lnTo>
                    <a:pt x="716" y="883"/>
                  </a:lnTo>
                  <a:lnTo>
                    <a:pt x="721" y="878"/>
                  </a:lnTo>
                  <a:lnTo>
                    <a:pt x="723" y="872"/>
                  </a:lnTo>
                  <a:lnTo>
                    <a:pt x="725" y="867"/>
                  </a:lnTo>
                  <a:lnTo>
                    <a:pt x="725" y="859"/>
                  </a:lnTo>
                  <a:lnTo>
                    <a:pt x="721" y="855"/>
                  </a:lnTo>
                  <a:lnTo>
                    <a:pt x="721" y="855"/>
                  </a:lnTo>
                  <a:lnTo>
                    <a:pt x="714" y="848"/>
                  </a:lnTo>
                  <a:lnTo>
                    <a:pt x="712" y="842"/>
                  </a:lnTo>
                  <a:lnTo>
                    <a:pt x="714" y="839"/>
                  </a:lnTo>
                  <a:lnTo>
                    <a:pt x="718" y="833"/>
                  </a:lnTo>
                  <a:lnTo>
                    <a:pt x="723" y="831"/>
                  </a:lnTo>
                  <a:lnTo>
                    <a:pt x="731" y="829"/>
                  </a:lnTo>
                  <a:lnTo>
                    <a:pt x="749" y="827"/>
                  </a:lnTo>
                  <a:lnTo>
                    <a:pt x="768" y="827"/>
                  </a:lnTo>
                  <a:lnTo>
                    <a:pt x="785" y="829"/>
                  </a:lnTo>
                  <a:lnTo>
                    <a:pt x="789" y="833"/>
                  </a:lnTo>
                  <a:lnTo>
                    <a:pt x="791" y="835"/>
                  </a:lnTo>
                  <a:lnTo>
                    <a:pt x="791" y="839"/>
                  </a:lnTo>
                  <a:lnTo>
                    <a:pt x="785" y="842"/>
                  </a:lnTo>
                  <a:lnTo>
                    <a:pt x="785" y="842"/>
                  </a:lnTo>
                  <a:lnTo>
                    <a:pt x="779" y="846"/>
                  </a:lnTo>
                  <a:lnTo>
                    <a:pt x="774" y="852"/>
                  </a:lnTo>
                  <a:lnTo>
                    <a:pt x="772" y="855"/>
                  </a:lnTo>
                  <a:lnTo>
                    <a:pt x="772" y="857"/>
                  </a:lnTo>
                  <a:lnTo>
                    <a:pt x="772" y="861"/>
                  </a:lnTo>
                  <a:lnTo>
                    <a:pt x="774" y="865"/>
                  </a:lnTo>
                  <a:lnTo>
                    <a:pt x="779" y="872"/>
                  </a:lnTo>
                  <a:lnTo>
                    <a:pt x="787" y="880"/>
                  </a:lnTo>
                  <a:lnTo>
                    <a:pt x="792" y="889"/>
                  </a:lnTo>
                  <a:lnTo>
                    <a:pt x="792" y="895"/>
                  </a:lnTo>
                  <a:lnTo>
                    <a:pt x="792" y="902"/>
                  </a:lnTo>
                  <a:lnTo>
                    <a:pt x="791" y="908"/>
                  </a:lnTo>
                  <a:lnTo>
                    <a:pt x="787" y="915"/>
                  </a:lnTo>
                  <a:lnTo>
                    <a:pt x="787" y="915"/>
                  </a:lnTo>
                  <a:lnTo>
                    <a:pt x="785" y="921"/>
                  </a:lnTo>
                  <a:lnTo>
                    <a:pt x="783" y="926"/>
                  </a:lnTo>
                  <a:lnTo>
                    <a:pt x="785" y="932"/>
                  </a:lnTo>
                  <a:lnTo>
                    <a:pt x="787" y="936"/>
                  </a:lnTo>
                  <a:lnTo>
                    <a:pt x="789" y="939"/>
                  </a:lnTo>
                  <a:lnTo>
                    <a:pt x="794" y="941"/>
                  </a:lnTo>
                  <a:lnTo>
                    <a:pt x="806" y="945"/>
                  </a:lnTo>
                  <a:lnTo>
                    <a:pt x="819" y="945"/>
                  </a:lnTo>
                  <a:lnTo>
                    <a:pt x="834" y="941"/>
                  </a:lnTo>
                  <a:lnTo>
                    <a:pt x="847" y="934"/>
                  </a:lnTo>
                  <a:lnTo>
                    <a:pt x="854" y="928"/>
                  </a:lnTo>
                  <a:lnTo>
                    <a:pt x="860" y="923"/>
                  </a:lnTo>
                  <a:lnTo>
                    <a:pt x="860" y="923"/>
                  </a:lnTo>
                  <a:lnTo>
                    <a:pt x="867" y="915"/>
                  </a:lnTo>
                  <a:lnTo>
                    <a:pt x="875" y="913"/>
                  </a:lnTo>
                  <a:lnTo>
                    <a:pt x="882" y="913"/>
                  </a:lnTo>
                  <a:lnTo>
                    <a:pt x="890" y="917"/>
                  </a:lnTo>
                  <a:lnTo>
                    <a:pt x="893" y="923"/>
                  </a:lnTo>
                  <a:lnTo>
                    <a:pt x="897" y="930"/>
                  </a:lnTo>
                  <a:lnTo>
                    <a:pt x="897" y="938"/>
                  </a:lnTo>
                  <a:lnTo>
                    <a:pt x="895" y="947"/>
                  </a:lnTo>
                  <a:lnTo>
                    <a:pt x="895" y="947"/>
                  </a:lnTo>
                  <a:lnTo>
                    <a:pt x="893" y="960"/>
                  </a:lnTo>
                  <a:lnTo>
                    <a:pt x="893" y="964"/>
                  </a:lnTo>
                  <a:lnTo>
                    <a:pt x="895" y="966"/>
                  </a:lnTo>
                  <a:lnTo>
                    <a:pt x="899" y="967"/>
                  </a:lnTo>
                  <a:lnTo>
                    <a:pt x="908" y="967"/>
                  </a:lnTo>
                  <a:lnTo>
                    <a:pt x="908" y="967"/>
                  </a:lnTo>
                  <a:lnTo>
                    <a:pt x="921" y="967"/>
                  </a:lnTo>
                  <a:lnTo>
                    <a:pt x="927" y="967"/>
                  </a:lnTo>
                  <a:lnTo>
                    <a:pt x="935" y="971"/>
                  </a:lnTo>
                  <a:lnTo>
                    <a:pt x="935" y="971"/>
                  </a:lnTo>
                  <a:lnTo>
                    <a:pt x="940" y="973"/>
                  </a:lnTo>
                  <a:lnTo>
                    <a:pt x="951" y="973"/>
                  </a:lnTo>
                  <a:lnTo>
                    <a:pt x="981" y="971"/>
                  </a:lnTo>
                  <a:lnTo>
                    <a:pt x="1011" y="967"/>
                  </a:lnTo>
                  <a:lnTo>
                    <a:pt x="1020" y="964"/>
                  </a:lnTo>
                  <a:lnTo>
                    <a:pt x="1028" y="960"/>
                  </a:lnTo>
                  <a:lnTo>
                    <a:pt x="1028" y="960"/>
                  </a:lnTo>
                  <a:lnTo>
                    <a:pt x="1032" y="953"/>
                  </a:lnTo>
                  <a:lnTo>
                    <a:pt x="1035" y="947"/>
                  </a:lnTo>
                  <a:lnTo>
                    <a:pt x="1035" y="941"/>
                  </a:lnTo>
                  <a:lnTo>
                    <a:pt x="1034" y="938"/>
                  </a:lnTo>
                  <a:lnTo>
                    <a:pt x="1032" y="932"/>
                  </a:lnTo>
                  <a:lnTo>
                    <a:pt x="1028" y="928"/>
                  </a:lnTo>
                  <a:lnTo>
                    <a:pt x="1019" y="923"/>
                  </a:lnTo>
                  <a:lnTo>
                    <a:pt x="1006" y="917"/>
                  </a:lnTo>
                  <a:lnTo>
                    <a:pt x="994" y="913"/>
                  </a:lnTo>
                  <a:lnTo>
                    <a:pt x="985" y="910"/>
                  </a:lnTo>
                  <a:lnTo>
                    <a:pt x="979" y="906"/>
                  </a:lnTo>
                  <a:lnTo>
                    <a:pt x="979" y="906"/>
                  </a:lnTo>
                  <a:lnTo>
                    <a:pt x="974" y="900"/>
                  </a:lnTo>
                  <a:lnTo>
                    <a:pt x="966" y="896"/>
                  </a:lnTo>
                  <a:lnTo>
                    <a:pt x="953" y="889"/>
                  </a:lnTo>
                  <a:lnTo>
                    <a:pt x="948" y="885"/>
                  </a:lnTo>
                  <a:lnTo>
                    <a:pt x="944" y="880"/>
                  </a:lnTo>
                  <a:lnTo>
                    <a:pt x="944" y="872"/>
                  </a:lnTo>
                  <a:lnTo>
                    <a:pt x="944" y="861"/>
                  </a:lnTo>
                  <a:lnTo>
                    <a:pt x="944" y="86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0" name="Freeform 60">
              <a:extLst>
                <a:ext uri="{FF2B5EF4-FFF2-40B4-BE49-F238E27FC236}">
                  <a16:creationId xmlns:a16="http://schemas.microsoft.com/office/drawing/2014/main" id="{272DE064-B02E-4211-834A-E40CF8E1A8FF}"/>
                </a:ext>
              </a:extLst>
            </p:cNvPr>
            <p:cNvSpPr>
              <a:spLocks/>
            </p:cNvSpPr>
            <p:nvPr/>
          </p:nvSpPr>
          <p:spPr bwMode="auto">
            <a:xfrm>
              <a:off x="3789018" y="4831729"/>
              <a:ext cx="1020964" cy="1071830"/>
            </a:xfrm>
            <a:custGeom>
              <a:avLst/>
              <a:gdLst/>
              <a:ahLst/>
              <a:cxnLst>
                <a:cxn ang="0">
                  <a:pos x="826" y="357"/>
                </a:cxn>
                <a:cxn ang="0">
                  <a:pos x="873" y="309"/>
                </a:cxn>
                <a:cxn ang="0">
                  <a:pos x="929" y="311"/>
                </a:cxn>
                <a:cxn ang="0">
                  <a:pos x="1043" y="275"/>
                </a:cxn>
                <a:cxn ang="0">
                  <a:pos x="1030" y="219"/>
                </a:cxn>
                <a:cxn ang="0">
                  <a:pos x="929" y="241"/>
                </a:cxn>
                <a:cxn ang="0">
                  <a:pos x="919" y="174"/>
                </a:cxn>
                <a:cxn ang="0">
                  <a:pos x="925" y="131"/>
                </a:cxn>
                <a:cxn ang="0">
                  <a:pos x="865" y="169"/>
                </a:cxn>
                <a:cxn ang="0">
                  <a:pos x="817" y="193"/>
                </a:cxn>
                <a:cxn ang="0">
                  <a:pos x="772" y="281"/>
                </a:cxn>
                <a:cxn ang="0">
                  <a:pos x="736" y="387"/>
                </a:cxn>
                <a:cxn ang="0">
                  <a:pos x="701" y="468"/>
                </a:cxn>
                <a:cxn ang="0">
                  <a:pos x="645" y="460"/>
                </a:cxn>
                <a:cxn ang="0">
                  <a:pos x="557" y="425"/>
                </a:cxn>
                <a:cxn ang="0">
                  <a:pos x="533" y="357"/>
                </a:cxn>
                <a:cxn ang="0">
                  <a:pos x="435" y="210"/>
                </a:cxn>
                <a:cxn ang="0">
                  <a:pos x="392" y="161"/>
                </a:cxn>
                <a:cxn ang="0">
                  <a:pos x="357" y="68"/>
                </a:cxn>
                <a:cxn ang="0">
                  <a:pos x="306" y="124"/>
                </a:cxn>
                <a:cxn ang="0">
                  <a:pos x="284" y="0"/>
                </a:cxn>
                <a:cxn ang="0">
                  <a:pos x="248" y="55"/>
                </a:cxn>
                <a:cxn ang="0">
                  <a:pos x="222" y="70"/>
                </a:cxn>
                <a:cxn ang="0">
                  <a:pos x="183" y="142"/>
                </a:cxn>
                <a:cxn ang="0">
                  <a:pos x="146" y="146"/>
                </a:cxn>
                <a:cxn ang="0">
                  <a:pos x="191" y="219"/>
                </a:cxn>
                <a:cxn ang="0">
                  <a:pos x="202" y="320"/>
                </a:cxn>
                <a:cxn ang="0">
                  <a:pos x="191" y="425"/>
                </a:cxn>
                <a:cxn ang="0">
                  <a:pos x="185" y="462"/>
                </a:cxn>
                <a:cxn ang="0">
                  <a:pos x="116" y="501"/>
                </a:cxn>
                <a:cxn ang="0">
                  <a:pos x="41" y="567"/>
                </a:cxn>
                <a:cxn ang="0">
                  <a:pos x="9" y="643"/>
                </a:cxn>
                <a:cxn ang="0">
                  <a:pos x="9" y="712"/>
                </a:cxn>
                <a:cxn ang="0">
                  <a:pos x="121" y="714"/>
                </a:cxn>
                <a:cxn ang="0">
                  <a:pos x="146" y="757"/>
                </a:cxn>
                <a:cxn ang="0">
                  <a:pos x="164" y="810"/>
                </a:cxn>
                <a:cxn ang="0">
                  <a:pos x="209" y="869"/>
                </a:cxn>
                <a:cxn ang="0">
                  <a:pos x="215" y="935"/>
                </a:cxn>
                <a:cxn ang="0">
                  <a:pos x="222" y="1015"/>
                </a:cxn>
                <a:cxn ang="0">
                  <a:pos x="305" y="1086"/>
                </a:cxn>
                <a:cxn ang="0">
                  <a:pos x="351" y="1118"/>
                </a:cxn>
                <a:cxn ang="0">
                  <a:pos x="441" y="1092"/>
                </a:cxn>
                <a:cxn ang="0">
                  <a:pos x="467" y="1166"/>
                </a:cxn>
                <a:cxn ang="0">
                  <a:pos x="518" y="1161"/>
                </a:cxn>
                <a:cxn ang="0">
                  <a:pos x="514" y="1067"/>
                </a:cxn>
                <a:cxn ang="0">
                  <a:pos x="540" y="996"/>
                </a:cxn>
                <a:cxn ang="0">
                  <a:pos x="633" y="961"/>
                </a:cxn>
                <a:cxn ang="0">
                  <a:pos x="729" y="981"/>
                </a:cxn>
                <a:cxn ang="0">
                  <a:pos x="777" y="972"/>
                </a:cxn>
                <a:cxn ang="0">
                  <a:pos x="824" y="1000"/>
                </a:cxn>
                <a:cxn ang="0">
                  <a:pos x="884" y="985"/>
                </a:cxn>
                <a:cxn ang="0">
                  <a:pos x="944" y="935"/>
                </a:cxn>
                <a:cxn ang="0">
                  <a:pos x="1024" y="910"/>
                </a:cxn>
                <a:cxn ang="0">
                  <a:pos x="1104" y="884"/>
                </a:cxn>
                <a:cxn ang="0">
                  <a:pos x="1097" y="787"/>
                </a:cxn>
                <a:cxn ang="0">
                  <a:pos x="1028" y="798"/>
                </a:cxn>
                <a:cxn ang="0">
                  <a:pos x="987" y="746"/>
                </a:cxn>
                <a:cxn ang="0">
                  <a:pos x="914" y="697"/>
                </a:cxn>
                <a:cxn ang="0">
                  <a:pos x="955" y="626"/>
                </a:cxn>
                <a:cxn ang="0">
                  <a:pos x="899" y="568"/>
                </a:cxn>
                <a:cxn ang="0">
                  <a:pos x="946" y="445"/>
                </a:cxn>
                <a:cxn ang="0">
                  <a:pos x="878" y="428"/>
                </a:cxn>
              </a:cxnLst>
              <a:rect l="0" t="0" r="r" b="b"/>
              <a:pathLst>
                <a:path w="1123" h="1179">
                  <a:moveTo>
                    <a:pt x="837" y="408"/>
                  </a:moveTo>
                  <a:lnTo>
                    <a:pt x="837" y="408"/>
                  </a:lnTo>
                  <a:lnTo>
                    <a:pt x="832" y="404"/>
                  </a:lnTo>
                  <a:lnTo>
                    <a:pt x="830" y="398"/>
                  </a:lnTo>
                  <a:lnTo>
                    <a:pt x="832" y="393"/>
                  </a:lnTo>
                  <a:lnTo>
                    <a:pt x="833" y="387"/>
                  </a:lnTo>
                  <a:lnTo>
                    <a:pt x="835" y="380"/>
                  </a:lnTo>
                  <a:lnTo>
                    <a:pt x="837" y="374"/>
                  </a:lnTo>
                  <a:lnTo>
                    <a:pt x="835" y="367"/>
                  </a:lnTo>
                  <a:lnTo>
                    <a:pt x="830" y="361"/>
                  </a:lnTo>
                  <a:lnTo>
                    <a:pt x="830" y="361"/>
                  </a:lnTo>
                  <a:lnTo>
                    <a:pt x="826" y="357"/>
                  </a:lnTo>
                  <a:lnTo>
                    <a:pt x="824" y="355"/>
                  </a:lnTo>
                  <a:lnTo>
                    <a:pt x="824" y="352"/>
                  </a:lnTo>
                  <a:lnTo>
                    <a:pt x="824" y="350"/>
                  </a:lnTo>
                  <a:lnTo>
                    <a:pt x="830" y="344"/>
                  </a:lnTo>
                  <a:lnTo>
                    <a:pt x="835" y="339"/>
                  </a:lnTo>
                  <a:lnTo>
                    <a:pt x="852" y="326"/>
                  </a:lnTo>
                  <a:lnTo>
                    <a:pt x="858" y="320"/>
                  </a:lnTo>
                  <a:lnTo>
                    <a:pt x="861" y="311"/>
                  </a:lnTo>
                  <a:lnTo>
                    <a:pt x="861" y="311"/>
                  </a:lnTo>
                  <a:lnTo>
                    <a:pt x="865" y="311"/>
                  </a:lnTo>
                  <a:lnTo>
                    <a:pt x="869" y="309"/>
                  </a:lnTo>
                  <a:lnTo>
                    <a:pt x="873" y="309"/>
                  </a:lnTo>
                  <a:lnTo>
                    <a:pt x="878" y="312"/>
                  </a:lnTo>
                  <a:lnTo>
                    <a:pt x="878" y="312"/>
                  </a:lnTo>
                  <a:lnTo>
                    <a:pt x="888" y="320"/>
                  </a:lnTo>
                  <a:lnTo>
                    <a:pt x="893" y="324"/>
                  </a:lnTo>
                  <a:lnTo>
                    <a:pt x="897" y="324"/>
                  </a:lnTo>
                  <a:lnTo>
                    <a:pt x="901" y="322"/>
                  </a:lnTo>
                  <a:lnTo>
                    <a:pt x="904" y="312"/>
                  </a:lnTo>
                  <a:lnTo>
                    <a:pt x="910" y="309"/>
                  </a:lnTo>
                  <a:lnTo>
                    <a:pt x="918" y="307"/>
                  </a:lnTo>
                  <a:lnTo>
                    <a:pt x="918" y="307"/>
                  </a:lnTo>
                  <a:lnTo>
                    <a:pt x="925" y="309"/>
                  </a:lnTo>
                  <a:lnTo>
                    <a:pt x="929" y="311"/>
                  </a:lnTo>
                  <a:lnTo>
                    <a:pt x="936" y="320"/>
                  </a:lnTo>
                  <a:lnTo>
                    <a:pt x="942" y="324"/>
                  </a:lnTo>
                  <a:lnTo>
                    <a:pt x="953" y="326"/>
                  </a:lnTo>
                  <a:lnTo>
                    <a:pt x="972" y="327"/>
                  </a:lnTo>
                  <a:lnTo>
                    <a:pt x="998" y="324"/>
                  </a:lnTo>
                  <a:lnTo>
                    <a:pt x="998" y="324"/>
                  </a:lnTo>
                  <a:lnTo>
                    <a:pt x="1013" y="320"/>
                  </a:lnTo>
                  <a:lnTo>
                    <a:pt x="1022" y="314"/>
                  </a:lnTo>
                  <a:lnTo>
                    <a:pt x="1030" y="307"/>
                  </a:lnTo>
                  <a:lnTo>
                    <a:pt x="1033" y="299"/>
                  </a:lnTo>
                  <a:lnTo>
                    <a:pt x="1039" y="283"/>
                  </a:lnTo>
                  <a:lnTo>
                    <a:pt x="1043" y="275"/>
                  </a:lnTo>
                  <a:lnTo>
                    <a:pt x="1048" y="269"/>
                  </a:lnTo>
                  <a:lnTo>
                    <a:pt x="1048" y="269"/>
                  </a:lnTo>
                  <a:lnTo>
                    <a:pt x="1039" y="269"/>
                  </a:lnTo>
                  <a:lnTo>
                    <a:pt x="1035" y="268"/>
                  </a:lnTo>
                  <a:lnTo>
                    <a:pt x="1033" y="266"/>
                  </a:lnTo>
                  <a:lnTo>
                    <a:pt x="1033" y="262"/>
                  </a:lnTo>
                  <a:lnTo>
                    <a:pt x="1035" y="249"/>
                  </a:lnTo>
                  <a:lnTo>
                    <a:pt x="1035" y="249"/>
                  </a:lnTo>
                  <a:lnTo>
                    <a:pt x="1037" y="240"/>
                  </a:lnTo>
                  <a:lnTo>
                    <a:pt x="1037" y="232"/>
                  </a:lnTo>
                  <a:lnTo>
                    <a:pt x="1033" y="225"/>
                  </a:lnTo>
                  <a:lnTo>
                    <a:pt x="1030" y="219"/>
                  </a:lnTo>
                  <a:lnTo>
                    <a:pt x="1022" y="215"/>
                  </a:lnTo>
                  <a:lnTo>
                    <a:pt x="1015" y="215"/>
                  </a:lnTo>
                  <a:lnTo>
                    <a:pt x="1007" y="217"/>
                  </a:lnTo>
                  <a:lnTo>
                    <a:pt x="1000" y="225"/>
                  </a:lnTo>
                  <a:lnTo>
                    <a:pt x="1000" y="225"/>
                  </a:lnTo>
                  <a:lnTo>
                    <a:pt x="994" y="230"/>
                  </a:lnTo>
                  <a:lnTo>
                    <a:pt x="987" y="236"/>
                  </a:lnTo>
                  <a:lnTo>
                    <a:pt x="974" y="243"/>
                  </a:lnTo>
                  <a:lnTo>
                    <a:pt x="959" y="247"/>
                  </a:lnTo>
                  <a:lnTo>
                    <a:pt x="946" y="247"/>
                  </a:lnTo>
                  <a:lnTo>
                    <a:pt x="934" y="243"/>
                  </a:lnTo>
                  <a:lnTo>
                    <a:pt x="929" y="241"/>
                  </a:lnTo>
                  <a:lnTo>
                    <a:pt x="927" y="238"/>
                  </a:lnTo>
                  <a:lnTo>
                    <a:pt x="925" y="234"/>
                  </a:lnTo>
                  <a:lnTo>
                    <a:pt x="923" y="228"/>
                  </a:lnTo>
                  <a:lnTo>
                    <a:pt x="925" y="223"/>
                  </a:lnTo>
                  <a:lnTo>
                    <a:pt x="927" y="217"/>
                  </a:lnTo>
                  <a:lnTo>
                    <a:pt x="927" y="217"/>
                  </a:lnTo>
                  <a:lnTo>
                    <a:pt x="931" y="210"/>
                  </a:lnTo>
                  <a:lnTo>
                    <a:pt x="932" y="204"/>
                  </a:lnTo>
                  <a:lnTo>
                    <a:pt x="932" y="197"/>
                  </a:lnTo>
                  <a:lnTo>
                    <a:pt x="932" y="191"/>
                  </a:lnTo>
                  <a:lnTo>
                    <a:pt x="927" y="182"/>
                  </a:lnTo>
                  <a:lnTo>
                    <a:pt x="919" y="174"/>
                  </a:lnTo>
                  <a:lnTo>
                    <a:pt x="914" y="167"/>
                  </a:lnTo>
                  <a:lnTo>
                    <a:pt x="912" y="163"/>
                  </a:lnTo>
                  <a:lnTo>
                    <a:pt x="912" y="159"/>
                  </a:lnTo>
                  <a:lnTo>
                    <a:pt x="912" y="157"/>
                  </a:lnTo>
                  <a:lnTo>
                    <a:pt x="914" y="154"/>
                  </a:lnTo>
                  <a:lnTo>
                    <a:pt x="919" y="148"/>
                  </a:lnTo>
                  <a:lnTo>
                    <a:pt x="925" y="144"/>
                  </a:lnTo>
                  <a:lnTo>
                    <a:pt x="925" y="144"/>
                  </a:lnTo>
                  <a:lnTo>
                    <a:pt x="931" y="141"/>
                  </a:lnTo>
                  <a:lnTo>
                    <a:pt x="931" y="137"/>
                  </a:lnTo>
                  <a:lnTo>
                    <a:pt x="929" y="135"/>
                  </a:lnTo>
                  <a:lnTo>
                    <a:pt x="925" y="131"/>
                  </a:lnTo>
                  <a:lnTo>
                    <a:pt x="908" y="129"/>
                  </a:lnTo>
                  <a:lnTo>
                    <a:pt x="889" y="129"/>
                  </a:lnTo>
                  <a:lnTo>
                    <a:pt x="871" y="131"/>
                  </a:lnTo>
                  <a:lnTo>
                    <a:pt x="863" y="133"/>
                  </a:lnTo>
                  <a:lnTo>
                    <a:pt x="858" y="135"/>
                  </a:lnTo>
                  <a:lnTo>
                    <a:pt x="854" y="141"/>
                  </a:lnTo>
                  <a:lnTo>
                    <a:pt x="852" y="144"/>
                  </a:lnTo>
                  <a:lnTo>
                    <a:pt x="854" y="150"/>
                  </a:lnTo>
                  <a:lnTo>
                    <a:pt x="861" y="157"/>
                  </a:lnTo>
                  <a:lnTo>
                    <a:pt x="861" y="157"/>
                  </a:lnTo>
                  <a:lnTo>
                    <a:pt x="865" y="161"/>
                  </a:lnTo>
                  <a:lnTo>
                    <a:pt x="865" y="169"/>
                  </a:lnTo>
                  <a:lnTo>
                    <a:pt x="863" y="174"/>
                  </a:lnTo>
                  <a:lnTo>
                    <a:pt x="861" y="180"/>
                  </a:lnTo>
                  <a:lnTo>
                    <a:pt x="856" y="185"/>
                  </a:lnTo>
                  <a:lnTo>
                    <a:pt x="850" y="187"/>
                  </a:lnTo>
                  <a:lnTo>
                    <a:pt x="847" y="187"/>
                  </a:lnTo>
                  <a:lnTo>
                    <a:pt x="841" y="185"/>
                  </a:lnTo>
                  <a:lnTo>
                    <a:pt x="841" y="185"/>
                  </a:lnTo>
                  <a:lnTo>
                    <a:pt x="837" y="182"/>
                  </a:lnTo>
                  <a:lnTo>
                    <a:pt x="832" y="182"/>
                  </a:lnTo>
                  <a:lnTo>
                    <a:pt x="826" y="184"/>
                  </a:lnTo>
                  <a:lnTo>
                    <a:pt x="820" y="187"/>
                  </a:lnTo>
                  <a:lnTo>
                    <a:pt x="817" y="193"/>
                  </a:lnTo>
                  <a:lnTo>
                    <a:pt x="815" y="198"/>
                  </a:lnTo>
                  <a:lnTo>
                    <a:pt x="813" y="204"/>
                  </a:lnTo>
                  <a:lnTo>
                    <a:pt x="813" y="210"/>
                  </a:lnTo>
                  <a:lnTo>
                    <a:pt x="813" y="210"/>
                  </a:lnTo>
                  <a:lnTo>
                    <a:pt x="817" y="223"/>
                  </a:lnTo>
                  <a:lnTo>
                    <a:pt x="817" y="234"/>
                  </a:lnTo>
                  <a:lnTo>
                    <a:pt x="813" y="243"/>
                  </a:lnTo>
                  <a:lnTo>
                    <a:pt x="805" y="251"/>
                  </a:lnTo>
                  <a:lnTo>
                    <a:pt x="789" y="262"/>
                  </a:lnTo>
                  <a:lnTo>
                    <a:pt x="779" y="269"/>
                  </a:lnTo>
                  <a:lnTo>
                    <a:pt x="772" y="281"/>
                  </a:lnTo>
                  <a:lnTo>
                    <a:pt x="772" y="281"/>
                  </a:lnTo>
                  <a:lnTo>
                    <a:pt x="768" y="286"/>
                  </a:lnTo>
                  <a:lnTo>
                    <a:pt x="762" y="290"/>
                  </a:lnTo>
                  <a:lnTo>
                    <a:pt x="755" y="294"/>
                  </a:lnTo>
                  <a:lnTo>
                    <a:pt x="744" y="298"/>
                  </a:lnTo>
                  <a:lnTo>
                    <a:pt x="734" y="301"/>
                  </a:lnTo>
                  <a:lnTo>
                    <a:pt x="734" y="301"/>
                  </a:lnTo>
                  <a:lnTo>
                    <a:pt x="733" y="312"/>
                  </a:lnTo>
                  <a:lnTo>
                    <a:pt x="731" y="337"/>
                  </a:lnTo>
                  <a:lnTo>
                    <a:pt x="733" y="359"/>
                  </a:lnTo>
                  <a:lnTo>
                    <a:pt x="733" y="374"/>
                  </a:lnTo>
                  <a:lnTo>
                    <a:pt x="733" y="374"/>
                  </a:lnTo>
                  <a:lnTo>
                    <a:pt x="736" y="387"/>
                  </a:lnTo>
                  <a:lnTo>
                    <a:pt x="738" y="402"/>
                  </a:lnTo>
                  <a:lnTo>
                    <a:pt x="738" y="413"/>
                  </a:lnTo>
                  <a:lnTo>
                    <a:pt x="736" y="425"/>
                  </a:lnTo>
                  <a:lnTo>
                    <a:pt x="734" y="434"/>
                  </a:lnTo>
                  <a:lnTo>
                    <a:pt x="733" y="441"/>
                  </a:lnTo>
                  <a:lnTo>
                    <a:pt x="729" y="447"/>
                  </a:lnTo>
                  <a:lnTo>
                    <a:pt x="723" y="449"/>
                  </a:lnTo>
                  <a:lnTo>
                    <a:pt x="723" y="449"/>
                  </a:lnTo>
                  <a:lnTo>
                    <a:pt x="714" y="451"/>
                  </a:lnTo>
                  <a:lnTo>
                    <a:pt x="710" y="454"/>
                  </a:lnTo>
                  <a:lnTo>
                    <a:pt x="701" y="468"/>
                  </a:lnTo>
                  <a:lnTo>
                    <a:pt x="701" y="468"/>
                  </a:lnTo>
                  <a:lnTo>
                    <a:pt x="693" y="473"/>
                  </a:lnTo>
                  <a:lnTo>
                    <a:pt x="691" y="473"/>
                  </a:lnTo>
                  <a:lnTo>
                    <a:pt x="691" y="471"/>
                  </a:lnTo>
                  <a:lnTo>
                    <a:pt x="688" y="454"/>
                  </a:lnTo>
                  <a:lnTo>
                    <a:pt x="684" y="447"/>
                  </a:lnTo>
                  <a:lnTo>
                    <a:pt x="682" y="443"/>
                  </a:lnTo>
                  <a:lnTo>
                    <a:pt x="678" y="443"/>
                  </a:lnTo>
                  <a:lnTo>
                    <a:pt x="673" y="443"/>
                  </a:lnTo>
                  <a:lnTo>
                    <a:pt x="665" y="447"/>
                  </a:lnTo>
                  <a:lnTo>
                    <a:pt x="656" y="453"/>
                  </a:lnTo>
                  <a:lnTo>
                    <a:pt x="645" y="460"/>
                  </a:lnTo>
                  <a:lnTo>
                    <a:pt x="645" y="460"/>
                  </a:lnTo>
                  <a:lnTo>
                    <a:pt x="633" y="468"/>
                  </a:lnTo>
                  <a:lnTo>
                    <a:pt x="620" y="471"/>
                  </a:lnTo>
                  <a:lnTo>
                    <a:pt x="607" y="473"/>
                  </a:lnTo>
                  <a:lnTo>
                    <a:pt x="594" y="471"/>
                  </a:lnTo>
                  <a:lnTo>
                    <a:pt x="583" y="468"/>
                  </a:lnTo>
                  <a:lnTo>
                    <a:pt x="574" y="462"/>
                  </a:lnTo>
                  <a:lnTo>
                    <a:pt x="566" y="453"/>
                  </a:lnTo>
                  <a:lnTo>
                    <a:pt x="564" y="447"/>
                  </a:lnTo>
                  <a:lnTo>
                    <a:pt x="564" y="440"/>
                  </a:lnTo>
                  <a:lnTo>
                    <a:pt x="564" y="440"/>
                  </a:lnTo>
                  <a:lnTo>
                    <a:pt x="561" y="430"/>
                  </a:lnTo>
                  <a:lnTo>
                    <a:pt x="557" y="425"/>
                  </a:lnTo>
                  <a:lnTo>
                    <a:pt x="551" y="419"/>
                  </a:lnTo>
                  <a:lnTo>
                    <a:pt x="546" y="415"/>
                  </a:lnTo>
                  <a:lnTo>
                    <a:pt x="542" y="412"/>
                  </a:lnTo>
                  <a:lnTo>
                    <a:pt x="540" y="406"/>
                  </a:lnTo>
                  <a:lnTo>
                    <a:pt x="540" y="398"/>
                  </a:lnTo>
                  <a:lnTo>
                    <a:pt x="547" y="387"/>
                  </a:lnTo>
                  <a:lnTo>
                    <a:pt x="547" y="387"/>
                  </a:lnTo>
                  <a:lnTo>
                    <a:pt x="547" y="383"/>
                  </a:lnTo>
                  <a:lnTo>
                    <a:pt x="547" y="380"/>
                  </a:lnTo>
                  <a:lnTo>
                    <a:pt x="546" y="374"/>
                  </a:lnTo>
                  <a:lnTo>
                    <a:pt x="540" y="365"/>
                  </a:lnTo>
                  <a:lnTo>
                    <a:pt x="533" y="357"/>
                  </a:lnTo>
                  <a:lnTo>
                    <a:pt x="518" y="341"/>
                  </a:lnTo>
                  <a:lnTo>
                    <a:pt x="512" y="333"/>
                  </a:lnTo>
                  <a:lnTo>
                    <a:pt x="510" y="324"/>
                  </a:lnTo>
                  <a:lnTo>
                    <a:pt x="510" y="324"/>
                  </a:lnTo>
                  <a:lnTo>
                    <a:pt x="503" y="303"/>
                  </a:lnTo>
                  <a:lnTo>
                    <a:pt x="488" y="268"/>
                  </a:lnTo>
                  <a:lnTo>
                    <a:pt x="463" y="208"/>
                  </a:lnTo>
                  <a:lnTo>
                    <a:pt x="463" y="208"/>
                  </a:lnTo>
                  <a:lnTo>
                    <a:pt x="462" y="206"/>
                  </a:lnTo>
                  <a:lnTo>
                    <a:pt x="458" y="206"/>
                  </a:lnTo>
                  <a:lnTo>
                    <a:pt x="447" y="208"/>
                  </a:lnTo>
                  <a:lnTo>
                    <a:pt x="435" y="210"/>
                  </a:lnTo>
                  <a:lnTo>
                    <a:pt x="428" y="213"/>
                  </a:lnTo>
                  <a:lnTo>
                    <a:pt x="428" y="213"/>
                  </a:lnTo>
                  <a:lnTo>
                    <a:pt x="424" y="215"/>
                  </a:lnTo>
                  <a:lnTo>
                    <a:pt x="422" y="215"/>
                  </a:lnTo>
                  <a:lnTo>
                    <a:pt x="415" y="213"/>
                  </a:lnTo>
                  <a:lnTo>
                    <a:pt x="407" y="208"/>
                  </a:lnTo>
                  <a:lnTo>
                    <a:pt x="400" y="198"/>
                  </a:lnTo>
                  <a:lnTo>
                    <a:pt x="392" y="189"/>
                  </a:lnTo>
                  <a:lnTo>
                    <a:pt x="389" y="178"/>
                  </a:lnTo>
                  <a:lnTo>
                    <a:pt x="389" y="169"/>
                  </a:lnTo>
                  <a:lnTo>
                    <a:pt x="389" y="165"/>
                  </a:lnTo>
                  <a:lnTo>
                    <a:pt x="392" y="161"/>
                  </a:lnTo>
                  <a:lnTo>
                    <a:pt x="392" y="161"/>
                  </a:lnTo>
                  <a:lnTo>
                    <a:pt x="400" y="150"/>
                  </a:lnTo>
                  <a:lnTo>
                    <a:pt x="402" y="146"/>
                  </a:lnTo>
                  <a:lnTo>
                    <a:pt x="402" y="141"/>
                  </a:lnTo>
                  <a:lnTo>
                    <a:pt x="398" y="133"/>
                  </a:lnTo>
                  <a:lnTo>
                    <a:pt x="392" y="126"/>
                  </a:lnTo>
                  <a:lnTo>
                    <a:pt x="377" y="109"/>
                  </a:lnTo>
                  <a:lnTo>
                    <a:pt x="372" y="101"/>
                  </a:lnTo>
                  <a:lnTo>
                    <a:pt x="368" y="90"/>
                  </a:lnTo>
                  <a:lnTo>
                    <a:pt x="368" y="90"/>
                  </a:lnTo>
                  <a:lnTo>
                    <a:pt x="362" y="75"/>
                  </a:lnTo>
                  <a:lnTo>
                    <a:pt x="357" y="68"/>
                  </a:lnTo>
                  <a:lnTo>
                    <a:pt x="355" y="66"/>
                  </a:lnTo>
                  <a:lnTo>
                    <a:pt x="353" y="66"/>
                  </a:lnTo>
                  <a:lnTo>
                    <a:pt x="348" y="68"/>
                  </a:lnTo>
                  <a:lnTo>
                    <a:pt x="340" y="73"/>
                  </a:lnTo>
                  <a:lnTo>
                    <a:pt x="334" y="79"/>
                  </a:lnTo>
                  <a:lnTo>
                    <a:pt x="327" y="86"/>
                  </a:lnTo>
                  <a:lnTo>
                    <a:pt x="319" y="94"/>
                  </a:lnTo>
                  <a:lnTo>
                    <a:pt x="319" y="94"/>
                  </a:lnTo>
                  <a:lnTo>
                    <a:pt x="316" y="98"/>
                  </a:lnTo>
                  <a:lnTo>
                    <a:pt x="312" y="103"/>
                  </a:lnTo>
                  <a:lnTo>
                    <a:pt x="306" y="113"/>
                  </a:lnTo>
                  <a:lnTo>
                    <a:pt x="306" y="124"/>
                  </a:lnTo>
                  <a:lnTo>
                    <a:pt x="306" y="133"/>
                  </a:lnTo>
                  <a:lnTo>
                    <a:pt x="306" y="141"/>
                  </a:lnTo>
                  <a:lnTo>
                    <a:pt x="306" y="144"/>
                  </a:lnTo>
                  <a:lnTo>
                    <a:pt x="305" y="144"/>
                  </a:lnTo>
                  <a:lnTo>
                    <a:pt x="303" y="142"/>
                  </a:lnTo>
                  <a:lnTo>
                    <a:pt x="297" y="137"/>
                  </a:lnTo>
                  <a:lnTo>
                    <a:pt x="297" y="137"/>
                  </a:lnTo>
                  <a:lnTo>
                    <a:pt x="293" y="131"/>
                  </a:lnTo>
                  <a:lnTo>
                    <a:pt x="291" y="120"/>
                  </a:lnTo>
                  <a:lnTo>
                    <a:pt x="288" y="86"/>
                  </a:lnTo>
                  <a:lnTo>
                    <a:pt x="284" y="45"/>
                  </a:lnTo>
                  <a:lnTo>
                    <a:pt x="284" y="0"/>
                  </a:lnTo>
                  <a:lnTo>
                    <a:pt x="284" y="0"/>
                  </a:lnTo>
                  <a:lnTo>
                    <a:pt x="275" y="2"/>
                  </a:lnTo>
                  <a:lnTo>
                    <a:pt x="269" y="8"/>
                  </a:lnTo>
                  <a:lnTo>
                    <a:pt x="267" y="15"/>
                  </a:lnTo>
                  <a:lnTo>
                    <a:pt x="265" y="23"/>
                  </a:lnTo>
                  <a:lnTo>
                    <a:pt x="265" y="42"/>
                  </a:lnTo>
                  <a:lnTo>
                    <a:pt x="263" y="49"/>
                  </a:lnTo>
                  <a:lnTo>
                    <a:pt x="260" y="55"/>
                  </a:lnTo>
                  <a:lnTo>
                    <a:pt x="260" y="55"/>
                  </a:lnTo>
                  <a:lnTo>
                    <a:pt x="254" y="58"/>
                  </a:lnTo>
                  <a:lnTo>
                    <a:pt x="252" y="56"/>
                  </a:lnTo>
                  <a:lnTo>
                    <a:pt x="248" y="55"/>
                  </a:lnTo>
                  <a:lnTo>
                    <a:pt x="247" y="51"/>
                  </a:lnTo>
                  <a:lnTo>
                    <a:pt x="245" y="40"/>
                  </a:lnTo>
                  <a:lnTo>
                    <a:pt x="245" y="32"/>
                  </a:lnTo>
                  <a:lnTo>
                    <a:pt x="245" y="32"/>
                  </a:lnTo>
                  <a:lnTo>
                    <a:pt x="239" y="25"/>
                  </a:lnTo>
                  <a:lnTo>
                    <a:pt x="235" y="25"/>
                  </a:lnTo>
                  <a:lnTo>
                    <a:pt x="234" y="25"/>
                  </a:lnTo>
                  <a:lnTo>
                    <a:pt x="230" y="30"/>
                  </a:lnTo>
                  <a:lnTo>
                    <a:pt x="228" y="40"/>
                  </a:lnTo>
                  <a:lnTo>
                    <a:pt x="224" y="58"/>
                  </a:lnTo>
                  <a:lnTo>
                    <a:pt x="222" y="70"/>
                  </a:lnTo>
                  <a:lnTo>
                    <a:pt x="222" y="70"/>
                  </a:lnTo>
                  <a:lnTo>
                    <a:pt x="219" y="81"/>
                  </a:lnTo>
                  <a:lnTo>
                    <a:pt x="219" y="90"/>
                  </a:lnTo>
                  <a:lnTo>
                    <a:pt x="220" y="101"/>
                  </a:lnTo>
                  <a:lnTo>
                    <a:pt x="222" y="111"/>
                  </a:lnTo>
                  <a:lnTo>
                    <a:pt x="224" y="120"/>
                  </a:lnTo>
                  <a:lnTo>
                    <a:pt x="224" y="127"/>
                  </a:lnTo>
                  <a:lnTo>
                    <a:pt x="222" y="129"/>
                  </a:lnTo>
                  <a:lnTo>
                    <a:pt x="220" y="133"/>
                  </a:lnTo>
                  <a:lnTo>
                    <a:pt x="211" y="135"/>
                  </a:lnTo>
                  <a:lnTo>
                    <a:pt x="211" y="135"/>
                  </a:lnTo>
                  <a:lnTo>
                    <a:pt x="192" y="141"/>
                  </a:lnTo>
                  <a:lnTo>
                    <a:pt x="183" y="142"/>
                  </a:lnTo>
                  <a:lnTo>
                    <a:pt x="181" y="141"/>
                  </a:lnTo>
                  <a:lnTo>
                    <a:pt x="181" y="137"/>
                  </a:lnTo>
                  <a:lnTo>
                    <a:pt x="179" y="122"/>
                  </a:lnTo>
                  <a:lnTo>
                    <a:pt x="179" y="122"/>
                  </a:lnTo>
                  <a:lnTo>
                    <a:pt x="177" y="111"/>
                  </a:lnTo>
                  <a:lnTo>
                    <a:pt x="174" y="107"/>
                  </a:lnTo>
                  <a:lnTo>
                    <a:pt x="170" y="107"/>
                  </a:lnTo>
                  <a:lnTo>
                    <a:pt x="164" y="111"/>
                  </a:lnTo>
                  <a:lnTo>
                    <a:pt x="155" y="124"/>
                  </a:lnTo>
                  <a:lnTo>
                    <a:pt x="146" y="137"/>
                  </a:lnTo>
                  <a:lnTo>
                    <a:pt x="146" y="137"/>
                  </a:lnTo>
                  <a:lnTo>
                    <a:pt x="146" y="146"/>
                  </a:lnTo>
                  <a:lnTo>
                    <a:pt x="148" y="167"/>
                  </a:lnTo>
                  <a:lnTo>
                    <a:pt x="148" y="167"/>
                  </a:lnTo>
                  <a:lnTo>
                    <a:pt x="149" y="184"/>
                  </a:lnTo>
                  <a:lnTo>
                    <a:pt x="157" y="204"/>
                  </a:lnTo>
                  <a:lnTo>
                    <a:pt x="161" y="213"/>
                  </a:lnTo>
                  <a:lnTo>
                    <a:pt x="164" y="221"/>
                  </a:lnTo>
                  <a:lnTo>
                    <a:pt x="170" y="225"/>
                  </a:lnTo>
                  <a:lnTo>
                    <a:pt x="172" y="225"/>
                  </a:lnTo>
                  <a:lnTo>
                    <a:pt x="174" y="225"/>
                  </a:lnTo>
                  <a:lnTo>
                    <a:pt x="174" y="225"/>
                  </a:lnTo>
                  <a:lnTo>
                    <a:pt x="183" y="221"/>
                  </a:lnTo>
                  <a:lnTo>
                    <a:pt x="191" y="219"/>
                  </a:lnTo>
                  <a:lnTo>
                    <a:pt x="198" y="219"/>
                  </a:lnTo>
                  <a:lnTo>
                    <a:pt x="202" y="221"/>
                  </a:lnTo>
                  <a:lnTo>
                    <a:pt x="205" y="225"/>
                  </a:lnTo>
                  <a:lnTo>
                    <a:pt x="207" y="228"/>
                  </a:lnTo>
                  <a:lnTo>
                    <a:pt x="207" y="241"/>
                  </a:lnTo>
                  <a:lnTo>
                    <a:pt x="207" y="256"/>
                  </a:lnTo>
                  <a:lnTo>
                    <a:pt x="204" y="271"/>
                  </a:lnTo>
                  <a:lnTo>
                    <a:pt x="202" y="284"/>
                  </a:lnTo>
                  <a:lnTo>
                    <a:pt x="202" y="292"/>
                  </a:lnTo>
                  <a:lnTo>
                    <a:pt x="202" y="292"/>
                  </a:lnTo>
                  <a:lnTo>
                    <a:pt x="204" y="307"/>
                  </a:lnTo>
                  <a:lnTo>
                    <a:pt x="202" y="320"/>
                  </a:lnTo>
                  <a:lnTo>
                    <a:pt x="202" y="331"/>
                  </a:lnTo>
                  <a:lnTo>
                    <a:pt x="202" y="344"/>
                  </a:lnTo>
                  <a:lnTo>
                    <a:pt x="202" y="344"/>
                  </a:lnTo>
                  <a:lnTo>
                    <a:pt x="202" y="352"/>
                  </a:lnTo>
                  <a:lnTo>
                    <a:pt x="200" y="361"/>
                  </a:lnTo>
                  <a:lnTo>
                    <a:pt x="192" y="383"/>
                  </a:lnTo>
                  <a:lnTo>
                    <a:pt x="185" y="404"/>
                  </a:lnTo>
                  <a:lnTo>
                    <a:pt x="185" y="412"/>
                  </a:lnTo>
                  <a:lnTo>
                    <a:pt x="187" y="415"/>
                  </a:lnTo>
                  <a:lnTo>
                    <a:pt x="187" y="415"/>
                  </a:lnTo>
                  <a:lnTo>
                    <a:pt x="191" y="423"/>
                  </a:lnTo>
                  <a:lnTo>
                    <a:pt x="191" y="425"/>
                  </a:lnTo>
                  <a:lnTo>
                    <a:pt x="191" y="426"/>
                  </a:lnTo>
                  <a:lnTo>
                    <a:pt x="187" y="430"/>
                  </a:lnTo>
                  <a:lnTo>
                    <a:pt x="181" y="434"/>
                  </a:lnTo>
                  <a:lnTo>
                    <a:pt x="174" y="436"/>
                  </a:lnTo>
                  <a:lnTo>
                    <a:pt x="170" y="440"/>
                  </a:lnTo>
                  <a:lnTo>
                    <a:pt x="170" y="441"/>
                  </a:lnTo>
                  <a:lnTo>
                    <a:pt x="170" y="443"/>
                  </a:lnTo>
                  <a:lnTo>
                    <a:pt x="174" y="449"/>
                  </a:lnTo>
                  <a:lnTo>
                    <a:pt x="174" y="449"/>
                  </a:lnTo>
                  <a:lnTo>
                    <a:pt x="183" y="456"/>
                  </a:lnTo>
                  <a:lnTo>
                    <a:pt x="185" y="458"/>
                  </a:lnTo>
                  <a:lnTo>
                    <a:pt x="185" y="462"/>
                  </a:lnTo>
                  <a:lnTo>
                    <a:pt x="181" y="466"/>
                  </a:lnTo>
                  <a:lnTo>
                    <a:pt x="176" y="468"/>
                  </a:lnTo>
                  <a:lnTo>
                    <a:pt x="159" y="471"/>
                  </a:lnTo>
                  <a:lnTo>
                    <a:pt x="153" y="473"/>
                  </a:lnTo>
                  <a:lnTo>
                    <a:pt x="149" y="477"/>
                  </a:lnTo>
                  <a:lnTo>
                    <a:pt x="149" y="477"/>
                  </a:lnTo>
                  <a:lnTo>
                    <a:pt x="144" y="492"/>
                  </a:lnTo>
                  <a:lnTo>
                    <a:pt x="138" y="501"/>
                  </a:lnTo>
                  <a:lnTo>
                    <a:pt x="133" y="503"/>
                  </a:lnTo>
                  <a:lnTo>
                    <a:pt x="127" y="501"/>
                  </a:lnTo>
                  <a:lnTo>
                    <a:pt x="121" y="501"/>
                  </a:lnTo>
                  <a:lnTo>
                    <a:pt x="116" y="501"/>
                  </a:lnTo>
                  <a:lnTo>
                    <a:pt x="108" y="509"/>
                  </a:lnTo>
                  <a:lnTo>
                    <a:pt x="99" y="522"/>
                  </a:lnTo>
                  <a:lnTo>
                    <a:pt x="99" y="522"/>
                  </a:lnTo>
                  <a:lnTo>
                    <a:pt x="90" y="537"/>
                  </a:lnTo>
                  <a:lnTo>
                    <a:pt x="82" y="544"/>
                  </a:lnTo>
                  <a:lnTo>
                    <a:pt x="77" y="546"/>
                  </a:lnTo>
                  <a:lnTo>
                    <a:pt x="69" y="544"/>
                  </a:lnTo>
                  <a:lnTo>
                    <a:pt x="63" y="544"/>
                  </a:lnTo>
                  <a:lnTo>
                    <a:pt x="58" y="546"/>
                  </a:lnTo>
                  <a:lnTo>
                    <a:pt x="50" y="554"/>
                  </a:lnTo>
                  <a:lnTo>
                    <a:pt x="41" y="567"/>
                  </a:lnTo>
                  <a:lnTo>
                    <a:pt x="41" y="567"/>
                  </a:lnTo>
                  <a:lnTo>
                    <a:pt x="39" y="574"/>
                  </a:lnTo>
                  <a:lnTo>
                    <a:pt x="39" y="580"/>
                  </a:lnTo>
                  <a:lnTo>
                    <a:pt x="41" y="589"/>
                  </a:lnTo>
                  <a:lnTo>
                    <a:pt x="39" y="593"/>
                  </a:lnTo>
                  <a:lnTo>
                    <a:pt x="37" y="596"/>
                  </a:lnTo>
                  <a:lnTo>
                    <a:pt x="32" y="600"/>
                  </a:lnTo>
                  <a:lnTo>
                    <a:pt x="20" y="606"/>
                  </a:lnTo>
                  <a:lnTo>
                    <a:pt x="20" y="606"/>
                  </a:lnTo>
                  <a:lnTo>
                    <a:pt x="17" y="610"/>
                  </a:lnTo>
                  <a:lnTo>
                    <a:pt x="13" y="613"/>
                  </a:lnTo>
                  <a:lnTo>
                    <a:pt x="9" y="628"/>
                  </a:lnTo>
                  <a:lnTo>
                    <a:pt x="9" y="643"/>
                  </a:lnTo>
                  <a:lnTo>
                    <a:pt x="9" y="649"/>
                  </a:lnTo>
                  <a:lnTo>
                    <a:pt x="13" y="651"/>
                  </a:lnTo>
                  <a:lnTo>
                    <a:pt x="13" y="651"/>
                  </a:lnTo>
                  <a:lnTo>
                    <a:pt x="20" y="654"/>
                  </a:lnTo>
                  <a:lnTo>
                    <a:pt x="28" y="658"/>
                  </a:lnTo>
                  <a:lnTo>
                    <a:pt x="30" y="664"/>
                  </a:lnTo>
                  <a:lnTo>
                    <a:pt x="32" y="669"/>
                  </a:lnTo>
                  <a:lnTo>
                    <a:pt x="32" y="675"/>
                  </a:lnTo>
                  <a:lnTo>
                    <a:pt x="32" y="681"/>
                  </a:lnTo>
                  <a:lnTo>
                    <a:pt x="26" y="692"/>
                  </a:lnTo>
                  <a:lnTo>
                    <a:pt x="17" y="703"/>
                  </a:lnTo>
                  <a:lnTo>
                    <a:pt x="9" y="712"/>
                  </a:lnTo>
                  <a:lnTo>
                    <a:pt x="0" y="722"/>
                  </a:lnTo>
                  <a:lnTo>
                    <a:pt x="0" y="722"/>
                  </a:lnTo>
                  <a:lnTo>
                    <a:pt x="2" y="733"/>
                  </a:lnTo>
                  <a:lnTo>
                    <a:pt x="6" y="735"/>
                  </a:lnTo>
                  <a:lnTo>
                    <a:pt x="7" y="737"/>
                  </a:lnTo>
                  <a:lnTo>
                    <a:pt x="17" y="735"/>
                  </a:lnTo>
                  <a:lnTo>
                    <a:pt x="30" y="729"/>
                  </a:lnTo>
                  <a:lnTo>
                    <a:pt x="49" y="724"/>
                  </a:lnTo>
                  <a:lnTo>
                    <a:pt x="71" y="716"/>
                  </a:lnTo>
                  <a:lnTo>
                    <a:pt x="86" y="714"/>
                  </a:lnTo>
                  <a:lnTo>
                    <a:pt x="103" y="714"/>
                  </a:lnTo>
                  <a:lnTo>
                    <a:pt x="121" y="714"/>
                  </a:lnTo>
                  <a:lnTo>
                    <a:pt x="140" y="714"/>
                  </a:lnTo>
                  <a:lnTo>
                    <a:pt x="140" y="714"/>
                  </a:lnTo>
                  <a:lnTo>
                    <a:pt x="161" y="716"/>
                  </a:lnTo>
                  <a:lnTo>
                    <a:pt x="170" y="720"/>
                  </a:lnTo>
                  <a:lnTo>
                    <a:pt x="172" y="720"/>
                  </a:lnTo>
                  <a:lnTo>
                    <a:pt x="172" y="722"/>
                  </a:lnTo>
                  <a:lnTo>
                    <a:pt x="168" y="725"/>
                  </a:lnTo>
                  <a:lnTo>
                    <a:pt x="161" y="731"/>
                  </a:lnTo>
                  <a:lnTo>
                    <a:pt x="153" y="737"/>
                  </a:lnTo>
                  <a:lnTo>
                    <a:pt x="148" y="746"/>
                  </a:lnTo>
                  <a:lnTo>
                    <a:pt x="146" y="752"/>
                  </a:lnTo>
                  <a:lnTo>
                    <a:pt x="146" y="757"/>
                  </a:lnTo>
                  <a:lnTo>
                    <a:pt x="146" y="757"/>
                  </a:lnTo>
                  <a:lnTo>
                    <a:pt x="148" y="763"/>
                  </a:lnTo>
                  <a:lnTo>
                    <a:pt x="151" y="768"/>
                  </a:lnTo>
                  <a:lnTo>
                    <a:pt x="159" y="776"/>
                  </a:lnTo>
                  <a:lnTo>
                    <a:pt x="163" y="780"/>
                  </a:lnTo>
                  <a:lnTo>
                    <a:pt x="164" y="785"/>
                  </a:lnTo>
                  <a:lnTo>
                    <a:pt x="163" y="791"/>
                  </a:lnTo>
                  <a:lnTo>
                    <a:pt x="159" y="798"/>
                  </a:lnTo>
                  <a:lnTo>
                    <a:pt x="159" y="798"/>
                  </a:lnTo>
                  <a:lnTo>
                    <a:pt x="157" y="800"/>
                  </a:lnTo>
                  <a:lnTo>
                    <a:pt x="159" y="804"/>
                  </a:lnTo>
                  <a:lnTo>
                    <a:pt x="164" y="810"/>
                  </a:lnTo>
                  <a:lnTo>
                    <a:pt x="168" y="815"/>
                  </a:lnTo>
                  <a:lnTo>
                    <a:pt x="170" y="819"/>
                  </a:lnTo>
                  <a:lnTo>
                    <a:pt x="170" y="824"/>
                  </a:lnTo>
                  <a:lnTo>
                    <a:pt x="166" y="830"/>
                  </a:lnTo>
                  <a:lnTo>
                    <a:pt x="166" y="830"/>
                  </a:lnTo>
                  <a:lnTo>
                    <a:pt x="163" y="839"/>
                  </a:lnTo>
                  <a:lnTo>
                    <a:pt x="163" y="845"/>
                  </a:lnTo>
                  <a:lnTo>
                    <a:pt x="166" y="851"/>
                  </a:lnTo>
                  <a:lnTo>
                    <a:pt x="172" y="856"/>
                  </a:lnTo>
                  <a:lnTo>
                    <a:pt x="179" y="860"/>
                  </a:lnTo>
                  <a:lnTo>
                    <a:pt x="189" y="864"/>
                  </a:lnTo>
                  <a:lnTo>
                    <a:pt x="209" y="869"/>
                  </a:lnTo>
                  <a:lnTo>
                    <a:pt x="230" y="873"/>
                  </a:lnTo>
                  <a:lnTo>
                    <a:pt x="237" y="877"/>
                  </a:lnTo>
                  <a:lnTo>
                    <a:pt x="243" y="881"/>
                  </a:lnTo>
                  <a:lnTo>
                    <a:pt x="245" y="884"/>
                  </a:lnTo>
                  <a:lnTo>
                    <a:pt x="245" y="888"/>
                  </a:lnTo>
                  <a:lnTo>
                    <a:pt x="239" y="895"/>
                  </a:lnTo>
                  <a:lnTo>
                    <a:pt x="230" y="903"/>
                  </a:lnTo>
                  <a:lnTo>
                    <a:pt x="230" y="903"/>
                  </a:lnTo>
                  <a:lnTo>
                    <a:pt x="222" y="910"/>
                  </a:lnTo>
                  <a:lnTo>
                    <a:pt x="219" y="918"/>
                  </a:lnTo>
                  <a:lnTo>
                    <a:pt x="217" y="925"/>
                  </a:lnTo>
                  <a:lnTo>
                    <a:pt x="215" y="935"/>
                  </a:lnTo>
                  <a:lnTo>
                    <a:pt x="215" y="944"/>
                  </a:lnTo>
                  <a:lnTo>
                    <a:pt x="213" y="952"/>
                  </a:lnTo>
                  <a:lnTo>
                    <a:pt x="209" y="959"/>
                  </a:lnTo>
                  <a:lnTo>
                    <a:pt x="204" y="966"/>
                  </a:lnTo>
                  <a:lnTo>
                    <a:pt x="204" y="966"/>
                  </a:lnTo>
                  <a:lnTo>
                    <a:pt x="192" y="978"/>
                  </a:lnTo>
                  <a:lnTo>
                    <a:pt x="185" y="987"/>
                  </a:lnTo>
                  <a:lnTo>
                    <a:pt x="183" y="994"/>
                  </a:lnTo>
                  <a:lnTo>
                    <a:pt x="185" y="1000"/>
                  </a:lnTo>
                  <a:lnTo>
                    <a:pt x="191" y="1006"/>
                  </a:lnTo>
                  <a:lnTo>
                    <a:pt x="200" y="1009"/>
                  </a:lnTo>
                  <a:lnTo>
                    <a:pt x="222" y="1015"/>
                  </a:lnTo>
                  <a:lnTo>
                    <a:pt x="247" y="1019"/>
                  </a:lnTo>
                  <a:lnTo>
                    <a:pt x="271" y="1024"/>
                  </a:lnTo>
                  <a:lnTo>
                    <a:pt x="278" y="1028"/>
                  </a:lnTo>
                  <a:lnTo>
                    <a:pt x="286" y="1032"/>
                  </a:lnTo>
                  <a:lnTo>
                    <a:pt x="290" y="1037"/>
                  </a:lnTo>
                  <a:lnTo>
                    <a:pt x="288" y="1043"/>
                  </a:lnTo>
                  <a:lnTo>
                    <a:pt x="288" y="1043"/>
                  </a:lnTo>
                  <a:lnTo>
                    <a:pt x="284" y="1056"/>
                  </a:lnTo>
                  <a:lnTo>
                    <a:pt x="286" y="1067"/>
                  </a:lnTo>
                  <a:lnTo>
                    <a:pt x="290" y="1073"/>
                  </a:lnTo>
                  <a:lnTo>
                    <a:pt x="295" y="1079"/>
                  </a:lnTo>
                  <a:lnTo>
                    <a:pt x="305" y="1086"/>
                  </a:lnTo>
                  <a:lnTo>
                    <a:pt x="306" y="1088"/>
                  </a:lnTo>
                  <a:lnTo>
                    <a:pt x="305" y="1092"/>
                  </a:lnTo>
                  <a:lnTo>
                    <a:pt x="305" y="1092"/>
                  </a:lnTo>
                  <a:lnTo>
                    <a:pt x="301" y="1097"/>
                  </a:lnTo>
                  <a:lnTo>
                    <a:pt x="299" y="1101"/>
                  </a:lnTo>
                  <a:lnTo>
                    <a:pt x="297" y="1103"/>
                  </a:lnTo>
                  <a:lnTo>
                    <a:pt x="299" y="1107"/>
                  </a:lnTo>
                  <a:lnTo>
                    <a:pt x="305" y="1110"/>
                  </a:lnTo>
                  <a:lnTo>
                    <a:pt x="314" y="1112"/>
                  </a:lnTo>
                  <a:lnTo>
                    <a:pt x="336" y="1114"/>
                  </a:lnTo>
                  <a:lnTo>
                    <a:pt x="346" y="1116"/>
                  </a:lnTo>
                  <a:lnTo>
                    <a:pt x="351" y="1118"/>
                  </a:lnTo>
                  <a:lnTo>
                    <a:pt x="351" y="1118"/>
                  </a:lnTo>
                  <a:lnTo>
                    <a:pt x="357" y="1120"/>
                  </a:lnTo>
                  <a:lnTo>
                    <a:pt x="362" y="1120"/>
                  </a:lnTo>
                  <a:lnTo>
                    <a:pt x="368" y="1120"/>
                  </a:lnTo>
                  <a:lnTo>
                    <a:pt x="376" y="1116"/>
                  </a:lnTo>
                  <a:lnTo>
                    <a:pt x="391" y="1108"/>
                  </a:lnTo>
                  <a:lnTo>
                    <a:pt x="404" y="1101"/>
                  </a:lnTo>
                  <a:lnTo>
                    <a:pt x="417" y="1094"/>
                  </a:lnTo>
                  <a:lnTo>
                    <a:pt x="428" y="1088"/>
                  </a:lnTo>
                  <a:lnTo>
                    <a:pt x="433" y="1088"/>
                  </a:lnTo>
                  <a:lnTo>
                    <a:pt x="437" y="1090"/>
                  </a:lnTo>
                  <a:lnTo>
                    <a:pt x="441" y="1092"/>
                  </a:lnTo>
                  <a:lnTo>
                    <a:pt x="443" y="1097"/>
                  </a:lnTo>
                  <a:lnTo>
                    <a:pt x="443" y="1097"/>
                  </a:lnTo>
                  <a:lnTo>
                    <a:pt x="443" y="1108"/>
                  </a:lnTo>
                  <a:lnTo>
                    <a:pt x="441" y="1122"/>
                  </a:lnTo>
                  <a:lnTo>
                    <a:pt x="441" y="1135"/>
                  </a:lnTo>
                  <a:lnTo>
                    <a:pt x="439" y="1148"/>
                  </a:lnTo>
                  <a:lnTo>
                    <a:pt x="441" y="1159"/>
                  </a:lnTo>
                  <a:lnTo>
                    <a:pt x="443" y="1163"/>
                  </a:lnTo>
                  <a:lnTo>
                    <a:pt x="447" y="1166"/>
                  </a:lnTo>
                  <a:lnTo>
                    <a:pt x="452" y="1168"/>
                  </a:lnTo>
                  <a:lnTo>
                    <a:pt x="458" y="1168"/>
                  </a:lnTo>
                  <a:lnTo>
                    <a:pt x="467" y="1166"/>
                  </a:lnTo>
                  <a:lnTo>
                    <a:pt x="476" y="1163"/>
                  </a:lnTo>
                  <a:lnTo>
                    <a:pt x="476" y="1163"/>
                  </a:lnTo>
                  <a:lnTo>
                    <a:pt x="482" y="1165"/>
                  </a:lnTo>
                  <a:lnTo>
                    <a:pt x="490" y="1168"/>
                  </a:lnTo>
                  <a:lnTo>
                    <a:pt x="508" y="1178"/>
                  </a:lnTo>
                  <a:lnTo>
                    <a:pt x="516" y="1179"/>
                  </a:lnTo>
                  <a:lnTo>
                    <a:pt x="519" y="1179"/>
                  </a:lnTo>
                  <a:lnTo>
                    <a:pt x="521" y="1179"/>
                  </a:lnTo>
                  <a:lnTo>
                    <a:pt x="523" y="1178"/>
                  </a:lnTo>
                  <a:lnTo>
                    <a:pt x="523" y="1174"/>
                  </a:lnTo>
                  <a:lnTo>
                    <a:pt x="518" y="1161"/>
                  </a:lnTo>
                  <a:lnTo>
                    <a:pt x="518" y="1161"/>
                  </a:lnTo>
                  <a:lnTo>
                    <a:pt x="516" y="1155"/>
                  </a:lnTo>
                  <a:lnTo>
                    <a:pt x="514" y="1150"/>
                  </a:lnTo>
                  <a:lnTo>
                    <a:pt x="514" y="1138"/>
                  </a:lnTo>
                  <a:lnTo>
                    <a:pt x="518" y="1127"/>
                  </a:lnTo>
                  <a:lnTo>
                    <a:pt x="521" y="1118"/>
                  </a:lnTo>
                  <a:lnTo>
                    <a:pt x="525" y="1107"/>
                  </a:lnTo>
                  <a:lnTo>
                    <a:pt x="525" y="1095"/>
                  </a:lnTo>
                  <a:lnTo>
                    <a:pt x="525" y="1090"/>
                  </a:lnTo>
                  <a:lnTo>
                    <a:pt x="523" y="1082"/>
                  </a:lnTo>
                  <a:lnTo>
                    <a:pt x="518" y="1075"/>
                  </a:lnTo>
                  <a:lnTo>
                    <a:pt x="514" y="1067"/>
                  </a:lnTo>
                  <a:lnTo>
                    <a:pt x="514" y="1067"/>
                  </a:lnTo>
                  <a:lnTo>
                    <a:pt x="510" y="1062"/>
                  </a:lnTo>
                  <a:lnTo>
                    <a:pt x="506" y="1056"/>
                  </a:lnTo>
                  <a:lnTo>
                    <a:pt x="505" y="1041"/>
                  </a:lnTo>
                  <a:lnTo>
                    <a:pt x="505" y="1026"/>
                  </a:lnTo>
                  <a:lnTo>
                    <a:pt x="506" y="1013"/>
                  </a:lnTo>
                  <a:lnTo>
                    <a:pt x="512" y="1000"/>
                  </a:lnTo>
                  <a:lnTo>
                    <a:pt x="516" y="996"/>
                  </a:lnTo>
                  <a:lnTo>
                    <a:pt x="519" y="993"/>
                  </a:lnTo>
                  <a:lnTo>
                    <a:pt x="525" y="991"/>
                  </a:lnTo>
                  <a:lnTo>
                    <a:pt x="529" y="991"/>
                  </a:lnTo>
                  <a:lnTo>
                    <a:pt x="534" y="993"/>
                  </a:lnTo>
                  <a:lnTo>
                    <a:pt x="540" y="996"/>
                  </a:lnTo>
                  <a:lnTo>
                    <a:pt x="540" y="996"/>
                  </a:lnTo>
                  <a:lnTo>
                    <a:pt x="546" y="998"/>
                  </a:lnTo>
                  <a:lnTo>
                    <a:pt x="553" y="1000"/>
                  </a:lnTo>
                  <a:lnTo>
                    <a:pt x="572" y="1004"/>
                  </a:lnTo>
                  <a:lnTo>
                    <a:pt x="581" y="1002"/>
                  </a:lnTo>
                  <a:lnTo>
                    <a:pt x="590" y="1002"/>
                  </a:lnTo>
                  <a:lnTo>
                    <a:pt x="596" y="998"/>
                  </a:lnTo>
                  <a:lnTo>
                    <a:pt x="602" y="994"/>
                  </a:lnTo>
                  <a:lnTo>
                    <a:pt x="602" y="994"/>
                  </a:lnTo>
                  <a:lnTo>
                    <a:pt x="613" y="978"/>
                  </a:lnTo>
                  <a:lnTo>
                    <a:pt x="624" y="966"/>
                  </a:lnTo>
                  <a:lnTo>
                    <a:pt x="633" y="961"/>
                  </a:lnTo>
                  <a:lnTo>
                    <a:pt x="641" y="959"/>
                  </a:lnTo>
                  <a:lnTo>
                    <a:pt x="648" y="961"/>
                  </a:lnTo>
                  <a:lnTo>
                    <a:pt x="654" y="965"/>
                  </a:lnTo>
                  <a:lnTo>
                    <a:pt x="665" y="980"/>
                  </a:lnTo>
                  <a:lnTo>
                    <a:pt x="676" y="994"/>
                  </a:lnTo>
                  <a:lnTo>
                    <a:pt x="684" y="1000"/>
                  </a:lnTo>
                  <a:lnTo>
                    <a:pt x="690" y="1004"/>
                  </a:lnTo>
                  <a:lnTo>
                    <a:pt x="699" y="1004"/>
                  </a:lnTo>
                  <a:lnTo>
                    <a:pt x="706" y="1002"/>
                  </a:lnTo>
                  <a:lnTo>
                    <a:pt x="718" y="994"/>
                  </a:lnTo>
                  <a:lnTo>
                    <a:pt x="729" y="981"/>
                  </a:lnTo>
                  <a:lnTo>
                    <a:pt x="729" y="981"/>
                  </a:lnTo>
                  <a:lnTo>
                    <a:pt x="734" y="974"/>
                  </a:lnTo>
                  <a:lnTo>
                    <a:pt x="740" y="970"/>
                  </a:lnTo>
                  <a:lnTo>
                    <a:pt x="744" y="968"/>
                  </a:lnTo>
                  <a:lnTo>
                    <a:pt x="747" y="966"/>
                  </a:lnTo>
                  <a:lnTo>
                    <a:pt x="751" y="968"/>
                  </a:lnTo>
                  <a:lnTo>
                    <a:pt x="753" y="970"/>
                  </a:lnTo>
                  <a:lnTo>
                    <a:pt x="759" y="976"/>
                  </a:lnTo>
                  <a:lnTo>
                    <a:pt x="762" y="981"/>
                  </a:lnTo>
                  <a:lnTo>
                    <a:pt x="766" y="985"/>
                  </a:lnTo>
                  <a:lnTo>
                    <a:pt x="768" y="985"/>
                  </a:lnTo>
                  <a:lnTo>
                    <a:pt x="770" y="983"/>
                  </a:lnTo>
                  <a:lnTo>
                    <a:pt x="777" y="972"/>
                  </a:lnTo>
                  <a:lnTo>
                    <a:pt x="777" y="972"/>
                  </a:lnTo>
                  <a:lnTo>
                    <a:pt x="781" y="966"/>
                  </a:lnTo>
                  <a:lnTo>
                    <a:pt x="783" y="965"/>
                  </a:lnTo>
                  <a:lnTo>
                    <a:pt x="787" y="966"/>
                  </a:lnTo>
                  <a:lnTo>
                    <a:pt x="790" y="968"/>
                  </a:lnTo>
                  <a:lnTo>
                    <a:pt x="796" y="978"/>
                  </a:lnTo>
                  <a:lnTo>
                    <a:pt x="804" y="989"/>
                  </a:lnTo>
                  <a:lnTo>
                    <a:pt x="811" y="998"/>
                  </a:lnTo>
                  <a:lnTo>
                    <a:pt x="815" y="1002"/>
                  </a:lnTo>
                  <a:lnTo>
                    <a:pt x="818" y="1004"/>
                  </a:lnTo>
                  <a:lnTo>
                    <a:pt x="822" y="1004"/>
                  </a:lnTo>
                  <a:lnTo>
                    <a:pt x="824" y="1000"/>
                  </a:lnTo>
                  <a:lnTo>
                    <a:pt x="828" y="994"/>
                  </a:lnTo>
                  <a:lnTo>
                    <a:pt x="832" y="987"/>
                  </a:lnTo>
                  <a:lnTo>
                    <a:pt x="832" y="987"/>
                  </a:lnTo>
                  <a:lnTo>
                    <a:pt x="835" y="978"/>
                  </a:lnTo>
                  <a:lnTo>
                    <a:pt x="839" y="970"/>
                  </a:lnTo>
                  <a:lnTo>
                    <a:pt x="843" y="966"/>
                  </a:lnTo>
                  <a:lnTo>
                    <a:pt x="847" y="965"/>
                  </a:lnTo>
                  <a:lnTo>
                    <a:pt x="850" y="963"/>
                  </a:lnTo>
                  <a:lnTo>
                    <a:pt x="854" y="965"/>
                  </a:lnTo>
                  <a:lnTo>
                    <a:pt x="861" y="968"/>
                  </a:lnTo>
                  <a:lnTo>
                    <a:pt x="876" y="981"/>
                  </a:lnTo>
                  <a:lnTo>
                    <a:pt x="884" y="985"/>
                  </a:lnTo>
                  <a:lnTo>
                    <a:pt x="886" y="985"/>
                  </a:lnTo>
                  <a:lnTo>
                    <a:pt x="888" y="983"/>
                  </a:lnTo>
                  <a:lnTo>
                    <a:pt x="888" y="983"/>
                  </a:lnTo>
                  <a:lnTo>
                    <a:pt x="897" y="976"/>
                  </a:lnTo>
                  <a:lnTo>
                    <a:pt x="906" y="972"/>
                  </a:lnTo>
                  <a:lnTo>
                    <a:pt x="923" y="965"/>
                  </a:lnTo>
                  <a:lnTo>
                    <a:pt x="929" y="963"/>
                  </a:lnTo>
                  <a:lnTo>
                    <a:pt x="934" y="959"/>
                  </a:lnTo>
                  <a:lnTo>
                    <a:pt x="938" y="953"/>
                  </a:lnTo>
                  <a:lnTo>
                    <a:pt x="940" y="944"/>
                  </a:lnTo>
                  <a:lnTo>
                    <a:pt x="940" y="944"/>
                  </a:lnTo>
                  <a:lnTo>
                    <a:pt x="944" y="935"/>
                  </a:lnTo>
                  <a:lnTo>
                    <a:pt x="947" y="927"/>
                  </a:lnTo>
                  <a:lnTo>
                    <a:pt x="955" y="922"/>
                  </a:lnTo>
                  <a:lnTo>
                    <a:pt x="962" y="918"/>
                  </a:lnTo>
                  <a:lnTo>
                    <a:pt x="981" y="909"/>
                  </a:lnTo>
                  <a:lnTo>
                    <a:pt x="989" y="905"/>
                  </a:lnTo>
                  <a:lnTo>
                    <a:pt x="996" y="899"/>
                  </a:lnTo>
                  <a:lnTo>
                    <a:pt x="996" y="899"/>
                  </a:lnTo>
                  <a:lnTo>
                    <a:pt x="1000" y="897"/>
                  </a:lnTo>
                  <a:lnTo>
                    <a:pt x="1003" y="897"/>
                  </a:lnTo>
                  <a:lnTo>
                    <a:pt x="1009" y="899"/>
                  </a:lnTo>
                  <a:lnTo>
                    <a:pt x="1013" y="901"/>
                  </a:lnTo>
                  <a:lnTo>
                    <a:pt x="1024" y="910"/>
                  </a:lnTo>
                  <a:lnTo>
                    <a:pt x="1033" y="922"/>
                  </a:lnTo>
                  <a:lnTo>
                    <a:pt x="1033" y="922"/>
                  </a:lnTo>
                  <a:lnTo>
                    <a:pt x="1056" y="901"/>
                  </a:lnTo>
                  <a:lnTo>
                    <a:pt x="1067" y="890"/>
                  </a:lnTo>
                  <a:lnTo>
                    <a:pt x="1075" y="879"/>
                  </a:lnTo>
                  <a:lnTo>
                    <a:pt x="1075" y="879"/>
                  </a:lnTo>
                  <a:lnTo>
                    <a:pt x="1080" y="879"/>
                  </a:lnTo>
                  <a:lnTo>
                    <a:pt x="1084" y="881"/>
                  </a:lnTo>
                  <a:lnTo>
                    <a:pt x="1091" y="884"/>
                  </a:lnTo>
                  <a:lnTo>
                    <a:pt x="1097" y="886"/>
                  </a:lnTo>
                  <a:lnTo>
                    <a:pt x="1101" y="886"/>
                  </a:lnTo>
                  <a:lnTo>
                    <a:pt x="1104" y="884"/>
                  </a:lnTo>
                  <a:lnTo>
                    <a:pt x="1104" y="884"/>
                  </a:lnTo>
                  <a:lnTo>
                    <a:pt x="1110" y="875"/>
                  </a:lnTo>
                  <a:lnTo>
                    <a:pt x="1116" y="867"/>
                  </a:lnTo>
                  <a:lnTo>
                    <a:pt x="1119" y="858"/>
                  </a:lnTo>
                  <a:lnTo>
                    <a:pt x="1121" y="849"/>
                  </a:lnTo>
                  <a:lnTo>
                    <a:pt x="1123" y="832"/>
                  </a:lnTo>
                  <a:lnTo>
                    <a:pt x="1121" y="815"/>
                  </a:lnTo>
                  <a:lnTo>
                    <a:pt x="1116" y="802"/>
                  </a:lnTo>
                  <a:lnTo>
                    <a:pt x="1108" y="791"/>
                  </a:lnTo>
                  <a:lnTo>
                    <a:pt x="1104" y="789"/>
                  </a:lnTo>
                  <a:lnTo>
                    <a:pt x="1101" y="787"/>
                  </a:lnTo>
                  <a:lnTo>
                    <a:pt x="1097" y="787"/>
                  </a:lnTo>
                  <a:lnTo>
                    <a:pt x="1095" y="787"/>
                  </a:lnTo>
                  <a:lnTo>
                    <a:pt x="1095" y="787"/>
                  </a:lnTo>
                  <a:lnTo>
                    <a:pt x="1082" y="795"/>
                  </a:lnTo>
                  <a:lnTo>
                    <a:pt x="1073" y="798"/>
                  </a:lnTo>
                  <a:lnTo>
                    <a:pt x="1063" y="798"/>
                  </a:lnTo>
                  <a:lnTo>
                    <a:pt x="1058" y="798"/>
                  </a:lnTo>
                  <a:lnTo>
                    <a:pt x="1048" y="795"/>
                  </a:lnTo>
                  <a:lnTo>
                    <a:pt x="1045" y="795"/>
                  </a:lnTo>
                  <a:lnTo>
                    <a:pt x="1041" y="795"/>
                  </a:lnTo>
                  <a:lnTo>
                    <a:pt x="1041" y="795"/>
                  </a:lnTo>
                  <a:lnTo>
                    <a:pt x="1033" y="798"/>
                  </a:lnTo>
                  <a:lnTo>
                    <a:pt x="1028" y="798"/>
                  </a:lnTo>
                  <a:lnTo>
                    <a:pt x="1020" y="795"/>
                  </a:lnTo>
                  <a:lnTo>
                    <a:pt x="1013" y="793"/>
                  </a:lnTo>
                  <a:lnTo>
                    <a:pt x="1013" y="793"/>
                  </a:lnTo>
                  <a:lnTo>
                    <a:pt x="1005" y="791"/>
                  </a:lnTo>
                  <a:lnTo>
                    <a:pt x="1000" y="785"/>
                  </a:lnTo>
                  <a:lnTo>
                    <a:pt x="998" y="780"/>
                  </a:lnTo>
                  <a:lnTo>
                    <a:pt x="998" y="774"/>
                  </a:lnTo>
                  <a:lnTo>
                    <a:pt x="998" y="759"/>
                  </a:lnTo>
                  <a:lnTo>
                    <a:pt x="996" y="753"/>
                  </a:lnTo>
                  <a:lnTo>
                    <a:pt x="992" y="750"/>
                  </a:lnTo>
                  <a:lnTo>
                    <a:pt x="992" y="750"/>
                  </a:lnTo>
                  <a:lnTo>
                    <a:pt x="987" y="746"/>
                  </a:lnTo>
                  <a:lnTo>
                    <a:pt x="981" y="742"/>
                  </a:lnTo>
                  <a:lnTo>
                    <a:pt x="970" y="740"/>
                  </a:lnTo>
                  <a:lnTo>
                    <a:pt x="957" y="740"/>
                  </a:lnTo>
                  <a:lnTo>
                    <a:pt x="947" y="742"/>
                  </a:lnTo>
                  <a:lnTo>
                    <a:pt x="931" y="746"/>
                  </a:lnTo>
                  <a:lnTo>
                    <a:pt x="925" y="746"/>
                  </a:lnTo>
                  <a:lnTo>
                    <a:pt x="923" y="744"/>
                  </a:lnTo>
                  <a:lnTo>
                    <a:pt x="921" y="742"/>
                  </a:lnTo>
                  <a:lnTo>
                    <a:pt x="921" y="742"/>
                  </a:lnTo>
                  <a:lnTo>
                    <a:pt x="918" y="725"/>
                  </a:lnTo>
                  <a:lnTo>
                    <a:pt x="914" y="710"/>
                  </a:lnTo>
                  <a:lnTo>
                    <a:pt x="914" y="697"/>
                  </a:lnTo>
                  <a:lnTo>
                    <a:pt x="918" y="684"/>
                  </a:lnTo>
                  <a:lnTo>
                    <a:pt x="918" y="684"/>
                  </a:lnTo>
                  <a:lnTo>
                    <a:pt x="923" y="675"/>
                  </a:lnTo>
                  <a:lnTo>
                    <a:pt x="932" y="666"/>
                  </a:lnTo>
                  <a:lnTo>
                    <a:pt x="932" y="666"/>
                  </a:lnTo>
                  <a:lnTo>
                    <a:pt x="936" y="658"/>
                  </a:lnTo>
                  <a:lnTo>
                    <a:pt x="940" y="651"/>
                  </a:lnTo>
                  <a:lnTo>
                    <a:pt x="942" y="641"/>
                  </a:lnTo>
                  <a:lnTo>
                    <a:pt x="946" y="636"/>
                  </a:lnTo>
                  <a:lnTo>
                    <a:pt x="946" y="636"/>
                  </a:lnTo>
                  <a:lnTo>
                    <a:pt x="953" y="630"/>
                  </a:lnTo>
                  <a:lnTo>
                    <a:pt x="955" y="626"/>
                  </a:lnTo>
                  <a:lnTo>
                    <a:pt x="953" y="623"/>
                  </a:lnTo>
                  <a:lnTo>
                    <a:pt x="949" y="619"/>
                  </a:lnTo>
                  <a:lnTo>
                    <a:pt x="940" y="613"/>
                  </a:lnTo>
                  <a:lnTo>
                    <a:pt x="934" y="610"/>
                  </a:lnTo>
                  <a:lnTo>
                    <a:pt x="929" y="602"/>
                  </a:lnTo>
                  <a:lnTo>
                    <a:pt x="929" y="602"/>
                  </a:lnTo>
                  <a:lnTo>
                    <a:pt x="923" y="593"/>
                  </a:lnTo>
                  <a:lnTo>
                    <a:pt x="918" y="585"/>
                  </a:lnTo>
                  <a:lnTo>
                    <a:pt x="910" y="580"/>
                  </a:lnTo>
                  <a:lnTo>
                    <a:pt x="903" y="572"/>
                  </a:lnTo>
                  <a:lnTo>
                    <a:pt x="903" y="572"/>
                  </a:lnTo>
                  <a:lnTo>
                    <a:pt x="899" y="568"/>
                  </a:lnTo>
                  <a:lnTo>
                    <a:pt x="899" y="563"/>
                  </a:lnTo>
                  <a:lnTo>
                    <a:pt x="901" y="550"/>
                  </a:lnTo>
                  <a:lnTo>
                    <a:pt x="904" y="535"/>
                  </a:lnTo>
                  <a:lnTo>
                    <a:pt x="912" y="518"/>
                  </a:lnTo>
                  <a:lnTo>
                    <a:pt x="929" y="490"/>
                  </a:lnTo>
                  <a:lnTo>
                    <a:pt x="936" y="479"/>
                  </a:lnTo>
                  <a:lnTo>
                    <a:pt x="942" y="473"/>
                  </a:lnTo>
                  <a:lnTo>
                    <a:pt x="942" y="473"/>
                  </a:lnTo>
                  <a:lnTo>
                    <a:pt x="946" y="469"/>
                  </a:lnTo>
                  <a:lnTo>
                    <a:pt x="947" y="466"/>
                  </a:lnTo>
                  <a:lnTo>
                    <a:pt x="949" y="456"/>
                  </a:lnTo>
                  <a:lnTo>
                    <a:pt x="946" y="445"/>
                  </a:lnTo>
                  <a:lnTo>
                    <a:pt x="942" y="436"/>
                  </a:lnTo>
                  <a:lnTo>
                    <a:pt x="934" y="426"/>
                  </a:lnTo>
                  <a:lnTo>
                    <a:pt x="927" y="421"/>
                  </a:lnTo>
                  <a:lnTo>
                    <a:pt x="918" y="419"/>
                  </a:lnTo>
                  <a:lnTo>
                    <a:pt x="914" y="419"/>
                  </a:lnTo>
                  <a:lnTo>
                    <a:pt x="910" y="421"/>
                  </a:lnTo>
                  <a:lnTo>
                    <a:pt x="910" y="421"/>
                  </a:lnTo>
                  <a:lnTo>
                    <a:pt x="903" y="423"/>
                  </a:lnTo>
                  <a:lnTo>
                    <a:pt x="897" y="423"/>
                  </a:lnTo>
                  <a:lnTo>
                    <a:pt x="882" y="421"/>
                  </a:lnTo>
                  <a:lnTo>
                    <a:pt x="882" y="421"/>
                  </a:lnTo>
                  <a:lnTo>
                    <a:pt x="878" y="428"/>
                  </a:lnTo>
                  <a:lnTo>
                    <a:pt x="871" y="434"/>
                  </a:lnTo>
                  <a:lnTo>
                    <a:pt x="871" y="434"/>
                  </a:lnTo>
                  <a:lnTo>
                    <a:pt x="860" y="438"/>
                  </a:lnTo>
                  <a:lnTo>
                    <a:pt x="852" y="438"/>
                  </a:lnTo>
                  <a:lnTo>
                    <a:pt x="847" y="434"/>
                  </a:lnTo>
                  <a:lnTo>
                    <a:pt x="841" y="428"/>
                  </a:lnTo>
                  <a:lnTo>
                    <a:pt x="839" y="423"/>
                  </a:lnTo>
                  <a:lnTo>
                    <a:pt x="837" y="415"/>
                  </a:lnTo>
                  <a:lnTo>
                    <a:pt x="837" y="408"/>
                  </a:lnTo>
                  <a:lnTo>
                    <a:pt x="837" y="40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1" name="Freeform 61">
              <a:extLst>
                <a:ext uri="{FF2B5EF4-FFF2-40B4-BE49-F238E27FC236}">
                  <a16:creationId xmlns:a16="http://schemas.microsoft.com/office/drawing/2014/main" id="{9FC22389-FD38-49B2-BB11-1F2084B3EF03}"/>
                </a:ext>
              </a:extLst>
            </p:cNvPr>
            <p:cNvSpPr>
              <a:spLocks/>
            </p:cNvSpPr>
            <p:nvPr/>
          </p:nvSpPr>
          <p:spPr bwMode="auto">
            <a:xfrm>
              <a:off x="4214117" y="3807132"/>
              <a:ext cx="112633" cy="89016"/>
            </a:xfrm>
            <a:custGeom>
              <a:avLst/>
              <a:gdLst/>
              <a:ahLst/>
              <a:cxnLst>
                <a:cxn ang="0">
                  <a:pos x="123" y="76"/>
                </a:cxn>
                <a:cxn ang="0">
                  <a:pos x="123" y="76"/>
                </a:cxn>
                <a:cxn ang="0">
                  <a:pos x="125" y="69"/>
                </a:cxn>
                <a:cxn ang="0">
                  <a:pos x="125" y="63"/>
                </a:cxn>
                <a:cxn ang="0">
                  <a:pos x="125" y="60"/>
                </a:cxn>
                <a:cxn ang="0">
                  <a:pos x="123" y="58"/>
                </a:cxn>
                <a:cxn ang="0">
                  <a:pos x="116" y="54"/>
                </a:cxn>
                <a:cxn ang="0">
                  <a:pos x="116" y="54"/>
                </a:cxn>
                <a:cxn ang="0">
                  <a:pos x="107" y="48"/>
                </a:cxn>
                <a:cxn ang="0">
                  <a:pos x="101" y="41"/>
                </a:cxn>
                <a:cxn ang="0">
                  <a:pos x="94" y="24"/>
                </a:cxn>
                <a:cxn ang="0">
                  <a:pos x="88" y="17"/>
                </a:cxn>
                <a:cxn ang="0">
                  <a:pos x="79" y="9"/>
                </a:cxn>
                <a:cxn ang="0">
                  <a:pos x="62" y="4"/>
                </a:cxn>
                <a:cxn ang="0">
                  <a:pos x="39" y="0"/>
                </a:cxn>
                <a:cxn ang="0">
                  <a:pos x="28" y="0"/>
                </a:cxn>
                <a:cxn ang="0">
                  <a:pos x="28" y="0"/>
                </a:cxn>
                <a:cxn ang="0">
                  <a:pos x="19" y="7"/>
                </a:cxn>
                <a:cxn ang="0">
                  <a:pos x="17" y="9"/>
                </a:cxn>
                <a:cxn ang="0">
                  <a:pos x="17" y="11"/>
                </a:cxn>
                <a:cxn ang="0">
                  <a:pos x="21" y="17"/>
                </a:cxn>
                <a:cxn ang="0">
                  <a:pos x="24" y="20"/>
                </a:cxn>
                <a:cxn ang="0">
                  <a:pos x="28" y="24"/>
                </a:cxn>
                <a:cxn ang="0">
                  <a:pos x="28" y="26"/>
                </a:cxn>
                <a:cxn ang="0">
                  <a:pos x="28" y="26"/>
                </a:cxn>
                <a:cxn ang="0">
                  <a:pos x="23" y="30"/>
                </a:cxn>
                <a:cxn ang="0">
                  <a:pos x="9" y="32"/>
                </a:cxn>
                <a:cxn ang="0">
                  <a:pos x="9" y="32"/>
                </a:cxn>
                <a:cxn ang="0">
                  <a:pos x="4" y="32"/>
                </a:cxn>
                <a:cxn ang="0">
                  <a:pos x="2" y="33"/>
                </a:cxn>
                <a:cxn ang="0">
                  <a:pos x="0" y="37"/>
                </a:cxn>
                <a:cxn ang="0">
                  <a:pos x="0" y="41"/>
                </a:cxn>
                <a:cxn ang="0">
                  <a:pos x="4" y="48"/>
                </a:cxn>
                <a:cxn ang="0">
                  <a:pos x="11" y="58"/>
                </a:cxn>
                <a:cxn ang="0">
                  <a:pos x="24" y="67"/>
                </a:cxn>
                <a:cxn ang="0">
                  <a:pos x="38" y="75"/>
                </a:cxn>
                <a:cxn ang="0">
                  <a:pos x="54" y="80"/>
                </a:cxn>
                <a:cxn ang="0">
                  <a:pos x="73" y="84"/>
                </a:cxn>
                <a:cxn ang="0">
                  <a:pos x="73" y="84"/>
                </a:cxn>
                <a:cxn ang="0">
                  <a:pos x="79" y="86"/>
                </a:cxn>
                <a:cxn ang="0">
                  <a:pos x="86" y="90"/>
                </a:cxn>
                <a:cxn ang="0">
                  <a:pos x="105" y="99"/>
                </a:cxn>
                <a:cxn ang="0">
                  <a:pos x="112" y="99"/>
                </a:cxn>
                <a:cxn ang="0">
                  <a:pos x="116" y="99"/>
                </a:cxn>
                <a:cxn ang="0">
                  <a:pos x="120" y="97"/>
                </a:cxn>
                <a:cxn ang="0">
                  <a:pos x="122" y="93"/>
                </a:cxn>
                <a:cxn ang="0">
                  <a:pos x="123" y="90"/>
                </a:cxn>
                <a:cxn ang="0">
                  <a:pos x="123" y="76"/>
                </a:cxn>
                <a:cxn ang="0">
                  <a:pos x="123" y="76"/>
                </a:cxn>
              </a:cxnLst>
              <a:rect l="0" t="0" r="r" b="b"/>
              <a:pathLst>
                <a:path w="125" h="99">
                  <a:moveTo>
                    <a:pt x="123" y="76"/>
                  </a:moveTo>
                  <a:lnTo>
                    <a:pt x="123" y="76"/>
                  </a:lnTo>
                  <a:lnTo>
                    <a:pt x="125" y="69"/>
                  </a:lnTo>
                  <a:lnTo>
                    <a:pt x="125" y="63"/>
                  </a:lnTo>
                  <a:lnTo>
                    <a:pt x="125" y="60"/>
                  </a:lnTo>
                  <a:lnTo>
                    <a:pt x="123" y="58"/>
                  </a:lnTo>
                  <a:lnTo>
                    <a:pt x="116" y="54"/>
                  </a:lnTo>
                  <a:lnTo>
                    <a:pt x="116" y="54"/>
                  </a:lnTo>
                  <a:lnTo>
                    <a:pt x="107" y="48"/>
                  </a:lnTo>
                  <a:lnTo>
                    <a:pt x="101" y="41"/>
                  </a:lnTo>
                  <a:lnTo>
                    <a:pt x="94" y="24"/>
                  </a:lnTo>
                  <a:lnTo>
                    <a:pt x="88" y="17"/>
                  </a:lnTo>
                  <a:lnTo>
                    <a:pt x="79" y="9"/>
                  </a:lnTo>
                  <a:lnTo>
                    <a:pt x="62" y="4"/>
                  </a:lnTo>
                  <a:lnTo>
                    <a:pt x="39" y="0"/>
                  </a:lnTo>
                  <a:lnTo>
                    <a:pt x="28" y="0"/>
                  </a:lnTo>
                  <a:lnTo>
                    <a:pt x="28" y="0"/>
                  </a:lnTo>
                  <a:lnTo>
                    <a:pt x="19" y="7"/>
                  </a:lnTo>
                  <a:lnTo>
                    <a:pt x="17" y="9"/>
                  </a:lnTo>
                  <a:lnTo>
                    <a:pt x="17" y="11"/>
                  </a:lnTo>
                  <a:lnTo>
                    <a:pt x="21" y="17"/>
                  </a:lnTo>
                  <a:lnTo>
                    <a:pt x="24" y="20"/>
                  </a:lnTo>
                  <a:lnTo>
                    <a:pt x="28" y="24"/>
                  </a:lnTo>
                  <a:lnTo>
                    <a:pt x="28" y="26"/>
                  </a:lnTo>
                  <a:lnTo>
                    <a:pt x="28" y="26"/>
                  </a:lnTo>
                  <a:lnTo>
                    <a:pt x="23" y="30"/>
                  </a:lnTo>
                  <a:lnTo>
                    <a:pt x="9" y="32"/>
                  </a:lnTo>
                  <a:lnTo>
                    <a:pt x="9" y="32"/>
                  </a:lnTo>
                  <a:lnTo>
                    <a:pt x="4" y="32"/>
                  </a:lnTo>
                  <a:lnTo>
                    <a:pt x="2" y="33"/>
                  </a:lnTo>
                  <a:lnTo>
                    <a:pt x="0" y="37"/>
                  </a:lnTo>
                  <a:lnTo>
                    <a:pt x="0" y="41"/>
                  </a:lnTo>
                  <a:lnTo>
                    <a:pt x="4" y="48"/>
                  </a:lnTo>
                  <a:lnTo>
                    <a:pt x="11" y="58"/>
                  </a:lnTo>
                  <a:lnTo>
                    <a:pt x="24" y="67"/>
                  </a:lnTo>
                  <a:lnTo>
                    <a:pt x="38" y="75"/>
                  </a:lnTo>
                  <a:lnTo>
                    <a:pt x="54" y="80"/>
                  </a:lnTo>
                  <a:lnTo>
                    <a:pt x="73" y="84"/>
                  </a:lnTo>
                  <a:lnTo>
                    <a:pt x="73" y="84"/>
                  </a:lnTo>
                  <a:lnTo>
                    <a:pt x="79" y="86"/>
                  </a:lnTo>
                  <a:lnTo>
                    <a:pt x="86" y="90"/>
                  </a:lnTo>
                  <a:lnTo>
                    <a:pt x="105" y="99"/>
                  </a:lnTo>
                  <a:lnTo>
                    <a:pt x="112" y="99"/>
                  </a:lnTo>
                  <a:lnTo>
                    <a:pt x="116" y="99"/>
                  </a:lnTo>
                  <a:lnTo>
                    <a:pt x="120" y="97"/>
                  </a:lnTo>
                  <a:lnTo>
                    <a:pt x="122" y="93"/>
                  </a:lnTo>
                  <a:lnTo>
                    <a:pt x="123" y="90"/>
                  </a:lnTo>
                  <a:lnTo>
                    <a:pt x="123" y="76"/>
                  </a:lnTo>
                  <a:lnTo>
                    <a:pt x="123" y="7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2" name="Freeform 62">
              <a:extLst>
                <a:ext uri="{FF2B5EF4-FFF2-40B4-BE49-F238E27FC236}">
                  <a16:creationId xmlns:a16="http://schemas.microsoft.com/office/drawing/2014/main" id="{BF10F175-CCBD-434F-818E-90D66A1B2679}"/>
                </a:ext>
              </a:extLst>
            </p:cNvPr>
            <p:cNvSpPr>
              <a:spLocks noEditPoints="1"/>
            </p:cNvSpPr>
            <p:nvPr/>
          </p:nvSpPr>
          <p:spPr bwMode="auto">
            <a:xfrm>
              <a:off x="3116853" y="3469233"/>
              <a:ext cx="1438796" cy="1011880"/>
            </a:xfrm>
            <a:custGeom>
              <a:avLst/>
              <a:gdLst/>
              <a:ahLst/>
              <a:cxnLst>
                <a:cxn ang="0">
                  <a:pos x="1052" y="914"/>
                </a:cxn>
                <a:cxn ang="0">
                  <a:pos x="1142" y="998"/>
                </a:cxn>
                <a:cxn ang="0">
                  <a:pos x="1198" y="983"/>
                </a:cxn>
                <a:cxn ang="0">
                  <a:pos x="1211" y="1024"/>
                </a:cxn>
                <a:cxn ang="0">
                  <a:pos x="1239" y="1045"/>
                </a:cxn>
                <a:cxn ang="0">
                  <a:pos x="1273" y="1031"/>
                </a:cxn>
                <a:cxn ang="0">
                  <a:pos x="1330" y="981"/>
                </a:cxn>
                <a:cxn ang="0">
                  <a:pos x="1398" y="962"/>
                </a:cxn>
                <a:cxn ang="0">
                  <a:pos x="1353" y="884"/>
                </a:cxn>
                <a:cxn ang="0">
                  <a:pos x="1345" y="792"/>
                </a:cxn>
                <a:cxn ang="0">
                  <a:pos x="1471" y="794"/>
                </a:cxn>
                <a:cxn ang="0">
                  <a:pos x="1456" y="714"/>
                </a:cxn>
                <a:cxn ang="0">
                  <a:pos x="1506" y="648"/>
                </a:cxn>
                <a:cxn ang="0">
                  <a:pos x="1558" y="596"/>
                </a:cxn>
                <a:cxn ang="0">
                  <a:pos x="1575" y="529"/>
                </a:cxn>
                <a:cxn ang="0">
                  <a:pos x="1547" y="469"/>
                </a:cxn>
                <a:cxn ang="0">
                  <a:pos x="1542" y="409"/>
                </a:cxn>
                <a:cxn ang="0">
                  <a:pos x="1486" y="321"/>
                </a:cxn>
                <a:cxn ang="0">
                  <a:pos x="1435" y="331"/>
                </a:cxn>
                <a:cxn ang="0">
                  <a:pos x="1329" y="237"/>
                </a:cxn>
                <a:cxn ang="0">
                  <a:pos x="1284" y="215"/>
                </a:cxn>
                <a:cxn ang="0">
                  <a:pos x="1155" y="103"/>
                </a:cxn>
                <a:cxn ang="0">
                  <a:pos x="1084" y="114"/>
                </a:cxn>
                <a:cxn ang="0">
                  <a:pos x="949" y="64"/>
                </a:cxn>
                <a:cxn ang="0">
                  <a:pos x="912" y="163"/>
                </a:cxn>
                <a:cxn ang="0">
                  <a:pos x="867" y="198"/>
                </a:cxn>
                <a:cxn ang="0">
                  <a:pos x="779" y="168"/>
                </a:cxn>
                <a:cxn ang="0">
                  <a:pos x="661" y="142"/>
                </a:cxn>
                <a:cxn ang="0">
                  <a:pos x="585" y="88"/>
                </a:cxn>
                <a:cxn ang="0">
                  <a:pos x="529" y="62"/>
                </a:cxn>
                <a:cxn ang="0">
                  <a:pos x="458" y="6"/>
                </a:cxn>
                <a:cxn ang="0">
                  <a:pos x="179" y="39"/>
                </a:cxn>
                <a:cxn ang="0">
                  <a:pos x="192" y="112"/>
                </a:cxn>
                <a:cxn ang="0">
                  <a:pos x="258" y="220"/>
                </a:cxn>
                <a:cxn ang="0">
                  <a:pos x="192" y="277"/>
                </a:cxn>
                <a:cxn ang="0">
                  <a:pos x="226" y="333"/>
                </a:cxn>
                <a:cxn ang="0">
                  <a:pos x="170" y="363"/>
                </a:cxn>
                <a:cxn ang="0">
                  <a:pos x="80" y="349"/>
                </a:cxn>
                <a:cxn ang="0">
                  <a:pos x="67" y="387"/>
                </a:cxn>
                <a:cxn ang="0">
                  <a:pos x="50" y="434"/>
                </a:cxn>
                <a:cxn ang="0">
                  <a:pos x="17" y="503"/>
                </a:cxn>
                <a:cxn ang="0">
                  <a:pos x="22" y="547"/>
                </a:cxn>
                <a:cxn ang="0">
                  <a:pos x="4" y="626"/>
                </a:cxn>
                <a:cxn ang="0">
                  <a:pos x="95" y="777"/>
                </a:cxn>
                <a:cxn ang="0">
                  <a:pos x="172" y="770"/>
                </a:cxn>
                <a:cxn ang="0">
                  <a:pos x="340" y="888"/>
                </a:cxn>
                <a:cxn ang="0">
                  <a:pos x="428" y="929"/>
                </a:cxn>
                <a:cxn ang="0">
                  <a:pos x="540" y="938"/>
                </a:cxn>
                <a:cxn ang="0">
                  <a:pos x="613" y="1002"/>
                </a:cxn>
                <a:cxn ang="0">
                  <a:pos x="639" y="1076"/>
                </a:cxn>
                <a:cxn ang="0">
                  <a:pos x="708" y="1112"/>
                </a:cxn>
                <a:cxn ang="0">
                  <a:pos x="719" y="1073"/>
                </a:cxn>
                <a:cxn ang="0">
                  <a:pos x="785" y="1080"/>
                </a:cxn>
                <a:cxn ang="0">
                  <a:pos x="860" y="1031"/>
                </a:cxn>
                <a:cxn ang="0">
                  <a:pos x="912" y="1002"/>
                </a:cxn>
                <a:cxn ang="0">
                  <a:pos x="897" y="927"/>
                </a:cxn>
                <a:cxn ang="0">
                  <a:pos x="912" y="861"/>
                </a:cxn>
                <a:cxn ang="0">
                  <a:pos x="940" y="803"/>
                </a:cxn>
                <a:cxn ang="0">
                  <a:pos x="1228" y="389"/>
                </a:cxn>
                <a:cxn ang="0">
                  <a:pos x="1314" y="420"/>
                </a:cxn>
                <a:cxn ang="0">
                  <a:pos x="1323" y="471"/>
                </a:cxn>
                <a:cxn ang="0">
                  <a:pos x="1207" y="413"/>
                </a:cxn>
              </a:cxnLst>
              <a:rect l="0" t="0" r="r" b="b"/>
              <a:pathLst>
                <a:path w="1585" h="1114">
                  <a:moveTo>
                    <a:pt x="981" y="813"/>
                  </a:moveTo>
                  <a:lnTo>
                    <a:pt x="981" y="813"/>
                  </a:lnTo>
                  <a:lnTo>
                    <a:pt x="996" y="815"/>
                  </a:lnTo>
                  <a:lnTo>
                    <a:pt x="1009" y="818"/>
                  </a:lnTo>
                  <a:lnTo>
                    <a:pt x="1020" y="824"/>
                  </a:lnTo>
                  <a:lnTo>
                    <a:pt x="1028" y="831"/>
                  </a:lnTo>
                  <a:lnTo>
                    <a:pt x="1033" y="841"/>
                  </a:lnTo>
                  <a:lnTo>
                    <a:pt x="1039" y="850"/>
                  </a:lnTo>
                  <a:lnTo>
                    <a:pt x="1043" y="860"/>
                  </a:lnTo>
                  <a:lnTo>
                    <a:pt x="1045" y="871"/>
                  </a:lnTo>
                  <a:lnTo>
                    <a:pt x="1048" y="893"/>
                  </a:lnTo>
                  <a:lnTo>
                    <a:pt x="1052" y="914"/>
                  </a:lnTo>
                  <a:lnTo>
                    <a:pt x="1056" y="923"/>
                  </a:lnTo>
                  <a:lnTo>
                    <a:pt x="1059" y="931"/>
                  </a:lnTo>
                  <a:lnTo>
                    <a:pt x="1065" y="938"/>
                  </a:lnTo>
                  <a:lnTo>
                    <a:pt x="1073" y="942"/>
                  </a:lnTo>
                  <a:lnTo>
                    <a:pt x="1073" y="942"/>
                  </a:lnTo>
                  <a:lnTo>
                    <a:pt x="1084" y="949"/>
                  </a:lnTo>
                  <a:lnTo>
                    <a:pt x="1093" y="959"/>
                  </a:lnTo>
                  <a:lnTo>
                    <a:pt x="1110" y="977"/>
                  </a:lnTo>
                  <a:lnTo>
                    <a:pt x="1110" y="977"/>
                  </a:lnTo>
                  <a:lnTo>
                    <a:pt x="1123" y="987"/>
                  </a:lnTo>
                  <a:lnTo>
                    <a:pt x="1132" y="994"/>
                  </a:lnTo>
                  <a:lnTo>
                    <a:pt x="1142" y="998"/>
                  </a:lnTo>
                  <a:lnTo>
                    <a:pt x="1147" y="1000"/>
                  </a:lnTo>
                  <a:lnTo>
                    <a:pt x="1153" y="1000"/>
                  </a:lnTo>
                  <a:lnTo>
                    <a:pt x="1159" y="998"/>
                  </a:lnTo>
                  <a:lnTo>
                    <a:pt x="1162" y="994"/>
                  </a:lnTo>
                  <a:lnTo>
                    <a:pt x="1164" y="990"/>
                  </a:lnTo>
                  <a:lnTo>
                    <a:pt x="1172" y="972"/>
                  </a:lnTo>
                  <a:lnTo>
                    <a:pt x="1173" y="970"/>
                  </a:lnTo>
                  <a:lnTo>
                    <a:pt x="1177" y="968"/>
                  </a:lnTo>
                  <a:lnTo>
                    <a:pt x="1181" y="970"/>
                  </a:lnTo>
                  <a:lnTo>
                    <a:pt x="1185" y="972"/>
                  </a:lnTo>
                  <a:lnTo>
                    <a:pt x="1185" y="972"/>
                  </a:lnTo>
                  <a:lnTo>
                    <a:pt x="1198" y="983"/>
                  </a:lnTo>
                  <a:lnTo>
                    <a:pt x="1205" y="990"/>
                  </a:lnTo>
                  <a:lnTo>
                    <a:pt x="1207" y="996"/>
                  </a:lnTo>
                  <a:lnTo>
                    <a:pt x="1207" y="1000"/>
                  </a:lnTo>
                  <a:lnTo>
                    <a:pt x="1202" y="1005"/>
                  </a:lnTo>
                  <a:lnTo>
                    <a:pt x="1200" y="1011"/>
                  </a:lnTo>
                  <a:lnTo>
                    <a:pt x="1198" y="1016"/>
                  </a:lnTo>
                  <a:lnTo>
                    <a:pt x="1198" y="1016"/>
                  </a:lnTo>
                  <a:lnTo>
                    <a:pt x="1198" y="1026"/>
                  </a:lnTo>
                  <a:lnTo>
                    <a:pt x="1198" y="1030"/>
                  </a:lnTo>
                  <a:lnTo>
                    <a:pt x="1200" y="1030"/>
                  </a:lnTo>
                  <a:lnTo>
                    <a:pt x="1205" y="1030"/>
                  </a:lnTo>
                  <a:lnTo>
                    <a:pt x="1211" y="1024"/>
                  </a:lnTo>
                  <a:lnTo>
                    <a:pt x="1224" y="1015"/>
                  </a:lnTo>
                  <a:lnTo>
                    <a:pt x="1230" y="1011"/>
                  </a:lnTo>
                  <a:lnTo>
                    <a:pt x="1233" y="1011"/>
                  </a:lnTo>
                  <a:lnTo>
                    <a:pt x="1233" y="1011"/>
                  </a:lnTo>
                  <a:lnTo>
                    <a:pt x="1245" y="1016"/>
                  </a:lnTo>
                  <a:lnTo>
                    <a:pt x="1250" y="1022"/>
                  </a:lnTo>
                  <a:lnTo>
                    <a:pt x="1252" y="1028"/>
                  </a:lnTo>
                  <a:lnTo>
                    <a:pt x="1250" y="1031"/>
                  </a:lnTo>
                  <a:lnTo>
                    <a:pt x="1248" y="1035"/>
                  </a:lnTo>
                  <a:lnTo>
                    <a:pt x="1245" y="1039"/>
                  </a:lnTo>
                  <a:lnTo>
                    <a:pt x="1239" y="1045"/>
                  </a:lnTo>
                  <a:lnTo>
                    <a:pt x="1239" y="1045"/>
                  </a:lnTo>
                  <a:lnTo>
                    <a:pt x="1237" y="1048"/>
                  </a:lnTo>
                  <a:lnTo>
                    <a:pt x="1239" y="1050"/>
                  </a:lnTo>
                  <a:lnTo>
                    <a:pt x="1241" y="1050"/>
                  </a:lnTo>
                  <a:lnTo>
                    <a:pt x="1245" y="1052"/>
                  </a:lnTo>
                  <a:lnTo>
                    <a:pt x="1254" y="1050"/>
                  </a:lnTo>
                  <a:lnTo>
                    <a:pt x="1261" y="1046"/>
                  </a:lnTo>
                  <a:lnTo>
                    <a:pt x="1261" y="1046"/>
                  </a:lnTo>
                  <a:lnTo>
                    <a:pt x="1267" y="1041"/>
                  </a:lnTo>
                  <a:lnTo>
                    <a:pt x="1271" y="1037"/>
                  </a:lnTo>
                  <a:lnTo>
                    <a:pt x="1271" y="1033"/>
                  </a:lnTo>
                  <a:lnTo>
                    <a:pt x="1273" y="1031"/>
                  </a:lnTo>
                  <a:lnTo>
                    <a:pt x="1273" y="1031"/>
                  </a:lnTo>
                  <a:lnTo>
                    <a:pt x="1282" y="1033"/>
                  </a:lnTo>
                  <a:lnTo>
                    <a:pt x="1282" y="1033"/>
                  </a:lnTo>
                  <a:lnTo>
                    <a:pt x="1301" y="1033"/>
                  </a:lnTo>
                  <a:lnTo>
                    <a:pt x="1310" y="1031"/>
                  </a:lnTo>
                  <a:lnTo>
                    <a:pt x="1319" y="1030"/>
                  </a:lnTo>
                  <a:lnTo>
                    <a:pt x="1329" y="1024"/>
                  </a:lnTo>
                  <a:lnTo>
                    <a:pt x="1334" y="1018"/>
                  </a:lnTo>
                  <a:lnTo>
                    <a:pt x="1336" y="1011"/>
                  </a:lnTo>
                  <a:lnTo>
                    <a:pt x="1334" y="1003"/>
                  </a:lnTo>
                  <a:lnTo>
                    <a:pt x="1334" y="1003"/>
                  </a:lnTo>
                  <a:lnTo>
                    <a:pt x="1330" y="992"/>
                  </a:lnTo>
                  <a:lnTo>
                    <a:pt x="1330" y="981"/>
                  </a:lnTo>
                  <a:lnTo>
                    <a:pt x="1332" y="972"/>
                  </a:lnTo>
                  <a:lnTo>
                    <a:pt x="1338" y="964"/>
                  </a:lnTo>
                  <a:lnTo>
                    <a:pt x="1345" y="959"/>
                  </a:lnTo>
                  <a:lnTo>
                    <a:pt x="1353" y="955"/>
                  </a:lnTo>
                  <a:lnTo>
                    <a:pt x="1364" y="957"/>
                  </a:lnTo>
                  <a:lnTo>
                    <a:pt x="1373" y="960"/>
                  </a:lnTo>
                  <a:lnTo>
                    <a:pt x="1373" y="960"/>
                  </a:lnTo>
                  <a:lnTo>
                    <a:pt x="1387" y="966"/>
                  </a:lnTo>
                  <a:lnTo>
                    <a:pt x="1390" y="968"/>
                  </a:lnTo>
                  <a:lnTo>
                    <a:pt x="1394" y="968"/>
                  </a:lnTo>
                  <a:lnTo>
                    <a:pt x="1396" y="966"/>
                  </a:lnTo>
                  <a:lnTo>
                    <a:pt x="1398" y="962"/>
                  </a:lnTo>
                  <a:lnTo>
                    <a:pt x="1400" y="955"/>
                  </a:lnTo>
                  <a:lnTo>
                    <a:pt x="1400" y="932"/>
                  </a:lnTo>
                  <a:lnTo>
                    <a:pt x="1400" y="923"/>
                  </a:lnTo>
                  <a:lnTo>
                    <a:pt x="1401" y="914"/>
                  </a:lnTo>
                  <a:lnTo>
                    <a:pt x="1401" y="914"/>
                  </a:lnTo>
                  <a:lnTo>
                    <a:pt x="1392" y="899"/>
                  </a:lnTo>
                  <a:lnTo>
                    <a:pt x="1388" y="895"/>
                  </a:lnTo>
                  <a:lnTo>
                    <a:pt x="1385" y="893"/>
                  </a:lnTo>
                  <a:lnTo>
                    <a:pt x="1373" y="891"/>
                  </a:lnTo>
                  <a:lnTo>
                    <a:pt x="1357" y="888"/>
                  </a:lnTo>
                  <a:lnTo>
                    <a:pt x="1357" y="888"/>
                  </a:lnTo>
                  <a:lnTo>
                    <a:pt x="1353" y="884"/>
                  </a:lnTo>
                  <a:lnTo>
                    <a:pt x="1345" y="876"/>
                  </a:lnTo>
                  <a:lnTo>
                    <a:pt x="1325" y="848"/>
                  </a:lnTo>
                  <a:lnTo>
                    <a:pt x="1308" y="822"/>
                  </a:lnTo>
                  <a:lnTo>
                    <a:pt x="1302" y="811"/>
                  </a:lnTo>
                  <a:lnTo>
                    <a:pt x="1301" y="807"/>
                  </a:lnTo>
                  <a:lnTo>
                    <a:pt x="1301" y="807"/>
                  </a:lnTo>
                  <a:lnTo>
                    <a:pt x="1306" y="796"/>
                  </a:lnTo>
                  <a:lnTo>
                    <a:pt x="1312" y="790"/>
                  </a:lnTo>
                  <a:lnTo>
                    <a:pt x="1319" y="787"/>
                  </a:lnTo>
                  <a:lnTo>
                    <a:pt x="1327" y="787"/>
                  </a:lnTo>
                  <a:lnTo>
                    <a:pt x="1336" y="789"/>
                  </a:lnTo>
                  <a:lnTo>
                    <a:pt x="1345" y="792"/>
                  </a:lnTo>
                  <a:lnTo>
                    <a:pt x="1366" y="805"/>
                  </a:lnTo>
                  <a:lnTo>
                    <a:pt x="1388" y="818"/>
                  </a:lnTo>
                  <a:lnTo>
                    <a:pt x="1407" y="828"/>
                  </a:lnTo>
                  <a:lnTo>
                    <a:pt x="1416" y="830"/>
                  </a:lnTo>
                  <a:lnTo>
                    <a:pt x="1426" y="831"/>
                  </a:lnTo>
                  <a:lnTo>
                    <a:pt x="1433" y="830"/>
                  </a:lnTo>
                  <a:lnTo>
                    <a:pt x="1441" y="824"/>
                  </a:lnTo>
                  <a:lnTo>
                    <a:pt x="1441" y="824"/>
                  </a:lnTo>
                  <a:lnTo>
                    <a:pt x="1454" y="809"/>
                  </a:lnTo>
                  <a:lnTo>
                    <a:pt x="1463" y="802"/>
                  </a:lnTo>
                  <a:lnTo>
                    <a:pt x="1469" y="796"/>
                  </a:lnTo>
                  <a:lnTo>
                    <a:pt x="1471" y="794"/>
                  </a:lnTo>
                  <a:lnTo>
                    <a:pt x="1469" y="790"/>
                  </a:lnTo>
                  <a:lnTo>
                    <a:pt x="1463" y="785"/>
                  </a:lnTo>
                  <a:lnTo>
                    <a:pt x="1452" y="775"/>
                  </a:lnTo>
                  <a:lnTo>
                    <a:pt x="1439" y="760"/>
                  </a:lnTo>
                  <a:lnTo>
                    <a:pt x="1439" y="760"/>
                  </a:lnTo>
                  <a:lnTo>
                    <a:pt x="1433" y="753"/>
                  </a:lnTo>
                  <a:lnTo>
                    <a:pt x="1431" y="746"/>
                  </a:lnTo>
                  <a:lnTo>
                    <a:pt x="1431" y="740"/>
                  </a:lnTo>
                  <a:lnTo>
                    <a:pt x="1433" y="732"/>
                  </a:lnTo>
                  <a:lnTo>
                    <a:pt x="1437" y="729"/>
                  </a:lnTo>
                  <a:lnTo>
                    <a:pt x="1443" y="723"/>
                  </a:lnTo>
                  <a:lnTo>
                    <a:pt x="1456" y="714"/>
                  </a:lnTo>
                  <a:lnTo>
                    <a:pt x="1486" y="699"/>
                  </a:lnTo>
                  <a:lnTo>
                    <a:pt x="1491" y="693"/>
                  </a:lnTo>
                  <a:lnTo>
                    <a:pt x="1495" y="689"/>
                  </a:lnTo>
                  <a:lnTo>
                    <a:pt x="1497" y="686"/>
                  </a:lnTo>
                  <a:lnTo>
                    <a:pt x="1497" y="682"/>
                  </a:lnTo>
                  <a:lnTo>
                    <a:pt x="1497" y="682"/>
                  </a:lnTo>
                  <a:lnTo>
                    <a:pt x="1495" y="673"/>
                  </a:lnTo>
                  <a:lnTo>
                    <a:pt x="1495" y="665"/>
                  </a:lnTo>
                  <a:lnTo>
                    <a:pt x="1495" y="660"/>
                  </a:lnTo>
                  <a:lnTo>
                    <a:pt x="1499" y="656"/>
                  </a:lnTo>
                  <a:lnTo>
                    <a:pt x="1501" y="652"/>
                  </a:lnTo>
                  <a:lnTo>
                    <a:pt x="1506" y="648"/>
                  </a:lnTo>
                  <a:lnTo>
                    <a:pt x="1515" y="645"/>
                  </a:lnTo>
                  <a:lnTo>
                    <a:pt x="1527" y="641"/>
                  </a:lnTo>
                  <a:lnTo>
                    <a:pt x="1536" y="637"/>
                  </a:lnTo>
                  <a:lnTo>
                    <a:pt x="1540" y="633"/>
                  </a:lnTo>
                  <a:lnTo>
                    <a:pt x="1544" y="630"/>
                  </a:lnTo>
                  <a:lnTo>
                    <a:pt x="1545" y="626"/>
                  </a:lnTo>
                  <a:lnTo>
                    <a:pt x="1547" y="620"/>
                  </a:lnTo>
                  <a:lnTo>
                    <a:pt x="1547" y="620"/>
                  </a:lnTo>
                  <a:lnTo>
                    <a:pt x="1547" y="609"/>
                  </a:lnTo>
                  <a:lnTo>
                    <a:pt x="1551" y="604"/>
                  </a:lnTo>
                  <a:lnTo>
                    <a:pt x="1555" y="600"/>
                  </a:lnTo>
                  <a:lnTo>
                    <a:pt x="1558" y="596"/>
                  </a:lnTo>
                  <a:lnTo>
                    <a:pt x="1564" y="594"/>
                  </a:lnTo>
                  <a:lnTo>
                    <a:pt x="1568" y="590"/>
                  </a:lnTo>
                  <a:lnTo>
                    <a:pt x="1570" y="587"/>
                  </a:lnTo>
                  <a:lnTo>
                    <a:pt x="1570" y="579"/>
                  </a:lnTo>
                  <a:lnTo>
                    <a:pt x="1570" y="579"/>
                  </a:lnTo>
                  <a:lnTo>
                    <a:pt x="1572" y="572"/>
                  </a:lnTo>
                  <a:lnTo>
                    <a:pt x="1573" y="564"/>
                  </a:lnTo>
                  <a:lnTo>
                    <a:pt x="1581" y="551"/>
                  </a:lnTo>
                  <a:lnTo>
                    <a:pt x="1583" y="546"/>
                  </a:lnTo>
                  <a:lnTo>
                    <a:pt x="1585" y="540"/>
                  </a:lnTo>
                  <a:lnTo>
                    <a:pt x="1581" y="534"/>
                  </a:lnTo>
                  <a:lnTo>
                    <a:pt x="1575" y="529"/>
                  </a:lnTo>
                  <a:lnTo>
                    <a:pt x="1575" y="529"/>
                  </a:lnTo>
                  <a:lnTo>
                    <a:pt x="1570" y="523"/>
                  </a:lnTo>
                  <a:lnTo>
                    <a:pt x="1566" y="519"/>
                  </a:lnTo>
                  <a:lnTo>
                    <a:pt x="1562" y="508"/>
                  </a:lnTo>
                  <a:lnTo>
                    <a:pt x="1560" y="499"/>
                  </a:lnTo>
                  <a:lnTo>
                    <a:pt x="1557" y="493"/>
                  </a:lnTo>
                  <a:lnTo>
                    <a:pt x="1553" y="488"/>
                  </a:lnTo>
                  <a:lnTo>
                    <a:pt x="1553" y="488"/>
                  </a:lnTo>
                  <a:lnTo>
                    <a:pt x="1547" y="480"/>
                  </a:lnTo>
                  <a:lnTo>
                    <a:pt x="1545" y="476"/>
                  </a:lnTo>
                  <a:lnTo>
                    <a:pt x="1545" y="471"/>
                  </a:lnTo>
                  <a:lnTo>
                    <a:pt x="1547" y="469"/>
                  </a:lnTo>
                  <a:lnTo>
                    <a:pt x="1551" y="463"/>
                  </a:lnTo>
                  <a:lnTo>
                    <a:pt x="1553" y="462"/>
                  </a:lnTo>
                  <a:lnTo>
                    <a:pt x="1549" y="458"/>
                  </a:lnTo>
                  <a:lnTo>
                    <a:pt x="1549" y="458"/>
                  </a:lnTo>
                  <a:lnTo>
                    <a:pt x="1544" y="450"/>
                  </a:lnTo>
                  <a:lnTo>
                    <a:pt x="1538" y="443"/>
                  </a:lnTo>
                  <a:lnTo>
                    <a:pt x="1536" y="437"/>
                  </a:lnTo>
                  <a:lnTo>
                    <a:pt x="1536" y="432"/>
                  </a:lnTo>
                  <a:lnTo>
                    <a:pt x="1538" y="424"/>
                  </a:lnTo>
                  <a:lnTo>
                    <a:pt x="1540" y="417"/>
                  </a:lnTo>
                  <a:lnTo>
                    <a:pt x="1542" y="413"/>
                  </a:lnTo>
                  <a:lnTo>
                    <a:pt x="1542" y="409"/>
                  </a:lnTo>
                  <a:lnTo>
                    <a:pt x="1540" y="404"/>
                  </a:lnTo>
                  <a:lnTo>
                    <a:pt x="1536" y="398"/>
                  </a:lnTo>
                  <a:lnTo>
                    <a:pt x="1530" y="391"/>
                  </a:lnTo>
                  <a:lnTo>
                    <a:pt x="1521" y="383"/>
                  </a:lnTo>
                  <a:lnTo>
                    <a:pt x="1493" y="364"/>
                  </a:lnTo>
                  <a:lnTo>
                    <a:pt x="1493" y="364"/>
                  </a:lnTo>
                  <a:lnTo>
                    <a:pt x="1491" y="361"/>
                  </a:lnTo>
                  <a:lnTo>
                    <a:pt x="1489" y="355"/>
                  </a:lnTo>
                  <a:lnTo>
                    <a:pt x="1489" y="340"/>
                  </a:lnTo>
                  <a:lnTo>
                    <a:pt x="1489" y="333"/>
                  </a:lnTo>
                  <a:lnTo>
                    <a:pt x="1487" y="327"/>
                  </a:lnTo>
                  <a:lnTo>
                    <a:pt x="1486" y="321"/>
                  </a:lnTo>
                  <a:lnTo>
                    <a:pt x="1480" y="321"/>
                  </a:lnTo>
                  <a:lnTo>
                    <a:pt x="1480" y="321"/>
                  </a:lnTo>
                  <a:lnTo>
                    <a:pt x="1476" y="321"/>
                  </a:lnTo>
                  <a:lnTo>
                    <a:pt x="1473" y="323"/>
                  </a:lnTo>
                  <a:lnTo>
                    <a:pt x="1467" y="329"/>
                  </a:lnTo>
                  <a:lnTo>
                    <a:pt x="1463" y="334"/>
                  </a:lnTo>
                  <a:lnTo>
                    <a:pt x="1459" y="338"/>
                  </a:lnTo>
                  <a:lnTo>
                    <a:pt x="1458" y="340"/>
                  </a:lnTo>
                  <a:lnTo>
                    <a:pt x="1456" y="342"/>
                  </a:lnTo>
                  <a:lnTo>
                    <a:pt x="1452" y="340"/>
                  </a:lnTo>
                  <a:lnTo>
                    <a:pt x="1446" y="340"/>
                  </a:lnTo>
                  <a:lnTo>
                    <a:pt x="1435" y="331"/>
                  </a:lnTo>
                  <a:lnTo>
                    <a:pt x="1416" y="316"/>
                  </a:lnTo>
                  <a:lnTo>
                    <a:pt x="1416" y="316"/>
                  </a:lnTo>
                  <a:lnTo>
                    <a:pt x="1394" y="293"/>
                  </a:lnTo>
                  <a:lnTo>
                    <a:pt x="1383" y="286"/>
                  </a:lnTo>
                  <a:lnTo>
                    <a:pt x="1375" y="280"/>
                  </a:lnTo>
                  <a:lnTo>
                    <a:pt x="1360" y="271"/>
                  </a:lnTo>
                  <a:lnTo>
                    <a:pt x="1360" y="271"/>
                  </a:lnTo>
                  <a:lnTo>
                    <a:pt x="1349" y="262"/>
                  </a:lnTo>
                  <a:lnTo>
                    <a:pt x="1340" y="254"/>
                  </a:lnTo>
                  <a:lnTo>
                    <a:pt x="1336" y="249"/>
                  </a:lnTo>
                  <a:lnTo>
                    <a:pt x="1332" y="243"/>
                  </a:lnTo>
                  <a:lnTo>
                    <a:pt x="1329" y="237"/>
                  </a:lnTo>
                  <a:lnTo>
                    <a:pt x="1327" y="235"/>
                  </a:lnTo>
                  <a:lnTo>
                    <a:pt x="1321" y="234"/>
                  </a:lnTo>
                  <a:lnTo>
                    <a:pt x="1321" y="234"/>
                  </a:lnTo>
                  <a:lnTo>
                    <a:pt x="1316" y="228"/>
                  </a:lnTo>
                  <a:lnTo>
                    <a:pt x="1308" y="220"/>
                  </a:lnTo>
                  <a:lnTo>
                    <a:pt x="1297" y="204"/>
                  </a:lnTo>
                  <a:lnTo>
                    <a:pt x="1291" y="198"/>
                  </a:lnTo>
                  <a:lnTo>
                    <a:pt x="1289" y="198"/>
                  </a:lnTo>
                  <a:lnTo>
                    <a:pt x="1287" y="198"/>
                  </a:lnTo>
                  <a:lnTo>
                    <a:pt x="1286" y="198"/>
                  </a:lnTo>
                  <a:lnTo>
                    <a:pt x="1286" y="202"/>
                  </a:lnTo>
                  <a:lnTo>
                    <a:pt x="1284" y="215"/>
                  </a:lnTo>
                  <a:lnTo>
                    <a:pt x="1284" y="215"/>
                  </a:lnTo>
                  <a:lnTo>
                    <a:pt x="1284" y="220"/>
                  </a:lnTo>
                  <a:lnTo>
                    <a:pt x="1280" y="222"/>
                  </a:lnTo>
                  <a:lnTo>
                    <a:pt x="1274" y="222"/>
                  </a:lnTo>
                  <a:lnTo>
                    <a:pt x="1267" y="219"/>
                  </a:lnTo>
                  <a:lnTo>
                    <a:pt x="1248" y="204"/>
                  </a:lnTo>
                  <a:lnTo>
                    <a:pt x="1228" y="183"/>
                  </a:lnTo>
                  <a:lnTo>
                    <a:pt x="1205" y="161"/>
                  </a:lnTo>
                  <a:lnTo>
                    <a:pt x="1185" y="138"/>
                  </a:lnTo>
                  <a:lnTo>
                    <a:pt x="1162" y="110"/>
                  </a:lnTo>
                  <a:lnTo>
                    <a:pt x="1162" y="110"/>
                  </a:lnTo>
                  <a:lnTo>
                    <a:pt x="1155" y="103"/>
                  </a:lnTo>
                  <a:lnTo>
                    <a:pt x="1149" y="99"/>
                  </a:lnTo>
                  <a:lnTo>
                    <a:pt x="1142" y="99"/>
                  </a:lnTo>
                  <a:lnTo>
                    <a:pt x="1136" y="103"/>
                  </a:lnTo>
                  <a:lnTo>
                    <a:pt x="1131" y="107"/>
                  </a:lnTo>
                  <a:lnTo>
                    <a:pt x="1123" y="108"/>
                  </a:lnTo>
                  <a:lnTo>
                    <a:pt x="1114" y="108"/>
                  </a:lnTo>
                  <a:lnTo>
                    <a:pt x="1104" y="105"/>
                  </a:lnTo>
                  <a:lnTo>
                    <a:pt x="1104" y="105"/>
                  </a:lnTo>
                  <a:lnTo>
                    <a:pt x="1097" y="103"/>
                  </a:lnTo>
                  <a:lnTo>
                    <a:pt x="1091" y="105"/>
                  </a:lnTo>
                  <a:lnTo>
                    <a:pt x="1088" y="108"/>
                  </a:lnTo>
                  <a:lnTo>
                    <a:pt x="1084" y="114"/>
                  </a:lnTo>
                  <a:lnTo>
                    <a:pt x="1076" y="123"/>
                  </a:lnTo>
                  <a:lnTo>
                    <a:pt x="1071" y="127"/>
                  </a:lnTo>
                  <a:lnTo>
                    <a:pt x="1065" y="127"/>
                  </a:lnTo>
                  <a:lnTo>
                    <a:pt x="1015" y="88"/>
                  </a:lnTo>
                  <a:lnTo>
                    <a:pt x="1015" y="88"/>
                  </a:lnTo>
                  <a:lnTo>
                    <a:pt x="998" y="73"/>
                  </a:lnTo>
                  <a:lnTo>
                    <a:pt x="983" y="62"/>
                  </a:lnTo>
                  <a:lnTo>
                    <a:pt x="972" y="56"/>
                  </a:lnTo>
                  <a:lnTo>
                    <a:pt x="964" y="54"/>
                  </a:lnTo>
                  <a:lnTo>
                    <a:pt x="957" y="54"/>
                  </a:lnTo>
                  <a:lnTo>
                    <a:pt x="953" y="58"/>
                  </a:lnTo>
                  <a:lnTo>
                    <a:pt x="949" y="64"/>
                  </a:lnTo>
                  <a:lnTo>
                    <a:pt x="947" y="71"/>
                  </a:lnTo>
                  <a:lnTo>
                    <a:pt x="945" y="90"/>
                  </a:lnTo>
                  <a:lnTo>
                    <a:pt x="942" y="110"/>
                  </a:lnTo>
                  <a:lnTo>
                    <a:pt x="940" y="120"/>
                  </a:lnTo>
                  <a:lnTo>
                    <a:pt x="934" y="129"/>
                  </a:lnTo>
                  <a:lnTo>
                    <a:pt x="929" y="136"/>
                  </a:lnTo>
                  <a:lnTo>
                    <a:pt x="921" y="142"/>
                  </a:lnTo>
                  <a:lnTo>
                    <a:pt x="921" y="142"/>
                  </a:lnTo>
                  <a:lnTo>
                    <a:pt x="917" y="144"/>
                  </a:lnTo>
                  <a:lnTo>
                    <a:pt x="916" y="148"/>
                  </a:lnTo>
                  <a:lnTo>
                    <a:pt x="912" y="155"/>
                  </a:lnTo>
                  <a:lnTo>
                    <a:pt x="912" y="163"/>
                  </a:lnTo>
                  <a:lnTo>
                    <a:pt x="912" y="172"/>
                  </a:lnTo>
                  <a:lnTo>
                    <a:pt x="912" y="179"/>
                  </a:lnTo>
                  <a:lnTo>
                    <a:pt x="910" y="185"/>
                  </a:lnTo>
                  <a:lnTo>
                    <a:pt x="908" y="187"/>
                  </a:lnTo>
                  <a:lnTo>
                    <a:pt x="906" y="189"/>
                  </a:lnTo>
                  <a:lnTo>
                    <a:pt x="899" y="187"/>
                  </a:lnTo>
                  <a:lnTo>
                    <a:pt x="899" y="187"/>
                  </a:lnTo>
                  <a:lnTo>
                    <a:pt x="891" y="187"/>
                  </a:lnTo>
                  <a:lnTo>
                    <a:pt x="886" y="189"/>
                  </a:lnTo>
                  <a:lnTo>
                    <a:pt x="878" y="196"/>
                  </a:lnTo>
                  <a:lnTo>
                    <a:pt x="873" y="198"/>
                  </a:lnTo>
                  <a:lnTo>
                    <a:pt x="867" y="198"/>
                  </a:lnTo>
                  <a:lnTo>
                    <a:pt x="861" y="194"/>
                  </a:lnTo>
                  <a:lnTo>
                    <a:pt x="852" y="187"/>
                  </a:lnTo>
                  <a:lnTo>
                    <a:pt x="852" y="187"/>
                  </a:lnTo>
                  <a:lnTo>
                    <a:pt x="845" y="179"/>
                  </a:lnTo>
                  <a:lnTo>
                    <a:pt x="839" y="176"/>
                  </a:lnTo>
                  <a:lnTo>
                    <a:pt x="835" y="174"/>
                  </a:lnTo>
                  <a:lnTo>
                    <a:pt x="830" y="174"/>
                  </a:lnTo>
                  <a:lnTo>
                    <a:pt x="818" y="176"/>
                  </a:lnTo>
                  <a:lnTo>
                    <a:pt x="813" y="176"/>
                  </a:lnTo>
                  <a:lnTo>
                    <a:pt x="805" y="176"/>
                  </a:lnTo>
                  <a:lnTo>
                    <a:pt x="805" y="176"/>
                  </a:lnTo>
                  <a:lnTo>
                    <a:pt x="779" y="168"/>
                  </a:lnTo>
                  <a:lnTo>
                    <a:pt x="764" y="163"/>
                  </a:lnTo>
                  <a:lnTo>
                    <a:pt x="755" y="157"/>
                  </a:lnTo>
                  <a:lnTo>
                    <a:pt x="749" y="151"/>
                  </a:lnTo>
                  <a:lnTo>
                    <a:pt x="742" y="148"/>
                  </a:lnTo>
                  <a:lnTo>
                    <a:pt x="732" y="146"/>
                  </a:lnTo>
                  <a:lnTo>
                    <a:pt x="712" y="146"/>
                  </a:lnTo>
                  <a:lnTo>
                    <a:pt x="682" y="149"/>
                  </a:lnTo>
                  <a:lnTo>
                    <a:pt x="682" y="149"/>
                  </a:lnTo>
                  <a:lnTo>
                    <a:pt x="675" y="149"/>
                  </a:lnTo>
                  <a:lnTo>
                    <a:pt x="669" y="149"/>
                  </a:lnTo>
                  <a:lnTo>
                    <a:pt x="665" y="146"/>
                  </a:lnTo>
                  <a:lnTo>
                    <a:pt x="661" y="142"/>
                  </a:lnTo>
                  <a:lnTo>
                    <a:pt x="656" y="131"/>
                  </a:lnTo>
                  <a:lnTo>
                    <a:pt x="652" y="120"/>
                  </a:lnTo>
                  <a:lnTo>
                    <a:pt x="648" y="107"/>
                  </a:lnTo>
                  <a:lnTo>
                    <a:pt x="645" y="97"/>
                  </a:lnTo>
                  <a:lnTo>
                    <a:pt x="641" y="93"/>
                  </a:lnTo>
                  <a:lnTo>
                    <a:pt x="637" y="90"/>
                  </a:lnTo>
                  <a:lnTo>
                    <a:pt x="633" y="90"/>
                  </a:lnTo>
                  <a:lnTo>
                    <a:pt x="628" y="90"/>
                  </a:lnTo>
                  <a:lnTo>
                    <a:pt x="628" y="90"/>
                  </a:lnTo>
                  <a:lnTo>
                    <a:pt x="609" y="92"/>
                  </a:lnTo>
                  <a:lnTo>
                    <a:pt x="590" y="90"/>
                  </a:lnTo>
                  <a:lnTo>
                    <a:pt x="585" y="88"/>
                  </a:lnTo>
                  <a:lnTo>
                    <a:pt x="583" y="86"/>
                  </a:lnTo>
                  <a:lnTo>
                    <a:pt x="585" y="82"/>
                  </a:lnTo>
                  <a:lnTo>
                    <a:pt x="592" y="78"/>
                  </a:lnTo>
                  <a:lnTo>
                    <a:pt x="592" y="78"/>
                  </a:lnTo>
                  <a:lnTo>
                    <a:pt x="600" y="73"/>
                  </a:lnTo>
                  <a:lnTo>
                    <a:pt x="600" y="71"/>
                  </a:lnTo>
                  <a:lnTo>
                    <a:pt x="598" y="71"/>
                  </a:lnTo>
                  <a:lnTo>
                    <a:pt x="587" y="69"/>
                  </a:lnTo>
                  <a:lnTo>
                    <a:pt x="572" y="67"/>
                  </a:lnTo>
                  <a:lnTo>
                    <a:pt x="557" y="67"/>
                  </a:lnTo>
                  <a:lnTo>
                    <a:pt x="542" y="64"/>
                  </a:lnTo>
                  <a:lnTo>
                    <a:pt x="529" y="62"/>
                  </a:lnTo>
                  <a:lnTo>
                    <a:pt x="527" y="58"/>
                  </a:lnTo>
                  <a:lnTo>
                    <a:pt x="525" y="56"/>
                  </a:lnTo>
                  <a:lnTo>
                    <a:pt x="525" y="56"/>
                  </a:lnTo>
                  <a:lnTo>
                    <a:pt x="521" y="47"/>
                  </a:lnTo>
                  <a:lnTo>
                    <a:pt x="518" y="39"/>
                  </a:lnTo>
                  <a:lnTo>
                    <a:pt x="510" y="32"/>
                  </a:lnTo>
                  <a:lnTo>
                    <a:pt x="501" y="28"/>
                  </a:lnTo>
                  <a:lnTo>
                    <a:pt x="482" y="19"/>
                  </a:lnTo>
                  <a:lnTo>
                    <a:pt x="473" y="15"/>
                  </a:lnTo>
                  <a:lnTo>
                    <a:pt x="465" y="9"/>
                  </a:lnTo>
                  <a:lnTo>
                    <a:pt x="465" y="9"/>
                  </a:lnTo>
                  <a:lnTo>
                    <a:pt x="458" y="6"/>
                  </a:lnTo>
                  <a:lnTo>
                    <a:pt x="445" y="4"/>
                  </a:lnTo>
                  <a:lnTo>
                    <a:pt x="420" y="0"/>
                  </a:lnTo>
                  <a:lnTo>
                    <a:pt x="420" y="0"/>
                  </a:lnTo>
                  <a:lnTo>
                    <a:pt x="402" y="0"/>
                  </a:lnTo>
                  <a:lnTo>
                    <a:pt x="370" y="2"/>
                  </a:lnTo>
                  <a:lnTo>
                    <a:pt x="290" y="13"/>
                  </a:lnTo>
                  <a:lnTo>
                    <a:pt x="248" y="19"/>
                  </a:lnTo>
                  <a:lnTo>
                    <a:pt x="213" y="26"/>
                  </a:lnTo>
                  <a:lnTo>
                    <a:pt x="189" y="34"/>
                  </a:lnTo>
                  <a:lnTo>
                    <a:pt x="181" y="37"/>
                  </a:lnTo>
                  <a:lnTo>
                    <a:pt x="179" y="39"/>
                  </a:lnTo>
                  <a:lnTo>
                    <a:pt x="179" y="39"/>
                  </a:lnTo>
                  <a:lnTo>
                    <a:pt x="179" y="47"/>
                  </a:lnTo>
                  <a:lnTo>
                    <a:pt x="183" y="52"/>
                  </a:lnTo>
                  <a:lnTo>
                    <a:pt x="189" y="54"/>
                  </a:lnTo>
                  <a:lnTo>
                    <a:pt x="194" y="56"/>
                  </a:lnTo>
                  <a:lnTo>
                    <a:pt x="198" y="60"/>
                  </a:lnTo>
                  <a:lnTo>
                    <a:pt x="200" y="64"/>
                  </a:lnTo>
                  <a:lnTo>
                    <a:pt x="200" y="73"/>
                  </a:lnTo>
                  <a:lnTo>
                    <a:pt x="196" y="84"/>
                  </a:lnTo>
                  <a:lnTo>
                    <a:pt x="196" y="84"/>
                  </a:lnTo>
                  <a:lnTo>
                    <a:pt x="192" y="93"/>
                  </a:lnTo>
                  <a:lnTo>
                    <a:pt x="192" y="103"/>
                  </a:lnTo>
                  <a:lnTo>
                    <a:pt x="192" y="112"/>
                  </a:lnTo>
                  <a:lnTo>
                    <a:pt x="194" y="120"/>
                  </a:lnTo>
                  <a:lnTo>
                    <a:pt x="198" y="129"/>
                  </a:lnTo>
                  <a:lnTo>
                    <a:pt x="204" y="136"/>
                  </a:lnTo>
                  <a:lnTo>
                    <a:pt x="215" y="151"/>
                  </a:lnTo>
                  <a:lnTo>
                    <a:pt x="228" y="164"/>
                  </a:lnTo>
                  <a:lnTo>
                    <a:pt x="241" y="179"/>
                  </a:lnTo>
                  <a:lnTo>
                    <a:pt x="247" y="187"/>
                  </a:lnTo>
                  <a:lnTo>
                    <a:pt x="250" y="196"/>
                  </a:lnTo>
                  <a:lnTo>
                    <a:pt x="254" y="204"/>
                  </a:lnTo>
                  <a:lnTo>
                    <a:pt x="256" y="213"/>
                  </a:lnTo>
                  <a:lnTo>
                    <a:pt x="256" y="213"/>
                  </a:lnTo>
                  <a:lnTo>
                    <a:pt x="258" y="220"/>
                  </a:lnTo>
                  <a:lnTo>
                    <a:pt x="261" y="230"/>
                  </a:lnTo>
                  <a:lnTo>
                    <a:pt x="271" y="245"/>
                  </a:lnTo>
                  <a:lnTo>
                    <a:pt x="271" y="250"/>
                  </a:lnTo>
                  <a:lnTo>
                    <a:pt x="269" y="254"/>
                  </a:lnTo>
                  <a:lnTo>
                    <a:pt x="267" y="256"/>
                  </a:lnTo>
                  <a:lnTo>
                    <a:pt x="258" y="258"/>
                  </a:lnTo>
                  <a:lnTo>
                    <a:pt x="241" y="258"/>
                  </a:lnTo>
                  <a:lnTo>
                    <a:pt x="241" y="258"/>
                  </a:lnTo>
                  <a:lnTo>
                    <a:pt x="230" y="260"/>
                  </a:lnTo>
                  <a:lnTo>
                    <a:pt x="217" y="263"/>
                  </a:lnTo>
                  <a:lnTo>
                    <a:pt x="204" y="269"/>
                  </a:lnTo>
                  <a:lnTo>
                    <a:pt x="192" y="277"/>
                  </a:lnTo>
                  <a:lnTo>
                    <a:pt x="189" y="280"/>
                  </a:lnTo>
                  <a:lnTo>
                    <a:pt x="187" y="286"/>
                  </a:lnTo>
                  <a:lnTo>
                    <a:pt x="185" y="290"/>
                  </a:lnTo>
                  <a:lnTo>
                    <a:pt x="187" y="295"/>
                  </a:lnTo>
                  <a:lnTo>
                    <a:pt x="190" y="299"/>
                  </a:lnTo>
                  <a:lnTo>
                    <a:pt x="196" y="305"/>
                  </a:lnTo>
                  <a:lnTo>
                    <a:pt x="204" y="308"/>
                  </a:lnTo>
                  <a:lnTo>
                    <a:pt x="215" y="314"/>
                  </a:lnTo>
                  <a:lnTo>
                    <a:pt x="215" y="314"/>
                  </a:lnTo>
                  <a:lnTo>
                    <a:pt x="219" y="316"/>
                  </a:lnTo>
                  <a:lnTo>
                    <a:pt x="220" y="320"/>
                  </a:lnTo>
                  <a:lnTo>
                    <a:pt x="226" y="333"/>
                  </a:lnTo>
                  <a:lnTo>
                    <a:pt x="228" y="346"/>
                  </a:lnTo>
                  <a:lnTo>
                    <a:pt x="226" y="361"/>
                  </a:lnTo>
                  <a:lnTo>
                    <a:pt x="224" y="368"/>
                  </a:lnTo>
                  <a:lnTo>
                    <a:pt x="220" y="374"/>
                  </a:lnTo>
                  <a:lnTo>
                    <a:pt x="217" y="377"/>
                  </a:lnTo>
                  <a:lnTo>
                    <a:pt x="211" y="381"/>
                  </a:lnTo>
                  <a:lnTo>
                    <a:pt x="205" y="381"/>
                  </a:lnTo>
                  <a:lnTo>
                    <a:pt x="196" y="379"/>
                  </a:lnTo>
                  <a:lnTo>
                    <a:pt x="187" y="376"/>
                  </a:lnTo>
                  <a:lnTo>
                    <a:pt x="177" y="368"/>
                  </a:lnTo>
                  <a:lnTo>
                    <a:pt x="177" y="368"/>
                  </a:lnTo>
                  <a:lnTo>
                    <a:pt x="170" y="363"/>
                  </a:lnTo>
                  <a:lnTo>
                    <a:pt x="162" y="359"/>
                  </a:lnTo>
                  <a:lnTo>
                    <a:pt x="146" y="353"/>
                  </a:lnTo>
                  <a:lnTo>
                    <a:pt x="129" y="348"/>
                  </a:lnTo>
                  <a:lnTo>
                    <a:pt x="121" y="344"/>
                  </a:lnTo>
                  <a:lnTo>
                    <a:pt x="116" y="336"/>
                  </a:lnTo>
                  <a:lnTo>
                    <a:pt x="116" y="336"/>
                  </a:lnTo>
                  <a:lnTo>
                    <a:pt x="110" y="333"/>
                  </a:lnTo>
                  <a:lnTo>
                    <a:pt x="108" y="333"/>
                  </a:lnTo>
                  <a:lnTo>
                    <a:pt x="103" y="338"/>
                  </a:lnTo>
                  <a:lnTo>
                    <a:pt x="99" y="342"/>
                  </a:lnTo>
                  <a:lnTo>
                    <a:pt x="91" y="348"/>
                  </a:lnTo>
                  <a:lnTo>
                    <a:pt x="80" y="349"/>
                  </a:lnTo>
                  <a:lnTo>
                    <a:pt x="63" y="349"/>
                  </a:lnTo>
                  <a:lnTo>
                    <a:pt x="60" y="349"/>
                  </a:lnTo>
                  <a:lnTo>
                    <a:pt x="60" y="349"/>
                  </a:lnTo>
                  <a:lnTo>
                    <a:pt x="39" y="351"/>
                  </a:lnTo>
                  <a:lnTo>
                    <a:pt x="33" y="351"/>
                  </a:lnTo>
                  <a:lnTo>
                    <a:pt x="30" y="353"/>
                  </a:lnTo>
                  <a:lnTo>
                    <a:pt x="30" y="357"/>
                  </a:lnTo>
                  <a:lnTo>
                    <a:pt x="30" y="359"/>
                  </a:lnTo>
                  <a:lnTo>
                    <a:pt x="35" y="364"/>
                  </a:lnTo>
                  <a:lnTo>
                    <a:pt x="54" y="377"/>
                  </a:lnTo>
                  <a:lnTo>
                    <a:pt x="63" y="383"/>
                  </a:lnTo>
                  <a:lnTo>
                    <a:pt x="67" y="387"/>
                  </a:lnTo>
                  <a:lnTo>
                    <a:pt x="67" y="387"/>
                  </a:lnTo>
                  <a:lnTo>
                    <a:pt x="63" y="389"/>
                  </a:lnTo>
                  <a:lnTo>
                    <a:pt x="63" y="391"/>
                  </a:lnTo>
                  <a:lnTo>
                    <a:pt x="62" y="392"/>
                  </a:lnTo>
                  <a:lnTo>
                    <a:pt x="62" y="392"/>
                  </a:lnTo>
                  <a:lnTo>
                    <a:pt x="60" y="400"/>
                  </a:lnTo>
                  <a:lnTo>
                    <a:pt x="58" y="407"/>
                  </a:lnTo>
                  <a:lnTo>
                    <a:pt x="54" y="415"/>
                  </a:lnTo>
                  <a:lnTo>
                    <a:pt x="52" y="424"/>
                  </a:lnTo>
                  <a:lnTo>
                    <a:pt x="52" y="424"/>
                  </a:lnTo>
                  <a:lnTo>
                    <a:pt x="52" y="430"/>
                  </a:lnTo>
                  <a:lnTo>
                    <a:pt x="50" y="434"/>
                  </a:lnTo>
                  <a:lnTo>
                    <a:pt x="43" y="439"/>
                  </a:lnTo>
                  <a:lnTo>
                    <a:pt x="26" y="447"/>
                  </a:lnTo>
                  <a:lnTo>
                    <a:pt x="19" y="450"/>
                  </a:lnTo>
                  <a:lnTo>
                    <a:pt x="17" y="454"/>
                  </a:lnTo>
                  <a:lnTo>
                    <a:pt x="15" y="458"/>
                  </a:lnTo>
                  <a:lnTo>
                    <a:pt x="13" y="462"/>
                  </a:lnTo>
                  <a:lnTo>
                    <a:pt x="13" y="467"/>
                  </a:lnTo>
                  <a:lnTo>
                    <a:pt x="19" y="484"/>
                  </a:lnTo>
                  <a:lnTo>
                    <a:pt x="19" y="484"/>
                  </a:lnTo>
                  <a:lnTo>
                    <a:pt x="20" y="490"/>
                  </a:lnTo>
                  <a:lnTo>
                    <a:pt x="20" y="495"/>
                  </a:lnTo>
                  <a:lnTo>
                    <a:pt x="17" y="503"/>
                  </a:lnTo>
                  <a:lnTo>
                    <a:pt x="17" y="506"/>
                  </a:lnTo>
                  <a:lnTo>
                    <a:pt x="19" y="510"/>
                  </a:lnTo>
                  <a:lnTo>
                    <a:pt x="22" y="512"/>
                  </a:lnTo>
                  <a:lnTo>
                    <a:pt x="32" y="514"/>
                  </a:lnTo>
                  <a:lnTo>
                    <a:pt x="32" y="514"/>
                  </a:lnTo>
                  <a:lnTo>
                    <a:pt x="39" y="516"/>
                  </a:lnTo>
                  <a:lnTo>
                    <a:pt x="41" y="518"/>
                  </a:lnTo>
                  <a:lnTo>
                    <a:pt x="41" y="521"/>
                  </a:lnTo>
                  <a:lnTo>
                    <a:pt x="39" y="525"/>
                  </a:lnTo>
                  <a:lnTo>
                    <a:pt x="35" y="531"/>
                  </a:lnTo>
                  <a:lnTo>
                    <a:pt x="24" y="542"/>
                  </a:lnTo>
                  <a:lnTo>
                    <a:pt x="22" y="547"/>
                  </a:lnTo>
                  <a:lnTo>
                    <a:pt x="22" y="549"/>
                  </a:lnTo>
                  <a:lnTo>
                    <a:pt x="22" y="551"/>
                  </a:lnTo>
                  <a:lnTo>
                    <a:pt x="22" y="551"/>
                  </a:lnTo>
                  <a:lnTo>
                    <a:pt x="28" y="559"/>
                  </a:lnTo>
                  <a:lnTo>
                    <a:pt x="32" y="566"/>
                  </a:lnTo>
                  <a:lnTo>
                    <a:pt x="32" y="576"/>
                  </a:lnTo>
                  <a:lnTo>
                    <a:pt x="32" y="590"/>
                  </a:lnTo>
                  <a:lnTo>
                    <a:pt x="32" y="590"/>
                  </a:lnTo>
                  <a:lnTo>
                    <a:pt x="28" y="600"/>
                  </a:lnTo>
                  <a:lnTo>
                    <a:pt x="22" y="607"/>
                  </a:lnTo>
                  <a:lnTo>
                    <a:pt x="9" y="620"/>
                  </a:lnTo>
                  <a:lnTo>
                    <a:pt x="4" y="626"/>
                  </a:lnTo>
                  <a:lnTo>
                    <a:pt x="0" y="632"/>
                  </a:lnTo>
                  <a:lnTo>
                    <a:pt x="2" y="639"/>
                  </a:lnTo>
                  <a:lnTo>
                    <a:pt x="7" y="648"/>
                  </a:lnTo>
                  <a:lnTo>
                    <a:pt x="7" y="648"/>
                  </a:lnTo>
                  <a:lnTo>
                    <a:pt x="15" y="660"/>
                  </a:lnTo>
                  <a:lnTo>
                    <a:pt x="22" y="675"/>
                  </a:lnTo>
                  <a:lnTo>
                    <a:pt x="39" y="712"/>
                  </a:lnTo>
                  <a:lnTo>
                    <a:pt x="54" y="744"/>
                  </a:lnTo>
                  <a:lnTo>
                    <a:pt x="62" y="757"/>
                  </a:lnTo>
                  <a:lnTo>
                    <a:pt x="67" y="762"/>
                  </a:lnTo>
                  <a:lnTo>
                    <a:pt x="67" y="762"/>
                  </a:lnTo>
                  <a:lnTo>
                    <a:pt x="95" y="777"/>
                  </a:lnTo>
                  <a:lnTo>
                    <a:pt x="106" y="781"/>
                  </a:lnTo>
                  <a:lnTo>
                    <a:pt x="116" y="783"/>
                  </a:lnTo>
                  <a:lnTo>
                    <a:pt x="123" y="785"/>
                  </a:lnTo>
                  <a:lnTo>
                    <a:pt x="131" y="785"/>
                  </a:lnTo>
                  <a:lnTo>
                    <a:pt x="142" y="781"/>
                  </a:lnTo>
                  <a:lnTo>
                    <a:pt x="149" y="775"/>
                  </a:lnTo>
                  <a:lnTo>
                    <a:pt x="155" y="772"/>
                  </a:lnTo>
                  <a:lnTo>
                    <a:pt x="162" y="768"/>
                  </a:lnTo>
                  <a:lnTo>
                    <a:pt x="164" y="766"/>
                  </a:lnTo>
                  <a:lnTo>
                    <a:pt x="168" y="768"/>
                  </a:lnTo>
                  <a:lnTo>
                    <a:pt x="168" y="768"/>
                  </a:lnTo>
                  <a:lnTo>
                    <a:pt x="172" y="770"/>
                  </a:lnTo>
                  <a:lnTo>
                    <a:pt x="176" y="779"/>
                  </a:lnTo>
                  <a:lnTo>
                    <a:pt x="190" y="803"/>
                  </a:lnTo>
                  <a:lnTo>
                    <a:pt x="202" y="818"/>
                  </a:lnTo>
                  <a:lnTo>
                    <a:pt x="215" y="831"/>
                  </a:lnTo>
                  <a:lnTo>
                    <a:pt x="230" y="845"/>
                  </a:lnTo>
                  <a:lnTo>
                    <a:pt x="239" y="850"/>
                  </a:lnTo>
                  <a:lnTo>
                    <a:pt x="248" y="854"/>
                  </a:lnTo>
                  <a:lnTo>
                    <a:pt x="248" y="854"/>
                  </a:lnTo>
                  <a:lnTo>
                    <a:pt x="269" y="863"/>
                  </a:lnTo>
                  <a:lnTo>
                    <a:pt x="280" y="871"/>
                  </a:lnTo>
                  <a:lnTo>
                    <a:pt x="301" y="878"/>
                  </a:lnTo>
                  <a:lnTo>
                    <a:pt x="340" y="888"/>
                  </a:lnTo>
                  <a:lnTo>
                    <a:pt x="340" y="888"/>
                  </a:lnTo>
                  <a:lnTo>
                    <a:pt x="359" y="895"/>
                  </a:lnTo>
                  <a:lnTo>
                    <a:pt x="374" y="903"/>
                  </a:lnTo>
                  <a:lnTo>
                    <a:pt x="385" y="912"/>
                  </a:lnTo>
                  <a:lnTo>
                    <a:pt x="394" y="921"/>
                  </a:lnTo>
                  <a:lnTo>
                    <a:pt x="400" y="929"/>
                  </a:lnTo>
                  <a:lnTo>
                    <a:pt x="407" y="932"/>
                  </a:lnTo>
                  <a:lnTo>
                    <a:pt x="413" y="934"/>
                  </a:lnTo>
                  <a:lnTo>
                    <a:pt x="420" y="931"/>
                  </a:lnTo>
                  <a:lnTo>
                    <a:pt x="420" y="931"/>
                  </a:lnTo>
                  <a:lnTo>
                    <a:pt x="424" y="929"/>
                  </a:lnTo>
                  <a:lnTo>
                    <a:pt x="428" y="929"/>
                  </a:lnTo>
                  <a:lnTo>
                    <a:pt x="435" y="931"/>
                  </a:lnTo>
                  <a:lnTo>
                    <a:pt x="456" y="942"/>
                  </a:lnTo>
                  <a:lnTo>
                    <a:pt x="467" y="947"/>
                  </a:lnTo>
                  <a:lnTo>
                    <a:pt x="480" y="951"/>
                  </a:lnTo>
                  <a:lnTo>
                    <a:pt x="488" y="951"/>
                  </a:lnTo>
                  <a:lnTo>
                    <a:pt x="495" y="951"/>
                  </a:lnTo>
                  <a:lnTo>
                    <a:pt x="504" y="947"/>
                  </a:lnTo>
                  <a:lnTo>
                    <a:pt x="514" y="944"/>
                  </a:lnTo>
                  <a:lnTo>
                    <a:pt x="514" y="944"/>
                  </a:lnTo>
                  <a:lnTo>
                    <a:pt x="523" y="940"/>
                  </a:lnTo>
                  <a:lnTo>
                    <a:pt x="532" y="936"/>
                  </a:lnTo>
                  <a:lnTo>
                    <a:pt x="540" y="938"/>
                  </a:lnTo>
                  <a:lnTo>
                    <a:pt x="547" y="940"/>
                  </a:lnTo>
                  <a:lnTo>
                    <a:pt x="553" y="944"/>
                  </a:lnTo>
                  <a:lnTo>
                    <a:pt x="557" y="947"/>
                  </a:lnTo>
                  <a:lnTo>
                    <a:pt x="566" y="960"/>
                  </a:lnTo>
                  <a:lnTo>
                    <a:pt x="574" y="975"/>
                  </a:lnTo>
                  <a:lnTo>
                    <a:pt x="581" y="988"/>
                  </a:lnTo>
                  <a:lnTo>
                    <a:pt x="587" y="994"/>
                  </a:lnTo>
                  <a:lnTo>
                    <a:pt x="592" y="998"/>
                  </a:lnTo>
                  <a:lnTo>
                    <a:pt x="600" y="1000"/>
                  </a:lnTo>
                  <a:lnTo>
                    <a:pt x="607" y="1002"/>
                  </a:lnTo>
                  <a:lnTo>
                    <a:pt x="607" y="1002"/>
                  </a:lnTo>
                  <a:lnTo>
                    <a:pt x="613" y="1002"/>
                  </a:lnTo>
                  <a:lnTo>
                    <a:pt x="618" y="1003"/>
                  </a:lnTo>
                  <a:lnTo>
                    <a:pt x="622" y="1005"/>
                  </a:lnTo>
                  <a:lnTo>
                    <a:pt x="626" y="1009"/>
                  </a:lnTo>
                  <a:lnTo>
                    <a:pt x="628" y="1016"/>
                  </a:lnTo>
                  <a:lnTo>
                    <a:pt x="626" y="1026"/>
                  </a:lnTo>
                  <a:lnTo>
                    <a:pt x="620" y="1045"/>
                  </a:lnTo>
                  <a:lnTo>
                    <a:pt x="618" y="1052"/>
                  </a:lnTo>
                  <a:lnTo>
                    <a:pt x="620" y="1056"/>
                  </a:lnTo>
                  <a:lnTo>
                    <a:pt x="620" y="1056"/>
                  </a:lnTo>
                  <a:lnTo>
                    <a:pt x="630" y="1071"/>
                  </a:lnTo>
                  <a:lnTo>
                    <a:pt x="633" y="1074"/>
                  </a:lnTo>
                  <a:lnTo>
                    <a:pt x="639" y="1076"/>
                  </a:lnTo>
                  <a:lnTo>
                    <a:pt x="648" y="1080"/>
                  </a:lnTo>
                  <a:lnTo>
                    <a:pt x="667" y="1087"/>
                  </a:lnTo>
                  <a:lnTo>
                    <a:pt x="667" y="1087"/>
                  </a:lnTo>
                  <a:lnTo>
                    <a:pt x="675" y="1089"/>
                  </a:lnTo>
                  <a:lnTo>
                    <a:pt x="680" y="1091"/>
                  </a:lnTo>
                  <a:lnTo>
                    <a:pt x="689" y="1091"/>
                  </a:lnTo>
                  <a:lnTo>
                    <a:pt x="693" y="1091"/>
                  </a:lnTo>
                  <a:lnTo>
                    <a:pt x="697" y="1095"/>
                  </a:lnTo>
                  <a:lnTo>
                    <a:pt x="701" y="1099"/>
                  </a:lnTo>
                  <a:lnTo>
                    <a:pt x="704" y="1106"/>
                  </a:lnTo>
                  <a:lnTo>
                    <a:pt x="704" y="1106"/>
                  </a:lnTo>
                  <a:lnTo>
                    <a:pt x="708" y="1112"/>
                  </a:lnTo>
                  <a:lnTo>
                    <a:pt x="714" y="1114"/>
                  </a:lnTo>
                  <a:lnTo>
                    <a:pt x="717" y="1114"/>
                  </a:lnTo>
                  <a:lnTo>
                    <a:pt x="721" y="1112"/>
                  </a:lnTo>
                  <a:lnTo>
                    <a:pt x="723" y="1108"/>
                  </a:lnTo>
                  <a:lnTo>
                    <a:pt x="725" y="1102"/>
                  </a:lnTo>
                  <a:lnTo>
                    <a:pt x="723" y="1097"/>
                  </a:lnTo>
                  <a:lnTo>
                    <a:pt x="719" y="1091"/>
                  </a:lnTo>
                  <a:lnTo>
                    <a:pt x="719" y="1091"/>
                  </a:lnTo>
                  <a:lnTo>
                    <a:pt x="717" y="1087"/>
                  </a:lnTo>
                  <a:lnTo>
                    <a:pt x="717" y="1082"/>
                  </a:lnTo>
                  <a:lnTo>
                    <a:pt x="717" y="1076"/>
                  </a:lnTo>
                  <a:lnTo>
                    <a:pt x="719" y="1073"/>
                  </a:lnTo>
                  <a:lnTo>
                    <a:pt x="723" y="1069"/>
                  </a:lnTo>
                  <a:lnTo>
                    <a:pt x="729" y="1071"/>
                  </a:lnTo>
                  <a:lnTo>
                    <a:pt x="738" y="1078"/>
                  </a:lnTo>
                  <a:lnTo>
                    <a:pt x="749" y="1093"/>
                  </a:lnTo>
                  <a:lnTo>
                    <a:pt x="749" y="1093"/>
                  </a:lnTo>
                  <a:lnTo>
                    <a:pt x="759" y="1102"/>
                  </a:lnTo>
                  <a:lnTo>
                    <a:pt x="766" y="1106"/>
                  </a:lnTo>
                  <a:lnTo>
                    <a:pt x="772" y="1108"/>
                  </a:lnTo>
                  <a:lnTo>
                    <a:pt x="777" y="1104"/>
                  </a:lnTo>
                  <a:lnTo>
                    <a:pt x="781" y="1099"/>
                  </a:lnTo>
                  <a:lnTo>
                    <a:pt x="785" y="1091"/>
                  </a:lnTo>
                  <a:lnTo>
                    <a:pt x="785" y="1080"/>
                  </a:lnTo>
                  <a:lnTo>
                    <a:pt x="785" y="1069"/>
                  </a:lnTo>
                  <a:lnTo>
                    <a:pt x="785" y="1069"/>
                  </a:lnTo>
                  <a:lnTo>
                    <a:pt x="787" y="1067"/>
                  </a:lnTo>
                  <a:lnTo>
                    <a:pt x="794" y="1067"/>
                  </a:lnTo>
                  <a:lnTo>
                    <a:pt x="815" y="1067"/>
                  </a:lnTo>
                  <a:lnTo>
                    <a:pt x="826" y="1065"/>
                  </a:lnTo>
                  <a:lnTo>
                    <a:pt x="837" y="1061"/>
                  </a:lnTo>
                  <a:lnTo>
                    <a:pt x="846" y="1056"/>
                  </a:lnTo>
                  <a:lnTo>
                    <a:pt x="850" y="1050"/>
                  </a:lnTo>
                  <a:lnTo>
                    <a:pt x="854" y="1045"/>
                  </a:lnTo>
                  <a:lnTo>
                    <a:pt x="854" y="1045"/>
                  </a:lnTo>
                  <a:lnTo>
                    <a:pt x="860" y="1031"/>
                  </a:lnTo>
                  <a:lnTo>
                    <a:pt x="865" y="1022"/>
                  </a:lnTo>
                  <a:lnTo>
                    <a:pt x="871" y="1015"/>
                  </a:lnTo>
                  <a:lnTo>
                    <a:pt x="878" y="1011"/>
                  </a:lnTo>
                  <a:lnTo>
                    <a:pt x="886" y="1007"/>
                  </a:lnTo>
                  <a:lnTo>
                    <a:pt x="897" y="1007"/>
                  </a:lnTo>
                  <a:lnTo>
                    <a:pt x="925" y="1009"/>
                  </a:lnTo>
                  <a:lnTo>
                    <a:pt x="925" y="1009"/>
                  </a:lnTo>
                  <a:lnTo>
                    <a:pt x="927" y="1009"/>
                  </a:lnTo>
                  <a:lnTo>
                    <a:pt x="927" y="1009"/>
                  </a:lnTo>
                  <a:lnTo>
                    <a:pt x="919" y="1005"/>
                  </a:lnTo>
                  <a:lnTo>
                    <a:pt x="919" y="1005"/>
                  </a:lnTo>
                  <a:lnTo>
                    <a:pt x="912" y="1002"/>
                  </a:lnTo>
                  <a:lnTo>
                    <a:pt x="904" y="994"/>
                  </a:lnTo>
                  <a:lnTo>
                    <a:pt x="895" y="987"/>
                  </a:lnTo>
                  <a:lnTo>
                    <a:pt x="888" y="977"/>
                  </a:lnTo>
                  <a:lnTo>
                    <a:pt x="882" y="968"/>
                  </a:lnTo>
                  <a:lnTo>
                    <a:pt x="880" y="959"/>
                  </a:lnTo>
                  <a:lnTo>
                    <a:pt x="880" y="953"/>
                  </a:lnTo>
                  <a:lnTo>
                    <a:pt x="882" y="947"/>
                  </a:lnTo>
                  <a:lnTo>
                    <a:pt x="884" y="944"/>
                  </a:lnTo>
                  <a:lnTo>
                    <a:pt x="889" y="940"/>
                  </a:lnTo>
                  <a:lnTo>
                    <a:pt x="889" y="940"/>
                  </a:lnTo>
                  <a:lnTo>
                    <a:pt x="895" y="932"/>
                  </a:lnTo>
                  <a:lnTo>
                    <a:pt x="897" y="927"/>
                  </a:lnTo>
                  <a:lnTo>
                    <a:pt x="899" y="921"/>
                  </a:lnTo>
                  <a:lnTo>
                    <a:pt x="904" y="914"/>
                  </a:lnTo>
                  <a:lnTo>
                    <a:pt x="904" y="914"/>
                  </a:lnTo>
                  <a:lnTo>
                    <a:pt x="916" y="899"/>
                  </a:lnTo>
                  <a:lnTo>
                    <a:pt x="925" y="889"/>
                  </a:lnTo>
                  <a:lnTo>
                    <a:pt x="931" y="888"/>
                  </a:lnTo>
                  <a:lnTo>
                    <a:pt x="931" y="888"/>
                  </a:lnTo>
                  <a:lnTo>
                    <a:pt x="931" y="888"/>
                  </a:lnTo>
                  <a:lnTo>
                    <a:pt x="932" y="884"/>
                  </a:lnTo>
                  <a:lnTo>
                    <a:pt x="932" y="882"/>
                  </a:lnTo>
                  <a:lnTo>
                    <a:pt x="929" y="876"/>
                  </a:lnTo>
                  <a:lnTo>
                    <a:pt x="912" y="861"/>
                  </a:lnTo>
                  <a:lnTo>
                    <a:pt x="904" y="852"/>
                  </a:lnTo>
                  <a:lnTo>
                    <a:pt x="901" y="848"/>
                  </a:lnTo>
                  <a:lnTo>
                    <a:pt x="899" y="843"/>
                  </a:lnTo>
                  <a:lnTo>
                    <a:pt x="899" y="837"/>
                  </a:lnTo>
                  <a:lnTo>
                    <a:pt x="901" y="831"/>
                  </a:lnTo>
                  <a:lnTo>
                    <a:pt x="904" y="826"/>
                  </a:lnTo>
                  <a:lnTo>
                    <a:pt x="908" y="820"/>
                  </a:lnTo>
                  <a:lnTo>
                    <a:pt x="908" y="820"/>
                  </a:lnTo>
                  <a:lnTo>
                    <a:pt x="919" y="809"/>
                  </a:lnTo>
                  <a:lnTo>
                    <a:pt x="929" y="803"/>
                  </a:lnTo>
                  <a:lnTo>
                    <a:pt x="934" y="802"/>
                  </a:lnTo>
                  <a:lnTo>
                    <a:pt x="940" y="803"/>
                  </a:lnTo>
                  <a:lnTo>
                    <a:pt x="955" y="809"/>
                  </a:lnTo>
                  <a:lnTo>
                    <a:pt x="966" y="811"/>
                  </a:lnTo>
                  <a:lnTo>
                    <a:pt x="981" y="813"/>
                  </a:lnTo>
                  <a:lnTo>
                    <a:pt x="981" y="813"/>
                  </a:lnTo>
                  <a:close/>
                  <a:moveTo>
                    <a:pt x="1216" y="404"/>
                  </a:moveTo>
                  <a:lnTo>
                    <a:pt x="1216" y="404"/>
                  </a:lnTo>
                  <a:lnTo>
                    <a:pt x="1230" y="402"/>
                  </a:lnTo>
                  <a:lnTo>
                    <a:pt x="1235" y="398"/>
                  </a:lnTo>
                  <a:lnTo>
                    <a:pt x="1235" y="398"/>
                  </a:lnTo>
                  <a:lnTo>
                    <a:pt x="1235" y="396"/>
                  </a:lnTo>
                  <a:lnTo>
                    <a:pt x="1231" y="392"/>
                  </a:lnTo>
                  <a:lnTo>
                    <a:pt x="1228" y="389"/>
                  </a:lnTo>
                  <a:lnTo>
                    <a:pt x="1224" y="383"/>
                  </a:lnTo>
                  <a:lnTo>
                    <a:pt x="1224" y="381"/>
                  </a:lnTo>
                  <a:lnTo>
                    <a:pt x="1226" y="379"/>
                  </a:lnTo>
                  <a:lnTo>
                    <a:pt x="1235" y="372"/>
                  </a:lnTo>
                  <a:lnTo>
                    <a:pt x="1246" y="372"/>
                  </a:lnTo>
                  <a:lnTo>
                    <a:pt x="1246" y="372"/>
                  </a:lnTo>
                  <a:lnTo>
                    <a:pt x="1269" y="376"/>
                  </a:lnTo>
                  <a:lnTo>
                    <a:pt x="1286" y="381"/>
                  </a:lnTo>
                  <a:lnTo>
                    <a:pt x="1295" y="389"/>
                  </a:lnTo>
                  <a:lnTo>
                    <a:pt x="1301" y="396"/>
                  </a:lnTo>
                  <a:lnTo>
                    <a:pt x="1308" y="413"/>
                  </a:lnTo>
                  <a:lnTo>
                    <a:pt x="1314" y="420"/>
                  </a:lnTo>
                  <a:lnTo>
                    <a:pt x="1323" y="426"/>
                  </a:lnTo>
                  <a:lnTo>
                    <a:pt x="1323" y="426"/>
                  </a:lnTo>
                  <a:lnTo>
                    <a:pt x="1330" y="430"/>
                  </a:lnTo>
                  <a:lnTo>
                    <a:pt x="1332" y="432"/>
                  </a:lnTo>
                  <a:lnTo>
                    <a:pt x="1332" y="435"/>
                  </a:lnTo>
                  <a:lnTo>
                    <a:pt x="1332" y="441"/>
                  </a:lnTo>
                  <a:lnTo>
                    <a:pt x="1330" y="448"/>
                  </a:lnTo>
                  <a:lnTo>
                    <a:pt x="1330" y="448"/>
                  </a:lnTo>
                  <a:lnTo>
                    <a:pt x="1330" y="462"/>
                  </a:lnTo>
                  <a:lnTo>
                    <a:pt x="1329" y="465"/>
                  </a:lnTo>
                  <a:lnTo>
                    <a:pt x="1327" y="469"/>
                  </a:lnTo>
                  <a:lnTo>
                    <a:pt x="1323" y="471"/>
                  </a:lnTo>
                  <a:lnTo>
                    <a:pt x="1319" y="471"/>
                  </a:lnTo>
                  <a:lnTo>
                    <a:pt x="1312" y="471"/>
                  </a:lnTo>
                  <a:lnTo>
                    <a:pt x="1293" y="462"/>
                  </a:lnTo>
                  <a:lnTo>
                    <a:pt x="1286" y="458"/>
                  </a:lnTo>
                  <a:lnTo>
                    <a:pt x="1280" y="456"/>
                  </a:lnTo>
                  <a:lnTo>
                    <a:pt x="1280" y="456"/>
                  </a:lnTo>
                  <a:lnTo>
                    <a:pt x="1261" y="452"/>
                  </a:lnTo>
                  <a:lnTo>
                    <a:pt x="1245" y="447"/>
                  </a:lnTo>
                  <a:lnTo>
                    <a:pt x="1231" y="439"/>
                  </a:lnTo>
                  <a:lnTo>
                    <a:pt x="1218" y="430"/>
                  </a:lnTo>
                  <a:lnTo>
                    <a:pt x="1211" y="420"/>
                  </a:lnTo>
                  <a:lnTo>
                    <a:pt x="1207" y="413"/>
                  </a:lnTo>
                  <a:lnTo>
                    <a:pt x="1207" y="409"/>
                  </a:lnTo>
                  <a:lnTo>
                    <a:pt x="1209" y="405"/>
                  </a:lnTo>
                  <a:lnTo>
                    <a:pt x="1211" y="404"/>
                  </a:lnTo>
                  <a:lnTo>
                    <a:pt x="1216" y="404"/>
                  </a:lnTo>
                  <a:lnTo>
                    <a:pt x="1216" y="40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Freeform 63">
              <a:extLst>
                <a:ext uri="{FF2B5EF4-FFF2-40B4-BE49-F238E27FC236}">
                  <a16:creationId xmlns:a16="http://schemas.microsoft.com/office/drawing/2014/main" id="{CAE27411-C9FD-4E19-8E19-5E29C9F603F8}"/>
                </a:ext>
              </a:extLst>
            </p:cNvPr>
            <p:cNvSpPr>
              <a:spLocks noEditPoints="1"/>
            </p:cNvSpPr>
            <p:nvPr/>
          </p:nvSpPr>
          <p:spPr bwMode="auto">
            <a:xfrm>
              <a:off x="6165212" y="4283097"/>
              <a:ext cx="76300" cy="85383"/>
            </a:xfrm>
            <a:custGeom>
              <a:avLst/>
              <a:gdLst/>
              <a:ahLst/>
              <a:cxnLst>
                <a:cxn ang="0">
                  <a:pos x="30" y="77"/>
                </a:cxn>
                <a:cxn ang="0">
                  <a:pos x="47" y="43"/>
                </a:cxn>
                <a:cxn ang="0">
                  <a:pos x="53" y="47"/>
                </a:cxn>
                <a:cxn ang="0">
                  <a:pos x="41" y="47"/>
                </a:cxn>
                <a:cxn ang="0">
                  <a:pos x="28" y="52"/>
                </a:cxn>
                <a:cxn ang="0">
                  <a:pos x="23" y="54"/>
                </a:cxn>
                <a:cxn ang="0">
                  <a:pos x="6" y="56"/>
                </a:cxn>
                <a:cxn ang="0">
                  <a:pos x="0" y="58"/>
                </a:cxn>
                <a:cxn ang="0">
                  <a:pos x="6" y="64"/>
                </a:cxn>
                <a:cxn ang="0">
                  <a:pos x="8" y="62"/>
                </a:cxn>
                <a:cxn ang="0">
                  <a:pos x="12" y="67"/>
                </a:cxn>
                <a:cxn ang="0">
                  <a:pos x="23" y="75"/>
                </a:cxn>
                <a:cxn ang="0">
                  <a:pos x="30" y="77"/>
                </a:cxn>
                <a:cxn ang="0">
                  <a:pos x="30" y="82"/>
                </a:cxn>
                <a:cxn ang="0">
                  <a:pos x="32" y="90"/>
                </a:cxn>
                <a:cxn ang="0">
                  <a:pos x="36" y="95"/>
                </a:cxn>
                <a:cxn ang="0">
                  <a:pos x="41" y="93"/>
                </a:cxn>
                <a:cxn ang="0">
                  <a:pos x="49" y="86"/>
                </a:cxn>
                <a:cxn ang="0">
                  <a:pos x="53" y="84"/>
                </a:cxn>
                <a:cxn ang="0">
                  <a:pos x="56" y="88"/>
                </a:cxn>
                <a:cxn ang="0">
                  <a:pos x="64" y="86"/>
                </a:cxn>
                <a:cxn ang="0">
                  <a:pos x="75" y="71"/>
                </a:cxn>
                <a:cxn ang="0">
                  <a:pos x="81" y="56"/>
                </a:cxn>
                <a:cxn ang="0">
                  <a:pos x="83" y="41"/>
                </a:cxn>
                <a:cxn ang="0">
                  <a:pos x="75" y="34"/>
                </a:cxn>
                <a:cxn ang="0">
                  <a:pos x="56" y="19"/>
                </a:cxn>
                <a:cxn ang="0">
                  <a:pos x="53" y="9"/>
                </a:cxn>
                <a:cxn ang="0">
                  <a:pos x="43" y="0"/>
                </a:cxn>
                <a:cxn ang="0">
                  <a:pos x="36" y="0"/>
                </a:cxn>
                <a:cxn ang="0">
                  <a:pos x="32" y="2"/>
                </a:cxn>
                <a:cxn ang="0">
                  <a:pos x="32" y="15"/>
                </a:cxn>
                <a:cxn ang="0">
                  <a:pos x="40" y="32"/>
                </a:cxn>
                <a:cxn ang="0">
                  <a:pos x="47" y="43"/>
                </a:cxn>
              </a:cxnLst>
              <a:rect l="0" t="0" r="r" b="b"/>
              <a:pathLst>
                <a:path w="84" h="95">
                  <a:moveTo>
                    <a:pt x="30" y="77"/>
                  </a:moveTo>
                  <a:lnTo>
                    <a:pt x="30" y="77"/>
                  </a:lnTo>
                  <a:close/>
                  <a:moveTo>
                    <a:pt x="47" y="43"/>
                  </a:moveTo>
                  <a:lnTo>
                    <a:pt x="47" y="43"/>
                  </a:lnTo>
                  <a:lnTo>
                    <a:pt x="54" y="49"/>
                  </a:lnTo>
                  <a:lnTo>
                    <a:pt x="53" y="47"/>
                  </a:lnTo>
                  <a:lnTo>
                    <a:pt x="47" y="47"/>
                  </a:lnTo>
                  <a:lnTo>
                    <a:pt x="41" y="47"/>
                  </a:lnTo>
                  <a:lnTo>
                    <a:pt x="34" y="47"/>
                  </a:lnTo>
                  <a:lnTo>
                    <a:pt x="28" y="52"/>
                  </a:lnTo>
                  <a:lnTo>
                    <a:pt x="28" y="52"/>
                  </a:lnTo>
                  <a:lnTo>
                    <a:pt x="23" y="54"/>
                  </a:lnTo>
                  <a:lnTo>
                    <a:pt x="17" y="54"/>
                  </a:lnTo>
                  <a:lnTo>
                    <a:pt x="6" y="56"/>
                  </a:lnTo>
                  <a:lnTo>
                    <a:pt x="2" y="56"/>
                  </a:lnTo>
                  <a:lnTo>
                    <a:pt x="0" y="58"/>
                  </a:lnTo>
                  <a:lnTo>
                    <a:pt x="0" y="60"/>
                  </a:lnTo>
                  <a:lnTo>
                    <a:pt x="6" y="64"/>
                  </a:lnTo>
                  <a:lnTo>
                    <a:pt x="6" y="64"/>
                  </a:lnTo>
                  <a:lnTo>
                    <a:pt x="8" y="62"/>
                  </a:lnTo>
                  <a:lnTo>
                    <a:pt x="8" y="62"/>
                  </a:lnTo>
                  <a:lnTo>
                    <a:pt x="12" y="67"/>
                  </a:lnTo>
                  <a:lnTo>
                    <a:pt x="12" y="67"/>
                  </a:lnTo>
                  <a:lnTo>
                    <a:pt x="23" y="75"/>
                  </a:lnTo>
                  <a:lnTo>
                    <a:pt x="23" y="75"/>
                  </a:lnTo>
                  <a:lnTo>
                    <a:pt x="30" y="77"/>
                  </a:lnTo>
                  <a:lnTo>
                    <a:pt x="30" y="77"/>
                  </a:lnTo>
                  <a:lnTo>
                    <a:pt x="30" y="82"/>
                  </a:lnTo>
                  <a:lnTo>
                    <a:pt x="32" y="90"/>
                  </a:lnTo>
                  <a:lnTo>
                    <a:pt x="32" y="90"/>
                  </a:lnTo>
                  <a:lnTo>
                    <a:pt x="34" y="95"/>
                  </a:lnTo>
                  <a:lnTo>
                    <a:pt x="36" y="95"/>
                  </a:lnTo>
                  <a:lnTo>
                    <a:pt x="40" y="95"/>
                  </a:lnTo>
                  <a:lnTo>
                    <a:pt x="41" y="93"/>
                  </a:lnTo>
                  <a:lnTo>
                    <a:pt x="47" y="88"/>
                  </a:lnTo>
                  <a:lnTo>
                    <a:pt x="49" y="86"/>
                  </a:lnTo>
                  <a:lnTo>
                    <a:pt x="53" y="84"/>
                  </a:lnTo>
                  <a:lnTo>
                    <a:pt x="53" y="84"/>
                  </a:lnTo>
                  <a:lnTo>
                    <a:pt x="54" y="86"/>
                  </a:lnTo>
                  <a:lnTo>
                    <a:pt x="56" y="88"/>
                  </a:lnTo>
                  <a:lnTo>
                    <a:pt x="60" y="88"/>
                  </a:lnTo>
                  <a:lnTo>
                    <a:pt x="64" y="86"/>
                  </a:lnTo>
                  <a:lnTo>
                    <a:pt x="68" y="80"/>
                  </a:lnTo>
                  <a:lnTo>
                    <a:pt x="75" y="71"/>
                  </a:lnTo>
                  <a:lnTo>
                    <a:pt x="81" y="56"/>
                  </a:lnTo>
                  <a:lnTo>
                    <a:pt x="81" y="56"/>
                  </a:lnTo>
                  <a:lnTo>
                    <a:pt x="84" y="47"/>
                  </a:lnTo>
                  <a:lnTo>
                    <a:pt x="83" y="41"/>
                  </a:lnTo>
                  <a:lnTo>
                    <a:pt x="79" y="37"/>
                  </a:lnTo>
                  <a:lnTo>
                    <a:pt x="75" y="34"/>
                  </a:lnTo>
                  <a:lnTo>
                    <a:pt x="62" y="24"/>
                  </a:lnTo>
                  <a:lnTo>
                    <a:pt x="56" y="19"/>
                  </a:lnTo>
                  <a:lnTo>
                    <a:pt x="53" y="9"/>
                  </a:lnTo>
                  <a:lnTo>
                    <a:pt x="53" y="9"/>
                  </a:lnTo>
                  <a:lnTo>
                    <a:pt x="49" y="4"/>
                  </a:lnTo>
                  <a:lnTo>
                    <a:pt x="43" y="0"/>
                  </a:lnTo>
                  <a:lnTo>
                    <a:pt x="43" y="0"/>
                  </a:lnTo>
                  <a:lnTo>
                    <a:pt x="36" y="0"/>
                  </a:lnTo>
                  <a:lnTo>
                    <a:pt x="34" y="0"/>
                  </a:lnTo>
                  <a:lnTo>
                    <a:pt x="32" y="2"/>
                  </a:lnTo>
                  <a:lnTo>
                    <a:pt x="32" y="8"/>
                  </a:lnTo>
                  <a:lnTo>
                    <a:pt x="32" y="15"/>
                  </a:lnTo>
                  <a:lnTo>
                    <a:pt x="36" y="22"/>
                  </a:lnTo>
                  <a:lnTo>
                    <a:pt x="40" y="32"/>
                  </a:lnTo>
                  <a:lnTo>
                    <a:pt x="43" y="37"/>
                  </a:lnTo>
                  <a:lnTo>
                    <a:pt x="47" y="43"/>
                  </a:lnTo>
                  <a:lnTo>
                    <a:pt x="47" y="4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Line 64">
              <a:extLst>
                <a:ext uri="{FF2B5EF4-FFF2-40B4-BE49-F238E27FC236}">
                  <a16:creationId xmlns:a16="http://schemas.microsoft.com/office/drawing/2014/main" id="{1F23842F-6ADC-47A4-A4C1-FAC87AFBB36B}"/>
                </a:ext>
              </a:extLst>
            </p:cNvPr>
            <p:cNvSpPr>
              <a:spLocks noChangeShapeType="1"/>
            </p:cNvSpPr>
            <p:nvPr/>
          </p:nvSpPr>
          <p:spPr bwMode="auto">
            <a:xfrm>
              <a:off x="6192461" y="4352130"/>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Freeform 65">
              <a:extLst>
                <a:ext uri="{FF2B5EF4-FFF2-40B4-BE49-F238E27FC236}">
                  <a16:creationId xmlns:a16="http://schemas.microsoft.com/office/drawing/2014/main" id="{D01E7005-709D-41C3-956E-7F8BCD5EB244}"/>
                </a:ext>
              </a:extLst>
            </p:cNvPr>
            <p:cNvSpPr>
              <a:spLocks/>
            </p:cNvSpPr>
            <p:nvPr/>
          </p:nvSpPr>
          <p:spPr bwMode="auto">
            <a:xfrm>
              <a:off x="6165212" y="4283097"/>
              <a:ext cx="76300" cy="85383"/>
            </a:xfrm>
            <a:custGeom>
              <a:avLst/>
              <a:gdLst/>
              <a:ahLst/>
              <a:cxnLst>
                <a:cxn ang="0">
                  <a:pos x="47" y="43"/>
                </a:cxn>
                <a:cxn ang="0">
                  <a:pos x="53" y="47"/>
                </a:cxn>
                <a:cxn ang="0">
                  <a:pos x="41" y="47"/>
                </a:cxn>
                <a:cxn ang="0">
                  <a:pos x="28" y="52"/>
                </a:cxn>
                <a:cxn ang="0">
                  <a:pos x="23" y="54"/>
                </a:cxn>
                <a:cxn ang="0">
                  <a:pos x="6" y="56"/>
                </a:cxn>
                <a:cxn ang="0">
                  <a:pos x="0" y="58"/>
                </a:cxn>
                <a:cxn ang="0">
                  <a:pos x="6" y="64"/>
                </a:cxn>
                <a:cxn ang="0">
                  <a:pos x="8" y="62"/>
                </a:cxn>
                <a:cxn ang="0">
                  <a:pos x="12" y="67"/>
                </a:cxn>
                <a:cxn ang="0">
                  <a:pos x="23" y="75"/>
                </a:cxn>
                <a:cxn ang="0">
                  <a:pos x="30" y="77"/>
                </a:cxn>
                <a:cxn ang="0">
                  <a:pos x="30" y="82"/>
                </a:cxn>
                <a:cxn ang="0">
                  <a:pos x="32" y="90"/>
                </a:cxn>
                <a:cxn ang="0">
                  <a:pos x="36" y="95"/>
                </a:cxn>
                <a:cxn ang="0">
                  <a:pos x="41" y="93"/>
                </a:cxn>
                <a:cxn ang="0">
                  <a:pos x="49" y="86"/>
                </a:cxn>
                <a:cxn ang="0">
                  <a:pos x="53" y="84"/>
                </a:cxn>
                <a:cxn ang="0">
                  <a:pos x="56" y="88"/>
                </a:cxn>
                <a:cxn ang="0">
                  <a:pos x="64" y="86"/>
                </a:cxn>
                <a:cxn ang="0">
                  <a:pos x="75" y="71"/>
                </a:cxn>
                <a:cxn ang="0">
                  <a:pos x="81" y="56"/>
                </a:cxn>
                <a:cxn ang="0">
                  <a:pos x="83" y="41"/>
                </a:cxn>
                <a:cxn ang="0">
                  <a:pos x="75" y="34"/>
                </a:cxn>
                <a:cxn ang="0">
                  <a:pos x="56" y="19"/>
                </a:cxn>
                <a:cxn ang="0">
                  <a:pos x="53" y="9"/>
                </a:cxn>
                <a:cxn ang="0">
                  <a:pos x="43" y="0"/>
                </a:cxn>
                <a:cxn ang="0">
                  <a:pos x="36" y="0"/>
                </a:cxn>
                <a:cxn ang="0">
                  <a:pos x="32" y="2"/>
                </a:cxn>
                <a:cxn ang="0">
                  <a:pos x="32" y="15"/>
                </a:cxn>
                <a:cxn ang="0">
                  <a:pos x="40" y="32"/>
                </a:cxn>
                <a:cxn ang="0">
                  <a:pos x="47" y="43"/>
                </a:cxn>
              </a:cxnLst>
              <a:rect l="0" t="0" r="r" b="b"/>
              <a:pathLst>
                <a:path w="84" h="95">
                  <a:moveTo>
                    <a:pt x="47" y="43"/>
                  </a:moveTo>
                  <a:lnTo>
                    <a:pt x="47" y="43"/>
                  </a:lnTo>
                  <a:lnTo>
                    <a:pt x="54" y="49"/>
                  </a:lnTo>
                  <a:lnTo>
                    <a:pt x="53" y="47"/>
                  </a:lnTo>
                  <a:lnTo>
                    <a:pt x="47" y="47"/>
                  </a:lnTo>
                  <a:lnTo>
                    <a:pt x="41" y="47"/>
                  </a:lnTo>
                  <a:lnTo>
                    <a:pt x="34" y="47"/>
                  </a:lnTo>
                  <a:lnTo>
                    <a:pt x="28" y="52"/>
                  </a:lnTo>
                  <a:lnTo>
                    <a:pt x="28" y="52"/>
                  </a:lnTo>
                  <a:lnTo>
                    <a:pt x="23" y="54"/>
                  </a:lnTo>
                  <a:lnTo>
                    <a:pt x="17" y="54"/>
                  </a:lnTo>
                  <a:lnTo>
                    <a:pt x="6" y="56"/>
                  </a:lnTo>
                  <a:lnTo>
                    <a:pt x="2" y="56"/>
                  </a:lnTo>
                  <a:lnTo>
                    <a:pt x="0" y="58"/>
                  </a:lnTo>
                  <a:lnTo>
                    <a:pt x="0" y="60"/>
                  </a:lnTo>
                  <a:lnTo>
                    <a:pt x="6" y="64"/>
                  </a:lnTo>
                  <a:lnTo>
                    <a:pt x="6" y="64"/>
                  </a:lnTo>
                  <a:lnTo>
                    <a:pt x="8" y="62"/>
                  </a:lnTo>
                  <a:lnTo>
                    <a:pt x="8" y="62"/>
                  </a:lnTo>
                  <a:lnTo>
                    <a:pt x="12" y="67"/>
                  </a:lnTo>
                  <a:lnTo>
                    <a:pt x="12" y="67"/>
                  </a:lnTo>
                  <a:lnTo>
                    <a:pt x="23" y="75"/>
                  </a:lnTo>
                  <a:lnTo>
                    <a:pt x="23" y="75"/>
                  </a:lnTo>
                  <a:lnTo>
                    <a:pt x="30" y="77"/>
                  </a:lnTo>
                  <a:lnTo>
                    <a:pt x="30" y="77"/>
                  </a:lnTo>
                  <a:lnTo>
                    <a:pt x="30" y="82"/>
                  </a:lnTo>
                  <a:lnTo>
                    <a:pt x="32" y="90"/>
                  </a:lnTo>
                  <a:lnTo>
                    <a:pt x="32" y="90"/>
                  </a:lnTo>
                  <a:lnTo>
                    <a:pt x="34" y="95"/>
                  </a:lnTo>
                  <a:lnTo>
                    <a:pt x="36" y="95"/>
                  </a:lnTo>
                  <a:lnTo>
                    <a:pt x="40" y="95"/>
                  </a:lnTo>
                  <a:lnTo>
                    <a:pt x="41" y="93"/>
                  </a:lnTo>
                  <a:lnTo>
                    <a:pt x="47" y="88"/>
                  </a:lnTo>
                  <a:lnTo>
                    <a:pt x="49" y="86"/>
                  </a:lnTo>
                  <a:lnTo>
                    <a:pt x="53" y="84"/>
                  </a:lnTo>
                  <a:lnTo>
                    <a:pt x="53" y="84"/>
                  </a:lnTo>
                  <a:lnTo>
                    <a:pt x="54" y="86"/>
                  </a:lnTo>
                  <a:lnTo>
                    <a:pt x="56" y="88"/>
                  </a:lnTo>
                  <a:lnTo>
                    <a:pt x="60" y="88"/>
                  </a:lnTo>
                  <a:lnTo>
                    <a:pt x="64" y="86"/>
                  </a:lnTo>
                  <a:lnTo>
                    <a:pt x="68" y="80"/>
                  </a:lnTo>
                  <a:lnTo>
                    <a:pt x="75" y="71"/>
                  </a:lnTo>
                  <a:lnTo>
                    <a:pt x="81" y="56"/>
                  </a:lnTo>
                  <a:lnTo>
                    <a:pt x="81" y="56"/>
                  </a:lnTo>
                  <a:lnTo>
                    <a:pt x="84" y="47"/>
                  </a:lnTo>
                  <a:lnTo>
                    <a:pt x="83" y="41"/>
                  </a:lnTo>
                  <a:lnTo>
                    <a:pt x="79" y="37"/>
                  </a:lnTo>
                  <a:lnTo>
                    <a:pt x="75" y="34"/>
                  </a:lnTo>
                  <a:lnTo>
                    <a:pt x="62" y="24"/>
                  </a:lnTo>
                  <a:lnTo>
                    <a:pt x="56" y="19"/>
                  </a:lnTo>
                  <a:lnTo>
                    <a:pt x="53" y="9"/>
                  </a:lnTo>
                  <a:lnTo>
                    <a:pt x="53" y="9"/>
                  </a:lnTo>
                  <a:lnTo>
                    <a:pt x="49" y="4"/>
                  </a:lnTo>
                  <a:lnTo>
                    <a:pt x="43" y="0"/>
                  </a:lnTo>
                  <a:lnTo>
                    <a:pt x="43" y="0"/>
                  </a:lnTo>
                  <a:lnTo>
                    <a:pt x="36" y="0"/>
                  </a:lnTo>
                  <a:lnTo>
                    <a:pt x="34" y="0"/>
                  </a:lnTo>
                  <a:lnTo>
                    <a:pt x="32" y="2"/>
                  </a:lnTo>
                  <a:lnTo>
                    <a:pt x="32" y="8"/>
                  </a:lnTo>
                  <a:lnTo>
                    <a:pt x="32" y="15"/>
                  </a:lnTo>
                  <a:lnTo>
                    <a:pt x="36" y="22"/>
                  </a:lnTo>
                  <a:lnTo>
                    <a:pt x="40" y="32"/>
                  </a:lnTo>
                  <a:lnTo>
                    <a:pt x="43" y="37"/>
                  </a:lnTo>
                  <a:lnTo>
                    <a:pt x="47" y="43"/>
                  </a:lnTo>
                  <a:lnTo>
                    <a:pt x="47" y="43"/>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6" name="Freeform 66">
              <a:extLst>
                <a:ext uri="{FF2B5EF4-FFF2-40B4-BE49-F238E27FC236}">
                  <a16:creationId xmlns:a16="http://schemas.microsoft.com/office/drawing/2014/main" id="{EC6243C5-1C00-4DEF-8618-7EE1D9CBB0F0}"/>
                </a:ext>
              </a:extLst>
            </p:cNvPr>
            <p:cNvSpPr>
              <a:spLocks/>
            </p:cNvSpPr>
            <p:nvPr/>
          </p:nvSpPr>
          <p:spPr bwMode="auto">
            <a:xfrm>
              <a:off x="5107915" y="6094310"/>
              <a:ext cx="292483" cy="252515"/>
            </a:xfrm>
            <a:custGeom>
              <a:avLst/>
              <a:gdLst/>
              <a:ahLst/>
              <a:cxnLst>
                <a:cxn ang="0">
                  <a:pos x="75" y="46"/>
                </a:cxn>
                <a:cxn ang="0">
                  <a:pos x="73" y="58"/>
                </a:cxn>
                <a:cxn ang="0">
                  <a:pos x="75" y="59"/>
                </a:cxn>
                <a:cxn ang="0">
                  <a:pos x="37" y="87"/>
                </a:cxn>
                <a:cxn ang="0">
                  <a:pos x="4" y="112"/>
                </a:cxn>
                <a:cxn ang="0">
                  <a:pos x="0" y="121"/>
                </a:cxn>
                <a:cxn ang="0">
                  <a:pos x="0" y="142"/>
                </a:cxn>
                <a:cxn ang="0">
                  <a:pos x="0" y="158"/>
                </a:cxn>
                <a:cxn ang="0">
                  <a:pos x="4" y="185"/>
                </a:cxn>
                <a:cxn ang="0">
                  <a:pos x="6" y="203"/>
                </a:cxn>
                <a:cxn ang="0">
                  <a:pos x="6" y="213"/>
                </a:cxn>
                <a:cxn ang="0">
                  <a:pos x="11" y="228"/>
                </a:cxn>
                <a:cxn ang="0">
                  <a:pos x="24" y="237"/>
                </a:cxn>
                <a:cxn ang="0">
                  <a:pos x="49" y="246"/>
                </a:cxn>
                <a:cxn ang="0">
                  <a:pos x="101" y="259"/>
                </a:cxn>
                <a:cxn ang="0">
                  <a:pos x="112" y="267"/>
                </a:cxn>
                <a:cxn ang="0">
                  <a:pos x="120" y="272"/>
                </a:cxn>
                <a:cxn ang="0">
                  <a:pos x="131" y="276"/>
                </a:cxn>
                <a:cxn ang="0">
                  <a:pos x="138" y="272"/>
                </a:cxn>
                <a:cxn ang="0">
                  <a:pos x="148" y="261"/>
                </a:cxn>
                <a:cxn ang="0">
                  <a:pos x="159" y="244"/>
                </a:cxn>
                <a:cxn ang="0">
                  <a:pos x="168" y="239"/>
                </a:cxn>
                <a:cxn ang="0">
                  <a:pos x="181" y="243"/>
                </a:cxn>
                <a:cxn ang="0">
                  <a:pos x="187" y="243"/>
                </a:cxn>
                <a:cxn ang="0">
                  <a:pos x="196" y="235"/>
                </a:cxn>
                <a:cxn ang="0">
                  <a:pos x="207" y="220"/>
                </a:cxn>
                <a:cxn ang="0">
                  <a:pos x="226" y="207"/>
                </a:cxn>
                <a:cxn ang="0">
                  <a:pos x="241" y="201"/>
                </a:cxn>
                <a:cxn ang="0">
                  <a:pos x="247" y="186"/>
                </a:cxn>
                <a:cxn ang="0">
                  <a:pos x="273" y="115"/>
                </a:cxn>
                <a:cxn ang="0">
                  <a:pos x="288" y="93"/>
                </a:cxn>
                <a:cxn ang="0">
                  <a:pos x="293" y="87"/>
                </a:cxn>
                <a:cxn ang="0">
                  <a:pos x="297" y="76"/>
                </a:cxn>
                <a:cxn ang="0">
                  <a:pos x="299" y="72"/>
                </a:cxn>
                <a:cxn ang="0">
                  <a:pos x="310" y="71"/>
                </a:cxn>
                <a:cxn ang="0">
                  <a:pos x="320" y="61"/>
                </a:cxn>
                <a:cxn ang="0">
                  <a:pos x="321" y="46"/>
                </a:cxn>
                <a:cxn ang="0">
                  <a:pos x="312" y="20"/>
                </a:cxn>
                <a:cxn ang="0">
                  <a:pos x="310" y="15"/>
                </a:cxn>
                <a:cxn ang="0">
                  <a:pos x="305" y="15"/>
                </a:cxn>
                <a:cxn ang="0">
                  <a:pos x="299" y="13"/>
                </a:cxn>
                <a:cxn ang="0">
                  <a:pos x="282" y="1"/>
                </a:cxn>
                <a:cxn ang="0">
                  <a:pos x="271" y="0"/>
                </a:cxn>
                <a:cxn ang="0">
                  <a:pos x="260" y="7"/>
                </a:cxn>
                <a:cxn ang="0">
                  <a:pos x="256" y="11"/>
                </a:cxn>
                <a:cxn ang="0">
                  <a:pos x="245" y="13"/>
                </a:cxn>
                <a:cxn ang="0">
                  <a:pos x="222" y="7"/>
                </a:cxn>
                <a:cxn ang="0">
                  <a:pos x="206" y="9"/>
                </a:cxn>
                <a:cxn ang="0">
                  <a:pos x="191" y="16"/>
                </a:cxn>
                <a:cxn ang="0">
                  <a:pos x="176" y="18"/>
                </a:cxn>
                <a:cxn ang="0">
                  <a:pos x="174" y="18"/>
                </a:cxn>
                <a:cxn ang="0">
                  <a:pos x="161" y="22"/>
                </a:cxn>
                <a:cxn ang="0">
                  <a:pos x="140" y="18"/>
                </a:cxn>
                <a:cxn ang="0">
                  <a:pos x="127" y="22"/>
                </a:cxn>
                <a:cxn ang="0">
                  <a:pos x="120" y="28"/>
                </a:cxn>
                <a:cxn ang="0">
                  <a:pos x="108" y="33"/>
                </a:cxn>
                <a:cxn ang="0">
                  <a:pos x="90" y="31"/>
                </a:cxn>
                <a:cxn ang="0">
                  <a:pos x="79" y="39"/>
                </a:cxn>
                <a:cxn ang="0">
                  <a:pos x="75" y="46"/>
                </a:cxn>
              </a:cxnLst>
              <a:rect l="0" t="0" r="r" b="b"/>
              <a:pathLst>
                <a:path w="321" h="276">
                  <a:moveTo>
                    <a:pt x="75" y="46"/>
                  </a:moveTo>
                  <a:lnTo>
                    <a:pt x="75" y="46"/>
                  </a:lnTo>
                  <a:lnTo>
                    <a:pt x="73" y="54"/>
                  </a:lnTo>
                  <a:lnTo>
                    <a:pt x="73" y="58"/>
                  </a:lnTo>
                  <a:lnTo>
                    <a:pt x="75" y="59"/>
                  </a:lnTo>
                  <a:lnTo>
                    <a:pt x="75" y="59"/>
                  </a:lnTo>
                  <a:lnTo>
                    <a:pt x="37" y="87"/>
                  </a:lnTo>
                  <a:lnTo>
                    <a:pt x="37" y="87"/>
                  </a:lnTo>
                  <a:lnTo>
                    <a:pt x="11" y="106"/>
                  </a:lnTo>
                  <a:lnTo>
                    <a:pt x="4" y="112"/>
                  </a:lnTo>
                  <a:lnTo>
                    <a:pt x="2" y="115"/>
                  </a:lnTo>
                  <a:lnTo>
                    <a:pt x="0" y="121"/>
                  </a:lnTo>
                  <a:lnTo>
                    <a:pt x="0" y="129"/>
                  </a:lnTo>
                  <a:lnTo>
                    <a:pt x="0" y="142"/>
                  </a:lnTo>
                  <a:lnTo>
                    <a:pt x="0" y="158"/>
                  </a:lnTo>
                  <a:lnTo>
                    <a:pt x="0" y="158"/>
                  </a:lnTo>
                  <a:lnTo>
                    <a:pt x="0" y="173"/>
                  </a:lnTo>
                  <a:lnTo>
                    <a:pt x="4" y="185"/>
                  </a:lnTo>
                  <a:lnTo>
                    <a:pt x="6" y="194"/>
                  </a:lnTo>
                  <a:lnTo>
                    <a:pt x="6" y="203"/>
                  </a:lnTo>
                  <a:lnTo>
                    <a:pt x="6" y="203"/>
                  </a:lnTo>
                  <a:lnTo>
                    <a:pt x="6" y="213"/>
                  </a:lnTo>
                  <a:lnTo>
                    <a:pt x="7" y="220"/>
                  </a:lnTo>
                  <a:lnTo>
                    <a:pt x="11" y="228"/>
                  </a:lnTo>
                  <a:lnTo>
                    <a:pt x="17" y="233"/>
                  </a:lnTo>
                  <a:lnTo>
                    <a:pt x="24" y="237"/>
                  </a:lnTo>
                  <a:lnTo>
                    <a:pt x="32" y="241"/>
                  </a:lnTo>
                  <a:lnTo>
                    <a:pt x="49" y="246"/>
                  </a:lnTo>
                  <a:lnTo>
                    <a:pt x="86" y="256"/>
                  </a:lnTo>
                  <a:lnTo>
                    <a:pt x="101" y="259"/>
                  </a:lnTo>
                  <a:lnTo>
                    <a:pt x="108" y="263"/>
                  </a:lnTo>
                  <a:lnTo>
                    <a:pt x="112" y="267"/>
                  </a:lnTo>
                  <a:lnTo>
                    <a:pt x="112" y="267"/>
                  </a:lnTo>
                  <a:lnTo>
                    <a:pt x="120" y="272"/>
                  </a:lnTo>
                  <a:lnTo>
                    <a:pt x="125" y="274"/>
                  </a:lnTo>
                  <a:lnTo>
                    <a:pt x="131" y="276"/>
                  </a:lnTo>
                  <a:lnTo>
                    <a:pt x="135" y="274"/>
                  </a:lnTo>
                  <a:lnTo>
                    <a:pt x="138" y="272"/>
                  </a:lnTo>
                  <a:lnTo>
                    <a:pt x="142" y="271"/>
                  </a:lnTo>
                  <a:lnTo>
                    <a:pt x="148" y="261"/>
                  </a:lnTo>
                  <a:lnTo>
                    <a:pt x="153" y="252"/>
                  </a:lnTo>
                  <a:lnTo>
                    <a:pt x="159" y="244"/>
                  </a:lnTo>
                  <a:lnTo>
                    <a:pt x="163" y="241"/>
                  </a:lnTo>
                  <a:lnTo>
                    <a:pt x="168" y="239"/>
                  </a:lnTo>
                  <a:lnTo>
                    <a:pt x="174" y="241"/>
                  </a:lnTo>
                  <a:lnTo>
                    <a:pt x="181" y="243"/>
                  </a:lnTo>
                  <a:lnTo>
                    <a:pt x="181" y="243"/>
                  </a:lnTo>
                  <a:lnTo>
                    <a:pt x="187" y="243"/>
                  </a:lnTo>
                  <a:lnTo>
                    <a:pt x="193" y="241"/>
                  </a:lnTo>
                  <a:lnTo>
                    <a:pt x="196" y="235"/>
                  </a:lnTo>
                  <a:lnTo>
                    <a:pt x="202" y="228"/>
                  </a:lnTo>
                  <a:lnTo>
                    <a:pt x="207" y="220"/>
                  </a:lnTo>
                  <a:lnTo>
                    <a:pt x="215" y="213"/>
                  </a:lnTo>
                  <a:lnTo>
                    <a:pt x="226" y="207"/>
                  </a:lnTo>
                  <a:lnTo>
                    <a:pt x="241" y="201"/>
                  </a:lnTo>
                  <a:lnTo>
                    <a:pt x="241" y="201"/>
                  </a:lnTo>
                  <a:lnTo>
                    <a:pt x="243" y="198"/>
                  </a:lnTo>
                  <a:lnTo>
                    <a:pt x="247" y="186"/>
                  </a:lnTo>
                  <a:lnTo>
                    <a:pt x="258" y="153"/>
                  </a:lnTo>
                  <a:lnTo>
                    <a:pt x="273" y="115"/>
                  </a:lnTo>
                  <a:lnTo>
                    <a:pt x="280" y="102"/>
                  </a:lnTo>
                  <a:lnTo>
                    <a:pt x="288" y="93"/>
                  </a:lnTo>
                  <a:lnTo>
                    <a:pt x="288" y="93"/>
                  </a:lnTo>
                  <a:lnTo>
                    <a:pt x="293" y="87"/>
                  </a:lnTo>
                  <a:lnTo>
                    <a:pt x="295" y="82"/>
                  </a:lnTo>
                  <a:lnTo>
                    <a:pt x="297" y="76"/>
                  </a:lnTo>
                  <a:lnTo>
                    <a:pt x="297" y="74"/>
                  </a:lnTo>
                  <a:lnTo>
                    <a:pt x="299" y="72"/>
                  </a:lnTo>
                  <a:lnTo>
                    <a:pt x="310" y="71"/>
                  </a:lnTo>
                  <a:lnTo>
                    <a:pt x="310" y="71"/>
                  </a:lnTo>
                  <a:lnTo>
                    <a:pt x="318" y="67"/>
                  </a:lnTo>
                  <a:lnTo>
                    <a:pt x="320" y="61"/>
                  </a:lnTo>
                  <a:lnTo>
                    <a:pt x="321" y="54"/>
                  </a:lnTo>
                  <a:lnTo>
                    <a:pt x="321" y="46"/>
                  </a:lnTo>
                  <a:lnTo>
                    <a:pt x="316" y="28"/>
                  </a:lnTo>
                  <a:lnTo>
                    <a:pt x="312" y="20"/>
                  </a:lnTo>
                  <a:lnTo>
                    <a:pt x="310" y="15"/>
                  </a:lnTo>
                  <a:lnTo>
                    <a:pt x="310" y="15"/>
                  </a:lnTo>
                  <a:lnTo>
                    <a:pt x="308" y="15"/>
                  </a:lnTo>
                  <a:lnTo>
                    <a:pt x="305" y="15"/>
                  </a:lnTo>
                  <a:lnTo>
                    <a:pt x="305" y="15"/>
                  </a:lnTo>
                  <a:lnTo>
                    <a:pt x="299" y="13"/>
                  </a:lnTo>
                  <a:lnTo>
                    <a:pt x="293" y="11"/>
                  </a:lnTo>
                  <a:lnTo>
                    <a:pt x="282" y="1"/>
                  </a:lnTo>
                  <a:lnTo>
                    <a:pt x="277" y="0"/>
                  </a:lnTo>
                  <a:lnTo>
                    <a:pt x="271" y="0"/>
                  </a:lnTo>
                  <a:lnTo>
                    <a:pt x="265" y="1"/>
                  </a:lnTo>
                  <a:lnTo>
                    <a:pt x="260" y="7"/>
                  </a:lnTo>
                  <a:lnTo>
                    <a:pt x="260" y="7"/>
                  </a:lnTo>
                  <a:lnTo>
                    <a:pt x="256" y="11"/>
                  </a:lnTo>
                  <a:lnTo>
                    <a:pt x="250" y="13"/>
                  </a:lnTo>
                  <a:lnTo>
                    <a:pt x="245" y="13"/>
                  </a:lnTo>
                  <a:lnTo>
                    <a:pt x="237" y="9"/>
                  </a:lnTo>
                  <a:lnTo>
                    <a:pt x="222" y="7"/>
                  </a:lnTo>
                  <a:lnTo>
                    <a:pt x="213" y="7"/>
                  </a:lnTo>
                  <a:lnTo>
                    <a:pt x="206" y="9"/>
                  </a:lnTo>
                  <a:lnTo>
                    <a:pt x="206" y="9"/>
                  </a:lnTo>
                  <a:lnTo>
                    <a:pt x="191" y="16"/>
                  </a:lnTo>
                  <a:lnTo>
                    <a:pt x="181" y="18"/>
                  </a:lnTo>
                  <a:lnTo>
                    <a:pt x="176" y="18"/>
                  </a:lnTo>
                  <a:lnTo>
                    <a:pt x="174" y="18"/>
                  </a:lnTo>
                  <a:lnTo>
                    <a:pt x="174" y="18"/>
                  </a:lnTo>
                  <a:lnTo>
                    <a:pt x="166" y="20"/>
                  </a:lnTo>
                  <a:lnTo>
                    <a:pt x="161" y="22"/>
                  </a:lnTo>
                  <a:lnTo>
                    <a:pt x="148" y="20"/>
                  </a:lnTo>
                  <a:lnTo>
                    <a:pt x="140" y="18"/>
                  </a:lnTo>
                  <a:lnTo>
                    <a:pt x="135" y="18"/>
                  </a:lnTo>
                  <a:lnTo>
                    <a:pt x="127" y="22"/>
                  </a:lnTo>
                  <a:lnTo>
                    <a:pt x="120" y="28"/>
                  </a:lnTo>
                  <a:lnTo>
                    <a:pt x="120" y="28"/>
                  </a:lnTo>
                  <a:lnTo>
                    <a:pt x="116" y="31"/>
                  </a:lnTo>
                  <a:lnTo>
                    <a:pt x="108" y="33"/>
                  </a:lnTo>
                  <a:lnTo>
                    <a:pt x="95" y="31"/>
                  </a:lnTo>
                  <a:lnTo>
                    <a:pt x="90" y="31"/>
                  </a:lnTo>
                  <a:lnTo>
                    <a:pt x="82" y="33"/>
                  </a:lnTo>
                  <a:lnTo>
                    <a:pt x="79" y="39"/>
                  </a:lnTo>
                  <a:lnTo>
                    <a:pt x="75" y="46"/>
                  </a:lnTo>
                  <a:lnTo>
                    <a:pt x="75" y="4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7" name="Freeform 67">
              <a:extLst>
                <a:ext uri="{FF2B5EF4-FFF2-40B4-BE49-F238E27FC236}">
                  <a16:creationId xmlns:a16="http://schemas.microsoft.com/office/drawing/2014/main" id="{77DB5E6D-5FCB-456F-9385-7FAF09DE87C8}"/>
                </a:ext>
              </a:extLst>
            </p:cNvPr>
            <p:cNvSpPr>
              <a:spLocks noEditPoints="1"/>
            </p:cNvSpPr>
            <p:nvPr/>
          </p:nvSpPr>
          <p:spPr bwMode="auto">
            <a:xfrm>
              <a:off x="4739132" y="4501097"/>
              <a:ext cx="557716" cy="530465"/>
            </a:xfrm>
            <a:custGeom>
              <a:avLst/>
              <a:gdLst/>
              <a:ahLst/>
              <a:cxnLst>
                <a:cxn ang="0">
                  <a:pos x="428" y="357"/>
                </a:cxn>
                <a:cxn ang="0">
                  <a:pos x="415" y="348"/>
                </a:cxn>
                <a:cxn ang="0">
                  <a:pos x="399" y="344"/>
                </a:cxn>
                <a:cxn ang="0">
                  <a:pos x="413" y="305"/>
                </a:cxn>
                <a:cxn ang="0">
                  <a:pos x="397" y="264"/>
                </a:cxn>
                <a:cxn ang="0">
                  <a:pos x="419" y="247"/>
                </a:cxn>
                <a:cxn ang="0">
                  <a:pos x="458" y="237"/>
                </a:cxn>
                <a:cxn ang="0">
                  <a:pos x="479" y="237"/>
                </a:cxn>
                <a:cxn ang="0">
                  <a:pos x="524" y="236"/>
                </a:cxn>
                <a:cxn ang="0">
                  <a:pos x="574" y="196"/>
                </a:cxn>
                <a:cxn ang="0">
                  <a:pos x="604" y="189"/>
                </a:cxn>
                <a:cxn ang="0">
                  <a:pos x="613" y="148"/>
                </a:cxn>
                <a:cxn ang="0">
                  <a:pos x="574" y="97"/>
                </a:cxn>
                <a:cxn ang="0">
                  <a:pos x="563" y="92"/>
                </a:cxn>
                <a:cxn ang="0">
                  <a:pos x="546" y="75"/>
                </a:cxn>
                <a:cxn ang="0">
                  <a:pos x="494" y="64"/>
                </a:cxn>
                <a:cxn ang="0">
                  <a:pos x="464" y="39"/>
                </a:cxn>
                <a:cxn ang="0">
                  <a:pos x="436" y="17"/>
                </a:cxn>
                <a:cxn ang="0">
                  <a:pos x="400" y="26"/>
                </a:cxn>
                <a:cxn ang="0">
                  <a:pos x="384" y="41"/>
                </a:cxn>
                <a:cxn ang="0">
                  <a:pos x="410" y="71"/>
                </a:cxn>
                <a:cxn ang="0">
                  <a:pos x="391" y="93"/>
                </a:cxn>
                <a:cxn ang="0">
                  <a:pos x="331" y="196"/>
                </a:cxn>
                <a:cxn ang="0">
                  <a:pos x="298" y="196"/>
                </a:cxn>
                <a:cxn ang="0">
                  <a:pos x="275" y="234"/>
                </a:cxn>
                <a:cxn ang="0">
                  <a:pos x="223" y="307"/>
                </a:cxn>
                <a:cxn ang="0">
                  <a:pos x="185" y="297"/>
                </a:cxn>
                <a:cxn ang="0">
                  <a:pos x="157" y="267"/>
                </a:cxn>
                <a:cxn ang="0">
                  <a:pos x="131" y="280"/>
                </a:cxn>
                <a:cxn ang="0">
                  <a:pos x="77" y="252"/>
                </a:cxn>
                <a:cxn ang="0">
                  <a:pos x="49" y="284"/>
                </a:cxn>
                <a:cxn ang="0">
                  <a:pos x="66" y="316"/>
                </a:cxn>
                <a:cxn ang="0">
                  <a:pos x="21" y="355"/>
                </a:cxn>
                <a:cxn ang="0">
                  <a:pos x="47" y="413"/>
                </a:cxn>
                <a:cxn ang="0">
                  <a:pos x="64" y="454"/>
                </a:cxn>
                <a:cxn ang="0">
                  <a:pos x="118" y="473"/>
                </a:cxn>
                <a:cxn ang="0">
                  <a:pos x="129" y="520"/>
                </a:cxn>
                <a:cxn ang="0">
                  <a:pos x="150" y="518"/>
                </a:cxn>
                <a:cxn ang="0">
                  <a:pos x="156" y="488"/>
                </a:cxn>
                <a:cxn ang="0">
                  <a:pos x="169" y="527"/>
                </a:cxn>
                <a:cxn ang="0">
                  <a:pos x="193" y="508"/>
                </a:cxn>
                <a:cxn ang="0">
                  <a:pos x="197" y="490"/>
                </a:cxn>
                <a:cxn ang="0">
                  <a:pos x="225" y="475"/>
                </a:cxn>
                <a:cxn ang="0">
                  <a:pos x="260" y="477"/>
                </a:cxn>
                <a:cxn ang="0">
                  <a:pos x="262" y="445"/>
                </a:cxn>
                <a:cxn ang="0">
                  <a:pos x="290" y="437"/>
                </a:cxn>
                <a:cxn ang="0">
                  <a:pos x="320" y="465"/>
                </a:cxn>
                <a:cxn ang="0">
                  <a:pos x="357" y="460"/>
                </a:cxn>
                <a:cxn ang="0">
                  <a:pos x="380" y="467"/>
                </a:cxn>
                <a:cxn ang="0">
                  <a:pos x="399" y="514"/>
                </a:cxn>
                <a:cxn ang="0">
                  <a:pos x="413" y="553"/>
                </a:cxn>
                <a:cxn ang="0">
                  <a:pos x="428" y="540"/>
                </a:cxn>
                <a:cxn ang="0">
                  <a:pos x="451" y="574"/>
                </a:cxn>
                <a:cxn ang="0">
                  <a:pos x="475" y="572"/>
                </a:cxn>
                <a:cxn ang="0">
                  <a:pos x="494" y="544"/>
                </a:cxn>
                <a:cxn ang="0">
                  <a:pos x="494" y="523"/>
                </a:cxn>
                <a:cxn ang="0">
                  <a:pos x="499" y="503"/>
                </a:cxn>
                <a:cxn ang="0">
                  <a:pos x="494" y="482"/>
                </a:cxn>
                <a:cxn ang="0">
                  <a:pos x="494" y="447"/>
                </a:cxn>
                <a:cxn ang="0">
                  <a:pos x="481" y="424"/>
                </a:cxn>
                <a:cxn ang="0">
                  <a:pos x="458" y="404"/>
                </a:cxn>
                <a:cxn ang="0">
                  <a:pos x="432" y="364"/>
                </a:cxn>
              </a:cxnLst>
              <a:rect l="0" t="0" r="r" b="b"/>
              <a:pathLst>
                <a:path w="613" h="585">
                  <a:moveTo>
                    <a:pt x="400" y="26"/>
                  </a:moveTo>
                  <a:lnTo>
                    <a:pt x="400" y="26"/>
                  </a:lnTo>
                  <a:close/>
                  <a:moveTo>
                    <a:pt x="432" y="364"/>
                  </a:moveTo>
                  <a:lnTo>
                    <a:pt x="432" y="364"/>
                  </a:lnTo>
                  <a:lnTo>
                    <a:pt x="430" y="361"/>
                  </a:lnTo>
                  <a:lnTo>
                    <a:pt x="428" y="357"/>
                  </a:lnTo>
                  <a:lnTo>
                    <a:pt x="425" y="348"/>
                  </a:lnTo>
                  <a:lnTo>
                    <a:pt x="423" y="346"/>
                  </a:lnTo>
                  <a:lnTo>
                    <a:pt x="421" y="344"/>
                  </a:lnTo>
                  <a:lnTo>
                    <a:pt x="419" y="344"/>
                  </a:lnTo>
                  <a:lnTo>
                    <a:pt x="415" y="348"/>
                  </a:lnTo>
                  <a:lnTo>
                    <a:pt x="415" y="348"/>
                  </a:lnTo>
                  <a:lnTo>
                    <a:pt x="410" y="353"/>
                  </a:lnTo>
                  <a:lnTo>
                    <a:pt x="406" y="355"/>
                  </a:lnTo>
                  <a:lnTo>
                    <a:pt x="402" y="355"/>
                  </a:lnTo>
                  <a:lnTo>
                    <a:pt x="400" y="353"/>
                  </a:lnTo>
                  <a:lnTo>
                    <a:pt x="399" y="349"/>
                  </a:lnTo>
                  <a:lnTo>
                    <a:pt x="399" y="344"/>
                  </a:lnTo>
                  <a:lnTo>
                    <a:pt x="400" y="338"/>
                  </a:lnTo>
                  <a:lnTo>
                    <a:pt x="406" y="331"/>
                  </a:lnTo>
                  <a:lnTo>
                    <a:pt x="406" y="331"/>
                  </a:lnTo>
                  <a:lnTo>
                    <a:pt x="410" y="327"/>
                  </a:lnTo>
                  <a:lnTo>
                    <a:pt x="412" y="320"/>
                  </a:lnTo>
                  <a:lnTo>
                    <a:pt x="413" y="305"/>
                  </a:lnTo>
                  <a:lnTo>
                    <a:pt x="413" y="290"/>
                  </a:lnTo>
                  <a:lnTo>
                    <a:pt x="412" y="284"/>
                  </a:lnTo>
                  <a:lnTo>
                    <a:pt x="410" y="278"/>
                  </a:lnTo>
                  <a:lnTo>
                    <a:pt x="410" y="278"/>
                  </a:lnTo>
                  <a:lnTo>
                    <a:pt x="402" y="271"/>
                  </a:lnTo>
                  <a:lnTo>
                    <a:pt x="397" y="264"/>
                  </a:lnTo>
                  <a:lnTo>
                    <a:pt x="397" y="262"/>
                  </a:lnTo>
                  <a:lnTo>
                    <a:pt x="399" y="258"/>
                  </a:lnTo>
                  <a:lnTo>
                    <a:pt x="402" y="254"/>
                  </a:lnTo>
                  <a:lnTo>
                    <a:pt x="410" y="250"/>
                  </a:lnTo>
                  <a:lnTo>
                    <a:pt x="410" y="250"/>
                  </a:lnTo>
                  <a:lnTo>
                    <a:pt x="419" y="247"/>
                  </a:lnTo>
                  <a:lnTo>
                    <a:pt x="427" y="247"/>
                  </a:lnTo>
                  <a:lnTo>
                    <a:pt x="440" y="249"/>
                  </a:lnTo>
                  <a:lnTo>
                    <a:pt x="443" y="249"/>
                  </a:lnTo>
                  <a:lnTo>
                    <a:pt x="449" y="247"/>
                  </a:lnTo>
                  <a:lnTo>
                    <a:pt x="453" y="245"/>
                  </a:lnTo>
                  <a:lnTo>
                    <a:pt x="458" y="237"/>
                  </a:lnTo>
                  <a:lnTo>
                    <a:pt x="458" y="237"/>
                  </a:lnTo>
                  <a:lnTo>
                    <a:pt x="464" y="234"/>
                  </a:lnTo>
                  <a:lnTo>
                    <a:pt x="468" y="232"/>
                  </a:lnTo>
                  <a:lnTo>
                    <a:pt x="473" y="234"/>
                  </a:lnTo>
                  <a:lnTo>
                    <a:pt x="479" y="237"/>
                  </a:lnTo>
                  <a:lnTo>
                    <a:pt x="479" y="237"/>
                  </a:lnTo>
                  <a:lnTo>
                    <a:pt x="486" y="243"/>
                  </a:lnTo>
                  <a:lnTo>
                    <a:pt x="496" y="245"/>
                  </a:lnTo>
                  <a:lnTo>
                    <a:pt x="503" y="245"/>
                  </a:lnTo>
                  <a:lnTo>
                    <a:pt x="511" y="243"/>
                  </a:lnTo>
                  <a:lnTo>
                    <a:pt x="516" y="241"/>
                  </a:lnTo>
                  <a:lnTo>
                    <a:pt x="524" y="236"/>
                  </a:lnTo>
                  <a:lnTo>
                    <a:pt x="535" y="226"/>
                  </a:lnTo>
                  <a:lnTo>
                    <a:pt x="546" y="215"/>
                  </a:lnTo>
                  <a:lnTo>
                    <a:pt x="557" y="204"/>
                  </a:lnTo>
                  <a:lnTo>
                    <a:pt x="563" y="200"/>
                  </a:lnTo>
                  <a:lnTo>
                    <a:pt x="569" y="198"/>
                  </a:lnTo>
                  <a:lnTo>
                    <a:pt x="574" y="196"/>
                  </a:lnTo>
                  <a:lnTo>
                    <a:pt x="582" y="196"/>
                  </a:lnTo>
                  <a:lnTo>
                    <a:pt x="582" y="196"/>
                  </a:lnTo>
                  <a:lnTo>
                    <a:pt x="591" y="198"/>
                  </a:lnTo>
                  <a:lnTo>
                    <a:pt x="597" y="198"/>
                  </a:lnTo>
                  <a:lnTo>
                    <a:pt x="602" y="194"/>
                  </a:lnTo>
                  <a:lnTo>
                    <a:pt x="604" y="189"/>
                  </a:lnTo>
                  <a:lnTo>
                    <a:pt x="608" y="176"/>
                  </a:lnTo>
                  <a:lnTo>
                    <a:pt x="610" y="168"/>
                  </a:lnTo>
                  <a:lnTo>
                    <a:pt x="612" y="161"/>
                  </a:lnTo>
                  <a:lnTo>
                    <a:pt x="612" y="161"/>
                  </a:lnTo>
                  <a:lnTo>
                    <a:pt x="613" y="153"/>
                  </a:lnTo>
                  <a:lnTo>
                    <a:pt x="613" y="148"/>
                  </a:lnTo>
                  <a:lnTo>
                    <a:pt x="612" y="136"/>
                  </a:lnTo>
                  <a:lnTo>
                    <a:pt x="606" y="125"/>
                  </a:lnTo>
                  <a:lnTo>
                    <a:pt x="599" y="116"/>
                  </a:lnTo>
                  <a:lnTo>
                    <a:pt x="589" y="108"/>
                  </a:lnTo>
                  <a:lnTo>
                    <a:pt x="582" y="103"/>
                  </a:lnTo>
                  <a:lnTo>
                    <a:pt x="574" y="97"/>
                  </a:lnTo>
                  <a:lnTo>
                    <a:pt x="569" y="97"/>
                  </a:lnTo>
                  <a:lnTo>
                    <a:pt x="569" y="97"/>
                  </a:lnTo>
                  <a:lnTo>
                    <a:pt x="561" y="97"/>
                  </a:lnTo>
                  <a:lnTo>
                    <a:pt x="561" y="97"/>
                  </a:lnTo>
                  <a:lnTo>
                    <a:pt x="561" y="95"/>
                  </a:lnTo>
                  <a:lnTo>
                    <a:pt x="563" y="92"/>
                  </a:lnTo>
                  <a:lnTo>
                    <a:pt x="561" y="88"/>
                  </a:lnTo>
                  <a:lnTo>
                    <a:pt x="559" y="80"/>
                  </a:lnTo>
                  <a:lnTo>
                    <a:pt x="559" y="80"/>
                  </a:lnTo>
                  <a:lnTo>
                    <a:pt x="557" y="79"/>
                  </a:lnTo>
                  <a:lnTo>
                    <a:pt x="554" y="77"/>
                  </a:lnTo>
                  <a:lnTo>
                    <a:pt x="546" y="75"/>
                  </a:lnTo>
                  <a:lnTo>
                    <a:pt x="546" y="75"/>
                  </a:lnTo>
                  <a:lnTo>
                    <a:pt x="535" y="75"/>
                  </a:lnTo>
                  <a:lnTo>
                    <a:pt x="520" y="75"/>
                  </a:lnTo>
                  <a:lnTo>
                    <a:pt x="511" y="73"/>
                  </a:lnTo>
                  <a:lnTo>
                    <a:pt x="503" y="69"/>
                  </a:lnTo>
                  <a:lnTo>
                    <a:pt x="494" y="64"/>
                  </a:lnTo>
                  <a:lnTo>
                    <a:pt x="485" y="52"/>
                  </a:lnTo>
                  <a:lnTo>
                    <a:pt x="485" y="52"/>
                  </a:lnTo>
                  <a:lnTo>
                    <a:pt x="479" y="45"/>
                  </a:lnTo>
                  <a:lnTo>
                    <a:pt x="475" y="43"/>
                  </a:lnTo>
                  <a:lnTo>
                    <a:pt x="464" y="39"/>
                  </a:lnTo>
                  <a:lnTo>
                    <a:pt x="464" y="39"/>
                  </a:lnTo>
                  <a:lnTo>
                    <a:pt x="453" y="36"/>
                  </a:lnTo>
                  <a:lnTo>
                    <a:pt x="449" y="34"/>
                  </a:lnTo>
                  <a:lnTo>
                    <a:pt x="447" y="30"/>
                  </a:lnTo>
                  <a:lnTo>
                    <a:pt x="447" y="26"/>
                  </a:lnTo>
                  <a:lnTo>
                    <a:pt x="443" y="22"/>
                  </a:lnTo>
                  <a:lnTo>
                    <a:pt x="436" y="17"/>
                  </a:lnTo>
                  <a:lnTo>
                    <a:pt x="421" y="9"/>
                  </a:lnTo>
                  <a:lnTo>
                    <a:pt x="397" y="0"/>
                  </a:lnTo>
                  <a:lnTo>
                    <a:pt x="397" y="0"/>
                  </a:lnTo>
                  <a:lnTo>
                    <a:pt x="399" y="19"/>
                  </a:lnTo>
                  <a:lnTo>
                    <a:pt x="400" y="26"/>
                  </a:lnTo>
                  <a:lnTo>
                    <a:pt x="400" y="26"/>
                  </a:lnTo>
                  <a:lnTo>
                    <a:pt x="399" y="24"/>
                  </a:lnTo>
                  <a:lnTo>
                    <a:pt x="397" y="26"/>
                  </a:lnTo>
                  <a:lnTo>
                    <a:pt x="391" y="30"/>
                  </a:lnTo>
                  <a:lnTo>
                    <a:pt x="385" y="37"/>
                  </a:lnTo>
                  <a:lnTo>
                    <a:pt x="385" y="37"/>
                  </a:lnTo>
                  <a:lnTo>
                    <a:pt x="384" y="41"/>
                  </a:lnTo>
                  <a:lnTo>
                    <a:pt x="384" y="45"/>
                  </a:lnTo>
                  <a:lnTo>
                    <a:pt x="385" y="49"/>
                  </a:lnTo>
                  <a:lnTo>
                    <a:pt x="387" y="51"/>
                  </a:lnTo>
                  <a:lnTo>
                    <a:pt x="402" y="62"/>
                  </a:lnTo>
                  <a:lnTo>
                    <a:pt x="408" y="67"/>
                  </a:lnTo>
                  <a:lnTo>
                    <a:pt x="410" y="71"/>
                  </a:lnTo>
                  <a:lnTo>
                    <a:pt x="410" y="75"/>
                  </a:lnTo>
                  <a:lnTo>
                    <a:pt x="410" y="79"/>
                  </a:lnTo>
                  <a:lnTo>
                    <a:pt x="406" y="84"/>
                  </a:lnTo>
                  <a:lnTo>
                    <a:pt x="399" y="88"/>
                  </a:lnTo>
                  <a:lnTo>
                    <a:pt x="391" y="93"/>
                  </a:lnTo>
                  <a:lnTo>
                    <a:pt x="391" y="93"/>
                  </a:lnTo>
                  <a:lnTo>
                    <a:pt x="385" y="97"/>
                  </a:lnTo>
                  <a:lnTo>
                    <a:pt x="382" y="103"/>
                  </a:lnTo>
                  <a:lnTo>
                    <a:pt x="372" y="116"/>
                  </a:lnTo>
                  <a:lnTo>
                    <a:pt x="356" y="153"/>
                  </a:lnTo>
                  <a:lnTo>
                    <a:pt x="339" y="185"/>
                  </a:lnTo>
                  <a:lnTo>
                    <a:pt x="331" y="196"/>
                  </a:lnTo>
                  <a:lnTo>
                    <a:pt x="329" y="200"/>
                  </a:lnTo>
                  <a:lnTo>
                    <a:pt x="326" y="200"/>
                  </a:lnTo>
                  <a:lnTo>
                    <a:pt x="326" y="200"/>
                  </a:lnTo>
                  <a:lnTo>
                    <a:pt x="316" y="200"/>
                  </a:lnTo>
                  <a:lnTo>
                    <a:pt x="307" y="198"/>
                  </a:lnTo>
                  <a:lnTo>
                    <a:pt x="298" y="196"/>
                  </a:lnTo>
                  <a:lnTo>
                    <a:pt x="290" y="198"/>
                  </a:lnTo>
                  <a:lnTo>
                    <a:pt x="285" y="200"/>
                  </a:lnTo>
                  <a:lnTo>
                    <a:pt x="279" y="206"/>
                  </a:lnTo>
                  <a:lnTo>
                    <a:pt x="277" y="217"/>
                  </a:lnTo>
                  <a:lnTo>
                    <a:pt x="275" y="234"/>
                  </a:lnTo>
                  <a:lnTo>
                    <a:pt x="275" y="234"/>
                  </a:lnTo>
                  <a:lnTo>
                    <a:pt x="273" y="239"/>
                  </a:lnTo>
                  <a:lnTo>
                    <a:pt x="270" y="249"/>
                  </a:lnTo>
                  <a:lnTo>
                    <a:pt x="255" y="273"/>
                  </a:lnTo>
                  <a:lnTo>
                    <a:pt x="238" y="297"/>
                  </a:lnTo>
                  <a:lnTo>
                    <a:pt x="230" y="305"/>
                  </a:lnTo>
                  <a:lnTo>
                    <a:pt x="223" y="307"/>
                  </a:lnTo>
                  <a:lnTo>
                    <a:pt x="223" y="307"/>
                  </a:lnTo>
                  <a:lnTo>
                    <a:pt x="214" y="308"/>
                  </a:lnTo>
                  <a:lnTo>
                    <a:pt x="204" y="307"/>
                  </a:lnTo>
                  <a:lnTo>
                    <a:pt x="197" y="305"/>
                  </a:lnTo>
                  <a:lnTo>
                    <a:pt x="189" y="301"/>
                  </a:lnTo>
                  <a:lnTo>
                    <a:pt x="185" y="297"/>
                  </a:lnTo>
                  <a:lnTo>
                    <a:pt x="180" y="293"/>
                  </a:lnTo>
                  <a:lnTo>
                    <a:pt x="174" y="282"/>
                  </a:lnTo>
                  <a:lnTo>
                    <a:pt x="169" y="273"/>
                  </a:lnTo>
                  <a:lnTo>
                    <a:pt x="163" y="267"/>
                  </a:lnTo>
                  <a:lnTo>
                    <a:pt x="159" y="267"/>
                  </a:lnTo>
                  <a:lnTo>
                    <a:pt x="157" y="267"/>
                  </a:lnTo>
                  <a:lnTo>
                    <a:pt x="152" y="269"/>
                  </a:lnTo>
                  <a:lnTo>
                    <a:pt x="148" y="275"/>
                  </a:lnTo>
                  <a:lnTo>
                    <a:pt x="148" y="275"/>
                  </a:lnTo>
                  <a:lnTo>
                    <a:pt x="143" y="278"/>
                  </a:lnTo>
                  <a:lnTo>
                    <a:pt x="137" y="280"/>
                  </a:lnTo>
                  <a:lnTo>
                    <a:pt x="131" y="280"/>
                  </a:lnTo>
                  <a:lnTo>
                    <a:pt x="126" y="277"/>
                  </a:lnTo>
                  <a:lnTo>
                    <a:pt x="114" y="269"/>
                  </a:lnTo>
                  <a:lnTo>
                    <a:pt x="101" y="262"/>
                  </a:lnTo>
                  <a:lnTo>
                    <a:pt x="90" y="254"/>
                  </a:lnTo>
                  <a:lnTo>
                    <a:pt x="85" y="252"/>
                  </a:lnTo>
                  <a:lnTo>
                    <a:pt x="77" y="252"/>
                  </a:lnTo>
                  <a:lnTo>
                    <a:pt x="71" y="256"/>
                  </a:lnTo>
                  <a:lnTo>
                    <a:pt x="64" y="260"/>
                  </a:lnTo>
                  <a:lnTo>
                    <a:pt x="58" y="269"/>
                  </a:lnTo>
                  <a:lnTo>
                    <a:pt x="51" y="280"/>
                  </a:lnTo>
                  <a:lnTo>
                    <a:pt x="51" y="280"/>
                  </a:lnTo>
                  <a:lnTo>
                    <a:pt x="49" y="284"/>
                  </a:lnTo>
                  <a:lnTo>
                    <a:pt x="49" y="290"/>
                  </a:lnTo>
                  <a:lnTo>
                    <a:pt x="51" y="295"/>
                  </a:lnTo>
                  <a:lnTo>
                    <a:pt x="57" y="301"/>
                  </a:lnTo>
                  <a:lnTo>
                    <a:pt x="62" y="307"/>
                  </a:lnTo>
                  <a:lnTo>
                    <a:pt x="66" y="312"/>
                  </a:lnTo>
                  <a:lnTo>
                    <a:pt x="66" y="316"/>
                  </a:lnTo>
                  <a:lnTo>
                    <a:pt x="66" y="320"/>
                  </a:lnTo>
                  <a:lnTo>
                    <a:pt x="64" y="323"/>
                  </a:lnTo>
                  <a:lnTo>
                    <a:pt x="60" y="327"/>
                  </a:lnTo>
                  <a:lnTo>
                    <a:pt x="47" y="335"/>
                  </a:lnTo>
                  <a:lnTo>
                    <a:pt x="47" y="335"/>
                  </a:lnTo>
                  <a:lnTo>
                    <a:pt x="21" y="355"/>
                  </a:lnTo>
                  <a:lnTo>
                    <a:pt x="0" y="372"/>
                  </a:lnTo>
                  <a:lnTo>
                    <a:pt x="25" y="406"/>
                  </a:lnTo>
                  <a:lnTo>
                    <a:pt x="25" y="406"/>
                  </a:lnTo>
                  <a:lnTo>
                    <a:pt x="30" y="411"/>
                  </a:lnTo>
                  <a:lnTo>
                    <a:pt x="36" y="413"/>
                  </a:lnTo>
                  <a:lnTo>
                    <a:pt x="47" y="413"/>
                  </a:lnTo>
                  <a:lnTo>
                    <a:pt x="51" y="415"/>
                  </a:lnTo>
                  <a:lnTo>
                    <a:pt x="57" y="420"/>
                  </a:lnTo>
                  <a:lnTo>
                    <a:pt x="60" y="432"/>
                  </a:lnTo>
                  <a:lnTo>
                    <a:pt x="62" y="452"/>
                  </a:lnTo>
                  <a:lnTo>
                    <a:pt x="62" y="452"/>
                  </a:lnTo>
                  <a:lnTo>
                    <a:pt x="64" y="454"/>
                  </a:lnTo>
                  <a:lnTo>
                    <a:pt x="66" y="456"/>
                  </a:lnTo>
                  <a:lnTo>
                    <a:pt x="75" y="458"/>
                  </a:lnTo>
                  <a:lnTo>
                    <a:pt x="86" y="460"/>
                  </a:lnTo>
                  <a:lnTo>
                    <a:pt x="100" y="463"/>
                  </a:lnTo>
                  <a:lnTo>
                    <a:pt x="113" y="467"/>
                  </a:lnTo>
                  <a:lnTo>
                    <a:pt x="118" y="473"/>
                  </a:lnTo>
                  <a:lnTo>
                    <a:pt x="122" y="478"/>
                  </a:lnTo>
                  <a:lnTo>
                    <a:pt x="126" y="486"/>
                  </a:lnTo>
                  <a:lnTo>
                    <a:pt x="129" y="495"/>
                  </a:lnTo>
                  <a:lnTo>
                    <a:pt x="129" y="506"/>
                  </a:lnTo>
                  <a:lnTo>
                    <a:pt x="129" y="520"/>
                  </a:lnTo>
                  <a:lnTo>
                    <a:pt x="129" y="520"/>
                  </a:lnTo>
                  <a:lnTo>
                    <a:pt x="128" y="523"/>
                  </a:lnTo>
                  <a:lnTo>
                    <a:pt x="128" y="523"/>
                  </a:lnTo>
                  <a:lnTo>
                    <a:pt x="137" y="525"/>
                  </a:lnTo>
                  <a:lnTo>
                    <a:pt x="144" y="523"/>
                  </a:lnTo>
                  <a:lnTo>
                    <a:pt x="146" y="521"/>
                  </a:lnTo>
                  <a:lnTo>
                    <a:pt x="150" y="518"/>
                  </a:lnTo>
                  <a:lnTo>
                    <a:pt x="150" y="514"/>
                  </a:lnTo>
                  <a:lnTo>
                    <a:pt x="152" y="508"/>
                  </a:lnTo>
                  <a:lnTo>
                    <a:pt x="152" y="508"/>
                  </a:lnTo>
                  <a:lnTo>
                    <a:pt x="152" y="495"/>
                  </a:lnTo>
                  <a:lnTo>
                    <a:pt x="152" y="490"/>
                  </a:lnTo>
                  <a:lnTo>
                    <a:pt x="156" y="488"/>
                  </a:lnTo>
                  <a:lnTo>
                    <a:pt x="157" y="490"/>
                  </a:lnTo>
                  <a:lnTo>
                    <a:pt x="165" y="503"/>
                  </a:lnTo>
                  <a:lnTo>
                    <a:pt x="167" y="510"/>
                  </a:lnTo>
                  <a:lnTo>
                    <a:pt x="167" y="518"/>
                  </a:lnTo>
                  <a:lnTo>
                    <a:pt x="167" y="518"/>
                  </a:lnTo>
                  <a:lnTo>
                    <a:pt x="169" y="527"/>
                  </a:lnTo>
                  <a:lnTo>
                    <a:pt x="171" y="529"/>
                  </a:lnTo>
                  <a:lnTo>
                    <a:pt x="172" y="529"/>
                  </a:lnTo>
                  <a:lnTo>
                    <a:pt x="176" y="527"/>
                  </a:lnTo>
                  <a:lnTo>
                    <a:pt x="184" y="523"/>
                  </a:lnTo>
                  <a:lnTo>
                    <a:pt x="189" y="516"/>
                  </a:lnTo>
                  <a:lnTo>
                    <a:pt x="193" y="508"/>
                  </a:lnTo>
                  <a:lnTo>
                    <a:pt x="195" y="501"/>
                  </a:lnTo>
                  <a:lnTo>
                    <a:pt x="195" y="497"/>
                  </a:lnTo>
                  <a:lnTo>
                    <a:pt x="195" y="497"/>
                  </a:lnTo>
                  <a:lnTo>
                    <a:pt x="191" y="486"/>
                  </a:lnTo>
                  <a:lnTo>
                    <a:pt x="195" y="488"/>
                  </a:lnTo>
                  <a:lnTo>
                    <a:pt x="197" y="490"/>
                  </a:lnTo>
                  <a:lnTo>
                    <a:pt x="200" y="490"/>
                  </a:lnTo>
                  <a:lnTo>
                    <a:pt x="206" y="488"/>
                  </a:lnTo>
                  <a:lnTo>
                    <a:pt x="212" y="482"/>
                  </a:lnTo>
                  <a:lnTo>
                    <a:pt x="212" y="482"/>
                  </a:lnTo>
                  <a:lnTo>
                    <a:pt x="219" y="477"/>
                  </a:lnTo>
                  <a:lnTo>
                    <a:pt x="225" y="475"/>
                  </a:lnTo>
                  <a:lnTo>
                    <a:pt x="228" y="478"/>
                  </a:lnTo>
                  <a:lnTo>
                    <a:pt x="232" y="482"/>
                  </a:lnTo>
                  <a:lnTo>
                    <a:pt x="238" y="486"/>
                  </a:lnTo>
                  <a:lnTo>
                    <a:pt x="243" y="488"/>
                  </a:lnTo>
                  <a:lnTo>
                    <a:pt x="251" y="486"/>
                  </a:lnTo>
                  <a:lnTo>
                    <a:pt x="260" y="477"/>
                  </a:lnTo>
                  <a:lnTo>
                    <a:pt x="260" y="477"/>
                  </a:lnTo>
                  <a:lnTo>
                    <a:pt x="264" y="473"/>
                  </a:lnTo>
                  <a:lnTo>
                    <a:pt x="266" y="469"/>
                  </a:lnTo>
                  <a:lnTo>
                    <a:pt x="266" y="463"/>
                  </a:lnTo>
                  <a:lnTo>
                    <a:pt x="264" y="456"/>
                  </a:lnTo>
                  <a:lnTo>
                    <a:pt x="262" y="445"/>
                  </a:lnTo>
                  <a:lnTo>
                    <a:pt x="262" y="445"/>
                  </a:lnTo>
                  <a:lnTo>
                    <a:pt x="264" y="443"/>
                  </a:lnTo>
                  <a:lnTo>
                    <a:pt x="270" y="441"/>
                  </a:lnTo>
                  <a:lnTo>
                    <a:pt x="275" y="439"/>
                  </a:lnTo>
                  <a:lnTo>
                    <a:pt x="283" y="437"/>
                  </a:lnTo>
                  <a:lnTo>
                    <a:pt x="290" y="437"/>
                  </a:lnTo>
                  <a:lnTo>
                    <a:pt x="298" y="439"/>
                  </a:lnTo>
                  <a:lnTo>
                    <a:pt x="305" y="443"/>
                  </a:lnTo>
                  <a:lnTo>
                    <a:pt x="309" y="450"/>
                  </a:lnTo>
                  <a:lnTo>
                    <a:pt x="309" y="450"/>
                  </a:lnTo>
                  <a:lnTo>
                    <a:pt x="314" y="462"/>
                  </a:lnTo>
                  <a:lnTo>
                    <a:pt x="320" y="465"/>
                  </a:lnTo>
                  <a:lnTo>
                    <a:pt x="324" y="465"/>
                  </a:lnTo>
                  <a:lnTo>
                    <a:pt x="329" y="463"/>
                  </a:lnTo>
                  <a:lnTo>
                    <a:pt x="335" y="460"/>
                  </a:lnTo>
                  <a:lnTo>
                    <a:pt x="341" y="458"/>
                  </a:lnTo>
                  <a:lnTo>
                    <a:pt x="348" y="456"/>
                  </a:lnTo>
                  <a:lnTo>
                    <a:pt x="357" y="460"/>
                  </a:lnTo>
                  <a:lnTo>
                    <a:pt x="357" y="460"/>
                  </a:lnTo>
                  <a:lnTo>
                    <a:pt x="365" y="462"/>
                  </a:lnTo>
                  <a:lnTo>
                    <a:pt x="371" y="462"/>
                  </a:lnTo>
                  <a:lnTo>
                    <a:pt x="378" y="460"/>
                  </a:lnTo>
                  <a:lnTo>
                    <a:pt x="378" y="462"/>
                  </a:lnTo>
                  <a:lnTo>
                    <a:pt x="380" y="467"/>
                  </a:lnTo>
                  <a:lnTo>
                    <a:pt x="382" y="495"/>
                  </a:lnTo>
                  <a:lnTo>
                    <a:pt x="382" y="495"/>
                  </a:lnTo>
                  <a:lnTo>
                    <a:pt x="384" y="503"/>
                  </a:lnTo>
                  <a:lnTo>
                    <a:pt x="387" y="508"/>
                  </a:lnTo>
                  <a:lnTo>
                    <a:pt x="393" y="512"/>
                  </a:lnTo>
                  <a:lnTo>
                    <a:pt x="399" y="514"/>
                  </a:lnTo>
                  <a:lnTo>
                    <a:pt x="408" y="518"/>
                  </a:lnTo>
                  <a:lnTo>
                    <a:pt x="412" y="521"/>
                  </a:lnTo>
                  <a:lnTo>
                    <a:pt x="413" y="525"/>
                  </a:lnTo>
                  <a:lnTo>
                    <a:pt x="413" y="525"/>
                  </a:lnTo>
                  <a:lnTo>
                    <a:pt x="413" y="549"/>
                  </a:lnTo>
                  <a:lnTo>
                    <a:pt x="413" y="553"/>
                  </a:lnTo>
                  <a:lnTo>
                    <a:pt x="415" y="555"/>
                  </a:lnTo>
                  <a:lnTo>
                    <a:pt x="417" y="549"/>
                  </a:lnTo>
                  <a:lnTo>
                    <a:pt x="423" y="542"/>
                  </a:lnTo>
                  <a:lnTo>
                    <a:pt x="423" y="542"/>
                  </a:lnTo>
                  <a:lnTo>
                    <a:pt x="427" y="540"/>
                  </a:lnTo>
                  <a:lnTo>
                    <a:pt x="428" y="540"/>
                  </a:lnTo>
                  <a:lnTo>
                    <a:pt x="430" y="551"/>
                  </a:lnTo>
                  <a:lnTo>
                    <a:pt x="432" y="557"/>
                  </a:lnTo>
                  <a:lnTo>
                    <a:pt x="436" y="564"/>
                  </a:lnTo>
                  <a:lnTo>
                    <a:pt x="442" y="570"/>
                  </a:lnTo>
                  <a:lnTo>
                    <a:pt x="451" y="574"/>
                  </a:lnTo>
                  <a:lnTo>
                    <a:pt x="451" y="574"/>
                  </a:lnTo>
                  <a:lnTo>
                    <a:pt x="456" y="576"/>
                  </a:lnTo>
                  <a:lnTo>
                    <a:pt x="460" y="579"/>
                  </a:lnTo>
                  <a:lnTo>
                    <a:pt x="464" y="585"/>
                  </a:lnTo>
                  <a:lnTo>
                    <a:pt x="468" y="585"/>
                  </a:lnTo>
                  <a:lnTo>
                    <a:pt x="471" y="581"/>
                  </a:lnTo>
                  <a:lnTo>
                    <a:pt x="475" y="572"/>
                  </a:lnTo>
                  <a:lnTo>
                    <a:pt x="481" y="557"/>
                  </a:lnTo>
                  <a:lnTo>
                    <a:pt x="481" y="557"/>
                  </a:lnTo>
                  <a:lnTo>
                    <a:pt x="483" y="553"/>
                  </a:lnTo>
                  <a:lnTo>
                    <a:pt x="486" y="549"/>
                  </a:lnTo>
                  <a:lnTo>
                    <a:pt x="490" y="548"/>
                  </a:lnTo>
                  <a:lnTo>
                    <a:pt x="494" y="544"/>
                  </a:lnTo>
                  <a:lnTo>
                    <a:pt x="494" y="544"/>
                  </a:lnTo>
                  <a:lnTo>
                    <a:pt x="496" y="536"/>
                  </a:lnTo>
                  <a:lnTo>
                    <a:pt x="499" y="533"/>
                  </a:lnTo>
                  <a:lnTo>
                    <a:pt x="499" y="529"/>
                  </a:lnTo>
                  <a:lnTo>
                    <a:pt x="494" y="523"/>
                  </a:lnTo>
                  <a:lnTo>
                    <a:pt x="494" y="523"/>
                  </a:lnTo>
                  <a:lnTo>
                    <a:pt x="492" y="518"/>
                  </a:lnTo>
                  <a:lnTo>
                    <a:pt x="494" y="512"/>
                  </a:lnTo>
                  <a:lnTo>
                    <a:pt x="496" y="508"/>
                  </a:lnTo>
                  <a:lnTo>
                    <a:pt x="499" y="505"/>
                  </a:lnTo>
                  <a:lnTo>
                    <a:pt x="499" y="505"/>
                  </a:lnTo>
                  <a:lnTo>
                    <a:pt x="499" y="503"/>
                  </a:lnTo>
                  <a:lnTo>
                    <a:pt x="499" y="503"/>
                  </a:lnTo>
                  <a:lnTo>
                    <a:pt x="498" y="499"/>
                  </a:lnTo>
                  <a:lnTo>
                    <a:pt x="496" y="495"/>
                  </a:lnTo>
                  <a:lnTo>
                    <a:pt x="494" y="490"/>
                  </a:lnTo>
                  <a:lnTo>
                    <a:pt x="494" y="490"/>
                  </a:lnTo>
                  <a:lnTo>
                    <a:pt x="494" y="482"/>
                  </a:lnTo>
                  <a:lnTo>
                    <a:pt x="496" y="477"/>
                  </a:lnTo>
                  <a:lnTo>
                    <a:pt x="499" y="465"/>
                  </a:lnTo>
                  <a:lnTo>
                    <a:pt x="501" y="462"/>
                  </a:lnTo>
                  <a:lnTo>
                    <a:pt x="501" y="456"/>
                  </a:lnTo>
                  <a:lnTo>
                    <a:pt x="498" y="450"/>
                  </a:lnTo>
                  <a:lnTo>
                    <a:pt x="494" y="447"/>
                  </a:lnTo>
                  <a:lnTo>
                    <a:pt x="494" y="447"/>
                  </a:lnTo>
                  <a:lnTo>
                    <a:pt x="490" y="443"/>
                  </a:lnTo>
                  <a:lnTo>
                    <a:pt x="490" y="443"/>
                  </a:lnTo>
                  <a:lnTo>
                    <a:pt x="486" y="439"/>
                  </a:lnTo>
                  <a:lnTo>
                    <a:pt x="483" y="435"/>
                  </a:lnTo>
                  <a:lnTo>
                    <a:pt x="481" y="424"/>
                  </a:lnTo>
                  <a:lnTo>
                    <a:pt x="477" y="415"/>
                  </a:lnTo>
                  <a:lnTo>
                    <a:pt x="473" y="411"/>
                  </a:lnTo>
                  <a:lnTo>
                    <a:pt x="470" y="409"/>
                  </a:lnTo>
                  <a:lnTo>
                    <a:pt x="470" y="409"/>
                  </a:lnTo>
                  <a:lnTo>
                    <a:pt x="464" y="407"/>
                  </a:lnTo>
                  <a:lnTo>
                    <a:pt x="458" y="404"/>
                  </a:lnTo>
                  <a:lnTo>
                    <a:pt x="453" y="398"/>
                  </a:lnTo>
                  <a:lnTo>
                    <a:pt x="449" y="391"/>
                  </a:lnTo>
                  <a:lnTo>
                    <a:pt x="443" y="376"/>
                  </a:lnTo>
                  <a:lnTo>
                    <a:pt x="438" y="370"/>
                  </a:lnTo>
                  <a:lnTo>
                    <a:pt x="432" y="364"/>
                  </a:lnTo>
                  <a:lnTo>
                    <a:pt x="432" y="36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8" name="Line 68">
              <a:extLst>
                <a:ext uri="{FF2B5EF4-FFF2-40B4-BE49-F238E27FC236}">
                  <a16:creationId xmlns:a16="http://schemas.microsoft.com/office/drawing/2014/main" id="{D773C00E-4BCB-4791-B1BE-F228A4870A99}"/>
                </a:ext>
              </a:extLst>
            </p:cNvPr>
            <p:cNvSpPr>
              <a:spLocks noChangeShapeType="1"/>
            </p:cNvSpPr>
            <p:nvPr/>
          </p:nvSpPr>
          <p:spPr bwMode="auto">
            <a:xfrm>
              <a:off x="5102464" y="4524714"/>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9" name="Freeform 69">
              <a:extLst>
                <a:ext uri="{FF2B5EF4-FFF2-40B4-BE49-F238E27FC236}">
                  <a16:creationId xmlns:a16="http://schemas.microsoft.com/office/drawing/2014/main" id="{46C4A59B-8ADE-41F6-A541-CF9828B68F5D}"/>
                </a:ext>
              </a:extLst>
            </p:cNvPr>
            <p:cNvSpPr>
              <a:spLocks/>
            </p:cNvSpPr>
            <p:nvPr/>
          </p:nvSpPr>
          <p:spPr bwMode="auto">
            <a:xfrm>
              <a:off x="4739132" y="4501097"/>
              <a:ext cx="557716" cy="530465"/>
            </a:xfrm>
            <a:custGeom>
              <a:avLst/>
              <a:gdLst/>
              <a:ahLst/>
              <a:cxnLst>
                <a:cxn ang="0">
                  <a:pos x="423" y="346"/>
                </a:cxn>
                <a:cxn ang="0">
                  <a:pos x="406" y="355"/>
                </a:cxn>
                <a:cxn ang="0">
                  <a:pos x="406" y="331"/>
                </a:cxn>
                <a:cxn ang="0">
                  <a:pos x="412" y="284"/>
                </a:cxn>
                <a:cxn ang="0">
                  <a:pos x="399" y="258"/>
                </a:cxn>
                <a:cxn ang="0">
                  <a:pos x="440" y="249"/>
                </a:cxn>
                <a:cxn ang="0">
                  <a:pos x="464" y="234"/>
                </a:cxn>
                <a:cxn ang="0">
                  <a:pos x="496" y="245"/>
                </a:cxn>
                <a:cxn ang="0">
                  <a:pos x="546" y="215"/>
                </a:cxn>
                <a:cxn ang="0">
                  <a:pos x="582" y="196"/>
                </a:cxn>
                <a:cxn ang="0">
                  <a:pos x="610" y="168"/>
                </a:cxn>
                <a:cxn ang="0">
                  <a:pos x="606" y="125"/>
                </a:cxn>
                <a:cxn ang="0">
                  <a:pos x="569" y="97"/>
                </a:cxn>
                <a:cxn ang="0">
                  <a:pos x="559" y="80"/>
                </a:cxn>
                <a:cxn ang="0">
                  <a:pos x="535" y="75"/>
                </a:cxn>
                <a:cxn ang="0">
                  <a:pos x="485" y="52"/>
                </a:cxn>
                <a:cxn ang="0">
                  <a:pos x="449" y="34"/>
                </a:cxn>
                <a:cxn ang="0">
                  <a:pos x="397" y="0"/>
                </a:cxn>
                <a:cxn ang="0">
                  <a:pos x="397" y="26"/>
                </a:cxn>
                <a:cxn ang="0">
                  <a:pos x="385" y="49"/>
                </a:cxn>
                <a:cxn ang="0">
                  <a:pos x="410" y="79"/>
                </a:cxn>
                <a:cxn ang="0">
                  <a:pos x="382" y="103"/>
                </a:cxn>
                <a:cxn ang="0">
                  <a:pos x="326" y="200"/>
                </a:cxn>
                <a:cxn ang="0">
                  <a:pos x="285" y="200"/>
                </a:cxn>
                <a:cxn ang="0">
                  <a:pos x="270" y="249"/>
                </a:cxn>
                <a:cxn ang="0">
                  <a:pos x="214" y="308"/>
                </a:cxn>
                <a:cxn ang="0">
                  <a:pos x="174" y="282"/>
                </a:cxn>
                <a:cxn ang="0">
                  <a:pos x="148" y="275"/>
                </a:cxn>
                <a:cxn ang="0">
                  <a:pos x="114" y="269"/>
                </a:cxn>
                <a:cxn ang="0">
                  <a:pos x="64" y="260"/>
                </a:cxn>
                <a:cxn ang="0">
                  <a:pos x="51" y="295"/>
                </a:cxn>
                <a:cxn ang="0">
                  <a:pos x="64" y="323"/>
                </a:cxn>
                <a:cxn ang="0">
                  <a:pos x="25" y="406"/>
                </a:cxn>
                <a:cxn ang="0">
                  <a:pos x="57" y="420"/>
                </a:cxn>
                <a:cxn ang="0">
                  <a:pos x="75" y="458"/>
                </a:cxn>
                <a:cxn ang="0">
                  <a:pos x="126" y="486"/>
                </a:cxn>
                <a:cxn ang="0">
                  <a:pos x="128" y="523"/>
                </a:cxn>
                <a:cxn ang="0">
                  <a:pos x="152" y="508"/>
                </a:cxn>
                <a:cxn ang="0">
                  <a:pos x="165" y="503"/>
                </a:cxn>
                <a:cxn ang="0">
                  <a:pos x="172" y="529"/>
                </a:cxn>
                <a:cxn ang="0">
                  <a:pos x="195" y="497"/>
                </a:cxn>
                <a:cxn ang="0">
                  <a:pos x="206" y="488"/>
                </a:cxn>
                <a:cxn ang="0">
                  <a:pos x="232" y="482"/>
                </a:cxn>
                <a:cxn ang="0">
                  <a:pos x="264" y="473"/>
                </a:cxn>
                <a:cxn ang="0">
                  <a:pos x="264" y="443"/>
                </a:cxn>
                <a:cxn ang="0">
                  <a:pos x="305" y="443"/>
                </a:cxn>
                <a:cxn ang="0">
                  <a:pos x="329" y="463"/>
                </a:cxn>
                <a:cxn ang="0">
                  <a:pos x="365" y="462"/>
                </a:cxn>
                <a:cxn ang="0">
                  <a:pos x="382" y="495"/>
                </a:cxn>
                <a:cxn ang="0">
                  <a:pos x="412" y="521"/>
                </a:cxn>
                <a:cxn ang="0">
                  <a:pos x="417" y="549"/>
                </a:cxn>
                <a:cxn ang="0">
                  <a:pos x="432" y="557"/>
                </a:cxn>
                <a:cxn ang="0">
                  <a:pos x="460" y="579"/>
                </a:cxn>
                <a:cxn ang="0">
                  <a:pos x="481" y="557"/>
                </a:cxn>
                <a:cxn ang="0">
                  <a:pos x="496" y="536"/>
                </a:cxn>
                <a:cxn ang="0">
                  <a:pos x="494" y="512"/>
                </a:cxn>
                <a:cxn ang="0">
                  <a:pos x="498" y="499"/>
                </a:cxn>
                <a:cxn ang="0">
                  <a:pos x="499" y="465"/>
                </a:cxn>
                <a:cxn ang="0">
                  <a:pos x="490" y="443"/>
                </a:cxn>
                <a:cxn ang="0">
                  <a:pos x="473" y="411"/>
                </a:cxn>
                <a:cxn ang="0">
                  <a:pos x="449" y="391"/>
                </a:cxn>
              </a:cxnLst>
              <a:rect l="0" t="0" r="r" b="b"/>
              <a:pathLst>
                <a:path w="613" h="585">
                  <a:moveTo>
                    <a:pt x="432" y="364"/>
                  </a:moveTo>
                  <a:lnTo>
                    <a:pt x="432" y="364"/>
                  </a:lnTo>
                  <a:lnTo>
                    <a:pt x="430" y="361"/>
                  </a:lnTo>
                  <a:lnTo>
                    <a:pt x="428" y="357"/>
                  </a:lnTo>
                  <a:lnTo>
                    <a:pt x="425" y="348"/>
                  </a:lnTo>
                  <a:lnTo>
                    <a:pt x="423" y="346"/>
                  </a:lnTo>
                  <a:lnTo>
                    <a:pt x="421" y="344"/>
                  </a:lnTo>
                  <a:lnTo>
                    <a:pt x="419" y="344"/>
                  </a:lnTo>
                  <a:lnTo>
                    <a:pt x="415" y="348"/>
                  </a:lnTo>
                  <a:lnTo>
                    <a:pt x="415" y="348"/>
                  </a:lnTo>
                  <a:lnTo>
                    <a:pt x="410" y="353"/>
                  </a:lnTo>
                  <a:lnTo>
                    <a:pt x="406" y="355"/>
                  </a:lnTo>
                  <a:lnTo>
                    <a:pt x="402" y="355"/>
                  </a:lnTo>
                  <a:lnTo>
                    <a:pt x="400" y="353"/>
                  </a:lnTo>
                  <a:lnTo>
                    <a:pt x="399" y="349"/>
                  </a:lnTo>
                  <a:lnTo>
                    <a:pt x="399" y="344"/>
                  </a:lnTo>
                  <a:lnTo>
                    <a:pt x="400" y="338"/>
                  </a:lnTo>
                  <a:lnTo>
                    <a:pt x="406" y="331"/>
                  </a:lnTo>
                  <a:lnTo>
                    <a:pt x="406" y="331"/>
                  </a:lnTo>
                  <a:lnTo>
                    <a:pt x="410" y="327"/>
                  </a:lnTo>
                  <a:lnTo>
                    <a:pt x="412" y="320"/>
                  </a:lnTo>
                  <a:lnTo>
                    <a:pt x="413" y="305"/>
                  </a:lnTo>
                  <a:lnTo>
                    <a:pt x="413" y="290"/>
                  </a:lnTo>
                  <a:lnTo>
                    <a:pt x="412" y="284"/>
                  </a:lnTo>
                  <a:lnTo>
                    <a:pt x="410" y="278"/>
                  </a:lnTo>
                  <a:lnTo>
                    <a:pt x="410" y="278"/>
                  </a:lnTo>
                  <a:lnTo>
                    <a:pt x="402" y="271"/>
                  </a:lnTo>
                  <a:lnTo>
                    <a:pt x="397" y="264"/>
                  </a:lnTo>
                  <a:lnTo>
                    <a:pt x="397" y="262"/>
                  </a:lnTo>
                  <a:lnTo>
                    <a:pt x="399" y="258"/>
                  </a:lnTo>
                  <a:lnTo>
                    <a:pt x="402" y="254"/>
                  </a:lnTo>
                  <a:lnTo>
                    <a:pt x="410" y="250"/>
                  </a:lnTo>
                  <a:lnTo>
                    <a:pt x="410" y="250"/>
                  </a:lnTo>
                  <a:lnTo>
                    <a:pt x="419" y="247"/>
                  </a:lnTo>
                  <a:lnTo>
                    <a:pt x="427" y="247"/>
                  </a:lnTo>
                  <a:lnTo>
                    <a:pt x="440" y="249"/>
                  </a:lnTo>
                  <a:lnTo>
                    <a:pt x="443" y="249"/>
                  </a:lnTo>
                  <a:lnTo>
                    <a:pt x="449" y="247"/>
                  </a:lnTo>
                  <a:lnTo>
                    <a:pt x="453" y="245"/>
                  </a:lnTo>
                  <a:lnTo>
                    <a:pt x="458" y="237"/>
                  </a:lnTo>
                  <a:lnTo>
                    <a:pt x="458" y="237"/>
                  </a:lnTo>
                  <a:lnTo>
                    <a:pt x="464" y="234"/>
                  </a:lnTo>
                  <a:lnTo>
                    <a:pt x="468" y="232"/>
                  </a:lnTo>
                  <a:lnTo>
                    <a:pt x="473" y="234"/>
                  </a:lnTo>
                  <a:lnTo>
                    <a:pt x="479" y="237"/>
                  </a:lnTo>
                  <a:lnTo>
                    <a:pt x="479" y="237"/>
                  </a:lnTo>
                  <a:lnTo>
                    <a:pt x="486" y="243"/>
                  </a:lnTo>
                  <a:lnTo>
                    <a:pt x="496" y="245"/>
                  </a:lnTo>
                  <a:lnTo>
                    <a:pt x="503" y="245"/>
                  </a:lnTo>
                  <a:lnTo>
                    <a:pt x="511" y="243"/>
                  </a:lnTo>
                  <a:lnTo>
                    <a:pt x="516" y="241"/>
                  </a:lnTo>
                  <a:lnTo>
                    <a:pt x="524" y="236"/>
                  </a:lnTo>
                  <a:lnTo>
                    <a:pt x="535" y="226"/>
                  </a:lnTo>
                  <a:lnTo>
                    <a:pt x="546" y="215"/>
                  </a:lnTo>
                  <a:lnTo>
                    <a:pt x="557" y="204"/>
                  </a:lnTo>
                  <a:lnTo>
                    <a:pt x="563" y="200"/>
                  </a:lnTo>
                  <a:lnTo>
                    <a:pt x="569" y="198"/>
                  </a:lnTo>
                  <a:lnTo>
                    <a:pt x="574" y="196"/>
                  </a:lnTo>
                  <a:lnTo>
                    <a:pt x="582" y="196"/>
                  </a:lnTo>
                  <a:lnTo>
                    <a:pt x="582" y="196"/>
                  </a:lnTo>
                  <a:lnTo>
                    <a:pt x="591" y="198"/>
                  </a:lnTo>
                  <a:lnTo>
                    <a:pt x="597" y="198"/>
                  </a:lnTo>
                  <a:lnTo>
                    <a:pt x="602" y="194"/>
                  </a:lnTo>
                  <a:lnTo>
                    <a:pt x="604" y="189"/>
                  </a:lnTo>
                  <a:lnTo>
                    <a:pt x="608" y="176"/>
                  </a:lnTo>
                  <a:lnTo>
                    <a:pt x="610" y="168"/>
                  </a:lnTo>
                  <a:lnTo>
                    <a:pt x="612" y="161"/>
                  </a:lnTo>
                  <a:lnTo>
                    <a:pt x="612" y="161"/>
                  </a:lnTo>
                  <a:lnTo>
                    <a:pt x="613" y="153"/>
                  </a:lnTo>
                  <a:lnTo>
                    <a:pt x="613" y="148"/>
                  </a:lnTo>
                  <a:lnTo>
                    <a:pt x="612" y="136"/>
                  </a:lnTo>
                  <a:lnTo>
                    <a:pt x="606" y="125"/>
                  </a:lnTo>
                  <a:lnTo>
                    <a:pt x="599" y="116"/>
                  </a:lnTo>
                  <a:lnTo>
                    <a:pt x="589" y="108"/>
                  </a:lnTo>
                  <a:lnTo>
                    <a:pt x="582" y="103"/>
                  </a:lnTo>
                  <a:lnTo>
                    <a:pt x="574" y="97"/>
                  </a:lnTo>
                  <a:lnTo>
                    <a:pt x="569" y="97"/>
                  </a:lnTo>
                  <a:lnTo>
                    <a:pt x="569" y="97"/>
                  </a:lnTo>
                  <a:lnTo>
                    <a:pt x="561" y="97"/>
                  </a:lnTo>
                  <a:lnTo>
                    <a:pt x="561" y="97"/>
                  </a:lnTo>
                  <a:lnTo>
                    <a:pt x="561" y="95"/>
                  </a:lnTo>
                  <a:lnTo>
                    <a:pt x="563" y="92"/>
                  </a:lnTo>
                  <a:lnTo>
                    <a:pt x="561" y="88"/>
                  </a:lnTo>
                  <a:lnTo>
                    <a:pt x="559" y="80"/>
                  </a:lnTo>
                  <a:lnTo>
                    <a:pt x="559" y="80"/>
                  </a:lnTo>
                  <a:lnTo>
                    <a:pt x="557" y="79"/>
                  </a:lnTo>
                  <a:lnTo>
                    <a:pt x="554" y="77"/>
                  </a:lnTo>
                  <a:lnTo>
                    <a:pt x="546" y="75"/>
                  </a:lnTo>
                  <a:lnTo>
                    <a:pt x="546" y="75"/>
                  </a:lnTo>
                  <a:lnTo>
                    <a:pt x="535" y="75"/>
                  </a:lnTo>
                  <a:lnTo>
                    <a:pt x="520" y="75"/>
                  </a:lnTo>
                  <a:lnTo>
                    <a:pt x="511" y="73"/>
                  </a:lnTo>
                  <a:lnTo>
                    <a:pt x="503" y="69"/>
                  </a:lnTo>
                  <a:lnTo>
                    <a:pt x="494" y="64"/>
                  </a:lnTo>
                  <a:lnTo>
                    <a:pt x="485" y="52"/>
                  </a:lnTo>
                  <a:lnTo>
                    <a:pt x="485" y="52"/>
                  </a:lnTo>
                  <a:lnTo>
                    <a:pt x="479" y="45"/>
                  </a:lnTo>
                  <a:lnTo>
                    <a:pt x="475" y="43"/>
                  </a:lnTo>
                  <a:lnTo>
                    <a:pt x="464" y="39"/>
                  </a:lnTo>
                  <a:lnTo>
                    <a:pt x="464" y="39"/>
                  </a:lnTo>
                  <a:lnTo>
                    <a:pt x="453" y="36"/>
                  </a:lnTo>
                  <a:lnTo>
                    <a:pt x="449" y="34"/>
                  </a:lnTo>
                  <a:lnTo>
                    <a:pt x="447" y="30"/>
                  </a:lnTo>
                  <a:lnTo>
                    <a:pt x="447" y="26"/>
                  </a:lnTo>
                  <a:lnTo>
                    <a:pt x="443" y="22"/>
                  </a:lnTo>
                  <a:lnTo>
                    <a:pt x="436" y="17"/>
                  </a:lnTo>
                  <a:lnTo>
                    <a:pt x="421" y="9"/>
                  </a:lnTo>
                  <a:lnTo>
                    <a:pt x="397" y="0"/>
                  </a:lnTo>
                  <a:lnTo>
                    <a:pt x="397" y="0"/>
                  </a:lnTo>
                  <a:lnTo>
                    <a:pt x="399" y="19"/>
                  </a:lnTo>
                  <a:lnTo>
                    <a:pt x="400" y="26"/>
                  </a:lnTo>
                  <a:lnTo>
                    <a:pt x="400" y="26"/>
                  </a:lnTo>
                  <a:lnTo>
                    <a:pt x="399" y="24"/>
                  </a:lnTo>
                  <a:lnTo>
                    <a:pt x="397" y="26"/>
                  </a:lnTo>
                  <a:lnTo>
                    <a:pt x="391" y="30"/>
                  </a:lnTo>
                  <a:lnTo>
                    <a:pt x="385" y="37"/>
                  </a:lnTo>
                  <a:lnTo>
                    <a:pt x="385" y="37"/>
                  </a:lnTo>
                  <a:lnTo>
                    <a:pt x="384" y="41"/>
                  </a:lnTo>
                  <a:lnTo>
                    <a:pt x="384" y="45"/>
                  </a:lnTo>
                  <a:lnTo>
                    <a:pt x="385" y="49"/>
                  </a:lnTo>
                  <a:lnTo>
                    <a:pt x="387" y="51"/>
                  </a:lnTo>
                  <a:lnTo>
                    <a:pt x="402" y="62"/>
                  </a:lnTo>
                  <a:lnTo>
                    <a:pt x="408" y="67"/>
                  </a:lnTo>
                  <a:lnTo>
                    <a:pt x="410" y="71"/>
                  </a:lnTo>
                  <a:lnTo>
                    <a:pt x="410" y="75"/>
                  </a:lnTo>
                  <a:lnTo>
                    <a:pt x="410" y="79"/>
                  </a:lnTo>
                  <a:lnTo>
                    <a:pt x="406" y="84"/>
                  </a:lnTo>
                  <a:lnTo>
                    <a:pt x="399" y="88"/>
                  </a:lnTo>
                  <a:lnTo>
                    <a:pt x="391" y="93"/>
                  </a:lnTo>
                  <a:lnTo>
                    <a:pt x="391" y="93"/>
                  </a:lnTo>
                  <a:lnTo>
                    <a:pt x="385" y="97"/>
                  </a:lnTo>
                  <a:lnTo>
                    <a:pt x="382" y="103"/>
                  </a:lnTo>
                  <a:lnTo>
                    <a:pt x="372" y="116"/>
                  </a:lnTo>
                  <a:lnTo>
                    <a:pt x="356" y="153"/>
                  </a:lnTo>
                  <a:lnTo>
                    <a:pt x="339" y="185"/>
                  </a:lnTo>
                  <a:lnTo>
                    <a:pt x="331" y="196"/>
                  </a:lnTo>
                  <a:lnTo>
                    <a:pt x="329" y="200"/>
                  </a:lnTo>
                  <a:lnTo>
                    <a:pt x="326" y="200"/>
                  </a:lnTo>
                  <a:lnTo>
                    <a:pt x="326" y="200"/>
                  </a:lnTo>
                  <a:lnTo>
                    <a:pt x="316" y="200"/>
                  </a:lnTo>
                  <a:lnTo>
                    <a:pt x="307" y="198"/>
                  </a:lnTo>
                  <a:lnTo>
                    <a:pt x="298" y="196"/>
                  </a:lnTo>
                  <a:lnTo>
                    <a:pt x="290" y="198"/>
                  </a:lnTo>
                  <a:lnTo>
                    <a:pt x="285" y="200"/>
                  </a:lnTo>
                  <a:lnTo>
                    <a:pt x="279" y="206"/>
                  </a:lnTo>
                  <a:lnTo>
                    <a:pt x="277" y="217"/>
                  </a:lnTo>
                  <a:lnTo>
                    <a:pt x="275" y="234"/>
                  </a:lnTo>
                  <a:lnTo>
                    <a:pt x="275" y="234"/>
                  </a:lnTo>
                  <a:lnTo>
                    <a:pt x="273" y="239"/>
                  </a:lnTo>
                  <a:lnTo>
                    <a:pt x="270" y="249"/>
                  </a:lnTo>
                  <a:lnTo>
                    <a:pt x="255" y="273"/>
                  </a:lnTo>
                  <a:lnTo>
                    <a:pt x="238" y="297"/>
                  </a:lnTo>
                  <a:lnTo>
                    <a:pt x="230" y="305"/>
                  </a:lnTo>
                  <a:lnTo>
                    <a:pt x="223" y="307"/>
                  </a:lnTo>
                  <a:lnTo>
                    <a:pt x="223" y="307"/>
                  </a:lnTo>
                  <a:lnTo>
                    <a:pt x="214" y="308"/>
                  </a:lnTo>
                  <a:lnTo>
                    <a:pt x="204" y="307"/>
                  </a:lnTo>
                  <a:lnTo>
                    <a:pt x="197" y="305"/>
                  </a:lnTo>
                  <a:lnTo>
                    <a:pt x="189" y="301"/>
                  </a:lnTo>
                  <a:lnTo>
                    <a:pt x="185" y="297"/>
                  </a:lnTo>
                  <a:lnTo>
                    <a:pt x="180" y="293"/>
                  </a:lnTo>
                  <a:lnTo>
                    <a:pt x="174" y="282"/>
                  </a:lnTo>
                  <a:lnTo>
                    <a:pt x="169" y="273"/>
                  </a:lnTo>
                  <a:lnTo>
                    <a:pt x="163" y="267"/>
                  </a:lnTo>
                  <a:lnTo>
                    <a:pt x="159" y="267"/>
                  </a:lnTo>
                  <a:lnTo>
                    <a:pt x="157" y="267"/>
                  </a:lnTo>
                  <a:lnTo>
                    <a:pt x="152" y="269"/>
                  </a:lnTo>
                  <a:lnTo>
                    <a:pt x="148" y="275"/>
                  </a:lnTo>
                  <a:lnTo>
                    <a:pt x="148" y="275"/>
                  </a:lnTo>
                  <a:lnTo>
                    <a:pt x="143" y="278"/>
                  </a:lnTo>
                  <a:lnTo>
                    <a:pt x="137" y="280"/>
                  </a:lnTo>
                  <a:lnTo>
                    <a:pt x="131" y="280"/>
                  </a:lnTo>
                  <a:lnTo>
                    <a:pt x="126" y="277"/>
                  </a:lnTo>
                  <a:lnTo>
                    <a:pt x="114" y="269"/>
                  </a:lnTo>
                  <a:lnTo>
                    <a:pt x="101" y="262"/>
                  </a:lnTo>
                  <a:lnTo>
                    <a:pt x="90" y="254"/>
                  </a:lnTo>
                  <a:lnTo>
                    <a:pt x="85" y="252"/>
                  </a:lnTo>
                  <a:lnTo>
                    <a:pt x="77" y="252"/>
                  </a:lnTo>
                  <a:lnTo>
                    <a:pt x="71" y="256"/>
                  </a:lnTo>
                  <a:lnTo>
                    <a:pt x="64" y="260"/>
                  </a:lnTo>
                  <a:lnTo>
                    <a:pt x="58" y="269"/>
                  </a:lnTo>
                  <a:lnTo>
                    <a:pt x="51" y="280"/>
                  </a:lnTo>
                  <a:lnTo>
                    <a:pt x="51" y="280"/>
                  </a:lnTo>
                  <a:lnTo>
                    <a:pt x="49" y="284"/>
                  </a:lnTo>
                  <a:lnTo>
                    <a:pt x="49" y="290"/>
                  </a:lnTo>
                  <a:lnTo>
                    <a:pt x="51" y="295"/>
                  </a:lnTo>
                  <a:lnTo>
                    <a:pt x="57" y="301"/>
                  </a:lnTo>
                  <a:lnTo>
                    <a:pt x="62" y="307"/>
                  </a:lnTo>
                  <a:lnTo>
                    <a:pt x="66" y="312"/>
                  </a:lnTo>
                  <a:lnTo>
                    <a:pt x="66" y="316"/>
                  </a:lnTo>
                  <a:lnTo>
                    <a:pt x="66" y="320"/>
                  </a:lnTo>
                  <a:lnTo>
                    <a:pt x="64" y="323"/>
                  </a:lnTo>
                  <a:lnTo>
                    <a:pt x="60" y="327"/>
                  </a:lnTo>
                  <a:lnTo>
                    <a:pt x="47" y="335"/>
                  </a:lnTo>
                  <a:lnTo>
                    <a:pt x="47" y="335"/>
                  </a:lnTo>
                  <a:lnTo>
                    <a:pt x="21" y="355"/>
                  </a:lnTo>
                  <a:lnTo>
                    <a:pt x="0" y="372"/>
                  </a:lnTo>
                  <a:lnTo>
                    <a:pt x="25" y="406"/>
                  </a:lnTo>
                  <a:lnTo>
                    <a:pt x="25" y="406"/>
                  </a:lnTo>
                  <a:lnTo>
                    <a:pt x="30" y="411"/>
                  </a:lnTo>
                  <a:lnTo>
                    <a:pt x="36" y="413"/>
                  </a:lnTo>
                  <a:lnTo>
                    <a:pt x="47" y="413"/>
                  </a:lnTo>
                  <a:lnTo>
                    <a:pt x="51" y="415"/>
                  </a:lnTo>
                  <a:lnTo>
                    <a:pt x="57" y="420"/>
                  </a:lnTo>
                  <a:lnTo>
                    <a:pt x="60" y="432"/>
                  </a:lnTo>
                  <a:lnTo>
                    <a:pt x="62" y="452"/>
                  </a:lnTo>
                  <a:lnTo>
                    <a:pt x="62" y="452"/>
                  </a:lnTo>
                  <a:lnTo>
                    <a:pt x="64" y="454"/>
                  </a:lnTo>
                  <a:lnTo>
                    <a:pt x="66" y="456"/>
                  </a:lnTo>
                  <a:lnTo>
                    <a:pt x="75" y="458"/>
                  </a:lnTo>
                  <a:lnTo>
                    <a:pt x="86" y="460"/>
                  </a:lnTo>
                  <a:lnTo>
                    <a:pt x="100" y="463"/>
                  </a:lnTo>
                  <a:lnTo>
                    <a:pt x="113" y="467"/>
                  </a:lnTo>
                  <a:lnTo>
                    <a:pt x="118" y="473"/>
                  </a:lnTo>
                  <a:lnTo>
                    <a:pt x="122" y="478"/>
                  </a:lnTo>
                  <a:lnTo>
                    <a:pt x="126" y="486"/>
                  </a:lnTo>
                  <a:lnTo>
                    <a:pt x="129" y="495"/>
                  </a:lnTo>
                  <a:lnTo>
                    <a:pt x="129" y="506"/>
                  </a:lnTo>
                  <a:lnTo>
                    <a:pt x="129" y="520"/>
                  </a:lnTo>
                  <a:lnTo>
                    <a:pt x="129" y="520"/>
                  </a:lnTo>
                  <a:lnTo>
                    <a:pt x="128" y="523"/>
                  </a:lnTo>
                  <a:lnTo>
                    <a:pt x="128" y="523"/>
                  </a:lnTo>
                  <a:lnTo>
                    <a:pt x="137" y="525"/>
                  </a:lnTo>
                  <a:lnTo>
                    <a:pt x="144" y="523"/>
                  </a:lnTo>
                  <a:lnTo>
                    <a:pt x="146" y="521"/>
                  </a:lnTo>
                  <a:lnTo>
                    <a:pt x="150" y="518"/>
                  </a:lnTo>
                  <a:lnTo>
                    <a:pt x="150" y="514"/>
                  </a:lnTo>
                  <a:lnTo>
                    <a:pt x="152" y="508"/>
                  </a:lnTo>
                  <a:lnTo>
                    <a:pt x="152" y="508"/>
                  </a:lnTo>
                  <a:lnTo>
                    <a:pt x="152" y="495"/>
                  </a:lnTo>
                  <a:lnTo>
                    <a:pt x="152" y="490"/>
                  </a:lnTo>
                  <a:lnTo>
                    <a:pt x="156" y="488"/>
                  </a:lnTo>
                  <a:lnTo>
                    <a:pt x="157" y="490"/>
                  </a:lnTo>
                  <a:lnTo>
                    <a:pt x="165" y="503"/>
                  </a:lnTo>
                  <a:lnTo>
                    <a:pt x="167" y="510"/>
                  </a:lnTo>
                  <a:lnTo>
                    <a:pt x="167" y="518"/>
                  </a:lnTo>
                  <a:lnTo>
                    <a:pt x="167" y="518"/>
                  </a:lnTo>
                  <a:lnTo>
                    <a:pt x="169" y="527"/>
                  </a:lnTo>
                  <a:lnTo>
                    <a:pt x="171" y="529"/>
                  </a:lnTo>
                  <a:lnTo>
                    <a:pt x="172" y="529"/>
                  </a:lnTo>
                  <a:lnTo>
                    <a:pt x="176" y="527"/>
                  </a:lnTo>
                  <a:lnTo>
                    <a:pt x="184" y="523"/>
                  </a:lnTo>
                  <a:lnTo>
                    <a:pt x="189" y="516"/>
                  </a:lnTo>
                  <a:lnTo>
                    <a:pt x="193" y="508"/>
                  </a:lnTo>
                  <a:lnTo>
                    <a:pt x="195" y="501"/>
                  </a:lnTo>
                  <a:lnTo>
                    <a:pt x="195" y="497"/>
                  </a:lnTo>
                  <a:lnTo>
                    <a:pt x="195" y="497"/>
                  </a:lnTo>
                  <a:lnTo>
                    <a:pt x="191" y="486"/>
                  </a:lnTo>
                  <a:lnTo>
                    <a:pt x="195" y="488"/>
                  </a:lnTo>
                  <a:lnTo>
                    <a:pt x="197" y="490"/>
                  </a:lnTo>
                  <a:lnTo>
                    <a:pt x="200" y="490"/>
                  </a:lnTo>
                  <a:lnTo>
                    <a:pt x="206" y="488"/>
                  </a:lnTo>
                  <a:lnTo>
                    <a:pt x="212" y="482"/>
                  </a:lnTo>
                  <a:lnTo>
                    <a:pt x="212" y="482"/>
                  </a:lnTo>
                  <a:lnTo>
                    <a:pt x="219" y="477"/>
                  </a:lnTo>
                  <a:lnTo>
                    <a:pt x="225" y="475"/>
                  </a:lnTo>
                  <a:lnTo>
                    <a:pt x="228" y="478"/>
                  </a:lnTo>
                  <a:lnTo>
                    <a:pt x="232" y="482"/>
                  </a:lnTo>
                  <a:lnTo>
                    <a:pt x="238" y="486"/>
                  </a:lnTo>
                  <a:lnTo>
                    <a:pt x="243" y="488"/>
                  </a:lnTo>
                  <a:lnTo>
                    <a:pt x="251" y="486"/>
                  </a:lnTo>
                  <a:lnTo>
                    <a:pt x="260" y="477"/>
                  </a:lnTo>
                  <a:lnTo>
                    <a:pt x="260" y="477"/>
                  </a:lnTo>
                  <a:lnTo>
                    <a:pt x="264" y="473"/>
                  </a:lnTo>
                  <a:lnTo>
                    <a:pt x="266" y="469"/>
                  </a:lnTo>
                  <a:lnTo>
                    <a:pt x="266" y="463"/>
                  </a:lnTo>
                  <a:lnTo>
                    <a:pt x="264" y="456"/>
                  </a:lnTo>
                  <a:lnTo>
                    <a:pt x="262" y="445"/>
                  </a:lnTo>
                  <a:lnTo>
                    <a:pt x="262" y="445"/>
                  </a:lnTo>
                  <a:lnTo>
                    <a:pt x="264" y="443"/>
                  </a:lnTo>
                  <a:lnTo>
                    <a:pt x="270" y="441"/>
                  </a:lnTo>
                  <a:lnTo>
                    <a:pt x="275" y="439"/>
                  </a:lnTo>
                  <a:lnTo>
                    <a:pt x="283" y="437"/>
                  </a:lnTo>
                  <a:lnTo>
                    <a:pt x="290" y="437"/>
                  </a:lnTo>
                  <a:lnTo>
                    <a:pt x="298" y="439"/>
                  </a:lnTo>
                  <a:lnTo>
                    <a:pt x="305" y="443"/>
                  </a:lnTo>
                  <a:lnTo>
                    <a:pt x="309" y="450"/>
                  </a:lnTo>
                  <a:lnTo>
                    <a:pt x="309" y="450"/>
                  </a:lnTo>
                  <a:lnTo>
                    <a:pt x="314" y="462"/>
                  </a:lnTo>
                  <a:lnTo>
                    <a:pt x="320" y="465"/>
                  </a:lnTo>
                  <a:lnTo>
                    <a:pt x="324" y="465"/>
                  </a:lnTo>
                  <a:lnTo>
                    <a:pt x="329" y="463"/>
                  </a:lnTo>
                  <a:lnTo>
                    <a:pt x="335" y="460"/>
                  </a:lnTo>
                  <a:lnTo>
                    <a:pt x="341" y="458"/>
                  </a:lnTo>
                  <a:lnTo>
                    <a:pt x="348" y="456"/>
                  </a:lnTo>
                  <a:lnTo>
                    <a:pt x="357" y="460"/>
                  </a:lnTo>
                  <a:lnTo>
                    <a:pt x="357" y="460"/>
                  </a:lnTo>
                  <a:lnTo>
                    <a:pt x="365" y="462"/>
                  </a:lnTo>
                  <a:lnTo>
                    <a:pt x="371" y="462"/>
                  </a:lnTo>
                  <a:lnTo>
                    <a:pt x="378" y="460"/>
                  </a:lnTo>
                  <a:lnTo>
                    <a:pt x="378" y="462"/>
                  </a:lnTo>
                  <a:lnTo>
                    <a:pt x="380" y="467"/>
                  </a:lnTo>
                  <a:lnTo>
                    <a:pt x="382" y="495"/>
                  </a:lnTo>
                  <a:lnTo>
                    <a:pt x="382" y="495"/>
                  </a:lnTo>
                  <a:lnTo>
                    <a:pt x="384" y="503"/>
                  </a:lnTo>
                  <a:lnTo>
                    <a:pt x="387" y="508"/>
                  </a:lnTo>
                  <a:lnTo>
                    <a:pt x="393" y="512"/>
                  </a:lnTo>
                  <a:lnTo>
                    <a:pt x="399" y="514"/>
                  </a:lnTo>
                  <a:lnTo>
                    <a:pt x="408" y="518"/>
                  </a:lnTo>
                  <a:lnTo>
                    <a:pt x="412" y="521"/>
                  </a:lnTo>
                  <a:lnTo>
                    <a:pt x="413" y="525"/>
                  </a:lnTo>
                  <a:lnTo>
                    <a:pt x="413" y="525"/>
                  </a:lnTo>
                  <a:lnTo>
                    <a:pt x="413" y="549"/>
                  </a:lnTo>
                  <a:lnTo>
                    <a:pt x="413" y="553"/>
                  </a:lnTo>
                  <a:lnTo>
                    <a:pt x="415" y="555"/>
                  </a:lnTo>
                  <a:lnTo>
                    <a:pt x="417" y="549"/>
                  </a:lnTo>
                  <a:lnTo>
                    <a:pt x="423" y="542"/>
                  </a:lnTo>
                  <a:lnTo>
                    <a:pt x="423" y="542"/>
                  </a:lnTo>
                  <a:lnTo>
                    <a:pt x="427" y="540"/>
                  </a:lnTo>
                  <a:lnTo>
                    <a:pt x="428" y="540"/>
                  </a:lnTo>
                  <a:lnTo>
                    <a:pt x="430" y="551"/>
                  </a:lnTo>
                  <a:lnTo>
                    <a:pt x="432" y="557"/>
                  </a:lnTo>
                  <a:lnTo>
                    <a:pt x="436" y="564"/>
                  </a:lnTo>
                  <a:lnTo>
                    <a:pt x="442" y="570"/>
                  </a:lnTo>
                  <a:lnTo>
                    <a:pt x="451" y="574"/>
                  </a:lnTo>
                  <a:lnTo>
                    <a:pt x="451" y="574"/>
                  </a:lnTo>
                  <a:lnTo>
                    <a:pt x="456" y="576"/>
                  </a:lnTo>
                  <a:lnTo>
                    <a:pt x="460" y="579"/>
                  </a:lnTo>
                  <a:lnTo>
                    <a:pt x="464" y="585"/>
                  </a:lnTo>
                  <a:lnTo>
                    <a:pt x="468" y="585"/>
                  </a:lnTo>
                  <a:lnTo>
                    <a:pt x="471" y="581"/>
                  </a:lnTo>
                  <a:lnTo>
                    <a:pt x="475" y="572"/>
                  </a:lnTo>
                  <a:lnTo>
                    <a:pt x="481" y="557"/>
                  </a:lnTo>
                  <a:lnTo>
                    <a:pt x="481" y="557"/>
                  </a:lnTo>
                  <a:lnTo>
                    <a:pt x="483" y="553"/>
                  </a:lnTo>
                  <a:lnTo>
                    <a:pt x="486" y="549"/>
                  </a:lnTo>
                  <a:lnTo>
                    <a:pt x="490" y="548"/>
                  </a:lnTo>
                  <a:lnTo>
                    <a:pt x="494" y="544"/>
                  </a:lnTo>
                  <a:lnTo>
                    <a:pt x="494" y="544"/>
                  </a:lnTo>
                  <a:lnTo>
                    <a:pt x="496" y="536"/>
                  </a:lnTo>
                  <a:lnTo>
                    <a:pt x="499" y="533"/>
                  </a:lnTo>
                  <a:lnTo>
                    <a:pt x="499" y="529"/>
                  </a:lnTo>
                  <a:lnTo>
                    <a:pt x="494" y="523"/>
                  </a:lnTo>
                  <a:lnTo>
                    <a:pt x="494" y="523"/>
                  </a:lnTo>
                  <a:lnTo>
                    <a:pt x="492" y="518"/>
                  </a:lnTo>
                  <a:lnTo>
                    <a:pt x="494" y="512"/>
                  </a:lnTo>
                  <a:lnTo>
                    <a:pt x="496" y="508"/>
                  </a:lnTo>
                  <a:lnTo>
                    <a:pt x="499" y="505"/>
                  </a:lnTo>
                  <a:lnTo>
                    <a:pt x="499" y="505"/>
                  </a:lnTo>
                  <a:lnTo>
                    <a:pt x="499" y="503"/>
                  </a:lnTo>
                  <a:lnTo>
                    <a:pt x="499" y="503"/>
                  </a:lnTo>
                  <a:lnTo>
                    <a:pt x="498" y="499"/>
                  </a:lnTo>
                  <a:lnTo>
                    <a:pt x="496" y="495"/>
                  </a:lnTo>
                  <a:lnTo>
                    <a:pt x="494" y="490"/>
                  </a:lnTo>
                  <a:lnTo>
                    <a:pt x="494" y="490"/>
                  </a:lnTo>
                  <a:lnTo>
                    <a:pt x="494" y="482"/>
                  </a:lnTo>
                  <a:lnTo>
                    <a:pt x="496" y="477"/>
                  </a:lnTo>
                  <a:lnTo>
                    <a:pt x="499" y="465"/>
                  </a:lnTo>
                  <a:lnTo>
                    <a:pt x="501" y="462"/>
                  </a:lnTo>
                  <a:lnTo>
                    <a:pt x="501" y="456"/>
                  </a:lnTo>
                  <a:lnTo>
                    <a:pt x="498" y="450"/>
                  </a:lnTo>
                  <a:lnTo>
                    <a:pt x="494" y="447"/>
                  </a:lnTo>
                  <a:lnTo>
                    <a:pt x="494" y="447"/>
                  </a:lnTo>
                  <a:lnTo>
                    <a:pt x="490" y="443"/>
                  </a:lnTo>
                  <a:lnTo>
                    <a:pt x="490" y="443"/>
                  </a:lnTo>
                  <a:lnTo>
                    <a:pt x="486" y="439"/>
                  </a:lnTo>
                  <a:lnTo>
                    <a:pt x="483" y="435"/>
                  </a:lnTo>
                  <a:lnTo>
                    <a:pt x="481" y="424"/>
                  </a:lnTo>
                  <a:lnTo>
                    <a:pt x="477" y="415"/>
                  </a:lnTo>
                  <a:lnTo>
                    <a:pt x="473" y="411"/>
                  </a:lnTo>
                  <a:lnTo>
                    <a:pt x="470" y="409"/>
                  </a:lnTo>
                  <a:lnTo>
                    <a:pt x="470" y="409"/>
                  </a:lnTo>
                  <a:lnTo>
                    <a:pt x="464" y="407"/>
                  </a:lnTo>
                  <a:lnTo>
                    <a:pt x="458" y="404"/>
                  </a:lnTo>
                  <a:lnTo>
                    <a:pt x="453" y="398"/>
                  </a:lnTo>
                  <a:lnTo>
                    <a:pt x="449" y="391"/>
                  </a:lnTo>
                  <a:lnTo>
                    <a:pt x="443" y="376"/>
                  </a:lnTo>
                  <a:lnTo>
                    <a:pt x="438" y="370"/>
                  </a:lnTo>
                  <a:lnTo>
                    <a:pt x="432" y="364"/>
                  </a:lnTo>
                  <a:lnTo>
                    <a:pt x="432" y="364"/>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0" name="Freeform 70">
              <a:extLst>
                <a:ext uri="{FF2B5EF4-FFF2-40B4-BE49-F238E27FC236}">
                  <a16:creationId xmlns:a16="http://schemas.microsoft.com/office/drawing/2014/main" id="{599FD525-1AAA-474A-ADB6-B22565D407B9}"/>
                </a:ext>
              </a:extLst>
            </p:cNvPr>
            <p:cNvSpPr>
              <a:spLocks/>
            </p:cNvSpPr>
            <p:nvPr/>
          </p:nvSpPr>
          <p:spPr bwMode="auto">
            <a:xfrm>
              <a:off x="5954479" y="3440166"/>
              <a:ext cx="123533" cy="212549"/>
            </a:xfrm>
            <a:custGeom>
              <a:avLst/>
              <a:gdLst/>
              <a:ahLst/>
              <a:cxnLst>
                <a:cxn ang="0">
                  <a:pos x="13" y="174"/>
                </a:cxn>
                <a:cxn ang="0">
                  <a:pos x="1" y="187"/>
                </a:cxn>
                <a:cxn ang="0">
                  <a:pos x="0" y="198"/>
                </a:cxn>
                <a:cxn ang="0">
                  <a:pos x="5" y="210"/>
                </a:cxn>
                <a:cxn ang="0">
                  <a:pos x="18" y="219"/>
                </a:cxn>
                <a:cxn ang="0">
                  <a:pos x="58" y="232"/>
                </a:cxn>
                <a:cxn ang="0">
                  <a:pos x="102" y="234"/>
                </a:cxn>
                <a:cxn ang="0">
                  <a:pos x="100" y="221"/>
                </a:cxn>
                <a:cxn ang="0">
                  <a:pos x="104" y="191"/>
                </a:cxn>
                <a:cxn ang="0">
                  <a:pos x="114" y="161"/>
                </a:cxn>
                <a:cxn ang="0">
                  <a:pos x="129" y="139"/>
                </a:cxn>
                <a:cxn ang="0">
                  <a:pos x="136" y="133"/>
                </a:cxn>
                <a:cxn ang="0">
                  <a:pos x="136" y="127"/>
                </a:cxn>
                <a:cxn ang="0">
                  <a:pos x="130" y="124"/>
                </a:cxn>
                <a:cxn ang="0">
                  <a:pos x="125" y="118"/>
                </a:cxn>
                <a:cxn ang="0">
                  <a:pos x="123" y="109"/>
                </a:cxn>
                <a:cxn ang="0">
                  <a:pos x="129" y="101"/>
                </a:cxn>
                <a:cxn ang="0">
                  <a:pos x="125" y="94"/>
                </a:cxn>
                <a:cxn ang="0">
                  <a:pos x="114" y="92"/>
                </a:cxn>
                <a:cxn ang="0">
                  <a:pos x="97" y="81"/>
                </a:cxn>
                <a:cxn ang="0">
                  <a:pos x="84" y="62"/>
                </a:cxn>
                <a:cxn ang="0">
                  <a:pos x="80" y="43"/>
                </a:cxn>
                <a:cxn ang="0">
                  <a:pos x="86" y="36"/>
                </a:cxn>
                <a:cxn ang="0">
                  <a:pos x="95" y="32"/>
                </a:cxn>
                <a:cxn ang="0">
                  <a:pos x="100" y="30"/>
                </a:cxn>
                <a:cxn ang="0">
                  <a:pos x="97" y="21"/>
                </a:cxn>
                <a:cxn ang="0">
                  <a:pos x="78" y="6"/>
                </a:cxn>
                <a:cxn ang="0">
                  <a:pos x="63" y="0"/>
                </a:cxn>
                <a:cxn ang="0">
                  <a:pos x="48" y="15"/>
                </a:cxn>
                <a:cxn ang="0">
                  <a:pos x="37" y="30"/>
                </a:cxn>
                <a:cxn ang="0">
                  <a:pos x="37" y="39"/>
                </a:cxn>
                <a:cxn ang="0">
                  <a:pos x="39" y="51"/>
                </a:cxn>
                <a:cxn ang="0">
                  <a:pos x="44" y="56"/>
                </a:cxn>
                <a:cxn ang="0">
                  <a:pos x="46" y="64"/>
                </a:cxn>
                <a:cxn ang="0">
                  <a:pos x="46" y="77"/>
                </a:cxn>
                <a:cxn ang="0">
                  <a:pos x="39" y="90"/>
                </a:cxn>
                <a:cxn ang="0">
                  <a:pos x="29" y="90"/>
                </a:cxn>
                <a:cxn ang="0">
                  <a:pos x="15" y="84"/>
                </a:cxn>
                <a:cxn ang="0">
                  <a:pos x="11" y="88"/>
                </a:cxn>
                <a:cxn ang="0">
                  <a:pos x="7" y="99"/>
                </a:cxn>
                <a:cxn ang="0">
                  <a:pos x="9" y="120"/>
                </a:cxn>
                <a:cxn ang="0">
                  <a:pos x="15" y="144"/>
                </a:cxn>
                <a:cxn ang="0">
                  <a:pos x="22" y="159"/>
                </a:cxn>
                <a:cxn ang="0">
                  <a:pos x="18" y="168"/>
                </a:cxn>
                <a:cxn ang="0">
                  <a:pos x="13" y="174"/>
                </a:cxn>
              </a:cxnLst>
              <a:rect l="0" t="0" r="r" b="b"/>
              <a:pathLst>
                <a:path w="136" h="234">
                  <a:moveTo>
                    <a:pt x="13" y="174"/>
                  </a:moveTo>
                  <a:lnTo>
                    <a:pt x="13" y="174"/>
                  </a:lnTo>
                  <a:lnTo>
                    <a:pt x="5" y="180"/>
                  </a:lnTo>
                  <a:lnTo>
                    <a:pt x="1" y="187"/>
                  </a:lnTo>
                  <a:lnTo>
                    <a:pt x="0" y="193"/>
                  </a:lnTo>
                  <a:lnTo>
                    <a:pt x="0" y="198"/>
                  </a:lnTo>
                  <a:lnTo>
                    <a:pt x="1" y="204"/>
                  </a:lnTo>
                  <a:lnTo>
                    <a:pt x="5" y="210"/>
                  </a:lnTo>
                  <a:lnTo>
                    <a:pt x="11" y="215"/>
                  </a:lnTo>
                  <a:lnTo>
                    <a:pt x="18" y="219"/>
                  </a:lnTo>
                  <a:lnTo>
                    <a:pt x="37" y="226"/>
                  </a:lnTo>
                  <a:lnTo>
                    <a:pt x="58" y="232"/>
                  </a:lnTo>
                  <a:lnTo>
                    <a:pt x="80" y="234"/>
                  </a:lnTo>
                  <a:lnTo>
                    <a:pt x="102" y="234"/>
                  </a:lnTo>
                  <a:lnTo>
                    <a:pt x="102" y="234"/>
                  </a:lnTo>
                  <a:lnTo>
                    <a:pt x="100" y="221"/>
                  </a:lnTo>
                  <a:lnTo>
                    <a:pt x="100" y="208"/>
                  </a:lnTo>
                  <a:lnTo>
                    <a:pt x="104" y="191"/>
                  </a:lnTo>
                  <a:lnTo>
                    <a:pt x="108" y="176"/>
                  </a:lnTo>
                  <a:lnTo>
                    <a:pt x="114" y="161"/>
                  </a:lnTo>
                  <a:lnTo>
                    <a:pt x="121" y="148"/>
                  </a:lnTo>
                  <a:lnTo>
                    <a:pt x="129" y="139"/>
                  </a:lnTo>
                  <a:lnTo>
                    <a:pt x="132" y="135"/>
                  </a:lnTo>
                  <a:lnTo>
                    <a:pt x="136" y="133"/>
                  </a:lnTo>
                  <a:lnTo>
                    <a:pt x="136" y="133"/>
                  </a:lnTo>
                  <a:lnTo>
                    <a:pt x="136" y="127"/>
                  </a:lnTo>
                  <a:lnTo>
                    <a:pt x="134" y="125"/>
                  </a:lnTo>
                  <a:lnTo>
                    <a:pt x="130" y="124"/>
                  </a:lnTo>
                  <a:lnTo>
                    <a:pt x="130" y="124"/>
                  </a:lnTo>
                  <a:lnTo>
                    <a:pt x="125" y="118"/>
                  </a:lnTo>
                  <a:lnTo>
                    <a:pt x="123" y="112"/>
                  </a:lnTo>
                  <a:lnTo>
                    <a:pt x="123" y="109"/>
                  </a:lnTo>
                  <a:lnTo>
                    <a:pt x="127" y="105"/>
                  </a:lnTo>
                  <a:lnTo>
                    <a:pt x="129" y="101"/>
                  </a:lnTo>
                  <a:lnTo>
                    <a:pt x="129" y="97"/>
                  </a:lnTo>
                  <a:lnTo>
                    <a:pt x="125" y="94"/>
                  </a:lnTo>
                  <a:lnTo>
                    <a:pt x="114" y="92"/>
                  </a:lnTo>
                  <a:lnTo>
                    <a:pt x="114" y="92"/>
                  </a:lnTo>
                  <a:lnTo>
                    <a:pt x="104" y="88"/>
                  </a:lnTo>
                  <a:lnTo>
                    <a:pt x="97" y="81"/>
                  </a:lnTo>
                  <a:lnTo>
                    <a:pt x="89" y="71"/>
                  </a:lnTo>
                  <a:lnTo>
                    <a:pt x="84" y="62"/>
                  </a:lnTo>
                  <a:lnTo>
                    <a:pt x="80" y="53"/>
                  </a:lnTo>
                  <a:lnTo>
                    <a:pt x="80" y="43"/>
                  </a:lnTo>
                  <a:lnTo>
                    <a:pt x="82" y="39"/>
                  </a:lnTo>
                  <a:lnTo>
                    <a:pt x="86" y="36"/>
                  </a:lnTo>
                  <a:lnTo>
                    <a:pt x="89" y="34"/>
                  </a:lnTo>
                  <a:lnTo>
                    <a:pt x="95" y="32"/>
                  </a:lnTo>
                  <a:lnTo>
                    <a:pt x="95" y="32"/>
                  </a:lnTo>
                  <a:lnTo>
                    <a:pt x="100" y="30"/>
                  </a:lnTo>
                  <a:lnTo>
                    <a:pt x="100" y="25"/>
                  </a:lnTo>
                  <a:lnTo>
                    <a:pt x="97" y="21"/>
                  </a:lnTo>
                  <a:lnTo>
                    <a:pt x="91" y="15"/>
                  </a:lnTo>
                  <a:lnTo>
                    <a:pt x="78" y="6"/>
                  </a:lnTo>
                  <a:lnTo>
                    <a:pt x="71" y="2"/>
                  </a:lnTo>
                  <a:lnTo>
                    <a:pt x="63" y="0"/>
                  </a:lnTo>
                  <a:lnTo>
                    <a:pt x="63" y="0"/>
                  </a:lnTo>
                  <a:lnTo>
                    <a:pt x="48" y="15"/>
                  </a:lnTo>
                  <a:lnTo>
                    <a:pt x="41" y="25"/>
                  </a:lnTo>
                  <a:lnTo>
                    <a:pt x="37" y="30"/>
                  </a:lnTo>
                  <a:lnTo>
                    <a:pt x="37" y="30"/>
                  </a:lnTo>
                  <a:lnTo>
                    <a:pt x="37" y="39"/>
                  </a:lnTo>
                  <a:lnTo>
                    <a:pt x="37" y="47"/>
                  </a:lnTo>
                  <a:lnTo>
                    <a:pt x="39" y="51"/>
                  </a:lnTo>
                  <a:lnTo>
                    <a:pt x="41" y="53"/>
                  </a:lnTo>
                  <a:lnTo>
                    <a:pt x="44" y="56"/>
                  </a:lnTo>
                  <a:lnTo>
                    <a:pt x="44" y="58"/>
                  </a:lnTo>
                  <a:lnTo>
                    <a:pt x="46" y="64"/>
                  </a:lnTo>
                  <a:lnTo>
                    <a:pt x="46" y="64"/>
                  </a:lnTo>
                  <a:lnTo>
                    <a:pt x="46" y="77"/>
                  </a:lnTo>
                  <a:lnTo>
                    <a:pt x="43" y="84"/>
                  </a:lnTo>
                  <a:lnTo>
                    <a:pt x="39" y="90"/>
                  </a:lnTo>
                  <a:lnTo>
                    <a:pt x="35" y="90"/>
                  </a:lnTo>
                  <a:lnTo>
                    <a:pt x="29" y="90"/>
                  </a:lnTo>
                  <a:lnTo>
                    <a:pt x="24" y="88"/>
                  </a:lnTo>
                  <a:lnTo>
                    <a:pt x="15" y="84"/>
                  </a:lnTo>
                  <a:lnTo>
                    <a:pt x="15" y="84"/>
                  </a:lnTo>
                  <a:lnTo>
                    <a:pt x="11" y="88"/>
                  </a:lnTo>
                  <a:lnTo>
                    <a:pt x="7" y="92"/>
                  </a:lnTo>
                  <a:lnTo>
                    <a:pt x="7" y="99"/>
                  </a:lnTo>
                  <a:lnTo>
                    <a:pt x="7" y="99"/>
                  </a:lnTo>
                  <a:lnTo>
                    <a:pt x="9" y="120"/>
                  </a:lnTo>
                  <a:lnTo>
                    <a:pt x="11" y="135"/>
                  </a:lnTo>
                  <a:lnTo>
                    <a:pt x="15" y="144"/>
                  </a:lnTo>
                  <a:lnTo>
                    <a:pt x="18" y="153"/>
                  </a:lnTo>
                  <a:lnTo>
                    <a:pt x="22" y="159"/>
                  </a:lnTo>
                  <a:lnTo>
                    <a:pt x="22" y="163"/>
                  </a:lnTo>
                  <a:lnTo>
                    <a:pt x="18" y="168"/>
                  </a:lnTo>
                  <a:lnTo>
                    <a:pt x="13" y="174"/>
                  </a:lnTo>
                  <a:lnTo>
                    <a:pt x="13" y="17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1" name="Freeform 71">
              <a:extLst>
                <a:ext uri="{FF2B5EF4-FFF2-40B4-BE49-F238E27FC236}">
                  <a16:creationId xmlns:a16="http://schemas.microsoft.com/office/drawing/2014/main" id="{4E017607-C184-4801-A311-331AA632F977}"/>
                </a:ext>
              </a:extLst>
            </p:cNvPr>
            <p:cNvSpPr>
              <a:spLocks/>
            </p:cNvSpPr>
            <p:nvPr/>
          </p:nvSpPr>
          <p:spPr bwMode="auto">
            <a:xfrm>
              <a:off x="5818229" y="3343884"/>
              <a:ext cx="194383" cy="208916"/>
            </a:xfrm>
            <a:custGeom>
              <a:avLst/>
              <a:gdLst/>
              <a:ahLst/>
              <a:cxnLst>
                <a:cxn ang="0">
                  <a:pos x="75" y="213"/>
                </a:cxn>
                <a:cxn ang="0">
                  <a:pos x="92" y="216"/>
                </a:cxn>
                <a:cxn ang="0">
                  <a:pos x="96" y="224"/>
                </a:cxn>
                <a:cxn ang="0">
                  <a:pos x="97" y="230"/>
                </a:cxn>
                <a:cxn ang="0">
                  <a:pos x="125" y="207"/>
                </a:cxn>
                <a:cxn ang="0">
                  <a:pos x="133" y="203"/>
                </a:cxn>
                <a:cxn ang="0">
                  <a:pos x="159" y="205"/>
                </a:cxn>
                <a:cxn ang="0">
                  <a:pos x="159" y="198"/>
                </a:cxn>
                <a:cxn ang="0">
                  <a:pos x="167" y="190"/>
                </a:cxn>
                <a:cxn ang="0">
                  <a:pos x="167" y="188"/>
                </a:cxn>
                <a:cxn ang="0">
                  <a:pos x="167" y="185"/>
                </a:cxn>
                <a:cxn ang="0">
                  <a:pos x="168" y="174"/>
                </a:cxn>
                <a:cxn ang="0">
                  <a:pos x="165" y="170"/>
                </a:cxn>
                <a:cxn ang="0">
                  <a:pos x="155" y="164"/>
                </a:cxn>
                <a:cxn ang="0">
                  <a:pos x="153" y="160"/>
                </a:cxn>
                <a:cxn ang="0">
                  <a:pos x="150" y="145"/>
                </a:cxn>
                <a:cxn ang="0">
                  <a:pos x="159" y="138"/>
                </a:cxn>
                <a:cxn ang="0">
                  <a:pos x="189" y="136"/>
                </a:cxn>
                <a:cxn ang="0">
                  <a:pos x="193" y="131"/>
                </a:cxn>
                <a:cxn ang="0">
                  <a:pos x="215" y="106"/>
                </a:cxn>
                <a:cxn ang="0">
                  <a:pos x="206" y="99"/>
                </a:cxn>
                <a:cxn ang="0">
                  <a:pos x="195" y="82"/>
                </a:cxn>
                <a:cxn ang="0">
                  <a:pos x="196" y="69"/>
                </a:cxn>
                <a:cxn ang="0">
                  <a:pos x="208" y="54"/>
                </a:cxn>
                <a:cxn ang="0">
                  <a:pos x="215" y="45"/>
                </a:cxn>
                <a:cxn ang="0">
                  <a:pos x="210" y="41"/>
                </a:cxn>
                <a:cxn ang="0">
                  <a:pos x="174" y="41"/>
                </a:cxn>
                <a:cxn ang="0">
                  <a:pos x="167" y="41"/>
                </a:cxn>
                <a:cxn ang="0">
                  <a:pos x="155" y="35"/>
                </a:cxn>
                <a:cxn ang="0">
                  <a:pos x="142" y="18"/>
                </a:cxn>
                <a:cxn ang="0">
                  <a:pos x="127" y="2"/>
                </a:cxn>
                <a:cxn ang="0">
                  <a:pos x="118" y="0"/>
                </a:cxn>
                <a:cxn ang="0">
                  <a:pos x="109" y="9"/>
                </a:cxn>
                <a:cxn ang="0">
                  <a:pos x="97" y="28"/>
                </a:cxn>
                <a:cxn ang="0">
                  <a:pos x="75" y="45"/>
                </a:cxn>
                <a:cxn ang="0">
                  <a:pos x="51" y="61"/>
                </a:cxn>
                <a:cxn ang="0">
                  <a:pos x="45" y="63"/>
                </a:cxn>
                <a:cxn ang="0">
                  <a:pos x="34" y="67"/>
                </a:cxn>
                <a:cxn ang="0">
                  <a:pos x="28" y="73"/>
                </a:cxn>
                <a:cxn ang="0">
                  <a:pos x="30" y="78"/>
                </a:cxn>
                <a:cxn ang="0">
                  <a:pos x="41" y="97"/>
                </a:cxn>
                <a:cxn ang="0">
                  <a:pos x="47" y="110"/>
                </a:cxn>
                <a:cxn ang="0">
                  <a:pos x="47" y="117"/>
                </a:cxn>
                <a:cxn ang="0">
                  <a:pos x="43" y="121"/>
                </a:cxn>
                <a:cxn ang="0">
                  <a:pos x="15" y="140"/>
                </a:cxn>
                <a:cxn ang="0">
                  <a:pos x="0" y="147"/>
                </a:cxn>
                <a:cxn ang="0">
                  <a:pos x="8" y="175"/>
                </a:cxn>
                <a:cxn ang="0">
                  <a:pos x="10" y="181"/>
                </a:cxn>
                <a:cxn ang="0">
                  <a:pos x="4" y="194"/>
                </a:cxn>
                <a:cxn ang="0">
                  <a:pos x="6" y="203"/>
                </a:cxn>
                <a:cxn ang="0">
                  <a:pos x="23" y="213"/>
                </a:cxn>
                <a:cxn ang="0">
                  <a:pos x="45" y="220"/>
                </a:cxn>
                <a:cxn ang="0">
                  <a:pos x="51" y="218"/>
                </a:cxn>
                <a:cxn ang="0">
                  <a:pos x="53" y="215"/>
                </a:cxn>
                <a:cxn ang="0">
                  <a:pos x="75" y="213"/>
                </a:cxn>
              </a:cxnLst>
              <a:rect l="0" t="0" r="r" b="b"/>
              <a:pathLst>
                <a:path w="215" h="230">
                  <a:moveTo>
                    <a:pt x="75" y="213"/>
                  </a:moveTo>
                  <a:lnTo>
                    <a:pt x="75" y="213"/>
                  </a:lnTo>
                  <a:lnTo>
                    <a:pt x="88" y="215"/>
                  </a:lnTo>
                  <a:lnTo>
                    <a:pt x="92" y="216"/>
                  </a:lnTo>
                  <a:lnTo>
                    <a:pt x="94" y="218"/>
                  </a:lnTo>
                  <a:lnTo>
                    <a:pt x="96" y="224"/>
                  </a:lnTo>
                  <a:lnTo>
                    <a:pt x="97" y="228"/>
                  </a:lnTo>
                  <a:lnTo>
                    <a:pt x="97" y="230"/>
                  </a:lnTo>
                  <a:lnTo>
                    <a:pt x="101" y="228"/>
                  </a:lnTo>
                  <a:lnTo>
                    <a:pt x="125" y="207"/>
                  </a:lnTo>
                  <a:lnTo>
                    <a:pt x="125" y="207"/>
                  </a:lnTo>
                  <a:lnTo>
                    <a:pt x="133" y="203"/>
                  </a:lnTo>
                  <a:lnTo>
                    <a:pt x="142" y="203"/>
                  </a:lnTo>
                  <a:lnTo>
                    <a:pt x="159" y="205"/>
                  </a:lnTo>
                  <a:lnTo>
                    <a:pt x="159" y="205"/>
                  </a:lnTo>
                  <a:lnTo>
                    <a:pt x="159" y="198"/>
                  </a:lnTo>
                  <a:lnTo>
                    <a:pt x="163" y="194"/>
                  </a:lnTo>
                  <a:lnTo>
                    <a:pt x="167" y="190"/>
                  </a:lnTo>
                  <a:lnTo>
                    <a:pt x="167" y="190"/>
                  </a:lnTo>
                  <a:lnTo>
                    <a:pt x="167" y="188"/>
                  </a:lnTo>
                  <a:lnTo>
                    <a:pt x="167" y="185"/>
                  </a:lnTo>
                  <a:lnTo>
                    <a:pt x="167" y="185"/>
                  </a:lnTo>
                  <a:lnTo>
                    <a:pt x="168" y="179"/>
                  </a:lnTo>
                  <a:lnTo>
                    <a:pt x="168" y="174"/>
                  </a:lnTo>
                  <a:lnTo>
                    <a:pt x="167" y="172"/>
                  </a:lnTo>
                  <a:lnTo>
                    <a:pt x="165" y="170"/>
                  </a:lnTo>
                  <a:lnTo>
                    <a:pt x="159" y="166"/>
                  </a:lnTo>
                  <a:lnTo>
                    <a:pt x="155" y="164"/>
                  </a:lnTo>
                  <a:lnTo>
                    <a:pt x="153" y="160"/>
                  </a:lnTo>
                  <a:lnTo>
                    <a:pt x="153" y="160"/>
                  </a:lnTo>
                  <a:lnTo>
                    <a:pt x="150" y="151"/>
                  </a:lnTo>
                  <a:lnTo>
                    <a:pt x="150" y="145"/>
                  </a:lnTo>
                  <a:lnTo>
                    <a:pt x="153" y="142"/>
                  </a:lnTo>
                  <a:lnTo>
                    <a:pt x="159" y="138"/>
                  </a:lnTo>
                  <a:lnTo>
                    <a:pt x="176" y="136"/>
                  </a:lnTo>
                  <a:lnTo>
                    <a:pt x="189" y="136"/>
                  </a:lnTo>
                  <a:lnTo>
                    <a:pt x="189" y="136"/>
                  </a:lnTo>
                  <a:lnTo>
                    <a:pt x="193" y="131"/>
                  </a:lnTo>
                  <a:lnTo>
                    <a:pt x="200" y="121"/>
                  </a:lnTo>
                  <a:lnTo>
                    <a:pt x="215" y="106"/>
                  </a:lnTo>
                  <a:lnTo>
                    <a:pt x="215" y="106"/>
                  </a:lnTo>
                  <a:lnTo>
                    <a:pt x="206" y="99"/>
                  </a:lnTo>
                  <a:lnTo>
                    <a:pt x="198" y="89"/>
                  </a:lnTo>
                  <a:lnTo>
                    <a:pt x="195" y="82"/>
                  </a:lnTo>
                  <a:lnTo>
                    <a:pt x="195" y="76"/>
                  </a:lnTo>
                  <a:lnTo>
                    <a:pt x="196" y="69"/>
                  </a:lnTo>
                  <a:lnTo>
                    <a:pt x="200" y="63"/>
                  </a:lnTo>
                  <a:lnTo>
                    <a:pt x="208" y="54"/>
                  </a:lnTo>
                  <a:lnTo>
                    <a:pt x="215" y="46"/>
                  </a:lnTo>
                  <a:lnTo>
                    <a:pt x="215" y="45"/>
                  </a:lnTo>
                  <a:lnTo>
                    <a:pt x="215" y="43"/>
                  </a:lnTo>
                  <a:lnTo>
                    <a:pt x="210" y="41"/>
                  </a:lnTo>
                  <a:lnTo>
                    <a:pt x="202" y="41"/>
                  </a:lnTo>
                  <a:lnTo>
                    <a:pt x="174" y="41"/>
                  </a:lnTo>
                  <a:lnTo>
                    <a:pt x="174" y="41"/>
                  </a:lnTo>
                  <a:lnTo>
                    <a:pt x="167" y="41"/>
                  </a:lnTo>
                  <a:lnTo>
                    <a:pt x="161" y="39"/>
                  </a:lnTo>
                  <a:lnTo>
                    <a:pt x="155" y="35"/>
                  </a:lnTo>
                  <a:lnTo>
                    <a:pt x="150" y="30"/>
                  </a:lnTo>
                  <a:lnTo>
                    <a:pt x="142" y="18"/>
                  </a:lnTo>
                  <a:lnTo>
                    <a:pt x="135" y="9"/>
                  </a:lnTo>
                  <a:lnTo>
                    <a:pt x="127" y="2"/>
                  </a:lnTo>
                  <a:lnTo>
                    <a:pt x="124" y="0"/>
                  </a:lnTo>
                  <a:lnTo>
                    <a:pt x="118" y="0"/>
                  </a:lnTo>
                  <a:lnTo>
                    <a:pt x="114" y="3"/>
                  </a:lnTo>
                  <a:lnTo>
                    <a:pt x="109" y="9"/>
                  </a:lnTo>
                  <a:lnTo>
                    <a:pt x="103" y="17"/>
                  </a:lnTo>
                  <a:lnTo>
                    <a:pt x="97" y="28"/>
                  </a:lnTo>
                  <a:lnTo>
                    <a:pt x="97" y="28"/>
                  </a:lnTo>
                  <a:lnTo>
                    <a:pt x="75" y="45"/>
                  </a:lnTo>
                  <a:lnTo>
                    <a:pt x="58" y="58"/>
                  </a:lnTo>
                  <a:lnTo>
                    <a:pt x="51" y="61"/>
                  </a:lnTo>
                  <a:lnTo>
                    <a:pt x="45" y="63"/>
                  </a:lnTo>
                  <a:lnTo>
                    <a:pt x="45" y="63"/>
                  </a:lnTo>
                  <a:lnTo>
                    <a:pt x="38" y="65"/>
                  </a:lnTo>
                  <a:lnTo>
                    <a:pt x="34" y="67"/>
                  </a:lnTo>
                  <a:lnTo>
                    <a:pt x="30" y="69"/>
                  </a:lnTo>
                  <a:lnTo>
                    <a:pt x="28" y="73"/>
                  </a:lnTo>
                  <a:lnTo>
                    <a:pt x="28" y="74"/>
                  </a:lnTo>
                  <a:lnTo>
                    <a:pt x="30" y="78"/>
                  </a:lnTo>
                  <a:lnTo>
                    <a:pt x="36" y="88"/>
                  </a:lnTo>
                  <a:lnTo>
                    <a:pt x="41" y="97"/>
                  </a:lnTo>
                  <a:lnTo>
                    <a:pt x="47" y="106"/>
                  </a:lnTo>
                  <a:lnTo>
                    <a:pt x="47" y="110"/>
                  </a:lnTo>
                  <a:lnTo>
                    <a:pt x="47" y="114"/>
                  </a:lnTo>
                  <a:lnTo>
                    <a:pt x="47" y="117"/>
                  </a:lnTo>
                  <a:lnTo>
                    <a:pt x="43" y="121"/>
                  </a:lnTo>
                  <a:lnTo>
                    <a:pt x="43" y="121"/>
                  </a:lnTo>
                  <a:lnTo>
                    <a:pt x="26" y="134"/>
                  </a:lnTo>
                  <a:lnTo>
                    <a:pt x="15" y="140"/>
                  </a:lnTo>
                  <a:lnTo>
                    <a:pt x="2" y="145"/>
                  </a:lnTo>
                  <a:lnTo>
                    <a:pt x="0" y="147"/>
                  </a:lnTo>
                  <a:lnTo>
                    <a:pt x="0" y="153"/>
                  </a:lnTo>
                  <a:lnTo>
                    <a:pt x="8" y="175"/>
                  </a:lnTo>
                  <a:lnTo>
                    <a:pt x="8" y="175"/>
                  </a:lnTo>
                  <a:lnTo>
                    <a:pt x="10" y="181"/>
                  </a:lnTo>
                  <a:lnTo>
                    <a:pt x="8" y="185"/>
                  </a:lnTo>
                  <a:lnTo>
                    <a:pt x="4" y="194"/>
                  </a:lnTo>
                  <a:lnTo>
                    <a:pt x="4" y="198"/>
                  </a:lnTo>
                  <a:lnTo>
                    <a:pt x="6" y="203"/>
                  </a:lnTo>
                  <a:lnTo>
                    <a:pt x="11" y="207"/>
                  </a:lnTo>
                  <a:lnTo>
                    <a:pt x="23" y="213"/>
                  </a:lnTo>
                  <a:lnTo>
                    <a:pt x="23" y="213"/>
                  </a:lnTo>
                  <a:lnTo>
                    <a:pt x="45" y="220"/>
                  </a:lnTo>
                  <a:lnTo>
                    <a:pt x="49" y="220"/>
                  </a:lnTo>
                  <a:lnTo>
                    <a:pt x="51" y="218"/>
                  </a:lnTo>
                  <a:lnTo>
                    <a:pt x="51" y="216"/>
                  </a:lnTo>
                  <a:lnTo>
                    <a:pt x="53" y="215"/>
                  </a:lnTo>
                  <a:lnTo>
                    <a:pt x="60" y="213"/>
                  </a:lnTo>
                  <a:lnTo>
                    <a:pt x="75" y="213"/>
                  </a:lnTo>
                  <a:lnTo>
                    <a:pt x="75" y="21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2" name="Freeform 72">
              <a:extLst>
                <a:ext uri="{FF2B5EF4-FFF2-40B4-BE49-F238E27FC236}">
                  <a16:creationId xmlns:a16="http://schemas.microsoft.com/office/drawing/2014/main" id="{D0E53352-F9E3-4D61-9191-07B2D50ADA0C}"/>
                </a:ext>
              </a:extLst>
            </p:cNvPr>
            <p:cNvSpPr>
              <a:spLocks/>
            </p:cNvSpPr>
            <p:nvPr/>
          </p:nvSpPr>
          <p:spPr bwMode="auto">
            <a:xfrm>
              <a:off x="4715516" y="3585499"/>
              <a:ext cx="321550" cy="514115"/>
            </a:xfrm>
            <a:custGeom>
              <a:avLst/>
              <a:gdLst/>
              <a:ahLst/>
              <a:cxnLst>
                <a:cxn ang="0">
                  <a:pos x="13" y="284"/>
                </a:cxn>
                <a:cxn ang="0">
                  <a:pos x="45" y="293"/>
                </a:cxn>
                <a:cxn ang="0">
                  <a:pos x="75" y="327"/>
                </a:cxn>
                <a:cxn ang="0">
                  <a:pos x="92" y="351"/>
                </a:cxn>
                <a:cxn ang="0">
                  <a:pos x="79" y="372"/>
                </a:cxn>
                <a:cxn ang="0">
                  <a:pos x="86" y="391"/>
                </a:cxn>
                <a:cxn ang="0">
                  <a:pos x="107" y="419"/>
                </a:cxn>
                <a:cxn ang="0">
                  <a:pos x="107" y="439"/>
                </a:cxn>
                <a:cxn ang="0">
                  <a:pos x="84" y="473"/>
                </a:cxn>
                <a:cxn ang="0">
                  <a:pos x="94" y="491"/>
                </a:cxn>
                <a:cxn ang="0">
                  <a:pos x="124" y="505"/>
                </a:cxn>
                <a:cxn ang="0">
                  <a:pos x="131" y="516"/>
                </a:cxn>
                <a:cxn ang="0">
                  <a:pos x="148" y="523"/>
                </a:cxn>
                <a:cxn ang="0">
                  <a:pos x="198" y="566"/>
                </a:cxn>
                <a:cxn ang="0">
                  <a:pos x="213" y="557"/>
                </a:cxn>
                <a:cxn ang="0">
                  <a:pos x="208" y="533"/>
                </a:cxn>
                <a:cxn ang="0">
                  <a:pos x="223" y="501"/>
                </a:cxn>
                <a:cxn ang="0">
                  <a:pos x="243" y="506"/>
                </a:cxn>
                <a:cxn ang="0">
                  <a:pos x="260" y="495"/>
                </a:cxn>
                <a:cxn ang="0">
                  <a:pos x="266" y="454"/>
                </a:cxn>
                <a:cxn ang="0">
                  <a:pos x="247" y="432"/>
                </a:cxn>
                <a:cxn ang="0">
                  <a:pos x="219" y="426"/>
                </a:cxn>
                <a:cxn ang="0">
                  <a:pos x="221" y="413"/>
                </a:cxn>
                <a:cxn ang="0">
                  <a:pos x="213" y="392"/>
                </a:cxn>
                <a:cxn ang="0">
                  <a:pos x="219" y="374"/>
                </a:cxn>
                <a:cxn ang="0">
                  <a:pos x="238" y="353"/>
                </a:cxn>
                <a:cxn ang="0">
                  <a:pos x="238" y="314"/>
                </a:cxn>
                <a:cxn ang="0">
                  <a:pos x="279" y="314"/>
                </a:cxn>
                <a:cxn ang="0">
                  <a:pos x="312" y="265"/>
                </a:cxn>
                <a:cxn ang="0">
                  <a:pos x="325" y="237"/>
                </a:cxn>
                <a:cxn ang="0">
                  <a:pos x="354" y="211"/>
                </a:cxn>
                <a:cxn ang="0">
                  <a:pos x="335" y="202"/>
                </a:cxn>
                <a:cxn ang="0">
                  <a:pos x="320" y="183"/>
                </a:cxn>
                <a:cxn ang="0">
                  <a:pos x="305" y="168"/>
                </a:cxn>
                <a:cxn ang="0">
                  <a:pos x="269" y="170"/>
                </a:cxn>
                <a:cxn ang="0">
                  <a:pos x="247" y="161"/>
                </a:cxn>
                <a:cxn ang="0">
                  <a:pos x="234" y="140"/>
                </a:cxn>
                <a:cxn ang="0">
                  <a:pos x="275" y="65"/>
                </a:cxn>
                <a:cxn ang="0">
                  <a:pos x="286" y="54"/>
                </a:cxn>
                <a:cxn ang="0">
                  <a:pos x="264" y="6"/>
                </a:cxn>
                <a:cxn ang="0">
                  <a:pos x="249" y="0"/>
                </a:cxn>
                <a:cxn ang="0">
                  <a:pos x="200" y="28"/>
                </a:cxn>
                <a:cxn ang="0">
                  <a:pos x="191" y="32"/>
                </a:cxn>
                <a:cxn ang="0">
                  <a:pos x="169" y="73"/>
                </a:cxn>
                <a:cxn ang="0">
                  <a:pos x="157" y="120"/>
                </a:cxn>
                <a:cxn ang="0">
                  <a:pos x="155" y="150"/>
                </a:cxn>
                <a:cxn ang="0">
                  <a:pos x="150" y="172"/>
                </a:cxn>
                <a:cxn ang="0">
                  <a:pos x="148" y="202"/>
                </a:cxn>
                <a:cxn ang="0">
                  <a:pos x="109" y="224"/>
                </a:cxn>
                <a:cxn ang="0">
                  <a:pos x="13" y="254"/>
                </a:cxn>
                <a:cxn ang="0">
                  <a:pos x="28" y="269"/>
                </a:cxn>
              </a:cxnLst>
              <a:rect l="0" t="0" r="r" b="b"/>
              <a:pathLst>
                <a:path w="354" h="566">
                  <a:moveTo>
                    <a:pt x="21" y="278"/>
                  </a:moveTo>
                  <a:lnTo>
                    <a:pt x="21" y="278"/>
                  </a:lnTo>
                  <a:lnTo>
                    <a:pt x="15" y="282"/>
                  </a:lnTo>
                  <a:lnTo>
                    <a:pt x="13" y="284"/>
                  </a:lnTo>
                  <a:lnTo>
                    <a:pt x="21" y="284"/>
                  </a:lnTo>
                  <a:lnTo>
                    <a:pt x="34" y="286"/>
                  </a:lnTo>
                  <a:lnTo>
                    <a:pt x="41" y="288"/>
                  </a:lnTo>
                  <a:lnTo>
                    <a:pt x="45" y="293"/>
                  </a:lnTo>
                  <a:lnTo>
                    <a:pt x="45" y="293"/>
                  </a:lnTo>
                  <a:lnTo>
                    <a:pt x="51" y="303"/>
                  </a:lnTo>
                  <a:lnTo>
                    <a:pt x="58" y="310"/>
                  </a:lnTo>
                  <a:lnTo>
                    <a:pt x="75" y="327"/>
                  </a:lnTo>
                  <a:lnTo>
                    <a:pt x="84" y="335"/>
                  </a:lnTo>
                  <a:lnTo>
                    <a:pt x="90" y="342"/>
                  </a:lnTo>
                  <a:lnTo>
                    <a:pt x="92" y="348"/>
                  </a:lnTo>
                  <a:lnTo>
                    <a:pt x="92" y="351"/>
                  </a:lnTo>
                  <a:lnTo>
                    <a:pt x="90" y="353"/>
                  </a:lnTo>
                  <a:lnTo>
                    <a:pt x="90" y="353"/>
                  </a:lnTo>
                  <a:lnTo>
                    <a:pt x="81" y="366"/>
                  </a:lnTo>
                  <a:lnTo>
                    <a:pt x="79" y="372"/>
                  </a:lnTo>
                  <a:lnTo>
                    <a:pt x="77" y="376"/>
                  </a:lnTo>
                  <a:lnTo>
                    <a:pt x="79" y="379"/>
                  </a:lnTo>
                  <a:lnTo>
                    <a:pt x="81" y="383"/>
                  </a:lnTo>
                  <a:lnTo>
                    <a:pt x="86" y="391"/>
                  </a:lnTo>
                  <a:lnTo>
                    <a:pt x="94" y="398"/>
                  </a:lnTo>
                  <a:lnTo>
                    <a:pt x="101" y="406"/>
                  </a:lnTo>
                  <a:lnTo>
                    <a:pt x="105" y="411"/>
                  </a:lnTo>
                  <a:lnTo>
                    <a:pt x="107" y="419"/>
                  </a:lnTo>
                  <a:lnTo>
                    <a:pt x="109" y="426"/>
                  </a:lnTo>
                  <a:lnTo>
                    <a:pt x="109" y="435"/>
                  </a:lnTo>
                  <a:lnTo>
                    <a:pt x="109" y="435"/>
                  </a:lnTo>
                  <a:lnTo>
                    <a:pt x="107" y="439"/>
                  </a:lnTo>
                  <a:lnTo>
                    <a:pt x="101" y="447"/>
                  </a:lnTo>
                  <a:lnTo>
                    <a:pt x="94" y="454"/>
                  </a:lnTo>
                  <a:lnTo>
                    <a:pt x="88" y="463"/>
                  </a:lnTo>
                  <a:lnTo>
                    <a:pt x="84" y="473"/>
                  </a:lnTo>
                  <a:lnTo>
                    <a:pt x="84" y="477"/>
                  </a:lnTo>
                  <a:lnTo>
                    <a:pt x="86" y="482"/>
                  </a:lnTo>
                  <a:lnTo>
                    <a:pt x="90" y="486"/>
                  </a:lnTo>
                  <a:lnTo>
                    <a:pt x="94" y="491"/>
                  </a:lnTo>
                  <a:lnTo>
                    <a:pt x="101" y="495"/>
                  </a:lnTo>
                  <a:lnTo>
                    <a:pt x="109" y="499"/>
                  </a:lnTo>
                  <a:lnTo>
                    <a:pt x="109" y="499"/>
                  </a:lnTo>
                  <a:lnTo>
                    <a:pt x="124" y="505"/>
                  </a:lnTo>
                  <a:lnTo>
                    <a:pt x="131" y="510"/>
                  </a:lnTo>
                  <a:lnTo>
                    <a:pt x="133" y="512"/>
                  </a:lnTo>
                  <a:lnTo>
                    <a:pt x="133" y="514"/>
                  </a:lnTo>
                  <a:lnTo>
                    <a:pt x="131" y="516"/>
                  </a:lnTo>
                  <a:lnTo>
                    <a:pt x="131" y="518"/>
                  </a:lnTo>
                  <a:lnTo>
                    <a:pt x="137" y="520"/>
                  </a:lnTo>
                  <a:lnTo>
                    <a:pt x="148" y="523"/>
                  </a:lnTo>
                  <a:lnTo>
                    <a:pt x="148" y="523"/>
                  </a:lnTo>
                  <a:lnTo>
                    <a:pt x="170" y="546"/>
                  </a:lnTo>
                  <a:lnTo>
                    <a:pt x="187" y="559"/>
                  </a:lnTo>
                  <a:lnTo>
                    <a:pt x="195" y="564"/>
                  </a:lnTo>
                  <a:lnTo>
                    <a:pt x="198" y="566"/>
                  </a:lnTo>
                  <a:lnTo>
                    <a:pt x="198" y="566"/>
                  </a:lnTo>
                  <a:lnTo>
                    <a:pt x="206" y="564"/>
                  </a:lnTo>
                  <a:lnTo>
                    <a:pt x="211" y="561"/>
                  </a:lnTo>
                  <a:lnTo>
                    <a:pt x="213" y="557"/>
                  </a:lnTo>
                  <a:lnTo>
                    <a:pt x="213" y="549"/>
                  </a:lnTo>
                  <a:lnTo>
                    <a:pt x="210" y="538"/>
                  </a:lnTo>
                  <a:lnTo>
                    <a:pt x="208" y="533"/>
                  </a:lnTo>
                  <a:lnTo>
                    <a:pt x="208" y="533"/>
                  </a:lnTo>
                  <a:lnTo>
                    <a:pt x="213" y="506"/>
                  </a:lnTo>
                  <a:lnTo>
                    <a:pt x="215" y="503"/>
                  </a:lnTo>
                  <a:lnTo>
                    <a:pt x="219" y="501"/>
                  </a:lnTo>
                  <a:lnTo>
                    <a:pt x="223" y="501"/>
                  </a:lnTo>
                  <a:lnTo>
                    <a:pt x="228" y="503"/>
                  </a:lnTo>
                  <a:lnTo>
                    <a:pt x="234" y="505"/>
                  </a:lnTo>
                  <a:lnTo>
                    <a:pt x="243" y="506"/>
                  </a:lnTo>
                  <a:lnTo>
                    <a:pt x="243" y="506"/>
                  </a:lnTo>
                  <a:lnTo>
                    <a:pt x="249" y="505"/>
                  </a:lnTo>
                  <a:lnTo>
                    <a:pt x="253" y="503"/>
                  </a:lnTo>
                  <a:lnTo>
                    <a:pt x="256" y="499"/>
                  </a:lnTo>
                  <a:lnTo>
                    <a:pt x="260" y="495"/>
                  </a:lnTo>
                  <a:lnTo>
                    <a:pt x="266" y="484"/>
                  </a:lnTo>
                  <a:lnTo>
                    <a:pt x="268" y="469"/>
                  </a:lnTo>
                  <a:lnTo>
                    <a:pt x="268" y="462"/>
                  </a:lnTo>
                  <a:lnTo>
                    <a:pt x="266" y="454"/>
                  </a:lnTo>
                  <a:lnTo>
                    <a:pt x="264" y="449"/>
                  </a:lnTo>
                  <a:lnTo>
                    <a:pt x="260" y="441"/>
                  </a:lnTo>
                  <a:lnTo>
                    <a:pt x="254" y="435"/>
                  </a:lnTo>
                  <a:lnTo>
                    <a:pt x="247" y="432"/>
                  </a:lnTo>
                  <a:lnTo>
                    <a:pt x="238" y="428"/>
                  </a:lnTo>
                  <a:lnTo>
                    <a:pt x="226" y="426"/>
                  </a:lnTo>
                  <a:lnTo>
                    <a:pt x="226" y="426"/>
                  </a:lnTo>
                  <a:lnTo>
                    <a:pt x="219" y="426"/>
                  </a:lnTo>
                  <a:lnTo>
                    <a:pt x="215" y="424"/>
                  </a:lnTo>
                  <a:lnTo>
                    <a:pt x="215" y="420"/>
                  </a:lnTo>
                  <a:lnTo>
                    <a:pt x="217" y="417"/>
                  </a:lnTo>
                  <a:lnTo>
                    <a:pt x="221" y="413"/>
                  </a:lnTo>
                  <a:lnTo>
                    <a:pt x="221" y="407"/>
                  </a:lnTo>
                  <a:lnTo>
                    <a:pt x="221" y="400"/>
                  </a:lnTo>
                  <a:lnTo>
                    <a:pt x="213" y="392"/>
                  </a:lnTo>
                  <a:lnTo>
                    <a:pt x="213" y="392"/>
                  </a:lnTo>
                  <a:lnTo>
                    <a:pt x="210" y="387"/>
                  </a:lnTo>
                  <a:lnTo>
                    <a:pt x="211" y="383"/>
                  </a:lnTo>
                  <a:lnTo>
                    <a:pt x="215" y="378"/>
                  </a:lnTo>
                  <a:lnTo>
                    <a:pt x="219" y="374"/>
                  </a:lnTo>
                  <a:lnTo>
                    <a:pt x="230" y="364"/>
                  </a:lnTo>
                  <a:lnTo>
                    <a:pt x="236" y="359"/>
                  </a:lnTo>
                  <a:lnTo>
                    <a:pt x="238" y="353"/>
                  </a:lnTo>
                  <a:lnTo>
                    <a:pt x="238" y="353"/>
                  </a:lnTo>
                  <a:lnTo>
                    <a:pt x="238" y="335"/>
                  </a:lnTo>
                  <a:lnTo>
                    <a:pt x="238" y="323"/>
                  </a:lnTo>
                  <a:lnTo>
                    <a:pt x="238" y="316"/>
                  </a:lnTo>
                  <a:lnTo>
                    <a:pt x="238" y="314"/>
                  </a:lnTo>
                  <a:lnTo>
                    <a:pt x="240" y="314"/>
                  </a:lnTo>
                  <a:lnTo>
                    <a:pt x="245" y="312"/>
                  </a:lnTo>
                  <a:lnTo>
                    <a:pt x="258" y="314"/>
                  </a:lnTo>
                  <a:lnTo>
                    <a:pt x="279" y="314"/>
                  </a:lnTo>
                  <a:lnTo>
                    <a:pt x="311" y="312"/>
                  </a:lnTo>
                  <a:lnTo>
                    <a:pt x="311" y="312"/>
                  </a:lnTo>
                  <a:lnTo>
                    <a:pt x="312" y="275"/>
                  </a:lnTo>
                  <a:lnTo>
                    <a:pt x="312" y="265"/>
                  </a:lnTo>
                  <a:lnTo>
                    <a:pt x="316" y="256"/>
                  </a:lnTo>
                  <a:lnTo>
                    <a:pt x="320" y="247"/>
                  </a:lnTo>
                  <a:lnTo>
                    <a:pt x="325" y="237"/>
                  </a:lnTo>
                  <a:lnTo>
                    <a:pt x="325" y="237"/>
                  </a:lnTo>
                  <a:lnTo>
                    <a:pt x="333" y="228"/>
                  </a:lnTo>
                  <a:lnTo>
                    <a:pt x="340" y="221"/>
                  </a:lnTo>
                  <a:lnTo>
                    <a:pt x="348" y="215"/>
                  </a:lnTo>
                  <a:lnTo>
                    <a:pt x="354" y="211"/>
                  </a:lnTo>
                  <a:lnTo>
                    <a:pt x="354" y="211"/>
                  </a:lnTo>
                  <a:lnTo>
                    <a:pt x="342" y="204"/>
                  </a:lnTo>
                  <a:lnTo>
                    <a:pt x="337" y="202"/>
                  </a:lnTo>
                  <a:lnTo>
                    <a:pt x="335" y="202"/>
                  </a:lnTo>
                  <a:lnTo>
                    <a:pt x="333" y="204"/>
                  </a:lnTo>
                  <a:lnTo>
                    <a:pt x="333" y="206"/>
                  </a:lnTo>
                  <a:lnTo>
                    <a:pt x="333" y="204"/>
                  </a:lnTo>
                  <a:lnTo>
                    <a:pt x="320" y="183"/>
                  </a:lnTo>
                  <a:lnTo>
                    <a:pt x="320" y="183"/>
                  </a:lnTo>
                  <a:lnTo>
                    <a:pt x="314" y="176"/>
                  </a:lnTo>
                  <a:lnTo>
                    <a:pt x="309" y="172"/>
                  </a:lnTo>
                  <a:lnTo>
                    <a:pt x="305" y="168"/>
                  </a:lnTo>
                  <a:lnTo>
                    <a:pt x="299" y="166"/>
                  </a:lnTo>
                  <a:lnTo>
                    <a:pt x="290" y="166"/>
                  </a:lnTo>
                  <a:lnTo>
                    <a:pt x="281" y="168"/>
                  </a:lnTo>
                  <a:lnTo>
                    <a:pt x="269" y="170"/>
                  </a:lnTo>
                  <a:lnTo>
                    <a:pt x="266" y="170"/>
                  </a:lnTo>
                  <a:lnTo>
                    <a:pt x="260" y="168"/>
                  </a:lnTo>
                  <a:lnTo>
                    <a:pt x="253" y="166"/>
                  </a:lnTo>
                  <a:lnTo>
                    <a:pt x="247" y="161"/>
                  </a:lnTo>
                  <a:lnTo>
                    <a:pt x="240" y="155"/>
                  </a:lnTo>
                  <a:lnTo>
                    <a:pt x="234" y="146"/>
                  </a:lnTo>
                  <a:lnTo>
                    <a:pt x="234" y="146"/>
                  </a:lnTo>
                  <a:lnTo>
                    <a:pt x="234" y="140"/>
                  </a:lnTo>
                  <a:lnTo>
                    <a:pt x="236" y="131"/>
                  </a:lnTo>
                  <a:lnTo>
                    <a:pt x="251" y="103"/>
                  </a:lnTo>
                  <a:lnTo>
                    <a:pt x="268" y="75"/>
                  </a:lnTo>
                  <a:lnTo>
                    <a:pt x="275" y="65"/>
                  </a:lnTo>
                  <a:lnTo>
                    <a:pt x="281" y="58"/>
                  </a:lnTo>
                  <a:lnTo>
                    <a:pt x="281" y="58"/>
                  </a:lnTo>
                  <a:lnTo>
                    <a:pt x="286" y="56"/>
                  </a:lnTo>
                  <a:lnTo>
                    <a:pt x="286" y="54"/>
                  </a:lnTo>
                  <a:lnTo>
                    <a:pt x="286" y="51"/>
                  </a:lnTo>
                  <a:lnTo>
                    <a:pt x="281" y="37"/>
                  </a:lnTo>
                  <a:lnTo>
                    <a:pt x="264" y="6"/>
                  </a:lnTo>
                  <a:lnTo>
                    <a:pt x="264" y="6"/>
                  </a:lnTo>
                  <a:lnTo>
                    <a:pt x="262" y="2"/>
                  </a:lnTo>
                  <a:lnTo>
                    <a:pt x="258" y="0"/>
                  </a:lnTo>
                  <a:lnTo>
                    <a:pt x="254" y="0"/>
                  </a:lnTo>
                  <a:lnTo>
                    <a:pt x="249" y="0"/>
                  </a:lnTo>
                  <a:lnTo>
                    <a:pt x="240" y="2"/>
                  </a:lnTo>
                  <a:lnTo>
                    <a:pt x="228" y="8"/>
                  </a:lnTo>
                  <a:lnTo>
                    <a:pt x="210" y="21"/>
                  </a:lnTo>
                  <a:lnTo>
                    <a:pt x="200" y="28"/>
                  </a:lnTo>
                  <a:lnTo>
                    <a:pt x="200" y="28"/>
                  </a:lnTo>
                  <a:lnTo>
                    <a:pt x="193" y="32"/>
                  </a:lnTo>
                  <a:lnTo>
                    <a:pt x="191" y="32"/>
                  </a:lnTo>
                  <a:lnTo>
                    <a:pt x="191" y="32"/>
                  </a:lnTo>
                  <a:lnTo>
                    <a:pt x="187" y="43"/>
                  </a:lnTo>
                  <a:lnTo>
                    <a:pt x="182" y="54"/>
                  </a:lnTo>
                  <a:lnTo>
                    <a:pt x="169" y="73"/>
                  </a:lnTo>
                  <a:lnTo>
                    <a:pt x="169" y="73"/>
                  </a:lnTo>
                  <a:lnTo>
                    <a:pt x="161" y="90"/>
                  </a:lnTo>
                  <a:lnTo>
                    <a:pt x="155" y="103"/>
                  </a:lnTo>
                  <a:lnTo>
                    <a:pt x="155" y="112"/>
                  </a:lnTo>
                  <a:lnTo>
                    <a:pt x="157" y="120"/>
                  </a:lnTo>
                  <a:lnTo>
                    <a:pt x="161" y="125"/>
                  </a:lnTo>
                  <a:lnTo>
                    <a:pt x="163" y="133"/>
                  </a:lnTo>
                  <a:lnTo>
                    <a:pt x="161" y="140"/>
                  </a:lnTo>
                  <a:lnTo>
                    <a:pt x="155" y="150"/>
                  </a:lnTo>
                  <a:lnTo>
                    <a:pt x="155" y="150"/>
                  </a:lnTo>
                  <a:lnTo>
                    <a:pt x="152" y="157"/>
                  </a:lnTo>
                  <a:lnTo>
                    <a:pt x="150" y="163"/>
                  </a:lnTo>
                  <a:lnTo>
                    <a:pt x="150" y="172"/>
                  </a:lnTo>
                  <a:lnTo>
                    <a:pt x="152" y="183"/>
                  </a:lnTo>
                  <a:lnTo>
                    <a:pt x="152" y="193"/>
                  </a:lnTo>
                  <a:lnTo>
                    <a:pt x="150" y="196"/>
                  </a:lnTo>
                  <a:lnTo>
                    <a:pt x="148" y="202"/>
                  </a:lnTo>
                  <a:lnTo>
                    <a:pt x="142" y="207"/>
                  </a:lnTo>
                  <a:lnTo>
                    <a:pt x="135" y="213"/>
                  </a:lnTo>
                  <a:lnTo>
                    <a:pt x="124" y="219"/>
                  </a:lnTo>
                  <a:lnTo>
                    <a:pt x="109" y="224"/>
                  </a:lnTo>
                  <a:lnTo>
                    <a:pt x="69" y="237"/>
                  </a:lnTo>
                  <a:lnTo>
                    <a:pt x="0" y="250"/>
                  </a:lnTo>
                  <a:lnTo>
                    <a:pt x="0" y="250"/>
                  </a:lnTo>
                  <a:lnTo>
                    <a:pt x="13" y="254"/>
                  </a:lnTo>
                  <a:lnTo>
                    <a:pt x="19" y="258"/>
                  </a:lnTo>
                  <a:lnTo>
                    <a:pt x="25" y="262"/>
                  </a:lnTo>
                  <a:lnTo>
                    <a:pt x="26" y="265"/>
                  </a:lnTo>
                  <a:lnTo>
                    <a:pt x="28" y="269"/>
                  </a:lnTo>
                  <a:lnTo>
                    <a:pt x="26" y="275"/>
                  </a:lnTo>
                  <a:lnTo>
                    <a:pt x="21" y="278"/>
                  </a:lnTo>
                  <a:lnTo>
                    <a:pt x="21" y="27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3" name="Freeform 73">
              <a:extLst>
                <a:ext uri="{FF2B5EF4-FFF2-40B4-BE49-F238E27FC236}">
                  <a16:creationId xmlns:a16="http://schemas.microsoft.com/office/drawing/2014/main" id="{F87A040B-A793-4582-9AD1-36B8F4CC8BBC}"/>
                </a:ext>
              </a:extLst>
            </p:cNvPr>
            <p:cNvSpPr>
              <a:spLocks/>
            </p:cNvSpPr>
            <p:nvPr/>
          </p:nvSpPr>
          <p:spPr bwMode="auto">
            <a:xfrm>
              <a:off x="4059700" y="1701621"/>
              <a:ext cx="2563310" cy="2110961"/>
            </a:xfrm>
            <a:custGeom>
              <a:avLst/>
              <a:gdLst/>
              <a:ahLst/>
              <a:cxnLst>
                <a:cxn ang="0">
                  <a:pos x="701" y="2098"/>
                </a:cxn>
                <a:cxn ang="0">
                  <a:pos x="602" y="2255"/>
                </a:cxn>
                <a:cxn ang="0">
                  <a:pos x="873" y="2265"/>
                </a:cxn>
                <a:cxn ang="0">
                  <a:pos x="914" y="2104"/>
                </a:cxn>
                <a:cxn ang="0">
                  <a:pos x="972" y="2175"/>
                </a:cxn>
                <a:cxn ang="0">
                  <a:pos x="1054" y="2278"/>
                </a:cxn>
                <a:cxn ang="0">
                  <a:pos x="1179" y="2308"/>
                </a:cxn>
                <a:cxn ang="0">
                  <a:pos x="1218" y="2236"/>
                </a:cxn>
                <a:cxn ang="0">
                  <a:pos x="1346" y="2085"/>
                </a:cxn>
                <a:cxn ang="0">
                  <a:pos x="1418" y="2070"/>
                </a:cxn>
                <a:cxn ang="0">
                  <a:pos x="1516" y="2029"/>
                </a:cxn>
                <a:cxn ang="0">
                  <a:pos x="1645" y="1943"/>
                </a:cxn>
                <a:cxn ang="0">
                  <a:pos x="1779" y="1881"/>
                </a:cxn>
                <a:cxn ang="0">
                  <a:pos x="1802" y="1702"/>
                </a:cxn>
                <a:cxn ang="0">
                  <a:pos x="1936" y="1698"/>
                </a:cxn>
                <a:cxn ang="0">
                  <a:pos x="2072" y="1663"/>
                </a:cxn>
                <a:cxn ang="0">
                  <a:pos x="2157" y="1571"/>
                </a:cxn>
                <a:cxn ang="0">
                  <a:pos x="2237" y="1728"/>
                </a:cxn>
                <a:cxn ang="0">
                  <a:pos x="2349" y="1711"/>
                </a:cxn>
                <a:cxn ang="0">
                  <a:pos x="2375" y="1609"/>
                </a:cxn>
                <a:cxn ang="0">
                  <a:pos x="2521" y="1579"/>
                </a:cxn>
                <a:cxn ang="0">
                  <a:pos x="2650" y="1504"/>
                </a:cxn>
                <a:cxn ang="0">
                  <a:pos x="2738" y="1450"/>
                </a:cxn>
                <a:cxn ang="0">
                  <a:pos x="2727" y="1381"/>
                </a:cxn>
                <a:cxn ang="0">
                  <a:pos x="2689" y="1250"/>
                </a:cxn>
                <a:cxn ang="0">
                  <a:pos x="2575" y="1209"/>
                </a:cxn>
                <a:cxn ang="0">
                  <a:pos x="2540" y="1099"/>
                </a:cxn>
                <a:cxn ang="0">
                  <a:pos x="2586" y="1065"/>
                </a:cxn>
                <a:cxn ang="0">
                  <a:pos x="2648" y="1026"/>
                </a:cxn>
                <a:cxn ang="0">
                  <a:pos x="2693" y="921"/>
                </a:cxn>
                <a:cxn ang="0">
                  <a:pos x="2616" y="914"/>
                </a:cxn>
                <a:cxn ang="0">
                  <a:pos x="2710" y="671"/>
                </a:cxn>
                <a:cxn ang="0">
                  <a:pos x="2742" y="658"/>
                </a:cxn>
                <a:cxn ang="0">
                  <a:pos x="2777" y="465"/>
                </a:cxn>
                <a:cxn ang="0">
                  <a:pos x="2725" y="205"/>
                </a:cxn>
                <a:cxn ang="0">
                  <a:pos x="2547" y="280"/>
                </a:cxn>
                <a:cxn ang="0">
                  <a:pos x="2452" y="121"/>
                </a:cxn>
                <a:cxn ang="0">
                  <a:pos x="2385" y="76"/>
                </a:cxn>
                <a:cxn ang="0">
                  <a:pos x="2257" y="82"/>
                </a:cxn>
                <a:cxn ang="0">
                  <a:pos x="2302" y="149"/>
                </a:cxn>
                <a:cxn ang="0">
                  <a:pos x="2229" y="359"/>
                </a:cxn>
                <a:cxn ang="0">
                  <a:pos x="2119" y="557"/>
                </a:cxn>
                <a:cxn ang="0">
                  <a:pos x="1906" y="736"/>
                </a:cxn>
                <a:cxn ang="0">
                  <a:pos x="1927" y="859"/>
                </a:cxn>
                <a:cxn ang="0">
                  <a:pos x="2099" y="813"/>
                </a:cxn>
                <a:cxn ang="0">
                  <a:pos x="2300" y="921"/>
                </a:cxn>
                <a:cxn ang="0">
                  <a:pos x="2198" y="988"/>
                </a:cxn>
                <a:cxn ang="0">
                  <a:pos x="2076" y="1035"/>
                </a:cxn>
                <a:cxn ang="0">
                  <a:pos x="1966" y="1143"/>
                </a:cxn>
                <a:cxn ang="0">
                  <a:pos x="1693" y="1297"/>
                </a:cxn>
                <a:cxn ang="0">
                  <a:pos x="1491" y="1358"/>
                </a:cxn>
                <a:cxn ang="0">
                  <a:pos x="1446" y="1510"/>
                </a:cxn>
                <a:cxn ang="0">
                  <a:pos x="1095" y="1635"/>
                </a:cxn>
                <a:cxn ang="0">
                  <a:pos x="766" y="1719"/>
                </a:cxn>
                <a:cxn ang="0">
                  <a:pos x="546" y="1644"/>
                </a:cxn>
                <a:cxn ang="0">
                  <a:pos x="248" y="1556"/>
                </a:cxn>
                <a:cxn ang="0">
                  <a:pos x="28" y="1706"/>
                </a:cxn>
                <a:cxn ang="0">
                  <a:pos x="121" y="1835"/>
                </a:cxn>
                <a:cxn ang="0">
                  <a:pos x="284" y="1855"/>
                </a:cxn>
                <a:cxn ang="0">
                  <a:pos x="288" y="1995"/>
                </a:cxn>
                <a:cxn ang="0">
                  <a:pos x="366" y="2094"/>
                </a:cxn>
                <a:cxn ang="0">
                  <a:pos x="508" y="2066"/>
                </a:cxn>
              </a:cxnLst>
              <a:rect l="0" t="0" r="r" b="b"/>
              <a:pathLst>
                <a:path w="2822" h="2322">
                  <a:moveTo>
                    <a:pt x="551" y="2083"/>
                  </a:moveTo>
                  <a:lnTo>
                    <a:pt x="551" y="2083"/>
                  </a:lnTo>
                  <a:lnTo>
                    <a:pt x="557" y="2085"/>
                  </a:lnTo>
                  <a:lnTo>
                    <a:pt x="564" y="2083"/>
                  </a:lnTo>
                  <a:lnTo>
                    <a:pt x="583" y="2078"/>
                  </a:lnTo>
                  <a:lnTo>
                    <a:pt x="605" y="2066"/>
                  </a:lnTo>
                  <a:lnTo>
                    <a:pt x="628" y="2055"/>
                  </a:lnTo>
                  <a:lnTo>
                    <a:pt x="650" y="2046"/>
                  </a:lnTo>
                  <a:lnTo>
                    <a:pt x="662" y="2042"/>
                  </a:lnTo>
                  <a:lnTo>
                    <a:pt x="669" y="2040"/>
                  </a:lnTo>
                  <a:lnTo>
                    <a:pt x="676" y="2040"/>
                  </a:lnTo>
                  <a:lnTo>
                    <a:pt x="682" y="2042"/>
                  </a:lnTo>
                  <a:lnTo>
                    <a:pt x="686" y="2048"/>
                  </a:lnTo>
                  <a:lnTo>
                    <a:pt x="688" y="2055"/>
                  </a:lnTo>
                  <a:lnTo>
                    <a:pt x="688" y="2055"/>
                  </a:lnTo>
                  <a:lnTo>
                    <a:pt x="690" y="2068"/>
                  </a:lnTo>
                  <a:lnTo>
                    <a:pt x="693" y="2078"/>
                  </a:lnTo>
                  <a:lnTo>
                    <a:pt x="699" y="2087"/>
                  </a:lnTo>
                  <a:lnTo>
                    <a:pt x="701" y="2093"/>
                  </a:lnTo>
                  <a:lnTo>
                    <a:pt x="701" y="2098"/>
                  </a:lnTo>
                  <a:lnTo>
                    <a:pt x="697" y="2109"/>
                  </a:lnTo>
                  <a:lnTo>
                    <a:pt x="688" y="2123"/>
                  </a:lnTo>
                  <a:lnTo>
                    <a:pt x="688" y="2123"/>
                  </a:lnTo>
                  <a:lnTo>
                    <a:pt x="675" y="2143"/>
                  </a:lnTo>
                  <a:lnTo>
                    <a:pt x="660" y="2156"/>
                  </a:lnTo>
                  <a:lnTo>
                    <a:pt x="647" y="2165"/>
                  </a:lnTo>
                  <a:lnTo>
                    <a:pt x="635" y="2171"/>
                  </a:lnTo>
                  <a:lnTo>
                    <a:pt x="619" y="2179"/>
                  </a:lnTo>
                  <a:lnTo>
                    <a:pt x="615" y="2182"/>
                  </a:lnTo>
                  <a:lnTo>
                    <a:pt x="615" y="2188"/>
                  </a:lnTo>
                  <a:lnTo>
                    <a:pt x="615" y="2188"/>
                  </a:lnTo>
                  <a:lnTo>
                    <a:pt x="619" y="2197"/>
                  </a:lnTo>
                  <a:lnTo>
                    <a:pt x="617" y="2207"/>
                  </a:lnTo>
                  <a:lnTo>
                    <a:pt x="613" y="2214"/>
                  </a:lnTo>
                  <a:lnTo>
                    <a:pt x="607" y="2222"/>
                  </a:lnTo>
                  <a:lnTo>
                    <a:pt x="604" y="2229"/>
                  </a:lnTo>
                  <a:lnTo>
                    <a:pt x="600" y="2238"/>
                  </a:lnTo>
                  <a:lnTo>
                    <a:pt x="598" y="2246"/>
                  </a:lnTo>
                  <a:lnTo>
                    <a:pt x="602" y="2255"/>
                  </a:lnTo>
                  <a:lnTo>
                    <a:pt x="602" y="2255"/>
                  </a:lnTo>
                  <a:lnTo>
                    <a:pt x="604" y="2261"/>
                  </a:lnTo>
                  <a:lnTo>
                    <a:pt x="609" y="2265"/>
                  </a:lnTo>
                  <a:lnTo>
                    <a:pt x="619" y="2270"/>
                  </a:lnTo>
                  <a:lnTo>
                    <a:pt x="619" y="2270"/>
                  </a:lnTo>
                  <a:lnTo>
                    <a:pt x="633" y="2283"/>
                  </a:lnTo>
                  <a:lnTo>
                    <a:pt x="645" y="2293"/>
                  </a:lnTo>
                  <a:lnTo>
                    <a:pt x="663" y="2311"/>
                  </a:lnTo>
                  <a:lnTo>
                    <a:pt x="673" y="2317"/>
                  </a:lnTo>
                  <a:lnTo>
                    <a:pt x="684" y="2321"/>
                  </a:lnTo>
                  <a:lnTo>
                    <a:pt x="701" y="2322"/>
                  </a:lnTo>
                  <a:lnTo>
                    <a:pt x="721" y="2322"/>
                  </a:lnTo>
                  <a:lnTo>
                    <a:pt x="790" y="2309"/>
                  </a:lnTo>
                  <a:lnTo>
                    <a:pt x="790" y="2309"/>
                  </a:lnTo>
                  <a:lnTo>
                    <a:pt x="830" y="2296"/>
                  </a:lnTo>
                  <a:lnTo>
                    <a:pt x="845" y="2291"/>
                  </a:lnTo>
                  <a:lnTo>
                    <a:pt x="856" y="2285"/>
                  </a:lnTo>
                  <a:lnTo>
                    <a:pt x="863" y="2279"/>
                  </a:lnTo>
                  <a:lnTo>
                    <a:pt x="869" y="2274"/>
                  </a:lnTo>
                  <a:lnTo>
                    <a:pt x="871" y="2268"/>
                  </a:lnTo>
                  <a:lnTo>
                    <a:pt x="873" y="2265"/>
                  </a:lnTo>
                  <a:lnTo>
                    <a:pt x="873" y="2255"/>
                  </a:lnTo>
                  <a:lnTo>
                    <a:pt x="871" y="2244"/>
                  </a:lnTo>
                  <a:lnTo>
                    <a:pt x="871" y="2235"/>
                  </a:lnTo>
                  <a:lnTo>
                    <a:pt x="873" y="2229"/>
                  </a:lnTo>
                  <a:lnTo>
                    <a:pt x="876" y="2222"/>
                  </a:lnTo>
                  <a:lnTo>
                    <a:pt x="876" y="2222"/>
                  </a:lnTo>
                  <a:lnTo>
                    <a:pt x="882" y="2212"/>
                  </a:lnTo>
                  <a:lnTo>
                    <a:pt x="884" y="2205"/>
                  </a:lnTo>
                  <a:lnTo>
                    <a:pt x="882" y="2197"/>
                  </a:lnTo>
                  <a:lnTo>
                    <a:pt x="878" y="2192"/>
                  </a:lnTo>
                  <a:lnTo>
                    <a:pt x="876" y="2184"/>
                  </a:lnTo>
                  <a:lnTo>
                    <a:pt x="876" y="2175"/>
                  </a:lnTo>
                  <a:lnTo>
                    <a:pt x="882" y="2162"/>
                  </a:lnTo>
                  <a:lnTo>
                    <a:pt x="890" y="2145"/>
                  </a:lnTo>
                  <a:lnTo>
                    <a:pt x="890" y="2145"/>
                  </a:lnTo>
                  <a:lnTo>
                    <a:pt x="903" y="2126"/>
                  </a:lnTo>
                  <a:lnTo>
                    <a:pt x="908" y="2115"/>
                  </a:lnTo>
                  <a:lnTo>
                    <a:pt x="912" y="2104"/>
                  </a:lnTo>
                  <a:lnTo>
                    <a:pt x="912" y="2104"/>
                  </a:lnTo>
                  <a:lnTo>
                    <a:pt x="914" y="2104"/>
                  </a:lnTo>
                  <a:lnTo>
                    <a:pt x="923" y="2100"/>
                  </a:lnTo>
                  <a:lnTo>
                    <a:pt x="923" y="2100"/>
                  </a:lnTo>
                  <a:lnTo>
                    <a:pt x="931" y="2093"/>
                  </a:lnTo>
                  <a:lnTo>
                    <a:pt x="949" y="2080"/>
                  </a:lnTo>
                  <a:lnTo>
                    <a:pt x="961" y="2074"/>
                  </a:lnTo>
                  <a:lnTo>
                    <a:pt x="970" y="2072"/>
                  </a:lnTo>
                  <a:lnTo>
                    <a:pt x="975" y="2072"/>
                  </a:lnTo>
                  <a:lnTo>
                    <a:pt x="979" y="2072"/>
                  </a:lnTo>
                  <a:lnTo>
                    <a:pt x="983" y="2074"/>
                  </a:lnTo>
                  <a:lnTo>
                    <a:pt x="985" y="2078"/>
                  </a:lnTo>
                  <a:lnTo>
                    <a:pt x="985" y="2078"/>
                  </a:lnTo>
                  <a:lnTo>
                    <a:pt x="1002" y="2109"/>
                  </a:lnTo>
                  <a:lnTo>
                    <a:pt x="1007" y="2123"/>
                  </a:lnTo>
                  <a:lnTo>
                    <a:pt x="1007" y="2126"/>
                  </a:lnTo>
                  <a:lnTo>
                    <a:pt x="1007" y="2128"/>
                  </a:lnTo>
                  <a:lnTo>
                    <a:pt x="1002" y="2130"/>
                  </a:lnTo>
                  <a:lnTo>
                    <a:pt x="1002" y="2130"/>
                  </a:lnTo>
                  <a:lnTo>
                    <a:pt x="996" y="2137"/>
                  </a:lnTo>
                  <a:lnTo>
                    <a:pt x="989" y="2147"/>
                  </a:lnTo>
                  <a:lnTo>
                    <a:pt x="972" y="2175"/>
                  </a:lnTo>
                  <a:lnTo>
                    <a:pt x="957" y="2203"/>
                  </a:lnTo>
                  <a:lnTo>
                    <a:pt x="955" y="2212"/>
                  </a:lnTo>
                  <a:lnTo>
                    <a:pt x="955" y="2218"/>
                  </a:lnTo>
                  <a:lnTo>
                    <a:pt x="955" y="2218"/>
                  </a:lnTo>
                  <a:lnTo>
                    <a:pt x="961" y="2227"/>
                  </a:lnTo>
                  <a:lnTo>
                    <a:pt x="968" y="2233"/>
                  </a:lnTo>
                  <a:lnTo>
                    <a:pt x="974" y="2238"/>
                  </a:lnTo>
                  <a:lnTo>
                    <a:pt x="981" y="2240"/>
                  </a:lnTo>
                  <a:lnTo>
                    <a:pt x="987" y="2242"/>
                  </a:lnTo>
                  <a:lnTo>
                    <a:pt x="990" y="2242"/>
                  </a:lnTo>
                  <a:lnTo>
                    <a:pt x="1002" y="2240"/>
                  </a:lnTo>
                  <a:lnTo>
                    <a:pt x="1011" y="2238"/>
                  </a:lnTo>
                  <a:lnTo>
                    <a:pt x="1020" y="2238"/>
                  </a:lnTo>
                  <a:lnTo>
                    <a:pt x="1026" y="2240"/>
                  </a:lnTo>
                  <a:lnTo>
                    <a:pt x="1030" y="2244"/>
                  </a:lnTo>
                  <a:lnTo>
                    <a:pt x="1035" y="2248"/>
                  </a:lnTo>
                  <a:lnTo>
                    <a:pt x="1041" y="2255"/>
                  </a:lnTo>
                  <a:lnTo>
                    <a:pt x="1041" y="2255"/>
                  </a:lnTo>
                  <a:lnTo>
                    <a:pt x="1054" y="2276"/>
                  </a:lnTo>
                  <a:lnTo>
                    <a:pt x="1054" y="2278"/>
                  </a:lnTo>
                  <a:lnTo>
                    <a:pt x="1054" y="2276"/>
                  </a:lnTo>
                  <a:lnTo>
                    <a:pt x="1056" y="2274"/>
                  </a:lnTo>
                  <a:lnTo>
                    <a:pt x="1058" y="2274"/>
                  </a:lnTo>
                  <a:lnTo>
                    <a:pt x="1063" y="2276"/>
                  </a:lnTo>
                  <a:lnTo>
                    <a:pt x="1075" y="2283"/>
                  </a:lnTo>
                  <a:lnTo>
                    <a:pt x="1075" y="2283"/>
                  </a:lnTo>
                  <a:lnTo>
                    <a:pt x="1082" y="2283"/>
                  </a:lnTo>
                  <a:lnTo>
                    <a:pt x="1089" y="2285"/>
                  </a:lnTo>
                  <a:lnTo>
                    <a:pt x="1097" y="2289"/>
                  </a:lnTo>
                  <a:lnTo>
                    <a:pt x="1106" y="2294"/>
                  </a:lnTo>
                  <a:lnTo>
                    <a:pt x="1106" y="2294"/>
                  </a:lnTo>
                  <a:lnTo>
                    <a:pt x="1125" y="2306"/>
                  </a:lnTo>
                  <a:lnTo>
                    <a:pt x="1136" y="2311"/>
                  </a:lnTo>
                  <a:lnTo>
                    <a:pt x="1144" y="2311"/>
                  </a:lnTo>
                  <a:lnTo>
                    <a:pt x="1149" y="2309"/>
                  </a:lnTo>
                  <a:lnTo>
                    <a:pt x="1155" y="2304"/>
                  </a:lnTo>
                  <a:lnTo>
                    <a:pt x="1160" y="2302"/>
                  </a:lnTo>
                  <a:lnTo>
                    <a:pt x="1168" y="2304"/>
                  </a:lnTo>
                  <a:lnTo>
                    <a:pt x="1168" y="2304"/>
                  </a:lnTo>
                  <a:lnTo>
                    <a:pt x="1179" y="2308"/>
                  </a:lnTo>
                  <a:lnTo>
                    <a:pt x="1189" y="2309"/>
                  </a:lnTo>
                  <a:lnTo>
                    <a:pt x="1196" y="2309"/>
                  </a:lnTo>
                  <a:lnTo>
                    <a:pt x="1202" y="2308"/>
                  </a:lnTo>
                  <a:lnTo>
                    <a:pt x="1205" y="2306"/>
                  </a:lnTo>
                  <a:lnTo>
                    <a:pt x="1207" y="2302"/>
                  </a:lnTo>
                  <a:lnTo>
                    <a:pt x="1207" y="2293"/>
                  </a:lnTo>
                  <a:lnTo>
                    <a:pt x="1202" y="2272"/>
                  </a:lnTo>
                  <a:lnTo>
                    <a:pt x="1202" y="2263"/>
                  </a:lnTo>
                  <a:lnTo>
                    <a:pt x="1203" y="2261"/>
                  </a:lnTo>
                  <a:lnTo>
                    <a:pt x="1207" y="2259"/>
                  </a:lnTo>
                  <a:lnTo>
                    <a:pt x="1207" y="2259"/>
                  </a:lnTo>
                  <a:lnTo>
                    <a:pt x="1217" y="2257"/>
                  </a:lnTo>
                  <a:lnTo>
                    <a:pt x="1224" y="2257"/>
                  </a:lnTo>
                  <a:lnTo>
                    <a:pt x="1232" y="2259"/>
                  </a:lnTo>
                  <a:lnTo>
                    <a:pt x="1232" y="2259"/>
                  </a:lnTo>
                  <a:lnTo>
                    <a:pt x="1226" y="2251"/>
                  </a:lnTo>
                  <a:lnTo>
                    <a:pt x="1226" y="2251"/>
                  </a:lnTo>
                  <a:lnTo>
                    <a:pt x="1218" y="2240"/>
                  </a:lnTo>
                  <a:lnTo>
                    <a:pt x="1218" y="2240"/>
                  </a:lnTo>
                  <a:lnTo>
                    <a:pt x="1218" y="2236"/>
                  </a:lnTo>
                  <a:lnTo>
                    <a:pt x="1218" y="2231"/>
                  </a:lnTo>
                  <a:lnTo>
                    <a:pt x="1224" y="2218"/>
                  </a:lnTo>
                  <a:lnTo>
                    <a:pt x="1233" y="2203"/>
                  </a:lnTo>
                  <a:lnTo>
                    <a:pt x="1245" y="2186"/>
                  </a:lnTo>
                  <a:lnTo>
                    <a:pt x="1269" y="2158"/>
                  </a:lnTo>
                  <a:lnTo>
                    <a:pt x="1280" y="2145"/>
                  </a:lnTo>
                  <a:lnTo>
                    <a:pt x="1280" y="2145"/>
                  </a:lnTo>
                  <a:lnTo>
                    <a:pt x="1293" y="2139"/>
                  </a:lnTo>
                  <a:lnTo>
                    <a:pt x="1301" y="2134"/>
                  </a:lnTo>
                  <a:lnTo>
                    <a:pt x="1304" y="2130"/>
                  </a:lnTo>
                  <a:lnTo>
                    <a:pt x="1304" y="2126"/>
                  </a:lnTo>
                  <a:lnTo>
                    <a:pt x="1304" y="2119"/>
                  </a:lnTo>
                  <a:lnTo>
                    <a:pt x="1306" y="2117"/>
                  </a:lnTo>
                  <a:lnTo>
                    <a:pt x="1310" y="2111"/>
                  </a:lnTo>
                  <a:lnTo>
                    <a:pt x="1310" y="2111"/>
                  </a:lnTo>
                  <a:lnTo>
                    <a:pt x="1329" y="2091"/>
                  </a:lnTo>
                  <a:lnTo>
                    <a:pt x="1334" y="2085"/>
                  </a:lnTo>
                  <a:lnTo>
                    <a:pt x="1336" y="2085"/>
                  </a:lnTo>
                  <a:lnTo>
                    <a:pt x="1340" y="2085"/>
                  </a:lnTo>
                  <a:lnTo>
                    <a:pt x="1346" y="2085"/>
                  </a:lnTo>
                  <a:lnTo>
                    <a:pt x="1346" y="2085"/>
                  </a:lnTo>
                  <a:lnTo>
                    <a:pt x="1355" y="2083"/>
                  </a:lnTo>
                  <a:lnTo>
                    <a:pt x="1360" y="2080"/>
                  </a:lnTo>
                  <a:lnTo>
                    <a:pt x="1360" y="2076"/>
                  </a:lnTo>
                  <a:lnTo>
                    <a:pt x="1359" y="2072"/>
                  </a:lnTo>
                  <a:lnTo>
                    <a:pt x="1351" y="2066"/>
                  </a:lnTo>
                  <a:lnTo>
                    <a:pt x="1347" y="2063"/>
                  </a:lnTo>
                  <a:lnTo>
                    <a:pt x="1347" y="2063"/>
                  </a:lnTo>
                  <a:lnTo>
                    <a:pt x="1347" y="2059"/>
                  </a:lnTo>
                  <a:lnTo>
                    <a:pt x="1351" y="2059"/>
                  </a:lnTo>
                  <a:lnTo>
                    <a:pt x="1362" y="2061"/>
                  </a:lnTo>
                  <a:lnTo>
                    <a:pt x="1385" y="2068"/>
                  </a:lnTo>
                  <a:lnTo>
                    <a:pt x="1385" y="2068"/>
                  </a:lnTo>
                  <a:lnTo>
                    <a:pt x="1394" y="2068"/>
                  </a:lnTo>
                  <a:lnTo>
                    <a:pt x="1402" y="2070"/>
                  </a:lnTo>
                  <a:lnTo>
                    <a:pt x="1407" y="2072"/>
                  </a:lnTo>
                  <a:lnTo>
                    <a:pt x="1409" y="2076"/>
                  </a:lnTo>
                  <a:lnTo>
                    <a:pt x="1411" y="2078"/>
                  </a:lnTo>
                  <a:lnTo>
                    <a:pt x="1413" y="2078"/>
                  </a:lnTo>
                  <a:lnTo>
                    <a:pt x="1418" y="2070"/>
                  </a:lnTo>
                  <a:lnTo>
                    <a:pt x="1418" y="2070"/>
                  </a:lnTo>
                  <a:lnTo>
                    <a:pt x="1426" y="2059"/>
                  </a:lnTo>
                  <a:lnTo>
                    <a:pt x="1433" y="2052"/>
                  </a:lnTo>
                  <a:lnTo>
                    <a:pt x="1441" y="2044"/>
                  </a:lnTo>
                  <a:lnTo>
                    <a:pt x="1448" y="2040"/>
                  </a:lnTo>
                  <a:lnTo>
                    <a:pt x="1456" y="2040"/>
                  </a:lnTo>
                  <a:lnTo>
                    <a:pt x="1460" y="2042"/>
                  </a:lnTo>
                  <a:lnTo>
                    <a:pt x="1461" y="2048"/>
                  </a:lnTo>
                  <a:lnTo>
                    <a:pt x="1460" y="2057"/>
                  </a:lnTo>
                  <a:lnTo>
                    <a:pt x="1460" y="2057"/>
                  </a:lnTo>
                  <a:lnTo>
                    <a:pt x="1467" y="2055"/>
                  </a:lnTo>
                  <a:lnTo>
                    <a:pt x="1471" y="2055"/>
                  </a:lnTo>
                  <a:lnTo>
                    <a:pt x="1476" y="2057"/>
                  </a:lnTo>
                  <a:lnTo>
                    <a:pt x="1478" y="2057"/>
                  </a:lnTo>
                  <a:lnTo>
                    <a:pt x="1482" y="2055"/>
                  </a:lnTo>
                  <a:lnTo>
                    <a:pt x="1495" y="2042"/>
                  </a:lnTo>
                  <a:lnTo>
                    <a:pt x="1495" y="2042"/>
                  </a:lnTo>
                  <a:lnTo>
                    <a:pt x="1501" y="2037"/>
                  </a:lnTo>
                  <a:lnTo>
                    <a:pt x="1506" y="2033"/>
                  </a:lnTo>
                  <a:lnTo>
                    <a:pt x="1516" y="2029"/>
                  </a:lnTo>
                  <a:lnTo>
                    <a:pt x="1525" y="2029"/>
                  </a:lnTo>
                  <a:lnTo>
                    <a:pt x="1534" y="2033"/>
                  </a:lnTo>
                  <a:lnTo>
                    <a:pt x="1542" y="2035"/>
                  </a:lnTo>
                  <a:lnTo>
                    <a:pt x="1547" y="2035"/>
                  </a:lnTo>
                  <a:lnTo>
                    <a:pt x="1553" y="2033"/>
                  </a:lnTo>
                  <a:lnTo>
                    <a:pt x="1555" y="2027"/>
                  </a:lnTo>
                  <a:lnTo>
                    <a:pt x="1555" y="2027"/>
                  </a:lnTo>
                  <a:lnTo>
                    <a:pt x="1566" y="1992"/>
                  </a:lnTo>
                  <a:lnTo>
                    <a:pt x="1572" y="1971"/>
                  </a:lnTo>
                  <a:lnTo>
                    <a:pt x="1577" y="1956"/>
                  </a:lnTo>
                  <a:lnTo>
                    <a:pt x="1577" y="1956"/>
                  </a:lnTo>
                  <a:lnTo>
                    <a:pt x="1583" y="1949"/>
                  </a:lnTo>
                  <a:lnTo>
                    <a:pt x="1587" y="1943"/>
                  </a:lnTo>
                  <a:lnTo>
                    <a:pt x="1592" y="1939"/>
                  </a:lnTo>
                  <a:lnTo>
                    <a:pt x="1596" y="1938"/>
                  </a:lnTo>
                  <a:lnTo>
                    <a:pt x="1607" y="1938"/>
                  </a:lnTo>
                  <a:lnTo>
                    <a:pt x="1618" y="1939"/>
                  </a:lnTo>
                  <a:lnTo>
                    <a:pt x="1628" y="1941"/>
                  </a:lnTo>
                  <a:lnTo>
                    <a:pt x="1639" y="1943"/>
                  </a:lnTo>
                  <a:lnTo>
                    <a:pt x="1645" y="1943"/>
                  </a:lnTo>
                  <a:lnTo>
                    <a:pt x="1650" y="1941"/>
                  </a:lnTo>
                  <a:lnTo>
                    <a:pt x="1654" y="1938"/>
                  </a:lnTo>
                  <a:lnTo>
                    <a:pt x="1659" y="1932"/>
                  </a:lnTo>
                  <a:lnTo>
                    <a:pt x="1659" y="1932"/>
                  </a:lnTo>
                  <a:lnTo>
                    <a:pt x="1663" y="1928"/>
                  </a:lnTo>
                  <a:lnTo>
                    <a:pt x="1667" y="1924"/>
                  </a:lnTo>
                  <a:lnTo>
                    <a:pt x="1676" y="1923"/>
                  </a:lnTo>
                  <a:lnTo>
                    <a:pt x="1686" y="1921"/>
                  </a:lnTo>
                  <a:lnTo>
                    <a:pt x="1697" y="1923"/>
                  </a:lnTo>
                  <a:lnTo>
                    <a:pt x="1708" y="1923"/>
                  </a:lnTo>
                  <a:lnTo>
                    <a:pt x="1717" y="1923"/>
                  </a:lnTo>
                  <a:lnTo>
                    <a:pt x="1727" y="1921"/>
                  </a:lnTo>
                  <a:lnTo>
                    <a:pt x="1730" y="1919"/>
                  </a:lnTo>
                  <a:lnTo>
                    <a:pt x="1736" y="1915"/>
                  </a:lnTo>
                  <a:lnTo>
                    <a:pt x="1736" y="1915"/>
                  </a:lnTo>
                  <a:lnTo>
                    <a:pt x="1745" y="1906"/>
                  </a:lnTo>
                  <a:lnTo>
                    <a:pt x="1755" y="1900"/>
                  </a:lnTo>
                  <a:lnTo>
                    <a:pt x="1770" y="1893"/>
                  </a:lnTo>
                  <a:lnTo>
                    <a:pt x="1775" y="1889"/>
                  </a:lnTo>
                  <a:lnTo>
                    <a:pt x="1779" y="1881"/>
                  </a:lnTo>
                  <a:lnTo>
                    <a:pt x="1781" y="1868"/>
                  </a:lnTo>
                  <a:lnTo>
                    <a:pt x="1779" y="1848"/>
                  </a:lnTo>
                  <a:lnTo>
                    <a:pt x="1775" y="1839"/>
                  </a:lnTo>
                  <a:lnTo>
                    <a:pt x="1772" y="1831"/>
                  </a:lnTo>
                  <a:lnTo>
                    <a:pt x="1766" y="1825"/>
                  </a:lnTo>
                  <a:lnTo>
                    <a:pt x="1762" y="1820"/>
                  </a:lnTo>
                  <a:lnTo>
                    <a:pt x="1762" y="1812"/>
                  </a:lnTo>
                  <a:lnTo>
                    <a:pt x="1766" y="1807"/>
                  </a:lnTo>
                  <a:lnTo>
                    <a:pt x="1766" y="1801"/>
                  </a:lnTo>
                  <a:lnTo>
                    <a:pt x="1762" y="1792"/>
                  </a:lnTo>
                  <a:lnTo>
                    <a:pt x="1759" y="1784"/>
                  </a:lnTo>
                  <a:lnTo>
                    <a:pt x="1762" y="1777"/>
                  </a:lnTo>
                  <a:lnTo>
                    <a:pt x="1764" y="1762"/>
                  </a:lnTo>
                  <a:lnTo>
                    <a:pt x="1768" y="1751"/>
                  </a:lnTo>
                  <a:lnTo>
                    <a:pt x="1783" y="1751"/>
                  </a:lnTo>
                  <a:lnTo>
                    <a:pt x="1787" y="1741"/>
                  </a:lnTo>
                  <a:lnTo>
                    <a:pt x="1790" y="1730"/>
                  </a:lnTo>
                  <a:lnTo>
                    <a:pt x="1794" y="1721"/>
                  </a:lnTo>
                  <a:lnTo>
                    <a:pt x="1796" y="1710"/>
                  </a:lnTo>
                  <a:lnTo>
                    <a:pt x="1802" y="1702"/>
                  </a:lnTo>
                  <a:lnTo>
                    <a:pt x="1809" y="1693"/>
                  </a:lnTo>
                  <a:lnTo>
                    <a:pt x="1818" y="1682"/>
                  </a:lnTo>
                  <a:lnTo>
                    <a:pt x="1826" y="1670"/>
                  </a:lnTo>
                  <a:lnTo>
                    <a:pt x="1835" y="1661"/>
                  </a:lnTo>
                  <a:lnTo>
                    <a:pt x="1844" y="1665"/>
                  </a:lnTo>
                  <a:lnTo>
                    <a:pt x="1854" y="1670"/>
                  </a:lnTo>
                  <a:lnTo>
                    <a:pt x="1861" y="1680"/>
                  </a:lnTo>
                  <a:lnTo>
                    <a:pt x="1869" y="1689"/>
                  </a:lnTo>
                  <a:lnTo>
                    <a:pt x="1865" y="1702"/>
                  </a:lnTo>
                  <a:lnTo>
                    <a:pt x="1859" y="1717"/>
                  </a:lnTo>
                  <a:lnTo>
                    <a:pt x="1859" y="1730"/>
                  </a:lnTo>
                  <a:lnTo>
                    <a:pt x="1865" y="1745"/>
                  </a:lnTo>
                  <a:lnTo>
                    <a:pt x="1878" y="1745"/>
                  </a:lnTo>
                  <a:lnTo>
                    <a:pt x="1889" y="1745"/>
                  </a:lnTo>
                  <a:lnTo>
                    <a:pt x="1899" y="1739"/>
                  </a:lnTo>
                  <a:lnTo>
                    <a:pt x="1902" y="1730"/>
                  </a:lnTo>
                  <a:lnTo>
                    <a:pt x="1908" y="1721"/>
                  </a:lnTo>
                  <a:lnTo>
                    <a:pt x="1917" y="1713"/>
                  </a:lnTo>
                  <a:lnTo>
                    <a:pt x="1927" y="1708"/>
                  </a:lnTo>
                  <a:lnTo>
                    <a:pt x="1936" y="1698"/>
                  </a:lnTo>
                  <a:lnTo>
                    <a:pt x="1945" y="1693"/>
                  </a:lnTo>
                  <a:lnTo>
                    <a:pt x="1955" y="1683"/>
                  </a:lnTo>
                  <a:lnTo>
                    <a:pt x="1968" y="1680"/>
                  </a:lnTo>
                  <a:lnTo>
                    <a:pt x="1972" y="1685"/>
                  </a:lnTo>
                  <a:lnTo>
                    <a:pt x="1975" y="1693"/>
                  </a:lnTo>
                  <a:lnTo>
                    <a:pt x="1987" y="1698"/>
                  </a:lnTo>
                  <a:lnTo>
                    <a:pt x="1990" y="1695"/>
                  </a:lnTo>
                  <a:lnTo>
                    <a:pt x="1994" y="1693"/>
                  </a:lnTo>
                  <a:lnTo>
                    <a:pt x="1998" y="1687"/>
                  </a:lnTo>
                  <a:lnTo>
                    <a:pt x="2005" y="1680"/>
                  </a:lnTo>
                  <a:lnTo>
                    <a:pt x="2011" y="1674"/>
                  </a:lnTo>
                  <a:lnTo>
                    <a:pt x="2015" y="1668"/>
                  </a:lnTo>
                  <a:lnTo>
                    <a:pt x="2018" y="1667"/>
                  </a:lnTo>
                  <a:lnTo>
                    <a:pt x="2022" y="1667"/>
                  </a:lnTo>
                  <a:lnTo>
                    <a:pt x="2030" y="1674"/>
                  </a:lnTo>
                  <a:lnTo>
                    <a:pt x="2039" y="1674"/>
                  </a:lnTo>
                  <a:lnTo>
                    <a:pt x="2050" y="1674"/>
                  </a:lnTo>
                  <a:lnTo>
                    <a:pt x="2061" y="1674"/>
                  </a:lnTo>
                  <a:lnTo>
                    <a:pt x="2071" y="1670"/>
                  </a:lnTo>
                  <a:lnTo>
                    <a:pt x="2072" y="1663"/>
                  </a:lnTo>
                  <a:lnTo>
                    <a:pt x="2078" y="1655"/>
                  </a:lnTo>
                  <a:lnTo>
                    <a:pt x="2076" y="1650"/>
                  </a:lnTo>
                  <a:lnTo>
                    <a:pt x="2072" y="1646"/>
                  </a:lnTo>
                  <a:lnTo>
                    <a:pt x="2069" y="1642"/>
                  </a:lnTo>
                  <a:lnTo>
                    <a:pt x="2074" y="1637"/>
                  </a:lnTo>
                  <a:lnTo>
                    <a:pt x="2078" y="1631"/>
                  </a:lnTo>
                  <a:lnTo>
                    <a:pt x="2078" y="1624"/>
                  </a:lnTo>
                  <a:lnTo>
                    <a:pt x="2074" y="1620"/>
                  </a:lnTo>
                  <a:lnTo>
                    <a:pt x="2072" y="1616"/>
                  </a:lnTo>
                  <a:lnTo>
                    <a:pt x="2074" y="1609"/>
                  </a:lnTo>
                  <a:lnTo>
                    <a:pt x="2078" y="1601"/>
                  </a:lnTo>
                  <a:lnTo>
                    <a:pt x="2086" y="1594"/>
                  </a:lnTo>
                  <a:lnTo>
                    <a:pt x="2095" y="1594"/>
                  </a:lnTo>
                  <a:lnTo>
                    <a:pt x="2108" y="1594"/>
                  </a:lnTo>
                  <a:lnTo>
                    <a:pt x="2119" y="1590"/>
                  </a:lnTo>
                  <a:lnTo>
                    <a:pt x="2125" y="1584"/>
                  </a:lnTo>
                  <a:lnTo>
                    <a:pt x="2130" y="1579"/>
                  </a:lnTo>
                  <a:lnTo>
                    <a:pt x="2136" y="1573"/>
                  </a:lnTo>
                  <a:lnTo>
                    <a:pt x="2145" y="1571"/>
                  </a:lnTo>
                  <a:lnTo>
                    <a:pt x="2157" y="1571"/>
                  </a:lnTo>
                  <a:lnTo>
                    <a:pt x="2166" y="1573"/>
                  </a:lnTo>
                  <a:lnTo>
                    <a:pt x="2173" y="1581"/>
                  </a:lnTo>
                  <a:lnTo>
                    <a:pt x="2179" y="1588"/>
                  </a:lnTo>
                  <a:lnTo>
                    <a:pt x="2185" y="1594"/>
                  </a:lnTo>
                  <a:lnTo>
                    <a:pt x="2190" y="1603"/>
                  </a:lnTo>
                  <a:lnTo>
                    <a:pt x="2190" y="1612"/>
                  </a:lnTo>
                  <a:lnTo>
                    <a:pt x="2194" y="1624"/>
                  </a:lnTo>
                  <a:lnTo>
                    <a:pt x="2201" y="1633"/>
                  </a:lnTo>
                  <a:lnTo>
                    <a:pt x="2205" y="1644"/>
                  </a:lnTo>
                  <a:lnTo>
                    <a:pt x="2213" y="1652"/>
                  </a:lnTo>
                  <a:lnTo>
                    <a:pt x="2218" y="1663"/>
                  </a:lnTo>
                  <a:lnTo>
                    <a:pt x="2229" y="1670"/>
                  </a:lnTo>
                  <a:lnTo>
                    <a:pt x="2229" y="1678"/>
                  </a:lnTo>
                  <a:lnTo>
                    <a:pt x="2220" y="1682"/>
                  </a:lnTo>
                  <a:lnTo>
                    <a:pt x="2213" y="1687"/>
                  </a:lnTo>
                  <a:lnTo>
                    <a:pt x="2211" y="1698"/>
                  </a:lnTo>
                  <a:lnTo>
                    <a:pt x="2216" y="1708"/>
                  </a:lnTo>
                  <a:lnTo>
                    <a:pt x="2228" y="1711"/>
                  </a:lnTo>
                  <a:lnTo>
                    <a:pt x="2235" y="1719"/>
                  </a:lnTo>
                  <a:lnTo>
                    <a:pt x="2237" y="1728"/>
                  </a:lnTo>
                  <a:lnTo>
                    <a:pt x="2237" y="1739"/>
                  </a:lnTo>
                  <a:lnTo>
                    <a:pt x="2239" y="1749"/>
                  </a:lnTo>
                  <a:lnTo>
                    <a:pt x="2248" y="1749"/>
                  </a:lnTo>
                  <a:lnTo>
                    <a:pt x="2254" y="1743"/>
                  </a:lnTo>
                  <a:lnTo>
                    <a:pt x="2267" y="1741"/>
                  </a:lnTo>
                  <a:lnTo>
                    <a:pt x="2274" y="1741"/>
                  </a:lnTo>
                  <a:lnTo>
                    <a:pt x="2282" y="1741"/>
                  </a:lnTo>
                  <a:lnTo>
                    <a:pt x="2287" y="1738"/>
                  </a:lnTo>
                  <a:lnTo>
                    <a:pt x="2293" y="1743"/>
                  </a:lnTo>
                  <a:lnTo>
                    <a:pt x="2306" y="1743"/>
                  </a:lnTo>
                  <a:lnTo>
                    <a:pt x="2319" y="1741"/>
                  </a:lnTo>
                  <a:lnTo>
                    <a:pt x="2327" y="1741"/>
                  </a:lnTo>
                  <a:lnTo>
                    <a:pt x="2334" y="1741"/>
                  </a:lnTo>
                  <a:lnTo>
                    <a:pt x="2334" y="1741"/>
                  </a:lnTo>
                  <a:lnTo>
                    <a:pt x="2343" y="1736"/>
                  </a:lnTo>
                  <a:lnTo>
                    <a:pt x="2349" y="1730"/>
                  </a:lnTo>
                  <a:lnTo>
                    <a:pt x="2353" y="1726"/>
                  </a:lnTo>
                  <a:lnTo>
                    <a:pt x="2353" y="1723"/>
                  </a:lnTo>
                  <a:lnTo>
                    <a:pt x="2351" y="1717"/>
                  </a:lnTo>
                  <a:lnTo>
                    <a:pt x="2349" y="1711"/>
                  </a:lnTo>
                  <a:lnTo>
                    <a:pt x="2349" y="1711"/>
                  </a:lnTo>
                  <a:lnTo>
                    <a:pt x="2343" y="1693"/>
                  </a:lnTo>
                  <a:lnTo>
                    <a:pt x="2340" y="1678"/>
                  </a:lnTo>
                  <a:lnTo>
                    <a:pt x="2340" y="1665"/>
                  </a:lnTo>
                  <a:lnTo>
                    <a:pt x="2340" y="1655"/>
                  </a:lnTo>
                  <a:lnTo>
                    <a:pt x="2340" y="1639"/>
                  </a:lnTo>
                  <a:lnTo>
                    <a:pt x="2338" y="1633"/>
                  </a:lnTo>
                  <a:lnTo>
                    <a:pt x="2332" y="1625"/>
                  </a:lnTo>
                  <a:lnTo>
                    <a:pt x="2332" y="1625"/>
                  </a:lnTo>
                  <a:lnTo>
                    <a:pt x="2327" y="1616"/>
                  </a:lnTo>
                  <a:lnTo>
                    <a:pt x="2327" y="1609"/>
                  </a:lnTo>
                  <a:lnTo>
                    <a:pt x="2329" y="1603"/>
                  </a:lnTo>
                  <a:lnTo>
                    <a:pt x="2334" y="1599"/>
                  </a:lnTo>
                  <a:lnTo>
                    <a:pt x="2342" y="1597"/>
                  </a:lnTo>
                  <a:lnTo>
                    <a:pt x="2349" y="1596"/>
                  </a:lnTo>
                  <a:lnTo>
                    <a:pt x="2355" y="1597"/>
                  </a:lnTo>
                  <a:lnTo>
                    <a:pt x="2358" y="1599"/>
                  </a:lnTo>
                  <a:lnTo>
                    <a:pt x="2358" y="1599"/>
                  </a:lnTo>
                  <a:lnTo>
                    <a:pt x="2370" y="1605"/>
                  </a:lnTo>
                  <a:lnTo>
                    <a:pt x="2375" y="1609"/>
                  </a:lnTo>
                  <a:lnTo>
                    <a:pt x="2379" y="1611"/>
                  </a:lnTo>
                  <a:lnTo>
                    <a:pt x="2383" y="1612"/>
                  </a:lnTo>
                  <a:lnTo>
                    <a:pt x="2388" y="1618"/>
                  </a:lnTo>
                  <a:lnTo>
                    <a:pt x="2394" y="1627"/>
                  </a:lnTo>
                  <a:lnTo>
                    <a:pt x="2414" y="1668"/>
                  </a:lnTo>
                  <a:lnTo>
                    <a:pt x="2414" y="1668"/>
                  </a:lnTo>
                  <a:lnTo>
                    <a:pt x="2418" y="1672"/>
                  </a:lnTo>
                  <a:lnTo>
                    <a:pt x="2420" y="1674"/>
                  </a:lnTo>
                  <a:lnTo>
                    <a:pt x="2422" y="1672"/>
                  </a:lnTo>
                  <a:lnTo>
                    <a:pt x="2426" y="1670"/>
                  </a:lnTo>
                  <a:lnTo>
                    <a:pt x="2431" y="1661"/>
                  </a:lnTo>
                  <a:lnTo>
                    <a:pt x="2441" y="1648"/>
                  </a:lnTo>
                  <a:lnTo>
                    <a:pt x="2450" y="1631"/>
                  </a:lnTo>
                  <a:lnTo>
                    <a:pt x="2463" y="1616"/>
                  </a:lnTo>
                  <a:lnTo>
                    <a:pt x="2478" y="1603"/>
                  </a:lnTo>
                  <a:lnTo>
                    <a:pt x="2487" y="1597"/>
                  </a:lnTo>
                  <a:lnTo>
                    <a:pt x="2497" y="1594"/>
                  </a:lnTo>
                  <a:lnTo>
                    <a:pt x="2497" y="1594"/>
                  </a:lnTo>
                  <a:lnTo>
                    <a:pt x="2510" y="1586"/>
                  </a:lnTo>
                  <a:lnTo>
                    <a:pt x="2521" y="1579"/>
                  </a:lnTo>
                  <a:lnTo>
                    <a:pt x="2530" y="1571"/>
                  </a:lnTo>
                  <a:lnTo>
                    <a:pt x="2538" y="1564"/>
                  </a:lnTo>
                  <a:lnTo>
                    <a:pt x="2551" y="1553"/>
                  </a:lnTo>
                  <a:lnTo>
                    <a:pt x="2557" y="1549"/>
                  </a:lnTo>
                  <a:lnTo>
                    <a:pt x="2562" y="1549"/>
                  </a:lnTo>
                  <a:lnTo>
                    <a:pt x="2562" y="1549"/>
                  </a:lnTo>
                  <a:lnTo>
                    <a:pt x="2577" y="1549"/>
                  </a:lnTo>
                  <a:lnTo>
                    <a:pt x="2583" y="1549"/>
                  </a:lnTo>
                  <a:lnTo>
                    <a:pt x="2586" y="1547"/>
                  </a:lnTo>
                  <a:lnTo>
                    <a:pt x="2592" y="1541"/>
                  </a:lnTo>
                  <a:lnTo>
                    <a:pt x="2594" y="1534"/>
                  </a:lnTo>
                  <a:lnTo>
                    <a:pt x="2594" y="1528"/>
                  </a:lnTo>
                  <a:lnTo>
                    <a:pt x="2596" y="1521"/>
                  </a:lnTo>
                  <a:lnTo>
                    <a:pt x="2599" y="1515"/>
                  </a:lnTo>
                  <a:lnTo>
                    <a:pt x="2603" y="1513"/>
                  </a:lnTo>
                  <a:lnTo>
                    <a:pt x="2609" y="1512"/>
                  </a:lnTo>
                  <a:lnTo>
                    <a:pt x="2609" y="1512"/>
                  </a:lnTo>
                  <a:lnTo>
                    <a:pt x="2641" y="1508"/>
                  </a:lnTo>
                  <a:lnTo>
                    <a:pt x="2646" y="1506"/>
                  </a:lnTo>
                  <a:lnTo>
                    <a:pt x="2650" y="1504"/>
                  </a:lnTo>
                  <a:lnTo>
                    <a:pt x="2648" y="1502"/>
                  </a:lnTo>
                  <a:lnTo>
                    <a:pt x="2646" y="1500"/>
                  </a:lnTo>
                  <a:lnTo>
                    <a:pt x="2642" y="1498"/>
                  </a:lnTo>
                  <a:lnTo>
                    <a:pt x="2641" y="1497"/>
                  </a:lnTo>
                  <a:lnTo>
                    <a:pt x="2641" y="1497"/>
                  </a:lnTo>
                  <a:lnTo>
                    <a:pt x="2641" y="1495"/>
                  </a:lnTo>
                  <a:lnTo>
                    <a:pt x="2641" y="1493"/>
                  </a:lnTo>
                  <a:lnTo>
                    <a:pt x="2648" y="1491"/>
                  </a:lnTo>
                  <a:lnTo>
                    <a:pt x="2672" y="1495"/>
                  </a:lnTo>
                  <a:lnTo>
                    <a:pt x="2687" y="1497"/>
                  </a:lnTo>
                  <a:lnTo>
                    <a:pt x="2702" y="1495"/>
                  </a:lnTo>
                  <a:lnTo>
                    <a:pt x="2708" y="1493"/>
                  </a:lnTo>
                  <a:lnTo>
                    <a:pt x="2713" y="1489"/>
                  </a:lnTo>
                  <a:lnTo>
                    <a:pt x="2717" y="1485"/>
                  </a:lnTo>
                  <a:lnTo>
                    <a:pt x="2721" y="1480"/>
                  </a:lnTo>
                  <a:lnTo>
                    <a:pt x="2721" y="1480"/>
                  </a:lnTo>
                  <a:lnTo>
                    <a:pt x="2725" y="1467"/>
                  </a:lnTo>
                  <a:lnTo>
                    <a:pt x="2730" y="1459"/>
                  </a:lnTo>
                  <a:lnTo>
                    <a:pt x="2734" y="1454"/>
                  </a:lnTo>
                  <a:lnTo>
                    <a:pt x="2738" y="1450"/>
                  </a:lnTo>
                  <a:lnTo>
                    <a:pt x="2743" y="1450"/>
                  </a:lnTo>
                  <a:lnTo>
                    <a:pt x="2747" y="1450"/>
                  </a:lnTo>
                  <a:lnTo>
                    <a:pt x="2753" y="1452"/>
                  </a:lnTo>
                  <a:lnTo>
                    <a:pt x="2756" y="1454"/>
                  </a:lnTo>
                  <a:lnTo>
                    <a:pt x="2758" y="1452"/>
                  </a:lnTo>
                  <a:lnTo>
                    <a:pt x="2760" y="1450"/>
                  </a:lnTo>
                  <a:lnTo>
                    <a:pt x="2762" y="1446"/>
                  </a:lnTo>
                  <a:lnTo>
                    <a:pt x="2766" y="1429"/>
                  </a:lnTo>
                  <a:lnTo>
                    <a:pt x="2766" y="1398"/>
                  </a:lnTo>
                  <a:lnTo>
                    <a:pt x="2766" y="1398"/>
                  </a:lnTo>
                  <a:lnTo>
                    <a:pt x="2756" y="1398"/>
                  </a:lnTo>
                  <a:lnTo>
                    <a:pt x="2753" y="1398"/>
                  </a:lnTo>
                  <a:lnTo>
                    <a:pt x="2751" y="1398"/>
                  </a:lnTo>
                  <a:lnTo>
                    <a:pt x="2747" y="1396"/>
                  </a:lnTo>
                  <a:lnTo>
                    <a:pt x="2747" y="1396"/>
                  </a:lnTo>
                  <a:lnTo>
                    <a:pt x="2742" y="1392"/>
                  </a:lnTo>
                  <a:lnTo>
                    <a:pt x="2736" y="1390"/>
                  </a:lnTo>
                  <a:lnTo>
                    <a:pt x="2728" y="1386"/>
                  </a:lnTo>
                  <a:lnTo>
                    <a:pt x="2727" y="1384"/>
                  </a:lnTo>
                  <a:lnTo>
                    <a:pt x="2727" y="1381"/>
                  </a:lnTo>
                  <a:lnTo>
                    <a:pt x="2730" y="1377"/>
                  </a:lnTo>
                  <a:lnTo>
                    <a:pt x="2740" y="1370"/>
                  </a:lnTo>
                  <a:lnTo>
                    <a:pt x="2740" y="1370"/>
                  </a:lnTo>
                  <a:lnTo>
                    <a:pt x="2740" y="1366"/>
                  </a:lnTo>
                  <a:lnTo>
                    <a:pt x="2740" y="1360"/>
                  </a:lnTo>
                  <a:lnTo>
                    <a:pt x="2738" y="1345"/>
                  </a:lnTo>
                  <a:lnTo>
                    <a:pt x="2730" y="1327"/>
                  </a:lnTo>
                  <a:lnTo>
                    <a:pt x="2730" y="1327"/>
                  </a:lnTo>
                  <a:lnTo>
                    <a:pt x="2723" y="1317"/>
                  </a:lnTo>
                  <a:lnTo>
                    <a:pt x="2717" y="1308"/>
                  </a:lnTo>
                  <a:lnTo>
                    <a:pt x="2715" y="1300"/>
                  </a:lnTo>
                  <a:lnTo>
                    <a:pt x="2713" y="1295"/>
                  </a:lnTo>
                  <a:lnTo>
                    <a:pt x="2712" y="1285"/>
                  </a:lnTo>
                  <a:lnTo>
                    <a:pt x="2708" y="1282"/>
                  </a:lnTo>
                  <a:lnTo>
                    <a:pt x="2704" y="1280"/>
                  </a:lnTo>
                  <a:lnTo>
                    <a:pt x="2704" y="1280"/>
                  </a:lnTo>
                  <a:lnTo>
                    <a:pt x="2695" y="1270"/>
                  </a:lnTo>
                  <a:lnTo>
                    <a:pt x="2689" y="1263"/>
                  </a:lnTo>
                  <a:lnTo>
                    <a:pt x="2689" y="1256"/>
                  </a:lnTo>
                  <a:lnTo>
                    <a:pt x="2689" y="1250"/>
                  </a:lnTo>
                  <a:lnTo>
                    <a:pt x="2691" y="1246"/>
                  </a:lnTo>
                  <a:lnTo>
                    <a:pt x="2691" y="1246"/>
                  </a:lnTo>
                  <a:lnTo>
                    <a:pt x="2676" y="1256"/>
                  </a:lnTo>
                  <a:lnTo>
                    <a:pt x="2676" y="1256"/>
                  </a:lnTo>
                  <a:lnTo>
                    <a:pt x="2650" y="1274"/>
                  </a:lnTo>
                  <a:lnTo>
                    <a:pt x="2629" y="1291"/>
                  </a:lnTo>
                  <a:lnTo>
                    <a:pt x="2622" y="1297"/>
                  </a:lnTo>
                  <a:lnTo>
                    <a:pt x="2616" y="1298"/>
                  </a:lnTo>
                  <a:lnTo>
                    <a:pt x="2614" y="1297"/>
                  </a:lnTo>
                  <a:lnTo>
                    <a:pt x="2613" y="1297"/>
                  </a:lnTo>
                  <a:lnTo>
                    <a:pt x="2611" y="1289"/>
                  </a:lnTo>
                  <a:lnTo>
                    <a:pt x="2611" y="1289"/>
                  </a:lnTo>
                  <a:lnTo>
                    <a:pt x="2607" y="1278"/>
                  </a:lnTo>
                  <a:lnTo>
                    <a:pt x="2601" y="1267"/>
                  </a:lnTo>
                  <a:lnTo>
                    <a:pt x="2586" y="1244"/>
                  </a:lnTo>
                  <a:lnTo>
                    <a:pt x="2581" y="1233"/>
                  </a:lnTo>
                  <a:lnTo>
                    <a:pt x="2575" y="1224"/>
                  </a:lnTo>
                  <a:lnTo>
                    <a:pt x="2573" y="1216"/>
                  </a:lnTo>
                  <a:lnTo>
                    <a:pt x="2573" y="1213"/>
                  </a:lnTo>
                  <a:lnTo>
                    <a:pt x="2575" y="1209"/>
                  </a:lnTo>
                  <a:lnTo>
                    <a:pt x="2575" y="1209"/>
                  </a:lnTo>
                  <a:lnTo>
                    <a:pt x="2579" y="1203"/>
                  </a:lnTo>
                  <a:lnTo>
                    <a:pt x="2579" y="1198"/>
                  </a:lnTo>
                  <a:lnTo>
                    <a:pt x="2577" y="1194"/>
                  </a:lnTo>
                  <a:lnTo>
                    <a:pt x="2575" y="1190"/>
                  </a:lnTo>
                  <a:lnTo>
                    <a:pt x="2571" y="1186"/>
                  </a:lnTo>
                  <a:lnTo>
                    <a:pt x="2570" y="1183"/>
                  </a:lnTo>
                  <a:lnTo>
                    <a:pt x="2570" y="1177"/>
                  </a:lnTo>
                  <a:lnTo>
                    <a:pt x="2573" y="1171"/>
                  </a:lnTo>
                  <a:lnTo>
                    <a:pt x="2573" y="1171"/>
                  </a:lnTo>
                  <a:lnTo>
                    <a:pt x="2577" y="1160"/>
                  </a:lnTo>
                  <a:lnTo>
                    <a:pt x="2579" y="1151"/>
                  </a:lnTo>
                  <a:lnTo>
                    <a:pt x="2575" y="1143"/>
                  </a:lnTo>
                  <a:lnTo>
                    <a:pt x="2570" y="1136"/>
                  </a:lnTo>
                  <a:lnTo>
                    <a:pt x="2557" y="1125"/>
                  </a:lnTo>
                  <a:lnTo>
                    <a:pt x="2553" y="1117"/>
                  </a:lnTo>
                  <a:lnTo>
                    <a:pt x="2549" y="1112"/>
                  </a:lnTo>
                  <a:lnTo>
                    <a:pt x="2549" y="1112"/>
                  </a:lnTo>
                  <a:lnTo>
                    <a:pt x="2545" y="1104"/>
                  </a:lnTo>
                  <a:lnTo>
                    <a:pt x="2540" y="1099"/>
                  </a:lnTo>
                  <a:lnTo>
                    <a:pt x="2534" y="1099"/>
                  </a:lnTo>
                  <a:lnTo>
                    <a:pt x="2528" y="1097"/>
                  </a:lnTo>
                  <a:lnTo>
                    <a:pt x="2519" y="1097"/>
                  </a:lnTo>
                  <a:lnTo>
                    <a:pt x="2517" y="1095"/>
                  </a:lnTo>
                  <a:lnTo>
                    <a:pt x="2521" y="1091"/>
                  </a:lnTo>
                  <a:lnTo>
                    <a:pt x="2521" y="1091"/>
                  </a:lnTo>
                  <a:lnTo>
                    <a:pt x="2527" y="1084"/>
                  </a:lnTo>
                  <a:lnTo>
                    <a:pt x="2528" y="1074"/>
                  </a:lnTo>
                  <a:lnTo>
                    <a:pt x="2532" y="1061"/>
                  </a:lnTo>
                  <a:lnTo>
                    <a:pt x="2534" y="1056"/>
                  </a:lnTo>
                  <a:lnTo>
                    <a:pt x="2538" y="1054"/>
                  </a:lnTo>
                  <a:lnTo>
                    <a:pt x="2543" y="1057"/>
                  </a:lnTo>
                  <a:lnTo>
                    <a:pt x="2553" y="1063"/>
                  </a:lnTo>
                  <a:lnTo>
                    <a:pt x="2553" y="1063"/>
                  </a:lnTo>
                  <a:lnTo>
                    <a:pt x="2568" y="1072"/>
                  </a:lnTo>
                  <a:lnTo>
                    <a:pt x="2577" y="1076"/>
                  </a:lnTo>
                  <a:lnTo>
                    <a:pt x="2583" y="1076"/>
                  </a:lnTo>
                  <a:lnTo>
                    <a:pt x="2585" y="1072"/>
                  </a:lnTo>
                  <a:lnTo>
                    <a:pt x="2585" y="1069"/>
                  </a:lnTo>
                  <a:lnTo>
                    <a:pt x="2586" y="1065"/>
                  </a:lnTo>
                  <a:lnTo>
                    <a:pt x="2590" y="1065"/>
                  </a:lnTo>
                  <a:lnTo>
                    <a:pt x="2596" y="1071"/>
                  </a:lnTo>
                  <a:lnTo>
                    <a:pt x="2596" y="1071"/>
                  </a:lnTo>
                  <a:lnTo>
                    <a:pt x="2611" y="1080"/>
                  </a:lnTo>
                  <a:lnTo>
                    <a:pt x="2620" y="1084"/>
                  </a:lnTo>
                  <a:lnTo>
                    <a:pt x="2624" y="1084"/>
                  </a:lnTo>
                  <a:lnTo>
                    <a:pt x="2628" y="1082"/>
                  </a:lnTo>
                  <a:lnTo>
                    <a:pt x="2631" y="1076"/>
                  </a:lnTo>
                  <a:lnTo>
                    <a:pt x="2631" y="1069"/>
                  </a:lnTo>
                  <a:lnTo>
                    <a:pt x="2631" y="1061"/>
                  </a:lnTo>
                  <a:lnTo>
                    <a:pt x="2629" y="1054"/>
                  </a:lnTo>
                  <a:lnTo>
                    <a:pt x="2628" y="1050"/>
                  </a:lnTo>
                  <a:lnTo>
                    <a:pt x="2628" y="1050"/>
                  </a:lnTo>
                  <a:lnTo>
                    <a:pt x="2624" y="1041"/>
                  </a:lnTo>
                  <a:lnTo>
                    <a:pt x="2624" y="1039"/>
                  </a:lnTo>
                  <a:lnTo>
                    <a:pt x="2624" y="1037"/>
                  </a:lnTo>
                  <a:lnTo>
                    <a:pt x="2628" y="1033"/>
                  </a:lnTo>
                  <a:lnTo>
                    <a:pt x="2633" y="1033"/>
                  </a:lnTo>
                  <a:lnTo>
                    <a:pt x="2641" y="1029"/>
                  </a:lnTo>
                  <a:lnTo>
                    <a:pt x="2648" y="1026"/>
                  </a:lnTo>
                  <a:lnTo>
                    <a:pt x="2650" y="1022"/>
                  </a:lnTo>
                  <a:lnTo>
                    <a:pt x="2652" y="1016"/>
                  </a:lnTo>
                  <a:lnTo>
                    <a:pt x="2654" y="1011"/>
                  </a:lnTo>
                  <a:lnTo>
                    <a:pt x="2656" y="1001"/>
                  </a:lnTo>
                  <a:lnTo>
                    <a:pt x="2656" y="1001"/>
                  </a:lnTo>
                  <a:lnTo>
                    <a:pt x="2652" y="996"/>
                  </a:lnTo>
                  <a:lnTo>
                    <a:pt x="2652" y="996"/>
                  </a:lnTo>
                  <a:lnTo>
                    <a:pt x="2644" y="985"/>
                  </a:lnTo>
                  <a:lnTo>
                    <a:pt x="2641" y="977"/>
                  </a:lnTo>
                  <a:lnTo>
                    <a:pt x="2637" y="970"/>
                  </a:lnTo>
                  <a:lnTo>
                    <a:pt x="2637" y="964"/>
                  </a:lnTo>
                  <a:lnTo>
                    <a:pt x="2639" y="960"/>
                  </a:lnTo>
                  <a:lnTo>
                    <a:pt x="2642" y="957"/>
                  </a:lnTo>
                  <a:lnTo>
                    <a:pt x="2652" y="951"/>
                  </a:lnTo>
                  <a:lnTo>
                    <a:pt x="2676" y="942"/>
                  </a:lnTo>
                  <a:lnTo>
                    <a:pt x="2687" y="936"/>
                  </a:lnTo>
                  <a:lnTo>
                    <a:pt x="2689" y="932"/>
                  </a:lnTo>
                  <a:lnTo>
                    <a:pt x="2691" y="927"/>
                  </a:lnTo>
                  <a:lnTo>
                    <a:pt x="2691" y="927"/>
                  </a:lnTo>
                  <a:lnTo>
                    <a:pt x="2693" y="921"/>
                  </a:lnTo>
                  <a:lnTo>
                    <a:pt x="2691" y="915"/>
                  </a:lnTo>
                  <a:lnTo>
                    <a:pt x="2687" y="914"/>
                  </a:lnTo>
                  <a:lnTo>
                    <a:pt x="2684" y="914"/>
                  </a:lnTo>
                  <a:lnTo>
                    <a:pt x="2674" y="915"/>
                  </a:lnTo>
                  <a:lnTo>
                    <a:pt x="2672" y="915"/>
                  </a:lnTo>
                  <a:lnTo>
                    <a:pt x="2671" y="914"/>
                  </a:lnTo>
                  <a:lnTo>
                    <a:pt x="2671" y="914"/>
                  </a:lnTo>
                  <a:lnTo>
                    <a:pt x="2667" y="908"/>
                  </a:lnTo>
                  <a:lnTo>
                    <a:pt x="2663" y="904"/>
                  </a:lnTo>
                  <a:lnTo>
                    <a:pt x="2661" y="904"/>
                  </a:lnTo>
                  <a:lnTo>
                    <a:pt x="2659" y="906"/>
                  </a:lnTo>
                  <a:lnTo>
                    <a:pt x="2654" y="912"/>
                  </a:lnTo>
                  <a:lnTo>
                    <a:pt x="2648" y="923"/>
                  </a:lnTo>
                  <a:lnTo>
                    <a:pt x="2642" y="930"/>
                  </a:lnTo>
                  <a:lnTo>
                    <a:pt x="2639" y="934"/>
                  </a:lnTo>
                  <a:lnTo>
                    <a:pt x="2635" y="934"/>
                  </a:lnTo>
                  <a:lnTo>
                    <a:pt x="2631" y="934"/>
                  </a:lnTo>
                  <a:lnTo>
                    <a:pt x="2626" y="930"/>
                  </a:lnTo>
                  <a:lnTo>
                    <a:pt x="2622" y="925"/>
                  </a:lnTo>
                  <a:lnTo>
                    <a:pt x="2616" y="914"/>
                  </a:lnTo>
                  <a:lnTo>
                    <a:pt x="2616" y="914"/>
                  </a:lnTo>
                  <a:lnTo>
                    <a:pt x="2609" y="904"/>
                  </a:lnTo>
                  <a:lnTo>
                    <a:pt x="2601" y="895"/>
                  </a:lnTo>
                  <a:lnTo>
                    <a:pt x="2581" y="878"/>
                  </a:lnTo>
                  <a:lnTo>
                    <a:pt x="2573" y="871"/>
                  </a:lnTo>
                  <a:lnTo>
                    <a:pt x="2566" y="861"/>
                  </a:lnTo>
                  <a:lnTo>
                    <a:pt x="2564" y="852"/>
                  </a:lnTo>
                  <a:lnTo>
                    <a:pt x="2564" y="848"/>
                  </a:lnTo>
                  <a:lnTo>
                    <a:pt x="2564" y="843"/>
                  </a:lnTo>
                  <a:lnTo>
                    <a:pt x="2564" y="843"/>
                  </a:lnTo>
                  <a:lnTo>
                    <a:pt x="2573" y="829"/>
                  </a:lnTo>
                  <a:lnTo>
                    <a:pt x="2586" y="815"/>
                  </a:lnTo>
                  <a:lnTo>
                    <a:pt x="2628" y="773"/>
                  </a:lnTo>
                  <a:lnTo>
                    <a:pt x="2648" y="749"/>
                  </a:lnTo>
                  <a:lnTo>
                    <a:pt x="2671" y="727"/>
                  </a:lnTo>
                  <a:lnTo>
                    <a:pt x="2687" y="704"/>
                  </a:lnTo>
                  <a:lnTo>
                    <a:pt x="2700" y="684"/>
                  </a:lnTo>
                  <a:lnTo>
                    <a:pt x="2700" y="684"/>
                  </a:lnTo>
                  <a:lnTo>
                    <a:pt x="2706" y="674"/>
                  </a:lnTo>
                  <a:lnTo>
                    <a:pt x="2710" y="671"/>
                  </a:lnTo>
                  <a:lnTo>
                    <a:pt x="2713" y="667"/>
                  </a:lnTo>
                  <a:lnTo>
                    <a:pt x="2717" y="667"/>
                  </a:lnTo>
                  <a:lnTo>
                    <a:pt x="2719" y="669"/>
                  </a:lnTo>
                  <a:lnTo>
                    <a:pt x="2721" y="673"/>
                  </a:lnTo>
                  <a:lnTo>
                    <a:pt x="2727" y="684"/>
                  </a:lnTo>
                  <a:lnTo>
                    <a:pt x="2730" y="697"/>
                  </a:lnTo>
                  <a:lnTo>
                    <a:pt x="2734" y="710"/>
                  </a:lnTo>
                  <a:lnTo>
                    <a:pt x="2736" y="714"/>
                  </a:lnTo>
                  <a:lnTo>
                    <a:pt x="2740" y="717"/>
                  </a:lnTo>
                  <a:lnTo>
                    <a:pt x="2743" y="717"/>
                  </a:lnTo>
                  <a:lnTo>
                    <a:pt x="2747" y="717"/>
                  </a:lnTo>
                  <a:lnTo>
                    <a:pt x="2747" y="717"/>
                  </a:lnTo>
                  <a:lnTo>
                    <a:pt x="2751" y="716"/>
                  </a:lnTo>
                  <a:lnTo>
                    <a:pt x="2753" y="712"/>
                  </a:lnTo>
                  <a:lnTo>
                    <a:pt x="2755" y="704"/>
                  </a:lnTo>
                  <a:lnTo>
                    <a:pt x="2753" y="695"/>
                  </a:lnTo>
                  <a:lnTo>
                    <a:pt x="2749" y="687"/>
                  </a:lnTo>
                  <a:lnTo>
                    <a:pt x="2742" y="669"/>
                  </a:lnTo>
                  <a:lnTo>
                    <a:pt x="2742" y="663"/>
                  </a:lnTo>
                  <a:lnTo>
                    <a:pt x="2742" y="658"/>
                  </a:lnTo>
                  <a:lnTo>
                    <a:pt x="2742" y="658"/>
                  </a:lnTo>
                  <a:lnTo>
                    <a:pt x="2745" y="654"/>
                  </a:lnTo>
                  <a:lnTo>
                    <a:pt x="2747" y="650"/>
                  </a:lnTo>
                  <a:lnTo>
                    <a:pt x="2747" y="639"/>
                  </a:lnTo>
                  <a:lnTo>
                    <a:pt x="2747" y="611"/>
                  </a:lnTo>
                  <a:lnTo>
                    <a:pt x="2747" y="598"/>
                  </a:lnTo>
                  <a:lnTo>
                    <a:pt x="2749" y="587"/>
                  </a:lnTo>
                  <a:lnTo>
                    <a:pt x="2753" y="577"/>
                  </a:lnTo>
                  <a:lnTo>
                    <a:pt x="2755" y="574"/>
                  </a:lnTo>
                  <a:lnTo>
                    <a:pt x="2758" y="572"/>
                  </a:lnTo>
                  <a:lnTo>
                    <a:pt x="2758" y="572"/>
                  </a:lnTo>
                  <a:lnTo>
                    <a:pt x="2770" y="566"/>
                  </a:lnTo>
                  <a:lnTo>
                    <a:pt x="2779" y="560"/>
                  </a:lnTo>
                  <a:lnTo>
                    <a:pt x="2785" y="553"/>
                  </a:lnTo>
                  <a:lnTo>
                    <a:pt x="2786" y="545"/>
                  </a:lnTo>
                  <a:lnTo>
                    <a:pt x="2788" y="536"/>
                  </a:lnTo>
                  <a:lnTo>
                    <a:pt x="2790" y="527"/>
                  </a:lnTo>
                  <a:lnTo>
                    <a:pt x="2786" y="506"/>
                  </a:lnTo>
                  <a:lnTo>
                    <a:pt x="2783" y="486"/>
                  </a:lnTo>
                  <a:lnTo>
                    <a:pt x="2777" y="465"/>
                  </a:lnTo>
                  <a:lnTo>
                    <a:pt x="2777" y="454"/>
                  </a:lnTo>
                  <a:lnTo>
                    <a:pt x="2777" y="443"/>
                  </a:lnTo>
                  <a:lnTo>
                    <a:pt x="2777" y="433"/>
                  </a:lnTo>
                  <a:lnTo>
                    <a:pt x="2781" y="424"/>
                  </a:lnTo>
                  <a:lnTo>
                    <a:pt x="2781" y="424"/>
                  </a:lnTo>
                  <a:lnTo>
                    <a:pt x="2811" y="347"/>
                  </a:lnTo>
                  <a:lnTo>
                    <a:pt x="2820" y="323"/>
                  </a:lnTo>
                  <a:lnTo>
                    <a:pt x="2822" y="304"/>
                  </a:lnTo>
                  <a:lnTo>
                    <a:pt x="2822" y="297"/>
                  </a:lnTo>
                  <a:lnTo>
                    <a:pt x="2820" y="289"/>
                  </a:lnTo>
                  <a:lnTo>
                    <a:pt x="2818" y="282"/>
                  </a:lnTo>
                  <a:lnTo>
                    <a:pt x="2814" y="275"/>
                  </a:lnTo>
                  <a:lnTo>
                    <a:pt x="2801" y="260"/>
                  </a:lnTo>
                  <a:lnTo>
                    <a:pt x="2783" y="243"/>
                  </a:lnTo>
                  <a:lnTo>
                    <a:pt x="2783" y="243"/>
                  </a:lnTo>
                  <a:lnTo>
                    <a:pt x="2755" y="218"/>
                  </a:lnTo>
                  <a:lnTo>
                    <a:pt x="2738" y="205"/>
                  </a:lnTo>
                  <a:lnTo>
                    <a:pt x="2730" y="204"/>
                  </a:lnTo>
                  <a:lnTo>
                    <a:pt x="2727" y="204"/>
                  </a:lnTo>
                  <a:lnTo>
                    <a:pt x="2725" y="205"/>
                  </a:lnTo>
                  <a:lnTo>
                    <a:pt x="2721" y="209"/>
                  </a:lnTo>
                  <a:lnTo>
                    <a:pt x="2719" y="218"/>
                  </a:lnTo>
                  <a:lnTo>
                    <a:pt x="2715" y="230"/>
                  </a:lnTo>
                  <a:lnTo>
                    <a:pt x="2712" y="237"/>
                  </a:lnTo>
                  <a:lnTo>
                    <a:pt x="2708" y="243"/>
                  </a:lnTo>
                  <a:lnTo>
                    <a:pt x="2702" y="248"/>
                  </a:lnTo>
                  <a:lnTo>
                    <a:pt x="2693" y="252"/>
                  </a:lnTo>
                  <a:lnTo>
                    <a:pt x="2693" y="252"/>
                  </a:lnTo>
                  <a:lnTo>
                    <a:pt x="2672" y="260"/>
                  </a:lnTo>
                  <a:lnTo>
                    <a:pt x="2656" y="263"/>
                  </a:lnTo>
                  <a:lnTo>
                    <a:pt x="2631" y="267"/>
                  </a:lnTo>
                  <a:lnTo>
                    <a:pt x="2611" y="271"/>
                  </a:lnTo>
                  <a:lnTo>
                    <a:pt x="2601" y="273"/>
                  </a:lnTo>
                  <a:lnTo>
                    <a:pt x="2592" y="276"/>
                  </a:lnTo>
                  <a:lnTo>
                    <a:pt x="2592" y="276"/>
                  </a:lnTo>
                  <a:lnTo>
                    <a:pt x="2581" y="282"/>
                  </a:lnTo>
                  <a:lnTo>
                    <a:pt x="2571" y="284"/>
                  </a:lnTo>
                  <a:lnTo>
                    <a:pt x="2562" y="286"/>
                  </a:lnTo>
                  <a:lnTo>
                    <a:pt x="2555" y="284"/>
                  </a:lnTo>
                  <a:lnTo>
                    <a:pt x="2547" y="280"/>
                  </a:lnTo>
                  <a:lnTo>
                    <a:pt x="2542" y="276"/>
                  </a:lnTo>
                  <a:lnTo>
                    <a:pt x="2536" y="271"/>
                  </a:lnTo>
                  <a:lnTo>
                    <a:pt x="2530" y="265"/>
                  </a:lnTo>
                  <a:lnTo>
                    <a:pt x="2521" y="248"/>
                  </a:lnTo>
                  <a:lnTo>
                    <a:pt x="2514" y="232"/>
                  </a:lnTo>
                  <a:lnTo>
                    <a:pt x="2500" y="198"/>
                  </a:lnTo>
                  <a:lnTo>
                    <a:pt x="2500" y="198"/>
                  </a:lnTo>
                  <a:lnTo>
                    <a:pt x="2493" y="181"/>
                  </a:lnTo>
                  <a:lnTo>
                    <a:pt x="2493" y="172"/>
                  </a:lnTo>
                  <a:lnTo>
                    <a:pt x="2495" y="164"/>
                  </a:lnTo>
                  <a:lnTo>
                    <a:pt x="2497" y="161"/>
                  </a:lnTo>
                  <a:lnTo>
                    <a:pt x="2499" y="161"/>
                  </a:lnTo>
                  <a:lnTo>
                    <a:pt x="2500" y="159"/>
                  </a:lnTo>
                  <a:lnTo>
                    <a:pt x="2487" y="153"/>
                  </a:lnTo>
                  <a:lnTo>
                    <a:pt x="2487" y="153"/>
                  </a:lnTo>
                  <a:lnTo>
                    <a:pt x="2482" y="149"/>
                  </a:lnTo>
                  <a:lnTo>
                    <a:pt x="2476" y="144"/>
                  </a:lnTo>
                  <a:lnTo>
                    <a:pt x="2465" y="129"/>
                  </a:lnTo>
                  <a:lnTo>
                    <a:pt x="2457" y="125"/>
                  </a:lnTo>
                  <a:lnTo>
                    <a:pt x="2452" y="121"/>
                  </a:lnTo>
                  <a:lnTo>
                    <a:pt x="2448" y="121"/>
                  </a:lnTo>
                  <a:lnTo>
                    <a:pt x="2446" y="123"/>
                  </a:lnTo>
                  <a:lnTo>
                    <a:pt x="2441" y="129"/>
                  </a:lnTo>
                  <a:lnTo>
                    <a:pt x="2441" y="129"/>
                  </a:lnTo>
                  <a:lnTo>
                    <a:pt x="2433" y="140"/>
                  </a:lnTo>
                  <a:lnTo>
                    <a:pt x="2426" y="147"/>
                  </a:lnTo>
                  <a:lnTo>
                    <a:pt x="2422" y="149"/>
                  </a:lnTo>
                  <a:lnTo>
                    <a:pt x="2416" y="149"/>
                  </a:lnTo>
                  <a:lnTo>
                    <a:pt x="2411" y="147"/>
                  </a:lnTo>
                  <a:lnTo>
                    <a:pt x="2405" y="144"/>
                  </a:lnTo>
                  <a:lnTo>
                    <a:pt x="2398" y="138"/>
                  </a:lnTo>
                  <a:lnTo>
                    <a:pt x="2388" y="134"/>
                  </a:lnTo>
                  <a:lnTo>
                    <a:pt x="2388" y="134"/>
                  </a:lnTo>
                  <a:lnTo>
                    <a:pt x="2375" y="127"/>
                  </a:lnTo>
                  <a:lnTo>
                    <a:pt x="2368" y="119"/>
                  </a:lnTo>
                  <a:lnTo>
                    <a:pt x="2364" y="114"/>
                  </a:lnTo>
                  <a:lnTo>
                    <a:pt x="2364" y="106"/>
                  </a:lnTo>
                  <a:lnTo>
                    <a:pt x="2368" y="99"/>
                  </a:lnTo>
                  <a:lnTo>
                    <a:pt x="2371" y="91"/>
                  </a:lnTo>
                  <a:lnTo>
                    <a:pt x="2385" y="76"/>
                  </a:lnTo>
                  <a:lnTo>
                    <a:pt x="2390" y="69"/>
                  </a:lnTo>
                  <a:lnTo>
                    <a:pt x="2396" y="60"/>
                  </a:lnTo>
                  <a:lnTo>
                    <a:pt x="2400" y="50"/>
                  </a:lnTo>
                  <a:lnTo>
                    <a:pt x="2400" y="43"/>
                  </a:lnTo>
                  <a:lnTo>
                    <a:pt x="2398" y="32"/>
                  </a:lnTo>
                  <a:lnTo>
                    <a:pt x="2392" y="22"/>
                  </a:lnTo>
                  <a:lnTo>
                    <a:pt x="2381" y="11"/>
                  </a:lnTo>
                  <a:lnTo>
                    <a:pt x="2364" y="0"/>
                  </a:lnTo>
                  <a:lnTo>
                    <a:pt x="2364" y="0"/>
                  </a:lnTo>
                  <a:lnTo>
                    <a:pt x="2353" y="4"/>
                  </a:lnTo>
                  <a:lnTo>
                    <a:pt x="2345" y="7"/>
                  </a:lnTo>
                  <a:lnTo>
                    <a:pt x="2345" y="7"/>
                  </a:lnTo>
                  <a:lnTo>
                    <a:pt x="2336" y="15"/>
                  </a:lnTo>
                  <a:lnTo>
                    <a:pt x="2330" y="17"/>
                  </a:lnTo>
                  <a:lnTo>
                    <a:pt x="2327" y="17"/>
                  </a:lnTo>
                  <a:lnTo>
                    <a:pt x="2321" y="17"/>
                  </a:lnTo>
                  <a:lnTo>
                    <a:pt x="2314" y="20"/>
                  </a:lnTo>
                  <a:lnTo>
                    <a:pt x="2302" y="30"/>
                  </a:lnTo>
                  <a:lnTo>
                    <a:pt x="2284" y="50"/>
                  </a:lnTo>
                  <a:lnTo>
                    <a:pt x="2257" y="82"/>
                  </a:lnTo>
                  <a:lnTo>
                    <a:pt x="2257" y="82"/>
                  </a:lnTo>
                  <a:lnTo>
                    <a:pt x="2250" y="91"/>
                  </a:lnTo>
                  <a:lnTo>
                    <a:pt x="2243" y="101"/>
                  </a:lnTo>
                  <a:lnTo>
                    <a:pt x="2241" y="106"/>
                  </a:lnTo>
                  <a:lnTo>
                    <a:pt x="2239" y="112"/>
                  </a:lnTo>
                  <a:lnTo>
                    <a:pt x="2241" y="118"/>
                  </a:lnTo>
                  <a:lnTo>
                    <a:pt x="2246" y="125"/>
                  </a:lnTo>
                  <a:lnTo>
                    <a:pt x="2246" y="125"/>
                  </a:lnTo>
                  <a:lnTo>
                    <a:pt x="2248" y="127"/>
                  </a:lnTo>
                  <a:lnTo>
                    <a:pt x="2252" y="127"/>
                  </a:lnTo>
                  <a:lnTo>
                    <a:pt x="2259" y="123"/>
                  </a:lnTo>
                  <a:lnTo>
                    <a:pt x="2280" y="116"/>
                  </a:lnTo>
                  <a:lnTo>
                    <a:pt x="2289" y="114"/>
                  </a:lnTo>
                  <a:lnTo>
                    <a:pt x="2293" y="116"/>
                  </a:lnTo>
                  <a:lnTo>
                    <a:pt x="2297" y="118"/>
                  </a:lnTo>
                  <a:lnTo>
                    <a:pt x="2299" y="121"/>
                  </a:lnTo>
                  <a:lnTo>
                    <a:pt x="2300" y="129"/>
                  </a:lnTo>
                  <a:lnTo>
                    <a:pt x="2302" y="138"/>
                  </a:lnTo>
                  <a:lnTo>
                    <a:pt x="2302" y="149"/>
                  </a:lnTo>
                  <a:lnTo>
                    <a:pt x="2302" y="149"/>
                  </a:lnTo>
                  <a:lnTo>
                    <a:pt x="2304" y="161"/>
                  </a:lnTo>
                  <a:lnTo>
                    <a:pt x="2310" y="168"/>
                  </a:lnTo>
                  <a:lnTo>
                    <a:pt x="2314" y="177"/>
                  </a:lnTo>
                  <a:lnTo>
                    <a:pt x="2317" y="185"/>
                  </a:lnTo>
                  <a:lnTo>
                    <a:pt x="2317" y="189"/>
                  </a:lnTo>
                  <a:lnTo>
                    <a:pt x="2317" y="194"/>
                  </a:lnTo>
                  <a:lnTo>
                    <a:pt x="2315" y="200"/>
                  </a:lnTo>
                  <a:lnTo>
                    <a:pt x="2312" y="207"/>
                  </a:lnTo>
                  <a:lnTo>
                    <a:pt x="2299" y="222"/>
                  </a:lnTo>
                  <a:lnTo>
                    <a:pt x="2276" y="245"/>
                  </a:lnTo>
                  <a:lnTo>
                    <a:pt x="2276" y="245"/>
                  </a:lnTo>
                  <a:lnTo>
                    <a:pt x="2271" y="250"/>
                  </a:lnTo>
                  <a:lnTo>
                    <a:pt x="2267" y="256"/>
                  </a:lnTo>
                  <a:lnTo>
                    <a:pt x="2259" y="269"/>
                  </a:lnTo>
                  <a:lnTo>
                    <a:pt x="2254" y="284"/>
                  </a:lnTo>
                  <a:lnTo>
                    <a:pt x="2252" y="301"/>
                  </a:lnTo>
                  <a:lnTo>
                    <a:pt x="2248" y="316"/>
                  </a:lnTo>
                  <a:lnTo>
                    <a:pt x="2244" y="332"/>
                  </a:lnTo>
                  <a:lnTo>
                    <a:pt x="2239" y="346"/>
                  </a:lnTo>
                  <a:lnTo>
                    <a:pt x="2229" y="359"/>
                  </a:lnTo>
                  <a:lnTo>
                    <a:pt x="2196" y="452"/>
                  </a:lnTo>
                  <a:lnTo>
                    <a:pt x="2196" y="452"/>
                  </a:lnTo>
                  <a:lnTo>
                    <a:pt x="2200" y="456"/>
                  </a:lnTo>
                  <a:lnTo>
                    <a:pt x="2205" y="458"/>
                  </a:lnTo>
                  <a:lnTo>
                    <a:pt x="2211" y="460"/>
                  </a:lnTo>
                  <a:lnTo>
                    <a:pt x="2218" y="463"/>
                  </a:lnTo>
                  <a:lnTo>
                    <a:pt x="2220" y="467"/>
                  </a:lnTo>
                  <a:lnTo>
                    <a:pt x="2220" y="469"/>
                  </a:lnTo>
                  <a:lnTo>
                    <a:pt x="2220" y="473"/>
                  </a:lnTo>
                  <a:lnTo>
                    <a:pt x="2218" y="478"/>
                  </a:lnTo>
                  <a:lnTo>
                    <a:pt x="2209" y="491"/>
                  </a:lnTo>
                  <a:lnTo>
                    <a:pt x="2190" y="508"/>
                  </a:lnTo>
                  <a:lnTo>
                    <a:pt x="2190" y="508"/>
                  </a:lnTo>
                  <a:lnTo>
                    <a:pt x="2183" y="514"/>
                  </a:lnTo>
                  <a:lnTo>
                    <a:pt x="2177" y="516"/>
                  </a:lnTo>
                  <a:lnTo>
                    <a:pt x="2164" y="519"/>
                  </a:lnTo>
                  <a:lnTo>
                    <a:pt x="2157" y="523"/>
                  </a:lnTo>
                  <a:lnTo>
                    <a:pt x="2145" y="529"/>
                  </a:lnTo>
                  <a:lnTo>
                    <a:pt x="2134" y="540"/>
                  </a:lnTo>
                  <a:lnTo>
                    <a:pt x="2119" y="557"/>
                  </a:lnTo>
                  <a:lnTo>
                    <a:pt x="2119" y="557"/>
                  </a:lnTo>
                  <a:lnTo>
                    <a:pt x="2108" y="566"/>
                  </a:lnTo>
                  <a:lnTo>
                    <a:pt x="2097" y="575"/>
                  </a:lnTo>
                  <a:lnTo>
                    <a:pt x="2084" y="579"/>
                  </a:lnTo>
                  <a:lnTo>
                    <a:pt x="2072" y="583"/>
                  </a:lnTo>
                  <a:lnTo>
                    <a:pt x="2059" y="583"/>
                  </a:lnTo>
                  <a:lnTo>
                    <a:pt x="2048" y="581"/>
                  </a:lnTo>
                  <a:lnTo>
                    <a:pt x="2026" y="575"/>
                  </a:lnTo>
                  <a:lnTo>
                    <a:pt x="2005" y="568"/>
                  </a:lnTo>
                  <a:lnTo>
                    <a:pt x="1990" y="560"/>
                  </a:lnTo>
                  <a:lnTo>
                    <a:pt x="1979" y="557"/>
                  </a:lnTo>
                  <a:lnTo>
                    <a:pt x="1975" y="557"/>
                  </a:lnTo>
                  <a:lnTo>
                    <a:pt x="1973" y="559"/>
                  </a:lnTo>
                  <a:lnTo>
                    <a:pt x="1973" y="559"/>
                  </a:lnTo>
                  <a:lnTo>
                    <a:pt x="1966" y="585"/>
                  </a:lnTo>
                  <a:lnTo>
                    <a:pt x="1957" y="609"/>
                  </a:lnTo>
                  <a:lnTo>
                    <a:pt x="1934" y="659"/>
                  </a:lnTo>
                  <a:lnTo>
                    <a:pt x="1923" y="684"/>
                  </a:lnTo>
                  <a:lnTo>
                    <a:pt x="1914" y="710"/>
                  </a:lnTo>
                  <a:lnTo>
                    <a:pt x="1906" y="736"/>
                  </a:lnTo>
                  <a:lnTo>
                    <a:pt x="1904" y="749"/>
                  </a:lnTo>
                  <a:lnTo>
                    <a:pt x="1902" y="762"/>
                  </a:lnTo>
                  <a:lnTo>
                    <a:pt x="1902" y="762"/>
                  </a:lnTo>
                  <a:lnTo>
                    <a:pt x="1902" y="770"/>
                  </a:lnTo>
                  <a:lnTo>
                    <a:pt x="1901" y="775"/>
                  </a:lnTo>
                  <a:lnTo>
                    <a:pt x="1895" y="785"/>
                  </a:lnTo>
                  <a:lnTo>
                    <a:pt x="1887" y="792"/>
                  </a:lnTo>
                  <a:lnTo>
                    <a:pt x="1882" y="798"/>
                  </a:lnTo>
                  <a:lnTo>
                    <a:pt x="1880" y="801"/>
                  </a:lnTo>
                  <a:lnTo>
                    <a:pt x="1878" y="805"/>
                  </a:lnTo>
                  <a:lnTo>
                    <a:pt x="1878" y="811"/>
                  </a:lnTo>
                  <a:lnTo>
                    <a:pt x="1880" y="816"/>
                  </a:lnTo>
                  <a:lnTo>
                    <a:pt x="1887" y="833"/>
                  </a:lnTo>
                  <a:lnTo>
                    <a:pt x="1904" y="858"/>
                  </a:lnTo>
                  <a:lnTo>
                    <a:pt x="1904" y="858"/>
                  </a:lnTo>
                  <a:lnTo>
                    <a:pt x="1908" y="861"/>
                  </a:lnTo>
                  <a:lnTo>
                    <a:pt x="1912" y="863"/>
                  </a:lnTo>
                  <a:lnTo>
                    <a:pt x="1916" y="865"/>
                  </a:lnTo>
                  <a:lnTo>
                    <a:pt x="1919" y="863"/>
                  </a:lnTo>
                  <a:lnTo>
                    <a:pt x="1927" y="859"/>
                  </a:lnTo>
                  <a:lnTo>
                    <a:pt x="1936" y="854"/>
                  </a:lnTo>
                  <a:lnTo>
                    <a:pt x="1949" y="846"/>
                  </a:lnTo>
                  <a:lnTo>
                    <a:pt x="1964" y="839"/>
                  </a:lnTo>
                  <a:lnTo>
                    <a:pt x="1985" y="833"/>
                  </a:lnTo>
                  <a:lnTo>
                    <a:pt x="1996" y="831"/>
                  </a:lnTo>
                  <a:lnTo>
                    <a:pt x="2009" y="831"/>
                  </a:lnTo>
                  <a:lnTo>
                    <a:pt x="2009" y="831"/>
                  </a:lnTo>
                  <a:lnTo>
                    <a:pt x="2016" y="831"/>
                  </a:lnTo>
                  <a:lnTo>
                    <a:pt x="2024" y="833"/>
                  </a:lnTo>
                  <a:lnTo>
                    <a:pt x="2033" y="839"/>
                  </a:lnTo>
                  <a:lnTo>
                    <a:pt x="2048" y="854"/>
                  </a:lnTo>
                  <a:lnTo>
                    <a:pt x="2052" y="856"/>
                  </a:lnTo>
                  <a:lnTo>
                    <a:pt x="2056" y="856"/>
                  </a:lnTo>
                  <a:lnTo>
                    <a:pt x="2059" y="856"/>
                  </a:lnTo>
                  <a:lnTo>
                    <a:pt x="2063" y="854"/>
                  </a:lnTo>
                  <a:lnTo>
                    <a:pt x="2074" y="844"/>
                  </a:lnTo>
                  <a:lnTo>
                    <a:pt x="2087" y="824"/>
                  </a:lnTo>
                  <a:lnTo>
                    <a:pt x="2087" y="824"/>
                  </a:lnTo>
                  <a:lnTo>
                    <a:pt x="2093" y="818"/>
                  </a:lnTo>
                  <a:lnTo>
                    <a:pt x="2099" y="813"/>
                  </a:lnTo>
                  <a:lnTo>
                    <a:pt x="2104" y="809"/>
                  </a:lnTo>
                  <a:lnTo>
                    <a:pt x="2112" y="807"/>
                  </a:lnTo>
                  <a:lnTo>
                    <a:pt x="2129" y="805"/>
                  </a:lnTo>
                  <a:lnTo>
                    <a:pt x="2145" y="807"/>
                  </a:lnTo>
                  <a:lnTo>
                    <a:pt x="2162" y="811"/>
                  </a:lnTo>
                  <a:lnTo>
                    <a:pt x="2177" y="816"/>
                  </a:lnTo>
                  <a:lnTo>
                    <a:pt x="2192" y="824"/>
                  </a:lnTo>
                  <a:lnTo>
                    <a:pt x="2201" y="833"/>
                  </a:lnTo>
                  <a:lnTo>
                    <a:pt x="2201" y="833"/>
                  </a:lnTo>
                  <a:lnTo>
                    <a:pt x="2211" y="839"/>
                  </a:lnTo>
                  <a:lnTo>
                    <a:pt x="2222" y="843"/>
                  </a:lnTo>
                  <a:lnTo>
                    <a:pt x="2231" y="848"/>
                  </a:lnTo>
                  <a:lnTo>
                    <a:pt x="2233" y="852"/>
                  </a:lnTo>
                  <a:lnTo>
                    <a:pt x="2235" y="858"/>
                  </a:lnTo>
                  <a:lnTo>
                    <a:pt x="2235" y="858"/>
                  </a:lnTo>
                  <a:lnTo>
                    <a:pt x="2237" y="861"/>
                  </a:lnTo>
                  <a:lnTo>
                    <a:pt x="2243" y="867"/>
                  </a:lnTo>
                  <a:lnTo>
                    <a:pt x="2257" y="882"/>
                  </a:lnTo>
                  <a:lnTo>
                    <a:pt x="2278" y="901"/>
                  </a:lnTo>
                  <a:lnTo>
                    <a:pt x="2300" y="921"/>
                  </a:lnTo>
                  <a:lnTo>
                    <a:pt x="2317" y="942"/>
                  </a:lnTo>
                  <a:lnTo>
                    <a:pt x="2325" y="951"/>
                  </a:lnTo>
                  <a:lnTo>
                    <a:pt x="2329" y="960"/>
                  </a:lnTo>
                  <a:lnTo>
                    <a:pt x="2329" y="970"/>
                  </a:lnTo>
                  <a:lnTo>
                    <a:pt x="2327" y="977"/>
                  </a:lnTo>
                  <a:lnTo>
                    <a:pt x="2319" y="983"/>
                  </a:lnTo>
                  <a:lnTo>
                    <a:pt x="2308" y="988"/>
                  </a:lnTo>
                  <a:lnTo>
                    <a:pt x="2308" y="988"/>
                  </a:lnTo>
                  <a:lnTo>
                    <a:pt x="2299" y="990"/>
                  </a:lnTo>
                  <a:lnTo>
                    <a:pt x="2289" y="992"/>
                  </a:lnTo>
                  <a:lnTo>
                    <a:pt x="2272" y="992"/>
                  </a:lnTo>
                  <a:lnTo>
                    <a:pt x="2257" y="988"/>
                  </a:lnTo>
                  <a:lnTo>
                    <a:pt x="2246" y="985"/>
                  </a:lnTo>
                  <a:lnTo>
                    <a:pt x="2235" y="979"/>
                  </a:lnTo>
                  <a:lnTo>
                    <a:pt x="2224" y="977"/>
                  </a:lnTo>
                  <a:lnTo>
                    <a:pt x="2215" y="979"/>
                  </a:lnTo>
                  <a:lnTo>
                    <a:pt x="2209" y="981"/>
                  </a:lnTo>
                  <a:lnTo>
                    <a:pt x="2205" y="985"/>
                  </a:lnTo>
                  <a:lnTo>
                    <a:pt x="2205" y="985"/>
                  </a:lnTo>
                  <a:lnTo>
                    <a:pt x="2198" y="988"/>
                  </a:lnTo>
                  <a:lnTo>
                    <a:pt x="2192" y="988"/>
                  </a:lnTo>
                  <a:lnTo>
                    <a:pt x="2186" y="988"/>
                  </a:lnTo>
                  <a:lnTo>
                    <a:pt x="2181" y="985"/>
                  </a:lnTo>
                  <a:lnTo>
                    <a:pt x="2175" y="983"/>
                  </a:lnTo>
                  <a:lnTo>
                    <a:pt x="2170" y="983"/>
                  </a:lnTo>
                  <a:lnTo>
                    <a:pt x="2160" y="985"/>
                  </a:lnTo>
                  <a:lnTo>
                    <a:pt x="2151" y="992"/>
                  </a:lnTo>
                  <a:lnTo>
                    <a:pt x="2151" y="992"/>
                  </a:lnTo>
                  <a:lnTo>
                    <a:pt x="2142" y="1000"/>
                  </a:lnTo>
                  <a:lnTo>
                    <a:pt x="2132" y="1005"/>
                  </a:lnTo>
                  <a:lnTo>
                    <a:pt x="2125" y="1009"/>
                  </a:lnTo>
                  <a:lnTo>
                    <a:pt x="2117" y="1011"/>
                  </a:lnTo>
                  <a:lnTo>
                    <a:pt x="2104" y="1013"/>
                  </a:lnTo>
                  <a:lnTo>
                    <a:pt x="2095" y="1011"/>
                  </a:lnTo>
                  <a:lnTo>
                    <a:pt x="2087" y="1009"/>
                  </a:lnTo>
                  <a:lnTo>
                    <a:pt x="2082" y="1011"/>
                  </a:lnTo>
                  <a:lnTo>
                    <a:pt x="2080" y="1016"/>
                  </a:lnTo>
                  <a:lnTo>
                    <a:pt x="2078" y="1029"/>
                  </a:lnTo>
                  <a:lnTo>
                    <a:pt x="2078" y="1029"/>
                  </a:lnTo>
                  <a:lnTo>
                    <a:pt x="2076" y="1035"/>
                  </a:lnTo>
                  <a:lnTo>
                    <a:pt x="2074" y="1039"/>
                  </a:lnTo>
                  <a:lnTo>
                    <a:pt x="2071" y="1043"/>
                  </a:lnTo>
                  <a:lnTo>
                    <a:pt x="2067" y="1044"/>
                  </a:lnTo>
                  <a:lnTo>
                    <a:pt x="2054" y="1046"/>
                  </a:lnTo>
                  <a:lnTo>
                    <a:pt x="2039" y="1048"/>
                  </a:lnTo>
                  <a:lnTo>
                    <a:pt x="2024" y="1050"/>
                  </a:lnTo>
                  <a:lnTo>
                    <a:pt x="2009" y="1054"/>
                  </a:lnTo>
                  <a:lnTo>
                    <a:pt x="2001" y="1057"/>
                  </a:lnTo>
                  <a:lnTo>
                    <a:pt x="1996" y="1063"/>
                  </a:lnTo>
                  <a:lnTo>
                    <a:pt x="1990" y="1069"/>
                  </a:lnTo>
                  <a:lnTo>
                    <a:pt x="1985" y="1078"/>
                  </a:lnTo>
                  <a:lnTo>
                    <a:pt x="1985" y="1078"/>
                  </a:lnTo>
                  <a:lnTo>
                    <a:pt x="1981" y="1089"/>
                  </a:lnTo>
                  <a:lnTo>
                    <a:pt x="1975" y="1095"/>
                  </a:lnTo>
                  <a:lnTo>
                    <a:pt x="1970" y="1100"/>
                  </a:lnTo>
                  <a:lnTo>
                    <a:pt x="1968" y="1102"/>
                  </a:lnTo>
                  <a:lnTo>
                    <a:pt x="1968" y="1108"/>
                  </a:lnTo>
                  <a:lnTo>
                    <a:pt x="1966" y="1140"/>
                  </a:lnTo>
                  <a:lnTo>
                    <a:pt x="1966" y="1140"/>
                  </a:lnTo>
                  <a:lnTo>
                    <a:pt x="1966" y="1143"/>
                  </a:lnTo>
                  <a:lnTo>
                    <a:pt x="1964" y="1147"/>
                  </a:lnTo>
                  <a:lnTo>
                    <a:pt x="1957" y="1156"/>
                  </a:lnTo>
                  <a:lnTo>
                    <a:pt x="1945" y="1166"/>
                  </a:lnTo>
                  <a:lnTo>
                    <a:pt x="1929" y="1177"/>
                  </a:lnTo>
                  <a:lnTo>
                    <a:pt x="1912" y="1186"/>
                  </a:lnTo>
                  <a:lnTo>
                    <a:pt x="1891" y="1194"/>
                  </a:lnTo>
                  <a:lnTo>
                    <a:pt x="1871" y="1198"/>
                  </a:lnTo>
                  <a:lnTo>
                    <a:pt x="1848" y="1199"/>
                  </a:lnTo>
                  <a:lnTo>
                    <a:pt x="1848" y="1199"/>
                  </a:lnTo>
                  <a:lnTo>
                    <a:pt x="1820" y="1199"/>
                  </a:lnTo>
                  <a:lnTo>
                    <a:pt x="1815" y="1201"/>
                  </a:lnTo>
                  <a:lnTo>
                    <a:pt x="1811" y="1205"/>
                  </a:lnTo>
                  <a:lnTo>
                    <a:pt x="1800" y="1220"/>
                  </a:lnTo>
                  <a:lnTo>
                    <a:pt x="1787" y="1233"/>
                  </a:lnTo>
                  <a:lnTo>
                    <a:pt x="1766" y="1252"/>
                  </a:lnTo>
                  <a:lnTo>
                    <a:pt x="1766" y="1252"/>
                  </a:lnTo>
                  <a:lnTo>
                    <a:pt x="1736" y="1276"/>
                  </a:lnTo>
                  <a:lnTo>
                    <a:pt x="1721" y="1284"/>
                  </a:lnTo>
                  <a:lnTo>
                    <a:pt x="1708" y="1291"/>
                  </a:lnTo>
                  <a:lnTo>
                    <a:pt x="1693" y="1297"/>
                  </a:lnTo>
                  <a:lnTo>
                    <a:pt x="1676" y="1298"/>
                  </a:lnTo>
                  <a:lnTo>
                    <a:pt x="1658" y="1297"/>
                  </a:lnTo>
                  <a:lnTo>
                    <a:pt x="1637" y="1293"/>
                  </a:lnTo>
                  <a:lnTo>
                    <a:pt x="1637" y="1293"/>
                  </a:lnTo>
                  <a:lnTo>
                    <a:pt x="1624" y="1289"/>
                  </a:lnTo>
                  <a:lnTo>
                    <a:pt x="1615" y="1282"/>
                  </a:lnTo>
                  <a:lnTo>
                    <a:pt x="1596" y="1265"/>
                  </a:lnTo>
                  <a:lnTo>
                    <a:pt x="1585" y="1257"/>
                  </a:lnTo>
                  <a:lnTo>
                    <a:pt x="1579" y="1254"/>
                  </a:lnTo>
                  <a:lnTo>
                    <a:pt x="1572" y="1252"/>
                  </a:lnTo>
                  <a:lnTo>
                    <a:pt x="1564" y="1252"/>
                  </a:lnTo>
                  <a:lnTo>
                    <a:pt x="1557" y="1252"/>
                  </a:lnTo>
                  <a:lnTo>
                    <a:pt x="1545" y="1254"/>
                  </a:lnTo>
                  <a:lnTo>
                    <a:pt x="1536" y="1257"/>
                  </a:lnTo>
                  <a:lnTo>
                    <a:pt x="1536" y="1257"/>
                  </a:lnTo>
                  <a:lnTo>
                    <a:pt x="1527" y="1272"/>
                  </a:lnTo>
                  <a:lnTo>
                    <a:pt x="1508" y="1304"/>
                  </a:lnTo>
                  <a:lnTo>
                    <a:pt x="1501" y="1323"/>
                  </a:lnTo>
                  <a:lnTo>
                    <a:pt x="1493" y="1341"/>
                  </a:lnTo>
                  <a:lnTo>
                    <a:pt x="1491" y="1358"/>
                  </a:lnTo>
                  <a:lnTo>
                    <a:pt x="1491" y="1366"/>
                  </a:lnTo>
                  <a:lnTo>
                    <a:pt x="1493" y="1371"/>
                  </a:lnTo>
                  <a:lnTo>
                    <a:pt x="1493" y="1371"/>
                  </a:lnTo>
                  <a:lnTo>
                    <a:pt x="1510" y="1398"/>
                  </a:lnTo>
                  <a:lnTo>
                    <a:pt x="1525" y="1416"/>
                  </a:lnTo>
                  <a:lnTo>
                    <a:pt x="1536" y="1429"/>
                  </a:lnTo>
                  <a:lnTo>
                    <a:pt x="1540" y="1435"/>
                  </a:lnTo>
                  <a:lnTo>
                    <a:pt x="1542" y="1439"/>
                  </a:lnTo>
                  <a:lnTo>
                    <a:pt x="1542" y="1444"/>
                  </a:lnTo>
                  <a:lnTo>
                    <a:pt x="1542" y="1448"/>
                  </a:lnTo>
                  <a:lnTo>
                    <a:pt x="1538" y="1454"/>
                  </a:lnTo>
                  <a:lnTo>
                    <a:pt x="1531" y="1459"/>
                  </a:lnTo>
                  <a:lnTo>
                    <a:pt x="1512" y="1474"/>
                  </a:lnTo>
                  <a:lnTo>
                    <a:pt x="1480" y="1497"/>
                  </a:lnTo>
                  <a:lnTo>
                    <a:pt x="1480" y="1497"/>
                  </a:lnTo>
                  <a:lnTo>
                    <a:pt x="1469" y="1502"/>
                  </a:lnTo>
                  <a:lnTo>
                    <a:pt x="1461" y="1504"/>
                  </a:lnTo>
                  <a:lnTo>
                    <a:pt x="1456" y="1504"/>
                  </a:lnTo>
                  <a:lnTo>
                    <a:pt x="1452" y="1504"/>
                  </a:lnTo>
                  <a:lnTo>
                    <a:pt x="1446" y="1510"/>
                  </a:lnTo>
                  <a:lnTo>
                    <a:pt x="1437" y="1521"/>
                  </a:lnTo>
                  <a:lnTo>
                    <a:pt x="1398" y="1581"/>
                  </a:lnTo>
                  <a:lnTo>
                    <a:pt x="1398" y="1581"/>
                  </a:lnTo>
                  <a:lnTo>
                    <a:pt x="1388" y="1592"/>
                  </a:lnTo>
                  <a:lnTo>
                    <a:pt x="1379" y="1599"/>
                  </a:lnTo>
                  <a:lnTo>
                    <a:pt x="1368" y="1601"/>
                  </a:lnTo>
                  <a:lnTo>
                    <a:pt x="1359" y="1603"/>
                  </a:lnTo>
                  <a:lnTo>
                    <a:pt x="1347" y="1605"/>
                  </a:lnTo>
                  <a:lnTo>
                    <a:pt x="1336" y="1607"/>
                  </a:lnTo>
                  <a:lnTo>
                    <a:pt x="1323" y="1611"/>
                  </a:lnTo>
                  <a:lnTo>
                    <a:pt x="1312" y="1620"/>
                  </a:lnTo>
                  <a:lnTo>
                    <a:pt x="1312" y="1620"/>
                  </a:lnTo>
                  <a:lnTo>
                    <a:pt x="1304" y="1625"/>
                  </a:lnTo>
                  <a:lnTo>
                    <a:pt x="1293" y="1631"/>
                  </a:lnTo>
                  <a:lnTo>
                    <a:pt x="1282" y="1633"/>
                  </a:lnTo>
                  <a:lnTo>
                    <a:pt x="1269" y="1635"/>
                  </a:lnTo>
                  <a:lnTo>
                    <a:pt x="1239" y="1637"/>
                  </a:lnTo>
                  <a:lnTo>
                    <a:pt x="1203" y="1637"/>
                  </a:lnTo>
                  <a:lnTo>
                    <a:pt x="1131" y="1635"/>
                  </a:lnTo>
                  <a:lnTo>
                    <a:pt x="1095" y="1635"/>
                  </a:lnTo>
                  <a:lnTo>
                    <a:pt x="1061" y="1639"/>
                  </a:lnTo>
                  <a:lnTo>
                    <a:pt x="1061" y="1639"/>
                  </a:lnTo>
                  <a:lnTo>
                    <a:pt x="1035" y="1642"/>
                  </a:lnTo>
                  <a:lnTo>
                    <a:pt x="1009" y="1650"/>
                  </a:lnTo>
                  <a:lnTo>
                    <a:pt x="987" y="1657"/>
                  </a:lnTo>
                  <a:lnTo>
                    <a:pt x="964" y="1665"/>
                  </a:lnTo>
                  <a:lnTo>
                    <a:pt x="925" y="1683"/>
                  </a:lnTo>
                  <a:lnTo>
                    <a:pt x="893" y="1700"/>
                  </a:lnTo>
                  <a:lnTo>
                    <a:pt x="861" y="1717"/>
                  </a:lnTo>
                  <a:lnTo>
                    <a:pt x="833" y="1728"/>
                  </a:lnTo>
                  <a:lnTo>
                    <a:pt x="820" y="1732"/>
                  </a:lnTo>
                  <a:lnTo>
                    <a:pt x="807" y="1736"/>
                  </a:lnTo>
                  <a:lnTo>
                    <a:pt x="792" y="1736"/>
                  </a:lnTo>
                  <a:lnTo>
                    <a:pt x="779" y="1734"/>
                  </a:lnTo>
                  <a:lnTo>
                    <a:pt x="779" y="1734"/>
                  </a:lnTo>
                  <a:lnTo>
                    <a:pt x="772" y="1732"/>
                  </a:lnTo>
                  <a:lnTo>
                    <a:pt x="768" y="1730"/>
                  </a:lnTo>
                  <a:lnTo>
                    <a:pt x="766" y="1728"/>
                  </a:lnTo>
                  <a:lnTo>
                    <a:pt x="766" y="1726"/>
                  </a:lnTo>
                  <a:lnTo>
                    <a:pt x="766" y="1719"/>
                  </a:lnTo>
                  <a:lnTo>
                    <a:pt x="768" y="1713"/>
                  </a:lnTo>
                  <a:lnTo>
                    <a:pt x="768" y="1711"/>
                  </a:lnTo>
                  <a:lnTo>
                    <a:pt x="768" y="1710"/>
                  </a:lnTo>
                  <a:lnTo>
                    <a:pt x="764" y="1708"/>
                  </a:lnTo>
                  <a:lnTo>
                    <a:pt x="761" y="1706"/>
                  </a:lnTo>
                  <a:lnTo>
                    <a:pt x="746" y="1704"/>
                  </a:lnTo>
                  <a:lnTo>
                    <a:pt x="719" y="1708"/>
                  </a:lnTo>
                  <a:lnTo>
                    <a:pt x="719" y="1708"/>
                  </a:lnTo>
                  <a:lnTo>
                    <a:pt x="706" y="1708"/>
                  </a:lnTo>
                  <a:lnTo>
                    <a:pt x="695" y="1708"/>
                  </a:lnTo>
                  <a:lnTo>
                    <a:pt x="682" y="1704"/>
                  </a:lnTo>
                  <a:lnTo>
                    <a:pt x="673" y="1700"/>
                  </a:lnTo>
                  <a:lnTo>
                    <a:pt x="650" y="1691"/>
                  </a:lnTo>
                  <a:lnTo>
                    <a:pt x="630" y="1680"/>
                  </a:lnTo>
                  <a:lnTo>
                    <a:pt x="609" y="1667"/>
                  </a:lnTo>
                  <a:lnTo>
                    <a:pt x="589" y="1655"/>
                  </a:lnTo>
                  <a:lnTo>
                    <a:pt x="568" y="1648"/>
                  </a:lnTo>
                  <a:lnTo>
                    <a:pt x="557" y="1646"/>
                  </a:lnTo>
                  <a:lnTo>
                    <a:pt x="546" y="1644"/>
                  </a:lnTo>
                  <a:lnTo>
                    <a:pt x="546" y="1644"/>
                  </a:lnTo>
                  <a:lnTo>
                    <a:pt x="536" y="1644"/>
                  </a:lnTo>
                  <a:lnTo>
                    <a:pt x="529" y="1642"/>
                  </a:lnTo>
                  <a:lnTo>
                    <a:pt x="523" y="1640"/>
                  </a:lnTo>
                  <a:lnTo>
                    <a:pt x="518" y="1639"/>
                  </a:lnTo>
                  <a:lnTo>
                    <a:pt x="510" y="1629"/>
                  </a:lnTo>
                  <a:lnTo>
                    <a:pt x="505" y="1620"/>
                  </a:lnTo>
                  <a:lnTo>
                    <a:pt x="499" y="1611"/>
                  </a:lnTo>
                  <a:lnTo>
                    <a:pt x="493" y="1601"/>
                  </a:lnTo>
                  <a:lnTo>
                    <a:pt x="486" y="1594"/>
                  </a:lnTo>
                  <a:lnTo>
                    <a:pt x="480" y="1590"/>
                  </a:lnTo>
                  <a:lnTo>
                    <a:pt x="475" y="1588"/>
                  </a:lnTo>
                  <a:lnTo>
                    <a:pt x="475" y="1588"/>
                  </a:lnTo>
                  <a:lnTo>
                    <a:pt x="447" y="1579"/>
                  </a:lnTo>
                  <a:lnTo>
                    <a:pt x="422" y="1571"/>
                  </a:lnTo>
                  <a:lnTo>
                    <a:pt x="379" y="1562"/>
                  </a:lnTo>
                  <a:lnTo>
                    <a:pt x="346" y="1558"/>
                  </a:lnTo>
                  <a:lnTo>
                    <a:pt x="318" y="1558"/>
                  </a:lnTo>
                  <a:lnTo>
                    <a:pt x="293" y="1558"/>
                  </a:lnTo>
                  <a:lnTo>
                    <a:pt x="271" y="1558"/>
                  </a:lnTo>
                  <a:lnTo>
                    <a:pt x="248" y="1556"/>
                  </a:lnTo>
                  <a:lnTo>
                    <a:pt x="237" y="1554"/>
                  </a:lnTo>
                  <a:lnTo>
                    <a:pt x="224" y="1549"/>
                  </a:lnTo>
                  <a:lnTo>
                    <a:pt x="224" y="1549"/>
                  </a:lnTo>
                  <a:lnTo>
                    <a:pt x="207" y="1545"/>
                  </a:lnTo>
                  <a:lnTo>
                    <a:pt x="185" y="1540"/>
                  </a:lnTo>
                  <a:lnTo>
                    <a:pt x="129" y="1528"/>
                  </a:lnTo>
                  <a:lnTo>
                    <a:pt x="63" y="1517"/>
                  </a:lnTo>
                  <a:lnTo>
                    <a:pt x="0" y="1510"/>
                  </a:lnTo>
                  <a:lnTo>
                    <a:pt x="0" y="1510"/>
                  </a:lnTo>
                  <a:lnTo>
                    <a:pt x="28" y="1590"/>
                  </a:lnTo>
                  <a:lnTo>
                    <a:pt x="41" y="1637"/>
                  </a:lnTo>
                  <a:lnTo>
                    <a:pt x="45" y="1654"/>
                  </a:lnTo>
                  <a:lnTo>
                    <a:pt x="45" y="1663"/>
                  </a:lnTo>
                  <a:lnTo>
                    <a:pt x="45" y="1663"/>
                  </a:lnTo>
                  <a:lnTo>
                    <a:pt x="41" y="1674"/>
                  </a:lnTo>
                  <a:lnTo>
                    <a:pt x="35" y="1682"/>
                  </a:lnTo>
                  <a:lnTo>
                    <a:pt x="26" y="1687"/>
                  </a:lnTo>
                  <a:lnTo>
                    <a:pt x="22" y="1691"/>
                  </a:lnTo>
                  <a:lnTo>
                    <a:pt x="24" y="1696"/>
                  </a:lnTo>
                  <a:lnTo>
                    <a:pt x="28" y="1706"/>
                  </a:lnTo>
                  <a:lnTo>
                    <a:pt x="39" y="1723"/>
                  </a:lnTo>
                  <a:lnTo>
                    <a:pt x="39" y="1723"/>
                  </a:lnTo>
                  <a:lnTo>
                    <a:pt x="52" y="1741"/>
                  </a:lnTo>
                  <a:lnTo>
                    <a:pt x="71" y="1764"/>
                  </a:lnTo>
                  <a:lnTo>
                    <a:pt x="78" y="1777"/>
                  </a:lnTo>
                  <a:lnTo>
                    <a:pt x="84" y="1788"/>
                  </a:lnTo>
                  <a:lnTo>
                    <a:pt x="88" y="1797"/>
                  </a:lnTo>
                  <a:lnTo>
                    <a:pt x="88" y="1801"/>
                  </a:lnTo>
                  <a:lnTo>
                    <a:pt x="88" y="1805"/>
                  </a:lnTo>
                  <a:lnTo>
                    <a:pt x="88" y="1805"/>
                  </a:lnTo>
                  <a:lnTo>
                    <a:pt x="84" y="1810"/>
                  </a:lnTo>
                  <a:lnTo>
                    <a:pt x="84" y="1816"/>
                  </a:lnTo>
                  <a:lnTo>
                    <a:pt x="84" y="1825"/>
                  </a:lnTo>
                  <a:lnTo>
                    <a:pt x="90" y="1833"/>
                  </a:lnTo>
                  <a:lnTo>
                    <a:pt x="95" y="1839"/>
                  </a:lnTo>
                  <a:lnTo>
                    <a:pt x="103" y="1840"/>
                  </a:lnTo>
                  <a:lnTo>
                    <a:pt x="110" y="1840"/>
                  </a:lnTo>
                  <a:lnTo>
                    <a:pt x="118" y="1839"/>
                  </a:lnTo>
                  <a:lnTo>
                    <a:pt x="121" y="1835"/>
                  </a:lnTo>
                  <a:lnTo>
                    <a:pt x="121" y="1835"/>
                  </a:lnTo>
                  <a:lnTo>
                    <a:pt x="121" y="1825"/>
                  </a:lnTo>
                  <a:lnTo>
                    <a:pt x="121" y="1818"/>
                  </a:lnTo>
                  <a:lnTo>
                    <a:pt x="118" y="1814"/>
                  </a:lnTo>
                  <a:lnTo>
                    <a:pt x="118" y="1810"/>
                  </a:lnTo>
                  <a:lnTo>
                    <a:pt x="121" y="1809"/>
                  </a:lnTo>
                  <a:lnTo>
                    <a:pt x="133" y="1807"/>
                  </a:lnTo>
                  <a:lnTo>
                    <a:pt x="189" y="1799"/>
                  </a:lnTo>
                  <a:lnTo>
                    <a:pt x="189" y="1799"/>
                  </a:lnTo>
                  <a:lnTo>
                    <a:pt x="219" y="1797"/>
                  </a:lnTo>
                  <a:lnTo>
                    <a:pt x="247" y="1799"/>
                  </a:lnTo>
                  <a:lnTo>
                    <a:pt x="258" y="1801"/>
                  </a:lnTo>
                  <a:lnTo>
                    <a:pt x="267" y="1803"/>
                  </a:lnTo>
                  <a:lnTo>
                    <a:pt x="277" y="1807"/>
                  </a:lnTo>
                  <a:lnTo>
                    <a:pt x="284" y="1810"/>
                  </a:lnTo>
                  <a:lnTo>
                    <a:pt x="290" y="1816"/>
                  </a:lnTo>
                  <a:lnTo>
                    <a:pt x="291" y="1824"/>
                  </a:lnTo>
                  <a:lnTo>
                    <a:pt x="293" y="1829"/>
                  </a:lnTo>
                  <a:lnTo>
                    <a:pt x="293" y="1839"/>
                  </a:lnTo>
                  <a:lnTo>
                    <a:pt x="290" y="1846"/>
                  </a:lnTo>
                  <a:lnTo>
                    <a:pt x="284" y="1855"/>
                  </a:lnTo>
                  <a:lnTo>
                    <a:pt x="277" y="1867"/>
                  </a:lnTo>
                  <a:lnTo>
                    <a:pt x="265" y="1876"/>
                  </a:lnTo>
                  <a:lnTo>
                    <a:pt x="265" y="1876"/>
                  </a:lnTo>
                  <a:lnTo>
                    <a:pt x="234" y="1908"/>
                  </a:lnTo>
                  <a:lnTo>
                    <a:pt x="213" y="1926"/>
                  </a:lnTo>
                  <a:lnTo>
                    <a:pt x="202" y="1936"/>
                  </a:lnTo>
                  <a:lnTo>
                    <a:pt x="200" y="1938"/>
                  </a:lnTo>
                  <a:lnTo>
                    <a:pt x="200" y="1939"/>
                  </a:lnTo>
                  <a:lnTo>
                    <a:pt x="206" y="1941"/>
                  </a:lnTo>
                  <a:lnTo>
                    <a:pt x="217" y="1943"/>
                  </a:lnTo>
                  <a:lnTo>
                    <a:pt x="234" y="1949"/>
                  </a:lnTo>
                  <a:lnTo>
                    <a:pt x="243" y="1954"/>
                  </a:lnTo>
                  <a:lnTo>
                    <a:pt x="252" y="1960"/>
                  </a:lnTo>
                  <a:lnTo>
                    <a:pt x="252" y="1960"/>
                  </a:lnTo>
                  <a:lnTo>
                    <a:pt x="273" y="1975"/>
                  </a:lnTo>
                  <a:lnTo>
                    <a:pt x="282" y="1981"/>
                  </a:lnTo>
                  <a:lnTo>
                    <a:pt x="284" y="1984"/>
                  </a:lnTo>
                  <a:lnTo>
                    <a:pt x="286" y="1988"/>
                  </a:lnTo>
                  <a:lnTo>
                    <a:pt x="286" y="1988"/>
                  </a:lnTo>
                  <a:lnTo>
                    <a:pt x="288" y="1995"/>
                  </a:lnTo>
                  <a:lnTo>
                    <a:pt x="291" y="1999"/>
                  </a:lnTo>
                  <a:lnTo>
                    <a:pt x="295" y="2001"/>
                  </a:lnTo>
                  <a:lnTo>
                    <a:pt x="301" y="2007"/>
                  </a:lnTo>
                  <a:lnTo>
                    <a:pt x="301" y="2007"/>
                  </a:lnTo>
                  <a:lnTo>
                    <a:pt x="308" y="2014"/>
                  </a:lnTo>
                  <a:lnTo>
                    <a:pt x="318" y="2018"/>
                  </a:lnTo>
                  <a:lnTo>
                    <a:pt x="331" y="2025"/>
                  </a:lnTo>
                  <a:lnTo>
                    <a:pt x="336" y="2031"/>
                  </a:lnTo>
                  <a:lnTo>
                    <a:pt x="340" y="2038"/>
                  </a:lnTo>
                  <a:lnTo>
                    <a:pt x="340" y="2048"/>
                  </a:lnTo>
                  <a:lnTo>
                    <a:pt x="338" y="2063"/>
                  </a:lnTo>
                  <a:lnTo>
                    <a:pt x="338" y="2063"/>
                  </a:lnTo>
                  <a:lnTo>
                    <a:pt x="336" y="2072"/>
                  </a:lnTo>
                  <a:lnTo>
                    <a:pt x="336" y="2078"/>
                  </a:lnTo>
                  <a:lnTo>
                    <a:pt x="336" y="2081"/>
                  </a:lnTo>
                  <a:lnTo>
                    <a:pt x="340" y="2083"/>
                  </a:lnTo>
                  <a:lnTo>
                    <a:pt x="351" y="2085"/>
                  </a:lnTo>
                  <a:lnTo>
                    <a:pt x="359" y="2089"/>
                  </a:lnTo>
                  <a:lnTo>
                    <a:pt x="366" y="2094"/>
                  </a:lnTo>
                  <a:lnTo>
                    <a:pt x="366" y="2094"/>
                  </a:lnTo>
                  <a:lnTo>
                    <a:pt x="407" y="2128"/>
                  </a:lnTo>
                  <a:lnTo>
                    <a:pt x="419" y="2137"/>
                  </a:lnTo>
                  <a:lnTo>
                    <a:pt x="428" y="2139"/>
                  </a:lnTo>
                  <a:lnTo>
                    <a:pt x="434" y="2139"/>
                  </a:lnTo>
                  <a:lnTo>
                    <a:pt x="437" y="2139"/>
                  </a:lnTo>
                  <a:lnTo>
                    <a:pt x="445" y="2132"/>
                  </a:lnTo>
                  <a:lnTo>
                    <a:pt x="467" y="2109"/>
                  </a:lnTo>
                  <a:lnTo>
                    <a:pt x="467" y="2109"/>
                  </a:lnTo>
                  <a:lnTo>
                    <a:pt x="469" y="2106"/>
                  </a:lnTo>
                  <a:lnTo>
                    <a:pt x="469" y="2104"/>
                  </a:lnTo>
                  <a:lnTo>
                    <a:pt x="465" y="2096"/>
                  </a:lnTo>
                  <a:lnTo>
                    <a:pt x="454" y="2085"/>
                  </a:lnTo>
                  <a:lnTo>
                    <a:pt x="450" y="2080"/>
                  </a:lnTo>
                  <a:lnTo>
                    <a:pt x="450" y="2078"/>
                  </a:lnTo>
                  <a:lnTo>
                    <a:pt x="452" y="2076"/>
                  </a:lnTo>
                  <a:lnTo>
                    <a:pt x="463" y="2072"/>
                  </a:lnTo>
                  <a:lnTo>
                    <a:pt x="486" y="2070"/>
                  </a:lnTo>
                  <a:lnTo>
                    <a:pt x="486" y="2070"/>
                  </a:lnTo>
                  <a:lnTo>
                    <a:pt x="497" y="2068"/>
                  </a:lnTo>
                  <a:lnTo>
                    <a:pt x="508" y="2066"/>
                  </a:lnTo>
                  <a:lnTo>
                    <a:pt x="516" y="2068"/>
                  </a:lnTo>
                  <a:lnTo>
                    <a:pt x="525" y="2070"/>
                  </a:lnTo>
                  <a:lnTo>
                    <a:pt x="536" y="2076"/>
                  </a:lnTo>
                  <a:lnTo>
                    <a:pt x="551" y="2083"/>
                  </a:lnTo>
                  <a:lnTo>
                    <a:pt x="551" y="208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4" name="Freeform 74">
              <a:extLst>
                <a:ext uri="{FF2B5EF4-FFF2-40B4-BE49-F238E27FC236}">
                  <a16:creationId xmlns:a16="http://schemas.microsoft.com/office/drawing/2014/main" id="{08245442-CB4B-4FA1-AB49-6A01A728B3B7}"/>
                </a:ext>
              </a:extLst>
            </p:cNvPr>
            <p:cNvSpPr>
              <a:spLocks noEditPoints="1"/>
            </p:cNvSpPr>
            <p:nvPr/>
          </p:nvSpPr>
          <p:spPr bwMode="auto">
            <a:xfrm>
              <a:off x="4619232" y="5273178"/>
              <a:ext cx="902881" cy="643098"/>
            </a:xfrm>
            <a:custGeom>
              <a:avLst/>
              <a:gdLst/>
              <a:ahLst/>
              <a:cxnLst>
                <a:cxn ang="0">
                  <a:pos x="458" y="165"/>
                </a:cxn>
                <a:cxn ang="0">
                  <a:pos x="411" y="146"/>
                </a:cxn>
                <a:cxn ang="0">
                  <a:pos x="372" y="110"/>
                </a:cxn>
                <a:cxn ang="0">
                  <a:pos x="331" y="127"/>
                </a:cxn>
                <a:cxn ang="0">
                  <a:pos x="282" y="163"/>
                </a:cxn>
                <a:cxn ang="0">
                  <a:pos x="224" y="191"/>
                </a:cxn>
                <a:cxn ang="0">
                  <a:pos x="172" y="217"/>
                </a:cxn>
                <a:cxn ang="0">
                  <a:pos x="75" y="187"/>
                </a:cxn>
                <a:cxn ang="0">
                  <a:pos x="4" y="198"/>
                </a:cxn>
                <a:cxn ang="0">
                  <a:pos x="33" y="256"/>
                </a:cxn>
                <a:cxn ang="0">
                  <a:pos x="84" y="288"/>
                </a:cxn>
                <a:cxn ang="0">
                  <a:pos x="127" y="309"/>
                </a:cxn>
                <a:cxn ang="0">
                  <a:pos x="181" y="301"/>
                </a:cxn>
                <a:cxn ang="0">
                  <a:pos x="205" y="372"/>
                </a:cxn>
                <a:cxn ang="0">
                  <a:pos x="166" y="393"/>
                </a:cxn>
                <a:cxn ang="0">
                  <a:pos x="146" y="464"/>
                </a:cxn>
                <a:cxn ang="0">
                  <a:pos x="213" y="475"/>
                </a:cxn>
                <a:cxn ang="0">
                  <a:pos x="265" y="480"/>
                </a:cxn>
                <a:cxn ang="0">
                  <a:pos x="265" y="535"/>
                </a:cxn>
                <a:cxn ang="0">
                  <a:pos x="275" y="606"/>
                </a:cxn>
                <a:cxn ang="0">
                  <a:pos x="316" y="639"/>
                </a:cxn>
                <a:cxn ang="0">
                  <a:pos x="415" y="671"/>
                </a:cxn>
                <a:cxn ang="0">
                  <a:pos x="473" y="688"/>
                </a:cxn>
                <a:cxn ang="0">
                  <a:pos x="517" y="686"/>
                </a:cxn>
                <a:cxn ang="0">
                  <a:pos x="519" y="641"/>
                </a:cxn>
                <a:cxn ang="0">
                  <a:pos x="547" y="671"/>
                </a:cxn>
                <a:cxn ang="0">
                  <a:pos x="568" y="667"/>
                </a:cxn>
                <a:cxn ang="0">
                  <a:pos x="609" y="688"/>
                </a:cxn>
                <a:cxn ang="0">
                  <a:pos x="624" y="707"/>
                </a:cxn>
                <a:cxn ang="0">
                  <a:pos x="659" y="675"/>
                </a:cxn>
                <a:cxn ang="0">
                  <a:pos x="665" y="675"/>
                </a:cxn>
                <a:cxn ang="0">
                  <a:pos x="688" y="703"/>
                </a:cxn>
                <a:cxn ang="0">
                  <a:pos x="714" y="665"/>
                </a:cxn>
                <a:cxn ang="0">
                  <a:pos x="772" y="641"/>
                </a:cxn>
                <a:cxn ang="0">
                  <a:pos x="773" y="602"/>
                </a:cxn>
                <a:cxn ang="0">
                  <a:pos x="828" y="579"/>
                </a:cxn>
                <a:cxn ang="0">
                  <a:pos x="828" y="544"/>
                </a:cxn>
                <a:cxn ang="0">
                  <a:pos x="893" y="514"/>
                </a:cxn>
                <a:cxn ang="0">
                  <a:pos x="912" y="426"/>
                </a:cxn>
                <a:cxn ang="0">
                  <a:pos x="942" y="374"/>
                </a:cxn>
                <a:cxn ang="0">
                  <a:pos x="977" y="320"/>
                </a:cxn>
                <a:cxn ang="0">
                  <a:pos x="992" y="288"/>
                </a:cxn>
                <a:cxn ang="0">
                  <a:pos x="959" y="221"/>
                </a:cxn>
                <a:cxn ang="0">
                  <a:pos x="921" y="239"/>
                </a:cxn>
                <a:cxn ang="0">
                  <a:pos x="908" y="172"/>
                </a:cxn>
                <a:cxn ang="0">
                  <a:pos x="852" y="195"/>
                </a:cxn>
                <a:cxn ang="0">
                  <a:pos x="895" y="114"/>
                </a:cxn>
                <a:cxn ang="0">
                  <a:pos x="901" y="58"/>
                </a:cxn>
                <a:cxn ang="0">
                  <a:pos x="886" y="10"/>
                </a:cxn>
                <a:cxn ang="0">
                  <a:pos x="813" y="4"/>
                </a:cxn>
                <a:cxn ang="0">
                  <a:pos x="753" y="51"/>
                </a:cxn>
                <a:cxn ang="0">
                  <a:pos x="712" y="28"/>
                </a:cxn>
                <a:cxn ang="0">
                  <a:pos x="688" y="60"/>
                </a:cxn>
                <a:cxn ang="0">
                  <a:pos x="639" y="68"/>
                </a:cxn>
                <a:cxn ang="0">
                  <a:pos x="581" y="86"/>
                </a:cxn>
                <a:cxn ang="0">
                  <a:pos x="579" y="110"/>
                </a:cxn>
                <a:cxn ang="0">
                  <a:pos x="540" y="127"/>
                </a:cxn>
                <a:cxn ang="0">
                  <a:pos x="504" y="112"/>
                </a:cxn>
              </a:cxnLst>
              <a:rect l="0" t="0" r="r" b="b"/>
              <a:pathLst>
                <a:path w="994" h="708">
                  <a:moveTo>
                    <a:pt x="886" y="518"/>
                  </a:moveTo>
                  <a:lnTo>
                    <a:pt x="886" y="518"/>
                  </a:lnTo>
                  <a:close/>
                  <a:moveTo>
                    <a:pt x="503" y="112"/>
                  </a:moveTo>
                  <a:lnTo>
                    <a:pt x="503" y="112"/>
                  </a:lnTo>
                  <a:lnTo>
                    <a:pt x="497" y="118"/>
                  </a:lnTo>
                  <a:lnTo>
                    <a:pt x="489" y="127"/>
                  </a:lnTo>
                  <a:lnTo>
                    <a:pt x="473" y="150"/>
                  </a:lnTo>
                  <a:lnTo>
                    <a:pt x="463" y="161"/>
                  </a:lnTo>
                  <a:lnTo>
                    <a:pt x="458" y="165"/>
                  </a:lnTo>
                  <a:lnTo>
                    <a:pt x="452" y="167"/>
                  </a:lnTo>
                  <a:lnTo>
                    <a:pt x="446" y="168"/>
                  </a:lnTo>
                  <a:lnTo>
                    <a:pt x="441" y="167"/>
                  </a:lnTo>
                  <a:lnTo>
                    <a:pt x="433" y="165"/>
                  </a:lnTo>
                  <a:lnTo>
                    <a:pt x="428" y="161"/>
                  </a:lnTo>
                  <a:lnTo>
                    <a:pt x="428" y="161"/>
                  </a:lnTo>
                  <a:lnTo>
                    <a:pt x="417" y="148"/>
                  </a:lnTo>
                  <a:lnTo>
                    <a:pt x="415" y="144"/>
                  </a:lnTo>
                  <a:lnTo>
                    <a:pt x="411" y="146"/>
                  </a:lnTo>
                  <a:lnTo>
                    <a:pt x="400" y="152"/>
                  </a:lnTo>
                  <a:lnTo>
                    <a:pt x="400" y="152"/>
                  </a:lnTo>
                  <a:lnTo>
                    <a:pt x="396" y="152"/>
                  </a:lnTo>
                  <a:lnTo>
                    <a:pt x="392" y="148"/>
                  </a:lnTo>
                  <a:lnTo>
                    <a:pt x="383" y="139"/>
                  </a:lnTo>
                  <a:lnTo>
                    <a:pt x="375" y="125"/>
                  </a:lnTo>
                  <a:lnTo>
                    <a:pt x="372" y="116"/>
                  </a:lnTo>
                  <a:lnTo>
                    <a:pt x="372" y="116"/>
                  </a:lnTo>
                  <a:lnTo>
                    <a:pt x="372" y="110"/>
                  </a:lnTo>
                  <a:lnTo>
                    <a:pt x="368" y="107"/>
                  </a:lnTo>
                  <a:lnTo>
                    <a:pt x="362" y="101"/>
                  </a:lnTo>
                  <a:lnTo>
                    <a:pt x="353" y="99"/>
                  </a:lnTo>
                  <a:lnTo>
                    <a:pt x="346" y="101"/>
                  </a:lnTo>
                  <a:lnTo>
                    <a:pt x="338" y="103"/>
                  </a:lnTo>
                  <a:lnTo>
                    <a:pt x="331" y="110"/>
                  </a:lnTo>
                  <a:lnTo>
                    <a:pt x="329" y="118"/>
                  </a:lnTo>
                  <a:lnTo>
                    <a:pt x="329" y="124"/>
                  </a:lnTo>
                  <a:lnTo>
                    <a:pt x="331" y="127"/>
                  </a:lnTo>
                  <a:lnTo>
                    <a:pt x="331" y="127"/>
                  </a:lnTo>
                  <a:lnTo>
                    <a:pt x="331" y="133"/>
                  </a:lnTo>
                  <a:lnTo>
                    <a:pt x="332" y="139"/>
                  </a:lnTo>
                  <a:lnTo>
                    <a:pt x="331" y="142"/>
                  </a:lnTo>
                  <a:lnTo>
                    <a:pt x="329" y="146"/>
                  </a:lnTo>
                  <a:lnTo>
                    <a:pt x="321" y="152"/>
                  </a:lnTo>
                  <a:lnTo>
                    <a:pt x="312" y="155"/>
                  </a:lnTo>
                  <a:lnTo>
                    <a:pt x="291" y="161"/>
                  </a:lnTo>
                  <a:lnTo>
                    <a:pt x="282" y="163"/>
                  </a:lnTo>
                  <a:lnTo>
                    <a:pt x="276" y="167"/>
                  </a:lnTo>
                  <a:lnTo>
                    <a:pt x="276" y="167"/>
                  </a:lnTo>
                  <a:lnTo>
                    <a:pt x="267" y="172"/>
                  </a:lnTo>
                  <a:lnTo>
                    <a:pt x="258" y="176"/>
                  </a:lnTo>
                  <a:lnTo>
                    <a:pt x="241" y="181"/>
                  </a:lnTo>
                  <a:lnTo>
                    <a:pt x="230" y="183"/>
                  </a:lnTo>
                  <a:lnTo>
                    <a:pt x="226" y="187"/>
                  </a:lnTo>
                  <a:lnTo>
                    <a:pt x="224" y="191"/>
                  </a:lnTo>
                  <a:lnTo>
                    <a:pt x="224" y="191"/>
                  </a:lnTo>
                  <a:lnTo>
                    <a:pt x="218" y="210"/>
                  </a:lnTo>
                  <a:lnTo>
                    <a:pt x="213" y="223"/>
                  </a:lnTo>
                  <a:lnTo>
                    <a:pt x="207" y="228"/>
                  </a:lnTo>
                  <a:lnTo>
                    <a:pt x="202" y="228"/>
                  </a:lnTo>
                  <a:lnTo>
                    <a:pt x="194" y="226"/>
                  </a:lnTo>
                  <a:lnTo>
                    <a:pt x="189" y="224"/>
                  </a:lnTo>
                  <a:lnTo>
                    <a:pt x="185" y="221"/>
                  </a:lnTo>
                  <a:lnTo>
                    <a:pt x="185" y="221"/>
                  </a:lnTo>
                  <a:lnTo>
                    <a:pt x="172" y="217"/>
                  </a:lnTo>
                  <a:lnTo>
                    <a:pt x="161" y="213"/>
                  </a:lnTo>
                  <a:lnTo>
                    <a:pt x="140" y="202"/>
                  </a:lnTo>
                  <a:lnTo>
                    <a:pt x="118" y="189"/>
                  </a:lnTo>
                  <a:lnTo>
                    <a:pt x="108" y="183"/>
                  </a:lnTo>
                  <a:lnTo>
                    <a:pt x="95" y="178"/>
                  </a:lnTo>
                  <a:lnTo>
                    <a:pt x="95" y="178"/>
                  </a:lnTo>
                  <a:lnTo>
                    <a:pt x="91" y="178"/>
                  </a:lnTo>
                  <a:lnTo>
                    <a:pt x="86" y="180"/>
                  </a:lnTo>
                  <a:lnTo>
                    <a:pt x="75" y="187"/>
                  </a:lnTo>
                  <a:lnTo>
                    <a:pt x="47" y="210"/>
                  </a:lnTo>
                  <a:lnTo>
                    <a:pt x="33" y="217"/>
                  </a:lnTo>
                  <a:lnTo>
                    <a:pt x="28" y="221"/>
                  </a:lnTo>
                  <a:lnTo>
                    <a:pt x="22" y="221"/>
                  </a:lnTo>
                  <a:lnTo>
                    <a:pt x="17" y="219"/>
                  </a:lnTo>
                  <a:lnTo>
                    <a:pt x="11" y="215"/>
                  </a:lnTo>
                  <a:lnTo>
                    <a:pt x="7" y="208"/>
                  </a:lnTo>
                  <a:lnTo>
                    <a:pt x="4" y="198"/>
                  </a:lnTo>
                  <a:lnTo>
                    <a:pt x="4" y="198"/>
                  </a:lnTo>
                  <a:lnTo>
                    <a:pt x="0" y="211"/>
                  </a:lnTo>
                  <a:lnTo>
                    <a:pt x="0" y="224"/>
                  </a:lnTo>
                  <a:lnTo>
                    <a:pt x="4" y="239"/>
                  </a:lnTo>
                  <a:lnTo>
                    <a:pt x="7" y="256"/>
                  </a:lnTo>
                  <a:lnTo>
                    <a:pt x="7" y="256"/>
                  </a:lnTo>
                  <a:lnTo>
                    <a:pt x="9" y="258"/>
                  </a:lnTo>
                  <a:lnTo>
                    <a:pt x="11" y="260"/>
                  </a:lnTo>
                  <a:lnTo>
                    <a:pt x="17" y="260"/>
                  </a:lnTo>
                  <a:lnTo>
                    <a:pt x="33" y="256"/>
                  </a:lnTo>
                  <a:lnTo>
                    <a:pt x="43" y="254"/>
                  </a:lnTo>
                  <a:lnTo>
                    <a:pt x="56" y="254"/>
                  </a:lnTo>
                  <a:lnTo>
                    <a:pt x="67" y="256"/>
                  </a:lnTo>
                  <a:lnTo>
                    <a:pt x="73" y="260"/>
                  </a:lnTo>
                  <a:lnTo>
                    <a:pt x="78" y="264"/>
                  </a:lnTo>
                  <a:lnTo>
                    <a:pt x="78" y="264"/>
                  </a:lnTo>
                  <a:lnTo>
                    <a:pt x="82" y="267"/>
                  </a:lnTo>
                  <a:lnTo>
                    <a:pt x="84" y="273"/>
                  </a:lnTo>
                  <a:lnTo>
                    <a:pt x="84" y="288"/>
                  </a:lnTo>
                  <a:lnTo>
                    <a:pt x="84" y="294"/>
                  </a:lnTo>
                  <a:lnTo>
                    <a:pt x="86" y="299"/>
                  </a:lnTo>
                  <a:lnTo>
                    <a:pt x="91" y="305"/>
                  </a:lnTo>
                  <a:lnTo>
                    <a:pt x="99" y="307"/>
                  </a:lnTo>
                  <a:lnTo>
                    <a:pt x="99" y="307"/>
                  </a:lnTo>
                  <a:lnTo>
                    <a:pt x="106" y="309"/>
                  </a:lnTo>
                  <a:lnTo>
                    <a:pt x="114" y="312"/>
                  </a:lnTo>
                  <a:lnTo>
                    <a:pt x="119" y="312"/>
                  </a:lnTo>
                  <a:lnTo>
                    <a:pt x="127" y="309"/>
                  </a:lnTo>
                  <a:lnTo>
                    <a:pt x="127" y="309"/>
                  </a:lnTo>
                  <a:lnTo>
                    <a:pt x="131" y="309"/>
                  </a:lnTo>
                  <a:lnTo>
                    <a:pt x="134" y="309"/>
                  </a:lnTo>
                  <a:lnTo>
                    <a:pt x="144" y="312"/>
                  </a:lnTo>
                  <a:lnTo>
                    <a:pt x="149" y="312"/>
                  </a:lnTo>
                  <a:lnTo>
                    <a:pt x="159" y="312"/>
                  </a:lnTo>
                  <a:lnTo>
                    <a:pt x="168" y="309"/>
                  </a:lnTo>
                  <a:lnTo>
                    <a:pt x="181" y="301"/>
                  </a:lnTo>
                  <a:lnTo>
                    <a:pt x="181" y="301"/>
                  </a:lnTo>
                  <a:lnTo>
                    <a:pt x="183" y="301"/>
                  </a:lnTo>
                  <a:lnTo>
                    <a:pt x="187" y="301"/>
                  </a:lnTo>
                  <a:lnTo>
                    <a:pt x="190" y="303"/>
                  </a:lnTo>
                  <a:lnTo>
                    <a:pt x="194" y="305"/>
                  </a:lnTo>
                  <a:lnTo>
                    <a:pt x="202" y="316"/>
                  </a:lnTo>
                  <a:lnTo>
                    <a:pt x="207" y="329"/>
                  </a:lnTo>
                  <a:lnTo>
                    <a:pt x="209" y="346"/>
                  </a:lnTo>
                  <a:lnTo>
                    <a:pt x="207" y="363"/>
                  </a:lnTo>
                  <a:lnTo>
                    <a:pt x="205" y="372"/>
                  </a:lnTo>
                  <a:lnTo>
                    <a:pt x="202" y="381"/>
                  </a:lnTo>
                  <a:lnTo>
                    <a:pt x="196" y="389"/>
                  </a:lnTo>
                  <a:lnTo>
                    <a:pt x="190" y="398"/>
                  </a:lnTo>
                  <a:lnTo>
                    <a:pt x="190" y="398"/>
                  </a:lnTo>
                  <a:lnTo>
                    <a:pt x="187" y="400"/>
                  </a:lnTo>
                  <a:lnTo>
                    <a:pt x="183" y="400"/>
                  </a:lnTo>
                  <a:lnTo>
                    <a:pt x="177" y="398"/>
                  </a:lnTo>
                  <a:lnTo>
                    <a:pt x="170" y="395"/>
                  </a:lnTo>
                  <a:lnTo>
                    <a:pt x="166" y="393"/>
                  </a:lnTo>
                  <a:lnTo>
                    <a:pt x="161" y="393"/>
                  </a:lnTo>
                  <a:lnTo>
                    <a:pt x="161" y="393"/>
                  </a:lnTo>
                  <a:lnTo>
                    <a:pt x="153" y="404"/>
                  </a:lnTo>
                  <a:lnTo>
                    <a:pt x="142" y="415"/>
                  </a:lnTo>
                  <a:lnTo>
                    <a:pt x="119" y="436"/>
                  </a:lnTo>
                  <a:lnTo>
                    <a:pt x="119" y="436"/>
                  </a:lnTo>
                  <a:lnTo>
                    <a:pt x="134" y="452"/>
                  </a:lnTo>
                  <a:lnTo>
                    <a:pt x="140" y="458"/>
                  </a:lnTo>
                  <a:lnTo>
                    <a:pt x="146" y="464"/>
                  </a:lnTo>
                  <a:lnTo>
                    <a:pt x="146" y="464"/>
                  </a:lnTo>
                  <a:lnTo>
                    <a:pt x="168" y="477"/>
                  </a:lnTo>
                  <a:lnTo>
                    <a:pt x="172" y="479"/>
                  </a:lnTo>
                  <a:lnTo>
                    <a:pt x="175" y="475"/>
                  </a:lnTo>
                  <a:lnTo>
                    <a:pt x="183" y="473"/>
                  </a:lnTo>
                  <a:lnTo>
                    <a:pt x="194" y="471"/>
                  </a:lnTo>
                  <a:lnTo>
                    <a:pt x="194" y="471"/>
                  </a:lnTo>
                  <a:lnTo>
                    <a:pt x="207" y="473"/>
                  </a:lnTo>
                  <a:lnTo>
                    <a:pt x="213" y="475"/>
                  </a:lnTo>
                  <a:lnTo>
                    <a:pt x="217" y="479"/>
                  </a:lnTo>
                  <a:lnTo>
                    <a:pt x="218" y="482"/>
                  </a:lnTo>
                  <a:lnTo>
                    <a:pt x="220" y="486"/>
                  </a:lnTo>
                  <a:lnTo>
                    <a:pt x="226" y="488"/>
                  </a:lnTo>
                  <a:lnTo>
                    <a:pt x="235" y="486"/>
                  </a:lnTo>
                  <a:lnTo>
                    <a:pt x="252" y="480"/>
                  </a:lnTo>
                  <a:lnTo>
                    <a:pt x="252" y="480"/>
                  </a:lnTo>
                  <a:lnTo>
                    <a:pt x="258" y="480"/>
                  </a:lnTo>
                  <a:lnTo>
                    <a:pt x="265" y="480"/>
                  </a:lnTo>
                  <a:lnTo>
                    <a:pt x="273" y="486"/>
                  </a:lnTo>
                  <a:lnTo>
                    <a:pt x="280" y="492"/>
                  </a:lnTo>
                  <a:lnTo>
                    <a:pt x="286" y="499"/>
                  </a:lnTo>
                  <a:lnTo>
                    <a:pt x="286" y="505"/>
                  </a:lnTo>
                  <a:lnTo>
                    <a:pt x="286" y="508"/>
                  </a:lnTo>
                  <a:lnTo>
                    <a:pt x="284" y="514"/>
                  </a:lnTo>
                  <a:lnTo>
                    <a:pt x="280" y="522"/>
                  </a:lnTo>
                  <a:lnTo>
                    <a:pt x="275" y="527"/>
                  </a:lnTo>
                  <a:lnTo>
                    <a:pt x="265" y="535"/>
                  </a:lnTo>
                  <a:lnTo>
                    <a:pt x="265" y="535"/>
                  </a:lnTo>
                  <a:lnTo>
                    <a:pt x="258" y="544"/>
                  </a:lnTo>
                  <a:lnTo>
                    <a:pt x="254" y="551"/>
                  </a:lnTo>
                  <a:lnTo>
                    <a:pt x="254" y="559"/>
                  </a:lnTo>
                  <a:lnTo>
                    <a:pt x="258" y="566"/>
                  </a:lnTo>
                  <a:lnTo>
                    <a:pt x="267" y="583"/>
                  </a:lnTo>
                  <a:lnTo>
                    <a:pt x="273" y="594"/>
                  </a:lnTo>
                  <a:lnTo>
                    <a:pt x="275" y="606"/>
                  </a:lnTo>
                  <a:lnTo>
                    <a:pt x="275" y="606"/>
                  </a:lnTo>
                  <a:lnTo>
                    <a:pt x="276" y="613"/>
                  </a:lnTo>
                  <a:lnTo>
                    <a:pt x="280" y="617"/>
                  </a:lnTo>
                  <a:lnTo>
                    <a:pt x="286" y="619"/>
                  </a:lnTo>
                  <a:lnTo>
                    <a:pt x="291" y="622"/>
                  </a:lnTo>
                  <a:lnTo>
                    <a:pt x="303" y="626"/>
                  </a:lnTo>
                  <a:lnTo>
                    <a:pt x="308" y="628"/>
                  </a:lnTo>
                  <a:lnTo>
                    <a:pt x="312" y="632"/>
                  </a:lnTo>
                  <a:lnTo>
                    <a:pt x="312" y="632"/>
                  </a:lnTo>
                  <a:lnTo>
                    <a:pt x="316" y="639"/>
                  </a:lnTo>
                  <a:lnTo>
                    <a:pt x="321" y="645"/>
                  </a:lnTo>
                  <a:lnTo>
                    <a:pt x="327" y="654"/>
                  </a:lnTo>
                  <a:lnTo>
                    <a:pt x="338" y="662"/>
                  </a:lnTo>
                  <a:lnTo>
                    <a:pt x="351" y="667"/>
                  </a:lnTo>
                  <a:lnTo>
                    <a:pt x="368" y="673"/>
                  </a:lnTo>
                  <a:lnTo>
                    <a:pt x="390" y="675"/>
                  </a:lnTo>
                  <a:lnTo>
                    <a:pt x="390" y="675"/>
                  </a:lnTo>
                  <a:lnTo>
                    <a:pt x="403" y="673"/>
                  </a:lnTo>
                  <a:lnTo>
                    <a:pt x="415" y="671"/>
                  </a:lnTo>
                  <a:lnTo>
                    <a:pt x="420" y="671"/>
                  </a:lnTo>
                  <a:lnTo>
                    <a:pt x="424" y="673"/>
                  </a:lnTo>
                  <a:lnTo>
                    <a:pt x="430" y="675"/>
                  </a:lnTo>
                  <a:lnTo>
                    <a:pt x="437" y="679"/>
                  </a:lnTo>
                  <a:lnTo>
                    <a:pt x="437" y="679"/>
                  </a:lnTo>
                  <a:lnTo>
                    <a:pt x="443" y="684"/>
                  </a:lnTo>
                  <a:lnTo>
                    <a:pt x="450" y="686"/>
                  </a:lnTo>
                  <a:lnTo>
                    <a:pt x="461" y="688"/>
                  </a:lnTo>
                  <a:lnTo>
                    <a:pt x="473" y="688"/>
                  </a:lnTo>
                  <a:lnTo>
                    <a:pt x="482" y="684"/>
                  </a:lnTo>
                  <a:lnTo>
                    <a:pt x="495" y="677"/>
                  </a:lnTo>
                  <a:lnTo>
                    <a:pt x="499" y="677"/>
                  </a:lnTo>
                  <a:lnTo>
                    <a:pt x="503" y="682"/>
                  </a:lnTo>
                  <a:lnTo>
                    <a:pt x="503" y="682"/>
                  </a:lnTo>
                  <a:lnTo>
                    <a:pt x="506" y="688"/>
                  </a:lnTo>
                  <a:lnTo>
                    <a:pt x="510" y="690"/>
                  </a:lnTo>
                  <a:lnTo>
                    <a:pt x="514" y="688"/>
                  </a:lnTo>
                  <a:lnTo>
                    <a:pt x="517" y="686"/>
                  </a:lnTo>
                  <a:lnTo>
                    <a:pt x="519" y="680"/>
                  </a:lnTo>
                  <a:lnTo>
                    <a:pt x="521" y="673"/>
                  </a:lnTo>
                  <a:lnTo>
                    <a:pt x="519" y="665"/>
                  </a:lnTo>
                  <a:lnTo>
                    <a:pt x="517" y="660"/>
                  </a:lnTo>
                  <a:lnTo>
                    <a:pt x="517" y="660"/>
                  </a:lnTo>
                  <a:lnTo>
                    <a:pt x="514" y="652"/>
                  </a:lnTo>
                  <a:lnTo>
                    <a:pt x="514" y="649"/>
                  </a:lnTo>
                  <a:lnTo>
                    <a:pt x="516" y="645"/>
                  </a:lnTo>
                  <a:lnTo>
                    <a:pt x="519" y="641"/>
                  </a:lnTo>
                  <a:lnTo>
                    <a:pt x="525" y="641"/>
                  </a:lnTo>
                  <a:lnTo>
                    <a:pt x="529" y="641"/>
                  </a:lnTo>
                  <a:lnTo>
                    <a:pt x="532" y="643"/>
                  </a:lnTo>
                  <a:lnTo>
                    <a:pt x="534" y="645"/>
                  </a:lnTo>
                  <a:lnTo>
                    <a:pt x="534" y="645"/>
                  </a:lnTo>
                  <a:lnTo>
                    <a:pt x="532" y="656"/>
                  </a:lnTo>
                  <a:lnTo>
                    <a:pt x="534" y="658"/>
                  </a:lnTo>
                  <a:lnTo>
                    <a:pt x="538" y="662"/>
                  </a:lnTo>
                  <a:lnTo>
                    <a:pt x="547" y="671"/>
                  </a:lnTo>
                  <a:lnTo>
                    <a:pt x="547" y="671"/>
                  </a:lnTo>
                  <a:lnTo>
                    <a:pt x="551" y="677"/>
                  </a:lnTo>
                  <a:lnTo>
                    <a:pt x="553" y="677"/>
                  </a:lnTo>
                  <a:lnTo>
                    <a:pt x="555" y="677"/>
                  </a:lnTo>
                  <a:lnTo>
                    <a:pt x="559" y="671"/>
                  </a:lnTo>
                  <a:lnTo>
                    <a:pt x="562" y="667"/>
                  </a:lnTo>
                  <a:lnTo>
                    <a:pt x="564" y="658"/>
                  </a:lnTo>
                  <a:lnTo>
                    <a:pt x="566" y="660"/>
                  </a:lnTo>
                  <a:lnTo>
                    <a:pt x="568" y="667"/>
                  </a:lnTo>
                  <a:lnTo>
                    <a:pt x="568" y="667"/>
                  </a:lnTo>
                  <a:lnTo>
                    <a:pt x="570" y="671"/>
                  </a:lnTo>
                  <a:lnTo>
                    <a:pt x="572" y="673"/>
                  </a:lnTo>
                  <a:lnTo>
                    <a:pt x="579" y="677"/>
                  </a:lnTo>
                  <a:lnTo>
                    <a:pt x="587" y="680"/>
                  </a:lnTo>
                  <a:lnTo>
                    <a:pt x="596" y="682"/>
                  </a:lnTo>
                  <a:lnTo>
                    <a:pt x="603" y="684"/>
                  </a:lnTo>
                  <a:lnTo>
                    <a:pt x="607" y="686"/>
                  </a:lnTo>
                  <a:lnTo>
                    <a:pt x="609" y="688"/>
                  </a:lnTo>
                  <a:lnTo>
                    <a:pt x="607" y="692"/>
                  </a:lnTo>
                  <a:lnTo>
                    <a:pt x="602" y="699"/>
                  </a:lnTo>
                  <a:lnTo>
                    <a:pt x="602" y="699"/>
                  </a:lnTo>
                  <a:lnTo>
                    <a:pt x="600" y="703"/>
                  </a:lnTo>
                  <a:lnTo>
                    <a:pt x="600" y="705"/>
                  </a:lnTo>
                  <a:lnTo>
                    <a:pt x="602" y="707"/>
                  </a:lnTo>
                  <a:lnTo>
                    <a:pt x="603" y="707"/>
                  </a:lnTo>
                  <a:lnTo>
                    <a:pt x="613" y="708"/>
                  </a:lnTo>
                  <a:lnTo>
                    <a:pt x="624" y="707"/>
                  </a:lnTo>
                  <a:lnTo>
                    <a:pt x="635" y="705"/>
                  </a:lnTo>
                  <a:lnTo>
                    <a:pt x="648" y="703"/>
                  </a:lnTo>
                  <a:lnTo>
                    <a:pt x="658" y="699"/>
                  </a:lnTo>
                  <a:lnTo>
                    <a:pt x="663" y="693"/>
                  </a:lnTo>
                  <a:lnTo>
                    <a:pt x="663" y="693"/>
                  </a:lnTo>
                  <a:lnTo>
                    <a:pt x="663" y="690"/>
                  </a:lnTo>
                  <a:lnTo>
                    <a:pt x="663" y="686"/>
                  </a:lnTo>
                  <a:lnTo>
                    <a:pt x="659" y="679"/>
                  </a:lnTo>
                  <a:lnTo>
                    <a:pt x="659" y="675"/>
                  </a:lnTo>
                  <a:lnTo>
                    <a:pt x="658" y="671"/>
                  </a:lnTo>
                  <a:lnTo>
                    <a:pt x="659" y="667"/>
                  </a:lnTo>
                  <a:lnTo>
                    <a:pt x="663" y="664"/>
                  </a:lnTo>
                  <a:lnTo>
                    <a:pt x="663" y="664"/>
                  </a:lnTo>
                  <a:lnTo>
                    <a:pt x="667" y="660"/>
                  </a:lnTo>
                  <a:lnTo>
                    <a:pt x="667" y="662"/>
                  </a:lnTo>
                  <a:lnTo>
                    <a:pt x="665" y="667"/>
                  </a:lnTo>
                  <a:lnTo>
                    <a:pt x="665" y="671"/>
                  </a:lnTo>
                  <a:lnTo>
                    <a:pt x="665" y="675"/>
                  </a:lnTo>
                  <a:lnTo>
                    <a:pt x="667" y="679"/>
                  </a:lnTo>
                  <a:lnTo>
                    <a:pt x="671" y="682"/>
                  </a:lnTo>
                  <a:lnTo>
                    <a:pt x="671" y="682"/>
                  </a:lnTo>
                  <a:lnTo>
                    <a:pt x="674" y="686"/>
                  </a:lnTo>
                  <a:lnTo>
                    <a:pt x="676" y="688"/>
                  </a:lnTo>
                  <a:lnTo>
                    <a:pt x="680" y="695"/>
                  </a:lnTo>
                  <a:lnTo>
                    <a:pt x="682" y="697"/>
                  </a:lnTo>
                  <a:lnTo>
                    <a:pt x="684" y="701"/>
                  </a:lnTo>
                  <a:lnTo>
                    <a:pt x="688" y="703"/>
                  </a:lnTo>
                  <a:lnTo>
                    <a:pt x="695" y="703"/>
                  </a:lnTo>
                  <a:lnTo>
                    <a:pt x="695" y="703"/>
                  </a:lnTo>
                  <a:lnTo>
                    <a:pt x="693" y="693"/>
                  </a:lnTo>
                  <a:lnTo>
                    <a:pt x="695" y="686"/>
                  </a:lnTo>
                  <a:lnTo>
                    <a:pt x="697" y="684"/>
                  </a:lnTo>
                  <a:lnTo>
                    <a:pt x="701" y="680"/>
                  </a:lnTo>
                  <a:lnTo>
                    <a:pt x="706" y="679"/>
                  </a:lnTo>
                  <a:lnTo>
                    <a:pt x="710" y="673"/>
                  </a:lnTo>
                  <a:lnTo>
                    <a:pt x="714" y="665"/>
                  </a:lnTo>
                  <a:lnTo>
                    <a:pt x="717" y="654"/>
                  </a:lnTo>
                  <a:lnTo>
                    <a:pt x="717" y="654"/>
                  </a:lnTo>
                  <a:lnTo>
                    <a:pt x="717" y="650"/>
                  </a:lnTo>
                  <a:lnTo>
                    <a:pt x="721" y="649"/>
                  </a:lnTo>
                  <a:lnTo>
                    <a:pt x="729" y="645"/>
                  </a:lnTo>
                  <a:lnTo>
                    <a:pt x="751" y="645"/>
                  </a:lnTo>
                  <a:lnTo>
                    <a:pt x="762" y="645"/>
                  </a:lnTo>
                  <a:lnTo>
                    <a:pt x="768" y="643"/>
                  </a:lnTo>
                  <a:lnTo>
                    <a:pt x="772" y="641"/>
                  </a:lnTo>
                  <a:lnTo>
                    <a:pt x="773" y="637"/>
                  </a:lnTo>
                  <a:lnTo>
                    <a:pt x="775" y="634"/>
                  </a:lnTo>
                  <a:lnTo>
                    <a:pt x="775" y="628"/>
                  </a:lnTo>
                  <a:lnTo>
                    <a:pt x="773" y="621"/>
                  </a:lnTo>
                  <a:lnTo>
                    <a:pt x="773" y="621"/>
                  </a:lnTo>
                  <a:lnTo>
                    <a:pt x="770" y="609"/>
                  </a:lnTo>
                  <a:lnTo>
                    <a:pt x="770" y="602"/>
                  </a:lnTo>
                  <a:lnTo>
                    <a:pt x="772" y="602"/>
                  </a:lnTo>
                  <a:lnTo>
                    <a:pt x="773" y="602"/>
                  </a:lnTo>
                  <a:lnTo>
                    <a:pt x="779" y="602"/>
                  </a:lnTo>
                  <a:lnTo>
                    <a:pt x="787" y="602"/>
                  </a:lnTo>
                  <a:lnTo>
                    <a:pt x="796" y="602"/>
                  </a:lnTo>
                  <a:lnTo>
                    <a:pt x="807" y="600"/>
                  </a:lnTo>
                  <a:lnTo>
                    <a:pt x="813" y="596"/>
                  </a:lnTo>
                  <a:lnTo>
                    <a:pt x="818" y="591"/>
                  </a:lnTo>
                  <a:lnTo>
                    <a:pt x="818" y="591"/>
                  </a:lnTo>
                  <a:lnTo>
                    <a:pt x="826" y="583"/>
                  </a:lnTo>
                  <a:lnTo>
                    <a:pt x="828" y="579"/>
                  </a:lnTo>
                  <a:lnTo>
                    <a:pt x="828" y="578"/>
                  </a:lnTo>
                  <a:lnTo>
                    <a:pt x="826" y="576"/>
                  </a:lnTo>
                  <a:lnTo>
                    <a:pt x="822" y="574"/>
                  </a:lnTo>
                  <a:lnTo>
                    <a:pt x="820" y="568"/>
                  </a:lnTo>
                  <a:lnTo>
                    <a:pt x="818" y="563"/>
                  </a:lnTo>
                  <a:lnTo>
                    <a:pt x="822" y="551"/>
                  </a:lnTo>
                  <a:lnTo>
                    <a:pt x="822" y="551"/>
                  </a:lnTo>
                  <a:lnTo>
                    <a:pt x="824" y="548"/>
                  </a:lnTo>
                  <a:lnTo>
                    <a:pt x="828" y="544"/>
                  </a:lnTo>
                  <a:lnTo>
                    <a:pt x="841" y="540"/>
                  </a:lnTo>
                  <a:lnTo>
                    <a:pt x="856" y="537"/>
                  </a:lnTo>
                  <a:lnTo>
                    <a:pt x="861" y="535"/>
                  </a:lnTo>
                  <a:lnTo>
                    <a:pt x="867" y="533"/>
                  </a:lnTo>
                  <a:lnTo>
                    <a:pt x="867" y="533"/>
                  </a:lnTo>
                  <a:lnTo>
                    <a:pt x="876" y="525"/>
                  </a:lnTo>
                  <a:lnTo>
                    <a:pt x="876" y="525"/>
                  </a:lnTo>
                  <a:lnTo>
                    <a:pt x="886" y="518"/>
                  </a:lnTo>
                  <a:lnTo>
                    <a:pt x="893" y="514"/>
                  </a:lnTo>
                  <a:lnTo>
                    <a:pt x="893" y="514"/>
                  </a:lnTo>
                  <a:lnTo>
                    <a:pt x="901" y="508"/>
                  </a:lnTo>
                  <a:lnTo>
                    <a:pt x="904" y="501"/>
                  </a:lnTo>
                  <a:lnTo>
                    <a:pt x="908" y="494"/>
                  </a:lnTo>
                  <a:lnTo>
                    <a:pt x="910" y="486"/>
                  </a:lnTo>
                  <a:lnTo>
                    <a:pt x="912" y="471"/>
                  </a:lnTo>
                  <a:lnTo>
                    <a:pt x="912" y="452"/>
                  </a:lnTo>
                  <a:lnTo>
                    <a:pt x="910" y="436"/>
                  </a:lnTo>
                  <a:lnTo>
                    <a:pt x="912" y="426"/>
                  </a:lnTo>
                  <a:lnTo>
                    <a:pt x="914" y="417"/>
                  </a:lnTo>
                  <a:lnTo>
                    <a:pt x="916" y="409"/>
                  </a:lnTo>
                  <a:lnTo>
                    <a:pt x="921" y="402"/>
                  </a:lnTo>
                  <a:lnTo>
                    <a:pt x="927" y="393"/>
                  </a:lnTo>
                  <a:lnTo>
                    <a:pt x="936" y="385"/>
                  </a:lnTo>
                  <a:lnTo>
                    <a:pt x="936" y="385"/>
                  </a:lnTo>
                  <a:lnTo>
                    <a:pt x="942" y="380"/>
                  </a:lnTo>
                  <a:lnTo>
                    <a:pt x="942" y="376"/>
                  </a:lnTo>
                  <a:lnTo>
                    <a:pt x="942" y="374"/>
                  </a:lnTo>
                  <a:lnTo>
                    <a:pt x="944" y="372"/>
                  </a:lnTo>
                  <a:lnTo>
                    <a:pt x="951" y="363"/>
                  </a:lnTo>
                  <a:lnTo>
                    <a:pt x="951" y="363"/>
                  </a:lnTo>
                  <a:lnTo>
                    <a:pt x="970" y="348"/>
                  </a:lnTo>
                  <a:lnTo>
                    <a:pt x="973" y="342"/>
                  </a:lnTo>
                  <a:lnTo>
                    <a:pt x="977" y="337"/>
                  </a:lnTo>
                  <a:lnTo>
                    <a:pt x="979" y="331"/>
                  </a:lnTo>
                  <a:lnTo>
                    <a:pt x="979" y="327"/>
                  </a:lnTo>
                  <a:lnTo>
                    <a:pt x="977" y="320"/>
                  </a:lnTo>
                  <a:lnTo>
                    <a:pt x="973" y="314"/>
                  </a:lnTo>
                  <a:lnTo>
                    <a:pt x="972" y="310"/>
                  </a:lnTo>
                  <a:lnTo>
                    <a:pt x="970" y="309"/>
                  </a:lnTo>
                  <a:lnTo>
                    <a:pt x="972" y="305"/>
                  </a:lnTo>
                  <a:lnTo>
                    <a:pt x="979" y="301"/>
                  </a:lnTo>
                  <a:lnTo>
                    <a:pt x="979" y="301"/>
                  </a:lnTo>
                  <a:lnTo>
                    <a:pt x="985" y="297"/>
                  </a:lnTo>
                  <a:lnTo>
                    <a:pt x="988" y="294"/>
                  </a:lnTo>
                  <a:lnTo>
                    <a:pt x="992" y="288"/>
                  </a:lnTo>
                  <a:lnTo>
                    <a:pt x="994" y="284"/>
                  </a:lnTo>
                  <a:lnTo>
                    <a:pt x="994" y="275"/>
                  </a:lnTo>
                  <a:lnTo>
                    <a:pt x="990" y="266"/>
                  </a:lnTo>
                  <a:lnTo>
                    <a:pt x="983" y="247"/>
                  </a:lnTo>
                  <a:lnTo>
                    <a:pt x="981" y="236"/>
                  </a:lnTo>
                  <a:lnTo>
                    <a:pt x="983" y="232"/>
                  </a:lnTo>
                  <a:lnTo>
                    <a:pt x="983" y="226"/>
                  </a:lnTo>
                  <a:lnTo>
                    <a:pt x="983" y="226"/>
                  </a:lnTo>
                  <a:lnTo>
                    <a:pt x="959" y="221"/>
                  </a:lnTo>
                  <a:lnTo>
                    <a:pt x="953" y="223"/>
                  </a:lnTo>
                  <a:lnTo>
                    <a:pt x="949" y="223"/>
                  </a:lnTo>
                  <a:lnTo>
                    <a:pt x="947" y="230"/>
                  </a:lnTo>
                  <a:lnTo>
                    <a:pt x="944" y="234"/>
                  </a:lnTo>
                  <a:lnTo>
                    <a:pt x="936" y="238"/>
                  </a:lnTo>
                  <a:lnTo>
                    <a:pt x="936" y="238"/>
                  </a:lnTo>
                  <a:lnTo>
                    <a:pt x="927" y="241"/>
                  </a:lnTo>
                  <a:lnTo>
                    <a:pt x="923" y="241"/>
                  </a:lnTo>
                  <a:lnTo>
                    <a:pt x="921" y="239"/>
                  </a:lnTo>
                  <a:lnTo>
                    <a:pt x="917" y="234"/>
                  </a:lnTo>
                  <a:lnTo>
                    <a:pt x="917" y="224"/>
                  </a:lnTo>
                  <a:lnTo>
                    <a:pt x="917" y="206"/>
                  </a:lnTo>
                  <a:lnTo>
                    <a:pt x="917" y="196"/>
                  </a:lnTo>
                  <a:lnTo>
                    <a:pt x="917" y="191"/>
                  </a:lnTo>
                  <a:lnTo>
                    <a:pt x="917" y="191"/>
                  </a:lnTo>
                  <a:lnTo>
                    <a:pt x="914" y="181"/>
                  </a:lnTo>
                  <a:lnTo>
                    <a:pt x="912" y="176"/>
                  </a:lnTo>
                  <a:lnTo>
                    <a:pt x="908" y="172"/>
                  </a:lnTo>
                  <a:lnTo>
                    <a:pt x="902" y="170"/>
                  </a:lnTo>
                  <a:lnTo>
                    <a:pt x="899" y="170"/>
                  </a:lnTo>
                  <a:lnTo>
                    <a:pt x="895" y="170"/>
                  </a:lnTo>
                  <a:lnTo>
                    <a:pt x="886" y="176"/>
                  </a:lnTo>
                  <a:lnTo>
                    <a:pt x="869" y="189"/>
                  </a:lnTo>
                  <a:lnTo>
                    <a:pt x="861" y="195"/>
                  </a:lnTo>
                  <a:lnTo>
                    <a:pt x="858" y="196"/>
                  </a:lnTo>
                  <a:lnTo>
                    <a:pt x="858" y="196"/>
                  </a:lnTo>
                  <a:lnTo>
                    <a:pt x="852" y="195"/>
                  </a:lnTo>
                  <a:lnTo>
                    <a:pt x="850" y="191"/>
                  </a:lnTo>
                  <a:lnTo>
                    <a:pt x="850" y="187"/>
                  </a:lnTo>
                  <a:lnTo>
                    <a:pt x="850" y="181"/>
                  </a:lnTo>
                  <a:lnTo>
                    <a:pt x="856" y="170"/>
                  </a:lnTo>
                  <a:lnTo>
                    <a:pt x="865" y="157"/>
                  </a:lnTo>
                  <a:lnTo>
                    <a:pt x="884" y="133"/>
                  </a:lnTo>
                  <a:lnTo>
                    <a:pt x="891" y="122"/>
                  </a:lnTo>
                  <a:lnTo>
                    <a:pt x="895" y="114"/>
                  </a:lnTo>
                  <a:lnTo>
                    <a:pt x="895" y="114"/>
                  </a:lnTo>
                  <a:lnTo>
                    <a:pt x="895" y="105"/>
                  </a:lnTo>
                  <a:lnTo>
                    <a:pt x="899" y="94"/>
                  </a:lnTo>
                  <a:lnTo>
                    <a:pt x="904" y="73"/>
                  </a:lnTo>
                  <a:lnTo>
                    <a:pt x="908" y="66"/>
                  </a:lnTo>
                  <a:lnTo>
                    <a:pt x="908" y="60"/>
                  </a:lnTo>
                  <a:lnTo>
                    <a:pt x="908" y="58"/>
                  </a:lnTo>
                  <a:lnTo>
                    <a:pt x="906" y="56"/>
                  </a:lnTo>
                  <a:lnTo>
                    <a:pt x="901" y="58"/>
                  </a:lnTo>
                  <a:lnTo>
                    <a:pt x="901" y="58"/>
                  </a:lnTo>
                  <a:lnTo>
                    <a:pt x="889" y="62"/>
                  </a:lnTo>
                  <a:lnTo>
                    <a:pt x="886" y="62"/>
                  </a:lnTo>
                  <a:lnTo>
                    <a:pt x="884" y="60"/>
                  </a:lnTo>
                  <a:lnTo>
                    <a:pt x="882" y="53"/>
                  </a:lnTo>
                  <a:lnTo>
                    <a:pt x="882" y="45"/>
                  </a:lnTo>
                  <a:lnTo>
                    <a:pt x="887" y="25"/>
                  </a:lnTo>
                  <a:lnTo>
                    <a:pt x="887" y="15"/>
                  </a:lnTo>
                  <a:lnTo>
                    <a:pt x="886" y="10"/>
                  </a:lnTo>
                  <a:lnTo>
                    <a:pt x="886" y="10"/>
                  </a:lnTo>
                  <a:lnTo>
                    <a:pt x="880" y="2"/>
                  </a:lnTo>
                  <a:lnTo>
                    <a:pt x="873" y="0"/>
                  </a:lnTo>
                  <a:lnTo>
                    <a:pt x="863" y="0"/>
                  </a:lnTo>
                  <a:lnTo>
                    <a:pt x="854" y="0"/>
                  </a:lnTo>
                  <a:lnTo>
                    <a:pt x="835" y="4"/>
                  </a:lnTo>
                  <a:lnTo>
                    <a:pt x="826" y="6"/>
                  </a:lnTo>
                  <a:lnTo>
                    <a:pt x="818" y="4"/>
                  </a:lnTo>
                  <a:lnTo>
                    <a:pt x="818" y="4"/>
                  </a:lnTo>
                  <a:lnTo>
                    <a:pt x="813" y="4"/>
                  </a:lnTo>
                  <a:lnTo>
                    <a:pt x="807" y="4"/>
                  </a:lnTo>
                  <a:lnTo>
                    <a:pt x="802" y="6"/>
                  </a:lnTo>
                  <a:lnTo>
                    <a:pt x="796" y="11"/>
                  </a:lnTo>
                  <a:lnTo>
                    <a:pt x="787" y="21"/>
                  </a:lnTo>
                  <a:lnTo>
                    <a:pt x="775" y="34"/>
                  </a:lnTo>
                  <a:lnTo>
                    <a:pt x="766" y="45"/>
                  </a:lnTo>
                  <a:lnTo>
                    <a:pt x="762" y="49"/>
                  </a:lnTo>
                  <a:lnTo>
                    <a:pt x="757" y="51"/>
                  </a:lnTo>
                  <a:lnTo>
                    <a:pt x="753" y="51"/>
                  </a:lnTo>
                  <a:lnTo>
                    <a:pt x="747" y="49"/>
                  </a:lnTo>
                  <a:lnTo>
                    <a:pt x="744" y="45"/>
                  </a:lnTo>
                  <a:lnTo>
                    <a:pt x="738" y="38"/>
                  </a:lnTo>
                  <a:lnTo>
                    <a:pt x="738" y="38"/>
                  </a:lnTo>
                  <a:lnTo>
                    <a:pt x="732" y="30"/>
                  </a:lnTo>
                  <a:lnTo>
                    <a:pt x="727" y="26"/>
                  </a:lnTo>
                  <a:lnTo>
                    <a:pt x="723" y="25"/>
                  </a:lnTo>
                  <a:lnTo>
                    <a:pt x="717" y="25"/>
                  </a:lnTo>
                  <a:lnTo>
                    <a:pt x="712" y="28"/>
                  </a:lnTo>
                  <a:lnTo>
                    <a:pt x="708" y="34"/>
                  </a:lnTo>
                  <a:lnTo>
                    <a:pt x="704" y="41"/>
                  </a:lnTo>
                  <a:lnTo>
                    <a:pt x="702" y="49"/>
                  </a:lnTo>
                  <a:lnTo>
                    <a:pt x="702" y="49"/>
                  </a:lnTo>
                  <a:lnTo>
                    <a:pt x="699" y="62"/>
                  </a:lnTo>
                  <a:lnTo>
                    <a:pt x="697" y="68"/>
                  </a:lnTo>
                  <a:lnTo>
                    <a:pt x="693" y="69"/>
                  </a:lnTo>
                  <a:lnTo>
                    <a:pt x="691" y="68"/>
                  </a:lnTo>
                  <a:lnTo>
                    <a:pt x="688" y="60"/>
                  </a:lnTo>
                  <a:lnTo>
                    <a:pt x="686" y="54"/>
                  </a:lnTo>
                  <a:lnTo>
                    <a:pt x="686" y="54"/>
                  </a:lnTo>
                  <a:lnTo>
                    <a:pt x="676" y="49"/>
                  </a:lnTo>
                  <a:lnTo>
                    <a:pt x="669" y="47"/>
                  </a:lnTo>
                  <a:lnTo>
                    <a:pt x="663" y="47"/>
                  </a:lnTo>
                  <a:lnTo>
                    <a:pt x="656" y="49"/>
                  </a:lnTo>
                  <a:lnTo>
                    <a:pt x="656" y="49"/>
                  </a:lnTo>
                  <a:lnTo>
                    <a:pt x="646" y="58"/>
                  </a:lnTo>
                  <a:lnTo>
                    <a:pt x="639" y="68"/>
                  </a:lnTo>
                  <a:lnTo>
                    <a:pt x="631" y="77"/>
                  </a:lnTo>
                  <a:lnTo>
                    <a:pt x="628" y="79"/>
                  </a:lnTo>
                  <a:lnTo>
                    <a:pt x="624" y="79"/>
                  </a:lnTo>
                  <a:lnTo>
                    <a:pt x="624" y="79"/>
                  </a:lnTo>
                  <a:lnTo>
                    <a:pt x="611" y="79"/>
                  </a:lnTo>
                  <a:lnTo>
                    <a:pt x="592" y="81"/>
                  </a:lnTo>
                  <a:lnTo>
                    <a:pt x="585" y="82"/>
                  </a:lnTo>
                  <a:lnTo>
                    <a:pt x="581" y="84"/>
                  </a:lnTo>
                  <a:lnTo>
                    <a:pt x="581" y="86"/>
                  </a:lnTo>
                  <a:lnTo>
                    <a:pt x="583" y="86"/>
                  </a:lnTo>
                  <a:lnTo>
                    <a:pt x="590" y="90"/>
                  </a:lnTo>
                  <a:lnTo>
                    <a:pt x="590" y="90"/>
                  </a:lnTo>
                  <a:lnTo>
                    <a:pt x="596" y="94"/>
                  </a:lnTo>
                  <a:lnTo>
                    <a:pt x="598" y="97"/>
                  </a:lnTo>
                  <a:lnTo>
                    <a:pt x="596" y="103"/>
                  </a:lnTo>
                  <a:lnTo>
                    <a:pt x="592" y="107"/>
                  </a:lnTo>
                  <a:lnTo>
                    <a:pt x="587" y="109"/>
                  </a:lnTo>
                  <a:lnTo>
                    <a:pt x="579" y="110"/>
                  </a:lnTo>
                  <a:lnTo>
                    <a:pt x="570" y="107"/>
                  </a:lnTo>
                  <a:lnTo>
                    <a:pt x="562" y="101"/>
                  </a:lnTo>
                  <a:lnTo>
                    <a:pt x="562" y="101"/>
                  </a:lnTo>
                  <a:lnTo>
                    <a:pt x="559" y="99"/>
                  </a:lnTo>
                  <a:lnTo>
                    <a:pt x="555" y="99"/>
                  </a:lnTo>
                  <a:lnTo>
                    <a:pt x="551" y="103"/>
                  </a:lnTo>
                  <a:lnTo>
                    <a:pt x="547" y="107"/>
                  </a:lnTo>
                  <a:lnTo>
                    <a:pt x="544" y="116"/>
                  </a:lnTo>
                  <a:lnTo>
                    <a:pt x="540" y="127"/>
                  </a:lnTo>
                  <a:lnTo>
                    <a:pt x="540" y="127"/>
                  </a:lnTo>
                  <a:lnTo>
                    <a:pt x="540" y="133"/>
                  </a:lnTo>
                  <a:lnTo>
                    <a:pt x="538" y="135"/>
                  </a:lnTo>
                  <a:lnTo>
                    <a:pt x="536" y="135"/>
                  </a:lnTo>
                  <a:lnTo>
                    <a:pt x="532" y="133"/>
                  </a:lnTo>
                  <a:lnTo>
                    <a:pt x="527" y="127"/>
                  </a:lnTo>
                  <a:lnTo>
                    <a:pt x="516" y="116"/>
                  </a:lnTo>
                  <a:lnTo>
                    <a:pt x="508" y="112"/>
                  </a:lnTo>
                  <a:lnTo>
                    <a:pt x="504" y="112"/>
                  </a:lnTo>
                  <a:lnTo>
                    <a:pt x="503" y="112"/>
                  </a:lnTo>
                  <a:lnTo>
                    <a:pt x="503" y="11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5" name="Line 75">
              <a:extLst>
                <a:ext uri="{FF2B5EF4-FFF2-40B4-BE49-F238E27FC236}">
                  <a16:creationId xmlns:a16="http://schemas.microsoft.com/office/drawing/2014/main" id="{D632CD61-CCAB-413A-9D17-0DFA883E3DED}"/>
                </a:ext>
              </a:extLst>
            </p:cNvPr>
            <p:cNvSpPr>
              <a:spLocks noChangeShapeType="1"/>
            </p:cNvSpPr>
            <p:nvPr/>
          </p:nvSpPr>
          <p:spPr bwMode="auto">
            <a:xfrm>
              <a:off x="5424014" y="5743693"/>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6" name="Freeform 76">
              <a:extLst>
                <a:ext uri="{FF2B5EF4-FFF2-40B4-BE49-F238E27FC236}">
                  <a16:creationId xmlns:a16="http://schemas.microsoft.com/office/drawing/2014/main" id="{C0A10530-3AF2-4384-AE58-0AD9A40B6028}"/>
                </a:ext>
              </a:extLst>
            </p:cNvPr>
            <p:cNvSpPr>
              <a:spLocks/>
            </p:cNvSpPr>
            <p:nvPr/>
          </p:nvSpPr>
          <p:spPr bwMode="auto">
            <a:xfrm>
              <a:off x="4619232" y="5273178"/>
              <a:ext cx="902881" cy="643098"/>
            </a:xfrm>
            <a:custGeom>
              <a:avLst/>
              <a:gdLst/>
              <a:ahLst/>
              <a:cxnLst>
                <a:cxn ang="0">
                  <a:pos x="446" y="168"/>
                </a:cxn>
                <a:cxn ang="0">
                  <a:pos x="400" y="152"/>
                </a:cxn>
                <a:cxn ang="0">
                  <a:pos x="362" y="101"/>
                </a:cxn>
                <a:cxn ang="0">
                  <a:pos x="331" y="133"/>
                </a:cxn>
                <a:cxn ang="0">
                  <a:pos x="276" y="167"/>
                </a:cxn>
                <a:cxn ang="0">
                  <a:pos x="213" y="223"/>
                </a:cxn>
                <a:cxn ang="0">
                  <a:pos x="140" y="202"/>
                </a:cxn>
                <a:cxn ang="0">
                  <a:pos x="33" y="217"/>
                </a:cxn>
                <a:cxn ang="0">
                  <a:pos x="0" y="224"/>
                </a:cxn>
                <a:cxn ang="0">
                  <a:pos x="56" y="254"/>
                </a:cxn>
                <a:cxn ang="0">
                  <a:pos x="86" y="299"/>
                </a:cxn>
                <a:cxn ang="0">
                  <a:pos x="131" y="309"/>
                </a:cxn>
                <a:cxn ang="0">
                  <a:pos x="187" y="301"/>
                </a:cxn>
                <a:cxn ang="0">
                  <a:pos x="196" y="389"/>
                </a:cxn>
                <a:cxn ang="0">
                  <a:pos x="161" y="393"/>
                </a:cxn>
                <a:cxn ang="0">
                  <a:pos x="168" y="477"/>
                </a:cxn>
                <a:cxn ang="0">
                  <a:pos x="218" y="482"/>
                </a:cxn>
                <a:cxn ang="0">
                  <a:pos x="280" y="492"/>
                </a:cxn>
                <a:cxn ang="0">
                  <a:pos x="258" y="544"/>
                </a:cxn>
                <a:cxn ang="0">
                  <a:pos x="280" y="617"/>
                </a:cxn>
                <a:cxn ang="0">
                  <a:pos x="327" y="654"/>
                </a:cxn>
                <a:cxn ang="0">
                  <a:pos x="424" y="673"/>
                </a:cxn>
                <a:cxn ang="0">
                  <a:pos x="495" y="677"/>
                </a:cxn>
                <a:cxn ang="0">
                  <a:pos x="521" y="673"/>
                </a:cxn>
                <a:cxn ang="0">
                  <a:pos x="529" y="641"/>
                </a:cxn>
                <a:cxn ang="0">
                  <a:pos x="551" y="677"/>
                </a:cxn>
                <a:cxn ang="0">
                  <a:pos x="570" y="671"/>
                </a:cxn>
                <a:cxn ang="0">
                  <a:pos x="602" y="699"/>
                </a:cxn>
                <a:cxn ang="0">
                  <a:pos x="648" y="703"/>
                </a:cxn>
                <a:cxn ang="0">
                  <a:pos x="659" y="667"/>
                </a:cxn>
                <a:cxn ang="0">
                  <a:pos x="671" y="682"/>
                </a:cxn>
                <a:cxn ang="0">
                  <a:pos x="695" y="703"/>
                </a:cxn>
                <a:cxn ang="0">
                  <a:pos x="717" y="654"/>
                </a:cxn>
                <a:cxn ang="0">
                  <a:pos x="775" y="634"/>
                </a:cxn>
                <a:cxn ang="0">
                  <a:pos x="787" y="602"/>
                </a:cxn>
                <a:cxn ang="0">
                  <a:pos x="826" y="576"/>
                </a:cxn>
                <a:cxn ang="0">
                  <a:pos x="856" y="537"/>
                </a:cxn>
                <a:cxn ang="0">
                  <a:pos x="901" y="508"/>
                </a:cxn>
                <a:cxn ang="0">
                  <a:pos x="916" y="409"/>
                </a:cxn>
                <a:cxn ang="0">
                  <a:pos x="951" y="363"/>
                </a:cxn>
                <a:cxn ang="0">
                  <a:pos x="972" y="310"/>
                </a:cxn>
                <a:cxn ang="0">
                  <a:pos x="994" y="275"/>
                </a:cxn>
                <a:cxn ang="0">
                  <a:pos x="949" y="223"/>
                </a:cxn>
                <a:cxn ang="0">
                  <a:pos x="917" y="224"/>
                </a:cxn>
                <a:cxn ang="0">
                  <a:pos x="899" y="170"/>
                </a:cxn>
                <a:cxn ang="0">
                  <a:pos x="850" y="187"/>
                </a:cxn>
                <a:cxn ang="0">
                  <a:pos x="899" y="94"/>
                </a:cxn>
                <a:cxn ang="0">
                  <a:pos x="886" y="62"/>
                </a:cxn>
                <a:cxn ang="0">
                  <a:pos x="873" y="0"/>
                </a:cxn>
                <a:cxn ang="0">
                  <a:pos x="802" y="6"/>
                </a:cxn>
                <a:cxn ang="0">
                  <a:pos x="744" y="45"/>
                </a:cxn>
                <a:cxn ang="0">
                  <a:pos x="704" y="41"/>
                </a:cxn>
                <a:cxn ang="0">
                  <a:pos x="686" y="54"/>
                </a:cxn>
                <a:cxn ang="0">
                  <a:pos x="628" y="79"/>
                </a:cxn>
                <a:cxn ang="0">
                  <a:pos x="590" y="90"/>
                </a:cxn>
                <a:cxn ang="0">
                  <a:pos x="562" y="101"/>
                </a:cxn>
                <a:cxn ang="0">
                  <a:pos x="540" y="133"/>
                </a:cxn>
                <a:cxn ang="0">
                  <a:pos x="503" y="112"/>
                </a:cxn>
              </a:cxnLst>
              <a:rect l="0" t="0" r="r" b="b"/>
              <a:pathLst>
                <a:path w="994" h="708">
                  <a:moveTo>
                    <a:pt x="503" y="112"/>
                  </a:moveTo>
                  <a:lnTo>
                    <a:pt x="503" y="112"/>
                  </a:lnTo>
                  <a:lnTo>
                    <a:pt x="497" y="118"/>
                  </a:lnTo>
                  <a:lnTo>
                    <a:pt x="489" y="127"/>
                  </a:lnTo>
                  <a:lnTo>
                    <a:pt x="473" y="150"/>
                  </a:lnTo>
                  <a:lnTo>
                    <a:pt x="463" y="161"/>
                  </a:lnTo>
                  <a:lnTo>
                    <a:pt x="458" y="165"/>
                  </a:lnTo>
                  <a:lnTo>
                    <a:pt x="452" y="167"/>
                  </a:lnTo>
                  <a:lnTo>
                    <a:pt x="446" y="168"/>
                  </a:lnTo>
                  <a:lnTo>
                    <a:pt x="441" y="167"/>
                  </a:lnTo>
                  <a:lnTo>
                    <a:pt x="433" y="165"/>
                  </a:lnTo>
                  <a:lnTo>
                    <a:pt x="428" y="161"/>
                  </a:lnTo>
                  <a:lnTo>
                    <a:pt x="428" y="161"/>
                  </a:lnTo>
                  <a:lnTo>
                    <a:pt x="417" y="148"/>
                  </a:lnTo>
                  <a:lnTo>
                    <a:pt x="415" y="144"/>
                  </a:lnTo>
                  <a:lnTo>
                    <a:pt x="411" y="146"/>
                  </a:lnTo>
                  <a:lnTo>
                    <a:pt x="400" y="152"/>
                  </a:lnTo>
                  <a:lnTo>
                    <a:pt x="400" y="152"/>
                  </a:lnTo>
                  <a:lnTo>
                    <a:pt x="396" y="152"/>
                  </a:lnTo>
                  <a:lnTo>
                    <a:pt x="392" y="148"/>
                  </a:lnTo>
                  <a:lnTo>
                    <a:pt x="383" y="139"/>
                  </a:lnTo>
                  <a:lnTo>
                    <a:pt x="375" y="125"/>
                  </a:lnTo>
                  <a:lnTo>
                    <a:pt x="372" y="116"/>
                  </a:lnTo>
                  <a:lnTo>
                    <a:pt x="372" y="116"/>
                  </a:lnTo>
                  <a:lnTo>
                    <a:pt x="372" y="110"/>
                  </a:lnTo>
                  <a:lnTo>
                    <a:pt x="368" y="107"/>
                  </a:lnTo>
                  <a:lnTo>
                    <a:pt x="362" y="101"/>
                  </a:lnTo>
                  <a:lnTo>
                    <a:pt x="353" y="99"/>
                  </a:lnTo>
                  <a:lnTo>
                    <a:pt x="346" y="101"/>
                  </a:lnTo>
                  <a:lnTo>
                    <a:pt x="338" y="103"/>
                  </a:lnTo>
                  <a:lnTo>
                    <a:pt x="331" y="110"/>
                  </a:lnTo>
                  <a:lnTo>
                    <a:pt x="329" y="118"/>
                  </a:lnTo>
                  <a:lnTo>
                    <a:pt x="329" y="124"/>
                  </a:lnTo>
                  <a:lnTo>
                    <a:pt x="331" y="127"/>
                  </a:lnTo>
                  <a:lnTo>
                    <a:pt x="331" y="127"/>
                  </a:lnTo>
                  <a:lnTo>
                    <a:pt x="331" y="133"/>
                  </a:lnTo>
                  <a:lnTo>
                    <a:pt x="332" y="139"/>
                  </a:lnTo>
                  <a:lnTo>
                    <a:pt x="331" y="142"/>
                  </a:lnTo>
                  <a:lnTo>
                    <a:pt x="329" y="146"/>
                  </a:lnTo>
                  <a:lnTo>
                    <a:pt x="321" y="152"/>
                  </a:lnTo>
                  <a:lnTo>
                    <a:pt x="312" y="155"/>
                  </a:lnTo>
                  <a:lnTo>
                    <a:pt x="291" y="161"/>
                  </a:lnTo>
                  <a:lnTo>
                    <a:pt x="282" y="163"/>
                  </a:lnTo>
                  <a:lnTo>
                    <a:pt x="276" y="167"/>
                  </a:lnTo>
                  <a:lnTo>
                    <a:pt x="276" y="167"/>
                  </a:lnTo>
                  <a:lnTo>
                    <a:pt x="267" y="172"/>
                  </a:lnTo>
                  <a:lnTo>
                    <a:pt x="258" y="176"/>
                  </a:lnTo>
                  <a:lnTo>
                    <a:pt x="241" y="181"/>
                  </a:lnTo>
                  <a:lnTo>
                    <a:pt x="230" y="183"/>
                  </a:lnTo>
                  <a:lnTo>
                    <a:pt x="226" y="187"/>
                  </a:lnTo>
                  <a:lnTo>
                    <a:pt x="224" y="191"/>
                  </a:lnTo>
                  <a:lnTo>
                    <a:pt x="224" y="191"/>
                  </a:lnTo>
                  <a:lnTo>
                    <a:pt x="218" y="210"/>
                  </a:lnTo>
                  <a:lnTo>
                    <a:pt x="213" y="223"/>
                  </a:lnTo>
                  <a:lnTo>
                    <a:pt x="207" y="228"/>
                  </a:lnTo>
                  <a:lnTo>
                    <a:pt x="202" y="228"/>
                  </a:lnTo>
                  <a:lnTo>
                    <a:pt x="194" y="226"/>
                  </a:lnTo>
                  <a:lnTo>
                    <a:pt x="189" y="224"/>
                  </a:lnTo>
                  <a:lnTo>
                    <a:pt x="185" y="221"/>
                  </a:lnTo>
                  <a:lnTo>
                    <a:pt x="185" y="221"/>
                  </a:lnTo>
                  <a:lnTo>
                    <a:pt x="172" y="217"/>
                  </a:lnTo>
                  <a:lnTo>
                    <a:pt x="161" y="213"/>
                  </a:lnTo>
                  <a:lnTo>
                    <a:pt x="140" y="202"/>
                  </a:lnTo>
                  <a:lnTo>
                    <a:pt x="118" y="189"/>
                  </a:lnTo>
                  <a:lnTo>
                    <a:pt x="108" y="183"/>
                  </a:lnTo>
                  <a:lnTo>
                    <a:pt x="95" y="178"/>
                  </a:lnTo>
                  <a:lnTo>
                    <a:pt x="95" y="178"/>
                  </a:lnTo>
                  <a:lnTo>
                    <a:pt x="91" y="178"/>
                  </a:lnTo>
                  <a:lnTo>
                    <a:pt x="86" y="180"/>
                  </a:lnTo>
                  <a:lnTo>
                    <a:pt x="75" y="187"/>
                  </a:lnTo>
                  <a:lnTo>
                    <a:pt x="47" y="210"/>
                  </a:lnTo>
                  <a:lnTo>
                    <a:pt x="33" y="217"/>
                  </a:lnTo>
                  <a:lnTo>
                    <a:pt x="28" y="221"/>
                  </a:lnTo>
                  <a:lnTo>
                    <a:pt x="22" y="221"/>
                  </a:lnTo>
                  <a:lnTo>
                    <a:pt x="17" y="219"/>
                  </a:lnTo>
                  <a:lnTo>
                    <a:pt x="11" y="215"/>
                  </a:lnTo>
                  <a:lnTo>
                    <a:pt x="7" y="208"/>
                  </a:lnTo>
                  <a:lnTo>
                    <a:pt x="4" y="198"/>
                  </a:lnTo>
                  <a:lnTo>
                    <a:pt x="4" y="198"/>
                  </a:lnTo>
                  <a:lnTo>
                    <a:pt x="0" y="211"/>
                  </a:lnTo>
                  <a:lnTo>
                    <a:pt x="0" y="224"/>
                  </a:lnTo>
                  <a:lnTo>
                    <a:pt x="4" y="239"/>
                  </a:lnTo>
                  <a:lnTo>
                    <a:pt x="7" y="256"/>
                  </a:lnTo>
                  <a:lnTo>
                    <a:pt x="7" y="256"/>
                  </a:lnTo>
                  <a:lnTo>
                    <a:pt x="9" y="258"/>
                  </a:lnTo>
                  <a:lnTo>
                    <a:pt x="11" y="260"/>
                  </a:lnTo>
                  <a:lnTo>
                    <a:pt x="17" y="260"/>
                  </a:lnTo>
                  <a:lnTo>
                    <a:pt x="33" y="256"/>
                  </a:lnTo>
                  <a:lnTo>
                    <a:pt x="43" y="254"/>
                  </a:lnTo>
                  <a:lnTo>
                    <a:pt x="56" y="254"/>
                  </a:lnTo>
                  <a:lnTo>
                    <a:pt x="67" y="256"/>
                  </a:lnTo>
                  <a:lnTo>
                    <a:pt x="73" y="260"/>
                  </a:lnTo>
                  <a:lnTo>
                    <a:pt x="78" y="264"/>
                  </a:lnTo>
                  <a:lnTo>
                    <a:pt x="78" y="264"/>
                  </a:lnTo>
                  <a:lnTo>
                    <a:pt x="82" y="267"/>
                  </a:lnTo>
                  <a:lnTo>
                    <a:pt x="84" y="273"/>
                  </a:lnTo>
                  <a:lnTo>
                    <a:pt x="84" y="288"/>
                  </a:lnTo>
                  <a:lnTo>
                    <a:pt x="84" y="294"/>
                  </a:lnTo>
                  <a:lnTo>
                    <a:pt x="86" y="299"/>
                  </a:lnTo>
                  <a:lnTo>
                    <a:pt x="91" y="305"/>
                  </a:lnTo>
                  <a:lnTo>
                    <a:pt x="99" y="307"/>
                  </a:lnTo>
                  <a:lnTo>
                    <a:pt x="99" y="307"/>
                  </a:lnTo>
                  <a:lnTo>
                    <a:pt x="106" y="309"/>
                  </a:lnTo>
                  <a:lnTo>
                    <a:pt x="114" y="312"/>
                  </a:lnTo>
                  <a:lnTo>
                    <a:pt x="119" y="312"/>
                  </a:lnTo>
                  <a:lnTo>
                    <a:pt x="127" y="309"/>
                  </a:lnTo>
                  <a:lnTo>
                    <a:pt x="127" y="309"/>
                  </a:lnTo>
                  <a:lnTo>
                    <a:pt x="131" y="309"/>
                  </a:lnTo>
                  <a:lnTo>
                    <a:pt x="134" y="309"/>
                  </a:lnTo>
                  <a:lnTo>
                    <a:pt x="144" y="312"/>
                  </a:lnTo>
                  <a:lnTo>
                    <a:pt x="149" y="312"/>
                  </a:lnTo>
                  <a:lnTo>
                    <a:pt x="159" y="312"/>
                  </a:lnTo>
                  <a:lnTo>
                    <a:pt x="168" y="309"/>
                  </a:lnTo>
                  <a:lnTo>
                    <a:pt x="181" y="301"/>
                  </a:lnTo>
                  <a:lnTo>
                    <a:pt x="181" y="301"/>
                  </a:lnTo>
                  <a:lnTo>
                    <a:pt x="183" y="301"/>
                  </a:lnTo>
                  <a:lnTo>
                    <a:pt x="187" y="301"/>
                  </a:lnTo>
                  <a:lnTo>
                    <a:pt x="190" y="303"/>
                  </a:lnTo>
                  <a:lnTo>
                    <a:pt x="194" y="305"/>
                  </a:lnTo>
                  <a:lnTo>
                    <a:pt x="202" y="316"/>
                  </a:lnTo>
                  <a:lnTo>
                    <a:pt x="207" y="329"/>
                  </a:lnTo>
                  <a:lnTo>
                    <a:pt x="209" y="346"/>
                  </a:lnTo>
                  <a:lnTo>
                    <a:pt x="207" y="363"/>
                  </a:lnTo>
                  <a:lnTo>
                    <a:pt x="205" y="372"/>
                  </a:lnTo>
                  <a:lnTo>
                    <a:pt x="202" y="381"/>
                  </a:lnTo>
                  <a:lnTo>
                    <a:pt x="196" y="389"/>
                  </a:lnTo>
                  <a:lnTo>
                    <a:pt x="190" y="398"/>
                  </a:lnTo>
                  <a:lnTo>
                    <a:pt x="190" y="398"/>
                  </a:lnTo>
                  <a:lnTo>
                    <a:pt x="187" y="400"/>
                  </a:lnTo>
                  <a:lnTo>
                    <a:pt x="183" y="400"/>
                  </a:lnTo>
                  <a:lnTo>
                    <a:pt x="177" y="398"/>
                  </a:lnTo>
                  <a:lnTo>
                    <a:pt x="170" y="395"/>
                  </a:lnTo>
                  <a:lnTo>
                    <a:pt x="166" y="393"/>
                  </a:lnTo>
                  <a:lnTo>
                    <a:pt x="161" y="393"/>
                  </a:lnTo>
                  <a:lnTo>
                    <a:pt x="161" y="393"/>
                  </a:lnTo>
                  <a:lnTo>
                    <a:pt x="153" y="404"/>
                  </a:lnTo>
                  <a:lnTo>
                    <a:pt x="142" y="415"/>
                  </a:lnTo>
                  <a:lnTo>
                    <a:pt x="119" y="436"/>
                  </a:lnTo>
                  <a:lnTo>
                    <a:pt x="119" y="436"/>
                  </a:lnTo>
                  <a:lnTo>
                    <a:pt x="134" y="452"/>
                  </a:lnTo>
                  <a:lnTo>
                    <a:pt x="140" y="458"/>
                  </a:lnTo>
                  <a:lnTo>
                    <a:pt x="146" y="464"/>
                  </a:lnTo>
                  <a:lnTo>
                    <a:pt x="146" y="464"/>
                  </a:lnTo>
                  <a:lnTo>
                    <a:pt x="168" y="477"/>
                  </a:lnTo>
                  <a:lnTo>
                    <a:pt x="172" y="479"/>
                  </a:lnTo>
                  <a:lnTo>
                    <a:pt x="175" y="475"/>
                  </a:lnTo>
                  <a:lnTo>
                    <a:pt x="183" y="473"/>
                  </a:lnTo>
                  <a:lnTo>
                    <a:pt x="194" y="471"/>
                  </a:lnTo>
                  <a:lnTo>
                    <a:pt x="194" y="471"/>
                  </a:lnTo>
                  <a:lnTo>
                    <a:pt x="207" y="473"/>
                  </a:lnTo>
                  <a:lnTo>
                    <a:pt x="213" y="475"/>
                  </a:lnTo>
                  <a:lnTo>
                    <a:pt x="217" y="479"/>
                  </a:lnTo>
                  <a:lnTo>
                    <a:pt x="218" y="482"/>
                  </a:lnTo>
                  <a:lnTo>
                    <a:pt x="220" y="486"/>
                  </a:lnTo>
                  <a:lnTo>
                    <a:pt x="226" y="488"/>
                  </a:lnTo>
                  <a:lnTo>
                    <a:pt x="235" y="486"/>
                  </a:lnTo>
                  <a:lnTo>
                    <a:pt x="252" y="480"/>
                  </a:lnTo>
                  <a:lnTo>
                    <a:pt x="252" y="480"/>
                  </a:lnTo>
                  <a:lnTo>
                    <a:pt x="258" y="480"/>
                  </a:lnTo>
                  <a:lnTo>
                    <a:pt x="265" y="480"/>
                  </a:lnTo>
                  <a:lnTo>
                    <a:pt x="273" y="486"/>
                  </a:lnTo>
                  <a:lnTo>
                    <a:pt x="280" y="492"/>
                  </a:lnTo>
                  <a:lnTo>
                    <a:pt x="286" y="499"/>
                  </a:lnTo>
                  <a:lnTo>
                    <a:pt x="286" y="505"/>
                  </a:lnTo>
                  <a:lnTo>
                    <a:pt x="286" y="508"/>
                  </a:lnTo>
                  <a:lnTo>
                    <a:pt x="284" y="514"/>
                  </a:lnTo>
                  <a:lnTo>
                    <a:pt x="280" y="522"/>
                  </a:lnTo>
                  <a:lnTo>
                    <a:pt x="275" y="527"/>
                  </a:lnTo>
                  <a:lnTo>
                    <a:pt x="265" y="535"/>
                  </a:lnTo>
                  <a:lnTo>
                    <a:pt x="265" y="535"/>
                  </a:lnTo>
                  <a:lnTo>
                    <a:pt x="258" y="544"/>
                  </a:lnTo>
                  <a:lnTo>
                    <a:pt x="254" y="551"/>
                  </a:lnTo>
                  <a:lnTo>
                    <a:pt x="254" y="559"/>
                  </a:lnTo>
                  <a:lnTo>
                    <a:pt x="258" y="566"/>
                  </a:lnTo>
                  <a:lnTo>
                    <a:pt x="267" y="583"/>
                  </a:lnTo>
                  <a:lnTo>
                    <a:pt x="273" y="594"/>
                  </a:lnTo>
                  <a:lnTo>
                    <a:pt x="275" y="606"/>
                  </a:lnTo>
                  <a:lnTo>
                    <a:pt x="275" y="606"/>
                  </a:lnTo>
                  <a:lnTo>
                    <a:pt x="276" y="613"/>
                  </a:lnTo>
                  <a:lnTo>
                    <a:pt x="280" y="617"/>
                  </a:lnTo>
                  <a:lnTo>
                    <a:pt x="286" y="619"/>
                  </a:lnTo>
                  <a:lnTo>
                    <a:pt x="291" y="622"/>
                  </a:lnTo>
                  <a:lnTo>
                    <a:pt x="303" y="626"/>
                  </a:lnTo>
                  <a:lnTo>
                    <a:pt x="308" y="628"/>
                  </a:lnTo>
                  <a:lnTo>
                    <a:pt x="312" y="632"/>
                  </a:lnTo>
                  <a:lnTo>
                    <a:pt x="312" y="632"/>
                  </a:lnTo>
                  <a:lnTo>
                    <a:pt x="316" y="639"/>
                  </a:lnTo>
                  <a:lnTo>
                    <a:pt x="321" y="645"/>
                  </a:lnTo>
                  <a:lnTo>
                    <a:pt x="327" y="654"/>
                  </a:lnTo>
                  <a:lnTo>
                    <a:pt x="338" y="662"/>
                  </a:lnTo>
                  <a:lnTo>
                    <a:pt x="351" y="667"/>
                  </a:lnTo>
                  <a:lnTo>
                    <a:pt x="368" y="673"/>
                  </a:lnTo>
                  <a:lnTo>
                    <a:pt x="390" y="675"/>
                  </a:lnTo>
                  <a:lnTo>
                    <a:pt x="390" y="675"/>
                  </a:lnTo>
                  <a:lnTo>
                    <a:pt x="403" y="673"/>
                  </a:lnTo>
                  <a:lnTo>
                    <a:pt x="415" y="671"/>
                  </a:lnTo>
                  <a:lnTo>
                    <a:pt x="420" y="671"/>
                  </a:lnTo>
                  <a:lnTo>
                    <a:pt x="424" y="673"/>
                  </a:lnTo>
                  <a:lnTo>
                    <a:pt x="430" y="675"/>
                  </a:lnTo>
                  <a:lnTo>
                    <a:pt x="437" y="679"/>
                  </a:lnTo>
                  <a:lnTo>
                    <a:pt x="437" y="679"/>
                  </a:lnTo>
                  <a:lnTo>
                    <a:pt x="443" y="684"/>
                  </a:lnTo>
                  <a:lnTo>
                    <a:pt x="450" y="686"/>
                  </a:lnTo>
                  <a:lnTo>
                    <a:pt x="461" y="688"/>
                  </a:lnTo>
                  <a:lnTo>
                    <a:pt x="473" y="688"/>
                  </a:lnTo>
                  <a:lnTo>
                    <a:pt x="482" y="684"/>
                  </a:lnTo>
                  <a:lnTo>
                    <a:pt x="495" y="677"/>
                  </a:lnTo>
                  <a:lnTo>
                    <a:pt x="499" y="677"/>
                  </a:lnTo>
                  <a:lnTo>
                    <a:pt x="503" y="682"/>
                  </a:lnTo>
                  <a:lnTo>
                    <a:pt x="503" y="682"/>
                  </a:lnTo>
                  <a:lnTo>
                    <a:pt x="506" y="688"/>
                  </a:lnTo>
                  <a:lnTo>
                    <a:pt x="510" y="690"/>
                  </a:lnTo>
                  <a:lnTo>
                    <a:pt x="514" y="688"/>
                  </a:lnTo>
                  <a:lnTo>
                    <a:pt x="517" y="686"/>
                  </a:lnTo>
                  <a:lnTo>
                    <a:pt x="519" y="680"/>
                  </a:lnTo>
                  <a:lnTo>
                    <a:pt x="521" y="673"/>
                  </a:lnTo>
                  <a:lnTo>
                    <a:pt x="519" y="665"/>
                  </a:lnTo>
                  <a:lnTo>
                    <a:pt x="517" y="660"/>
                  </a:lnTo>
                  <a:lnTo>
                    <a:pt x="517" y="660"/>
                  </a:lnTo>
                  <a:lnTo>
                    <a:pt x="514" y="652"/>
                  </a:lnTo>
                  <a:lnTo>
                    <a:pt x="514" y="649"/>
                  </a:lnTo>
                  <a:lnTo>
                    <a:pt x="516" y="645"/>
                  </a:lnTo>
                  <a:lnTo>
                    <a:pt x="519" y="641"/>
                  </a:lnTo>
                  <a:lnTo>
                    <a:pt x="525" y="641"/>
                  </a:lnTo>
                  <a:lnTo>
                    <a:pt x="529" y="641"/>
                  </a:lnTo>
                  <a:lnTo>
                    <a:pt x="532" y="643"/>
                  </a:lnTo>
                  <a:lnTo>
                    <a:pt x="534" y="645"/>
                  </a:lnTo>
                  <a:lnTo>
                    <a:pt x="534" y="645"/>
                  </a:lnTo>
                  <a:lnTo>
                    <a:pt x="532" y="656"/>
                  </a:lnTo>
                  <a:lnTo>
                    <a:pt x="534" y="658"/>
                  </a:lnTo>
                  <a:lnTo>
                    <a:pt x="538" y="662"/>
                  </a:lnTo>
                  <a:lnTo>
                    <a:pt x="547" y="671"/>
                  </a:lnTo>
                  <a:lnTo>
                    <a:pt x="547" y="671"/>
                  </a:lnTo>
                  <a:lnTo>
                    <a:pt x="551" y="677"/>
                  </a:lnTo>
                  <a:lnTo>
                    <a:pt x="553" y="677"/>
                  </a:lnTo>
                  <a:lnTo>
                    <a:pt x="555" y="677"/>
                  </a:lnTo>
                  <a:lnTo>
                    <a:pt x="559" y="671"/>
                  </a:lnTo>
                  <a:lnTo>
                    <a:pt x="562" y="667"/>
                  </a:lnTo>
                  <a:lnTo>
                    <a:pt x="564" y="658"/>
                  </a:lnTo>
                  <a:lnTo>
                    <a:pt x="566" y="660"/>
                  </a:lnTo>
                  <a:lnTo>
                    <a:pt x="568" y="667"/>
                  </a:lnTo>
                  <a:lnTo>
                    <a:pt x="568" y="667"/>
                  </a:lnTo>
                  <a:lnTo>
                    <a:pt x="570" y="671"/>
                  </a:lnTo>
                  <a:lnTo>
                    <a:pt x="572" y="673"/>
                  </a:lnTo>
                  <a:lnTo>
                    <a:pt x="579" y="677"/>
                  </a:lnTo>
                  <a:lnTo>
                    <a:pt x="587" y="680"/>
                  </a:lnTo>
                  <a:lnTo>
                    <a:pt x="596" y="682"/>
                  </a:lnTo>
                  <a:lnTo>
                    <a:pt x="603" y="684"/>
                  </a:lnTo>
                  <a:lnTo>
                    <a:pt x="607" y="686"/>
                  </a:lnTo>
                  <a:lnTo>
                    <a:pt x="609" y="688"/>
                  </a:lnTo>
                  <a:lnTo>
                    <a:pt x="607" y="692"/>
                  </a:lnTo>
                  <a:lnTo>
                    <a:pt x="602" y="699"/>
                  </a:lnTo>
                  <a:lnTo>
                    <a:pt x="602" y="699"/>
                  </a:lnTo>
                  <a:lnTo>
                    <a:pt x="600" y="703"/>
                  </a:lnTo>
                  <a:lnTo>
                    <a:pt x="600" y="705"/>
                  </a:lnTo>
                  <a:lnTo>
                    <a:pt x="602" y="707"/>
                  </a:lnTo>
                  <a:lnTo>
                    <a:pt x="603" y="707"/>
                  </a:lnTo>
                  <a:lnTo>
                    <a:pt x="613" y="708"/>
                  </a:lnTo>
                  <a:lnTo>
                    <a:pt x="624" y="707"/>
                  </a:lnTo>
                  <a:lnTo>
                    <a:pt x="635" y="705"/>
                  </a:lnTo>
                  <a:lnTo>
                    <a:pt x="648" y="703"/>
                  </a:lnTo>
                  <a:lnTo>
                    <a:pt x="658" y="699"/>
                  </a:lnTo>
                  <a:lnTo>
                    <a:pt x="663" y="693"/>
                  </a:lnTo>
                  <a:lnTo>
                    <a:pt x="663" y="693"/>
                  </a:lnTo>
                  <a:lnTo>
                    <a:pt x="663" y="690"/>
                  </a:lnTo>
                  <a:lnTo>
                    <a:pt x="663" y="686"/>
                  </a:lnTo>
                  <a:lnTo>
                    <a:pt x="659" y="679"/>
                  </a:lnTo>
                  <a:lnTo>
                    <a:pt x="659" y="675"/>
                  </a:lnTo>
                  <a:lnTo>
                    <a:pt x="658" y="671"/>
                  </a:lnTo>
                  <a:lnTo>
                    <a:pt x="659" y="667"/>
                  </a:lnTo>
                  <a:lnTo>
                    <a:pt x="663" y="664"/>
                  </a:lnTo>
                  <a:lnTo>
                    <a:pt x="663" y="664"/>
                  </a:lnTo>
                  <a:lnTo>
                    <a:pt x="667" y="660"/>
                  </a:lnTo>
                  <a:lnTo>
                    <a:pt x="667" y="662"/>
                  </a:lnTo>
                  <a:lnTo>
                    <a:pt x="665" y="667"/>
                  </a:lnTo>
                  <a:lnTo>
                    <a:pt x="665" y="671"/>
                  </a:lnTo>
                  <a:lnTo>
                    <a:pt x="665" y="675"/>
                  </a:lnTo>
                  <a:lnTo>
                    <a:pt x="667" y="679"/>
                  </a:lnTo>
                  <a:lnTo>
                    <a:pt x="671" y="682"/>
                  </a:lnTo>
                  <a:lnTo>
                    <a:pt x="671" y="682"/>
                  </a:lnTo>
                  <a:lnTo>
                    <a:pt x="674" y="686"/>
                  </a:lnTo>
                  <a:lnTo>
                    <a:pt x="676" y="688"/>
                  </a:lnTo>
                  <a:lnTo>
                    <a:pt x="680" y="695"/>
                  </a:lnTo>
                  <a:lnTo>
                    <a:pt x="682" y="697"/>
                  </a:lnTo>
                  <a:lnTo>
                    <a:pt x="684" y="701"/>
                  </a:lnTo>
                  <a:lnTo>
                    <a:pt x="688" y="703"/>
                  </a:lnTo>
                  <a:lnTo>
                    <a:pt x="695" y="703"/>
                  </a:lnTo>
                  <a:lnTo>
                    <a:pt x="695" y="703"/>
                  </a:lnTo>
                  <a:lnTo>
                    <a:pt x="693" y="693"/>
                  </a:lnTo>
                  <a:lnTo>
                    <a:pt x="695" y="686"/>
                  </a:lnTo>
                  <a:lnTo>
                    <a:pt x="697" y="684"/>
                  </a:lnTo>
                  <a:lnTo>
                    <a:pt x="701" y="680"/>
                  </a:lnTo>
                  <a:lnTo>
                    <a:pt x="706" y="679"/>
                  </a:lnTo>
                  <a:lnTo>
                    <a:pt x="710" y="673"/>
                  </a:lnTo>
                  <a:lnTo>
                    <a:pt x="714" y="665"/>
                  </a:lnTo>
                  <a:lnTo>
                    <a:pt x="717" y="654"/>
                  </a:lnTo>
                  <a:lnTo>
                    <a:pt x="717" y="654"/>
                  </a:lnTo>
                  <a:lnTo>
                    <a:pt x="717" y="650"/>
                  </a:lnTo>
                  <a:lnTo>
                    <a:pt x="721" y="649"/>
                  </a:lnTo>
                  <a:lnTo>
                    <a:pt x="729" y="645"/>
                  </a:lnTo>
                  <a:lnTo>
                    <a:pt x="751" y="645"/>
                  </a:lnTo>
                  <a:lnTo>
                    <a:pt x="762" y="645"/>
                  </a:lnTo>
                  <a:lnTo>
                    <a:pt x="768" y="643"/>
                  </a:lnTo>
                  <a:lnTo>
                    <a:pt x="772" y="641"/>
                  </a:lnTo>
                  <a:lnTo>
                    <a:pt x="773" y="637"/>
                  </a:lnTo>
                  <a:lnTo>
                    <a:pt x="775" y="634"/>
                  </a:lnTo>
                  <a:lnTo>
                    <a:pt x="775" y="628"/>
                  </a:lnTo>
                  <a:lnTo>
                    <a:pt x="773" y="621"/>
                  </a:lnTo>
                  <a:lnTo>
                    <a:pt x="773" y="621"/>
                  </a:lnTo>
                  <a:lnTo>
                    <a:pt x="770" y="609"/>
                  </a:lnTo>
                  <a:lnTo>
                    <a:pt x="770" y="602"/>
                  </a:lnTo>
                  <a:lnTo>
                    <a:pt x="772" y="602"/>
                  </a:lnTo>
                  <a:lnTo>
                    <a:pt x="773" y="602"/>
                  </a:lnTo>
                  <a:lnTo>
                    <a:pt x="779" y="602"/>
                  </a:lnTo>
                  <a:lnTo>
                    <a:pt x="787" y="602"/>
                  </a:lnTo>
                  <a:lnTo>
                    <a:pt x="796" y="602"/>
                  </a:lnTo>
                  <a:lnTo>
                    <a:pt x="807" y="600"/>
                  </a:lnTo>
                  <a:lnTo>
                    <a:pt x="813" y="596"/>
                  </a:lnTo>
                  <a:lnTo>
                    <a:pt x="818" y="591"/>
                  </a:lnTo>
                  <a:lnTo>
                    <a:pt x="818" y="591"/>
                  </a:lnTo>
                  <a:lnTo>
                    <a:pt x="826" y="583"/>
                  </a:lnTo>
                  <a:lnTo>
                    <a:pt x="828" y="579"/>
                  </a:lnTo>
                  <a:lnTo>
                    <a:pt x="828" y="578"/>
                  </a:lnTo>
                  <a:lnTo>
                    <a:pt x="826" y="576"/>
                  </a:lnTo>
                  <a:lnTo>
                    <a:pt x="822" y="574"/>
                  </a:lnTo>
                  <a:lnTo>
                    <a:pt x="820" y="568"/>
                  </a:lnTo>
                  <a:lnTo>
                    <a:pt x="818" y="563"/>
                  </a:lnTo>
                  <a:lnTo>
                    <a:pt x="822" y="551"/>
                  </a:lnTo>
                  <a:lnTo>
                    <a:pt x="822" y="551"/>
                  </a:lnTo>
                  <a:lnTo>
                    <a:pt x="824" y="548"/>
                  </a:lnTo>
                  <a:lnTo>
                    <a:pt x="828" y="544"/>
                  </a:lnTo>
                  <a:lnTo>
                    <a:pt x="841" y="540"/>
                  </a:lnTo>
                  <a:lnTo>
                    <a:pt x="856" y="537"/>
                  </a:lnTo>
                  <a:lnTo>
                    <a:pt x="861" y="535"/>
                  </a:lnTo>
                  <a:lnTo>
                    <a:pt x="867" y="533"/>
                  </a:lnTo>
                  <a:lnTo>
                    <a:pt x="867" y="533"/>
                  </a:lnTo>
                  <a:lnTo>
                    <a:pt x="876" y="525"/>
                  </a:lnTo>
                  <a:lnTo>
                    <a:pt x="876" y="525"/>
                  </a:lnTo>
                  <a:lnTo>
                    <a:pt x="886" y="518"/>
                  </a:lnTo>
                  <a:lnTo>
                    <a:pt x="893" y="514"/>
                  </a:lnTo>
                  <a:lnTo>
                    <a:pt x="893" y="514"/>
                  </a:lnTo>
                  <a:lnTo>
                    <a:pt x="901" y="508"/>
                  </a:lnTo>
                  <a:lnTo>
                    <a:pt x="904" y="501"/>
                  </a:lnTo>
                  <a:lnTo>
                    <a:pt x="908" y="494"/>
                  </a:lnTo>
                  <a:lnTo>
                    <a:pt x="910" y="486"/>
                  </a:lnTo>
                  <a:lnTo>
                    <a:pt x="912" y="471"/>
                  </a:lnTo>
                  <a:lnTo>
                    <a:pt x="912" y="452"/>
                  </a:lnTo>
                  <a:lnTo>
                    <a:pt x="910" y="436"/>
                  </a:lnTo>
                  <a:lnTo>
                    <a:pt x="912" y="426"/>
                  </a:lnTo>
                  <a:lnTo>
                    <a:pt x="914" y="417"/>
                  </a:lnTo>
                  <a:lnTo>
                    <a:pt x="916" y="409"/>
                  </a:lnTo>
                  <a:lnTo>
                    <a:pt x="921" y="402"/>
                  </a:lnTo>
                  <a:lnTo>
                    <a:pt x="927" y="393"/>
                  </a:lnTo>
                  <a:lnTo>
                    <a:pt x="936" y="385"/>
                  </a:lnTo>
                  <a:lnTo>
                    <a:pt x="936" y="385"/>
                  </a:lnTo>
                  <a:lnTo>
                    <a:pt x="942" y="380"/>
                  </a:lnTo>
                  <a:lnTo>
                    <a:pt x="942" y="376"/>
                  </a:lnTo>
                  <a:lnTo>
                    <a:pt x="942" y="374"/>
                  </a:lnTo>
                  <a:lnTo>
                    <a:pt x="944" y="372"/>
                  </a:lnTo>
                  <a:lnTo>
                    <a:pt x="951" y="363"/>
                  </a:lnTo>
                  <a:lnTo>
                    <a:pt x="951" y="363"/>
                  </a:lnTo>
                  <a:lnTo>
                    <a:pt x="970" y="348"/>
                  </a:lnTo>
                  <a:lnTo>
                    <a:pt x="973" y="342"/>
                  </a:lnTo>
                  <a:lnTo>
                    <a:pt x="977" y="337"/>
                  </a:lnTo>
                  <a:lnTo>
                    <a:pt x="979" y="331"/>
                  </a:lnTo>
                  <a:lnTo>
                    <a:pt x="979" y="327"/>
                  </a:lnTo>
                  <a:lnTo>
                    <a:pt x="977" y="320"/>
                  </a:lnTo>
                  <a:lnTo>
                    <a:pt x="973" y="314"/>
                  </a:lnTo>
                  <a:lnTo>
                    <a:pt x="972" y="310"/>
                  </a:lnTo>
                  <a:lnTo>
                    <a:pt x="970" y="309"/>
                  </a:lnTo>
                  <a:lnTo>
                    <a:pt x="972" y="305"/>
                  </a:lnTo>
                  <a:lnTo>
                    <a:pt x="979" y="301"/>
                  </a:lnTo>
                  <a:lnTo>
                    <a:pt x="979" y="301"/>
                  </a:lnTo>
                  <a:lnTo>
                    <a:pt x="985" y="297"/>
                  </a:lnTo>
                  <a:lnTo>
                    <a:pt x="988" y="294"/>
                  </a:lnTo>
                  <a:lnTo>
                    <a:pt x="992" y="288"/>
                  </a:lnTo>
                  <a:lnTo>
                    <a:pt x="994" y="284"/>
                  </a:lnTo>
                  <a:lnTo>
                    <a:pt x="994" y="275"/>
                  </a:lnTo>
                  <a:lnTo>
                    <a:pt x="990" y="266"/>
                  </a:lnTo>
                  <a:lnTo>
                    <a:pt x="983" y="247"/>
                  </a:lnTo>
                  <a:lnTo>
                    <a:pt x="981" y="236"/>
                  </a:lnTo>
                  <a:lnTo>
                    <a:pt x="983" y="232"/>
                  </a:lnTo>
                  <a:lnTo>
                    <a:pt x="983" y="226"/>
                  </a:lnTo>
                  <a:lnTo>
                    <a:pt x="983" y="226"/>
                  </a:lnTo>
                  <a:lnTo>
                    <a:pt x="959" y="221"/>
                  </a:lnTo>
                  <a:lnTo>
                    <a:pt x="953" y="223"/>
                  </a:lnTo>
                  <a:lnTo>
                    <a:pt x="949" y="223"/>
                  </a:lnTo>
                  <a:lnTo>
                    <a:pt x="947" y="230"/>
                  </a:lnTo>
                  <a:lnTo>
                    <a:pt x="944" y="234"/>
                  </a:lnTo>
                  <a:lnTo>
                    <a:pt x="936" y="238"/>
                  </a:lnTo>
                  <a:lnTo>
                    <a:pt x="936" y="238"/>
                  </a:lnTo>
                  <a:lnTo>
                    <a:pt x="927" y="241"/>
                  </a:lnTo>
                  <a:lnTo>
                    <a:pt x="923" y="241"/>
                  </a:lnTo>
                  <a:lnTo>
                    <a:pt x="921" y="239"/>
                  </a:lnTo>
                  <a:lnTo>
                    <a:pt x="917" y="234"/>
                  </a:lnTo>
                  <a:lnTo>
                    <a:pt x="917" y="224"/>
                  </a:lnTo>
                  <a:lnTo>
                    <a:pt x="917" y="206"/>
                  </a:lnTo>
                  <a:lnTo>
                    <a:pt x="917" y="196"/>
                  </a:lnTo>
                  <a:lnTo>
                    <a:pt x="917" y="191"/>
                  </a:lnTo>
                  <a:lnTo>
                    <a:pt x="917" y="191"/>
                  </a:lnTo>
                  <a:lnTo>
                    <a:pt x="914" y="181"/>
                  </a:lnTo>
                  <a:lnTo>
                    <a:pt x="912" y="176"/>
                  </a:lnTo>
                  <a:lnTo>
                    <a:pt x="908" y="172"/>
                  </a:lnTo>
                  <a:lnTo>
                    <a:pt x="902" y="170"/>
                  </a:lnTo>
                  <a:lnTo>
                    <a:pt x="899" y="170"/>
                  </a:lnTo>
                  <a:lnTo>
                    <a:pt x="895" y="170"/>
                  </a:lnTo>
                  <a:lnTo>
                    <a:pt x="886" y="176"/>
                  </a:lnTo>
                  <a:lnTo>
                    <a:pt x="869" y="189"/>
                  </a:lnTo>
                  <a:lnTo>
                    <a:pt x="861" y="195"/>
                  </a:lnTo>
                  <a:lnTo>
                    <a:pt x="858" y="196"/>
                  </a:lnTo>
                  <a:lnTo>
                    <a:pt x="858" y="196"/>
                  </a:lnTo>
                  <a:lnTo>
                    <a:pt x="852" y="195"/>
                  </a:lnTo>
                  <a:lnTo>
                    <a:pt x="850" y="191"/>
                  </a:lnTo>
                  <a:lnTo>
                    <a:pt x="850" y="187"/>
                  </a:lnTo>
                  <a:lnTo>
                    <a:pt x="850" y="181"/>
                  </a:lnTo>
                  <a:lnTo>
                    <a:pt x="856" y="170"/>
                  </a:lnTo>
                  <a:lnTo>
                    <a:pt x="865" y="157"/>
                  </a:lnTo>
                  <a:lnTo>
                    <a:pt x="884" y="133"/>
                  </a:lnTo>
                  <a:lnTo>
                    <a:pt x="891" y="122"/>
                  </a:lnTo>
                  <a:lnTo>
                    <a:pt x="895" y="114"/>
                  </a:lnTo>
                  <a:lnTo>
                    <a:pt x="895" y="114"/>
                  </a:lnTo>
                  <a:lnTo>
                    <a:pt x="895" y="105"/>
                  </a:lnTo>
                  <a:lnTo>
                    <a:pt x="899" y="94"/>
                  </a:lnTo>
                  <a:lnTo>
                    <a:pt x="904" y="73"/>
                  </a:lnTo>
                  <a:lnTo>
                    <a:pt x="908" y="66"/>
                  </a:lnTo>
                  <a:lnTo>
                    <a:pt x="908" y="60"/>
                  </a:lnTo>
                  <a:lnTo>
                    <a:pt x="908" y="58"/>
                  </a:lnTo>
                  <a:lnTo>
                    <a:pt x="906" y="56"/>
                  </a:lnTo>
                  <a:lnTo>
                    <a:pt x="901" y="58"/>
                  </a:lnTo>
                  <a:lnTo>
                    <a:pt x="901" y="58"/>
                  </a:lnTo>
                  <a:lnTo>
                    <a:pt x="889" y="62"/>
                  </a:lnTo>
                  <a:lnTo>
                    <a:pt x="886" y="62"/>
                  </a:lnTo>
                  <a:lnTo>
                    <a:pt x="884" y="60"/>
                  </a:lnTo>
                  <a:lnTo>
                    <a:pt x="882" y="53"/>
                  </a:lnTo>
                  <a:lnTo>
                    <a:pt x="882" y="45"/>
                  </a:lnTo>
                  <a:lnTo>
                    <a:pt x="887" y="25"/>
                  </a:lnTo>
                  <a:lnTo>
                    <a:pt x="887" y="15"/>
                  </a:lnTo>
                  <a:lnTo>
                    <a:pt x="886" y="10"/>
                  </a:lnTo>
                  <a:lnTo>
                    <a:pt x="886" y="10"/>
                  </a:lnTo>
                  <a:lnTo>
                    <a:pt x="880" y="2"/>
                  </a:lnTo>
                  <a:lnTo>
                    <a:pt x="873" y="0"/>
                  </a:lnTo>
                  <a:lnTo>
                    <a:pt x="863" y="0"/>
                  </a:lnTo>
                  <a:lnTo>
                    <a:pt x="854" y="0"/>
                  </a:lnTo>
                  <a:lnTo>
                    <a:pt x="835" y="4"/>
                  </a:lnTo>
                  <a:lnTo>
                    <a:pt x="826" y="6"/>
                  </a:lnTo>
                  <a:lnTo>
                    <a:pt x="818" y="4"/>
                  </a:lnTo>
                  <a:lnTo>
                    <a:pt x="818" y="4"/>
                  </a:lnTo>
                  <a:lnTo>
                    <a:pt x="813" y="4"/>
                  </a:lnTo>
                  <a:lnTo>
                    <a:pt x="807" y="4"/>
                  </a:lnTo>
                  <a:lnTo>
                    <a:pt x="802" y="6"/>
                  </a:lnTo>
                  <a:lnTo>
                    <a:pt x="796" y="11"/>
                  </a:lnTo>
                  <a:lnTo>
                    <a:pt x="787" y="21"/>
                  </a:lnTo>
                  <a:lnTo>
                    <a:pt x="775" y="34"/>
                  </a:lnTo>
                  <a:lnTo>
                    <a:pt x="766" y="45"/>
                  </a:lnTo>
                  <a:lnTo>
                    <a:pt x="762" y="49"/>
                  </a:lnTo>
                  <a:lnTo>
                    <a:pt x="757" y="51"/>
                  </a:lnTo>
                  <a:lnTo>
                    <a:pt x="753" y="51"/>
                  </a:lnTo>
                  <a:lnTo>
                    <a:pt x="747" y="49"/>
                  </a:lnTo>
                  <a:lnTo>
                    <a:pt x="744" y="45"/>
                  </a:lnTo>
                  <a:lnTo>
                    <a:pt x="738" y="38"/>
                  </a:lnTo>
                  <a:lnTo>
                    <a:pt x="738" y="38"/>
                  </a:lnTo>
                  <a:lnTo>
                    <a:pt x="732" y="30"/>
                  </a:lnTo>
                  <a:lnTo>
                    <a:pt x="727" y="26"/>
                  </a:lnTo>
                  <a:lnTo>
                    <a:pt x="723" y="25"/>
                  </a:lnTo>
                  <a:lnTo>
                    <a:pt x="717" y="25"/>
                  </a:lnTo>
                  <a:lnTo>
                    <a:pt x="712" y="28"/>
                  </a:lnTo>
                  <a:lnTo>
                    <a:pt x="708" y="34"/>
                  </a:lnTo>
                  <a:lnTo>
                    <a:pt x="704" y="41"/>
                  </a:lnTo>
                  <a:lnTo>
                    <a:pt x="702" y="49"/>
                  </a:lnTo>
                  <a:lnTo>
                    <a:pt x="702" y="49"/>
                  </a:lnTo>
                  <a:lnTo>
                    <a:pt x="699" y="62"/>
                  </a:lnTo>
                  <a:lnTo>
                    <a:pt x="697" y="68"/>
                  </a:lnTo>
                  <a:lnTo>
                    <a:pt x="693" y="69"/>
                  </a:lnTo>
                  <a:lnTo>
                    <a:pt x="691" y="68"/>
                  </a:lnTo>
                  <a:lnTo>
                    <a:pt x="688" y="60"/>
                  </a:lnTo>
                  <a:lnTo>
                    <a:pt x="686" y="54"/>
                  </a:lnTo>
                  <a:lnTo>
                    <a:pt x="686" y="54"/>
                  </a:lnTo>
                  <a:lnTo>
                    <a:pt x="676" y="49"/>
                  </a:lnTo>
                  <a:lnTo>
                    <a:pt x="669" y="47"/>
                  </a:lnTo>
                  <a:lnTo>
                    <a:pt x="663" y="47"/>
                  </a:lnTo>
                  <a:lnTo>
                    <a:pt x="656" y="49"/>
                  </a:lnTo>
                  <a:lnTo>
                    <a:pt x="656" y="49"/>
                  </a:lnTo>
                  <a:lnTo>
                    <a:pt x="646" y="58"/>
                  </a:lnTo>
                  <a:lnTo>
                    <a:pt x="639" y="68"/>
                  </a:lnTo>
                  <a:lnTo>
                    <a:pt x="631" y="77"/>
                  </a:lnTo>
                  <a:lnTo>
                    <a:pt x="628" y="79"/>
                  </a:lnTo>
                  <a:lnTo>
                    <a:pt x="624" y="79"/>
                  </a:lnTo>
                  <a:lnTo>
                    <a:pt x="624" y="79"/>
                  </a:lnTo>
                  <a:lnTo>
                    <a:pt x="611" y="79"/>
                  </a:lnTo>
                  <a:lnTo>
                    <a:pt x="592" y="81"/>
                  </a:lnTo>
                  <a:lnTo>
                    <a:pt x="585" y="82"/>
                  </a:lnTo>
                  <a:lnTo>
                    <a:pt x="581" y="84"/>
                  </a:lnTo>
                  <a:lnTo>
                    <a:pt x="581" y="86"/>
                  </a:lnTo>
                  <a:lnTo>
                    <a:pt x="583" y="86"/>
                  </a:lnTo>
                  <a:lnTo>
                    <a:pt x="590" y="90"/>
                  </a:lnTo>
                  <a:lnTo>
                    <a:pt x="590" y="90"/>
                  </a:lnTo>
                  <a:lnTo>
                    <a:pt x="596" y="94"/>
                  </a:lnTo>
                  <a:lnTo>
                    <a:pt x="598" y="97"/>
                  </a:lnTo>
                  <a:lnTo>
                    <a:pt x="596" y="103"/>
                  </a:lnTo>
                  <a:lnTo>
                    <a:pt x="592" y="107"/>
                  </a:lnTo>
                  <a:lnTo>
                    <a:pt x="587" y="109"/>
                  </a:lnTo>
                  <a:lnTo>
                    <a:pt x="579" y="110"/>
                  </a:lnTo>
                  <a:lnTo>
                    <a:pt x="570" y="107"/>
                  </a:lnTo>
                  <a:lnTo>
                    <a:pt x="562" y="101"/>
                  </a:lnTo>
                  <a:lnTo>
                    <a:pt x="562" y="101"/>
                  </a:lnTo>
                  <a:lnTo>
                    <a:pt x="559" y="99"/>
                  </a:lnTo>
                  <a:lnTo>
                    <a:pt x="555" y="99"/>
                  </a:lnTo>
                  <a:lnTo>
                    <a:pt x="551" y="103"/>
                  </a:lnTo>
                  <a:lnTo>
                    <a:pt x="547" y="107"/>
                  </a:lnTo>
                  <a:lnTo>
                    <a:pt x="544" y="116"/>
                  </a:lnTo>
                  <a:lnTo>
                    <a:pt x="540" y="127"/>
                  </a:lnTo>
                  <a:lnTo>
                    <a:pt x="540" y="127"/>
                  </a:lnTo>
                  <a:lnTo>
                    <a:pt x="540" y="133"/>
                  </a:lnTo>
                  <a:lnTo>
                    <a:pt x="538" y="135"/>
                  </a:lnTo>
                  <a:lnTo>
                    <a:pt x="536" y="135"/>
                  </a:lnTo>
                  <a:lnTo>
                    <a:pt x="532" y="133"/>
                  </a:lnTo>
                  <a:lnTo>
                    <a:pt x="527" y="127"/>
                  </a:lnTo>
                  <a:lnTo>
                    <a:pt x="516" y="116"/>
                  </a:lnTo>
                  <a:lnTo>
                    <a:pt x="508" y="112"/>
                  </a:lnTo>
                  <a:lnTo>
                    <a:pt x="504" y="112"/>
                  </a:lnTo>
                  <a:lnTo>
                    <a:pt x="503" y="112"/>
                  </a:lnTo>
                  <a:lnTo>
                    <a:pt x="503" y="112"/>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7" name="Freeform 77">
              <a:extLst>
                <a:ext uri="{FF2B5EF4-FFF2-40B4-BE49-F238E27FC236}">
                  <a16:creationId xmlns:a16="http://schemas.microsoft.com/office/drawing/2014/main" id="{8D70FDF5-854C-4AE4-B17A-BB061AAB41B6}"/>
                </a:ext>
              </a:extLst>
            </p:cNvPr>
            <p:cNvSpPr>
              <a:spLocks noEditPoints="1"/>
            </p:cNvSpPr>
            <p:nvPr/>
          </p:nvSpPr>
          <p:spPr bwMode="auto">
            <a:xfrm>
              <a:off x="5974462" y="4079631"/>
              <a:ext cx="83566" cy="103549"/>
            </a:xfrm>
            <a:custGeom>
              <a:avLst/>
              <a:gdLst/>
              <a:ahLst/>
              <a:cxnLst>
                <a:cxn ang="0">
                  <a:pos x="13" y="2"/>
                </a:cxn>
                <a:cxn ang="0">
                  <a:pos x="13" y="2"/>
                </a:cxn>
                <a:cxn ang="0">
                  <a:pos x="6" y="9"/>
                </a:cxn>
                <a:cxn ang="0">
                  <a:pos x="2" y="15"/>
                </a:cxn>
                <a:cxn ang="0">
                  <a:pos x="0" y="18"/>
                </a:cxn>
                <a:cxn ang="0">
                  <a:pos x="2" y="24"/>
                </a:cxn>
                <a:cxn ang="0">
                  <a:pos x="11" y="33"/>
                </a:cxn>
                <a:cxn ang="0">
                  <a:pos x="28" y="50"/>
                </a:cxn>
                <a:cxn ang="0">
                  <a:pos x="28" y="50"/>
                </a:cxn>
                <a:cxn ang="0">
                  <a:pos x="41" y="59"/>
                </a:cxn>
                <a:cxn ang="0">
                  <a:pos x="41" y="59"/>
                </a:cxn>
                <a:cxn ang="0">
                  <a:pos x="45" y="59"/>
                </a:cxn>
                <a:cxn ang="0">
                  <a:pos x="47" y="59"/>
                </a:cxn>
                <a:cxn ang="0">
                  <a:pos x="49" y="58"/>
                </a:cxn>
                <a:cxn ang="0">
                  <a:pos x="50" y="58"/>
                </a:cxn>
                <a:cxn ang="0">
                  <a:pos x="54" y="59"/>
                </a:cxn>
                <a:cxn ang="0">
                  <a:pos x="67" y="69"/>
                </a:cxn>
                <a:cxn ang="0">
                  <a:pos x="49" y="48"/>
                </a:cxn>
                <a:cxn ang="0">
                  <a:pos x="49" y="48"/>
                </a:cxn>
                <a:cxn ang="0">
                  <a:pos x="37" y="35"/>
                </a:cxn>
                <a:cxn ang="0">
                  <a:pos x="30" y="26"/>
                </a:cxn>
                <a:cxn ang="0">
                  <a:pos x="22" y="9"/>
                </a:cxn>
                <a:cxn ang="0">
                  <a:pos x="19" y="0"/>
                </a:cxn>
                <a:cxn ang="0">
                  <a:pos x="17" y="0"/>
                </a:cxn>
                <a:cxn ang="0">
                  <a:pos x="13" y="2"/>
                </a:cxn>
                <a:cxn ang="0">
                  <a:pos x="13" y="2"/>
                </a:cxn>
                <a:cxn ang="0">
                  <a:pos x="47" y="61"/>
                </a:cxn>
                <a:cxn ang="0">
                  <a:pos x="47" y="61"/>
                </a:cxn>
                <a:cxn ang="0">
                  <a:pos x="60" y="82"/>
                </a:cxn>
                <a:cxn ang="0">
                  <a:pos x="69" y="97"/>
                </a:cxn>
                <a:cxn ang="0">
                  <a:pos x="75" y="104"/>
                </a:cxn>
                <a:cxn ang="0">
                  <a:pos x="75" y="104"/>
                </a:cxn>
                <a:cxn ang="0">
                  <a:pos x="77" y="110"/>
                </a:cxn>
                <a:cxn ang="0">
                  <a:pos x="78" y="112"/>
                </a:cxn>
                <a:cxn ang="0">
                  <a:pos x="82" y="114"/>
                </a:cxn>
                <a:cxn ang="0">
                  <a:pos x="86" y="112"/>
                </a:cxn>
                <a:cxn ang="0">
                  <a:pos x="90" y="110"/>
                </a:cxn>
                <a:cxn ang="0">
                  <a:pos x="92" y="104"/>
                </a:cxn>
                <a:cxn ang="0">
                  <a:pos x="92" y="97"/>
                </a:cxn>
                <a:cxn ang="0">
                  <a:pos x="88" y="87"/>
                </a:cxn>
                <a:cxn ang="0">
                  <a:pos x="88" y="87"/>
                </a:cxn>
                <a:cxn ang="0">
                  <a:pos x="67" y="69"/>
                </a:cxn>
                <a:cxn ang="0">
                  <a:pos x="67" y="69"/>
                </a:cxn>
                <a:cxn ang="0">
                  <a:pos x="54" y="59"/>
                </a:cxn>
                <a:cxn ang="0">
                  <a:pos x="50" y="58"/>
                </a:cxn>
                <a:cxn ang="0">
                  <a:pos x="49" y="58"/>
                </a:cxn>
                <a:cxn ang="0">
                  <a:pos x="47" y="59"/>
                </a:cxn>
                <a:cxn ang="0">
                  <a:pos x="45" y="59"/>
                </a:cxn>
                <a:cxn ang="0">
                  <a:pos x="41" y="59"/>
                </a:cxn>
                <a:cxn ang="0">
                  <a:pos x="47" y="61"/>
                </a:cxn>
                <a:cxn ang="0">
                  <a:pos x="47" y="61"/>
                </a:cxn>
              </a:cxnLst>
              <a:rect l="0" t="0" r="r" b="b"/>
              <a:pathLst>
                <a:path w="92" h="114">
                  <a:moveTo>
                    <a:pt x="13" y="2"/>
                  </a:moveTo>
                  <a:lnTo>
                    <a:pt x="13" y="2"/>
                  </a:lnTo>
                  <a:lnTo>
                    <a:pt x="6" y="9"/>
                  </a:lnTo>
                  <a:lnTo>
                    <a:pt x="2" y="15"/>
                  </a:lnTo>
                  <a:lnTo>
                    <a:pt x="0" y="18"/>
                  </a:lnTo>
                  <a:lnTo>
                    <a:pt x="2" y="24"/>
                  </a:lnTo>
                  <a:lnTo>
                    <a:pt x="11" y="33"/>
                  </a:lnTo>
                  <a:lnTo>
                    <a:pt x="28" y="50"/>
                  </a:lnTo>
                  <a:lnTo>
                    <a:pt x="28" y="50"/>
                  </a:lnTo>
                  <a:lnTo>
                    <a:pt x="41" y="59"/>
                  </a:lnTo>
                  <a:lnTo>
                    <a:pt x="41" y="59"/>
                  </a:lnTo>
                  <a:lnTo>
                    <a:pt x="45" y="59"/>
                  </a:lnTo>
                  <a:lnTo>
                    <a:pt x="47" y="59"/>
                  </a:lnTo>
                  <a:lnTo>
                    <a:pt x="49" y="58"/>
                  </a:lnTo>
                  <a:lnTo>
                    <a:pt x="50" y="58"/>
                  </a:lnTo>
                  <a:lnTo>
                    <a:pt x="54" y="59"/>
                  </a:lnTo>
                  <a:lnTo>
                    <a:pt x="67" y="69"/>
                  </a:lnTo>
                  <a:lnTo>
                    <a:pt x="49" y="48"/>
                  </a:lnTo>
                  <a:lnTo>
                    <a:pt x="49" y="48"/>
                  </a:lnTo>
                  <a:lnTo>
                    <a:pt x="37" y="35"/>
                  </a:lnTo>
                  <a:lnTo>
                    <a:pt x="30" y="26"/>
                  </a:lnTo>
                  <a:lnTo>
                    <a:pt x="22" y="9"/>
                  </a:lnTo>
                  <a:lnTo>
                    <a:pt x="19" y="0"/>
                  </a:lnTo>
                  <a:lnTo>
                    <a:pt x="17" y="0"/>
                  </a:lnTo>
                  <a:lnTo>
                    <a:pt x="13" y="2"/>
                  </a:lnTo>
                  <a:lnTo>
                    <a:pt x="13" y="2"/>
                  </a:lnTo>
                  <a:close/>
                  <a:moveTo>
                    <a:pt x="47" y="61"/>
                  </a:moveTo>
                  <a:lnTo>
                    <a:pt x="47" y="61"/>
                  </a:lnTo>
                  <a:lnTo>
                    <a:pt x="60" y="82"/>
                  </a:lnTo>
                  <a:lnTo>
                    <a:pt x="69" y="97"/>
                  </a:lnTo>
                  <a:lnTo>
                    <a:pt x="75" y="104"/>
                  </a:lnTo>
                  <a:lnTo>
                    <a:pt x="75" y="104"/>
                  </a:lnTo>
                  <a:lnTo>
                    <a:pt x="77" y="110"/>
                  </a:lnTo>
                  <a:lnTo>
                    <a:pt x="78" y="112"/>
                  </a:lnTo>
                  <a:lnTo>
                    <a:pt x="82" y="114"/>
                  </a:lnTo>
                  <a:lnTo>
                    <a:pt x="86" y="112"/>
                  </a:lnTo>
                  <a:lnTo>
                    <a:pt x="90" y="110"/>
                  </a:lnTo>
                  <a:lnTo>
                    <a:pt x="92" y="104"/>
                  </a:lnTo>
                  <a:lnTo>
                    <a:pt x="92" y="97"/>
                  </a:lnTo>
                  <a:lnTo>
                    <a:pt x="88" y="87"/>
                  </a:lnTo>
                  <a:lnTo>
                    <a:pt x="88" y="87"/>
                  </a:lnTo>
                  <a:lnTo>
                    <a:pt x="67" y="69"/>
                  </a:lnTo>
                  <a:lnTo>
                    <a:pt x="67" y="69"/>
                  </a:lnTo>
                  <a:lnTo>
                    <a:pt x="54" y="59"/>
                  </a:lnTo>
                  <a:lnTo>
                    <a:pt x="50" y="58"/>
                  </a:lnTo>
                  <a:lnTo>
                    <a:pt x="49" y="58"/>
                  </a:lnTo>
                  <a:lnTo>
                    <a:pt x="47" y="59"/>
                  </a:lnTo>
                  <a:lnTo>
                    <a:pt x="45" y="59"/>
                  </a:lnTo>
                  <a:lnTo>
                    <a:pt x="41" y="59"/>
                  </a:lnTo>
                  <a:lnTo>
                    <a:pt x="47" y="61"/>
                  </a:lnTo>
                  <a:lnTo>
                    <a:pt x="47" y="6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8" name="Freeform 78">
              <a:extLst>
                <a:ext uri="{FF2B5EF4-FFF2-40B4-BE49-F238E27FC236}">
                  <a16:creationId xmlns:a16="http://schemas.microsoft.com/office/drawing/2014/main" id="{6B574BB3-77B8-4AF6-8C16-9B73BDDDF219}"/>
                </a:ext>
              </a:extLst>
            </p:cNvPr>
            <p:cNvSpPr>
              <a:spLocks/>
            </p:cNvSpPr>
            <p:nvPr/>
          </p:nvSpPr>
          <p:spPr bwMode="auto">
            <a:xfrm>
              <a:off x="1696224" y="2074036"/>
              <a:ext cx="2281727" cy="1742178"/>
            </a:xfrm>
            <a:custGeom>
              <a:avLst/>
              <a:gdLst/>
              <a:ahLst/>
              <a:cxnLst>
                <a:cxn ang="0">
                  <a:pos x="2072" y="1437"/>
                </a:cxn>
                <a:cxn ang="0">
                  <a:pos x="2141" y="1355"/>
                </a:cxn>
                <a:cxn ang="0">
                  <a:pos x="2328" y="1215"/>
                </a:cxn>
                <a:cxn ang="0">
                  <a:pos x="2424" y="1203"/>
                </a:cxn>
                <a:cxn ang="0">
                  <a:pos x="2480" y="1129"/>
                </a:cxn>
                <a:cxn ang="0">
                  <a:pos x="2470" y="996"/>
                </a:cxn>
                <a:cxn ang="0">
                  <a:pos x="2431" y="875"/>
                </a:cxn>
                <a:cxn ang="0">
                  <a:pos x="2313" y="761"/>
                </a:cxn>
                <a:cxn ang="0">
                  <a:pos x="2121" y="680"/>
                </a:cxn>
                <a:cxn ang="0">
                  <a:pos x="2005" y="622"/>
                </a:cxn>
                <a:cxn ang="0">
                  <a:pos x="2052" y="493"/>
                </a:cxn>
                <a:cxn ang="0">
                  <a:pos x="2031" y="305"/>
                </a:cxn>
                <a:cxn ang="0">
                  <a:pos x="1956" y="221"/>
                </a:cxn>
                <a:cxn ang="0">
                  <a:pos x="1844" y="114"/>
                </a:cxn>
                <a:cxn ang="0">
                  <a:pos x="1840" y="39"/>
                </a:cxn>
                <a:cxn ang="0">
                  <a:pos x="1764" y="4"/>
                </a:cxn>
                <a:cxn ang="0">
                  <a:pos x="1704" y="73"/>
                </a:cxn>
                <a:cxn ang="0">
                  <a:pos x="1584" y="151"/>
                </a:cxn>
                <a:cxn ang="0">
                  <a:pos x="1498" y="262"/>
                </a:cxn>
                <a:cxn ang="0">
                  <a:pos x="1418" y="239"/>
                </a:cxn>
                <a:cxn ang="0">
                  <a:pos x="1289" y="217"/>
                </a:cxn>
                <a:cxn ang="0">
                  <a:pos x="1199" y="432"/>
                </a:cxn>
                <a:cxn ang="0">
                  <a:pos x="1121" y="392"/>
                </a:cxn>
                <a:cxn ang="0">
                  <a:pos x="917" y="394"/>
                </a:cxn>
                <a:cxn ang="0">
                  <a:pos x="947" y="469"/>
                </a:cxn>
                <a:cxn ang="0">
                  <a:pos x="936" y="600"/>
                </a:cxn>
                <a:cxn ang="0">
                  <a:pos x="891" y="671"/>
                </a:cxn>
                <a:cxn ang="0">
                  <a:pos x="850" y="731"/>
                </a:cxn>
                <a:cxn ang="0">
                  <a:pos x="723" y="809"/>
                </a:cxn>
                <a:cxn ang="0">
                  <a:pos x="588" y="835"/>
                </a:cxn>
                <a:cxn ang="0">
                  <a:pos x="486" y="835"/>
                </a:cxn>
                <a:cxn ang="0">
                  <a:pos x="360" y="891"/>
                </a:cxn>
                <a:cxn ang="0">
                  <a:pos x="295" y="865"/>
                </a:cxn>
                <a:cxn ang="0">
                  <a:pos x="237" y="837"/>
                </a:cxn>
                <a:cxn ang="0">
                  <a:pos x="147" y="854"/>
                </a:cxn>
                <a:cxn ang="0">
                  <a:pos x="63" y="901"/>
                </a:cxn>
                <a:cxn ang="0">
                  <a:pos x="18" y="947"/>
                </a:cxn>
                <a:cxn ang="0">
                  <a:pos x="20" y="1039"/>
                </a:cxn>
                <a:cxn ang="0">
                  <a:pos x="108" y="1088"/>
                </a:cxn>
                <a:cxn ang="0">
                  <a:pos x="76" y="1202"/>
                </a:cxn>
                <a:cxn ang="0">
                  <a:pos x="18" y="1239"/>
                </a:cxn>
                <a:cxn ang="0">
                  <a:pos x="31" y="1271"/>
                </a:cxn>
                <a:cxn ang="0">
                  <a:pos x="119" y="1353"/>
                </a:cxn>
                <a:cxn ang="0">
                  <a:pos x="119" y="1465"/>
                </a:cxn>
                <a:cxn ang="0">
                  <a:pos x="166" y="1519"/>
                </a:cxn>
                <a:cxn ang="0">
                  <a:pos x="310" y="1611"/>
                </a:cxn>
                <a:cxn ang="0">
                  <a:pos x="299" y="1687"/>
                </a:cxn>
                <a:cxn ang="0">
                  <a:pos x="345" y="1781"/>
                </a:cxn>
                <a:cxn ang="0">
                  <a:pos x="486" y="1760"/>
                </a:cxn>
                <a:cxn ang="0">
                  <a:pos x="562" y="1702"/>
                </a:cxn>
                <a:cxn ang="0">
                  <a:pos x="704" y="1768"/>
                </a:cxn>
                <a:cxn ang="0">
                  <a:pos x="852" y="1766"/>
                </a:cxn>
                <a:cxn ang="0">
                  <a:pos x="1003" y="1827"/>
                </a:cxn>
                <a:cxn ang="0">
                  <a:pos x="1190" y="1827"/>
                </a:cxn>
                <a:cxn ang="0">
                  <a:pos x="1399" y="1790"/>
                </a:cxn>
                <a:cxn ang="0">
                  <a:pos x="1575" y="1844"/>
                </a:cxn>
                <a:cxn ang="0">
                  <a:pos x="1680" y="1872"/>
                </a:cxn>
                <a:cxn ang="0">
                  <a:pos x="1784" y="1910"/>
                </a:cxn>
                <a:cxn ang="0">
                  <a:pos x="1749" y="1826"/>
                </a:cxn>
                <a:cxn ang="0">
                  <a:pos x="1835" y="1781"/>
                </a:cxn>
                <a:cxn ang="0">
                  <a:pos x="1758" y="1656"/>
                </a:cxn>
                <a:cxn ang="0">
                  <a:pos x="1743" y="1575"/>
                </a:cxn>
                <a:cxn ang="0">
                  <a:pos x="2029" y="1545"/>
                </a:cxn>
              </a:cxnLst>
              <a:rect l="0" t="0" r="r" b="b"/>
              <a:pathLst>
                <a:path w="2511" h="1917">
                  <a:moveTo>
                    <a:pt x="2029" y="1545"/>
                  </a:moveTo>
                  <a:lnTo>
                    <a:pt x="2029" y="1545"/>
                  </a:lnTo>
                  <a:lnTo>
                    <a:pt x="2027" y="1543"/>
                  </a:lnTo>
                  <a:lnTo>
                    <a:pt x="2029" y="1540"/>
                  </a:lnTo>
                  <a:lnTo>
                    <a:pt x="2035" y="1532"/>
                  </a:lnTo>
                  <a:lnTo>
                    <a:pt x="2048" y="1521"/>
                  </a:lnTo>
                  <a:lnTo>
                    <a:pt x="2048" y="1521"/>
                  </a:lnTo>
                  <a:lnTo>
                    <a:pt x="2059" y="1510"/>
                  </a:lnTo>
                  <a:lnTo>
                    <a:pt x="2067" y="1499"/>
                  </a:lnTo>
                  <a:lnTo>
                    <a:pt x="2070" y="1487"/>
                  </a:lnTo>
                  <a:lnTo>
                    <a:pt x="2070" y="1476"/>
                  </a:lnTo>
                  <a:lnTo>
                    <a:pt x="2072" y="1450"/>
                  </a:lnTo>
                  <a:lnTo>
                    <a:pt x="2072" y="1437"/>
                  </a:lnTo>
                  <a:lnTo>
                    <a:pt x="2078" y="1422"/>
                  </a:lnTo>
                  <a:lnTo>
                    <a:pt x="2078" y="1422"/>
                  </a:lnTo>
                  <a:lnTo>
                    <a:pt x="2083" y="1400"/>
                  </a:lnTo>
                  <a:lnTo>
                    <a:pt x="2089" y="1381"/>
                  </a:lnTo>
                  <a:lnTo>
                    <a:pt x="2091" y="1364"/>
                  </a:lnTo>
                  <a:lnTo>
                    <a:pt x="2095" y="1353"/>
                  </a:lnTo>
                  <a:lnTo>
                    <a:pt x="2096" y="1349"/>
                  </a:lnTo>
                  <a:lnTo>
                    <a:pt x="2098" y="1347"/>
                  </a:lnTo>
                  <a:lnTo>
                    <a:pt x="2102" y="1345"/>
                  </a:lnTo>
                  <a:lnTo>
                    <a:pt x="2108" y="1345"/>
                  </a:lnTo>
                  <a:lnTo>
                    <a:pt x="2121" y="1347"/>
                  </a:lnTo>
                  <a:lnTo>
                    <a:pt x="2141" y="1355"/>
                  </a:lnTo>
                  <a:lnTo>
                    <a:pt x="2141" y="1355"/>
                  </a:lnTo>
                  <a:lnTo>
                    <a:pt x="2147" y="1357"/>
                  </a:lnTo>
                  <a:lnTo>
                    <a:pt x="2153" y="1355"/>
                  </a:lnTo>
                  <a:lnTo>
                    <a:pt x="2164" y="1351"/>
                  </a:lnTo>
                  <a:lnTo>
                    <a:pt x="2179" y="1342"/>
                  </a:lnTo>
                  <a:lnTo>
                    <a:pt x="2192" y="1330"/>
                  </a:lnTo>
                  <a:lnTo>
                    <a:pt x="2220" y="1304"/>
                  </a:lnTo>
                  <a:lnTo>
                    <a:pt x="2237" y="1286"/>
                  </a:lnTo>
                  <a:lnTo>
                    <a:pt x="2237" y="1286"/>
                  </a:lnTo>
                  <a:lnTo>
                    <a:pt x="2250" y="1271"/>
                  </a:lnTo>
                  <a:lnTo>
                    <a:pt x="2267" y="1256"/>
                  </a:lnTo>
                  <a:lnTo>
                    <a:pt x="2285" y="1241"/>
                  </a:lnTo>
                  <a:lnTo>
                    <a:pt x="2306" y="1226"/>
                  </a:lnTo>
                  <a:lnTo>
                    <a:pt x="2328" y="1215"/>
                  </a:lnTo>
                  <a:lnTo>
                    <a:pt x="2339" y="1209"/>
                  </a:lnTo>
                  <a:lnTo>
                    <a:pt x="2351" y="1207"/>
                  </a:lnTo>
                  <a:lnTo>
                    <a:pt x="2360" y="1205"/>
                  </a:lnTo>
                  <a:lnTo>
                    <a:pt x="2371" y="1205"/>
                  </a:lnTo>
                  <a:lnTo>
                    <a:pt x="2381" y="1209"/>
                  </a:lnTo>
                  <a:lnTo>
                    <a:pt x="2390" y="1213"/>
                  </a:lnTo>
                  <a:lnTo>
                    <a:pt x="2390" y="1213"/>
                  </a:lnTo>
                  <a:lnTo>
                    <a:pt x="2395" y="1216"/>
                  </a:lnTo>
                  <a:lnTo>
                    <a:pt x="2401" y="1216"/>
                  </a:lnTo>
                  <a:lnTo>
                    <a:pt x="2405" y="1215"/>
                  </a:lnTo>
                  <a:lnTo>
                    <a:pt x="2410" y="1211"/>
                  </a:lnTo>
                  <a:lnTo>
                    <a:pt x="2416" y="1207"/>
                  </a:lnTo>
                  <a:lnTo>
                    <a:pt x="2424" y="1203"/>
                  </a:lnTo>
                  <a:lnTo>
                    <a:pt x="2435" y="1200"/>
                  </a:lnTo>
                  <a:lnTo>
                    <a:pt x="2448" y="1200"/>
                  </a:lnTo>
                  <a:lnTo>
                    <a:pt x="2448" y="1200"/>
                  </a:lnTo>
                  <a:lnTo>
                    <a:pt x="2465" y="1198"/>
                  </a:lnTo>
                  <a:lnTo>
                    <a:pt x="2476" y="1196"/>
                  </a:lnTo>
                  <a:lnTo>
                    <a:pt x="2483" y="1190"/>
                  </a:lnTo>
                  <a:lnTo>
                    <a:pt x="2487" y="1187"/>
                  </a:lnTo>
                  <a:lnTo>
                    <a:pt x="2489" y="1181"/>
                  </a:lnTo>
                  <a:lnTo>
                    <a:pt x="2487" y="1175"/>
                  </a:lnTo>
                  <a:lnTo>
                    <a:pt x="2485" y="1162"/>
                  </a:lnTo>
                  <a:lnTo>
                    <a:pt x="2485" y="1162"/>
                  </a:lnTo>
                  <a:lnTo>
                    <a:pt x="2480" y="1136"/>
                  </a:lnTo>
                  <a:lnTo>
                    <a:pt x="2480" y="1129"/>
                  </a:lnTo>
                  <a:lnTo>
                    <a:pt x="2481" y="1121"/>
                  </a:lnTo>
                  <a:lnTo>
                    <a:pt x="2485" y="1116"/>
                  </a:lnTo>
                  <a:lnTo>
                    <a:pt x="2491" y="1108"/>
                  </a:lnTo>
                  <a:lnTo>
                    <a:pt x="2511" y="1089"/>
                  </a:lnTo>
                  <a:lnTo>
                    <a:pt x="2511" y="1089"/>
                  </a:lnTo>
                  <a:lnTo>
                    <a:pt x="2509" y="1088"/>
                  </a:lnTo>
                  <a:lnTo>
                    <a:pt x="2508" y="1084"/>
                  </a:lnTo>
                  <a:lnTo>
                    <a:pt x="2504" y="1069"/>
                  </a:lnTo>
                  <a:lnTo>
                    <a:pt x="2495" y="1045"/>
                  </a:lnTo>
                  <a:lnTo>
                    <a:pt x="2487" y="1028"/>
                  </a:lnTo>
                  <a:lnTo>
                    <a:pt x="2476" y="1007"/>
                  </a:lnTo>
                  <a:lnTo>
                    <a:pt x="2476" y="1007"/>
                  </a:lnTo>
                  <a:lnTo>
                    <a:pt x="2470" y="996"/>
                  </a:lnTo>
                  <a:lnTo>
                    <a:pt x="2468" y="981"/>
                  </a:lnTo>
                  <a:lnTo>
                    <a:pt x="2463" y="944"/>
                  </a:lnTo>
                  <a:lnTo>
                    <a:pt x="2459" y="927"/>
                  </a:lnTo>
                  <a:lnTo>
                    <a:pt x="2455" y="910"/>
                  </a:lnTo>
                  <a:lnTo>
                    <a:pt x="2452" y="899"/>
                  </a:lnTo>
                  <a:lnTo>
                    <a:pt x="2448" y="893"/>
                  </a:lnTo>
                  <a:lnTo>
                    <a:pt x="2446" y="891"/>
                  </a:lnTo>
                  <a:lnTo>
                    <a:pt x="2446" y="891"/>
                  </a:lnTo>
                  <a:lnTo>
                    <a:pt x="2435" y="886"/>
                  </a:lnTo>
                  <a:lnTo>
                    <a:pt x="2431" y="884"/>
                  </a:lnTo>
                  <a:lnTo>
                    <a:pt x="2429" y="882"/>
                  </a:lnTo>
                  <a:lnTo>
                    <a:pt x="2429" y="878"/>
                  </a:lnTo>
                  <a:lnTo>
                    <a:pt x="2431" y="875"/>
                  </a:lnTo>
                  <a:lnTo>
                    <a:pt x="2444" y="863"/>
                  </a:lnTo>
                  <a:lnTo>
                    <a:pt x="2444" y="863"/>
                  </a:lnTo>
                  <a:lnTo>
                    <a:pt x="2446" y="860"/>
                  </a:lnTo>
                  <a:lnTo>
                    <a:pt x="2444" y="856"/>
                  </a:lnTo>
                  <a:lnTo>
                    <a:pt x="2427" y="854"/>
                  </a:lnTo>
                  <a:lnTo>
                    <a:pt x="2418" y="852"/>
                  </a:lnTo>
                  <a:lnTo>
                    <a:pt x="2407" y="848"/>
                  </a:lnTo>
                  <a:lnTo>
                    <a:pt x="2395" y="843"/>
                  </a:lnTo>
                  <a:lnTo>
                    <a:pt x="2388" y="837"/>
                  </a:lnTo>
                  <a:lnTo>
                    <a:pt x="2388" y="837"/>
                  </a:lnTo>
                  <a:lnTo>
                    <a:pt x="2360" y="805"/>
                  </a:lnTo>
                  <a:lnTo>
                    <a:pt x="2336" y="781"/>
                  </a:lnTo>
                  <a:lnTo>
                    <a:pt x="2313" y="761"/>
                  </a:lnTo>
                  <a:lnTo>
                    <a:pt x="2293" y="744"/>
                  </a:lnTo>
                  <a:lnTo>
                    <a:pt x="2276" y="731"/>
                  </a:lnTo>
                  <a:lnTo>
                    <a:pt x="2257" y="721"/>
                  </a:lnTo>
                  <a:lnTo>
                    <a:pt x="2242" y="716"/>
                  </a:lnTo>
                  <a:lnTo>
                    <a:pt x="2227" y="712"/>
                  </a:lnTo>
                  <a:lnTo>
                    <a:pt x="2201" y="706"/>
                  </a:lnTo>
                  <a:lnTo>
                    <a:pt x="2177" y="703"/>
                  </a:lnTo>
                  <a:lnTo>
                    <a:pt x="2166" y="701"/>
                  </a:lnTo>
                  <a:lnTo>
                    <a:pt x="2153" y="697"/>
                  </a:lnTo>
                  <a:lnTo>
                    <a:pt x="2139" y="691"/>
                  </a:lnTo>
                  <a:lnTo>
                    <a:pt x="2126" y="684"/>
                  </a:lnTo>
                  <a:lnTo>
                    <a:pt x="2126" y="684"/>
                  </a:lnTo>
                  <a:lnTo>
                    <a:pt x="2121" y="680"/>
                  </a:lnTo>
                  <a:lnTo>
                    <a:pt x="2113" y="678"/>
                  </a:lnTo>
                  <a:lnTo>
                    <a:pt x="2100" y="676"/>
                  </a:lnTo>
                  <a:lnTo>
                    <a:pt x="2087" y="675"/>
                  </a:lnTo>
                  <a:lnTo>
                    <a:pt x="2082" y="671"/>
                  </a:lnTo>
                  <a:lnTo>
                    <a:pt x="2076" y="667"/>
                  </a:lnTo>
                  <a:lnTo>
                    <a:pt x="2076" y="667"/>
                  </a:lnTo>
                  <a:lnTo>
                    <a:pt x="2067" y="662"/>
                  </a:lnTo>
                  <a:lnTo>
                    <a:pt x="2052" y="658"/>
                  </a:lnTo>
                  <a:lnTo>
                    <a:pt x="2037" y="650"/>
                  </a:lnTo>
                  <a:lnTo>
                    <a:pt x="2022" y="641"/>
                  </a:lnTo>
                  <a:lnTo>
                    <a:pt x="2014" y="637"/>
                  </a:lnTo>
                  <a:lnTo>
                    <a:pt x="2009" y="630"/>
                  </a:lnTo>
                  <a:lnTo>
                    <a:pt x="2005" y="622"/>
                  </a:lnTo>
                  <a:lnTo>
                    <a:pt x="2003" y="613"/>
                  </a:lnTo>
                  <a:lnTo>
                    <a:pt x="2001" y="604"/>
                  </a:lnTo>
                  <a:lnTo>
                    <a:pt x="2003" y="591"/>
                  </a:lnTo>
                  <a:lnTo>
                    <a:pt x="2007" y="577"/>
                  </a:lnTo>
                  <a:lnTo>
                    <a:pt x="2012" y="561"/>
                  </a:lnTo>
                  <a:lnTo>
                    <a:pt x="2012" y="561"/>
                  </a:lnTo>
                  <a:lnTo>
                    <a:pt x="2020" y="551"/>
                  </a:lnTo>
                  <a:lnTo>
                    <a:pt x="2025" y="546"/>
                  </a:lnTo>
                  <a:lnTo>
                    <a:pt x="2037" y="538"/>
                  </a:lnTo>
                  <a:lnTo>
                    <a:pt x="2040" y="534"/>
                  </a:lnTo>
                  <a:lnTo>
                    <a:pt x="2044" y="527"/>
                  </a:lnTo>
                  <a:lnTo>
                    <a:pt x="2048" y="514"/>
                  </a:lnTo>
                  <a:lnTo>
                    <a:pt x="2052" y="493"/>
                  </a:lnTo>
                  <a:lnTo>
                    <a:pt x="2052" y="493"/>
                  </a:lnTo>
                  <a:lnTo>
                    <a:pt x="2053" y="477"/>
                  </a:lnTo>
                  <a:lnTo>
                    <a:pt x="2059" y="465"/>
                  </a:lnTo>
                  <a:lnTo>
                    <a:pt x="2065" y="456"/>
                  </a:lnTo>
                  <a:lnTo>
                    <a:pt x="2068" y="449"/>
                  </a:lnTo>
                  <a:lnTo>
                    <a:pt x="2070" y="439"/>
                  </a:lnTo>
                  <a:lnTo>
                    <a:pt x="2067" y="426"/>
                  </a:lnTo>
                  <a:lnTo>
                    <a:pt x="2059" y="407"/>
                  </a:lnTo>
                  <a:lnTo>
                    <a:pt x="2046" y="379"/>
                  </a:lnTo>
                  <a:lnTo>
                    <a:pt x="2046" y="379"/>
                  </a:lnTo>
                  <a:lnTo>
                    <a:pt x="2040" y="366"/>
                  </a:lnTo>
                  <a:lnTo>
                    <a:pt x="2037" y="348"/>
                  </a:lnTo>
                  <a:lnTo>
                    <a:pt x="2031" y="305"/>
                  </a:lnTo>
                  <a:lnTo>
                    <a:pt x="2025" y="282"/>
                  </a:lnTo>
                  <a:lnTo>
                    <a:pt x="2022" y="273"/>
                  </a:lnTo>
                  <a:lnTo>
                    <a:pt x="2018" y="265"/>
                  </a:lnTo>
                  <a:lnTo>
                    <a:pt x="2014" y="258"/>
                  </a:lnTo>
                  <a:lnTo>
                    <a:pt x="2007" y="252"/>
                  </a:lnTo>
                  <a:lnTo>
                    <a:pt x="2001" y="249"/>
                  </a:lnTo>
                  <a:lnTo>
                    <a:pt x="1992" y="249"/>
                  </a:lnTo>
                  <a:lnTo>
                    <a:pt x="1992" y="249"/>
                  </a:lnTo>
                  <a:lnTo>
                    <a:pt x="1984" y="247"/>
                  </a:lnTo>
                  <a:lnTo>
                    <a:pt x="1979" y="243"/>
                  </a:lnTo>
                  <a:lnTo>
                    <a:pt x="1969" y="232"/>
                  </a:lnTo>
                  <a:lnTo>
                    <a:pt x="1964" y="226"/>
                  </a:lnTo>
                  <a:lnTo>
                    <a:pt x="1956" y="221"/>
                  </a:lnTo>
                  <a:lnTo>
                    <a:pt x="1945" y="217"/>
                  </a:lnTo>
                  <a:lnTo>
                    <a:pt x="1932" y="213"/>
                  </a:lnTo>
                  <a:lnTo>
                    <a:pt x="1932" y="213"/>
                  </a:lnTo>
                  <a:lnTo>
                    <a:pt x="1925" y="213"/>
                  </a:lnTo>
                  <a:lnTo>
                    <a:pt x="1919" y="209"/>
                  </a:lnTo>
                  <a:lnTo>
                    <a:pt x="1908" y="202"/>
                  </a:lnTo>
                  <a:lnTo>
                    <a:pt x="1898" y="191"/>
                  </a:lnTo>
                  <a:lnTo>
                    <a:pt x="1891" y="178"/>
                  </a:lnTo>
                  <a:lnTo>
                    <a:pt x="1876" y="148"/>
                  </a:lnTo>
                  <a:lnTo>
                    <a:pt x="1867" y="136"/>
                  </a:lnTo>
                  <a:lnTo>
                    <a:pt x="1857" y="127"/>
                  </a:lnTo>
                  <a:lnTo>
                    <a:pt x="1857" y="127"/>
                  </a:lnTo>
                  <a:lnTo>
                    <a:pt x="1844" y="114"/>
                  </a:lnTo>
                  <a:lnTo>
                    <a:pt x="1839" y="107"/>
                  </a:lnTo>
                  <a:lnTo>
                    <a:pt x="1839" y="101"/>
                  </a:lnTo>
                  <a:lnTo>
                    <a:pt x="1840" y="95"/>
                  </a:lnTo>
                  <a:lnTo>
                    <a:pt x="1842" y="94"/>
                  </a:lnTo>
                  <a:lnTo>
                    <a:pt x="1844" y="88"/>
                  </a:lnTo>
                  <a:lnTo>
                    <a:pt x="1840" y="84"/>
                  </a:lnTo>
                  <a:lnTo>
                    <a:pt x="1831" y="77"/>
                  </a:lnTo>
                  <a:lnTo>
                    <a:pt x="1831" y="77"/>
                  </a:lnTo>
                  <a:lnTo>
                    <a:pt x="1827" y="75"/>
                  </a:lnTo>
                  <a:lnTo>
                    <a:pt x="1825" y="71"/>
                  </a:lnTo>
                  <a:lnTo>
                    <a:pt x="1827" y="65"/>
                  </a:lnTo>
                  <a:lnTo>
                    <a:pt x="1829" y="62"/>
                  </a:lnTo>
                  <a:lnTo>
                    <a:pt x="1840" y="39"/>
                  </a:lnTo>
                  <a:lnTo>
                    <a:pt x="1842" y="34"/>
                  </a:lnTo>
                  <a:lnTo>
                    <a:pt x="1842" y="30"/>
                  </a:lnTo>
                  <a:lnTo>
                    <a:pt x="1840" y="26"/>
                  </a:lnTo>
                  <a:lnTo>
                    <a:pt x="1839" y="23"/>
                  </a:lnTo>
                  <a:lnTo>
                    <a:pt x="1833" y="21"/>
                  </a:lnTo>
                  <a:lnTo>
                    <a:pt x="1824" y="19"/>
                  </a:lnTo>
                  <a:lnTo>
                    <a:pt x="1812" y="19"/>
                  </a:lnTo>
                  <a:lnTo>
                    <a:pt x="1796" y="19"/>
                  </a:lnTo>
                  <a:lnTo>
                    <a:pt x="1796" y="19"/>
                  </a:lnTo>
                  <a:lnTo>
                    <a:pt x="1790" y="19"/>
                  </a:lnTo>
                  <a:lnTo>
                    <a:pt x="1781" y="13"/>
                  </a:lnTo>
                  <a:lnTo>
                    <a:pt x="1773" y="8"/>
                  </a:lnTo>
                  <a:lnTo>
                    <a:pt x="1764" y="4"/>
                  </a:lnTo>
                  <a:lnTo>
                    <a:pt x="1754" y="0"/>
                  </a:lnTo>
                  <a:lnTo>
                    <a:pt x="1751" y="2"/>
                  </a:lnTo>
                  <a:lnTo>
                    <a:pt x="1747" y="4"/>
                  </a:lnTo>
                  <a:lnTo>
                    <a:pt x="1743" y="6"/>
                  </a:lnTo>
                  <a:lnTo>
                    <a:pt x="1740" y="11"/>
                  </a:lnTo>
                  <a:lnTo>
                    <a:pt x="1738" y="19"/>
                  </a:lnTo>
                  <a:lnTo>
                    <a:pt x="1736" y="28"/>
                  </a:lnTo>
                  <a:lnTo>
                    <a:pt x="1736" y="28"/>
                  </a:lnTo>
                  <a:lnTo>
                    <a:pt x="1732" y="41"/>
                  </a:lnTo>
                  <a:lnTo>
                    <a:pt x="1726" y="52"/>
                  </a:lnTo>
                  <a:lnTo>
                    <a:pt x="1719" y="60"/>
                  </a:lnTo>
                  <a:lnTo>
                    <a:pt x="1711" y="67"/>
                  </a:lnTo>
                  <a:lnTo>
                    <a:pt x="1704" y="73"/>
                  </a:lnTo>
                  <a:lnTo>
                    <a:pt x="1695" y="77"/>
                  </a:lnTo>
                  <a:lnTo>
                    <a:pt x="1674" y="80"/>
                  </a:lnTo>
                  <a:lnTo>
                    <a:pt x="1654" y="82"/>
                  </a:lnTo>
                  <a:lnTo>
                    <a:pt x="1633" y="86"/>
                  </a:lnTo>
                  <a:lnTo>
                    <a:pt x="1624" y="88"/>
                  </a:lnTo>
                  <a:lnTo>
                    <a:pt x="1616" y="90"/>
                  </a:lnTo>
                  <a:lnTo>
                    <a:pt x="1609" y="95"/>
                  </a:lnTo>
                  <a:lnTo>
                    <a:pt x="1603" y="101"/>
                  </a:lnTo>
                  <a:lnTo>
                    <a:pt x="1603" y="101"/>
                  </a:lnTo>
                  <a:lnTo>
                    <a:pt x="1596" y="110"/>
                  </a:lnTo>
                  <a:lnTo>
                    <a:pt x="1592" y="123"/>
                  </a:lnTo>
                  <a:lnTo>
                    <a:pt x="1586" y="136"/>
                  </a:lnTo>
                  <a:lnTo>
                    <a:pt x="1584" y="151"/>
                  </a:lnTo>
                  <a:lnTo>
                    <a:pt x="1579" y="181"/>
                  </a:lnTo>
                  <a:lnTo>
                    <a:pt x="1575" y="209"/>
                  </a:lnTo>
                  <a:lnTo>
                    <a:pt x="1569" y="236"/>
                  </a:lnTo>
                  <a:lnTo>
                    <a:pt x="1566" y="245"/>
                  </a:lnTo>
                  <a:lnTo>
                    <a:pt x="1560" y="254"/>
                  </a:lnTo>
                  <a:lnTo>
                    <a:pt x="1553" y="260"/>
                  </a:lnTo>
                  <a:lnTo>
                    <a:pt x="1545" y="262"/>
                  </a:lnTo>
                  <a:lnTo>
                    <a:pt x="1534" y="262"/>
                  </a:lnTo>
                  <a:lnTo>
                    <a:pt x="1521" y="258"/>
                  </a:lnTo>
                  <a:lnTo>
                    <a:pt x="1521" y="258"/>
                  </a:lnTo>
                  <a:lnTo>
                    <a:pt x="1513" y="256"/>
                  </a:lnTo>
                  <a:lnTo>
                    <a:pt x="1506" y="258"/>
                  </a:lnTo>
                  <a:lnTo>
                    <a:pt x="1498" y="262"/>
                  </a:lnTo>
                  <a:lnTo>
                    <a:pt x="1493" y="265"/>
                  </a:lnTo>
                  <a:lnTo>
                    <a:pt x="1487" y="269"/>
                  </a:lnTo>
                  <a:lnTo>
                    <a:pt x="1482" y="269"/>
                  </a:lnTo>
                  <a:lnTo>
                    <a:pt x="1476" y="265"/>
                  </a:lnTo>
                  <a:lnTo>
                    <a:pt x="1470" y="258"/>
                  </a:lnTo>
                  <a:lnTo>
                    <a:pt x="1470" y="258"/>
                  </a:lnTo>
                  <a:lnTo>
                    <a:pt x="1467" y="252"/>
                  </a:lnTo>
                  <a:lnTo>
                    <a:pt x="1463" y="249"/>
                  </a:lnTo>
                  <a:lnTo>
                    <a:pt x="1459" y="245"/>
                  </a:lnTo>
                  <a:lnTo>
                    <a:pt x="1455" y="245"/>
                  </a:lnTo>
                  <a:lnTo>
                    <a:pt x="1446" y="243"/>
                  </a:lnTo>
                  <a:lnTo>
                    <a:pt x="1433" y="243"/>
                  </a:lnTo>
                  <a:lnTo>
                    <a:pt x="1418" y="239"/>
                  </a:lnTo>
                  <a:lnTo>
                    <a:pt x="1409" y="237"/>
                  </a:lnTo>
                  <a:lnTo>
                    <a:pt x="1399" y="232"/>
                  </a:lnTo>
                  <a:lnTo>
                    <a:pt x="1388" y="226"/>
                  </a:lnTo>
                  <a:lnTo>
                    <a:pt x="1375" y="217"/>
                  </a:lnTo>
                  <a:lnTo>
                    <a:pt x="1360" y="206"/>
                  </a:lnTo>
                  <a:lnTo>
                    <a:pt x="1345" y="193"/>
                  </a:lnTo>
                  <a:lnTo>
                    <a:pt x="1345" y="193"/>
                  </a:lnTo>
                  <a:lnTo>
                    <a:pt x="1336" y="185"/>
                  </a:lnTo>
                  <a:lnTo>
                    <a:pt x="1327" y="183"/>
                  </a:lnTo>
                  <a:lnTo>
                    <a:pt x="1319" y="185"/>
                  </a:lnTo>
                  <a:lnTo>
                    <a:pt x="1310" y="193"/>
                  </a:lnTo>
                  <a:lnTo>
                    <a:pt x="1300" y="202"/>
                  </a:lnTo>
                  <a:lnTo>
                    <a:pt x="1289" y="217"/>
                  </a:lnTo>
                  <a:lnTo>
                    <a:pt x="1257" y="256"/>
                  </a:lnTo>
                  <a:lnTo>
                    <a:pt x="1257" y="256"/>
                  </a:lnTo>
                  <a:lnTo>
                    <a:pt x="1214" y="312"/>
                  </a:lnTo>
                  <a:lnTo>
                    <a:pt x="1192" y="346"/>
                  </a:lnTo>
                  <a:lnTo>
                    <a:pt x="1184" y="359"/>
                  </a:lnTo>
                  <a:lnTo>
                    <a:pt x="1181" y="366"/>
                  </a:lnTo>
                  <a:lnTo>
                    <a:pt x="1181" y="366"/>
                  </a:lnTo>
                  <a:lnTo>
                    <a:pt x="1183" y="385"/>
                  </a:lnTo>
                  <a:lnTo>
                    <a:pt x="1186" y="398"/>
                  </a:lnTo>
                  <a:lnTo>
                    <a:pt x="1190" y="409"/>
                  </a:lnTo>
                  <a:lnTo>
                    <a:pt x="1196" y="419"/>
                  </a:lnTo>
                  <a:lnTo>
                    <a:pt x="1199" y="426"/>
                  </a:lnTo>
                  <a:lnTo>
                    <a:pt x="1199" y="432"/>
                  </a:lnTo>
                  <a:lnTo>
                    <a:pt x="1199" y="435"/>
                  </a:lnTo>
                  <a:lnTo>
                    <a:pt x="1192" y="437"/>
                  </a:lnTo>
                  <a:lnTo>
                    <a:pt x="1192" y="437"/>
                  </a:lnTo>
                  <a:lnTo>
                    <a:pt x="1186" y="439"/>
                  </a:lnTo>
                  <a:lnTo>
                    <a:pt x="1179" y="439"/>
                  </a:lnTo>
                  <a:lnTo>
                    <a:pt x="1173" y="437"/>
                  </a:lnTo>
                  <a:lnTo>
                    <a:pt x="1166" y="435"/>
                  </a:lnTo>
                  <a:lnTo>
                    <a:pt x="1155" y="428"/>
                  </a:lnTo>
                  <a:lnTo>
                    <a:pt x="1145" y="419"/>
                  </a:lnTo>
                  <a:lnTo>
                    <a:pt x="1130" y="402"/>
                  </a:lnTo>
                  <a:lnTo>
                    <a:pt x="1125" y="396"/>
                  </a:lnTo>
                  <a:lnTo>
                    <a:pt x="1121" y="392"/>
                  </a:lnTo>
                  <a:lnTo>
                    <a:pt x="1121" y="392"/>
                  </a:lnTo>
                  <a:lnTo>
                    <a:pt x="1102" y="396"/>
                  </a:lnTo>
                  <a:lnTo>
                    <a:pt x="1080" y="400"/>
                  </a:lnTo>
                  <a:lnTo>
                    <a:pt x="1065" y="402"/>
                  </a:lnTo>
                  <a:lnTo>
                    <a:pt x="1046" y="402"/>
                  </a:lnTo>
                  <a:lnTo>
                    <a:pt x="1026" y="400"/>
                  </a:lnTo>
                  <a:lnTo>
                    <a:pt x="1001" y="396"/>
                  </a:lnTo>
                  <a:lnTo>
                    <a:pt x="1001" y="396"/>
                  </a:lnTo>
                  <a:lnTo>
                    <a:pt x="985" y="394"/>
                  </a:lnTo>
                  <a:lnTo>
                    <a:pt x="956" y="391"/>
                  </a:lnTo>
                  <a:lnTo>
                    <a:pt x="930" y="391"/>
                  </a:lnTo>
                  <a:lnTo>
                    <a:pt x="921" y="392"/>
                  </a:lnTo>
                  <a:lnTo>
                    <a:pt x="919" y="394"/>
                  </a:lnTo>
                  <a:lnTo>
                    <a:pt x="917" y="394"/>
                  </a:lnTo>
                  <a:lnTo>
                    <a:pt x="917" y="394"/>
                  </a:lnTo>
                  <a:lnTo>
                    <a:pt x="917" y="402"/>
                  </a:lnTo>
                  <a:lnTo>
                    <a:pt x="919" y="406"/>
                  </a:lnTo>
                  <a:lnTo>
                    <a:pt x="921" y="411"/>
                  </a:lnTo>
                  <a:lnTo>
                    <a:pt x="923" y="413"/>
                  </a:lnTo>
                  <a:lnTo>
                    <a:pt x="930" y="420"/>
                  </a:lnTo>
                  <a:lnTo>
                    <a:pt x="938" y="426"/>
                  </a:lnTo>
                  <a:lnTo>
                    <a:pt x="945" y="434"/>
                  </a:lnTo>
                  <a:lnTo>
                    <a:pt x="949" y="437"/>
                  </a:lnTo>
                  <a:lnTo>
                    <a:pt x="951" y="445"/>
                  </a:lnTo>
                  <a:lnTo>
                    <a:pt x="951" y="450"/>
                  </a:lnTo>
                  <a:lnTo>
                    <a:pt x="949" y="460"/>
                  </a:lnTo>
                  <a:lnTo>
                    <a:pt x="947" y="469"/>
                  </a:lnTo>
                  <a:lnTo>
                    <a:pt x="943" y="480"/>
                  </a:lnTo>
                  <a:lnTo>
                    <a:pt x="943" y="480"/>
                  </a:lnTo>
                  <a:lnTo>
                    <a:pt x="940" y="492"/>
                  </a:lnTo>
                  <a:lnTo>
                    <a:pt x="940" y="505"/>
                  </a:lnTo>
                  <a:lnTo>
                    <a:pt x="942" y="531"/>
                  </a:lnTo>
                  <a:lnTo>
                    <a:pt x="942" y="542"/>
                  </a:lnTo>
                  <a:lnTo>
                    <a:pt x="942" y="555"/>
                  </a:lnTo>
                  <a:lnTo>
                    <a:pt x="942" y="566"/>
                  </a:lnTo>
                  <a:lnTo>
                    <a:pt x="936" y="577"/>
                  </a:lnTo>
                  <a:lnTo>
                    <a:pt x="936" y="577"/>
                  </a:lnTo>
                  <a:lnTo>
                    <a:pt x="936" y="581"/>
                  </a:lnTo>
                  <a:lnTo>
                    <a:pt x="936" y="587"/>
                  </a:lnTo>
                  <a:lnTo>
                    <a:pt x="936" y="600"/>
                  </a:lnTo>
                  <a:lnTo>
                    <a:pt x="942" y="630"/>
                  </a:lnTo>
                  <a:lnTo>
                    <a:pt x="943" y="645"/>
                  </a:lnTo>
                  <a:lnTo>
                    <a:pt x="942" y="650"/>
                  </a:lnTo>
                  <a:lnTo>
                    <a:pt x="940" y="656"/>
                  </a:lnTo>
                  <a:lnTo>
                    <a:pt x="936" y="660"/>
                  </a:lnTo>
                  <a:lnTo>
                    <a:pt x="930" y="663"/>
                  </a:lnTo>
                  <a:lnTo>
                    <a:pt x="923" y="663"/>
                  </a:lnTo>
                  <a:lnTo>
                    <a:pt x="914" y="663"/>
                  </a:lnTo>
                  <a:lnTo>
                    <a:pt x="914" y="663"/>
                  </a:lnTo>
                  <a:lnTo>
                    <a:pt x="906" y="662"/>
                  </a:lnTo>
                  <a:lnTo>
                    <a:pt x="899" y="663"/>
                  </a:lnTo>
                  <a:lnTo>
                    <a:pt x="895" y="667"/>
                  </a:lnTo>
                  <a:lnTo>
                    <a:pt x="891" y="671"/>
                  </a:lnTo>
                  <a:lnTo>
                    <a:pt x="891" y="676"/>
                  </a:lnTo>
                  <a:lnTo>
                    <a:pt x="891" y="680"/>
                  </a:lnTo>
                  <a:lnTo>
                    <a:pt x="893" y="686"/>
                  </a:lnTo>
                  <a:lnTo>
                    <a:pt x="897" y="690"/>
                  </a:lnTo>
                  <a:lnTo>
                    <a:pt x="897" y="690"/>
                  </a:lnTo>
                  <a:lnTo>
                    <a:pt x="899" y="693"/>
                  </a:lnTo>
                  <a:lnTo>
                    <a:pt x="895" y="695"/>
                  </a:lnTo>
                  <a:lnTo>
                    <a:pt x="878" y="699"/>
                  </a:lnTo>
                  <a:lnTo>
                    <a:pt x="869" y="703"/>
                  </a:lnTo>
                  <a:lnTo>
                    <a:pt x="859" y="710"/>
                  </a:lnTo>
                  <a:lnTo>
                    <a:pt x="856" y="716"/>
                  </a:lnTo>
                  <a:lnTo>
                    <a:pt x="852" y="723"/>
                  </a:lnTo>
                  <a:lnTo>
                    <a:pt x="850" y="731"/>
                  </a:lnTo>
                  <a:lnTo>
                    <a:pt x="850" y="740"/>
                  </a:lnTo>
                  <a:lnTo>
                    <a:pt x="850" y="740"/>
                  </a:lnTo>
                  <a:lnTo>
                    <a:pt x="848" y="757"/>
                  </a:lnTo>
                  <a:lnTo>
                    <a:pt x="844" y="770"/>
                  </a:lnTo>
                  <a:lnTo>
                    <a:pt x="839" y="777"/>
                  </a:lnTo>
                  <a:lnTo>
                    <a:pt x="831" y="783"/>
                  </a:lnTo>
                  <a:lnTo>
                    <a:pt x="822" y="785"/>
                  </a:lnTo>
                  <a:lnTo>
                    <a:pt x="811" y="789"/>
                  </a:lnTo>
                  <a:lnTo>
                    <a:pt x="798" y="792"/>
                  </a:lnTo>
                  <a:lnTo>
                    <a:pt x="783" y="798"/>
                  </a:lnTo>
                  <a:lnTo>
                    <a:pt x="783" y="798"/>
                  </a:lnTo>
                  <a:lnTo>
                    <a:pt x="760" y="802"/>
                  </a:lnTo>
                  <a:lnTo>
                    <a:pt x="723" y="809"/>
                  </a:lnTo>
                  <a:lnTo>
                    <a:pt x="680" y="818"/>
                  </a:lnTo>
                  <a:lnTo>
                    <a:pt x="646" y="826"/>
                  </a:lnTo>
                  <a:lnTo>
                    <a:pt x="646" y="826"/>
                  </a:lnTo>
                  <a:lnTo>
                    <a:pt x="631" y="828"/>
                  </a:lnTo>
                  <a:lnTo>
                    <a:pt x="620" y="828"/>
                  </a:lnTo>
                  <a:lnTo>
                    <a:pt x="611" y="826"/>
                  </a:lnTo>
                  <a:lnTo>
                    <a:pt x="605" y="822"/>
                  </a:lnTo>
                  <a:lnTo>
                    <a:pt x="601" y="818"/>
                  </a:lnTo>
                  <a:lnTo>
                    <a:pt x="598" y="817"/>
                  </a:lnTo>
                  <a:lnTo>
                    <a:pt x="596" y="818"/>
                  </a:lnTo>
                  <a:lnTo>
                    <a:pt x="592" y="826"/>
                  </a:lnTo>
                  <a:lnTo>
                    <a:pt x="592" y="826"/>
                  </a:lnTo>
                  <a:lnTo>
                    <a:pt x="588" y="835"/>
                  </a:lnTo>
                  <a:lnTo>
                    <a:pt x="583" y="839"/>
                  </a:lnTo>
                  <a:lnTo>
                    <a:pt x="577" y="841"/>
                  </a:lnTo>
                  <a:lnTo>
                    <a:pt x="572" y="841"/>
                  </a:lnTo>
                  <a:lnTo>
                    <a:pt x="558" y="841"/>
                  </a:lnTo>
                  <a:lnTo>
                    <a:pt x="553" y="841"/>
                  </a:lnTo>
                  <a:lnTo>
                    <a:pt x="547" y="845"/>
                  </a:lnTo>
                  <a:lnTo>
                    <a:pt x="547" y="845"/>
                  </a:lnTo>
                  <a:lnTo>
                    <a:pt x="540" y="850"/>
                  </a:lnTo>
                  <a:lnTo>
                    <a:pt x="532" y="854"/>
                  </a:lnTo>
                  <a:lnTo>
                    <a:pt x="525" y="854"/>
                  </a:lnTo>
                  <a:lnTo>
                    <a:pt x="517" y="852"/>
                  </a:lnTo>
                  <a:lnTo>
                    <a:pt x="502" y="845"/>
                  </a:lnTo>
                  <a:lnTo>
                    <a:pt x="486" y="835"/>
                  </a:lnTo>
                  <a:lnTo>
                    <a:pt x="469" y="828"/>
                  </a:lnTo>
                  <a:lnTo>
                    <a:pt x="461" y="824"/>
                  </a:lnTo>
                  <a:lnTo>
                    <a:pt x="452" y="824"/>
                  </a:lnTo>
                  <a:lnTo>
                    <a:pt x="443" y="824"/>
                  </a:lnTo>
                  <a:lnTo>
                    <a:pt x="435" y="828"/>
                  </a:lnTo>
                  <a:lnTo>
                    <a:pt x="426" y="835"/>
                  </a:lnTo>
                  <a:lnTo>
                    <a:pt x="416" y="845"/>
                  </a:lnTo>
                  <a:lnTo>
                    <a:pt x="416" y="845"/>
                  </a:lnTo>
                  <a:lnTo>
                    <a:pt x="394" y="871"/>
                  </a:lnTo>
                  <a:lnTo>
                    <a:pt x="377" y="886"/>
                  </a:lnTo>
                  <a:lnTo>
                    <a:pt x="372" y="889"/>
                  </a:lnTo>
                  <a:lnTo>
                    <a:pt x="366" y="891"/>
                  </a:lnTo>
                  <a:lnTo>
                    <a:pt x="360" y="891"/>
                  </a:lnTo>
                  <a:lnTo>
                    <a:pt x="357" y="891"/>
                  </a:lnTo>
                  <a:lnTo>
                    <a:pt x="349" y="888"/>
                  </a:lnTo>
                  <a:lnTo>
                    <a:pt x="340" y="884"/>
                  </a:lnTo>
                  <a:lnTo>
                    <a:pt x="334" y="882"/>
                  </a:lnTo>
                  <a:lnTo>
                    <a:pt x="329" y="880"/>
                  </a:lnTo>
                  <a:lnTo>
                    <a:pt x="321" y="882"/>
                  </a:lnTo>
                  <a:lnTo>
                    <a:pt x="314" y="884"/>
                  </a:lnTo>
                  <a:lnTo>
                    <a:pt x="314" y="884"/>
                  </a:lnTo>
                  <a:lnTo>
                    <a:pt x="306" y="886"/>
                  </a:lnTo>
                  <a:lnTo>
                    <a:pt x="301" y="884"/>
                  </a:lnTo>
                  <a:lnTo>
                    <a:pt x="297" y="878"/>
                  </a:lnTo>
                  <a:lnTo>
                    <a:pt x="295" y="873"/>
                  </a:lnTo>
                  <a:lnTo>
                    <a:pt x="295" y="865"/>
                  </a:lnTo>
                  <a:lnTo>
                    <a:pt x="295" y="858"/>
                  </a:lnTo>
                  <a:lnTo>
                    <a:pt x="299" y="847"/>
                  </a:lnTo>
                  <a:lnTo>
                    <a:pt x="299" y="847"/>
                  </a:lnTo>
                  <a:lnTo>
                    <a:pt x="302" y="839"/>
                  </a:lnTo>
                  <a:lnTo>
                    <a:pt x="302" y="835"/>
                  </a:lnTo>
                  <a:lnTo>
                    <a:pt x="302" y="832"/>
                  </a:lnTo>
                  <a:lnTo>
                    <a:pt x="301" y="832"/>
                  </a:lnTo>
                  <a:lnTo>
                    <a:pt x="291" y="832"/>
                  </a:lnTo>
                  <a:lnTo>
                    <a:pt x="280" y="833"/>
                  </a:lnTo>
                  <a:lnTo>
                    <a:pt x="265" y="837"/>
                  </a:lnTo>
                  <a:lnTo>
                    <a:pt x="250" y="839"/>
                  </a:lnTo>
                  <a:lnTo>
                    <a:pt x="243" y="839"/>
                  </a:lnTo>
                  <a:lnTo>
                    <a:pt x="237" y="837"/>
                  </a:lnTo>
                  <a:lnTo>
                    <a:pt x="231" y="833"/>
                  </a:lnTo>
                  <a:lnTo>
                    <a:pt x="226" y="828"/>
                  </a:lnTo>
                  <a:lnTo>
                    <a:pt x="226" y="828"/>
                  </a:lnTo>
                  <a:lnTo>
                    <a:pt x="220" y="820"/>
                  </a:lnTo>
                  <a:lnTo>
                    <a:pt x="216" y="818"/>
                  </a:lnTo>
                  <a:lnTo>
                    <a:pt x="211" y="820"/>
                  </a:lnTo>
                  <a:lnTo>
                    <a:pt x="207" y="826"/>
                  </a:lnTo>
                  <a:lnTo>
                    <a:pt x="200" y="832"/>
                  </a:lnTo>
                  <a:lnTo>
                    <a:pt x="188" y="839"/>
                  </a:lnTo>
                  <a:lnTo>
                    <a:pt x="173" y="847"/>
                  </a:lnTo>
                  <a:lnTo>
                    <a:pt x="153" y="854"/>
                  </a:lnTo>
                  <a:lnTo>
                    <a:pt x="153" y="854"/>
                  </a:lnTo>
                  <a:lnTo>
                    <a:pt x="147" y="854"/>
                  </a:lnTo>
                  <a:lnTo>
                    <a:pt x="140" y="850"/>
                  </a:lnTo>
                  <a:lnTo>
                    <a:pt x="130" y="847"/>
                  </a:lnTo>
                  <a:lnTo>
                    <a:pt x="119" y="845"/>
                  </a:lnTo>
                  <a:lnTo>
                    <a:pt x="114" y="845"/>
                  </a:lnTo>
                  <a:lnTo>
                    <a:pt x="106" y="847"/>
                  </a:lnTo>
                  <a:lnTo>
                    <a:pt x="101" y="848"/>
                  </a:lnTo>
                  <a:lnTo>
                    <a:pt x="93" y="854"/>
                  </a:lnTo>
                  <a:lnTo>
                    <a:pt x="87" y="860"/>
                  </a:lnTo>
                  <a:lnTo>
                    <a:pt x="80" y="869"/>
                  </a:lnTo>
                  <a:lnTo>
                    <a:pt x="73" y="880"/>
                  </a:lnTo>
                  <a:lnTo>
                    <a:pt x="67" y="895"/>
                  </a:lnTo>
                  <a:lnTo>
                    <a:pt x="67" y="895"/>
                  </a:lnTo>
                  <a:lnTo>
                    <a:pt x="63" y="901"/>
                  </a:lnTo>
                  <a:lnTo>
                    <a:pt x="59" y="904"/>
                  </a:lnTo>
                  <a:lnTo>
                    <a:pt x="56" y="908"/>
                  </a:lnTo>
                  <a:lnTo>
                    <a:pt x="52" y="910"/>
                  </a:lnTo>
                  <a:lnTo>
                    <a:pt x="43" y="910"/>
                  </a:lnTo>
                  <a:lnTo>
                    <a:pt x="33" y="910"/>
                  </a:lnTo>
                  <a:lnTo>
                    <a:pt x="26" y="912"/>
                  </a:lnTo>
                  <a:lnTo>
                    <a:pt x="24" y="914"/>
                  </a:lnTo>
                  <a:lnTo>
                    <a:pt x="20" y="916"/>
                  </a:lnTo>
                  <a:lnTo>
                    <a:pt x="18" y="919"/>
                  </a:lnTo>
                  <a:lnTo>
                    <a:pt x="16" y="923"/>
                  </a:lnTo>
                  <a:lnTo>
                    <a:pt x="16" y="940"/>
                  </a:lnTo>
                  <a:lnTo>
                    <a:pt x="16" y="940"/>
                  </a:lnTo>
                  <a:lnTo>
                    <a:pt x="18" y="947"/>
                  </a:lnTo>
                  <a:lnTo>
                    <a:pt x="20" y="955"/>
                  </a:lnTo>
                  <a:lnTo>
                    <a:pt x="24" y="966"/>
                  </a:lnTo>
                  <a:lnTo>
                    <a:pt x="24" y="970"/>
                  </a:lnTo>
                  <a:lnTo>
                    <a:pt x="22" y="975"/>
                  </a:lnTo>
                  <a:lnTo>
                    <a:pt x="18" y="981"/>
                  </a:lnTo>
                  <a:lnTo>
                    <a:pt x="13" y="989"/>
                  </a:lnTo>
                  <a:lnTo>
                    <a:pt x="13" y="989"/>
                  </a:lnTo>
                  <a:lnTo>
                    <a:pt x="5" y="996"/>
                  </a:lnTo>
                  <a:lnTo>
                    <a:pt x="3" y="1005"/>
                  </a:lnTo>
                  <a:lnTo>
                    <a:pt x="3" y="1017"/>
                  </a:lnTo>
                  <a:lnTo>
                    <a:pt x="7" y="1026"/>
                  </a:lnTo>
                  <a:lnTo>
                    <a:pt x="13" y="1033"/>
                  </a:lnTo>
                  <a:lnTo>
                    <a:pt x="20" y="1039"/>
                  </a:lnTo>
                  <a:lnTo>
                    <a:pt x="30" y="1043"/>
                  </a:lnTo>
                  <a:lnTo>
                    <a:pt x="33" y="1043"/>
                  </a:lnTo>
                  <a:lnTo>
                    <a:pt x="39" y="1041"/>
                  </a:lnTo>
                  <a:lnTo>
                    <a:pt x="39" y="1041"/>
                  </a:lnTo>
                  <a:lnTo>
                    <a:pt x="48" y="1041"/>
                  </a:lnTo>
                  <a:lnTo>
                    <a:pt x="59" y="1043"/>
                  </a:lnTo>
                  <a:lnTo>
                    <a:pt x="73" y="1046"/>
                  </a:lnTo>
                  <a:lnTo>
                    <a:pt x="84" y="1054"/>
                  </a:lnTo>
                  <a:lnTo>
                    <a:pt x="95" y="1063"/>
                  </a:lnTo>
                  <a:lnTo>
                    <a:pt x="104" y="1073"/>
                  </a:lnTo>
                  <a:lnTo>
                    <a:pt x="106" y="1076"/>
                  </a:lnTo>
                  <a:lnTo>
                    <a:pt x="108" y="1082"/>
                  </a:lnTo>
                  <a:lnTo>
                    <a:pt x="108" y="1088"/>
                  </a:lnTo>
                  <a:lnTo>
                    <a:pt x="106" y="1091"/>
                  </a:lnTo>
                  <a:lnTo>
                    <a:pt x="106" y="1091"/>
                  </a:lnTo>
                  <a:lnTo>
                    <a:pt x="99" y="1114"/>
                  </a:lnTo>
                  <a:lnTo>
                    <a:pt x="93" y="1132"/>
                  </a:lnTo>
                  <a:lnTo>
                    <a:pt x="91" y="1147"/>
                  </a:lnTo>
                  <a:lnTo>
                    <a:pt x="91" y="1159"/>
                  </a:lnTo>
                  <a:lnTo>
                    <a:pt x="91" y="1166"/>
                  </a:lnTo>
                  <a:lnTo>
                    <a:pt x="89" y="1175"/>
                  </a:lnTo>
                  <a:lnTo>
                    <a:pt x="87" y="1183"/>
                  </a:lnTo>
                  <a:lnTo>
                    <a:pt x="82" y="1192"/>
                  </a:lnTo>
                  <a:lnTo>
                    <a:pt x="82" y="1192"/>
                  </a:lnTo>
                  <a:lnTo>
                    <a:pt x="78" y="1198"/>
                  </a:lnTo>
                  <a:lnTo>
                    <a:pt x="76" y="1202"/>
                  </a:lnTo>
                  <a:lnTo>
                    <a:pt x="78" y="1213"/>
                  </a:lnTo>
                  <a:lnTo>
                    <a:pt x="82" y="1224"/>
                  </a:lnTo>
                  <a:lnTo>
                    <a:pt x="86" y="1235"/>
                  </a:lnTo>
                  <a:lnTo>
                    <a:pt x="87" y="1245"/>
                  </a:lnTo>
                  <a:lnTo>
                    <a:pt x="87" y="1248"/>
                  </a:lnTo>
                  <a:lnTo>
                    <a:pt x="84" y="1250"/>
                  </a:lnTo>
                  <a:lnTo>
                    <a:pt x="80" y="1254"/>
                  </a:lnTo>
                  <a:lnTo>
                    <a:pt x="74" y="1254"/>
                  </a:lnTo>
                  <a:lnTo>
                    <a:pt x="54" y="1254"/>
                  </a:lnTo>
                  <a:lnTo>
                    <a:pt x="54" y="1254"/>
                  </a:lnTo>
                  <a:lnTo>
                    <a:pt x="48" y="1252"/>
                  </a:lnTo>
                  <a:lnTo>
                    <a:pt x="39" y="1248"/>
                  </a:lnTo>
                  <a:lnTo>
                    <a:pt x="18" y="1239"/>
                  </a:lnTo>
                  <a:lnTo>
                    <a:pt x="9" y="1237"/>
                  </a:lnTo>
                  <a:lnTo>
                    <a:pt x="5" y="1237"/>
                  </a:lnTo>
                  <a:lnTo>
                    <a:pt x="3" y="1239"/>
                  </a:lnTo>
                  <a:lnTo>
                    <a:pt x="0" y="1241"/>
                  </a:lnTo>
                  <a:lnTo>
                    <a:pt x="0" y="1246"/>
                  </a:lnTo>
                  <a:lnTo>
                    <a:pt x="0" y="1252"/>
                  </a:lnTo>
                  <a:lnTo>
                    <a:pt x="2" y="1259"/>
                  </a:lnTo>
                  <a:lnTo>
                    <a:pt x="2" y="1259"/>
                  </a:lnTo>
                  <a:lnTo>
                    <a:pt x="3" y="1263"/>
                  </a:lnTo>
                  <a:lnTo>
                    <a:pt x="7" y="1265"/>
                  </a:lnTo>
                  <a:lnTo>
                    <a:pt x="16" y="1267"/>
                  </a:lnTo>
                  <a:lnTo>
                    <a:pt x="26" y="1269"/>
                  </a:lnTo>
                  <a:lnTo>
                    <a:pt x="31" y="1271"/>
                  </a:lnTo>
                  <a:lnTo>
                    <a:pt x="35" y="1274"/>
                  </a:lnTo>
                  <a:lnTo>
                    <a:pt x="35" y="1274"/>
                  </a:lnTo>
                  <a:lnTo>
                    <a:pt x="39" y="1282"/>
                  </a:lnTo>
                  <a:lnTo>
                    <a:pt x="46" y="1287"/>
                  </a:lnTo>
                  <a:lnTo>
                    <a:pt x="61" y="1297"/>
                  </a:lnTo>
                  <a:lnTo>
                    <a:pt x="71" y="1302"/>
                  </a:lnTo>
                  <a:lnTo>
                    <a:pt x="78" y="1310"/>
                  </a:lnTo>
                  <a:lnTo>
                    <a:pt x="87" y="1321"/>
                  </a:lnTo>
                  <a:lnTo>
                    <a:pt x="97" y="1336"/>
                  </a:lnTo>
                  <a:lnTo>
                    <a:pt x="97" y="1336"/>
                  </a:lnTo>
                  <a:lnTo>
                    <a:pt x="102" y="1342"/>
                  </a:lnTo>
                  <a:lnTo>
                    <a:pt x="108" y="1345"/>
                  </a:lnTo>
                  <a:lnTo>
                    <a:pt x="119" y="1353"/>
                  </a:lnTo>
                  <a:lnTo>
                    <a:pt x="125" y="1357"/>
                  </a:lnTo>
                  <a:lnTo>
                    <a:pt x="130" y="1366"/>
                  </a:lnTo>
                  <a:lnTo>
                    <a:pt x="134" y="1377"/>
                  </a:lnTo>
                  <a:lnTo>
                    <a:pt x="136" y="1392"/>
                  </a:lnTo>
                  <a:lnTo>
                    <a:pt x="136" y="1392"/>
                  </a:lnTo>
                  <a:lnTo>
                    <a:pt x="134" y="1403"/>
                  </a:lnTo>
                  <a:lnTo>
                    <a:pt x="130" y="1413"/>
                  </a:lnTo>
                  <a:lnTo>
                    <a:pt x="119" y="1430"/>
                  </a:lnTo>
                  <a:lnTo>
                    <a:pt x="116" y="1437"/>
                  </a:lnTo>
                  <a:lnTo>
                    <a:pt x="114" y="1446"/>
                  </a:lnTo>
                  <a:lnTo>
                    <a:pt x="114" y="1456"/>
                  </a:lnTo>
                  <a:lnTo>
                    <a:pt x="119" y="1465"/>
                  </a:lnTo>
                  <a:lnTo>
                    <a:pt x="119" y="1465"/>
                  </a:lnTo>
                  <a:lnTo>
                    <a:pt x="125" y="1476"/>
                  </a:lnTo>
                  <a:lnTo>
                    <a:pt x="125" y="1482"/>
                  </a:lnTo>
                  <a:lnTo>
                    <a:pt x="125" y="1487"/>
                  </a:lnTo>
                  <a:lnTo>
                    <a:pt x="123" y="1489"/>
                  </a:lnTo>
                  <a:lnTo>
                    <a:pt x="123" y="1491"/>
                  </a:lnTo>
                  <a:lnTo>
                    <a:pt x="129" y="1493"/>
                  </a:lnTo>
                  <a:lnTo>
                    <a:pt x="164" y="1497"/>
                  </a:lnTo>
                  <a:lnTo>
                    <a:pt x="164" y="1497"/>
                  </a:lnTo>
                  <a:lnTo>
                    <a:pt x="170" y="1499"/>
                  </a:lnTo>
                  <a:lnTo>
                    <a:pt x="172" y="1501"/>
                  </a:lnTo>
                  <a:lnTo>
                    <a:pt x="166" y="1506"/>
                  </a:lnTo>
                  <a:lnTo>
                    <a:pt x="164" y="1512"/>
                  </a:lnTo>
                  <a:lnTo>
                    <a:pt x="166" y="1519"/>
                  </a:lnTo>
                  <a:lnTo>
                    <a:pt x="173" y="1530"/>
                  </a:lnTo>
                  <a:lnTo>
                    <a:pt x="188" y="1543"/>
                  </a:lnTo>
                  <a:lnTo>
                    <a:pt x="188" y="1543"/>
                  </a:lnTo>
                  <a:lnTo>
                    <a:pt x="213" y="1562"/>
                  </a:lnTo>
                  <a:lnTo>
                    <a:pt x="237" y="1581"/>
                  </a:lnTo>
                  <a:lnTo>
                    <a:pt x="250" y="1588"/>
                  </a:lnTo>
                  <a:lnTo>
                    <a:pt x="263" y="1594"/>
                  </a:lnTo>
                  <a:lnTo>
                    <a:pt x="278" y="1600"/>
                  </a:lnTo>
                  <a:lnTo>
                    <a:pt x="295" y="1603"/>
                  </a:lnTo>
                  <a:lnTo>
                    <a:pt x="295" y="1603"/>
                  </a:lnTo>
                  <a:lnTo>
                    <a:pt x="306" y="1607"/>
                  </a:lnTo>
                  <a:lnTo>
                    <a:pt x="308" y="1609"/>
                  </a:lnTo>
                  <a:lnTo>
                    <a:pt x="310" y="1611"/>
                  </a:lnTo>
                  <a:lnTo>
                    <a:pt x="308" y="1616"/>
                  </a:lnTo>
                  <a:lnTo>
                    <a:pt x="304" y="1620"/>
                  </a:lnTo>
                  <a:lnTo>
                    <a:pt x="297" y="1626"/>
                  </a:lnTo>
                  <a:lnTo>
                    <a:pt x="291" y="1633"/>
                  </a:lnTo>
                  <a:lnTo>
                    <a:pt x="289" y="1639"/>
                  </a:lnTo>
                  <a:lnTo>
                    <a:pt x="289" y="1643"/>
                  </a:lnTo>
                  <a:lnTo>
                    <a:pt x="291" y="1644"/>
                  </a:lnTo>
                  <a:lnTo>
                    <a:pt x="291" y="1644"/>
                  </a:lnTo>
                  <a:lnTo>
                    <a:pt x="297" y="1652"/>
                  </a:lnTo>
                  <a:lnTo>
                    <a:pt x="299" y="1659"/>
                  </a:lnTo>
                  <a:lnTo>
                    <a:pt x="301" y="1667"/>
                  </a:lnTo>
                  <a:lnTo>
                    <a:pt x="301" y="1674"/>
                  </a:lnTo>
                  <a:lnTo>
                    <a:pt x="299" y="1687"/>
                  </a:lnTo>
                  <a:lnTo>
                    <a:pt x="295" y="1700"/>
                  </a:lnTo>
                  <a:lnTo>
                    <a:pt x="293" y="1712"/>
                  </a:lnTo>
                  <a:lnTo>
                    <a:pt x="293" y="1717"/>
                  </a:lnTo>
                  <a:lnTo>
                    <a:pt x="293" y="1723"/>
                  </a:lnTo>
                  <a:lnTo>
                    <a:pt x="295" y="1728"/>
                  </a:lnTo>
                  <a:lnTo>
                    <a:pt x="299" y="1732"/>
                  </a:lnTo>
                  <a:lnTo>
                    <a:pt x="304" y="1736"/>
                  </a:lnTo>
                  <a:lnTo>
                    <a:pt x="312" y="1740"/>
                  </a:lnTo>
                  <a:lnTo>
                    <a:pt x="312" y="1740"/>
                  </a:lnTo>
                  <a:lnTo>
                    <a:pt x="323" y="1749"/>
                  </a:lnTo>
                  <a:lnTo>
                    <a:pt x="336" y="1762"/>
                  </a:lnTo>
                  <a:lnTo>
                    <a:pt x="342" y="1771"/>
                  </a:lnTo>
                  <a:lnTo>
                    <a:pt x="345" y="1781"/>
                  </a:lnTo>
                  <a:lnTo>
                    <a:pt x="347" y="1790"/>
                  </a:lnTo>
                  <a:lnTo>
                    <a:pt x="347" y="1798"/>
                  </a:lnTo>
                  <a:lnTo>
                    <a:pt x="347" y="1798"/>
                  </a:lnTo>
                  <a:lnTo>
                    <a:pt x="441" y="1801"/>
                  </a:lnTo>
                  <a:lnTo>
                    <a:pt x="459" y="1801"/>
                  </a:lnTo>
                  <a:lnTo>
                    <a:pt x="465" y="1801"/>
                  </a:lnTo>
                  <a:lnTo>
                    <a:pt x="469" y="1799"/>
                  </a:lnTo>
                  <a:lnTo>
                    <a:pt x="471" y="1798"/>
                  </a:lnTo>
                  <a:lnTo>
                    <a:pt x="471" y="1794"/>
                  </a:lnTo>
                  <a:lnTo>
                    <a:pt x="472" y="1785"/>
                  </a:lnTo>
                  <a:lnTo>
                    <a:pt x="476" y="1777"/>
                  </a:lnTo>
                  <a:lnTo>
                    <a:pt x="480" y="1770"/>
                  </a:lnTo>
                  <a:lnTo>
                    <a:pt x="486" y="1760"/>
                  </a:lnTo>
                  <a:lnTo>
                    <a:pt x="495" y="1749"/>
                  </a:lnTo>
                  <a:lnTo>
                    <a:pt x="495" y="1749"/>
                  </a:lnTo>
                  <a:lnTo>
                    <a:pt x="500" y="1743"/>
                  </a:lnTo>
                  <a:lnTo>
                    <a:pt x="508" y="1740"/>
                  </a:lnTo>
                  <a:lnTo>
                    <a:pt x="521" y="1730"/>
                  </a:lnTo>
                  <a:lnTo>
                    <a:pt x="534" y="1723"/>
                  </a:lnTo>
                  <a:lnTo>
                    <a:pt x="540" y="1717"/>
                  </a:lnTo>
                  <a:lnTo>
                    <a:pt x="547" y="1712"/>
                  </a:lnTo>
                  <a:lnTo>
                    <a:pt x="547" y="1712"/>
                  </a:lnTo>
                  <a:lnTo>
                    <a:pt x="551" y="1706"/>
                  </a:lnTo>
                  <a:lnTo>
                    <a:pt x="555" y="1704"/>
                  </a:lnTo>
                  <a:lnTo>
                    <a:pt x="558" y="1702"/>
                  </a:lnTo>
                  <a:lnTo>
                    <a:pt x="562" y="1702"/>
                  </a:lnTo>
                  <a:lnTo>
                    <a:pt x="572" y="1706"/>
                  </a:lnTo>
                  <a:lnTo>
                    <a:pt x="583" y="1712"/>
                  </a:lnTo>
                  <a:lnTo>
                    <a:pt x="605" y="1725"/>
                  </a:lnTo>
                  <a:lnTo>
                    <a:pt x="616" y="1730"/>
                  </a:lnTo>
                  <a:lnTo>
                    <a:pt x="629" y="1734"/>
                  </a:lnTo>
                  <a:lnTo>
                    <a:pt x="629" y="1734"/>
                  </a:lnTo>
                  <a:lnTo>
                    <a:pt x="643" y="1738"/>
                  </a:lnTo>
                  <a:lnTo>
                    <a:pt x="654" y="1742"/>
                  </a:lnTo>
                  <a:lnTo>
                    <a:pt x="671" y="1749"/>
                  </a:lnTo>
                  <a:lnTo>
                    <a:pt x="684" y="1756"/>
                  </a:lnTo>
                  <a:lnTo>
                    <a:pt x="693" y="1764"/>
                  </a:lnTo>
                  <a:lnTo>
                    <a:pt x="699" y="1766"/>
                  </a:lnTo>
                  <a:lnTo>
                    <a:pt x="704" y="1768"/>
                  </a:lnTo>
                  <a:lnTo>
                    <a:pt x="712" y="1768"/>
                  </a:lnTo>
                  <a:lnTo>
                    <a:pt x="721" y="1766"/>
                  </a:lnTo>
                  <a:lnTo>
                    <a:pt x="743" y="1760"/>
                  </a:lnTo>
                  <a:lnTo>
                    <a:pt x="775" y="1745"/>
                  </a:lnTo>
                  <a:lnTo>
                    <a:pt x="775" y="1745"/>
                  </a:lnTo>
                  <a:lnTo>
                    <a:pt x="786" y="1742"/>
                  </a:lnTo>
                  <a:lnTo>
                    <a:pt x="798" y="1740"/>
                  </a:lnTo>
                  <a:lnTo>
                    <a:pt x="811" y="1740"/>
                  </a:lnTo>
                  <a:lnTo>
                    <a:pt x="822" y="1742"/>
                  </a:lnTo>
                  <a:lnTo>
                    <a:pt x="833" y="1745"/>
                  </a:lnTo>
                  <a:lnTo>
                    <a:pt x="842" y="1751"/>
                  </a:lnTo>
                  <a:lnTo>
                    <a:pt x="850" y="1760"/>
                  </a:lnTo>
                  <a:lnTo>
                    <a:pt x="852" y="1766"/>
                  </a:lnTo>
                  <a:lnTo>
                    <a:pt x="854" y="1771"/>
                  </a:lnTo>
                  <a:lnTo>
                    <a:pt x="854" y="1771"/>
                  </a:lnTo>
                  <a:lnTo>
                    <a:pt x="856" y="1781"/>
                  </a:lnTo>
                  <a:lnTo>
                    <a:pt x="861" y="1788"/>
                  </a:lnTo>
                  <a:lnTo>
                    <a:pt x="867" y="1794"/>
                  </a:lnTo>
                  <a:lnTo>
                    <a:pt x="876" y="1801"/>
                  </a:lnTo>
                  <a:lnTo>
                    <a:pt x="897" y="1813"/>
                  </a:lnTo>
                  <a:lnTo>
                    <a:pt x="921" y="1820"/>
                  </a:lnTo>
                  <a:lnTo>
                    <a:pt x="947" y="1826"/>
                  </a:lnTo>
                  <a:lnTo>
                    <a:pt x="971" y="1829"/>
                  </a:lnTo>
                  <a:lnTo>
                    <a:pt x="990" y="1829"/>
                  </a:lnTo>
                  <a:lnTo>
                    <a:pt x="1003" y="1827"/>
                  </a:lnTo>
                  <a:lnTo>
                    <a:pt x="1003" y="1827"/>
                  </a:lnTo>
                  <a:lnTo>
                    <a:pt x="1022" y="1822"/>
                  </a:lnTo>
                  <a:lnTo>
                    <a:pt x="1041" y="1816"/>
                  </a:lnTo>
                  <a:lnTo>
                    <a:pt x="1059" y="1813"/>
                  </a:lnTo>
                  <a:lnTo>
                    <a:pt x="1076" y="1811"/>
                  </a:lnTo>
                  <a:lnTo>
                    <a:pt x="1093" y="1811"/>
                  </a:lnTo>
                  <a:lnTo>
                    <a:pt x="1108" y="1813"/>
                  </a:lnTo>
                  <a:lnTo>
                    <a:pt x="1121" y="1814"/>
                  </a:lnTo>
                  <a:lnTo>
                    <a:pt x="1134" y="1818"/>
                  </a:lnTo>
                  <a:lnTo>
                    <a:pt x="1134" y="1818"/>
                  </a:lnTo>
                  <a:lnTo>
                    <a:pt x="1149" y="1822"/>
                  </a:lnTo>
                  <a:lnTo>
                    <a:pt x="1164" y="1826"/>
                  </a:lnTo>
                  <a:lnTo>
                    <a:pt x="1177" y="1827"/>
                  </a:lnTo>
                  <a:lnTo>
                    <a:pt x="1190" y="1827"/>
                  </a:lnTo>
                  <a:lnTo>
                    <a:pt x="1203" y="1824"/>
                  </a:lnTo>
                  <a:lnTo>
                    <a:pt x="1213" y="1818"/>
                  </a:lnTo>
                  <a:lnTo>
                    <a:pt x="1222" y="1811"/>
                  </a:lnTo>
                  <a:lnTo>
                    <a:pt x="1229" y="1801"/>
                  </a:lnTo>
                  <a:lnTo>
                    <a:pt x="1229" y="1801"/>
                  </a:lnTo>
                  <a:lnTo>
                    <a:pt x="1233" y="1796"/>
                  </a:lnTo>
                  <a:lnTo>
                    <a:pt x="1237" y="1792"/>
                  </a:lnTo>
                  <a:lnTo>
                    <a:pt x="1244" y="1788"/>
                  </a:lnTo>
                  <a:lnTo>
                    <a:pt x="1252" y="1786"/>
                  </a:lnTo>
                  <a:lnTo>
                    <a:pt x="1270" y="1785"/>
                  </a:lnTo>
                  <a:lnTo>
                    <a:pt x="1291" y="1785"/>
                  </a:lnTo>
                  <a:lnTo>
                    <a:pt x="1343" y="1786"/>
                  </a:lnTo>
                  <a:lnTo>
                    <a:pt x="1399" y="1790"/>
                  </a:lnTo>
                  <a:lnTo>
                    <a:pt x="1399" y="1790"/>
                  </a:lnTo>
                  <a:lnTo>
                    <a:pt x="1444" y="1792"/>
                  </a:lnTo>
                  <a:lnTo>
                    <a:pt x="1476" y="1796"/>
                  </a:lnTo>
                  <a:lnTo>
                    <a:pt x="1495" y="1801"/>
                  </a:lnTo>
                  <a:lnTo>
                    <a:pt x="1508" y="1807"/>
                  </a:lnTo>
                  <a:lnTo>
                    <a:pt x="1513" y="1813"/>
                  </a:lnTo>
                  <a:lnTo>
                    <a:pt x="1521" y="1818"/>
                  </a:lnTo>
                  <a:lnTo>
                    <a:pt x="1528" y="1824"/>
                  </a:lnTo>
                  <a:lnTo>
                    <a:pt x="1541" y="1829"/>
                  </a:lnTo>
                  <a:lnTo>
                    <a:pt x="1541" y="1829"/>
                  </a:lnTo>
                  <a:lnTo>
                    <a:pt x="1553" y="1833"/>
                  </a:lnTo>
                  <a:lnTo>
                    <a:pt x="1564" y="1839"/>
                  </a:lnTo>
                  <a:lnTo>
                    <a:pt x="1575" y="1844"/>
                  </a:lnTo>
                  <a:lnTo>
                    <a:pt x="1584" y="1852"/>
                  </a:lnTo>
                  <a:lnTo>
                    <a:pt x="1605" y="1869"/>
                  </a:lnTo>
                  <a:lnTo>
                    <a:pt x="1624" y="1885"/>
                  </a:lnTo>
                  <a:lnTo>
                    <a:pt x="1627" y="1885"/>
                  </a:lnTo>
                  <a:lnTo>
                    <a:pt x="1627" y="1885"/>
                  </a:lnTo>
                  <a:lnTo>
                    <a:pt x="1644" y="1885"/>
                  </a:lnTo>
                  <a:lnTo>
                    <a:pt x="1655" y="1884"/>
                  </a:lnTo>
                  <a:lnTo>
                    <a:pt x="1663" y="1878"/>
                  </a:lnTo>
                  <a:lnTo>
                    <a:pt x="1667" y="1874"/>
                  </a:lnTo>
                  <a:lnTo>
                    <a:pt x="1672" y="1869"/>
                  </a:lnTo>
                  <a:lnTo>
                    <a:pt x="1674" y="1869"/>
                  </a:lnTo>
                  <a:lnTo>
                    <a:pt x="1680" y="1872"/>
                  </a:lnTo>
                  <a:lnTo>
                    <a:pt x="1680" y="1872"/>
                  </a:lnTo>
                  <a:lnTo>
                    <a:pt x="1685" y="1880"/>
                  </a:lnTo>
                  <a:lnTo>
                    <a:pt x="1693" y="1884"/>
                  </a:lnTo>
                  <a:lnTo>
                    <a:pt x="1710" y="1889"/>
                  </a:lnTo>
                  <a:lnTo>
                    <a:pt x="1726" y="1895"/>
                  </a:lnTo>
                  <a:lnTo>
                    <a:pt x="1734" y="1899"/>
                  </a:lnTo>
                  <a:lnTo>
                    <a:pt x="1741" y="1904"/>
                  </a:lnTo>
                  <a:lnTo>
                    <a:pt x="1741" y="1904"/>
                  </a:lnTo>
                  <a:lnTo>
                    <a:pt x="1751" y="1912"/>
                  </a:lnTo>
                  <a:lnTo>
                    <a:pt x="1760" y="1915"/>
                  </a:lnTo>
                  <a:lnTo>
                    <a:pt x="1769" y="1917"/>
                  </a:lnTo>
                  <a:lnTo>
                    <a:pt x="1775" y="1917"/>
                  </a:lnTo>
                  <a:lnTo>
                    <a:pt x="1781" y="1913"/>
                  </a:lnTo>
                  <a:lnTo>
                    <a:pt x="1784" y="1910"/>
                  </a:lnTo>
                  <a:lnTo>
                    <a:pt x="1788" y="1904"/>
                  </a:lnTo>
                  <a:lnTo>
                    <a:pt x="1790" y="1897"/>
                  </a:lnTo>
                  <a:lnTo>
                    <a:pt x="1792" y="1882"/>
                  </a:lnTo>
                  <a:lnTo>
                    <a:pt x="1790" y="1869"/>
                  </a:lnTo>
                  <a:lnTo>
                    <a:pt x="1784" y="1856"/>
                  </a:lnTo>
                  <a:lnTo>
                    <a:pt x="1783" y="1852"/>
                  </a:lnTo>
                  <a:lnTo>
                    <a:pt x="1779" y="1850"/>
                  </a:lnTo>
                  <a:lnTo>
                    <a:pt x="1779" y="1850"/>
                  </a:lnTo>
                  <a:lnTo>
                    <a:pt x="1768" y="1844"/>
                  </a:lnTo>
                  <a:lnTo>
                    <a:pt x="1760" y="1841"/>
                  </a:lnTo>
                  <a:lnTo>
                    <a:pt x="1754" y="1835"/>
                  </a:lnTo>
                  <a:lnTo>
                    <a:pt x="1751" y="1831"/>
                  </a:lnTo>
                  <a:lnTo>
                    <a:pt x="1749" y="1826"/>
                  </a:lnTo>
                  <a:lnTo>
                    <a:pt x="1751" y="1822"/>
                  </a:lnTo>
                  <a:lnTo>
                    <a:pt x="1753" y="1816"/>
                  </a:lnTo>
                  <a:lnTo>
                    <a:pt x="1756" y="1813"/>
                  </a:lnTo>
                  <a:lnTo>
                    <a:pt x="1768" y="1805"/>
                  </a:lnTo>
                  <a:lnTo>
                    <a:pt x="1781" y="1799"/>
                  </a:lnTo>
                  <a:lnTo>
                    <a:pt x="1794" y="1796"/>
                  </a:lnTo>
                  <a:lnTo>
                    <a:pt x="1805" y="1794"/>
                  </a:lnTo>
                  <a:lnTo>
                    <a:pt x="1805" y="1794"/>
                  </a:lnTo>
                  <a:lnTo>
                    <a:pt x="1822" y="1794"/>
                  </a:lnTo>
                  <a:lnTo>
                    <a:pt x="1831" y="1792"/>
                  </a:lnTo>
                  <a:lnTo>
                    <a:pt x="1833" y="1790"/>
                  </a:lnTo>
                  <a:lnTo>
                    <a:pt x="1835" y="1786"/>
                  </a:lnTo>
                  <a:lnTo>
                    <a:pt x="1835" y="1781"/>
                  </a:lnTo>
                  <a:lnTo>
                    <a:pt x="1825" y="1766"/>
                  </a:lnTo>
                  <a:lnTo>
                    <a:pt x="1822" y="1756"/>
                  </a:lnTo>
                  <a:lnTo>
                    <a:pt x="1820" y="1749"/>
                  </a:lnTo>
                  <a:lnTo>
                    <a:pt x="1820" y="1749"/>
                  </a:lnTo>
                  <a:lnTo>
                    <a:pt x="1818" y="1740"/>
                  </a:lnTo>
                  <a:lnTo>
                    <a:pt x="1814" y="1732"/>
                  </a:lnTo>
                  <a:lnTo>
                    <a:pt x="1811" y="1723"/>
                  </a:lnTo>
                  <a:lnTo>
                    <a:pt x="1805" y="1715"/>
                  </a:lnTo>
                  <a:lnTo>
                    <a:pt x="1792" y="1700"/>
                  </a:lnTo>
                  <a:lnTo>
                    <a:pt x="1779" y="1687"/>
                  </a:lnTo>
                  <a:lnTo>
                    <a:pt x="1768" y="1672"/>
                  </a:lnTo>
                  <a:lnTo>
                    <a:pt x="1762" y="1665"/>
                  </a:lnTo>
                  <a:lnTo>
                    <a:pt x="1758" y="1656"/>
                  </a:lnTo>
                  <a:lnTo>
                    <a:pt x="1756" y="1648"/>
                  </a:lnTo>
                  <a:lnTo>
                    <a:pt x="1756" y="1639"/>
                  </a:lnTo>
                  <a:lnTo>
                    <a:pt x="1756" y="1629"/>
                  </a:lnTo>
                  <a:lnTo>
                    <a:pt x="1760" y="1620"/>
                  </a:lnTo>
                  <a:lnTo>
                    <a:pt x="1760" y="1620"/>
                  </a:lnTo>
                  <a:lnTo>
                    <a:pt x="1764" y="1609"/>
                  </a:lnTo>
                  <a:lnTo>
                    <a:pt x="1764" y="1600"/>
                  </a:lnTo>
                  <a:lnTo>
                    <a:pt x="1762" y="1596"/>
                  </a:lnTo>
                  <a:lnTo>
                    <a:pt x="1758" y="1592"/>
                  </a:lnTo>
                  <a:lnTo>
                    <a:pt x="1753" y="1590"/>
                  </a:lnTo>
                  <a:lnTo>
                    <a:pt x="1747" y="1588"/>
                  </a:lnTo>
                  <a:lnTo>
                    <a:pt x="1743" y="1583"/>
                  </a:lnTo>
                  <a:lnTo>
                    <a:pt x="1743" y="1575"/>
                  </a:lnTo>
                  <a:lnTo>
                    <a:pt x="1743" y="1575"/>
                  </a:lnTo>
                  <a:lnTo>
                    <a:pt x="1745" y="1573"/>
                  </a:lnTo>
                  <a:lnTo>
                    <a:pt x="1753" y="1570"/>
                  </a:lnTo>
                  <a:lnTo>
                    <a:pt x="1777" y="1562"/>
                  </a:lnTo>
                  <a:lnTo>
                    <a:pt x="1812" y="1555"/>
                  </a:lnTo>
                  <a:lnTo>
                    <a:pt x="1854" y="1549"/>
                  </a:lnTo>
                  <a:lnTo>
                    <a:pt x="1934" y="1538"/>
                  </a:lnTo>
                  <a:lnTo>
                    <a:pt x="1966" y="1536"/>
                  </a:lnTo>
                  <a:lnTo>
                    <a:pt x="1984" y="1536"/>
                  </a:lnTo>
                  <a:lnTo>
                    <a:pt x="1984" y="1536"/>
                  </a:lnTo>
                  <a:lnTo>
                    <a:pt x="2009" y="1540"/>
                  </a:lnTo>
                  <a:lnTo>
                    <a:pt x="2022" y="1542"/>
                  </a:lnTo>
                  <a:lnTo>
                    <a:pt x="2029" y="1545"/>
                  </a:lnTo>
                  <a:lnTo>
                    <a:pt x="2029" y="154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79" name="Freeform 79">
              <a:extLst>
                <a:ext uri="{FF2B5EF4-FFF2-40B4-BE49-F238E27FC236}">
                  <a16:creationId xmlns:a16="http://schemas.microsoft.com/office/drawing/2014/main" id="{672A0733-4668-4DC3-A136-D4231A4ED680}"/>
                </a:ext>
              </a:extLst>
            </p:cNvPr>
            <p:cNvSpPr>
              <a:spLocks/>
            </p:cNvSpPr>
            <p:nvPr/>
          </p:nvSpPr>
          <p:spPr bwMode="auto">
            <a:xfrm>
              <a:off x="1874257" y="3620016"/>
              <a:ext cx="2181811" cy="1411546"/>
            </a:xfrm>
            <a:custGeom>
              <a:avLst/>
              <a:gdLst/>
              <a:ahLst/>
              <a:cxnLst>
                <a:cxn ang="0">
                  <a:pos x="1385" y="288"/>
                </a:cxn>
                <a:cxn ang="0">
                  <a:pos x="1431" y="223"/>
                </a:cxn>
                <a:cxn ang="0">
                  <a:pos x="1388" y="150"/>
                </a:cxn>
                <a:cxn ang="0">
                  <a:pos x="1203" y="88"/>
                </a:cxn>
                <a:cxn ang="0">
                  <a:pos x="981" y="125"/>
                </a:cxn>
                <a:cxn ang="0">
                  <a:pos x="794" y="127"/>
                </a:cxn>
                <a:cxn ang="0">
                  <a:pos x="637" y="43"/>
                </a:cxn>
                <a:cxn ang="0">
                  <a:pos x="475" y="47"/>
                </a:cxn>
                <a:cxn ang="0">
                  <a:pos x="351" y="10"/>
                </a:cxn>
                <a:cxn ang="0">
                  <a:pos x="273" y="97"/>
                </a:cxn>
                <a:cxn ang="0">
                  <a:pos x="112" y="154"/>
                </a:cxn>
                <a:cxn ang="0">
                  <a:pos x="121" y="262"/>
                </a:cxn>
                <a:cxn ang="0">
                  <a:pos x="58" y="348"/>
                </a:cxn>
                <a:cxn ang="0">
                  <a:pos x="13" y="344"/>
                </a:cxn>
                <a:cxn ang="0">
                  <a:pos x="5" y="432"/>
                </a:cxn>
                <a:cxn ang="0">
                  <a:pos x="2" y="488"/>
                </a:cxn>
                <a:cxn ang="0">
                  <a:pos x="43" y="563"/>
                </a:cxn>
                <a:cxn ang="0">
                  <a:pos x="148" y="662"/>
                </a:cxn>
                <a:cxn ang="0">
                  <a:pos x="237" y="755"/>
                </a:cxn>
                <a:cxn ang="0">
                  <a:pos x="338" y="757"/>
                </a:cxn>
                <a:cxn ang="0">
                  <a:pos x="450" y="897"/>
                </a:cxn>
                <a:cxn ang="0">
                  <a:pos x="536" y="964"/>
                </a:cxn>
                <a:cxn ang="0">
                  <a:pos x="589" y="1067"/>
                </a:cxn>
                <a:cxn ang="0">
                  <a:pos x="637" y="1125"/>
                </a:cxn>
                <a:cxn ang="0">
                  <a:pos x="708" y="1153"/>
                </a:cxn>
                <a:cxn ang="0">
                  <a:pos x="760" y="1194"/>
                </a:cxn>
                <a:cxn ang="0">
                  <a:pos x="856" y="1248"/>
                </a:cxn>
                <a:cxn ang="0">
                  <a:pos x="955" y="1269"/>
                </a:cxn>
                <a:cxn ang="0">
                  <a:pos x="1076" y="1282"/>
                </a:cxn>
                <a:cxn ang="0">
                  <a:pos x="1078" y="1396"/>
                </a:cxn>
                <a:cxn ang="0">
                  <a:pos x="1145" y="1319"/>
                </a:cxn>
                <a:cxn ang="0">
                  <a:pos x="1289" y="1319"/>
                </a:cxn>
                <a:cxn ang="0">
                  <a:pos x="1387" y="1355"/>
                </a:cxn>
                <a:cxn ang="0">
                  <a:pos x="1426" y="1432"/>
                </a:cxn>
                <a:cxn ang="0">
                  <a:pos x="1458" y="1503"/>
                </a:cxn>
                <a:cxn ang="0">
                  <a:pos x="1658" y="1553"/>
                </a:cxn>
                <a:cxn ang="0">
                  <a:pos x="1837" y="1471"/>
                </a:cxn>
                <a:cxn ang="0">
                  <a:pos x="1992" y="1424"/>
                </a:cxn>
                <a:cxn ang="0">
                  <a:pos x="2110" y="1501"/>
                </a:cxn>
                <a:cxn ang="0">
                  <a:pos x="2153" y="1471"/>
                </a:cxn>
                <a:cxn ang="0">
                  <a:pos x="2203" y="1405"/>
                </a:cxn>
                <a:cxn ang="0">
                  <a:pos x="2254" y="1469"/>
                </a:cxn>
                <a:cxn ang="0">
                  <a:pos x="2319" y="1469"/>
                </a:cxn>
                <a:cxn ang="0">
                  <a:pos x="2338" y="1364"/>
                </a:cxn>
                <a:cxn ang="0">
                  <a:pos x="2373" y="1376"/>
                </a:cxn>
                <a:cxn ang="0">
                  <a:pos x="2392" y="1163"/>
                </a:cxn>
                <a:cxn ang="0">
                  <a:pos x="2373" y="1045"/>
                </a:cxn>
                <a:cxn ang="0">
                  <a:pos x="2377" y="989"/>
                </a:cxn>
                <a:cxn ang="0">
                  <a:pos x="2328" y="871"/>
                </a:cxn>
                <a:cxn ang="0">
                  <a:pos x="2222" y="879"/>
                </a:cxn>
                <a:cxn ang="0">
                  <a:pos x="2145" y="938"/>
                </a:cxn>
                <a:cxn ang="0">
                  <a:pos x="2087" y="925"/>
                </a:cxn>
                <a:cxn ang="0">
                  <a:pos x="2048" y="925"/>
                </a:cxn>
                <a:cxn ang="0">
                  <a:pos x="1994" y="843"/>
                </a:cxn>
                <a:cxn ang="0">
                  <a:pos x="1915" y="774"/>
                </a:cxn>
                <a:cxn ang="0">
                  <a:pos x="1792" y="763"/>
                </a:cxn>
                <a:cxn ang="0">
                  <a:pos x="1637" y="697"/>
                </a:cxn>
                <a:cxn ang="0">
                  <a:pos x="1523" y="606"/>
                </a:cxn>
                <a:cxn ang="0">
                  <a:pos x="1383" y="494"/>
                </a:cxn>
                <a:cxn ang="0">
                  <a:pos x="1390" y="385"/>
                </a:cxn>
              </a:cxnLst>
              <a:rect l="0" t="0" r="r" b="b"/>
              <a:pathLst>
                <a:path w="2401" h="1555">
                  <a:moveTo>
                    <a:pt x="1400" y="348"/>
                  </a:moveTo>
                  <a:lnTo>
                    <a:pt x="1400" y="348"/>
                  </a:lnTo>
                  <a:lnTo>
                    <a:pt x="1390" y="346"/>
                  </a:lnTo>
                  <a:lnTo>
                    <a:pt x="1387" y="344"/>
                  </a:lnTo>
                  <a:lnTo>
                    <a:pt x="1385" y="340"/>
                  </a:lnTo>
                  <a:lnTo>
                    <a:pt x="1385" y="337"/>
                  </a:lnTo>
                  <a:lnTo>
                    <a:pt x="1388" y="329"/>
                  </a:lnTo>
                  <a:lnTo>
                    <a:pt x="1388" y="324"/>
                  </a:lnTo>
                  <a:lnTo>
                    <a:pt x="1387" y="318"/>
                  </a:lnTo>
                  <a:lnTo>
                    <a:pt x="1387" y="318"/>
                  </a:lnTo>
                  <a:lnTo>
                    <a:pt x="1381" y="301"/>
                  </a:lnTo>
                  <a:lnTo>
                    <a:pt x="1381" y="296"/>
                  </a:lnTo>
                  <a:lnTo>
                    <a:pt x="1383" y="292"/>
                  </a:lnTo>
                  <a:lnTo>
                    <a:pt x="1385" y="288"/>
                  </a:lnTo>
                  <a:lnTo>
                    <a:pt x="1387" y="284"/>
                  </a:lnTo>
                  <a:lnTo>
                    <a:pt x="1394" y="281"/>
                  </a:lnTo>
                  <a:lnTo>
                    <a:pt x="1411" y="273"/>
                  </a:lnTo>
                  <a:lnTo>
                    <a:pt x="1418" y="268"/>
                  </a:lnTo>
                  <a:lnTo>
                    <a:pt x="1420" y="264"/>
                  </a:lnTo>
                  <a:lnTo>
                    <a:pt x="1420" y="258"/>
                  </a:lnTo>
                  <a:lnTo>
                    <a:pt x="1420" y="258"/>
                  </a:lnTo>
                  <a:lnTo>
                    <a:pt x="1422" y="249"/>
                  </a:lnTo>
                  <a:lnTo>
                    <a:pt x="1426" y="241"/>
                  </a:lnTo>
                  <a:lnTo>
                    <a:pt x="1428" y="234"/>
                  </a:lnTo>
                  <a:lnTo>
                    <a:pt x="1430" y="226"/>
                  </a:lnTo>
                  <a:lnTo>
                    <a:pt x="1430" y="226"/>
                  </a:lnTo>
                  <a:lnTo>
                    <a:pt x="1431" y="225"/>
                  </a:lnTo>
                  <a:lnTo>
                    <a:pt x="1431" y="223"/>
                  </a:lnTo>
                  <a:lnTo>
                    <a:pt x="1435" y="221"/>
                  </a:lnTo>
                  <a:lnTo>
                    <a:pt x="1435" y="221"/>
                  </a:lnTo>
                  <a:lnTo>
                    <a:pt x="1431" y="217"/>
                  </a:lnTo>
                  <a:lnTo>
                    <a:pt x="1422" y="211"/>
                  </a:lnTo>
                  <a:lnTo>
                    <a:pt x="1403" y="198"/>
                  </a:lnTo>
                  <a:lnTo>
                    <a:pt x="1398" y="193"/>
                  </a:lnTo>
                  <a:lnTo>
                    <a:pt x="1398" y="191"/>
                  </a:lnTo>
                  <a:lnTo>
                    <a:pt x="1398" y="187"/>
                  </a:lnTo>
                  <a:lnTo>
                    <a:pt x="1401" y="185"/>
                  </a:lnTo>
                  <a:lnTo>
                    <a:pt x="1407" y="185"/>
                  </a:lnTo>
                  <a:lnTo>
                    <a:pt x="1428" y="183"/>
                  </a:lnTo>
                  <a:lnTo>
                    <a:pt x="1428" y="183"/>
                  </a:lnTo>
                  <a:lnTo>
                    <a:pt x="1409" y="167"/>
                  </a:lnTo>
                  <a:lnTo>
                    <a:pt x="1388" y="150"/>
                  </a:lnTo>
                  <a:lnTo>
                    <a:pt x="1379" y="142"/>
                  </a:lnTo>
                  <a:lnTo>
                    <a:pt x="1368" y="137"/>
                  </a:lnTo>
                  <a:lnTo>
                    <a:pt x="1357" y="131"/>
                  </a:lnTo>
                  <a:lnTo>
                    <a:pt x="1345" y="127"/>
                  </a:lnTo>
                  <a:lnTo>
                    <a:pt x="1345" y="127"/>
                  </a:lnTo>
                  <a:lnTo>
                    <a:pt x="1332" y="122"/>
                  </a:lnTo>
                  <a:lnTo>
                    <a:pt x="1325" y="116"/>
                  </a:lnTo>
                  <a:lnTo>
                    <a:pt x="1317" y="111"/>
                  </a:lnTo>
                  <a:lnTo>
                    <a:pt x="1312" y="105"/>
                  </a:lnTo>
                  <a:lnTo>
                    <a:pt x="1299" y="99"/>
                  </a:lnTo>
                  <a:lnTo>
                    <a:pt x="1280" y="94"/>
                  </a:lnTo>
                  <a:lnTo>
                    <a:pt x="1248" y="90"/>
                  </a:lnTo>
                  <a:lnTo>
                    <a:pt x="1203" y="88"/>
                  </a:lnTo>
                  <a:lnTo>
                    <a:pt x="1203" y="88"/>
                  </a:lnTo>
                  <a:lnTo>
                    <a:pt x="1147" y="84"/>
                  </a:lnTo>
                  <a:lnTo>
                    <a:pt x="1095" y="83"/>
                  </a:lnTo>
                  <a:lnTo>
                    <a:pt x="1074" y="83"/>
                  </a:lnTo>
                  <a:lnTo>
                    <a:pt x="1056" y="84"/>
                  </a:lnTo>
                  <a:lnTo>
                    <a:pt x="1048" y="86"/>
                  </a:lnTo>
                  <a:lnTo>
                    <a:pt x="1041" y="90"/>
                  </a:lnTo>
                  <a:lnTo>
                    <a:pt x="1037" y="94"/>
                  </a:lnTo>
                  <a:lnTo>
                    <a:pt x="1033" y="99"/>
                  </a:lnTo>
                  <a:lnTo>
                    <a:pt x="1033" y="99"/>
                  </a:lnTo>
                  <a:lnTo>
                    <a:pt x="1026" y="109"/>
                  </a:lnTo>
                  <a:lnTo>
                    <a:pt x="1017" y="116"/>
                  </a:lnTo>
                  <a:lnTo>
                    <a:pt x="1007" y="122"/>
                  </a:lnTo>
                  <a:lnTo>
                    <a:pt x="994" y="125"/>
                  </a:lnTo>
                  <a:lnTo>
                    <a:pt x="981" y="125"/>
                  </a:lnTo>
                  <a:lnTo>
                    <a:pt x="968" y="124"/>
                  </a:lnTo>
                  <a:lnTo>
                    <a:pt x="953" y="120"/>
                  </a:lnTo>
                  <a:lnTo>
                    <a:pt x="938" y="116"/>
                  </a:lnTo>
                  <a:lnTo>
                    <a:pt x="938" y="116"/>
                  </a:lnTo>
                  <a:lnTo>
                    <a:pt x="925" y="112"/>
                  </a:lnTo>
                  <a:lnTo>
                    <a:pt x="912" y="111"/>
                  </a:lnTo>
                  <a:lnTo>
                    <a:pt x="897" y="109"/>
                  </a:lnTo>
                  <a:lnTo>
                    <a:pt x="880" y="109"/>
                  </a:lnTo>
                  <a:lnTo>
                    <a:pt x="863" y="111"/>
                  </a:lnTo>
                  <a:lnTo>
                    <a:pt x="845" y="114"/>
                  </a:lnTo>
                  <a:lnTo>
                    <a:pt x="826" y="120"/>
                  </a:lnTo>
                  <a:lnTo>
                    <a:pt x="807" y="125"/>
                  </a:lnTo>
                  <a:lnTo>
                    <a:pt x="807" y="125"/>
                  </a:lnTo>
                  <a:lnTo>
                    <a:pt x="794" y="127"/>
                  </a:lnTo>
                  <a:lnTo>
                    <a:pt x="775" y="127"/>
                  </a:lnTo>
                  <a:lnTo>
                    <a:pt x="751" y="124"/>
                  </a:lnTo>
                  <a:lnTo>
                    <a:pt x="725" y="118"/>
                  </a:lnTo>
                  <a:lnTo>
                    <a:pt x="701" y="111"/>
                  </a:lnTo>
                  <a:lnTo>
                    <a:pt x="680" y="99"/>
                  </a:lnTo>
                  <a:lnTo>
                    <a:pt x="671" y="92"/>
                  </a:lnTo>
                  <a:lnTo>
                    <a:pt x="665" y="86"/>
                  </a:lnTo>
                  <a:lnTo>
                    <a:pt x="660" y="79"/>
                  </a:lnTo>
                  <a:lnTo>
                    <a:pt x="658" y="69"/>
                  </a:lnTo>
                  <a:lnTo>
                    <a:pt x="658" y="69"/>
                  </a:lnTo>
                  <a:lnTo>
                    <a:pt x="656" y="64"/>
                  </a:lnTo>
                  <a:lnTo>
                    <a:pt x="654" y="58"/>
                  </a:lnTo>
                  <a:lnTo>
                    <a:pt x="646" y="49"/>
                  </a:lnTo>
                  <a:lnTo>
                    <a:pt x="637" y="43"/>
                  </a:lnTo>
                  <a:lnTo>
                    <a:pt x="626" y="40"/>
                  </a:lnTo>
                  <a:lnTo>
                    <a:pt x="615" y="38"/>
                  </a:lnTo>
                  <a:lnTo>
                    <a:pt x="602" y="38"/>
                  </a:lnTo>
                  <a:lnTo>
                    <a:pt x="590" y="40"/>
                  </a:lnTo>
                  <a:lnTo>
                    <a:pt x="579" y="43"/>
                  </a:lnTo>
                  <a:lnTo>
                    <a:pt x="579" y="43"/>
                  </a:lnTo>
                  <a:lnTo>
                    <a:pt x="547" y="58"/>
                  </a:lnTo>
                  <a:lnTo>
                    <a:pt x="525" y="64"/>
                  </a:lnTo>
                  <a:lnTo>
                    <a:pt x="516" y="66"/>
                  </a:lnTo>
                  <a:lnTo>
                    <a:pt x="508" y="66"/>
                  </a:lnTo>
                  <a:lnTo>
                    <a:pt x="503" y="64"/>
                  </a:lnTo>
                  <a:lnTo>
                    <a:pt x="497" y="62"/>
                  </a:lnTo>
                  <a:lnTo>
                    <a:pt x="488" y="54"/>
                  </a:lnTo>
                  <a:lnTo>
                    <a:pt x="475" y="47"/>
                  </a:lnTo>
                  <a:lnTo>
                    <a:pt x="458" y="40"/>
                  </a:lnTo>
                  <a:lnTo>
                    <a:pt x="447" y="36"/>
                  </a:lnTo>
                  <a:lnTo>
                    <a:pt x="433" y="32"/>
                  </a:lnTo>
                  <a:lnTo>
                    <a:pt x="433" y="32"/>
                  </a:lnTo>
                  <a:lnTo>
                    <a:pt x="420" y="28"/>
                  </a:lnTo>
                  <a:lnTo>
                    <a:pt x="409" y="23"/>
                  </a:lnTo>
                  <a:lnTo>
                    <a:pt x="387" y="10"/>
                  </a:lnTo>
                  <a:lnTo>
                    <a:pt x="376" y="4"/>
                  </a:lnTo>
                  <a:lnTo>
                    <a:pt x="366" y="0"/>
                  </a:lnTo>
                  <a:lnTo>
                    <a:pt x="362" y="0"/>
                  </a:lnTo>
                  <a:lnTo>
                    <a:pt x="359" y="2"/>
                  </a:lnTo>
                  <a:lnTo>
                    <a:pt x="355" y="4"/>
                  </a:lnTo>
                  <a:lnTo>
                    <a:pt x="351" y="10"/>
                  </a:lnTo>
                  <a:lnTo>
                    <a:pt x="351" y="10"/>
                  </a:lnTo>
                  <a:lnTo>
                    <a:pt x="344" y="15"/>
                  </a:lnTo>
                  <a:lnTo>
                    <a:pt x="338" y="21"/>
                  </a:lnTo>
                  <a:lnTo>
                    <a:pt x="325" y="28"/>
                  </a:lnTo>
                  <a:lnTo>
                    <a:pt x="312" y="38"/>
                  </a:lnTo>
                  <a:lnTo>
                    <a:pt x="304" y="41"/>
                  </a:lnTo>
                  <a:lnTo>
                    <a:pt x="299" y="47"/>
                  </a:lnTo>
                  <a:lnTo>
                    <a:pt x="299" y="47"/>
                  </a:lnTo>
                  <a:lnTo>
                    <a:pt x="290" y="58"/>
                  </a:lnTo>
                  <a:lnTo>
                    <a:pt x="284" y="68"/>
                  </a:lnTo>
                  <a:lnTo>
                    <a:pt x="280" y="75"/>
                  </a:lnTo>
                  <a:lnTo>
                    <a:pt x="276" y="83"/>
                  </a:lnTo>
                  <a:lnTo>
                    <a:pt x="275" y="92"/>
                  </a:lnTo>
                  <a:lnTo>
                    <a:pt x="275" y="96"/>
                  </a:lnTo>
                  <a:lnTo>
                    <a:pt x="273" y="97"/>
                  </a:lnTo>
                  <a:lnTo>
                    <a:pt x="269" y="99"/>
                  </a:lnTo>
                  <a:lnTo>
                    <a:pt x="263" y="99"/>
                  </a:lnTo>
                  <a:lnTo>
                    <a:pt x="245" y="99"/>
                  </a:lnTo>
                  <a:lnTo>
                    <a:pt x="151" y="96"/>
                  </a:lnTo>
                  <a:lnTo>
                    <a:pt x="151" y="96"/>
                  </a:lnTo>
                  <a:lnTo>
                    <a:pt x="148" y="103"/>
                  </a:lnTo>
                  <a:lnTo>
                    <a:pt x="142" y="109"/>
                  </a:lnTo>
                  <a:lnTo>
                    <a:pt x="142" y="109"/>
                  </a:lnTo>
                  <a:lnTo>
                    <a:pt x="133" y="116"/>
                  </a:lnTo>
                  <a:lnTo>
                    <a:pt x="125" y="118"/>
                  </a:lnTo>
                  <a:lnTo>
                    <a:pt x="118" y="120"/>
                  </a:lnTo>
                  <a:lnTo>
                    <a:pt x="116" y="122"/>
                  </a:lnTo>
                  <a:lnTo>
                    <a:pt x="114" y="127"/>
                  </a:lnTo>
                  <a:lnTo>
                    <a:pt x="112" y="154"/>
                  </a:lnTo>
                  <a:lnTo>
                    <a:pt x="112" y="154"/>
                  </a:lnTo>
                  <a:lnTo>
                    <a:pt x="112" y="157"/>
                  </a:lnTo>
                  <a:lnTo>
                    <a:pt x="108" y="161"/>
                  </a:lnTo>
                  <a:lnTo>
                    <a:pt x="101" y="172"/>
                  </a:lnTo>
                  <a:lnTo>
                    <a:pt x="97" y="178"/>
                  </a:lnTo>
                  <a:lnTo>
                    <a:pt x="95" y="187"/>
                  </a:lnTo>
                  <a:lnTo>
                    <a:pt x="95" y="197"/>
                  </a:lnTo>
                  <a:lnTo>
                    <a:pt x="97" y="210"/>
                  </a:lnTo>
                  <a:lnTo>
                    <a:pt x="97" y="210"/>
                  </a:lnTo>
                  <a:lnTo>
                    <a:pt x="101" y="219"/>
                  </a:lnTo>
                  <a:lnTo>
                    <a:pt x="106" y="228"/>
                  </a:lnTo>
                  <a:lnTo>
                    <a:pt x="112" y="238"/>
                  </a:lnTo>
                  <a:lnTo>
                    <a:pt x="118" y="249"/>
                  </a:lnTo>
                  <a:lnTo>
                    <a:pt x="121" y="262"/>
                  </a:lnTo>
                  <a:lnTo>
                    <a:pt x="125" y="279"/>
                  </a:lnTo>
                  <a:lnTo>
                    <a:pt x="123" y="299"/>
                  </a:lnTo>
                  <a:lnTo>
                    <a:pt x="119" y="325"/>
                  </a:lnTo>
                  <a:lnTo>
                    <a:pt x="119" y="325"/>
                  </a:lnTo>
                  <a:lnTo>
                    <a:pt x="118" y="333"/>
                  </a:lnTo>
                  <a:lnTo>
                    <a:pt x="114" y="339"/>
                  </a:lnTo>
                  <a:lnTo>
                    <a:pt x="105" y="350"/>
                  </a:lnTo>
                  <a:lnTo>
                    <a:pt x="93" y="357"/>
                  </a:lnTo>
                  <a:lnTo>
                    <a:pt x="82" y="361"/>
                  </a:lnTo>
                  <a:lnTo>
                    <a:pt x="76" y="361"/>
                  </a:lnTo>
                  <a:lnTo>
                    <a:pt x="71" y="359"/>
                  </a:lnTo>
                  <a:lnTo>
                    <a:pt x="65" y="357"/>
                  </a:lnTo>
                  <a:lnTo>
                    <a:pt x="62" y="353"/>
                  </a:lnTo>
                  <a:lnTo>
                    <a:pt x="58" y="348"/>
                  </a:lnTo>
                  <a:lnTo>
                    <a:pt x="54" y="340"/>
                  </a:lnTo>
                  <a:lnTo>
                    <a:pt x="52" y="331"/>
                  </a:lnTo>
                  <a:lnTo>
                    <a:pt x="52" y="320"/>
                  </a:lnTo>
                  <a:lnTo>
                    <a:pt x="52" y="320"/>
                  </a:lnTo>
                  <a:lnTo>
                    <a:pt x="52" y="312"/>
                  </a:lnTo>
                  <a:lnTo>
                    <a:pt x="47" y="309"/>
                  </a:lnTo>
                  <a:lnTo>
                    <a:pt x="41" y="307"/>
                  </a:lnTo>
                  <a:lnTo>
                    <a:pt x="32" y="309"/>
                  </a:lnTo>
                  <a:lnTo>
                    <a:pt x="24" y="312"/>
                  </a:lnTo>
                  <a:lnTo>
                    <a:pt x="19" y="318"/>
                  </a:lnTo>
                  <a:lnTo>
                    <a:pt x="13" y="324"/>
                  </a:lnTo>
                  <a:lnTo>
                    <a:pt x="13" y="333"/>
                  </a:lnTo>
                  <a:lnTo>
                    <a:pt x="13" y="333"/>
                  </a:lnTo>
                  <a:lnTo>
                    <a:pt x="13" y="344"/>
                  </a:lnTo>
                  <a:lnTo>
                    <a:pt x="9" y="350"/>
                  </a:lnTo>
                  <a:lnTo>
                    <a:pt x="5" y="353"/>
                  </a:lnTo>
                  <a:lnTo>
                    <a:pt x="2" y="355"/>
                  </a:lnTo>
                  <a:lnTo>
                    <a:pt x="0" y="359"/>
                  </a:lnTo>
                  <a:lnTo>
                    <a:pt x="0" y="367"/>
                  </a:lnTo>
                  <a:lnTo>
                    <a:pt x="4" y="380"/>
                  </a:lnTo>
                  <a:lnTo>
                    <a:pt x="15" y="402"/>
                  </a:lnTo>
                  <a:lnTo>
                    <a:pt x="15" y="402"/>
                  </a:lnTo>
                  <a:lnTo>
                    <a:pt x="17" y="408"/>
                  </a:lnTo>
                  <a:lnTo>
                    <a:pt x="15" y="411"/>
                  </a:lnTo>
                  <a:lnTo>
                    <a:pt x="7" y="419"/>
                  </a:lnTo>
                  <a:lnTo>
                    <a:pt x="5" y="423"/>
                  </a:lnTo>
                  <a:lnTo>
                    <a:pt x="4" y="426"/>
                  </a:lnTo>
                  <a:lnTo>
                    <a:pt x="5" y="432"/>
                  </a:lnTo>
                  <a:lnTo>
                    <a:pt x="11" y="439"/>
                  </a:lnTo>
                  <a:lnTo>
                    <a:pt x="11" y="439"/>
                  </a:lnTo>
                  <a:lnTo>
                    <a:pt x="15" y="447"/>
                  </a:lnTo>
                  <a:lnTo>
                    <a:pt x="15" y="451"/>
                  </a:lnTo>
                  <a:lnTo>
                    <a:pt x="13" y="454"/>
                  </a:lnTo>
                  <a:lnTo>
                    <a:pt x="9" y="458"/>
                  </a:lnTo>
                  <a:lnTo>
                    <a:pt x="2" y="466"/>
                  </a:lnTo>
                  <a:lnTo>
                    <a:pt x="0" y="469"/>
                  </a:lnTo>
                  <a:lnTo>
                    <a:pt x="2" y="475"/>
                  </a:lnTo>
                  <a:lnTo>
                    <a:pt x="2" y="475"/>
                  </a:lnTo>
                  <a:lnTo>
                    <a:pt x="4" y="482"/>
                  </a:lnTo>
                  <a:lnTo>
                    <a:pt x="4" y="486"/>
                  </a:lnTo>
                  <a:lnTo>
                    <a:pt x="4" y="486"/>
                  </a:lnTo>
                  <a:lnTo>
                    <a:pt x="2" y="488"/>
                  </a:lnTo>
                  <a:lnTo>
                    <a:pt x="0" y="490"/>
                  </a:lnTo>
                  <a:lnTo>
                    <a:pt x="2" y="494"/>
                  </a:lnTo>
                  <a:lnTo>
                    <a:pt x="5" y="501"/>
                  </a:lnTo>
                  <a:lnTo>
                    <a:pt x="13" y="514"/>
                  </a:lnTo>
                  <a:lnTo>
                    <a:pt x="13" y="514"/>
                  </a:lnTo>
                  <a:lnTo>
                    <a:pt x="15" y="522"/>
                  </a:lnTo>
                  <a:lnTo>
                    <a:pt x="17" y="531"/>
                  </a:lnTo>
                  <a:lnTo>
                    <a:pt x="22" y="553"/>
                  </a:lnTo>
                  <a:lnTo>
                    <a:pt x="26" y="561"/>
                  </a:lnTo>
                  <a:lnTo>
                    <a:pt x="28" y="565"/>
                  </a:lnTo>
                  <a:lnTo>
                    <a:pt x="32" y="566"/>
                  </a:lnTo>
                  <a:lnTo>
                    <a:pt x="35" y="566"/>
                  </a:lnTo>
                  <a:lnTo>
                    <a:pt x="39" y="565"/>
                  </a:lnTo>
                  <a:lnTo>
                    <a:pt x="43" y="563"/>
                  </a:lnTo>
                  <a:lnTo>
                    <a:pt x="48" y="557"/>
                  </a:lnTo>
                  <a:lnTo>
                    <a:pt x="48" y="557"/>
                  </a:lnTo>
                  <a:lnTo>
                    <a:pt x="50" y="555"/>
                  </a:lnTo>
                  <a:lnTo>
                    <a:pt x="54" y="555"/>
                  </a:lnTo>
                  <a:lnTo>
                    <a:pt x="63" y="561"/>
                  </a:lnTo>
                  <a:lnTo>
                    <a:pt x="73" y="570"/>
                  </a:lnTo>
                  <a:lnTo>
                    <a:pt x="80" y="578"/>
                  </a:lnTo>
                  <a:lnTo>
                    <a:pt x="80" y="578"/>
                  </a:lnTo>
                  <a:lnTo>
                    <a:pt x="91" y="585"/>
                  </a:lnTo>
                  <a:lnTo>
                    <a:pt x="99" y="594"/>
                  </a:lnTo>
                  <a:lnTo>
                    <a:pt x="112" y="619"/>
                  </a:lnTo>
                  <a:lnTo>
                    <a:pt x="121" y="632"/>
                  </a:lnTo>
                  <a:lnTo>
                    <a:pt x="133" y="647"/>
                  </a:lnTo>
                  <a:lnTo>
                    <a:pt x="148" y="662"/>
                  </a:lnTo>
                  <a:lnTo>
                    <a:pt x="170" y="680"/>
                  </a:lnTo>
                  <a:lnTo>
                    <a:pt x="170" y="680"/>
                  </a:lnTo>
                  <a:lnTo>
                    <a:pt x="185" y="694"/>
                  </a:lnTo>
                  <a:lnTo>
                    <a:pt x="200" y="710"/>
                  </a:lnTo>
                  <a:lnTo>
                    <a:pt x="207" y="720"/>
                  </a:lnTo>
                  <a:lnTo>
                    <a:pt x="211" y="729"/>
                  </a:lnTo>
                  <a:lnTo>
                    <a:pt x="215" y="740"/>
                  </a:lnTo>
                  <a:lnTo>
                    <a:pt x="217" y="748"/>
                  </a:lnTo>
                  <a:lnTo>
                    <a:pt x="217" y="748"/>
                  </a:lnTo>
                  <a:lnTo>
                    <a:pt x="217" y="755"/>
                  </a:lnTo>
                  <a:lnTo>
                    <a:pt x="220" y="761"/>
                  </a:lnTo>
                  <a:lnTo>
                    <a:pt x="222" y="763"/>
                  </a:lnTo>
                  <a:lnTo>
                    <a:pt x="226" y="761"/>
                  </a:lnTo>
                  <a:lnTo>
                    <a:pt x="237" y="755"/>
                  </a:lnTo>
                  <a:lnTo>
                    <a:pt x="248" y="746"/>
                  </a:lnTo>
                  <a:lnTo>
                    <a:pt x="262" y="735"/>
                  </a:lnTo>
                  <a:lnTo>
                    <a:pt x="275" y="725"/>
                  </a:lnTo>
                  <a:lnTo>
                    <a:pt x="280" y="722"/>
                  </a:lnTo>
                  <a:lnTo>
                    <a:pt x="286" y="720"/>
                  </a:lnTo>
                  <a:lnTo>
                    <a:pt x="291" y="722"/>
                  </a:lnTo>
                  <a:lnTo>
                    <a:pt x="297" y="723"/>
                  </a:lnTo>
                  <a:lnTo>
                    <a:pt x="297" y="723"/>
                  </a:lnTo>
                  <a:lnTo>
                    <a:pt x="304" y="733"/>
                  </a:lnTo>
                  <a:lnTo>
                    <a:pt x="304" y="733"/>
                  </a:lnTo>
                  <a:lnTo>
                    <a:pt x="312" y="738"/>
                  </a:lnTo>
                  <a:lnTo>
                    <a:pt x="319" y="744"/>
                  </a:lnTo>
                  <a:lnTo>
                    <a:pt x="333" y="751"/>
                  </a:lnTo>
                  <a:lnTo>
                    <a:pt x="338" y="757"/>
                  </a:lnTo>
                  <a:lnTo>
                    <a:pt x="342" y="763"/>
                  </a:lnTo>
                  <a:lnTo>
                    <a:pt x="344" y="770"/>
                  </a:lnTo>
                  <a:lnTo>
                    <a:pt x="346" y="781"/>
                  </a:lnTo>
                  <a:lnTo>
                    <a:pt x="346" y="781"/>
                  </a:lnTo>
                  <a:lnTo>
                    <a:pt x="368" y="809"/>
                  </a:lnTo>
                  <a:lnTo>
                    <a:pt x="389" y="836"/>
                  </a:lnTo>
                  <a:lnTo>
                    <a:pt x="405" y="860"/>
                  </a:lnTo>
                  <a:lnTo>
                    <a:pt x="405" y="860"/>
                  </a:lnTo>
                  <a:lnTo>
                    <a:pt x="413" y="871"/>
                  </a:lnTo>
                  <a:lnTo>
                    <a:pt x="420" y="879"/>
                  </a:lnTo>
                  <a:lnTo>
                    <a:pt x="428" y="882"/>
                  </a:lnTo>
                  <a:lnTo>
                    <a:pt x="435" y="886"/>
                  </a:lnTo>
                  <a:lnTo>
                    <a:pt x="443" y="890"/>
                  </a:lnTo>
                  <a:lnTo>
                    <a:pt x="450" y="897"/>
                  </a:lnTo>
                  <a:lnTo>
                    <a:pt x="458" y="910"/>
                  </a:lnTo>
                  <a:lnTo>
                    <a:pt x="463" y="931"/>
                  </a:lnTo>
                  <a:lnTo>
                    <a:pt x="463" y="931"/>
                  </a:lnTo>
                  <a:lnTo>
                    <a:pt x="471" y="951"/>
                  </a:lnTo>
                  <a:lnTo>
                    <a:pt x="475" y="959"/>
                  </a:lnTo>
                  <a:lnTo>
                    <a:pt x="478" y="963"/>
                  </a:lnTo>
                  <a:lnTo>
                    <a:pt x="482" y="964"/>
                  </a:lnTo>
                  <a:lnTo>
                    <a:pt x="486" y="964"/>
                  </a:lnTo>
                  <a:lnTo>
                    <a:pt x="495" y="963"/>
                  </a:lnTo>
                  <a:lnTo>
                    <a:pt x="504" y="959"/>
                  </a:lnTo>
                  <a:lnTo>
                    <a:pt x="516" y="957"/>
                  </a:lnTo>
                  <a:lnTo>
                    <a:pt x="523" y="957"/>
                  </a:lnTo>
                  <a:lnTo>
                    <a:pt x="529" y="961"/>
                  </a:lnTo>
                  <a:lnTo>
                    <a:pt x="536" y="964"/>
                  </a:lnTo>
                  <a:lnTo>
                    <a:pt x="546" y="972"/>
                  </a:lnTo>
                  <a:lnTo>
                    <a:pt x="546" y="972"/>
                  </a:lnTo>
                  <a:lnTo>
                    <a:pt x="551" y="979"/>
                  </a:lnTo>
                  <a:lnTo>
                    <a:pt x="551" y="987"/>
                  </a:lnTo>
                  <a:lnTo>
                    <a:pt x="551" y="996"/>
                  </a:lnTo>
                  <a:lnTo>
                    <a:pt x="549" y="1006"/>
                  </a:lnTo>
                  <a:lnTo>
                    <a:pt x="546" y="1013"/>
                  </a:lnTo>
                  <a:lnTo>
                    <a:pt x="546" y="1021"/>
                  </a:lnTo>
                  <a:lnTo>
                    <a:pt x="547" y="1026"/>
                  </a:lnTo>
                  <a:lnTo>
                    <a:pt x="553" y="1030"/>
                  </a:lnTo>
                  <a:lnTo>
                    <a:pt x="553" y="1030"/>
                  </a:lnTo>
                  <a:lnTo>
                    <a:pt x="562" y="1035"/>
                  </a:lnTo>
                  <a:lnTo>
                    <a:pt x="570" y="1045"/>
                  </a:lnTo>
                  <a:lnTo>
                    <a:pt x="589" y="1067"/>
                  </a:lnTo>
                  <a:lnTo>
                    <a:pt x="598" y="1077"/>
                  </a:lnTo>
                  <a:lnTo>
                    <a:pt x="609" y="1084"/>
                  </a:lnTo>
                  <a:lnTo>
                    <a:pt x="615" y="1086"/>
                  </a:lnTo>
                  <a:lnTo>
                    <a:pt x="620" y="1086"/>
                  </a:lnTo>
                  <a:lnTo>
                    <a:pt x="628" y="1086"/>
                  </a:lnTo>
                  <a:lnTo>
                    <a:pt x="635" y="1082"/>
                  </a:lnTo>
                  <a:lnTo>
                    <a:pt x="635" y="1082"/>
                  </a:lnTo>
                  <a:lnTo>
                    <a:pt x="645" y="1078"/>
                  </a:lnTo>
                  <a:lnTo>
                    <a:pt x="648" y="1080"/>
                  </a:lnTo>
                  <a:lnTo>
                    <a:pt x="650" y="1080"/>
                  </a:lnTo>
                  <a:lnTo>
                    <a:pt x="650" y="1088"/>
                  </a:lnTo>
                  <a:lnTo>
                    <a:pt x="648" y="1097"/>
                  </a:lnTo>
                  <a:lnTo>
                    <a:pt x="639" y="1118"/>
                  </a:lnTo>
                  <a:lnTo>
                    <a:pt x="637" y="1125"/>
                  </a:lnTo>
                  <a:lnTo>
                    <a:pt x="637" y="1129"/>
                  </a:lnTo>
                  <a:lnTo>
                    <a:pt x="637" y="1129"/>
                  </a:lnTo>
                  <a:lnTo>
                    <a:pt x="639" y="1134"/>
                  </a:lnTo>
                  <a:lnTo>
                    <a:pt x="643" y="1136"/>
                  </a:lnTo>
                  <a:lnTo>
                    <a:pt x="654" y="1138"/>
                  </a:lnTo>
                  <a:lnTo>
                    <a:pt x="667" y="1142"/>
                  </a:lnTo>
                  <a:lnTo>
                    <a:pt x="676" y="1146"/>
                  </a:lnTo>
                  <a:lnTo>
                    <a:pt x="688" y="1151"/>
                  </a:lnTo>
                  <a:lnTo>
                    <a:pt x="688" y="1151"/>
                  </a:lnTo>
                  <a:lnTo>
                    <a:pt x="691" y="1153"/>
                  </a:lnTo>
                  <a:lnTo>
                    <a:pt x="697" y="1153"/>
                  </a:lnTo>
                  <a:lnTo>
                    <a:pt x="701" y="1151"/>
                  </a:lnTo>
                  <a:lnTo>
                    <a:pt x="704" y="1151"/>
                  </a:lnTo>
                  <a:lnTo>
                    <a:pt x="708" y="1153"/>
                  </a:lnTo>
                  <a:lnTo>
                    <a:pt x="714" y="1163"/>
                  </a:lnTo>
                  <a:lnTo>
                    <a:pt x="719" y="1177"/>
                  </a:lnTo>
                  <a:lnTo>
                    <a:pt x="725" y="1204"/>
                  </a:lnTo>
                  <a:lnTo>
                    <a:pt x="725" y="1204"/>
                  </a:lnTo>
                  <a:lnTo>
                    <a:pt x="727" y="1209"/>
                  </a:lnTo>
                  <a:lnTo>
                    <a:pt x="729" y="1215"/>
                  </a:lnTo>
                  <a:lnTo>
                    <a:pt x="732" y="1217"/>
                  </a:lnTo>
                  <a:lnTo>
                    <a:pt x="734" y="1217"/>
                  </a:lnTo>
                  <a:lnTo>
                    <a:pt x="740" y="1213"/>
                  </a:lnTo>
                  <a:lnTo>
                    <a:pt x="746" y="1207"/>
                  </a:lnTo>
                  <a:lnTo>
                    <a:pt x="751" y="1200"/>
                  </a:lnTo>
                  <a:lnTo>
                    <a:pt x="757" y="1194"/>
                  </a:lnTo>
                  <a:lnTo>
                    <a:pt x="759" y="1194"/>
                  </a:lnTo>
                  <a:lnTo>
                    <a:pt x="760" y="1194"/>
                  </a:lnTo>
                  <a:lnTo>
                    <a:pt x="762" y="1202"/>
                  </a:lnTo>
                  <a:lnTo>
                    <a:pt x="762" y="1202"/>
                  </a:lnTo>
                  <a:lnTo>
                    <a:pt x="766" y="1219"/>
                  </a:lnTo>
                  <a:lnTo>
                    <a:pt x="768" y="1222"/>
                  </a:lnTo>
                  <a:lnTo>
                    <a:pt x="772" y="1226"/>
                  </a:lnTo>
                  <a:lnTo>
                    <a:pt x="775" y="1228"/>
                  </a:lnTo>
                  <a:lnTo>
                    <a:pt x="779" y="1228"/>
                  </a:lnTo>
                  <a:lnTo>
                    <a:pt x="787" y="1226"/>
                  </a:lnTo>
                  <a:lnTo>
                    <a:pt x="805" y="1219"/>
                  </a:lnTo>
                  <a:lnTo>
                    <a:pt x="815" y="1217"/>
                  </a:lnTo>
                  <a:lnTo>
                    <a:pt x="818" y="1219"/>
                  </a:lnTo>
                  <a:lnTo>
                    <a:pt x="822" y="1220"/>
                  </a:lnTo>
                  <a:lnTo>
                    <a:pt x="822" y="1220"/>
                  </a:lnTo>
                  <a:lnTo>
                    <a:pt x="856" y="1248"/>
                  </a:lnTo>
                  <a:lnTo>
                    <a:pt x="878" y="1263"/>
                  </a:lnTo>
                  <a:lnTo>
                    <a:pt x="889" y="1271"/>
                  </a:lnTo>
                  <a:lnTo>
                    <a:pt x="895" y="1271"/>
                  </a:lnTo>
                  <a:lnTo>
                    <a:pt x="899" y="1269"/>
                  </a:lnTo>
                  <a:lnTo>
                    <a:pt x="903" y="1267"/>
                  </a:lnTo>
                  <a:lnTo>
                    <a:pt x="910" y="1269"/>
                  </a:lnTo>
                  <a:lnTo>
                    <a:pt x="923" y="1277"/>
                  </a:lnTo>
                  <a:lnTo>
                    <a:pt x="923" y="1277"/>
                  </a:lnTo>
                  <a:lnTo>
                    <a:pt x="931" y="1280"/>
                  </a:lnTo>
                  <a:lnTo>
                    <a:pt x="936" y="1280"/>
                  </a:lnTo>
                  <a:lnTo>
                    <a:pt x="942" y="1278"/>
                  </a:lnTo>
                  <a:lnTo>
                    <a:pt x="946" y="1275"/>
                  </a:lnTo>
                  <a:lnTo>
                    <a:pt x="949" y="1273"/>
                  </a:lnTo>
                  <a:lnTo>
                    <a:pt x="955" y="1269"/>
                  </a:lnTo>
                  <a:lnTo>
                    <a:pt x="959" y="1269"/>
                  </a:lnTo>
                  <a:lnTo>
                    <a:pt x="964" y="1273"/>
                  </a:lnTo>
                  <a:lnTo>
                    <a:pt x="964" y="1273"/>
                  </a:lnTo>
                  <a:lnTo>
                    <a:pt x="970" y="1277"/>
                  </a:lnTo>
                  <a:lnTo>
                    <a:pt x="977" y="1278"/>
                  </a:lnTo>
                  <a:lnTo>
                    <a:pt x="990" y="1280"/>
                  </a:lnTo>
                  <a:lnTo>
                    <a:pt x="1007" y="1278"/>
                  </a:lnTo>
                  <a:lnTo>
                    <a:pt x="1024" y="1277"/>
                  </a:lnTo>
                  <a:lnTo>
                    <a:pt x="1052" y="1269"/>
                  </a:lnTo>
                  <a:lnTo>
                    <a:pt x="1063" y="1269"/>
                  </a:lnTo>
                  <a:lnTo>
                    <a:pt x="1067" y="1271"/>
                  </a:lnTo>
                  <a:lnTo>
                    <a:pt x="1071" y="1273"/>
                  </a:lnTo>
                  <a:lnTo>
                    <a:pt x="1071" y="1273"/>
                  </a:lnTo>
                  <a:lnTo>
                    <a:pt x="1076" y="1282"/>
                  </a:lnTo>
                  <a:lnTo>
                    <a:pt x="1082" y="1291"/>
                  </a:lnTo>
                  <a:lnTo>
                    <a:pt x="1082" y="1301"/>
                  </a:lnTo>
                  <a:lnTo>
                    <a:pt x="1082" y="1308"/>
                  </a:lnTo>
                  <a:lnTo>
                    <a:pt x="1080" y="1316"/>
                  </a:lnTo>
                  <a:lnTo>
                    <a:pt x="1076" y="1323"/>
                  </a:lnTo>
                  <a:lnTo>
                    <a:pt x="1069" y="1336"/>
                  </a:lnTo>
                  <a:lnTo>
                    <a:pt x="1061" y="1349"/>
                  </a:lnTo>
                  <a:lnTo>
                    <a:pt x="1060" y="1357"/>
                  </a:lnTo>
                  <a:lnTo>
                    <a:pt x="1058" y="1364"/>
                  </a:lnTo>
                  <a:lnTo>
                    <a:pt x="1060" y="1372"/>
                  </a:lnTo>
                  <a:lnTo>
                    <a:pt x="1063" y="1379"/>
                  </a:lnTo>
                  <a:lnTo>
                    <a:pt x="1069" y="1389"/>
                  </a:lnTo>
                  <a:lnTo>
                    <a:pt x="1078" y="1396"/>
                  </a:lnTo>
                  <a:lnTo>
                    <a:pt x="1078" y="1396"/>
                  </a:lnTo>
                  <a:lnTo>
                    <a:pt x="1086" y="1400"/>
                  </a:lnTo>
                  <a:lnTo>
                    <a:pt x="1091" y="1402"/>
                  </a:lnTo>
                  <a:lnTo>
                    <a:pt x="1097" y="1402"/>
                  </a:lnTo>
                  <a:lnTo>
                    <a:pt x="1101" y="1398"/>
                  </a:lnTo>
                  <a:lnTo>
                    <a:pt x="1104" y="1394"/>
                  </a:lnTo>
                  <a:lnTo>
                    <a:pt x="1104" y="1389"/>
                  </a:lnTo>
                  <a:lnTo>
                    <a:pt x="1104" y="1381"/>
                  </a:lnTo>
                  <a:lnTo>
                    <a:pt x="1101" y="1374"/>
                  </a:lnTo>
                  <a:lnTo>
                    <a:pt x="1101" y="1374"/>
                  </a:lnTo>
                  <a:lnTo>
                    <a:pt x="1099" y="1372"/>
                  </a:lnTo>
                  <a:lnTo>
                    <a:pt x="1101" y="1366"/>
                  </a:lnTo>
                  <a:lnTo>
                    <a:pt x="1110" y="1353"/>
                  </a:lnTo>
                  <a:lnTo>
                    <a:pt x="1127" y="1336"/>
                  </a:lnTo>
                  <a:lnTo>
                    <a:pt x="1145" y="1319"/>
                  </a:lnTo>
                  <a:lnTo>
                    <a:pt x="1168" y="1305"/>
                  </a:lnTo>
                  <a:lnTo>
                    <a:pt x="1179" y="1297"/>
                  </a:lnTo>
                  <a:lnTo>
                    <a:pt x="1190" y="1291"/>
                  </a:lnTo>
                  <a:lnTo>
                    <a:pt x="1202" y="1290"/>
                  </a:lnTo>
                  <a:lnTo>
                    <a:pt x="1213" y="1288"/>
                  </a:lnTo>
                  <a:lnTo>
                    <a:pt x="1222" y="1288"/>
                  </a:lnTo>
                  <a:lnTo>
                    <a:pt x="1230" y="1291"/>
                  </a:lnTo>
                  <a:lnTo>
                    <a:pt x="1230" y="1291"/>
                  </a:lnTo>
                  <a:lnTo>
                    <a:pt x="1245" y="1297"/>
                  </a:lnTo>
                  <a:lnTo>
                    <a:pt x="1261" y="1301"/>
                  </a:lnTo>
                  <a:lnTo>
                    <a:pt x="1276" y="1308"/>
                  </a:lnTo>
                  <a:lnTo>
                    <a:pt x="1282" y="1312"/>
                  </a:lnTo>
                  <a:lnTo>
                    <a:pt x="1289" y="1319"/>
                  </a:lnTo>
                  <a:lnTo>
                    <a:pt x="1289" y="1319"/>
                  </a:lnTo>
                  <a:lnTo>
                    <a:pt x="1293" y="1323"/>
                  </a:lnTo>
                  <a:lnTo>
                    <a:pt x="1297" y="1325"/>
                  </a:lnTo>
                  <a:lnTo>
                    <a:pt x="1306" y="1327"/>
                  </a:lnTo>
                  <a:lnTo>
                    <a:pt x="1312" y="1329"/>
                  </a:lnTo>
                  <a:lnTo>
                    <a:pt x="1319" y="1333"/>
                  </a:lnTo>
                  <a:lnTo>
                    <a:pt x="1329" y="1338"/>
                  </a:lnTo>
                  <a:lnTo>
                    <a:pt x="1340" y="1349"/>
                  </a:lnTo>
                  <a:lnTo>
                    <a:pt x="1340" y="1349"/>
                  </a:lnTo>
                  <a:lnTo>
                    <a:pt x="1347" y="1355"/>
                  </a:lnTo>
                  <a:lnTo>
                    <a:pt x="1353" y="1359"/>
                  </a:lnTo>
                  <a:lnTo>
                    <a:pt x="1360" y="1361"/>
                  </a:lnTo>
                  <a:lnTo>
                    <a:pt x="1366" y="1361"/>
                  </a:lnTo>
                  <a:lnTo>
                    <a:pt x="1375" y="1359"/>
                  </a:lnTo>
                  <a:lnTo>
                    <a:pt x="1387" y="1355"/>
                  </a:lnTo>
                  <a:lnTo>
                    <a:pt x="1394" y="1351"/>
                  </a:lnTo>
                  <a:lnTo>
                    <a:pt x="1400" y="1351"/>
                  </a:lnTo>
                  <a:lnTo>
                    <a:pt x="1403" y="1353"/>
                  </a:lnTo>
                  <a:lnTo>
                    <a:pt x="1407" y="1357"/>
                  </a:lnTo>
                  <a:lnTo>
                    <a:pt x="1413" y="1362"/>
                  </a:lnTo>
                  <a:lnTo>
                    <a:pt x="1418" y="1370"/>
                  </a:lnTo>
                  <a:lnTo>
                    <a:pt x="1424" y="1379"/>
                  </a:lnTo>
                  <a:lnTo>
                    <a:pt x="1424" y="1379"/>
                  </a:lnTo>
                  <a:lnTo>
                    <a:pt x="1426" y="1389"/>
                  </a:lnTo>
                  <a:lnTo>
                    <a:pt x="1424" y="1400"/>
                  </a:lnTo>
                  <a:lnTo>
                    <a:pt x="1420" y="1417"/>
                  </a:lnTo>
                  <a:lnTo>
                    <a:pt x="1422" y="1426"/>
                  </a:lnTo>
                  <a:lnTo>
                    <a:pt x="1422" y="1430"/>
                  </a:lnTo>
                  <a:lnTo>
                    <a:pt x="1426" y="1432"/>
                  </a:lnTo>
                  <a:lnTo>
                    <a:pt x="1430" y="1435"/>
                  </a:lnTo>
                  <a:lnTo>
                    <a:pt x="1433" y="1437"/>
                  </a:lnTo>
                  <a:lnTo>
                    <a:pt x="1450" y="1441"/>
                  </a:lnTo>
                  <a:lnTo>
                    <a:pt x="1450" y="1441"/>
                  </a:lnTo>
                  <a:lnTo>
                    <a:pt x="1458" y="1441"/>
                  </a:lnTo>
                  <a:lnTo>
                    <a:pt x="1463" y="1443"/>
                  </a:lnTo>
                  <a:lnTo>
                    <a:pt x="1467" y="1447"/>
                  </a:lnTo>
                  <a:lnTo>
                    <a:pt x="1471" y="1450"/>
                  </a:lnTo>
                  <a:lnTo>
                    <a:pt x="1471" y="1454"/>
                  </a:lnTo>
                  <a:lnTo>
                    <a:pt x="1471" y="1458"/>
                  </a:lnTo>
                  <a:lnTo>
                    <a:pt x="1469" y="1467"/>
                  </a:lnTo>
                  <a:lnTo>
                    <a:pt x="1459" y="1488"/>
                  </a:lnTo>
                  <a:lnTo>
                    <a:pt x="1458" y="1499"/>
                  </a:lnTo>
                  <a:lnTo>
                    <a:pt x="1458" y="1503"/>
                  </a:lnTo>
                  <a:lnTo>
                    <a:pt x="1459" y="1506"/>
                  </a:lnTo>
                  <a:lnTo>
                    <a:pt x="1459" y="1506"/>
                  </a:lnTo>
                  <a:lnTo>
                    <a:pt x="1465" y="1519"/>
                  </a:lnTo>
                  <a:lnTo>
                    <a:pt x="1469" y="1529"/>
                  </a:lnTo>
                  <a:lnTo>
                    <a:pt x="1471" y="1532"/>
                  </a:lnTo>
                  <a:lnTo>
                    <a:pt x="1476" y="1534"/>
                  </a:lnTo>
                  <a:lnTo>
                    <a:pt x="1508" y="1536"/>
                  </a:lnTo>
                  <a:lnTo>
                    <a:pt x="1542" y="1540"/>
                  </a:lnTo>
                  <a:lnTo>
                    <a:pt x="1588" y="1549"/>
                  </a:lnTo>
                  <a:lnTo>
                    <a:pt x="1588" y="1549"/>
                  </a:lnTo>
                  <a:lnTo>
                    <a:pt x="1611" y="1553"/>
                  </a:lnTo>
                  <a:lnTo>
                    <a:pt x="1629" y="1555"/>
                  </a:lnTo>
                  <a:lnTo>
                    <a:pt x="1644" y="1555"/>
                  </a:lnTo>
                  <a:lnTo>
                    <a:pt x="1658" y="1553"/>
                  </a:lnTo>
                  <a:lnTo>
                    <a:pt x="1667" y="1549"/>
                  </a:lnTo>
                  <a:lnTo>
                    <a:pt x="1676" y="1544"/>
                  </a:lnTo>
                  <a:lnTo>
                    <a:pt x="1684" y="1538"/>
                  </a:lnTo>
                  <a:lnTo>
                    <a:pt x="1691" y="1531"/>
                  </a:lnTo>
                  <a:lnTo>
                    <a:pt x="1706" y="1518"/>
                  </a:lnTo>
                  <a:lnTo>
                    <a:pt x="1714" y="1510"/>
                  </a:lnTo>
                  <a:lnTo>
                    <a:pt x="1725" y="1503"/>
                  </a:lnTo>
                  <a:lnTo>
                    <a:pt x="1736" y="1495"/>
                  </a:lnTo>
                  <a:lnTo>
                    <a:pt x="1749" y="1490"/>
                  </a:lnTo>
                  <a:lnTo>
                    <a:pt x="1766" y="1484"/>
                  </a:lnTo>
                  <a:lnTo>
                    <a:pt x="1786" y="1480"/>
                  </a:lnTo>
                  <a:lnTo>
                    <a:pt x="1786" y="1480"/>
                  </a:lnTo>
                  <a:lnTo>
                    <a:pt x="1813" y="1476"/>
                  </a:lnTo>
                  <a:lnTo>
                    <a:pt x="1837" y="1471"/>
                  </a:lnTo>
                  <a:lnTo>
                    <a:pt x="1856" y="1463"/>
                  </a:lnTo>
                  <a:lnTo>
                    <a:pt x="1871" y="1456"/>
                  </a:lnTo>
                  <a:lnTo>
                    <a:pt x="1884" y="1450"/>
                  </a:lnTo>
                  <a:lnTo>
                    <a:pt x="1893" y="1443"/>
                  </a:lnTo>
                  <a:lnTo>
                    <a:pt x="1908" y="1430"/>
                  </a:lnTo>
                  <a:lnTo>
                    <a:pt x="1921" y="1419"/>
                  </a:lnTo>
                  <a:lnTo>
                    <a:pt x="1927" y="1415"/>
                  </a:lnTo>
                  <a:lnTo>
                    <a:pt x="1934" y="1413"/>
                  </a:lnTo>
                  <a:lnTo>
                    <a:pt x="1943" y="1413"/>
                  </a:lnTo>
                  <a:lnTo>
                    <a:pt x="1955" y="1413"/>
                  </a:lnTo>
                  <a:lnTo>
                    <a:pt x="1968" y="1417"/>
                  </a:lnTo>
                  <a:lnTo>
                    <a:pt x="1985" y="1422"/>
                  </a:lnTo>
                  <a:lnTo>
                    <a:pt x="1985" y="1422"/>
                  </a:lnTo>
                  <a:lnTo>
                    <a:pt x="1992" y="1424"/>
                  </a:lnTo>
                  <a:lnTo>
                    <a:pt x="2001" y="1426"/>
                  </a:lnTo>
                  <a:lnTo>
                    <a:pt x="2009" y="1428"/>
                  </a:lnTo>
                  <a:lnTo>
                    <a:pt x="2018" y="1430"/>
                  </a:lnTo>
                  <a:lnTo>
                    <a:pt x="2029" y="1435"/>
                  </a:lnTo>
                  <a:lnTo>
                    <a:pt x="2041" y="1443"/>
                  </a:lnTo>
                  <a:lnTo>
                    <a:pt x="2056" y="1456"/>
                  </a:lnTo>
                  <a:lnTo>
                    <a:pt x="2072" y="1475"/>
                  </a:lnTo>
                  <a:lnTo>
                    <a:pt x="2072" y="1475"/>
                  </a:lnTo>
                  <a:lnTo>
                    <a:pt x="2082" y="1482"/>
                  </a:lnTo>
                  <a:lnTo>
                    <a:pt x="2091" y="1488"/>
                  </a:lnTo>
                  <a:lnTo>
                    <a:pt x="2102" y="1493"/>
                  </a:lnTo>
                  <a:lnTo>
                    <a:pt x="2106" y="1495"/>
                  </a:lnTo>
                  <a:lnTo>
                    <a:pt x="2110" y="1501"/>
                  </a:lnTo>
                  <a:lnTo>
                    <a:pt x="2110" y="1501"/>
                  </a:lnTo>
                  <a:lnTo>
                    <a:pt x="2114" y="1504"/>
                  </a:lnTo>
                  <a:lnTo>
                    <a:pt x="2115" y="1506"/>
                  </a:lnTo>
                  <a:lnTo>
                    <a:pt x="2119" y="1506"/>
                  </a:lnTo>
                  <a:lnTo>
                    <a:pt x="2123" y="1506"/>
                  </a:lnTo>
                  <a:lnTo>
                    <a:pt x="2130" y="1501"/>
                  </a:lnTo>
                  <a:lnTo>
                    <a:pt x="2142" y="1495"/>
                  </a:lnTo>
                  <a:lnTo>
                    <a:pt x="2142" y="1495"/>
                  </a:lnTo>
                  <a:lnTo>
                    <a:pt x="2155" y="1490"/>
                  </a:lnTo>
                  <a:lnTo>
                    <a:pt x="2158" y="1488"/>
                  </a:lnTo>
                  <a:lnTo>
                    <a:pt x="2160" y="1484"/>
                  </a:lnTo>
                  <a:lnTo>
                    <a:pt x="2160" y="1482"/>
                  </a:lnTo>
                  <a:lnTo>
                    <a:pt x="2158" y="1480"/>
                  </a:lnTo>
                  <a:lnTo>
                    <a:pt x="2155" y="1476"/>
                  </a:lnTo>
                  <a:lnTo>
                    <a:pt x="2153" y="1471"/>
                  </a:lnTo>
                  <a:lnTo>
                    <a:pt x="2151" y="1467"/>
                  </a:lnTo>
                  <a:lnTo>
                    <a:pt x="2151" y="1463"/>
                  </a:lnTo>
                  <a:lnTo>
                    <a:pt x="2153" y="1458"/>
                  </a:lnTo>
                  <a:lnTo>
                    <a:pt x="2155" y="1452"/>
                  </a:lnTo>
                  <a:lnTo>
                    <a:pt x="2160" y="1447"/>
                  </a:lnTo>
                  <a:lnTo>
                    <a:pt x="2168" y="1439"/>
                  </a:lnTo>
                  <a:lnTo>
                    <a:pt x="2168" y="1439"/>
                  </a:lnTo>
                  <a:lnTo>
                    <a:pt x="2175" y="1432"/>
                  </a:lnTo>
                  <a:lnTo>
                    <a:pt x="2181" y="1422"/>
                  </a:lnTo>
                  <a:lnTo>
                    <a:pt x="2186" y="1413"/>
                  </a:lnTo>
                  <a:lnTo>
                    <a:pt x="2192" y="1405"/>
                  </a:lnTo>
                  <a:lnTo>
                    <a:pt x="2198" y="1404"/>
                  </a:lnTo>
                  <a:lnTo>
                    <a:pt x="2201" y="1404"/>
                  </a:lnTo>
                  <a:lnTo>
                    <a:pt x="2203" y="1405"/>
                  </a:lnTo>
                  <a:lnTo>
                    <a:pt x="2207" y="1415"/>
                  </a:lnTo>
                  <a:lnTo>
                    <a:pt x="2213" y="1433"/>
                  </a:lnTo>
                  <a:lnTo>
                    <a:pt x="2213" y="1433"/>
                  </a:lnTo>
                  <a:lnTo>
                    <a:pt x="2213" y="1435"/>
                  </a:lnTo>
                  <a:lnTo>
                    <a:pt x="2214" y="1437"/>
                  </a:lnTo>
                  <a:lnTo>
                    <a:pt x="2220" y="1435"/>
                  </a:lnTo>
                  <a:lnTo>
                    <a:pt x="2224" y="1437"/>
                  </a:lnTo>
                  <a:lnTo>
                    <a:pt x="2229" y="1437"/>
                  </a:lnTo>
                  <a:lnTo>
                    <a:pt x="2233" y="1441"/>
                  </a:lnTo>
                  <a:lnTo>
                    <a:pt x="2237" y="1447"/>
                  </a:lnTo>
                  <a:lnTo>
                    <a:pt x="2237" y="1447"/>
                  </a:lnTo>
                  <a:lnTo>
                    <a:pt x="2246" y="1461"/>
                  </a:lnTo>
                  <a:lnTo>
                    <a:pt x="2252" y="1467"/>
                  </a:lnTo>
                  <a:lnTo>
                    <a:pt x="2254" y="1469"/>
                  </a:lnTo>
                  <a:lnTo>
                    <a:pt x="2254" y="1471"/>
                  </a:lnTo>
                  <a:lnTo>
                    <a:pt x="2254" y="1471"/>
                  </a:lnTo>
                  <a:lnTo>
                    <a:pt x="2263" y="1458"/>
                  </a:lnTo>
                  <a:lnTo>
                    <a:pt x="2272" y="1445"/>
                  </a:lnTo>
                  <a:lnTo>
                    <a:pt x="2278" y="1441"/>
                  </a:lnTo>
                  <a:lnTo>
                    <a:pt x="2282" y="1441"/>
                  </a:lnTo>
                  <a:lnTo>
                    <a:pt x="2285" y="1445"/>
                  </a:lnTo>
                  <a:lnTo>
                    <a:pt x="2287" y="1456"/>
                  </a:lnTo>
                  <a:lnTo>
                    <a:pt x="2287" y="1456"/>
                  </a:lnTo>
                  <a:lnTo>
                    <a:pt x="2289" y="1471"/>
                  </a:lnTo>
                  <a:lnTo>
                    <a:pt x="2289" y="1475"/>
                  </a:lnTo>
                  <a:lnTo>
                    <a:pt x="2291" y="1476"/>
                  </a:lnTo>
                  <a:lnTo>
                    <a:pt x="2300" y="1475"/>
                  </a:lnTo>
                  <a:lnTo>
                    <a:pt x="2319" y="1469"/>
                  </a:lnTo>
                  <a:lnTo>
                    <a:pt x="2319" y="1469"/>
                  </a:lnTo>
                  <a:lnTo>
                    <a:pt x="2328" y="1467"/>
                  </a:lnTo>
                  <a:lnTo>
                    <a:pt x="2330" y="1463"/>
                  </a:lnTo>
                  <a:lnTo>
                    <a:pt x="2332" y="1461"/>
                  </a:lnTo>
                  <a:lnTo>
                    <a:pt x="2332" y="1454"/>
                  </a:lnTo>
                  <a:lnTo>
                    <a:pt x="2330" y="1445"/>
                  </a:lnTo>
                  <a:lnTo>
                    <a:pt x="2328" y="1435"/>
                  </a:lnTo>
                  <a:lnTo>
                    <a:pt x="2327" y="1424"/>
                  </a:lnTo>
                  <a:lnTo>
                    <a:pt x="2327" y="1415"/>
                  </a:lnTo>
                  <a:lnTo>
                    <a:pt x="2330" y="1404"/>
                  </a:lnTo>
                  <a:lnTo>
                    <a:pt x="2330" y="1404"/>
                  </a:lnTo>
                  <a:lnTo>
                    <a:pt x="2332" y="1392"/>
                  </a:lnTo>
                  <a:lnTo>
                    <a:pt x="2336" y="1374"/>
                  </a:lnTo>
                  <a:lnTo>
                    <a:pt x="2338" y="1364"/>
                  </a:lnTo>
                  <a:lnTo>
                    <a:pt x="2342" y="1359"/>
                  </a:lnTo>
                  <a:lnTo>
                    <a:pt x="2343" y="1359"/>
                  </a:lnTo>
                  <a:lnTo>
                    <a:pt x="2347" y="1359"/>
                  </a:lnTo>
                  <a:lnTo>
                    <a:pt x="2353" y="1366"/>
                  </a:lnTo>
                  <a:lnTo>
                    <a:pt x="2353" y="1366"/>
                  </a:lnTo>
                  <a:lnTo>
                    <a:pt x="2353" y="1374"/>
                  </a:lnTo>
                  <a:lnTo>
                    <a:pt x="2355" y="1385"/>
                  </a:lnTo>
                  <a:lnTo>
                    <a:pt x="2356" y="1389"/>
                  </a:lnTo>
                  <a:lnTo>
                    <a:pt x="2360" y="1390"/>
                  </a:lnTo>
                  <a:lnTo>
                    <a:pt x="2362" y="1392"/>
                  </a:lnTo>
                  <a:lnTo>
                    <a:pt x="2368" y="1389"/>
                  </a:lnTo>
                  <a:lnTo>
                    <a:pt x="2368" y="1389"/>
                  </a:lnTo>
                  <a:lnTo>
                    <a:pt x="2371" y="1383"/>
                  </a:lnTo>
                  <a:lnTo>
                    <a:pt x="2373" y="1376"/>
                  </a:lnTo>
                  <a:lnTo>
                    <a:pt x="2373" y="1357"/>
                  </a:lnTo>
                  <a:lnTo>
                    <a:pt x="2375" y="1349"/>
                  </a:lnTo>
                  <a:lnTo>
                    <a:pt x="2377" y="1342"/>
                  </a:lnTo>
                  <a:lnTo>
                    <a:pt x="2383" y="1336"/>
                  </a:lnTo>
                  <a:lnTo>
                    <a:pt x="2392" y="1334"/>
                  </a:lnTo>
                  <a:lnTo>
                    <a:pt x="2392" y="1334"/>
                  </a:lnTo>
                  <a:lnTo>
                    <a:pt x="2392" y="1271"/>
                  </a:lnTo>
                  <a:lnTo>
                    <a:pt x="2394" y="1241"/>
                  </a:lnTo>
                  <a:lnTo>
                    <a:pt x="2394" y="1241"/>
                  </a:lnTo>
                  <a:lnTo>
                    <a:pt x="2399" y="1230"/>
                  </a:lnTo>
                  <a:lnTo>
                    <a:pt x="2401" y="1217"/>
                  </a:lnTo>
                  <a:lnTo>
                    <a:pt x="2401" y="1204"/>
                  </a:lnTo>
                  <a:lnTo>
                    <a:pt x="2398" y="1191"/>
                  </a:lnTo>
                  <a:lnTo>
                    <a:pt x="2392" y="1163"/>
                  </a:lnTo>
                  <a:lnTo>
                    <a:pt x="2392" y="1149"/>
                  </a:lnTo>
                  <a:lnTo>
                    <a:pt x="2394" y="1136"/>
                  </a:lnTo>
                  <a:lnTo>
                    <a:pt x="2394" y="1136"/>
                  </a:lnTo>
                  <a:lnTo>
                    <a:pt x="2398" y="1120"/>
                  </a:lnTo>
                  <a:lnTo>
                    <a:pt x="2398" y="1108"/>
                  </a:lnTo>
                  <a:lnTo>
                    <a:pt x="2396" y="1101"/>
                  </a:lnTo>
                  <a:lnTo>
                    <a:pt x="2392" y="1093"/>
                  </a:lnTo>
                  <a:lnTo>
                    <a:pt x="2386" y="1088"/>
                  </a:lnTo>
                  <a:lnTo>
                    <a:pt x="2385" y="1084"/>
                  </a:lnTo>
                  <a:lnTo>
                    <a:pt x="2385" y="1080"/>
                  </a:lnTo>
                  <a:lnTo>
                    <a:pt x="2385" y="1080"/>
                  </a:lnTo>
                  <a:lnTo>
                    <a:pt x="2385" y="1073"/>
                  </a:lnTo>
                  <a:lnTo>
                    <a:pt x="2381" y="1065"/>
                  </a:lnTo>
                  <a:lnTo>
                    <a:pt x="2373" y="1045"/>
                  </a:lnTo>
                  <a:lnTo>
                    <a:pt x="2370" y="1035"/>
                  </a:lnTo>
                  <a:lnTo>
                    <a:pt x="2371" y="1030"/>
                  </a:lnTo>
                  <a:lnTo>
                    <a:pt x="2371" y="1028"/>
                  </a:lnTo>
                  <a:lnTo>
                    <a:pt x="2375" y="1026"/>
                  </a:lnTo>
                  <a:lnTo>
                    <a:pt x="2385" y="1028"/>
                  </a:lnTo>
                  <a:lnTo>
                    <a:pt x="2385" y="1028"/>
                  </a:lnTo>
                  <a:lnTo>
                    <a:pt x="2394" y="1030"/>
                  </a:lnTo>
                  <a:lnTo>
                    <a:pt x="2396" y="1030"/>
                  </a:lnTo>
                  <a:lnTo>
                    <a:pt x="2398" y="1028"/>
                  </a:lnTo>
                  <a:lnTo>
                    <a:pt x="2398" y="1022"/>
                  </a:lnTo>
                  <a:lnTo>
                    <a:pt x="2394" y="1015"/>
                  </a:lnTo>
                  <a:lnTo>
                    <a:pt x="2385" y="998"/>
                  </a:lnTo>
                  <a:lnTo>
                    <a:pt x="2377" y="989"/>
                  </a:lnTo>
                  <a:lnTo>
                    <a:pt x="2377" y="989"/>
                  </a:lnTo>
                  <a:lnTo>
                    <a:pt x="2371" y="979"/>
                  </a:lnTo>
                  <a:lnTo>
                    <a:pt x="2364" y="968"/>
                  </a:lnTo>
                  <a:lnTo>
                    <a:pt x="2356" y="957"/>
                  </a:lnTo>
                  <a:lnTo>
                    <a:pt x="2355" y="950"/>
                  </a:lnTo>
                  <a:lnTo>
                    <a:pt x="2355" y="950"/>
                  </a:lnTo>
                  <a:lnTo>
                    <a:pt x="2355" y="936"/>
                  </a:lnTo>
                  <a:lnTo>
                    <a:pt x="2353" y="927"/>
                  </a:lnTo>
                  <a:lnTo>
                    <a:pt x="2349" y="914"/>
                  </a:lnTo>
                  <a:lnTo>
                    <a:pt x="2343" y="903"/>
                  </a:lnTo>
                  <a:lnTo>
                    <a:pt x="2342" y="895"/>
                  </a:lnTo>
                  <a:lnTo>
                    <a:pt x="2342" y="895"/>
                  </a:lnTo>
                  <a:lnTo>
                    <a:pt x="2340" y="888"/>
                  </a:lnTo>
                  <a:lnTo>
                    <a:pt x="2334" y="879"/>
                  </a:lnTo>
                  <a:lnTo>
                    <a:pt x="2328" y="871"/>
                  </a:lnTo>
                  <a:lnTo>
                    <a:pt x="2323" y="862"/>
                  </a:lnTo>
                  <a:lnTo>
                    <a:pt x="2308" y="850"/>
                  </a:lnTo>
                  <a:lnTo>
                    <a:pt x="2302" y="847"/>
                  </a:lnTo>
                  <a:lnTo>
                    <a:pt x="2295" y="843"/>
                  </a:lnTo>
                  <a:lnTo>
                    <a:pt x="2295" y="843"/>
                  </a:lnTo>
                  <a:lnTo>
                    <a:pt x="2293" y="843"/>
                  </a:lnTo>
                  <a:lnTo>
                    <a:pt x="2293" y="843"/>
                  </a:lnTo>
                  <a:lnTo>
                    <a:pt x="2265" y="841"/>
                  </a:lnTo>
                  <a:lnTo>
                    <a:pt x="2254" y="841"/>
                  </a:lnTo>
                  <a:lnTo>
                    <a:pt x="2246" y="845"/>
                  </a:lnTo>
                  <a:lnTo>
                    <a:pt x="2239" y="849"/>
                  </a:lnTo>
                  <a:lnTo>
                    <a:pt x="2233" y="856"/>
                  </a:lnTo>
                  <a:lnTo>
                    <a:pt x="2228" y="865"/>
                  </a:lnTo>
                  <a:lnTo>
                    <a:pt x="2222" y="879"/>
                  </a:lnTo>
                  <a:lnTo>
                    <a:pt x="2222" y="879"/>
                  </a:lnTo>
                  <a:lnTo>
                    <a:pt x="2218" y="884"/>
                  </a:lnTo>
                  <a:lnTo>
                    <a:pt x="2214" y="890"/>
                  </a:lnTo>
                  <a:lnTo>
                    <a:pt x="2205" y="895"/>
                  </a:lnTo>
                  <a:lnTo>
                    <a:pt x="2194" y="899"/>
                  </a:lnTo>
                  <a:lnTo>
                    <a:pt x="2183" y="901"/>
                  </a:lnTo>
                  <a:lnTo>
                    <a:pt x="2162" y="901"/>
                  </a:lnTo>
                  <a:lnTo>
                    <a:pt x="2155" y="901"/>
                  </a:lnTo>
                  <a:lnTo>
                    <a:pt x="2153" y="903"/>
                  </a:lnTo>
                  <a:lnTo>
                    <a:pt x="2153" y="903"/>
                  </a:lnTo>
                  <a:lnTo>
                    <a:pt x="2153" y="914"/>
                  </a:lnTo>
                  <a:lnTo>
                    <a:pt x="2153" y="925"/>
                  </a:lnTo>
                  <a:lnTo>
                    <a:pt x="2149" y="933"/>
                  </a:lnTo>
                  <a:lnTo>
                    <a:pt x="2145" y="938"/>
                  </a:lnTo>
                  <a:lnTo>
                    <a:pt x="2140" y="942"/>
                  </a:lnTo>
                  <a:lnTo>
                    <a:pt x="2134" y="940"/>
                  </a:lnTo>
                  <a:lnTo>
                    <a:pt x="2127" y="936"/>
                  </a:lnTo>
                  <a:lnTo>
                    <a:pt x="2117" y="927"/>
                  </a:lnTo>
                  <a:lnTo>
                    <a:pt x="2117" y="927"/>
                  </a:lnTo>
                  <a:lnTo>
                    <a:pt x="2106" y="912"/>
                  </a:lnTo>
                  <a:lnTo>
                    <a:pt x="2097" y="905"/>
                  </a:lnTo>
                  <a:lnTo>
                    <a:pt x="2091" y="903"/>
                  </a:lnTo>
                  <a:lnTo>
                    <a:pt x="2087" y="907"/>
                  </a:lnTo>
                  <a:lnTo>
                    <a:pt x="2085" y="910"/>
                  </a:lnTo>
                  <a:lnTo>
                    <a:pt x="2085" y="916"/>
                  </a:lnTo>
                  <a:lnTo>
                    <a:pt x="2085" y="921"/>
                  </a:lnTo>
                  <a:lnTo>
                    <a:pt x="2087" y="925"/>
                  </a:lnTo>
                  <a:lnTo>
                    <a:pt x="2087" y="925"/>
                  </a:lnTo>
                  <a:lnTo>
                    <a:pt x="2091" y="931"/>
                  </a:lnTo>
                  <a:lnTo>
                    <a:pt x="2093" y="936"/>
                  </a:lnTo>
                  <a:lnTo>
                    <a:pt x="2091" y="942"/>
                  </a:lnTo>
                  <a:lnTo>
                    <a:pt x="2089" y="946"/>
                  </a:lnTo>
                  <a:lnTo>
                    <a:pt x="2085" y="948"/>
                  </a:lnTo>
                  <a:lnTo>
                    <a:pt x="2082" y="948"/>
                  </a:lnTo>
                  <a:lnTo>
                    <a:pt x="2076" y="946"/>
                  </a:lnTo>
                  <a:lnTo>
                    <a:pt x="2072" y="940"/>
                  </a:lnTo>
                  <a:lnTo>
                    <a:pt x="2072" y="940"/>
                  </a:lnTo>
                  <a:lnTo>
                    <a:pt x="2069" y="933"/>
                  </a:lnTo>
                  <a:lnTo>
                    <a:pt x="2065" y="929"/>
                  </a:lnTo>
                  <a:lnTo>
                    <a:pt x="2061" y="925"/>
                  </a:lnTo>
                  <a:lnTo>
                    <a:pt x="2057" y="925"/>
                  </a:lnTo>
                  <a:lnTo>
                    <a:pt x="2048" y="925"/>
                  </a:lnTo>
                  <a:lnTo>
                    <a:pt x="2043" y="923"/>
                  </a:lnTo>
                  <a:lnTo>
                    <a:pt x="2035" y="921"/>
                  </a:lnTo>
                  <a:lnTo>
                    <a:pt x="2035" y="921"/>
                  </a:lnTo>
                  <a:lnTo>
                    <a:pt x="2016" y="914"/>
                  </a:lnTo>
                  <a:lnTo>
                    <a:pt x="2007" y="910"/>
                  </a:lnTo>
                  <a:lnTo>
                    <a:pt x="2001" y="908"/>
                  </a:lnTo>
                  <a:lnTo>
                    <a:pt x="1998" y="905"/>
                  </a:lnTo>
                  <a:lnTo>
                    <a:pt x="1988" y="890"/>
                  </a:lnTo>
                  <a:lnTo>
                    <a:pt x="1988" y="890"/>
                  </a:lnTo>
                  <a:lnTo>
                    <a:pt x="1986" y="886"/>
                  </a:lnTo>
                  <a:lnTo>
                    <a:pt x="1988" y="879"/>
                  </a:lnTo>
                  <a:lnTo>
                    <a:pt x="1994" y="860"/>
                  </a:lnTo>
                  <a:lnTo>
                    <a:pt x="1996" y="850"/>
                  </a:lnTo>
                  <a:lnTo>
                    <a:pt x="1994" y="843"/>
                  </a:lnTo>
                  <a:lnTo>
                    <a:pt x="1990" y="839"/>
                  </a:lnTo>
                  <a:lnTo>
                    <a:pt x="1986" y="837"/>
                  </a:lnTo>
                  <a:lnTo>
                    <a:pt x="1981" y="836"/>
                  </a:lnTo>
                  <a:lnTo>
                    <a:pt x="1975" y="836"/>
                  </a:lnTo>
                  <a:lnTo>
                    <a:pt x="1975" y="836"/>
                  </a:lnTo>
                  <a:lnTo>
                    <a:pt x="1968" y="834"/>
                  </a:lnTo>
                  <a:lnTo>
                    <a:pt x="1960" y="832"/>
                  </a:lnTo>
                  <a:lnTo>
                    <a:pt x="1955" y="828"/>
                  </a:lnTo>
                  <a:lnTo>
                    <a:pt x="1949" y="822"/>
                  </a:lnTo>
                  <a:lnTo>
                    <a:pt x="1942" y="809"/>
                  </a:lnTo>
                  <a:lnTo>
                    <a:pt x="1934" y="794"/>
                  </a:lnTo>
                  <a:lnTo>
                    <a:pt x="1925" y="781"/>
                  </a:lnTo>
                  <a:lnTo>
                    <a:pt x="1921" y="778"/>
                  </a:lnTo>
                  <a:lnTo>
                    <a:pt x="1915" y="774"/>
                  </a:lnTo>
                  <a:lnTo>
                    <a:pt x="1908" y="772"/>
                  </a:lnTo>
                  <a:lnTo>
                    <a:pt x="1900" y="770"/>
                  </a:lnTo>
                  <a:lnTo>
                    <a:pt x="1891" y="774"/>
                  </a:lnTo>
                  <a:lnTo>
                    <a:pt x="1882" y="778"/>
                  </a:lnTo>
                  <a:lnTo>
                    <a:pt x="1882" y="778"/>
                  </a:lnTo>
                  <a:lnTo>
                    <a:pt x="1872" y="781"/>
                  </a:lnTo>
                  <a:lnTo>
                    <a:pt x="1863" y="785"/>
                  </a:lnTo>
                  <a:lnTo>
                    <a:pt x="1856" y="785"/>
                  </a:lnTo>
                  <a:lnTo>
                    <a:pt x="1848" y="785"/>
                  </a:lnTo>
                  <a:lnTo>
                    <a:pt x="1835" y="781"/>
                  </a:lnTo>
                  <a:lnTo>
                    <a:pt x="1824" y="776"/>
                  </a:lnTo>
                  <a:lnTo>
                    <a:pt x="1803" y="765"/>
                  </a:lnTo>
                  <a:lnTo>
                    <a:pt x="1796" y="763"/>
                  </a:lnTo>
                  <a:lnTo>
                    <a:pt x="1792" y="763"/>
                  </a:lnTo>
                  <a:lnTo>
                    <a:pt x="1788" y="765"/>
                  </a:lnTo>
                  <a:lnTo>
                    <a:pt x="1788" y="765"/>
                  </a:lnTo>
                  <a:lnTo>
                    <a:pt x="1781" y="768"/>
                  </a:lnTo>
                  <a:lnTo>
                    <a:pt x="1775" y="766"/>
                  </a:lnTo>
                  <a:lnTo>
                    <a:pt x="1768" y="763"/>
                  </a:lnTo>
                  <a:lnTo>
                    <a:pt x="1762" y="755"/>
                  </a:lnTo>
                  <a:lnTo>
                    <a:pt x="1753" y="746"/>
                  </a:lnTo>
                  <a:lnTo>
                    <a:pt x="1742" y="737"/>
                  </a:lnTo>
                  <a:lnTo>
                    <a:pt x="1727" y="729"/>
                  </a:lnTo>
                  <a:lnTo>
                    <a:pt x="1708" y="722"/>
                  </a:lnTo>
                  <a:lnTo>
                    <a:pt x="1708" y="722"/>
                  </a:lnTo>
                  <a:lnTo>
                    <a:pt x="1669" y="712"/>
                  </a:lnTo>
                  <a:lnTo>
                    <a:pt x="1648" y="705"/>
                  </a:lnTo>
                  <a:lnTo>
                    <a:pt x="1637" y="697"/>
                  </a:lnTo>
                  <a:lnTo>
                    <a:pt x="1616" y="688"/>
                  </a:lnTo>
                  <a:lnTo>
                    <a:pt x="1616" y="688"/>
                  </a:lnTo>
                  <a:lnTo>
                    <a:pt x="1607" y="684"/>
                  </a:lnTo>
                  <a:lnTo>
                    <a:pt x="1598" y="679"/>
                  </a:lnTo>
                  <a:lnTo>
                    <a:pt x="1583" y="665"/>
                  </a:lnTo>
                  <a:lnTo>
                    <a:pt x="1570" y="652"/>
                  </a:lnTo>
                  <a:lnTo>
                    <a:pt x="1558" y="637"/>
                  </a:lnTo>
                  <a:lnTo>
                    <a:pt x="1544" y="613"/>
                  </a:lnTo>
                  <a:lnTo>
                    <a:pt x="1540" y="604"/>
                  </a:lnTo>
                  <a:lnTo>
                    <a:pt x="1536" y="602"/>
                  </a:lnTo>
                  <a:lnTo>
                    <a:pt x="1536" y="602"/>
                  </a:lnTo>
                  <a:lnTo>
                    <a:pt x="1532" y="600"/>
                  </a:lnTo>
                  <a:lnTo>
                    <a:pt x="1530" y="602"/>
                  </a:lnTo>
                  <a:lnTo>
                    <a:pt x="1523" y="606"/>
                  </a:lnTo>
                  <a:lnTo>
                    <a:pt x="1517" y="609"/>
                  </a:lnTo>
                  <a:lnTo>
                    <a:pt x="1510" y="615"/>
                  </a:lnTo>
                  <a:lnTo>
                    <a:pt x="1499" y="619"/>
                  </a:lnTo>
                  <a:lnTo>
                    <a:pt x="1491" y="619"/>
                  </a:lnTo>
                  <a:lnTo>
                    <a:pt x="1484" y="617"/>
                  </a:lnTo>
                  <a:lnTo>
                    <a:pt x="1474" y="615"/>
                  </a:lnTo>
                  <a:lnTo>
                    <a:pt x="1463" y="611"/>
                  </a:lnTo>
                  <a:lnTo>
                    <a:pt x="1435" y="596"/>
                  </a:lnTo>
                  <a:lnTo>
                    <a:pt x="1435" y="596"/>
                  </a:lnTo>
                  <a:lnTo>
                    <a:pt x="1430" y="591"/>
                  </a:lnTo>
                  <a:lnTo>
                    <a:pt x="1422" y="578"/>
                  </a:lnTo>
                  <a:lnTo>
                    <a:pt x="1407" y="546"/>
                  </a:lnTo>
                  <a:lnTo>
                    <a:pt x="1390" y="509"/>
                  </a:lnTo>
                  <a:lnTo>
                    <a:pt x="1383" y="494"/>
                  </a:lnTo>
                  <a:lnTo>
                    <a:pt x="1375" y="482"/>
                  </a:lnTo>
                  <a:lnTo>
                    <a:pt x="1375" y="482"/>
                  </a:lnTo>
                  <a:lnTo>
                    <a:pt x="1370" y="473"/>
                  </a:lnTo>
                  <a:lnTo>
                    <a:pt x="1368" y="466"/>
                  </a:lnTo>
                  <a:lnTo>
                    <a:pt x="1372" y="460"/>
                  </a:lnTo>
                  <a:lnTo>
                    <a:pt x="1377" y="454"/>
                  </a:lnTo>
                  <a:lnTo>
                    <a:pt x="1390" y="441"/>
                  </a:lnTo>
                  <a:lnTo>
                    <a:pt x="1396" y="434"/>
                  </a:lnTo>
                  <a:lnTo>
                    <a:pt x="1400" y="424"/>
                  </a:lnTo>
                  <a:lnTo>
                    <a:pt x="1400" y="424"/>
                  </a:lnTo>
                  <a:lnTo>
                    <a:pt x="1400" y="410"/>
                  </a:lnTo>
                  <a:lnTo>
                    <a:pt x="1400" y="400"/>
                  </a:lnTo>
                  <a:lnTo>
                    <a:pt x="1396" y="393"/>
                  </a:lnTo>
                  <a:lnTo>
                    <a:pt x="1390" y="385"/>
                  </a:lnTo>
                  <a:lnTo>
                    <a:pt x="1390" y="385"/>
                  </a:lnTo>
                  <a:lnTo>
                    <a:pt x="1390" y="383"/>
                  </a:lnTo>
                  <a:lnTo>
                    <a:pt x="1390" y="381"/>
                  </a:lnTo>
                  <a:lnTo>
                    <a:pt x="1392" y="376"/>
                  </a:lnTo>
                  <a:lnTo>
                    <a:pt x="1403" y="365"/>
                  </a:lnTo>
                  <a:lnTo>
                    <a:pt x="1407" y="359"/>
                  </a:lnTo>
                  <a:lnTo>
                    <a:pt x="1409" y="355"/>
                  </a:lnTo>
                  <a:lnTo>
                    <a:pt x="1409" y="352"/>
                  </a:lnTo>
                  <a:lnTo>
                    <a:pt x="1407" y="350"/>
                  </a:lnTo>
                  <a:lnTo>
                    <a:pt x="1400" y="348"/>
                  </a:lnTo>
                  <a:lnTo>
                    <a:pt x="1400" y="348"/>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0" name="Freeform 80">
              <a:extLst>
                <a:ext uri="{FF2B5EF4-FFF2-40B4-BE49-F238E27FC236}">
                  <a16:creationId xmlns:a16="http://schemas.microsoft.com/office/drawing/2014/main" id="{33BEB051-39B4-4B52-97D8-37D7778A8055}"/>
                </a:ext>
              </a:extLst>
            </p:cNvPr>
            <p:cNvSpPr>
              <a:spLocks/>
            </p:cNvSpPr>
            <p:nvPr/>
          </p:nvSpPr>
          <p:spPr bwMode="auto">
            <a:xfrm>
              <a:off x="1959639" y="3523732"/>
              <a:ext cx="230717" cy="187116"/>
            </a:xfrm>
            <a:custGeom>
              <a:avLst/>
              <a:gdLst/>
              <a:ahLst/>
              <a:cxnLst>
                <a:cxn ang="0">
                  <a:pos x="178" y="35"/>
                </a:cxn>
                <a:cxn ang="0">
                  <a:pos x="169" y="26"/>
                </a:cxn>
                <a:cxn ang="0">
                  <a:pos x="159" y="22"/>
                </a:cxn>
                <a:cxn ang="0">
                  <a:pos x="155" y="18"/>
                </a:cxn>
                <a:cxn ang="0">
                  <a:pos x="155" y="13"/>
                </a:cxn>
                <a:cxn ang="0">
                  <a:pos x="154" y="11"/>
                </a:cxn>
                <a:cxn ang="0">
                  <a:pos x="146" y="15"/>
                </a:cxn>
                <a:cxn ang="0">
                  <a:pos x="139" y="13"/>
                </a:cxn>
                <a:cxn ang="0">
                  <a:pos x="131" y="5"/>
                </a:cxn>
                <a:cxn ang="0">
                  <a:pos x="126" y="7"/>
                </a:cxn>
                <a:cxn ang="0">
                  <a:pos x="122" y="9"/>
                </a:cxn>
                <a:cxn ang="0">
                  <a:pos x="120" y="9"/>
                </a:cxn>
                <a:cxn ang="0">
                  <a:pos x="114" y="2"/>
                </a:cxn>
                <a:cxn ang="0">
                  <a:pos x="103" y="0"/>
                </a:cxn>
                <a:cxn ang="0">
                  <a:pos x="66" y="2"/>
                </a:cxn>
                <a:cxn ang="0">
                  <a:pos x="36" y="9"/>
                </a:cxn>
                <a:cxn ang="0">
                  <a:pos x="21" y="15"/>
                </a:cxn>
                <a:cxn ang="0">
                  <a:pos x="17" y="22"/>
                </a:cxn>
                <a:cxn ang="0">
                  <a:pos x="4" y="35"/>
                </a:cxn>
                <a:cxn ang="0">
                  <a:pos x="0" y="45"/>
                </a:cxn>
                <a:cxn ang="0">
                  <a:pos x="2" y="48"/>
                </a:cxn>
                <a:cxn ang="0">
                  <a:pos x="10" y="63"/>
                </a:cxn>
                <a:cxn ang="0">
                  <a:pos x="12" y="78"/>
                </a:cxn>
                <a:cxn ang="0">
                  <a:pos x="6" y="104"/>
                </a:cxn>
                <a:cxn ang="0">
                  <a:pos x="4" y="121"/>
                </a:cxn>
                <a:cxn ang="0">
                  <a:pos x="6" y="132"/>
                </a:cxn>
                <a:cxn ang="0">
                  <a:pos x="15" y="140"/>
                </a:cxn>
                <a:cxn ang="0">
                  <a:pos x="23" y="144"/>
                </a:cxn>
                <a:cxn ang="0">
                  <a:pos x="47" y="166"/>
                </a:cxn>
                <a:cxn ang="0">
                  <a:pos x="56" y="185"/>
                </a:cxn>
                <a:cxn ang="0">
                  <a:pos x="58" y="202"/>
                </a:cxn>
                <a:cxn ang="0">
                  <a:pos x="152" y="205"/>
                </a:cxn>
                <a:cxn ang="0">
                  <a:pos x="176" y="205"/>
                </a:cxn>
                <a:cxn ang="0">
                  <a:pos x="182" y="202"/>
                </a:cxn>
                <a:cxn ang="0">
                  <a:pos x="183" y="189"/>
                </a:cxn>
                <a:cxn ang="0">
                  <a:pos x="191" y="174"/>
                </a:cxn>
                <a:cxn ang="0">
                  <a:pos x="206" y="153"/>
                </a:cxn>
                <a:cxn ang="0">
                  <a:pos x="217" y="144"/>
                </a:cxn>
                <a:cxn ang="0">
                  <a:pos x="241" y="129"/>
                </a:cxn>
                <a:cxn ang="0">
                  <a:pos x="254" y="119"/>
                </a:cxn>
                <a:cxn ang="0">
                  <a:pos x="241" y="110"/>
                </a:cxn>
                <a:cxn ang="0">
                  <a:pos x="230" y="112"/>
                </a:cxn>
                <a:cxn ang="0">
                  <a:pos x="225" y="114"/>
                </a:cxn>
                <a:cxn ang="0">
                  <a:pos x="219" y="110"/>
                </a:cxn>
                <a:cxn ang="0">
                  <a:pos x="213" y="95"/>
                </a:cxn>
                <a:cxn ang="0">
                  <a:pos x="206" y="89"/>
                </a:cxn>
                <a:cxn ang="0">
                  <a:pos x="198" y="88"/>
                </a:cxn>
                <a:cxn ang="0">
                  <a:pos x="191" y="76"/>
                </a:cxn>
                <a:cxn ang="0">
                  <a:pos x="185" y="52"/>
                </a:cxn>
                <a:cxn ang="0">
                  <a:pos x="178" y="35"/>
                </a:cxn>
              </a:cxnLst>
              <a:rect l="0" t="0" r="r" b="b"/>
              <a:pathLst>
                <a:path w="254" h="205">
                  <a:moveTo>
                    <a:pt x="178" y="35"/>
                  </a:moveTo>
                  <a:lnTo>
                    <a:pt x="178" y="35"/>
                  </a:lnTo>
                  <a:lnTo>
                    <a:pt x="172" y="30"/>
                  </a:lnTo>
                  <a:lnTo>
                    <a:pt x="169" y="26"/>
                  </a:lnTo>
                  <a:lnTo>
                    <a:pt x="163" y="24"/>
                  </a:lnTo>
                  <a:lnTo>
                    <a:pt x="159" y="22"/>
                  </a:lnTo>
                  <a:lnTo>
                    <a:pt x="155" y="22"/>
                  </a:lnTo>
                  <a:lnTo>
                    <a:pt x="155" y="18"/>
                  </a:lnTo>
                  <a:lnTo>
                    <a:pt x="155" y="18"/>
                  </a:lnTo>
                  <a:lnTo>
                    <a:pt x="155" y="13"/>
                  </a:lnTo>
                  <a:lnTo>
                    <a:pt x="155" y="11"/>
                  </a:lnTo>
                  <a:lnTo>
                    <a:pt x="154" y="11"/>
                  </a:lnTo>
                  <a:lnTo>
                    <a:pt x="150" y="15"/>
                  </a:lnTo>
                  <a:lnTo>
                    <a:pt x="146" y="15"/>
                  </a:lnTo>
                  <a:lnTo>
                    <a:pt x="146" y="15"/>
                  </a:lnTo>
                  <a:lnTo>
                    <a:pt x="139" y="13"/>
                  </a:lnTo>
                  <a:lnTo>
                    <a:pt x="133" y="9"/>
                  </a:lnTo>
                  <a:lnTo>
                    <a:pt x="131" y="5"/>
                  </a:lnTo>
                  <a:lnTo>
                    <a:pt x="131" y="5"/>
                  </a:lnTo>
                  <a:lnTo>
                    <a:pt x="126" y="7"/>
                  </a:lnTo>
                  <a:lnTo>
                    <a:pt x="124" y="9"/>
                  </a:lnTo>
                  <a:lnTo>
                    <a:pt x="122" y="9"/>
                  </a:lnTo>
                  <a:lnTo>
                    <a:pt x="122" y="9"/>
                  </a:lnTo>
                  <a:lnTo>
                    <a:pt x="120" y="9"/>
                  </a:lnTo>
                  <a:lnTo>
                    <a:pt x="114" y="2"/>
                  </a:lnTo>
                  <a:lnTo>
                    <a:pt x="114" y="2"/>
                  </a:lnTo>
                  <a:lnTo>
                    <a:pt x="111" y="0"/>
                  </a:lnTo>
                  <a:lnTo>
                    <a:pt x="103" y="0"/>
                  </a:lnTo>
                  <a:lnTo>
                    <a:pt x="79" y="0"/>
                  </a:lnTo>
                  <a:lnTo>
                    <a:pt x="66" y="2"/>
                  </a:lnTo>
                  <a:lnTo>
                    <a:pt x="51" y="4"/>
                  </a:lnTo>
                  <a:lnTo>
                    <a:pt x="36" y="9"/>
                  </a:lnTo>
                  <a:lnTo>
                    <a:pt x="21" y="15"/>
                  </a:lnTo>
                  <a:lnTo>
                    <a:pt x="21" y="15"/>
                  </a:lnTo>
                  <a:lnTo>
                    <a:pt x="19" y="18"/>
                  </a:lnTo>
                  <a:lnTo>
                    <a:pt x="17" y="22"/>
                  </a:lnTo>
                  <a:lnTo>
                    <a:pt x="8" y="32"/>
                  </a:lnTo>
                  <a:lnTo>
                    <a:pt x="4" y="35"/>
                  </a:lnTo>
                  <a:lnTo>
                    <a:pt x="0" y="39"/>
                  </a:lnTo>
                  <a:lnTo>
                    <a:pt x="0" y="45"/>
                  </a:lnTo>
                  <a:lnTo>
                    <a:pt x="2" y="48"/>
                  </a:lnTo>
                  <a:lnTo>
                    <a:pt x="2" y="48"/>
                  </a:lnTo>
                  <a:lnTo>
                    <a:pt x="8" y="56"/>
                  </a:lnTo>
                  <a:lnTo>
                    <a:pt x="10" y="63"/>
                  </a:lnTo>
                  <a:lnTo>
                    <a:pt x="12" y="71"/>
                  </a:lnTo>
                  <a:lnTo>
                    <a:pt x="12" y="78"/>
                  </a:lnTo>
                  <a:lnTo>
                    <a:pt x="10" y="91"/>
                  </a:lnTo>
                  <a:lnTo>
                    <a:pt x="6" y="104"/>
                  </a:lnTo>
                  <a:lnTo>
                    <a:pt x="4" y="116"/>
                  </a:lnTo>
                  <a:lnTo>
                    <a:pt x="4" y="121"/>
                  </a:lnTo>
                  <a:lnTo>
                    <a:pt x="4" y="127"/>
                  </a:lnTo>
                  <a:lnTo>
                    <a:pt x="6" y="132"/>
                  </a:lnTo>
                  <a:lnTo>
                    <a:pt x="10" y="136"/>
                  </a:lnTo>
                  <a:lnTo>
                    <a:pt x="15" y="140"/>
                  </a:lnTo>
                  <a:lnTo>
                    <a:pt x="23" y="144"/>
                  </a:lnTo>
                  <a:lnTo>
                    <a:pt x="23" y="144"/>
                  </a:lnTo>
                  <a:lnTo>
                    <a:pt x="34" y="153"/>
                  </a:lnTo>
                  <a:lnTo>
                    <a:pt x="47" y="166"/>
                  </a:lnTo>
                  <a:lnTo>
                    <a:pt x="53" y="175"/>
                  </a:lnTo>
                  <a:lnTo>
                    <a:pt x="56" y="185"/>
                  </a:lnTo>
                  <a:lnTo>
                    <a:pt x="58" y="194"/>
                  </a:lnTo>
                  <a:lnTo>
                    <a:pt x="58" y="202"/>
                  </a:lnTo>
                  <a:lnTo>
                    <a:pt x="58" y="202"/>
                  </a:lnTo>
                  <a:lnTo>
                    <a:pt x="152" y="205"/>
                  </a:lnTo>
                  <a:lnTo>
                    <a:pt x="170" y="205"/>
                  </a:lnTo>
                  <a:lnTo>
                    <a:pt x="176" y="205"/>
                  </a:lnTo>
                  <a:lnTo>
                    <a:pt x="180" y="203"/>
                  </a:lnTo>
                  <a:lnTo>
                    <a:pt x="182" y="202"/>
                  </a:lnTo>
                  <a:lnTo>
                    <a:pt x="182" y="198"/>
                  </a:lnTo>
                  <a:lnTo>
                    <a:pt x="183" y="189"/>
                  </a:lnTo>
                  <a:lnTo>
                    <a:pt x="187" y="181"/>
                  </a:lnTo>
                  <a:lnTo>
                    <a:pt x="191" y="174"/>
                  </a:lnTo>
                  <a:lnTo>
                    <a:pt x="197" y="164"/>
                  </a:lnTo>
                  <a:lnTo>
                    <a:pt x="206" y="153"/>
                  </a:lnTo>
                  <a:lnTo>
                    <a:pt x="206" y="153"/>
                  </a:lnTo>
                  <a:lnTo>
                    <a:pt x="217" y="144"/>
                  </a:lnTo>
                  <a:lnTo>
                    <a:pt x="230" y="136"/>
                  </a:lnTo>
                  <a:lnTo>
                    <a:pt x="241" y="129"/>
                  </a:lnTo>
                  <a:lnTo>
                    <a:pt x="254" y="119"/>
                  </a:lnTo>
                  <a:lnTo>
                    <a:pt x="254" y="119"/>
                  </a:lnTo>
                  <a:lnTo>
                    <a:pt x="247" y="114"/>
                  </a:lnTo>
                  <a:lnTo>
                    <a:pt x="241" y="110"/>
                  </a:lnTo>
                  <a:lnTo>
                    <a:pt x="236" y="110"/>
                  </a:lnTo>
                  <a:lnTo>
                    <a:pt x="230" y="112"/>
                  </a:lnTo>
                  <a:lnTo>
                    <a:pt x="230" y="112"/>
                  </a:lnTo>
                  <a:lnTo>
                    <a:pt x="225" y="114"/>
                  </a:lnTo>
                  <a:lnTo>
                    <a:pt x="223" y="114"/>
                  </a:lnTo>
                  <a:lnTo>
                    <a:pt x="219" y="110"/>
                  </a:lnTo>
                  <a:lnTo>
                    <a:pt x="217" y="106"/>
                  </a:lnTo>
                  <a:lnTo>
                    <a:pt x="213" y="95"/>
                  </a:lnTo>
                  <a:lnTo>
                    <a:pt x="211" y="91"/>
                  </a:lnTo>
                  <a:lnTo>
                    <a:pt x="206" y="89"/>
                  </a:lnTo>
                  <a:lnTo>
                    <a:pt x="206" y="89"/>
                  </a:lnTo>
                  <a:lnTo>
                    <a:pt x="198" y="88"/>
                  </a:lnTo>
                  <a:lnTo>
                    <a:pt x="195" y="82"/>
                  </a:lnTo>
                  <a:lnTo>
                    <a:pt x="191" y="76"/>
                  </a:lnTo>
                  <a:lnTo>
                    <a:pt x="189" y="69"/>
                  </a:lnTo>
                  <a:lnTo>
                    <a:pt x="185" y="52"/>
                  </a:lnTo>
                  <a:lnTo>
                    <a:pt x="183" y="43"/>
                  </a:lnTo>
                  <a:lnTo>
                    <a:pt x="178" y="35"/>
                  </a:lnTo>
                  <a:lnTo>
                    <a:pt x="178" y="3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1" name="Freeform 81">
              <a:extLst>
                <a:ext uri="{FF2B5EF4-FFF2-40B4-BE49-F238E27FC236}">
                  <a16:creationId xmlns:a16="http://schemas.microsoft.com/office/drawing/2014/main" id="{DD0EACB5-CB2E-4E20-88BF-5169661C436E}"/>
                </a:ext>
              </a:extLst>
            </p:cNvPr>
            <p:cNvSpPr>
              <a:spLocks noEditPoints="1"/>
            </p:cNvSpPr>
            <p:nvPr/>
          </p:nvSpPr>
          <p:spPr bwMode="auto">
            <a:xfrm>
              <a:off x="1975990" y="3707216"/>
              <a:ext cx="123533" cy="79933"/>
            </a:xfrm>
            <a:custGeom>
              <a:avLst/>
              <a:gdLst/>
              <a:ahLst/>
              <a:cxnLst>
                <a:cxn ang="0">
                  <a:pos x="4" y="61"/>
                </a:cxn>
                <a:cxn ang="0">
                  <a:pos x="4" y="61"/>
                </a:cxn>
                <a:cxn ang="0">
                  <a:pos x="19" y="59"/>
                </a:cxn>
                <a:cxn ang="0">
                  <a:pos x="19" y="59"/>
                </a:cxn>
                <a:cxn ang="0">
                  <a:pos x="21" y="54"/>
                </a:cxn>
                <a:cxn ang="0">
                  <a:pos x="22" y="50"/>
                </a:cxn>
                <a:cxn ang="0">
                  <a:pos x="24" y="48"/>
                </a:cxn>
                <a:cxn ang="0">
                  <a:pos x="30" y="48"/>
                </a:cxn>
                <a:cxn ang="0">
                  <a:pos x="39" y="52"/>
                </a:cxn>
                <a:cxn ang="0">
                  <a:pos x="52" y="58"/>
                </a:cxn>
                <a:cxn ang="0">
                  <a:pos x="65" y="65"/>
                </a:cxn>
                <a:cxn ang="0">
                  <a:pos x="71" y="65"/>
                </a:cxn>
                <a:cxn ang="0">
                  <a:pos x="77" y="67"/>
                </a:cxn>
                <a:cxn ang="0">
                  <a:pos x="82" y="65"/>
                </a:cxn>
                <a:cxn ang="0">
                  <a:pos x="88" y="61"/>
                </a:cxn>
                <a:cxn ang="0">
                  <a:pos x="92" y="56"/>
                </a:cxn>
                <a:cxn ang="0">
                  <a:pos x="95" y="46"/>
                </a:cxn>
                <a:cxn ang="0">
                  <a:pos x="95" y="46"/>
                </a:cxn>
                <a:cxn ang="0">
                  <a:pos x="101" y="29"/>
                </a:cxn>
                <a:cxn ang="0">
                  <a:pos x="107" y="20"/>
                </a:cxn>
                <a:cxn ang="0">
                  <a:pos x="112" y="16"/>
                </a:cxn>
                <a:cxn ang="0">
                  <a:pos x="116" y="16"/>
                </a:cxn>
                <a:cxn ang="0">
                  <a:pos x="121" y="18"/>
                </a:cxn>
                <a:cxn ang="0">
                  <a:pos x="125" y="18"/>
                </a:cxn>
                <a:cxn ang="0">
                  <a:pos x="131" y="15"/>
                </a:cxn>
                <a:cxn ang="0">
                  <a:pos x="136" y="3"/>
                </a:cxn>
                <a:cxn ang="0">
                  <a:pos x="136" y="3"/>
                </a:cxn>
                <a:cxn ang="0">
                  <a:pos x="39" y="0"/>
                </a:cxn>
                <a:cxn ang="0">
                  <a:pos x="39" y="0"/>
                </a:cxn>
                <a:cxn ang="0">
                  <a:pos x="36" y="7"/>
                </a:cxn>
                <a:cxn ang="0">
                  <a:pos x="30" y="13"/>
                </a:cxn>
                <a:cxn ang="0">
                  <a:pos x="30" y="13"/>
                </a:cxn>
                <a:cxn ang="0">
                  <a:pos x="21" y="20"/>
                </a:cxn>
                <a:cxn ang="0">
                  <a:pos x="13" y="22"/>
                </a:cxn>
                <a:cxn ang="0">
                  <a:pos x="6" y="24"/>
                </a:cxn>
                <a:cxn ang="0">
                  <a:pos x="4" y="26"/>
                </a:cxn>
                <a:cxn ang="0">
                  <a:pos x="2" y="31"/>
                </a:cxn>
                <a:cxn ang="0">
                  <a:pos x="0" y="58"/>
                </a:cxn>
                <a:cxn ang="0">
                  <a:pos x="0" y="58"/>
                </a:cxn>
                <a:cxn ang="0">
                  <a:pos x="4" y="61"/>
                </a:cxn>
                <a:cxn ang="0">
                  <a:pos x="4" y="61"/>
                </a:cxn>
                <a:cxn ang="0">
                  <a:pos x="4" y="67"/>
                </a:cxn>
                <a:cxn ang="0">
                  <a:pos x="4" y="67"/>
                </a:cxn>
                <a:cxn ang="0">
                  <a:pos x="7" y="78"/>
                </a:cxn>
                <a:cxn ang="0">
                  <a:pos x="9" y="86"/>
                </a:cxn>
                <a:cxn ang="0">
                  <a:pos x="11" y="87"/>
                </a:cxn>
                <a:cxn ang="0">
                  <a:pos x="15" y="86"/>
                </a:cxn>
                <a:cxn ang="0">
                  <a:pos x="19" y="74"/>
                </a:cxn>
                <a:cxn ang="0">
                  <a:pos x="19" y="59"/>
                </a:cxn>
                <a:cxn ang="0">
                  <a:pos x="19" y="59"/>
                </a:cxn>
              </a:cxnLst>
              <a:rect l="0" t="0" r="r" b="b"/>
              <a:pathLst>
                <a:path w="136" h="87">
                  <a:moveTo>
                    <a:pt x="4" y="61"/>
                  </a:moveTo>
                  <a:lnTo>
                    <a:pt x="4" y="61"/>
                  </a:lnTo>
                  <a:close/>
                  <a:moveTo>
                    <a:pt x="19" y="59"/>
                  </a:moveTo>
                  <a:lnTo>
                    <a:pt x="19" y="59"/>
                  </a:lnTo>
                  <a:lnTo>
                    <a:pt x="21" y="54"/>
                  </a:lnTo>
                  <a:lnTo>
                    <a:pt x="22" y="50"/>
                  </a:lnTo>
                  <a:lnTo>
                    <a:pt x="24" y="48"/>
                  </a:lnTo>
                  <a:lnTo>
                    <a:pt x="30" y="48"/>
                  </a:lnTo>
                  <a:lnTo>
                    <a:pt x="39" y="52"/>
                  </a:lnTo>
                  <a:lnTo>
                    <a:pt x="52" y="58"/>
                  </a:lnTo>
                  <a:lnTo>
                    <a:pt x="65" y="65"/>
                  </a:lnTo>
                  <a:lnTo>
                    <a:pt x="71" y="65"/>
                  </a:lnTo>
                  <a:lnTo>
                    <a:pt x="77" y="67"/>
                  </a:lnTo>
                  <a:lnTo>
                    <a:pt x="82" y="65"/>
                  </a:lnTo>
                  <a:lnTo>
                    <a:pt x="88" y="61"/>
                  </a:lnTo>
                  <a:lnTo>
                    <a:pt x="92" y="56"/>
                  </a:lnTo>
                  <a:lnTo>
                    <a:pt x="95" y="46"/>
                  </a:lnTo>
                  <a:lnTo>
                    <a:pt x="95" y="46"/>
                  </a:lnTo>
                  <a:lnTo>
                    <a:pt x="101" y="29"/>
                  </a:lnTo>
                  <a:lnTo>
                    <a:pt x="107" y="20"/>
                  </a:lnTo>
                  <a:lnTo>
                    <a:pt x="112" y="16"/>
                  </a:lnTo>
                  <a:lnTo>
                    <a:pt x="116" y="16"/>
                  </a:lnTo>
                  <a:lnTo>
                    <a:pt x="121" y="18"/>
                  </a:lnTo>
                  <a:lnTo>
                    <a:pt x="125" y="18"/>
                  </a:lnTo>
                  <a:lnTo>
                    <a:pt x="131" y="15"/>
                  </a:lnTo>
                  <a:lnTo>
                    <a:pt x="136" y="3"/>
                  </a:lnTo>
                  <a:lnTo>
                    <a:pt x="136" y="3"/>
                  </a:lnTo>
                  <a:lnTo>
                    <a:pt x="39" y="0"/>
                  </a:lnTo>
                  <a:lnTo>
                    <a:pt x="39" y="0"/>
                  </a:lnTo>
                  <a:lnTo>
                    <a:pt x="36" y="7"/>
                  </a:lnTo>
                  <a:lnTo>
                    <a:pt x="30" y="13"/>
                  </a:lnTo>
                  <a:lnTo>
                    <a:pt x="30" y="13"/>
                  </a:lnTo>
                  <a:lnTo>
                    <a:pt x="21" y="20"/>
                  </a:lnTo>
                  <a:lnTo>
                    <a:pt x="13" y="22"/>
                  </a:lnTo>
                  <a:lnTo>
                    <a:pt x="6" y="24"/>
                  </a:lnTo>
                  <a:lnTo>
                    <a:pt x="4" y="26"/>
                  </a:lnTo>
                  <a:lnTo>
                    <a:pt x="2" y="31"/>
                  </a:lnTo>
                  <a:lnTo>
                    <a:pt x="0" y="58"/>
                  </a:lnTo>
                  <a:lnTo>
                    <a:pt x="0" y="58"/>
                  </a:lnTo>
                  <a:lnTo>
                    <a:pt x="4" y="61"/>
                  </a:lnTo>
                  <a:lnTo>
                    <a:pt x="4" y="61"/>
                  </a:lnTo>
                  <a:lnTo>
                    <a:pt x="4" y="67"/>
                  </a:lnTo>
                  <a:lnTo>
                    <a:pt x="4" y="67"/>
                  </a:lnTo>
                  <a:lnTo>
                    <a:pt x="7" y="78"/>
                  </a:lnTo>
                  <a:lnTo>
                    <a:pt x="9" y="86"/>
                  </a:lnTo>
                  <a:lnTo>
                    <a:pt x="11" y="87"/>
                  </a:lnTo>
                  <a:lnTo>
                    <a:pt x="15" y="86"/>
                  </a:lnTo>
                  <a:lnTo>
                    <a:pt x="19" y="74"/>
                  </a:lnTo>
                  <a:lnTo>
                    <a:pt x="19" y="59"/>
                  </a:lnTo>
                  <a:lnTo>
                    <a:pt x="19" y="59"/>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2" name="Line 82">
              <a:extLst>
                <a:ext uri="{FF2B5EF4-FFF2-40B4-BE49-F238E27FC236}">
                  <a16:creationId xmlns:a16="http://schemas.microsoft.com/office/drawing/2014/main" id="{700EC003-3DC3-4940-AA44-033640892437}"/>
                </a:ext>
              </a:extLst>
            </p:cNvPr>
            <p:cNvSpPr>
              <a:spLocks noChangeShapeType="1"/>
            </p:cNvSpPr>
            <p:nvPr/>
          </p:nvSpPr>
          <p:spPr bwMode="auto">
            <a:xfrm>
              <a:off x="1979623" y="3763532"/>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3" name="Freeform 83">
              <a:extLst>
                <a:ext uri="{FF2B5EF4-FFF2-40B4-BE49-F238E27FC236}">
                  <a16:creationId xmlns:a16="http://schemas.microsoft.com/office/drawing/2014/main" id="{83AE51C2-4341-4758-8747-6439CCBF1619}"/>
                </a:ext>
              </a:extLst>
            </p:cNvPr>
            <p:cNvSpPr>
              <a:spLocks/>
            </p:cNvSpPr>
            <p:nvPr/>
          </p:nvSpPr>
          <p:spPr bwMode="auto">
            <a:xfrm>
              <a:off x="1975990" y="3707216"/>
              <a:ext cx="123533" cy="79933"/>
            </a:xfrm>
            <a:custGeom>
              <a:avLst/>
              <a:gdLst/>
              <a:ahLst/>
              <a:cxnLst>
                <a:cxn ang="0">
                  <a:pos x="19" y="59"/>
                </a:cxn>
                <a:cxn ang="0">
                  <a:pos x="19" y="59"/>
                </a:cxn>
                <a:cxn ang="0">
                  <a:pos x="21" y="54"/>
                </a:cxn>
                <a:cxn ang="0">
                  <a:pos x="22" y="50"/>
                </a:cxn>
                <a:cxn ang="0">
                  <a:pos x="24" y="48"/>
                </a:cxn>
                <a:cxn ang="0">
                  <a:pos x="30" y="48"/>
                </a:cxn>
                <a:cxn ang="0">
                  <a:pos x="39" y="52"/>
                </a:cxn>
                <a:cxn ang="0">
                  <a:pos x="52" y="58"/>
                </a:cxn>
                <a:cxn ang="0">
                  <a:pos x="65" y="65"/>
                </a:cxn>
                <a:cxn ang="0">
                  <a:pos x="71" y="65"/>
                </a:cxn>
                <a:cxn ang="0">
                  <a:pos x="77" y="67"/>
                </a:cxn>
                <a:cxn ang="0">
                  <a:pos x="82" y="65"/>
                </a:cxn>
                <a:cxn ang="0">
                  <a:pos x="88" y="61"/>
                </a:cxn>
                <a:cxn ang="0">
                  <a:pos x="92" y="56"/>
                </a:cxn>
                <a:cxn ang="0">
                  <a:pos x="95" y="46"/>
                </a:cxn>
                <a:cxn ang="0">
                  <a:pos x="95" y="46"/>
                </a:cxn>
                <a:cxn ang="0">
                  <a:pos x="101" y="29"/>
                </a:cxn>
                <a:cxn ang="0">
                  <a:pos x="107" y="20"/>
                </a:cxn>
                <a:cxn ang="0">
                  <a:pos x="112" y="16"/>
                </a:cxn>
                <a:cxn ang="0">
                  <a:pos x="116" y="16"/>
                </a:cxn>
                <a:cxn ang="0">
                  <a:pos x="121" y="18"/>
                </a:cxn>
                <a:cxn ang="0">
                  <a:pos x="125" y="18"/>
                </a:cxn>
                <a:cxn ang="0">
                  <a:pos x="131" y="15"/>
                </a:cxn>
                <a:cxn ang="0">
                  <a:pos x="136" y="3"/>
                </a:cxn>
                <a:cxn ang="0">
                  <a:pos x="136" y="3"/>
                </a:cxn>
                <a:cxn ang="0">
                  <a:pos x="39" y="0"/>
                </a:cxn>
                <a:cxn ang="0">
                  <a:pos x="39" y="0"/>
                </a:cxn>
                <a:cxn ang="0">
                  <a:pos x="36" y="7"/>
                </a:cxn>
                <a:cxn ang="0">
                  <a:pos x="30" y="13"/>
                </a:cxn>
                <a:cxn ang="0">
                  <a:pos x="30" y="13"/>
                </a:cxn>
                <a:cxn ang="0">
                  <a:pos x="21" y="20"/>
                </a:cxn>
                <a:cxn ang="0">
                  <a:pos x="13" y="22"/>
                </a:cxn>
                <a:cxn ang="0">
                  <a:pos x="6" y="24"/>
                </a:cxn>
                <a:cxn ang="0">
                  <a:pos x="4" y="26"/>
                </a:cxn>
                <a:cxn ang="0">
                  <a:pos x="2" y="31"/>
                </a:cxn>
                <a:cxn ang="0">
                  <a:pos x="0" y="58"/>
                </a:cxn>
                <a:cxn ang="0">
                  <a:pos x="0" y="58"/>
                </a:cxn>
                <a:cxn ang="0">
                  <a:pos x="4" y="61"/>
                </a:cxn>
                <a:cxn ang="0">
                  <a:pos x="4" y="61"/>
                </a:cxn>
                <a:cxn ang="0">
                  <a:pos x="4" y="67"/>
                </a:cxn>
                <a:cxn ang="0">
                  <a:pos x="4" y="67"/>
                </a:cxn>
                <a:cxn ang="0">
                  <a:pos x="7" y="78"/>
                </a:cxn>
                <a:cxn ang="0">
                  <a:pos x="9" y="86"/>
                </a:cxn>
                <a:cxn ang="0">
                  <a:pos x="11" y="87"/>
                </a:cxn>
                <a:cxn ang="0">
                  <a:pos x="15" y="86"/>
                </a:cxn>
                <a:cxn ang="0">
                  <a:pos x="19" y="74"/>
                </a:cxn>
                <a:cxn ang="0">
                  <a:pos x="19" y="59"/>
                </a:cxn>
                <a:cxn ang="0">
                  <a:pos x="19" y="59"/>
                </a:cxn>
              </a:cxnLst>
              <a:rect l="0" t="0" r="r" b="b"/>
              <a:pathLst>
                <a:path w="136" h="87">
                  <a:moveTo>
                    <a:pt x="19" y="59"/>
                  </a:moveTo>
                  <a:lnTo>
                    <a:pt x="19" y="59"/>
                  </a:lnTo>
                  <a:lnTo>
                    <a:pt x="21" y="54"/>
                  </a:lnTo>
                  <a:lnTo>
                    <a:pt x="22" y="50"/>
                  </a:lnTo>
                  <a:lnTo>
                    <a:pt x="24" y="48"/>
                  </a:lnTo>
                  <a:lnTo>
                    <a:pt x="30" y="48"/>
                  </a:lnTo>
                  <a:lnTo>
                    <a:pt x="39" y="52"/>
                  </a:lnTo>
                  <a:lnTo>
                    <a:pt x="52" y="58"/>
                  </a:lnTo>
                  <a:lnTo>
                    <a:pt x="65" y="65"/>
                  </a:lnTo>
                  <a:lnTo>
                    <a:pt x="71" y="65"/>
                  </a:lnTo>
                  <a:lnTo>
                    <a:pt x="77" y="67"/>
                  </a:lnTo>
                  <a:lnTo>
                    <a:pt x="82" y="65"/>
                  </a:lnTo>
                  <a:lnTo>
                    <a:pt x="88" y="61"/>
                  </a:lnTo>
                  <a:lnTo>
                    <a:pt x="92" y="56"/>
                  </a:lnTo>
                  <a:lnTo>
                    <a:pt x="95" y="46"/>
                  </a:lnTo>
                  <a:lnTo>
                    <a:pt x="95" y="46"/>
                  </a:lnTo>
                  <a:lnTo>
                    <a:pt x="101" y="29"/>
                  </a:lnTo>
                  <a:lnTo>
                    <a:pt x="107" y="20"/>
                  </a:lnTo>
                  <a:lnTo>
                    <a:pt x="112" y="16"/>
                  </a:lnTo>
                  <a:lnTo>
                    <a:pt x="116" y="16"/>
                  </a:lnTo>
                  <a:lnTo>
                    <a:pt x="121" y="18"/>
                  </a:lnTo>
                  <a:lnTo>
                    <a:pt x="125" y="18"/>
                  </a:lnTo>
                  <a:lnTo>
                    <a:pt x="131" y="15"/>
                  </a:lnTo>
                  <a:lnTo>
                    <a:pt x="136" y="3"/>
                  </a:lnTo>
                  <a:lnTo>
                    <a:pt x="136" y="3"/>
                  </a:lnTo>
                  <a:lnTo>
                    <a:pt x="39" y="0"/>
                  </a:lnTo>
                  <a:lnTo>
                    <a:pt x="39" y="0"/>
                  </a:lnTo>
                  <a:lnTo>
                    <a:pt x="36" y="7"/>
                  </a:lnTo>
                  <a:lnTo>
                    <a:pt x="30" y="13"/>
                  </a:lnTo>
                  <a:lnTo>
                    <a:pt x="30" y="13"/>
                  </a:lnTo>
                  <a:lnTo>
                    <a:pt x="21" y="20"/>
                  </a:lnTo>
                  <a:lnTo>
                    <a:pt x="13" y="22"/>
                  </a:lnTo>
                  <a:lnTo>
                    <a:pt x="6" y="24"/>
                  </a:lnTo>
                  <a:lnTo>
                    <a:pt x="4" y="26"/>
                  </a:lnTo>
                  <a:lnTo>
                    <a:pt x="2" y="31"/>
                  </a:lnTo>
                  <a:lnTo>
                    <a:pt x="0" y="58"/>
                  </a:lnTo>
                  <a:lnTo>
                    <a:pt x="0" y="58"/>
                  </a:lnTo>
                  <a:lnTo>
                    <a:pt x="4" y="61"/>
                  </a:lnTo>
                  <a:lnTo>
                    <a:pt x="4" y="61"/>
                  </a:lnTo>
                  <a:lnTo>
                    <a:pt x="4" y="67"/>
                  </a:lnTo>
                  <a:lnTo>
                    <a:pt x="4" y="67"/>
                  </a:lnTo>
                  <a:lnTo>
                    <a:pt x="7" y="78"/>
                  </a:lnTo>
                  <a:lnTo>
                    <a:pt x="9" y="86"/>
                  </a:lnTo>
                  <a:lnTo>
                    <a:pt x="11" y="87"/>
                  </a:lnTo>
                  <a:lnTo>
                    <a:pt x="15" y="86"/>
                  </a:lnTo>
                  <a:lnTo>
                    <a:pt x="19" y="74"/>
                  </a:lnTo>
                  <a:lnTo>
                    <a:pt x="19" y="59"/>
                  </a:lnTo>
                  <a:lnTo>
                    <a:pt x="19" y="59"/>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4" name="Freeform 84">
              <a:extLst>
                <a:ext uri="{FF2B5EF4-FFF2-40B4-BE49-F238E27FC236}">
                  <a16:creationId xmlns:a16="http://schemas.microsoft.com/office/drawing/2014/main" id="{DCB8C965-9852-4DBD-AB51-D1FE25627EBE}"/>
                </a:ext>
              </a:extLst>
            </p:cNvPr>
            <p:cNvSpPr>
              <a:spLocks/>
            </p:cNvSpPr>
            <p:nvPr/>
          </p:nvSpPr>
          <p:spPr bwMode="auto">
            <a:xfrm>
              <a:off x="3164087" y="4746346"/>
              <a:ext cx="672165" cy="285215"/>
            </a:xfrm>
            <a:custGeom>
              <a:avLst/>
              <a:gdLst/>
              <a:ahLst/>
              <a:cxnLst>
                <a:cxn ang="0">
                  <a:pos x="75" y="150"/>
                </a:cxn>
                <a:cxn ang="0">
                  <a:pos x="21" y="151"/>
                </a:cxn>
                <a:cxn ang="0">
                  <a:pos x="4" y="161"/>
                </a:cxn>
                <a:cxn ang="0">
                  <a:pos x="6" y="193"/>
                </a:cxn>
                <a:cxn ang="0">
                  <a:pos x="30" y="202"/>
                </a:cxn>
                <a:cxn ang="0">
                  <a:pos x="51" y="211"/>
                </a:cxn>
                <a:cxn ang="0">
                  <a:pos x="39" y="249"/>
                </a:cxn>
                <a:cxn ang="0">
                  <a:pos x="39" y="267"/>
                </a:cxn>
                <a:cxn ang="0">
                  <a:pos x="56" y="295"/>
                </a:cxn>
                <a:cxn ang="0">
                  <a:pos x="168" y="310"/>
                </a:cxn>
                <a:cxn ang="0">
                  <a:pos x="238" y="314"/>
                </a:cxn>
                <a:cxn ang="0">
                  <a:pos x="271" y="292"/>
                </a:cxn>
                <a:cxn ang="0">
                  <a:pos x="316" y="256"/>
                </a:cxn>
                <a:cxn ang="0">
                  <a:pos x="366" y="241"/>
                </a:cxn>
                <a:cxn ang="0">
                  <a:pos x="451" y="217"/>
                </a:cxn>
                <a:cxn ang="0">
                  <a:pos x="501" y="180"/>
                </a:cxn>
                <a:cxn ang="0">
                  <a:pos x="535" y="174"/>
                </a:cxn>
                <a:cxn ang="0">
                  <a:pos x="574" y="185"/>
                </a:cxn>
                <a:cxn ang="0">
                  <a:pos x="609" y="196"/>
                </a:cxn>
                <a:cxn ang="0">
                  <a:pos x="652" y="236"/>
                </a:cxn>
                <a:cxn ang="0">
                  <a:pos x="686" y="256"/>
                </a:cxn>
                <a:cxn ang="0">
                  <a:pos x="695" y="267"/>
                </a:cxn>
                <a:cxn ang="0">
                  <a:pos x="722" y="256"/>
                </a:cxn>
                <a:cxn ang="0">
                  <a:pos x="740" y="243"/>
                </a:cxn>
                <a:cxn ang="0">
                  <a:pos x="731" y="224"/>
                </a:cxn>
                <a:cxn ang="0">
                  <a:pos x="720" y="193"/>
                </a:cxn>
                <a:cxn ang="0">
                  <a:pos x="697" y="181"/>
                </a:cxn>
                <a:cxn ang="0">
                  <a:pos x="664" y="174"/>
                </a:cxn>
                <a:cxn ang="0">
                  <a:pos x="639" y="161"/>
                </a:cxn>
                <a:cxn ang="0">
                  <a:pos x="615" y="165"/>
                </a:cxn>
                <a:cxn ang="0">
                  <a:pos x="619" y="146"/>
                </a:cxn>
                <a:cxn ang="0">
                  <a:pos x="643" y="123"/>
                </a:cxn>
                <a:cxn ang="0">
                  <a:pos x="654" y="109"/>
                </a:cxn>
                <a:cxn ang="0">
                  <a:pos x="647" y="92"/>
                </a:cxn>
                <a:cxn ang="0">
                  <a:pos x="639" y="69"/>
                </a:cxn>
                <a:cxn ang="0">
                  <a:pos x="609" y="90"/>
                </a:cxn>
                <a:cxn ang="0">
                  <a:pos x="602" y="88"/>
                </a:cxn>
                <a:cxn ang="0">
                  <a:pos x="606" y="67"/>
                </a:cxn>
                <a:cxn ang="0">
                  <a:pos x="641" y="45"/>
                </a:cxn>
                <a:cxn ang="0">
                  <a:pos x="628" y="41"/>
                </a:cxn>
                <a:cxn ang="0">
                  <a:pos x="611" y="17"/>
                </a:cxn>
                <a:cxn ang="0">
                  <a:pos x="596" y="9"/>
                </a:cxn>
                <a:cxn ang="0">
                  <a:pos x="538" y="32"/>
                </a:cxn>
                <a:cxn ang="0">
                  <a:pos x="510" y="51"/>
                </a:cxn>
                <a:cxn ang="0">
                  <a:pos x="464" y="34"/>
                </a:cxn>
                <a:cxn ang="0">
                  <a:pos x="437" y="9"/>
                </a:cxn>
                <a:cxn ang="0">
                  <a:pos x="426" y="0"/>
                </a:cxn>
                <a:cxn ang="0">
                  <a:pos x="391" y="11"/>
                </a:cxn>
                <a:cxn ang="0">
                  <a:pos x="346" y="39"/>
                </a:cxn>
                <a:cxn ang="0">
                  <a:pos x="301" y="66"/>
                </a:cxn>
                <a:cxn ang="0">
                  <a:pos x="243" y="64"/>
                </a:cxn>
                <a:cxn ang="0">
                  <a:pos x="223" y="75"/>
                </a:cxn>
                <a:cxn ang="0">
                  <a:pos x="178" y="118"/>
                </a:cxn>
                <a:cxn ang="0">
                  <a:pos x="144" y="123"/>
                </a:cxn>
                <a:cxn ang="0">
                  <a:pos x="148" y="142"/>
                </a:cxn>
                <a:cxn ang="0">
                  <a:pos x="133" y="155"/>
                </a:cxn>
                <a:cxn ang="0">
                  <a:pos x="94" y="151"/>
                </a:cxn>
              </a:cxnLst>
              <a:rect l="0" t="0" r="r" b="b"/>
              <a:pathLst>
                <a:path w="740" h="316">
                  <a:moveTo>
                    <a:pt x="94" y="151"/>
                  </a:moveTo>
                  <a:lnTo>
                    <a:pt x="94" y="151"/>
                  </a:lnTo>
                  <a:lnTo>
                    <a:pt x="84" y="150"/>
                  </a:lnTo>
                  <a:lnTo>
                    <a:pt x="75" y="150"/>
                  </a:lnTo>
                  <a:lnTo>
                    <a:pt x="58" y="155"/>
                  </a:lnTo>
                  <a:lnTo>
                    <a:pt x="47" y="157"/>
                  </a:lnTo>
                  <a:lnTo>
                    <a:pt x="36" y="157"/>
                  </a:lnTo>
                  <a:lnTo>
                    <a:pt x="21" y="151"/>
                  </a:lnTo>
                  <a:lnTo>
                    <a:pt x="4" y="140"/>
                  </a:lnTo>
                  <a:lnTo>
                    <a:pt x="4" y="140"/>
                  </a:lnTo>
                  <a:lnTo>
                    <a:pt x="6" y="150"/>
                  </a:lnTo>
                  <a:lnTo>
                    <a:pt x="4" y="161"/>
                  </a:lnTo>
                  <a:lnTo>
                    <a:pt x="0" y="178"/>
                  </a:lnTo>
                  <a:lnTo>
                    <a:pt x="2" y="187"/>
                  </a:lnTo>
                  <a:lnTo>
                    <a:pt x="2" y="191"/>
                  </a:lnTo>
                  <a:lnTo>
                    <a:pt x="6" y="193"/>
                  </a:lnTo>
                  <a:lnTo>
                    <a:pt x="10" y="196"/>
                  </a:lnTo>
                  <a:lnTo>
                    <a:pt x="15" y="198"/>
                  </a:lnTo>
                  <a:lnTo>
                    <a:pt x="30" y="202"/>
                  </a:lnTo>
                  <a:lnTo>
                    <a:pt x="30" y="202"/>
                  </a:lnTo>
                  <a:lnTo>
                    <a:pt x="38" y="202"/>
                  </a:lnTo>
                  <a:lnTo>
                    <a:pt x="43" y="204"/>
                  </a:lnTo>
                  <a:lnTo>
                    <a:pt x="47" y="208"/>
                  </a:lnTo>
                  <a:lnTo>
                    <a:pt x="51" y="211"/>
                  </a:lnTo>
                  <a:lnTo>
                    <a:pt x="51" y="215"/>
                  </a:lnTo>
                  <a:lnTo>
                    <a:pt x="51" y="219"/>
                  </a:lnTo>
                  <a:lnTo>
                    <a:pt x="49" y="228"/>
                  </a:lnTo>
                  <a:lnTo>
                    <a:pt x="39" y="249"/>
                  </a:lnTo>
                  <a:lnTo>
                    <a:pt x="38" y="260"/>
                  </a:lnTo>
                  <a:lnTo>
                    <a:pt x="38" y="264"/>
                  </a:lnTo>
                  <a:lnTo>
                    <a:pt x="39" y="267"/>
                  </a:lnTo>
                  <a:lnTo>
                    <a:pt x="39" y="267"/>
                  </a:lnTo>
                  <a:lnTo>
                    <a:pt x="45" y="280"/>
                  </a:lnTo>
                  <a:lnTo>
                    <a:pt x="49" y="290"/>
                  </a:lnTo>
                  <a:lnTo>
                    <a:pt x="51" y="293"/>
                  </a:lnTo>
                  <a:lnTo>
                    <a:pt x="56" y="295"/>
                  </a:lnTo>
                  <a:lnTo>
                    <a:pt x="90" y="297"/>
                  </a:lnTo>
                  <a:lnTo>
                    <a:pt x="122" y="301"/>
                  </a:lnTo>
                  <a:lnTo>
                    <a:pt x="168" y="310"/>
                  </a:lnTo>
                  <a:lnTo>
                    <a:pt x="168" y="310"/>
                  </a:lnTo>
                  <a:lnTo>
                    <a:pt x="191" y="314"/>
                  </a:lnTo>
                  <a:lnTo>
                    <a:pt x="209" y="316"/>
                  </a:lnTo>
                  <a:lnTo>
                    <a:pt x="224" y="316"/>
                  </a:lnTo>
                  <a:lnTo>
                    <a:pt x="238" y="314"/>
                  </a:lnTo>
                  <a:lnTo>
                    <a:pt x="247" y="310"/>
                  </a:lnTo>
                  <a:lnTo>
                    <a:pt x="256" y="305"/>
                  </a:lnTo>
                  <a:lnTo>
                    <a:pt x="264" y="299"/>
                  </a:lnTo>
                  <a:lnTo>
                    <a:pt x="271" y="292"/>
                  </a:lnTo>
                  <a:lnTo>
                    <a:pt x="286" y="279"/>
                  </a:lnTo>
                  <a:lnTo>
                    <a:pt x="294" y="271"/>
                  </a:lnTo>
                  <a:lnTo>
                    <a:pt x="305" y="264"/>
                  </a:lnTo>
                  <a:lnTo>
                    <a:pt x="316" y="256"/>
                  </a:lnTo>
                  <a:lnTo>
                    <a:pt x="329" y="251"/>
                  </a:lnTo>
                  <a:lnTo>
                    <a:pt x="346" y="245"/>
                  </a:lnTo>
                  <a:lnTo>
                    <a:pt x="366" y="241"/>
                  </a:lnTo>
                  <a:lnTo>
                    <a:pt x="366" y="241"/>
                  </a:lnTo>
                  <a:lnTo>
                    <a:pt x="393" y="237"/>
                  </a:lnTo>
                  <a:lnTo>
                    <a:pt x="417" y="232"/>
                  </a:lnTo>
                  <a:lnTo>
                    <a:pt x="436" y="224"/>
                  </a:lnTo>
                  <a:lnTo>
                    <a:pt x="451" y="217"/>
                  </a:lnTo>
                  <a:lnTo>
                    <a:pt x="464" y="211"/>
                  </a:lnTo>
                  <a:lnTo>
                    <a:pt x="473" y="204"/>
                  </a:lnTo>
                  <a:lnTo>
                    <a:pt x="488" y="191"/>
                  </a:lnTo>
                  <a:lnTo>
                    <a:pt x="501" y="180"/>
                  </a:lnTo>
                  <a:lnTo>
                    <a:pt x="507" y="176"/>
                  </a:lnTo>
                  <a:lnTo>
                    <a:pt x="514" y="174"/>
                  </a:lnTo>
                  <a:lnTo>
                    <a:pt x="523" y="174"/>
                  </a:lnTo>
                  <a:lnTo>
                    <a:pt x="535" y="174"/>
                  </a:lnTo>
                  <a:lnTo>
                    <a:pt x="548" y="178"/>
                  </a:lnTo>
                  <a:lnTo>
                    <a:pt x="565" y="183"/>
                  </a:lnTo>
                  <a:lnTo>
                    <a:pt x="565" y="183"/>
                  </a:lnTo>
                  <a:lnTo>
                    <a:pt x="574" y="185"/>
                  </a:lnTo>
                  <a:lnTo>
                    <a:pt x="581" y="187"/>
                  </a:lnTo>
                  <a:lnTo>
                    <a:pt x="591" y="189"/>
                  </a:lnTo>
                  <a:lnTo>
                    <a:pt x="598" y="191"/>
                  </a:lnTo>
                  <a:lnTo>
                    <a:pt x="609" y="196"/>
                  </a:lnTo>
                  <a:lnTo>
                    <a:pt x="621" y="204"/>
                  </a:lnTo>
                  <a:lnTo>
                    <a:pt x="636" y="217"/>
                  </a:lnTo>
                  <a:lnTo>
                    <a:pt x="652" y="236"/>
                  </a:lnTo>
                  <a:lnTo>
                    <a:pt x="652" y="236"/>
                  </a:lnTo>
                  <a:lnTo>
                    <a:pt x="662" y="243"/>
                  </a:lnTo>
                  <a:lnTo>
                    <a:pt x="671" y="249"/>
                  </a:lnTo>
                  <a:lnTo>
                    <a:pt x="682" y="254"/>
                  </a:lnTo>
                  <a:lnTo>
                    <a:pt x="686" y="256"/>
                  </a:lnTo>
                  <a:lnTo>
                    <a:pt x="690" y="262"/>
                  </a:lnTo>
                  <a:lnTo>
                    <a:pt x="690" y="262"/>
                  </a:lnTo>
                  <a:lnTo>
                    <a:pt x="694" y="265"/>
                  </a:lnTo>
                  <a:lnTo>
                    <a:pt x="695" y="267"/>
                  </a:lnTo>
                  <a:lnTo>
                    <a:pt x="699" y="267"/>
                  </a:lnTo>
                  <a:lnTo>
                    <a:pt x="703" y="267"/>
                  </a:lnTo>
                  <a:lnTo>
                    <a:pt x="710" y="262"/>
                  </a:lnTo>
                  <a:lnTo>
                    <a:pt x="722" y="256"/>
                  </a:lnTo>
                  <a:lnTo>
                    <a:pt x="722" y="256"/>
                  </a:lnTo>
                  <a:lnTo>
                    <a:pt x="733" y="251"/>
                  </a:lnTo>
                  <a:lnTo>
                    <a:pt x="738" y="247"/>
                  </a:lnTo>
                  <a:lnTo>
                    <a:pt x="740" y="243"/>
                  </a:lnTo>
                  <a:lnTo>
                    <a:pt x="738" y="239"/>
                  </a:lnTo>
                  <a:lnTo>
                    <a:pt x="735" y="236"/>
                  </a:lnTo>
                  <a:lnTo>
                    <a:pt x="733" y="232"/>
                  </a:lnTo>
                  <a:lnTo>
                    <a:pt x="731" y="224"/>
                  </a:lnTo>
                  <a:lnTo>
                    <a:pt x="733" y="217"/>
                  </a:lnTo>
                  <a:lnTo>
                    <a:pt x="733" y="217"/>
                  </a:lnTo>
                  <a:lnTo>
                    <a:pt x="727" y="204"/>
                  </a:lnTo>
                  <a:lnTo>
                    <a:pt x="720" y="193"/>
                  </a:lnTo>
                  <a:lnTo>
                    <a:pt x="716" y="189"/>
                  </a:lnTo>
                  <a:lnTo>
                    <a:pt x="712" y="185"/>
                  </a:lnTo>
                  <a:lnTo>
                    <a:pt x="705" y="181"/>
                  </a:lnTo>
                  <a:lnTo>
                    <a:pt x="697" y="181"/>
                  </a:lnTo>
                  <a:lnTo>
                    <a:pt x="697" y="181"/>
                  </a:lnTo>
                  <a:lnTo>
                    <a:pt x="682" y="181"/>
                  </a:lnTo>
                  <a:lnTo>
                    <a:pt x="671" y="178"/>
                  </a:lnTo>
                  <a:lnTo>
                    <a:pt x="664" y="174"/>
                  </a:lnTo>
                  <a:lnTo>
                    <a:pt x="658" y="168"/>
                  </a:lnTo>
                  <a:lnTo>
                    <a:pt x="649" y="161"/>
                  </a:lnTo>
                  <a:lnTo>
                    <a:pt x="645" y="159"/>
                  </a:lnTo>
                  <a:lnTo>
                    <a:pt x="639" y="161"/>
                  </a:lnTo>
                  <a:lnTo>
                    <a:pt x="639" y="161"/>
                  </a:lnTo>
                  <a:lnTo>
                    <a:pt x="624" y="165"/>
                  </a:lnTo>
                  <a:lnTo>
                    <a:pt x="619" y="166"/>
                  </a:lnTo>
                  <a:lnTo>
                    <a:pt x="615" y="165"/>
                  </a:lnTo>
                  <a:lnTo>
                    <a:pt x="611" y="165"/>
                  </a:lnTo>
                  <a:lnTo>
                    <a:pt x="611" y="161"/>
                  </a:lnTo>
                  <a:lnTo>
                    <a:pt x="613" y="153"/>
                  </a:lnTo>
                  <a:lnTo>
                    <a:pt x="619" y="146"/>
                  </a:lnTo>
                  <a:lnTo>
                    <a:pt x="626" y="137"/>
                  </a:lnTo>
                  <a:lnTo>
                    <a:pt x="634" y="129"/>
                  </a:lnTo>
                  <a:lnTo>
                    <a:pt x="643" y="123"/>
                  </a:lnTo>
                  <a:lnTo>
                    <a:pt x="643" y="123"/>
                  </a:lnTo>
                  <a:lnTo>
                    <a:pt x="651" y="118"/>
                  </a:lnTo>
                  <a:lnTo>
                    <a:pt x="654" y="116"/>
                  </a:lnTo>
                  <a:lnTo>
                    <a:pt x="654" y="112"/>
                  </a:lnTo>
                  <a:lnTo>
                    <a:pt x="654" y="109"/>
                  </a:lnTo>
                  <a:lnTo>
                    <a:pt x="651" y="103"/>
                  </a:lnTo>
                  <a:lnTo>
                    <a:pt x="649" y="97"/>
                  </a:lnTo>
                  <a:lnTo>
                    <a:pt x="647" y="92"/>
                  </a:lnTo>
                  <a:lnTo>
                    <a:pt x="647" y="92"/>
                  </a:lnTo>
                  <a:lnTo>
                    <a:pt x="647" y="82"/>
                  </a:lnTo>
                  <a:lnTo>
                    <a:pt x="645" y="75"/>
                  </a:lnTo>
                  <a:lnTo>
                    <a:pt x="641" y="71"/>
                  </a:lnTo>
                  <a:lnTo>
                    <a:pt x="639" y="69"/>
                  </a:lnTo>
                  <a:lnTo>
                    <a:pt x="636" y="69"/>
                  </a:lnTo>
                  <a:lnTo>
                    <a:pt x="632" y="71"/>
                  </a:lnTo>
                  <a:lnTo>
                    <a:pt x="624" y="77"/>
                  </a:lnTo>
                  <a:lnTo>
                    <a:pt x="609" y="90"/>
                  </a:lnTo>
                  <a:lnTo>
                    <a:pt x="606" y="92"/>
                  </a:lnTo>
                  <a:lnTo>
                    <a:pt x="604" y="92"/>
                  </a:lnTo>
                  <a:lnTo>
                    <a:pt x="602" y="92"/>
                  </a:lnTo>
                  <a:lnTo>
                    <a:pt x="602" y="88"/>
                  </a:lnTo>
                  <a:lnTo>
                    <a:pt x="602" y="88"/>
                  </a:lnTo>
                  <a:lnTo>
                    <a:pt x="602" y="80"/>
                  </a:lnTo>
                  <a:lnTo>
                    <a:pt x="602" y="73"/>
                  </a:lnTo>
                  <a:lnTo>
                    <a:pt x="606" y="67"/>
                  </a:lnTo>
                  <a:lnTo>
                    <a:pt x="609" y="62"/>
                  </a:lnTo>
                  <a:lnTo>
                    <a:pt x="619" y="54"/>
                  </a:lnTo>
                  <a:lnTo>
                    <a:pt x="628" y="51"/>
                  </a:lnTo>
                  <a:lnTo>
                    <a:pt x="641" y="45"/>
                  </a:lnTo>
                  <a:lnTo>
                    <a:pt x="641" y="45"/>
                  </a:lnTo>
                  <a:lnTo>
                    <a:pt x="639" y="43"/>
                  </a:lnTo>
                  <a:lnTo>
                    <a:pt x="628" y="41"/>
                  </a:lnTo>
                  <a:lnTo>
                    <a:pt x="628" y="41"/>
                  </a:lnTo>
                  <a:lnTo>
                    <a:pt x="623" y="39"/>
                  </a:lnTo>
                  <a:lnTo>
                    <a:pt x="619" y="34"/>
                  </a:lnTo>
                  <a:lnTo>
                    <a:pt x="615" y="23"/>
                  </a:lnTo>
                  <a:lnTo>
                    <a:pt x="611" y="17"/>
                  </a:lnTo>
                  <a:lnTo>
                    <a:pt x="609" y="13"/>
                  </a:lnTo>
                  <a:lnTo>
                    <a:pt x="604" y="11"/>
                  </a:lnTo>
                  <a:lnTo>
                    <a:pt x="596" y="9"/>
                  </a:lnTo>
                  <a:lnTo>
                    <a:pt x="596" y="9"/>
                  </a:lnTo>
                  <a:lnTo>
                    <a:pt x="581" y="13"/>
                  </a:lnTo>
                  <a:lnTo>
                    <a:pt x="568" y="15"/>
                  </a:lnTo>
                  <a:lnTo>
                    <a:pt x="550" y="24"/>
                  </a:lnTo>
                  <a:lnTo>
                    <a:pt x="538" y="32"/>
                  </a:lnTo>
                  <a:lnTo>
                    <a:pt x="529" y="39"/>
                  </a:lnTo>
                  <a:lnTo>
                    <a:pt x="522" y="47"/>
                  </a:lnTo>
                  <a:lnTo>
                    <a:pt x="514" y="51"/>
                  </a:lnTo>
                  <a:lnTo>
                    <a:pt x="510" y="51"/>
                  </a:lnTo>
                  <a:lnTo>
                    <a:pt x="505" y="51"/>
                  </a:lnTo>
                  <a:lnTo>
                    <a:pt x="490" y="45"/>
                  </a:lnTo>
                  <a:lnTo>
                    <a:pt x="490" y="45"/>
                  </a:lnTo>
                  <a:lnTo>
                    <a:pt x="464" y="34"/>
                  </a:lnTo>
                  <a:lnTo>
                    <a:pt x="449" y="28"/>
                  </a:lnTo>
                  <a:lnTo>
                    <a:pt x="445" y="26"/>
                  </a:lnTo>
                  <a:lnTo>
                    <a:pt x="443" y="23"/>
                  </a:lnTo>
                  <a:lnTo>
                    <a:pt x="437" y="9"/>
                  </a:lnTo>
                  <a:lnTo>
                    <a:pt x="437" y="9"/>
                  </a:lnTo>
                  <a:lnTo>
                    <a:pt x="436" y="4"/>
                  </a:lnTo>
                  <a:lnTo>
                    <a:pt x="432" y="0"/>
                  </a:lnTo>
                  <a:lnTo>
                    <a:pt x="426" y="0"/>
                  </a:lnTo>
                  <a:lnTo>
                    <a:pt x="423" y="0"/>
                  </a:lnTo>
                  <a:lnTo>
                    <a:pt x="408" y="6"/>
                  </a:lnTo>
                  <a:lnTo>
                    <a:pt x="391" y="11"/>
                  </a:lnTo>
                  <a:lnTo>
                    <a:pt x="391" y="11"/>
                  </a:lnTo>
                  <a:lnTo>
                    <a:pt x="381" y="15"/>
                  </a:lnTo>
                  <a:lnTo>
                    <a:pt x="372" y="19"/>
                  </a:lnTo>
                  <a:lnTo>
                    <a:pt x="359" y="28"/>
                  </a:lnTo>
                  <a:lnTo>
                    <a:pt x="346" y="39"/>
                  </a:lnTo>
                  <a:lnTo>
                    <a:pt x="333" y="51"/>
                  </a:lnTo>
                  <a:lnTo>
                    <a:pt x="333" y="51"/>
                  </a:lnTo>
                  <a:lnTo>
                    <a:pt x="316" y="60"/>
                  </a:lnTo>
                  <a:lnTo>
                    <a:pt x="301" y="66"/>
                  </a:lnTo>
                  <a:lnTo>
                    <a:pt x="288" y="67"/>
                  </a:lnTo>
                  <a:lnTo>
                    <a:pt x="277" y="67"/>
                  </a:lnTo>
                  <a:lnTo>
                    <a:pt x="254" y="64"/>
                  </a:lnTo>
                  <a:lnTo>
                    <a:pt x="243" y="64"/>
                  </a:lnTo>
                  <a:lnTo>
                    <a:pt x="232" y="66"/>
                  </a:lnTo>
                  <a:lnTo>
                    <a:pt x="232" y="66"/>
                  </a:lnTo>
                  <a:lnTo>
                    <a:pt x="228" y="69"/>
                  </a:lnTo>
                  <a:lnTo>
                    <a:pt x="223" y="75"/>
                  </a:lnTo>
                  <a:lnTo>
                    <a:pt x="209" y="94"/>
                  </a:lnTo>
                  <a:lnTo>
                    <a:pt x="200" y="103"/>
                  </a:lnTo>
                  <a:lnTo>
                    <a:pt x="189" y="112"/>
                  </a:lnTo>
                  <a:lnTo>
                    <a:pt x="178" y="118"/>
                  </a:lnTo>
                  <a:lnTo>
                    <a:pt x="165" y="122"/>
                  </a:lnTo>
                  <a:lnTo>
                    <a:pt x="165" y="122"/>
                  </a:lnTo>
                  <a:lnTo>
                    <a:pt x="148" y="123"/>
                  </a:lnTo>
                  <a:lnTo>
                    <a:pt x="144" y="123"/>
                  </a:lnTo>
                  <a:lnTo>
                    <a:pt x="142" y="125"/>
                  </a:lnTo>
                  <a:lnTo>
                    <a:pt x="144" y="131"/>
                  </a:lnTo>
                  <a:lnTo>
                    <a:pt x="146" y="135"/>
                  </a:lnTo>
                  <a:lnTo>
                    <a:pt x="148" y="142"/>
                  </a:lnTo>
                  <a:lnTo>
                    <a:pt x="148" y="142"/>
                  </a:lnTo>
                  <a:lnTo>
                    <a:pt x="146" y="148"/>
                  </a:lnTo>
                  <a:lnTo>
                    <a:pt x="140" y="151"/>
                  </a:lnTo>
                  <a:lnTo>
                    <a:pt x="133" y="155"/>
                  </a:lnTo>
                  <a:lnTo>
                    <a:pt x="125" y="155"/>
                  </a:lnTo>
                  <a:lnTo>
                    <a:pt x="107" y="155"/>
                  </a:lnTo>
                  <a:lnTo>
                    <a:pt x="94" y="151"/>
                  </a:lnTo>
                  <a:lnTo>
                    <a:pt x="94" y="15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5" name="Freeform 85">
              <a:extLst>
                <a:ext uri="{FF2B5EF4-FFF2-40B4-BE49-F238E27FC236}">
                  <a16:creationId xmlns:a16="http://schemas.microsoft.com/office/drawing/2014/main" id="{28695EBA-91FA-4A8D-A187-FF2C213B381A}"/>
                </a:ext>
              </a:extLst>
            </p:cNvPr>
            <p:cNvSpPr>
              <a:spLocks/>
            </p:cNvSpPr>
            <p:nvPr/>
          </p:nvSpPr>
          <p:spPr bwMode="auto">
            <a:xfrm>
              <a:off x="1885157" y="4075998"/>
              <a:ext cx="47233" cy="58133"/>
            </a:xfrm>
            <a:custGeom>
              <a:avLst/>
              <a:gdLst/>
              <a:ahLst/>
              <a:cxnLst>
                <a:cxn ang="0">
                  <a:pos x="17" y="6"/>
                </a:cxn>
                <a:cxn ang="0">
                  <a:pos x="17" y="6"/>
                </a:cxn>
                <a:cxn ang="0">
                  <a:pos x="11" y="7"/>
                </a:cxn>
                <a:cxn ang="0">
                  <a:pos x="9" y="7"/>
                </a:cxn>
                <a:cxn ang="0">
                  <a:pos x="6" y="9"/>
                </a:cxn>
                <a:cxn ang="0">
                  <a:pos x="0" y="11"/>
                </a:cxn>
                <a:cxn ang="0">
                  <a:pos x="0" y="11"/>
                </a:cxn>
                <a:cxn ang="0">
                  <a:pos x="2" y="19"/>
                </a:cxn>
                <a:cxn ang="0">
                  <a:pos x="4" y="28"/>
                </a:cxn>
                <a:cxn ang="0">
                  <a:pos x="9" y="50"/>
                </a:cxn>
                <a:cxn ang="0">
                  <a:pos x="13" y="58"/>
                </a:cxn>
                <a:cxn ang="0">
                  <a:pos x="15" y="62"/>
                </a:cxn>
                <a:cxn ang="0">
                  <a:pos x="19" y="63"/>
                </a:cxn>
                <a:cxn ang="0">
                  <a:pos x="22" y="63"/>
                </a:cxn>
                <a:cxn ang="0">
                  <a:pos x="26" y="62"/>
                </a:cxn>
                <a:cxn ang="0">
                  <a:pos x="30" y="60"/>
                </a:cxn>
                <a:cxn ang="0">
                  <a:pos x="35" y="54"/>
                </a:cxn>
                <a:cxn ang="0">
                  <a:pos x="35" y="54"/>
                </a:cxn>
                <a:cxn ang="0">
                  <a:pos x="37" y="52"/>
                </a:cxn>
                <a:cxn ang="0">
                  <a:pos x="41" y="52"/>
                </a:cxn>
                <a:cxn ang="0">
                  <a:pos x="47" y="56"/>
                </a:cxn>
                <a:cxn ang="0">
                  <a:pos x="50" y="43"/>
                </a:cxn>
                <a:cxn ang="0">
                  <a:pos x="50" y="43"/>
                </a:cxn>
                <a:cxn ang="0">
                  <a:pos x="49" y="37"/>
                </a:cxn>
                <a:cxn ang="0">
                  <a:pos x="47" y="37"/>
                </a:cxn>
                <a:cxn ang="0">
                  <a:pos x="45" y="34"/>
                </a:cxn>
                <a:cxn ang="0">
                  <a:pos x="43" y="19"/>
                </a:cxn>
                <a:cxn ang="0">
                  <a:pos x="43" y="19"/>
                </a:cxn>
                <a:cxn ang="0">
                  <a:pos x="41" y="11"/>
                </a:cxn>
                <a:cxn ang="0">
                  <a:pos x="39" y="6"/>
                </a:cxn>
                <a:cxn ang="0">
                  <a:pos x="35" y="0"/>
                </a:cxn>
                <a:cxn ang="0">
                  <a:pos x="32" y="0"/>
                </a:cxn>
                <a:cxn ang="0">
                  <a:pos x="32" y="0"/>
                </a:cxn>
                <a:cxn ang="0">
                  <a:pos x="28" y="2"/>
                </a:cxn>
                <a:cxn ang="0">
                  <a:pos x="28" y="4"/>
                </a:cxn>
                <a:cxn ang="0">
                  <a:pos x="26" y="6"/>
                </a:cxn>
                <a:cxn ang="0">
                  <a:pos x="17" y="6"/>
                </a:cxn>
                <a:cxn ang="0">
                  <a:pos x="17" y="6"/>
                </a:cxn>
              </a:cxnLst>
              <a:rect l="0" t="0" r="r" b="b"/>
              <a:pathLst>
                <a:path w="50" h="63">
                  <a:moveTo>
                    <a:pt x="17" y="6"/>
                  </a:moveTo>
                  <a:lnTo>
                    <a:pt x="17" y="6"/>
                  </a:lnTo>
                  <a:lnTo>
                    <a:pt x="11" y="7"/>
                  </a:lnTo>
                  <a:lnTo>
                    <a:pt x="9" y="7"/>
                  </a:lnTo>
                  <a:lnTo>
                    <a:pt x="6" y="9"/>
                  </a:lnTo>
                  <a:lnTo>
                    <a:pt x="0" y="11"/>
                  </a:lnTo>
                  <a:lnTo>
                    <a:pt x="0" y="11"/>
                  </a:lnTo>
                  <a:lnTo>
                    <a:pt x="2" y="19"/>
                  </a:lnTo>
                  <a:lnTo>
                    <a:pt x="4" y="28"/>
                  </a:lnTo>
                  <a:lnTo>
                    <a:pt x="9" y="50"/>
                  </a:lnTo>
                  <a:lnTo>
                    <a:pt x="13" y="58"/>
                  </a:lnTo>
                  <a:lnTo>
                    <a:pt x="15" y="62"/>
                  </a:lnTo>
                  <a:lnTo>
                    <a:pt x="19" y="63"/>
                  </a:lnTo>
                  <a:lnTo>
                    <a:pt x="22" y="63"/>
                  </a:lnTo>
                  <a:lnTo>
                    <a:pt x="26" y="62"/>
                  </a:lnTo>
                  <a:lnTo>
                    <a:pt x="30" y="60"/>
                  </a:lnTo>
                  <a:lnTo>
                    <a:pt x="35" y="54"/>
                  </a:lnTo>
                  <a:lnTo>
                    <a:pt x="35" y="54"/>
                  </a:lnTo>
                  <a:lnTo>
                    <a:pt x="37" y="52"/>
                  </a:lnTo>
                  <a:lnTo>
                    <a:pt x="41" y="52"/>
                  </a:lnTo>
                  <a:lnTo>
                    <a:pt x="47" y="56"/>
                  </a:lnTo>
                  <a:lnTo>
                    <a:pt x="50" y="43"/>
                  </a:lnTo>
                  <a:lnTo>
                    <a:pt x="50" y="43"/>
                  </a:lnTo>
                  <a:lnTo>
                    <a:pt x="49" y="37"/>
                  </a:lnTo>
                  <a:lnTo>
                    <a:pt x="47" y="37"/>
                  </a:lnTo>
                  <a:lnTo>
                    <a:pt x="45" y="34"/>
                  </a:lnTo>
                  <a:lnTo>
                    <a:pt x="43" y="19"/>
                  </a:lnTo>
                  <a:lnTo>
                    <a:pt x="43" y="19"/>
                  </a:lnTo>
                  <a:lnTo>
                    <a:pt x="41" y="11"/>
                  </a:lnTo>
                  <a:lnTo>
                    <a:pt x="39" y="6"/>
                  </a:lnTo>
                  <a:lnTo>
                    <a:pt x="35" y="0"/>
                  </a:lnTo>
                  <a:lnTo>
                    <a:pt x="32" y="0"/>
                  </a:lnTo>
                  <a:lnTo>
                    <a:pt x="32" y="0"/>
                  </a:lnTo>
                  <a:lnTo>
                    <a:pt x="28" y="2"/>
                  </a:lnTo>
                  <a:lnTo>
                    <a:pt x="28" y="4"/>
                  </a:lnTo>
                  <a:lnTo>
                    <a:pt x="26" y="6"/>
                  </a:lnTo>
                  <a:lnTo>
                    <a:pt x="17" y="6"/>
                  </a:lnTo>
                  <a:lnTo>
                    <a:pt x="17" y="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6" name="Freeform 86">
              <a:extLst>
                <a:ext uri="{FF2B5EF4-FFF2-40B4-BE49-F238E27FC236}">
                  <a16:creationId xmlns:a16="http://schemas.microsoft.com/office/drawing/2014/main" id="{337FE4D4-4E33-4576-913E-D493A66DDD48}"/>
                </a:ext>
              </a:extLst>
            </p:cNvPr>
            <p:cNvSpPr>
              <a:spLocks/>
            </p:cNvSpPr>
            <p:nvPr/>
          </p:nvSpPr>
          <p:spPr bwMode="auto">
            <a:xfrm>
              <a:off x="1874257" y="3939749"/>
              <a:ext cx="18167" cy="30883"/>
            </a:xfrm>
            <a:custGeom>
              <a:avLst/>
              <a:gdLst/>
              <a:ahLst/>
              <a:cxnLst>
                <a:cxn ang="0">
                  <a:pos x="15" y="16"/>
                </a:cxn>
                <a:cxn ang="0">
                  <a:pos x="15" y="16"/>
                </a:cxn>
                <a:cxn ang="0">
                  <a:pos x="20" y="11"/>
                </a:cxn>
                <a:cxn ang="0">
                  <a:pos x="20" y="11"/>
                </a:cxn>
                <a:cxn ang="0">
                  <a:pos x="19" y="9"/>
                </a:cxn>
                <a:cxn ang="0">
                  <a:pos x="13" y="7"/>
                </a:cxn>
                <a:cxn ang="0">
                  <a:pos x="9" y="3"/>
                </a:cxn>
                <a:cxn ang="0">
                  <a:pos x="9" y="0"/>
                </a:cxn>
                <a:cxn ang="0">
                  <a:pos x="9" y="0"/>
                </a:cxn>
                <a:cxn ang="0">
                  <a:pos x="4" y="1"/>
                </a:cxn>
                <a:cxn ang="0">
                  <a:pos x="2" y="3"/>
                </a:cxn>
                <a:cxn ang="0">
                  <a:pos x="0" y="5"/>
                </a:cxn>
                <a:cxn ang="0">
                  <a:pos x="0" y="9"/>
                </a:cxn>
                <a:cxn ang="0">
                  <a:pos x="0" y="15"/>
                </a:cxn>
                <a:cxn ang="0">
                  <a:pos x="7" y="33"/>
                </a:cxn>
                <a:cxn ang="0">
                  <a:pos x="7" y="33"/>
                </a:cxn>
                <a:cxn ang="0">
                  <a:pos x="9" y="31"/>
                </a:cxn>
                <a:cxn ang="0">
                  <a:pos x="11" y="28"/>
                </a:cxn>
                <a:cxn ang="0">
                  <a:pos x="11" y="24"/>
                </a:cxn>
                <a:cxn ang="0">
                  <a:pos x="11" y="18"/>
                </a:cxn>
                <a:cxn ang="0">
                  <a:pos x="15" y="16"/>
                </a:cxn>
                <a:cxn ang="0">
                  <a:pos x="15" y="16"/>
                </a:cxn>
              </a:cxnLst>
              <a:rect l="0" t="0" r="r" b="b"/>
              <a:pathLst>
                <a:path w="20" h="33">
                  <a:moveTo>
                    <a:pt x="15" y="16"/>
                  </a:moveTo>
                  <a:lnTo>
                    <a:pt x="15" y="16"/>
                  </a:lnTo>
                  <a:lnTo>
                    <a:pt x="20" y="11"/>
                  </a:lnTo>
                  <a:lnTo>
                    <a:pt x="20" y="11"/>
                  </a:lnTo>
                  <a:lnTo>
                    <a:pt x="19" y="9"/>
                  </a:lnTo>
                  <a:lnTo>
                    <a:pt x="13" y="7"/>
                  </a:lnTo>
                  <a:lnTo>
                    <a:pt x="9" y="3"/>
                  </a:lnTo>
                  <a:lnTo>
                    <a:pt x="9" y="0"/>
                  </a:lnTo>
                  <a:lnTo>
                    <a:pt x="9" y="0"/>
                  </a:lnTo>
                  <a:lnTo>
                    <a:pt x="4" y="1"/>
                  </a:lnTo>
                  <a:lnTo>
                    <a:pt x="2" y="3"/>
                  </a:lnTo>
                  <a:lnTo>
                    <a:pt x="0" y="5"/>
                  </a:lnTo>
                  <a:lnTo>
                    <a:pt x="0" y="9"/>
                  </a:lnTo>
                  <a:lnTo>
                    <a:pt x="0" y="15"/>
                  </a:lnTo>
                  <a:lnTo>
                    <a:pt x="7" y="33"/>
                  </a:lnTo>
                  <a:lnTo>
                    <a:pt x="7" y="33"/>
                  </a:lnTo>
                  <a:lnTo>
                    <a:pt x="9" y="31"/>
                  </a:lnTo>
                  <a:lnTo>
                    <a:pt x="11" y="28"/>
                  </a:lnTo>
                  <a:lnTo>
                    <a:pt x="11" y="24"/>
                  </a:lnTo>
                  <a:lnTo>
                    <a:pt x="11" y="18"/>
                  </a:lnTo>
                  <a:lnTo>
                    <a:pt x="15" y="16"/>
                  </a:lnTo>
                  <a:lnTo>
                    <a:pt x="15" y="1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7" name="Freeform 87">
              <a:extLst>
                <a:ext uri="{FF2B5EF4-FFF2-40B4-BE49-F238E27FC236}">
                  <a16:creationId xmlns:a16="http://schemas.microsoft.com/office/drawing/2014/main" id="{D7E2C3FB-103D-494E-BD87-45AA488DE69B}"/>
                </a:ext>
              </a:extLst>
            </p:cNvPr>
            <p:cNvSpPr>
              <a:spLocks/>
            </p:cNvSpPr>
            <p:nvPr/>
          </p:nvSpPr>
          <p:spPr bwMode="auto">
            <a:xfrm>
              <a:off x="1972357" y="3857998"/>
              <a:ext cx="41784" cy="89016"/>
            </a:xfrm>
            <a:custGeom>
              <a:avLst/>
              <a:gdLst/>
              <a:ahLst/>
              <a:cxnLst>
                <a:cxn ang="0">
                  <a:pos x="38" y="9"/>
                </a:cxn>
                <a:cxn ang="0">
                  <a:pos x="38" y="9"/>
                </a:cxn>
                <a:cxn ang="0">
                  <a:pos x="28" y="7"/>
                </a:cxn>
                <a:cxn ang="0">
                  <a:pos x="32" y="7"/>
                </a:cxn>
                <a:cxn ang="0">
                  <a:pos x="32" y="6"/>
                </a:cxn>
                <a:cxn ang="0">
                  <a:pos x="30" y="6"/>
                </a:cxn>
                <a:cxn ang="0">
                  <a:pos x="13" y="0"/>
                </a:cxn>
                <a:cxn ang="0">
                  <a:pos x="13" y="0"/>
                </a:cxn>
                <a:cxn ang="0">
                  <a:pos x="15" y="13"/>
                </a:cxn>
                <a:cxn ang="0">
                  <a:pos x="17" y="26"/>
                </a:cxn>
                <a:cxn ang="0">
                  <a:pos x="15" y="43"/>
                </a:cxn>
                <a:cxn ang="0">
                  <a:pos x="11" y="63"/>
                </a:cxn>
                <a:cxn ang="0">
                  <a:pos x="11" y="63"/>
                </a:cxn>
                <a:cxn ang="0">
                  <a:pos x="8" y="75"/>
                </a:cxn>
                <a:cxn ang="0">
                  <a:pos x="0" y="84"/>
                </a:cxn>
                <a:cxn ang="0">
                  <a:pos x="0" y="84"/>
                </a:cxn>
                <a:cxn ang="0">
                  <a:pos x="0" y="88"/>
                </a:cxn>
                <a:cxn ang="0">
                  <a:pos x="0" y="91"/>
                </a:cxn>
                <a:cxn ang="0">
                  <a:pos x="2" y="95"/>
                </a:cxn>
                <a:cxn ang="0">
                  <a:pos x="6" y="99"/>
                </a:cxn>
                <a:cxn ang="0">
                  <a:pos x="11" y="99"/>
                </a:cxn>
                <a:cxn ang="0">
                  <a:pos x="21" y="97"/>
                </a:cxn>
                <a:cxn ang="0">
                  <a:pos x="34" y="90"/>
                </a:cxn>
                <a:cxn ang="0">
                  <a:pos x="34" y="90"/>
                </a:cxn>
                <a:cxn ang="0">
                  <a:pos x="38" y="86"/>
                </a:cxn>
                <a:cxn ang="0">
                  <a:pos x="40" y="82"/>
                </a:cxn>
                <a:cxn ang="0">
                  <a:pos x="41" y="67"/>
                </a:cxn>
                <a:cxn ang="0">
                  <a:pos x="40" y="54"/>
                </a:cxn>
                <a:cxn ang="0">
                  <a:pos x="38" y="48"/>
                </a:cxn>
                <a:cxn ang="0">
                  <a:pos x="36" y="45"/>
                </a:cxn>
                <a:cxn ang="0">
                  <a:pos x="36" y="45"/>
                </a:cxn>
                <a:cxn ang="0">
                  <a:pos x="30" y="43"/>
                </a:cxn>
                <a:cxn ang="0">
                  <a:pos x="32" y="41"/>
                </a:cxn>
                <a:cxn ang="0">
                  <a:pos x="36" y="37"/>
                </a:cxn>
                <a:cxn ang="0">
                  <a:pos x="38" y="35"/>
                </a:cxn>
                <a:cxn ang="0">
                  <a:pos x="38" y="30"/>
                </a:cxn>
                <a:cxn ang="0">
                  <a:pos x="38" y="30"/>
                </a:cxn>
                <a:cxn ang="0">
                  <a:pos x="41" y="24"/>
                </a:cxn>
                <a:cxn ang="0">
                  <a:pos x="45" y="19"/>
                </a:cxn>
                <a:cxn ang="0">
                  <a:pos x="47" y="15"/>
                </a:cxn>
                <a:cxn ang="0">
                  <a:pos x="47" y="11"/>
                </a:cxn>
                <a:cxn ang="0">
                  <a:pos x="43" y="9"/>
                </a:cxn>
                <a:cxn ang="0">
                  <a:pos x="38" y="9"/>
                </a:cxn>
                <a:cxn ang="0">
                  <a:pos x="38" y="9"/>
                </a:cxn>
              </a:cxnLst>
              <a:rect l="0" t="0" r="r" b="b"/>
              <a:pathLst>
                <a:path w="47" h="99">
                  <a:moveTo>
                    <a:pt x="38" y="9"/>
                  </a:moveTo>
                  <a:lnTo>
                    <a:pt x="38" y="9"/>
                  </a:lnTo>
                  <a:lnTo>
                    <a:pt x="28" y="7"/>
                  </a:lnTo>
                  <a:lnTo>
                    <a:pt x="32" y="7"/>
                  </a:lnTo>
                  <a:lnTo>
                    <a:pt x="32" y="6"/>
                  </a:lnTo>
                  <a:lnTo>
                    <a:pt x="30" y="6"/>
                  </a:lnTo>
                  <a:lnTo>
                    <a:pt x="13" y="0"/>
                  </a:lnTo>
                  <a:lnTo>
                    <a:pt x="13" y="0"/>
                  </a:lnTo>
                  <a:lnTo>
                    <a:pt x="15" y="13"/>
                  </a:lnTo>
                  <a:lnTo>
                    <a:pt x="17" y="26"/>
                  </a:lnTo>
                  <a:lnTo>
                    <a:pt x="15" y="43"/>
                  </a:lnTo>
                  <a:lnTo>
                    <a:pt x="11" y="63"/>
                  </a:lnTo>
                  <a:lnTo>
                    <a:pt x="11" y="63"/>
                  </a:lnTo>
                  <a:lnTo>
                    <a:pt x="8" y="75"/>
                  </a:lnTo>
                  <a:lnTo>
                    <a:pt x="0" y="84"/>
                  </a:lnTo>
                  <a:lnTo>
                    <a:pt x="0" y="84"/>
                  </a:lnTo>
                  <a:lnTo>
                    <a:pt x="0" y="88"/>
                  </a:lnTo>
                  <a:lnTo>
                    <a:pt x="0" y="91"/>
                  </a:lnTo>
                  <a:lnTo>
                    <a:pt x="2" y="95"/>
                  </a:lnTo>
                  <a:lnTo>
                    <a:pt x="6" y="99"/>
                  </a:lnTo>
                  <a:lnTo>
                    <a:pt x="11" y="99"/>
                  </a:lnTo>
                  <a:lnTo>
                    <a:pt x="21" y="97"/>
                  </a:lnTo>
                  <a:lnTo>
                    <a:pt x="34" y="90"/>
                  </a:lnTo>
                  <a:lnTo>
                    <a:pt x="34" y="90"/>
                  </a:lnTo>
                  <a:lnTo>
                    <a:pt x="38" y="86"/>
                  </a:lnTo>
                  <a:lnTo>
                    <a:pt x="40" y="82"/>
                  </a:lnTo>
                  <a:lnTo>
                    <a:pt x="41" y="67"/>
                  </a:lnTo>
                  <a:lnTo>
                    <a:pt x="40" y="54"/>
                  </a:lnTo>
                  <a:lnTo>
                    <a:pt x="38" y="48"/>
                  </a:lnTo>
                  <a:lnTo>
                    <a:pt x="36" y="45"/>
                  </a:lnTo>
                  <a:lnTo>
                    <a:pt x="36" y="45"/>
                  </a:lnTo>
                  <a:lnTo>
                    <a:pt x="30" y="43"/>
                  </a:lnTo>
                  <a:lnTo>
                    <a:pt x="32" y="41"/>
                  </a:lnTo>
                  <a:lnTo>
                    <a:pt x="36" y="37"/>
                  </a:lnTo>
                  <a:lnTo>
                    <a:pt x="38" y="35"/>
                  </a:lnTo>
                  <a:lnTo>
                    <a:pt x="38" y="30"/>
                  </a:lnTo>
                  <a:lnTo>
                    <a:pt x="38" y="30"/>
                  </a:lnTo>
                  <a:lnTo>
                    <a:pt x="41" y="24"/>
                  </a:lnTo>
                  <a:lnTo>
                    <a:pt x="45" y="19"/>
                  </a:lnTo>
                  <a:lnTo>
                    <a:pt x="47" y="15"/>
                  </a:lnTo>
                  <a:lnTo>
                    <a:pt x="47" y="11"/>
                  </a:lnTo>
                  <a:lnTo>
                    <a:pt x="43" y="9"/>
                  </a:lnTo>
                  <a:lnTo>
                    <a:pt x="38" y="9"/>
                  </a:lnTo>
                  <a:lnTo>
                    <a:pt x="38" y="9"/>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8" name="Freeform 88">
              <a:extLst>
                <a:ext uri="{FF2B5EF4-FFF2-40B4-BE49-F238E27FC236}">
                  <a16:creationId xmlns:a16="http://schemas.microsoft.com/office/drawing/2014/main" id="{74922B0E-9A31-44B7-9D2E-A052D080FA7E}"/>
                </a:ext>
              </a:extLst>
            </p:cNvPr>
            <p:cNvSpPr>
              <a:spLocks/>
            </p:cNvSpPr>
            <p:nvPr/>
          </p:nvSpPr>
          <p:spPr bwMode="auto">
            <a:xfrm>
              <a:off x="1799773" y="3347517"/>
              <a:ext cx="127166" cy="161682"/>
            </a:xfrm>
            <a:custGeom>
              <a:avLst/>
              <a:gdLst/>
              <a:ahLst/>
              <a:cxnLst>
                <a:cxn ang="0">
                  <a:pos x="89" y="77"/>
                </a:cxn>
                <a:cxn ang="0">
                  <a:pos x="89" y="77"/>
                </a:cxn>
                <a:cxn ang="0">
                  <a:pos x="82" y="66"/>
                </a:cxn>
                <a:cxn ang="0">
                  <a:pos x="65" y="43"/>
                </a:cxn>
                <a:cxn ang="0">
                  <a:pos x="43" y="17"/>
                </a:cxn>
                <a:cxn ang="0">
                  <a:pos x="31" y="8"/>
                </a:cxn>
                <a:cxn ang="0">
                  <a:pos x="20" y="0"/>
                </a:cxn>
                <a:cxn ang="0">
                  <a:pos x="20" y="0"/>
                </a:cxn>
                <a:cxn ang="0">
                  <a:pos x="16" y="10"/>
                </a:cxn>
                <a:cxn ang="0">
                  <a:pos x="13" y="17"/>
                </a:cxn>
                <a:cxn ang="0">
                  <a:pos x="3" y="32"/>
                </a:cxn>
                <a:cxn ang="0">
                  <a:pos x="2" y="40"/>
                </a:cxn>
                <a:cxn ang="0">
                  <a:pos x="0" y="47"/>
                </a:cxn>
                <a:cxn ang="0">
                  <a:pos x="2" y="55"/>
                </a:cxn>
                <a:cxn ang="0">
                  <a:pos x="5" y="64"/>
                </a:cxn>
                <a:cxn ang="0">
                  <a:pos x="5" y="64"/>
                </a:cxn>
                <a:cxn ang="0">
                  <a:pos x="11" y="75"/>
                </a:cxn>
                <a:cxn ang="0">
                  <a:pos x="11" y="81"/>
                </a:cxn>
                <a:cxn ang="0">
                  <a:pos x="11" y="86"/>
                </a:cxn>
                <a:cxn ang="0">
                  <a:pos x="9" y="88"/>
                </a:cxn>
                <a:cxn ang="0">
                  <a:pos x="9" y="90"/>
                </a:cxn>
                <a:cxn ang="0">
                  <a:pos x="15" y="92"/>
                </a:cxn>
                <a:cxn ang="0">
                  <a:pos x="50" y="96"/>
                </a:cxn>
                <a:cxn ang="0">
                  <a:pos x="50" y="96"/>
                </a:cxn>
                <a:cxn ang="0">
                  <a:pos x="56" y="98"/>
                </a:cxn>
                <a:cxn ang="0">
                  <a:pos x="58" y="100"/>
                </a:cxn>
                <a:cxn ang="0">
                  <a:pos x="52" y="105"/>
                </a:cxn>
                <a:cxn ang="0">
                  <a:pos x="50" y="111"/>
                </a:cxn>
                <a:cxn ang="0">
                  <a:pos x="52" y="118"/>
                </a:cxn>
                <a:cxn ang="0">
                  <a:pos x="59" y="129"/>
                </a:cxn>
                <a:cxn ang="0">
                  <a:pos x="74" y="142"/>
                </a:cxn>
                <a:cxn ang="0">
                  <a:pos x="74" y="142"/>
                </a:cxn>
                <a:cxn ang="0">
                  <a:pos x="99" y="161"/>
                </a:cxn>
                <a:cxn ang="0">
                  <a:pos x="123" y="180"/>
                </a:cxn>
                <a:cxn ang="0">
                  <a:pos x="123" y="180"/>
                </a:cxn>
                <a:cxn ang="0">
                  <a:pos x="127" y="176"/>
                </a:cxn>
                <a:cxn ang="0">
                  <a:pos x="130" y="174"/>
                </a:cxn>
                <a:cxn ang="0">
                  <a:pos x="130" y="174"/>
                </a:cxn>
                <a:cxn ang="0">
                  <a:pos x="136" y="172"/>
                </a:cxn>
                <a:cxn ang="0">
                  <a:pos x="138" y="171"/>
                </a:cxn>
                <a:cxn ang="0">
                  <a:pos x="140" y="167"/>
                </a:cxn>
                <a:cxn ang="0">
                  <a:pos x="140" y="165"/>
                </a:cxn>
                <a:cxn ang="0">
                  <a:pos x="138" y="157"/>
                </a:cxn>
                <a:cxn ang="0">
                  <a:pos x="132" y="152"/>
                </a:cxn>
                <a:cxn ang="0">
                  <a:pos x="117" y="141"/>
                </a:cxn>
                <a:cxn ang="0">
                  <a:pos x="108" y="135"/>
                </a:cxn>
                <a:cxn ang="0">
                  <a:pos x="108" y="135"/>
                </a:cxn>
                <a:cxn ang="0">
                  <a:pos x="87" y="109"/>
                </a:cxn>
                <a:cxn ang="0">
                  <a:pos x="80" y="100"/>
                </a:cxn>
                <a:cxn ang="0">
                  <a:pos x="80" y="96"/>
                </a:cxn>
                <a:cxn ang="0">
                  <a:pos x="82" y="92"/>
                </a:cxn>
                <a:cxn ang="0">
                  <a:pos x="89" y="77"/>
                </a:cxn>
                <a:cxn ang="0">
                  <a:pos x="89" y="77"/>
                </a:cxn>
              </a:cxnLst>
              <a:rect l="0" t="0" r="r" b="b"/>
              <a:pathLst>
                <a:path w="140" h="180">
                  <a:moveTo>
                    <a:pt x="89" y="77"/>
                  </a:moveTo>
                  <a:lnTo>
                    <a:pt x="89" y="77"/>
                  </a:lnTo>
                  <a:lnTo>
                    <a:pt x="82" y="66"/>
                  </a:lnTo>
                  <a:lnTo>
                    <a:pt x="65" y="43"/>
                  </a:lnTo>
                  <a:lnTo>
                    <a:pt x="43" y="17"/>
                  </a:lnTo>
                  <a:lnTo>
                    <a:pt x="31" y="8"/>
                  </a:lnTo>
                  <a:lnTo>
                    <a:pt x="20" y="0"/>
                  </a:lnTo>
                  <a:lnTo>
                    <a:pt x="20" y="0"/>
                  </a:lnTo>
                  <a:lnTo>
                    <a:pt x="16" y="10"/>
                  </a:lnTo>
                  <a:lnTo>
                    <a:pt x="13" y="17"/>
                  </a:lnTo>
                  <a:lnTo>
                    <a:pt x="3" y="32"/>
                  </a:lnTo>
                  <a:lnTo>
                    <a:pt x="2" y="40"/>
                  </a:lnTo>
                  <a:lnTo>
                    <a:pt x="0" y="47"/>
                  </a:lnTo>
                  <a:lnTo>
                    <a:pt x="2" y="55"/>
                  </a:lnTo>
                  <a:lnTo>
                    <a:pt x="5" y="64"/>
                  </a:lnTo>
                  <a:lnTo>
                    <a:pt x="5" y="64"/>
                  </a:lnTo>
                  <a:lnTo>
                    <a:pt x="11" y="75"/>
                  </a:lnTo>
                  <a:lnTo>
                    <a:pt x="11" y="81"/>
                  </a:lnTo>
                  <a:lnTo>
                    <a:pt x="11" y="86"/>
                  </a:lnTo>
                  <a:lnTo>
                    <a:pt x="9" y="88"/>
                  </a:lnTo>
                  <a:lnTo>
                    <a:pt x="9" y="90"/>
                  </a:lnTo>
                  <a:lnTo>
                    <a:pt x="15" y="92"/>
                  </a:lnTo>
                  <a:lnTo>
                    <a:pt x="50" y="96"/>
                  </a:lnTo>
                  <a:lnTo>
                    <a:pt x="50" y="96"/>
                  </a:lnTo>
                  <a:lnTo>
                    <a:pt x="56" y="98"/>
                  </a:lnTo>
                  <a:lnTo>
                    <a:pt x="58" y="100"/>
                  </a:lnTo>
                  <a:lnTo>
                    <a:pt x="52" y="105"/>
                  </a:lnTo>
                  <a:lnTo>
                    <a:pt x="50" y="111"/>
                  </a:lnTo>
                  <a:lnTo>
                    <a:pt x="52" y="118"/>
                  </a:lnTo>
                  <a:lnTo>
                    <a:pt x="59" y="129"/>
                  </a:lnTo>
                  <a:lnTo>
                    <a:pt x="74" y="142"/>
                  </a:lnTo>
                  <a:lnTo>
                    <a:pt x="74" y="142"/>
                  </a:lnTo>
                  <a:lnTo>
                    <a:pt x="99" y="161"/>
                  </a:lnTo>
                  <a:lnTo>
                    <a:pt x="123" y="180"/>
                  </a:lnTo>
                  <a:lnTo>
                    <a:pt x="123" y="180"/>
                  </a:lnTo>
                  <a:lnTo>
                    <a:pt x="127" y="176"/>
                  </a:lnTo>
                  <a:lnTo>
                    <a:pt x="130" y="174"/>
                  </a:lnTo>
                  <a:lnTo>
                    <a:pt x="130" y="174"/>
                  </a:lnTo>
                  <a:lnTo>
                    <a:pt x="136" y="172"/>
                  </a:lnTo>
                  <a:lnTo>
                    <a:pt x="138" y="171"/>
                  </a:lnTo>
                  <a:lnTo>
                    <a:pt x="140" y="167"/>
                  </a:lnTo>
                  <a:lnTo>
                    <a:pt x="140" y="165"/>
                  </a:lnTo>
                  <a:lnTo>
                    <a:pt x="138" y="157"/>
                  </a:lnTo>
                  <a:lnTo>
                    <a:pt x="132" y="152"/>
                  </a:lnTo>
                  <a:lnTo>
                    <a:pt x="117" y="141"/>
                  </a:lnTo>
                  <a:lnTo>
                    <a:pt x="108" y="135"/>
                  </a:lnTo>
                  <a:lnTo>
                    <a:pt x="108" y="135"/>
                  </a:lnTo>
                  <a:lnTo>
                    <a:pt x="87" y="109"/>
                  </a:lnTo>
                  <a:lnTo>
                    <a:pt x="80" y="100"/>
                  </a:lnTo>
                  <a:lnTo>
                    <a:pt x="80" y="96"/>
                  </a:lnTo>
                  <a:lnTo>
                    <a:pt x="82" y="92"/>
                  </a:lnTo>
                  <a:lnTo>
                    <a:pt x="89" y="77"/>
                  </a:lnTo>
                  <a:lnTo>
                    <a:pt x="89" y="77"/>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9" name="Freeform 89">
              <a:extLst>
                <a:ext uri="{FF2B5EF4-FFF2-40B4-BE49-F238E27FC236}">
                  <a16:creationId xmlns:a16="http://schemas.microsoft.com/office/drawing/2014/main" id="{1B469F49-3B3B-41A5-9C02-9BF468581247}"/>
                </a:ext>
              </a:extLst>
            </p:cNvPr>
            <p:cNvSpPr>
              <a:spLocks noEditPoints="1"/>
            </p:cNvSpPr>
            <p:nvPr/>
          </p:nvSpPr>
          <p:spPr bwMode="auto">
            <a:xfrm>
              <a:off x="6492211" y="4481114"/>
              <a:ext cx="109000" cy="141700"/>
            </a:xfrm>
            <a:custGeom>
              <a:avLst/>
              <a:gdLst/>
              <a:ahLst/>
              <a:cxnLst>
                <a:cxn ang="0">
                  <a:pos x="95" y="134"/>
                </a:cxn>
                <a:cxn ang="0">
                  <a:pos x="108" y="129"/>
                </a:cxn>
                <a:cxn ang="0">
                  <a:pos x="114" y="119"/>
                </a:cxn>
                <a:cxn ang="0">
                  <a:pos x="114" y="108"/>
                </a:cxn>
                <a:cxn ang="0">
                  <a:pos x="103" y="84"/>
                </a:cxn>
                <a:cxn ang="0">
                  <a:pos x="82" y="63"/>
                </a:cxn>
                <a:cxn ang="0">
                  <a:pos x="75" y="59"/>
                </a:cxn>
                <a:cxn ang="0">
                  <a:pos x="54" y="50"/>
                </a:cxn>
                <a:cxn ang="0">
                  <a:pos x="47" y="43"/>
                </a:cxn>
                <a:cxn ang="0">
                  <a:pos x="35" y="50"/>
                </a:cxn>
                <a:cxn ang="0">
                  <a:pos x="22" y="61"/>
                </a:cxn>
                <a:cxn ang="0">
                  <a:pos x="19" y="74"/>
                </a:cxn>
                <a:cxn ang="0">
                  <a:pos x="13" y="91"/>
                </a:cxn>
                <a:cxn ang="0">
                  <a:pos x="0" y="104"/>
                </a:cxn>
                <a:cxn ang="0">
                  <a:pos x="0" y="115"/>
                </a:cxn>
                <a:cxn ang="0">
                  <a:pos x="11" y="119"/>
                </a:cxn>
                <a:cxn ang="0">
                  <a:pos x="13" y="125"/>
                </a:cxn>
                <a:cxn ang="0">
                  <a:pos x="13" y="136"/>
                </a:cxn>
                <a:cxn ang="0">
                  <a:pos x="28" y="142"/>
                </a:cxn>
                <a:cxn ang="0">
                  <a:pos x="30" y="145"/>
                </a:cxn>
                <a:cxn ang="0">
                  <a:pos x="41" y="147"/>
                </a:cxn>
                <a:cxn ang="0">
                  <a:pos x="45" y="153"/>
                </a:cxn>
                <a:cxn ang="0">
                  <a:pos x="58" y="157"/>
                </a:cxn>
                <a:cxn ang="0">
                  <a:pos x="65" y="149"/>
                </a:cxn>
                <a:cxn ang="0">
                  <a:pos x="84" y="138"/>
                </a:cxn>
                <a:cxn ang="0">
                  <a:pos x="95" y="134"/>
                </a:cxn>
                <a:cxn ang="0">
                  <a:pos x="50" y="26"/>
                </a:cxn>
                <a:cxn ang="0">
                  <a:pos x="90" y="43"/>
                </a:cxn>
                <a:cxn ang="0">
                  <a:pos x="103" y="44"/>
                </a:cxn>
                <a:cxn ang="0">
                  <a:pos x="114" y="41"/>
                </a:cxn>
                <a:cxn ang="0">
                  <a:pos x="120" y="35"/>
                </a:cxn>
                <a:cxn ang="0">
                  <a:pos x="120" y="33"/>
                </a:cxn>
                <a:cxn ang="0">
                  <a:pos x="114" y="24"/>
                </a:cxn>
                <a:cxn ang="0">
                  <a:pos x="107" y="22"/>
                </a:cxn>
                <a:cxn ang="0">
                  <a:pos x="82" y="16"/>
                </a:cxn>
                <a:cxn ang="0">
                  <a:pos x="71" y="13"/>
                </a:cxn>
                <a:cxn ang="0">
                  <a:pos x="37" y="0"/>
                </a:cxn>
                <a:cxn ang="0">
                  <a:pos x="22" y="2"/>
                </a:cxn>
                <a:cxn ang="0">
                  <a:pos x="22" y="11"/>
                </a:cxn>
                <a:cxn ang="0">
                  <a:pos x="34" y="20"/>
                </a:cxn>
                <a:cxn ang="0">
                  <a:pos x="37" y="20"/>
                </a:cxn>
                <a:cxn ang="0">
                  <a:pos x="41" y="20"/>
                </a:cxn>
                <a:cxn ang="0">
                  <a:pos x="50" y="26"/>
                </a:cxn>
              </a:cxnLst>
              <a:rect l="0" t="0" r="r" b="b"/>
              <a:pathLst>
                <a:path w="120" h="157">
                  <a:moveTo>
                    <a:pt x="95" y="134"/>
                  </a:moveTo>
                  <a:lnTo>
                    <a:pt x="95" y="134"/>
                  </a:lnTo>
                  <a:lnTo>
                    <a:pt x="103" y="130"/>
                  </a:lnTo>
                  <a:lnTo>
                    <a:pt x="108" y="129"/>
                  </a:lnTo>
                  <a:lnTo>
                    <a:pt x="112" y="123"/>
                  </a:lnTo>
                  <a:lnTo>
                    <a:pt x="114" y="119"/>
                  </a:lnTo>
                  <a:lnTo>
                    <a:pt x="116" y="114"/>
                  </a:lnTo>
                  <a:lnTo>
                    <a:pt x="114" y="108"/>
                  </a:lnTo>
                  <a:lnTo>
                    <a:pt x="110" y="95"/>
                  </a:lnTo>
                  <a:lnTo>
                    <a:pt x="103" y="84"/>
                  </a:lnTo>
                  <a:lnTo>
                    <a:pt x="93" y="73"/>
                  </a:lnTo>
                  <a:lnTo>
                    <a:pt x="82" y="63"/>
                  </a:lnTo>
                  <a:lnTo>
                    <a:pt x="75" y="59"/>
                  </a:lnTo>
                  <a:lnTo>
                    <a:pt x="75" y="59"/>
                  </a:lnTo>
                  <a:lnTo>
                    <a:pt x="64" y="54"/>
                  </a:lnTo>
                  <a:lnTo>
                    <a:pt x="54" y="50"/>
                  </a:lnTo>
                  <a:lnTo>
                    <a:pt x="50" y="46"/>
                  </a:lnTo>
                  <a:lnTo>
                    <a:pt x="47" y="43"/>
                  </a:lnTo>
                  <a:lnTo>
                    <a:pt x="35" y="50"/>
                  </a:lnTo>
                  <a:lnTo>
                    <a:pt x="35" y="50"/>
                  </a:lnTo>
                  <a:lnTo>
                    <a:pt x="26" y="54"/>
                  </a:lnTo>
                  <a:lnTo>
                    <a:pt x="22" y="61"/>
                  </a:lnTo>
                  <a:lnTo>
                    <a:pt x="19" y="67"/>
                  </a:lnTo>
                  <a:lnTo>
                    <a:pt x="19" y="74"/>
                  </a:lnTo>
                  <a:lnTo>
                    <a:pt x="17" y="82"/>
                  </a:lnTo>
                  <a:lnTo>
                    <a:pt x="13" y="91"/>
                  </a:lnTo>
                  <a:lnTo>
                    <a:pt x="9" y="99"/>
                  </a:lnTo>
                  <a:lnTo>
                    <a:pt x="0" y="104"/>
                  </a:lnTo>
                  <a:lnTo>
                    <a:pt x="0" y="115"/>
                  </a:lnTo>
                  <a:lnTo>
                    <a:pt x="0" y="115"/>
                  </a:lnTo>
                  <a:lnTo>
                    <a:pt x="7" y="117"/>
                  </a:lnTo>
                  <a:lnTo>
                    <a:pt x="11" y="119"/>
                  </a:lnTo>
                  <a:lnTo>
                    <a:pt x="13" y="123"/>
                  </a:lnTo>
                  <a:lnTo>
                    <a:pt x="13" y="125"/>
                  </a:lnTo>
                  <a:lnTo>
                    <a:pt x="13" y="132"/>
                  </a:lnTo>
                  <a:lnTo>
                    <a:pt x="13" y="136"/>
                  </a:lnTo>
                  <a:lnTo>
                    <a:pt x="17" y="142"/>
                  </a:lnTo>
                  <a:lnTo>
                    <a:pt x="28" y="142"/>
                  </a:lnTo>
                  <a:lnTo>
                    <a:pt x="28" y="142"/>
                  </a:lnTo>
                  <a:lnTo>
                    <a:pt x="30" y="145"/>
                  </a:lnTo>
                  <a:lnTo>
                    <a:pt x="32" y="147"/>
                  </a:lnTo>
                  <a:lnTo>
                    <a:pt x="41" y="147"/>
                  </a:lnTo>
                  <a:lnTo>
                    <a:pt x="41" y="147"/>
                  </a:lnTo>
                  <a:lnTo>
                    <a:pt x="45" y="153"/>
                  </a:lnTo>
                  <a:lnTo>
                    <a:pt x="47" y="155"/>
                  </a:lnTo>
                  <a:lnTo>
                    <a:pt x="58" y="157"/>
                  </a:lnTo>
                  <a:lnTo>
                    <a:pt x="58" y="157"/>
                  </a:lnTo>
                  <a:lnTo>
                    <a:pt x="65" y="149"/>
                  </a:lnTo>
                  <a:lnTo>
                    <a:pt x="73" y="144"/>
                  </a:lnTo>
                  <a:lnTo>
                    <a:pt x="84" y="138"/>
                  </a:lnTo>
                  <a:lnTo>
                    <a:pt x="95" y="134"/>
                  </a:lnTo>
                  <a:lnTo>
                    <a:pt x="95" y="134"/>
                  </a:lnTo>
                  <a:close/>
                  <a:moveTo>
                    <a:pt x="50" y="26"/>
                  </a:moveTo>
                  <a:lnTo>
                    <a:pt x="50" y="26"/>
                  </a:lnTo>
                  <a:lnTo>
                    <a:pt x="75" y="37"/>
                  </a:lnTo>
                  <a:lnTo>
                    <a:pt x="90" y="43"/>
                  </a:lnTo>
                  <a:lnTo>
                    <a:pt x="103" y="44"/>
                  </a:lnTo>
                  <a:lnTo>
                    <a:pt x="103" y="44"/>
                  </a:lnTo>
                  <a:lnTo>
                    <a:pt x="107" y="43"/>
                  </a:lnTo>
                  <a:lnTo>
                    <a:pt x="114" y="41"/>
                  </a:lnTo>
                  <a:lnTo>
                    <a:pt x="118" y="37"/>
                  </a:lnTo>
                  <a:lnTo>
                    <a:pt x="120" y="35"/>
                  </a:lnTo>
                  <a:lnTo>
                    <a:pt x="120" y="33"/>
                  </a:lnTo>
                  <a:lnTo>
                    <a:pt x="120" y="33"/>
                  </a:lnTo>
                  <a:lnTo>
                    <a:pt x="118" y="28"/>
                  </a:lnTo>
                  <a:lnTo>
                    <a:pt x="114" y="24"/>
                  </a:lnTo>
                  <a:lnTo>
                    <a:pt x="110" y="22"/>
                  </a:lnTo>
                  <a:lnTo>
                    <a:pt x="107" y="22"/>
                  </a:lnTo>
                  <a:lnTo>
                    <a:pt x="92" y="20"/>
                  </a:lnTo>
                  <a:lnTo>
                    <a:pt x="82" y="16"/>
                  </a:lnTo>
                  <a:lnTo>
                    <a:pt x="71" y="13"/>
                  </a:lnTo>
                  <a:lnTo>
                    <a:pt x="71" y="13"/>
                  </a:lnTo>
                  <a:lnTo>
                    <a:pt x="52" y="3"/>
                  </a:lnTo>
                  <a:lnTo>
                    <a:pt x="37" y="0"/>
                  </a:lnTo>
                  <a:lnTo>
                    <a:pt x="28" y="0"/>
                  </a:lnTo>
                  <a:lnTo>
                    <a:pt x="22" y="2"/>
                  </a:lnTo>
                  <a:lnTo>
                    <a:pt x="21" y="5"/>
                  </a:lnTo>
                  <a:lnTo>
                    <a:pt x="22" y="11"/>
                  </a:lnTo>
                  <a:lnTo>
                    <a:pt x="26" y="15"/>
                  </a:lnTo>
                  <a:lnTo>
                    <a:pt x="34" y="20"/>
                  </a:lnTo>
                  <a:lnTo>
                    <a:pt x="34" y="20"/>
                  </a:lnTo>
                  <a:lnTo>
                    <a:pt x="37" y="20"/>
                  </a:lnTo>
                  <a:lnTo>
                    <a:pt x="37" y="18"/>
                  </a:lnTo>
                  <a:lnTo>
                    <a:pt x="41" y="20"/>
                  </a:lnTo>
                  <a:lnTo>
                    <a:pt x="50" y="26"/>
                  </a:lnTo>
                  <a:lnTo>
                    <a:pt x="50" y="26"/>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0" name="Freeform 90">
              <a:extLst>
                <a:ext uri="{FF2B5EF4-FFF2-40B4-BE49-F238E27FC236}">
                  <a16:creationId xmlns:a16="http://schemas.microsoft.com/office/drawing/2014/main" id="{E498874F-E016-4136-B31C-F491D341B152}"/>
                </a:ext>
              </a:extLst>
            </p:cNvPr>
            <p:cNvSpPr>
              <a:spLocks/>
            </p:cNvSpPr>
            <p:nvPr/>
          </p:nvSpPr>
          <p:spPr bwMode="auto">
            <a:xfrm>
              <a:off x="6566693" y="4526530"/>
              <a:ext cx="32700" cy="12716"/>
            </a:xfrm>
            <a:custGeom>
              <a:avLst/>
              <a:gdLst/>
              <a:ahLst/>
              <a:cxnLst>
                <a:cxn ang="0">
                  <a:pos x="12" y="0"/>
                </a:cxn>
                <a:cxn ang="0">
                  <a:pos x="12" y="0"/>
                </a:cxn>
                <a:cxn ang="0">
                  <a:pos x="2" y="0"/>
                </a:cxn>
                <a:cxn ang="0">
                  <a:pos x="0" y="2"/>
                </a:cxn>
                <a:cxn ang="0">
                  <a:pos x="2" y="4"/>
                </a:cxn>
                <a:cxn ang="0">
                  <a:pos x="8" y="8"/>
                </a:cxn>
                <a:cxn ang="0">
                  <a:pos x="23" y="11"/>
                </a:cxn>
                <a:cxn ang="0">
                  <a:pos x="30" y="13"/>
                </a:cxn>
                <a:cxn ang="0">
                  <a:pos x="36" y="11"/>
                </a:cxn>
                <a:cxn ang="0">
                  <a:pos x="36" y="11"/>
                </a:cxn>
                <a:cxn ang="0">
                  <a:pos x="38" y="8"/>
                </a:cxn>
                <a:cxn ang="0">
                  <a:pos x="36" y="6"/>
                </a:cxn>
                <a:cxn ang="0">
                  <a:pos x="28" y="2"/>
                </a:cxn>
                <a:cxn ang="0">
                  <a:pos x="12" y="0"/>
                </a:cxn>
                <a:cxn ang="0">
                  <a:pos x="12" y="0"/>
                </a:cxn>
              </a:cxnLst>
              <a:rect l="0" t="0" r="r" b="b"/>
              <a:pathLst>
                <a:path w="38" h="13">
                  <a:moveTo>
                    <a:pt x="12" y="0"/>
                  </a:moveTo>
                  <a:lnTo>
                    <a:pt x="12" y="0"/>
                  </a:lnTo>
                  <a:lnTo>
                    <a:pt x="2" y="0"/>
                  </a:lnTo>
                  <a:lnTo>
                    <a:pt x="0" y="2"/>
                  </a:lnTo>
                  <a:lnTo>
                    <a:pt x="2" y="4"/>
                  </a:lnTo>
                  <a:lnTo>
                    <a:pt x="8" y="8"/>
                  </a:lnTo>
                  <a:lnTo>
                    <a:pt x="23" y="11"/>
                  </a:lnTo>
                  <a:lnTo>
                    <a:pt x="30" y="13"/>
                  </a:lnTo>
                  <a:lnTo>
                    <a:pt x="36" y="11"/>
                  </a:lnTo>
                  <a:lnTo>
                    <a:pt x="36" y="11"/>
                  </a:lnTo>
                  <a:lnTo>
                    <a:pt x="38" y="8"/>
                  </a:lnTo>
                  <a:lnTo>
                    <a:pt x="36" y="6"/>
                  </a:lnTo>
                  <a:lnTo>
                    <a:pt x="28" y="2"/>
                  </a:lnTo>
                  <a:lnTo>
                    <a:pt x="12" y="0"/>
                  </a:lnTo>
                  <a:lnTo>
                    <a:pt x="12" y="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1" name="Freeform 91">
              <a:extLst>
                <a:ext uri="{FF2B5EF4-FFF2-40B4-BE49-F238E27FC236}">
                  <a16:creationId xmlns:a16="http://schemas.microsoft.com/office/drawing/2014/main" id="{F8963635-F9C5-4A0F-A3B6-A470C2937E11}"/>
                </a:ext>
              </a:extLst>
            </p:cNvPr>
            <p:cNvSpPr>
              <a:spLocks noEditPoints="1"/>
            </p:cNvSpPr>
            <p:nvPr/>
          </p:nvSpPr>
          <p:spPr bwMode="auto">
            <a:xfrm>
              <a:off x="5981728" y="4971613"/>
              <a:ext cx="514116" cy="668532"/>
            </a:xfrm>
            <a:custGeom>
              <a:avLst/>
              <a:gdLst/>
              <a:ahLst/>
              <a:cxnLst>
                <a:cxn ang="0">
                  <a:pos x="73" y="222"/>
                </a:cxn>
                <a:cxn ang="0">
                  <a:pos x="85" y="284"/>
                </a:cxn>
                <a:cxn ang="0">
                  <a:pos x="58" y="312"/>
                </a:cxn>
                <a:cxn ang="0">
                  <a:pos x="64" y="343"/>
                </a:cxn>
                <a:cxn ang="0">
                  <a:pos x="19" y="403"/>
                </a:cxn>
                <a:cxn ang="0">
                  <a:pos x="0" y="513"/>
                </a:cxn>
                <a:cxn ang="0">
                  <a:pos x="64" y="515"/>
                </a:cxn>
                <a:cxn ang="0">
                  <a:pos x="92" y="545"/>
                </a:cxn>
                <a:cxn ang="0">
                  <a:pos x="126" y="562"/>
                </a:cxn>
                <a:cxn ang="0">
                  <a:pos x="150" y="620"/>
                </a:cxn>
                <a:cxn ang="0">
                  <a:pos x="187" y="682"/>
                </a:cxn>
                <a:cxn ang="0">
                  <a:pos x="219" y="650"/>
                </a:cxn>
                <a:cxn ang="0">
                  <a:pos x="303" y="575"/>
                </a:cxn>
                <a:cxn ang="0">
                  <a:pos x="283" y="551"/>
                </a:cxn>
                <a:cxn ang="0">
                  <a:pos x="328" y="525"/>
                </a:cxn>
                <a:cxn ang="0">
                  <a:pos x="369" y="525"/>
                </a:cxn>
                <a:cxn ang="0">
                  <a:pos x="372" y="489"/>
                </a:cxn>
                <a:cxn ang="0">
                  <a:pos x="399" y="471"/>
                </a:cxn>
                <a:cxn ang="0">
                  <a:pos x="404" y="437"/>
                </a:cxn>
                <a:cxn ang="0">
                  <a:pos x="427" y="411"/>
                </a:cxn>
                <a:cxn ang="0">
                  <a:pos x="442" y="388"/>
                </a:cxn>
                <a:cxn ang="0">
                  <a:pos x="484" y="383"/>
                </a:cxn>
                <a:cxn ang="0">
                  <a:pos x="473" y="355"/>
                </a:cxn>
                <a:cxn ang="0">
                  <a:pos x="479" y="325"/>
                </a:cxn>
                <a:cxn ang="0">
                  <a:pos x="466" y="291"/>
                </a:cxn>
                <a:cxn ang="0">
                  <a:pos x="468" y="252"/>
                </a:cxn>
                <a:cxn ang="0">
                  <a:pos x="490" y="239"/>
                </a:cxn>
                <a:cxn ang="0">
                  <a:pos x="455" y="209"/>
                </a:cxn>
                <a:cxn ang="0">
                  <a:pos x="490" y="201"/>
                </a:cxn>
                <a:cxn ang="0">
                  <a:pos x="542" y="155"/>
                </a:cxn>
                <a:cxn ang="0">
                  <a:pos x="541" y="132"/>
                </a:cxn>
                <a:cxn ang="0">
                  <a:pos x="557" y="121"/>
                </a:cxn>
                <a:cxn ang="0">
                  <a:pos x="492" y="121"/>
                </a:cxn>
                <a:cxn ang="0">
                  <a:pos x="453" y="80"/>
                </a:cxn>
                <a:cxn ang="0">
                  <a:pos x="412" y="114"/>
                </a:cxn>
                <a:cxn ang="0">
                  <a:pos x="384" y="112"/>
                </a:cxn>
                <a:cxn ang="0">
                  <a:pos x="359" y="97"/>
                </a:cxn>
                <a:cxn ang="0">
                  <a:pos x="337" y="16"/>
                </a:cxn>
                <a:cxn ang="0">
                  <a:pos x="301" y="0"/>
                </a:cxn>
                <a:cxn ang="0">
                  <a:pos x="279" y="33"/>
                </a:cxn>
                <a:cxn ang="0">
                  <a:pos x="255" y="44"/>
                </a:cxn>
                <a:cxn ang="0">
                  <a:pos x="210" y="74"/>
                </a:cxn>
                <a:cxn ang="0">
                  <a:pos x="182" y="58"/>
                </a:cxn>
                <a:cxn ang="0">
                  <a:pos x="139" y="104"/>
                </a:cxn>
                <a:cxn ang="0">
                  <a:pos x="137" y="145"/>
                </a:cxn>
                <a:cxn ang="0">
                  <a:pos x="116" y="198"/>
                </a:cxn>
                <a:cxn ang="0">
                  <a:pos x="206" y="728"/>
                </a:cxn>
                <a:cxn ang="0">
                  <a:pos x="221" y="723"/>
                </a:cxn>
                <a:cxn ang="0">
                  <a:pos x="187" y="715"/>
                </a:cxn>
                <a:cxn ang="0">
                  <a:pos x="157" y="717"/>
                </a:cxn>
                <a:cxn ang="0">
                  <a:pos x="496" y="231"/>
                </a:cxn>
                <a:cxn ang="0">
                  <a:pos x="531" y="209"/>
                </a:cxn>
                <a:cxn ang="0">
                  <a:pos x="501" y="224"/>
                </a:cxn>
                <a:cxn ang="0">
                  <a:pos x="490" y="272"/>
                </a:cxn>
                <a:cxn ang="0">
                  <a:pos x="501" y="254"/>
                </a:cxn>
                <a:cxn ang="0">
                  <a:pos x="483" y="431"/>
                </a:cxn>
                <a:cxn ang="0">
                  <a:pos x="466" y="431"/>
                </a:cxn>
                <a:cxn ang="0">
                  <a:pos x="488" y="353"/>
                </a:cxn>
                <a:cxn ang="0">
                  <a:pos x="494" y="386"/>
                </a:cxn>
                <a:cxn ang="0">
                  <a:pos x="511" y="388"/>
                </a:cxn>
                <a:cxn ang="0">
                  <a:pos x="498" y="349"/>
                </a:cxn>
              </a:cxnLst>
              <a:rect l="0" t="0" r="r" b="b"/>
              <a:pathLst>
                <a:path w="567" h="736">
                  <a:moveTo>
                    <a:pt x="116" y="198"/>
                  </a:moveTo>
                  <a:lnTo>
                    <a:pt x="116" y="198"/>
                  </a:lnTo>
                  <a:lnTo>
                    <a:pt x="105" y="203"/>
                  </a:lnTo>
                  <a:lnTo>
                    <a:pt x="94" y="207"/>
                  </a:lnTo>
                  <a:lnTo>
                    <a:pt x="85" y="213"/>
                  </a:lnTo>
                  <a:lnTo>
                    <a:pt x="77" y="218"/>
                  </a:lnTo>
                  <a:lnTo>
                    <a:pt x="73" y="222"/>
                  </a:lnTo>
                  <a:lnTo>
                    <a:pt x="71" y="228"/>
                  </a:lnTo>
                  <a:lnTo>
                    <a:pt x="71" y="233"/>
                  </a:lnTo>
                  <a:lnTo>
                    <a:pt x="70" y="239"/>
                  </a:lnTo>
                  <a:lnTo>
                    <a:pt x="73" y="256"/>
                  </a:lnTo>
                  <a:lnTo>
                    <a:pt x="83" y="280"/>
                  </a:lnTo>
                  <a:lnTo>
                    <a:pt x="83" y="280"/>
                  </a:lnTo>
                  <a:lnTo>
                    <a:pt x="85" y="284"/>
                  </a:lnTo>
                  <a:lnTo>
                    <a:pt x="85" y="287"/>
                  </a:lnTo>
                  <a:lnTo>
                    <a:pt x="81" y="291"/>
                  </a:lnTo>
                  <a:lnTo>
                    <a:pt x="75" y="295"/>
                  </a:lnTo>
                  <a:lnTo>
                    <a:pt x="70" y="299"/>
                  </a:lnTo>
                  <a:lnTo>
                    <a:pt x="62" y="302"/>
                  </a:lnTo>
                  <a:lnTo>
                    <a:pt x="60" y="308"/>
                  </a:lnTo>
                  <a:lnTo>
                    <a:pt x="58" y="312"/>
                  </a:lnTo>
                  <a:lnTo>
                    <a:pt x="60" y="315"/>
                  </a:lnTo>
                  <a:lnTo>
                    <a:pt x="66" y="329"/>
                  </a:lnTo>
                  <a:lnTo>
                    <a:pt x="66" y="329"/>
                  </a:lnTo>
                  <a:lnTo>
                    <a:pt x="70" y="336"/>
                  </a:lnTo>
                  <a:lnTo>
                    <a:pt x="70" y="338"/>
                  </a:lnTo>
                  <a:lnTo>
                    <a:pt x="70" y="340"/>
                  </a:lnTo>
                  <a:lnTo>
                    <a:pt x="64" y="343"/>
                  </a:lnTo>
                  <a:lnTo>
                    <a:pt x="55" y="349"/>
                  </a:lnTo>
                  <a:lnTo>
                    <a:pt x="45" y="357"/>
                  </a:lnTo>
                  <a:lnTo>
                    <a:pt x="40" y="362"/>
                  </a:lnTo>
                  <a:lnTo>
                    <a:pt x="34" y="370"/>
                  </a:lnTo>
                  <a:lnTo>
                    <a:pt x="29" y="377"/>
                  </a:lnTo>
                  <a:lnTo>
                    <a:pt x="23" y="388"/>
                  </a:lnTo>
                  <a:lnTo>
                    <a:pt x="19" y="403"/>
                  </a:lnTo>
                  <a:lnTo>
                    <a:pt x="15" y="418"/>
                  </a:lnTo>
                  <a:lnTo>
                    <a:pt x="15" y="418"/>
                  </a:lnTo>
                  <a:lnTo>
                    <a:pt x="10" y="448"/>
                  </a:lnTo>
                  <a:lnTo>
                    <a:pt x="4" y="461"/>
                  </a:lnTo>
                  <a:lnTo>
                    <a:pt x="2" y="476"/>
                  </a:lnTo>
                  <a:lnTo>
                    <a:pt x="0" y="513"/>
                  </a:lnTo>
                  <a:lnTo>
                    <a:pt x="0" y="513"/>
                  </a:lnTo>
                  <a:lnTo>
                    <a:pt x="10" y="513"/>
                  </a:lnTo>
                  <a:lnTo>
                    <a:pt x="21" y="513"/>
                  </a:lnTo>
                  <a:lnTo>
                    <a:pt x="42" y="517"/>
                  </a:lnTo>
                  <a:lnTo>
                    <a:pt x="58" y="519"/>
                  </a:lnTo>
                  <a:lnTo>
                    <a:pt x="64" y="519"/>
                  </a:lnTo>
                  <a:lnTo>
                    <a:pt x="64" y="517"/>
                  </a:lnTo>
                  <a:lnTo>
                    <a:pt x="64" y="515"/>
                  </a:lnTo>
                  <a:lnTo>
                    <a:pt x="64" y="515"/>
                  </a:lnTo>
                  <a:lnTo>
                    <a:pt x="64" y="510"/>
                  </a:lnTo>
                  <a:lnTo>
                    <a:pt x="66" y="512"/>
                  </a:lnTo>
                  <a:lnTo>
                    <a:pt x="73" y="525"/>
                  </a:lnTo>
                  <a:lnTo>
                    <a:pt x="85" y="542"/>
                  </a:lnTo>
                  <a:lnTo>
                    <a:pt x="90" y="545"/>
                  </a:lnTo>
                  <a:lnTo>
                    <a:pt x="92" y="545"/>
                  </a:lnTo>
                  <a:lnTo>
                    <a:pt x="96" y="545"/>
                  </a:lnTo>
                  <a:lnTo>
                    <a:pt x="96" y="545"/>
                  </a:lnTo>
                  <a:lnTo>
                    <a:pt x="105" y="538"/>
                  </a:lnTo>
                  <a:lnTo>
                    <a:pt x="113" y="538"/>
                  </a:lnTo>
                  <a:lnTo>
                    <a:pt x="116" y="540"/>
                  </a:lnTo>
                  <a:lnTo>
                    <a:pt x="120" y="545"/>
                  </a:lnTo>
                  <a:lnTo>
                    <a:pt x="126" y="562"/>
                  </a:lnTo>
                  <a:lnTo>
                    <a:pt x="131" y="573"/>
                  </a:lnTo>
                  <a:lnTo>
                    <a:pt x="141" y="586"/>
                  </a:lnTo>
                  <a:lnTo>
                    <a:pt x="141" y="586"/>
                  </a:lnTo>
                  <a:lnTo>
                    <a:pt x="148" y="598"/>
                  </a:lnTo>
                  <a:lnTo>
                    <a:pt x="152" y="605"/>
                  </a:lnTo>
                  <a:lnTo>
                    <a:pt x="152" y="613"/>
                  </a:lnTo>
                  <a:lnTo>
                    <a:pt x="150" y="620"/>
                  </a:lnTo>
                  <a:lnTo>
                    <a:pt x="150" y="629"/>
                  </a:lnTo>
                  <a:lnTo>
                    <a:pt x="154" y="642"/>
                  </a:lnTo>
                  <a:lnTo>
                    <a:pt x="161" y="661"/>
                  </a:lnTo>
                  <a:lnTo>
                    <a:pt x="176" y="687"/>
                  </a:lnTo>
                  <a:lnTo>
                    <a:pt x="176" y="687"/>
                  </a:lnTo>
                  <a:lnTo>
                    <a:pt x="182" y="685"/>
                  </a:lnTo>
                  <a:lnTo>
                    <a:pt x="187" y="682"/>
                  </a:lnTo>
                  <a:lnTo>
                    <a:pt x="193" y="676"/>
                  </a:lnTo>
                  <a:lnTo>
                    <a:pt x="197" y="669"/>
                  </a:lnTo>
                  <a:lnTo>
                    <a:pt x="197" y="669"/>
                  </a:lnTo>
                  <a:lnTo>
                    <a:pt x="200" y="663"/>
                  </a:lnTo>
                  <a:lnTo>
                    <a:pt x="208" y="659"/>
                  </a:lnTo>
                  <a:lnTo>
                    <a:pt x="214" y="656"/>
                  </a:lnTo>
                  <a:lnTo>
                    <a:pt x="219" y="650"/>
                  </a:lnTo>
                  <a:lnTo>
                    <a:pt x="219" y="650"/>
                  </a:lnTo>
                  <a:lnTo>
                    <a:pt x="236" y="637"/>
                  </a:lnTo>
                  <a:lnTo>
                    <a:pt x="270" y="613"/>
                  </a:lnTo>
                  <a:lnTo>
                    <a:pt x="286" y="599"/>
                  </a:lnTo>
                  <a:lnTo>
                    <a:pt x="298" y="586"/>
                  </a:lnTo>
                  <a:lnTo>
                    <a:pt x="301" y="581"/>
                  </a:lnTo>
                  <a:lnTo>
                    <a:pt x="303" y="575"/>
                  </a:lnTo>
                  <a:lnTo>
                    <a:pt x="303" y="571"/>
                  </a:lnTo>
                  <a:lnTo>
                    <a:pt x="301" y="568"/>
                  </a:lnTo>
                  <a:lnTo>
                    <a:pt x="301" y="568"/>
                  </a:lnTo>
                  <a:lnTo>
                    <a:pt x="292" y="562"/>
                  </a:lnTo>
                  <a:lnTo>
                    <a:pt x="285" y="558"/>
                  </a:lnTo>
                  <a:lnTo>
                    <a:pt x="283" y="555"/>
                  </a:lnTo>
                  <a:lnTo>
                    <a:pt x="283" y="551"/>
                  </a:lnTo>
                  <a:lnTo>
                    <a:pt x="286" y="547"/>
                  </a:lnTo>
                  <a:lnTo>
                    <a:pt x="292" y="540"/>
                  </a:lnTo>
                  <a:lnTo>
                    <a:pt x="292" y="540"/>
                  </a:lnTo>
                  <a:lnTo>
                    <a:pt x="299" y="536"/>
                  </a:lnTo>
                  <a:lnTo>
                    <a:pt x="309" y="532"/>
                  </a:lnTo>
                  <a:lnTo>
                    <a:pt x="318" y="528"/>
                  </a:lnTo>
                  <a:lnTo>
                    <a:pt x="328" y="525"/>
                  </a:lnTo>
                  <a:lnTo>
                    <a:pt x="328" y="525"/>
                  </a:lnTo>
                  <a:lnTo>
                    <a:pt x="337" y="523"/>
                  </a:lnTo>
                  <a:lnTo>
                    <a:pt x="342" y="525"/>
                  </a:lnTo>
                  <a:lnTo>
                    <a:pt x="354" y="530"/>
                  </a:lnTo>
                  <a:lnTo>
                    <a:pt x="357" y="532"/>
                  </a:lnTo>
                  <a:lnTo>
                    <a:pt x="363" y="532"/>
                  </a:lnTo>
                  <a:lnTo>
                    <a:pt x="369" y="525"/>
                  </a:lnTo>
                  <a:lnTo>
                    <a:pt x="374" y="512"/>
                  </a:lnTo>
                  <a:lnTo>
                    <a:pt x="374" y="512"/>
                  </a:lnTo>
                  <a:lnTo>
                    <a:pt x="376" y="506"/>
                  </a:lnTo>
                  <a:lnTo>
                    <a:pt x="376" y="500"/>
                  </a:lnTo>
                  <a:lnTo>
                    <a:pt x="372" y="495"/>
                  </a:lnTo>
                  <a:lnTo>
                    <a:pt x="372" y="491"/>
                  </a:lnTo>
                  <a:lnTo>
                    <a:pt x="372" y="489"/>
                  </a:lnTo>
                  <a:lnTo>
                    <a:pt x="376" y="487"/>
                  </a:lnTo>
                  <a:lnTo>
                    <a:pt x="384" y="484"/>
                  </a:lnTo>
                  <a:lnTo>
                    <a:pt x="384" y="484"/>
                  </a:lnTo>
                  <a:lnTo>
                    <a:pt x="389" y="480"/>
                  </a:lnTo>
                  <a:lnTo>
                    <a:pt x="395" y="478"/>
                  </a:lnTo>
                  <a:lnTo>
                    <a:pt x="397" y="474"/>
                  </a:lnTo>
                  <a:lnTo>
                    <a:pt x="399" y="471"/>
                  </a:lnTo>
                  <a:lnTo>
                    <a:pt x="399" y="465"/>
                  </a:lnTo>
                  <a:lnTo>
                    <a:pt x="397" y="457"/>
                  </a:lnTo>
                  <a:lnTo>
                    <a:pt x="395" y="450"/>
                  </a:lnTo>
                  <a:lnTo>
                    <a:pt x="395" y="446"/>
                  </a:lnTo>
                  <a:lnTo>
                    <a:pt x="397" y="444"/>
                  </a:lnTo>
                  <a:lnTo>
                    <a:pt x="400" y="441"/>
                  </a:lnTo>
                  <a:lnTo>
                    <a:pt x="404" y="437"/>
                  </a:lnTo>
                  <a:lnTo>
                    <a:pt x="421" y="431"/>
                  </a:lnTo>
                  <a:lnTo>
                    <a:pt x="421" y="431"/>
                  </a:lnTo>
                  <a:lnTo>
                    <a:pt x="430" y="428"/>
                  </a:lnTo>
                  <a:lnTo>
                    <a:pt x="432" y="426"/>
                  </a:lnTo>
                  <a:lnTo>
                    <a:pt x="432" y="422"/>
                  </a:lnTo>
                  <a:lnTo>
                    <a:pt x="430" y="418"/>
                  </a:lnTo>
                  <a:lnTo>
                    <a:pt x="427" y="411"/>
                  </a:lnTo>
                  <a:lnTo>
                    <a:pt x="423" y="405"/>
                  </a:lnTo>
                  <a:lnTo>
                    <a:pt x="421" y="400"/>
                  </a:lnTo>
                  <a:lnTo>
                    <a:pt x="423" y="398"/>
                  </a:lnTo>
                  <a:lnTo>
                    <a:pt x="425" y="394"/>
                  </a:lnTo>
                  <a:lnTo>
                    <a:pt x="436" y="388"/>
                  </a:lnTo>
                  <a:lnTo>
                    <a:pt x="436" y="388"/>
                  </a:lnTo>
                  <a:lnTo>
                    <a:pt x="442" y="388"/>
                  </a:lnTo>
                  <a:lnTo>
                    <a:pt x="453" y="388"/>
                  </a:lnTo>
                  <a:lnTo>
                    <a:pt x="477" y="390"/>
                  </a:lnTo>
                  <a:lnTo>
                    <a:pt x="484" y="388"/>
                  </a:lnTo>
                  <a:lnTo>
                    <a:pt x="486" y="388"/>
                  </a:lnTo>
                  <a:lnTo>
                    <a:pt x="488" y="386"/>
                  </a:lnTo>
                  <a:lnTo>
                    <a:pt x="488" y="386"/>
                  </a:lnTo>
                  <a:lnTo>
                    <a:pt x="484" y="383"/>
                  </a:lnTo>
                  <a:lnTo>
                    <a:pt x="471" y="377"/>
                  </a:lnTo>
                  <a:lnTo>
                    <a:pt x="471" y="377"/>
                  </a:lnTo>
                  <a:lnTo>
                    <a:pt x="460" y="370"/>
                  </a:lnTo>
                  <a:lnTo>
                    <a:pt x="456" y="366"/>
                  </a:lnTo>
                  <a:lnTo>
                    <a:pt x="458" y="362"/>
                  </a:lnTo>
                  <a:lnTo>
                    <a:pt x="462" y="360"/>
                  </a:lnTo>
                  <a:lnTo>
                    <a:pt x="473" y="355"/>
                  </a:lnTo>
                  <a:lnTo>
                    <a:pt x="477" y="349"/>
                  </a:lnTo>
                  <a:lnTo>
                    <a:pt x="477" y="347"/>
                  </a:lnTo>
                  <a:lnTo>
                    <a:pt x="477" y="343"/>
                  </a:lnTo>
                  <a:lnTo>
                    <a:pt x="477" y="343"/>
                  </a:lnTo>
                  <a:lnTo>
                    <a:pt x="475" y="334"/>
                  </a:lnTo>
                  <a:lnTo>
                    <a:pt x="477" y="329"/>
                  </a:lnTo>
                  <a:lnTo>
                    <a:pt x="479" y="325"/>
                  </a:lnTo>
                  <a:lnTo>
                    <a:pt x="481" y="325"/>
                  </a:lnTo>
                  <a:lnTo>
                    <a:pt x="481" y="323"/>
                  </a:lnTo>
                  <a:lnTo>
                    <a:pt x="481" y="319"/>
                  </a:lnTo>
                  <a:lnTo>
                    <a:pt x="466" y="302"/>
                  </a:lnTo>
                  <a:lnTo>
                    <a:pt x="466" y="302"/>
                  </a:lnTo>
                  <a:lnTo>
                    <a:pt x="464" y="297"/>
                  </a:lnTo>
                  <a:lnTo>
                    <a:pt x="466" y="291"/>
                  </a:lnTo>
                  <a:lnTo>
                    <a:pt x="475" y="284"/>
                  </a:lnTo>
                  <a:lnTo>
                    <a:pt x="479" y="278"/>
                  </a:lnTo>
                  <a:lnTo>
                    <a:pt x="481" y="272"/>
                  </a:lnTo>
                  <a:lnTo>
                    <a:pt x="479" y="265"/>
                  </a:lnTo>
                  <a:lnTo>
                    <a:pt x="471" y="256"/>
                  </a:lnTo>
                  <a:lnTo>
                    <a:pt x="471" y="256"/>
                  </a:lnTo>
                  <a:lnTo>
                    <a:pt x="468" y="252"/>
                  </a:lnTo>
                  <a:lnTo>
                    <a:pt x="466" y="248"/>
                  </a:lnTo>
                  <a:lnTo>
                    <a:pt x="468" y="246"/>
                  </a:lnTo>
                  <a:lnTo>
                    <a:pt x="470" y="244"/>
                  </a:lnTo>
                  <a:lnTo>
                    <a:pt x="475" y="243"/>
                  </a:lnTo>
                  <a:lnTo>
                    <a:pt x="483" y="241"/>
                  </a:lnTo>
                  <a:lnTo>
                    <a:pt x="488" y="239"/>
                  </a:lnTo>
                  <a:lnTo>
                    <a:pt x="490" y="239"/>
                  </a:lnTo>
                  <a:lnTo>
                    <a:pt x="490" y="237"/>
                  </a:lnTo>
                  <a:lnTo>
                    <a:pt x="483" y="233"/>
                  </a:lnTo>
                  <a:lnTo>
                    <a:pt x="468" y="226"/>
                  </a:lnTo>
                  <a:lnTo>
                    <a:pt x="468" y="226"/>
                  </a:lnTo>
                  <a:lnTo>
                    <a:pt x="458" y="220"/>
                  </a:lnTo>
                  <a:lnTo>
                    <a:pt x="455" y="215"/>
                  </a:lnTo>
                  <a:lnTo>
                    <a:pt x="455" y="209"/>
                  </a:lnTo>
                  <a:lnTo>
                    <a:pt x="456" y="203"/>
                  </a:lnTo>
                  <a:lnTo>
                    <a:pt x="462" y="198"/>
                  </a:lnTo>
                  <a:lnTo>
                    <a:pt x="468" y="196"/>
                  </a:lnTo>
                  <a:lnTo>
                    <a:pt x="475" y="196"/>
                  </a:lnTo>
                  <a:lnTo>
                    <a:pt x="484" y="200"/>
                  </a:lnTo>
                  <a:lnTo>
                    <a:pt x="484" y="200"/>
                  </a:lnTo>
                  <a:lnTo>
                    <a:pt x="490" y="201"/>
                  </a:lnTo>
                  <a:lnTo>
                    <a:pt x="496" y="203"/>
                  </a:lnTo>
                  <a:lnTo>
                    <a:pt x="501" y="203"/>
                  </a:lnTo>
                  <a:lnTo>
                    <a:pt x="507" y="201"/>
                  </a:lnTo>
                  <a:lnTo>
                    <a:pt x="516" y="196"/>
                  </a:lnTo>
                  <a:lnTo>
                    <a:pt x="524" y="187"/>
                  </a:lnTo>
                  <a:lnTo>
                    <a:pt x="537" y="164"/>
                  </a:lnTo>
                  <a:lnTo>
                    <a:pt x="542" y="155"/>
                  </a:lnTo>
                  <a:lnTo>
                    <a:pt x="550" y="147"/>
                  </a:lnTo>
                  <a:lnTo>
                    <a:pt x="550" y="147"/>
                  </a:lnTo>
                  <a:lnTo>
                    <a:pt x="559" y="140"/>
                  </a:lnTo>
                  <a:lnTo>
                    <a:pt x="559" y="138"/>
                  </a:lnTo>
                  <a:lnTo>
                    <a:pt x="556" y="138"/>
                  </a:lnTo>
                  <a:lnTo>
                    <a:pt x="546" y="134"/>
                  </a:lnTo>
                  <a:lnTo>
                    <a:pt x="541" y="132"/>
                  </a:lnTo>
                  <a:lnTo>
                    <a:pt x="535" y="129"/>
                  </a:lnTo>
                  <a:lnTo>
                    <a:pt x="542" y="130"/>
                  </a:lnTo>
                  <a:lnTo>
                    <a:pt x="542" y="130"/>
                  </a:lnTo>
                  <a:lnTo>
                    <a:pt x="556" y="132"/>
                  </a:lnTo>
                  <a:lnTo>
                    <a:pt x="567" y="132"/>
                  </a:lnTo>
                  <a:lnTo>
                    <a:pt x="567" y="132"/>
                  </a:lnTo>
                  <a:lnTo>
                    <a:pt x="557" y="121"/>
                  </a:lnTo>
                  <a:lnTo>
                    <a:pt x="548" y="112"/>
                  </a:lnTo>
                  <a:lnTo>
                    <a:pt x="542" y="110"/>
                  </a:lnTo>
                  <a:lnTo>
                    <a:pt x="535" y="108"/>
                  </a:lnTo>
                  <a:lnTo>
                    <a:pt x="529" y="108"/>
                  </a:lnTo>
                  <a:lnTo>
                    <a:pt x="522" y="110"/>
                  </a:lnTo>
                  <a:lnTo>
                    <a:pt x="522" y="110"/>
                  </a:lnTo>
                  <a:lnTo>
                    <a:pt x="492" y="121"/>
                  </a:lnTo>
                  <a:lnTo>
                    <a:pt x="484" y="121"/>
                  </a:lnTo>
                  <a:lnTo>
                    <a:pt x="479" y="121"/>
                  </a:lnTo>
                  <a:lnTo>
                    <a:pt x="475" y="115"/>
                  </a:lnTo>
                  <a:lnTo>
                    <a:pt x="471" y="108"/>
                  </a:lnTo>
                  <a:lnTo>
                    <a:pt x="456" y="84"/>
                  </a:lnTo>
                  <a:lnTo>
                    <a:pt x="456" y="84"/>
                  </a:lnTo>
                  <a:lnTo>
                    <a:pt x="453" y="80"/>
                  </a:lnTo>
                  <a:lnTo>
                    <a:pt x="451" y="80"/>
                  </a:lnTo>
                  <a:lnTo>
                    <a:pt x="447" y="80"/>
                  </a:lnTo>
                  <a:lnTo>
                    <a:pt x="443" y="82"/>
                  </a:lnTo>
                  <a:lnTo>
                    <a:pt x="436" y="87"/>
                  </a:lnTo>
                  <a:lnTo>
                    <a:pt x="428" y="97"/>
                  </a:lnTo>
                  <a:lnTo>
                    <a:pt x="419" y="106"/>
                  </a:lnTo>
                  <a:lnTo>
                    <a:pt x="412" y="114"/>
                  </a:lnTo>
                  <a:lnTo>
                    <a:pt x="408" y="115"/>
                  </a:lnTo>
                  <a:lnTo>
                    <a:pt x="402" y="115"/>
                  </a:lnTo>
                  <a:lnTo>
                    <a:pt x="399" y="115"/>
                  </a:lnTo>
                  <a:lnTo>
                    <a:pt x="395" y="114"/>
                  </a:lnTo>
                  <a:lnTo>
                    <a:pt x="395" y="114"/>
                  </a:lnTo>
                  <a:lnTo>
                    <a:pt x="389" y="112"/>
                  </a:lnTo>
                  <a:lnTo>
                    <a:pt x="384" y="112"/>
                  </a:lnTo>
                  <a:lnTo>
                    <a:pt x="372" y="114"/>
                  </a:lnTo>
                  <a:lnTo>
                    <a:pt x="369" y="115"/>
                  </a:lnTo>
                  <a:lnTo>
                    <a:pt x="365" y="114"/>
                  </a:lnTo>
                  <a:lnTo>
                    <a:pt x="361" y="112"/>
                  </a:lnTo>
                  <a:lnTo>
                    <a:pt x="361" y="106"/>
                  </a:lnTo>
                  <a:lnTo>
                    <a:pt x="361" y="106"/>
                  </a:lnTo>
                  <a:lnTo>
                    <a:pt x="359" y="97"/>
                  </a:lnTo>
                  <a:lnTo>
                    <a:pt x="357" y="87"/>
                  </a:lnTo>
                  <a:lnTo>
                    <a:pt x="350" y="69"/>
                  </a:lnTo>
                  <a:lnTo>
                    <a:pt x="342" y="52"/>
                  </a:lnTo>
                  <a:lnTo>
                    <a:pt x="339" y="44"/>
                  </a:lnTo>
                  <a:lnTo>
                    <a:pt x="339" y="35"/>
                  </a:lnTo>
                  <a:lnTo>
                    <a:pt x="339" y="35"/>
                  </a:lnTo>
                  <a:lnTo>
                    <a:pt x="337" y="16"/>
                  </a:lnTo>
                  <a:lnTo>
                    <a:pt x="333" y="5"/>
                  </a:lnTo>
                  <a:lnTo>
                    <a:pt x="329" y="0"/>
                  </a:lnTo>
                  <a:lnTo>
                    <a:pt x="324" y="0"/>
                  </a:lnTo>
                  <a:lnTo>
                    <a:pt x="313" y="2"/>
                  </a:lnTo>
                  <a:lnTo>
                    <a:pt x="307" y="3"/>
                  </a:lnTo>
                  <a:lnTo>
                    <a:pt x="301" y="0"/>
                  </a:lnTo>
                  <a:lnTo>
                    <a:pt x="301" y="0"/>
                  </a:lnTo>
                  <a:lnTo>
                    <a:pt x="288" y="9"/>
                  </a:lnTo>
                  <a:lnTo>
                    <a:pt x="283" y="15"/>
                  </a:lnTo>
                  <a:lnTo>
                    <a:pt x="283" y="20"/>
                  </a:lnTo>
                  <a:lnTo>
                    <a:pt x="283" y="26"/>
                  </a:lnTo>
                  <a:lnTo>
                    <a:pt x="285" y="30"/>
                  </a:lnTo>
                  <a:lnTo>
                    <a:pt x="283" y="31"/>
                  </a:lnTo>
                  <a:lnTo>
                    <a:pt x="279" y="33"/>
                  </a:lnTo>
                  <a:lnTo>
                    <a:pt x="268" y="35"/>
                  </a:lnTo>
                  <a:lnTo>
                    <a:pt x="268" y="35"/>
                  </a:lnTo>
                  <a:lnTo>
                    <a:pt x="264" y="35"/>
                  </a:lnTo>
                  <a:lnTo>
                    <a:pt x="262" y="37"/>
                  </a:lnTo>
                  <a:lnTo>
                    <a:pt x="260" y="41"/>
                  </a:lnTo>
                  <a:lnTo>
                    <a:pt x="258" y="43"/>
                  </a:lnTo>
                  <a:lnTo>
                    <a:pt x="255" y="44"/>
                  </a:lnTo>
                  <a:lnTo>
                    <a:pt x="249" y="48"/>
                  </a:lnTo>
                  <a:lnTo>
                    <a:pt x="242" y="50"/>
                  </a:lnTo>
                  <a:lnTo>
                    <a:pt x="242" y="50"/>
                  </a:lnTo>
                  <a:lnTo>
                    <a:pt x="230" y="54"/>
                  </a:lnTo>
                  <a:lnTo>
                    <a:pt x="223" y="59"/>
                  </a:lnTo>
                  <a:lnTo>
                    <a:pt x="214" y="71"/>
                  </a:lnTo>
                  <a:lnTo>
                    <a:pt x="210" y="74"/>
                  </a:lnTo>
                  <a:lnTo>
                    <a:pt x="206" y="74"/>
                  </a:lnTo>
                  <a:lnTo>
                    <a:pt x="200" y="71"/>
                  </a:lnTo>
                  <a:lnTo>
                    <a:pt x="191" y="61"/>
                  </a:lnTo>
                  <a:lnTo>
                    <a:pt x="191" y="61"/>
                  </a:lnTo>
                  <a:lnTo>
                    <a:pt x="187" y="59"/>
                  </a:lnTo>
                  <a:lnTo>
                    <a:pt x="184" y="58"/>
                  </a:lnTo>
                  <a:lnTo>
                    <a:pt x="182" y="58"/>
                  </a:lnTo>
                  <a:lnTo>
                    <a:pt x="178" y="59"/>
                  </a:lnTo>
                  <a:lnTo>
                    <a:pt x="171" y="65"/>
                  </a:lnTo>
                  <a:lnTo>
                    <a:pt x="163" y="74"/>
                  </a:lnTo>
                  <a:lnTo>
                    <a:pt x="150" y="93"/>
                  </a:lnTo>
                  <a:lnTo>
                    <a:pt x="142" y="101"/>
                  </a:lnTo>
                  <a:lnTo>
                    <a:pt x="139" y="104"/>
                  </a:lnTo>
                  <a:lnTo>
                    <a:pt x="139" y="104"/>
                  </a:lnTo>
                  <a:lnTo>
                    <a:pt x="129" y="108"/>
                  </a:lnTo>
                  <a:lnTo>
                    <a:pt x="128" y="110"/>
                  </a:lnTo>
                  <a:lnTo>
                    <a:pt x="128" y="114"/>
                  </a:lnTo>
                  <a:lnTo>
                    <a:pt x="133" y="125"/>
                  </a:lnTo>
                  <a:lnTo>
                    <a:pt x="135" y="134"/>
                  </a:lnTo>
                  <a:lnTo>
                    <a:pt x="137" y="145"/>
                  </a:lnTo>
                  <a:lnTo>
                    <a:pt x="137" y="145"/>
                  </a:lnTo>
                  <a:lnTo>
                    <a:pt x="139" y="151"/>
                  </a:lnTo>
                  <a:lnTo>
                    <a:pt x="141" y="157"/>
                  </a:lnTo>
                  <a:lnTo>
                    <a:pt x="141" y="164"/>
                  </a:lnTo>
                  <a:lnTo>
                    <a:pt x="139" y="173"/>
                  </a:lnTo>
                  <a:lnTo>
                    <a:pt x="135" y="181"/>
                  </a:lnTo>
                  <a:lnTo>
                    <a:pt x="128" y="190"/>
                  </a:lnTo>
                  <a:lnTo>
                    <a:pt x="116" y="198"/>
                  </a:lnTo>
                  <a:lnTo>
                    <a:pt x="116" y="198"/>
                  </a:lnTo>
                  <a:close/>
                  <a:moveTo>
                    <a:pt x="199" y="736"/>
                  </a:moveTo>
                  <a:lnTo>
                    <a:pt x="199" y="736"/>
                  </a:lnTo>
                  <a:close/>
                  <a:moveTo>
                    <a:pt x="215" y="721"/>
                  </a:moveTo>
                  <a:lnTo>
                    <a:pt x="215" y="721"/>
                  </a:lnTo>
                  <a:lnTo>
                    <a:pt x="208" y="725"/>
                  </a:lnTo>
                  <a:lnTo>
                    <a:pt x="206" y="728"/>
                  </a:lnTo>
                  <a:lnTo>
                    <a:pt x="208" y="730"/>
                  </a:lnTo>
                  <a:lnTo>
                    <a:pt x="212" y="732"/>
                  </a:lnTo>
                  <a:lnTo>
                    <a:pt x="217" y="732"/>
                  </a:lnTo>
                  <a:lnTo>
                    <a:pt x="221" y="730"/>
                  </a:lnTo>
                  <a:lnTo>
                    <a:pt x="223" y="728"/>
                  </a:lnTo>
                  <a:lnTo>
                    <a:pt x="221" y="723"/>
                  </a:lnTo>
                  <a:lnTo>
                    <a:pt x="221" y="723"/>
                  </a:lnTo>
                  <a:lnTo>
                    <a:pt x="217" y="721"/>
                  </a:lnTo>
                  <a:lnTo>
                    <a:pt x="215" y="721"/>
                  </a:lnTo>
                  <a:lnTo>
                    <a:pt x="215" y="721"/>
                  </a:lnTo>
                  <a:close/>
                  <a:moveTo>
                    <a:pt x="174" y="727"/>
                  </a:moveTo>
                  <a:lnTo>
                    <a:pt x="174" y="727"/>
                  </a:lnTo>
                  <a:lnTo>
                    <a:pt x="180" y="721"/>
                  </a:lnTo>
                  <a:lnTo>
                    <a:pt x="187" y="715"/>
                  </a:lnTo>
                  <a:lnTo>
                    <a:pt x="189" y="713"/>
                  </a:lnTo>
                  <a:lnTo>
                    <a:pt x="185" y="712"/>
                  </a:lnTo>
                  <a:lnTo>
                    <a:pt x="180" y="712"/>
                  </a:lnTo>
                  <a:lnTo>
                    <a:pt x="169" y="713"/>
                  </a:lnTo>
                  <a:lnTo>
                    <a:pt x="159" y="715"/>
                  </a:lnTo>
                  <a:lnTo>
                    <a:pt x="159" y="715"/>
                  </a:lnTo>
                  <a:lnTo>
                    <a:pt x="157" y="717"/>
                  </a:lnTo>
                  <a:lnTo>
                    <a:pt x="157" y="719"/>
                  </a:lnTo>
                  <a:lnTo>
                    <a:pt x="157" y="721"/>
                  </a:lnTo>
                  <a:lnTo>
                    <a:pt x="161" y="723"/>
                  </a:lnTo>
                  <a:lnTo>
                    <a:pt x="174" y="727"/>
                  </a:lnTo>
                  <a:lnTo>
                    <a:pt x="174" y="727"/>
                  </a:lnTo>
                  <a:close/>
                  <a:moveTo>
                    <a:pt x="496" y="231"/>
                  </a:moveTo>
                  <a:lnTo>
                    <a:pt x="496" y="231"/>
                  </a:lnTo>
                  <a:lnTo>
                    <a:pt x="498" y="233"/>
                  </a:lnTo>
                  <a:lnTo>
                    <a:pt x="499" y="235"/>
                  </a:lnTo>
                  <a:lnTo>
                    <a:pt x="503" y="235"/>
                  </a:lnTo>
                  <a:lnTo>
                    <a:pt x="507" y="235"/>
                  </a:lnTo>
                  <a:lnTo>
                    <a:pt x="513" y="231"/>
                  </a:lnTo>
                  <a:lnTo>
                    <a:pt x="520" y="224"/>
                  </a:lnTo>
                  <a:lnTo>
                    <a:pt x="531" y="209"/>
                  </a:lnTo>
                  <a:lnTo>
                    <a:pt x="533" y="203"/>
                  </a:lnTo>
                  <a:lnTo>
                    <a:pt x="533" y="200"/>
                  </a:lnTo>
                  <a:lnTo>
                    <a:pt x="533" y="200"/>
                  </a:lnTo>
                  <a:lnTo>
                    <a:pt x="526" y="196"/>
                  </a:lnTo>
                  <a:lnTo>
                    <a:pt x="526" y="196"/>
                  </a:lnTo>
                  <a:lnTo>
                    <a:pt x="509" y="213"/>
                  </a:lnTo>
                  <a:lnTo>
                    <a:pt x="501" y="224"/>
                  </a:lnTo>
                  <a:lnTo>
                    <a:pt x="496" y="231"/>
                  </a:lnTo>
                  <a:lnTo>
                    <a:pt x="496" y="231"/>
                  </a:lnTo>
                  <a:close/>
                  <a:moveTo>
                    <a:pt x="486" y="267"/>
                  </a:moveTo>
                  <a:lnTo>
                    <a:pt x="486" y="267"/>
                  </a:lnTo>
                  <a:lnTo>
                    <a:pt x="486" y="271"/>
                  </a:lnTo>
                  <a:lnTo>
                    <a:pt x="488" y="272"/>
                  </a:lnTo>
                  <a:lnTo>
                    <a:pt x="490" y="272"/>
                  </a:lnTo>
                  <a:lnTo>
                    <a:pt x="496" y="267"/>
                  </a:lnTo>
                  <a:lnTo>
                    <a:pt x="499" y="263"/>
                  </a:lnTo>
                  <a:lnTo>
                    <a:pt x="499" y="263"/>
                  </a:lnTo>
                  <a:lnTo>
                    <a:pt x="505" y="259"/>
                  </a:lnTo>
                  <a:lnTo>
                    <a:pt x="505" y="259"/>
                  </a:lnTo>
                  <a:lnTo>
                    <a:pt x="505" y="258"/>
                  </a:lnTo>
                  <a:lnTo>
                    <a:pt x="501" y="254"/>
                  </a:lnTo>
                  <a:lnTo>
                    <a:pt x="496" y="250"/>
                  </a:lnTo>
                  <a:lnTo>
                    <a:pt x="496" y="250"/>
                  </a:lnTo>
                  <a:lnTo>
                    <a:pt x="488" y="258"/>
                  </a:lnTo>
                  <a:lnTo>
                    <a:pt x="486" y="261"/>
                  </a:lnTo>
                  <a:lnTo>
                    <a:pt x="486" y="267"/>
                  </a:lnTo>
                  <a:lnTo>
                    <a:pt x="486" y="267"/>
                  </a:lnTo>
                  <a:close/>
                  <a:moveTo>
                    <a:pt x="483" y="431"/>
                  </a:moveTo>
                  <a:lnTo>
                    <a:pt x="483" y="431"/>
                  </a:lnTo>
                  <a:lnTo>
                    <a:pt x="471" y="424"/>
                  </a:lnTo>
                  <a:lnTo>
                    <a:pt x="464" y="422"/>
                  </a:lnTo>
                  <a:lnTo>
                    <a:pt x="462" y="422"/>
                  </a:lnTo>
                  <a:lnTo>
                    <a:pt x="462" y="424"/>
                  </a:lnTo>
                  <a:lnTo>
                    <a:pt x="462" y="424"/>
                  </a:lnTo>
                  <a:lnTo>
                    <a:pt x="466" y="431"/>
                  </a:lnTo>
                  <a:lnTo>
                    <a:pt x="471" y="437"/>
                  </a:lnTo>
                  <a:lnTo>
                    <a:pt x="475" y="439"/>
                  </a:lnTo>
                  <a:lnTo>
                    <a:pt x="479" y="439"/>
                  </a:lnTo>
                  <a:lnTo>
                    <a:pt x="481" y="437"/>
                  </a:lnTo>
                  <a:lnTo>
                    <a:pt x="483" y="431"/>
                  </a:lnTo>
                  <a:lnTo>
                    <a:pt x="483" y="431"/>
                  </a:lnTo>
                  <a:close/>
                  <a:moveTo>
                    <a:pt x="488" y="353"/>
                  </a:moveTo>
                  <a:lnTo>
                    <a:pt x="488" y="353"/>
                  </a:lnTo>
                  <a:lnTo>
                    <a:pt x="488" y="360"/>
                  </a:lnTo>
                  <a:lnTo>
                    <a:pt x="492" y="366"/>
                  </a:lnTo>
                  <a:lnTo>
                    <a:pt x="494" y="371"/>
                  </a:lnTo>
                  <a:lnTo>
                    <a:pt x="496" y="377"/>
                  </a:lnTo>
                  <a:lnTo>
                    <a:pt x="496" y="377"/>
                  </a:lnTo>
                  <a:lnTo>
                    <a:pt x="494" y="386"/>
                  </a:lnTo>
                  <a:lnTo>
                    <a:pt x="494" y="390"/>
                  </a:lnTo>
                  <a:lnTo>
                    <a:pt x="498" y="394"/>
                  </a:lnTo>
                  <a:lnTo>
                    <a:pt x="498" y="394"/>
                  </a:lnTo>
                  <a:lnTo>
                    <a:pt x="501" y="398"/>
                  </a:lnTo>
                  <a:lnTo>
                    <a:pt x="505" y="396"/>
                  </a:lnTo>
                  <a:lnTo>
                    <a:pt x="509" y="394"/>
                  </a:lnTo>
                  <a:lnTo>
                    <a:pt x="511" y="388"/>
                  </a:lnTo>
                  <a:lnTo>
                    <a:pt x="514" y="377"/>
                  </a:lnTo>
                  <a:lnTo>
                    <a:pt x="514" y="371"/>
                  </a:lnTo>
                  <a:lnTo>
                    <a:pt x="514" y="368"/>
                  </a:lnTo>
                  <a:lnTo>
                    <a:pt x="514" y="368"/>
                  </a:lnTo>
                  <a:lnTo>
                    <a:pt x="507" y="357"/>
                  </a:lnTo>
                  <a:lnTo>
                    <a:pt x="501" y="353"/>
                  </a:lnTo>
                  <a:lnTo>
                    <a:pt x="498" y="349"/>
                  </a:lnTo>
                  <a:lnTo>
                    <a:pt x="498" y="349"/>
                  </a:lnTo>
                  <a:lnTo>
                    <a:pt x="494" y="351"/>
                  </a:lnTo>
                  <a:lnTo>
                    <a:pt x="488" y="353"/>
                  </a:lnTo>
                  <a:lnTo>
                    <a:pt x="488" y="353"/>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2" name="Freeform 92">
              <a:extLst>
                <a:ext uri="{FF2B5EF4-FFF2-40B4-BE49-F238E27FC236}">
                  <a16:creationId xmlns:a16="http://schemas.microsoft.com/office/drawing/2014/main" id="{F7D55BAA-1FCB-4F3F-A0A0-81DEFD69C4E3}"/>
                </a:ext>
              </a:extLst>
            </p:cNvPr>
            <p:cNvSpPr>
              <a:spLocks/>
            </p:cNvSpPr>
            <p:nvPr/>
          </p:nvSpPr>
          <p:spPr bwMode="auto">
            <a:xfrm>
              <a:off x="5981728" y="4971613"/>
              <a:ext cx="514116" cy="624932"/>
            </a:xfrm>
            <a:custGeom>
              <a:avLst/>
              <a:gdLst/>
              <a:ahLst/>
              <a:cxnLst>
                <a:cxn ang="0">
                  <a:pos x="77" y="218"/>
                </a:cxn>
                <a:cxn ang="0">
                  <a:pos x="83" y="280"/>
                </a:cxn>
                <a:cxn ang="0">
                  <a:pos x="70" y="299"/>
                </a:cxn>
                <a:cxn ang="0">
                  <a:pos x="66" y="329"/>
                </a:cxn>
                <a:cxn ang="0">
                  <a:pos x="45" y="357"/>
                </a:cxn>
                <a:cxn ang="0">
                  <a:pos x="15" y="418"/>
                </a:cxn>
                <a:cxn ang="0">
                  <a:pos x="0" y="513"/>
                </a:cxn>
                <a:cxn ang="0">
                  <a:pos x="64" y="517"/>
                </a:cxn>
                <a:cxn ang="0">
                  <a:pos x="85" y="542"/>
                </a:cxn>
                <a:cxn ang="0">
                  <a:pos x="113" y="538"/>
                </a:cxn>
                <a:cxn ang="0">
                  <a:pos x="141" y="586"/>
                </a:cxn>
                <a:cxn ang="0">
                  <a:pos x="154" y="642"/>
                </a:cxn>
                <a:cxn ang="0">
                  <a:pos x="193" y="676"/>
                </a:cxn>
                <a:cxn ang="0">
                  <a:pos x="219" y="650"/>
                </a:cxn>
                <a:cxn ang="0">
                  <a:pos x="301" y="581"/>
                </a:cxn>
                <a:cxn ang="0">
                  <a:pos x="285" y="558"/>
                </a:cxn>
                <a:cxn ang="0">
                  <a:pos x="299" y="536"/>
                </a:cxn>
                <a:cxn ang="0">
                  <a:pos x="342" y="525"/>
                </a:cxn>
                <a:cxn ang="0">
                  <a:pos x="374" y="512"/>
                </a:cxn>
                <a:cxn ang="0">
                  <a:pos x="376" y="487"/>
                </a:cxn>
                <a:cxn ang="0">
                  <a:pos x="399" y="471"/>
                </a:cxn>
                <a:cxn ang="0">
                  <a:pos x="400" y="441"/>
                </a:cxn>
                <a:cxn ang="0">
                  <a:pos x="432" y="422"/>
                </a:cxn>
                <a:cxn ang="0">
                  <a:pos x="425" y="394"/>
                </a:cxn>
                <a:cxn ang="0">
                  <a:pos x="484" y="388"/>
                </a:cxn>
                <a:cxn ang="0">
                  <a:pos x="471" y="377"/>
                </a:cxn>
                <a:cxn ang="0">
                  <a:pos x="477" y="349"/>
                </a:cxn>
                <a:cxn ang="0">
                  <a:pos x="479" y="325"/>
                </a:cxn>
                <a:cxn ang="0">
                  <a:pos x="464" y="297"/>
                </a:cxn>
                <a:cxn ang="0">
                  <a:pos x="471" y="256"/>
                </a:cxn>
                <a:cxn ang="0">
                  <a:pos x="475" y="243"/>
                </a:cxn>
                <a:cxn ang="0">
                  <a:pos x="468" y="226"/>
                </a:cxn>
                <a:cxn ang="0">
                  <a:pos x="462" y="198"/>
                </a:cxn>
                <a:cxn ang="0">
                  <a:pos x="496" y="203"/>
                </a:cxn>
                <a:cxn ang="0">
                  <a:pos x="542" y="155"/>
                </a:cxn>
                <a:cxn ang="0">
                  <a:pos x="546" y="134"/>
                </a:cxn>
                <a:cxn ang="0">
                  <a:pos x="567" y="132"/>
                </a:cxn>
                <a:cxn ang="0">
                  <a:pos x="529" y="108"/>
                </a:cxn>
                <a:cxn ang="0">
                  <a:pos x="475" y="115"/>
                </a:cxn>
                <a:cxn ang="0">
                  <a:pos x="447" y="80"/>
                </a:cxn>
                <a:cxn ang="0">
                  <a:pos x="408" y="115"/>
                </a:cxn>
                <a:cxn ang="0">
                  <a:pos x="384" y="112"/>
                </a:cxn>
                <a:cxn ang="0">
                  <a:pos x="361" y="106"/>
                </a:cxn>
                <a:cxn ang="0">
                  <a:pos x="339" y="35"/>
                </a:cxn>
                <a:cxn ang="0">
                  <a:pos x="313" y="2"/>
                </a:cxn>
                <a:cxn ang="0">
                  <a:pos x="283" y="20"/>
                </a:cxn>
                <a:cxn ang="0">
                  <a:pos x="268" y="35"/>
                </a:cxn>
                <a:cxn ang="0">
                  <a:pos x="249" y="48"/>
                </a:cxn>
                <a:cxn ang="0">
                  <a:pos x="210" y="74"/>
                </a:cxn>
                <a:cxn ang="0">
                  <a:pos x="184" y="58"/>
                </a:cxn>
                <a:cxn ang="0">
                  <a:pos x="142" y="101"/>
                </a:cxn>
                <a:cxn ang="0">
                  <a:pos x="133" y="125"/>
                </a:cxn>
                <a:cxn ang="0">
                  <a:pos x="141" y="164"/>
                </a:cxn>
              </a:cxnLst>
              <a:rect l="0" t="0" r="r" b="b"/>
              <a:pathLst>
                <a:path w="567" h="687">
                  <a:moveTo>
                    <a:pt x="116" y="198"/>
                  </a:moveTo>
                  <a:lnTo>
                    <a:pt x="116" y="198"/>
                  </a:lnTo>
                  <a:lnTo>
                    <a:pt x="105" y="203"/>
                  </a:lnTo>
                  <a:lnTo>
                    <a:pt x="94" y="207"/>
                  </a:lnTo>
                  <a:lnTo>
                    <a:pt x="85" y="213"/>
                  </a:lnTo>
                  <a:lnTo>
                    <a:pt x="77" y="218"/>
                  </a:lnTo>
                  <a:lnTo>
                    <a:pt x="73" y="222"/>
                  </a:lnTo>
                  <a:lnTo>
                    <a:pt x="71" y="228"/>
                  </a:lnTo>
                  <a:lnTo>
                    <a:pt x="71" y="233"/>
                  </a:lnTo>
                  <a:lnTo>
                    <a:pt x="70" y="239"/>
                  </a:lnTo>
                  <a:lnTo>
                    <a:pt x="73" y="256"/>
                  </a:lnTo>
                  <a:lnTo>
                    <a:pt x="83" y="280"/>
                  </a:lnTo>
                  <a:lnTo>
                    <a:pt x="83" y="280"/>
                  </a:lnTo>
                  <a:lnTo>
                    <a:pt x="85" y="284"/>
                  </a:lnTo>
                  <a:lnTo>
                    <a:pt x="85" y="287"/>
                  </a:lnTo>
                  <a:lnTo>
                    <a:pt x="81" y="291"/>
                  </a:lnTo>
                  <a:lnTo>
                    <a:pt x="75" y="295"/>
                  </a:lnTo>
                  <a:lnTo>
                    <a:pt x="70" y="299"/>
                  </a:lnTo>
                  <a:lnTo>
                    <a:pt x="62" y="302"/>
                  </a:lnTo>
                  <a:lnTo>
                    <a:pt x="60" y="308"/>
                  </a:lnTo>
                  <a:lnTo>
                    <a:pt x="58" y="312"/>
                  </a:lnTo>
                  <a:lnTo>
                    <a:pt x="60" y="315"/>
                  </a:lnTo>
                  <a:lnTo>
                    <a:pt x="66" y="329"/>
                  </a:lnTo>
                  <a:lnTo>
                    <a:pt x="66" y="329"/>
                  </a:lnTo>
                  <a:lnTo>
                    <a:pt x="70" y="336"/>
                  </a:lnTo>
                  <a:lnTo>
                    <a:pt x="70" y="338"/>
                  </a:lnTo>
                  <a:lnTo>
                    <a:pt x="70" y="340"/>
                  </a:lnTo>
                  <a:lnTo>
                    <a:pt x="64" y="343"/>
                  </a:lnTo>
                  <a:lnTo>
                    <a:pt x="55" y="349"/>
                  </a:lnTo>
                  <a:lnTo>
                    <a:pt x="45" y="357"/>
                  </a:lnTo>
                  <a:lnTo>
                    <a:pt x="40" y="362"/>
                  </a:lnTo>
                  <a:lnTo>
                    <a:pt x="34" y="370"/>
                  </a:lnTo>
                  <a:lnTo>
                    <a:pt x="29" y="377"/>
                  </a:lnTo>
                  <a:lnTo>
                    <a:pt x="23" y="388"/>
                  </a:lnTo>
                  <a:lnTo>
                    <a:pt x="19" y="403"/>
                  </a:lnTo>
                  <a:lnTo>
                    <a:pt x="15" y="418"/>
                  </a:lnTo>
                  <a:lnTo>
                    <a:pt x="15" y="418"/>
                  </a:lnTo>
                  <a:lnTo>
                    <a:pt x="10" y="448"/>
                  </a:lnTo>
                  <a:lnTo>
                    <a:pt x="4" y="461"/>
                  </a:lnTo>
                  <a:lnTo>
                    <a:pt x="2" y="476"/>
                  </a:lnTo>
                  <a:lnTo>
                    <a:pt x="0" y="513"/>
                  </a:lnTo>
                  <a:lnTo>
                    <a:pt x="0" y="513"/>
                  </a:lnTo>
                  <a:lnTo>
                    <a:pt x="10" y="513"/>
                  </a:lnTo>
                  <a:lnTo>
                    <a:pt x="21" y="513"/>
                  </a:lnTo>
                  <a:lnTo>
                    <a:pt x="42" y="517"/>
                  </a:lnTo>
                  <a:lnTo>
                    <a:pt x="58" y="519"/>
                  </a:lnTo>
                  <a:lnTo>
                    <a:pt x="64" y="519"/>
                  </a:lnTo>
                  <a:lnTo>
                    <a:pt x="64" y="517"/>
                  </a:lnTo>
                  <a:lnTo>
                    <a:pt x="64" y="515"/>
                  </a:lnTo>
                  <a:lnTo>
                    <a:pt x="64" y="515"/>
                  </a:lnTo>
                  <a:lnTo>
                    <a:pt x="64" y="510"/>
                  </a:lnTo>
                  <a:lnTo>
                    <a:pt x="66" y="512"/>
                  </a:lnTo>
                  <a:lnTo>
                    <a:pt x="73" y="525"/>
                  </a:lnTo>
                  <a:lnTo>
                    <a:pt x="85" y="542"/>
                  </a:lnTo>
                  <a:lnTo>
                    <a:pt x="90" y="545"/>
                  </a:lnTo>
                  <a:lnTo>
                    <a:pt x="92" y="545"/>
                  </a:lnTo>
                  <a:lnTo>
                    <a:pt x="96" y="545"/>
                  </a:lnTo>
                  <a:lnTo>
                    <a:pt x="96" y="545"/>
                  </a:lnTo>
                  <a:lnTo>
                    <a:pt x="105" y="538"/>
                  </a:lnTo>
                  <a:lnTo>
                    <a:pt x="113" y="538"/>
                  </a:lnTo>
                  <a:lnTo>
                    <a:pt x="116" y="540"/>
                  </a:lnTo>
                  <a:lnTo>
                    <a:pt x="120" y="545"/>
                  </a:lnTo>
                  <a:lnTo>
                    <a:pt x="126" y="562"/>
                  </a:lnTo>
                  <a:lnTo>
                    <a:pt x="131" y="573"/>
                  </a:lnTo>
                  <a:lnTo>
                    <a:pt x="141" y="586"/>
                  </a:lnTo>
                  <a:lnTo>
                    <a:pt x="141" y="586"/>
                  </a:lnTo>
                  <a:lnTo>
                    <a:pt x="148" y="598"/>
                  </a:lnTo>
                  <a:lnTo>
                    <a:pt x="152" y="605"/>
                  </a:lnTo>
                  <a:lnTo>
                    <a:pt x="152" y="613"/>
                  </a:lnTo>
                  <a:lnTo>
                    <a:pt x="150" y="620"/>
                  </a:lnTo>
                  <a:lnTo>
                    <a:pt x="150" y="629"/>
                  </a:lnTo>
                  <a:lnTo>
                    <a:pt x="154" y="642"/>
                  </a:lnTo>
                  <a:lnTo>
                    <a:pt x="161" y="661"/>
                  </a:lnTo>
                  <a:lnTo>
                    <a:pt x="176" y="687"/>
                  </a:lnTo>
                  <a:lnTo>
                    <a:pt x="176" y="687"/>
                  </a:lnTo>
                  <a:lnTo>
                    <a:pt x="182" y="685"/>
                  </a:lnTo>
                  <a:lnTo>
                    <a:pt x="187" y="682"/>
                  </a:lnTo>
                  <a:lnTo>
                    <a:pt x="193" y="676"/>
                  </a:lnTo>
                  <a:lnTo>
                    <a:pt x="197" y="669"/>
                  </a:lnTo>
                  <a:lnTo>
                    <a:pt x="197" y="669"/>
                  </a:lnTo>
                  <a:lnTo>
                    <a:pt x="200" y="663"/>
                  </a:lnTo>
                  <a:lnTo>
                    <a:pt x="208" y="659"/>
                  </a:lnTo>
                  <a:lnTo>
                    <a:pt x="214" y="656"/>
                  </a:lnTo>
                  <a:lnTo>
                    <a:pt x="219" y="650"/>
                  </a:lnTo>
                  <a:lnTo>
                    <a:pt x="219" y="650"/>
                  </a:lnTo>
                  <a:lnTo>
                    <a:pt x="236" y="637"/>
                  </a:lnTo>
                  <a:lnTo>
                    <a:pt x="270" y="613"/>
                  </a:lnTo>
                  <a:lnTo>
                    <a:pt x="286" y="599"/>
                  </a:lnTo>
                  <a:lnTo>
                    <a:pt x="298" y="586"/>
                  </a:lnTo>
                  <a:lnTo>
                    <a:pt x="301" y="581"/>
                  </a:lnTo>
                  <a:lnTo>
                    <a:pt x="303" y="575"/>
                  </a:lnTo>
                  <a:lnTo>
                    <a:pt x="303" y="571"/>
                  </a:lnTo>
                  <a:lnTo>
                    <a:pt x="301" y="568"/>
                  </a:lnTo>
                  <a:lnTo>
                    <a:pt x="301" y="568"/>
                  </a:lnTo>
                  <a:lnTo>
                    <a:pt x="292" y="562"/>
                  </a:lnTo>
                  <a:lnTo>
                    <a:pt x="285" y="558"/>
                  </a:lnTo>
                  <a:lnTo>
                    <a:pt x="283" y="555"/>
                  </a:lnTo>
                  <a:lnTo>
                    <a:pt x="283" y="551"/>
                  </a:lnTo>
                  <a:lnTo>
                    <a:pt x="286" y="547"/>
                  </a:lnTo>
                  <a:lnTo>
                    <a:pt x="292" y="540"/>
                  </a:lnTo>
                  <a:lnTo>
                    <a:pt x="292" y="540"/>
                  </a:lnTo>
                  <a:lnTo>
                    <a:pt x="299" y="536"/>
                  </a:lnTo>
                  <a:lnTo>
                    <a:pt x="309" y="532"/>
                  </a:lnTo>
                  <a:lnTo>
                    <a:pt x="318" y="528"/>
                  </a:lnTo>
                  <a:lnTo>
                    <a:pt x="328" y="525"/>
                  </a:lnTo>
                  <a:lnTo>
                    <a:pt x="328" y="525"/>
                  </a:lnTo>
                  <a:lnTo>
                    <a:pt x="337" y="523"/>
                  </a:lnTo>
                  <a:lnTo>
                    <a:pt x="342" y="525"/>
                  </a:lnTo>
                  <a:lnTo>
                    <a:pt x="354" y="530"/>
                  </a:lnTo>
                  <a:lnTo>
                    <a:pt x="357" y="532"/>
                  </a:lnTo>
                  <a:lnTo>
                    <a:pt x="363" y="532"/>
                  </a:lnTo>
                  <a:lnTo>
                    <a:pt x="369" y="525"/>
                  </a:lnTo>
                  <a:lnTo>
                    <a:pt x="374" y="512"/>
                  </a:lnTo>
                  <a:lnTo>
                    <a:pt x="374" y="512"/>
                  </a:lnTo>
                  <a:lnTo>
                    <a:pt x="376" y="506"/>
                  </a:lnTo>
                  <a:lnTo>
                    <a:pt x="376" y="500"/>
                  </a:lnTo>
                  <a:lnTo>
                    <a:pt x="372" y="495"/>
                  </a:lnTo>
                  <a:lnTo>
                    <a:pt x="372" y="491"/>
                  </a:lnTo>
                  <a:lnTo>
                    <a:pt x="372" y="489"/>
                  </a:lnTo>
                  <a:lnTo>
                    <a:pt x="376" y="487"/>
                  </a:lnTo>
                  <a:lnTo>
                    <a:pt x="384" y="484"/>
                  </a:lnTo>
                  <a:lnTo>
                    <a:pt x="384" y="484"/>
                  </a:lnTo>
                  <a:lnTo>
                    <a:pt x="389" y="480"/>
                  </a:lnTo>
                  <a:lnTo>
                    <a:pt x="395" y="478"/>
                  </a:lnTo>
                  <a:lnTo>
                    <a:pt x="397" y="474"/>
                  </a:lnTo>
                  <a:lnTo>
                    <a:pt x="399" y="471"/>
                  </a:lnTo>
                  <a:lnTo>
                    <a:pt x="399" y="465"/>
                  </a:lnTo>
                  <a:lnTo>
                    <a:pt x="397" y="457"/>
                  </a:lnTo>
                  <a:lnTo>
                    <a:pt x="395" y="450"/>
                  </a:lnTo>
                  <a:lnTo>
                    <a:pt x="395" y="446"/>
                  </a:lnTo>
                  <a:lnTo>
                    <a:pt x="397" y="444"/>
                  </a:lnTo>
                  <a:lnTo>
                    <a:pt x="400" y="441"/>
                  </a:lnTo>
                  <a:lnTo>
                    <a:pt x="404" y="437"/>
                  </a:lnTo>
                  <a:lnTo>
                    <a:pt x="421" y="431"/>
                  </a:lnTo>
                  <a:lnTo>
                    <a:pt x="421" y="431"/>
                  </a:lnTo>
                  <a:lnTo>
                    <a:pt x="430" y="428"/>
                  </a:lnTo>
                  <a:lnTo>
                    <a:pt x="432" y="426"/>
                  </a:lnTo>
                  <a:lnTo>
                    <a:pt x="432" y="422"/>
                  </a:lnTo>
                  <a:lnTo>
                    <a:pt x="430" y="418"/>
                  </a:lnTo>
                  <a:lnTo>
                    <a:pt x="427" y="411"/>
                  </a:lnTo>
                  <a:lnTo>
                    <a:pt x="423" y="405"/>
                  </a:lnTo>
                  <a:lnTo>
                    <a:pt x="421" y="400"/>
                  </a:lnTo>
                  <a:lnTo>
                    <a:pt x="423" y="398"/>
                  </a:lnTo>
                  <a:lnTo>
                    <a:pt x="425" y="394"/>
                  </a:lnTo>
                  <a:lnTo>
                    <a:pt x="436" y="388"/>
                  </a:lnTo>
                  <a:lnTo>
                    <a:pt x="436" y="388"/>
                  </a:lnTo>
                  <a:lnTo>
                    <a:pt x="442" y="388"/>
                  </a:lnTo>
                  <a:lnTo>
                    <a:pt x="453" y="388"/>
                  </a:lnTo>
                  <a:lnTo>
                    <a:pt x="477" y="390"/>
                  </a:lnTo>
                  <a:lnTo>
                    <a:pt x="484" y="388"/>
                  </a:lnTo>
                  <a:lnTo>
                    <a:pt x="486" y="388"/>
                  </a:lnTo>
                  <a:lnTo>
                    <a:pt x="488" y="386"/>
                  </a:lnTo>
                  <a:lnTo>
                    <a:pt x="488" y="386"/>
                  </a:lnTo>
                  <a:lnTo>
                    <a:pt x="484" y="383"/>
                  </a:lnTo>
                  <a:lnTo>
                    <a:pt x="471" y="377"/>
                  </a:lnTo>
                  <a:lnTo>
                    <a:pt x="471" y="377"/>
                  </a:lnTo>
                  <a:lnTo>
                    <a:pt x="460" y="370"/>
                  </a:lnTo>
                  <a:lnTo>
                    <a:pt x="456" y="366"/>
                  </a:lnTo>
                  <a:lnTo>
                    <a:pt x="458" y="362"/>
                  </a:lnTo>
                  <a:lnTo>
                    <a:pt x="462" y="360"/>
                  </a:lnTo>
                  <a:lnTo>
                    <a:pt x="473" y="355"/>
                  </a:lnTo>
                  <a:lnTo>
                    <a:pt x="477" y="349"/>
                  </a:lnTo>
                  <a:lnTo>
                    <a:pt x="477" y="347"/>
                  </a:lnTo>
                  <a:lnTo>
                    <a:pt x="477" y="343"/>
                  </a:lnTo>
                  <a:lnTo>
                    <a:pt x="477" y="343"/>
                  </a:lnTo>
                  <a:lnTo>
                    <a:pt x="475" y="334"/>
                  </a:lnTo>
                  <a:lnTo>
                    <a:pt x="477" y="329"/>
                  </a:lnTo>
                  <a:lnTo>
                    <a:pt x="479" y="325"/>
                  </a:lnTo>
                  <a:lnTo>
                    <a:pt x="481" y="325"/>
                  </a:lnTo>
                  <a:lnTo>
                    <a:pt x="481" y="323"/>
                  </a:lnTo>
                  <a:lnTo>
                    <a:pt x="481" y="319"/>
                  </a:lnTo>
                  <a:lnTo>
                    <a:pt x="466" y="302"/>
                  </a:lnTo>
                  <a:lnTo>
                    <a:pt x="466" y="302"/>
                  </a:lnTo>
                  <a:lnTo>
                    <a:pt x="464" y="297"/>
                  </a:lnTo>
                  <a:lnTo>
                    <a:pt x="466" y="291"/>
                  </a:lnTo>
                  <a:lnTo>
                    <a:pt x="475" y="284"/>
                  </a:lnTo>
                  <a:lnTo>
                    <a:pt x="479" y="278"/>
                  </a:lnTo>
                  <a:lnTo>
                    <a:pt x="481" y="272"/>
                  </a:lnTo>
                  <a:lnTo>
                    <a:pt x="479" y="265"/>
                  </a:lnTo>
                  <a:lnTo>
                    <a:pt x="471" y="256"/>
                  </a:lnTo>
                  <a:lnTo>
                    <a:pt x="471" y="256"/>
                  </a:lnTo>
                  <a:lnTo>
                    <a:pt x="468" y="252"/>
                  </a:lnTo>
                  <a:lnTo>
                    <a:pt x="466" y="248"/>
                  </a:lnTo>
                  <a:lnTo>
                    <a:pt x="468" y="246"/>
                  </a:lnTo>
                  <a:lnTo>
                    <a:pt x="470" y="244"/>
                  </a:lnTo>
                  <a:lnTo>
                    <a:pt x="475" y="243"/>
                  </a:lnTo>
                  <a:lnTo>
                    <a:pt x="483" y="241"/>
                  </a:lnTo>
                  <a:lnTo>
                    <a:pt x="488" y="239"/>
                  </a:lnTo>
                  <a:lnTo>
                    <a:pt x="490" y="239"/>
                  </a:lnTo>
                  <a:lnTo>
                    <a:pt x="490" y="237"/>
                  </a:lnTo>
                  <a:lnTo>
                    <a:pt x="483" y="233"/>
                  </a:lnTo>
                  <a:lnTo>
                    <a:pt x="468" y="226"/>
                  </a:lnTo>
                  <a:lnTo>
                    <a:pt x="468" y="226"/>
                  </a:lnTo>
                  <a:lnTo>
                    <a:pt x="458" y="220"/>
                  </a:lnTo>
                  <a:lnTo>
                    <a:pt x="455" y="215"/>
                  </a:lnTo>
                  <a:lnTo>
                    <a:pt x="455" y="209"/>
                  </a:lnTo>
                  <a:lnTo>
                    <a:pt x="456" y="203"/>
                  </a:lnTo>
                  <a:lnTo>
                    <a:pt x="462" y="198"/>
                  </a:lnTo>
                  <a:lnTo>
                    <a:pt x="468" y="196"/>
                  </a:lnTo>
                  <a:lnTo>
                    <a:pt x="475" y="196"/>
                  </a:lnTo>
                  <a:lnTo>
                    <a:pt x="484" y="200"/>
                  </a:lnTo>
                  <a:lnTo>
                    <a:pt x="484" y="200"/>
                  </a:lnTo>
                  <a:lnTo>
                    <a:pt x="490" y="201"/>
                  </a:lnTo>
                  <a:lnTo>
                    <a:pt x="496" y="203"/>
                  </a:lnTo>
                  <a:lnTo>
                    <a:pt x="501" y="203"/>
                  </a:lnTo>
                  <a:lnTo>
                    <a:pt x="507" y="201"/>
                  </a:lnTo>
                  <a:lnTo>
                    <a:pt x="516" y="196"/>
                  </a:lnTo>
                  <a:lnTo>
                    <a:pt x="524" y="187"/>
                  </a:lnTo>
                  <a:lnTo>
                    <a:pt x="537" y="164"/>
                  </a:lnTo>
                  <a:lnTo>
                    <a:pt x="542" y="155"/>
                  </a:lnTo>
                  <a:lnTo>
                    <a:pt x="550" y="147"/>
                  </a:lnTo>
                  <a:lnTo>
                    <a:pt x="550" y="147"/>
                  </a:lnTo>
                  <a:lnTo>
                    <a:pt x="559" y="140"/>
                  </a:lnTo>
                  <a:lnTo>
                    <a:pt x="559" y="138"/>
                  </a:lnTo>
                  <a:lnTo>
                    <a:pt x="556" y="138"/>
                  </a:lnTo>
                  <a:lnTo>
                    <a:pt x="546" y="134"/>
                  </a:lnTo>
                  <a:lnTo>
                    <a:pt x="541" y="132"/>
                  </a:lnTo>
                  <a:lnTo>
                    <a:pt x="535" y="129"/>
                  </a:lnTo>
                  <a:lnTo>
                    <a:pt x="542" y="130"/>
                  </a:lnTo>
                  <a:lnTo>
                    <a:pt x="542" y="130"/>
                  </a:lnTo>
                  <a:lnTo>
                    <a:pt x="556" y="132"/>
                  </a:lnTo>
                  <a:lnTo>
                    <a:pt x="567" y="132"/>
                  </a:lnTo>
                  <a:lnTo>
                    <a:pt x="567" y="132"/>
                  </a:lnTo>
                  <a:lnTo>
                    <a:pt x="557" y="121"/>
                  </a:lnTo>
                  <a:lnTo>
                    <a:pt x="548" y="112"/>
                  </a:lnTo>
                  <a:lnTo>
                    <a:pt x="542" y="110"/>
                  </a:lnTo>
                  <a:lnTo>
                    <a:pt x="535" y="108"/>
                  </a:lnTo>
                  <a:lnTo>
                    <a:pt x="529" y="108"/>
                  </a:lnTo>
                  <a:lnTo>
                    <a:pt x="522" y="110"/>
                  </a:lnTo>
                  <a:lnTo>
                    <a:pt x="522" y="110"/>
                  </a:lnTo>
                  <a:lnTo>
                    <a:pt x="492" y="121"/>
                  </a:lnTo>
                  <a:lnTo>
                    <a:pt x="484" y="121"/>
                  </a:lnTo>
                  <a:lnTo>
                    <a:pt x="479" y="121"/>
                  </a:lnTo>
                  <a:lnTo>
                    <a:pt x="475" y="115"/>
                  </a:lnTo>
                  <a:lnTo>
                    <a:pt x="471" y="108"/>
                  </a:lnTo>
                  <a:lnTo>
                    <a:pt x="456" y="84"/>
                  </a:lnTo>
                  <a:lnTo>
                    <a:pt x="456" y="84"/>
                  </a:lnTo>
                  <a:lnTo>
                    <a:pt x="453" y="80"/>
                  </a:lnTo>
                  <a:lnTo>
                    <a:pt x="451" y="80"/>
                  </a:lnTo>
                  <a:lnTo>
                    <a:pt x="447" y="80"/>
                  </a:lnTo>
                  <a:lnTo>
                    <a:pt x="443" y="82"/>
                  </a:lnTo>
                  <a:lnTo>
                    <a:pt x="436" y="87"/>
                  </a:lnTo>
                  <a:lnTo>
                    <a:pt x="428" y="97"/>
                  </a:lnTo>
                  <a:lnTo>
                    <a:pt x="419" y="106"/>
                  </a:lnTo>
                  <a:lnTo>
                    <a:pt x="412" y="114"/>
                  </a:lnTo>
                  <a:lnTo>
                    <a:pt x="408" y="115"/>
                  </a:lnTo>
                  <a:lnTo>
                    <a:pt x="402" y="115"/>
                  </a:lnTo>
                  <a:lnTo>
                    <a:pt x="399" y="115"/>
                  </a:lnTo>
                  <a:lnTo>
                    <a:pt x="395" y="114"/>
                  </a:lnTo>
                  <a:lnTo>
                    <a:pt x="395" y="114"/>
                  </a:lnTo>
                  <a:lnTo>
                    <a:pt x="389" y="112"/>
                  </a:lnTo>
                  <a:lnTo>
                    <a:pt x="384" y="112"/>
                  </a:lnTo>
                  <a:lnTo>
                    <a:pt x="372" y="114"/>
                  </a:lnTo>
                  <a:lnTo>
                    <a:pt x="369" y="115"/>
                  </a:lnTo>
                  <a:lnTo>
                    <a:pt x="365" y="114"/>
                  </a:lnTo>
                  <a:lnTo>
                    <a:pt x="361" y="112"/>
                  </a:lnTo>
                  <a:lnTo>
                    <a:pt x="361" y="106"/>
                  </a:lnTo>
                  <a:lnTo>
                    <a:pt x="361" y="106"/>
                  </a:lnTo>
                  <a:lnTo>
                    <a:pt x="359" y="97"/>
                  </a:lnTo>
                  <a:lnTo>
                    <a:pt x="357" y="87"/>
                  </a:lnTo>
                  <a:lnTo>
                    <a:pt x="350" y="69"/>
                  </a:lnTo>
                  <a:lnTo>
                    <a:pt x="342" y="52"/>
                  </a:lnTo>
                  <a:lnTo>
                    <a:pt x="339" y="44"/>
                  </a:lnTo>
                  <a:lnTo>
                    <a:pt x="339" y="35"/>
                  </a:lnTo>
                  <a:lnTo>
                    <a:pt x="339" y="35"/>
                  </a:lnTo>
                  <a:lnTo>
                    <a:pt x="337" y="16"/>
                  </a:lnTo>
                  <a:lnTo>
                    <a:pt x="333" y="5"/>
                  </a:lnTo>
                  <a:lnTo>
                    <a:pt x="329" y="0"/>
                  </a:lnTo>
                  <a:lnTo>
                    <a:pt x="324" y="0"/>
                  </a:lnTo>
                  <a:lnTo>
                    <a:pt x="313" y="2"/>
                  </a:lnTo>
                  <a:lnTo>
                    <a:pt x="307" y="3"/>
                  </a:lnTo>
                  <a:lnTo>
                    <a:pt x="301" y="0"/>
                  </a:lnTo>
                  <a:lnTo>
                    <a:pt x="301" y="0"/>
                  </a:lnTo>
                  <a:lnTo>
                    <a:pt x="288" y="9"/>
                  </a:lnTo>
                  <a:lnTo>
                    <a:pt x="283" y="15"/>
                  </a:lnTo>
                  <a:lnTo>
                    <a:pt x="283" y="20"/>
                  </a:lnTo>
                  <a:lnTo>
                    <a:pt x="283" y="26"/>
                  </a:lnTo>
                  <a:lnTo>
                    <a:pt x="285" y="30"/>
                  </a:lnTo>
                  <a:lnTo>
                    <a:pt x="283" y="31"/>
                  </a:lnTo>
                  <a:lnTo>
                    <a:pt x="279" y="33"/>
                  </a:lnTo>
                  <a:lnTo>
                    <a:pt x="268" y="35"/>
                  </a:lnTo>
                  <a:lnTo>
                    <a:pt x="268" y="35"/>
                  </a:lnTo>
                  <a:lnTo>
                    <a:pt x="264" y="35"/>
                  </a:lnTo>
                  <a:lnTo>
                    <a:pt x="262" y="37"/>
                  </a:lnTo>
                  <a:lnTo>
                    <a:pt x="260" y="41"/>
                  </a:lnTo>
                  <a:lnTo>
                    <a:pt x="258" y="43"/>
                  </a:lnTo>
                  <a:lnTo>
                    <a:pt x="255" y="44"/>
                  </a:lnTo>
                  <a:lnTo>
                    <a:pt x="249" y="48"/>
                  </a:lnTo>
                  <a:lnTo>
                    <a:pt x="242" y="50"/>
                  </a:lnTo>
                  <a:lnTo>
                    <a:pt x="242" y="50"/>
                  </a:lnTo>
                  <a:lnTo>
                    <a:pt x="230" y="54"/>
                  </a:lnTo>
                  <a:lnTo>
                    <a:pt x="223" y="59"/>
                  </a:lnTo>
                  <a:lnTo>
                    <a:pt x="214" y="71"/>
                  </a:lnTo>
                  <a:lnTo>
                    <a:pt x="210" y="74"/>
                  </a:lnTo>
                  <a:lnTo>
                    <a:pt x="206" y="74"/>
                  </a:lnTo>
                  <a:lnTo>
                    <a:pt x="200" y="71"/>
                  </a:lnTo>
                  <a:lnTo>
                    <a:pt x="191" y="61"/>
                  </a:lnTo>
                  <a:lnTo>
                    <a:pt x="191" y="61"/>
                  </a:lnTo>
                  <a:lnTo>
                    <a:pt x="187" y="59"/>
                  </a:lnTo>
                  <a:lnTo>
                    <a:pt x="184" y="58"/>
                  </a:lnTo>
                  <a:lnTo>
                    <a:pt x="182" y="58"/>
                  </a:lnTo>
                  <a:lnTo>
                    <a:pt x="178" y="59"/>
                  </a:lnTo>
                  <a:lnTo>
                    <a:pt x="171" y="65"/>
                  </a:lnTo>
                  <a:lnTo>
                    <a:pt x="163" y="74"/>
                  </a:lnTo>
                  <a:lnTo>
                    <a:pt x="150" y="93"/>
                  </a:lnTo>
                  <a:lnTo>
                    <a:pt x="142" y="101"/>
                  </a:lnTo>
                  <a:lnTo>
                    <a:pt x="139" y="104"/>
                  </a:lnTo>
                  <a:lnTo>
                    <a:pt x="139" y="104"/>
                  </a:lnTo>
                  <a:lnTo>
                    <a:pt x="129" y="108"/>
                  </a:lnTo>
                  <a:lnTo>
                    <a:pt x="128" y="110"/>
                  </a:lnTo>
                  <a:lnTo>
                    <a:pt x="128" y="114"/>
                  </a:lnTo>
                  <a:lnTo>
                    <a:pt x="133" y="125"/>
                  </a:lnTo>
                  <a:lnTo>
                    <a:pt x="135" y="134"/>
                  </a:lnTo>
                  <a:lnTo>
                    <a:pt x="137" y="145"/>
                  </a:lnTo>
                  <a:lnTo>
                    <a:pt x="137" y="145"/>
                  </a:lnTo>
                  <a:lnTo>
                    <a:pt x="139" y="151"/>
                  </a:lnTo>
                  <a:lnTo>
                    <a:pt x="141" y="157"/>
                  </a:lnTo>
                  <a:lnTo>
                    <a:pt x="141" y="164"/>
                  </a:lnTo>
                  <a:lnTo>
                    <a:pt x="139" y="173"/>
                  </a:lnTo>
                  <a:lnTo>
                    <a:pt x="135" y="181"/>
                  </a:lnTo>
                  <a:lnTo>
                    <a:pt x="128" y="190"/>
                  </a:lnTo>
                  <a:lnTo>
                    <a:pt x="116" y="198"/>
                  </a:lnTo>
                  <a:lnTo>
                    <a:pt x="116" y="198"/>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3" name="Line 93">
              <a:extLst>
                <a:ext uri="{FF2B5EF4-FFF2-40B4-BE49-F238E27FC236}">
                  <a16:creationId xmlns:a16="http://schemas.microsoft.com/office/drawing/2014/main" id="{F8B913C8-F3EA-4AA2-9CD4-6D10A96C3F04}"/>
                </a:ext>
              </a:extLst>
            </p:cNvPr>
            <p:cNvSpPr>
              <a:spLocks noChangeShapeType="1"/>
            </p:cNvSpPr>
            <p:nvPr/>
          </p:nvSpPr>
          <p:spPr bwMode="auto">
            <a:xfrm>
              <a:off x="6161579" y="5640144"/>
              <a:ext cx="1817" cy="1816"/>
            </a:xfrm>
            <a:prstGeom prst="line">
              <a:avLst/>
            </a:pr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4" name="Freeform 94">
              <a:extLst>
                <a:ext uri="{FF2B5EF4-FFF2-40B4-BE49-F238E27FC236}">
                  <a16:creationId xmlns:a16="http://schemas.microsoft.com/office/drawing/2014/main" id="{19ABE2BE-5451-40F2-946A-B0DFF881690D}"/>
                </a:ext>
              </a:extLst>
            </p:cNvPr>
            <p:cNvSpPr>
              <a:spLocks/>
            </p:cNvSpPr>
            <p:nvPr/>
          </p:nvSpPr>
          <p:spPr bwMode="auto">
            <a:xfrm>
              <a:off x="6168845" y="5625611"/>
              <a:ext cx="14533" cy="10900"/>
            </a:xfrm>
            <a:custGeom>
              <a:avLst/>
              <a:gdLst/>
              <a:ahLst/>
              <a:cxnLst>
                <a:cxn ang="0">
                  <a:pos x="9" y="0"/>
                </a:cxn>
                <a:cxn ang="0">
                  <a:pos x="9" y="0"/>
                </a:cxn>
                <a:cxn ang="0">
                  <a:pos x="2" y="4"/>
                </a:cxn>
                <a:cxn ang="0">
                  <a:pos x="0" y="7"/>
                </a:cxn>
                <a:cxn ang="0">
                  <a:pos x="2" y="9"/>
                </a:cxn>
                <a:cxn ang="0">
                  <a:pos x="6" y="11"/>
                </a:cxn>
                <a:cxn ang="0">
                  <a:pos x="11" y="11"/>
                </a:cxn>
                <a:cxn ang="0">
                  <a:pos x="15" y="9"/>
                </a:cxn>
                <a:cxn ang="0">
                  <a:pos x="17" y="7"/>
                </a:cxn>
                <a:cxn ang="0">
                  <a:pos x="15" y="2"/>
                </a:cxn>
                <a:cxn ang="0">
                  <a:pos x="15" y="2"/>
                </a:cxn>
                <a:cxn ang="0">
                  <a:pos x="11" y="0"/>
                </a:cxn>
                <a:cxn ang="0">
                  <a:pos x="9" y="0"/>
                </a:cxn>
                <a:cxn ang="0">
                  <a:pos x="9" y="0"/>
                </a:cxn>
              </a:cxnLst>
              <a:rect l="0" t="0" r="r" b="b"/>
              <a:pathLst>
                <a:path w="17" h="11">
                  <a:moveTo>
                    <a:pt x="9" y="0"/>
                  </a:moveTo>
                  <a:lnTo>
                    <a:pt x="9" y="0"/>
                  </a:lnTo>
                  <a:lnTo>
                    <a:pt x="2" y="4"/>
                  </a:lnTo>
                  <a:lnTo>
                    <a:pt x="0" y="7"/>
                  </a:lnTo>
                  <a:lnTo>
                    <a:pt x="2" y="9"/>
                  </a:lnTo>
                  <a:lnTo>
                    <a:pt x="6" y="11"/>
                  </a:lnTo>
                  <a:lnTo>
                    <a:pt x="11" y="11"/>
                  </a:lnTo>
                  <a:lnTo>
                    <a:pt x="15" y="9"/>
                  </a:lnTo>
                  <a:lnTo>
                    <a:pt x="17" y="7"/>
                  </a:lnTo>
                  <a:lnTo>
                    <a:pt x="15" y="2"/>
                  </a:lnTo>
                  <a:lnTo>
                    <a:pt x="15" y="2"/>
                  </a:lnTo>
                  <a:lnTo>
                    <a:pt x="11" y="0"/>
                  </a:lnTo>
                  <a:lnTo>
                    <a:pt x="9" y="0"/>
                  </a:lnTo>
                  <a:lnTo>
                    <a:pt x="9" y="0"/>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5" name="Freeform 95">
              <a:extLst>
                <a:ext uri="{FF2B5EF4-FFF2-40B4-BE49-F238E27FC236}">
                  <a16:creationId xmlns:a16="http://schemas.microsoft.com/office/drawing/2014/main" id="{54D818C9-9B83-4589-BDC5-C8FE2E1010EC}"/>
                </a:ext>
              </a:extLst>
            </p:cNvPr>
            <p:cNvSpPr>
              <a:spLocks/>
            </p:cNvSpPr>
            <p:nvPr/>
          </p:nvSpPr>
          <p:spPr bwMode="auto">
            <a:xfrm>
              <a:off x="6125245" y="5618344"/>
              <a:ext cx="29067" cy="12716"/>
            </a:xfrm>
            <a:custGeom>
              <a:avLst/>
              <a:gdLst/>
              <a:ahLst/>
              <a:cxnLst>
                <a:cxn ang="0">
                  <a:pos x="17" y="15"/>
                </a:cxn>
                <a:cxn ang="0">
                  <a:pos x="17" y="15"/>
                </a:cxn>
                <a:cxn ang="0">
                  <a:pos x="23" y="9"/>
                </a:cxn>
                <a:cxn ang="0">
                  <a:pos x="30" y="3"/>
                </a:cxn>
                <a:cxn ang="0">
                  <a:pos x="32" y="1"/>
                </a:cxn>
                <a:cxn ang="0">
                  <a:pos x="28" y="0"/>
                </a:cxn>
                <a:cxn ang="0">
                  <a:pos x="23" y="0"/>
                </a:cxn>
                <a:cxn ang="0">
                  <a:pos x="12" y="1"/>
                </a:cxn>
                <a:cxn ang="0">
                  <a:pos x="2" y="3"/>
                </a:cxn>
                <a:cxn ang="0">
                  <a:pos x="2" y="3"/>
                </a:cxn>
                <a:cxn ang="0">
                  <a:pos x="0" y="5"/>
                </a:cxn>
                <a:cxn ang="0">
                  <a:pos x="0" y="7"/>
                </a:cxn>
                <a:cxn ang="0">
                  <a:pos x="0" y="9"/>
                </a:cxn>
                <a:cxn ang="0">
                  <a:pos x="4" y="11"/>
                </a:cxn>
                <a:cxn ang="0">
                  <a:pos x="17" y="15"/>
                </a:cxn>
                <a:cxn ang="0">
                  <a:pos x="17" y="15"/>
                </a:cxn>
              </a:cxnLst>
              <a:rect l="0" t="0" r="r" b="b"/>
              <a:pathLst>
                <a:path w="32" h="15">
                  <a:moveTo>
                    <a:pt x="17" y="15"/>
                  </a:moveTo>
                  <a:lnTo>
                    <a:pt x="17" y="15"/>
                  </a:lnTo>
                  <a:lnTo>
                    <a:pt x="23" y="9"/>
                  </a:lnTo>
                  <a:lnTo>
                    <a:pt x="30" y="3"/>
                  </a:lnTo>
                  <a:lnTo>
                    <a:pt x="32" y="1"/>
                  </a:lnTo>
                  <a:lnTo>
                    <a:pt x="28" y="0"/>
                  </a:lnTo>
                  <a:lnTo>
                    <a:pt x="23" y="0"/>
                  </a:lnTo>
                  <a:lnTo>
                    <a:pt x="12" y="1"/>
                  </a:lnTo>
                  <a:lnTo>
                    <a:pt x="2" y="3"/>
                  </a:lnTo>
                  <a:lnTo>
                    <a:pt x="2" y="3"/>
                  </a:lnTo>
                  <a:lnTo>
                    <a:pt x="0" y="5"/>
                  </a:lnTo>
                  <a:lnTo>
                    <a:pt x="0" y="7"/>
                  </a:lnTo>
                  <a:lnTo>
                    <a:pt x="0" y="9"/>
                  </a:lnTo>
                  <a:lnTo>
                    <a:pt x="4" y="11"/>
                  </a:lnTo>
                  <a:lnTo>
                    <a:pt x="17" y="15"/>
                  </a:lnTo>
                  <a:lnTo>
                    <a:pt x="17" y="1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6" name="Freeform 96">
              <a:extLst>
                <a:ext uri="{FF2B5EF4-FFF2-40B4-BE49-F238E27FC236}">
                  <a16:creationId xmlns:a16="http://schemas.microsoft.com/office/drawing/2014/main" id="{45831603-8E29-481D-BEC5-D79E2C50F15D}"/>
                </a:ext>
              </a:extLst>
            </p:cNvPr>
            <p:cNvSpPr>
              <a:spLocks/>
            </p:cNvSpPr>
            <p:nvPr/>
          </p:nvSpPr>
          <p:spPr bwMode="auto">
            <a:xfrm>
              <a:off x="6432261" y="5149645"/>
              <a:ext cx="34517" cy="36333"/>
            </a:xfrm>
            <a:custGeom>
              <a:avLst/>
              <a:gdLst/>
              <a:ahLst/>
              <a:cxnLst>
                <a:cxn ang="0">
                  <a:pos x="0" y="35"/>
                </a:cxn>
                <a:cxn ang="0">
                  <a:pos x="0" y="35"/>
                </a:cxn>
                <a:cxn ang="0">
                  <a:pos x="2" y="37"/>
                </a:cxn>
                <a:cxn ang="0">
                  <a:pos x="3" y="39"/>
                </a:cxn>
                <a:cxn ang="0">
                  <a:pos x="7" y="39"/>
                </a:cxn>
                <a:cxn ang="0">
                  <a:pos x="11" y="39"/>
                </a:cxn>
                <a:cxn ang="0">
                  <a:pos x="17" y="35"/>
                </a:cxn>
                <a:cxn ang="0">
                  <a:pos x="24" y="28"/>
                </a:cxn>
                <a:cxn ang="0">
                  <a:pos x="35" y="13"/>
                </a:cxn>
                <a:cxn ang="0">
                  <a:pos x="37" y="7"/>
                </a:cxn>
                <a:cxn ang="0">
                  <a:pos x="37" y="4"/>
                </a:cxn>
                <a:cxn ang="0">
                  <a:pos x="37" y="4"/>
                </a:cxn>
                <a:cxn ang="0">
                  <a:pos x="30" y="0"/>
                </a:cxn>
                <a:cxn ang="0">
                  <a:pos x="30" y="0"/>
                </a:cxn>
                <a:cxn ang="0">
                  <a:pos x="13" y="17"/>
                </a:cxn>
                <a:cxn ang="0">
                  <a:pos x="5" y="28"/>
                </a:cxn>
                <a:cxn ang="0">
                  <a:pos x="0" y="35"/>
                </a:cxn>
                <a:cxn ang="0">
                  <a:pos x="0" y="35"/>
                </a:cxn>
              </a:cxnLst>
              <a:rect l="0" t="0" r="r" b="b"/>
              <a:pathLst>
                <a:path w="37" h="39">
                  <a:moveTo>
                    <a:pt x="0" y="35"/>
                  </a:moveTo>
                  <a:lnTo>
                    <a:pt x="0" y="35"/>
                  </a:lnTo>
                  <a:lnTo>
                    <a:pt x="2" y="37"/>
                  </a:lnTo>
                  <a:lnTo>
                    <a:pt x="3" y="39"/>
                  </a:lnTo>
                  <a:lnTo>
                    <a:pt x="7" y="39"/>
                  </a:lnTo>
                  <a:lnTo>
                    <a:pt x="11" y="39"/>
                  </a:lnTo>
                  <a:lnTo>
                    <a:pt x="17" y="35"/>
                  </a:lnTo>
                  <a:lnTo>
                    <a:pt x="24" y="28"/>
                  </a:lnTo>
                  <a:lnTo>
                    <a:pt x="35" y="13"/>
                  </a:lnTo>
                  <a:lnTo>
                    <a:pt x="37" y="7"/>
                  </a:lnTo>
                  <a:lnTo>
                    <a:pt x="37" y="4"/>
                  </a:lnTo>
                  <a:lnTo>
                    <a:pt x="37" y="4"/>
                  </a:lnTo>
                  <a:lnTo>
                    <a:pt x="30" y="0"/>
                  </a:lnTo>
                  <a:lnTo>
                    <a:pt x="30" y="0"/>
                  </a:lnTo>
                  <a:lnTo>
                    <a:pt x="13" y="17"/>
                  </a:lnTo>
                  <a:lnTo>
                    <a:pt x="5" y="28"/>
                  </a:lnTo>
                  <a:lnTo>
                    <a:pt x="0" y="35"/>
                  </a:lnTo>
                  <a:lnTo>
                    <a:pt x="0" y="35"/>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7" name="Freeform 97">
              <a:extLst>
                <a:ext uri="{FF2B5EF4-FFF2-40B4-BE49-F238E27FC236}">
                  <a16:creationId xmlns:a16="http://schemas.microsoft.com/office/drawing/2014/main" id="{BCCFB0D8-22ED-47DD-8C24-0C0AA2E0456F}"/>
                </a:ext>
              </a:extLst>
            </p:cNvPr>
            <p:cNvSpPr>
              <a:spLocks/>
            </p:cNvSpPr>
            <p:nvPr/>
          </p:nvSpPr>
          <p:spPr bwMode="auto">
            <a:xfrm>
              <a:off x="6423178" y="5198695"/>
              <a:ext cx="18167" cy="19983"/>
            </a:xfrm>
            <a:custGeom>
              <a:avLst/>
              <a:gdLst/>
              <a:ahLst/>
              <a:cxnLst>
                <a:cxn ang="0">
                  <a:pos x="0" y="17"/>
                </a:cxn>
                <a:cxn ang="0">
                  <a:pos x="0" y="17"/>
                </a:cxn>
                <a:cxn ang="0">
                  <a:pos x="0" y="21"/>
                </a:cxn>
                <a:cxn ang="0">
                  <a:pos x="2" y="22"/>
                </a:cxn>
                <a:cxn ang="0">
                  <a:pos x="4" y="22"/>
                </a:cxn>
                <a:cxn ang="0">
                  <a:pos x="10" y="17"/>
                </a:cxn>
                <a:cxn ang="0">
                  <a:pos x="13" y="13"/>
                </a:cxn>
                <a:cxn ang="0">
                  <a:pos x="13" y="13"/>
                </a:cxn>
                <a:cxn ang="0">
                  <a:pos x="19" y="9"/>
                </a:cxn>
                <a:cxn ang="0">
                  <a:pos x="19" y="9"/>
                </a:cxn>
                <a:cxn ang="0">
                  <a:pos x="19" y="8"/>
                </a:cxn>
                <a:cxn ang="0">
                  <a:pos x="15" y="4"/>
                </a:cxn>
                <a:cxn ang="0">
                  <a:pos x="10" y="0"/>
                </a:cxn>
                <a:cxn ang="0">
                  <a:pos x="10" y="0"/>
                </a:cxn>
                <a:cxn ang="0">
                  <a:pos x="2" y="8"/>
                </a:cxn>
                <a:cxn ang="0">
                  <a:pos x="0" y="11"/>
                </a:cxn>
                <a:cxn ang="0">
                  <a:pos x="0" y="17"/>
                </a:cxn>
                <a:cxn ang="0">
                  <a:pos x="0" y="17"/>
                </a:cxn>
              </a:cxnLst>
              <a:rect l="0" t="0" r="r" b="b"/>
              <a:pathLst>
                <a:path w="19" h="22">
                  <a:moveTo>
                    <a:pt x="0" y="17"/>
                  </a:moveTo>
                  <a:lnTo>
                    <a:pt x="0" y="17"/>
                  </a:lnTo>
                  <a:lnTo>
                    <a:pt x="0" y="21"/>
                  </a:lnTo>
                  <a:lnTo>
                    <a:pt x="2" y="22"/>
                  </a:lnTo>
                  <a:lnTo>
                    <a:pt x="4" y="22"/>
                  </a:lnTo>
                  <a:lnTo>
                    <a:pt x="10" y="17"/>
                  </a:lnTo>
                  <a:lnTo>
                    <a:pt x="13" y="13"/>
                  </a:lnTo>
                  <a:lnTo>
                    <a:pt x="13" y="13"/>
                  </a:lnTo>
                  <a:lnTo>
                    <a:pt x="19" y="9"/>
                  </a:lnTo>
                  <a:lnTo>
                    <a:pt x="19" y="9"/>
                  </a:lnTo>
                  <a:lnTo>
                    <a:pt x="19" y="8"/>
                  </a:lnTo>
                  <a:lnTo>
                    <a:pt x="15" y="4"/>
                  </a:lnTo>
                  <a:lnTo>
                    <a:pt x="10" y="0"/>
                  </a:lnTo>
                  <a:lnTo>
                    <a:pt x="10" y="0"/>
                  </a:lnTo>
                  <a:lnTo>
                    <a:pt x="2" y="8"/>
                  </a:lnTo>
                  <a:lnTo>
                    <a:pt x="0" y="11"/>
                  </a:lnTo>
                  <a:lnTo>
                    <a:pt x="0" y="17"/>
                  </a:lnTo>
                  <a:lnTo>
                    <a:pt x="0" y="17"/>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8" name="Freeform 98">
              <a:extLst>
                <a:ext uri="{FF2B5EF4-FFF2-40B4-BE49-F238E27FC236}">
                  <a16:creationId xmlns:a16="http://schemas.microsoft.com/office/drawing/2014/main" id="{7620673D-85CA-4C84-93D2-44830E7C3879}"/>
                </a:ext>
              </a:extLst>
            </p:cNvPr>
            <p:cNvSpPr>
              <a:spLocks/>
            </p:cNvSpPr>
            <p:nvPr/>
          </p:nvSpPr>
          <p:spPr bwMode="auto">
            <a:xfrm>
              <a:off x="6401378" y="5354928"/>
              <a:ext cx="18167" cy="14533"/>
            </a:xfrm>
            <a:custGeom>
              <a:avLst/>
              <a:gdLst/>
              <a:ahLst/>
              <a:cxnLst>
                <a:cxn ang="0">
                  <a:pos x="21" y="9"/>
                </a:cxn>
                <a:cxn ang="0">
                  <a:pos x="21" y="9"/>
                </a:cxn>
                <a:cxn ang="0">
                  <a:pos x="9" y="2"/>
                </a:cxn>
                <a:cxn ang="0">
                  <a:pos x="2" y="0"/>
                </a:cxn>
                <a:cxn ang="0">
                  <a:pos x="0" y="0"/>
                </a:cxn>
                <a:cxn ang="0">
                  <a:pos x="0" y="2"/>
                </a:cxn>
                <a:cxn ang="0">
                  <a:pos x="0" y="2"/>
                </a:cxn>
                <a:cxn ang="0">
                  <a:pos x="4" y="9"/>
                </a:cxn>
                <a:cxn ang="0">
                  <a:pos x="9" y="15"/>
                </a:cxn>
                <a:cxn ang="0">
                  <a:pos x="13" y="17"/>
                </a:cxn>
                <a:cxn ang="0">
                  <a:pos x="17" y="17"/>
                </a:cxn>
                <a:cxn ang="0">
                  <a:pos x="19" y="15"/>
                </a:cxn>
                <a:cxn ang="0">
                  <a:pos x="21" y="9"/>
                </a:cxn>
                <a:cxn ang="0">
                  <a:pos x="21" y="9"/>
                </a:cxn>
              </a:cxnLst>
              <a:rect l="0" t="0" r="r" b="b"/>
              <a:pathLst>
                <a:path w="21" h="17">
                  <a:moveTo>
                    <a:pt x="21" y="9"/>
                  </a:moveTo>
                  <a:lnTo>
                    <a:pt x="21" y="9"/>
                  </a:lnTo>
                  <a:lnTo>
                    <a:pt x="9" y="2"/>
                  </a:lnTo>
                  <a:lnTo>
                    <a:pt x="2" y="0"/>
                  </a:lnTo>
                  <a:lnTo>
                    <a:pt x="0" y="0"/>
                  </a:lnTo>
                  <a:lnTo>
                    <a:pt x="0" y="2"/>
                  </a:lnTo>
                  <a:lnTo>
                    <a:pt x="0" y="2"/>
                  </a:lnTo>
                  <a:lnTo>
                    <a:pt x="4" y="9"/>
                  </a:lnTo>
                  <a:lnTo>
                    <a:pt x="9" y="15"/>
                  </a:lnTo>
                  <a:lnTo>
                    <a:pt x="13" y="17"/>
                  </a:lnTo>
                  <a:lnTo>
                    <a:pt x="17" y="17"/>
                  </a:lnTo>
                  <a:lnTo>
                    <a:pt x="19" y="15"/>
                  </a:lnTo>
                  <a:lnTo>
                    <a:pt x="21" y="9"/>
                  </a:lnTo>
                  <a:lnTo>
                    <a:pt x="21" y="9"/>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99" name="Freeform 99">
              <a:extLst>
                <a:ext uri="{FF2B5EF4-FFF2-40B4-BE49-F238E27FC236}">
                  <a16:creationId xmlns:a16="http://schemas.microsoft.com/office/drawing/2014/main" id="{7DA341FE-5660-47D8-A95C-2C4EA5ECDC6B}"/>
                </a:ext>
              </a:extLst>
            </p:cNvPr>
            <p:cNvSpPr>
              <a:spLocks/>
            </p:cNvSpPr>
            <p:nvPr/>
          </p:nvSpPr>
          <p:spPr bwMode="auto">
            <a:xfrm>
              <a:off x="6424994" y="5289528"/>
              <a:ext cx="23617" cy="43600"/>
            </a:xfrm>
            <a:custGeom>
              <a:avLst/>
              <a:gdLst/>
              <a:ahLst/>
              <a:cxnLst>
                <a:cxn ang="0">
                  <a:pos x="0" y="4"/>
                </a:cxn>
                <a:cxn ang="0">
                  <a:pos x="0" y="4"/>
                </a:cxn>
                <a:cxn ang="0">
                  <a:pos x="0" y="11"/>
                </a:cxn>
                <a:cxn ang="0">
                  <a:pos x="4" y="17"/>
                </a:cxn>
                <a:cxn ang="0">
                  <a:pos x="6" y="22"/>
                </a:cxn>
                <a:cxn ang="0">
                  <a:pos x="8" y="28"/>
                </a:cxn>
                <a:cxn ang="0">
                  <a:pos x="8" y="28"/>
                </a:cxn>
                <a:cxn ang="0">
                  <a:pos x="6" y="37"/>
                </a:cxn>
                <a:cxn ang="0">
                  <a:pos x="6" y="41"/>
                </a:cxn>
                <a:cxn ang="0">
                  <a:pos x="10" y="45"/>
                </a:cxn>
                <a:cxn ang="0">
                  <a:pos x="10" y="45"/>
                </a:cxn>
                <a:cxn ang="0">
                  <a:pos x="13" y="49"/>
                </a:cxn>
                <a:cxn ang="0">
                  <a:pos x="17" y="47"/>
                </a:cxn>
                <a:cxn ang="0">
                  <a:pos x="21" y="45"/>
                </a:cxn>
                <a:cxn ang="0">
                  <a:pos x="23" y="39"/>
                </a:cxn>
                <a:cxn ang="0">
                  <a:pos x="26" y="28"/>
                </a:cxn>
                <a:cxn ang="0">
                  <a:pos x="26" y="22"/>
                </a:cxn>
                <a:cxn ang="0">
                  <a:pos x="26" y="19"/>
                </a:cxn>
                <a:cxn ang="0">
                  <a:pos x="26" y="19"/>
                </a:cxn>
                <a:cxn ang="0">
                  <a:pos x="19" y="8"/>
                </a:cxn>
                <a:cxn ang="0">
                  <a:pos x="13" y="4"/>
                </a:cxn>
                <a:cxn ang="0">
                  <a:pos x="10" y="0"/>
                </a:cxn>
                <a:cxn ang="0">
                  <a:pos x="10" y="0"/>
                </a:cxn>
                <a:cxn ang="0">
                  <a:pos x="6" y="2"/>
                </a:cxn>
                <a:cxn ang="0">
                  <a:pos x="0" y="4"/>
                </a:cxn>
                <a:cxn ang="0">
                  <a:pos x="0" y="4"/>
                </a:cxn>
              </a:cxnLst>
              <a:rect l="0" t="0" r="r" b="b"/>
              <a:pathLst>
                <a:path w="26" h="49">
                  <a:moveTo>
                    <a:pt x="0" y="4"/>
                  </a:moveTo>
                  <a:lnTo>
                    <a:pt x="0" y="4"/>
                  </a:lnTo>
                  <a:lnTo>
                    <a:pt x="0" y="11"/>
                  </a:lnTo>
                  <a:lnTo>
                    <a:pt x="4" y="17"/>
                  </a:lnTo>
                  <a:lnTo>
                    <a:pt x="6" y="22"/>
                  </a:lnTo>
                  <a:lnTo>
                    <a:pt x="8" y="28"/>
                  </a:lnTo>
                  <a:lnTo>
                    <a:pt x="8" y="28"/>
                  </a:lnTo>
                  <a:lnTo>
                    <a:pt x="6" y="37"/>
                  </a:lnTo>
                  <a:lnTo>
                    <a:pt x="6" y="41"/>
                  </a:lnTo>
                  <a:lnTo>
                    <a:pt x="10" y="45"/>
                  </a:lnTo>
                  <a:lnTo>
                    <a:pt x="10" y="45"/>
                  </a:lnTo>
                  <a:lnTo>
                    <a:pt x="13" y="49"/>
                  </a:lnTo>
                  <a:lnTo>
                    <a:pt x="17" y="47"/>
                  </a:lnTo>
                  <a:lnTo>
                    <a:pt x="21" y="45"/>
                  </a:lnTo>
                  <a:lnTo>
                    <a:pt x="23" y="39"/>
                  </a:lnTo>
                  <a:lnTo>
                    <a:pt x="26" y="28"/>
                  </a:lnTo>
                  <a:lnTo>
                    <a:pt x="26" y="22"/>
                  </a:lnTo>
                  <a:lnTo>
                    <a:pt x="26" y="19"/>
                  </a:lnTo>
                  <a:lnTo>
                    <a:pt x="26" y="19"/>
                  </a:lnTo>
                  <a:lnTo>
                    <a:pt x="19" y="8"/>
                  </a:lnTo>
                  <a:lnTo>
                    <a:pt x="13" y="4"/>
                  </a:lnTo>
                  <a:lnTo>
                    <a:pt x="10" y="0"/>
                  </a:lnTo>
                  <a:lnTo>
                    <a:pt x="10" y="0"/>
                  </a:lnTo>
                  <a:lnTo>
                    <a:pt x="6" y="2"/>
                  </a:lnTo>
                  <a:lnTo>
                    <a:pt x="0" y="4"/>
                  </a:lnTo>
                  <a:lnTo>
                    <a:pt x="0" y="4"/>
                  </a:lnTo>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0" name="Freeform 100">
              <a:extLst>
                <a:ext uri="{FF2B5EF4-FFF2-40B4-BE49-F238E27FC236}">
                  <a16:creationId xmlns:a16="http://schemas.microsoft.com/office/drawing/2014/main" id="{3D6E10EE-AD3D-469A-AC42-6567CEEE50F1}"/>
                </a:ext>
              </a:extLst>
            </p:cNvPr>
            <p:cNvSpPr>
              <a:spLocks/>
            </p:cNvSpPr>
            <p:nvPr/>
          </p:nvSpPr>
          <p:spPr bwMode="auto">
            <a:xfrm>
              <a:off x="6188828" y="5554760"/>
              <a:ext cx="14533" cy="29067"/>
            </a:xfrm>
            <a:custGeom>
              <a:avLst/>
              <a:gdLst/>
              <a:ahLst/>
              <a:cxnLst>
                <a:cxn ang="0">
                  <a:pos x="8" y="19"/>
                </a:cxn>
                <a:cxn ang="0">
                  <a:pos x="8" y="19"/>
                </a:cxn>
                <a:cxn ang="0">
                  <a:pos x="2" y="23"/>
                </a:cxn>
                <a:cxn ang="0">
                  <a:pos x="0" y="27"/>
                </a:cxn>
                <a:cxn ang="0">
                  <a:pos x="0" y="28"/>
                </a:cxn>
                <a:cxn ang="0">
                  <a:pos x="0" y="30"/>
                </a:cxn>
                <a:cxn ang="0">
                  <a:pos x="0" y="30"/>
                </a:cxn>
                <a:cxn ang="0">
                  <a:pos x="4" y="30"/>
                </a:cxn>
                <a:cxn ang="0">
                  <a:pos x="6" y="32"/>
                </a:cxn>
                <a:cxn ang="0">
                  <a:pos x="10" y="28"/>
                </a:cxn>
                <a:cxn ang="0">
                  <a:pos x="14" y="23"/>
                </a:cxn>
                <a:cxn ang="0">
                  <a:pos x="15" y="17"/>
                </a:cxn>
                <a:cxn ang="0">
                  <a:pos x="15" y="10"/>
                </a:cxn>
                <a:cxn ang="0">
                  <a:pos x="15" y="4"/>
                </a:cxn>
                <a:cxn ang="0">
                  <a:pos x="14" y="0"/>
                </a:cxn>
                <a:cxn ang="0">
                  <a:pos x="10" y="2"/>
                </a:cxn>
                <a:cxn ang="0">
                  <a:pos x="10" y="2"/>
                </a:cxn>
                <a:cxn ang="0">
                  <a:pos x="10" y="6"/>
                </a:cxn>
                <a:cxn ang="0">
                  <a:pos x="10" y="10"/>
                </a:cxn>
                <a:cxn ang="0">
                  <a:pos x="8" y="15"/>
                </a:cxn>
                <a:cxn ang="0">
                  <a:pos x="8" y="19"/>
                </a:cxn>
                <a:cxn ang="0">
                  <a:pos x="8" y="19"/>
                </a:cxn>
              </a:cxnLst>
              <a:rect l="0" t="0" r="r" b="b"/>
              <a:pathLst>
                <a:path w="15" h="32">
                  <a:moveTo>
                    <a:pt x="8" y="19"/>
                  </a:moveTo>
                  <a:lnTo>
                    <a:pt x="8" y="19"/>
                  </a:lnTo>
                  <a:lnTo>
                    <a:pt x="2" y="23"/>
                  </a:lnTo>
                  <a:lnTo>
                    <a:pt x="0" y="27"/>
                  </a:lnTo>
                  <a:lnTo>
                    <a:pt x="0" y="28"/>
                  </a:lnTo>
                  <a:lnTo>
                    <a:pt x="0" y="30"/>
                  </a:lnTo>
                  <a:lnTo>
                    <a:pt x="0" y="30"/>
                  </a:lnTo>
                  <a:lnTo>
                    <a:pt x="4" y="30"/>
                  </a:lnTo>
                  <a:lnTo>
                    <a:pt x="6" y="32"/>
                  </a:lnTo>
                  <a:lnTo>
                    <a:pt x="10" y="28"/>
                  </a:lnTo>
                  <a:lnTo>
                    <a:pt x="14" y="23"/>
                  </a:lnTo>
                  <a:lnTo>
                    <a:pt x="15" y="17"/>
                  </a:lnTo>
                  <a:lnTo>
                    <a:pt x="15" y="10"/>
                  </a:lnTo>
                  <a:lnTo>
                    <a:pt x="15" y="4"/>
                  </a:lnTo>
                  <a:lnTo>
                    <a:pt x="14" y="0"/>
                  </a:lnTo>
                  <a:lnTo>
                    <a:pt x="10" y="2"/>
                  </a:lnTo>
                  <a:lnTo>
                    <a:pt x="10" y="2"/>
                  </a:lnTo>
                  <a:lnTo>
                    <a:pt x="10" y="6"/>
                  </a:lnTo>
                  <a:lnTo>
                    <a:pt x="10" y="10"/>
                  </a:lnTo>
                  <a:lnTo>
                    <a:pt x="8" y="15"/>
                  </a:lnTo>
                  <a:lnTo>
                    <a:pt x="8" y="19"/>
                  </a:lnTo>
                  <a:lnTo>
                    <a:pt x="8" y="19"/>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1" name="Freeform 101">
              <a:extLst>
                <a:ext uri="{FF2B5EF4-FFF2-40B4-BE49-F238E27FC236}">
                  <a16:creationId xmlns:a16="http://schemas.microsoft.com/office/drawing/2014/main" id="{7763E767-54CF-4E40-B8C2-9598056DE1B7}"/>
                </a:ext>
              </a:extLst>
            </p:cNvPr>
            <p:cNvSpPr>
              <a:spLocks/>
            </p:cNvSpPr>
            <p:nvPr/>
          </p:nvSpPr>
          <p:spPr bwMode="auto">
            <a:xfrm>
              <a:off x="5342263" y="6052526"/>
              <a:ext cx="21800" cy="12716"/>
            </a:xfrm>
            <a:custGeom>
              <a:avLst/>
              <a:gdLst/>
              <a:ahLst/>
              <a:cxnLst>
                <a:cxn ang="0">
                  <a:pos x="19" y="0"/>
                </a:cxn>
                <a:cxn ang="0">
                  <a:pos x="19" y="0"/>
                </a:cxn>
                <a:cxn ang="0">
                  <a:pos x="17" y="4"/>
                </a:cxn>
                <a:cxn ang="0">
                  <a:pos x="15" y="6"/>
                </a:cxn>
                <a:cxn ang="0">
                  <a:pos x="9" y="6"/>
                </a:cxn>
                <a:cxn ang="0">
                  <a:pos x="4" y="7"/>
                </a:cxn>
                <a:cxn ang="0">
                  <a:pos x="0" y="9"/>
                </a:cxn>
                <a:cxn ang="0">
                  <a:pos x="0" y="11"/>
                </a:cxn>
                <a:cxn ang="0">
                  <a:pos x="0" y="11"/>
                </a:cxn>
                <a:cxn ang="0">
                  <a:pos x="7" y="15"/>
                </a:cxn>
                <a:cxn ang="0">
                  <a:pos x="15" y="15"/>
                </a:cxn>
                <a:cxn ang="0">
                  <a:pos x="19" y="13"/>
                </a:cxn>
                <a:cxn ang="0">
                  <a:pos x="22" y="13"/>
                </a:cxn>
                <a:cxn ang="0">
                  <a:pos x="24" y="9"/>
                </a:cxn>
                <a:cxn ang="0">
                  <a:pos x="22" y="6"/>
                </a:cxn>
                <a:cxn ang="0">
                  <a:pos x="19" y="0"/>
                </a:cxn>
                <a:cxn ang="0">
                  <a:pos x="19" y="0"/>
                </a:cxn>
              </a:cxnLst>
              <a:rect l="0" t="0" r="r" b="b"/>
              <a:pathLst>
                <a:path w="24" h="15">
                  <a:moveTo>
                    <a:pt x="19" y="0"/>
                  </a:moveTo>
                  <a:lnTo>
                    <a:pt x="19" y="0"/>
                  </a:lnTo>
                  <a:lnTo>
                    <a:pt x="17" y="4"/>
                  </a:lnTo>
                  <a:lnTo>
                    <a:pt x="15" y="6"/>
                  </a:lnTo>
                  <a:lnTo>
                    <a:pt x="9" y="6"/>
                  </a:lnTo>
                  <a:lnTo>
                    <a:pt x="4" y="7"/>
                  </a:lnTo>
                  <a:lnTo>
                    <a:pt x="0" y="9"/>
                  </a:lnTo>
                  <a:lnTo>
                    <a:pt x="0" y="11"/>
                  </a:lnTo>
                  <a:lnTo>
                    <a:pt x="0" y="11"/>
                  </a:lnTo>
                  <a:lnTo>
                    <a:pt x="7" y="15"/>
                  </a:lnTo>
                  <a:lnTo>
                    <a:pt x="15" y="15"/>
                  </a:lnTo>
                  <a:lnTo>
                    <a:pt x="19" y="13"/>
                  </a:lnTo>
                  <a:lnTo>
                    <a:pt x="22" y="13"/>
                  </a:lnTo>
                  <a:lnTo>
                    <a:pt x="24" y="9"/>
                  </a:lnTo>
                  <a:lnTo>
                    <a:pt x="22" y="6"/>
                  </a:lnTo>
                  <a:lnTo>
                    <a:pt x="19" y="0"/>
                  </a:lnTo>
                  <a:lnTo>
                    <a:pt x="19" y="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2" name="Freeform 102">
              <a:extLst>
                <a:ext uri="{FF2B5EF4-FFF2-40B4-BE49-F238E27FC236}">
                  <a16:creationId xmlns:a16="http://schemas.microsoft.com/office/drawing/2014/main" id="{7C0BA9B8-B43B-4C16-A9B5-D29572A30B53}"/>
                </a:ext>
              </a:extLst>
            </p:cNvPr>
            <p:cNvSpPr>
              <a:spLocks/>
            </p:cNvSpPr>
            <p:nvPr/>
          </p:nvSpPr>
          <p:spPr bwMode="auto">
            <a:xfrm>
              <a:off x="5322281" y="5952610"/>
              <a:ext cx="32700" cy="45416"/>
            </a:xfrm>
            <a:custGeom>
              <a:avLst/>
              <a:gdLst/>
              <a:ahLst/>
              <a:cxnLst>
                <a:cxn ang="0">
                  <a:pos x="19" y="31"/>
                </a:cxn>
                <a:cxn ang="0">
                  <a:pos x="19" y="31"/>
                </a:cxn>
                <a:cxn ang="0">
                  <a:pos x="19" y="37"/>
                </a:cxn>
                <a:cxn ang="0">
                  <a:pos x="23" y="41"/>
                </a:cxn>
                <a:cxn ang="0">
                  <a:pos x="29" y="50"/>
                </a:cxn>
                <a:cxn ang="0">
                  <a:pos x="29" y="50"/>
                </a:cxn>
                <a:cxn ang="0">
                  <a:pos x="32" y="46"/>
                </a:cxn>
                <a:cxn ang="0">
                  <a:pos x="34" y="43"/>
                </a:cxn>
                <a:cxn ang="0">
                  <a:pos x="34" y="41"/>
                </a:cxn>
                <a:cxn ang="0">
                  <a:pos x="32" y="37"/>
                </a:cxn>
                <a:cxn ang="0">
                  <a:pos x="27" y="30"/>
                </a:cxn>
                <a:cxn ang="0">
                  <a:pos x="27" y="24"/>
                </a:cxn>
                <a:cxn ang="0">
                  <a:pos x="27" y="20"/>
                </a:cxn>
                <a:cxn ang="0">
                  <a:pos x="27" y="20"/>
                </a:cxn>
                <a:cxn ang="0">
                  <a:pos x="27" y="16"/>
                </a:cxn>
                <a:cxn ang="0">
                  <a:pos x="30" y="15"/>
                </a:cxn>
                <a:cxn ang="0">
                  <a:pos x="34" y="11"/>
                </a:cxn>
                <a:cxn ang="0">
                  <a:pos x="36" y="11"/>
                </a:cxn>
                <a:cxn ang="0">
                  <a:pos x="38" y="9"/>
                </a:cxn>
                <a:cxn ang="0">
                  <a:pos x="38" y="5"/>
                </a:cxn>
                <a:cxn ang="0">
                  <a:pos x="36" y="2"/>
                </a:cxn>
                <a:cxn ang="0">
                  <a:pos x="36" y="2"/>
                </a:cxn>
                <a:cxn ang="0">
                  <a:pos x="34" y="0"/>
                </a:cxn>
                <a:cxn ang="0">
                  <a:pos x="32" y="2"/>
                </a:cxn>
                <a:cxn ang="0">
                  <a:pos x="32" y="2"/>
                </a:cxn>
                <a:cxn ang="0">
                  <a:pos x="27" y="5"/>
                </a:cxn>
                <a:cxn ang="0">
                  <a:pos x="23" y="9"/>
                </a:cxn>
                <a:cxn ang="0">
                  <a:pos x="17" y="13"/>
                </a:cxn>
                <a:cxn ang="0">
                  <a:pos x="14" y="15"/>
                </a:cxn>
                <a:cxn ang="0">
                  <a:pos x="14" y="15"/>
                </a:cxn>
                <a:cxn ang="0">
                  <a:pos x="10" y="16"/>
                </a:cxn>
                <a:cxn ang="0">
                  <a:pos x="8" y="16"/>
                </a:cxn>
                <a:cxn ang="0">
                  <a:pos x="4" y="16"/>
                </a:cxn>
                <a:cxn ang="0">
                  <a:pos x="0" y="20"/>
                </a:cxn>
                <a:cxn ang="0">
                  <a:pos x="0" y="20"/>
                </a:cxn>
                <a:cxn ang="0">
                  <a:pos x="4" y="22"/>
                </a:cxn>
                <a:cxn ang="0">
                  <a:pos x="6" y="26"/>
                </a:cxn>
                <a:cxn ang="0">
                  <a:pos x="12" y="28"/>
                </a:cxn>
                <a:cxn ang="0">
                  <a:pos x="17" y="30"/>
                </a:cxn>
                <a:cxn ang="0">
                  <a:pos x="19" y="30"/>
                </a:cxn>
                <a:cxn ang="0">
                  <a:pos x="19" y="31"/>
                </a:cxn>
                <a:cxn ang="0">
                  <a:pos x="19" y="31"/>
                </a:cxn>
              </a:cxnLst>
              <a:rect l="0" t="0" r="r" b="b"/>
              <a:pathLst>
                <a:path w="38" h="50">
                  <a:moveTo>
                    <a:pt x="19" y="31"/>
                  </a:moveTo>
                  <a:lnTo>
                    <a:pt x="19" y="31"/>
                  </a:lnTo>
                  <a:lnTo>
                    <a:pt x="19" y="37"/>
                  </a:lnTo>
                  <a:lnTo>
                    <a:pt x="23" y="41"/>
                  </a:lnTo>
                  <a:lnTo>
                    <a:pt x="29" y="50"/>
                  </a:lnTo>
                  <a:lnTo>
                    <a:pt x="29" y="50"/>
                  </a:lnTo>
                  <a:lnTo>
                    <a:pt x="32" y="46"/>
                  </a:lnTo>
                  <a:lnTo>
                    <a:pt x="34" y="43"/>
                  </a:lnTo>
                  <a:lnTo>
                    <a:pt x="34" y="41"/>
                  </a:lnTo>
                  <a:lnTo>
                    <a:pt x="32" y="37"/>
                  </a:lnTo>
                  <a:lnTo>
                    <a:pt x="27" y="30"/>
                  </a:lnTo>
                  <a:lnTo>
                    <a:pt x="27" y="24"/>
                  </a:lnTo>
                  <a:lnTo>
                    <a:pt x="27" y="20"/>
                  </a:lnTo>
                  <a:lnTo>
                    <a:pt x="27" y="20"/>
                  </a:lnTo>
                  <a:lnTo>
                    <a:pt x="27" y="16"/>
                  </a:lnTo>
                  <a:lnTo>
                    <a:pt x="30" y="15"/>
                  </a:lnTo>
                  <a:lnTo>
                    <a:pt x="34" y="11"/>
                  </a:lnTo>
                  <a:lnTo>
                    <a:pt x="36" y="11"/>
                  </a:lnTo>
                  <a:lnTo>
                    <a:pt x="38" y="9"/>
                  </a:lnTo>
                  <a:lnTo>
                    <a:pt x="38" y="5"/>
                  </a:lnTo>
                  <a:lnTo>
                    <a:pt x="36" y="2"/>
                  </a:lnTo>
                  <a:lnTo>
                    <a:pt x="36" y="2"/>
                  </a:lnTo>
                  <a:lnTo>
                    <a:pt x="34" y="0"/>
                  </a:lnTo>
                  <a:lnTo>
                    <a:pt x="32" y="2"/>
                  </a:lnTo>
                  <a:lnTo>
                    <a:pt x="32" y="2"/>
                  </a:lnTo>
                  <a:lnTo>
                    <a:pt x="27" y="5"/>
                  </a:lnTo>
                  <a:lnTo>
                    <a:pt x="23" y="9"/>
                  </a:lnTo>
                  <a:lnTo>
                    <a:pt x="17" y="13"/>
                  </a:lnTo>
                  <a:lnTo>
                    <a:pt x="14" y="15"/>
                  </a:lnTo>
                  <a:lnTo>
                    <a:pt x="14" y="15"/>
                  </a:lnTo>
                  <a:lnTo>
                    <a:pt x="10" y="16"/>
                  </a:lnTo>
                  <a:lnTo>
                    <a:pt x="8" y="16"/>
                  </a:lnTo>
                  <a:lnTo>
                    <a:pt x="4" y="16"/>
                  </a:lnTo>
                  <a:lnTo>
                    <a:pt x="0" y="20"/>
                  </a:lnTo>
                  <a:lnTo>
                    <a:pt x="0" y="20"/>
                  </a:lnTo>
                  <a:lnTo>
                    <a:pt x="4" y="22"/>
                  </a:lnTo>
                  <a:lnTo>
                    <a:pt x="6" y="26"/>
                  </a:lnTo>
                  <a:lnTo>
                    <a:pt x="12" y="28"/>
                  </a:lnTo>
                  <a:lnTo>
                    <a:pt x="17" y="30"/>
                  </a:lnTo>
                  <a:lnTo>
                    <a:pt x="19" y="30"/>
                  </a:lnTo>
                  <a:lnTo>
                    <a:pt x="19" y="31"/>
                  </a:lnTo>
                  <a:lnTo>
                    <a:pt x="19" y="31"/>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3" name="Freeform 104">
              <a:extLst>
                <a:ext uri="{FF2B5EF4-FFF2-40B4-BE49-F238E27FC236}">
                  <a16:creationId xmlns:a16="http://schemas.microsoft.com/office/drawing/2014/main" id="{D2B88835-48D9-4FD6-8D38-D393D9274020}"/>
                </a:ext>
              </a:extLst>
            </p:cNvPr>
            <p:cNvSpPr>
              <a:spLocks/>
            </p:cNvSpPr>
            <p:nvPr/>
          </p:nvSpPr>
          <p:spPr bwMode="auto">
            <a:xfrm>
              <a:off x="6168845" y="5572927"/>
              <a:ext cx="12717" cy="23616"/>
            </a:xfrm>
            <a:custGeom>
              <a:avLst/>
              <a:gdLst/>
              <a:ahLst/>
              <a:cxnLst>
                <a:cxn ang="0">
                  <a:pos x="8" y="4"/>
                </a:cxn>
                <a:cxn ang="0">
                  <a:pos x="8" y="4"/>
                </a:cxn>
                <a:cxn ang="0">
                  <a:pos x="2" y="7"/>
                </a:cxn>
                <a:cxn ang="0">
                  <a:pos x="0" y="13"/>
                </a:cxn>
                <a:cxn ang="0">
                  <a:pos x="2" y="19"/>
                </a:cxn>
                <a:cxn ang="0">
                  <a:pos x="6" y="22"/>
                </a:cxn>
                <a:cxn ang="0">
                  <a:pos x="9" y="24"/>
                </a:cxn>
                <a:cxn ang="0">
                  <a:pos x="11" y="22"/>
                </a:cxn>
                <a:cxn ang="0">
                  <a:pos x="13" y="17"/>
                </a:cxn>
                <a:cxn ang="0">
                  <a:pos x="13" y="7"/>
                </a:cxn>
                <a:cxn ang="0">
                  <a:pos x="13" y="7"/>
                </a:cxn>
                <a:cxn ang="0">
                  <a:pos x="13" y="2"/>
                </a:cxn>
                <a:cxn ang="0">
                  <a:pos x="11" y="0"/>
                </a:cxn>
                <a:cxn ang="0">
                  <a:pos x="8" y="4"/>
                </a:cxn>
                <a:cxn ang="0">
                  <a:pos x="8" y="4"/>
                </a:cxn>
              </a:cxnLst>
              <a:rect l="0" t="0" r="r" b="b"/>
              <a:pathLst>
                <a:path w="13" h="24">
                  <a:moveTo>
                    <a:pt x="8" y="4"/>
                  </a:moveTo>
                  <a:lnTo>
                    <a:pt x="8" y="4"/>
                  </a:lnTo>
                  <a:lnTo>
                    <a:pt x="2" y="7"/>
                  </a:lnTo>
                  <a:lnTo>
                    <a:pt x="0" y="13"/>
                  </a:lnTo>
                  <a:lnTo>
                    <a:pt x="2" y="19"/>
                  </a:lnTo>
                  <a:lnTo>
                    <a:pt x="6" y="22"/>
                  </a:lnTo>
                  <a:lnTo>
                    <a:pt x="9" y="24"/>
                  </a:lnTo>
                  <a:lnTo>
                    <a:pt x="11" y="22"/>
                  </a:lnTo>
                  <a:lnTo>
                    <a:pt x="13" y="17"/>
                  </a:lnTo>
                  <a:lnTo>
                    <a:pt x="13" y="7"/>
                  </a:lnTo>
                  <a:lnTo>
                    <a:pt x="13" y="7"/>
                  </a:lnTo>
                  <a:lnTo>
                    <a:pt x="13" y="2"/>
                  </a:lnTo>
                  <a:lnTo>
                    <a:pt x="11" y="0"/>
                  </a:lnTo>
                  <a:lnTo>
                    <a:pt x="8" y="4"/>
                  </a:lnTo>
                  <a:lnTo>
                    <a:pt x="8" y="4"/>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4" name="Freeform 105">
              <a:extLst>
                <a:ext uri="{FF2B5EF4-FFF2-40B4-BE49-F238E27FC236}">
                  <a16:creationId xmlns:a16="http://schemas.microsoft.com/office/drawing/2014/main" id="{FB72F495-C87D-4F7D-8EC4-D9708B5A4985}"/>
                </a:ext>
              </a:extLst>
            </p:cNvPr>
            <p:cNvSpPr>
              <a:spLocks noEditPoints="1"/>
            </p:cNvSpPr>
            <p:nvPr/>
          </p:nvSpPr>
          <p:spPr bwMode="auto">
            <a:xfrm>
              <a:off x="5596596" y="5805460"/>
              <a:ext cx="148966" cy="92649"/>
            </a:xfrm>
            <a:custGeom>
              <a:avLst/>
              <a:gdLst/>
              <a:ahLst/>
              <a:cxnLst>
                <a:cxn ang="0">
                  <a:pos x="84" y="39"/>
                </a:cxn>
                <a:cxn ang="0">
                  <a:pos x="75" y="49"/>
                </a:cxn>
                <a:cxn ang="0">
                  <a:pos x="75" y="52"/>
                </a:cxn>
                <a:cxn ang="0">
                  <a:pos x="86" y="54"/>
                </a:cxn>
                <a:cxn ang="0">
                  <a:pos x="92" y="45"/>
                </a:cxn>
                <a:cxn ang="0">
                  <a:pos x="90" y="36"/>
                </a:cxn>
                <a:cxn ang="0">
                  <a:pos x="88" y="34"/>
                </a:cxn>
                <a:cxn ang="0">
                  <a:pos x="86" y="36"/>
                </a:cxn>
                <a:cxn ang="0">
                  <a:pos x="84" y="39"/>
                </a:cxn>
                <a:cxn ang="0">
                  <a:pos x="101" y="26"/>
                </a:cxn>
                <a:cxn ang="0">
                  <a:pos x="96" y="30"/>
                </a:cxn>
                <a:cxn ang="0">
                  <a:pos x="101" y="32"/>
                </a:cxn>
                <a:cxn ang="0">
                  <a:pos x="114" y="32"/>
                </a:cxn>
                <a:cxn ang="0">
                  <a:pos x="116" y="30"/>
                </a:cxn>
                <a:cxn ang="0">
                  <a:pos x="114" y="26"/>
                </a:cxn>
                <a:cxn ang="0">
                  <a:pos x="101" y="26"/>
                </a:cxn>
                <a:cxn ang="0">
                  <a:pos x="165" y="41"/>
                </a:cxn>
                <a:cxn ang="0">
                  <a:pos x="163" y="36"/>
                </a:cxn>
                <a:cxn ang="0">
                  <a:pos x="142" y="11"/>
                </a:cxn>
                <a:cxn ang="0">
                  <a:pos x="131" y="0"/>
                </a:cxn>
                <a:cxn ang="0">
                  <a:pos x="124" y="6"/>
                </a:cxn>
                <a:cxn ang="0">
                  <a:pos x="129" y="13"/>
                </a:cxn>
                <a:cxn ang="0">
                  <a:pos x="137" y="15"/>
                </a:cxn>
                <a:cxn ang="0">
                  <a:pos x="140" y="19"/>
                </a:cxn>
                <a:cxn ang="0">
                  <a:pos x="146" y="30"/>
                </a:cxn>
                <a:cxn ang="0">
                  <a:pos x="150" y="45"/>
                </a:cxn>
                <a:cxn ang="0">
                  <a:pos x="157" y="45"/>
                </a:cxn>
                <a:cxn ang="0">
                  <a:pos x="165" y="41"/>
                </a:cxn>
                <a:cxn ang="0">
                  <a:pos x="28" y="99"/>
                </a:cxn>
                <a:cxn ang="0">
                  <a:pos x="30" y="103"/>
                </a:cxn>
                <a:cxn ang="0">
                  <a:pos x="39" y="80"/>
                </a:cxn>
                <a:cxn ang="0">
                  <a:pos x="38" y="73"/>
                </a:cxn>
                <a:cxn ang="0">
                  <a:pos x="30" y="75"/>
                </a:cxn>
                <a:cxn ang="0">
                  <a:pos x="25" y="77"/>
                </a:cxn>
                <a:cxn ang="0">
                  <a:pos x="19" y="82"/>
                </a:cxn>
                <a:cxn ang="0">
                  <a:pos x="8" y="82"/>
                </a:cxn>
                <a:cxn ang="0">
                  <a:pos x="2" y="86"/>
                </a:cxn>
                <a:cxn ang="0">
                  <a:pos x="0" y="92"/>
                </a:cxn>
                <a:cxn ang="0">
                  <a:pos x="8" y="95"/>
                </a:cxn>
                <a:cxn ang="0">
                  <a:pos x="21" y="94"/>
                </a:cxn>
                <a:cxn ang="0">
                  <a:pos x="28" y="99"/>
                </a:cxn>
              </a:cxnLst>
              <a:rect l="0" t="0" r="r" b="b"/>
              <a:pathLst>
                <a:path w="165" h="103">
                  <a:moveTo>
                    <a:pt x="84" y="39"/>
                  </a:moveTo>
                  <a:lnTo>
                    <a:pt x="84" y="39"/>
                  </a:lnTo>
                  <a:lnTo>
                    <a:pt x="79" y="45"/>
                  </a:lnTo>
                  <a:lnTo>
                    <a:pt x="75" y="49"/>
                  </a:lnTo>
                  <a:lnTo>
                    <a:pt x="73" y="52"/>
                  </a:lnTo>
                  <a:lnTo>
                    <a:pt x="75" y="52"/>
                  </a:lnTo>
                  <a:lnTo>
                    <a:pt x="79" y="54"/>
                  </a:lnTo>
                  <a:lnTo>
                    <a:pt x="86" y="54"/>
                  </a:lnTo>
                  <a:lnTo>
                    <a:pt x="86" y="54"/>
                  </a:lnTo>
                  <a:lnTo>
                    <a:pt x="92" y="45"/>
                  </a:lnTo>
                  <a:lnTo>
                    <a:pt x="92" y="39"/>
                  </a:lnTo>
                  <a:lnTo>
                    <a:pt x="90" y="36"/>
                  </a:lnTo>
                  <a:lnTo>
                    <a:pt x="88" y="34"/>
                  </a:lnTo>
                  <a:lnTo>
                    <a:pt x="88" y="34"/>
                  </a:lnTo>
                  <a:lnTo>
                    <a:pt x="86" y="36"/>
                  </a:lnTo>
                  <a:lnTo>
                    <a:pt x="86" y="36"/>
                  </a:lnTo>
                  <a:lnTo>
                    <a:pt x="84" y="39"/>
                  </a:lnTo>
                  <a:lnTo>
                    <a:pt x="84" y="39"/>
                  </a:lnTo>
                  <a:close/>
                  <a:moveTo>
                    <a:pt x="101" y="26"/>
                  </a:moveTo>
                  <a:lnTo>
                    <a:pt x="101" y="26"/>
                  </a:lnTo>
                  <a:lnTo>
                    <a:pt x="97" y="28"/>
                  </a:lnTo>
                  <a:lnTo>
                    <a:pt x="96" y="30"/>
                  </a:lnTo>
                  <a:lnTo>
                    <a:pt x="97" y="30"/>
                  </a:lnTo>
                  <a:lnTo>
                    <a:pt x="101" y="32"/>
                  </a:lnTo>
                  <a:lnTo>
                    <a:pt x="109" y="34"/>
                  </a:lnTo>
                  <a:lnTo>
                    <a:pt x="114" y="32"/>
                  </a:lnTo>
                  <a:lnTo>
                    <a:pt x="114" y="32"/>
                  </a:lnTo>
                  <a:lnTo>
                    <a:pt x="116" y="30"/>
                  </a:lnTo>
                  <a:lnTo>
                    <a:pt x="116" y="26"/>
                  </a:lnTo>
                  <a:lnTo>
                    <a:pt x="114" y="26"/>
                  </a:lnTo>
                  <a:lnTo>
                    <a:pt x="111" y="24"/>
                  </a:lnTo>
                  <a:lnTo>
                    <a:pt x="101" y="26"/>
                  </a:lnTo>
                  <a:lnTo>
                    <a:pt x="101" y="26"/>
                  </a:lnTo>
                  <a:close/>
                  <a:moveTo>
                    <a:pt x="165" y="41"/>
                  </a:moveTo>
                  <a:lnTo>
                    <a:pt x="165" y="41"/>
                  </a:lnTo>
                  <a:lnTo>
                    <a:pt x="163" y="36"/>
                  </a:lnTo>
                  <a:lnTo>
                    <a:pt x="153" y="24"/>
                  </a:lnTo>
                  <a:lnTo>
                    <a:pt x="142" y="11"/>
                  </a:lnTo>
                  <a:lnTo>
                    <a:pt x="131" y="0"/>
                  </a:lnTo>
                  <a:lnTo>
                    <a:pt x="131" y="0"/>
                  </a:lnTo>
                  <a:lnTo>
                    <a:pt x="127" y="4"/>
                  </a:lnTo>
                  <a:lnTo>
                    <a:pt x="124" y="6"/>
                  </a:lnTo>
                  <a:lnTo>
                    <a:pt x="124" y="6"/>
                  </a:lnTo>
                  <a:lnTo>
                    <a:pt x="129" y="13"/>
                  </a:lnTo>
                  <a:lnTo>
                    <a:pt x="133" y="15"/>
                  </a:lnTo>
                  <a:lnTo>
                    <a:pt x="137" y="15"/>
                  </a:lnTo>
                  <a:lnTo>
                    <a:pt x="140" y="19"/>
                  </a:lnTo>
                  <a:lnTo>
                    <a:pt x="140" y="19"/>
                  </a:lnTo>
                  <a:lnTo>
                    <a:pt x="144" y="24"/>
                  </a:lnTo>
                  <a:lnTo>
                    <a:pt x="146" y="30"/>
                  </a:lnTo>
                  <a:lnTo>
                    <a:pt x="148" y="41"/>
                  </a:lnTo>
                  <a:lnTo>
                    <a:pt x="150" y="45"/>
                  </a:lnTo>
                  <a:lnTo>
                    <a:pt x="152" y="47"/>
                  </a:lnTo>
                  <a:lnTo>
                    <a:pt x="157" y="45"/>
                  </a:lnTo>
                  <a:lnTo>
                    <a:pt x="165" y="41"/>
                  </a:lnTo>
                  <a:lnTo>
                    <a:pt x="165" y="41"/>
                  </a:lnTo>
                  <a:close/>
                  <a:moveTo>
                    <a:pt x="28" y="99"/>
                  </a:moveTo>
                  <a:lnTo>
                    <a:pt x="28" y="99"/>
                  </a:lnTo>
                  <a:lnTo>
                    <a:pt x="28" y="103"/>
                  </a:lnTo>
                  <a:lnTo>
                    <a:pt x="30" y="103"/>
                  </a:lnTo>
                  <a:lnTo>
                    <a:pt x="36" y="94"/>
                  </a:lnTo>
                  <a:lnTo>
                    <a:pt x="39" y="80"/>
                  </a:lnTo>
                  <a:lnTo>
                    <a:pt x="39" y="75"/>
                  </a:lnTo>
                  <a:lnTo>
                    <a:pt x="38" y="73"/>
                  </a:lnTo>
                  <a:lnTo>
                    <a:pt x="38" y="73"/>
                  </a:lnTo>
                  <a:lnTo>
                    <a:pt x="30" y="75"/>
                  </a:lnTo>
                  <a:lnTo>
                    <a:pt x="25" y="77"/>
                  </a:lnTo>
                  <a:lnTo>
                    <a:pt x="25" y="77"/>
                  </a:lnTo>
                  <a:lnTo>
                    <a:pt x="21" y="80"/>
                  </a:lnTo>
                  <a:lnTo>
                    <a:pt x="19" y="82"/>
                  </a:lnTo>
                  <a:lnTo>
                    <a:pt x="11" y="82"/>
                  </a:lnTo>
                  <a:lnTo>
                    <a:pt x="8" y="82"/>
                  </a:lnTo>
                  <a:lnTo>
                    <a:pt x="4" y="82"/>
                  </a:lnTo>
                  <a:lnTo>
                    <a:pt x="2" y="86"/>
                  </a:lnTo>
                  <a:lnTo>
                    <a:pt x="0" y="92"/>
                  </a:lnTo>
                  <a:lnTo>
                    <a:pt x="0" y="92"/>
                  </a:lnTo>
                  <a:lnTo>
                    <a:pt x="4" y="95"/>
                  </a:lnTo>
                  <a:lnTo>
                    <a:pt x="8" y="95"/>
                  </a:lnTo>
                  <a:lnTo>
                    <a:pt x="15" y="95"/>
                  </a:lnTo>
                  <a:lnTo>
                    <a:pt x="21" y="94"/>
                  </a:lnTo>
                  <a:lnTo>
                    <a:pt x="25" y="95"/>
                  </a:lnTo>
                  <a:lnTo>
                    <a:pt x="28" y="99"/>
                  </a:lnTo>
                  <a:lnTo>
                    <a:pt x="28" y="99"/>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5" name="Freeform 106">
              <a:extLst>
                <a:ext uri="{FF2B5EF4-FFF2-40B4-BE49-F238E27FC236}">
                  <a16:creationId xmlns:a16="http://schemas.microsoft.com/office/drawing/2014/main" id="{1B6399DB-7D44-4080-8659-7F0C6B68F855}"/>
                </a:ext>
              </a:extLst>
            </p:cNvPr>
            <p:cNvSpPr>
              <a:spLocks/>
            </p:cNvSpPr>
            <p:nvPr/>
          </p:nvSpPr>
          <p:spPr bwMode="auto">
            <a:xfrm>
              <a:off x="5798246" y="5819993"/>
              <a:ext cx="19984" cy="9083"/>
            </a:xfrm>
            <a:custGeom>
              <a:avLst/>
              <a:gdLst/>
              <a:ahLst/>
              <a:cxnLst>
                <a:cxn ang="0">
                  <a:pos x="20" y="2"/>
                </a:cxn>
                <a:cxn ang="0">
                  <a:pos x="20" y="2"/>
                </a:cxn>
                <a:cxn ang="0">
                  <a:pos x="13" y="0"/>
                </a:cxn>
                <a:cxn ang="0">
                  <a:pos x="9" y="0"/>
                </a:cxn>
                <a:cxn ang="0">
                  <a:pos x="5" y="2"/>
                </a:cxn>
                <a:cxn ang="0">
                  <a:pos x="5" y="2"/>
                </a:cxn>
                <a:cxn ang="0">
                  <a:pos x="0" y="7"/>
                </a:cxn>
                <a:cxn ang="0">
                  <a:pos x="0" y="7"/>
                </a:cxn>
                <a:cxn ang="0">
                  <a:pos x="5" y="9"/>
                </a:cxn>
                <a:cxn ang="0">
                  <a:pos x="13" y="9"/>
                </a:cxn>
                <a:cxn ang="0">
                  <a:pos x="15" y="9"/>
                </a:cxn>
                <a:cxn ang="0">
                  <a:pos x="18" y="9"/>
                </a:cxn>
                <a:cxn ang="0">
                  <a:pos x="18" y="6"/>
                </a:cxn>
                <a:cxn ang="0">
                  <a:pos x="20" y="2"/>
                </a:cxn>
                <a:cxn ang="0">
                  <a:pos x="20" y="2"/>
                </a:cxn>
              </a:cxnLst>
              <a:rect l="0" t="0" r="r" b="b"/>
              <a:pathLst>
                <a:path w="20" h="9">
                  <a:moveTo>
                    <a:pt x="20" y="2"/>
                  </a:moveTo>
                  <a:lnTo>
                    <a:pt x="20" y="2"/>
                  </a:lnTo>
                  <a:lnTo>
                    <a:pt x="13" y="0"/>
                  </a:lnTo>
                  <a:lnTo>
                    <a:pt x="9" y="0"/>
                  </a:lnTo>
                  <a:lnTo>
                    <a:pt x="5" y="2"/>
                  </a:lnTo>
                  <a:lnTo>
                    <a:pt x="5" y="2"/>
                  </a:lnTo>
                  <a:lnTo>
                    <a:pt x="0" y="7"/>
                  </a:lnTo>
                  <a:lnTo>
                    <a:pt x="0" y="7"/>
                  </a:lnTo>
                  <a:lnTo>
                    <a:pt x="5" y="9"/>
                  </a:lnTo>
                  <a:lnTo>
                    <a:pt x="13" y="9"/>
                  </a:lnTo>
                  <a:lnTo>
                    <a:pt x="15" y="9"/>
                  </a:lnTo>
                  <a:lnTo>
                    <a:pt x="18" y="9"/>
                  </a:lnTo>
                  <a:lnTo>
                    <a:pt x="18" y="6"/>
                  </a:lnTo>
                  <a:lnTo>
                    <a:pt x="20" y="2"/>
                  </a:lnTo>
                  <a:lnTo>
                    <a:pt x="20" y="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6" name="Freeform 107">
              <a:extLst>
                <a:ext uri="{FF2B5EF4-FFF2-40B4-BE49-F238E27FC236}">
                  <a16:creationId xmlns:a16="http://schemas.microsoft.com/office/drawing/2014/main" id="{73F49311-84A5-4230-A116-8363ECBCCCE3}"/>
                </a:ext>
              </a:extLst>
            </p:cNvPr>
            <p:cNvSpPr>
              <a:spLocks/>
            </p:cNvSpPr>
            <p:nvPr/>
          </p:nvSpPr>
          <p:spPr bwMode="auto">
            <a:xfrm>
              <a:off x="5787346" y="5829077"/>
              <a:ext cx="14533" cy="12716"/>
            </a:xfrm>
            <a:custGeom>
              <a:avLst/>
              <a:gdLst/>
              <a:ahLst/>
              <a:cxnLst>
                <a:cxn ang="0">
                  <a:pos x="16" y="0"/>
                </a:cxn>
                <a:cxn ang="0">
                  <a:pos x="1" y="0"/>
                </a:cxn>
                <a:cxn ang="0">
                  <a:pos x="1" y="0"/>
                </a:cxn>
                <a:cxn ang="0">
                  <a:pos x="0" y="10"/>
                </a:cxn>
                <a:cxn ang="0">
                  <a:pos x="1" y="13"/>
                </a:cxn>
                <a:cxn ang="0">
                  <a:pos x="5" y="15"/>
                </a:cxn>
                <a:cxn ang="0">
                  <a:pos x="7" y="13"/>
                </a:cxn>
                <a:cxn ang="0">
                  <a:pos x="15" y="6"/>
                </a:cxn>
                <a:cxn ang="0">
                  <a:pos x="16" y="2"/>
                </a:cxn>
                <a:cxn ang="0">
                  <a:pos x="16" y="0"/>
                </a:cxn>
                <a:cxn ang="0">
                  <a:pos x="16" y="0"/>
                </a:cxn>
              </a:cxnLst>
              <a:rect l="0" t="0" r="r" b="b"/>
              <a:pathLst>
                <a:path w="16" h="15">
                  <a:moveTo>
                    <a:pt x="16" y="0"/>
                  </a:moveTo>
                  <a:lnTo>
                    <a:pt x="1" y="0"/>
                  </a:lnTo>
                  <a:lnTo>
                    <a:pt x="1" y="0"/>
                  </a:lnTo>
                  <a:lnTo>
                    <a:pt x="0" y="10"/>
                  </a:lnTo>
                  <a:lnTo>
                    <a:pt x="1" y="13"/>
                  </a:lnTo>
                  <a:lnTo>
                    <a:pt x="5" y="15"/>
                  </a:lnTo>
                  <a:lnTo>
                    <a:pt x="7" y="13"/>
                  </a:lnTo>
                  <a:lnTo>
                    <a:pt x="15" y="6"/>
                  </a:lnTo>
                  <a:lnTo>
                    <a:pt x="16" y="2"/>
                  </a:lnTo>
                  <a:lnTo>
                    <a:pt x="16" y="0"/>
                  </a:lnTo>
                  <a:lnTo>
                    <a:pt x="16" y="0"/>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7" name="Freeform 108">
              <a:extLst>
                <a:ext uri="{FF2B5EF4-FFF2-40B4-BE49-F238E27FC236}">
                  <a16:creationId xmlns:a16="http://schemas.microsoft.com/office/drawing/2014/main" id="{60F33D6E-7266-48BE-B04A-277C7E79BD70}"/>
                </a:ext>
              </a:extLst>
            </p:cNvPr>
            <p:cNvSpPr>
              <a:spLocks/>
            </p:cNvSpPr>
            <p:nvPr/>
          </p:nvSpPr>
          <p:spPr bwMode="auto">
            <a:xfrm>
              <a:off x="5774629" y="5839977"/>
              <a:ext cx="9084" cy="14533"/>
            </a:xfrm>
            <a:custGeom>
              <a:avLst/>
              <a:gdLst/>
              <a:ahLst/>
              <a:cxnLst>
                <a:cxn ang="0">
                  <a:pos x="4" y="15"/>
                </a:cxn>
                <a:cxn ang="0">
                  <a:pos x="4" y="15"/>
                </a:cxn>
                <a:cxn ang="0">
                  <a:pos x="8" y="12"/>
                </a:cxn>
                <a:cxn ang="0">
                  <a:pos x="10" y="10"/>
                </a:cxn>
                <a:cxn ang="0">
                  <a:pos x="8" y="4"/>
                </a:cxn>
                <a:cxn ang="0">
                  <a:pos x="6" y="0"/>
                </a:cxn>
                <a:cxn ang="0">
                  <a:pos x="4" y="2"/>
                </a:cxn>
                <a:cxn ang="0">
                  <a:pos x="2" y="2"/>
                </a:cxn>
                <a:cxn ang="0">
                  <a:pos x="2" y="2"/>
                </a:cxn>
                <a:cxn ang="0">
                  <a:pos x="0" y="6"/>
                </a:cxn>
                <a:cxn ang="0">
                  <a:pos x="0" y="10"/>
                </a:cxn>
                <a:cxn ang="0">
                  <a:pos x="4" y="15"/>
                </a:cxn>
                <a:cxn ang="0">
                  <a:pos x="4" y="15"/>
                </a:cxn>
              </a:cxnLst>
              <a:rect l="0" t="0" r="r" b="b"/>
              <a:pathLst>
                <a:path w="10" h="15">
                  <a:moveTo>
                    <a:pt x="4" y="15"/>
                  </a:moveTo>
                  <a:lnTo>
                    <a:pt x="4" y="15"/>
                  </a:lnTo>
                  <a:lnTo>
                    <a:pt x="8" y="12"/>
                  </a:lnTo>
                  <a:lnTo>
                    <a:pt x="10" y="10"/>
                  </a:lnTo>
                  <a:lnTo>
                    <a:pt x="8" y="4"/>
                  </a:lnTo>
                  <a:lnTo>
                    <a:pt x="6" y="0"/>
                  </a:lnTo>
                  <a:lnTo>
                    <a:pt x="4" y="2"/>
                  </a:lnTo>
                  <a:lnTo>
                    <a:pt x="2" y="2"/>
                  </a:lnTo>
                  <a:lnTo>
                    <a:pt x="2" y="2"/>
                  </a:lnTo>
                  <a:lnTo>
                    <a:pt x="0" y="6"/>
                  </a:lnTo>
                  <a:lnTo>
                    <a:pt x="0" y="10"/>
                  </a:lnTo>
                  <a:lnTo>
                    <a:pt x="4" y="15"/>
                  </a:lnTo>
                  <a:lnTo>
                    <a:pt x="4" y="15"/>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8" name="Freeform 109">
              <a:extLst>
                <a:ext uri="{FF2B5EF4-FFF2-40B4-BE49-F238E27FC236}">
                  <a16:creationId xmlns:a16="http://schemas.microsoft.com/office/drawing/2014/main" id="{A7C76047-B470-401A-A716-12CE8BB78DA4}"/>
                </a:ext>
              </a:extLst>
            </p:cNvPr>
            <p:cNvSpPr>
              <a:spLocks noEditPoints="1"/>
            </p:cNvSpPr>
            <p:nvPr/>
          </p:nvSpPr>
          <p:spPr bwMode="auto">
            <a:xfrm>
              <a:off x="5751013" y="5754593"/>
              <a:ext cx="61766" cy="50867"/>
            </a:xfrm>
            <a:custGeom>
              <a:avLst/>
              <a:gdLst/>
              <a:ahLst/>
              <a:cxnLst>
                <a:cxn ang="0">
                  <a:pos x="66" y="28"/>
                </a:cxn>
                <a:cxn ang="0">
                  <a:pos x="66" y="28"/>
                </a:cxn>
                <a:cxn ang="0">
                  <a:pos x="49" y="37"/>
                </a:cxn>
                <a:cxn ang="0">
                  <a:pos x="41" y="45"/>
                </a:cxn>
                <a:cxn ang="0">
                  <a:pos x="40" y="50"/>
                </a:cxn>
                <a:cxn ang="0">
                  <a:pos x="40" y="54"/>
                </a:cxn>
                <a:cxn ang="0">
                  <a:pos x="45" y="56"/>
                </a:cxn>
                <a:cxn ang="0">
                  <a:pos x="51" y="58"/>
                </a:cxn>
                <a:cxn ang="0">
                  <a:pos x="55" y="56"/>
                </a:cxn>
                <a:cxn ang="0">
                  <a:pos x="58" y="52"/>
                </a:cxn>
                <a:cxn ang="0">
                  <a:pos x="58" y="52"/>
                </a:cxn>
                <a:cxn ang="0">
                  <a:pos x="64" y="45"/>
                </a:cxn>
                <a:cxn ang="0">
                  <a:pos x="68" y="37"/>
                </a:cxn>
                <a:cxn ang="0">
                  <a:pos x="68" y="37"/>
                </a:cxn>
                <a:cxn ang="0">
                  <a:pos x="68" y="34"/>
                </a:cxn>
                <a:cxn ang="0">
                  <a:pos x="66" y="32"/>
                </a:cxn>
                <a:cxn ang="0">
                  <a:pos x="66" y="28"/>
                </a:cxn>
                <a:cxn ang="0">
                  <a:pos x="66" y="28"/>
                </a:cxn>
                <a:cxn ang="0">
                  <a:pos x="19" y="43"/>
                </a:cxn>
                <a:cxn ang="0">
                  <a:pos x="19" y="43"/>
                </a:cxn>
                <a:cxn ang="0">
                  <a:pos x="12" y="47"/>
                </a:cxn>
                <a:cxn ang="0">
                  <a:pos x="2" y="50"/>
                </a:cxn>
                <a:cxn ang="0">
                  <a:pos x="0" y="54"/>
                </a:cxn>
                <a:cxn ang="0">
                  <a:pos x="0" y="56"/>
                </a:cxn>
                <a:cxn ang="0">
                  <a:pos x="2" y="56"/>
                </a:cxn>
                <a:cxn ang="0">
                  <a:pos x="10" y="58"/>
                </a:cxn>
                <a:cxn ang="0">
                  <a:pos x="10" y="58"/>
                </a:cxn>
                <a:cxn ang="0">
                  <a:pos x="19" y="56"/>
                </a:cxn>
                <a:cxn ang="0">
                  <a:pos x="25" y="52"/>
                </a:cxn>
                <a:cxn ang="0">
                  <a:pos x="25" y="50"/>
                </a:cxn>
                <a:cxn ang="0">
                  <a:pos x="25" y="49"/>
                </a:cxn>
                <a:cxn ang="0">
                  <a:pos x="19" y="43"/>
                </a:cxn>
                <a:cxn ang="0">
                  <a:pos x="19" y="43"/>
                </a:cxn>
                <a:cxn ang="0">
                  <a:pos x="30" y="2"/>
                </a:cxn>
                <a:cxn ang="0">
                  <a:pos x="30" y="2"/>
                </a:cxn>
                <a:cxn ang="0">
                  <a:pos x="26" y="13"/>
                </a:cxn>
                <a:cxn ang="0">
                  <a:pos x="25" y="22"/>
                </a:cxn>
                <a:cxn ang="0">
                  <a:pos x="23" y="32"/>
                </a:cxn>
                <a:cxn ang="0">
                  <a:pos x="25" y="37"/>
                </a:cxn>
                <a:cxn ang="0">
                  <a:pos x="26" y="39"/>
                </a:cxn>
                <a:cxn ang="0">
                  <a:pos x="30" y="39"/>
                </a:cxn>
                <a:cxn ang="0">
                  <a:pos x="36" y="39"/>
                </a:cxn>
                <a:cxn ang="0">
                  <a:pos x="41" y="37"/>
                </a:cxn>
                <a:cxn ang="0">
                  <a:pos x="58" y="26"/>
                </a:cxn>
                <a:cxn ang="0">
                  <a:pos x="58" y="26"/>
                </a:cxn>
                <a:cxn ang="0">
                  <a:pos x="68" y="19"/>
                </a:cxn>
                <a:cxn ang="0">
                  <a:pos x="68" y="17"/>
                </a:cxn>
                <a:cxn ang="0">
                  <a:pos x="66" y="15"/>
                </a:cxn>
                <a:cxn ang="0">
                  <a:pos x="60" y="13"/>
                </a:cxn>
                <a:cxn ang="0">
                  <a:pos x="56" y="11"/>
                </a:cxn>
                <a:cxn ang="0">
                  <a:pos x="55" y="6"/>
                </a:cxn>
                <a:cxn ang="0">
                  <a:pos x="55" y="6"/>
                </a:cxn>
                <a:cxn ang="0">
                  <a:pos x="53" y="0"/>
                </a:cxn>
                <a:cxn ang="0">
                  <a:pos x="53" y="0"/>
                </a:cxn>
                <a:cxn ang="0">
                  <a:pos x="40" y="2"/>
                </a:cxn>
                <a:cxn ang="0">
                  <a:pos x="30" y="2"/>
                </a:cxn>
                <a:cxn ang="0">
                  <a:pos x="30" y="2"/>
                </a:cxn>
              </a:cxnLst>
              <a:rect l="0" t="0" r="r" b="b"/>
              <a:pathLst>
                <a:path w="68" h="58">
                  <a:moveTo>
                    <a:pt x="66" y="28"/>
                  </a:moveTo>
                  <a:lnTo>
                    <a:pt x="66" y="28"/>
                  </a:lnTo>
                  <a:lnTo>
                    <a:pt x="49" y="37"/>
                  </a:lnTo>
                  <a:lnTo>
                    <a:pt x="41" y="45"/>
                  </a:lnTo>
                  <a:lnTo>
                    <a:pt x="40" y="50"/>
                  </a:lnTo>
                  <a:lnTo>
                    <a:pt x="40" y="54"/>
                  </a:lnTo>
                  <a:lnTo>
                    <a:pt x="45" y="56"/>
                  </a:lnTo>
                  <a:lnTo>
                    <a:pt x="51" y="58"/>
                  </a:lnTo>
                  <a:lnTo>
                    <a:pt x="55" y="56"/>
                  </a:lnTo>
                  <a:lnTo>
                    <a:pt x="58" y="52"/>
                  </a:lnTo>
                  <a:lnTo>
                    <a:pt x="58" y="52"/>
                  </a:lnTo>
                  <a:lnTo>
                    <a:pt x="64" y="45"/>
                  </a:lnTo>
                  <a:lnTo>
                    <a:pt x="68" y="37"/>
                  </a:lnTo>
                  <a:lnTo>
                    <a:pt x="68" y="37"/>
                  </a:lnTo>
                  <a:lnTo>
                    <a:pt x="68" y="34"/>
                  </a:lnTo>
                  <a:lnTo>
                    <a:pt x="66" y="32"/>
                  </a:lnTo>
                  <a:lnTo>
                    <a:pt x="66" y="28"/>
                  </a:lnTo>
                  <a:lnTo>
                    <a:pt x="66" y="28"/>
                  </a:lnTo>
                  <a:close/>
                  <a:moveTo>
                    <a:pt x="19" y="43"/>
                  </a:moveTo>
                  <a:lnTo>
                    <a:pt x="19" y="43"/>
                  </a:lnTo>
                  <a:lnTo>
                    <a:pt x="12" y="47"/>
                  </a:lnTo>
                  <a:lnTo>
                    <a:pt x="2" y="50"/>
                  </a:lnTo>
                  <a:lnTo>
                    <a:pt x="0" y="54"/>
                  </a:lnTo>
                  <a:lnTo>
                    <a:pt x="0" y="56"/>
                  </a:lnTo>
                  <a:lnTo>
                    <a:pt x="2" y="56"/>
                  </a:lnTo>
                  <a:lnTo>
                    <a:pt x="10" y="58"/>
                  </a:lnTo>
                  <a:lnTo>
                    <a:pt x="10" y="58"/>
                  </a:lnTo>
                  <a:lnTo>
                    <a:pt x="19" y="56"/>
                  </a:lnTo>
                  <a:lnTo>
                    <a:pt x="25" y="52"/>
                  </a:lnTo>
                  <a:lnTo>
                    <a:pt x="25" y="50"/>
                  </a:lnTo>
                  <a:lnTo>
                    <a:pt x="25" y="49"/>
                  </a:lnTo>
                  <a:lnTo>
                    <a:pt x="19" y="43"/>
                  </a:lnTo>
                  <a:lnTo>
                    <a:pt x="19" y="43"/>
                  </a:lnTo>
                  <a:close/>
                  <a:moveTo>
                    <a:pt x="30" y="2"/>
                  </a:moveTo>
                  <a:lnTo>
                    <a:pt x="30" y="2"/>
                  </a:lnTo>
                  <a:lnTo>
                    <a:pt x="26" y="13"/>
                  </a:lnTo>
                  <a:lnTo>
                    <a:pt x="25" y="22"/>
                  </a:lnTo>
                  <a:lnTo>
                    <a:pt x="23" y="32"/>
                  </a:lnTo>
                  <a:lnTo>
                    <a:pt x="25" y="37"/>
                  </a:lnTo>
                  <a:lnTo>
                    <a:pt x="26" y="39"/>
                  </a:lnTo>
                  <a:lnTo>
                    <a:pt x="30" y="39"/>
                  </a:lnTo>
                  <a:lnTo>
                    <a:pt x="36" y="39"/>
                  </a:lnTo>
                  <a:lnTo>
                    <a:pt x="41" y="37"/>
                  </a:lnTo>
                  <a:lnTo>
                    <a:pt x="58" y="26"/>
                  </a:lnTo>
                  <a:lnTo>
                    <a:pt x="58" y="26"/>
                  </a:lnTo>
                  <a:lnTo>
                    <a:pt x="68" y="19"/>
                  </a:lnTo>
                  <a:lnTo>
                    <a:pt x="68" y="17"/>
                  </a:lnTo>
                  <a:lnTo>
                    <a:pt x="66" y="15"/>
                  </a:lnTo>
                  <a:lnTo>
                    <a:pt x="60" y="13"/>
                  </a:lnTo>
                  <a:lnTo>
                    <a:pt x="56" y="11"/>
                  </a:lnTo>
                  <a:lnTo>
                    <a:pt x="55" y="6"/>
                  </a:lnTo>
                  <a:lnTo>
                    <a:pt x="55" y="6"/>
                  </a:lnTo>
                  <a:lnTo>
                    <a:pt x="53" y="0"/>
                  </a:lnTo>
                  <a:lnTo>
                    <a:pt x="53" y="0"/>
                  </a:lnTo>
                  <a:lnTo>
                    <a:pt x="40" y="2"/>
                  </a:lnTo>
                  <a:lnTo>
                    <a:pt x="30" y="2"/>
                  </a:lnTo>
                  <a:lnTo>
                    <a:pt x="30" y="2"/>
                  </a:lnTo>
                  <a:close/>
                </a:path>
              </a:pathLst>
            </a:custGeom>
            <a:grpFill/>
            <a:ln w="6350">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09" name="Freeform 120">
              <a:extLst>
                <a:ext uri="{FF2B5EF4-FFF2-40B4-BE49-F238E27FC236}">
                  <a16:creationId xmlns:a16="http://schemas.microsoft.com/office/drawing/2014/main" id="{929E355A-59C7-4F56-B1EB-34BB16109B04}"/>
                </a:ext>
              </a:extLst>
            </p:cNvPr>
            <p:cNvSpPr/>
            <p:nvPr/>
          </p:nvSpPr>
          <p:spPr bwMode="gray">
            <a:xfrm>
              <a:off x="5748289" y="5719237"/>
              <a:ext cx="97783" cy="50273"/>
            </a:xfrm>
            <a:custGeom>
              <a:avLst/>
              <a:gdLst>
                <a:gd name="connsiteX0" fmla="*/ 56586 w 97783"/>
                <a:gd name="connsiteY0" fmla="*/ 517 h 50273"/>
                <a:gd name="connsiteX1" fmla="*/ 81360 w 97783"/>
                <a:gd name="connsiteY1" fmla="*/ 1421 h 50273"/>
                <a:gd name="connsiteX2" fmla="*/ 97783 w 97783"/>
                <a:gd name="connsiteY2" fmla="*/ 10332 h 50273"/>
                <a:gd name="connsiteX3" fmla="*/ 96283 w 97783"/>
                <a:gd name="connsiteY3" fmla="*/ 10832 h 50273"/>
                <a:gd name="connsiteX4" fmla="*/ 89924 w 97783"/>
                <a:gd name="connsiteY4" fmla="*/ 14465 h 50273"/>
                <a:gd name="connsiteX5" fmla="*/ 86291 w 97783"/>
                <a:gd name="connsiteY5" fmla="*/ 19007 h 50273"/>
                <a:gd name="connsiteX6" fmla="*/ 84474 w 97783"/>
                <a:gd name="connsiteY6" fmla="*/ 26274 h 50273"/>
                <a:gd name="connsiteX7" fmla="*/ 86291 w 97783"/>
                <a:gd name="connsiteY7" fmla="*/ 34448 h 50273"/>
                <a:gd name="connsiteX8" fmla="*/ 90043 w 97783"/>
                <a:gd name="connsiteY8" fmla="*/ 50204 h 50273"/>
                <a:gd name="connsiteX9" fmla="*/ 87758 w 97783"/>
                <a:gd name="connsiteY9" fmla="*/ 50273 h 50273"/>
                <a:gd name="connsiteX10" fmla="*/ 86291 w 97783"/>
                <a:gd name="connsiteY10" fmla="*/ 48073 h 50273"/>
                <a:gd name="connsiteX11" fmla="*/ 79024 w 97783"/>
                <a:gd name="connsiteY11" fmla="*/ 42623 h 50273"/>
                <a:gd name="connsiteX12" fmla="*/ 72666 w 97783"/>
                <a:gd name="connsiteY12" fmla="*/ 36265 h 50273"/>
                <a:gd name="connsiteX13" fmla="*/ 64491 w 97783"/>
                <a:gd name="connsiteY13" fmla="*/ 32632 h 50273"/>
                <a:gd name="connsiteX14" fmla="*/ 60858 w 97783"/>
                <a:gd name="connsiteY14" fmla="*/ 30815 h 50273"/>
                <a:gd name="connsiteX15" fmla="*/ 57225 w 97783"/>
                <a:gd name="connsiteY15" fmla="*/ 32632 h 50273"/>
                <a:gd name="connsiteX16" fmla="*/ 50866 w 97783"/>
                <a:gd name="connsiteY16" fmla="*/ 34448 h 50273"/>
                <a:gd name="connsiteX17" fmla="*/ 39058 w 97783"/>
                <a:gd name="connsiteY17" fmla="*/ 36265 h 50273"/>
                <a:gd name="connsiteX18" fmla="*/ 29975 w 97783"/>
                <a:gd name="connsiteY18" fmla="*/ 36265 h 50273"/>
                <a:gd name="connsiteX19" fmla="*/ 23616 w 97783"/>
                <a:gd name="connsiteY19" fmla="*/ 34448 h 50273"/>
                <a:gd name="connsiteX20" fmla="*/ 18166 w 97783"/>
                <a:gd name="connsiteY20" fmla="*/ 32632 h 50273"/>
                <a:gd name="connsiteX21" fmla="*/ 14533 w 97783"/>
                <a:gd name="connsiteY21" fmla="*/ 30815 h 50273"/>
                <a:gd name="connsiteX22" fmla="*/ 9991 w 97783"/>
                <a:gd name="connsiteY22" fmla="*/ 32632 h 50273"/>
                <a:gd name="connsiteX23" fmla="*/ 908 w 97783"/>
                <a:gd name="connsiteY23" fmla="*/ 36265 h 50273"/>
                <a:gd name="connsiteX24" fmla="*/ 0 w 97783"/>
                <a:gd name="connsiteY24" fmla="*/ 36265 h 50273"/>
                <a:gd name="connsiteX25" fmla="*/ 0 w 97783"/>
                <a:gd name="connsiteY25" fmla="*/ 32632 h 50273"/>
                <a:gd name="connsiteX26" fmla="*/ 0 w 97783"/>
                <a:gd name="connsiteY26" fmla="*/ 32242 h 50273"/>
                <a:gd name="connsiteX27" fmla="*/ 6121 w 97783"/>
                <a:gd name="connsiteY27" fmla="*/ 22062 h 50273"/>
                <a:gd name="connsiteX28" fmla="*/ 36239 w 97783"/>
                <a:gd name="connsiteY28" fmla="*/ 2600 h 50273"/>
                <a:gd name="connsiteX29" fmla="*/ 56586 w 97783"/>
                <a:gd name="connsiteY29" fmla="*/ 517 h 5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7783" h="50273">
                  <a:moveTo>
                    <a:pt x="56586" y="517"/>
                  </a:moveTo>
                  <a:cubicBezTo>
                    <a:pt x="64384" y="-193"/>
                    <a:pt x="72919" y="-406"/>
                    <a:pt x="81360" y="1421"/>
                  </a:cubicBezTo>
                  <a:lnTo>
                    <a:pt x="97783" y="10332"/>
                  </a:lnTo>
                  <a:lnTo>
                    <a:pt x="96283" y="10832"/>
                  </a:lnTo>
                  <a:lnTo>
                    <a:pt x="89924" y="14465"/>
                  </a:lnTo>
                  <a:lnTo>
                    <a:pt x="86291" y="19007"/>
                  </a:lnTo>
                  <a:lnTo>
                    <a:pt x="84474" y="26274"/>
                  </a:lnTo>
                  <a:lnTo>
                    <a:pt x="86291" y="34448"/>
                  </a:lnTo>
                  <a:lnTo>
                    <a:pt x="90043" y="50204"/>
                  </a:lnTo>
                  <a:lnTo>
                    <a:pt x="87758" y="50273"/>
                  </a:lnTo>
                  <a:lnTo>
                    <a:pt x="86291" y="48073"/>
                  </a:lnTo>
                  <a:lnTo>
                    <a:pt x="79024" y="42623"/>
                  </a:lnTo>
                  <a:lnTo>
                    <a:pt x="72666" y="36265"/>
                  </a:lnTo>
                  <a:lnTo>
                    <a:pt x="64491" y="32632"/>
                  </a:lnTo>
                  <a:lnTo>
                    <a:pt x="60858" y="30815"/>
                  </a:lnTo>
                  <a:lnTo>
                    <a:pt x="57225" y="32632"/>
                  </a:lnTo>
                  <a:lnTo>
                    <a:pt x="50866" y="34448"/>
                  </a:lnTo>
                  <a:lnTo>
                    <a:pt x="39058" y="36265"/>
                  </a:lnTo>
                  <a:lnTo>
                    <a:pt x="29975" y="36265"/>
                  </a:lnTo>
                  <a:lnTo>
                    <a:pt x="23616" y="34448"/>
                  </a:lnTo>
                  <a:lnTo>
                    <a:pt x="18166" y="32632"/>
                  </a:lnTo>
                  <a:lnTo>
                    <a:pt x="14533" y="30815"/>
                  </a:lnTo>
                  <a:lnTo>
                    <a:pt x="9991" y="32632"/>
                  </a:lnTo>
                  <a:lnTo>
                    <a:pt x="908" y="36265"/>
                  </a:lnTo>
                  <a:lnTo>
                    <a:pt x="0" y="36265"/>
                  </a:lnTo>
                  <a:lnTo>
                    <a:pt x="0" y="32632"/>
                  </a:lnTo>
                  <a:lnTo>
                    <a:pt x="0" y="32242"/>
                  </a:lnTo>
                  <a:lnTo>
                    <a:pt x="6121" y="22062"/>
                  </a:lnTo>
                  <a:cubicBezTo>
                    <a:pt x="14318" y="11529"/>
                    <a:pt x="25259" y="2930"/>
                    <a:pt x="36239" y="2600"/>
                  </a:cubicBezTo>
                  <a:cubicBezTo>
                    <a:pt x="41729" y="2435"/>
                    <a:pt x="48789" y="1227"/>
                    <a:pt x="56586" y="517"/>
                  </a:cubicBezTo>
                  <a:close/>
                </a:path>
              </a:pathLst>
            </a:custGeom>
            <a:grpFill/>
            <a:ln w="635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10" name="Freeform 119">
              <a:extLst>
                <a:ext uri="{FF2B5EF4-FFF2-40B4-BE49-F238E27FC236}">
                  <a16:creationId xmlns:a16="http://schemas.microsoft.com/office/drawing/2014/main" id="{70E8C1C8-5D5D-4A37-9879-B7DF2DB4ECFD}"/>
                </a:ext>
              </a:extLst>
            </p:cNvPr>
            <p:cNvSpPr/>
            <p:nvPr/>
          </p:nvSpPr>
          <p:spPr bwMode="gray">
            <a:xfrm>
              <a:off x="5235081" y="5378544"/>
              <a:ext cx="906515" cy="699414"/>
            </a:xfrm>
            <a:custGeom>
              <a:avLst/>
              <a:gdLst>
                <a:gd name="connsiteX0" fmla="*/ 423283 w 906515"/>
                <a:gd name="connsiteY0" fmla="*/ 0 h 699414"/>
                <a:gd name="connsiteX1" fmla="*/ 427824 w 906515"/>
                <a:gd name="connsiteY1" fmla="*/ 0 h 699414"/>
                <a:gd name="connsiteX2" fmla="*/ 433274 w 906515"/>
                <a:gd name="connsiteY2" fmla="*/ 0 h 699414"/>
                <a:gd name="connsiteX3" fmla="*/ 441449 w 906515"/>
                <a:gd name="connsiteY3" fmla="*/ 5450 h 699414"/>
                <a:gd name="connsiteX4" fmla="*/ 453258 w 906515"/>
                <a:gd name="connsiteY4" fmla="*/ 9992 h 699414"/>
                <a:gd name="connsiteX5" fmla="*/ 463249 w 906515"/>
                <a:gd name="connsiteY5" fmla="*/ 15442 h 699414"/>
                <a:gd name="connsiteX6" fmla="*/ 470516 w 906515"/>
                <a:gd name="connsiteY6" fmla="*/ 17259 h 699414"/>
                <a:gd name="connsiteX7" fmla="*/ 475058 w 906515"/>
                <a:gd name="connsiteY7" fmla="*/ 19075 h 699414"/>
                <a:gd name="connsiteX8" fmla="*/ 482324 w 906515"/>
                <a:gd name="connsiteY8" fmla="*/ 19075 h 699414"/>
                <a:gd name="connsiteX9" fmla="*/ 488683 w 906515"/>
                <a:gd name="connsiteY9" fmla="*/ 17259 h 699414"/>
                <a:gd name="connsiteX10" fmla="*/ 497766 w 906515"/>
                <a:gd name="connsiteY10" fmla="*/ 13625 h 699414"/>
                <a:gd name="connsiteX11" fmla="*/ 504124 w 906515"/>
                <a:gd name="connsiteY11" fmla="*/ 8175 h 699414"/>
                <a:gd name="connsiteX12" fmla="*/ 511391 w 906515"/>
                <a:gd name="connsiteY12" fmla="*/ 5450 h 699414"/>
                <a:gd name="connsiteX13" fmla="*/ 517749 w 906515"/>
                <a:gd name="connsiteY13" fmla="*/ 3634 h 699414"/>
                <a:gd name="connsiteX14" fmla="*/ 523199 w 906515"/>
                <a:gd name="connsiteY14" fmla="*/ 17259 h 699414"/>
                <a:gd name="connsiteX15" fmla="*/ 526833 w 906515"/>
                <a:gd name="connsiteY15" fmla="*/ 21800 h 699414"/>
                <a:gd name="connsiteX16" fmla="*/ 529558 w 906515"/>
                <a:gd name="connsiteY16" fmla="*/ 23617 h 699414"/>
                <a:gd name="connsiteX17" fmla="*/ 546816 w 906515"/>
                <a:gd name="connsiteY17" fmla="*/ 21800 h 699414"/>
                <a:gd name="connsiteX18" fmla="*/ 560441 w 906515"/>
                <a:gd name="connsiteY18" fmla="*/ 17259 h 699414"/>
                <a:gd name="connsiteX19" fmla="*/ 568616 w 906515"/>
                <a:gd name="connsiteY19" fmla="*/ 13625 h 699414"/>
                <a:gd name="connsiteX20" fmla="*/ 575882 w 906515"/>
                <a:gd name="connsiteY20" fmla="*/ 8175 h 699414"/>
                <a:gd name="connsiteX21" fmla="*/ 580424 w 906515"/>
                <a:gd name="connsiteY21" fmla="*/ 7267 h 699414"/>
                <a:gd name="connsiteX22" fmla="*/ 585874 w 906515"/>
                <a:gd name="connsiteY22" fmla="*/ 7267 h 699414"/>
                <a:gd name="connsiteX23" fmla="*/ 594049 w 906515"/>
                <a:gd name="connsiteY23" fmla="*/ 11809 h 699414"/>
                <a:gd name="connsiteX24" fmla="*/ 605857 w 906515"/>
                <a:gd name="connsiteY24" fmla="*/ 21800 h 699414"/>
                <a:gd name="connsiteX25" fmla="*/ 605857 w 906515"/>
                <a:gd name="connsiteY25" fmla="*/ 29067 h 699414"/>
                <a:gd name="connsiteX26" fmla="*/ 605857 w 906515"/>
                <a:gd name="connsiteY26" fmla="*/ 37242 h 699414"/>
                <a:gd name="connsiteX27" fmla="*/ 603132 w 906515"/>
                <a:gd name="connsiteY27" fmla="*/ 42692 h 699414"/>
                <a:gd name="connsiteX28" fmla="*/ 599499 w 906515"/>
                <a:gd name="connsiteY28" fmla="*/ 46325 h 699414"/>
                <a:gd name="connsiteX29" fmla="*/ 594049 w 906515"/>
                <a:gd name="connsiteY29" fmla="*/ 49050 h 699414"/>
                <a:gd name="connsiteX30" fmla="*/ 589507 w 906515"/>
                <a:gd name="connsiteY30" fmla="*/ 52683 h 699414"/>
                <a:gd name="connsiteX31" fmla="*/ 582241 w 906515"/>
                <a:gd name="connsiteY31" fmla="*/ 58133 h 699414"/>
                <a:gd name="connsiteX32" fmla="*/ 577699 w 906515"/>
                <a:gd name="connsiteY32" fmla="*/ 64492 h 699414"/>
                <a:gd name="connsiteX33" fmla="*/ 572249 w 906515"/>
                <a:gd name="connsiteY33" fmla="*/ 76300 h 699414"/>
                <a:gd name="connsiteX34" fmla="*/ 566799 w 906515"/>
                <a:gd name="connsiteY34" fmla="*/ 85383 h 699414"/>
                <a:gd name="connsiteX35" fmla="*/ 558624 w 906515"/>
                <a:gd name="connsiteY35" fmla="*/ 95375 h 699414"/>
                <a:gd name="connsiteX36" fmla="*/ 546816 w 906515"/>
                <a:gd name="connsiteY36" fmla="*/ 107183 h 699414"/>
                <a:gd name="connsiteX37" fmla="*/ 548633 w 906515"/>
                <a:gd name="connsiteY37" fmla="*/ 110816 h 699414"/>
                <a:gd name="connsiteX38" fmla="*/ 550449 w 906515"/>
                <a:gd name="connsiteY38" fmla="*/ 111725 h 699414"/>
                <a:gd name="connsiteX39" fmla="*/ 556808 w 906515"/>
                <a:gd name="connsiteY39" fmla="*/ 115358 h 699414"/>
                <a:gd name="connsiteX40" fmla="*/ 564074 w 906515"/>
                <a:gd name="connsiteY40" fmla="*/ 117175 h 699414"/>
                <a:gd name="connsiteX41" fmla="*/ 574066 w 906515"/>
                <a:gd name="connsiteY41" fmla="*/ 117175 h 699414"/>
                <a:gd name="connsiteX42" fmla="*/ 591324 w 906515"/>
                <a:gd name="connsiteY42" fmla="*/ 115358 h 699414"/>
                <a:gd name="connsiteX43" fmla="*/ 604041 w 906515"/>
                <a:gd name="connsiteY43" fmla="*/ 113541 h 699414"/>
                <a:gd name="connsiteX44" fmla="*/ 616757 w 906515"/>
                <a:gd name="connsiteY44" fmla="*/ 111725 h 699414"/>
                <a:gd name="connsiteX45" fmla="*/ 624932 w 906515"/>
                <a:gd name="connsiteY45" fmla="*/ 109000 h 699414"/>
                <a:gd name="connsiteX46" fmla="*/ 630382 w 906515"/>
                <a:gd name="connsiteY46" fmla="*/ 105367 h 699414"/>
                <a:gd name="connsiteX47" fmla="*/ 634924 w 906515"/>
                <a:gd name="connsiteY47" fmla="*/ 103550 h 699414"/>
                <a:gd name="connsiteX48" fmla="*/ 640374 w 906515"/>
                <a:gd name="connsiteY48" fmla="*/ 97192 h 699414"/>
                <a:gd name="connsiteX49" fmla="*/ 643099 w 906515"/>
                <a:gd name="connsiteY49" fmla="*/ 95375 h 699414"/>
                <a:gd name="connsiteX50" fmla="*/ 648549 w 906515"/>
                <a:gd name="connsiteY50" fmla="*/ 93558 h 699414"/>
                <a:gd name="connsiteX51" fmla="*/ 656724 w 906515"/>
                <a:gd name="connsiteY51" fmla="*/ 93558 h 699414"/>
                <a:gd name="connsiteX52" fmla="*/ 663991 w 906515"/>
                <a:gd name="connsiteY52" fmla="*/ 91742 h 699414"/>
                <a:gd name="connsiteX53" fmla="*/ 675799 w 906515"/>
                <a:gd name="connsiteY53" fmla="*/ 86292 h 699414"/>
                <a:gd name="connsiteX54" fmla="*/ 685791 w 906515"/>
                <a:gd name="connsiteY54" fmla="*/ 83567 h 699414"/>
                <a:gd name="connsiteX55" fmla="*/ 694874 w 906515"/>
                <a:gd name="connsiteY55" fmla="*/ 79933 h 699414"/>
                <a:gd name="connsiteX56" fmla="*/ 713041 w 906515"/>
                <a:gd name="connsiteY56" fmla="*/ 98100 h 699414"/>
                <a:gd name="connsiteX57" fmla="*/ 724849 w 906515"/>
                <a:gd name="connsiteY57" fmla="*/ 109000 h 699414"/>
                <a:gd name="connsiteX58" fmla="*/ 733932 w 906515"/>
                <a:gd name="connsiteY58" fmla="*/ 111725 h 699414"/>
                <a:gd name="connsiteX59" fmla="*/ 738474 w 906515"/>
                <a:gd name="connsiteY59" fmla="*/ 111725 h 699414"/>
                <a:gd name="connsiteX60" fmla="*/ 740291 w 906515"/>
                <a:gd name="connsiteY60" fmla="*/ 110816 h 699414"/>
                <a:gd name="connsiteX61" fmla="*/ 742107 w 906515"/>
                <a:gd name="connsiteY61" fmla="*/ 107183 h 699414"/>
                <a:gd name="connsiteX62" fmla="*/ 740291 w 906515"/>
                <a:gd name="connsiteY62" fmla="*/ 101733 h 699414"/>
                <a:gd name="connsiteX63" fmla="*/ 736657 w 906515"/>
                <a:gd name="connsiteY63" fmla="*/ 95375 h 699414"/>
                <a:gd name="connsiteX64" fmla="*/ 734841 w 906515"/>
                <a:gd name="connsiteY64" fmla="*/ 89925 h 699414"/>
                <a:gd name="connsiteX65" fmla="*/ 733932 w 906515"/>
                <a:gd name="connsiteY65" fmla="*/ 76300 h 699414"/>
                <a:gd name="connsiteX66" fmla="*/ 734841 w 906515"/>
                <a:gd name="connsiteY66" fmla="*/ 68125 h 699414"/>
                <a:gd name="connsiteX67" fmla="*/ 740291 w 906515"/>
                <a:gd name="connsiteY67" fmla="*/ 62675 h 699414"/>
                <a:gd name="connsiteX68" fmla="*/ 746649 w 906515"/>
                <a:gd name="connsiteY68" fmla="*/ 59042 h 699414"/>
                <a:gd name="connsiteX69" fmla="*/ 755732 w 906515"/>
                <a:gd name="connsiteY69" fmla="*/ 59042 h 699414"/>
                <a:gd name="connsiteX70" fmla="*/ 765724 w 906515"/>
                <a:gd name="connsiteY70" fmla="*/ 59042 h 699414"/>
                <a:gd name="connsiteX71" fmla="*/ 784799 w 906515"/>
                <a:gd name="connsiteY71" fmla="*/ 62675 h 699414"/>
                <a:gd name="connsiteX72" fmla="*/ 799332 w 906515"/>
                <a:gd name="connsiteY72" fmla="*/ 64492 h 699414"/>
                <a:gd name="connsiteX73" fmla="*/ 804782 w 906515"/>
                <a:gd name="connsiteY73" fmla="*/ 64492 h 699414"/>
                <a:gd name="connsiteX74" fmla="*/ 804782 w 906515"/>
                <a:gd name="connsiteY74" fmla="*/ 62675 h 699414"/>
                <a:gd name="connsiteX75" fmla="*/ 804782 w 906515"/>
                <a:gd name="connsiteY75" fmla="*/ 60858 h 699414"/>
                <a:gd name="connsiteX76" fmla="*/ 804782 w 906515"/>
                <a:gd name="connsiteY76" fmla="*/ 56317 h 699414"/>
                <a:gd name="connsiteX77" fmla="*/ 806599 w 906515"/>
                <a:gd name="connsiteY77" fmla="*/ 58133 h 699414"/>
                <a:gd name="connsiteX78" fmla="*/ 812957 w 906515"/>
                <a:gd name="connsiteY78" fmla="*/ 69942 h 699414"/>
                <a:gd name="connsiteX79" fmla="*/ 823857 w 906515"/>
                <a:gd name="connsiteY79" fmla="*/ 85383 h 699414"/>
                <a:gd name="connsiteX80" fmla="*/ 828399 w 906515"/>
                <a:gd name="connsiteY80" fmla="*/ 88108 h 699414"/>
                <a:gd name="connsiteX81" fmla="*/ 830215 w 906515"/>
                <a:gd name="connsiteY81" fmla="*/ 88108 h 699414"/>
                <a:gd name="connsiteX82" fmla="*/ 833849 w 906515"/>
                <a:gd name="connsiteY82" fmla="*/ 88108 h 699414"/>
                <a:gd name="connsiteX83" fmla="*/ 842024 w 906515"/>
                <a:gd name="connsiteY83" fmla="*/ 81750 h 699414"/>
                <a:gd name="connsiteX84" fmla="*/ 849290 w 906515"/>
                <a:gd name="connsiteY84" fmla="*/ 81750 h 699414"/>
                <a:gd name="connsiteX85" fmla="*/ 852015 w 906515"/>
                <a:gd name="connsiteY85" fmla="*/ 83567 h 699414"/>
                <a:gd name="connsiteX86" fmla="*/ 855649 w 906515"/>
                <a:gd name="connsiteY86" fmla="*/ 88108 h 699414"/>
                <a:gd name="connsiteX87" fmla="*/ 861099 w 906515"/>
                <a:gd name="connsiteY87" fmla="*/ 103550 h 699414"/>
                <a:gd name="connsiteX88" fmla="*/ 865640 w 906515"/>
                <a:gd name="connsiteY88" fmla="*/ 113541 h 699414"/>
                <a:gd name="connsiteX89" fmla="*/ 874724 w 906515"/>
                <a:gd name="connsiteY89" fmla="*/ 125350 h 699414"/>
                <a:gd name="connsiteX90" fmla="*/ 881082 w 906515"/>
                <a:gd name="connsiteY90" fmla="*/ 136250 h 699414"/>
                <a:gd name="connsiteX91" fmla="*/ 884715 w 906515"/>
                <a:gd name="connsiteY91" fmla="*/ 142608 h 699414"/>
                <a:gd name="connsiteX92" fmla="*/ 884715 w 906515"/>
                <a:gd name="connsiteY92" fmla="*/ 149875 h 699414"/>
                <a:gd name="connsiteX93" fmla="*/ 882899 w 906515"/>
                <a:gd name="connsiteY93" fmla="*/ 156233 h 699414"/>
                <a:gd name="connsiteX94" fmla="*/ 882899 w 906515"/>
                <a:gd name="connsiteY94" fmla="*/ 164408 h 699414"/>
                <a:gd name="connsiteX95" fmla="*/ 886532 w 906515"/>
                <a:gd name="connsiteY95" fmla="*/ 176216 h 699414"/>
                <a:gd name="connsiteX96" fmla="*/ 892890 w 906515"/>
                <a:gd name="connsiteY96" fmla="*/ 193475 h 699414"/>
                <a:gd name="connsiteX97" fmla="*/ 906515 w 906515"/>
                <a:gd name="connsiteY97" fmla="*/ 217091 h 699414"/>
                <a:gd name="connsiteX98" fmla="*/ 898340 w 906515"/>
                <a:gd name="connsiteY98" fmla="*/ 220724 h 699414"/>
                <a:gd name="connsiteX99" fmla="*/ 891074 w 906515"/>
                <a:gd name="connsiteY99" fmla="*/ 224358 h 699414"/>
                <a:gd name="connsiteX100" fmla="*/ 884715 w 906515"/>
                <a:gd name="connsiteY100" fmla="*/ 230716 h 699414"/>
                <a:gd name="connsiteX101" fmla="*/ 882899 w 906515"/>
                <a:gd name="connsiteY101" fmla="*/ 234349 h 699414"/>
                <a:gd name="connsiteX102" fmla="*/ 882899 w 906515"/>
                <a:gd name="connsiteY102" fmla="*/ 240708 h 699414"/>
                <a:gd name="connsiteX103" fmla="*/ 879265 w 906515"/>
                <a:gd name="connsiteY103" fmla="*/ 247974 h 699414"/>
                <a:gd name="connsiteX104" fmla="*/ 875632 w 906515"/>
                <a:gd name="connsiteY104" fmla="*/ 253424 h 699414"/>
                <a:gd name="connsiteX105" fmla="*/ 869274 w 906515"/>
                <a:gd name="connsiteY105" fmla="*/ 254333 h 699414"/>
                <a:gd name="connsiteX106" fmla="*/ 862915 w 906515"/>
                <a:gd name="connsiteY106" fmla="*/ 254333 h 699414"/>
                <a:gd name="connsiteX107" fmla="*/ 849290 w 906515"/>
                <a:gd name="connsiteY107" fmla="*/ 253424 h 699414"/>
                <a:gd name="connsiteX108" fmla="*/ 843840 w 906515"/>
                <a:gd name="connsiteY108" fmla="*/ 253424 h 699414"/>
                <a:gd name="connsiteX109" fmla="*/ 838390 w 906515"/>
                <a:gd name="connsiteY109" fmla="*/ 256149 h 699414"/>
                <a:gd name="connsiteX110" fmla="*/ 837482 w 906515"/>
                <a:gd name="connsiteY110" fmla="*/ 257966 h 699414"/>
                <a:gd name="connsiteX111" fmla="*/ 838390 w 906515"/>
                <a:gd name="connsiteY111" fmla="*/ 257966 h 699414"/>
                <a:gd name="connsiteX112" fmla="*/ 843840 w 906515"/>
                <a:gd name="connsiteY112" fmla="*/ 259783 h 699414"/>
                <a:gd name="connsiteX113" fmla="*/ 862915 w 906515"/>
                <a:gd name="connsiteY113" fmla="*/ 263416 h 699414"/>
                <a:gd name="connsiteX114" fmla="*/ 869274 w 906515"/>
                <a:gd name="connsiteY114" fmla="*/ 266141 h 699414"/>
                <a:gd name="connsiteX115" fmla="*/ 871090 w 906515"/>
                <a:gd name="connsiteY115" fmla="*/ 266141 h 699414"/>
                <a:gd name="connsiteX116" fmla="*/ 872907 w 906515"/>
                <a:gd name="connsiteY116" fmla="*/ 267958 h 699414"/>
                <a:gd name="connsiteX117" fmla="*/ 871090 w 906515"/>
                <a:gd name="connsiteY117" fmla="*/ 269774 h 699414"/>
                <a:gd name="connsiteX118" fmla="*/ 869274 w 906515"/>
                <a:gd name="connsiteY118" fmla="*/ 273408 h 699414"/>
                <a:gd name="connsiteX119" fmla="*/ 855649 w 906515"/>
                <a:gd name="connsiteY119" fmla="*/ 278858 h 699414"/>
                <a:gd name="connsiteX120" fmla="*/ 849290 w 906515"/>
                <a:gd name="connsiteY120" fmla="*/ 283399 h 699414"/>
                <a:gd name="connsiteX121" fmla="*/ 845657 w 906515"/>
                <a:gd name="connsiteY121" fmla="*/ 288849 h 699414"/>
                <a:gd name="connsiteX122" fmla="*/ 843840 w 906515"/>
                <a:gd name="connsiteY122" fmla="*/ 293391 h 699414"/>
                <a:gd name="connsiteX123" fmla="*/ 842024 w 906515"/>
                <a:gd name="connsiteY123" fmla="*/ 300657 h 699414"/>
                <a:gd name="connsiteX124" fmla="*/ 842024 w 906515"/>
                <a:gd name="connsiteY124" fmla="*/ 305199 h 699414"/>
                <a:gd name="connsiteX125" fmla="*/ 840207 w 906515"/>
                <a:gd name="connsiteY125" fmla="*/ 310649 h 699414"/>
                <a:gd name="connsiteX126" fmla="*/ 835665 w 906515"/>
                <a:gd name="connsiteY126" fmla="*/ 314282 h 699414"/>
                <a:gd name="connsiteX127" fmla="*/ 828399 w 906515"/>
                <a:gd name="connsiteY127" fmla="*/ 317916 h 699414"/>
                <a:gd name="connsiteX128" fmla="*/ 814774 w 906515"/>
                <a:gd name="connsiteY128" fmla="*/ 318824 h 699414"/>
                <a:gd name="connsiteX129" fmla="*/ 801149 w 906515"/>
                <a:gd name="connsiteY129" fmla="*/ 324274 h 699414"/>
                <a:gd name="connsiteX130" fmla="*/ 779349 w 906515"/>
                <a:gd name="connsiteY130" fmla="*/ 332449 h 699414"/>
                <a:gd name="connsiteX131" fmla="*/ 769357 w 906515"/>
                <a:gd name="connsiteY131" fmla="*/ 336082 h 699414"/>
                <a:gd name="connsiteX132" fmla="*/ 760274 w 906515"/>
                <a:gd name="connsiteY132" fmla="*/ 337899 h 699414"/>
                <a:gd name="connsiteX133" fmla="*/ 752099 w 906515"/>
                <a:gd name="connsiteY133" fmla="*/ 337899 h 699414"/>
                <a:gd name="connsiteX134" fmla="*/ 745741 w 906515"/>
                <a:gd name="connsiteY134" fmla="*/ 332449 h 699414"/>
                <a:gd name="connsiteX135" fmla="*/ 742107 w 906515"/>
                <a:gd name="connsiteY135" fmla="*/ 329724 h 699414"/>
                <a:gd name="connsiteX136" fmla="*/ 738474 w 906515"/>
                <a:gd name="connsiteY136" fmla="*/ 327907 h 699414"/>
                <a:gd name="connsiteX137" fmla="*/ 734841 w 906515"/>
                <a:gd name="connsiteY137" fmla="*/ 327907 h 699414"/>
                <a:gd name="connsiteX138" fmla="*/ 732116 w 906515"/>
                <a:gd name="connsiteY138" fmla="*/ 329724 h 699414"/>
                <a:gd name="connsiteX139" fmla="*/ 728482 w 906515"/>
                <a:gd name="connsiteY139" fmla="*/ 334266 h 699414"/>
                <a:gd name="connsiteX140" fmla="*/ 723032 w 906515"/>
                <a:gd name="connsiteY140" fmla="*/ 343349 h 699414"/>
                <a:gd name="connsiteX141" fmla="*/ 720307 w 906515"/>
                <a:gd name="connsiteY141" fmla="*/ 351524 h 699414"/>
                <a:gd name="connsiteX142" fmla="*/ 714857 w 906515"/>
                <a:gd name="connsiteY142" fmla="*/ 356066 h 699414"/>
                <a:gd name="connsiteX143" fmla="*/ 711224 w 906515"/>
                <a:gd name="connsiteY143" fmla="*/ 357882 h 699414"/>
                <a:gd name="connsiteX144" fmla="*/ 707591 w 906515"/>
                <a:gd name="connsiteY144" fmla="*/ 357882 h 699414"/>
                <a:gd name="connsiteX145" fmla="*/ 703049 w 906515"/>
                <a:gd name="connsiteY145" fmla="*/ 356066 h 699414"/>
                <a:gd name="connsiteX146" fmla="*/ 699416 w 906515"/>
                <a:gd name="connsiteY146" fmla="*/ 351524 h 699414"/>
                <a:gd name="connsiteX147" fmla="*/ 693057 w 906515"/>
                <a:gd name="connsiteY147" fmla="*/ 346074 h 699414"/>
                <a:gd name="connsiteX148" fmla="*/ 685791 w 906515"/>
                <a:gd name="connsiteY148" fmla="*/ 341532 h 699414"/>
                <a:gd name="connsiteX149" fmla="*/ 681249 w 906515"/>
                <a:gd name="connsiteY149" fmla="*/ 339716 h 699414"/>
                <a:gd name="connsiteX150" fmla="*/ 677616 w 906515"/>
                <a:gd name="connsiteY150" fmla="*/ 339716 h 699414"/>
                <a:gd name="connsiteX151" fmla="*/ 672166 w 906515"/>
                <a:gd name="connsiteY151" fmla="*/ 339716 h 699414"/>
                <a:gd name="connsiteX152" fmla="*/ 669441 w 906515"/>
                <a:gd name="connsiteY152" fmla="*/ 341532 h 699414"/>
                <a:gd name="connsiteX153" fmla="*/ 662174 w 906515"/>
                <a:gd name="connsiteY153" fmla="*/ 347891 h 699414"/>
                <a:gd name="connsiteX154" fmla="*/ 656724 w 906515"/>
                <a:gd name="connsiteY154" fmla="*/ 356066 h 699414"/>
                <a:gd name="connsiteX155" fmla="*/ 653999 w 906515"/>
                <a:gd name="connsiteY155" fmla="*/ 365149 h 699414"/>
                <a:gd name="connsiteX156" fmla="*/ 648549 w 906515"/>
                <a:gd name="connsiteY156" fmla="*/ 371507 h 699414"/>
                <a:gd name="connsiteX157" fmla="*/ 646732 w 906515"/>
                <a:gd name="connsiteY157" fmla="*/ 376957 h 699414"/>
                <a:gd name="connsiteX158" fmla="*/ 643099 w 906515"/>
                <a:gd name="connsiteY158" fmla="*/ 375140 h 699414"/>
                <a:gd name="connsiteX159" fmla="*/ 636741 w 906515"/>
                <a:gd name="connsiteY159" fmla="*/ 371507 h 699414"/>
                <a:gd name="connsiteX160" fmla="*/ 630382 w 906515"/>
                <a:gd name="connsiteY160" fmla="*/ 366966 h 699414"/>
                <a:gd name="connsiteX161" fmla="*/ 628566 w 906515"/>
                <a:gd name="connsiteY161" fmla="*/ 359699 h 699414"/>
                <a:gd name="connsiteX162" fmla="*/ 624932 w 906515"/>
                <a:gd name="connsiteY162" fmla="*/ 355157 h 699414"/>
                <a:gd name="connsiteX163" fmla="*/ 619482 w 906515"/>
                <a:gd name="connsiteY163" fmla="*/ 351524 h 699414"/>
                <a:gd name="connsiteX164" fmla="*/ 614941 w 906515"/>
                <a:gd name="connsiteY164" fmla="*/ 349707 h 699414"/>
                <a:gd name="connsiteX165" fmla="*/ 610991 w 906515"/>
                <a:gd name="connsiteY165" fmla="*/ 351024 h 699414"/>
                <a:gd name="connsiteX166" fmla="*/ 594568 w 906515"/>
                <a:gd name="connsiteY166" fmla="*/ 342113 h 699414"/>
                <a:gd name="connsiteX167" fmla="*/ 549447 w 906515"/>
                <a:gd name="connsiteY167" fmla="*/ 343292 h 699414"/>
                <a:gd name="connsiteX168" fmla="*/ 519329 w 906515"/>
                <a:gd name="connsiteY168" fmla="*/ 362754 h 699414"/>
                <a:gd name="connsiteX169" fmla="*/ 513208 w 906515"/>
                <a:gd name="connsiteY169" fmla="*/ 372934 h 699414"/>
                <a:gd name="connsiteX170" fmla="*/ 513208 w 906515"/>
                <a:gd name="connsiteY170" fmla="*/ 369690 h 699414"/>
                <a:gd name="connsiteX171" fmla="*/ 511391 w 906515"/>
                <a:gd name="connsiteY171" fmla="*/ 366966 h 699414"/>
                <a:gd name="connsiteX172" fmla="*/ 505941 w 906515"/>
                <a:gd name="connsiteY172" fmla="*/ 361516 h 699414"/>
                <a:gd name="connsiteX173" fmla="*/ 499583 w 906515"/>
                <a:gd name="connsiteY173" fmla="*/ 357882 h 699414"/>
                <a:gd name="connsiteX174" fmla="*/ 484141 w 906515"/>
                <a:gd name="connsiteY174" fmla="*/ 349707 h 699414"/>
                <a:gd name="connsiteX175" fmla="*/ 474149 w 906515"/>
                <a:gd name="connsiteY175" fmla="*/ 347891 h 699414"/>
                <a:gd name="connsiteX176" fmla="*/ 472333 w 906515"/>
                <a:gd name="connsiteY176" fmla="*/ 347891 h 699414"/>
                <a:gd name="connsiteX177" fmla="*/ 470516 w 906515"/>
                <a:gd name="connsiteY177" fmla="*/ 347891 h 699414"/>
                <a:gd name="connsiteX178" fmla="*/ 470516 w 906515"/>
                <a:gd name="connsiteY178" fmla="*/ 351524 h 699414"/>
                <a:gd name="connsiteX179" fmla="*/ 478691 w 906515"/>
                <a:gd name="connsiteY179" fmla="*/ 366966 h 699414"/>
                <a:gd name="connsiteX180" fmla="*/ 482324 w 906515"/>
                <a:gd name="connsiteY180" fmla="*/ 376957 h 699414"/>
                <a:gd name="connsiteX181" fmla="*/ 484141 w 906515"/>
                <a:gd name="connsiteY181" fmla="*/ 386949 h 699414"/>
                <a:gd name="connsiteX182" fmla="*/ 484141 w 906515"/>
                <a:gd name="connsiteY182" fmla="*/ 414199 h 699414"/>
                <a:gd name="connsiteX183" fmla="*/ 482324 w 906515"/>
                <a:gd name="connsiteY183" fmla="*/ 420557 h 699414"/>
                <a:gd name="connsiteX184" fmla="*/ 480508 w 906515"/>
                <a:gd name="connsiteY184" fmla="*/ 426007 h 699414"/>
                <a:gd name="connsiteX185" fmla="*/ 476874 w 906515"/>
                <a:gd name="connsiteY185" fmla="*/ 429640 h 699414"/>
                <a:gd name="connsiteX186" fmla="*/ 474149 w 906515"/>
                <a:gd name="connsiteY186" fmla="*/ 431457 h 699414"/>
                <a:gd name="connsiteX187" fmla="*/ 468699 w 906515"/>
                <a:gd name="connsiteY187" fmla="*/ 431457 h 699414"/>
                <a:gd name="connsiteX188" fmla="*/ 462341 w 906515"/>
                <a:gd name="connsiteY188" fmla="*/ 434182 h 699414"/>
                <a:gd name="connsiteX189" fmla="*/ 453258 w 906515"/>
                <a:gd name="connsiteY189" fmla="*/ 437815 h 699414"/>
                <a:gd name="connsiteX190" fmla="*/ 443266 w 906515"/>
                <a:gd name="connsiteY190" fmla="*/ 446899 h 699414"/>
                <a:gd name="connsiteX191" fmla="*/ 439633 w 906515"/>
                <a:gd name="connsiteY191" fmla="*/ 451440 h 699414"/>
                <a:gd name="connsiteX192" fmla="*/ 435091 w 906515"/>
                <a:gd name="connsiteY192" fmla="*/ 453257 h 699414"/>
                <a:gd name="connsiteX193" fmla="*/ 431458 w 906515"/>
                <a:gd name="connsiteY193" fmla="*/ 451440 h 699414"/>
                <a:gd name="connsiteX194" fmla="*/ 427824 w 906515"/>
                <a:gd name="connsiteY194" fmla="*/ 449624 h 699414"/>
                <a:gd name="connsiteX195" fmla="*/ 424191 w 906515"/>
                <a:gd name="connsiteY195" fmla="*/ 443265 h 699414"/>
                <a:gd name="connsiteX196" fmla="*/ 421466 w 906515"/>
                <a:gd name="connsiteY196" fmla="*/ 433274 h 699414"/>
                <a:gd name="connsiteX197" fmla="*/ 417833 w 906515"/>
                <a:gd name="connsiteY197" fmla="*/ 412382 h 699414"/>
                <a:gd name="connsiteX198" fmla="*/ 417833 w 906515"/>
                <a:gd name="connsiteY198" fmla="*/ 407840 h 699414"/>
                <a:gd name="connsiteX199" fmla="*/ 416016 w 906515"/>
                <a:gd name="connsiteY199" fmla="*/ 407840 h 699414"/>
                <a:gd name="connsiteX200" fmla="*/ 416016 w 906515"/>
                <a:gd name="connsiteY200" fmla="*/ 417832 h 699414"/>
                <a:gd name="connsiteX201" fmla="*/ 417833 w 906515"/>
                <a:gd name="connsiteY201" fmla="*/ 431457 h 699414"/>
                <a:gd name="connsiteX202" fmla="*/ 421466 w 906515"/>
                <a:gd name="connsiteY202" fmla="*/ 458707 h 699414"/>
                <a:gd name="connsiteX203" fmla="*/ 421466 w 906515"/>
                <a:gd name="connsiteY203" fmla="*/ 468698 h 699414"/>
                <a:gd name="connsiteX204" fmla="*/ 419649 w 906515"/>
                <a:gd name="connsiteY204" fmla="*/ 472332 h 699414"/>
                <a:gd name="connsiteX205" fmla="*/ 417833 w 906515"/>
                <a:gd name="connsiteY205" fmla="*/ 475057 h 699414"/>
                <a:gd name="connsiteX206" fmla="*/ 414199 w 906515"/>
                <a:gd name="connsiteY206" fmla="*/ 475057 h 699414"/>
                <a:gd name="connsiteX207" fmla="*/ 407841 w 906515"/>
                <a:gd name="connsiteY207" fmla="*/ 475057 h 699414"/>
                <a:gd name="connsiteX208" fmla="*/ 400574 w 906515"/>
                <a:gd name="connsiteY208" fmla="*/ 473240 h 699414"/>
                <a:gd name="connsiteX209" fmla="*/ 392400 w 906515"/>
                <a:gd name="connsiteY209" fmla="*/ 468698 h 699414"/>
                <a:gd name="connsiteX210" fmla="*/ 390583 w 906515"/>
                <a:gd name="connsiteY210" fmla="*/ 468698 h 699414"/>
                <a:gd name="connsiteX211" fmla="*/ 388766 w 906515"/>
                <a:gd name="connsiteY211" fmla="*/ 468698 h 699414"/>
                <a:gd name="connsiteX212" fmla="*/ 382408 w 906515"/>
                <a:gd name="connsiteY212" fmla="*/ 473240 h 699414"/>
                <a:gd name="connsiteX213" fmla="*/ 366966 w 906515"/>
                <a:gd name="connsiteY213" fmla="*/ 488682 h 699414"/>
                <a:gd name="connsiteX214" fmla="*/ 359700 w 906515"/>
                <a:gd name="connsiteY214" fmla="*/ 494132 h 699414"/>
                <a:gd name="connsiteX215" fmla="*/ 356975 w 906515"/>
                <a:gd name="connsiteY215" fmla="*/ 494132 h 699414"/>
                <a:gd name="connsiteX216" fmla="*/ 353341 w 906515"/>
                <a:gd name="connsiteY216" fmla="*/ 494132 h 699414"/>
                <a:gd name="connsiteX217" fmla="*/ 351525 w 906515"/>
                <a:gd name="connsiteY217" fmla="*/ 492315 h 699414"/>
                <a:gd name="connsiteX218" fmla="*/ 349708 w 906515"/>
                <a:gd name="connsiteY218" fmla="*/ 488682 h 699414"/>
                <a:gd name="connsiteX219" fmla="*/ 347891 w 906515"/>
                <a:gd name="connsiteY219" fmla="*/ 475057 h 699414"/>
                <a:gd name="connsiteX220" fmla="*/ 347891 w 906515"/>
                <a:gd name="connsiteY220" fmla="*/ 468698 h 699414"/>
                <a:gd name="connsiteX221" fmla="*/ 346075 w 906515"/>
                <a:gd name="connsiteY221" fmla="*/ 468698 h 699414"/>
                <a:gd name="connsiteX222" fmla="*/ 341533 w 906515"/>
                <a:gd name="connsiteY222" fmla="*/ 478690 h 699414"/>
                <a:gd name="connsiteX223" fmla="*/ 337900 w 906515"/>
                <a:gd name="connsiteY223" fmla="*/ 485048 h 699414"/>
                <a:gd name="connsiteX224" fmla="*/ 334266 w 906515"/>
                <a:gd name="connsiteY224" fmla="*/ 492315 h 699414"/>
                <a:gd name="connsiteX225" fmla="*/ 329725 w 906515"/>
                <a:gd name="connsiteY225" fmla="*/ 497765 h 699414"/>
                <a:gd name="connsiteX226" fmla="*/ 326091 w 906515"/>
                <a:gd name="connsiteY226" fmla="*/ 498673 h 699414"/>
                <a:gd name="connsiteX227" fmla="*/ 322458 w 906515"/>
                <a:gd name="connsiteY227" fmla="*/ 498673 h 699414"/>
                <a:gd name="connsiteX228" fmla="*/ 317916 w 906515"/>
                <a:gd name="connsiteY228" fmla="*/ 498673 h 699414"/>
                <a:gd name="connsiteX229" fmla="*/ 314283 w 906515"/>
                <a:gd name="connsiteY229" fmla="*/ 497765 h 699414"/>
                <a:gd name="connsiteX230" fmla="*/ 312466 w 906515"/>
                <a:gd name="connsiteY230" fmla="*/ 494132 h 699414"/>
                <a:gd name="connsiteX231" fmla="*/ 310650 w 906515"/>
                <a:gd name="connsiteY231" fmla="*/ 492315 h 699414"/>
                <a:gd name="connsiteX232" fmla="*/ 308833 w 906515"/>
                <a:gd name="connsiteY232" fmla="*/ 492315 h 699414"/>
                <a:gd name="connsiteX233" fmla="*/ 298841 w 906515"/>
                <a:gd name="connsiteY233" fmla="*/ 492315 h 699414"/>
                <a:gd name="connsiteX234" fmla="*/ 295208 w 906515"/>
                <a:gd name="connsiteY234" fmla="*/ 492315 h 699414"/>
                <a:gd name="connsiteX235" fmla="*/ 292483 w 906515"/>
                <a:gd name="connsiteY235" fmla="*/ 490498 h 699414"/>
                <a:gd name="connsiteX236" fmla="*/ 285216 w 906515"/>
                <a:gd name="connsiteY236" fmla="*/ 485048 h 699414"/>
                <a:gd name="connsiteX237" fmla="*/ 283400 w 906515"/>
                <a:gd name="connsiteY237" fmla="*/ 485048 h 699414"/>
                <a:gd name="connsiteX238" fmla="*/ 281583 w 906515"/>
                <a:gd name="connsiteY238" fmla="*/ 485048 h 699414"/>
                <a:gd name="connsiteX239" fmla="*/ 283400 w 906515"/>
                <a:gd name="connsiteY239" fmla="*/ 492315 h 699414"/>
                <a:gd name="connsiteX240" fmla="*/ 285216 w 906515"/>
                <a:gd name="connsiteY240" fmla="*/ 497765 h 699414"/>
                <a:gd name="connsiteX241" fmla="*/ 285216 w 906515"/>
                <a:gd name="connsiteY241" fmla="*/ 502307 h 699414"/>
                <a:gd name="connsiteX242" fmla="*/ 283400 w 906515"/>
                <a:gd name="connsiteY242" fmla="*/ 505940 h 699414"/>
                <a:gd name="connsiteX243" fmla="*/ 280675 w 906515"/>
                <a:gd name="connsiteY243" fmla="*/ 507757 h 699414"/>
                <a:gd name="connsiteX244" fmla="*/ 275225 w 906515"/>
                <a:gd name="connsiteY244" fmla="*/ 507757 h 699414"/>
                <a:gd name="connsiteX245" fmla="*/ 269775 w 906515"/>
                <a:gd name="connsiteY245" fmla="*/ 507757 h 699414"/>
                <a:gd name="connsiteX246" fmla="*/ 265233 w 906515"/>
                <a:gd name="connsiteY246" fmla="*/ 504123 h 699414"/>
                <a:gd name="connsiteX247" fmla="*/ 261600 w 906515"/>
                <a:gd name="connsiteY247" fmla="*/ 500490 h 699414"/>
                <a:gd name="connsiteX248" fmla="*/ 256150 w 906515"/>
                <a:gd name="connsiteY248" fmla="*/ 495948 h 699414"/>
                <a:gd name="connsiteX249" fmla="*/ 255241 w 906515"/>
                <a:gd name="connsiteY249" fmla="*/ 494132 h 699414"/>
                <a:gd name="connsiteX250" fmla="*/ 255241 w 906515"/>
                <a:gd name="connsiteY250" fmla="*/ 495948 h 699414"/>
                <a:gd name="connsiteX251" fmla="*/ 256150 w 906515"/>
                <a:gd name="connsiteY251" fmla="*/ 505940 h 699414"/>
                <a:gd name="connsiteX252" fmla="*/ 256150 w 906515"/>
                <a:gd name="connsiteY252" fmla="*/ 512298 h 699414"/>
                <a:gd name="connsiteX253" fmla="*/ 255241 w 906515"/>
                <a:gd name="connsiteY253" fmla="*/ 519565 h 699414"/>
                <a:gd name="connsiteX254" fmla="*/ 253425 w 906515"/>
                <a:gd name="connsiteY254" fmla="*/ 523198 h 699414"/>
                <a:gd name="connsiteX255" fmla="*/ 251608 w 906515"/>
                <a:gd name="connsiteY255" fmla="*/ 525923 h 699414"/>
                <a:gd name="connsiteX256" fmla="*/ 246158 w 906515"/>
                <a:gd name="connsiteY256" fmla="*/ 525923 h 699414"/>
                <a:gd name="connsiteX257" fmla="*/ 241616 w 906515"/>
                <a:gd name="connsiteY257" fmla="*/ 527740 h 699414"/>
                <a:gd name="connsiteX258" fmla="*/ 228900 w 906515"/>
                <a:gd name="connsiteY258" fmla="*/ 527740 h 699414"/>
                <a:gd name="connsiteX259" fmla="*/ 220725 w 906515"/>
                <a:gd name="connsiteY259" fmla="*/ 529557 h 699414"/>
                <a:gd name="connsiteX260" fmla="*/ 210733 w 906515"/>
                <a:gd name="connsiteY260" fmla="*/ 533190 h 699414"/>
                <a:gd name="connsiteX261" fmla="*/ 205283 w 906515"/>
                <a:gd name="connsiteY261" fmla="*/ 536823 h 699414"/>
                <a:gd name="connsiteX262" fmla="*/ 202558 w 906515"/>
                <a:gd name="connsiteY262" fmla="*/ 536823 h 699414"/>
                <a:gd name="connsiteX263" fmla="*/ 197108 w 906515"/>
                <a:gd name="connsiteY263" fmla="*/ 536823 h 699414"/>
                <a:gd name="connsiteX264" fmla="*/ 189842 w 906515"/>
                <a:gd name="connsiteY264" fmla="*/ 535007 h 699414"/>
                <a:gd name="connsiteX265" fmla="*/ 181667 w 906515"/>
                <a:gd name="connsiteY265" fmla="*/ 535007 h 699414"/>
                <a:gd name="connsiteX266" fmla="*/ 168042 w 906515"/>
                <a:gd name="connsiteY266" fmla="*/ 537732 h 699414"/>
                <a:gd name="connsiteX267" fmla="*/ 154417 w 906515"/>
                <a:gd name="connsiteY267" fmla="*/ 543181 h 699414"/>
                <a:gd name="connsiteX268" fmla="*/ 138975 w 906515"/>
                <a:gd name="connsiteY268" fmla="*/ 546815 h 699414"/>
                <a:gd name="connsiteX269" fmla="*/ 134433 w 906515"/>
                <a:gd name="connsiteY269" fmla="*/ 548631 h 699414"/>
                <a:gd name="connsiteX270" fmla="*/ 128983 w 906515"/>
                <a:gd name="connsiteY270" fmla="*/ 553173 h 699414"/>
                <a:gd name="connsiteX271" fmla="*/ 120808 w 906515"/>
                <a:gd name="connsiteY271" fmla="*/ 562256 h 699414"/>
                <a:gd name="connsiteX272" fmla="*/ 117175 w 906515"/>
                <a:gd name="connsiteY272" fmla="*/ 564981 h 699414"/>
                <a:gd name="connsiteX273" fmla="*/ 113542 w 906515"/>
                <a:gd name="connsiteY273" fmla="*/ 564981 h 699414"/>
                <a:gd name="connsiteX274" fmla="*/ 110817 w 906515"/>
                <a:gd name="connsiteY274" fmla="*/ 563165 h 699414"/>
                <a:gd name="connsiteX275" fmla="*/ 107183 w 906515"/>
                <a:gd name="connsiteY275" fmla="*/ 556806 h 699414"/>
                <a:gd name="connsiteX276" fmla="*/ 105367 w 906515"/>
                <a:gd name="connsiteY276" fmla="*/ 546815 h 699414"/>
                <a:gd name="connsiteX277" fmla="*/ 103550 w 906515"/>
                <a:gd name="connsiteY277" fmla="*/ 544998 h 699414"/>
                <a:gd name="connsiteX278" fmla="*/ 101733 w 906515"/>
                <a:gd name="connsiteY278" fmla="*/ 544998 h 699414"/>
                <a:gd name="connsiteX279" fmla="*/ 99008 w 906515"/>
                <a:gd name="connsiteY279" fmla="*/ 546815 h 699414"/>
                <a:gd name="connsiteX280" fmla="*/ 97192 w 906515"/>
                <a:gd name="connsiteY280" fmla="*/ 553173 h 699414"/>
                <a:gd name="connsiteX281" fmla="*/ 89925 w 906515"/>
                <a:gd name="connsiteY281" fmla="*/ 572248 h 699414"/>
                <a:gd name="connsiteX282" fmla="*/ 86292 w 906515"/>
                <a:gd name="connsiteY282" fmla="*/ 580423 h 699414"/>
                <a:gd name="connsiteX283" fmla="*/ 83567 w 906515"/>
                <a:gd name="connsiteY283" fmla="*/ 585873 h 699414"/>
                <a:gd name="connsiteX284" fmla="*/ 71758 w 906515"/>
                <a:gd name="connsiteY284" fmla="*/ 594048 h 699414"/>
                <a:gd name="connsiteX285" fmla="*/ 64492 w 906515"/>
                <a:gd name="connsiteY285" fmla="*/ 601315 h 699414"/>
                <a:gd name="connsiteX286" fmla="*/ 64492 w 906515"/>
                <a:gd name="connsiteY286" fmla="*/ 605856 h 699414"/>
                <a:gd name="connsiteX287" fmla="*/ 66308 w 906515"/>
                <a:gd name="connsiteY287" fmla="*/ 609490 h 699414"/>
                <a:gd name="connsiteX288" fmla="*/ 76300 w 906515"/>
                <a:gd name="connsiteY288" fmla="*/ 617665 h 699414"/>
                <a:gd name="connsiteX289" fmla="*/ 79933 w 906515"/>
                <a:gd name="connsiteY289" fmla="*/ 624931 h 699414"/>
                <a:gd name="connsiteX290" fmla="*/ 83567 w 906515"/>
                <a:gd name="connsiteY290" fmla="*/ 633106 h 699414"/>
                <a:gd name="connsiteX291" fmla="*/ 86292 w 906515"/>
                <a:gd name="connsiteY291" fmla="*/ 641281 h 699414"/>
                <a:gd name="connsiteX292" fmla="*/ 89925 w 906515"/>
                <a:gd name="connsiteY292" fmla="*/ 650364 h 699414"/>
                <a:gd name="connsiteX293" fmla="*/ 95375 w 906515"/>
                <a:gd name="connsiteY293" fmla="*/ 658539 h 699414"/>
                <a:gd name="connsiteX294" fmla="*/ 99917 w 906515"/>
                <a:gd name="connsiteY294" fmla="*/ 666714 h 699414"/>
                <a:gd name="connsiteX295" fmla="*/ 101733 w 906515"/>
                <a:gd name="connsiteY295" fmla="*/ 673981 h 699414"/>
                <a:gd name="connsiteX296" fmla="*/ 101733 w 906515"/>
                <a:gd name="connsiteY296" fmla="*/ 679431 h 699414"/>
                <a:gd name="connsiteX297" fmla="*/ 99917 w 906515"/>
                <a:gd name="connsiteY297" fmla="*/ 682156 h 699414"/>
                <a:gd name="connsiteX298" fmla="*/ 99008 w 906515"/>
                <a:gd name="connsiteY298" fmla="*/ 685789 h 699414"/>
                <a:gd name="connsiteX299" fmla="*/ 93558 w 906515"/>
                <a:gd name="connsiteY299" fmla="*/ 689423 h 699414"/>
                <a:gd name="connsiteX300" fmla="*/ 79933 w 906515"/>
                <a:gd name="connsiteY300" fmla="*/ 695781 h 699414"/>
                <a:gd name="connsiteX301" fmla="*/ 71758 w 906515"/>
                <a:gd name="connsiteY301" fmla="*/ 697598 h 699414"/>
                <a:gd name="connsiteX302" fmla="*/ 62675 w 906515"/>
                <a:gd name="connsiteY302" fmla="*/ 699414 h 699414"/>
                <a:gd name="connsiteX303" fmla="*/ 58133 w 906515"/>
                <a:gd name="connsiteY303" fmla="*/ 697598 h 699414"/>
                <a:gd name="connsiteX304" fmla="*/ 52683 w 906515"/>
                <a:gd name="connsiteY304" fmla="*/ 695781 h 699414"/>
                <a:gd name="connsiteX305" fmla="*/ 49050 w 906515"/>
                <a:gd name="connsiteY305" fmla="*/ 691239 h 699414"/>
                <a:gd name="connsiteX306" fmla="*/ 46325 w 906515"/>
                <a:gd name="connsiteY306" fmla="*/ 685789 h 699414"/>
                <a:gd name="connsiteX307" fmla="*/ 40875 w 906515"/>
                <a:gd name="connsiteY307" fmla="*/ 673981 h 699414"/>
                <a:gd name="connsiteX308" fmla="*/ 39059 w 906515"/>
                <a:gd name="connsiteY308" fmla="*/ 668531 h 699414"/>
                <a:gd name="connsiteX309" fmla="*/ 37242 w 906515"/>
                <a:gd name="connsiteY309" fmla="*/ 666714 h 699414"/>
                <a:gd name="connsiteX310" fmla="*/ 34517 w 906515"/>
                <a:gd name="connsiteY310" fmla="*/ 665806 h 699414"/>
                <a:gd name="connsiteX311" fmla="*/ 30884 w 906515"/>
                <a:gd name="connsiteY311" fmla="*/ 663989 h 699414"/>
                <a:gd name="connsiteX312" fmla="*/ 25434 w 906515"/>
                <a:gd name="connsiteY312" fmla="*/ 658539 h 699414"/>
                <a:gd name="connsiteX313" fmla="*/ 19075 w 906515"/>
                <a:gd name="connsiteY313" fmla="*/ 650364 h 699414"/>
                <a:gd name="connsiteX314" fmla="*/ 9992 w 906515"/>
                <a:gd name="connsiteY314" fmla="*/ 634923 h 699414"/>
                <a:gd name="connsiteX315" fmla="*/ 5450 w 906515"/>
                <a:gd name="connsiteY315" fmla="*/ 623115 h 699414"/>
                <a:gd name="connsiteX316" fmla="*/ 1817 w 906515"/>
                <a:gd name="connsiteY316" fmla="*/ 615848 h 699414"/>
                <a:gd name="connsiteX317" fmla="*/ 0 w 906515"/>
                <a:gd name="connsiteY317" fmla="*/ 611306 h 699414"/>
                <a:gd name="connsiteX318" fmla="*/ 1817 w 906515"/>
                <a:gd name="connsiteY318" fmla="*/ 607673 h 699414"/>
                <a:gd name="connsiteX319" fmla="*/ 5450 w 906515"/>
                <a:gd name="connsiteY319" fmla="*/ 601315 h 699414"/>
                <a:gd name="connsiteX320" fmla="*/ 5450 w 906515"/>
                <a:gd name="connsiteY320" fmla="*/ 595865 h 699414"/>
                <a:gd name="connsiteX321" fmla="*/ 5450 w 906515"/>
                <a:gd name="connsiteY321" fmla="*/ 588598 h 699414"/>
                <a:gd name="connsiteX322" fmla="*/ 5450 w 906515"/>
                <a:gd name="connsiteY322" fmla="*/ 580423 h 699414"/>
                <a:gd name="connsiteX323" fmla="*/ 7267 w 906515"/>
                <a:gd name="connsiteY323" fmla="*/ 574065 h 699414"/>
                <a:gd name="connsiteX324" fmla="*/ 9992 w 906515"/>
                <a:gd name="connsiteY324" fmla="*/ 566798 h 699414"/>
                <a:gd name="connsiteX325" fmla="*/ 13625 w 906515"/>
                <a:gd name="connsiteY325" fmla="*/ 558623 h 699414"/>
                <a:gd name="connsiteX326" fmla="*/ 15442 w 906515"/>
                <a:gd name="connsiteY326" fmla="*/ 554990 h 699414"/>
                <a:gd name="connsiteX327" fmla="*/ 19075 w 906515"/>
                <a:gd name="connsiteY327" fmla="*/ 551356 h 699414"/>
                <a:gd name="connsiteX328" fmla="*/ 27250 w 906515"/>
                <a:gd name="connsiteY328" fmla="*/ 543181 h 699414"/>
                <a:gd name="connsiteX329" fmla="*/ 29067 w 906515"/>
                <a:gd name="connsiteY329" fmla="*/ 539548 h 699414"/>
                <a:gd name="connsiteX330" fmla="*/ 29067 w 906515"/>
                <a:gd name="connsiteY330" fmla="*/ 536823 h 699414"/>
                <a:gd name="connsiteX331" fmla="*/ 23617 w 906515"/>
                <a:gd name="connsiteY331" fmla="*/ 535007 h 699414"/>
                <a:gd name="connsiteX332" fmla="*/ 15442 w 906515"/>
                <a:gd name="connsiteY332" fmla="*/ 533190 h 699414"/>
                <a:gd name="connsiteX333" fmla="*/ 13625 w 906515"/>
                <a:gd name="connsiteY333" fmla="*/ 524107 h 699414"/>
                <a:gd name="connsiteX334" fmla="*/ 15442 w 906515"/>
                <a:gd name="connsiteY334" fmla="*/ 517748 h 699414"/>
                <a:gd name="connsiteX335" fmla="*/ 17259 w 906515"/>
                <a:gd name="connsiteY335" fmla="*/ 514115 h 699414"/>
                <a:gd name="connsiteX336" fmla="*/ 20892 w 906515"/>
                <a:gd name="connsiteY336" fmla="*/ 512298 h 699414"/>
                <a:gd name="connsiteX337" fmla="*/ 25434 w 906515"/>
                <a:gd name="connsiteY337" fmla="*/ 511390 h 699414"/>
                <a:gd name="connsiteX338" fmla="*/ 29067 w 906515"/>
                <a:gd name="connsiteY338" fmla="*/ 505940 h 699414"/>
                <a:gd name="connsiteX339" fmla="*/ 32700 w 906515"/>
                <a:gd name="connsiteY339" fmla="*/ 498673 h 699414"/>
                <a:gd name="connsiteX340" fmla="*/ 35425 w 906515"/>
                <a:gd name="connsiteY340" fmla="*/ 488682 h 699414"/>
                <a:gd name="connsiteX341" fmla="*/ 35425 w 906515"/>
                <a:gd name="connsiteY341" fmla="*/ 485048 h 699414"/>
                <a:gd name="connsiteX342" fmla="*/ 39059 w 906515"/>
                <a:gd name="connsiteY342" fmla="*/ 484140 h 699414"/>
                <a:gd name="connsiteX343" fmla="*/ 46325 w 906515"/>
                <a:gd name="connsiteY343" fmla="*/ 480507 h 699414"/>
                <a:gd name="connsiteX344" fmla="*/ 66308 w 906515"/>
                <a:gd name="connsiteY344" fmla="*/ 480507 h 699414"/>
                <a:gd name="connsiteX345" fmla="*/ 76300 w 906515"/>
                <a:gd name="connsiteY345" fmla="*/ 480507 h 699414"/>
                <a:gd name="connsiteX346" fmla="*/ 81750 w 906515"/>
                <a:gd name="connsiteY346" fmla="*/ 478690 h 699414"/>
                <a:gd name="connsiteX347" fmla="*/ 85383 w 906515"/>
                <a:gd name="connsiteY347" fmla="*/ 476873 h 699414"/>
                <a:gd name="connsiteX348" fmla="*/ 86292 w 906515"/>
                <a:gd name="connsiteY348" fmla="*/ 473240 h 699414"/>
                <a:gd name="connsiteX349" fmla="*/ 88108 w 906515"/>
                <a:gd name="connsiteY349" fmla="*/ 470515 h 699414"/>
                <a:gd name="connsiteX350" fmla="*/ 88108 w 906515"/>
                <a:gd name="connsiteY350" fmla="*/ 465065 h 699414"/>
                <a:gd name="connsiteX351" fmla="*/ 86292 w 906515"/>
                <a:gd name="connsiteY351" fmla="*/ 458707 h 699414"/>
                <a:gd name="connsiteX352" fmla="*/ 83567 w 906515"/>
                <a:gd name="connsiteY352" fmla="*/ 447807 h 699414"/>
                <a:gd name="connsiteX353" fmla="*/ 83567 w 906515"/>
                <a:gd name="connsiteY353" fmla="*/ 441449 h 699414"/>
                <a:gd name="connsiteX354" fmla="*/ 85383 w 906515"/>
                <a:gd name="connsiteY354" fmla="*/ 441449 h 699414"/>
                <a:gd name="connsiteX355" fmla="*/ 86292 w 906515"/>
                <a:gd name="connsiteY355" fmla="*/ 441449 h 699414"/>
                <a:gd name="connsiteX356" fmla="*/ 91742 w 906515"/>
                <a:gd name="connsiteY356" fmla="*/ 441449 h 699414"/>
                <a:gd name="connsiteX357" fmla="*/ 99008 w 906515"/>
                <a:gd name="connsiteY357" fmla="*/ 441449 h 699414"/>
                <a:gd name="connsiteX358" fmla="*/ 107183 w 906515"/>
                <a:gd name="connsiteY358" fmla="*/ 441449 h 699414"/>
                <a:gd name="connsiteX359" fmla="*/ 117175 w 906515"/>
                <a:gd name="connsiteY359" fmla="*/ 439632 h 699414"/>
                <a:gd name="connsiteX360" fmla="*/ 122625 w 906515"/>
                <a:gd name="connsiteY360" fmla="*/ 435999 h 699414"/>
                <a:gd name="connsiteX361" fmla="*/ 127167 w 906515"/>
                <a:gd name="connsiteY361" fmla="*/ 431457 h 699414"/>
                <a:gd name="connsiteX362" fmla="*/ 134433 w 906515"/>
                <a:gd name="connsiteY362" fmla="*/ 424190 h 699414"/>
                <a:gd name="connsiteX363" fmla="*/ 136250 w 906515"/>
                <a:gd name="connsiteY363" fmla="*/ 420557 h 699414"/>
                <a:gd name="connsiteX364" fmla="*/ 136250 w 906515"/>
                <a:gd name="connsiteY364" fmla="*/ 419649 h 699414"/>
                <a:gd name="connsiteX365" fmla="*/ 134433 w 906515"/>
                <a:gd name="connsiteY365" fmla="*/ 417832 h 699414"/>
                <a:gd name="connsiteX366" fmla="*/ 130800 w 906515"/>
                <a:gd name="connsiteY366" fmla="*/ 416015 h 699414"/>
                <a:gd name="connsiteX367" fmla="*/ 128983 w 906515"/>
                <a:gd name="connsiteY367" fmla="*/ 410565 h 699414"/>
                <a:gd name="connsiteX368" fmla="*/ 127167 w 906515"/>
                <a:gd name="connsiteY368" fmla="*/ 406024 h 699414"/>
                <a:gd name="connsiteX369" fmla="*/ 130800 w 906515"/>
                <a:gd name="connsiteY369" fmla="*/ 395124 h 699414"/>
                <a:gd name="connsiteX370" fmla="*/ 132617 w 906515"/>
                <a:gd name="connsiteY370" fmla="*/ 392399 h 699414"/>
                <a:gd name="connsiteX371" fmla="*/ 136250 w 906515"/>
                <a:gd name="connsiteY371" fmla="*/ 388765 h 699414"/>
                <a:gd name="connsiteX372" fmla="*/ 148058 w 906515"/>
                <a:gd name="connsiteY372" fmla="*/ 385132 h 699414"/>
                <a:gd name="connsiteX373" fmla="*/ 161683 w 906515"/>
                <a:gd name="connsiteY373" fmla="*/ 382407 h 699414"/>
                <a:gd name="connsiteX374" fmla="*/ 166225 w 906515"/>
                <a:gd name="connsiteY374" fmla="*/ 380590 h 699414"/>
                <a:gd name="connsiteX375" fmla="*/ 171675 w 906515"/>
                <a:gd name="connsiteY375" fmla="*/ 378774 h 699414"/>
                <a:gd name="connsiteX376" fmla="*/ 188933 w 906515"/>
                <a:gd name="connsiteY376" fmla="*/ 365149 h 699414"/>
                <a:gd name="connsiteX377" fmla="*/ 195292 w 906515"/>
                <a:gd name="connsiteY377" fmla="*/ 361516 h 699414"/>
                <a:gd name="connsiteX378" fmla="*/ 202558 w 906515"/>
                <a:gd name="connsiteY378" fmla="*/ 356066 h 699414"/>
                <a:gd name="connsiteX379" fmla="*/ 205283 w 906515"/>
                <a:gd name="connsiteY379" fmla="*/ 349707 h 699414"/>
                <a:gd name="connsiteX380" fmla="*/ 208917 w 906515"/>
                <a:gd name="connsiteY380" fmla="*/ 343349 h 699414"/>
                <a:gd name="connsiteX381" fmla="*/ 210733 w 906515"/>
                <a:gd name="connsiteY381" fmla="*/ 336082 h 699414"/>
                <a:gd name="connsiteX382" fmla="*/ 212550 w 906515"/>
                <a:gd name="connsiteY382" fmla="*/ 322457 h 699414"/>
                <a:gd name="connsiteX383" fmla="*/ 212550 w 906515"/>
                <a:gd name="connsiteY383" fmla="*/ 305199 h 699414"/>
                <a:gd name="connsiteX384" fmla="*/ 210733 w 906515"/>
                <a:gd name="connsiteY384" fmla="*/ 290666 h 699414"/>
                <a:gd name="connsiteX385" fmla="*/ 212550 w 906515"/>
                <a:gd name="connsiteY385" fmla="*/ 281582 h 699414"/>
                <a:gd name="connsiteX386" fmla="*/ 214367 w 906515"/>
                <a:gd name="connsiteY386" fmla="*/ 273408 h 699414"/>
                <a:gd name="connsiteX387" fmla="*/ 216183 w 906515"/>
                <a:gd name="connsiteY387" fmla="*/ 266141 h 699414"/>
                <a:gd name="connsiteX388" fmla="*/ 220725 w 906515"/>
                <a:gd name="connsiteY388" fmla="*/ 259783 h 699414"/>
                <a:gd name="connsiteX389" fmla="*/ 226175 w 906515"/>
                <a:gd name="connsiteY389" fmla="*/ 251608 h 699414"/>
                <a:gd name="connsiteX390" fmla="*/ 234350 w 906515"/>
                <a:gd name="connsiteY390" fmla="*/ 244341 h 699414"/>
                <a:gd name="connsiteX391" fmla="*/ 239800 w 906515"/>
                <a:gd name="connsiteY391" fmla="*/ 239799 h 699414"/>
                <a:gd name="connsiteX392" fmla="*/ 239800 w 906515"/>
                <a:gd name="connsiteY392" fmla="*/ 236166 h 699414"/>
                <a:gd name="connsiteX393" fmla="*/ 239800 w 906515"/>
                <a:gd name="connsiteY393" fmla="*/ 234349 h 699414"/>
                <a:gd name="connsiteX394" fmla="*/ 241616 w 906515"/>
                <a:gd name="connsiteY394" fmla="*/ 232533 h 699414"/>
                <a:gd name="connsiteX395" fmla="*/ 247975 w 906515"/>
                <a:gd name="connsiteY395" fmla="*/ 224358 h 699414"/>
                <a:gd name="connsiteX396" fmla="*/ 265233 w 906515"/>
                <a:gd name="connsiteY396" fmla="*/ 210733 h 699414"/>
                <a:gd name="connsiteX397" fmla="*/ 267958 w 906515"/>
                <a:gd name="connsiteY397" fmla="*/ 205283 h 699414"/>
                <a:gd name="connsiteX398" fmla="*/ 271591 w 906515"/>
                <a:gd name="connsiteY398" fmla="*/ 200741 h 699414"/>
                <a:gd name="connsiteX399" fmla="*/ 273408 w 906515"/>
                <a:gd name="connsiteY399" fmla="*/ 195291 h 699414"/>
                <a:gd name="connsiteX400" fmla="*/ 273408 w 906515"/>
                <a:gd name="connsiteY400" fmla="*/ 191658 h 699414"/>
                <a:gd name="connsiteX401" fmla="*/ 271591 w 906515"/>
                <a:gd name="connsiteY401" fmla="*/ 185300 h 699414"/>
                <a:gd name="connsiteX402" fmla="*/ 267958 w 906515"/>
                <a:gd name="connsiteY402" fmla="*/ 179850 h 699414"/>
                <a:gd name="connsiteX403" fmla="*/ 267050 w 906515"/>
                <a:gd name="connsiteY403" fmla="*/ 176216 h 699414"/>
                <a:gd name="connsiteX404" fmla="*/ 265233 w 906515"/>
                <a:gd name="connsiteY404" fmla="*/ 175308 h 699414"/>
                <a:gd name="connsiteX405" fmla="*/ 267050 w 906515"/>
                <a:gd name="connsiteY405" fmla="*/ 171675 h 699414"/>
                <a:gd name="connsiteX406" fmla="*/ 273408 w 906515"/>
                <a:gd name="connsiteY406" fmla="*/ 168041 h 699414"/>
                <a:gd name="connsiteX407" fmla="*/ 278858 w 906515"/>
                <a:gd name="connsiteY407" fmla="*/ 164408 h 699414"/>
                <a:gd name="connsiteX408" fmla="*/ 281583 w 906515"/>
                <a:gd name="connsiteY408" fmla="*/ 161683 h 699414"/>
                <a:gd name="connsiteX409" fmla="*/ 285216 w 906515"/>
                <a:gd name="connsiteY409" fmla="*/ 156233 h 699414"/>
                <a:gd name="connsiteX410" fmla="*/ 287033 w 906515"/>
                <a:gd name="connsiteY410" fmla="*/ 152600 h 699414"/>
                <a:gd name="connsiteX411" fmla="*/ 287033 w 906515"/>
                <a:gd name="connsiteY411" fmla="*/ 144425 h 699414"/>
                <a:gd name="connsiteX412" fmla="*/ 283400 w 906515"/>
                <a:gd name="connsiteY412" fmla="*/ 136250 h 699414"/>
                <a:gd name="connsiteX413" fmla="*/ 277041 w 906515"/>
                <a:gd name="connsiteY413" fmla="*/ 118991 h 699414"/>
                <a:gd name="connsiteX414" fmla="*/ 275225 w 906515"/>
                <a:gd name="connsiteY414" fmla="*/ 109000 h 699414"/>
                <a:gd name="connsiteX415" fmla="*/ 277041 w 906515"/>
                <a:gd name="connsiteY415" fmla="*/ 105367 h 699414"/>
                <a:gd name="connsiteX416" fmla="*/ 277041 w 906515"/>
                <a:gd name="connsiteY416" fmla="*/ 99917 h 699414"/>
                <a:gd name="connsiteX417" fmla="*/ 281583 w 906515"/>
                <a:gd name="connsiteY417" fmla="*/ 101733 h 699414"/>
                <a:gd name="connsiteX418" fmla="*/ 287033 w 906515"/>
                <a:gd name="connsiteY418" fmla="*/ 99917 h 699414"/>
                <a:gd name="connsiteX419" fmla="*/ 288850 w 906515"/>
                <a:gd name="connsiteY419" fmla="*/ 98100 h 699414"/>
                <a:gd name="connsiteX420" fmla="*/ 292483 w 906515"/>
                <a:gd name="connsiteY420" fmla="*/ 95375 h 699414"/>
                <a:gd name="connsiteX421" fmla="*/ 295208 w 906515"/>
                <a:gd name="connsiteY421" fmla="*/ 86292 h 699414"/>
                <a:gd name="connsiteX422" fmla="*/ 297025 w 906515"/>
                <a:gd name="connsiteY422" fmla="*/ 76300 h 699414"/>
                <a:gd name="connsiteX423" fmla="*/ 300658 w 906515"/>
                <a:gd name="connsiteY423" fmla="*/ 56317 h 699414"/>
                <a:gd name="connsiteX424" fmla="*/ 302475 w 906515"/>
                <a:gd name="connsiteY424" fmla="*/ 49050 h 699414"/>
                <a:gd name="connsiteX425" fmla="*/ 304291 w 906515"/>
                <a:gd name="connsiteY425" fmla="*/ 47233 h 699414"/>
                <a:gd name="connsiteX426" fmla="*/ 307016 w 906515"/>
                <a:gd name="connsiteY426" fmla="*/ 46325 h 699414"/>
                <a:gd name="connsiteX427" fmla="*/ 319733 w 906515"/>
                <a:gd name="connsiteY427" fmla="*/ 44508 h 699414"/>
                <a:gd name="connsiteX428" fmla="*/ 329725 w 906515"/>
                <a:gd name="connsiteY428" fmla="*/ 44508 h 699414"/>
                <a:gd name="connsiteX429" fmla="*/ 337900 w 906515"/>
                <a:gd name="connsiteY429" fmla="*/ 44508 h 699414"/>
                <a:gd name="connsiteX430" fmla="*/ 346075 w 906515"/>
                <a:gd name="connsiteY430" fmla="*/ 46325 h 699414"/>
                <a:gd name="connsiteX431" fmla="*/ 351525 w 906515"/>
                <a:gd name="connsiteY431" fmla="*/ 49050 h 699414"/>
                <a:gd name="connsiteX432" fmla="*/ 358791 w 906515"/>
                <a:gd name="connsiteY432" fmla="*/ 52683 h 699414"/>
                <a:gd name="connsiteX433" fmla="*/ 366966 w 906515"/>
                <a:gd name="connsiteY433" fmla="*/ 60858 h 699414"/>
                <a:gd name="connsiteX434" fmla="*/ 373325 w 906515"/>
                <a:gd name="connsiteY434" fmla="*/ 69942 h 699414"/>
                <a:gd name="connsiteX435" fmla="*/ 380591 w 906515"/>
                <a:gd name="connsiteY435" fmla="*/ 74483 h 699414"/>
                <a:gd name="connsiteX436" fmla="*/ 384225 w 906515"/>
                <a:gd name="connsiteY436" fmla="*/ 76300 h 699414"/>
                <a:gd name="connsiteX437" fmla="*/ 386950 w 906515"/>
                <a:gd name="connsiteY437" fmla="*/ 76300 h 699414"/>
                <a:gd name="connsiteX438" fmla="*/ 390583 w 906515"/>
                <a:gd name="connsiteY438" fmla="*/ 74483 h 699414"/>
                <a:gd name="connsiteX439" fmla="*/ 396033 w 906515"/>
                <a:gd name="connsiteY439" fmla="*/ 71758 h 699414"/>
                <a:gd name="connsiteX440" fmla="*/ 398758 w 906515"/>
                <a:gd name="connsiteY440" fmla="*/ 68125 h 699414"/>
                <a:gd name="connsiteX441" fmla="*/ 400574 w 906515"/>
                <a:gd name="connsiteY441" fmla="*/ 62675 h 699414"/>
                <a:gd name="connsiteX442" fmla="*/ 402391 w 906515"/>
                <a:gd name="connsiteY442" fmla="*/ 49050 h 699414"/>
                <a:gd name="connsiteX443" fmla="*/ 402391 w 906515"/>
                <a:gd name="connsiteY443" fmla="*/ 42692 h 699414"/>
                <a:gd name="connsiteX444" fmla="*/ 400574 w 906515"/>
                <a:gd name="connsiteY444" fmla="*/ 37242 h 699414"/>
                <a:gd name="connsiteX445" fmla="*/ 396941 w 906515"/>
                <a:gd name="connsiteY445" fmla="*/ 32700 h 699414"/>
                <a:gd name="connsiteX446" fmla="*/ 394216 w 906515"/>
                <a:gd name="connsiteY446" fmla="*/ 30883 h 699414"/>
                <a:gd name="connsiteX447" fmla="*/ 388766 w 906515"/>
                <a:gd name="connsiteY447" fmla="*/ 29067 h 699414"/>
                <a:gd name="connsiteX448" fmla="*/ 388766 w 906515"/>
                <a:gd name="connsiteY448" fmla="*/ 27250 h 699414"/>
                <a:gd name="connsiteX449" fmla="*/ 392400 w 906515"/>
                <a:gd name="connsiteY449" fmla="*/ 23617 h 699414"/>
                <a:gd name="connsiteX450" fmla="*/ 396033 w 906515"/>
                <a:gd name="connsiteY450" fmla="*/ 20892 h 699414"/>
                <a:gd name="connsiteX451" fmla="*/ 407841 w 906515"/>
                <a:gd name="connsiteY451" fmla="*/ 11809 h 699414"/>
                <a:gd name="connsiteX452" fmla="*/ 414199 w 906515"/>
                <a:gd name="connsiteY452" fmla="*/ 5450 h 699414"/>
                <a:gd name="connsiteX453" fmla="*/ 419649 w 906515"/>
                <a:gd name="connsiteY453" fmla="*/ 1817 h 699414"/>
                <a:gd name="connsiteX454" fmla="*/ 423283 w 906515"/>
                <a:gd name="connsiteY454" fmla="*/ 0 h 699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Lst>
              <a:rect l="l" t="t" r="r" b="b"/>
              <a:pathLst>
                <a:path w="906515" h="699414">
                  <a:moveTo>
                    <a:pt x="423283" y="0"/>
                  </a:moveTo>
                  <a:lnTo>
                    <a:pt x="427824" y="0"/>
                  </a:lnTo>
                  <a:lnTo>
                    <a:pt x="433274" y="0"/>
                  </a:lnTo>
                  <a:lnTo>
                    <a:pt x="441449" y="5450"/>
                  </a:lnTo>
                  <a:lnTo>
                    <a:pt x="453258" y="9992"/>
                  </a:lnTo>
                  <a:lnTo>
                    <a:pt x="463249" y="15442"/>
                  </a:lnTo>
                  <a:lnTo>
                    <a:pt x="470516" y="17259"/>
                  </a:lnTo>
                  <a:lnTo>
                    <a:pt x="475058" y="19075"/>
                  </a:lnTo>
                  <a:lnTo>
                    <a:pt x="482324" y="19075"/>
                  </a:lnTo>
                  <a:lnTo>
                    <a:pt x="488683" y="17259"/>
                  </a:lnTo>
                  <a:lnTo>
                    <a:pt x="497766" y="13625"/>
                  </a:lnTo>
                  <a:lnTo>
                    <a:pt x="504124" y="8175"/>
                  </a:lnTo>
                  <a:lnTo>
                    <a:pt x="511391" y="5450"/>
                  </a:lnTo>
                  <a:lnTo>
                    <a:pt x="517749" y="3634"/>
                  </a:lnTo>
                  <a:lnTo>
                    <a:pt x="523199" y="17259"/>
                  </a:lnTo>
                  <a:lnTo>
                    <a:pt x="526833" y="21800"/>
                  </a:lnTo>
                  <a:lnTo>
                    <a:pt x="529558" y="23617"/>
                  </a:lnTo>
                  <a:lnTo>
                    <a:pt x="546816" y="21800"/>
                  </a:lnTo>
                  <a:lnTo>
                    <a:pt x="560441" y="17259"/>
                  </a:lnTo>
                  <a:lnTo>
                    <a:pt x="568616" y="13625"/>
                  </a:lnTo>
                  <a:lnTo>
                    <a:pt x="575882" y="8175"/>
                  </a:lnTo>
                  <a:lnTo>
                    <a:pt x="580424" y="7267"/>
                  </a:lnTo>
                  <a:lnTo>
                    <a:pt x="585874" y="7267"/>
                  </a:lnTo>
                  <a:lnTo>
                    <a:pt x="594049" y="11809"/>
                  </a:lnTo>
                  <a:lnTo>
                    <a:pt x="605857" y="21800"/>
                  </a:lnTo>
                  <a:lnTo>
                    <a:pt x="605857" y="29067"/>
                  </a:lnTo>
                  <a:lnTo>
                    <a:pt x="605857" y="37242"/>
                  </a:lnTo>
                  <a:lnTo>
                    <a:pt x="603132" y="42692"/>
                  </a:lnTo>
                  <a:lnTo>
                    <a:pt x="599499" y="46325"/>
                  </a:lnTo>
                  <a:lnTo>
                    <a:pt x="594049" y="49050"/>
                  </a:lnTo>
                  <a:lnTo>
                    <a:pt x="589507" y="52683"/>
                  </a:lnTo>
                  <a:lnTo>
                    <a:pt x="582241" y="58133"/>
                  </a:lnTo>
                  <a:lnTo>
                    <a:pt x="577699" y="64492"/>
                  </a:lnTo>
                  <a:lnTo>
                    <a:pt x="572249" y="76300"/>
                  </a:lnTo>
                  <a:lnTo>
                    <a:pt x="566799" y="85383"/>
                  </a:lnTo>
                  <a:lnTo>
                    <a:pt x="558624" y="95375"/>
                  </a:lnTo>
                  <a:lnTo>
                    <a:pt x="546816" y="107183"/>
                  </a:lnTo>
                  <a:lnTo>
                    <a:pt x="548633" y="110816"/>
                  </a:lnTo>
                  <a:lnTo>
                    <a:pt x="550449" y="111725"/>
                  </a:lnTo>
                  <a:lnTo>
                    <a:pt x="556808" y="115358"/>
                  </a:lnTo>
                  <a:lnTo>
                    <a:pt x="564074" y="117175"/>
                  </a:lnTo>
                  <a:lnTo>
                    <a:pt x="574066" y="117175"/>
                  </a:lnTo>
                  <a:lnTo>
                    <a:pt x="591324" y="115358"/>
                  </a:lnTo>
                  <a:lnTo>
                    <a:pt x="604041" y="113541"/>
                  </a:lnTo>
                  <a:lnTo>
                    <a:pt x="616757" y="111725"/>
                  </a:lnTo>
                  <a:lnTo>
                    <a:pt x="624932" y="109000"/>
                  </a:lnTo>
                  <a:lnTo>
                    <a:pt x="630382" y="105367"/>
                  </a:lnTo>
                  <a:lnTo>
                    <a:pt x="634924" y="103550"/>
                  </a:lnTo>
                  <a:lnTo>
                    <a:pt x="640374" y="97192"/>
                  </a:lnTo>
                  <a:lnTo>
                    <a:pt x="643099" y="95375"/>
                  </a:lnTo>
                  <a:lnTo>
                    <a:pt x="648549" y="93558"/>
                  </a:lnTo>
                  <a:lnTo>
                    <a:pt x="656724" y="93558"/>
                  </a:lnTo>
                  <a:lnTo>
                    <a:pt x="663991" y="91742"/>
                  </a:lnTo>
                  <a:lnTo>
                    <a:pt x="675799" y="86292"/>
                  </a:lnTo>
                  <a:lnTo>
                    <a:pt x="685791" y="83567"/>
                  </a:lnTo>
                  <a:lnTo>
                    <a:pt x="694874" y="79933"/>
                  </a:lnTo>
                  <a:lnTo>
                    <a:pt x="713041" y="98100"/>
                  </a:lnTo>
                  <a:lnTo>
                    <a:pt x="724849" y="109000"/>
                  </a:lnTo>
                  <a:lnTo>
                    <a:pt x="733932" y="111725"/>
                  </a:lnTo>
                  <a:lnTo>
                    <a:pt x="738474" y="111725"/>
                  </a:lnTo>
                  <a:lnTo>
                    <a:pt x="740291" y="110816"/>
                  </a:lnTo>
                  <a:lnTo>
                    <a:pt x="742107" y="107183"/>
                  </a:lnTo>
                  <a:lnTo>
                    <a:pt x="740291" y="101733"/>
                  </a:lnTo>
                  <a:lnTo>
                    <a:pt x="736657" y="95375"/>
                  </a:lnTo>
                  <a:lnTo>
                    <a:pt x="734841" y="89925"/>
                  </a:lnTo>
                  <a:lnTo>
                    <a:pt x="733932" y="76300"/>
                  </a:lnTo>
                  <a:lnTo>
                    <a:pt x="734841" y="68125"/>
                  </a:lnTo>
                  <a:lnTo>
                    <a:pt x="740291" y="62675"/>
                  </a:lnTo>
                  <a:lnTo>
                    <a:pt x="746649" y="59042"/>
                  </a:lnTo>
                  <a:lnTo>
                    <a:pt x="755732" y="59042"/>
                  </a:lnTo>
                  <a:lnTo>
                    <a:pt x="765724" y="59042"/>
                  </a:lnTo>
                  <a:lnTo>
                    <a:pt x="784799" y="62675"/>
                  </a:lnTo>
                  <a:lnTo>
                    <a:pt x="799332" y="64492"/>
                  </a:lnTo>
                  <a:lnTo>
                    <a:pt x="804782" y="64492"/>
                  </a:lnTo>
                  <a:lnTo>
                    <a:pt x="804782" y="62675"/>
                  </a:lnTo>
                  <a:lnTo>
                    <a:pt x="804782" y="60858"/>
                  </a:lnTo>
                  <a:lnTo>
                    <a:pt x="804782" y="56317"/>
                  </a:lnTo>
                  <a:lnTo>
                    <a:pt x="806599" y="58133"/>
                  </a:lnTo>
                  <a:lnTo>
                    <a:pt x="812957" y="69942"/>
                  </a:lnTo>
                  <a:lnTo>
                    <a:pt x="823857" y="85383"/>
                  </a:lnTo>
                  <a:lnTo>
                    <a:pt x="828399" y="88108"/>
                  </a:lnTo>
                  <a:lnTo>
                    <a:pt x="830215" y="88108"/>
                  </a:lnTo>
                  <a:lnTo>
                    <a:pt x="833849" y="88108"/>
                  </a:lnTo>
                  <a:lnTo>
                    <a:pt x="842024" y="81750"/>
                  </a:lnTo>
                  <a:lnTo>
                    <a:pt x="849290" y="81750"/>
                  </a:lnTo>
                  <a:lnTo>
                    <a:pt x="852015" y="83567"/>
                  </a:lnTo>
                  <a:lnTo>
                    <a:pt x="855649" y="88108"/>
                  </a:lnTo>
                  <a:lnTo>
                    <a:pt x="861099" y="103550"/>
                  </a:lnTo>
                  <a:lnTo>
                    <a:pt x="865640" y="113541"/>
                  </a:lnTo>
                  <a:lnTo>
                    <a:pt x="874724" y="125350"/>
                  </a:lnTo>
                  <a:lnTo>
                    <a:pt x="881082" y="136250"/>
                  </a:lnTo>
                  <a:lnTo>
                    <a:pt x="884715" y="142608"/>
                  </a:lnTo>
                  <a:lnTo>
                    <a:pt x="884715" y="149875"/>
                  </a:lnTo>
                  <a:lnTo>
                    <a:pt x="882899" y="156233"/>
                  </a:lnTo>
                  <a:lnTo>
                    <a:pt x="882899" y="164408"/>
                  </a:lnTo>
                  <a:lnTo>
                    <a:pt x="886532" y="176216"/>
                  </a:lnTo>
                  <a:lnTo>
                    <a:pt x="892890" y="193475"/>
                  </a:lnTo>
                  <a:lnTo>
                    <a:pt x="906515" y="217091"/>
                  </a:lnTo>
                  <a:lnTo>
                    <a:pt x="898340" y="220724"/>
                  </a:lnTo>
                  <a:lnTo>
                    <a:pt x="891074" y="224358"/>
                  </a:lnTo>
                  <a:lnTo>
                    <a:pt x="884715" y="230716"/>
                  </a:lnTo>
                  <a:lnTo>
                    <a:pt x="882899" y="234349"/>
                  </a:lnTo>
                  <a:lnTo>
                    <a:pt x="882899" y="240708"/>
                  </a:lnTo>
                  <a:lnTo>
                    <a:pt x="879265" y="247974"/>
                  </a:lnTo>
                  <a:lnTo>
                    <a:pt x="875632" y="253424"/>
                  </a:lnTo>
                  <a:lnTo>
                    <a:pt x="869274" y="254333"/>
                  </a:lnTo>
                  <a:lnTo>
                    <a:pt x="862915" y="254333"/>
                  </a:lnTo>
                  <a:lnTo>
                    <a:pt x="849290" y="253424"/>
                  </a:lnTo>
                  <a:lnTo>
                    <a:pt x="843840" y="253424"/>
                  </a:lnTo>
                  <a:lnTo>
                    <a:pt x="838390" y="256149"/>
                  </a:lnTo>
                  <a:lnTo>
                    <a:pt x="837482" y="257966"/>
                  </a:lnTo>
                  <a:lnTo>
                    <a:pt x="838390" y="257966"/>
                  </a:lnTo>
                  <a:lnTo>
                    <a:pt x="843840" y="259783"/>
                  </a:lnTo>
                  <a:lnTo>
                    <a:pt x="862915" y="263416"/>
                  </a:lnTo>
                  <a:lnTo>
                    <a:pt x="869274" y="266141"/>
                  </a:lnTo>
                  <a:lnTo>
                    <a:pt x="871090" y="266141"/>
                  </a:lnTo>
                  <a:lnTo>
                    <a:pt x="872907" y="267958"/>
                  </a:lnTo>
                  <a:lnTo>
                    <a:pt x="871090" y="269774"/>
                  </a:lnTo>
                  <a:lnTo>
                    <a:pt x="869274" y="273408"/>
                  </a:lnTo>
                  <a:lnTo>
                    <a:pt x="855649" y="278858"/>
                  </a:lnTo>
                  <a:lnTo>
                    <a:pt x="849290" y="283399"/>
                  </a:lnTo>
                  <a:lnTo>
                    <a:pt x="845657" y="288849"/>
                  </a:lnTo>
                  <a:lnTo>
                    <a:pt x="843840" y="293391"/>
                  </a:lnTo>
                  <a:lnTo>
                    <a:pt x="842024" y="300657"/>
                  </a:lnTo>
                  <a:lnTo>
                    <a:pt x="842024" y="305199"/>
                  </a:lnTo>
                  <a:lnTo>
                    <a:pt x="840207" y="310649"/>
                  </a:lnTo>
                  <a:lnTo>
                    <a:pt x="835665" y="314282"/>
                  </a:lnTo>
                  <a:lnTo>
                    <a:pt x="828399" y="317916"/>
                  </a:lnTo>
                  <a:lnTo>
                    <a:pt x="814774" y="318824"/>
                  </a:lnTo>
                  <a:lnTo>
                    <a:pt x="801149" y="324274"/>
                  </a:lnTo>
                  <a:lnTo>
                    <a:pt x="779349" y="332449"/>
                  </a:lnTo>
                  <a:lnTo>
                    <a:pt x="769357" y="336082"/>
                  </a:lnTo>
                  <a:lnTo>
                    <a:pt x="760274" y="337899"/>
                  </a:lnTo>
                  <a:lnTo>
                    <a:pt x="752099" y="337899"/>
                  </a:lnTo>
                  <a:lnTo>
                    <a:pt x="745741" y="332449"/>
                  </a:lnTo>
                  <a:lnTo>
                    <a:pt x="742107" y="329724"/>
                  </a:lnTo>
                  <a:lnTo>
                    <a:pt x="738474" y="327907"/>
                  </a:lnTo>
                  <a:lnTo>
                    <a:pt x="734841" y="327907"/>
                  </a:lnTo>
                  <a:lnTo>
                    <a:pt x="732116" y="329724"/>
                  </a:lnTo>
                  <a:lnTo>
                    <a:pt x="728482" y="334266"/>
                  </a:lnTo>
                  <a:lnTo>
                    <a:pt x="723032" y="343349"/>
                  </a:lnTo>
                  <a:lnTo>
                    <a:pt x="720307" y="351524"/>
                  </a:lnTo>
                  <a:lnTo>
                    <a:pt x="714857" y="356066"/>
                  </a:lnTo>
                  <a:lnTo>
                    <a:pt x="711224" y="357882"/>
                  </a:lnTo>
                  <a:lnTo>
                    <a:pt x="707591" y="357882"/>
                  </a:lnTo>
                  <a:lnTo>
                    <a:pt x="703049" y="356066"/>
                  </a:lnTo>
                  <a:lnTo>
                    <a:pt x="699416" y="351524"/>
                  </a:lnTo>
                  <a:lnTo>
                    <a:pt x="693057" y="346074"/>
                  </a:lnTo>
                  <a:lnTo>
                    <a:pt x="685791" y="341532"/>
                  </a:lnTo>
                  <a:lnTo>
                    <a:pt x="681249" y="339716"/>
                  </a:lnTo>
                  <a:lnTo>
                    <a:pt x="677616" y="339716"/>
                  </a:lnTo>
                  <a:lnTo>
                    <a:pt x="672166" y="339716"/>
                  </a:lnTo>
                  <a:lnTo>
                    <a:pt x="669441" y="341532"/>
                  </a:lnTo>
                  <a:lnTo>
                    <a:pt x="662174" y="347891"/>
                  </a:lnTo>
                  <a:lnTo>
                    <a:pt x="656724" y="356066"/>
                  </a:lnTo>
                  <a:lnTo>
                    <a:pt x="653999" y="365149"/>
                  </a:lnTo>
                  <a:lnTo>
                    <a:pt x="648549" y="371507"/>
                  </a:lnTo>
                  <a:lnTo>
                    <a:pt x="646732" y="376957"/>
                  </a:lnTo>
                  <a:lnTo>
                    <a:pt x="643099" y="375140"/>
                  </a:lnTo>
                  <a:lnTo>
                    <a:pt x="636741" y="371507"/>
                  </a:lnTo>
                  <a:lnTo>
                    <a:pt x="630382" y="366966"/>
                  </a:lnTo>
                  <a:lnTo>
                    <a:pt x="628566" y="359699"/>
                  </a:lnTo>
                  <a:lnTo>
                    <a:pt x="624932" y="355157"/>
                  </a:lnTo>
                  <a:lnTo>
                    <a:pt x="619482" y="351524"/>
                  </a:lnTo>
                  <a:lnTo>
                    <a:pt x="614941" y="349707"/>
                  </a:lnTo>
                  <a:lnTo>
                    <a:pt x="610991" y="351024"/>
                  </a:lnTo>
                  <a:lnTo>
                    <a:pt x="594568" y="342113"/>
                  </a:lnTo>
                  <a:cubicBezTo>
                    <a:pt x="577685" y="338460"/>
                    <a:pt x="560427" y="342963"/>
                    <a:pt x="549447" y="343292"/>
                  </a:cubicBezTo>
                  <a:cubicBezTo>
                    <a:pt x="538467" y="343622"/>
                    <a:pt x="527526" y="352221"/>
                    <a:pt x="519329" y="362754"/>
                  </a:cubicBezTo>
                  <a:lnTo>
                    <a:pt x="513208" y="372934"/>
                  </a:lnTo>
                  <a:lnTo>
                    <a:pt x="513208" y="369690"/>
                  </a:lnTo>
                  <a:lnTo>
                    <a:pt x="511391" y="366966"/>
                  </a:lnTo>
                  <a:lnTo>
                    <a:pt x="505941" y="361516"/>
                  </a:lnTo>
                  <a:lnTo>
                    <a:pt x="499583" y="357882"/>
                  </a:lnTo>
                  <a:lnTo>
                    <a:pt x="484141" y="349707"/>
                  </a:lnTo>
                  <a:lnTo>
                    <a:pt x="474149" y="347891"/>
                  </a:lnTo>
                  <a:lnTo>
                    <a:pt x="472333" y="347891"/>
                  </a:lnTo>
                  <a:lnTo>
                    <a:pt x="470516" y="347891"/>
                  </a:lnTo>
                  <a:lnTo>
                    <a:pt x="470516" y="351524"/>
                  </a:lnTo>
                  <a:lnTo>
                    <a:pt x="478691" y="366966"/>
                  </a:lnTo>
                  <a:lnTo>
                    <a:pt x="482324" y="376957"/>
                  </a:lnTo>
                  <a:lnTo>
                    <a:pt x="484141" y="386949"/>
                  </a:lnTo>
                  <a:lnTo>
                    <a:pt x="484141" y="414199"/>
                  </a:lnTo>
                  <a:lnTo>
                    <a:pt x="482324" y="420557"/>
                  </a:lnTo>
                  <a:lnTo>
                    <a:pt x="480508" y="426007"/>
                  </a:lnTo>
                  <a:lnTo>
                    <a:pt x="476874" y="429640"/>
                  </a:lnTo>
                  <a:lnTo>
                    <a:pt x="474149" y="431457"/>
                  </a:lnTo>
                  <a:lnTo>
                    <a:pt x="468699" y="431457"/>
                  </a:lnTo>
                  <a:lnTo>
                    <a:pt x="462341" y="434182"/>
                  </a:lnTo>
                  <a:lnTo>
                    <a:pt x="453258" y="437815"/>
                  </a:lnTo>
                  <a:lnTo>
                    <a:pt x="443266" y="446899"/>
                  </a:lnTo>
                  <a:lnTo>
                    <a:pt x="439633" y="451440"/>
                  </a:lnTo>
                  <a:lnTo>
                    <a:pt x="435091" y="453257"/>
                  </a:lnTo>
                  <a:lnTo>
                    <a:pt x="431458" y="451440"/>
                  </a:lnTo>
                  <a:lnTo>
                    <a:pt x="427824" y="449624"/>
                  </a:lnTo>
                  <a:lnTo>
                    <a:pt x="424191" y="443265"/>
                  </a:lnTo>
                  <a:lnTo>
                    <a:pt x="421466" y="433274"/>
                  </a:lnTo>
                  <a:lnTo>
                    <a:pt x="417833" y="412382"/>
                  </a:lnTo>
                  <a:lnTo>
                    <a:pt x="417833" y="407840"/>
                  </a:lnTo>
                  <a:lnTo>
                    <a:pt x="416016" y="407840"/>
                  </a:lnTo>
                  <a:lnTo>
                    <a:pt x="416016" y="417832"/>
                  </a:lnTo>
                  <a:lnTo>
                    <a:pt x="417833" y="431457"/>
                  </a:lnTo>
                  <a:lnTo>
                    <a:pt x="421466" y="458707"/>
                  </a:lnTo>
                  <a:lnTo>
                    <a:pt x="421466" y="468698"/>
                  </a:lnTo>
                  <a:lnTo>
                    <a:pt x="419649" y="472332"/>
                  </a:lnTo>
                  <a:lnTo>
                    <a:pt x="417833" y="475057"/>
                  </a:lnTo>
                  <a:lnTo>
                    <a:pt x="414199" y="475057"/>
                  </a:lnTo>
                  <a:lnTo>
                    <a:pt x="407841" y="475057"/>
                  </a:lnTo>
                  <a:lnTo>
                    <a:pt x="400574" y="473240"/>
                  </a:lnTo>
                  <a:lnTo>
                    <a:pt x="392400" y="468698"/>
                  </a:lnTo>
                  <a:lnTo>
                    <a:pt x="390583" y="468698"/>
                  </a:lnTo>
                  <a:lnTo>
                    <a:pt x="388766" y="468698"/>
                  </a:lnTo>
                  <a:lnTo>
                    <a:pt x="382408" y="473240"/>
                  </a:lnTo>
                  <a:lnTo>
                    <a:pt x="366966" y="488682"/>
                  </a:lnTo>
                  <a:lnTo>
                    <a:pt x="359700" y="494132"/>
                  </a:lnTo>
                  <a:lnTo>
                    <a:pt x="356975" y="494132"/>
                  </a:lnTo>
                  <a:lnTo>
                    <a:pt x="353341" y="494132"/>
                  </a:lnTo>
                  <a:lnTo>
                    <a:pt x="351525" y="492315"/>
                  </a:lnTo>
                  <a:lnTo>
                    <a:pt x="349708" y="488682"/>
                  </a:lnTo>
                  <a:lnTo>
                    <a:pt x="347891" y="475057"/>
                  </a:lnTo>
                  <a:lnTo>
                    <a:pt x="347891" y="468698"/>
                  </a:lnTo>
                  <a:lnTo>
                    <a:pt x="346075" y="468698"/>
                  </a:lnTo>
                  <a:lnTo>
                    <a:pt x="341533" y="478690"/>
                  </a:lnTo>
                  <a:lnTo>
                    <a:pt x="337900" y="485048"/>
                  </a:lnTo>
                  <a:lnTo>
                    <a:pt x="334266" y="492315"/>
                  </a:lnTo>
                  <a:lnTo>
                    <a:pt x="329725" y="497765"/>
                  </a:lnTo>
                  <a:lnTo>
                    <a:pt x="326091" y="498673"/>
                  </a:lnTo>
                  <a:lnTo>
                    <a:pt x="322458" y="498673"/>
                  </a:lnTo>
                  <a:lnTo>
                    <a:pt x="317916" y="498673"/>
                  </a:lnTo>
                  <a:lnTo>
                    <a:pt x="314283" y="497765"/>
                  </a:lnTo>
                  <a:lnTo>
                    <a:pt x="312466" y="494132"/>
                  </a:lnTo>
                  <a:lnTo>
                    <a:pt x="310650" y="492315"/>
                  </a:lnTo>
                  <a:lnTo>
                    <a:pt x="308833" y="492315"/>
                  </a:lnTo>
                  <a:lnTo>
                    <a:pt x="298841" y="492315"/>
                  </a:lnTo>
                  <a:lnTo>
                    <a:pt x="295208" y="492315"/>
                  </a:lnTo>
                  <a:lnTo>
                    <a:pt x="292483" y="490498"/>
                  </a:lnTo>
                  <a:lnTo>
                    <a:pt x="285216" y="485048"/>
                  </a:lnTo>
                  <a:lnTo>
                    <a:pt x="283400" y="485048"/>
                  </a:lnTo>
                  <a:lnTo>
                    <a:pt x="281583" y="485048"/>
                  </a:lnTo>
                  <a:lnTo>
                    <a:pt x="283400" y="492315"/>
                  </a:lnTo>
                  <a:lnTo>
                    <a:pt x="285216" y="497765"/>
                  </a:lnTo>
                  <a:lnTo>
                    <a:pt x="285216" y="502307"/>
                  </a:lnTo>
                  <a:lnTo>
                    <a:pt x="283400" y="505940"/>
                  </a:lnTo>
                  <a:lnTo>
                    <a:pt x="280675" y="507757"/>
                  </a:lnTo>
                  <a:lnTo>
                    <a:pt x="275225" y="507757"/>
                  </a:lnTo>
                  <a:lnTo>
                    <a:pt x="269775" y="507757"/>
                  </a:lnTo>
                  <a:lnTo>
                    <a:pt x="265233" y="504123"/>
                  </a:lnTo>
                  <a:lnTo>
                    <a:pt x="261600" y="500490"/>
                  </a:lnTo>
                  <a:lnTo>
                    <a:pt x="256150" y="495948"/>
                  </a:lnTo>
                  <a:lnTo>
                    <a:pt x="255241" y="494132"/>
                  </a:lnTo>
                  <a:lnTo>
                    <a:pt x="255241" y="495948"/>
                  </a:lnTo>
                  <a:lnTo>
                    <a:pt x="256150" y="505940"/>
                  </a:lnTo>
                  <a:lnTo>
                    <a:pt x="256150" y="512298"/>
                  </a:lnTo>
                  <a:lnTo>
                    <a:pt x="255241" y="519565"/>
                  </a:lnTo>
                  <a:lnTo>
                    <a:pt x="253425" y="523198"/>
                  </a:lnTo>
                  <a:lnTo>
                    <a:pt x="251608" y="525923"/>
                  </a:lnTo>
                  <a:lnTo>
                    <a:pt x="246158" y="525923"/>
                  </a:lnTo>
                  <a:lnTo>
                    <a:pt x="241616" y="527740"/>
                  </a:lnTo>
                  <a:lnTo>
                    <a:pt x="228900" y="527740"/>
                  </a:lnTo>
                  <a:lnTo>
                    <a:pt x="220725" y="529557"/>
                  </a:lnTo>
                  <a:lnTo>
                    <a:pt x="210733" y="533190"/>
                  </a:lnTo>
                  <a:lnTo>
                    <a:pt x="205283" y="536823"/>
                  </a:lnTo>
                  <a:lnTo>
                    <a:pt x="202558" y="536823"/>
                  </a:lnTo>
                  <a:lnTo>
                    <a:pt x="197108" y="536823"/>
                  </a:lnTo>
                  <a:lnTo>
                    <a:pt x="189842" y="535007"/>
                  </a:lnTo>
                  <a:lnTo>
                    <a:pt x="181667" y="535007"/>
                  </a:lnTo>
                  <a:lnTo>
                    <a:pt x="168042" y="537732"/>
                  </a:lnTo>
                  <a:lnTo>
                    <a:pt x="154417" y="543181"/>
                  </a:lnTo>
                  <a:lnTo>
                    <a:pt x="138975" y="546815"/>
                  </a:lnTo>
                  <a:lnTo>
                    <a:pt x="134433" y="548631"/>
                  </a:lnTo>
                  <a:lnTo>
                    <a:pt x="128983" y="553173"/>
                  </a:lnTo>
                  <a:lnTo>
                    <a:pt x="120808" y="562256"/>
                  </a:lnTo>
                  <a:lnTo>
                    <a:pt x="117175" y="564981"/>
                  </a:lnTo>
                  <a:lnTo>
                    <a:pt x="113542" y="564981"/>
                  </a:lnTo>
                  <a:lnTo>
                    <a:pt x="110817" y="563165"/>
                  </a:lnTo>
                  <a:lnTo>
                    <a:pt x="107183" y="556806"/>
                  </a:lnTo>
                  <a:lnTo>
                    <a:pt x="105367" y="546815"/>
                  </a:lnTo>
                  <a:lnTo>
                    <a:pt x="103550" y="544998"/>
                  </a:lnTo>
                  <a:lnTo>
                    <a:pt x="101733" y="544998"/>
                  </a:lnTo>
                  <a:lnTo>
                    <a:pt x="99008" y="546815"/>
                  </a:lnTo>
                  <a:lnTo>
                    <a:pt x="97192" y="553173"/>
                  </a:lnTo>
                  <a:lnTo>
                    <a:pt x="89925" y="572248"/>
                  </a:lnTo>
                  <a:lnTo>
                    <a:pt x="86292" y="580423"/>
                  </a:lnTo>
                  <a:lnTo>
                    <a:pt x="83567" y="585873"/>
                  </a:lnTo>
                  <a:lnTo>
                    <a:pt x="71758" y="594048"/>
                  </a:lnTo>
                  <a:lnTo>
                    <a:pt x="64492" y="601315"/>
                  </a:lnTo>
                  <a:lnTo>
                    <a:pt x="64492" y="605856"/>
                  </a:lnTo>
                  <a:lnTo>
                    <a:pt x="66308" y="609490"/>
                  </a:lnTo>
                  <a:lnTo>
                    <a:pt x="76300" y="617665"/>
                  </a:lnTo>
                  <a:lnTo>
                    <a:pt x="79933" y="624931"/>
                  </a:lnTo>
                  <a:lnTo>
                    <a:pt x="83567" y="633106"/>
                  </a:lnTo>
                  <a:lnTo>
                    <a:pt x="86292" y="641281"/>
                  </a:lnTo>
                  <a:lnTo>
                    <a:pt x="89925" y="650364"/>
                  </a:lnTo>
                  <a:lnTo>
                    <a:pt x="95375" y="658539"/>
                  </a:lnTo>
                  <a:lnTo>
                    <a:pt x="99917" y="666714"/>
                  </a:lnTo>
                  <a:lnTo>
                    <a:pt x="101733" y="673981"/>
                  </a:lnTo>
                  <a:lnTo>
                    <a:pt x="101733" y="679431"/>
                  </a:lnTo>
                  <a:lnTo>
                    <a:pt x="99917" y="682156"/>
                  </a:lnTo>
                  <a:lnTo>
                    <a:pt x="99008" y="685789"/>
                  </a:lnTo>
                  <a:lnTo>
                    <a:pt x="93558" y="689423"/>
                  </a:lnTo>
                  <a:lnTo>
                    <a:pt x="79933" y="695781"/>
                  </a:lnTo>
                  <a:lnTo>
                    <a:pt x="71758" y="697598"/>
                  </a:lnTo>
                  <a:lnTo>
                    <a:pt x="62675" y="699414"/>
                  </a:lnTo>
                  <a:lnTo>
                    <a:pt x="58133" y="697598"/>
                  </a:lnTo>
                  <a:lnTo>
                    <a:pt x="52683" y="695781"/>
                  </a:lnTo>
                  <a:lnTo>
                    <a:pt x="49050" y="691239"/>
                  </a:lnTo>
                  <a:lnTo>
                    <a:pt x="46325" y="685789"/>
                  </a:lnTo>
                  <a:lnTo>
                    <a:pt x="40875" y="673981"/>
                  </a:lnTo>
                  <a:lnTo>
                    <a:pt x="39059" y="668531"/>
                  </a:lnTo>
                  <a:lnTo>
                    <a:pt x="37242" y="666714"/>
                  </a:lnTo>
                  <a:lnTo>
                    <a:pt x="34517" y="665806"/>
                  </a:lnTo>
                  <a:lnTo>
                    <a:pt x="30884" y="663989"/>
                  </a:lnTo>
                  <a:lnTo>
                    <a:pt x="25434" y="658539"/>
                  </a:lnTo>
                  <a:lnTo>
                    <a:pt x="19075" y="650364"/>
                  </a:lnTo>
                  <a:lnTo>
                    <a:pt x="9992" y="634923"/>
                  </a:lnTo>
                  <a:lnTo>
                    <a:pt x="5450" y="623115"/>
                  </a:lnTo>
                  <a:lnTo>
                    <a:pt x="1817" y="615848"/>
                  </a:lnTo>
                  <a:lnTo>
                    <a:pt x="0" y="611306"/>
                  </a:lnTo>
                  <a:lnTo>
                    <a:pt x="1817" y="607673"/>
                  </a:lnTo>
                  <a:lnTo>
                    <a:pt x="5450" y="601315"/>
                  </a:lnTo>
                  <a:lnTo>
                    <a:pt x="5450" y="595865"/>
                  </a:lnTo>
                  <a:lnTo>
                    <a:pt x="5450" y="588598"/>
                  </a:lnTo>
                  <a:lnTo>
                    <a:pt x="5450" y="580423"/>
                  </a:lnTo>
                  <a:lnTo>
                    <a:pt x="7267" y="574065"/>
                  </a:lnTo>
                  <a:lnTo>
                    <a:pt x="9992" y="566798"/>
                  </a:lnTo>
                  <a:lnTo>
                    <a:pt x="13625" y="558623"/>
                  </a:lnTo>
                  <a:lnTo>
                    <a:pt x="15442" y="554990"/>
                  </a:lnTo>
                  <a:lnTo>
                    <a:pt x="19075" y="551356"/>
                  </a:lnTo>
                  <a:lnTo>
                    <a:pt x="27250" y="543181"/>
                  </a:lnTo>
                  <a:lnTo>
                    <a:pt x="29067" y="539548"/>
                  </a:lnTo>
                  <a:lnTo>
                    <a:pt x="29067" y="536823"/>
                  </a:lnTo>
                  <a:lnTo>
                    <a:pt x="23617" y="535007"/>
                  </a:lnTo>
                  <a:lnTo>
                    <a:pt x="15442" y="533190"/>
                  </a:lnTo>
                  <a:lnTo>
                    <a:pt x="13625" y="524107"/>
                  </a:lnTo>
                  <a:lnTo>
                    <a:pt x="15442" y="517748"/>
                  </a:lnTo>
                  <a:lnTo>
                    <a:pt x="17259" y="514115"/>
                  </a:lnTo>
                  <a:lnTo>
                    <a:pt x="20892" y="512298"/>
                  </a:lnTo>
                  <a:lnTo>
                    <a:pt x="25434" y="511390"/>
                  </a:lnTo>
                  <a:lnTo>
                    <a:pt x="29067" y="505940"/>
                  </a:lnTo>
                  <a:lnTo>
                    <a:pt x="32700" y="498673"/>
                  </a:lnTo>
                  <a:lnTo>
                    <a:pt x="35425" y="488682"/>
                  </a:lnTo>
                  <a:lnTo>
                    <a:pt x="35425" y="485048"/>
                  </a:lnTo>
                  <a:lnTo>
                    <a:pt x="39059" y="484140"/>
                  </a:lnTo>
                  <a:lnTo>
                    <a:pt x="46325" y="480507"/>
                  </a:lnTo>
                  <a:lnTo>
                    <a:pt x="66308" y="480507"/>
                  </a:lnTo>
                  <a:lnTo>
                    <a:pt x="76300" y="480507"/>
                  </a:lnTo>
                  <a:lnTo>
                    <a:pt x="81750" y="478690"/>
                  </a:lnTo>
                  <a:lnTo>
                    <a:pt x="85383" y="476873"/>
                  </a:lnTo>
                  <a:lnTo>
                    <a:pt x="86292" y="473240"/>
                  </a:lnTo>
                  <a:lnTo>
                    <a:pt x="88108" y="470515"/>
                  </a:lnTo>
                  <a:lnTo>
                    <a:pt x="88108" y="465065"/>
                  </a:lnTo>
                  <a:lnTo>
                    <a:pt x="86292" y="458707"/>
                  </a:lnTo>
                  <a:lnTo>
                    <a:pt x="83567" y="447807"/>
                  </a:lnTo>
                  <a:lnTo>
                    <a:pt x="83567" y="441449"/>
                  </a:lnTo>
                  <a:lnTo>
                    <a:pt x="85383" y="441449"/>
                  </a:lnTo>
                  <a:lnTo>
                    <a:pt x="86292" y="441449"/>
                  </a:lnTo>
                  <a:lnTo>
                    <a:pt x="91742" y="441449"/>
                  </a:lnTo>
                  <a:lnTo>
                    <a:pt x="99008" y="441449"/>
                  </a:lnTo>
                  <a:lnTo>
                    <a:pt x="107183" y="441449"/>
                  </a:lnTo>
                  <a:lnTo>
                    <a:pt x="117175" y="439632"/>
                  </a:lnTo>
                  <a:lnTo>
                    <a:pt x="122625" y="435999"/>
                  </a:lnTo>
                  <a:lnTo>
                    <a:pt x="127167" y="431457"/>
                  </a:lnTo>
                  <a:lnTo>
                    <a:pt x="134433" y="424190"/>
                  </a:lnTo>
                  <a:lnTo>
                    <a:pt x="136250" y="420557"/>
                  </a:lnTo>
                  <a:lnTo>
                    <a:pt x="136250" y="419649"/>
                  </a:lnTo>
                  <a:lnTo>
                    <a:pt x="134433" y="417832"/>
                  </a:lnTo>
                  <a:lnTo>
                    <a:pt x="130800" y="416015"/>
                  </a:lnTo>
                  <a:lnTo>
                    <a:pt x="128983" y="410565"/>
                  </a:lnTo>
                  <a:lnTo>
                    <a:pt x="127167" y="406024"/>
                  </a:lnTo>
                  <a:lnTo>
                    <a:pt x="130800" y="395124"/>
                  </a:lnTo>
                  <a:lnTo>
                    <a:pt x="132617" y="392399"/>
                  </a:lnTo>
                  <a:lnTo>
                    <a:pt x="136250" y="388765"/>
                  </a:lnTo>
                  <a:lnTo>
                    <a:pt x="148058" y="385132"/>
                  </a:lnTo>
                  <a:lnTo>
                    <a:pt x="161683" y="382407"/>
                  </a:lnTo>
                  <a:lnTo>
                    <a:pt x="166225" y="380590"/>
                  </a:lnTo>
                  <a:lnTo>
                    <a:pt x="171675" y="378774"/>
                  </a:lnTo>
                  <a:lnTo>
                    <a:pt x="188933" y="365149"/>
                  </a:lnTo>
                  <a:lnTo>
                    <a:pt x="195292" y="361516"/>
                  </a:lnTo>
                  <a:lnTo>
                    <a:pt x="202558" y="356066"/>
                  </a:lnTo>
                  <a:lnTo>
                    <a:pt x="205283" y="349707"/>
                  </a:lnTo>
                  <a:lnTo>
                    <a:pt x="208917" y="343349"/>
                  </a:lnTo>
                  <a:lnTo>
                    <a:pt x="210733" y="336082"/>
                  </a:lnTo>
                  <a:lnTo>
                    <a:pt x="212550" y="322457"/>
                  </a:lnTo>
                  <a:lnTo>
                    <a:pt x="212550" y="305199"/>
                  </a:lnTo>
                  <a:lnTo>
                    <a:pt x="210733" y="290666"/>
                  </a:lnTo>
                  <a:lnTo>
                    <a:pt x="212550" y="281582"/>
                  </a:lnTo>
                  <a:lnTo>
                    <a:pt x="214367" y="273408"/>
                  </a:lnTo>
                  <a:lnTo>
                    <a:pt x="216183" y="266141"/>
                  </a:lnTo>
                  <a:lnTo>
                    <a:pt x="220725" y="259783"/>
                  </a:lnTo>
                  <a:lnTo>
                    <a:pt x="226175" y="251608"/>
                  </a:lnTo>
                  <a:lnTo>
                    <a:pt x="234350" y="244341"/>
                  </a:lnTo>
                  <a:lnTo>
                    <a:pt x="239800" y="239799"/>
                  </a:lnTo>
                  <a:lnTo>
                    <a:pt x="239800" y="236166"/>
                  </a:lnTo>
                  <a:lnTo>
                    <a:pt x="239800" y="234349"/>
                  </a:lnTo>
                  <a:lnTo>
                    <a:pt x="241616" y="232533"/>
                  </a:lnTo>
                  <a:lnTo>
                    <a:pt x="247975" y="224358"/>
                  </a:lnTo>
                  <a:lnTo>
                    <a:pt x="265233" y="210733"/>
                  </a:lnTo>
                  <a:lnTo>
                    <a:pt x="267958" y="205283"/>
                  </a:lnTo>
                  <a:lnTo>
                    <a:pt x="271591" y="200741"/>
                  </a:lnTo>
                  <a:lnTo>
                    <a:pt x="273408" y="195291"/>
                  </a:lnTo>
                  <a:lnTo>
                    <a:pt x="273408" y="191658"/>
                  </a:lnTo>
                  <a:lnTo>
                    <a:pt x="271591" y="185300"/>
                  </a:lnTo>
                  <a:lnTo>
                    <a:pt x="267958" y="179850"/>
                  </a:lnTo>
                  <a:lnTo>
                    <a:pt x="267050" y="176216"/>
                  </a:lnTo>
                  <a:lnTo>
                    <a:pt x="265233" y="175308"/>
                  </a:lnTo>
                  <a:lnTo>
                    <a:pt x="267050" y="171675"/>
                  </a:lnTo>
                  <a:lnTo>
                    <a:pt x="273408" y="168041"/>
                  </a:lnTo>
                  <a:lnTo>
                    <a:pt x="278858" y="164408"/>
                  </a:lnTo>
                  <a:lnTo>
                    <a:pt x="281583" y="161683"/>
                  </a:lnTo>
                  <a:lnTo>
                    <a:pt x="285216" y="156233"/>
                  </a:lnTo>
                  <a:lnTo>
                    <a:pt x="287033" y="152600"/>
                  </a:lnTo>
                  <a:lnTo>
                    <a:pt x="287033" y="144425"/>
                  </a:lnTo>
                  <a:lnTo>
                    <a:pt x="283400" y="136250"/>
                  </a:lnTo>
                  <a:lnTo>
                    <a:pt x="277041" y="118991"/>
                  </a:lnTo>
                  <a:lnTo>
                    <a:pt x="275225" y="109000"/>
                  </a:lnTo>
                  <a:lnTo>
                    <a:pt x="277041" y="105367"/>
                  </a:lnTo>
                  <a:lnTo>
                    <a:pt x="277041" y="99917"/>
                  </a:lnTo>
                  <a:lnTo>
                    <a:pt x="281583" y="101733"/>
                  </a:lnTo>
                  <a:lnTo>
                    <a:pt x="287033" y="99917"/>
                  </a:lnTo>
                  <a:lnTo>
                    <a:pt x="288850" y="98100"/>
                  </a:lnTo>
                  <a:lnTo>
                    <a:pt x="292483" y="95375"/>
                  </a:lnTo>
                  <a:lnTo>
                    <a:pt x="295208" y="86292"/>
                  </a:lnTo>
                  <a:lnTo>
                    <a:pt x="297025" y="76300"/>
                  </a:lnTo>
                  <a:lnTo>
                    <a:pt x="300658" y="56317"/>
                  </a:lnTo>
                  <a:lnTo>
                    <a:pt x="302475" y="49050"/>
                  </a:lnTo>
                  <a:lnTo>
                    <a:pt x="304291" y="47233"/>
                  </a:lnTo>
                  <a:lnTo>
                    <a:pt x="307016" y="46325"/>
                  </a:lnTo>
                  <a:lnTo>
                    <a:pt x="319733" y="44508"/>
                  </a:lnTo>
                  <a:lnTo>
                    <a:pt x="329725" y="44508"/>
                  </a:lnTo>
                  <a:lnTo>
                    <a:pt x="337900" y="44508"/>
                  </a:lnTo>
                  <a:lnTo>
                    <a:pt x="346075" y="46325"/>
                  </a:lnTo>
                  <a:lnTo>
                    <a:pt x="351525" y="49050"/>
                  </a:lnTo>
                  <a:lnTo>
                    <a:pt x="358791" y="52683"/>
                  </a:lnTo>
                  <a:lnTo>
                    <a:pt x="366966" y="60858"/>
                  </a:lnTo>
                  <a:lnTo>
                    <a:pt x="373325" y="69942"/>
                  </a:lnTo>
                  <a:lnTo>
                    <a:pt x="380591" y="74483"/>
                  </a:lnTo>
                  <a:lnTo>
                    <a:pt x="384225" y="76300"/>
                  </a:lnTo>
                  <a:lnTo>
                    <a:pt x="386950" y="76300"/>
                  </a:lnTo>
                  <a:lnTo>
                    <a:pt x="390583" y="74483"/>
                  </a:lnTo>
                  <a:lnTo>
                    <a:pt x="396033" y="71758"/>
                  </a:lnTo>
                  <a:lnTo>
                    <a:pt x="398758" y="68125"/>
                  </a:lnTo>
                  <a:lnTo>
                    <a:pt x="400574" y="62675"/>
                  </a:lnTo>
                  <a:lnTo>
                    <a:pt x="402391" y="49050"/>
                  </a:lnTo>
                  <a:lnTo>
                    <a:pt x="402391" y="42692"/>
                  </a:lnTo>
                  <a:lnTo>
                    <a:pt x="400574" y="37242"/>
                  </a:lnTo>
                  <a:lnTo>
                    <a:pt x="396941" y="32700"/>
                  </a:lnTo>
                  <a:lnTo>
                    <a:pt x="394216" y="30883"/>
                  </a:lnTo>
                  <a:lnTo>
                    <a:pt x="388766" y="29067"/>
                  </a:lnTo>
                  <a:lnTo>
                    <a:pt x="388766" y="27250"/>
                  </a:lnTo>
                  <a:lnTo>
                    <a:pt x="392400" y="23617"/>
                  </a:lnTo>
                  <a:lnTo>
                    <a:pt x="396033" y="20892"/>
                  </a:lnTo>
                  <a:lnTo>
                    <a:pt x="407841" y="11809"/>
                  </a:lnTo>
                  <a:lnTo>
                    <a:pt x="414199" y="5450"/>
                  </a:lnTo>
                  <a:lnTo>
                    <a:pt x="419649" y="1817"/>
                  </a:lnTo>
                  <a:lnTo>
                    <a:pt x="423283" y="0"/>
                  </a:lnTo>
                  <a:close/>
                </a:path>
              </a:pathLst>
            </a:custGeom>
            <a:grpFill/>
            <a:ln w="635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11" name="Freeform 116">
              <a:extLst>
                <a:ext uri="{FF2B5EF4-FFF2-40B4-BE49-F238E27FC236}">
                  <a16:creationId xmlns:a16="http://schemas.microsoft.com/office/drawing/2014/main" id="{04C51A0D-4D3A-44C9-AEAE-8541AF39646B}"/>
                </a:ext>
              </a:extLst>
            </p:cNvPr>
            <p:cNvSpPr/>
            <p:nvPr/>
          </p:nvSpPr>
          <p:spPr bwMode="gray">
            <a:xfrm>
              <a:off x="5836047" y="5769441"/>
              <a:ext cx="3075" cy="3319"/>
            </a:xfrm>
            <a:custGeom>
              <a:avLst/>
              <a:gdLst>
                <a:gd name="connsiteX0" fmla="*/ 2285 w 3075"/>
                <a:gd name="connsiteY0" fmla="*/ 0 h 3319"/>
                <a:gd name="connsiteX1" fmla="*/ 3075 w 3075"/>
                <a:gd name="connsiteY1" fmla="*/ 3319 h 3319"/>
                <a:gd name="connsiteX2" fmla="*/ 2166 w 3075"/>
                <a:gd name="connsiteY2" fmla="*/ 3319 h 3319"/>
                <a:gd name="connsiteX3" fmla="*/ 0 w 3075"/>
                <a:gd name="connsiteY3" fmla="*/ 69 h 3319"/>
                <a:gd name="connsiteX4" fmla="*/ 2285 w 3075"/>
                <a:gd name="connsiteY4" fmla="*/ 0 h 3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 h="3319">
                  <a:moveTo>
                    <a:pt x="2285" y="0"/>
                  </a:moveTo>
                  <a:lnTo>
                    <a:pt x="3075" y="3319"/>
                  </a:lnTo>
                  <a:lnTo>
                    <a:pt x="2166" y="3319"/>
                  </a:lnTo>
                  <a:lnTo>
                    <a:pt x="0" y="69"/>
                  </a:lnTo>
                  <a:lnTo>
                    <a:pt x="2285" y="0"/>
                  </a:lnTo>
                  <a:close/>
                </a:path>
              </a:pathLst>
            </a:custGeom>
            <a:grp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12" name="Rectangle 4">
              <a:extLst>
                <a:ext uri="{FF2B5EF4-FFF2-40B4-BE49-F238E27FC236}">
                  <a16:creationId xmlns:a16="http://schemas.microsoft.com/office/drawing/2014/main" id="{3EF0C59F-C859-4896-B238-27D21773372D}"/>
                </a:ext>
              </a:extLst>
            </p:cNvPr>
            <p:cNvSpPr/>
            <p:nvPr/>
          </p:nvSpPr>
          <p:spPr bwMode="gray">
            <a:xfrm>
              <a:off x="6462287" y="5321637"/>
              <a:ext cx="214982" cy="443977"/>
            </a:xfrm>
            <a:custGeom>
              <a:avLst/>
              <a:gdLst>
                <a:gd name="connsiteX0" fmla="*/ 0 w 117174"/>
                <a:gd name="connsiteY0" fmla="*/ 0 h 410566"/>
                <a:gd name="connsiteX1" fmla="*/ 117174 w 117174"/>
                <a:gd name="connsiteY1" fmla="*/ 0 h 410566"/>
                <a:gd name="connsiteX2" fmla="*/ 117174 w 117174"/>
                <a:gd name="connsiteY2" fmla="*/ 410566 h 410566"/>
                <a:gd name="connsiteX3" fmla="*/ 0 w 117174"/>
                <a:gd name="connsiteY3" fmla="*/ 410566 h 410566"/>
                <a:gd name="connsiteX4" fmla="*/ 0 w 117174"/>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410566"/>
                <a:gd name="connsiteX1" fmla="*/ 233856 w 233856"/>
                <a:gd name="connsiteY1" fmla="*/ 0 h 410566"/>
                <a:gd name="connsiteX2" fmla="*/ 233856 w 233856"/>
                <a:gd name="connsiteY2" fmla="*/ 410566 h 410566"/>
                <a:gd name="connsiteX3" fmla="*/ 0 w 233856"/>
                <a:gd name="connsiteY3" fmla="*/ 270073 h 410566"/>
                <a:gd name="connsiteX4" fmla="*/ 116682 w 233856"/>
                <a:gd name="connsiteY4" fmla="*/ 0 h 410566"/>
                <a:gd name="connsiteX0" fmla="*/ 116682 w 233856"/>
                <a:gd name="connsiteY0" fmla="*/ 0 h 381991"/>
                <a:gd name="connsiteX1" fmla="*/ 233856 w 233856"/>
                <a:gd name="connsiteY1" fmla="*/ 0 h 381991"/>
                <a:gd name="connsiteX2" fmla="*/ 90981 w 233856"/>
                <a:gd name="connsiteY2" fmla="*/ 381991 h 381991"/>
                <a:gd name="connsiteX3" fmla="*/ 0 w 233856"/>
                <a:gd name="connsiteY3" fmla="*/ 270073 h 381991"/>
                <a:gd name="connsiteX4" fmla="*/ 116682 w 233856"/>
                <a:gd name="connsiteY4" fmla="*/ 0 h 381991"/>
                <a:gd name="connsiteX0" fmla="*/ 116682 w 233856"/>
                <a:gd name="connsiteY0" fmla="*/ 0 h 381991"/>
                <a:gd name="connsiteX1" fmla="*/ 233856 w 233856"/>
                <a:gd name="connsiteY1" fmla="*/ 0 h 381991"/>
                <a:gd name="connsiteX2" fmla="*/ 90981 w 233856"/>
                <a:gd name="connsiteY2" fmla="*/ 381991 h 381991"/>
                <a:gd name="connsiteX3" fmla="*/ 0 w 233856"/>
                <a:gd name="connsiteY3" fmla="*/ 270073 h 381991"/>
                <a:gd name="connsiteX4" fmla="*/ 116682 w 233856"/>
                <a:gd name="connsiteY4" fmla="*/ 0 h 381991"/>
                <a:gd name="connsiteX0" fmla="*/ 116682 w 233856"/>
                <a:gd name="connsiteY0" fmla="*/ 0 h 382634"/>
                <a:gd name="connsiteX1" fmla="*/ 233856 w 233856"/>
                <a:gd name="connsiteY1" fmla="*/ 0 h 382634"/>
                <a:gd name="connsiteX2" fmla="*/ 90981 w 233856"/>
                <a:gd name="connsiteY2" fmla="*/ 381991 h 382634"/>
                <a:gd name="connsiteX3" fmla="*/ 0 w 233856"/>
                <a:gd name="connsiteY3" fmla="*/ 270073 h 382634"/>
                <a:gd name="connsiteX4" fmla="*/ 116682 w 233856"/>
                <a:gd name="connsiteY4" fmla="*/ 0 h 382634"/>
                <a:gd name="connsiteX0" fmla="*/ 116682 w 233856"/>
                <a:gd name="connsiteY0" fmla="*/ 0 h 404019"/>
                <a:gd name="connsiteX1" fmla="*/ 233856 w 233856"/>
                <a:gd name="connsiteY1" fmla="*/ 0 h 404019"/>
                <a:gd name="connsiteX2" fmla="*/ 95743 w 233856"/>
                <a:gd name="connsiteY2" fmla="*/ 403422 h 404019"/>
                <a:gd name="connsiteX3" fmla="*/ 0 w 233856"/>
                <a:gd name="connsiteY3" fmla="*/ 270073 h 404019"/>
                <a:gd name="connsiteX4" fmla="*/ 116682 w 233856"/>
                <a:gd name="connsiteY4" fmla="*/ 0 h 404019"/>
                <a:gd name="connsiteX0" fmla="*/ 116682 w 234471"/>
                <a:gd name="connsiteY0" fmla="*/ 0 h 403422"/>
                <a:gd name="connsiteX1" fmla="*/ 233856 w 234471"/>
                <a:gd name="connsiteY1" fmla="*/ 0 h 403422"/>
                <a:gd name="connsiteX2" fmla="*/ 159969 w 234471"/>
                <a:gd name="connsiteY2" fmla="*/ 267081 h 403422"/>
                <a:gd name="connsiteX3" fmla="*/ 95743 w 234471"/>
                <a:gd name="connsiteY3" fmla="*/ 403422 h 403422"/>
                <a:gd name="connsiteX4" fmla="*/ 0 w 234471"/>
                <a:gd name="connsiteY4" fmla="*/ 270073 h 403422"/>
                <a:gd name="connsiteX5" fmla="*/ 116682 w 234471"/>
                <a:gd name="connsiteY5" fmla="*/ 0 h 403422"/>
                <a:gd name="connsiteX0" fmla="*/ 116682 w 234180"/>
                <a:gd name="connsiteY0" fmla="*/ 0 h 403422"/>
                <a:gd name="connsiteX1" fmla="*/ 233856 w 234180"/>
                <a:gd name="connsiteY1" fmla="*/ 0 h 403422"/>
                <a:gd name="connsiteX2" fmla="*/ 102819 w 234180"/>
                <a:gd name="connsiteY2" fmla="*/ 224219 h 403422"/>
                <a:gd name="connsiteX3" fmla="*/ 95743 w 234180"/>
                <a:gd name="connsiteY3" fmla="*/ 403422 h 403422"/>
                <a:gd name="connsiteX4" fmla="*/ 0 w 234180"/>
                <a:gd name="connsiteY4" fmla="*/ 270073 h 403422"/>
                <a:gd name="connsiteX5" fmla="*/ 116682 w 234180"/>
                <a:gd name="connsiteY5" fmla="*/ 0 h 403422"/>
                <a:gd name="connsiteX0" fmla="*/ 116682 w 234250"/>
                <a:gd name="connsiteY0" fmla="*/ 0 h 403422"/>
                <a:gd name="connsiteX1" fmla="*/ 233856 w 234250"/>
                <a:gd name="connsiteY1" fmla="*/ 0 h 403422"/>
                <a:gd name="connsiteX2" fmla="*/ 124250 w 234250"/>
                <a:gd name="connsiteY2" fmla="*/ 319469 h 403422"/>
                <a:gd name="connsiteX3" fmla="*/ 95743 w 234250"/>
                <a:gd name="connsiteY3" fmla="*/ 403422 h 403422"/>
                <a:gd name="connsiteX4" fmla="*/ 0 w 234250"/>
                <a:gd name="connsiteY4" fmla="*/ 270073 h 403422"/>
                <a:gd name="connsiteX5" fmla="*/ 116682 w 234250"/>
                <a:gd name="connsiteY5" fmla="*/ 0 h 403422"/>
                <a:gd name="connsiteX0" fmla="*/ 116682 w 234250"/>
                <a:gd name="connsiteY0" fmla="*/ 0 h 403422"/>
                <a:gd name="connsiteX1" fmla="*/ 233856 w 234250"/>
                <a:gd name="connsiteY1" fmla="*/ 0 h 403422"/>
                <a:gd name="connsiteX2" fmla="*/ 124250 w 234250"/>
                <a:gd name="connsiteY2" fmla="*/ 319469 h 403422"/>
                <a:gd name="connsiteX3" fmla="*/ 95743 w 234250"/>
                <a:gd name="connsiteY3" fmla="*/ 403422 h 403422"/>
                <a:gd name="connsiteX4" fmla="*/ 0 w 234250"/>
                <a:gd name="connsiteY4" fmla="*/ 270073 h 403422"/>
                <a:gd name="connsiteX5" fmla="*/ 116682 w 234250"/>
                <a:gd name="connsiteY5" fmla="*/ 0 h 403422"/>
                <a:gd name="connsiteX0" fmla="*/ 116682 w 234600"/>
                <a:gd name="connsiteY0" fmla="*/ 0 h 403422"/>
                <a:gd name="connsiteX1" fmla="*/ 233856 w 234600"/>
                <a:gd name="connsiteY1" fmla="*/ 0 h 403422"/>
                <a:gd name="connsiteX2" fmla="*/ 164732 w 234600"/>
                <a:gd name="connsiteY2" fmla="*/ 217075 h 403422"/>
                <a:gd name="connsiteX3" fmla="*/ 124250 w 234600"/>
                <a:gd name="connsiteY3" fmla="*/ 319469 h 403422"/>
                <a:gd name="connsiteX4" fmla="*/ 95743 w 234600"/>
                <a:gd name="connsiteY4" fmla="*/ 403422 h 403422"/>
                <a:gd name="connsiteX5" fmla="*/ 0 w 234600"/>
                <a:gd name="connsiteY5" fmla="*/ 270073 h 403422"/>
                <a:gd name="connsiteX6" fmla="*/ 116682 w 234600"/>
                <a:gd name="connsiteY6" fmla="*/ 0 h 403422"/>
                <a:gd name="connsiteX0" fmla="*/ 116682 w 234267"/>
                <a:gd name="connsiteY0" fmla="*/ 0 h 403422"/>
                <a:gd name="connsiteX1" fmla="*/ 233856 w 234267"/>
                <a:gd name="connsiteY1" fmla="*/ 0 h 403422"/>
                <a:gd name="connsiteX2" fmla="*/ 112345 w 234267"/>
                <a:gd name="connsiteY2" fmla="*/ 183738 h 403422"/>
                <a:gd name="connsiteX3" fmla="*/ 124250 w 234267"/>
                <a:gd name="connsiteY3" fmla="*/ 319469 h 403422"/>
                <a:gd name="connsiteX4" fmla="*/ 95743 w 234267"/>
                <a:gd name="connsiteY4" fmla="*/ 403422 h 403422"/>
                <a:gd name="connsiteX5" fmla="*/ 0 w 234267"/>
                <a:gd name="connsiteY5" fmla="*/ 270073 h 403422"/>
                <a:gd name="connsiteX6" fmla="*/ 116682 w 234267"/>
                <a:gd name="connsiteY6" fmla="*/ 0 h 403422"/>
                <a:gd name="connsiteX0" fmla="*/ 116682 w 234549"/>
                <a:gd name="connsiteY0" fmla="*/ 0 h 403422"/>
                <a:gd name="connsiteX1" fmla="*/ 233856 w 234549"/>
                <a:gd name="connsiteY1" fmla="*/ 0 h 403422"/>
                <a:gd name="connsiteX2" fmla="*/ 159970 w 234549"/>
                <a:gd name="connsiteY2" fmla="*/ 217075 h 403422"/>
                <a:gd name="connsiteX3" fmla="*/ 124250 w 234549"/>
                <a:gd name="connsiteY3" fmla="*/ 319469 h 403422"/>
                <a:gd name="connsiteX4" fmla="*/ 95743 w 234549"/>
                <a:gd name="connsiteY4" fmla="*/ 403422 h 403422"/>
                <a:gd name="connsiteX5" fmla="*/ 0 w 234549"/>
                <a:gd name="connsiteY5" fmla="*/ 270073 h 403422"/>
                <a:gd name="connsiteX6" fmla="*/ 116682 w 234549"/>
                <a:gd name="connsiteY6" fmla="*/ 0 h 403422"/>
                <a:gd name="connsiteX0" fmla="*/ 0 w 244073"/>
                <a:gd name="connsiteY0" fmla="*/ 190500 h 403422"/>
                <a:gd name="connsiteX1" fmla="*/ 243380 w 244073"/>
                <a:gd name="connsiteY1" fmla="*/ 0 h 403422"/>
                <a:gd name="connsiteX2" fmla="*/ 169494 w 244073"/>
                <a:gd name="connsiteY2" fmla="*/ 217075 h 403422"/>
                <a:gd name="connsiteX3" fmla="*/ 133774 w 244073"/>
                <a:gd name="connsiteY3" fmla="*/ 319469 h 403422"/>
                <a:gd name="connsiteX4" fmla="*/ 105267 w 244073"/>
                <a:gd name="connsiteY4" fmla="*/ 403422 h 403422"/>
                <a:gd name="connsiteX5" fmla="*/ 9524 w 244073"/>
                <a:gd name="connsiteY5" fmla="*/ 270073 h 403422"/>
                <a:gd name="connsiteX6" fmla="*/ 0 w 244073"/>
                <a:gd name="connsiteY6" fmla="*/ 190500 h 403422"/>
                <a:gd name="connsiteX0" fmla="*/ 0 w 244073"/>
                <a:gd name="connsiteY0" fmla="*/ 190500 h 403422"/>
                <a:gd name="connsiteX1" fmla="*/ 243380 w 244073"/>
                <a:gd name="connsiteY1" fmla="*/ 0 h 403422"/>
                <a:gd name="connsiteX2" fmla="*/ 169494 w 244073"/>
                <a:gd name="connsiteY2" fmla="*/ 217075 h 403422"/>
                <a:gd name="connsiteX3" fmla="*/ 133774 w 244073"/>
                <a:gd name="connsiteY3" fmla="*/ 319469 h 403422"/>
                <a:gd name="connsiteX4" fmla="*/ 105267 w 244073"/>
                <a:gd name="connsiteY4" fmla="*/ 403422 h 403422"/>
                <a:gd name="connsiteX5" fmla="*/ 9524 w 244073"/>
                <a:gd name="connsiteY5" fmla="*/ 270073 h 403422"/>
                <a:gd name="connsiteX6" fmla="*/ 0 w 244073"/>
                <a:gd name="connsiteY6" fmla="*/ 190500 h 403422"/>
                <a:gd name="connsiteX0" fmla="*/ 0 w 244073"/>
                <a:gd name="connsiteY0" fmla="*/ 199012 h 411934"/>
                <a:gd name="connsiteX1" fmla="*/ 171876 w 244073"/>
                <a:gd name="connsiteY1" fmla="*/ 58899 h 411934"/>
                <a:gd name="connsiteX2" fmla="*/ 243380 w 244073"/>
                <a:gd name="connsiteY2" fmla="*/ 8512 h 411934"/>
                <a:gd name="connsiteX3" fmla="*/ 169494 w 244073"/>
                <a:gd name="connsiteY3" fmla="*/ 225587 h 411934"/>
                <a:gd name="connsiteX4" fmla="*/ 133774 w 244073"/>
                <a:gd name="connsiteY4" fmla="*/ 327981 h 411934"/>
                <a:gd name="connsiteX5" fmla="*/ 105267 w 244073"/>
                <a:gd name="connsiteY5" fmla="*/ 411934 h 411934"/>
                <a:gd name="connsiteX6" fmla="*/ 9524 w 244073"/>
                <a:gd name="connsiteY6" fmla="*/ 278585 h 411934"/>
                <a:gd name="connsiteX7" fmla="*/ 0 w 244073"/>
                <a:gd name="connsiteY7" fmla="*/ 199012 h 411934"/>
                <a:gd name="connsiteX0" fmla="*/ 0 w 244073"/>
                <a:gd name="connsiteY0" fmla="*/ 218153 h 431075"/>
                <a:gd name="connsiteX1" fmla="*/ 121870 w 244073"/>
                <a:gd name="connsiteY1" fmla="*/ 18508 h 431075"/>
                <a:gd name="connsiteX2" fmla="*/ 243380 w 244073"/>
                <a:gd name="connsiteY2" fmla="*/ 27653 h 431075"/>
                <a:gd name="connsiteX3" fmla="*/ 169494 w 244073"/>
                <a:gd name="connsiteY3" fmla="*/ 244728 h 431075"/>
                <a:gd name="connsiteX4" fmla="*/ 133774 w 244073"/>
                <a:gd name="connsiteY4" fmla="*/ 347122 h 431075"/>
                <a:gd name="connsiteX5" fmla="*/ 105267 w 244073"/>
                <a:gd name="connsiteY5" fmla="*/ 431075 h 431075"/>
                <a:gd name="connsiteX6" fmla="*/ 9524 w 244073"/>
                <a:gd name="connsiteY6" fmla="*/ 297726 h 431075"/>
                <a:gd name="connsiteX7" fmla="*/ 0 w 244073"/>
                <a:gd name="connsiteY7" fmla="*/ 218153 h 431075"/>
                <a:gd name="connsiteX0" fmla="*/ 0 w 244073"/>
                <a:gd name="connsiteY0" fmla="*/ 213144 h 426066"/>
                <a:gd name="connsiteX1" fmla="*/ 121870 w 244073"/>
                <a:gd name="connsiteY1" fmla="*/ 13499 h 426066"/>
                <a:gd name="connsiteX2" fmla="*/ 243380 w 244073"/>
                <a:gd name="connsiteY2" fmla="*/ 22644 h 426066"/>
                <a:gd name="connsiteX3" fmla="*/ 169494 w 244073"/>
                <a:gd name="connsiteY3" fmla="*/ 239719 h 426066"/>
                <a:gd name="connsiteX4" fmla="*/ 133774 w 244073"/>
                <a:gd name="connsiteY4" fmla="*/ 342113 h 426066"/>
                <a:gd name="connsiteX5" fmla="*/ 105267 w 244073"/>
                <a:gd name="connsiteY5" fmla="*/ 426066 h 426066"/>
                <a:gd name="connsiteX6" fmla="*/ 9524 w 244073"/>
                <a:gd name="connsiteY6" fmla="*/ 292717 h 426066"/>
                <a:gd name="connsiteX7" fmla="*/ 0 w 244073"/>
                <a:gd name="connsiteY7" fmla="*/ 213144 h 426066"/>
                <a:gd name="connsiteX0" fmla="*/ 0 w 244073"/>
                <a:gd name="connsiteY0" fmla="*/ 218153 h 431075"/>
                <a:gd name="connsiteX1" fmla="*/ 121870 w 244073"/>
                <a:gd name="connsiteY1" fmla="*/ 18508 h 431075"/>
                <a:gd name="connsiteX2" fmla="*/ 243380 w 244073"/>
                <a:gd name="connsiteY2" fmla="*/ 27653 h 431075"/>
                <a:gd name="connsiteX3" fmla="*/ 169494 w 244073"/>
                <a:gd name="connsiteY3" fmla="*/ 244728 h 431075"/>
                <a:gd name="connsiteX4" fmla="*/ 133774 w 244073"/>
                <a:gd name="connsiteY4" fmla="*/ 347122 h 431075"/>
                <a:gd name="connsiteX5" fmla="*/ 105267 w 244073"/>
                <a:gd name="connsiteY5" fmla="*/ 431075 h 431075"/>
                <a:gd name="connsiteX6" fmla="*/ 9524 w 244073"/>
                <a:gd name="connsiteY6" fmla="*/ 297726 h 431075"/>
                <a:gd name="connsiteX7" fmla="*/ 0 w 244073"/>
                <a:gd name="connsiteY7" fmla="*/ 218153 h 431075"/>
                <a:gd name="connsiteX0" fmla="*/ 0 w 178188"/>
                <a:gd name="connsiteY0" fmla="*/ 208851 h 421773"/>
                <a:gd name="connsiteX1" fmla="*/ 121870 w 178188"/>
                <a:gd name="connsiteY1" fmla="*/ 9206 h 421773"/>
                <a:gd name="connsiteX2" fmla="*/ 164799 w 178188"/>
                <a:gd name="connsiteY2" fmla="*/ 63594 h 421773"/>
                <a:gd name="connsiteX3" fmla="*/ 169494 w 178188"/>
                <a:gd name="connsiteY3" fmla="*/ 235426 h 421773"/>
                <a:gd name="connsiteX4" fmla="*/ 133774 w 178188"/>
                <a:gd name="connsiteY4" fmla="*/ 337820 h 421773"/>
                <a:gd name="connsiteX5" fmla="*/ 105267 w 178188"/>
                <a:gd name="connsiteY5" fmla="*/ 421773 h 421773"/>
                <a:gd name="connsiteX6" fmla="*/ 9524 w 178188"/>
                <a:gd name="connsiteY6" fmla="*/ 288424 h 421773"/>
                <a:gd name="connsiteX7" fmla="*/ 0 w 178188"/>
                <a:gd name="connsiteY7" fmla="*/ 208851 h 421773"/>
                <a:gd name="connsiteX0" fmla="*/ 0 w 178188"/>
                <a:gd name="connsiteY0" fmla="*/ 217639 h 430561"/>
                <a:gd name="connsiteX1" fmla="*/ 121870 w 178188"/>
                <a:gd name="connsiteY1" fmla="*/ 17994 h 430561"/>
                <a:gd name="connsiteX2" fmla="*/ 159969 w 178188"/>
                <a:gd name="connsiteY2" fmla="*/ 15615 h 430561"/>
                <a:gd name="connsiteX3" fmla="*/ 164799 w 178188"/>
                <a:gd name="connsiteY3" fmla="*/ 72382 h 430561"/>
                <a:gd name="connsiteX4" fmla="*/ 169494 w 178188"/>
                <a:gd name="connsiteY4" fmla="*/ 244214 h 430561"/>
                <a:gd name="connsiteX5" fmla="*/ 133774 w 178188"/>
                <a:gd name="connsiteY5" fmla="*/ 346608 h 430561"/>
                <a:gd name="connsiteX6" fmla="*/ 105267 w 178188"/>
                <a:gd name="connsiteY6" fmla="*/ 430561 h 430561"/>
                <a:gd name="connsiteX7" fmla="*/ 9524 w 178188"/>
                <a:gd name="connsiteY7" fmla="*/ 297212 h 430561"/>
                <a:gd name="connsiteX8" fmla="*/ 0 w 178188"/>
                <a:gd name="connsiteY8" fmla="*/ 217639 h 430561"/>
                <a:gd name="connsiteX0" fmla="*/ 0 w 178188"/>
                <a:gd name="connsiteY0" fmla="*/ 225613 h 438535"/>
                <a:gd name="connsiteX1" fmla="*/ 121870 w 178188"/>
                <a:gd name="connsiteY1" fmla="*/ 25968 h 438535"/>
                <a:gd name="connsiteX2" fmla="*/ 174256 w 178188"/>
                <a:gd name="connsiteY2" fmla="*/ 6920 h 438535"/>
                <a:gd name="connsiteX3" fmla="*/ 164799 w 178188"/>
                <a:gd name="connsiteY3" fmla="*/ 80356 h 438535"/>
                <a:gd name="connsiteX4" fmla="*/ 169494 w 178188"/>
                <a:gd name="connsiteY4" fmla="*/ 252188 h 438535"/>
                <a:gd name="connsiteX5" fmla="*/ 133774 w 178188"/>
                <a:gd name="connsiteY5" fmla="*/ 354582 h 438535"/>
                <a:gd name="connsiteX6" fmla="*/ 105267 w 178188"/>
                <a:gd name="connsiteY6" fmla="*/ 438535 h 438535"/>
                <a:gd name="connsiteX7" fmla="*/ 9524 w 178188"/>
                <a:gd name="connsiteY7" fmla="*/ 305186 h 438535"/>
                <a:gd name="connsiteX8" fmla="*/ 0 w 178188"/>
                <a:gd name="connsiteY8" fmla="*/ 225613 h 438535"/>
                <a:gd name="connsiteX0" fmla="*/ 0 w 204529"/>
                <a:gd name="connsiteY0" fmla="*/ 225613 h 438535"/>
                <a:gd name="connsiteX1" fmla="*/ 121870 w 204529"/>
                <a:gd name="connsiteY1" fmla="*/ 25968 h 438535"/>
                <a:gd name="connsiteX2" fmla="*/ 174256 w 204529"/>
                <a:gd name="connsiteY2" fmla="*/ 6920 h 438535"/>
                <a:gd name="connsiteX3" fmla="*/ 202899 w 204529"/>
                <a:gd name="connsiteY3" fmla="*/ 54162 h 438535"/>
                <a:gd name="connsiteX4" fmla="*/ 169494 w 204529"/>
                <a:gd name="connsiteY4" fmla="*/ 252188 h 438535"/>
                <a:gd name="connsiteX5" fmla="*/ 133774 w 204529"/>
                <a:gd name="connsiteY5" fmla="*/ 354582 h 438535"/>
                <a:gd name="connsiteX6" fmla="*/ 105267 w 204529"/>
                <a:gd name="connsiteY6" fmla="*/ 438535 h 438535"/>
                <a:gd name="connsiteX7" fmla="*/ 9524 w 204529"/>
                <a:gd name="connsiteY7" fmla="*/ 305186 h 438535"/>
                <a:gd name="connsiteX8" fmla="*/ 0 w 204529"/>
                <a:gd name="connsiteY8" fmla="*/ 225613 h 438535"/>
                <a:gd name="connsiteX0" fmla="*/ 0 w 203410"/>
                <a:gd name="connsiteY0" fmla="*/ 225613 h 438535"/>
                <a:gd name="connsiteX1" fmla="*/ 121870 w 203410"/>
                <a:gd name="connsiteY1" fmla="*/ 25968 h 438535"/>
                <a:gd name="connsiteX2" fmla="*/ 174256 w 203410"/>
                <a:gd name="connsiteY2" fmla="*/ 6920 h 438535"/>
                <a:gd name="connsiteX3" fmla="*/ 202899 w 203410"/>
                <a:gd name="connsiteY3" fmla="*/ 54162 h 438535"/>
                <a:gd name="connsiteX4" fmla="*/ 190926 w 203410"/>
                <a:gd name="connsiteY4" fmla="*/ 159320 h 438535"/>
                <a:gd name="connsiteX5" fmla="*/ 169494 w 203410"/>
                <a:gd name="connsiteY5" fmla="*/ 252188 h 438535"/>
                <a:gd name="connsiteX6" fmla="*/ 133774 w 203410"/>
                <a:gd name="connsiteY6" fmla="*/ 354582 h 438535"/>
                <a:gd name="connsiteX7" fmla="*/ 105267 w 203410"/>
                <a:gd name="connsiteY7" fmla="*/ 438535 h 438535"/>
                <a:gd name="connsiteX8" fmla="*/ 9524 w 203410"/>
                <a:gd name="connsiteY8" fmla="*/ 305186 h 438535"/>
                <a:gd name="connsiteX9" fmla="*/ 0 w 203410"/>
                <a:gd name="connsiteY9" fmla="*/ 225613 h 438535"/>
                <a:gd name="connsiteX0" fmla="*/ 0 w 202990"/>
                <a:gd name="connsiteY0" fmla="*/ 225613 h 438535"/>
                <a:gd name="connsiteX1" fmla="*/ 121870 w 202990"/>
                <a:gd name="connsiteY1" fmla="*/ 25968 h 438535"/>
                <a:gd name="connsiteX2" fmla="*/ 174256 w 202990"/>
                <a:gd name="connsiteY2" fmla="*/ 6920 h 438535"/>
                <a:gd name="connsiteX3" fmla="*/ 202899 w 202990"/>
                <a:gd name="connsiteY3" fmla="*/ 54162 h 438535"/>
                <a:gd name="connsiteX4" fmla="*/ 138539 w 202990"/>
                <a:gd name="connsiteY4" fmla="*/ 123602 h 438535"/>
                <a:gd name="connsiteX5" fmla="*/ 169494 w 202990"/>
                <a:gd name="connsiteY5" fmla="*/ 252188 h 438535"/>
                <a:gd name="connsiteX6" fmla="*/ 133774 w 202990"/>
                <a:gd name="connsiteY6" fmla="*/ 354582 h 438535"/>
                <a:gd name="connsiteX7" fmla="*/ 105267 w 202990"/>
                <a:gd name="connsiteY7" fmla="*/ 438535 h 438535"/>
                <a:gd name="connsiteX8" fmla="*/ 9524 w 202990"/>
                <a:gd name="connsiteY8" fmla="*/ 305186 h 438535"/>
                <a:gd name="connsiteX9" fmla="*/ 0 w 202990"/>
                <a:gd name="connsiteY9" fmla="*/ 225613 h 438535"/>
                <a:gd name="connsiteX0" fmla="*/ 0 w 203178"/>
                <a:gd name="connsiteY0" fmla="*/ 225613 h 438535"/>
                <a:gd name="connsiteX1" fmla="*/ 121870 w 203178"/>
                <a:gd name="connsiteY1" fmla="*/ 25968 h 438535"/>
                <a:gd name="connsiteX2" fmla="*/ 174256 w 203178"/>
                <a:gd name="connsiteY2" fmla="*/ 6920 h 438535"/>
                <a:gd name="connsiteX3" fmla="*/ 202899 w 203178"/>
                <a:gd name="connsiteY3" fmla="*/ 54162 h 438535"/>
                <a:gd name="connsiteX4" fmla="*/ 181401 w 203178"/>
                <a:gd name="connsiteY4" fmla="*/ 149795 h 438535"/>
                <a:gd name="connsiteX5" fmla="*/ 169494 w 203178"/>
                <a:gd name="connsiteY5" fmla="*/ 252188 h 438535"/>
                <a:gd name="connsiteX6" fmla="*/ 133774 w 203178"/>
                <a:gd name="connsiteY6" fmla="*/ 354582 h 438535"/>
                <a:gd name="connsiteX7" fmla="*/ 105267 w 203178"/>
                <a:gd name="connsiteY7" fmla="*/ 438535 h 438535"/>
                <a:gd name="connsiteX8" fmla="*/ 9524 w 203178"/>
                <a:gd name="connsiteY8" fmla="*/ 305186 h 438535"/>
                <a:gd name="connsiteX9" fmla="*/ 0 w 203178"/>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5613 h 438535"/>
                <a:gd name="connsiteX1" fmla="*/ 121870 w 214982"/>
                <a:gd name="connsiteY1" fmla="*/ 25968 h 438535"/>
                <a:gd name="connsiteX2" fmla="*/ 174256 w 214982"/>
                <a:gd name="connsiteY2" fmla="*/ 6920 h 438535"/>
                <a:gd name="connsiteX3" fmla="*/ 214805 w 214982"/>
                <a:gd name="connsiteY3" fmla="*/ 27968 h 438535"/>
                <a:gd name="connsiteX4" fmla="*/ 181401 w 214982"/>
                <a:gd name="connsiteY4" fmla="*/ 149795 h 438535"/>
                <a:gd name="connsiteX5" fmla="*/ 169494 w 214982"/>
                <a:gd name="connsiteY5" fmla="*/ 252188 h 438535"/>
                <a:gd name="connsiteX6" fmla="*/ 133774 w 214982"/>
                <a:gd name="connsiteY6" fmla="*/ 354582 h 438535"/>
                <a:gd name="connsiteX7" fmla="*/ 105267 w 214982"/>
                <a:gd name="connsiteY7" fmla="*/ 438535 h 438535"/>
                <a:gd name="connsiteX8" fmla="*/ 9524 w 214982"/>
                <a:gd name="connsiteY8" fmla="*/ 305186 h 438535"/>
                <a:gd name="connsiteX9" fmla="*/ 0 w 214982"/>
                <a:gd name="connsiteY9" fmla="*/ 225613 h 438535"/>
                <a:gd name="connsiteX0" fmla="*/ 0 w 214982"/>
                <a:gd name="connsiteY0" fmla="*/ 221625 h 434547"/>
                <a:gd name="connsiteX1" fmla="*/ 121870 w 214982"/>
                <a:gd name="connsiteY1" fmla="*/ 21980 h 434547"/>
                <a:gd name="connsiteX2" fmla="*/ 152824 w 214982"/>
                <a:gd name="connsiteY2" fmla="*/ 10075 h 434547"/>
                <a:gd name="connsiteX3" fmla="*/ 214805 w 214982"/>
                <a:gd name="connsiteY3" fmla="*/ 23980 h 434547"/>
                <a:gd name="connsiteX4" fmla="*/ 181401 w 214982"/>
                <a:gd name="connsiteY4" fmla="*/ 145807 h 434547"/>
                <a:gd name="connsiteX5" fmla="*/ 169494 w 214982"/>
                <a:gd name="connsiteY5" fmla="*/ 248200 h 434547"/>
                <a:gd name="connsiteX6" fmla="*/ 133774 w 214982"/>
                <a:gd name="connsiteY6" fmla="*/ 350594 h 434547"/>
                <a:gd name="connsiteX7" fmla="*/ 105267 w 214982"/>
                <a:gd name="connsiteY7" fmla="*/ 434547 h 434547"/>
                <a:gd name="connsiteX8" fmla="*/ 9524 w 214982"/>
                <a:gd name="connsiteY8" fmla="*/ 301198 h 434547"/>
                <a:gd name="connsiteX9" fmla="*/ 0 w 214982"/>
                <a:gd name="connsiteY9" fmla="*/ 221625 h 434547"/>
                <a:gd name="connsiteX0" fmla="*/ 0 w 214982"/>
                <a:gd name="connsiteY0" fmla="*/ 238391 h 451313"/>
                <a:gd name="connsiteX1" fmla="*/ 121870 w 214982"/>
                <a:gd name="connsiteY1" fmla="*/ 38746 h 451313"/>
                <a:gd name="connsiteX2" fmla="*/ 174255 w 214982"/>
                <a:gd name="connsiteY2" fmla="*/ 3028 h 451313"/>
                <a:gd name="connsiteX3" fmla="*/ 214805 w 214982"/>
                <a:gd name="connsiteY3" fmla="*/ 40746 h 451313"/>
                <a:gd name="connsiteX4" fmla="*/ 181401 w 214982"/>
                <a:gd name="connsiteY4" fmla="*/ 162573 h 451313"/>
                <a:gd name="connsiteX5" fmla="*/ 169494 w 214982"/>
                <a:gd name="connsiteY5" fmla="*/ 264966 h 451313"/>
                <a:gd name="connsiteX6" fmla="*/ 133774 w 214982"/>
                <a:gd name="connsiteY6" fmla="*/ 367360 h 451313"/>
                <a:gd name="connsiteX7" fmla="*/ 105267 w 214982"/>
                <a:gd name="connsiteY7" fmla="*/ 451313 h 451313"/>
                <a:gd name="connsiteX8" fmla="*/ 9524 w 214982"/>
                <a:gd name="connsiteY8" fmla="*/ 317964 h 451313"/>
                <a:gd name="connsiteX9" fmla="*/ 0 w 214982"/>
                <a:gd name="connsiteY9" fmla="*/ 238391 h 451313"/>
                <a:gd name="connsiteX0" fmla="*/ 0 w 214982"/>
                <a:gd name="connsiteY0" fmla="*/ 228813 h 441735"/>
                <a:gd name="connsiteX1" fmla="*/ 121870 w 214982"/>
                <a:gd name="connsiteY1" fmla="*/ 29168 h 441735"/>
                <a:gd name="connsiteX2" fmla="*/ 157587 w 214982"/>
                <a:gd name="connsiteY2" fmla="*/ 5356 h 441735"/>
                <a:gd name="connsiteX3" fmla="*/ 214805 w 214982"/>
                <a:gd name="connsiteY3" fmla="*/ 31168 h 441735"/>
                <a:gd name="connsiteX4" fmla="*/ 181401 w 214982"/>
                <a:gd name="connsiteY4" fmla="*/ 152995 h 441735"/>
                <a:gd name="connsiteX5" fmla="*/ 169494 w 214982"/>
                <a:gd name="connsiteY5" fmla="*/ 255388 h 441735"/>
                <a:gd name="connsiteX6" fmla="*/ 133774 w 214982"/>
                <a:gd name="connsiteY6" fmla="*/ 357782 h 441735"/>
                <a:gd name="connsiteX7" fmla="*/ 105267 w 214982"/>
                <a:gd name="connsiteY7" fmla="*/ 441735 h 441735"/>
                <a:gd name="connsiteX8" fmla="*/ 9524 w 214982"/>
                <a:gd name="connsiteY8" fmla="*/ 308386 h 441735"/>
                <a:gd name="connsiteX9" fmla="*/ 0 w 214982"/>
                <a:gd name="connsiteY9" fmla="*/ 228813 h 441735"/>
                <a:gd name="connsiteX0" fmla="*/ 0 w 214982"/>
                <a:gd name="connsiteY0" fmla="*/ 236212 h 449134"/>
                <a:gd name="connsiteX1" fmla="*/ 121870 w 214982"/>
                <a:gd name="connsiteY1" fmla="*/ 36567 h 449134"/>
                <a:gd name="connsiteX2" fmla="*/ 157587 w 214982"/>
                <a:gd name="connsiteY2" fmla="*/ 12755 h 449134"/>
                <a:gd name="connsiteX3" fmla="*/ 214805 w 214982"/>
                <a:gd name="connsiteY3" fmla="*/ 38567 h 449134"/>
                <a:gd name="connsiteX4" fmla="*/ 181401 w 214982"/>
                <a:gd name="connsiteY4" fmla="*/ 160394 h 449134"/>
                <a:gd name="connsiteX5" fmla="*/ 169494 w 214982"/>
                <a:gd name="connsiteY5" fmla="*/ 262787 h 449134"/>
                <a:gd name="connsiteX6" fmla="*/ 133774 w 214982"/>
                <a:gd name="connsiteY6" fmla="*/ 365181 h 449134"/>
                <a:gd name="connsiteX7" fmla="*/ 105267 w 214982"/>
                <a:gd name="connsiteY7" fmla="*/ 449134 h 449134"/>
                <a:gd name="connsiteX8" fmla="*/ 9524 w 214982"/>
                <a:gd name="connsiteY8" fmla="*/ 315785 h 449134"/>
                <a:gd name="connsiteX9" fmla="*/ 0 w 214982"/>
                <a:gd name="connsiteY9" fmla="*/ 236212 h 449134"/>
                <a:gd name="connsiteX0" fmla="*/ 0 w 214982"/>
                <a:gd name="connsiteY0" fmla="*/ 224600 h 437522"/>
                <a:gd name="connsiteX1" fmla="*/ 121870 w 214982"/>
                <a:gd name="connsiteY1" fmla="*/ 24955 h 437522"/>
                <a:gd name="connsiteX2" fmla="*/ 157587 w 214982"/>
                <a:gd name="connsiteY2" fmla="*/ 1143 h 437522"/>
                <a:gd name="connsiteX3" fmla="*/ 214805 w 214982"/>
                <a:gd name="connsiteY3" fmla="*/ 26955 h 437522"/>
                <a:gd name="connsiteX4" fmla="*/ 181401 w 214982"/>
                <a:gd name="connsiteY4" fmla="*/ 148782 h 437522"/>
                <a:gd name="connsiteX5" fmla="*/ 169494 w 214982"/>
                <a:gd name="connsiteY5" fmla="*/ 251175 h 437522"/>
                <a:gd name="connsiteX6" fmla="*/ 133774 w 214982"/>
                <a:gd name="connsiteY6" fmla="*/ 353569 h 437522"/>
                <a:gd name="connsiteX7" fmla="*/ 105267 w 214982"/>
                <a:gd name="connsiteY7" fmla="*/ 437522 h 437522"/>
                <a:gd name="connsiteX8" fmla="*/ 9524 w 214982"/>
                <a:gd name="connsiteY8" fmla="*/ 304173 h 437522"/>
                <a:gd name="connsiteX9" fmla="*/ 0 w 214982"/>
                <a:gd name="connsiteY9" fmla="*/ 224600 h 437522"/>
                <a:gd name="connsiteX0" fmla="*/ 0 w 214982"/>
                <a:gd name="connsiteY0" fmla="*/ 231055 h 443977"/>
                <a:gd name="connsiteX1" fmla="*/ 121870 w 214982"/>
                <a:gd name="connsiteY1" fmla="*/ 31410 h 443977"/>
                <a:gd name="connsiteX2" fmla="*/ 174256 w 214982"/>
                <a:gd name="connsiteY2" fmla="*/ 455 h 443977"/>
                <a:gd name="connsiteX3" fmla="*/ 214805 w 214982"/>
                <a:gd name="connsiteY3" fmla="*/ 33410 h 443977"/>
                <a:gd name="connsiteX4" fmla="*/ 181401 w 214982"/>
                <a:gd name="connsiteY4" fmla="*/ 155237 h 443977"/>
                <a:gd name="connsiteX5" fmla="*/ 169494 w 214982"/>
                <a:gd name="connsiteY5" fmla="*/ 257630 h 443977"/>
                <a:gd name="connsiteX6" fmla="*/ 133774 w 214982"/>
                <a:gd name="connsiteY6" fmla="*/ 360024 h 443977"/>
                <a:gd name="connsiteX7" fmla="*/ 105267 w 214982"/>
                <a:gd name="connsiteY7" fmla="*/ 443977 h 443977"/>
                <a:gd name="connsiteX8" fmla="*/ 9524 w 214982"/>
                <a:gd name="connsiteY8" fmla="*/ 310628 h 443977"/>
                <a:gd name="connsiteX9" fmla="*/ 0 w 214982"/>
                <a:gd name="connsiteY9" fmla="*/ 231055 h 443977"/>
                <a:gd name="connsiteX0" fmla="*/ 0 w 214982"/>
                <a:gd name="connsiteY0" fmla="*/ 231055 h 443977"/>
                <a:gd name="connsiteX1" fmla="*/ 109964 w 214982"/>
                <a:gd name="connsiteY1" fmla="*/ 43316 h 443977"/>
                <a:gd name="connsiteX2" fmla="*/ 174256 w 214982"/>
                <a:gd name="connsiteY2" fmla="*/ 455 h 443977"/>
                <a:gd name="connsiteX3" fmla="*/ 214805 w 214982"/>
                <a:gd name="connsiteY3" fmla="*/ 33410 h 443977"/>
                <a:gd name="connsiteX4" fmla="*/ 181401 w 214982"/>
                <a:gd name="connsiteY4" fmla="*/ 155237 h 443977"/>
                <a:gd name="connsiteX5" fmla="*/ 169494 w 214982"/>
                <a:gd name="connsiteY5" fmla="*/ 257630 h 443977"/>
                <a:gd name="connsiteX6" fmla="*/ 133774 w 214982"/>
                <a:gd name="connsiteY6" fmla="*/ 360024 h 443977"/>
                <a:gd name="connsiteX7" fmla="*/ 105267 w 214982"/>
                <a:gd name="connsiteY7" fmla="*/ 443977 h 443977"/>
                <a:gd name="connsiteX8" fmla="*/ 9524 w 214982"/>
                <a:gd name="connsiteY8" fmla="*/ 310628 h 443977"/>
                <a:gd name="connsiteX9" fmla="*/ 0 w 214982"/>
                <a:gd name="connsiteY9" fmla="*/ 231055 h 44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4982" h="443977">
                  <a:moveTo>
                    <a:pt x="0" y="231055"/>
                  </a:moveTo>
                  <a:cubicBezTo>
                    <a:pt x="27059" y="194441"/>
                    <a:pt x="69401" y="75066"/>
                    <a:pt x="109964" y="43316"/>
                  </a:cubicBezTo>
                  <a:cubicBezTo>
                    <a:pt x="136626" y="9645"/>
                    <a:pt x="143289" y="915"/>
                    <a:pt x="174256" y="455"/>
                  </a:cubicBezTo>
                  <a:cubicBezTo>
                    <a:pt x="214749" y="-2386"/>
                    <a:pt x="212027" y="8010"/>
                    <a:pt x="214805" y="33410"/>
                  </a:cubicBezTo>
                  <a:cubicBezTo>
                    <a:pt x="217583" y="58810"/>
                    <a:pt x="186968" y="122233"/>
                    <a:pt x="181401" y="155237"/>
                  </a:cubicBezTo>
                  <a:cubicBezTo>
                    <a:pt x="175834" y="188241"/>
                    <a:pt x="179019" y="225086"/>
                    <a:pt x="169494" y="257630"/>
                  </a:cubicBezTo>
                  <a:cubicBezTo>
                    <a:pt x="159969" y="290174"/>
                    <a:pt x="145272" y="328966"/>
                    <a:pt x="133774" y="360024"/>
                  </a:cubicBezTo>
                  <a:cubicBezTo>
                    <a:pt x="127424" y="386780"/>
                    <a:pt x="131928" y="443478"/>
                    <a:pt x="105267" y="443977"/>
                  </a:cubicBezTo>
                  <a:cubicBezTo>
                    <a:pt x="55890" y="387621"/>
                    <a:pt x="58901" y="374128"/>
                    <a:pt x="9524" y="310628"/>
                  </a:cubicBezTo>
                  <a:lnTo>
                    <a:pt x="0" y="231055"/>
                  </a:lnTo>
                  <a:close/>
                </a:path>
              </a:pathLst>
            </a:custGeom>
            <a:grp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IE"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sp>
        <p:nvSpPr>
          <p:cNvPr id="4" name="Rectangle 3">
            <a:hlinkClick r:id="rId3" action="ppaction://hlinksldjump"/>
            <a:extLst>
              <a:ext uri="{FF2B5EF4-FFF2-40B4-BE49-F238E27FC236}">
                <a16:creationId xmlns:a16="http://schemas.microsoft.com/office/drawing/2014/main" id="{B542CE6B-88CC-49F1-8257-7F3F425F3CF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1707291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India</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EAD83992-2067-4D9F-B805-85EB24B340A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ngroup map to selec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ade one or more countries</a:t>
            </a:r>
          </a:p>
        </p:txBody>
      </p:sp>
      <p:grpSp>
        <p:nvGrpSpPr>
          <p:cNvPr id="5" name="Group 4">
            <a:extLst>
              <a:ext uri="{FF2B5EF4-FFF2-40B4-BE49-F238E27FC236}">
                <a16:creationId xmlns:a16="http://schemas.microsoft.com/office/drawing/2014/main" id="{D7C6F0CE-E18F-4E31-BDB0-CF4406D25535}"/>
              </a:ext>
            </a:extLst>
          </p:cNvPr>
          <p:cNvGrpSpPr/>
          <p:nvPr/>
        </p:nvGrpSpPr>
        <p:grpSpPr bwMode="auto">
          <a:xfrm>
            <a:off x="4603230" y="1141199"/>
            <a:ext cx="4335252" cy="4748166"/>
            <a:chOff x="2324980" y="1609869"/>
            <a:chExt cx="4335252" cy="4748166"/>
          </a:xfrm>
          <a:solidFill>
            <a:srgbClr val="96968C">
              <a:lumMod val="40000"/>
              <a:lumOff val="60000"/>
            </a:srgbClr>
          </a:solidFill>
        </p:grpSpPr>
        <p:sp>
          <p:nvSpPr>
            <p:cNvPr id="6" name="Freeform 66">
              <a:extLst>
                <a:ext uri="{FF2B5EF4-FFF2-40B4-BE49-F238E27FC236}">
                  <a16:creationId xmlns:a16="http://schemas.microsoft.com/office/drawing/2014/main" id="{7121A60F-B40B-437F-837D-EAFECFBDA637}"/>
                </a:ext>
              </a:extLst>
            </p:cNvPr>
            <p:cNvSpPr/>
            <p:nvPr/>
          </p:nvSpPr>
          <p:spPr bwMode="auto">
            <a:xfrm>
              <a:off x="3149748" y="1609869"/>
              <a:ext cx="1063994" cy="847023"/>
            </a:xfrm>
            <a:custGeom>
              <a:avLst/>
              <a:gdLst>
                <a:gd name="connsiteX0" fmla="*/ 0 w 1213253"/>
                <a:gd name="connsiteY0" fmla="*/ 93671 h 967926"/>
                <a:gd name="connsiteX1" fmla="*/ 8921 w 1213253"/>
                <a:gd name="connsiteY1" fmla="*/ 196262 h 967926"/>
                <a:gd name="connsiteX2" fmla="*/ 75828 w 1213253"/>
                <a:gd name="connsiteY2" fmla="*/ 214104 h 967926"/>
                <a:gd name="connsiteX3" fmla="*/ 111512 w 1213253"/>
                <a:gd name="connsiteY3" fmla="*/ 236406 h 967926"/>
                <a:gd name="connsiteX4" fmla="*/ 151656 w 1213253"/>
                <a:gd name="connsiteY4" fmla="*/ 289932 h 967926"/>
                <a:gd name="connsiteX5" fmla="*/ 182880 w 1213253"/>
                <a:gd name="connsiteY5" fmla="*/ 298853 h 967926"/>
                <a:gd name="connsiteX6" fmla="*/ 209643 w 1213253"/>
                <a:gd name="connsiteY6" fmla="*/ 347919 h 967926"/>
                <a:gd name="connsiteX7" fmla="*/ 209643 w 1213253"/>
                <a:gd name="connsiteY7" fmla="*/ 392523 h 967926"/>
                <a:gd name="connsiteX8" fmla="*/ 129354 w 1213253"/>
                <a:gd name="connsiteY8" fmla="*/ 472812 h 967926"/>
                <a:gd name="connsiteX9" fmla="*/ 115973 w 1213253"/>
                <a:gd name="connsiteY9" fmla="*/ 504036 h 967926"/>
                <a:gd name="connsiteX10" fmla="*/ 120433 w 1213253"/>
                <a:gd name="connsiteY10" fmla="*/ 722600 h 967926"/>
                <a:gd name="connsiteX11" fmla="*/ 156117 w 1213253"/>
                <a:gd name="connsiteY11" fmla="*/ 762744 h 967926"/>
                <a:gd name="connsiteX12" fmla="*/ 200722 w 1213253"/>
                <a:gd name="connsiteY12" fmla="*/ 771665 h 967926"/>
                <a:gd name="connsiteX13" fmla="*/ 218564 w 1213253"/>
                <a:gd name="connsiteY13" fmla="*/ 802888 h 967926"/>
                <a:gd name="connsiteX14" fmla="*/ 245327 w 1213253"/>
                <a:gd name="connsiteY14" fmla="*/ 802888 h 967926"/>
                <a:gd name="connsiteX15" fmla="*/ 285471 w 1213253"/>
                <a:gd name="connsiteY15" fmla="*/ 860875 h 967926"/>
                <a:gd name="connsiteX16" fmla="*/ 356839 w 1213253"/>
                <a:gd name="connsiteY16" fmla="*/ 860875 h 967926"/>
                <a:gd name="connsiteX17" fmla="*/ 356839 w 1213253"/>
                <a:gd name="connsiteY17" fmla="*/ 909940 h 967926"/>
                <a:gd name="connsiteX18" fmla="*/ 432667 w 1213253"/>
                <a:gd name="connsiteY18" fmla="*/ 905480 h 967926"/>
                <a:gd name="connsiteX19" fmla="*/ 450509 w 1213253"/>
                <a:gd name="connsiteY19" fmla="*/ 896559 h 967926"/>
                <a:gd name="connsiteX20" fmla="*/ 454970 w 1213253"/>
                <a:gd name="connsiteY20" fmla="*/ 820730 h 967926"/>
                <a:gd name="connsiteX21" fmla="*/ 481733 w 1213253"/>
                <a:gd name="connsiteY21" fmla="*/ 785046 h 967926"/>
                <a:gd name="connsiteX22" fmla="*/ 499575 w 1213253"/>
                <a:gd name="connsiteY22" fmla="*/ 749362 h 967926"/>
                <a:gd name="connsiteX23" fmla="*/ 544179 w 1213253"/>
                <a:gd name="connsiteY23" fmla="*/ 740441 h 967926"/>
                <a:gd name="connsiteX24" fmla="*/ 597705 w 1213253"/>
                <a:gd name="connsiteY24" fmla="*/ 740441 h 967926"/>
                <a:gd name="connsiteX25" fmla="*/ 624468 w 1213253"/>
                <a:gd name="connsiteY25" fmla="*/ 785046 h 967926"/>
                <a:gd name="connsiteX26" fmla="*/ 651231 w 1213253"/>
                <a:gd name="connsiteY26" fmla="*/ 802888 h 967926"/>
                <a:gd name="connsiteX27" fmla="*/ 709217 w 1213253"/>
                <a:gd name="connsiteY27" fmla="*/ 825191 h 967926"/>
                <a:gd name="connsiteX28" fmla="*/ 771664 w 1213253"/>
                <a:gd name="connsiteY28" fmla="*/ 816270 h 967926"/>
                <a:gd name="connsiteX29" fmla="*/ 785046 w 1213253"/>
                <a:gd name="connsiteY29" fmla="*/ 851954 h 967926"/>
                <a:gd name="connsiteX30" fmla="*/ 807348 w 1213253"/>
                <a:gd name="connsiteY30" fmla="*/ 869796 h 967926"/>
                <a:gd name="connsiteX31" fmla="*/ 865335 w 1213253"/>
                <a:gd name="connsiteY31" fmla="*/ 905480 h 967926"/>
                <a:gd name="connsiteX32" fmla="*/ 932242 w 1213253"/>
                <a:gd name="connsiteY32" fmla="*/ 878717 h 967926"/>
                <a:gd name="connsiteX33" fmla="*/ 945623 w 1213253"/>
                <a:gd name="connsiteY33" fmla="*/ 874256 h 967926"/>
                <a:gd name="connsiteX34" fmla="*/ 936702 w 1213253"/>
                <a:gd name="connsiteY34" fmla="*/ 918861 h 967926"/>
                <a:gd name="connsiteX35" fmla="*/ 945623 w 1213253"/>
                <a:gd name="connsiteY35" fmla="*/ 959005 h 967926"/>
                <a:gd name="connsiteX36" fmla="*/ 999149 w 1213253"/>
                <a:gd name="connsiteY36" fmla="*/ 967926 h 967926"/>
                <a:gd name="connsiteX37" fmla="*/ 1008070 w 1213253"/>
                <a:gd name="connsiteY37" fmla="*/ 936703 h 967926"/>
                <a:gd name="connsiteX38" fmla="*/ 1016991 w 1213253"/>
                <a:gd name="connsiteY38" fmla="*/ 901019 h 967926"/>
                <a:gd name="connsiteX39" fmla="*/ 1052675 w 1213253"/>
                <a:gd name="connsiteY39" fmla="*/ 892098 h 967926"/>
                <a:gd name="connsiteX40" fmla="*/ 1074977 w 1213253"/>
                <a:gd name="connsiteY40" fmla="*/ 878717 h 967926"/>
                <a:gd name="connsiteX41" fmla="*/ 1061596 w 1213253"/>
                <a:gd name="connsiteY41" fmla="*/ 843033 h 967926"/>
                <a:gd name="connsiteX42" fmla="*/ 1034833 w 1213253"/>
                <a:gd name="connsiteY42" fmla="*/ 807349 h 967926"/>
                <a:gd name="connsiteX43" fmla="*/ 1043754 w 1213253"/>
                <a:gd name="connsiteY43" fmla="*/ 762744 h 967926"/>
                <a:gd name="connsiteX44" fmla="*/ 1008070 w 1213253"/>
                <a:gd name="connsiteY44" fmla="*/ 758283 h 967926"/>
                <a:gd name="connsiteX45" fmla="*/ 972386 w 1213253"/>
                <a:gd name="connsiteY45" fmla="*/ 695837 h 967926"/>
                <a:gd name="connsiteX46" fmla="*/ 985768 w 1213253"/>
                <a:gd name="connsiteY46" fmla="*/ 664613 h 967926"/>
                <a:gd name="connsiteX47" fmla="*/ 994689 w 1213253"/>
                <a:gd name="connsiteY47" fmla="*/ 646771 h 967926"/>
                <a:gd name="connsiteX48" fmla="*/ 990228 w 1213253"/>
                <a:gd name="connsiteY48" fmla="*/ 615548 h 967926"/>
                <a:gd name="connsiteX49" fmla="*/ 1003610 w 1213253"/>
                <a:gd name="connsiteY49" fmla="*/ 606627 h 967926"/>
                <a:gd name="connsiteX50" fmla="*/ 1034833 w 1213253"/>
                <a:gd name="connsiteY50" fmla="*/ 624469 h 967926"/>
                <a:gd name="connsiteX51" fmla="*/ 1066056 w 1213253"/>
                <a:gd name="connsiteY51" fmla="*/ 588785 h 967926"/>
                <a:gd name="connsiteX52" fmla="*/ 1074977 w 1213253"/>
                <a:gd name="connsiteY52" fmla="*/ 570943 h 967926"/>
                <a:gd name="connsiteX53" fmla="*/ 1074977 w 1213253"/>
                <a:gd name="connsiteY53" fmla="*/ 553101 h 967926"/>
                <a:gd name="connsiteX54" fmla="*/ 1092819 w 1213253"/>
                <a:gd name="connsiteY54" fmla="*/ 530799 h 967926"/>
                <a:gd name="connsiteX55" fmla="*/ 1159727 w 1213253"/>
                <a:gd name="connsiteY55" fmla="*/ 517417 h 967926"/>
                <a:gd name="connsiteX56" fmla="*/ 1168648 w 1213253"/>
                <a:gd name="connsiteY56" fmla="*/ 468352 h 967926"/>
                <a:gd name="connsiteX57" fmla="*/ 1190950 w 1213253"/>
                <a:gd name="connsiteY57" fmla="*/ 437128 h 967926"/>
                <a:gd name="connsiteX58" fmla="*/ 1195411 w 1213253"/>
                <a:gd name="connsiteY58" fmla="*/ 379142 h 967926"/>
                <a:gd name="connsiteX59" fmla="*/ 1213253 w 1213253"/>
                <a:gd name="connsiteY59" fmla="*/ 325616 h 967926"/>
                <a:gd name="connsiteX60" fmla="*/ 1204332 w 1213253"/>
                <a:gd name="connsiteY60" fmla="*/ 281011 h 967926"/>
                <a:gd name="connsiteX61" fmla="*/ 1155266 w 1213253"/>
                <a:gd name="connsiteY61" fmla="*/ 272090 h 967926"/>
                <a:gd name="connsiteX62" fmla="*/ 1110661 w 1213253"/>
                <a:gd name="connsiteY62" fmla="*/ 281011 h 967926"/>
                <a:gd name="connsiteX63" fmla="*/ 1030373 w 1213253"/>
                <a:gd name="connsiteY63" fmla="*/ 227485 h 967926"/>
                <a:gd name="connsiteX64" fmla="*/ 1003610 w 1213253"/>
                <a:gd name="connsiteY64" fmla="*/ 231946 h 967926"/>
                <a:gd name="connsiteX65" fmla="*/ 985768 w 1213253"/>
                <a:gd name="connsiteY65" fmla="*/ 285472 h 967926"/>
                <a:gd name="connsiteX66" fmla="*/ 967926 w 1213253"/>
                <a:gd name="connsiteY66" fmla="*/ 289932 h 967926"/>
                <a:gd name="connsiteX67" fmla="*/ 896558 w 1213253"/>
                <a:gd name="connsiteY67" fmla="*/ 281011 h 967926"/>
                <a:gd name="connsiteX68" fmla="*/ 878716 w 1213253"/>
                <a:gd name="connsiteY68" fmla="*/ 325616 h 967926"/>
                <a:gd name="connsiteX69" fmla="*/ 856414 w 1213253"/>
                <a:gd name="connsiteY69" fmla="*/ 325616 h 967926"/>
                <a:gd name="connsiteX70" fmla="*/ 802888 w 1213253"/>
                <a:gd name="connsiteY70" fmla="*/ 307774 h 967926"/>
                <a:gd name="connsiteX71" fmla="*/ 758283 w 1213253"/>
                <a:gd name="connsiteY71" fmla="*/ 321156 h 967926"/>
                <a:gd name="connsiteX72" fmla="*/ 677994 w 1213253"/>
                <a:gd name="connsiteY72" fmla="*/ 272090 h 967926"/>
                <a:gd name="connsiteX73" fmla="*/ 669073 w 1213253"/>
                <a:gd name="connsiteY73" fmla="*/ 205183 h 967926"/>
                <a:gd name="connsiteX74" fmla="*/ 664613 w 1213253"/>
                <a:gd name="connsiteY74" fmla="*/ 182880 h 967926"/>
                <a:gd name="connsiteX75" fmla="*/ 620008 w 1213253"/>
                <a:gd name="connsiteY75" fmla="*/ 173960 h 967926"/>
                <a:gd name="connsiteX76" fmla="*/ 597705 w 1213253"/>
                <a:gd name="connsiteY76" fmla="*/ 124894 h 967926"/>
                <a:gd name="connsiteX77" fmla="*/ 526337 w 1213253"/>
                <a:gd name="connsiteY77" fmla="*/ 120434 h 967926"/>
                <a:gd name="connsiteX78" fmla="*/ 504035 w 1213253"/>
                <a:gd name="connsiteY78" fmla="*/ 57987 h 967926"/>
                <a:gd name="connsiteX79" fmla="*/ 454970 w 1213253"/>
                <a:gd name="connsiteY79" fmla="*/ 8921 h 967926"/>
                <a:gd name="connsiteX80" fmla="*/ 419286 w 1213253"/>
                <a:gd name="connsiteY80" fmla="*/ 0 h 967926"/>
                <a:gd name="connsiteX81" fmla="*/ 401444 w 1213253"/>
                <a:gd name="connsiteY81" fmla="*/ 22303 h 967926"/>
                <a:gd name="connsiteX82" fmla="*/ 361299 w 1213253"/>
                <a:gd name="connsiteY82" fmla="*/ 4461 h 967926"/>
                <a:gd name="connsiteX83" fmla="*/ 343457 w 1213253"/>
                <a:gd name="connsiteY83" fmla="*/ 13382 h 967926"/>
                <a:gd name="connsiteX84" fmla="*/ 321155 w 1213253"/>
                <a:gd name="connsiteY84" fmla="*/ 31224 h 967926"/>
                <a:gd name="connsiteX85" fmla="*/ 281011 w 1213253"/>
                <a:gd name="connsiteY85" fmla="*/ 22303 h 967926"/>
                <a:gd name="connsiteX86" fmla="*/ 249787 w 1213253"/>
                <a:gd name="connsiteY86" fmla="*/ 40145 h 967926"/>
                <a:gd name="connsiteX87" fmla="*/ 165038 w 1213253"/>
                <a:gd name="connsiteY87" fmla="*/ 40145 h 967926"/>
                <a:gd name="connsiteX88" fmla="*/ 133815 w 1213253"/>
                <a:gd name="connsiteY88" fmla="*/ 35684 h 967926"/>
                <a:gd name="connsiteX89" fmla="*/ 133815 w 1213253"/>
                <a:gd name="connsiteY89" fmla="*/ 35684 h 967926"/>
                <a:gd name="connsiteX90" fmla="*/ 98131 w 1213253"/>
                <a:gd name="connsiteY90" fmla="*/ 75829 h 967926"/>
                <a:gd name="connsiteX91" fmla="*/ 98131 w 1213253"/>
                <a:gd name="connsiteY91" fmla="*/ 129355 h 967926"/>
                <a:gd name="connsiteX92" fmla="*/ 84749 w 1213253"/>
                <a:gd name="connsiteY92" fmla="*/ 129355 h 967926"/>
                <a:gd name="connsiteX93" fmla="*/ 0 w 1213253"/>
                <a:gd name="connsiteY93" fmla="*/ 93671 h 96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213253" h="967926">
                  <a:moveTo>
                    <a:pt x="0" y="93671"/>
                  </a:moveTo>
                  <a:lnTo>
                    <a:pt x="8921" y="196262"/>
                  </a:lnTo>
                  <a:lnTo>
                    <a:pt x="75828" y="214104"/>
                  </a:lnTo>
                  <a:lnTo>
                    <a:pt x="111512" y="236406"/>
                  </a:lnTo>
                  <a:lnTo>
                    <a:pt x="151656" y="289932"/>
                  </a:lnTo>
                  <a:lnTo>
                    <a:pt x="182880" y="298853"/>
                  </a:lnTo>
                  <a:lnTo>
                    <a:pt x="209643" y="347919"/>
                  </a:lnTo>
                  <a:lnTo>
                    <a:pt x="209643" y="392523"/>
                  </a:lnTo>
                  <a:lnTo>
                    <a:pt x="129354" y="472812"/>
                  </a:lnTo>
                  <a:lnTo>
                    <a:pt x="115973" y="504036"/>
                  </a:lnTo>
                  <a:cubicBezTo>
                    <a:pt x="117460" y="576891"/>
                    <a:pt x="118946" y="649745"/>
                    <a:pt x="120433" y="722600"/>
                  </a:cubicBezTo>
                  <a:lnTo>
                    <a:pt x="156117" y="762744"/>
                  </a:lnTo>
                  <a:lnTo>
                    <a:pt x="200722" y="771665"/>
                  </a:lnTo>
                  <a:lnTo>
                    <a:pt x="218564" y="802888"/>
                  </a:lnTo>
                  <a:lnTo>
                    <a:pt x="245327" y="802888"/>
                  </a:lnTo>
                  <a:lnTo>
                    <a:pt x="285471" y="860875"/>
                  </a:lnTo>
                  <a:lnTo>
                    <a:pt x="356839" y="860875"/>
                  </a:lnTo>
                  <a:lnTo>
                    <a:pt x="356839" y="909940"/>
                  </a:lnTo>
                  <a:lnTo>
                    <a:pt x="432667" y="905480"/>
                  </a:lnTo>
                  <a:lnTo>
                    <a:pt x="450509" y="896559"/>
                  </a:lnTo>
                  <a:lnTo>
                    <a:pt x="454970" y="820730"/>
                  </a:lnTo>
                  <a:lnTo>
                    <a:pt x="481733" y="785046"/>
                  </a:lnTo>
                  <a:lnTo>
                    <a:pt x="499575" y="749362"/>
                  </a:lnTo>
                  <a:lnTo>
                    <a:pt x="544179" y="740441"/>
                  </a:lnTo>
                  <a:lnTo>
                    <a:pt x="597705" y="740441"/>
                  </a:lnTo>
                  <a:lnTo>
                    <a:pt x="624468" y="785046"/>
                  </a:lnTo>
                  <a:lnTo>
                    <a:pt x="651231" y="802888"/>
                  </a:lnTo>
                  <a:lnTo>
                    <a:pt x="709217" y="825191"/>
                  </a:lnTo>
                  <a:lnTo>
                    <a:pt x="771664" y="816270"/>
                  </a:lnTo>
                  <a:lnTo>
                    <a:pt x="785046" y="851954"/>
                  </a:lnTo>
                  <a:lnTo>
                    <a:pt x="807348" y="869796"/>
                  </a:lnTo>
                  <a:lnTo>
                    <a:pt x="865335" y="905480"/>
                  </a:lnTo>
                  <a:lnTo>
                    <a:pt x="932242" y="878717"/>
                  </a:lnTo>
                  <a:lnTo>
                    <a:pt x="945623" y="874256"/>
                  </a:lnTo>
                  <a:lnTo>
                    <a:pt x="936702" y="918861"/>
                  </a:lnTo>
                  <a:lnTo>
                    <a:pt x="945623" y="959005"/>
                  </a:lnTo>
                  <a:lnTo>
                    <a:pt x="999149" y="967926"/>
                  </a:lnTo>
                  <a:lnTo>
                    <a:pt x="1008070" y="936703"/>
                  </a:lnTo>
                  <a:lnTo>
                    <a:pt x="1016991" y="901019"/>
                  </a:lnTo>
                  <a:lnTo>
                    <a:pt x="1052675" y="892098"/>
                  </a:lnTo>
                  <a:lnTo>
                    <a:pt x="1074977" y="878717"/>
                  </a:lnTo>
                  <a:lnTo>
                    <a:pt x="1061596" y="843033"/>
                  </a:lnTo>
                  <a:lnTo>
                    <a:pt x="1034833" y="807349"/>
                  </a:lnTo>
                  <a:lnTo>
                    <a:pt x="1043754" y="762744"/>
                  </a:lnTo>
                  <a:lnTo>
                    <a:pt x="1008070" y="758283"/>
                  </a:lnTo>
                  <a:lnTo>
                    <a:pt x="972386" y="695837"/>
                  </a:lnTo>
                  <a:lnTo>
                    <a:pt x="985768" y="664613"/>
                  </a:lnTo>
                  <a:lnTo>
                    <a:pt x="994689" y="646771"/>
                  </a:lnTo>
                  <a:lnTo>
                    <a:pt x="990228" y="615548"/>
                  </a:lnTo>
                  <a:lnTo>
                    <a:pt x="1003610" y="606627"/>
                  </a:lnTo>
                  <a:lnTo>
                    <a:pt x="1034833" y="624469"/>
                  </a:lnTo>
                  <a:lnTo>
                    <a:pt x="1066056" y="588785"/>
                  </a:lnTo>
                  <a:lnTo>
                    <a:pt x="1074977" y="570943"/>
                  </a:lnTo>
                  <a:lnTo>
                    <a:pt x="1074977" y="553101"/>
                  </a:lnTo>
                  <a:lnTo>
                    <a:pt x="1092819" y="530799"/>
                  </a:lnTo>
                  <a:lnTo>
                    <a:pt x="1159727" y="517417"/>
                  </a:lnTo>
                  <a:lnTo>
                    <a:pt x="1168648" y="468352"/>
                  </a:lnTo>
                  <a:lnTo>
                    <a:pt x="1190950" y="437128"/>
                  </a:lnTo>
                  <a:lnTo>
                    <a:pt x="1195411" y="379142"/>
                  </a:lnTo>
                  <a:lnTo>
                    <a:pt x="1213253" y="325616"/>
                  </a:lnTo>
                  <a:lnTo>
                    <a:pt x="1204332" y="281011"/>
                  </a:lnTo>
                  <a:lnTo>
                    <a:pt x="1155266" y="272090"/>
                  </a:lnTo>
                  <a:lnTo>
                    <a:pt x="1110661" y="281011"/>
                  </a:lnTo>
                  <a:lnTo>
                    <a:pt x="1030373" y="227485"/>
                  </a:lnTo>
                  <a:lnTo>
                    <a:pt x="1003610" y="231946"/>
                  </a:lnTo>
                  <a:lnTo>
                    <a:pt x="985768" y="285472"/>
                  </a:lnTo>
                  <a:lnTo>
                    <a:pt x="967926" y="289932"/>
                  </a:lnTo>
                  <a:lnTo>
                    <a:pt x="896558" y="281011"/>
                  </a:lnTo>
                  <a:lnTo>
                    <a:pt x="878716" y="325616"/>
                  </a:lnTo>
                  <a:lnTo>
                    <a:pt x="856414" y="325616"/>
                  </a:lnTo>
                  <a:lnTo>
                    <a:pt x="802888" y="307774"/>
                  </a:lnTo>
                  <a:lnTo>
                    <a:pt x="758283" y="321156"/>
                  </a:lnTo>
                  <a:lnTo>
                    <a:pt x="677994" y="272090"/>
                  </a:lnTo>
                  <a:lnTo>
                    <a:pt x="669073" y="205183"/>
                  </a:lnTo>
                  <a:lnTo>
                    <a:pt x="664613" y="182880"/>
                  </a:lnTo>
                  <a:lnTo>
                    <a:pt x="620008" y="173960"/>
                  </a:lnTo>
                  <a:lnTo>
                    <a:pt x="597705" y="124894"/>
                  </a:lnTo>
                  <a:lnTo>
                    <a:pt x="526337" y="120434"/>
                  </a:lnTo>
                  <a:lnTo>
                    <a:pt x="504035" y="57987"/>
                  </a:lnTo>
                  <a:lnTo>
                    <a:pt x="454970" y="8921"/>
                  </a:lnTo>
                  <a:lnTo>
                    <a:pt x="419286" y="0"/>
                  </a:lnTo>
                  <a:lnTo>
                    <a:pt x="401444" y="22303"/>
                  </a:lnTo>
                  <a:lnTo>
                    <a:pt x="361299" y="4461"/>
                  </a:lnTo>
                  <a:lnTo>
                    <a:pt x="343457" y="13382"/>
                  </a:lnTo>
                  <a:lnTo>
                    <a:pt x="321155" y="31224"/>
                  </a:lnTo>
                  <a:lnTo>
                    <a:pt x="281011" y="22303"/>
                  </a:lnTo>
                  <a:lnTo>
                    <a:pt x="249787" y="40145"/>
                  </a:lnTo>
                  <a:lnTo>
                    <a:pt x="165038" y="40145"/>
                  </a:lnTo>
                  <a:lnTo>
                    <a:pt x="133815" y="35684"/>
                  </a:lnTo>
                  <a:lnTo>
                    <a:pt x="133815" y="35684"/>
                  </a:lnTo>
                  <a:lnTo>
                    <a:pt x="98131" y="75829"/>
                  </a:lnTo>
                  <a:lnTo>
                    <a:pt x="98131" y="129355"/>
                  </a:lnTo>
                  <a:lnTo>
                    <a:pt x="84749" y="129355"/>
                  </a:lnTo>
                  <a:lnTo>
                    <a:pt x="0" y="93671"/>
                  </a:lnTo>
                  <a:close/>
                </a:path>
              </a:pathLst>
            </a:custGeom>
            <a:grpFill/>
            <a:ln w="6350" cap="flat" cmpd="sng" algn="ctr">
              <a:solidFill>
                <a:srgbClr val="FFFFFF"/>
              </a:solidFill>
              <a:prstDash val="lgDash"/>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67">
              <a:extLst>
                <a:ext uri="{FF2B5EF4-FFF2-40B4-BE49-F238E27FC236}">
                  <a16:creationId xmlns:a16="http://schemas.microsoft.com/office/drawing/2014/main" id="{822C64A0-0BB9-4E62-8DC2-A73525E52887}"/>
                </a:ext>
              </a:extLst>
            </p:cNvPr>
            <p:cNvSpPr/>
            <p:nvPr/>
          </p:nvSpPr>
          <p:spPr bwMode="auto">
            <a:xfrm>
              <a:off x="3525276" y="2268961"/>
              <a:ext cx="422816" cy="472886"/>
            </a:xfrm>
            <a:custGeom>
              <a:avLst/>
              <a:gdLst>
                <a:gd name="connsiteX0" fmla="*/ 165038 w 481732"/>
                <a:gd name="connsiteY0" fmla="*/ 0 h 539719"/>
                <a:gd name="connsiteX1" fmla="*/ 75828 w 481732"/>
                <a:gd name="connsiteY1" fmla="*/ 8921 h 539719"/>
                <a:gd name="connsiteX2" fmla="*/ 31223 w 481732"/>
                <a:gd name="connsiteY2" fmla="*/ 80289 h 539719"/>
                <a:gd name="connsiteX3" fmla="*/ 22302 w 481732"/>
                <a:gd name="connsiteY3" fmla="*/ 160578 h 539719"/>
                <a:gd name="connsiteX4" fmla="*/ 0 w 481732"/>
                <a:gd name="connsiteY4" fmla="*/ 178419 h 539719"/>
                <a:gd name="connsiteX5" fmla="*/ 0 w 481732"/>
                <a:gd name="connsiteY5" fmla="*/ 223024 h 539719"/>
                <a:gd name="connsiteX6" fmla="*/ 35684 w 481732"/>
                <a:gd name="connsiteY6" fmla="*/ 258708 h 539719"/>
                <a:gd name="connsiteX7" fmla="*/ 62447 w 481732"/>
                <a:gd name="connsiteY7" fmla="*/ 338997 h 539719"/>
                <a:gd name="connsiteX8" fmla="*/ 107051 w 481732"/>
                <a:gd name="connsiteY8" fmla="*/ 356839 h 539719"/>
                <a:gd name="connsiteX9" fmla="*/ 133814 w 481732"/>
                <a:gd name="connsiteY9" fmla="*/ 414825 h 539719"/>
                <a:gd name="connsiteX10" fmla="*/ 214103 w 481732"/>
                <a:gd name="connsiteY10" fmla="*/ 437128 h 539719"/>
                <a:gd name="connsiteX11" fmla="*/ 223024 w 481732"/>
                <a:gd name="connsiteY11" fmla="*/ 486193 h 539719"/>
                <a:gd name="connsiteX12" fmla="*/ 249787 w 481732"/>
                <a:gd name="connsiteY12" fmla="*/ 486193 h 539719"/>
                <a:gd name="connsiteX13" fmla="*/ 281010 w 481732"/>
                <a:gd name="connsiteY13" fmla="*/ 539719 h 539719"/>
                <a:gd name="connsiteX14" fmla="*/ 330076 w 481732"/>
                <a:gd name="connsiteY14" fmla="*/ 472812 h 539719"/>
                <a:gd name="connsiteX15" fmla="*/ 321155 w 481732"/>
                <a:gd name="connsiteY15" fmla="*/ 414825 h 539719"/>
                <a:gd name="connsiteX16" fmla="*/ 388062 w 481732"/>
                <a:gd name="connsiteY16" fmla="*/ 379141 h 539719"/>
                <a:gd name="connsiteX17" fmla="*/ 437128 w 481732"/>
                <a:gd name="connsiteY17" fmla="*/ 392523 h 539719"/>
                <a:gd name="connsiteX18" fmla="*/ 437128 w 481732"/>
                <a:gd name="connsiteY18" fmla="*/ 392523 h 539719"/>
                <a:gd name="connsiteX19" fmla="*/ 481732 w 481732"/>
                <a:gd name="connsiteY19" fmla="*/ 383602 h 539719"/>
                <a:gd name="connsiteX20" fmla="*/ 468351 w 481732"/>
                <a:gd name="connsiteY20" fmla="*/ 347918 h 539719"/>
                <a:gd name="connsiteX21" fmla="*/ 468351 w 481732"/>
                <a:gd name="connsiteY21" fmla="*/ 298853 h 539719"/>
                <a:gd name="connsiteX22" fmla="*/ 481732 w 481732"/>
                <a:gd name="connsiteY22" fmla="*/ 263169 h 539719"/>
                <a:gd name="connsiteX23" fmla="*/ 459430 w 481732"/>
                <a:gd name="connsiteY23" fmla="*/ 231945 h 539719"/>
                <a:gd name="connsiteX24" fmla="*/ 437128 w 481732"/>
                <a:gd name="connsiteY24" fmla="*/ 173959 h 539719"/>
                <a:gd name="connsiteX25" fmla="*/ 361299 w 481732"/>
                <a:gd name="connsiteY25" fmla="*/ 120433 h 539719"/>
                <a:gd name="connsiteX26" fmla="*/ 338997 w 481732"/>
                <a:gd name="connsiteY26" fmla="*/ 75828 h 539719"/>
                <a:gd name="connsiteX27" fmla="*/ 281010 w 481732"/>
                <a:gd name="connsiteY27" fmla="*/ 89210 h 539719"/>
                <a:gd name="connsiteX28" fmla="*/ 209643 w 481732"/>
                <a:gd name="connsiteY28" fmla="*/ 62447 h 539719"/>
                <a:gd name="connsiteX29" fmla="*/ 165038 w 481732"/>
                <a:gd name="connsiteY29" fmla="*/ 0 h 53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1732" h="539719">
                  <a:moveTo>
                    <a:pt x="165038" y="0"/>
                  </a:moveTo>
                  <a:lnTo>
                    <a:pt x="75828" y="8921"/>
                  </a:lnTo>
                  <a:lnTo>
                    <a:pt x="31223" y="80289"/>
                  </a:lnTo>
                  <a:lnTo>
                    <a:pt x="22302" y="160578"/>
                  </a:lnTo>
                  <a:lnTo>
                    <a:pt x="0" y="178419"/>
                  </a:lnTo>
                  <a:lnTo>
                    <a:pt x="0" y="223024"/>
                  </a:lnTo>
                  <a:lnTo>
                    <a:pt x="35684" y="258708"/>
                  </a:lnTo>
                  <a:lnTo>
                    <a:pt x="62447" y="338997"/>
                  </a:lnTo>
                  <a:lnTo>
                    <a:pt x="107051" y="356839"/>
                  </a:lnTo>
                  <a:lnTo>
                    <a:pt x="133814" y="414825"/>
                  </a:lnTo>
                  <a:lnTo>
                    <a:pt x="214103" y="437128"/>
                  </a:lnTo>
                  <a:lnTo>
                    <a:pt x="223024" y="486193"/>
                  </a:lnTo>
                  <a:lnTo>
                    <a:pt x="249787" y="486193"/>
                  </a:lnTo>
                  <a:lnTo>
                    <a:pt x="281010" y="539719"/>
                  </a:lnTo>
                  <a:lnTo>
                    <a:pt x="330076" y="472812"/>
                  </a:lnTo>
                  <a:lnTo>
                    <a:pt x="321155" y="414825"/>
                  </a:lnTo>
                  <a:lnTo>
                    <a:pt x="388062" y="379141"/>
                  </a:lnTo>
                  <a:lnTo>
                    <a:pt x="437128" y="392523"/>
                  </a:lnTo>
                  <a:lnTo>
                    <a:pt x="437128" y="392523"/>
                  </a:lnTo>
                  <a:lnTo>
                    <a:pt x="481732" y="383602"/>
                  </a:lnTo>
                  <a:lnTo>
                    <a:pt x="468351" y="347918"/>
                  </a:lnTo>
                  <a:lnTo>
                    <a:pt x="468351" y="298853"/>
                  </a:lnTo>
                  <a:lnTo>
                    <a:pt x="481732" y="263169"/>
                  </a:lnTo>
                  <a:lnTo>
                    <a:pt x="459430" y="231945"/>
                  </a:lnTo>
                  <a:lnTo>
                    <a:pt x="437128" y="173959"/>
                  </a:lnTo>
                  <a:lnTo>
                    <a:pt x="361299" y="120433"/>
                  </a:lnTo>
                  <a:lnTo>
                    <a:pt x="338997" y="75828"/>
                  </a:lnTo>
                  <a:lnTo>
                    <a:pt x="281010" y="89210"/>
                  </a:lnTo>
                  <a:lnTo>
                    <a:pt x="209643" y="62447"/>
                  </a:lnTo>
                  <a:lnTo>
                    <a:pt x="165038" y="0"/>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69">
              <a:extLst>
                <a:ext uri="{FF2B5EF4-FFF2-40B4-BE49-F238E27FC236}">
                  <a16:creationId xmlns:a16="http://schemas.microsoft.com/office/drawing/2014/main" id="{DB9353A1-8B65-4CFF-942C-58393386E057}"/>
                </a:ext>
              </a:extLst>
            </p:cNvPr>
            <p:cNvSpPr/>
            <p:nvPr/>
          </p:nvSpPr>
          <p:spPr bwMode="auto">
            <a:xfrm>
              <a:off x="3226245" y="2420562"/>
              <a:ext cx="457586" cy="407517"/>
            </a:xfrm>
            <a:custGeom>
              <a:avLst/>
              <a:gdLst>
                <a:gd name="connsiteX0" fmla="*/ 336884 w 521791"/>
                <a:gd name="connsiteY0" fmla="*/ 0 h 466065"/>
                <a:gd name="connsiteX1" fmla="*/ 271027 w 521791"/>
                <a:gd name="connsiteY1" fmla="*/ 2533 h 466065"/>
                <a:gd name="connsiteX2" fmla="*/ 238099 w 521791"/>
                <a:gd name="connsiteY2" fmla="*/ 48126 h 466065"/>
                <a:gd name="connsiteX3" fmla="*/ 200104 w 521791"/>
                <a:gd name="connsiteY3" fmla="*/ 60791 h 466065"/>
                <a:gd name="connsiteX4" fmla="*/ 131714 w 521791"/>
                <a:gd name="connsiteY4" fmla="*/ 98785 h 466065"/>
                <a:gd name="connsiteX5" fmla="*/ 131714 w 521791"/>
                <a:gd name="connsiteY5" fmla="*/ 134247 h 466065"/>
                <a:gd name="connsiteX6" fmla="*/ 151978 w 521791"/>
                <a:gd name="connsiteY6" fmla="*/ 174774 h 466065"/>
                <a:gd name="connsiteX7" fmla="*/ 159577 w 521791"/>
                <a:gd name="connsiteY7" fmla="*/ 207703 h 466065"/>
                <a:gd name="connsiteX8" fmla="*/ 169709 w 521791"/>
                <a:gd name="connsiteY8" fmla="*/ 222900 h 466065"/>
                <a:gd name="connsiteX9" fmla="*/ 141846 w 521791"/>
                <a:gd name="connsiteY9" fmla="*/ 235565 h 466065"/>
                <a:gd name="connsiteX10" fmla="*/ 53192 w 521791"/>
                <a:gd name="connsiteY10" fmla="*/ 263428 h 466065"/>
                <a:gd name="connsiteX11" fmla="*/ 22797 w 521791"/>
                <a:gd name="connsiteY11" fmla="*/ 321686 h 466065"/>
                <a:gd name="connsiteX12" fmla="*/ 0 w 521791"/>
                <a:gd name="connsiteY12" fmla="*/ 339417 h 466065"/>
                <a:gd name="connsiteX13" fmla="*/ 7599 w 521791"/>
                <a:gd name="connsiteY13" fmla="*/ 369812 h 466065"/>
                <a:gd name="connsiteX14" fmla="*/ 20264 w 521791"/>
                <a:gd name="connsiteY14" fmla="*/ 397675 h 466065"/>
                <a:gd name="connsiteX15" fmla="*/ 113983 w 521791"/>
                <a:gd name="connsiteY15" fmla="*/ 402741 h 466065"/>
                <a:gd name="connsiteX16" fmla="*/ 134247 w 521791"/>
                <a:gd name="connsiteY16" fmla="*/ 390076 h 466065"/>
                <a:gd name="connsiteX17" fmla="*/ 162110 w 521791"/>
                <a:gd name="connsiteY17" fmla="*/ 387543 h 466065"/>
                <a:gd name="connsiteX18" fmla="*/ 189972 w 521791"/>
                <a:gd name="connsiteY18" fmla="*/ 405274 h 466065"/>
                <a:gd name="connsiteX19" fmla="*/ 243165 w 521791"/>
                <a:gd name="connsiteY19" fmla="*/ 466065 h 466065"/>
                <a:gd name="connsiteX20" fmla="*/ 288758 w 521791"/>
                <a:gd name="connsiteY20" fmla="*/ 430604 h 466065"/>
                <a:gd name="connsiteX21" fmla="*/ 359681 w 521791"/>
                <a:gd name="connsiteY21" fmla="*/ 433136 h 466065"/>
                <a:gd name="connsiteX22" fmla="*/ 390077 w 521791"/>
                <a:gd name="connsiteY22" fmla="*/ 405274 h 466065"/>
                <a:gd name="connsiteX23" fmla="*/ 423005 w 521791"/>
                <a:gd name="connsiteY23" fmla="*/ 359681 h 466065"/>
                <a:gd name="connsiteX24" fmla="*/ 466065 w 521791"/>
                <a:gd name="connsiteY24" fmla="*/ 341950 h 466065"/>
                <a:gd name="connsiteX25" fmla="*/ 488862 w 521791"/>
                <a:gd name="connsiteY25" fmla="*/ 331818 h 466065"/>
                <a:gd name="connsiteX26" fmla="*/ 521791 w 521791"/>
                <a:gd name="connsiteY26" fmla="*/ 344483 h 466065"/>
                <a:gd name="connsiteX27" fmla="*/ 519258 w 521791"/>
                <a:gd name="connsiteY27" fmla="*/ 321686 h 466065"/>
                <a:gd name="connsiteX28" fmla="*/ 501527 w 521791"/>
                <a:gd name="connsiteY28" fmla="*/ 296356 h 466065"/>
                <a:gd name="connsiteX29" fmla="*/ 516725 w 521791"/>
                <a:gd name="connsiteY29" fmla="*/ 253296 h 466065"/>
                <a:gd name="connsiteX30" fmla="*/ 476197 w 521791"/>
                <a:gd name="connsiteY30" fmla="*/ 240631 h 466065"/>
                <a:gd name="connsiteX31" fmla="*/ 448335 w 521791"/>
                <a:gd name="connsiteY31" fmla="*/ 192505 h 466065"/>
                <a:gd name="connsiteX32" fmla="*/ 410340 w 521791"/>
                <a:gd name="connsiteY32" fmla="*/ 167175 h 466065"/>
                <a:gd name="connsiteX33" fmla="*/ 379945 w 521791"/>
                <a:gd name="connsiteY33" fmla="*/ 88653 h 466065"/>
                <a:gd name="connsiteX34" fmla="*/ 349549 w 521791"/>
                <a:gd name="connsiteY34" fmla="*/ 53192 h 466065"/>
                <a:gd name="connsiteX35" fmla="*/ 336884 w 521791"/>
                <a:gd name="connsiteY35" fmla="*/ 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1791" h="466065">
                  <a:moveTo>
                    <a:pt x="336884" y="0"/>
                  </a:moveTo>
                  <a:lnTo>
                    <a:pt x="271027" y="2533"/>
                  </a:lnTo>
                  <a:lnTo>
                    <a:pt x="238099" y="48126"/>
                  </a:lnTo>
                  <a:lnTo>
                    <a:pt x="200104" y="60791"/>
                  </a:lnTo>
                  <a:lnTo>
                    <a:pt x="131714" y="98785"/>
                  </a:lnTo>
                  <a:lnTo>
                    <a:pt x="131714" y="134247"/>
                  </a:lnTo>
                  <a:lnTo>
                    <a:pt x="151978" y="174774"/>
                  </a:lnTo>
                  <a:lnTo>
                    <a:pt x="159577" y="207703"/>
                  </a:lnTo>
                  <a:lnTo>
                    <a:pt x="169709" y="222900"/>
                  </a:lnTo>
                  <a:lnTo>
                    <a:pt x="141846" y="235565"/>
                  </a:lnTo>
                  <a:lnTo>
                    <a:pt x="53192" y="263428"/>
                  </a:lnTo>
                  <a:lnTo>
                    <a:pt x="22797" y="321686"/>
                  </a:lnTo>
                  <a:lnTo>
                    <a:pt x="0" y="339417"/>
                  </a:lnTo>
                  <a:lnTo>
                    <a:pt x="7599" y="369812"/>
                  </a:lnTo>
                  <a:lnTo>
                    <a:pt x="20264" y="397675"/>
                  </a:lnTo>
                  <a:lnTo>
                    <a:pt x="113983" y="402741"/>
                  </a:lnTo>
                  <a:lnTo>
                    <a:pt x="134247" y="390076"/>
                  </a:lnTo>
                  <a:lnTo>
                    <a:pt x="162110" y="387543"/>
                  </a:lnTo>
                  <a:lnTo>
                    <a:pt x="189972" y="405274"/>
                  </a:lnTo>
                  <a:lnTo>
                    <a:pt x="243165" y="466065"/>
                  </a:lnTo>
                  <a:lnTo>
                    <a:pt x="288758" y="430604"/>
                  </a:lnTo>
                  <a:lnTo>
                    <a:pt x="359681" y="433136"/>
                  </a:lnTo>
                  <a:lnTo>
                    <a:pt x="390077" y="405274"/>
                  </a:lnTo>
                  <a:lnTo>
                    <a:pt x="423005" y="359681"/>
                  </a:lnTo>
                  <a:lnTo>
                    <a:pt x="466065" y="341950"/>
                  </a:lnTo>
                  <a:lnTo>
                    <a:pt x="488862" y="331818"/>
                  </a:lnTo>
                  <a:lnTo>
                    <a:pt x="521791" y="344483"/>
                  </a:lnTo>
                  <a:lnTo>
                    <a:pt x="519258" y="321686"/>
                  </a:lnTo>
                  <a:lnTo>
                    <a:pt x="501527" y="296356"/>
                  </a:lnTo>
                  <a:lnTo>
                    <a:pt x="516725" y="253296"/>
                  </a:lnTo>
                  <a:lnTo>
                    <a:pt x="476197" y="240631"/>
                  </a:lnTo>
                  <a:lnTo>
                    <a:pt x="448335" y="192505"/>
                  </a:lnTo>
                  <a:lnTo>
                    <a:pt x="410340" y="167175"/>
                  </a:lnTo>
                  <a:lnTo>
                    <a:pt x="379945" y="88653"/>
                  </a:lnTo>
                  <a:lnTo>
                    <a:pt x="349549" y="53192"/>
                  </a:lnTo>
                  <a:lnTo>
                    <a:pt x="336884" y="0"/>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70">
              <a:extLst>
                <a:ext uri="{FF2B5EF4-FFF2-40B4-BE49-F238E27FC236}">
                  <a16:creationId xmlns:a16="http://schemas.microsoft.com/office/drawing/2014/main" id="{A14F25A9-E32D-4F17-8A6B-E1605F11330F}"/>
                </a:ext>
              </a:extLst>
            </p:cNvPr>
            <p:cNvSpPr/>
            <p:nvPr/>
          </p:nvSpPr>
          <p:spPr bwMode="auto">
            <a:xfrm>
              <a:off x="3299959" y="2644488"/>
              <a:ext cx="475668" cy="492358"/>
            </a:xfrm>
            <a:custGeom>
              <a:avLst/>
              <a:gdLst>
                <a:gd name="connsiteX0" fmla="*/ 22797 w 542054"/>
                <a:gd name="connsiteY0" fmla="*/ 146912 h 562318"/>
                <a:gd name="connsiteX1" fmla="*/ 0 w 542054"/>
                <a:gd name="connsiteY1" fmla="*/ 205170 h 562318"/>
                <a:gd name="connsiteX2" fmla="*/ 55725 w 542054"/>
                <a:gd name="connsiteY2" fmla="*/ 245697 h 562318"/>
                <a:gd name="connsiteX3" fmla="*/ 96252 w 542054"/>
                <a:gd name="connsiteY3" fmla="*/ 321686 h 562318"/>
                <a:gd name="connsiteX4" fmla="*/ 157044 w 542054"/>
                <a:gd name="connsiteY4" fmla="*/ 347016 h 562318"/>
                <a:gd name="connsiteX5" fmla="*/ 151978 w 542054"/>
                <a:gd name="connsiteY5" fmla="*/ 400208 h 562318"/>
                <a:gd name="connsiteX6" fmla="*/ 164643 w 542054"/>
                <a:gd name="connsiteY6" fmla="*/ 415406 h 562318"/>
                <a:gd name="connsiteX7" fmla="*/ 164643 w 542054"/>
                <a:gd name="connsiteY7" fmla="*/ 438203 h 562318"/>
                <a:gd name="connsiteX8" fmla="*/ 164643 w 542054"/>
                <a:gd name="connsiteY8" fmla="*/ 501527 h 562318"/>
                <a:gd name="connsiteX9" fmla="*/ 197571 w 542054"/>
                <a:gd name="connsiteY9" fmla="*/ 552186 h 562318"/>
                <a:gd name="connsiteX10" fmla="*/ 248230 w 542054"/>
                <a:gd name="connsiteY10" fmla="*/ 557252 h 562318"/>
                <a:gd name="connsiteX11" fmla="*/ 298890 w 542054"/>
                <a:gd name="connsiteY11" fmla="*/ 526857 h 562318"/>
                <a:gd name="connsiteX12" fmla="*/ 311554 w 542054"/>
                <a:gd name="connsiteY12" fmla="*/ 526857 h 562318"/>
                <a:gd name="connsiteX13" fmla="*/ 324219 w 542054"/>
                <a:gd name="connsiteY13" fmla="*/ 557252 h 562318"/>
                <a:gd name="connsiteX14" fmla="*/ 387543 w 542054"/>
                <a:gd name="connsiteY14" fmla="*/ 562318 h 562318"/>
                <a:gd name="connsiteX15" fmla="*/ 440736 w 542054"/>
                <a:gd name="connsiteY15" fmla="*/ 544587 h 562318"/>
                <a:gd name="connsiteX16" fmla="*/ 481263 w 542054"/>
                <a:gd name="connsiteY16" fmla="*/ 491395 h 562318"/>
                <a:gd name="connsiteX17" fmla="*/ 488862 w 542054"/>
                <a:gd name="connsiteY17" fmla="*/ 448335 h 562318"/>
                <a:gd name="connsiteX18" fmla="*/ 466065 w 542054"/>
                <a:gd name="connsiteY18" fmla="*/ 433137 h 562318"/>
                <a:gd name="connsiteX19" fmla="*/ 453400 w 542054"/>
                <a:gd name="connsiteY19" fmla="*/ 453401 h 562318"/>
                <a:gd name="connsiteX20" fmla="*/ 438203 w 542054"/>
                <a:gd name="connsiteY20" fmla="*/ 458466 h 562318"/>
                <a:gd name="connsiteX21" fmla="*/ 402741 w 542054"/>
                <a:gd name="connsiteY21" fmla="*/ 440736 h 562318"/>
                <a:gd name="connsiteX22" fmla="*/ 382477 w 542054"/>
                <a:gd name="connsiteY22" fmla="*/ 428071 h 562318"/>
                <a:gd name="connsiteX23" fmla="*/ 395142 w 542054"/>
                <a:gd name="connsiteY23" fmla="*/ 407807 h 562318"/>
                <a:gd name="connsiteX24" fmla="*/ 387543 w 542054"/>
                <a:gd name="connsiteY24" fmla="*/ 397675 h 562318"/>
                <a:gd name="connsiteX25" fmla="*/ 407807 w 542054"/>
                <a:gd name="connsiteY25" fmla="*/ 359681 h 562318"/>
                <a:gd name="connsiteX26" fmla="*/ 445802 w 542054"/>
                <a:gd name="connsiteY26" fmla="*/ 362214 h 562318"/>
                <a:gd name="connsiteX27" fmla="*/ 468598 w 542054"/>
                <a:gd name="connsiteY27" fmla="*/ 354615 h 562318"/>
                <a:gd name="connsiteX28" fmla="*/ 493928 w 542054"/>
                <a:gd name="connsiteY28" fmla="*/ 316620 h 562318"/>
                <a:gd name="connsiteX29" fmla="*/ 491395 w 542054"/>
                <a:gd name="connsiteY29" fmla="*/ 293824 h 562318"/>
                <a:gd name="connsiteX30" fmla="*/ 460999 w 542054"/>
                <a:gd name="connsiteY30" fmla="*/ 263428 h 562318"/>
                <a:gd name="connsiteX31" fmla="*/ 481263 w 542054"/>
                <a:gd name="connsiteY31" fmla="*/ 220368 h 562318"/>
                <a:gd name="connsiteX32" fmla="*/ 483796 w 542054"/>
                <a:gd name="connsiteY32" fmla="*/ 205170 h 562318"/>
                <a:gd name="connsiteX33" fmla="*/ 476197 w 542054"/>
                <a:gd name="connsiteY33" fmla="*/ 169709 h 562318"/>
                <a:gd name="connsiteX34" fmla="*/ 491395 w 542054"/>
                <a:gd name="connsiteY34" fmla="*/ 144379 h 562318"/>
                <a:gd name="connsiteX35" fmla="*/ 542054 w 542054"/>
                <a:gd name="connsiteY35" fmla="*/ 113983 h 562318"/>
                <a:gd name="connsiteX36" fmla="*/ 506593 w 542054"/>
                <a:gd name="connsiteY36" fmla="*/ 58258 h 562318"/>
                <a:gd name="connsiteX37" fmla="*/ 471131 w 542054"/>
                <a:gd name="connsiteY37" fmla="*/ 60791 h 562318"/>
                <a:gd name="connsiteX38" fmla="*/ 466065 w 542054"/>
                <a:gd name="connsiteY38" fmla="*/ 20264 h 562318"/>
                <a:gd name="connsiteX39" fmla="*/ 466065 w 542054"/>
                <a:gd name="connsiteY39" fmla="*/ 12665 h 562318"/>
                <a:gd name="connsiteX40" fmla="*/ 433137 w 542054"/>
                <a:gd name="connsiteY40" fmla="*/ 0 h 562318"/>
                <a:gd name="connsiteX41" fmla="*/ 420472 w 542054"/>
                <a:gd name="connsiteY41" fmla="*/ 45593 h 562318"/>
                <a:gd name="connsiteX42" fmla="*/ 435670 w 542054"/>
                <a:gd name="connsiteY42" fmla="*/ 68390 h 562318"/>
                <a:gd name="connsiteX43" fmla="*/ 435670 w 542054"/>
                <a:gd name="connsiteY43" fmla="*/ 91187 h 562318"/>
                <a:gd name="connsiteX44" fmla="*/ 407807 w 542054"/>
                <a:gd name="connsiteY44" fmla="*/ 81055 h 562318"/>
                <a:gd name="connsiteX45" fmla="*/ 344483 w 542054"/>
                <a:gd name="connsiteY45" fmla="*/ 98786 h 562318"/>
                <a:gd name="connsiteX46" fmla="*/ 278626 w 542054"/>
                <a:gd name="connsiteY46" fmla="*/ 174775 h 562318"/>
                <a:gd name="connsiteX47" fmla="*/ 210236 w 542054"/>
                <a:gd name="connsiteY47" fmla="*/ 182373 h 562318"/>
                <a:gd name="connsiteX48" fmla="*/ 162110 w 542054"/>
                <a:gd name="connsiteY48" fmla="*/ 210236 h 562318"/>
                <a:gd name="connsiteX49" fmla="*/ 88654 w 542054"/>
                <a:gd name="connsiteY49" fmla="*/ 136780 h 562318"/>
                <a:gd name="connsiteX50" fmla="*/ 22797 w 542054"/>
                <a:gd name="connsiteY50" fmla="*/ 146912 h 56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42054" h="562318">
                  <a:moveTo>
                    <a:pt x="22797" y="146912"/>
                  </a:moveTo>
                  <a:lnTo>
                    <a:pt x="0" y="205170"/>
                  </a:lnTo>
                  <a:lnTo>
                    <a:pt x="55725" y="245697"/>
                  </a:lnTo>
                  <a:lnTo>
                    <a:pt x="96252" y="321686"/>
                  </a:lnTo>
                  <a:lnTo>
                    <a:pt x="157044" y="347016"/>
                  </a:lnTo>
                  <a:lnTo>
                    <a:pt x="151978" y="400208"/>
                  </a:lnTo>
                  <a:lnTo>
                    <a:pt x="164643" y="415406"/>
                  </a:lnTo>
                  <a:lnTo>
                    <a:pt x="164643" y="438203"/>
                  </a:lnTo>
                  <a:lnTo>
                    <a:pt x="164643" y="501527"/>
                  </a:lnTo>
                  <a:lnTo>
                    <a:pt x="197571" y="552186"/>
                  </a:lnTo>
                  <a:lnTo>
                    <a:pt x="248230" y="557252"/>
                  </a:lnTo>
                  <a:lnTo>
                    <a:pt x="298890" y="526857"/>
                  </a:lnTo>
                  <a:lnTo>
                    <a:pt x="311554" y="526857"/>
                  </a:lnTo>
                  <a:lnTo>
                    <a:pt x="324219" y="557252"/>
                  </a:lnTo>
                  <a:lnTo>
                    <a:pt x="387543" y="562318"/>
                  </a:lnTo>
                  <a:lnTo>
                    <a:pt x="440736" y="544587"/>
                  </a:lnTo>
                  <a:lnTo>
                    <a:pt x="481263" y="491395"/>
                  </a:lnTo>
                  <a:lnTo>
                    <a:pt x="488862" y="448335"/>
                  </a:lnTo>
                  <a:lnTo>
                    <a:pt x="466065" y="433137"/>
                  </a:lnTo>
                  <a:lnTo>
                    <a:pt x="453400" y="453401"/>
                  </a:lnTo>
                  <a:lnTo>
                    <a:pt x="438203" y="458466"/>
                  </a:lnTo>
                  <a:lnTo>
                    <a:pt x="402741" y="440736"/>
                  </a:lnTo>
                  <a:lnTo>
                    <a:pt x="382477" y="428071"/>
                  </a:lnTo>
                  <a:lnTo>
                    <a:pt x="395142" y="407807"/>
                  </a:lnTo>
                  <a:lnTo>
                    <a:pt x="387543" y="397675"/>
                  </a:lnTo>
                  <a:lnTo>
                    <a:pt x="407807" y="359681"/>
                  </a:lnTo>
                  <a:lnTo>
                    <a:pt x="445802" y="362214"/>
                  </a:lnTo>
                  <a:lnTo>
                    <a:pt x="468598" y="354615"/>
                  </a:lnTo>
                  <a:lnTo>
                    <a:pt x="493928" y="316620"/>
                  </a:lnTo>
                  <a:lnTo>
                    <a:pt x="491395" y="293824"/>
                  </a:lnTo>
                  <a:lnTo>
                    <a:pt x="460999" y="263428"/>
                  </a:lnTo>
                  <a:lnTo>
                    <a:pt x="481263" y="220368"/>
                  </a:lnTo>
                  <a:lnTo>
                    <a:pt x="483796" y="205170"/>
                  </a:lnTo>
                  <a:lnTo>
                    <a:pt x="476197" y="169709"/>
                  </a:lnTo>
                  <a:lnTo>
                    <a:pt x="491395" y="144379"/>
                  </a:lnTo>
                  <a:lnTo>
                    <a:pt x="542054" y="113983"/>
                  </a:lnTo>
                  <a:lnTo>
                    <a:pt x="506593" y="58258"/>
                  </a:lnTo>
                  <a:lnTo>
                    <a:pt x="471131" y="60791"/>
                  </a:lnTo>
                  <a:lnTo>
                    <a:pt x="466065" y="20264"/>
                  </a:lnTo>
                  <a:lnTo>
                    <a:pt x="466065" y="12665"/>
                  </a:lnTo>
                  <a:lnTo>
                    <a:pt x="433137" y="0"/>
                  </a:lnTo>
                  <a:lnTo>
                    <a:pt x="420472" y="45593"/>
                  </a:lnTo>
                  <a:lnTo>
                    <a:pt x="435670" y="68390"/>
                  </a:lnTo>
                  <a:lnTo>
                    <a:pt x="435670" y="91187"/>
                  </a:lnTo>
                  <a:lnTo>
                    <a:pt x="407807" y="81055"/>
                  </a:lnTo>
                  <a:lnTo>
                    <a:pt x="344483" y="98786"/>
                  </a:lnTo>
                  <a:lnTo>
                    <a:pt x="278626" y="174775"/>
                  </a:lnTo>
                  <a:lnTo>
                    <a:pt x="210236" y="182373"/>
                  </a:lnTo>
                  <a:lnTo>
                    <a:pt x="162110" y="210236"/>
                  </a:lnTo>
                  <a:lnTo>
                    <a:pt x="88654" y="136780"/>
                  </a:lnTo>
                  <a:lnTo>
                    <a:pt x="22797" y="146912"/>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72">
              <a:extLst>
                <a:ext uri="{FF2B5EF4-FFF2-40B4-BE49-F238E27FC236}">
                  <a16:creationId xmlns:a16="http://schemas.microsoft.com/office/drawing/2014/main" id="{DFA593EC-FF6F-4F7F-BE1A-426A187158D7}"/>
                </a:ext>
              </a:extLst>
            </p:cNvPr>
            <p:cNvSpPr/>
            <p:nvPr/>
          </p:nvSpPr>
          <p:spPr bwMode="auto">
            <a:xfrm>
              <a:off x="3637934" y="2953255"/>
              <a:ext cx="72324" cy="91796"/>
            </a:xfrm>
            <a:custGeom>
              <a:avLst/>
              <a:gdLst>
                <a:gd name="connsiteX0" fmla="*/ 70923 w 83588"/>
                <a:gd name="connsiteY0" fmla="*/ 0 h 93719"/>
                <a:gd name="connsiteX1" fmla="*/ 7599 w 83588"/>
                <a:gd name="connsiteY1" fmla="*/ 32928 h 93719"/>
                <a:gd name="connsiteX2" fmla="*/ 10132 w 83588"/>
                <a:gd name="connsiteY2" fmla="*/ 45593 h 93719"/>
                <a:gd name="connsiteX3" fmla="*/ 0 w 83588"/>
                <a:gd name="connsiteY3" fmla="*/ 65857 h 93719"/>
                <a:gd name="connsiteX4" fmla="*/ 58259 w 83588"/>
                <a:gd name="connsiteY4" fmla="*/ 93719 h 93719"/>
                <a:gd name="connsiteX5" fmla="*/ 73456 w 83588"/>
                <a:gd name="connsiteY5" fmla="*/ 88654 h 93719"/>
                <a:gd name="connsiteX6" fmla="*/ 83588 w 83588"/>
                <a:gd name="connsiteY6" fmla="*/ 70923 h 93719"/>
                <a:gd name="connsiteX7" fmla="*/ 70923 w 83588"/>
                <a:gd name="connsiteY7" fmla="*/ 0 h 93719"/>
                <a:gd name="connsiteX0" fmla="*/ 70923 w 83588"/>
                <a:gd name="connsiteY0" fmla="*/ 0 h 93719"/>
                <a:gd name="connsiteX1" fmla="*/ 35521 w 83588"/>
                <a:gd name="connsiteY1" fmla="*/ 14386 h 93719"/>
                <a:gd name="connsiteX2" fmla="*/ 7599 w 83588"/>
                <a:gd name="connsiteY2" fmla="*/ 32928 h 93719"/>
                <a:gd name="connsiteX3" fmla="*/ 10132 w 83588"/>
                <a:gd name="connsiteY3" fmla="*/ 45593 h 93719"/>
                <a:gd name="connsiteX4" fmla="*/ 0 w 83588"/>
                <a:gd name="connsiteY4" fmla="*/ 65857 h 93719"/>
                <a:gd name="connsiteX5" fmla="*/ 58259 w 83588"/>
                <a:gd name="connsiteY5" fmla="*/ 93719 h 93719"/>
                <a:gd name="connsiteX6" fmla="*/ 73456 w 83588"/>
                <a:gd name="connsiteY6" fmla="*/ 88654 h 93719"/>
                <a:gd name="connsiteX7" fmla="*/ 83588 w 83588"/>
                <a:gd name="connsiteY7" fmla="*/ 70923 h 93719"/>
                <a:gd name="connsiteX8" fmla="*/ 70923 w 83588"/>
                <a:gd name="connsiteY8" fmla="*/ 0 h 93719"/>
                <a:gd name="connsiteX0" fmla="*/ 70923 w 83588"/>
                <a:gd name="connsiteY0" fmla="*/ 11808 h 105527"/>
                <a:gd name="connsiteX1" fmla="*/ 21234 w 83588"/>
                <a:gd name="connsiteY1" fmla="*/ 0 h 105527"/>
                <a:gd name="connsiteX2" fmla="*/ 7599 w 83588"/>
                <a:gd name="connsiteY2" fmla="*/ 44736 h 105527"/>
                <a:gd name="connsiteX3" fmla="*/ 10132 w 83588"/>
                <a:gd name="connsiteY3" fmla="*/ 57401 h 105527"/>
                <a:gd name="connsiteX4" fmla="*/ 0 w 83588"/>
                <a:gd name="connsiteY4" fmla="*/ 77665 h 105527"/>
                <a:gd name="connsiteX5" fmla="*/ 58259 w 83588"/>
                <a:gd name="connsiteY5" fmla="*/ 105527 h 105527"/>
                <a:gd name="connsiteX6" fmla="*/ 73456 w 83588"/>
                <a:gd name="connsiteY6" fmla="*/ 100462 h 105527"/>
                <a:gd name="connsiteX7" fmla="*/ 83588 w 83588"/>
                <a:gd name="connsiteY7" fmla="*/ 82731 h 105527"/>
                <a:gd name="connsiteX8" fmla="*/ 70923 w 83588"/>
                <a:gd name="connsiteY8" fmla="*/ 11808 h 10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88" h="105527">
                  <a:moveTo>
                    <a:pt x="70923" y="11808"/>
                  </a:moveTo>
                  <a:lnTo>
                    <a:pt x="21234" y="0"/>
                  </a:lnTo>
                  <a:lnTo>
                    <a:pt x="7599" y="44736"/>
                  </a:lnTo>
                  <a:lnTo>
                    <a:pt x="10132" y="57401"/>
                  </a:lnTo>
                  <a:lnTo>
                    <a:pt x="0" y="77665"/>
                  </a:lnTo>
                  <a:lnTo>
                    <a:pt x="58259" y="105527"/>
                  </a:lnTo>
                  <a:lnTo>
                    <a:pt x="73456" y="100462"/>
                  </a:lnTo>
                  <a:lnTo>
                    <a:pt x="83588" y="82731"/>
                  </a:lnTo>
                  <a:lnTo>
                    <a:pt x="70923" y="11808"/>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1" name="Freeform 73">
              <a:extLst>
                <a:ext uri="{FF2B5EF4-FFF2-40B4-BE49-F238E27FC236}">
                  <a16:creationId xmlns:a16="http://schemas.microsoft.com/office/drawing/2014/main" id="{C4D73924-7415-4431-8836-D42400F2CA90}"/>
                </a:ext>
              </a:extLst>
            </p:cNvPr>
            <p:cNvSpPr/>
            <p:nvPr/>
          </p:nvSpPr>
          <p:spPr bwMode="auto">
            <a:xfrm>
              <a:off x="3777018" y="2590245"/>
              <a:ext cx="446460" cy="450633"/>
            </a:xfrm>
            <a:custGeom>
              <a:avLst/>
              <a:gdLst>
                <a:gd name="connsiteX0" fmla="*/ 0 w 509588"/>
                <a:gd name="connsiteY0" fmla="*/ 180975 h 514350"/>
                <a:gd name="connsiteX1" fmla="*/ 54769 w 509588"/>
                <a:gd name="connsiteY1" fmla="*/ 264319 h 514350"/>
                <a:gd name="connsiteX2" fmla="*/ 80963 w 509588"/>
                <a:gd name="connsiteY2" fmla="*/ 271463 h 514350"/>
                <a:gd name="connsiteX3" fmla="*/ 88107 w 509588"/>
                <a:gd name="connsiteY3" fmla="*/ 326231 h 514350"/>
                <a:gd name="connsiteX4" fmla="*/ 66675 w 509588"/>
                <a:gd name="connsiteY4" fmla="*/ 426244 h 514350"/>
                <a:gd name="connsiteX5" fmla="*/ 111919 w 509588"/>
                <a:gd name="connsiteY5" fmla="*/ 433388 h 514350"/>
                <a:gd name="connsiteX6" fmla="*/ 178594 w 509588"/>
                <a:gd name="connsiteY6" fmla="*/ 414338 h 514350"/>
                <a:gd name="connsiteX7" fmla="*/ 221457 w 509588"/>
                <a:gd name="connsiteY7" fmla="*/ 433388 h 514350"/>
                <a:gd name="connsiteX8" fmla="*/ 330994 w 509588"/>
                <a:gd name="connsiteY8" fmla="*/ 509588 h 514350"/>
                <a:gd name="connsiteX9" fmla="*/ 395288 w 509588"/>
                <a:gd name="connsiteY9" fmla="*/ 514350 h 514350"/>
                <a:gd name="connsiteX10" fmla="*/ 414338 w 509588"/>
                <a:gd name="connsiteY10" fmla="*/ 495300 h 514350"/>
                <a:gd name="connsiteX11" fmla="*/ 385763 w 509588"/>
                <a:gd name="connsiteY11" fmla="*/ 473869 h 514350"/>
                <a:gd name="connsiteX12" fmla="*/ 385763 w 509588"/>
                <a:gd name="connsiteY12" fmla="*/ 440531 h 514350"/>
                <a:gd name="connsiteX13" fmla="*/ 423863 w 509588"/>
                <a:gd name="connsiteY13" fmla="*/ 419100 h 514350"/>
                <a:gd name="connsiteX14" fmla="*/ 431007 w 509588"/>
                <a:gd name="connsiteY14" fmla="*/ 376238 h 514350"/>
                <a:gd name="connsiteX15" fmla="*/ 435769 w 509588"/>
                <a:gd name="connsiteY15" fmla="*/ 335756 h 514350"/>
                <a:gd name="connsiteX16" fmla="*/ 497682 w 509588"/>
                <a:gd name="connsiteY16" fmla="*/ 278606 h 514350"/>
                <a:gd name="connsiteX17" fmla="*/ 509588 w 509588"/>
                <a:gd name="connsiteY17" fmla="*/ 200025 h 514350"/>
                <a:gd name="connsiteX18" fmla="*/ 390525 w 509588"/>
                <a:gd name="connsiteY18" fmla="*/ 95250 h 514350"/>
                <a:gd name="connsiteX19" fmla="*/ 323850 w 509588"/>
                <a:gd name="connsiteY19" fmla="*/ 100013 h 514350"/>
                <a:gd name="connsiteX20" fmla="*/ 295275 w 509588"/>
                <a:gd name="connsiteY20" fmla="*/ 76200 h 514350"/>
                <a:gd name="connsiteX21" fmla="*/ 283369 w 509588"/>
                <a:gd name="connsiteY21" fmla="*/ 42863 h 514350"/>
                <a:gd name="connsiteX22" fmla="*/ 266700 w 509588"/>
                <a:gd name="connsiteY22" fmla="*/ 16669 h 514350"/>
                <a:gd name="connsiteX23" fmla="*/ 192882 w 509588"/>
                <a:gd name="connsiteY23" fmla="*/ 0 h 514350"/>
                <a:gd name="connsiteX24" fmla="*/ 195263 w 509588"/>
                <a:gd name="connsiteY24" fmla="*/ 21431 h 514350"/>
                <a:gd name="connsiteX25" fmla="*/ 159544 w 509588"/>
                <a:gd name="connsiteY25" fmla="*/ 33338 h 514350"/>
                <a:gd name="connsiteX26" fmla="*/ 100013 w 509588"/>
                <a:gd name="connsiteY26" fmla="*/ 16669 h 514350"/>
                <a:gd name="connsiteX27" fmla="*/ 38100 w 509588"/>
                <a:gd name="connsiteY27" fmla="*/ 52388 h 514350"/>
                <a:gd name="connsiteX28" fmla="*/ 42863 w 509588"/>
                <a:gd name="connsiteY28" fmla="*/ 109538 h 514350"/>
                <a:gd name="connsiteX29" fmla="*/ 0 w 509588"/>
                <a:gd name="connsiteY29" fmla="*/ 18097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9588" h="514350">
                  <a:moveTo>
                    <a:pt x="0" y="180975"/>
                  </a:moveTo>
                  <a:lnTo>
                    <a:pt x="54769" y="264319"/>
                  </a:lnTo>
                  <a:lnTo>
                    <a:pt x="80963" y="271463"/>
                  </a:lnTo>
                  <a:lnTo>
                    <a:pt x="88107" y="326231"/>
                  </a:lnTo>
                  <a:lnTo>
                    <a:pt x="66675" y="426244"/>
                  </a:lnTo>
                  <a:lnTo>
                    <a:pt x="111919" y="433388"/>
                  </a:lnTo>
                  <a:lnTo>
                    <a:pt x="178594" y="414338"/>
                  </a:lnTo>
                  <a:lnTo>
                    <a:pt x="221457" y="433388"/>
                  </a:lnTo>
                  <a:lnTo>
                    <a:pt x="330994" y="509588"/>
                  </a:lnTo>
                  <a:lnTo>
                    <a:pt x="395288" y="514350"/>
                  </a:lnTo>
                  <a:lnTo>
                    <a:pt x="414338" y="495300"/>
                  </a:lnTo>
                  <a:lnTo>
                    <a:pt x="385763" y="473869"/>
                  </a:lnTo>
                  <a:lnTo>
                    <a:pt x="385763" y="440531"/>
                  </a:lnTo>
                  <a:lnTo>
                    <a:pt x="423863" y="419100"/>
                  </a:lnTo>
                  <a:lnTo>
                    <a:pt x="431007" y="376238"/>
                  </a:lnTo>
                  <a:lnTo>
                    <a:pt x="435769" y="335756"/>
                  </a:lnTo>
                  <a:lnTo>
                    <a:pt x="497682" y="278606"/>
                  </a:lnTo>
                  <a:lnTo>
                    <a:pt x="509588" y="200025"/>
                  </a:lnTo>
                  <a:lnTo>
                    <a:pt x="390525" y="95250"/>
                  </a:lnTo>
                  <a:lnTo>
                    <a:pt x="323850" y="100013"/>
                  </a:lnTo>
                  <a:lnTo>
                    <a:pt x="295275" y="76200"/>
                  </a:lnTo>
                  <a:lnTo>
                    <a:pt x="283369" y="42863"/>
                  </a:lnTo>
                  <a:lnTo>
                    <a:pt x="266700" y="16669"/>
                  </a:lnTo>
                  <a:lnTo>
                    <a:pt x="192882" y="0"/>
                  </a:lnTo>
                  <a:lnTo>
                    <a:pt x="195263" y="21431"/>
                  </a:lnTo>
                  <a:lnTo>
                    <a:pt x="159544" y="33338"/>
                  </a:lnTo>
                  <a:lnTo>
                    <a:pt x="100013" y="16669"/>
                  </a:lnTo>
                  <a:lnTo>
                    <a:pt x="38100" y="52388"/>
                  </a:lnTo>
                  <a:lnTo>
                    <a:pt x="42863" y="109538"/>
                  </a:lnTo>
                  <a:lnTo>
                    <a:pt x="0" y="180975"/>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Freeform 74">
              <a:extLst>
                <a:ext uri="{FF2B5EF4-FFF2-40B4-BE49-F238E27FC236}">
                  <a16:creationId xmlns:a16="http://schemas.microsoft.com/office/drawing/2014/main" id="{0D8A3A70-C2CD-49D4-8813-3A9250498CF2}"/>
                </a:ext>
              </a:extLst>
            </p:cNvPr>
            <p:cNvSpPr/>
            <p:nvPr/>
          </p:nvSpPr>
          <p:spPr bwMode="auto">
            <a:xfrm>
              <a:off x="3647670" y="2751583"/>
              <a:ext cx="1073730" cy="1052867"/>
            </a:xfrm>
            <a:custGeom>
              <a:avLst/>
              <a:gdLst>
                <a:gd name="connsiteX0" fmla="*/ 0 w 1226344"/>
                <a:gd name="connsiteY0" fmla="*/ 452438 h 1152525"/>
                <a:gd name="connsiteX1" fmla="*/ 28575 w 1226344"/>
                <a:gd name="connsiteY1" fmla="*/ 526257 h 1152525"/>
                <a:gd name="connsiteX2" fmla="*/ 73819 w 1226344"/>
                <a:gd name="connsiteY2" fmla="*/ 564357 h 1152525"/>
                <a:gd name="connsiteX3" fmla="*/ 109537 w 1226344"/>
                <a:gd name="connsiteY3" fmla="*/ 657225 h 1152525"/>
                <a:gd name="connsiteX4" fmla="*/ 128587 w 1226344"/>
                <a:gd name="connsiteY4" fmla="*/ 685800 h 1152525"/>
                <a:gd name="connsiteX5" fmla="*/ 142875 w 1226344"/>
                <a:gd name="connsiteY5" fmla="*/ 666750 h 1152525"/>
                <a:gd name="connsiteX6" fmla="*/ 142875 w 1226344"/>
                <a:gd name="connsiteY6" fmla="*/ 633413 h 1152525"/>
                <a:gd name="connsiteX7" fmla="*/ 180975 w 1226344"/>
                <a:gd name="connsiteY7" fmla="*/ 666750 h 1152525"/>
                <a:gd name="connsiteX8" fmla="*/ 240506 w 1226344"/>
                <a:gd name="connsiteY8" fmla="*/ 673894 h 1152525"/>
                <a:gd name="connsiteX9" fmla="*/ 271462 w 1226344"/>
                <a:gd name="connsiteY9" fmla="*/ 702469 h 1152525"/>
                <a:gd name="connsiteX10" fmla="*/ 326231 w 1226344"/>
                <a:gd name="connsiteY10" fmla="*/ 721519 h 1152525"/>
                <a:gd name="connsiteX11" fmla="*/ 338137 w 1226344"/>
                <a:gd name="connsiteY11" fmla="*/ 762000 h 1152525"/>
                <a:gd name="connsiteX12" fmla="*/ 321469 w 1226344"/>
                <a:gd name="connsiteY12" fmla="*/ 781050 h 1152525"/>
                <a:gd name="connsiteX13" fmla="*/ 311944 w 1226344"/>
                <a:gd name="connsiteY13" fmla="*/ 807244 h 1152525"/>
                <a:gd name="connsiteX14" fmla="*/ 266700 w 1226344"/>
                <a:gd name="connsiteY14" fmla="*/ 826294 h 1152525"/>
                <a:gd name="connsiteX15" fmla="*/ 219075 w 1226344"/>
                <a:gd name="connsiteY15" fmla="*/ 900113 h 1152525"/>
                <a:gd name="connsiteX16" fmla="*/ 204787 w 1226344"/>
                <a:gd name="connsiteY16" fmla="*/ 909638 h 1152525"/>
                <a:gd name="connsiteX17" fmla="*/ 192881 w 1226344"/>
                <a:gd name="connsiteY17" fmla="*/ 973932 h 1152525"/>
                <a:gd name="connsiteX18" fmla="*/ 152400 w 1226344"/>
                <a:gd name="connsiteY18" fmla="*/ 1042988 h 1152525"/>
                <a:gd name="connsiteX19" fmla="*/ 157162 w 1226344"/>
                <a:gd name="connsiteY19" fmla="*/ 1071563 h 1152525"/>
                <a:gd name="connsiteX20" fmla="*/ 204787 w 1226344"/>
                <a:gd name="connsiteY20" fmla="*/ 1083469 h 1152525"/>
                <a:gd name="connsiteX21" fmla="*/ 233362 w 1226344"/>
                <a:gd name="connsiteY21" fmla="*/ 1133475 h 1152525"/>
                <a:gd name="connsiteX22" fmla="*/ 247650 w 1226344"/>
                <a:gd name="connsiteY22" fmla="*/ 1133475 h 1152525"/>
                <a:gd name="connsiteX23" fmla="*/ 266700 w 1226344"/>
                <a:gd name="connsiteY23" fmla="*/ 1102519 h 1152525"/>
                <a:gd name="connsiteX24" fmla="*/ 257175 w 1226344"/>
                <a:gd name="connsiteY24" fmla="*/ 1081088 h 1152525"/>
                <a:gd name="connsiteX25" fmla="*/ 230981 w 1226344"/>
                <a:gd name="connsiteY25" fmla="*/ 1076325 h 1152525"/>
                <a:gd name="connsiteX26" fmla="*/ 230981 w 1226344"/>
                <a:gd name="connsiteY26" fmla="*/ 1052513 h 1152525"/>
                <a:gd name="connsiteX27" fmla="*/ 228600 w 1226344"/>
                <a:gd name="connsiteY27" fmla="*/ 1009650 h 1152525"/>
                <a:gd name="connsiteX28" fmla="*/ 216694 w 1226344"/>
                <a:gd name="connsiteY28" fmla="*/ 976313 h 1152525"/>
                <a:gd name="connsiteX29" fmla="*/ 223837 w 1226344"/>
                <a:gd name="connsiteY29" fmla="*/ 940594 h 1152525"/>
                <a:gd name="connsiteX30" fmla="*/ 266700 w 1226344"/>
                <a:gd name="connsiteY30" fmla="*/ 900113 h 1152525"/>
                <a:gd name="connsiteX31" fmla="*/ 278606 w 1226344"/>
                <a:gd name="connsiteY31" fmla="*/ 897732 h 1152525"/>
                <a:gd name="connsiteX32" fmla="*/ 290512 w 1226344"/>
                <a:gd name="connsiteY32" fmla="*/ 938213 h 1152525"/>
                <a:gd name="connsiteX33" fmla="*/ 302419 w 1226344"/>
                <a:gd name="connsiteY33" fmla="*/ 938213 h 1152525"/>
                <a:gd name="connsiteX34" fmla="*/ 321469 w 1226344"/>
                <a:gd name="connsiteY34" fmla="*/ 962025 h 1152525"/>
                <a:gd name="connsiteX35" fmla="*/ 338137 w 1226344"/>
                <a:gd name="connsiteY35" fmla="*/ 957263 h 1152525"/>
                <a:gd name="connsiteX36" fmla="*/ 359569 w 1226344"/>
                <a:gd name="connsiteY36" fmla="*/ 942975 h 1152525"/>
                <a:gd name="connsiteX37" fmla="*/ 483394 w 1226344"/>
                <a:gd name="connsiteY37" fmla="*/ 954882 h 1152525"/>
                <a:gd name="connsiteX38" fmla="*/ 516731 w 1226344"/>
                <a:gd name="connsiteY38" fmla="*/ 947738 h 1152525"/>
                <a:gd name="connsiteX39" fmla="*/ 545306 w 1226344"/>
                <a:gd name="connsiteY39" fmla="*/ 964407 h 1152525"/>
                <a:gd name="connsiteX40" fmla="*/ 561975 w 1226344"/>
                <a:gd name="connsiteY40" fmla="*/ 978694 h 1152525"/>
                <a:gd name="connsiteX41" fmla="*/ 604837 w 1226344"/>
                <a:gd name="connsiteY41" fmla="*/ 981075 h 1152525"/>
                <a:gd name="connsiteX42" fmla="*/ 640556 w 1226344"/>
                <a:gd name="connsiteY42" fmla="*/ 1021557 h 1152525"/>
                <a:gd name="connsiteX43" fmla="*/ 659606 w 1226344"/>
                <a:gd name="connsiteY43" fmla="*/ 1019175 h 1152525"/>
                <a:gd name="connsiteX44" fmla="*/ 702469 w 1226344"/>
                <a:gd name="connsiteY44" fmla="*/ 976313 h 1152525"/>
                <a:gd name="connsiteX45" fmla="*/ 735806 w 1226344"/>
                <a:gd name="connsiteY45" fmla="*/ 1000125 h 1152525"/>
                <a:gd name="connsiteX46" fmla="*/ 752475 w 1226344"/>
                <a:gd name="connsiteY46" fmla="*/ 1023938 h 1152525"/>
                <a:gd name="connsiteX47" fmla="*/ 785812 w 1226344"/>
                <a:gd name="connsiteY47" fmla="*/ 1021557 h 1152525"/>
                <a:gd name="connsiteX48" fmla="*/ 819150 w 1226344"/>
                <a:gd name="connsiteY48" fmla="*/ 1042988 h 1152525"/>
                <a:gd name="connsiteX49" fmla="*/ 823912 w 1226344"/>
                <a:gd name="connsiteY49" fmla="*/ 1064419 h 1152525"/>
                <a:gd name="connsiteX50" fmla="*/ 842962 w 1226344"/>
                <a:gd name="connsiteY50" fmla="*/ 1066800 h 1152525"/>
                <a:gd name="connsiteX51" fmla="*/ 904875 w 1226344"/>
                <a:gd name="connsiteY51" fmla="*/ 1073944 h 1152525"/>
                <a:gd name="connsiteX52" fmla="*/ 933450 w 1226344"/>
                <a:gd name="connsiteY52" fmla="*/ 1112044 h 1152525"/>
                <a:gd name="connsiteX53" fmla="*/ 938212 w 1226344"/>
                <a:gd name="connsiteY53" fmla="*/ 1140619 h 1152525"/>
                <a:gd name="connsiteX54" fmla="*/ 940594 w 1226344"/>
                <a:gd name="connsiteY54" fmla="*/ 1152525 h 1152525"/>
                <a:gd name="connsiteX55" fmla="*/ 1042987 w 1226344"/>
                <a:gd name="connsiteY55" fmla="*/ 1150144 h 1152525"/>
                <a:gd name="connsiteX56" fmla="*/ 1071562 w 1226344"/>
                <a:gd name="connsiteY56" fmla="*/ 1069182 h 1152525"/>
                <a:gd name="connsiteX57" fmla="*/ 1062037 w 1226344"/>
                <a:gd name="connsiteY57" fmla="*/ 1045369 h 1152525"/>
                <a:gd name="connsiteX58" fmla="*/ 1059656 w 1226344"/>
                <a:gd name="connsiteY58" fmla="*/ 1012032 h 1152525"/>
                <a:gd name="connsiteX59" fmla="*/ 1066800 w 1226344"/>
                <a:gd name="connsiteY59" fmla="*/ 992982 h 1152525"/>
                <a:gd name="connsiteX60" fmla="*/ 1083469 w 1226344"/>
                <a:gd name="connsiteY60" fmla="*/ 973932 h 1152525"/>
                <a:gd name="connsiteX61" fmla="*/ 1107281 w 1226344"/>
                <a:gd name="connsiteY61" fmla="*/ 964407 h 1152525"/>
                <a:gd name="connsiteX62" fmla="*/ 1133475 w 1226344"/>
                <a:gd name="connsiteY62" fmla="*/ 921544 h 1152525"/>
                <a:gd name="connsiteX63" fmla="*/ 1150144 w 1226344"/>
                <a:gd name="connsiteY63" fmla="*/ 921544 h 1152525"/>
                <a:gd name="connsiteX64" fmla="*/ 1197769 w 1226344"/>
                <a:gd name="connsiteY64" fmla="*/ 940594 h 1152525"/>
                <a:gd name="connsiteX65" fmla="*/ 1226344 w 1226344"/>
                <a:gd name="connsiteY65" fmla="*/ 904875 h 1152525"/>
                <a:gd name="connsiteX66" fmla="*/ 1195387 w 1226344"/>
                <a:gd name="connsiteY66" fmla="*/ 852488 h 1152525"/>
                <a:gd name="connsiteX67" fmla="*/ 1159669 w 1226344"/>
                <a:gd name="connsiteY67" fmla="*/ 804863 h 1152525"/>
                <a:gd name="connsiteX68" fmla="*/ 1162050 w 1226344"/>
                <a:gd name="connsiteY68" fmla="*/ 762000 h 1152525"/>
                <a:gd name="connsiteX69" fmla="*/ 1216819 w 1226344"/>
                <a:gd name="connsiteY69" fmla="*/ 702469 h 1152525"/>
                <a:gd name="connsiteX70" fmla="*/ 1219200 w 1226344"/>
                <a:gd name="connsiteY70" fmla="*/ 676275 h 1152525"/>
                <a:gd name="connsiteX71" fmla="*/ 1181100 w 1226344"/>
                <a:gd name="connsiteY71" fmla="*/ 661988 h 1152525"/>
                <a:gd name="connsiteX72" fmla="*/ 1150144 w 1226344"/>
                <a:gd name="connsiteY72" fmla="*/ 635794 h 1152525"/>
                <a:gd name="connsiteX73" fmla="*/ 1133475 w 1226344"/>
                <a:gd name="connsiteY73" fmla="*/ 602457 h 1152525"/>
                <a:gd name="connsiteX74" fmla="*/ 1083469 w 1226344"/>
                <a:gd name="connsiteY74" fmla="*/ 604838 h 1152525"/>
                <a:gd name="connsiteX75" fmla="*/ 1033462 w 1226344"/>
                <a:gd name="connsiteY75" fmla="*/ 604838 h 1152525"/>
                <a:gd name="connsiteX76" fmla="*/ 1014412 w 1226344"/>
                <a:gd name="connsiteY76" fmla="*/ 583407 h 1152525"/>
                <a:gd name="connsiteX77" fmla="*/ 950119 w 1226344"/>
                <a:gd name="connsiteY77" fmla="*/ 578644 h 1152525"/>
                <a:gd name="connsiteX78" fmla="*/ 933450 w 1226344"/>
                <a:gd name="connsiteY78" fmla="*/ 561975 h 1152525"/>
                <a:gd name="connsiteX79" fmla="*/ 933450 w 1226344"/>
                <a:gd name="connsiteY79" fmla="*/ 547688 h 1152525"/>
                <a:gd name="connsiteX80" fmla="*/ 859631 w 1226344"/>
                <a:gd name="connsiteY80" fmla="*/ 511969 h 1152525"/>
                <a:gd name="connsiteX81" fmla="*/ 850106 w 1226344"/>
                <a:gd name="connsiteY81" fmla="*/ 492919 h 1152525"/>
                <a:gd name="connsiteX82" fmla="*/ 828675 w 1226344"/>
                <a:gd name="connsiteY82" fmla="*/ 476250 h 1152525"/>
                <a:gd name="connsiteX83" fmla="*/ 795337 w 1226344"/>
                <a:gd name="connsiteY83" fmla="*/ 478632 h 1152525"/>
                <a:gd name="connsiteX84" fmla="*/ 773906 w 1226344"/>
                <a:gd name="connsiteY84" fmla="*/ 471488 h 1152525"/>
                <a:gd name="connsiteX85" fmla="*/ 728662 w 1226344"/>
                <a:gd name="connsiteY85" fmla="*/ 428625 h 1152525"/>
                <a:gd name="connsiteX86" fmla="*/ 700087 w 1226344"/>
                <a:gd name="connsiteY86" fmla="*/ 421482 h 1152525"/>
                <a:gd name="connsiteX87" fmla="*/ 666750 w 1226344"/>
                <a:gd name="connsiteY87" fmla="*/ 383382 h 1152525"/>
                <a:gd name="connsiteX88" fmla="*/ 626269 w 1226344"/>
                <a:gd name="connsiteY88" fmla="*/ 369094 h 1152525"/>
                <a:gd name="connsiteX89" fmla="*/ 585787 w 1226344"/>
                <a:gd name="connsiteY89" fmla="*/ 335757 h 1152525"/>
                <a:gd name="connsiteX90" fmla="*/ 564356 w 1226344"/>
                <a:gd name="connsiteY90" fmla="*/ 311944 h 1152525"/>
                <a:gd name="connsiteX91" fmla="*/ 550069 w 1226344"/>
                <a:gd name="connsiteY91" fmla="*/ 330994 h 1152525"/>
                <a:gd name="connsiteX92" fmla="*/ 478631 w 1226344"/>
                <a:gd name="connsiteY92" fmla="*/ 328613 h 1152525"/>
                <a:gd name="connsiteX93" fmla="*/ 330994 w 1226344"/>
                <a:gd name="connsiteY93" fmla="*/ 230982 h 1152525"/>
                <a:gd name="connsiteX94" fmla="*/ 259556 w 1226344"/>
                <a:gd name="connsiteY94" fmla="*/ 254794 h 1152525"/>
                <a:gd name="connsiteX95" fmla="*/ 221456 w 1226344"/>
                <a:gd name="connsiteY95" fmla="*/ 245269 h 1152525"/>
                <a:gd name="connsiteX96" fmla="*/ 238125 w 1226344"/>
                <a:gd name="connsiteY96" fmla="*/ 150019 h 1152525"/>
                <a:gd name="connsiteX97" fmla="*/ 228600 w 1226344"/>
                <a:gd name="connsiteY97" fmla="*/ 95250 h 1152525"/>
                <a:gd name="connsiteX98" fmla="*/ 197644 w 1226344"/>
                <a:gd name="connsiteY98" fmla="*/ 78582 h 1152525"/>
                <a:gd name="connsiteX99" fmla="*/ 145256 w 1226344"/>
                <a:gd name="connsiteY99" fmla="*/ 0 h 1152525"/>
                <a:gd name="connsiteX100" fmla="*/ 88106 w 1226344"/>
                <a:gd name="connsiteY100" fmla="*/ 30957 h 1152525"/>
                <a:gd name="connsiteX101" fmla="*/ 83344 w 1226344"/>
                <a:gd name="connsiteY101" fmla="*/ 54769 h 1152525"/>
                <a:gd name="connsiteX102" fmla="*/ 90487 w 1226344"/>
                <a:gd name="connsiteY102" fmla="*/ 100013 h 1152525"/>
                <a:gd name="connsiteX103" fmla="*/ 71437 w 1226344"/>
                <a:gd name="connsiteY103" fmla="*/ 135732 h 1152525"/>
                <a:gd name="connsiteX104" fmla="*/ 66675 w 1226344"/>
                <a:gd name="connsiteY104" fmla="*/ 145257 h 1152525"/>
                <a:gd name="connsiteX105" fmla="*/ 97631 w 1226344"/>
                <a:gd name="connsiteY105" fmla="*/ 185738 h 1152525"/>
                <a:gd name="connsiteX106" fmla="*/ 83344 w 1226344"/>
                <a:gd name="connsiteY106" fmla="*/ 223838 h 1152525"/>
                <a:gd name="connsiteX107" fmla="*/ 59531 w 1226344"/>
                <a:gd name="connsiteY107" fmla="*/ 240507 h 1152525"/>
                <a:gd name="connsiteX108" fmla="*/ 69056 w 1226344"/>
                <a:gd name="connsiteY108" fmla="*/ 309563 h 1152525"/>
                <a:gd name="connsiteX109" fmla="*/ 92869 w 1226344"/>
                <a:gd name="connsiteY109" fmla="*/ 321469 h 1152525"/>
                <a:gd name="connsiteX110" fmla="*/ 85725 w 1226344"/>
                <a:gd name="connsiteY110" fmla="*/ 369094 h 1152525"/>
                <a:gd name="connsiteX111" fmla="*/ 42862 w 1226344"/>
                <a:gd name="connsiteY111" fmla="*/ 421482 h 1152525"/>
                <a:gd name="connsiteX112" fmla="*/ 0 w 1226344"/>
                <a:gd name="connsiteY112" fmla="*/ 452438 h 1152525"/>
                <a:gd name="connsiteX0" fmla="*/ 0 w 1226344"/>
                <a:gd name="connsiteY0" fmla="*/ 452438 h 1152525"/>
                <a:gd name="connsiteX1" fmla="*/ 28575 w 1226344"/>
                <a:gd name="connsiteY1" fmla="*/ 526257 h 1152525"/>
                <a:gd name="connsiteX2" fmla="*/ 73819 w 1226344"/>
                <a:gd name="connsiteY2" fmla="*/ 564357 h 1152525"/>
                <a:gd name="connsiteX3" fmla="*/ 109537 w 1226344"/>
                <a:gd name="connsiteY3" fmla="*/ 657225 h 1152525"/>
                <a:gd name="connsiteX4" fmla="*/ 128587 w 1226344"/>
                <a:gd name="connsiteY4" fmla="*/ 685800 h 1152525"/>
                <a:gd name="connsiteX5" fmla="*/ 142875 w 1226344"/>
                <a:gd name="connsiteY5" fmla="*/ 666750 h 1152525"/>
                <a:gd name="connsiteX6" fmla="*/ 142875 w 1226344"/>
                <a:gd name="connsiteY6" fmla="*/ 633413 h 1152525"/>
                <a:gd name="connsiteX7" fmla="*/ 180975 w 1226344"/>
                <a:gd name="connsiteY7" fmla="*/ 666750 h 1152525"/>
                <a:gd name="connsiteX8" fmla="*/ 240506 w 1226344"/>
                <a:gd name="connsiteY8" fmla="*/ 673894 h 1152525"/>
                <a:gd name="connsiteX9" fmla="*/ 271462 w 1226344"/>
                <a:gd name="connsiteY9" fmla="*/ 702469 h 1152525"/>
                <a:gd name="connsiteX10" fmla="*/ 326231 w 1226344"/>
                <a:gd name="connsiteY10" fmla="*/ 721519 h 1152525"/>
                <a:gd name="connsiteX11" fmla="*/ 338137 w 1226344"/>
                <a:gd name="connsiteY11" fmla="*/ 762000 h 1152525"/>
                <a:gd name="connsiteX12" fmla="*/ 321469 w 1226344"/>
                <a:gd name="connsiteY12" fmla="*/ 781050 h 1152525"/>
                <a:gd name="connsiteX13" fmla="*/ 311944 w 1226344"/>
                <a:gd name="connsiteY13" fmla="*/ 807244 h 1152525"/>
                <a:gd name="connsiteX14" fmla="*/ 266700 w 1226344"/>
                <a:gd name="connsiteY14" fmla="*/ 826294 h 1152525"/>
                <a:gd name="connsiteX15" fmla="*/ 219075 w 1226344"/>
                <a:gd name="connsiteY15" fmla="*/ 900113 h 1152525"/>
                <a:gd name="connsiteX16" fmla="*/ 204787 w 1226344"/>
                <a:gd name="connsiteY16" fmla="*/ 909638 h 1152525"/>
                <a:gd name="connsiteX17" fmla="*/ 192881 w 1226344"/>
                <a:gd name="connsiteY17" fmla="*/ 973932 h 1152525"/>
                <a:gd name="connsiteX18" fmla="*/ 152400 w 1226344"/>
                <a:gd name="connsiteY18" fmla="*/ 1042988 h 1152525"/>
                <a:gd name="connsiteX19" fmla="*/ 157162 w 1226344"/>
                <a:gd name="connsiteY19" fmla="*/ 1071563 h 1152525"/>
                <a:gd name="connsiteX20" fmla="*/ 204787 w 1226344"/>
                <a:gd name="connsiteY20" fmla="*/ 1083469 h 1152525"/>
                <a:gd name="connsiteX21" fmla="*/ 233362 w 1226344"/>
                <a:gd name="connsiteY21" fmla="*/ 1133475 h 1152525"/>
                <a:gd name="connsiteX22" fmla="*/ 247650 w 1226344"/>
                <a:gd name="connsiteY22" fmla="*/ 1133475 h 1152525"/>
                <a:gd name="connsiteX23" fmla="*/ 266700 w 1226344"/>
                <a:gd name="connsiteY23" fmla="*/ 1102519 h 1152525"/>
                <a:gd name="connsiteX24" fmla="*/ 257175 w 1226344"/>
                <a:gd name="connsiteY24" fmla="*/ 1081088 h 1152525"/>
                <a:gd name="connsiteX25" fmla="*/ 230981 w 1226344"/>
                <a:gd name="connsiteY25" fmla="*/ 1076325 h 1152525"/>
                <a:gd name="connsiteX26" fmla="*/ 230981 w 1226344"/>
                <a:gd name="connsiteY26" fmla="*/ 1052513 h 1152525"/>
                <a:gd name="connsiteX27" fmla="*/ 228600 w 1226344"/>
                <a:gd name="connsiteY27" fmla="*/ 1009650 h 1152525"/>
                <a:gd name="connsiteX28" fmla="*/ 216694 w 1226344"/>
                <a:gd name="connsiteY28" fmla="*/ 976313 h 1152525"/>
                <a:gd name="connsiteX29" fmla="*/ 223837 w 1226344"/>
                <a:gd name="connsiteY29" fmla="*/ 940594 h 1152525"/>
                <a:gd name="connsiteX30" fmla="*/ 266700 w 1226344"/>
                <a:gd name="connsiteY30" fmla="*/ 900113 h 1152525"/>
                <a:gd name="connsiteX31" fmla="*/ 278606 w 1226344"/>
                <a:gd name="connsiteY31" fmla="*/ 897732 h 1152525"/>
                <a:gd name="connsiteX32" fmla="*/ 290512 w 1226344"/>
                <a:gd name="connsiteY32" fmla="*/ 938213 h 1152525"/>
                <a:gd name="connsiteX33" fmla="*/ 302419 w 1226344"/>
                <a:gd name="connsiteY33" fmla="*/ 938213 h 1152525"/>
                <a:gd name="connsiteX34" fmla="*/ 321469 w 1226344"/>
                <a:gd name="connsiteY34" fmla="*/ 962025 h 1152525"/>
                <a:gd name="connsiteX35" fmla="*/ 338137 w 1226344"/>
                <a:gd name="connsiteY35" fmla="*/ 957263 h 1152525"/>
                <a:gd name="connsiteX36" fmla="*/ 359569 w 1226344"/>
                <a:gd name="connsiteY36" fmla="*/ 942975 h 1152525"/>
                <a:gd name="connsiteX37" fmla="*/ 483394 w 1226344"/>
                <a:gd name="connsiteY37" fmla="*/ 954882 h 1152525"/>
                <a:gd name="connsiteX38" fmla="*/ 516731 w 1226344"/>
                <a:gd name="connsiteY38" fmla="*/ 947738 h 1152525"/>
                <a:gd name="connsiteX39" fmla="*/ 545306 w 1226344"/>
                <a:gd name="connsiteY39" fmla="*/ 964407 h 1152525"/>
                <a:gd name="connsiteX40" fmla="*/ 561975 w 1226344"/>
                <a:gd name="connsiteY40" fmla="*/ 978694 h 1152525"/>
                <a:gd name="connsiteX41" fmla="*/ 604837 w 1226344"/>
                <a:gd name="connsiteY41" fmla="*/ 981075 h 1152525"/>
                <a:gd name="connsiteX42" fmla="*/ 640556 w 1226344"/>
                <a:gd name="connsiteY42" fmla="*/ 1021557 h 1152525"/>
                <a:gd name="connsiteX43" fmla="*/ 659606 w 1226344"/>
                <a:gd name="connsiteY43" fmla="*/ 1019175 h 1152525"/>
                <a:gd name="connsiteX44" fmla="*/ 702469 w 1226344"/>
                <a:gd name="connsiteY44" fmla="*/ 976313 h 1152525"/>
                <a:gd name="connsiteX45" fmla="*/ 735806 w 1226344"/>
                <a:gd name="connsiteY45" fmla="*/ 1000125 h 1152525"/>
                <a:gd name="connsiteX46" fmla="*/ 752475 w 1226344"/>
                <a:gd name="connsiteY46" fmla="*/ 1023938 h 1152525"/>
                <a:gd name="connsiteX47" fmla="*/ 785812 w 1226344"/>
                <a:gd name="connsiteY47" fmla="*/ 1021557 h 1152525"/>
                <a:gd name="connsiteX48" fmla="*/ 819150 w 1226344"/>
                <a:gd name="connsiteY48" fmla="*/ 1042988 h 1152525"/>
                <a:gd name="connsiteX49" fmla="*/ 823912 w 1226344"/>
                <a:gd name="connsiteY49" fmla="*/ 1064419 h 1152525"/>
                <a:gd name="connsiteX50" fmla="*/ 842962 w 1226344"/>
                <a:gd name="connsiteY50" fmla="*/ 1066800 h 1152525"/>
                <a:gd name="connsiteX51" fmla="*/ 904875 w 1226344"/>
                <a:gd name="connsiteY51" fmla="*/ 1073944 h 1152525"/>
                <a:gd name="connsiteX52" fmla="*/ 933450 w 1226344"/>
                <a:gd name="connsiteY52" fmla="*/ 1112044 h 1152525"/>
                <a:gd name="connsiteX53" fmla="*/ 938212 w 1226344"/>
                <a:gd name="connsiteY53" fmla="*/ 1140619 h 1152525"/>
                <a:gd name="connsiteX54" fmla="*/ 940594 w 1226344"/>
                <a:gd name="connsiteY54" fmla="*/ 1152525 h 1152525"/>
                <a:gd name="connsiteX55" fmla="*/ 990600 w 1226344"/>
                <a:gd name="connsiteY55" fmla="*/ 1150144 h 1152525"/>
                <a:gd name="connsiteX56" fmla="*/ 1042987 w 1226344"/>
                <a:gd name="connsiteY56" fmla="*/ 1150144 h 1152525"/>
                <a:gd name="connsiteX57" fmla="*/ 1071562 w 1226344"/>
                <a:gd name="connsiteY57" fmla="*/ 1069182 h 1152525"/>
                <a:gd name="connsiteX58" fmla="*/ 1062037 w 1226344"/>
                <a:gd name="connsiteY58" fmla="*/ 1045369 h 1152525"/>
                <a:gd name="connsiteX59" fmla="*/ 1059656 w 1226344"/>
                <a:gd name="connsiteY59" fmla="*/ 1012032 h 1152525"/>
                <a:gd name="connsiteX60" fmla="*/ 1066800 w 1226344"/>
                <a:gd name="connsiteY60" fmla="*/ 992982 h 1152525"/>
                <a:gd name="connsiteX61" fmla="*/ 1083469 w 1226344"/>
                <a:gd name="connsiteY61" fmla="*/ 973932 h 1152525"/>
                <a:gd name="connsiteX62" fmla="*/ 1107281 w 1226344"/>
                <a:gd name="connsiteY62" fmla="*/ 964407 h 1152525"/>
                <a:gd name="connsiteX63" fmla="*/ 1133475 w 1226344"/>
                <a:gd name="connsiteY63" fmla="*/ 921544 h 1152525"/>
                <a:gd name="connsiteX64" fmla="*/ 1150144 w 1226344"/>
                <a:gd name="connsiteY64" fmla="*/ 921544 h 1152525"/>
                <a:gd name="connsiteX65" fmla="*/ 1197769 w 1226344"/>
                <a:gd name="connsiteY65" fmla="*/ 940594 h 1152525"/>
                <a:gd name="connsiteX66" fmla="*/ 1226344 w 1226344"/>
                <a:gd name="connsiteY66" fmla="*/ 904875 h 1152525"/>
                <a:gd name="connsiteX67" fmla="*/ 1195387 w 1226344"/>
                <a:gd name="connsiteY67" fmla="*/ 852488 h 1152525"/>
                <a:gd name="connsiteX68" fmla="*/ 1159669 w 1226344"/>
                <a:gd name="connsiteY68" fmla="*/ 804863 h 1152525"/>
                <a:gd name="connsiteX69" fmla="*/ 1162050 w 1226344"/>
                <a:gd name="connsiteY69" fmla="*/ 762000 h 1152525"/>
                <a:gd name="connsiteX70" fmla="*/ 1216819 w 1226344"/>
                <a:gd name="connsiteY70" fmla="*/ 702469 h 1152525"/>
                <a:gd name="connsiteX71" fmla="*/ 1219200 w 1226344"/>
                <a:gd name="connsiteY71" fmla="*/ 676275 h 1152525"/>
                <a:gd name="connsiteX72" fmla="*/ 1181100 w 1226344"/>
                <a:gd name="connsiteY72" fmla="*/ 661988 h 1152525"/>
                <a:gd name="connsiteX73" fmla="*/ 1150144 w 1226344"/>
                <a:gd name="connsiteY73" fmla="*/ 635794 h 1152525"/>
                <a:gd name="connsiteX74" fmla="*/ 1133475 w 1226344"/>
                <a:gd name="connsiteY74" fmla="*/ 602457 h 1152525"/>
                <a:gd name="connsiteX75" fmla="*/ 1083469 w 1226344"/>
                <a:gd name="connsiteY75" fmla="*/ 604838 h 1152525"/>
                <a:gd name="connsiteX76" fmla="*/ 1033462 w 1226344"/>
                <a:gd name="connsiteY76" fmla="*/ 604838 h 1152525"/>
                <a:gd name="connsiteX77" fmla="*/ 1014412 w 1226344"/>
                <a:gd name="connsiteY77" fmla="*/ 583407 h 1152525"/>
                <a:gd name="connsiteX78" fmla="*/ 950119 w 1226344"/>
                <a:gd name="connsiteY78" fmla="*/ 578644 h 1152525"/>
                <a:gd name="connsiteX79" fmla="*/ 933450 w 1226344"/>
                <a:gd name="connsiteY79" fmla="*/ 561975 h 1152525"/>
                <a:gd name="connsiteX80" fmla="*/ 933450 w 1226344"/>
                <a:gd name="connsiteY80" fmla="*/ 547688 h 1152525"/>
                <a:gd name="connsiteX81" fmla="*/ 859631 w 1226344"/>
                <a:gd name="connsiteY81" fmla="*/ 511969 h 1152525"/>
                <a:gd name="connsiteX82" fmla="*/ 850106 w 1226344"/>
                <a:gd name="connsiteY82" fmla="*/ 492919 h 1152525"/>
                <a:gd name="connsiteX83" fmla="*/ 828675 w 1226344"/>
                <a:gd name="connsiteY83" fmla="*/ 476250 h 1152525"/>
                <a:gd name="connsiteX84" fmla="*/ 795337 w 1226344"/>
                <a:gd name="connsiteY84" fmla="*/ 478632 h 1152525"/>
                <a:gd name="connsiteX85" fmla="*/ 773906 w 1226344"/>
                <a:gd name="connsiteY85" fmla="*/ 471488 h 1152525"/>
                <a:gd name="connsiteX86" fmla="*/ 728662 w 1226344"/>
                <a:gd name="connsiteY86" fmla="*/ 428625 h 1152525"/>
                <a:gd name="connsiteX87" fmla="*/ 700087 w 1226344"/>
                <a:gd name="connsiteY87" fmla="*/ 421482 h 1152525"/>
                <a:gd name="connsiteX88" fmla="*/ 666750 w 1226344"/>
                <a:gd name="connsiteY88" fmla="*/ 383382 h 1152525"/>
                <a:gd name="connsiteX89" fmla="*/ 626269 w 1226344"/>
                <a:gd name="connsiteY89" fmla="*/ 369094 h 1152525"/>
                <a:gd name="connsiteX90" fmla="*/ 585787 w 1226344"/>
                <a:gd name="connsiteY90" fmla="*/ 335757 h 1152525"/>
                <a:gd name="connsiteX91" fmla="*/ 564356 w 1226344"/>
                <a:gd name="connsiteY91" fmla="*/ 311944 h 1152525"/>
                <a:gd name="connsiteX92" fmla="*/ 550069 w 1226344"/>
                <a:gd name="connsiteY92" fmla="*/ 330994 h 1152525"/>
                <a:gd name="connsiteX93" fmla="*/ 478631 w 1226344"/>
                <a:gd name="connsiteY93" fmla="*/ 328613 h 1152525"/>
                <a:gd name="connsiteX94" fmla="*/ 330994 w 1226344"/>
                <a:gd name="connsiteY94" fmla="*/ 230982 h 1152525"/>
                <a:gd name="connsiteX95" fmla="*/ 259556 w 1226344"/>
                <a:gd name="connsiteY95" fmla="*/ 254794 h 1152525"/>
                <a:gd name="connsiteX96" fmla="*/ 221456 w 1226344"/>
                <a:gd name="connsiteY96" fmla="*/ 245269 h 1152525"/>
                <a:gd name="connsiteX97" fmla="*/ 238125 w 1226344"/>
                <a:gd name="connsiteY97" fmla="*/ 150019 h 1152525"/>
                <a:gd name="connsiteX98" fmla="*/ 228600 w 1226344"/>
                <a:gd name="connsiteY98" fmla="*/ 95250 h 1152525"/>
                <a:gd name="connsiteX99" fmla="*/ 197644 w 1226344"/>
                <a:gd name="connsiteY99" fmla="*/ 78582 h 1152525"/>
                <a:gd name="connsiteX100" fmla="*/ 145256 w 1226344"/>
                <a:gd name="connsiteY100" fmla="*/ 0 h 1152525"/>
                <a:gd name="connsiteX101" fmla="*/ 88106 w 1226344"/>
                <a:gd name="connsiteY101" fmla="*/ 30957 h 1152525"/>
                <a:gd name="connsiteX102" fmla="*/ 83344 w 1226344"/>
                <a:gd name="connsiteY102" fmla="*/ 54769 h 1152525"/>
                <a:gd name="connsiteX103" fmla="*/ 90487 w 1226344"/>
                <a:gd name="connsiteY103" fmla="*/ 100013 h 1152525"/>
                <a:gd name="connsiteX104" fmla="*/ 71437 w 1226344"/>
                <a:gd name="connsiteY104" fmla="*/ 135732 h 1152525"/>
                <a:gd name="connsiteX105" fmla="*/ 66675 w 1226344"/>
                <a:gd name="connsiteY105" fmla="*/ 145257 h 1152525"/>
                <a:gd name="connsiteX106" fmla="*/ 97631 w 1226344"/>
                <a:gd name="connsiteY106" fmla="*/ 185738 h 1152525"/>
                <a:gd name="connsiteX107" fmla="*/ 83344 w 1226344"/>
                <a:gd name="connsiteY107" fmla="*/ 223838 h 1152525"/>
                <a:gd name="connsiteX108" fmla="*/ 59531 w 1226344"/>
                <a:gd name="connsiteY108" fmla="*/ 240507 h 1152525"/>
                <a:gd name="connsiteX109" fmla="*/ 69056 w 1226344"/>
                <a:gd name="connsiteY109" fmla="*/ 309563 h 1152525"/>
                <a:gd name="connsiteX110" fmla="*/ 92869 w 1226344"/>
                <a:gd name="connsiteY110" fmla="*/ 321469 h 1152525"/>
                <a:gd name="connsiteX111" fmla="*/ 85725 w 1226344"/>
                <a:gd name="connsiteY111" fmla="*/ 369094 h 1152525"/>
                <a:gd name="connsiteX112" fmla="*/ 42862 w 1226344"/>
                <a:gd name="connsiteY112" fmla="*/ 421482 h 1152525"/>
                <a:gd name="connsiteX113" fmla="*/ 0 w 1226344"/>
                <a:gd name="connsiteY113" fmla="*/ 452438 h 1152525"/>
                <a:gd name="connsiteX0" fmla="*/ 0 w 1226344"/>
                <a:gd name="connsiteY0" fmla="*/ 452438 h 1200150"/>
                <a:gd name="connsiteX1" fmla="*/ 28575 w 1226344"/>
                <a:gd name="connsiteY1" fmla="*/ 526257 h 1200150"/>
                <a:gd name="connsiteX2" fmla="*/ 73819 w 1226344"/>
                <a:gd name="connsiteY2" fmla="*/ 564357 h 1200150"/>
                <a:gd name="connsiteX3" fmla="*/ 109537 w 1226344"/>
                <a:gd name="connsiteY3" fmla="*/ 657225 h 1200150"/>
                <a:gd name="connsiteX4" fmla="*/ 128587 w 1226344"/>
                <a:gd name="connsiteY4" fmla="*/ 685800 h 1200150"/>
                <a:gd name="connsiteX5" fmla="*/ 142875 w 1226344"/>
                <a:gd name="connsiteY5" fmla="*/ 666750 h 1200150"/>
                <a:gd name="connsiteX6" fmla="*/ 142875 w 1226344"/>
                <a:gd name="connsiteY6" fmla="*/ 633413 h 1200150"/>
                <a:gd name="connsiteX7" fmla="*/ 180975 w 1226344"/>
                <a:gd name="connsiteY7" fmla="*/ 666750 h 1200150"/>
                <a:gd name="connsiteX8" fmla="*/ 240506 w 1226344"/>
                <a:gd name="connsiteY8" fmla="*/ 673894 h 1200150"/>
                <a:gd name="connsiteX9" fmla="*/ 271462 w 1226344"/>
                <a:gd name="connsiteY9" fmla="*/ 702469 h 1200150"/>
                <a:gd name="connsiteX10" fmla="*/ 326231 w 1226344"/>
                <a:gd name="connsiteY10" fmla="*/ 721519 h 1200150"/>
                <a:gd name="connsiteX11" fmla="*/ 338137 w 1226344"/>
                <a:gd name="connsiteY11" fmla="*/ 762000 h 1200150"/>
                <a:gd name="connsiteX12" fmla="*/ 321469 w 1226344"/>
                <a:gd name="connsiteY12" fmla="*/ 781050 h 1200150"/>
                <a:gd name="connsiteX13" fmla="*/ 311944 w 1226344"/>
                <a:gd name="connsiteY13" fmla="*/ 807244 h 1200150"/>
                <a:gd name="connsiteX14" fmla="*/ 266700 w 1226344"/>
                <a:gd name="connsiteY14" fmla="*/ 826294 h 1200150"/>
                <a:gd name="connsiteX15" fmla="*/ 219075 w 1226344"/>
                <a:gd name="connsiteY15" fmla="*/ 900113 h 1200150"/>
                <a:gd name="connsiteX16" fmla="*/ 204787 w 1226344"/>
                <a:gd name="connsiteY16" fmla="*/ 909638 h 1200150"/>
                <a:gd name="connsiteX17" fmla="*/ 192881 w 1226344"/>
                <a:gd name="connsiteY17" fmla="*/ 973932 h 1200150"/>
                <a:gd name="connsiteX18" fmla="*/ 152400 w 1226344"/>
                <a:gd name="connsiteY18" fmla="*/ 1042988 h 1200150"/>
                <a:gd name="connsiteX19" fmla="*/ 157162 w 1226344"/>
                <a:gd name="connsiteY19" fmla="*/ 1071563 h 1200150"/>
                <a:gd name="connsiteX20" fmla="*/ 204787 w 1226344"/>
                <a:gd name="connsiteY20" fmla="*/ 1083469 h 1200150"/>
                <a:gd name="connsiteX21" fmla="*/ 233362 w 1226344"/>
                <a:gd name="connsiteY21" fmla="*/ 1133475 h 1200150"/>
                <a:gd name="connsiteX22" fmla="*/ 247650 w 1226344"/>
                <a:gd name="connsiteY22" fmla="*/ 1133475 h 1200150"/>
                <a:gd name="connsiteX23" fmla="*/ 266700 w 1226344"/>
                <a:gd name="connsiteY23" fmla="*/ 1102519 h 1200150"/>
                <a:gd name="connsiteX24" fmla="*/ 257175 w 1226344"/>
                <a:gd name="connsiteY24" fmla="*/ 1081088 h 1200150"/>
                <a:gd name="connsiteX25" fmla="*/ 230981 w 1226344"/>
                <a:gd name="connsiteY25" fmla="*/ 1076325 h 1200150"/>
                <a:gd name="connsiteX26" fmla="*/ 230981 w 1226344"/>
                <a:gd name="connsiteY26" fmla="*/ 1052513 h 1200150"/>
                <a:gd name="connsiteX27" fmla="*/ 228600 w 1226344"/>
                <a:gd name="connsiteY27" fmla="*/ 1009650 h 1200150"/>
                <a:gd name="connsiteX28" fmla="*/ 216694 w 1226344"/>
                <a:gd name="connsiteY28" fmla="*/ 976313 h 1200150"/>
                <a:gd name="connsiteX29" fmla="*/ 223837 w 1226344"/>
                <a:gd name="connsiteY29" fmla="*/ 940594 h 1200150"/>
                <a:gd name="connsiteX30" fmla="*/ 266700 w 1226344"/>
                <a:gd name="connsiteY30" fmla="*/ 900113 h 1200150"/>
                <a:gd name="connsiteX31" fmla="*/ 278606 w 1226344"/>
                <a:gd name="connsiteY31" fmla="*/ 897732 h 1200150"/>
                <a:gd name="connsiteX32" fmla="*/ 290512 w 1226344"/>
                <a:gd name="connsiteY32" fmla="*/ 938213 h 1200150"/>
                <a:gd name="connsiteX33" fmla="*/ 302419 w 1226344"/>
                <a:gd name="connsiteY33" fmla="*/ 938213 h 1200150"/>
                <a:gd name="connsiteX34" fmla="*/ 321469 w 1226344"/>
                <a:gd name="connsiteY34" fmla="*/ 962025 h 1200150"/>
                <a:gd name="connsiteX35" fmla="*/ 338137 w 1226344"/>
                <a:gd name="connsiteY35" fmla="*/ 957263 h 1200150"/>
                <a:gd name="connsiteX36" fmla="*/ 359569 w 1226344"/>
                <a:gd name="connsiteY36" fmla="*/ 942975 h 1200150"/>
                <a:gd name="connsiteX37" fmla="*/ 483394 w 1226344"/>
                <a:gd name="connsiteY37" fmla="*/ 954882 h 1200150"/>
                <a:gd name="connsiteX38" fmla="*/ 516731 w 1226344"/>
                <a:gd name="connsiteY38" fmla="*/ 947738 h 1200150"/>
                <a:gd name="connsiteX39" fmla="*/ 545306 w 1226344"/>
                <a:gd name="connsiteY39" fmla="*/ 964407 h 1200150"/>
                <a:gd name="connsiteX40" fmla="*/ 561975 w 1226344"/>
                <a:gd name="connsiteY40" fmla="*/ 978694 h 1200150"/>
                <a:gd name="connsiteX41" fmla="*/ 604837 w 1226344"/>
                <a:gd name="connsiteY41" fmla="*/ 981075 h 1200150"/>
                <a:gd name="connsiteX42" fmla="*/ 640556 w 1226344"/>
                <a:gd name="connsiteY42" fmla="*/ 1021557 h 1200150"/>
                <a:gd name="connsiteX43" fmla="*/ 659606 w 1226344"/>
                <a:gd name="connsiteY43" fmla="*/ 1019175 h 1200150"/>
                <a:gd name="connsiteX44" fmla="*/ 702469 w 1226344"/>
                <a:gd name="connsiteY44" fmla="*/ 976313 h 1200150"/>
                <a:gd name="connsiteX45" fmla="*/ 735806 w 1226344"/>
                <a:gd name="connsiteY45" fmla="*/ 1000125 h 1200150"/>
                <a:gd name="connsiteX46" fmla="*/ 752475 w 1226344"/>
                <a:gd name="connsiteY46" fmla="*/ 1023938 h 1200150"/>
                <a:gd name="connsiteX47" fmla="*/ 785812 w 1226344"/>
                <a:gd name="connsiteY47" fmla="*/ 1021557 h 1200150"/>
                <a:gd name="connsiteX48" fmla="*/ 819150 w 1226344"/>
                <a:gd name="connsiteY48" fmla="*/ 1042988 h 1200150"/>
                <a:gd name="connsiteX49" fmla="*/ 823912 w 1226344"/>
                <a:gd name="connsiteY49" fmla="*/ 1064419 h 1200150"/>
                <a:gd name="connsiteX50" fmla="*/ 842962 w 1226344"/>
                <a:gd name="connsiteY50" fmla="*/ 1066800 h 1200150"/>
                <a:gd name="connsiteX51" fmla="*/ 904875 w 1226344"/>
                <a:gd name="connsiteY51" fmla="*/ 1073944 h 1200150"/>
                <a:gd name="connsiteX52" fmla="*/ 933450 w 1226344"/>
                <a:gd name="connsiteY52" fmla="*/ 1112044 h 1200150"/>
                <a:gd name="connsiteX53" fmla="*/ 938212 w 1226344"/>
                <a:gd name="connsiteY53" fmla="*/ 1140619 h 1200150"/>
                <a:gd name="connsiteX54" fmla="*/ 940594 w 1226344"/>
                <a:gd name="connsiteY54" fmla="*/ 1152525 h 1200150"/>
                <a:gd name="connsiteX55" fmla="*/ 954882 w 1226344"/>
                <a:gd name="connsiteY55" fmla="*/ 1200150 h 1200150"/>
                <a:gd name="connsiteX56" fmla="*/ 1042987 w 1226344"/>
                <a:gd name="connsiteY56" fmla="*/ 1150144 h 1200150"/>
                <a:gd name="connsiteX57" fmla="*/ 1071562 w 1226344"/>
                <a:gd name="connsiteY57" fmla="*/ 1069182 h 1200150"/>
                <a:gd name="connsiteX58" fmla="*/ 1062037 w 1226344"/>
                <a:gd name="connsiteY58" fmla="*/ 1045369 h 1200150"/>
                <a:gd name="connsiteX59" fmla="*/ 1059656 w 1226344"/>
                <a:gd name="connsiteY59" fmla="*/ 1012032 h 1200150"/>
                <a:gd name="connsiteX60" fmla="*/ 1066800 w 1226344"/>
                <a:gd name="connsiteY60" fmla="*/ 992982 h 1200150"/>
                <a:gd name="connsiteX61" fmla="*/ 1083469 w 1226344"/>
                <a:gd name="connsiteY61" fmla="*/ 973932 h 1200150"/>
                <a:gd name="connsiteX62" fmla="*/ 1107281 w 1226344"/>
                <a:gd name="connsiteY62" fmla="*/ 964407 h 1200150"/>
                <a:gd name="connsiteX63" fmla="*/ 1133475 w 1226344"/>
                <a:gd name="connsiteY63" fmla="*/ 921544 h 1200150"/>
                <a:gd name="connsiteX64" fmla="*/ 1150144 w 1226344"/>
                <a:gd name="connsiteY64" fmla="*/ 921544 h 1200150"/>
                <a:gd name="connsiteX65" fmla="*/ 1197769 w 1226344"/>
                <a:gd name="connsiteY65" fmla="*/ 940594 h 1200150"/>
                <a:gd name="connsiteX66" fmla="*/ 1226344 w 1226344"/>
                <a:gd name="connsiteY66" fmla="*/ 904875 h 1200150"/>
                <a:gd name="connsiteX67" fmla="*/ 1195387 w 1226344"/>
                <a:gd name="connsiteY67" fmla="*/ 852488 h 1200150"/>
                <a:gd name="connsiteX68" fmla="*/ 1159669 w 1226344"/>
                <a:gd name="connsiteY68" fmla="*/ 804863 h 1200150"/>
                <a:gd name="connsiteX69" fmla="*/ 1162050 w 1226344"/>
                <a:gd name="connsiteY69" fmla="*/ 762000 h 1200150"/>
                <a:gd name="connsiteX70" fmla="*/ 1216819 w 1226344"/>
                <a:gd name="connsiteY70" fmla="*/ 702469 h 1200150"/>
                <a:gd name="connsiteX71" fmla="*/ 1219200 w 1226344"/>
                <a:gd name="connsiteY71" fmla="*/ 676275 h 1200150"/>
                <a:gd name="connsiteX72" fmla="*/ 1181100 w 1226344"/>
                <a:gd name="connsiteY72" fmla="*/ 661988 h 1200150"/>
                <a:gd name="connsiteX73" fmla="*/ 1150144 w 1226344"/>
                <a:gd name="connsiteY73" fmla="*/ 635794 h 1200150"/>
                <a:gd name="connsiteX74" fmla="*/ 1133475 w 1226344"/>
                <a:gd name="connsiteY74" fmla="*/ 602457 h 1200150"/>
                <a:gd name="connsiteX75" fmla="*/ 1083469 w 1226344"/>
                <a:gd name="connsiteY75" fmla="*/ 604838 h 1200150"/>
                <a:gd name="connsiteX76" fmla="*/ 1033462 w 1226344"/>
                <a:gd name="connsiteY76" fmla="*/ 604838 h 1200150"/>
                <a:gd name="connsiteX77" fmla="*/ 1014412 w 1226344"/>
                <a:gd name="connsiteY77" fmla="*/ 583407 h 1200150"/>
                <a:gd name="connsiteX78" fmla="*/ 950119 w 1226344"/>
                <a:gd name="connsiteY78" fmla="*/ 578644 h 1200150"/>
                <a:gd name="connsiteX79" fmla="*/ 933450 w 1226344"/>
                <a:gd name="connsiteY79" fmla="*/ 561975 h 1200150"/>
                <a:gd name="connsiteX80" fmla="*/ 933450 w 1226344"/>
                <a:gd name="connsiteY80" fmla="*/ 547688 h 1200150"/>
                <a:gd name="connsiteX81" fmla="*/ 859631 w 1226344"/>
                <a:gd name="connsiteY81" fmla="*/ 511969 h 1200150"/>
                <a:gd name="connsiteX82" fmla="*/ 850106 w 1226344"/>
                <a:gd name="connsiteY82" fmla="*/ 492919 h 1200150"/>
                <a:gd name="connsiteX83" fmla="*/ 828675 w 1226344"/>
                <a:gd name="connsiteY83" fmla="*/ 476250 h 1200150"/>
                <a:gd name="connsiteX84" fmla="*/ 795337 w 1226344"/>
                <a:gd name="connsiteY84" fmla="*/ 478632 h 1200150"/>
                <a:gd name="connsiteX85" fmla="*/ 773906 w 1226344"/>
                <a:gd name="connsiteY85" fmla="*/ 471488 h 1200150"/>
                <a:gd name="connsiteX86" fmla="*/ 728662 w 1226344"/>
                <a:gd name="connsiteY86" fmla="*/ 428625 h 1200150"/>
                <a:gd name="connsiteX87" fmla="*/ 700087 w 1226344"/>
                <a:gd name="connsiteY87" fmla="*/ 421482 h 1200150"/>
                <a:gd name="connsiteX88" fmla="*/ 666750 w 1226344"/>
                <a:gd name="connsiteY88" fmla="*/ 383382 h 1200150"/>
                <a:gd name="connsiteX89" fmla="*/ 626269 w 1226344"/>
                <a:gd name="connsiteY89" fmla="*/ 369094 h 1200150"/>
                <a:gd name="connsiteX90" fmla="*/ 585787 w 1226344"/>
                <a:gd name="connsiteY90" fmla="*/ 335757 h 1200150"/>
                <a:gd name="connsiteX91" fmla="*/ 564356 w 1226344"/>
                <a:gd name="connsiteY91" fmla="*/ 311944 h 1200150"/>
                <a:gd name="connsiteX92" fmla="*/ 550069 w 1226344"/>
                <a:gd name="connsiteY92" fmla="*/ 330994 h 1200150"/>
                <a:gd name="connsiteX93" fmla="*/ 478631 w 1226344"/>
                <a:gd name="connsiteY93" fmla="*/ 328613 h 1200150"/>
                <a:gd name="connsiteX94" fmla="*/ 330994 w 1226344"/>
                <a:gd name="connsiteY94" fmla="*/ 230982 h 1200150"/>
                <a:gd name="connsiteX95" fmla="*/ 259556 w 1226344"/>
                <a:gd name="connsiteY95" fmla="*/ 254794 h 1200150"/>
                <a:gd name="connsiteX96" fmla="*/ 221456 w 1226344"/>
                <a:gd name="connsiteY96" fmla="*/ 245269 h 1200150"/>
                <a:gd name="connsiteX97" fmla="*/ 238125 w 1226344"/>
                <a:gd name="connsiteY97" fmla="*/ 150019 h 1200150"/>
                <a:gd name="connsiteX98" fmla="*/ 228600 w 1226344"/>
                <a:gd name="connsiteY98" fmla="*/ 95250 h 1200150"/>
                <a:gd name="connsiteX99" fmla="*/ 197644 w 1226344"/>
                <a:gd name="connsiteY99" fmla="*/ 78582 h 1200150"/>
                <a:gd name="connsiteX100" fmla="*/ 145256 w 1226344"/>
                <a:gd name="connsiteY100" fmla="*/ 0 h 1200150"/>
                <a:gd name="connsiteX101" fmla="*/ 88106 w 1226344"/>
                <a:gd name="connsiteY101" fmla="*/ 30957 h 1200150"/>
                <a:gd name="connsiteX102" fmla="*/ 83344 w 1226344"/>
                <a:gd name="connsiteY102" fmla="*/ 54769 h 1200150"/>
                <a:gd name="connsiteX103" fmla="*/ 90487 w 1226344"/>
                <a:gd name="connsiteY103" fmla="*/ 100013 h 1200150"/>
                <a:gd name="connsiteX104" fmla="*/ 71437 w 1226344"/>
                <a:gd name="connsiteY104" fmla="*/ 135732 h 1200150"/>
                <a:gd name="connsiteX105" fmla="*/ 66675 w 1226344"/>
                <a:gd name="connsiteY105" fmla="*/ 145257 h 1200150"/>
                <a:gd name="connsiteX106" fmla="*/ 97631 w 1226344"/>
                <a:gd name="connsiteY106" fmla="*/ 185738 h 1200150"/>
                <a:gd name="connsiteX107" fmla="*/ 83344 w 1226344"/>
                <a:gd name="connsiteY107" fmla="*/ 223838 h 1200150"/>
                <a:gd name="connsiteX108" fmla="*/ 59531 w 1226344"/>
                <a:gd name="connsiteY108" fmla="*/ 240507 h 1200150"/>
                <a:gd name="connsiteX109" fmla="*/ 69056 w 1226344"/>
                <a:gd name="connsiteY109" fmla="*/ 309563 h 1200150"/>
                <a:gd name="connsiteX110" fmla="*/ 92869 w 1226344"/>
                <a:gd name="connsiteY110" fmla="*/ 321469 h 1200150"/>
                <a:gd name="connsiteX111" fmla="*/ 85725 w 1226344"/>
                <a:gd name="connsiteY111" fmla="*/ 369094 h 1200150"/>
                <a:gd name="connsiteX112" fmla="*/ 42862 w 1226344"/>
                <a:gd name="connsiteY112" fmla="*/ 421482 h 1200150"/>
                <a:gd name="connsiteX113" fmla="*/ 0 w 1226344"/>
                <a:gd name="connsiteY113" fmla="*/ 452438 h 1200150"/>
                <a:gd name="connsiteX0" fmla="*/ 0 w 1226344"/>
                <a:gd name="connsiteY0" fmla="*/ 452438 h 1200150"/>
                <a:gd name="connsiteX1" fmla="*/ 28575 w 1226344"/>
                <a:gd name="connsiteY1" fmla="*/ 526257 h 1200150"/>
                <a:gd name="connsiteX2" fmla="*/ 73819 w 1226344"/>
                <a:gd name="connsiteY2" fmla="*/ 564357 h 1200150"/>
                <a:gd name="connsiteX3" fmla="*/ 109537 w 1226344"/>
                <a:gd name="connsiteY3" fmla="*/ 657225 h 1200150"/>
                <a:gd name="connsiteX4" fmla="*/ 128587 w 1226344"/>
                <a:gd name="connsiteY4" fmla="*/ 685800 h 1200150"/>
                <a:gd name="connsiteX5" fmla="*/ 142875 w 1226344"/>
                <a:gd name="connsiteY5" fmla="*/ 666750 h 1200150"/>
                <a:gd name="connsiteX6" fmla="*/ 142875 w 1226344"/>
                <a:gd name="connsiteY6" fmla="*/ 633413 h 1200150"/>
                <a:gd name="connsiteX7" fmla="*/ 180975 w 1226344"/>
                <a:gd name="connsiteY7" fmla="*/ 666750 h 1200150"/>
                <a:gd name="connsiteX8" fmla="*/ 240506 w 1226344"/>
                <a:gd name="connsiteY8" fmla="*/ 673894 h 1200150"/>
                <a:gd name="connsiteX9" fmla="*/ 271462 w 1226344"/>
                <a:gd name="connsiteY9" fmla="*/ 702469 h 1200150"/>
                <a:gd name="connsiteX10" fmla="*/ 326231 w 1226344"/>
                <a:gd name="connsiteY10" fmla="*/ 721519 h 1200150"/>
                <a:gd name="connsiteX11" fmla="*/ 338137 w 1226344"/>
                <a:gd name="connsiteY11" fmla="*/ 762000 h 1200150"/>
                <a:gd name="connsiteX12" fmla="*/ 321469 w 1226344"/>
                <a:gd name="connsiteY12" fmla="*/ 781050 h 1200150"/>
                <a:gd name="connsiteX13" fmla="*/ 311944 w 1226344"/>
                <a:gd name="connsiteY13" fmla="*/ 807244 h 1200150"/>
                <a:gd name="connsiteX14" fmla="*/ 266700 w 1226344"/>
                <a:gd name="connsiteY14" fmla="*/ 826294 h 1200150"/>
                <a:gd name="connsiteX15" fmla="*/ 219075 w 1226344"/>
                <a:gd name="connsiteY15" fmla="*/ 900113 h 1200150"/>
                <a:gd name="connsiteX16" fmla="*/ 204787 w 1226344"/>
                <a:gd name="connsiteY16" fmla="*/ 909638 h 1200150"/>
                <a:gd name="connsiteX17" fmla="*/ 192881 w 1226344"/>
                <a:gd name="connsiteY17" fmla="*/ 973932 h 1200150"/>
                <a:gd name="connsiteX18" fmla="*/ 152400 w 1226344"/>
                <a:gd name="connsiteY18" fmla="*/ 1042988 h 1200150"/>
                <a:gd name="connsiteX19" fmla="*/ 157162 w 1226344"/>
                <a:gd name="connsiteY19" fmla="*/ 1071563 h 1200150"/>
                <a:gd name="connsiteX20" fmla="*/ 204787 w 1226344"/>
                <a:gd name="connsiteY20" fmla="*/ 1083469 h 1200150"/>
                <a:gd name="connsiteX21" fmla="*/ 233362 w 1226344"/>
                <a:gd name="connsiteY21" fmla="*/ 1133475 h 1200150"/>
                <a:gd name="connsiteX22" fmla="*/ 247650 w 1226344"/>
                <a:gd name="connsiteY22" fmla="*/ 1133475 h 1200150"/>
                <a:gd name="connsiteX23" fmla="*/ 266700 w 1226344"/>
                <a:gd name="connsiteY23" fmla="*/ 1102519 h 1200150"/>
                <a:gd name="connsiteX24" fmla="*/ 257175 w 1226344"/>
                <a:gd name="connsiteY24" fmla="*/ 1081088 h 1200150"/>
                <a:gd name="connsiteX25" fmla="*/ 230981 w 1226344"/>
                <a:gd name="connsiteY25" fmla="*/ 1076325 h 1200150"/>
                <a:gd name="connsiteX26" fmla="*/ 230981 w 1226344"/>
                <a:gd name="connsiteY26" fmla="*/ 1052513 h 1200150"/>
                <a:gd name="connsiteX27" fmla="*/ 228600 w 1226344"/>
                <a:gd name="connsiteY27" fmla="*/ 1009650 h 1200150"/>
                <a:gd name="connsiteX28" fmla="*/ 216694 w 1226344"/>
                <a:gd name="connsiteY28" fmla="*/ 976313 h 1200150"/>
                <a:gd name="connsiteX29" fmla="*/ 223837 w 1226344"/>
                <a:gd name="connsiteY29" fmla="*/ 940594 h 1200150"/>
                <a:gd name="connsiteX30" fmla="*/ 266700 w 1226344"/>
                <a:gd name="connsiteY30" fmla="*/ 900113 h 1200150"/>
                <a:gd name="connsiteX31" fmla="*/ 278606 w 1226344"/>
                <a:gd name="connsiteY31" fmla="*/ 897732 h 1200150"/>
                <a:gd name="connsiteX32" fmla="*/ 290512 w 1226344"/>
                <a:gd name="connsiteY32" fmla="*/ 938213 h 1200150"/>
                <a:gd name="connsiteX33" fmla="*/ 302419 w 1226344"/>
                <a:gd name="connsiteY33" fmla="*/ 938213 h 1200150"/>
                <a:gd name="connsiteX34" fmla="*/ 321469 w 1226344"/>
                <a:gd name="connsiteY34" fmla="*/ 962025 h 1200150"/>
                <a:gd name="connsiteX35" fmla="*/ 338137 w 1226344"/>
                <a:gd name="connsiteY35" fmla="*/ 957263 h 1200150"/>
                <a:gd name="connsiteX36" fmla="*/ 359569 w 1226344"/>
                <a:gd name="connsiteY36" fmla="*/ 942975 h 1200150"/>
                <a:gd name="connsiteX37" fmla="*/ 483394 w 1226344"/>
                <a:gd name="connsiteY37" fmla="*/ 954882 h 1200150"/>
                <a:gd name="connsiteX38" fmla="*/ 516731 w 1226344"/>
                <a:gd name="connsiteY38" fmla="*/ 947738 h 1200150"/>
                <a:gd name="connsiteX39" fmla="*/ 545306 w 1226344"/>
                <a:gd name="connsiteY39" fmla="*/ 964407 h 1200150"/>
                <a:gd name="connsiteX40" fmla="*/ 561975 w 1226344"/>
                <a:gd name="connsiteY40" fmla="*/ 978694 h 1200150"/>
                <a:gd name="connsiteX41" fmla="*/ 604837 w 1226344"/>
                <a:gd name="connsiteY41" fmla="*/ 981075 h 1200150"/>
                <a:gd name="connsiteX42" fmla="*/ 640556 w 1226344"/>
                <a:gd name="connsiteY42" fmla="*/ 1021557 h 1200150"/>
                <a:gd name="connsiteX43" fmla="*/ 659606 w 1226344"/>
                <a:gd name="connsiteY43" fmla="*/ 1019175 h 1200150"/>
                <a:gd name="connsiteX44" fmla="*/ 702469 w 1226344"/>
                <a:gd name="connsiteY44" fmla="*/ 976313 h 1200150"/>
                <a:gd name="connsiteX45" fmla="*/ 735806 w 1226344"/>
                <a:gd name="connsiteY45" fmla="*/ 1000125 h 1200150"/>
                <a:gd name="connsiteX46" fmla="*/ 752475 w 1226344"/>
                <a:gd name="connsiteY46" fmla="*/ 1023938 h 1200150"/>
                <a:gd name="connsiteX47" fmla="*/ 785812 w 1226344"/>
                <a:gd name="connsiteY47" fmla="*/ 1021557 h 1200150"/>
                <a:gd name="connsiteX48" fmla="*/ 819150 w 1226344"/>
                <a:gd name="connsiteY48" fmla="*/ 1042988 h 1200150"/>
                <a:gd name="connsiteX49" fmla="*/ 823912 w 1226344"/>
                <a:gd name="connsiteY49" fmla="*/ 1064419 h 1200150"/>
                <a:gd name="connsiteX50" fmla="*/ 842962 w 1226344"/>
                <a:gd name="connsiteY50" fmla="*/ 1066800 h 1200150"/>
                <a:gd name="connsiteX51" fmla="*/ 904875 w 1226344"/>
                <a:gd name="connsiteY51" fmla="*/ 1073944 h 1200150"/>
                <a:gd name="connsiteX52" fmla="*/ 933450 w 1226344"/>
                <a:gd name="connsiteY52" fmla="*/ 1112044 h 1200150"/>
                <a:gd name="connsiteX53" fmla="*/ 938212 w 1226344"/>
                <a:gd name="connsiteY53" fmla="*/ 1140619 h 1200150"/>
                <a:gd name="connsiteX54" fmla="*/ 940594 w 1226344"/>
                <a:gd name="connsiteY54" fmla="*/ 1152525 h 1200150"/>
                <a:gd name="connsiteX55" fmla="*/ 954882 w 1226344"/>
                <a:gd name="connsiteY55" fmla="*/ 1200150 h 1200150"/>
                <a:gd name="connsiteX56" fmla="*/ 1002506 w 1226344"/>
                <a:gd name="connsiteY56" fmla="*/ 1173956 h 1200150"/>
                <a:gd name="connsiteX57" fmla="*/ 1042987 w 1226344"/>
                <a:gd name="connsiteY57" fmla="*/ 1150144 h 1200150"/>
                <a:gd name="connsiteX58" fmla="*/ 1071562 w 1226344"/>
                <a:gd name="connsiteY58" fmla="*/ 1069182 h 1200150"/>
                <a:gd name="connsiteX59" fmla="*/ 1062037 w 1226344"/>
                <a:gd name="connsiteY59" fmla="*/ 1045369 h 1200150"/>
                <a:gd name="connsiteX60" fmla="*/ 1059656 w 1226344"/>
                <a:gd name="connsiteY60" fmla="*/ 1012032 h 1200150"/>
                <a:gd name="connsiteX61" fmla="*/ 1066800 w 1226344"/>
                <a:gd name="connsiteY61" fmla="*/ 992982 h 1200150"/>
                <a:gd name="connsiteX62" fmla="*/ 1083469 w 1226344"/>
                <a:gd name="connsiteY62" fmla="*/ 973932 h 1200150"/>
                <a:gd name="connsiteX63" fmla="*/ 1107281 w 1226344"/>
                <a:gd name="connsiteY63" fmla="*/ 964407 h 1200150"/>
                <a:gd name="connsiteX64" fmla="*/ 1133475 w 1226344"/>
                <a:gd name="connsiteY64" fmla="*/ 921544 h 1200150"/>
                <a:gd name="connsiteX65" fmla="*/ 1150144 w 1226344"/>
                <a:gd name="connsiteY65" fmla="*/ 921544 h 1200150"/>
                <a:gd name="connsiteX66" fmla="*/ 1197769 w 1226344"/>
                <a:gd name="connsiteY66" fmla="*/ 940594 h 1200150"/>
                <a:gd name="connsiteX67" fmla="*/ 1226344 w 1226344"/>
                <a:gd name="connsiteY67" fmla="*/ 904875 h 1200150"/>
                <a:gd name="connsiteX68" fmla="*/ 1195387 w 1226344"/>
                <a:gd name="connsiteY68" fmla="*/ 852488 h 1200150"/>
                <a:gd name="connsiteX69" fmla="*/ 1159669 w 1226344"/>
                <a:gd name="connsiteY69" fmla="*/ 804863 h 1200150"/>
                <a:gd name="connsiteX70" fmla="*/ 1162050 w 1226344"/>
                <a:gd name="connsiteY70" fmla="*/ 762000 h 1200150"/>
                <a:gd name="connsiteX71" fmla="*/ 1216819 w 1226344"/>
                <a:gd name="connsiteY71" fmla="*/ 702469 h 1200150"/>
                <a:gd name="connsiteX72" fmla="*/ 1219200 w 1226344"/>
                <a:gd name="connsiteY72" fmla="*/ 676275 h 1200150"/>
                <a:gd name="connsiteX73" fmla="*/ 1181100 w 1226344"/>
                <a:gd name="connsiteY73" fmla="*/ 661988 h 1200150"/>
                <a:gd name="connsiteX74" fmla="*/ 1150144 w 1226344"/>
                <a:gd name="connsiteY74" fmla="*/ 635794 h 1200150"/>
                <a:gd name="connsiteX75" fmla="*/ 1133475 w 1226344"/>
                <a:gd name="connsiteY75" fmla="*/ 602457 h 1200150"/>
                <a:gd name="connsiteX76" fmla="*/ 1083469 w 1226344"/>
                <a:gd name="connsiteY76" fmla="*/ 604838 h 1200150"/>
                <a:gd name="connsiteX77" fmla="*/ 1033462 w 1226344"/>
                <a:gd name="connsiteY77" fmla="*/ 604838 h 1200150"/>
                <a:gd name="connsiteX78" fmla="*/ 1014412 w 1226344"/>
                <a:gd name="connsiteY78" fmla="*/ 583407 h 1200150"/>
                <a:gd name="connsiteX79" fmla="*/ 950119 w 1226344"/>
                <a:gd name="connsiteY79" fmla="*/ 578644 h 1200150"/>
                <a:gd name="connsiteX80" fmla="*/ 933450 w 1226344"/>
                <a:gd name="connsiteY80" fmla="*/ 561975 h 1200150"/>
                <a:gd name="connsiteX81" fmla="*/ 933450 w 1226344"/>
                <a:gd name="connsiteY81" fmla="*/ 547688 h 1200150"/>
                <a:gd name="connsiteX82" fmla="*/ 859631 w 1226344"/>
                <a:gd name="connsiteY82" fmla="*/ 511969 h 1200150"/>
                <a:gd name="connsiteX83" fmla="*/ 850106 w 1226344"/>
                <a:gd name="connsiteY83" fmla="*/ 492919 h 1200150"/>
                <a:gd name="connsiteX84" fmla="*/ 828675 w 1226344"/>
                <a:gd name="connsiteY84" fmla="*/ 476250 h 1200150"/>
                <a:gd name="connsiteX85" fmla="*/ 795337 w 1226344"/>
                <a:gd name="connsiteY85" fmla="*/ 478632 h 1200150"/>
                <a:gd name="connsiteX86" fmla="*/ 773906 w 1226344"/>
                <a:gd name="connsiteY86" fmla="*/ 471488 h 1200150"/>
                <a:gd name="connsiteX87" fmla="*/ 728662 w 1226344"/>
                <a:gd name="connsiteY87" fmla="*/ 428625 h 1200150"/>
                <a:gd name="connsiteX88" fmla="*/ 700087 w 1226344"/>
                <a:gd name="connsiteY88" fmla="*/ 421482 h 1200150"/>
                <a:gd name="connsiteX89" fmla="*/ 666750 w 1226344"/>
                <a:gd name="connsiteY89" fmla="*/ 383382 h 1200150"/>
                <a:gd name="connsiteX90" fmla="*/ 626269 w 1226344"/>
                <a:gd name="connsiteY90" fmla="*/ 369094 h 1200150"/>
                <a:gd name="connsiteX91" fmla="*/ 585787 w 1226344"/>
                <a:gd name="connsiteY91" fmla="*/ 335757 h 1200150"/>
                <a:gd name="connsiteX92" fmla="*/ 564356 w 1226344"/>
                <a:gd name="connsiteY92" fmla="*/ 311944 h 1200150"/>
                <a:gd name="connsiteX93" fmla="*/ 550069 w 1226344"/>
                <a:gd name="connsiteY93" fmla="*/ 330994 h 1200150"/>
                <a:gd name="connsiteX94" fmla="*/ 478631 w 1226344"/>
                <a:gd name="connsiteY94" fmla="*/ 328613 h 1200150"/>
                <a:gd name="connsiteX95" fmla="*/ 330994 w 1226344"/>
                <a:gd name="connsiteY95" fmla="*/ 230982 h 1200150"/>
                <a:gd name="connsiteX96" fmla="*/ 259556 w 1226344"/>
                <a:gd name="connsiteY96" fmla="*/ 254794 h 1200150"/>
                <a:gd name="connsiteX97" fmla="*/ 221456 w 1226344"/>
                <a:gd name="connsiteY97" fmla="*/ 245269 h 1200150"/>
                <a:gd name="connsiteX98" fmla="*/ 238125 w 1226344"/>
                <a:gd name="connsiteY98" fmla="*/ 150019 h 1200150"/>
                <a:gd name="connsiteX99" fmla="*/ 228600 w 1226344"/>
                <a:gd name="connsiteY99" fmla="*/ 95250 h 1200150"/>
                <a:gd name="connsiteX100" fmla="*/ 197644 w 1226344"/>
                <a:gd name="connsiteY100" fmla="*/ 78582 h 1200150"/>
                <a:gd name="connsiteX101" fmla="*/ 145256 w 1226344"/>
                <a:gd name="connsiteY101" fmla="*/ 0 h 1200150"/>
                <a:gd name="connsiteX102" fmla="*/ 88106 w 1226344"/>
                <a:gd name="connsiteY102" fmla="*/ 30957 h 1200150"/>
                <a:gd name="connsiteX103" fmla="*/ 83344 w 1226344"/>
                <a:gd name="connsiteY103" fmla="*/ 54769 h 1200150"/>
                <a:gd name="connsiteX104" fmla="*/ 90487 w 1226344"/>
                <a:gd name="connsiteY104" fmla="*/ 100013 h 1200150"/>
                <a:gd name="connsiteX105" fmla="*/ 71437 w 1226344"/>
                <a:gd name="connsiteY105" fmla="*/ 135732 h 1200150"/>
                <a:gd name="connsiteX106" fmla="*/ 66675 w 1226344"/>
                <a:gd name="connsiteY106" fmla="*/ 145257 h 1200150"/>
                <a:gd name="connsiteX107" fmla="*/ 97631 w 1226344"/>
                <a:gd name="connsiteY107" fmla="*/ 185738 h 1200150"/>
                <a:gd name="connsiteX108" fmla="*/ 83344 w 1226344"/>
                <a:gd name="connsiteY108" fmla="*/ 223838 h 1200150"/>
                <a:gd name="connsiteX109" fmla="*/ 59531 w 1226344"/>
                <a:gd name="connsiteY109" fmla="*/ 240507 h 1200150"/>
                <a:gd name="connsiteX110" fmla="*/ 69056 w 1226344"/>
                <a:gd name="connsiteY110" fmla="*/ 309563 h 1200150"/>
                <a:gd name="connsiteX111" fmla="*/ 92869 w 1226344"/>
                <a:gd name="connsiteY111" fmla="*/ 321469 h 1200150"/>
                <a:gd name="connsiteX112" fmla="*/ 85725 w 1226344"/>
                <a:gd name="connsiteY112" fmla="*/ 369094 h 1200150"/>
                <a:gd name="connsiteX113" fmla="*/ 42862 w 1226344"/>
                <a:gd name="connsiteY113" fmla="*/ 421482 h 1200150"/>
                <a:gd name="connsiteX114" fmla="*/ 0 w 1226344"/>
                <a:gd name="connsiteY114" fmla="*/ 452438 h 1200150"/>
                <a:gd name="connsiteX0" fmla="*/ 0 w 1226344"/>
                <a:gd name="connsiteY0" fmla="*/ 452438 h 1202531"/>
                <a:gd name="connsiteX1" fmla="*/ 28575 w 1226344"/>
                <a:gd name="connsiteY1" fmla="*/ 526257 h 1202531"/>
                <a:gd name="connsiteX2" fmla="*/ 73819 w 1226344"/>
                <a:gd name="connsiteY2" fmla="*/ 564357 h 1202531"/>
                <a:gd name="connsiteX3" fmla="*/ 109537 w 1226344"/>
                <a:gd name="connsiteY3" fmla="*/ 657225 h 1202531"/>
                <a:gd name="connsiteX4" fmla="*/ 128587 w 1226344"/>
                <a:gd name="connsiteY4" fmla="*/ 685800 h 1202531"/>
                <a:gd name="connsiteX5" fmla="*/ 142875 w 1226344"/>
                <a:gd name="connsiteY5" fmla="*/ 666750 h 1202531"/>
                <a:gd name="connsiteX6" fmla="*/ 142875 w 1226344"/>
                <a:gd name="connsiteY6" fmla="*/ 633413 h 1202531"/>
                <a:gd name="connsiteX7" fmla="*/ 180975 w 1226344"/>
                <a:gd name="connsiteY7" fmla="*/ 666750 h 1202531"/>
                <a:gd name="connsiteX8" fmla="*/ 240506 w 1226344"/>
                <a:gd name="connsiteY8" fmla="*/ 673894 h 1202531"/>
                <a:gd name="connsiteX9" fmla="*/ 271462 w 1226344"/>
                <a:gd name="connsiteY9" fmla="*/ 702469 h 1202531"/>
                <a:gd name="connsiteX10" fmla="*/ 326231 w 1226344"/>
                <a:gd name="connsiteY10" fmla="*/ 721519 h 1202531"/>
                <a:gd name="connsiteX11" fmla="*/ 338137 w 1226344"/>
                <a:gd name="connsiteY11" fmla="*/ 762000 h 1202531"/>
                <a:gd name="connsiteX12" fmla="*/ 321469 w 1226344"/>
                <a:gd name="connsiteY12" fmla="*/ 781050 h 1202531"/>
                <a:gd name="connsiteX13" fmla="*/ 311944 w 1226344"/>
                <a:gd name="connsiteY13" fmla="*/ 807244 h 1202531"/>
                <a:gd name="connsiteX14" fmla="*/ 266700 w 1226344"/>
                <a:gd name="connsiteY14" fmla="*/ 826294 h 1202531"/>
                <a:gd name="connsiteX15" fmla="*/ 219075 w 1226344"/>
                <a:gd name="connsiteY15" fmla="*/ 900113 h 1202531"/>
                <a:gd name="connsiteX16" fmla="*/ 204787 w 1226344"/>
                <a:gd name="connsiteY16" fmla="*/ 909638 h 1202531"/>
                <a:gd name="connsiteX17" fmla="*/ 192881 w 1226344"/>
                <a:gd name="connsiteY17" fmla="*/ 973932 h 1202531"/>
                <a:gd name="connsiteX18" fmla="*/ 152400 w 1226344"/>
                <a:gd name="connsiteY18" fmla="*/ 1042988 h 1202531"/>
                <a:gd name="connsiteX19" fmla="*/ 157162 w 1226344"/>
                <a:gd name="connsiteY19" fmla="*/ 1071563 h 1202531"/>
                <a:gd name="connsiteX20" fmla="*/ 204787 w 1226344"/>
                <a:gd name="connsiteY20" fmla="*/ 1083469 h 1202531"/>
                <a:gd name="connsiteX21" fmla="*/ 233362 w 1226344"/>
                <a:gd name="connsiteY21" fmla="*/ 1133475 h 1202531"/>
                <a:gd name="connsiteX22" fmla="*/ 247650 w 1226344"/>
                <a:gd name="connsiteY22" fmla="*/ 1133475 h 1202531"/>
                <a:gd name="connsiteX23" fmla="*/ 266700 w 1226344"/>
                <a:gd name="connsiteY23" fmla="*/ 1102519 h 1202531"/>
                <a:gd name="connsiteX24" fmla="*/ 257175 w 1226344"/>
                <a:gd name="connsiteY24" fmla="*/ 1081088 h 1202531"/>
                <a:gd name="connsiteX25" fmla="*/ 230981 w 1226344"/>
                <a:gd name="connsiteY25" fmla="*/ 1076325 h 1202531"/>
                <a:gd name="connsiteX26" fmla="*/ 230981 w 1226344"/>
                <a:gd name="connsiteY26" fmla="*/ 1052513 h 1202531"/>
                <a:gd name="connsiteX27" fmla="*/ 228600 w 1226344"/>
                <a:gd name="connsiteY27" fmla="*/ 1009650 h 1202531"/>
                <a:gd name="connsiteX28" fmla="*/ 216694 w 1226344"/>
                <a:gd name="connsiteY28" fmla="*/ 976313 h 1202531"/>
                <a:gd name="connsiteX29" fmla="*/ 223837 w 1226344"/>
                <a:gd name="connsiteY29" fmla="*/ 940594 h 1202531"/>
                <a:gd name="connsiteX30" fmla="*/ 266700 w 1226344"/>
                <a:gd name="connsiteY30" fmla="*/ 900113 h 1202531"/>
                <a:gd name="connsiteX31" fmla="*/ 278606 w 1226344"/>
                <a:gd name="connsiteY31" fmla="*/ 897732 h 1202531"/>
                <a:gd name="connsiteX32" fmla="*/ 290512 w 1226344"/>
                <a:gd name="connsiteY32" fmla="*/ 938213 h 1202531"/>
                <a:gd name="connsiteX33" fmla="*/ 302419 w 1226344"/>
                <a:gd name="connsiteY33" fmla="*/ 938213 h 1202531"/>
                <a:gd name="connsiteX34" fmla="*/ 321469 w 1226344"/>
                <a:gd name="connsiteY34" fmla="*/ 962025 h 1202531"/>
                <a:gd name="connsiteX35" fmla="*/ 338137 w 1226344"/>
                <a:gd name="connsiteY35" fmla="*/ 957263 h 1202531"/>
                <a:gd name="connsiteX36" fmla="*/ 359569 w 1226344"/>
                <a:gd name="connsiteY36" fmla="*/ 942975 h 1202531"/>
                <a:gd name="connsiteX37" fmla="*/ 483394 w 1226344"/>
                <a:gd name="connsiteY37" fmla="*/ 954882 h 1202531"/>
                <a:gd name="connsiteX38" fmla="*/ 516731 w 1226344"/>
                <a:gd name="connsiteY38" fmla="*/ 947738 h 1202531"/>
                <a:gd name="connsiteX39" fmla="*/ 545306 w 1226344"/>
                <a:gd name="connsiteY39" fmla="*/ 964407 h 1202531"/>
                <a:gd name="connsiteX40" fmla="*/ 561975 w 1226344"/>
                <a:gd name="connsiteY40" fmla="*/ 978694 h 1202531"/>
                <a:gd name="connsiteX41" fmla="*/ 604837 w 1226344"/>
                <a:gd name="connsiteY41" fmla="*/ 981075 h 1202531"/>
                <a:gd name="connsiteX42" fmla="*/ 640556 w 1226344"/>
                <a:gd name="connsiteY42" fmla="*/ 1021557 h 1202531"/>
                <a:gd name="connsiteX43" fmla="*/ 659606 w 1226344"/>
                <a:gd name="connsiteY43" fmla="*/ 1019175 h 1202531"/>
                <a:gd name="connsiteX44" fmla="*/ 702469 w 1226344"/>
                <a:gd name="connsiteY44" fmla="*/ 976313 h 1202531"/>
                <a:gd name="connsiteX45" fmla="*/ 735806 w 1226344"/>
                <a:gd name="connsiteY45" fmla="*/ 1000125 h 1202531"/>
                <a:gd name="connsiteX46" fmla="*/ 752475 w 1226344"/>
                <a:gd name="connsiteY46" fmla="*/ 1023938 h 1202531"/>
                <a:gd name="connsiteX47" fmla="*/ 785812 w 1226344"/>
                <a:gd name="connsiteY47" fmla="*/ 1021557 h 1202531"/>
                <a:gd name="connsiteX48" fmla="*/ 819150 w 1226344"/>
                <a:gd name="connsiteY48" fmla="*/ 1042988 h 1202531"/>
                <a:gd name="connsiteX49" fmla="*/ 823912 w 1226344"/>
                <a:gd name="connsiteY49" fmla="*/ 1064419 h 1202531"/>
                <a:gd name="connsiteX50" fmla="*/ 842962 w 1226344"/>
                <a:gd name="connsiteY50" fmla="*/ 1066800 h 1202531"/>
                <a:gd name="connsiteX51" fmla="*/ 904875 w 1226344"/>
                <a:gd name="connsiteY51" fmla="*/ 1073944 h 1202531"/>
                <a:gd name="connsiteX52" fmla="*/ 933450 w 1226344"/>
                <a:gd name="connsiteY52" fmla="*/ 1112044 h 1202531"/>
                <a:gd name="connsiteX53" fmla="*/ 938212 w 1226344"/>
                <a:gd name="connsiteY53" fmla="*/ 1140619 h 1202531"/>
                <a:gd name="connsiteX54" fmla="*/ 940594 w 1226344"/>
                <a:gd name="connsiteY54" fmla="*/ 1152525 h 1202531"/>
                <a:gd name="connsiteX55" fmla="*/ 954882 w 1226344"/>
                <a:gd name="connsiteY55" fmla="*/ 1200150 h 1202531"/>
                <a:gd name="connsiteX56" fmla="*/ 990599 w 1226344"/>
                <a:gd name="connsiteY56" fmla="*/ 1202531 h 1202531"/>
                <a:gd name="connsiteX57" fmla="*/ 1042987 w 1226344"/>
                <a:gd name="connsiteY57" fmla="*/ 1150144 h 1202531"/>
                <a:gd name="connsiteX58" fmla="*/ 1071562 w 1226344"/>
                <a:gd name="connsiteY58" fmla="*/ 1069182 h 1202531"/>
                <a:gd name="connsiteX59" fmla="*/ 1062037 w 1226344"/>
                <a:gd name="connsiteY59" fmla="*/ 1045369 h 1202531"/>
                <a:gd name="connsiteX60" fmla="*/ 1059656 w 1226344"/>
                <a:gd name="connsiteY60" fmla="*/ 1012032 h 1202531"/>
                <a:gd name="connsiteX61" fmla="*/ 1066800 w 1226344"/>
                <a:gd name="connsiteY61" fmla="*/ 992982 h 1202531"/>
                <a:gd name="connsiteX62" fmla="*/ 1083469 w 1226344"/>
                <a:gd name="connsiteY62" fmla="*/ 973932 h 1202531"/>
                <a:gd name="connsiteX63" fmla="*/ 1107281 w 1226344"/>
                <a:gd name="connsiteY63" fmla="*/ 964407 h 1202531"/>
                <a:gd name="connsiteX64" fmla="*/ 1133475 w 1226344"/>
                <a:gd name="connsiteY64" fmla="*/ 921544 h 1202531"/>
                <a:gd name="connsiteX65" fmla="*/ 1150144 w 1226344"/>
                <a:gd name="connsiteY65" fmla="*/ 921544 h 1202531"/>
                <a:gd name="connsiteX66" fmla="*/ 1197769 w 1226344"/>
                <a:gd name="connsiteY66" fmla="*/ 940594 h 1202531"/>
                <a:gd name="connsiteX67" fmla="*/ 1226344 w 1226344"/>
                <a:gd name="connsiteY67" fmla="*/ 904875 h 1202531"/>
                <a:gd name="connsiteX68" fmla="*/ 1195387 w 1226344"/>
                <a:gd name="connsiteY68" fmla="*/ 852488 h 1202531"/>
                <a:gd name="connsiteX69" fmla="*/ 1159669 w 1226344"/>
                <a:gd name="connsiteY69" fmla="*/ 804863 h 1202531"/>
                <a:gd name="connsiteX70" fmla="*/ 1162050 w 1226344"/>
                <a:gd name="connsiteY70" fmla="*/ 762000 h 1202531"/>
                <a:gd name="connsiteX71" fmla="*/ 1216819 w 1226344"/>
                <a:gd name="connsiteY71" fmla="*/ 702469 h 1202531"/>
                <a:gd name="connsiteX72" fmla="*/ 1219200 w 1226344"/>
                <a:gd name="connsiteY72" fmla="*/ 676275 h 1202531"/>
                <a:gd name="connsiteX73" fmla="*/ 1181100 w 1226344"/>
                <a:gd name="connsiteY73" fmla="*/ 661988 h 1202531"/>
                <a:gd name="connsiteX74" fmla="*/ 1150144 w 1226344"/>
                <a:gd name="connsiteY74" fmla="*/ 635794 h 1202531"/>
                <a:gd name="connsiteX75" fmla="*/ 1133475 w 1226344"/>
                <a:gd name="connsiteY75" fmla="*/ 602457 h 1202531"/>
                <a:gd name="connsiteX76" fmla="*/ 1083469 w 1226344"/>
                <a:gd name="connsiteY76" fmla="*/ 604838 h 1202531"/>
                <a:gd name="connsiteX77" fmla="*/ 1033462 w 1226344"/>
                <a:gd name="connsiteY77" fmla="*/ 604838 h 1202531"/>
                <a:gd name="connsiteX78" fmla="*/ 1014412 w 1226344"/>
                <a:gd name="connsiteY78" fmla="*/ 583407 h 1202531"/>
                <a:gd name="connsiteX79" fmla="*/ 950119 w 1226344"/>
                <a:gd name="connsiteY79" fmla="*/ 578644 h 1202531"/>
                <a:gd name="connsiteX80" fmla="*/ 933450 w 1226344"/>
                <a:gd name="connsiteY80" fmla="*/ 561975 h 1202531"/>
                <a:gd name="connsiteX81" fmla="*/ 933450 w 1226344"/>
                <a:gd name="connsiteY81" fmla="*/ 547688 h 1202531"/>
                <a:gd name="connsiteX82" fmla="*/ 859631 w 1226344"/>
                <a:gd name="connsiteY82" fmla="*/ 511969 h 1202531"/>
                <a:gd name="connsiteX83" fmla="*/ 850106 w 1226344"/>
                <a:gd name="connsiteY83" fmla="*/ 492919 h 1202531"/>
                <a:gd name="connsiteX84" fmla="*/ 828675 w 1226344"/>
                <a:gd name="connsiteY84" fmla="*/ 476250 h 1202531"/>
                <a:gd name="connsiteX85" fmla="*/ 795337 w 1226344"/>
                <a:gd name="connsiteY85" fmla="*/ 478632 h 1202531"/>
                <a:gd name="connsiteX86" fmla="*/ 773906 w 1226344"/>
                <a:gd name="connsiteY86" fmla="*/ 471488 h 1202531"/>
                <a:gd name="connsiteX87" fmla="*/ 728662 w 1226344"/>
                <a:gd name="connsiteY87" fmla="*/ 428625 h 1202531"/>
                <a:gd name="connsiteX88" fmla="*/ 700087 w 1226344"/>
                <a:gd name="connsiteY88" fmla="*/ 421482 h 1202531"/>
                <a:gd name="connsiteX89" fmla="*/ 666750 w 1226344"/>
                <a:gd name="connsiteY89" fmla="*/ 383382 h 1202531"/>
                <a:gd name="connsiteX90" fmla="*/ 626269 w 1226344"/>
                <a:gd name="connsiteY90" fmla="*/ 369094 h 1202531"/>
                <a:gd name="connsiteX91" fmla="*/ 585787 w 1226344"/>
                <a:gd name="connsiteY91" fmla="*/ 335757 h 1202531"/>
                <a:gd name="connsiteX92" fmla="*/ 564356 w 1226344"/>
                <a:gd name="connsiteY92" fmla="*/ 311944 h 1202531"/>
                <a:gd name="connsiteX93" fmla="*/ 550069 w 1226344"/>
                <a:gd name="connsiteY93" fmla="*/ 330994 h 1202531"/>
                <a:gd name="connsiteX94" fmla="*/ 478631 w 1226344"/>
                <a:gd name="connsiteY94" fmla="*/ 328613 h 1202531"/>
                <a:gd name="connsiteX95" fmla="*/ 330994 w 1226344"/>
                <a:gd name="connsiteY95" fmla="*/ 230982 h 1202531"/>
                <a:gd name="connsiteX96" fmla="*/ 259556 w 1226344"/>
                <a:gd name="connsiteY96" fmla="*/ 254794 h 1202531"/>
                <a:gd name="connsiteX97" fmla="*/ 221456 w 1226344"/>
                <a:gd name="connsiteY97" fmla="*/ 245269 h 1202531"/>
                <a:gd name="connsiteX98" fmla="*/ 238125 w 1226344"/>
                <a:gd name="connsiteY98" fmla="*/ 150019 h 1202531"/>
                <a:gd name="connsiteX99" fmla="*/ 228600 w 1226344"/>
                <a:gd name="connsiteY99" fmla="*/ 95250 h 1202531"/>
                <a:gd name="connsiteX100" fmla="*/ 197644 w 1226344"/>
                <a:gd name="connsiteY100" fmla="*/ 78582 h 1202531"/>
                <a:gd name="connsiteX101" fmla="*/ 145256 w 1226344"/>
                <a:gd name="connsiteY101" fmla="*/ 0 h 1202531"/>
                <a:gd name="connsiteX102" fmla="*/ 88106 w 1226344"/>
                <a:gd name="connsiteY102" fmla="*/ 30957 h 1202531"/>
                <a:gd name="connsiteX103" fmla="*/ 83344 w 1226344"/>
                <a:gd name="connsiteY103" fmla="*/ 54769 h 1202531"/>
                <a:gd name="connsiteX104" fmla="*/ 90487 w 1226344"/>
                <a:gd name="connsiteY104" fmla="*/ 100013 h 1202531"/>
                <a:gd name="connsiteX105" fmla="*/ 71437 w 1226344"/>
                <a:gd name="connsiteY105" fmla="*/ 135732 h 1202531"/>
                <a:gd name="connsiteX106" fmla="*/ 66675 w 1226344"/>
                <a:gd name="connsiteY106" fmla="*/ 145257 h 1202531"/>
                <a:gd name="connsiteX107" fmla="*/ 97631 w 1226344"/>
                <a:gd name="connsiteY107" fmla="*/ 185738 h 1202531"/>
                <a:gd name="connsiteX108" fmla="*/ 83344 w 1226344"/>
                <a:gd name="connsiteY108" fmla="*/ 223838 h 1202531"/>
                <a:gd name="connsiteX109" fmla="*/ 59531 w 1226344"/>
                <a:gd name="connsiteY109" fmla="*/ 240507 h 1202531"/>
                <a:gd name="connsiteX110" fmla="*/ 69056 w 1226344"/>
                <a:gd name="connsiteY110" fmla="*/ 309563 h 1202531"/>
                <a:gd name="connsiteX111" fmla="*/ 92869 w 1226344"/>
                <a:gd name="connsiteY111" fmla="*/ 321469 h 1202531"/>
                <a:gd name="connsiteX112" fmla="*/ 85725 w 1226344"/>
                <a:gd name="connsiteY112" fmla="*/ 369094 h 1202531"/>
                <a:gd name="connsiteX113" fmla="*/ 42862 w 1226344"/>
                <a:gd name="connsiteY113" fmla="*/ 421482 h 1202531"/>
                <a:gd name="connsiteX114" fmla="*/ 0 w 1226344"/>
                <a:gd name="connsiteY114" fmla="*/ 452438 h 12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226344" h="1202531">
                  <a:moveTo>
                    <a:pt x="0" y="452438"/>
                  </a:moveTo>
                  <a:lnTo>
                    <a:pt x="28575" y="526257"/>
                  </a:lnTo>
                  <a:lnTo>
                    <a:pt x="73819" y="564357"/>
                  </a:lnTo>
                  <a:lnTo>
                    <a:pt x="109537" y="657225"/>
                  </a:lnTo>
                  <a:lnTo>
                    <a:pt x="128587" y="685800"/>
                  </a:lnTo>
                  <a:lnTo>
                    <a:pt x="142875" y="666750"/>
                  </a:lnTo>
                  <a:lnTo>
                    <a:pt x="142875" y="633413"/>
                  </a:lnTo>
                  <a:lnTo>
                    <a:pt x="180975" y="666750"/>
                  </a:lnTo>
                  <a:lnTo>
                    <a:pt x="240506" y="673894"/>
                  </a:lnTo>
                  <a:lnTo>
                    <a:pt x="271462" y="702469"/>
                  </a:lnTo>
                  <a:lnTo>
                    <a:pt x="326231" y="721519"/>
                  </a:lnTo>
                  <a:lnTo>
                    <a:pt x="338137" y="762000"/>
                  </a:lnTo>
                  <a:lnTo>
                    <a:pt x="321469" y="781050"/>
                  </a:lnTo>
                  <a:lnTo>
                    <a:pt x="311944" y="807244"/>
                  </a:lnTo>
                  <a:lnTo>
                    <a:pt x="266700" y="826294"/>
                  </a:lnTo>
                  <a:lnTo>
                    <a:pt x="219075" y="900113"/>
                  </a:lnTo>
                  <a:lnTo>
                    <a:pt x="204787" y="909638"/>
                  </a:lnTo>
                  <a:lnTo>
                    <a:pt x="192881" y="973932"/>
                  </a:lnTo>
                  <a:lnTo>
                    <a:pt x="152400" y="1042988"/>
                  </a:lnTo>
                  <a:lnTo>
                    <a:pt x="157162" y="1071563"/>
                  </a:lnTo>
                  <a:lnTo>
                    <a:pt x="204787" y="1083469"/>
                  </a:lnTo>
                  <a:lnTo>
                    <a:pt x="233362" y="1133475"/>
                  </a:lnTo>
                  <a:lnTo>
                    <a:pt x="247650" y="1133475"/>
                  </a:lnTo>
                  <a:lnTo>
                    <a:pt x="266700" y="1102519"/>
                  </a:lnTo>
                  <a:lnTo>
                    <a:pt x="257175" y="1081088"/>
                  </a:lnTo>
                  <a:lnTo>
                    <a:pt x="230981" y="1076325"/>
                  </a:lnTo>
                  <a:lnTo>
                    <a:pt x="230981" y="1052513"/>
                  </a:lnTo>
                  <a:lnTo>
                    <a:pt x="228600" y="1009650"/>
                  </a:lnTo>
                  <a:lnTo>
                    <a:pt x="216694" y="976313"/>
                  </a:lnTo>
                  <a:lnTo>
                    <a:pt x="223837" y="940594"/>
                  </a:lnTo>
                  <a:lnTo>
                    <a:pt x="266700" y="900113"/>
                  </a:lnTo>
                  <a:lnTo>
                    <a:pt x="278606" y="897732"/>
                  </a:lnTo>
                  <a:lnTo>
                    <a:pt x="290512" y="938213"/>
                  </a:lnTo>
                  <a:lnTo>
                    <a:pt x="302419" y="938213"/>
                  </a:lnTo>
                  <a:lnTo>
                    <a:pt x="321469" y="962025"/>
                  </a:lnTo>
                  <a:lnTo>
                    <a:pt x="338137" y="957263"/>
                  </a:lnTo>
                  <a:lnTo>
                    <a:pt x="359569" y="942975"/>
                  </a:lnTo>
                  <a:lnTo>
                    <a:pt x="483394" y="954882"/>
                  </a:lnTo>
                  <a:lnTo>
                    <a:pt x="516731" y="947738"/>
                  </a:lnTo>
                  <a:lnTo>
                    <a:pt x="545306" y="964407"/>
                  </a:lnTo>
                  <a:lnTo>
                    <a:pt x="561975" y="978694"/>
                  </a:lnTo>
                  <a:lnTo>
                    <a:pt x="604837" y="981075"/>
                  </a:lnTo>
                  <a:lnTo>
                    <a:pt x="640556" y="1021557"/>
                  </a:lnTo>
                  <a:lnTo>
                    <a:pt x="659606" y="1019175"/>
                  </a:lnTo>
                  <a:lnTo>
                    <a:pt x="702469" y="976313"/>
                  </a:lnTo>
                  <a:lnTo>
                    <a:pt x="735806" y="1000125"/>
                  </a:lnTo>
                  <a:lnTo>
                    <a:pt x="752475" y="1023938"/>
                  </a:lnTo>
                  <a:lnTo>
                    <a:pt x="785812" y="1021557"/>
                  </a:lnTo>
                  <a:lnTo>
                    <a:pt x="819150" y="1042988"/>
                  </a:lnTo>
                  <a:lnTo>
                    <a:pt x="823912" y="1064419"/>
                  </a:lnTo>
                  <a:lnTo>
                    <a:pt x="842962" y="1066800"/>
                  </a:lnTo>
                  <a:lnTo>
                    <a:pt x="904875" y="1073944"/>
                  </a:lnTo>
                  <a:lnTo>
                    <a:pt x="933450" y="1112044"/>
                  </a:lnTo>
                  <a:lnTo>
                    <a:pt x="938212" y="1140619"/>
                  </a:lnTo>
                  <a:lnTo>
                    <a:pt x="940594" y="1152525"/>
                  </a:lnTo>
                  <a:lnTo>
                    <a:pt x="954882" y="1200150"/>
                  </a:lnTo>
                  <a:lnTo>
                    <a:pt x="990599" y="1202531"/>
                  </a:lnTo>
                  <a:lnTo>
                    <a:pt x="1042987" y="1150144"/>
                  </a:lnTo>
                  <a:lnTo>
                    <a:pt x="1071562" y="1069182"/>
                  </a:lnTo>
                  <a:lnTo>
                    <a:pt x="1062037" y="1045369"/>
                  </a:lnTo>
                  <a:lnTo>
                    <a:pt x="1059656" y="1012032"/>
                  </a:lnTo>
                  <a:lnTo>
                    <a:pt x="1066800" y="992982"/>
                  </a:lnTo>
                  <a:lnTo>
                    <a:pt x="1083469" y="973932"/>
                  </a:lnTo>
                  <a:lnTo>
                    <a:pt x="1107281" y="964407"/>
                  </a:lnTo>
                  <a:lnTo>
                    <a:pt x="1133475" y="921544"/>
                  </a:lnTo>
                  <a:lnTo>
                    <a:pt x="1150144" y="921544"/>
                  </a:lnTo>
                  <a:lnTo>
                    <a:pt x="1197769" y="940594"/>
                  </a:lnTo>
                  <a:lnTo>
                    <a:pt x="1226344" y="904875"/>
                  </a:lnTo>
                  <a:lnTo>
                    <a:pt x="1195387" y="852488"/>
                  </a:lnTo>
                  <a:lnTo>
                    <a:pt x="1159669" y="804863"/>
                  </a:lnTo>
                  <a:lnTo>
                    <a:pt x="1162050" y="762000"/>
                  </a:lnTo>
                  <a:lnTo>
                    <a:pt x="1216819" y="702469"/>
                  </a:lnTo>
                  <a:lnTo>
                    <a:pt x="1219200" y="676275"/>
                  </a:lnTo>
                  <a:lnTo>
                    <a:pt x="1181100" y="661988"/>
                  </a:lnTo>
                  <a:lnTo>
                    <a:pt x="1150144" y="635794"/>
                  </a:lnTo>
                  <a:lnTo>
                    <a:pt x="1133475" y="602457"/>
                  </a:lnTo>
                  <a:lnTo>
                    <a:pt x="1083469" y="604838"/>
                  </a:lnTo>
                  <a:lnTo>
                    <a:pt x="1033462" y="604838"/>
                  </a:lnTo>
                  <a:lnTo>
                    <a:pt x="1014412" y="583407"/>
                  </a:lnTo>
                  <a:lnTo>
                    <a:pt x="950119" y="578644"/>
                  </a:lnTo>
                  <a:lnTo>
                    <a:pt x="933450" y="561975"/>
                  </a:lnTo>
                  <a:lnTo>
                    <a:pt x="933450" y="547688"/>
                  </a:lnTo>
                  <a:lnTo>
                    <a:pt x="859631" y="511969"/>
                  </a:lnTo>
                  <a:lnTo>
                    <a:pt x="850106" y="492919"/>
                  </a:lnTo>
                  <a:lnTo>
                    <a:pt x="828675" y="476250"/>
                  </a:lnTo>
                  <a:lnTo>
                    <a:pt x="795337" y="478632"/>
                  </a:lnTo>
                  <a:lnTo>
                    <a:pt x="773906" y="471488"/>
                  </a:lnTo>
                  <a:lnTo>
                    <a:pt x="728662" y="428625"/>
                  </a:lnTo>
                  <a:lnTo>
                    <a:pt x="700087" y="421482"/>
                  </a:lnTo>
                  <a:lnTo>
                    <a:pt x="666750" y="383382"/>
                  </a:lnTo>
                  <a:lnTo>
                    <a:pt x="626269" y="369094"/>
                  </a:lnTo>
                  <a:lnTo>
                    <a:pt x="585787" y="335757"/>
                  </a:lnTo>
                  <a:lnTo>
                    <a:pt x="564356" y="311944"/>
                  </a:lnTo>
                  <a:lnTo>
                    <a:pt x="550069" y="330994"/>
                  </a:lnTo>
                  <a:lnTo>
                    <a:pt x="478631" y="328613"/>
                  </a:lnTo>
                  <a:lnTo>
                    <a:pt x="330994" y="230982"/>
                  </a:lnTo>
                  <a:lnTo>
                    <a:pt x="259556" y="254794"/>
                  </a:lnTo>
                  <a:lnTo>
                    <a:pt x="221456" y="245269"/>
                  </a:lnTo>
                  <a:lnTo>
                    <a:pt x="238125" y="150019"/>
                  </a:lnTo>
                  <a:lnTo>
                    <a:pt x="228600" y="95250"/>
                  </a:lnTo>
                  <a:lnTo>
                    <a:pt x="197644" y="78582"/>
                  </a:lnTo>
                  <a:lnTo>
                    <a:pt x="145256" y="0"/>
                  </a:lnTo>
                  <a:lnTo>
                    <a:pt x="88106" y="30957"/>
                  </a:lnTo>
                  <a:lnTo>
                    <a:pt x="83344" y="54769"/>
                  </a:lnTo>
                  <a:lnTo>
                    <a:pt x="90487" y="100013"/>
                  </a:lnTo>
                  <a:lnTo>
                    <a:pt x="71437" y="135732"/>
                  </a:lnTo>
                  <a:lnTo>
                    <a:pt x="66675" y="145257"/>
                  </a:lnTo>
                  <a:lnTo>
                    <a:pt x="97631" y="185738"/>
                  </a:lnTo>
                  <a:lnTo>
                    <a:pt x="83344" y="223838"/>
                  </a:lnTo>
                  <a:lnTo>
                    <a:pt x="59531" y="240507"/>
                  </a:lnTo>
                  <a:lnTo>
                    <a:pt x="69056" y="309563"/>
                  </a:lnTo>
                  <a:lnTo>
                    <a:pt x="92869" y="321469"/>
                  </a:lnTo>
                  <a:lnTo>
                    <a:pt x="85725" y="369094"/>
                  </a:lnTo>
                  <a:lnTo>
                    <a:pt x="42862" y="421482"/>
                  </a:lnTo>
                  <a:lnTo>
                    <a:pt x="0" y="452438"/>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Freeform 75">
              <a:extLst>
                <a:ext uri="{FF2B5EF4-FFF2-40B4-BE49-F238E27FC236}">
                  <a16:creationId xmlns:a16="http://schemas.microsoft.com/office/drawing/2014/main" id="{2B3BE3F9-6A96-4111-90D3-9D3565400E3F}"/>
                </a:ext>
              </a:extLst>
            </p:cNvPr>
            <p:cNvSpPr/>
            <p:nvPr/>
          </p:nvSpPr>
          <p:spPr bwMode="auto">
            <a:xfrm>
              <a:off x="2550296" y="2761319"/>
              <a:ext cx="1207250" cy="1129363"/>
            </a:xfrm>
            <a:custGeom>
              <a:avLst/>
              <a:gdLst>
                <a:gd name="connsiteX0" fmla="*/ 783432 w 1378744"/>
                <a:gd name="connsiteY0" fmla="*/ 0 h 1138237"/>
                <a:gd name="connsiteX1" fmla="*/ 738188 w 1378744"/>
                <a:gd name="connsiteY1" fmla="*/ 26193 h 1138237"/>
                <a:gd name="connsiteX2" fmla="*/ 685800 w 1378744"/>
                <a:gd name="connsiteY2" fmla="*/ 28575 h 1138237"/>
                <a:gd name="connsiteX3" fmla="*/ 635794 w 1378744"/>
                <a:gd name="connsiteY3" fmla="*/ 73818 h 1138237"/>
                <a:gd name="connsiteX4" fmla="*/ 633413 w 1378744"/>
                <a:gd name="connsiteY4" fmla="*/ 114300 h 1138237"/>
                <a:gd name="connsiteX5" fmla="*/ 561975 w 1378744"/>
                <a:gd name="connsiteY5" fmla="*/ 190500 h 1138237"/>
                <a:gd name="connsiteX6" fmla="*/ 519113 w 1378744"/>
                <a:gd name="connsiteY6" fmla="*/ 214312 h 1138237"/>
                <a:gd name="connsiteX7" fmla="*/ 485775 w 1378744"/>
                <a:gd name="connsiteY7" fmla="*/ 252412 h 1138237"/>
                <a:gd name="connsiteX8" fmla="*/ 461963 w 1378744"/>
                <a:gd name="connsiteY8" fmla="*/ 273843 h 1138237"/>
                <a:gd name="connsiteX9" fmla="*/ 423863 w 1378744"/>
                <a:gd name="connsiteY9" fmla="*/ 333375 h 1138237"/>
                <a:gd name="connsiteX10" fmla="*/ 378619 w 1378744"/>
                <a:gd name="connsiteY10" fmla="*/ 357187 h 1138237"/>
                <a:gd name="connsiteX11" fmla="*/ 292894 w 1378744"/>
                <a:gd name="connsiteY11" fmla="*/ 376237 h 1138237"/>
                <a:gd name="connsiteX12" fmla="*/ 264319 w 1378744"/>
                <a:gd name="connsiteY12" fmla="*/ 373856 h 1138237"/>
                <a:gd name="connsiteX13" fmla="*/ 240507 w 1378744"/>
                <a:gd name="connsiteY13" fmla="*/ 359568 h 1138237"/>
                <a:gd name="connsiteX14" fmla="*/ 226219 w 1378744"/>
                <a:gd name="connsiteY14" fmla="*/ 338137 h 1138237"/>
                <a:gd name="connsiteX15" fmla="*/ 219075 w 1378744"/>
                <a:gd name="connsiteY15" fmla="*/ 311943 h 1138237"/>
                <a:gd name="connsiteX16" fmla="*/ 204788 w 1378744"/>
                <a:gd name="connsiteY16" fmla="*/ 309562 h 1138237"/>
                <a:gd name="connsiteX17" fmla="*/ 188119 w 1378744"/>
                <a:gd name="connsiteY17" fmla="*/ 304800 h 1138237"/>
                <a:gd name="connsiteX18" fmla="*/ 173832 w 1378744"/>
                <a:gd name="connsiteY18" fmla="*/ 302418 h 1138237"/>
                <a:gd name="connsiteX19" fmla="*/ 128588 w 1378744"/>
                <a:gd name="connsiteY19" fmla="*/ 352425 h 1138237"/>
                <a:gd name="connsiteX20" fmla="*/ 97632 w 1378744"/>
                <a:gd name="connsiteY20" fmla="*/ 371475 h 1138237"/>
                <a:gd name="connsiteX21" fmla="*/ 80963 w 1378744"/>
                <a:gd name="connsiteY21" fmla="*/ 390525 h 1138237"/>
                <a:gd name="connsiteX22" fmla="*/ 66675 w 1378744"/>
                <a:gd name="connsiteY22" fmla="*/ 435768 h 1138237"/>
                <a:gd name="connsiteX23" fmla="*/ 54769 w 1378744"/>
                <a:gd name="connsiteY23" fmla="*/ 447675 h 1138237"/>
                <a:gd name="connsiteX24" fmla="*/ 9525 w 1378744"/>
                <a:gd name="connsiteY24" fmla="*/ 466725 h 1138237"/>
                <a:gd name="connsiteX25" fmla="*/ 2382 w 1378744"/>
                <a:gd name="connsiteY25" fmla="*/ 481012 h 1138237"/>
                <a:gd name="connsiteX26" fmla="*/ 4763 w 1378744"/>
                <a:gd name="connsiteY26" fmla="*/ 533400 h 1138237"/>
                <a:gd name="connsiteX27" fmla="*/ 0 w 1378744"/>
                <a:gd name="connsiteY27" fmla="*/ 545306 h 1138237"/>
                <a:gd name="connsiteX28" fmla="*/ 73819 w 1378744"/>
                <a:gd name="connsiteY28" fmla="*/ 588168 h 1138237"/>
                <a:gd name="connsiteX29" fmla="*/ 90488 w 1378744"/>
                <a:gd name="connsiteY29" fmla="*/ 628650 h 1138237"/>
                <a:gd name="connsiteX30" fmla="*/ 83344 w 1378744"/>
                <a:gd name="connsiteY30" fmla="*/ 654843 h 1138237"/>
                <a:gd name="connsiteX31" fmla="*/ 73819 w 1378744"/>
                <a:gd name="connsiteY31" fmla="*/ 697706 h 1138237"/>
                <a:gd name="connsiteX32" fmla="*/ 78582 w 1378744"/>
                <a:gd name="connsiteY32" fmla="*/ 726281 h 1138237"/>
                <a:gd name="connsiteX33" fmla="*/ 95250 w 1378744"/>
                <a:gd name="connsiteY33" fmla="*/ 738187 h 1138237"/>
                <a:gd name="connsiteX34" fmla="*/ 116682 w 1378744"/>
                <a:gd name="connsiteY34" fmla="*/ 735806 h 1138237"/>
                <a:gd name="connsiteX35" fmla="*/ 123825 w 1378744"/>
                <a:gd name="connsiteY35" fmla="*/ 762000 h 1138237"/>
                <a:gd name="connsiteX36" fmla="*/ 126207 w 1378744"/>
                <a:gd name="connsiteY36" fmla="*/ 783431 h 1138237"/>
                <a:gd name="connsiteX37" fmla="*/ 152400 w 1378744"/>
                <a:gd name="connsiteY37" fmla="*/ 812006 h 1138237"/>
                <a:gd name="connsiteX38" fmla="*/ 164307 w 1378744"/>
                <a:gd name="connsiteY38" fmla="*/ 823912 h 1138237"/>
                <a:gd name="connsiteX39" fmla="*/ 173832 w 1378744"/>
                <a:gd name="connsiteY39" fmla="*/ 850106 h 1138237"/>
                <a:gd name="connsiteX40" fmla="*/ 169069 w 1378744"/>
                <a:gd name="connsiteY40" fmla="*/ 878681 h 1138237"/>
                <a:gd name="connsiteX41" fmla="*/ 176213 w 1378744"/>
                <a:gd name="connsiteY41" fmla="*/ 897731 h 1138237"/>
                <a:gd name="connsiteX42" fmla="*/ 200025 w 1378744"/>
                <a:gd name="connsiteY42" fmla="*/ 916781 h 1138237"/>
                <a:gd name="connsiteX43" fmla="*/ 226219 w 1378744"/>
                <a:gd name="connsiteY43" fmla="*/ 916781 h 1138237"/>
                <a:gd name="connsiteX44" fmla="*/ 300038 w 1378744"/>
                <a:gd name="connsiteY44" fmla="*/ 921543 h 1138237"/>
                <a:gd name="connsiteX45" fmla="*/ 395288 w 1378744"/>
                <a:gd name="connsiteY45" fmla="*/ 952500 h 1138237"/>
                <a:gd name="connsiteX46" fmla="*/ 414338 w 1378744"/>
                <a:gd name="connsiteY46" fmla="*/ 988218 h 1138237"/>
                <a:gd name="connsiteX47" fmla="*/ 435769 w 1378744"/>
                <a:gd name="connsiteY47" fmla="*/ 992981 h 1138237"/>
                <a:gd name="connsiteX48" fmla="*/ 464344 w 1378744"/>
                <a:gd name="connsiteY48" fmla="*/ 995362 h 1138237"/>
                <a:gd name="connsiteX49" fmla="*/ 507207 w 1378744"/>
                <a:gd name="connsiteY49" fmla="*/ 1026318 h 1138237"/>
                <a:gd name="connsiteX50" fmla="*/ 521494 w 1378744"/>
                <a:gd name="connsiteY50" fmla="*/ 1069181 h 1138237"/>
                <a:gd name="connsiteX51" fmla="*/ 545307 w 1378744"/>
                <a:gd name="connsiteY51" fmla="*/ 1107281 h 1138237"/>
                <a:gd name="connsiteX52" fmla="*/ 573882 w 1378744"/>
                <a:gd name="connsiteY52" fmla="*/ 1121568 h 1138237"/>
                <a:gd name="connsiteX53" fmla="*/ 585788 w 1378744"/>
                <a:gd name="connsiteY53" fmla="*/ 1131093 h 1138237"/>
                <a:gd name="connsiteX54" fmla="*/ 814388 w 1378744"/>
                <a:gd name="connsiteY54" fmla="*/ 1138237 h 1138237"/>
                <a:gd name="connsiteX55" fmla="*/ 828675 w 1378744"/>
                <a:gd name="connsiteY55" fmla="*/ 1109662 h 1138237"/>
                <a:gd name="connsiteX56" fmla="*/ 833438 w 1378744"/>
                <a:gd name="connsiteY56" fmla="*/ 1085850 h 1138237"/>
                <a:gd name="connsiteX57" fmla="*/ 797719 w 1378744"/>
                <a:gd name="connsiteY57" fmla="*/ 1059656 h 1138237"/>
                <a:gd name="connsiteX58" fmla="*/ 790575 w 1378744"/>
                <a:gd name="connsiteY58" fmla="*/ 1038225 h 1138237"/>
                <a:gd name="connsiteX59" fmla="*/ 790575 w 1378744"/>
                <a:gd name="connsiteY59" fmla="*/ 1021556 h 1138237"/>
                <a:gd name="connsiteX60" fmla="*/ 845344 w 1378744"/>
                <a:gd name="connsiteY60" fmla="*/ 952500 h 1138237"/>
                <a:gd name="connsiteX61" fmla="*/ 845344 w 1378744"/>
                <a:gd name="connsiteY61" fmla="*/ 952500 h 1138237"/>
                <a:gd name="connsiteX62" fmla="*/ 888207 w 1378744"/>
                <a:gd name="connsiteY62" fmla="*/ 966787 h 1138237"/>
                <a:gd name="connsiteX63" fmla="*/ 907257 w 1378744"/>
                <a:gd name="connsiteY63" fmla="*/ 981075 h 1138237"/>
                <a:gd name="connsiteX64" fmla="*/ 938213 w 1378744"/>
                <a:gd name="connsiteY64" fmla="*/ 990600 h 1138237"/>
                <a:gd name="connsiteX65" fmla="*/ 964407 w 1378744"/>
                <a:gd name="connsiteY65" fmla="*/ 985837 h 1138237"/>
                <a:gd name="connsiteX66" fmla="*/ 985838 w 1378744"/>
                <a:gd name="connsiteY66" fmla="*/ 985837 h 1138237"/>
                <a:gd name="connsiteX67" fmla="*/ 995363 w 1378744"/>
                <a:gd name="connsiteY67" fmla="*/ 995362 h 1138237"/>
                <a:gd name="connsiteX68" fmla="*/ 978694 w 1378744"/>
                <a:gd name="connsiteY68" fmla="*/ 1012031 h 1138237"/>
                <a:gd name="connsiteX69" fmla="*/ 969169 w 1378744"/>
                <a:gd name="connsiteY69" fmla="*/ 1031081 h 1138237"/>
                <a:gd name="connsiteX70" fmla="*/ 954882 w 1378744"/>
                <a:gd name="connsiteY70" fmla="*/ 1054893 h 1138237"/>
                <a:gd name="connsiteX71" fmla="*/ 950119 w 1378744"/>
                <a:gd name="connsiteY71" fmla="*/ 1083468 h 1138237"/>
                <a:gd name="connsiteX72" fmla="*/ 962025 w 1378744"/>
                <a:gd name="connsiteY72" fmla="*/ 1107281 h 1138237"/>
                <a:gd name="connsiteX73" fmla="*/ 983457 w 1378744"/>
                <a:gd name="connsiteY73" fmla="*/ 1131093 h 1138237"/>
                <a:gd name="connsiteX74" fmla="*/ 1002507 w 1378744"/>
                <a:gd name="connsiteY74" fmla="*/ 1133475 h 1138237"/>
                <a:gd name="connsiteX75" fmla="*/ 1028700 w 1378744"/>
                <a:gd name="connsiteY75" fmla="*/ 1126331 h 1138237"/>
                <a:gd name="connsiteX76" fmla="*/ 1031082 w 1378744"/>
                <a:gd name="connsiteY76" fmla="*/ 1097756 h 1138237"/>
                <a:gd name="connsiteX77" fmla="*/ 1057275 w 1378744"/>
                <a:gd name="connsiteY77" fmla="*/ 1085850 h 1138237"/>
                <a:gd name="connsiteX78" fmla="*/ 1076325 w 1378744"/>
                <a:gd name="connsiteY78" fmla="*/ 1097756 h 1138237"/>
                <a:gd name="connsiteX79" fmla="*/ 1100138 w 1378744"/>
                <a:gd name="connsiteY79" fmla="*/ 1107281 h 1138237"/>
                <a:gd name="connsiteX80" fmla="*/ 1123950 w 1378744"/>
                <a:gd name="connsiteY80" fmla="*/ 1121568 h 1138237"/>
                <a:gd name="connsiteX81" fmla="*/ 1143000 w 1378744"/>
                <a:gd name="connsiteY81" fmla="*/ 1123950 h 1138237"/>
                <a:gd name="connsiteX82" fmla="*/ 1157288 w 1378744"/>
                <a:gd name="connsiteY82" fmla="*/ 1112043 h 1138237"/>
                <a:gd name="connsiteX83" fmla="*/ 1159669 w 1378744"/>
                <a:gd name="connsiteY83" fmla="*/ 1085850 h 1138237"/>
                <a:gd name="connsiteX84" fmla="*/ 1166813 w 1378744"/>
                <a:gd name="connsiteY84" fmla="*/ 1052512 h 1138237"/>
                <a:gd name="connsiteX85" fmla="*/ 1197769 w 1378744"/>
                <a:gd name="connsiteY85" fmla="*/ 1016793 h 1138237"/>
                <a:gd name="connsiteX86" fmla="*/ 1195388 w 1378744"/>
                <a:gd name="connsiteY86" fmla="*/ 954881 h 1138237"/>
                <a:gd name="connsiteX87" fmla="*/ 1209675 w 1378744"/>
                <a:gd name="connsiteY87" fmla="*/ 945356 h 1138237"/>
                <a:gd name="connsiteX88" fmla="*/ 1235869 w 1378744"/>
                <a:gd name="connsiteY88" fmla="*/ 945356 h 1138237"/>
                <a:gd name="connsiteX89" fmla="*/ 1235869 w 1378744"/>
                <a:gd name="connsiteY89" fmla="*/ 931068 h 1138237"/>
                <a:gd name="connsiteX90" fmla="*/ 1212057 w 1378744"/>
                <a:gd name="connsiteY90" fmla="*/ 912018 h 1138237"/>
                <a:gd name="connsiteX91" fmla="*/ 1195388 w 1378744"/>
                <a:gd name="connsiteY91" fmla="*/ 881062 h 1138237"/>
                <a:gd name="connsiteX92" fmla="*/ 1157288 w 1378744"/>
                <a:gd name="connsiteY92" fmla="*/ 871537 h 1138237"/>
                <a:gd name="connsiteX93" fmla="*/ 1119188 w 1378744"/>
                <a:gd name="connsiteY93" fmla="*/ 859631 h 1138237"/>
                <a:gd name="connsiteX94" fmla="*/ 1119188 w 1378744"/>
                <a:gd name="connsiteY94" fmla="*/ 831056 h 1138237"/>
                <a:gd name="connsiteX95" fmla="*/ 1135857 w 1378744"/>
                <a:gd name="connsiteY95" fmla="*/ 807243 h 1138237"/>
                <a:gd name="connsiteX96" fmla="*/ 1197769 w 1378744"/>
                <a:gd name="connsiteY96" fmla="*/ 759618 h 1138237"/>
                <a:gd name="connsiteX97" fmla="*/ 1247775 w 1378744"/>
                <a:gd name="connsiteY97" fmla="*/ 762000 h 1138237"/>
                <a:gd name="connsiteX98" fmla="*/ 1278732 w 1378744"/>
                <a:gd name="connsiteY98" fmla="*/ 762000 h 1138237"/>
                <a:gd name="connsiteX99" fmla="*/ 1271588 w 1378744"/>
                <a:gd name="connsiteY99" fmla="*/ 735806 h 1138237"/>
                <a:gd name="connsiteX100" fmla="*/ 1378744 w 1378744"/>
                <a:gd name="connsiteY100" fmla="*/ 678656 h 1138237"/>
                <a:gd name="connsiteX101" fmla="*/ 1331119 w 1378744"/>
                <a:gd name="connsiteY101" fmla="*/ 552450 h 1138237"/>
                <a:gd name="connsiteX102" fmla="*/ 1278732 w 1378744"/>
                <a:gd name="connsiteY102" fmla="*/ 514350 h 1138237"/>
                <a:gd name="connsiteX103" fmla="*/ 1252538 w 1378744"/>
                <a:gd name="connsiteY103" fmla="*/ 431006 h 1138237"/>
                <a:gd name="connsiteX104" fmla="*/ 1181100 w 1378744"/>
                <a:gd name="connsiteY104" fmla="*/ 431006 h 1138237"/>
                <a:gd name="connsiteX105" fmla="*/ 1166813 w 1378744"/>
                <a:gd name="connsiteY105" fmla="*/ 395287 h 1138237"/>
                <a:gd name="connsiteX106" fmla="*/ 1107282 w 1378744"/>
                <a:gd name="connsiteY106" fmla="*/ 421481 h 1138237"/>
                <a:gd name="connsiteX107" fmla="*/ 1054894 w 1378744"/>
                <a:gd name="connsiteY107" fmla="*/ 414337 h 1138237"/>
                <a:gd name="connsiteX108" fmla="*/ 1028700 w 1378744"/>
                <a:gd name="connsiteY108" fmla="*/ 371475 h 1138237"/>
                <a:gd name="connsiteX109" fmla="*/ 1023938 w 1378744"/>
                <a:gd name="connsiteY109" fmla="*/ 288131 h 1138237"/>
                <a:gd name="connsiteX110" fmla="*/ 1012032 w 1378744"/>
                <a:gd name="connsiteY110" fmla="*/ 269081 h 1138237"/>
                <a:gd name="connsiteX111" fmla="*/ 1012032 w 1378744"/>
                <a:gd name="connsiteY111" fmla="*/ 211931 h 1138237"/>
                <a:gd name="connsiteX112" fmla="*/ 959644 w 1378744"/>
                <a:gd name="connsiteY112" fmla="*/ 190500 h 1138237"/>
                <a:gd name="connsiteX113" fmla="*/ 914400 w 1378744"/>
                <a:gd name="connsiteY113" fmla="*/ 111918 h 1138237"/>
                <a:gd name="connsiteX114" fmla="*/ 854869 w 1378744"/>
                <a:gd name="connsiteY114" fmla="*/ 76200 h 1138237"/>
                <a:gd name="connsiteX115" fmla="*/ 873919 w 1378744"/>
                <a:gd name="connsiteY115" fmla="*/ 16668 h 1138237"/>
                <a:gd name="connsiteX116" fmla="*/ 783432 w 1378744"/>
                <a:gd name="connsiteY116" fmla="*/ 0 h 1138237"/>
                <a:gd name="connsiteX0" fmla="*/ 783432 w 1378744"/>
                <a:gd name="connsiteY0" fmla="*/ 0 h 1138237"/>
                <a:gd name="connsiteX1" fmla="*/ 738188 w 1378744"/>
                <a:gd name="connsiteY1" fmla="*/ 26193 h 1138237"/>
                <a:gd name="connsiteX2" fmla="*/ 685800 w 1378744"/>
                <a:gd name="connsiteY2" fmla="*/ 28575 h 1138237"/>
                <a:gd name="connsiteX3" fmla="*/ 635794 w 1378744"/>
                <a:gd name="connsiteY3" fmla="*/ 73818 h 1138237"/>
                <a:gd name="connsiteX4" fmla="*/ 633413 w 1378744"/>
                <a:gd name="connsiteY4" fmla="*/ 114300 h 1138237"/>
                <a:gd name="connsiteX5" fmla="*/ 561975 w 1378744"/>
                <a:gd name="connsiteY5" fmla="*/ 190500 h 1138237"/>
                <a:gd name="connsiteX6" fmla="*/ 519113 w 1378744"/>
                <a:gd name="connsiteY6" fmla="*/ 214312 h 1138237"/>
                <a:gd name="connsiteX7" fmla="*/ 485775 w 1378744"/>
                <a:gd name="connsiteY7" fmla="*/ 252412 h 1138237"/>
                <a:gd name="connsiteX8" fmla="*/ 461963 w 1378744"/>
                <a:gd name="connsiteY8" fmla="*/ 273843 h 1138237"/>
                <a:gd name="connsiteX9" fmla="*/ 423863 w 1378744"/>
                <a:gd name="connsiteY9" fmla="*/ 333375 h 1138237"/>
                <a:gd name="connsiteX10" fmla="*/ 378619 w 1378744"/>
                <a:gd name="connsiteY10" fmla="*/ 357187 h 1138237"/>
                <a:gd name="connsiteX11" fmla="*/ 292894 w 1378744"/>
                <a:gd name="connsiteY11" fmla="*/ 376237 h 1138237"/>
                <a:gd name="connsiteX12" fmla="*/ 264319 w 1378744"/>
                <a:gd name="connsiteY12" fmla="*/ 373856 h 1138237"/>
                <a:gd name="connsiteX13" fmla="*/ 240507 w 1378744"/>
                <a:gd name="connsiteY13" fmla="*/ 359568 h 1138237"/>
                <a:gd name="connsiteX14" fmla="*/ 226219 w 1378744"/>
                <a:gd name="connsiteY14" fmla="*/ 338137 h 1138237"/>
                <a:gd name="connsiteX15" fmla="*/ 219075 w 1378744"/>
                <a:gd name="connsiteY15" fmla="*/ 311943 h 1138237"/>
                <a:gd name="connsiteX16" fmla="*/ 204788 w 1378744"/>
                <a:gd name="connsiteY16" fmla="*/ 309562 h 1138237"/>
                <a:gd name="connsiteX17" fmla="*/ 188119 w 1378744"/>
                <a:gd name="connsiteY17" fmla="*/ 304800 h 1138237"/>
                <a:gd name="connsiteX18" fmla="*/ 173832 w 1378744"/>
                <a:gd name="connsiteY18" fmla="*/ 302418 h 1138237"/>
                <a:gd name="connsiteX19" fmla="*/ 128588 w 1378744"/>
                <a:gd name="connsiteY19" fmla="*/ 352425 h 1138237"/>
                <a:gd name="connsiteX20" fmla="*/ 97632 w 1378744"/>
                <a:gd name="connsiteY20" fmla="*/ 371475 h 1138237"/>
                <a:gd name="connsiteX21" fmla="*/ 80963 w 1378744"/>
                <a:gd name="connsiteY21" fmla="*/ 390525 h 1138237"/>
                <a:gd name="connsiteX22" fmla="*/ 66675 w 1378744"/>
                <a:gd name="connsiteY22" fmla="*/ 435768 h 1138237"/>
                <a:gd name="connsiteX23" fmla="*/ 54769 w 1378744"/>
                <a:gd name="connsiteY23" fmla="*/ 447675 h 1138237"/>
                <a:gd name="connsiteX24" fmla="*/ 9525 w 1378744"/>
                <a:gd name="connsiteY24" fmla="*/ 466725 h 1138237"/>
                <a:gd name="connsiteX25" fmla="*/ 2382 w 1378744"/>
                <a:gd name="connsiteY25" fmla="*/ 481012 h 1138237"/>
                <a:gd name="connsiteX26" fmla="*/ 4763 w 1378744"/>
                <a:gd name="connsiteY26" fmla="*/ 533400 h 1138237"/>
                <a:gd name="connsiteX27" fmla="*/ 0 w 1378744"/>
                <a:gd name="connsiteY27" fmla="*/ 545306 h 1138237"/>
                <a:gd name="connsiteX28" fmla="*/ 73819 w 1378744"/>
                <a:gd name="connsiteY28" fmla="*/ 588168 h 1138237"/>
                <a:gd name="connsiteX29" fmla="*/ 90488 w 1378744"/>
                <a:gd name="connsiteY29" fmla="*/ 628650 h 1138237"/>
                <a:gd name="connsiteX30" fmla="*/ 83344 w 1378744"/>
                <a:gd name="connsiteY30" fmla="*/ 654843 h 1138237"/>
                <a:gd name="connsiteX31" fmla="*/ 73819 w 1378744"/>
                <a:gd name="connsiteY31" fmla="*/ 697706 h 1138237"/>
                <a:gd name="connsiteX32" fmla="*/ 78582 w 1378744"/>
                <a:gd name="connsiteY32" fmla="*/ 726281 h 1138237"/>
                <a:gd name="connsiteX33" fmla="*/ 95250 w 1378744"/>
                <a:gd name="connsiteY33" fmla="*/ 738187 h 1138237"/>
                <a:gd name="connsiteX34" fmla="*/ 116682 w 1378744"/>
                <a:gd name="connsiteY34" fmla="*/ 735806 h 1138237"/>
                <a:gd name="connsiteX35" fmla="*/ 123825 w 1378744"/>
                <a:gd name="connsiteY35" fmla="*/ 762000 h 1138237"/>
                <a:gd name="connsiteX36" fmla="*/ 126207 w 1378744"/>
                <a:gd name="connsiteY36" fmla="*/ 783431 h 1138237"/>
                <a:gd name="connsiteX37" fmla="*/ 152400 w 1378744"/>
                <a:gd name="connsiteY37" fmla="*/ 812006 h 1138237"/>
                <a:gd name="connsiteX38" fmla="*/ 164307 w 1378744"/>
                <a:gd name="connsiteY38" fmla="*/ 823912 h 1138237"/>
                <a:gd name="connsiteX39" fmla="*/ 173832 w 1378744"/>
                <a:gd name="connsiteY39" fmla="*/ 850106 h 1138237"/>
                <a:gd name="connsiteX40" fmla="*/ 169069 w 1378744"/>
                <a:gd name="connsiteY40" fmla="*/ 878681 h 1138237"/>
                <a:gd name="connsiteX41" fmla="*/ 176213 w 1378744"/>
                <a:gd name="connsiteY41" fmla="*/ 897731 h 1138237"/>
                <a:gd name="connsiteX42" fmla="*/ 200025 w 1378744"/>
                <a:gd name="connsiteY42" fmla="*/ 916781 h 1138237"/>
                <a:gd name="connsiteX43" fmla="*/ 226219 w 1378744"/>
                <a:gd name="connsiteY43" fmla="*/ 916781 h 1138237"/>
                <a:gd name="connsiteX44" fmla="*/ 300038 w 1378744"/>
                <a:gd name="connsiteY44" fmla="*/ 921543 h 1138237"/>
                <a:gd name="connsiteX45" fmla="*/ 395288 w 1378744"/>
                <a:gd name="connsiteY45" fmla="*/ 952500 h 1138237"/>
                <a:gd name="connsiteX46" fmla="*/ 414338 w 1378744"/>
                <a:gd name="connsiteY46" fmla="*/ 988218 h 1138237"/>
                <a:gd name="connsiteX47" fmla="*/ 435769 w 1378744"/>
                <a:gd name="connsiteY47" fmla="*/ 992981 h 1138237"/>
                <a:gd name="connsiteX48" fmla="*/ 464344 w 1378744"/>
                <a:gd name="connsiteY48" fmla="*/ 995362 h 1138237"/>
                <a:gd name="connsiteX49" fmla="*/ 507207 w 1378744"/>
                <a:gd name="connsiteY49" fmla="*/ 1026318 h 1138237"/>
                <a:gd name="connsiteX50" fmla="*/ 521494 w 1378744"/>
                <a:gd name="connsiteY50" fmla="*/ 1069181 h 1138237"/>
                <a:gd name="connsiteX51" fmla="*/ 545307 w 1378744"/>
                <a:gd name="connsiteY51" fmla="*/ 1107281 h 1138237"/>
                <a:gd name="connsiteX52" fmla="*/ 573882 w 1378744"/>
                <a:gd name="connsiteY52" fmla="*/ 1121568 h 1138237"/>
                <a:gd name="connsiteX53" fmla="*/ 585788 w 1378744"/>
                <a:gd name="connsiteY53" fmla="*/ 1131093 h 1138237"/>
                <a:gd name="connsiteX54" fmla="*/ 638175 w 1378744"/>
                <a:gd name="connsiteY54" fmla="*/ 1131093 h 1138237"/>
                <a:gd name="connsiteX55" fmla="*/ 814388 w 1378744"/>
                <a:gd name="connsiteY55" fmla="*/ 1138237 h 1138237"/>
                <a:gd name="connsiteX56" fmla="*/ 828675 w 1378744"/>
                <a:gd name="connsiteY56" fmla="*/ 1109662 h 1138237"/>
                <a:gd name="connsiteX57" fmla="*/ 833438 w 1378744"/>
                <a:gd name="connsiteY57" fmla="*/ 1085850 h 1138237"/>
                <a:gd name="connsiteX58" fmla="*/ 797719 w 1378744"/>
                <a:gd name="connsiteY58" fmla="*/ 1059656 h 1138237"/>
                <a:gd name="connsiteX59" fmla="*/ 790575 w 1378744"/>
                <a:gd name="connsiteY59" fmla="*/ 1038225 h 1138237"/>
                <a:gd name="connsiteX60" fmla="*/ 790575 w 1378744"/>
                <a:gd name="connsiteY60" fmla="*/ 1021556 h 1138237"/>
                <a:gd name="connsiteX61" fmla="*/ 845344 w 1378744"/>
                <a:gd name="connsiteY61" fmla="*/ 952500 h 1138237"/>
                <a:gd name="connsiteX62" fmla="*/ 845344 w 1378744"/>
                <a:gd name="connsiteY62" fmla="*/ 952500 h 1138237"/>
                <a:gd name="connsiteX63" fmla="*/ 888207 w 1378744"/>
                <a:gd name="connsiteY63" fmla="*/ 966787 h 1138237"/>
                <a:gd name="connsiteX64" fmla="*/ 907257 w 1378744"/>
                <a:gd name="connsiteY64" fmla="*/ 981075 h 1138237"/>
                <a:gd name="connsiteX65" fmla="*/ 938213 w 1378744"/>
                <a:gd name="connsiteY65" fmla="*/ 990600 h 1138237"/>
                <a:gd name="connsiteX66" fmla="*/ 964407 w 1378744"/>
                <a:gd name="connsiteY66" fmla="*/ 985837 h 1138237"/>
                <a:gd name="connsiteX67" fmla="*/ 985838 w 1378744"/>
                <a:gd name="connsiteY67" fmla="*/ 985837 h 1138237"/>
                <a:gd name="connsiteX68" fmla="*/ 995363 w 1378744"/>
                <a:gd name="connsiteY68" fmla="*/ 995362 h 1138237"/>
                <a:gd name="connsiteX69" fmla="*/ 978694 w 1378744"/>
                <a:gd name="connsiteY69" fmla="*/ 1012031 h 1138237"/>
                <a:gd name="connsiteX70" fmla="*/ 969169 w 1378744"/>
                <a:gd name="connsiteY70" fmla="*/ 1031081 h 1138237"/>
                <a:gd name="connsiteX71" fmla="*/ 954882 w 1378744"/>
                <a:gd name="connsiteY71" fmla="*/ 1054893 h 1138237"/>
                <a:gd name="connsiteX72" fmla="*/ 950119 w 1378744"/>
                <a:gd name="connsiteY72" fmla="*/ 1083468 h 1138237"/>
                <a:gd name="connsiteX73" fmla="*/ 962025 w 1378744"/>
                <a:gd name="connsiteY73" fmla="*/ 1107281 h 1138237"/>
                <a:gd name="connsiteX74" fmla="*/ 983457 w 1378744"/>
                <a:gd name="connsiteY74" fmla="*/ 1131093 h 1138237"/>
                <a:gd name="connsiteX75" fmla="*/ 1002507 w 1378744"/>
                <a:gd name="connsiteY75" fmla="*/ 1133475 h 1138237"/>
                <a:gd name="connsiteX76" fmla="*/ 1028700 w 1378744"/>
                <a:gd name="connsiteY76" fmla="*/ 1126331 h 1138237"/>
                <a:gd name="connsiteX77" fmla="*/ 1031082 w 1378744"/>
                <a:gd name="connsiteY77" fmla="*/ 1097756 h 1138237"/>
                <a:gd name="connsiteX78" fmla="*/ 1057275 w 1378744"/>
                <a:gd name="connsiteY78" fmla="*/ 1085850 h 1138237"/>
                <a:gd name="connsiteX79" fmla="*/ 1076325 w 1378744"/>
                <a:gd name="connsiteY79" fmla="*/ 1097756 h 1138237"/>
                <a:gd name="connsiteX80" fmla="*/ 1100138 w 1378744"/>
                <a:gd name="connsiteY80" fmla="*/ 1107281 h 1138237"/>
                <a:gd name="connsiteX81" fmla="*/ 1123950 w 1378744"/>
                <a:gd name="connsiteY81" fmla="*/ 1121568 h 1138237"/>
                <a:gd name="connsiteX82" fmla="*/ 1143000 w 1378744"/>
                <a:gd name="connsiteY82" fmla="*/ 1123950 h 1138237"/>
                <a:gd name="connsiteX83" fmla="*/ 1157288 w 1378744"/>
                <a:gd name="connsiteY83" fmla="*/ 1112043 h 1138237"/>
                <a:gd name="connsiteX84" fmla="*/ 1159669 w 1378744"/>
                <a:gd name="connsiteY84" fmla="*/ 1085850 h 1138237"/>
                <a:gd name="connsiteX85" fmla="*/ 1166813 w 1378744"/>
                <a:gd name="connsiteY85" fmla="*/ 1052512 h 1138237"/>
                <a:gd name="connsiteX86" fmla="*/ 1197769 w 1378744"/>
                <a:gd name="connsiteY86" fmla="*/ 1016793 h 1138237"/>
                <a:gd name="connsiteX87" fmla="*/ 1195388 w 1378744"/>
                <a:gd name="connsiteY87" fmla="*/ 954881 h 1138237"/>
                <a:gd name="connsiteX88" fmla="*/ 1209675 w 1378744"/>
                <a:gd name="connsiteY88" fmla="*/ 945356 h 1138237"/>
                <a:gd name="connsiteX89" fmla="*/ 1235869 w 1378744"/>
                <a:gd name="connsiteY89" fmla="*/ 945356 h 1138237"/>
                <a:gd name="connsiteX90" fmla="*/ 1235869 w 1378744"/>
                <a:gd name="connsiteY90" fmla="*/ 931068 h 1138237"/>
                <a:gd name="connsiteX91" fmla="*/ 1212057 w 1378744"/>
                <a:gd name="connsiteY91" fmla="*/ 912018 h 1138237"/>
                <a:gd name="connsiteX92" fmla="*/ 1195388 w 1378744"/>
                <a:gd name="connsiteY92" fmla="*/ 881062 h 1138237"/>
                <a:gd name="connsiteX93" fmla="*/ 1157288 w 1378744"/>
                <a:gd name="connsiteY93" fmla="*/ 871537 h 1138237"/>
                <a:gd name="connsiteX94" fmla="*/ 1119188 w 1378744"/>
                <a:gd name="connsiteY94" fmla="*/ 859631 h 1138237"/>
                <a:gd name="connsiteX95" fmla="*/ 1119188 w 1378744"/>
                <a:gd name="connsiteY95" fmla="*/ 831056 h 1138237"/>
                <a:gd name="connsiteX96" fmla="*/ 1135857 w 1378744"/>
                <a:gd name="connsiteY96" fmla="*/ 807243 h 1138237"/>
                <a:gd name="connsiteX97" fmla="*/ 1197769 w 1378744"/>
                <a:gd name="connsiteY97" fmla="*/ 759618 h 1138237"/>
                <a:gd name="connsiteX98" fmla="*/ 1247775 w 1378744"/>
                <a:gd name="connsiteY98" fmla="*/ 762000 h 1138237"/>
                <a:gd name="connsiteX99" fmla="*/ 1278732 w 1378744"/>
                <a:gd name="connsiteY99" fmla="*/ 762000 h 1138237"/>
                <a:gd name="connsiteX100" fmla="*/ 1271588 w 1378744"/>
                <a:gd name="connsiteY100" fmla="*/ 735806 h 1138237"/>
                <a:gd name="connsiteX101" fmla="*/ 1378744 w 1378744"/>
                <a:gd name="connsiteY101" fmla="*/ 678656 h 1138237"/>
                <a:gd name="connsiteX102" fmla="*/ 1331119 w 1378744"/>
                <a:gd name="connsiteY102" fmla="*/ 552450 h 1138237"/>
                <a:gd name="connsiteX103" fmla="*/ 1278732 w 1378744"/>
                <a:gd name="connsiteY103" fmla="*/ 514350 h 1138237"/>
                <a:gd name="connsiteX104" fmla="*/ 1252538 w 1378744"/>
                <a:gd name="connsiteY104" fmla="*/ 431006 h 1138237"/>
                <a:gd name="connsiteX105" fmla="*/ 1181100 w 1378744"/>
                <a:gd name="connsiteY105" fmla="*/ 431006 h 1138237"/>
                <a:gd name="connsiteX106" fmla="*/ 1166813 w 1378744"/>
                <a:gd name="connsiteY106" fmla="*/ 395287 h 1138237"/>
                <a:gd name="connsiteX107" fmla="*/ 1107282 w 1378744"/>
                <a:gd name="connsiteY107" fmla="*/ 421481 h 1138237"/>
                <a:gd name="connsiteX108" fmla="*/ 1054894 w 1378744"/>
                <a:gd name="connsiteY108" fmla="*/ 414337 h 1138237"/>
                <a:gd name="connsiteX109" fmla="*/ 1028700 w 1378744"/>
                <a:gd name="connsiteY109" fmla="*/ 371475 h 1138237"/>
                <a:gd name="connsiteX110" fmla="*/ 1023938 w 1378744"/>
                <a:gd name="connsiteY110" fmla="*/ 288131 h 1138237"/>
                <a:gd name="connsiteX111" fmla="*/ 1012032 w 1378744"/>
                <a:gd name="connsiteY111" fmla="*/ 269081 h 1138237"/>
                <a:gd name="connsiteX112" fmla="*/ 1012032 w 1378744"/>
                <a:gd name="connsiteY112" fmla="*/ 211931 h 1138237"/>
                <a:gd name="connsiteX113" fmla="*/ 959644 w 1378744"/>
                <a:gd name="connsiteY113" fmla="*/ 190500 h 1138237"/>
                <a:gd name="connsiteX114" fmla="*/ 914400 w 1378744"/>
                <a:gd name="connsiteY114" fmla="*/ 111918 h 1138237"/>
                <a:gd name="connsiteX115" fmla="*/ 854869 w 1378744"/>
                <a:gd name="connsiteY115" fmla="*/ 76200 h 1138237"/>
                <a:gd name="connsiteX116" fmla="*/ 873919 w 1378744"/>
                <a:gd name="connsiteY116" fmla="*/ 16668 h 1138237"/>
                <a:gd name="connsiteX117" fmla="*/ 783432 w 1378744"/>
                <a:gd name="connsiteY117" fmla="*/ 0 h 1138237"/>
                <a:gd name="connsiteX0" fmla="*/ 783432 w 1378744"/>
                <a:gd name="connsiteY0" fmla="*/ 0 h 1181100"/>
                <a:gd name="connsiteX1" fmla="*/ 738188 w 1378744"/>
                <a:gd name="connsiteY1" fmla="*/ 26193 h 1181100"/>
                <a:gd name="connsiteX2" fmla="*/ 685800 w 1378744"/>
                <a:gd name="connsiteY2" fmla="*/ 28575 h 1181100"/>
                <a:gd name="connsiteX3" fmla="*/ 635794 w 1378744"/>
                <a:gd name="connsiteY3" fmla="*/ 73818 h 1181100"/>
                <a:gd name="connsiteX4" fmla="*/ 633413 w 1378744"/>
                <a:gd name="connsiteY4" fmla="*/ 114300 h 1181100"/>
                <a:gd name="connsiteX5" fmla="*/ 561975 w 1378744"/>
                <a:gd name="connsiteY5" fmla="*/ 190500 h 1181100"/>
                <a:gd name="connsiteX6" fmla="*/ 519113 w 1378744"/>
                <a:gd name="connsiteY6" fmla="*/ 214312 h 1181100"/>
                <a:gd name="connsiteX7" fmla="*/ 485775 w 1378744"/>
                <a:gd name="connsiteY7" fmla="*/ 252412 h 1181100"/>
                <a:gd name="connsiteX8" fmla="*/ 461963 w 1378744"/>
                <a:gd name="connsiteY8" fmla="*/ 273843 h 1181100"/>
                <a:gd name="connsiteX9" fmla="*/ 423863 w 1378744"/>
                <a:gd name="connsiteY9" fmla="*/ 333375 h 1181100"/>
                <a:gd name="connsiteX10" fmla="*/ 378619 w 1378744"/>
                <a:gd name="connsiteY10" fmla="*/ 357187 h 1181100"/>
                <a:gd name="connsiteX11" fmla="*/ 292894 w 1378744"/>
                <a:gd name="connsiteY11" fmla="*/ 376237 h 1181100"/>
                <a:gd name="connsiteX12" fmla="*/ 264319 w 1378744"/>
                <a:gd name="connsiteY12" fmla="*/ 373856 h 1181100"/>
                <a:gd name="connsiteX13" fmla="*/ 240507 w 1378744"/>
                <a:gd name="connsiteY13" fmla="*/ 359568 h 1181100"/>
                <a:gd name="connsiteX14" fmla="*/ 226219 w 1378744"/>
                <a:gd name="connsiteY14" fmla="*/ 338137 h 1181100"/>
                <a:gd name="connsiteX15" fmla="*/ 219075 w 1378744"/>
                <a:gd name="connsiteY15" fmla="*/ 311943 h 1181100"/>
                <a:gd name="connsiteX16" fmla="*/ 204788 w 1378744"/>
                <a:gd name="connsiteY16" fmla="*/ 309562 h 1181100"/>
                <a:gd name="connsiteX17" fmla="*/ 188119 w 1378744"/>
                <a:gd name="connsiteY17" fmla="*/ 304800 h 1181100"/>
                <a:gd name="connsiteX18" fmla="*/ 173832 w 1378744"/>
                <a:gd name="connsiteY18" fmla="*/ 302418 h 1181100"/>
                <a:gd name="connsiteX19" fmla="*/ 128588 w 1378744"/>
                <a:gd name="connsiteY19" fmla="*/ 352425 h 1181100"/>
                <a:gd name="connsiteX20" fmla="*/ 97632 w 1378744"/>
                <a:gd name="connsiteY20" fmla="*/ 371475 h 1181100"/>
                <a:gd name="connsiteX21" fmla="*/ 80963 w 1378744"/>
                <a:gd name="connsiteY21" fmla="*/ 390525 h 1181100"/>
                <a:gd name="connsiteX22" fmla="*/ 66675 w 1378744"/>
                <a:gd name="connsiteY22" fmla="*/ 435768 h 1181100"/>
                <a:gd name="connsiteX23" fmla="*/ 54769 w 1378744"/>
                <a:gd name="connsiteY23" fmla="*/ 447675 h 1181100"/>
                <a:gd name="connsiteX24" fmla="*/ 9525 w 1378744"/>
                <a:gd name="connsiteY24" fmla="*/ 466725 h 1181100"/>
                <a:gd name="connsiteX25" fmla="*/ 2382 w 1378744"/>
                <a:gd name="connsiteY25" fmla="*/ 481012 h 1181100"/>
                <a:gd name="connsiteX26" fmla="*/ 4763 w 1378744"/>
                <a:gd name="connsiteY26" fmla="*/ 533400 h 1181100"/>
                <a:gd name="connsiteX27" fmla="*/ 0 w 1378744"/>
                <a:gd name="connsiteY27" fmla="*/ 545306 h 1181100"/>
                <a:gd name="connsiteX28" fmla="*/ 73819 w 1378744"/>
                <a:gd name="connsiteY28" fmla="*/ 588168 h 1181100"/>
                <a:gd name="connsiteX29" fmla="*/ 90488 w 1378744"/>
                <a:gd name="connsiteY29" fmla="*/ 628650 h 1181100"/>
                <a:gd name="connsiteX30" fmla="*/ 83344 w 1378744"/>
                <a:gd name="connsiteY30" fmla="*/ 654843 h 1181100"/>
                <a:gd name="connsiteX31" fmla="*/ 73819 w 1378744"/>
                <a:gd name="connsiteY31" fmla="*/ 697706 h 1181100"/>
                <a:gd name="connsiteX32" fmla="*/ 78582 w 1378744"/>
                <a:gd name="connsiteY32" fmla="*/ 726281 h 1181100"/>
                <a:gd name="connsiteX33" fmla="*/ 95250 w 1378744"/>
                <a:gd name="connsiteY33" fmla="*/ 738187 h 1181100"/>
                <a:gd name="connsiteX34" fmla="*/ 116682 w 1378744"/>
                <a:gd name="connsiteY34" fmla="*/ 735806 h 1181100"/>
                <a:gd name="connsiteX35" fmla="*/ 123825 w 1378744"/>
                <a:gd name="connsiteY35" fmla="*/ 762000 h 1181100"/>
                <a:gd name="connsiteX36" fmla="*/ 126207 w 1378744"/>
                <a:gd name="connsiteY36" fmla="*/ 783431 h 1181100"/>
                <a:gd name="connsiteX37" fmla="*/ 152400 w 1378744"/>
                <a:gd name="connsiteY37" fmla="*/ 812006 h 1181100"/>
                <a:gd name="connsiteX38" fmla="*/ 164307 w 1378744"/>
                <a:gd name="connsiteY38" fmla="*/ 823912 h 1181100"/>
                <a:gd name="connsiteX39" fmla="*/ 173832 w 1378744"/>
                <a:gd name="connsiteY39" fmla="*/ 850106 h 1181100"/>
                <a:gd name="connsiteX40" fmla="*/ 169069 w 1378744"/>
                <a:gd name="connsiteY40" fmla="*/ 878681 h 1181100"/>
                <a:gd name="connsiteX41" fmla="*/ 176213 w 1378744"/>
                <a:gd name="connsiteY41" fmla="*/ 897731 h 1181100"/>
                <a:gd name="connsiteX42" fmla="*/ 200025 w 1378744"/>
                <a:gd name="connsiteY42" fmla="*/ 916781 h 1181100"/>
                <a:gd name="connsiteX43" fmla="*/ 226219 w 1378744"/>
                <a:gd name="connsiteY43" fmla="*/ 916781 h 1181100"/>
                <a:gd name="connsiteX44" fmla="*/ 300038 w 1378744"/>
                <a:gd name="connsiteY44" fmla="*/ 921543 h 1181100"/>
                <a:gd name="connsiteX45" fmla="*/ 395288 w 1378744"/>
                <a:gd name="connsiteY45" fmla="*/ 952500 h 1181100"/>
                <a:gd name="connsiteX46" fmla="*/ 414338 w 1378744"/>
                <a:gd name="connsiteY46" fmla="*/ 988218 h 1181100"/>
                <a:gd name="connsiteX47" fmla="*/ 435769 w 1378744"/>
                <a:gd name="connsiteY47" fmla="*/ 992981 h 1181100"/>
                <a:gd name="connsiteX48" fmla="*/ 464344 w 1378744"/>
                <a:gd name="connsiteY48" fmla="*/ 995362 h 1181100"/>
                <a:gd name="connsiteX49" fmla="*/ 507207 w 1378744"/>
                <a:gd name="connsiteY49" fmla="*/ 1026318 h 1181100"/>
                <a:gd name="connsiteX50" fmla="*/ 521494 w 1378744"/>
                <a:gd name="connsiteY50" fmla="*/ 1069181 h 1181100"/>
                <a:gd name="connsiteX51" fmla="*/ 545307 w 1378744"/>
                <a:gd name="connsiteY51" fmla="*/ 1107281 h 1181100"/>
                <a:gd name="connsiteX52" fmla="*/ 573882 w 1378744"/>
                <a:gd name="connsiteY52" fmla="*/ 1121568 h 1181100"/>
                <a:gd name="connsiteX53" fmla="*/ 585788 w 1378744"/>
                <a:gd name="connsiteY53" fmla="*/ 1131093 h 1181100"/>
                <a:gd name="connsiteX54" fmla="*/ 597694 w 1378744"/>
                <a:gd name="connsiteY54" fmla="*/ 1181100 h 1181100"/>
                <a:gd name="connsiteX55" fmla="*/ 814388 w 1378744"/>
                <a:gd name="connsiteY55" fmla="*/ 1138237 h 1181100"/>
                <a:gd name="connsiteX56" fmla="*/ 828675 w 1378744"/>
                <a:gd name="connsiteY56" fmla="*/ 1109662 h 1181100"/>
                <a:gd name="connsiteX57" fmla="*/ 833438 w 1378744"/>
                <a:gd name="connsiteY57" fmla="*/ 1085850 h 1181100"/>
                <a:gd name="connsiteX58" fmla="*/ 797719 w 1378744"/>
                <a:gd name="connsiteY58" fmla="*/ 1059656 h 1181100"/>
                <a:gd name="connsiteX59" fmla="*/ 790575 w 1378744"/>
                <a:gd name="connsiteY59" fmla="*/ 1038225 h 1181100"/>
                <a:gd name="connsiteX60" fmla="*/ 790575 w 1378744"/>
                <a:gd name="connsiteY60" fmla="*/ 1021556 h 1181100"/>
                <a:gd name="connsiteX61" fmla="*/ 845344 w 1378744"/>
                <a:gd name="connsiteY61" fmla="*/ 952500 h 1181100"/>
                <a:gd name="connsiteX62" fmla="*/ 845344 w 1378744"/>
                <a:gd name="connsiteY62" fmla="*/ 952500 h 1181100"/>
                <a:gd name="connsiteX63" fmla="*/ 888207 w 1378744"/>
                <a:gd name="connsiteY63" fmla="*/ 966787 h 1181100"/>
                <a:gd name="connsiteX64" fmla="*/ 907257 w 1378744"/>
                <a:gd name="connsiteY64" fmla="*/ 981075 h 1181100"/>
                <a:gd name="connsiteX65" fmla="*/ 938213 w 1378744"/>
                <a:gd name="connsiteY65" fmla="*/ 990600 h 1181100"/>
                <a:gd name="connsiteX66" fmla="*/ 964407 w 1378744"/>
                <a:gd name="connsiteY66" fmla="*/ 985837 h 1181100"/>
                <a:gd name="connsiteX67" fmla="*/ 985838 w 1378744"/>
                <a:gd name="connsiteY67" fmla="*/ 985837 h 1181100"/>
                <a:gd name="connsiteX68" fmla="*/ 995363 w 1378744"/>
                <a:gd name="connsiteY68" fmla="*/ 995362 h 1181100"/>
                <a:gd name="connsiteX69" fmla="*/ 978694 w 1378744"/>
                <a:gd name="connsiteY69" fmla="*/ 1012031 h 1181100"/>
                <a:gd name="connsiteX70" fmla="*/ 969169 w 1378744"/>
                <a:gd name="connsiteY70" fmla="*/ 1031081 h 1181100"/>
                <a:gd name="connsiteX71" fmla="*/ 954882 w 1378744"/>
                <a:gd name="connsiteY71" fmla="*/ 1054893 h 1181100"/>
                <a:gd name="connsiteX72" fmla="*/ 950119 w 1378744"/>
                <a:gd name="connsiteY72" fmla="*/ 1083468 h 1181100"/>
                <a:gd name="connsiteX73" fmla="*/ 962025 w 1378744"/>
                <a:gd name="connsiteY73" fmla="*/ 1107281 h 1181100"/>
                <a:gd name="connsiteX74" fmla="*/ 983457 w 1378744"/>
                <a:gd name="connsiteY74" fmla="*/ 1131093 h 1181100"/>
                <a:gd name="connsiteX75" fmla="*/ 1002507 w 1378744"/>
                <a:gd name="connsiteY75" fmla="*/ 1133475 h 1181100"/>
                <a:gd name="connsiteX76" fmla="*/ 1028700 w 1378744"/>
                <a:gd name="connsiteY76" fmla="*/ 1126331 h 1181100"/>
                <a:gd name="connsiteX77" fmla="*/ 1031082 w 1378744"/>
                <a:gd name="connsiteY77" fmla="*/ 1097756 h 1181100"/>
                <a:gd name="connsiteX78" fmla="*/ 1057275 w 1378744"/>
                <a:gd name="connsiteY78" fmla="*/ 1085850 h 1181100"/>
                <a:gd name="connsiteX79" fmla="*/ 1076325 w 1378744"/>
                <a:gd name="connsiteY79" fmla="*/ 1097756 h 1181100"/>
                <a:gd name="connsiteX80" fmla="*/ 1100138 w 1378744"/>
                <a:gd name="connsiteY80" fmla="*/ 1107281 h 1181100"/>
                <a:gd name="connsiteX81" fmla="*/ 1123950 w 1378744"/>
                <a:gd name="connsiteY81" fmla="*/ 1121568 h 1181100"/>
                <a:gd name="connsiteX82" fmla="*/ 1143000 w 1378744"/>
                <a:gd name="connsiteY82" fmla="*/ 1123950 h 1181100"/>
                <a:gd name="connsiteX83" fmla="*/ 1157288 w 1378744"/>
                <a:gd name="connsiteY83" fmla="*/ 1112043 h 1181100"/>
                <a:gd name="connsiteX84" fmla="*/ 1159669 w 1378744"/>
                <a:gd name="connsiteY84" fmla="*/ 1085850 h 1181100"/>
                <a:gd name="connsiteX85" fmla="*/ 1166813 w 1378744"/>
                <a:gd name="connsiteY85" fmla="*/ 1052512 h 1181100"/>
                <a:gd name="connsiteX86" fmla="*/ 1197769 w 1378744"/>
                <a:gd name="connsiteY86" fmla="*/ 1016793 h 1181100"/>
                <a:gd name="connsiteX87" fmla="*/ 1195388 w 1378744"/>
                <a:gd name="connsiteY87" fmla="*/ 954881 h 1181100"/>
                <a:gd name="connsiteX88" fmla="*/ 1209675 w 1378744"/>
                <a:gd name="connsiteY88" fmla="*/ 945356 h 1181100"/>
                <a:gd name="connsiteX89" fmla="*/ 1235869 w 1378744"/>
                <a:gd name="connsiteY89" fmla="*/ 945356 h 1181100"/>
                <a:gd name="connsiteX90" fmla="*/ 1235869 w 1378744"/>
                <a:gd name="connsiteY90" fmla="*/ 931068 h 1181100"/>
                <a:gd name="connsiteX91" fmla="*/ 1212057 w 1378744"/>
                <a:gd name="connsiteY91" fmla="*/ 912018 h 1181100"/>
                <a:gd name="connsiteX92" fmla="*/ 1195388 w 1378744"/>
                <a:gd name="connsiteY92" fmla="*/ 881062 h 1181100"/>
                <a:gd name="connsiteX93" fmla="*/ 1157288 w 1378744"/>
                <a:gd name="connsiteY93" fmla="*/ 871537 h 1181100"/>
                <a:gd name="connsiteX94" fmla="*/ 1119188 w 1378744"/>
                <a:gd name="connsiteY94" fmla="*/ 859631 h 1181100"/>
                <a:gd name="connsiteX95" fmla="*/ 1119188 w 1378744"/>
                <a:gd name="connsiteY95" fmla="*/ 831056 h 1181100"/>
                <a:gd name="connsiteX96" fmla="*/ 1135857 w 1378744"/>
                <a:gd name="connsiteY96" fmla="*/ 807243 h 1181100"/>
                <a:gd name="connsiteX97" fmla="*/ 1197769 w 1378744"/>
                <a:gd name="connsiteY97" fmla="*/ 759618 h 1181100"/>
                <a:gd name="connsiteX98" fmla="*/ 1247775 w 1378744"/>
                <a:gd name="connsiteY98" fmla="*/ 762000 h 1181100"/>
                <a:gd name="connsiteX99" fmla="*/ 1278732 w 1378744"/>
                <a:gd name="connsiteY99" fmla="*/ 762000 h 1181100"/>
                <a:gd name="connsiteX100" fmla="*/ 1271588 w 1378744"/>
                <a:gd name="connsiteY100" fmla="*/ 735806 h 1181100"/>
                <a:gd name="connsiteX101" fmla="*/ 1378744 w 1378744"/>
                <a:gd name="connsiteY101" fmla="*/ 678656 h 1181100"/>
                <a:gd name="connsiteX102" fmla="*/ 1331119 w 1378744"/>
                <a:gd name="connsiteY102" fmla="*/ 552450 h 1181100"/>
                <a:gd name="connsiteX103" fmla="*/ 1278732 w 1378744"/>
                <a:gd name="connsiteY103" fmla="*/ 514350 h 1181100"/>
                <a:gd name="connsiteX104" fmla="*/ 1252538 w 1378744"/>
                <a:gd name="connsiteY104" fmla="*/ 431006 h 1181100"/>
                <a:gd name="connsiteX105" fmla="*/ 1181100 w 1378744"/>
                <a:gd name="connsiteY105" fmla="*/ 431006 h 1181100"/>
                <a:gd name="connsiteX106" fmla="*/ 1166813 w 1378744"/>
                <a:gd name="connsiteY106" fmla="*/ 395287 h 1181100"/>
                <a:gd name="connsiteX107" fmla="*/ 1107282 w 1378744"/>
                <a:gd name="connsiteY107" fmla="*/ 421481 h 1181100"/>
                <a:gd name="connsiteX108" fmla="*/ 1054894 w 1378744"/>
                <a:gd name="connsiteY108" fmla="*/ 414337 h 1181100"/>
                <a:gd name="connsiteX109" fmla="*/ 1028700 w 1378744"/>
                <a:gd name="connsiteY109" fmla="*/ 371475 h 1181100"/>
                <a:gd name="connsiteX110" fmla="*/ 1023938 w 1378744"/>
                <a:gd name="connsiteY110" fmla="*/ 288131 h 1181100"/>
                <a:gd name="connsiteX111" fmla="*/ 1012032 w 1378744"/>
                <a:gd name="connsiteY111" fmla="*/ 269081 h 1181100"/>
                <a:gd name="connsiteX112" fmla="*/ 1012032 w 1378744"/>
                <a:gd name="connsiteY112" fmla="*/ 211931 h 1181100"/>
                <a:gd name="connsiteX113" fmla="*/ 959644 w 1378744"/>
                <a:gd name="connsiteY113" fmla="*/ 190500 h 1181100"/>
                <a:gd name="connsiteX114" fmla="*/ 914400 w 1378744"/>
                <a:gd name="connsiteY114" fmla="*/ 111918 h 1181100"/>
                <a:gd name="connsiteX115" fmla="*/ 854869 w 1378744"/>
                <a:gd name="connsiteY115" fmla="*/ 76200 h 1181100"/>
                <a:gd name="connsiteX116" fmla="*/ 873919 w 1378744"/>
                <a:gd name="connsiteY116" fmla="*/ 16668 h 1181100"/>
                <a:gd name="connsiteX117" fmla="*/ 783432 w 1378744"/>
                <a:gd name="connsiteY117" fmla="*/ 0 h 1181100"/>
                <a:gd name="connsiteX0" fmla="*/ 783432 w 1378744"/>
                <a:gd name="connsiteY0" fmla="*/ 0 h 1181100"/>
                <a:gd name="connsiteX1" fmla="*/ 738188 w 1378744"/>
                <a:gd name="connsiteY1" fmla="*/ 26193 h 1181100"/>
                <a:gd name="connsiteX2" fmla="*/ 685800 w 1378744"/>
                <a:gd name="connsiteY2" fmla="*/ 28575 h 1181100"/>
                <a:gd name="connsiteX3" fmla="*/ 635794 w 1378744"/>
                <a:gd name="connsiteY3" fmla="*/ 73818 h 1181100"/>
                <a:gd name="connsiteX4" fmla="*/ 633413 w 1378744"/>
                <a:gd name="connsiteY4" fmla="*/ 114300 h 1181100"/>
                <a:gd name="connsiteX5" fmla="*/ 561975 w 1378744"/>
                <a:gd name="connsiteY5" fmla="*/ 190500 h 1181100"/>
                <a:gd name="connsiteX6" fmla="*/ 519113 w 1378744"/>
                <a:gd name="connsiteY6" fmla="*/ 214312 h 1181100"/>
                <a:gd name="connsiteX7" fmla="*/ 485775 w 1378744"/>
                <a:gd name="connsiteY7" fmla="*/ 252412 h 1181100"/>
                <a:gd name="connsiteX8" fmla="*/ 461963 w 1378744"/>
                <a:gd name="connsiteY8" fmla="*/ 273843 h 1181100"/>
                <a:gd name="connsiteX9" fmla="*/ 423863 w 1378744"/>
                <a:gd name="connsiteY9" fmla="*/ 333375 h 1181100"/>
                <a:gd name="connsiteX10" fmla="*/ 378619 w 1378744"/>
                <a:gd name="connsiteY10" fmla="*/ 357187 h 1181100"/>
                <a:gd name="connsiteX11" fmla="*/ 292894 w 1378744"/>
                <a:gd name="connsiteY11" fmla="*/ 376237 h 1181100"/>
                <a:gd name="connsiteX12" fmla="*/ 264319 w 1378744"/>
                <a:gd name="connsiteY12" fmla="*/ 373856 h 1181100"/>
                <a:gd name="connsiteX13" fmla="*/ 240507 w 1378744"/>
                <a:gd name="connsiteY13" fmla="*/ 359568 h 1181100"/>
                <a:gd name="connsiteX14" fmla="*/ 226219 w 1378744"/>
                <a:gd name="connsiteY14" fmla="*/ 338137 h 1181100"/>
                <a:gd name="connsiteX15" fmla="*/ 219075 w 1378744"/>
                <a:gd name="connsiteY15" fmla="*/ 311943 h 1181100"/>
                <a:gd name="connsiteX16" fmla="*/ 204788 w 1378744"/>
                <a:gd name="connsiteY16" fmla="*/ 309562 h 1181100"/>
                <a:gd name="connsiteX17" fmla="*/ 188119 w 1378744"/>
                <a:gd name="connsiteY17" fmla="*/ 304800 h 1181100"/>
                <a:gd name="connsiteX18" fmla="*/ 173832 w 1378744"/>
                <a:gd name="connsiteY18" fmla="*/ 302418 h 1181100"/>
                <a:gd name="connsiteX19" fmla="*/ 128588 w 1378744"/>
                <a:gd name="connsiteY19" fmla="*/ 352425 h 1181100"/>
                <a:gd name="connsiteX20" fmla="*/ 97632 w 1378744"/>
                <a:gd name="connsiteY20" fmla="*/ 371475 h 1181100"/>
                <a:gd name="connsiteX21" fmla="*/ 80963 w 1378744"/>
                <a:gd name="connsiteY21" fmla="*/ 390525 h 1181100"/>
                <a:gd name="connsiteX22" fmla="*/ 66675 w 1378744"/>
                <a:gd name="connsiteY22" fmla="*/ 435768 h 1181100"/>
                <a:gd name="connsiteX23" fmla="*/ 54769 w 1378744"/>
                <a:gd name="connsiteY23" fmla="*/ 447675 h 1181100"/>
                <a:gd name="connsiteX24" fmla="*/ 9525 w 1378744"/>
                <a:gd name="connsiteY24" fmla="*/ 466725 h 1181100"/>
                <a:gd name="connsiteX25" fmla="*/ 2382 w 1378744"/>
                <a:gd name="connsiteY25" fmla="*/ 481012 h 1181100"/>
                <a:gd name="connsiteX26" fmla="*/ 4763 w 1378744"/>
                <a:gd name="connsiteY26" fmla="*/ 533400 h 1181100"/>
                <a:gd name="connsiteX27" fmla="*/ 0 w 1378744"/>
                <a:gd name="connsiteY27" fmla="*/ 545306 h 1181100"/>
                <a:gd name="connsiteX28" fmla="*/ 73819 w 1378744"/>
                <a:gd name="connsiteY28" fmla="*/ 588168 h 1181100"/>
                <a:gd name="connsiteX29" fmla="*/ 90488 w 1378744"/>
                <a:gd name="connsiteY29" fmla="*/ 628650 h 1181100"/>
                <a:gd name="connsiteX30" fmla="*/ 83344 w 1378744"/>
                <a:gd name="connsiteY30" fmla="*/ 654843 h 1181100"/>
                <a:gd name="connsiteX31" fmla="*/ 73819 w 1378744"/>
                <a:gd name="connsiteY31" fmla="*/ 697706 h 1181100"/>
                <a:gd name="connsiteX32" fmla="*/ 78582 w 1378744"/>
                <a:gd name="connsiteY32" fmla="*/ 726281 h 1181100"/>
                <a:gd name="connsiteX33" fmla="*/ 95250 w 1378744"/>
                <a:gd name="connsiteY33" fmla="*/ 738187 h 1181100"/>
                <a:gd name="connsiteX34" fmla="*/ 116682 w 1378744"/>
                <a:gd name="connsiteY34" fmla="*/ 735806 h 1181100"/>
                <a:gd name="connsiteX35" fmla="*/ 123825 w 1378744"/>
                <a:gd name="connsiteY35" fmla="*/ 762000 h 1181100"/>
                <a:gd name="connsiteX36" fmla="*/ 126207 w 1378744"/>
                <a:gd name="connsiteY36" fmla="*/ 783431 h 1181100"/>
                <a:gd name="connsiteX37" fmla="*/ 152400 w 1378744"/>
                <a:gd name="connsiteY37" fmla="*/ 812006 h 1181100"/>
                <a:gd name="connsiteX38" fmla="*/ 164307 w 1378744"/>
                <a:gd name="connsiteY38" fmla="*/ 823912 h 1181100"/>
                <a:gd name="connsiteX39" fmla="*/ 173832 w 1378744"/>
                <a:gd name="connsiteY39" fmla="*/ 850106 h 1181100"/>
                <a:gd name="connsiteX40" fmla="*/ 169069 w 1378744"/>
                <a:gd name="connsiteY40" fmla="*/ 878681 h 1181100"/>
                <a:gd name="connsiteX41" fmla="*/ 176213 w 1378744"/>
                <a:gd name="connsiteY41" fmla="*/ 897731 h 1181100"/>
                <a:gd name="connsiteX42" fmla="*/ 200025 w 1378744"/>
                <a:gd name="connsiteY42" fmla="*/ 916781 h 1181100"/>
                <a:gd name="connsiteX43" fmla="*/ 226219 w 1378744"/>
                <a:gd name="connsiteY43" fmla="*/ 916781 h 1181100"/>
                <a:gd name="connsiteX44" fmla="*/ 300038 w 1378744"/>
                <a:gd name="connsiteY44" fmla="*/ 921543 h 1181100"/>
                <a:gd name="connsiteX45" fmla="*/ 395288 w 1378744"/>
                <a:gd name="connsiteY45" fmla="*/ 952500 h 1181100"/>
                <a:gd name="connsiteX46" fmla="*/ 414338 w 1378744"/>
                <a:gd name="connsiteY46" fmla="*/ 988218 h 1181100"/>
                <a:gd name="connsiteX47" fmla="*/ 435769 w 1378744"/>
                <a:gd name="connsiteY47" fmla="*/ 992981 h 1181100"/>
                <a:gd name="connsiteX48" fmla="*/ 464344 w 1378744"/>
                <a:gd name="connsiteY48" fmla="*/ 995362 h 1181100"/>
                <a:gd name="connsiteX49" fmla="*/ 507207 w 1378744"/>
                <a:gd name="connsiteY49" fmla="*/ 1026318 h 1181100"/>
                <a:gd name="connsiteX50" fmla="*/ 521494 w 1378744"/>
                <a:gd name="connsiteY50" fmla="*/ 1069181 h 1181100"/>
                <a:gd name="connsiteX51" fmla="*/ 545307 w 1378744"/>
                <a:gd name="connsiteY51" fmla="*/ 1107281 h 1181100"/>
                <a:gd name="connsiteX52" fmla="*/ 573882 w 1378744"/>
                <a:gd name="connsiteY52" fmla="*/ 1121568 h 1181100"/>
                <a:gd name="connsiteX53" fmla="*/ 585788 w 1378744"/>
                <a:gd name="connsiteY53" fmla="*/ 1131093 h 1181100"/>
                <a:gd name="connsiteX54" fmla="*/ 597694 w 1378744"/>
                <a:gd name="connsiteY54" fmla="*/ 1181100 h 1181100"/>
                <a:gd name="connsiteX55" fmla="*/ 626269 w 1378744"/>
                <a:gd name="connsiteY55" fmla="*/ 1171574 h 1181100"/>
                <a:gd name="connsiteX56" fmla="*/ 814388 w 1378744"/>
                <a:gd name="connsiteY56" fmla="*/ 1138237 h 1181100"/>
                <a:gd name="connsiteX57" fmla="*/ 828675 w 1378744"/>
                <a:gd name="connsiteY57" fmla="*/ 1109662 h 1181100"/>
                <a:gd name="connsiteX58" fmla="*/ 833438 w 1378744"/>
                <a:gd name="connsiteY58" fmla="*/ 1085850 h 1181100"/>
                <a:gd name="connsiteX59" fmla="*/ 797719 w 1378744"/>
                <a:gd name="connsiteY59" fmla="*/ 1059656 h 1181100"/>
                <a:gd name="connsiteX60" fmla="*/ 790575 w 1378744"/>
                <a:gd name="connsiteY60" fmla="*/ 1038225 h 1181100"/>
                <a:gd name="connsiteX61" fmla="*/ 790575 w 1378744"/>
                <a:gd name="connsiteY61" fmla="*/ 1021556 h 1181100"/>
                <a:gd name="connsiteX62" fmla="*/ 845344 w 1378744"/>
                <a:gd name="connsiteY62" fmla="*/ 952500 h 1181100"/>
                <a:gd name="connsiteX63" fmla="*/ 845344 w 1378744"/>
                <a:gd name="connsiteY63" fmla="*/ 952500 h 1181100"/>
                <a:gd name="connsiteX64" fmla="*/ 888207 w 1378744"/>
                <a:gd name="connsiteY64" fmla="*/ 966787 h 1181100"/>
                <a:gd name="connsiteX65" fmla="*/ 907257 w 1378744"/>
                <a:gd name="connsiteY65" fmla="*/ 981075 h 1181100"/>
                <a:gd name="connsiteX66" fmla="*/ 938213 w 1378744"/>
                <a:gd name="connsiteY66" fmla="*/ 990600 h 1181100"/>
                <a:gd name="connsiteX67" fmla="*/ 964407 w 1378744"/>
                <a:gd name="connsiteY67" fmla="*/ 985837 h 1181100"/>
                <a:gd name="connsiteX68" fmla="*/ 985838 w 1378744"/>
                <a:gd name="connsiteY68" fmla="*/ 985837 h 1181100"/>
                <a:gd name="connsiteX69" fmla="*/ 995363 w 1378744"/>
                <a:gd name="connsiteY69" fmla="*/ 995362 h 1181100"/>
                <a:gd name="connsiteX70" fmla="*/ 978694 w 1378744"/>
                <a:gd name="connsiteY70" fmla="*/ 1012031 h 1181100"/>
                <a:gd name="connsiteX71" fmla="*/ 969169 w 1378744"/>
                <a:gd name="connsiteY71" fmla="*/ 1031081 h 1181100"/>
                <a:gd name="connsiteX72" fmla="*/ 954882 w 1378744"/>
                <a:gd name="connsiteY72" fmla="*/ 1054893 h 1181100"/>
                <a:gd name="connsiteX73" fmla="*/ 950119 w 1378744"/>
                <a:gd name="connsiteY73" fmla="*/ 1083468 h 1181100"/>
                <a:gd name="connsiteX74" fmla="*/ 962025 w 1378744"/>
                <a:gd name="connsiteY74" fmla="*/ 1107281 h 1181100"/>
                <a:gd name="connsiteX75" fmla="*/ 983457 w 1378744"/>
                <a:gd name="connsiteY75" fmla="*/ 1131093 h 1181100"/>
                <a:gd name="connsiteX76" fmla="*/ 1002507 w 1378744"/>
                <a:gd name="connsiteY76" fmla="*/ 1133475 h 1181100"/>
                <a:gd name="connsiteX77" fmla="*/ 1028700 w 1378744"/>
                <a:gd name="connsiteY77" fmla="*/ 1126331 h 1181100"/>
                <a:gd name="connsiteX78" fmla="*/ 1031082 w 1378744"/>
                <a:gd name="connsiteY78" fmla="*/ 1097756 h 1181100"/>
                <a:gd name="connsiteX79" fmla="*/ 1057275 w 1378744"/>
                <a:gd name="connsiteY79" fmla="*/ 1085850 h 1181100"/>
                <a:gd name="connsiteX80" fmla="*/ 1076325 w 1378744"/>
                <a:gd name="connsiteY80" fmla="*/ 1097756 h 1181100"/>
                <a:gd name="connsiteX81" fmla="*/ 1100138 w 1378744"/>
                <a:gd name="connsiteY81" fmla="*/ 1107281 h 1181100"/>
                <a:gd name="connsiteX82" fmla="*/ 1123950 w 1378744"/>
                <a:gd name="connsiteY82" fmla="*/ 1121568 h 1181100"/>
                <a:gd name="connsiteX83" fmla="*/ 1143000 w 1378744"/>
                <a:gd name="connsiteY83" fmla="*/ 1123950 h 1181100"/>
                <a:gd name="connsiteX84" fmla="*/ 1157288 w 1378744"/>
                <a:gd name="connsiteY84" fmla="*/ 1112043 h 1181100"/>
                <a:gd name="connsiteX85" fmla="*/ 1159669 w 1378744"/>
                <a:gd name="connsiteY85" fmla="*/ 1085850 h 1181100"/>
                <a:gd name="connsiteX86" fmla="*/ 1166813 w 1378744"/>
                <a:gd name="connsiteY86" fmla="*/ 1052512 h 1181100"/>
                <a:gd name="connsiteX87" fmla="*/ 1197769 w 1378744"/>
                <a:gd name="connsiteY87" fmla="*/ 1016793 h 1181100"/>
                <a:gd name="connsiteX88" fmla="*/ 1195388 w 1378744"/>
                <a:gd name="connsiteY88" fmla="*/ 954881 h 1181100"/>
                <a:gd name="connsiteX89" fmla="*/ 1209675 w 1378744"/>
                <a:gd name="connsiteY89" fmla="*/ 945356 h 1181100"/>
                <a:gd name="connsiteX90" fmla="*/ 1235869 w 1378744"/>
                <a:gd name="connsiteY90" fmla="*/ 945356 h 1181100"/>
                <a:gd name="connsiteX91" fmla="*/ 1235869 w 1378744"/>
                <a:gd name="connsiteY91" fmla="*/ 931068 h 1181100"/>
                <a:gd name="connsiteX92" fmla="*/ 1212057 w 1378744"/>
                <a:gd name="connsiteY92" fmla="*/ 912018 h 1181100"/>
                <a:gd name="connsiteX93" fmla="*/ 1195388 w 1378744"/>
                <a:gd name="connsiteY93" fmla="*/ 881062 h 1181100"/>
                <a:gd name="connsiteX94" fmla="*/ 1157288 w 1378744"/>
                <a:gd name="connsiteY94" fmla="*/ 871537 h 1181100"/>
                <a:gd name="connsiteX95" fmla="*/ 1119188 w 1378744"/>
                <a:gd name="connsiteY95" fmla="*/ 859631 h 1181100"/>
                <a:gd name="connsiteX96" fmla="*/ 1119188 w 1378744"/>
                <a:gd name="connsiteY96" fmla="*/ 831056 h 1181100"/>
                <a:gd name="connsiteX97" fmla="*/ 1135857 w 1378744"/>
                <a:gd name="connsiteY97" fmla="*/ 807243 h 1181100"/>
                <a:gd name="connsiteX98" fmla="*/ 1197769 w 1378744"/>
                <a:gd name="connsiteY98" fmla="*/ 759618 h 1181100"/>
                <a:gd name="connsiteX99" fmla="*/ 1247775 w 1378744"/>
                <a:gd name="connsiteY99" fmla="*/ 762000 h 1181100"/>
                <a:gd name="connsiteX100" fmla="*/ 1278732 w 1378744"/>
                <a:gd name="connsiteY100" fmla="*/ 762000 h 1181100"/>
                <a:gd name="connsiteX101" fmla="*/ 1271588 w 1378744"/>
                <a:gd name="connsiteY101" fmla="*/ 735806 h 1181100"/>
                <a:gd name="connsiteX102" fmla="*/ 1378744 w 1378744"/>
                <a:gd name="connsiteY102" fmla="*/ 678656 h 1181100"/>
                <a:gd name="connsiteX103" fmla="*/ 1331119 w 1378744"/>
                <a:gd name="connsiteY103" fmla="*/ 552450 h 1181100"/>
                <a:gd name="connsiteX104" fmla="*/ 1278732 w 1378744"/>
                <a:gd name="connsiteY104" fmla="*/ 514350 h 1181100"/>
                <a:gd name="connsiteX105" fmla="*/ 1252538 w 1378744"/>
                <a:gd name="connsiteY105" fmla="*/ 431006 h 1181100"/>
                <a:gd name="connsiteX106" fmla="*/ 1181100 w 1378744"/>
                <a:gd name="connsiteY106" fmla="*/ 431006 h 1181100"/>
                <a:gd name="connsiteX107" fmla="*/ 1166813 w 1378744"/>
                <a:gd name="connsiteY107" fmla="*/ 395287 h 1181100"/>
                <a:gd name="connsiteX108" fmla="*/ 1107282 w 1378744"/>
                <a:gd name="connsiteY108" fmla="*/ 421481 h 1181100"/>
                <a:gd name="connsiteX109" fmla="*/ 1054894 w 1378744"/>
                <a:gd name="connsiteY109" fmla="*/ 414337 h 1181100"/>
                <a:gd name="connsiteX110" fmla="*/ 1028700 w 1378744"/>
                <a:gd name="connsiteY110" fmla="*/ 371475 h 1181100"/>
                <a:gd name="connsiteX111" fmla="*/ 1023938 w 1378744"/>
                <a:gd name="connsiteY111" fmla="*/ 288131 h 1181100"/>
                <a:gd name="connsiteX112" fmla="*/ 1012032 w 1378744"/>
                <a:gd name="connsiteY112" fmla="*/ 269081 h 1181100"/>
                <a:gd name="connsiteX113" fmla="*/ 1012032 w 1378744"/>
                <a:gd name="connsiteY113" fmla="*/ 211931 h 1181100"/>
                <a:gd name="connsiteX114" fmla="*/ 959644 w 1378744"/>
                <a:gd name="connsiteY114" fmla="*/ 190500 h 1181100"/>
                <a:gd name="connsiteX115" fmla="*/ 914400 w 1378744"/>
                <a:gd name="connsiteY115" fmla="*/ 111918 h 1181100"/>
                <a:gd name="connsiteX116" fmla="*/ 854869 w 1378744"/>
                <a:gd name="connsiteY116" fmla="*/ 76200 h 1181100"/>
                <a:gd name="connsiteX117" fmla="*/ 873919 w 1378744"/>
                <a:gd name="connsiteY117" fmla="*/ 16668 h 1181100"/>
                <a:gd name="connsiteX118" fmla="*/ 783432 w 1378744"/>
                <a:gd name="connsiteY118" fmla="*/ 0 h 1181100"/>
                <a:gd name="connsiteX0" fmla="*/ 783432 w 1378744"/>
                <a:gd name="connsiteY0" fmla="*/ 0 h 1250156"/>
                <a:gd name="connsiteX1" fmla="*/ 738188 w 1378744"/>
                <a:gd name="connsiteY1" fmla="*/ 26193 h 1250156"/>
                <a:gd name="connsiteX2" fmla="*/ 685800 w 1378744"/>
                <a:gd name="connsiteY2" fmla="*/ 28575 h 1250156"/>
                <a:gd name="connsiteX3" fmla="*/ 635794 w 1378744"/>
                <a:gd name="connsiteY3" fmla="*/ 73818 h 1250156"/>
                <a:gd name="connsiteX4" fmla="*/ 633413 w 1378744"/>
                <a:gd name="connsiteY4" fmla="*/ 114300 h 1250156"/>
                <a:gd name="connsiteX5" fmla="*/ 561975 w 1378744"/>
                <a:gd name="connsiteY5" fmla="*/ 190500 h 1250156"/>
                <a:gd name="connsiteX6" fmla="*/ 519113 w 1378744"/>
                <a:gd name="connsiteY6" fmla="*/ 214312 h 1250156"/>
                <a:gd name="connsiteX7" fmla="*/ 485775 w 1378744"/>
                <a:gd name="connsiteY7" fmla="*/ 252412 h 1250156"/>
                <a:gd name="connsiteX8" fmla="*/ 461963 w 1378744"/>
                <a:gd name="connsiteY8" fmla="*/ 273843 h 1250156"/>
                <a:gd name="connsiteX9" fmla="*/ 423863 w 1378744"/>
                <a:gd name="connsiteY9" fmla="*/ 333375 h 1250156"/>
                <a:gd name="connsiteX10" fmla="*/ 378619 w 1378744"/>
                <a:gd name="connsiteY10" fmla="*/ 357187 h 1250156"/>
                <a:gd name="connsiteX11" fmla="*/ 292894 w 1378744"/>
                <a:gd name="connsiteY11" fmla="*/ 376237 h 1250156"/>
                <a:gd name="connsiteX12" fmla="*/ 264319 w 1378744"/>
                <a:gd name="connsiteY12" fmla="*/ 373856 h 1250156"/>
                <a:gd name="connsiteX13" fmla="*/ 240507 w 1378744"/>
                <a:gd name="connsiteY13" fmla="*/ 359568 h 1250156"/>
                <a:gd name="connsiteX14" fmla="*/ 226219 w 1378744"/>
                <a:gd name="connsiteY14" fmla="*/ 338137 h 1250156"/>
                <a:gd name="connsiteX15" fmla="*/ 219075 w 1378744"/>
                <a:gd name="connsiteY15" fmla="*/ 311943 h 1250156"/>
                <a:gd name="connsiteX16" fmla="*/ 204788 w 1378744"/>
                <a:gd name="connsiteY16" fmla="*/ 309562 h 1250156"/>
                <a:gd name="connsiteX17" fmla="*/ 188119 w 1378744"/>
                <a:gd name="connsiteY17" fmla="*/ 304800 h 1250156"/>
                <a:gd name="connsiteX18" fmla="*/ 173832 w 1378744"/>
                <a:gd name="connsiteY18" fmla="*/ 302418 h 1250156"/>
                <a:gd name="connsiteX19" fmla="*/ 128588 w 1378744"/>
                <a:gd name="connsiteY19" fmla="*/ 352425 h 1250156"/>
                <a:gd name="connsiteX20" fmla="*/ 97632 w 1378744"/>
                <a:gd name="connsiteY20" fmla="*/ 371475 h 1250156"/>
                <a:gd name="connsiteX21" fmla="*/ 80963 w 1378744"/>
                <a:gd name="connsiteY21" fmla="*/ 390525 h 1250156"/>
                <a:gd name="connsiteX22" fmla="*/ 66675 w 1378744"/>
                <a:gd name="connsiteY22" fmla="*/ 435768 h 1250156"/>
                <a:gd name="connsiteX23" fmla="*/ 54769 w 1378744"/>
                <a:gd name="connsiteY23" fmla="*/ 447675 h 1250156"/>
                <a:gd name="connsiteX24" fmla="*/ 9525 w 1378744"/>
                <a:gd name="connsiteY24" fmla="*/ 466725 h 1250156"/>
                <a:gd name="connsiteX25" fmla="*/ 2382 w 1378744"/>
                <a:gd name="connsiteY25" fmla="*/ 481012 h 1250156"/>
                <a:gd name="connsiteX26" fmla="*/ 4763 w 1378744"/>
                <a:gd name="connsiteY26" fmla="*/ 533400 h 1250156"/>
                <a:gd name="connsiteX27" fmla="*/ 0 w 1378744"/>
                <a:gd name="connsiteY27" fmla="*/ 545306 h 1250156"/>
                <a:gd name="connsiteX28" fmla="*/ 73819 w 1378744"/>
                <a:gd name="connsiteY28" fmla="*/ 588168 h 1250156"/>
                <a:gd name="connsiteX29" fmla="*/ 90488 w 1378744"/>
                <a:gd name="connsiteY29" fmla="*/ 628650 h 1250156"/>
                <a:gd name="connsiteX30" fmla="*/ 83344 w 1378744"/>
                <a:gd name="connsiteY30" fmla="*/ 654843 h 1250156"/>
                <a:gd name="connsiteX31" fmla="*/ 73819 w 1378744"/>
                <a:gd name="connsiteY31" fmla="*/ 697706 h 1250156"/>
                <a:gd name="connsiteX32" fmla="*/ 78582 w 1378744"/>
                <a:gd name="connsiteY32" fmla="*/ 726281 h 1250156"/>
                <a:gd name="connsiteX33" fmla="*/ 95250 w 1378744"/>
                <a:gd name="connsiteY33" fmla="*/ 738187 h 1250156"/>
                <a:gd name="connsiteX34" fmla="*/ 116682 w 1378744"/>
                <a:gd name="connsiteY34" fmla="*/ 735806 h 1250156"/>
                <a:gd name="connsiteX35" fmla="*/ 123825 w 1378744"/>
                <a:gd name="connsiteY35" fmla="*/ 762000 h 1250156"/>
                <a:gd name="connsiteX36" fmla="*/ 126207 w 1378744"/>
                <a:gd name="connsiteY36" fmla="*/ 783431 h 1250156"/>
                <a:gd name="connsiteX37" fmla="*/ 152400 w 1378744"/>
                <a:gd name="connsiteY37" fmla="*/ 812006 h 1250156"/>
                <a:gd name="connsiteX38" fmla="*/ 164307 w 1378744"/>
                <a:gd name="connsiteY38" fmla="*/ 823912 h 1250156"/>
                <a:gd name="connsiteX39" fmla="*/ 173832 w 1378744"/>
                <a:gd name="connsiteY39" fmla="*/ 850106 h 1250156"/>
                <a:gd name="connsiteX40" fmla="*/ 169069 w 1378744"/>
                <a:gd name="connsiteY40" fmla="*/ 878681 h 1250156"/>
                <a:gd name="connsiteX41" fmla="*/ 176213 w 1378744"/>
                <a:gd name="connsiteY41" fmla="*/ 897731 h 1250156"/>
                <a:gd name="connsiteX42" fmla="*/ 200025 w 1378744"/>
                <a:gd name="connsiteY42" fmla="*/ 916781 h 1250156"/>
                <a:gd name="connsiteX43" fmla="*/ 226219 w 1378744"/>
                <a:gd name="connsiteY43" fmla="*/ 916781 h 1250156"/>
                <a:gd name="connsiteX44" fmla="*/ 300038 w 1378744"/>
                <a:gd name="connsiteY44" fmla="*/ 921543 h 1250156"/>
                <a:gd name="connsiteX45" fmla="*/ 395288 w 1378744"/>
                <a:gd name="connsiteY45" fmla="*/ 952500 h 1250156"/>
                <a:gd name="connsiteX46" fmla="*/ 414338 w 1378744"/>
                <a:gd name="connsiteY46" fmla="*/ 988218 h 1250156"/>
                <a:gd name="connsiteX47" fmla="*/ 435769 w 1378744"/>
                <a:gd name="connsiteY47" fmla="*/ 992981 h 1250156"/>
                <a:gd name="connsiteX48" fmla="*/ 464344 w 1378744"/>
                <a:gd name="connsiteY48" fmla="*/ 995362 h 1250156"/>
                <a:gd name="connsiteX49" fmla="*/ 507207 w 1378744"/>
                <a:gd name="connsiteY49" fmla="*/ 1026318 h 1250156"/>
                <a:gd name="connsiteX50" fmla="*/ 521494 w 1378744"/>
                <a:gd name="connsiteY50" fmla="*/ 1069181 h 1250156"/>
                <a:gd name="connsiteX51" fmla="*/ 545307 w 1378744"/>
                <a:gd name="connsiteY51" fmla="*/ 1107281 h 1250156"/>
                <a:gd name="connsiteX52" fmla="*/ 573882 w 1378744"/>
                <a:gd name="connsiteY52" fmla="*/ 1121568 h 1250156"/>
                <a:gd name="connsiteX53" fmla="*/ 585788 w 1378744"/>
                <a:gd name="connsiteY53" fmla="*/ 1131093 h 1250156"/>
                <a:gd name="connsiteX54" fmla="*/ 597694 w 1378744"/>
                <a:gd name="connsiteY54" fmla="*/ 1181100 h 1250156"/>
                <a:gd name="connsiteX55" fmla="*/ 633413 w 1378744"/>
                <a:gd name="connsiteY55" fmla="*/ 1250156 h 1250156"/>
                <a:gd name="connsiteX56" fmla="*/ 814388 w 1378744"/>
                <a:gd name="connsiteY56" fmla="*/ 1138237 h 1250156"/>
                <a:gd name="connsiteX57" fmla="*/ 828675 w 1378744"/>
                <a:gd name="connsiteY57" fmla="*/ 1109662 h 1250156"/>
                <a:gd name="connsiteX58" fmla="*/ 833438 w 1378744"/>
                <a:gd name="connsiteY58" fmla="*/ 1085850 h 1250156"/>
                <a:gd name="connsiteX59" fmla="*/ 797719 w 1378744"/>
                <a:gd name="connsiteY59" fmla="*/ 1059656 h 1250156"/>
                <a:gd name="connsiteX60" fmla="*/ 790575 w 1378744"/>
                <a:gd name="connsiteY60" fmla="*/ 1038225 h 1250156"/>
                <a:gd name="connsiteX61" fmla="*/ 790575 w 1378744"/>
                <a:gd name="connsiteY61" fmla="*/ 1021556 h 1250156"/>
                <a:gd name="connsiteX62" fmla="*/ 845344 w 1378744"/>
                <a:gd name="connsiteY62" fmla="*/ 952500 h 1250156"/>
                <a:gd name="connsiteX63" fmla="*/ 845344 w 1378744"/>
                <a:gd name="connsiteY63" fmla="*/ 952500 h 1250156"/>
                <a:gd name="connsiteX64" fmla="*/ 888207 w 1378744"/>
                <a:gd name="connsiteY64" fmla="*/ 966787 h 1250156"/>
                <a:gd name="connsiteX65" fmla="*/ 907257 w 1378744"/>
                <a:gd name="connsiteY65" fmla="*/ 981075 h 1250156"/>
                <a:gd name="connsiteX66" fmla="*/ 938213 w 1378744"/>
                <a:gd name="connsiteY66" fmla="*/ 990600 h 1250156"/>
                <a:gd name="connsiteX67" fmla="*/ 964407 w 1378744"/>
                <a:gd name="connsiteY67" fmla="*/ 985837 h 1250156"/>
                <a:gd name="connsiteX68" fmla="*/ 985838 w 1378744"/>
                <a:gd name="connsiteY68" fmla="*/ 985837 h 1250156"/>
                <a:gd name="connsiteX69" fmla="*/ 995363 w 1378744"/>
                <a:gd name="connsiteY69" fmla="*/ 995362 h 1250156"/>
                <a:gd name="connsiteX70" fmla="*/ 978694 w 1378744"/>
                <a:gd name="connsiteY70" fmla="*/ 1012031 h 1250156"/>
                <a:gd name="connsiteX71" fmla="*/ 969169 w 1378744"/>
                <a:gd name="connsiteY71" fmla="*/ 1031081 h 1250156"/>
                <a:gd name="connsiteX72" fmla="*/ 954882 w 1378744"/>
                <a:gd name="connsiteY72" fmla="*/ 1054893 h 1250156"/>
                <a:gd name="connsiteX73" fmla="*/ 950119 w 1378744"/>
                <a:gd name="connsiteY73" fmla="*/ 1083468 h 1250156"/>
                <a:gd name="connsiteX74" fmla="*/ 962025 w 1378744"/>
                <a:gd name="connsiteY74" fmla="*/ 1107281 h 1250156"/>
                <a:gd name="connsiteX75" fmla="*/ 983457 w 1378744"/>
                <a:gd name="connsiteY75" fmla="*/ 1131093 h 1250156"/>
                <a:gd name="connsiteX76" fmla="*/ 1002507 w 1378744"/>
                <a:gd name="connsiteY76" fmla="*/ 1133475 h 1250156"/>
                <a:gd name="connsiteX77" fmla="*/ 1028700 w 1378744"/>
                <a:gd name="connsiteY77" fmla="*/ 1126331 h 1250156"/>
                <a:gd name="connsiteX78" fmla="*/ 1031082 w 1378744"/>
                <a:gd name="connsiteY78" fmla="*/ 1097756 h 1250156"/>
                <a:gd name="connsiteX79" fmla="*/ 1057275 w 1378744"/>
                <a:gd name="connsiteY79" fmla="*/ 1085850 h 1250156"/>
                <a:gd name="connsiteX80" fmla="*/ 1076325 w 1378744"/>
                <a:gd name="connsiteY80" fmla="*/ 1097756 h 1250156"/>
                <a:gd name="connsiteX81" fmla="*/ 1100138 w 1378744"/>
                <a:gd name="connsiteY81" fmla="*/ 1107281 h 1250156"/>
                <a:gd name="connsiteX82" fmla="*/ 1123950 w 1378744"/>
                <a:gd name="connsiteY82" fmla="*/ 1121568 h 1250156"/>
                <a:gd name="connsiteX83" fmla="*/ 1143000 w 1378744"/>
                <a:gd name="connsiteY83" fmla="*/ 1123950 h 1250156"/>
                <a:gd name="connsiteX84" fmla="*/ 1157288 w 1378744"/>
                <a:gd name="connsiteY84" fmla="*/ 1112043 h 1250156"/>
                <a:gd name="connsiteX85" fmla="*/ 1159669 w 1378744"/>
                <a:gd name="connsiteY85" fmla="*/ 1085850 h 1250156"/>
                <a:gd name="connsiteX86" fmla="*/ 1166813 w 1378744"/>
                <a:gd name="connsiteY86" fmla="*/ 1052512 h 1250156"/>
                <a:gd name="connsiteX87" fmla="*/ 1197769 w 1378744"/>
                <a:gd name="connsiteY87" fmla="*/ 1016793 h 1250156"/>
                <a:gd name="connsiteX88" fmla="*/ 1195388 w 1378744"/>
                <a:gd name="connsiteY88" fmla="*/ 954881 h 1250156"/>
                <a:gd name="connsiteX89" fmla="*/ 1209675 w 1378744"/>
                <a:gd name="connsiteY89" fmla="*/ 945356 h 1250156"/>
                <a:gd name="connsiteX90" fmla="*/ 1235869 w 1378744"/>
                <a:gd name="connsiteY90" fmla="*/ 945356 h 1250156"/>
                <a:gd name="connsiteX91" fmla="*/ 1235869 w 1378744"/>
                <a:gd name="connsiteY91" fmla="*/ 931068 h 1250156"/>
                <a:gd name="connsiteX92" fmla="*/ 1212057 w 1378744"/>
                <a:gd name="connsiteY92" fmla="*/ 912018 h 1250156"/>
                <a:gd name="connsiteX93" fmla="*/ 1195388 w 1378744"/>
                <a:gd name="connsiteY93" fmla="*/ 881062 h 1250156"/>
                <a:gd name="connsiteX94" fmla="*/ 1157288 w 1378744"/>
                <a:gd name="connsiteY94" fmla="*/ 871537 h 1250156"/>
                <a:gd name="connsiteX95" fmla="*/ 1119188 w 1378744"/>
                <a:gd name="connsiteY95" fmla="*/ 859631 h 1250156"/>
                <a:gd name="connsiteX96" fmla="*/ 1119188 w 1378744"/>
                <a:gd name="connsiteY96" fmla="*/ 831056 h 1250156"/>
                <a:gd name="connsiteX97" fmla="*/ 1135857 w 1378744"/>
                <a:gd name="connsiteY97" fmla="*/ 807243 h 1250156"/>
                <a:gd name="connsiteX98" fmla="*/ 1197769 w 1378744"/>
                <a:gd name="connsiteY98" fmla="*/ 759618 h 1250156"/>
                <a:gd name="connsiteX99" fmla="*/ 1247775 w 1378744"/>
                <a:gd name="connsiteY99" fmla="*/ 762000 h 1250156"/>
                <a:gd name="connsiteX100" fmla="*/ 1278732 w 1378744"/>
                <a:gd name="connsiteY100" fmla="*/ 762000 h 1250156"/>
                <a:gd name="connsiteX101" fmla="*/ 1271588 w 1378744"/>
                <a:gd name="connsiteY101" fmla="*/ 735806 h 1250156"/>
                <a:gd name="connsiteX102" fmla="*/ 1378744 w 1378744"/>
                <a:gd name="connsiteY102" fmla="*/ 678656 h 1250156"/>
                <a:gd name="connsiteX103" fmla="*/ 1331119 w 1378744"/>
                <a:gd name="connsiteY103" fmla="*/ 552450 h 1250156"/>
                <a:gd name="connsiteX104" fmla="*/ 1278732 w 1378744"/>
                <a:gd name="connsiteY104" fmla="*/ 514350 h 1250156"/>
                <a:gd name="connsiteX105" fmla="*/ 1252538 w 1378744"/>
                <a:gd name="connsiteY105" fmla="*/ 431006 h 1250156"/>
                <a:gd name="connsiteX106" fmla="*/ 1181100 w 1378744"/>
                <a:gd name="connsiteY106" fmla="*/ 431006 h 1250156"/>
                <a:gd name="connsiteX107" fmla="*/ 1166813 w 1378744"/>
                <a:gd name="connsiteY107" fmla="*/ 395287 h 1250156"/>
                <a:gd name="connsiteX108" fmla="*/ 1107282 w 1378744"/>
                <a:gd name="connsiteY108" fmla="*/ 421481 h 1250156"/>
                <a:gd name="connsiteX109" fmla="*/ 1054894 w 1378744"/>
                <a:gd name="connsiteY109" fmla="*/ 414337 h 1250156"/>
                <a:gd name="connsiteX110" fmla="*/ 1028700 w 1378744"/>
                <a:gd name="connsiteY110" fmla="*/ 371475 h 1250156"/>
                <a:gd name="connsiteX111" fmla="*/ 1023938 w 1378744"/>
                <a:gd name="connsiteY111" fmla="*/ 288131 h 1250156"/>
                <a:gd name="connsiteX112" fmla="*/ 1012032 w 1378744"/>
                <a:gd name="connsiteY112" fmla="*/ 269081 h 1250156"/>
                <a:gd name="connsiteX113" fmla="*/ 1012032 w 1378744"/>
                <a:gd name="connsiteY113" fmla="*/ 211931 h 1250156"/>
                <a:gd name="connsiteX114" fmla="*/ 959644 w 1378744"/>
                <a:gd name="connsiteY114" fmla="*/ 190500 h 1250156"/>
                <a:gd name="connsiteX115" fmla="*/ 914400 w 1378744"/>
                <a:gd name="connsiteY115" fmla="*/ 111918 h 1250156"/>
                <a:gd name="connsiteX116" fmla="*/ 854869 w 1378744"/>
                <a:gd name="connsiteY116" fmla="*/ 76200 h 1250156"/>
                <a:gd name="connsiteX117" fmla="*/ 873919 w 1378744"/>
                <a:gd name="connsiteY117" fmla="*/ 16668 h 1250156"/>
                <a:gd name="connsiteX118" fmla="*/ 783432 w 1378744"/>
                <a:gd name="connsiteY118" fmla="*/ 0 h 1250156"/>
                <a:gd name="connsiteX0" fmla="*/ 783432 w 1378744"/>
                <a:gd name="connsiteY0" fmla="*/ 0 h 1250156"/>
                <a:gd name="connsiteX1" fmla="*/ 738188 w 1378744"/>
                <a:gd name="connsiteY1" fmla="*/ 26193 h 1250156"/>
                <a:gd name="connsiteX2" fmla="*/ 685800 w 1378744"/>
                <a:gd name="connsiteY2" fmla="*/ 28575 h 1250156"/>
                <a:gd name="connsiteX3" fmla="*/ 635794 w 1378744"/>
                <a:gd name="connsiteY3" fmla="*/ 73818 h 1250156"/>
                <a:gd name="connsiteX4" fmla="*/ 633413 w 1378744"/>
                <a:gd name="connsiteY4" fmla="*/ 114300 h 1250156"/>
                <a:gd name="connsiteX5" fmla="*/ 561975 w 1378744"/>
                <a:gd name="connsiteY5" fmla="*/ 190500 h 1250156"/>
                <a:gd name="connsiteX6" fmla="*/ 519113 w 1378744"/>
                <a:gd name="connsiteY6" fmla="*/ 214312 h 1250156"/>
                <a:gd name="connsiteX7" fmla="*/ 485775 w 1378744"/>
                <a:gd name="connsiteY7" fmla="*/ 252412 h 1250156"/>
                <a:gd name="connsiteX8" fmla="*/ 461963 w 1378744"/>
                <a:gd name="connsiteY8" fmla="*/ 273843 h 1250156"/>
                <a:gd name="connsiteX9" fmla="*/ 423863 w 1378744"/>
                <a:gd name="connsiteY9" fmla="*/ 333375 h 1250156"/>
                <a:gd name="connsiteX10" fmla="*/ 378619 w 1378744"/>
                <a:gd name="connsiteY10" fmla="*/ 357187 h 1250156"/>
                <a:gd name="connsiteX11" fmla="*/ 292894 w 1378744"/>
                <a:gd name="connsiteY11" fmla="*/ 376237 h 1250156"/>
                <a:gd name="connsiteX12" fmla="*/ 264319 w 1378744"/>
                <a:gd name="connsiteY12" fmla="*/ 373856 h 1250156"/>
                <a:gd name="connsiteX13" fmla="*/ 240507 w 1378744"/>
                <a:gd name="connsiteY13" fmla="*/ 359568 h 1250156"/>
                <a:gd name="connsiteX14" fmla="*/ 226219 w 1378744"/>
                <a:gd name="connsiteY14" fmla="*/ 338137 h 1250156"/>
                <a:gd name="connsiteX15" fmla="*/ 219075 w 1378744"/>
                <a:gd name="connsiteY15" fmla="*/ 311943 h 1250156"/>
                <a:gd name="connsiteX16" fmla="*/ 204788 w 1378744"/>
                <a:gd name="connsiteY16" fmla="*/ 309562 h 1250156"/>
                <a:gd name="connsiteX17" fmla="*/ 188119 w 1378744"/>
                <a:gd name="connsiteY17" fmla="*/ 304800 h 1250156"/>
                <a:gd name="connsiteX18" fmla="*/ 173832 w 1378744"/>
                <a:gd name="connsiteY18" fmla="*/ 302418 h 1250156"/>
                <a:gd name="connsiteX19" fmla="*/ 128588 w 1378744"/>
                <a:gd name="connsiteY19" fmla="*/ 352425 h 1250156"/>
                <a:gd name="connsiteX20" fmla="*/ 97632 w 1378744"/>
                <a:gd name="connsiteY20" fmla="*/ 371475 h 1250156"/>
                <a:gd name="connsiteX21" fmla="*/ 80963 w 1378744"/>
                <a:gd name="connsiteY21" fmla="*/ 390525 h 1250156"/>
                <a:gd name="connsiteX22" fmla="*/ 66675 w 1378744"/>
                <a:gd name="connsiteY22" fmla="*/ 435768 h 1250156"/>
                <a:gd name="connsiteX23" fmla="*/ 54769 w 1378744"/>
                <a:gd name="connsiteY23" fmla="*/ 447675 h 1250156"/>
                <a:gd name="connsiteX24" fmla="*/ 9525 w 1378744"/>
                <a:gd name="connsiteY24" fmla="*/ 466725 h 1250156"/>
                <a:gd name="connsiteX25" fmla="*/ 2382 w 1378744"/>
                <a:gd name="connsiteY25" fmla="*/ 481012 h 1250156"/>
                <a:gd name="connsiteX26" fmla="*/ 4763 w 1378744"/>
                <a:gd name="connsiteY26" fmla="*/ 533400 h 1250156"/>
                <a:gd name="connsiteX27" fmla="*/ 0 w 1378744"/>
                <a:gd name="connsiteY27" fmla="*/ 545306 h 1250156"/>
                <a:gd name="connsiteX28" fmla="*/ 73819 w 1378744"/>
                <a:gd name="connsiteY28" fmla="*/ 588168 h 1250156"/>
                <a:gd name="connsiteX29" fmla="*/ 90488 w 1378744"/>
                <a:gd name="connsiteY29" fmla="*/ 628650 h 1250156"/>
                <a:gd name="connsiteX30" fmla="*/ 83344 w 1378744"/>
                <a:gd name="connsiteY30" fmla="*/ 654843 h 1250156"/>
                <a:gd name="connsiteX31" fmla="*/ 73819 w 1378744"/>
                <a:gd name="connsiteY31" fmla="*/ 697706 h 1250156"/>
                <a:gd name="connsiteX32" fmla="*/ 78582 w 1378744"/>
                <a:gd name="connsiteY32" fmla="*/ 726281 h 1250156"/>
                <a:gd name="connsiteX33" fmla="*/ 95250 w 1378744"/>
                <a:gd name="connsiteY33" fmla="*/ 738187 h 1250156"/>
                <a:gd name="connsiteX34" fmla="*/ 116682 w 1378744"/>
                <a:gd name="connsiteY34" fmla="*/ 735806 h 1250156"/>
                <a:gd name="connsiteX35" fmla="*/ 123825 w 1378744"/>
                <a:gd name="connsiteY35" fmla="*/ 762000 h 1250156"/>
                <a:gd name="connsiteX36" fmla="*/ 126207 w 1378744"/>
                <a:gd name="connsiteY36" fmla="*/ 783431 h 1250156"/>
                <a:gd name="connsiteX37" fmla="*/ 152400 w 1378744"/>
                <a:gd name="connsiteY37" fmla="*/ 812006 h 1250156"/>
                <a:gd name="connsiteX38" fmla="*/ 164307 w 1378744"/>
                <a:gd name="connsiteY38" fmla="*/ 823912 h 1250156"/>
                <a:gd name="connsiteX39" fmla="*/ 173832 w 1378744"/>
                <a:gd name="connsiteY39" fmla="*/ 850106 h 1250156"/>
                <a:gd name="connsiteX40" fmla="*/ 169069 w 1378744"/>
                <a:gd name="connsiteY40" fmla="*/ 878681 h 1250156"/>
                <a:gd name="connsiteX41" fmla="*/ 176213 w 1378744"/>
                <a:gd name="connsiteY41" fmla="*/ 897731 h 1250156"/>
                <a:gd name="connsiteX42" fmla="*/ 200025 w 1378744"/>
                <a:gd name="connsiteY42" fmla="*/ 916781 h 1250156"/>
                <a:gd name="connsiteX43" fmla="*/ 226219 w 1378744"/>
                <a:gd name="connsiteY43" fmla="*/ 916781 h 1250156"/>
                <a:gd name="connsiteX44" fmla="*/ 300038 w 1378744"/>
                <a:gd name="connsiteY44" fmla="*/ 921543 h 1250156"/>
                <a:gd name="connsiteX45" fmla="*/ 395288 w 1378744"/>
                <a:gd name="connsiteY45" fmla="*/ 952500 h 1250156"/>
                <a:gd name="connsiteX46" fmla="*/ 414338 w 1378744"/>
                <a:gd name="connsiteY46" fmla="*/ 988218 h 1250156"/>
                <a:gd name="connsiteX47" fmla="*/ 435769 w 1378744"/>
                <a:gd name="connsiteY47" fmla="*/ 992981 h 1250156"/>
                <a:gd name="connsiteX48" fmla="*/ 464344 w 1378744"/>
                <a:gd name="connsiteY48" fmla="*/ 995362 h 1250156"/>
                <a:gd name="connsiteX49" fmla="*/ 507207 w 1378744"/>
                <a:gd name="connsiteY49" fmla="*/ 1026318 h 1250156"/>
                <a:gd name="connsiteX50" fmla="*/ 521494 w 1378744"/>
                <a:gd name="connsiteY50" fmla="*/ 1069181 h 1250156"/>
                <a:gd name="connsiteX51" fmla="*/ 545307 w 1378744"/>
                <a:gd name="connsiteY51" fmla="*/ 1107281 h 1250156"/>
                <a:gd name="connsiteX52" fmla="*/ 573882 w 1378744"/>
                <a:gd name="connsiteY52" fmla="*/ 1121568 h 1250156"/>
                <a:gd name="connsiteX53" fmla="*/ 585788 w 1378744"/>
                <a:gd name="connsiteY53" fmla="*/ 1131093 h 1250156"/>
                <a:gd name="connsiteX54" fmla="*/ 597694 w 1378744"/>
                <a:gd name="connsiteY54" fmla="*/ 1181100 h 1250156"/>
                <a:gd name="connsiteX55" fmla="*/ 633413 w 1378744"/>
                <a:gd name="connsiteY55" fmla="*/ 1250156 h 1250156"/>
                <a:gd name="connsiteX56" fmla="*/ 681038 w 1378744"/>
                <a:gd name="connsiteY56" fmla="*/ 1216817 h 1250156"/>
                <a:gd name="connsiteX57" fmla="*/ 814388 w 1378744"/>
                <a:gd name="connsiteY57" fmla="*/ 1138237 h 1250156"/>
                <a:gd name="connsiteX58" fmla="*/ 828675 w 1378744"/>
                <a:gd name="connsiteY58" fmla="*/ 1109662 h 1250156"/>
                <a:gd name="connsiteX59" fmla="*/ 833438 w 1378744"/>
                <a:gd name="connsiteY59" fmla="*/ 1085850 h 1250156"/>
                <a:gd name="connsiteX60" fmla="*/ 797719 w 1378744"/>
                <a:gd name="connsiteY60" fmla="*/ 1059656 h 1250156"/>
                <a:gd name="connsiteX61" fmla="*/ 790575 w 1378744"/>
                <a:gd name="connsiteY61" fmla="*/ 1038225 h 1250156"/>
                <a:gd name="connsiteX62" fmla="*/ 790575 w 1378744"/>
                <a:gd name="connsiteY62" fmla="*/ 1021556 h 1250156"/>
                <a:gd name="connsiteX63" fmla="*/ 845344 w 1378744"/>
                <a:gd name="connsiteY63" fmla="*/ 952500 h 1250156"/>
                <a:gd name="connsiteX64" fmla="*/ 845344 w 1378744"/>
                <a:gd name="connsiteY64" fmla="*/ 952500 h 1250156"/>
                <a:gd name="connsiteX65" fmla="*/ 888207 w 1378744"/>
                <a:gd name="connsiteY65" fmla="*/ 966787 h 1250156"/>
                <a:gd name="connsiteX66" fmla="*/ 907257 w 1378744"/>
                <a:gd name="connsiteY66" fmla="*/ 981075 h 1250156"/>
                <a:gd name="connsiteX67" fmla="*/ 938213 w 1378744"/>
                <a:gd name="connsiteY67" fmla="*/ 990600 h 1250156"/>
                <a:gd name="connsiteX68" fmla="*/ 964407 w 1378744"/>
                <a:gd name="connsiteY68" fmla="*/ 985837 h 1250156"/>
                <a:gd name="connsiteX69" fmla="*/ 985838 w 1378744"/>
                <a:gd name="connsiteY69" fmla="*/ 985837 h 1250156"/>
                <a:gd name="connsiteX70" fmla="*/ 995363 w 1378744"/>
                <a:gd name="connsiteY70" fmla="*/ 995362 h 1250156"/>
                <a:gd name="connsiteX71" fmla="*/ 978694 w 1378744"/>
                <a:gd name="connsiteY71" fmla="*/ 1012031 h 1250156"/>
                <a:gd name="connsiteX72" fmla="*/ 969169 w 1378744"/>
                <a:gd name="connsiteY72" fmla="*/ 1031081 h 1250156"/>
                <a:gd name="connsiteX73" fmla="*/ 954882 w 1378744"/>
                <a:gd name="connsiteY73" fmla="*/ 1054893 h 1250156"/>
                <a:gd name="connsiteX74" fmla="*/ 950119 w 1378744"/>
                <a:gd name="connsiteY74" fmla="*/ 1083468 h 1250156"/>
                <a:gd name="connsiteX75" fmla="*/ 962025 w 1378744"/>
                <a:gd name="connsiteY75" fmla="*/ 1107281 h 1250156"/>
                <a:gd name="connsiteX76" fmla="*/ 983457 w 1378744"/>
                <a:gd name="connsiteY76" fmla="*/ 1131093 h 1250156"/>
                <a:gd name="connsiteX77" fmla="*/ 1002507 w 1378744"/>
                <a:gd name="connsiteY77" fmla="*/ 1133475 h 1250156"/>
                <a:gd name="connsiteX78" fmla="*/ 1028700 w 1378744"/>
                <a:gd name="connsiteY78" fmla="*/ 1126331 h 1250156"/>
                <a:gd name="connsiteX79" fmla="*/ 1031082 w 1378744"/>
                <a:gd name="connsiteY79" fmla="*/ 1097756 h 1250156"/>
                <a:gd name="connsiteX80" fmla="*/ 1057275 w 1378744"/>
                <a:gd name="connsiteY80" fmla="*/ 1085850 h 1250156"/>
                <a:gd name="connsiteX81" fmla="*/ 1076325 w 1378744"/>
                <a:gd name="connsiteY81" fmla="*/ 1097756 h 1250156"/>
                <a:gd name="connsiteX82" fmla="*/ 1100138 w 1378744"/>
                <a:gd name="connsiteY82" fmla="*/ 1107281 h 1250156"/>
                <a:gd name="connsiteX83" fmla="*/ 1123950 w 1378744"/>
                <a:gd name="connsiteY83" fmla="*/ 1121568 h 1250156"/>
                <a:gd name="connsiteX84" fmla="*/ 1143000 w 1378744"/>
                <a:gd name="connsiteY84" fmla="*/ 1123950 h 1250156"/>
                <a:gd name="connsiteX85" fmla="*/ 1157288 w 1378744"/>
                <a:gd name="connsiteY85" fmla="*/ 1112043 h 1250156"/>
                <a:gd name="connsiteX86" fmla="*/ 1159669 w 1378744"/>
                <a:gd name="connsiteY86" fmla="*/ 1085850 h 1250156"/>
                <a:gd name="connsiteX87" fmla="*/ 1166813 w 1378744"/>
                <a:gd name="connsiteY87" fmla="*/ 1052512 h 1250156"/>
                <a:gd name="connsiteX88" fmla="*/ 1197769 w 1378744"/>
                <a:gd name="connsiteY88" fmla="*/ 1016793 h 1250156"/>
                <a:gd name="connsiteX89" fmla="*/ 1195388 w 1378744"/>
                <a:gd name="connsiteY89" fmla="*/ 954881 h 1250156"/>
                <a:gd name="connsiteX90" fmla="*/ 1209675 w 1378744"/>
                <a:gd name="connsiteY90" fmla="*/ 945356 h 1250156"/>
                <a:gd name="connsiteX91" fmla="*/ 1235869 w 1378744"/>
                <a:gd name="connsiteY91" fmla="*/ 945356 h 1250156"/>
                <a:gd name="connsiteX92" fmla="*/ 1235869 w 1378744"/>
                <a:gd name="connsiteY92" fmla="*/ 931068 h 1250156"/>
                <a:gd name="connsiteX93" fmla="*/ 1212057 w 1378744"/>
                <a:gd name="connsiteY93" fmla="*/ 912018 h 1250156"/>
                <a:gd name="connsiteX94" fmla="*/ 1195388 w 1378744"/>
                <a:gd name="connsiteY94" fmla="*/ 881062 h 1250156"/>
                <a:gd name="connsiteX95" fmla="*/ 1157288 w 1378744"/>
                <a:gd name="connsiteY95" fmla="*/ 871537 h 1250156"/>
                <a:gd name="connsiteX96" fmla="*/ 1119188 w 1378744"/>
                <a:gd name="connsiteY96" fmla="*/ 859631 h 1250156"/>
                <a:gd name="connsiteX97" fmla="*/ 1119188 w 1378744"/>
                <a:gd name="connsiteY97" fmla="*/ 831056 h 1250156"/>
                <a:gd name="connsiteX98" fmla="*/ 1135857 w 1378744"/>
                <a:gd name="connsiteY98" fmla="*/ 807243 h 1250156"/>
                <a:gd name="connsiteX99" fmla="*/ 1197769 w 1378744"/>
                <a:gd name="connsiteY99" fmla="*/ 759618 h 1250156"/>
                <a:gd name="connsiteX100" fmla="*/ 1247775 w 1378744"/>
                <a:gd name="connsiteY100" fmla="*/ 762000 h 1250156"/>
                <a:gd name="connsiteX101" fmla="*/ 1278732 w 1378744"/>
                <a:gd name="connsiteY101" fmla="*/ 762000 h 1250156"/>
                <a:gd name="connsiteX102" fmla="*/ 1271588 w 1378744"/>
                <a:gd name="connsiteY102" fmla="*/ 735806 h 1250156"/>
                <a:gd name="connsiteX103" fmla="*/ 1378744 w 1378744"/>
                <a:gd name="connsiteY103" fmla="*/ 678656 h 1250156"/>
                <a:gd name="connsiteX104" fmla="*/ 1331119 w 1378744"/>
                <a:gd name="connsiteY104" fmla="*/ 552450 h 1250156"/>
                <a:gd name="connsiteX105" fmla="*/ 1278732 w 1378744"/>
                <a:gd name="connsiteY105" fmla="*/ 514350 h 1250156"/>
                <a:gd name="connsiteX106" fmla="*/ 1252538 w 1378744"/>
                <a:gd name="connsiteY106" fmla="*/ 431006 h 1250156"/>
                <a:gd name="connsiteX107" fmla="*/ 1181100 w 1378744"/>
                <a:gd name="connsiteY107" fmla="*/ 431006 h 1250156"/>
                <a:gd name="connsiteX108" fmla="*/ 1166813 w 1378744"/>
                <a:gd name="connsiteY108" fmla="*/ 395287 h 1250156"/>
                <a:gd name="connsiteX109" fmla="*/ 1107282 w 1378744"/>
                <a:gd name="connsiteY109" fmla="*/ 421481 h 1250156"/>
                <a:gd name="connsiteX110" fmla="*/ 1054894 w 1378744"/>
                <a:gd name="connsiteY110" fmla="*/ 414337 h 1250156"/>
                <a:gd name="connsiteX111" fmla="*/ 1028700 w 1378744"/>
                <a:gd name="connsiteY111" fmla="*/ 371475 h 1250156"/>
                <a:gd name="connsiteX112" fmla="*/ 1023938 w 1378744"/>
                <a:gd name="connsiteY112" fmla="*/ 288131 h 1250156"/>
                <a:gd name="connsiteX113" fmla="*/ 1012032 w 1378744"/>
                <a:gd name="connsiteY113" fmla="*/ 269081 h 1250156"/>
                <a:gd name="connsiteX114" fmla="*/ 1012032 w 1378744"/>
                <a:gd name="connsiteY114" fmla="*/ 211931 h 1250156"/>
                <a:gd name="connsiteX115" fmla="*/ 959644 w 1378744"/>
                <a:gd name="connsiteY115" fmla="*/ 190500 h 1250156"/>
                <a:gd name="connsiteX116" fmla="*/ 914400 w 1378744"/>
                <a:gd name="connsiteY116" fmla="*/ 111918 h 1250156"/>
                <a:gd name="connsiteX117" fmla="*/ 854869 w 1378744"/>
                <a:gd name="connsiteY117" fmla="*/ 76200 h 1250156"/>
                <a:gd name="connsiteX118" fmla="*/ 873919 w 1378744"/>
                <a:gd name="connsiteY118" fmla="*/ 16668 h 1250156"/>
                <a:gd name="connsiteX119" fmla="*/ 783432 w 1378744"/>
                <a:gd name="connsiteY119" fmla="*/ 0 h 1250156"/>
                <a:gd name="connsiteX0" fmla="*/ 783432 w 1378744"/>
                <a:gd name="connsiteY0" fmla="*/ 0 h 1278730"/>
                <a:gd name="connsiteX1" fmla="*/ 738188 w 1378744"/>
                <a:gd name="connsiteY1" fmla="*/ 26193 h 1278730"/>
                <a:gd name="connsiteX2" fmla="*/ 685800 w 1378744"/>
                <a:gd name="connsiteY2" fmla="*/ 28575 h 1278730"/>
                <a:gd name="connsiteX3" fmla="*/ 635794 w 1378744"/>
                <a:gd name="connsiteY3" fmla="*/ 73818 h 1278730"/>
                <a:gd name="connsiteX4" fmla="*/ 633413 w 1378744"/>
                <a:gd name="connsiteY4" fmla="*/ 114300 h 1278730"/>
                <a:gd name="connsiteX5" fmla="*/ 561975 w 1378744"/>
                <a:gd name="connsiteY5" fmla="*/ 190500 h 1278730"/>
                <a:gd name="connsiteX6" fmla="*/ 519113 w 1378744"/>
                <a:gd name="connsiteY6" fmla="*/ 214312 h 1278730"/>
                <a:gd name="connsiteX7" fmla="*/ 485775 w 1378744"/>
                <a:gd name="connsiteY7" fmla="*/ 252412 h 1278730"/>
                <a:gd name="connsiteX8" fmla="*/ 461963 w 1378744"/>
                <a:gd name="connsiteY8" fmla="*/ 273843 h 1278730"/>
                <a:gd name="connsiteX9" fmla="*/ 423863 w 1378744"/>
                <a:gd name="connsiteY9" fmla="*/ 333375 h 1278730"/>
                <a:gd name="connsiteX10" fmla="*/ 378619 w 1378744"/>
                <a:gd name="connsiteY10" fmla="*/ 357187 h 1278730"/>
                <a:gd name="connsiteX11" fmla="*/ 292894 w 1378744"/>
                <a:gd name="connsiteY11" fmla="*/ 376237 h 1278730"/>
                <a:gd name="connsiteX12" fmla="*/ 264319 w 1378744"/>
                <a:gd name="connsiteY12" fmla="*/ 373856 h 1278730"/>
                <a:gd name="connsiteX13" fmla="*/ 240507 w 1378744"/>
                <a:gd name="connsiteY13" fmla="*/ 359568 h 1278730"/>
                <a:gd name="connsiteX14" fmla="*/ 226219 w 1378744"/>
                <a:gd name="connsiteY14" fmla="*/ 338137 h 1278730"/>
                <a:gd name="connsiteX15" fmla="*/ 219075 w 1378744"/>
                <a:gd name="connsiteY15" fmla="*/ 311943 h 1278730"/>
                <a:gd name="connsiteX16" fmla="*/ 204788 w 1378744"/>
                <a:gd name="connsiteY16" fmla="*/ 309562 h 1278730"/>
                <a:gd name="connsiteX17" fmla="*/ 188119 w 1378744"/>
                <a:gd name="connsiteY17" fmla="*/ 304800 h 1278730"/>
                <a:gd name="connsiteX18" fmla="*/ 173832 w 1378744"/>
                <a:gd name="connsiteY18" fmla="*/ 302418 h 1278730"/>
                <a:gd name="connsiteX19" fmla="*/ 128588 w 1378744"/>
                <a:gd name="connsiteY19" fmla="*/ 352425 h 1278730"/>
                <a:gd name="connsiteX20" fmla="*/ 97632 w 1378744"/>
                <a:gd name="connsiteY20" fmla="*/ 371475 h 1278730"/>
                <a:gd name="connsiteX21" fmla="*/ 80963 w 1378744"/>
                <a:gd name="connsiteY21" fmla="*/ 390525 h 1278730"/>
                <a:gd name="connsiteX22" fmla="*/ 66675 w 1378744"/>
                <a:gd name="connsiteY22" fmla="*/ 435768 h 1278730"/>
                <a:gd name="connsiteX23" fmla="*/ 54769 w 1378744"/>
                <a:gd name="connsiteY23" fmla="*/ 447675 h 1278730"/>
                <a:gd name="connsiteX24" fmla="*/ 9525 w 1378744"/>
                <a:gd name="connsiteY24" fmla="*/ 466725 h 1278730"/>
                <a:gd name="connsiteX25" fmla="*/ 2382 w 1378744"/>
                <a:gd name="connsiteY25" fmla="*/ 481012 h 1278730"/>
                <a:gd name="connsiteX26" fmla="*/ 4763 w 1378744"/>
                <a:gd name="connsiteY26" fmla="*/ 533400 h 1278730"/>
                <a:gd name="connsiteX27" fmla="*/ 0 w 1378744"/>
                <a:gd name="connsiteY27" fmla="*/ 545306 h 1278730"/>
                <a:gd name="connsiteX28" fmla="*/ 73819 w 1378744"/>
                <a:gd name="connsiteY28" fmla="*/ 588168 h 1278730"/>
                <a:gd name="connsiteX29" fmla="*/ 90488 w 1378744"/>
                <a:gd name="connsiteY29" fmla="*/ 628650 h 1278730"/>
                <a:gd name="connsiteX30" fmla="*/ 83344 w 1378744"/>
                <a:gd name="connsiteY30" fmla="*/ 654843 h 1278730"/>
                <a:gd name="connsiteX31" fmla="*/ 73819 w 1378744"/>
                <a:gd name="connsiteY31" fmla="*/ 697706 h 1278730"/>
                <a:gd name="connsiteX32" fmla="*/ 78582 w 1378744"/>
                <a:gd name="connsiteY32" fmla="*/ 726281 h 1278730"/>
                <a:gd name="connsiteX33" fmla="*/ 95250 w 1378744"/>
                <a:gd name="connsiteY33" fmla="*/ 738187 h 1278730"/>
                <a:gd name="connsiteX34" fmla="*/ 116682 w 1378744"/>
                <a:gd name="connsiteY34" fmla="*/ 735806 h 1278730"/>
                <a:gd name="connsiteX35" fmla="*/ 123825 w 1378744"/>
                <a:gd name="connsiteY35" fmla="*/ 762000 h 1278730"/>
                <a:gd name="connsiteX36" fmla="*/ 126207 w 1378744"/>
                <a:gd name="connsiteY36" fmla="*/ 783431 h 1278730"/>
                <a:gd name="connsiteX37" fmla="*/ 152400 w 1378744"/>
                <a:gd name="connsiteY37" fmla="*/ 812006 h 1278730"/>
                <a:gd name="connsiteX38" fmla="*/ 164307 w 1378744"/>
                <a:gd name="connsiteY38" fmla="*/ 823912 h 1278730"/>
                <a:gd name="connsiteX39" fmla="*/ 173832 w 1378744"/>
                <a:gd name="connsiteY39" fmla="*/ 850106 h 1278730"/>
                <a:gd name="connsiteX40" fmla="*/ 169069 w 1378744"/>
                <a:gd name="connsiteY40" fmla="*/ 878681 h 1278730"/>
                <a:gd name="connsiteX41" fmla="*/ 176213 w 1378744"/>
                <a:gd name="connsiteY41" fmla="*/ 897731 h 1278730"/>
                <a:gd name="connsiteX42" fmla="*/ 200025 w 1378744"/>
                <a:gd name="connsiteY42" fmla="*/ 916781 h 1278730"/>
                <a:gd name="connsiteX43" fmla="*/ 226219 w 1378744"/>
                <a:gd name="connsiteY43" fmla="*/ 916781 h 1278730"/>
                <a:gd name="connsiteX44" fmla="*/ 300038 w 1378744"/>
                <a:gd name="connsiteY44" fmla="*/ 921543 h 1278730"/>
                <a:gd name="connsiteX45" fmla="*/ 395288 w 1378744"/>
                <a:gd name="connsiteY45" fmla="*/ 952500 h 1278730"/>
                <a:gd name="connsiteX46" fmla="*/ 414338 w 1378744"/>
                <a:gd name="connsiteY46" fmla="*/ 988218 h 1278730"/>
                <a:gd name="connsiteX47" fmla="*/ 435769 w 1378744"/>
                <a:gd name="connsiteY47" fmla="*/ 992981 h 1278730"/>
                <a:gd name="connsiteX48" fmla="*/ 464344 w 1378744"/>
                <a:gd name="connsiteY48" fmla="*/ 995362 h 1278730"/>
                <a:gd name="connsiteX49" fmla="*/ 507207 w 1378744"/>
                <a:gd name="connsiteY49" fmla="*/ 1026318 h 1278730"/>
                <a:gd name="connsiteX50" fmla="*/ 521494 w 1378744"/>
                <a:gd name="connsiteY50" fmla="*/ 1069181 h 1278730"/>
                <a:gd name="connsiteX51" fmla="*/ 545307 w 1378744"/>
                <a:gd name="connsiteY51" fmla="*/ 1107281 h 1278730"/>
                <a:gd name="connsiteX52" fmla="*/ 573882 w 1378744"/>
                <a:gd name="connsiteY52" fmla="*/ 1121568 h 1278730"/>
                <a:gd name="connsiteX53" fmla="*/ 585788 w 1378744"/>
                <a:gd name="connsiteY53" fmla="*/ 1131093 h 1278730"/>
                <a:gd name="connsiteX54" fmla="*/ 597694 w 1378744"/>
                <a:gd name="connsiteY54" fmla="*/ 1181100 h 1278730"/>
                <a:gd name="connsiteX55" fmla="*/ 633413 w 1378744"/>
                <a:gd name="connsiteY55" fmla="*/ 1250156 h 1278730"/>
                <a:gd name="connsiteX56" fmla="*/ 692944 w 1378744"/>
                <a:gd name="connsiteY56" fmla="*/ 1278730 h 1278730"/>
                <a:gd name="connsiteX57" fmla="*/ 814388 w 1378744"/>
                <a:gd name="connsiteY57" fmla="*/ 1138237 h 1278730"/>
                <a:gd name="connsiteX58" fmla="*/ 828675 w 1378744"/>
                <a:gd name="connsiteY58" fmla="*/ 1109662 h 1278730"/>
                <a:gd name="connsiteX59" fmla="*/ 833438 w 1378744"/>
                <a:gd name="connsiteY59" fmla="*/ 1085850 h 1278730"/>
                <a:gd name="connsiteX60" fmla="*/ 797719 w 1378744"/>
                <a:gd name="connsiteY60" fmla="*/ 1059656 h 1278730"/>
                <a:gd name="connsiteX61" fmla="*/ 790575 w 1378744"/>
                <a:gd name="connsiteY61" fmla="*/ 1038225 h 1278730"/>
                <a:gd name="connsiteX62" fmla="*/ 790575 w 1378744"/>
                <a:gd name="connsiteY62" fmla="*/ 1021556 h 1278730"/>
                <a:gd name="connsiteX63" fmla="*/ 845344 w 1378744"/>
                <a:gd name="connsiteY63" fmla="*/ 952500 h 1278730"/>
                <a:gd name="connsiteX64" fmla="*/ 845344 w 1378744"/>
                <a:gd name="connsiteY64" fmla="*/ 952500 h 1278730"/>
                <a:gd name="connsiteX65" fmla="*/ 888207 w 1378744"/>
                <a:gd name="connsiteY65" fmla="*/ 966787 h 1278730"/>
                <a:gd name="connsiteX66" fmla="*/ 907257 w 1378744"/>
                <a:gd name="connsiteY66" fmla="*/ 981075 h 1278730"/>
                <a:gd name="connsiteX67" fmla="*/ 938213 w 1378744"/>
                <a:gd name="connsiteY67" fmla="*/ 990600 h 1278730"/>
                <a:gd name="connsiteX68" fmla="*/ 964407 w 1378744"/>
                <a:gd name="connsiteY68" fmla="*/ 985837 h 1278730"/>
                <a:gd name="connsiteX69" fmla="*/ 985838 w 1378744"/>
                <a:gd name="connsiteY69" fmla="*/ 985837 h 1278730"/>
                <a:gd name="connsiteX70" fmla="*/ 995363 w 1378744"/>
                <a:gd name="connsiteY70" fmla="*/ 995362 h 1278730"/>
                <a:gd name="connsiteX71" fmla="*/ 978694 w 1378744"/>
                <a:gd name="connsiteY71" fmla="*/ 1012031 h 1278730"/>
                <a:gd name="connsiteX72" fmla="*/ 969169 w 1378744"/>
                <a:gd name="connsiteY72" fmla="*/ 1031081 h 1278730"/>
                <a:gd name="connsiteX73" fmla="*/ 954882 w 1378744"/>
                <a:gd name="connsiteY73" fmla="*/ 1054893 h 1278730"/>
                <a:gd name="connsiteX74" fmla="*/ 950119 w 1378744"/>
                <a:gd name="connsiteY74" fmla="*/ 1083468 h 1278730"/>
                <a:gd name="connsiteX75" fmla="*/ 962025 w 1378744"/>
                <a:gd name="connsiteY75" fmla="*/ 1107281 h 1278730"/>
                <a:gd name="connsiteX76" fmla="*/ 983457 w 1378744"/>
                <a:gd name="connsiteY76" fmla="*/ 1131093 h 1278730"/>
                <a:gd name="connsiteX77" fmla="*/ 1002507 w 1378744"/>
                <a:gd name="connsiteY77" fmla="*/ 1133475 h 1278730"/>
                <a:gd name="connsiteX78" fmla="*/ 1028700 w 1378744"/>
                <a:gd name="connsiteY78" fmla="*/ 1126331 h 1278730"/>
                <a:gd name="connsiteX79" fmla="*/ 1031082 w 1378744"/>
                <a:gd name="connsiteY79" fmla="*/ 1097756 h 1278730"/>
                <a:gd name="connsiteX80" fmla="*/ 1057275 w 1378744"/>
                <a:gd name="connsiteY80" fmla="*/ 1085850 h 1278730"/>
                <a:gd name="connsiteX81" fmla="*/ 1076325 w 1378744"/>
                <a:gd name="connsiteY81" fmla="*/ 1097756 h 1278730"/>
                <a:gd name="connsiteX82" fmla="*/ 1100138 w 1378744"/>
                <a:gd name="connsiteY82" fmla="*/ 1107281 h 1278730"/>
                <a:gd name="connsiteX83" fmla="*/ 1123950 w 1378744"/>
                <a:gd name="connsiteY83" fmla="*/ 1121568 h 1278730"/>
                <a:gd name="connsiteX84" fmla="*/ 1143000 w 1378744"/>
                <a:gd name="connsiteY84" fmla="*/ 1123950 h 1278730"/>
                <a:gd name="connsiteX85" fmla="*/ 1157288 w 1378744"/>
                <a:gd name="connsiteY85" fmla="*/ 1112043 h 1278730"/>
                <a:gd name="connsiteX86" fmla="*/ 1159669 w 1378744"/>
                <a:gd name="connsiteY86" fmla="*/ 1085850 h 1278730"/>
                <a:gd name="connsiteX87" fmla="*/ 1166813 w 1378744"/>
                <a:gd name="connsiteY87" fmla="*/ 1052512 h 1278730"/>
                <a:gd name="connsiteX88" fmla="*/ 1197769 w 1378744"/>
                <a:gd name="connsiteY88" fmla="*/ 1016793 h 1278730"/>
                <a:gd name="connsiteX89" fmla="*/ 1195388 w 1378744"/>
                <a:gd name="connsiteY89" fmla="*/ 954881 h 1278730"/>
                <a:gd name="connsiteX90" fmla="*/ 1209675 w 1378744"/>
                <a:gd name="connsiteY90" fmla="*/ 945356 h 1278730"/>
                <a:gd name="connsiteX91" fmla="*/ 1235869 w 1378744"/>
                <a:gd name="connsiteY91" fmla="*/ 945356 h 1278730"/>
                <a:gd name="connsiteX92" fmla="*/ 1235869 w 1378744"/>
                <a:gd name="connsiteY92" fmla="*/ 931068 h 1278730"/>
                <a:gd name="connsiteX93" fmla="*/ 1212057 w 1378744"/>
                <a:gd name="connsiteY93" fmla="*/ 912018 h 1278730"/>
                <a:gd name="connsiteX94" fmla="*/ 1195388 w 1378744"/>
                <a:gd name="connsiteY94" fmla="*/ 881062 h 1278730"/>
                <a:gd name="connsiteX95" fmla="*/ 1157288 w 1378744"/>
                <a:gd name="connsiteY95" fmla="*/ 871537 h 1278730"/>
                <a:gd name="connsiteX96" fmla="*/ 1119188 w 1378744"/>
                <a:gd name="connsiteY96" fmla="*/ 859631 h 1278730"/>
                <a:gd name="connsiteX97" fmla="*/ 1119188 w 1378744"/>
                <a:gd name="connsiteY97" fmla="*/ 831056 h 1278730"/>
                <a:gd name="connsiteX98" fmla="*/ 1135857 w 1378744"/>
                <a:gd name="connsiteY98" fmla="*/ 807243 h 1278730"/>
                <a:gd name="connsiteX99" fmla="*/ 1197769 w 1378744"/>
                <a:gd name="connsiteY99" fmla="*/ 759618 h 1278730"/>
                <a:gd name="connsiteX100" fmla="*/ 1247775 w 1378744"/>
                <a:gd name="connsiteY100" fmla="*/ 762000 h 1278730"/>
                <a:gd name="connsiteX101" fmla="*/ 1278732 w 1378744"/>
                <a:gd name="connsiteY101" fmla="*/ 762000 h 1278730"/>
                <a:gd name="connsiteX102" fmla="*/ 1271588 w 1378744"/>
                <a:gd name="connsiteY102" fmla="*/ 735806 h 1278730"/>
                <a:gd name="connsiteX103" fmla="*/ 1378744 w 1378744"/>
                <a:gd name="connsiteY103" fmla="*/ 678656 h 1278730"/>
                <a:gd name="connsiteX104" fmla="*/ 1331119 w 1378744"/>
                <a:gd name="connsiteY104" fmla="*/ 552450 h 1278730"/>
                <a:gd name="connsiteX105" fmla="*/ 1278732 w 1378744"/>
                <a:gd name="connsiteY105" fmla="*/ 514350 h 1278730"/>
                <a:gd name="connsiteX106" fmla="*/ 1252538 w 1378744"/>
                <a:gd name="connsiteY106" fmla="*/ 431006 h 1278730"/>
                <a:gd name="connsiteX107" fmla="*/ 1181100 w 1378744"/>
                <a:gd name="connsiteY107" fmla="*/ 431006 h 1278730"/>
                <a:gd name="connsiteX108" fmla="*/ 1166813 w 1378744"/>
                <a:gd name="connsiteY108" fmla="*/ 395287 h 1278730"/>
                <a:gd name="connsiteX109" fmla="*/ 1107282 w 1378744"/>
                <a:gd name="connsiteY109" fmla="*/ 421481 h 1278730"/>
                <a:gd name="connsiteX110" fmla="*/ 1054894 w 1378744"/>
                <a:gd name="connsiteY110" fmla="*/ 414337 h 1278730"/>
                <a:gd name="connsiteX111" fmla="*/ 1028700 w 1378744"/>
                <a:gd name="connsiteY111" fmla="*/ 371475 h 1278730"/>
                <a:gd name="connsiteX112" fmla="*/ 1023938 w 1378744"/>
                <a:gd name="connsiteY112" fmla="*/ 288131 h 1278730"/>
                <a:gd name="connsiteX113" fmla="*/ 1012032 w 1378744"/>
                <a:gd name="connsiteY113" fmla="*/ 269081 h 1278730"/>
                <a:gd name="connsiteX114" fmla="*/ 1012032 w 1378744"/>
                <a:gd name="connsiteY114" fmla="*/ 211931 h 1278730"/>
                <a:gd name="connsiteX115" fmla="*/ 959644 w 1378744"/>
                <a:gd name="connsiteY115" fmla="*/ 190500 h 1278730"/>
                <a:gd name="connsiteX116" fmla="*/ 914400 w 1378744"/>
                <a:gd name="connsiteY116" fmla="*/ 111918 h 1278730"/>
                <a:gd name="connsiteX117" fmla="*/ 854869 w 1378744"/>
                <a:gd name="connsiteY117" fmla="*/ 76200 h 1278730"/>
                <a:gd name="connsiteX118" fmla="*/ 873919 w 1378744"/>
                <a:gd name="connsiteY118" fmla="*/ 16668 h 1278730"/>
                <a:gd name="connsiteX119" fmla="*/ 783432 w 1378744"/>
                <a:gd name="connsiteY119" fmla="*/ 0 h 1278730"/>
                <a:gd name="connsiteX0" fmla="*/ 783432 w 1378744"/>
                <a:gd name="connsiteY0" fmla="*/ 0 h 1278730"/>
                <a:gd name="connsiteX1" fmla="*/ 738188 w 1378744"/>
                <a:gd name="connsiteY1" fmla="*/ 26193 h 1278730"/>
                <a:gd name="connsiteX2" fmla="*/ 685800 w 1378744"/>
                <a:gd name="connsiteY2" fmla="*/ 28575 h 1278730"/>
                <a:gd name="connsiteX3" fmla="*/ 635794 w 1378744"/>
                <a:gd name="connsiteY3" fmla="*/ 73818 h 1278730"/>
                <a:gd name="connsiteX4" fmla="*/ 633413 w 1378744"/>
                <a:gd name="connsiteY4" fmla="*/ 114300 h 1278730"/>
                <a:gd name="connsiteX5" fmla="*/ 561975 w 1378744"/>
                <a:gd name="connsiteY5" fmla="*/ 190500 h 1278730"/>
                <a:gd name="connsiteX6" fmla="*/ 519113 w 1378744"/>
                <a:gd name="connsiteY6" fmla="*/ 214312 h 1278730"/>
                <a:gd name="connsiteX7" fmla="*/ 485775 w 1378744"/>
                <a:gd name="connsiteY7" fmla="*/ 252412 h 1278730"/>
                <a:gd name="connsiteX8" fmla="*/ 461963 w 1378744"/>
                <a:gd name="connsiteY8" fmla="*/ 273843 h 1278730"/>
                <a:gd name="connsiteX9" fmla="*/ 423863 w 1378744"/>
                <a:gd name="connsiteY9" fmla="*/ 333375 h 1278730"/>
                <a:gd name="connsiteX10" fmla="*/ 378619 w 1378744"/>
                <a:gd name="connsiteY10" fmla="*/ 357187 h 1278730"/>
                <a:gd name="connsiteX11" fmla="*/ 292894 w 1378744"/>
                <a:gd name="connsiteY11" fmla="*/ 376237 h 1278730"/>
                <a:gd name="connsiteX12" fmla="*/ 264319 w 1378744"/>
                <a:gd name="connsiteY12" fmla="*/ 373856 h 1278730"/>
                <a:gd name="connsiteX13" fmla="*/ 240507 w 1378744"/>
                <a:gd name="connsiteY13" fmla="*/ 359568 h 1278730"/>
                <a:gd name="connsiteX14" fmla="*/ 226219 w 1378744"/>
                <a:gd name="connsiteY14" fmla="*/ 338137 h 1278730"/>
                <a:gd name="connsiteX15" fmla="*/ 219075 w 1378744"/>
                <a:gd name="connsiteY15" fmla="*/ 311943 h 1278730"/>
                <a:gd name="connsiteX16" fmla="*/ 204788 w 1378744"/>
                <a:gd name="connsiteY16" fmla="*/ 309562 h 1278730"/>
                <a:gd name="connsiteX17" fmla="*/ 188119 w 1378744"/>
                <a:gd name="connsiteY17" fmla="*/ 304800 h 1278730"/>
                <a:gd name="connsiteX18" fmla="*/ 173832 w 1378744"/>
                <a:gd name="connsiteY18" fmla="*/ 302418 h 1278730"/>
                <a:gd name="connsiteX19" fmla="*/ 128588 w 1378744"/>
                <a:gd name="connsiteY19" fmla="*/ 352425 h 1278730"/>
                <a:gd name="connsiteX20" fmla="*/ 97632 w 1378744"/>
                <a:gd name="connsiteY20" fmla="*/ 371475 h 1278730"/>
                <a:gd name="connsiteX21" fmla="*/ 80963 w 1378744"/>
                <a:gd name="connsiteY21" fmla="*/ 390525 h 1278730"/>
                <a:gd name="connsiteX22" fmla="*/ 66675 w 1378744"/>
                <a:gd name="connsiteY22" fmla="*/ 435768 h 1278730"/>
                <a:gd name="connsiteX23" fmla="*/ 54769 w 1378744"/>
                <a:gd name="connsiteY23" fmla="*/ 447675 h 1278730"/>
                <a:gd name="connsiteX24" fmla="*/ 9525 w 1378744"/>
                <a:gd name="connsiteY24" fmla="*/ 466725 h 1278730"/>
                <a:gd name="connsiteX25" fmla="*/ 2382 w 1378744"/>
                <a:gd name="connsiteY25" fmla="*/ 481012 h 1278730"/>
                <a:gd name="connsiteX26" fmla="*/ 4763 w 1378744"/>
                <a:gd name="connsiteY26" fmla="*/ 533400 h 1278730"/>
                <a:gd name="connsiteX27" fmla="*/ 0 w 1378744"/>
                <a:gd name="connsiteY27" fmla="*/ 545306 h 1278730"/>
                <a:gd name="connsiteX28" fmla="*/ 73819 w 1378744"/>
                <a:gd name="connsiteY28" fmla="*/ 588168 h 1278730"/>
                <a:gd name="connsiteX29" fmla="*/ 90488 w 1378744"/>
                <a:gd name="connsiteY29" fmla="*/ 628650 h 1278730"/>
                <a:gd name="connsiteX30" fmla="*/ 83344 w 1378744"/>
                <a:gd name="connsiteY30" fmla="*/ 654843 h 1278730"/>
                <a:gd name="connsiteX31" fmla="*/ 73819 w 1378744"/>
                <a:gd name="connsiteY31" fmla="*/ 697706 h 1278730"/>
                <a:gd name="connsiteX32" fmla="*/ 78582 w 1378744"/>
                <a:gd name="connsiteY32" fmla="*/ 726281 h 1278730"/>
                <a:gd name="connsiteX33" fmla="*/ 95250 w 1378744"/>
                <a:gd name="connsiteY33" fmla="*/ 738187 h 1278730"/>
                <a:gd name="connsiteX34" fmla="*/ 116682 w 1378744"/>
                <a:gd name="connsiteY34" fmla="*/ 735806 h 1278730"/>
                <a:gd name="connsiteX35" fmla="*/ 123825 w 1378744"/>
                <a:gd name="connsiteY35" fmla="*/ 762000 h 1278730"/>
                <a:gd name="connsiteX36" fmla="*/ 126207 w 1378744"/>
                <a:gd name="connsiteY36" fmla="*/ 783431 h 1278730"/>
                <a:gd name="connsiteX37" fmla="*/ 152400 w 1378744"/>
                <a:gd name="connsiteY37" fmla="*/ 812006 h 1278730"/>
                <a:gd name="connsiteX38" fmla="*/ 164307 w 1378744"/>
                <a:gd name="connsiteY38" fmla="*/ 823912 h 1278730"/>
                <a:gd name="connsiteX39" fmla="*/ 173832 w 1378744"/>
                <a:gd name="connsiteY39" fmla="*/ 850106 h 1278730"/>
                <a:gd name="connsiteX40" fmla="*/ 169069 w 1378744"/>
                <a:gd name="connsiteY40" fmla="*/ 878681 h 1278730"/>
                <a:gd name="connsiteX41" fmla="*/ 176213 w 1378744"/>
                <a:gd name="connsiteY41" fmla="*/ 897731 h 1278730"/>
                <a:gd name="connsiteX42" fmla="*/ 200025 w 1378744"/>
                <a:gd name="connsiteY42" fmla="*/ 916781 h 1278730"/>
                <a:gd name="connsiteX43" fmla="*/ 226219 w 1378744"/>
                <a:gd name="connsiteY43" fmla="*/ 916781 h 1278730"/>
                <a:gd name="connsiteX44" fmla="*/ 300038 w 1378744"/>
                <a:gd name="connsiteY44" fmla="*/ 921543 h 1278730"/>
                <a:gd name="connsiteX45" fmla="*/ 395288 w 1378744"/>
                <a:gd name="connsiteY45" fmla="*/ 952500 h 1278730"/>
                <a:gd name="connsiteX46" fmla="*/ 414338 w 1378744"/>
                <a:gd name="connsiteY46" fmla="*/ 988218 h 1278730"/>
                <a:gd name="connsiteX47" fmla="*/ 435769 w 1378744"/>
                <a:gd name="connsiteY47" fmla="*/ 992981 h 1278730"/>
                <a:gd name="connsiteX48" fmla="*/ 464344 w 1378744"/>
                <a:gd name="connsiteY48" fmla="*/ 995362 h 1278730"/>
                <a:gd name="connsiteX49" fmla="*/ 507207 w 1378744"/>
                <a:gd name="connsiteY49" fmla="*/ 1026318 h 1278730"/>
                <a:gd name="connsiteX50" fmla="*/ 521494 w 1378744"/>
                <a:gd name="connsiteY50" fmla="*/ 1069181 h 1278730"/>
                <a:gd name="connsiteX51" fmla="*/ 545307 w 1378744"/>
                <a:gd name="connsiteY51" fmla="*/ 1107281 h 1278730"/>
                <a:gd name="connsiteX52" fmla="*/ 573882 w 1378744"/>
                <a:gd name="connsiteY52" fmla="*/ 1121568 h 1278730"/>
                <a:gd name="connsiteX53" fmla="*/ 585788 w 1378744"/>
                <a:gd name="connsiteY53" fmla="*/ 1131093 h 1278730"/>
                <a:gd name="connsiteX54" fmla="*/ 597694 w 1378744"/>
                <a:gd name="connsiteY54" fmla="*/ 1181100 h 1278730"/>
                <a:gd name="connsiteX55" fmla="*/ 633413 w 1378744"/>
                <a:gd name="connsiteY55" fmla="*/ 1250156 h 1278730"/>
                <a:gd name="connsiteX56" fmla="*/ 692944 w 1378744"/>
                <a:gd name="connsiteY56" fmla="*/ 1278730 h 1278730"/>
                <a:gd name="connsiteX57" fmla="*/ 721519 w 1378744"/>
                <a:gd name="connsiteY57" fmla="*/ 1245392 h 1278730"/>
                <a:gd name="connsiteX58" fmla="*/ 814388 w 1378744"/>
                <a:gd name="connsiteY58" fmla="*/ 1138237 h 1278730"/>
                <a:gd name="connsiteX59" fmla="*/ 828675 w 1378744"/>
                <a:gd name="connsiteY59" fmla="*/ 1109662 h 1278730"/>
                <a:gd name="connsiteX60" fmla="*/ 833438 w 1378744"/>
                <a:gd name="connsiteY60" fmla="*/ 1085850 h 1278730"/>
                <a:gd name="connsiteX61" fmla="*/ 797719 w 1378744"/>
                <a:gd name="connsiteY61" fmla="*/ 1059656 h 1278730"/>
                <a:gd name="connsiteX62" fmla="*/ 790575 w 1378744"/>
                <a:gd name="connsiteY62" fmla="*/ 1038225 h 1278730"/>
                <a:gd name="connsiteX63" fmla="*/ 790575 w 1378744"/>
                <a:gd name="connsiteY63" fmla="*/ 1021556 h 1278730"/>
                <a:gd name="connsiteX64" fmla="*/ 845344 w 1378744"/>
                <a:gd name="connsiteY64" fmla="*/ 952500 h 1278730"/>
                <a:gd name="connsiteX65" fmla="*/ 845344 w 1378744"/>
                <a:gd name="connsiteY65" fmla="*/ 952500 h 1278730"/>
                <a:gd name="connsiteX66" fmla="*/ 888207 w 1378744"/>
                <a:gd name="connsiteY66" fmla="*/ 966787 h 1278730"/>
                <a:gd name="connsiteX67" fmla="*/ 907257 w 1378744"/>
                <a:gd name="connsiteY67" fmla="*/ 981075 h 1278730"/>
                <a:gd name="connsiteX68" fmla="*/ 938213 w 1378744"/>
                <a:gd name="connsiteY68" fmla="*/ 990600 h 1278730"/>
                <a:gd name="connsiteX69" fmla="*/ 964407 w 1378744"/>
                <a:gd name="connsiteY69" fmla="*/ 985837 h 1278730"/>
                <a:gd name="connsiteX70" fmla="*/ 985838 w 1378744"/>
                <a:gd name="connsiteY70" fmla="*/ 985837 h 1278730"/>
                <a:gd name="connsiteX71" fmla="*/ 995363 w 1378744"/>
                <a:gd name="connsiteY71" fmla="*/ 995362 h 1278730"/>
                <a:gd name="connsiteX72" fmla="*/ 978694 w 1378744"/>
                <a:gd name="connsiteY72" fmla="*/ 1012031 h 1278730"/>
                <a:gd name="connsiteX73" fmla="*/ 969169 w 1378744"/>
                <a:gd name="connsiteY73" fmla="*/ 1031081 h 1278730"/>
                <a:gd name="connsiteX74" fmla="*/ 954882 w 1378744"/>
                <a:gd name="connsiteY74" fmla="*/ 1054893 h 1278730"/>
                <a:gd name="connsiteX75" fmla="*/ 950119 w 1378744"/>
                <a:gd name="connsiteY75" fmla="*/ 1083468 h 1278730"/>
                <a:gd name="connsiteX76" fmla="*/ 962025 w 1378744"/>
                <a:gd name="connsiteY76" fmla="*/ 1107281 h 1278730"/>
                <a:gd name="connsiteX77" fmla="*/ 983457 w 1378744"/>
                <a:gd name="connsiteY77" fmla="*/ 1131093 h 1278730"/>
                <a:gd name="connsiteX78" fmla="*/ 1002507 w 1378744"/>
                <a:gd name="connsiteY78" fmla="*/ 1133475 h 1278730"/>
                <a:gd name="connsiteX79" fmla="*/ 1028700 w 1378744"/>
                <a:gd name="connsiteY79" fmla="*/ 1126331 h 1278730"/>
                <a:gd name="connsiteX80" fmla="*/ 1031082 w 1378744"/>
                <a:gd name="connsiteY80" fmla="*/ 1097756 h 1278730"/>
                <a:gd name="connsiteX81" fmla="*/ 1057275 w 1378744"/>
                <a:gd name="connsiteY81" fmla="*/ 1085850 h 1278730"/>
                <a:gd name="connsiteX82" fmla="*/ 1076325 w 1378744"/>
                <a:gd name="connsiteY82" fmla="*/ 1097756 h 1278730"/>
                <a:gd name="connsiteX83" fmla="*/ 1100138 w 1378744"/>
                <a:gd name="connsiteY83" fmla="*/ 1107281 h 1278730"/>
                <a:gd name="connsiteX84" fmla="*/ 1123950 w 1378744"/>
                <a:gd name="connsiteY84" fmla="*/ 1121568 h 1278730"/>
                <a:gd name="connsiteX85" fmla="*/ 1143000 w 1378744"/>
                <a:gd name="connsiteY85" fmla="*/ 1123950 h 1278730"/>
                <a:gd name="connsiteX86" fmla="*/ 1157288 w 1378744"/>
                <a:gd name="connsiteY86" fmla="*/ 1112043 h 1278730"/>
                <a:gd name="connsiteX87" fmla="*/ 1159669 w 1378744"/>
                <a:gd name="connsiteY87" fmla="*/ 1085850 h 1278730"/>
                <a:gd name="connsiteX88" fmla="*/ 1166813 w 1378744"/>
                <a:gd name="connsiteY88" fmla="*/ 1052512 h 1278730"/>
                <a:gd name="connsiteX89" fmla="*/ 1197769 w 1378744"/>
                <a:gd name="connsiteY89" fmla="*/ 1016793 h 1278730"/>
                <a:gd name="connsiteX90" fmla="*/ 1195388 w 1378744"/>
                <a:gd name="connsiteY90" fmla="*/ 954881 h 1278730"/>
                <a:gd name="connsiteX91" fmla="*/ 1209675 w 1378744"/>
                <a:gd name="connsiteY91" fmla="*/ 945356 h 1278730"/>
                <a:gd name="connsiteX92" fmla="*/ 1235869 w 1378744"/>
                <a:gd name="connsiteY92" fmla="*/ 945356 h 1278730"/>
                <a:gd name="connsiteX93" fmla="*/ 1235869 w 1378744"/>
                <a:gd name="connsiteY93" fmla="*/ 931068 h 1278730"/>
                <a:gd name="connsiteX94" fmla="*/ 1212057 w 1378744"/>
                <a:gd name="connsiteY94" fmla="*/ 912018 h 1278730"/>
                <a:gd name="connsiteX95" fmla="*/ 1195388 w 1378744"/>
                <a:gd name="connsiteY95" fmla="*/ 881062 h 1278730"/>
                <a:gd name="connsiteX96" fmla="*/ 1157288 w 1378744"/>
                <a:gd name="connsiteY96" fmla="*/ 871537 h 1278730"/>
                <a:gd name="connsiteX97" fmla="*/ 1119188 w 1378744"/>
                <a:gd name="connsiteY97" fmla="*/ 859631 h 1278730"/>
                <a:gd name="connsiteX98" fmla="*/ 1119188 w 1378744"/>
                <a:gd name="connsiteY98" fmla="*/ 831056 h 1278730"/>
                <a:gd name="connsiteX99" fmla="*/ 1135857 w 1378744"/>
                <a:gd name="connsiteY99" fmla="*/ 807243 h 1278730"/>
                <a:gd name="connsiteX100" fmla="*/ 1197769 w 1378744"/>
                <a:gd name="connsiteY100" fmla="*/ 759618 h 1278730"/>
                <a:gd name="connsiteX101" fmla="*/ 1247775 w 1378744"/>
                <a:gd name="connsiteY101" fmla="*/ 762000 h 1278730"/>
                <a:gd name="connsiteX102" fmla="*/ 1278732 w 1378744"/>
                <a:gd name="connsiteY102" fmla="*/ 762000 h 1278730"/>
                <a:gd name="connsiteX103" fmla="*/ 1271588 w 1378744"/>
                <a:gd name="connsiteY103" fmla="*/ 735806 h 1278730"/>
                <a:gd name="connsiteX104" fmla="*/ 1378744 w 1378744"/>
                <a:gd name="connsiteY104" fmla="*/ 678656 h 1278730"/>
                <a:gd name="connsiteX105" fmla="*/ 1331119 w 1378744"/>
                <a:gd name="connsiteY105" fmla="*/ 552450 h 1278730"/>
                <a:gd name="connsiteX106" fmla="*/ 1278732 w 1378744"/>
                <a:gd name="connsiteY106" fmla="*/ 514350 h 1278730"/>
                <a:gd name="connsiteX107" fmla="*/ 1252538 w 1378744"/>
                <a:gd name="connsiteY107" fmla="*/ 431006 h 1278730"/>
                <a:gd name="connsiteX108" fmla="*/ 1181100 w 1378744"/>
                <a:gd name="connsiteY108" fmla="*/ 431006 h 1278730"/>
                <a:gd name="connsiteX109" fmla="*/ 1166813 w 1378744"/>
                <a:gd name="connsiteY109" fmla="*/ 395287 h 1278730"/>
                <a:gd name="connsiteX110" fmla="*/ 1107282 w 1378744"/>
                <a:gd name="connsiteY110" fmla="*/ 421481 h 1278730"/>
                <a:gd name="connsiteX111" fmla="*/ 1054894 w 1378744"/>
                <a:gd name="connsiteY111" fmla="*/ 414337 h 1278730"/>
                <a:gd name="connsiteX112" fmla="*/ 1028700 w 1378744"/>
                <a:gd name="connsiteY112" fmla="*/ 371475 h 1278730"/>
                <a:gd name="connsiteX113" fmla="*/ 1023938 w 1378744"/>
                <a:gd name="connsiteY113" fmla="*/ 288131 h 1278730"/>
                <a:gd name="connsiteX114" fmla="*/ 1012032 w 1378744"/>
                <a:gd name="connsiteY114" fmla="*/ 269081 h 1278730"/>
                <a:gd name="connsiteX115" fmla="*/ 1012032 w 1378744"/>
                <a:gd name="connsiteY115" fmla="*/ 211931 h 1278730"/>
                <a:gd name="connsiteX116" fmla="*/ 959644 w 1378744"/>
                <a:gd name="connsiteY116" fmla="*/ 190500 h 1278730"/>
                <a:gd name="connsiteX117" fmla="*/ 914400 w 1378744"/>
                <a:gd name="connsiteY117" fmla="*/ 111918 h 1278730"/>
                <a:gd name="connsiteX118" fmla="*/ 854869 w 1378744"/>
                <a:gd name="connsiteY118" fmla="*/ 76200 h 1278730"/>
                <a:gd name="connsiteX119" fmla="*/ 873919 w 1378744"/>
                <a:gd name="connsiteY119" fmla="*/ 16668 h 1278730"/>
                <a:gd name="connsiteX120" fmla="*/ 783432 w 1378744"/>
                <a:gd name="connsiteY120" fmla="*/ 0 h 1278730"/>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814388 w 1378744"/>
                <a:gd name="connsiteY58" fmla="*/ 1138237 h 1288255"/>
                <a:gd name="connsiteX59" fmla="*/ 828675 w 1378744"/>
                <a:gd name="connsiteY59" fmla="*/ 1109662 h 1288255"/>
                <a:gd name="connsiteX60" fmla="*/ 833438 w 1378744"/>
                <a:gd name="connsiteY60" fmla="*/ 1085850 h 1288255"/>
                <a:gd name="connsiteX61" fmla="*/ 797719 w 1378744"/>
                <a:gd name="connsiteY61" fmla="*/ 1059656 h 1288255"/>
                <a:gd name="connsiteX62" fmla="*/ 790575 w 1378744"/>
                <a:gd name="connsiteY62" fmla="*/ 1038225 h 1288255"/>
                <a:gd name="connsiteX63" fmla="*/ 790575 w 1378744"/>
                <a:gd name="connsiteY63" fmla="*/ 1021556 h 1288255"/>
                <a:gd name="connsiteX64" fmla="*/ 845344 w 1378744"/>
                <a:gd name="connsiteY64" fmla="*/ 952500 h 1288255"/>
                <a:gd name="connsiteX65" fmla="*/ 845344 w 1378744"/>
                <a:gd name="connsiteY65" fmla="*/ 952500 h 1288255"/>
                <a:gd name="connsiteX66" fmla="*/ 888207 w 1378744"/>
                <a:gd name="connsiteY66" fmla="*/ 966787 h 1288255"/>
                <a:gd name="connsiteX67" fmla="*/ 907257 w 1378744"/>
                <a:gd name="connsiteY67" fmla="*/ 981075 h 1288255"/>
                <a:gd name="connsiteX68" fmla="*/ 938213 w 1378744"/>
                <a:gd name="connsiteY68" fmla="*/ 990600 h 1288255"/>
                <a:gd name="connsiteX69" fmla="*/ 964407 w 1378744"/>
                <a:gd name="connsiteY69" fmla="*/ 985837 h 1288255"/>
                <a:gd name="connsiteX70" fmla="*/ 985838 w 1378744"/>
                <a:gd name="connsiteY70" fmla="*/ 985837 h 1288255"/>
                <a:gd name="connsiteX71" fmla="*/ 995363 w 1378744"/>
                <a:gd name="connsiteY71" fmla="*/ 995362 h 1288255"/>
                <a:gd name="connsiteX72" fmla="*/ 978694 w 1378744"/>
                <a:gd name="connsiteY72" fmla="*/ 1012031 h 1288255"/>
                <a:gd name="connsiteX73" fmla="*/ 969169 w 1378744"/>
                <a:gd name="connsiteY73" fmla="*/ 1031081 h 1288255"/>
                <a:gd name="connsiteX74" fmla="*/ 954882 w 1378744"/>
                <a:gd name="connsiteY74" fmla="*/ 1054893 h 1288255"/>
                <a:gd name="connsiteX75" fmla="*/ 950119 w 1378744"/>
                <a:gd name="connsiteY75" fmla="*/ 1083468 h 1288255"/>
                <a:gd name="connsiteX76" fmla="*/ 962025 w 1378744"/>
                <a:gd name="connsiteY76" fmla="*/ 1107281 h 1288255"/>
                <a:gd name="connsiteX77" fmla="*/ 983457 w 1378744"/>
                <a:gd name="connsiteY77" fmla="*/ 1131093 h 1288255"/>
                <a:gd name="connsiteX78" fmla="*/ 1002507 w 1378744"/>
                <a:gd name="connsiteY78" fmla="*/ 1133475 h 1288255"/>
                <a:gd name="connsiteX79" fmla="*/ 1028700 w 1378744"/>
                <a:gd name="connsiteY79" fmla="*/ 1126331 h 1288255"/>
                <a:gd name="connsiteX80" fmla="*/ 1031082 w 1378744"/>
                <a:gd name="connsiteY80" fmla="*/ 1097756 h 1288255"/>
                <a:gd name="connsiteX81" fmla="*/ 1057275 w 1378744"/>
                <a:gd name="connsiteY81" fmla="*/ 1085850 h 1288255"/>
                <a:gd name="connsiteX82" fmla="*/ 1076325 w 1378744"/>
                <a:gd name="connsiteY82" fmla="*/ 1097756 h 1288255"/>
                <a:gd name="connsiteX83" fmla="*/ 1100138 w 1378744"/>
                <a:gd name="connsiteY83" fmla="*/ 1107281 h 1288255"/>
                <a:gd name="connsiteX84" fmla="*/ 1123950 w 1378744"/>
                <a:gd name="connsiteY84" fmla="*/ 1121568 h 1288255"/>
                <a:gd name="connsiteX85" fmla="*/ 1143000 w 1378744"/>
                <a:gd name="connsiteY85" fmla="*/ 1123950 h 1288255"/>
                <a:gd name="connsiteX86" fmla="*/ 1157288 w 1378744"/>
                <a:gd name="connsiteY86" fmla="*/ 1112043 h 1288255"/>
                <a:gd name="connsiteX87" fmla="*/ 1159669 w 1378744"/>
                <a:gd name="connsiteY87" fmla="*/ 1085850 h 1288255"/>
                <a:gd name="connsiteX88" fmla="*/ 1166813 w 1378744"/>
                <a:gd name="connsiteY88" fmla="*/ 1052512 h 1288255"/>
                <a:gd name="connsiteX89" fmla="*/ 1197769 w 1378744"/>
                <a:gd name="connsiteY89" fmla="*/ 1016793 h 1288255"/>
                <a:gd name="connsiteX90" fmla="*/ 1195388 w 1378744"/>
                <a:gd name="connsiteY90" fmla="*/ 954881 h 1288255"/>
                <a:gd name="connsiteX91" fmla="*/ 1209675 w 1378744"/>
                <a:gd name="connsiteY91" fmla="*/ 945356 h 1288255"/>
                <a:gd name="connsiteX92" fmla="*/ 1235869 w 1378744"/>
                <a:gd name="connsiteY92" fmla="*/ 945356 h 1288255"/>
                <a:gd name="connsiteX93" fmla="*/ 1235869 w 1378744"/>
                <a:gd name="connsiteY93" fmla="*/ 931068 h 1288255"/>
                <a:gd name="connsiteX94" fmla="*/ 1212057 w 1378744"/>
                <a:gd name="connsiteY94" fmla="*/ 912018 h 1288255"/>
                <a:gd name="connsiteX95" fmla="*/ 1195388 w 1378744"/>
                <a:gd name="connsiteY95" fmla="*/ 881062 h 1288255"/>
                <a:gd name="connsiteX96" fmla="*/ 1157288 w 1378744"/>
                <a:gd name="connsiteY96" fmla="*/ 871537 h 1288255"/>
                <a:gd name="connsiteX97" fmla="*/ 1119188 w 1378744"/>
                <a:gd name="connsiteY97" fmla="*/ 859631 h 1288255"/>
                <a:gd name="connsiteX98" fmla="*/ 1119188 w 1378744"/>
                <a:gd name="connsiteY98" fmla="*/ 831056 h 1288255"/>
                <a:gd name="connsiteX99" fmla="*/ 1135857 w 1378744"/>
                <a:gd name="connsiteY99" fmla="*/ 807243 h 1288255"/>
                <a:gd name="connsiteX100" fmla="*/ 1197769 w 1378744"/>
                <a:gd name="connsiteY100" fmla="*/ 759618 h 1288255"/>
                <a:gd name="connsiteX101" fmla="*/ 1247775 w 1378744"/>
                <a:gd name="connsiteY101" fmla="*/ 762000 h 1288255"/>
                <a:gd name="connsiteX102" fmla="*/ 1278732 w 1378744"/>
                <a:gd name="connsiteY102" fmla="*/ 762000 h 1288255"/>
                <a:gd name="connsiteX103" fmla="*/ 1271588 w 1378744"/>
                <a:gd name="connsiteY103" fmla="*/ 735806 h 1288255"/>
                <a:gd name="connsiteX104" fmla="*/ 1378744 w 1378744"/>
                <a:gd name="connsiteY104" fmla="*/ 678656 h 1288255"/>
                <a:gd name="connsiteX105" fmla="*/ 1331119 w 1378744"/>
                <a:gd name="connsiteY105" fmla="*/ 552450 h 1288255"/>
                <a:gd name="connsiteX106" fmla="*/ 1278732 w 1378744"/>
                <a:gd name="connsiteY106" fmla="*/ 514350 h 1288255"/>
                <a:gd name="connsiteX107" fmla="*/ 1252538 w 1378744"/>
                <a:gd name="connsiteY107" fmla="*/ 431006 h 1288255"/>
                <a:gd name="connsiteX108" fmla="*/ 1181100 w 1378744"/>
                <a:gd name="connsiteY108" fmla="*/ 431006 h 1288255"/>
                <a:gd name="connsiteX109" fmla="*/ 1166813 w 1378744"/>
                <a:gd name="connsiteY109" fmla="*/ 395287 h 1288255"/>
                <a:gd name="connsiteX110" fmla="*/ 1107282 w 1378744"/>
                <a:gd name="connsiteY110" fmla="*/ 421481 h 1288255"/>
                <a:gd name="connsiteX111" fmla="*/ 1054894 w 1378744"/>
                <a:gd name="connsiteY111" fmla="*/ 414337 h 1288255"/>
                <a:gd name="connsiteX112" fmla="*/ 1028700 w 1378744"/>
                <a:gd name="connsiteY112" fmla="*/ 371475 h 1288255"/>
                <a:gd name="connsiteX113" fmla="*/ 1023938 w 1378744"/>
                <a:gd name="connsiteY113" fmla="*/ 288131 h 1288255"/>
                <a:gd name="connsiteX114" fmla="*/ 1012032 w 1378744"/>
                <a:gd name="connsiteY114" fmla="*/ 269081 h 1288255"/>
                <a:gd name="connsiteX115" fmla="*/ 1012032 w 1378744"/>
                <a:gd name="connsiteY115" fmla="*/ 211931 h 1288255"/>
                <a:gd name="connsiteX116" fmla="*/ 959644 w 1378744"/>
                <a:gd name="connsiteY116" fmla="*/ 190500 h 1288255"/>
                <a:gd name="connsiteX117" fmla="*/ 914400 w 1378744"/>
                <a:gd name="connsiteY117" fmla="*/ 111918 h 1288255"/>
                <a:gd name="connsiteX118" fmla="*/ 854869 w 1378744"/>
                <a:gd name="connsiteY118" fmla="*/ 76200 h 1288255"/>
                <a:gd name="connsiteX119" fmla="*/ 873919 w 1378744"/>
                <a:gd name="connsiteY119" fmla="*/ 16668 h 1288255"/>
                <a:gd name="connsiteX120" fmla="*/ 783432 w 1378744"/>
                <a:gd name="connsiteY120"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47713 w 1378744"/>
                <a:gd name="connsiteY58" fmla="*/ 1257299 h 1288255"/>
                <a:gd name="connsiteX59" fmla="*/ 814388 w 1378744"/>
                <a:gd name="connsiteY59" fmla="*/ 1138237 h 1288255"/>
                <a:gd name="connsiteX60" fmla="*/ 828675 w 1378744"/>
                <a:gd name="connsiteY60" fmla="*/ 1109662 h 1288255"/>
                <a:gd name="connsiteX61" fmla="*/ 833438 w 1378744"/>
                <a:gd name="connsiteY61" fmla="*/ 1085850 h 1288255"/>
                <a:gd name="connsiteX62" fmla="*/ 797719 w 1378744"/>
                <a:gd name="connsiteY62" fmla="*/ 1059656 h 1288255"/>
                <a:gd name="connsiteX63" fmla="*/ 790575 w 1378744"/>
                <a:gd name="connsiteY63" fmla="*/ 1038225 h 1288255"/>
                <a:gd name="connsiteX64" fmla="*/ 790575 w 1378744"/>
                <a:gd name="connsiteY64" fmla="*/ 1021556 h 1288255"/>
                <a:gd name="connsiteX65" fmla="*/ 845344 w 1378744"/>
                <a:gd name="connsiteY65" fmla="*/ 952500 h 1288255"/>
                <a:gd name="connsiteX66" fmla="*/ 845344 w 1378744"/>
                <a:gd name="connsiteY66" fmla="*/ 952500 h 1288255"/>
                <a:gd name="connsiteX67" fmla="*/ 888207 w 1378744"/>
                <a:gd name="connsiteY67" fmla="*/ 966787 h 1288255"/>
                <a:gd name="connsiteX68" fmla="*/ 907257 w 1378744"/>
                <a:gd name="connsiteY68" fmla="*/ 981075 h 1288255"/>
                <a:gd name="connsiteX69" fmla="*/ 938213 w 1378744"/>
                <a:gd name="connsiteY69" fmla="*/ 990600 h 1288255"/>
                <a:gd name="connsiteX70" fmla="*/ 964407 w 1378744"/>
                <a:gd name="connsiteY70" fmla="*/ 985837 h 1288255"/>
                <a:gd name="connsiteX71" fmla="*/ 985838 w 1378744"/>
                <a:gd name="connsiteY71" fmla="*/ 985837 h 1288255"/>
                <a:gd name="connsiteX72" fmla="*/ 995363 w 1378744"/>
                <a:gd name="connsiteY72" fmla="*/ 995362 h 1288255"/>
                <a:gd name="connsiteX73" fmla="*/ 978694 w 1378744"/>
                <a:gd name="connsiteY73" fmla="*/ 1012031 h 1288255"/>
                <a:gd name="connsiteX74" fmla="*/ 969169 w 1378744"/>
                <a:gd name="connsiteY74" fmla="*/ 1031081 h 1288255"/>
                <a:gd name="connsiteX75" fmla="*/ 954882 w 1378744"/>
                <a:gd name="connsiteY75" fmla="*/ 1054893 h 1288255"/>
                <a:gd name="connsiteX76" fmla="*/ 950119 w 1378744"/>
                <a:gd name="connsiteY76" fmla="*/ 1083468 h 1288255"/>
                <a:gd name="connsiteX77" fmla="*/ 962025 w 1378744"/>
                <a:gd name="connsiteY77" fmla="*/ 1107281 h 1288255"/>
                <a:gd name="connsiteX78" fmla="*/ 983457 w 1378744"/>
                <a:gd name="connsiteY78" fmla="*/ 1131093 h 1288255"/>
                <a:gd name="connsiteX79" fmla="*/ 1002507 w 1378744"/>
                <a:gd name="connsiteY79" fmla="*/ 1133475 h 1288255"/>
                <a:gd name="connsiteX80" fmla="*/ 1028700 w 1378744"/>
                <a:gd name="connsiteY80" fmla="*/ 1126331 h 1288255"/>
                <a:gd name="connsiteX81" fmla="*/ 1031082 w 1378744"/>
                <a:gd name="connsiteY81" fmla="*/ 1097756 h 1288255"/>
                <a:gd name="connsiteX82" fmla="*/ 1057275 w 1378744"/>
                <a:gd name="connsiteY82" fmla="*/ 1085850 h 1288255"/>
                <a:gd name="connsiteX83" fmla="*/ 1076325 w 1378744"/>
                <a:gd name="connsiteY83" fmla="*/ 1097756 h 1288255"/>
                <a:gd name="connsiteX84" fmla="*/ 1100138 w 1378744"/>
                <a:gd name="connsiteY84" fmla="*/ 1107281 h 1288255"/>
                <a:gd name="connsiteX85" fmla="*/ 1123950 w 1378744"/>
                <a:gd name="connsiteY85" fmla="*/ 1121568 h 1288255"/>
                <a:gd name="connsiteX86" fmla="*/ 1143000 w 1378744"/>
                <a:gd name="connsiteY86" fmla="*/ 1123950 h 1288255"/>
                <a:gd name="connsiteX87" fmla="*/ 1157288 w 1378744"/>
                <a:gd name="connsiteY87" fmla="*/ 1112043 h 1288255"/>
                <a:gd name="connsiteX88" fmla="*/ 1159669 w 1378744"/>
                <a:gd name="connsiteY88" fmla="*/ 1085850 h 1288255"/>
                <a:gd name="connsiteX89" fmla="*/ 1166813 w 1378744"/>
                <a:gd name="connsiteY89" fmla="*/ 1052512 h 1288255"/>
                <a:gd name="connsiteX90" fmla="*/ 1197769 w 1378744"/>
                <a:gd name="connsiteY90" fmla="*/ 1016793 h 1288255"/>
                <a:gd name="connsiteX91" fmla="*/ 1195388 w 1378744"/>
                <a:gd name="connsiteY91" fmla="*/ 954881 h 1288255"/>
                <a:gd name="connsiteX92" fmla="*/ 1209675 w 1378744"/>
                <a:gd name="connsiteY92" fmla="*/ 945356 h 1288255"/>
                <a:gd name="connsiteX93" fmla="*/ 1235869 w 1378744"/>
                <a:gd name="connsiteY93" fmla="*/ 945356 h 1288255"/>
                <a:gd name="connsiteX94" fmla="*/ 1235869 w 1378744"/>
                <a:gd name="connsiteY94" fmla="*/ 931068 h 1288255"/>
                <a:gd name="connsiteX95" fmla="*/ 1212057 w 1378744"/>
                <a:gd name="connsiteY95" fmla="*/ 912018 h 1288255"/>
                <a:gd name="connsiteX96" fmla="*/ 1195388 w 1378744"/>
                <a:gd name="connsiteY96" fmla="*/ 881062 h 1288255"/>
                <a:gd name="connsiteX97" fmla="*/ 1157288 w 1378744"/>
                <a:gd name="connsiteY97" fmla="*/ 871537 h 1288255"/>
                <a:gd name="connsiteX98" fmla="*/ 1119188 w 1378744"/>
                <a:gd name="connsiteY98" fmla="*/ 859631 h 1288255"/>
                <a:gd name="connsiteX99" fmla="*/ 1119188 w 1378744"/>
                <a:gd name="connsiteY99" fmla="*/ 831056 h 1288255"/>
                <a:gd name="connsiteX100" fmla="*/ 1135857 w 1378744"/>
                <a:gd name="connsiteY100" fmla="*/ 807243 h 1288255"/>
                <a:gd name="connsiteX101" fmla="*/ 1197769 w 1378744"/>
                <a:gd name="connsiteY101" fmla="*/ 759618 h 1288255"/>
                <a:gd name="connsiteX102" fmla="*/ 1247775 w 1378744"/>
                <a:gd name="connsiteY102" fmla="*/ 762000 h 1288255"/>
                <a:gd name="connsiteX103" fmla="*/ 1278732 w 1378744"/>
                <a:gd name="connsiteY103" fmla="*/ 762000 h 1288255"/>
                <a:gd name="connsiteX104" fmla="*/ 1271588 w 1378744"/>
                <a:gd name="connsiteY104" fmla="*/ 735806 h 1288255"/>
                <a:gd name="connsiteX105" fmla="*/ 1378744 w 1378744"/>
                <a:gd name="connsiteY105" fmla="*/ 678656 h 1288255"/>
                <a:gd name="connsiteX106" fmla="*/ 1331119 w 1378744"/>
                <a:gd name="connsiteY106" fmla="*/ 552450 h 1288255"/>
                <a:gd name="connsiteX107" fmla="*/ 1278732 w 1378744"/>
                <a:gd name="connsiteY107" fmla="*/ 514350 h 1288255"/>
                <a:gd name="connsiteX108" fmla="*/ 1252538 w 1378744"/>
                <a:gd name="connsiteY108" fmla="*/ 431006 h 1288255"/>
                <a:gd name="connsiteX109" fmla="*/ 1181100 w 1378744"/>
                <a:gd name="connsiteY109" fmla="*/ 431006 h 1288255"/>
                <a:gd name="connsiteX110" fmla="*/ 1166813 w 1378744"/>
                <a:gd name="connsiteY110" fmla="*/ 395287 h 1288255"/>
                <a:gd name="connsiteX111" fmla="*/ 1107282 w 1378744"/>
                <a:gd name="connsiteY111" fmla="*/ 421481 h 1288255"/>
                <a:gd name="connsiteX112" fmla="*/ 1054894 w 1378744"/>
                <a:gd name="connsiteY112" fmla="*/ 414337 h 1288255"/>
                <a:gd name="connsiteX113" fmla="*/ 1028700 w 1378744"/>
                <a:gd name="connsiteY113" fmla="*/ 371475 h 1288255"/>
                <a:gd name="connsiteX114" fmla="*/ 1023938 w 1378744"/>
                <a:gd name="connsiteY114" fmla="*/ 288131 h 1288255"/>
                <a:gd name="connsiteX115" fmla="*/ 1012032 w 1378744"/>
                <a:gd name="connsiteY115" fmla="*/ 269081 h 1288255"/>
                <a:gd name="connsiteX116" fmla="*/ 1012032 w 1378744"/>
                <a:gd name="connsiteY116" fmla="*/ 211931 h 1288255"/>
                <a:gd name="connsiteX117" fmla="*/ 959644 w 1378744"/>
                <a:gd name="connsiteY117" fmla="*/ 190500 h 1288255"/>
                <a:gd name="connsiteX118" fmla="*/ 914400 w 1378744"/>
                <a:gd name="connsiteY118" fmla="*/ 111918 h 1288255"/>
                <a:gd name="connsiteX119" fmla="*/ 854869 w 1378744"/>
                <a:gd name="connsiteY119" fmla="*/ 76200 h 1288255"/>
                <a:gd name="connsiteX120" fmla="*/ 873919 w 1378744"/>
                <a:gd name="connsiteY120" fmla="*/ 16668 h 1288255"/>
                <a:gd name="connsiteX121" fmla="*/ 783432 w 1378744"/>
                <a:gd name="connsiteY121"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814388 w 1378744"/>
                <a:gd name="connsiteY59" fmla="*/ 1138237 h 1288255"/>
                <a:gd name="connsiteX60" fmla="*/ 828675 w 1378744"/>
                <a:gd name="connsiteY60" fmla="*/ 1109662 h 1288255"/>
                <a:gd name="connsiteX61" fmla="*/ 833438 w 1378744"/>
                <a:gd name="connsiteY61" fmla="*/ 1085850 h 1288255"/>
                <a:gd name="connsiteX62" fmla="*/ 797719 w 1378744"/>
                <a:gd name="connsiteY62" fmla="*/ 1059656 h 1288255"/>
                <a:gd name="connsiteX63" fmla="*/ 790575 w 1378744"/>
                <a:gd name="connsiteY63" fmla="*/ 1038225 h 1288255"/>
                <a:gd name="connsiteX64" fmla="*/ 790575 w 1378744"/>
                <a:gd name="connsiteY64" fmla="*/ 1021556 h 1288255"/>
                <a:gd name="connsiteX65" fmla="*/ 845344 w 1378744"/>
                <a:gd name="connsiteY65" fmla="*/ 952500 h 1288255"/>
                <a:gd name="connsiteX66" fmla="*/ 845344 w 1378744"/>
                <a:gd name="connsiteY66" fmla="*/ 952500 h 1288255"/>
                <a:gd name="connsiteX67" fmla="*/ 888207 w 1378744"/>
                <a:gd name="connsiteY67" fmla="*/ 966787 h 1288255"/>
                <a:gd name="connsiteX68" fmla="*/ 907257 w 1378744"/>
                <a:gd name="connsiteY68" fmla="*/ 981075 h 1288255"/>
                <a:gd name="connsiteX69" fmla="*/ 938213 w 1378744"/>
                <a:gd name="connsiteY69" fmla="*/ 990600 h 1288255"/>
                <a:gd name="connsiteX70" fmla="*/ 964407 w 1378744"/>
                <a:gd name="connsiteY70" fmla="*/ 985837 h 1288255"/>
                <a:gd name="connsiteX71" fmla="*/ 985838 w 1378744"/>
                <a:gd name="connsiteY71" fmla="*/ 985837 h 1288255"/>
                <a:gd name="connsiteX72" fmla="*/ 995363 w 1378744"/>
                <a:gd name="connsiteY72" fmla="*/ 995362 h 1288255"/>
                <a:gd name="connsiteX73" fmla="*/ 978694 w 1378744"/>
                <a:gd name="connsiteY73" fmla="*/ 1012031 h 1288255"/>
                <a:gd name="connsiteX74" fmla="*/ 969169 w 1378744"/>
                <a:gd name="connsiteY74" fmla="*/ 1031081 h 1288255"/>
                <a:gd name="connsiteX75" fmla="*/ 954882 w 1378744"/>
                <a:gd name="connsiteY75" fmla="*/ 1054893 h 1288255"/>
                <a:gd name="connsiteX76" fmla="*/ 950119 w 1378744"/>
                <a:gd name="connsiteY76" fmla="*/ 1083468 h 1288255"/>
                <a:gd name="connsiteX77" fmla="*/ 962025 w 1378744"/>
                <a:gd name="connsiteY77" fmla="*/ 1107281 h 1288255"/>
                <a:gd name="connsiteX78" fmla="*/ 983457 w 1378744"/>
                <a:gd name="connsiteY78" fmla="*/ 1131093 h 1288255"/>
                <a:gd name="connsiteX79" fmla="*/ 1002507 w 1378744"/>
                <a:gd name="connsiteY79" fmla="*/ 1133475 h 1288255"/>
                <a:gd name="connsiteX80" fmla="*/ 1028700 w 1378744"/>
                <a:gd name="connsiteY80" fmla="*/ 1126331 h 1288255"/>
                <a:gd name="connsiteX81" fmla="*/ 1031082 w 1378744"/>
                <a:gd name="connsiteY81" fmla="*/ 1097756 h 1288255"/>
                <a:gd name="connsiteX82" fmla="*/ 1057275 w 1378744"/>
                <a:gd name="connsiteY82" fmla="*/ 1085850 h 1288255"/>
                <a:gd name="connsiteX83" fmla="*/ 1076325 w 1378744"/>
                <a:gd name="connsiteY83" fmla="*/ 1097756 h 1288255"/>
                <a:gd name="connsiteX84" fmla="*/ 1100138 w 1378744"/>
                <a:gd name="connsiteY84" fmla="*/ 1107281 h 1288255"/>
                <a:gd name="connsiteX85" fmla="*/ 1123950 w 1378744"/>
                <a:gd name="connsiteY85" fmla="*/ 1121568 h 1288255"/>
                <a:gd name="connsiteX86" fmla="*/ 1143000 w 1378744"/>
                <a:gd name="connsiteY86" fmla="*/ 1123950 h 1288255"/>
                <a:gd name="connsiteX87" fmla="*/ 1157288 w 1378744"/>
                <a:gd name="connsiteY87" fmla="*/ 1112043 h 1288255"/>
                <a:gd name="connsiteX88" fmla="*/ 1159669 w 1378744"/>
                <a:gd name="connsiteY88" fmla="*/ 1085850 h 1288255"/>
                <a:gd name="connsiteX89" fmla="*/ 1166813 w 1378744"/>
                <a:gd name="connsiteY89" fmla="*/ 1052512 h 1288255"/>
                <a:gd name="connsiteX90" fmla="*/ 1197769 w 1378744"/>
                <a:gd name="connsiteY90" fmla="*/ 1016793 h 1288255"/>
                <a:gd name="connsiteX91" fmla="*/ 1195388 w 1378744"/>
                <a:gd name="connsiteY91" fmla="*/ 954881 h 1288255"/>
                <a:gd name="connsiteX92" fmla="*/ 1209675 w 1378744"/>
                <a:gd name="connsiteY92" fmla="*/ 945356 h 1288255"/>
                <a:gd name="connsiteX93" fmla="*/ 1235869 w 1378744"/>
                <a:gd name="connsiteY93" fmla="*/ 945356 h 1288255"/>
                <a:gd name="connsiteX94" fmla="*/ 1235869 w 1378744"/>
                <a:gd name="connsiteY94" fmla="*/ 931068 h 1288255"/>
                <a:gd name="connsiteX95" fmla="*/ 1212057 w 1378744"/>
                <a:gd name="connsiteY95" fmla="*/ 912018 h 1288255"/>
                <a:gd name="connsiteX96" fmla="*/ 1195388 w 1378744"/>
                <a:gd name="connsiteY96" fmla="*/ 881062 h 1288255"/>
                <a:gd name="connsiteX97" fmla="*/ 1157288 w 1378744"/>
                <a:gd name="connsiteY97" fmla="*/ 871537 h 1288255"/>
                <a:gd name="connsiteX98" fmla="*/ 1119188 w 1378744"/>
                <a:gd name="connsiteY98" fmla="*/ 859631 h 1288255"/>
                <a:gd name="connsiteX99" fmla="*/ 1119188 w 1378744"/>
                <a:gd name="connsiteY99" fmla="*/ 831056 h 1288255"/>
                <a:gd name="connsiteX100" fmla="*/ 1135857 w 1378744"/>
                <a:gd name="connsiteY100" fmla="*/ 807243 h 1288255"/>
                <a:gd name="connsiteX101" fmla="*/ 1197769 w 1378744"/>
                <a:gd name="connsiteY101" fmla="*/ 759618 h 1288255"/>
                <a:gd name="connsiteX102" fmla="*/ 1247775 w 1378744"/>
                <a:gd name="connsiteY102" fmla="*/ 762000 h 1288255"/>
                <a:gd name="connsiteX103" fmla="*/ 1278732 w 1378744"/>
                <a:gd name="connsiteY103" fmla="*/ 762000 h 1288255"/>
                <a:gd name="connsiteX104" fmla="*/ 1271588 w 1378744"/>
                <a:gd name="connsiteY104" fmla="*/ 735806 h 1288255"/>
                <a:gd name="connsiteX105" fmla="*/ 1378744 w 1378744"/>
                <a:gd name="connsiteY105" fmla="*/ 678656 h 1288255"/>
                <a:gd name="connsiteX106" fmla="*/ 1331119 w 1378744"/>
                <a:gd name="connsiteY106" fmla="*/ 552450 h 1288255"/>
                <a:gd name="connsiteX107" fmla="*/ 1278732 w 1378744"/>
                <a:gd name="connsiteY107" fmla="*/ 514350 h 1288255"/>
                <a:gd name="connsiteX108" fmla="*/ 1252538 w 1378744"/>
                <a:gd name="connsiteY108" fmla="*/ 431006 h 1288255"/>
                <a:gd name="connsiteX109" fmla="*/ 1181100 w 1378744"/>
                <a:gd name="connsiteY109" fmla="*/ 431006 h 1288255"/>
                <a:gd name="connsiteX110" fmla="*/ 1166813 w 1378744"/>
                <a:gd name="connsiteY110" fmla="*/ 395287 h 1288255"/>
                <a:gd name="connsiteX111" fmla="*/ 1107282 w 1378744"/>
                <a:gd name="connsiteY111" fmla="*/ 421481 h 1288255"/>
                <a:gd name="connsiteX112" fmla="*/ 1054894 w 1378744"/>
                <a:gd name="connsiteY112" fmla="*/ 414337 h 1288255"/>
                <a:gd name="connsiteX113" fmla="*/ 1028700 w 1378744"/>
                <a:gd name="connsiteY113" fmla="*/ 371475 h 1288255"/>
                <a:gd name="connsiteX114" fmla="*/ 1023938 w 1378744"/>
                <a:gd name="connsiteY114" fmla="*/ 288131 h 1288255"/>
                <a:gd name="connsiteX115" fmla="*/ 1012032 w 1378744"/>
                <a:gd name="connsiteY115" fmla="*/ 269081 h 1288255"/>
                <a:gd name="connsiteX116" fmla="*/ 1012032 w 1378744"/>
                <a:gd name="connsiteY116" fmla="*/ 211931 h 1288255"/>
                <a:gd name="connsiteX117" fmla="*/ 959644 w 1378744"/>
                <a:gd name="connsiteY117" fmla="*/ 190500 h 1288255"/>
                <a:gd name="connsiteX118" fmla="*/ 914400 w 1378744"/>
                <a:gd name="connsiteY118" fmla="*/ 111918 h 1288255"/>
                <a:gd name="connsiteX119" fmla="*/ 854869 w 1378744"/>
                <a:gd name="connsiteY119" fmla="*/ 76200 h 1288255"/>
                <a:gd name="connsiteX120" fmla="*/ 873919 w 1378744"/>
                <a:gd name="connsiteY120" fmla="*/ 16668 h 1288255"/>
                <a:gd name="connsiteX121" fmla="*/ 783432 w 1378744"/>
                <a:gd name="connsiteY121"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81050 w 1378744"/>
                <a:gd name="connsiteY59" fmla="*/ 1240630 h 1288255"/>
                <a:gd name="connsiteX60" fmla="*/ 814388 w 1378744"/>
                <a:gd name="connsiteY60" fmla="*/ 1138237 h 1288255"/>
                <a:gd name="connsiteX61" fmla="*/ 828675 w 1378744"/>
                <a:gd name="connsiteY61" fmla="*/ 1109662 h 1288255"/>
                <a:gd name="connsiteX62" fmla="*/ 833438 w 1378744"/>
                <a:gd name="connsiteY62" fmla="*/ 1085850 h 1288255"/>
                <a:gd name="connsiteX63" fmla="*/ 797719 w 1378744"/>
                <a:gd name="connsiteY63" fmla="*/ 1059656 h 1288255"/>
                <a:gd name="connsiteX64" fmla="*/ 790575 w 1378744"/>
                <a:gd name="connsiteY64" fmla="*/ 1038225 h 1288255"/>
                <a:gd name="connsiteX65" fmla="*/ 790575 w 1378744"/>
                <a:gd name="connsiteY65" fmla="*/ 1021556 h 1288255"/>
                <a:gd name="connsiteX66" fmla="*/ 845344 w 1378744"/>
                <a:gd name="connsiteY66" fmla="*/ 952500 h 1288255"/>
                <a:gd name="connsiteX67" fmla="*/ 845344 w 1378744"/>
                <a:gd name="connsiteY67" fmla="*/ 952500 h 1288255"/>
                <a:gd name="connsiteX68" fmla="*/ 888207 w 1378744"/>
                <a:gd name="connsiteY68" fmla="*/ 966787 h 1288255"/>
                <a:gd name="connsiteX69" fmla="*/ 907257 w 1378744"/>
                <a:gd name="connsiteY69" fmla="*/ 981075 h 1288255"/>
                <a:gd name="connsiteX70" fmla="*/ 938213 w 1378744"/>
                <a:gd name="connsiteY70" fmla="*/ 990600 h 1288255"/>
                <a:gd name="connsiteX71" fmla="*/ 964407 w 1378744"/>
                <a:gd name="connsiteY71" fmla="*/ 985837 h 1288255"/>
                <a:gd name="connsiteX72" fmla="*/ 985838 w 1378744"/>
                <a:gd name="connsiteY72" fmla="*/ 985837 h 1288255"/>
                <a:gd name="connsiteX73" fmla="*/ 995363 w 1378744"/>
                <a:gd name="connsiteY73" fmla="*/ 995362 h 1288255"/>
                <a:gd name="connsiteX74" fmla="*/ 978694 w 1378744"/>
                <a:gd name="connsiteY74" fmla="*/ 1012031 h 1288255"/>
                <a:gd name="connsiteX75" fmla="*/ 969169 w 1378744"/>
                <a:gd name="connsiteY75" fmla="*/ 1031081 h 1288255"/>
                <a:gd name="connsiteX76" fmla="*/ 954882 w 1378744"/>
                <a:gd name="connsiteY76" fmla="*/ 1054893 h 1288255"/>
                <a:gd name="connsiteX77" fmla="*/ 950119 w 1378744"/>
                <a:gd name="connsiteY77" fmla="*/ 1083468 h 1288255"/>
                <a:gd name="connsiteX78" fmla="*/ 962025 w 1378744"/>
                <a:gd name="connsiteY78" fmla="*/ 1107281 h 1288255"/>
                <a:gd name="connsiteX79" fmla="*/ 983457 w 1378744"/>
                <a:gd name="connsiteY79" fmla="*/ 1131093 h 1288255"/>
                <a:gd name="connsiteX80" fmla="*/ 1002507 w 1378744"/>
                <a:gd name="connsiteY80" fmla="*/ 1133475 h 1288255"/>
                <a:gd name="connsiteX81" fmla="*/ 1028700 w 1378744"/>
                <a:gd name="connsiteY81" fmla="*/ 1126331 h 1288255"/>
                <a:gd name="connsiteX82" fmla="*/ 1031082 w 1378744"/>
                <a:gd name="connsiteY82" fmla="*/ 1097756 h 1288255"/>
                <a:gd name="connsiteX83" fmla="*/ 1057275 w 1378744"/>
                <a:gd name="connsiteY83" fmla="*/ 1085850 h 1288255"/>
                <a:gd name="connsiteX84" fmla="*/ 1076325 w 1378744"/>
                <a:gd name="connsiteY84" fmla="*/ 1097756 h 1288255"/>
                <a:gd name="connsiteX85" fmla="*/ 1100138 w 1378744"/>
                <a:gd name="connsiteY85" fmla="*/ 1107281 h 1288255"/>
                <a:gd name="connsiteX86" fmla="*/ 1123950 w 1378744"/>
                <a:gd name="connsiteY86" fmla="*/ 1121568 h 1288255"/>
                <a:gd name="connsiteX87" fmla="*/ 1143000 w 1378744"/>
                <a:gd name="connsiteY87" fmla="*/ 1123950 h 1288255"/>
                <a:gd name="connsiteX88" fmla="*/ 1157288 w 1378744"/>
                <a:gd name="connsiteY88" fmla="*/ 1112043 h 1288255"/>
                <a:gd name="connsiteX89" fmla="*/ 1159669 w 1378744"/>
                <a:gd name="connsiteY89" fmla="*/ 1085850 h 1288255"/>
                <a:gd name="connsiteX90" fmla="*/ 1166813 w 1378744"/>
                <a:gd name="connsiteY90" fmla="*/ 1052512 h 1288255"/>
                <a:gd name="connsiteX91" fmla="*/ 1197769 w 1378744"/>
                <a:gd name="connsiteY91" fmla="*/ 1016793 h 1288255"/>
                <a:gd name="connsiteX92" fmla="*/ 1195388 w 1378744"/>
                <a:gd name="connsiteY92" fmla="*/ 954881 h 1288255"/>
                <a:gd name="connsiteX93" fmla="*/ 1209675 w 1378744"/>
                <a:gd name="connsiteY93" fmla="*/ 945356 h 1288255"/>
                <a:gd name="connsiteX94" fmla="*/ 1235869 w 1378744"/>
                <a:gd name="connsiteY94" fmla="*/ 945356 h 1288255"/>
                <a:gd name="connsiteX95" fmla="*/ 1235869 w 1378744"/>
                <a:gd name="connsiteY95" fmla="*/ 931068 h 1288255"/>
                <a:gd name="connsiteX96" fmla="*/ 1212057 w 1378744"/>
                <a:gd name="connsiteY96" fmla="*/ 912018 h 1288255"/>
                <a:gd name="connsiteX97" fmla="*/ 1195388 w 1378744"/>
                <a:gd name="connsiteY97" fmla="*/ 881062 h 1288255"/>
                <a:gd name="connsiteX98" fmla="*/ 1157288 w 1378744"/>
                <a:gd name="connsiteY98" fmla="*/ 871537 h 1288255"/>
                <a:gd name="connsiteX99" fmla="*/ 1119188 w 1378744"/>
                <a:gd name="connsiteY99" fmla="*/ 859631 h 1288255"/>
                <a:gd name="connsiteX100" fmla="*/ 1119188 w 1378744"/>
                <a:gd name="connsiteY100" fmla="*/ 831056 h 1288255"/>
                <a:gd name="connsiteX101" fmla="*/ 1135857 w 1378744"/>
                <a:gd name="connsiteY101" fmla="*/ 807243 h 1288255"/>
                <a:gd name="connsiteX102" fmla="*/ 1197769 w 1378744"/>
                <a:gd name="connsiteY102" fmla="*/ 759618 h 1288255"/>
                <a:gd name="connsiteX103" fmla="*/ 1247775 w 1378744"/>
                <a:gd name="connsiteY103" fmla="*/ 762000 h 1288255"/>
                <a:gd name="connsiteX104" fmla="*/ 1278732 w 1378744"/>
                <a:gd name="connsiteY104" fmla="*/ 762000 h 1288255"/>
                <a:gd name="connsiteX105" fmla="*/ 1271588 w 1378744"/>
                <a:gd name="connsiteY105" fmla="*/ 735806 h 1288255"/>
                <a:gd name="connsiteX106" fmla="*/ 1378744 w 1378744"/>
                <a:gd name="connsiteY106" fmla="*/ 678656 h 1288255"/>
                <a:gd name="connsiteX107" fmla="*/ 1331119 w 1378744"/>
                <a:gd name="connsiteY107" fmla="*/ 552450 h 1288255"/>
                <a:gd name="connsiteX108" fmla="*/ 1278732 w 1378744"/>
                <a:gd name="connsiteY108" fmla="*/ 514350 h 1288255"/>
                <a:gd name="connsiteX109" fmla="*/ 1252538 w 1378744"/>
                <a:gd name="connsiteY109" fmla="*/ 431006 h 1288255"/>
                <a:gd name="connsiteX110" fmla="*/ 1181100 w 1378744"/>
                <a:gd name="connsiteY110" fmla="*/ 431006 h 1288255"/>
                <a:gd name="connsiteX111" fmla="*/ 1166813 w 1378744"/>
                <a:gd name="connsiteY111" fmla="*/ 395287 h 1288255"/>
                <a:gd name="connsiteX112" fmla="*/ 1107282 w 1378744"/>
                <a:gd name="connsiteY112" fmla="*/ 421481 h 1288255"/>
                <a:gd name="connsiteX113" fmla="*/ 1054894 w 1378744"/>
                <a:gd name="connsiteY113" fmla="*/ 414337 h 1288255"/>
                <a:gd name="connsiteX114" fmla="*/ 1028700 w 1378744"/>
                <a:gd name="connsiteY114" fmla="*/ 371475 h 1288255"/>
                <a:gd name="connsiteX115" fmla="*/ 1023938 w 1378744"/>
                <a:gd name="connsiteY115" fmla="*/ 288131 h 1288255"/>
                <a:gd name="connsiteX116" fmla="*/ 1012032 w 1378744"/>
                <a:gd name="connsiteY116" fmla="*/ 269081 h 1288255"/>
                <a:gd name="connsiteX117" fmla="*/ 1012032 w 1378744"/>
                <a:gd name="connsiteY117" fmla="*/ 211931 h 1288255"/>
                <a:gd name="connsiteX118" fmla="*/ 959644 w 1378744"/>
                <a:gd name="connsiteY118" fmla="*/ 190500 h 1288255"/>
                <a:gd name="connsiteX119" fmla="*/ 914400 w 1378744"/>
                <a:gd name="connsiteY119" fmla="*/ 111918 h 1288255"/>
                <a:gd name="connsiteX120" fmla="*/ 854869 w 1378744"/>
                <a:gd name="connsiteY120" fmla="*/ 76200 h 1288255"/>
                <a:gd name="connsiteX121" fmla="*/ 873919 w 1378744"/>
                <a:gd name="connsiteY121" fmla="*/ 16668 h 1288255"/>
                <a:gd name="connsiteX122" fmla="*/ 783432 w 1378744"/>
                <a:gd name="connsiteY122"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828675 w 1378744"/>
                <a:gd name="connsiteY61" fmla="*/ 1109662 h 1288255"/>
                <a:gd name="connsiteX62" fmla="*/ 833438 w 1378744"/>
                <a:gd name="connsiteY62" fmla="*/ 1085850 h 1288255"/>
                <a:gd name="connsiteX63" fmla="*/ 797719 w 1378744"/>
                <a:gd name="connsiteY63" fmla="*/ 1059656 h 1288255"/>
                <a:gd name="connsiteX64" fmla="*/ 790575 w 1378744"/>
                <a:gd name="connsiteY64" fmla="*/ 1038225 h 1288255"/>
                <a:gd name="connsiteX65" fmla="*/ 790575 w 1378744"/>
                <a:gd name="connsiteY65" fmla="*/ 1021556 h 1288255"/>
                <a:gd name="connsiteX66" fmla="*/ 845344 w 1378744"/>
                <a:gd name="connsiteY66" fmla="*/ 952500 h 1288255"/>
                <a:gd name="connsiteX67" fmla="*/ 845344 w 1378744"/>
                <a:gd name="connsiteY67" fmla="*/ 952500 h 1288255"/>
                <a:gd name="connsiteX68" fmla="*/ 888207 w 1378744"/>
                <a:gd name="connsiteY68" fmla="*/ 966787 h 1288255"/>
                <a:gd name="connsiteX69" fmla="*/ 907257 w 1378744"/>
                <a:gd name="connsiteY69" fmla="*/ 981075 h 1288255"/>
                <a:gd name="connsiteX70" fmla="*/ 938213 w 1378744"/>
                <a:gd name="connsiteY70" fmla="*/ 990600 h 1288255"/>
                <a:gd name="connsiteX71" fmla="*/ 964407 w 1378744"/>
                <a:gd name="connsiteY71" fmla="*/ 985837 h 1288255"/>
                <a:gd name="connsiteX72" fmla="*/ 985838 w 1378744"/>
                <a:gd name="connsiteY72" fmla="*/ 985837 h 1288255"/>
                <a:gd name="connsiteX73" fmla="*/ 995363 w 1378744"/>
                <a:gd name="connsiteY73" fmla="*/ 995362 h 1288255"/>
                <a:gd name="connsiteX74" fmla="*/ 978694 w 1378744"/>
                <a:gd name="connsiteY74" fmla="*/ 1012031 h 1288255"/>
                <a:gd name="connsiteX75" fmla="*/ 969169 w 1378744"/>
                <a:gd name="connsiteY75" fmla="*/ 1031081 h 1288255"/>
                <a:gd name="connsiteX76" fmla="*/ 954882 w 1378744"/>
                <a:gd name="connsiteY76" fmla="*/ 1054893 h 1288255"/>
                <a:gd name="connsiteX77" fmla="*/ 950119 w 1378744"/>
                <a:gd name="connsiteY77" fmla="*/ 1083468 h 1288255"/>
                <a:gd name="connsiteX78" fmla="*/ 962025 w 1378744"/>
                <a:gd name="connsiteY78" fmla="*/ 1107281 h 1288255"/>
                <a:gd name="connsiteX79" fmla="*/ 983457 w 1378744"/>
                <a:gd name="connsiteY79" fmla="*/ 1131093 h 1288255"/>
                <a:gd name="connsiteX80" fmla="*/ 1002507 w 1378744"/>
                <a:gd name="connsiteY80" fmla="*/ 1133475 h 1288255"/>
                <a:gd name="connsiteX81" fmla="*/ 1028700 w 1378744"/>
                <a:gd name="connsiteY81" fmla="*/ 1126331 h 1288255"/>
                <a:gd name="connsiteX82" fmla="*/ 1031082 w 1378744"/>
                <a:gd name="connsiteY82" fmla="*/ 1097756 h 1288255"/>
                <a:gd name="connsiteX83" fmla="*/ 1057275 w 1378744"/>
                <a:gd name="connsiteY83" fmla="*/ 1085850 h 1288255"/>
                <a:gd name="connsiteX84" fmla="*/ 1076325 w 1378744"/>
                <a:gd name="connsiteY84" fmla="*/ 1097756 h 1288255"/>
                <a:gd name="connsiteX85" fmla="*/ 1100138 w 1378744"/>
                <a:gd name="connsiteY85" fmla="*/ 1107281 h 1288255"/>
                <a:gd name="connsiteX86" fmla="*/ 1123950 w 1378744"/>
                <a:gd name="connsiteY86" fmla="*/ 1121568 h 1288255"/>
                <a:gd name="connsiteX87" fmla="*/ 1143000 w 1378744"/>
                <a:gd name="connsiteY87" fmla="*/ 1123950 h 1288255"/>
                <a:gd name="connsiteX88" fmla="*/ 1157288 w 1378744"/>
                <a:gd name="connsiteY88" fmla="*/ 1112043 h 1288255"/>
                <a:gd name="connsiteX89" fmla="*/ 1159669 w 1378744"/>
                <a:gd name="connsiteY89" fmla="*/ 1085850 h 1288255"/>
                <a:gd name="connsiteX90" fmla="*/ 1166813 w 1378744"/>
                <a:gd name="connsiteY90" fmla="*/ 1052512 h 1288255"/>
                <a:gd name="connsiteX91" fmla="*/ 1197769 w 1378744"/>
                <a:gd name="connsiteY91" fmla="*/ 1016793 h 1288255"/>
                <a:gd name="connsiteX92" fmla="*/ 1195388 w 1378744"/>
                <a:gd name="connsiteY92" fmla="*/ 954881 h 1288255"/>
                <a:gd name="connsiteX93" fmla="*/ 1209675 w 1378744"/>
                <a:gd name="connsiteY93" fmla="*/ 945356 h 1288255"/>
                <a:gd name="connsiteX94" fmla="*/ 1235869 w 1378744"/>
                <a:gd name="connsiteY94" fmla="*/ 945356 h 1288255"/>
                <a:gd name="connsiteX95" fmla="*/ 1235869 w 1378744"/>
                <a:gd name="connsiteY95" fmla="*/ 931068 h 1288255"/>
                <a:gd name="connsiteX96" fmla="*/ 1212057 w 1378744"/>
                <a:gd name="connsiteY96" fmla="*/ 912018 h 1288255"/>
                <a:gd name="connsiteX97" fmla="*/ 1195388 w 1378744"/>
                <a:gd name="connsiteY97" fmla="*/ 881062 h 1288255"/>
                <a:gd name="connsiteX98" fmla="*/ 1157288 w 1378744"/>
                <a:gd name="connsiteY98" fmla="*/ 871537 h 1288255"/>
                <a:gd name="connsiteX99" fmla="*/ 1119188 w 1378744"/>
                <a:gd name="connsiteY99" fmla="*/ 859631 h 1288255"/>
                <a:gd name="connsiteX100" fmla="*/ 1119188 w 1378744"/>
                <a:gd name="connsiteY100" fmla="*/ 831056 h 1288255"/>
                <a:gd name="connsiteX101" fmla="*/ 1135857 w 1378744"/>
                <a:gd name="connsiteY101" fmla="*/ 807243 h 1288255"/>
                <a:gd name="connsiteX102" fmla="*/ 1197769 w 1378744"/>
                <a:gd name="connsiteY102" fmla="*/ 759618 h 1288255"/>
                <a:gd name="connsiteX103" fmla="*/ 1247775 w 1378744"/>
                <a:gd name="connsiteY103" fmla="*/ 762000 h 1288255"/>
                <a:gd name="connsiteX104" fmla="*/ 1278732 w 1378744"/>
                <a:gd name="connsiteY104" fmla="*/ 762000 h 1288255"/>
                <a:gd name="connsiteX105" fmla="*/ 1271588 w 1378744"/>
                <a:gd name="connsiteY105" fmla="*/ 735806 h 1288255"/>
                <a:gd name="connsiteX106" fmla="*/ 1378744 w 1378744"/>
                <a:gd name="connsiteY106" fmla="*/ 678656 h 1288255"/>
                <a:gd name="connsiteX107" fmla="*/ 1331119 w 1378744"/>
                <a:gd name="connsiteY107" fmla="*/ 552450 h 1288255"/>
                <a:gd name="connsiteX108" fmla="*/ 1278732 w 1378744"/>
                <a:gd name="connsiteY108" fmla="*/ 514350 h 1288255"/>
                <a:gd name="connsiteX109" fmla="*/ 1252538 w 1378744"/>
                <a:gd name="connsiteY109" fmla="*/ 431006 h 1288255"/>
                <a:gd name="connsiteX110" fmla="*/ 1181100 w 1378744"/>
                <a:gd name="connsiteY110" fmla="*/ 431006 h 1288255"/>
                <a:gd name="connsiteX111" fmla="*/ 1166813 w 1378744"/>
                <a:gd name="connsiteY111" fmla="*/ 395287 h 1288255"/>
                <a:gd name="connsiteX112" fmla="*/ 1107282 w 1378744"/>
                <a:gd name="connsiteY112" fmla="*/ 421481 h 1288255"/>
                <a:gd name="connsiteX113" fmla="*/ 1054894 w 1378744"/>
                <a:gd name="connsiteY113" fmla="*/ 414337 h 1288255"/>
                <a:gd name="connsiteX114" fmla="*/ 1028700 w 1378744"/>
                <a:gd name="connsiteY114" fmla="*/ 371475 h 1288255"/>
                <a:gd name="connsiteX115" fmla="*/ 1023938 w 1378744"/>
                <a:gd name="connsiteY115" fmla="*/ 288131 h 1288255"/>
                <a:gd name="connsiteX116" fmla="*/ 1012032 w 1378744"/>
                <a:gd name="connsiteY116" fmla="*/ 269081 h 1288255"/>
                <a:gd name="connsiteX117" fmla="*/ 1012032 w 1378744"/>
                <a:gd name="connsiteY117" fmla="*/ 211931 h 1288255"/>
                <a:gd name="connsiteX118" fmla="*/ 959644 w 1378744"/>
                <a:gd name="connsiteY118" fmla="*/ 190500 h 1288255"/>
                <a:gd name="connsiteX119" fmla="*/ 914400 w 1378744"/>
                <a:gd name="connsiteY119" fmla="*/ 111918 h 1288255"/>
                <a:gd name="connsiteX120" fmla="*/ 854869 w 1378744"/>
                <a:gd name="connsiteY120" fmla="*/ 76200 h 1288255"/>
                <a:gd name="connsiteX121" fmla="*/ 873919 w 1378744"/>
                <a:gd name="connsiteY121" fmla="*/ 16668 h 1288255"/>
                <a:gd name="connsiteX122" fmla="*/ 783432 w 1378744"/>
                <a:gd name="connsiteY122"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788194 w 1378744"/>
                <a:gd name="connsiteY61" fmla="*/ 1193005 h 1288255"/>
                <a:gd name="connsiteX62" fmla="*/ 828675 w 1378744"/>
                <a:gd name="connsiteY62" fmla="*/ 1109662 h 1288255"/>
                <a:gd name="connsiteX63" fmla="*/ 833438 w 1378744"/>
                <a:gd name="connsiteY63" fmla="*/ 1085850 h 1288255"/>
                <a:gd name="connsiteX64" fmla="*/ 797719 w 1378744"/>
                <a:gd name="connsiteY64" fmla="*/ 1059656 h 1288255"/>
                <a:gd name="connsiteX65" fmla="*/ 790575 w 1378744"/>
                <a:gd name="connsiteY65" fmla="*/ 1038225 h 1288255"/>
                <a:gd name="connsiteX66" fmla="*/ 790575 w 1378744"/>
                <a:gd name="connsiteY66" fmla="*/ 1021556 h 1288255"/>
                <a:gd name="connsiteX67" fmla="*/ 845344 w 1378744"/>
                <a:gd name="connsiteY67" fmla="*/ 952500 h 1288255"/>
                <a:gd name="connsiteX68" fmla="*/ 845344 w 1378744"/>
                <a:gd name="connsiteY68" fmla="*/ 952500 h 1288255"/>
                <a:gd name="connsiteX69" fmla="*/ 888207 w 1378744"/>
                <a:gd name="connsiteY69" fmla="*/ 966787 h 1288255"/>
                <a:gd name="connsiteX70" fmla="*/ 907257 w 1378744"/>
                <a:gd name="connsiteY70" fmla="*/ 981075 h 1288255"/>
                <a:gd name="connsiteX71" fmla="*/ 938213 w 1378744"/>
                <a:gd name="connsiteY71" fmla="*/ 990600 h 1288255"/>
                <a:gd name="connsiteX72" fmla="*/ 964407 w 1378744"/>
                <a:gd name="connsiteY72" fmla="*/ 985837 h 1288255"/>
                <a:gd name="connsiteX73" fmla="*/ 985838 w 1378744"/>
                <a:gd name="connsiteY73" fmla="*/ 985837 h 1288255"/>
                <a:gd name="connsiteX74" fmla="*/ 995363 w 1378744"/>
                <a:gd name="connsiteY74" fmla="*/ 995362 h 1288255"/>
                <a:gd name="connsiteX75" fmla="*/ 978694 w 1378744"/>
                <a:gd name="connsiteY75" fmla="*/ 1012031 h 1288255"/>
                <a:gd name="connsiteX76" fmla="*/ 969169 w 1378744"/>
                <a:gd name="connsiteY76" fmla="*/ 1031081 h 1288255"/>
                <a:gd name="connsiteX77" fmla="*/ 954882 w 1378744"/>
                <a:gd name="connsiteY77" fmla="*/ 1054893 h 1288255"/>
                <a:gd name="connsiteX78" fmla="*/ 950119 w 1378744"/>
                <a:gd name="connsiteY78" fmla="*/ 1083468 h 1288255"/>
                <a:gd name="connsiteX79" fmla="*/ 962025 w 1378744"/>
                <a:gd name="connsiteY79" fmla="*/ 1107281 h 1288255"/>
                <a:gd name="connsiteX80" fmla="*/ 983457 w 1378744"/>
                <a:gd name="connsiteY80" fmla="*/ 1131093 h 1288255"/>
                <a:gd name="connsiteX81" fmla="*/ 1002507 w 1378744"/>
                <a:gd name="connsiteY81" fmla="*/ 1133475 h 1288255"/>
                <a:gd name="connsiteX82" fmla="*/ 1028700 w 1378744"/>
                <a:gd name="connsiteY82" fmla="*/ 1126331 h 1288255"/>
                <a:gd name="connsiteX83" fmla="*/ 1031082 w 1378744"/>
                <a:gd name="connsiteY83" fmla="*/ 1097756 h 1288255"/>
                <a:gd name="connsiteX84" fmla="*/ 1057275 w 1378744"/>
                <a:gd name="connsiteY84" fmla="*/ 1085850 h 1288255"/>
                <a:gd name="connsiteX85" fmla="*/ 1076325 w 1378744"/>
                <a:gd name="connsiteY85" fmla="*/ 1097756 h 1288255"/>
                <a:gd name="connsiteX86" fmla="*/ 1100138 w 1378744"/>
                <a:gd name="connsiteY86" fmla="*/ 1107281 h 1288255"/>
                <a:gd name="connsiteX87" fmla="*/ 1123950 w 1378744"/>
                <a:gd name="connsiteY87" fmla="*/ 1121568 h 1288255"/>
                <a:gd name="connsiteX88" fmla="*/ 1143000 w 1378744"/>
                <a:gd name="connsiteY88" fmla="*/ 1123950 h 1288255"/>
                <a:gd name="connsiteX89" fmla="*/ 1157288 w 1378744"/>
                <a:gd name="connsiteY89" fmla="*/ 1112043 h 1288255"/>
                <a:gd name="connsiteX90" fmla="*/ 1159669 w 1378744"/>
                <a:gd name="connsiteY90" fmla="*/ 1085850 h 1288255"/>
                <a:gd name="connsiteX91" fmla="*/ 1166813 w 1378744"/>
                <a:gd name="connsiteY91" fmla="*/ 1052512 h 1288255"/>
                <a:gd name="connsiteX92" fmla="*/ 1197769 w 1378744"/>
                <a:gd name="connsiteY92" fmla="*/ 1016793 h 1288255"/>
                <a:gd name="connsiteX93" fmla="*/ 1195388 w 1378744"/>
                <a:gd name="connsiteY93" fmla="*/ 954881 h 1288255"/>
                <a:gd name="connsiteX94" fmla="*/ 1209675 w 1378744"/>
                <a:gd name="connsiteY94" fmla="*/ 945356 h 1288255"/>
                <a:gd name="connsiteX95" fmla="*/ 1235869 w 1378744"/>
                <a:gd name="connsiteY95" fmla="*/ 945356 h 1288255"/>
                <a:gd name="connsiteX96" fmla="*/ 1235869 w 1378744"/>
                <a:gd name="connsiteY96" fmla="*/ 931068 h 1288255"/>
                <a:gd name="connsiteX97" fmla="*/ 1212057 w 1378744"/>
                <a:gd name="connsiteY97" fmla="*/ 912018 h 1288255"/>
                <a:gd name="connsiteX98" fmla="*/ 1195388 w 1378744"/>
                <a:gd name="connsiteY98" fmla="*/ 881062 h 1288255"/>
                <a:gd name="connsiteX99" fmla="*/ 1157288 w 1378744"/>
                <a:gd name="connsiteY99" fmla="*/ 871537 h 1288255"/>
                <a:gd name="connsiteX100" fmla="*/ 1119188 w 1378744"/>
                <a:gd name="connsiteY100" fmla="*/ 859631 h 1288255"/>
                <a:gd name="connsiteX101" fmla="*/ 1119188 w 1378744"/>
                <a:gd name="connsiteY101" fmla="*/ 831056 h 1288255"/>
                <a:gd name="connsiteX102" fmla="*/ 1135857 w 1378744"/>
                <a:gd name="connsiteY102" fmla="*/ 807243 h 1288255"/>
                <a:gd name="connsiteX103" fmla="*/ 1197769 w 1378744"/>
                <a:gd name="connsiteY103" fmla="*/ 759618 h 1288255"/>
                <a:gd name="connsiteX104" fmla="*/ 1247775 w 1378744"/>
                <a:gd name="connsiteY104" fmla="*/ 762000 h 1288255"/>
                <a:gd name="connsiteX105" fmla="*/ 1278732 w 1378744"/>
                <a:gd name="connsiteY105" fmla="*/ 762000 h 1288255"/>
                <a:gd name="connsiteX106" fmla="*/ 1271588 w 1378744"/>
                <a:gd name="connsiteY106" fmla="*/ 735806 h 1288255"/>
                <a:gd name="connsiteX107" fmla="*/ 1378744 w 1378744"/>
                <a:gd name="connsiteY107" fmla="*/ 678656 h 1288255"/>
                <a:gd name="connsiteX108" fmla="*/ 1331119 w 1378744"/>
                <a:gd name="connsiteY108" fmla="*/ 552450 h 1288255"/>
                <a:gd name="connsiteX109" fmla="*/ 1278732 w 1378744"/>
                <a:gd name="connsiteY109" fmla="*/ 514350 h 1288255"/>
                <a:gd name="connsiteX110" fmla="*/ 1252538 w 1378744"/>
                <a:gd name="connsiteY110" fmla="*/ 431006 h 1288255"/>
                <a:gd name="connsiteX111" fmla="*/ 1181100 w 1378744"/>
                <a:gd name="connsiteY111" fmla="*/ 431006 h 1288255"/>
                <a:gd name="connsiteX112" fmla="*/ 1166813 w 1378744"/>
                <a:gd name="connsiteY112" fmla="*/ 395287 h 1288255"/>
                <a:gd name="connsiteX113" fmla="*/ 1107282 w 1378744"/>
                <a:gd name="connsiteY113" fmla="*/ 421481 h 1288255"/>
                <a:gd name="connsiteX114" fmla="*/ 1054894 w 1378744"/>
                <a:gd name="connsiteY114" fmla="*/ 414337 h 1288255"/>
                <a:gd name="connsiteX115" fmla="*/ 1028700 w 1378744"/>
                <a:gd name="connsiteY115" fmla="*/ 371475 h 1288255"/>
                <a:gd name="connsiteX116" fmla="*/ 1023938 w 1378744"/>
                <a:gd name="connsiteY116" fmla="*/ 288131 h 1288255"/>
                <a:gd name="connsiteX117" fmla="*/ 1012032 w 1378744"/>
                <a:gd name="connsiteY117" fmla="*/ 269081 h 1288255"/>
                <a:gd name="connsiteX118" fmla="*/ 1012032 w 1378744"/>
                <a:gd name="connsiteY118" fmla="*/ 211931 h 1288255"/>
                <a:gd name="connsiteX119" fmla="*/ 959644 w 1378744"/>
                <a:gd name="connsiteY119" fmla="*/ 190500 h 1288255"/>
                <a:gd name="connsiteX120" fmla="*/ 914400 w 1378744"/>
                <a:gd name="connsiteY120" fmla="*/ 111918 h 1288255"/>
                <a:gd name="connsiteX121" fmla="*/ 854869 w 1378744"/>
                <a:gd name="connsiteY121" fmla="*/ 76200 h 1288255"/>
                <a:gd name="connsiteX122" fmla="*/ 873919 w 1378744"/>
                <a:gd name="connsiteY122" fmla="*/ 16668 h 1288255"/>
                <a:gd name="connsiteX123" fmla="*/ 783432 w 1378744"/>
                <a:gd name="connsiteY123"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795337 w 1378744"/>
                <a:gd name="connsiteY61" fmla="*/ 1212055 h 1288255"/>
                <a:gd name="connsiteX62" fmla="*/ 828675 w 1378744"/>
                <a:gd name="connsiteY62" fmla="*/ 1109662 h 1288255"/>
                <a:gd name="connsiteX63" fmla="*/ 833438 w 1378744"/>
                <a:gd name="connsiteY63" fmla="*/ 1085850 h 1288255"/>
                <a:gd name="connsiteX64" fmla="*/ 797719 w 1378744"/>
                <a:gd name="connsiteY64" fmla="*/ 1059656 h 1288255"/>
                <a:gd name="connsiteX65" fmla="*/ 790575 w 1378744"/>
                <a:gd name="connsiteY65" fmla="*/ 1038225 h 1288255"/>
                <a:gd name="connsiteX66" fmla="*/ 790575 w 1378744"/>
                <a:gd name="connsiteY66" fmla="*/ 1021556 h 1288255"/>
                <a:gd name="connsiteX67" fmla="*/ 845344 w 1378744"/>
                <a:gd name="connsiteY67" fmla="*/ 952500 h 1288255"/>
                <a:gd name="connsiteX68" fmla="*/ 845344 w 1378744"/>
                <a:gd name="connsiteY68" fmla="*/ 952500 h 1288255"/>
                <a:gd name="connsiteX69" fmla="*/ 888207 w 1378744"/>
                <a:gd name="connsiteY69" fmla="*/ 966787 h 1288255"/>
                <a:gd name="connsiteX70" fmla="*/ 907257 w 1378744"/>
                <a:gd name="connsiteY70" fmla="*/ 981075 h 1288255"/>
                <a:gd name="connsiteX71" fmla="*/ 938213 w 1378744"/>
                <a:gd name="connsiteY71" fmla="*/ 990600 h 1288255"/>
                <a:gd name="connsiteX72" fmla="*/ 964407 w 1378744"/>
                <a:gd name="connsiteY72" fmla="*/ 985837 h 1288255"/>
                <a:gd name="connsiteX73" fmla="*/ 985838 w 1378744"/>
                <a:gd name="connsiteY73" fmla="*/ 985837 h 1288255"/>
                <a:gd name="connsiteX74" fmla="*/ 995363 w 1378744"/>
                <a:gd name="connsiteY74" fmla="*/ 995362 h 1288255"/>
                <a:gd name="connsiteX75" fmla="*/ 978694 w 1378744"/>
                <a:gd name="connsiteY75" fmla="*/ 1012031 h 1288255"/>
                <a:gd name="connsiteX76" fmla="*/ 969169 w 1378744"/>
                <a:gd name="connsiteY76" fmla="*/ 1031081 h 1288255"/>
                <a:gd name="connsiteX77" fmla="*/ 954882 w 1378744"/>
                <a:gd name="connsiteY77" fmla="*/ 1054893 h 1288255"/>
                <a:gd name="connsiteX78" fmla="*/ 950119 w 1378744"/>
                <a:gd name="connsiteY78" fmla="*/ 1083468 h 1288255"/>
                <a:gd name="connsiteX79" fmla="*/ 962025 w 1378744"/>
                <a:gd name="connsiteY79" fmla="*/ 1107281 h 1288255"/>
                <a:gd name="connsiteX80" fmla="*/ 983457 w 1378744"/>
                <a:gd name="connsiteY80" fmla="*/ 1131093 h 1288255"/>
                <a:gd name="connsiteX81" fmla="*/ 1002507 w 1378744"/>
                <a:gd name="connsiteY81" fmla="*/ 1133475 h 1288255"/>
                <a:gd name="connsiteX82" fmla="*/ 1028700 w 1378744"/>
                <a:gd name="connsiteY82" fmla="*/ 1126331 h 1288255"/>
                <a:gd name="connsiteX83" fmla="*/ 1031082 w 1378744"/>
                <a:gd name="connsiteY83" fmla="*/ 1097756 h 1288255"/>
                <a:gd name="connsiteX84" fmla="*/ 1057275 w 1378744"/>
                <a:gd name="connsiteY84" fmla="*/ 1085850 h 1288255"/>
                <a:gd name="connsiteX85" fmla="*/ 1076325 w 1378744"/>
                <a:gd name="connsiteY85" fmla="*/ 1097756 h 1288255"/>
                <a:gd name="connsiteX86" fmla="*/ 1100138 w 1378744"/>
                <a:gd name="connsiteY86" fmla="*/ 1107281 h 1288255"/>
                <a:gd name="connsiteX87" fmla="*/ 1123950 w 1378744"/>
                <a:gd name="connsiteY87" fmla="*/ 1121568 h 1288255"/>
                <a:gd name="connsiteX88" fmla="*/ 1143000 w 1378744"/>
                <a:gd name="connsiteY88" fmla="*/ 1123950 h 1288255"/>
                <a:gd name="connsiteX89" fmla="*/ 1157288 w 1378744"/>
                <a:gd name="connsiteY89" fmla="*/ 1112043 h 1288255"/>
                <a:gd name="connsiteX90" fmla="*/ 1159669 w 1378744"/>
                <a:gd name="connsiteY90" fmla="*/ 1085850 h 1288255"/>
                <a:gd name="connsiteX91" fmla="*/ 1166813 w 1378744"/>
                <a:gd name="connsiteY91" fmla="*/ 1052512 h 1288255"/>
                <a:gd name="connsiteX92" fmla="*/ 1197769 w 1378744"/>
                <a:gd name="connsiteY92" fmla="*/ 1016793 h 1288255"/>
                <a:gd name="connsiteX93" fmla="*/ 1195388 w 1378744"/>
                <a:gd name="connsiteY93" fmla="*/ 954881 h 1288255"/>
                <a:gd name="connsiteX94" fmla="*/ 1209675 w 1378744"/>
                <a:gd name="connsiteY94" fmla="*/ 945356 h 1288255"/>
                <a:gd name="connsiteX95" fmla="*/ 1235869 w 1378744"/>
                <a:gd name="connsiteY95" fmla="*/ 945356 h 1288255"/>
                <a:gd name="connsiteX96" fmla="*/ 1235869 w 1378744"/>
                <a:gd name="connsiteY96" fmla="*/ 931068 h 1288255"/>
                <a:gd name="connsiteX97" fmla="*/ 1212057 w 1378744"/>
                <a:gd name="connsiteY97" fmla="*/ 912018 h 1288255"/>
                <a:gd name="connsiteX98" fmla="*/ 1195388 w 1378744"/>
                <a:gd name="connsiteY98" fmla="*/ 881062 h 1288255"/>
                <a:gd name="connsiteX99" fmla="*/ 1157288 w 1378744"/>
                <a:gd name="connsiteY99" fmla="*/ 871537 h 1288255"/>
                <a:gd name="connsiteX100" fmla="*/ 1119188 w 1378744"/>
                <a:gd name="connsiteY100" fmla="*/ 859631 h 1288255"/>
                <a:gd name="connsiteX101" fmla="*/ 1119188 w 1378744"/>
                <a:gd name="connsiteY101" fmla="*/ 831056 h 1288255"/>
                <a:gd name="connsiteX102" fmla="*/ 1135857 w 1378744"/>
                <a:gd name="connsiteY102" fmla="*/ 807243 h 1288255"/>
                <a:gd name="connsiteX103" fmla="*/ 1197769 w 1378744"/>
                <a:gd name="connsiteY103" fmla="*/ 759618 h 1288255"/>
                <a:gd name="connsiteX104" fmla="*/ 1247775 w 1378744"/>
                <a:gd name="connsiteY104" fmla="*/ 762000 h 1288255"/>
                <a:gd name="connsiteX105" fmla="*/ 1278732 w 1378744"/>
                <a:gd name="connsiteY105" fmla="*/ 762000 h 1288255"/>
                <a:gd name="connsiteX106" fmla="*/ 1271588 w 1378744"/>
                <a:gd name="connsiteY106" fmla="*/ 735806 h 1288255"/>
                <a:gd name="connsiteX107" fmla="*/ 1378744 w 1378744"/>
                <a:gd name="connsiteY107" fmla="*/ 678656 h 1288255"/>
                <a:gd name="connsiteX108" fmla="*/ 1331119 w 1378744"/>
                <a:gd name="connsiteY108" fmla="*/ 552450 h 1288255"/>
                <a:gd name="connsiteX109" fmla="*/ 1278732 w 1378744"/>
                <a:gd name="connsiteY109" fmla="*/ 514350 h 1288255"/>
                <a:gd name="connsiteX110" fmla="*/ 1252538 w 1378744"/>
                <a:gd name="connsiteY110" fmla="*/ 431006 h 1288255"/>
                <a:gd name="connsiteX111" fmla="*/ 1181100 w 1378744"/>
                <a:gd name="connsiteY111" fmla="*/ 431006 h 1288255"/>
                <a:gd name="connsiteX112" fmla="*/ 1166813 w 1378744"/>
                <a:gd name="connsiteY112" fmla="*/ 395287 h 1288255"/>
                <a:gd name="connsiteX113" fmla="*/ 1107282 w 1378744"/>
                <a:gd name="connsiteY113" fmla="*/ 421481 h 1288255"/>
                <a:gd name="connsiteX114" fmla="*/ 1054894 w 1378744"/>
                <a:gd name="connsiteY114" fmla="*/ 414337 h 1288255"/>
                <a:gd name="connsiteX115" fmla="*/ 1028700 w 1378744"/>
                <a:gd name="connsiteY115" fmla="*/ 371475 h 1288255"/>
                <a:gd name="connsiteX116" fmla="*/ 1023938 w 1378744"/>
                <a:gd name="connsiteY116" fmla="*/ 288131 h 1288255"/>
                <a:gd name="connsiteX117" fmla="*/ 1012032 w 1378744"/>
                <a:gd name="connsiteY117" fmla="*/ 269081 h 1288255"/>
                <a:gd name="connsiteX118" fmla="*/ 1012032 w 1378744"/>
                <a:gd name="connsiteY118" fmla="*/ 211931 h 1288255"/>
                <a:gd name="connsiteX119" fmla="*/ 959644 w 1378744"/>
                <a:gd name="connsiteY119" fmla="*/ 190500 h 1288255"/>
                <a:gd name="connsiteX120" fmla="*/ 914400 w 1378744"/>
                <a:gd name="connsiteY120" fmla="*/ 111918 h 1288255"/>
                <a:gd name="connsiteX121" fmla="*/ 854869 w 1378744"/>
                <a:gd name="connsiteY121" fmla="*/ 76200 h 1288255"/>
                <a:gd name="connsiteX122" fmla="*/ 873919 w 1378744"/>
                <a:gd name="connsiteY122" fmla="*/ 16668 h 1288255"/>
                <a:gd name="connsiteX123" fmla="*/ 783432 w 1378744"/>
                <a:gd name="connsiteY123"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795337 w 1378744"/>
                <a:gd name="connsiteY61" fmla="*/ 1212055 h 1288255"/>
                <a:gd name="connsiteX62" fmla="*/ 828675 w 1378744"/>
                <a:gd name="connsiteY62" fmla="*/ 1109662 h 1288255"/>
                <a:gd name="connsiteX63" fmla="*/ 812007 w 1378744"/>
                <a:gd name="connsiteY63" fmla="*/ 1171574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795337 w 1378744"/>
                <a:gd name="connsiteY61" fmla="*/ 1212055 h 1288255"/>
                <a:gd name="connsiteX62" fmla="*/ 828675 w 1378744"/>
                <a:gd name="connsiteY62" fmla="*/ 1109662 h 1288255"/>
                <a:gd name="connsiteX63" fmla="*/ 809625 w 1378744"/>
                <a:gd name="connsiteY63" fmla="*/ 1197768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00101 w 1378744"/>
                <a:gd name="connsiteY60" fmla="*/ 1142999 h 1288255"/>
                <a:gd name="connsiteX61" fmla="*/ 795337 w 1378744"/>
                <a:gd name="connsiteY61" fmla="*/ 1212055 h 1288255"/>
                <a:gd name="connsiteX62" fmla="*/ 828675 w 1378744"/>
                <a:gd name="connsiteY62" fmla="*/ 1109662 h 1288255"/>
                <a:gd name="connsiteX63" fmla="*/ 809625 w 1378744"/>
                <a:gd name="connsiteY63" fmla="*/ 1197768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795338 w 1378744"/>
                <a:gd name="connsiteY60" fmla="*/ 1209674 h 1288255"/>
                <a:gd name="connsiteX61" fmla="*/ 795337 w 1378744"/>
                <a:gd name="connsiteY61" fmla="*/ 1212055 h 1288255"/>
                <a:gd name="connsiteX62" fmla="*/ 828675 w 1378744"/>
                <a:gd name="connsiteY62" fmla="*/ 1109662 h 1288255"/>
                <a:gd name="connsiteX63" fmla="*/ 809625 w 1378744"/>
                <a:gd name="connsiteY63" fmla="*/ 1197768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795338 w 1378744"/>
                <a:gd name="connsiteY60" fmla="*/ 1209674 h 1288255"/>
                <a:gd name="connsiteX61" fmla="*/ 795337 w 1378744"/>
                <a:gd name="connsiteY61" fmla="*/ 1212055 h 1288255"/>
                <a:gd name="connsiteX62" fmla="*/ 809625 w 1378744"/>
                <a:gd name="connsiteY62" fmla="*/ 1197768 h 1288255"/>
                <a:gd name="connsiteX63" fmla="*/ 833438 w 1378744"/>
                <a:gd name="connsiteY63" fmla="*/ 1085850 h 1288255"/>
                <a:gd name="connsiteX64" fmla="*/ 797719 w 1378744"/>
                <a:gd name="connsiteY64" fmla="*/ 1059656 h 1288255"/>
                <a:gd name="connsiteX65" fmla="*/ 790575 w 1378744"/>
                <a:gd name="connsiteY65" fmla="*/ 1038225 h 1288255"/>
                <a:gd name="connsiteX66" fmla="*/ 790575 w 1378744"/>
                <a:gd name="connsiteY66" fmla="*/ 1021556 h 1288255"/>
                <a:gd name="connsiteX67" fmla="*/ 845344 w 1378744"/>
                <a:gd name="connsiteY67" fmla="*/ 952500 h 1288255"/>
                <a:gd name="connsiteX68" fmla="*/ 845344 w 1378744"/>
                <a:gd name="connsiteY68" fmla="*/ 952500 h 1288255"/>
                <a:gd name="connsiteX69" fmla="*/ 888207 w 1378744"/>
                <a:gd name="connsiteY69" fmla="*/ 966787 h 1288255"/>
                <a:gd name="connsiteX70" fmla="*/ 907257 w 1378744"/>
                <a:gd name="connsiteY70" fmla="*/ 981075 h 1288255"/>
                <a:gd name="connsiteX71" fmla="*/ 938213 w 1378744"/>
                <a:gd name="connsiteY71" fmla="*/ 990600 h 1288255"/>
                <a:gd name="connsiteX72" fmla="*/ 964407 w 1378744"/>
                <a:gd name="connsiteY72" fmla="*/ 985837 h 1288255"/>
                <a:gd name="connsiteX73" fmla="*/ 985838 w 1378744"/>
                <a:gd name="connsiteY73" fmla="*/ 985837 h 1288255"/>
                <a:gd name="connsiteX74" fmla="*/ 995363 w 1378744"/>
                <a:gd name="connsiteY74" fmla="*/ 995362 h 1288255"/>
                <a:gd name="connsiteX75" fmla="*/ 978694 w 1378744"/>
                <a:gd name="connsiteY75" fmla="*/ 1012031 h 1288255"/>
                <a:gd name="connsiteX76" fmla="*/ 969169 w 1378744"/>
                <a:gd name="connsiteY76" fmla="*/ 1031081 h 1288255"/>
                <a:gd name="connsiteX77" fmla="*/ 954882 w 1378744"/>
                <a:gd name="connsiteY77" fmla="*/ 1054893 h 1288255"/>
                <a:gd name="connsiteX78" fmla="*/ 950119 w 1378744"/>
                <a:gd name="connsiteY78" fmla="*/ 1083468 h 1288255"/>
                <a:gd name="connsiteX79" fmla="*/ 962025 w 1378744"/>
                <a:gd name="connsiteY79" fmla="*/ 1107281 h 1288255"/>
                <a:gd name="connsiteX80" fmla="*/ 983457 w 1378744"/>
                <a:gd name="connsiteY80" fmla="*/ 1131093 h 1288255"/>
                <a:gd name="connsiteX81" fmla="*/ 1002507 w 1378744"/>
                <a:gd name="connsiteY81" fmla="*/ 1133475 h 1288255"/>
                <a:gd name="connsiteX82" fmla="*/ 1028700 w 1378744"/>
                <a:gd name="connsiteY82" fmla="*/ 1126331 h 1288255"/>
                <a:gd name="connsiteX83" fmla="*/ 1031082 w 1378744"/>
                <a:gd name="connsiteY83" fmla="*/ 1097756 h 1288255"/>
                <a:gd name="connsiteX84" fmla="*/ 1057275 w 1378744"/>
                <a:gd name="connsiteY84" fmla="*/ 1085850 h 1288255"/>
                <a:gd name="connsiteX85" fmla="*/ 1076325 w 1378744"/>
                <a:gd name="connsiteY85" fmla="*/ 1097756 h 1288255"/>
                <a:gd name="connsiteX86" fmla="*/ 1100138 w 1378744"/>
                <a:gd name="connsiteY86" fmla="*/ 1107281 h 1288255"/>
                <a:gd name="connsiteX87" fmla="*/ 1123950 w 1378744"/>
                <a:gd name="connsiteY87" fmla="*/ 1121568 h 1288255"/>
                <a:gd name="connsiteX88" fmla="*/ 1143000 w 1378744"/>
                <a:gd name="connsiteY88" fmla="*/ 1123950 h 1288255"/>
                <a:gd name="connsiteX89" fmla="*/ 1157288 w 1378744"/>
                <a:gd name="connsiteY89" fmla="*/ 1112043 h 1288255"/>
                <a:gd name="connsiteX90" fmla="*/ 1159669 w 1378744"/>
                <a:gd name="connsiteY90" fmla="*/ 1085850 h 1288255"/>
                <a:gd name="connsiteX91" fmla="*/ 1166813 w 1378744"/>
                <a:gd name="connsiteY91" fmla="*/ 1052512 h 1288255"/>
                <a:gd name="connsiteX92" fmla="*/ 1197769 w 1378744"/>
                <a:gd name="connsiteY92" fmla="*/ 1016793 h 1288255"/>
                <a:gd name="connsiteX93" fmla="*/ 1195388 w 1378744"/>
                <a:gd name="connsiteY93" fmla="*/ 954881 h 1288255"/>
                <a:gd name="connsiteX94" fmla="*/ 1209675 w 1378744"/>
                <a:gd name="connsiteY94" fmla="*/ 945356 h 1288255"/>
                <a:gd name="connsiteX95" fmla="*/ 1235869 w 1378744"/>
                <a:gd name="connsiteY95" fmla="*/ 945356 h 1288255"/>
                <a:gd name="connsiteX96" fmla="*/ 1235869 w 1378744"/>
                <a:gd name="connsiteY96" fmla="*/ 931068 h 1288255"/>
                <a:gd name="connsiteX97" fmla="*/ 1212057 w 1378744"/>
                <a:gd name="connsiteY97" fmla="*/ 912018 h 1288255"/>
                <a:gd name="connsiteX98" fmla="*/ 1195388 w 1378744"/>
                <a:gd name="connsiteY98" fmla="*/ 881062 h 1288255"/>
                <a:gd name="connsiteX99" fmla="*/ 1157288 w 1378744"/>
                <a:gd name="connsiteY99" fmla="*/ 871537 h 1288255"/>
                <a:gd name="connsiteX100" fmla="*/ 1119188 w 1378744"/>
                <a:gd name="connsiteY100" fmla="*/ 859631 h 1288255"/>
                <a:gd name="connsiteX101" fmla="*/ 1119188 w 1378744"/>
                <a:gd name="connsiteY101" fmla="*/ 831056 h 1288255"/>
                <a:gd name="connsiteX102" fmla="*/ 1135857 w 1378744"/>
                <a:gd name="connsiteY102" fmla="*/ 807243 h 1288255"/>
                <a:gd name="connsiteX103" fmla="*/ 1197769 w 1378744"/>
                <a:gd name="connsiteY103" fmla="*/ 759618 h 1288255"/>
                <a:gd name="connsiteX104" fmla="*/ 1247775 w 1378744"/>
                <a:gd name="connsiteY104" fmla="*/ 762000 h 1288255"/>
                <a:gd name="connsiteX105" fmla="*/ 1278732 w 1378744"/>
                <a:gd name="connsiteY105" fmla="*/ 762000 h 1288255"/>
                <a:gd name="connsiteX106" fmla="*/ 1271588 w 1378744"/>
                <a:gd name="connsiteY106" fmla="*/ 735806 h 1288255"/>
                <a:gd name="connsiteX107" fmla="*/ 1378744 w 1378744"/>
                <a:gd name="connsiteY107" fmla="*/ 678656 h 1288255"/>
                <a:gd name="connsiteX108" fmla="*/ 1331119 w 1378744"/>
                <a:gd name="connsiteY108" fmla="*/ 552450 h 1288255"/>
                <a:gd name="connsiteX109" fmla="*/ 1278732 w 1378744"/>
                <a:gd name="connsiteY109" fmla="*/ 514350 h 1288255"/>
                <a:gd name="connsiteX110" fmla="*/ 1252538 w 1378744"/>
                <a:gd name="connsiteY110" fmla="*/ 431006 h 1288255"/>
                <a:gd name="connsiteX111" fmla="*/ 1181100 w 1378744"/>
                <a:gd name="connsiteY111" fmla="*/ 431006 h 1288255"/>
                <a:gd name="connsiteX112" fmla="*/ 1166813 w 1378744"/>
                <a:gd name="connsiteY112" fmla="*/ 395287 h 1288255"/>
                <a:gd name="connsiteX113" fmla="*/ 1107282 w 1378744"/>
                <a:gd name="connsiteY113" fmla="*/ 421481 h 1288255"/>
                <a:gd name="connsiteX114" fmla="*/ 1054894 w 1378744"/>
                <a:gd name="connsiteY114" fmla="*/ 414337 h 1288255"/>
                <a:gd name="connsiteX115" fmla="*/ 1028700 w 1378744"/>
                <a:gd name="connsiteY115" fmla="*/ 371475 h 1288255"/>
                <a:gd name="connsiteX116" fmla="*/ 1023938 w 1378744"/>
                <a:gd name="connsiteY116" fmla="*/ 288131 h 1288255"/>
                <a:gd name="connsiteX117" fmla="*/ 1012032 w 1378744"/>
                <a:gd name="connsiteY117" fmla="*/ 269081 h 1288255"/>
                <a:gd name="connsiteX118" fmla="*/ 1012032 w 1378744"/>
                <a:gd name="connsiteY118" fmla="*/ 211931 h 1288255"/>
                <a:gd name="connsiteX119" fmla="*/ 959644 w 1378744"/>
                <a:gd name="connsiteY119" fmla="*/ 190500 h 1288255"/>
                <a:gd name="connsiteX120" fmla="*/ 914400 w 1378744"/>
                <a:gd name="connsiteY120" fmla="*/ 111918 h 1288255"/>
                <a:gd name="connsiteX121" fmla="*/ 854869 w 1378744"/>
                <a:gd name="connsiteY121" fmla="*/ 76200 h 1288255"/>
                <a:gd name="connsiteX122" fmla="*/ 873919 w 1378744"/>
                <a:gd name="connsiteY122" fmla="*/ 16668 h 1288255"/>
                <a:gd name="connsiteX123" fmla="*/ 783432 w 1378744"/>
                <a:gd name="connsiteY123"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795338 w 1378744"/>
                <a:gd name="connsiteY60" fmla="*/ 1209674 h 1288255"/>
                <a:gd name="connsiteX61" fmla="*/ 795337 w 1378744"/>
                <a:gd name="connsiteY61" fmla="*/ 1212055 h 1288255"/>
                <a:gd name="connsiteX62" fmla="*/ 809625 w 1378744"/>
                <a:gd name="connsiteY62" fmla="*/ 1197768 h 1288255"/>
                <a:gd name="connsiteX63" fmla="*/ 821532 w 1378744"/>
                <a:gd name="connsiteY63" fmla="*/ 1133474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795338 w 1378744"/>
                <a:gd name="connsiteY60" fmla="*/ 1209674 h 1288255"/>
                <a:gd name="connsiteX61" fmla="*/ 795337 w 1378744"/>
                <a:gd name="connsiteY61" fmla="*/ 1212055 h 1288255"/>
                <a:gd name="connsiteX62" fmla="*/ 809625 w 1378744"/>
                <a:gd name="connsiteY62" fmla="*/ 1197768 h 1288255"/>
                <a:gd name="connsiteX63" fmla="*/ 823914 w 1378744"/>
                <a:gd name="connsiteY63" fmla="*/ 1147762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378744" h="1288255">
                  <a:moveTo>
                    <a:pt x="783432" y="0"/>
                  </a:moveTo>
                  <a:lnTo>
                    <a:pt x="738188" y="26193"/>
                  </a:lnTo>
                  <a:lnTo>
                    <a:pt x="685800" y="28575"/>
                  </a:lnTo>
                  <a:lnTo>
                    <a:pt x="635794" y="73818"/>
                  </a:lnTo>
                  <a:lnTo>
                    <a:pt x="633413" y="114300"/>
                  </a:lnTo>
                  <a:lnTo>
                    <a:pt x="561975" y="190500"/>
                  </a:lnTo>
                  <a:lnTo>
                    <a:pt x="519113" y="214312"/>
                  </a:lnTo>
                  <a:lnTo>
                    <a:pt x="485775" y="252412"/>
                  </a:lnTo>
                  <a:lnTo>
                    <a:pt x="461963" y="273843"/>
                  </a:lnTo>
                  <a:lnTo>
                    <a:pt x="423863" y="333375"/>
                  </a:lnTo>
                  <a:lnTo>
                    <a:pt x="378619" y="357187"/>
                  </a:lnTo>
                  <a:lnTo>
                    <a:pt x="292894" y="376237"/>
                  </a:lnTo>
                  <a:lnTo>
                    <a:pt x="264319" y="373856"/>
                  </a:lnTo>
                  <a:lnTo>
                    <a:pt x="240507" y="359568"/>
                  </a:lnTo>
                  <a:lnTo>
                    <a:pt x="226219" y="338137"/>
                  </a:lnTo>
                  <a:lnTo>
                    <a:pt x="219075" y="311943"/>
                  </a:lnTo>
                  <a:lnTo>
                    <a:pt x="204788" y="309562"/>
                  </a:lnTo>
                  <a:lnTo>
                    <a:pt x="188119" y="304800"/>
                  </a:lnTo>
                  <a:lnTo>
                    <a:pt x="173832" y="302418"/>
                  </a:lnTo>
                  <a:lnTo>
                    <a:pt x="128588" y="352425"/>
                  </a:lnTo>
                  <a:lnTo>
                    <a:pt x="97632" y="371475"/>
                  </a:lnTo>
                  <a:lnTo>
                    <a:pt x="80963" y="390525"/>
                  </a:lnTo>
                  <a:lnTo>
                    <a:pt x="66675" y="435768"/>
                  </a:lnTo>
                  <a:lnTo>
                    <a:pt x="54769" y="447675"/>
                  </a:lnTo>
                  <a:lnTo>
                    <a:pt x="9525" y="466725"/>
                  </a:lnTo>
                  <a:lnTo>
                    <a:pt x="2382" y="481012"/>
                  </a:lnTo>
                  <a:lnTo>
                    <a:pt x="4763" y="533400"/>
                  </a:lnTo>
                  <a:lnTo>
                    <a:pt x="0" y="545306"/>
                  </a:lnTo>
                  <a:lnTo>
                    <a:pt x="73819" y="588168"/>
                  </a:lnTo>
                  <a:lnTo>
                    <a:pt x="90488" y="628650"/>
                  </a:lnTo>
                  <a:lnTo>
                    <a:pt x="83344" y="654843"/>
                  </a:lnTo>
                  <a:lnTo>
                    <a:pt x="73819" y="697706"/>
                  </a:lnTo>
                  <a:lnTo>
                    <a:pt x="78582" y="726281"/>
                  </a:lnTo>
                  <a:lnTo>
                    <a:pt x="95250" y="738187"/>
                  </a:lnTo>
                  <a:lnTo>
                    <a:pt x="116682" y="735806"/>
                  </a:lnTo>
                  <a:lnTo>
                    <a:pt x="123825" y="762000"/>
                  </a:lnTo>
                  <a:lnTo>
                    <a:pt x="126207" y="783431"/>
                  </a:lnTo>
                  <a:lnTo>
                    <a:pt x="152400" y="812006"/>
                  </a:lnTo>
                  <a:lnTo>
                    <a:pt x="164307" y="823912"/>
                  </a:lnTo>
                  <a:lnTo>
                    <a:pt x="173832" y="850106"/>
                  </a:lnTo>
                  <a:lnTo>
                    <a:pt x="169069" y="878681"/>
                  </a:lnTo>
                  <a:lnTo>
                    <a:pt x="176213" y="897731"/>
                  </a:lnTo>
                  <a:lnTo>
                    <a:pt x="200025" y="916781"/>
                  </a:lnTo>
                  <a:lnTo>
                    <a:pt x="226219" y="916781"/>
                  </a:lnTo>
                  <a:lnTo>
                    <a:pt x="300038" y="921543"/>
                  </a:lnTo>
                  <a:lnTo>
                    <a:pt x="395288" y="952500"/>
                  </a:lnTo>
                  <a:lnTo>
                    <a:pt x="414338" y="988218"/>
                  </a:lnTo>
                  <a:lnTo>
                    <a:pt x="435769" y="992981"/>
                  </a:lnTo>
                  <a:lnTo>
                    <a:pt x="464344" y="995362"/>
                  </a:lnTo>
                  <a:lnTo>
                    <a:pt x="507207" y="1026318"/>
                  </a:lnTo>
                  <a:lnTo>
                    <a:pt x="521494" y="1069181"/>
                  </a:lnTo>
                  <a:lnTo>
                    <a:pt x="545307" y="1107281"/>
                  </a:lnTo>
                  <a:lnTo>
                    <a:pt x="573882" y="1121568"/>
                  </a:lnTo>
                  <a:lnTo>
                    <a:pt x="585788" y="1131093"/>
                  </a:lnTo>
                  <a:lnTo>
                    <a:pt x="597694" y="1181100"/>
                  </a:lnTo>
                  <a:lnTo>
                    <a:pt x="633413" y="1250156"/>
                  </a:lnTo>
                  <a:lnTo>
                    <a:pt x="692944" y="1278730"/>
                  </a:lnTo>
                  <a:lnTo>
                    <a:pt x="728663" y="1288255"/>
                  </a:lnTo>
                  <a:lnTo>
                    <a:pt x="771525" y="1269205"/>
                  </a:lnTo>
                  <a:lnTo>
                    <a:pt x="771525" y="1235868"/>
                  </a:lnTo>
                  <a:lnTo>
                    <a:pt x="795338" y="1209674"/>
                  </a:lnTo>
                  <a:cubicBezTo>
                    <a:pt x="795338" y="1210468"/>
                    <a:pt x="795337" y="1211261"/>
                    <a:pt x="795337" y="1212055"/>
                  </a:cubicBezTo>
                  <a:lnTo>
                    <a:pt x="809625" y="1197768"/>
                  </a:lnTo>
                  <a:lnTo>
                    <a:pt x="823914" y="1147762"/>
                  </a:lnTo>
                  <a:lnTo>
                    <a:pt x="833438" y="1085850"/>
                  </a:lnTo>
                  <a:lnTo>
                    <a:pt x="797719" y="1059656"/>
                  </a:lnTo>
                  <a:lnTo>
                    <a:pt x="790575" y="1038225"/>
                  </a:lnTo>
                  <a:lnTo>
                    <a:pt x="790575" y="1021556"/>
                  </a:lnTo>
                  <a:lnTo>
                    <a:pt x="845344" y="952500"/>
                  </a:lnTo>
                  <a:lnTo>
                    <a:pt x="845344" y="952500"/>
                  </a:lnTo>
                  <a:lnTo>
                    <a:pt x="888207" y="966787"/>
                  </a:lnTo>
                  <a:lnTo>
                    <a:pt x="907257" y="981075"/>
                  </a:lnTo>
                  <a:lnTo>
                    <a:pt x="938213" y="990600"/>
                  </a:lnTo>
                  <a:lnTo>
                    <a:pt x="964407" y="985837"/>
                  </a:lnTo>
                  <a:lnTo>
                    <a:pt x="985838" y="985837"/>
                  </a:lnTo>
                  <a:lnTo>
                    <a:pt x="995363" y="995362"/>
                  </a:lnTo>
                  <a:lnTo>
                    <a:pt x="978694" y="1012031"/>
                  </a:lnTo>
                  <a:lnTo>
                    <a:pt x="969169" y="1031081"/>
                  </a:lnTo>
                  <a:lnTo>
                    <a:pt x="954882" y="1054893"/>
                  </a:lnTo>
                  <a:lnTo>
                    <a:pt x="950119" y="1083468"/>
                  </a:lnTo>
                  <a:lnTo>
                    <a:pt x="962025" y="1107281"/>
                  </a:lnTo>
                  <a:lnTo>
                    <a:pt x="983457" y="1131093"/>
                  </a:lnTo>
                  <a:lnTo>
                    <a:pt x="1002507" y="1133475"/>
                  </a:lnTo>
                  <a:lnTo>
                    <a:pt x="1028700" y="1126331"/>
                  </a:lnTo>
                  <a:lnTo>
                    <a:pt x="1031082" y="1097756"/>
                  </a:lnTo>
                  <a:lnTo>
                    <a:pt x="1057275" y="1085850"/>
                  </a:lnTo>
                  <a:lnTo>
                    <a:pt x="1076325" y="1097756"/>
                  </a:lnTo>
                  <a:lnTo>
                    <a:pt x="1100138" y="1107281"/>
                  </a:lnTo>
                  <a:lnTo>
                    <a:pt x="1123950" y="1121568"/>
                  </a:lnTo>
                  <a:lnTo>
                    <a:pt x="1143000" y="1123950"/>
                  </a:lnTo>
                  <a:lnTo>
                    <a:pt x="1157288" y="1112043"/>
                  </a:lnTo>
                  <a:lnTo>
                    <a:pt x="1159669" y="1085850"/>
                  </a:lnTo>
                  <a:lnTo>
                    <a:pt x="1166813" y="1052512"/>
                  </a:lnTo>
                  <a:lnTo>
                    <a:pt x="1197769" y="1016793"/>
                  </a:lnTo>
                  <a:cubicBezTo>
                    <a:pt x="1196975" y="996156"/>
                    <a:pt x="1196182" y="975518"/>
                    <a:pt x="1195388" y="954881"/>
                  </a:cubicBezTo>
                  <a:lnTo>
                    <a:pt x="1209675" y="945356"/>
                  </a:lnTo>
                  <a:lnTo>
                    <a:pt x="1235869" y="945356"/>
                  </a:lnTo>
                  <a:lnTo>
                    <a:pt x="1235869" y="931068"/>
                  </a:lnTo>
                  <a:lnTo>
                    <a:pt x="1212057" y="912018"/>
                  </a:lnTo>
                  <a:lnTo>
                    <a:pt x="1195388" y="881062"/>
                  </a:lnTo>
                  <a:lnTo>
                    <a:pt x="1157288" y="871537"/>
                  </a:lnTo>
                  <a:lnTo>
                    <a:pt x="1119188" y="859631"/>
                  </a:lnTo>
                  <a:lnTo>
                    <a:pt x="1119188" y="831056"/>
                  </a:lnTo>
                  <a:lnTo>
                    <a:pt x="1135857" y="807243"/>
                  </a:lnTo>
                  <a:lnTo>
                    <a:pt x="1197769" y="759618"/>
                  </a:lnTo>
                  <a:lnTo>
                    <a:pt x="1247775" y="762000"/>
                  </a:lnTo>
                  <a:lnTo>
                    <a:pt x="1278732" y="762000"/>
                  </a:lnTo>
                  <a:lnTo>
                    <a:pt x="1271588" y="735806"/>
                  </a:lnTo>
                  <a:lnTo>
                    <a:pt x="1378744" y="678656"/>
                  </a:lnTo>
                  <a:lnTo>
                    <a:pt x="1331119" y="552450"/>
                  </a:lnTo>
                  <a:lnTo>
                    <a:pt x="1278732" y="514350"/>
                  </a:lnTo>
                  <a:lnTo>
                    <a:pt x="1252538" y="431006"/>
                  </a:lnTo>
                  <a:lnTo>
                    <a:pt x="1181100" y="431006"/>
                  </a:lnTo>
                  <a:lnTo>
                    <a:pt x="1166813" y="395287"/>
                  </a:lnTo>
                  <a:lnTo>
                    <a:pt x="1107282" y="421481"/>
                  </a:lnTo>
                  <a:lnTo>
                    <a:pt x="1054894" y="414337"/>
                  </a:lnTo>
                  <a:lnTo>
                    <a:pt x="1028700" y="371475"/>
                  </a:lnTo>
                  <a:lnTo>
                    <a:pt x="1023938" y="288131"/>
                  </a:lnTo>
                  <a:lnTo>
                    <a:pt x="1012032" y="269081"/>
                  </a:lnTo>
                  <a:lnTo>
                    <a:pt x="1012032" y="211931"/>
                  </a:lnTo>
                  <a:lnTo>
                    <a:pt x="959644" y="190500"/>
                  </a:lnTo>
                  <a:lnTo>
                    <a:pt x="914400" y="111918"/>
                  </a:lnTo>
                  <a:lnTo>
                    <a:pt x="854869" y="76200"/>
                  </a:lnTo>
                  <a:lnTo>
                    <a:pt x="873919" y="16668"/>
                  </a:lnTo>
                  <a:lnTo>
                    <a:pt x="783432" y="0"/>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4" name="Freeform 76">
              <a:extLst>
                <a:ext uri="{FF2B5EF4-FFF2-40B4-BE49-F238E27FC236}">
                  <a16:creationId xmlns:a16="http://schemas.microsoft.com/office/drawing/2014/main" id="{5F34FDD2-A65F-4026-B63A-AB88827CEDAE}"/>
                </a:ext>
              </a:extLst>
            </p:cNvPr>
            <p:cNvSpPr/>
            <p:nvPr/>
          </p:nvSpPr>
          <p:spPr bwMode="auto">
            <a:xfrm>
              <a:off x="3106633" y="3310701"/>
              <a:ext cx="1388060" cy="909610"/>
            </a:xfrm>
            <a:custGeom>
              <a:avLst/>
              <a:gdLst>
                <a:gd name="connsiteX0" fmla="*/ 33338 w 1583531"/>
                <a:gd name="connsiteY0" fmla="*/ 840582 h 1038225"/>
                <a:gd name="connsiteX1" fmla="*/ 116681 w 1583531"/>
                <a:gd name="connsiteY1" fmla="*/ 862013 h 1038225"/>
                <a:gd name="connsiteX2" fmla="*/ 126206 w 1583531"/>
                <a:gd name="connsiteY2" fmla="*/ 878682 h 1038225"/>
                <a:gd name="connsiteX3" fmla="*/ 123825 w 1583531"/>
                <a:gd name="connsiteY3" fmla="*/ 935832 h 1038225"/>
                <a:gd name="connsiteX4" fmla="*/ 130969 w 1583531"/>
                <a:gd name="connsiteY4" fmla="*/ 942975 h 1038225"/>
                <a:gd name="connsiteX5" fmla="*/ 188119 w 1583531"/>
                <a:gd name="connsiteY5" fmla="*/ 964407 h 1038225"/>
                <a:gd name="connsiteX6" fmla="*/ 204788 w 1583531"/>
                <a:gd name="connsiteY6" fmla="*/ 997744 h 1038225"/>
                <a:gd name="connsiteX7" fmla="*/ 228600 w 1583531"/>
                <a:gd name="connsiteY7" fmla="*/ 1002507 h 1038225"/>
                <a:gd name="connsiteX8" fmla="*/ 250031 w 1583531"/>
                <a:gd name="connsiteY8" fmla="*/ 990600 h 1038225"/>
                <a:gd name="connsiteX9" fmla="*/ 278606 w 1583531"/>
                <a:gd name="connsiteY9" fmla="*/ 973932 h 1038225"/>
                <a:gd name="connsiteX10" fmla="*/ 300038 w 1583531"/>
                <a:gd name="connsiteY10" fmla="*/ 981075 h 1038225"/>
                <a:gd name="connsiteX11" fmla="*/ 316706 w 1583531"/>
                <a:gd name="connsiteY11" fmla="*/ 1004888 h 1038225"/>
                <a:gd name="connsiteX12" fmla="*/ 326231 w 1583531"/>
                <a:gd name="connsiteY12" fmla="*/ 1023938 h 1038225"/>
                <a:gd name="connsiteX13" fmla="*/ 347663 w 1583531"/>
                <a:gd name="connsiteY13" fmla="*/ 1035844 h 1038225"/>
                <a:gd name="connsiteX14" fmla="*/ 402431 w 1583531"/>
                <a:gd name="connsiteY14" fmla="*/ 1038225 h 1038225"/>
                <a:gd name="connsiteX15" fmla="*/ 407194 w 1583531"/>
                <a:gd name="connsiteY15" fmla="*/ 1014413 h 1038225"/>
                <a:gd name="connsiteX16" fmla="*/ 411956 w 1583531"/>
                <a:gd name="connsiteY16" fmla="*/ 985838 h 1038225"/>
                <a:gd name="connsiteX17" fmla="*/ 428625 w 1583531"/>
                <a:gd name="connsiteY17" fmla="*/ 959644 h 1038225"/>
                <a:gd name="connsiteX18" fmla="*/ 535781 w 1583531"/>
                <a:gd name="connsiteY18" fmla="*/ 912019 h 1038225"/>
                <a:gd name="connsiteX19" fmla="*/ 557213 w 1583531"/>
                <a:gd name="connsiteY19" fmla="*/ 931069 h 1038225"/>
                <a:gd name="connsiteX20" fmla="*/ 566738 w 1583531"/>
                <a:gd name="connsiteY20" fmla="*/ 1004888 h 1038225"/>
                <a:gd name="connsiteX21" fmla="*/ 631031 w 1583531"/>
                <a:gd name="connsiteY21" fmla="*/ 1019175 h 1038225"/>
                <a:gd name="connsiteX22" fmla="*/ 669131 w 1583531"/>
                <a:gd name="connsiteY22" fmla="*/ 1019175 h 1038225"/>
                <a:gd name="connsiteX23" fmla="*/ 700088 w 1583531"/>
                <a:gd name="connsiteY23" fmla="*/ 995363 h 1038225"/>
                <a:gd name="connsiteX24" fmla="*/ 750094 w 1583531"/>
                <a:gd name="connsiteY24" fmla="*/ 978694 h 1038225"/>
                <a:gd name="connsiteX25" fmla="*/ 771525 w 1583531"/>
                <a:gd name="connsiteY25" fmla="*/ 985838 h 1038225"/>
                <a:gd name="connsiteX26" fmla="*/ 812006 w 1583531"/>
                <a:gd name="connsiteY26" fmla="*/ 1028700 h 1038225"/>
                <a:gd name="connsiteX27" fmla="*/ 826294 w 1583531"/>
                <a:gd name="connsiteY27" fmla="*/ 1028700 h 1038225"/>
                <a:gd name="connsiteX28" fmla="*/ 850106 w 1583531"/>
                <a:gd name="connsiteY28" fmla="*/ 992982 h 1038225"/>
                <a:gd name="connsiteX29" fmla="*/ 871538 w 1583531"/>
                <a:gd name="connsiteY29" fmla="*/ 966788 h 1038225"/>
                <a:gd name="connsiteX30" fmla="*/ 902494 w 1583531"/>
                <a:gd name="connsiteY30" fmla="*/ 959644 h 1038225"/>
                <a:gd name="connsiteX31" fmla="*/ 928688 w 1583531"/>
                <a:gd name="connsiteY31" fmla="*/ 964407 h 1038225"/>
                <a:gd name="connsiteX32" fmla="*/ 981075 w 1583531"/>
                <a:gd name="connsiteY32" fmla="*/ 995363 h 1038225"/>
                <a:gd name="connsiteX33" fmla="*/ 1047750 w 1583531"/>
                <a:gd name="connsiteY33" fmla="*/ 995363 h 1038225"/>
                <a:gd name="connsiteX34" fmla="*/ 1100138 w 1583531"/>
                <a:gd name="connsiteY34" fmla="*/ 1012032 h 1038225"/>
                <a:gd name="connsiteX35" fmla="*/ 1202531 w 1583531"/>
                <a:gd name="connsiteY35" fmla="*/ 862013 h 1038225"/>
                <a:gd name="connsiteX36" fmla="*/ 1243013 w 1583531"/>
                <a:gd name="connsiteY36" fmla="*/ 876300 h 1038225"/>
                <a:gd name="connsiteX37" fmla="*/ 1331119 w 1583531"/>
                <a:gd name="connsiteY37" fmla="*/ 752475 h 1038225"/>
                <a:gd name="connsiteX38" fmla="*/ 1269206 w 1583531"/>
                <a:gd name="connsiteY38" fmla="*/ 695325 h 1038225"/>
                <a:gd name="connsiteX39" fmla="*/ 1269206 w 1583531"/>
                <a:gd name="connsiteY39" fmla="*/ 685800 h 1038225"/>
                <a:gd name="connsiteX40" fmla="*/ 1364456 w 1583531"/>
                <a:gd name="connsiteY40" fmla="*/ 683419 h 1038225"/>
                <a:gd name="connsiteX41" fmla="*/ 1407319 w 1583531"/>
                <a:gd name="connsiteY41" fmla="*/ 700088 h 1038225"/>
                <a:gd name="connsiteX42" fmla="*/ 1431131 w 1583531"/>
                <a:gd name="connsiteY42" fmla="*/ 657225 h 1038225"/>
                <a:gd name="connsiteX43" fmla="*/ 1531144 w 1583531"/>
                <a:gd name="connsiteY43" fmla="*/ 623888 h 1038225"/>
                <a:gd name="connsiteX44" fmla="*/ 1578769 w 1583531"/>
                <a:gd name="connsiteY44" fmla="*/ 588169 h 1038225"/>
                <a:gd name="connsiteX45" fmla="*/ 1583531 w 1583531"/>
                <a:gd name="connsiteY45" fmla="*/ 564357 h 1038225"/>
                <a:gd name="connsiteX46" fmla="*/ 1564481 w 1583531"/>
                <a:gd name="connsiteY46" fmla="*/ 557213 h 1038225"/>
                <a:gd name="connsiteX47" fmla="*/ 1547813 w 1583531"/>
                <a:gd name="connsiteY47" fmla="*/ 466725 h 1038225"/>
                <a:gd name="connsiteX48" fmla="*/ 1519238 w 1583531"/>
                <a:gd name="connsiteY48" fmla="*/ 433388 h 1038225"/>
                <a:gd name="connsiteX49" fmla="*/ 1443038 w 1583531"/>
                <a:gd name="connsiteY49" fmla="*/ 426244 h 1038225"/>
                <a:gd name="connsiteX50" fmla="*/ 1431131 w 1583531"/>
                <a:gd name="connsiteY50" fmla="*/ 404813 h 1038225"/>
                <a:gd name="connsiteX51" fmla="*/ 1412081 w 1583531"/>
                <a:gd name="connsiteY51" fmla="*/ 388144 h 1038225"/>
                <a:gd name="connsiteX52" fmla="*/ 1373981 w 1583531"/>
                <a:gd name="connsiteY52" fmla="*/ 385763 h 1038225"/>
                <a:gd name="connsiteX53" fmla="*/ 1323975 w 1583531"/>
                <a:gd name="connsiteY53" fmla="*/ 342900 h 1038225"/>
                <a:gd name="connsiteX54" fmla="*/ 1276350 w 1583531"/>
                <a:gd name="connsiteY54" fmla="*/ 383382 h 1038225"/>
                <a:gd name="connsiteX55" fmla="*/ 1252538 w 1583531"/>
                <a:gd name="connsiteY55" fmla="*/ 383382 h 1038225"/>
                <a:gd name="connsiteX56" fmla="*/ 1219200 w 1583531"/>
                <a:gd name="connsiteY56" fmla="*/ 340519 h 1038225"/>
                <a:gd name="connsiteX57" fmla="*/ 1171575 w 1583531"/>
                <a:gd name="connsiteY57" fmla="*/ 340519 h 1038225"/>
                <a:gd name="connsiteX58" fmla="*/ 1135856 w 1583531"/>
                <a:gd name="connsiteY58" fmla="*/ 311944 h 1038225"/>
                <a:gd name="connsiteX59" fmla="*/ 1095375 w 1583531"/>
                <a:gd name="connsiteY59" fmla="*/ 319088 h 1038225"/>
                <a:gd name="connsiteX60" fmla="*/ 992981 w 1583531"/>
                <a:gd name="connsiteY60" fmla="*/ 309563 h 1038225"/>
                <a:gd name="connsiteX61" fmla="*/ 940594 w 1583531"/>
                <a:gd name="connsiteY61" fmla="*/ 326232 h 1038225"/>
                <a:gd name="connsiteX62" fmla="*/ 919163 w 1583531"/>
                <a:gd name="connsiteY62" fmla="*/ 304800 h 1038225"/>
                <a:gd name="connsiteX63" fmla="*/ 904875 w 1583531"/>
                <a:gd name="connsiteY63" fmla="*/ 302419 h 1038225"/>
                <a:gd name="connsiteX64" fmla="*/ 900113 w 1583531"/>
                <a:gd name="connsiteY64" fmla="*/ 269082 h 1038225"/>
                <a:gd name="connsiteX65" fmla="*/ 895350 w 1583531"/>
                <a:gd name="connsiteY65" fmla="*/ 261938 h 1038225"/>
                <a:gd name="connsiteX66" fmla="*/ 845344 w 1583531"/>
                <a:gd name="connsiteY66" fmla="*/ 297657 h 1038225"/>
                <a:gd name="connsiteX67" fmla="*/ 833438 w 1583531"/>
                <a:gd name="connsiteY67" fmla="*/ 345282 h 1038225"/>
                <a:gd name="connsiteX68" fmla="*/ 850106 w 1583531"/>
                <a:gd name="connsiteY68" fmla="*/ 369094 h 1038225"/>
                <a:gd name="connsiteX69" fmla="*/ 850106 w 1583531"/>
                <a:gd name="connsiteY69" fmla="*/ 438150 h 1038225"/>
                <a:gd name="connsiteX70" fmla="*/ 876300 w 1583531"/>
                <a:gd name="connsiteY70" fmla="*/ 450057 h 1038225"/>
                <a:gd name="connsiteX71" fmla="*/ 881063 w 1583531"/>
                <a:gd name="connsiteY71" fmla="*/ 469107 h 1038225"/>
                <a:gd name="connsiteX72" fmla="*/ 864394 w 1583531"/>
                <a:gd name="connsiteY72" fmla="*/ 495300 h 1038225"/>
                <a:gd name="connsiteX73" fmla="*/ 842963 w 1583531"/>
                <a:gd name="connsiteY73" fmla="*/ 495300 h 1038225"/>
                <a:gd name="connsiteX74" fmla="*/ 821531 w 1583531"/>
                <a:gd name="connsiteY74" fmla="*/ 447675 h 1038225"/>
                <a:gd name="connsiteX75" fmla="*/ 778669 w 1583531"/>
                <a:gd name="connsiteY75" fmla="*/ 433388 h 1038225"/>
                <a:gd name="connsiteX76" fmla="*/ 771525 w 1583531"/>
                <a:gd name="connsiteY76" fmla="*/ 414338 h 1038225"/>
                <a:gd name="connsiteX77" fmla="*/ 807244 w 1583531"/>
                <a:gd name="connsiteY77" fmla="*/ 340519 h 1038225"/>
                <a:gd name="connsiteX78" fmla="*/ 826294 w 1583531"/>
                <a:gd name="connsiteY78" fmla="*/ 269082 h 1038225"/>
                <a:gd name="connsiteX79" fmla="*/ 842963 w 1583531"/>
                <a:gd name="connsiteY79" fmla="*/ 259557 h 1038225"/>
                <a:gd name="connsiteX80" fmla="*/ 883444 w 1583531"/>
                <a:gd name="connsiteY80" fmla="*/ 192882 h 1038225"/>
                <a:gd name="connsiteX81" fmla="*/ 931069 w 1583531"/>
                <a:gd name="connsiteY81" fmla="*/ 171450 h 1038225"/>
                <a:gd name="connsiteX82" fmla="*/ 935831 w 1583531"/>
                <a:gd name="connsiteY82" fmla="*/ 140494 h 1038225"/>
                <a:gd name="connsiteX83" fmla="*/ 950119 w 1583531"/>
                <a:gd name="connsiteY83" fmla="*/ 123825 h 1038225"/>
                <a:gd name="connsiteX84" fmla="*/ 945356 w 1583531"/>
                <a:gd name="connsiteY84" fmla="*/ 83344 h 1038225"/>
                <a:gd name="connsiteX85" fmla="*/ 890588 w 1583531"/>
                <a:gd name="connsiteY85" fmla="*/ 69057 h 1038225"/>
                <a:gd name="connsiteX86" fmla="*/ 864394 w 1583531"/>
                <a:gd name="connsiteY86" fmla="*/ 38100 h 1038225"/>
                <a:gd name="connsiteX87" fmla="*/ 792956 w 1583531"/>
                <a:gd name="connsiteY87" fmla="*/ 33338 h 1038225"/>
                <a:gd name="connsiteX88" fmla="*/ 759619 w 1583531"/>
                <a:gd name="connsiteY88" fmla="*/ 0 h 1038225"/>
                <a:gd name="connsiteX89" fmla="*/ 757238 w 1583531"/>
                <a:gd name="connsiteY89" fmla="*/ 30957 h 1038225"/>
                <a:gd name="connsiteX90" fmla="*/ 745331 w 1583531"/>
                <a:gd name="connsiteY90" fmla="*/ 52388 h 1038225"/>
                <a:gd name="connsiteX91" fmla="*/ 635794 w 1583531"/>
                <a:gd name="connsiteY91" fmla="*/ 114300 h 1038225"/>
                <a:gd name="connsiteX92" fmla="*/ 642938 w 1583531"/>
                <a:gd name="connsiteY92" fmla="*/ 135732 h 1038225"/>
                <a:gd name="connsiteX93" fmla="*/ 561975 w 1583531"/>
                <a:gd name="connsiteY93" fmla="*/ 138113 h 1038225"/>
                <a:gd name="connsiteX94" fmla="*/ 495300 w 1583531"/>
                <a:gd name="connsiteY94" fmla="*/ 185738 h 1038225"/>
                <a:gd name="connsiteX95" fmla="*/ 483394 w 1583531"/>
                <a:gd name="connsiteY95" fmla="*/ 202407 h 1038225"/>
                <a:gd name="connsiteX96" fmla="*/ 485775 w 1583531"/>
                <a:gd name="connsiteY96" fmla="*/ 233363 h 1038225"/>
                <a:gd name="connsiteX97" fmla="*/ 552450 w 1583531"/>
                <a:gd name="connsiteY97" fmla="*/ 257175 h 1038225"/>
                <a:gd name="connsiteX98" fmla="*/ 571500 w 1583531"/>
                <a:gd name="connsiteY98" fmla="*/ 283369 h 1038225"/>
                <a:gd name="connsiteX99" fmla="*/ 597694 w 1583531"/>
                <a:gd name="connsiteY99" fmla="*/ 307182 h 1038225"/>
                <a:gd name="connsiteX100" fmla="*/ 597694 w 1583531"/>
                <a:gd name="connsiteY100" fmla="*/ 321469 h 1038225"/>
                <a:gd name="connsiteX101" fmla="*/ 573881 w 1583531"/>
                <a:gd name="connsiteY101" fmla="*/ 321469 h 1038225"/>
                <a:gd name="connsiteX102" fmla="*/ 566738 w 1583531"/>
                <a:gd name="connsiteY102" fmla="*/ 330994 h 1038225"/>
                <a:gd name="connsiteX103" fmla="*/ 557213 w 1583531"/>
                <a:gd name="connsiteY103" fmla="*/ 400050 h 1038225"/>
                <a:gd name="connsiteX104" fmla="*/ 538163 w 1583531"/>
                <a:gd name="connsiteY104" fmla="*/ 426244 h 1038225"/>
                <a:gd name="connsiteX105" fmla="*/ 523875 w 1583531"/>
                <a:gd name="connsiteY105" fmla="*/ 490538 h 1038225"/>
                <a:gd name="connsiteX106" fmla="*/ 495300 w 1583531"/>
                <a:gd name="connsiteY106" fmla="*/ 500063 h 1038225"/>
                <a:gd name="connsiteX107" fmla="*/ 454819 w 1583531"/>
                <a:gd name="connsiteY107" fmla="*/ 481013 h 1038225"/>
                <a:gd name="connsiteX108" fmla="*/ 428625 w 1583531"/>
                <a:gd name="connsiteY108" fmla="*/ 471488 h 1038225"/>
                <a:gd name="connsiteX109" fmla="*/ 428625 w 1583531"/>
                <a:gd name="connsiteY109" fmla="*/ 471488 h 1038225"/>
                <a:gd name="connsiteX110" fmla="*/ 392906 w 1583531"/>
                <a:gd name="connsiteY110" fmla="*/ 478632 h 1038225"/>
                <a:gd name="connsiteX111" fmla="*/ 388144 w 1583531"/>
                <a:gd name="connsiteY111" fmla="*/ 502444 h 1038225"/>
                <a:gd name="connsiteX112" fmla="*/ 352425 w 1583531"/>
                <a:gd name="connsiteY112" fmla="*/ 507207 h 1038225"/>
                <a:gd name="connsiteX113" fmla="*/ 319088 w 1583531"/>
                <a:gd name="connsiteY113" fmla="*/ 466725 h 1038225"/>
                <a:gd name="connsiteX114" fmla="*/ 316706 w 1583531"/>
                <a:gd name="connsiteY114" fmla="*/ 442913 h 1038225"/>
                <a:gd name="connsiteX115" fmla="*/ 326231 w 1583531"/>
                <a:gd name="connsiteY115" fmla="*/ 407194 h 1038225"/>
                <a:gd name="connsiteX116" fmla="*/ 345281 w 1583531"/>
                <a:gd name="connsiteY116" fmla="*/ 383382 h 1038225"/>
                <a:gd name="connsiteX117" fmla="*/ 359569 w 1583531"/>
                <a:gd name="connsiteY117" fmla="*/ 369094 h 1038225"/>
                <a:gd name="connsiteX118" fmla="*/ 345281 w 1583531"/>
                <a:gd name="connsiteY118" fmla="*/ 357188 h 1038225"/>
                <a:gd name="connsiteX119" fmla="*/ 302419 w 1583531"/>
                <a:gd name="connsiteY119" fmla="*/ 366713 h 1038225"/>
                <a:gd name="connsiteX120" fmla="*/ 266700 w 1583531"/>
                <a:gd name="connsiteY120" fmla="*/ 352425 h 1038225"/>
                <a:gd name="connsiteX121" fmla="*/ 242888 w 1583531"/>
                <a:gd name="connsiteY121" fmla="*/ 342900 h 1038225"/>
                <a:gd name="connsiteX122" fmla="*/ 211931 w 1583531"/>
                <a:gd name="connsiteY122" fmla="*/ 328613 h 1038225"/>
                <a:gd name="connsiteX123" fmla="*/ 154781 w 1583531"/>
                <a:gd name="connsiteY123" fmla="*/ 392907 h 1038225"/>
                <a:gd name="connsiteX124" fmla="*/ 157163 w 1583531"/>
                <a:gd name="connsiteY124" fmla="*/ 435769 h 1038225"/>
                <a:gd name="connsiteX125" fmla="*/ 190500 w 1583531"/>
                <a:gd name="connsiteY125" fmla="*/ 466725 h 1038225"/>
                <a:gd name="connsiteX126" fmla="*/ 169069 w 1583531"/>
                <a:gd name="connsiteY126" fmla="*/ 578644 h 1038225"/>
                <a:gd name="connsiteX127" fmla="*/ 138113 w 1583531"/>
                <a:gd name="connsiteY127" fmla="*/ 604838 h 1038225"/>
                <a:gd name="connsiteX128" fmla="*/ 130969 w 1583531"/>
                <a:gd name="connsiteY128" fmla="*/ 650082 h 1038225"/>
                <a:gd name="connsiteX129" fmla="*/ 85725 w 1583531"/>
                <a:gd name="connsiteY129" fmla="*/ 661988 h 1038225"/>
                <a:gd name="connsiteX130" fmla="*/ 80963 w 1583531"/>
                <a:gd name="connsiteY130" fmla="*/ 688182 h 1038225"/>
                <a:gd name="connsiteX131" fmla="*/ 11906 w 1583531"/>
                <a:gd name="connsiteY131" fmla="*/ 721519 h 1038225"/>
                <a:gd name="connsiteX132" fmla="*/ 0 w 1583531"/>
                <a:gd name="connsiteY132" fmla="*/ 738188 h 1038225"/>
                <a:gd name="connsiteX133" fmla="*/ 16669 w 1583531"/>
                <a:gd name="connsiteY133" fmla="*/ 771525 h 1038225"/>
                <a:gd name="connsiteX134" fmla="*/ 33338 w 1583531"/>
                <a:gd name="connsiteY134" fmla="*/ 840582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83531" h="1038225">
                  <a:moveTo>
                    <a:pt x="33338" y="840582"/>
                  </a:moveTo>
                  <a:lnTo>
                    <a:pt x="116681" y="862013"/>
                  </a:lnTo>
                  <a:lnTo>
                    <a:pt x="126206" y="878682"/>
                  </a:lnTo>
                  <a:cubicBezTo>
                    <a:pt x="125412" y="897732"/>
                    <a:pt x="124619" y="916782"/>
                    <a:pt x="123825" y="935832"/>
                  </a:cubicBezTo>
                  <a:lnTo>
                    <a:pt x="130969" y="942975"/>
                  </a:lnTo>
                  <a:lnTo>
                    <a:pt x="188119" y="964407"/>
                  </a:lnTo>
                  <a:lnTo>
                    <a:pt x="204788" y="997744"/>
                  </a:lnTo>
                  <a:lnTo>
                    <a:pt x="228600" y="1002507"/>
                  </a:lnTo>
                  <a:lnTo>
                    <a:pt x="250031" y="990600"/>
                  </a:lnTo>
                  <a:lnTo>
                    <a:pt x="278606" y="973932"/>
                  </a:lnTo>
                  <a:lnTo>
                    <a:pt x="300038" y="981075"/>
                  </a:lnTo>
                  <a:lnTo>
                    <a:pt x="316706" y="1004888"/>
                  </a:lnTo>
                  <a:lnTo>
                    <a:pt x="326231" y="1023938"/>
                  </a:lnTo>
                  <a:lnTo>
                    <a:pt x="347663" y="1035844"/>
                  </a:lnTo>
                  <a:lnTo>
                    <a:pt x="402431" y="1038225"/>
                  </a:lnTo>
                  <a:lnTo>
                    <a:pt x="407194" y="1014413"/>
                  </a:lnTo>
                  <a:lnTo>
                    <a:pt x="411956" y="985838"/>
                  </a:lnTo>
                  <a:lnTo>
                    <a:pt x="428625" y="959644"/>
                  </a:lnTo>
                  <a:lnTo>
                    <a:pt x="535781" y="912019"/>
                  </a:lnTo>
                  <a:lnTo>
                    <a:pt x="557213" y="931069"/>
                  </a:lnTo>
                  <a:lnTo>
                    <a:pt x="566738" y="1004888"/>
                  </a:lnTo>
                  <a:lnTo>
                    <a:pt x="631031" y="1019175"/>
                  </a:lnTo>
                  <a:lnTo>
                    <a:pt x="669131" y="1019175"/>
                  </a:lnTo>
                  <a:lnTo>
                    <a:pt x="700088" y="995363"/>
                  </a:lnTo>
                  <a:lnTo>
                    <a:pt x="750094" y="978694"/>
                  </a:lnTo>
                  <a:lnTo>
                    <a:pt x="771525" y="985838"/>
                  </a:lnTo>
                  <a:lnTo>
                    <a:pt x="812006" y="1028700"/>
                  </a:lnTo>
                  <a:lnTo>
                    <a:pt x="826294" y="1028700"/>
                  </a:lnTo>
                  <a:lnTo>
                    <a:pt x="850106" y="992982"/>
                  </a:lnTo>
                  <a:lnTo>
                    <a:pt x="871538" y="966788"/>
                  </a:lnTo>
                  <a:lnTo>
                    <a:pt x="902494" y="959644"/>
                  </a:lnTo>
                  <a:lnTo>
                    <a:pt x="928688" y="964407"/>
                  </a:lnTo>
                  <a:lnTo>
                    <a:pt x="981075" y="995363"/>
                  </a:lnTo>
                  <a:lnTo>
                    <a:pt x="1047750" y="995363"/>
                  </a:lnTo>
                  <a:lnTo>
                    <a:pt x="1100138" y="1012032"/>
                  </a:lnTo>
                  <a:lnTo>
                    <a:pt x="1202531" y="862013"/>
                  </a:lnTo>
                  <a:lnTo>
                    <a:pt x="1243013" y="876300"/>
                  </a:lnTo>
                  <a:lnTo>
                    <a:pt x="1331119" y="752475"/>
                  </a:lnTo>
                  <a:lnTo>
                    <a:pt x="1269206" y="695325"/>
                  </a:lnTo>
                  <a:lnTo>
                    <a:pt x="1269206" y="685800"/>
                  </a:lnTo>
                  <a:lnTo>
                    <a:pt x="1364456" y="683419"/>
                  </a:lnTo>
                  <a:lnTo>
                    <a:pt x="1407319" y="700088"/>
                  </a:lnTo>
                  <a:lnTo>
                    <a:pt x="1431131" y="657225"/>
                  </a:lnTo>
                  <a:lnTo>
                    <a:pt x="1531144" y="623888"/>
                  </a:lnTo>
                  <a:lnTo>
                    <a:pt x="1578769" y="588169"/>
                  </a:lnTo>
                  <a:lnTo>
                    <a:pt x="1583531" y="564357"/>
                  </a:lnTo>
                  <a:lnTo>
                    <a:pt x="1564481" y="557213"/>
                  </a:lnTo>
                  <a:lnTo>
                    <a:pt x="1547813" y="466725"/>
                  </a:lnTo>
                  <a:lnTo>
                    <a:pt x="1519238" y="433388"/>
                  </a:lnTo>
                  <a:lnTo>
                    <a:pt x="1443038" y="426244"/>
                  </a:lnTo>
                  <a:lnTo>
                    <a:pt x="1431131" y="404813"/>
                  </a:lnTo>
                  <a:lnTo>
                    <a:pt x="1412081" y="388144"/>
                  </a:lnTo>
                  <a:lnTo>
                    <a:pt x="1373981" y="385763"/>
                  </a:lnTo>
                  <a:lnTo>
                    <a:pt x="1323975" y="342900"/>
                  </a:lnTo>
                  <a:lnTo>
                    <a:pt x="1276350" y="383382"/>
                  </a:lnTo>
                  <a:lnTo>
                    <a:pt x="1252538" y="383382"/>
                  </a:lnTo>
                  <a:lnTo>
                    <a:pt x="1219200" y="340519"/>
                  </a:lnTo>
                  <a:lnTo>
                    <a:pt x="1171575" y="340519"/>
                  </a:lnTo>
                  <a:lnTo>
                    <a:pt x="1135856" y="311944"/>
                  </a:lnTo>
                  <a:lnTo>
                    <a:pt x="1095375" y="319088"/>
                  </a:lnTo>
                  <a:lnTo>
                    <a:pt x="992981" y="309563"/>
                  </a:lnTo>
                  <a:lnTo>
                    <a:pt x="940594" y="326232"/>
                  </a:lnTo>
                  <a:lnTo>
                    <a:pt x="919163" y="304800"/>
                  </a:lnTo>
                  <a:lnTo>
                    <a:pt x="904875" y="302419"/>
                  </a:lnTo>
                  <a:lnTo>
                    <a:pt x="900113" y="269082"/>
                  </a:lnTo>
                  <a:lnTo>
                    <a:pt x="895350" y="261938"/>
                  </a:lnTo>
                  <a:lnTo>
                    <a:pt x="845344" y="297657"/>
                  </a:lnTo>
                  <a:lnTo>
                    <a:pt x="833438" y="345282"/>
                  </a:lnTo>
                  <a:lnTo>
                    <a:pt x="850106" y="369094"/>
                  </a:lnTo>
                  <a:lnTo>
                    <a:pt x="850106" y="438150"/>
                  </a:lnTo>
                  <a:lnTo>
                    <a:pt x="876300" y="450057"/>
                  </a:lnTo>
                  <a:lnTo>
                    <a:pt x="881063" y="469107"/>
                  </a:lnTo>
                  <a:lnTo>
                    <a:pt x="864394" y="495300"/>
                  </a:lnTo>
                  <a:lnTo>
                    <a:pt x="842963" y="495300"/>
                  </a:lnTo>
                  <a:lnTo>
                    <a:pt x="821531" y="447675"/>
                  </a:lnTo>
                  <a:lnTo>
                    <a:pt x="778669" y="433388"/>
                  </a:lnTo>
                  <a:lnTo>
                    <a:pt x="771525" y="414338"/>
                  </a:lnTo>
                  <a:lnTo>
                    <a:pt x="807244" y="340519"/>
                  </a:lnTo>
                  <a:lnTo>
                    <a:pt x="826294" y="269082"/>
                  </a:lnTo>
                  <a:lnTo>
                    <a:pt x="842963" y="259557"/>
                  </a:lnTo>
                  <a:lnTo>
                    <a:pt x="883444" y="192882"/>
                  </a:lnTo>
                  <a:lnTo>
                    <a:pt x="931069" y="171450"/>
                  </a:lnTo>
                  <a:lnTo>
                    <a:pt x="935831" y="140494"/>
                  </a:lnTo>
                  <a:lnTo>
                    <a:pt x="950119" y="123825"/>
                  </a:lnTo>
                  <a:lnTo>
                    <a:pt x="945356" y="83344"/>
                  </a:lnTo>
                  <a:lnTo>
                    <a:pt x="890588" y="69057"/>
                  </a:lnTo>
                  <a:lnTo>
                    <a:pt x="864394" y="38100"/>
                  </a:lnTo>
                  <a:lnTo>
                    <a:pt x="792956" y="33338"/>
                  </a:lnTo>
                  <a:lnTo>
                    <a:pt x="759619" y="0"/>
                  </a:lnTo>
                  <a:lnTo>
                    <a:pt x="757238" y="30957"/>
                  </a:lnTo>
                  <a:lnTo>
                    <a:pt x="745331" y="52388"/>
                  </a:lnTo>
                  <a:lnTo>
                    <a:pt x="635794" y="114300"/>
                  </a:lnTo>
                  <a:lnTo>
                    <a:pt x="642938" y="135732"/>
                  </a:lnTo>
                  <a:lnTo>
                    <a:pt x="561975" y="138113"/>
                  </a:lnTo>
                  <a:lnTo>
                    <a:pt x="495300" y="185738"/>
                  </a:lnTo>
                  <a:lnTo>
                    <a:pt x="483394" y="202407"/>
                  </a:lnTo>
                  <a:lnTo>
                    <a:pt x="485775" y="233363"/>
                  </a:lnTo>
                  <a:lnTo>
                    <a:pt x="552450" y="257175"/>
                  </a:lnTo>
                  <a:lnTo>
                    <a:pt x="571500" y="283369"/>
                  </a:lnTo>
                  <a:lnTo>
                    <a:pt x="597694" y="307182"/>
                  </a:lnTo>
                  <a:lnTo>
                    <a:pt x="597694" y="321469"/>
                  </a:lnTo>
                  <a:lnTo>
                    <a:pt x="573881" y="321469"/>
                  </a:lnTo>
                  <a:lnTo>
                    <a:pt x="566738" y="330994"/>
                  </a:lnTo>
                  <a:lnTo>
                    <a:pt x="557213" y="400050"/>
                  </a:lnTo>
                  <a:lnTo>
                    <a:pt x="538163" y="426244"/>
                  </a:lnTo>
                  <a:lnTo>
                    <a:pt x="523875" y="490538"/>
                  </a:lnTo>
                  <a:lnTo>
                    <a:pt x="495300" y="500063"/>
                  </a:lnTo>
                  <a:lnTo>
                    <a:pt x="454819" y="481013"/>
                  </a:lnTo>
                  <a:lnTo>
                    <a:pt x="428625" y="471488"/>
                  </a:lnTo>
                  <a:lnTo>
                    <a:pt x="428625" y="471488"/>
                  </a:lnTo>
                  <a:lnTo>
                    <a:pt x="392906" y="478632"/>
                  </a:lnTo>
                  <a:lnTo>
                    <a:pt x="388144" y="502444"/>
                  </a:lnTo>
                  <a:lnTo>
                    <a:pt x="352425" y="507207"/>
                  </a:lnTo>
                  <a:lnTo>
                    <a:pt x="319088" y="466725"/>
                  </a:lnTo>
                  <a:lnTo>
                    <a:pt x="316706" y="442913"/>
                  </a:lnTo>
                  <a:lnTo>
                    <a:pt x="326231" y="407194"/>
                  </a:lnTo>
                  <a:lnTo>
                    <a:pt x="345281" y="383382"/>
                  </a:lnTo>
                  <a:lnTo>
                    <a:pt x="359569" y="369094"/>
                  </a:lnTo>
                  <a:lnTo>
                    <a:pt x="345281" y="357188"/>
                  </a:lnTo>
                  <a:lnTo>
                    <a:pt x="302419" y="366713"/>
                  </a:lnTo>
                  <a:lnTo>
                    <a:pt x="266700" y="352425"/>
                  </a:lnTo>
                  <a:lnTo>
                    <a:pt x="242888" y="342900"/>
                  </a:lnTo>
                  <a:lnTo>
                    <a:pt x="211931" y="328613"/>
                  </a:lnTo>
                  <a:lnTo>
                    <a:pt x="154781" y="392907"/>
                  </a:lnTo>
                  <a:lnTo>
                    <a:pt x="157163" y="435769"/>
                  </a:lnTo>
                  <a:lnTo>
                    <a:pt x="190500" y="466725"/>
                  </a:lnTo>
                  <a:lnTo>
                    <a:pt x="169069" y="578644"/>
                  </a:lnTo>
                  <a:lnTo>
                    <a:pt x="138113" y="604838"/>
                  </a:lnTo>
                  <a:lnTo>
                    <a:pt x="130969" y="650082"/>
                  </a:lnTo>
                  <a:lnTo>
                    <a:pt x="85725" y="661988"/>
                  </a:lnTo>
                  <a:lnTo>
                    <a:pt x="80963" y="688182"/>
                  </a:lnTo>
                  <a:lnTo>
                    <a:pt x="11906" y="721519"/>
                  </a:lnTo>
                  <a:lnTo>
                    <a:pt x="0" y="738188"/>
                  </a:lnTo>
                  <a:lnTo>
                    <a:pt x="16669" y="771525"/>
                  </a:lnTo>
                  <a:lnTo>
                    <a:pt x="33338" y="840582"/>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5" name="Freeform 77">
              <a:extLst>
                <a:ext uri="{FF2B5EF4-FFF2-40B4-BE49-F238E27FC236}">
                  <a16:creationId xmlns:a16="http://schemas.microsoft.com/office/drawing/2014/main" id="{AD7D3FD2-6EE0-4954-AB2A-EB2416616055}"/>
                </a:ext>
              </a:extLst>
            </p:cNvPr>
            <p:cNvSpPr/>
            <p:nvPr/>
          </p:nvSpPr>
          <p:spPr bwMode="auto">
            <a:xfrm>
              <a:off x="4575361" y="3243940"/>
              <a:ext cx="671776" cy="518784"/>
            </a:xfrm>
            <a:custGeom>
              <a:avLst/>
              <a:gdLst>
                <a:gd name="connsiteX0" fmla="*/ 0 w 766763"/>
                <a:gd name="connsiteY0" fmla="*/ 559594 h 592932"/>
                <a:gd name="connsiteX1" fmla="*/ 97631 w 766763"/>
                <a:gd name="connsiteY1" fmla="*/ 564357 h 592932"/>
                <a:gd name="connsiteX2" fmla="*/ 111919 w 766763"/>
                <a:gd name="connsiteY2" fmla="*/ 573882 h 592932"/>
                <a:gd name="connsiteX3" fmla="*/ 123825 w 766763"/>
                <a:gd name="connsiteY3" fmla="*/ 571500 h 592932"/>
                <a:gd name="connsiteX4" fmla="*/ 154781 w 766763"/>
                <a:gd name="connsiteY4" fmla="*/ 592932 h 592932"/>
                <a:gd name="connsiteX5" fmla="*/ 192881 w 766763"/>
                <a:gd name="connsiteY5" fmla="*/ 566738 h 592932"/>
                <a:gd name="connsiteX6" fmla="*/ 192881 w 766763"/>
                <a:gd name="connsiteY6" fmla="*/ 566738 h 592932"/>
                <a:gd name="connsiteX7" fmla="*/ 269081 w 766763"/>
                <a:gd name="connsiteY7" fmla="*/ 588169 h 592932"/>
                <a:gd name="connsiteX8" fmla="*/ 290513 w 766763"/>
                <a:gd name="connsiteY8" fmla="*/ 550069 h 592932"/>
                <a:gd name="connsiteX9" fmla="*/ 350044 w 766763"/>
                <a:gd name="connsiteY9" fmla="*/ 550069 h 592932"/>
                <a:gd name="connsiteX10" fmla="*/ 385763 w 766763"/>
                <a:gd name="connsiteY10" fmla="*/ 523875 h 592932"/>
                <a:gd name="connsiteX11" fmla="*/ 414338 w 766763"/>
                <a:gd name="connsiteY11" fmla="*/ 521494 h 592932"/>
                <a:gd name="connsiteX12" fmla="*/ 464344 w 766763"/>
                <a:gd name="connsiteY12" fmla="*/ 540544 h 592932"/>
                <a:gd name="connsiteX13" fmla="*/ 497681 w 766763"/>
                <a:gd name="connsiteY13" fmla="*/ 561975 h 592932"/>
                <a:gd name="connsiteX14" fmla="*/ 550069 w 766763"/>
                <a:gd name="connsiteY14" fmla="*/ 528638 h 592932"/>
                <a:gd name="connsiteX15" fmla="*/ 590550 w 766763"/>
                <a:gd name="connsiteY15" fmla="*/ 533400 h 592932"/>
                <a:gd name="connsiteX16" fmla="*/ 604838 w 766763"/>
                <a:gd name="connsiteY16" fmla="*/ 464344 h 592932"/>
                <a:gd name="connsiteX17" fmla="*/ 602456 w 766763"/>
                <a:gd name="connsiteY17" fmla="*/ 445294 h 592932"/>
                <a:gd name="connsiteX18" fmla="*/ 688181 w 766763"/>
                <a:gd name="connsiteY18" fmla="*/ 395288 h 592932"/>
                <a:gd name="connsiteX19" fmla="*/ 702469 w 766763"/>
                <a:gd name="connsiteY19" fmla="*/ 381000 h 592932"/>
                <a:gd name="connsiteX20" fmla="*/ 762000 w 766763"/>
                <a:gd name="connsiteY20" fmla="*/ 361950 h 592932"/>
                <a:gd name="connsiteX21" fmla="*/ 762000 w 766763"/>
                <a:gd name="connsiteY21" fmla="*/ 316707 h 592932"/>
                <a:gd name="connsiteX22" fmla="*/ 733425 w 766763"/>
                <a:gd name="connsiteY22" fmla="*/ 307182 h 592932"/>
                <a:gd name="connsiteX23" fmla="*/ 719138 w 766763"/>
                <a:gd name="connsiteY23" fmla="*/ 283369 h 592932"/>
                <a:gd name="connsiteX24" fmla="*/ 726281 w 766763"/>
                <a:gd name="connsiteY24" fmla="*/ 254794 h 592932"/>
                <a:gd name="connsiteX25" fmla="*/ 762000 w 766763"/>
                <a:gd name="connsiteY25" fmla="*/ 245269 h 592932"/>
                <a:gd name="connsiteX26" fmla="*/ 766763 w 766763"/>
                <a:gd name="connsiteY26" fmla="*/ 223838 h 592932"/>
                <a:gd name="connsiteX27" fmla="*/ 754856 w 766763"/>
                <a:gd name="connsiteY27" fmla="*/ 214313 h 592932"/>
                <a:gd name="connsiteX28" fmla="*/ 754856 w 766763"/>
                <a:gd name="connsiteY28" fmla="*/ 183357 h 592932"/>
                <a:gd name="connsiteX29" fmla="*/ 650081 w 766763"/>
                <a:gd name="connsiteY29" fmla="*/ 214313 h 592932"/>
                <a:gd name="connsiteX30" fmla="*/ 631031 w 766763"/>
                <a:gd name="connsiteY30" fmla="*/ 214313 h 592932"/>
                <a:gd name="connsiteX31" fmla="*/ 592931 w 766763"/>
                <a:gd name="connsiteY31" fmla="*/ 180975 h 592932"/>
                <a:gd name="connsiteX32" fmla="*/ 561975 w 766763"/>
                <a:gd name="connsiteY32" fmla="*/ 188119 h 592932"/>
                <a:gd name="connsiteX33" fmla="*/ 540544 w 766763"/>
                <a:gd name="connsiteY33" fmla="*/ 202407 h 592932"/>
                <a:gd name="connsiteX34" fmla="*/ 509588 w 766763"/>
                <a:gd name="connsiteY34" fmla="*/ 195263 h 592932"/>
                <a:gd name="connsiteX35" fmla="*/ 473869 w 766763"/>
                <a:gd name="connsiteY35" fmla="*/ 190500 h 592932"/>
                <a:gd name="connsiteX36" fmla="*/ 414338 w 766763"/>
                <a:gd name="connsiteY36" fmla="*/ 185738 h 592932"/>
                <a:gd name="connsiteX37" fmla="*/ 392906 w 766763"/>
                <a:gd name="connsiteY37" fmla="*/ 154782 h 592932"/>
                <a:gd name="connsiteX38" fmla="*/ 371475 w 766763"/>
                <a:gd name="connsiteY38" fmla="*/ 126207 h 592932"/>
                <a:gd name="connsiteX39" fmla="*/ 342900 w 766763"/>
                <a:gd name="connsiteY39" fmla="*/ 126207 h 592932"/>
                <a:gd name="connsiteX40" fmla="*/ 311944 w 766763"/>
                <a:gd name="connsiteY40" fmla="*/ 142875 h 592932"/>
                <a:gd name="connsiteX41" fmla="*/ 283369 w 766763"/>
                <a:gd name="connsiteY41" fmla="*/ 135732 h 592932"/>
                <a:gd name="connsiteX42" fmla="*/ 259556 w 766763"/>
                <a:gd name="connsiteY42" fmla="*/ 97632 h 592932"/>
                <a:gd name="connsiteX43" fmla="*/ 233363 w 766763"/>
                <a:gd name="connsiteY43" fmla="*/ 76200 h 592932"/>
                <a:gd name="connsiteX44" fmla="*/ 221456 w 766763"/>
                <a:gd name="connsiteY44" fmla="*/ 73819 h 592932"/>
                <a:gd name="connsiteX45" fmla="*/ 180975 w 766763"/>
                <a:gd name="connsiteY45" fmla="*/ 21432 h 592932"/>
                <a:gd name="connsiteX46" fmla="*/ 159544 w 766763"/>
                <a:gd name="connsiteY46" fmla="*/ 0 h 592932"/>
                <a:gd name="connsiteX47" fmla="*/ 107156 w 766763"/>
                <a:gd name="connsiteY47" fmla="*/ 2382 h 592932"/>
                <a:gd name="connsiteX48" fmla="*/ 83344 w 766763"/>
                <a:gd name="connsiteY48" fmla="*/ 42863 h 592932"/>
                <a:gd name="connsiteX49" fmla="*/ 85725 w 766763"/>
                <a:gd name="connsiteY49" fmla="*/ 69057 h 592932"/>
                <a:gd name="connsiteX50" fmla="*/ 104775 w 766763"/>
                <a:gd name="connsiteY50" fmla="*/ 90488 h 592932"/>
                <a:gd name="connsiteX51" fmla="*/ 116681 w 766763"/>
                <a:gd name="connsiteY51" fmla="*/ 102394 h 592932"/>
                <a:gd name="connsiteX52" fmla="*/ 145256 w 766763"/>
                <a:gd name="connsiteY52" fmla="*/ 109538 h 592932"/>
                <a:gd name="connsiteX53" fmla="*/ 161925 w 766763"/>
                <a:gd name="connsiteY53" fmla="*/ 121444 h 592932"/>
                <a:gd name="connsiteX54" fmla="*/ 159544 w 766763"/>
                <a:gd name="connsiteY54" fmla="*/ 138113 h 592932"/>
                <a:gd name="connsiteX55" fmla="*/ 104775 w 766763"/>
                <a:gd name="connsiteY55" fmla="*/ 200025 h 592932"/>
                <a:gd name="connsiteX56" fmla="*/ 107156 w 766763"/>
                <a:gd name="connsiteY56" fmla="*/ 245269 h 592932"/>
                <a:gd name="connsiteX57" fmla="*/ 140494 w 766763"/>
                <a:gd name="connsiteY57" fmla="*/ 300038 h 592932"/>
                <a:gd name="connsiteX58" fmla="*/ 166688 w 766763"/>
                <a:gd name="connsiteY58" fmla="*/ 338138 h 592932"/>
                <a:gd name="connsiteX59" fmla="*/ 133350 w 766763"/>
                <a:gd name="connsiteY59" fmla="*/ 381000 h 592932"/>
                <a:gd name="connsiteX60" fmla="*/ 80963 w 766763"/>
                <a:gd name="connsiteY60" fmla="*/ 359569 h 592932"/>
                <a:gd name="connsiteX61" fmla="*/ 50006 w 766763"/>
                <a:gd name="connsiteY61" fmla="*/ 404813 h 592932"/>
                <a:gd name="connsiteX62" fmla="*/ 19050 w 766763"/>
                <a:gd name="connsiteY62" fmla="*/ 421482 h 592932"/>
                <a:gd name="connsiteX63" fmla="*/ 4763 w 766763"/>
                <a:gd name="connsiteY63" fmla="*/ 457200 h 592932"/>
                <a:gd name="connsiteX64" fmla="*/ 0 w 766763"/>
                <a:gd name="connsiteY64" fmla="*/ 559594 h 59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766763" h="592932">
                  <a:moveTo>
                    <a:pt x="0" y="559594"/>
                  </a:moveTo>
                  <a:lnTo>
                    <a:pt x="97631" y="564357"/>
                  </a:lnTo>
                  <a:lnTo>
                    <a:pt x="111919" y="573882"/>
                  </a:lnTo>
                  <a:lnTo>
                    <a:pt x="123825" y="571500"/>
                  </a:lnTo>
                  <a:lnTo>
                    <a:pt x="154781" y="592932"/>
                  </a:lnTo>
                  <a:lnTo>
                    <a:pt x="192881" y="566738"/>
                  </a:lnTo>
                  <a:lnTo>
                    <a:pt x="192881" y="566738"/>
                  </a:lnTo>
                  <a:lnTo>
                    <a:pt x="269081" y="588169"/>
                  </a:lnTo>
                  <a:lnTo>
                    <a:pt x="290513" y="550069"/>
                  </a:lnTo>
                  <a:lnTo>
                    <a:pt x="350044" y="550069"/>
                  </a:lnTo>
                  <a:lnTo>
                    <a:pt x="385763" y="523875"/>
                  </a:lnTo>
                  <a:lnTo>
                    <a:pt x="414338" y="521494"/>
                  </a:lnTo>
                  <a:lnTo>
                    <a:pt x="464344" y="540544"/>
                  </a:lnTo>
                  <a:lnTo>
                    <a:pt x="497681" y="561975"/>
                  </a:lnTo>
                  <a:lnTo>
                    <a:pt x="550069" y="528638"/>
                  </a:lnTo>
                  <a:lnTo>
                    <a:pt x="590550" y="533400"/>
                  </a:lnTo>
                  <a:lnTo>
                    <a:pt x="604838" y="464344"/>
                  </a:lnTo>
                  <a:lnTo>
                    <a:pt x="602456" y="445294"/>
                  </a:lnTo>
                  <a:lnTo>
                    <a:pt x="688181" y="395288"/>
                  </a:lnTo>
                  <a:lnTo>
                    <a:pt x="702469" y="381000"/>
                  </a:lnTo>
                  <a:lnTo>
                    <a:pt x="762000" y="361950"/>
                  </a:lnTo>
                  <a:lnTo>
                    <a:pt x="762000" y="316707"/>
                  </a:lnTo>
                  <a:lnTo>
                    <a:pt x="733425" y="307182"/>
                  </a:lnTo>
                  <a:lnTo>
                    <a:pt x="719138" y="283369"/>
                  </a:lnTo>
                  <a:lnTo>
                    <a:pt x="726281" y="254794"/>
                  </a:lnTo>
                  <a:lnTo>
                    <a:pt x="762000" y="245269"/>
                  </a:lnTo>
                  <a:lnTo>
                    <a:pt x="766763" y="223838"/>
                  </a:lnTo>
                  <a:lnTo>
                    <a:pt x="754856" y="214313"/>
                  </a:lnTo>
                  <a:lnTo>
                    <a:pt x="754856" y="183357"/>
                  </a:lnTo>
                  <a:lnTo>
                    <a:pt x="650081" y="214313"/>
                  </a:lnTo>
                  <a:lnTo>
                    <a:pt x="631031" y="214313"/>
                  </a:lnTo>
                  <a:lnTo>
                    <a:pt x="592931" y="180975"/>
                  </a:lnTo>
                  <a:lnTo>
                    <a:pt x="561975" y="188119"/>
                  </a:lnTo>
                  <a:lnTo>
                    <a:pt x="540544" y="202407"/>
                  </a:lnTo>
                  <a:lnTo>
                    <a:pt x="509588" y="195263"/>
                  </a:lnTo>
                  <a:lnTo>
                    <a:pt x="473869" y="190500"/>
                  </a:lnTo>
                  <a:lnTo>
                    <a:pt x="414338" y="185738"/>
                  </a:lnTo>
                  <a:lnTo>
                    <a:pt x="392906" y="154782"/>
                  </a:lnTo>
                  <a:lnTo>
                    <a:pt x="371475" y="126207"/>
                  </a:lnTo>
                  <a:lnTo>
                    <a:pt x="342900" y="126207"/>
                  </a:lnTo>
                  <a:lnTo>
                    <a:pt x="311944" y="142875"/>
                  </a:lnTo>
                  <a:lnTo>
                    <a:pt x="283369" y="135732"/>
                  </a:lnTo>
                  <a:lnTo>
                    <a:pt x="259556" y="97632"/>
                  </a:lnTo>
                  <a:lnTo>
                    <a:pt x="233363" y="76200"/>
                  </a:lnTo>
                  <a:lnTo>
                    <a:pt x="221456" y="73819"/>
                  </a:lnTo>
                  <a:lnTo>
                    <a:pt x="180975" y="21432"/>
                  </a:lnTo>
                  <a:lnTo>
                    <a:pt x="159544" y="0"/>
                  </a:lnTo>
                  <a:lnTo>
                    <a:pt x="107156" y="2382"/>
                  </a:lnTo>
                  <a:lnTo>
                    <a:pt x="83344" y="42863"/>
                  </a:lnTo>
                  <a:lnTo>
                    <a:pt x="85725" y="69057"/>
                  </a:lnTo>
                  <a:lnTo>
                    <a:pt x="104775" y="90488"/>
                  </a:lnTo>
                  <a:lnTo>
                    <a:pt x="116681" y="102394"/>
                  </a:lnTo>
                  <a:lnTo>
                    <a:pt x="145256" y="109538"/>
                  </a:lnTo>
                  <a:lnTo>
                    <a:pt x="161925" y="121444"/>
                  </a:lnTo>
                  <a:lnTo>
                    <a:pt x="159544" y="138113"/>
                  </a:lnTo>
                  <a:lnTo>
                    <a:pt x="104775" y="200025"/>
                  </a:lnTo>
                  <a:lnTo>
                    <a:pt x="107156" y="245269"/>
                  </a:lnTo>
                  <a:lnTo>
                    <a:pt x="140494" y="300038"/>
                  </a:lnTo>
                  <a:lnTo>
                    <a:pt x="166688" y="338138"/>
                  </a:lnTo>
                  <a:lnTo>
                    <a:pt x="133350" y="381000"/>
                  </a:lnTo>
                  <a:lnTo>
                    <a:pt x="80963" y="359569"/>
                  </a:lnTo>
                  <a:lnTo>
                    <a:pt x="50006" y="404813"/>
                  </a:lnTo>
                  <a:lnTo>
                    <a:pt x="19050" y="421482"/>
                  </a:lnTo>
                  <a:lnTo>
                    <a:pt x="4763" y="457200"/>
                  </a:lnTo>
                  <a:lnTo>
                    <a:pt x="0" y="559594"/>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6" name="Freeform 78">
              <a:extLst>
                <a:ext uri="{FF2B5EF4-FFF2-40B4-BE49-F238E27FC236}">
                  <a16:creationId xmlns:a16="http://schemas.microsoft.com/office/drawing/2014/main" id="{33ACDB51-97FC-45FE-8923-73A6C1312D4D}"/>
                </a:ext>
              </a:extLst>
            </p:cNvPr>
            <p:cNvSpPr/>
            <p:nvPr/>
          </p:nvSpPr>
          <p:spPr bwMode="auto">
            <a:xfrm>
              <a:off x="5262437" y="3153536"/>
              <a:ext cx="112658" cy="166901"/>
            </a:xfrm>
            <a:custGeom>
              <a:avLst/>
              <a:gdLst>
                <a:gd name="connsiteX0" fmla="*/ 2382 w 128588"/>
                <a:gd name="connsiteY0" fmla="*/ 11906 h 183356"/>
                <a:gd name="connsiteX1" fmla="*/ 16669 w 128588"/>
                <a:gd name="connsiteY1" fmla="*/ 71437 h 183356"/>
                <a:gd name="connsiteX2" fmla="*/ 16669 w 128588"/>
                <a:gd name="connsiteY2" fmla="*/ 95250 h 183356"/>
                <a:gd name="connsiteX3" fmla="*/ 4763 w 128588"/>
                <a:gd name="connsiteY3" fmla="*/ 114300 h 183356"/>
                <a:gd name="connsiteX4" fmla="*/ 0 w 128588"/>
                <a:gd name="connsiteY4" fmla="*/ 169068 h 183356"/>
                <a:gd name="connsiteX5" fmla="*/ 26194 w 128588"/>
                <a:gd name="connsiteY5" fmla="*/ 183356 h 183356"/>
                <a:gd name="connsiteX6" fmla="*/ 61913 w 128588"/>
                <a:gd name="connsiteY6" fmla="*/ 178593 h 183356"/>
                <a:gd name="connsiteX7" fmla="*/ 61913 w 128588"/>
                <a:gd name="connsiteY7" fmla="*/ 178593 h 183356"/>
                <a:gd name="connsiteX8" fmla="*/ 95250 w 128588"/>
                <a:gd name="connsiteY8" fmla="*/ 142875 h 183356"/>
                <a:gd name="connsiteX9" fmla="*/ 128588 w 128588"/>
                <a:gd name="connsiteY9" fmla="*/ 107156 h 183356"/>
                <a:gd name="connsiteX10" fmla="*/ 119063 w 128588"/>
                <a:gd name="connsiteY10" fmla="*/ 85725 h 183356"/>
                <a:gd name="connsiteX11" fmla="*/ 114300 w 128588"/>
                <a:gd name="connsiteY11" fmla="*/ 28575 h 183356"/>
                <a:gd name="connsiteX12" fmla="*/ 88107 w 128588"/>
                <a:gd name="connsiteY12" fmla="*/ 7143 h 183356"/>
                <a:gd name="connsiteX13" fmla="*/ 54769 w 128588"/>
                <a:gd name="connsiteY13" fmla="*/ 0 h 183356"/>
                <a:gd name="connsiteX14" fmla="*/ 2382 w 128588"/>
                <a:gd name="connsiteY14" fmla="*/ 11906 h 183356"/>
                <a:gd name="connsiteX0" fmla="*/ 2382 w 128588"/>
                <a:gd name="connsiteY0" fmla="*/ 11906 h 183356"/>
                <a:gd name="connsiteX1" fmla="*/ 16669 w 128588"/>
                <a:gd name="connsiteY1" fmla="*/ 71437 h 183356"/>
                <a:gd name="connsiteX2" fmla="*/ 16669 w 128588"/>
                <a:gd name="connsiteY2" fmla="*/ 95250 h 183356"/>
                <a:gd name="connsiteX3" fmla="*/ 4763 w 128588"/>
                <a:gd name="connsiteY3" fmla="*/ 114300 h 183356"/>
                <a:gd name="connsiteX4" fmla="*/ 0 w 128588"/>
                <a:gd name="connsiteY4" fmla="*/ 169068 h 183356"/>
                <a:gd name="connsiteX5" fmla="*/ 26194 w 128588"/>
                <a:gd name="connsiteY5" fmla="*/ 183356 h 183356"/>
                <a:gd name="connsiteX6" fmla="*/ 61913 w 128588"/>
                <a:gd name="connsiteY6" fmla="*/ 178593 h 183356"/>
                <a:gd name="connsiteX7" fmla="*/ 61913 w 128588"/>
                <a:gd name="connsiteY7" fmla="*/ 178593 h 183356"/>
                <a:gd name="connsiteX8" fmla="*/ 90488 w 128588"/>
                <a:gd name="connsiteY8" fmla="*/ 171450 h 183356"/>
                <a:gd name="connsiteX9" fmla="*/ 128588 w 128588"/>
                <a:gd name="connsiteY9" fmla="*/ 107156 h 183356"/>
                <a:gd name="connsiteX10" fmla="*/ 119063 w 128588"/>
                <a:gd name="connsiteY10" fmla="*/ 85725 h 183356"/>
                <a:gd name="connsiteX11" fmla="*/ 114300 w 128588"/>
                <a:gd name="connsiteY11" fmla="*/ 28575 h 183356"/>
                <a:gd name="connsiteX12" fmla="*/ 88107 w 128588"/>
                <a:gd name="connsiteY12" fmla="*/ 7143 h 183356"/>
                <a:gd name="connsiteX13" fmla="*/ 54769 w 128588"/>
                <a:gd name="connsiteY13" fmla="*/ 0 h 183356"/>
                <a:gd name="connsiteX14" fmla="*/ 2382 w 128588"/>
                <a:gd name="connsiteY14" fmla="*/ 11906 h 183356"/>
                <a:gd name="connsiteX0" fmla="*/ 2382 w 128588"/>
                <a:gd name="connsiteY0" fmla="*/ 11906 h 188118"/>
                <a:gd name="connsiteX1" fmla="*/ 16669 w 128588"/>
                <a:gd name="connsiteY1" fmla="*/ 71437 h 188118"/>
                <a:gd name="connsiteX2" fmla="*/ 16669 w 128588"/>
                <a:gd name="connsiteY2" fmla="*/ 95250 h 188118"/>
                <a:gd name="connsiteX3" fmla="*/ 4763 w 128588"/>
                <a:gd name="connsiteY3" fmla="*/ 114300 h 188118"/>
                <a:gd name="connsiteX4" fmla="*/ 0 w 128588"/>
                <a:gd name="connsiteY4" fmla="*/ 169068 h 188118"/>
                <a:gd name="connsiteX5" fmla="*/ 26194 w 128588"/>
                <a:gd name="connsiteY5" fmla="*/ 183356 h 188118"/>
                <a:gd name="connsiteX6" fmla="*/ 61913 w 128588"/>
                <a:gd name="connsiteY6" fmla="*/ 178593 h 188118"/>
                <a:gd name="connsiteX7" fmla="*/ 66675 w 128588"/>
                <a:gd name="connsiteY7" fmla="*/ 188118 h 188118"/>
                <a:gd name="connsiteX8" fmla="*/ 90488 w 128588"/>
                <a:gd name="connsiteY8" fmla="*/ 171450 h 188118"/>
                <a:gd name="connsiteX9" fmla="*/ 128588 w 128588"/>
                <a:gd name="connsiteY9" fmla="*/ 107156 h 188118"/>
                <a:gd name="connsiteX10" fmla="*/ 119063 w 128588"/>
                <a:gd name="connsiteY10" fmla="*/ 85725 h 188118"/>
                <a:gd name="connsiteX11" fmla="*/ 114300 w 128588"/>
                <a:gd name="connsiteY11" fmla="*/ 28575 h 188118"/>
                <a:gd name="connsiteX12" fmla="*/ 88107 w 128588"/>
                <a:gd name="connsiteY12" fmla="*/ 7143 h 188118"/>
                <a:gd name="connsiteX13" fmla="*/ 54769 w 128588"/>
                <a:gd name="connsiteY13" fmla="*/ 0 h 188118"/>
                <a:gd name="connsiteX14" fmla="*/ 2382 w 128588"/>
                <a:gd name="connsiteY14" fmla="*/ 11906 h 188118"/>
                <a:gd name="connsiteX0" fmla="*/ 2382 w 128588"/>
                <a:gd name="connsiteY0" fmla="*/ 11906 h 190940"/>
                <a:gd name="connsiteX1" fmla="*/ 16669 w 128588"/>
                <a:gd name="connsiteY1" fmla="*/ 71437 h 190940"/>
                <a:gd name="connsiteX2" fmla="*/ 16669 w 128588"/>
                <a:gd name="connsiteY2" fmla="*/ 95250 h 190940"/>
                <a:gd name="connsiteX3" fmla="*/ 4763 w 128588"/>
                <a:gd name="connsiteY3" fmla="*/ 114300 h 190940"/>
                <a:gd name="connsiteX4" fmla="*/ 0 w 128588"/>
                <a:gd name="connsiteY4" fmla="*/ 169068 h 190940"/>
                <a:gd name="connsiteX5" fmla="*/ 26194 w 128588"/>
                <a:gd name="connsiteY5" fmla="*/ 183356 h 190940"/>
                <a:gd name="connsiteX6" fmla="*/ 57151 w 128588"/>
                <a:gd name="connsiteY6" fmla="*/ 190499 h 190940"/>
                <a:gd name="connsiteX7" fmla="*/ 66675 w 128588"/>
                <a:gd name="connsiteY7" fmla="*/ 188118 h 190940"/>
                <a:gd name="connsiteX8" fmla="*/ 90488 w 128588"/>
                <a:gd name="connsiteY8" fmla="*/ 171450 h 190940"/>
                <a:gd name="connsiteX9" fmla="*/ 128588 w 128588"/>
                <a:gd name="connsiteY9" fmla="*/ 107156 h 190940"/>
                <a:gd name="connsiteX10" fmla="*/ 119063 w 128588"/>
                <a:gd name="connsiteY10" fmla="*/ 85725 h 190940"/>
                <a:gd name="connsiteX11" fmla="*/ 114300 w 128588"/>
                <a:gd name="connsiteY11" fmla="*/ 28575 h 190940"/>
                <a:gd name="connsiteX12" fmla="*/ 88107 w 128588"/>
                <a:gd name="connsiteY12" fmla="*/ 7143 h 190940"/>
                <a:gd name="connsiteX13" fmla="*/ 54769 w 128588"/>
                <a:gd name="connsiteY13" fmla="*/ 0 h 190940"/>
                <a:gd name="connsiteX14" fmla="*/ 2382 w 128588"/>
                <a:gd name="connsiteY14" fmla="*/ 11906 h 190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588" h="190940">
                  <a:moveTo>
                    <a:pt x="2382" y="11906"/>
                  </a:moveTo>
                  <a:lnTo>
                    <a:pt x="16669" y="71437"/>
                  </a:lnTo>
                  <a:lnTo>
                    <a:pt x="16669" y="95250"/>
                  </a:lnTo>
                  <a:lnTo>
                    <a:pt x="4763" y="114300"/>
                  </a:lnTo>
                  <a:lnTo>
                    <a:pt x="0" y="169068"/>
                  </a:lnTo>
                  <a:lnTo>
                    <a:pt x="26194" y="183356"/>
                  </a:lnTo>
                  <a:cubicBezTo>
                    <a:pt x="38100" y="181768"/>
                    <a:pt x="50404" y="189705"/>
                    <a:pt x="57151" y="190499"/>
                  </a:cubicBezTo>
                  <a:cubicBezTo>
                    <a:pt x="63898" y="191293"/>
                    <a:pt x="61119" y="191293"/>
                    <a:pt x="66675" y="188118"/>
                  </a:cubicBezTo>
                  <a:cubicBezTo>
                    <a:pt x="72231" y="184943"/>
                    <a:pt x="80169" y="184944"/>
                    <a:pt x="90488" y="171450"/>
                  </a:cubicBezTo>
                  <a:cubicBezTo>
                    <a:pt x="100807" y="157956"/>
                    <a:pt x="115888" y="128587"/>
                    <a:pt x="128588" y="107156"/>
                  </a:cubicBezTo>
                  <a:lnTo>
                    <a:pt x="119063" y="85725"/>
                  </a:lnTo>
                  <a:lnTo>
                    <a:pt x="114300" y="28575"/>
                  </a:lnTo>
                  <a:lnTo>
                    <a:pt x="88107" y="7143"/>
                  </a:lnTo>
                  <a:lnTo>
                    <a:pt x="54769" y="0"/>
                  </a:lnTo>
                  <a:lnTo>
                    <a:pt x="2382" y="11906"/>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Freeform 79">
              <a:extLst>
                <a:ext uri="{FF2B5EF4-FFF2-40B4-BE49-F238E27FC236}">
                  <a16:creationId xmlns:a16="http://schemas.microsoft.com/office/drawing/2014/main" id="{FF13D415-7734-438F-BC4F-76A99E37F039}"/>
                </a:ext>
              </a:extLst>
            </p:cNvPr>
            <p:cNvSpPr/>
            <p:nvPr/>
          </p:nvSpPr>
          <p:spPr bwMode="auto">
            <a:xfrm>
              <a:off x="4903600" y="3243940"/>
              <a:ext cx="668994" cy="952727"/>
            </a:xfrm>
            <a:custGeom>
              <a:avLst/>
              <a:gdLst>
                <a:gd name="connsiteX0" fmla="*/ 319088 w 764382"/>
                <a:gd name="connsiteY0" fmla="*/ 392907 h 1088232"/>
                <a:gd name="connsiteX1" fmla="*/ 350044 w 764382"/>
                <a:gd name="connsiteY1" fmla="*/ 466725 h 1088232"/>
                <a:gd name="connsiteX2" fmla="*/ 340519 w 764382"/>
                <a:gd name="connsiteY2" fmla="*/ 509588 h 1088232"/>
                <a:gd name="connsiteX3" fmla="*/ 333375 w 764382"/>
                <a:gd name="connsiteY3" fmla="*/ 559594 h 1088232"/>
                <a:gd name="connsiteX4" fmla="*/ 247650 w 764382"/>
                <a:gd name="connsiteY4" fmla="*/ 633413 h 1088232"/>
                <a:gd name="connsiteX5" fmla="*/ 238125 w 764382"/>
                <a:gd name="connsiteY5" fmla="*/ 690563 h 1088232"/>
                <a:gd name="connsiteX6" fmla="*/ 135732 w 764382"/>
                <a:gd name="connsiteY6" fmla="*/ 711994 h 1088232"/>
                <a:gd name="connsiteX7" fmla="*/ 116682 w 764382"/>
                <a:gd name="connsiteY7" fmla="*/ 738188 h 1088232"/>
                <a:gd name="connsiteX8" fmla="*/ 30957 w 764382"/>
                <a:gd name="connsiteY8" fmla="*/ 707232 h 1088232"/>
                <a:gd name="connsiteX9" fmla="*/ 16669 w 764382"/>
                <a:gd name="connsiteY9" fmla="*/ 707232 h 1088232"/>
                <a:gd name="connsiteX10" fmla="*/ 7144 w 764382"/>
                <a:gd name="connsiteY10" fmla="*/ 735807 h 1088232"/>
                <a:gd name="connsiteX11" fmla="*/ 0 w 764382"/>
                <a:gd name="connsiteY11" fmla="*/ 752475 h 1088232"/>
                <a:gd name="connsiteX12" fmla="*/ 26194 w 764382"/>
                <a:gd name="connsiteY12" fmla="*/ 781050 h 1088232"/>
                <a:gd name="connsiteX13" fmla="*/ 45244 w 764382"/>
                <a:gd name="connsiteY13" fmla="*/ 778669 h 1088232"/>
                <a:gd name="connsiteX14" fmla="*/ 52388 w 764382"/>
                <a:gd name="connsiteY14" fmla="*/ 819150 h 1088232"/>
                <a:gd name="connsiteX15" fmla="*/ 66675 w 764382"/>
                <a:gd name="connsiteY15" fmla="*/ 840582 h 1088232"/>
                <a:gd name="connsiteX16" fmla="*/ 92869 w 764382"/>
                <a:gd name="connsiteY16" fmla="*/ 831057 h 1088232"/>
                <a:gd name="connsiteX17" fmla="*/ 109538 w 764382"/>
                <a:gd name="connsiteY17" fmla="*/ 819150 h 1088232"/>
                <a:gd name="connsiteX18" fmla="*/ 133350 w 764382"/>
                <a:gd name="connsiteY18" fmla="*/ 819150 h 1088232"/>
                <a:gd name="connsiteX19" fmla="*/ 142875 w 764382"/>
                <a:gd name="connsiteY19" fmla="*/ 912019 h 1088232"/>
                <a:gd name="connsiteX20" fmla="*/ 171450 w 764382"/>
                <a:gd name="connsiteY20" fmla="*/ 933450 h 1088232"/>
                <a:gd name="connsiteX21" fmla="*/ 180975 w 764382"/>
                <a:gd name="connsiteY21" fmla="*/ 966788 h 1088232"/>
                <a:gd name="connsiteX22" fmla="*/ 221457 w 764382"/>
                <a:gd name="connsiteY22" fmla="*/ 992982 h 1088232"/>
                <a:gd name="connsiteX23" fmla="*/ 254794 w 764382"/>
                <a:gd name="connsiteY23" fmla="*/ 1035844 h 1088232"/>
                <a:gd name="connsiteX24" fmla="*/ 280988 w 764382"/>
                <a:gd name="connsiteY24" fmla="*/ 1054894 h 1088232"/>
                <a:gd name="connsiteX25" fmla="*/ 307182 w 764382"/>
                <a:gd name="connsiteY25" fmla="*/ 1081088 h 1088232"/>
                <a:gd name="connsiteX26" fmla="*/ 319088 w 764382"/>
                <a:gd name="connsiteY26" fmla="*/ 1088232 h 1088232"/>
                <a:gd name="connsiteX27" fmla="*/ 347663 w 764382"/>
                <a:gd name="connsiteY27" fmla="*/ 1076325 h 1088232"/>
                <a:gd name="connsiteX28" fmla="*/ 357188 w 764382"/>
                <a:gd name="connsiteY28" fmla="*/ 1050132 h 1088232"/>
                <a:gd name="connsiteX29" fmla="*/ 392907 w 764382"/>
                <a:gd name="connsiteY29" fmla="*/ 1033463 h 1088232"/>
                <a:gd name="connsiteX30" fmla="*/ 414338 w 764382"/>
                <a:gd name="connsiteY30" fmla="*/ 1033463 h 1088232"/>
                <a:gd name="connsiteX31" fmla="*/ 438150 w 764382"/>
                <a:gd name="connsiteY31" fmla="*/ 1045369 h 1088232"/>
                <a:gd name="connsiteX32" fmla="*/ 461963 w 764382"/>
                <a:gd name="connsiteY32" fmla="*/ 1073944 h 1088232"/>
                <a:gd name="connsiteX33" fmla="*/ 461963 w 764382"/>
                <a:gd name="connsiteY33" fmla="*/ 1073944 h 1088232"/>
                <a:gd name="connsiteX34" fmla="*/ 511969 w 764382"/>
                <a:gd name="connsiteY34" fmla="*/ 1033463 h 1088232"/>
                <a:gd name="connsiteX35" fmla="*/ 547688 w 764382"/>
                <a:gd name="connsiteY35" fmla="*/ 1033463 h 1088232"/>
                <a:gd name="connsiteX36" fmla="*/ 585788 w 764382"/>
                <a:gd name="connsiteY36" fmla="*/ 1012032 h 1088232"/>
                <a:gd name="connsiteX37" fmla="*/ 583407 w 764382"/>
                <a:gd name="connsiteY37" fmla="*/ 964407 h 1088232"/>
                <a:gd name="connsiteX38" fmla="*/ 578644 w 764382"/>
                <a:gd name="connsiteY38" fmla="*/ 947738 h 1088232"/>
                <a:gd name="connsiteX39" fmla="*/ 583407 w 764382"/>
                <a:gd name="connsiteY39" fmla="*/ 902494 h 1088232"/>
                <a:gd name="connsiteX40" fmla="*/ 581025 w 764382"/>
                <a:gd name="connsiteY40" fmla="*/ 842963 h 1088232"/>
                <a:gd name="connsiteX41" fmla="*/ 573882 w 764382"/>
                <a:gd name="connsiteY41" fmla="*/ 812007 h 1088232"/>
                <a:gd name="connsiteX42" fmla="*/ 542925 w 764382"/>
                <a:gd name="connsiteY42" fmla="*/ 778669 h 1088232"/>
                <a:gd name="connsiteX43" fmla="*/ 526257 w 764382"/>
                <a:gd name="connsiteY43" fmla="*/ 762000 h 1088232"/>
                <a:gd name="connsiteX44" fmla="*/ 531019 w 764382"/>
                <a:gd name="connsiteY44" fmla="*/ 742950 h 1088232"/>
                <a:gd name="connsiteX45" fmla="*/ 526257 w 764382"/>
                <a:gd name="connsiteY45" fmla="*/ 726282 h 1088232"/>
                <a:gd name="connsiteX46" fmla="*/ 519113 w 764382"/>
                <a:gd name="connsiteY46" fmla="*/ 700088 h 1088232"/>
                <a:gd name="connsiteX47" fmla="*/ 531019 w 764382"/>
                <a:gd name="connsiteY47" fmla="*/ 673894 h 1088232"/>
                <a:gd name="connsiteX48" fmla="*/ 542925 w 764382"/>
                <a:gd name="connsiteY48" fmla="*/ 659607 h 1088232"/>
                <a:gd name="connsiteX49" fmla="*/ 528638 w 764382"/>
                <a:gd name="connsiteY49" fmla="*/ 640557 h 1088232"/>
                <a:gd name="connsiteX50" fmla="*/ 519113 w 764382"/>
                <a:gd name="connsiteY50" fmla="*/ 616744 h 1088232"/>
                <a:gd name="connsiteX51" fmla="*/ 502444 w 764382"/>
                <a:gd name="connsiteY51" fmla="*/ 611982 h 1088232"/>
                <a:gd name="connsiteX52" fmla="*/ 488157 w 764382"/>
                <a:gd name="connsiteY52" fmla="*/ 604838 h 1088232"/>
                <a:gd name="connsiteX53" fmla="*/ 481013 w 764382"/>
                <a:gd name="connsiteY53" fmla="*/ 607219 h 1088232"/>
                <a:gd name="connsiteX54" fmla="*/ 464344 w 764382"/>
                <a:gd name="connsiteY54" fmla="*/ 557213 h 1088232"/>
                <a:gd name="connsiteX55" fmla="*/ 450057 w 764382"/>
                <a:gd name="connsiteY55" fmla="*/ 540544 h 1088232"/>
                <a:gd name="connsiteX56" fmla="*/ 445294 w 764382"/>
                <a:gd name="connsiteY56" fmla="*/ 492919 h 1088232"/>
                <a:gd name="connsiteX57" fmla="*/ 464344 w 764382"/>
                <a:gd name="connsiteY57" fmla="*/ 473869 h 1088232"/>
                <a:gd name="connsiteX58" fmla="*/ 476250 w 764382"/>
                <a:gd name="connsiteY58" fmla="*/ 438150 h 1088232"/>
                <a:gd name="connsiteX59" fmla="*/ 528638 w 764382"/>
                <a:gd name="connsiteY59" fmla="*/ 428625 h 1088232"/>
                <a:gd name="connsiteX60" fmla="*/ 557213 w 764382"/>
                <a:gd name="connsiteY60" fmla="*/ 426244 h 1088232"/>
                <a:gd name="connsiteX61" fmla="*/ 559594 w 764382"/>
                <a:gd name="connsiteY61" fmla="*/ 395288 h 1088232"/>
                <a:gd name="connsiteX62" fmla="*/ 540544 w 764382"/>
                <a:gd name="connsiteY62" fmla="*/ 364332 h 1088232"/>
                <a:gd name="connsiteX63" fmla="*/ 521494 w 764382"/>
                <a:gd name="connsiteY63" fmla="*/ 364332 h 1088232"/>
                <a:gd name="connsiteX64" fmla="*/ 497682 w 764382"/>
                <a:gd name="connsiteY64" fmla="*/ 335757 h 1088232"/>
                <a:gd name="connsiteX65" fmla="*/ 461963 w 764382"/>
                <a:gd name="connsiteY65" fmla="*/ 323850 h 1088232"/>
                <a:gd name="connsiteX66" fmla="*/ 433388 w 764382"/>
                <a:gd name="connsiteY66" fmla="*/ 319088 h 1088232"/>
                <a:gd name="connsiteX67" fmla="*/ 445294 w 764382"/>
                <a:gd name="connsiteY67" fmla="*/ 278607 h 1088232"/>
                <a:gd name="connsiteX68" fmla="*/ 442913 w 764382"/>
                <a:gd name="connsiteY68" fmla="*/ 250032 h 1088232"/>
                <a:gd name="connsiteX69" fmla="*/ 457200 w 764382"/>
                <a:gd name="connsiteY69" fmla="*/ 202407 h 1088232"/>
                <a:gd name="connsiteX70" fmla="*/ 500063 w 764382"/>
                <a:gd name="connsiteY70" fmla="*/ 200025 h 1088232"/>
                <a:gd name="connsiteX71" fmla="*/ 531019 w 764382"/>
                <a:gd name="connsiteY71" fmla="*/ 216694 h 1088232"/>
                <a:gd name="connsiteX72" fmla="*/ 578644 w 764382"/>
                <a:gd name="connsiteY72" fmla="*/ 233363 h 1088232"/>
                <a:gd name="connsiteX73" fmla="*/ 604838 w 764382"/>
                <a:gd name="connsiteY73" fmla="*/ 252413 h 1088232"/>
                <a:gd name="connsiteX74" fmla="*/ 614363 w 764382"/>
                <a:gd name="connsiteY74" fmla="*/ 271463 h 1088232"/>
                <a:gd name="connsiteX75" fmla="*/ 626269 w 764382"/>
                <a:gd name="connsiteY75" fmla="*/ 280988 h 1088232"/>
                <a:gd name="connsiteX76" fmla="*/ 650082 w 764382"/>
                <a:gd name="connsiteY76" fmla="*/ 271463 h 1088232"/>
                <a:gd name="connsiteX77" fmla="*/ 671513 w 764382"/>
                <a:gd name="connsiteY77" fmla="*/ 259557 h 1088232"/>
                <a:gd name="connsiteX78" fmla="*/ 683419 w 764382"/>
                <a:gd name="connsiteY78" fmla="*/ 230982 h 1088232"/>
                <a:gd name="connsiteX79" fmla="*/ 697707 w 764382"/>
                <a:gd name="connsiteY79" fmla="*/ 204788 h 1088232"/>
                <a:gd name="connsiteX80" fmla="*/ 716757 w 764382"/>
                <a:gd name="connsiteY80" fmla="*/ 166688 h 1088232"/>
                <a:gd name="connsiteX81" fmla="*/ 719138 w 764382"/>
                <a:gd name="connsiteY81" fmla="*/ 150019 h 1088232"/>
                <a:gd name="connsiteX82" fmla="*/ 750094 w 764382"/>
                <a:gd name="connsiteY82" fmla="*/ 140494 h 1088232"/>
                <a:gd name="connsiteX83" fmla="*/ 764382 w 764382"/>
                <a:gd name="connsiteY83" fmla="*/ 119063 h 1088232"/>
                <a:gd name="connsiteX84" fmla="*/ 759619 w 764382"/>
                <a:gd name="connsiteY84" fmla="*/ 102394 h 1088232"/>
                <a:gd name="connsiteX85" fmla="*/ 728663 w 764382"/>
                <a:gd name="connsiteY85" fmla="*/ 100013 h 1088232"/>
                <a:gd name="connsiteX86" fmla="*/ 704850 w 764382"/>
                <a:gd name="connsiteY86" fmla="*/ 107157 h 1088232"/>
                <a:gd name="connsiteX87" fmla="*/ 695325 w 764382"/>
                <a:gd name="connsiteY87" fmla="*/ 126207 h 1088232"/>
                <a:gd name="connsiteX88" fmla="*/ 661988 w 764382"/>
                <a:gd name="connsiteY88" fmla="*/ 121444 h 1088232"/>
                <a:gd name="connsiteX89" fmla="*/ 633413 w 764382"/>
                <a:gd name="connsiteY89" fmla="*/ 114300 h 1088232"/>
                <a:gd name="connsiteX90" fmla="*/ 602457 w 764382"/>
                <a:gd name="connsiteY90" fmla="*/ 102394 h 1088232"/>
                <a:gd name="connsiteX91" fmla="*/ 581025 w 764382"/>
                <a:gd name="connsiteY91" fmla="*/ 83344 h 1088232"/>
                <a:gd name="connsiteX92" fmla="*/ 569119 w 764382"/>
                <a:gd name="connsiteY92" fmla="*/ 50007 h 1088232"/>
                <a:gd name="connsiteX93" fmla="*/ 559594 w 764382"/>
                <a:gd name="connsiteY93" fmla="*/ 16669 h 1088232"/>
                <a:gd name="connsiteX94" fmla="*/ 550069 w 764382"/>
                <a:gd name="connsiteY94" fmla="*/ 0 h 1088232"/>
                <a:gd name="connsiteX95" fmla="*/ 535782 w 764382"/>
                <a:gd name="connsiteY95" fmla="*/ 9525 h 1088232"/>
                <a:gd name="connsiteX96" fmla="*/ 481013 w 764382"/>
                <a:gd name="connsiteY96" fmla="*/ 83344 h 1088232"/>
                <a:gd name="connsiteX97" fmla="*/ 433388 w 764382"/>
                <a:gd name="connsiteY97" fmla="*/ 80963 h 1088232"/>
                <a:gd name="connsiteX98" fmla="*/ 414338 w 764382"/>
                <a:gd name="connsiteY98" fmla="*/ 71438 h 1088232"/>
                <a:gd name="connsiteX99" fmla="*/ 404813 w 764382"/>
                <a:gd name="connsiteY99" fmla="*/ 61913 h 1088232"/>
                <a:gd name="connsiteX100" fmla="*/ 411957 w 764382"/>
                <a:gd name="connsiteY100" fmla="*/ 107157 h 1088232"/>
                <a:gd name="connsiteX101" fmla="*/ 421482 w 764382"/>
                <a:gd name="connsiteY101" fmla="*/ 130969 h 1088232"/>
                <a:gd name="connsiteX102" fmla="*/ 421482 w 764382"/>
                <a:gd name="connsiteY102" fmla="*/ 159544 h 1088232"/>
                <a:gd name="connsiteX103" fmla="*/ 411957 w 764382"/>
                <a:gd name="connsiteY103" fmla="*/ 180975 h 1088232"/>
                <a:gd name="connsiteX104" fmla="*/ 383382 w 764382"/>
                <a:gd name="connsiteY104" fmla="*/ 192882 h 1088232"/>
                <a:gd name="connsiteX105" fmla="*/ 388144 w 764382"/>
                <a:gd name="connsiteY105" fmla="*/ 221457 h 1088232"/>
                <a:gd name="connsiteX106" fmla="*/ 385763 w 764382"/>
                <a:gd name="connsiteY106" fmla="*/ 238125 h 1088232"/>
                <a:gd name="connsiteX107" fmla="*/ 376238 w 764382"/>
                <a:gd name="connsiteY107" fmla="*/ 254794 h 1088232"/>
                <a:gd name="connsiteX108" fmla="*/ 350044 w 764382"/>
                <a:gd name="connsiteY108" fmla="*/ 264319 h 1088232"/>
                <a:gd name="connsiteX109" fmla="*/ 347663 w 764382"/>
                <a:gd name="connsiteY109" fmla="*/ 292894 h 1088232"/>
                <a:gd name="connsiteX110" fmla="*/ 347663 w 764382"/>
                <a:gd name="connsiteY110" fmla="*/ 292894 h 1088232"/>
                <a:gd name="connsiteX111" fmla="*/ 385763 w 764382"/>
                <a:gd name="connsiteY111" fmla="*/ 314325 h 1088232"/>
                <a:gd name="connsiteX112" fmla="*/ 385763 w 764382"/>
                <a:gd name="connsiteY112" fmla="*/ 359569 h 1088232"/>
                <a:gd name="connsiteX113" fmla="*/ 319088 w 764382"/>
                <a:gd name="connsiteY113" fmla="*/ 392907 h 108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64382" h="1088232">
                  <a:moveTo>
                    <a:pt x="319088" y="392907"/>
                  </a:moveTo>
                  <a:lnTo>
                    <a:pt x="350044" y="466725"/>
                  </a:lnTo>
                  <a:lnTo>
                    <a:pt x="340519" y="509588"/>
                  </a:lnTo>
                  <a:lnTo>
                    <a:pt x="333375" y="559594"/>
                  </a:lnTo>
                  <a:lnTo>
                    <a:pt x="247650" y="633413"/>
                  </a:lnTo>
                  <a:lnTo>
                    <a:pt x="238125" y="690563"/>
                  </a:lnTo>
                  <a:lnTo>
                    <a:pt x="135732" y="711994"/>
                  </a:lnTo>
                  <a:lnTo>
                    <a:pt x="116682" y="738188"/>
                  </a:lnTo>
                  <a:lnTo>
                    <a:pt x="30957" y="707232"/>
                  </a:lnTo>
                  <a:lnTo>
                    <a:pt x="16669" y="707232"/>
                  </a:lnTo>
                  <a:lnTo>
                    <a:pt x="7144" y="735807"/>
                  </a:lnTo>
                  <a:lnTo>
                    <a:pt x="0" y="752475"/>
                  </a:lnTo>
                  <a:lnTo>
                    <a:pt x="26194" y="781050"/>
                  </a:lnTo>
                  <a:lnTo>
                    <a:pt x="45244" y="778669"/>
                  </a:lnTo>
                  <a:lnTo>
                    <a:pt x="52388" y="819150"/>
                  </a:lnTo>
                  <a:lnTo>
                    <a:pt x="66675" y="840582"/>
                  </a:lnTo>
                  <a:lnTo>
                    <a:pt x="92869" y="831057"/>
                  </a:lnTo>
                  <a:lnTo>
                    <a:pt x="109538" y="819150"/>
                  </a:lnTo>
                  <a:lnTo>
                    <a:pt x="133350" y="819150"/>
                  </a:lnTo>
                  <a:lnTo>
                    <a:pt x="142875" y="912019"/>
                  </a:lnTo>
                  <a:lnTo>
                    <a:pt x="171450" y="933450"/>
                  </a:lnTo>
                  <a:lnTo>
                    <a:pt x="180975" y="966788"/>
                  </a:lnTo>
                  <a:lnTo>
                    <a:pt x="221457" y="992982"/>
                  </a:lnTo>
                  <a:lnTo>
                    <a:pt x="254794" y="1035844"/>
                  </a:lnTo>
                  <a:lnTo>
                    <a:pt x="280988" y="1054894"/>
                  </a:lnTo>
                  <a:lnTo>
                    <a:pt x="307182" y="1081088"/>
                  </a:lnTo>
                  <a:lnTo>
                    <a:pt x="319088" y="1088232"/>
                  </a:lnTo>
                  <a:lnTo>
                    <a:pt x="347663" y="1076325"/>
                  </a:lnTo>
                  <a:lnTo>
                    <a:pt x="357188" y="1050132"/>
                  </a:lnTo>
                  <a:lnTo>
                    <a:pt x="392907" y="1033463"/>
                  </a:lnTo>
                  <a:lnTo>
                    <a:pt x="414338" y="1033463"/>
                  </a:lnTo>
                  <a:lnTo>
                    <a:pt x="438150" y="1045369"/>
                  </a:lnTo>
                  <a:lnTo>
                    <a:pt x="461963" y="1073944"/>
                  </a:lnTo>
                  <a:lnTo>
                    <a:pt x="461963" y="1073944"/>
                  </a:lnTo>
                  <a:lnTo>
                    <a:pt x="511969" y="1033463"/>
                  </a:lnTo>
                  <a:lnTo>
                    <a:pt x="547688" y="1033463"/>
                  </a:lnTo>
                  <a:lnTo>
                    <a:pt x="585788" y="1012032"/>
                  </a:lnTo>
                  <a:lnTo>
                    <a:pt x="583407" y="964407"/>
                  </a:lnTo>
                  <a:lnTo>
                    <a:pt x="578644" y="947738"/>
                  </a:lnTo>
                  <a:lnTo>
                    <a:pt x="583407" y="902494"/>
                  </a:lnTo>
                  <a:lnTo>
                    <a:pt x="581025" y="842963"/>
                  </a:lnTo>
                  <a:lnTo>
                    <a:pt x="573882" y="812007"/>
                  </a:lnTo>
                  <a:lnTo>
                    <a:pt x="542925" y="778669"/>
                  </a:lnTo>
                  <a:lnTo>
                    <a:pt x="526257" y="762000"/>
                  </a:lnTo>
                  <a:lnTo>
                    <a:pt x="531019" y="742950"/>
                  </a:lnTo>
                  <a:lnTo>
                    <a:pt x="526257" y="726282"/>
                  </a:lnTo>
                  <a:lnTo>
                    <a:pt x="519113" y="700088"/>
                  </a:lnTo>
                  <a:lnTo>
                    <a:pt x="531019" y="673894"/>
                  </a:lnTo>
                  <a:lnTo>
                    <a:pt x="542925" y="659607"/>
                  </a:lnTo>
                  <a:lnTo>
                    <a:pt x="528638" y="640557"/>
                  </a:lnTo>
                  <a:lnTo>
                    <a:pt x="519113" y="616744"/>
                  </a:lnTo>
                  <a:lnTo>
                    <a:pt x="502444" y="611982"/>
                  </a:lnTo>
                  <a:lnTo>
                    <a:pt x="488157" y="604838"/>
                  </a:lnTo>
                  <a:lnTo>
                    <a:pt x="481013" y="607219"/>
                  </a:lnTo>
                  <a:lnTo>
                    <a:pt x="464344" y="557213"/>
                  </a:lnTo>
                  <a:lnTo>
                    <a:pt x="450057" y="540544"/>
                  </a:lnTo>
                  <a:lnTo>
                    <a:pt x="445294" y="492919"/>
                  </a:lnTo>
                  <a:lnTo>
                    <a:pt x="464344" y="473869"/>
                  </a:lnTo>
                  <a:lnTo>
                    <a:pt x="476250" y="438150"/>
                  </a:lnTo>
                  <a:lnTo>
                    <a:pt x="528638" y="428625"/>
                  </a:lnTo>
                  <a:lnTo>
                    <a:pt x="557213" y="426244"/>
                  </a:lnTo>
                  <a:lnTo>
                    <a:pt x="559594" y="395288"/>
                  </a:lnTo>
                  <a:lnTo>
                    <a:pt x="540544" y="364332"/>
                  </a:lnTo>
                  <a:lnTo>
                    <a:pt x="521494" y="364332"/>
                  </a:lnTo>
                  <a:lnTo>
                    <a:pt x="497682" y="335757"/>
                  </a:lnTo>
                  <a:lnTo>
                    <a:pt x="461963" y="323850"/>
                  </a:lnTo>
                  <a:lnTo>
                    <a:pt x="433388" y="319088"/>
                  </a:lnTo>
                  <a:lnTo>
                    <a:pt x="445294" y="278607"/>
                  </a:lnTo>
                  <a:lnTo>
                    <a:pt x="442913" y="250032"/>
                  </a:lnTo>
                  <a:lnTo>
                    <a:pt x="457200" y="202407"/>
                  </a:lnTo>
                  <a:lnTo>
                    <a:pt x="500063" y="200025"/>
                  </a:lnTo>
                  <a:lnTo>
                    <a:pt x="531019" y="216694"/>
                  </a:lnTo>
                  <a:lnTo>
                    <a:pt x="578644" y="233363"/>
                  </a:lnTo>
                  <a:lnTo>
                    <a:pt x="604838" y="252413"/>
                  </a:lnTo>
                  <a:lnTo>
                    <a:pt x="614363" y="271463"/>
                  </a:lnTo>
                  <a:lnTo>
                    <a:pt x="626269" y="280988"/>
                  </a:lnTo>
                  <a:lnTo>
                    <a:pt x="650082" y="271463"/>
                  </a:lnTo>
                  <a:lnTo>
                    <a:pt x="671513" y="259557"/>
                  </a:lnTo>
                  <a:lnTo>
                    <a:pt x="683419" y="230982"/>
                  </a:lnTo>
                  <a:lnTo>
                    <a:pt x="697707" y="204788"/>
                  </a:lnTo>
                  <a:lnTo>
                    <a:pt x="716757" y="166688"/>
                  </a:lnTo>
                  <a:lnTo>
                    <a:pt x="719138" y="150019"/>
                  </a:lnTo>
                  <a:lnTo>
                    <a:pt x="750094" y="140494"/>
                  </a:lnTo>
                  <a:lnTo>
                    <a:pt x="764382" y="119063"/>
                  </a:lnTo>
                  <a:lnTo>
                    <a:pt x="759619" y="102394"/>
                  </a:lnTo>
                  <a:lnTo>
                    <a:pt x="728663" y="100013"/>
                  </a:lnTo>
                  <a:lnTo>
                    <a:pt x="704850" y="107157"/>
                  </a:lnTo>
                  <a:lnTo>
                    <a:pt x="695325" y="126207"/>
                  </a:lnTo>
                  <a:lnTo>
                    <a:pt x="661988" y="121444"/>
                  </a:lnTo>
                  <a:lnTo>
                    <a:pt x="633413" y="114300"/>
                  </a:lnTo>
                  <a:lnTo>
                    <a:pt x="602457" y="102394"/>
                  </a:lnTo>
                  <a:lnTo>
                    <a:pt x="581025" y="83344"/>
                  </a:lnTo>
                  <a:lnTo>
                    <a:pt x="569119" y="50007"/>
                  </a:lnTo>
                  <a:lnTo>
                    <a:pt x="559594" y="16669"/>
                  </a:lnTo>
                  <a:lnTo>
                    <a:pt x="550069" y="0"/>
                  </a:lnTo>
                  <a:lnTo>
                    <a:pt x="535782" y="9525"/>
                  </a:lnTo>
                  <a:lnTo>
                    <a:pt x="481013" y="83344"/>
                  </a:lnTo>
                  <a:lnTo>
                    <a:pt x="433388" y="80963"/>
                  </a:lnTo>
                  <a:lnTo>
                    <a:pt x="414338" y="71438"/>
                  </a:lnTo>
                  <a:lnTo>
                    <a:pt x="404813" y="61913"/>
                  </a:lnTo>
                  <a:lnTo>
                    <a:pt x="411957" y="107157"/>
                  </a:lnTo>
                  <a:lnTo>
                    <a:pt x="421482" y="130969"/>
                  </a:lnTo>
                  <a:lnTo>
                    <a:pt x="421482" y="159544"/>
                  </a:lnTo>
                  <a:lnTo>
                    <a:pt x="411957" y="180975"/>
                  </a:lnTo>
                  <a:lnTo>
                    <a:pt x="383382" y="192882"/>
                  </a:lnTo>
                  <a:lnTo>
                    <a:pt x="388144" y="221457"/>
                  </a:lnTo>
                  <a:lnTo>
                    <a:pt x="385763" y="238125"/>
                  </a:lnTo>
                  <a:lnTo>
                    <a:pt x="376238" y="254794"/>
                  </a:lnTo>
                  <a:lnTo>
                    <a:pt x="350044" y="264319"/>
                  </a:lnTo>
                  <a:lnTo>
                    <a:pt x="347663" y="292894"/>
                  </a:lnTo>
                  <a:lnTo>
                    <a:pt x="347663" y="292894"/>
                  </a:lnTo>
                  <a:lnTo>
                    <a:pt x="385763" y="314325"/>
                  </a:lnTo>
                  <a:lnTo>
                    <a:pt x="385763" y="359569"/>
                  </a:lnTo>
                  <a:lnTo>
                    <a:pt x="319088" y="392907"/>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80">
              <a:extLst>
                <a:ext uri="{FF2B5EF4-FFF2-40B4-BE49-F238E27FC236}">
                  <a16:creationId xmlns:a16="http://schemas.microsoft.com/office/drawing/2014/main" id="{89F33172-1F7B-45BF-8EE1-C2E7C12BCF9E}"/>
                </a:ext>
              </a:extLst>
            </p:cNvPr>
            <p:cNvSpPr/>
            <p:nvPr/>
          </p:nvSpPr>
          <p:spPr bwMode="auto">
            <a:xfrm>
              <a:off x="2324980" y="3569397"/>
              <a:ext cx="852585" cy="756618"/>
            </a:xfrm>
            <a:custGeom>
              <a:avLst/>
              <a:gdLst>
                <a:gd name="connsiteX0" fmla="*/ 461963 w 973932"/>
                <a:gd name="connsiteY0" fmla="*/ 0 h 864394"/>
                <a:gd name="connsiteX1" fmla="*/ 454819 w 973932"/>
                <a:gd name="connsiteY1" fmla="*/ 71438 h 864394"/>
                <a:gd name="connsiteX2" fmla="*/ 411957 w 973932"/>
                <a:gd name="connsiteY2" fmla="*/ 78582 h 864394"/>
                <a:gd name="connsiteX3" fmla="*/ 395288 w 973932"/>
                <a:gd name="connsiteY3" fmla="*/ 66675 h 864394"/>
                <a:gd name="connsiteX4" fmla="*/ 359569 w 973932"/>
                <a:gd name="connsiteY4" fmla="*/ 64294 h 864394"/>
                <a:gd name="connsiteX5" fmla="*/ 333375 w 973932"/>
                <a:gd name="connsiteY5" fmla="*/ 64294 h 864394"/>
                <a:gd name="connsiteX6" fmla="*/ 304800 w 973932"/>
                <a:gd name="connsiteY6" fmla="*/ 76200 h 864394"/>
                <a:gd name="connsiteX7" fmla="*/ 271463 w 973932"/>
                <a:gd name="connsiteY7" fmla="*/ 100013 h 864394"/>
                <a:gd name="connsiteX8" fmla="*/ 214313 w 973932"/>
                <a:gd name="connsiteY8" fmla="*/ 59532 h 864394"/>
                <a:gd name="connsiteX9" fmla="*/ 142875 w 973932"/>
                <a:gd name="connsiteY9" fmla="*/ 61913 h 864394"/>
                <a:gd name="connsiteX10" fmla="*/ 92869 w 973932"/>
                <a:gd name="connsiteY10" fmla="*/ 50007 h 864394"/>
                <a:gd name="connsiteX11" fmla="*/ 33338 w 973932"/>
                <a:gd name="connsiteY11" fmla="*/ 97632 h 864394"/>
                <a:gd name="connsiteX12" fmla="*/ 4763 w 973932"/>
                <a:gd name="connsiteY12" fmla="*/ 121444 h 864394"/>
                <a:gd name="connsiteX13" fmla="*/ 0 w 973932"/>
                <a:gd name="connsiteY13" fmla="*/ 147638 h 864394"/>
                <a:gd name="connsiteX14" fmla="*/ 47625 w 973932"/>
                <a:gd name="connsiteY14" fmla="*/ 200025 h 864394"/>
                <a:gd name="connsiteX15" fmla="*/ 66675 w 973932"/>
                <a:gd name="connsiteY15" fmla="*/ 271463 h 864394"/>
                <a:gd name="connsiteX16" fmla="*/ 102394 w 973932"/>
                <a:gd name="connsiteY16" fmla="*/ 300038 h 864394"/>
                <a:gd name="connsiteX17" fmla="*/ 130969 w 973932"/>
                <a:gd name="connsiteY17" fmla="*/ 319088 h 864394"/>
                <a:gd name="connsiteX18" fmla="*/ 166688 w 973932"/>
                <a:gd name="connsiteY18" fmla="*/ 333375 h 864394"/>
                <a:gd name="connsiteX19" fmla="*/ 192882 w 973932"/>
                <a:gd name="connsiteY19" fmla="*/ 338138 h 864394"/>
                <a:gd name="connsiteX20" fmla="*/ 228600 w 973932"/>
                <a:gd name="connsiteY20" fmla="*/ 326232 h 864394"/>
                <a:gd name="connsiteX21" fmla="*/ 252413 w 973932"/>
                <a:gd name="connsiteY21" fmla="*/ 316707 h 864394"/>
                <a:gd name="connsiteX22" fmla="*/ 271463 w 973932"/>
                <a:gd name="connsiteY22" fmla="*/ 304800 h 864394"/>
                <a:gd name="connsiteX23" fmla="*/ 300038 w 973932"/>
                <a:gd name="connsiteY23" fmla="*/ 288132 h 864394"/>
                <a:gd name="connsiteX24" fmla="*/ 321469 w 973932"/>
                <a:gd name="connsiteY24" fmla="*/ 309563 h 864394"/>
                <a:gd name="connsiteX25" fmla="*/ 319088 w 973932"/>
                <a:gd name="connsiteY25" fmla="*/ 342900 h 864394"/>
                <a:gd name="connsiteX26" fmla="*/ 300038 w 973932"/>
                <a:gd name="connsiteY26" fmla="*/ 381000 h 864394"/>
                <a:gd name="connsiteX27" fmla="*/ 271463 w 973932"/>
                <a:gd name="connsiteY27" fmla="*/ 411957 h 864394"/>
                <a:gd name="connsiteX28" fmla="*/ 238125 w 973932"/>
                <a:gd name="connsiteY28" fmla="*/ 423863 h 864394"/>
                <a:gd name="connsiteX29" fmla="*/ 211932 w 973932"/>
                <a:gd name="connsiteY29" fmla="*/ 431007 h 864394"/>
                <a:gd name="connsiteX30" fmla="*/ 161925 w 973932"/>
                <a:gd name="connsiteY30" fmla="*/ 433388 h 864394"/>
                <a:gd name="connsiteX31" fmla="*/ 123825 w 973932"/>
                <a:gd name="connsiteY31" fmla="*/ 416719 h 864394"/>
                <a:gd name="connsiteX32" fmla="*/ 123825 w 973932"/>
                <a:gd name="connsiteY32" fmla="*/ 395288 h 864394"/>
                <a:gd name="connsiteX33" fmla="*/ 107157 w 973932"/>
                <a:gd name="connsiteY33" fmla="*/ 376238 h 864394"/>
                <a:gd name="connsiteX34" fmla="*/ 107157 w 973932"/>
                <a:gd name="connsiteY34" fmla="*/ 376238 h 864394"/>
                <a:gd name="connsiteX35" fmla="*/ 78582 w 973932"/>
                <a:gd name="connsiteY35" fmla="*/ 416719 h 864394"/>
                <a:gd name="connsiteX36" fmla="*/ 66675 w 973932"/>
                <a:gd name="connsiteY36" fmla="*/ 461963 h 864394"/>
                <a:gd name="connsiteX37" fmla="*/ 88107 w 973932"/>
                <a:gd name="connsiteY37" fmla="*/ 481013 h 864394"/>
                <a:gd name="connsiteX38" fmla="*/ 109538 w 973932"/>
                <a:gd name="connsiteY38" fmla="*/ 511969 h 864394"/>
                <a:gd name="connsiteX39" fmla="*/ 140494 w 973932"/>
                <a:gd name="connsiteY39" fmla="*/ 533400 h 864394"/>
                <a:gd name="connsiteX40" fmla="*/ 145257 w 973932"/>
                <a:gd name="connsiteY40" fmla="*/ 557213 h 864394"/>
                <a:gd name="connsiteX41" fmla="*/ 152400 w 973932"/>
                <a:gd name="connsiteY41" fmla="*/ 566738 h 864394"/>
                <a:gd name="connsiteX42" fmla="*/ 180975 w 973932"/>
                <a:gd name="connsiteY42" fmla="*/ 595313 h 864394"/>
                <a:gd name="connsiteX43" fmla="*/ 188119 w 973932"/>
                <a:gd name="connsiteY43" fmla="*/ 661988 h 864394"/>
                <a:gd name="connsiteX44" fmla="*/ 209550 w 973932"/>
                <a:gd name="connsiteY44" fmla="*/ 681038 h 864394"/>
                <a:gd name="connsiteX45" fmla="*/ 233363 w 973932"/>
                <a:gd name="connsiteY45" fmla="*/ 688182 h 864394"/>
                <a:gd name="connsiteX46" fmla="*/ 252413 w 973932"/>
                <a:gd name="connsiteY46" fmla="*/ 702469 h 864394"/>
                <a:gd name="connsiteX47" fmla="*/ 278607 w 973932"/>
                <a:gd name="connsiteY47" fmla="*/ 721519 h 864394"/>
                <a:gd name="connsiteX48" fmla="*/ 307182 w 973932"/>
                <a:gd name="connsiteY48" fmla="*/ 766763 h 864394"/>
                <a:gd name="connsiteX49" fmla="*/ 340519 w 973932"/>
                <a:gd name="connsiteY49" fmla="*/ 773907 h 864394"/>
                <a:gd name="connsiteX50" fmla="*/ 359569 w 973932"/>
                <a:gd name="connsiteY50" fmla="*/ 759619 h 864394"/>
                <a:gd name="connsiteX51" fmla="*/ 357188 w 973932"/>
                <a:gd name="connsiteY51" fmla="*/ 738188 h 864394"/>
                <a:gd name="connsiteX52" fmla="*/ 364332 w 973932"/>
                <a:gd name="connsiteY52" fmla="*/ 716757 h 864394"/>
                <a:gd name="connsiteX53" fmla="*/ 383382 w 973932"/>
                <a:gd name="connsiteY53" fmla="*/ 711994 h 864394"/>
                <a:gd name="connsiteX54" fmla="*/ 404813 w 973932"/>
                <a:gd name="connsiteY54" fmla="*/ 721519 h 864394"/>
                <a:gd name="connsiteX55" fmla="*/ 431007 w 973932"/>
                <a:gd name="connsiteY55" fmla="*/ 733425 h 864394"/>
                <a:gd name="connsiteX56" fmla="*/ 454819 w 973932"/>
                <a:gd name="connsiteY56" fmla="*/ 740569 h 864394"/>
                <a:gd name="connsiteX57" fmla="*/ 476250 w 973932"/>
                <a:gd name="connsiteY57" fmla="*/ 728663 h 864394"/>
                <a:gd name="connsiteX58" fmla="*/ 490538 w 973932"/>
                <a:gd name="connsiteY58" fmla="*/ 704850 h 864394"/>
                <a:gd name="connsiteX59" fmla="*/ 523875 w 973932"/>
                <a:gd name="connsiteY59" fmla="*/ 683419 h 864394"/>
                <a:gd name="connsiteX60" fmla="*/ 557213 w 973932"/>
                <a:gd name="connsiteY60" fmla="*/ 685800 h 864394"/>
                <a:gd name="connsiteX61" fmla="*/ 576263 w 973932"/>
                <a:gd name="connsiteY61" fmla="*/ 664369 h 864394"/>
                <a:gd name="connsiteX62" fmla="*/ 585788 w 973932"/>
                <a:gd name="connsiteY62" fmla="*/ 626269 h 864394"/>
                <a:gd name="connsiteX63" fmla="*/ 578644 w 973932"/>
                <a:gd name="connsiteY63" fmla="*/ 585788 h 864394"/>
                <a:gd name="connsiteX64" fmla="*/ 590550 w 973932"/>
                <a:gd name="connsiteY64" fmla="*/ 533400 h 864394"/>
                <a:gd name="connsiteX65" fmla="*/ 590550 w 973932"/>
                <a:gd name="connsiteY65" fmla="*/ 490538 h 864394"/>
                <a:gd name="connsiteX66" fmla="*/ 621507 w 973932"/>
                <a:gd name="connsiteY66" fmla="*/ 473869 h 864394"/>
                <a:gd name="connsiteX67" fmla="*/ 650082 w 973932"/>
                <a:gd name="connsiteY67" fmla="*/ 492919 h 864394"/>
                <a:gd name="connsiteX68" fmla="*/ 652463 w 973932"/>
                <a:gd name="connsiteY68" fmla="*/ 523875 h 864394"/>
                <a:gd name="connsiteX69" fmla="*/ 645319 w 973932"/>
                <a:gd name="connsiteY69" fmla="*/ 550069 h 864394"/>
                <a:gd name="connsiteX70" fmla="*/ 645319 w 973932"/>
                <a:gd name="connsiteY70" fmla="*/ 581025 h 864394"/>
                <a:gd name="connsiteX71" fmla="*/ 666750 w 973932"/>
                <a:gd name="connsiteY71" fmla="*/ 602457 h 864394"/>
                <a:gd name="connsiteX72" fmla="*/ 669132 w 973932"/>
                <a:gd name="connsiteY72" fmla="*/ 654844 h 864394"/>
                <a:gd name="connsiteX73" fmla="*/ 645319 w 973932"/>
                <a:gd name="connsiteY73" fmla="*/ 709613 h 864394"/>
                <a:gd name="connsiteX74" fmla="*/ 642938 w 973932"/>
                <a:gd name="connsiteY74" fmla="*/ 771525 h 864394"/>
                <a:gd name="connsiteX75" fmla="*/ 640557 w 973932"/>
                <a:gd name="connsiteY75" fmla="*/ 795338 h 864394"/>
                <a:gd name="connsiteX76" fmla="*/ 640557 w 973932"/>
                <a:gd name="connsiteY76" fmla="*/ 814388 h 864394"/>
                <a:gd name="connsiteX77" fmla="*/ 621507 w 973932"/>
                <a:gd name="connsiteY77" fmla="*/ 826294 h 864394"/>
                <a:gd name="connsiteX78" fmla="*/ 623888 w 973932"/>
                <a:gd name="connsiteY78" fmla="*/ 845344 h 864394"/>
                <a:gd name="connsiteX79" fmla="*/ 640557 w 973932"/>
                <a:gd name="connsiteY79" fmla="*/ 857250 h 864394"/>
                <a:gd name="connsiteX80" fmla="*/ 659607 w 973932"/>
                <a:gd name="connsiteY80" fmla="*/ 850107 h 864394"/>
                <a:gd name="connsiteX81" fmla="*/ 678657 w 973932"/>
                <a:gd name="connsiteY81" fmla="*/ 857250 h 864394"/>
                <a:gd name="connsiteX82" fmla="*/ 702469 w 973932"/>
                <a:gd name="connsiteY82" fmla="*/ 862013 h 864394"/>
                <a:gd name="connsiteX83" fmla="*/ 726282 w 973932"/>
                <a:gd name="connsiteY83" fmla="*/ 864394 h 864394"/>
                <a:gd name="connsiteX84" fmla="*/ 752475 w 973932"/>
                <a:gd name="connsiteY84" fmla="*/ 852488 h 864394"/>
                <a:gd name="connsiteX85" fmla="*/ 766763 w 973932"/>
                <a:gd name="connsiteY85" fmla="*/ 823913 h 864394"/>
                <a:gd name="connsiteX86" fmla="*/ 773907 w 973932"/>
                <a:gd name="connsiteY86" fmla="*/ 792957 h 864394"/>
                <a:gd name="connsiteX87" fmla="*/ 766763 w 973932"/>
                <a:gd name="connsiteY87" fmla="*/ 769144 h 864394"/>
                <a:gd name="connsiteX88" fmla="*/ 795338 w 973932"/>
                <a:gd name="connsiteY88" fmla="*/ 764382 h 864394"/>
                <a:gd name="connsiteX89" fmla="*/ 831057 w 973932"/>
                <a:gd name="connsiteY89" fmla="*/ 709613 h 864394"/>
                <a:gd name="connsiteX90" fmla="*/ 890588 w 973932"/>
                <a:gd name="connsiteY90" fmla="*/ 688182 h 864394"/>
                <a:gd name="connsiteX91" fmla="*/ 902494 w 973932"/>
                <a:gd name="connsiteY91" fmla="*/ 661988 h 864394"/>
                <a:gd name="connsiteX92" fmla="*/ 902494 w 973932"/>
                <a:gd name="connsiteY92" fmla="*/ 661988 h 864394"/>
                <a:gd name="connsiteX93" fmla="*/ 864394 w 973932"/>
                <a:gd name="connsiteY93" fmla="*/ 645319 h 864394"/>
                <a:gd name="connsiteX94" fmla="*/ 845344 w 973932"/>
                <a:gd name="connsiteY94" fmla="*/ 600075 h 864394"/>
                <a:gd name="connsiteX95" fmla="*/ 881063 w 973932"/>
                <a:gd name="connsiteY95" fmla="*/ 581025 h 864394"/>
                <a:gd name="connsiteX96" fmla="*/ 921544 w 973932"/>
                <a:gd name="connsiteY96" fmla="*/ 538163 h 864394"/>
                <a:gd name="connsiteX97" fmla="*/ 912019 w 973932"/>
                <a:gd name="connsiteY97" fmla="*/ 492919 h 864394"/>
                <a:gd name="connsiteX98" fmla="*/ 907257 w 973932"/>
                <a:gd name="connsiteY98" fmla="*/ 466725 h 864394"/>
                <a:gd name="connsiteX99" fmla="*/ 892969 w 973932"/>
                <a:gd name="connsiteY99" fmla="*/ 442913 h 864394"/>
                <a:gd name="connsiteX100" fmla="*/ 907257 w 973932"/>
                <a:gd name="connsiteY100" fmla="*/ 421482 h 864394"/>
                <a:gd name="connsiteX101" fmla="*/ 935832 w 973932"/>
                <a:gd name="connsiteY101" fmla="*/ 411957 h 864394"/>
                <a:gd name="connsiteX102" fmla="*/ 962025 w 973932"/>
                <a:gd name="connsiteY102" fmla="*/ 402432 h 864394"/>
                <a:gd name="connsiteX103" fmla="*/ 973932 w 973932"/>
                <a:gd name="connsiteY103" fmla="*/ 395288 h 864394"/>
                <a:gd name="connsiteX104" fmla="*/ 973932 w 973932"/>
                <a:gd name="connsiteY104" fmla="*/ 361950 h 864394"/>
                <a:gd name="connsiteX105" fmla="*/ 892969 w 973932"/>
                <a:gd name="connsiteY105" fmla="*/ 328613 h 864394"/>
                <a:gd name="connsiteX106" fmla="*/ 854869 w 973932"/>
                <a:gd name="connsiteY106" fmla="*/ 257175 h 864394"/>
                <a:gd name="connsiteX107" fmla="*/ 840582 w 973932"/>
                <a:gd name="connsiteY107" fmla="*/ 204788 h 864394"/>
                <a:gd name="connsiteX108" fmla="*/ 804863 w 973932"/>
                <a:gd name="connsiteY108" fmla="*/ 190500 h 864394"/>
                <a:gd name="connsiteX109" fmla="*/ 785813 w 973932"/>
                <a:gd name="connsiteY109" fmla="*/ 164307 h 864394"/>
                <a:gd name="connsiteX110" fmla="*/ 769144 w 973932"/>
                <a:gd name="connsiteY110" fmla="*/ 102394 h 864394"/>
                <a:gd name="connsiteX111" fmla="*/ 726282 w 973932"/>
                <a:gd name="connsiteY111" fmla="*/ 76200 h 864394"/>
                <a:gd name="connsiteX112" fmla="*/ 669132 w 973932"/>
                <a:gd name="connsiteY112" fmla="*/ 71438 h 864394"/>
                <a:gd name="connsiteX113" fmla="*/ 650082 w 973932"/>
                <a:gd name="connsiteY113" fmla="*/ 30957 h 864394"/>
                <a:gd name="connsiteX114" fmla="*/ 559594 w 973932"/>
                <a:gd name="connsiteY114" fmla="*/ 4763 h 864394"/>
                <a:gd name="connsiteX115" fmla="*/ 461963 w 973932"/>
                <a:gd name="connsiteY115" fmla="*/ 0 h 864394"/>
                <a:gd name="connsiteX0" fmla="*/ 461963 w 973932"/>
                <a:gd name="connsiteY0" fmla="*/ 0 h 864394"/>
                <a:gd name="connsiteX1" fmla="*/ 454819 w 973932"/>
                <a:gd name="connsiteY1" fmla="*/ 71438 h 864394"/>
                <a:gd name="connsiteX2" fmla="*/ 411957 w 973932"/>
                <a:gd name="connsiteY2" fmla="*/ 78582 h 864394"/>
                <a:gd name="connsiteX3" fmla="*/ 395288 w 973932"/>
                <a:gd name="connsiteY3" fmla="*/ 66675 h 864394"/>
                <a:gd name="connsiteX4" fmla="*/ 359569 w 973932"/>
                <a:gd name="connsiteY4" fmla="*/ 64294 h 864394"/>
                <a:gd name="connsiteX5" fmla="*/ 333375 w 973932"/>
                <a:gd name="connsiteY5" fmla="*/ 64294 h 864394"/>
                <a:gd name="connsiteX6" fmla="*/ 304800 w 973932"/>
                <a:gd name="connsiteY6" fmla="*/ 76200 h 864394"/>
                <a:gd name="connsiteX7" fmla="*/ 271463 w 973932"/>
                <a:gd name="connsiteY7" fmla="*/ 100013 h 864394"/>
                <a:gd name="connsiteX8" fmla="*/ 214313 w 973932"/>
                <a:gd name="connsiteY8" fmla="*/ 59532 h 864394"/>
                <a:gd name="connsiteX9" fmla="*/ 142875 w 973932"/>
                <a:gd name="connsiteY9" fmla="*/ 61913 h 864394"/>
                <a:gd name="connsiteX10" fmla="*/ 92869 w 973932"/>
                <a:gd name="connsiteY10" fmla="*/ 50007 h 864394"/>
                <a:gd name="connsiteX11" fmla="*/ 33338 w 973932"/>
                <a:gd name="connsiteY11" fmla="*/ 97632 h 864394"/>
                <a:gd name="connsiteX12" fmla="*/ 4763 w 973932"/>
                <a:gd name="connsiteY12" fmla="*/ 121444 h 864394"/>
                <a:gd name="connsiteX13" fmla="*/ 0 w 973932"/>
                <a:gd name="connsiteY13" fmla="*/ 147638 h 864394"/>
                <a:gd name="connsiteX14" fmla="*/ 47625 w 973932"/>
                <a:gd name="connsiteY14" fmla="*/ 200025 h 864394"/>
                <a:gd name="connsiteX15" fmla="*/ 66675 w 973932"/>
                <a:gd name="connsiteY15" fmla="*/ 271463 h 864394"/>
                <a:gd name="connsiteX16" fmla="*/ 102394 w 973932"/>
                <a:gd name="connsiteY16" fmla="*/ 300038 h 864394"/>
                <a:gd name="connsiteX17" fmla="*/ 130969 w 973932"/>
                <a:gd name="connsiteY17" fmla="*/ 319088 h 864394"/>
                <a:gd name="connsiteX18" fmla="*/ 166688 w 973932"/>
                <a:gd name="connsiteY18" fmla="*/ 333375 h 864394"/>
                <a:gd name="connsiteX19" fmla="*/ 192882 w 973932"/>
                <a:gd name="connsiteY19" fmla="*/ 338138 h 864394"/>
                <a:gd name="connsiteX20" fmla="*/ 228600 w 973932"/>
                <a:gd name="connsiteY20" fmla="*/ 326232 h 864394"/>
                <a:gd name="connsiteX21" fmla="*/ 252413 w 973932"/>
                <a:gd name="connsiteY21" fmla="*/ 316707 h 864394"/>
                <a:gd name="connsiteX22" fmla="*/ 271463 w 973932"/>
                <a:gd name="connsiteY22" fmla="*/ 304800 h 864394"/>
                <a:gd name="connsiteX23" fmla="*/ 300038 w 973932"/>
                <a:gd name="connsiteY23" fmla="*/ 288132 h 864394"/>
                <a:gd name="connsiteX24" fmla="*/ 321469 w 973932"/>
                <a:gd name="connsiteY24" fmla="*/ 309563 h 864394"/>
                <a:gd name="connsiteX25" fmla="*/ 319088 w 973932"/>
                <a:gd name="connsiteY25" fmla="*/ 342900 h 864394"/>
                <a:gd name="connsiteX26" fmla="*/ 300038 w 973932"/>
                <a:gd name="connsiteY26" fmla="*/ 381000 h 864394"/>
                <a:gd name="connsiteX27" fmla="*/ 271463 w 973932"/>
                <a:gd name="connsiteY27" fmla="*/ 411957 h 864394"/>
                <a:gd name="connsiteX28" fmla="*/ 238125 w 973932"/>
                <a:gd name="connsiteY28" fmla="*/ 423863 h 864394"/>
                <a:gd name="connsiteX29" fmla="*/ 211932 w 973932"/>
                <a:gd name="connsiteY29" fmla="*/ 431007 h 864394"/>
                <a:gd name="connsiteX30" fmla="*/ 161925 w 973932"/>
                <a:gd name="connsiteY30" fmla="*/ 433388 h 864394"/>
                <a:gd name="connsiteX31" fmla="*/ 123825 w 973932"/>
                <a:gd name="connsiteY31" fmla="*/ 416719 h 864394"/>
                <a:gd name="connsiteX32" fmla="*/ 123825 w 973932"/>
                <a:gd name="connsiteY32" fmla="*/ 395288 h 864394"/>
                <a:gd name="connsiteX33" fmla="*/ 107157 w 973932"/>
                <a:gd name="connsiteY33" fmla="*/ 376238 h 864394"/>
                <a:gd name="connsiteX34" fmla="*/ 107157 w 973932"/>
                <a:gd name="connsiteY34" fmla="*/ 376238 h 864394"/>
                <a:gd name="connsiteX35" fmla="*/ 78582 w 973932"/>
                <a:gd name="connsiteY35" fmla="*/ 416719 h 864394"/>
                <a:gd name="connsiteX36" fmla="*/ 66675 w 973932"/>
                <a:gd name="connsiteY36" fmla="*/ 461963 h 864394"/>
                <a:gd name="connsiteX37" fmla="*/ 88107 w 973932"/>
                <a:gd name="connsiteY37" fmla="*/ 481013 h 864394"/>
                <a:gd name="connsiteX38" fmla="*/ 109538 w 973932"/>
                <a:gd name="connsiteY38" fmla="*/ 511969 h 864394"/>
                <a:gd name="connsiteX39" fmla="*/ 140494 w 973932"/>
                <a:gd name="connsiteY39" fmla="*/ 533400 h 864394"/>
                <a:gd name="connsiteX40" fmla="*/ 145257 w 973932"/>
                <a:gd name="connsiteY40" fmla="*/ 557213 h 864394"/>
                <a:gd name="connsiteX41" fmla="*/ 152400 w 973932"/>
                <a:gd name="connsiteY41" fmla="*/ 566738 h 864394"/>
                <a:gd name="connsiteX42" fmla="*/ 180975 w 973932"/>
                <a:gd name="connsiteY42" fmla="*/ 595313 h 864394"/>
                <a:gd name="connsiteX43" fmla="*/ 188119 w 973932"/>
                <a:gd name="connsiteY43" fmla="*/ 661988 h 864394"/>
                <a:gd name="connsiteX44" fmla="*/ 209550 w 973932"/>
                <a:gd name="connsiteY44" fmla="*/ 681038 h 864394"/>
                <a:gd name="connsiteX45" fmla="*/ 233363 w 973932"/>
                <a:gd name="connsiteY45" fmla="*/ 688182 h 864394"/>
                <a:gd name="connsiteX46" fmla="*/ 252413 w 973932"/>
                <a:gd name="connsiteY46" fmla="*/ 702469 h 864394"/>
                <a:gd name="connsiteX47" fmla="*/ 278607 w 973932"/>
                <a:gd name="connsiteY47" fmla="*/ 721519 h 864394"/>
                <a:gd name="connsiteX48" fmla="*/ 307182 w 973932"/>
                <a:gd name="connsiteY48" fmla="*/ 766763 h 864394"/>
                <a:gd name="connsiteX49" fmla="*/ 340519 w 973932"/>
                <a:gd name="connsiteY49" fmla="*/ 773907 h 864394"/>
                <a:gd name="connsiteX50" fmla="*/ 359569 w 973932"/>
                <a:gd name="connsiteY50" fmla="*/ 759619 h 864394"/>
                <a:gd name="connsiteX51" fmla="*/ 357188 w 973932"/>
                <a:gd name="connsiteY51" fmla="*/ 738188 h 864394"/>
                <a:gd name="connsiteX52" fmla="*/ 364332 w 973932"/>
                <a:gd name="connsiteY52" fmla="*/ 716757 h 864394"/>
                <a:gd name="connsiteX53" fmla="*/ 383382 w 973932"/>
                <a:gd name="connsiteY53" fmla="*/ 711994 h 864394"/>
                <a:gd name="connsiteX54" fmla="*/ 404813 w 973932"/>
                <a:gd name="connsiteY54" fmla="*/ 721519 h 864394"/>
                <a:gd name="connsiteX55" fmla="*/ 431007 w 973932"/>
                <a:gd name="connsiteY55" fmla="*/ 733425 h 864394"/>
                <a:gd name="connsiteX56" fmla="*/ 454819 w 973932"/>
                <a:gd name="connsiteY56" fmla="*/ 740569 h 864394"/>
                <a:gd name="connsiteX57" fmla="*/ 476250 w 973932"/>
                <a:gd name="connsiteY57" fmla="*/ 728663 h 864394"/>
                <a:gd name="connsiteX58" fmla="*/ 490538 w 973932"/>
                <a:gd name="connsiteY58" fmla="*/ 704850 h 864394"/>
                <a:gd name="connsiteX59" fmla="*/ 523875 w 973932"/>
                <a:gd name="connsiteY59" fmla="*/ 683419 h 864394"/>
                <a:gd name="connsiteX60" fmla="*/ 557213 w 973932"/>
                <a:gd name="connsiteY60" fmla="*/ 685800 h 864394"/>
                <a:gd name="connsiteX61" fmla="*/ 576263 w 973932"/>
                <a:gd name="connsiteY61" fmla="*/ 664369 h 864394"/>
                <a:gd name="connsiteX62" fmla="*/ 585788 w 973932"/>
                <a:gd name="connsiteY62" fmla="*/ 626269 h 864394"/>
                <a:gd name="connsiteX63" fmla="*/ 578644 w 973932"/>
                <a:gd name="connsiteY63" fmla="*/ 585788 h 864394"/>
                <a:gd name="connsiteX64" fmla="*/ 602457 w 973932"/>
                <a:gd name="connsiteY64" fmla="*/ 535781 h 864394"/>
                <a:gd name="connsiteX65" fmla="*/ 590550 w 973932"/>
                <a:gd name="connsiteY65" fmla="*/ 490538 h 864394"/>
                <a:gd name="connsiteX66" fmla="*/ 621507 w 973932"/>
                <a:gd name="connsiteY66" fmla="*/ 473869 h 864394"/>
                <a:gd name="connsiteX67" fmla="*/ 650082 w 973932"/>
                <a:gd name="connsiteY67" fmla="*/ 492919 h 864394"/>
                <a:gd name="connsiteX68" fmla="*/ 652463 w 973932"/>
                <a:gd name="connsiteY68" fmla="*/ 523875 h 864394"/>
                <a:gd name="connsiteX69" fmla="*/ 645319 w 973932"/>
                <a:gd name="connsiteY69" fmla="*/ 550069 h 864394"/>
                <a:gd name="connsiteX70" fmla="*/ 645319 w 973932"/>
                <a:gd name="connsiteY70" fmla="*/ 581025 h 864394"/>
                <a:gd name="connsiteX71" fmla="*/ 666750 w 973932"/>
                <a:gd name="connsiteY71" fmla="*/ 602457 h 864394"/>
                <a:gd name="connsiteX72" fmla="*/ 669132 w 973932"/>
                <a:gd name="connsiteY72" fmla="*/ 654844 h 864394"/>
                <a:gd name="connsiteX73" fmla="*/ 645319 w 973932"/>
                <a:gd name="connsiteY73" fmla="*/ 709613 h 864394"/>
                <a:gd name="connsiteX74" fmla="*/ 642938 w 973932"/>
                <a:gd name="connsiteY74" fmla="*/ 771525 h 864394"/>
                <a:gd name="connsiteX75" fmla="*/ 640557 w 973932"/>
                <a:gd name="connsiteY75" fmla="*/ 795338 h 864394"/>
                <a:gd name="connsiteX76" fmla="*/ 640557 w 973932"/>
                <a:gd name="connsiteY76" fmla="*/ 814388 h 864394"/>
                <a:gd name="connsiteX77" fmla="*/ 621507 w 973932"/>
                <a:gd name="connsiteY77" fmla="*/ 826294 h 864394"/>
                <a:gd name="connsiteX78" fmla="*/ 623888 w 973932"/>
                <a:gd name="connsiteY78" fmla="*/ 845344 h 864394"/>
                <a:gd name="connsiteX79" fmla="*/ 640557 w 973932"/>
                <a:gd name="connsiteY79" fmla="*/ 857250 h 864394"/>
                <a:gd name="connsiteX80" fmla="*/ 659607 w 973932"/>
                <a:gd name="connsiteY80" fmla="*/ 850107 h 864394"/>
                <a:gd name="connsiteX81" fmla="*/ 678657 w 973932"/>
                <a:gd name="connsiteY81" fmla="*/ 857250 h 864394"/>
                <a:gd name="connsiteX82" fmla="*/ 702469 w 973932"/>
                <a:gd name="connsiteY82" fmla="*/ 862013 h 864394"/>
                <a:gd name="connsiteX83" fmla="*/ 726282 w 973932"/>
                <a:gd name="connsiteY83" fmla="*/ 864394 h 864394"/>
                <a:gd name="connsiteX84" fmla="*/ 752475 w 973932"/>
                <a:gd name="connsiteY84" fmla="*/ 852488 h 864394"/>
                <a:gd name="connsiteX85" fmla="*/ 766763 w 973932"/>
                <a:gd name="connsiteY85" fmla="*/ 823913 h 864394"/>
                <a:gd name="connsiteX86" fmla="*/ 773907 w 973932"/>
                <a:gd name="connsiteY86" fmla="*/ 792957 h 864394"/>
                <a:gd name="connsiteX87" fmla="*/ 766763 w 973932"/>
                <a:gd name="connsiteY87" fmla="*/ 769144 h 864394"/>
                <a:gd name="connsiteX88" fmla="*/ 795338 w 973932"/>
                <a:gd name="connsiteY88" fmla="*/ 764382 h 864394"/>
                <a:gd name="connsiteX89" fmla="*/ 831057 w 973932"/>
                <a:gd name="connsiteY89" fmla="*/ 709613 h 864394"/>
                <a:gd name="connsiteX90" fmla="*/ 890588 w 973932"/>
                <a:gd name="connsiteY90" fmla="*/ 688182 h 864394"/>
                <a:gd name="connsiteX91" fmla="*/ 902494 w 973932"/>
                <a:gd name="connsiteY91" fmla="*/ 661988 h 864394"/>
                <a:gd name="connsiteX92" fmla="*/ 902494 w 973932"/>
                <a:gd name="connsiteY92" fmla="*/ 661988 h 864394"/>
                <a:gd name="connsiteX93" fmla="*/ 864394 w 973932"/>
                <a:gd name="connsiteY93" fmla="*/ 645319 h 864394"/>
                <a:gd name="connsiteX94" fmla="*/ 845344 w 973932"/>
                <a:gd name="connsiteY94" fmla="*/ 600075 h 864394"/>
                <a:gd name="connsiteX95" fmla="*/ 881063 w 973932"/>
                <a:gd name="connsiteY95" fmla="*/ 581025 h 864394"/>
                <a:gd name="connsiteX96" fmla="*/ 921544 w 973932"/>
                <a:gd name="connsiteY96" fmla="*/ 538163 h 864394"/>
                <a:gd name="connsiteX97" fmla="*/ 912019 w 973932"/>
                <a:gd name="connsiteY97" fmla="*/ 492919 h 864394"/>
                <a:gd name="connsiteX98" fmla="*/ 907257 w 973932"/>
                <a:gd name="connsiteY98" fmla="*/ 466725 h 864394"/>
                <a:gd name="connsiteX99" fmla="*/ 892969 w 973932"/>
                <a:gd name="connsiteY99" fmla="*/ 442913 h 864394"/>
                <a:gd name="connsiteX100" fmla="*/ 907257 w 973932"/>
                <a:gd name="connsiteY100" fmla="*/ 421482 h 864394"/>
                <a:gd name="connsiteX101" fmla="*/ 935832 w 973932"/>
                <a:gd name="connsiteY101" fmla="*/ 411957 h 864394"/>
                <a:gd name="connsiteX102" fmla="*/ 962025 w 973932"/>
                <a:gd name="connsiteY102" fmla="*/ 402432 h 864394"/>
                <a:gd name="connsiteX103" fmla="*/ 973932 w 973932"/>
                <a:gd name="connsiteY103" fmla="*/ 395288 h 864394"/>
                <a:gd name="connsiteX104" fmla="*/ 973932 w 973932"/>
                <a:gd name="connsiteY104" fmla="*/ 361950 h 864394"/>
                <a:gd name="connsiteX105" fmla="*/ 892969 w 973932"/>
                <a:gd name="connsiteY105" fmla="*/ 328613 h 864394"/>
                <a:gd name="connsiteX106" fmla="*/ 854869 w 973932"/>
                <a:gd name="connsiteY106" fmla="*/ 257175 h 864394"/>
                <a:gd name="connsiteX107" fmla="*/ 840582 w 973932"/>
                <a:gd name="connsiteY107" fmla="*/ 204788 h 864394"/>
                <a:gd name="connsiteX108" fmla="*/ 804863 w 973932"/>
                <a:gd name="connsiteY108" fmla="*/ 190500 h 864394"/>
                <a:gd name="connsiteX109" fmla="*/ 785813 w 973932"/>
                <a:gd name="connsiteY109" fmla="*/ 164307 h 864394"/>
                <a:gd name="connsiteX110" fmla="*/ 769144 w 973932"/>
                <a:gd name="connsiteY110" fmla="*/ 102394 h 864394"/>
                <a:gd name="connsiteX111" fmla="*/ 726282 w 973932"/>
                <a:gd name="connsiteY111" fmla="*/ 76200 h 864394"/>
                <a:gd name="connsiteX112" fmla="*/ 669132 w 973932"/>
                <a:gd name="connsiteY112" fmla="*/ 71438 h 864394"/>
                <a:gd name="connsiteX113" fmla="*/ 650082 w 973932"/>
                <a:gd name="connsiteY113" fmla="*/ 30957 h 864394"/>
                <a:gd name="connsiteX114" fmla="*/ 559594 w 973932"/>
                <a:gd name="connsiteY114" fmla="*/ 4763 h 864394"/>
                <a:gd name="connsiteX115" fmla="*/ 461963 w 973932"/>
                <a:gd name="connsiteY115" fmla="*/ 0 h 864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73932" h="864394">
                  <a:moveTo>
                    <a:pt x="461963" y="0"/>
                  </a:moveTo>
                  <a:lnTo>
                    <a:pt x="454819" y="71438"/>
                  </a:lnTo>
                  <a:lnTo>
                    <a:pt x="411957" y="78582"/>
                  </a:lnTo>
                  <a:lnTo>
                    <a:pt x="395288" y="66675"/>
                  </a:lnTo>
                  <a:lnTo>
                    <a:pt x="359569" y="64294"/>
                  </a:lnTo>
                  <a:lnTo>
                    <a:pt x="333375" y="64294"/>
                  </a:lnTo>
                  <a:lnTo>
                    <a:pt x="304800" y="76200"/>
                  </a:lnTo>
                  <a:lnTo>
                    <a:pt x="271463" y="100013"/>
                  </a:lnTo>
                  <a:lnTo>
                    <a:pt x="214313" y="59532"/>
                  </a:lnTo>
                  <a:lnTo>
                    <a:pt x="142875" y="61913"/>
                  </a:lnTo>
                  <a:lnTo>
                    <a:pt x="92869" y="50007"/>
                  </a:lnTo>
                  <a:lnTo>
                    <a:pt x="33338" y="97632"/>
                  </a:lnTo>
                  <a:lnTo>
                    <a:pt x="4763" y="121444"/>
                  </a:lnTo>
                  <a:lnTo>
                    <a:pt x="0" y="147638"/>
                  </a:lnTo>
                  <a:lnTo>
                    <a:pt x="47625" y="200025"/>
                  </a:lnTo>
                  <a:lnTo>
                    <a:pt x="66675" y="271463"/>
                  </a:lnTo>
                  <a:lnTo>
                    <a:pt x="102394" y="300038"/>
                  </a:lnTo>
                  <a:lnTo>
                    <a:pt x="130969" y="319088"/>
                  </a:lnTo>
                  <a:lnTo>
                    <a:pt x="166688" y="333375"/>
                  </a:lnTo>
                  <a:lnTo>
                    <a:pt x="192882" y="338138"/>
                  </a:lnTo>
                  <a:lnTo>
                    <a:pt x="228600" y="326232"/>
                  </a:lnTo>
                  <a:lnTo>
                    <a:pt x="252413" y="316707"/>
                  </a:lnTo>
                  <a:lnTo>
                    <a:pt x="271463" y="304800"/>
                  </a:lnTo>
                  <a:lnTo>
                    <a:pt x="300038" y="288132"/>
                  </a:lnTo>
                  <a:lnTo>
                    <a:pt x="321469" y="309563"/>
                  </a:lnTo>
                  <a:lnTo>
                    <a:pt x="319088" y="342900"/>
                  </a:lnTo>
                  <a:lnTo>
                    <a:pt x="300038" y="381000"/>
                  </a:lnTo>
                  <a:lnTo>
                    <a:pt x="271463" y="411957"/>
                  </a:lnTo>
                  <a:lnTo>
                    <a:pt x="238125" y="423863"/>
                  </a:lnTo>
                  <a:lnTo>
                    <a:pt x="211932" y="431007"/>
                  </a:lnTo>
                  <a:lnTo>
                    <a:pt x="161925" y="433388"/>
                  </a:lnTo>
                  <a:lnTo>
                    <a:pt x="123825" y="416719"/>
                  </a:lnTo>
                  <a:lnTo>
                    <a:pt x="123825" y="395288"/>
                  </a:lnTo>
                  <a:lnTo>
                    <a:pt x="107157" y="376238"/>
                  </a:lnTo>
                  <a:lnTo>
                    <a:pt x="107157" y="376238"/>
                  </a:lnTo>
                  <a:lnTo>
                    <a:pt x="78582" y="416719"/>
                  </a:lnTo>
                  <a:lnTo>
                    <a:pt x="66675" y="461963"/>
                  </a:lnTo>
                  <a:lnTo>
                    <a:pt x="88107" y="481013"/>
                  </a:lnTo>
                  <a:lnTo>
                    <a:pt x="109538" y="511969"/>
                  </a:lnTo>
                  <a:lnTo>
                    <a:pt x="140494" y="533400"/>
                  </a:lnTo>
                  <a:lnTo>
                    <a:pt x="145257" y="557213"/>
                  </a:lnTo>
                  <a:lnTo>
                    <a:pt x="152400" y="566738"/>
                  </a:lnTo>
                  <a:lnTo>
                    <a:pt x="180975" y="595313"/>
                  </a:lnTo>
                  <a:lnTo>
                    <a:pt x="188119" y="661988"/>
                  </a:lnTo>
                  <a:lnTo>
                    <a:pt x="209550" y="681038"/>
                  </a:lnTo>
                  <a:lnTo>
                    <a:pt x="233363" y="688182"/>
                  </a:lnTo>
                  <a:lnTo>
                    <a:pt x="252413" y="702469"/>
                  </a:lnTo>
                  <a:lnTo>
                    <a:pt x="278607" y="721519"/>
                  </a:lnTo>
                  <a:lnTo>
                    <a:pt x="307182" y="766763"/>
                  </a:lnTo>
                  <a:lnTo>
                    <a:pt x="340519" y="773907"/>
                  </a:lnTo>
                  <a:lnTo>
                    <a:pt x="359569" y="759619"/>
                  </a:lnTo>
                  <a:lnTo>
                    <a:pt x="357188" y="738188"/>
                  </a:lnTo>
                  <a:lnTo>
                    <a:pt x="364332" y="716757"/>
                  </a:lnTo>
                  <a:lnTo>
                    <a:pt x="383382" y="711994"/>
                  </a:lnTo>
                  <a:lnTo>
                    <a:pt x="404813" y="721519"/>
                  </a:lnTo>
                  <a:lnTo>
                    <a:pt x="431007" y="733425"/>
                  </a:lnTo>
                  <a:lnTo>
                    <a:pt x="454819" y="740569"/>
                  </a:lnTo>
                  <a:lnTo>
                    <a:pt x="476250" y="728663"/>
                  </a:lnTo>
                  <a:lnTo>
                    <a:pt x="490538" y="704850"/>
                  </a:lnTo>
                  <a:lnTo>
                    <a:pt x="523875" y="683419"/>
                  </a:lnTo>
                  <a:lnTo>
                    <a:pt x="557213" y="685800"/>
                  </a:lnTo>
                  <a:lnTo>
                    <a:pt x="576263" y="664369"/>
                  </a:lnTo>
                  <a:lnTo>
                    <a:pt x="585788" y="626269"/>
                  </a:lnTo>
                  <a:lnTo>
                    <a:pt x="578644" y="585788"/>
                  </a:lnTo>
                  <a:lnTo>
                    <a:pt x="602457" y="535781"/>
                  </a:lnTo>
                  <a:lnTo>
                    <a:pt x="590550" y="490538"/>
                  </a:lnTo>
                  <a:lnTo>
                    <a:pt x="621507" y="473869"/>
                  </a:lnTo>
                  <a:lnTo>
                    <a:pt x="650082" y="492919"/>
                  </a:lnTo>
                  <a:lnTo>
                    <a:pt x="652463" y="523875"/>
                  </a:lnTo>
                  <a:lnTo>
                    <a:pt x="645319" y="550069"/>
                  </a:lnTo>
                  <a:lnTo>
                    <a:pt x="645319" y="581025"/>
                  </a:lnTo>
                  <a:lnTo>
                    <a:pt x="666750" y="602457"/>
                  </a:lnTo>
                  <a:lnTo>
                    <a:pt x="669132" y="654844"/>
                  </a:lnTo>
                  <a:lnTo>
                    <a:pt x="645319" y="709613"/>
                  </a:lnTo>
                  <a:cubicBezTo>
                    <a:pt x="644525" y="730250"/>
                    <a:pt x="643732" y="750888"/>
                    <a:pt x="642938" y="771525"/>
                  </a:cubicBezTo>
                  <a:lnTo>
                    <a:pt x="640557" y="795338"/>
                  </a:lnTo>
                  <a:lnTo>
                    <a:pt x="640557" y="814388"/>
                  </a:lnTo>
                  <a:lnTo>
                    <a:pt x="621507" y="826294"/>
                  </a:lnTo>
                  <a:lnTo>
                    <a:pt x="623888" y="845344"/>
                  </a:lnTo>
                  <a:lnTo>
                    <a:pt x="640557" y="857250"/>
                  </a:lnTo>
                  <a:lnTo>
                    <a:pt x="659607" y="850107"/>
                  </a:lnTo>
                  <a:lnTo>
                    <a:pt x="678657" y="857250"/>
                  </a:lnTo>
                  <a:lnTo>
                    <a:pt x="702469" y="862013"/>
                  </a:lnTo>
                  <a:lnTo>
                    <a:pt x="726282" y="864394"/>
                  </a:lnTo>
                  <a:lnTo>
                    <a:pt x="752475" y="852488"/>
                  </a:lnTo>
                  <a:lnTo>
                    <a:pt x="766763" y="823913"/>
                  </a:lnTo>
                  <a:lnTo>
                    <a:pt x="773907" y="792957"/>
                  </a:lnTo>
                  <a:lnTo>
                    <a:pt x="766763" y="769144"/>
                  </a:lnTo>
                  <a:lnTo>
                    <a:pt x="795338" y="764382"/>
                  </a:lnTo>
                  <a:lnTo>
                    <a:pt x="831057" y="709613"/>
                  </a:lnTo>
                  <a:lnTo>
                    <a:pt x="890588" y="688182"/>
                  </a:lnTo>
                  <a:lnTo>
                    <a:pt x="902494" y="661988"/>
                  </a:lnTo>
                  <a:lnTo>
                    <a:pt x="902494" y="661988"/>
                  </a:lnTo>
                  <a:lnTo>
                    <a:pt x="864394" y="645319"/>
                  </a:lnTo>
                  <a:lnTo>
                    <a:pt x="845344" y="600075"/>
                  </a:lnTo>
                  <a:lnTo>
                    <a:pt x="881063" y="581025"/>
                  </a:lnTo>
                  <a:lnTo>
                    <a:pt x="921544" y="538163"/>
                  </a:lnTo>
                  <a:lnTo>
                    <a:pt x="912019" y="492919"/>
                  </a:lnTo>
                  <a:lnTo>
                    <a:pt x="907257" y="466725"/>
                  </a:lnTo>
                  <a:lnTo>
                    <a:pt x="892969" y="442913"/>
                  </a:lnTo>
                  <a:lnTo>
                    <a:pt x="907257" y="421482"/>
                  </a:lnTo>
                  <a:lnTo>
                    <a:pt x="935832" y="411957"/>
                  </a:lnTo>
                  <a:lnTo>
                    <a:pt x="962025" y="402432"/>
                  </a:lnTo>
                  <a:lnTo>
                    <a:pt x="973932" y="395288"/>
                  </a:lnTo>
                  <a:lnTo>
                    <a:pt x="973932" y="361950"/>
                  </a:lnTo>
                  <a:lnTo>
                    <a:pt x="892969" y="328613"/>
                  </a:lnTo>
                  <a:lnTo>
                    <a:pt x="854869" y="257175"/>
                  </a:lnTo>
                  <a:lnTo>
                    <a:pt x="840582" y="204788"/>
                  </a:lnTo>
                  <a:lnTo>
                    <a:pt x="804863" y="190500"/>
                  </a:lnTo>
                  <a:lnTo>
                    <a:pt x="785813" y="164307"/>
                  </a:lnTo>
                  <a:lnTo>
                    <a:pt x="769144" y="102394"/>
                  </a:lnTo>
                  <a:lnTo>
                    <a:pt x="726282" y="76200"/>
                  </a:lnTo>
                  <a:lnTo>
                    <a:pt x="669132" y="71438"/>
                  </a:lnTo>
                  <a:lnTo>
                    <a:pt x="650082" y="30957"/>
                  </a:lnTo>
                  <a:lnTo>
                    <a:pt x="559594" y="4763"/>
                  </a:lnTo>
                  <a:lnTo>
                    <a:pt x="461963" y="0"/>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Freeform 81">
              <a:extLst>
                <a:ext uri="{FF2B5EF4-FFF2-40B4-BE49-F238E27FC236}">
                  <a16:creationId xmlns:a16="http://schemas.microsoft.com/office/drawing/2014/main" id="{2771481C-469C-4436-8084-ECEFFAD313DD}"/>
                </a:ext>
              </a:extLst>
            </p:cNvPr>
            <p:cNvSpPr/>
            <p:nvPr/>
          </p:nvSpPr>
          <p:spPr bwMode="auto">
            <a:xfrm>
              <a:off x="2914697" y="5071506"/>
              <a:ext cx="102922" cy="137694"/>
            </a:xfrm>
            <a:custGeom>
              <a:avLst/>
              <a:gdLst>
                <a:gd name="connsiteX0" fmla="*/ 0 w 116681"/>
                <a:gd name="connsiteY0" fmla="*/ 0 h 157163"/>
                <a:gd name="connsiteX1" fmla="*/ 38100 w 116681"/>
                <a:gd name="connsiteY1" fmla="*/ 97632 h 157163"/>
                <a:gd name="connsiteX2" fmla="*/ 90488 w 116681"/>
                <a:gd name="connsiteY2" fmla="*/ 157163 h 157163"/>
                <a:gd name="connsiteX3" fmla="*/ 109538 w 116681"/>
                <a:gd name="connsiteY3" fmla="*/ 121444 h 157163"/>
                <a:gd name="connsiteX4" fmla="*/ 116681 w 116681"/>
                <a:gd name="connsiteY4" fmla="*/ 97632 h 157163"/>
                <a:gd name="connsiteX5" fmla="*/ 111919 w 116681"/>
                <a:gd name="connsiteY5" fmla="*/ 50007 h 157163"/>
                <a:gd name="connsiteX6" fmla="*/ 0 w 116681"/>
                <a:gd name="connsiteY6" fmla="*/ 0 h 1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81" h="157163">
                  <a:moveTo>
                    <a:pt x="0" y="0"/>
                  </a:moveTo>
                  <a:lnTo>
                    <a:pt x="38100" y="97632"/>
                  </a:lnTo>
                  <a:lnTo>
                    <a:pt x="90488" y="157163"/>
                  </a:lnTo>
                  <a:lnTo>
                    <a:pt x="109538" y="121444"/>
                  </a:lnTo>
                  <a:lnTo>
                    <a:pt x="116681" y="97632"/>
                  </a:lnTo>
                  <a:lnTo>
                    <a:pt x="111919" y="50007"/>
                  </a:lnTo>
                  <a:lnTo>
                    <a:pt x="0" y="0"/>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Freeform 82">
              <a:extLst>
                <a:ext uri="{FF2B5EF4-FFF2-40B4-BE49-F238E27FC236}">
                  <a16:creationId xmlns:a16="http://schemas.microsoft.com/office/drawing/2014/main" id="{E95D2C9E-52A3-41B5-83EC-203BAD31AEE3}"/>
                </a:ext>
              </a:extLst>
            </p:cNvPr>
            <p:cNvSpPr/>
            <p:nvPr/>
          </p:nvSpPr>
          <p:spPr bwMode="auto">
            <a:xfrm>
              <a:off x="2988411" y="4679289"/>
              <a:ext cx="685685" cy="1118237"/>
            </a:xfrm>
            <a:custGeom>
              <a:avLst/>
              <a:gdLst>
                <a:gd name="connsiteX0" fmla="*/ 0 w 783431"/>
                <a:gd name="connsiteY0" fmla="*/ 614363 h 1090613"/>
                <a:gd name="connsiteX1" fmla="*/ 21431 w 783431"/>
                <a:gd name="connsiteY1" fmla="*/ 661988 h 1090613"/>
                <a:gd name="connsiteX2" fmla="*/ 28575 w 783431"/>
                <a:gd name="connsiteY2" fmla="*/ 742950 h 1090613"/>
                <a:gd name="connsiteX3" fmla="*/ 76200 w 783431"/>
                <a:gd name="connsiteY3" fmla="*/ 814388 h 1090613"/>
                <a:gd name="connsiteX4" fmla="*/ 102394 w 783431"/>
                <a:gd name="connsiteY4" fmla="*/ 919163 h 1090613"/>
                <a:gd name="connsiteX5" fmla="*/ 116681 w 783431"/>
                <a:gd name="connsiteY5" fmla="*/ 947738 h 1090613"/>
                <a:gd name="connsiteX6" fmla="*/ 130969 w 783431"/>
                <a:gd name="connsiteY6" fmla="*/ 995363 h 1090613"/>
                <a:gd name="connsiteX7" fmla="*/ 150019 w 783431"/>
                <a:gd name="connsiteY7" fmla="*/ 1023938 h 1090613"/>
                <a:gd name="connsiteX8" fmla="*/ 159544 w 783431"/>
                <a:gd name="connsiteY8" fmla="*/ 1042988 h 1090613"/>
                <a:gd name="connsiteX9" fmla="*/ 197644 w 783431"/>
                <a:gd name="connsiteY9" fmla="*/ 1069182 h 1090613"/>
                <a:gd name="connsiteX10" fmla="*/ 245269 w 783431"/>
                <a:gd name="connsiteY10" fmla="*/ 1090613 h 1090613"/>
                <a:gd name="connsiteX11" fmla="*/ 604837 w 783431"/>
                <a:gd name="connsiteY11" fmla="*/ 1085850 h 1090613"/>
                <a:gd name="connsiteX12" fmla="*/ 585787 w 783431"/>
                <a:gd name="connsiteY12" fmla="*/ 1035844 h 1090613"/>
                <a:gd name="connsiteX13" fmla="*/ 607219 w 783431"/>
                <a:gd name="connsiteY13" fmla="*/ 1021557 h 1090613"/>
                <a:gd name="connsiteX14" fmla="*/ 645319 w 783431"/>
                <a:gd name="connsiteY14" fmla="*/ 1016794 h 1090613"/>
                <a:gd name="connsiteX15" fmla="*/ 685800 w 783431"/>
                <a:gd name="connsiteY15" fmla="*/ 997744 h 1090613"/>
                <a:gd name="connsiteX16" fmla="*/ 716756 w 783431"/>
                <a:gd name="connsiteY16" fmla="*/ 1002507 h 1090613"/>
                <a:gd name="connsiteX17" fmla="*/ 738187 w 783431"/>
                <a:gd name="connsiteY17" fmla="*/ 969169 h 1090613"/>
                <a:gd name="connsiteX18" fmla="*/ 783431 w 783431"/>
                <a:gd name="connsiteY18" fmla="*/ 933450 h 1090613"/>
                <a:gd name="connsiteX19" fmla="*/ 776287 w 783431"/>
                <a:gd name="connsiteY19" fmla="*/ 907257 h 1090613"/>
                <a:gd name="connsiteX20" fmla="*/ 752475 w 783431"/>
                <a:gd name="connsiteY20" fmla="*/ 888207 h 1090613"/>
                <a:gd name="connsiteX21" fmla="*/ 752475 w 783431"/>
                <a:gd name="connsiteY21" fmla="*/ 864394 h 1090613"/>
                <a:gd name="connsiteX22" fmla="*/ 728662 w 783431"/>
                <a:gd name="connsiteY22" fmla="*/ 852488 h 1090613"/>
                <a:gd name="connsiteX23" fmla="*/ 711994 w 783431"/>
                <a:gd name="connsiteY23" fmla="*/ 802482 h 1090613"/>
                <a:gd name="connsiteX24" fmla="*/ 688181 w 783431"/>
                <a:gd name="connsiteY24" fmla="*/ 814388 h 1090613"/>
                <a:gd name="connsiteX25" fmla="*/ 659606 w 783431"/>
                <a:gd name="connsiteY25" fmla="*/ 814388 h 1090613"/>
                <a:gd name="connsiteX26" fmla="*/ 647700 w 783431"/>
                <a:gd name="connsiteY26" fmla="*/ 847725 h 1090613"/>
                <a:gd name="connsiteX27" fmla="*/ 623887 w 783431"/>
                <a:gd name="connsiteY27" fmla="*/ 847725 h 1090613"/>
                <a:gd name="connsiteX28" fmla="*/ 576262 w 783431"/>
                <a:gd name="connsiteY28" fmla="*/ 828675 h 1090613"/>
                <a:gd name="connsiteX29" fmla="*/ 554831 w 783431"/>
                <a:gd name="connsiteY29" fmla="*/ 816769 h 1090613"/>
                <a:gd name="connsiteX30" fmla="*/ 547687 w 783431"/>
                <a:gd name="connsiteY30" fmla="*/ 783432 h 1090613"/>
                <a:gd name="connsiteX31" fmla="*/ 561975 w 783431"/>
                <a:gd name="connsiteY31" fmla="*/ 754857 h 1090613"/>
                <a:gd name="connsiteX32" fmla="*/ 533400 w 783431"/>
                <a:gd name="connsiteY32" fmla="*/ 733425 h 1090613"/>
                <a:gd name="connsiteX33" fmla="*/ 509587 w 783431"/>
                <a:gd name="connsiteY33" fmla="*/ 711994 h 1090613"/>
                <a:gd name="connsiteX34" fmla="*/ 473869 w 783431"/>
                <a:gd name="connsiteY34" fmla="*/ 711994 h 1090613"/>
                <a:gd name="connsiteX35" fmla="*/ 435769 w 783431"/>
                <a:gd name="connsiteY35" fmla="*/ 711994 h 1090613"/>
                <a:gd name="connsiteX36" fmla="*/ 438150 w 783431"/>
                <a:gd name="connsiteY36" fmla="*/ 669132 h 1090613"/>
                <a:gd name="connsiteX37" fmla="*/ 428625 w 783431"/>
                <a:gd name="connsiteY37" fmla="*/ 642938 h 1090613"/>
                <a:gd name="connsiteX38" fmla="*/ 423862 w 783431"/>
                <a:gd name="connsiteY38" fmla="*/ 607219 h 1090613"/>
                <a:gd name="connsiteX39" fmla="*/ 426244 w 783431"/>
                <a:gd name="connsiteY39" fmla="*/ 578644 h 1090613"/>
                <a:gd name="connsiteX40" fmla="*/ 440531 w 783431"/>
                <a:gd name="connsiteY40" fmla="*/ 566738 h 1090613"/>
                <a:gd name="connsiteX41" fmla="*/ 450056 w 783431"/>
                <a:gd name="connsiteY41" fmla="*/ 535782 h 1090613"/>
                <a:gd name="connsiteX42" fmla="*/ 457200 w 783431"/>
                <a:gd name="connsiteY42" fmla="*/ 519113 h 1090613"/>
                <a:gd name="connsiteX43" fmla="*/ 481012 w 783431"/>
                <a:gd name="connsiteY43" fmla="*/ 526257 h 1090613"/>
                <a:gd name="connsiteX44" fmla="*/ 495300 w 783431"/>
                <a:gd name="connsiteY44" fmla="*/ 576263 h 1090613"/>
                <a:gd name="connsiteX45" fmla="*/ 507206 w 783431"/>
                <a:gd name="connsiteY45" fmla="*/ 581025 h 1090613"/>
                <a:gd name="connsiteX46" fmla="*/ 526256 w 783431"/>
                <a:gd name="connsiteY46" fmla="*/ 583407 h 1090613"/>
                <a:gd name="connsiteX47" fmla="*/ 554831 w 783431"/>
                <a:gd name="connsiteY47" fmla="*/ 583407 h 1090613"/>
                <a:gd name="connsiteX48" fmla="*/ 557212 w 783431"/>
                <a:gd name="connsiteY48" fmla="*/ 547688 h 1090613"/>
                <a:gd name="connsiteX49" fmla="*/ 545306 w 783431"/>
                <a:gd name="connsiteY49" fmla="*/ 502444 h 1090613"/>
                <a:gd name="connsiteX50" fmla="*/ 545306 w 783431"/>
                <a:gd name="connsiteY50" fmla="*/ 476250 h 1090613"/>
                <a:gd name="connsiteX51" fmla="*/ 581025 w 783431"/>
                <a:gd name="connsiteY51" fmla="*/ 454819 h 1090613"/>
                <a:gd name="connsiteX52" fmla="*/ 604837 w 783431"/>
                <a:gd name="connsiteY52" fmla="*/ 435769 h 1090613"/>
                <a:gd name="connsiteX53" fmla="*/ 640556 w 783431"/>
                <a:gd name="connsiteY53" fmla="*/ 414338 h 1090613"/>
                <a:gd name="connsiteX54" fmla="*/ 645319 w 783431"/>
                <a:gd name="connsiteY54" fmla="*/ 395288 h 1090613"/>
                <a:gd name="connsiteX55" fmla="*/ 633412 w 783431"/>
                <a:gd name="connsiteY55" fmla="*/ 371475 h 1090613"/>
                <a:gd name="connsiteX56" fmla="*/ 614362 w 783431"/>
                <a:gd name="connsiteY56" fmla="*/ 369094 h 1090613"/>
                <a:gd name="connsiteX57" fmla="*/ 609600 w 783431"/>
                <a:gd name="connsiteY57" fmla="*/ 366713 h 1090613"/>
                <a:gd name="connsiteX58" fmla="*/ 597694 w 783431"/>
                <a:gd name="connsiteY58" fmla="*/ 357188 h 1090613"/>
                <a:gd name="connsiteX59" fmla="*/ 611981 w 783431"/>
                <a:gd name="connsiteY59" fmla="*/ 345282 h 1090613"/>
                <a:gd name="connsiteX60" fmla="*/ 652462 w 783431"/>
                <a:gd name="connsiteY60" fmla="*/ 316707 h 1090613"/>
                <a:gd name="connsiteX61" fmla="*/ 678656 w 783431"/>
                <a:gd name="connsiteY61" fmla="*/ 264319 h 1090613"/>
                <a:gd name="connsiteX62" fmla="*/ 666750 w 783431"/>
                <a:gd name="connsiteY62" fmla="*/ 242888 h 1090613"/>
                <a:gd name="connsiteX63" fmla="*/ 638175 w 783431"/>
                <a:gd name="connsiteY63" fmla="*/ 219075 h 1090613"/>
                <a:gd name="connsiteX64" fmla="*/ 642937 w 783431"/>
                <a:gd name="connsiteY64" fmla="*/ 180975 h 1090613"/>
                <a:gd name="connsiteX65" fmla="*/ 673894 w 783431"/>
                <a:gd name="connsiteY65" fmla="*/ 171450 h 1090613"/>
                <a:gd name="connsiteX66" fmla="*/ 700087 w 783431"/>
                <a:gd name="connsiteY66" fmla="*/ 142875 h 1090613"/>
                <a:gd name="connsiteX67" fmla="*/ 700087 w 783431"/>
                <a:gd name="connsiteY67" fmla="*/ 111919 h 1090613"/>
                <a:gd name="connsiteX68" fmla="*/ 666750 w 783431"/>
                <a:gd name="connsiteY68" fmla="*/ 107157 h 1090613"/>
                <a:gd name="connsiteX69" fmla="*/ 645319 w 783431"/>
                <a:gd name="connsiteY69" fmla="*/ 102394 h 1090613"/>
                <a:gd name="connsiteX70" fmla="*/ 645319 w 783431"/>
                <a:gd name="connsiteY70" fmla="*/ 102394 h 1090613"/>
                <a:gd name="connsiteX71" fmla="*/ 678656 w 783431"/>
                <a:gd name="connsiteY71" fmla="*/ 69057 h 1090613"/>
                <a:gd name="connsiteX72" fmla="*/ 685800 w 783431"/>
                <a:gd name="connsiteY72" fmla="*/ 40482 h 1090613"/>
                <a:gd name="connsiteX73" fmla="*/ 678656 w 783431"/>
                <a:gd name="connsiteY73" fmla="*/ 21432 h 1090613"/>
                <a:gd name="connsiteX74" fmla="*/ 695325 w 783431"/>
                <a:gd name="connsiteY74" fmla="*/ 2382 h 1090613"/>
                <a:gd name="connsiteX75" fmla="*/ 628650 w 783431"/>
                <a:gd name="connsiteY75" fmla="*/ 0 h 1090613"/>
                <a:gd name="connsiteX76" fmla="*/ 552450 w 783431"/>
                <a:gd name="connsiteY76" fmla="*/ 52388 h 1090613"/>
                <a:gd name="connsiteX77" fmla="*/ 538162 w 783431"/>
                <a:gd name="connsiteY77" fmla="*/ 90488 h 1090613"/>
                <a:gd name="connsiteX78" fmla="*/ 445294 w 783431"/>
                <a:gd name="connsiteY78" fmla="*/ 126207 h 1090613"/>
                <a:gd name="connsiteX79" fmla="*/ 397669 w 783431"/>
                <a:gd name="connsiteY79" fmla="*/ 159544 h 1090613"/>
                <a:gd name="connsiteX80" fmla="*/ 376237 w 783431"/>
                <a:gd name="connsiteY80" fmla="*/ 190500 h 1090613"/>
                <a:gd name="connsiteX81" fmla="*/ 350044 w 783431"/>
                <a:gd name="connsiteY81" fmla="*/ 140494 h 1090613"/>
                <a:gd name="connsiteX82" fmla="*/ 316706 w 783431"/>
                <a:gd name="connsiteY82" fmla="*/ 140494 h 1090613"/>
                <a:gd name="connsiteX83" fmla="*/ 304800 w 783431"/>
                <a:gd name="connsiteY83" fmla="*/ 166688 h 1090613"/>
                <a:gd name="connsiteX84" fmla="*/ 280987 w 783431"/>
                <a:gd name="connsiteY84" fmla="*/ 230982 h 1090613"/>
                <a:gd name="connsiteX85" fmla="*/ 154781 w 783431"/>
                <a:gd name="connsiteY85" fmla="*/ 223838 h 1090613"/>
                <a:gd name="connsiteX86" fmla="*/ 140494 w 783431"/>
                <a:gd name="connsiteY86" fmla="*/ 245269 h 1090613"/>
                <a:gd name="connsiteX87" fmla="*/ 138112 w 783431"/>
                <a:gd name="connsiteY87" fmla="*/ 280988 h 1090613"/>
                <a:gd name="connsiteX88" fmla="*/ 66675 w 783431"/>
                <a:gd name="connsiteY88" fmla="*/ 309563 h 1090613"/>
                <a:gd name="connsiteX89" fmla="*/ 54769 w 783431"/>
                <a:gd name="connsiteY89" fmla="*/ 323850 h 1090613"/>
                <a:gd name="connsiteX90" fmla="*/ 66675 w 783431"/>
                <a:gd name="connsiteY90" fmla="*/ 381000 h 1090613"/>
                <a:gd name="connsiteX91" fmla="*/ 19050 w 783431"/>
                <a:gd name="connsiteY91" fmla="*/ 423863 h 1090613"/>
                <a:gd name="connsiteX92" fmla="*/ 26194 w 783431"/>
                <a:gd name="connsiteY92" fmla="*/ 490538 h 1090613"/>
                <a:gd name="connsiteX93" fmla="*/ 33337 w 783431"/>
                <a:gd name="connsiteY93" fmla="*/ 554832 h 1090613"/>
                <a:gd name="connsiteX94" fmla="*/ 0 w 783431"/>
                <a:gd name="connsiteY94" fmla="*/ 614363 h 1090613"/>
                <a:gd name="connsiteX0" fmla="*/ 0 w 783431"/>
                <a:gd name="connsiteY0" fmla="*/ 614363 h 1090613"/>
                <a:gd name="connsiteX1" fmla="*/ 21431 w 783431"/>
                <a:gd name="connsiteY1" fmla="*/ 661988 h 1090613"/>
                <a:gd name="connsiteX2" fmla="*/ 28575 w 783431"/>
                <a:gd name="connsiteY2" fmla="*/ 742950 h 1090613"/>
                <a:gd name="connsiteX3" fmla="*/ 76200 w 783431"/>
                <a:gd name="connsiteY3" fmla="*/ 814388 h 1090613"/>
                <a:gd name="connsiteX4" fmla="*/ 102394 w 783431"/>
                <a:gd name="connsiteY4" fmla="*/ 919163 h 1090613"/>
                <a:gd name="connsiteX5" fmla="*/ 116681 w 783431"/>
                <a:gd name="connsiteY5" fmla="*/ 947738 h 1090613"/>
                <a:gd name="connsiteX6" fmla="*/ 130969 w 783431"/>
                <a:gd name="connsiteY6" fmla="*/ 995363 h 1090613"/>
                <a:gd name="connsiteX7" fmla="*/ 150019 w 783431"/>
                <a:gd name="connsiteY7" fmla="*/ 1023938 h 1090613"/>
                <a:gd name="connsiteX8" fmla="*/ 159544 w 783431"/>
                <a:gd name="connsiteY8" fmla="*/ 1042988 h 1090613"/>
                <a:gd name="connsiteX9" fmla="*/ 197644 w 783431"/>
                <a:gd name="connsiteY9" fmla="*/ 1069182 h 1090613"/>
                <a:gd name="connsiteX10" fmla="*/ 245269 w 783431"/>
                <a:gd name="connsiteY10" fmla="*/ 1090613 h 1090613"/>
                <a:gd name="connsiteX11" fmla="*/ 319087 w 783431"/>
                <a:gd name="connsiteY11" fmla="*/ 1090613 h 1090613"/>
                <a:gd name="connsiteX12" fmla="*/ 604837 w 783431"/>
                <a:gd name="connsiteY12" fmla="*/ 1085850 h 1090613"/>
                <a:gd name="connsiteX13" fmla="*/ 585787 w 783431"/>
                <a:gd name="connsiteY13" fmla="*/ 1035844 h 1090613"/>
                <a:gd name="connsiteX14" fmla="*/ 607219 w 783431"/>
                <a:gd name="connsiteY14" fmla="*/ 1021557 h 1090613"/>
                <a:gd name="connsiteX15" fmla="*/ 645319 w 783431"/>
                <a:gd name="connsiteY15" fmla="*/ 1016794 h 1090613"/>
                <a:gd name="connsiteX16" fmla="*/ 685800 w 783431"/>
                <a:gd name="connsiteY16" fmla="*/ 997744 h 1090613"/>
                <a:gd name="connsiteX17" fmla="*/ 716756 w 783431"/>
                <a:gd name="connsiteY17" fmla="*/ 1002507 h 1090613"/>
                <a:gd name="connsiteX18" fmla="*/ 738187 w 783431"/>
                <a:gd name="connsiteY18" fmla="*/ 969169 h 1090613"/>
                <a:gd name="connsiteX19" fmla="*/ 783431 w 783431"/>
                <a:gd name="connsiteY19" fmla="*/ 933450 h 1090613"/>
                <a:gd name="connsiteX20" fmla="*/ 776287 w 783431"/>
                <a:gd name="connsiteY20" fmla="*/ 907257 h 1090613"/>
                <a:gd name="connsiteX21" fmla="*/ 752475 w 783431"/>
                <a:gd name="connsiteY21" fmla="*/ 888207 h 1090613"/>
                <a:gd name="connsiteX22" fmla="*/ 752475 w 783431"/>
                <a:gd name="connsiteY22" fmla="*/ 864394 h 1090613"/>
                <a:gd name="connsiteX23" fmla="*/ 728662 w 783431"/>
                <a:gd name="connsiteY23" fmla="*/ 852488 h 1090613"/>
                <a:gd name="connsiteX24" fmla="*/ 711994 w 783431"/>
                <a:gd name="connsiteY24" fmla="*/ 802482 h 1090613"/>
                <a:gd name="connsiteX25" fmla="*/ 688181 w 783431"/>
                <a:gd name="connsiteY25" fmla="*/ 814388 h 1090613"/>
                <a:gd name="connsiteX26" fmla="*/ 659606 w 783431"/>
                <a:gd name="connsiteY26" fmla="*/ 814388 h 1090613"/>
                <a:gd name="connsiteX27" fmla="*/ 647700 w 783431"/>
                <a:gd name="connsiteY27" fmla="*/ 847725 h 1090613"/>
                <a:gd name="connsiteX28" fmla="*/ 623887 w 783431"/>
                <a:gd name="connsiteY28" fmla="*/ 847725 h 1090613"/>
                <a:gd name="connsiteX29" fmla="*/ 576262 w 783431"/>
                <a:gd name="connsiteY29" fmla="*/ 828675 h 1090613"/>
                <a:gd name="connsiteX30" fmla="*/ 554831 w 783431"/>
                <a:gd name="connsiteY30" fmla="*/ 816769 h 1090613"/>
                <a:gd name="connsiteX31" fmla="*/ 547687 w 783431"/>
                <a:gd name="connsiteY31" fmla="*/ 783432 h 1090613"/>
                <a:gd name="connsiteX32" fmla="*/ 561975 w 783431"/>
                <a:gd name="connsiteY32" fmla="*/ 754857 h 1090613"/>
                <a:gd name="connsiteX33" fmla="*/ 533400 w 783431"/>
                <a:gd name="connsiteY33" fmla="*/ 733425 h 1090613"/>
                <a:gd name="connsiteX34" fmla="*/ 509587 w 783431"/>
                <a:gd name="connsiteY34" fmla="*/ 711994 h 1090613"/>
                <a:gd name="connsiteX35" fmla="*/ 473869 w 783431"/>
                <a:gd name="connsiteY35" fmla="*/ 711994 h 1090613"/>
                <a:gd name="connsiteX36" fmla="*/ 435769 w 783431"/>
                <a:gd name="connsiteY36" fmla="*/ 711994 h 1090613"/>
                <a:gd name="connsiteX37" fmla="*/ 438150 w 783431"/>
                <a:gd name="connsiteY37" fmla="*/ 669132 h 1090613"/>
                <a:gd name="connsiteX38" fmla="*/ 428625 w 783431"/>
                <a:gd name="connsiteY38" fmla="*/ 642938 h 1090613"/>
                <a:gd name="connsiteX39" fmla="*/ 423862 w 783431"/>
                <a:gd name="connsiteY39" fmla="*/ 607219 h 1090613"/>
                <a:gd name="connsiteX40" fmla="*/ 426244 w 783431"/>
                <a:gd name="connsiteY40" fmla="*/ 578644 h 1090613"/>
                <a:gd name="connsiteX41" fmla="*/ 440531 w 783431"/>
                <a:gd name="connsiteY41" fmla="*/ 566738 h 1090613"/>
                <a:gd name="connsiteX42" fmla="*/ 450056 w 783431"/>
                <a:gd name="connsiteY42" fmla="*/ 535782 h 1090613"/>
                <a:gd name="connsiteX43" fmla="*/ 457200 w 783431"/>
                <a:gd name="connsiteY43" fmla="*/ 519113 h 1090613"/>
                <a:gd name="connsiteX44" fmla="*/ 481012 w 783431"/>
                <a:gd name="connsiteY44" fmla="*/ 526257 h 1090613"/>
                <a:gd name="connsiteX45" fmla="*/ 495300 w 783431"/>
                <a:gd name="connsiteY45" fmla="*/ 576263 h 1090613"/>
                <a:gd name="connsiteX46" fmla="*/ 507206 w 783431"/>
                <a:gd name="connsiteY46" fmla="*/ 581025 h 1090613"/>
                <a:gd name="connsiteX47" fmla="*/ 526256 w 783431"/>
                <a:gd name="connsiteY47" fmla="*/ 583407 h 1090613"/>
                <a:gd name="connsiteX48" fmla="*/ 554831 w 783431"/>
                <a:gd name="connsiteY48" fmla="*/ 583407 h 1090613"/>
                <a:gd name="connsiteX49" fmla="*/ 557212 w 783431"/>
                <a:gd name="connsiteY49" fmla="*/ 547688 h 1090613"/>
                <a:gd name="connsiteX50" fmla="*/ 545306 w 783431"/>
                <a:gd name="connsiteY50" fmla="*/ 502444 h 1090613"/>
                <a:gd name="connsiteX51" fmla="*/ 545306 w 783431"/>
                <a:gd name="connsiteY51" fmla="*/ 476250 h 1090613"/>
                <a:gd name="connsiteX52" fmla="*/ 581025 w 783431"/>
                <a:gd name="connsiteY52" fmla="*/ 454819 h 1090613"/>
                <a:gd name="connsiteX53" fmla="*/ 604837 w 783431"/>
                <a:gd name="connsiteY53" fmla="*/ 435769 h 1090613"/>
                <a:gd name="connsiteX54" fmla="*/ 640556 w 783431"/>
                <a:gd name="connsiteY54" fmla="*/ 414338 h 1090613"/>
                <a:gd name="connsiteX55" fmla="*/ 645319 w 783431"/>
                <a:gd name="connsiteY55" fmla="*/ 395288 h 1090613"/>
                <a:gd name="connsiteX56" fmla="*/ 633412 w 783431"/>
                <a:gd name="connsiteY56" fmla="*/ 371475 h 1090613"/>
                <a:gd name="connsiteX57" fmla="*/ 614362 w 783431"/>
                <a:gd name="connsiteY57" fmla="*/ 369094 h 1090613"/>
                <a:gd name="connsiteX58" fmla="*/ 609600 w 783431"/>
                <a:gd name="connsiteY58" fmla="*/ 366713 h 1090613"/>
                <a:gd name="connsiteX59" fmla="*/ 597694 w 783431"/>
                <a:gd name="connsiteY59" fmla="*/ 357188 h 1090613"/>
                <a:gd name="connsiteX60" fmla="*/ 611981 w 783431"/>
                <a:gd name="connsiteY60" fmla="*/ 345282 h 1090613"/>
                <a:gd name="connsiteX61" fmla="*/ 652462 w 783431"/>
                <a:gd name="connsiteY61" fmla="*/ 316707 h 1090613"/>
                <a:gd name="connsiteX62" fmla="*/ 678656 w 783431"/>
                <a:gd name="connsiteY62" fmla="*/ 264319 h 1090613"/>
                <a:gd name="connsiteX63" fmla="*/ 666750 w 783431"/>
                <a:gd name="connsiteY63" fmla="*/ 242888 h 1090613"/>
                <a:gd name="connsiteX64" fmla="*/ 638175 w 783431"/>
                <a:gd name="connsiteY64" fmla="*/ 219075 h 1090613"/>
                <a:gd name="connsiteX65" fmla="*/ 642937 w 783431"/>
                <a:gd name="connsiteY65" fmla="*/ 180975 h 1090613"/>
                <a:gd name="connsiteX66" fmla="*/ 673894 w 783431"/>
                <a:gd name="connsiteY66" fmla="*/ 171450 h 1090613"/>
                <a:gd name="connsiteX67" fmla="*/ 700087 w 783431"/>
                <a:gd name="connsiteY67" fmla="*/ 142875 h 1090613"/>
                <a:gd name="connsiteX68" fmla="*/ 700087 w 783431"/>
                <a:gd name="connsiteY68" fmla="*/ 111919 h 1090613"/>
                <a:gd name="connsiteX69" fmla="*/ 666750 w 783431"/>
                <a:gd name="connsiteY69" fmla="*/ 107157 h 1090613"/>
                <a:gd name="connsiteX70" fmla="*/ 645319 w 783431"/>
                <a:gd name="connsiteY70" fmla="*/ 102394 h 1090613"/>
                <a:gd name="connsiteX71" fmla="*/ 645319 w 783431"/>
                <a:gd name="connsiteY71" fmla="*/ 102394 h 1090613"/>
                <a:gd name="connsiteX72" fmla="*/ 678656 w 783431"/>
                <a:gd name="connsiteY72" fmla="*/ 69057 h 1090613"/>
                <a:gd name="connsiteX73" fmla="*/ 685800 w 783431"/>
                <a:gd name="connsiteY73" fmla="*/ 40482 h 1090613"/>
                <a:gd name="connsiteX74" fmla="*/ 678656 w 783431"/>
                <a:gd name="connsiteY74" fmla="*/ 21432 h 1090613"/>
                <a:gd name="connsiteX75" fmla="*/ 695325 w 783431"/>
                <a:gd name="connsiteY75" fmla="*/ 2382 h 1090613"/>
                <a:gd name="connsiteX76" fmla="*/ 628650 w 783431"/>
                <a:gd name="connsiteY76" fmla="*/ 0 h 1090613"/>
                <a:gd name="connsiteX77" fmla="*/ 552450 w 783431"/>
                <a:gd name="connsiteY77" fmla="*/ 52388 h 1090613"/>
                <a:gd name="connsiteX78" fmla="*/ 538162 w 783431"/>
                <a:gd name="connsiteY78" fmla="*/ 90488 h 1090613"/>
                <a:gd name="connsiteX79" fmla="*/ 445294 w 783431"/>
                <a:gd name="connsiteY79" fmla="*/ 126207 h 1090613"/>
                <a:gd name="connsiteX80" fmla="*/ 397669 w 783431"/>
                <a:gd name="connsiteY80" fmla="*/ 159544 h 1090613"/>
                <a:gd name="connsiteX81" fmla="*/ 376237 w 783431"/>
                <a:gd name="connsiteY81" fmla="*/ 190500 h 1090613"/>
                <a:gd name="connsiteX82" fmla="*/ 350044 w 783431"/>
                <a:gd name="connsiteY82" fmla="*/ 140494 h 1090613"/>
                <a:gd name="connsiteX83" fmla="*/ 316706 w 783431"/>
                <a:gd name="connsiteY83" fmla="*/ 140494 h 1090613"/>
                <a:gd name="connsiteX84" fmla="*/ 304800 w 783431"/>
                <a:gd name="connsiteY84" fmla="*/ 166688 h 1090613"/>
                <a:gd name="connsiteX85" fmla="*/ 280987 w 783431"/>
                <a:gd name="connsiteY85" fmla="*/ 230982 h 1090613"/>
                <a:gd name="connsiteX86" fmla="*/ 154781 w 783431"/>
                <a:gd name="connsiteY86" fmla="*/ 223838 h 1090613"/>
                <a:gd name="connsiteX87" fmla="*/ 140494 w 783431"/>
                <a:gd name="connsiteY87" fmla="*/ 245269 h 1090613"/>
                <a:gd name="connsiteX88" fmla="*/ 138112 w 783431"/>
                <a:gd name="connsiteY88" fmla="*/ 280988 h 1090613"/>
                <a:gd name="connsiteX89" fmla="*/ 66675 w 783431"/>
                <a:gd name="connsiteY89" fmla="*/ 309563 h 1090613"/>
                <a:gd name="connsiteX90" fmla="*/ 54769 w 783431"/>
                <a:gd name="connsiteY90" fmla="*/ 323850 h 1090613"/>
                <a:gd name="connsiteX91" fmla="*/ 66675 w 783431"/>
                <a:gd name="connsiteY91" fmla="*/ 381000 h 1090613"/>
                <a:gd name="connsiteX92" fmla="*/ 19050 w 783431"/>
                <a:gd name="connsiteY92" fmla="*/ 423863 h 1090613"/>
                <a:gd name="connsiteX93" fmla="*/ 26194 w 783431"/>
                <a:gd name="connsiteY93" fmla="*/ 490538 h 1090613"/>
                <a:gd name="connsiteX94" fmla="*/ 33337 w 783431"/>
                <a:gd name="connsiteY94" fmla="*/ 554832 h 1090613"/>
                <a:gd name="connsiteX95" fmla="*/ 0 w 783431"/>
                <a:gd name="connsiteY95" fmla="*/ 614363 h 1090613"/>
                <a:gd name="connsiteX0" fmla="*/ 0 w 783431"/>
                <a:gd name="connsiteY0" fmla="*/ 614363 h 1131094"/>
                <a:gd name="connsiteX1" fmla="*/ 21431 w 783431"/>
                <a:gd name="connsiteY1" fmla="*/ 661988 h 1131094"/>
                <a:gd name="connsiteX2" fmla="*/ 28575 w 783431"/>
                <a:gd name="connsiteY2" fmla="*/ 742950 h 1131094"/>
                <a:gd name="connsiteX3" fmla="*/ 76200 w 783431"/>
                <a:gd name="connsiteY3" fmla="*/ 814388 h 1131094"/>
                <a:gd name="connsiteX4" fmla="*/ 102394 w 783431"/>
                <a:gd name="connsiteY4" fmla="*/ 919163 h 1131094"/>
                <a:gd name="connsiteX5" fmla="*/ 116681 w 783431"/>
                <a:gd name="connsiteY5" fmla="*/ 947738 h 1131094"/>
                <a:gd name="connsiteX6" fmla="*/ 130969 w 783431"/>
                <a:gd name="connsiteY6" fmla="*/ 995363 h 1131094"/>
                <a:gd name="connsiteX7" fmla="*/ 150019 w 783431"/>
                <a:gd name="connsiteY7" fmla="*/ 1023938 h 1131094"/>
                <a:gd name="connsiteX8" fmla="*/ 159544 w 783431"/>
                <a:gd name="connsiteY8" fmla="*/ 1042988 h 1131094"/>
                <a:gd name="connsiteX9" fmla="*/ 197644 w 783431"/>
                <a:gd name="connsiteY9" fmla="*/ 1069182 h 1131094"/>
                <a:gd name="connsiteX10" fmla="*/ 245269 w 783431"/>
                <a:gd name="connsiteY10" fmla="*/ 1090613 h 1131094"/>
                <a:gd name="connsiteX11" fmla="*/ 264318 w 783431"/>
                <a:gd name="connsiteY11" fmla="*/ 1131094 h 1131094"/>
                <a:gd name="connsiteX12" fmla="*/ 604837 w 783431"/>
                <a:gd name="connsiteY12" fmla="*/ 1085850 h 1131094"/>
                <a:gd name="connsiteX13" fmla="*/ 585787 w 783431"/>
                <a:gd name="connsiteY13" fmla="*/ 1035844 h 1131094"/>
                <a:gd name="connsiteX14" fmla="*/ 607219 w 783431"/>
                <a:gd name="connsiteY14" fmla="*/ 1021557 h 1131094"/>
                <a:gd name="connsiteX15" fmla="*/ 645319 w 783431"/>
                <a:gd name="connsiteY15" fmla="*/ 1016794 h 1131094"/>
                <a:gd name="connsiteX16" fmla="*/ 685800 w 783431"/>
                <a:gd name="connsiteY16" fmla="*/ 997744 h 1131094"/>
                <a:gd name="connsiteX17" fmla="*/ 716756 w 783431"/>
                <a:gd name="connsiteY17" fmla="*/ 1002507 h 1131094"/>
                <a:gd name="connsiteX18" fmla="*/ 738187 w 783431"/>
                <a:gd name="connsiteY18" fmla="*/ 969169 h 1131094"/>
                <a:gd name="connsiteX19" fmla="*/ 783431 w 783431"/>
                <a:gd name="connsiteY19" fmla="*/ 933450 h 1131094"/>
                <a:gd name="connsiteX20" fmla="*/ 776287 w 783431"/>
                <a:gd name="connsiteY20" fmla="*/ 907257 h 1131094"/>
                <a:gd name="connsiteX21" fmla="*/ 752475 w 783431"/>
                <a:gd name="connsiteY21" fmla="*/ 888207 h 1131094"/>
                <a:gd name="connsiteX22" fmla="*/ 752475 w 783431"/>
                <a:gd name="connsiteY22" fmla="*/ 864394 h 1131094"/>
                <a:gd name="connsiteX23" fmla="*/ 728662 w 783431"/>
                <a:gd name="connsiteY23" fmla="*/ 852488 h 1131094"/>
                <a:gd name="connsiteX24" fmla="*/ 711994 w 783431"/>
                <a:gd name="connsiteY24" fmla="*/ 802482 h 1131094"/>
                <a:gd name="connsiteX25" fmla="*/ 688181 w 783431"/>
                <a:gd name="connsiteY25" fmla="*/ 814388 h 1131094"/>
                <a:gd name="connsiteX26" fmla="*/ 659606 w 783431"/>
                <a:gd name="connsiteY26" fmla="*/ 814388 h 1131094"/>
                <a:gd name="connsiteX27" fmla="*/ 647700 w 783431"/>
                <a:gd name="connsiteY27" fmla="*/ 847725 h 1131094"/>
                <a:gd name="connsiteX28" fmla="*/ 623887 w 783431"/>
                <a:gd name="connsiteY28" fmla="*/ 847725 h 1131094"/>
                <a:gd name="connsiteX29" fmla="*/ 576262 w 783431"/>
                <a:gd name="connsiteY29" fmla="*/ 828675 h 1131094"/>
                <a:gd name="connsiteX30" fmla="*/ 554831 w 783431"/>
                <a:gd name="connsiteY30" fmla="*/ 816769 h 1131094"/>
                <a:gd name="connsiteX31" fmla="*/ 547687 w 783431"/>
                <a:gd name="connsiteY31" fmla="*/ 783432 h 1131094"/>
                <a:gd name="connsiteX32" fmla="*/ 561975 w 783431"/>
                <a:gd name="connsiteY32" fmla="*/ 754857 h 1131094"/>
                <a:gd name="connsiteX33" fmla="*/ 533400 w 783431"/>
                <a:gd name="connsiteY33" fmla="*/ 733425 h 1131094"/>
                <a:gd name="connsiteX34" fmla="*/ 509587 w 783431"/>
                <a:gd name="connsiteY34" fmla="*/ 711994 h 1131094"/>
                <a:gd name="connsiteX35" fmla="*/ 473869 w 783431"/>
                <a:gd name="connsiteY35" fmla="*/ 711994 h 1131094"/>
                <a:gd name="connsiteX36" fmla="*/ 435769 w 783431"/>
                <a:gd name="connsiteY36" fmla="*/ 711994 h 1131094"/>
                <a:gd name="connsiteX37" fmla="*/ 438150 w 783431"/>
                <a:gd name="connsiteY37" fmla="*/ 669132 h 1131094"/>
                <a:gd name="connsiteX38" fmla="*/ 428625 w 783431"/>
                <a:gd name="connsiteY38" fmla="*/ 642938 h 1131094"/>
                <a:gd name="connsiteX39" fmla="*/ 423862 w 783431"/>
                <a:gd name="connsiteY39" fmla="*/ 607219 h 1131094"/>
                <a:gd name="connsiteX40" fmla="*/ 426244 w 783431"/>
                <a:gd name="connsiteY40" fmla="*/ 578644 h 1131094"/>
                <a:gd name="connsiteX41" fmla="*/ 440531 w 783431"/>
                <a:gd name="connsiteY41" fmla="*/ 566738 h 1131094"/>
                <a:gd name="connsiteX42" fmla="*/ 450056 w 783431"/>
                <a:gd name="connsiteY42" fmla="*/ 535782 h 1131094"/>
                <a:gd name="connsiteX43" fmla="*/ 457200 w 783431"/>
                <a:gd name="connsiteY43" fmla="*/ 519113 h 1131094"/>
                <a:gd name="connsiteX44" fmla="*/ 481012 w 783431"/>
                <a:gd name="connsiteY44" fmla="*/ 526257 h 1131094"/>
                <a:gd name="connsiteX45" fmla="*/ 495300 w 783431"/>
                <a:gd name="connsiteY45" fmla="*/ 576263 h 1131094"/>
                <a:gd name="connsiteX46" fmla="*/ 507206 w 783431"/>
                <a:gd name="connsiteY46" fmla="*/ 581025 h 1131094"/>
                <a:gd name="connsiteX47" fmla="*/ 526256 w 783431"/>
                <a:gd name="connsiteY47" fmla="*/ 583407 h 1131094"/>
                <a:gd name="connsiteX48" fmla="*/ 554831 w 783431"/>
                <a:gd name="connsiteY48" fmla="*/ 583407 h 1131094"/>
                <a:gd name="connsiteX49" fmla="*/ 557212 w 783431"/>
                <a:gd name="connsiteY49" fmla="*/ 547688 h 1131094"/>
                <a:gd name="connsiteX50" fmla="*/ 545306 w 783431"/>
                <a:gd name="connsiteY50" fmla="*/ 502444 h 1131094"/>
                <a:gd name="connsiteX51" fmla="*/ 545306 w 783431"/>
                <a:gd name="connsiteY51" fmla="*/ 476250 h 1131094"/>
                <a:gd name="connsiteX52" fmla="*/ 581025 w 783431"/>
                <a:gd name="connsiteY52" fmla="*/ 454819 h 1131094"/>
                <a:gd name="connsiteX53" fmla="*/ 604837 w 783431"/>
                <a:gd name="connsiteY53" fmla="*/ 435769 h 1131094"/>
                <a:gd name="connsiteX54" fmla="*/ 640556 w 783431"/>
                <a:gd name="connsiteY54" fmla="*/ 414338 h 1131094"/>
                <a:gd name="connsiteX55" fmla="*/ 645319 w 783431"/>
                <a:gd name="connsiteY55" fmla="*/ 395288 h 1131094"/>
                <a:gd name="connsiteX56" fmla="*/ 633412 w 783431"/>
                <a:gd name="connsiteY56" fmla="*/ 371475 h 1131094"/>
                <a:gd name="connsiteX57" fmla="*/ 614362 w 783431"/>
                <a:gd name="connsiteY57" fmla="*/ 369094 h 1131094"/>
                <a:gd name="connsiteX58" fmla="*/ 609600 w 783431"/>
                <a:gd name="connsiteY58" fmla="*/ 366713 h 1131094"/>
                <a:gd name="connsiteX59" fmla="*/ 597694 w 783431"/>
                <a:gd name="connsiteY59" fmla="*/ 357188 h 1131094"/>
                <a:gd name="connsiteX60" fmla="*/ 611981 w 783431"/>
                <a:gd name="connsiteY60" fmla="*/ 345282 h 1131094"/>
                <a:gd name="connsiteX61" fmla="*/ 652462 w 783431"/>
                <a:gd name="connsiteY61" fmla="*/ 316707 h 1131094"/>
                <a:gd name="connsiteX62" fmla="*/ 678656 w 783431"/>
                <a:gd name="connsiteY62" fmla="*/ 264319 h 1131094"/>
                <a:gd name="connsiteX63" fmla="*/ 666750 w 783431"/>
                <a:gd name="connsiteY63" fmla="*/ 242888 h 1131094"/>
                <a:gd name="connsiteX64" fmla="*/ 638175 w 783431"/>
                <a:gd name="connsiteY64" fmla="*/ 219075 h 1131094"/>
                <a:gd name="connsiteX65" fmla="*/ 642937 w 783431"/>
                <a:gd name="connsiteY65" fmla="*/ 180975 h 1131094"/>
                <a:gd name="connsiteX66" fmla="*/ 673894 w 783431"/>
                <a:gd name="connsiteY66" fmla="*/ 171450 h 1131094"/>
                <a:gd name="connsiteX67" fmla="*/ 700087 w 783431"/>
                <a:gd name="connsiteY67" fmla="*/ 142875 h 1131094"/>
                <a:gd name="connsiteX68" fmla="*/ 700087 w 783431"/>
                <a:gd name="connsiteY68" fmla="*/ 111919 h 1131094"/>
                <a:gd name="connsiteX69" fmla="*/ 666750 w 783431"/>
                <a:gd name="connsiteY69" fmla="*/ 107157 h 1131094"/>
                <a:gd name="connsiteX70" fmla="*/ 645319 w 783431"/>
                <a:gd name="connsiteY70" fmla="*/ 102394 h 1131094"/>
                <a:gd name="connsiteX71" fmla="*/ 645319 w 783431"/>
                <a:gd name="connsiteY71" fmla="*/ 102394 h 1131094"/>
                <a:gd name="connsiteX72" fmla="*/ 678656 w 783431"/>
                <a:gd name="connsiteY72" fmla="*/ 69057 h 1131094"/>
                <a:gd name="connsiteX73" fmla="*/ 685800 w 783431"/>
                <a:gd name="connsiteY73" fmla="*/ 40482 h 1131094"/>
                <a:gd name="connsiteX74" fmla="*/ 678656 w 783431"/>
                <a:gd name="connsiteY74" fmla="*/ 21432 h 1131094"/>
                <a:gd name="connsiteX75" fmla="*/ 695325 w 783431"/>
                <a:gd name="connsiteY75" fmla="*/ 2382 h 1131094"/>
                <a:gd name="connsiteX76" fmla="*/ 628650 w 783431"/>
                <a:gd name="connsiteY76" fmla="*/ 0 h 1131094"/>
                <a:gd name="connsiteX77" fmla="*/ 552450 w 783431"/>
                <a:gd name="connsiteY77" fmla="*/ 52388 h 1131094"/>
                <a:gd name="connsiteX78" fmla="*/ 538162 w 783431"/>
                <a:gd name="connsiteY78" fmla="*/ 90488 h 1131094"/>
                <a:gd name="connsiteX79" fmla="*/ 445294 w 783431"/>
                <a:gd name="connsiteY79" fmla="*/ 126207 h 1131094"/>
                <a:gd name="connsiteX80" fmla="*/ 397669 w 783431"/>
                <a:gd name="connsiteY80" fmla="*/ 159544 h 1131094"/>
                <a:gd name="connsiteX81" fmla="*/ 376237 w 783431"/>
                <a:gd name="connsiteY81" fmla="*/ 190500 h 1131094"/>
                <a:gd name="connsiteX82" fmla="*/ 350044 w 783431"/>
                <a:gd name="connsiteY82" fmla="*/ 140494 h 1131094"/>
                <a:gd name="connsiteX83" fmla="*/ 316706 w 783431"/>
                <a:gd name="connsiteY83" fmla="*/ 140494 h 1131094"/>
                <a:gd name="connsiteX84" fmla="*/ 304800 w 783431"/>
                <a:gd name="connsiteY84" fmla="*/ 166688 h 1131094"/>
                <a:gd name="connsiteX85" fmla="*/ 280987 w 783431"/>
                <a:gd name="connsiteY85" fmla="*/ 230982 h 1131094"/>
                <a:gd name="connsiteX86" fmla="*/ 154781 w 783431"/>
                <a:gd name="connsiteY86" fmla="*/ 223838 h 1131094"/>
                <a:gd name="connsiteX87" fmla="*/ 140494 w 783431"/>
                <a:gd name="connsiteY87" fmla="*/ 245269 h 1131094"/>
                <a:gd name="connsiteX88" fmla="*/ 138112 w 783431"/>
                <a:gd name="connsiteY88" fmla="*/ 280988 h 1131094"/>
                <a:gd name="connsiteX89" fmla="*/ 66675 w 783431"/>
                <a:gd name="connsiteY89" fmla="*/ 309563 h 1131094"/>
                <a:gd name="connsiteX90" fmla="*/ 54769 w 783431"/>
                <a:gd name="connsiteY90" fmla="*/ 323850 h 1131094"/>
                <a:gd name="connsiteX91" fmla="*/ 66675 w 783431"/>
                <a:gd name="connsiteY91" fmla="*/ 381000 h 1131094"/>
                <a:gd name="connsiteX92" fmla="*/ 19050 w 783431"/>
                <a:gd name="connsiteY92" fmla="*/ 423863 h 1131094"/>
                <a:gd name="connsiteX93" fmla="*/ 26194 w 783431"/>
                <a:gd name="connsiteY93" fmla="*/ 490538 h 1131094"/>
                <a:gd name="connsiteX94" fmla="*/ 33337 w 783431"/>
                <a:gd name="connsiteY94" fmla="*/ 554832 h 1131094"/>
                <a:gd name="connsiteX95" fmla="*/ 0 w 783431"/>
                <a:gd name="connsiteY95" fmla="*/ 614363 h 1131094"/>
                <a:gd name="connsiteX0" fmla="*/ 0 w 783431"/>
                <a:gd name="connsiteY0" fmla="*/ 614363 h 1131094"/>
                <a:gd name="connsiteX1" fmla="*/ 21431 w 783431"/>
                <a:gd name="connsiteY1" fmla="*/ 661988 h 1131094"/>
                <a:gd name="connsiteX2" fmla="*/ 28575 w 783431"/>
                <a:gd name="connsiteY2" fmla="*/ 742950 h 1131094"/>
                <a:gd name="connsiteX3" fmla="*/ 76200 w 783431"/>
                <a:gd name="connsiteY3" fmla="*/ 814388 h 1131094"/>
                <a:gd name="connsiteX4" fmla="*/ 102394 w 783431"/>
                <a:gd name="connsiteY4" fmla="*/ 919163 h 1131094"/>
                <a:gd name="connsiteX5" fmla="*/ 116681 w 783431"/>
                <a:gd name="connsiteY5" fmla="*/ 947738 h 1131094"/>
                <a:gd name="connsiteX6" fmla="*/ 130969 w 783431"/>
                <a:gd name="connsiteY6" fmla="*/ 995363 h 1131094"/>
                <a:gd name="connsiteX7" fmla="*/ 150019 w 783431"/>
                <a:gd name="connsiteY7" fmla="*/ 1023938 h 1131094"/>
                <a:gd name="connsiteX8" fmla="*/ 159544 w 783431"/>
                <a:gd name="connsiteY8" fmla="*/ 1042988 h 1131094"/>
                <a:gd name="connsiteX9" fmla="*/ 197644 w 783431"/>
                <a:gd name="connsiteY9" fmla="*/ 1069182 h 1131094"/>
                <a:gd name="connsiteX10" fmla="*/ 245269 w 783431"/>
                <a:gd name="connsiteY10" fmla="*/ 1090613 h 1131094"/>
                <a:gd name="connsiteX11" fmla="*/ 264318 w 783431"/>
                <a:gd name="connsiteY11" fmla="*/ 1131094 h 1131094"/>
                <a:gd name="connsiteX12" fmla="*/ 323850 w 783431"/>
                <a:gd name="connsiteY12" fmla="*/ 1123949 h 1131094"/>
                <a:gd name="connsiteX13" fmla="*/ 604837 w 783431"/>
                <a:gd name="connsiteY13" fmla="*/ 1085850 h 1131094"/>
                <a:gd name="connsiteX14" fmla="*/ 585787 w 783431"/>
                <a:gd name="connsiteY14" fmla="*/ 1035844 h 1131094"/>
                <a:gd name="connsiteX15" fmla="*/ 607219 w 783431"/>
                <a:gd name="connsiteY15" fmla="*/ 1021557 h 1131094"/>
                <a:gd name="connsiteX16" fmla="*/ 645319 w 783431"/>
                <a:gd name="connsiteY16" fmla="*/ 1016794 h 1131094"/>
                <a:gd name="connsiteX17" fmla="*/ 685800 w 783431"/>
                <a:gd name="connsiteY17" fmla="*/ 997744 h 1131094"/>
                <a:gd name="connsiteX18" fmla="*/ 716756 w 783431"/>
                <a:gd name="connsiteY18" fmla="*/ 1002507 h 1131094"/>
                <a:gd name="connsiteX19" fmla="*/ 738187 w 783431"/>
                <a:gd name="connsiteY19" fmla="*/ 969169 h 1131094"/>
                <a:gd name="connsiteX20" fmla="*/ 783431 w 783431"/>
                <a:gd name="connsiteY20" fmla="*/ 933450 h 1131094"/>
                <a:gd name="connsiteX21" fmla="*/ 776287 w 783431"/>
                <a:gd name="connsiteY21" fmla="*/ 907257 h 1131094"/>
                <a:gd name="connsiteX22" fmla="*/ 752475 w 783431"/>
                <a:gd name="connsiteY22" fmla="*/ 888207 h 1131094"/>
                <a:gd name="connsiteX23" fmla="*/ 752475 w 783431"/>
                <a:gd name="connsiteY23" fmla="*/ 864394 h 1131094"/>
                <a:gd name="connsiteX24" fmla="*/ 728662 w 783431"/>
                <a:gd name="connsiteY24" fmla="*/ 852488 h 1131094"/>
                <a:gd name="connsiteX25" fmla="*/ 711994 w 783431"/>
                <a:gd name="connsiteY25" fmla="*/ 802482 h 1131094"/>
                <a:gd name="connsiteX26" fmla="*/ 688181 w 783431"/>
                <a:gd name="connsiteY26" fmla="*/ 814388 h 1131094"/>
                <a:gd name="connsiteX27" fmla="*/ 659606 w 783431"/>
                <a:gd name="connsiteY27" fmla="*/ 814388 h 1131094"/>
                <a:gd name="connsiteX28" fmla="*/ 647700 w 783431"/>
                <a:gd name="connsiteY28" fmla="*/ 847725 h 1131094"/>
                <a:gd name="connsiteX29" fmla="*/ 623887 w 783431"/>
                <a:gd name="connsiteY29" fmla="*/ 847725 h 1131094"/>
                <a:gd name="connsiteX30" fmla="*/ 576262 w 783431"/>
                <a:gd name="connsiteY30" fmla="*/ 828675 h 1131094"/>
                <a:gd name="connsiteX31" fmla="*/ 554831 w 783431"/>
                <a:gd name="connsiteY31" fmla="*/ 816769 h 1131094"/>
                <a:gd name="connsiteX32" fmla="*/ 547687 w 783431"/>
                <a:gd name="connsiteY32" fmla="*/ 783432 h 1131094"/>
                <a:gd name="connsiteX33" fmla="*/ 561975 w 783431"/>
                <a:gd name="connsiteY33" fmla="*/ 754857 h 1131094"/>
                <a:gd name="connsiteX34" fmla="*/ 533400 w 783431"/>
                <a:gd name="connsiteY34" fmla="*/ 733425 h 1131094"/>
                <a:gd name="connsiteX35" fmla="*/ 509587 w 783431"/>
                <a:gd name="connsiteY35" fmla="*/ 711994 h 1131094"/>
                <a:gd name="connsiteX36" fmla="*/ 473869 w 783431"/>
                <a:gd name="connsiteY36" fmla="*/ 711994 h 1131094"/>
                <a:gd name="connsiteX37" fmla="*/ 435769 w 783431"/>
                <a:gd name="connsiteY37" fmla="*/ 711994 h 1131094"/>
                <a:gd name="connsiteX38" fmla="*/ 438150 w 783431"/>
                <a:gd name="connsiteY38" fmla="*/ 669132 h 1131094"/>
                <a:gd name="connsiteX39" fmla="*/ 428625 w 783431"/>
                <a:gd name="connsiteY39" fmla="*/ 642938 h 1131094"/>
                <a:gd name="connsiteX40" fmla="*/ 423862 w 783431"/>
                <a:gd name="connsiteY40" fmla="*/ 607219 h 1131094"/>
                <a:gd name="connsiteX41" fmla="*/ 426244 w 783431"/>
                <a:gd name="connsiteY41" fmla="*/ 578644 h 1131094"/>
                <a:gd name="connsiteX42" fmla="*/ 440531 w 783431"/>
                <a:gd name="connsiteY42" fmla="*/ 566738 h 1131094"/>
                <a:gd name="connsiteX43" fmla="*/ 450056 w 783431"/>
                <a:gd name="connsiteY43" fmla="*/ 535782 h 1131094"/>
                <a:gd name="connsiteX44" fmla="*/ 457200 w 783431"/>
                <a:gd name="connsiteY44" fmla="*/ 519113 h 1131094"/>
                <a:gd name="connsiteX45" fmla="*/ 481012 w 783431"/>
                <a:gd name="connsiteY45" fmla="*/ 526257 h 1131094"/>
                <a:gd name="connsiteX46" fmla="*/ 495300 w 783431"/>
                <a:gd name="connsiteY46" fmla="*/ 576263 h 1131094"/>
                <a:gd name="connsiteX47" fmla="*/ 507206 w 783431"/>
                <a:gd name="connsiteY47" fmla="*/ 581025 h 1131094"/>
                <a:gd name="connsiteX48" fmla="*/ 526256 w 783431"/>
                <a:gd name="connsiteY48" fmla="*/ 583407 h 1131094"/>
                <a:gd name="connsiteX49" fmla="*/ 554831 w 783431"/>
                <a:gd name="connsiteY49" fmla="*/ 583407 h 1131094"/>
                <a:gd name="connsiteX50" fmla="*/ 557212 w 783431"/>
                <a:gd name="connsiteY50" fmla="*/ 547688 h 1131094"/>
                <a:gd name="connsiteX51" fmla="*/ 545306 w 783431"/>
                <a:gd name="connsiteY51" fmla="*/ 502444 h 1131094"/>
                <a:gd name="connsiteX52" fmla="*/ 545306 w 783431"/>
                <a:gd name="connsiteY52" fmla="*/ 476250 h 1131094"/>
                <a:gd name="connsiteX53" fmla="*/ 581025 w 783431"/>
                <a:gd name="connsiteY53" fmla="*/ 454819 h 1131094"/>
                <a:gd name="connsiteX54" fmla="*/ 604837 w 783431"/>
                <a:gd name="connsiteY54" fmla="*/ 435769 h 1131094"/>
                <a:gd name="connsiteX55" fmla="*/ 640556 w 783431"/>
                <a:gd name="connsiteY55" fmla="*/ 414338 h 1131094"/>
                <a:gd name="connsiteX56" fmla="*/ 645319 w 783431"/>
                <a:gd name="connsiteY56" fmla="*/ 395288 h 1131094"/>
                <a:gd name="connsiteX57" fmla="*/ 633412 w 783431"/>
                <a:gd name="connsiteY57" fmla="*/ 371475 h 1131094"/>
                <a:gd name="connsiteX58" fmla="*/ 614362 w 783431"/>
                <a:gd name="connsiteY58" fmla="*/ 369094 h 1131094"/>
                <a:gd name="connsiteX59" fmla="*/ 609600 w 783431"/>
                <a:gd name="connsiteY59" fmla="*/ 366713 h 1131094"/>
                <a:gd name="connsiteX60" fmla="*/ 597694 w 783431"/>
                <a:gd name="connsiteY60" fmla="*/ 357188 h 1131094"/>
                <a:gd name="connsiteX61" fmla="*/ 611981 w 783431"/>
                <a:gd name="connsiteY61" fmla="*/ 345282 h 1131094"/>
                <a:gd name="connsiteX62" fmla="*/ 652462 w 783431"/>
                <a:gd name="connsiteY62" fmla="*/ 316707 h 1131094"/>
                <a:gd name="connsiteX63" fmla="*/ 678656 w 783431"/>
                <a:gd name="connsiteY63" fmla="*/ 264319 h 1131094"/>
                <a:gd name="connsiteX64" fmla="*/ 666750 w 783431"/>
                <a:gd name="connsiteY64" fmla="*/ 242888 h 1131094"/>
                <a:gd name="connsiteX65" fmla="*/ 638175 w 783431"/>
                <a:gd name="connsiteY65" fmla="*/ 219075 h 1131094"/>
                <a:gd name="connsiteX66" fmla="*/ 642937 w 783431"/>
                <a:gd name="connsiteY66" fmla="*/ 180975 h 1131094"/>
                <a:gd name="connsiteX67" fmla="*/ 673894 w 783431"/>
                <a:gd name="connsiteY67" fmla="*/ 171450 h 1131094"/>
                <a:gd name="connsiteX68" fmla="*/ 700087 w 783431"/>
                <a:gd name="connsiteY68" fmla="*/ 142875 h 1131094"/>
                <a:gd name="connsiteX69" fmla="*/ 700087 w 783431"/>
                <a:gd name="connsiteY69" fmla="*/ 111919 h 1131094"/>
                <a:gd name="connsiteX70" fmla="*/ 666750 w 783431"/>
                <a:gd name="connsiteY70" fmla="*/ 107157 h 1131094"/>
                <a:gd name="connsiteX71" fmla="*/ 645319 w 783431"/>
                <a:gd name="connsiteY71" fmla="*/ 102394 h 1131094"/>
                <a:gd name="connsiteX72" fmla="*/ 645319 w 783431"/>
                <a:gd name="connsiteY72" fmla="*/ 102394 h 1131094"/>
                <a:gd name="connsiteX73" fmla="*/ 678656 w 783431"/>
                <a:gd name="connsiteY73" fmla="*/ 69057 h 1131094"/>
                <a:gd name="connsiteX74" fmla="*/ 685800 w 783431"/>
                <a:gd name="connsiteY74" fmla="*/ 40482 h 1131094"/>
                <a:gd name="connsiteX75" fmla="*/ 678656 w 783431"/>
                <a:gd name="connsiteY75" fmla="*/ 21432 h 1131094"/>
                <a:gd name="connsiteX76" fmla="*/ 695325 w 783431"/>
                <a:gd name="connsiteY76" fmla="*/ 2382 h 1131094"/>
                <a:gd name="connsiteX77" fmla="*/ 628650 w 783431"/>
                <a:gd name="connsiteY77" fmla="*/ 0 h 1131094"/>
                <a:gd name="connsiteX78" fmla="*/ 552450 w 783431"/>
                <a:gd name="connsiteY78" fmla="*/ 52388 h 1131094"/>
                <a:gd name="connsiteX79" fmla="*/ 538162 w 783431"/>
                <a:gd name="connsiteY79" fmla="*/ 90488 h 1131094"/>
                <a:gd name="connsiteX80" fmla="*/ 445294 w 783431"/>
                <a:gd name="connsiteY80" fmla="*/ 126207 h 1131094"/>
                <a:gd name="connsiteX81" fmla="*/ 397669 w 783431"/>
                <a:gd name="connsiteY81" fmla="*/ 159544 h 1131094"/>
                <a:gd name="connsiteX82" fmla="*/ 376237 w 783431"/>
                <a:gd name="connsiteY82" fmla="*/ 190500 h 1131094"/>
                <a:gd name="connsiteX83" fmla="*/ 350044 w 783431"/>
                <a:gd name="connsiteY83" fmla="*/ 140494 h 1131094"/>
                <a:gd name="connsiteX84" fmla="*/ 316706 w 783431"/>
                <a:gd name="connsiteY84" fmla="*/ 140494 h 1131094"/>
                <a:gd name="connsiteX85" fmla="*/ 304800 w 783431"/>
                <a:gd name="connsiteY85" fmla="*/ 166688 h 1131094"/>
                <a:gd name="connsiteX86" fmla="*/ 280987 w 783431"/>
                <a:gd name="connsiteY86" fmla="*/ 230982 h 1131094"/>
                <a:gd name="connsiteX87" fmla="*/ 154781 w 783431"/>
                <a:gd name="connsiteY87" fmla="*/ 223838 h 1131094"/>
                <a:gd name="connsiteX88" fmla="*/ 140494 w 783431"/>
                <a:gd name="connsiteY88" fmla="*/ 245269 h 1131094"/>
                <a:gd name="connsiteX89" fmla="*/ 138112 w 783431"/>
                <a:gd name="connsiteY89" fmla="*/ 280988 h 1131094"/>
                <a:gd name="connsiteX90" fmla="*/ 66675 w 783431"/>
                <a:gd name="connsiteY90" fmla="*/ 309563 h 1131094"/>
                <a:gd name="connsiteX91" fmla="*/ 54769 w 783431"/>
                <a:gd name="connsiteY91" fmla="*/ 323850 h 1131094"/>
                <a:gd name="connsiteX92" fmla="*/ 66675 w 783431"/>
                <a:gd name="connsiteY92" fmla="*/ 381000 h 1131094"/>
                <a:gd name="connsiteX93" fmla="*/ 19050 w 783431"/>
                <a:gd name="connsiteY93" fmla="*/ 423863 h 1131094"/>
                <a:gd name="connsiteX94" fmla="*/ 26194 w 783431"/>
                <a:gd name="connsiteY94" fmla="*/ 490538 h 1131094"/>
                <a:gd name="connsiteX95" fmla="*/ 33337 w 783431"/>
                <a:gd name="connsiteY95" fmla="*/ 554832 h 1131094"/>
                <a:gd name="connsiteX96" fmla="*/ 0 w 783431"/>
                <a:gd name="connsiteY96" fmla="*/ 614363 h 1131094"/>
                <a:gd name="connsiteX0" fmla="*/ 0 w 783431"/>
                <a:gd name="connsiteY0" fmla="*/ 614363 h 1164431"/>
                <a:gd name="connsiteX1" fmla="*/ 21431 w 783431"/>
                <a:gd name="connsiteY1" fmla="*/ 661988 h 1164431"/>
                <a:gd name="connsiteX2" fmla="*/ 28575 w 783431"/>
                <a:gd name="connsiteY2" fmla="*/ 742950 h 1164431"/>
                <a:gd name="connsiteX3" fmla="*/ 76200 w 783431"/>
                <a:gd name="connsiteY3" fmla="*/ 814388 h 1164431"/>
                <a:gd name="connsiteX4" fmla="*/ 102394 w 783431"/>
                <a:gd name="connsiteY4" fmla="*/ 919163 h 1164431"/>
                <a:gd name="connsiteX5" fmla="*/ 116681 w 783431"/>
                <a:gd name="connsiteY5" fmla="*/ 947738 h 1164431"/>
                <a:gd name="connsiteX6" fmla="*/ 130969 w 783431"/>
                <a:gd name="connsiteY6" fmla="*/ 995363 h 1164431"/>
                <a:gd name="connsiteX7" fmla="*/ 150019 w 783431"/>
                <a:gd name="connsiteY7" fmla="*/ 1023938 h 1164431"/>
                <a:gd name="connsiteX8" fmla="*/ 159544 w 783431"/>
                <a:gd name="connsiteY8" fmla="*/ 1042988 h 1164431"/>
                <a:gd name="connsiteX9" fmla="*/ 197644 w 783431"/>
                <a:gd name="connsiteY9" fmla="*/ 1069182 h 1164431"/>
                <a:gd name="connsiteX10" fmla="*/ 245269 w 783431"/>
                <a:gd name="connsiteY10" fmla="*/ 1090613 h 1164431"/>
                <a:gd name="connsiteX11" fmla="*/ 264318 w 783431"/>
                <a:gd name="connsiteY11" fmla="*/ 1131094 h 1164431"/>
                <a:gd name="connsiteX12" fmla="*/ 295275 w 783431"/>
                <a:gd name="connsiteY12" fmla="*/ 1164431 h 1164431"/>
                <a:gd name="connsiteX13" fmla="*/ 604837 w 783431"/>
                <a:gd name="connsiteY13" fmla="*/ 1085850 h 1164431"/>
                <a:gd name="connsiteX14" fmla="*/ 585787 w 783431"/>
                <a:gd name="connsiteY14" fmla="*/ 1035844 h 1164431"/>
                <a:gd name="connsiteX15" fmla="*/ 607219 w 783431"/>
                <a:gd name="connsiteY15" fmla="*/ 1021557 h 1164431"/>
                <a:gd name="connsiteX16" fmla="*/ 645319 w 783431"/>
                <a:gd name="connsiteY16" fmla="*/ 1016794 h 1164431"/>
                <a:gd name="connsiteX17" fmla="*/ 685800 w 783431"/>
                <a:gd name="connsiteY17" fmla="*/ 997744 h 1164431"/>
                <a:gd name="connsiteX18" fmla="*/ 716756 w 783431"/>
                <a:gd name="connsiteY18" fmla="*/ 1002507 h 1164431"/>
                <a:gd name="connsiteX19" fmla="*/ 738187 w 783431"/>
                <a:gd name="connsiteY19" fmla="*/ 969169 h 1164431"/>
                <a:gd name="connsiteX20" fmla="*/ 783431 w 783431"/>
                <a:gd name="connsiteY20" fmla="*/ 933450 h 1164431"/>
                <a:gd name="connsiteX21" fmla="*/ 776287 w 783431"/>
                <a:gd name="connsiteY21" fmla="*/ 907257 h 1164431"/>
                <a:gd name="connsiteX22" fmla="*/ 752475 w 783431"/>
                <a:gd name="connsiteY22" fmla="*/ 888207 h 1164431"/>
                <a:gd name="connsiteX23" fmla="*/ 752475 w 783431"/>
                <a:gd name="connsiteY23" fmla="*/ 864394 h 1164431"/>
                <a:gd name="connsiteX24" fmla="*/ 728662 w 783431"/>
                <a:gd name="connsiteY24" fmla="*/ 852488 h 1164431"/>
                <a:gd name="connsiteX25" fmla="*/ 711994 w 783431"/>
                <a:gd name="connsiteY25" fmla="*/ 802482 h 1164431"/>
                <a:gd name="connsiteX26" fmla="*/ 688181 w 783431"/>
                <a:gd name="connsiteY26" fmla="*/ 814388 h 1164431"/>
                <a:gd name="connsiteX27" fmla="*/ 659606 w 783431"/>
                <a:gd name="connsiteY27" fmla="*/ 814388 h 1164431"/>
                <a:gd name="connsiteX28" fmla="*/ 647700 w 783431"/>
                <a:gd name="connsiteY28" fmla="*/ 847725 h 1164431"/>
                <a:gd name="connsiteX29" fmla="*/ 623887 w 783431"/>
                <a:gd name="connsiteY29" fmla="*/ 847725 h 1164431"/>
                <a:gd name="connsiteX30" fmla="*/ 576262 w 783431"/>
                <a:gd name="connsiteY30" fmla="*/ 828675 h 1164431"/>
                <a:gd name="connsiteX31" fmla="*/ 554831 w 783431"/>
                <a:gd name="connsiteY31" fmla="*/ 816769 h 1164431"/>
                <a:gd name="connsiteX32" fmla="*/ 547687 w 783431"/>
                <a:gd name="connsiteY32" fmla="*/ 783432 h 1164431"/>
                <a:gd name="connsiteX33" fmla="*/ 561975 w 783431"/>
                <a:gd name="connsiteY33" fmla="*/ 754857 h 1164431"/>
                <a:gd name="connsiteX34" fmla="*/ 533400 w 783431"/>
                <a:gd name="connsiteY34" fmla="*/ 733425 h 1164431"/>
                <a:gd name="connsiteX35" fmla="*/ 509587 w 783431"/>
                <a:gd name="connsiteY35" fmla="*/ 711994 h 1164431"/>
                <a:gd name="connsiteX36" fmla="*/ 473869 w 783431"/>
                <a:gd name="connsiteY36" fmla="*/ 711994 h 1164431"/>
                <a:gd name="connsiteX37" fmla="*/ 435769 w 783431"/>
                <a:gd name="connsiteY37" fmla="*/ 711994 h 1164431"/>
                <a:gd name="connsiteX38" fmla="*/ 438150 w 783431"/>
                <a:gd name="connsiteY38" fmla="*/ 669132 h 1164431"/>
                <a:gd name="connsiteX39" fmla="*/ 428625 w 783431"/>
                <a:gd name="connsiteY39" fmla="*/ 642938 h 1164431"/>
                <a:gd name="connsiteX40" fmla="*/ 423862 w 783431"/>
                <a:gd name="connsiteY40" fmla="*/ 607219 h 1164431"/>
                <a:gd name="connsiteX41" fmla="*/ 426244 w 783431"/>
                <a:gd name="connsiteY41" fmla="*/ 578644 h 1164431"/>
                <a:gd name="connsiteX42" fmla="*/ 440531 w 783431"/>
                <a:gd name="connsiteY42" fmla="*/ 566738 h 1164431"/>
                <a:gd name="connsiteX43" fmla="*/ 450056 w 783431"/>
                <a:gd name="connsiteY43" fmla="*/ 535782 h 1164431"/>
                <a:gd name="connsiteX44" fmla="*/ 457200 w 783431"/>
                <a:gd name="connsiteY44" fmla="*/ 519113 h 1164431"/>
                <a:gd name="connsiteX45" fmla="*/ 481012 w 783431"/>
                <a:gd name="connsiteY45" fmla="*/ 526257 h 1164431"/>
                <a:gd name="connsiteX46" fmla="*/ 495300 w 783431"/>
                <a:gd name="connsiteY46" fmla="*/ 576263 h 1164431"/>
                <a:gd name="connsiteX47" fmla="*/ 507206 w 783431"/>
                <a:gd name="connsiteY47" fmla="*/ 581025 h 1164431"/>
                <a:gd name="connsiteX48" fmla="*/ 526256 w 783431"/>
                <a:gd name="connsiteY48" fmla="*/ 583407 h 1164431"/>
                <a:gd name="connsiteX49" fmla="*/ 554831 w 783431"/>
                <a:gd name="connsiteY49" fmla="*/ 583407 h 1164431"/>
                <a:gd name="connsiteX50" fmla="*/ 557212 w 783431"/>
                <a:gd name="connsiteY50" fmla="*/ 547688 h 1164431"/>
                <a:gd name="connsiteX51" fmla="*/ 545306 w 783431"/>
                <a:gd name="connsiteY51" fmla="*/ 502444 h 1164431"/>
                <a:gd name="connsiteX52" fmla="*/ 545306 w 783431"/>
                <a:gd name="connsiteY52" fmla="*/ 476250 h 1164431"/>
                <a:gd name="connsiteX53" fmla="*/ 581025 w 783431"/>
                <a:gd name="connsiteY53" fmla="*/ 454819 h 1164431"/>
                <a:gd name="connsiteX54" fmla="*/ 604837 w 783431"/>
                <a:gd name="connsiteY54" fmla="*/ 435769 h 1164431"/>
                <a:gd name="connsiteX55" fmla="*/ 640556 w 783431"/>
                <a:gd name="connsiteY55" fmla="*/ 414338 h 1164431"/>
                <a:gd name="connsiteX56" fmla="*/ 645319 w 783431"/>
                <a:gd name="connsiteY56" fmla="*/ 395288 h 1164431"/>
                <a:gd name="connsiteX57" fmla="*/ 633412 w 783431"/>
                <a:gd name="connsiteY57" fmla="*/ 371475 h 1164431"/>
                <a:gd name="connsiteX58" fmla="*/ 614362 w 783431"/>
                <a:gd name="connsiteY58" fmla="*/ 369094 h 1164431"/>
                <a:gd name="connsiteX59" fmla="*/ 609600 w 783431"/>
                <a:gd name="connsiteY59" fmla="*/ 366713 h 1164431"/>
                <a:gd name="connsiteX60" fmla="*/ 597694 w 783431"/>
                <a:gd name="connsiteY60" fmla="*/ 357188 h 1164431"/>
                <a:gd name="connsiteX61" fmla="*/ 611981 w 783431"/>
                <a:gd name="connsiteY61" fmla="*/ 345282 h 1164431"/>
                <a:gd name="connsiteX62" fmla="*/ 652462 w 783431"/>
                <a:gd name="connsiteY62" fmla="*/ 316707 h 1164431"/>
                <a:gd name="connsiteX63" fmla="*/ 678656 w 783431"/>
                <a:gd name="connsiteY63" fmla="*/ 264319 h 1164431"/>
                <a:gd name="connsiteX64" fmla="*/ 666750 w 783431"/>
                <a:gd name="connsiteY64" fmla="*/ 242888 h 1164431"/>
                <a:gd name="connsiteX65" fmla="*/ 638175 w 783431"/>
                <a:gd name="connsiteY65" fmla="*/ 219075 h 1164431"/>
                <a:gd name="connsiteX66" fmla="*/ 642937 w 783431"/>
                <a:gd name="connsiteY66" fmla="*/ 180975 h 1164431"/>
                <a:gd name="connsiteX67" fmla="*/ 673894 w 783431"/>
                <a:gd name="connsiteY67" fmla="*/ 171450 h 1164431"/>
                <a:gd name="connsiteX68" fmla="*/ 700087 w 783431"/>
                <a:gd name="connsiteY68" fmla="*/ 142875 h 1164431"/>
                <a:gd name="connsiteX69" fmla="*/ 700087 w 783431"/>
                <a:gd name="connsiteY69" fmla="*/ 111919 h 1164431"/>
                <a:gd name="connsiteX70" fmla="*/ 666750 w 783431"/>
                <a:gd name="connsiteY70" fmla="*/ 107157 h 1164431"/>
                <a:gd name="connsiteX71" fmla="*/ 645319 w 783431"/>
                <a:gd name="connsiteY71" fmla="*/ 102394 h 1164431"/>
                <a:gd name="connsiteX72" fmla="*/ 645319 w 783431"/>
                <a:gd name="connsiteY72" fmla="*/ 102394 h 1164431"/>
                <a:gd name="connsiteX73" fmla="*/ 678656 w 783431"/>
                <a:gd name="connsiteY73" fmla="*/ 69057 h 1164431"/>
                <a:gd name="connsiteX74" fmla="*/ 685800 w 783431"/>
                <a:gd name="connsiteY74" fmla="*/ 40482 h 1164431"/>
                <a:gd name="connsiteX75" fmla="*/ 678656 w 783431"/>
                <a:gd name="connsiteY75" fmla="*/ 21432 h 1164431"/>
                <a:gd name="connsiteX76" fmla="*/ 695325 w 783431"/>
                <a:gd name="connsiteY76" fmla="*/ 2382 h 1164431"/>
                <a:gd name="connsiteX77" fmla="*/ 628650 w 783431"/>
                <a:gd name="connsiteY77" fmla="*/ 0 h 1164431"/>
                <a:gd name="connsiteX78" fmla="*/ 552450 w 783431"/>
                <a:gd name="connsiteY78" fmla="*/ 52388 h 1164431"/>
                <a:gd name="connsiteX79" fmla="*/ 538162 w 783431"/>
                <a:gd name="connsiteY79" fmla="*/ 90488 h 1164431"/>
                <a:gd name="connsiteX80" fmla="*/ 445294 w 783431"/>
                <a:gd name="connsiteY80" fmla="*/ 126207 h 1164431"/>
                <a:gd name="connsiteX81" fmla="*/ 397669 w 783431"/>
                <a:gd name="connsiteY81" fmla="*/ 159544 h 1164431"/>
                <a:gd name="connsiteX82" fmla="*/ 376237 w 783431"/>
                <a:gd name="connsiteY82" fmla="*/ 190500 h 1164431"/>
                <a:gd name="connsiteX83" fmla="*/ 350044 w 783431"/>
                <a:gd name="connsiteY83" fmla="*/ 140494 h 1164431"/>
                <a:gd name="connsiteX84" fmla="*/ 316706 w 783431"/>
                <a:gd name="connsiteY84" fmla="*/ 140494 h 1164431"/>
                <a:gd name="connsiteX85" fmla="*/ 304800 w 783431"/>
                <a:gd name="connsiteY85" fmla="*/ 166688 h 1164431"/>
                <a:gd name="connsiteX86" fmla="*/ 280987 w 783431"/>
                <a:gd name="connsiteY86" fmla="*/ 230982 h 1164431"/>
                <a:gd name="connsiteX87" fmla="*/ 154781 w 783431"/>
                <a:gd name="connsiteY87" fmla="*/ 223838 h 1164431"/>
                <a:gd name="connsiteX88" fmla="*/ 140494 w 783431"/>
                <a:gd name="connsiteY88" fmla="*/ 245269 h 1164431"/>
                <a:gd name="connsiteX89" fmla="*/ 138112 w 783431"/>
                <a:gd name="connsiteY89" fmla="*/ 280988 h 1164431"/>
                <a:gd name="connsiteX90" fmla="*/ 66675 w 783431"/>
                <a:gd name="connsiteY90" fmla="*/ 309563 h 1164431"/>
                <a:gd name="connsiteX91" fmla="*/ 54769 w 783431"/>
                <a:gd name="connsiteY91" fmla="*/ 323850 h 1164431"/>
                <a:gd name="connsiteX92" fmla="*/ 66675 w 783431"/>
                <a:gd name="connsiteY92" fmla="*/ 381000 h 1164431"/>
                <a:gd name="connsiteX93" fmla="*/ 19050 w 783431"/>
                <a:gd name="connsiteY93" fmla="*/ 423863 h 1164431"/>
                <a:gd name="connsiteX94" fmla="*/ 26194 w 783431"/>
                <a:gd name="connsiteY94" fmla="*/ 490538 h 1164431"/>
                <a:gd name="connsiteX95" fmla="*/ 33337 w 783431"/>
                <a:gd name="connsiteY95" fmla="*/ 554832 h 1164431"/>
                <a:gd name="connsiteX96" fmla="*/ 0 w 783431"/>
                <a:gd name="connsiteY96" fmla="*/ 614363 h 1164431"/>
                <a:gd name="connsiteX0" fmla="*/ 0 w 783431"/>
                <a:gd name="connsiteY0" fmla="*/ 614363 h 1164431"/>
                <a:gd name="connsiteX1" fmla="*/ 21431 w 783431"/>
                <a:gd name="connsiteY1" fmla="*/ 661988 h 1164431"/>
                <a:gd name="connsiteX2" fmla="*/ 28575 w 783431"/>
                <a:gd name="connsiteY2" fmla="*/ 742950 h 1164431"/>
                <a:gd name="connsiteX3" fmla="*/ 76200 w 783431"/>
                <a:gd name="connsiteY3" fmla="*/ 814388 h 1164431"/>
                <a:gd name="connsiteX4" fmla="*/ 102394 w 783431"/>
                <a:gd name="connsiteY4" fmla="*/ 919163 h 1164431"/>
                <a:gd name="connsiteX5" fmla="*/ 116681 w 783431"/>
                <a:gd name="connsiteY5" fmla="*/ 947738 h 1164431"/>
                <a:gd name="connsiteX6" fmla="*/ 130969 w 783431"/>
                <a:gd name="connsiteY6" fmla="*/ 995363 h 1164431"/>
                <a:gd name="connsiteX7" fmla="*/ 150019 w 783431"/>
                <a:gd name="connsiteY7" fmla="*/ 1023938 h 1164431"/>
                <a:gd name="connsiteX8" fmla="*/ 159544 w 783431"/>
                <a:gd name="connsiteY8" fmla="*/ 1042988 h 1164431"/>
                <a:gd name="connsiteX9" fmla="*/ 197644 w 783431"/>
                <a:gd name="connsiteY9" fmla="*/ 1069182 h 1164431"/>
                <a:gd name="connsiteX10" fmla="*/ 245269 w 783431"/>
                <a:gd name="connsiteY10" fmla="*/ 1090613 h 1164431"/>
                <a:gd name="connsiteX11" fmla="*/ 264318 w 783431"/>
                <a:gd name="connsiteY11" fmla="*/ 1131094 h 1164431"/>
                <a:gd name="connsiteX12" fmla="*/ 295275 w 783431"/>
                <a:gd name="connsiteY12" fmla="*/ 1164431 h 1164431"/>
                <a:gd name="connsiteX13" fmla="*/ 354806 w 783431"/>
                <a:gd name="connsiteY13" fmla="*/ 1152524 h 1164431"/>
                <a:gd name="connsiteX14" fmla="*/ 604837 w 783431"/>
                <a:gd name="connsiteY14" fmla="*/ 1085850 h 1164431"/>
                <a:gd name="connsiteX15" fmla="*/ 585787 w 783431"/>
                <a:gd name="connsiteY15" fmla="*/ 1035844 h 1164431"/>
                <a:gd name="connsiteX16" fmla="*/ 607219 w 783431"/>
                <a:gd name="connsiteY16" fmla="*/ 1021557 h 1164431"/>
                <a:gd name="connsiteX17" fmla="*/ 645319 w 783431"/>
                <a:gd name="connsiteY17" fmla="*/ 1016794 h 1164431"/>
                <a:gd name="connsiteX18" fmla="*/ 685800 w 783431"/>
                <a:gd name="connsiteY18" fmla="*/ 997744 h 1164431"/>
                <a:gd name="connsiteX19" fmla="*/ 716756 w 783431"/>
                <a:gd name="connsiteY19" fmla="*/ 1002507 h 1164431"/>
                <a:gd name="connsiteX20" fmla="*/ 738187 w 783431"/>
                <a:gd name="connsiteY20" fmla="*/ 969169 h 1164431"/>
                <a:gd name="connsiteX21" fmla="*/ 783431 w 783431"/>
                <a:gd name="connsiteY21" fmla="*/ 933450 h 1164431"/>
                <a:gd name="connsiteX22" fmla="*/ 776287 w 783431"/>
                <a:gd name="connsiteY22" fmla="*/ 907257 h 1164431"/>
                <a:gd name="connsiteX23" fmla="*/ 752475 w 783431"/>
                <a:gd name="connsiteY23" fmla="*/ 888207 h 1164431"/>
                <a:gd name="connsiteX24" fmla="*/ 752475 w 783431"/>
                <a:gd name="connsiteY24" fmla="*/ 864394 h 1164431"/>
                <a:gd name="connsiteX25" fmla="*/ 728662 w 783431"/>
                <a:gd name="connsiteY25" fmla="*/ 852488 h 1164431"/>
                <a:gd name="connsiteX26" fmla="*/ 711994 w 783431"/>
                <a:gd name="connsiteY26" fmla="*/ 802482 h 1164431"/>
                <a:gd name="connsiteX27" fmla="*/ 688181 w 783431"/>
                <a:gd name="connsiteY27" fmla="*/ 814388 h 1164431"/>
                <a:gd name="connsiteX28" fmla="*/ 659606 w 783431"/>
                <a:gd name="connsiteY28" fmla="*/ 814388 h 1164431"/>
                <a:gd name="connsiteX29" fmla="*/ 647700 w 783431"/>
                <a:gd name="connsiteY29" fmla="*/ 847725 h 1164431"/>
                <a:gd name="connsiteX30" fmla="*/ 623887 w 783431"/>
                <a:gd name="connsiteY30" fmla="*/ 847725 h 1164431"/>
                <a:gd name="connsiteX31" fmla="*/ 576262 w 783431"/>
                <a:gd name="connsiteY31" fmla="*/ 828675 h 1164431"/>
                <a:gd name="connsiteX32" fmla="*/ 554831 w 783431"/>
                <a:gd name="connsiteY32" fmla="*/ 816769 h 1164431"/>
                <a:gd name="connsiteX33" fmla="*/ 547687 w 783431"/>
                <a:gd name="connsiteY33" fmla="*/ 783432 h 1164431"/>
                <a:gd name="connsiteX34" fmla="*/ 561975 w 783431"/>
                <a:gd name="connsiteY34" fmla="*/ 754857 h 1164431"/>
                <a:gd name="connsiteX35" fmla="*/ 533400 w 783431"/>
                <a:gd name="connsiteY35" fmla="*/ 733425 h 1164431"/>
                <a:gd name="connsiteX36" fmla="*/ 509587 w 783431"/>
                <a:gd name="connsiteY36" fmla="*/ 711994 h 1164431"/>
                <a:gd name="connsiteX37" fmla="*/ 473869 w 783431"/>
                <a:gd name="connsiteY37" fmla="*/ 711994 h 1164431"/>
                <a:gd name="connsiteX38" fmla="*/ 435769 w 783431"/>
                <a:gd name="connsiteY38" fmla="*/ 711994 h 1164431"/>
                <a:gd name="connsiteX39" fmla="*/ 438150 w 783431"/>
                <a:gd name="connsiteY39" fmla="*/ 669132 h 1164431"/>
                <a:gd name="connsiteX40" fmla="*/ 428625 w 783431"/>
                <a:gd name="connsiteY40" fmla="*/ 642938 h 1164431"/>
                <a:gd name="connsiteX41" fmla="*/ 423862 w 783431"/>
                <a:gd name="connsiteY41" fmla="*/ 607219 h 1164431"/>
                <a:gd name="connsiteX42" fmla="*/ 426244 w 783431"/>
                <a:gd name="connsiteY42" fmla="*/ 578644 h 1164431"/>
                <a:gd name="connsiteX43" fmla="*/ 440531 w 783431"/>
                <a:gd name="connsiteY43" fmla="*/ 566738 h 1164431"/>
                <a:gd name="connsiteX44" fmla="*/ 450056 w 783431"/>
                <a:gd name="connsiteY44" fmla="*/ 535782 h 1164431"/>
                <a:gd name="connsiteX45" fmla="*/ 457200 w 783431"/>
                <a:gd name="connsiteY45" fmla="*/ 519113 h 1164431"/>
                <a:gd name="connsiteX46" fmla="*/ 481012 w 783431"/>
                <a:gd name="connsiteY46" fmla="*/ 526257 h 1164431"/>
                <a:gd name="connsiteX47" fmla="*/ 495300 w 783431"/>
                <a:gd name="connsiteY47" fmla="*/ 576263 h 1164431"/>
                <a:gd name="connsiteX48" fmla="*/ 507206 w 783431"/>
                <a:gd name="connsiteY48" fmla="*/ 581025 h 1164431"/>
                <a:gd name="connsiteX49" fmla="*/ 526256 w 783431"/>
                <a:gd name="connsiteY49" fmla="*/ 583407 h 1164431"/>
                <a:gd name="connsiteX50" fmla="*/ 554831 w 783431"/>
                <a:gd name="connsiteY50" fmla="*/ 583407 h 1164431"/>
                <a:gd name="connsiteX51" fmla="*/ 557212 w 783431"/>
                <a:gd name="connsiteY51" fmla="*/ 547688 h 1164431"/>
                <a:gd name="connsiteX52" fmla="*/ 545306 w 783431"/>
                <a:gd name="connsiteY52" fmla="*/ 502444 h 1164431"/>
                <a:gd name="connsiteX53" fmla="*/ 545306 w 783431"/>
                <a:gd name="connsiteY53" fmla="*/ 476250 h 1164431"/>
                <a:gd name="connsiteX54" fmla="*/ 581025 w 783431"/>
                <a:gd name="connsiteY54" fmla="*/ 454819 h 1164431"/>
                <a:gd name="connsiteX55" fmla="*/ 604837 w 783431"/>
                <a:gd name="connsiteY55" fmla="*/ 435769 h 1164431"/>
                <a:gd name="connsiteX56" fmla="*/ 640556 w 783431"/>
                <a:gd name="connsiteY56" fmla="*/ 414338 h 1164431"/>
                <a:gd name="connsiteX57" fmla="*/ 645319 w 783431"/>
                <a:gd name="connsiteY57" fmla="*/ 395288 h 1164431"/>
                <a:gd name="connsiteX58" fmla="*/ 633412 w 783431"/>
                <a:gd name="connsiteY58" fmla="*/ 371475 h 1164431"/>
                <a:gd name="connsiteX59" fmla="*/ 614362 w 783431"/>
                <a:gd name="connsiteY59" fmla="*/ 369094 h 1164431"/>
                <a:gd name="connsiteX60" fmla="*/ 609600 w 783431"/>
                <a:gd name="connsiteY60" fmla="*/ 366713 h 1164431"/>
                <a:gd name="connsiteX61" fmla="*/ 597694 w 783431"/>
                <a:gd name="connsiteY61" fmla="*/ 357188 h 1164431"/>
                <a:gd name="connsiteX62" fmla="*/ 611981 w 783431"/>
                <a:gd name="connsiteY62" fmla="*/ 345282 h 1164431"/>
                <a:gd name="connsiteX63" fmla="*/ 652462 w 783431"/>
                <a:gd name="connsiteY63" fmla="*/ 316707 h 1164431"/>
                <a:gd name="connsiteX64" fmla="*/ 678656 w 783431"/>
                <a:gd name="connsiteY64" fmla="*/ 264319 h 1164431"/>
                <a:gd name="connsiteX65" fmla="*/ 666750 w 783431"/>
                <a:gd name="connsiteY65" fmla="*/ 242888 h 1164431"/>
                <a:gd name="connsiteX66" fmla="*/ 638175 w 783431"/>
                <a:gd name="connsiteY66" fmla="*/ 219075 h 1164431"/>
                <a:gd name="connsiteX67" fmla="*/ 642937 w 783431"/>
                <a:gd name="connsiteY67" fmla="*/ 180975 h 1164431"/>
                <a:gd name="connsiteX68" fmla="*/ 673894 w 783431"/>
                <a:gd name="connsiteY68" fmla="*/ 171450 h 1164431"/>
                <a:gd name="connsiteX69" fmla="*/ 700087 w 783431"/>
                <a:gd name="connsiteY69" fmla="*/ 142875 h 1164431"/>
                <a:gd name="connsiteX70" fmla="*/ 700087 w 783431"/>
                <a:gd name="connsiteY70" fmla="*/ 111919 h 1164431"/>
                <a:gd name="connsiteX71" fmla="*/ 666750 w 783431"/>
                <a:gd name="connsiteY71" fmla="*/ 107157 h 1164431"/>
                <a:gd name="connsiteX72" fmla="*/ 645319 w 783431"/>
                <a:gd name="connsiteY72" fmla="*/ 102394 h 1164431"/>
                <a:gd name="connsiteX73" fmla="*/ 645319 w 783431"/>
                <a:gd name="connsiteY73" fmla="*/ 102394 h 1164431"/>
                <a:gd name="connsiteX74" fmla="*/ 678656 w 783431"/>
                <a:gd name="connsiteY74" fmla="*/ 69057 h 1164431"/>
                <a:gd name="connsiteX75" fmla="*/ 685800 w 783431"/>
                <a:gd name="connsiteY75" fmla="*/ 40482 h 1164431"/>
                <a:gd name="connsiteX76" fmla="*/ 678656 w 783431"/>
                <a:gd name="connsiteY76" fmla="*/ 21432 h 1164431"/>
                <a:gd name="connsiteX77" fmla="*/ 695325 w 783431"/>
                <a:gd name="connsiteY77" fmla="*/ 2382 h 1164431"/>
                <a:gd name="connsiteX78" fmla="*/ 628650 w 783431"/>
                <a:gd name="connsiteY78" fmla="*/ 0 h 1164431"/>
                <a:gd name="connsiteX79" fmla="*/ 552450 w 783431"/>
                <a:gd name="connsiteY79" fmla="*/ 52388 h 1164431"/>
                <a:gd name="connsiteX80" fmla="*/ 538162 w 783431"/>
                <a:gd name="connsiteY80" fmla="*/ 90488 h 1164431"/>
                <a:gd name="connsiteX81" fmla="*/ 445294 w 783431"/>
                <a:gd name="connsiteY81" fmla="*/ 126207 h 1164431"/>
                <a:gd name="connsiteX82" fmla="*/ 397669 w 783431"/>
                <a:gd name="connsiteY82" fmla="*/ 159544 h 1164431"/>
                <a:gd name="connsiteX83" fmla="*/ 376237 w 783431"/>
                <a:gd name="connsiteY83" fmla="*/ 190500 h 1164431"/>
                <a:gd name="connsiteX84" fmla="*/ 350044 w 783431"/>
                <a:gd name="connsiteY84" fmla="*/ 140494 h 1164431"/>
                <a:gd name="connsiteX85" fmla="*/ 316706 w 783431"/>
                <a:gd name="connsiteY85" fmla="*/ 140494 h 1164431"/>
                <a:gd name="connsiteX86" fmla="*/ 304800 w 783431"/>
                <a:gd name="connsiteY86" fmla="*/ 166688 h 1164431"/>
                <a:gd name="connsiteX87" fmla="*/ 280987 w 783431"/>
                <a:gd name="connsiteY87" fmla="*/ 230982 h 1164431"/>
                <a:gd name="connsiteX88" fmla="*/ 154781 w 783431"/>
                <a:gd name="connsiteY88" fmla="*/ 223838 h 1164431"/>
                <a:gd name="connsiteX89" fmla="*/ 140494 w 783431"/>
                <a:gd name="connsiteY89" fmla="*/ 245269 h 1164431"/>
                <a:gd name="connsiteX90" fmla="*/ 138112 w 783431"/>
                <a:gd name="connsiteY90" fmla="*/ 280988 h 1164431"/>
                <a:gd name="connsiteX91" fmla="*/ 66675 w 783431"/>
                <a:gd name="connsiteY91" fmla="*/ 309563 h 1164431"/>
                <a:gd name="connsiteX92" fmla="*/ 54769 w 783431"/>
                <a:gd name="connsiteY92" fmla="*/ 323850 h 1164431"/>
                <a:gd name="connsiteX93" fmla="*/ 66675 w 783431"/>
                <a:gd name="connsiteY93" fmla="*/ 381000 h 1164431"/>
                <a:gd name="connsiteX94" fmla="*/ 19050 w 783431"/>
                <a:gd name="connsiteY94" fmla="*/ 423863 h 1164431"/>
                <a:gd name="connsiteX95" fmla="*/ 26194 w 783431"/>
                <a:gd name="connsiteY95" fmla="*/ 490538 h 1164431"/>
                <a:gd name="connsiteX96" fmla="*/ 33337 w 783431"/>
                <a:gd name="connsiteY96" fmla="*/ 554832 h 1164431"/>
                <a:gd name="connsiteX97" fmla="*/ 0 w 783431"/>
                <a:gd name="connsiteY97" fmla="*/ 614363 h 1164431"/>
                <a:gd name="connsiteX0" fmla="*/ 0 w 783431"/>
                <a:gd name="connsiteY0" fmla="*/ 614363 h 1200149"/>
                <a:gd name="connsiteX1" fmla="*/ 21431 w 783431"/>
                <a:gd name="connsiteY1" fmla="*/ 661988 h 1200149"/>
                <a:gd name="connsiteX2" fmla="*/ 28575 w 783431"/>
                <a:gd name="connsiteY2" fmla="*/ 742950 h 1200149"/>
                <a:gd name="connsiteX3" fmla="*/ 76200 w 783431"/>
                <a:gd name="connsiteY3" fmla="*/ 814388 h 1200149"/>
                <a:gd name="connsiteX4" fmla="*/ 102394 w 783431"/>
                <a:gd name="connsiteY4" fmla="*/ 919163 h 1200149"/>
                <a:gd name="connsiteX5" fmla="*/ 116681 w 783431"/>
                <a:gd name="connsiteY5" fmla="*/ 947738 h 1200149"/>
                <a:gd name="connsiteX6" fmla="*/ 130969 w 783431"/>
                <a:gd name="connsiteY6" fmla="*/ 995363 h 1200149"/>
                <a:gd name="connsiteX7" fmla="*/ 150019 w 783431"/>
                <a:gd name="connsiteY7" fmla="*/ 1023938 h 1200149"/>
                <a:gd name="connsiteX8" fmla="*/ 159544 w 783431"/>
                <a:gd name="connsiteY8" fmla="*/ 1042988 h 1200149"/>
                <a:gd name="connsiteX9" fmla="*/ 197644 w 783431"/>
                <a:gd name="connsiteY9" fmla="*/ 1069182 h 1200149"/>
                <a:gd name="connsiteX10" fmla="*/ 245269 w 783431"/>
                <a:gd name="connsiteY10" fmla="*/ 1090613 h 1200149"/>
                <a:gd name="connsiteX11" fmla="*/ 264318 w 783431"/>
                <a:gd name="connsiteY11" fmla="*/ 1131094 h 1200149"/>
                <a:gd name="connsiteX12" fmla="*/ 295275 w 783431"/>
                <a:gd name="connsiteY12" fmla="*/ 1164431 h 1200149"/>
                <a:gd name="connsiteX13" fmla="*/ 385762 w 783431"/>
                <a:gd name="connsiteY13" fmla="*/ 1200149 h 1200149"/>
                <a:gd name="connsiteX14" fmla="*/ 604837 w 783431"/>
                <a:gd name="connsiteY14" fmla="*/ 1085850 h 1200149"/>
                <a:gd name="connsiteX15" fmla="*/ 585787 w 783431"/>
                <a:gd name="connsiteY15" fmla="*/ 1035844 h 1200149"/>
                <a:gd name="connsiteX16" fmla="*/ 607219 w 783431"/>
                <a:gd name="connsiteY16" fmla="*/ 1021557 h 1200149"/>
                <a:gd name="connsiteX17" fmla="*/ 645319 w 783431"/>
                <a:gd name="connsiteY17" fmla="*/ 1016794 h 1200149"/>
                <a:gd name="connsiteX18" fmla="*/ 685800 w 783431"/>
                <a:gd name="connsiteY18" fmla="*/ 997744 h 1200149"/>
                <a:gd name="connsiteX19" fmla="*/ 716756 w 783431"/>
                <a:gd name="connsiteY19" fmla="*/ 1002507 h 1200149"/>
                <a:gd name="connsiteX20" fmla="*/ 738187 w 783431"/>
                <a:gd name="connsiteY20" fmla="*/ 969169 h 1200149"/>
                <a:gd name="connsiteX21" fmla="*/ 783431 w 783431"/>
                <a:gd name="connsiteY21" fmla="*/ 933450 h 1200149"/>
                <a:gd name="connsiteX22" fmla="*/ 776287 w 783431"/>
                <a:gd name="connsiteY22" fmla="*/ 907257 h 1200149"/>
                <a:gd name="connsiteX23" fmla="*/ 752475 w 783431"/>
                <a:gd name="connsiteY23" fmla="*/ 888207 h 1200149"/>
                <a:gd name="connsiteX24" fmla="*/ 752475 w 783431"/>
                <a:gd name="connsiteY24" fmla="*/ 864394 h 1200149"/>
                <a:gd name="connsiteX25" fmla="*/ 728662 w 783431"/>
                <a:gd name="connsiteY25" fmla="*/ 852488 h 1200149"/>
                <a:gd name="connsiteX26" fmla="*/ 711994 w 783431"/>
                <a:gd name="connsiteY26" fmla="*/ 802482 h 1200149"/>
                <a:gd name="connsiteX27" fmla="*/ 688181 w 783431"/>
                <a:gd name="connsiteY27" fmla="*/ 814388 h 1200149"/>
                <a:gd name="connsiteX28" fmla="*/ 659606 w 783431"/>
                <a:gd name="connsiteY28" fmla="*/ 814388 h 1200149"/>
                <a:gd name="connsiteX29" fmla="*/ 647700 w 783431"/>
                <a:gd name="connsiteY29" fmla="*/ 847725 h 1200149"/>
                <a:gd name="connsiteX30" fmla="*/ 623887 w 783431"/>
                <a:gd name="connsiteY30" fmla="*/ 847725 h 1200149"/>
                <a:gd name="connsiteX31" fmla="*/ 576262 w 783431"/>
                <a:gd name="connsiteY31" fmla="*/ 828675 h 1200149"/>
                <a:gd name="connsiteX32" fmla="*/ 554831 w 783431"/>
                <a:gd name="connsiteY32" fmla="*/ 816769 h 1200149"/>
                <a:gd name="connsiteX33" fmla="*/ 547687 w 783431"/>
                <a:gd name="connsiteY33" fmla="*/ 783432 h 1200149"/>
                <a:gd name="connsiteX34" fmla="*/ 561975 w 783431"/>
                <a:gd name="connsiteY34" fmla="*/ 754857 h 1200149"/>
                <a:gd name="connsiteX35" fmla="*/ 533400 w 783431"/>
                <a:gd name="connsiteY35" fmla="*/ 733425 h 1200149"/>
                <a:gd name="connsiteX36" fmla="*/ 509587 w 783431"/>
                <a:gd name="connsiteY36" fmla="*/ 711994 h 1200149"/>
                <a:gd name="connsiteX37" fmla="*/ 473869 w 783431"/>
                <a:gd name="connsiteY37" fmla="*/ 711994 h 1200149"/>
                <a:gd name="connsiteX38" fmla="*/ 435769 w 783431"/>
                <a:gd name="connsiteY38" fmla="*/ 711994 h 1200149"/>
                <a:gd name="connsiteX39" fmla="*/ 438150 w 783431"/>
                <a:gd name="connsiteY39" fmla="*/ 669132 h 1200149"/>
                <a:gd name="connsiteX40" fmla="*/ 428625 w 783431"/>
                <a:gd name="connsiteY40" fmla="*/ 642938 h 1200149"/>
                <a:gd name="connsiteX41" fmla="*/ 423862 w 783431"/>
                <a:gd name="connsiteY41" fmla="*/ 607219 h 1200149"/>
                <a:gd name="connsiteX42" fmla="*/ 426244 w 783431"/>
                <a:gd name="connsiteY42" fmla="*/ 578644 h 1200149"/>
                <a:gd name="connsiteX43" fmla="*/ 440531 w 783431"/>
                <a:gd name="connsiteY43" fmla="*/ 566738 h 1200149"/>
                <a:gd name="connsiteX44" fmla="*/ 450056 w 783431"/>
                <a:gd name="connsiteY44" fmla="*/ 535782 h 1200149"/>
                <a:gd name="connsiteX45" fmla="*/ 457200 w 783431"/>
                <a:gd name="connsiteY45" fmla="*/ 519113 h 1200149"/>
                <a:gd name="connsiteX46" fmla="*/ 481012 w 783431"/>
                <a:gd name="connsiteY46" fmla="*/ 526257 h 1200149"/>
                <a:gd name="connsiteX47" fmla="*/ 495300 w 783431"/>
                <a:gd name="connsiteY47" fmla="*/ 576263 h 1200149"/>
                <a:gd name="connsiteX48" fmla="*/ 507206 w 783431"/>
                <a:gd name="connsiteY48" fmla="*/ 581025 h 1200149"/>
                <a:gd name="connsiteX49" fmla="*/ 526256 w 783431"/>
                <a:gd name="connsiteY49" fmla="*/ 583407 h 1200149"/>
                <a:gd name="connsiteX50" fmla="*/ 554831 w 783431"/>
                <a:gd name="connsiteY50" fmla="*/ 583407 h 1200149"/>
                <a:gd name="connsiteX51" fmla="*/ 557212 w 783431"/>
                <a:gd name="connsiteY51" fmla="*/ 547688 h 1200149"/>
                <a:gd name="connsiteX52" fmla="*/ 545306 w 783431"/>
                <a:gd name="connsiteY52" fmla="*/ 502444 h 1200149"/>
                <a:gd name="connsiteX53" fmla="*/ 545306 w 783431"/>
                <a:gd name="connsiteY53" fmla="*/ 476250 h 1200149"/>
                <a:gd name="connsiteX54" fmla="*/ 581025 w 783431"/>
                <a:gd name="connsiteY54" fmla="*/ 454819 h 1200149"/>
                <a:gd name="connsiteX55" fmla="*/ 604837 w 783431"/>
                <a:gd name="connsiteY55" fmla="*/ 435769 h 1200149"/>
                <a:gd name="connsiteX56" fmla="*/ 640556 w 783431"/>
                <a:gd name="connsiteY56" fmla="*/ 414338 h 1200149"/>
                <a:gd name="connsiteX57" fmla="*/ 645319 w 783431"/>
                <a:gd name="connsiteY57" fmla="*/ 395288 h 1200149"/>
                <a:gd name="connsiteX58" fmla="*/ 633412 w 783431"/>
                <a:gd name="connsiteY58" fmla="*/ 371475 h 1200149"/>
                <a:gd name="connsiteX59" fmla="*/ 614362 w 783431"/>
                <a:gd name="connsiteY59" fmla="*/ 369094 h 1200149"/>
                <a:gd name="connsiteX60" fmla="*/ 609600 w 783431"/>
                <a:gd name="connsiteY60" fmla="*/ 366713 h 1200149"/>
                <a:gd name="connsiteX61" fmla="*/ 597694 w 783431"/>
                <a:gd name="connsiteY61" fmla="*/ 357188 h 1200149"/>
                <a:gd name="connsiteX62" fmla="*/ 611981 w 783431"/>
                <a:gd name="connsiteY62" fmla="*/ 345282 h 1200149"/>
                <a:gd name="connsiteX63" fmla="*/ 652462 w 783431"/>
                <a:gd name="connsiteY63" fmla="*/ 316707 h 1200149"/>
                <a:gd name="connsiteX64" fmla="*/ 678656 w 783431"/>
                <a:gd name="connsiteY64" fmla="*/ 264319 h 1200149"/>
                <a:gd name="connsiteX65" fmla="*/ 666750 w 783431"/>
                <a:gd name="connsiteY65" fmla="*/ 242888 h 1200149"/>
                <a:gd name="connsiteX66" fmla="*/ 638175 w 783431"/>
                <a:gd name="connsiteY66" fmla="*/ 219075 h 1200149"/>
                <a:gd name="connsiteX67" fmla="*/ 642937 w 783431"/>
                <a:gd name="connsiteY67" fmla="*/ 180975 h 1200149"/>
                <a:gd name="connsiteX68" fmla="*/ 673894 w 783431"/>
                <a:gd name="connsiteY68" fmla="*/ 171450 h 1200149"/>
                <a:gd name="connsiteX69" fmla="*/ 700087 w 783431"/>
                <a:gd name="connsiteY69" fmla="*/ 142875 h 1200149"/>
                <a:gd name="connsiteX70" fmla="*/ 700087 w 783431"/>
                <a:gd name="connsiteY70" fmla="*/ 111919 h 1200149"/>
                <a:gd name="connsiteX71" fmla="*/ 666750 w 783431"/>
                <a:gd name="connsiteY71" fmla="*/ 107157 h 1200149"/>
                <a:gd name="connsiteX72" fmla="*/ 645319 w 783431"/>
                <a:gd name="connsiteY72" fmla="*/ 102394 h 1200149"/>
                <a:gd name="connsiteX73" fmla="*/ 645319 w 783431"/>
                <a:gd name="connsiteY73" fmla="*/ 102394 h 1200149"/>
                <a:gd name="connsiteX74" fmla="*/ 678656 w 783431"/>
                <a:gd name="connsiteY74" fmla="*/ 69057 h 1200149"/>
                <a:gd name="connsiteX75" fmla="*/ 685800 w 783431"/>
                <a:gd name="connsiteY75" fmla="*/ 40482 h 1200149"/>
                <a:gd name="connsiteX76" fmla="*/ 678656 w 783431"/>
                <a:gd name="connsiteY76" fmla="*/ 21432 h 1200149"/>
                <a:gd name="connsiteX77" fmla="*/ 695325 w 783431"/>
                <a:gd name="connsiteY77" fmla="*/ 2382 h 1200149"/>
                <a:gd name="connsiteX78" fmla="*/ 628650 w 783431"/>
                <a:gd name="connsiteY78" fmla="*/ 0 h 1200149"/>
                <a:gd name="connsiteX79" fmla="*/ 552450 w 783431"/>
                <a:gd name="connsiteY79" fmla="*/ 52388 h 1200149"/>
                <a:gd name="connsiteX80" fmla="*/ 538162 w 783431"/>
                <a:gd name="connsiteY80" fmla="*/ 90488 h 1200149"/>
                <a:gd name="connsiteX81" fmla="*/ 445294 w 783431"/>
                <a:gd name="connsiteY81" fmla="*/ 126207 h 1200149"/>
                <a:gd name="connsiteX82" fmla="*/ 397669 w 783431"/>
                <a:gd name="connsiteY82" fmla="*/ 159544 h 1200149"/>
                <a:gd name="connsiteX83" fmla="*/ 376237 w 783431"/>
                <a:gd name="connsiteY83" fmla="*/ 190500 h 1200149"/>
                <a:gd name="connsiteX84" fmla="*/ 350044 w 783431"/>
                <a:gd name="connsiteY84" fmla="*/ 140494 h 1200149"/>
                <a:gd name="connsiteX85" fmla="*/ 316706 w 783431"/>
                <a:gd name="connsiteY85" fmla="*/ 140494 h 1200149"/>
                <a:gd name="connsiteX86" fmla="*/ 304800 w 783431"/>
                <a:gd name="connsiteY86" fmla="*/ 166688 h 1200149"/>
                <a:gd name="connsiteX87" fmla="*/ 280987 w 783431"/>
                <a:gd name="connsiteY87" fmla="*/ 230982 h 1200149"/>
                <a:gd name="connsiteX88" fmla="*/ 154781 w 783431"/>
                <a:gd name="connsiteY88" fmla="*/ 223838 h 1200149"/>
                <a:gd name="connsiteX89" fmla="*/ 140494 w 783431"/>
                <a:gd name="connsiteY89" fmla="*/ 245269 h 1200149"/>
                <a:gd name="connsiteX90" fmla="*/ 138112 w 783431"/>
                <a:gd name="connsiteY90" fmla="*/ 280988 h 1200149"/>
                <a:gd name="connsiteX91" fmla="*/ 66675 w 783431"/>
                <a:gd name="connsiteY91" fmla="*/ 309563 h 1200149"/>
                <a:gd name="connsiteX92" fmla="*/ 54769 w 783431"/>
                <a:gd name="connsiteY92" fmla="*/ 323850 h 1200149"/>
                <a:gd name="connsiteX93" fmla="*/ 66675 w 783431"/>
                <a:gd name="connsiteY93" fmla="*/ 381000 h 1200149"/>
                <a:gd name="connsiteX94" fmla="*/ 19050 w 783431"/>
                <a:gd name="connsiteY94" fmla="*/ 423863 h 1200149"/>
                <a:gd name="connsiteX95" fmla="*/ 26194 w 783431"/>
                <a:gd name="connsiteY95" fmla="*/ 490538 h 1200149"/>
                <a:gd name="connsiteX96" fmla="*/ 33337 w 783431"/>
                <a:gd name="connsiteY96" fmla="*/ 554832 h 1200149"/>
                <a:gd name="connsiteX97" fmla="*/ 0 w 783431"/>
                <a:gd name="connsiteY97" fmla="*/ 614363 h 1200149"/>
                <a:gd name="connsiteX0" fmla="*/ 0 w 783431"/>
                <a:gd name="connsiteY0" fmla="*/ 614363 h 1200149"/>
                <a:gd name="connsiteX1" fmla="*/ 21431 w 783431"/>
                <a:gd name="connsiteY1" fmla="*/ 661988 h 1200149"/>
                <a:gd name="connsiteX2" fmla="*/ 28575 w 783431"/>
                <a:gd name="connsiteY2" fmla="*/ 742950 h 1200149"/>
                <a:gd name="connsiteX3" fmla="*/ 76200 w 783431"/>
                <a:gd name="connsiteY3" fmla="*/ 814388 h 1200149"/>
                <a:gd name="connsiteX4" fmla="*/ 102394 w 783431"/>
                <a:gd name="connsiteY4" fmla="*/ 919163 h 1200149"/>
                <a:gd name="connsiteX5" fmla="*/ 116681 w 783431"/>
                <a:gd name="connsiteY5" fmla="*/ 947738 h 1200149"/>
                <a:gd name="connsiteX6" fmla="*/ 130969 w 783431"/>
                <a:gd name="connsiteY6" fmla="*/ 995363 h 1200149"/>
                <a:gd name="connsiteX7" fmla="*/ 150019 w 783431"/>
                <a:gd name="connsiteY7" fmla="*/ 1023938 h 1200149"/>
                <a:gd name="connsiteX8" fmla="*/ 159544 w 783431"/>
                <a:gd name="connsiteY8" fmla="*/ 1042988 h 1200149"/>
                <a:gd name="connsiteX9" fmla="*/ 197644 w 783431"/>
                <a:gd name="connsiteY9" fmla="*/ 1069182 h 1200149"/>
                <a:gd name="connsiteX10" fmla="*/ 245269 w 783431"/>
                <a:gd name="connsiteY10" fmla="*/ 1090613 h 1200149"/>
                <a:gd name="connsiteX11" fmla="*/ 264318 w 783431"/>
                <a:gd name="connsiteY11" fmla="*/ 1131094 h 1200149"/>
                <a:gd name="connsiteX12" fmla="*/ 295275 w 783431"/>
                <a:gd name="connsiteY12" fmla="*/ 1164431 h 1200149"/>
                <a:gd name="connsiteX13" fmla="*/ 385762 w 783431"/>
                <a:gd name="connsiteY13" fmla="*/ 1200149 h 1200149"/>
                <a:gd name="connsiteX14" fmla="*/ 557212 w 783431"/>
                <a:gd name="connsiteY14" fmla="*/ 1109662 h 1200149"/>
                <a:gd name="connsiteX15" fmla="*/ 604837 w 783431"/>
                <a:gd name="connsiteY15" fmla="*/ 1085850 h 1200149"/>
                <a:gd name="connsiteX16" fmla="*/ 585787 w 783431"/>
                <a:gd name="connsiteY16" fmla="*/ 1035844 h 1200149"/>
                <a:gd name="connsiteX17" fmla="*/ 607219 w 783431"/>
                <a:gd name="connsiteY17" fmla="*/ 1021557 h 1200149"/>
                <a:gd name="connsiteX18" fmla="*/ 645319 w 783431"/>
                <a:gd name="connsiteY18" fmla="*/ 1016794 h 1200149"/>
                <a:gd name="connsiteX19" fmla="*/ 685800 w 783431"/>
                <a:gd name="connsiteY19" fmla="*/ 997744 h 1200149"/>
                <a:gd name="connsiteX20" fmla="*/ 716756 w 783431"/>
                <a:gd name="connsiteY20" fmla="*/ 1002507 h 1200149"/>
                <a:gd name="connsiteX21" fmla="*/ 738187 w 783431"/>
                <a:gd name="connsiteY21" fmla="*/ 969169 h 1200149"/>
                <a:gd name="connsiteX22" fmla="*/ 783431 w 783431"/>
                <a:gd name="connsiteY22" fmla="*/ 933450 h 1200149"/>
                <a:gd name="connsiteX23" fmla="*/ 776287 w 783431"/>
                <a:gd name="connsiteY23" fmla="*/ 907257 h 1200149"/>
                <a:gd name="connsiteX24" fmla="*/ 752475 w 783431"/>
                <a:gd name="connsiteY24" fmla="*/ 888207 h 1200149"/>
                <a:gd name="connsiteX25" fmla="*/ 752475 w 783431"/>
                <a:gd name="connsiteY25" fmla="*/ 864394 h 1200149"/>
                <a:gd name="connsiteX26" fmla="*/ 728662 w 783431"/>
                <a:gd name="connsiteY26" fmla="*/ 852488 h 1200149"/>
                <a:gd name="connsiteX27" fmla="*/ 711994 w 783431"/>
                <a:gd name="connsiteY27" fmla="*/ 802482 h 1200149"/>
                <a:gd name="connsiteX28" fmla="*/ 688181 w 783431"/>
                <a:gd name="connsiteY28" fmla="*/ 814388 h 1200149"/>
                <a:gd name="connsiteX29" fmla="*/ 659606 w 783431"/>
                <a:gd name="connsiteY29" fmla="*/ 814388 h 1200149"/>
                <a:gd name="connsiteX30" fmla="*/ 647700 w 783431"/>
                <a:gd name="connsiteY30" fmla="*/ 847725 h 1200149"/>
                <a:gd name="connsiteX31" fmla="*/ 623887 w 783431"/>
                <a:gd name="connsiteY31" fmla="*/ 847725 h 1200149"/>
                <a:gd name="connsiteX32" fmla="*/ 576262 w 783431"/>
                <a:gd name="connsiteY32" fmla="*/ 828675 h 1200149"/>
                <a:gd name="connsiteX33" fmla="*/ 554831 w 783431"/>
                <a:gd name="connsiteY33" fmla="*/ 816769 h 1200149"/>
                <a:gd name="connsiteX34" fmla="*/ 547687 w 783431"/>
                <a:gd name="connsiteY34" fmla="*/ 783432 h 1200149"/>
                <a:gd name="connsiteX35" fmla="*/ 561975 w 783431"/>
                <a:gd name="connsiteY35" fmla="*/ 754857 h 1200149"/>
                <a:gd name="connsiteX36" fmla="*/ 533400 w 783431"/>
                <a:gd name="connsiteY36" fmla="*/ 733425 h 1200149"/>
                <a:gd name="connsiteX37" fmla="*/ 509587 w 783431"/>
                <a:gd name="connsiteY37" fmla="*/ 711994 h 1200149"/>
                <a:gd name="connsiteX38" fmla="*/ 473869 w 783431"/>
                <a:gd name="connsiteY38" fmla="*/ 711994 h 1200149"/>
                <a:gd name="connsiteX39" fmla="*/ 435769 w 783431"/>
                <a:gd name="connsiteY39" fmla="*/ 711994 h 1200149"/>
                <a:gd name="connsiteX40" fmla="*/ 438150 w 783431"/>
                <a:gd name="connsiteY40" fmla="*/ 669132 h 1200149"/>
                <a:gd name="connsiteX41" fmla="*/ 428625 w 783431"/>
                <a:gd name="connsiteY41" fmla="*/ 642938 h 1200149"/>
                <a:gd name="connsiteX42" fmla="*/ 423862 w 783431"/>
                <a:gd name="connsiteY42" fmla="*/ 607219 h 1200149"/>
                <a:gd name="connsiteX43" fmla="*/ 426244 w 783431"/>
                <a:gd name="connsiteY43" fmla="*/ 578644 h 1200149"/>
                <a:gd name="connsiteX44" fmla="*/ 440531 w 783431"/>
                <a:gd name="connsiteY44" fmla="*/ 566738 h 1200149"/>
                <a:gd name="connsiteX45" fmla="*/ 450056 w 783431"/>
                <a:gd name="connsiteY45" fmla="*/ 535782 h 1200149"/>
                <a:gd name="connsiteX46" fmla="*/ 457200 w 783431"/>
                <a:gd name="connsiteY46" fmla="*/ 519113 h 1200149"/>
                <a:gd name="connsiteX47" fmla="*/ 481012 w 783431"/>
                <a:gd name="connsiteY47" fmla="*/ 526257 h 1200149"/>
                <a:gd name="connsiteX48" fmla="*/ 495300 w 783431"/>
                <a:gd name="connsiteY48" fmla="*/ 576263 h 1200149"/>
                <a:gd name="connsiteX49" fmla="*/ 507206 w 783431"/>
                <a:gd name="connsiteY49" fmla="*/ 581025 h 1200149"/>
                <a:gd name="connsiteX50" fmla="*/ 526256 w 783431"/>
                <a:gd name="connsiteY50" fmla="*/ 583407 h 1200149"/>
                <a:gd name="connsiteX51" fmla="*/ 554831 w 783431"/>
                <a:gd name="connsiteY51" fmla="*/ 583407 h 1200149"/>
                <a:gd name="connsiteX52" fmla="*/ 557212 w 783431"/>
                <a:gd name="connsiteY52" fmla="*/ 547688 h 1200149"/>
                <a:gd name="connsiteX53" fmla="*/ 545306 w 783431"/>
                <a:gd name="connsiteY53" fmla="*/ 502444 h 1200149"/>
                <a:gd name="connsiteX54" fmla="*/ 545306 w 783431"/>
                <a:gd name="connsiteY54" fmla="*/ 476250 h 1200149"/>
                <a:gd name="connsiteX55" fmla="*/ 581025 w 783431"/>
                <a:gd name="connsiteY55" fmla="*/ 454819 h 1200149"/>
                <a:gd name="connsiteX56" fmla="*/ 604837 w 783431"/>
                <a:gd name="connsiteY56" fmla="*/ 435769 h 1200149"/>
                <a:gd name="connsiteX57" fmla="*/ 640556 w 783431"/>
                <a:gd name="connsiteY57" fmla="*/ 414338 h 1200149"/>
                <a:gd name="connsiteX58" fmla="*/ 645319 w 783431"/>
                <a:gd name="connsiteY58" fmla="*/ 395288 h 1200149"/>
                <a:gd name="connsiteX59" fmla="*/ 633412 w 783431"/>
                <a:gd name="connsiteY59" fmla="*/ 371475 h 1200149"/>
                <a:gd name="connsiteX60" fmla="*/ 614362 w 783431"/>
                <a:gd name="connsiteY60" fmla="*/ 369094 h 1200149"/>
                <a:gd name="connsiteX61" fmla="*/ 609600 w 783431"/>
                <a:gd name="connsiteY61" fmla="*/ 366713 h 1200149"/>
                <a:gd name="connsiteX62" fmla="*/ 597694 w 783431"/>
                <a:gd name="connsiteY62" fmla="*/ 357188 h 1200149"/>
                <a:gd name="connsiteX63" fmla="*/ 611981 w 783431"/>
                <a:gd name="connsiteY63" fmla="*/ 345282 h 1200149"/>
                <a:gd name="connsiteX64" fmla="*/ 652462 w 783431"/>
                <a:gd name="connsiteY64" fmla="*/ 316707 h 1200149"/>
                <a:gd name="connsiteX65" fmla="*/ 678656 w 783431"/>
                <a:gd name="connsiteY65" fmla="*/ 264319 h 1200149"/>
                <a:gd name="connsiteX66" fmla="*/ 666750 w 783431"/>
                <a:gd name="connsiteY66" fmla="*/ 242888 h 1200149"/>
                <a:gd name="connsiteX67" fmla="*/ 638175 w 783431"/>
                <a:gd name="connsiteY67" fmla="*/ 219075 h 1200149"/>
                <a:gd name="connsiteX68" fmla="*/ 642937 w 783431"/>
                <a:gd name="connsiteY68" fmla="*/ 180975 h 1200149"/>
                <a:gd name="connsiteX69" fmla="*/ 673894 w 783431"/>
                <a:gd name="connsiteY69" fmla="*/ 171450 h 1200149"/>
                <a:gd name="connsiteX70" fmla="*/ 700087 w 783431"/>
                <a:gd name="connsiteY70" fmla="*/ 142875 h 1200149"/>
                <a:gd name="connsiteX71" fmla="*/ 700087 w 783431"/>
                <a:gd name="connsiteY71" fmla="*/ 111919 h 1200149"/>
                <a:gd name="connsiteX72" fmla="*/ 666750 w 783431"/>
                <a:gd name="connsiteY72" fmla="*/ 107157 h 1200149"/>
                <a:gd name="connsiteX73" fmla="*/ 645319 w 783431"/>
                <a:gd name="connsiteY73" fmla="*/ 102394 h 1200149"/>
                <a:gd name="connsiteX74" fmla="*/ 645319 w 783431"/>
                <a:gd name="connsiteY74" fmla="*/ 102394 h 1200149"/>
                <a:gd name="connsiteX75" fmla="*/ 678656 w 783431"/>
                <a:gd name="connsiteY75" fmla="*/ 69057 h 1200149"/>
                <a:gd name="connsiteX76" fmla="*/ 685800 w 783431"/>
                <a:gd name="connsiteY76" fmla="*/ 40482 h 1200149"/>
                <a:gd name="connsiteX77" fmla="*/ 678656 w 783431"/>
                <a:gd name="connsiteY77" fmla="*/ 21432 h 1200149"/>
                <a:gd name="connsiteX78" fmla="*/ 695325 w 783431"/>
                <a:gd name="connsiteY78" fmla="*/ 2382 h 1200149"/>
                <a:gd name="connsiteX79" fmla="*/ 628650 w 783431"/>
                <a:gd name="connsiteY79" fmla="*/ 0 h 1200149"/>
                <a:gd name="connsiteX80" fmla="*/ 552450 w 783431"/>
                <a:gd name="connsiteY80" fmla="*/ 52388 h 1200149"/>
                <a:gd name="connsiteX81" fmla="*/ 538162 w 783431"/>
                <a:gd name="connsiteY81" fmla="*/ 90488 h 1200149"/>
                <a:gd name="connsiteX82" fmla="*/ 445294 w 783431"/>
                <a:gd name="connsiteY82" fmla="*/ 126207 h 1200149"/>
                <a:gd name="connsiteX83" fmla="*/ 397669 w 783431"/>
                <a:gd name="connsiteY83" fmla="*/ 159544 h 1200149"/>
                <a:gd name="connsiteX84" fmla="*/ 376237 w 783431"/>
                <a:gd name="connsiteY84" fmla="*/ 190500 h 1200149"/>
                <a:gd name="connsiteX85" fmla="*/ 350044 w 783431"/>
                <a:gd name="connsiteY85" fmla="*/ 140494 h 1200149"/>
                <a:gd name="connsiteX86" fmla="*/ 316706 w 783431"/>
                <a:gd name="connsiteY86" fmla="*/ 140494 h 1200149"/>
                <a:gd name="connsiteX87" fmla="*/ 304800 w 783431"/>
                <a:gd name="connsiteY87" fmla="*/ 166688 h 1200149"/>
                <a:gd name="connsiteX88" fmla="*/ 280987 w 783431"/>
                <a:gd name="connsiteY88" fmla="*/ 230982 h 1200149"/>
                <a:gd name="connsiteX89" fmla="*/ 154781 w 783431"/>
                <a:gd name="connsiteY89" fmla="*/ 223838 h 1200149"/>
                <a:gd name="connsiteX90" fmla="*/ 140494 w 783431"/>
                <a:gd name="connsiteY90" fmla="*/ 245269 h 1200149"/>
                <a:gd name="connsiteX91" fmla="*/ 138112 w 783431"/>
                <a:gd name="connsiteY91" fmla="*/ 280988 h 1200149"/>
                <a:gd name="connsiteX92" fmla="*/ 66675 w 783431"/>
                <a:gd name="connsiteY92" fmla="*/ 309563 h 1200149"/>
                <a:gd name="connsiteX93" fmla="*/ 54769 w 783431"/>
                <a:gd name="connsiteY93" fmla="*/ 323850 h 1200149"/>
                <a:gd name="connsiteX94" fmla="*/ 66675 w 783431"/>
                <a:gd name="connsiteY94" fmla="*/ 381000 h 1200149"/>
                <a:gd name="connsiteX95" fmla="*/ 19050 w 783431"/>
                <a:gd name="connsiteY95" fmla="*/ 423863 h 1200149"/>
                <a:gd name="connsiteX96" fmla="*/ 26194 w 783431"/>
                <a:gd name="connsiteY96" fmla="*/ 490538 h 1200149"/>
                <a:gd name="connsiteX97" fmla="*/ 33337 w 783431"/>
                <a:gd name="connsiteY97" fmla="*/ 554832 h 1200149"/>
                <a:gd name="connsiteX98" fmla="*/ 0 w 783431"/>
                <a:gd name="connsiteY98" fmla="*/ 614363 h 1200149"/>
                <a:gd name="connsiteX0" fmla="*/ 0 w 783431"/>
                <a:gd name="connsiteY0" fmla="*/ 614363 h 1200149"/>
                <a:gd name="connsiteX1" fmla="*/ 21431 w 783431"/>
                <a:gd name="connsiteY1" fmla="*/ 661988 h 1200149"/>
                <a:gd name="connsiteX2" fmla="*/ 28575 w 783431"/>
                <a:gd name="connsiteY2" fmla="*/ 742950 h 1200149"/>
                <a:gd name="connsiteX3" fmla="*/ 76200 w 783431"/>
                <a:gd name="connsiteY3" fmla="*/ 814388 h 1200149"/>
                <a:gd name="connsiteX4" fmla="*/ 102394 w 783431"/>
                <a:gd name="connsiteY4" fmla="*/ 919163 h 1200149"/>
                <a:gd name="connsiteX5" fmla="*/ 116681 w 783431"/>
                <a:gd name="connsiteY5" fmla="*/ 947738 h 1200149"/>
                <a:gd name="connsiteX6" fmla="*/ 130969 w 783431"/>
                <a:gd name="connsiteY6" fmla="*/ 995363 h 1200149"/>
                <a:gd name="connsiteX7" fmla="*/ 150019 w 783431"/>
                <a:gd name="connsiteY7" fmla="*/ 1023938 h 1200149"/>
                <a:gd name="connsiteX8" fmla="*/ 159544 w 783431"/>
                <a:gd name="connsiteY8" fmla="*/ 1042988 h 1200149"/>
                <a:gd name="connsiteX9" fmla="*/ 197644 w 783431"/>
                <a:gd name="connsiteY9" fmla="*/ 1069182 h 1200149"/>
                <a:gd name="connsiteX10" fmla="*/ 245269 w 783431"/>
                <a:gd name="connsiteY10" fmla="*/ 1090613 h 1200149"/>
                <a:gd name="connsiteX11" fmla="*/ 264318 w 783431"/>
                <a:gd name="connsiteY11" fmla="*/ 1131094 h 1200149"/>
                <a:gd name="connsiteX12" fmla="*/ 295275 w 783431"/>
                <a:gd name="connsiteY12" fmla="*/ 1164431 h 1200149"/>
                <a:gd name="connsiteX13" fmla="*/ 385762 w 783431"/>
                <a:gd name="connsiteY13" fmla="*/ 1200149 h 1200149"/>
                <a:gd name="connsiteX14" fmla="*/ 592931 w 783431"/>
                <a:gd name="connsiteY14" fmla="*/ 1126331 h 1200149"/>
                <a:gd name="connsiteX15" fmla="*/ 604837 w 783431"/>
                <a:gd name="connsiteY15" fmla="*/ 1085850 h 1200149"/>
                <a:gd name="connsiteX16" fmla="*/ 585787 w 783431"/>
                <a:gd name="connsiteY16" fmla="*/ 1035844 h 1200149"/>
                <a:gd name="connsiteX17" fmla="*/ 607219 w 783431"/>
                <a:gd name="connsiteY17" fmla="*/ 1021557 h 1200149"/>
                <a:gd name="connsiteX18" fmla="*/ 645319 w 783431"/>
                <a:gd name="connsiteY18" fmla="*/ 1016794 h 1200149"/>
                <a:gd name="connsiteX19" fmla="*/ 685800 w 783431"/>
                <a:gd name="connsiteY19" fmla="*/ 997744 h 1200149"/>
                <a:gd name="connsiteX20" fmla="*/ 716756 w 783431"/>
                <a:gd name="connsiteY20" fmla="*/ 1002507 h 1200149"/>
                <a:gd name="connsiteX21" fmla="*/ 738187 w 783431"/>
                <a:gd name="connsiteY21" fmla="*/ 969169 h 1200149"/>
                <a:gd name="connsiteX22" fmla="*/ 783431 w 783431"/>
                <a:gd name="connsiteY22" fmla="*/ 933450 h 1200149"/>
                <a:gd name="connsiteX23" fmla="*/ 776287 w 783431"/>
                <a:gd name="connsiteY23" fmla="*/ 907257 h 1200149"/>
                <a:gd name="connsiteX24" fmla="*/ 752475 w 783431"/>
                <a:gd name="connsiteY24" fmla="*/ 888207 h 1200149"/>
                <a:gd name="connsiteX25" fmla="*/ 752475 w 783431"/>
                <a:gd name="connsiteY25" fmla="*/ 864394 h 1200149"/>
                <a:gd name="connsiteX26" fmla="*/ 728662 w 783431"/>
                <a:gd name="connsiteY26" fmla="*/ 852488 h 1200149"/>
                <a:gd name="connsiteX27" fmla="*/ 711994 w 783431"/>
                <a:gd name="connsiteY27" fmla="*/ 802482 h 1200149"/>
                <a:gd name="connsiteX28" fmla="*/ 688181 w 783431"/>
                <a:gd name="connsiteY28" fmla="*/ 814388 h 1200149"/>
                <a:gd name="connsiteX29" fmla="*/ 659606 w 783431"/>
                <a:gd name="connsiteY29" fmla="*/ 814388 h 1200149"/>
                <a:gd name="connsiteX30" fmla="*/ 647700 w 783431"/>
                <a:gd name="connsiteY30" fmla="*/ 847725 h 1200149"/>
                <a:gd name="connsiteX31" fmla="*/ 623887 w 783431"/>
                <a:gd name="connsiteY31" fmla="*/ 847725 h 1200149"/>
                <a:gd name="connsiteX32" fmla="*/ 576262 w 783431"/>
                <a:gd name="connsiteY32" fmla="*/ 828675 h 1200149"/>
                <a:gd name="connsiteX33" fmla="*/ 554831 w 783431"/>
                <a:gd name="connsiteY33" fmla="*/ 816769 h 1200149"/>
                <a:gd name="connsiteX34" fmla="*/ 547687 w 783431"/>
                <a:gd name="connsiteY34" fmla="*/ 783432 h 1200149"/>
                <a:gd name="connsiteX35" fmla="*/ 561975 w 783431"/>
                <a:gd name="connsiteY35" fmla="*/ 754857 h 1200149"/>
                <a:gd name="connsiteX36" fmla="*/ 533400 w 783431"/>
                <a:gd name="connsiteY36" fmla="*/ 733425 h 1200149"/>
                <a:gd name="connsiteX37" fmla="*/ 509587 w 783431"/>
                <a:gd name="connsiteY37" fmla="*/ 711994 h 1200149"/>
                <a:gd name="connsiteX38" fmla="*/ 473869 w 783431"/>
                <a:gd name="connsiteY38" fmla="*/ 711994 h 1200149"/>
                <a:gd name="connsiteX39" fmla="*/ 435769 w 783431"/>
                <a:gd name="connsiteY39" fmla="*/ 711994 h 1200149"/>
                <a:gd name="connsiteX40" fmla="*/ 438150 w 783431"/>
                <a:gd name="connsiteY40" fmla="*/ 669132 h 1200149"/>
                <a:gd name="connsiteX41" fmla="*/ 428625 w 783431"/>
                <a:gd name="connsiteY41" fmla="*/ 642938 h 1200149"/>
                <a:gd name="connsiteX42" fmla="*/ 423862 w 783431"/>
                <a:gd name="connsiteY42" fmla="*/ 607219 h 1200149"/>
                <a:gd name="connsiteX43" fmla="*/ 426244 w 783431"/>
                <a:gd name="connsiteY43" fmla="*/ 578644 h 1200149"/>
                <a:gd name="connsiteX44" fmla="*/ 440531 w 783431"/>
                <a:gd name="connsiteY44" fmla="*/ 566738 h 1200149"/>
                <a:gd name="connsiteX45" fmla="*/ 450056 w 783431"/>
                <a:gd name="connsiteY45" fmla="*/ 535782 h 1200149"/>
                <a:gd name="connsiteX46" fmla="*/ 457200 w 783431"/>
                <a:gd name="connsiteY46" fmla="*/ 519113 h 1200149"/>
                <a:gd name="connsiteX47" fmla="*/ 481012 w 783431"/>
                <a:gd name="connsiteY47" fmla="*/ 526257 h 1200149"/>
                <a:gd name="connsiteX48" fmla="*/ 495300 w 783431"/>
                <a:gd name="connsiteY48" fmla="*/ 576263 h 1200149"/>
                <a:gd name="connsiteX49" fmla="*/ 507206 w 783431"/>
                <a:gd name="connsiteY49" fmla="*/ 581025 h 1200149"/>
                <a:gd name="connsiteX50" fmla="*/ 526256 w 783431"/>
                <a:gd name="connsiteY50" fmla="*/ 583407 h 1200149"/>
                <a:gd name="connsiteX51" fmla="*/ 554831 w 783431"/>
                <a:gd name="connsiteY51" fmla="*/ 583407 h 1200149"/>
                <a:gd name="connsiteX52" fmla="*/ 557212 w 783431"/>
                <a:gd name="connsiteY52" fmla="*/ 547688 h 1200149"/>
                <a:gd name="connsiteX53" fmla="*/ 545306 w 783431"/>
                <a:gd name="connsiteY53" fmla="*/ 502444 h 1200149"/>
                <a:gd name="connsiteX54" fmla="*/ 545306 w 783431"/>
                <a:gd name="connsiteY54" fmla="*/ 476250 h 1200149"/>
                <a:gd name="connsiteX55" fmla="*/ 581025 w 783431"/>
                <a:gd name="connsiteY55" fmla="*/ 454819 h 1200149"/>
                <a:gd name="connsiteX56" fmla="*/ 604837 w 783431"/>
                <a:gd name="connsiteY56" fmla="*/ 435769 h 1200149"/>
                <a:gd name="connsiteX57" fmla="*/ 640556 w 783431"/>
                <a:gd name="connsiteY57" fmla="*/ 414338 h 1200149"/>
                <a:gd name="connsiteX58" fmla="*/ 645319 w 783431"/>
                <a:gd name="connsiteY58" fmla="*/ 395288 h 1200149"/>
                <a:gd name="connsiteX59" fmla="*/ 633412 w 783431"/>
                <a:gd name="connsiteY59" fmla="*/ 371475 h 1200149"/>
                <a:gd name="connsiteX60" fmla="*/ 614362 w 783431"/>
                <a:gd name="connsiteY60" fmla="*/ 369094 h 1200149"/>
                <a:gd name="connsiteX61" fmla="*/ 609600 w 783431"/>
                <a:gd name="connsiteY61" fmla="*/ 366713 h 1200149"/>
                <a:gd name="connsiteX62" fmla="*/ 597694 w 783431"/>
                <a:gd name="connsiteY62" fmla="*/ 357188 h 1200149"/>
                <a:gd name="connsiteX63" fmla="*/ 611981 w 783431"/>
                <a:gd name="connsiteY63" fmla="*/ 345282 h 1200149"/>
                <a:gd name="connsiteX64" fmla="*/ 652462 w 783431"/>
                <a:gd name="connsiteY64" fmla="*/ 316707 h 1200149"/>
                <a:gd name="connsiteX65" fmla="*/ 678656 w 783431"/>
                <a:gd name="connsiteY65" fmla="*/ 264319 h 1200149"/>
                <a:gd name="connsiteX66" fmla="*/ 666750 w 783431"/>
                <a:gd name="connsiteY66" fmla="*/ 242888 h 1200149"/>
                <a:gd name="connsiteX67" fmla="*/ 638175 w 783431"/>
                <a:gd name="connsiteY67" fmla="*/ 219075 h 1200149"/>
                <a:gd name="connsiteX68" fmla="*/ 642937 w 783431"/>
                <a:gd name="connsiteY68" fmla="*/ 180975 h 1200149"/>
                <a:gd name="connsiteX69" fmla="*/ 673894 w 783431"/>
                <a:gd name="connsiteY69" fmla="*/ 171450 h 1200149"/>
                <a:gd name="connsiteX70" fmla="*/ 700087 w 783431"/>
                <a:gd name="connsiteY70" fmla="*/ 142875 h 1200149"/>
                <a:gd name="connsiteX71" fmla="*/ 700087 w 783431"/>
                <a:gd name="connsiteY71" fmla="*/ 111919 h 1200149"/>
                <a:gd name="connsiteX72" fmla="*/ 666750 w 783431"/>
                <a:gd name="connsiteY72" fmla="*/ 107157 h 1200149"/>
                <a:gd name="connsiteX73" fmla="*/ 645319 w 783431"/>
                <a:gd name="connsiteY73" fmla="*/ 102394 h 1200149"/>
                <a:gd name="connsiteX74" fmla="*/ 645319 w 783431"/>
                <a:gd name="connsiteY74" fmla="*/ 102394 h 1200149"/>
                <a:gd name="connsiteX75" fmla="*/ 678656 w 783431"/>
                <a:gd name="connsiteY75" fmla="*/ 69057 h 1200149"/>
                <a:gd name="connsiteX76" fmla="*/ 685800 w 783431"/>
                <a:gd name="connsiteY76" fmla="*/ 40482 h 1200149"/>
                <a:gd name="connsiteX77" fmla="*/ 678656 w 783431"/>
                <a:gd name="connsiteY77" fmla="*/ 21432 h 1200149"/>
                <a:gd name="connsiteX78" fmla="*/ 695325 w 783431"/>
                <a:gd name="connsiteY78" fmla="*/ 2382 h 1200149"/>
                <a:gd name="connsiteX79" fmla="*/ 628650 w 783431"/>
                <a:gd name="connsiteY79" fmla="*/ 0 h 1200149"/>
                <a:gd name="connsiteX80" fmla="*/ 552450 w 783431"/>
                <a:gd name="connsiteY80" fmla="*/ 52388 h 1200149"/>
                <a:gd name="connsiteX81" fmla="*/ 538162 w 783431"/>
                <a:gd name="connsiteY81" fmla="*/ 90488 h 1200149"/>
                <a:gd name="connsiteX82" fmla="*/ 445294 w 783431"/>
                <a:gd name="connsiteY82" fmla="*/ 126207 h 1200149"/>
                <a:gd name="connsiteX83" fmla="*/ 397669 w 783431"/>
                <a:gd name="connsiteY83" fmla="*/ 159544 h 1200149"/>
                <a:gd name="connsiteX84" fmla="*/ 376237 w 783431"/>
                <a:gd name="connsiteY84" fmla="*/ 190500 h 1200149"/>
                <a:gd name="connsiteX85" fmla="*/ 350044 w 783431"/>
                <a:gd name="connsiteY85" fmla="*/ 140494 h 1200149"/>
                <a:gd name="connsiteX86" fmla="*/ 316706 w 783431"/>
                <a:gd name="connsiteY86" fmla="*/ 140494 h 1200149"/>
                <a:gd name="connsiteX87" fmla="*/ 304800 w 783431"/>
                <a:gd name="connsiteY87" fmla="*/ 166688 h 1200149"/>
                <a:gd name="connsiteX88" fmla="*/ 280987 w 783431"/>
                <a:gd name="connsiteY88" fmla="*/ 230982 h 1200149"/>
                <a:gd name="connsiteX89" fmla="*/ 154781 w 783431"/>
                <a:gd name="connsiteY89" fmla="*/ 223838 h 1200149"/>
                <a:gd name="connsiteX90" fmla="*/ 140494 w 783431"/>
                <a:gd name="connsiteY90" fmla="*/ 245269 h 1200149"/>
                <a:gd name="connsiteX91" fmla="*/ 138112 w 783431"/>
                <a:gd name="connsiteY91" fmla="*/ 280988 h 1200149"/>
                <a:gd name="connsiteX92" fmla="*/ 66675 w 783431"/>
                <a:gd name="connsiteY92" fmla="*/ 309563 h 1200149"/>
                <a:gd name="connsiteX93" fmla="*/ 54769 w 783431"/>
                <a:gd name="connsiteY93" fmla="*/ 323850 h 1200149"/>
                <a:gd name="connsiteX94" fmla="*/ 66675 w 783431"/>
                <a:gd name="connsiteY94" fmla="*/ 381000 h 1200149"/>
                <a:gd name="connsiteX95" fmla="*/ 19050 w 783431"/>
                <a:gd name="connsiteY95" fmla="*/ 423863 h 1200149"/>
                <a:gd name="connsiteX96" fmla="*/ 26194 w 783431"/>
                <a:gd name="connsiteY96" fmla="*/ 490538 h 1200149"/>
                <a:gd name="connsiteX97" fmla="*/ 33337 w 783431"/>
                <a:gd name="connsiteY97" fmla="*/ 554832 h 1200149"/>
                <a:gd name="connsiteX98" fmla="*/ 0 w 783431"/>
                <a:gd name="connsiteY98" fmla="*/ 614363 h 1200149"/>
                <a:gd name="connsiteX0" fmla="*/ 0 w 783431"/>
                <a:gd name="connsiteY0" fmla="*/ 614363 h 1200149"/>
                <a:gd name="connsiteX1" fmla="*/ 21431 w 783431"/>
                <a:gd name="connsiteY1" fmla="*/ 661988 h 1200149"/>
                <a:gd name="connsiteX2" fmla="*/ 28575 w 783431"/>
                <a:gd name="connsiteY2" fmla="*/ 742950 h 1200149"/>
                <a:gd name="connsiteX3" fmla="*/ 76200 w 783431"/>
                <a:gd name="connsiteY3" fmla="*/ 814388 h 1200149"/>
                <a:gd name="connsiteX4" fmla="*/ 102394 w 783431"/>
                <a:gd name="connsiteY4" fmla="*/ 919163 h 1200149"/>
                <a:gd name="connsiteX5" fmla="*/ 116681 w 783431"/>
                <a:gd name="connsiteY5" fmla="*/ 947738 h 1200149"/>
                <a:gd name="connsiteX6" fmla="*/ 130969 w 783431"/>
                <a:gd name="connsiteY6" fmla="*/ 995363 h 1200149"/>
                <a:gd name="connsiteX7" fmla="*/ 150019 w 783431"/>
                <a:gd name="connsiteY7" fmla="*/ 1023938 h 1200149"/>
                <a:gd name="connsiteX8" fmla="*/ 159544 w 783431"/>
                <a:gd name="connsiteY8" fmla="*/ 1042988 h 1200149"/>
                <a:gd name="connsiteX9" fmla="*/ 197644 w 783431"/>
                <a:gd name="connsiteY9" fmla="*/ 1069182 h 1200149"/>
                <a:gd name="connsiteX10" fmla="*/ 245269 w 783431"/>
                <a:gd name="connsiteY10" fmla="*/ 1090613 h 1200149"/>
                <a:gd name="connsiteX11" fmla="*/ 264318 w 783431"/>
                <a:gd name="connsiteY11" fmla="*/ 1131094 h 1200149"/>
                <a:gd name="connsiteX12" fmla="*/ 295275 w 783431"/>
                <a:gd name="connsiteY12" fmla="*/ 1164431 h 1200149"/>
                <a:gd name="connsiteX13" fmla="*/ 385762 w 783431"/>
                <a:gd name="connsiteY13" fmla="*/ 1200149 h 1200149"/>
                <a:gd name="connsiteX14" fmla="*/ 545306 w 783431"/>
                <a:gd name="connsiteY14" fmla="*/ 1145381 h 1200149"/>
                <a:gd name="connsiteX15" fmla="*/ 592931 w 783431"/>
                <a:gd name="connsiteY15" fmla="*/ 1126331 h 1200149"/>
                <a:gd name="connsiteX16" fmla="*/ 604837 w 783431"/>
                <a:gd name="connsiteY16" fmla="*/ 1085850 h 1200149"/>
                <a:gd name="connsiteX17" fmla="*/ 585787 w 783431"/>
                <a:gd name="connsiteY17" fmla="*/ 1035844 h 1200149"/>
                <a:gd name="connsiteX18" fmla="*/ 607219 w 783431"/>
                <a:gd name="connsiteY18" fmla="*/ 1021557 h 1200149"/>
                <a:gd name="connsiteX19" fmla="*/ 645319 w 783431"/>
                <a:gd name="connsiteY19" fmla="*/ 1016794 h 1200149"/>
                <a:gd name="connsiteX20" fmla="*/ 685800 w 783431"/>
                <a:gd name="connsiteY20" fmla="*/ 997744 h 1200149"/>
                <a:gd name="connsiteX21" fmla="*/ 716756 w 783431"/>
                <a:gd name="connsiteY21" fmla="*/ 1002507 h 1200149"/>
                <a:gd name="connsiteX22" fmla="*/ 738187 w 783431"/>
                <a:gd name="connsiteY22" fmla="*/ 969169 h 1200149"/>
                <a:gd name="connsiteX23" fmla="*/ 783431 w 783431"/>
                <a:gd name="connsiteY23" fmla="*/ 933450 h 1200149"/>
                <a:gd name="connsiteX24" fmla="*/ 776287 w 783431"/>
                <a:gd name="connsiteY24" fmla="*/ 907257 h 1200149"/>
                <a:gd name="connsiteX25" fmla="*/ 752475 w 783431"/>
                <a:gd name="connsiteY25" fmla="*/ 888207 h 1200149"/>
                <a:gd name="connsiteX26" fmla="*/ 752475 w 783431"/>
                <a:gd name="connsiteY26" fmla="*/ 864394 h 1200149"/>
                <a:gd name="connsiteX27" fmla="*/ 728662 w 783431"/>
                <a:gd name="connsiteY27" fmla="*/ 852488 h 1200149"/>
                <a:gd name="connsiteX28" fmla="*/ 711994 w 783431"/>
                <a:gd name="connsiteY28" fmla="*/ 802482 h 1200149"/>
                <a:gd name="connsiteX29" fmla="*/ 688181 w 783431"/>
                <a:gd name="connsiteY29" fmla="*/ 814388 h 1200149"/>
                <a:gd name="connsiteX30" fmla="*/ 659606 w 783431"/>
                <a:gd name="connsiteY30" fmla="*/ 814388 h 1200149"/>
                <a:gd name="connsiteX31" fmla="*/ 647700 w 783431"/>
                <a:gd name="connsiteY31" fmla="*/ 847725 h 1200149"/>
                <a:gd name="connsiteX32" fmla="*/ 623887 w 783431"/>
                <a:gd name="connsiteY32" fmla="*/ 847725 h 1200149"/>
                <a:gd name="connsiteX33" fmla="*/ 576262 w 783431"/>
                <a:gd name="connsiteY33" fmla="*/ 828675 h 1200149"/>
                <a:gd name="connsiteX34" fmla="*/ 554831 w 783431"/>
                <a:gd name="connsiteY34" fmla="*/ 816769 h 1200149"/>
                <a:gd name="connsiteX35" fmla="*/ 547687 w 783431"/>
                <a:gd name="connsiteY35" fmla="*/ 783432 h 1200149"/>
                <a:gd name="connsiteX36" fmla="*/ 561975 w 783431"/>
                <a:gd name="connsiteY36" fmla="*/ 754857 h 1200149"/>
                <a:gd name="connsiteX37" fmla="*/ 533400 w 783431"/>
                <a:gd name="connsiteY37" fmla="*/ 733425 h 1200149"/>
                <a:gd name="connsiteX38" fmla="*/ 509587 w 783431"/>
                <a:gd name="connsiteY38" fmla="*/ 711994 h 1200149"/>
                <a:gd name="connsiteX39" fmla="*/ 473869 w 783431"/>
                <a:gd name="connsiteY39" fmla="*/ 711994 h 1200149"/>
                <a:gd name="connsiteX40" fmla="*/ 435769 w 783431"/>
                <a:gd name="connsiteY40" fmla="*/ 711994 h 1200149"/>
                <a:gd name="connsiteX41" fmla="*/ 438150 w 783431"/>
                <a:gd name="connsiteY41" fmla="*/ 669132 h 1200149"/>
                <a:gd name="connsiteX42" fmla="*/ 428625 w 783431"/>
                <a:gd name="connsiteY42" fmla="*/ 642938 h 1200149"/>
                <a:gd name="connsiteX43" fmla="*/ 423862 w 783431"/>
                <a:gd name="connsiteY43" fmla="*/ 607219 h 1200149"/>
                <a:gd name="connsiteX44" fmla="*/ 426244 w 783431"/>
                <a:gd name="connsiteY44" fmla="*/ 578644 h 1200149"/>
                <a:gd name="connsiteX45" fmla="*/ 440531 w 783431"/>
                <a:gd name="connsiteY45" fmla="*/ 566738 h 1200149"/>
                <a:gd name="connsiteX46" fmla="*/ 450056 w 783431"/>
                <a:gd name="connsiteY46" fmla="*/ 535782 h 1200149"/>
                <a:gd name="connsiteX47" fmla="*/ 457200 w 783431"/>
                <a:gd name="connsiteY47" fmla="*/ 519113 h 1200149"/>
                <a:gd name="connsiteX48" fmla="*/ 481012 w 783431"/>
                <a:gd name="connsiteY48" fmla="*/ 526257 h 1200149"/>
                <a:gd name="connsiteX49" fmla="*/ 495300 w 783431"/>
                <a:gd name="connsiteY49" fmla="*/ 576263 h 1200149"/>
                <a:gd name="connsiteX50" fmla="*/ 507206 w 783431"/>
                <a:gd name="connsiteY50" fmla="*/ 581025 h 1200149"/>
                <a:gd name="connsiteX51" fmla="*/ 526256 w 783431"/>
                <a:gd name="connsiteY51" fmla="*/ 583407 h 1200149"/>
                <a:gd name="connsiteX52" fmla="*/ 554831 w 783431"/>
                <a:gd name="connsiteY52" fmla="*/ 583407 h 1200149"/>
                <a:gd name="connsiteX53" fmla="*/ 557212 w 783431"/>
                <a:gd name="connsiteY53" fmla="*/ 547688 h 1200149"/>
                <a:gd name="connsiteX54" fmla="*/ 545306 w 783431"/>
                <a:gd name="connsiteY54" fmla="*/ 502444 h 1200149"/>
                <a:gd name="connsiteX55" fmla="*/ 545306 w 783431"/>
                <a:gd name="connsiteY55" fmla="*/ 476250 h 1200149"/>
                <a:gd name="connsiteX56" fmla="*/ 581025 w 783431"/>
                <a:gd name="connsiteY56" fmla="*/ 454819 h 1200149"/>
                <a:gd name="connsiteX57" fmla="*/ 604837 w 783431"/>
                <a:gd name="connsiteY57" fmla="*/ 435769 h 1200149"/>
                <a:gd name="connsiteX58" fmla="*/ 640556 w 783431"/>
                <a:gd name="connsiteY58" fmla="*/ 414338 h 1200149"/>
                <a:gd name="connsiteX59" fmla="*/ 645319 w 783431"/>
                <a:gd name="connsiteY59" fmla="*/ 395288 h 1200149"/>
                <a:gd name="connsiteX60" fmla="*/ 633412 w 783431"/>
                <a:gd name="connsiteY60" fmla="*/ 371475 h 1200149"/>
                <a:gd name="connsiteX61" fmla="*/ 614362 w 783431"/>
                <a:gd name="connsiteY61" fmla="*/ 369094 h 1200149"/>
                <a:gd name="connsiteX62" fmla="*/ 609600 w 783431"/>
                <a:gd name="connsiteY62" fmla="*/ 366713 h 1200149"/>
                <a:gd name="connsiteX63" fmla="*/ 597694 w 783431"/>
                <a:gd name="connsiteY63" fmla="*/ 357188 h 1200149"/>
                <a:gd name="connsiteX64" fmla="*/ 611981 w 783431"/>
                <a:gd name="connsiteY64" fmla="*/ 345282 h 1200149"/>
                <a:gd name="connsiteX65" fmla="*/ 652462 w 783431"/>
                <a:gd name="connsiteY65" fmla="*/ 316707 h 1200149"/>
                <a:gd name="connsiteX66" fmla="*/ 678656 w 783431"/>
                <a:gd name="connsiteY66" fmla="*/ 264319 h 1200149"/>
                <a:gd name="connsiteX67" fmla="*/ 666750 w 783431"/>
                <a:gd name="connsiteY67" fmla="*/ 242888 h 1200149"/>
                <a:gd name="connsiteX68" fmla="*/ 638175 w 783431"/>
                <a:gd name="connsiteY68" fmla="*/ 219075 h 1200149"/>
                <a:gd name="connsiteX69" fmla="*/ 642937 w 783431"/>
                <a:gd name="connsiteY69" fmla="*/ 180975 h 1200149"/>
                <a:gd name="connsiteX70" fmla="*/ 673894 w 783431"/>
                <a:gd name="connsiteY70" fmla="*/ 171450 h 1200149"/>
                <a:gd name="connsiteX71" fmla="*/ 700087 w 783431"/>
                <a:gd name="connsiteY71" fmla="*/ 142875 h 1200149"/>
                <a:gd name="connsiteX72" fmla="*/ 700087 w 783431"/>
                <a:gd name="connsiteY72" fmla="*/ 111919 h 1200149"/>
                <a:gd name="connsiteX73" fmla="*/ 666750 w 783431"/>
                <a:gd name="connsiteY73" fmla="*/ 107157 h 1200149"/>
                <a:gd name="connsiteX74" fmla="*/ 645319 w 783431"/>
                <a:gd name="connsiteY74" fmla="*/ 102394 h 1200149"/>
                <a:gd name="connsiteX75" fmla="*/ 645319 w 783431"/>
                <a:gd name="connsiteY75" fmla="*/ 102394 h 1200149"/>
                <a:gd name="connsiteX76" fmla="*/ 678656 w 783431"/>
                <a:gd name="connsiteY76" fmla="*/ 69057 h 1200149"/>
                <a:gd name="connsiteX77" fmla="*/ 685800 w 783431"/>
                <a:gd name="connsiteY77" fmla="*/ 40482 h 1200149"/>
                <a:gd name="connsiteX78" fmla="*/ 678656 w 783431"/>
                <a:gd name="connsiteY78" fmla="*/ 21432 h 1200149"/>
                <a:gd name="connsiteX79" fmla="*/ 695325 w 783431"/>
                <a:gd name="connsiteY79" fmla="*/ 2382 h 1200149"/>
                <a:gd name="connsiteX80" fmla="*/ 628650 w 783431"/>
                <a:gd name="connsiteY80" fmla="*/ 0 h 1200149"/>
                <a:gd name="connsiteX81" fmla="*/ 552450 w 783431"/>
                <a:gd name="connsiteY81" fmla="*/ 52388 h 1200149"/>
                <a:gd name="connsiteX82" fmla="*/ 538162 w 783431"/>
                <a:gd name="connsiteY82" fmla="*/ 90488 h 1200149"/>
                <a:gd name="connsiteX83" fmla="*/ 445294 w 783431"/>
                <a:gd name="connsiteY83" fmla="*/ 126207 h 1200149"/>
                <a:gd name="connsiteX84" fmla="*/ 397669 w 783431"/>
                <a:gd name="connsiteY84" fmla="*/ 159544 h 1200149"/>
                <a:gd name="connsiteX85" fmla="*/ 376237 w 783431"/>
                <a:gd name="connsiteY85" fmla="*/ 190500 h 1200149"/>
                <a:gd name="connsiteX86" fmla="*/ 350044 w 783431"/>
                <a:gd name="connsiteY86" fmla="*/ 140494 h 1200149"/>
                <a:gd name="connsiteX87" fmla="*/ 316706 w 783431"/>
                <a:gd name="connsiteY87" fmla="*/ 140494 h 1200149"/>
                <a:gd name="connsiteX88" fmla="*/ 304800 w 783431"/>
                <a:gd name="connsiteY88" fmla="*/ 166688 h 1200149"/>
                <a:gd name="connsiteX89" fmla="*/ 280987 w 783431"/>
                <a:gd name="connsiteY89" fmla="*/ 230982 h 1200149"/>
                <a:gd name="connsiteX90" fmla="*/ 154781 w 783431"/>
                <a:gd name="connsiteY90" fmla="*/ 223838 h 1200149"/>
                <a:gd name="connsiteX91" fmla="*/ 140494 w 783431"/>
                <a:gd name="connsiteY91" fmla="*/ 245269 h 1200149"/>
                <a:gd name="connsiteX92" fmla="*/ 138112 w 783431"/>
                <a:gd name="connsiteY92" fmla="*/ 280988 h 1200149"/>
                <a:gd name="connsiteX93" fmla="*/ 66675 w 783431"/>
                <a:gd name="connsiteY93" fmla="*/ 309563 h 1200149"/>
                <a:gd name="connsiteX94" fmla="*/ 54769 w 783431"/>
                <a:gd name="connsiteY94" fmla="*/ 323850 h 1200149"/>
                <a:gd name="connsiteX95" fmla="*/ 66675 w 783431"/>
                <a:gd name="connsiteY95" fmla="*/ 381000 h 1200149"/>
                <a:gd name="connsiteX96" fmla="*/ 19050 w 783431"/>
                <a:gd name="connsiteY96" fmla="*/ 423863 h 1200149"/>
                <a:gd name="connsiteX97" fmla="*/ 26194 w 783431"/>
                <a:gd name="connsiteY97" fmla="*/ 490538 h 1200149"/>
                <a:gd name="connsiteX98" fmla="*/ 33337 w 783431"/>
                <a:gd name="connsiteY98" fmla="*/ 554832 h 1200149"/>
                <a:gd name="connsiteX99" fmla="*/ 0 w 783431"/>
                <a:gd name="connsiteY99" fmla="*/ 614363 h 1200149"/>
                <a:gd name="connsiteX0" fmla="*/ 0 w 783431"/>
                <a:gd name="connsiteY0" fmla="*/ 614363 h 1202531"/>
                <a:gd name="connsiteX1" fmla="*/ 21431 w 783431"/>
                <a:gd name="connsiteY1" fmla="*/ 661988 h 1202531"/>
                <a:gd name="connsiteX2" fmla="*/ 28575 w 783431"/>
                <a:gd name="connsiteY2" fmla="*/ 742950 h 1202531"/>
                <a:gd name="connsiteX3" fmla="*/ 76200 w 783431"/>
                <a:gd name="connsiteY3" fmla="*/ 814388 h 1202531"/>
                <a:gd name="connsiteX4" fmla="*/ 102394 w 783431"/>
                <a:gd name="connsiteY4" fmla="*/ 919163 h 1202531"/>
                <a:gd name="connsiteX5" fmla="*/ 116681 w 783431"/>
                <a:gd name="connsiteY5" fmla="*/ 947738 h 1202531"/>
                <a:gd name="connsiteX6" fmla="*/ 130969 w 783431"/>
                <a:gd name="connsiteY6" fmla="*/ 995363 h 1202531"/>
                <a:gd name="connsiteX7" fmla="*/ 150019 w 783431"/>
                <a:gd name="connsiteY7" fmla="*/ 1023938 h 1202531"/>
                <a:gd name="connsiteX8" fmla="*/ 159544 w 783431"/>
                <a:gd name="connsiteY8" fmla="*/ 1042988 h 1202531"/>
                <a:gd name="connsiteX9" fmla="*/ 197644 w 783431"/>
                <a:gd name="connsiteY9" fmla="*/ 1069182 h 1202531"/>
                <a:gd name="connsiteX10" fmla="*/ 245269 w 783431"/>
                <a:gd name="connsiteY10" fmla="*/ 1090613 h 1202531"/>
                <a:gd name="connsiteX11" fmla="*/ 264318 w 783431"/>
                <a:gd name="connsiteY11" fmla="*/ 1131094 h 1202531"/>
                <a:gd name="connsiteX12" fmla="*/ 295275 w 783431"/>
                <a:gd name="connsiteY12" fmla="*/ 1164431 h 1202531"/>
                <a:gd name="connsiteX13" fmla="*/ 385762 w 783431"/>
                <a:gd name="connsiteY13" fmla="*/ 1200149 h 1202531"/>
                <a:gd name="connsiteX14" fmla="*/ 554831 w 783431"/>
                <a:gd name="connsiteY14" fmla="*/ 1202531 h 1202531"/>
                <a:gd name="connsiteX15" fmla="*/ 592931 w 783431"/>
                <a:gd name="connsiteY15" fmla="*/ 1126331 h 1202531"/>
                <a:gd name="connsiteX16" fmla="*/ 604837 w 783431"/>
                <a:gd name="connsiteY16" fmla="*/ 1085850 h 1202531"/>
                <a:gd name="connsiteX17" fmla="*/ 585787 w 783431"/>
                <a:gd name="connsiteY17" fmla="*/ 1035844 h 1202531"/>
                <a:gd name="connsiteX18" fmla="*/ 607219 w 783431"/>
                <a:gd name="connsiteY18" fmla="*/ 1021557 h 1202531"/>
                <a:gd name="connsiteX19" fmla="*/ 645319 w 783431"/>
                <a:gd name="connsiteY19" fmla="*/ 1016794 h 1202531"/>
                <a:gd name="connsiteX20" fmla="*/ 685800 w 783431"/>
                <a:gd name="connsiteY20" fmla="*/ 997744 h 1202531"/>
                <a:gd name="connsiteX21" fmla="*/ 716756 w 783431"/>
                <a:gd name="connsiteY21" fmla="*/ 1002507 h 1202531"/>
                <a:gd name="connsiteX22" fmla="*/ 738187 w 783431"/>
                <a:gd name="connsiteY22" fmla="*/ 969169 h 1202531"/>
                <a:gd name="connsiteX23" fmla="*/ 783431 w 783431"/>
                <a:gd name="connsiteY23" fmla="*/ 933450 h 1202531"/>
                <a:gd name="connsiteX24" fmla="*/ 776287 w 783431"/>
                <a:gd name="connsiteY24" fmla="*/ 907257 h 1202531"/>
                <a:gd name="connsiteX25" fmla="*/ 752475 w 783431"/>
                <a:gd name="connsiteY25" fmla="*/ 888207 h 1202531"/>
                <a:gd name="connsiteX26" fmla="*/ 752475 w 783431"/>
                <a:gd name="connsiteY26" fmla="*/ 864394 h 1202531"/>
                <a:gd name="connsiteX27" fmla="*/ 728662 w 783431"/>
                <a:gd name="connsiteY27" fmla="*/ 852488 h 1202531"/>
                <a:gd name="connsiteX28" fmla="*/ 711994 w 783431"/>
                <a:gd name="connsiteY28" fmla="*/ 802482 h 1202531"/>
                <a:gd name="connsiteX29" fmla="*/ 688181 w 783431"/>
                <a:gd name="connsiteY29" fmla="*/ 814388 h 1202531"/>
                <a:gd name="connsiteX30" fmla="*/ 659606 w 783431"/>
                <a:gd name="connsiteY30" fmla="*/ 814388 h 1202531"/>
                <a:gd name="connsiteX31" fmla="*/ 647700 w 783431"/>
                <a:gd name="connsiteY31" fmla="*/ 847725 h 1202531"/>
                <a:gd name="connsiteX32" fmla="*/ 623887 w 783431"/>
                <a:gd name="connsiteY32" fmla="*/ 847725 h 1202531"/>
                <a:gd name="connsiteX33" fmla="*/ 576262 w 783431"/>
                <a:gd name="connsiteY33" fmla="*/ 828675 h 1202531"/>
                <a:gd name="connsiteX34" fmla="*/ 554831 w 783431"/>
                <a:gd name="connsiteY34" fmla="*/ 816769 h 1202531"/>
                <a:gd name="connsiteX35" fmla="*/ 547687 w 783431"/>
                <a:gd name="connsiteY35" fmla="*/ 783432 h 1202531"/>
                <a:gd name="connsiteX36" fmla="*/ 561975 w 783431"/>
                <a:gd name="connsiteY36" fmla="*/ 754857 h 1202531"/>
                <a:gd name="connsiteX37" fmla="*/ 533400 w 783431"/>
                <a:gd name="connsiteY37" fmla="*/ 733425 h 1202531"/>
                <a:gd name="connsiteX38" fmla="*/ 509587 w 783431"/>
                <a:gd name="connsiteY38" fmla="*/ 711994 h 1202531"/>
                <a:gd name="connsiteX39" fmla="*/ 473869 w 783431"/>
                <a:gd name="connsiteY39" fmla="*/ 711994 h 1202531"/>
                <a:gd name="connsiteX40" fmla="*/ 435769 w 783431"/>
                <a:gd name="connsiteY40" fmla="*/ 711994 h 1202531"/>
                <a:gd name="connsiteX41" fmla="*/ 438150 w 783431"/>
                <a:gd name="connsiteY41" fmla="*/ 669132 h 1202531"/>
                <a:gd name="connsiteX42" fmla="*/ 428625 w 783431"/>
                <a:gd name="connsiteY42" fmla="*/ 642938 h 1202531"/>
                <a:gd name="connsiteX43" fmla="*/ 423862 w 783431"/>
                <a:gd name="connsiteY43" fmla="*/ 607219 h 1202531"/>
                <a:gd name="connsiteX44" fmla="*/ 426244 w 783431"/>
                <a:gd name="connsiteY44" fmla="*/ 578644 h 1202531"/>
                <a:gd name="connsiteX45" fmla="*/ 440531 w 783431"/>
                <a:gd name="connsiteY45" fmla="*/ 566738 h 1202531"/>
                <a:gd name="connsiteX46" fmla="*/ 450056 w 783431"/>
                <a:gd name="connsiteY46" fmla="*/ 535782 h 1202531"/>
                <a:gd name="connsiteX47" fmla="*/ 457200 w 783431"/>
                <a:gd name="connsiteY47" fmla="*/ 519113 h 1202531"/>
                <a:gd name="connsiteX48" fmla="*/ 481012 w 783431"/>
                <a:gd name="connsiteY48" fmla="*/ 526257 h 1202531"/>
                <a:gd name="connsiteX49" fmla="*/ 495300 w 783431"/>
                <a:gd name="connsiteY49" fmla="*/ 576263 h 1202531"/>
                <a:gd name="connsiteX50" fmla="*/ 507206 w 783431"/>
                <a:gd name="connsiteY50" fmla="*/ 581025 h 1202531"/>
                <a:gd name="connsiteX51" fmla="*/ 526256 w 783431"/>
                <a:gd name="connsiteY51" fmla="*/ 583407 h 1202531"/>
                <a:gd name="connsiteX52" fmla="*/ 554831 w 783431"/>
                <a:gd name="connsiteY52" fmla="*/ 583407 h 1202531"/>
                <a:gd name="connsiteX53" fmla="*/ 557212 w 783431"/>
                <a:gd name="connsiteY53" fmla="*/ 547688 h 1202531"/>
                <a:gd name="connsiteX54" fmla="*/ 545306 w 783431"/>
                <a:gd name="connsiteY54" fmla="*/ 502444 h 1202531"/>
                <a:gd name="connsiteX55" fmla="*/ 545306 w 783431"/>
                <a:gd name="connsiteY55" fmla="*/ 476250 h 1202531"/>
                <a:gd name="connsiteX56" fmla="*/ 581025 w 783431"/>
                <a:gd name="connsiteY56" fmla="*/ 454819 h 1202531"/>
                <a:gd name="connsiteX57" fmla="*/ 604837 w 783431"/>
                <a:gd name="connsiteY57" fmla="*/ 435769 h 1202531"/>
                <a:gd name="connsiteX58" fmla="*/ 640556 w 783431"/>
                <a:gd name="connsiteY58" fmla="*/ 414338 h 1202531"/>
                <a:gd name="connsiteX59" fmla="*/ 645319 w 783431"/>
                <a:gd name="connsiteY59" fmla="*/ 395288 h 1202531"/>
                <a:gd name="connsiteX60" fmla="*/ 633412 w 783431"/>
                <a:gd name="connsiteY60" fmla="*/ 371475 h 1202531"/>
                <a:gd name="connsiteX61" fmla="*/ 614362 w 783431"/>
                <a:gd name="connsiteY61" fmla="*/ 369094 h 1202531"/>
                <a:gd name="connsiteX62" fmla="*/ 609600 w 783431"/>
                <a:gd name="connsiteY62" fmla="*/ 366713 h 1202531"/>
                <a:gd name="connsiteX63" fmla="*/ 597694 w 783431"/>
                <a:gd name="connsiteY63" fmla="*/ 357188 h 1202531"/>
                <a:gd name="connsiteX64" fmla="*/ 611981 w 783431"/>
                <a:gd name="connsiteY64" fmla="*/ 345282 h 1202531"/>
                <a:gd name="connsiteX65" fmla="*/ 652462 w 783431"/>
                <a:gd name="connsiteY65" fmla="*/ 316707 h 1202531"/>
                <a:gd name="connsiteX66" fmla="*/ 678656 w 783431"/>
                <a:gd name="connsiteY66" fmla="*/ 264319 h 1202531"/>
                <a:gd name="connsiteX67" fmla="*/ 666750 w 783431"/>
                <a:gd name="connsiteY67" fmla="*/ 242888 h 1202531"/>
                <a:gd name="connsiteX68" fmla="*/ 638175 w 783431"/>
                <a:gd name="connsiteY68" fmla="*/ 219075 h 1202531"/>
                <a:gd name="connsiteX69" fmla="*/ 642937 w 783431"/>
                <a:gd name="connsiteY69" fmla="*/ 180975 h 1202531"/>
                <a:gd name="connsiteX70" fmla="*/ 673894 w 783431"/>
                <a:gd name="connsiteY70" fmla="*/ 171450 h 1202531"/>
                <a:gd name="connsiteX71" fmla="*/ 700087 w 783431"/>
                <a:gd name="connsiteY71" fmla="*/ 142875 h 1202531"/>
                <a:gd name="connsiteX72" fmla="*/ 700087 w 783431"/>
                <a:gd name="connsiteY72" fmla="*/ 111919 h 1202531"/>
                <a:gd name="connsiteX73" fmla="*/ 666750 w 783431"/>
                <a:gd name="connsiteY73" fmla="*/ 107157 h 1202531"/>
                <a:gd name="connsiteX74" fmla="*/ 645319 w 783431"/>
                <a:gd name="connsiteY74" fmla="*/ 102394 h 1202531"/>
                <a:gd name="connsiteX75" fmla="*/ 645319 w 783431"/>
                <a:gd name="connsiteY75" fmla="*/ 102394 h 1202531"/>
                <a:gd name="connsiteX76" fmla="*/ 678656 w 783431"/>
                <a:gd name="connsiteY76" fmla="*/ 69057 h 1202531"/>
                <a:gd name="connsiteX77" fmla="*/ 685800 w 783431"/>
                <a:gd name="connsiteY77" fmla="*/ 40482 h 1202531"/>
                <a:gd name="connsiteX78" fmla="*/ 678656 w 783431"/>
                <a:gd name="connsiteY78" fmla="*/ 21432 h 1202531"/>
                <a:gd name="connsiteX79" fmla="*/ 695325 w 783431"/>
                <a:gd name="connsiteY79" fmla="*/ 2382 h 1202531"/>
                <a:gd name="connsiteX80" fmla="*/ 628650 w 783431"/>
                <a:gd name="connsiteY80" fmla="*/ 0 h 1202531"/>
                <a:gd name="connsiteX81" fmla="*/ 552450 w 783431"/>
                <a:gd name="connsiteY81" fmla="*/ 52388 h 1202531"/>
                <a:gd name="connsiteX82" fmla="*/ 538162 w 783431"/>
                <a:gd name="connsiteY82" fmla="*/ 90488 h 1202531"/>
                <a:gd name="connsiteX83" fmla="*/ 445294 w 783431"/>
                <a:gd name="connsiteY83" fmla="*/ 126207 h 1202531"/>
                <a:gd name="connsiteX84" fmla="*/ 397669 w 783431"/>
                <a:gd name="connsiteY84" fmla="*/ 159544 h 1202531"/>
                <a:gd name="connsiteX85" fmla="*/ 376237 w 783431"/>
                <a:gd name="connsiteY85" fmla="*/ 190500 h 1202531"/>
                <a:gd name="connsiteX86" fmla="*/ 350044 w 783431"/>
                <a:gd name="connsiteY86" fmla="*/ 140494 h 1202531"/>
                <a:gd name="connsiteX87" fmla="*/ 316706 w 783431"/>
                <a:gd name="connsiteY87" fmla="*/ 140494 h 1202531"/>
                <a:gd name="connsiteX88" fmla="*/ 304800 w 783431"/>
                <a:gd name="connsiteY88" fmla="*/ 166688 h 1202531"/>
                <a:gd name="connsiteX89" fmla="*/ 280987 w 783431"/>
                <a:gd name="connsiteY89" fmla="*/ 230982 h 1202531"/>
                <a:gd name="connsiteX90" fmla="*/ 154781 w 783431"/>
                <a:gd name="connsiteY90" fmla="*/ 223838 h 1202531"/>
                <a:gd name="connsiteX91" fmla="*/ 140494 w 783431"/>
                <a:gd name="connsiteY91" fmla="*/ 245269 h 1202531"/>
                <a:gd name="connsiteX92" fmla="*/ 138112 w 783431"/>
                <a:gd name="connsiteY92" fmla="*/ 280988 h 1202531"/>
                <a:gd name="connsiteX93" fmla="*/ 66675 w 783431"/>
                <a:gd name="connsiteY93" fmla="*/ 309563 h 1202531"/>
                <a:gd name="connsiteX94" fmla="*/ 54769 w 783431"/>
                <a:gd name="connsiteY94" fmla="*/ 323850 h 1202531"/>
                <a:gd name="connsiteX95" fmla="*/ 66675 w 783431"/>
                <a:gd name="connsiteY95" fmla="*/ 381000 h 1202531"/>
                <a:gd name="connsiteX96" fmla="*/ 19050 w 783431"/>
                <a:gd name="connsiteY96" fmla="*/ 423863 h 1202531"/>
                <a:gd name="connsiteX97" fmla="*/ 26194 w 783431"/>
                <a:gd name="connsiteY97" fmla="*/ 490538 h 1202531"/>
                <a:gd name="connsiteX98" fmla="*/ 33337 w 783431"/>
                <a:gd name="connsiteY98" fmla="*/ 554832 h 1202531"/>
                <a:gd name="connsiteX99" fmla="*/ 0 w 783431"/>
                <a:gd name="connsiteY99" fmla="*/ 614363 h 1202531"/>
                <a:gd name="connsiteX0" fmla="*/ 0 w 783431"/>
                <a:gd name="connsiteY0" fmla="*/ 614363 h 1202531"/>
                <a:gd name="connsiteX1" fmla="*/ 21431 w 783431"/>
                <a:gd name="connsiteY1" fmla="*/ 661988 h 1202531"/>
                <a:gd name="connsiteX2" fmla="*/ 28575 w 783431"/>
                <a:gd name="connsiteY2" fmla="*/ 742950 h 1202531"/>
                <a:gd name="connsiteX3" fmla="*/ 76200 w 783431"/>
                <a:gd name="connsiteY3" fmla="*/ 814388 h 1202531"/>
                <a:gd name="connsiteX4" fmla="*/ 102394 w 783431"/>
                <a:gd name="connsiteY4" fmla="*/ 919163 h 1202531"/>
                <a:gd name="connsiteX5" fmla="*/ 116681 w 783431"/>
                <a:gd name="connsiteY5" fmla="*/ 947738 h 1202531"/>
                <a:gd name="connsiteX6" fmla="*/ 130969 w 783431"/>
                <a:gd name="connsiteY6" fmla="*/ 995363 h 1202531"/>
                <a:gd name="connsiteX7" fmla="*/ 150019 w 783431"/>
                <a:gd name="connsiteY7" fmla="*/ 1023938 h 1202531"/>
                <a:gd name="connsiteX8" fmla="*/ 159544 w 783431"/>
                <a:gd name="connsiteY8" fmla="*/ 1042988 h 1202531"/>
                <a:gd name="connsiteX9" fmla="*/ 197644 w 783431"/>
                <a:gd name="connsiteY9" fmla="*/ 1069182 h 1202531"/>
                <a:gd name="connsiteX10" fmla="*/ 245269 w 783431"/>
                <a:gd name="connsiteY10" fmla="*/ 1090613 h 1202531"/>
                <a:gd name="connsiteX11" fmla="*/ 264318 w 783431"/>
                <a:gd name="connsiteY11" fmla="*/ 1131094 h 1202531"/>
                <a:gd name="connsiteX12" fmla="*/ 295275 w 783431"/>
                <a:gd name="connsiteY12" fmla="*/ 1164431 h 1202531"/>
                <a:gd name="connsiteX13" fmla="*/ 385762 w 783431"/>
                <a:gd name="connsiteY13" fmla="*/ 1200149 h 1202531"/>
                <a:gd name="connsiteX14" fmla="*/ 461962 w 783431"/>
                <a:gd name="connsiteY14" fmla="*/ 1197768 h 1202531"/>
                <a:gd name="connsiteX15" fmla="*/ 554831 w 783431"/>
                <a:gd name="connsiteY15" fmla="*/ 1202531 h 1202531"/>
                <a:gd name="connsiteX16" fmla="*/ 592931 w 783431"/>
                <a:gd name="connsiteY16" fmla="*/ 1126331 h 1202531"/>
                <a:gd name="connsiteX17" fmla="*/ 604837 w 783431"/>
                <a:gd name="connsiteY17" fmla="*/ 1085850 h 1202531"/>
                <a:gd name="connsiteX18" fmla="*/ 585787 w 783431"/>
                <a:gd name="connsiteY18" fmla="*/ 1035844 h 1202531"/>
                <a:gd name="connsiteX19" fmla="*/ 607219 w 783431"/>
                <a:gd name="connsiteY19" fmla="*/ 1021557 h 1202531"/>
                <a:gd name="connsiteX20" fmla="*/ 645319 w 783431"/>
                <a:gd name="connsiteY20" fmla="*/ 1016794 h 1202531"/>
                <a:gd name="connsiteX21" fmla="*/ 685800 w 783431"/>
                <a:gd name="connsiteY21" fmla="*/ 997744 h 1202531"/>
                <a:gd name="connsiteX22" fmla="*/ 716756 w 783431"/>
                <a:gd name="connsiteY22" fmla="*/ 1002507 h 1202531"/>
                <a:gd name="connsiteX23" fmla="*/ 738187 w 783431"/>
                <a:gd name="connsiteY23" fmla="*/ 969169 h 1202531"/>
                <a:gd name="connsiteX24" fmla="*/ 783431 w 783431"/>
                <a:gd name="connsiteY24" fmla="*/ 933450 h 1202531"/>
                <a:gd name="connsiteX25" fmla="*/ 776287 w 783431"/>
                <a:gd name="connsiteY25" fmla="*/ 907257 h 1202531"/>
                <a:gd name="connsiteX26" fmla="*/ 752475 w 783431"/>
                <a:gd name="connsiteY26" fmla="*/ 888207 h 1202531"/>
                <a:gd name="connsiteX27" fmla="*/ 752475 w 783431"/>
                <a:gd name="connsiteY27" fmla="*/ 864394 h 1202531"/>
                <a:gd name="connsiteX28" fmla="*/ 728662 w 783431"/>
                <a:gd name="connsiteY28" fmla="*/ 852488 h 1202531"/>
                <a:gd name="connsiteX29" fmla="*/ 711994 w 783431"/>
                <a:gd name="connsiteY29" fmla="*/ 802482 h 1202531"/>
                <a:gd name="connsiteX30" fmla="*/ 688181 w 783431"/>
                <a:gd name="connsiteY30" fmla="*/ 814388 h 1202531"/>
                <a:gd name="connsiteX31" fmla="*/ 659606 w 783431"/>
                <a:gd name="connsiteY31" fmla="*/ 814388 h 1202531"/>
                <a:gd name="connsiteX32" fmla="*/ 647700 w 783431"/>
                <a:gd name="connsiteY32" fmla="*/ 847725 h 1202531"/>
                <a:gd name="connsiteX33" fmla="*/ 623887 w 783431"/>
                <a:gd name="connsiteY33" fmla="*/ 847725 h 1202531"/>
                <a:gd name="connsiteX34" fmla="*/ 576262 w 783431"/>
                <a:gd name="connsiteY34" fmla="*/ 828675 h 1202531"/>
                <a:gd name="connsiteX35" fmla="*/ 554831 w 783431"/>
                <a:gd name="connsiteY35" fmla="*/ 816769 h 1202531"/>
                <a:gd name="connsiteX36" fmla="*/ 547687 w 783431"/>
                <a:gd name="connsiteY36" fmla="*/ 783432 h 1202531"/>
                <a:gd name="connsiteX37" fmla="*/ 561975 w 783431"/>
                <a:gd name="connsiteY37" fmla="*/ 754857 h 1202531"/>
                <a:gd name="connsiteX38" fmla="*/ 533400 w 783431"/>
                <a:gd name="connsiteY38" fmla="*/ 733425 h 1202531"/>
                <a:gd name="connsiteX39" fmla="*/ 509587 w 783431"/>
                <a:gd name="connsiteY39" fmla="*/ 711994 h 1202531"/>
                <a:gd name="connsiteX40" fmla="*/ 473869 w 783431"/>
                <a:gd name="connsiteY40" fmla="*/ 711994 h 1202531"/>
                <a:gd name="connsiteX41" fmla="*/ 435769 w 783431"/>
                <a:gd name="connsiteY41" fmla="*/ 711994 h 1202531"/>
                <a:gd name="connsiteX42" fmla="*/ 438150 w 783431"/>
                <a:gd name="connsiteY42" fmla="*/ 669132 h 1202531"/>
                <a:gd name="connsiteX43" fmla="*/ 428625 w 783431"/>
                <a:gd name="connsiteY43" fmla="*/ 642938 h 1202531"/>
                <a:gd name="connsiteX44" fmla="*/ 423862 w 783431"/>
                <a:gd name="connsiteY44" fmla="*/ 607219 h 1202531"/>
                <a:gd name="connsiteX45" fmla="*/ 426244 w 783431"/>
                <a:gd name="connsiteY45" fmla="*/ 578644 h 1202531"/>
                <a:gd name="connsiteX46" fmla="*/ 440531 w 783431"/>
                <a:gd name="connsiteY46" fmla="*/ 566738 h 1202531"/>
                <a:gd name="connsiteX47" fmla="*/ 450056 w 783431"/>
                <a:gd name="connsiteY47" fmla="*/ 535782 h 1202531"/>
                <a:gd name="connsiteX48" fmla="*/ 457200 w 783431"/>
                <a:gd name="connsiteY48" fmla="*/ 519113 h 1202531"/>
                <a:gd name="connsiteX49" fmla="*/ 481012 w 783431"/>
                <a:gd name="connsiteY49" fmla="*/ 526257 h 1202531"/>
                <a:gd name="connsiteX50" fmla="*/ 495300 w 783431"/>
                <a:gd name="connsiteY50" fmla="*/ 576263 h 1202531"/>
                <a:gd name="connsiteX51" fmla="*/ 507206 w 783431"/>
                <a:gd name="connsiteY51" fmla="*/ 581025 h 1202531"/>
                <a:gd name="connsiteX52" fmla="*/ 526256 w 783431"/>
                <a:gd name="connsiteY52" fmla="*/ 583407 h 1202531"/>
                <a:gd name="connsiteX53" fmla="*/ 554831 w 783431"/>
                <a:gd name="connsiteY53" fmla="*/ 583407 h 1202531"/>
                <a:gd name="connsiteX54" fmla="*/ 557212 w 783431"/>
                <a:gd name="connsiteY54" fmla="*/ 547688 h 1202531"/>
                <a:gd name="connsiteX55" fmla="*/ 545306 w 783431"/>
                <a:gd name="connsiteY55" fmla="*/ 502444 h 1202531"/>
                <a:gd name="connsiteX56" fmla="*/ 545306 w 783431"/>
                <a:gd name="connsiteY56" fmla="*/ 476250 h 1202531"/>
                <a:gd name="connsiteX57" fmla="*/ 581025 w 783431"/>
                <a:gd name="connsiteY57" fmla="*/ 454819 h 1202531"/>
                <a:gd name="connsiteX58" fmla="*/ 604837 w 783431"/>
                <a:gd name="connsiteY58" fmla="*/ 435769 h 1202531"/>
                <a:gd name="connsiteX59" fmla="*/ 640556 w 783431"/>
                <a:gd name="connsiteY59" fmla="*/ 414338 h 1202531"/>
                <a:gd name="connsiteX60" fmla="*/ 645319 w 783431"/>
                <a:gd name="connsiteY60" fmla="*/ 395288 h 1202531"/>
                <a:gd name="connsiteX61" fmla="*/ 633412 w 783431"/>
                <a:gd name="connsiteY61" fmla="*/ 371475 h 1202531"/>
                <a:gd name="connsiteX62" fmla="*/ 614362 w 783431"/>
                <a:gd name="connsiteY62" fmla="*/ 369094 h 1202531"/>
                <a:gd name="connsiteX63" fmla="*/ 609600 w 783431"/>
                <a:gd name="connsiteY63" fmla="*/ 366713 h 1202531"/>
                <a:gd name="connsiteX64" fmla="*/ 597694 w 783431"/>
                <a:gd name="connsiteY64" fmla="*/ 357188 h 1202531"/>
                <a:gd name="connsiteX65" fmla="*/ 611981 w 783431"/>
                <a:gd name="connsiteY65" fmla="*/ 345282 h 1202531"/>
                <a:gd name="connsiteX66" fmla="*/ 652462 w 783431"/>
                <a:gd name="connsiteY66" fmla="*/ 316707 h 1202531"/>
                <a:gd name="connsiteX67" fmla="*/ 678656 w 783431"/>
                <a:gd name="connsiteY67" fmla="*/ 264319 h 1202531"/>
                <a:gd name="connsiteX68" fmla="*/ 666750 w 783431"/>
                <a:gd name="connsiteY68" fmla="*/ 242888 h 1202531"/>
                <a:gd name="connsiteX69" fmla="*/ 638175 w 783431"/>
                <a:gd name="connsiteY69" fmla="*/ 219075 h 1202531"/>
                <a:gd name="connsiteX70" fmla="*/ 642937 w 783431"/>
                <a:gd name="connsiteY70" fmla="*/ 180975 h 1202531"/>
                <a:gd name="connsiteX71" fmla="*/ 673894 w 783431"/>
                <a:gd name="connsiteY71" fmla="*/ 171450 h 1202531"/>
                <a:gd name="connsiteX72" fmla="*/ 700087 w 783431"/>
                <a:gd name="connsiteY72" fmla="*/ 142875 h 1202531"/>
                <a:gd name="connsiteX73" fmla="*/ 700087 w 783431"/>
                <a:gd name="connsiteY73" fmla="*/ 111919 h 1202531"/>
                <a:gd name="connsiteX74" fmla="*/ 666750 w 783431"/>
                <a:gd name="connsiteY74" fmla="*/ 107157 h 1202531"/>
                <a:gd name="connsiteX75" fmla="*/ 645319 w 783431"/>
                <a:gd name="connsiteY75" fmla="*/ 102394 h 1202531"/>
                <a:gd name="connsiteX76" fmla="*/ 645319 w 783431"/>
                <a:gd name="connsiteY76" fmla="*/ 102394 h 1202531"/>
                <a:gd name="connsiteX77" fmla="*/ 678656 w 783431"/>
                <a:gd name="connsiteY77" fmla="*/ 69057 h 1202531"/>
                <a:gd name="connsiteX78" fmla="*/ 685800 w 783431"/>
                <a:gd name="connsiteY78" fmla="*/ 40482 h 1202531"/>
                <a:gd name="connsiteX79" fmla="*/ 678656 w 783431"/>
                <a:gd name="connsiteY79" fmla="*/ 21432 h 1202531"/>
                <a:gd name="connsiteX80" fmla="*/ 695325 w 783431"/>
                <a:gd name="connsiteY80" fmla="*/ 2382 h 1202531"/>
                <a:gd name="connsiteX81" fmla="*/ 628650 w 783431"/>
                <a:gd name="connsiteY81" fmla="*/ 0 h 1202531"/>
                <a:gd name="connsiteX82" fmla="*/ 552450 w 783431"/>
                <a:gd name="connsiteY82" fmla="*/ 52388 h 1202531"/>
                <a:gd name="connsiteX83" fmla="*/ 538162 w 783431"/>
                <a:gd name="connsiteY83" fmla="*/ 90488 h 1202531"/>
                <a:gd name="connsiteX84" fmla="*/ 445294 w 783431"/>
                <a:gd name="connsiteY84" fmla="*/ 126207 h 1202531"/>
                <a:gd name="connsiteX85" fmla="*/ 397669 w 783431"/>
                <a:gd name="connsiteY85" fmla="*/ 159544 h 1202531"/>
                <a:gd name="connsiteX86" fmla="*/ 376237 w 783431"/>
                <a:gd name="connsiteY86" fmla="*/ 190500 h 1202531"/>
                <a:gd name="connsiteX87" fmla="*/ 350044 w 783431"/>
                <a:gd name="connsiteY87" fmla="*/ 140494 h 1202531"/>
                <a:gd name="connsiteX88" fmla="*/ 316706 w 783431"/>
                <a:gd name="connsiteY88" fmla="*/ 140494 h 1202531"/>
                <a:gd name="connsiteX89" fmla="*/ 304800 w 783431"/>
                <a:gd name="connsiteY89" fmla="*/ 166688 h 1202531"/>
                <a:gd name="connsiteX90" fmla="*/ 280987 w 783431"/>
                <a:gd name="connsiteY90" fmla="*/ 230982 h 1202531"/>
                <a:gd name="connsiteX91" fmla="*/ 154781 w 783431"/>
                <a:gd name="connsiteY91" fmla="*/ 223838 h 1202531"/>
                <a:gd name="connsiteX92" fmla="*/ 140494 w 783431"/>
                <a:gd name="connsiteY92" fmla="*/ 245269 h 1202531"/>
                <a:gd name="connsiteX93" fmla="*/ 138112 w 783431"/>
                <a:gd name="connsiteY93" fmla="*/ 280988 h 1202531"/>
                <a:gd name="connsiteX94" fmla="*/ 66675 w 783431"/>
                <a:gd name="connsiteY94" fmla="*/ 309563 h 1202531"/>
                <a:gd name="connsiteX95" fmla="*/ 54769 w 783431"/>
                <a:gd name="connsiteY95" fmla="*/ 323850 h 1202531"/>
                <a:gd name="connsiteX96" fmla="*/ 66675 w 783431"/>
                <a:gd name="connsiteY96" fmla="*/ 381000 h 1202531"/>
                <a:gd name="connsiteX97" fmla="*/ 19050 w 783431"/>
                <a:gd name="connsiteY97" fmla="*/ 423863 h 1202531"/>
                <a:gd name="connsiteX98" fmla="*/ 26194 w 783431"/>
                <a:gd name="connsiteY98" fmla="*/ 490538 h 1202531"/>
                <a:gd name="connsiteX99" fmla="*/ 33337 w 783431"/>
                <a:gd name="connsiteY99" fmla="*/ 554832 h 1202531"/>
                <a:gd name="connsiteX100" fmla="*/ 0 w 783431"/>
                <a:gd name="connsiteY100" fmla="*/ 614363 h 1202531"/>
                <a:gd name="connsiteX0" fmla="*/ 0 w 783431"/>
                <a:gd name="connsiteY0" fmla="*/ 614363 h 1202531"/>
                <a:gd name="connsiteX1" fmla="*/ 21431 w 783431"/>
                <a:gd name="connsiteY1" fmla="*/ 661988 h 1202531"/>
                <a:gd name="connsiteX2" fmla="*/ 28575 w 783431"/>
                <a:gd name="connsiteY2" fmla="*/ 742950 h 1202531"/>
                <a:gd name="connsiteX3" fmla="*/ 76200 w 783431"/>
                <a:gd name="connsiteY3" fmla="*/ 814388 h 1202531"/>
                <a:gd name="connsiteX4" fmla="*/ 102394 w 783431"/>
                <a:gd name="connsiteY4" fmla="*/ 919163 h 1202531"/>
                <a:gd name="connsiteX5" fmla="*/ 116681 w 783431"/>
                <a:gd name="connsiteY5" fmla="*/ 947738 h 1202531"/>
                <a:gd name="connsiteX6" fmla="*/ 130969 w 783431"/>
                <a:gd name="connsiteY6" fmla="*/ 995363 h 1202531"/>
                <a:gd name="connsiteX7" fmla="*/ 150019 w 783431"/>
                <a:gd name="connsiteY7" fmla="*/ 1023938 h 1202531"/>
                <a:gd name="connsiteX8" fmla="*/ 159544 w 783431"/>
                <a:gd name="connsiteY8" fmla="*/ 1042988 h 1202531"/>
                <a:gd name="connsiteX9" fmla="*/ 197644 w 783431"/>
                <a:gd name="connsiteY9" fmla="*/ 1069182 h 1202531"/>
                <a:gd name="connsiteX10" fmla="*/ 245269 w 783431"/>
                <a:gd name="connsiteY10" fmla="*/ 1090613 h 1202531"/>
                <a:gd name="connsiteX11" fmla="*/ 264318 w 783431"/>
                <a:gd name="connsiteY11" fmla="*/ 1131094 h 1202531"/>
                <a:gd name="connsiteX12" fmla="*/ 295275 w 783431"/>
                <a:gd name="connsiteY12" fmla="*/ 1164431 h 1202531"/>
                <a:gd name="connsiteX13" fmla="*/ 385762 w 783431"/>
                <a:gd name="connsiteY13" fmla="*/ 1200149 h 1202531"/>
                <a:gd name="connsiteX14" fmla="*/ 469106 w 783431"/>
                <a:gd name="connsiteY14" fmla="*/ 1181100 h 1202531"/>
                <a:gd name="connsiteX15" fmla="*/ 554831 w 783431"/>
                <a:gd name="connsiteY15" fmla="*/ 1202531 h 1202531"/>
                <a:gd name="connsiteX16" fmla="*/ 592931 w 783431"/>
                <a:gd name="connsiteY16" fmla="*/ 1126331 h 1202531"/>
                <a:gd name="connsiteX17" fmla="*/ 604837 w 783431"/>
                <a:gd name="connsiteY17" fmla="*/ 1085850 h 1202531"/>
                <a:gd name="connsiteX18" fmla="*/ 585787 w 783431"/>
                <a:gd name="connsiteY18" fmla="*/ 1035844 h 1202531"/>
                <a:gd name="connsiteX19" fmla="*/ 607219 w 783431"/>
                <a:gd name="connsiteY19" fmla="*/ 1021557 h 1202531"/>
                <a:gd name="connsiteX20" fmla="*/ 645319 w 783431"/>
                <a:gd name="connsiteY20" fmla="*/ 1016794 h 1202531"/>
                <a:gd name="connsiteX21" fmla="*/ 685800 w 783431"/>
                <a:gd name="connsiteY21" fmla="*/ 997744 h 1202531"/>
                <a:gd name="connsiteX22" fmla="*/ 716756 w 783431"/>
                <a:gd name="connsiteY22" fmla="*/ 1002507 h 1202531"/>
                <a:gd name="connsiteX23" fmla="*/ 738187 w 783431"/>
                <a:gd name="connsiteY23" fmla="*/ 969169 h 1202531"/>
                <a:gd name="connsiteX24" fmla="*/ 783431 w 783431"/>
                <a:gd name="connsiteY24" fmla="*/ 933450 h 1202531"/>
                <a:gd name="connsiteX25" fmla="*/ 776287 w 783431"/>
                <a:gd name="connsiteY25" fmla="*/ 907257 h 1202531"/>
                <a:gd name="connsiteX26" fmla="*/ 752475 w 783431"/>
                <a:gd name="connsiteY26" fmla="*/ 888207 h 1202531"/>
                <a:gd name="connsiteX27" fmla="*/ 752475 w 783431"/>
                <a:gd name="connsiteY27" fmla="*/ 864394 h 1202531"/>
                <a:gd name="connsiteX28" fmla="*/ 728662 w 783431"/>
                <a:gd name="connsiteY28" fmla="*/ 852488 h 1202531"/>
                <a:gd name="connsiteX29" fmla="*/ 711994 w 783431"/>
                <a:gd name="connsiteY29" fmla="*/ 802482 h 1202531"/>
                <a:gd name="connsiteX30" fmla="*/ 688181 w 783431"/>
                <a:gd name="connsiteY30" fmla="*/ 814388 h 1202531"/>
                <a:gd name="connsiteX31" fmla="*/ 659606 w 783431"/>
                <a:gd name="connsiteY31" fmla="*/ 814388 h 1202531"/>
                <a:gd name="connsiteX32" fmla="*/ 647700 w 783431"/>
                <a:gd name="connsiteY32" fmla="*/ 847725 h 1202531"/>
                <a:gd name="connsiteX33" fmla="*/ 623887 w 783431"/>
                <a:gd name="connsiteY33" fmla="*/ 847725 h 1202531"/>
                <a:gd name="connsiteX34" fmla="*/ 576262 w 783431"/>
                <a:gd name="connsiteY34" fmla="*/ 828675 h 1202531"/>
                <a:gd name="connsiteX35" fmla="*/ 554831 w 783431"/>
                <a:gd name="connsiteY35" fmla="*/ 816769 h 1202531"/>
                <a:gd name="connsiteX36" fmla="*/ 547687 w 783431"/>
                <a:gd name="connsiteY36" fmla="*/ 783432 h 1202531"/>
                <a:gd name="connsiteX37" fmla="*/ 561975 w 783431"/>
                <a:gd name="connsiteY37" fmla="*/ 754857 h 1202531"/>
                <a:gd name="connsiteX38" fmla="*/ 533400 w 783431"/>
                <a:gd name="connsiteY38" fmla="*/ 733425 h 1202531"/>
                <a:gd name="connsiteX39" fmla="*/ 509587 w 783431"/>
                <a:gd name="connsiteY39" fmla="*/ 711994 h 1202531"/>
                <a:gd name="connsiteX40" fmla="*/ 473869 w 783431"/>
                <a:gd name="connsiteY40" fmla="*/ 711994 h 1202531"/>
                <a:gd name="connsiteX41" fmla="*/ 435769 w 783431"/>
                <a:gd name="connsiteY41" fmla="*/ 711994 h 1202531"/>
                <a:gd name="connsiteX42" fmla="*/ 438150 w 783431"/>
                <a:gd name="connsiteY42" fmla="*/ 669132 h 1202531"/>
                <a:gd name="connsiteX43" fmla="*/ 428625 w 783431"/>
                <a:gd name="connsiteY43" fmla="*/ 642938 h 1202531"/>
                <a:gd name="connsiteX44" fmla="*/ 423862 w 783431"/>
                <a:gd name="connsiteY44" fmla="*/ 607219 h 1202531"/>
                <a:gd name="connsiteX45" fmla="*/ 426244 w 783431"/>
                <a:gd name="connsiteY45" fmla="*/ 578644 h 1202531"/>
                <a:gd name="connsiteX46" fmla="*/ 440531 w 783431"/>
                <a:gd name="connsiteY46" fmla="*/ 566738 h 1202531"/>
                <a:gd name="connsiteX47" fmla="*/ 450056 w 783431"/>
                <a:gd name="connsiteY47" fmla="*/ 535782 h 1202531"/>
                <a:gd name="connsiteX48" fmla="*/ 457200 w 783431"/>
                <a:gd name="connsiteY48" fmla="*/ 519113 h 1202531"/>
                <a:gd name="connsiteX49" fmla="*/ 481012 w 783431"/>
                <a:gd name="connsiteY49" fmla="*/ 526257 h 1202531"/>
                <a:gd name="connsiteX50" fmla="*/ 495300 w 783431"/>
                <a:gd name="connsiteY50" fmla="*/ 576263 h 1202531"/>
                <a:gd name="connsiteX51" fmla="*/ 507206 w 783431"/>
                <a:gd name="connsiteY51" fmla="*/ 581025 h 1202531"/>
                <a:gd name="connsiteX52" fmla="*/ 526256 w 783431"/>
                <a:gd name="connsiteY52" fmla="*/ 583407 h 1202531"/>
                <a:gd name="connsiteX53" fmla="*/ 554831 w 783431"/>
                <a:gd name="connsiteY53" fmla="*/ 583407 h 1202531"/>
                <a:gd name="connsiteX54" fmla="*/ 557212 w 783431"/>
                <a:gd name="connsiteY54" fmla="*/ 547688 h 1202531"/>
                <a:gd name="connsiteX55" fmla="*/ 545306 w 783431"/>
                <a:gd name="connsiteY55" fmla="*/ 502444 h 1202531"/>
                <a:gd name="connsiteX56" fmla="*/ 545306 w 783431"/>
                <a:gd name="connsiteY56" fmla="*/ 476250 h 1202531"/>
                <a:gd name="connsiteX57" fmla="*/ 581025 w 783431"/>
                <a:gd name="connsiteY57" fmla="*/ 454819 h 1202531"/>
                <a:gd name="connsiteX58" fmla="*/ 604837 w 783431"/>
                <a:gd name="connsiteY58" fmla="*/ 435769 h 1202531"/>
                <a:gd name="connsiteX59" fmla="*/ 640556 w 783431"/>
                <a:gd name="connsiteY59" fmla="*/ 414338 h 1202531"/>
                <a:gd name="connsiteX60" fmla="*/ 645319 w 783431"/>
                <a:gd name="connsiteY60" fmla="*/ 395288 h 1202531"/>
                <a:gd name="connsiteX61" fmla="*/ 633412 w 783431"/>
                <a:gd name="connsiteY61" fmla="*/ 371475 h 1202531"/>
                <a:gd name="connsiteX62" fmla="*/ 614362 w 783431"/>
                <a:gd name="connsiteY62" fmla="*/ 369094 h 1202531"/>
                <a:gd name="connsiteX63" fmla="*/ 609600 w 783431"/>
                <a:gd name="connsiteY63" fmla="*/ 366713 h 1202531"/>
                <a:gd name="connsiteX64" fmla="*/ 597694 w 783431"/>
                <a:gd name="connsiteY64" fmla="*/ 357188 h 1202531"/>
                <a:gd name="connsiteX65" fmla="*/ 611981 w 783431"/>
                <a:gd name="connsiteY65" fmla="*/ 345282 h 1202531"/>
                <a:gd name="connsiteX66" fmla="*/ 652462 w 783431"/>
                <a:gd name="connsiteY66" fmla="*/ 316707 h 1202531"/>
                <a:gd name="connsiteX67" fmla="*/ 678656 w 783431"/>
                <a:gd name="connsiteY67" fmla="*/ 264319 h 1202531"/>
                <a:gd name="connsiteX68" fmla="*/ 666750 w 783431"/>
                <a:gd name="connsiteY68" fmla="*/ 242888 h 1202531"/>
                <a:gd name="connsiteX69" fmla="*/ 638175 w 783431"/>
                <a:gd name="connsiteY69" fmla="*/ 219075 h 1202531"/>
                <a:gd name="connsiteX70" fmla="*/ 642937 w 783431"/>
                <a:gd name="connsiteY70" fmla="*/ 180975 h 1202531"/>
                <a:gd name="connsiteX71" fmla="*/ 673894 w 783431"/>
                <a:gd name="connsiteY71" fmla="*/ 171450 h 1202531"/>
                <a:gd name="connsiteX72" fmla="*/ 700087 w 783431"/>
                <a:gd name="connsiteY72" fmla="*/ 142875 h 1202531"/>
                <a:gd name="connsiteX73" fmla="*/ 700087 w 783431"/>
                <a:gd name="connsiteY73" fmla="*/ 111919 h 1202531"/>
                <a:gd name="connsiteX74" fmla="*/ 666750 w 783431"/>
                <a:gd name="connsiteY74" fmla="*/ 107157 h 1202531"/>
                <a:gd name="connsiteX75" fmla="*/ 645319 w 783431"/>
                <a:gd name="connsiteY75" fmla="*/ 102394 h 1202531"/>
                <a:gd name="connsiteX76" fmla="*/ 645319 w 783431"/>
                <a:gd name="connsiteY76" fmla="*/ 102394 h 1202531"/>
                <a:gd name="connsiteX77" fmla="*/ 678656 w 783431"/>
                <a:gd name="connsiteY77" fmla="*/ 69057 h 1202531"/>
                <a:gd name="connsiteX78" fmla="*/ 685800 w 783431"/>
                <a:gd name="connsiteY78" fmla="*/ 40482 h 1202531"/>
                <a:gd name="connsiteX79" fmla="*/ 678656 w 783431"/>
                <a:gd name="connsiteY79" fmla="*/ 21432 h 1202531"/>
                <a:gd name="connsiteX80" fmla="*/ 695325 w 783431"/>
                <a:gd name="connsiteY80" fmla="*/ 2382 h 1202531"/>
                <a:gd name="connsiteX81" fmla="*/ 628650 w 783431"/>
                <a:gd name="connsiteY81" fmla="*/ 0 h 1202531"/>
                <a:gd name="connsiteX82" fmla="*/ 552450 w 783431"/>
                <a:gd name="connsiteY82" fmla="*/ 52388 h 1202531"/>
                <a:gd name="connsiteX83" fmla="*/ 538162 w 783431"/>
                <a:gd name="connsiteY83" fmla="*/ 90488 h 1202531"/>
                <a:gd name="connsiteX84" fmla="*/ 445294 w 783431"/>
                <a:gd name="connsiteY84" fmla="*/ 126207 h 1202531"/>
                <a:gd name="connsiteX85" fmla="*/ 397669 w 783431"/>
                <a:gd name="connsiteY85" fmla="*/ 159544 h 1202531"/>
                <a:gd name="connsiteX86" fmla="*/ 376237 w 783431"/>
                <a:gd name="connsiteY86" fmla="*/ 190500 h 1202531"/>
                <a:gd name="connsiteX87" fmla="*/ 350044 w 783431"/>
                <a:gd name="connsiteY87" fmla="*/ 140494 h 1202531"/>
                <a:gd name="connsiteX88" fmla="*/ 316706 w 783431"/>
                <a:gd name="connsiteY88" fmla="*/ 140494 h 1202531"/>
                <a:gd name="connsiteX89" fmla="*/ 304800 w 783431"/>
                <a:gd name="connsiteY89" fmla="*/ 166688 h 1202531"/>
                <a:gd name="connsiteX90" fmla="*/ 280987 w 783431"/>
                <a:gd name="connsiteY90" fmla="*/ 230982 h 1202531"/>
                <a:gd name="connsiteX91" fmla="*/ 154781 w 783431"/>
                <a:gd name="connsiteY91" fmla="*/ 223838 h 1202531"/>
                <a:gd name="connsiteX92" fmla="*/ 140494 w 783431"/>
                <a:gd name="connsiteY92" fmla="*/ 245269 h 1202531"/>
                <a:gd name="connsiteX93" fmla="*/ 138112 w 783431"/>
                <a:gd name="connsiteY93" fmla="*/ 280988 h 1202531"/>
                <a:gd name="connsiteX94" fmla="*/ 66675 w 783431"/>
                <a:gd name="connsiteY94" fmla="*/ 309563 h 1202531"/>
                <a:gd name="connsiteX95" fmla="*/ 54769 w 783431"/>
                <a:gd name="connsiteY95" fmla="*/ 323850 h 1202531"/>
                <a:gd name="connsiteX96" fmla="*/ 66675 w 783431"/>
                <a:gd name="connsiteY96" fmla="*/ 381000 h 1202531"/>
                <a:gd name="connsiteX97" fmla="*/ 19050 w 783431"/>
                <a:gd name="connsiteY97" fmla="*/ 423863 h 1202531"/>
                <a:gd name="connsiteX98" fmla="*/ 26194 w 783431"/>
                <a:gd name="connsiteY98" fmla="*/ 490538 h 1202531"/>
                <a:gd name="connsiteX99" fmla="*/ 33337 w 783431"/>
                <a:gd name="connsiteY99" fmla="*/ 554832 h 1202531"/>
                <a:gd name="connsiteX100" fmla="*/ 0 w 783431"/>
                <a:gd name="connsiteY100" fmla="*/ 614363 h 1202531"/>
                <a:gd name="connsiteX0" fmla="*/ 0 w 783431"/>
                <a:gd name="connsiteY0" fmla="*/ 614363 h 1202531"/>
                <a:gd name="connsiteX1" fmla="*/ 21431 w 783431"/>
                <a:gd name="connsiteY1" fmla="*/ 661988 h 1202531"/>
                <a:gd name="connsiteX2" fmla="*/ 28575 w 783431"/>
                <a:gd name="connsiteY2" fmla="*/ 742950 h 1202531"/>
                <a:gd name="connsiteX3" fmla="*/ 76200 w 783431"/>
                <a:gd name="connsiteY3" fmla="*/ 814388 h 1202531"/>
                <a:gd name="connsiteX4" fmla="*/ 102394 w 783431"/>
                <a:gd name="connsiteY4" fmla="*/ 919163 h 1202531"/>
                <a:gd name="connsiteX5" fmla="*/ 116681 w 783431"/>
                <a:gd name="connsiteY5" fmla="*/ 947738 h 1202531"/>
                <a:gd name="connsiteX6" fmla="*/ 130969 w 783431"/>
                <a:gd name="connsiteY6" fmla="*/ 995363 h 1202531"/>
                <a:gd name="connsiteX7" fmla="*/ 150019 w 783431"/>
                <a:gd name="connsiteY7" fmla="*/ 1023938 h 1202531"/>
                <a:gd name="connsiteX8" fmla="*/ 159544 w 783431"/>
                <a:gd name="connsiteY8" fmla="*/ 1042988 h 1202531"/>
                <a:gd name="connsiteX9" fmla="*/ 197644 w 783431"/>
                <a:gd name="connsiteY9" fmla="*/ 1069182 h 1202531"/>
                <a:gd name="connsiteX10" fmla="*/ 245269 w 783431"/>
                <a:gd name="connsiteY10" fmla="*/ 1090613 h 1202531"/>
                <a:gd name="connsiteX11" fmla="*/ 264318 w 783431"/>
                <a:gd name="connsiteY11" fmla="*/ 1131094 h 1202531"/>
                <a:gd name="connsiteX12" fmla="*/ 295275 w 783431"/>
                <a:gd name="connsiteY12" fmla="*/ 1164431 h 1202531"/>
                <a:gd name="connsiteX13" fmla="*/ 385762 w 783431"/>
                <a:gd name="connsiteY13" fmla="*/ 1200149 h 1202531"/>
                <a:gd name="connsiteX14" fmla="*/ 419100 w 783431"/>
                <a:gd name="connsiteY14" fmla="*/ 1190624 h 1202531"/>
                <a:gd name="connsiteX15" fmla="*/ 469106 w 783431"/>
                <a:gd name="connsiteY15" fmla="*/ 1181100 h 1202531"/>
                <a:gd name="connsiteX16" fmla="*/ 554831 w 783431"/>
                <a:gd name="connsiteY16" fmla="*/ 1202531 h 1202531"/>
                <a:gd name="connsiteX17" fmla="*/ 592931 w 783431"/>
                <a:gd name="connsiteY17" fmla="*/ 1126331 h 1202531"/>
                <a:gd name="connsiteX18" fmla="*/ 604837 w 783431"/>
                <a:gd name="connsiteY18" fmla="*/ 1085850 h 1202531"/>
                <a:gd name="connsiteX19" fmla="*/ 585787 w 783431"/>
                <a:gd name="connsiteY19" fmla="*/ 1035844 h 1202531"/>
                <a:gd name="connsiteX20" fmla="*/ 607219 w 783431"/>
                <a:gd name="connsiteY20" fmla="*/ 1021557 h 1202531"/>
                <a:gd name="connsiteX21" fmla="*/ 645319 w 783431"/>
                <a:gd name="connsiteY21" fmla="*/ 1016794 h 1202531"/>
                <a:gd name="connsiteX22" fmla="*/ 685800 w 783431"/>
                <a:gd name="connsiteY22" fmla="*/ 997744 h 1202531"/>
                <a:gd name="connsiteX23" fmla="*/ 716756 w 783431"/>
                <a:gd name="connsiteY23" fmla="*/ 1002507 h 1202531"/>
                <a:gd name="connsiteX24" fmla="*/ 738187 w 783431"/>
                <a:gd name="connsiteY24" fmla="*/ 969169 h 1202531"/>
                <a:gd name="connsiteX25" fmla="*/ 783431 w 783431"/>
                <a:gd name="connsiteY25" fmla="*/ 933450 h 1202531"/>
                <a:gd name="connsiteX26" fmla="*/ 776287 w 783431"/>
                <a:gd name="connsiteY26" fmla="*/ 907257 h 1202531"/>
                <a:gd name="connsiteX27" fmla="*/ 752475 w 783431"/>
                <a:gd name="connsiteY27" fmla="*/ 888207 h 1202531"/>
                <a:gd name="connsiteX28" fmla="*/ 752475 w 783431"/>
                <a:gd name="connsiteY28" fmla="*/ 864394 h 1202531"/>
                <a:gd name="connsiteX29" fmla="*/ 728662 w 783431"/>
                <a:gd name="connsiteY29" fmla="*/ 852488 h 1202531"/>
                <a:gd name="connsiteX30" fmla="*/ 711994 w 783431"/>
                <a:gd name="connsiteY30" fmla="*/ 802482 h 1202531"/>
                <a:gd name="connsiteX31" fmla="*/ 688181 w 783431"/>
                <a:gd name="connsiteY31" fmla="*/ 814388 h 1202531"/>
                <a:gd name="connsiteX32" fmla="*/ 659606 w 783431"/>
                <a:gd name="connsiteY32" fmla="*/ 814388 h 1202531"/>
                <a:gd name="connsiteX33" fmla="*/ 647700 w 783431"/>
                <a:gd name="connsiteY33" fmla="*/ 847725 h 1202531"/>
                <a:gd name="connsiteX34" fmla="*/ 623887 w 783431"/>
                <a:gd name="connsiteY34" fmla="*/ 847725 h 1202531"/>
                <a:gd name="connsiteX35" fmla="*/ 576262 w 783431"/>
                <a:gd name="connsiteY35" fmla="*/ 828675 h 1202531"/>
                <a:gd name="connsiteX36" fmla="*/ 554831 w 783431"/>
                <a:gd name="connsiteY36" fmla="*/ 816769 h 1202531"/>
                <a:gd name="connsiteX37" fmla="*/ 547687 w 783431"/>
                <a:gd name="connsiteY37" fmla="*/ 783432 h 1202531"/>
                <a:gd name="connsiteX38" fmla="*/ 561975 w 783431"/>
                <a:gd name="connsiteY38" fmla="*/ 754857 h 1202531"/>
                <a:gd name="connsiteX39" fmla="*/ 533400 w 783431"/>
                <a:gd name="connsiteY39" fmla="*/ 733425 h 1202531"/>
                <a:gd name="connsiteX40" fmla="*/ 509587 w 783431"/>
                <a:gd name="connsiteY40" fmla="*/ 711994 h 1202531"/>
                <a:gd name="connsiteX41" fmla="*/ 473869 w 783431"/>
                <a:gd name="connsiteY41" fmla="*/ 711994 h 1202531"/>
                <a:gd name="connsiteX42" fmla="*/ 435769 w 783431"/>
                <a:gd name="connsiteY42" fmla="*/ 711994 h 1202531"/>
                <a:gd name="connsiteX43" fmla="*/ 438150 w 783431"/>
                <a:gd name="connsiteY43" fmla="*/ 669132 h 1202531"/>
                <a:gd name="connsiteX44" fmla="*/ 428625 w 783431"/>
                <a:gd name="connsiteY44" fmla="*/ 642938 h 1202531"/>
                <a:gd name="connsiteX45" fmla="*/ 423862 w 783431"/>
                <a:gd name="connsiteY45" fmla="*/ 607219 h 1202531"/>
                <a:gd name="connsiteX46" fmla="*/ 426244 w 783431"/>
                <a:gd name="connsiteY46" fmla="*/ 578644 h 1202531"/>
                <a:gd name="connsiteX47" fmla="*/ 440531 w 783431"/>
                <a:gd name="connsiteY47" fmla="*/ 566738 h 1202531"/>
                <a:gd name="connsiteX48" fmla="*/ 450056 w 783431"/>
                <a:gd name="connsiteY48" fmla="*/ 535782 h 1202531"/>
                <a:gd name="connsiteX49" fmla="*/ 457200 w 783431"/>
                <a:gd name="connsiteY49" fmla="*/ 519113 h 1202531"/>
                <a:gd name="connsiteX50" fmla="*/ 481012 w 783431"/>
                <a:gd name="connsiteY50" fmla="*/ 526257 h 1202531"/>
                <a:gd name="connsiteX51" fmla="*/ 495300 w 783431"/>
                <a:gd name="connsiteY51" fmla="*/ 576263 h 1202531"/>
                <a:gd name="connsiteX52" fmla="*/ 507206 w 783431"/>
                <a:gd name="connsiteY52" fmla="*/ 581025 h 1202531"/>
                <a:gd name="connsiteX53" fmla="*/ 526256 w 783431"/>
                <a:gd name="connsiteY53" fmla="*/ 583407 h 1202531"/>
                <a:gd name="connsiteX54" fmla="*/ 554831 w 783431"/>
                <a:gd name="connsiteY54" fmla="*/ 583407 h 1202531"/>
                <a:gd name="connsiteX55" fmla="*/ 557212 w 783431"/>
                <a:gd name="connsiteY55" fmla="*/ 547688 h 1202531"/>
                <a:gd name="connsiteX56" fmla="*/ 545306 w 783431"/>
                <a:gd name="connsiteY56" fmla="*/ 502444 h 1202531"/>
                <a:gd name="connsiteX57" fmla="*/ 545306 w 783431"/>
                <a:gd name="connsiteY57" fmla="*/ 476250 h 1202531"/>
                <a:gd name="connsiteX58" fmla="*/ 581025 w 783431"/>
                <a:gd name="connsiteY58" fmla="*/ 454819 h 1202531"/>
                <a:gd name="connsiteX59" fmla="*/ 604837 w 783431"/>
                <a:gd name="connsiteY59" fmla="*/ 435769 h 1202531"/>
                <a:gd name="connsiteX60" fmla="*/ 640556 w 783431"/>
                <a:gd name="connsiteY60" fmla="*/ 414338 h 1202531"/>
                <a:gd name="connsiteX61" fmla="*/ 645319 w 783431"/>
                <a:gd name="connsiteY61" fmla="*/ 395288 h 1202531"/>
                <a:gd name="connsiteX62" fmla="*/ 633412 w 783431"/>
                <a:gd name="connsiteY62" fmla="*/ 371475 h 1202531"/>
                <a:gd name="connsiteX63" fmla="*/ 614362 w 783431"/>
                <a:gd name="connsiteY63" fmla="*/ 369094 h 1202531"/>
                <a:gd name="connsiteX64" fmla="*/ 609600 w 783431"/>
                <a:gd name="connsiteY64" fmla="*/ 366713 h 1202531"/>
                <a:gd name="connsiteX65" fmla="*/ 597694 w 783431"/>
                <a:gd name="connsiteY65" fmla="*/ 357188 h 1202531"/>
                <a:gd name="connsiteX66" fmla="*/ 611981 w 783431"/>
                <a:gd name="connsiteY66" fmla="*/ 345282 h 1202531"/>
                <a:gd name="connsiteX67" fmla="*/ 652462 w 783431"/>
                <a:gd name="connsiteY67" fmla="*/ 316707 h 1202531"/>
                <a:gd name="connsiteX68" fmla="*/ 678656 w 783431"/>
                <a:gd name="connsiteY68" fmla="*/ 264319 h 1202531"/>
                <a:gd name="connsiteX69" fmla="*/ 666750 w 783431"/>
                <a:gd name="connsiteY69" fmla="*/ 242888 h 1202531"/>
                <a:gd name="connsiteX70" fmla="*/ 638175 w 783431"/>
                <a:gd name="connsiteY70" fmla="*/ 219075 h 1202531"/>
                <a:gd name="connsiteX71" fmla="*/ 642937 w 783431"/>
                <a:gd name="connsiteY71" fmla="*/ 180975 h 1202531"/>
                <a:gd name="connsiteX72" fmla="*/ 673894 w 783431"/>
                <a:gd name="connsiteY72" fmla="*/ 171450 h 1202531"/>
                <a:gd name="connsiteX73" fmla="*/ 700087 w 783431"/>
                <a:gd name="connsiteY73" fmla="*/ 142875 h 1202531"/>
                <a:gd name="connsiteX74" fmla="*/ 700087 w 783431"/>
                <a:gd name="connsiteY74" fmla="*/ 111919 h 1202531"/>
                <a:gd name="connsiteX75" fmla="*/ 666750 w 783431"/>
                <a:gd name="connsiteY75" fmla="*/ 107157 h 1202531"/>
                <a:gd name="connsiteX76" fmla="*/ 645319 w 783431"/>
                <a:gd name="connsiteY76" fmla="*/ 102394 h 1202531"/>
                <a:gd name="connsiteX77" fmla="*/ 645319 w 783431"/>
                <a:gd name="connsiteY77" fmla="*/ 102394 h 1202531"/>
                <a:gd name="connsiteX78" fmla="*/ 678656 w 783431"/>
                <a:gd name="connsiteY78" fmla="*/ 69057 h 1202531"/>
                <a:gd name="connsiteX79" fmla="*/ 685800 w 783431"/>
                <a:gd name="connsiteY79" fmla="*/ 40482 h 1202531"/>
                <a:gd name="connsiteX80" fmla="*/ 678656 w 783431"/>
                <a:gd name="connsiteY80" fmla="*/ 21432 h 1202531"/>
                <a:gd name="connsiteX81" fmla="*/ 695325 w 783431"/>
                <a:gd name="connsiteY81" fmla="*/ 2382 h 1202531"/>
                <a:gd name="connsiteX82" fmla="*/ 628650 w 783431"/>
                <a:gd name="connsiteY82" fmla="*/ 0 h 1202531"/>
                <a:gd name="connsiteX83" fmla="*/ 552450 w 783431"/>
                <a:gd name="connsiteY83" fmla="*/ 52388 h 1202531"/>
                <a:gd name="connsiteX84" fmla="*/ 538162 w 783431"/>
                <a:gd name="connsiteY84" fmla="*/ 90488 h 1202531"/>
                <a:gd name="connsiteX85" fmla="*/ 445294 w 783431"/>
                <a:gd name="connsiteY85" fmla="*/ 126207 h 1202531"/>
                <a:gd name="connsiteX86" fmla="*/ 397669 w 783431"/>
                <a:gd name="connsiteY86" fmla="*/ 159544 h 1202531"/>
                <a:gd name="connsiteX87" fmla="*/ 376237 w 783431"/>
                <a:gd name="connsiteY87" fmla="*/ 190500 h 1202531"/>
                <a:gd name="connsiteX88" fmla="*/ 350044 w 783431"/>
                <a:gd name="connsiteY88" fmla="*/ 140494 h 1202531"/>
                <a:gd name="connsiteX89" fmla="*/ 316706 w 783431"/>
                <a:gd name="connsiteY89" fmla="*/ 140494 h 1202531"/>
                <a:gd name="connsiteX90" fmla="*/ 304800 w 783431"/>
                <a:gd name="connsiteY90" fmla="*/ 166688 h 1202531"/>
                <a:gd name="connsiteX91" fmla="*/ 280987 w 783431"/>
                <a:gd name="connsiteY91" fmla="*/ 230982 h 1202531"/>
                <a:gd name="connsiteX92" fmla="*/ 154781 w 783431"/>
                <a:gd name="connsiteY92" fmla="*/ 223838 h 1202531"/>
                <a:gd name="connsiteX93" fmla="*/ 140494 w 783431"/>
                <a:gd name="connsiteY93" fmla="*/ 245269 h 1202531"/>
                <a:gd name="connsiteX94" fmla="*/ 138112 w 783431"/>
                <a:gd name="connsiteY94" fmla="*/ 280988 h 1202531"/>
                <a:gd name="connsiteX95" fmla="*/ 66675 w 783431"/>
                <a:gd name="connsiteY95" fmla="*/ 309563 h 1202531"/>
                <a:gd name="connsiteX96" fmla="*/ 54769 w 783431"/>
                <a:gd name="connsiteY96" fmla="*/ 323850 h 1202531"/>
                <a:gd name="connsiteX97" fmla="*/ 66675 w 783431"/>
                <a:gd name="connsiteY97" fmla="*/ 381000 h 1202531"/>
                <a:gd name="connsiteX98" fmla="*/ 19050 w 783431"/>
                <a:gd name="connsiteY98" fmla="*/ 423863 h 1202531"/>
                <a:gd name="connsiteX99" fmla="*/ 26194 w 783431"/>
                <a:gd name="connsiteY99" fmla="*/ 490538 h 1202531"/>
                <a:gd name="connsiteX100" fmla="*/ 33337 w 783431"/>
                <a:gd name="connsiteY100" fmla="*/ 554832 h 1202531"/>
                <a:gd name="connsiteX101" fmla="*/ 0 w 783431"/>
                <a:gd name="connsiteY101" fmla="*/ 614363 h 1202531"/>
                <a:gd name="connsiteX0" fmla="*/ 0 w 783431"/>
                <a:gd name="connsiteY0" fmla="*/ 614363 h 1276349"/>
                <a:gd name="connsiteX1" fmla="*/ 21431 w 783431"/>
                <a:gd name="connsiteY1" fmla="*/ 661988 h 1276349"/>
                <a:gd name="connsiteX2" fmla="*/ 28575 w 783431"/>
                <a:gd name="connsiteY2" fmla="*/ 742950 h 1276349"/>
                <a:gd name="connsiteX3" fmla="*/ 76200 w 783431"/>
                <a:gd name="connsiteY3" fmla="*/ 814388 h 1276349"/>
                <a:gd name="connsiteX4" fmla="*/ 102394 w 783431"/>
                <a:gd name="connsiteY4" fmla="*/ 919163 h 1276349"/>
                <a:gd name="connsiteX5" fmla="*/ 116681 w 783431"/>
                <a:gd name="connsiteY5" fmla="*/ 947738 h 1276349"/>
                <a:gd name="connsiteX6" fmla="*/ 130969 w 783431"/>
                <a:gd name="connsiteY6" fmla="*/ 995363 h 1276349"/>
                <a:gd name="connsiteX7" fmla="*/ 150019 w 783431"/>
                <a:gd name="connsiteY7" fmla="*/ 1023938 h 1276349"/>
                <a:gd name="connsiteX8" fmla="*/ 159544 w 783431"/>
                <a:gd name="connsiteY8" fmla="*/ 1042988 h 1276349"/>
                <a:gd name="connsiteX9" fmla="*/ 197644 w 783431"/>
                <a:gd name="connsiteY9" fmla="*/ 1069182 h 1276349"/>
                <a:gd name="connsiteX10" fmla="*/ 245269 w 783431"/>
                <a:gd name="connsiteY10" fmla="*/ 1090613 h 1276349"/>
                <a:gd name="connsiteX11" fmla="*/ 264318 w 783431"/>
                <a:gd name="connsiteY11" fmla="*/ 1131094 h 1276349"/>
                <a:gd name="connsiteX12" fmla="*/ 295275 w 783431"/>
                <a:gd name="connsiteY12" fmla="*/ 1164431 h 1276349"/>
                <a:gd name="connsiteX13" fmla="*/ 385762 w 783431"/>
                <a:gd name="connsiteY13" fmla="*/ 1200149 h 1276349"/>
                <a:gd name="connsiteX14" fmla="*/ 404812 w 783431"/>
                <a:gd name="connsiteY14" fmla="*/ 1276349 h 1276349"/>
                <a:gd name="connsiteX15" fmla="*/ 469106 w 783431"/>
                <a:gd name="connsiteY15" fmla="*/ 1181100 h 1276349"/>
                <a:gd name="connsiteX16" fmla="*/ 554831 w 783431"/>
                <a:gd name="connsiteY16" fmla="*/ 1202531 h 1276349"/>
                <a:gd name="connsiteX17" fmla="*/ 592931 w 783431"/>
                <a:gd name="connsiteY17" fmla="*/ 1126331 h 1276349"/>
                <a:gd name="connsiteX18" fmla="*/ 604837 w 783431"/>
                <a:gd name="connsiteY18" fmla="*/ 1085850 h 1276349"/>
                <a:gd name="connsiteX19" fmla="*/ 585787 w 783431"/>
                <a:gd name="connsiteY19" fmla="*/ 1035844 h 1276349"/>
                <a:gd name="connsiteX20" fmla="*/ 607219 w 783431"/>
                <a:gd name="connsiteY20" fmla="*/ 1021557 h 1276349"/>
                <a:gd name="connsiteX21" fmla="*/ 645319 w 783431"/>
                <a:gd name="connsiteY21" fmla="*/ 1016794 h 1276349"/>
                <a:gd name="connsiteX22" fmla="*/ 685800 w 783431"/>
                <a:gd name="connsiteY22" fmla="*/ 997744 h 1276349"/>
                <a:gd name="connsiteX23" fmla="*/ 716756 w 783431"/>
                <a:gd name="connsiteY23" fmla="*/ 1002507 h 1276349"/>
                <a:gd name="connsiteX24" fmla="*/ 738187 w 783431"/>
                <a:gd name="connsiteY24" fmla="*/ 969169 h 1276349"/>
                <a:gd name="connsiteX25" fmla="*/ 783431 w 783431"/>
                <a:gd name="connsiteY25" fmla="*/ 933450 h 1276349"/>
                <a:gd name="connsiteX26" fmla="*/ 776287 w 783431"/>
                <a:gd name="connsiteY26" fmla="*/ 907257 h 1276349"/>
                <a:gd name="connsiteX27" fmla="*/ 752475 w 783431"/>
                <a:gd name="connsiteY27" fmla="*/ 888207 h 1276349"/>
                <a:gd name="connsiteX28" fmla="*/ 752475 w 783431"/>
                <a:gd name="connsiteY28" fmla="*/ 864394 h 1276349"/>
                <a:gd name="connsiteX29" fmla="*/ 728662 w 783431"/>
                <a:gd name="connsiteY29" fmla="*/ 852488 h 1276349"/>
                <a:gd name="connsiteX30" fmla="*/ 711994 w 783431"/>
                <a:gd name="connsiteY30" fmla="*/ 802482 h 1276349"/>
                <a:gd name="connsiteX31" fmla="*/ 688181 w 783431"/>
                <a:gd name="connsiteY31" fmla="*/ 814388 h 1276349"/>
                <a:gd name="connsiteX32" fmla="*/ 659606 w 783431"/>
                <a:gd name="connsiteY32" fmla="*/ 814388 h 1276349"/>
                <a:gd name="connsiteX33" fmla="*/ 647700 w 783431"/>
                <a:gd name="connsiteY33" fmla="*/ 847725 h 1276349"/>
                <a:gd name="connsiteX34" fmla="*/ 623887 w 783431"/>
                <a:gd name="connsiteY34" fmla="*/ 847725 h 1276349"/>
                <a:gd name="connsiteX35" fmla="*/ 576262 w 783431"/>
                <a:gd name="connsiteY35" fmla="*/ 828675 h 1276349"/>
                <a:gd name="connsiteX36" fmla="*/ 554831 w 783431"/>
                <a:gd name="connsiteY36" fmla="*/ 816769 h 1276349"/>
                <a:gd name="connsiteX37" fmla="*/ 547687 w 783431"/>
                <a:gd name="connsiteY37" fmla="*/ 783432 h 1276349"/>
                <a:gd name="connsiteX38" fmla="*/ 561975 w 783431"/>
                <a:gd name="connsiteY38" fmla="*/ 754857 h 1276349"/>
                <a:gd name="connsiteX39" fmla="*/ 533400 w 783431"/>
                <a:gd name="connsiteY39" fmla="*/ 733425 h 1276349"/>
                <a:gd name="connsiteX40" fmla="*/ 509587 w 783431"/>
                <a:gd name="connsiteY40" fmla="*/ 711994 h 1276349"/>
                <a:gd name="connsiteX41" fmla="*/ 473869 w 783431"/>
                <a:gd name="connsiteY41" fmla="*/ 711994 h 1276349"/>
                <a:gd name="connsiteX42" fmla="*/ 435769 w 783431"/>
                <a:gd name="connsiteY42" fmla="*/ 711994 h 1276349"/>
                <a:gd name="connsiteX43" fmla="*/ 438150 w 783431"/>
                <a:gd name="connsiteY43" fmla="*/ 669132 h 1276349"/>
                <a:gd name="connsiteX44" fmla="*/ 428625 w 783431"/>
                <a:gd name="connsiteY44" fmla="*/ 642938 h 1276349"/>
                <a:gd name="connsiteX45" fmla="*/ 423862 w 783431"/>
                <a:gd name="connsiteY45" fmla="*/ 607219 h 1276349"/>
                <a:gd name="connsiteX46" fmla="*/ 426244 w 783431"/>
                <a:gd name="connsiteY46" fmla="*/ 578644 h 1276349"/>
                <a:gd name="connsiteX47" fmla="*/ 440531 w 783431"/>
                <a:gd name="connsiteY47" fmla="*/ 566738 h 1276349"/>
                <a:gd name="connsiteX48" fmla="*/ 450056 w 783431"/>
                <a:gd name="connsiteY48" fmla="*/ 535782 h 1276349"/>
                <a:gd name="connsiteX49" fmla="*/ 457200 w 783431"/>
                <a:gd name="connsiteY49" fmla="*/ 519113 h 1276349"/>
                <a:gd name="connsiteX50" fmla="*/ 481012 w 783431"/>
                <a:gd name="connsiteY50" fmla="*/ 526257 h 1276349"/>
                <a:gd name="connsiteX51" fmla="*/ 495300 w 783431"/>
                <a:gd name="connsiteY51" fmla="*/ 576263 h 1276349"/>
                <a:gd name="connsiteX52" fmla="*/ 507206 w 783431"/>
                <a:gd name="connsiteY52" fmla="*/ 581025 h 1276349"/>
                <a:gd name="connsiteX53" fmla="*/ 526256 w 783431"/>
                <a:gd name="connsiteY53" fmla="*/ 583407 h 1276349"/>
                <a:gd name="connsiteX54" fmla="*/ 554831 w 783431"/>
                <a:gd name="connsiteY54" fmla="*/ 583407 h 1276349"/>
                <a:gd name="connsiteX55" fmla="*/ 557212 w 783431"/>
                <a:gd name="connsiteY55" fmla="*/ 547688 h 1276349"/>
                <a:gd name="connsiteX56" fmla="*/ 545306 w 783431"/>
                <a:gd name="connsiteY56" fmla="*/ 502444 h 1276349"/>
                <a:gd name="connsiteX57" fmla="*/ 545306 w 783431"/>
                <a:gd name="connsiteY57" fmla="*/ 476250 h 1276349"/>
                <a:gd name="connsiteX58" fmla="*/ 581025 w 783431"/>
                <a:gd name="connsiteY58" fmla="*/ 454819 h 1276349"/>
                <a:gd name="connsiteX59" fmla="*/ 604837 w 783431"/>
                <a:gd name="connsiteY59" fmla="*/ 435769 h 1276349"/>
                <a:gd name="connsiteX60" fmla="*/ 640556 w 783431"/>
                <a:gd name="connsiteY60" fmla="*/ 414338 h 1276349"/>
                <a:gd name="connsiteX61" fmla="*/ 645319 w 783431"/>
                <a:gd name="connsiteY61" fmla="*/ 395288 h 1276349"/>
                <a:gd name="connsiteX62" fmla="*/ 633412 w 783431"/>
                <a:gd name="connsiteY62" fmla="*/ 371475 h 1276349"/>
                <a:gd name="connsiteX63" fmla="*/ 614362 w 783431"/>
                <a:gd name="connsiteY63" fmla="*/ 369094 h 1276349"/>
                <a:gd name="connsiteX64" fmla="*/ 609600 w 783431"/>
                <a:gd name="connsiteY64" fmla="*/ 366713 h 1276349"/>
                <a:gd name="connsiteX65" fmla="*/ 597694 w 783431"/>
                <a:gd name="connsiteY65" fmla="*/ 357188 h 1276349"/>
                <a:gd name="connsiteX66" fmla="*/ 611981 w 783431"/>
                <a:gd name="connsiteY66" fmla="*/ 345282 h 1276349"/>
                <a:gd name="connsiteX67" fmla="*/ 652462 w 783431"/>
                <a:gd name="connsiteY67" fmla="*/ 316707 h 1276349"/>
                <a:gd name="connsiteX68" fmla="*/ 678656 w 783431"/>
                <a:gd name="connsiteY68" fmla="*/ 264319 h 1276349"/>
                <a:gd name="connsiteX69" fmla="*/ 666750 w 783431"/>
                <a:gd name="connsiteY69" fmla="*/ 242888 h 1276349"/>
                <a:gd name="connsiteX70" fmla="*/ 638175 w 783431"/>
                <a:gd name="connsiteY70" fmla="*/ 219075 h 1276349"/>
                <a:gd name="connsiteX71" fmla="*/ 642937 w 783431"/>
                <a:gd name="connsiteY71" fmla="*/ 180975 h 1276349"/>
                <a:gd name="connsiteX72" fmla="*/ 673894 w 783431"/>
                <a:gd name="connsiteY72" fmla="*/ 171450 h 1276349"/>
                <a:gd name="connsiteX73" fmla="*/ 700087 w 783431"/>
                <a:gd name="connsiteY73" fmla="*/ 142875 h 1276349"/>
                <a:gd name="connsiteX74" fmla="*/ 700087 w 783431"/>
                <a:gd name="connsiteY74" fmla="*/ 111919 h 1276349"/>
                <a:gd name="connsiteX75" fmla="*/ 666750 w 783431"/>
                <a:gd name="connsiteY75" fmla="*/ 107157 h 1276349"/>
                <a:gd name="connsiteX76" fmla="*/ 645319 w 783431"/>
                <a:gd name="connsiteY76" fmla="*/ 102394 h 1276349"/>
                <a:gd name="connsiteX77" fmla="*/ 645319 w 783431"/>
                <a:gd name="connsiteY77" fmla="*/ 102394 h 1276349"/>
                <a:gd name="connsiteX78" fmla="*/ 678656 w 783431"/>
                <a:gd name="connsiteY78" fmla="*/ 69057 h 1276349"/>
                <a:gd name="connsiteX79" fmla="*/ 685800 w 783431"/>
                <a:gd name="connsiteY79" fmla="*/ 40482 h 1276349"/>
                <a:gd name="connsiteX80" fmla="*/ 678656 w 783431"/>
                <a:gd name="connsiteY80" fmla="*/ 21432 h 1276349"/>
                <a:gd name="connsiteX81" fmla="*/ 695325 w 783431"/>
                <a:gd name="connsiteY81" fmla="*/ 2382 h 1276349"/>
                <a:gd name="connsiteX82" fmla="*/ 628650 w 783431"/>
                <a:gd name="connsiteY82" fmla="*/ 0 h 1276349"/>
                <a:gd name="connsiteX83" fmla="*/ 552450 w 783431"/>
                <a:gd name="connsiteY83" fmla="*/ 52388 h 1276349"/>
                <a:gd name="connsiteX84" fmla="*/ 538162 w 783431"/>
                <a:gd name="connsiteY84" fmla="*/ 90488 h 1276349"/>
                <a:gd name="connsiteX85" fmla="*/ 445294 w 783431"/>
                <a:gd name="connsiteY85" fmla="*/ 126207 h 1276349"/>
                <a:gd name="connsiteX86" fmla="*/ 397669 w 783431"/>
                <a:gd name="connsiteY86" fmla="*/ 159544 h 1276349"/>
                <a:gd name="connsiteX87" fmla="*/ 376237 w 783431"/>
                <a:gd name="connsiteY87" fmla="*/ 190500 h 1276349"/>
                <a:gd name="connsiteX88" fmla="*/ 350044 w 783431"/>
                <a:gd name="connsiteY88" fmla="*/ 140494 h 1276349"/>
                <a:gd name="connsiteX89" fmla="*/ 316706 w 783431"/>
                <a:gd name="connsiteY89" fmla="*/ 140494 h 1276349"/>
                <a:gd name="connsiteX90" fmla="*/ 304800 w 783431"/>
                <a:gd name="connsiteY90" fmla="*/ 166688 h 1276349"/>
                <a:gd name="connsiteX91" fmla="*/ 280987 w 783431"/>
                <a:gd name="connsiteY91" fmla="*/ 230982 h 1276349"/>
                <a:gd name="connsiteX92" fmla="*/ 154781 w 783431"/>
                <a:gd name="connsiteY92" fmla="*/ 223838 h 1276349"/>
                <a:gd name="connsiteX93" fmla="*/ 140494 w 783431"/>
                <a:gd name="connsiteY93" fmla="*/ 245269 h 1276349"/>
                <a:gd name="connsiteX94" fmla="*/ 138112 w 783431"/>
                <a:gd name="connsiteY94" fmla="*/ 280988 h 1276349"/>
                <a:gd name="connsiteX95" fmla="*/ 66675 w 783431"/>
                <a:gd name="connsiteY95" fmla="*/ 309563 h 1276349"/>
                <a:gd name="connsiteX96" fmla="*/ 54769 w 783431"/>
                <a:gd name="connsiteY96" fmla="*/ 323850 h 1276349"/>
                <a:gd name="connsiteX97" fmla="*/ 66675 w 783431"/>
                <a:gd name="connsiteY97" fmla="*/ 381000 h 1276349"/>
                <a:gd name="connsiteX98" fmla="*/ 19050 w 783431"/>
                <a:gd name="connsiteY98" fmla="*/ 423863 h 1276349"/>
                <a:gd name="connsiteX99" fmla="*/ 26194 w 783431"/>
                <a:gd name="connsiteY99" fmla="*/ 490538 h 1276349"/>
                <a:gd name="connsiteX100" fmla="*/ 33337 w 783431"/>
                <a:gd name="connsiteY100" fmla="*/ 554832 h 1276349"/>
                <a:gd name="connsiteX101" fmla="*/ 0 w 783431"/>
                <a:gd name="connsiteY101" fmla="*/ 614363 h 1276349"/>
                <a:gd name="connsiteX0" fmla="*/ 0 w 783431"/>
                <a:gd name="connsiteY0" fmla="*/ 614363 h 1276349"/>
                <a:gd name="connsiteX1" fmla="*/ 21431 w 783431"/>
                <a:gd name="connsiteY1" fmla="*/ 661988 h 1276349"/>
                <a:gd name="connsiteX2" fmla="*/ 28575 w 783431"/>
                <a:gd name="connsiteY2" fmla="*/ 742950 h 1276349"/>
                <a:gd name="connsiteX3" fmla="*/ 76200 w 783431"/>
                <a:gd name="connsiteY3" fmla="*/ 814388 h 1276349"/>
                <a:gd name="connsiteX4" fmla="*/ 102394 w 783431"/>
                <a:gd name="connsiteY4" fmla="*/ 919163 h 1276349"/>
                <a:gd name="connsiteX5" fmla="*/ 116681 w 783431"/>
                <a:gd name="connsiteY5" fmla="*/ 947738 h 1276349"/>
                <a:gd name="connsiteX6" fmla="*/ 130969 w 783431"/>
                <a:gd name="connsiteY6" fmla="*/ 995363 h 1276349"/>
                <a:gd name="connsiteX7" fmla="*/ 150019 w 783431"/>
                <a:gd name="connsiteY7" fmla="*/ 1023938 h 1276349"/>
                <a:gd name="connsiteX8" fmla="*/ 159544 w 783431"/>
                <a:gd name="connsiteY8" fmla="*/ 1042988 h 1276349"/>
                <a:gd name="connsiteX9" fmla="*/ 197644 w 783431"/>
                <a:gd name="connsiteY9" fmla="*/ 1069182 h 1276349"/>
                <a:gd name="connsiteX10" fmla="*/ 245269 w 783431"/>
                <a:gd name="connsiteY10" fmla="*/ 1090613 h 1276349"/>
                <a:gd name="connsiteX11" fmla="*/ 264318 w 783431"/>
                <a:gd name="connsiteY11" fmla="*/ 1131094 h 1276349"/>
                <a:gd name="connsiteX12" fmla="*/ 295275 w 783431"/>
                <a:gd name="connsiteY12" fmla="*/ 1164431 h 1276349"/>
                <a:gd name="connsiteX13" fmla="*/ 385762 w 783431"/>
                <a:gd name="connsiteY13" fmla="*/ 1200149 h 1276349"/>
                <a:gd name="connsiteX14" fmla="*/ 404812 w 783431"/>
                <a:gd name="connsiteY14" fmla="*/ 1276349 h 1276349"/>
                <a:gd name="connsiteX15" fmla="*/ 438150 w 783431"/>
                <a:gd name="connsiteY15" fmla="*/ 1228724 h 1276349"/>
                <a:gd name="connsiteX16" fmla="*/ 469106 w 783431"/>
                <a:gd name="connsiteY16" fmla="*/ 1181100 h 1276349"/>
                <a:gd name="connsiteX17" fmla="*/ 554831 w 783431"/>
                <a:gd name="connsiteY17" fmla="*/ 1202531 h 1276349"/>
                <a:gd name="connsiteX18" fmla="*/ 592931 w 783431"/>
                <a:gd name="connsiteY18" fmla="*/ 1126331 h 1276349"/>
                <a:gd name="connsiteX19" fmla="*/ 604837 w 783431"/>
                <a:gd name="connsiteY19" fmla="*/ 1085850 h 1276349"/>
                <a:gd name="connsiteX20" fmla="*/ 585787 w 783431"/>
                <a:gd name="connsiteY20" fmla="*/ 1035844 h 1276349"/>
                <a:gd name="connsiteX21" fmla="*/ 607219 w 783431"/>
                <a:gd name="connsiteY21" fmla="*/ 1021557 h 1276349"/>
                <a:gd name="connsiteX22" fmla="*/ 645319 w 783431"/>
                <a:gd name="connsiteY22" fmla="*/ 1016794 h 1276349"/>
                <a:gd name="connsiteX23" fmla="*/ 685800 w 783431"/>
                <a:gd name="connsiteY23" fmla="*/ 997744 h 1276349"/>
                <a:gd name="connsiteX24" fmla="*/ 716756 w 783431"/>
                <a:gd name="connsiteY24" fmla="*/ 1002507 h 1276349"/>
                <a:gd name="connsiteX25" fmla="*/ 738187 w 783431"/>
                <a:gd name="connsiteY25" fmla="*/ 969169 h 1276349"/>
                <a:gd name="connsiteX26" fmla="*/ 783431 w 783431"/>
                <a:gd name="connsiteY26" fmla="*/ 933450 h 1276349"/>
                <a:gd name="connsiteX27" fmla="*/ 776287 w 783431"/>
                <a:gd name="connsiteY27" fmla="*/ 907257 h 1276349"/>
                <a:gd name="connsiteX28" fmla="*/ 752475 w 783431"/>
                <a:gd name="connsiteY28" fmla="*/ 888207 h 1276349"/>
                <a:gd name="connsiteX29" fmla="*/ 752475 w 783431"/>
                <a:gd name="connsiteY29" fmla="*/ 864394 h 1276349"/>
                <a:gd name="connsiteX30" fmla="*/ 728662 w 783431"/>
                <a:gd name="connsiteY30" fmla="*/ 852488 h 1276349"/>
                <a:gd name="connsiteX31" fmla="*/ 711994 w 783431"/>
                <a:gd name="connsiteY31" fmla="*/ 802482 h 1276349"/>
                <a:gd name="connsiteX32" fmla="*/ 688181 w 783431"/>
                <a:gd name="connsiteY32" fmla="*/ 814388 h 1276349"/>
                <a:gd name="connsiteX33" fmla="*/ 659606 w 783431"/>
                <a:gd name="connsiteY33" fmla="*/ 814388 h 1276349"/>
                <a:gd name="connsiteX34" fmla="*/ 647700 w 783431"/>
                <a:gd name="connsiteY34" fmla="*/ 847725 h 1276349"/>
                <a:gd name="connsiteX35" fmla="*/ 623887 w 783431"/>
                <a:gd name="connsiteY35" fmla="*/ 847725 h 1276349"/>
                <a:gd name="connsiteX36" fmla="*/ 576262 w 783431"/>
                <a:gd name="connsiteY36" fmla="*/ 828675 h 1276349"/>
                <a:gd name="connsiteX37" fmla="*/ 554831 w 783431"/>
                <a:gd name="connsiteY37" fmla="*/ 816769 h 1276349"/>
                <a:gd name="connsiteX38" fmla="*/ 547687 w 783431"/>
                <a:gd name="connsiteY38" fmla="*/ 783432 h 1276349"/>
                <a:gd name="connsiteX39" fmla="*/ 561975 w 783431"/>
                <a:gd name="connsiteY39" fmla="*/ 754857 h 1276349"/>
                <a:gd name="connsiteX40" fmla="*/ 533400 w 783431"/>
                <a:gd name="connsiteY40" fmla="*/ 733425 h 1276349"/>
                <a:gd name="connsiteX41" fmla="*/ 509587 w 783431"/>
                <a:gd name="connsiteY41" fmla="*/ 711994 h 1276349"/>
                <a:gd name="connsiteX42" fmla="*/ 473869 w 783431"/>
                <a:gd name="connsiteY42" fmla="*/ 711994 h 1276349"/>
                <a:gd name="connsiteX43" fmla="*/ 435769 w 783431"/>
                <a:gd name="connsiteY43" fmla="*/ 711994 h 1276349"/>
                <a:gd name="connsiteX44" fmla="*/ 438150 w 783431"/>
                <a:gd name="connsiteY44" fmla="*/ 669132 h 1276349"/>
                <a:gd name="connsiteX45" fmla="*/ 428625 w 783431"/>
                <a:gd name="connsiteY45" fmla="*/ 642938 h 1276349"/>
                <a:gd name="connsiteX46" fmla="*/ 423862 w 783431"/>
                <a:gd name="connsiteY46" fmla="*/ 607219 h 1276349"/>
                <a:gd name="connsiteX47" fmla="*/ 426244 w 783431"/>
                <a:gd name="connsiteY47" fmla="*/ 578644 h 1276349"/>
                <a:gd name="connsiteX48" fmla="*/ 440531 w 783431"/>
                <a:gd name="connsiteY48" fmla="*/ 566738 h 1276349"/>
                <a:gd name="connsiteX49" fmla="*/ 450056 w 783431"/>
                <a:gd name="connsiteY49" fmla="*/ 535782 h 1276349"/>
                <a:gd name="connsiteX50" fmla="*/ 457200 w 783431"/>
                <a:gd name="connsiteY50" fmla="*/ 519113 h 1276349"/>
                <a:gd name="connsiteX51" fmla="*/ 481012 w 783431"/>
                <a:gd name="connsiteY51" fmla="*/ 526257 h 1276349"/>
                <a:gd name="connsiteX52" fmla="*/ 495300 w 783431"/>
                <a:gd name="connsiteY52" fmla="*/ 576263 h 1276349"/>
                <a:gd name="connsiteX53" fmla="*/ 507206 w 783431"/>
                <a:gd name="connsiteY53" fmla="*/ 581025 h 1276349"/>
                <a:gd name="connsiteX54" fmla="*/ 526256 w 783431"/>
                <a:gd name="connsiteY54" fmla="*/ 583407 h 1276349"/>
                <a:gd name="connsiteX55" fmla="*/ 554831 w 783431"/>
                <a:gd name="connsiteY55" fmla="*/ 583407 h 1276349"/>
                <a:gd name="connsiteX56" fmla="*/ 557212 w 783431"/>
                <a:gd name="connsiteY56" fmla="*/ 547688 h 1276349"/>
                <a:gd name="connsiteX57" fmla="*/ 545306 w 783431"/>
                <a:gd name="connsiteY57" fmla="*/ 502444 h 1276349"/>
                <a:gd name="connsiteX58" fmla="*/ 545306 w 783431"/>
                <a:gd name="connsiteY58" fmla="*/ 476250 h 1276349"/>
                <a:gd name="connsiteX59" fmla="*/ 581025 w 783431"/>
                <a:gd name="connsiteY59" fmla="*/ 454819 h 1276349"/>
                <a:gd name="connsiteX60" fmla="*/ 604837 w 783431"/>
                <a:gd name="connsiteY60" fmla="*/ 435769 h 1276349"/>
                <a:gd name="connsiteX61" fmla="*/ 640556 w 783431"/>
                <a:gd name="connsiteY61" fmla="*/ 414338 h 1276349"/>
                <a:gd name="connsiteX62" fmla="*/ 645319 w 783431"/>
                <a:gd name="connsiteY62" fmla="*/ 395288 h 1276349"/>
                <a:gd name="connsiteX63" fmla="*/ 633412 w 783431"/>
                <a:gd name="connsiteY63" fmla="*/ 371475 h 1276349"/>
                <a:gd name="connsiteX64" fmla="*/ 614362 w 783431"/>
                <a:gd name="connsiteY64" fmla="*/ 369094 h 1276349"/>
                <a:gd name="connsiteX65" fmla="*/ 609600 w 783431"/>
                <a:gd name="connsiteY65" fmla="*/ 366713 h 1276349"/>
                <a:gd name="connsiteX66" fmla="*/ 597694 w 783431"/>
                <a:gd name="connsiteY66" fmla="*/ 357188 h 1276349"/>
                <a:gd name="connsiteX67" fmla="*/ 611981 w 783431"/>
                <a:gd name="connsiteY67" fmla="*/ 345282 h 1276349"/>
                <a:gd name="connsiteX68" fmla="*/ 652462 w 783431"/>
                <a:gd name="connsiteY68" fmla="*/ 316707 h 1276349"/>
                <a:gd name="connsiteX69" fmla="*/ 678656 w 783431"/>
                <a:gd name="connsiteY69" fmla="*/ 264319 h 1276349"/>
                <a:gd name="connsiteX70" fmla="*/ 666750 w 783431"/>
                <a:gd name="connsiteY70" fmla="*/ 242888 h 1276349"/>
                <a:gd name="connsiteX71" fmla="*/ 638175 w 783431"/>
                <a:gd name="connsiteY71" fmla="*/ 219075 h 1276349"/>
                <a:gd name="connsiteX72" fmla="*/ 642937 w 783431"/>
                <a:gd name="connsiteY72" fmla="*/ 180975 h 1276349"/>
                <a:gd name="connsiteX73" fmla="*/ 673894 w 783431"/>
                <a:gd name="connsiteY73" fmla="*/ 171450 h 1276349"/>
                <a:gd name="connsiteX74" fmla="*/ 700087 w 783431"/>
                <a:gd name="connsiteY74" fmla="*/ 142875 h 1276349"/>
                <a:gd name="connsiteX75" fmla="*/ 700087 w 783431"/>
                <a:gd name="connsiteY75" fmla="*/ 111919 h 1276349"/>
                <a:gd name="connsiteX76" fmla="*/ 666750 w 783431"/>
                <a:gd name="connsiteY76" fmla="*/ 107157 h 1276349"/>
                <a:gd name="connsiteX77" fmla="*/ 645319 w 783431"/>
                <a:gd name="connsiteY77" fmla="*/ 102394 h 1276349"/>
                <a:gd name="connsiteX78" fmla="*/ 645319 w 783431"/>
                <a:gd name="connsiteY78" fmla="*/ 102394 h 1276349"/>
                <a:gd name="connsiteX79" fmla="*/ 678656 w 783431"/>
                <a:gd name="connsiteY79" fmla="*/ 69057 h 1276349"/>
                <a:gd name="connsiteX80" fmla="*/ 685800 w 783431"/>
                <a:gd name="connsiteY80" fmla="*/ 40482 h 1276349"/>
                <a:gd name="connsiteX81" fmla="*/ 678656 w 783431"/>
                <a:gd name="connsiteY81" fmla="*/ 21432 h 1276349"/>
                <a:gd name="connsiteX82" fmla="*/ 695325 w 783431"/>
                <a:gd name="connsiteY82" fmla="*/ 2382 h 1276349"/>
                <a:gd name="connsiteX83" fmla="*/ 628650 w 783431"/>
                <a:gd name="connsiteY83" fmla="*/ 0 h 1276349"/>
                <a:gd name="connsiteX84" fmla="*/ 552450 w 783431"/>
                <a:gd name="connsiteY84" fmla="*/ 52388 h 1276349"/>
                <a:gd name="connsiteX85" fmla="*/ 538162 w 783431"/>
                <a:gd name="connsiteY85" fmla="*/ 90488 h 1276349"/>
                <a:gd name="connsiteX86" fmla="*/ 445294 w 783431"/>
                <a:gd name="connsiteY86" fmla="*/ 126207 h 1276349"/>
                <a:gd name="connsiteX87" fmla="*/ 397669 w 783431"/>
                <a:gd name="connsiteY87" fmla="*/ 159544 h 1276349"/>
                <a:gd name="connsiteX88" fmla="*/ 376237 w 783431"/>
                <a:gd name="connsiteY88" fmla="*/ 190500 h 1276349"/>
                <a:gd name="connsiteX89" fmla="*/ 350044 w 783431"/>
                <a:gd name="connsiteY89" fmla="*/ 140494 h 1276349"/>
                <a:gd name="connsiteX90" fmla="*/ 316706 w 783431"/>
                <a:gd name="connsiteY90" fmla="*/ 140494 h 1276349"/>
                <a:gd name="connsiteX91" fmla="*/ 304800 w 783431"/>
                <a:gd name="connsiteY91" fmla="*/ 166688 h 1276349"/>
                <a:gd name="connsiteX92" fmla="*/ 280987 w 783431"/>
                <a:gd name="connsiteY92" fmla="*/ 230982 h 1276349"/>
                <a:gd name="connsiteX93" fmla="*/ 154781 w 783431"/>
                <a:gd name="connsiteY93" fmla="*/ 223838 h 1276349"/>
                <a:gd name="connsiteX94" fmla="*/ 140494 w 783431"/>
                <a:gd name="connsiteY94" fmla="*/ 245269 h 1276349"/>
                <a:gd name="connsiteX95" fmla="*/ 138112 w 783431"/>
                <a:gd name="connsiteY95" fmla="*/ 280988 h 1276349"/>
                <a:gd name="connsiteX96" fmla="*/ 66675 w 783431"/>
                <a:gd name="connsiteY96" fmla="*/ 309563 h 1276349"/>
                <a:gd name="connsiteX97" fmla="*/ 54769 w 783431"/>
                <a:gd name="connsiteY97" fmla="*/ 323850 h 1276349"/>
                <a:gd name="connsiteX98" fmla="*/ 66675 w 783431"/>
                <a:gd name="connsiteY98" fmla="*/ 381000 h 1276349"/>
                <a:gd name="connsiteX99" fmla="*/ 19050 w 783431"/>
                <a:gd name="connsiteY99" fmla="*/ 423863 h 1276349"/>
                <a:gd name="connsiteX100" fmla="*/ 26194 w 783431"/>
                <a:gd name="connsiteY100" fmla="*/ 490538 h 1276349"/>
                <a:gd name="connsiteX101" fmla="*/ 33337 w 783431"/>
                <a:gd name="connsiteY101" fmla="*/ 554832 h 1276349"/>
                <a:gd name="connsiteX102" fmla="*/ 0 w 783431"/>
                <a:gd name="connsiteY102" fmla="*/ 614363 h 1276349"/>
                <a:gd name="connsiteX0" fmla="*/ 0 w 783431"/>
                <a:gd name="connsiteY0" fmla="*/ 614363 h 1276349"/>
                <a:gd name="connsiteX1" fmla="*/ 21431 w 783431"/>
                <a:gd name="connsiteY1" fmla="*/ 661988 h 1276349"/>
                <a:gd name="connsiteX2" fmla="*/ 28575 w 783431"/>
                <a:gd name="connsiteY2" fmla="*/ 742950 h 1276349"/>
                <a:gd name="connsiteX3" fmla="*/ 76200 w 783431"/>
                <a:gd name="connsiteY3" fmla="*/ 814388 h 1276349"/>
                <a:gd name="connsiteX4" fmla="*/ 102394 w 783431"/>
                <a:gd name="connsiteY4" fmla="*/ 919163 h 1276349"/>
                <a:gd name="connsiteX5" fmla="*/ 116681 w 783431"/>
                <a:gd name="connsiteY5" fmla="*/ 947738 h 1276349"/>
                <a:gd name="connsiteX6" fmla="*/ 130969 w 783431"/>
                <a:gd name="connsiteY6" fmla="*/ 995363 h 1276349"/>
                <a:gd name="connsiteX7" fmla="*/ 150019 w 783431"/>
                <a:gd name="connsiteY7" fmla="*/ 1023938 h 1276349"/>
                <a:gd name="connsiteX8" fmla="*/ 159544 w 783431"/>
                <a:gd name="connsiteY8" fmla="*/ 1042988 h 1276349"/>
                <a:gd name="connsiteX9" fmla="*/ 197644 w 783431"/>
                <a:gd name="connsiteY9" fmla="*/ 1069182 h 1276349"/>
                <a:gd name="connsiteX10" fmla="*/ 245269 w 783431"/>
                <a:gd name="connsiteY10" fmla="*/ 1090613 h 1276349"/>
                <a:gd name="connsiteX11" fmla="*/ 264318 w 783431"/>
                <a:gd name="connsiteY11" fmla="*/ 1131094 h 1276349"/>
                <a:gd name="connsiteX12" fmla="*/ 295275 w 783431"/>
                <a:gd name="connsiteY12" fmla="*/ 1164431 h 1276349"/>
                <a:gd name="connsiteX13" fmla="*/ 385762 w 783431"/>
                <a:gd name="connsiteY13" fmla="*/ 1200149 h 1276349"/>
                <a:gd name="connsiteX14" fmla="*/ 404812 w 783431"/>
                <a:gd name="connsiteY14" fmla="*/ 1276349 h 1276349"/>
                <a:gd name="connsiteX15" fmla="*/ 423863 w 783431"/>
                <a:gd name="connsiteY15" fmla="*/ 1221580 h 1276349"/>
                <a:gd name="connsiteX16" fmla="*/ 469106 w 783431"/>
                <a:gd name="connsiteY16" fmla="*/ 1181100 h 1276349"/>
                <a:gd name="connsiteX17" fmla="*/ 554831 w 783431"/>
                <a:gd name="connsiteY17" fmla="*/ 1202531 h 1276349"/>
                <a:gd name="connsiteX18" fmla="*/ 592931 w 783431"/>
                <a:gd name="connsiteY18" fmla="*/ 1126331 h 1276349"/>
                <a:gd name="connsiteX19" fmla="*/ 604837 w 783431"/>
                <a:gd name="connsiteY19" fmla="*/ 1085850 h 1276349"/>
                <a:gd name="connsiteX20" fmla="*/ 585787 w 783431"/>
                <a:gd name="connsiteY20" fmla="*/ 1035844 h 1276349"/>
                <a:gd name="connsiteX21" fmla="*/ 607219 w 783431"/>
                <a:gd name="connsiteY21" fmla="*/ 1021557 h 1276349"/>
                <a:gd name="connsiteX22" fmla="*/ 645319 w 783431"/>
                <a:gd name="connsiteY22" fmla="*/ 1016794 h 1276349"/>
                <a:gd name="connsiteX23" fmla="*/ 685800 w 783431"/>
                <a:gd name="connsiteY23" fmla="*/ 997744 h 1276349"/>
                <a:gd name="connsiteX24" fmla="*/ 716756 w 783431"/>
                <a:gd name="connsiteY24" fmla="*/ 1002507 h 1276349"/>
                <a:gd name="connsiteX25" fmla="*/ 738187 w 783431"/>
                <a:gd name="connsiteY25" fmla="*/ 969169 h 1276349"/>
                <a:gd name="connsiteX26" fmla="*/ 783431 w 783431"/>
                <a:gd name="connsiteY26" fmla="*/ 933450 h 1276349"/>
                <a:gd name="connsiteX27" fmla="*/ 776287 w 783431"/>
                <a:gd name="connsiteY27" fmla="*/ 907257 h 1276349"/>
                <a:gd name="connsiteX28" fmla="*/ 752475 w 783431"/>
                <a:gd name="connsiteY28" fmla="*/ 888207 h 1276349"/>
                <a:gd name="connsiteX29" fmla="*/ 752475 w 783431"/>
                <a:gd name="connsiteY29" fmla="*/ 864394 h 1276349"/>
                <a:gd name="connsiteX30" fmla="*/ 728662 w 783431"/>
                <a:gd name="connsiteY30" fmla="*/ 852488 h 1276349"/>
                <a:gd name="connsiteX31" fmla="*/ 711994 w 783431"/>
                <a:gd name="connsiteY31" fmla="*/ 802482 h 1276349"/>
                <a:gd name="connsiteX32" fmla="*/ 688181 w 783431"/>
                <a:gd name="connsiteY32" fmla="*/ 814388 h 1276349"/>
                <a:gd name="connsiteX33" fmla="*/ 659606 w 783431"/>
                <a:gd name="connsiteY33" fmla="*/ 814388 h 1276349"/>
                <a:gd name="connsiteX34" fmla="*/ 647700 w 783431"/>
                <a:gd name="connsiteY34" fmla="*/ 847725 h 1276349"/>
                <a:gd name="connsiteX35" fmla="*/ 623887 w 783431"/>
                <a:gd name="connsiteY35" fmla="*/ 847725 h 1276349"/>
                <a:gd name="connsiteX36" fmla="*/ 576262 w 783431"/>
                <a:gd name="connsiteY36" fmla="*/ 828675 h 1276349"/>
                <a:gd name="connsiteX37" fmla="*/ 554831 w 783431"/>
                <a:gd name="connsiteY37" fmla="*/ 816769 h 1276349"/>
                <a:gd name="connsiteX38" fmla="*/ 547687 w 783431"/>
                <a:gd name="connsiteY38" fmla="*/ 783432 h 1276349"/>
                <a:gd name="connsiteX39" fmla="*/ 561975 w 783431"/>
                <a:gd name="connsiteY39" fmla="*/ 754857 h 1276349"/>
                <a:gd name="connsiteX40" fmla="*/ 533400 w 783431"/>
                <a:gd name="connsiteY40" fmla="*/ 733425 h 1276349"/>
                <a:gd name="connsiteX41" fmla="*/ 509587 w 783431"/>
                <a:gd name="connsiteY41" fmla="*/ 711994 h 1276349"/>
                <a:gd name="connsiteX42" fmla="*/ 473869 w 783431"/>
                <a:gd name="connsiteY42" fmla="*/ 711994 h 1276349"/>
                <a:gd name="connsiteX43" fmla="*/ 435769 w 783431"/>
                <a:gd name="connsiteY43" fmla="*/ 711994 h 1276349"/>
                <a:gd name="connsiteX44" fmla="*/ 438150 w 783431"/>
                <a:gd name="connsiteY44" fmla="*/ 669132 h 1276349"/>
                <a:gd name="connsiteX45" fmla="*/ 428625 w 783431"/>
                <a:gd name="connsiteY45" fmla="*/ 642938 h 1276349"/>
                <a:gd name="connsiteX46" fmla="*/ 423862 w 783431"/>
                <a:gd name="connsiteY46" fmla="*/ 607219 h 1276349"/>
                <a:gd name="connsiteX47" fmla="*/ 426244 w 783431"/>
                <a:gd name="connsiteY47" fmla="*/ 578644 h 1276349"/>
                <a:gd name="connsiteX48" fmla="*/ 440531 w 783431"/>
                <a:gd name="connsiteY48" fmla="*/ 566738 h 1276349"/>
                <a:gd name="connsiteX49" fmla="*/ 450056 w 783431"/>
                <a:gd name="connsiteY49" fmla="*/ 535782 h 1276349"/>
                <a:gd name="connsiteX50" fmla="*/ 457200 w 783431"/>
                <a:gd name="connsiteY50" fmla="*/ 519113 h 1276349"/>
                <a:gd name="connsiteX51" fmla="*/ 481012 w 783431"/>
                <a:gd name="connsiteY51" fmla="*/ 526257 h 1276349"/>
                <a:gd name="connsiteX52" fmla="*/ 495300 w 783431"/>
                <a:gd name="connsiteY52" fmla="*/ 576263 h 1276349"/>
                <a:gd name="connsiteX53" fmla="*/ 507206 w 783431"/>
                <a:gd name="connsiteY53" fmla="*/ 581025 h 1276349"/>
                <a:gd name="connsiteX54" fmla="*/ 526256 w 783431"/>
                <a:gd name="connsiteY54" fmla="*/ 583407 h 1276349"/>
                <a:gd name="connsiteX55" fmla="*/ 554831 w 783431"/>
                <a:gd name="connsiteY55" fmla="*/ 583407 h 1276349"/>
                <a:gd name="connsiteX56" fmla="*/ 557212 w 783431"/>
                <a:gd name="connsiteY56" fmla="*/ 547688 h 1276349"/>
                <a:gd name="connsiteX57" fmla="*/ 545306 w 783431"/>
                <a:gd name="connsiteY57" fmla="*/ 502444 h 1276349"/>
                <a:gd name="connsiteX58" fmla="*/ 545306 w 783431"/>
                <a:gd name="connsiteY58" fmla="*/ 476250 h 1276349"/>
                <a:gd name="connsiteX59" fmla="*/ 581025 w 783431"/>
                <a:gd name="connsiteY59" fmla="*/ 454819 h 1276349"/>
                <a:gd name="connsiteX60" fmla="*/ 604837 w 783431"/>
                <a:gd name="connsiteY60" fmla="*/ 435769 h 1276349"/>
                <a:gd name="connsiteX61" fmla="*/ 640556 w 783431"/>
                <a:gd name="connsiteY61" fmla="*/ 414338 h 1276349"/>
                <a:gd name="connsiteX62" fmla="*/ 645319 w 783431"/>
                <a:gd name="connsiteY62" fmla="*/ 395288 h 1276349"/>
                <a:gd name="connsiteX63" fmla="*/ 633412 w 783431"/>
                <a:gd name="connsiteY63" fmla="*/ 371475 h 1276349"/>
                <a:gd name="connsiteX64" fmla="*/ 614362 w 783431"/>
                <a:gd name="connsiteY64" fmla="*/ 369094 h 1276349"/>
                <a:gd name="connsiteX65" fmla="*/ 609600 w 783431"/>
                <a:gd name="connsiteY65" fmla="*/ 366713 h 1276349"/>
                <a:gd name="connsiteX66" fmla="*/ 597694 w 783431"/>
                <a:gd name="connsiteY66" fmla="*/ 357188 h 1276349"/>
                <a:gd name="connsiteX67" fmla="*/ 611981 w 783431"/>
                <a:gd name="connsiteY67" fmla="*/ 345282 h 1276349"/>
                <a:gd name="connsiteX68" fmla="*/ 652462 w 783431"/>
                <a:gd name="connsiteY68" fmla="*/ 316707 h 1276349"/>
                <a:gd name="connsiteX69" fmla="*/ 678656 w 783431"/>
                <a:gd name="connsiteY69" fmla="*/ 264319 h 1276349"/>
                <a:gd name="connsiteX70" fmla="*/ 666750 w 783431"/>
                <a:gd name="connsiteY70" fmla="*/ 242888 h 1276349"/>
                <a:gd name="connsiteX71" fmla="*/ 638175 w 783431"/>
                <a:gd name="connsiteY71" fmla="*/ 219075 h 1276349"/>
                <a:gd name="connsiteX72" fmla="*/ 642937 w 783431"/>
                <a:gd name="connsiteY72" fmla="*/ 180975 h 1276349"/>
                <a:gd name="connsiteX73" fmla="*/ 673894 w 783431"/>
                <a:gd name="connsiteY73" fmla="*/ 171450 h 1276349"/>
                <a:gd name="connsiteX74" fmla="*/ 700087 w 783431"/>
                <a:gd name="connsiteY74" fmla="*/ 142875 h 1276349"/>
                <a:gd name="connsiteX75" fmla="*/ 700087 w 783431"/>
                <a:gd name="connsiteY75" fmla="*/ 111919 h 1276349"/>
                <a:gd name="connsiteX76" fmla="*/ 666750 w 783431"/>
                <a:gd name="connsiteY76" fmla="*/ 107157 h 1276349"/>
                <a:gd name="connsiteX77" fmla="*/ 645319 w 783431"/>
                <a:gd name="connsiteY77" fmla="*/ 102394 h 1276349"/>
                <a:gd name="connsiteX78" fmla="*/ 645319 w 783431"/>
                <a:gd name="connsiteY78" fmla="*/ 102394 h 1276349"/>
                <a:gd name="connsiteX79" fmla="*/ 678656 w 783431"/>
                <a:gd name="connsiteY79" fmla="*/ 69057 h 1276349"/>
                <a:gd name="connsiteX80" fmla="*/ 685800 w 783431"/>
                <a:gd name="connsiteY80" fmla="*/ 40482 h 1276349"/>
                <a:gd name="connsiteX81" fmla="*/ 678656 w 783431"/>
                <a:gd name="connsiteY81" fmla="*/ 21432 h 1276349"/>
                <a:gd name="connsiteX82" fmla="*/ 695325 w 783431"/>
                <a:gd name="connsiteY82" fmla="*/ 2382 h 1276349"/>
                <a:gd name="connsiteX83" fmla="*/ 628650 w 783431"/>
                <a:gd name="connsiteY83" fmla="*/ 0 h 1276349"/>
                <a:gd name="connsiteX84" fmla="*/ 552450 w 783431"/>
                <a:gd name="connsiteY84" fmla="*/ 52388 h 1276349"/>
                <a:gd name="connsiteX85" fmla="*/ 538162 w 783431"/>
                <a:gd name="connsiteY85" fmla="*/ 90488 h 1276349"/>
                <a:gd name="connsiteX86" fmla="*/ 445294 w 783431"/>
                <a:gd name="connsiteY86" fmla="*/ 126207 h 1276349"/>
                <a:gd name="connsiteX87" fmla="*/ 397669 w 783431"/>
                <a:gd name="connsiteY87" fmla="*/ 159544 h 1276349"/>
                <a:gd name="connsiteX88" fmla="*/ 376237 w 783431"/>
                <a:gd name="connsiteY88" fmla="*/ 190500 h 1276349"/>
                <a:gd name="connsiteX89" fmla="*/ 350044 w 783431"/>
                <a:gd name="connsiteY89" fmla="*/ 140494 h 1276349"/>
                <a:gd name="connsiteX90" fmla="*/ 316706 w 783431"/>
                <a:gd name="connsiteY90" fmla="*/ 140494 h 1276349"/>
                <a:gd name="connsiteX91" fmla="*/ 304800 w 783431"/>
                <a:gd name="connsiteY91" fmla="*/ 166688 h 1276349"/>
                <a:gd name="connsiteX92" fmla="*/ 280987 w 783431"/>
                <a:gd name="connsiteY92" fmla="*/ 230982 h 1276349"/>
                <a:gd name="connsiteX93" fmla="*/ 154781 w 783431"/>
                <a:gd name="connsiteY93" fmla="*/ 223838 h 1276349"/>
                <a:gd name="connsiteX94" fmla="*/ 140494 w 783431"/>
                <a:gd name="connsiteY94" fmla="*/ 245269 h 1276349"/>
                <a:gd name="connsiteX95" fmla="*/ 138112 w 783431"/>
                <a:gd name="connsiteY95" fmla="*/ 280988 h 1276349"/>
                <a:gd name="connsiteX96" fmla="*/ 66675 w 783431"/>
                <a:gd name="connsiteY96" fmla="*/ 309563 h 1276349"/>
                <a:gd name="connsiteX97" fmla="*/ 54769 w 783431"/>
                <a:gd name="connsiteY97" fmla="*/ 323850 h 1276349"/>
                <a:gd name="connsiteX98" fmla="*/ 66675 w 783431"/>
                <a:gd name="connsiteY98" fmla="*/ 381000 h 1276349"/>
                <a:gd name="connsiteX99" fmla="*/ 19050 w 783431"/>
                <a:gd name="connsiteY99" fmla="*/ 423863 h 1276349"/>
                <a:gd name="connsiteX100" fmla="*/ 26194 w 783431"/>
                <a:gd name="connsiteY100" fmla="*/ 490538 h 1276349"/>
                <a:gd name="connsiteX101" fmla="*/ 33337 w 783431"/>
                <a:gd name="connsiteY101" fmla="*/ 554832 h 1276349"/>
                <a:gd name="connsiteX102" fmla="*/ 0 w 783431"/>
                <a:gd name="connsiteY102" fmla="*/ 614363 h 1276349"/>
                <a:gd name="connsiteX0" fmla="*/ 0 w 783431"/>
                <a:gd name="connsiteY0" fmla="*/ 614363 h 1276349"/>
                <a:gd name="connsiteX1" fmla="*/ 21431 w 783431"/>
                <a:gd name="connsiteY1" fmla="*/ 661988 h 1276349"/>
                <a:gd name="connsiteX2" fmla="*/ 28575 w 783431"/>
                <a:gd name="connsiteY2" fmla="*/ 742950 h 1276349"/>
                <a:gd name="connsiteX3" fmla="*/ 76200 w 783431"/>
                <a:gd name="connsiteY3" fmla="*/ 814388 h 1276349"/>
                <a:gd name="connsiteX4" fmla="*/ 102394 w 783431"/>
                <a:gd name="connsiteY4" fmla="*/ 919163 h 1276349"/>
                <a:gd name="connsiteX5" fmla="*/ 116681 w 783431"/>
                <a:gd name="connsiteY5" fmla="*/ 947738 h 1276349"/>
                <a:gd name="connsiteX6" fmla="*/ 130969 w 783431"/>
                <a:gd name="connsiteY6" fmla="*/ 995363 h 1276349"/>
                <a:gd name="connsiteX7" fmla="*/ 150019 w 783431"/>
                <a:gd name="connsiteY7" fmla="*/ 1023938 h 1276349"/>
                <a:gd name="connsiteX8" fmla="*/ 159544 w 783431"/>
                <a:gd name="connsiteY8" fmla="*/ 1042988 h 1276349"/>
                <a:gd name="connsiteX9" fmla="*/ 197644 w 783431"/>
                <a:gd name="connsiteY9" fmla="*/ 1069182 h 1276349"/>
                <a:gd name="connsiteX10" fmla="*/ 245269 w 783431"/>
                <a:gd name="connsiteY10" fmla="*/ 1090613 h 1276349"/>
                <a:gd name="connsiteX11" fmla="*/ 264318 w 783431"/>
                <a:gd name="connsiteY11" fmla="*/ 1131094 h 1276349"/>
                <a:gd name="connsiteX12" fmla="*/ 295275 w 783431"/>
                <a:gd name="connsiteY12" fmla="*/ 1164431 h 1276349"/>
                <a:gd name="connsiteX13" fmla="*/ 385762 w 783431"/>
                <a:gd name="connsiteY13" fmla="*/ 1200149 h 1276349"/>
                <a:gd name="connsiteX14" fmla="*/ 404812 w 783431"/>
                <a:gd name="connsiteY14" fmla="*/ 1276349 h 1276349"/>
                <a:gd name="connsiteX15" fmla="*/ 416720 w 783431"/>
                <a:gd name="connsiteY15" fmla="*/ 1212055 h 1276349"/>
                <a:gd name="connsiteX16" fmla="*/ 469106 w 783431"/>
                <a:gd name="connsiteY16" fmla="*/ 1181100 h 1276349"/>
                <a:gd name="connsiteX17" fmla="*/ 554831 w 783431"/>
                <a:gd name="connsiteY17" fmla="*/ 1202531 h 1276349"/>
                <a:gd name="connsiteX18" fmla="*/ 592931 w 783431"/>
                <a:gd name="connsiteY18" fmla="*/ 1126331 h 1276349"/>
                <a:gd name="connsiteX19" fmla="*/ 604837 w 783431"/>
                <a:gd name="connsiteY19" fmla="*/ 1085850 h 1276349"/>
                <a:gd name="connsiteX20" fmla="*/ 585787 w 783431"/>
                <a:gd name="connsiteY20" fmla="*/ 1035844 h 1276349"/>
                <a:gd name="connsiteX21" fmla="*/ 607219 w 783431"/>
                <a:gd name="connsiteY21" fmla="*/ 1021557 h 1276349"/>
                <a:gd name="connsiteX22" fmla="*/ 645319 w 783431"/>
                <a:gd name="connsiteY22" fmla="*/ 1016794 h 1276349"/>
                <a:gd name="connsiteX23" fmla="*/ 685800 w 783431"/>
                <a:gd name="connsiteY23" fmla="*/ 997744 h 1276349"/>
                <a:gd name="connsiteX24" fmla="*/ 716756 w 783431"/>
                <a:gd name="connsiteY24" fmla="*/ 1002507 h 1276349"/>
                <a:gd name="connsiteX25" fmla="*/ 738187 w 783431"/>
                <a:gd name="connsiteY25" fmla="*/ 969169 h 1276349"/>
                <a:gd name="connsiteX26" fmla="*/ 783431 w 783431"/>
                <a:gd name="connsiteY26" fmla="*/ 933450 h 1276349"/>
                <a:gd name="connsiteX27" fmla="*/ 776287 w 783431"/>
                <a:gd name="connsiteY27" fmla="*/ 907257 h 1276349"/>
                <a:gd name="connsiteX28" fmla="*/ 752475 w 783431"/>
                <a:gd name="connsiteY28" fmla="*/ 888207 h 1276349"/>
                <a:gd name="connsiteX29" fmla="*/ 752475 w 783431"/>
                <a:gd name="connsiteY29" fmla="*/ 864394 h 1276349"/>
                <a:gd name="connsiteX30" fmla="*/ 728662 w 783431"/>
                <a:gd name="connsiteY30" fmla="*/ 852488 h 1276349"/>
                <a:gd name="connsiteX31" fmla="*/ 711994 w 783431"/>
                <a:gd name="connsiteY31" fmla="*/ 802482 h 1276349"/>
                <a:gd name="connsiteX32" fmla="*/ 688181 w 783431"/>
                <a:gd name="connsiteY32" fmla="*/ 814388 h 1276349"/>
                <a:gd name="connsiteX33" fmla="*/ 659606 w 783431"/>
                <a:gd name="connsiteY33" fmla="*/ 814388 h 1276349"/>
                <a:gd name="connsiteX34" fmla="*/ 647700 w 783431"/>
                <a:gd name="connsiteY34" fmla="*/ 847725 h 1276349"/>
                <a:gd name="connsiteX35" fmla="*/ 623887 w 783431"/>
                <a:gd name="connsiteY35" fmla="*/ 847725 h 1276349"/>
                <a:gd name="connsiteX36" fmla="*/ 576262 w 783431"/>
                <a:gd name="connsiteY36" fmla="*/ 828675 h 1276349"/>
                <a:gd name="connsiteX37" fmla="*/ 554831 w 783431"/>
                <a:gd name="connsiteY37" fmla="*/ 816769 h 1276349"/>
                <a:gd name="connsiteX38" fmla="*/ 547687 w 783431"/>
                <a:gd name="connsiteY38" fmla="*/ 783432 h 1276349"/>
                <a:gd name="connsiteX39" fmla="*/ 561975 w 783431"/>
                <a:gd name="connsiteY39" fmla="*/ 754857 h 1276349"/>
                <a:gd name="connsiteX40" fmla="*/ 533400 w 783431"/>
                <a:gd name="connsiteY40" fmla="*/ 733425 h 1276349"/>
                <a:gd name="connsiteX41" fmla="*/ 509587 w 783431"/>
                <a:gd name="connsiteY41" fmla="*/ 711994 h 1276349"/>
                <a:gd name="connsiteX42" fmla="*/ 473869 w 783431"/>
                <a:gd name="connsiteY42" fmla="*/ 711994 h 1276349"/>
                <a:gd name="connsiteX43" fmla="*/ 435769 w 783431"/>
                <a:gd name="connsiteY43" fmla="*/ 711994 h 1276349"/>
                <a:gd name="connsiteX44" fmla="*/ 438150 w 783431"/>
                <a:gd name="connsiteY44" fmla="*/ 669132 h 1276349"/>
                <a:gd name="connsiteX45" fmla="*/ 428625 w 783431"/>
                <a:gd name="connsiteY45" fmla="*/ 642938 h 1276349"/>
                <a:gd name="connsiteX46" fmla="*/ 423862 w 783431"/>
                <a:gd name="connsiteY46" fmla="*/ 607219 h 1276349"/>
                <a:gd name="connsiteX47" fmla="*/ 426244 w 783431"/>
                <a:gd name="connsiteY47" fmla="*/ 578644 h 1276349"/>
                <a:gd name="connsiteX48" fmla="*/ 440531 w 783431"/>
                <a:gd name="connsiteY48" fmla="*/ 566738 h 1276349"/>
                <a:gd name="connsiteX49" fmla="*/ 450056 w 783431"/>
                <a:gd name="connsiteY49" fmla="*/ 535782 h 1276349"/>
                <a:gd name="connsiteX50" fmla="*/ 457200 w 783431"/>
                <a:gd name="connsiteY50" fmla="*/ 519113 h 1276349"/>
                <a:gd name="connsiteX51" fmla="*/ 481012 w 783431"/>
                <a:gd name="connsiteY51" fmla="*/ 526257 h 1276349"/>
                <a:gd name="connsiteX52" fmla="*/ 495300 w 783431"/>
                <a:gd name="connsiteY52" fmla="*/ 576263 h 1276349"/>
                <a:gd name="connsiteX53" fmla="*/ 507206 w 783431"/>
                <a:gd name="connsiteY53" fmla="*/ 581025 h 1276349"/>
                <a:gd name="connsiteX54" fmla="*/ 526256 w 783431"/>
                <a:gd name="connsiteY54" fmla="*/ 583407 h 1276349"/>
                <a:gd name="connsiteX55" fmla="*/ 554831 w 783431"/>
                <a:gd name="connsiteY55" fmla="*/ 583407 h 1276349"/>
                <a:gd name="connsiteX56" fmla="*/ 557212 w 783431"/>
                <a:gd name="connsiteY56" fmla="*/ 547688 h 1276349"/>
                <a:gd name="connsiteX57" fmla="*/ 545306 w 783431"/>
                <a:gd name="connsiteY57" fmla="*/ 502444 h 1276349"/>
                <a:gd name="connsiteX58" fmla="*/ 545306 w 783431"/>
                <a:gd name="connsiteY58" fmla="*/ 476250 h 1276349"/>
                <a:gd name="connsiteX59" fmla="*/ 581025 w 783431"/>
                <a:gd name="connsiteY59" fmla="*/ 454819 h 1276349"/>
                <a:gd name="connsiteX60" fmla="*/ 604837 w 783431"/>
                <a:gd name="connsiteY60" fmla="*/ 435769 h 1276349"/>
                <a:gd name="connsiteX61" fmla="*/ 640556 w 783431"/>
                <a:gd name="connsiteY61" fmla="*/ 414338 h 1276349"/>
                <a:gd name="connsiteX62" fmla="*/ 645319 w 783431"/>
                <a:gd name="connsiteY62" fmla="*/ 395288 h 1276349"/>
                <a:gd name="connsiteX63" fmla="*/ 633412 w 783431"/>
                <a:gd name="connsiteY63" fmla="*/ 371475 h 1276349"/>
                <a:gd name="connsiteX64" fmla="*/ 614362 w 783431"/>
                <a:gd name="connsiteY64" fmla="*/ 369094 h 1276349"/>
                <a:gd name="connsiteX65" fmla="*/ 609600 w 783431"/>
                <a:gd name="connsiteY65" fmla="*/ 366713 h 1276349"/>
                <a:gd name="connsiteX66" fmla="*/ 597694 w 783431"/>
                <a:gd name="connsiteY66" fmla="*/ 357188 h 1276349"/>
                <a:gd name="connsiteX67" fmla="*/ 611981 w 783431"/>
                <a:gd name="connsiteY67" fmla="*/ 345282 h 1276349"/>
                <a:gd name="connsiteX68" fmla="*/ 652462 w 783431"/>
                <a:gd name="connsiteY68" fmla="*/ 316707 h 1276349"/>
                <a:gd name="connsiteX69" fmla="*/ 678656 w 783431"/>
                <a:gd name="connsiteY69" fmla="*/ 264319 h 1276349"/>
                <a:gd name="connsiteX70" fmla="*/ 666750 w 783431"/>
                <a:gd name="connsiteY70" fmla="*/ 242888 h 1276349"/>
                <a:gd name="connsiteX71" fmla="*/ 638175 w 783431"/>
                <a:gd name="connsiteY71" fmla="*/ 219075 h 1276349"/>
                <a:gd name="connsiteX72" fmla="*/ 642937 w 783431"/>
                <a:gd name="connsiteY72" fmla="*/ 180975 h 1276349"/>
                <a:gd name="connsiteX73" fmla="*/ 673894 w 783431"/>
                <a:gd name="connsiteY73" fmla="*/ 171450 h 1276349"/>
                <a:gd name="connsiteX74" fmla="*/ 700087 w 783431"/>
                <a:gd name="connsiteY74" fmla="*/ 142875 h 1276349"/>
                <a:gd name="connsiteX75" fmla="*/ 700087 w 783431"/>
                <a:gd name="connsiteY75" fmla="*/ 111919 h 1276349"/>
                <a:gd name="connsiteX76" fmla="*/ 666750 w 783431"/>
                <a:gd name="connsiteY76" fmla="*/ 107157 h 1276349"/>
                <a:gd name="connsiteX77" fmla="*/ 645319 w 783431"/>
                <a:gd name="connsiteY77" fmla="*/ 102394 h 1276349"/>
                <a:gd name="connsiteX78" fmla="*/ 645319 w 783431"/>
                <a:gd name="connsiteY78" fmla="*/ 102394 h 1276349"/>
                <a:gd name="connsiteX79" fmla="*/ 678656 w 783431"/>
                <a:gd name="connsiteY79" fmla="*/ 69057 h 1276349"/>
                <a:gd name="connsiteX80" fmla="*/ 685800 w 783431"/>
                <a:gd name="connsiteY80" fmla="*/ 40482 h 1276349"/>
                <a:gd name="connsiteX81" fmla="*/ 678656 w 783431"/>
                <a:gd name="connsiteY81" fmla="*/ 21432 h 1276349"/>
                <a:gd name="connsiteX82" fmla="*/ 695325 w 783431"/>
                <a:gd name="connsiteY82" fmla="*/ 2382 h 1276349"/>
                <a:gd name="connsiteX83" fmla="*/ 628650 w 783431"/>
                <a:gd name="connsiteY83" fmla="*/ 0 h 1276349"/>
                <a:gd name="connsiteX84" fmla="*/ 552450 w 783431"/>
                <a:gd name="connsiteY84" fmla="*/ 52388 h 1276349"/>
                <a:gd name="connsiteX85" fmla="*/ 538162 w 783431"/>
                <a:gd name="connsiteY85" fmla="*/ 90488 h 1276349"/>
                <a:gd name="connsiteX86" fmla="*/ 445294 w 783431"/>
                <a:gd name="connsiteY86" fmla="*/ 126207 h 1276349"/>
                <a:gd name="connsiteX87" fmla="*/ 397669 w 783431"/>
                <a:gd name="connsiteY87" fmla="*/ 159544 h 1276349"/>
                <a:gd name="connsiteX88" fmla="*/ 376237 w 783431"/>
                <a:gd name="connsiteY88" fmla="*/ 190500 h 1276349"/>
                <a:gd name="connsiteX89" fmla="*/ 350044 w 783431"/>
                <a:gd name="connsiteY89" fmla="*/ 140494 h 1276349"/>
                <a:gd name="connsiteX90" fmla="*/ 316706 w 783431"/>
                <a:gd name="connsiteY90" fmla="*/ 140494 h 1276349"/>
                <a:gd name="connsiteX91" fmla="*/ 304800 w 783431"/>
                <a:gd name="connsiteY91" fmla="*/ 166688 h 1276349"/>
                <a:gd name="connsiteX92" fmla="*/ 280987 w 783431"/>
                <a:gd name="connsiteY92" fmla="*/ 230982 h 1276349"/>
                <a:gd name="connsiteX93" fmla="*/ 154781 w 783431"/>
                <a:gd name="connsiteY93" fmla="*/ 223838 h 1276349"/>
                <a:gd name="connsiteX94" fmla="*/ 140494 w 783431"/>
                <a:gd name="connsiteY94" fmla="*/ 245269 h 1276349"/>
                <a:gd name="connsiteX95" fmla="*/ 138112 w 783431"/>
                <a:gd name="connsiteY95" fmla="*/ 280988 h 1276349"/>
                <a:gd name="connsiteX96" fmla="*/ 66675 w 783431"/>
                <a:gd name="connsiteY96" fmla="*/ 309563 h 1276349"/>
                <a:gd name="connsiteX97" fmla="*/ 54769 w 783431"/>
                <a:gd name="connsiteY97" fmla="*/ 323850 h 1276349"/>
                <a:gd name="connsiteX98" fmla="*/ 66675 w 783431"/>
                <a:gd name="connsiteY98" fmla="*/ 381000 h 1276349"/>
                <a:gd name="connsiteX99" fmla="*/ 19050 w 783431"/>
                <a:gd name="connsiteY99" fmla="*/ 423863 h 1276349"/>
                <a:gd name="connsiteX100" fmla="*/ 26194 w 783431"/>
                <a:gd name="connsiteY100" fmla="*/ 490538 h 1276349"/>
                <a:gd name="connsiteX101" fmla="*/ 33337 w 783431"/>
                <a:gd name="connsiteY101" fmla="*/ 554832 h 1276349"/>
                <a:gd name="connsiteX102" fmla="*/ 0 w 783431"/>
                <a:gd name="connsiteY102" fmla="*/ 614363 h 127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783431" h="1276349">
                  <a:moveTo>
                    <a:pt x="0" y="614363"/>
                  </a:moveTo>
                  <a:lnTo>
                    <a:pt x="21431" y="661988"/>
                  </a:lnTo>
                  <a:lnTo>
                    <a:pt x="28575" y="742950"/>
                  </a:lnTo>
                  <a:lnTo>
                    <a:pt x="76200" y="814388"/>
                  </a:lnTo>
                  <a:lnTo>
                    <a:pt x="102394" y="919163"/>
                  </a:lnTo>
                  <a:lnTo>
                    <a:pt x="116681" y="947738"/>
                  </a:lnTo>
                  <a:lnTo>
                    <a:pt x="130969" y="995363"/>
                  </a:lnTo>
                  <a:lnTo>
                    <a:pt x="150019" y="1023938"/>
                  </a:lnTo>
                  <a:lnTo>
                    <a:pt x="159544" y="1042988"/>
                  </a:lnTo>
                  <a:lnTo>
                    <a:pt x="197644" y="1069182"/>
                  </a:lnTo>
                  <a:lnTo>
                    <a:pt x="245269" y="1090613"/>
                  </a:lnTo>
                  <a:lnTo>
                    <a:pt x="264318" y="1131094"/>
                  </a:lnTo>
                  <a:lnTo>
                    <a:pt x="295275" y="1164431"/>
                  </a:lnTo>
                  <a:lnTo>
                    <a:pt x="385762" y="1200149"/>
                  </a:lnTo>
                  <a:lnTo>
                    <a:pt x="404812" y="1276349"/>
                  </a:lnTo>
                  <a:lnTo>
                    <a:pt x="416720" y="1212055"/>
                  </a:lnTo>
                  <a:lnTo>
                    <a:pt x="469106" y="1181100"/>
                  </a:lnTo>
                  <a:lnTo>
                    <a:pt x="554831" y="1202531"/>
                  </a:lnTo>
                  <a:lnTo>
                    <a:pt x="592931" y="1126331"/>
                  </a:lnTo>
                  <a:lnTo>
                    <a:pt x="604837" y="1085850"/>
                  </a:lnTo>
                  <a:lnTo>
                    <a:pt x="585787" y="1035844"/>
                  </a:lnTo>
                  <a:lnTo>
                    <a:pt x="607219" y="1021557"/>
                  </a:lnTo>
                  <a:lnTo>
                    <a:pt x="645319" y="1016794"/>
                  </a:lnTo>
                  <a:lnTo>
                    <a:pt x="685800" y="997744"/>
                  </a:lnTo>
                  <a:lnTo>
                    <a:pt x="716756" y="1002507"/>
                  </a:lnTo>
                  <a:lnTo>
                    <a:pt x="738187" y="969169"/>
                  </a:lnTo>
                  <a:lnTo>
                    <a:pt x="783431" y="933450"/>
                  </a:lnTo>
                  <a:lnTo>
                    <a:pt x="776287" y="907257"/>
                  </a:lnTo>
                  <a:lnTo>
                    <a:pt x="752475" y="888207"/>
                  </a:lnTo>
                  <a:lnTo>
                    <a:pt x="752475" y="864394"/>
                  </a:lnTo>
                  <a:lnTo>
                    <a:pt x="728662" y="852488"/>
                  </a:lnTo>
                  <a:lnTo>
                    <a:pt x="711994" y="802482"/>
                  </a:lnTo>
                  <a:lnTo>
                    <a:pt x="688181" y="814388"/>
                  </a:lnTo>
                  <a:lnTo>
                    <a:pt x="659606" y="814388"/>
                  </a:lnTo>
                  <a:lnTo>
                    <a:pt x="647700" y="847725"/>
                  </a:lnTo>
                  <a:lnTo>
                    <a:pt x="623887" y="847725"/>
                  </a:lnTo>
                  <a:lnTo>
                    <a:pt x="576262" y="828675"/>
                  </a:lnTo>
                  <a:lnTo>
                    <a:pt x="554831" y="816769"/>
                  </a:lnTo>
                  <a:lnTo>
                    <a:pt x="547687" y="783432"/>
                  </a:lnTo>
                  <a:lnTo>
                    <a:pt x="561975" y="754857"/>
                  </a:lnTo>
                  <a:lnTo>
                    <a:pt x="533400" y="733425"/>
                  </a:lnTo>
                  <a:lnTo>
                    <a:pt x="509587" y="711994"/>
                  </a:lnTo>
                  <a:lnTo>
                    <a:pt x="473869" y="711994"/>
                  </a:lnTo>
                  <a:lnTo>
                    <a:pt x="435769" y="711994"/>
                  </a:lnTo>
                  <a:lnTo>
                    <a:pt x="438150" y="669132"/>
                  </a:lnTo>
                  <a:lnTo>
                    <a:pt x="428625" y="642938"/>
                  </a:lnTo>
                  <a:lnTo>
                    <a:pt x="423862" y="607219"/>
                  </a:lnTo>
                  <a:lnTo>
                    <a:pt x="426244" y="578644"/>
                  </a:lnTo>
                  <a:lnTo>
                    <a:pt x="440531" y="566738"/>
                  </a:lnTo>
                  <a:lnTo>
                    <a:pt x="450056" y="535782"/>
                  </a:lnTo>
                  <a:lnTo>
                    <a:pt x="457200" y="519113"/>
                  </a:lnTo>
                  <a:lnTo>
                    <a:pt x="481012" y="526257"/>
                  </a:lnTo>
                  <a:lnTo>
                    <a:pt x="495300" y="576263"/>
                  </a:lnTo>
                  <a:lnTo>
                    <a:pt x="507206" y="581025"/>
                  </a:lnTo>
                  <a:lnTo>
                    <a:pt x="526256" y="583407"/>
                  </a:lnTo>
                  <a:lnTo>
                    <a:pt x="554831" y="583407"/>
                  </a:lnTo>
                  <a:lnTo>
                    <a:pt x="557212" y="547688"/>
                  </a:lnTo>
                  <a:lnTo>
                    <a:pt x="545306" y="502444"/>
                  </a:lnTo>
                  <a:lnTo>
                    <a:pt x="545306" y="476250"/>
                  </a:lnTo>
                  <a:lnTo>
                    <a:pt x="581025" y="454819"/>
                  </a:lnTo>
                  <a:lnTo>
                    <a:pt x="604837" y="435769"/>
                  </a:lnTo>
                  <a:lnTo>
                    <a:pt x="640556" y="414338"/>
                  </a:lnTo>
                  <a:lnTo>
                    <a:pt x="645319" y="395288"/>
                  </a:lnTo>
                  <a:lnTo>
                    <a:pt x="633412" y="371475"/>
                  </a:lnTo>
                  <a:lnTo>
                    <a:pt x="614362" y="369094"/>
                  </a:lnTo>
                  <a:lnTo>
                    <a:pt x="609600" y="366713"/>
                  </a:lnTo>
                  <a:lnTo>
                    <a:pt x="597694" y="357188"/>
                  </a:lnTo>
                  <a:lnTo>
                    <a:pt x="611981" y="345282"/>
                  </a:lnTo>
                  <a:lnTo>
                    <a:pt x="652462" y="316707"/>
                  </a:lnTo>
                  <a:lnTo>
                    <a:pt x="678656" y="264319"/>
                  </a:lnTo>
                  <a:lnTo>
                    <a:pt x="666750" y="242888"/>
                  </a:lnTo>
                  <a:lnTo>
                    <a:pt x="638175" y="219075"/>
                  </a:lnTo>
                  <a:lnTo>
                    <a:pt x="642937" y="180975"/>
                  </a:lnTo>
                  <a:lnTo>
                    <a:pt x="673894" y="171450"/>
                  </a:lnTo>
                  <a:lnTo>
                    <a:pt x="700087" y="142875"/>
                  </a:lnTo>
                  <a:lnTo>
                    <a:pt x="700087" y="111919"/>
                  </a:lnTo>
                  <a:lnTo>
                    <a:pt x="666750" y="107157"/>
                  </a:lnTo>
                  <a:lnTo>
                    <a:pt x="645319" y="102394"/>
                  </a:lnTo>
                  <a:lnTo>
                    <a:pt x="645319" y="102394"/>
                  </a:lnTo>
                  <a:lnTo>
                    <a:pt x="678656" y="69057"/>
                  </a:lnTo>
                  <a:lnTo>
                    <a:pt x="685800" y="40482"/>
                  </a:lnTo>
                  <a:lnTo>
                    <a:pt x="678656" y="21432"/>
                  </a:lnTo>
                  <a:lnTo>
                    <a:pt x="695325" y="2382"/>
                  </a:lnTo>
                  <a:lnTo>
                    <a:pt x="628650" y="0"/>
                  </a:lnTo>
                  <a:lnTo>
                    <a:pt x="552450" y="52388"/>
                  </a:lnTo>
                  <a:lnTo>
                    <a:pt x="538162" y="90488"/>
                  </a:lnTo>
                  <a:lnTo>
                    <a:pt x="445294" y="126207"/>
                  </a:lnTo>
                  <a:lnTo>
                    <a:pt x="397669" y="159544"/>
                  </a:lnTo>
                  <a:lnTo>
                    <a:pt x="376237" y="190500"/>
                  </a:lnTo>
                  <a:lnTo>
                    <a:pt x="350044" y="140494"/>
                  </a:lnTo>
                  <a:lnTo>
                    <a:pt x="316706" y="140494"/>
                  </a:lnTo>
                  <a:lnTo>
                    <a:pt x="304800" y="166688"/>
                  </a:lnTo>
                  <a:lnTo>
                    <a:pt x="280987" y="230982"/>
                  </a:lnTo>
                  <a:lnTo>
                    <a:pt x="154781" y="223838"/>
                  </a:lnTo>
                  <a:lnTo>
                    <a:pt x="140494" y="245269"/>
                  </a:lnTo>
                  <a:lnTo>
                    <a:pt x="138112" y="280988"/>
                  </a:lnTo>
                  <a:lnTo>
                    <a:pt x="66675" y="309563"/>
                  </a:lnTo>
                  <a:lnTo>
                    <a:pt x="54769" y="323850"/>
                  </a:lnTo>
                  <a:lnTo>
                    <a:pt x="66675" y="381000"/>
                  </a:lnTo>
                  <a:lnTo>
                    <a:pt x="19050" y="423863"/>
                  </a:lnTo>
                  <a:lnTo>
                    <a:pt x="26194" y="490538"/>
                  </a:lnTo>
                  <a:lnTo>
                    <a:pt x="33337" y="554832"/>
                  </a:lnTo>
                  <a:lnTo>
                    <a:pt x="0" y="614363"/>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22" name="Freeform 83">
              <a:extLst>
                <a:ext uri="{FF2B5EF4-FFF2-40B4-BE49-F238E27FC236}">
                  <a16:creationId xmlns:a16="http://schemas.microsoft.com/office/drawing/2014/main" id="{415F8386-289F-41C7-9EF2-45192407D422}"/>
                </a:ext>
              </a:extLst>
            </p:cNvPr>
            <p:cNvSpPr/>
            <p:nvPr/>
          </p:nvSpPr>
          <p:spPr bwMode="auto">
            <a:xfrm>
              <a:off x="3094115" y="5547174"/>
              <a:ext cx="346320" cy="788608"/>
            </a:xfrm>
            <a:custGeom>
              <a:avLst/>
              <a:gdLst>
                <a:gd name="connsiteX0" fmla="*/ 0 w 395287"/>
                <a:gd name="connsiteY0" fmla="*/ 0 h 900113"/>
                <a:gd name="connsiteX1" fmla="*/ 0 w 395287"/>
                <a:gd name="connsiteY1" fmla="*/ 107157 h 900113"/>
                <a:gd name="connsiteX2" fmla="*/ 9525 w 395287"/>
                <a:gd name="connsiteY2" fmla="*/ 135732 h 900113"/>
                <a:gd name="connsiteX3" fmla="*/ 9525 w 395287"/>
                <a:gd name="connsiteY3" fmla="*/ 171450 h 900113"/>
                <a:gd name="connsiteX4" fmla="*/ 54768 w 395287"/>
                <a:gd name="connsiteY4" fmla="*/ 226219 h 900113"/>
                <a:gd name="connsiteX5" fmla="*/ 73818 w 395287"/>
                <a:gd name="connsiteY5" fmla="*/ 247650 h 900113"/>
                <a:gd name="connsiteX6" fmla="*/ 100012 w 395287"/>
                <a:gd name="connsiteY6" fmla="*/ 302419 h 900113"/>
                <a:gd name="connsiteX7" fmla="*/ 97631 w 395287"/>
                <a:gd name="connsiteY7" fmla="*/ 357188 h 900113"/>
                <a:gd name="connsiteX8" fmla="*/ 152400 w 395287"/>
                <a:gd name="connsiteY8" fmla="*/ 423863 h 900113"/>
                <a:gd name="connsiteX9" fmla="*/ 176212 w 395287"/>
                <a:gd name="connsiteY9" fmla="*/ 600075 h 900113"/>
                <a:gd name="connsiteX10" fmla="*/ 185737 w 395287"/>
                <a:gd name="connsiteY10" fmla="*/ 633413 h 900113"/>
                <a:gd name="connsiteX11" fmla="*/ 200025 w 395287"/>
                <a:gd name="connsiteY11" fmla="*/ 726282 h 900113"/>
                <a:gd name="connsiteX12" fmla="*/ 350043 w 395287"/>
                <a:gd name="connsiteY12" fmla="*/ 895350 h 900113"/>
                <a:gd name="connsiteX13" fmla="*/ 361950 w 395287"/>
                <a:gd name="connsiteY13" fmla="*/ 900113 h 900113"/>
                <a:gd name="connsiteX14" fmla="*/ 381000 w 395287"/>
                <a:gd name="connsiteY14" fmla="*/ 838200 h 900113"/>
                <a:gd name="connsiteX15" fmla="*/ 373856 w 395287"/>
                <a:gd name="connsiteY15" fmla="*/ 823913 h 900113"/>
                <a:gd name="connsiteX16" fmla="*/ 369093 w 395287"/>
                <a:gd name="connsiteY16" fmla="*/ 754857 h 900113"/>
                <a:gd name="connsiteX17" fmla="*/ 390525 w 395287"/>
                <a:gd name="connsiteY17" fmla="*/ 731044 h 900113"/>
                <a:gd name="connsiteX18" fmla="*/ 395287 w 395287"/>
                <a:gd name="connsiteY18" fmla="*/ 688182 h 900113"/>
                <a:gd name="connsiteX19" fmla="*/ 366712 w 395287"/>
                <a:gd name="connsiteY19" fmla="*/ 647700 h 900113"/>
                <a:gd name="connsiteX20" fmla="*/ 364331 w 395287"/>
                <a:gd name="connsiteY20" fmla="*/ 604838 h 900113"/>
                <a:gd name="connsiteX21" fmla="*/ 395287 w 395287"/>
                <a:gd name="connsiteY21" fmla="*/ 550069 h 900113"/>
                <a:gd name="connsiteX22" fmla="*/ 395287 w 395287"/>
                <a:gd name="connsiteY22" fmla="*/ 511969 h 900113"/>
                <a:gd name="connsiteX23" fmla="*/ 381000 w 395287"/>
                <a:gd name="connsiteY23" fmla="*/ 476250 h 900113"/>
                <a:gd name="connsiteX24" fmla="*/ 319087 w 395287"/>
                <a:gd name="connsiteY24" fmla="*/ 464344 h 900113"/>
                <a:gd name="connsiteX25" fmla="*/ 292893 w 395287"/>
                <a:gd name="connsiteY25" fmla="*/ 440532 h 900113"/>
                <a:gd name="connsiteX26" fmla="*/ 285750 w 395287"/>
                <a:gd name="connsiteY26" fmla="*/ 414338 h 900113"/>
                <a:gd name="connsiteX27" fmla="*/ 300037 w 395287"/>
                <a:gd name="connsiteY27" fmla="*/ 376238 h 900113"/>
                <a:gd name="connsiteX28" fmla="*/ 295275 w 395287"/>
                <a:gd name="connsiteY28" fmla="*/ 321469 h 900113"/>
                <a:gd name="connsiteX29" fmla="*/ 288131 w 395287"/>
                <a:gd name="connsiteY29" fmla="*/ 288132 h 900113"/>
                <a:gd name="connsiteX30" fmla="*/ 257175 w 395287"/>
                <a:gd name="connsiteY30" fmla="*/ 211932 h 900113"/>
                <a:gd name="connsiteX31" fmla="*/ 180975 w 395287"/>
                <a:gd name="connsiteY31" fmla="*/ 183357 h 900113"/>
                <a:gd name="connsiteX32" fmla="*/ 147637 w 395287"/>
                <a:gd name="connsiteY32" fmla="*/ 142875 h 900113"/>
                <a:gd name="connsiteX33" fmla="*/ 121443 w 395287"/>
                <a:gd name="connsiteY33" fmla="*/ 104775 h 900113"/>
                <a:gd name="connsiteX34" fmla="*/ 45243 w 395287"/>
                <a:gd name="connsiteY34" fmla="*/ 66675 h 900113"/>
                <a:gd name="connsiteX35" fmla="*/ 0 w 395287"/>
                <a:gd name="connsiteY35" fmla="*/ 0 h 90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95287" h="900113">
                  <a:moveTo>
                    <a:pt x="0" y="0"/>
                  </a:moveTo>
                  <a:lnTo>
                    <a:pt x="0" y="107157"/>
                  </a:lnTo>
                  <a:lnTo>
                    <a:pt x="9525" y="135732"/>
                  </a:lnTo>
                  <a:lnTo>
                    <a:pt x="9525" y="171450"/>
                  </a:lnTo>
                  <a:lnTo>
                    <a:pt x="54768" y="226219"/>
                  </a:lnTo>
                  <a:lnTo>
                    <a:pt x="73818" y="247650"/>
                  </a:lnTo>
                  <a:lnTo>
                    <a:pt x="100012" y="302419"/>
                  </a:lnTo>
                  <a:cubicBezTo>
                    <a:pt x="99218" y="320675"/>
                    <a:pt x="98425" y="338932"/>
                    <a:pt x="97631" y="357188"/>
                  </a:cubicBezTo>
                  <a:lnTo>
                    <a:pt x="152400" y="423863"/>
                  </a:lnTo>
                  <a:lnTo>
                    <a:pt x="176212" y="600075"/>
                  </a:lnTo>
                  <a:lnTo>
                    <a:pt x="185737" y="633413"/>
                  </a:lnTo>
                  <a:lnTo>
                    <a:pt x="200025" y="726282"/>
                  </a:lnTo>
                  <a:lnTo>
                    <a:pt x="350043" y="895350"/>
                  </a:lnTo>
                  <a:lnTo>
                    <a:pt x="361950" y="900113"/>
                  </a:lnTo>
                  <a:lnTo>
                    <a:pt x="381000" y="838200"/>
                  </a:lnTo>
                  <a:lnTo>
                    <a:pt x="373856" y="823913"/>
                  </a:lnTo>
                  <a:lnTo>
                    <a:pt x="369093" y="754857"/>
                  </a:lnTo>
                  <a:lnTo>
                    <a:pt x="390525" y="731044"/>
                  </a:lnTo>
                  <a:lnTo>
                    <a:pt x="395287" y="688182"/>
                  </a:lnTo>
                  <a:lnTo>
                    <a:pt x="366712" y="647700"/>
                  </a:lnTo>
                  <a:lnTo>
                    <a:pt x="364331" y="604838"/>
                  </a:lnTo>
                  <a:lnTo>
                    <a:pt x="395287" y="550069"/>
                  </a:lnTo>
                  <a:lnTo>
                    <a:pt x="395287" y="511969"/>
                  </a:lnTo>
                  <a:lnTo>
                    <a:pt x="381000" y="476250"/>
                  </a:lnTo>
                  <a:lnTo>
                    <a:pt x="319087" y="464344"/>
                  </a:lnTo>
                  <a:lnTo>
                    <a:pt x="292893" y="440532"/>
                  </a:lnTo>
                  <a:lnTo>
                    <a:pt x="285750" y="414338"/>
                  </a:lnTo>
                  <a:lnTo>
                    <a:pt x="300037" y="376238"/>
                  </a:lnTo>
                  <a:lnTo>
                    <a:pt x="295275" y="321469"/>
                  </a:lnTo>
                  <a:lnTo>
                    <a:pt x="288131" y="288132"/>
                  </a:lnTo>
                  <a:lnTo>
                    <a:pt x="257175" y="211932"/>
                  </a:lnTo>
                  <a:lnTo>
                    <a:pt x="180975" y="183357"/>
                  </a:lnTo>
                  <a:lnTo>
                    <a:pt x="147637" y="142875"/>
                  </a:lnTo>
                  <a:lnTo>
                    <a:pt x="121443" y="104775"/>
                  </a:lnTo>
                  <a:lnTo>
                    <a:pt x="45243" y="66675"/>
                  </a:lnTo>
                  <a:lnTo>
                    <a:pt x="0" y="0"/>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Freeform 84">
              <a:extLst>
                <a:ext uri="{FF2B5EF4-FFF2-40B4-BE49-F238E27FC236}">
                  <a16:creationId xmlns:a16="http://schemas.microsoft.com/office/drawing/2014/main" id="{3D315AB8-824B-47FE-8425-D9647C324E30}"/>
                </a:ext>
              </a:extLst>
            </p:cNvPr>
            <p:cNvSpPr/>
            <p:nvPr/>
          </p:nvSpPr>
          <p:spPr bwMode="auto">
            <a:xfrm>
              <a:off x="3344466" y="5434516"/>
              <a:ext cx="620315" cy="923519"/>
            </a:xfrm>
            <a:custGeom>
              <a:avLst/>
              <a:gdLst>
                <a:gd name="connsiteX0" fmla="*/ 85725 w 707231"/>
                <a:gd name="connsiteY0" fmla="*/ 1033462 h 1033462"/>
                <a:gd name="connsiteX1" fmla="*/ 154781 w 707231"/>
                <a:gd name="connsiteY1" fmla="*/ 1026319 h 1033462"/>
                <a:gd name="connsiteX2" fmla="*/ 200025 w 707231"/>
                <a:gd name="connsiteY2" fmla="*/ 1012031 h 1033462"/>
                <a:gd name="connsiteX3" fmla="*/ 247650 w 707231"/>
                <a:gd name="connsiteY3" fmla="*/ 969169 h 1033462"/>
                <a:gd name="connsiteX4" fmla="*/ 276225 w 707231"/>
                <a:gd name="connsiteY4" fmla="*/ 912019 h 1033462"/>
                <a:gd name="connsiteX5" fmla="*/ 350043 w 707231"/>
                <a:gd name="connsiteY5" fmla="*/ 871537 h 1033462"/>
                <a:gd name="connsiteX6" fmla="*/ 411956 w 707231"/>
                <a:gd name="connsiteY6" fmla="*/ 823912 h 1033462"/>
                <a:gd name="connsiteX7" fmla="*/ 411956 w 707231"/>
                <a:gd name="connsiteY7" fmla="*/ 781050 h 1033462"/>
                <a:gd name="connsiteX8" fmla="*/ 471487 w 707231"/>
                <a:gd name="connsiteY8" fmla="*/ 671512 h 1033462"/>
                <a:gd name="connsiteX9" fmla="*/ 547687 w 707231"/>
                <a:gd name="connsiteY9" fmla="*/ 642937 h 1033462"/>
                <a:gd name="connsiteX10" fmla="*/ 595312 w 707231"/>
                <a:gd name="connsiteY10" fmla="*/ 592931 h 1033462"/>
                <a:gd name="connsiteX11" fmla="*/ 597693 w 707231"/>
                <a:gd name="connsiteY11" fmla="*/ 438150 h 1033462"/>
                <a:gd name="connsiteX12" fmla="*/ 604837 w 707231"/>
                <a:gd name="connsiteY12" fmla="*/ 350044 h 1033462"/>
                <a:gd name="connsiteX13" fmla="*/ 614362 w 707231"/>
                <a:gd name="connsiteY13" fmla="*/ 295275 h 1033462"/>
                <a:gd name="connsiteX14" fmla="*/ 671512 w 707231"/>
                <a:gd name="connsiteY14" fmla="*/ 219075 h 1033462"/>
                <a:gd name="connsiteX15" fmla="*/ 707231 w 707231"/>
                <a:gd name="connsiteY15" fmla="*/ 147637 h 1033462"/>
                <a:gd name="connsiteX16" fmla="*/ 697706 w 707231"/>
                <a:gd name="connsiteY16" fmla="*/ 97631 h 1033462"/>
                <a:gd name="connsiteX17" fmla="*/ 702468 w 707231"/>
                <a:gd name="connsiteY17" fmla="*/ 35719 h 1033462"/>
                <a:gd name="connsiteX18" fmla="*/ 628650 w 707231"/>
                <a:gd name="connsiteY18" fmla="*/ 0 h 1033462"/>
                <a:gd name="connsiteX19" fmla="*/ 600075 w 707231"/>
                <a:gd name="connsiteY19" fmla="*/ 28575 h 1033462"/>
                <a:gd name="connsiteX20" fmla="*/ 597693 w 707231"/>
                <a:gd name="connsiteY20" fmla="*/ 69056 h 1033462"/>
                <a:gd name="connsiteX21" fmla="*/ 583406 w 707231"/>
                <a:gd name="connsiteY21" fmla="*/ 88106 h 1033462"/>
                <a:gd name="connsiteX22" fmla="*/ 523875 w 707231"/>
                <a:gd name="connsiteY22" fmla="*/ 95250 h 1033462"/>
                <a:gd name="connsiteX23" fmla="*/ 509587 w 707231"/>
                <a:gd name="connsiteY23" fmla="*/ 135731 h 1033462"/>
                <a:gd name="connsiteX24" fmla="*/ 478631 w 707231"/>
                <a:gd name="connsiteY24" fmla="*/ 128587 h 1033462"/>
                <a:gd name="connsiteX25" fmla="*/ 466725 w 707231"/>
                <a:gd name="connsiteY25" fmla="*/ 154781 h 1033462"/>
                <a:gd name="connsiteX26" fmla="*/ 431006 w 707231"/>
                <a:gd name="connsiteY26" fmla="*/ 147637 h 1033462"/>
                <a:gd name="connsiteX27" fmla="*/ 376237 w 707231"/>
                <a:gd name="connsiteY27" fmla="*/ 169069 h 1033462"/>
                <a:gd name="connsiteX28" fmla="*/ 319087 w 707231"/>
                <a:gd name="connsiteY28" fmla="*/ 166687 h 1033462"/>
                <a:gd name="connsiteX29" fmla="*/ 307181 w 707231"/>
                <a:gd name="connsiteY29" fmla="*/ 135731 h 1033462"/>
                <a:gd name="connsiteX30" fmla="*/ 273843 w 707231"/>
                <a:gd name="connsiteY30" fmla="*/ 147637 h 1033462"/>
                <a:gd name="connsiteX31" fmla="*/ 178593 w 707231"/>
                <a:gd name="connsiteY31" fmla="*/ 173831 h 1033462"/>
                <a:gd name="connsiteX32" fmla="*/ 188118 w 707231"/>
                <a:gd name="connsiteY32" fmla="*/ 202406 h 1033462"/>
                <a:gd name="connsiteX33" fmla="*/ 195262 w 707231"/>
                <a:gd name="connsiteY33" fmla="*/ 233362 h 1033462"/>
                <a:gd name="connsiteX34" fmla="*/ 142875 w 707231"/>
                <a:gd name="connsiteY34" fmla="*/ 338137 h 1033462"/>
                <a:gd name="connsiteX35" fmla="*/ 57150 w 707231"/>
                <a:gd name="connsiteY35" fmla="*/ 323850 h 1033462"/>
                <a:gd name="connsiteX36" fmla="*/ 11906 w 707231"/>
                <a:gd name="connsiteY36" fmla="*/ 347662 h 1033462"/>
                <a:gd name="connsiteX37" fmla="*/ 0 w 707231"/>
                <a:gd name="connsiteY37" fmla="*/ 400050 h 1033462"/>
                <a:gd name="connsiteX38" fmla="*/ 14287 w 707231"/>
                <a:gd name="connsiteY38" fmla="*/ 476250 h 1033462"/>
                <a:gd name="connsiteX39" fmla="*/ 11906 w 707231"/>
                <a:gd name="connsiteY39" fmla="*/ 519112 h 1033462"/>
                <a:gd name="connsiteX40" fmla="*/ 0 w 707231"/>
                <a:gd name="connsiteY40" fmla="*/ 550069 h 1033462"/>
                <a:gd name="connsiteX41" fmla="*/ 11906 w 707231"/>
                <a:gd name="connsiteY41" fmla="*/ 561975 h 1033462"/>
                <a:gd name="connsiteX42" fmla="*/ 30956 w 707231"/>
                <a:gd name="connsiteY42" fmla="*/ 592931 h 1033462"/>
                <a:gd name="connsiteX43" fmla="*/ 97631 w 707231"/>
                <a:gd name="connsiteY43" fmla="*/ 609600 h 1033462"/>
                <a:gd name="connsiteX44" fmla="*/ 104775 w 707231"/>
                <a:gd name="connsiteY44" fmla="*/ 676275 h 1033462"/>
                <a:gd name="connsiteX45" fmla="*/ 90487 w 707231"/>
                <a:gd name="connsiteY45" fmla="*/ 728662 h 1033462"/>
                <a:gd name="connsiteX46" fmla="*/ 80962 w 707231"/>
                <a:gd name="connsiteY46" fmla="*/ 747712 h 1033462"/>
                <a:gd name="connsiteX47" fmla="*/ 80962 w 707231"/>
                <a:gd name="connsiteY47" fmla="*/ 781050 h 1033462"/>
                <a:gd name="connsiteX48" fmla="*/ 109537 w 707231"/>
                <a:gd name="connsiteY48" fmla="*/ 819150 h 1033462"/>
                <a:gd name="connsiteX49" fmla="*/ 102393 w 707231"/>
                <a:gd name="connsiteY49" fmla="*/ 869156 h 1033462"/>
                <a:gd name="connsiteX50" fmla="*/ 83343 w 707231"/>
                <a:gd name="connsiteY50" fmla="*/ 890587 h 1033462"/>
                <a:gd name="connsiteX51" fmla="*/ 85725 w 707231"/>
                <a:gd name="connsiteY51" fmla="*/ 954881 h 1033462"/>
                <a:gd name="connsiteX52" fmla="*/ 92868 w 707231"/>
                <a:gd name="connsiteY52" fmla="*/ 966787 h 1033462"/>
                <a:gd name="connsiteX53" fmla="*/ 85725 w 707231"/>
                <a:gd name="connsiteY53" fmla="*/ 1033462 h 1033462"/>
                <a:gd name="connsiteX0" fmla="*/ 71437 w 707231"/>
                <a:gd name="connsiteY0" fmla="*/ 1031081 h 1031081"/>
                <a:gd name="connsiteX1" fmla="*/ 154781 w 707231"/>
                <a:gd name="connsiteY1" fmla="*/ 1026319 h 1031081"/>
                <a:gd name="connsiteX2" fmla="*/ 200025 w 707231"/>
                <a:gd name="connsiteY2" fmla="*/ 1012031 h 1031081"/>
                <a:gd name="connsiteX3" fmla="*/ 247650 w 707231"/>
                <a:gd name="connsiteY3" fmla="*/ 969169 h 1031081"/>
                <a:gd name="connsiteX4" fmla="*/ 276225 w 707231"/>
                <a:gd name="connsiteY4" fmla="*/ 912019 h 1031081"/>
                <a:gd name="connsiteX5" fmla="*/ 350043 w 707231"/>
                <a:gd name="connsiteY5" fmla="*/ 871537 h 1031081"/>
                <a:gd name="connsiteX6" fmla="*/ 411956 w 707231"/>
                <a:gd name="connsiteY6" fmla="*/ 823912 h 1031081"/>
                <a:gd name="connsiteX7" fmla="*/ 411956 w 707231"/>
                <a:gd name="connsiteY7" fmla="*/ 781050 h 1031081"/>
                <a:gd name="connsiteX8" fmla="*/ 471487 w 707231"/>
                <a:gd name="connsiteY8" fmla="*/ 671512 h 1031081"/>
                <a:gd name="connsiteX9" fmla="*/ 547687 w 707231"/>
                <a:gd name="connsiteY9" fmla="*/ 642937 h 1031081"/>
                <a:gd name="connsiteX10" fmla="*/ 595312 w 707231"/>
                <a:gd name="connsiteY10" fmla="*/ 592931 h 1031081"/>
                <a:gd name="connsiteX11" fmla="*/ 597693 w 707231"/>
                <a:gd name="connsiteY11" fmla="*/ 438150 h 1031081"/>
                <a:gd name="connsiteX12" fmla="*/ 604837 w 707231"/>
                <a:gd name="connsiteY12" fmla="*/ 350044 h 1031081"/>
                <a:gd name="connsiteX13" fmla="*/ 614362 w 707231"/>
                <a:gd name="connsiteY13" fmla="*/ 295275 h 1031081"/>
                <a:gd name="connsiteX14" fmla="*/ 671512 w 707231"/>
                <a:gd name="connsiteY14" fmla="*/ 219075 h 1031081"/>
                <a:gd name="connsiteX15" fmla="*/ 707231 w 707231"/>
                <a:gd name="connsiteY15" fmla="*/ 147637 h 1031081"/>
                <a:gd name="connsiteX16" fmla="*/ 697706 w 707231"/>
                <a:gd name="connsiteY16" fmla="*/ 97631 h 1031081"/>
                <a:gd name="connsiteX17" fmla="*/ 702468 w 707231"/>
                <a:gd name="connsiteY17" fmla="*/ 35719 h 1031081"/>
                <a:gd name="connsiteX18" fmla="*/ 628650 w 707231"/>
                <a:gd name="connsiteY18" fmla="*/ 0 h 1031081"/>
                <a:gd name="connsiteX19" fmla="*/ 600075 w 707231"/>
                <a:gd name="connsiteY19" fmla="*/ 28575 h 1031081"/>
                <a:gd name="connsiteX20" fmla="*/ 597693 w 707231"/>
                <a:gd name="connsiteY20" fmla="*/ 69056 h 1031081"/>
                <a:gd name="connsiteX21" fmla="*/ 583406 w 707231"/>
                <a:gd name="connsiteY21" fmla="*/ 88106 h 1031081"/>
                <a:gd name="connsiteX22" fmla="*/ 523875 w 707231"/>
                <a:gd name="connsiteY22" fmla="*/ 95250 h 1031081"/>
                <a:gd name="connsiteX23" fmla="*/ 509587 w 707231"/>
                <a:gd name="connsiteY23" fmla="*/ 135731 h 1031081"/>
                <a:gd name="connsiteX24" fmla="*/ 478631 w 707231"/>
                <a:gd name="connsiteY24" fmla="*/ 128587 h 1031081"/>
                <a:gd name="connsiteX25" fmla="*/ 466725 w 707231"/>
                <a:gd name="connsiteY25" fmla="*/ 154781 h 1031081"/>
                <a:gd name="connsiteX26" fmla="*/ 431006 w 707231"/>
                <a:gd name="connsiteY26" fmla="*/ 147637 h 1031081"/>
                <a:gd name="connsiteX27" fmla="*/ 376237 w 707231"/>
                <a:gd name="connsiteY27" fmla="*/ 169069 h 1031081"/>
                <a:gd name="connsiteX28" fmla="*/ 319087 w 707231"/>
                <a:gd name="connsiteY28" fmla="*/ 166687 h 1031081"/>
                <a:gd name="connsiteX29" fmla="*/ 307181 w 707231"/>
                <a:gd name="connsiteY29" fmla="*/ 135731 h 1031081"/>
                <a:gd name="connsiteX30" fmla="*/ 273843 w 707231"/>
                <a:gd name="connsiteY30" fmla="*/ 147637 h 1031081"/>
                <a:gd name="connsiteX31" fmla="*/ 178593 w 707231"/>
                <a:gd name="connsiteY31" fmla="*/ 173831 h 1031081"/>
                <a:gd name="connsiteX32" fmla="*/ 188118 w 707231"/>
                <a:gd name="connsiteY32" fmla="*/ 202406 h 1031081"/>
                <a:gd name="connsiteX33" fmla="*/ 195262 w 707231"/>
                <a:gd name="connsiteY33" fmla="*/ 233362 h 1031081"/>
                <a:gd name="connsiteX34" fmla="*/ 142875 w 707231"/>
                <a:gd name="connsiteY34" fmla="*/ 338137 h 1031081"/>
                <a:gd name="connsiteX35" fmla="*/ 57150 w 707231"/>
                <a:gd name="connsiteY35" fmla="*/ 323850 h 1031081"/>
                <a:gd name="connsiteX36" fmla="*/ 11906 w 707231"/>
                <a:gd name="connsiteY36" fmla="*/ 347662 h 1031081"/>
                <a:gd name="connsiteX37" fmla="*/ 0 w 707231"/>
                <a:gd name="connsiteY37" fmla="*/ 400050 h 1031081"/>
                <a:gd name="connsiteX38" fmla="*/ 14287 w 707231"/>
                <a:gd name="connsiteY38" fmla="*/ 476250 h 1031081"/>
                <a:gd name="connsiteX39" fmla="*/ 11906 w 707231"/>
                <a:gd name="connsiteY39" fmla="*/ 519112 h 1031081"/>
                <a:gd name="connsiteX40" fmla="*/ 0 w 707231"/>
                <a:gd name="connsiteY40" fmla="*/ 550069 h 1031081"/>
                <a:gd name="connsiteX41" fmla="*/ 11906 w 707231"/>
                <a:gd name="connsiteY41" fmla="*/ 561975 h 1031081"/>
                <a:gd name="connsiteX42" fmla="*/ 30956 w 707231"/>
                <a:gd name="connsiteY42" fmla="*/ 592931 h 1031081"/>
                <a:gd name="connsiteX43" fmla="*/ 97631 w 707231"/>
                <a:gd name="connsiteY43" fmla="*/ 609600 h 1031081"/>
                <a:gd name="connsiteX44" fmla="*/ 104775 w 707231"/>
                <a:gd name="connsiteY44" fmla="*/ 676275 h 1031081"/>
                <a:gd name="connsiteX45" fmla="*/ 90487 w 707231"/>
                <a:gd name="connsiteY45" fmla="*/ 728662 h 1031081"/>
                <a:gd name="connsiteX46" fmla="*/ 80962 w 707231"/>
                <a:gd name="connsiteY46" fmla="*/ 747712 h 1031081"/>
                <a:gd name="connsiteX47" fmla="*/ 80962 w 707231"/>
                <a:gd name="connsiteY47" fmla="*/ 781050 h 1031081"/>
                <a:gd name="connsiteX48" fmla="*/ 109537 w 707231"/>
                <a:gd name="connsiteY48" fmla="*/ 819150 h 1031081"/>
                <a:gd name="connsiteX49" fmla="*/ 102393 w 707231"/>
                <a:gd name="connsiteY49" fmla="*/ 869156 h 1031081"/>
                <a:gd name="connsiteX50" fmla="*/ 83343 w 707231"/>
                <a:gd name="connsiteY50" fmla="*/ 890587 h 1031081"/>
                <a:gd name="connsiteX51" fmla="*/ 85725 w 707231"/>
                <a:gd name="connsiteY51" fmla="*/ 954881 h 1031081"/>
                <a:gd name="connsiteX52" fmla="*/ 92868 w 707231"/>
                <a:gd name="connsiteY52" fmla="*/ 966787 h 1031081"/>
                <a:gd name="connsiteX53" fmla="*/ 71437 w 707231"/>
                <a:gd name="connsiteY53" fmla="*/ 1031081 h 1031081"/>
                <a:gd name="connsiteX0" fmla="*/ 71437 w 707231"/>
                <a:gd name="connsiteY0" fmla="*/ 1031081 h 1031082"/>
                <a:gd name="connsiteX1" fmla="*/ 119062 w 707231"/>
                <a:gd name="connsiteY1" fmla="*/ 1031082 h 1031082"/>
                <a:gd name="connsiteX2" fmla="*/ 154781 w 707231"/>
                <a:gd name="connsiteY2" fmla="*/ 1026319 h 1031082"/>
                <a:gd name="connsiteX3" fmla="*/ 200025 w 707231"/>
                <a:gd name="connsiteY3" fmla="*/ 1012031 h 1031082"/>
                <a:gd name="connsiteX4" fmla="*/ 247650 w 707231"/>
                <a:gd name="connsiteY4" fmla="*/ 969169 h 1031082"/>
                <a:gd name="connsiteX5" fmla="*/ 276225 w 707231"/>
                <a:gd name="connsiteY5" fmla="*/ 912019 h 1031082"/>
                <a:gd name="connsiteX6" fmla="*/ 350043 w 707231"/>
                <a:gd name="connsiteY6" fmla="*/ 871537 h 1031082"/>
                <a:gd name="connsiteX7" fmla="*/ 411956 w 707231"/>
                <a:gd name="connsiteY7" fmla="*/ 823912 h 1031082"/>
                <a:gd name="connsiteX8" fmla="*/ 411956 w 707231"/>
                <a:gd name="connsiteY8" fmla="*/ 781050 h 1031082"/>
                <a:gd name="connsiteX9" fmla="*/ 471487 w 707231"/>
                <a:gd name="connsiteY9" fmla="*/ 671512 h 1031082"/>
                <a:gd name="connsiteX10" fmla="*/ 547687 w 707231"/>
                <a:gd name="connsiteY10" fmla="*/ 642937 h 1031082"/>
                <a:gd name="connsiteX11" fmla="*/ 595312 w 707231"/>
                <a:gd name="connsiteY11" fmla="*/ 592931 h 1031082"/>
                <a:gd name="connsiteX12" fmla="*/ 597693 w 707231"/>
                <a:gd name="connsiteY12" fmla="*/ 438150 h 1031082"/>
                <a:gd name="connsiteX13" fmla="*/ 604837 w 707231"/>
                <a:gd name="connsiteY13" fmla="*/ 350044 h 1031082"/>
                <a:gd name="connsiteX14" fmla="*/ 614362 w 707231"/>
                <a:gd name="connsiteY14" fmla="*/ 295275 h 1031082"/>
                <a:gd name="connsiteX15" fmla="*/ 671512 w 707231"/>
                <a:gd name="connsiteY15" fmla="*/ 219075 h 1031082"/>
                <a:gd name="connsiteX16" fmla="*/ 707231 w 707231"/>
                <a:gd name="connsiteY16" fmla="*/ 147637 h 1031082"/>
                <a:gd name="connsiteX17" fmla="*/ 697706 w 707231"/>
                <a:gd name="connsiteY17" fmla="*/ 97631 h 1031082"/>
                <a:gd name="connsiteX18" fmla="*/ 702468 w 707231"/>
                <a:gd name="connsiteY18" fmla="*/ 35719 h 1031082"/>
                <a:gd name="connsiteX19" fmla="*/ 628650 w 707231"/>
                <a:gd name="connsiteY19" fmla="*/ 0 h 1031082"/>
                <a:gd name="connsiteX20" fmla="*/ 600075 w 707231"/>
                <a:gd name="connsiteY20" fmla="*/ 28575 h 1031082"/>
                <a:gd name="connsiteX21" fmla="*/ 597693 w 707231"/>
                <a:gd name="connsiteY21" fmla="*/ 69056 h 1031082"/>
                <a:gd name="connsiteX22" fmla="*/ 583406 w 707231"/>
                <a:gd name="connsiteY22" fmla="*/ 88106 h 1031082"/>
                <a:gd name="connsiteX23" fmla="*/ 523875 w 707231"/>
                <a:gd name="connsiteY23" fmla="*/ 95250 h 1031082"/>
                <a:gd name="connsiteX24" fmla="*/ 509587 w 707231"/>
                <a:gd name="connsiteY24" fmla="*/ 135731 h 1031082"/>
                <a:gd name="connsiteX25" fmla="*/ 478631 w 707231"/>
                <a:gd name="connsiteY25" fmla="*/ 128587 h 1031082"/>
                <a:gd name="connsiteX26" fmla="*/ 466725 w 707231"/>
                <a:gd name="connsiteY26" fmla="*/ 154781 h 1031082"/>
                <a:gd name="connsiteX27" fmla="*/ 431006 w 707231"/>
                <a:gd name="connsiteY27" fmla="*/ 147637 h 1031082"/>
                <a:gd name="connsiteX28" fmla="*/ 376237 w 707231"/>
                <a:gd name="connsiteY28" fmla="*/ 169069 h 1031082"/>
                <a:gd name="connsiteX29" fmla="*/ 319087 w 707231"/>
                <a:gd name="connsiteY29" fmla="*/ 166687 h 1031082"/>
                <a:gd name="connsiteX30" fmla="*/ 307181 w 707231"/>
                <a:gd name="connsiteY30" fmla="*/ 135731 h 1031082"/>
                <a:gd name="connsiteX31" fmla="*/ 273843 w 707231"/>
                <a:gd name="connsiteY31" fmla="*/ 147637 h 1031082"/>
                <a:gd name="connsiteX32" fmla="*/ 178593 w 707231"/>
                <a:gd name="connsiteY32" fmla="*/ 173831 h 1031082"/>
                <a:gd name="connsiteX33" fmla="*/ 188118 w 707231"/>
                <a:gd name="connsiteY33" fmla="*/ 202406 h 1031082"/>
                <a:gd name="connsiteX34" fmla="*/ 195262 w 707231"/>
                <a:gd name="connsiteY34" fmla="*/ 233362 h 1031082"/>
                <a:gd name="connsiteX35" fmla="*/ 142875 w 707231"/>
                <a:gd name="connsiteY35" fmla="*/ 338137 h 1031082"/>
                <a:gd name="connsiteX36" fmla="*/ 57150 w 707231"/>
                <a:gd name="connsiteY36" fmla="*/ 323850 h 1031082"/>
                <a:gd name="connsiteX37" fmla="*/ 11906 w 707231"/>
                <a:gd name="connsiteY37" fmla="*/ 347662 h 1031082"/>
                <a:gd name="connsiteX38" fmla="*/ 0 w 707231"/>
                <a:gd name="connsiteY38" fmla="*/ 400050 h 1031082"/>
                <a:gd name="connsiteX39" fmla="*/ 14287 w 707231"/>
                <a:gd name="connsiteY39" fmla="*/ 476250 h 1031082"/>
                <a:gd name="connsiteX40" fmla="*/ 11906 w 707231"/>
                <a:gd name="connsiteY40" fmla="*/ 519112 h 1031082"/>
                <a:gd name="connsiteX41" fmla="*/ 0 w 707231"/>
                <a:gd name="connsiteY41" fmla="*/ 550069 h 1031082"/>
                <a:gd name="connsiteX42" fmla="*/ 11906 w 707231"/>
                <a:gd name="connsiteY42" fmla="*/ 561975 h 1031082"/>
                <a:gd name="connsiteX43" fmla="*/ 30956 w 707231"/>
                <a:gd name="connsiteY43" fmla="*/ 592931 h 1031082"/>
                <a:gd name="connsiteX44" fmla="*/ 97631 w 707231"/>
                <a:gd name="connsiteY44" fmla="*/ 609600 h 1031082"/>
                <a:gd name="connsiteX45" fmla="*/ 104775 w 707231"/>
                <a:gd name="connsiteY45" fmla="*/ 676275 h 1031082"/>
                <a:gd name="connsiteX46" fmla="*/ 90487 w 707231"/>
                <a:gd name="connsiteY46" fmla="*/ 728662 h 1031082"/>
                <a:gd name="connsiteX47" fmla="*/ 80962 w 707231"/>
                <a:gd name="connsiteY47" fmla="*/ 747712 h 1031082"/>
                <a:gd name="connsiteX48" fmla="*/ 80962 w 707231"/>
                <a:gd name="connsiteY48" fmla="*/ 781050 h 1031082"/>
                <a:gd name="connsiteX49" fmla="*/ 109537 w 707231"/>
                <a:gd name="connsiteY49" fmla="*/ 819150 h 1031082"/>
                <a:gd name="connsiteX50" fmla="*/ 102393 w 707231"/>
                <a:gd name="connsiteY50" fmla="*/ 869156 h 1031082"/>
                <a:gd name="connsiteX51" fmla="*/ 83343 w 707231"/>
                <a:gd name="connsiteY51" fmla="*/ 890587 h 1031082"/>
                <a:gd name="connsiteX52" fmla="*/ 85725 w 707231"/>
                <a:gd name="connsiteY52" fmla="*/ 954881 h 1031082"/>
                <a:gd name="connsiteX53" fmla="*/ 92868 w 707231"/>
                <a:gd name="connsiteY53" fmla="*/ 966787 h 1031082"/>
                <a:gd name="connsiteX54" fmla="*/ 71437 w 707231"/>
                <a:gd name="connsiteY54" fmla="*/ 1031081 h 1031082"/>
                <a:gd name="connsiteX0" fmla="*/ 71437 w 707231"/>
                <a:gd name="connsiteY0" fmla="*/ 1031081 h 1059657"/>
                <a:gd name="connsiteX1" fmla="*/ 114299 w 707231"/>
                <a:gd name="connsiteY1" fmla="*/ 1059657 h 1059657"/>
                <a:gd name="connsiteX2" fmla="*/ 154781 w 707231"/>
                <a:gd name="connsiteY2" fmla="*/ 1026319 h 1059657"/>
                <a:gd name="connsiteX3" fmla="*/ 200025 w 707231"/>
                <a:gd name="connsiteY3" fmla="*/ 1012031 h 1059657"/>
                <a:gd name="connsiteX4" fmla="*/ 247650 w 707231"/>
                <a:gd name="connsiteY4" fmla="*/ 969169 h 1059657"/>
                <a:gd name="connsiteX5" fmla="*/ 276225 w 707231"/>
                <a:gd name="connsiteY5" fmla="*/ 912019 h 1059657"/>
                <a:gd name="connsiteX6" fmla="*/ 350043 w 707231"/>
                <a:gd name="connsiteY6" fmla="*/ 871537 h 1059657"/>
                <a:gd name="connsiteX7" fmla="*/ 411956 w 707231"/>
                <a:gd name="connsiteY7" fmla="*/ 823912 h 1059657"/>
                <a:gd name="connsiteX8" fmla="*/ 411956 w 707231"/>
                <a:gd name="connsiteY8" fmla="*/ 781050 h 1059657"/>
                <a:gd name="connsiteX9" fmla="*/ 471487 w 707231"/>
                <a:gd name="connsiteY9" fmla="*/ 671512 h 1059657"/>
                <a:gd name="connsiteX10" fmla="*/ 547687 w 707231"/>
                <a:gd name="connsiteY10" fmla="*/ 642937 h 1059657"/>
                <a:gd name="connsiteX11" fmla="*/ 595312 w 707231"/>
                <a:gd name="connsiteY11" fmla="*/ 592931 h 1059657"/>
                <a:gd name="connsiteX12" fmla="*/ 597693 w 707231"/>
                <a:gd name="connsiteY12" fmla="*/ 438150 h 1059657"/>
                <a:gd name="connsiteX13" fmla="*/ 604837 w 707231"/>
                <a:gd name="connsiteY13" fmla="*/ 350044 h 1059657"/>
                <a:gd name="connsiteX14" fmla="*/ 614362 w 707231"/>
                <a:gd name="connsiteY14" fmla="*/ 295275 h 1059657"/>
                <a:gd name="connsiteX15" fmla="*/ 671512 w 707231"/>
                <a:gd name="connsiteY15" fmla="*/ 219075 h 1059657"/>
                <a:gd name="connsiteX16" fmla="*/ 707231 w 707231"/>
                <a:gd name="connsiteY16" fmla="*/ 147637 h 1059657"/>
                <a:gd name="connsiteX17" fmla="*/ 697706 w 707231"/>
                <a:gd name="connsiteY17" fmla="*/ 97631 h 1059657"/>
                <a:gd name="connsiteX18" fmla="*/ 702468 w 707231"/>
                <a:gd name="connsiteY18" fmla="*/ 35719 h 1059657"/>
                <a:gd name="connsiteX19" fmla="*/ 628650 w 707231"/>
                <a:gd name="connsiteY19" fmla="*/ 0 h 1059657"/>
                <a:gd name="connsiteX20" fmla="*/ 600075 w 707231"/>
                <a:gd name="connsiteY20" fmla="*/ 28575 h 1059657"/>
                <a:gd name="connsiteX21" fmla="*/ 597693 w 707231"/>
                <a:gd name="connsiteY21" fmla="*/ 69056 h 1059657"/>
                <a:gd name="connsiteX22" fmla="*/ 583406 w 707231"/>
                <a:gd name="connsiteY22" fmla="*/ 88106 h 1059657"/>
                <a:gd name="connsiteX23" fmla="*/ 523875 w 707231"/>
                <a:gd name="connsiteY23" fmla="*/ 95250 h 1059657"/>
                <a:gd name="connsiteX24" fmla="*/ 509587 w 707231"/>
                <a:gd name="connsiteY24" fmla="*/ 135731 h 1059657"/>
                <a:gd name="connsiteX25" fmla="*/ 478631 w 707231"/>
                <a:gd name="connsiteY25" fmla="*/ 128587 h 1059657"/>
                <a:gd name="connsiteX26" fmla="*/ 466725 w 707231"/>
                <a:gd name="connsiteY26" fmla="*/ 154781 h 1059657"/>
                <a:gd name="connsiteX27" fmla="*/ 431006 w 707231"/>
                <a:gd name="connsiteY27" fmla="*/ 147637 h 1059657"/>
                <a:gd name="connsiteX28" fmla="*/ 376237 w 707231"/>
                <a:gd name="connsiteY28" fmla="*/ 169069 h 1059657"/>
                <a:gd name="connsiteX29" fmla="*/ 319087 w 707231"/>
                <a:gd name="connsiteY29" fmla="*/ 166687 h 1059657"/>
                <a:gd name="connsiteX30" fmla="*/ 307181 w 707231"/>
                <a:gd name="connsiteY30" fmla="*/ 135731 h 1059657"/>
                <a:gd name="connsiteX31" fmla="*/ 273843 w 707231"/>
                <a:gd name="connsiteY31" fmla="*/ 147637 h 1059657"/>
                <a:gd name="connsiteX32" fmla="*/ 178593 w 707231"/>
                <a:gd name="connsiteY32" fmla="*/ 173831 h 1059657"/>
                <a:gd name="connsiteX33" fmla="*/ 188118 w 707231"/>
                <a:gd name="connsiteY33" fmla="*/ 202406 h 1059657"/>
                <a:gd name="connsiteX34" fmla="*/ 195262 w 707231"/>
                <a:gd name="connsiteY34" fmla="*/ 233362 h 1059657"/>
                <a:gd name="connsiteX35" fmla="*/ 142875 w 707231"/>
                <a:gd name="connsiteY35" fmla="*/ 338137 h 1059657"/>
                <a:gd name="connsiteX36" fmla="*/ 57150 w 707231"/>
                <a:gd name="connsiteY36" fmla="*/ 323850 h 1059657"/>
                <a:gd name="connsiteX37" fmla="*/ 11906 w 707231"/>
                <a:gd name="connsiteY37" fmla="*/ 347662 h 1059657"/>
                <a:gd name="connsiteX38" fmla="*/ 0 w 707231"/>
                <a:gd name="connsiteY38" fmla="*/ 400050 h 1059657"/>
                <a:gd name="connsiteX39" fmla="*/ 14287 w 707231"/>
                <a:gd name="connsiteY39" fmla="*/ 476250 h 1059657"/>
                <a:gd name="connsiteX40" fmla="*/ 11906 w 707231"/>
                <a:gd name="connsiteY40" fmla="*/ 519112 h 1059657"/>
                <a:gd name="connsiteX41" fmla="*/ 0 w 707231"/>
                <a:gd name="connsiteY41" fmla="*/ 550069 h 1059657"/>
                <a:gd name="connsiteX42" fmla="*/ 11906 w 707231"/>
                <a:gd name="connsiteY42" fmla="*/ 561975 h 1059657"/>
                <a:gd name="connsiteX43" fmla="*/ 30956 w 707231"/>
                <a:gd name="connsiteY43" fmla="*/ 592931 h 1059657"/>
                <a:gd name="connsiteX44" fmla="*/ 97631 w 707231"/>
                <a:gd name="connsiteY44" fmla="*/ 609600 h 1059657"/>
                <a:gd name="connsiteX45" fmla="*/ 104775 w 707231"/>
                <a:gd name="connsiteY45" fmla="*/ 676275 h 1059657"/>
                <a:gd name="connsiteX46" fmla="*/ 90487 w 707231"/>
                <a:gd name="connsiteY46" fmla="*/ 728662 h 1059657"/>
                <a:gd name="connsiteX47" fmla="*/ 80962 w 707231"/>
                <a:gd name="connsiteY47" fmla="*/ 747712 h 1059657"/>
                <a:gd name="connsiteX48" fmla="*/ 80962 w 707231"/>
                <a:gd name="connsiteY48" fmla="*/ 781050 h 1059657"/>
                <a:gd name="connsiteX49" fmla="*/ 109537 w 707231"/>
                <a:gd name="connsiteY49" fmla="*/ 819150 h 1059657"/>
                <a:gd name="connsiteX50" fmla="*/ 102393 w 707231"/>
                <a:gd name="connsiteY50" fmla="*/ 869156 h 1059657"/>
                <a:gd name="connsiteX51" fmla="*/ 83343 w 707231"/>
                <a:gd name="connsiteY51" fmla="*/ 890587 h 1059657"/>
                <a:gd name="connsiteX52" fmla="*/ 85725 w 707231"/>
                <a:gd name="connsiteY52" fmla="*/ 954881 h 1059657"/>
                <a:gd name="connsiteX53" fmla="*/ 92868 w 707231"/>
                <a:gd name="connsiteY53" fmla="*/ 966787 h 1059657"/>
                <a:gd name="connsiteX54" fmla="*/ 71437 w 707231"/>
                <a:gd name="connsiteY54" fmla="*/ 1031081 h 1059657"/>
                <a:gd name="connsiteX0" fmla="*/ 71437 w 707231"/>
                <a:gd name="connsiteY0" fmla="*/ 1031081 h 1059657"/>
                <a:gd name="connsiteX1" fmla="*/ 114299 w 707231"/>
                <a:gd name="connsiteY1" fmla="*/ 1059657 h 1059657"/>
                <a:gd name="connsiteX2" fmla="*/ 164306 w 707231"/>
                <a:gd name="connsiteY2" fmla="*/ 1033462 h 1059657"/>
                <a:gd name="connsiteX3" fmla="*/ 200025 w 707231"/>
                <a:gd name="connsiteY3" fmla="*/ 1012031 h 1059657"/>
                <a:gd name="connsiteX4" fmla="*/ 247650 w 707231"/>
                <a:gd name="connsiteY4" fmla="*/ 969169 h 1059657"/>
                <a:gd name="connsiteX5" fmla="*/ 276225 w 707231"/>
                <a:gd name="connsiteY5" fmla="*/ 912019 h 1059657"/>
                <a:gd name="connsiteX6" fmla="*/ 350043 w 707231"/>
                <a:gd name="connsiteY6" fmla="*/ 871537 h 1059657"/>
                <a:gd name="connsiteX7" fmla="*/ 411956 w 707231"/>
                <a:gd name="connsiteY7" fmla="*/ 823912 h 1059657"/>
                <a:gd name="connsiteX8" fmla="*/ 411956 w 707231"/>
                <a:gd name="connsiteY8" fmla="*/ 781050 h 1059657"/>
                <a:gd name="connsiteX9" fmla="*/ 471487 w 707231"/>
                <a:gd name="connsiteY9" fmla="*/ 671512 h 1059657"/>
                <a:gd name="connsiteX10" fmla="*/ 547687 w 707231"/>
                <a:gd name="connsiteY10" fmla="*/ 642937 h 1059657"/>
                <a:gd name="connsiteX11" fmla="*/ 595312 w 707231"/>
                <a:gd name="connsiteY11" fmla="*/ 592931 h 1059657"/>
                <a:gd name="connsiteX12" fmla="*/ 597693 w 707231"/>
                <a:gd name="connsiteY12" fmla="*/ 438150 h 1059657"/>
                <a:gd name="connsiteX13" fmla="*/ 604837 w 707231"/>
                <a:gd name="connsiteY13" fmla="*/ 350044 h 1059657"/>
                <a:gd name="connsiteX14" fmla="*/ 614362 w 707231"/>
                <a:gd name="connsiteY14" fmla="*/ 295275 h 1059657"/>
                <a:gd name="connsiteX15" fmla="*/ 671512 w 707231"/>
                <a:gd name="connsiteY15" fmla="*/ 219075 h 1059657"/>
                <a:gd name="connsiteX16" fmla="*/ 707231 w 707231"/>
                <a:gd name="connsiteY16" fmla="*/ 147637 h 1059657"/>
                <a:gd name="connsiteX17" fmla="*/ 697706 w 707231"/>
                <a:gd name="connsiteY17" fmla="*/ 97631 h 1059657"/>
                <a:gd name="connsiteX18" fmla="*/ 702468 w 707231"/>
                <a:gd name="connsiteY18" fmla="*/ 35719 h 1059657"/>
                <a:gd name="connsiteX19" fmla="*/ 628650 w 707231"/>
                <a:gd name="connsiteY19" fmla="*/ 0 h 1059657"/>
                <a:gd name="connsiteX20" fmla="*/ 600075 w 707231"/>
                <a:gd name="connsiteY20" fmla="*/ 28575 h 1059657"/>
                <a:gd name="connsiteX21" fmla="*/ 597693 w 707231"/>
                <a:gd name="connsiteY21" fmla="*/ 69056 h 1059657"/>
                <a:gd name="connsiteX22" fmla="*/ 583406 w 707231"/>
                <a:gd name="connsiteY22" fmla="*/ 88106 h 1059657"/>
                <a:gd name="connsiteX23" fmla="*/ 523875 w 707231"/>
                <a:gd name="connsiteY23" fmla="*/ 95250 h 1059657"/>
                <a:gd name="connsiteX24" fmla="*/ 509587 w 707231"/>
                <a:gd name="connsiteY24" fmla="*/ 135731 h 1059657"/>
                <a:gd name="connsiteX25" fmla="*/ 478631 w 707231"/>
                <a:gd name="connsiteY25" fmla="*/ 128587 h 1059657"/>
                <a:gd name="connsiteX26" fmla="*/ 466725 w 707231"/>
                <a:gd name="connsiteY26" fmla="*/ 154781 h 1059657"/>
                <a:gd name="connsiteX27" fmla="*/ 431006 w 707231"/>
                <a:gd name="connsiteY27" fmla="*/ 147637 h 1059657"/>
                <a:gd name="connsiteX28" fmla="*/ 376237 w 707231"/>
                <a:gd name="connsiteY28" fmla="*/ 169069 h 1059657"/>
                <a:gd name="connsiteX29" fmla="*/ 319087 w 707231"/>
                <a:gd name="connsiteY29" fmla="*/ 166687 h 1059657"/>
                <a:gd name="connsiteX30" fmla="*/ 307181 w 707231"/>
                <a:gd name="connsiteY30" fmla="*/ 135731 h 1059657"/>
                <a:gd name="connsiteX31" fmla="*/ 273843 w 707231"/>
                <a:gd name="connsiteY31" fmla="*/ 147637 h 1059657"/>
                <a:gd name="connsiteX32" fmla="*/ 178593 w 707231"/>
                <a:gd name="connsiteY32" fmla="*/ 173831 h 1059657"/>
                <a:gd name="connsiteX33" fmla="*/ 188118 w 707231"/>
                <a:gd name="connsiteY33" fmla="*/ 202406 h 1059657"/>
                <a:gd name="connsiteX34" fmla="*/ 195262 w 707231"/>
                <a:gd name="connsiteY34" fmla="*/ 233362 h 1059657"/>
                <a:gd name="connsiteX35" fmla="*/ 142875 w 707231"/>
                <a:gd name="connsiteY35" fmla="*/ 338137 h 1059657"/>
                <a:gd name="connsiteX36" fmla="*/ 57150 w 707231"/>
                <a:gd name="connsiteY36" fmla="*/ 323850 h 1059657"/>
                <a:gd name="connsiteX37" fmla="*/ 11906 w 707231"/>
                <a:gd name="connsiteY37" fmla="*/ 347662 h 1059657"/>
                <a:gd name="connsiteX38" fmla="*/ 0 w 707231"/>
                <a:gd name="connsiteY38" fmla="*/ 400050 h 1059657"/>
                <a:gd name="connsiteX39" fmla="*/ 14287 w 707231"/>
                <a:gd name="connsiteY39" fmla="*/ 476250 h 1059657"/>
                <a:gd name="connsiteX40" fmla="*/ 11906 w 707231"/>
                <a:gd name="connsiteY40" fmla="*/ 519112 h 1059657"/>
                <a:gd name="connsiteX41" fmla="*/ 0 w 707231"/>
                <a:gd name="connsiteY41" fmla="*/ 550069 h 1059657"/>
                <a:gd name="connsiteX42" fmla="*/ 11906 w 707231"/>
                <a:gd name="connsiteY42" fmla="*/ 561975 h 1059657"/>
                <a:gd name="connsiteX43" fmla="*/ 30956 w 707231"/>
                <a:gd name="connsiteY43" fmla="*/ 592931 h 1059657"/>
                <a:gd name="connsiteX44" fmla="*/ 97631 w 707231"/>
                <a:gd name="connsiteY44" fmla="*/ 609600 h 1059657"/>
                <a:gd name="connsiteX45" fmla="*/ 104775 w 707231"/>
                <a:gd name="connsiteY45" fmla="*/ 676275 h 1059657"/>
                <a:gd name="connsiteX46" fmla="*/ 90487 w 707231"/>
                <a:gd name="connsiteY46" fmla="*/ 728662 h 1059657"/>
                <a:gd name="connsiteX47" fmla="*/ 80962 w 707231"/>
                <a:gd name="connsiteY47" fmla="*/ 747712 h 1059657"/>
                <a:gd name="connsiteX48" fmla="*/ 80962 w 707231"/>
                <a:gd name="connsiteY48" fmla="*/ 781050 h 1059657"/>
                <a:gd name="connsiteX49" fmla="*/ 109537 w 707231"/>
                <a:gd name="connsiteY49" fmla="*/ 819150 h 1059657"/>
                <a:gd name="connsiteX50" fmla="*/ 102393 w 707231"/>
                <a:gd name="connsiteY50" fmla="*/ 869156 h 1059657"/>
                <a:gd name="connsiteX51" fmla="*/ 83343 w 707231"/>
                <a:gd name="connsiteY51" fmla="*/ 890587 h 1059657"/>
                <a:gd name="connsiteX52" fmla="*/ 85725 w 707231"/>
                <a:gd name="connsiteY52" fmla="*/ 954881 h 1059657"/>
                <a:gd name="connsiteX53" fmla="*/ 92868 w 707231"/>
                <a:gd name="connsiteY53" fmla="*/ 966787 h 1059657"/>
                <a:gd name="connsiteX54" fmla="*/ 71437 w 707231"/>
                <a:gd name="connsiteY54" fmla="*/ 1031081 h 1059657"/>
                <a:gd name="connsiteX0" fmla="*/ 71437 w 707231"/>
                <a:gd name="connsiteY0" fmla="*/ 1031081 h 1054894"/>
                <a:gd name="connsiteX1" fmla="*/ 102393 w 707231"/>
                <a:gd name="connsiteY1" fmla="*/ 1054894 h 1054894"/>
                <a:gd name="connsiteX2" fmla="*/ 164306 w 707231"/>
                <a:gd name="connsiteY2" fmla="*/ 1033462 h 1054894"/>
                <a:gd name="connsiteX3" fmla="*/ 200025 w 707231"/>
                <a:gd name="connsiteY3" fmla="*/ 1012031 h 1054894"/>
                <a:gd name="connsiteX4" fmla="*/ 247650 w 707231"/>
                <a:gd name="connsiteY4" fmla="*/ 969169 h 1054894"/>
                <a:gd name="connsiteX5" fmla="*/ 276225 w 707231"/>
                <a:gd name="connsiteY5" fmla="*/ 912019 h 1054894"/>
                <a:gd name="connsiteX6" fmla="*/ 350043 w 707231"/>
                <a:gd name="connsiteY6" fmla="*/ 871537 h 1054894"/>
                <a:gd name="connsiteX7" fmla="*/ 411956 w 707231"/>
                <a:gd name="connsiteY7" fmla="*/ 823912 h 1054894"/>
                <a:gd name="connsiteX8" fmla="*/ 411956 w 707231"/>
                <a:gd name="connsiteY8" fmla="*/ 781050 h 1054894"/>
                <a:gd name="connsiteX9" fmla="*/ 471487 w 707231"/>
                <a:gd name="connsiteY9" fmla="*/ 671512 h 1054894"/>
                <a:gd name="connsiteX10" fmla="*/ 547687 w 707231"/>
                <a:gd name="connsiteY10" fmla="*/ 642937 h 1054894"/>
                <a:gd name="connsiteX11" fmla="*/ 595312 w 707231"/>
                <a:gd name="connsiteY11" fmla="*/ 592931 h 1054894"/>
                <a:gd name="connsiteX12" fmla="*/ 597693 w 707231"/>
                <a:gd name="connsiteY12" fmla="*/ 438150 h 1054894"/>
                <a:gd name="connsiteX13" fmla="*/ 604837 w 707231"/>
                <a:gd name="connsiteY13" fmla="*/ 350044 h 1054894"/>
                <a:gd name="connsiteX14" fmla="*/ 614362 w 707231"/>
                <a:gd name="connsiteY14" fmla="*/ 295275 h 1054894"/>
                <a:gd name="connsiteX15" fmla="*/ 671512 w 707231"/>
                <a:gd name="connsiteY15" fmla="*/ 219075 h 1054894"/>
                <a:gd name="connsiteX16" fmla="*/ 707231 w 707231"/>
                <a:gd name="connsiteY16" fmla="*/ 147637 h 1054894"/>
                <a:gd name="connsiteX17" fmla="*/ 697706 w 707231"/>
                <a:gd name="connsiteY17" fmla="*/ 97631 h 1054894"/>
                <a:gd name="connsiteX18" fmla="*/ 702468 w 707231"/>
                <a:gd name="connsiteY18" fmla="*/ 35719 h 1054894"/>
                <a:gd name="connsiteX19" fmla="*/ 628650 w 707231"/>
                <a:gd name="connsiteY19" fmla="*/ 0 h 1054894"/>
                <a:gd name="connsiteX20" fmla="*/ 600075 w 707231"/>
                <a:gd name="connsiteY20" fmla="*/ 28575 h 1054894"/>
                <a:gd name="connsiteX21" fmla="*/ 597693 w 707231"/>
                <a:gd name="connsiteY21" fmla="*/ 69056 h 1054894"/>
                <a:gd name="connsiteX22" fmla="*/ 583406 w 707231"/>
                <a:gd name="connsiteY22" fmla="*/ 88106 h 1054894"/>
                <a:gd name="connsiteX23" fmla="*/ 523875 w 707231"/>
                <a:gd name="connsiteY23" fmla="*/ 95250 h 1054894"/>
                <a:gd name="connsiteX24" fmla="*/ 509587 w 707231"/>
                <a:gd name="connsiteY24" fmla="*/ 135731 h 1054894"/>
                <a:gd name="connsiteX25" fmla="*/ 478631 w 707231"/>
                <a:gd name="connsiteY25" fmla="*/ 128587 h 1054894"/>
                <a:gd name="connsiteX26" fmla="*/ 466725 w 707231"/>
                <a:gd name="connsiteY26" fmla="*/ 154781 h 1054894"/>
                <a:gd name="connsiteX27" fmla="*/ 431006 w 707231"/>
                <a:gd name="connsiteY27" fmla="*/ 147637 h 1054894"/>
                <a:gd name="connsiteX28" fmla="*/ 376237 w 707231"/>
                <a:gd name="connsiteY28" fmla="*/ 169069 h 1054894"/>
                <a:gd name="connsiteX29" fmla="*/ 319087 w 707231"/>
                <a:gd name="connsiteY29" fmla="*/ 166687 h 1054894"/>
                <a:gd name="connsiteX30" fmla="*/ 307181 w 707231"/>
                <a:gd name="connsiteY30" fmla="*/ 135731 h 1054894"/>
                <a:gd name="connsiteX31" fmla="*/ 273843 w 707231"/>
                <a:gd name="connsiteY31" fmla="*/ 147637 h 1054894"/>
                <a:gd name="connsiteX32" fmla="*/ 178593 w 707231"/>
                <a:gd name="connsiteY32" fmla="*/ 173831 h 1054894"/>
                <a:gd name="connsiteX33" fmla="*/ 188118 w 707231"/>
                <a:gd name="connsiteY33" fmla="*/ 202406 h 1054894"/>
                <a:gd name="connsiteX34" fmla="*/ 195262 w 707231"/>
                <a:gd name="connsiteY34" fmla="*/ 233362 h 1054894"/>
                <a:gd name="connsiteX35" fmla="*/ 142875 w 707231"/>
                <a:gd name="connsiteY35" fmla="*/ 338137 h 1054894"/>
                <a:gd name="connsiteX36" fmla="*/ 57150 w 707231"/>
                <a:gd name="connsiteY36" fmla="*/ 323850 h 1054894"/>
                <a:gd name="connsiteX37" fmla="*/ 11906 w 707231"/>
                <a:gd name="connsiteY37" fmla="*/ 347662 h 1054894"/>
                <a:gd name="connsiteX38" fmla="*/ 0 w 707231"/>
                <a:gd name="connsiteY38" fmla="*/ 400050 h 1054894"/>
                <a:gd name="connsiteX39" fmla="*/ 14287 w 707231"/>
                <a:gd name="connsiteY39" fmla="*/ 476250 h 1054894"/>
                <a:gd name="connsiteX40" fmla="*/ 11906 w 707231"/>
                <a:gd name="connsiteY40" fmla="*/ 519112 h 1054894"/>
                <a:gd name="connsiteX41" fmla="*/ 0 w 707231"/>
                <a:gd name="connsiteY41" fmla="*/ 550069 h 1054894"/>
                <a:gd name="connsiteX42" fmla="*/ 11906 w 707231"/>
                <a:gd name="connsiteY42" fmla="*/ 561975 h 1054894"/>
                <a:gd name="connsiteX43" fmla="*/ 30956 w 707231"/>
                <a:gd name="connsiteY43" fmla="*/ 592931 h 1054894"/>
                <a:gd name="connsiteX44" fmla="*/ 97631 w 707231"/>
                <a:gd name="connsiteY44" fmla="*/ 609600 h 1054894"/>
                <a:gd name="connsiteX45" fmla="*/ 104775 w 707231"/>
                <a:gd name="connsiteY45" fmla="*/ 676275 h 1054894"/>
                <a:gd name="connsiteX46" fmla="*/ 90487 w 707231"/>
                <a:gd name="connsiteY46" fmla="*/ 728662 h 1054894"/>
                <a:gd name="connsiteX47" fmla="*/ 80962 w 707231"/>
                <a:gd name="connsiteY47" fmla="*/ 747712 h 1054894"/>
                <a:gd name="connsiteX48" fmla="*/ 80962 w 707231"/>
                <a:gd name="connsiteY48" fmla="*/ 781050 h 1054894"/>
                <a:gd name="connsiteX49" fmla="*/ 109537 w 707231"/>
                <a:gd name="connsiteY49" fmla="*/ 819150 h 1054894"/>
                <a:gd name="connsiteX50" fmla="*/ 102393 w 707231"/>
                <a:gd name="connsiteY50" fmla="*/ 869156 h 1054894"/>
                <a:gd name="connsiteX51" fmla="*/ 83343 w 707231"/>
                <a:gd name="connsiteY51" fmla="*/ 890587 h 1054894"/>
                <a:gd name="connsiteX52" fmla="*/ 85725 w 707231"/>
                <a:gd name="connsiteY52" fmla="*/ 954881 h 1054894"/>
                <a:gd name="connsiteX53" fmla="*/ 92868 w 707231"/>
                <a:gd name="connsiteY53" fmla="*/ 966787 h 1054894"/>
                <a:gd name="connsiteX54" fmla="*/ 71437 w 707231"/>
                <a:gd name="connsiteY54" fmla="*/ 1031081 h 1054894"/>
                <a:gd name="connsiteX0" fmla="*/ 71437 w 707231"/>
                <a:gd name="connsiteY0" fmla="*/ 1031081 h 1055124"/>
                <a:gd name="connsiteX1" fmla="*/ 102393 w 707231"/>
                <a:gd name="connsiteY1" fmla="*/ 1054894 h 1055124"/>
                <a:gd name="connsiteX2" fmla="*/ 164306 w 707231"/>
                <a:gd name="connsiteY2" fmla="*/ 1033462 h 1055124"/>
                <a:gd name="connsiteX3" fmla="*/ 200025 w 707231"/>
                <a:gd name="connsiteY3" fmla="*/ 1012031 h 1055124"/>
                <a:gd name="connsiteX4" fmla="*/ 247650 w 707231"/>
                <a:gd name="connsiteY4" fmla="*/ 969169 h 1055124"/>
                <a:gd name="connsiteX5" fmla="*/ 276225 w 707231"/>
                <a:gd name="connsiteY5" fmla="*/ 912019 h 1055124"/>
                <a:gd name="connsiteX6" fmla="*/ 350043 w 707231"/>
                <a:gd name="connsiteY6" fmla="*/ 871537 h 1055124"/>
                <a:gd name="connsiteX7" fmla="*/ 411956 w 707231"/>
                <a:gd name="connsiteY7" fmla="*/ 823912 h 1055124"/>
                <a:gd name="connsiteX8" fmla="*/ 411956 w 707231"/>
                <a:gd name="connsiteY8" fmla="*/ 781050 h 1055124"/>
                <a:gd name="connsiteX9" fmla="*/ 471487 w 707231"/>
                <a:gd name="connsiteY9" fmla="*/ 671512 h 1055124"/>
                <a:gd name="connsiteX10" fmla="*/ 547687 w 707231"/>
                <a:gd name="connsiteY10" fmla="*/ 642937 h 1055124"/>
                <a:gd name="connsiteX11" fmla="*/ 595312 w 707231"/>
                <a:gd name="connsiteY11" fmla="*/ 592931 h 1055124"/>
                <a:gd name="connsiteX12" fmla="*/ 597693 w 707231"/>
                <a:gd name="connsiteY12" fmla="*/ 438150 h 1055124"/>
                <a:gd name="connsiteX13" fmla="*/ 604837 w 707231"/>
                <a:gd name="connsiteY13" fmla="*/ 350044 h 1055124"/>
                <a:gd name="connsiteX14" fmla="*/ 614362 w 707231"/>
                <a:gd name="connsiteY14" fmla="*/ 295275 h 1055124"/>
                <a:gd name="connsiteX15" fmla="*/ 671512 w 707231"/>
                <a:gd name="connsiteY15" fmla="*/ 219075 h 1055124"/>
                <a:gd name="connsiteX16" fmla="*/ 707231 w 707231"/>
                <a:gd name="connsiteY16" fmla="*/ 147637 h 1055124"/>
                <a:gd name="connsiteX17" fmla="*/ 697706 w 707231"/>
                <a:gd name="connsiteY17" fmla="*/ 97631 h 1055124"/>
                <a:gd name="connsiteX18" fmla="*/ 702468 w 707231"/>
                <a:gd name="connsiteY18" fmla="*/ 35719 h 1055124"/>
                <a:gd name="connsiteX19" fmla="*/ 628650 w 707231"/>
                <a:gd name="connsiteY19" fmla="*/ 0 h 1055124"/>
                <a:gd name="connsiteX20" fmla="*/ 600075 w 707231"/>
                <a:gd name="connsiteY20" fmla="*/ 28575 h 1055124"/>
                <a:gd name="connsiteX21" fmla="*/ 597693 w 707231"/>
                <a:gd name="connsiteY21" fmla="*/ 69056 h 1055124"/>
                <a:gd name="connsiteX22" fmla="*/ 583406 w 707231"/>
                <a:gd name="connsiteY22" fmla="*/ 88106 h 1055124"/>
                <a:gd name="connsiteX23" fmla="*/ 523875 w 707231"/>
                <a:gd name="connsiteY23" fmla="*/ 95250 h 1055124"/>
                <a:gd name="connsiteX24" fmla="*/ 509587 w 707231"/>
                <a:gd name="connsiteY24" fmla="*/ 135731 h 1055124"/>
                <a:gd name="connsiteX25" fmla="*/ 478631 w 707231"/>
                <a:gd name="connsiteY25" fmla="*/ 128587 h 1055124"/>
                <a:gd name="connsiteX26" fmla="*/ 466725 w 707231"/>
                <a:gd name="connsiteY26" fmla="*/ 154781 h 1055124"/>
                <a:gd name="connsiteX27" fmla="*/ 431006 w 707231"/>
                <a:gd name="connsiteY27" fmla="*/ 147637 h 1055124"/>
                <a:gd name="connsiteX28" fmla="*/ 376237 w 707231"/>
                <a:gd name="connsiteY28" fmla="*/ 169069 h 1055124"/>
                <a:gd name="connsiteX29" fmla="*/ 319087 w 707231"/>
                <a:gd name="connsiteY29" fmla="*/ 166687 h 1055124"/>
                <a:gd name="connsiteX30" fmla="*/ 307181 w 707231"/>
                <a:gd name="connsiteY30" fmla="*/ 135731 h 1055124"/>
                <a:gd name="connsiteX31" fmla="*/ 273843 w 707231"/>
                <a:gd name="connsiteY31" fmla="*/ 147637 h 1055124"/>
                <a:gd name="connsiteX32" fmla="*/ 178593 w 707231"/>
                <a:gd name="connsiteY32" fmla="*/ 173831 h 1055124"/>
                <a:gd name="connsiteX33" fmla="*/ 188118 w 707231"/>
                <a:gd name="connsiteY33" fmla="*/ 202406 h 1055124"/>
                <a:gd name="connsiteX34" fmla="*/ 195262 w 707231"/>
                <a:gd name="connsiteY34" fmla="*/ 233362 h 1055124"/>
                <a:gd name="connsiteX35" fmla="*/ 142875 w 707231"/>
                <a:gd name="connsiteY35" fmla="*/ 338137 h 1055124"/>
                <a:gd name="connsiteX36" fmla="*/ 57150 w 707231"/>
                <a:gd name="connsiteY36" fmla="*/ 323850 h 1055124"/>
                <a:gd name="connsiteX37" fmla="*/ 11906 w 707231"/>
                <a:gd name="connsiteY37" fmla="*/ 347662 h 1055124"/>
                <a:gd name="connsiteX38" fmla="*/ 0 w 707231"/>
                <a:gd name="connsiteY38" fmla="*/ 400050 h 1055124"/>
                <a:gd name="connsiteX39" fmla="*/ 14287 w 707231"/>
                <a:gd name="connsiteY39" fmla="*/ 476250 h 1055124"/>
                <a:gd name="connsiteX40" fmla="*/ 11906 w 707231"/>
                <a:gd name="connsiteY40" fmla="*/ 519112 h 1055124"/>
                <a:gd name="connsiteX41" fmla="*/ 0 w 707231"/>
                <a:gd name="connsiteY41" fmla="*/ 550069 h 1055124"/>
                <a:gd name="connsiteX42" fmla="*/ 11906 w 707231"/>
                <a:gd name="connsiteY42" fmla="*/ 561975 h 1055124"/>
                <a:gd name="connsiteX43" fmla="*/ 30956 w 707231"/>
                <a:gd name="connsiteY43" fmla="*/ 592931 h 1055124"/>
                <a:gd name="connsiteX44" fmla="*/ 97631 w 707231"/>
                <a:gd name="connsiteY44" fmla="*/ 609600 h 1055124"/>
                <a:gd name="connsiteX45" fmla="*/ 104775 w 707231"/>
                <a:gd name="connsiteY45" fmla="*/ 676275 h 1055124"/>
                <a:gd name="connsiteX46" fmla="*/ 90487 w 707231"/>
                <a:gd name="connsiteY46" fmla="*/ 728662 h 1055124"/>
                <a:gd name="connsiteX47" fmla="*/ 80962 w 707231"/>
                <a:gd name="connsiteY47" fmla="*/ 747712 h 1055124"/>
                <a:gd name="connsiteX48" fmla="*/ 80962 w 707231"/>
                <a:gd name="connsiteY48" fmla="*/ 781050 h 1055124"/>
                <a:gd name="connsiteX49" fmla="*/ 109537 w 707231"/>
                <a:gd name="connsiteY49" fmla="*/ 819150 h 1055124"/>
                <a:gd name="connsiteX50" fmla="*/ 102393 w 707231"/>
                <a:gd name="connsiteY50" fmla="*/ 869156 h 1055124"/>
                <a:gd name="connsiteX51" fmla="*/ 83343 w 707231"/>
                <a:gd name="connsiteY51" fmla="*/ 890587 h 1055124"/>
                <a:gd name="connsiteX52" fmla="*/ 85725 w 707231"/>
                <a:gd name="connsiteY52" fmla="*/ 954881 h 1055124"/>
                <a:gd name="connsiteX53" fmla="*/ 92868 w 707231"/>
                <a:gd name="connsiteY53" fmla="*/ 966787 h 1055124"/>
                <a:gd name="connsiteX54" fmla="*/ 71437 w 707231"/>
                <a:gd name="connsiteY54" fmla="*/ 1031081 h 105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07231" h="1055124">
                  <a:moveTo>
                    <a:pt x="71437" y="1031081"/>
                  </a:moveTo>
                  <a:lnTo>
                    <a:pt x="102393" y="1054894"/>
                  </a:lnTo>
                  <a:cubicBezTo>
                    <a:pt x="127794" y="1057275"/>
                    <a:pt x="143668" y="1040606"/>
                    <a:pt x="164306" y="1033462"/>
                  </a:cubicBezTo>
                  <a:lnTo>
                    <a:pt x="200025" y="1012031"/>
                  </a:lnTo>
                  <a:lnTo>
                    <a:pt x="247650" y="969169"/>
                  </a:lnTo>
                  <a:lnTo>
                    <a:pt x="276225" y="912019"/>
                  </a:lnTo>
                  <a:lnTo>
                    <a:pt x="350043" y="871537"/>
                  </a:lnTo>
                  <a:lnTo>
                    <a:pt x="411956" y="823912"/>
                  </a:lnTo>
                  <a:lnTo>
                    <a:pt x="411956" y="781050"/>
                  </a:lnTo>
                  <a:lnTo>
                    <a:pt x="471487" y="671512"/>
                  </a:lnTo>
                  <a:lnTo>
                    <a:pt x="547687" y="642937"/>
                  </a:lnTo>
                  <a:lnTo>
                    <a:pt x="595312" y="592931"/>
                  </a:lnTo>
                  <a:cubicBezTo>
                    <a:pt x="596106" y="541337"/>
                    <a:pt x="596899" y="489744"/>
                    <a:pt x="597693" y="438150"/>
                  </a:cubicBezTo>
                  <a:lnTo>
                    <a:pt x="604837" y="350044"/>
                  </a:lnTo>
                  <a:lnTo>
                    <a:pt x="614362" y="295275"/>
                  </a:lnTo>
                  <a:lnTo>
                    <a:pt x="671512" y="219075"/>
                  </a:lnTo>
                  <a:lnTo>
                    <a:pt x="707231" y="147637"/>
                  </a:lnTo>
                  <a:lnTo>
                    <a:pt x="697706" y="97631"/>
                  </a:lnTo>
                  <a:lnTo>
                    <a:pt x="702468" y="35719"/>
                  </a:lnTo>
                  <a:lnTo>
                    <a:pt x="628650" y="0"/>
                  </a:lnTo>
                  <a:lnTo>
                    <a:pt x="600075" y="28575"/>
                  </a:lnTo>
                  <a:lnTo>
                    <a:pt x="597693" y="69056"/>
                  </a:lnTo>
                  <a:lnTo>
                    <a:pt x="583406" y="88106"/>
                  </a:lnTo>
                  <a:lnTo>
                    <a:pt x="523875" y="95250"/>
                  </a:lnTo>
                  <a:lnTo>
                    <a:pt x="509587" y="135731"/>
                  </a:lnTo>
                  <a:lnTo>
                    <a:pt x="478631" y="128587"/>
                  </a:lnTo>
                  <a:lnTo>
                    <a:pt x="466725" y="154781"/>
                  </a:lnTo>
                  <a:lnTo>
                    <a:pt x="431006" y="147637"/>
                  </a:lnTo>
                  <a:lnTo>
                    <a:pt x="376237" y="169069"/>
                  </a:lnTo>
                  <a:lnTo>
                    <a:pt x="319087" y="166687"/>
                  </a:lnTo>
                  <a:lnTo>
                    <a:pt x="307181" y="135731"/>
                  </a:lnTo>
                  <a:lnTo>
                    <a:pt x="273843" y="147637"/>
                  </a:lnTo>
                  <a:lnTo>
                    <a:pt x="178593" y="173831"/>
                  </a:lnTo>
                  <a:lnTo>
                    <a:pt x="188118" y="202406"/>
                  </a:lnTo>
                  <a:lnTo>
                    <a:pt x="195262" y="233362"/>
                  </a:lnTo>
                  <a:lnTo>
                    <a:pt x="142875" y="338137"/>
                  </a:lnTo>
                  <a:lnTo>
                    <a:pt x="57150" y="323850"/>
                  </a:lnTo>
                  <a:lnTo>
                    <a:pt x="11906" y="347662"/>
                  </a:lnTo>
                  <a:lnTo>
                    <a:pt x="0" y="400050"/>
                  </a:lnTo>
                  <a:lnTo>
                    <a:pt x="14287" y="476250"/>
                  </a:lnTo>
                  <a:lnTo>
                    <a:pt x="11906" y="519112"/>
                  </a:lnTo>
                  <a:lnTo>
                    <a:pt x="0" y="550069"/>
                  </a:lnTo>
                  <a:lnTo>
                    <a:pt x="11906" y="561975"/>
                  </a:lnTo>
                  <a:lnTo>
                    <a:pt x="30956" y="592931"/>
                  </a:lnTo>
                  <a:lnTo>
                    <a:pt x="97631" y="609600"/>
                  </a:lnTo>
                  <a:lnTo>
                    <a:pt x="104775" y="676275"/>
                  </a:lnTo>
                  <a:lnTo>
                    <a:pt x="90487" y="728662"/>
                  </a:lnTo>
                  <a:lnTo>
                    <a:pt x="80962" y="747712"/>
                  </a:lnTo>
                  <a:lnTo>
                    <a:pt x="80962" y="781050"/>
                  </a:lnTo>
                  <a:lnTo>
                    <a:pt x="109537" y="819150"/>
                  </a:lnTo>
                  <a:lnTo>
                    <a:pt x="102393" y="869156"/>
                  </a:lnTo>
                  <a:lnTo>
                    <a:pt x="83343" y="890587"/>
                  </a:lnTo>
                  <a:lnTo>
                    <a:pt x="85725" y="954881"/>
                  </a:lnTo>
                  <a:lnTo>
                    <a:pt x="92868" y="966787"/>
                  </a:lnTo>
                  <a:lnTo>
                    <a:pt x="71437" y="1031081"/>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24" name="Freeform 85">
              <a:extLst>
                <a:ext uri="{FF2B5EF4-FFF2-40B4-BE49-F238E27FC236}">
                  <a16:creationId xmlns:a16="http://schemas.microsoft.com/office/drawing/2014/main" id="{EC421630-3D9B-45C6-BCDC-C250E42C99CF}"/>
                </a:ext>
              </a:extLst>
            </p:cNvPr>
            <p:cNvSpPr/>
            <p:nvPr/>
          </p:nvSpPr>
          <p:spPr bwMode="auto">
            <a:xfrm>
              <a:off x="2838200" y="4049238"/>
              <a:ext cx="1285137" cy="1059821"/>
            </a:xfrm>
            <a:custGeom>
              <a:avLst/>
              <a:gdLst>
                <a:gd name="connsiteX0" fmla="*/ 30956 w 1466850"/>
                <a:gd name="connsiteY0" fmla="*/ 302419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30956 w 1466850"/>
                <a:gd name="connsiteY114" fmla="*/ 302419 h 1095375"/>
                <a:gd name="connsiteX0" fmla="*/ 30956 w 1466850"/>
                <a:gd name="connsiteY0" fmla="*/ 302419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83344 w 1466850"/>
                <a:gd name="connsiteY114" fmla="*/ 311944 h 1095375"/>
                <a:gd name="connsiteX115" fmla="*/ 30956 w 1466850"/>
                <a:gd name="connsiteY115" fmla="*/ 302419 h 1095375"/>
                <a:gd name="connsiteX0" fmla="*/ 30956 w 1466850"/>
                <a:gd name="connsiteY0" fmla="*/ 302419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78581 w 1466850"/>
                <a:gd name="connsiteY114" fmla="*/ 326232 h 1095375"/>
                <a:gd name="connsiteX115" fmla="*/ 30956 w 1466850"/>
                <a:gd name="connsiteY115" fmla="*/ 302419 h 1095375"/>
                <a:gd name="connsiteX0" fmla="*/ 30956 w 1466850"/>
                <a:gd name="connsiteY0" fmla="*/ 316706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78581 w 1466850"/>
                <a:gd name="connsiteY114" fmla="*/ 326232 h 1095375"/>
                <a:gd name="connsiteX115" fmla="*/ 30956 w 1466850"/>
                <a:gd name="connsiteY115" fmla="*/ 316706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78581 w 1466850"/>
                <a:gd name="connsiteY114" fmla="*/ 326232 h 1095375"/>
                <a:gd name="connsiteX115" fmla="*/ 30956 w 1466850"/>
                <a:gd name="connsiteY115"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54769 w 1466850"/>
                <a:gd name="connsiteY114" fmla="*/ 311945 h 1095375"/>
                <a:gd name="connsiteX115" fmla="*/ 30956 w 1466850"/>
                <a:gd name="connsiteY115"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54769 w 1466850"/>
                <a:gd name="connsiteY114" fmla="*/ 311945 h 1095375"/>
                <a:gd name="connsiteX115" fmla="*/ 90487 w 1466850"/>
                <a:gd name="connsiteY115" fmla="*/ 316706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54769 w 1466850"/>
                <a:gd name="connsiteY114" fmla="*/ 311945 h 1095375"/>
                <a:gd name="connsiteX115" fmla="*/ 83343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109538 w 1466850"/>
                <a:gd name="connsiteY114" fmla="*/ 311945 h 1095375"/>
                <a:gd name="connsiteX115" fmla="*/ 83343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109538 w 1466850"/>
                <a:gd name="connsiteY114" fmla="*/ 311945 h 1095375"/>
                <a:gd name="connsiteX115" fmla="*/ 59530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66676 w 1466850"/>
                <a:gd name="connsiteY114" fmla="*/ 321470 h 1095375"/>
                <a:gd name="connsiteX115" fmla="*/ 59530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71439 w 1466850"/>
                <a:gd name="connsiteY114" fmla="*/ 300039 h 1095375"/>
                <a:gd name="connsiteX115" fmla="*/ 59530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114300 w 1466850"/>
                <a:gd name="connsiteY14" fmla="*/ 1095375 h 1095375"/>
                <a:gd name="connsiteX15" fmla="*/ 242887 w 1466850"/>
                <a:gd name="connsiteY15" fmla="*/ 1092994 h 1095375"/>
                <a:gd name="connsiteX16" fmla="*/ 238125 w 1466850"/>
                <a:gd name="connsiteY16" fmla="*/ 1045369 h 1095375"/>
                <a:gd name="connsiteX17" fmla="*/ 230981 w 1466850"/>
                <a:gd name="connsiteY17" fmla="*/ 1035844 h 1095375"/>
                <a:gd name="connsiteX18" fmla="*/ 252412 w 1466850"/>
                <a:gd name="connsiteY18" fmla="*/ 1019175 h 1095375"/>
                <a:gd name="connsiteX19" fmla="*/ 314325 w 1466850"/>
                <a:gd name="connsiteY19" fmla="*/ 995362 h 1095375"/>
                <a:gd name="connsiteX20" fmla="*/ 311944 w 1466850"/>
                <a:gd name="connsiteY20" fmla="*/ 959644 h 1095375"/>
                <a:gd name="connsiteX21" fmla="*/ 326231 w 1466850"/>
                <a:gd name="connsiteY21" fmla="*/ 942975 h 1095375"/>
                <a:gd name="connsiteX22" fmla="*/ 452437 w 1466850"/>
                <a:gd name="connsiteY22" fmla="*/ 950119 h 1095375"/>
                <a:gd name="connsiteX23" fmla="*/ 464344 w 1466850"/>
                <a:gd name="connsiteY23" fmla="*/ 933450 h 1095375"/>
                <a:gd name="connsiteX24" fmla="*/ 476250 w 1466850"/>
                <a:gd name="connsiteY24" fmla="*/ 883444 h 1095375"/>
                <a:gd name="connsiteX25" fmla="*/ 488156 w 1466850"/>
                <a:gd name="connsiteY25" fmla="*/ 857250 h 1095375"/>
                <a:gd name="connsiteX26" fmla="*/ 526256 w 1466850"/>
                <a:gd name="connsiteY26" fmla="*/ 862012 h 1095375"/>
                <a:gd name="connsiteX27" fmla="*/ 545306 w 1466850"/>
                <a:gd name="connsiteY27" fmla="*/ 909637 h 1095375"/>
                <a:gd name="connsiteX28" fmla="*/ 566737 w 1466850"/>
                <a:gd name="connsiteY28" fmla="*/ 881062 h 1095375"/>
                <a:gd name="connsiteX29" fmla="*/ 621506 w 1466850"/>
                <a:gd name="connsiteY29" fmla="*/ 845344 h 1095375"/>
                <a:gd name="connsiteX30" fmla="*/ 709612 w 1466850"/>
                <a:gd name="connsiteY30" fmla="*/ 814387 h 1095375"/>
                <a:gd name="connsiteX31" fmla="*/ 716756 w 1466850"/>
                <a:gd name="connsiteY31" fmla="*/ 769144 h 1095375"/>
                <a:gd name="connsiteX32" fmla="*/ 742950 w 1466850"/>
                <a:gd name="connsiteY32" fmla="*/ 750094 h 1095375"/>
                <a:gd name="connsiteX33" fmla="*/ 785812 w 1466850"/>
                <a:gd name="connsiteY33" fmla="*/ 726281 h 1095375"/>
                <a:gd name="connsiteX34" fmla="*/ 800100 w 1466850"/>
                <a:gd name="connsiteY34" fmla="*/ 716756 h 1095375"/>
                <a:gd name="connsiteX35" fmla="*/ 862012 w 1466850"/>
                <a:gd name="connsiteY35" fmla="*/ 721519 h 1095375"/>
                <a:gd name="connsiteX36" fmla="*/ 883444 w 1466850"/>
                <a:gd name="connsiteY36" fmla="*/ 721519 h 1095375"/>
                <a:gd name="connsiteX37" fmla="*/ 892969 w 1466850"/>
                <a:gd name="connsiteY37" fmla="*/ 697706 h 1095375"/>
                <a:gd name="connsiteX38" fmla="*/ 892969 w 1466850"/>
                <a:gd name="connsiteY38" fmla="*/ 697706 h 1095375"/>
                <a:gd name="connsiteX39" fmla="*/ 921544 w 1466850"/>
                <a:gd name="connsiteY39" fmla="*/ 609600 h 1095375"/>
                <a:gd name="connsiteX40" fmla="*/ 909637 w 1466850"/>
                <a:gd name="connsiteY40" fmla="*/ 552450 h 1095375"/>
                <a:gd name="connsiteX41" fmla="*/ 928687 w 1466850"/>
                <a:gd name="connsiteY41" fmla="*/ 540544 h 1095375"/>
                <a:gd name="connsiteX42" fmla="*/ 973931 w 1466850"/>
                <a:gd name="connsiteY42" fmla="*/ 535781 h 1095375"/>
                <a:gd name="connsiteX43" fmla="*/ 1014412 w 1466850"/>
                <a:gd name="connsiteY43" fmla="*/ 447675 h 1095375"/>
                <a:gd name="connsiteX44" fmla="*/ 1038225 w 1466850"/>
                <a:gd name="connsiteY44" fmla="*/ 445294 h 1095375"/>
                <a:gd name="connsiteX45" fmla="*/ 1073944 w 1466850"/>
                <a:gd name="connsiteY45" fmla="*/ 476250 h 1095375"/>
                <a:gd name="connsiteX46" fmla="*/ 1112044 w 1466850"/>
                <a:gd name="connsiteY46" fmla="*/ 514350 h 1095375"/>
                <a:gd name="connsiteX47" fmla="*/ 1171575 w 1466850"/>
                <a:gd name="connsiteY47" fmla="*/ 540544 h 1095375"/>
                <a:gd name="connsiteX48" fmla="*/ 1219200 w 1466850"/>
                <a:gd name="connsiteY48" fmla="*/ 521494 h 1095375"/>
                <a:gd name="connsiteX49" fmla="*/ 1245394 w 1466850"/>
                <a:gd name="connsiteY49" fmla="*/ 502444 h 1095375"/>
                <a:gd name="connsiteX50" fmla="*/ 1278731 w 1466850"/>
                <a:gd name="connsiteY50" fmla="*/ 511969 h 1095375"/>
                <a:gd name="connsiteX51" fmla="*/ 1295400 w 1466850"/>
                <a:gd name="connsiteY51" fmla="*/ 531019 h 1095375"/>
                <a:gd name="connsiteX52" fmla="*/ 1273969 w 1466850"/>
                <a:gd name="connsiteY52" fmla="*/ 573881 h 1095375"/>
                <a:gd name="connsiteX53" fmla="*/ 1271587 w 1466850"/>
                <a:gd name="connsiteY53" fmla="*/ 602456 h 1095375"/>
                <a:gd name="connsiteX54" fmla="*/ 1285875 w 1466850"/>
                <a:gd name="connsiteY54" fmla="*/ 611981 h 1095375"/>
                <a:gd name="connsiteX55" fmla="*/ 1300162 w 1466850"/>
                <a:gd name="connsiteY55" fmla="*/ 628650 h 1095375"/>
                <a:gd name="connsiteX56" fmla="*/ 1321594 w 1466850"/>
                <a:gd name="connsiteY56" fmla="*/ 666750 h 1095375"/>
                <a:gd name="connsiteX57" fmla="*/ 1347787 w 1466850"/>
                <a:gd name="connsiteY57" fmla="*/ 681037 h 1095375"/>
                <a:gd name="connsiteX58" fmla="*/ 1371600 w 1466850"/>
                <a:gd name="connsiteY58" fmla="*/ 681037 h 1095375"/>
                <a:gd name="connsiteX59" fmla="*/ 1376362 w 1466850"/>
                <a:gd name="connsiteY59" fmla="*/ 628650 h 1095375"/>
                <a:gd name="connsiteX60" fmla="*/ 1395412 w 1466850"/>
                <a:gd name="connsiteY60" fmla="*/ 578644 h 1095375"/>
                <a:gd name="connsiteX61" fmla="*/ 1426369 w 1466850"/>
                <a:gd name="connsiteY61" fmla="*/ 571500 h 1095375"/>
                <a:gd name="connsiteX62" fmla="*/ 1466850 w 1466850"/>
                <a:gd name="connsiteY62" fmla="*/ 552450 h 1095375"/>
                <a:gd name="connsiteX63" fmla="*/ 1443037 w 1466850"/>
                <a:gd name="connsiteY63" fmla="*/ 509587 h 1095375"/>
                <a:gd name="connsiteX64" fmla="*/ 1414462 w 1466850"/>
                <a:gd name="connsiteY64" fmla="*/ 464344 h 1095375"/>
                <a:gd name="connsiteX65" fmla="*/ 1388269 w 1466850"/>
                <a:gd name="connsiteY65" fmla="*/ 438150 h 1095375"/>
                <a:gd name="connsiteX66" fmla="*/ 1404937 w 1466850"/>
                <a:gd name="connsiteY66" fmla="*/ 400050 h 1095375"/>
                <a:gd name="connsiteX67" fmla="*/ 1404937 w 1466850"/>
                <a:gd name="connsiteY67" fmla="*/ 383381 h 1095375"/>
                <a:gd name="connsiteX68" fmla="*/ 1431131 w 1466850"/>
                <a:gd name="connsiteY68" fmla="*/ 338137 h 1095375"/>
                <a:gd name="connsiteX69" fmla="*/ 1419225 w 1466850"/>
                <a:gd name="connsiteY69" fmla="*/ 264319 h 1095375"/>
                <a:gd name="connsiteX70" fmla="*/ 1438275 w 1466850"/>
                <a:gd name="connsiteY70" fmla="*/ 202406 h 1095375"/>
                <a:gd name="connsiteX71" fmla="*/ 1435894 w 1466850"/>
                <a:gd name="connsiteY71" fmla="*/ 173831 h 1095375"/>
                <a:gd name="connsiteX72" fmla="*/ 1404937 w 1466850"/>
                <a:gd name="connsiteY72" fmla="*/ 164306 h 1095375"/>
                <a:gd name="connsiteX73" fmla="*/ 1364456 w 1466850"/>
                <a:gd name="connsiteY73" fmla="*/ 154781 h 1095375"/>
                <a:gd name="connsiteX74" fmla="*/ 1293019 w 1466850"/>
                <a:gd name="connsiteY74" fmla="*/ 154781 h 1095375"/>
                <a:gd name="connsiteX75" fmla="*/ 1233487 w 1466850"/>
                <a:gd name="connsiteY75" fmla="*/ 121444 h 1095375"/>
                <a:gd name="connsiteX76" fmla="*/ 1207294 w 1466850"/>
                <a:gd name="connsiteY76" fmla="*/ 114300 h 1095375"/>
                <a:gd name="connsiteX77" fmla="*/ 1188244 w 1466850"/>
                <a:gd name="connsiteY77" fmla="*/ 126206 h 1095375"/>
                <a:gd name="connsiteX78" fmla="*/ 1133475 w 1466850"/>
                <a:gd name="connsiteY78" fmla="*/ 188119 h 1095375"/>
                <a:gd name="connsiteX79" fmla="*/ 1116806 w 1466850"/>
                <a:gd name="connsiteY79" fmla="*/ 188119 h 1095375"/>
                <a:gd name="connsiteX80" fmla="*/ 1078706 w 1466850"/>
                <a:gd name="connsiteY80" fmla="*/ 142875 h 1095375"/>
                <a:gd name="connsiteX81" fmla="*/ 1054894 w 1466850"/>
                <a:gd name="connsiteY81" fmla="*/ 138112 h 1095375"/>
                <a:gd name="connsiteX82" fmla="*/ 997744 w 1466850"/>
                <a:gd name="connsiteY82" fmla="*/ 157162 h 1095375"/>
                <a:gd name="connsiteX83" fmla="*/ 973931 w 1466850"/>
                <a:gd name="connsiteY83" fmla="*/ 178594 h 1095375"/>
                <a:gd name="connsiteX84" fmla="*/ 928687 w 1466850"/>
                <a:gd name="connsiteY84" fmla="*/ 173831 h 1095375"/>
                <a:gd name="connsiteX85" fmla="*/ 878681 w 1466850"/>
                <a:gd name="connsiteY85" fmla="*/ 164306 h 1095375"/>
                <a:gd name="connsiteX86" fmla="*/ 864394 w 1466850"/>
                <a:gd name="connsiteY86" fmla="*/ 83344 h 1095375"/>
                <a:gd name="connsiteX87" fmla="*/ 845344 w 1466850"/>
                <a:gd name="connsiteY87" fmla="*/ 69056 h 1095375"/>
                <a:gd name="connsiteX88" fmla="*/ 747712 w 1466850"/>
                <a:gd name="connsiteY88" fmla="*/ 119062 h 1095375"/>
                <a:gd name="connsiteX89" fmla="*/ 721519 w 1466850"/>
                <a:gd name="connsiteY89" fmla="*/ 140494 h 1095375"/>
                <a:gd name="connsiteX90" fmla="*/ 709612 w 1466850"/>
                <a:gd name="connsiteY90" fmla="*/ 190500 h 1095375"/>
                <a:gd name="connsiteX91" fmla="*/ 707231 w 1466850"/>
                <a:gd name="connsiteY91" fmla="*/ 195262 h 1095375"/>
                <a:gd name="connsiteX92" fmla="*/ 654844 w 1466850"/>
                <a:gd name="connsiteY92" fmla="*/ 190500 h 1095375"/>
                <a:gd name="connsiteX93" fmla="*/ 633412 w 1466850"/>
                <a:gd name="connsiteY93" fmla="*/ 180975 h 1095375"/>
                <a:gd name="connsiteX94" fmla="*/ 614362 w 1466850"/>
                <a:gd name="connsiteY94" fmla="*/ 142875 h 1095375"/>
                <a:gd name="connsiteX95" fmla="*/ 590550 w 1466850"/>
                <a:gd name="connsiteY95" fmla="*/ 130969 h 1095375"/>
                <a:gd name="connsiteX96" fmla="*/ 540544 w 1466850"/>
                <a:gd name="connsiteY96" fmla="*/ 161925 h 1095375"/>
                <a:gd name="connsiteX97" fmla="*/ 507206 w 1466850"/>
                <a:gd name="connsiteY97" fmla="*/ 154781 h 1095375"/>
                <a:gd name="connsiteX98" fmla="*/ 495300 w 1466850"/>
                <a:gd name="connsiteY98" fmla="*/ 123825 h 1095375"/>
                <a:gd name="connsiteX99" fmla="*/ 490537 w 1466850"/>
                <a:gd name="connsiteY99" fmla="*/ 114300 h 1095375"/>
                <a:gd name="connsiteX100" fmla="*/ 431006 w 1466850"/>
                <a:gd name="connsiteY100" fmla="*/ 97631 h 1095375"/>
                <a:gd name="connsiteX101" fmla="*/ 442912 w 1466850"/>
                <a:gd name="connsiteY101" fmla="*/ 33337 h 1095375"/>
                <a:gd name="connsiteX102" fmla="*/ 423862 w 1466850"/>
                <a:gd name="connsiteY102" fmla="*/ 19050 h 1095375"/>
                <a:gd name="connsiteX103" fmla="*/ 335756 w 1466850"/>
                <a:gd name="connsiteY103" fmla="*/ 0 h 1095375"/>
                <a:gd name="connsiteX104" fmla="*/ 302419 w 1466850"/>
                <a:gd name="connsiteY104" fmla="*/ 35719 h 1095375"/>
                <a:gd name="connsiteX105" fmla="*/ 266700 w 1466850"/>
                <a:gd name="connsiteY105" fmla="*/ 50006 h 1095375"/>
                <a:gd name="connsiteX106" fmla="*/ 271462 w 1466850"/>
                <a:gd name="connsiteY106" fmla="*/ 95250 h 1095375"/>
                <a:gd name="connsiteX107" fmla="*/ 316706 w 1466850"/>
                <a:gd name="connsiteY107" fmla="*/ 121444 h 1095375"/>
                <a:gd name="connsiteX108" fmla="*/ 302419 w 1466850"/>
                <a:gd name="connsiteY108" fmla="*/ 145256 h 1095375"/>
                <a:gd name="connsiteX109" fmla="*/ 247650 w 1466850"/>
                <a:gd name="connsiteY109" fmla="*/ 159544 h 1095375"/>
                <a:gd name="connsiteX110" fmla="*/ 214312 w 1466850"/>
                <a:gd name="connsiteY110" fmla="*/ 216694 h 1095375"/>
                <a:gd name="connsiteX111" fmla="*/ 183356 w 1466850"/>
                <a:gd name="connsiteY111" fmla="*/ 221456 h 1095375"/>
                <a:gd name="connsiteX112" fmla="*/ 183356 w 1466850"/>
                <a:gd name="connsiteY112" fmla="*/ 254794 h 1095375"/>
                <a:gd name="connsiteX113" fmla="*/ 161925 w 1466850"/>
                <a:gd name="connsiteY113" fmla="*/ 304800 h 1095375"/>
                <a:gd name="connsiteX114" fmla="*/ 140494 w 1466850"/>
                <a:gd name="connsiteY114" fmla="*/ 323850 h 1095375"/>
                <a:gd name="connsiteX115" fmla="*/ 71439 w 1466850"/>
                <a:gd name="connsiteY115" fmla="*/ 300039 h 1095375"/>
                <a:gd name="connsiteX116" fmla="*/ 59530 w 1466850"/>
                <a:gd name="connsiteY116" fmla="*/ 302418 h 1095375"/>
                <a:gd name="connsiteX117" fmla="*/ 30956 w 1466850"/>
                <a:gd name="connsiteY117" fmla="*/ 295274 h 1095375"/>
                <a:gd name="connsiteX0" fmla="*/ 30956 w 1466850"/>
                <a:gd name="connsiteY0" fmla="*/ 295274 h 1164431"/>
                <a:gd name="connsiteX1" fmla="*/ 19050 w 1466850"/>
                <a:gd name="connsiteY1" fmla="*/ 381000 h 1164431"/>
                <a:gd name="connsiteX2" fmla="*/ 19050 w 1466850"/>
                <a:gd name="connsiteY2" fmla="*/ 397669 h 1164431"/>
                <a:gd name="connsiteX3" fmla="*/ 0 w 1466850"/>
                <a:gd name="connsiteY3" fmla="*/ 459581 h 1164431"/>
                <a:gd name="connsiteX4" fmla="*/ 7144 w 1466850"/>
                <a:gd name="connsiteY4" fmla="*/ 497681 h 1164431"/>
                <a:gd name="connsiteX5" fmla="*/ 9525 w 1466850"/>
                <a:gd name="connsiteY5" fmla="*/ 535781 h 1164431"/>
                <a:gd name="connsiteX6" fmla="*/ 19050 w 1466850"/>
                <a:gd name="connsiteY6" fmla="*/ 583406 h 1164431"/>
                <a:gd name="connsiteX7" fmla="*/ 23812 w 1466850"/>
                <a:gd name="connsiteY7" fmla="*/ 688181 h 1164431"/>
                <a:gd name="connsiteX8" fmla="*/ 35719 w 1466850"/>
                <a:gd name="connsiteY8" fmla="*/ 747712 h 1164431"/>
                <a:gd name="connsiteX9" fmla="*/ 40481 w 1466850"/>
                <a:gd name="connsiteY9" fmla="*/ 778669 h 1164431"/>
                <a:gd name="connsiteX10" fmla="*/ 47625 w 1466850"/>
                <a:gd name="connsiteY10" fmla="*/ 831056 h 1164431"/>
                <a:gd name="connsiteX11" fmla="*/ 38100 w 1466850"/>
                <a:gd name="connsiteY11" fmla="*/ 919162 h 1164431"/>
                <a:gd name="connsiteX12" fmla="*/ 78581 w 1466850"/>
                <a:gd name="connsiteY12" fmla="*/ 1028700 h 1164431"/>
                <a:gd name="connsiteX13" fmla="*/ 71437 w 1466850"/>
                <a:gd name="connsiteY13" fmla="*/ 1095375 h 1164431"/>
                <a:gd name="connsiteX14" fmla="*/ 88106 w 1466850"/>
                <a:gd name="connsiteY14" fmla="*/ 1164431 h 1164431"/>
                <a:gd name="connsiteX15" fmla="*/ 242887 w 1466850"/>
                <a:gd name="connsiteY15" fmla="*/ 1092994 h 1164431"/>
                <a:gd name="connsiteX16" fmla="*/ 238125 w 1466850"/>
                <a:gd name="connsiteY16" fmla="*/ 1045369 h 1164431"/>
                <a:gd name="connsiteX17" fmla="*/ 230981 w 1466850"/>
                <a:gd name="connsiteY17" fmla="*/ 1035844 h 1164431"/>
                <a:gd name="connsiteX18" fmla="*/ 252412 w 1466850"/>
                <a:gd name="connsiteY18" fmla="*/ 1019175 h 1164431"/>
                <a:gd name="connsiteX19" fmla="*/ 314325 w 1466850"/>
                <a:gd name="connsiteY19" fmla="*/ 995362 h 1164431"/>
                <a:gd name="connsiteX20" fmla="*/ 311944 w 1466850"/>
                <a:gd name="connsiteY20" fmla="*/ 959644 h 1164431"/>
                <a:gd name="connsiteX21" fmla="*/ 326231 w 1466850"/>
                <a:gd name="connsiteY21" fmla="*/ 942975 h 1164431"/>
                <a:gd name="connsiteX22" fmla="*/ 452437 w 1466850"/>
                <a:gd name="connsiteY22" fmla="*/ 950119 h 1164431"/>
                <a:gd name="connsiteX23" fmla="*/ 464344 w 1466850"/>
                <a:gd name="connsiteY23" fmla="*/ 933450 h 1164431"/>
                <a:gd name="connsiteX24" fmla="*/ 476250 w 1466850"/>
                <a:gd name="connsiteY24" fmla="*/ 883444 h 1164431"/>
                <a:gd name="connsiteX25" fmla="*/ 488156 w 1466850"/>
                <a:gd name="connsiteY25" fmla="*/ 857250 h 1164431"/>
                <a:gd name="connsiteX26" fmla="*/ 526256 w 1466850"/>
                <a:gd name="connsiteY26" fmla="*/ 862012 h 1164431"/>
                <a:gd name="connsiteX27" fmla="*/ 545306 w 1466850"/>
                <a:gd name="connsiteY27" fmla="*/ 909637 h 1164431"/>
                <a:gd name="connsiteX28" fmla="*/ 566737 w 1466850"/>
                <a:gd name="connsiteY28" fmla="*/ 881062 h 1164431"/>
                <a:gd name="connsiteX29" fmla="*/ 621506 w 1466850"/>
                <a:gd name="connsiteY29" fmla="*/ 845344 h 1164431"/>
                <a:gd name="connsiteX30" fmla="*/ 709612 w 1466850"/>
                <a:gd name="connsiteY30" fmla="*/ 814387 h 1164431"/>
                <a:gd name="connsiteX31" fmla="*/ 716756 w 1466850"/>
                <a:gd name="connsiteY31" fmla="*/ 769144 h 1164431"/>
                <a:gd name="connsiteX32" fmla="*/ 742950 w 1466850"/>
                <a:gd name="connsiteY32" fmla="*/ 750094 h 1164431"/>
                <a:gd name="connsiteX33" fmla="*/ 785812 w 1466850"/>
                <a:gd name="connsiteY33" fmla="*/ 726281 h 1164431"/>
                <a:gd name="connsiteX34" fmla="*/ 800100 w 1466850"/>
                <a:gd name="connsiteY34" fmla="*/ 716756 h 1164431"/>
                <a:gd name="connsiteX35" fmla="*/ 862012 w 1466850"/>
                <a:gd name="connsiteY35" fmla="*/ 721519 h 1164431"/>
                <a:gd name="connsiteX36" fmla="*/ 883444 w 1466850"/>
                <a:gd name="connsiteY36" fmla="*/ 721519 h 1164431"/>
                <a:gd name="connsiteX37" fmla="*/ 892969 w 1466850"/>
                <a:gd name="connsiteY37" fmla="*/ 697706 h 1164431"/>
                <a:gd name="connsiteX38" fmla="*/ 892969 w 1466850"/>
                <a:gd name="connsiteY38" fmla="*/ 697706 h 1164431"/>
                <a:gd name="connsiteX39" fmla="*/ 921544 w 1466850"/>
                <a:gd name="connsiteY39" fmla="*/ 609600 h 1164431"/>
                <a:gd name="connsiteX40" fmla="*/ 909637 w 1466850"/>
                <a:gd name="connsiteY40" fmla="*/ 552450 h 1164431"/>
                <a:gd name="connsiteX41" fmla="*/ 928687 w 1466850"/>
                <a:gd name="connsiteY41" fmla="*/ 540544 h 1164431"/>
                <a:gd name="connsiteX42" fmla="*/ 973931 w 1466850"/>
                <a:gd name="connsiteY42" fmla="*/ 535781 h 1164431"/>
                <a:gd name="connsiteX43" fmla="*/ 1014412 w 1466850"/>
                <a:gd name="connsiteY43" fmla="*/ 447675 h 1164431"/>
                <a:gd name="connsiteX44" fmla="*/ 1038225 w 1466850"/>
                <a:gd name="connsiteY44" fmla="*/ 445294 h 1164431"/>
                <a:gd name="connsiteX45" fmla="*/ 1073944 w 1466850"/>
                <a:gd name="connsiteY45" fmla="*/ 476250 h 1164431"/>
                <a:gd name="connsiteX46" fmla="*/ 1112044 w 1466850"/>
                <a:gd name="connsiteY46" fmla="*/ 514350 h 1164431"/>
                <a:gd name="connsiteX47" fmla="*/ 1171575 w 1466850"/>
                <a:gd name="connsiteY47" fmla="*/ 540544 h 1164431"/>
                <a:gd name="connsiteX48" fmla="*/ 1219200 w 1466850"/>
                <a:gd name="connsiteY48" fmla="*/ 521494 h 1164431"/>
                <a:gd name="connsiteX49" fmla="*/ 1245394 w 1466850"/>
                <a:gd name="connsiteY49" fmla="*/ 502444 h 1164431"/>
                <a:gd name="connsiteX50" fmla="*/ 1278731 w 1466850"/>
                <a:gd name="connsiteY50" fmla="*/ 511969 h 1164431"/>
                <a:gd name="connsiteX51" fmla="*/ 1295400 w 1466850"/>
                <a:gd name="connsiteY51" fmla="*/ 531019 h 1164431"/>
                <a:gd name="connsiteX52" fmla="*/ 1273969 w 1466850"/>
                <a:gd name="connsiteY52" fmla="*/ 573881 h 1164431"/>
                <a:gd name="connsiteX53" fmla="*/ 1271587 w 1466850"/>
                <a:gd name="connsiteY53" fmla="*/ 602456 h 1164431"/>
                <a:gd name="connsiteX54" fmla="*/ 1285875 w 1466850"/>
                <a:gd name="connsiteY54" fmla="*/ 611981 h 1164431"/>
                <a:gd name="connsiteX55" fmla="*/ 1300162 w 1466850"/>
                <a:gd name="connsiteY55" fmla="*/ 628650 h 1164431"/>
                <a:gd name="connsiteX56" fmla="*/ 1321594 w 1466850"/>
                <a:gd name="connsiteY56" fmla="*/ 666750 h 1164431"/>
                <a:gd name="connsiteX57" fmla="*/ 1347787 w 1466850"/>
                <a:gd name="connsiteY57" fmla="*/ 681037 h 1164431"/>
                <a:gd name="connsiteX58" fmla="*/ 1371600 w 1466850"/>
                <a:gd name="connsiteY58" fmla="*/ 681037 h 1164431"/>
                <a:gd name="connsiteX59" fmla="*/ 1376362 w 1466850"/>
                <a:gd name="connsiteY59" fmla="*/ 628650 h 1164431"/>
                <a:gd name="connsiteX60" fmla="*/ 1395412 w 1466850"/>
                <a:gd name="connsiteY60" fmla="*/ 578644 h 1164431"/>
                <a:gd name="connsiteX61" fmla="*/ 1426369 w 1466850"/>
                <a:gd name="connsiteY61" fmla="*/ 571500 h 1164431"/>
                <a:gd name="connsiteX62" fmla="*/ 1466850 w 1466850"/>
                <a:gd name="connsiteY62" fmla="*/ 552450 h 1164431"/>
                <a:gd name="connsiteX63" fmla="*/ 1443037 w 1466850"/>
                <a:gd name="connsiteY63" fmla="*/ 509587 h 1164431"/>
                <a:gd name="connsiteX64" fmla="*/ 1414462 w 1466850"/>
                <a:gd name="connsiteY64" fmla="*/ 464344 h 1164431"/>
                <a:gd name="connsiteX65" fmla="*/ 1388269 w 1466850"/>
                <a:gd name="connsiteY65" fmla="*/ 438150 h 1164431"/>
                <a:gd name="connsiteX66" fmla="*/ 1404937 w 1466850"/>
                <a:gd name="connsiteY66" fmla="*/ 400050 h 1164431"/>
                <a:gd name="connsiteX67" fmla="*/ 1404937 w 1466850"/>
                <a:gd name="connsiteY67" fmla="*/ 383381 h 1164431"/>
                <a:gd name="connsiteX68" fmla="*/ 1431131 w 1466850"/>
                <a:gd name="connsiteY68" fmla="*/ 338137 h 1164431"/>
                <a:gd name="connsiteX69" fmla="*/ 1419225 w 1466850"/>
                <a:gd name="connsiteY69" fmla="*/ 264319 h 1164431"/>
                <a:gd name="connsiteX70" fmla="*/ 1438275 w 1466850"/>
                <a:gd name="connsiteY70" fmla="*/ 202406 h 1164431"/>
                <a:gd name="connsiteX71" fmla="*/ 1435894 w 1466850"/>
                <a:gd name="connsiteY71" fmla="*/ 173831 h 1164431"/>
                <a:gd name="connsiteX72" fmla="*/ 1404937 w 1466850"/>
                <a:gd name="connsiteY72" fmla="*/ 164306 h 1164431"/>
                <a:gd name="connsiteX73" fmla="*/ 1364456 w 1466850"/>
                <a:gd name="connsiteY73" fmla="*/ 154781 h 1164431"/>
                <a:gd name="connsiteX74" fmla="*/ 1293019 w 1466850"/>
                <a:gd name="connsiteY74" fmla="*/ 154781 h 1164431"/>
                <a:gd name="connsiteX75" fmla="*/ 1233487 w 1466850"/>
                <a:gd name="connsiteY75" fmla="*/ 121444 h 1164431"/>
                <a:gd name="connsiteX76" fmla="*/ 1207294 w 1466850"/>
                <a:gd name="connsiteY76" fmla="*/ 114300 h 1164431"/>
                <a:gd name="connsiteX77" fmla="*/ 1188244 w 1466850"/>
                <a:gd name="connsiteY77" fmla="*/ 126206 h 1164431"/>
                <a:gd name="connsiteX78" fmla="*/ 1133475 w 1466850"/>
                <a:gd name="connsiteY78" fmla="*/ 188119 h 1164431"/>
                <a:gd name="connsiteX79" fmla="*/ 1116806 w 1466850"/>
                <a:gd name="connsiteY79" fmla="*/ 188119 h 1164431"/>
                <a:gd name="connsiteX80" fmla="*/ 1078706 w 1466850"/>
                <a:gd name="connsiteY80" fmla="*/ 142875 h 1164431"/>
                <a:gd name="connsiteX81" fmla="*/ 1054894 w 1466850"/>
                <a:gd name="connsiteY81" fmla="*/ 138112 h 1164431"/>
                <a:gd name="connsiteX82" fmla="*/ 997744 w 1466850"/>
                <a:gd name="connsiteY82" fmla="*/ 157162 h 1164431"/>
                <a:gd name="connsiteX83" fmla="*/ 973931 w 1466850"/>
                <a:gd name="connsiteY83" fmla="*/ 178594 h 1164431"/>
                <a:gd name="connsiteX84" fmla="*/ 928687 w 1466850"/>
                <a:gd name="connsiteY84" fmla="*/ 173831 h 1164431"/>
                <a:gd name="connsiteX85" fmla="*/ 878681 w 1466850"/>
                <a:gd name="connsiteY85" fmla="*/ 164306 h 1164431"/>
                <a:gd name="connsiteX86" fmla="*/ 864394 w 1466850"/>
                <a:gd name="connsiteY86" fmla="*/ 83344 h 1164431"/>
                <a:gd name="connsiteX87" fmla="*/ 845344 w 1466850"/>
                <a:gd name="connsiteY87" fmla="*/ 69056 h 1164431"/>
                <a:gd name="connsiteX88" fmla="*/ 747712 w 1466850"/>
                <a:gd name="connsiteY88" fmla="*/ 119062 h 1164431"/>
                <a:gd name="connsiteX89" fmla="*/ 721519 w 1466850"/>
                <a:gd name="connsiteY89" fmla="*/ 140494 h 1164431"/>
                <a:gd name="connsiteX90" fmla="*/ 709612 w 1466850"/>
                <a:gd name="connsiteY90" fmla="*/ 190500 h 1164431"/>
                <a:gd name="connsiteX91" fmla="*/ 707231 w 1466850"/>
                <a:gd name="connsiteY91" fmla="*/ 195262 h 1164431"/>
                <a:gd name="connsiteX92" fmla="*/ 654844 w 1466850"/>
                <a:gd name="connsiteY92" fmla="*/ 190500 h 1164431"/>
                <a:gd name="connsiteX93" fmla="*/ 633412 w 1466850"/>
                <a:gd name="connsiteY93" fmla="*/ 180975 h 1164431"/>
                <a:gd name="connsiteX94" fmla="*/ 614362 w 1466850"/>
                <a:gd name="connsiteY94" fmla="*/ 142875 h 1164431"/>
                <a:gd name="connsiteX95" fmla="*/ 590550 w 1466850"/>
                <a:gd name="connsiteY95" fmla="*/ 130969 h 1164431"/>
                <a:gd name="connsiteX96" fmla="*/ 540544 w 1466850"/>
                <a:gd name="connsiteY96" fmla="*/ 161925 h 1164431"/>
                <a:gd name="connsiteX97" fmla="*/ 507206 w 1466850"/>
                <a:gd name="connsiteY97" fmla="*/ 154781 h 1164431"/>
                <a:gd name="connsiteX98" fmla="*/ 495300 w 1466850"/>
                <a:gd name="connsiteY98" fmla="*/ 123825 h 1164431"/>
                <a:gd name="connsiteX99" fmla="*/ 490537 w 1466850"/>
                <a:gd name="connsiteY99" fmla="*/ 114300 h 1164431"/>
                <a:gd name="connsiteX100" fmla="*/ 431006 w 1466850"/>
                <a:gd name="connsiteY100" fmla="*/ 97631 h 1164431"/>
                <a:gd name="connsiteX101" fmla="*/ 442912 w 1466850"/>
                <a:gd name="connsiteY101" fmla="*/ 33337 h 1164431"/>
                <a:gd name="connsiteX102" fmla="*/ 423862 w 1466850"/>
                <a:gd name="connsiteY102" fmla="*/ 19050 h 1164431"/>
                <a:gd name="connsiteX103" fmla="*/ 335756 w 1466850"/>
                <a:gd name="connsiteY103" fmla="*/ 0 h 1164431"/>
                <a:gd name="connsiteX104" fmla="*/ 302419 w 1466850"/>
                <a:gd name="connsiteY104" fmla="*/ 35719 h 1164431"/>
                <a:gd name="connsiteX105" fmla="*/ 266700 w 1466850"/>
                <a:gd name="connsiteY105" fmla="*/ 50006 h 1164431"/>
                <a:gd name="connsiteX106" fmla="*/ 271462 w 1466850"/>
                <a:gd name="connsiteY106" fmla="*/ 95250 h 1164431"/>
                <a:gd name="connsiteX107" fmla="*/ 316706 w 1466850"/>
                <a:gd name="connsiteY107" fmla="*/ 121444 h 1164431"/>
                <a:gd name="connsiteX108" fmla="*/ 302419 w 1466850"/>
                <a:gd name="connsiteY108" fmla="*/ 145256 h 1164431"/>
                <a:gd name="connsiteX109" fmla="*/ 247650 w 1466850"/>
                <a:gd name="connsiteY109" fmla="*/ 159544 h 1164431"/>
                <a:gd name="connsiteX110" fmla="*/ 214312 w 1466850"/>
                <a:gd name="connsiteY110" fmla="*/ 216694 h 1164431"/>
                <a:gd name="connsiteX111" fmla="*/ 183356 w 1466850"/>
                <a:gd name="connsiteY111" fmla="*/ 221456 h 1164431"/>
                <a:gd name="connsiteX112" fmla="*/ 183356 w 1466850"/>
                <a:gd name="connsiteY112" fmla="*/ 254794 h 1164431"/>
                <a:gd name="connsiteX113" fmla="*/ 161925 w 1466850"/>
                <a:gd name="connsiteY113" fmla="*/ 304800 h 1164431"/>
                <a:gd name="connsiteX114" fmla="*/ 140494 w 1466850"/>
                <a:gd name="connsiteY114" fmla="*/ 323850 h 1164431"/>
                <a:gd name="connsiteX115" fmla="*/ 71439 w 1466850"/>
                <a:gd name="connsiteY115" fmla="*/ 300039 h 1164431"/>
                <a:gd name="connsiteX116" fmla="*/ 59530 w 1466850"/>
                <a:gd name="connsiteY116" fmla="*/ 302418 h 1164431"/>
                <a:gd name="connsiteX117" fmla="*/ 30956 w 1466850"/>
                <a:gd name="connsiteY117" fmla="*/ 295274 h 1164431"/>
                <a:gd name="connsiteX0" fmla="*/ 30956 w 1466850"/>
                <a:gd name="connsiteY0" fmla="*/ 295274 h 1164431"/>
                <a:gd name="connsiteX1" fmla="*/ 19050 w 1466850"/>
                <a:gd name="connsiteY1" fmla="*/ 381000 h 1164431"/>
                <a:gd name="connsiteX2" fmla="*/ 19050 w 1466850"/>
                <a:gd name="connsiteY2" fmla="*/ 397669 h 1164431"/>
                <a:gd name="connsiteX3" fmla="*/ 0 w 1466850"/>
                <a:gd name="connsiteY3" fmla="*/ 459581 h 1164431"/>
                <a:gd name="connsiteX4" fmla="*/ 7144 w 1466850"/>
                <a:gd name="connsiteY4" fmla="*/ 497681 h 1164431"/>
                <a:gd name="connsiteX5" fmla="*/ 9525 w 1466850"/>
                <a:gd name="connsiteY5" fmla="*/ 535781 h 1164431"/>
                <a:gd name="connsiteX6" fmla="*/ 19050 w 1466850"/>
                <a:gd name="connsiteY6" fmla="*/ 583406 h 1164431"/>
                <a:gd name="connsiteX7" fmla="*/ 23812 w 1466850"/>
                <a:gd name="connsiteY7" fmla="*/ 688181 h 1164431"/>
                <a:gd name="connsiteX8" fmla="*/ 35719 w 1466850"/>
                <a:gd name="connsiteY8" fmla="*/ 747712 h 1164431"/>
                <a:gd name="connsiteX9" fmla="*/ 40481 w 1466850"/>
                <a:gd name="connsiteY9" fmla="*/ 778669 h 1164431"/>
                <a:gd name="connsiteX10" fmla="*/ 47625 w 1466850"/>
                <a:gd name="connsiteY10" fmla="*/ 831056 h 1164431"/>
                <a:gd name="connsiteX11" fmla="*/ 38100 w 1466850"/>
                <a:gd name="connsiteY11" fmla="*/ 919162 h 1164431"/>
                <a:gd name="connsiteX12" fmla="*/ 78581 w 1466850"/>
                <a:gd name="connsiteY12" fmla="*/ 1028700 h 1164431"/>
                <a:gd name="connsiteX13" fmla="*/ 71437 w 1466850"/>
                <a:gd name="connsiteY13" fmla="*/ 1095375 h 1164431"/>
                <a:gd name="connsiteX14" fmla="*/ 88106 w 1466850"/>
                <a:gd name="connsiteY14" fmla="*/ 1164431 h 1164431"/>
                <a:gd name="connsiteX15" fmla="*/ 128587 w 1466850"/>
                <a:gd name="connsiteY15" fmla="*/ 1145381 h 1164431"/>
                <a:gd name="connsiteX16" fmla="*/ 242887 w 1466850"/>
                <a:gd name="connsiteY16" fmla="*/ 1092994 h 1164431"/>
                <a:gd name="connsiteX17" fmla="*/ 238125 w 1466850"/>
                <a:gd name="connsiteY17" fmla="*/ 1045369 h 1164431"/>
                <a:gd name="connsiteX18" fmla="*/ 230981 w 1466850"/>
                <a:gd name="connsiteY18" fmla="*/ 1035844 h 1164431"/>
                <a:gd name="connsiteX19" fmla="*/ 252412 w 1466850"/>
                <a:gd name="connsiteY19" fmla="*/ 1019175 h 1164431"/>
                <a:gd name="connsiteX20" fmla="*/ 314325 w 1466850"/>
                <a:gd name="connsiteY20" fmla="*/ 995362 h 1164431"/>
                <a:gd name="connsiteX21" fmla="*/ 311944 w 1466850"/>
                <a:gd name="connsiteY21" fmla="*/ 959644 h 1164431"/>
                <a:gd name="connsiteX22" fmla="*/ 326231 w 1466850"/>
                <a:gd name="connsiteY22" fmla="*/ 942975 h 1164431"/>
                <a:gd name="connsiteX23" fmla="*/ 452437 w 1466850"/>
                <a:gd name="connsiteY23" fmla="*/ 950119 h 1164431"/>
                <a:gd name="connsiteX24" fmla="*/ 464344 w 1466850"/>
                <a:gd name="connsiteY24" fmla="*/ 933450 h 1164431"/>
                <a:gd name="connsiteX25" fmla="*/ 476250 w 1466850"/>
                <a:gd name="connsiteY25" fmla="*/ 883444 h 1164431"/>
                <a:gd name="connsiteX26" fmla="*/ 488156 w 1466850"/>
                <a:gd name="connsiteY26" fmla="*/ 857250 h 1164431"/>
                <a:gd name="connsiteX27" fmla="*/ 526256 w 1466850"/>
                <a:gd name="connsiteY27" fmla="*/ 862012 h 1164431"/>
                <a:gd name="connsiteX28" fmla="*/ 545306 w 1466850"/>
                <a:gd name="connsiteY28" fmla="*/ 909637 h 1164431"/>
                <a:gd name="connsiteX29" fmla="*/ 566737 w 1466850"/>
                <a:gd name="connsiteY29" fmla="*/ 881062 h 1164431"/>
                <a:gd name="connsiteX30" fmla="*/ 621506 w 1466850"/>
                <a:gd name="connsiteY30" fmla="*/ 845344 h 1164431"/>
                <a:gd name="connsiteX31" fmla="*/ 709612 w 1466850"/>
                <a:gd name="connsiteY31" fmla="*/ 814387 h 1164431"/>
                <a:gd name="connsiteX32" fmla="*/ 716756 w 1466850"/>
                <a:gd name="connsiteY32" fmla="*/ 769144 h 1164431"/>
                <a:gd name="connsiteX33" fmla="*/ 742950 w 1466850"/>
                <a:gd name="connsiteY33" fmla="*/ 750094 h 1164431"/>
                <a:gd name="connsiteX34" fmla="*/ 785812 w 1466850"/>
                <a:gd name="connsiteY34" fmla="*/ 726281 h 1164431"/>
                <a:gd name="connsiteX35" fmla="*/ 800100 w 1466850"/>
                <a:gd name="connsiteY35" fmla="*/ 716756 h 1164431"/>
                <a:gd name="connsiteX36" fmla="*/ 862012 w 1466850"/>
                <a:gd name="connsiteY36" fmla="*/ 721519 h 1164431"/>
                <a:gd name="connsiteX37" fmla="*/ 883444 w 1466850"/>
                <a:gd name="connsiteY37" fmla="*/ 721519 h 1164431"/>
                <a:gd name="connsiteX38" fmla="*/ 892969 w 1466850"/>
                <a:gd name="connsiteY38" fmla="*/ 697706 h 1164431"/>
                <a:gd name="connsiteX39" fmla="*/ 892969 w 1466850"/>
                <a:gd name="connsiteY39" fmla="*/ 697706 h 1164431"/>
                <a:gd name="connsiteX40" fmla="*/ 921544 w 1466850"/>
                <a:gd name="connsiteY40" fmla="*/ 609600 h 1164431"/>
                <a:gd name="connsiteX41" fmla="*/ 909637 w 1466850"/>
                <a:gd name="connsiteY41" fmla="*/ 552450 h 1164431"/>
                <a:gd name="connsiteX42" fmla="*/ 928687 w 1466850"/>
                <a:gd name="connsiteY42" fmla="*/ 540544 h 1164431"/>
                <a:gd name="connsiteX43" fmla="*/ 973931 w 1466850"/>
                <a:gd name="connsiteY43" fmla="*/ 535781 h 1164431"/>
                <a:gd name="connsiteX44" fmla="*/ 1014412 w 1466850"/>
                <a:gd name="connsiteY44" fmla="*/ 447675 h 1164431"/>
                <a:gd name="connsiteX45" fmla="*/ 1038225 w 1466850"/>
                <a:gd name="connsiteY45" fmla="*/ 445294 h 1164431"/>
                <a:gd name="connsiteX46" fmla="*/ 1073944 w 1466850"/>
                <a:gd name="connsiteY46" fmla="*/ 476250 h 1164431"/>
                <a:gd name="connsiteX47" fmla="*/ 1112044 w 1466850"/>
                <a:gd name="connsiteY47" fmla="*/ 514350 h 1164431"/>
                <a:gd name="connsiteX48" fmla="*/ 1171575 w 1466850"/>
                <a:gd name="connsiteY48" fmla="*/ 540544 h 1164431"/>
                <a:gd name="connsiteX49" fmla="*/ 1219200 w 1466850"/>
                <a:gd name="connsiteY49" fmla="*/ 521494 h 1164431"/>
                <a:gd name="connsiteX50" fmla="*/ 1245394 w 1466850"/>
                <a:gd name="connsiteY50" fmla="*/ 502444 h 1164431"/>
                <a:gd name="connsiteX51" fmla="*/ 1278731 w 1466850"/>
                <a:gd name="connsiteY51" fmla="*/ 511969 h 1164431"/>
                <a:gd name="connsiteX52" fmla="*/ 1295400 w 1466850"/>
                <a:gd name="connsiteY52" fmla="*/ 531019 h 1164431"/>
                <a:gd name="connsiteX53" fmla="*/ 1273969 w 1466850"/>
                <a:gd name="connsiteY53" fmla="*/ 573881 h 1164431"/>
                <a:gd name="connsiteX54" fmla="*/ 1271587 w 1466850"/>
                <a:gd name="connsiteY54" fmla="*/ 602456 h 1164431"/>
                <a:gd name="connsiteX55" fmla="*/ 1285875 w 1466850"/>
                <a:gd name="connsiteY55" fmla="*/ 611981 h 1164431"/>
                <a:gd name="connsiteX56" fmla="*/ 1300162 w 1466850"/>
                <a:gd name="connsiteY56" fmla="*/ 628650 h 1164431"/>
                <a:gd name="connsiteX57" fmla="*/ 1321594 w 1466850"/>
                <a:gd name="connsiteY57" fmla="*/ 666750 h 1164431"/>
                <a:gd name="connsiteX58" fmla="*/ 1347787 w 1466850"/>
                <a:gd name="connsiteY58" fmla="*/ 681037 h 1164431"/>
                <a:gd name="connsiteX59" fmla="*/ 1371600 w 1466850"/>
                <a:gd name="connsiteY59" fmla="*/ 681037 h 1164431"/>
                <a:gd name="connsiteX60" fmla="*/ 1376362 w 1466850"/>
                <a:gd name="connsiteY60" fmla="*/ 628650 h 1164431"/>
                <a:gd name="connsiteX61" fmla="*/ 1395412 w 1466850"/>
                <a:gd name="connsiteY61" fmla="*/ 578644 h 1164431"/>
                <a:gd name="connsiteX62" fmla="*/ 1426369 w 1466850"/>
                <a:gd name="connsiteY62" fmla="*/ 571500 h 1164431"/>
                <a:gd name="connsiteX63" fmla="*/ 1466850 w 1466850"/>
                <a:gd name="connsiteY63" fmla="*/ 552450 h 1164431"/>
                <a:gd name="connsiteX64" fmla="*/ 1443037 w 1466850"/>
                <a:gd name="connsiteY64" fmla="*/ 509587 h 1164431"/>
                <a:gd name="connsiteX65" fmla="*/ 1414462 w 1466850"/>
                <a:gd name="connsiteY65" fmla="*/ 464344 h 1164431"/>
                <a:gd name="connsiteX66" fmla="*/ 1388269 w 1466850"/>
                <a:gd name="connsiteY66" fmla="*/ 438150 h 1164431"/>
                <a:gd name="connsiteX67" fmla="*/ 1404937 w 1466850"/>
                <a:gd name="connsiteY67" fmla="*/ 400050 h 1164431"/>
                <a:gd name="connsiteX68" fmla="*/ 1404937 w 1466850"/>
                <a:gd name="connsiteY68" fmla="*/ 383381 h 1164431"/>
                <a:gd name="connsiteX69" fmla="*/ 1431131 w 1466850"/>
                <a:gd name="connsiteY69" fmla="*/ 338137 h 1164431"/>
                <a:gd name="connsiteX70" fmla="*/ 1419225 w 1466850"/>
                <a:gd name="connsiteY70" fmla="*/ 264319 h 1164431"/>
                <a:gd name="connsiteX71" fmla="*/ 1438275 w 1466850"/>
                <a:gd name="connsiteY71" fmla="*/ 202406 h 1164431"/>
                <a:gd name="connsiteX72" fmla="*/ 1435894 w 1466850"/>
                <a:gd name="connsiteY72" fmla="*/ 173831 h 1164431"/>
                <a:gd name="connsiteX73" fmla="*/ 1404937 w 1466850"/>
                <a:gd name="connsiteY73" fmla="*/ 164306 h 1164431"/>
                <a:gd name="connsiteX74" fmla="*/ 1364456 w 1466850"/>
                <a:gd name="connsiteY74" fmla="*/ 154781 h 1164431"/>
                <a:gd name="connsiteX75" fmla="*/ 1293019 w 1466850"/>
                <a:gd name="connsiteY75" fmla="*/ 154781 h 1164431"/>
                <a:gd name="connsiteX76" fmla="*/ 1233487 w 1466850"/>
                <a:gd name="connsiteY76" fmla="*/ 121444 h 1164431"/>
                <a:gd name="connsiteX77" fmla="*/ 1207294 w 1466850"/>
                <a:gd name="connsiteY77" fmla="*/ 114300 h 1164431"/>
                <a:gd name="connsiteX78" fmla="*/ 1188244 w 1466850"/>
                <a:gd name="connsiteY78" fmla="*/ 126206 h 1164431"/>
                <a:gd name="connsiteX79" fmla="*/ 1133475 w 1466850"/>
                <a:gd name="connsiteY79" fmla="*/ 188119 h 1164431"/>
                <a:gd name="connsiteX80" fmla="*/ 1116806 w 1466850"/>
                <a:gd name="connsiteY80" fmla="*/ 188119 h 1164431"/>
                <a:gd name="connsiteX81" fmla="*/ 1078706 w 1466850"/>
                <a:gd name="connsiteY81" fmla="*/ 142875 h 1164431"/>
                <a:gd name="connsiteX82" fmla="*/ 1054894 w 1466850"/>
                <a:gd name="connsiteY82" fmla="*/ 138112 h 1164431"/>
                <a:gd name="connsiteX83" fmla="*/ 997744 w 1466850"/>
                <a:gd name="connsiteY83" fmla="*/ 157162 h 1164431"/>
                <a:gd name="connsiteX84" fmla="*/ 973931 w 1466850"/>
                <a:gd name="connsiteY84" fmla="*/ 178594 h 1164431"/>
                <a:gd name="connsiteX85" fmla="*/ 928687 w 1466850"/>
                <a:gd name="connsiteY85" fmla="*/ 173831 h 1164431"/>
                <a:gd name="connsiteX86" fmla="*/ 878681 w 1466850"/>
                <a:gd name="connsiteY86" fmla="*/ 164306 h 1164431"/>
                <a:gd name="connsiteX87" fmla="*/ 864394 w 1466850"/>
                <a:gd name="connsiteY87" fmla="*/ 83344 h 1164431"/>
                <a:gd name="connsiteX88" fmla="*/ 845344 w 1466850"/>
                <a:gd name="connsiteY88" fmla="*/ 69056 h 1164431"/>
                <a:gd name="connsiteX89" fmla="*/ 747712 w 1466850"/>
                <a:gd name="connsiteY89" fmla="*/ 119062 h 1164431"/>
                <a:gd name="connsiteX90" fmla="*/ 721519 w 1466850"/>
                <a:gd name="connsiteY90" fmla="*/ 140494 h 1164431"/>
                <a:gd name="connsiteX91" fmla="*/ 709612 w 1466850"/>
                <a:gd name="connsiteY91" fmla="*/ 190500 h 1164431"/>
                <a:gd name="connsiteX92" fmla="*/ 707231 w 1466850"/>
                <a:gd name="connsiteY92" fmla="*/ 195262 h 1164431"/>
                <a:gd name="connsiteX93" fmla="*/ 654844 w 1466850"/>
                <a:gd name="connsiteY93" fmla="*/ 190500 h 1164431"/>
                <a:gd name="connsiteX94" fmla="*/ 633412 w 1466850"/>
                <a:gd name="connsiteY94" fmla="*/ 180975 h 1164431"/>
                <a:gd name="connsiteX95" fmla="*/ 614362 w 1466850"/>
                <a:gd name="connsiteY95" fmla="*/ 142875 h 1164431"/>
                <a:gd name="connsiteX96" fmla="*/ 590550 w 1466850"/>
                <a:gd name="connsiteY96" fmla="*/ 130969 h 1164431"/>
                <a:gd name="connsiteX97" fmla="*/ 540544 w 1466850"/>
                <a:gd name="connsiteY97" fmla="*/ 161925 h 1164431"/>
                <a:gd name="connsiteX98" fmla="*/ 507206 w 1466850"/>
                <a:gd name="connsiteY98" fmla="*/ 154781 h 1164431"/>
                <a:gd name="connsiteX99" fmla="*/ 495300 w 1466850"/>
                <a:gd name="connsiteY99" fmla="*/ 123825 h 1164431"/>
                <a:gd name="connsiteX100" fmla="*/ 490537 w 1466850"/>
                <a:gd name="connsiteY100" fmla="*/ 114300 h 1164431"/>
                <a:gd name="connsiteX101" fmla="*/ 431006 w 1466850"/>
                <a:gd name="connsiteY101" fmla="*/ 97631 h 1164431"/>
                <a:gd name="connsiteX102" fmla="*/ 442912 w 1466850"/>
                <a:gd name="connsiteY102" fmla="*/ 33337 h 1164431"/>
                <a:gd name="connsiteX103" fmla="*/ 423862 w 1466850"/>
                <a:gd name="connsiteY103" fmla="*/ 19050 h 1164431"/>
                <a:gd name="connsiteX104" fmla="*/ 335756 w 1466850"/>
                <a:gd name="connsiteY104" fmla="*/ 0 h 1164431"/>
                <a:gd name="connsiteX105" fmla="*/ 302419 w 1466850"/>
                <a:gd name="connsiteY105" fmla="*/ 35719 h 1164431"/>
                <a:gd name="connsiteX106" fmla="*/ 266700 w 1466850"/>
                <a:gd name="connsiteY106" fmla="*/ 50006 h 1164431"/>
                <a:gd name="connsiteX107" fmla="*/ 271462 w 1466850"/>
                <a:gd name="connsiteY107" fmla="*/ 95250 h 1164431"/>
                <a:gd name="connsiteX108" fmla="*/ 316706 w 1466850"/>
                <a:gd name="connsiteY108" fmla="*/ 121444 h 1164431"/>
                <a:gd name="connsiteX109" fmla="*/ 302419 w 1466850"/>
                <a:gd name="connsiteY109" fmla="*/ 145256 h 1164431"/>
                <a:gd name="connsiteX110" fmla="*/ 247650 w 1466850"/>
                <a:gd name="connsiteY110" fmla="*/ 159544 h 1164431"/>
                <a:gd name="connsiteX111" fmla="*/ 214312 w 1466850"/>
                <a:gd name="connsiteY111" fmla="*/ 216694 h 1164431"/>
                <a:gd name="connsiteX112" fmla="*/ 183356 w 1466850"/>
                <a:gd name="connsiteY112" fmla="*/ 221456 h 1164431"/>
                <a:gd name="connsiteX113" fmla="*/ 183356 w 1466850"/>
                <a:gd name="connsiteY113" fmla="*/ 254794 h 1164431"/>
                <a:gd name="connsiteX114" fmla="*/ 161925 w 1466850"/>
                <a:gd name="connsiteY114" fmla="*/ 304800 h 1164431"/>
                <a:gd name="connsiteX115" fmla="*/ 140494 w 1466850"/>
                <a:gd name="connsiteY115" fmla="*/ 323850 h 1164431"/>
                <a:gd name="connsiteX116" fmla="*/ 71439 w 1466850"/>
                <a:gd name="connsiteY116" fmla="*/ 300039 h 1164431"/>
                <a:gd name="connsiteX117" fmla="*/ 59530 w 1466850"/>
                <a:gd name="connsiteY117" fmla="*/ 302418 h 1164431"/>
                <a:gd name="connsiteX118" fmla="*/ 30956 w 1466850"/>
                <a:gd name="connsiteY118" fmla="*/ 295274 h 1164431"/>
                <a:gd name="connsiteX0" fmla="*/ 30956 w 1466850"/>
                <a:gd name="connsiteY0" fmla="*/ 295274 h 1200149"/>
                <a:gd name="connsiteX1" fmla="*/ 19050 w 1466850"/>
                <a:gd name="connsiteY1" fmla="*/ 381000 h 1200149"/>
                <a:gd name="connsiteX2" fmla="*/ 19050 w 1466850"/>
                <a:gd name="connsiteY2" fmla="*/ 397669 h 1200149"/>
                <a:gd name="connsiteX3" fmla="*/ 0 w 1466850"/>
                <a:gd name="connsiteY3" fmla="*/ 459581 h 1200149"/>
                <a:gd name="connsiteX4" fmla="*/ 7144 w 1466850"/>
                <a:gd name="connsiteY4" fmla="*/ 497681 h 1200149"/>
                <a:gd name="connsiteX5" fmla="*/ 9525 w 1466850"/>
                <a:gd name="connsiteY5" fmla="*/ 535781 h 1200149"/>
                <a:gd name="connsiteX6" fmla="*/ 19050 w 1466850"/>
                <a:gd name="connsiteY6" fmla="*/ 583406 h 1200149"/>
                <a:gd name="connsiteX7" fmla="*/ 23812 w 1466850"/>
                <a:gd name="connsiteY7" fmla="*/ 688181 h 1200149"/>
                <a:gd name="connsiteX8" fmla="*/ 35719 w 1466850"/>
                <a:gd name="connsiteY8" fmla="*/ 747712 h 1200149"/>
                <a:gd name="connsiteX9" fmla="*/ 40481 w 1466850"/>
                <a:gd name="connsiteY9" fmla="*/ 778669 h 1200149"/>
                <a:gd name="connsiteX10" fmla="*/ 47625 w 1466850"/>
                <a:gd name="connsiteY10" fmla="*/ 831056 h 1200149"/>
                <a:gd name="connsiteX11" fmla="*/ 38100 w 1466850"/>
                <a:gd name="connsiteY11" fmla="*/ 919162 h 1200149"/>
                <a:gd name="connsiteX12" fmla="*/ 78581 w 1466850"/>
                <a:gd name="connsiteY12" fmla="*/ 1028700 h 1200149"/>
                <a:gd name="connsiteX13" fmla="*/ 71437 w 1466850"/>
                <a:gd name="connsiteY13" fmla="*/ 1095375 h 1200149"/>
                <a:gd name="connsiteX14" fmla="*/ 88106 w 1466850"/>
                <a:gd name="connsiteY14" fmla="*/ 1164431 h 1200149"/>
                <a:gd name="connsiteX15" fmla="*/ 166687 w 1466850"/>
                <a:gd name="connsiteY15" fmla="*/ 1200149 h 1200149"/>
                <a:gd name="connsiteX16" fmla="*/ 242887 w 1466850"/>
                <a:gd name="connsiteY16" fmla="*/ 1092994 h 1200149"/>
                <a:gd name="connsiteX17" fmla="*/ 238125 w 1466850"/>
                <a:gd name="connsiteY17" fmla="*/ 1045369 h 1200149"/>
                <a:gd name="connsiteX18" fmla="*/ 230981 w 1466850"/>
                <a:gd name="connsiteY18" fmla="*/ 1035844 h 1200149"/>
                <a:gd name="connsiteX19" fmla="*/ 252412 w 1466850"/>
                <a:gd name="connsiteY19" fmla="*/ 1019175 h 1200149"/>
                <a:gd name="connsiteX20" fmla="*/ 314325 w 1466850"/>
                <a:gd name="connsiteY20" fmla="*/ 995362 h 1200149"/>
                <a:gd name="connsiteX21" fmla="*/ 311944 w 1466850"/>
                <a:gd name="connsiteY21" fmla="*/ 959644 h 1200149"/>
                <a:gd name="connsiteX22" fmla="*/ 326231 w 1466850"/>
                <a:gd name="connsiteY22" fmla="*/ 942975 h 1200149"/>
                <a:gd name="connsiteX23" fmla="*/ 452437 w 1466850"/>
                <a:gd name="connsiteY23" fmla="*/ 950119 h 1200149"/>
                <a:gd name="connsiteX24" fmla="*/ 464344 w 1466850"/>
                <a:gd name="connsiteY24" fmla="*/ 933450 h 1200149"/>
                <a:gd name="connsiteX25" fmla="*/ 476250 w 1466850"/>
                <a:gd name="connsiteY25" fmla="*/ 883444 h 1200149"/>
                <a:gd name="connsiteX26" fmla="*/ 488156 w 1466850"/>
                <a:gd name="connsiteY26" fmla="*/ 857250 h 1200149"/>
                <a:gd name="connsiteX27" fmla="*/ 526256 w 1466850"/>
                <a:gd name="connsiteY27" fmla="*/ 862012 h 1200149"/>
                <a:gd name="connsiteX28" fmla="*/ 545306 w 1466850"/>
                <a:gd name="connsiteY28" fmla="*/ 909637 h 1200149"/>
                <a:gd name="connsiteX29" fmla="*/ 566737 w 1466850"/>
                <a:gd name="connsiteY29" fmla="*/ 881062 h 1200149"/>
                <a:gd name="connsiteX30" fmla="*/ 621506 w 1466850"/>
                <a:gd name="connsiteY30" fmla="*/ 845344 h 1200149"/>
                <a:gd name="connsiteX31" fmla="*/ 709612 w 1466850"/>
                <a:gd name="connsiteY31" fmla="*/ 814387 h 1200149"/>
                <a:gd name="connsiteX32" fmla="*/ 716756 w 1466850"/>
                <a:gd name="connsiteY32" fmla="*/ 769144 h 1200149"/>
                <a:gd name="connsiteX33" fmla="*/ 742950 w 1466850"/>
                <a:gd name="connsiteY33" fmla="*/ 750094 h 1200149"/>
                <a:gd name="connsiteX34" fmla="*/ 785812 w 1466850"/>
                <a:gd name="connsiteY34" fmla="*/ 726281 h 1200149"/>
                <a:gd name="connsiteX35" fmla="*/ 800100 w 1466850"/>
                <a:gd name="connsiteY35" fmla="*/ 716756 h 1200149"/>
                <a:gd name="connsiteX36" fmla="*/ 862012 w 1466850"/>
                <a:gd name="connsiteY36" fmla="*/ 721519 h 1200149"/>
                <a:gd name="connsiteX37" fmla="*/ 883444 w 1466850"/>
                <a:gd name="connsiteY37" fmla="*/ 721519 h 1200149"/>
                <a:gd name="connsiteX38" fmla="*/ 892969 w 1466850"/>
                <a:gd name="connsiteY38" fmla="*/ 697706 h 1200149"/>
                <a:gd name="connsiteX39" fmla="*/ 892969 w 1466850"/>
                <a:gd name="connsiteY39" fmla="*/ 697706 h 1200149"/>
                <a:gd name="connsiteX40" fmla="*/ 921544 w 1466850"/>
                <a:gd name="connsiteY40" fmla="*/ 609600 h 1200149"/>
                <a:gd name="connsiteX41" fmla="*/ 909637 w 1466850"/>
                <a:gd name="connsiteY41" fmla="*/ 552450 h 1200149"/>
                <a:gd name="connsiteX42" fmla="*/ 928687 w 1466850"/>
                <a:gd name="connsiteY42" fmla="*/ 540544 h 1200149"/>
                <a:gd name="connsiteX43" fmla="*/ 973931 w 1466850"/>
                <a:gd name="connsiteY43" fmla="*/ 535781 h 1200149"/>
                <a:gd name="connsiteX44" fmla="*/ 1014412 w 1466850"/>
                <a:gd name="connsiteY44" fmla="*/ 447675 h 1200149"/>
                <a:gd name="connsiteX45" fmla="*/ 1038225 w 1466850"/>
                <a:gd name="connsiteY45" fmla="*/ 445294 h 1200149"/>
                <a:gd name="connsiteX46" fmla="*/ 1073944 w 1466850"/>
                <a:gd name="connsiteY46" fmla="*/ 476250 h 1200149"/>
                <a:gd name="connsiteX47" fmla="*/ 1112044 w 1466850"/>
                <a:gd name="connsiteY47" fmla="*/ 514350 h 1200149"/>
                <a:gd name="connsiteX48" fmla="*/ 1171575 w 1466850"/>
                <a:gd name="connsiteY48" fmla="*/ 540544 h 1200149"/>
                <a:gd name="connsiteX49" fmla="*/ 1219200 w 1466850"/>
                <a:gd name="connsiteY49" fmla="*/ 521494 h 1200149"/>
                <a:gd name="connsiteX50" fmla="*/ 1245394 w 1466850"/>
                <a:gd name="connsiteY50" fmla="*/ 502444 h 1200149"/>
                <a:gd name="connsiteX51" fmla="*/ 1278731 w 1466850"/>
                <a:gd name="connsiteY51" fmla="*/ 511969 h 1200149"/>
                <a:gd name="connsiteX52" fmla="*/ 1295400 w 1466850"/>
                <a:gd name="connsiteY52" fmla="*/ 531019 h 1200149"/>
                <a:gd name="connsiteX53" fmla="*/ 1273969 w 1466850"/>
                <a:gd name="connsiteY53" fmla="*/ 573881 h 1200149"/>
                <a:gd name="connsiteX54" fmla="*/ 1271587 w 1466850"/>
                <a:gd name="connsiteY54" fmla="*/ 602456 h 1200149"/>
                <a:gd name="connsiteX55" fmla="*/ 1285875 w 1466850"/>
                <a:gd name="connsiteY55" fmla="*/ 611981 h 1200149"/>
                <a:gd name="connsiteX56" fmla="*/ 1300162 w 1466850"/>
                <a:gd name="connsiteY56" fmla="*/ 628650 h 1200149"/>
                <a:gd name="connsiteX57" fmla="*/ 1321594 w 1466850"/>
                <a:gd name="connsiteY57" fmla="*/ 666750 h 1200149"/>
                <a:gd name="connsiteX58" fmla="*/ 1347787 w 1466850"/>
                <a:gd name="connsiteY58" fmla="*/ 681037 h 1200149"/>
                <a:gd name="connsiteX59" fmla="*/ 1371600 w 1466850"/>
                <a:gd name="connsiteY59" fmla="*/ 681037 h 1200149"/>
                <a:gd name="connsiteX60" fmla="*/ 1376362 w 1466850"/>
                <a:gd name="connsiteY60" fmla="*/ 628650 h 1200149"/>
                <a:gd name="connsiteX61" fmla="*/ 1395412 w 1466850"/>
                <a:gd name="connsiteY61" fmla="*/ 578644 h 1200149"/>
                <a:gd name="connsiteX62" fmla="*/ 1426369 w 1466850"/>
                <a:gd name="connsiteY62" fmla="*/ 571500 h 1200149"/>
                <a:gd name="connsiteX63" fmla="*/ 1466850 w 1466850"/>
                <a:gd name="connsiteY63" fmla="*/ 552450 h 1200149"/>
                <a:gd name="connsiteX64" fmla="*/ 1443037 w 1466850"/>
                <a:gd name="connsiteY64" fmla="*/ 509587 h 1200149"/>
                <a:gd name="connsiteX65" fmla="*/ 1414462 w 1466850"/>
                <a:gd name="connsiteY65" fmla="*/ 464344 h 1200149"/>
                <a:gd name="connsiteX66" fmla="*/ 1388269 w 1466850"/>
                <a:gd name="connsiteY66" fmla="*/ 438150 h 1200149"/>
                <a:gd name="connsiteX67" fmla="*/ 1404937 w 1466850"/>
                <a:gd name="connsiteY67" fmla="*/ 400050 h 1200149"/>
                <a:gd name="connsiteX68" fmla="*/ 1404937 w 1466850"/>
                <a:gd name="connsiteY68" fmla="*/ 383381 h 1200149"/>
                <a:gd name="connsiteX69" fmla="*/ 1431131 w 1466850"/>
                <a:gd name="connsiteY69" fmla="*/ 338137 h 1200149"/>
                <a:gd name="connsiteX70" fmla="*/ 1419225 w 1466850"/>
                <a:gd name="connsiteY70" fmla="*/ 264319 h 1200149"/>
                <a:gd name="connsiteX71" fmla="*/ 1438275 w 1466850"/>
                <a:gd name="connsiteY71" fmla="*/ 202406 h 1200149"/>
                <a:gd name="connsiteX72" fmla="*/ 1435894 w 1466850"/>
                <a:gd name="connsiteY72" fmla="*/ 173831 h 1200149"/>
                <a:gd name="connsiteX73" fmla="*/ 1404937 w 1466850"/>
                <a:gd name="connsiteY73" fmla="*/ 164306 h 1200149"/>
                <a:gd name="connsiteX74" fmla="*/ 1364456 w 1466850"/>
                <a:gd name="connsiteY74" fmla="*/ 154781 h 1200149"/>
                <a:gd name="connsiteX75" fmla="*/ 1293019 w 1466850"/>
                <a:gd name="connsiteY75" fmla="*/ 154781 h 1200149"/>
                <a:gd name="connsiteX76" fmla="*/ 1233487 w 1466850"/>
                <a:gd name="connsiteY76" fmla="*/ 121444 h 1200149"/>
                <a:gd name="connsiteX77" fmla="*/ 1207294 w 1466850"/>
                <a:gd name="connsiteY77" fmla="*/ 114300 h 1200149"/>
                <a:gd name="connsiteX78" fmla="*/ 1188244 w 1466850"/>
                <a:gd name="connsiteY78" fmla="*/ 126206 h 1200149"/>
                <a:gd name="connsiteX79" fmla="*/ 1133475 w 1466850"/>
                <a:gd name="connsiteY79" fmla="*/ 188119 h 1200149"/>
                <a:gd name="connsiteX80" fmla="*/ 1116806 w 1466850"/>
                <a:gd name="connsiteY80" fmla="*/ 188119 h 1200149"/>
                <a:gd name="connsiteX81" fmla="*/ 1078706 w 1466850"/>
                <a:gd name="connsiteY81" fmla="*/ 142875 h 1200149"/>
                <a:gd name="connsiteX82" fmla="*/ 1054894 w 1466850"/>
                <a:gd name="connsiteY82" fmla="*/ 138112 h 1200149"/>
                <a:gd name="connsiteX83" fmla="*/ 997744 w 1466850"/>
                <a:gd name="connsiteY83" fmla="*/ 157162 h 1200149"/>
                <a:gd name="connsiteX84" fmla="*/ 973931 w 1466850"/>
                <a:gd name="connsiteY84" fmla="*/ 178594 h 1200149"/>
                <a:gd name="connsiteX85" fmla="*/ 928687 w 1466850"/>
                <a:gd name="connsiteY85" fmla="*/ 173831 h 1200149"/>
                <a:gd name="connsiteX86" fmla="*/ 878681 w 1466850"/>
                <a:gd name="connsiteY86" fmla="*/ 164306 h 1200149"/>
                <a:gd name="connsiteX87" fmla="*/ 864394 w 1466850"/>
                <a:gd name="connsiteY87" fmla="*/ 83344 h 1200149"/>
                <a:gd name="connsiteX88" fmla="*/ 845344 w 1466850"/>
                <a:gd name="connsiteY88" fmla="*/ 69056 h 1200149"/>
                <a:gd name="connsiteX89" fmla="*/ 747712 w 1466850"/>
                <a:gd name="connsiteY89" fmla="*/ 119062 h 1200149"/>
                <a:gd name="connsiteX90" fmla="*/ 721519 w 1466850"/>
                <a:gd name="connsiteY90" fmla="*/ 140494 h 1200149"/>
                <a:gd name="connsiteX91" fmla="*/ 709612 w 1466850"/>
                <a:gd name="connsiteY91" fmla="*/ 190500 h 1200149"/>
                <a:gd name="connsiteX92" fmla="*/ 707231 w 1466850"/>
                <a:gd name="connsiteY92" fmla="*/ 195262 h 1200149"/>
                <a:gd name="connsiteX93" fmla="*/ 654844 w 1466850"/>
                <a:gd name="connsiteY93" fmla="*/ 190500 h 1200149"/>
                <a:gd name="connsiteX94" fmla="*/ 633412 w 1466850"/>
                <a:gd name="connsiteY94" fmla="*/ 180975 h 1200149"/>
                <a:gd name="connsiteX95" fmla="*/ 614362 w 1466850"/>
                <a:gd name="connsiteY95" fmla="*/ 142875 h 1200149"/>
                <a:gd name="connsiteX96" fmla="*/ 590550 w 1466850"/>
                <a:gd name="connsiteY96" fmla="*/ 130969 h 1200149"/>
                <a:gd name="connsiteX97" fmla="*/ 540544 w 1466850"/>
                <a:gd name="connsiteY97" fmla="*/ 161925 h 1200149"/>
                <a:gd name="connsiteX98" fmla="*/ 507206 w 1466850"/>
                <a:gd name="connsiteY98" fmla="*/ 154781 h 1200149"/>
                <a:gd name="connsiteX99" fmla="*/ 495300 w 1466850"/>
                <a:gd name="connsiteY99" fmla="*/ 123825 h 1200149"/>
                <a:gd name="connsiteX100" fmla="*/ 490537 w 1466850"/>
                <a:gd name="connsiteY100" fmla="*/ 114300 h 1200149"/>
                <a:gd name="connsiteX101" fmla="*/ 431006 w 1466850"/>
                <a:gd name="connsiteY101" fmla="*/ 97631 h 1200149"/>
                <a:gd name="connsiteX102" fmla="*/ 442912 w 1466850"/>
                <a:gd name="connsiteY102" fmla="*/ 33337 h 1200149"/>
                <a:gd name="connsiteX103" fmla="*/ 423862 w 1466850"/>
                <a:gd name="connsiteY103" fmla="*/ 19050 h 1200149"/>
                <a:gd name="connsiteX104" fmla="*/ 335756 w 1466850"/>
                <a:gd name="connsiteY104" fmla="*/ 0 h 1200149"/>
                <a:gd name="connsiteX105" fmla="*/ 302419 w 1466850"/>
                <a:gd name="connsiteY105" fmla="*/ 35719 h 1200149"/>
                <a:gd name="connsiteX106" fmla="*/ 266700 w 1466850"/>
                <a:gd name="connsiteY106" fmla="*/ 50006 h 1200149"/>
                <a:gd name="connsiteX107" fmla="*/ 271462 w 1466850"/>
                <a:gd name="connsiteY107" fmla="*/ 95250 h 1200149"/>
                <a:gd name="connsiteX108" fmla="*/ 316706 w 1466850"/>
                <a:gd name="connsiteY108" fmla="*/ 121444 h 1200149"/>
                <a:gd name="connsiteX109" fmla="*/ 302419 w 1466850"/>
                <a:gd name="connsiteY109" fmla="*/ 145256 h 1200149"/>
                <a:gd name="connsiteX110" fmla="*/ 247650 w 1466850"/>
                <a:gd name="connsiteY110" fmla="*/ 159544 h 1200149"/>
                <a:gd name="connsiteX111" fmla="*/ 214312 w 1466850"/>
                <a:gd name="connsiteY111" fmla="*/ 216694 h 1200149"/>
                <a:gd name="connsiteX112" fmla="*/ 183356 w 1466850"/>
                <a:gd name="connsiteY112" fmla="*/ 221456 h 1200149"/>
                <a:gd name="connsiteX113" fmla="*/ 183356 w 1466850"/>
                <a:gd name="connsiteY113" fmla="*/ 254794 h 1200149"/>
                <a:gd name="connsiteX114" fmla="*/ 161925 w 1466850"/>
                <a:gd name="connsiteY114" fmla="*/ 304800 h 1200149"/>
                <a:gd name="connsiteX115" fmla="*/ 140494 w 1466850"/>
                <a:gd name="connsiteY115" fmla="*/ 323850 h 1200149"/>
                <a:gd name="connsiteX116" fmla="*/ 71439 w 1466850"/>
                <a:gd name="connsiteY116" fmla="*/ 300039 h 1200149"/>
                <a:gd name="connsiteX117" fmla="*/ 59530 w 1466850"/>
                <a:gd name="connsiteY117" fmla="*/ 302418 h 1200149"/>
                <a:gd name="connsiteX118" fmla="*/ 30956 w 1466850"/>
                <a:gd name="connsiteY118" fmla="*/ 295274 h 1200149"/>
                <a:gd name="connsiteX0" fmla="*/ 30956 w 1466850"/>
                <a:gd name="connsiteY0" fmla="*/ 295274 h 1200149"/>
                <a:gd name="connsiteX1" fmla="*/ 19050 w 1466850"/>
                <a:gd name="connsiteY1" fmla="*/ 381000 h 1200149"/>
                <a:gd name="connsiteX2" fmla="*/ 19050 w 1466850"/>
                <a:gd name="connsiteY2" fmla="*/ 397669 h 1200149"/>
                <a:gd name="connsiteX3" fmla="*/ 0 w 1466850"/>
                <a:gd name="connsiteY3" fmla="*/ 459581 h 1200149"/>
                <a:gd name="connsiteX4" fmla="*/ 7144 w 1466850"/>
                <a:gd name="connsiteY4" fmla="*/ 497681 h 1200149"/>
                <a:gd name="connsiteX5" fmla="*/ 9525 w 1466850"/>
                <a:gd name="connsiteY5" fmla="*/ 535781 h 1200149"/>
                <a:gd name="connsiteX6" fmla="*/ 19050 w 1466850"/>
                <a:gd name="connsiteY6" fmla="*/ 583406 h 1200149"/>
                <a:gd name="connsiteX7" fmla="*/ 23812 w 1466850"/>
                <a:gd name="connsiteY7" fmla="*/ 688181 h 1200149"/>
                <a:gd name="connsiteX8" fmla="*/ 35719 w 1466850"/>
                <a:gd name="connsiteY8" fmla="*/ 747712 h 1200149"/>
                <a:gd name="connsiteX9" fmla="*/ 40481 w 1466850"/>
                <a:gd name="connsiteY9" fmla="*/ 778669 h 1200149"/>
                <a:gd name="connsiteX10" fmla="*/ 47625 w 1466850"/>
                <a:gd name="connsiteY10" fmla="*/ 831056 h 1200149"/>
                <a:gd name="connsiteX11" fmla="*/ 38100 w 1466850"/>
                <a:gd name="connsiteY11" fmla="*/ 919162 h 1200149"/>
                <a:gd name="connsiteX12" fmla="*/ 78581 w 1466850"/>
                <a:gd name="connsiteY12" fmla="*/ 1028700 h 1200149"/>
                <a:gd name="connsiteX13" fmla="*/ 71437 w 1466850"/>
                <a:gd name="connsiteY13" fmla="*/ 1095375 h 1200149"/>
                <a:gd name="connsiteX14" fmla="*/ 88106 w 1466850"/>
                <a:gd name="connsiteY14" fmla="*/ 1164431 h 1200149"/>
                <a:gd name="connsiteX15" fmla="*/ 166687 w 1466850"/>
                <a:gd name="connsiteY15" fmla="*/ 1200149 h 1200149"/>
                <a:gd name="connsiteX16" fmla="*/ 185737 w 1466850"/>
                <a:gd name="connsiteY16" fmla="*/ 1173956 h 1200149"/>
                <a:gd name="connsiteX17" fmla="*/ 242887 w 1466850"/>
                <a:gd name="connsiteY17" fmla="*/ 1092994 h 1200149"/>
                <a:gd name="connsiteX18" fmla="*/ 238125 w 1466850"/>
                <a:gd name="connsiteY18" fmla="*/ 1045369 h 1200149"/>
                <a:gd name="connsiteX19" fmla="*/ 230981 w 1466850"/>
                <a:gd name="connsiteY19" fmla="*/ 1035844 h 1200149"/>
                <a:gd name="connsiteX20" fmla="*/ 252412 w 1466850"/>
                <a:gd name="connsiteY20" fmla="*/ 1019175 h 1200149"/>
                <a:gd name="connsiteX21" fmla="*/ 314325 w 1466850"/>
                <a:gd name="connsiteY21" fmla="*/ 995362 h 1200149"/>
                <a:gd name="connsiteX22" fmla="*/ 311944 w 1466850"/>
                <a:gd name="connsiteY22" fmla="*/ 959644 h 1200149"/>
                <a:gd name="connsiteX23" fmla="*/ 326231 w 1466850"/>
                <a:gd name="connsiteY23" fmla="*/ 942975 h 1200149"/>
                <a:gd name="connsiteX24" fmla="*/ 452437 w 1466850"/>
                <a:gd name="connsiteY24" fmla="*/ 950119 h 1200149"/>
                <a:gd name="connsiteX25" fmla="*/ 464344 w 1466850"/>
                <a:gd name="connsiteY25" fmla="*/ 933450 h 1200149"/>
                <a:gd name="connsiteX26" fmla="*/ 476250 w 1466850"/>
                <a:gd name="connsiteY26" fmla="*/ 883444 h 1200149"/>
                <a:gd name="connsiteX27" fmla="*/ 488156 w 1466850"/>
                <a:gd name="connsiteY27" fmla="*/ 857250 h 1200149"/>
                <a:gd name="connsiteX28" fmla="*/ 526256 w 1466850"/>
                <a:gd name="connsiteY28" fmla="*/ 862012 h 1200149"/>
                <a:gd name="connsiteX29" fmla="*/ 545306 w 1466850"/>
                <a:gd name="connsiteY29" fmla="*/ 909637 h 1200149"/>
                <a:gd name="connsiteX30" fmla="*/ 566737 w 1466850"/>
                <a:gd name="connsiteY30" fmla="*/ 881062 h 1200149"/>
                <a:gd name="connsiteX31" fmla="*/ 621506 w 1466850"/>
                <a:gd name="connsiteY31" fmla="*/ 845344 h 1200149"/>
                <a:gd name="connsiteX32" fmla="*/ 709612 w 1466850"/>
                <a:gd name="connsiteY32" fmla="*/ 814387 h 1200149"/>
                <a:gd name="connsiteX33" fmla="*/ 716756 w 1466850"/>
                <a:gd name="connsiteY33" fmla="*/ 769144 h 1200149"/>
                <a:gd name="connsiteX34" fmla="*/ 742950 w 1466850"/>
                <a:gd name="connsiteY34" fmla="*/ 750094 h 1200149"/>
                <a:gd name="connsiteX35" fmla="*/ 785812 w 1466850"/>
                <a:gd name="connsiteY35" fmla="*/ 726281 h 1200149"/>
                <a:gd name="connsiteX36" fmla="*/ 800100 w 1466850"/>
                <a:gd name="connsiteY36" fmla="*/ 716756 h 1200149"/>
                <a:gd name="connsiteX37" fmla="*/ 862012 w 1466850"/>
                <a:gd name="connsiteY37" fmla="*/ 721519 h 1200149"/>
                <a:gd name="connsiteX38" fmla="*/ 883444 w 1466850"/>
                <a:gd name="connsiteY38" fmla="*/ 721519 h 1200149"/>
                <a:gd name="connsiteX39" fmla="*/ 892969 w 1466850"/>
                <a:gd name="connsiteY39" fmla="*/ 697706 h 1200149"/>
                <a:gd name="connsiteX40" fmla="*/ 892969 w 1466850"/>
                <a:gd name="connsiteY40" fmla="*/ 697706 h 1200149"/>
                <a:gd name="connsiteX41" fmla="*/ 921544 w 1466850"/>
                <a:gd name="connsiteY41" fmla="*/ 609600 h 1200149"/>
                <a:gd name="connsiteX42" fmla="*/ 909637 w 1466850"/>
                <a:gd name="connsiteY42" fmla="*/ 552450 h 1200149"/>
                <a:gd name="connsiteX43" fmla="*/ 928687 w 1466850"/>
                <a:gd name="connsiteY43" fmla="*/ 540544 h 1200149"/>
                <a:gd name="connsiteX44" fmla="*/ 973931 w 1466850"/>
                <a:gd name="connsiteY44" fmla="*/ 535781 h 1200149"/>
                <a:gd name="connsiteX45" fmla="*/ 1014412 w 1466850"/>
                <a:gd name="connsiteY45" fmla="*/ 447675 h 1200149"/>
                <a:gd name="connsiteX46" fmla="*/ 1038225 w 1466850"/>
                <a:gd name="connsiteY46" fmla="*/ 445294 h 1200149"/>
                <a:gd name="connsiteX47" fmla="*/ 1073944 w 1466850"/>
                <a:gd name="connsiteY47" fmla="*/ 476250 h 1200149"/>
                <a:gd name="connsiteX48" fmla="*/ 1112044 w 1466850"/>
                <a:gd name="connsiteY48" fmla="*/ 514350 h 1200149"/>
                <a:gd name="connsiteX49" fmla="*/ 1171575 w 1466850"/>
                <a:gd name="connsiteY49" fmla="*/ 540544 h 1200149"/>
                <a:gd name="connsiteX50" fmla="*/ 1219200 w 1466850"/>
                <a:gd name="connsiteY50" fmla="*/ 521494 h 1200149"/>
                <a:gd name="connsiteX51" fmla="*/ 1245394 w 1466850"/>
                <a:gd name="connsiteY51" fmla="*/ 502444 h 1200149"/>
                <a:gd name="connsiteX52" fmla="*/ 1278731 w 1466850"/>
                <a:gd name="connsiteY52" fmla="*/ 511969 h 1200149"/>
                <a:gd name="connsiteX53" fmla="*/ 1295400 w 1466850"/>
                <a:gd name="connsiteY53" fmla="*/ 531019 h 1200149"/>
                <a:gd name="connsiteX54" fmla="*/ 1273969 w 1466850"/>
                <a:gd name="connsiteY54" fmla="*/ 573881 h 1200149"/>
                <a:gd name="connsiteX55" fmla="*/ 1271587 w 1466850"/>
                <a:gd name="connsiteY55" fmla="*/ 602456 h 1200149"/>
                <a:gd name="connsiteX56" fmla="*/ 1285875 w 1466850"/>
                <a:gd name="connsiteY56" fmla="*/ 611981 h 1200149"/>
                <a:gd name="connsiteX57" fmla="*/ 1300162 w 1466850"/>
                <a:gd name="connsiteY57" fmla="*/ 628650 h 1200149"/>
                <a:gd name="connsiteX58" fmla="*/ 1321594 w 1466850"/>
                <a:gd name="connsiteY58" fmla="*/ 666750 h 1200149"/>
                <a:gd name="connsiteX59" fmla="*/ 1347787 w 1466850"/>
                <a:gd name="connsiteY59" fmla="*/ 681037 h 1200149"/>
                <a:gd name="connsiteX60" fmla="*/ 1371600 w 1466850"/>
                <a:gd name="connsiteY60" fmla="*/ 681037 h 1200149"/>
                <a:gd name="connsiteX61" fmla="*/ 1376362 w 1466850"/>
                <a:gd name="connsiteY61" fmla="*/ 628650 h 1200149"/>
                <a:gd name="connsiteX62" fmla="*/ 1395412 w 1466850"/>
                <a:gd name="connsiteY62" fmla="*/ 578644 h 1200149"/>
                <a:gd name="connsiteX63" fmla="*/ 1426369 w 1466850"/>
                <a:gd name="connsiteY63" fmla="*/ 571500 h 1200149"/>
                <a:gd name="connsiteX64" fmla="*/ 1466850 w 1466850"/>
                <a:gd name="connsiteY64" fmla="*/ 552450 h 1200149"/>
                <a:gd name="connsiteX65" fmla="*/ 1443037 w 1466850"/>
                <a:gd name="connsiteY65" fmla="*/ 509587 h 1200149"/>
                <a:gd name="connsiteX66" fmla="*/ 1414462 w 1466850"/>
                <a:gd name="connsiteY66" fmla="*/ 464344 h 1200149"/>
                <a:gd name="connsiteX67" fmla="*/ 1388269 w 1466850"/>
                <a:gd name="connsiteY67" fmla="*/ 438150 h 1200149"/>
                <a:gd name="connsiteX68" fmla="*/ 1404937 w 1466850"/>
                <a:gd name="connsiteY68" fmla="*/ 400050 h 1200149"/>
                <a:gd name="connsiteX69" fmla="*/ 1404937 w 1466850"/>
                <a:gd name="connsiteY69" fmla="*/ 383381 h 1200149"/>
                <a:gd name="connsiteX70" fmla="*/ 1431131 w 1466850"/>
                <a:gd name="connsiteY70" fmla="*/ 338137 h 1200149"/>
                <a:gd name="connsiteX71" fmla="*/ 1419225 w 1466850"/>
                <a:gd name="connsiteY71" fmla="*/ 264319 h 1200149"/>
                <a:gd name="connsiteX72" fmla="*/ 1438275 w 1466850"/>
                <a:gd name="connsiteY72" fmla="*/ 202406 h 1200149"/>
                <a:gd name="connsiteX73" fmla="*/ 1435894 w 1466850"/>
                <a:gd name="connsiteY73" fmla="*/ 173831 h 1200149"/>
                <a:gd name="connsiteX74" fmla="*/ 1404937 w 1466850"/>
                <a:gd name="connsiteY74" fmla="*/ 164306 h 1200149"/>
                <a:gd name="connsiteX75" fmla="*/ 1364456 w 1466850"/>
                <a:gd name="connsiteY75" fmla="*/ 154781 h 1200149"/>
                <a:gd name="connsiteX76" fmla="*/ 1293019 w 1466850"/>
                <a:gd name="connsiteY76" fmla="*/ 154781 h 1200149"/>
                <a:gd name="connsiteX77" fmla="*/ 1233487 w 1466850"/>
                <a:gd name="connsiteY77" fmla="*/ 121444 h 1200149"/>
                <a:gd name="connsiteX78" fmla="*/ 1207294 w 1466850"/>
                <a:gd name="connsiteY78" fmla="*/ 114300 h 1200149"/>
                <a:gd name="connsiteX79" fmla="*/ 1188244 w 1466850"/>
                <a:gd name="connsiteY79" fmla="*/ 126206 h 1200149"/>
                <a:gd name="connsiteX80" fmla="*/ 1133475 w 1466850"/>
                <a:gd name="connsiteY80" fmla="*/ 188119 h 1200149"/>
                <a:gd name="connsiteX81" fmla="*/ 1116806 w 1466850"/>
                <a:gd name="connsiteY81" fmla="*/ 188119 h 1200149"/>
                <a:gd name="connsiteX82" fmla="*/ 1078706 w 1466850"/>
                <a:gd name="connsiteY82" fmla="*/ 142875 h 1200149"/>
                <a:gd name="connsiteX83" fmla="*/ 1054894 w 1466850"/>
                <a:gd name="connsiteY83" fmla="*/ 138112 h 1200149"/>
                <a:gd name="connsiteX84" fmla="*/ 997744 w 1466850"/>
                <a:gd name="connsiteY84" fmla="*/ 157162 h 1200149"/>
                <a:gd name="connsiteX85" fmla="*/ 973931 w 1466850"/>
                <a:gd name="connsiteY85" fmla="*/ 178594 h 1200149"/>
                <a:gd name="connsiteX86" fmla="*/ 928687 w 1466850"/>
                <a:gd name="connsiteY86" fmla="*/ 173831 h 1200149"/>
                <a:gd name="connsiteX87" fmla="*/ 878681 w 1466850"/>
                <a:gd name="connsiteY87" fmla="*/ 164306 h 1200149"/>
                <a:gd name="connsiteX88" fmla="*/ 864394 w 1466850"/>
                <a:gd name="connsiteY88" fmla="*/ 83344 h 1200149"/>
                <a:gd name="connsiteX89" fmla="*/ 845344 w 1466850"/>
                <a:gd name="connsiteY89" fmla="*/ 69056 h 1200149"/>
                <a:gd name="connsiteX90" fmla="*/ 747712 w 1466850"/>
                <a:gd name="connsiteY90" fmla="*/ 119062 h 1200149"/>
                <a:gd name="connsiteX91" fmla="*/ 721519 w 1466850"/>
                <a:gd name="connsiteY91" fmla="*/ 140494 h 1200149"/>
                <a:gd name="connsiteX92" fmla="*/ 709612 w 1466850"/>
                <a:gd name="connsiteY92" fmla="*/ 190500 h 1200149"/>
                <a:gd name="connsiteX93" fmla="*/ 707231 w 1466850"/>
                <a:gd name="connsiteY93" fmla="*/ 195262 h 1200149"/>
                <a:gd name="connsiteX94" fmla="*/ 654844 w 1466850"/>
                <a:gd name="connsiteY94" fmla="*/ 190500 h 1200149"/>
                <a:gd name="connsiteX95" fmla="*/ 633412 w 1466850"/>
                <a:gd name="connsiteY95" fmla="*/ 180975 h 1200149"/>
                <a:gd name="connsiteX96" fmla="*/ 614362 w 1466850"/>
                <a:gd name="connsiteY96" fmla="*/ 142875 h 1200149"/>
                <a:gd name="connsiteX97" fmla="*/ 590550 w 1466850"/>
                <a:gd name="connsiteY97" fmla="*/ 130969 h 1200149"/>
                <a:gd name="connsiteX98" fmla="*/ 540544 w 1466850"/>
                <a:gd name="connsiteY98" fmla="*/ 161925 h 1200149"/>
                <a:gd name="connsiteX99" fmla="*/ 507206 w 1466850"/>
                <a:gd name="connsiteY99" fmla="*/ 154781 h 1200149"/>
                <a:gd name="connsiteX100" fmla="*/ 495300 w 1466850"/>
                <a:gd name="connsiteY100" fmla="*/ 123825 h 1200149"/>
                <a:gd name="connsiteX101" fmla="*/ 490537 w 1466850"/>
                <a:gd name="connsiteY101" fmla="*/ 114300 h 1200149"/>
                <a:gd name="connsiteX102" fmla="*/ 431006 w 1466850"/>
                <a:gd name="connsiteY102" fmla="*/ 97631 h 1200149"/>
                <a:gd name="connsiteX103" fmla="*/ 442912 w 1466850"/>
                <a:gd name="connsiteY103" fmla="*/ 33337 h 1200149"/>
                <a:gd name="connsiteX104" fmla="*/ 423862 w 1466850"/>
                <a:gd name="connsiteY104" fmla="*/ 19050 h 1200149"/>
                <a:gd name="connsiteX105" fmla="*/ 335756 w 1466850"/>
                <a:gd name="connsiteY105" fmla="*/ 0 h 1200149"/>
                <a:gd name="connsiteX106" fmla="*/ 302419 w 1466850"/>
                <a:gd name="connsiteY106" fmla="*/ 35719 h 1200149"/>
                <a:gd name="connsiteX107" fmla="*/ 266700 w 1466850"/>
                <a:gd name="connsiteY107" fmla="*/ 50006 h 1200149"/>
                <a:gd name="connsiteX108" fmla="*/ 271462 w 1466850"/>
                <a:gd name="connsiteY108" fmla="*/ 95250 h 1200149"/>
                <a:gd name="connsiteX109" fmla="*/ 316706 w 1466850"/>
                <a:gd name="connsiteY109" fmla="*/ 121444 h 1200149"/>
                <a:gd name="connsiteX110" fmla="*/ 302419 w 1466850"/>
                <a:gd name="connsiteY110" fmla="*/ 145256 h 1200149"/>
                <a:gd name="connsiteX111" fmla="*/ 247650 w 1466850"/>
                <a:gd name="connsiteY111" fmla="*/ 159544 h 1200149"/>
                <a:gd name="connsiteX112" fmla="*/ 214312 w 1466850"/>
                <a:gd name="connsiteY112" fmla="*/ 216694 h 1200149"/>
                <a:gd name="connsiteX113" fmla="*/ 183356 w 1466850"/>
                <a:gd name="connsiteY113" fmla="*/ 221456 h 1200149"/>
                <a:gd name="connsiteX114" fmla="*/ 183356 w 1466850"/>
                <a:gd name="connsiteY114" fmla="*/ 254794 h 1200149"/>
                <a:gd name="connsiteX115" fmla="*/ 161925 w 1466850"/>
                <a:gd name="connsiteY115" fmla="*/ 304800 h 1200149"/>
                <a:gd name="connsiteX116" fmla="*/ 140494 w 1466850"/>
                <a:gd name="connsiteY116" fmla="*/ 323850 h 1200149"/>
                <a:gd name="connsiteX117" fmla="*/ 71439 w 1466850"/>
                <a:gd name="connsiteY117" fmla="*/ 300039 h 1200149"/>
                <a:gd name="connsiteX118" fmla="*/ 59530 w 1466850"/>
                <a:gd name="connsiteY118" fmla="*/ 302418 h 1200149"/>
                <a:gd name="connsiteX119" fmla="*/ 30956 w 1466850"/>
                <a:gd name="connsiteY119" fmla="*/ 295274 h 1200149"/>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242887 w 1466850"/>
                <a:gd name="connsiteY17" fmla="*/ 1092994 h 1209675"/>
                <a:gd name="connsiteX18" fmla="*/ 238125 w 1466850"/>
                <a:gd name="connsiteY18" fmla="*/ 1045369 h 1209675"/>
                <a:gd name="connsiteX19" fmla="*/ 230981 w 1466850"/>
                <a:gd name="connsiteY19" fmla="*/ 1035844 h 1209675"/>
                <a:gd name="connsiteX20" fmla="*/ 252412 w 1466850"/>
                <a:gd name="connsiteY20" fmla="*/ 1019175 h 1209675"/>
                <a:gd name="connsiteX21" fmla="*/ 314325 w 1466850"/>
                <a:gd name="connsiteY21" fmla="*/ 995362 h 1209675"/>
                <a:gd name="connsiteX22" fmla="*/ 311944 w 1466850"/>
                <a:gd name="connsiteY22" fmla="*/ 959644 h 1209675"/>
                <a:gd name="connsiteX23" fmla="*/ 326231 w 1466850"/>
                <a:gd name="connsiteY23" fmla="*/ 942975 h 1209675"/>
                <a:gd name="connsiteX24" fmla="*/ 452437 w 1466850"/>
                <a:gd name="connsiteY24" fmla="*/ 950119 h 1209675"/>
                <a:gd name="connsiteX25" fmla="*/ 464344 w 1466850"/>
                <a:gd name="connsiteY25" fmla="*/ 933450 h 1209675"/>
                <a:gd name="connsiteX26" fmla="*/ 476250 w 1466850"/>
                <a:gd name="connsiteY26" fmla="*/ 883444 h 1209675"/>
                <a:gd name="connsiteX27" fmla="*/ 488156 w 1466850"/>
                <a:gd name="connsiteY27" fmla="*/ 857250 h 1209675"/>
                <a:gd name="connsiteX28" fmla="*/ 526256 w 1466850"/>
                <a:gd name="connsiteY28" fmla="*/ 862012 h 1209675"/>
                <a:gd name="connsiteX29" fmla="*/ 545306 w 1466850"/>
                <a:gd name="connsiteY29" fmla="*/ 909637 h 1209675"/>
                <a:gd name="connsiteX30" fmla="*/ 566737 w 1466850"/>
                <a:gd name="connsiteY30" fmla="*/ 881062 h 1209675"/>
                <a:gd name="connsiteX31" fmla="*/ 621506 w 1466850"/>
                <a:gd name="connsiteY31" fmla="*/ 845344 h 1209675"/>
                <a:gd name="connsiteX32" fmla="*/ 709612 w 1466850"/>
                <a:gd name="connsiteY32" fmla="*/ 814387 h 1209675"/>
                <a:gd name="connsiteX33" fmla="*/ 716756 w 1466850"/>
                <a:gd name="connsiteY33" fmla="*/ 769144 h 1209675"/>
                <a:gd name="connsiteX34" fmla="*/ 742950 w 1466850"/>
                <a:gd name="connsiteY34" fmla="*/ 750094 h 1209675"/>
                <a:gd name="connsiteX35" fmla="*/ 785812 w 1466850"/>
                <a:gd name="connsiteY35" fmla="*/ 726281 h 1209675"/>
                <a:gd name="connsiteX36" fmla="*/ 800100 w 1466850"/>
                <a:gd name="connsiteY36" fmla="*/ 716756 h 1209675"/>
                <a:gd name="connsiteX37" fmla="*/ 862012 w 1466850"/>
                <a:gd name="connsiteY37" fmla="*/ 721519 h 1209675"/>
                <a:gd name="connsiteX38" fmla="*/ 883444 w 1466850"/>
                <a:gd name="connsiteY38" fmla="*/ 721519 h 1209675"/>
                <a:gd name="connsiteX39" fmla="*/ 892969 w 1466850"/>
                <a:gd name="connsiteY39" fmla="*/ 697706 h 1209675"/>
                <a:gd name="connsiteX40" fmla="*/ 892969 w 1466850"/>
                <a:gd name="connsiteY40" fmla="*/ 697706 h 1209675"/>
                <a:gd name="connsiteX41" fmla="*/ 921544 w 1466850"/>
                <a:gd name="connsiteY41" fmla="*/ 609600 h 1209675"/>
                <a:gd name="connsiteX42" fmla="*/ 909637 w 1466850"/>
                <a:gd name="connsiteY42" fmla="*/ 552450 h 1209675"/>
                <a:gd name="connsiteX43" fmla="*/ 928687 w 1466850"/>
                <a:gd name="connsiteY43" fmla="*/ 540544 h 1209675"/>
                <a:gd name="connsiteX44" fmla="*/ 973931 w 1466850"/>
                <a:gd name="connsiteY44" fmla="*/ 535781 h 1209675"/>
                <a:gd name="connsiteX45" fmla="*/ 1014412 w 1466850"/>
                <a:gd name="connsiteY45" fmla="*/ 447675 h 1209675"/>
                <a:gd name="connsiteX46" fmla="*/ 1038225 w 1466850"/>
                <a:gd name="connsiteY46" fmla="*/ 445294 h 1209675"/>
                <a:gd name="connsiteX47" fmla="*/ 1073944 w 1466850"/>
                <a:gd name="connsiteY47" fmla="*/ 476250 h 1209675"/>
                <a:gd name="connsiteX48" fmla="*/ 1112044 w 1466850"/>
                <a:gd name="connsiteY48" fmla="*/ 514350 h 1209675"/>
                <a:gd name="connsiteX49" fmla="*/ 1171575 w 1466850"/>
                <a:gd name="connsiteY49" fmla="*/ 540544 h 1209675"/>
                <a:gd name="connsiteX50" fmla="*/ 1219200 w 1466850"/>
                <a:gd name="connsiteY50" fmla="*/ 521494 h 1209675"/>
                <a:gd name="connsiteX51" fmla="*/ 1245394 w 1466850"/>
                <a:gd name="connsiteY51" fmla="*/ 502444 h 1209675"/>
                <a:gd name="connsiteX52" fmla="*/ 1278731 w 1466850"/>
                <a:gd name="connsiteY52" fmla="*/ 511969 h 1209675"/>
                <a:gd name="connsiteX53" fmla="*/ 1295400 w 1466850"/>
                <a:gd name="connsiteY53" fmla="*/ 531019 h 1209675"/>
                <a:gd name="connsiteX54" fmla="*/ 1273969 w 1466850"/>
                <a:gd name="connsiteY54" fmla="*/ 573881 h 1209675"/>
                <a:gd name="connsiteX55" fmla="*/ 1271587 w 1466850"/>
                <a:gd name="connsiteY55" fmla="*/ 602456 h 1209675"/>
                <a:gd name="connsiteX56" fmla="*/ 1285875 w 1466850"/>
                <a:gd name="connsiteY56" fmla="*/ 611981 h 1209675"/>
                <a:gd name="connsiteX57" fmla="*/ 1300162 w 1466850"/>
                <a:gd name="connsiteY57" fmla="*/ 628650 h 1209675"/>
                <a:gd name="connsiteX58" fmla="*/ 1321594 w 1466850"/>
                <a:gd name="connsiteY58" fmla="*/ 666750 h 1209675"/>
                <a:gd name="connsiteX59" fmla="*/ 1347787 w 1466850"/>
                <a:gd name="connsiteY59" fmla="*/ 681037 h 1209675"/>
                <a:gd name="connsiteX60" fmla="*/ 1371600 w 1466850"/>
                <a:gd name="connsiteY60" fmla="*/ 681037 h 1209675"/>
                <a:gd name="connsiteX61" fmla="*/ 1376362 w 1466850"/>
                <a:gd name="connsiteY61" fmla="*/ 628650 h 1209675"/>
                <a:gd name="connsiteX62" fmla="*/ 1395412 w 1466850"/>
                <a:gd name="connsiteY62" fmla="*/ 578644 h 1209675"/>
                <a:gd name="connsiteX63" fmla="*/ 1426369 w 1466850"/>
                <a:gd name="connsiteY63" fmla="*/ 571500 h 1209675"/>
                <a:gd name="connsiteX64" fmla="*/ 1466850 w 1466850"/>
                <a:gd name="connsiteY64" fmla="*/ 552450 h 1209675"/>
                <a:gd name="connsiteX65" fmla="*/ 1443037 w 1466850"/>
                <a:gd name="connsiteY65" fmla="*/ 509587 h 1209675"/>
                <a:gd name="connsiteX66" fmla="*/ 1414462 w 1466850"/>
                <a:gd name="connsiteY66" fmla="*/ 464344 h 1209675"/>
                <a:gd name="connsiteX67" fmla="*/ 1388269 w 1466850"/>
                <a:gd name="connsiteY67" fmla="*/ 438150 h 1209675"/>
                <a:gd name="connsiteX68" fmla="*/ 1404937 w 1466850"/>
                <a:gd name="connsiteY68" fmla="*/ 400050 h 1209675"/>
                <a:gd name="connsiteX69" fmla="*/ 1404937 w 1466850"/>
                <a:gd name="connsiteY69" fmla="*/ 383381 h 1209675"/>
                <a:gd name="connsiteX70" fmla="*/ 1431131 w 1466850"/>
                <a:gd name="connsiteY70" fmla="*/ 338137 h 1209675"/>
                <a:gd name="connsiteX71" fmla="*/ 1419225 w 1466850"/>
                <a:gd name="connsiteY71" fmla="*/ 264319 h 1209675"/>
                <a:gd name="connsiteX72" fmla="*/ 1438275 w 1466850"/>
                <a:gd name="connsiteY72" fmla="*/ 202406 h 1209675"/>
                <a:gd name="connsiteX73" fmla="*/ 1435894 w 1466850"/>
                <a:gd name="connsiteY73" fmla="*/ 173831 h 1209675"/>
                <a:gd name="connsiteX74" fmla="*/ 1404937 w 1466850"/>
                <a:gd name="connsiteY74" fmla="*/ 164306 h 1209675"/>
                <a:gd name="connsiteX75" fmla="*/ 1364456 w 1466850"/>
                <a:gd name="connsiteY75" fmla="*/ 154781 h 1209675"/>
                <a:gd name="connsiteX76" fmla="*/ 1293019 w 1466850"/>
                <a:gd name="connsiteY76" fmla="*/ 154781 h 1209675"/>
                <a:gd name="connsiteX77" fmla="*/ 1233487 w 1466850"/>
                <a:gd name="connsiteY77" fmla="*/ 121444 h 1209675"/>
                <a:gd name="connsiteX78" fmla="*/ 1207294 w 1466850"/>
                <a:gd name="connsiteY78" fmla="*/ 114300 h 1209675"/>
                <a:gd name="connsiteX79" fmla="*/ 1188244 w 1466850"/>
                <a:gd name="connsiteY79" fmla="*/ 126206 h 1209675"/>
                <a:gd name="connsiteX80" fmla="*/ 1133475 w 1466850"/>
                <a:gd name="connsiteY80" fmla="*/ 188119 h 1209675"/>
                <a:gd name="connsiteX81" fmla="*/ 1116806 w 1466850"/>
                <a:gd name="connsiteY81" fmla="*/ 188119 h 1209675"/>
                <a:gd name="connsiteX82" fmla="*/ 1078706 w 1466850"/>
                <a:gd name="connsiteY82" fmla="*/ 142875 h 1209675"/>
                <a:gd name="connsiteX83" fmla="*/ 1054894 w 1466850"/>
                <a:gd name="connsiteY83" fmla="*/ 138112 h 1209675"/>
                <a:gd name="connsiteX84" fmla="*/ 997744 w 1466850"/>
                <a:gd name="connsiteY84" fmla="*/ 157162 h 1209675"/>
                <a:gd name="connsiteX85" fmla="*/ 973931 w 1466850"/>
                <a:gd name="connsiteY85" fmla="*/ 178594 h 1209675"/>
                <a:gd name="connsiteX86" fmla="*/ 928687 w 1466850"/>
                <a:gd name="connsiteY86" fmla="*/ 173831 h 1209675"/>
                <a:gd name="connsiteX87" fmla="*/ 878681 w 1466850"/>
                <a:gd name="connsiteY87" fmla="*/ 164306 h 1209675"/>
                <a:gd name="connsiteX88" fmla="*/ 864394 w 1466850"/>
                <a:gd name="connsiteY88" fmla="*/ 83344 h 1209675"/>
                <a:gd name="connsiteX89" fmla="*/ 845344 w 1466850"/>
                <a:gd name="connsiteY89" fmla="*/ 69056 h 1209675"/>
                <a:gd name="connsiteX90" fmla="*/ 747712 w 1466850"/>
                <a:gd name="connsiteY90" fmla="*/ 119062 h 1209675"/>
                <a:gd name="connsiteX91" fmla="*/ 721519 w 1466850"/>
                <a:gd name="connsiteY91" fmla="*/ 140494 h 1209675"/>
                <a:gd name="connsiteX92" fmla="*/ 709612 w 1466850"/>
                <a:gd name="connsiteY92" fmla="*/ 190500 h 1209675"/>
                <a:gd name="connsiteX93" fmla="*/ 707231 w 1466850"/>
                <a:gd name="connsiteY93" fmla="*/ 195262 h 1209675"/>
                <a:gd name="connsiteX94" fmla="*/ 654844 w 1466850"/>
                <a:gd name="connsiteY94" fmla="*/ 190500 h 1209675"/>
                <a:gd name="connsiteX95" fmla="*/ 633412 w 1466850"/>
                <a:gd name="connsiteY95" fmla="*/ 180975 h 1209675"/>
                <a:gd name="connsiteX96" fmla="*/ 614362 w 1466850"/>
                <a:gd name="connsiteY96" fmla="*/ 142875 h 1209675"/>
                <a:gd name="connsiteX97" fmla="*/ 590550 w 1466850"/>
                <a:gd name="connsiteY97" fmla="*/ 130969 h 1209675"/>
                <a:gd name="connsiteX98" fmla="*/ 540544 w 1466850"/>
                <a:gd name="connsiteY98" fmla="*/ 161925 h 1209675"/>
                <a:gd name="connsiteX99" fmla="*/ 507206 w 1466850"/>
                <a:gd name="connsiteY99" fmla="*/ 154781 h 1209675"/>
                <a:gd name="connsiteX100" fmla="*/ 495300 w 1466850"/>
                <a:gd name="connsiteY100" fmla="*/ 123825 h 1209675"/>
                <a:gd name="connsiteX101" fmla="*/ 490537 w 1466850"/>
                <a:gd name="connsiteY101" fmla="*/ 114300 h 1209675"/>
                <a:gd name="connsiteX102" fmla="*/ 431006 w 1466850"/>
                <a:gd name="connsiteY102" fmla="*/ 97631 h 1209675"/>
                <a:gd name="connsiteX103" fmla="*/ 442912 w 1466850"/>
                <a:gd name="connsiteY103" fmla="*/ 33337 h 1209675"/>
                <a:gd name="connsiteX104" fmla="*/ 423862 w 1466850"/>
                <a:gd name="connsiteY104" fmla="*/ 19050 h 1209675"/>
                <a:gd name="connsiteX105" fmla="*/ 335756 w 1466850"/>
                <a:gd name="connsiteY105" fmla="*/ 0 h 1209675"/>
                <a:gd name="connsiteX106" fmla="*/ 302419 w 1466850"/>
                <a:gd name="connsiteY106" fmla="*/ 35719 h 1209675"/>
                <a:gd name="connsiteX107" fmla="*/ 266700 w 1466850"/>
                <a:gd name="connsiteY107" fmla="*/ 50006 h 1209675"/>
                <a:gd name="connsiteX108" fmla="*/ 271462 w 1466850"/>
                <a:gd name="connsiteY108" fmla="*/ 95250 h 1209675"/>
                <a:gd name="connsiteX109" fmla="*/ 316706 w 1466850"/>
                <a:gd name="connsiteY109" fmla="*/ 121444 h 1209675"/>
                <a:gd name="connsiteX110" fmla="*/ 302419 w 1466850"/>
                <a:gd name="connsiteY110" fmla="*/ 145256 h 1209675"/>
                <a:gd name="connsiteX111" fmla="*/ 247650 w 1466850"/>
                <a:gd name="connsiteY111" fmla="*/ 159544 h 1209675"/>
                <a:gd name="connsiteX112" fmla="*/ 214312 w 1466850"/>
                <a:gd name="connsiteY112" fmla="*/ 216694 h 1209675"/>
                <a:gd name="connsiteX113" fmla="*/ 183356 w 1466850"/>
                <a:gd name="connsiteY113" fmla="*/ 221456 h 1209675"/>
                <a:gd name="connsiteX114" fmla="*/ 183356 w 1466850"/>
                <a:gd name="connsiteY114" fmla="*/ 254794 h 1209675"/>
                <a:gd name="connsiteX115" fmla="*/ 161925 w 1466850"/>
                <a:gd name="connsiteY115" fmla="*/ 304800 h 1209675"/>
                <a:gd name="connsiteX116" fmla="*/ 140494 w 1466850"/>
                <a:gd name="connsiteY116" fmla="*/ 323850 h 1209675"/>
                <a:gd name="connsiteX117" fmla="*/ 71439 w 1466850"/>
                <a:gd name="connsiteY117" fmla="*/ 300039 h 1209675"/>
                <a:gd name="connsiteX118" fmla="*/ 59530 w 1466850"/>
                <a:gd name="connsiteY118" fmla="*/ 302418 h 1209675"/>
                <a:gd name="connsiteX119" fmla="*/ 30956 w 1466850"/>
                <a:gd name="connsiteY119"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219075 w 1466850"/>
                <a:gd name="connsiteY17" fmla="*/ 1150144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71587 w 1466850"/>
                <a:gd name="connsiteY56" fmla="*/ 602456 h 1209675"/>
                <a:gd name="connsiteX57" fmla="*/ 1285875 w 1466850"/>
                <a:gd name="connsiteY57" fmla="*/ 611981 h 1209675"/>
                <a:gd name="connsiteX58" fmla="*/ 1300162 w 1466850"/>
                <a:gd name="connsiteY58" fmla="*/ 628650 h 1209675"/>
                <a:gd name="connsiteX59" fmla="*/ 1321594 w 1466850"/>
                <a:gd name="connsiteY59" fmla="*/ 666750 h 1209675"/>
                <a:gd name="connsiteX60" fmla="*/ 1347787 w 1466850"/>
                <a:gd name="connsiteY60" fmla="*/ 681037 h 1209675"/>
                <a:gd name="connsiteX61" fmla="*/ 1371600 w 1466850"/>
                <a:gd name="connsiteY61" fmla="*/ 681037 h 1209675"/>
                <a:gd name="connsiteX62" fmla="*/ 1376362 w 1466850"/>
                <a:gd name="connsiteY62" fmla="*/ 628650 h 1209675"/>
                <a:gd name="connsiteX63" fmla="*/ 1395412 w 1466850"/>
                <a:gd name="connsiteY63" fmla="*/ 578644 h 1209675"/>
                <a:gd name="connsiteX64" fmla="*/ 1426369 w 1466850"/>
                <a:gd name="connsiteY64" fmla="*/ 571500 h 1209675"/>
                <a:gd name="connsiteX65" fmla="*/ 1466850 w 1466850"/>
                <a:gd name="connsiteY65" fmla="*/ 552450 h 1209675"/>
                <a:gd name="connsiteX66" fmla="*/ 1443037 w 1466850"/>
                <a:gd name="connsiteY66" fmla="*/ 509587 h 1209675"/>
                <a:gd name="connsiteX67" fmla="*/ 1414462 w 1466850"/>
                <a:gd name="connsiteY67" fmla="*/ 464344 h 1209675"/>
                <a:gd name="connsiteX68" fmla="*/ 1388269 w 1466850"/>
                <a:gd name="connsiteY68" fmla="*/ 438150 h 1209675"/>
                <a:gd name="connsiteX69" fmla="*/ 1404937 w 1466850"/>
                <a:gd name="connsiteY69" fmla="*/ 400050 h 1209675"/>
                <a:gd name="connsiteX70" fmla="*/ 1404937 w 1466850"/>
                <a:gd name="connsiteY70" fmla="*/ 383381 h 1209675"/>
                <a:gd name="connsiteX71" fmla="*/ 1431131 w 1466850"/>
                <a:gd name="connsiteY71" fmla="*/ 338137 h 1209675"/>
                <a:gd name="connsiteX72" fmla="*/ 1419225 w 1466850"/>
                <a:gd name="connsiteY72" fmla="*/ 264319 h 1209675"/>
                <a:gd name="connsiteX73" fmla="*/ 1438275 w 1466850"/>
                <a:gd name="connsiteY73" fmla="*/ 202406 h 1209675"/>
                <a:gd name="connsiteX74" fmla="*/ 1435894 w 1466850"/>
                <a:gd name="connsiteY74" fmla="*/ 173831 h 1209675"/>
                <a:gd name="connsiteX75" fmla="*/ 1404937 w 1466850"/>
                <a:gd name="connsiteY75" fmla="*/ 164306 h 1209675"/>
                <a:gd name="connsiteX76" fmla="*/ 1364456 w 1466850"/>
                <a:gd name="connsiteY76" fmla="*/ 154781 h 1209675"/>
                <a:gd name="connsiteX77" fmla="*/ 1293019 w 1466850"/>
                <a:gd name="connsiteY77" fmla="*/ 154781 h 1209675"/>
                <a:gd name="connsiteX78" fmla="*/ 1233487 w 1466850"/>
                <a:gd name="connsiteY78" fmla="*/ 121444 h 1209675"/>
                <a:gd name="connsiteX79" fmla="*/ 1207294 w 1466850"/>
                <a:gd name="connsiteY79" fmla="*/ 114300 h 1209675"/>
                <a:gd name="connsiteX80" fmla="*/ 1188244 w 1466850"/>
                <a:gd name="connsiteY80" fmla="*/ 126206 h 1209675"/>
                <a:gd name="connsiteX81" fmla="*/ 1133475 w 1466850"/>
                <a:gd name="connsiteY81" fmla="*/ 188119 h 1209675"/>
                <a:gd name="connsiteX82" fmla="*/ 1116806 w 1466850"/>
                <a:gd name="connsiteY82" fmla="*/ 188119 h 1209675"/>
                <a:gd name="connsiteX83" fmla="*/ 1078706 w 1466850"/>
                <a:gd name="connsiteY83" fmla="*/ 142875 h 1209675"/>
                <a:gd name="connsiteX84" fmla="*/ 1054894 w 1466850"/>
                <a:gd name="connsiteY84" fmla="*/ 138112 h 1209675"/>
                <a:gd name="connsiteX85" fmla="*/ 997744 w 1466850"/>
                <a:gd name="connsiteY85" fmla="*/ 157162 h 1209675"/>
                <a:gd name="connsiteX86" fmla="*/ 973931 w 1466850"/>
                <a:gd name="connsiteY86" fmla="*/ 178594 h 1209675"/>
                <a:gd name="connsiteX87" fmla="*/ 928687 w 1466850"/>
                <a:gd name="connsiteY87" fmla="*/ 173831 h 1209675"/>
                <a:gd name="connsiteX88" fmla="*/ 878681 w 1466850"/>
                <a:gd name="connsiteY88" fmla="*/ 164306 h 1209675"/>
                <a:gd name="connsiteX89" fmla="*/ 864394 w 1466850"/>
                <a:gd name="connsiteY89" fmla="*/ 83344 h 1209675"/>
                <a:gd name="connsiteX90" fmla="*/ 845344 w 1466850"/>
                <a:gd name="connsiteY90" fmla="*/ 69056 h 1209675"/>
                <a:gd name="connsiteX91" fmla="*/ 747712 w 1466850"/>
                <a:gd name="connsiteY91" fmla="*/ 119062 h 1209675"/>
                <a:gd name="connsiteX92" fmla="*/ 721519 w 1466850"/>
                <a:gd name="connsiteY92" fmla="*/ 140494 h 1209675"/>
                <a:gd name="connsiteX93" fmla="*/ 709612 w 1466850"/>
                <a:gd name="connsiteY93" fmla="*/ 190500 h 1209675"/>
                <a:gd name="connsiteX94" fmla="*/ 707231 w 1466850"/>
                <a:gd name="connsiteY94" fmla="*/ 195262 h 1209675"/>
                <a:gd name="connsiteX95" fmla="*/ 654844 w 1466850"/>
                <a:gd name="connsiteY95" fmla="*/ 190500 h 1209675"/>
                <a:gd name="connsiteX96" fmla="*/ 633412 w 1466850"/>
                <a:gd name="connsiteY96" fmla="*/ 180975 h 1209675"/>
                <a:gd name="connsiteX97" fmla="*/ 614362 w 1466850"/>
                <a:gd name="connsiteY97" fmla="*/ 142875 h 1209675"/>
                <a:gd name="connsiteX98" fmla="*/ 590550 w 1466850"/>
                <a:gd name="connsiteY98" fmla="*/ 130969 h 1209675"/>
                <a:gd name="connsiteX99" fmla="*/ 540544 w 1466850"/>
                <a:gd name="connsiteY99" fmla="*/ 161925 h 1209675"/>
                <a:gd name="connsiteX100" fmla="*/ 507206 w 1466850"/>
                <a:gd name="connsiteY100" fmla="*/ 154781 h 1209675"/>
                <a:gd name="connsiteX101" fmla="*/ 495300 w 1466850"/>
                <a:gd name="connsiteY101" fmla="*/ 123825 h 1209675"/>
                <a:gd name="connsiteX102" fmla="*/ 490537 w 1466850"/>
                <a:gd name="connsiteY102" fmla="*/ 114300 h 1209675"/>
                <a:gd name="connsiteX103" fmla="*/ 431006 w 1466850"/>
                <a:gd name="connsiteY103" fmla="*/ 97631 h 1209675"/>
                <a:gd name="connsiteX104" fmla="*/ 442912 w 1466850"/>
                <a:gd name="connsiteY104" fmla="*/ 33337 h 1209675"/>
                <a:gd name="connsiteX105" fmla="*/ 423862 w 1466850"/>
                <a:gd name="connsiteY105" fmla="*/ 19050 h 1209675"/>
                <a:gd name="connsiteX106" fmla="*/ 335756 w 1466850"/>
                <a:gd name="connsiteY106" fmla="*/ 0 h 1209675"/>
                <a:gd name="connsiteX107" fmla="*/ 302419 w 1466850"/>
                <a:gd name="connsiteY107" fmla="*/ 35719 h 1209675"/>
                <a:gd name="connsiteX108" fmla="*/ 266700 w 1466850"/>
                <a:gd name="connsiteY108" fmla="*/ 50006 h 1209675"/>
                <a:gd name="connsiteX109" fmla="*/ 271462 w 1466850"/>
                <a:gd name="connsiteY109" fmla="*/ 95250 h 1209675"/>
                <a:gd name="connsiteX110" fmla="*/ 316706 w 1466850"/>
                <a:gd name="connsiteY110" fmla="*/ 121444 h 1209675"/>
                <a:gd name="connsiteX111" fmla="*/ 302419 w 1466850"/>
                <a:gd name="connsiteY111" fmla="*/ 145256 h 1209675"/>
                <a:gd name="connsiteX112" fmla="*/ 247650 w 1466850"/>
                <a:gd name="connsiteY112" fmla="*/ 159544 h 1209675"/>
                <a:gd name="connsiteX113" fmla="*/ 214312 w 1466850"/>
                <a:gd name="connsiteY113" fmla="*/ 216694 h 1209675"/>
                <a:gd name="connsiteX114" fmla="*/ 183356 w 1466850"/>
                <a:gd name="connsiteY114" fmla="*/ 221456 h 1209675"/>
                <a:gd name="connsiteX115" fmla="*/ 183356 w 1466850"/>
                <a:gd name="connsiteY115" fmla="*/ 254794 h 1209675"/>
                <a:gd name="connsiteX116" fmla="*/ 161925 w 1466850"/>
                <a:gd name="connsiteY116" fmla="*/ 304800 h 1209675"/>
                <a:gd name="connsiteX117" fmla="*/ 140494 w 1466850"/>
                <a:gd name="connsiteY117" fmla="*/ 323850 h 1209675"/>
                <a:gd name="connsiteX118" fmla="*/ 71439 w 1466850"/>
                <a:gd name="connsiteY118" fmla="*/ 300039 h 1209675"/>
                <a:gd name="connsiteX119" fmla="*/ 59530 w 1466850"/>
                <a:gd name="connsiteY119" fmla="*/ 302418 h 1209675"/>
                <a:gd name="connsiteX120" fmla="*/ 30956 w 1466850"/>
                <a:gd name="connsiteY120"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159544 w 1466850"/>
                <a:gd name="connsiteY17" fmla="*/ 1112044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71587 w 1466850"/>
                <a:gd name="connsiteY56" fmla="*/ 602456 h 1209675"/>
                <a:gd name="connsiteX57" fmla="*/ 1285875 w 1466850"/>
                <a:gd name="connsiteY57" fmla="*/ 611981 h 1209675"/>
                <a:gd name="connsiteX58" fmla="*/ 1300162 w 1466850"/>
                <a:gd name="connsiteY58" fmla="*/ 628650 h 1209675"/>
                <a:gd name="connsiteX59" fmla="*/ 1321594 w 1466850"/>
                <a:gd name="connsiteY59" fmla="*/ 666750 h 1209675"/>
                <a:gd name="connsiteX60" fmla="*/ 1347787 w 1466850"/>
                <a:gd name="connsiteY60" fmla="*/ 681037 h 1209675"/>
                <a:gd name="connsiteX61" fmla="*/ 1371600 w 1466850"/>
                <a:gd name="connsiteY61" fmla="*/ 681037 h 1209675"/>
                <a:gd name="connsiteX62" fmla="*/ 1376362 w 1466850"/>
                <a:gd name="connsiteY62" fmla="*/ 628650 h 1209675"/>
                <a:gd name="connsiteX63" fmla="*/ 1395412 w 1466850"/>
                <a:gd name="connsiteY63" fmla="*/ 578644 h 1209675"/>
                <a:gd name="connsiteX64" fmla="*/ 1426369 w 1466850"/>
                <a:gd name="connsiteY64" fmla="*/ 571500 h 1209675"/>
                <a:gd name="connsiteX65" fmla="*/ 1466850 w 1466850"/>
                <a:gd name="connsiteY65" fmla="*/ 552450 h 1209675"/>
                <a:gd name="connsiteX66" fmla="*/ 1443037 w 1466850"/>
                <a:gd name="connsiteY66" fmla="*/ 509587 h 1209675"/>
                <a:gd name="connsiteX67" fmla="*/ 1414462 w 1466850"/>
                <a:gd name="connsiteY67" fmla="*/ 464344 h 1209675"/>
                <a:gd name="connsiteX68" fmla="*/ 1388269 w 1466850"/>
                <a:gd name="connsiteY68" fmla="*/ 438150 h 1209675"/>
                <a:gd name="connsiteX69" fmla="*/ 1404937 w 1466850"/>
                <a:gd name="connsiteY69" fmla="*/ 400050 h 1209675"/>
                <a:gd name="connsiteX70" fmla="*/ 1404937 w 1466850"/>
                <a:gd name="connsiteY70" fmla="*/ 383381 h 1209675"/>
                <a:gd name="connsiteX71" fmla="*/ 1431131 w 1466850"/>
                <a:gd name="connsiteY71" fmla="*/ 338137 h 1209675"/>
                <a:gd name="connsiteX72" fmla="*/ 1419225 w 1466850"/>
                <a:gd name="connsiteY72" fmla="*/ 264319 h 1209675"/>
                <a:gd name="connsiteX73" fmla="*/ 1438275 w 1466850"/>
                <a:gd name="connsiteY73" fmla="*/ 202406 h 1209675"/>
                <a:gd name="connsiteX74" fmla="*/ 1435894 w 1466850"/>
                <a:gd name="connsiteY74" fmla="*/ 173831 h 1209675"/>
                <a:gd name="connsiteX75" fmla="*/ 1404937 w 1466850"/>
                <a:gd name="connsiteY75" fmla="*/ 164306 h 1209675"/>
                <a:gd name="connsiteX76" fmla="*/ 1364456 w 1466850"/>
                <a:gd name="connsiteY76" fmla="*/ 154781 h 1209675"/>
                <a:gd name="connsiteX77" fmla="*/ 1293019 w 1466850"/>
                <a:gd name="connsiteY77" fmla="*/ 154781 h 1209675"/>
                <a:gd name="connsiteX78" fmla="*/ 1233487 w 1466850"/>
                <a:gd name="connsiteY78" fmla="*/ 121444 h 1209675"/>
                <a:gd name="connsiteX79" fmla="*/ 1207294 w 1466850"/>
                <a:gd name="connsiteY79" fmla="*/ 114300 h 1209675"/>
                <a:gd name="connsiteX80" fmla="*/ 1188244 w 1466850"/>
                <a:gd name="connsiteY80" fmla="*/ 126206 h 1209675"/>
                <a:gd name="connsiteX81" fmla="*/ 1133475 w 1466850"/>
                <a:gd name="connsiteY81" fmla="*/ 188119 h 1209675"/>
                <a:gd name="connsiteX82" fmla="*/ 1116806 w 1466850"/>
                <a:gd name="connsiteY82" fmla="*/ 188119 h 1209675"/>
                <a:gd name="connsiteX83" fmla="*/ 1078706 w 1466850"/>
                <a:gd name="connsiteY83" fmla="*/ 142875 h 1209675"/>
                <a:gd name="connsiteX84" fmla="*/ 1054894 w 1466850"/>
                <a:gd name="connsiteY84" fmla="*/ 138112 h 1209675"/>
                <a:gd name="connsiteX85" fmla="*/ 997744 w 1466850"/>
                <a:gd name="connsiteY85" fmla="*/ 157162 h 1209675"/>
                <a:gd name="connsiteX86" fmla="*/ 973931 w 1466850"/>
                <a:gd name="connsiteY86" fmla="*/ 178594 h 1209675"/>
                <a:gd name="connsiteX87" fmla="*/ 928687 w 1466850"/>
                <a:gd name="connsiteY87" fmla="*/ 173831 h 1209675"/>
                <a:gd name="connsiteX88" fmla="*/ 878681 w 1466850"/>
                <a:gd name="connsiteY88" fmla="*/ 164306 h 1209675"/>
                <a:gd name="connsiteX89" fmla="*/ 864394 w 1466850"/>
                <a:gd name="connsiteY89" fmla="*/ 83344 h 1209675"/>
                <a:gd name="connsiteX90" fmla="*/ 845344 w 1466850"/>
                <a:gd name="connsiteY90" fmla="*/ 69056 h 1209675"/>
                <a:gd name="connsiteX91" fmla="*/ 747712 w 1466850"/>
                <a:gd name="connsiteY91" fmla="*/ 119062 h 1209675"/>
                <a:gd name="connsiteX92" fmla="*/ 721519 w 1466850"/>
                <a:gd name="connsiteY92" fmla="*/ 140494 h 1209675"/>
                <a:gd name="connsiteX93" fmla="*/ 709612 w 1466850"/>
                <a:gd name="connsiteY93" fmla="*/ 190500 h 1209675"/>
                <a:gd name="connsiteX94" fmla="*/ 707231 w 1466850"/>
                <a:gd name="connsiteY94" fmla="*/ 195262 h 1209675"/>
                <a:gd name="connsiteX95" fmla="*/ 654844 w 1466850"/>
                <a:gd name="connsiteY95" fmla="*/ 190500 h 1209675"/>
                <a:gd name="connsiteX96" fmla="*/ 633412 w 1466850"/>
                <a:gd name="connsiteY96" fmla="*/ 180975 h 1209675"/>
                <a:gd name="connsiteX97" fmla="*/ 614362 w 1466850"/>
                <a:gd name="connsiteY97" fmla="*/ 142875 h 1209675"/>
                <a:gd name="connsiteX98" fmla="*/ 590550 w 1466850"/>
                <a:gd name="connsiteY98" fmla="*/ 130969 h 1209675"/>
                <a:gd name="connsiteX99" fmla="*/ 540544 w 1466850"/>
                <a:gd name="connsiteY99" fmla="*/ 161925 h 1209675"/>
                <a:gd name="connsiteX100" fmla="*/ 507206 w 1466850"/>
                <a:gd name="connsiteY100" fmla="*/ 154781 h 1209675"/>
                <a:gd name="connsiteX101" fmla="*/ 495300 w 1466850"/>
                <a:gd name="connsiteY101" fmla="*/ 123825 h 1209675"/>
                <a:gd name="connsiteX102" fmla="*/ 490537 w 1466850"/>
                <a:gd name="connsiteY102" fmla="*/ 114300 h 1209675"/>
                <a:gd name="connsiteX103" fmla="*/ 431006 w 1466850"/>
                <a:gd name="connsiteY103" fmla="*/ 97631 h 1209675"/>
                <a:gd name="connsiteX104" fmla="*/ 442912 w 1466850"/>
                <a:gd name="connsiteY104" fmla="*/ 33337 h 1209675"/>
                <a:gd name="connsiteX105" fmla="*/ 423862 w 1466850"/>
                <a:gd name="connsiteY105" fmla="*/ 19050 h 1209675"/>
                <a:gd name="connsiteX106" fmla="*/ 335756 w 1466850"/>
                <a:gd name="connsiteY106" fmla="*/ 0 h 1209675"/>
                <a:gd name="connsiteX107" fmla="*/ 302419 w 1466850"/>
                <a:gd name="connsiteY107" fmla="*/ 35719 h 1209675"/>
                <a:gd name="connsiteX108" fmla="*/ 266700 w 1466850"/>
                <a:gd name="connsiteY108" fmla="*/ 50006 h 1209675"/>
                <a:gd name="connsiteX109" fmla="*/ 271462 w 1466850"/>
                <a:gd name="connsiteY109" fmla="*/ 95250 h 1209675"/>
                <a:gd name="connsiteX110" fmla="*/ 316706 w 1466850"/>
                <a:gd name="connsiteY110" fmla="*/ 121444 h 1209675"/>
                <a:gd name="connsiteX111" fmla="*/ 302419 w 1466850"/>
                <a:gd name="connsiteY111" fmla="*/ 145256 h 1209675"/>
                <a:gd name="connsiteX112" fmla="*/ 247650 w 1466850"/>
                <a:gd name="connsiteY112" fmla="*/ 159544 h 1209675"/>
                <a:gd name="connsiteX113" fmla="*/ 214312 w 1466850"/>
                <a:gd name="connsiteY113" fmla="*/ 216694 h 1209675"/>
                <a:gd name="connsiteX114" fmla="*/ 183356 w 1466850"/>
                <a:gd name="connsiteY114" fmla="*/ 221456 h 1209675"/>
                <a:gd name="connsiteX115" fmla="*/ 183356 w 1466850"/>
                <a:gd name="connsiteY115" fmla="*/ 254794 h 1209675"/>
                <a:gd name="connsiteX116" fmla="*/ 161925 w 1466850"/>
                <a:gd name="connsiteY116" fmla="*/ 304800 h 1209675"/>
                <a:gd name="connsiteX117" fmla="*/ 140494 w 1466850"/>
                <a:gd name="connsiteY117" fmla="*/ 323850 h 1209675"/>
                <a:gd name="connsiteX118" fmla="*/ 71439 w 1466850"/>
                <a:gd name="connsiteY118" fmla="*/ 300039 h 1209675"/>
                <a:gd name="connsiteX119" fmla="*/ 59530 w 1466850"/>
                <a:gd name="connsiteY119" fmla="*/ 302418 h 1209675"/>
                <a:gd name="connsiteX120" fmla="*/ 30956 w 1466850"/>
                <a:gd name="connsiteY120"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188119 w 1466850"/>
                <a:gd name="connsiteY17" fmla="*/ 1145381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71587 w 1466850"/>
                <a:gd name="connsiteY56" fmla="*/ 602456 h 1209675"/>
                <a:gd name="connsiteX57" fmla="*/ 1285875 w 1466850"/>
                <a:gd name="connsiteY57" fmla="*/ 611981 h 1209675"/>
                <a:gd name="connsiteX58" fmla="*/ 1300162 w 1466850"/>
                <a:gd name="connsiteY58" fmla="*/ 628650 h 1209675"/>
                <a:gd name="connsiteX59" fmla="*/ 1321594 w 1466850"/>
                <a:gd name="connsiteY59" fmla="*/ 666750 h 1209675"/>
                <a:gd name="connsiteX60" fmla="*/ 1347787 w 1466850"/>
                <a:gd name="connsiteY60" fmla="*/ 681037 h 1209675"/>
                <a:gd name="connsiteX61" fmla="*/ 1371600 w 1466850"/>
                <a:gd name="connsiteY61" fmla="*/ 681037 h 1209675"/>
                <a:gd name="connsiteX62" fmla="*/ 1376362 w 1466850"/>
                <a:gd name="connsiteY62" fmla="*/ 628650 h 1209675"/>
                <a:gd name="connsiteX63" fmla="*/ 1395412 w 1466850"/>
                <a:gd name="connsiteY63" fmla="*/ 578644 h 1209675"/>
                <a:gd name="connsiteX64" fmla="*/ 1426369 w 1466850"/>
                <a:gd name="connsiteY64" fmla="*/ 571500 h 1209675"/>
                <a:gd name="connsiteX65" fmla="*/ 1466850 w 1466850"/>
                <a:gd name="connsiteY65" fmla="*/ 552450 h 1209675"/>
                <a:gd name="connsiteX66" fmla="*/ 1443037 w 1466850"/>
                <a:gd name="connsiteY66" fmla="*/ 509587 h 1209675"/>
                <a:gd name="connsiteX67" fmla="*/ 1414462 w 1466850"/>
                <a:gd name="connsiteY67" fmla="*/ 464344 h 1209675"/>
                <a:gd name="connsiteX68" fmla="*/ 1388269 w 1466850"/>
                <a:gd name="connsiteY68" fmla="*/ 438150 h 1209675"/>
                <a:gd name="connsiteX69" fmla="*/ 1404937 w 1466850"/>
                <a:gd name="connsiteY69" fmla="*/ 400050 h 1209675"/>
                <a:gd name="connsiteX70" fmla="*/ 1404937 w 1466850"/>
                <a:gd name="connsiteY70" fmla="*/ 383381 h 1209675"/>
                <a:gd name="connsiteX71" fmla="*/ 1431131 w 1466850"/>
                <a:gd name="connsiteY71" fmla="*/ 338137 h 1209675"/>
                <a:gd name="connsiteX72" fmla="*/ 1419225 w 1466850"/>
                <a:gd name="connsiteY72" fmla="*/ 264319 h 1209675"/>
                <a:gd name="connsiteX73" fmla="*/ 1438275 w 1466850"/>
                <a:gd name="connsiteY73" fmla="*/ 202406 h 1209675"/>
                <a:gd name="connsiteX74" fmla="*/ 1435894 w 1466850"/>
                <a:gd name="connsiteY74" fmla="*/ 173831 h 1209675"/>
                <a:gd name="connsiteX75" fmla="*/ 1404937 w 1466850"/>
                <a:gd name="connsiteY75" fmla="*/ 164306 h 1209675"/>
                <a:gd name="connsiteX76" fmla="*/ 1364456 w 1466850"/>
                <a:gd name="connsiteY76" fmla="*/ 154781 h 1209675"/>
                <a:gd name="connsiteX77" fmla="*/ 1293019 w 1466850"/>
                <a:gd name="connsiteY77" fmla="*/ 154781 h 1209675"/>
                <a:gd name="connsiteX78" fmla="*/ 1233487 w 1466850"/>
                <a:gd name="connsiteY78" fmla="*/ 121444 h 1209675"/>
                <a:gd name="connsiteX79" fmla="*/ 1207294 w 1466850"/>
                <a:gd name="connsiteY79" fmla="*/ 114300 h 1209675"/>
                <a:gd name="connsiteX80" fmla="*/ 1188244 w 1466850"/>
                <a:gd name="connsiteY80" fmla="*/ 126206 h 1209675"/>
                <a:gd name="connsiteX81" fmla="*/ 1133475 w 1466850"/>
                <a:gd name="connsiteY81" fmla="*/ 188119 h 1209675"/>
                <a:gd name="connsiteX82" fmla="*/ 1116806 w 1466850"/>
                <a:gd name="connsiteY82" fmla="*/ 188119 h 1209675"/>
                <a:gd name="connsiteX83" fmla="*/ 1078706 w 1466850"/>
                <a:gd name="connsiteY83" fmla="*/ 142875 h 1209675"/>
                <a:gd name="connsiteX84" fmla="*/ 1054894 w 1466850"/>
                <a:gd name="connsiteY84" fmla="*/ 138112 h 1209675"/>
                <a:gd name="connsiteX85" fmla="*/ 997744 w 1466850"/>
                <a:gd name="connsiteY85" fmla="*/ 157162 h 1209675"/>
                <a:gd name="connsiteX86" fmla="*/ 973931 w 1466850"/>
                <a:gd name="connsiteY86" fmla="*/ 178594 h 1209675"/>
                <a:gd name="connsiteX87" fmla="*/ 928687 w 1466850"/>
                <a:gd name="connsiteY87" fmla="*/ 173831 h 1209675"/>
                <a:gd name="connsiteX88" fmla="*/ 878681 w 1466850"/>
                <a:gd name="connsiteY88" fmla="*/ 164306 h 1209675"/>
                <a:gd name="connsiteX89" fmla="*/ 864394 w 1466850"/>
                <a:gd name="connsiteY89" fmla="*/ 83344 h 1209675"/>
                <a:gd name="connsiteX90" fmla="*/ 845344 w 1466850"/>
                <a:gd name="connsiteY90" fmla="*/ 69056 h 1209675"/>
                <a:gd name="connsiteX91" fmla="*/ 747712 w 1466850"/>
                <a:gd name="connsiteY91" fmla="*/ 119062 h 1209675"/>
                <a:gd name="connsiteX92" fmla="*/ 721519 w 1466850"/>
                <a:gd name="connsiteY92" fmla="*/ 140494 h 1209675"/>
                <a:gd name="connsiteX93" fmla="*/ 709612 w 1466850"/>
                <a:gd name="connsiteY93" fmla="*/ 190500 h 1209675"/>
                <a:gd name="connsiteX94" fmla="*/ 707231 w 1466850"/>
                <a:gd name="connsiteY94" fmla="*/ 195262 h 1209675"/>
                <a:gd name="connsiteX95" fmla="*/ 654844 w 1466850"/>
                <a:gd name="connsiteY95" fmla="*/ 190500 h 1209675"/>
                <a:gd name="connsiteX96" fmla="*/ 633412 w 1466850"/>
                <a:gd name="connsiteY96" fmla="*/ 180975 h 1209675"/>
                <a:gd name="connsiteX97" fmla="*/ 614362 w 1466850"/>
                <a:gd name="connsiteY97" fmla="*/ 142875 h 1209675"/>
                <a:gd name="connsiteX98" fmla="*/ 590550 w 1466850"/>
                <a:gd name="connsiteY98" fmla="*/ 130969 h 1209675"/>
                <a:gd name="connsiteX99" fmla="*/ 540544 w 1466850"/>
                <a:gd name="connsiteY99" fmla="*/ 161925 h 1209675"/>
                <a:gd name="connsiteX100" fmla="*/ 507206 w 1466850"/>
                <a:gd name="connsiteY100" fmla="*/ 154781 h 1209675"/>
                <a:gd name="connsiteX101" fmla="*/ 495300 w 1466850"/>
                <a:gd name="connsiteY101" fmla="*/ 123825 h 1209675"/>
                <a:gd name="connsiteX102" fmla="*/ 490537 w 1466850"/>
                <a:gd name="connsiteY102" fmla="*/ 114300 h 1209675"/>
                <a:gd name="connsiteX103" fmla="*/ 431006 w 1466850"/>
                <a:gd name="connsiteY103" fmla="*/ 97631 h 1209675"/>
                <a:gd name="connsiteX104" fmla="*/ 442912 w 1466850"/>
                <a:gd name="connsiteY104" fmla="*/ 33337 h 1209675"/>
                <a:gd name="connsiteX105" fmla="*/ 423862 w 1466850"/>
                <a:gd name="connsiteY105" fmla="*/ 19050 h 1209675"/>
                <a:gd name="connsiteX106" fmla="*/ 335756 w 1466850"/>
                <a:gd name="connsiteY106" fmla="*/ 0 h 1209675"/>
                <a:gd name="connsiteX107" fmla="*/ 302419 w 1466850"/>
                <a:gd name="connsiteY107" fmla="*/ 35719 h 1209675"/>
                <a:gd name="connsiteX108" fmla="*/ 266700 w 1466850"/>
                <a:gd name="connsiteY108" fmla="*/ 50006 h 1209675"/>
                <a:gd name="connsiteX109" fmla="*/ 271462 w 1466850"/>
                <a:gd name="connsiteY109" fmla="*/ 95250 h 1209675"/>
                <a:gd name="connsiteX110" fmla="*/ 316706 w 1466850"/>
                <a:gd name="connsiteY110" fmla="*/ 121444 h 1209675"/>
                <a:gd name="connsiteX111" fmla="*/ 302419 w 1466850"/>
                <a:gd name="connsiteY111" fmla="*/ 145256 h 1209675"/>
                <a:gd name="connsiteX112" fmla="*/ 247650 w 1466850"/>
                <a:gd name="connsiteY112" fmla="*/ 159544 h 1209675"/>
                <a:gd name="connsiteX113" fmla="*/ 214312 w 1466850"/>
                <a:gd name="connsiteY113" fmla="*/ 216694 h 1209675"/>
                <a:gd name="connsiteX114" fmla="*/ 183356 w 1466850"/>
                <a:gd name="connsiteY114" fmla="*/ 221456 h 1209675"/>
                <a:gd name="connsiteX115" fmla="*/ 183356 w 1466850"/>
                <a:gd name="connsiteY115" fmla="*/ 254794 h 1209675"/>
                <a:gd name="connsiteX116" fmla="*/ 161925 w 1466850"/>
                <a:gd name="connsiteY116" fmla="*/ 304800 h 1209675"/>
                <a:gd name="connsiteX117" fmla="*/ 140494 w 1466850"/>
                <a:gd name="connsiteY117" fmla="*/ 323850 h 1209675"/>
                <a:gd name="connsiteX118" fmla="*/ 71439 w 1466850"/>
                <a:gd name="connsiteY118" fmla="*/ 300039 h 1209675"/>
                <a:gd name="connsiteX119" fmla="*/ 59530 w 1466850"/>
                <a:gd name="connsiteY119" fmla="*/ 302418 h 1209675"/>
                <a:gd name="connsiteX120" fmla="*/ 30956 w 1466850"/>
                <a:gd name="connsiteY120"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188119 w 1466850"/>
                <a:gd name="connsiteY17" fmla="*/ 1145381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71587 w 1466850"/>
                <a:gd name="connsiteY56" fmla="*/ 602456 h 1209675"/>
                <a:gd name="connsiteX57" fmla="*/ 1285875 w 1466850"/>
                <a:gd name="connsiteY57" fmla="*/ 611981 h 1209675"/>
                <a:gd name="connsiteX58" fmla="*/ 1300162 w 1466850"/>
                <a:gd name="connsiteY58" fmla="*/ 628650 h 1209675"/>
                <a:gd name="connsiteX59" fmla="*/ 1321594 w 1466850"/>
                <a:gd name="connsiteY59" fmla="*/ 666750 h 1209675"/>
                <a:gd name="connsiteX60" fmla="*/ 1347787 w 1466850"/>
                <a:gd name="connsiteY60" fmla="*/ 681037 h 1209675"/>
                <a:gd name="connsiteX61" fmla="*/ 1371600 w 1466850"/>
                <a:gd name="connsiteY61" fmla="*/ 681037 h 1209675"/>
                <a:gd name="connsiteX62" fmla="*/ 1376362 w 1466850"/>
                <a:gd name="connsiteY62" fmla="*/ 628650 h 1209675"/>
                <a:gd name="connsiteX63" fmla="*/ 1395412 w 1466850"/>
                <a:gd name="connsiteY63" fmla="*/ 578644 h 1209675"/>
                <a:gd name="connsiteX64" fmla="*/ 1426369 w 1466850"/>
                <a:gd name="connsiteY64" fmla="*/ 571500 h 1209675"/>
                <a:gd name="connsiteX65" fmla="*/ 1466850 w 1466850"/>
                <a:gd name="connsiteY65" fmla="*/ 552450 h 1209675"/>
                <a:gd name="connsiteX66" fmla="*/ 1443037 w 1466850"/>
                <a:gd name="connsiteY66" fmla="*/ 509587 h 1209675"/>
                <a:gd name="connsiteX67" fmla="*/ 1414462 w 1466850"/>
                <a:gd name="connsiteY67" fmla="*/ 464344 h 1209675"/>
                <a:gd name="connsiteX68" fmla="*/ 1388269 w 1466850"/>
                <a:gd name="connsiteY68" fmla="*/ 438150 h 1209675"/>
                <a:gd name="connsiteX69" fmla="*/ 1404937 w 1466850"/>
                <a:gd name="connsiteY69" fmla="*/ 400050 h 1209675"/>
                <a:gd name="connsiteX70" fmla="*/ 1404937 w 1466850"/>
                <a:gd name="connsiteY70" fmla="*/ 383381 h 1209675"/>
                <a:gd name="connsiteX71" fmla="*/ 1431131 w 1466850"/>
                <a:gd name="connsiteY71" fmla="*/ 338137 h 1209675"/>
                <a:gd name="connsiteX72" fmla="*/ 1419225 w 1466850"/>
                <a:gd name="connsiteY72" fmla="*/ 264319 h 1209675"/>
                <a:gd name="connsiteX73" fmla="*/ 1438275 w 1466850"/>
                <a:gd name="connsiteY73" fmla="*/ 202406 h 1209675"/>
                <a:gd name="connsiteX74" fmla="*/ 1435894 w 1466850"/>
                <a:gd name="connsiteY74" fmla="*/ 173831 h 1209675"/>
                <a:gd name="connsiteX75" fmla="*/ 1404937 w 1466850"/>
                <a:gd name="connsiteY75" fmla="*/ 164306 h 1209675"/>
                <a:gd name="connsiteX76" fmla="*/ 1364456 w 1466850"/>
                <a:gd name="connsiteY76" fmla="*/ 154781 h 1209675"/>
                <a:gd name="connsiteX77" fmla="*/ 1293019 w 1466850"/>
                <a:gd name="connsiteY77" fmla="*/ 154781 h 1209675"/>
                <a:gd name="connsiteX78" fmla="*/ 1233487 w 1466850"/>
                <a:gd name="connsiteY78" fmla="*/ 121444 h 1209675"/>
                <a:gd name="connsiteX79" fmla="*/ 1207294 w 1466850"/>
                <a:gd name="connsiteY79" fmla="*/ 114300 h 1209675"/>
                <a:gd name="connsiteX80" fmla="*/ 1188244 w 1466850"/>
                <a:gd name="connsiteY80" fmla="*/ 126206 h 1209675"/>
                <a:gd name="connsiteX81" fmla="*/ 1133475 w 1466850"/>
                <a:gd name="connsiteY81" fmla="*/ 188119 h 1209675"/>
                <a:gd name="connsiteX82" fmla="*/ 1116806 w 1466850"/>
                <a:gd name="connsiteY82" fmla="*/ 188119 h 1209675"/>
                <a:gd name="connsiteX83" fmla="*/ 1078706 w 1466850"/>
                <a:gd name="connsiteY83" fmla="*/ 142875 h 1209675"/>
                <a:gd name="connsiteX84" fmla="*/ 1054894 w 1466850"/>
                <a:gd name="connsiteY84" fmla="*/ 138112 h 1209675"/>
                <a:gd name="connsiteX85" fmla="*/ 997744 w 1466850"/>
                <a:gd name="connsiteY85" fmla="*/ 157162 h 1209675"/>
                <a:gd name="connsiteX86" fmla="*/ 973931 w 1466850"/>
                <a:gd name="connsiteY86" fmla="*/ 178594 h 1209675"/>
                <a:gd name="connsiteX87" fmla="*/ 928687 w 1466850"/>
                <a:gd name="connsiteY87" fmla="*/ 173831 h 1209675"/>
                <a:gd name="connsiteX88" fmla="*/ 878681 w 1466850"/>
                <a:gd name="connsiteY88" fmla="*/ 164306 h 1209675"/>
                <a:gd name="connsiteX89" fmla="*/ 864394 w 1466850"/>
                <a:gd name="connsiteY89" fmla="*/ 83344 h 1209675"/>
                <a:gd name="connsiteX90" fmla="*/ 845344 w 1466850"/>
                <a:gd name="connsiteY90" fmla="*/ 69056 h 1209675"/>
                <a:gd name="connsiteX91" fmla="*/ 747712 w 1466850"/>
                <a:gd name="connsiteY91" fmla="*/ 119062 h 1209675"/>
                <a:gd name="connsiteX92" fmla="*/ 721519 w 1466850"/>
                <a:gd name="connsiteY92" fmla="*/ 140494 h 1209675"/>
                <a:gd name="connsiteX93" fmla="*/ 709612 w 1466850"/>
                <a:gd name="connsiteY93" fmla="*/ 190500 h 1209675"/>
                <a:gd name="connsiteX94" fmla="*/ 707231 w 1466850"/>
                <a:gd name="connsiteY94" fmla="*/ 195262 h 1209675"/>
                <a:gd name="connsiteX95" fmla="*/ 654844 w 1466850"/>
                <a:gd name="connsiteY95" fmla="*/ 190500 h 1209675"/>
                <a:gd name="connsiteX96" fmla="*/ 633412 w 1466850"/>
                <a:gd name="connsiteY96" fmla="*/ 180975 h 1209675"/>
                <a:gd name="connsiteX97" fmla="*/ 614362 w 1466850"/>
                <a:gd name="connsiteY97" fmla="*/ 142875 h 1209675"/>
                <a:gd name="connsiteX98" fmla="*/ 590550 w 1466850"/>
                <a:gd name="connsiteY98" fmla="*/ 130969 h 1209675"/>
                <a:gd name="connsiteX99" fmla="*/ 540544 w 1466850"/>
                <a:gd name="connsiteY99" fmla="*/ 161925 h 1209675"/>
                <a:gd name="connsiteX100" fmla="*/ 507206 w 1466850"/>
                <a:gd name="connsiteY100" fmla="*/ 154781 h 1209675"/>
                <a:gd name="connsiteX101" fmla="*/ 495300 w 1466850"/>
                <a:gd name="connsiteY101" fmla="*/ 123825 h 1209675"/>
                <a:gd name="connsiteX102" fmla="*/ 490537 w 1466850"/>
                <a:gd name="connsiteY102" fmla="*/ 114300 h 1209675"/>
                <a:gd name="connsiteX103" fmla="*/ 431006 w 1466850"/>
                <a:gd name="connsiteY103" fmla="*/ 97631 h 1209675"/>
                <a:gd name="connsiteX104" fmla="*/ 442912 w 1466850"/>
                <a:gd name="connsiteY104" fmla="*/ 33337 h 1209675"/>
                <a:gd name="connsiteX105" fmla="*/ 423862 w 1466850"/>
                <a:gd name="connsiteY105" fmla="*/ 19050 h 1209675"/>
                <a:gd name="connsiteX106" fmla="*/ 335756 w 1466850"/>
                <a:gd name="connsiteY106" fmla="*/ 0 h 1209675"/>
                <a:gd name="connsiteX107" fmla="*/ 302419 w 1466850"/>
                <a:gd name="connsiteY107" fmla="*/ 35719 h 1209675"/>
                <a:gd name="connsiteX108" fmla="*/ 266700 w 1466850"/>
                <a:gd name="connsiteY108" fmla="*/ 50006 h 1209675"/>
                <a:gd name="connsiteX109" fmla="*/ 271462 w 1466850"/>
                <a:gd name="connsiteY109" fmla="*/ 95250 h 1209675"/>
                <a:gd name="connsiteX110" fmla="*/ 316706 w 1466850"/>
                <a:gd name="connsiteY110" fmla="*/ 121444 h 1209675"/>
                <a:gd name="connsiteX111" fmla="*/ 302419 w 1466850"/>
                <a:gd name="connsiteY111" fmla="*/ 145256 h 1209675"/>
                <a:gd name="connsiteX112" fmla="*/ 247650 w 1466850"/>
                <a:gd name="connsiteY112" fmla="*/ 159544 h 1209675"/>
                <a:gd name="connsiteX113" fmla="*/ 214312 w 1466850"/>
                <a:gd name="connsiteY113" fmla="*/ 216694 h 1209675"/>
                <a:gd name="connsiteX114" fmla="*/ 183356 w 1466850"/>
                <a:gd name="connsiteY114" fmla="*/ 221456 h 1209675"/>
                <a:gd name="connsiteX115" fmla="*/ 183356 w 1466850"/>
                <a:gd name="connsiteY115" fmla="*/ 254794 h 1209675"/>
                <a:gd name="connsiteX116" fmla="*/ 161925 w 1466850"/>
                <a:gd name="connsiteY116" fmla="*/ 304800 h 1209675"/>
                <a:gd name="connsiteX117" fmla="*/ 140494 w 1466850"/>
                <a:gd name="connsiteY117" fmla="*/ 323850 h 1209675"/>
                <a:gd name="connsiteX118" fmla="*/ 71439 w 1466850"/>
                <a:gd name="connsiteY118" fmla="*/ 300039 h 1209675"/>
                <a:gd name="connsiteX119" fmla="*/ 59530 w 1466850"/>
                <a:gd name="connsiteY119" fmla="*/ 302418 h 1209675"/>
                <a:gd name="connsiteX120" fmla="*/ 30956 w 1466850"/>
                <a:gd name="connsiteY120"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188119 w 1466850"/>
                <a:gd name="connsiteY17" fmla="*/ 1145381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85875 w 1466850"/>
                <a:gd name="connsiteY56" fmla="*/ 611981 h 1209675"/>
                <a:gd name="connsiteX57" fmla="*/ 1300162 w 1466850"/>
                <a:gd name="connsiteY57" fmla="*/ 628650 h 1209675"/>
                <a:gd name="connsiteX58" fmla="*/ 1321594 w 1466850"/>
                <a:gd name="connsiteY58" fmla="*/ 666750 h 1209675"/>
                <a:gd name="connsiteX59" fmla="*/ 1347787 w 1466850"/>
                <a:gd name="connsiteY59" fmla="*/ 681037 h 1209675"/>
                <a:gd name="connsiteX60" fmla="*/ 1371600 w 1466850"/>
                <a:gd name="connsiteY60" fmla="*/ 681037 h 1209675"/>
                <a:gd name="connsiteX61" fmla="*/ 1376362 w 1466850"/>
                <a:gd name="connsiteY61" fmla="*/ 628650 h 1209675"/>
                <a:gd name="connsiteX62" fmla="*/ 1395412 w 1466850"/>
                <a:gd name="connsiteY62" fmla="*/ 578644 h 1209675"/>
                <a:gd name="connsiteX63" fmla="*/ 1426369 w 1466850"/>
                <a:gd name="connsiteY63" fmla="*/ 571500 h 1209675"/>
                <a:gd name="connsiteX64" fmla="*/ 1466850 w 1466850"/>
                <a:gd name="connsiteY64" fmla="*/ 552450 h 1209675"/>
                <a:gd name="connsiteX65" fmla="*/ 1443037 w 1466850"/>
                <a:gd name="connsiteY65" fmla="*/ 509587 h 1209675"/>
                <a:gd name="connsiteX66" fmla="*/ 1414462 w 1466850"/>
                <a:gd name="connsiteY66" fmla="*/ 464344 h 1209675"/>
                <a:gd name="connsiteX67" fmla="*/ 1388269 w 1466850"/>
                <a:gd name="connsiteY67" fmla="*/ 438150 h 1209675"/>
                <a:gd name="connsiteX68" fmla="*/ 1404937 w 1466850"/>
                <a:gd name="connsiteY68" fmla="*/ 400050 h 1209675"/>
                <a:gd name="connsiteX69" fmla="*/ 1404937 w 1466850"/>
                <a:gd name="connsiteY69" fmla="*/ 383381 h 1209675"/>
                <a:gd name="connsiteX70" fmla="*/ 1431131 w 1466850"/>
                <a:gd name="connsiteY70" fmla="*/ 338137 h 1209675"/>
                <a:gd name="connsiteX71" fmla="*/ 1419225 w 1466850"/>
                <a:gd name="connsiteY71" fmla="*/ 264319 h 1209675"/>
                <a:gd name="connsiteX72" fmla="*/ 1438275 w 1466850"/>
                <a:gd name="connsiteY72" fmla="*/ 202406 h 1209675"/>
                <a:gd name="connsiteX73" fmla="*/ 1435894 w 1466850"/>
                <a:gd name="connsiteY73" fmla="*/ 173831 h 1209675"/>
                <a:gd name="connsiteX74" fmla="*/ 1404937 w 1466850"/>
                <a:gd name="connsiteY74" fmla="*/ 164306 h 1209675"/>
                <a:gd name="connsiteX75" fmla="*/ 1364456 w 1466850"/>
                <a:gd name="connsiteY75" fmla="*/ 154781 h 1209675"/>
                <a:gd name="connsiteX76" fmla="*/ 1293019 w 1466850"/>
                <a:gd name="connsiteY76" fmla="*/ 154781 h 1209675"/>
                <a:gd name="connsiteX77" fmla="*/ 1233487 w 1466850"/>
                <a:gd name="connsiteY77" fmla="*/ 121444 h 1209675"/>
                <a:gd name="connsiteX78" fmla="*/ 1207294 w 1466850"/>
                <a:gd name="connsiteY78" fmla="*/ 114300 h 1209675"/>
                <a:gd name="connsiteX79" fmla="*/ 1188244 w 1466850"/>
                <a:gd name="connsiteY79" fmla="*/ 126206 h 1209675"/>
                <a:gd name="connsiteX80" fmla="*/ 1133475 w 1466850"/>
                <a:gd name="connsiteY80" fmla="*/ 188119 h 1209675"/>
                <a:gd name="connsiteX81" fmla="*/ 1116806 w 1466850"/>
                <a:gd name="connsiteY81" fmla="*/ 188119 h 1209675"/>
                <a:gd name="connsiteX82" fmla="*/ 1078706 w 1466850"/>
                <a:gd name="connsiteY82" fmla="*/ 142875 h 1209675"/>
                <a:gd name="connsiteX83" fmla="*/ 1054894 w 1466850"/>
                <a:gd name="connsiteY83" fmla="*/ 138112 h 1209675"/>
                <a:gd name="connsiteX84" fmla="*/ 997744 w 1466850"/>
                <a:gd name="connsiteY84" fmla="*/ 157162 h 1209675"/>
                <a:gd name="connsiteX85" fmla="*/ 973931 w 1466850"/>
                <a:gd name="connsiteY85" fmla="*/ 178594 h 1209675"/>
                <a:gd name="connsiteX86" fmla="*/ 928687 w 1466850"/>
                <a:gd name="connsiteY86" fmla="*/ 173831 h 1209675"/>
                <a:gd name="connsiteX87" fmla="*/ 878681 w 1466850"/>
                <a:gd name="connsiteY87" fmla="*/ 164306 h 1209675"/>
                <a:gd name="connsiteX88" fmla="*/ 864394 w 1466850"/>
                <a:gd name="connsiteY88" fmla="*/ 83344 h 1209675"/>
                <a:gd name="connsiteX89" fmla="*/ 845344 w 1466850"/>
                <a:gd name="connsiteY89" fmla="*/ 69056 h 1209675"/>
                <a:gd name="connsiteX90" fmla="*/ 747712 w 1466850"/>
                <a:gd name="connsiteY90" fmla="*/ 119062 h 1209675"/>
                <a:gd name="connsiteX91" fmla="*/ 721519 w 1466850"/>
                <a:gd name="connsiteY91" fmla="*/ 140494 h 1209675"/>
                <a:gd name="connsiteX92" fmla="*/ 709612 w 1466850"/>
                <a:gd name="connsiteY92" fmla="*/ 190500 h 1209675"/>
                <a:gd name="connsiteX93" fmla="*/ 707231 w 1466850"/>
                <a:gd name="connsiteY93" fmla="*/ 195262 h 1209675"/>
                <a:gd name="connsiteX94" fmla="*/ 654844 w 1466850"/>
                <a:gd name="connsiteY94" fmla="*/ 190500 h 1209675"/>
                <a:gd name="connsiteX95" fmla="*/ 633412 w 1466850"/>
                <a:gd name="connsiteY95" fmla="*/ 180975 h 1209675"/>
                <a:gd name="connsiteX96" fmla="*/ 614362 w 1466850"/>
                <a:gd name="connsiteY96" fmla="*/ 142875 h 1209675"/>
                <a:gd name="connsiteX97" fmla="*/ 590550 w 1466850"/>
                <a:gd name="connsiteY97" fmla="*/ 130969 h 1209675"/>
                <a:gd name="connsiteX98" fmla="*/ 540544 w 1466850"/>
                <a:gd name="connsiteY98" fmla="*/ 161925 h 1209675"/>
                <a:gd name="connsiteX99" fmla="*/ 507206 w 1466850"/>
                <a:gd name="connsiteY99" fmla="*/ 154781 h 1209675"/>
                <a:gd name="connsiteX100" fmla="*/ 495300 w 1466850"/>
                <a:gd name="connsiteY100" fmla="*/ 123825 h 1209675"/>
                <a:gd name="connsiteX101" fmla="*/ 490537 w 1466850"/>
                <a:gd name="connsiteY101" fmla="*/ 114300 h 1209675"/>
                <a:gd name="connsiteX102" fmla="*/ 431006 w 1466850"/>
                <a:gd name="connsiteY102" fmla="*/ 97631 h 1209675"/>
                <a:gd name="connsiteX103" fmla="*/ 442912 w 1466850"/>
                <a:gd name="connsiteY103" fmla="*/ 33337 h 1209675"/>
                <a:gd name="connsiteX104" fmla="*/ 423862 w 1466850"/>
                <a:gd name="connsiteY104" fmla="*/ 19050 h 1209675"/>
                <a:gd name="connsiteX105" fmla="*/ 335756 w 1466850"/>
                <a:gd name="connsiteY105" fmla="*/ 0 h 1209675"/>
                <a:gd name="connsiteX106" fmla="*/ 302419 w 1466850"/>
                <a:gd name="connsiteY106" fmla="*/ 35719 h 1209675"/>
                <a:gd name="connsiteX107" fmla="*/ 266700 w 1466850"/>
                <a:gd name="connsiteY107" fmla="*/ 50006 h 1209675"/>
                <a:gd name="connsiteX108" fmla="*/ 271462 w 1466850"/>
                <a:gd name="connsiteY108" fmla="*/ 95250 h 1209675"/>
                <a:gd name="connsiteX109" fmla="*/ 316706 w 1466850"/>
                <a:gd name="connsiteY109" fmla="*/ 121444 h 1209675"/>
                <a:gd name="connsiteX110" fmla="*/ 302419 w 1466850"/>
                <a:gd name="connsiteY110" fmla="*/ 145256 h 1209675"/>
                <a:gd name="connsiteX111" fmla="*/ 247650 w 1466850"/>
                <a:gd name="connsiteY111" fmla="*/ 159544 h 1209675"/>
                <a:gd name="connsiteX112" fmla="*/ 214312 w 1466850"/>
                <a:gd name="connsiteY112" fmla="*/ 216694 h 1209675"/>
                <a:gd name="connsiteX113" fmla="*/ 183356 w 1466850"/>
                <a:gd name="connsiteY113" fmla="*/ 221456 h 1209675"/>
                <a:gd name="connsiteX114" fmla="*/ 183356 w 1466850"/>
                <a:gd name="connsiteY114" fmla="*/ 254794 h 1209675"/>
                <a:gd name="connsiteX115" fmla="*/ 161925 w 1466850"/>
                <a:gd name="connsiteY115" fmla="*/ 304800 h 1209675"/>
                <a:gd name="connsiteX116" fmla="*/ 140494 w 1466850"/>
                <a:gd name="connsiteY116" fmla="*/ 323850 h 1209675"/>
                <a:gd name="connsiteX117" fmla="*/ 71439 w 1466850"/>
                <a:gd name="connsiteY117" fmla="*/ 300039 h 1209675"/>
                <a:gd name="connsiteX118" fmla="*/ 59530 w 1466850"/>
                <a:gd name="connsiteY118" fmla="*/ 302418 h 1209675"/>
                <a:gd name="connsiteX119" fmla="*/ 30956 w 1466850"/>
                <a:gd name="connsiteY119" fmla="*/ 295274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466850" h="1209675">
                  <a:moveTo>
                    <a:pt x="30956" y="295274"/>
                  </a:moveTo>
                  <a:lnTo>
                    <a:pt x="19050" y="381000"/>
                  </a:lnTo>
                  <a:lnTo>
                    <a:pt x="19050" y="397669"/>
                  </a:lnTo>
                  <a:lnTo>
                    <a:pt x="0" y="459581"/>
                  </a:lnTo>
                  <a:lnTo>
                    <a:pt x="7144" y="497681"/>
                  </a:lnTo>
                  <a:lnTo>
                    <a:pt x="9525" y="535781"/>
                  </a:lnTo>
                  <a:lnTo>
                    <a:pt x="19050" y="583406"/>
                  </a:lnTo>
                  <a:lnTo>
                    <a:pt x="23812" y="688181"/>
                  </a:lnTo>
                  <a:lnTo>
                    <a:pt x="35719" y="747712"/>
                  </a:lnTo>
                  <a:lnTo>
                    <a:pt x="40481" y="778669"/>
                  </a:lnTo>
                  <a:lnTo>
                    <a:pt x="47625" y="831056"/>
                  </a:lnTo>
                  <a:lnTo>
                    <a:pt x="38100" y="919162"/>
                  </a:lnTo>
                  <a:lnTo>
                    <a:pt x="78581" y="1028700"/>
                  </a:lnTo>
                  <a:lnTo>
                    <a:pt x="71437" y="1095375"/>
                  </a:lnTo>
                  <a:lnTo>
                    <a:pt x="88106" y="1164431"/>
                  </a:lnTo>
                  <a:lnTo>
                    <a:pt x="166687" y="1200149"/>
                  </a:lnTo>
                  <a:lnTo>
                    <a:pt x="202406" y="1209675"/>
                  </a:lnTo>
                  <a:lnTo>
                    <a:pt x="188119" y="1145381"/>
                  </a:lnTo>
                  <a:cubicBezTo>
                    <a:pt x="211137" y="1135063"/>
                    <a:pt x="224631" y="1110456"/>
                    <a:pt x="242887" y="1092994"/>
                  </a:cubicBezTo>
                  <a:lnTo>
                    <a:pt x="238125" y="1045369"/>
                  </a:lnTo>
                  <a:lnTo>
                    <a:pt x="230981" y="1035844"/>
                  </a:lnTo>
                  <a:lnTo>
                    <a:pt x="252412" y="1019175"/>
                  </a:lnTo>
                  <a:lnTo>
                    <a:pt x="314325" y="995362"/>
                  </a:lnTo>
                  <a:lnTo>
                    <a:pt x="311944" y="959644"/>
                  </a:lnTo>
                  <a:lnTo>
                    <a:pt x="326231" y="942975"/>
                  </a:lnTo>
                  <a:lnTo>
                    <a:pt x="452437" y="950119"/>
                  </a:lnTo>
                  <a:lnTo>
                    <a:pt x="464344" y="933450"/>
                  </a:lnTo>
                  <a:lnTo>
                    <a:pt x="476250" y="883444"/>
                  </a:lnTo>
                  <a:lnTo>
                    <a:pt x="488156" y="857250"/>
                  </a:lnTo>
                  <a:lnTo>
                    <a:pt x="526256" y="862012"/>
                  </a:lnTo>
                  <a:lnTo>
                    <a:pt x="545306" y="909637"/>
                  </a:lnTo>
                  <a:lnTo>
                    <a:pt x="566737" y="881062"/>
                  </a:lnTo>
                  <a:lnTo>
                    <a:pt x="621506" y="845344"/>
                  </a:lnTo>
                  <a:lnTo>
                    <a:pt x="709612" y="814387"/>
                  </a:lnTo>
                  <a:lnTo>
                    <a:pt x="716756" y="769144"/>
                  </a:lnTo>
                  <a:lnTo>
                    <a:pt x="742950" y="750094"/>
                  </a:lnTo>
                  <a:lnTo>
                    <a:pt x="785812" y="726281"/>
                  </a:lnTo>
                  <a:lnTo>
                    <a:pt x="800100" y="716756"/>
                  </a:lnTo>
                  <a:lnTo>
                    <a:pt x="862012" y="721519"/>
                  </a:lnTo>
                  <a:lnTo>
                    <a:pt x="883444" y="721519"/>
                  </a:lnTo>
                  <a:lnTo>
                    <a:pt x="892969" y="697706"/>
                  </a:lnTo>
                  <a:lnTo>
                    <a:pt x="892969" y="697706"/>
                  </a:lnTo>
                  <a:lnTo>
                    <a:pt x="921544" y="609600"/>
                  </a:lnTo>
                  <a:lnTo>
                    <a:pt x="909637" y="552450"/>
                  </a:lnTo>
                  <a:lnTo>
                    <a:pt x="928687" y="540544"/>
                  </a:lnTo>
                  <a:lnTo>
                    <a:pt x="973931" y="535781"/>
                  </a:lnTo>
                  <a:lnTo>
                    <a:pt x="1014412" y="447675"/>
                  </a:lnTo>
                  <a:lnTo>
                    <a:pt x="1038225" y="445294"/>
                  </a:lnTo>
                  <a:lnTo>
                    <a:pt x="1073944" y="476250"/>
                  </a:lnTo>
                  <a:lnTo>
                    <a:pt x="1112044" y="514350"/>
                  </a:lnTo>
                  <a:lnTo>
                    <a:pt x="1171575" y="540544"/>
                  </a:lnTo>
                  <a:lnTo>
                    <a:pt x="1219200" y="521494"/>
                  </a:lnTo>
                  <a:lnTo>
                    <a:pt x="1245394" y="502444"/>
                  </a:lnTo>
                  <a:lnTo>
                    <a:pt x="1278731" y="511969"/>
                  </a:lnTo>
                  <a:lnTo>
                    <a:pt x="1295400" y="531019"/>
                  </a:lnTo>
                  <a:lnTo>
                    <a:pt x="1273969" y="573881"/>
                  </a:lnTo>
                  <a:lnTo>
                    <a:pt x="1285875" y="611981"/>
                  </a:lnTo>
                  <a:lnTo>
                    <a:pt x="1300162" y="628650"/>
                  </a:lnTo>
                  <a:lnTo>
                    <a:pt x="1321594" y="666750"/>
                  </a:lnTo>
                  <a:lnTo>
                    <a:pt x="1347787" y="681037"/>
                  </a:lnTo>
                  <a:lnTo>
                    <a:pt x="1371600" y="681037"/>
                  </a:lnTo>
                  <a:lnTo>
                    <a:pt x="1376362" y="628650"/>
                  </a:lnTo>
                  <a:lnTo>
                    <a:pt x="1395412" y="578644"/>
                  </a:lnTo>
                  <a:lnTo>
                    <a:pt x="1426369" y="571500"/>
                  </a:lnTo>
                  <a:lnTo>
                    <a:pt x="1466850" y="552450"/>
                  </a:lnTo>
                  <a:lnTo>
                    <a:pt x="1443037" y="509587"/>
                  </a:lnTo>
                  <a:lnTo>
                    <a:pt x="1414462" y="464344"/>
                  </a:lnTo>
                  <a:lnTo>
                    <a:pt x="1388269" y="438150"/>
                  </a:lnTo>
                  <a:lnTo>
                    <a:pt x="1404937" y="400050"/>
                  </a:lnTo>
                  <a:lnTo>
                    <a:pt x="1404937" y="383381"/>
                  </a:lnTo>
                  <a:lnTo>
                    <a:pt x="1431131" y="338137"/>
                  </a:lnTo>
                  <a:lnTo>
                    <a:pt x="1419225" y="264319"/>
                  </a:lnTo>
                  <a:lnTo>
                    <a:pt x="1438275" y="202406"/>
                  </a:lnTo>
                  <a:lnTo>
                    <a:pt x="1435894" y="173831"/>
                  </a:lnTo>
                  <a:lnTo>
                    <a:pt x="1404937" y="164306"/>
                  </a:lnTo>
                  <a:lnTo>
                    <a:pt x="1364456" y="154781"/>
                  </a:lnTo>
                  <a:lnTo>
                    <a:pt x="1293019" y="154781"/>
                  </a:lnTo>
                  <a:lnTo>
                    <a:pt x="1233487" y="121444"/>
                  </a:lnTo>
                  <a:lnTo>
                    <a:pt x="1207294" y="114300"/>
                  </a:lnTo>
                  <a:lnTo>
                    <a:pt x="1188244" y="126206"/>
                  </a:lnTo>
                  <a:lnTo>
                    <a:pt x="1133475" y="188119"/>
                  </a:lnTo>
                  <a:lnTo>
                    <a:pt x="1116806" y="188119"/>
                  </a:lnTo>
                  <a:lnTo>
                    <a:pt x="1078706" y="142875"/>
                  </a:lnTo>
                  <a:lnTo>
                    <a:pt x="1054894" y="138112"/>
                  </a:lnTo>
                  <a:lnTo>
                    <a:pt x="997744" y="157162"/>
                  </a:lnTo>
                  <a:lnTo>
                    <a:pt x="973931" y="178594"/>
                  </a:lnTo>
                  <a:lnTo>
                    <a:pt x="928687" y="173831"/>
                  </a:lnTo>
                  <a:lnTo>
                    <a:pt x="878681" y="164306"/>
                  </a:lnTo>
                  <a:lnTo>
                    <a:pt x="864394" y="83344"/>
                  </a:lnTo>
                  <a:lnTo>
                    <a:pt x="845344" y="69056"/>
                  </a:lnTo>
                  <a:lnTo>
                    <a:pt x="747712" y="119062"/>
                  </a:lnTo>
                  <a:lnTo>
                    <a:pt x="721519" y="140494"/>
                  </a:lnTo>
                  <a:lnTo>
                    <a:pt x="709612" y="190500"/>
                  </a:lnTo>
                  <a:lnTo>
                    <a:pt x="707231" y="195262"/>
                  </a:lnTo>
                  <a:lnTo>
                    <a:pt x="654844" y="190500"/>
                  </a:lnTo>
                  <a:lnTo>
                    <a:pt x="633412" y="180975"/>
                  </a:lnTo>
                  <a:lnTo>
                    <a:pt x="614362" y="142875"/>
                  </a:lnTo>
                  <a:lnTo>
                    <a:pt x="590550" y="130969"/>
                  </a:lnTo>
                  <a:lnTo>
                    <a:pt x="540544" y="161925"/>
                  </a:lnTo>
                  <a:lnTo>
                    <a:pt x="507206" y="154781"/>
                  </a:lnTo>
                  <a:lnTo>
                    <a:pt x="495300" y="123825"/>
                  </a:lnTo>
                  <a:lnTo>
                    <a:pt x="490537" y="114300"/>
                  </a:lnTo>
                  <a:lnTo>
                    <a:pt x="431006" y="97631"/>
                  </a:lnTo>
                  <a:lnTo>
                    <a:pt x="442912" y="33337"/>
                  </a:lnTo>
                  <a:lnTo>
                    <a:pt x="423862" y="19050"/>
                  </a:lnTo>
                  <a:lnTo>
                    <a:pt x="335756" y="0"/>
                  </a:lnTo>
                  <a:lnTo>
                    <a:pt x="302419" y="35719"/>
                  </a:lnTo>
                  <a:lnTo>
                    <a:pt x="266700" y="50006"/>
                  </a:lnTo>
                  <a:lnTo>
                    <a:pt x="271462" y="95250"/>
                  </a:lnTo>
                  <a:lnTo>
                    <a:pt x="316706" y="121444"/>
                  </a:lnTo>
                  <a:lnTo>
                    <a:pt x="302419" y="145256"/>
                  </a:lnTo>
                  <a:lnTo>
                    <a:pt x="247650" y="159544"/>
                  </a:lnTo>
                  <a:lnTo>
                    <a:pt x="214312" y="216694"/>
                  </a:lnTo>
                  <a:lnTo>
                    <a:pt x="183356" y="221456"/>
                  </a:lnTo>
                  <a:lnTo>
                    <a:pt x="183356" y="254794"/>
                  </a:lnTo>
                  <a:lnTo>
                    <a:pt x="161925" y="304800"/>
                  </a:lnTo>
                  <a:lnTo>
                    <a:pt x="140494" y="323850"/>
                  </a:lnTo>
                  <a:lnTo>
                    <a:pt x="71439" y="300039"/>
                  </a:lnTo>
                  <a:lnTo>
                    <a:pt x="59530" y="302418"/>
                  </a:lnTo>
                  <a:lnTo>
                    <a:pt x="30956" y="295274"/>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25" name="Freeform 86">
              <a:extLst>
                <a:ext uri="{FF2B5EF4-FFF2-40B4-BE49-F238E27FC236}">
                  <a16:creationId xmlns:a16="http://schemas.microsoft.com/office/drawing/2014/main" id="{2AC4F48D-E3BB-4C64-8429-28B4076F1034}"/>
                </a:ext>
              </a:extLst>
            </p:cNvPr>
            <p:cNvSpPr/>
            <p:nvPr/>
          </p:nvSpPr>
          <p:spPr bwMode="auto">
            <a:xfrm>
              <a:off x="3356984" y="4430329"/>
              <a:ext cx="1368588" cy="1147444"/>
            </a:xfrm>
            <a:custGeom>
              <a:avLst/>
              <a:gdLst>
                <a:gd name="connsiteX0" fmla="*/ 688181 w 1562100"/>
                <a:gd name="connsiteY0" fmla="*/ 1000125 h 1126331"/>
                <a:gd name="connsiteX1" fmla="*/ 688181 w 1562100"/>
                <a:gd name="connsiteY1" fmla="*/ 914400 h 1126331"/>
                <a:gd name="connsiteX2" fmla="*/ 692944 w 1562100"/>
                <a:gd name="connsiteY2" fmla="*/ 871537 h 1126331"/>
                <a:gd name="connsiteX3" fmla="*/ 692944 w 1562100"/>
                <a:gd name="connsiteY3" fmla="*/ 826294 h 1126331"/>
                <a:gd name="connsiteX4" fmla="*/ 676275 w 1562100"/>
                <a:gd name="connsiteY4" fmla="*/ 802481 h 1126331"/>
                <a:gd name="connsiteX5" fmla="*/ 690563 w 1562100"/>
                <a:gd name="connsiteY5" fmla="*/ 750094 h 1126331"/>
                <a:gd name="connsiteX6" fmla="*/ 685800 w 1562100"/>
                <a:gd name="connsiteY6" fmla="*/ 723900 h 1126331"/>
                <a:gd name="connsiteX7" fmla="*/ 697706 w 1562100"/>
                <a:gd name="connsiteY7" fmla="*/ 678656 h 1126331"/>
                <a:gd name="connsiteX8" fmla="*/ 714375 w 1562100"/>
                <a:gd name="connsiteY8" fmla="*/ 654844 h 1126331"/>
                <a:gd name="connsiteX9" fmla="*/ 721519 w 1562100"/>
                <a:gd name="connsiteY9" fmla="*/ 621506 h 1126331"/>
                <a:gd name="connsiteX10" fmla="*/ 735806 w 1562100"/>
                <a:gd name="connsiteY10" fmla="*/ 602456 h 1126331"/>
                <a:gd name="connsiteX11" fmla="*/ 792956 w 1562100"/>
                <a:gd name="connsiteY11" fmla="*/ 592931 h 1126331"/>
                <a:gd name="connsiteX12" fmla="*/ 838200 w 1562100"/>
                <a:gd name="connsiteY12" fmla="*/ 576262 h 1126331"/>
                <a:gd name="connsiteX13" fmla="*/ 876300 w 1562100"/>
                <a:gd name="connsiteY13" fmla="*/ 535781 h 1126331"/>
                <a:gd name="connsiteX14" fmla="*/ 923925 w 1562100"/>
                <a:gd name="connsiteY14" fmla="*/ 521494 h 1126331"/>
                <a:gd name="connsiteX15" fmla="*/ 995363 w 1562100"/>
                <a:gd name="connsiteY15" fmla="*/ 516731 h 1126331"/>
                <a:gd name="connsiteX16" fmla="*/ 1040606 w 1562100"/>
                <a:gd name="connsiteY16" fmla="*/ 507206 h 1126331"/>
                <a:gd name="connsiteX17" fmla="*/ 1119188 w 1562100"/>
                <a:gd name="connsiteY17" fmla="*/ 400050 h 1126331"/>
                <a:gd name="connsiteX18" fmla="*/ 1126331 w 1562100"/>
                <a:gd name="connsiteY18" fmla="*/ 366712 h 1126331"/>
                <a:gd name="connsiteX19" fmla="*/ 1152525 w 1562100"/>
                <a:gd name="connsiteY19" fmla="*/ 338137 h 1126331"/>
                <a:gd name="connsiteX20" fmla="*/ 1197769 w 1562100"/>
                <a:gd name="connsiteY20" fmla="*/ 328612 h 1126331"/>
                <a:gd name="connsiteX21" fmla="*/ 1290638 w 1562100"/>
                <a:gd name="connsiteY21" fmla="*/ 252412 h 1126331"/>
                <a:gd name="connsiteX22" fmla="*/ 1314450 w 1562100"/>
                <a:gd name="connsiteY22" fmla="*/ 250031 h 1126331"/>
                <a:gd name="connsiteX23" fmla="*/ 1409700 w 1562100"/>
                <a:gd name="connsiteY23" fmla="*/ 169069 h 1126331"/>
                <a:gd name="connsiteX24" fmla="*/ 1414463 w 1562100"/>
                <a:gd name="connsiteY24" fmla="*/ 150019 h 1126331"/>
                <a:gd name="connsiteX25" fmla="*/ 1507331 w 1562100"/>
                <a:gd name="connsiteY25" fmla="*/ 95250 h 1126331"/>
                <a:gd name="connsiteX26" fmla="*/ 1543050 w 1562100"/>
                <a:gd name="connsiteY26" fmla="*/ 50006 h 1126331"/>
                <a:gd name="connsiteX27" fmla="*/ 1562100 w 1562100"/>
                <a:gd name="connsiteY27" fmla="*/ 11906 h 1126331"/>
                <a:gd name="connsiteX28" fmla="*/ 1512094 w 1562100"/>
                <a:gd name="connsiteY28" fmla="*/ 30956 h 1126331"/>
                <a:gd name="connsiteX29" fmla="*/ 1478756 w 1562100"/>
                <a:gd name="connsiteY29" fmla="*/ 30956 h 1126331"/>
                <a:gd name="connsiteX30" fmla="*/ 1452563 w 1562100"/>
                <a:gd name="connsiteY30" fmla="*/ 69056 h 1126331"/>
                <a:gd name="connsiteX31" fmla="*/ 1421606 w 1562100"/>
                <a:gd name="connsiteY31" fmla="*/ 66675 h 1126331"/>
                <a:gd name="connsiteX32" fmla="*/ 1366838 w 1562100"/>
                <a:gd name="connsiteY32" fmla="*/ 35719 h 1126331"/>
                <a:gd name="connsiteX33" fmla="*/ 1323975 w 1562100"/>
                <a:gd name="connsiteY33" fmla="*/ 23812 h 1126331"/>
                <a:gd name="connsiteX34" fmla="*/ 1238250 w 1562100"/>
                <a:gd name="connsiteY34" fmla="*/ 59531 h 1126331"/>
                <a:gd name="connsiteX35" fmla="*/ 1223963 w 1562100"/>
                <a:gd name="connsiteY35" fmla="*/ 97631 h 1126331"/>
                <a:gd name="connsiteX36" fmla="*/ 1195388 w 1562100"/>
                <a:gd name="connsiteY36" fmla="*/ 154781 h 1126331"/>
                <a:gd name="connsiteX37" fmla="*/ 1109663 w 1562100"/>
                <a:gd name="connsiteY37" fmla="*/ 116681 h 1126331"/>
                <a:gd name="connsiteX38" fmla="*/ 1097756 w 1562100"/>
                <a:gd name="connsiteY38" fmla="*/ 159544 h 1126331"/>
                <a:gd name="connsiteX39" fmla="*/ 1083469 w 1562100"/>
                <a:gd name="connsiteY39" fmla="*/ 192881 h 1126331"/>
                <a:gd name="connsiteX40" fmla="*/ 959644 w 1562100"/>
                <a:gd name="connsiteY40" fmla="*/ 223837 h 1126331"/>
                <a:gd name="connsiteX41" fmla="*/ 945356 w 1562100"/>
                <a:gd name="connsiteY41" fmla="*/ 219075 h 1126331"/>
                <a:gd name="connsiteX42" fmla="*/ 926306 w 1562100"/>
                <a:gd name="connsiteY42" fmla="*/ 240506 h 1126331"/>
                <a:gd name="connsiteX43" fmla="*/ 890588 w 1562100"/>
                <a:gd name="connsiteY43" fmla="*/ 247650 h 1126331"/>
                <a:gd name="connsiteX44" fmla="*/ 854869 w 1562100"/>
                <a:gd name="connsiteY44" fmla="*/ 197644 h 1126331"/>
                <a:gd name="connsiteX45" fmla="*/ 835819 w 1562100"/>
                <a:gd name="connsiteY45" fmla="*/ 185737 h 1126331"/>
                <a:gd name="connsiteX46" fmla="*/ 826294 w 1562100"/>
                <a:gd name="connsiteY46" fmla="*/ 140494 h 1126331"/>
                <a:gd name="connsiteX47" fmla="*/ 792956 w 1562100"/>
                <a:gd name="connsiteY47" fmla="*/ 123825 h 1126331"/>
                <a:gd name="connsiteX48" fmla="*/ 759619 w 1562100"/>
                <a:gd name="connsiteY48" fmla="*/ 116681 h 1126331"/>
                <a:gd name="connsiteX49" fmla="*/ 740569 w 1562100"/>
                <a:gd name="connsiteY49" fmla="*/ 111919 h 1126331"/>
                <a:gd name="connsiteX50" fmla="*/ 728663 w 1562100"/>
                <a:gd name="connsiteY50" fmla="*/ 102394 h 1126331"/>
                <a:gd name="connsiteX51" fmla="*/ 735806 w 1562100"/>
                <a:gd name="connsiteY51" fmla="*/ 76200 h 1126331"/>
                <a:gd name="connsiteX52" fmla="*/ 742950 w 1562100"/>
                <a:gd name="connsiteY52" fmla="*/ 52387 h 1126331"/>
                <a:gd name="connsiteX53" fmla="*/ 700088 w 1562100"/>
                <a:gd name="connsiteY53" fmla="*/ 2381 h 1126331"/>
                <a:gd name="connsiteX54" fmla="*/ 328613 w 1562100"/>
                <a:gd name="connsiteY54" fmla="*/ 0 h 1126331"/>
                <a:gd name="connsiteX55" fmla="*/ 292894 w 1562100"/>
                <a:gd name="connsiteY55" fmla="*/ 102394 h 1126331"/>
                <a:gd name="connsiteX56" fmla="*/ 264319 w 1562100"/>
                <a:gd name="connsiteY56" fmla="*/ 109537 h 1126331"/>
                <a:gd name="connsiteX57" fmla="*/ 261938 w 1562100"/>
                <a:gd name="connsiteY57" fmla="*/ 123825 h 1126331"/>
                <a:gd name="connsiteX58" fmla="*/ 261938 w 1562100"/>
                <a:gd name="connsiteY58" fmla="*/ 157162 h 1126331"/>
                <a:gd name="connsiteX59" fmla="*/ 228600 w 1562100"/>
                <a:gd name="connsiteY59" fmla="*/ 200025 h 1126331"/>
                <a:gd name="connsiteX60" fmla="*/ 271463 w 1562100"/>
                <a:gd name="connsiteY60" fmla="*/ 216694 h 1126331"/>
                <a:gd name="connsiteX61" fmla="*/ 278606 w 1562100"/>
                <a:gd name="connsiteY61" fmla="*/ 235744 h 1126331"/>
                <a:gd name="connsiteX62" fmla="*/ 257175 w 1562100"/>
                <a:gd name="connsiteY62" fmla="*/ 271462 h 1126331"/>
                <a:gd name="connsiteX63" fmla="*/ 221456 w 1562100"/>
                <a:gd name="connsiteY63" fmla="*/ 280987 h 1126331"/>
                <a:gd name="connsiteX64" fmla="*/ 221456 w 1562100"/>
                <a:gd name="connsiteY64" fmla="*/ 321469 h 1126331"/>
                <a:gd name="connsiteX65" fmla="*/ 254794 w 1562100"/>
                <a:gd name="connsiteY65" fmla="*/ 359569 h 1126331"/>
                <a:gd name="connsiteX66" fmla="*/ 226219 w 1562100"/>
                <a:gd name="connsiteY66" fmla="*/ 423862 h 1126331"/>
                <a:gd name="connsiteX67" fmla="*/ 180975 w 1562100"/>
                <a:gd name="connsiteY67" fmla="*/ 452437 h 1126331"/>
                <a:gd name="connsiteX68" fmla="*/ 183356 w 1562100"/>
                <a:gd name="connsiteY68" fmla="*/ 469106 h 1126331"/>
                <a:gd name="connsiteX69" fmla="*/ 204788 w 1562100"/>
                <a:gd name="connsiteY69" fmla="*/ 478631 h 1126331"/>
                <a:gd name="connsiteX70" fmla="*/ 219075 w 1562100"/>
                <a:gd name="connsiteY70" fmla="*/ 488156 h 1126331"/>
                <a:gd name="connsiteX71" fmla="*/ 223838 w 1562100"/>
                <a:gd name="connsiteY71" fmla="*/ 507206 h 1126331"/>
                <a:gd name="connsiteX72" fmla="*/ 195263 w 1562100"/>
                <a:gd name="connsiteY72" fmla="*/ 533400 h 1126331"/>
                <a:gd name="connsiteX73" fmla="*/ 123825 w 1562100"/>
                <a:gd name="connsiteY73" fmla="*/ 578644 h 1126331"/>
                <a:gd name="connsiteX74" fmla="*/ 123825 w 1562100"/>
                <a:gd name="connsiteY74" fmla="*/ 614362 h 1126331"/>
                <a:gd name="connsiteX75" fmla="*/ 135731 w 1562100"/>
                <a:gd name="connsiteY75" fmla="*/ 645319 h 1126331"/>
                <a:gd name="connsiteX76" fmla="*/ 123825 w 1562100"/>
                <a:gd name="connsiteY76" fmla="*/ 685800 h 1126331"/>
                <a:gd name="connsiteX77" fmla="*/ 76200 w 1562100"/>
                <a:gd name="connsiteY77" fmla="*/ 681037 h 1126331"/>
                <a:gd name="connsiteX78" fmla="*/ 52388 w 1562100"/>
                <a:gd name="connsiteY78" fmla="*/ 626269 h 1126331"/>
                <a:gd name="connsiteX79" fmla="*/ 33338 w 1562100"/>
                <a:gd name="connsiteY79" fmla="*/ 619125 h 1126331"/>
                <a:gd name="connsiteX80" fmla="*/ 23813 w 1562100"/>
                <a:gd name="connsiteY80" fmla="*/ 657225 h 1126331"/>
                <a:gd name="connsiteX81" fmla="*/ 21431 w 1562100"/>
                <a:gd name="connsiteY81" fmla="*/ 666750 h 1126331"/>
                <a:gd name="connsiteX82" fmla="*/ 7144 w 1562100"/>
                <a:gd name="connsiteY82" fmla="*/ 683419 h 1126331"/>
                <a:gd name="connsiteX83" fmla="*/ 0 w 1562100"/>
                <a:gd name="connsiteY83" fmla="*/ 740569 h 1126331"/>
                <a:gd name="connsiteX84" fmla="*/ 23813 w 1562100"/>
                <a:gd name="connsiteY84" fmla="*/ 769144 h 1126331"/>
                <a:gd name="connsiteX85" fmla="*/ 16669 w 1562100"/>
                <a:gd name="connsiteY85" fmla="*/ 809625 h 1126331"/>
                <a:gd name="connsiteX86" fmla="*/ 35719 w 1562100"/>
                <a:gd name="connsiteY86" fmla="*/ 814387 h 1126331"/>
                <a:gd name="connsiteX87" fmla="*/ 69056 w 1562100"/>
                <a:gd name="connsiteY87" fmla="*/ 814387 h 1126331"/>
                <a:gd name="connsiteX88" fmla="*/ 85725 w 1562100"/>
                <a:gd name="connsiteY88" fmla="*/ 804862 h 1126331"/>
                <a:gd name="connsiteX89" fmla="*/ 135731 w 1562100"/>
                <a:gd name="connsiteY89" fmla="*/ 862012 h 1126331"/>
                <a:gd name="connsiteX90" fmla="*/ 123825 w 1562100"/>
                <a:gd name="connsiteY90" fmla="*/ 881062 h 1126331"/>
                <a:gd name="connsiteX91" fmla="*/ 133350 w 1562100"/>
                <a:gd name="connsiteY91" fmla="*/ 909637 h 1126331"/>
                <a:gd name="connsiteX92" fmla="*/ 164306 w 1562100"/>
                <a:gd name="connsiteY92" fmla="*/ 928687 h 1126331"/>
                <a:gd name="connsiteX93" fmla="*/ 190500 w 1562100"/>
                <a:gd name="connsiteY93" fmla="*/ 938212 h 1126331"/>
                <a:gd name="connsiteX94" fmla="*/ 216694 w 1562100"/>
                <a:gd name="connsiteY94" fmla="*/ 945356 h 1126331"/>
                <a:gd name="connsiteX95" fmla="*/ 228600 w 1562100"/>
                <a:gd name="connsiteY95" fmla="*/ 947737 h 1126331"/>
                <a:gd name="connsiteX96" fmla="*/ 240506 w 1562100"/>
                <a:gd name="connsiteY96" fmla="*/ 909637 h 1126331"/>
                <a:gd name="connsiteX97" fmla="*/ 269081 w 1562100"/>
                <a:gd name="connsiteY97" fmla="*/ 914400 h 1126331"/>
                <a:gd name="connsiteX98" fmla="*/ 288131 w 1562100"/>
                <a:gd name="connsiteY98" fmla="*/ 902494 h 1126331"/>
                <a:gd name="connsiteX99" fmla="*/ 307181 w 1562100"/>
                <a:gd name="connsiteY99" fmla="*/ 952500 h 1126331"/>
                <a:gd name="connsiteX100" fmla="*/ 330994 w 1562100"/>
                <a:gd name="connsiteY100" fmla="*/ 966787 h 1126331"/>
                <a:gd name="connsiteX101" fmla="*/ 340519 w 1562100"/>
                <a:gd name="connsiteY101" fmla="*/ 995362 h 1126331"/>
                <a:gd name="connsiteX102" fmla="*/ 357188 w 1562100"/>
                <a:gd name="connsiteY102" fmla="*/ 1004887 h 1126331"/>
                <a:gd name="connsiteX103" fmla="*/ 364331 w 1562100"/>
                <a:gd name="connsiteY103" fmla="*/ 1035844 h 1126331"/>
                <a:gd name="connsiteX104" fmla="*/ 335756 w 1562100"/>
                <a:gd name="connsiteY104" fmla="*/ 1062037 h 1126331"/>
                <a:gd name="connsiteX105" fmla="*/ 309563 w 1562100"/>
                <a:gd name="connsiteY105" fmla="*/ 1078706 h 1126331"/>
                <a:gd name="connsiteX106" fmla="*/ 297656 w 1562100"/>
                <a:gd name="connsiteY106" fmla="*/ 1102519 h 1126331"/>
                <a:gd name="connsiteX107" fmla="*/ 302419 w 1562100"/>
                <a:gd name="connsiteY107" fmla="*/ 1126331 h 1126331"/>
                <a:gd name="connsiteX108" fmla="*/ 342900 w 1562100"/>
                <a:gd name="connsiteY108" fmla="*/ 1126331 h 1126331"/>
                <a:gd name="connsiteX109" fmla="*/ 390525 w 1562100"/>
                <a:gd name="connsiteY109" fmla="*/ 1121569 h 1126331"/>
                <a:gd name="connsiteX110" fmla="*/ 428625 w 1562100"/>
                <a:gd name="connsiteY110" fmla="*/ 1112044 h 1126331"/>
                <a:gd name="connsiteX111" fmla="*/ 454819 w 1562100"/>
                <a:gd name="connsiteY111" fmla="*/ 1119187 h 1126331"/>
                <a:gd name="connsiteX112" fmla="*/ 473869 w 1562100"/>
                <a:gd name="connsiteY112" fmla="*/ 1097756 h 1126331"/>
                <a:gd name="connsiteX113" fmla="*/ 492919 w 1562100"/>
                <a:gd name="connsiteY113" fmla="*/ 1097756 h 1126331"/>
                <a:gd name="connsiteX114" fmla="*/ 507206 w 1562100"/>
                <a:gd name="connsiteY114" fmla="*/ 1066800 h 1126331"/>
                <a:gd name="connsiteX115" fmla="*/ 557213 w 1562100"/>
                <a:gd name="connsiteY115" fmla="*/ 1052512 h 1126331"/>
                <a:gd name="connsiteX116" fmla="*/ 583406 w 1562100"/>
                <a:gd name="connsiteY116" fmla="*/ 1033462 h 1126331"/>
                <a:gd name="connsiteX117" fmla="*/ 590550 w 1562100"/>
                <a:gd name="connsiteY117" fmla="*/ 995362 h 1126331"/>
                <a:gd name="connsiteX118" fmla="*/ 607219 w 1562100"/>
                <a:gd name="connsiteY118" fmla="*/ 969169 h 1126331"/>
                <a:gd name="connsiteX119" fmla="*/ 688181 w 1562100"/>
                <a:gd name="connsiteY119" fmla="*/ 1000125 h 1126331"/>
                <a:gd name="connsiteX0" fmla="*/ 688181 w 1562100"/>
                <a:gd name="connsiteY0" fmla="*/ 1000125 h 1126331"/>
                <a:gd name="connsiteX1" fmla="*/ 688181 w 1562100"/>
                <a:gd name="connsiteY1" fmla="*/ 914400 h 1126331"/>
                <a:gd name="connsiteX2" fmla="*/ 692944 w 1562100"/>
                <a:gd name="connsiteY2" fmla="*/ 871537 h 1126331"/>
                <a:gd name="connsiteX3" fmla="*/ 692944 w 1562100"/>
                <a:gd name="connsiteY3" fmla="*/ 826294 h 1126331"/>
                <a:gd name="connsiteX4" fmla="*/ 676275 w 1562100"/>
                <a:gd name="connsiteY4" fmla="*/ 802481 h 1126331"/>
                <a:gd name="connsiteX5" fmla="*/ 690563 w 1562100"/>
                <a:gd name="connsiteY5" fmla="*/ 750094 h 1126331"/>
                <a:gd name="connsiteX6" fmla="*/ 685800 w 1562100"/>
                <a:gd name="connsiteY6" fmla="*/ 723900 h 1126331"/>
                <a:gd name="connsiteX7" fmla="*/ 697706 w 1562100"/>
                <a:gd name="connsiteY7" fmla="*/ 678656 h 1126331"/>
                <a:gd name="connsiteX8" fmla="*/ 714375 w 1562100"/>
                <a:gd name="connsiteY8" fmla="*/ 654844 h 1126331"/>
                <a:gd name="connsiteX9" fmla="*/ 721519 w 1562100"/>
                <a:gd name="connsiteY9" fmla="*/ 621506 h 1126331"/>
                <a:gd name="connsiteX10" fmla="*/ 735806 w 1562100"/>
                <a:gd name="connsiteY10" fmla="*/ 602456 h 1126331"/>
                <a:gd name="connsiteX11" fmla="*/ 792956 w 1562100"/>
                <a:gd name="connsiteY11" fmla="*/ 592931 h 1126331"/>
                <a:gd name="connsiteX12" fmla="*/ 838200 w 1562100"/>
                <a:gd name="connsiteY12" fmla="*/ 576262 h 1126331"/>
                <a:gd name="connsiteX13" fmla="*/ 876300 w 1562100"/>
                <a:gd name="connsiteY13" fmla="*/ 535781 h 1126331"/>
                <a:gd name="connsiteX14" fmla="*/ 923925 w 1562100"/>
                <a:gd name="connsiteY14" fmla="*/ 521494 h 1126331"/>
                <a:gd name="connsiteX15" fmla="*/ 995363 w 1562100"/>
                <a:gd name="connsiteY15" fmla="*/ 516731 h 1126331"/>
                <a:gd name="connsiteX16" fmla="*/ 1040606 w 1562100"/>
                <a:gd name="connsiteY16" fmla="*/ 507206 h 1126331"/>
                <a:gd name="connsiteX17" fmla="*/ 1119188 w 1562100"/>
                <a:gd name="connsiteY17" fmla="*/ 400050 h 1126331"/>
                <a:gd name="connsiteX18" fmla="*/ 1126331 w 1562100"/>
                <a:gd name="connsiteY18" fmla="*/ 366712 h 1126331"/>
                <a:gd name="connsiteX19" fmla="*/ 1152525 w 1562100"/>
                <a:gd name="connsiteY19" fmla="*/ 338137 h 1126331"/>
                <a:gd name="connsiteX20" fmla="*/ 1197769 w 1562100"/>
                <a:gd name="connsiteY20" fmla="*/ 328612 h 1126331"/>
                <a:gd name="connsiteX21" fmla="*/ 1290638 w 1562100"/>
                <a:gd name="connsiteY21" fmla="*/ 252412 h 1126331"/>
                <a:gd name="connsiteX22" fmla="*/ 1314450 w 1562100"/>
                <a:gd name="connsiteY22" fmla="*/ 250031 h 1126331"/>
                <a:gd name="connsiteX23" fmla="*/ 1409700 w 1562100"/>
                <a:gd name="connsiteY23" fmla="*/ 169069 h 1126331"/>
                <a:gd name="connsiteX24" fmla="*/ 1414463 w 1562100"/>
                <a:gd name="connsiteY24" fmla="*/ 150019 h 1126331"/>
                <a:gd name="connsiteX25" fmla="*/ 1507331 w 1562100"/>
                <a:gd name="connsiteY25" fmla="*/ 95250 h 1126331"/>
                <a:gd name="connsiteX26" fmla="*/ 1543050 w 1562100"/>
                <a:gd name="connsiteY26" fmla="*/ 50006 h 1126331"/>
                <a:gd name="connsiteX27" fmla="*/ 1562100 w 1562100"/>
                <a:gd name="connsiteY27" fmla="*/ 11906 h 1126331"/>
                <a:gd name="connsiteX28" fmla="*/ 1512094 w 1562100"/>
                <a:gd name="connsiteY28" fmla="*/ 30956 h 1126331"/>
                <a:gd name="connsiteX29" fmla="*/ 1478756 w 1562100"/>
                <a:gd name="connsiteY29" fmla="*/ 30956 h 1126331"/>
                <a:gd name="connsiteX30" fmla="*/ 1452563 w 1562100"/>
                <a:gd name="connsiteY30" fmla="*/ 69056 h 1126331"/>
                <a:gd name="connsiteX31" fmla="*/ 1421606 w 1562100"/>
                <a:gd name="connsiteY31" fmla="*/ 66675 h 1126331"/>
                <a:gd name="connsiteX32" fmla="*/ 1366838 w 1562100"/>
                <a:gd name="connsiteY32" fmla="*/ 35719 h 1126331"/>
                <a:gd name="connsiteX33" fmla="*/ 1323975 w 1562100"/>
                <a:gd name="connsiteY33" fmla="*/ 23812 h 1126331"/>
                <a:gd name="connsiteX34" fmla="*/ 1238250 w 1562100"/>
                <a:gd name="connsiteY34" fmla="*/ 59531 h 1126331"/>
                <a:gd name="connsiteX35" fmla="*/ 1223963 w 1562100"/>
                <a:gd name="connsiteY35" fmla="*/ 97631 h 1126331"/>
                <a:gd name="connsiteX36" fmla="*/ 1195388 w 1562100"/>
                <a:gd name="connsiteY36" fmla="*/ 154781 h 1126331"/>
                <a:gd name="connsiteX37" fmla="*/ 1109663 w 1562100"/>
                <a:gd name="connsiteY37" fmla="*/ 116681 h 1126331"/>
                <a:gd name="connsiteX38" fmla="*/ 1097756 w 1562100"/>
                <a:gd name="connsiteY38" fmla="*/ 159544 h 1126331"/>
                <a:gd name="connsiteX39" fmla="*/ 1083469 w 1562100"/>
                <a:gd name="connsiteY39" fmla="*/ 192881 h 1126331"/>
                <a:gd name="connsiteX40" fmla="*/ 959644 w 1562100"/>
                <a:gd name="connsiteY40" fmla="*/ 223837 h 1126331"/>
                <a:gd name="connsiteX41" fmla="*/ 945356 w 1562100"/>
                <a:gd name="connsiteY41" fmla="*/ 219075 h 1126331"/>
                <a:gd name="connsiteX42" fmla="*/ 926306 w 1562100"/>
                <a:gd name="connsiteY42" fmla="*/ 240506 h 1126331"/>
                <a:gd name="connsiteX43" fmla="*/ 890588 w 1562100"/>
                <a:gd name="connsiteY43" fmla="*/ 247650 h 1126331"/>
                <a:gd name="connsiteX44" fmla="*/ 854869 w 1562100"/>
                <a:gd name="connsiteY44" fmla="*/ 197644 h 1126331"/>
                <a:gd name="connsiteX45" fmla="*/ 835819 w 1562100"/>
                <a:gd name="connsiteY45" fmla="*/ 185737 h 1126331"/>
                <a:gd name="connsiteX46" fmla="*/ 826294 w 1562100"/>
                <a:gd name="connsiteY46" fmla="*/ 140494 h 1126331"/>
                <a:gd name="connsiteX47" fmla="*/ 792956 w 1562100"/>
                <a:gd name="connsiteY47" fmla="*/ 123825 h 1126331"/>
                <a:gd name="connsiteX48" fmla="*/ 759619 w 1562100"/>
                <a:gd name="connsiteY48" fmla="*/ 116681 h 1126331"/>
                <a:gd name="connsiteX49" fmla="*/ 740569 w 1562100"/>
                <a:gd name="connsiteY49" fmla="*/ 111919 h 1126331"/>
                <a:gd name="connsiteX50" fmla="*/ 728663 w 1562100"/>
                <a:gd name="connsiteY50" fmla="*/ 102394 h 1126331"/>
                <a:gd name="connsiteX51" fmla="*/ 735806 w 1562100"/>
                <a:gd name="connsiteY51" fmla="*/ 76200 h 1126331"/>
                <a:gd name="connsiteX52" fmla="*/ 742950 w 1562100"/>
                <a:gd name="connsiteY52" fmla="*/ 52387 h 1126331"/>
                <a:gd name="connsiteX53" fmla="*/ 700088 w 1562100"/>
                <a:gd name="connsiteY53" fmla="*/ 2381 h 1126331"/>
                <a:gd name="connsiteX54" fmla="*/ 378619 w 1562100"/>
                <a:gd name="connsiteY54" fmla="*/ 2381 h 1126331"/>
                <a:gd name="connsiteX55" fmla="*/ 328613 w 1562100"/>
                <a:gd name="connsiteY55" fmla="*/ 0 h 1126331"/>
                <a:gd name="connsiteX56" fmla="*/ 292894 w 1562100"/>
                <a:gd name="connsiteY56" fmla="*/ 102394 h 1126331"/>
                <a:gd name="connsiteX57" fmla="*/ 264319 w 1562100"/>
                <a:gd name="connsiteY57" fmla="*/ 109537 h 1126331"/>
                <a:gd name="connsiteX58" fmla="*/ 261938 w 1562100"/>
                <a:gd name="connsiteY58" fmla="*/ 123825 h 1126331"/>
                <a:gd name="connsiteX59" fmla="*/ 261938 w 1562100"/>
                <a:gd name="connsiteY59" fmla="*/ 157162 h 1126331"/>
                <a:gd name="connsiteX60" fmla="*/ 228600 w 1562100"/>
                <a:gd name="connsiteY60" fmla="*/ 200025 h 1126331"/>
                <a:gd name="connsiteX61" fmla="*/ 271463 w 1562100"/>
                <a:gd name="connsiteY61" fmla="*/ 216694 h 1126331"/>
                <a:gd name="connsiteX62" fmla="*/ 278606 w 1562100"/>
                <a:gd name="connsiteY62" fmla="*/ 235744 h 1126331"/>
                <a:gd name="connsiteX63" fmla="*/ 257175 w 1562100"/>
                <a:gd name="connsiteY63" fmla="*/ 271462 h 1126331"/>
                <a:gd name="connsiteX64" fmla="*/ 221456 w 1562100"/>
                <a:gd name="connsiteY64" fmla="*/ 280987 h 1126331"/>
                <a:gd name="connsiteX65" fmla="*/ 221456 w 1562100"/>
                <a:gd name="connsiteY65" fmla="*/ 321469 h 1126331"/>
                <a:gd name="connsiteX66" fmla="*/ 254794 w 1562100"/>
                <a:gd name="connsiteY66" fmla="*/ 359569 h 1126331"/>
                <a:gd name="connsiteX67" fmla="*/ 226219 w 1562100"/>
                <a:gd name="connsiteY67" fmla="*/ 423862 h 1126331"/>
                <a:gd name="connsiteX68" fmla="*/ 180975 w 1562100"/>
                <a:gd name="connsiteY68" fmla="*/ 452437 h 1126331"/>
                <a:gd name="connsiteX69" fmla="*/ 183356 w 1562100"/>
                <a:gd name="connsiteY69" fmla="*/ 469106 h 1126331"/>
                <a:gd name="connsiteX70" fmla="*/ 204788 w 1562100"/>
                <a:gd name="connsiteY70" fmla="*/ 478631 h 1126331"/>
                <a:gd name="connsiteX71" fmla="*/ 219075 w 1562100"/>
                <a:gd name="connsiteY71" fmla="*/ 488156 h 1126331"/>
                <a:gd name="connsiteX72" fmla="*/ 223838 w 1562100"/>
                <a:gd name="connsiteY72" fmla="*/ 507206 h 1126331"/>
                <a:gd name="connsiteX73" fmla="*/ 195263 w 1562100"/>
                <a:gd name="connsiteY73" fmla="*/ 533400 h 1126331"/>
                <a:gd name="connsiteX74" fmla="*/ 123825 w 1562100"/>
                <a:gd name="connsiteY74" fmla="*/ 578644 h 1126331"/>
                <a:gd name="connsiteX75" fmla="*/ 123825 w 1562100"/>
                <a:gd name="connsiteY75" fmla="*/ 614362 h 1126331"/>
                <a:gd name="connsiteX76" fmla="*/ 135731 w 1562100"/>
                <a:gd name="connsiteY76" fmla="*/ 645319 h 1126331"/>
                <a:gd name="connsiteX77" fmla="*/ 123825 w 1562100"/>
                <a:gd name="connsiteY77" fmla="*/ 685800 h 1126331"/>
                <a:gd name="connsiteX78" fmla="*/ 76200 w 1562100"/>
                <a:gd name="connsiteY78" fmla="*/ 681037 h 1126331"/>
                <a:gd name="connsiteX79" fmla="*/ 52388 w 1562100"/>
                <a:gd name="connsiteY79" fmla="*/ 626269 h 1126331"/>
                <a:gd name="connsiteX80" fmla="*/ 33338 w 1562100"/>
                <a:gd name="connsiteY80" fmla="*/ 619125 h 1126331"/>
                <a:gd name="connsiteX81" fmla="*/ 23813 w 1562100"/>
                <a:gd name="connsiteY81" fmla="*/ 657225 h 1126331"/>
                <a:gd name="connsiteX82" fmla="*/ 21431 w 1562100"/>
                <a:gd name="connsiteY82" fmla="*/ 666750 h 1126331"/>
                <a:gd name="connsiteX83" fmla="*/ 7144 w 1562100"/>
                <a:gd name="connsiteY83" fmla="*/ 683419 h 1126331"/>
                <a:gd name="connsiteX84" fmla="*/ 0 w 1562100"/>
                <a:gd name="connsiteY84" fmla="*/ 740569 h 1126331"/>
                <a:gd name="connsiteX85" fmla="*/ 23813 w 1562100"/>
                <a:gd name="connsiteY85" fmla="*/ 769144 h 1126331"/>
                <a:gd name="connsiteX86" fmla="*/ 16669 w 1562100"/>
                <a:gd name="connsiteY86" fmla="*/ 809625 h 1126331"/>
                <a:gd name="connsiteX87" fmla="*/ 35719 w 1562100"/>
                <a:gd name="connsiteY87" fmla="*/ 814387 h 1126331"/>
                <a:gd name="connsiteX88" fmla="*/ 69056 w 1562100"/>
                <a:gd name="connsiteY88" fmla="*/ 814387 h 1126331"/>
                <a:gd name="connsiteX89" fmla="*/ 85725 w 1562100"/>
                <a:gd name="connsiteY89" fmla="*/ 804862 h 1126331"/>
                <a:gd name="connsiteX90" fmla="*/ 135731 w 1562100"/>
                <a:gd name="connsiteY90" fmla="*/ 862012 h 1126331"/>
                <a:gd name="connsiteX91" fmla="*/ 123825 w 1562100"/>
                <a:gd name="connsiteY91" fmla="*/ 881062 h 1126331"/>
                <a:gd name="connsiteX92" fmla="*/ 133350 w 1562100"/>
                <a:gd name="connsiteY92" fmla="*/ 909637 h 1126331"/>
                <a:gd name="connsiteX93" fmla="*/ 164306 w 1562100"/>
                <a:gd name="connsiteY93" fmla="*/ 928687 h 1126331"/>
                <a:gd name="connsiteX94" fmla="*/ 190500 w 1562100"/>
                <a:gd name="connsiteY94" fmla="*/ 938212 h 1126331"/>
                <a:gd name="connsiteX95" fmla="*/ 216694 w 1562100"/>
                <a:gd name="connsiteY95" fmla="*/ 945356 h 1126331"/>
                <a:gd name="connsiteX96" fmla="*/ 228600 w 1562100"/>
                <a:gd name="connsiteY96" fmla="*/ 947737 h 1126331"/>
                <a:gd name="connsiteX97" fmla="*/ 240506 w 1562100"/>
                <a:gd name="connsiteY97" fmla="*/ 909637 h 1126331"/>
                <a:gd name="connsiteX98" fmla="*/ 269081 w 1562100"/>
                <a:gd name="connsiteY98" fmla="*/ 914400 h 1126331"/>
                <a:gd name="connsiteX99" fmla="*/ 288131 w 1562100"/>
                <a:gd name="connsiteY99" fmla="*/ 902494 h 1126331"/>
                <a:gd name="connsiteX100" fmla="*/ 307181 w 1562100"/>
                <a:gd name="connsiteY100" fmla="*/ 952500 h 1126331"/>
                <a:gd name="connsiteX101" fmla="*/ 330994 w 1562100"/>
                <a:gd name="connsiteY101" fmla="*/ 966787 h 1126331"/>
                <a:gd name="connsiteX102" fmla="*/ 340519 w 1562100"/>
                <a:gd name="connsiteY102" fmla="*/ 995362 h 1126331"/>
                <a:gd name="connsiteX103" fmla="*/ 357188 w 1562100"/>
                <a:gd name="connsiteY103" fmla="*/ 1004887 h 1126331"/>
                <a:gd name="connsiteX104" fmla="*/ 364331 w 1562100"/>
                <a:gd name="connsiteY104" fmla="*/ 1035844 h 1126331"/>
                <a:gd name="connsiteX105" fmla="*/ 335756 w 1562100"/>
                <a:gd name="connsiteY105" fmla="*/ 1062037 h 1126331"/>
                <a:gd name="connsiteX106" fmla="*/ 309563 w 1562100"/>
                <a:gd name="connsiteY106" fmla="*/ 1078706 h 1126331"/>
                <a:gd name="connsiteX107" fmla="*/ 297656 w 1562100"/>
                <a:gd name="connsiteY107" fmla="*/ 1102519 h 1126331"/>
                <a:gd name="connsiteX108" fmla="*/ 302419 w 1562100"/>
                <a:gd name="connsiteY108" fmla="*/ 1126331 h 1126331"/>
                <a:gd name="connsiteX109" fmla="*/ 342900 w 1562100"/>
                <a:gd name="connsiteY109" fmla="*/ 1126331 h 1126331"/>
                <a:gd name="connsiteX110" fmla="*/ 390525 w 1562100"/>
                <a:gd name="connsiteY110" fmla="*/ 1121569 h 1126331"/>
                <a:gd name="connsiteX111" fmla="*/ 428625 w 1562100"/>
                <a:gd name="connsiteY111" fmla="*/ 1112044 h 1126331"/>
                <a:gd name="connsiteX112" fmla="*/ 454819 w 1562100"/>
                <a:gd name="connsiteY112" fmla="*/ 1119187 h 1126331"/>
                <a:gd name="connsiteX113" fmla="*/ 473869 w 1562100"/>
                <a:gd name="connsiteY113" fmla="*/ 1097756 h 1126331"/>
                <a:gd name="connsiteX114" fmla="*/ 492919 w 1562100"/>
                <a:gd name="connsiteY114" fmla="*/ 1097756 h 1126331"/>
                <a:gd name="connsiteX115" fmla="*/ 507206 w 1562100"/>
                <a:gd name="connsiteY115" fmla="*/ 1066800 h 1126331"/>
                <a:gd name="connsiteX116" fmla="*/ 557213 w 1562100"/>
                <a:gd name="connsiteY116" fmla="*/ 1052512 h 1126331"/>
                <a:gd name="connsiteX117" fmla="*/ 583406 w 1562100"/>
                <a:gd name="connsiteY117" fmla="*/ 1033462 h 1126331"/>
                <a:gd name="connsiteX118" fmla="*/ 590550 w 1562100"/>
                <a:gd name="connsiteY118" fmla="*/ 995362 h 1126331"/>
                <a:gd name="connsiteX119" fmla="*/ 607219 w 1562100"/>
                <a:gd name="connsiteY119" fmla="*/ 969169 h 1126331"/>
                <a:gd name="connsiteX120" fmla="*/ 688181 w 1562100"/>
                <a:gd name="connsiteY120" fmla="*/ 1000125 h 1126331"/>
                <a:gd name="connsiteX0" fmla="*/ 688181 w 1562100"/>
                <a:gd name="connsiteY0" fmla="*/ 1078707 h 1204913"/>
                <a:gd name="connsiteX1" fmla="*/ 688181 w 1562100"/>
                <a:gd name="connsiteY1" fmla="*/ 992982 h 1204913"/>
                <a:gd name="connsiteX2" fmla="*/ 692944 w 1562100"/>
                <a:gd name="connsiteY2" fmla="*/ 950119 h 1204913"/>
                <a:gd name="connsiteX3" fmla="*/ 692944 w 1562100"/>
                <a:gd name="connsiteY3" fmla="*/ 904876 h 1204913"/>
                <a:gd name="connsiteX4" fmla="*/ 676275 w 1562100"/>
                <a:gd name="connsiteY4" fmla="*/ 881063 h 1204913"/>
                <a:gd name="connsiteX5" fmla="*/ 690563 w 1562100"/>
                <a:gd name="connsiteY5" fmla="*/ 828676 h 1204913"/>
                <a:gd name="connsiteX6" fmla="*/ 685800 w 1562100"/>
                <a:gd name="connsiteY6" fmla="*/ 802482 h 1204913"/>
                <a:gd name="connsiteX7" fmla="*/ 697706 w 1562100"/>
                <a:gd name="connsiteY7" fmla="*/ 757238 h 1204913"/>
                <a:gd name="connsiteX8" fmla="*/ 714375 w 1562100"/>
                <a:gd name="connsiteY8" fmla="*/ 733426 h 1204913"/>
                <a:gd name="connsiteX9" fmla="*/ 721519 w 1562100"/>
                <a:gd name="connsiteY9" fmla="*/ 700088 h 1204913"/>
                <a:gd name="connsiteX10" fmla="*/ 735806 w 1562100"/>
                <a:gd name="connsiteY10" fmla="*/ 681038 h 1204913"/>
                <a:gd name="connsiteX11" fmla="*/ 792956 w 1562100"/>
                <a:gd name="connsiteY11" fmla="*/ 671513 h 1204913"/>
                <a:gd name="connsiteX12" fmla="*/ 838200 w 1562100"/>
                <a:gd name="connsiteY12" fmla="*/ 654844 h 1204913"/>
                <a:gd name="connsiteX13" fmla="*/ 876300 w 1562100"/>
                <a:gd name="connsiteY13" fmla="*/ 614363 h 1204913"/>
                <a:gd name="connsiteX14" fmla="*/ 923925 w 1562100"/>
                <a:gd name="connsiteY14" fmla="*/ 600076 h 1204913"/>
                <a:gd name="connsiteX15" fmla="*/ 995363 w 1562100"/>
                <a:gd name="connsiteY15" fmla="*/ 595313 h 1204913"/>
                <a:gd name="connsiteX16" fmla="*/ 1040606 w 1562100"/>
                <a:gd name="connsiteY16" fmla="*/ 585788 h 1204913"/>
                <a:gd name="connsiteX17" fmla="*/ 1119188 w 1562100"/>
                <a:gd name="connsiteY17" fmla="*/ 478632 h 1204913"/>
                <a:gd name="connsiteX18" fmla="*/ 1126331 w 1562100"/>
                <a:gd name="connsiteY18" fmla="*/ 445294 h 1204913"/>
                <a:gd name="connsiteX19" fmla="*/ 1152525 w 1562100"/>
                <a:gd name="connsiteY19" fmla="*/ 416719 h 1204913"/>
                <a:gd name="connsiteX20" fmla="*/ 1197769 w 1562100"/>
                <a:gd name="connsiteY20" fmla="*/ 407194 h 1204913"/>
                <a:gd name="connsiteX21" fmla="*/ 1290638 w 1562100"/>
                <a:gd name="connsiteY21" fmla="*/ 330994 h 1204913"/>
                <a:gd name="connsiteX22" fmla="*/ 1314450 w 1562100"/>
                <a:gd name="connsiteY22" fmla="*/ 328613 h 1204913"/>
                <a:gd name="connsiteX23" fmla="*/ 1409700 w 1562100"/>
                <a:gd name="connsiteY23" fmla="*/ 247651 h 1204913"/>
                <a:gd name="connsiteX24" fmla="*/ 1414463 w 1562100"/>
                <a:gd name="connsiteY24" fmla="*/ 228601 h 1204913"/>
                <a:gd name="connsiteX25" fmla="*/ 1507331 w 1562100"/>
                <a:gd name="connsiteY25" fmla="*/ 173832 h 1204913"/>
                <a:gd name="connsiteX26" fmla="*/ 1543050 w 1562100"/>
                <a:gd name="connsiteY26" fmla="*/ 128588 h 1204913"/>
                <a:gd name="connsiteX27" fmla="*/ 1562100 w 1562100"/>
                <a:gd name="connsiteY27" fmla="*/ 90488 h 1204913"/>
                <a:gd name="connsiteX28" fmla="*/ 1512094 w 1562100"/>
                <a:gd name="connsiteY28" fmla="*/ 109538 h 1204913"/>
                <a:gd name="connsiteX29" fmla="*/ 1478756 w 1562100"/>
                <a:gd name="connsiteY29" fmla="*/ 109538 h 1204913"/>
                <a:gd name="connsiteX30" fmla="*/ 1452563 w 1562100"/>
                <a:gd name="connsiteY30" fmla="*/ 147638 h 1204913"/>
                <a:gd name="connsiteX31" fmla="*/ 1421606 w 1562100"/>
                <a:gd name="connsiteY31" fmla="*/ 145257 h 1204913"/>
                <a:gd name="connsiteX32" fmla="*/ 1366838 w 1562100"/>
                <a:gd name="connsiteY32" fmla="*/ 114301 h 1204913"/>
                <a:gd name="connsiteX33" fmla="*/ 1323975 w 1562100"/>
                <a:gd name="connsiteY33" fmla="*/ 102394 h 1204913"/>
                <a:gd name="connsiteX34" fmla="*/ 1238250 w 1562100"/>
                <a:gd name="connsiteY34" fmla="*/ 138113 h 1204913"/>
                <a:gd name="connsiteX35" fmla="*/ 1223963 w 1562100"/>
                <a:gd name="connsiteY35" fmla="*/ 176213 h 1204913"/>
                <a:gd name="connsiteX36" fmla="*/ 1195388 w 1562100"/>
                <a:gd name="connsiteY36" fmla="*/ 233363 h 1204913"/>
                <a:gd name="connsiteX37" fmla="*/ 1109663 w 1562100"/>
                <a:gd name="connsiteY37" fmla="*/ 195263 h 1204913"/>
                <a:gd name="connsiteX38" fmla="*/ 1097756 w 1562100"/>
                <a:gd name="connsiteY38" fmla="*/ 238126 h 1204913"/>
                <a:gd name="connsiteX39" fmla="*/ 1083469 w 1562100"/>
                <a:gd name="connsiteY39" fmla="*/ 271463 h 1204913"/>
                <a:gd name="connsiteX40" fmla="*/ 959644 w 1562100"/>
                <a:gd name="connsiteY40" fmla="*/ 302419 h 1204913"/>
                <a:gd name="connsiteX41" fmla="*/ 945356 w 1562100"/>
                <a:gd name="connsiteY41" fmla="*/ 297657 h 1204913"/>
                <a:gd name="connsiteX42" fmla="*/ 926306 w 1562100"/>
                <a:gd name="connsiteY42" fmla="*/ 319088 h 1204913"/>
                <a:gd name="connsiteX43" fmla="*/ 890588 w 1562100"/>
                <a:gd name="connsiteY43" fmla="*/ 326232 h 1204913"/>
                <a:gd name="connsiteX44" fmla="*/ 854869 w 1562100"/>
                <a:gd name="connsiteY44" fmla="*/ 276226 h 1204913"/>
                <a:gd name="connsiteX45" fmla="*/ 835819 w 1562100"/>
                <a:gd name="connsiteY45" fmla="*/ 264319 h 1204913"/>
                <a:gd name="connsiteX46" fmla="*/ 826294 w 1562100"/>
                <a:gd name="connsiteY46" fmla="*/ 219076 h 1204913"/>
                <a:gd name="connsiteX47" fmla="*/ 792956 w 1562100"/>
                <a:gd name="connsiteY47" fmla="*/ 202407 h 1204913"/>
                <a:gd name="connsiteX48" fmla="*/ 759619 w 1562100"/>
                <a:gd name="connsiteY48" fmla="*/ 195263 h 1204913"/>
                <a:gd name="connsiteX49" fmla="*/ 740569 w 1562100"/>
                <a:gd name="connsiteY49" fmla="*/ 190501 h 1204913"/>
                <a:gd name="connsiteX50" fmla="*/ 728663 w 1562100"/>
                <a:gd name="connsiteY50" fmla="*/ 180976 h 1204913"/>
                <a:gd name="connsiteX51" fmla="*/ 735806 w 1562100"/>
                <a:gd name="connsiteY51" fmla="*/ 154782 h 1204913"/>
                <a:gd name="connsiteX52" fmla="*/ 742950 w 1562100"/>
                <a:gd name="connsiteY52" fmla="*/ 130969 h 1204913"/>
                <a:gd name="connsiteX53" fmla="*/ 700088 w 1562100"/>
                <a:gd name="connsiteY53" fmla="*/ 80963 h 1204913"/>
                <a:gd name="connsiteX54" fmla="*/ 314326 w 1562100"/>
                <a:gd name="connsiteY54" fmla="*/ 0 h 1204913"/>
                <a:gd name="connsiteX55" fmla="*/ 328613 w 1562100"/>
                <a:gd name="connsiteY55" fmla="*/ 78582 h 1204913"/>
                <a:gd name="connsiteX56" fmla="*/ 292894 w 1562100"/>
                <a:gd name="connsiteY56" fmla="*/ 180976 h 1204913"/>
                <a:gd name="connsiteX57" fmla="*/ 264319 w 1562100"/>
                <a:gd name="connsiteY57" fmla="*/ 188119 h 1204913"/>
                <a:gd name="connsiteX58" fmla="*/ 261938 w 1562100"/>
                <a:gd name="connsiteY58" fmla="*/ 202407 h 1204913"/>
                <a:gd name="connsiteX59" fmla="*/ 261938 w 1562100"/>
                <a:gd name="connsiteY59" fmla="*/ 235744 h 1204913"/>
                <a:gd name="connsiteX60" fmla="*/ 228600 w 1562100"/>
                <a:gd name="connsiteY60" fmla="*/ 278607 h 1204913"/>
                <a:gd name="connsiteX61" fmla="*/ 271463 w 1562100"/>
                <a:gd name="connsiteY61" fmla="*/ 295276 h 1204913"/>
                <a:gd name="connsiteX62" fmla="*/ 278606 w 1562100"/>
                <a:gd name="connsiteY62" fmla="*/ 314326 h 1204913"/>
                <a:gd name="connsiteX63" fmla="*/ 257175 w 1562100"/>
                <a:gd name="connsiteY63" fmla="*/ 350044 h 1204913"/>
                <a:gd name="connsiteX64" fmla="*/ 221456 w 1562100"/>
                <a:gd name="connsiteY64" fmla="*/ 359569 h 1204913"/>
                <a:gd name="connsiteX65" fmla="*/ 221456 w 1562100"/>
                <a:gd name="connsiteY65" fmla="*/ 400051 h 1204913"/>
                <a:gd name="connsiteX66" fmla="*/ 254794 w 1562100"/>
                <a:gd name="connsiteY66" fmla="*/ 438151 h 1204913"/>
                <a:gd name="connsiteX67" fmla="*/ 226219 w 1562100"/>
                <a:gd name="connsiteY67" fmla="*/ 502444 h 1204913"/>
                <a:gd name="connsiteX68" fmla="*/ 180975 w 1562100"/>
                <a:gd name="connsiteY68" fmla="*/ 531019 h 1204913"/>
                <a:gd name="connsiteX69" fmla="*/ 183356 w 1562100"/>
                <a:gd name="connsiteY69" fmla="*/ 547688 h 1204913"/>
                <a:gd name="connsiteX70" fmla="*/ 204788 w 1562100"/>
                <a:gd name="connsiteY70" fmla="*/ 557213 h 1204913"/>
                <a:gd name="connsiteX71" fmla="*/ 219075 w 1562100"/>
                <a:gd name="connsiteY71" fmla="*/ 566738 h 1204913"/>
                <a:gd name="connsiteX72" fmla="*/ 223838 w 1562100"/>
                <a:gd name="connsiteY72" fmla="*/ 585788 h 1204913"/>
                <a:gd name="connsiteX73" fmla="*/ 195263 w 1562100"/>
                <a:gd name="connsiteY73" fmla="*/ 611982 h 1204913"/>
                <a:gd name="connsiteX74" fmla="*/ 123825 w 1562100"/>
                <a:gd name="connsiteY74" fmla="*/ 657226 h 1204913"/>
                <a:gd name="connsiteX75" fmla="*/ 123825 w 1562100"/>
                <a:gd name="connsiteY75" fmla="*/ 692944 h 1204913"/>
                <a:gd name="connsiteX76" fmla="*/ 135731 w 1562100"/>
                <a:gd name="connsiteY76" fmla="*/ 723901 h 1204913"/>
                <a:gd name="connsiteX77" fmla="*/ 123825 w 1562100"/>
                <a:gd name="connsiteY77" fmla="*/ 764382 h 1204913"/>
                <a:gd name="connsiteX78" fmla="*/ 76200 w 1562100"/>
                <a:gd name="connsiteY78" fmla="*/ 759619 h 1204913"/>
                <a:gd name="connsiteX79" fmla="*/ 52388 w 1562100"/>
                <a:gd name="connsiteY79" fmla="*/ 704851 h 1204913"/>
                <a:gd name="connsiteX80" fmla="*/ 33338 w 1562100"/>
                <a:gd name="connsiteY80" fmla="*/ 697707 h 1204913"/>
                <a:gd name="connsiteX81" fmla="*/ 23813 w 1562100"/>
                <a:gd name="connsiteY81" fmla="*/ 735807 h 1204913"/>
                <a:gd name="connsiteX82" fmla="*/ 21431 w 1562100"/>
                <a:gd name="connsiteY82" fmla="*/ 745332 h 1204913"/>
                <a:gd name="connsiteX83" fmla="*/ 7144 w 1562100"/>
                <a:gd name="connsiteY83" fmla="*/ 762001 h 1204913"/>
                <a:gd name="connsiteX84" fmla="*/ 0 w 1562100"/>
                <a:gd name="connsiteY84" fmla="*/ 819151 h 1204913"/>
                <a:gd name="connsiteX85" fmla="*/ 23813 w 1562100"/>
                <a:gd name="connsiteY85" fmla="*/ 847726 h 1204913"/>
                <a:gd name="connsiteX86" fmla="*/ 16669 w 1562100"/>
                <a:gd name="connsiteY86" fmla="*/ 888207 h 1204913"/>
                <a:gd name="connsiteX87" fmla="*/ 35719 w 1562100"/>
                <a:gd name="connsiteY87" fmla="*/ 892969 h 1204913"/>
                <a:gd name="connsiteX88" fmla="*/ 69056 w 1562100"/>
                <a:gd name="connsiteY88" fmla="*/ 892969 h 1204913"/>
                <a:gd name="connsiteX89" fmla="*/ 85725 w 1562100"/>
                <a:gd name="connsiteY89" fmla="*/ 883444 h 1204913"/>
                <a:gd name="connsiteX90" fmla="*/ 135731 w 1562100"/>
                <a:gd name="connsiteY90" fmla="*/ 940594 h 1204913"/>
                <a:gd name="connsiteX91" fmla="*/ 123825 w 1562100"/>
                <a:gd name="connsiteY91" fmla="*/ 959644 h 1204913"/>
                <a:gd name="connsiteX92" fmla="*/ 133350 w 1562100"/>
                <a:gd name="connsiteY92" fmla="*/ 988219 h 1204913"/>
                <a:gd name="connsiteX93" fmla="*/ 164306 w 1562100"/>
                <a:gd name="connsiteY93" fmla="*/ 1007269 h 1204913"/>
                <a:gd name="connsiteX94" fmla="*/ 190500 w 1562100"/>
                <a:gd name="connsiteY94" fmla="*/ 1016794 h 1204913"/>
                <a:gd name="connsiteX95" fmla="*/ 216694 w 1562100"/>
                <a:gd name="connsiteY95" fmla="*/ 1023938 h 1204913"/>
                <a:gd name="connsiteX96" fmla="*/ 228600 w 1562100"/>
                <a:gd name="connsiteY96" fmla="*/ 1026319 h 1204913"/>
                <a:gd name="connsiteX97" fmla="*/ 240506 w 1562100"/>
                <a:gd name="connsiteY97" fmla="*/ 988219 h 1204913"/>
                <a:gd name="connsiteX98" fmla="*/ 269081 w 1562100"/>
                <a:gd name="connsiteY98" fmla="*/ 992982 h 1204913"/>
                <a:gd name="connsiteX99" fmla="*/ 288131 w 1562100"/>
                <a:gd name="connsiteY99" fmla="*/ 981076 h 1204913"/>
                <a:gd name="connsiteX100" fmla="*/ 307181 w 1562100"/>
                <a:gd name="connsiteY100" fmla="*/ 1031082 h 1204913"/>
                <a:gd name="connsiteX101" fmla="*/ 330994 w 1562100"/>
                <a:gd name="connsiteY101" fmla="*/ 1045369 h 1204913"/>
                <a:gd name="connsiteX102" fmla="*/ 340519 w 1562100"/>
                <a:gd name="connsiteY102" fmla="*/ 1073944 h 1204913"/>
                <a:gd name="connsiteX103" fmla="*/ 357188 w 1562100"/>
                <a:gd name="connsiteY103" fmla="*/ 1083469 h 1204913"/>
                <a:gd name="connsiteX104" fmla="*/ 364331 w 1562100"/>
                <a:gd name="connsiteY104" fmla="*/ 1114426 h 1204913"/>
                <a:gd name="connsiteX105" fmla="*/ 335756 w 1562100"/>
                <a:gd name="connsiteY105" fmla="*/ 1140619 h 1204913"/>
                <a:gd name="connsiteX106" fmla="*/ 309563 w 1562100"/>
                <a:gd name="connsiteY106" fmla="*/ 1157288 h 1204913"/>
                <a:gd name="connsiteX107" fmla="*/ 297656 w 1562100"/>
                <a:gd name="connsiteY107" fmla="*/ 1181101 h 1204913"/>
                <a:gd name="connsiteX108" fmla="*/ 302419 w 1562100"/>
                <a:gd name="connsiteY108" fmla="*/ 1204913 h 1204913"/>
                <a:gd name="connsiteX109" fmla="*/ 342900 w 1562100"/>
                <a:gd name="connsiteY109" fmla="*/ 1204913 h 1204913"/>
                <a:gd name="connsiteX110" fmla="*/ 390525 w 1562100"/>
                <a:gd name="connsiteY110" fmla="*/ 1200151 h 1204913"/>
                <a:gd name="connsiteX111" fmla="*/ 428625 w 1562100"/>
                <a:gd name="connsiteY111" fmla="*/ 1190626 h 1204913"/>
                <a:gd name="connsiteX112" fmla="*/ 454819 w 1562100"/>
                <a:gd name="connsiteY112" fmla="*/ 1197769 h 1204913"/>
                <a:gd name="connsiteX113" fmla="*/ 473869 w 1562100"/>
                <a:gd name="connsiteY113" fmla="*/ 1176338 h 1204913"/>
                <a:gd name="connsiteX114" fmla="*/ 492919 w 1562100"/>
                <a:gd name="connsiteY114" fmla="*/ 1176338 h 1204913"/>
                <a:gd name="connsiteX115" fmla="*/ 507206 w 1562100"/>
                <a:gd name="connsiteY115" fmla="*/ 1145382 h 1204913"/>
                <a:gd name="connsiteX116" fmla="*/ 557213 w 1562100"/>
                <a:gd name="connsiteY116" fmla="*/ 1131094 h 1204913"/>
                <a:gd name="connsiteX117" fmla="*/ 583406 w 1562100"/>
                <a:gd name="connsiteY117" fmla="*/ 1112044 h 1204913"/>
                <a:gd name="connsiteX118" fmla="*/ 590550 w 1562100"/>
                <a:gd name="connsiteY118" fmla="*/ 1073944 h 1204913"/>
                <a:gd name="connsiteX119" fmla="*/ 607219 w 1562100"/>
                <a:gd name="connsiteY119" fmla="*/ 1047751 h 1204913"/>
                <a:gd name="connsiteX120" fmla="*/ 688181 w 1562100"/>
                <a:gd name="connsiteY120" fmla="*/ 1078707 h 1204913"/>
                <a:gd name="connsiteX0" fmla="*/ 688181 w 1562100"/>
                <a:gd name="connsiteY0" fmla="*/ 1078707 h 1204913"/>
                <a:gd name="connsiteX1" fmla="*/ 688181 w 1562100"/>
                <a:gd name="connsiteY1" fmla="*/ 992982 h 1204913"/>
                <a:gd name="connsiteX2" fmla="*/ 692944 w 1562100"/>
                <a:gd name="connsiteY2" fmla="*/ 950119 h 1204913"/>
                <a:gd name="connsiteX3" fmla="*/ 692944 w 1562100"/>
                <a:gd name="connsiteY3" fmla="*/ 904876 h 1204913"/>
                <a:gd name="connsiteX4" fmla="*/ 676275 w 1562100"/>
                <a:gd name="connsiteY4" fmla="*/ 881063 h 1204913"/>
                <a:gd name="connsiteX5" fmla="*/ 690563 w 1562100"/>
                <a:gd name="connsiteY5" fmla="*/ 828676 h 1204913"/>
                <a:gd name="connsiteX6" fmla="*/ 685800 w 1562100"/>
                <a:gd name="connsiteY6" fmla="*/ 802482 h 1204913"/>
                <a:gd name="connsiteX7" fmla="*/ 697706 w 1562100"/>
                <a:gd name="connsiteY7" fmla="*/ 757238 h 1204913"/>
                <a:gd name="connsiteX8" fmla="*/ 714375 w 1562100"/>
                <a:gd name="connsiteY8" fmla="*/ 733426 h 1204913"/>
                <a:gd name="connsiteX9" fmla="*/ 721519 w 1562100"/>
                <a:gd name="connsiteY9" fmla="*/ 700088 h 1204913"/>
                <a:gd name="connsiteX10" fmla="*/ 735806 w 1562100"/>
                <a:gd name="connsiteY10" fmla="*/ 681038 h 1204913"/>
                <a:gd name="connsiteX11" fmla="*/ 792956 w 1562100"/>
                <a:gd name="connsiteY11" fmla="*/ 671513 h 1204913"/>
                <a:gd name="connsiteX12" fmla="*/ 838200 w 1562100"/>
                <a:gd name="connsiteY12" fmla="*/ 654844 h 1204913"/>
                <a:gd name="connsiteX13" fmla="*/ 876300 w 1562100"/>
                <a:gd name="connsiteY13" fmla="*/ 614363 h 1204913"/>
                <a:gd name="connsiteX14" fmla="*/ 923925 w 1562100"/>
                <a:gd name="connsiteY14" fmla="*/ 600076 h 1204913"/>
                <a:gd name="connsiteX15" fmla="*/ 995363 w 1562100"/>
                <a:gd name="connsiteY15" fmla="*/ 595313 h 1204913"/>
                <a:gd name="connsiteX16" fmla="*/ 1040606 w 1562100"/>
                <a:gd name="connsiteY16" fmla="*/ 585788 h 1204913"/>
                <a:gd name="connsiteX17" fmla="*/ 1119188 w 1562100"/>
                <a:gd name="connsiteY17" fmla="*/ 478632 h 1204913"/>
                <a:gd name="connsiteX18" fmla="*/ 1126331 w 1562100"/>
                <a:gd name="connsiteY18" fmla="*/ 445294 h 1204913"/>
                <a:gd name="connsiteX19" fmla="*/ 1152525 w 1562100"/>
                <a:gd name="connsiteY19" fmla="*/ 416719 h 1204913"/>
                <a:gd name="connsiteX20" fmla="*/ 1197769 w 1562100"/>
                <a:gd name="connsiteY20" fmla="*/ 407194 h 1204913"/>
                <a:gd name="connsiteX21" fmla="*/ 1290638 w 1562100"/>
                <a:gd name="connsiteY21" fmla="*/ 330994 h 1204913"/>
                <a:gd name="connsiteX22" fmla="*/ 1314450 w 1562100"/>
                <a:gd name="connsiteY22" fmla="*/ 328613 h 1204913"/>
                <a:gd name="connsiteX23" fmla="*/ 1409700 w 1562100"/>
                <a:gd name="connsiteY23" fmla="*/ 247651 h 1204913"/>
                <a:gd name="connsiteX24" fmla="*/ 1414463 w 1562100"/>
                <a:gd name="connsiteY24" fmla="*/ 228601 h 1204913"/>
                <a:gd name="connsiteX25" fmla="*/ 1507331 w 1562100"/>
                <a:gd name="connsiteY25" fmla="*/ 173832 h 1204913"/>
                <a:gd name="connsiteX26" fmla="*/ 1543050 w 1562100"/>
                <a:gd name="connsiteY26" fmla="*/ 128588 h 1204913"/>
                <a:gd name="connsiteX27" fmla="*/ 1562100 w 1562100"/>
                <a:gd name="connsiteY27" fmla="*/ 90488 h 1204913"/>
                <a:gd name="connsiteX28" fmla="*/ 1512094 w 1562100"/>
                <a:gd name="connsiteY28" fmla="*/ 109538 h 1204913"/>
                <a:gd name="connsiteX29" fmla="*/ 1478756 w 1562100"/>
                <a:gd name="connsiteY29" fmla="*/ 109538 h 1204913"/>
                <a:gd name="connsiteX30" fmla="*/ 1452563 w 1562100"/>
                <a:gd name="connsiteY30" fmla="*/ 147638 h 1204913"/>
                <a:gd name="connsiteX31" fmla="*/ 1421606 w 1562100"/>
                <a:gd name="connsiteY31" fmla="*/ 145257 h 1204913"/>
                <a:gd name="connsiteX32" fmla="*/ 1366838 w 1562100"/>
                <a:gd name="connsiteY32" fmla="*/ 114301 h 1204913"/>
                <a:gd name="connsiteX33" fmla="*/ 1323975 w 1562100"/>
                <a:gd name="connsiteY33" fmla="*/ 102394 h 1204913"/>
                <a:gd name="connsiteX34" fmla="*/ 1238250 w 1562100"/>
                <a:gd name="connsiteY34" fmla="*/ 138113 h 1204913"/>
                <a:gd name="connsiteX35" fmla="*/ 1223963 w 1562100"/>
                <a:gd name="connsiteY35" fmla="*/ 176213 h 1204913"/>
                <a:gd name="connsiteX36" fmla="*/ 1195388 w 1562100"/>
                <a:gd name="connsiteY36" fmla="*/ 233363 h 1204913"/>
                <a:gd name="connsiteX37" fmla="*/ 1109663 w 1562100"/>
                <a:gd name="connsiteY37" fmla="*/ 195263 h 1204913"/>
                <a:gd name="connsiteX38" fmla="*/ 1097756 w 1562100"/>
                <a:gd name="connsiteY38" fmla="*/ 238126 h 1204913"/>
                <a:gd name="connsiteX39" fmla="*/ 1083469 w 1562100"/>
                <a:gd name="connsiteY39" fmla="*/ 271463 h 1204913"/>
                <a:gd name="connsiteX40" fmla="*/ 959644 w 1562100"/>
                <a:gd name="connsiteY40" fmla="*/ 302419 h 1204913"/>
                <a:gd name="connsiteX41" fmla="*/ 945356 w 1562100"/>
                <a:gd name="connsiteY41" fmla="*/ 297657 h 1204913"/>
                <a:gd name="connsiteX42" fmla="*/ 926306 w 1562100"/>
                <a:gd name="connsiteY42" fmla="*/ 319088 h 1204913"/>
                <a:gd name="connsiteX43" fmla="*/ 890588 w 1562100"/>
                <a:gd name="connsiteY43" fmla="*/ 326232 h 1204913"/>
                <a:gd name="connsiteX44" fmla="*/ 854869 w 1562100"/>
                <a:gd name="connsiteY44" fmla="*/ 276226 h 1204913"/>
                <a:gd name="connsiteX45" fmla="*/ 835819 w 1562100"/>
                <a:gd name="connsiteY45" fmla="*/ 264319 h 1204913"/>
                <a:gd name="connsiteX46" fmla="*/ 826294 w 1562100"/>
                <a:gd name="connsiteY46" fmla="*/ 219076 h 1204913"/>
                <a:gd name="connsiteX47" fmla="*/ 792956 w 1562100"/>
                <a:gd name="connsiteY47" fmla="*/ 202407 h 1204913"/>
                <a:gd name="connsiteX48" fmla="*/ 759619 w 1562100"/>
                <a:gd name="connsiteY48" fmla="*/ 195263 h 1204913"/>
                <a:gd name="connsiteX49" fmla="*/ 740569 w 1562100"/>
                <a:gd name="connsiteY49" fmla="*/ 190501 h 1204913"/>
                <a:gd name="connsiteX50" fmla="*/ 728663 w 1562100"/>
                <a:gd name="connsiteY50" fmla="*/ 180976 h 1204913"/>
                <a:gd name="connsiteX51" fmla="*/ 735806 w 1562100"/>
                <a:gd name="connsiteY51" fmla="*/ 154782 h 1204913"/>
                <a:gd name="connsiteX52" fmla="*/ 742950 w 1562100"/>
                <a:gd name="connsiteY52" fmla="*/ 130969 h 1204913"/>
                <a:gd name="connsiteX53" fmla="*/ 700088 w 1562100"/>
                <a:gd name="connsiteY53" fmla="*/ 80963 h 1204913"/>
                <a:gd name="connsiteX54" fmla="*/ 392906 w 1562100"/>
                <a:gd name="connsiteY54" fmla="*/ 19051 h 1204913"/>
                <a:gd name="connsiteX55" fmla="*/ 314326 w 1562100"/>
                <a:gd name="connsiteY55" fmla="*/ 0 h 1204913"/>
                <a:gd name="connsiteX56" fmla="*/ 328613 w 1562100"/>
                <a:gd name="connsiteY56" fmla="*/ 78582 h 1204913"/>
                <a:gd name="connsiteX57" fmla="*/ 292894 w 1562100"/>
                <a:gd name="connsiteY57" fmla="*/ 180976 h 1204913"/>
                <a:gd name="connsiteX58" fmla="*/ 264319 w 1562100"/>
                <a:gd name="connsiteY58" fmla="*/ 188119 h 1204913"/>
                <a:gd name="connsiteX59" fmla="*/ 261938 w 1562100"/>
                <a:gd name="connsiteY59" fmla="*/ 202407 h 1204913"/>
                <a:gd name="connsiteX60" fmla="*/ 261938 w 1562100"/>
                <a:gd name="connsiteY60" fmla="*/ 235744 h 1204913"/>
                <a:gd name="connsiteX61" fmla="*/ 228600 w 1562100"/>
                <a:gd name="connsiteY61" fmla="*/ 278607 h 1204913"/>
                <a:gd name="connsiteX62" fmla="*/ 271463 w 1562100"/>
                <a:gd name="connsiteY62" fmla="*/ 295276 h 1204913"/>
                <a:gd name="connsiteX63" fmla="*/ 278606 w 1562100"/>
                <a:gd name="connsiteY63" fmla="*/ 314326 h 1204913"/>
                <a:gd name="connsiteX64" fmla="*/ 257175 w 1562100"/>
                <a:gd name="connsiteY64" fmla="*/ 350044 h 1204913"/>
                <a:gd name="connsiteX65" fmla="*/ 221456 w 1562100"/>
                <a:gd name="connsiteY65" fmla="*/ 359569 h 1204913"/>
                <a:gd name="connsiteX66" fmla="*/ 221456 w 1562100"/>
                <a:gd name="connsiteY66" fmla="*/ 400051 h 1204913"/>
                <a:gd name="connsiteX67" fmla="*/ 254794 w 1562100"/>
                <a:gd name="connsiteY67" fmla="*/ 438151 h 1204913"/>
                <a:gd name="connsiteX68" fmla="*/ 226219 w 1562100"/>
                <a:gd name="connsiteY68" fmla="*/ 502444 h 1204913"/>
                <a:gd name="connsiteX69" fmla="*/ 180975 w 1562100"/>
                <a:gd name="connsiteY69" fmla="*/ 531019 h 1204913"/>
                <a:gd name="connsiteX70" fmla="*/ 183356 w 1562100"/>
                <a:gd name="connsiteY70" fmla="*/ 547688 h 1204913"/>
                <a:gd name="connsiteX71" fmla="*/ 204788 w 1562100"/>
                <a:gd name="connsiteY71" fmla="*/ 557213 h 1204913"/>
                <a:gd name="connsiteX72" fmla="*/ 219075 w 1562100"/>
                <a:gd name="connsiteY72" fmla="*/ 566738 h 1204913"/>
                <a:gd name="connsiteX73" fmla="*/ 223838 w 1562100"/>
                <a:gd name="connsiteY73" fmla="*/ 585788 h 1204913"/>
                <a:gd name="connsiteX74" fmla="*/ 195263 w 1562100"/>
                <a:gd name="connsiteY74" fmla="*/ 611982 h 1204913"/>
                <a:gd name="connsiteX75" fmla="*/ 123825 w 1562100"/>
                <a:gd name="connsiteY75" fmla="*/ 657226 h 1204913"/>
                <a:gd name="connsiteX76" fmla="*/ 123825 w 1562100"/>
                <a:gd name="connsiteY76" fmla="*/ 692944 h 1204913"/>
                <a:gd name="connsiteX77" fmla="*/ 135731 w 1562100"/>
                <a:gd name="connsiteY77" fmla="*/ 723901 h 1204913"/>
                <a:gd name="connsiteX78" fmla="*/ 123825 w 1562100"/>
                <a:gd name="connsiteY78" fmla="*/ 764382 h 1204913"/>
                <a:gd name="connsiteX79" fmla="*/ 76200 w 1562100"/>
                <a:gd name="connsiteY79" fmla="*/ 759619 h 1204913"/>
                <a:gd name="connsiteX80" fmla="*/ 52388 w 1562100"/>
                <a:gd name="connsiteY80" fmla="*/ 704851 h 1204913"/>
                <a:gd name="connsiteX81" fmla="*/ 33338 w 1562100"/>
                <a:gd name="connsiteY81" fmla="*/ 697707 h 1204913"/>
                <a:gd name="connsiteX82" fmla="*/ 23813 w 1562100"/>
                <a:gd name="connsiteY82" fmla="*/ 735807 h 1204913"/>
                <a:gd name="connsiteX83" fmla="*/ 21431 w 1562100"/>
                <a:gd name="connsiteY83" fmla="*/ 745332 h 1204913"/>
                <a:gd name="connsiteX84" fmla="*/ 7144 w 1562100"/>
                <a:gd name="connsiteY84" fmla="*/ 762001 h 1204913"/>
                <a:gd name="connsiteX85" fmla="*/ 0 w 1562100"/>
                <a:gd name="connsiteY85" fmla="*/ 819151 h 1204913"/>
                <a:gd name="connsiteX86" fmla="*/ 23813 w 1562100"/>
                <a:gd name="connsiteY86" fmla="*/ 847726 h 1204913"/>
                <a:gd name="connsiteX87" fmla="*/ 16669 w 1562100"/>
                <a:gd name="connsiteY87" fmla="*/ 888207 h 1204913"/>
                <a:gd name="connsiteX88" fmla="*/ 35719 w 1562100"/>
                <a:gd name="connsiteY88" fmla="*/ 892969 h 1204913"/>
                <a:gd name="connsiteX89" fmla="*/ 69056 w 1562100"/>
                <a:gd name="connsiteY89" fmla="*/ 892969 h 1204913"/>
                <a:gd name="connsiteX90" fmla="*/ 85725 w 1562100"/>
                <a:gd name="connsiteY90" fmla="*/ 883444 h 1204913"/>
                <a:gd name="connsiteX91" fmla="*/ 135731 w 1562100"/>
                <a:gd name="connsiteY91" fmla="*/ 940594 h 1204913"/>
                <a:gd name="connsiteX92" fmla="*/ 123825 w 1562100"/>
                <a:gd name="connsiteY92" fmla="*/ 959644 h 1204913"/>
                <a:gd name="connsiteX93" fmla="*/ 133350 w 1562100"/>
                <a:gd name="connsiteY93" fmla="*/ 988219 h 1204913"/>
                <a:gd name="connsiteX94" fmla="*/ 164306 w 1562100"/>
                <a:gd name="connsiteY94" fmla="*/ 1007269 h 1204913"/>
                <a:gd name="connsiteX95" fmla="*/ 190500 w 1562100"/>
                <a:gd name="connsiteY95" fmla="*/ 1016794 h 1204913"/>
                <a:gd name="connsiteX96" fmla="*/ 216694 w 1562100"/>
                <a:gd name="connsiteY96" fmla="*/ 1023938 h 1204913"/>
                <a:gd name="connsiteX97" fmla="*/ 228600 w 1562100"/>
                <a:gd name="connsiteY97" fmla="*/ 1026319 h 1204913"/>
                <a:gd name="connsiteX98" fmla="*/ 240506 w 1562100"/>
                <a:gd name="connsiteY98" fmla="*/ 988219 h 1204913"/>
                <a:gd name="connsiteX99" fmla="*/ 269081 w 1562100"/>
                <a:gd name="connsiteY99" fmla="*/ 992982 h 1204913"/>
                <a:gd name="connsiteX100" fmla="*/ 288131 w 1562100"/>
                <a:gd name="connsiteY100" fmla="*/ 981076 h 1204913"/>
                <a:gd name="connsiteX101" fmla="*/ 307181 w 1562100"/>
                <a:gd name="connsiteY101" fmla="*/ 1031082 h 1204913"/>
                <a:gd name="connsiteX102" fmla="*/ 330994 w 1562100"/>
                <a:gd name="connsiteY102" fmla="*/ 1045369 h 1204913"/>
                <a:gd name="connsiteX103" fmla="*/ 340519 w 1562100"/>
                <a:gd name="connsiteY103" fmla="*/ 1073944 h 1204913"/>
                <a:gd name="connsiteX104" fmla="*/ 357188 w 1562100"/>
                <a:gd name="connsiteY104" fmla="*/ 1083469 h 1204913"/>
                <a:gd name="connsiteX105" fmla="*/ 364331 w 1562100"/>
                <a:gd name="connsiteY105" fmla="*/ 1114426 h 1204913"/>
                <a:gd name="connsiteX106" fmla="*/ 335756 w 1562100"/>
                <a:gd name="connsiteY106" fmla="*/ 1140619 h 1204913"/>
                <a:gd name="connsiteX107" fmla="*/ 309563 w 1562100"/>
                <a:gd name="connsiteY107" fmla="*/ 1157288 h 1204913"/>
                <a:gd name="connsiteX108" fmla="*/ 297656 w 1562100"/>
                <a:gd name="connsiteY108" fmla="*/ 1181101 h 1204913"/>
                <a:gd name="connsiteX109" fmla="*/ 302419 w 1562100"/>
                <a:gd name="connsiteY109" fmla="*/ 1204913 h 1204913"/>
                <a:gd name="connsiteX110" fmla="*/ 342900 w 1562100"/>
                <a:gd name="connsiteY110" fmla="*/ 1204913 h 1204913"/>
                <a:gd name="connsiteX111" fmla="*/ 390525 w 1562100"/>
                <a:gd name="connsiteY111" fmla="*/ 1200151 h 1204913"/>
                <a:gd name="connsiteX112" fmla="*/ 428625 w 1562100"/>
                <a:gd name="connsiteY112" fmla="*/ 1190626 h 1204913"/>
                <a:gd name="connsiteX113" fmla="*/ 454819 w 1562100"/>
                <a:gd name="connsiteY113" fmla="*/ 1197769 h 1204913"/>
                <a:gd name="connsiteX114" fmla="*/ 473869 w 1562100"/>
                <a:gd name="connsiteY114" fmla="*/ 1176338 h 1204913"/>
                <a:gd name="connsiteX115" fmla="*/ 492919 w 1562100"/>
                <a:gd name="connsiteY115" fmla="*/ 1176338 h 1204913"/>
                <a:gd name="connsiteX116" fmla="*/ 507206 w 1562100"/>
                <a:gd name="connsiteY116" fmla="*/ 1145382 h 1204913"/>
                <a:gd name="connsiteX117" fmla="*/ 557213 w 1562100"/>
                <a:gd name="connsiteY117" fmla="*/ 1131094 h 1204913"/>
                <a:gd name="connsiteX118" fmla="*/ 583406 w 1562100"/>
                <a:gd name="connsiteY118" fmla="*/ 1112044 h 1204913"/>
                <a:gd name="connsiteX119" fmla="*/ 590550 w 1562100"/>
                <a:gd name="connsiteY119" fmla="*/ 1073944 h 1204913"/>
                <a:gd name="connsiteX120" fmla="*/ 607219 w 1562100"/>
                <a:gd name="connsiteY120" fmla="*/ 1047751 h 1204913"/>
                <a:gd name="connsiteX121" fmla="*/ 688181 w 1562100"/>
                <a:gd name="connsiteY121" fmla="*/ 1078707 h 1204913"/>
                <a:gd name="connsiteX0" fmla="*/ 688181 w 1562100"/>
                <a:gd name="connsiteY0" fmla="*/ 1078707 h 1204913"/>
                <a:gd name="connsiteX1" fmla="*/ 688181 w 1562100"/>
                <a:gd name="connsiteY1" fmla="*/ 992982 h 1204913"/>
                <a:gd name="connsiteX2" fmla="*/ 692944 w 1562100"/>
                <a:gd name="connsiteY2" fmla="*/ 950119 h 1204913"/>
                <a:gd name="connsiteX3" fmla="*/ 692944 w 1562100"/>
                <a:gd name="connsiteY3" fmla="*/ 904876 h 1204913"/>
                <a:gd name="connsiteX4" fmla="*/ 676275 w 1562100"/>
                <a:gd name="connsiteY4" fmla="*/ 881063 h 1204913"/>
                <a:gd name="connsiteX5" fmla="*/ 690563 w 1562100"/>
                <a:gd name="connsiteY5" fmla="*/ 828676 h 1204913"/>
                <a:gd name="connsiteX6" fmla="*/ 685800 w 1562100"/>
                <a:gd name="connsiteY6" fmla="*/ 802482 h 1204913"/>
                <a:gd name="connsiteX7" fmla="*/ 697706 w 1562100"/>
                <a:gd name="connsiteY7" fmla="*/ 757238 h 1204913"/>
                <a:gd name="connsiteX8" fmla="*/ 714375 w 1562100"/>
                <a:gd name="connsiteY8" fmla="*/ 733426 h 1204913"/>
                <a:gd name="connsiteX9" fmla="*/ 721519 w 1562100"/>
                <a:gd name="connsiteY9" fmla="*/ 700088 h 1204913"/>
                <a:gd name="connsiteX10" fmla="*/ 735806 w 1562100"/>
                <a:gd name="connsiteY10" fmla="*/ 681038 h 1204913"/>
                <a:gd name="connsiteX11" fmla="*/ 792956 w 1562100"/>
                <a:gd name="connsiteY11" fmla="*/ 671513 h 1204913"/>
                <a:gd name="connsiteX12" fmla="*/ 838200 w 1562100"/>
                <a:gd name="connsiteY12" fmla="*/ 654844 h 1204913"/>
                <a:gd name="connsiteX13" fmla="*/ 876300 w 1562100"/>
                <a:gd name="connsiteY13" fmla="*/ 614363 h 1204913"/>
                <a:gd name="connsiteX14" fmla="*/ 923925 w 1562100"/>
                <a:gd name="connsiteY14" fmla="*/ 600076 h 1204913"/>
                <a:gd name="connsiteX15" fmla="*/ 995363 w 1562100"/>
                <a:gd name="connsiteY15" fmla="*/ 595313 h 1204913"/>
                <a:gd name="connsiteX16" fmla="*/ 1040606 w 1562100"/>
                <a:gd name="connsiteY16" fmla="*/ 585788 h 1204913"/>
                <a:gd name="connsiteX17" fmla="*/ 1119188 w 1562100"/>
                <a:gd name="connsiteY17" fmla="*/ 478632 h 1204913"/>
                <a:gd name="connsiteX18" fmla="*/ 1126331 w 1562100"/>
                <a:gd name="connsiteY18" fmla="*/ 445294 h 1204913"/>
                <a:gd name="connsiteX19" fmla="*/ 1152525 w 1562100"/>
                <a:gd name="connsiteY19" fmla="*/ 416719 h 1204913"/>
                <a:gd name="connsiteX20" fmla="*/ 1197769 w 1562100"/>
                <a:gd name="connsiteY20" fmla="*/ 407194 h 1204913"/>
                <a:gd name="connsiteX21" fmla="*/ 1290638 w 1562100"/>
                <a:gd name="connsiteY21" fmla="*/ 330994 h 1204913"/>
                <a:gd name="connsiteX22" fmla="*/ 1314450 w 1562100"/>
                <a:gd name="connsiteY22" fmla="*/ 328613 h 1204913"/>
                <a:gd name="connsiteX23" fmla="*/ 1409700 w 1562100"/>
                <a:gd name="connsiteY23" fmla="*/ 247651 h 1204913"/>
                <a:gd name="connsiteX24" fmla="*/ 1414463 w 1562100"/>
                <a:gd name="connsiteY24" fmla="*/ 228601 h 1204913"/>
                <a:gd name="connsiteX25" fmla="*/ 1507331 w 1562100"/>
                <a:gd name="connsiteY25" fmla="*/ 173832 h 1204913"/>
                <a:gd name="connsiteX26" fmla="*/ 1543050 w 1562100"/>
                <a:gd name="connsiteY26" fmla="*/ 128588 h 1204913"/>
                <a:gd name="connsiteX27" fmla="*/ 1562100 w 1562100"/>
                <a:gd name="connsiteY27" fmla="*/ 90488 h 1204913"/>
                <a:gd name="connsiteX28" fmla="*/ 1512094 w 1562100"/>
                <a:gd name="connsiteY28" fmla="*/ 109538 h 1204913"/>
                <a:gd name="connsiteX29" fmla="*/ 1478756 w 1562100"/>
                <a:gd name="connsiteY29" fmla="*/ 109538 h 1204913"/>
                <a:gd name="connsiteX30" fmla="*/ 1452563 w 1562100"/>
                <a:gd name="connsiteY30" fmla="*/ 147638 h 1204913"/>
                <a:gd name="connsiteX31" fmla="*/ 1421606 w 1562100"/>
                <a:gd name="connsiteY31" fmla="*/ 145257 h 1204913"/>
                <a:gd name="connsiteX32" fmla="*/ 1366838 w 1562100"/>
                <a:gd name="connsiteY32" fmla="*/ 114301 h 1204913"/>
                <a:gd name="connsiteX33" fmla="*/ 1323975 w 1562100"/>
                <a:gd name="connsiteY33" fmla="*/ 102394 h 1204913"/>
                <a:gd name="connsiteX34" fmla="*/ 1238250 w 1562100"/>
                <a:gd name="connsiteY34" fmla="*/ 138113 h 1204913"/>
                <a:gd name="connsiteX35" fmla="*/ 1223963 w 1562100"/>
                <a:gd name="connsiteY35" fmla="*/ 176213 h 1204913"/>
                <a:gd name="connsiteX36" fmla="*/ 1195388 w 1562100"/>
                <a:gd name="connsiteY36" fmla="*/ 233363 h 1204913"/>
                <a:gd name="connsiteX37" fmla="*/ 1109663 w 1562100"/>
                <a:gd name="connsiteY37" fmla="*/ 195263 h 1204913"/>
                <a:gd name="connsiteX38" fmla="*/ 1097756 w 1562100"/>
                <a:gd name="connsiteY38" fmla="*/ 238126 h 1204913"/>
                <a:gd name="connsiteX39" fmla="*/ 1083469 w 1562100"/>
                <a:gd name="connsiteY39" fmla="*/ 271463 h 1204913"/>
                <a:gd name="connsiteX40" fmla="*/ 959644 w 1562100"/>
                <a:gd name="connsiteY40" fmla="*/ 302419 h 1204913"/>
                <a:gd name="connsiteX41" fmla="*/ 945356 w 1562100"/>
                <a:gd name="connsiteY41" fmla="*/ 297657 h 1204913"/>
                <a:gd name="connsiteX42" fmla="*/ 926306 w 1562100"/>
                <a:gd name="connsiteY42" fmla="*/ 319088 h 1204913"/>
                <a:gd name="connsiteX43" fmla="*/ 890588 w 1562100"/>
                <a:gd name="connsiteY43" fmla="*/ 326232 h 1204913"/>
                <a:gd name="connsiteX44" fmla="*/ 854869 w 1562100"/>
                <a:gd name="connsiteY44" fmla="*/ 276226 h 1204913"/>
                <a:gd name="connsiteX45" fmla="*/ 835819 w 1562100"/>
                <a:gd name="connsiteY45" fmla="*/ 264319 h 1204913"/>
                <a:gd name="connsiteX46" fmla="*/ 826294 w 1562100"/>
                <a:gd name="connsiteY46" fmla="*/ 219076 h 1204913"/>
                <a:gd name="connsiteX47" fmla="*/ 792956 w 1562100"/>
                <a:gd name="connsiteY47" fmla="*/ 202407 h 1204913"/>
                <a:gd name="connsiteX48" fmla="*/ 759619 w 1562100"/>
                <a:gd name="connsiteY48" fmla="*/ 195263 h 1204913"/>
                <a:gd name="connsiteX49" fmla="*/ 740569 w 1562100"/>
                <a:gd name="connsiteY49" fmla="*/ 190501 h 1204913"/>
                <a:gd name="connsiteX50" fmla="*/ 728663 w 1562100"/>
                <a:gd name="connsiteY50" fmla="*/ 180976 h 1204913"/>
                <a:gd name="connsiteX51" fmla="*/ 735806 w 1562100"/>
                <a:gd name="connsiteY51" fmla="*/ 154782 h 1204913"/>
                <a:gd name="connsiteX52" fmla="*/ 742950 w 1562100"/>
                <a:gd name="connsiteY52" fmla="*/ 130969 h 1204913"/>
                <a:gd name="connsiteX53" fmla="*/ 700088 w 1562100"/>
                <a:gd name="connsiteY53" fmla="*/ 80963 h 1204913"/>
                <a:gd name="connsiteX54" fmla="*/ 392906 w 1562100"/>
                <a:gd name="connsiteY54" fmla="*/ 19051 h 1204913"/>
                <a:gd name="connsiteX55" fmla="*/ 314326 w 1562100"/>
                <a:gd name="connsiteY55" fmla="*/ 0 h 1204913"/>
                <a:gd name="connsiteX56" fmla="*/ 328613 w 1562100"/>
                <a:gd name="connsiteY56" fmla="*/ 78582 h 1204913"/>
                <a:gd name="connsiteX57" fmla="*/ 292894 w 1562100"/>
                <a:gd name="connsiteY57" fmla="*/ 180976 h 1204913"/>
                <a:gd name="connsiteX58" fmla="*/ 264319 w 1562100"/>
                <a:gd name="connsiteY58" fmla="*/ 188119 h 1204913"/>
                <a:gd name="connsiteX59" fmla="*/ 261938 w 1562100"/>
                <a:gd name="connsiteY59" fmla="*/ 202407 h 1204913"/>
                <a:gd name="connsiteX60" fmla="*/ 261938 w 1562100"/>
                <a:gd name="connsiteY60" fmla="*/ 235744 h 1204913"/>
                <a:gd name="connsiteX61" fmla="*/ 228600 w 1562100"/>
                <a:gd name="connsiteY61" fmla="*/ 278607 h 1204913"/>
                <a:gd name="connsiteX62" fmla="*/ 271463 w 1562100"/>
                <a:gd name="connsiteY62" fmla="*/ 295276 h 1204913"/>
                <a:gd name="connsiteX63" fmla="*/ 278606 w 1562100"/>
                <a:gd name="connsiteY63" fmla="*/ 314326 h 1204913"/>
                <a:gd name="connsiteX64" fmla="*/ 257175 w 1562100"/>
                <a:gd name="connsiteY64" fmla="*/ 350044 h 1204913"/>
                <a:gd name="connsiteX65" fmla="*/ 221456 w 1562100"/>
                <a:gd name="connsiteY65" fmla="*/ 359569 h 1204913"/>
                <a:gd name="connsiteX66" fmla="*/ 221456 w 1562100"/>
                <a:gd name="connsiteY66" fmla="*/ 400051 h 1204913"/>
                <a:gd name="connsiteX67" fmla="*/ 254794 w 1562100"/>
                <a:gd name="connsiteY67" fmla="*/ 438151 h 1204913"/>
                <a:gd name="connsiteX68" fmla="*/ 226219 w 1562100"/>
                <a:gd name="connsiteY68" fmla="*/ 502444 h 1204913"/>
                <a:gd name="connsiteX69" fmla="*/ 180975 w 1562100"/>
                <a:gd name="connsiteY69" fmla="*/ 531019 h 1204913"/>
                <a:gd name="connsiteX70" fmla="*/ 183356 w 1562100"/>
                <a:gd name="connsiteY70" fmla="*/ 547688 h 1204913"/>
                <a:gd name="connsiteX71" fmla="*/ 204788 w 1562100"/>
                <a:gd name="connsiteY71" fmla="*/ 557213 h 1204913"/>
                <a:gd name="connsiteX72" fmla="*/ 219075 w 1562100"/>
                <a:gd name="connsiteY72" fmla="*/ 566738 h 1204913"/>
                <a:gd name="connsiteX73" fmla="*/ 223838 w 1562100"/>
                <a:gd name="connsiteY73" fmla="*/ 585788 h 1204913"/>
                <a:gd name="connsiteX74" fmla="*/ 195263 w 1562100"/>
                <a:gd name="connsiteY74" fmla="*/ 611982 h 1204913"/>
                <a:gd name="connsiteX75" fmla="*/ 123825 w 1562100"/>
                <a:gd name="connsiteY75" fmla="*/ 657226 h 1204913"/>
                <a:gd name="connsiteX76" fmla="*/ 123825 w 1562100"/>
                <a:gd name="connsiteY76" fmla="*/ 692944 h 1204913"/>
                <a:gd name="connsiteX77" fmla="*/ 135731 w 1562100"/>
                <a:gd name="connsiteY77" fmla="*/ 723901 h 1204913"/>
                <a:gd name="connsiteX78" fmla="*/ 123825 w 1562100"/>
                <a:gd name="connsiteY78" fmla="*/ 764382 h 1204913"/>
                <a:gd name="connsiteX79" fmla="*/ 76200 w 1562100"/>
                <a:gd name="connsiteY79" fmla="*/ 759619 h 1204913"/>
                <a:gd name="connsiteX80" fmla="*/ 52388 w 1562100"/>
                <a:gd name="connsiteY80" fmla="*/ 704851 h 1204913"/>
                <a:gd name="connsiteX81" fmla="*/ 33338 w 1562100"/>
                <a:gd name="connsiteY81" fmla="*/ 697707 h 1204913"/>
                <a:gd name="connsiteX82" fmla="*/ 23813 w 1562100"/>
                <a:gd name="connsiteY82" fmla="*/ 735807 h 1204913"/>
                <a:gd name="connsiteX83" fmla="*/ 21431 w 1562100"/>
                <a:gd name="connsiteY83" fmla="*/ 745332 h 1204913"/>
                <a:gd name="connsiteX84" fmla="*/ 7144 w 1562100"/>
                <a:gd name="connsiteY84" fmla="*/ 762001 h 1204913"/>
                <a:gd name="connsiteX85" fmla="*/ 0 w 1562100"/>
                <a:gd name="connsiteY85" fmla="*/ 819151 h 1204913"/>
                <a:gd name="connsiteX86" fmla="*/ 23813 w 1562100"/>
                <a:gd name="connsiteY86" fmla="*/ 847726 h 1204913"/>
                <a:gd name="connsiteX87" fmla="*/ 16669 w 1562100"/>
                <a:gd name="connsiteY87" fmla="*/ 888207 h 1204913"/>
                <a:gd name="connsiteX88" fmla="*/ 35719 w 1562100"/>
                <a:gd name="connsiteY88" fmla="*/ 892969 h 1204913"/>
                <a:gd name="connsiteX89" fmla="*/ 69056 w 1562100"/>
                <a:gd name="connsiteY89" fmla="*/ 892969 h 1204913"/>
                <a:gd name="connsiteX90" fmla="*/ 85725 w 1562100"/>
                <a:gd name="connsiteY90" fmla="*/ 883444 h 1204913"/>
                <a:gd name="connsiteX91" fmla="*/ 135731 w 1562100"/>
                <a:gd name="connsiteY91" fmla="*/ 940594 h 1204913"/>
                <a:gd name="connsiteX92" fmla="*/ 123825 w 1562100"/>
                <a:gd name="connsiteY92" fmla="*/ 959644 h 1204913"/>
                <a:gd name="connsiteX93" fmla="*/ 133350 w 1562100"/>
                <a:gd name="connsiteY93" fmla="*/ 988219 h 1204913"/>
                <a:gd name="connsiteX94" fmla="*/ 164306 w 1562100"/>
                <a:gd name="connsiteY94" fmla="*/ 1007269 h 1204913"/>
                <a:gd name="connsiteX95" fmla="*/ 190500 w 1562100"/>
                <a:gd name="connsiteY95" fmla="*/ 1016794 h 1204913"/>
                <a:gd name="connsiteX96" fmla="*/ 216694 w 1562100"/>
                <a:gd name="connsiteY96" fmla="*/ 1023938 h 1204913"/>
                <a:gd name="connsiteX97" fmla="*/ 228600 w 1562100"/>
                <a:gd name="connsiteY97" fmla="*/ 1026319 h 1204913"/>
                <a:gd name="connsiteX98" fmla="*/ 240506 w 1562100"/>
                <a:gd name="connsiteY98" fmla="*/ 988219 h 1204913"/>
                <a:gd name="connsiteX99" fmla="*/ 269081 w 1562100"/>
                <a:gd name="connsiteY99" fmla="*/ 992982 h 1204913"/>
                <a:gd name="connsiteX100" fmla="*/ 288131 w 1562100"/>
                <a:gd name="connsiteY100" fmla="*/ 981076 h 1204913"/>
                <a:gd name="connsiteX101" fmla="*/ 307181 w 1562100"/>
                <a:gd name="connsiteY101" fmla="*/ 1031082 h 1204913"/>
                <a:gd name="connsiteX102" fmla="*/ 330994 w 1562100"/>
                <a:gd name="connsiteY102" fmla="*/ 1045369 h 1204913"/>
                <a:gd name="connsiteX103" fmla="*/ 340519 w 1562100"/>
                <a:gd name="connsiteY103" fmla="*/ 1073944 h 1204913"/>
                <a:gd name="connsiteX104" fmla="*/ 357188 w 1562100"/>
                <a:gd name="connsiteY104" fmla="*/ 1083469 h 1204913"/>
                <a:gd name="connsiteX105" fmla="*/ 364331 w 1562100"/>
                <a:gd name="connsiteY105" fmla="*/ 1114426 h 1204913"/>
                <a:gd name="connsiteX106" fmla="*/ 335756 w 1562100"/>
                <a:gd name="connsiteY106" fmla="*/ 1140619 h 1204913"/>
                <a:gd name="connsiteX107" fmla="*/ 309563 w 1562100"/>
                <a:gd name="connsiteY107" fmla="*/ 1157288 h 1204913"/>
                <a:gd name="connsiteX108" fmla="*/ 297656 w 1562100"/>
                <a:gd name="connsiteY108" fmla="*/ 1181101 h 1204913"/>
                <a:gd name="connsiteX109" fmla="*/ 302419 w 1562100"/>
                <a:gd name="connsiteY109" fmla="*/ 1204913 h 1204913"/>
                <a:gd name="connsiteX110" fmla="*/ 342900 w 1562100"/>
                <a:gd name="connsiteY110" fmla="*/ 1204913 h 1204913"/>
                <a:gd name="connsiteX111" fmla="*/ 390525 w 1562100"/>
                <a:gd name="connsiteY111" fmla="*/ 1200151 h 1204913"/>
                <a:gd name="connsiteX112" fmla="*/ 428625 w 1562100"/>
                <a:gd name="connsiteY112" fmla="*/ 1190626 h 1204913"/>
                <a:gd name="connsiteX113" fmla="*/ 454819 w 1562100"/>
                <a:gd name="connsiteY113" fmla="*/ 1197769 h 1204913"/>
                <a:gd name="connsiteX114" fmla="*/ 473869 w 1562100"/>
                <a:gd name="connsiteY114" fmla="*/ 1176338 h 1204913"/>
                <a:gd name="connsiteX115" fmla="*/ 492919 w 1562100"/>
                <a:gd name="connsiteY115" fmla="*/ 1176338 h 1204913"/>
                <a:gd name="connsiteX116" fmla="*/ 507206 w 1562100"/>
                <a:gd name="connsiteY116" fmla="*/ 1145382 h 1204913"/>
                <a:gd name="connsiteX117" fmla="*/ 557213 w 1562100"/>
                <a:gd name="connsiteY117" fmla="*/ 1131094 h 1204913"/>
                <a:gd name="connsiteX118" fmla="*/ 583406 w 1562100"/>
                <a:gd name="connsiteY118" fmla="*/ 1112044 h 1204913"/>
                <a:gd name="connsiteX119" fmla="*/ 590550 w 1562100"/>
                <a:gd name="connsiteY119" fmla="*/ 1073944 h 1204913"/>
                <a:gd name="connsiteX120" fmla="*/ 607219 w 1562100"/>
                <a:gd name="connsiteY120" fmla="*/ 1047751 h 1204913"/>
                <a:gd name="connsiteX121" fmla="*/ 688181 w 1562100"/>
                <a:gd name="connsiteY121" fmla="*/ 1078707 h 1204913"/>
                <a:gd name="connsiteX0" fmla="*/ 688181 w 1562100"/>
                <a:gd name="connsiteY0" fmla="*/ 1089758 h 1215964"/>
                <a:gd name="connsiteX1" fmla="*/ 688181 w 1562100"/>
                <a:gd name="connsiteY1" fmla="*/ 1004033 h 1215964"/>
                <a:gd name="connsiteX2" fmla="*/ 692944 w 1562100"/>
                <a:gd name="connsiteY2" fmla="*/ 961170 h 1215964"/>
                <a:gd name="connsiteX3" fmla="*/ 692944 w 1562100"/>
                <a:gd name="connsiteY3" fmla="*/ 915927 h 1215964"/>
                <a:gd name="connsiteX4" fmla="*/ 676275 w 1562100"/>
                <a:gd name="connsiteY4" fmla="*/ 892114 h 1215964"/>
                <a:gd name="connsiteX5" fmla="*/ 690563 w 1562100"/>
                <a:gd name="connsiteY5" fmla="*/ 839727 h 1215964"/>
                <a:gd name="connsiteX6" fmla="*/ 685800 w 1562100"/>
                <a:gd name="connsiteY6" fmla="*/ 813533 h 1215964"/>
                <a:gd name="connsiteX7" fmla="*/ 697706 w 1562100"/>
                <a:gd name="connsiteY7" fmla="*/ 768289 h 1215964"/>
                <a:gd name="connsiteX8" fmla="*/ 714375 w 1562100"/>
                <a:gd name="connsiteY8" fmla="*/ 744477 h 1215964"/>
                <a:gd name="connsiteX9" fmla="*/ 721519 w 1562100"/>
                <a:gd name="connsiteY9" fmla="*/ 711139 h 1215964"/>
                <a:gd name="connsiteX10" fmla="*/ 735806 w 1562100"/>
                <a:gd name="connsiteY10" fmla="*/ 692089 h 1215964"/>
                <a:gd name="connsiteX11" fmla="*/ 792956 w 1562100"/>
                <a:gd name="connsiteY11" fmla="*/ 682564 h 1215964"/>
                <a:gd name="connsiteX12" fmla="*/ 838200 w 1562100"/>
                <a:gd name="connsiteY12" fmla="*/ 665895 h 1215964"/>
                <a:gd name="connsiteX13" fmla="*/ 876300 w 1562100"/>
                <a:gd name="connsiteY13" fmla="*/ 625414 h 1215964"/>
                <a:gd name="connsiteX14" fmla="*/ 923925 w 1562100"/>
                <a:gd name="connsiteY14" fmla="*/ 611127 h 1215964"/>
                <a:gd name="connsiteX15" fmla="*/ 995363 w 1562100"/>
                <a:gd name="connsiteY15" fmla="*/ 606364 h 1215964"/>
                <a:gd name="connsiteX16" fmla="*/ 1040606 w 1562100"/>
                <a:gd name="connsiteY16" fmla="*/ 596839 h 1215964"/>
                <a:gd name="connsiteX17" fmla="*/ 1119188 w 1562100"/>
                <a:gd name="connsiteY17" fmla="*/ 489683 h 1215964"/>
                <a:gd name="connsiteX18" fmla="*/ 1126331 w 1562100"/>
                <a:gd name="connsiteY18" fmla="*/ 456345 h 1215964"/>
                <a:gd name="connsiteX19" fmla="*/ 1152525 w 1562100"/>
                <a:gd name="connsiteY19" fmla="*/ 427770 h 1215964"/>
                <a:gd name="connsiteX20" fmla="*/ 1197769 w 1562100"/>
                <a:gd name="connsiteY20" fmla="*/ 418245 h 1215964"/>
                <a:gd name="connsiteX21" fmla="*/ 1290638 w 1562100"/>
                <a:gd name="connsiteY21" fmla="*/ 342045 h 1215964"/>
                <a:gd name="connsiteX22" fmla="*/ 1314450 w 1562100"/>
                <a:gd name="connsiteY22" fmla="*/ 339664 h 1215964"/>
                <a:gd name="connsiteX23" fmla="*/ 1409700 w 1562100"/>
                <a:gd name="connsiteY23" fmla="*/ 258702 h 1215964"/>
                <a:gd name="connsiteX24" fmla="*/ 1414463 w 1562100"/>
                <a:gd name="connsiteY24" fmla="*/ 239652 h 1215964"/>
                <a:gd name="connsiteX25" fmla="*/ 1507331 w 1562100"/>
                <a:gd name="connsiteY25" fmla="*/ 184883 h 1215964"/>
                <a:gd name="connsiteX26" fmla="*/ 1543050 w 1562100"/>
                <a:gd name="connsiteY26" fmla="*/ 139639 h 1215964"/>
                <a:gd name="connsiteX27" fmla="*/ 1562100 w 1562100"/>
                <a:gd name="connsiteY27" fmla="*/ 101539 h 1215964"/>
                <a:gd name="connsiteX28" fmla="*/ 1512094 w 1562100"/>
                <a:gd name="connsiteY28" fmla="*/ 120589 h 1215964"/>
                <a:gd name="connsiteX29" fmla="*/ 1478756 w 1562100"/>
                <a:gd name="connsiteY29" fmla="*/ 120589 h 1215964"/>
                <a:gd name="connsiteX30" fmla="*/ 1452563 w 1562100"/>
                <a:gd name="connsiteY30" fmla="*/ 158689 h 1215964"/>
                <a:gd name="connsiteX31" fmla="*/ 1421606 w 1562100"/>
                <a:gd name="connsiteY31" fmla="*/ 156308 h 1215964"/>
                <a:gd name="connsiteX32" fmla="*/ 1366838 w 1562100"/>
                <a:gd name="connsiteY32" fmla="*/ 125352 h 1215964"/>
                <a:gd name="connsiteX33" fmla="*/ 1323975 w 1562100"/>
                <a:gd name="connsiteY33" fmla="*/ 113445 h 1215964"/>
                <a:gd name="connsiteX34" fmla="*/ 1238250 w 1562100"/>
                <a:gd name="connsiteY34" fmla="*/ 149164 h 1215964"/>
                <a:gd name="connsiteX35" fmla="*/ 1223963 w 1562100"/>
                <a:gd name="connsiteY35" fmla="*/ 187264 h 1215964"/>
                <a:gd name="connsiteX36" fmla="*/ 1195388 w 1562100"/>
                <a:gd name="connsiteY36" fmla="*/ 244414 h 1215964"/>
                <a:gd name="connsiteX37" fmla="*/ 1109663 w 1562100"/>
                <a:gd name="connsiteY37" fmla="*/ 206314 h 1215964"/>
                <a:gd name="connsiteX38" fmla="*/ 1097756 w 1562100"/>
                <a:gd name="connsiteY38" fmla="*/ 249177 h 1215964"/>
                <a:gd name="connsiteX39" fmla="*/ 1083469 w 1562100"/>
                <a:gd name="connsiteY39" fmla="*/ 282514 h 1215964"/>
                <a:gd name="connsiteX40" fmla="*/ 959644 w 1562100"/>
                <a:gd name="connsiteY40" fmla="*/ 313470 h 1215964"/>
                <a:gd name="connsiteX41" fmla="*/ 945356 w 1562100"/>
                <a:gd name="connsiteY41" fmla="*/ 308708 h 1215964"/>
                <a:gd name="connsiteX42" fmla="*/ 926306 w 1562100"/>
                <a:gd name="connsiteY42" fmla="*/ 330139 h 1215964"/>
                <a:gd name="connsiteX43" fmla="*/ 890588 w 1562100"/>
                <a:gd name="connsiteY43" fmla="*/ 337283 h 1215964"/>
                <a:gd name="connsiteX44" fmla="*/ 854869 w 1562100"/>
                <a:gd name="connsiteY44" fmla="*/ 287277 h 1215964"/>
                <a:gd name="connsiteX45" fmla="*/ 835819 w 1562100"/>
                <a:gd name="connsiteY45" fmla="*/ 275370 h 1215964"/>
                <a:gd name="connsiteX46" fmla="*/ 826294 w 1562100"/>
                <a:gd name="connsiteY46" fmla="*/ 230127 h 1215964"/>
                <a:gd name="connsiteX47" fmla="*/ 792956 w 1562100"/>
                <a:gd name="connsiteY47" fmla="*/ 213458 h 1215964"/>
                <a:gd name="connsiteX48" fmla="*/ 759619 w 1562100"/>
                <a:gd name="connsiteY48" fmla="*/ 206314 h 1215964"/>
                <a:gd name="connsiteX49" fmla="*/ 740569 w 1562100"/>
                <a:gd name="connsiteY49" fmla="*/ 201552 h 1215964"/>
                <a:gd name="connsiteX50" fmla="*/ 728663 w 1562100"/>
                <a:gd name="connsiteY50" fmla="*/ 192027 h 1215964"/>
                <a:gd name="connsiteX51" fmla="*/ 735806 w 1562100"/>
                <a:gd name="connsiteY51" fmla="*/ 165833 h 1215964"/>
                <a:gd name="connsiteX52" fmla="*/ 742950 w 1562100"/>
                <a:gd name="connsiteY52" fmla="*/ 142020 h 1215964"/>
                <a:gd name="connsiteX53" fmla="*/ 700088 w 1562100"/>
                <a:gd name="connsiteY53" fmla="*/ 92014 h 1215964"/>
                <a:gd name="connsiteX54" fmla="*/ 376238 w 1562100"/>
                <a:gd name="connsiteY54" fmla="*/ 11052 h 1215964"/>
                <a:gd name="connsiteX55" fmla="*/ 314326 w 1562100"/>
                <a:gd name="connsiteY55" fmla="*/ 11051 h 1215964"/>
                <a:gd name="connsiteX56" fmla="*/ 328613 w 1562100"/>
                <a:gd name="connsiteY56" fmla="*/ 89633 h 1215964"/>
                <a:gd name="connsiteX57" fmla="*/ 292894 w 1562100"/>
                <a:gd name="connsiteY57" fmla="*/ 192027 h 1215964"/>
                <a:gd name="connsiteX58" fmla="*/ 264319 w 1562100"/>
                <a:gd name="connsiteY58" fmla="*/ 199170 h 1215964"/>
                <a:gd name="connsiteX59" fmla="*/ 261938 w 1562100"/>
                <a:gd name="connsiteY59" fmla="*/ 213458 h 1215964"/>
                <a:gd name="connsiteX60" fmla="*/ 261938 w 1562100"/>
                <a:gd name="connsiteY60" fmla="*/ 246795 h 1215964"/>
                <a:gd name="connsiteX61" fmla="*/ 228600 w 1562100"/>
                <a:gd name="connsiteY61" fmla="*/ 289658 h 1215964"/>
                <a:gd name="connsiteX62" fmla="*/ 271463 w 1562100"/>
                <a:gd name="connsiteY62" fmla="*/ 306327 h 1215964"/>
                <a:gd name="connsiteX63" fmla="*/ 278606 w 1562100"/>
                <a:gd name="connsiteY63" fmla="*/ 325377 h 1215964"/>
                <a:gd name="connsiteX64" fmla="*/ 257175 w 1562100"/>
                <a:gd name="connsiteY64" fmla="*/ 361095 h 1215964"/>
                <a:gd name="connsiteX65" fmla="*/ 221456 w 1562100"/>
                <a:gd name="connsiteY65" fmla="*/ 370620 h 1215964"/>
                <a:gd name="connsiteX66" fmla="*/ 221456 w 1562100"/>
                <a:gd name="connsiteY66" fmla="*/ 411102 h 1215964"/>
                <a:gd name="connsiteX67" fmla="*/ 254794 w 1562100"/>
                <a:gd name="connsiteY67" fmla="*/ 449202 h 1215964"/>
                <a:gd name="connsiteX68" fmla="*/ 226219 w 1562100"/>
                <a:gd name="connsiteY68" fmla="*/ 513495 h 1215964"/>
                <a:gd name="connsiteX69" fmla="*/ 180975 w 1562100"/>
                <a:gd name="connsiteY69" fmla="*/ 542070 h 1215964"/>
                <a:gd name="connsiteX70" fmla="*/ 183356 w 1562100"/>
                <a:gd name="connsiteY70" fmla="*/ 558739 h 1215964"/>
                <a:gd name="connsiteX71" fmla="*/ 204788 w 1562100"/>
                <a:gd name="connsiteY71" fmla="*/ 568264 h 1215964"/>
                <a:gd name="connsiteX72" fmla="*/ 219075 w 1562100"/>
                <a:gd name="connsiteY72" fmla="*/ 577789 h 1215964"/>
                <a:gd name="connsiteX73" fmla="*/ 223838 w 1562100"/>
                <a:gd name="connsiteY73" fmla="*/ 596839 h 1215964"/>
                <a:gd name="connsiteX74" fmla="*/ 195263 w 1562100"/>
                <a:gd name="connsiteY74" fmla="*/ 623033 h 1215964"/>
                <a:gd name="connsiteX75" fmla="*/ 123825 w 1562100"/>
                <a:gd name="connsiteY75" fmla="*/ 668277 h 1215964"/>
                <a:gd name="connsiteX76" fmla="*/ 123825 w 1562100"/>
                <a:gd name="connsiteY76" fmla="*/ 703995 h 1215964"/>
                <a:gd name="connsiteX77" fmla="*/ 135731 w 1562100"/>
                <a:gd name="connsiteY77" fmla="*/ 734952 h 1215964"/>
                <a:gd name="connsiteX78" fmla="*/ 123825 w 1562100"/>
                <a:gd name="connsiteY78" fmla="*/ 775433 h 1215964"/>
                <a:gd name="connsiteX79" fmla="*/ 76200 w 1562100"/>
                <a:gd name="connsiteY79" fmla="*/ 770670 h 1215964"/>
                <a:gd name="connsiteX80" fmla="*/ 52388 w 1562100"/>
                <a:gd name="connsiteY80" fmla="*/ 715902 h 1215964"/>
                <a:gd name="connsiteX81" fmla="*/ 33338 w 1562100"/>
                <a:gd name="connsiteY81" fmla="*/ 708758 h 1215964"/>
                <a:gd name="connsiteX82" fmla="*/ 23813 w 1562100"/>
                <a:gd name="connsiteY82" fmla="*/ 746858 h 1215964"/>
                <a:gd name="connsiteX83" fmla="*/ 21431 w 1562100"/>
                <a:gd name="connsiteY83" fmla="*/ 756383 h 1215964"/>
                <a:gd name="connsiteX84" fmla="*/ 7144 w 1562100"/>
                <a:gd name="connsiteY84" fmla="*/ 773052 h 1215964"/>
                <a:gd name="connsiteX85" fmla="*/ 0 w 1562100"/>
                <a:gd name="connsiteY85" fmla="*/ 830202 h 1215964"/>
                <a:gd name="connsiteX86" fmla="*/ 23813 w 1562100"/>
                <a:gd name="connsiteY86" fmla="*/ 858777 h 1215964"/>
                <a:gd name="connsiteX87" fmla="*/ 16669 w 1562100"/>
                <a:gd name="connsiteY87" fmla="*/ 899258 h 1215964"/>
                <a:gd name="connsiteX88" fmla="*/ 35719 w 1562100"/>
                <a:gd name="connsiteY88" fmla="*/ 904020 h 1215964"/>
                <a:gd name="connsiteX89" fmla="*/ 69056 w 1562100"/>
                <a:gd name="connsiteY89" fmla="*/ 904020 h 1215964"/>
                <a:gd name="connsiteX90" fmla="*/ 85725 w 1562100"/>
                <a:gd name="connsiteY90" fmla="*/ 894495 h 1215964"/>
                <a:gd name="connsiteX91" fmla="*/ 135731 w 1562100"/>
                <a:gd name="connsiteY91" fmla="*/ 951645 h 1215964"/>
                <a:gd name="connsiteX92" fmla="*/ 123825 w 1562100"/>
                <a:gd name="connsiteY92" fmla="*/ 970695 h 1215964"/>
                <a:gd name="connsiteX93" fmla="*/ 133350 w 1562100"/>
                <a:gd name="connsiteY93" fmla="*/ 999270 h 1215964"/>
                <a:gd name="connsiteX94" fmla="*/ 164306 w 1562100"/>
                <a:gd name="connsiteY94" fmla="*/ 1018320 h 1215964"/>
                <a:gd name="connsiteX95" fmla="*/ 190500 w 1562100"/>
                <a:gd name="connsiteY95" fmla="*/ 1027845 h 1215964"/>
                <a:gd name="connsiteX96" fmla="*/ 216694 w 1562100"/>
                <a:gd name="connsiteY96" fmla="*/ 1034989 h 1215964"/>
                <a:gd name="connsiteX97" fmla="*/ 228600 w 1562100"/>
                <a:gd name="connsiteY97" fmla="*/ 1037370 h 1215964"/>
                <a:gd name="connsiteX98" fmla="*/ 240506 w 1562100"/>
                <a:gd name="connsiteY98" fmla="*/ 999270 h 1215964"/>
                <a:gd name="connsiteX99" fmla="*/ 269081 w 1562100"/>
                <a:gd name="connsiteY99" fmla="*/ 1004033 h 1215964"/>
                <a:gd name="connsiteX100" fmla="*/ 288131 w 1562100"/>
                <a:gd name="connsiteY100" fmla="*/ 992127 h 1215964"/>
                <a:gd name="connsiteX101" fmla="*/ 307181 w 1562100"/>
                <a:gd name="connsiteY101" fmla="*/ 1042133 h 1215964"/>
                <a:gd name="connsiteX102" fmla="*/ 330994 w 1562100"/>
                <a:gd name="connsiteY102" fmla="*/ 1056420 h 1215964"/>
                <a:gd name="connsiteX103" fmla="*/ 340519 w 1562100"/>
                <a:gd name="connsiteY103" fmla="*/ 1084995 h 1215964"/>
                <a:gd name="connsiteX104" fmla="*/ 357188 w 1562100"/>
                <a:gd name="connsiteY104" fmla="*/ 1094520 h 1215964"/>
                <a:gd name="connsiteX105" fmla="*/ 364331 w 1562100"/>
                <a:gd name="connsiteY105" fmla="*/ 1125477 h 1215964"/>
                <a:gd name="connsiteX106" fmla="*/ 335756 w 1562100"/>
                <a:gd name="connsiteY106" fmla="*/ 1151670 h 1215964"/>
                <a:gd name="connsiteX107" fmla="*/ 309563 w 1562100"/>
                <a:gd name="connsiteY107" fmla="*/ 1168339 h 1215964"/>
                <a:gd name="connsiteX108" fmla="*/ 297656 w 1562100"/>
                <a:gd name="connsiteY108" fmla="*/ 1192152 h 1215964"/>
                <a:gd name="connsiteX109" fmla="*/ 302419 w 1562100"/>
                <a:gd name="connsiteY109" fmla="*/ 1215964 h 1215964"/>
                <a:gd name="connsiteX110" fmla="*/ 342900 w 1562100"/>
                <a:gd name="connsiteY110" fmla="*/ 1215964 h 1215964"/>
                <a:gd name="connsiteX111" fmla="*/ 390525 w 1562100"/>
                <a:gd name="connsiteY111" fmla="*/ 1211202 h 1215964"/>
                <a:gd name="connsiteX112" fmla="*/ 428625 w 1562100"/>
                <a:gd name="connsiteY112" fmla="*/ 1201677 h 1215964"/>
                <a:gd name="connsiteX113" fmla="*/ 454819 w 1562100"/>
                <a:gd name="connsiteY113" fmla="*/ 1208820 h 1215964"/>
                <a:gd name="connsiteX114" fmla="*/ 473869 w 1562100"/>
                <a:gd name="connsiteY114" fmla="*/ 1187389 h 1215964"/>
                <a:gd name="connsiteX115" fmla="*/ 492919 w 1562100"/>
                <a:gd name="connsiteY115" fmla="*/ 1187389 h 1215964"/>
                <a:gd name="connsiteX116" fmla="*/ 507206 w 1562100"/>
                <a:gd name="connsiteY116" fmla="*/ 1156433 h 1215964"/>
                <a:gd name="connsiteX117" fmla="*/ 557213 w 1562100"/>
                <a:gd name="connsiteY117" fmla="*/ 1142145 h 1215964"/>
                <a:gd name="connsiteX118" fmla="*/ 583406 w 1562100"/>
                <a:gd name="connsiteY118" fmla="*/ 1123095 h 1215964"/>
                <a:gd name="connsiteX119" fmla="*/ 590550 w 1562100"/>
                <a:gd name="connsiteY119" fmla="*/ 1084995 h 1215964"/>
                <a:gd name="connsiteX120" fmla="*/ 607219 w 1562100"/>
                <a:gd name="connsiteY120" fmla="*/ 1058802 h 1215964"/>
                <a:gd name="connsiteX121" fmla="*/ 688181 w 1562100"/>
                <a:gd name="connsiteY121" fmla="*/ 1089758 h 1215964"/>
                <a:gd name="connsiteX0" fmla="*/ 688181 w 1562100"/>
                <a:gd name="connsiteY0" fmla="*/ 1089758 h 1215964"/>
                <a:gd name="connsiteX1" fmla="*/ 688181 w 1562100"/>
                <a:gd name="connsiteY1" fmla="*/ 1004033 h 1215964"/>
                <a:gd name="connsiteX2" fmla="*/ 692944 w 1562100"/>
                <a:gd name="connsiteY2" fmla="*/ 961170 h 1215964"/>
                <a:gd name="connsiteX3" fmla="*/ 692944 w 1562100"/>
                <a:gd name="connsiteY3" fmla="*/ 915927 h 1215964"/>
                <a:gd name="connsiteX4" fmla="*/ 676275 w 1562100"/>
                <a:gd name="connsiteY4" fmla="*/ 892114 h 1215964"/>
                <a:gd name="connsiteX5" fmla="*/ 690563 w 1562100"/>
                <a:gd name="connsiteY5" fmla="*/ 839727 h 1215964"/>
                <a:gd name="connsiteX6" fmla="*/ 685800 w 1562100"/>
                <a:gd name="connsiteY6" fmla="*/ 813533 h 1215964"/>
                <a:gd name="connsiteX7" fmla="*/ 697706 w 1562100"/>
                <a:gd name="connsiteY7" fmla="*/ 768289 h 1215964"/>
                <a:gd name="connsiteX8" fmla="*/ 714375 w 1562100"/>
                <a:gd name="connsiteY8" fmla="*/ 744477 h 1215964"/>
                <a:gd name="connsiteX9" fmla="*/ 721519 w 1562100"/>
                <a:gd name="connsiteY9" fmla="*/ 711139 h 1215964"/>
                <a:gd name="connsiteX10" fmla="*/ 735806 w 1562100"/>
                <a:gd name="connsiteY10" fmla="*/ 692089 h 1215964"/>
                <a:gd name="connsiteX11" fmla="*/ 792956 w 1562100"/>
                <a:gd name="connsiteY11" fmla="*/ 682564 h 1215964"/>
                <a:gd name="connsiteX12" fmla="*/ 838200 w 1562100"/>
                <a:gd name="connsiteY12" fmla="*/ 665895 h 1215964"/>
                <a:gd name="connsiteX13" fmla="*/ 876300 w 1562100"/>
                <a:gd name="connsiteY13" fmla="*/ 625414 h 1215964"/>
                <a:gd name="connsiteX14" fmla="*/ 923925 w 1562100"/>
                <a:gd name="connsiteY14" fmla="*/ 611127 h 1215964"/>
                <a:gd name="connsiteX15" fmla="*/ 995363 w 1562100"/>
                <a:gd name="connsiteY15" fmla="*/ 606364 h 1215964"/>
                <a:gd name="connsiteX16" fmla="*/ 1040606 w 1562100"/>
                <a:gd name="connsiteY16" fmla="*/ 596839 h 1215964"/>
                <a:gd name="connsiteX17" fmla="*/ 1119188 w 1562100"/>
                <a:gd name="connsiteY17" fmla="*/ 489683 h 1215964"/>
                <a:gd name="connsiteX18" fmla="*/ 1126331 w 1562100"/>
                <a:gd name="connsiteY18" fmla="*/ 456345 h 1215964"/>
                <a:gd name="connsiteX19" fmla="*/ 1152525 w 1562100"/>
                <a:gd name="connsiteY19" fmla="*/ 427770 h 1215964"/>
                <a:gd name="connsiteX20" fmla="*/ 1197769 w 1562100"/>
                <a:gd name="connsiteY20" fmla="*/ 418245 h 1215964"/>
                <a:gd name="connsiteX21" fmla="*/ 1290638 w 1562100"/>
                <a:gd name="connsiteY21" fmla="*/ 342045 h 1215964"/>
                <a:gd name="connsiteX22" fmla="*/ 1314450 w 1562100"/>
                <a:gd name="connsiteY22" fmla="*/ 339664 h 1215964"/>
                <a:gd name="connsiteX23" fmla="*/ 1409700 w 1562100"/>
                <a:gd name="connsiteY23" fmla="*/ 258702 h 1215964"/>
                <a:gd name="connsiteX24" fmla="*/ 1414463 w 1562100"/>
                <a:gd name="connsiteY24" fmla="*/ 239652 h 1215964"/>
                <a:gd name="connsiteX25" fmla="*/ 1507331 w 1562100"/>
                <a:gd name="connsiteY25" fmla="*/ 184883 h 1215964"/>
                <a:gd name="connsiteX26" fmla="*/ 1543050 w 1562100"/>
                <a:gd name="connsiteY26" fmla="*/ 139639 h 1215964"/>
                <a:gd name="connsiteX27" fmla="*/ 1562100 w 1562100"/>
                <a:gd name="connsiteY27" fmla="*/ 101539 h 1215964"/>
                <a:gd name="connsiteX28" fmla="*/ 1512094 w 1562100"/>
                <a:gd name="connsiteY28" fmla="*/ 120589 h 1215964"/>
                <a:gd name="connsiteX29" fmla="*/ 1478756 w 1562100"/>
                <a:gd name="connsiteY29" fmla="*/ 120589 h 1215964"/>
                <a:gd name="connsiteX30" fmla="*/ 1452563 w 1562100"/>
                <a:gd name="connsiteY30" fmla="*/ 158689 h 1215964"/>
                <a:gd name="connsiteX31" fmla="*/ 1421606 w 1562100"/>
                <a:gd name="connsiteY31" fmla="*/ 156308 h 1215964"/>
                <a:gd name="connsiteX32" fmla="*/ 1366838 w 1562100"/>
                <a:gd name="connsiteY32" fmla="*/ 125352 h 1215964"/>
                <a:gd name="connsiteX33" fmla="*/ 1323975 w 1562100"/>
                <a:gd name="connsiteY33" fmla="*/ 113445 h 1215964"/>
                <a:gd name="connsiteX34" fmla="*/ 1238250 w 1562100"/>
                <a:gd name="connsiteY34" fmla="*/ 149164 h 1215964"/>
                <a:gd name="connsiteX35" fmla="*/ 1223963 w 1562100"/>
                <a:gd name="connsiteY35" fmla="*/ 187264 h 1215964"/>
                <a:gd name="connsiteX36" fmla="*/ 1195388 w 1562100"/>
                <a:gd name="connsiteY36" fmla="*/ 244414 h 1215964"/>
                <a:gd name="connsiteX37" fmla="*/ 1109663 w 1562100"/>
                <a:gd name="connsiteY37" fmla="*/ 206314 h 1215964"/>
                <a:gd name="connsiteX38" fmla="*/ 1097756 w 1562100"/>
                <a:gd name="connsiteY38" fmla="*/ 249177 h 1215964"/>
                <a:gd name="connsiteX39" fmla="*/ 1083469 w 1562100"/>
                <a:gd name="connsiteY39" fmla="*/ 282514 h 1215964"/>
                <a:gd name="connsiteX40" fmla="*/ 959644 w 1562100"/>
                <a:gd name="connsiteY40" fmla="*/ 313470 h 1215964"/>
                <a:gd name="connsiteX41" fmla="*/ 945356 w 1562100"/>
                <a:gd name="connsiteY41" fmla="*/ 308708 h 1215964"/>
                <a:gd name="connsiteX42" fmla="*/ 926306 w 1562100"/>
                <a:gd name="connsiteY42" fmla="*/ 330139 h 1215964"/>
                <a:gd name="connsiteX43" fmla="*/ 890588 w 1562100"/>
                <a:gd name="connsiteY43" fmla="*/ 337283 h 1215964"/>
                <a:gd name="connsiteX44" fmla="*/ 854869 w 1562100"/>
                <a:gd name="connsiteY44" fmla="*/ 287277 h 1215964"/>
                <a:gd name="connsiteX45" fmla="*/ 835819 w 1562100"/>
                <a:gd name="connsiteY45" fmla="*/ 275370 h 1215964"/>
                <a:gd name="connsiteX46" fmla="*/ 826294 w 1562100"/>
                <a:gd name="connsiteY46" fmla="*/ 230127 h 1215964"/>
                <a:gd name="connsiteX47" fmla="*/ 792956 w 1562100"/>
                <a:gd name="connsiteY47" fmla="*/ 213458 h 1215964"/>
                <a:gd name="connsiteX48" fmla="*/ 759619 w 1562100"/>
                <a:gd name="connsiteY48" fmla="*/ 206314 h 1215964"/>
                <a:gd name="connsiteX49" fmla="*/ 740569 w 1562100"/>
                <a:gd name="connsiteY49" fmla="*/ 201552 h 1215964"/>
                <a:gd name="connsiteX50" fmla="*/ 728663 w 1562100"/>
                <a:gd name="connsiteY50" fmla="*/ 192027 h 1215964"/>
                <a:gd name="connsiteX51" fmla="*/ 735806 w 1562100"/>
                <a:gd name="connsiteY51" fmla="*/ 165833 h 1215964"/>
                <a:gd name="connsiteX52" fmla="*/ 742950 w 1562100"/>
                <a:gd name="connsiteY52" fmla="*/ 142020 h 1215964"/>
                <a:gd name="connsiteX53" fmla="*/ 700088 w 1562100"/>
                <a:gd name="connsiteY53" fmla="*/ 92014 h 1215964"/>
                <a:gd name="connsiteX54" fmla="*/ 447675 w 1562100"/>
                <a:gd name="connsiteY54" fmla="*/ 22958 h 1215964"/>
                <a:gd name="connsiteX55" fmla="*/ 376238 w 1562100"/>
                <a:gd name="connsiteY55" fmla="*/ 11052 h 1215964"/>
                <a:gd name="connsiteX56" fmla="*/ 314326 w 1562100"/>
                <a:gd name="connsiteY56" fmla="*/ 11051 h 1215964"/>
                <a:gd name="connsiteX57" fmla="*/ 328613 w 1562100"/>
                <a:gd name="connsiteY57" fmla="*/ 89633 h 1215964"/>
                <a:gd name="connsiteX58" fmla="*/ 292894 w 1562100"/>
                <a:gd name="connsiteY58" fmla="*/ 192027 h 1215964"/>
                <a:gd name="connsiteX59" fmla="*/ 264319 w 1562100"/>
                <a:gd name="connsiteY59" fmla="*/ 199170 h 1215964"/>
                <a:gd name="connsiteX60" fmla="*/ 261938 w 1562100"/>
                <a:gd name="connsiteY60" fmla="*/ 213458 h 1215964"/>
                <a:gd name="connsiteX61" fmla="*/ 261938 w 1562100"/>
                <a:gd name="connsiteY61" fmla="*/ 246795 h 1215964"/>
                <a:gd name="connsiteX62" fmla="*/ 228600 w 1562100"/>
                <a:gd name="connsiteY62" fmla="*/ 289658 h 1215964"/>
                <a:gd name="connsiteX63" fmla="*/ 271463 w 1562100"/>
                <a:gd name="connsiteY63" fmla="*/ 306327 h 1215964"/>
                <a:gd name="connsiteX64" fmla="*/ 278606 w 1562100"/>
                <a:gd name="connsiteY64" fmla="*/ 325377 h 1215964"/>
                <a:gd name="connsiteX65" fmla="*/ 257175 w 1562100"/>
                <a:gd name="connsiteY65" fmla="*/ 361095 h 1215964"/>
                <a:gd name="connsiteX66" fmla="*/ 221456 w 1562100"/>
                <a:gd name="connsiteY66" fmla="*/ 370620 h 1215964"/>
                <a:gd name="connsiteX67" fmla="*/ 221456 w 1562100"/>
                <a:gd name="connsiteY67" fmla="*/ 411102 h 1215964"/>
                <a:gd name="connsiteX68" fmla="*/ 254794 w 1562100"/>
                <a:gd name="connsiteY68" fmla="*/ 449202 h 1215964"/>
                <a:gd name="connsiteX69" fmla="*/ 226219 w 1562100"/>
                <a:gd name="connsiteY69" fmla="*/ 513495 h 1215964"/>
                <a:gd name="connsiteX70" fmla="*/ 180975 w 1562100"/>
                <a:gd name="connsiteY70" fmla="*/ 542070 h 1215964"/>
                <a:gd name="connsiteX71" fmla="*/ 183356 w 1562100"/>
                <a:gd name="connsiteY71" fmla="*/ 558739 h 1215964"/>
                <a:gd name="connsiteX72" fmla="*/ 204788 w 1562100"/>
                <a:gd name="connsiteY72" fmla="*/ 568264 h 1215964"/>
                <a:gd name="connsiteX73" fmla="*/ 219075 w 1562100"/>
                <a:gd name="connsiteY73" fmla="*/ 577789 h 1215964"/>
                <a:gd name="connsiteX74" fmla="*/ 223838 w 1562100"/>
                <a:gd name="connsiteY74" fmla="*/ 596839 h 1215964"/>
                <a:gd name="connsiteX75" fmla="*/ 195263 w 1562100"/>
                <a:gd name="connsiteY75" fmla="*/ 623033 h 1215964"/>
                <a:gd name="connsiteX76" fmla="*/ 123825 w 1562100"/>
                <a:gd name="connsiteY76" fmla="*/ 668277 h 1215964"/>
                <a:gd name="connsiteX77" fmla="*/ 123825 w 1562100"/>
                <a:gd name="connsiteY77" fmla="*/ 703995 h 1215964"/>
                <a:gd name="connsiteX78" fmla="*/ 135731 w 1562100"/>
                <a:gd name="connsiteY78" fmla="*/ 734952 h 1215964"/>
                <a:gd name="connsiteX79" fmla="*/ 123825 w 1562100"/>
                <a:gd name="connsiteY79" fmla="*/ 775433 h 1215964"/>
                <a:gd name="connsiteX80" fmla="*/ 76200 w 1562100"/>
                <a:gd name="connsiteY80" fmla="*/ 770670 h 1215964"/>
                <a:gd name="connsiteX81" fmla="*/ 52388 w 1562100"/>
                <a:gd name="connsiteY81" fmla="*/ 715902 h 1215964"/>
                <a:gd name="connsiteX82" fmla="*/ 33338 w 1562100"/>
                <a:gd name="connsiteY82" fmla="*/ 708758 h 1215964"/>
                <a:gd name="connsiteX83" fmla="*/ 23813 w 1562100"/>
                <a:gd name="connsiteY83" fmla="*/ 746858 h 1215964"/>
                <a:gd name="connsiteX84" fmla="*/ 21431 w 1562100"/>
                <a:gd name="connsiteY84" fmla="*/ 756383 h 1215964"/>
                <a:gd name="connsiteX85" fmla="*/ 7144 w 1562100"/>
                <a:gd name="connsiteY85" fmla="*/ 773052 h 1215964"/>
                <a:gd name="connsiteX86" fmla="*/ 0 w 1562100"/>
                <a:gd name="connsiteY86" fmla="*/ 830202 h 1215964"/>
                <a:gd name="connsiteX87" fmla="*/ 23813 w 1562100"/>
                <a:gd name="connsiteY87" fmla="*/ 858777 h 1215964"/>
                <a:gd name="connsiteX88" fmla="*/ 16669 w 1562100"/>
                <a:gd name="connsiteY88" fmla="*/ 899258 h 1215964"/>
                <a:gd name="connsiteX89" fmla="*/ 35719 w 1562100"/>
                <a:gd name="connsiteY89" fmla="*/ 904020 h 1215964"/>
                <a:gd name="connsiteX90" fmla="*/ 69056 w 1562100"/>
                <a:gd name="connsiteY90" fmla="*/ 904020 h 1215964"/>
                <a:gd name="connsiteX91" fmla="*/ 85725 w 1562100"/>
                <a:gd name="connsiteY91" fmla="*/ 894495 h 1215964"/>
                <a:gd name="connsiteX92" fmla="*/ 135731 w 1562100"/>
                <a:gd name="connsiteY92" fmla="*/ 951645 h 1215964"/>
                <a:gd name="connsiteX93" fmla="*/ 123825 w 1562100"/>
                <a:gd name="connsiteY93" fmla="*/ 970695 h 1215964"/>
                <a:gd name="connsiteX94" fmla="*/ 133350 w 1562100"/>
                <a:gd name="connsiteY94" fmla="*/ 999270 h 1215964"/>
                <a:gd name="connsiteX95" fmla="*/ 164306 w 1562100"/>
                <a:gd name="connsiteY95" fmla="*/ 1018320 h 1215964"/>
                <a:gd name="connsiteX96" fmla="*/ 190500 w 1562100"/>
                <a:gd name="connsiteY96" fmla="*/ 1027845 h 1215964"/>
                <a:gd name="connsiteX97" fmla="*/ 216694 w 1562100"/>
                <a:gd name="connsiteY97" fmla="*/ 1034989 h 1215964"/>
                <a:gd name="connsiteX98" fmla="*/ 228600 w 1562100"/>
                <a:gd name="connsiteY98" fmla="*/ 1037370 h 1215964"/>
                <a:gd name="connsiteX99" fmla="*/ 240506 w 1562100"/>
                <a:gd name="connsiteY99" fmla="*/ 999270 h 1215964"/>
                <a:gd name="connsiteX100" fmla="*/ 269081 w 1562100"/>
                <a:gd name="connsiteY100" fmla="*/ 1004033 h 1215964"/>
                <a:gd name="connsiteX101" fmla="*/ 288131 w 1562100"/>
                <a:gd name="connsiteY101" fmla="*/ 992127 h 1215964"/>
                <a:gd name="connsiteX102" fmla="*/ 307181 w 1562100"/>
                <a:gd name="connsiteY102" fmla="*/ 1042133 h 1215964"/>
                <a:gd name="connsiteX103" fmla="*/ 330994 w 1562100"/>
                <a:gd name="connsiteY103" fmla="*/ 1056420 h 1215964"/>
                <a:gd name="connsiteX104" fmla="*/ 340519 w 1562100"/>
                <a:gd name="connsiteY104" fmla="*/ 1084995 h 1215964"/>
                <a:gd name="connsiteX105" fmla="*/ 357188 w 1562100"/>
                <a:gd name="connsiteY105" fmla="*/ 1094520 h 1215964"/>
                <a:gd name="connsiteX106" fmla="*/ 364331 w 1562100"/>
                <a:gd name="connsiteY106" fmla="*/ 1125477 h 1215964"/>
                <a:gd name="connsiteX107" fmla="*/ 335756 w 1562100"/>
                <a:gd name="connsiteY107" fmla="*/ 1151670 h 1215964"/>
                <a:gd name="connsiteX108" fmla="*/ 309563 w 1562100"/>
                <a:gd name="connsiteY108" fmla="*/ 1168339 h 1215964"/>
                <a:gd name="connsiteX109" fmla="*/ 297656 w 1562100"/>
                <a:gd name="connsiteY109" fmla="*/ 1192152 h 1215964"/>
                <a:gd name="connsiteX110" fmla="*/ 302419 w 1562100"/>
                <a:gd name="connsiteY110" fmla="*/ 1215964 h 1215964"/>
                <a:gd name="connsiteX111" fmla="*/ 342900 w 1562100"/>
                <a:gd name="connsiteY111" fmla="*/ 1215964 h 1215964"/>
                <a:gd name="connsiteX112" fmla="*/ 390525 w 1562100"/>
                <a:gd name="connsiteY112" fmla="*/ 1211202 h 1215964"/>
                <a:gd name="connsiteX113" fmla="*/ 428625 w 1562100"/>
                <a:gd name="connsiteY113" fmla="*/ 1201677 h 1215964"/>
                <a:gd name="connsiteX114" fmla="*/ 454819 w 1562100"/>
                <a:gd name="connsiteY114" fmla="*/ 1208820 h 1215964"/>
                <a:gd name="connsiteX115" fmla="*/ 473869 w 1562100"/>
                <a:gd name="connsiteY115" fmla="*/ 1187389 h 1215964"/>
                <a:gd name="connsiteX116" fmla="*/ 492919 w 1562100"/>
                <a:gd name="connsiteY116" fmla="*/ 1187389 h 1215964"/>
                <a:gd name="connsiteX117" fmla="*/ 507206 w 1562100"/>
                <a:gd name="connsiteY117" fmla="*/ 1156433 h 1215964"/>
                <a:gd name="connsiteX118" fmla="*/ 557213 w 1562100"/>
                <a:gd name="connsiteY118" fmla="*/ 1142145 h 1215964"/>
                <a:gd name="connsiteX119" fmla="*/ 583406 w 1562100"/>
                <a:gd name="connsiteY119" fmla="*/ 1123095 h 1215964"/>
                <a:gd name="connsiteX120" fmla="*/ 590550 w 1562100"/>
                <a:gd name="connsiteY120" fmla="*/ 1084995 h 1215964"/>
                <a:gd name="connsiteX121" fmla="*/ 607219 w 1562100"/>
                <a:gd name="connsiteY121" fmla="*/ 1058802 h 1215964"/>
                <a:gd name="connsiteX122" fmla="*/ 688181 w 1562100"/>
                <a:gd name="connsiteY122" fmla="*/ 1089758 h 1215964"/>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28625 w 1562100"/>
                <a:gd name="connsiteY54" fmla="*/ 0 h 1309687"/>
                <a:gd name="connsiteX55" fmla="*/ 376238 w 1562100"/>
                <a:gd name="connsiteY55" fmla="*/ 104775 h 1309687"/>
                <a:gd name="connsiteX56" fmla="*/ 314326 w 1562100"/>
                <a:gd name="connsiteY56" fmla="*/ 104774 h 1309687"/>
                <a:gd name="connsiteX57" fmla="*/ 328613 w 1562100"/>
                <a:gd name="connsiteY57" fmla="*/ 183356 h 1309687"/>
                <a:gd name="connsiteX58" fmla="*/ 292894 w 1562100"/>
                <a:gd name="connsiteY58" fmla="*/ 285750 h 1309687"/>
                <a:gd name="connsiteX59" fmla="*/ 264319 w 1562100"/>
                <a:gd name="connsiteY59" fmla="*/ 292893 h 1309687"/>
                <a:gd name="connsiteX60" fmla="*/ 261938 w 1562100"/>
                <a:gd name="connsiteY60" fmla="*/ 307181 h 1309687"/>
                <a:gd name="connsiteX61" fmla="*/ 261938 w 1562100"/>
                <a:gd name="connsiteY61" fmla="*/ 340518 h 1309687"/>
                <a:gd name="connsiteX62" fmla="*/ 228600 w 1562100"/>
                <a:gd name="connsiteY62" fmla="*/ 383381 h 1309687"/>
                <a:gd name="connsiteX63" fmla="*/ 271463 w 1562100"/>
                <a:gd name="connsiteY63" fmla="*/ 400050 h 1309687"/>
                <a:gd name="connsiteX64" fmla="*/ 278606 w 1562100"/>
                <a:gd name="connsiteY64" fmla="*/ 419100 h 1309687"/>
                <a:gd name="connsiteX65" fmla="*/ 257175 w 1562100"/>
                <a:gd name="connsiteY65" fmla="*/ 454818 h 1309687"/>
                <a:gd name="connsiteX66" fmla="*/ 221456 w 1562100"/>
                <a:gd name="connsiteY66" fmla="*/ 464343 h 1309687"/>
                <a:gd name="connsiteX67" fmla="*/ 221456 w 1562100"/>
                <a:gd name="connsiteY67" fmla="*/ 504825 h 1309687"/>
                <a:gd name="connsiteX68" fmla="*/ 254794 w 1562100"/>
                <a:gd name="connsiteY68" fmla="*/ 542925 h 1309687"/>
                <a:gd name="connsiteX69" fmla="*/ 226219 w 1562100"/>
                <a:gd name="connsiteY69" fmla="*/ 607218 h 1309687"/>
                <a:gd name="connsiteX70" fmla="*/ 180975 w 1562100"/>
                <a:gd name="connsiteY70" fmla="*/ 635793 h 1309687"/>
                <a:gd name="connsiteX71" fmla="*/ 183356 w 1562100"/>
                <a:gd name="connsiteY71" fmla="*/ 652462 h 1309687"/>
                <a:gd name="connsiteX72" fmla="*/ 204788 w 1562100"/>
                <a:gd name="connsiteY72" fmla="*/ 661987 h 1309687"/>
                <a:gd name="connsiteX73" fmla="*/ 219075 w 1562100"/>
                <a:gd name="connsiteY73" fmla="*/ 671512 h 1309687"/>
                <a:gd name="connsiteX74" fmla="*/ 223838 w 1562100"/>
                <a:gd name="connsiteY74" fmla="*/ 690562 h 1309687"/>
                <a:gd name="connsiteX75" fmla="*/ 195263 w 1562100"/>
                <a:gd name="connsiteY75" fmla="*/ 716756 h 1309687"/>
                <a:gd name="connsiteX76" fmla="*/ 123825 w 1562100"/>
                <a:gd name="connsiteY76" fmla="*/ 762000 h 1309687"/>
                <a:gd name="connsiteX77" fmla="*/ 123825 w 1562100"/>
                <a:gd name="connsiteY77" fmla="*/ 797718 h 1309687"/>
                <a:gd name="connsiteX78" fmla="*/ 135731 w 1562100"/>
                <a:gd name="connsiteY78" fmla="*/ 828675 h 1309687"/>
                <a:gd name="connsiteX79" fmla="*/ 123825 w 1562100"/>
                <a:gd name="connsiteY79" fmla="*/ 869156 h 1309687"/>
                <a:gd name="connsiteX80" fmla="*/ 76200 w 1562100"/>
                <a:gd name="connsiteY80" fmla="*/ 864393 h 1309687"/>
                <a:gd name="connsiteX81" fmla="*/ 52388 w 1562100"/>
                <a:gd name="connsiteY81" fmla="*/ 809625 h 1309687"/>
                <a:gd name="connsiteX82" fmla="*/ 33338 w 1562100"/>
                <a:gd name="connsiteY82" fmla="*/ 802481 h 1309687"/>
                <a:gd name="connsiteX83" fmla="*/ 23813 w 1562100"/>
                <a:gd name="connsiteY83" fmla="*/ 840581 h 1309687"/>
                <a:gd name="connsiteX84" fmla="*/ 21431 w 1562100"/>
                <a:gd name="connsiteY84" fmla="*/ 850106 h 1309687"/>
                <a:gd name="connsiteX85" fmla="*/ 7144 w 1562100"/>
                <a:gd name="connsiteY85" fmla="*/ 866775 h 1309687"/>
                <a:gd name="connsiteX86" fmla="*/ 0 w 1562100"/>
                <a:gd name="connsiteY86" fmla="*/ 923925 h 1309687"/>
                <a:gd name="connsiteX87" fmla="*/ 23813 w 1562100"/>
                <a:gd name="connsiteY87" fmla="*/ 952500 h 1309687"/>
                <a:gd name="connsiteX88" fmla="*/ 16669 w 1562100"/>
                <a:gd name="connsiteY88" fmla="*/ 992981 h 1309687"/>
                <a:gd name="connsiteX89" fmla="*/ 35719 w 1562100"/>
                <a:gd name="connsiteY89" fmla="*/ 997743 h 1309687"/>
                <a:gd name="connsiteX90" fmla="*/ 69056 w 1562100"/>
                <a:gd name="connsiteY90" fmla="*/ 997743 h 1309687"/>
                <a:gd name="connsiteX91" fmla="*/ 85725 w 1562100"/>
                <a:gd name="connsiteY91" fmla="*/ 988218 h 1309687"/>
                <a:gd name="connsiteX92" fmla="*/ 135731 w 1562100"/>
                <a:gd name="connsiteY92" fmla="*/ 1045368 h 1309687"/>
                <a:gd name="connsiteX93" fmla="*/ 123825 w 1562100"/>
                <a:gd name="connsiteY93" fmla="*/ 1064418 h 1309687"/>
                <a:gd name="connsiteX94" fmla="*/ 133350 w 1562100"/>
                <a:gd name="connsiteY94" fmla="*/ 1092993 h 1309687"/>
                <a:gd name="connsiteX95" fmla="*/ 164306 w 1562100"/>
                <a:gd name="connsiteY95" fmla="*/ 1112043 h 1309687"/>
                <a:gd name="connsiteX96" fmla="*/ 190500 w 1562100"/>
                <a:gd name="connsiteY96" fmla="*/ 1121568 h 1309687"/>
                <a:gd name="connsiteX97" fmla="*/ 216694 w 1562100"/>
                <a:gd name="connsiteY97" fmla="*/ 1128712 h 1309687"/>
                <a:gd name="connsiteX98" fmla="*/ 228600 w 1562100"/>
                <a:gd name="connsiteY98" fmla="*/ 1131093 h 1309687"/>
                <a:gd name="connsiteX99" fmla="*/ 240506 w 1562100"/>
                <a:gd name="connsiteY99" fmla="*/ 1092993 h 1309687"/>
                <a:gd name="connsiteX100" fmla="*/ 269081 w 1562100"/>
                <a:gd name="connsiteY100" fmla="*/ 1097756 h 1309687"/>
                <a:gd name="connsiteX101" fmla="*/ 288131 w 1562100"/>
                <a:gd name="connsiteY101" fmla="*/ 1085850 h 1309687"/>
                <a:gd name="connsiteX102" fmla="*/ 307181 w 1562100"/>
                <a:gd name="connsiteY102" fmla="*/ 1135856 h 1309687"/>
                <a:gd name="connsiteX103" fmla="*/ 330994 w 1562100"/>
                <a:gd name="connsiteY103" fmla="*/ 1150143 h 1309687"/>
                <a:gd name="connsiteX104" fmla="*/ 340519 w 1562100"/>
                <a:gd name="connsiteY104" fmla="*/ 1178718 h 1309687"/>
                <a:gd name="connsiteX105" fmla="*/ 357188 w 1562100"/>
                <a:gd name="connsiteY105" fmla="*/ 1188243 h 1309687"/>
                <a:gd name="connsiteX106" fmla="*/ 364331 w 1562100"/>
                <a:gd name="connsiteY106" fmla="*/ 1219200 h 1309687"/>
                <a:gd name="connsiteX107" fmla="*/ 335756 w 1562100"/>
                <a:gd name="connsiteY107" fmla="*/ 1245393 h 1309687"/>
                <a:gd name="connsiteX108" fmla="*/ 309563 w 1562100"/>
                <a:gd name="connsiteY108" fmla="*/ 1262062 h 1309687"/>
                <a:gd name="connsiteX109" fmla="*/ 297656 w 1562100"/>
                <a:gd name="connsiteY109" fmla="*/ 1285875 h 1309687"/>
                <a:gd name="connsiteX110" fmla="*/ 302419 w 1562100"/>
                <a:gd name="connsiteY110" fmla="*/ 1309687 h 1309687"/>
                <a:gd name="connsiteX111" fmla="*/ 342900 w 1562100"/>
                <a:gd name="connsiteY111" fmla="*/ 1309687 h 1309687"/>
                <a:gd name="connsiteX112" fmla="*/ 390525 w 1562100"/>
                <a:gd name="connsiteY112" fmla="*/ 1304925 h 1309687"/>
                <a:gd name="connsiteX113" fmla="*/ 428625 w 1562100"/>
                <a:gd name="connsiteY113" fmla="*/ 1295400 h 1309687"/>
                <a:gd name="connsiteX114" fmla="*/ 454819 w 1562100"/>
                <a:gd name="connsiteY114" fmla="*/ 1302543 h 1309687"/>
                <a:gd name="connsiteX115" fmla="*/ 473869 w 1562100"/>
                <a:gd name="connsiteY115" fmla="*/ 1281112 h 1309687"/>
                <a:gd name="connsiteX116" fmla="*/ 492919 w 1562100"/>
                <a:gd name="connsiteY116" fmla="*/ 1281112 h 1309687"/>
                <a:gd name="connsiteX117" fmla="*/ 507206 w 1562100"/>
                <a:gd name="connsiteY117" fmla="*/ 1250156 h 1309687"/>
                <a:gd name="connsiteX118" fmla="*/ 557213 w 1562100"/>
                <a:gd name="connsiteY118" fmla="*/ 1235868 h 1309687"/>
                <a:gd name="connsiteX119" fmla="*/ 583406 w 1562100"/>
                <a:gd name="connsiteY119" fmla="*/ 1216818 h 1309687"/>
                <a:gd name="connsiteX120" fmla="*/ 590550 w 1562100"/>
                <a:gd name="connsiteY120" fmla="*/ 1178718 h 1309687"/>
                <a:gd name="connsiteX121" fmla="*/ 607219 w 1562100"/>
                <a:gd name="connsiteY121" fmla="*/ 1152525 h 1309687"/>
                <a:gd name="connsiteX122" fmla="*/ 688181 w 1562100"/>
                <a:gd name="connsiteY122"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61963 w 1562100"/>
                <a:gd name="connsiteY54" fmla="*/ 23813 h 1309687"/>
                <a:gd name="connsiteX55" fmla="*/ 428625 w 1562100"/>
                <a:gd name="connsiteY55" fmla="*/ 0 h 1309687"/>
                <a:gd name="connsiteX56" fmla="*/ 376238 w 1562100"/>
                <a:gd name="connsiteY56" fmla="*/ 104775 h 1309687"/>
                <a:gd name="connsiteX57" fmla="*/ 314326 w 1562100"/>
                <a:gd name="connsiteY57" fmla="*/ 104774 h 1309687"/>
                <a:gd name="connsiteX58" fmla="*/ 328613 w 1562100"/>
                <a:gd name="connsiteY58" fmla="*/ 183356 h 1309687"/>
                <a:gd name="connsiteX59" fmla="*/ 292894 w 1562100"/>
                <a:gd name="connsiteY59" fmla="*/ 285750 h 1309687"/>
                <a:gd name="connsiteX60" fmla="*/ 264319 w 1562100"/>
                <a:gd name="connsiteY60" fmla="*/ 292893 h 1309687"/>
                <a:gd name="connsiteX61" fmla="*/ 261938 w 1562100"/>
                <a:gd name="connsiteY61" fmla="*/ 307181 h 1309687"/>
                <a:gd name="connsiteX62" fmla="*/ 261938 w 1562100"/>
                <a:gd name="connsiteY62" fmla="*/ 340518 h 1309687"/>
                <a:gd name="connsiteX63" fmla="*/ 228600 w 1562100"/>
                <a:gd name="connsiteY63" fmla="*/ 383381 h 1309687"/>
                <a:gd name="connsiteX64" fmla="*/ 271463 w 1562100"/>
                <a:gd name="connsiteY64" fmla="*/ 400050 h 1309687"/>
                <a:gd name="connsiteX65" fmla="*/ 278606 w 1562100"/>
                <a:gd name="connsiteY65" fmla="*/ 419100 h 1309687"/>
                <a:gd name="connsiteX66" fmla="*/ 257175 w 1562100"/>
                <a:gd name="connsiteY66" fmla="*/ 454818 h 1309687"/>
                <a:gd name="connsiteX67" fmla="*/ 221456 w 1562100"/>
                <a:gd name="connsiteY67" fmla="*/ 464343 h 1309687"/>
                <a:gd name="connsiteX68" fmla="*/ 221456 w 1562100"/>
                <a:gd name="connsiteY68" fmla="*/ 504825 h 1309687"/>
                <a:gd name="connsiteX69" fmla="*/ 254794 w 1562100"/>
                <a:gd name="connsiteY69" fmla="*/ 542925 h 1309687"/>
                <a:gd name="connsiteX70" fmla="*/ 226219 w 1562100"/>
                <a:gd name="connsiteY70" fmla="*/ 607218 h 1309687"/>
                <a:gd name="connsiteX71" fmla="*/ 180975 w 1562100"/>
                <a:gd name="connsiteY71" fmla="*/ 635793 h 1309687"/>
                <a:gd name="connsiteX72" fmla="*/ 183356 w 1562100"/>
                <a:gd name="connsiteY72" fmla="*/ 652462 h 1309687"/>
                <a:gd name="connsiteX73" fmla="*/ 204788 w 1562100"/>
                <a:gd name="connsiteY73" fmla="*/ 661987 h 1309687"/>
                <a:gd name="connsiteX74" fmla="*/ 219075 w 1562100"/>
                <a:gd name="connsiteY74" fmla="*/ 671512 h 1309687"/>
                <a:gd name="connsiteX75" fmla="*/ 223838 w 1562100"/>
                <a:gd name="connsiteY75" fmla="*/ 690562 h 1309687"/>
                <a:gd name="connsiteX76" fmla="*/ 195263 w 1562100"/>
                <a:gd name="connsiteY76" fmla="*/ 716756 h 1309687"/>
                <a:gd name="connsiteX77" fmla="*/ 123825 w 1562100"/>
                <a:gd name="connsiteY77" fmla="*/ 762000 h 1309687"/>
                <a:gd name="connsiteX78" fmla="*/ 123825 w 1562100"/>
                <a:gd name="connsiteY78" fmla="*/ 797718 h 1309687"/>
                <a:gd name="connsiteX79" fmla="*/ 135731 w 1562100"/>
                <a:gd name="connsiteY79" fmla="*/ 828675 h 1309687"/>
                <a:gd name="connsiteX80" fmla="*/ 123825 w 1562100"/>
                <a:gd name="connsiteY80" fmla="*/ 869156 h 1309687"/>
                <a:gd name="connsiteX81" fmla="*/ 76200 w 1562100"/>
                <a:gd name="connsiteY81" fmla="*/ 864393 h 1309687"/>
                <a:gd name="connsiteX82" fmla="*/ 52388 w 1562100"/>
                <a:gd name="connsiteY82" fmla="*/ 809625 h 1309687"/>
                <a:gd name="connsiteX83" fmla="*/ 33338 w 1562100"/>
                <a:gd name="connsiteY83" fmla="*/ 802481 h 1309687"/>
                <a:gd name="connsiteX84" fmla="*/ 23813 w 1562100"/>
                <a:gd name="connsiteY84" fmla="*/ 840581 h 1309687"/>
                <a:gd name="connsiteX85" fmla="*/ 21431 w 1562100"/>
                <a:gd name="connsiteY85" fmla="*/ 850106 h 1309687"/>
                <a:gd name="connsiteX86" fmla="*/ 7144 w 1562100"/>
                <a:gd name="connsiteY86" fmla="*/ 866775 h 1309687"/>
                <a:gd name="connsiteX87" fmla="*/ 0 w 1562100"/>
                <a:gd name="connsiteY87" fmla="*/ 923925 h 1309687"/>
                <a:gd name="connsiteX88" fmla="*/ 23813 w 1562100"/>
                <a:gd name="connsiteY88" fmla="*/ 952500 h 1309687"/>
                <a:gd name="connsiteX89" fmla="*/ 16669 w 1562100"/>
                <a:gd name="connsiteY89" fmla="*/ 992981 h 1309687"/>
                <a:gd name="connsiteX90" fmla="*/ 35719 w 1562100"/>
                <a:gd name="connsiteY90" fmla="*/ 997743 h 1309687"/>
                <a:gd name="connsiteX91" fmla="*/ 69056 w 1562100"/>
                <a:gd name="connsiteY91" fmla="*/ 997743 h 1309687"/>
                <a:gd name="connsiteX92" fmla="*/ 85725 w 1562100"/>
                <a:gd name="connsiteY92" fmla="*/ 988218 h 1309687"/>
                <a:gd name="connsiteX93" fmla="*/ 135731 w 1562100"/>
                <a:gd name="connsiteY93" fmla="*/ 1045368 h 1309687"/>
                <a:gd name="connsiteX94" fmla="*/ 123825 w 1562100"/>
                <a:gd name="connsiteY94" fmla="*/ 1064418 h 1309687"/>
                <a:gd name="connsiteX95" fmla="*/ 133350 w 1562100"/>
                <a:gd name="connsiteY95" fmla="*/ 1092993 h 1309687"/>
                <a:gd name="connsiteX96" fmla="*/ 164306 w 1562100"/>
                <a:gd name="connsiteY96" fmla="*/ 1112043 h 1309687"/>
                <a:gd name="connsiteX97" fmla="*/ 190500 w 1562100"/>
                <a:gd name="connsiteY97" fmla="*/ 1121568 h 1309687"/>
                <a:gd name="connsiteX98" fmla="*/ 216694 w 1562100"/>
                <a:gd name="connsiteY98" fmla="*/ 1128712 h 1309687"/>
                <a:gd name="connsiteX99" fmla="*/ 228600 w 1562100"/>
                <a:gd name="connsiteY99" fmla="*/ 1131093 h 1309687"/>
                <a:gd name="connsiteX100" fmla="*/ 240506 w 1562100"/>
                <a:gd name="connsiteY100" fmla="*/ 1092993 h 1309687"/>
                <a:gd name="connsiteX101" fmla="*/ 269081 w 1562100"/>
                <a:gd name="connsiteY101" fmla="*/ 1097756 h 1309687"/>
                <a:gd name="connsiteX102" fmla="*/ 288131 w 1562100"/>
                <a:gd name="connsiteY102" fmla="*/ 1085850 h 1309687"/>
                <a:gd name="connsiteX103" fmla="*/ 307181 w 1562100"/>
                <a:gd name="connsiteY103" fmla="*/ 1135856 h 1309687"/>
                <a:gd name="connsiteX104" fmla="*/ 330994 w 1562100"/>
                <a:gd name="connsiteY104" fmla="*/ 1150143 h 1309687"/>
                <a:gd name="connsiteX105" fmla="*/ 340519 w 1562100"/>
                <a:gd name="connsiteY105" fmla="*/ 1178718 h 1309687"/>
                <a:gd name="connsiteX106" fmla="*/ 357188 w 1562100"/>
                <a:gd name="connsiteY106" fmla="*/ 1188243 h 1309687"/>
                <a:gd name="connsiteX107" fmla="*/ 364331 w 1562100"/>
                <a:gd name="connsiteY107" fmla="*/ 1219200 h 1309687"/>
                <a:gd name="connsiteX108" fmla="*/ 335756 w 1562100"/>
                <a:gd name="connsiteY108" fmla="*/ 1245393 h 1309687"/>
                <a:gd name="connsiteX109" fmla="*/ 309563 w 1562100"/>
                <a:gd name="connsiteY109" fmla="*/ 1262062 h 1309687"/>
                <a:gd name="connsiteX110" fmla="*/ 297656 w 1562100"/>
                <a:gd name="connsiteY110" fmla="*/ 1285875 h 1309687"/>
                <a:gd name="connsiteX111" fmla="*/ 302419 w 1562100"/>
                <a:gd name="connsiteY111" fmla="*/ 1309687 h 1309687"/>
                <a:gd name="connsiteX112" fmla="*/ 342900 w 1562100"/>
                <a:gd name="connsiteY112" fmla="*/ 1309687 h 1309687"/>
                <a:gd name="connsiteX113" fmla="*/ 390525 w 1562100"/>
                <a:gd name="connsiteY113" fmla="*/ 1304925 h 1309687"/>
                <a:gd name="connsiteX114" fmla="*/ 428625 w 1562100"/>
                <a:gd name="connsiteY114" fmla="*/ 1295400 h 1309687"/>
                <a:gd name="connsiteX115" fmla="*/ 454819 w 1562100"/>
                <a:gd name="connsiteY115" fmla="*/ 1302543 h 1309687"/>
                <a:gd name="connsiteX116" fmla="*/ 473869 w 1562100"/>
                <a:gd name="connsiteY116" fmla="*/ 1281112 h 1309687"/>
                <a:gd name="connsiteX117" fmla="*/ 492919 w 1562100"/>
                <a:gd name="connsiteY117" fmla="*/ 1281112 h 1309687"/>
                <a:gd name="connsiteX118" fmla="*/ 507206 w 1562100"/>
                <a:gd name="connsiteY118" fmla="*/ 1250156 h 1309687"/>
                <a:gd name="connsiteX119" fmla="*/ 557213 w 1562100"/>
                <a:gd name="connsiteY119" fmla="*/ 1235868 h 1309687"/>
                <a:gd name="connsiteX120" fmla="*/ 583406 w 1562100"/>
                <a:gd name="connsiteY120" fmla="*/ 1216818 h 1309687"/>
                <a:gd name="connsiteX121" fmla="*/ 590550 w 1562100"/>
                <a:gd name="connsiteY121" fmla="*/ 1178718 h 1309687"/>
                <a:gd name="connsiteX122" fmla="*/ 607219 w 1562100"/>
                <a:gd name="connsiteY122" fmla="*/ 1152525 h 1309687"/>
                <a:gd name="connsiteX123" fmla="*/ 688181 w 1562100"/>
                <a:gd name="connsiteY123"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50056 w 1562100"/>
                <a:gd name="connsiteY54" fmla="*/ 2382 h 1309687"/>
                <a:gd name="connsiteX55" fmla="*/ 428625 w 1562100"/>
                <a:gd name="connsiteY55" fmla="*/ 0 h 1309687"/>
                <a:gd name="connsiteX56" fmla="*/ 376238 w 1562100"/>
                <a:gd name="connsiteY56" fmla="*/ 104775 h 1309687"/>
                <a:gd name="connsiteX57" fmla="*/ 314326 w 1562100"/>
                <a:gd name="connsiteY57" fmla="*/ 104774 h 1309687"/>
                <a:gd name="connsiteX58" fmla="*/ 328613 w 1562100"/>
                <a:gd name="connsiteY58" fmla="*/ 183356 h 1309687"/>
                <a:gd name="connsiteX59" fmla="*/ 292894 w 1562100"/>
                <a:gd name="connsiteY59" fmla="*/ 285750 h 1309687"/>
                <a:gd name="connsiteX60" fmla="*/ 264319 w 1562100"/>
                <a:gd name="connsiteY60" fmla="*/ 292893 h 1309687"/>
                <a:gd name="connsiteX61" fmla="*/ 261938 w 1562100"/>
                <a:gd name="connsiteY61" fmla="*/ 307181 h 1309687"/>
                <a:gd name="connsiteX62" fmla="*/ 261938 w 1562100"/>
                <a:gd name="connsiteY62" fmla="*/ 340518 h 1309687"/>
                <a:gd name="connsiteX63" fmla="*/ 228600 w 1562100"/>
                <a:gd name="connsiteY63" fmla="*/ 383381 h 1309687"/>
                <a:gd name="connsiteX64" fmla="*/ 271463 w 1562100"/>
                <a:gd name="connsiteY64" fmla="*/ 400050 h 1309687"/>
                <a:gd name="connsiteX65" fmla="*/ 278606 w 1562100"/>
                <a:gd name="connsiteY65" fmla="*/ 419100 h 1309687"/>
                <a:gd name="connsiteX66" fmla="*/ 257175 w 1562100"/>
                <a:gd name="connsiteY66" fmla="*/ 454818 h 1309687"/>
                <a:gd name="connsiteX67" fmla="*/ 221456 w 1562100"/>
                <a:gd name="connsiteY67" fmla="*/ 464343 h 1309687"/>
                <a:gd name="connsiteX68" fmla="*/ 221456 w 1562100"/>
                <a:gd name="connsiteY68" fmla="*/ 504825 h 1309687"/>
                <a:gd name="connsiteX69" fmla="*/ 254794 w 1562100"/>
                <a:gd name="connsiteY69" fmla="*/ 542925 h 1309687"/>
                <a:gd name="connsiteX70" fmla="*/ 226219 w 1562100"/>
                <a:gd name="connsiteY70" fmla="*/ 607218 h 1309687"/>
                <a:gd name="connsiteX71" fmla="*/ 180975 w 1562100"/>
                <a:gd name="connsiteY71" fmla="*/ 635793 h 1309687"/>
                <a:gd name="connsiteX72" fmla="*/ 183356 w 1562100"/>
                <a:gd name="connsiteY72" fmla="*/ 652462 h 1309687"/>
                <a:gd name="connsiteX73" fmla="*/ 204788 w 1562100"/>
                <a:gd name="connsiteY73" fmla="*/ 661987 h 1309687"/>
                <a:gd name="connsiteX74" fmla="*/ 219075 w 1562100"/>
                <a:gd name="connsiteY74" fmla="*/ 671512 h 1309687"/>
                <a:gd name="connsiteX75" fmla="*/ 223838 w 1562100"/>
                <a:gd name="connsiteY75" fmla="*/ 690562 h 1309687"/>
                <a:gd name="connsiteX76" fmla="*/ 195263 w 1562100"/>
                <a:gd name="connsiteY76" fmla="*/ 716756 h 1309687"/>
                <a:gd name="connsiteX77" fmla="*/ 123825 w 1562100"/>
                <a:gd name="connsiteY77" fmla="*/ 762000 h 1309687"/>
                <a:gd name="connsiteX78" fmla="*/ 123825 w 1562100"/>
                <a:gd name="connsiteY78" fmla="*/ 797718 h 1309687"/>
                <a:gd name="connsiteX79" fmla="*/ 135731 w 1562100"/>
                <a:gd name="connsiteY79" fmla="*/ 828675 h 1309687"/>
                <a:gd name="connsiteX80" fmla="*/ 123825 w 1562100"/>
                <a:gd name="connsiteY80" fmla="*/ 869156 h 1309687"/>
                <a:gd name="connsiteX81" fmla="*/ 76200 w 1562100"/>
                <a:gd name="connsiteY81" fmla="*/ 864393 h 1309687"/>
                <a:gd name="connsiteX82" fmla="*/ 52388 w 1562100"/>
                <a:gd name="connsiteY82" fmla="*/ 809625 h 1309687"/>
                <a:gd name="connsiteX83" fmla="*/ 33338 w 1562100"/>
                <a:gd name="connsiteY83" fmla="*/ 802481 h 1309687"/>
                <a:gd name="connsiteX84" fmla="*/ 23813 w 1562100"/>
                <a:gd name="connsiteY84" fmla="*/ 840581 h 1309687"/>
                <a:gd name="connsiteX85" fmla="*/ 21431 w 1562100"/>
                <a:gd name="connsiteY85" fmla="*/ 850106 h 1309687"/>
                <a:gd name="connsiteX86" fmla="*/ 7144 w 1562100"/>
                <a:gd name="connsiteY86" fmla="*/ 866775 h 1309687"/>
                <a:gd name="connsiteX87" fmla="*/ 0 w 1562100"/>
                <a:gd name="connsiteY87" fmla="*/ 923925 h 1309687"/>
                <a:gd name="connsiteX88" fmla="*/ 23813 w 1562100"/>
                <a:gd name="connsiteY88" fmla="*/ 952500 h 1309687"/>
                <a:gd name="connsiteX89" fmla="*/ 16669 w 1562100"/>
                <a:gd name="connsiteY89" fmla="*/ 992981 h 1309687"/>
                <a:gd name="connsiteX90" fmla="*/ 35719 w 1562100"/>
                <a:gd name="connsiteY90" fmla="*/ 997743 h 1309687"/>
                <a:gd name="connsiteX91" fmla="*/ 69056 w 1562100"/>
                <a:gd name="connsiteY91" fmla="*/ 997743 h 1309687"/>
                <a:gd name="connsiteX92" fmla="*/ 85725 w 1562100"/>
                <a:gd name="connsiteY92" fmla="*/ 988218 h 1309687"/>
                <a:gd name="connsiteX93" fmla="*/ 135731 w 1562100"/>
                <a:gd name="connsiteY93" fmla="*/ 1045368 h 1309687"/>
                <a:gd name="connsiteX94" fmla="*/ 123825 w 1562100"/>
                <a:gd name="connsiteY94" fmla="*/ 1064418 h 1309687"/>
                <a:gd name="connsiteX95" fmla="*/ 133350 w 1562100"/>
                <a:gd name="connsiteY95" fmla="*/ 1092993 h 1309687"/>
                <a:gd name="connsiteX96" fmla="*/ 164306 w 1562100"/>
                <a:gd name="connsiteY96" fmla="*/ 1112043 h 1309687"/>
                <a:gd name="connsiteX97" fmla="*/ 190500 w 1562100"/>
                <a:gd name="connsiteY97" fmla="*/ 1121568 h 1309687"/>
                <a:gd name="connsiteX98" fmla="*/ 216694 w 1562100"/>
                <a:gd name="connsiteY98" fmla="*/ 1128712 h 1309687"/>
                <a:gd name="connsiteX99" fmla="*/ 228600 w 1562100"/>
                <a:gd name="connsiteY99" fmla="*/ 1131093 h 1309687"/>
                <a:gd name="connsiteX100" fmla="*/ 240506 w 1562100"/>
                <a:gd name="connsiteY100" fmla="*/ 1092993 h 1309687"/>
                <a:gd name="connsiteX101" fmla="*/ 269081 w 1562100"/>
                <a:gd name="connsiteY101" fmla="*/ 1097756 h 1309687"/>
                <a:gd name="connsiteX102" fmla="*/ 288131 w 1562100"/>
                <a:gd name="connsiteY102" fmla="*/ 1085850 h 1309687"/>
                <a:gd name="connsiteX103" fmla="*/ 307181 w 1562100"/>
                <a:gd name="connsiteY103" fmla="*/ 1135856 h 1309687"/>
                <a:gd name="connsiteX104" fmla="*/ 330994 w 1562100"/>
                <a:gd name="connsiteY104" fmla="*/ 1150143 h 1309687"/>
                <a:gd name="connsiteX105" fmla="*/ 340519 w 1562100"/>
                <a:gd name="connsiteY105" fmla="*/ 1178718 h 1309687"/>
                <a:gd name="connsiteX106" fmla="*/ 357188 w 1562100"/>
                <a:gd name="connsiteY106" fmla="*/ 1188243 h 1309687"/>
                <a:gd name="connsiteX107" fmla="*/ 364331 w 1562100"/>
                <a:gd name="connsiteY107" fmla="*/ 1219200 h 1309687"/>
                <a:gd name="connsiteX108" fmla="*/ 335756 w 1562100"/>
                <a:gd name="connsiteY108" fmla="*/ 1245393 h 1309687"/>
                <a:gd name="connsiteX109" fmla="*/ 309563 w 1562100"/>
                <a:gd name="connsiteY109" fmla="*/ 1262062 h 1309687"/>
                <a:gd name="connsiteX110" fmla="*/ 297656 w 1562100"/>
                <a:gd name="connsiteY110" fmla="*/ 1285875 h 1309687"/>
                <a:gd name="connsiteX111" fmla="*/ 302419 w 1562100"/>
                <a:gd name="connsiteY111" fmla="*/ 1309687 h 1309687"/>
                <a:gd name="connsiteX112" fmla="*/ 342900 w 1562100"/>
                <a:gd name="connsiteY112" fmla="*/ 1309687 h 1309687"/>
                <a:gd name="connsiteX113" fmla="*/ 390525 w 1562100"/>
                <a:gd name="connsiteY113" fmla="*/ 1304925 h 1309687"/>
                <a:gd name="connsiteX114" fmla="*/ 428625 w 1562100"/>
                <a:gd name="connsiteY114" fmla="*/ 1295400 h 1309687"/>
                <a:gd name="connsiteX115" fmla="*/ 454819 w 1562100"/>
                <a:gd name="connsiteY115" fmla="*/ 1302543 h 1309687"/>
                <a:gd name="connsiteX116" fmla="*/ 473869 w 1562100"/>
                <a:gd name="connsiteY116" fmla="*/ 1281112 h 1309687"/>
                <a:gd name="connsiteX117" fmla="*/ 492919 w 1562100"/>
                <a:gd name="connsiteY117" fmla="*/ 1281112 h 1309687"/>
                <a:gd name="connsiteX118" fmla="*/ 507206 w 1562100"/>
                <a:gd name="connsiteY118" fmla="*/ 1250156 h 1309687"/>
                <a:gd name="connsiteX119" fmla="*/ 557213 w 1562100"/>
                <a:gd name="connsiteY119" fmla="*/ 1235868 h 1309687"/>
                <a:gd name="connsiteX120" fmla="*/ 583406 w 1562100"/>
                <a:gd name="connsiteY120" fmla="*/ 1216818 h 1309687"/>
                <a:gd name="connsiteX121" fmla="*/ 590550 w 1562100"/>
                <a:gd name="connsiteY121" fmla="*/ 1178718 h 1309687"/>
                <a:gd name="connsiteX122" fmla="*/ 607219 w 1562100"/>
                <a:gd name="connsiteY122" fmla="*/ 1152525 h 1309687"/>
                <a:gd name="connsiteX123" fmla="*/ 688181 w 1562100"/>
                <a:gd name="connsiteY123"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50056 w 1562100"/>
                <a:gd name="connsiteY54" fmla="*/ 2382 h 1309687"/>
                <a:gd name="connsiteX55" fmla="*/ 428625 w 1562100"/>
                <a:gd name="connsiteY55" fmla="*/ 0 h 1309687"/>
                <a:gd name="connsiteX56" fmla="*/ 376238 w 1562100"/>
                <a:gd name="connsiteY56" fmla="*/ 104775 h 1309687"/>
                <a:gd name="connsiteX57" fmla="*/ 314326 w 1562100"/>
                <a:gd name="connsiteY57" fmla="*/ 104774 h 1309687"/>
                <a:gd name="connsiteX58" fmla="*/ 328613 w 1562100"/>
                <a:gd name="connsiteY58" fmla="*/ 183356 h 1309687"/>
                <a:gd name="connsiteX59" fmla="*/ 292894 w 1562100"/>
                <a:gd name="connsiteY59" fmla="*/ 285750 h 1309687"/>
                <a:gd name="connsiteX60" fmla="*/ 264319 w 1562100"/>
                <a:gd name="connsiteY60" fmla="*/ 292893 h 1309687"/>
                <a:gd name="connsiteX61" fmla="*/ 261938 w 1562100"/>
                <a:gd name="connsiteY61" fmla="*/ 307181 h 1309687"/>
                <a:gd name="connsiteX62" fmla="*/ 261938 w 1562100"/>
                <a:gd name="connsiteY62" fmla="*/ 340518 h 1309687"/>
                <a:gd name="connsiteX63" fmla="*/ 228600 w 1562100"/>
                <a:gd name="connsiteY63" fmla="*/ 383381 h 1309687"/>
                <a:gd name="connsiteX64" fmla="*/ 271463 w 1562100"/>
                <a:gd name="connsiteY64" fmla="*/ 400050 h 1309687"/>
                <a:gd name="connsiteX65" fmla="*/ 278606 w 1562100"/>
                <a:gd name="connsiteY65" fmla="*/ 419100 h 1309687"/>
                <a:gd name="connsiteX66" fmla="*/ 257175 w 1562100"/>
                <a:gd name="connsiteY66" fmla="*/ 454818 h 1309687"/>
                <a:gd name="connsiteX67" fmla="*/ 221456 w 1562100"/>
                <a:gd name="connsiteY67" fmla="*/ 464343 h 1309687"/>
                <a:gd name="connsiteX68" fmla="*/ 221456 w 1562100"/>
                <a:gd name="connsiteY68" fmla="*/ 504825 h 1309687"/>
                <a:gd name="connsiteX69" fmla="*/ 254794 w 1562100"/>
                <a:gd name="connsiteY69" fmla="*/ 542925 h 1309687"/>
                <a:gd name="connsiteX70" fmla="*/ 226219 w 1562100"/>
                <a:gd name="connsiteY70" fmla="*/ 607218 h 1309687"/>
                <a:gd name="connsiteX71" fmla="*/ 180975 w 1562100"/>
                <a:gd name="connsiteY71" fmla="*/ 635793 h 1309687"/>
                <a:gd name="connsiteX72" fmla="*/ 183356 w 1562100"/>
                <a:gd name="connsiteY72" fmla="*/ 652462 h 1309687"/>
                <a:gd name="connsiteX73" fmla="*/ 204788 w 1562100"/>
                <a:gd name="connsiteY73" fmla="*/ 661987 h 1309687"/>
                <a:gd name="connsiteX74" fmla="*/ 219075 w 1562100"/>
                <a:gd name="connsiteY74" fmla="*/ 671512 h 1309687"/>
                <a:gd name="connsiteX75" fmla="*/ 223838 w 1562100"/>
                <a:gd name="connsiteY75" fmla="*/ 690562 h 1309687"/>
                <a:gd name="connsiteX76" fmla="*/ 195263 w 1562100"/>
                <a:gd name="connsiteY76" fmla="*/ 716756 h 1309687"/>
                <a:gd name="connsiteX77" fmla="*/ 123825 w 1562100"/>
                <a:gd name="connsiteY77" fmla="*/ 762000 h 1309687"/>
                <a:gd name="connsiteX78" fmla="*/ 123825 w 1562100"/>
                <a:gd name="connsiteY78" fmla="*/ 797718 h 1309687"/>
                <a:gd name="connsiteX79" fmla="*/ 135731 w 1562100"/>
                <a:gd name="connsiteY79" fmla="*/ 828675 h 1309687"/>
                <a:gd name="connsiteX80" fmla="*/ 123825 w 1562100"/>
                <a:gd name="connsiteY80" fmla="*/ 869156 h 1309687"/>
                <a:gd name="connsiteX81" fmla="*/ 76200 w 1562100"/>
                <a:gd name="connsiteY81" fmla="*/ 864393 h 1309687"/>
                <a:gd name="connsiteX82" fmla="*/ 52388 w 1562100"/>
                <a:gd name="connsiteY82" fmla="*/ 809625 h 1309687"/>
                <a:gd name="connsiteX83" fmla="*/ 33338 w 1562100"/>
                <a:gd name="connsiteY83" fmla="*/ 802481 h 1309687"/>
                <a:gd name="connsiteX84" fmla="*/ 23813 w 1562100"/>
                <a:gd name="connsiteY84" fmla="*/ 840581 h 1309687"/>
                <a:gd name="connsiteX85" fmla="*/ 21431 w 1562100"/>
                <a:gd name="connsiteY85" fmla="*/ 850106 h 1309687"/>
                <a:gd name="connsiteX86" fmla="*/ 7144 w 1562100"/>
                <a:gd name="connsiteY86" fmla="*/ 866775 h 1309687"/>
                <a:gd name="connsiteX87" fmla="*/ 0 w 1562100"/>
                <a:gd name="connsiteY87" fmla="*/ 923925 h 1309687"/>
                <a:gd name="connsiteX88" fmla="*/ 23813 w 1562100"/>
                <a:gd name="connsiteY88" fmla="*/ 952500 h 1309687"/>
                <a:gd name="connsiteX89" fmla="*/ 16669 w 1562100"/>
                <a:gd name="connsiteY89" fmla="*/ 992981 h 1309687"/>
                <a:gd name="connsiteX90" fmla="*/ 35719 w 1562100"/>
                <a:gd name="connsiteY90" fmla="*/ 997743 h 1309687"/>
                <a:gd name="connsiteX91" fmla="*/ 69056 w 1562100"/>
                <a:gd name="connsiteY91" fmla="*/ 997743 h 1309687"/>
                <a:gd name="connsiteX92" fmla="*/ 85725 w 1562100"/>
                <a:gd name="connsiteY92" fmla="*/ 988218 h 1309687"/>
                <a:gd name="connsiteX93" fmla="*/ 135731 w 1562100"/>
                <a:gd name="connsiteY93" fmla="*/ 1045368 h 1309687"/>
                <a:gd name="connsiteX94" fmla="*/ 123825 w 1562100"/>
                <a:gd name="connsiteY94" fmla="*/ 1064418 h 1309687"/>
                <a:gd name="connsiteX95" fmla="*/ 133350 w 1562100"/>
                <a:gd name="connsiteY95" fmla="*/ 1092993 h 1309687"/>
                <a:gd name="connsiteX96" fmla="*/ 164306 w 1562100"/>
                <a:gd name="connsiteY96" fmla="*/ 1112043 h 1309687"/>
                <a:gd name="connsiteX97" fmla="*/ 190500 w 1562100"/>
                <a:gd name="connsiteY97" fmla="*/ 1121568 h 1309687"/>
                <a:gd name="connsiteX98" fmla="*/ 216694 w 1562100"/>
                <a:gd name="connsiteY98" fmla="*/ 1128712 h 1309687"/>
                <a:gd name="connsiteX99" fmla="*/ 228600 w 1562100"/>
                <a:gd name="connsiteY99" fmla="*/ 1131093 h 1309687"/>
                <a:gd name="connsiteX100" fmla="*/ 240506 w 1562100"/>
                <a:gd name="connsiteY100" fmla="*/ 1092993 h 1309687"/>
                <a:gd name="connsiteX101" fmla="*/ 269081 w 1562100"/>
                <a:gd name="connsiteY101" fmla="*/ 1097756 h 1309687"/>
                <a:gd name="connsiteX102" fmla="*/ 288131 w 1562100"/>
                <a:gd name="connsiteY102" fmla="*/ 1085850 h 1309687"/>
                <a:gd name="connsiteX103" fmla="*/ 307181 w 1562100"/>
                <a:gd name="connsiteY103" fmla="*/ 1135856 h 1309687"/>
                <a:gd name="connsiteX104" fmla="*/ 330994 w 1562100"/>
                <a:gd name="connsiteY104" fmla="*/ 1150143 h 1309687"/>
                <a:gd name="connsiteX105" fmla="*/ 340519 w 1562100"/>
                <a:gd name="connsiteY105" fmla="*/ 1178718 h 1309687"/>
                <a:gd name="connsiteX106" fmla="*/ 357188 w 1562100"/>
                <a:gd name="connsiteY106" fmla="*/ 1188243 h 1309687"/>
                <a:gd name="connsiteX107" fmla="*/ 364331 w 1562100"/>
                <a:gd name="connsiteY107" fmla="*/ 1219200 h 1309687"/>
                <a:gd name="connsiteX108" fmla="*/ 335756 w 1562100"/>
                <a:gd name="connsiteY108" fmla="*/ 1245393 h 1309687"/>
                <a:gd name="connsiteX109" fmla="*/ 309563 w 1562100"/>
                <a:gd name="connsiteY109" fmla="*/ 1262062 h 1309687"/>
                <a:gd name="connsiteX110" fmla="*/ 297656 w 1562100"/>
                <a:gd name="connsiteY110" fmla="*/ 1285875 h 1309687"/>
                <a:gd name="connsiteX111" fmla="*/ 302419 w 1562100"/>
                <a:gd name="connsiteY111" fmla="*/ 1309687 h 1309687"/>
                <a:gd name="connsiteX112" fmla="*/ 342900 w 1562100"/>
                <a:gd name="connsiteY112" fmla="*/ 1309687 h 1309687"/>
                <a:gd name="connsiteX113" fmla="*/ 390525 w 1562100"/>
                <a:gd name="connsiteY113" fmla="*/ 1304925 h 1309687"/>
                <a:gd name="connsiteX114" fmla="*/ 428625 w 1562100"/>
                <a:gd name="connsiteY114" fmla="*/ 1295400 h 1309687"/>
                <a:gd name="connsiteX115" fmla="*/ 454819 w 1562100"/>
                <a:gd name="connsiteY115" fmla="*/ 1302543 h 1309687"/>
                <a:gd name="connsiteX116" fmla="*/ 473869 w 1562100"/>
                <a:gd name="connsiteY116" fmla="*/ 1281112 h 1309687"/>
                <a:gd name="connsiteX117" fmla="*/ 492919 w 1562100"/>
                <a:gd name="connsiteY117" fmla="*/ 1281112 h 1309687"/>
                <a:gd name="connsiteX118" fmla="*/ 507206 w 1562100"/>
                <a:gd name="connsiteY118" fmla="*/ 1250156 h 1309687"/>
                <a:gd name="connsiteX119" fmla="*/ 557213 w 1562100"/>
                <a:gd name="connsiteY119" fmla="*/ 1235868 h 1309687"/>
                <a:gd name="connsiteX120" fmla="*/ 583406 w 1562100"/>
                <a:gd name="connsiteY120" fmla="*/ 1216818 h 1309687"/>
                <a:gd name="connsiteX121" fmla="*/ 590550 w 1562100"/>
                <a:gd name="connsiteY121" fmla="*/ 1178718 h 1309687"/>
                <a:gd name="connsiteX122" fmla="*/ 607219 w 1562100"/>
                <a:gd name="connsiteY122" fmla="*/ 1152525 h 1309687"/>
                <a:gd name="connsiteX123" fmla="*/ 688181 w 1562100"/>
                <a:gd name="connsiteY123"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552450 w 1562100"/>
                <a:gd name="connsiteY54" fmla="*/ 78582 h 1309687"/>
                <a:gd name="connsiteX55" fmla="*/ 450056 w 1562100"/>
                <a:gd name="connsiteY55" fmla="*/ 2382 h 1309687"/>
                <a:gd name="connsiteX56" fmla="*/ 428625 w 1562100"/>
                <a:gd name="connsiteY56" fmla="*/ 0 h 1309687"/>
                <a:gd name="connsiteX57" fmla="*/ 376238 w 1562100"/>
                <a:gd name="connsiteY57" fmla="*/ 104775 h 1309687"/>
                <a:gd name="connsiteX58" fmla="*/ 314326 w 1562100"/>
                <a:gd name="connsiteY58" fmla="*/ 104774 h 1309687"/>
                <a:gd name="connsiteX59" fmla="*/ 328613 w 1562100"/>
                <a:gd name="connsiteY59" fmla="*/ 183356 h 1309687"/>
                <a:gd name="connsiteX60" fmla="*/ 292894 w 1562100"/>
                <a:gd name="connsiteY60" fmla="*/ 285750 h 1309687"/>
                <a:gd name="connsiteX61" fmla="*/ 264319 w 1562100"/>
                <a:gd name="connsiteY61" fmla="*/ 292893 h 1309687"/>
                <a:gd name="connsiteX62" fmla="*/ 261938 w 1562100"/>
                <a:gd name="connsiteY62" fmla="*/ 307181 h 1309687"/>
                <a:gd name="connsiteX63" fmla="*/ 261938 w 1562100"/>
                <a:gd name="connsiteY63" fmla="*/ 340518 h 1309687"/>
                <a:gd name="connsiteX64" fmla="*/ 228600 w 1562100"/>
                <a:gd name="connsiteY64" fmla="*/ 383381 h 1309687"/>
                <a:gd name="connsiteX65" fmla="*/ 271463 w 1562100"/>
                <a:gd name="connsiteY65" fmla="*/ 400050 h 1309687"/>
                <a:gd name="connsiteX66" fmla="*/ 278606 w 1562100"/>
                <a:gd name="connsiteY66" fmla="*/ 419100 h 1309687"/>
                <a:gd name="connsiteX67" fmla="*/ 257175 w 1562100"/>
                <a:gd name="connsiteY67" fmla="*/ 454818 h 1309687"/>
                <a:gd name="connsiteX68" fmla="*/ 221456 w 1562100"/>
                <a:gd name="connsiteY68" fmla="*/ 464343 h 1309687"/>
                <a:gd name="connsiteX69" fmla="*/ 221456 w 1562100"/>
                <a:gd name="connsiteY69" fmla="*/ 504825 h 1309687"/>
                <a:gd name="connsiteX70" fmla="*/ 254794 w 1562100"/>
                <a:gd name="connsiteY70" fmla="*/ 542925 h 1309687"/>
                <a:gd name="connsiteX71" fmla="*/ 226219 w 1562100"/>
                <a:gd name="connsiteY71" fmla="*/ 607218 h 1309687"/>
                <a:gd name="connsiteX72" fmla="*/ 180975 w 1562100"/>
                <a:gd name="connsiteY72" fmla="*/ 635793 h 1309687"/>
                <a:gd name="connsiteX73" fmla="*/ 183356 w 1562100"/>
                <a:gd name="connsiteY73" fmla="*/ 652462 h 1309687"/>
                <a:gd name="connsiteX74" fmla="*/ 204788 w 1562100"/>
                <a:gd name="connsiteY74" fmla="*/ 661987 h 1309687"/>
                <a:gd name="connsiteX75" fmla="*/ 219075 w 1562100"/>
                <a:gd name="connsiteY75" fmla="*/ 671512 h 1309687"/>
                <a:gd name="connsiteX76" fmla="*/ 223838 w 1562100"/>
                <a:gd name="connsiteY76" fmla="*/ 690562 h 1309687"/>
                <a:gd name="connsiteX77" fmla="*/ 195263 w 1562100"/>
                <a:gd name="connsiteY77" fmla="*/ 716756 h 1309687"/>
                <a:gd name="connsiteX78" fmla="*/ 123825 w 1562100"/>
                <a:gd name="connsiteY78" fmla="*/ 762000 h 1309687"/>
                <a:gd name="connsiteX79" fmla="*/ 123825 w 1562100"/>
                <a:gd name="connsiteY79" fmla="*/ 797718 h 1309687"/>
                <a:gd name="connsiteX80" fmla="*/ 135731 w 1562100"/>
                <a:gd name="connsiteY80" fmla="*/ 828675 h 1309687"/>
                <a:gd name="connsiteX81" fmla="*/ 123825 w 1562100"/>
                <a:gd name="connsiteY81" fmla="*/ 869156 h 1309687"/>
                <a:gd name="connsiteX82" fmla="*/ 76200 w 1562100"/>
                <a:gd name="connsiteY82" fmla="*/ 864393 h 1309687"/>
                <a:gd name="connsiteX83" fmla="*/ 52388 w 1562100"/>
                <a:gd name="connsiteY83" fmla="*/ 809625 h 1309687"/>
                <a:gd name="connsiteX84" fmla="*/ 33338 w 1562100"/>
                <a:gd name="connsiteY84" fmla="*/ 802481 h 1309687"/>
                <a:gd name="connsiteX85" fmla="*/ 23813 w 1562100"/>
                <a:gd name="connsiteY85" fmla="*/ 840581 h 1309687"/>
                <a:gd name="connsiteX86" fmla="*/ 21431 w 1562100"/>
                <a:gd name="connsiteY86" fmla="*/ 850106 h 1309687"/>
                <a:gd name="connsiteX87" fmla="*/ 7144 w 1562100"/>
                <a:gd name="connsiteY87" fmla="*/ 866775 h 1309687"/>
                <a:gd name="connsiteX88" fmla="*/ 0 w 1562100"/>
                <a:gd name="connsiteY88" fmla="*/ 923925 h 1309687"/>
                <a:gd name="connsiteX89" fmla="*/ 23813 w 1562100"/>
                <a:gd name="connsiteY89" fmla="*/ 952500 h 1309687"/>
                <a:gd name="connsiteX90" fmla="*/ 16669 w 1562100"/>
                <a:gd name="connsiteY90" fmla="*/ 992981 h 1309687"/>
                <a:gd name="connsiteX91" fmla="*/ 35719 w 1562100"/>
                <a:gd name="connsiteY91" fmla="*/ 997743 h 1309687"/>
                <a:gd name="connsiteX92" fmla="*/ 69056 w 1562100"/>
                <a:gd name="connsiteY92" fmla="*/ 997743 h 1309687"/>
                <a:gd name="connsiteX93" fmla="*/ 85725 w 1562100"/>
                <a:gd name="connsiteY93" fmla="*/ 988218 h 1309687"/>
                <a:gd name="connsiteX94" fmla="*/ 135731 w 1562100"/>
                <a:gd name="connsiteY94" fmla="*/ 1045368 h 1309687"/>
                <a:gd name="connsiteX95" fmla="*/ 123825 w 1562100"/>
                <a:gd name="connsiteY95" fmla="*/ 1064418 h 1309687"/>
                <a:gd name="connsiteX96" fmla="*/ 133350 w 1562100"/>
                <a:gd name="connsiteY96" fmla="*/ 1092993 h 1309687"/>
                <a:gd name="connsiteX97" fmla="*/ 164306 w 1562100"/>
                <a:gd name="connsiteY97" fmla="*/ 1112043 h 1309687"/>
                <a:gd name="connsiteX98" fmla="*/ 190500 w 1562100"/>
                <a:gd name="connsiteY98" fmla="*/ 1121568 h 1309687"/>
                <a:gd name="connsiteX99" fmla="*/ 216694 w 1562100"/>
                <a:gd name="connsiteY99" fmla="*/ 1128712 h 1309687"/>
                <a:gd name="connsiteX100" fmla="*/ 228600 w 1562100"/>
                <a:gd name="connsiteY100" fmla="*/ 1131093 h 1309687"/>
                <a:gd name="connsiteX101" fmla="*/ 240506 w 1562100"/>
                <a:gd name="connsiteY101" fmla="*/ 1092993 h 1309687"/>
                <a:gd name="connsiteX102" fmla="*/ 269081 w 1562100"/>
                <a:gd name="connsiteY102" fmla="*/ 1097756 h 1309687"/>
                <a:gd name="connsiteX103" fmla="*/ 288131 w 1562100"/>
                <a:gd name="connsiteY103" fmla="*/ 1085850 h 1309687"/>
                <a:gd name="connsiteX104" fmla="*/ 307181 w 1562100"/>
                <a:gd name="connsiteY104" fmla="*/ 1135856 h 1309687"/>
                <a:gd name="connsiteX105" fmla="*/ 330994 w 1562100"/>
                <a:gd name="connsiteY105" fmla="*/ 1150143 h 1309687"/>
                <a:gd name="connsiteX106" fmla="*/ 340519 w 1562100"/>
                <a:gd name="connsiteY106" fmla="*/ 1178718 h 1309687"/>
                <a:gd name="connsiteX107" fmla="*/ 357188 w 1562100"/>
                <a:gd name="connsiteY107" fmla="*/ 1188243 h 1309687"/>
                <a:gd name="connsiteX108" fmla="*/ 364331 w 1562100"/>
                <a:gd name="connsiteY108" fmla="*/ 1219200 h 1309687"/>
                <a:gd name="connsiteX109" fmla="*/ 335756 w 1562100"/>
                <a:gd name="connsiteY109" fmla="*/ 1245393 h 1309687"/>
                <a:gd name="connsiteX110" fmla="*/ 309563 w 1562100"/>
                <a:gd name="connsiteY110" fmla="*/ 1262062 h 1309687"/>
                <a:gd name="connsiteX111" fmla="*/ 297656 w 1562100"/>
                <a:gd name="connsiteY111" fmla="*/ 1285875 h 1309687"/>
                <a:gd name="connsiteX112" fmla="*/ 302419 w 1562100"/>
                <a:gd name="connsiteY112" fmla="*/ 1309687 h 1309687"/>
                <a:gd name="connsiteX113" fmla="*/ 342900 w 1562100"/>
                <a:gd name="connsiteY113" fmla="*/ 1309687 h 1309687"/>
                <a:gd name="connsiteX114" fmla="*/ 390525 w 1562100"/>
                <a:gd name="connsiteY114" fmla="*/ 1304925 h 1309687"/>
                <a:gd name="connsiteX115" fmla="*/ 428625 w 1562100"/>
                <a:gd name="connsiteY115" fmla="*/ 1295400 h 1309687"/>
                <a:gd name="connsiteX116" fmla="*/ 454819 w 1562100"/>
                <a:gd name="connsiteY116" fmla="*/ 1302543 h 1309687"/>
                <a:gd name="connsiteX117" fmla="*/ 473869 w 1562100"/>
                <a:gd name="connsiteY117" fmla="*/ 1281112 h 1309687"/>
                <a:gd name="connsiteX118" fmla="*/ 492919 w 1562100"/>
                <a:gd name="connsiteY118" fmla="*/ 1281112 h 1309687"/>
                <a:gd name="connsiteX119" fmla="*/ 507206 w 1562100"/>
                <a:gd name="connsiteY119" fmla="*/ 1250156 h 1309687"/>
                <a:gd name="connsiteX120" fmla="*/ 557213 w 1562100"/>
                <a:gd name="connsiteY120" fmla="*/ 1235868 h 1309687"/>
                <a:gd name="connsiteX121" fmla="*/ 583406 w 1562100"/>
                <a:gd name="connsiteY121" fmla="*/ 1216818 h 1309687"/>
                <a:gd name="connsiteX122" fmla="*/ 590550 w 1562100"/>
                <a:gd name="connsiteY122" fmla="*/ 1178718 h 1309687"/>
                <a:gd name="connsiteX123" fmla="*/ 607219 w 1562100"/>
                <a:gd name="connsiteY123" fmla="*/ 1152525 h 1309687"/>
                <a:gd name="connsiteX124" fmla="*/ 688181 w 1562100"/>
                <a:gd name="connsiteY124"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97681 w 1562100"/>
                <a:gd name="connsiteY54" fmla="*/ 119063 h 1309687"/>
                <a:gd name="connsiteX55" fmla="*/ 450056 w 1562100"/>
                <a:gd name="connsiteY55" fmla="*/ 2382 h 1309687"/>
                <a:gd name="connsiteX56" fmla="*/ 428625 w 1562100"/>
                <a:gd name="connsiteY56" fmla="*/ 0 h 1309687"/>
                <a:gd name="connsiteX57" fmla="*/ 376238 w 1562100"/>
                <a:gd name="connsiteY57" fmla="*/ 104775 h 1309687"/>
                <a:gd name="connsiteX58" fmla="*/ 314326 w 1562100"/>
                <a:gd name="connsiteY58" fmla="*/ 104774 h 1309687"/>
                <a:gd name="connsiteX59" fmla="*/ 328613 w 1562100"/>
                <a:gd name="connsiteY59" fmla="*/ 183356 h 1309687"/>
                <a:gd name="connsiteX60" fmla="*/ 292894 w 1562100"/>
                <a:gd name="connsiteY60" fmla="*/ 285750 h 1309687"/>
                <a:gd name="connsiteX61" fmla="*/ 264319 w 1562100"/>
                <a:gd name="connsiteY61" fmla="*/ 292893 h 1309687"/>
                <a:gd name="connsiteX62" fmla="*/ 261938 w 1562100"/>
                <a:gd name="connsiteY62" fmla="*/ 307181 h 1309687"/>
                <a:gd name="connsiteX63" fmla="*/ 261938 w 1562100"/>
                <a:gd name="connsiteY63" fmla="*/ 340518 h 1309687"/>
                <a:gd name="connsiteX64" fmla="*/ 228600 w 1562100"/>
                <a:gd name="connsiteY64" fmla="*/ 383381 h 1309687"/>
                <a:gd name="connsiteX65" fmla="*/ 271463 w 1562100"/>
                <a:gd name="connsiteY65" fmla="*/ 400050 h 1309687"/>
                <a:gd name="connsiteX66" fmla="*/ 278606 w 1562100"/>
                <a:gd name="connsiteY66" fmla="*/ 419100 h 1309687"/>
                <a:gd name="connsiteX67" fmla="*/ 257175 w 1562100"/>
                <a:gd name="connsiteY67" fmla="*/ 454818 h 1309687"/>
                <a:gd name="connsiteX68" fmla="*/ 221456 w 1562100"/>
                <a:gd name="connsiteY68" fmla="*/ 464343 h 1309687"/>
                <a:gd name="connsiteX69" fmla="*/ 221456 w 1562100"/>
                <a:gd name="connsiteY69" fmla="*/ 504825 h 1309687"/>
                <a:gd name="connsiteX70" fmla="*/ 254794 w 1562100"/>
                <a:gd name="connsiteY70" fmla="*/ 542925 h 1309687"/>
                <a:gd name="connsiteX71" fmla="*/ 226219 w 1562100"/>
                <a:gd name="connsiteY71" fmla="*/ 607218 h 1309687"/>
                <a:gd name="connsiteX72" fmla="*/ 180975 w 1562100"/>
                <a:gd name="connsiteY72" fmla="*/ 635793 h 1309687"/>
                <a:gd name="connsiteX73" fmla="*/ 183356 w 1562100"/>
                <a:gd name="connsiteY73" fmla="*/ 652462 h 1309687"/>
                <a:gd name="connsiteX74" fmla="*/ 204788 w 1562100"/>
                <a:gd name="connsiteY74" fmla="*/ 661987 h 1309687"/>
                <a:gd name="connsiteX75" fmla="*/ 219075 w 1562100"/>
                <a:gd name="connsiteY75" fmla="*/ 671512 h 1309687"/>
                <a:gd name="connsiteX76" fmla="*/ 223838 w 1562100"/>
                <a:gd name="connsiteY76" fmla="*/ 690562 h 1309687"/>
                <a:gd name="connsiteX77" fmla="*/ 195263 w 1562100"/>
                <a:gd name="connsiteY77" fmla="*/ 716756 h 1309687"/>
                <a:gd name="connsiteX78" fmla="*/ 123825 w 1562100"/>
                <a:gd name="connsiteY78" fmla="*/ 762000 h 1309687"/>
                <a:gd name="connsiteX79" fmla="*/ 123825 w 1562100"/>
                <a:gd name="connsiteY79" fmla="*/ 797718 h 1309687"/>
                <a:gd name="connsiteX80" fmla="*/ 135731 w 1562100"/>
                <a:gd name="connsiteY80" fmla="*/ 828675 h 1309687"/>
                <a:gd name="connsiteX81" fmla="*/ 123825 w 1562100"/>
                <a:gd name="connsiteY81" fmla="*/ 869156 h 1309687"/>
                <a:gd name="connsiteX82" fmla="*/ 76200 w 1562100"/>
                <a:gd name="connsiteY82" fmla="*/ 864393 h 1309687"/>
                <a:gd name="connsiteX83" fmla="*/ 52388 w 1562100"/>
                <a:gd name="connsiteY83" fmla="*/ 809625 h 1309687"/>
                <a:gd name="connsiteX84" fmla="*/ 33338 w 1562100"/>
                <a:gd name="connsiteY84" fmla="*/ 802481 h 1309687"/>
                <a:gd name="connsiteX85" fmla="*/ 23813 w 1562100"/>
                <a:gd name="connsiteY85" fmla="*/ 840581 h 1309687"/>
                <a:gd name="connsiteX86" fmla="*/ 21431 w 1562100"/>
                <a:gd name="connsiteY86" fmla="*/ 850106 h 1309687"/>
                <a:gd name="connsiteX87" fmla="*/ 7144 w 1562100"/>
                <a:gd name="connsiteY87" fmla="*/ 866775 h 1309687"/>
                <a:gd name="connsiteX88" fmla="*/ 0 w 1562100"/>
                <a:gd name="connsiteY88" fmla="*/ 923925 h 1309687"/>
                <a:gd name="connsiteX89" fmla="*/ 23813 w 1562100"/>
                <a:gd name="connsiteY89" fmla="*/ 952500 h 1309687"/>
                <a:gd name="connsiteX90" fmla="*/ 16669 w 1562100"/>
                <a:gd name="connsiteY90" fmla="*/ 992981 h 1309687"/>
                <a:gd name="connsiteX91" fmla="*/ 35719 w 1562100"/>
                <a:gd name="connsiteY91" fmla="*/ 997743 h 1309687"/>
                <a:gd name="connsiteX92" fmla="*/ 69056 w 1562100"/>
                <a:gd name="connsiteY92" fmla="*/ 997743 h 1309687"/>
                <a:gd name="connsiteX93" fmla="*/ 85725 w 1562100"/>
                <a:gd name="connsiteY93" fmla="*/ 988218 h 1309687"/>
                <a:gd name="connsiteX94" fmla="*/ 135731 w 1562100"/>
                <a:gd name="connsiteY94" fmla="*/ 1045368 h 1309687"/>
                <a:gd name="connsiteX95" fmla="*/ 123825 w 1562100"/>
                <a:gd name="connsiteY95" fmla="*/ 1064418 h 1309687"/>
                <a:gd name="connsiteX96" fmla="*/ 133350 w 1562100"/>
                <a:gd name="connsiteY96" fmla="*/ 1092993 h 1309687"/>
                <a:gd name="connsiteX97" fmla="*/ 164306 w 1562100"/>
                <a:gd name="connsiteY97" fmla="*/ 1112043 h 1309687"/>
                <a:gd name="connsiteX98" fmla="*/ 190500 w 1562100"/>
                <a:gd name="connsiteY98" fmla="*/ 1121568 h 1309687"/>
                <a:gd name="connsiteX99" fmla="*/ 216694 w 1562100"/>
                <a:gd name="connsiteY99" fmla="*/ 1128712 h 1309687"/>
                <a:gd name="connsiteX100" fmla="*/ 228600 w 1562100"/>
                <a:gd name="connsiteY100" fmla="*/ 1131093 h 1309687"/>
                <a:gd name="connsiteX101" fmla="*/ 240506 w 1562100"/>
                <a:gd name="connsiteY101" fmla="*/ 1092993 h 1309687"/>
                <a:gd name="connsiteX102" fmla="*/ 269081 w 1562100"/>
                <a:gd name="connsiteY102" fmla="*/ 1097756 h 1309687"/>
                <a:gd name="connsiteX103" fmla="*/ 288131 w 1562100"/>
                <a:gd name="connsiteY103" fmla="*/ 1085850 h 1309687"/>
                <a:gd name="connsiteX104" fmla="*/ 307181 w 1562100"/>
                <a:gd name="connsiteY104" fmla="*/ 1135856 h 1309687"/>
                <a:gd name="connsiteX105" fmla="*/ 330994 w 1562100"/>
                <a:gd name="connsiteY105" fmla="*/ 1150143 h 1309687"/>
                <a:gd name="connsiteX106" fmla="*/ 340519 w 1562100"/>
                <a:gd name="connsiteY106" fmla="*/ 1178718 h 1309687"/>
                <a:gd name="connsiteX107" fmla="*/ 357188 w 1562100"/>
                <a:gd name="connsiteY107" fmla="*/ 1188243 h 1309687"/>
                <a:gd name="connsiteX108" fmla="*/ 364331 w 1562100"/>
                <a:gd name="connsiteY108" fmla="*/ 1219200 h 1309687"/>
                <a:gd name="connsiteX109" fmla="*/ 335756 w 1562100"/>
                <a:gd name="connsiteY109" fmla="*/ 1245393 h 1309687"/>
                <a:gd name="connsiteX110" fmla="*/ 309563 w 1562100"/>
                <a:gd name="connsiteY110" fmla="*/ 1262062 h 1309687"/>
                <a:gd name="connsiteX111" fmla="*/ 297656 w 1562100"/>
                <a:gd name="connsiteY111" fmla="*/ 1285875 h 1309687"/>
                <a:gd name="connsiteX112" fmla="*/ 302419 w 1562100"/>
                <a:gd name="connsiteY112" fmla="*/ 1309687 h 1309687"/>
                <a:gd name="connsiteX113" fmla="*/ 342900 w 1562100"/>
                <a:gd name="connsiteY113" fmla="*/ 1309687 h 1309687"/>
                <a:gd name="connsiteX114" fmla="*/ 390525 w 1562100"/>
                <a:gd name="connsiteY114" fmla="*/ 1304925 h 1309687"/>
                <a:gd name="connsiteX115" fmla="*/ 428625 w 1562100"/>
                <a:gd name="connsiteY115" fmla="*/ 1295400 h 1309687"/>
                <a:gd name="connsiteX116" fmla="*/ 454819 w 1562100"/>
                <a:gd name="connsiteY116" fmla="*/ 1302543 h 1309687"/>
                <a:gd name="connsiteX117" fmla="*/ 473869 w 1562100"/>
                <a:gd name="connsiteY117" fmla="*/ 1281112 h 1309687"/>
                <a:gd name="connsiteX118" fmla="*/ 492919 w 1562100"/>
                <a:gd name="connsiteY118" fmla="*/ 1281112 h 1309687"/>
                <a:gd name="connsiteX119" fmla="*/ 507206 w 1562100"/>
                <a:gd name="connsiteY119" fmla="*/ 1250156 h 1309687"/>
                <a:gd name="connsiteX120" fmla="*/ 557213 w 1562100"/>
                <a:gd name="connsiteY120" fmla="*/ 1235868 h 1309687"/>
                <a:gd name="connsiteX121" fmla="*/ 583406 w 1562100"/>
                <a:gd name="connsiteY121" fmla="*/ 1216818 h 1309687"/>
                <a:gd name="connsiteX122" fmla="*/ 590550 w 1562100"/>
                <a:gd name="connsiteY122" fmla="*/ 1178718 h 1309687"/>
                <a:gd name="connsiteX123" fmla="*/ 607219 w 1562100"/>
                <a:gd name="connsiteY123" fmla="*/ 1152525 h 1309687"/>
                <a:gd name="connsiteX124" fmla="*/ 688181 w 1562100"/>
                <a:gd name="connsiteY124"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500062 w 1562100"/>
                <a:gd name="connsiteY54" fmla="*/ 66676 h 1309687"/>
                <a:gd name="connsiteX55" fmla="*/ 450056 w 1562100"/>
                <a:gd name="connsiteY55" fmla="*/ 2382 h 1309687"/>
                <a:gd name="connsiteX56" fmla="*/ 428625 w 1562100"/>
                <a:gd name="connsiteY56" fmla="*/ 0 h 1309687"/>
                <a:gd name="connsiteX57" fmla="*/ 376238 w 1562100"/>
                <a:gd name="connsiteY57" fmla="*/ 104775 h 1309687"/>
                <a:gd name="connsiteX58" fmla="*/ 314326 w 1562100"/>
                <a:gd name="connsiteY58" fmla="*/ 104774 h 1309687"/>
                <a:gd name="connsiteX59" fmla="*/ 328613 w 1562100"/>
                <a:gd name="connsiteY59" fmla="*/ 183356 h 1309687"/>
                <a:gd name="connsiteX60" fmla="*/ 292894 w 1562100"/>
                <a:gd name="connsiteY60" fmla="*/ 285750 h 1309687"/>
                <a:gd name="connsiteX61" fmla="*/ 264319 w 1562100"/>
                <a:gd name="connsiteY61" fmla="*/ 292893 h 1309687"/>
                <a:gd name="connsiteX62" fmla="*/ 261938 w 1562100"/>
                <a:gd name="connsiteY62" fmla="*/ 307181 h 1309687"/>
                <a:gd name="connsiteX63" fmla="*/ 261938 w 1562100"/>
                <a:gd name="connsiteY63" fmla="*/ 340518 h 1309687"/>
                <a:gd name="connsiteX64" fmla="*/ 228600 w 1562100"/>
                <a:gd name="connsiteY64" fmla="*/ 383381 h 1309687"/>
                <a:gd name="connsiteX65" fmla="*/ 271463 w 1562100"/>
                <a:gd name="connsiteY65" fmla="*/ 400050 h 1309687"/>
                <a:gd name="connsiteX66" fmla="*/ 278606 w 1562100"/>
                <a:gd name="connsiteY66" fmla="*/ 419100 h 1309687"/>
                <a:gd name="connsiteX67" fmla="*/ 257175 w 1562100"/>
                <a:gd name="connsiteY67" fmla="*/ 454818 h 1309687"/>
                <a:gd name="connsiteX68" fmla="*/ 221456 w 1562100"/>
                <a:gd name="connsiteY68" fmla="*/ 464343 h 1309687"/>
                <a:gd name="connsiteX69" fmla="*/ 221456 w 1562100"/>
                <a:gd name="connsiteY69" fmla="*/ 504825 h 1309687"/>
                <a:gd name="connsiteX70" fmla="*/ 254794 w 1562100"/>
                <a:gd name="connsiteY70" fmla="*/ 542925 h 1309687"/>
                <a:gd name="connsiteX71" fmla="*/ 226219 w 1562100"/>
                <a:gd name="connsiteY71" fmla="*/ 607218 h 1309687"/>
                <a:gd name="connsiteX72" fmla="*/ 180975 w 1562100"/>
                <a:gd name="connsiteY72" fmla="*/ 635793 h 1309687"/>
                <a:gd name="connsiteX73" fmla="*/ 183356 w 1562100"/>
                <a:gd name="connsiteY73" fmla="*/ 652462 h 1309687"/>
                <a:gd name="connsiteX74" fmla="*/ 204788 w 1562100"/>
                <a:gd name="connsiteY74" fmla="*/ 661987 h 1309687"/>
                <a:gd name="connsiteX75" fmla="*/ 219075 w 1562100"/>
                <a:gd name="connsiteY75" fmla="*/ 671512 h 1309687"/>
                <a:gd name="connsiteX76" fmla="*/ 223838 w 1562100"/>
                <a:gd name="connsiteY76" fmla="*/ 690562 h 1309687"/>
                <a:gd name="connsiteX77" fmla="*/ 195263 w 1562100"/>
                <a:gd name="connsiteY77" fmla="*/ 716756 h 1309687"/>
                <a:gd name="connsiteX78" fmla="*/ 123825 w 1562100"/>
                <a:gd name="connsiteY78" fmla="*/ 762000 h 1309687"/>
                <a:gd name="connsiteX79" fmla="*/ 123825 w 1562100"/>
                <a:gd name="connsiteY79" fmla="*/ 797718 h 1309687"/>
                <a:gd name="connsiteX80" fmla="*/ 135731 w 1562100"/>
                <a:gd name="connsiteY80" fmla="*/ 828675 h 1309687"/>
                <a:gd name="connsiteX81" fmla="*/ 123825 w 1562100"/>
                <a:gd name="connsiteY81" fmla="*/ 869156 h 1309687"/>
                <a:gd name="connsiteX82" fmla="*/ 76200 w 1562100"/>
                <a:gd name="connsiteY82" fmla="*/ 864393 h 1309687"/>
                <a:gd name="connsiteX83" fmla="*/ 52388 w 1562100"/>
                <a:gd name="connsiteY83" fmla="*/ 809625 h 1309687"/>
                <a:gd name="connsiteX84" fmla="*/ 33338 w 1562100"/>
                <a:gd name="connsiteY84" fmla="*/ 802481 h 1309687"/>
                <a:gd name="connsiteX85" fmla="*/ 23813 w 1562100"/>
                <a:gd name="connsiteY85" fmla="*/ 840581 h 1309687"/>
                <a:gd name="connsiteX86" fmla="*/ 21431 w 1562100"/>
                <a:gd name="connsiteY86" fmla="*/ 850106 h 1309687"/>
                <a:gd name="connsiteX87" fmla="*/ 7144 w 1562100"/>
                <a:gd name="connsiteY87" fmla="*/ 866775 h 1309687"/>
                <a:gd name="connsiteX88" fmla="*/ 0 w 1562100"/>
                <a:gd name="connsiteY88" fmla="*/ 923925 h 1309687"/>
                <a:gd name="connsiteX89" fmla="*/ 23813 w 1562100"/>
                <a:gd name="connsiteY89" fmla="*/ 952500 h 1309687"/>
                <a:gd name="connsiteX90" fmla="*/ 16669 w 1562100"/>
                <a:gd name="connsiteY90" fmla="*/ 992981 h 1309687"/>
                <a:gd name="connsiteX91" fmla="*/ 35719 w 1562100"/>
                <a:gd name="connsiteY91" fmla="*/ 997743 h 1309687"/>
                <a:gd name="connsiteX92" fmla="*/ 69056 w 1562100"/>
                <a:gd name="connsiteY92" fmla="*/ 997743 h 1309687"/>
                <a:gd name="connsiteX93" fmla="*/ 85725 w 1562100"/>
                <a:gd name="connsiteY93" fmla="*/ 988218 h 1309687"/>
                <a:gd name="connsiteX94" fmla="*/ 135731 w 1562100"/>
                <a:gd name="connsiteY94" fmla="*/ 1045368 h 1309687"/>
                <a:gd name="connsiteX95" fmla="*/ 123825 w 1562100"/>
                <a:gd name="connsiteY95" fmla="*/ 1064418 h 1309687"/>
                <a:gd name="connsiteX96" fmla="*/ 133350 w 1562100"/>
                <a:gd name="connsiteY96" fmla="*/ 1092993 h 1309687"/>
                <a:gd name="connsiteX97" fmla="*/ 164306 w 1562100"/>
                <a:gd name="connsiteY97" fmla="*/ 1112043 h 1309687"/>
                <a:gd name="connsiteX98" fmla="*/ 190500 w 1562100"/>
                <a:gd name="connsiteY98" fmla="*/ 1121568 h 1309687"/>
                <a:gd name="connsiteX99" fmla="*/ 216694 w 1562100"/>
                <a:gd name="connsiteY99" fmla="*/ 1128712 h 1309687"/>
                <a:gd name="connsiteX100" fmla="*/ 228600 w 1562100"/>
                <a:gd name="connsiteY100" fmla="*/ 1131093 h 1309687"/>
                <a:gd name="connsiteX101" fmla="*/ 240506 w 1562100"/>
                <a:gd name="connsiteY101" fmla="*/ 1092993 h 1309687"/>
                <a:gd name="connsiteX102" fmla="*/ 269081 w 1562100"/>
                <a:gd name="connsiteY102" fmla="*/ 1097756 h 1309687"/>
                <a:gd name="connsiteX103" fmla="*/ 288131 w 1562100"/>
                <a:gd name="connsiteY103" fmla="*/ 1085850 h 1309687"/>
                <a:gd name="connsiteX104" fmla="*/ 307181 w 1562100"/>
                <a:gd name="connsiteY104" fmla="*/ 1135856 h 1309687"/>
                <a:gd name="connsiteX105" fmla="*/ 330994 w 1562100"/>
                <a:gd name="connsiteY105" fmla="*/ 1150143 h 1309687"/>
                <a:gd name="connsiteX106" fmla="*/ 340519 w 1562100"/>
                <a:gd name="connsiteY106" fmla="*/ 1178718 h 1309687"/>
                <a:gd name="connsiteX107" fmla="*/ 357188 w 1562100"/>
                <a:gd name="connsiteY107" fmla="*/ 1188243 h 1309687"/>
                <a:gd name="connsiteX108" fmla="*/ 364331 w 1562100"/>
                <a:gd name="connsiteY108" fmla="*/ 1219200 h 1309687"/>
                <a:gd name="connsiteX109" fmla="*/ 335756 w 1562100"/>
                <a:gd name="connsiteY109" fmla="*/ 1245393 h 1309687"/>
                <a:gd name="connsiteX110" fmla="*/ 309563 w 1562100"/>
                <a:gd name="connsiteY110" fmla="*/ 1262062 h 1309687"/>
                <a:gd name="connsiteX111" fmla="*/ 297656 w 1562100"/>
                <a:gd name="connsiteY111" fmla="*/ 1285875 h 1309687"/>
                <a:gd name="connsiteX112" fmla="*/ 302419 w 1562100"/>
                <a:gd name="connsiteY112" fmla="*/ 1309687 h 1309687"/>
                <a:gd name="connsiteX113" fmla="*/ 342900 w 1562100"/>
                <a:gd name="connsiteY113" fmla="*/ 1309687 h 1309687"/>
                <a:gd name="connsiteX114" fmla="*/ 390525 w 1562100"/>
                <a:gd name="connsiteY114" fmla="*/ 1304925 h 1309687"/>
                <a:gd name="connsiteX115" fmla="*/ 428625 w 1562100"/>
                <a:gd name="connsiteY115" fmla="*/ 1295400 h 1309687"/>
                <a:gd name="connsiteX116" fmla="*/ 454819 w 1562100"/>
                <a:gd name="connsiteY116" fmla="*/ 1302543 h 1309687"/>
                <a:gd name="connsiteX117" fmla="*/ 473869 w 1562100"/>
                <a:gd name="connsiteY117" fmla="*/ 1281112 h 1309687"/>
                <a:gd name="connsiteX118" fmla="*/ 492919 w 1562100"/>
                <a:gd name="connsiteY118" fmla="*/ 1281112 h 1309687"/>
                <a:gd name="connsiteX119" fmla="*/ 507206 w 1562100"/>
                <a:gd name="connsiteY119" fmla="*/ 1250156 h 1309687"/>
                <a:gd name="connsiteX120" fmla="*/ 557213 w 1562100"/>
                <a:gd name="connsiteY120" fmla="*/ 1235868 h 1309687"/>
                <a:gd name="connsiteX121" fmla="*/ 583406 w 1562100"/>
                <a:gd name="connsiteY121" fmla="*/ 1216818 h 1309687"/>
                <a:gd name="connsiteX122" fmla="*/ 590550 w 1562100"/>
                <a:gd name="connsiteY122" fmla="*/ 1178718 h 1309687"/>
                <a:gd name="connsiteX123" fmla="*/ 607219 w 1562100"/>
                <a:gd name="connsiteY123" fmla="*/ 1152525 h 1309687"/>
                <a:gd name="connsiteX124" fmla="*/ 688181 w 1562100"/>
                <a:gd name="connsiteY124"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02456 w 1562100"/>
                <a:gd name="connsiteY54" fmla="*/ 133351 h 1309687"/>
                <a:gd name="connsiteX55" fmla="*/ 500062 w 1562100"/>
                <a:gd name="connsiteY55" fmla="*/ 66676 h 1309687"/>
                <a:gd name="connsiteX56" fmla="*/ 450056 w 1562100"/>
                <a:gd name="connsiteY56" fmla="*/ 2382 h 1309687"/>
                <a:gd name="connsiteX57" fmla="*/ 428625 w 1562100"/>
                <a:gd name="connsiteY57" fmla="*/ 0 h 1309687"/>
                <a:gd name="connsiteX58" fmla="*/ 376238 w 1562100"/>
                <a:gd name="connsiteY58" fmla="*/ 104775 h 1309687"/>
                <a:gd name="connsiteX59" fmla="*/ 314326 w 1562100"/>
                <a:gd name="connsiteY59" fmla="*/ 104774 h 1309687"/>
                <a:gd name="connsiteX60" fmla="*/ 328613 w 1562100"/>
                <a:gd name="connsiteY60" fmla="*/ 183356 h 1309687"/>
                <a:gd name="connsiteX61" fmla="*/ 292894 w 1562100"/>
                <a:gd name="connsiteY61" fmla="*/ 285750 h 1309687"/>
                <a:gd name="connsiteX62" fmla="*/ 264319 w 1562100"/>
                <a:gd name="connsiteY62" fmla="*/ 292893 h 1309687"/>
                <a:gd name="connsiteX63" fmla="*/ 261938 w 1562100"/>
                <a:gd name="connsiteY63" fmla="*/ 307181 h 1309687"/>
                <a:gd name="connsiteX64" fmla="*/ 261938 w 1562100"/>
                <a:gd name="connsiteY64" fmla="*/ 340518 h 1309687"/>
                <a:gd name="connsiteX65" fmla="*/ 228600 w 1562100"/>
                <a:gd name="connsiteY65" fmla="*/ 383381 h 1309687"/>
                <a:gd name="connsiteX66" fmla="*/ 271463 w 1562100"/>
                <a:gd name="connsiteY66" fmla="*/ 400050 h 1309687"/>
                <a:gd name="connsiteX67" fmla="*/ 278606 w 1562100"/>
                <a:gd name="connsiteY67" fmla="*/ 419100 h 1309687"/>
                <a:gd name="connsiteX68" fmla="*/ 257175 w 1562100"/>
                <a:gd name="connsiteY68" fmla="*/ 454818 h 1309687"/>
                <a:gd name="connsiteX69" fmla="*/ 221456 w 1562100"/>
                <a:gd name="connsiteY69" fmla="*/ 464343 h 1309687"/>
                <a:gd name="connsiteX70" fmla="*/ 221456 w 1562100"/>
                <a:gd name="connsiteY70" fmla="*/ 504825 h 1309687"/>
                <a:gd name="connsiteX71" fmla="*/ 254794 w 1562100"/>
                <a:gd name="connsiteY71" fmla="*/ 542925 h 1309687"/>
                <a:gd name="connsiteX72" fmla="*/ 226219 w 1562100"/>
                <a:gd name="connsiteY72" fmla="*/ 607218 h 1309687"/>
                <a:gd name="connsiteX73" fmla="*/ 180975 w 1562100"/>
                <a:gd name="connsiteY73" fmla="*/ 635793 h 1309687"/>
                <a:gd name="connsiteX74" fmla="*/ 183356 w 1562100"/>
                <a:gd name="connsiteY74" fmla="*/ 652462 h 1309687"/>
                <a:gd name="connsiteX75" fmla="*/ 204788 w 1562100"/>
                <a:gd name="connsiteY75" fmla="*/ 661987 h 1309687"/>
                <a:gd name="connsiteX76" fmla="*/ 219075 w 1562100"/>
                <a:gd name="connsiteY76" fmla="*/ 671512 h 1309687"/>
                <a:gd name="connsiteX77" fmla="*/ 223838 w 1562100"/>
                <a:gd name="connsiteY77" fmla="*/ 690562 h 1309687"/>
                <a:gd name="connsiteX78" fmla="*/ 195263 w 1562100"/>
                <a:gd name="connsiteY78" fmla="*/ 716756 h 1309687"/>
                <a:gd name="connsiteX79" fmla="*/ 123825 w 1562100"/>
                <a:gd name="connsiteY79" fmla="*/ 762000 h 1309687"/>
                <a:gd name="connsiteX80" fmla="*/ 123825 w 1562100"/>
                <a:gd name="connsiteY80" fmla="*/ 797718 h 1309687"/>
                <a:gd name="connsiteX81" fmla="*/ 135731 w 1562100"/>
                <a:gd name="connsiteY81" fmla="*/ 828675 h 1309687"/>
                <a:gd name="connsiteX82" fmla="*/ 123825 w 1562100"/>
                <a:gd name="connsiteY82" fmla="*/ 869156 h 1309687"/>
                <a:gd name="connsiteX83" fmla="*/ 76200 w 1562100"/>
                <a:gd name="connsiteY83" fmla="*/ 864393 h 1309687"/>
                <a:gd name="connsiteX84" fmla="*/ 52388 w 1562100"/>
                <a:gd name="connsiteY84" fmla="*/ 809625 h 1309687"/>
                <a:gd name="connsiteX85" fmla="*/ 33338 w 1562100"/>
                <a:gd name="connsiteY85" fmla="*/ 802481 h 1309687"/>
                <a:gd name="connsiteX86" fmla="*/ 23813 w 1562100"/>
                <a:gd name="connsiteY86" fmla="*/ 840581 h 1309687"/>
                <a:gd name="connsiteX87" fmla="*/ 21431 w 1562100"/>
                <a:gd name="connsiteY87" fmla="*/ 850106 h 1309687"/>
                <a:gd name="connsiteX88" fmla="*/ 7144 w 1562100"/>
                <a:gd name="connsiteY88" fmla="*/ 866775 h 1309687"/>
                <a:gd name="connsiteX89" fmla="*/ 0 w 1562100"/>
                <a:gd name="connsiteY89" fmla="*/ 923925 h 1309687"/>
                <a:gd name="connsiteX90" fmla="*/ 23813 w 1562100"/>
                <a:gd name="connsiteY90" fmla="*/ 952500 h 1309687"/>
                <a:gd name="connsiteX91" fmla="*/ 16669 w 1562100"/>
                <a:gd name="connsiteY91" fmla="*/ 992981 h 1309687"/>
                <a:gd name="connsiteX92" fmla="*/ 35719 w 1562100"/>
                <a:gd name="connsiteY92" fmla="*/ 997743 h 1309687"/>
                <a:gd name="connsiteX93" fmla="*/ 69056 w 1562100"/>
                <a:gd name="connsiteY93" fmla="*/ 997743 h 1309687"/>
                <a:gd name="connsiteX94" fmla="*/ 85725 w 1562100"/>
                <a:gd name="connsiteY94" fmla="*/ 988218 h 1309687"/>
                <a:gd name="connsiteX95" fmla="*/ 135731 w 1562100"/>
                <a:gd name="connsiteY95" fmla="*/ 1045368 h 1309687"/>
                <a:gd name="connsiteX96" fmla="*/ 123825 w 1562100"/>
                <a:gd name="connsiteY96" fmla="*/ 1064418 h 1309687"/>
                <a:gd name="connsiteX97" fmla="*/ 133350 w 1562100"/>
                <a:gd name="connsiteY97" fmla="*/ 1092993 h 1309687"/>
                <a:gd name="connsiteX98" fmla="*/ 164306 w 1562100"/>
                <a:gd name="connsiteY98" fmla="*/ 1112043 h 1309687"/>
                <a:gd name="connsiteX99" fmla="*/ 190500 w 1562100"/>
                <a:gd name="connsiteY99" fmla="*/ 1121568 h 1309687"/>
                <a:gd name="connsiteX100" fmla="*/ 216694 w 1562100"/>
                <a:gd name="connsiteY100" fmla="*/ 1128712 h 1309687"/>
                <a:gd name="connsiteX101" fmla="*/ 228600 w 1562100"/>
                <a:gd name="connsiteY101" fmla="*/ 1131093 h 1309687"/>
                <a:gd name="connsiteX102" fmla="*/ 240506 w 1562100"/>
                <a:gd name="connsiteY102" fmla="*/ 1092993 h 1309687"/>
                <a:gd name="connsiteX103" fmla="*/ 269081 w 1562100"/>
                <a:gd name="connsiteY103" fmla="*/ 1097756 h 1309687"/>
                <a:gd name="connsiteX104" fmla="*/ 288131 w 1562100"/>
                <a:gd name="connsiteY104" fmla="*/ 1085850 h 1309687"/>
                <a:gd name="connsiteX105" fmla="*/ 307181 w 1562100"/>
                <a:gd name="connsiteY105" fmla="*/ 1135856 h 1309687"/>
                <a:gd name="connsiteX106" fmla="*/ 330994 w 1562100"/>
                <a:gd name="connsiteY106" fmla="*/ 1150143 h 1309687"/>
                <a:gd name="connsiteX107" fmla="*/ 340519 w 1562100"/>
                <a:gd name="connsiteY107" fmla="*/ 1178718 h 1309687"/>
                <a:gd name="connsiteX108" fmla="*/ 357188 w 1562100"/>
                <a:gd name="connsiteY108" fmla="*/ 1188243 h 1309687"/>
                <a:gd name="connsiteX109" fmla="*/ 364331 w 1562100"/>
                <a:gd name="connsiteY109" fmla="*/ 1219200 h 1309687"/>
                <a:gd name="connsiteX110" fmla="*/ 335756 w 1562100"/>
                <a:gd name="connsiteY110" fmla="*/ 1245393 h 1309687"/>
                <a:gd name="connsiteX111" fmla="*/ 309563 w 1562100"/>
                <a:gd name="connsiteY111" fmla="*/ 1262062 h 1309687"/>
                <a:gd name="connsiteX112" fmla="*/ 297656 w 1562100"/>
                <a:gd name="connsiteY112" fmla="*/ 1285875 h 1309687"/>
                <a:gd name="connsiteX113" fmla="*/ 302419 w 1562100"/>
                <a:gd name="connsiteY113" fmla="*/ 1309687 h 1309687"/>
                <a:gd name="connsiteX114" fmla="*/ 342900 w 1562100"/>
                <a:gd name="connsiteY114" fmla="*/ 1309687 h 1309687"/>
                <a:gd name="connsiteX115" fmla="*/ 390525 w 1562100"/>
                <a:gd name="connsiteY115" fmla="*/ 1304925 h 1309687"/>
                <a:gd name="connsiteX116" fmla="*/ 428625 w 1562100"/>
                <a:gd name="connsiteY116" fmla="*/ 1295400 h 1309687"/>
                <a:gd name="connsiteX117" fmla="*/ 454819 w 1562100"/>
                <a:gd name="connsiteY117" fmla="*/ 1302543 h 1309687"/>
                <a:gd name="connsiteX118" fmla="*/ 473869 w 1562100"/>
                <a:gd name="connsiteY118" fmla="*/ 1281112 h 1309687"/>
                <a:gd name="connsiteX119" fmla="*/ 492919 w 1562100"/>
                <a:gd name="connsiteY119" fmla="*/ 1281112 h 1309687"/>
                <a:gd name="connsiteX120" fmla="*/ 507206 w 1562100"/>
                <a:gd name="connsiteY120" fmla="*/ 1250156 h 1309687"/>
                <a:gd name="connsiteX121" fmla="*/ 557213 w 1562100"/>
                <a:gd name="connsiteY121" fmla="*/ 1235868 h 1309687"/>
                <a:gd name="connsiteX122" fmla="*/ 583406 w 1562100"/>
                <a:gd name="connsiteY122" fmla="*/ 1216818 h 1309687"/>
                <a:gd name="connsiteX123" fmla="*/ 590550 w 1562100"/>
                <a:gd name="connsiteY123" fmla="*/ 1178718 h 1309687"/>
                <a:gd name="connsiteX124" fmla="*/ 607219 w 1562100"/>
                <a:gd name="connsiteY124" fmla="*/ 1152525 h 1309687"/>
                <a:gd name="connsiteX125" fmla="*/ 688181 w 1562100"/>
                <a:gd name="connsiteY125"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02456 w 1562100"/>
                <a:gd name="connsiteY54" fmla="*/ 133351 h 1309687"/>
                <a:gd name="connsiteX55" fmla="*/ 628650 w 1562100"/>
                <a:gd name="connsiteY55" fmla="*/ 88107 h 1309687"/>
                <a:gd name="connsiteX56" fmla="*/ 500062 w 1562100"/>
                <a:gd name="connsiteY56" fmla="*/ 66676 h 1309687"/>
                <a:gd name="connsiteX57" fmla="*/ 450056 w 1562100"/>
                <a:gd name="connsiteY57" fmla="*/ 2382 h 1309687"/>
                <a:gd name="connsiteX58" fmla="*/ 428625 w 1562100"/>
                <a:gd name="connsiteY58" fmla="*/ 0 h 1309687"/>
                <a:gd name="connsiteX59" fmla="*/ 376238 w 1562100"/>
                <a:gd name="connsiteY59" fmla="*/ 104775 h 1309687"/>
                <a:gd name="connsiteX60" fmla="*/ 314326 w 1562100"/>
                <a:gd name="connsiteY60" fmla="*/ 104774 h 1309687"/>
                <a:gd name="connsiteX61" fmla="*/ 328613 w 1562100"/>
                <a:gd name="connsiteY61" fmla="*/ 183356 h 1309687"/>
                <a:gd name="connsiteX62" fmla="*/ 292894 w 1562100"/>
                <a:gd name="connsiteY62" fmla="*/ 285750 h 1309687"/>
                <a:gd name="connsiteX63" fmla="*/ 264319 w 1562100"/>
                <a:gd name="connsiteY63" fmla="*/ 292893 h 1309687"/>
                <a:gd name="connsiteX64" fmla="*/ 261938 w 1562100"/>
                <a:gd name="connsiteY64" fmla="*/ 307181 h 1309687"/>
                <a:gd name="connsiteX65" fmla="*/ 261938 w 1562100"/>
                <a:gd name="connsiteY65" fmla="*/ 340518 h 1309687"/>
                <a:gd name="connsiteX66" fmla="*/ 228600 w 1562100"/>
                <a:gd name="connsiteY66" fmla="*/ 383381 h 1309687"/>
                <a:gd name="connsiteX67" fmla="*/ 271463 w 1562100"/>
                <a:gd name="connsiteY67" fmla="*/ 400050 h 1309687"/>
                <a:gd name="connsiteX68" fmla="*/ 278606 w 1562100"/>
                <a:gd name="connsiteY68" fmla="*/ 419100 h 1309687"/>
                <a:gd name="connsiteX69" fmla="*/ 257175 w 1562100"/>
                <a:gd name="connsiteY69" fmla="*/ 454818 h 1309687"/>
                <a:gd name="connsiteX70" fmla="*/ 221456 w 1562100"/>
                <a:gd name="connsiteY70" fmla="*/ 464343 h 1309687"/>
                <a:gd name="connsiteX71" fmla="*/ 221456 w 1562100"/>
                <a:gd name="connsiteY71" fmla="*/ 504825 h 1309687"/>
                <a:gd name="connsiteX72" fmla="*/ 254794 w 1562100"/>
                <a:gd name="connsiteY72" fmla="*/ 542925 h 1309687"/>
                <a:gd name="connsiteX73" fmla="*/ 226219 w 1562100"/>
                <a:gd name="connsiteY73" fmla="*/ 607218 h 1309687"/>
                <a:gd name="connsiteX74" fmla="*/ 180975 w 1562100"/>
                <a:gd name="connsiteY74" fmla="*/ 635793 h 1309687"/>
                <a:gd name="connsiteX75" fmla="*/ 183356 w 1562100"/>
                <a:gd name="connsiteY75" fmla="*/ 652462 h 1309687"/>
                <a:gd name="connsiteX76" fmla="*/ 204788 w 1562100"/>
                <a:gd name="connsiteY76" fmla="*/ 661987 h 1309687"/>
                <a:gd name="connsiteX77" fmla="*/ 219075 w 1562100"/>
                <a:gd name="connsiteY77" fmla="*/ 671512 h 1309687"/>
                <a:gd name="connsiteX78" fmla="*/ 223838 w 1562100"/>
                <a:gd name="connsiteY78" fmla="*/ 690562 h 1309687"/>
                <a:gd name="connsiteX79" fmla="*/ 195263 w 1562100"/>
                <a:gd name="connsiteY79" fmla="*/ 716756 h 1309687"/>
                <a:gd name="connsiteX80" fmla="*/ 123825 w 1562100"/>
                <a:gd name="connsiteY80" fmla="*/ 762000 h 1309687"/>
                <a:gd name="connsiteX81" fmla="*/ 123825 w 1562100"/>
                <a:gd name="connsiteY81" fmla="*/ 797718 h 1309687"/>
                <a:gd name="connsiteX82" fmla="*/ 135731 w 1562100"/>
                <a:gd name="connsiteY82" fmla="*/ 828675 h 1309687"/>
                <a:gd name="connsiteX83" fmla="*/ 123825 w 1562100"/>
                <a:gd name="connsiteY83" fmla="*/ 869156 h 1309687"/>
                <a:gd name="connsiteX84" fmla="*/ 76200 w 1562100"/>
                <a:gd name="connsiteY84" fmla="*/ 864393 h 1309687"/>
                <a:gd name="connsiteX85" fmla="*/ 52388 w 1562100"/>
                <a:gd name="connsiteY85" fmla="*/ 809625 h 1309687"/>
                <a:gd name="connsiteX86" fmla="*/ 33338 w 1562100"/>
                <a:gd name="connsiteY86" fmla="*/ 802481 h 1309687"/>
                <a:gd name="connsiteX87" fmla="*/ 23813 w 1562100"/>
                <a:gd name="connsiteY87" fmla="*/ 840581 h 1309687"/>
                <a:gd name="connsiteX88" fmla="*/ 21431 w 1562100"/>
                <a:gd name="connsiteY88" fmla="*/ 850106 h 1309687"/>
                <a:gd name="connsiteX89" fmla="*/ 7144 w 1562100"/>
                <a:gd name="connsiteY89" fmla="*/ 866775 h 1309687"/>
                <a:gd name="connsiteX90" fmla="*/ 0 w 1562100"/>
                <a:gd name="connsiteY90" fmla="*/ 923925 h 1309687"/>
                <a:gd name="connsiteX91" fmla="*/ 23813 w 1562100"/>
                <a:gd name="connsiteY91" fmla="*/ 952500 h 1309687"/>
                <a:gd name="connsiteX92" fmla="*/ 16669 w 1562100"/>
                <a:gd name="connsiteY92" fmla="*/ 992981 h 1309687"/>
                <a:gd name="connsiteX93" fmla="*/ 35719 w 1562100"/>
                <a:gd name="connsiteY93" fmla="*/ 997743 h 1309687"/>
                <a:gd name="connsiteX94" fmla="*/ 69056 w 1562100"/>
                <a:gd name="connsiteY94" fmla="*/ 997743 h 1309687"/>
                <a:gd name="connsiteX95" fmla="*/ 85725 w 1562100"/>
                <a:gd name="connsiteY95" fmla="*/ 988218 h 1309687"/>
                <a:gd name="connsiteX96" fmla="*/ 135731 w 1562100"/>
                <a:gd name="connsiteY96" fmla="*/ 1045368 h 1309687"/>
                <a:gd name="connsiteX97" fmla="*/ 123825 w 1562100"/>
                <a:gd name="connsiteY97" fmla="*/ 1064418 h 1309687"/>
                <a:gd name="connsiteX98" fmla="*/ 133350 w 1562100"/>
                <a:gd name="connsiteY98" fmla="*/ 1092993 h 1309687"/>
                <a:gd name="connsiteX99" fmla="*/ 164306 w 1562100"/>
                <a:gd name="connsiteY99" fmla="*/ 1112043 h 1309687"/>
                <a:gd name="connsiteX100" fmla="*/ 190500 w 1562100"/>
                <a:gd name="connsiteY100" fmla="*/ 1121568 h 1309687"/>
                <a:gd name="connsiteX101" fmla="*/ 216694 w 1562100"/>
                <a:gd name="connsiteY101" fmla="*/ 1128712 h 1309687"/>
                <a:gd name="connsiteX102" fmla="*/ 228600 w 1562100"/>
                <a:gd name="connsiteY102" fmla="*/ 1131093 h 1309687"/>
                <a:gd name="connsiteX103" fmla="*/ 240506 w 1562100"/>
                <a:gd name="connsiteY103" fmla="*/ 1092993 h 1309687"/>
                <a:gd name="connsiteX104" fmla="*/ 269081 w 1562100"/>
                <a:gd name="connsiteY104" fmla="*/ 1097756 h 1309687"/>
                <a:gd name="connsiteX105" fmla="*/ 288131 w 1562100"/>
                <a:gd name="connsiteY105" fmla="*/ 1085850 h 1309687"/>
                <a:gd name="connsiteX106" fmla="*/ 307181 w 1562100"/>
                <a:gd name="connsiteY106" fmla="*/ 1135856 h 1309687"/>
                <a:gd name="connsiteX107" fmla="*/ 330994 w 1562100"/>
                <a:gd name="connsiteY107" fmla="*/ 1150143 h 1309687"/>
                <a:gd name="connsiteX108" fmla="*/ 340519 w 1562100"/>
                <a:gd name="connsiteY108" fmla="*/ 1178718 h 1309687"/>
                <a:gd name="connsiteX109" fmla="*/ 357188 w 1562100"/>
                <a:gd name="connsiteY109" fmla="*/ 1188243 h 1309687"/>
                <a:gd name="connsiteX110" fmla="*/ 364331 w 1562100"/>
                <a:gd name="connsiteY110" fmla="*/ 1219200 h 1309687"/>
                <a:gd name="connsiteX111" fmla="*/ 335756 w 1562100"/>
                <a:gd name="connsiteY111" fmla="*/ 1245393 h 1309687"/>
                <a:gd name="connsiteX112" fmla="*/ 309563 w 1562100"/>
                <a:gd name="connsiteY112" fmla="*/ 1262062 h 1309687"/>
                <a:gd name="connsiteX113" fmla="*/ 297656 w 1562100"/>
                <a:gd name="connsiteY113" fmla="*/ 1285875 h 1309687"/>
                <a:gd name="connsiteX114" fmla="*/ 302419 w 1562100"/>
                <a:gd name="connsiteY114" fmla="*/ 1309687 h 1309687"/>
                <a:gd name="connsiteX115" fmla="*/ 342900 w 1562100"/>
                <a:gd name="connsiteY115" fmla="*/ 1309687 h 1309687"/>
                <a:gd name="connsiteX116" fmla="*/ 390525 w 1562100"/>
                <a:gd name="connsiteY116" fmla="*/ 1304925 h 1309687"/>
                <a:gd name="connsiteX117" fmla="*/ 428625 w 1562100"/>
                <a:gd name="connsiteY117" fmla="*/ 1295400 h 1309687"/>
                <a:gd name="connsiteX118" fmla="*/ 454819 w 1562100"/>
                <a:gd name="connsiteY118" fmla="*/ 1302543 h 1309687"/>
                <a:gd name="connsiteX119" fmla="*/ 473869 w 1562100"/>
                <a:gd name="connsiteY119" fmla="*/ 1281112 h 1309687"/>
                <a:gd name="connsiteX120" fmla="*/ 492919 w 1562100"/>
                <a:gd name="connsiteY120" fmla="*/ 1281112 h 1309687"/>
                <a:gd name="connsiteX121" fmla="*/ 507206 w 1562100"/>
                <a:gd name="connsiteY121" fmla="*/ 1250156 h 1309687"/>
                <a:gd name="connsiteX122" fmla="*/ 557213 w 1562100"/>
                <a:gd name="connsiteY122" fmla="*/ 1235868 h 1309687"/>
                <a:gd name="connsiteX123" fmla="*/ 583406 w 1562100"/>
                <a:gd name="connsiteY123" fmla="*/ 1216818 h 1309687"/>
                <a:gd name="connsiteX124" fmla="*/ 590550 w 1562100"/>
                <a:gd name="connsiteY124" fmla="*/ 1178718 h 1309687"/>
                <a:gd name="connsiteX125" fmla="*/ 607219 w 1562100"/>
                <a:gd name="connsiteY125" fmla="*/ 1152525 h 1309687"/>
                <a:gd name="connsiteX126" fmla="*/ 688181 w 1562100"/>
                <a:gd name="connsiteY126"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57225 w 1562100"/>
                <a:gd name="connsiteY54" fmla="*/ 64294 h 1309687"/>
                <a:gd name="connsiteX55" fmla="*/ 628650 w 1562100"/>
                <a:gd name="connsiteY55" fmla="*/ 88107 h 1309687"/>
                <a:gd name="connsiteX56" fmla="*/ 500062 w 1562100"/>
                <a:gd name="connsiteY56" fmla="*/ 66676 h 1309687"/>
                <a:gd name="connsiteX57" fmla="*/ 450056 w 1562100"/>
                <a:gd name="connsiteY57" fmla="*/ 2382 h 1309687"/>
                <a:gd name="connsiteX58" fmla="*/ 428625 w 1562100"/>
                <a:gd name="connsiteY58" fmla="*/ 0 h 1309687"/>
                <a:gd name="connsiteX59" fmla="*/ 376238 w 1562100"/>
                <a:gd name="connsiteY59" fmla="*/ 104775 h 1309687"/>
                <a:gd name="connsiteX60" fmla="*/ 314326 w 1562100"/>
                <a:gd name="connsiteY60" fmla="*/ 104774 h 1309687"/>
                <a:gd name="connsiteX61" fmla="*/ 328613 w 1562100"/>
                <a:gd name="connsiteY61" fmla="*/ 183356 h 1309687"/>
                <a:gd name="connsiteX62" fmla="*/ 292894 w 1562100"/>
                <a:gd name="connsiteY62" fmla="*/ 285750 h 1309687"/>
                <a:gd name="connsiteX63" fmla="*/ 264319 w 1562100"/>
                <a:gd name="connsiteY63" fmla="*/ 292893 h 1309687"/>
                <a:gd name="connsiteX64" fmla="*/ 261938 w 1562100"/>
                <a:gd name="connsiteY64" fmla="*/ 307181 h 1309687"/>
                <a:gd name="connsiteX65" fmla="*/ 261938 w 1562100"/>
                <a:gd name="connsiteY65" fmla="*/ 340518 h 1309687"/>
                <a:gd name="connsiteX66" fmla="*/ 228600 w 1562100"/>
                <a:gd name="connsiteY66" fmla="*/ 383381 h 1309687"/>
                <a:gd name="connsiteX67" fmla="*/ 271463 w 1562100"/>
                <a:gd name="connsiteY67" fmla="*/ 400050 h 1309687"/>
                <a:gd name="connsiteX68" fmla="*/ 278606 w 1562100"/>
                <a:gd name="connsiteY68" fmla="*/ 419100 h 1309687"/>
                <a:gd name="connsiteX69" fmla="*/ 257175 w 1562100"/>
                <a:gd name="connsiteY69" fmla="*/ 454818 h 1309687"/>
                <a:gd name="connsiteX70" fmla="*/ 221456 w 1562100"/>
                <a:gd name="connsiteY70" fmla="*/ 464343 h 1309687"/>
                <a:gd name="connsiteX71" fmla="*/ 221456 w 1562100"/>
                <a:gd name="connsiteY71" fmla="*/ 504825 h 1309687"/>
                <a:gd name="connsiteX72" fmla="*/ 254794 w 1562100"/>
                <a:gd name="connsiteY72" fmla="*/ 542925 h 1309687"/>
                <a:gd name="connsiteX73" fmla="*/ 226219 w 1562100"/>
                <a:gd name="connsiteY73" fmla="*/ 607218 h 1309687"/>
                <a:gd name="connsiteX74" fmla="*/ 180975 w 1562100"/>
                <a:gd name="connsiteY74" fmla="*/ 635793 h 1309687"/>
                <a:gd name="connsiteX75" fmla="*/ 183356 w 1562100"/>
                <a:gd name="connsiteY75" fmla="*/ 652462 h 1309687"/>
                <a:gd name="connsiteX76" fmla="*/ 204788 w 1562100"/>
                <a:gd name="connsiteY76" fmla="*/ 661987 h 1309687"/>
                <a:gd name="connsiteX77" fmla="*/ 219075 w 1562100"/>
                <a:gd name="connsiteY77" fmla="*/ 671512 h 1309687"/>
                <a:gd name="connsiteX78" fmla="*/ 223838 w 1562100"/>
                <a:gd name="connsiteY78" fmla="*/ 690562 h 1309687"/>
                <a:gd name="connsiteX79" fmla="*/ 195263 w 1562100"/>
                <a:gd name="connsiteY79" fmla="*/ 716756 h 1309687"/>
                <a:gd name="connsiteX80" fmla="*/ 123825 w 1562100"/>
                <a:gd name="connsiteY80" fmla="*/ 762000 h 1309687"/>
                <a:gd name="connsiteX81" fmla="*/ 123825 w 1562100"/>
                <a:gd name="connsiteY81" fmla="*/ 797718 h 1309687"/>
                <a:gd name="connsiteX82" fmla="*/ 135731 w 1562100"/>
                <a:gd name="connsiteY82" fmla="*/ 828675 h 1309687"/>
                <a:gd name="connsiteX83" fmla="*/ 123825 w 1562100"/>
                <a:gd name="connsiteY83" fmla="*/ 869156 h 1309687"/>
                <a:gd name="connsiteX84" fmla="*/ 76200 w 1562100"/>
                <a:gd name="connsiteY84" fmla="*/ 864393 h 1309687"/>
                <a:gd name="connsiteX85" fmla="*/ 52388 w 1562100"/>
                <a:gd name="connsiteY85" fmla="*/ 809625 h 1309687"/>
                <a:gd name="connsiteX86" fmla="*/ 33338 w 1562100"/>
                <a:gd name="connsiteY86" fmla="*/ 802481 h 1309687"/>
                <a:gd name="connsiteX87" fmla="*/ 23813 w 1562100"/>
                <a:gd name="connsiteY87" fmla="*/ 840581 h 1309687"/>
                <a:gd name="connsiteX88" fmla="*/ 21431 w 1562100"/>
                <a:gd name="connsiteY88" fmla="*/ 850106 h 1309687"/>
                <a:gd name="connsiteX89" fmla="*/ 7144 w 1562100"/>
                <a:gd name="connsiteY89" fmla="*/ 866775 h 1309687"/>
                <a:gd name="connsiteX90" fmla="*/ 0 w 1562100"/>
                <a:gd name="connsiteY90" fmla="*/ 923925 h 1309687"/>
                <a:gd name="connsiteX91" fmla="*/ 23813 w 1562100"/>
                <a:gd name="connsiteY91" fmla="*/ 952500 h 1309687"/>
                <a:gd name="connsiteX92" fmla="*/ 16669 w 1562100"/>
                <a:gd name="connsiteY92" fmla="*/ 992981 h 1309687"/>
                <a:gd name="connsiteX93" fmla="*/ 35719 w 1562100"/>
                <a:gd name="connsiteY93" fmla="*/ 997743 h 1309687"/>
                <a:gd name="connsiteX94" fmla="*/ 69056 w 1562100"/>
                <a:gd name="connsiteY94" fmla="*/ 997743 h 1309687"/>
                <a:gd name="connsiteX95" fmla="*/ 85725 w 1562100"/>
                <a:gd name="connsiteY95" fmla="*/ 988218 h 1309687"/>
                <a:gd name="connsiteX96" fmla="*/ 135731 w 1562100"/>
                <a:gd name="connsiteY96" fmla="*/ 1045368 h 1309687"/>
                <a:gd name="connsiteX97" fmla="*/ 123825 w 1562100"/>
                <a:gd name="connsiteY97" fmla="*/ 1064418 h 1309687"/>
                <a:gd name="connsiteX98" fmla="*/ 133350 w 1562100"/>
                <a:gd name="connsiteY98" fmla="*/ 1092993 h 1309687"/>
                <a:gd name="connsiteX99" fmla="*/ 164306 w 1562100"/>
                <a:gd name="connsiteY99" fmla="*/ 1112043 h 1309687"/>
                <a:gd name="connsiteX100" fmla="*/ 190500 w 1562100"/>
                <a:gd name="connsiteY100" fmla="*/ 1121568 h 1309687"/>
                <a:gd name="connsiteX101" fmla="*/ 216694 w 1562100"/>
                <a:gd name="connsiteY101" fmla="*/ 1128712 h 1309687"/>
                <a:gd name="connsiteX102" fmla="*/ 228600 w 1562100"/>
                <a:gd name="connsiteY102" fmla="*/ 1131093 h 1309687"/>
                <a:gd name="connsiteX103" fmla="*/ 240506 w 1562100"/>
                <a:gd name="connsiteY103" fmla="*/ 1092993 h 1309687"/>
                <a:gd name="connsiteX104" fmla="*/ 269081 w 1562100"/>
                <a:gd name="connsiteY104" fmla="*/ 1097756 h 1309687"/>
                <a:gd name="connsiteX105" fmla="*/ 288131 w 1562100"/>
                <a:gd name="connsiteY105" fmla="*/ 1085850 h 1309687"/>
                <a:gd name="connsiteX106" fmla="*/ 307181 w 1562100"/>
                <a:gd name="connsiteY106" fmla="*/ 1135856 h 1309687"/>
                <a:gd name="connsiteX107" fmla="*/ 330994 w 1562100"/>
                <a:gd name="connsiteY107" fmla="*/ 1150143 h 1309687"/>
                <a:gd name="connsiteX108" fmla="*/ 340519 w 1562100"/>
                <a:gd name="connsiteY108" fmla="*/ 1178718 h 1309687"/>
                <a:gd name="connsiteX109" fmla="*/ 357188 w 1562100"/>
                <a:gd name="connsiteY109" fmla="*/ 1188243 h 1309687"/>
                <a:gd name="connsiteX110" fmla="*/ 364331 w 1562100"/>
                <a:gd name="connsiteY110" fmla="*/ 1219200 h 1309687"/>
                <a:gd name="connsiteX111" fmla="*/ 335756 w 1562100"/>
                <a:gd name="connsiteY111" fmla="*/ 1245393 h 1309687"/>
                <a:gd name="connsiteX112" fmla="*/ 309563 w 1562100"/>
                <a:gd name="connsiteY112" fmla="*/ 1262062 h 1309687"/>
                <a:gd name="connsiteX113" fmla="*/ 297656 w 1562100"/>
                <a:gd name="connsiteY113" fmla="*/ 1285875 h 1309687"/>
                <a:gd name="connsiteX114" fmla="*/ 302419 w 1562100"/>
                <a:gd name="connsiteY114" fmla="*/ 1309687 h 1309687"/>
                <a:gd name="connsiteX115" fmla="*/ 342900 w 1562100"/>
                <a:gd name="connsiteY115" fmla="*/ 1309687 h 1309687"/>
                <a:gd name="connsiteX116" fmla="*/ 390525 w 1562100"/>
                <a:gd name="connsiteY116" fmla="*/ 1304925 h 1309687"/>
                <a:gd name="connsiteX117" fmla="*/ 428625 w 1562100"/>
                <a:gd name="connsiteY117" fmla="*/ 1295400 h 1309687"/>
                <a:gd name="connsiteX118" fmla="*/ 454819 w 1562100"/>
                <a:gd name="connsiteY118" fmla="*/ 1302543 h 1309687"/>
                <a:gd name="connsiteX119" fmla="*/ 473869 w 1562100"/>
                <a:gd name="connsiteY119" fmla="*/ 1281112 h 1309687"/>
                <a:gd name="connsiteX120" fmla="*/ 492919 w 1562100"/>
                <a:gd name="connsiteY120" fmla="*/ 1281112 h 1309687"/>
                <a:gd name="connsiteX121" fmla="*/ 507206 w 1562100"/>
                <a:gd name="connsiteY121" fmla="*/ 1250156 h 1309687"/>
                <a:gd name="connsiteX122" fmla="*/ 557213 w 1562100"/>
                <a:gd name="connsiteY122" fmla="*/ 1235868 h 1309687"/>
                <a:gd name="connsiteX123" fmla="*/ 583406 w 1562100"/>
                <a:gd name="connsiteY123" fmla="*/ 1216818 h 1309687"/>
                <a:gd name="connsiteX124" fmla="*/ 590550 w 1562100"/>
                <a:gd name="connsiteY124" fmla="*/ 1178718 h 1309687"/>
                <a:gd name="connsiteX125" fmla="*/ 607219 w 1562100"/>
                <a:gd name="connsiteY125" fmla="*/ 1152525 h 1309687"/>
                <a:gd name="connsiteX126" fmla="*/ 688181 w 1562100"/>
                <a:gd name="connsiteY126"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71513 w 1562100"/>
                <a:gd name="connsiteY54" fmla="*/ 92869 h 1309687"/>
                <a:gd name="connsiteX55" fmla="*/ 657225 w 1562100"/>
                <a:gd name="connsiteY55" fmla="*/ 64294 h 1309687"/>
                <a:gd name="connsiteX56" fmla="*/ 628650 w 1562100"/>
                <a:gd name="connsiteY56" fmla="*/ 88107 h 1309687"/>
                <a:gd name="connsiteX57" fmla="*/ 500062 w 1562100"/>
                <a:gd name="connsiteY57" fmla="*/ 66676 h 1309687"/>
                <a:gd name="connsiteX58" fmla="*/ 450056 w 1562100"/>
                <a:gd name="connsiteY58" fmla="*/ 2382 h 1309687"/>
                <a:gd name="connsiteX59" fmla="*/ 428625 w 1562100"/>
                <a:gd name="connsiteY59" fmla="*/ 0 h 1309687"/>
                <a:gd name="connsiteX60" fmla="*/ 376238 w 1562100"/>
                <a:gd name="connsiteY60" fmla="*/ 104775 h 1309687"/>
                <a:gd name="connsiteX61" fmla="*/ 314326 w 1562100"/>
                <a:gd name="connsiteY61" fmla="*/ 104774 h 1309687"/>
                <a:gd name="connsiteX62" fmla="*/ 328613 w 1562100"/>
                <a:gd name="connsiteY62" fmla="*/ 183356 h 1309687"/>
                <a:gd name="connsiteX63" fmla="*/ 292894 w 1562100"/>
                <a:gd name="connsiteY63" fmla="*/ 285750 h 1309687"/>
                <a:gd name="connsiteX64" fmla="*/ 264319 w 1562100"/>
                <a:gd name="connsiteY64" fmla="*/ 292893 h 1309687"/>
                <a:gd name="connsiteX65" fmla="*/ 261938 w 1562100"/>
                <a:gd name="connsiteY65" fmla="*/ 307181 h 1309687"/>
                <a:gd name="connsiteX66" fmla="*/ 261938 w 1562100"/>
                <a:gd name="connsiteY66" fmla="*/ 340518 h 1309687"/>
                <a:gd name="connsiteX67" fmla="*/ 228600 w 1562100"/>
                <a:gd name="connsiteY67" fmla="*/ 383381 h 1309687"/>
                <a:gd name="connsiteX68" fmla="*/ 271463 w 1562100"/>
                <a:gd name="connsiteY68" fmla="*/ 400050 h 1309687"/>
                <a:gd name="connsiteX69" fmla="*/ 278606 w 1562100"/>
                <a:gd name="connsiteY69" fmla="*/ 419100 h 1309687"/>
                <a:gd name="connsiteX70" fmla="*/ 257175 w 1562100"/>
                <a:gd name="connsiteY70" fmla="*/ 454818 h 1309687"/>
                <a:gd name="connsiteX71" fmla="*/ 221456 w 1562100"/>
                <a:gd name="connsiteY71" fmla="*/ 464343 h 1309687"/>
                <a:gd name="connsiteX72" fmla="*/ 221456 w 1562100"/>
                <a:gd name="connsiteY72" fmla="*/ 504825 h 1309687"/>
                <a:gd name="connsiteX73" fmla="*/ 254794 w 1562100"/>
                <a:gd name="connsiteY73" fmla="*/ 542925 h 1309687"/>
                <a:gd name="connsiteX74" fmla="*/ 226219 w 1562100"/>
                <a:gd name="connsiteY74" fmla="*/ 607218 h 1309687"/>
                <a:gd name="connsiteX75" fmla="*/ 180975 w 1562100"/>
                <a:gd name="connsiteY75" fmla="*/ 635793 h 1309687"/>
                <a:gd name="connsiteX76" fmla="*/ 183356 w 1562100"/>
                <a:gd name="connsiteY76" fmla="*/ 652462 h 1309687"/>
                <a:gd name="connsiteX77" fmla="*/ 204788 w 1562100"/>
                <a:gd name="connsiteY77" fmla="*/ 661987 h 1309687"/>
                <a:gd name="connsiteX78" fmla="*/ 219075 w 1562100"/>
                <a:gd name="connsiteY78" fmla="*/ 671512 h 1309687"/>
                <a:gd name="connsiteX79" fmla="*/ 223838 w 1562100"/>
                <a:gd name="connsiteY79" fmla="*/ 690562 h 1309687"/>
                <a:gd name="connsiteX80" fmla="*/ 195263 w 1562100"/>
                <a:gd name="connsiteY80" fmla="*/ 716756 h 1309687"/>
                <a:gd name="connsiteX81" fmla="*/ 123825 w 1562100"/>
                <a:gd name="connsiteY81" fmla="*/ 762000 h 1309687"/>
                <a:gd name="connsiteX82" fmla="*/ 123825 w 1562100"/>
                <a:gd name="connsiteY82" fmla="*/ 797718 h 1309687"/>
                <a:gd name="connsiteX83" fmla="*/ 135731 w 1562100"/>
                <a:gd name="connsiteY83" fmla="*/ 828675 h 1309687"/>
                <a:gd name="connsiteX84" fmla="*/ 123825 w 1562100"/>
                <a:gd name="connsiteY84" fmla="*/ 869156 h 1309687"/>
                <a:gd name="connsiteX85" fmla="*/ 76200 w 1562100"/>
                <a:gd name="connsiteY85" fmla="*/ 864393 h 1309687"/>
                <a:gd name="connsiteX86" fmla="*/ 52388 w 1562100"/>
                <a:gd name="connsiteY86" fmla="*/ 809625 h 1309687"/>
                <a:gd name="connsiteX87" fmla="*/ 33338 w 1562100"/>
                <a:gd name="connsiteY87" fmla="*/ 802481 h 1309687"/>
                <a:gd name="connsiteX88" fmla="*/ 23813 w 1562100"/>
                <a:gd name="connsiteY88" fmla="*/ 840581 h 1309687"/>
                <a:gd name="connsiteX89" fmla="*/ 21431 w 1562100"/>
                <a:gd name="connsiteY89" fmla="*/ 850106 h 1309687"/>
                <a:gd name="connsiteX90" fmla="*/ 7144 w 1562100"/>
                <a:gd name="connsiteY90" fmla="*/ 866775 h 1309687"/>
                <a:gd name="connsiteX91" fmla="*/ 0 w 1562100"/>
                <a:gd name="connsiteY91" fmla="*/ 923925 h 1309687"/>
                <a:gd name="connsiteX92" fmla="*/ 23813 w 1562100"/>
                <a:gd name="connsiteY92" fmla="*/ 952500 h 1309687"/>
                <a:gd name="connsiteX93" fmla="*/ 16669 w 1562100"/>
                <a:gd name="connsiteY93" fmla="*/ 992981 h 1309687"/>
                <a:gd name="connsiteX94" fmla="*/ 35719 w 1562100"/>
                <a:gd name="connsiteY94" fmla="*/ 997743 h 1309687"/>
                <a:gd name="connsiteX95" fmla="*/ 69056 w 1562100"/>
                <a:gd name="connsiteY95" fmla="*/ 997743 h 1309687"/>
                <a:gd name="connsiteX96" fmla="*/ 85725 w 1562100"/>
                <a:gd name="connsiteY96" fmla="*/ 988218 h 1309687"/>
                <a:gd name="connsiteX97" fmla="*/ 135731 w 1562100"/>
                <a:gd name="connsiteY97" fmla="*/ 1045368 h 1309687"/>
                <a:gd name="connsiteX98" fmla="*/ 123825 w 1562100"/>
                <a:gd name="connsiteY98" fmla="*/ 1064418 h 1309687"/>
                <a:gd name="connsiteX99" fmla="*/ 133350 w 1562100"/>
                <a:gd name="connsiteY99" fmla="*/ 1092993 h 1309687"/>
                <a:gd name="connsiteX100" fmla="*/ 164306 w 1562100"/>
                <a:gd name="connsiteY100" fmla="*/ 1112043 h 1309687"/>
                <a:gd name="connsiteX101" fmla="*/ 190500 w 1562100"/>
                <a:gd name="connsiteY101" fmla="*/ 1121568 h 1309687"/>
                <a:gd name="connsiteX102" fmla="*/ 216694 w 1562100"/>
                <a:gd name="connsiteY102" fmla="*/ 1128712 h 1309687"/>
                <a:gd name="connsiteX103" fmla="*/ 228600 w 1562100"/>
                <a:gd name="connsiteY103" fmla="*/ 1131093 h 1309687"/>
                <a:gd name="connsiteX104" fmla="*/ 240506 w 1562100"/>
                <a:gd name="connsiteY104" fmla="*/ 1092993 h 1309687"/>
                <a:gd name="connsiteX105" fmla="*/ 269081 w 1562100"/>
                <a:gd name="connsiteY105" fmla="*/ 1097756 h 1309687"/>
                <a:gd name="connsiteX106" fmla="*/ 288131 w 1562100"/>
                <a:gd name="connsiteY106" fmla="*/ 1085850 h 1309687"/>
                <a:gd name="connsiteX107" fmla="*/ 307181 w 1562100"/>
                <a:gd name="connsiteY107" fmla="*/ 1135856 h 1309687"/>
                <a:gd name="connsiteX108" fmla="*/ 330994 w 1562100"/>
                <a:gd name="connsiteY108" fmla="*/ 1150143 h 1309687"/>
                <a:gd name="connsiteX109" fmla="*/ 340519 w 1562100"/>
                <a:gd name="connsiteY109" fmla="*/ 1178718 h 1309687"/>
                <a:gd name="connsiteX110" fmla="*/ 357188 w 1562100"/>
                <a:gd name="connsiteY110" fmla="*/ 1188243 h 1309687"/>
                <a:gd name="connsiteX111" fmla="*/ 364331 w 1562100"/>
                <a:gd name="connsiteY111" fmla="*/ 1219200 h 1309687"/>
                <a:gd name="connsiteX112" fmla="*/ 335756 w 1562100"/>
                <a:gd name="connsiteY112" fmla="*/ 1245393 h 1309687"/>
                <a:gd name="connsiteX113" fmla="*/ 309563 w 1562100"/>
                <a:gd name="connsiteY113" fmla="*/ 1262062 h 1309687"/>
                <a:gd name="connsiteX114" fmla="*/ 297656 w 1562100"/>
                <a:gd name="connsiteY114" fmla="*/ 1285875 h 1309687"/>
                <a:gd name="connsiteX115" fmla="*/ 302419 w 1562100"/>
                <a:gd name="connsiteY115" fmla="*/ 1309687 h 1309687"/>
                <a:gd name="connsiteX116" fmla="*/ 342900 w 1562100"/>
                <a:gd name="connsiteY116" fmla="*/ 1309687 h 1309687"/>
                <a:gd name="connsiteX117" fmla="*/ 390525 w 1562100"/>
                <a:gd name="connsiteY117" fmla="*/ 1304925 h 1309687"/>
                <a:gd name="connsiteX118" fmla="*/ 428625 w 1562100"/>
                <a:gd name="connsiteY118" fmla="*/ 1295400 h 1309687"/>
                <a:gd name="connsiteX119" fmla="*/ 454819 w 1562100"/>
                <a:gd name="connsiteY119" fmla="*/ 1302543 h 1309687"/>
                <a:gd name="connsiteX120" fmla="*/ 473869 w 1562100"/>
                <a:gd name="connsiteY120" fmla="*/ 1281112 h 1309687"/>
                <a:gd name="connsiteX121" fmla="*/ 492919 w 1562100"/>
                <a:gd name="connsiteY121" fmla="*/ 1281112 h 1309687"/>
                <a:gd name="connsiteX122" fmla="*/ 507206 w 1562100"/>
                <a:gd name="connsiteY122" fmla="*/ 1250156 h 1309687"/>
                <a:gd name="connsiteX123" fmla="*/ 557213 w 1562100"/>
                <a:gd name="connsiteY123" fmla="*/ 1235868 h 1309687"/>
                <a:gd name="connsiteX124" fmla="*/ 583406 w 1562100"/>
                <a:gd name="connsiteY124" fmla="*/ 1216818 h 1309687"/>
                <a:gd name="connsiteX125" fmla="*/ 590550 w 1562100"/>
                <a:gd name="connsiteY125" fmla="*/ 1178718 h 1309687"/>
                <a:gd name="connsiteX126" fmla="*/ 607219 w 1562100"/>
                <a:gd name="connsiteY126" fmla="*/ 1152525 h 1309687"/>
                <a:gd name="connsiteX127" fmla="*/ 688181 w 1562100"/>
                <a:gd name="connsiteY127"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704851 w 1562100"/>
                <a:gd name="connsiteY54" fmla="*/ 92869 h 1309687"/>
                <a:gd name="connsiteX55" fmla="*/ 657225 w 1562100"/>
                <a:gd name="connsiteY55" fmla="*/ 64294 h 1309687"/>
                <a:gd name="connsiteX56" fmla="*/ 628650 w 1562100"/>
                <a:gd name="connsiteY56" fmla="*/ 88107 h 1309687"/>
                <a:gd name="connsiteX57" fmla="*/ 500062 w 1562100"/>
                <a:gd name="connsiteY57" fmla="*/ 66676 h 1309687"/>
                <a:gd name="connsiteX58" fmla="*/ 450056 w 1562100"/>
                <a:gd name="connsiteY58" fmla="*/ 2382 h 1309687"/>
                <a:gd name="connsiteX59" fmla="*/ 428625 w 1562100"/>
                <a:gd name="connsiteY59" fmla="*/ 0 h 1309687"/>
                <a:gd name="connsiteX60" fmla="*/ 376238 w 1562100"/>
                <a:gd name="connsiteY60" fmla="*/ 104775 h 1309687"/>
                <a:gd name="connsiteX61" fmla="*/ 314326 w 1562100"/>
                <a:gd name="connsiteY61" fmla="*/ 104774 h 1309687"/>
                <a:gd name="connsiteX62" fmla="*/ 328613 w 1562100"/>
                <a:gd name="connsiteY62" fmla="*/ 183356 h 1309687"/>
                <a:gd name="connsiteX63" fmla="*/ 292894 w 1562100"/>
                <a:gd name="connsiteY63" fmla="*/ 285750 h 1309687"/>
                <a:gd name="connsiteX64" fmla="*/ 264319 w 1562100"/>
                <a:gd name="connsiteY64" fmla="*/ 292893 h 1309687"/>
                <a:gd name="connsiteX65" fmla="*/ 261938 w 1562100"/>
                <a:gd name="connsiteY65" fmla="*/ 307181 h 1309687"/>
                <a:gd name="connsiteX66" fmla="*/ 261938 w 1562100"/>
                <a:gd name="connsiteY66" fmla="*/ 340518 h 1309687"/>
                <a:gd name="connsiteX67" fmla="*/ 228600 w 1562100"/>
                <a:gd name="connsiteY67" fmla="*/ 383381 h 1309687"/>
                <a:gd name="connsiteX68" fmla="*/ 271463 w 1562100"/>
                <a:gd name="connsiteY68" fmla="*/ 400050 h 1309687"/>
                <a:gd name="connsiteX69" fmla="*/ 278606 w 1562100"/>
                <a:gd name="connsiteY69" fmla="*/ 419100 h 1309687"/>
                <a:gd name="connsiteX70" fmla="*/ 257175 w 1562100"/>
                <a:gd name="connsiteY70" fmla="*/ 454818 h 1309687"/>
                <a:gd name="connsiteX71" fmla="*/ 221456 w 1562100"/>
                <a:gd name="connsiteY71" fmla="*/ 464343 h 1309687"/>
                <a:gd name="connsiteX72" fmla="*/ 221456 w 1562100"/>
                <a:gd name="connsiteY72" fmla="*/ 504825 h 1309687"/>
                <a:gd name="connsiteX73" fmla="*/ 254794 w 1562100"/>
                <a:gd name="connsiteY73" fmla="*/ 542925 h 1309687"/>
                <a:gd name="connsiteX74" fmla="*/ 226219 w 1562100"/>
                <a:gd name="connsiteY74" fmla="*/ 607218 h 1309687"/>
                <a:gd name="connsiteX75" fmla="*/ 180975 w 1562100"/>
                <a:gd name="connsiteY75" fmla="*/ 635793 h 1309687"/>
                <a:gd name="connsiteX76" fmla="*/ 183356 w 1562100"/>
                <a:gd name="connsiteY76" fmla="*/ 652462 h 1309687"/>
                <a:gd name="connsiteX77" fmla="*/ 204788 w 1562100"/>
                <a:gd name="connsiteY77" fmla="*/ 661987 h 1309687"/>
                <a:gd name="connsiteX78" fmla="*/ 219075 w 1562100"/>
                <a:gd name="connsiteY78" fmla="*/ 671512 h 1309687"/>
                <a:gd name="connsiteX79" fmla="*/ 223838 w 1562100"/>
                <a:gd name="connsiteY79" fmla="*/ 690562 h 1309687"/>
                <a:gd name="connsiteX80" fmla="*/ 195263 w 1562100"/>
                <a:gd name="connsiteY80" fmla="*/ 716756 h 1309687"/>
                <a:gd name="connsiteX81" fmla="*/ 123825 w 1562100"/>
                <a:gd name="connsiteY81" fmla="*/ 762000 h 1309687"/>
                <a:gd name="connsiteX82" fmla="*/ 123825 w 1562100"/>
                <a:gd name="connsiteY82" fmla="*/ 797718 h 1309687"/>
                <a:gd name="connsiteX83" fmla="*/ 135731 w 1562100"/>
                <a:gd name="connsiteY83" fmla="*/ 828675 h 1309687"/>
                <a:gd name="connsiteX84" fmla="*/ 123825 w 1562100"/>
                <a:gd name="connsiteY84" fmla="*/ 869156 h 1309687"/>
                <a:gd name="connsiteX85" fmla="*/ 76200 w 1562100"/>
                <a:gd name="connsiteY85" fmla="*/ 864393 h 1309687"/>
                <a:gd name="connsiteX86" fmla="*/ 52388 w 1562100"/>
                <a:gd name="connsiteY86" fmla="*/ 809625 h 1309687"/>
                <a:gd name="connsiteX87" fmla="*/ 33338 w 1562100"/>
                <a:gd name="connsiteY87" fmla="*/ 802481 h 1309687"/>
                <a:gd name="connsiteX88" fmla="*/ 23813 w 1562100"/>
                <a:gd name="connsiteY88" fmla="*/ 840581 h 1309687"/>
                <a:gd name="connsiteX89" fmla="*/ 21431 w 1562100"/>
                <a:gd name="connsiteY89" fmla="*/ 850106 h 1309687"/>
                <a:gd name="connsiteX90" fmla="*/ 7144 w 1562100"/>
                <a:gd name="connsiteY90" fmla="*/ 866775 h 1309687"/>
                <a:gd name="connsiteX91" fmla="*/ 0 w 1562100"/>
                <a:gd name="connsiteY91" fmla="*/ 923925 h 1309687"/>
                <a:gd name="connsiteX92" fmla="*/ 23813 w 1562100"/>
                <a:gd name="connsiteY92" fmla="*/ 952500 h 1309687"/>
                <a:gd name="connsiteX93" fmla="*/ 16669 w 1562100"/>
                <a:gd name="connsiteY93" fmla="*/ 992981 h 1309687"/>
                <a:gd name="connsiteX94" fmla="*/ 35719 w 1562100"/>
                <a:gd name="connsiteY94" fmla="*/ 997743 h 1309687"/>
                <a:gd name="connsiteX95" fmla="*/ 69056 w 1562100"/>
                <a:gd name="connsiteY95" fmla="*/ 997743 h 1309687"/>
                <a:gd name="connsiteX96" fmla="*/ 85725 w 1562100"/>
                <a:gd name="connsiteY96" fmla="*/ 988218 h 1309687"/>
                <a:gd name="connsiteX97" fmla="*/ 135731 w 1562100"/>
                <a:gd name="connsiteY97" fmla="*/ 1045368 h 1309687"/>
                <a:gd name="connsiteX98" fmla="*/ 123825 w 1562100"/>
                <a:gd name="connsiteY98" fmla="*/ 1064418 h 1309687"/>
                <a:gd name="connsiteX99" fmla="*/ 133350 w 1562100"/>
                <a:gd name="connsiteY99" fmla="*/ 1092993 h 1309687"/>
                <a:gd name="connsiteX100" fmla="*/ 164306 w 1562100"/>
                <a:gd name="connsiteY100" fmla="*/ 1112043 h 1309687"/>
                <a:gd name="connsiteX101" fmla="*/ 190500 w 1562100"/>
                <a:gd name="connsiteY101" fmla="*/ 1121568 h 1309687"/>
                <a:gd name="connsiteX102" fmla="*/ 216694 w 1562100"/>
                <a:gd name="connsiteY102" fmla="*/ 1128712 h 1309687"/>
                <a:gd name="connsiteX103" fmla="*/ 228600 w 1562100"/>
                <a:gd name="connsiteY103" fmla="*/ 1131093 h 1309687"/>
                <a:gd name="connsiteX104" fmla="*/ 240506 w 1562100"/>
                <a:gd name="connsiteY104" fmla="*/ 1092993 h 1309687"/>
                <a:gd name="connsiteX105" fmla="*/ 269081 w 1562100"/>
                <a:gd name="connsiteY105" fmla="*/ 1097756 h 1309687"/>
                <a:gd name="connsiteX106" fmla="*/ 288131 w 1562100"/>
                <a:gd name="connsiteY106" fmla="*/ 1085850 h 1309687"/>
                <a:gd name="connsiteX107" fmla="*/ 307181 w 1562100"/>
                <a:gd name="connsiteY107" fmla="*/ 1135856 h 1309687"/>
                <a:gd name="connsiteX108" fmla="*/ 330994 w 1562100"/>
                <a:gd name="connsiteY108" fmla="*/ 1150143 h 1309687"/>
                <a:gd name="connsiteX109" fmla="*/ 340519 w 1562100"/>
                <a:gd name="connsiteY109" fmla="*/ 1178718 h 1309687"/>
                <a:gd name="connsiteX110" fmla="*/ 357188 w 1562100"/>
                <a:gd name="connsiteY110" fmla="*/ 1188243 h 1309687"/>
                <a:gd name="connsiteX111" fmla="*/ 364331 w 1562100"/>
                <a:gd name="connsiteY111" fmla="*/ 1219200 h 1309687"/>
                <a:gd name="connsiteX112" fmla="*/ 335756 w 1562100"/>
                <a:gd name="connsiteY112" fmla="*/ 1245393 h 1309687"/>
                <a:gd name="connsiteX113" fmla="*/ 309563 w 1562100"/>
                <a:gd name="connsiteY113" fmla="*/ 1262062 h 1309687"/>
                <a:gd name="connsiteX114" fmla="*/ 297656 w 1562100"/>
                <a:gd name="connsiteY114" fmla="*/ 1285875 h 1309687"/>
                <a:gd name="connsiteX115" fmla="*/ 302419 w 1562100"/>
                <a:gd name="connsiteY115" fmla="*/ 1309687 h 1309687"/>
                <a:gd name="connsiteX116" fmla="*/ 342900 w 1562100"/>
                <a:gd name="connsiteY116" fmla="*/ 1309687 h 1309687"/>
                <a:gd name="connsiteX117" fmla="*/ 390525 w 1562100"/>
                <a:gd name="connsiteY117" fmla="*/ 1304925 h 1309687"/>
                <a:gd name="connsiteX118" fmla="*/ 428625 w 1562100"/>
                <a:gd name="connsiteY118" fmla="*/ 1295400 h 1309687"/>
                <a:gd name="connsiteX119" fmla="*/ 454819 w 1562100"/>
                <a:gd name="connsiteY119" fmla="*/ 1302543 h 1309687"/>
                <a:gd name="connsiteX120" fmla="*/ 473869 w 1562100"/>
                <a:gd name="connsiteY120" fmla="*/ 1281112 h 1309687"/>
                <a:gd name="connsiteX121" fmla="*/ 492919 w 1562100"/>
                <a:gd name="connsiteY121" fmla="*/ 1281112 h 1309687"/>
                <a:gd name="connsiteX122" fmla="*/ 507206 w 1562100"/>
                <a:gd name="connsiteY122" fmla="*/ 1250156 h 1309687"/>
                <a:gd name="connsiteX123" fmla="*/ 557213 w 1562100"/>
                <a:gd name="connsiteY123" fmla="*/ 1235868 h 1309687"/>
                <a:gd name="connsiteX124" fmla="*/ 583406 w 1562100"/>
                <a:gd name="connsiteY124" fmla="*/ 1216818 h 1309687"/>
                <a:gd name="connsiteX125" fmla="*/ 590550 w 1562100"/>
                <a:gd name="connsiteY125" fmla="*/ 1178718 h 1309687"/>
                <a:gd name="connsiteX126" fmla="*/ 607219 w 1562100"/>
                <a:gd name="connsiteY126" fmla="*/ 1152525 h 1309687"/>
                <a:gd name="connsiteX127" fmla="*/ 688181 w 1562100"/>
                <a:gd name="connsiteY127"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702469 w 1562100"/>
                <a:gd name="connsiteY54" fmla="*/ 152401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702469 w 1562100"/>
                <a:gd name="connsiteY54" fmla="*/ 152401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81038 w 1562100"/>
                <a:gd name="connsiteY54" fmla="*/ 157164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81038 w 1562100"/>
                <a:gd name="connsiteY54" fmla="*/ 157164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92944 w 1562100"/>
                <a:gd name="connsiteY54" fmla="*/ 157164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704851 w 1562100"/>
                <a:gd name="connsiteY54" fmla="*/ 92869 h 1309687"/>
                <a:gd name="connsiteX55" fmla="*/ 657225 w 1562100"/>
                <a:gd name="connsiteY55" fmla="*/ 64294 h 1309687"/>
                <a:gd name="connsiteX56" fmla="*/ 628650 w 1562100"/>
                <a:gd name="connsiteY56" fmla="*/ 88107 h 1309687"/>
                <a:gd name="connsiteX57" fmla="*/ 500062 w 1562100"/>
                <a:gd name="connsiteY57" fmla="*/ 66676 h 1309687"/>
                <a:gd name="connsiteX58" fmla="*/ 450056 w 1562100"/>
                <a:gd name="connsiteY58" fmla="*/ 2382 h 1309687"/>
                <a:gd name="connsiteX59" fmla="*/ 428625 w 1562100"/>
                <a:gd name="connsiteY59" fmla="*/ 0 h 1309687"/>
                <a:gd name="connsiteX60" fmla="*/ 376238 w 1562100"/>
                <a:gd name="connsiteY60" fmla="*/ 104775 h 1309687"/>
                <a:gd name="connsiteX61" fmla="*/ 314326 w 1562100"/>
                <a:gd name="connsiteY61" fmla="*/ 104774 h 1309687"/>
                <a:gd name="connsiteX62" fmla="*/ 328613 w 1562100"/>
                <a:gd name="connsiteY62" fmla="*/ 183356 h 1309687"/>
                <a:gd name="connsiteX63" fmla="*/ 292894 w 1562100"/>
                <a:gd name="connsiteY63" fmla="*/ 285750 h 1309687"/>
                <a:gd name="connsiteX64" fmla="*/ 264319 w 1562100"/>
                <a:gd name="connsiteY64" fmla="*/ 292893 h 1309687"/>
                <a:gd name="connsiteX65" fmla="*/ 261938 w 1562100"/>
                <a:gd name="connsiteY65" fmla="*/ 307181 h 1309687"/>
                <a:gd name="connsiteX66" fmla="*/ 261938 w 1562100"/>
                <a:gd name="connsiteY66" fmla="*/ 340518 h 1309687"/>
                <a:gd name="connsiteX67" fmla="*/ 228600 w 1562100"/>
                <a:gd name="connsiteY67" fmla="*/ 383381 h 1309687"/>
                <a:gd name="connsiteX68" fmla="*/ 271463 w 1562100"/>
                <a:gd name="connsiteY68" fmla="*/ 400050 h 1309687"/>
                <a:gd name="connsiteX69" fmla="*/ 278606 w 1562100"/>
                <a:gd name="connsiteY69" fmla="*/ 419100 h 1309687"/>
                <a:gd name="connsiteX70" fmla="*/ 257175 w 1562100"/>
                <a:gd name="connsiteY70" fmla="*/ 454818 h 1309687"/>
                <a:gd name="connsiteX71" fmla="*/ 221456 w 1562100"/>
                <a:gd name="connsiteY71" fmla="*/ 464343 h 1309687"/>
                <a:gd name="connsiteX72" fmla="*/ 221456 w 1562100"/>
                <a:gd name="connsiteY72" fmla="*/ 504825 h 1309687"/>
                <a:gd name="connsiteX73" fmla="*/ 254794 w 1562100"/>
                <a:gd name="connsiteY73" fmla="*/ 542925 h 1309687"/>
                <a:gd name="connsiteX74" fmla="*/ 226219 w 1562100"/>
                <a:gd name="connsiteY74" fmla="*/ 607218 h 1309687"/>
                <a:gd name="connsiteX75" fmla="*/ 180975 w 1562100"/>
                <a:gd name="connsiteY75" fmla="*/ 635793 h 1309687"/>
                <a:gd name="connsiteX76" fmla="*/ 183356 w 1562100"/>
                <a:gd name="connsiteY76" fmla="*/ 652462 h 1309687"/>
                <a:gd name="connsiteX77" fmla="*/ 204788 w 1562100"/>
                <a:gd name="connsiteY77" fmla="*/ 661987 h 1309687"/>
                <a:gd name="connsiteX78" fmla="*/ 219075 w 1562100"/>
                <a:gd name="connsiteY78" fmla="*/ 671512 h 1309687"/>
                <a:gd name="connsiteX79" fmla="*/ 223838 w 1562100"/>
                <a:gd name="connsiteY79" fmla="*/ 690562 h 1309687"/>
                <a:gd name="connsiteX80" fmla="*/ 195263 w 1562100"/>
                <a:gd name="connsiteY80" fmla="*/ 716756 h 1309687"/>
                <a:gd name="connsiteX81" fmla="*/ 123825 w 1562100"/>
                <a:gd name="connsiteY81" fmla="*/ 762000 h 1309687"/>
                <a:gd name="connsiteX82" fmla="*/ 123825 w 1562100"/>
                <a:gd name="connsiteY82" fmla="*/ 797718 h 1309687"/>
                <a:gd name="connsiteX83" fmla="*/ 135731 w 1562100"/>
                <a:gd name="connsiteY83" fmla="*/ 828675 h 1309687"/>
                <a:gd name="connsiteX84" fmla="*/ 123825 w 1562100"/>
                <a:gd name="connsiteY84" fmla="*/ 869156 h 1309687"/>
                <a:gd name="connsiteX85" fmla="*/ 76200 w 1562100"/>
                <a:gd name="connsiteY85" fmla="*/ 864393 h 1309687"/>
                <a:gd name="connsiteX86" fmla="*/ 52388 w 1562100"/>
                <a:gd name="connsiteY86" fmla="*/ 809625 h 1309687"/>
                <a:gd name="connsiteX87" fmla="*/ 33338 w 1562100"/>
                <a:gd name="connsiteY87" fmla="*/ 802481 h 1309687"/>
                <a:gd name="connsiteX88" fmla="*/ 23813 w 1562100"/>
                <a:gd name="connsiteY88" fmla="*/ 840581 h 1309687"/>
                <a:gd name="connsiteX89" fmla="*/ 21431 w 1562100"/>
                <a:gd name="connsiteY89" fmla="*/ 850106 h 1309687"/>
                <a:gd name="connsiteX90" fmla="*/ 7144 w 1562100"/>
                <a:gd name="connsiteY90" fmla="*/ 866775 h 1309687"/>
                <a:gd name="connsiteX91" fmla="*/ 0 w 1562100"/>
                <a:gd name="connsiteY91" fmla="*/ 923925 h 1309687"/>
                <a:gd name="connsiteX92" fmla="*/ 23813 w 1562100"/>
                <a:gd name="connsiteY92" fmla="*/ 952500 h 1309687"/>
                <a:gd name="connsiteX93" fmla="*/ 16669 w 1562100"/>
                <a:gd name="connsiteY93" fmla="*/ 992981 h 1309687"/>
                <a:gd name="connsiteX94" fmla="*/ 35719 w 1562100"/>
                <a:gd name="connsiteY94" fmla="*/ 997743 h 1309687"/>
                <a:gd name="connsiteX95" fmla="*/ 69056 w 1562100"/>
                <a:gd name="connsiteY95" fmla="*/ 997743 h 1309687"/>
                <a:gd name="connsiteX96" fmla="*/ 85725 w 1562100"/>
                <a:gd name="connsiteY96" fmla="*/ 988218 h 1309687"/>
                <a:gd name="connsiteX97" fmla="*/ 135731 w 1562100"/>
                <a:gd name="connsiteY97" fmla="*/ 1045368 h 1309687"/>
                <a:gd name="connsiteX98" fmla="*/ 123825 w 1562100"/>
                <a:gd name="connsiteY98" fmla="*/ 1064418 h 1309687"/>
                <a:gd name="connsiteX99" fmla="*/ 133350 w 1562100"/>
                <a:gd name="connsiteY99" fmla="*/ 1092993 h 1309687"/>
                <a:gd name="connsiteX100" fmla="*/ 164306 w 1562100"/>
                <a:gd name="connsiteY100" fmla="*/ 1112043 h 1309687"/>
                <a:gd name="connsiteX101" fmla="*/ 190500 w 1562100"/>
                <a:gd name="connsiteY101" fmla="*/ 1121568 h 1309687"/>
                <a:gd name="connsiteX102" fmla="*/ 216694 w 1562100"/>
                <a:gd name="connsiteY102" fmla="*/ 1128712 h 1309687"/>
                <a:gd name="connsiteX103" fmla="*/ 228600 w 1562100"/>
                <a:gd name="connsiteY103" fmla="*/ 1131093 h 1309687"/>
                <a:gd name="connsiteX104" fmla="*/ 240506 w 1562100"/>
                <a:gd name="connsiteY104" fmla="*/ 1092993 h 1309687"/>
                <a:gd name="connsiteX105" fmla="*/ 269081 w 1562100"/>
                <a:gd name="connsiteY105" fmla="*/ 1097756 h 1309687"/>
                <a:gd name="connsiteX106" fmla="*/ 288131 w 1562100"/>
                <a:gd name="connsiteY106" fmla="*/ 1085850 h 1309687"/>
                <a:gd name="connsiteX107" fmla="*/ 307181 w 1562100"/>
                <a:gd name="connsiteY107" fmla="*/ 1135856 h 1309687"/>
                <a:gd name="connsiteX108" fmla="*/ 330994 w 1562100"/>
                <a:gd name="connsiteY108" fmla="*/ 1150143 h 1309687"/>
                <a:gd name="connsiteX109" fmla="*/ 340519 w 1562100"/>
                <a:gd name="connsiteY109" fmla="*/ 1178718 h 1309687"/>
                <a:gd name="connsiteX110" fmla="*/ 357188 w 1562100"/>
                <a:gd name="connsiteY110" fmla="*/ 1188243 h 1309687"/>
                <a:gd name="connsiteX111" fmla="*/ 364331 w 1562100"/>
                <a:gd name="connsiteY111" fmla="*/ 1219200 h 1309687"/>
                <a:gd name="connsiteX112" fmla="*/ 335756 w 1562100"/>
                <a:gd name="connsiteY112" fmla="*/ 1245393 h 1309687"/>
                <a:gd name="connsiteX113" fmla="*/ 309563 w 1562100"/>
                <a:gd name="connsiteY113" fmla="*/ 1262062 h 1309687"/>
                <a:gd name="connsiteX114" fmla="*/ 297656 w 1562100"/>
                <a:gd name="connsiteY114" fmla="*/ 1285875 h 1309687"/>
                <a:gd name="connsiteX115" fmla="*/ 302419 w 1562100"/>
                <a:gd name="connsiteY115" fmla="*/ 1309687 h 1309687"/>
                <a:gd name="connsiteX116" fmla="*/ 342900 w 1562100"/>
                <a:gd name="connsiteY116" fmla="*/ 1309687 h 1309687"/>
                <a:gd name="connsiteX117" fmla="*/ 390525 w 1562100"/>
                <a:gd name="connsiteY117" fmla="*/ 1304925 h 1309687"/>
                <a:gd name="connsiteX118" fmla="*/ 428625 w 1562100"/>
                <a:gd name="connsiteY118" fmla="*/ 1295400 h 1309687"/>
                <a:gd name="connsiteX119" fmla="*/ 454819 w 1562100"/>
                <a:gd name="connsiteY119" fmla="*/ 1302543 h 1309687"/>
                <a:gd name="connsiteX120" fmla="*/ 473869 w 1562100"/>
                <a:gd name="connsiteY120" fmla="*/ 1281112 h 1309687"/>
                <a:gd name="connsiteX121" fmla="*/ 492919 w 1562100"/>
                <a:gd name="connsiteY121" fmla="*/ 1281112 h 1309687"/>
                <a:gd name="connsiteX122" fmla="*/ 507206 w 1562100"/>
                <a:gd name="connsiteY122" fmla="*/ 1250156 h 1309687"/>
                <a:gd name="connsiteX123" fmla="*/ 557213 w 1562100"/>
                <a:gd name="connsiteY123" fmla="*/ 1235868 h 1309687"/>
                <a:gd name="connsiteX124" fmla="*/ 583406 w 1562100"/>
                <a:gd name="connsiteY124" fmla="*/ 1216818 h 1309687"/>
                <a:gd name="connsiteX125" fmla="*/ 590550 w 1562100"/>
                <a:gd name="connsiteY125" fmla="*/ 1178718 h 1309687"/>
                <a:gd name="connsiteX126" fmla="*/ 607219 w 1562100"/>
                <a:gd name="connsiteY126" fmla="*/ 1152525 h 1309687"/>
                <a:gd name="connsiteX127" fmla="*/ 688181 w 1562100"/>
                <a:gd name="connsiteY127" fmla="*/ 1183481 h 130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562100" h="1309687">
                  <a:moveTo>
                    <a:pt x="688181" y="1183481"/>
                  </a:moveTo>
                  <a:lnTo>
                    <a:pt x="688181" y="1097756"/>
                  </a:lnTo>
                  <a:lnTo>
                    <a:pt x="692944" y="1054893"/>
                  </a:lnTo>
                  <a:lnTo>
                    <a:pt x="692944" y="1009650"/>
                  </a:lnTo>
                  <a:lnTo>
                    <a:pt x="676275" y="985837"/>
                  </a:lnTo>
                  <a:lnTo>
                    <a:pt x="690563" y="933450"/>
                  </a:lnTo>
                  <a:lnTo>
                    <a:pt x="685800" y="907256"/>
                  </a:lnTo>
                  <a:lnTo>
                    <a:pt x="697706" y="862012"/>
                  </a:lnTo>
                  <a:lnTo>
                    <a:pt x="714375" y="838200"/>
                  </a:lnTo>
                  <a:lnTo>
                    <a:pt x="721519" y="804862"/>
                  </a:lnTo>
                  <a:lnTo>
                    <a:pt x="735806" y="785812"/>
                  </a:lnTo>
                  <a:lnTo>
                    <a:pt x="792956" y="776287"/>
                  </a:lnTo>
                  <a:lnTo>
                    <a:pt x="838200" y="759618"/>
                  </a:lnTo>
                  <a:lnTo>
                    <a:pt x="876300" y="719137"/>
                  </a:lnTo>
                  <a:lnTo>
                    <a:pt x="923925" y="704850"/>
                  </a:lnTo>
                  <a:lnTo>
                    <a:pt x="995363" y="700087"/>
                  </a:lnTo>
                  <a:lnTo>
                    <a:pt x="1040606" y="690562"/>
                  </a:lnTo>
                  <a:lnTo>
                    <a:pt x="1119188" y="583406"/>
                  </a:lnTo>
                  <a:lnTo>
                    <a:pt x="1126331" y="550068"/>
                  </a:lnTo>
                  <a:lnTo>
                    <a:pt x="1152525" y="521493"/>
                  </a:lnTo>
                  <a:lnTo>
                    <a:pt x="1197769" y="511968"/>
                  </a:lnTo>
                  <a:lnTo>
                    <a:pt x="1290638" y="435768"/>
                  </a:lnTo>
                  <a:lnTo>
                    <a:pt x="1314450" y="433387"/>
                  </a:lnTo>
                  <a:lnTo>
                    <a:pt x="1409700" y="352425"/>
                  </a:lnTo>
                  <a:lnTo>
                    <a:pt x="1414463" y="333375"/>
                  </a:lnTo>
                  <a:lnTo>
                    <a:pt x="1507331" y="278606"/>
                  </a:lnTo>
                  <a:lnTo>
                    <a:pt x="1543050" y="233362"/>
                  </a:lnTo>
                  <a:lnTo>
                    <a:pt x="1562100" y="195262"/>
                  </a:lnTo>
                  <a:lnTo>
                    <a:pt x="1512094" y="214312"/>
                  </a:lnTo>
                  <a:lnTo>
                    <a:pt x="1478756" y="214312"/>
                  </a:lnTo>
                  <a:lnTo>
                    <a:pt x="1452563" y="252412"/>
                  </a:lnTo>
                  <a:lnTo>
                    <a:pt x="1421606" y="250031"/>
                  </a:lnTo>
                  <a:lnTo>
                    <a:pt x="1366838" y="219075"/>
                  </a:lnTo>
                  <a:lnTo>
                    <a:pt x="1323975" y="207168"/>
                  </a:lnTo>
                  <a:lnTo>
                    <a:pt x="1238250" y="242887"/>
                  </a:lnTo>
                  <a:lnTo>
                    <a:pt x="1223963" y="280987"/>
                  </a:lnTo>
                  <a:lnTo>
                    <a:pt x="1195388" y="338137"/>
                  </a:lnTo>
                  <a:lnTo>
                    <a:pt x="1109663" y="300037"/>
                  </a:lnTo>
                  <a:lnTo>
                    <a:pt x="1097756" y="342900"/>
                  </a:lnTo>
                  <a:lnTo>
                    <a:pt x="1083469" y="376237"/>
                  </a:lnTo>
                  <a:lnTo>
                    <a:pt x="959644" y="407193"/>
                  </a:lnTo>
                  <a:lnTo>
                    <a:pt x="945356" y="402431"/>
                  </a:lnTo>
                  <a:lnTo>
                    <a:pt x="926306" y="423862"/>
                  </a:lnTo>
                  <a:lnTo>
                    <a:pt x="890588" y="431006"/>
                  </a:lnTo>
                  <a:lnTo>
                    <a:pt x="854869" y="381000"/>
                  </a:lnTo>
                  <a:lnTo>
                    <a:pt x="835819" y="369093"/>
                  </a:lnTo>
                  <a:lnTo>
                    <a:pt x="826294" y="323850"/>
                  </a:lnTo>
                  <a:lnTo>
                    <a:pt x="792956" y="307181"/>
                  </a:lnTo>
                  <a:lnTo>
                    <a:pt x="759619" y="300037"/>
                  </a:lnTo>
                  <a:lnTo>
                    <a:pt x="740569" y="295275"/>
                  </a:lnTo>
                  <a:lnTo>
                    <a:pt x="728663" y="285750"/>
                  </a:lnTo>
                  <a:lnTo>
                    <a:pt x="735806" y="259556"/>
                  </a:lnTo>
                  <a:lnTo>
                    <a:pt x="742950" y="235743"/>
                  </a:lnTo>
                  <a:lnTo>
                    <a:pt x="700088" y="185737"/>
                  </a:lnTo>
                  <a:cubicBezTo>
                    <a:pt x="693738" y="161925"/>
                    <a:pt x="711995" y="113109"/>
                    <a:pt x="704851" y="92869"/>
                  </a:cubicBezTo>
                  <a:lnTo>
                    <a:pt x="657225" y="64294"/>
                  </a:lnTo>
                  <a:cubicBezTo>
                    <a:pt x="653256" y="63500"/>
                    <a:pt x="632619" y="88901"/>
                    <a:pt x="628650" y="88107"/>
                  </a:cubicBezTo>
                  <a:lnTo>
                    <a:pt x="500062" y="66676"/>
                  </a:lnTo>
                  <a:lnTo>
                    <a:pt x="450056" y="2382"/>
                  </a:lnTo>
                  <a:lnTo>
                    <a:pt x="428625" y="0"/>
                  </a:lnTo>
                  <a:lnTo>
                    <a:pt x="376238" y="104775"/>
                  </a:lnTo>
                  <a:cubicBezTo>
                    <a:pt x="361951" y="76994"/>
                    <a:pt x="340519" y="111124"/>
                    <a:pt x="314326" y="104774"/>
                  </a:cubicBezTo>
                  <a:lnTo>
                    <a:pt x="328613" y="183356"/>
                  </a:lnTo>
                  <a:lnTo>
                    <a:pt x="292894" y="285750"/>
                  </a:lnTo>
                  <a:lnTo>
                    <a:pt x="264319" y="292893"/>
                  </a:lnTo>
                  <a:lnTo>
                    <a:pt x="261938" y="307181"/>
                  </a:lnTo>
                  <a:lnTo>
                    <a:pt x="261938" y="340518"/>
                  </a:lnTo>
                  <a:lnTo>
                    <a:pt x="228600" y="383381"/>
                  </a:lnTo>
                  <a:lnTo>
                    <a:pt x="271463" y="400050"/>
                  </a:lnTo>
                  <a:lnTo>
                    <a:pt x="278606" y="419100"/>
                  </a:lnTo>
                  <a:lnTo>
                    <a:pt x="257175" y="454818"/>
                  </a:lnTo>
                  <a:lnTo>
                    <a:pt x="221456" y="464343"/>
                  </a:lnTo>
                  <a:lnTo>
                    <a:pt x="221456" y="504825"/>
                  </a:lnTo>
                  <a:lnTo>
                    <a:pt x="254794" y="542925"/>
                  </a:lnTo>
                  <a:lnTo>
                    <a:pt x="226219" y="607218"/>
                  </a:lnTo>
                  <a:lnTo>
                    <a:pt x="180975" y="635793"/>
                  </a:lnTo>
                  <a:lnTo>
                    <a:pt x="183356" y="652462"/>
                  </a:lnTo>
                  <a:lnTo>
                    <a:pt x="204788" y="661987"/>
                  </a:lnTo>
                  <a:lnTo>
                    <a:pt x="219075" y="671512"/>
                  </a:lnTo>
                  <a:lnTo>
                    <a:pt x="223838" y="690562"/>
                  </a:lnTo>
                  <a:lnTo>
                    <a:pt x="195263" y="716756"/>
                  </a:lnTo>
                  <a:lnTo>
                    <a:pt x="123825" y="762000"/>
                  </a:lnTo>
                  <a:lnTo>
                    <a:pt x="123825" y="797718"/>
                  </a:lnTo>
                  <a:lnTo>
                    <a:pt x="135731" y="828675"/>
                  </a:lnTo>
                  <a:lnTo>
                    <a:pt x="123825" y="869156"/>
                  </a:lnTo>
                  <a:lnTo>
                    <a:pt x="76200" y="864393"/>
                  </a:lnTo>
                  <a:lnTo>
                    <a:pt x="52388" y="809625"/>
                  </a:lnTo>
                  <a:lnTo>
                    <a:pt x="33338" y="802481"/>
                  </a:lnTo>
                  <a:lnTo>
                    <a:pt x="23813" y="840581"/>
                  </a:lnTo>
                  <a:lnTo>
                    <a:pt x="21431" y="850106"/>
                  </a:lnTo>
                  <a:lnTo>
                    <a:pt x="7144" y="866775"/>
                  </a:lnTo>
                  <a:lnTo>
                    <a:pt x="0" y="923925"/>
                  </a:lnTo>
                  <a:lnTo>
                    <a:pt x="23813" y="952500"/>
                  </a:lnTo>
                  <a:lnTo>
                    <a:pt x="16669" y="992981"/>
                  </a:lnTo>
                  <a:lnTo>
                    <a:pt x="35719" y="997743"/>
                  </a:lnTo>
                  <a:lnTo>
                    <a:pt x="69056" y="997743"/>
                  </a:lnTo>
                  <a:lnTo>
                    <a:pt x="85725" y="988218"/>
                  </a:lnTo>
                  <a:lnTo>
                    <a:pt x="135731" y="1045368"/>
                  </a:lnTo>
                  <a:lnTo>
                    <a:pt x="123825" y="1064418"/>
                  </a:lnTo>
                  <a:lnTo>
                    <a:pt x="133350" y="1092993"/>
                  </a:lnTo>
                  <a:lnTo>
                    <a:pt x="164306" y="1112043"/>
                  </a:lnTo>
                  <a:lnTo>
                    <a:pt x="190500" y="1121568"/>
                  </a:lnTo>
                  <a:lnTo>
                    <a:pt x="216694" y="1128712"/>
                  </a:lnTo>
                  <a:lnTo>
                    <a:pt x="228600" y="1131093"/>
                  </a:lnTo>
                  <a:lnTo>
                    <a:pt x="240506" y="1092993"/>
                  </a:lnTo>
                  <a:lnTo>
                    <a:pt x="269081" y="1097756"/>
                  </a:lnTo>
                  <a:lnTo>
                    <a:pt x="288131" y="1085850"/>
                  </a:lnTo>
                  <a:lnTo>
                    <a:pt x="307181" y="1135856"/>
                  </a:lnTo>
                  <a:lnTo>
                    <a:pt x="330994" y="1150143"/>
                  </a:lnTo>
                  <a:lnTo>
                    <a:pt x="340519" y="1178718"/>
                  </a:lnTo>
                  <a:lnTo>
                    <a:pt x="357188" y="1188243"/>
                  </a:lnTo>
                  <a:lnTo>
                    <a:pt x="364331" y="1219200"/>
                  </a:lnTo>
                  <a:lnTo>
                    <a:pt x="335756" y="1245393"/>
                  </a:lnTo>
                  <a:lnTo>
                    <a:pt x="309563" y="1262062"/>
                  </a:lnTo>
                  <a:lnTo>
                    <a:pt x="297656" y="1285875"/>
                  </a:lnTo>
                  <a:lnTo>
                    <a:pt x="302419" y="1309687"/>
                  </a:lnTo>
                  <a:lnTo>
                    <a:pt x="342900" y="1309687"/>
                  </a:lnTo>
                  <a:lnTo>
                    <a:pt x="390525" y="1304925"/>
                  </a:lnTo>
                  <a:lnTo>
                    <a:pt x="428625" y="1295400"/>
                  </a:lnTo>
                  <a:lnTo>
                    <a:pt x="454819" y="1302543"/>
                  </a:lnTo>
                  <a:lnTo>
                    <a:pt x="473869" y="1281112"/>
                  </a:lnTo>
                  <a:lnTo>
                    <a:pt x="492919" y="1281112"/>
                  </a:lnTo>
                  <a:lnTo>
                    <a:pt x="507206" y="1250156"/>
                  </a:lnTo>
                  <a:lnTo>
                    <a:pt x="557213" y="1235868"/>
                  </a:lnTo>
                  <a:lnTo>
                    <a:pt x="583406" y="1216818"/>
                  </a:lnTo>
                  <a:lnTo>
                    <a:pt x="590550" y="1178718"/>
                  </a:lnTo>
                  <a:lnTo>
                    <a:pt x="607219" y="1152525"/>
                  </a:lnTo>
                  <a:lnTo>
                    <a:pt x="688181" y="1183481"/>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Freeform 87">
              <a:extLst>
                <a:ext uri="{FF2B5EF4-FFF2-40B4-BE49-F238E27FC236}">
                  <a16:creationId xmlns:a16="http://schemas.microsoft.com/office/drawing/2014/main" id="{7F008883-10C8-4019-B450-B90E6AF409B7}"/>
                </a:ext>
              </a:extLst>
            </p:cNvPr>
            <p:cNvSpPr/>
            <p:nvPr/>
          </p:nvSpPr>
          <p:spPr bwMode="auto">
            <a:xfrm>
              <a:off x="4002335" y="3761334"/>
              <a:ext cx="675949" cy="1048694"/>
            </a:xfrm>
            <a:custGeom>
              <a:avLst/>
              <a:gdLst>
                <a:gd name="connsiteX0" fmla="*/ 202407 w 771525"/>
                <a:gd name="connsiteY0" fmla="*/ 1131094 h 1135856"/>
                <a:gd name="connsiteX1" fmla="*/ 221457 w 771525"/>
                <a:gd name="connsiteY1" fmla="*/ 1064419 h 1135856"/>
                <a:gd name="connsiteX2" fmla="*/ 238125 w 771525"/>
                <a:gd name="connsiteY2" fmla="*/ 1042987 h 1135856"/>
                <a:gd name="connsiteX3" fmla="*/ 247650 w 771525"/>
                <a:gd name="connsiteY3" fmla="*/ 1012031 h 1135856"/>
                <a:gd name="connsiteX4" fmla="*/ 283369 w 771525"/>
                <a:gd name="connsiteY4" fmla="*/ 985837 h 1135856"/>
                <a:gd name="connsiteX5" fmla="*/ 319088 w 771525"/>
                <a:gd name="connsiteY5" fmla="*/ 962025 h 1135856"/>
                <a:gd name="connsiteX6" fmla="*/ 350044 w 771525"/>
                <a:gd name="connsiteY6" fmla="*/ 928687 h 1135856"/>
                <a:gd name="connsiteX7" fmla="*/ 354807 w 771525"/>
                <a:gd name="connsiteY7" fmla="*/ 900112 h 1135856"/>
                <a:gd name="connsiteX8" fmla="*/ 321469 w 771525"/>
                <a:gd name="connsiteY8" fmla="*/ 854869 h 1135856"/>
                <a:gd name="connsiteX9" fmla="*/ 323850 w 771525"/>
                <a:gd name="connsiteY9" fmla="*/ 785812 h 1135856"/>
                <a:gd name="connsiteX10" fmla="*/ 280988 w 771525"/>
                <a:gd name="connsiteY10" fmla="*/ 735806 h 1135856"/>
                <a:gd name="connsiteX11" fmla="*/ 288132 w 771525"/>
                <a:gd name="connsiteY11" fmla="*/ 697706 h 1135856"/>
                <a:gd name="connsiteX12" fmla="*/ 316707 w 771525"/>
                <a:gd name="connsiteY12" fmla="*/ 681037 h 1135856"/>
                <a:gd name="connsiteX13" fmla="*/ 330994 w 771525"/>
                <a:gd name="connsiteY13" fmla="*/ 707231 h 1135856"/>
                <a:gd name="connsiteX14" fmla="*/ 354807 w 771525"/>
                <a:gd name="connsiteY14" fmla="*/ 726281 h 1135856"/>
                <a:gd name="connsiteX15" fmla="*/ 369094 w 771525"/>
                <a:gd name="connsiteY15" fmla="*/ 745331 h 1135856"/>
                <a:gd name="connsiteX16" fmla="*/ 378619 w 771525"/>
                <a:gd name="connsiteY16" fmla="*/ 781050 h 1135856"/>
                <a:gd name="connsiteX17" fmla="*/ 395288 w 771525"/>
                <a:gd name="connsiteY17" fmla="*/ 797719 h 1135856"/>
                <a:gd name="connsiteX18" fmla="*/ 409575 w 771525"/>
                <a:gd name="connsiteY18" fmla="*/ 792956 h 1135856"/>
                <a:gd name="connsiteX19" fmla="*/ 426244 w 771525"/>
                <a:gd name="connsiteY19" fmla="*/ 785812 h 1135856"/>
                <a:gd name="connsiteX20" fmla="*/ 423863 w 771525"/>
                <a:gd name="connsiteY20" fmla="*/ 676275 h 1135856"/>
                <a:gd name="connsiteX21" fmla="*/ 409575 w 771525"/>
                <a:gd name="connsiteY21" fmla="*/ 640556 h 1135856"/>
                <a:gd name="connsiteX22" fmla="*/ 411957 w 771525"/>
                <a:gd name="connsiteY22" fmla="*/ 614362 h 1135856"/>
                <a:gd name="connsiteX23" fmla="*/ 426244 w 771525"/>
                <a:gd name="connsiteY23" fmla="*/ 566737 h 1135856"/>
                <a:gd name="connsiteX24" fmla="*/ 473869 w 771525"/>
                <a:gd name="connsiteY24" fmla="*/ 566737 h 1135856"/>
                <a:gd name="connsiteX25" fmla="*/ 488157 w 771525"/>
                <a:gd name="connsiteY25" fmla="*/ 552450 h 1135856"/>
                <a:gd name="connsiteX26" fmla="*/ 509588 w 771525"/>
                <a:gd name="connsiteY26" fmla="*/ 502444 h 1135856"/>
                <a:gd name="connsiteX27" fmla="*/ 604838 w 771525"/>
                <a:gd name="connsiteY27" fmla="*/ 457200 h 1135856"/>
                <a:gd name="connsiteX28" fmla="*/ 628650 w 771525"/>
                <a:gd name="connsiteY28" fmla="*/ 447675 h 1135856"/>
                <a:gd name="connsiteX29" fmla="*/ 638175 w 771525"/>
                <a:gd name="connsiteY29" fmla="*/ 402431 h 1135856"/>
                <a:gd name="connsiteX30" fmla="*/ 638175 w 771525"/>
                <a:gd name="connsiteY30" fmla="*/ 361950 h 1135856"/>
                <a:gd name="connsiteX31" fmla="*/ 640557 w 771525"/>
                <a:gd name="connsiteY31" fmla="*/ 340519 h 1135856"/>
                <a:gd name="connsiteX32" fmla="*/ 652463 w 771525"/>
                <a:gd name="connsiteY32" fmla="*/ 333375 h 1135856"/>
                <a:gd name="connsiteX33" fmla="*/ 742950 w 771525"/>
                <a:gd name="connsiteY33" fmla="*/ 297656 h 1135856"/>
                <a:gd name="connsiteX34" fmla="*/ 766763 w 771525"/>
                <a:gd name="connsiteY34" fmla="*/ 280987 h 1135856"/>
                <a:gd name="connsiteX35" fmla="*/ 754857 w 771525"/>
                <a:gd name="connsiteY35" fmla="*/ 252412 h 1135856"/>
                <a:gd name="connsiteX36" fmla="*/ 742950 w 771525"/>
                <a:gd name="connsiteY36" fmla="*/ 221456 h 1135856"/>
                <a:gd name="connsiteX37" fmla="*/ 771525 w 771525"/>
                <a:gd name="connsiteY37" fmla="*/ 192881 h 1135856"/>
                <a:gd name="connsiteX38" fmla="*/ 752475 w 771525"/>
                <a:gd name="connsiteY38" fmla="*/ 161925 h 1135856"/>
                <a:gd name="connsiteX39" fmla="*/ 752475 w 771525"/>
                <a:gd name="connsiteY39" fmla="*/ 119062 h 1135856"/>
                <a:gd name="connsiteX40" fmla="*/ 719138 w 771525"/>
                <a:gd name="connsiteY40" fmla="*/ 85725 h 1135856"/>
                <a:gd name="connsiteX41" fmla="*/ 671513 w 771525"/>
                <a:gd name="connsiteY41" fmla="*/ 52387 h 1135856"/>
                <a:gd name="connsiteX42" fmla="*/ 645319 w 771525"/>
                <a:gd name="connsiteY42" fmla="*/ 35719 h 1135856"/>
                <a:gd name="connsiteX43" fmla="*/ 642938 w 771525"/>
                <a:gd name="connsiteY43" fmla="*/ 4762 h 1135856"/>
                <a:gd name="connsiteX44" fmla="*/ 609600 w 771525"/>
                <a:gd name="connsiteY44" fmla="*/ 0 h 1135856"/>
                <a:gd name="connsiteX45" fmla="*/ 583407 w 771525"/>
                <a:gd name="connsiteY45" fmla="*/ 23812 h 1135856"/>
                <a:gd name="connsiteX46" fmla="*/ 564357 w 771525"/>
                <a:gd name="connsiteY46" fmla="*/ 19050 h 1135856"/>
                <a:gd name="connsiteX47" fmla="*/ 554832 w 771525"/>
                <a:gd name="connsiteY47" fmla="*/ 42862 h 1135856"/>
                <a:gd name="connsiteX48" fmla="*/ 509588 w 771525"/>
                <a:gd name="connsiteY48" fmla="*/ 76200 h 1135856"/>
                <a:gd name="connsiteX49" fmla="*/ 407194 w 771525"/>
                <a:gd name="connsiteY49" fmla="*/ 114300 h 1135856"/>
                <a:gd name="connsiteX50" fmla="*/ 381000 w 771525"/>
                <a:gd name="connsiteY50" fmla="*/ 152400 h 1135856"/>
                <a:gd name="connsiteX51" fmla="*/ 340519 w 771525"/>
                <a:gd name="connsiteY51" fmla="*/ 140494 h 1135856"/>
                <a:gd name="connsiteX52" fmla="*/ 245269 w 771525"/>
                <a:gd name="connsiteY52" fmla="*/ 145256 h 1135856"/>
                <a:gd name="connsiteX53" fmla="*/ 250032 w 771525"/>
                <a:gd name="connsiteY53" fmla="*/ 154781 h 1135856"/>
                <a:gd name="connsiteX54" fmla="*/ 309563 w 771525"/>
                <a:gd name="connsiteY54" fmla="*/ 204787 h 1135856"/>
                <a:gd name="connsiteX55" fmla="*/ 211932 w 771525"/>
                <a:gd name="connsiteY55" fmla="*/ 328612 h 1135856"/>
                <a:gd name="connsiteX56" fmla="*/ 173832 w 771525"/>
                <a:gd name="connsiteY56" fmla="*/ 319087 h 1135856"/>
                <a:gd name="connsiteX57" fmla="*/ 80963 w 771525"/>
                <a:gd name="connsiteY57" fmla="*/ 452437 h 1135856"/>
                <a:gd name="connsiteX58" fmla="*/ 97632 w 771525"/>
                <a:gd name="connsiteY58" fmla="*/ 464344 h 1135856"/>
                <a:gd name="connsiteX59" fmla="*/ 114300 w 771525"/>
                <a:gd name="connsiteY59" fmla="*/ 504825 h 1135856"/>
                <a:gd name="connsiteX60" fmla="*/ 92869 w 771525"/>
                <a:gd name="connsiteY60" fmla="*/ 566737 h 1135856"/>
                <a:gd name="connsiteX61" fmla="*/ 102394 w 771525"/>
                <a:gd name="connsiteY61" fmla="*/ 640556 h 1135856"/>
                <a:gd name="connsiteX62" fmla="*/ 73819 w 771525"/>
                <a:gd name="connsiteY62" fmla="*/ 678656 h 1135856"/>
                <a:gd name="connsiteX63" fmla="*/ 73819 w 771525"/>
                <a:gd name="connsiteY63" fmla="*/ 704850 h 1135856"/>
                <a:gd name="connsiteX64" fmla="*/ 61913 w 771525"/>
                <a:gd name="connsiteY64" fmla="*/ 733425 h 1135856"/>
                <a:gd name="connsiteX65" fmla="*/ 88107 w 771525"/>
                <a:gd name="connsiteY65" fmla="*/ 762000 h 1135856"/>
                <a:gd name="connsiteX66" fmla="*/ 135732 w 771525"/>
                <a:gd name="connsiteY66" fmla="*/ 850106 h 1135856"/>
                <a:gd name="connsiteX67" fmla="*/ 69057 w 771525"/>
                <a:gd name="connsiteY67" fmla="*/ 876300 h 1135856"/>
                <a:gd name="connsiteX68" fmla="*/ 45244 w 771525"/>
                <a:gd name="connsiteY68" fmla="*/ 928687 h 1135856"/>
                <a:gd name="connsiteX69" fmla="*/ 33338 w 771525"/>
                <a:gd name="connsiteY69" fmla="*/ 983456 h 1135856"/>
                <a:gd name="connsiteX70" fmla="*/ 2382 w 771525"/>
                <a:gd name="connsiteY70" fmla="*/ 973931 h 1135856"/>
                <a:gd name="connsiteX71" fmla="*/ 0 w 771525"/>
                <a:gd name="connsiteY71" fmla="*/ 1021556 h 1135856"/>
                <a:gd name="connsiteX72" fmla="*/ 16669 w 771525"/>
                <a:gd name="connsiteY72" fmla="*/ 1031081 h 1135856"/>
                <a:gd name="connsiteX73" fmla="*/ 57150 w 771525"/>
                <a:gd name="connsiteY73" fmla="*/ 1040606 h 1135856"/>
                <a:gd name="connsiteX74" fmla="*/ 85725 w 771525"/>
                <a:gd name="connsiteY74" fmla="*/ 1054894 h 1135856"/>
                <a:gd name="connsiteX75" fmla="*/ 102394 w 771525"/>
                <a:gd name="connsiteY75" fmla="*/ 1109662 h 1135856"/>
                <a:gd name="connsiteX76" fmla="*/ 130969 w 771525"/>
                <a:gd name="connsiteY76" fmla="*/ 1135856 h 1135856"/>
                <a:gd name="connsiteX77" fmla="*/ 202407 w 771525"/>
                <a:gd name="connsiteY77" fmla="*/ 1131094 h 1135856"/>
                <a:gd name="connsiteX0" fmla="*/ 202407 w 771525"/>
                <a:gd name="connsiteY0" fmla="*/ 1131094 h 1135856"/>
                <a:gd name="connsiteX1" fmla="*/ 221457 w 771525"/>
                <a:gd name="connsiteY1" fmla="*/ 1064419 h 1135856"/>
                <a:gd name="connsiteX2" fmla="*/ 238125 w 771525"/>
                <a:gd name="connsiteY2" fmla="*/ 1042987 h 1135856"/>
                <a:gd name="connsiteX3" fmla="*/ 247650 w 771525"/>
                <a:gd name="connsiteY3" fmla="*/ 1012031 h 1135856"/>
                <a:gd name="connsiteX4" fmla="*/ 283369 w 771525"/>
                <a:gd name="connsiteY4" fmla="*/ 985837 h 1135856"/>
                <a:gd name="connsiteX5" fmla="*/ 319088 w 771525"/>
                <a:gd name="connsiteY5" fmla="*/ 962025 h 1135856"/>
                <a:gd name="connsiteX6" fmla="*/ 350044 w 771525"/>
                <a:gd name="connsiteY6" fmla="*/ 928687 h 1135856"/>
                <a:gd name="connsiteX7" fmla="*/ 354807 w 771525"/>
                <a:gd name="connsiteY7" fmla="*/ 900112 h 1135856"/>
                <a:gd name="connsiteX8" fmla="*/ 321469 w 771525"/>
                <a:gd name="connsiteY8" fmla="*/ 854869 h 1135856"/>
                <a:gd name="connsiteX9" fmla="*/ 323850 w 771525"/>
                <a:gd name="connsiteY9" fmla="*/ 785812 h 1135856"/>
                <a:gd name="connsiteX10" fmla="*/ 280988 w 771525"/>
                <a:gd name="connsiteY10" fmla="*/ 735806 h 1135856"/>
                <a:gd name="connsiteX11" fmla="*/ 288132 w 771525"/>
                <a:gd name="connsiteY11" fmla="*/ 697706 h 1135856"/>
                <a:gd name="connsiteX12" fmla="*/ 316707 w 771525"/>
                <a:gd name="connsiteY12" fmla="*/ 681037 h 1135856"/>
                <a:gd name="connsiteX13" fmla="*/ 330994 w 771525"/>
                <a:gd name="connsiteY13" fmla="*/ 707231 h 1135856"/>
                <a:gd name="connsiteX14" fmla="*/ 354807 w 771525"/>
                <a:gd name="connsiteY14" fmla="*/ 726281 h 1135856"/>
                <a:gd name="connsiteX15" fmla="*/ 369094 w 771525"/>
                <a:gd name="connsiteY15" fmla="*/ 745331 h 1135856"/>
                <a:gd name="connsiteX16" fmla="*/ 378619 w 771525"/>
                <a:gd name="connsiteY16" fmla="*/ 781050 h 1135856"/>
                <a:gd name="connsiteX17" fmla="*/ 395288 w 771525"/>
                <a:gd name="connsiteY17" fmla="*/ 797719 h 1135856"/>
                <a:gd name="connsiteX18" fmla="*/ 409575 w 771525"/>
                <a:gd name="connsiteY18" fmla="*/ 792956 h 1135856"/>
                <a:gd name="connsiteX19" fmla="*/ 426244 w 771525"/>
                <a:gd name="connsiteY19" fmla="*/ 785812 h 1135856"/>
                <a:gd name="connsiteX20" fmla="*/ 423863 w 771525"/>
                <a:gd name="connsiteY20" fmla="*/ 676275 h 1135856"/>
                <a:gd name="connsiteX21" fmla="*/ 409575 w 771525"/>
                <a:gd name="connsiteY21" fmla="*/ 640556 h 1135856"/>
                <a:gd name="connsiteX22" fmla="*/ 411957 w 771525"/>
                <a:gd name="connsiteY22" fmla="*/ 614362 h 1135856"/>
                <a:gd name="connsiteX23" fmla="*/ 426244 w 771525"/>
                <a:gd name="connsiteY23" fmla="*/ 566737 h 1135856"/>
                <a:gd name="connsiteX24" fmla="*/ 473869 w 771525"/>
                <a:gd name="connsiteY24" fmla="*/ 566737 h 1135856"/>
                <a:gd name="connsiteX25" fmla="*/ 488157 w 771525"/>
                <a:gd name="connsiteY25" fmla="*/ 552450 h 1135856"/>
                <a:gd name="connsiteX26" fmla="*/ 509588 w 771525"/>
                <a:gd name="connsiteY26" fmla="*/ 502444 h 1135856"/>
                <a:gd name="connsiteX27" fmla="*/ 604838 w 771525"/>
                <a:gd name="connsiteY27" fmla="*/ 457200 h 1135856"/>
                <a:gd name="connsiteX28" fmla="*/ 628650 w 771525"/>
                <a:gd name="connsiteY28" fmla="*/ 447675 h 1135856"/>
                <a:gd name="connsiteX29" fmla="*/ 638175 w 771525"/>
                <a:gd name="connsiteY29" fmla="*/ 402431 h 1135856"/>
                <a:gd name="connsiteX30" fmla="*/ 638175 w 771525"/>
                <a:gd name="connsiteY30" fmla="*/ 361950 h 1135856"/>
                <a:gd name="connsiteX31" fmla="*/ 640557 w 771525"/>
                <a:gd name="connsiteY31" fmla="*/ 340519 h 1135856"/>
                <a:gd name="connsiteX32" fmla="*/ 652463 w 771525"/>
                <a:gd name="connsiteY32" fmla="*/ 333375 h 1135856"/>
                <a:gd name="connsiteX33" fmla="*/ 742950 w 771525"/>
                <a:gd name="connsiteY33" fmla="*/ 297656 h 1135856"/>
                <a:gd name="connsiteX34" fmla="*/ 766763 w 771525"/>
                <a:gd name="connsiteY34" fmla="*/ 280987 h 1135856"/>
                <a:gd name="connsiteX35" fmla="*/ 754857 w 771525"/>
                <a:gd name="connsiteY35" fmla="*/ 252412 h 1135856"/>
                <a:gd name="connsiteX36" fmla="*/ 742950 w 771525"/>
                <a:gd name="connsiteY36" fmla="*/ 221456 h 1135856"/>
                <a:gd name="connsiteX37" fmla="*/ 771525 w 771525"/>
                <a:gd name="connsiteY37" fmla="*/ 192881 h 1135856"/>
                <a:gd name="connsiteX38" fmla="*/ 752475 w 771525"/>
                <a:gd name="connsiteY38" fmla="*/ 161925 h 1135856"/>
                <a:gd name="connsiteX39" fmla="*/ 752475 w 771525"/>
                <a:gd name="connsiteY39" fmla="*/ 119062 h 1135856"/>
                <a:gd name="connsiteX40" fmla="*/ 719138 w 771525"/>
                <a:gd name="connsiteY40" fmla="*/ 85725 h 1135856"/>
                <a:gd name="connsiteX41" fmla="*/ 671513 w 771525"/>
                <a:gd name="connsiteY41" fmla="*/ 52387 h 1135856"/>
                <a:gd name="connsiteX42" fmla="*/ 645319 w 771525"/>
                <a:gd name="connsiteY42" fmla="*/ 35719 h 1135856"/>
                <a:gd name="connsiteX43" fmla="*/ 642938 w 771525"/>
                <a:gd name="connsiteY43" fmla="*/ 4762 h 1135856"/>
                <a:gd name="connsiteX44" fmla="*/ 609600 w 771525"/>
                <a:gd name="connsiteY44" fmla="*/ 0 h 1135856"/>
                <a:gd name="connsiteX45" fmla="*/ 583407 w 771525"/>
                <a:gd name="connsiteY45" fmla="*/ 23812 h 1135856"/>
                <a:gd name="connsiteX46" fmla="*/ 564357 w 771525"/>
                <a:gd name="connsiteY46" fmla="*/ 19050 h 1135856"/>
                <a:gd name="connsiteX47" fmla="*/ 554832 w 771525"/>
                <a:gd name="connsiteY47" fmla="*/ 42862 h 1135856"/>
                <a:gd name="connsiteX48" fmla="*/ 509588 w 771525"/>
                <a:gd name="connsiteY48" fmla="*/ 76200 h 1135856"/>
                <a:gd name="connsiteX49" fmla="*/ 407194 w 771525"/>
                <a:gd name="connsiteY49" fmla="*/ 114300 h 1135856"/>
                <a:gd name="connsiteX50" fmla="*/ 381000 w 771525"/>
                <a:gd name="connsiteY50" fmla="*/ 152400 h 1135856"/>
                <a:gd name="connsiteX51" fmla="*/ 340519 w 771525"/>
                <a:gd name="connsiteY51" fmla="*/ 140494 h 1135856"/>
                <a:gd name="connsiteX52" fmla="*/ 245269 w 771525"/>
                <a:gd name="connsiteY52" fmla="*/ 145256 h 1135856"/>
                <a:gd name="connsiteX53" fmla="*/ 250032 w 771525"/>
                <a:gd name="connsiteY53" fmla="*/ 154781 h 1135856"/>
                <a:gd name="connsiteX54" fmla="*/ 309563 w 771525"/>
                <a:gd name="connsiteY54" fmla="*/ 204787 h 1135856"/>
                <a:gd name="connsiteX55" fmla="*/ 211932 w 771525"/>
                <a:gd name="connsiteY55" fmla="*/ 328612 h 1135856"/>
                <a:gd name="connsiteX56" fmla="*/ 173832 w 771525"/>
                <a:gd name="connsiteY56" fmla="*/ 319087 h 1135856"/>
                <a:gd name="connsiteX57" fmla="*/ 80963 w 771525"/>
                <a:gd name="connsiteY57" fmla="*/ 452437 h 1135856"/>
                <a:gd name="connsiteX58" fmla="*/ 97632 w 771525"/>
                <a:gd name="connsiteY58" fmla="*/ 464344 h 1135856"/>
                <a:gd name="connsiteX59" fmla="*/ 114300 w 771525"/>
                <a:gd name="connsiteY59" fmla="*/ 504825 h 1135856"/>
                <a:gd name="connsiteX60" fmla="*/ 92869 w 771525"/>
                <a:gd name="connsiteY60" fmla="*/ 566737 h 1135856"/>
                <a:gd name="connsiteX61" fmla="*/ 102394 w 771525"/>
                <a:gd name="connsiteY61" fmla="*/ 640556 h 1135856"/>
                <a:gd name="connsiteX62" fmla="*/ 73819 w 771525"/>
                <a:gd name="connsiteY62" fmla="*/ 678656 h 1135856"/>
                <a:gd name="connsiteX63" fmla="*/ 73819 w 771525"/>
                <a:gd name="connsiteY63" fmla="*/ 704850 h 1135856"/>
                <a:gd name="connsiteX64" fmla="*/ 61913 w 771525"/>
                <a:gd name="connsiteY64" fmla="*/ 733425 h 1135856"/>
                <a:gd name="connsiteX65" fmla="*/ 88107 w 771525"/>
                <a:gd name="connsiteY65" fmla="*/ 762000 h 1135856"/>
                <a:gd name="connsiteX66" fmla="*/ 135732 w 771525"/>
                <a:gd name="connsiteY66" fmla="*/ 850106 h 1135856"/>
                <a:gd name="connsiteX67" fmla="*/ 69057 w 771525"/>
                <a:gd name="connsiteY67" fmla="*/ 876300 h 1135856"/>
                <a:gd name="connsiteX68" fmla="*/ 45244 w 771525"/>
                <a:gd name="connsiteY68" fmla="*/ 928687 h 1135856"/>
                <a:gd name="connsiteX69" fmla="*/ 33338 w 771525"/>
                <a:gd name="connsiteY69" fmla="*/ 983456 h 1135856"/>
                <a:gd name="connsiteX70" fmla="*/ 2382 w 771525"/>
                <a:gd name="connsiteY70" fmla="*/ 973931 h 1135856"/>
                <a:gd name="connsiteX71" fmla="*/ 0 w 771525"/>
                <a:gd name="connsiteY71" fmla="*/ 1021556 h 1135856"/>
                <a:gd name="connsiteX72" fmla="*/ 16669 w 771525"/>
                <a:gd name="connsiteY72" fmla="*/ 1031081 h 1135856"/>
                <a:gd name="connsiteX73" fmla="*/ 57150 w 771525"/>
                <a:gd name="connsiteY73" fmla="*/ 1040606 h 1135856"/>
                <a:gd name="connsiteX74" fmla="*/ 85725 w 771525"/>
                <a:gd name="connsiteY74" fmla="*/ 1054894 h 1135856"/>
                <a:gd name="connsiteX75" fmla="*/ 102394 w 771525"/>
                <a:gd name="connsiteY75" fmla="*/ 1109662 h 1135856"/>
                <a:gd name="connsiteX76" fmla="*/ 130969 w 771525"/>
                <a:gd name="connsiteY76" fmla="*/ 1135856 h 1135856"/>
                <a:gd name="connsiteX77" fmla="*/ 157163 w 771525"/>
                <a:gd name="connsiteY77" fmla="*/ 1135856 h 1135856"/>
                <a:gd name="connsiteX78" fmla="*/ 202407 w 771525"/>
                <a:gd name="connsiteY78" fmla="*/ 1131094 h 1135856"/>
                <a:gd name="connsiteX0" fmla="*/ 202407 w 771525"/>
                <a:gd name="connsiteY0" fmla="*/ 1131094 h 1164431"/>
                <a:gd name="connsiteX1" fmla="*/ 221457 w 771525"/>
                <a:gd name="connsiteY1" fmla="*/ 1064419 h 1164431"/>
                <a:gd name="connsiteX2" fmla="*/ 238125 w 771525"/>
                <a:gd name="connsiteY2" fmla="*/ 1042987 h 1164431"/>
                <a:gd name="connsiteX3" fmla="*/ 247650 w 771525"/>
                <a:gd name="connsiteY3" fmla="*/ 1012031 h 1164431"/>
                <a:gd name="connsiteX4" fmla="*/ 283369 w 771525"/>
                <a:gd name="connsiteY4" fmla="*/ 985837 h 1164431"/>
                <a:gd name="connsiteX5" fmla="*/ 319088 w 771525"/>
                <a:gd name="connsiteY5" fmla="*/ 962025 h 1164431"/>
                <a:gd name="connsiteX6" fmla="*/ 350044 w 771525"/>
                <a:gd name="connsiteY6" fmla="*/ 928687 h 1164431"/>
                <a:gd name="connsiteX7" fmla="*/ 354807 w 771525"/>
                <a:gd name="connsiteY7" fmla="*/ 900112 h 1164431"/>
                <a:gd name="connsiteX8" fmla="*/ 321469 w 771525"/>
                <a:gd name="connsiteY8" fmla="*/ 854869 h 1164431"/>
                <a:gd name="connsiteX9" fmla="*/ 323850 w 771525"/>
                <a:gd name="connsiteY9" fmla="*/ 785812 h 1164431"/>
                <a:gd name="connsiteX10" fmla="*/ 280988 w 771525"/>
                <a:gd name="connsiteY10" fmla="*/ 735806 h 1164431"/>
                <a:gd name="connsiteX11" fmla="*/ 288132 w 771525"/>
                <a:gd name="connsiteY11" fmla="*/ 697706 h 1164431"/>
                <a:gd name="connsiteX12" fmla="*/ 316707 w 771525"/>
                <a:gd name="connsiteY12" fmla="*/ 681037 h 1164431"/>
                <a:gd name="connsiteX13" fmla="*/ 330994 w 771525"/>
                <a:gd name="connsiteY13" fmla="*/ 707231 h 1164431"/>
                <a:gd name="connsiteX14" fmla="*/ 354807 w 771525"/>
                <a:gd name="connsiteY14" fmla="*/ 726281 h 1164431"/>
                <a:gd name="connsiteX15" fmla="*/ 369094 w 771525"/>
                <a:gd name="connsiteY15" fmla="*/ 745331 h 1164431"/>
                <a:gd name="connsiteX16" fmla="*/ 378619 w 771525"/>
                <a:gd name="connsiteY16" fmla="*/ 781050 h 1164431"/>
                <a:gd name="connsiteX17" fmla="*/ 395288 w 771525"/>
                <a:gd name="connsiteY17" fmla="*/ 797719 h 1164431"/>
                <a:gd name="connsiteX18" fmla="*/ 409575 w 771525"/>
                <a:gd name="connsiteY18" fmla="*/ 792956 h 1164431"/>
                <a:gd name="connsiteX19" fmla="*/ 426244 w 771525"/>
                <a:gd name="connsiteY19" fmla="*/ 785812 h 1164431"/>
                <a:gd name="connsiteX20" fmla="*/ 423863 w 771525"/>
                <a:gd name="connsiteY20" fmla="*/ 676275 h 1164431"/>
                <a:gd name="connsiteX21" fmla="*/ 409575 w 771525"/>
                <a:gd name="connsiteY21" fmla="*/ 640556 h 1164431"/>
                <a:gd name="connsiteX22" fmla="*/ 411957 w 771525"/>
                <a:gd name="connsiteY22" fmla="*/ 614362 h 1164431"/>
                <a:gd name="connsiteX23" fmla="*/ 426244 w 771525"/>
                <a:gd name="connsiteY23" fmla="*/ 566737 h 1164431"/>
                <a:gd name="connsiteX24" fmla="*/ 473869 w 771525"/>
                <a:gd name="connsiteY24" fmla="*/ 566737 h 1164431"/>
                <a:gd name="connsiteX25" fmla="*/ 488157 w 771525"/>
                <a:gd name="connsiteY25" fmla="*/ 552450 h 1164431"/>
                <a:gd name="connsiteX26" fmla="*/ 509588 w 771525"/>
                <a:gd name="connsiteY26" fmla="*/ 502444 h 1164431"/>
                <a:gd name="connsiteX27" fmla="*/ 604838 w 771525"/>
                <a:gd name="connsiteY27" fmla="*/ 457200 h 1164431"/>
                <a:gd name="connsiteX28" fmla="*/ 628650 w 771525"/>
                <a:gd name="connsiteY28" fmla="*/ 447675 h 1164431"/>
                <a:gd name="connsiteX29" fmla="*/ 638175 w 771525"/>
                <a:gd name="connsiteY29" fmla="*/ 402431 h 1164431"/>
                <a:gd name="connsiteX30" fmla="*/ 638175 w 771525"/>
                <a:gd name="connsiteY30" fmla="*/ 361950 h 1164431"/>
                <a:gd name="connsiteX31" fmla="*/ 640557 w 771525"/>
                <a:gd name="connsiteY31" fmla="*/ 340519 h 1164431"/>
                <a:gd name="connsiteX32" fmla="*/ 652463 w 771525"/>
                <a:gd name="connsiteY32" fmla="*/ 333375 h 1164431"/>
                <a:gd name="connsiteX33" fmla="*/ 742950 w 771525"/>
                <a:gd name="connsiteY33" fmla="*/ 297656 h 1164431"/>
                <a:gd name="connsiteX34" fmla="*/ 766763 w 771525"/>
                <a:gd name="connsiteY34" fmla="*/ 280987 h 1164431"/>
                <a:gd name="connsiteX35" fmla="*/ 754857 w 771525"/>
                <a:gd name="connsiteY35" fmla="*/ 252412 h 1164431"/>
                <a:gd name="connsiteX36" fmla="*/ 742950 w 771525"/>
                <a:gd name="connsiteY36" fmla="*/ 221456 h 1164431"/>
                <a:gd name="connsiteX37" fmla="*/ 771525 w 771525"/>
                <a:gd name="connsiteY37" fmla="*/ 192881 h 1164431"/>
                <a:gd name="connsiteX38" fmla="*/ 752475 w 771525"/>
                <a:gd name="connsiteY38" fmla="*/ 161925 h 1164431"/>
                <a:gd name="connsiteX39" fmla="*/ 752475 w 771525"/>
                <a:gd name="connsiteY39" fmla="*/ 119062 h 1164431"/>
                <a:gd name="connsiteX40" fmla="*/ 719138 w 771525"/>
                <a:gd name="connsiteY40" fmla="*/ 85725 h 1164431"/>
                <a:gd name="connsiteX41" fmla="*/ 671513 w 771525"/>
                <a:gd name="connsiteY41" fmla="*/ 52387 h 1164431"/>
                <a:gd name="connsiteX42" fmla="*/ 645319 w 771525"/>
                <a:gd name="connsiteY42" fmla="*/ 35719 h 1164431"/>
                <a:gd name="connsiteX43" fmla="*/ 642938 w 771525"/>
                <a:gd name="connsiteY43" fmla="*/ 4762 h 1164431"/>
                <a:gd name="connsiteX44" fmla="*/ 609600 w 771525"/>
                <a:gd name="connsiteY44" fmla="*/ 0 h 1164431"/>
                <a:gd name="connsiteX45" fmla="*/ 583407 w 771525"/>
                <a:gd name="connsiteY45" fmla="*/ 23812 h 1164431"/>
                <a:gd name="connsiteX46" fmla="*/ 564357 w 771525"/>
                <a:gd name="connsiteY46" fmla="*/ 19050 h 1164431"/>
                <a:gd name="connsiteX47" fmla="*/ 554832 w 771525"/>
                <a:gd name="connsiteY47" fmla="*/ 42862 h 1164431"/>
                <a:gd name="connsiteX48" fmla="*/ 509588 w 771525"/>
                <a:gd name="connsiteY48" fmla="*/ 76200 h 1164431"/>
                <a:gd name="connsiteX49" fmla="*/ 407194 w 771525"/>
                <a:gd name="connsiteY49" fmla="*/ 114300 h 1164431"/>
                <a:gd name="connsiteX50" fmla="*/ 381000 w 771525"/>
                <a:gd name="connsiteY50" fmla="*/ 152400 h 1164431"/>
                <a:gd name="connsiteX51" fmla="*/ 340519 w 771525"/>
                <a:gd name="connsiteY51" fmla="*/ 140494 h 1164431"/>
                <a:gd name="connsiteX52" fmla="*/ 245269 w 771525"/>
                <a:gd name="connsiteY52" fmla="*/ 145256 h 1164431"/>
                <a:gd name="connsiteX53" fmla="*/ 250032 w 771525"/>
                <a:gd name="connsiteY53" fmla="*/ 154781 h 1164431"/>
                <a:gd name="connsiteX54" fmla="*/ 309563 w 771525"/>
                <a:gd name="connsiteY54" fmla="*/ 204787 h 1164431"/>
                <a:gd name="connsiteX55" fmla="*/ 211932 w 771525"/>
                <a:gd name="connsiteY55" fmla="*/ 328612 h 1164431"/>
                <a:gd name="connsiteX56" fmla="*/ 173832 w 771525"/>
                <a:gd name="connsiteY56" fmla="*/ 319087 h 1164431"/>
                <a:gd name="connsiteX57" fmla="*/ 80963 w 771525"/>
                <a:gd name="connsiteY57" fmla="*/ 452437 h 1164431"/>
                <a:gd name="connsiteX58" fmla="*/ 97632 w 771525"/>
                <a:gd name="connsiteY58" fmla="*/ 464344 h 1164431"/>
                <a:gd name="connsiteX59" fmla="*/ 114300 w 771525"/>
                <a:gd name="connsiteY59" fmla="*/ 504825 h 1164431"/>
                <a:gd name="connsiteX60" fmla="*/ 92869 w 771525"/>
                <a:gd name="connsiteY60" fmla="*/ 566737 h 1164431"/>
                <a:gd name="connsiteX61" fmla="*/ 102394 w 771525"/>
                <a:gd name="connsiteY61" fmla="*/ 640556 h 1164431"/>
                <a:gd name="connsiteX62" fmla="*/ 73819 w 771525"/>
                <a:gd name="connsiteY62" fmla="*/ 678656 h 1164431"/>
                <a:gd name="connsiteX63" fmla="*/ 73819 w 771525"/>
                <a:gd name="connsiteY63" fmla="*/ 704850 h 1164431"/>
                <a:gd name="connsiteX64" fmla="*/ 61913 w 771525"/>
                <a:gd name="connsiteY64" fmla="*/ 733425 h 1164431"/>
                <a:gd name="connsiteX65" fmla="*/ 88107 w 771525"/>
                <a:gd name="connsiteY65" fmla="*/ 762000 h 1164431"/>
                <a:gd name="connsiteX66" fmla="*/ 135732 w 771525"/>
                <a:gd name="connsiteY66" fmla="*/ 850106 h 1164431"/>
                <a:gd name="connsiteX67" fmla="*/ 69057 w 771525"/>
                <a:gd name="connsiteY67" fmla="*/ 876300 h 1164431"/>
                <a:gd name="connsiteX68" fmla="*/ 45244 w 771525"/>
                <a:gd name="connsiteY68" fmla="*/ 928687 h 1164431"/>
                <a:gd name="connsiteX69" fmla="*/ 33338 w 771525"/>
                <a:gd name="connsiteY69" fmla="*/ 983456 h 1164431"/>
                <a:gd name="connsiteX70" fmla="*/ 2382 w 771525"/>
                <a:gd name="connsiteY70" fmla="*/ 973931 h 1164431"/>
                <a:gd name="connsiteX71" fmla="*/ 0 w 771525"/>
                <a:gd name="connsiteY71" fmla="*/ 1021556 h 1164431"/>
                <a:gd name="connsiteX72" fmla="*/ 16669 w 771525"/>
                <a:gd name="connsiteY72" fmla="*/ 1031081 h 1164431"/>
                <a:gd name="connsiteX73" fmla="*/ 57150 w 771525"/>
                <a:gd name="connsiteY73" fmla="*/ 1040606 h 1164431"/>
                <a:gd name="connsiteX74" fmla="*/ 85725 w 771525"/>
                <a:gd name="connsiteY74" fmla="*/ 1054894 h 1164431"/>
                <a:gd name="connsiteX75" fmla="*/ 102394 w 771525"/>
                <a:gd name="connsiteY75" fmla="*/ 1109662 h 1164431"/>
                <a:gd name="connsiteX76" fmla="*/ 130969 w 771525"/>
                <a:gd name="connsiteY76" fmla="*/ 1135856 h 1164431"/>
                <a:gd name="connsiteX77" fmla="*/ 157163 w 771525"/>
                <a:gd name="connsiteY77" fmla="*/ 1164431 h 1164431"/>
                <a:gd name="connsiteX78" fmla="*/ 202407 w 771525"/>
                <a:gd name="connsiteY78" fmla="*/ 1131094 h 1164431"/>
                <a:gd name="connsiteX0" fmla="*/ 202407 w 771525"/>
                <a:gd name="connsiteY0" fmla="*/ 1131094 h 1164431"/>
                <a:gd name="connsiteX1" fmla="*/ 221457 w 771525"/>
                <a:gd name="connsiteY1" fmla="*/ 1064419 h 1164431"/>
                <a:gd name="connsiteX2" fmla="*/ 238125 w 771525"/>
                <a:gd name="connsiteY2" fmla="*/ 1042987 h 1164431"/>
                <a:gd name="connsiteX3" fmla="*/ 247650 w 771525"/>
                <a:gd name="connsiteY3" fmla="*/ 1012031 h 1164431"/>
                <a:gd name="connsiteX4" fmla="*/ 283369 w 771525"/>
                <a:gd name="connsiteY4" fmla="*/ 985837 h 1164431"/>
                <a:gd name="connsiteX5" fmla="*/ 319088 w 771525"/>
                <a:gd name="connsiteY5" fmla="*/ 962025 h 1164431"/>
                <a:gd name="connsiteX6" fmla="*/ 350044 w 771525"/>
                <a:gd name="connsiteY6" fmla="*/ 928687 h 1164431"/>
                <a:gd name="connsiteX7" fmla="*/ 354807 w 771525"/>
                <a:gd name="connsiteY7" fmla="*/ 900112 h 1164431"/>
                <a:gd name="connsiteX8" fmla="*/ 321469 w 771525"/>
                <a:gd name="connsiteY8" fmla="*/ 854869 h 1164431"/>
                <a:gd name="connsiteX9" fmla="*/ 323850 w 771525"/>
                <a:gd name="connsiteY9" fmla="*/ 785812 h 1164431"/>
                <a:gd name="connsiteX10" fmla="*/ 280988 w 771525"/>
                <a:gd name="connsiteY10" fmla="*/ 735806 h 1164431"/>
                <a:gd name="connsiteX11" fmla="*/ 288132 w 771525"/>
                <a:gd name="connsiteY11" fmla="*/ 697706 h 1164431"/>
                <a:gd name="connsiteX12" fmla="*/ 316707 w 771525"/>
                <a:gd name="connsiteY12" fmla="*/ 681037 h 1164431"/>
                <a:gd name="connsiteX13" fmla="*/ 330994 w 771525"/>
                <a:gd name="connsiteY13" fmla="*/ 707231 h 1164431"/>
                <a:gd name="connsiteX14" fmla="*/ 354807 w 771525"/>
                <a:gd name="connsiteY14" fmla="*/ 726281 h 1164431"/>
                <a:gd name="connsiteX15" fmla="*/ 369094 w 771525"/>
                <a:gd name="connsiteY15" fmla="*/ 745331 h 1164431"/>
                <a:gd name="connsiteX16" fmla="*/ 378619 w 771525"/>
                <a:gd name="connsiteY16" fmla="*/ 781050 h 1164431"/>
                <a:gd name="connsiteX17" fmla="*/ 395288 w 771525"/>
                <a:gd name="connsiteY17" fmla="*/ 797719 h 1164431"/>
                <a:gd name="connsiteX18" fmla="*/ 409575 w 771525"/>
                <a:gd name="connsiteY18" fmla="*/ 792956 h 1164431"/>
                <a:gd name="connsiteX19" fmla="*/ 426244 w 771525"/>
                <a:gd name="connsiteY19" fmla="*/ 785812 h 1164431"/>
                <a:gd name="connsiteX20" fmla="*/ 423863 w 771525"/>
                <a:gd name="connsiteY20" fmla="*/ 676275 h 1164431"/>
                <a:gd name="connsiteX21" fmla="*/ 409575 w 771525"/>
                <a:gd name="connsiteY21" fmla="*/ 640556 h 1164431"/>
                <a:gd name="connsiteX22" fmla="*/ 411957 w 771525"/>
                <a:gd name="connsiteY22" fmla="*/ 614362 h 1164431"/>
                <a:gd name="connsiteX23" fmla="*/ 426244 w 771525"/>
                <a:gd name="connsiteY23" fmla="*/ 566737 h 1164431"/>
                <a:gd name="connsiteX24" fmla="*/ 473869 w 771525"/>
                <a:gd name="connsiteY24" fmla="*/ 566737 h 1164431"/>
                <a:gd name="connsiteX25" fmla="*/ 488157 w 771525"/>
                <a:gd name="connsiteY25" fmla="*/ 552450 h 1164431"/>
                <a:gd name="connsiteX26" fmla="*/ 509588 w 771525"/>
                <a:gd name="connsiteY26" fmla="*/ 502444 h 1164431"/>
                <a:gd name="connsiteX27" fmla="*/ 604838 w 771525"/>
                <a:gd name="connsiteY27" fmla="*/ 457200 h 1164431"/>
                <a:gd name="connsiteX28" fmla="*/ 628650 w 771525"/>
                <a:gd name="connsiteY28" fmla="*/ 447675 h 1164431"/>
                <a:gd name="connsiteX29" fmla="*/ 638175 w 771525"/>
                <a:gd name="connsiteY29" fmla="*/ 402431 h 1164431"/>
                <a:gd name="connsiteX30" fmla="*/ 638175 w 771525"/>
                <a:gd name="connsiteY30" fmla="*/ 361950 h 1164431"/>
                <a:gd name="connsiteX31" fmla="*/ 640557 w 771525"/>
                <a:gd name="connsiteY31" fmla="*/ 340519 h 1164431"/>
                <a:gd name="connsiteX32" fmla="*/ 652463 w 771525"/>
                <a:gd name="connsiteY32" fmla="*/ 333375 h 1164431"/>
                <a:gd name="connsiteX33" fmla="*/ 742950 w 771525"/>
                <a:gd name="connsiteY33" fmla="*/ 297656 h 1164431"/>
                <a:gd name="connsiteX34" fmla="*/ 766763 w 771525"/>
                <a:gd name="connsiteY34" fmla="*/ 280987 h 1164431"/>
                <a:gd name="connsiteX35" fmla="*/ 754857 w 771525"/>
                <a:gd name="connsiteY35" fmla="*/ 252412 h 1164431"/>
                <a:gd name="connsiteX36" fmla="*/ 742950 w 771525"/>
                <a:gd name="connsiteY36" fmla="*/ 221456 h 1164431"/>
                <a:gd name="connsiteX37" fmla="*/ 771525 w 771525"/>
                <a:gd name="connsiteY37" fmla="*/ 192881 h 1164431"/>
                <a:gd name="connsiteX38" fmla="*/ 752475 w 771525"/>
                <a:gd name="connsiteY38" fmla="*/ 161925 h 1164431"/>
                <a:gd name="connsiteX39" fmla="*/ 752475 w 771525"/>
                <a:gd name="connsiteY39" fmla="*/ 119062 h 1164431"/>
                <a:gd name="connsiteX40" fmla="*/ 719138 w 771525"/>
                <a:gd name="connsiteY40" fmla="*/ 85725 h 1164431"/>
                <a:gd name="connsiteX41" fmla="*/ 671513 w 771525"/>
                <a:gd name="connsiteY41" fmla="*/ 52387 h 1164431"/>
                <a:gd name="connsiteX42" fmla="*/ 645319 w 771525"/>
                <a:gd name="connsiteY42" fmla="*/ 35719 h 1164431"/>
                <a:gd name="connsiteX43" fmla="*/ 642938 w 771525"/>
                <a:gd name="connsiteY43" fmla="*/ 4762 h 1164431"/>
                <a:gd name="connsiteX44" fmla="*/ 609600 w 771525"/>
                <a:gd name="connsiteY44" fmla="*/ 0 h 1164431"/>
                <a:gd name="connsiteX45" fmla="*/ 583407 w 771525"/>
                <a:gd name="connsiteY45" fmla="*/ 23812 h 1164431"/>
                <a:gd name="connsiteX46" fmla="*/ 564357 w 771525"/>
                <a:gd name="connsiteY46" fmla="*/ 19050 h 1164431"/>
                <a:gd name="connsiteX47" fmla="*/ 554832 w 771525"/>
                <a:gd name="connsiteY47" fmla="*/ 42862 h 1164431"/>
                <a:gd name="connsiteX48" fmla="*/ 509588 w 771525"/>
                <a:gd name="connsiteY48" fmla="*/ 76200 h 1164431"/>
                <a:gd name="connsiteX49" fmla="*/ 407194 w 771525"/>
                <a:gd name="connsiteY49" fmla="*/ 114300 h 1164431"/>
                <a:gd name="connsiteX50" fmla="*/ 381000 w 771525"/>
                <a:gd name="connsiteY50" fmla="*/ 152400 h 1164431"/>
                <a:gd name="connsiteX51" fmla="*/ 340519 w 771525"/>
                <a:gd name="connsiteY51" fmla="*/ 140494 h 1164431"/>
                <a:gd name="connsiteX52" fmla="*/ 245269 w 771525"/>
                <a:gd name="connsiteY52" fmla="*/ 145256 h 1164431"/>
                <a:gd name="connsiteX53" fmla="*/ 250032 w 771525"/>
                <a:gd name="connsiteY53" fmla="*/ 154781 h 1164431"/>
                <a:gd name="connsiteX54" fmla="*/ 309563 w 771525"/>
                <a:gd name="connsiteY54" fmla="*/ 204787 h 1164431"/>
                <a:gd name="connsiteX55" fmla="*/ 211932 w 771525"/>
                <a:gd name="connsiteY55" fmla="*/ 328612 h 1164431"/>
                <a:gd name="connsiteX56" fmla="*/ 173832 w 771525"/>
                <a:gd name="connsiteY56" fmla="*/ 319087 h 1164431"/>
                <a:gd name="connsiteX57" fmla="*/ 80963 w 771525"/>
                <a:gd name="connsiteY57" fmla="*/ 452437 h 1164431"/>
                <a:gd name="connsiteX58" fmla="*/ 97632 w 771525"/>
                <a:gd name="connsiteY58" fmla="*/ 464344 h 1164431"/>
                <a:gd name="connsiteX59" fmla="*/ 114300 w 771525"/>
                <a:gd name="connsiteY59" fmla="*/ 504825 h 1164431"/>
                <a:gd name="connsiteX60" fmla="*/ 92869 w 771525"/>
                <a:gd name="connsiteY60" fmla="*/ 566737 h 1164431"/>
                <a:gd name="connsiteX61" fmla="*/ 102394 w 771525"/>
                <a:gd name="connsiteY61" fmla="*/ 640556 h 1164431"/>
                <a:gd name="connsiteX62" fmla="*/ 73819 w 771525"/>
                <a:gd name="connsiteY62" fmla="*/ 678656 h 1164431"/>
                <a:gd name="connsiteX63" fmla="*/ 73819 w 771525"/>
                <a:gd name="connsiteY63" fmla="*/ 704850 h 1164431"/>
                <a:gd name="connsiteX64" fmla="*/ 61913 w 771525"/>
                <a:gd name="connsiteY64" fmla="*/ 733425 h 1164431"/>
                <a:gd name="connsiteX65" fmla="*/ 88107 w 771525"/>
                <a:gd name="connsiteY65" fmla="*/ 762000 h 1164431"/>
                <a:gd name="connsiteX66" fmla="*/ 135732 w 771525"/>
                <a:gd name="connsiteY66" fmla="*/ 850106 h 1164431"/>
                <a:gd name="connsiteX67" fmla="*/ 69057 w 771525"/>
                <a:gd name="connsiteY67" fmla="*/ 876300 h 1164431"/>
                <a:gd name="connsiteX68" fmla="*/ 45244 w 771525"/>
                <a:gd name="connsiteY68" fmla="*/ 928687 h 1164431"/>
                <a:gd name="connsiteX69" fmla="*/ 33338 w 771525"/>
                <a:gd name="connsiteY69" fmla="*/ 983456 h 1164431"/>
                <a:gd name="connsiteX70" fmla="*/ 2382 w 771525"/>
                <a:gd name="connsiteY70" fmla="*/ 973931 h 1164431"/>
                <a:gd name="connsiteX71" fmla="*/ 0 w 771525"/>
                <a:gd name="connsiteY71" fmla="*/ 1021556 h 1164431"/>
                <a:gd name="connsiteX72" fmla="*/ 16669 w 771525"/>
                <a:gd name="connsiteY72" fmla="*/ 1031081 h 1164431"/>
                <a:gd name="connsiteX73" fmla="*/ 57150 w 771525"/>
                <a:gd name="connsiteY73" fmla="*/ 1040606 h 1164431"/>
                <a:gd name="connsiteX74" fmla="*/ 85725 w 771525"/>
                <a:gd name="connsiteY74" fmla="*/ 1054894 h 1164431"/>
                <a:gd name="connsiteX75" fmla="*/ 102394 w 771525"/>
                <a:gd name="connsiteY75" fmla="*/ 1109662 h 1164431"/>
                <a:gd name="connsiteX76" fmla="*/ 130969 w 771525"/>
                <a:gd name="connsiteY76" fmla="*/ 1135856 h 1164431"/>
                <a:gd name="connsiteX77" fmla="*/ 157163 w 771525"/>
                <a:gd name="connsiteY77" fmla="*/ 1164431 h 1164431"/>
                <a:gd name="connsiteX78" fmla="*/ 185738 w 771525"/>
                <a:gd name="connsiteY78" fmla="*/ 1140619 h 1164431"/>
                <a:gd name="connsiteX79" fmla="*/ 202407 w 771525"/>
                <a:gd name="connsiteY79" fmla="*/ 1131094 h 1164431"/>
                <a:gd name="connsiteX0" fmla="*/ 202407 w 771525"/>
                <a:gd name="connsiteY0" fmla="*/ 1131094 h 1164431"/>
                <a:gd name="connsiteX1" fmla="*/ 221457 w 771525"/>
                <a:gd name="connsiteY1" fmla="*/ 1064419 h 1164431"/>
                <a:gd name="connsiteX2" fmla="*/ 238125 w 771525"/>
                <a:gd name="connsiteY2" fmla="*/ 1042987 h 1164431"/>
                <a:gd name="connsiteX3" fmla="*/ 247650 w 771525"/>
                <a:gd name="connsiteY3" fmla="*/ 1012031 h 1164431"/>
                <a:gd name="connsiteX4" fmla="*/ 283369 w 771525"/>
                <a:gd name="connsiteY4" fmla="*/ 985837 h 1164431"/>
                <a:gd name="connsiteX5" fmla="*/ 319088 w 771525"/>
                <a:gd name="connsiteY5" fmla="*/ 962025 h 1164431"/>
                <a:gd name="connsiteX6" fmla="*/ 350044 w 771525"/>
                <a:gd name="connsiteY6" fmla="*/ 928687 h 1164431"/>
                <a:gd name="connsiteX7" fmla="*/ 354807 w 771525"/>
                <a:gd name="connsiteY7" fmla="*/ 900112 h 1164431"/>
                <a:gd name="connsiteX8" fmla="*/ 321469 w 771525"/>
                <a:gd name="connsiteY8" fmla="*/ 854869 h 1164431"/>
                <a:gd name="connsiteX9" fmla="*/ 323850 w 771525"/>
                <a:gd name="connsiteY9" fmla="*/ 785812 h 1164431"/>
                <a:gd name="connsiteX10" fmla="*/ 280988 w 771525"/>
                <a:gd name="connsiteY10" fmla="*/ 735806 h 1164431"/>
                <a:gd name="connsiteX11" fmla="*/ 288132 w 771525"/>
                <a:gd name="connsiteY11" fmla="*/ 697706 h 1164431"/>
                <a:gd name="connsiteX12" fmla="*/ 316707 w 771525"/>
                <a:gd name="connsiteY12" fmla="*/ 681037 h 1164431"/>
                <a:gd name="connsiteX13" fmla="*/ 330994 w 771525"/>
                <a:gd name="connsiteY13" fmla="*/ 707231 h 1164431"/>
                <a:gd name="connsiteX14" fmla="*/ 354807 w 771525"/>
                <a:gd name="connsiteY14" fmla="*/ 726281 h 1164431"/>
                <a:gd name="connsiteX15" fmla="*/ 369094 w 771525"/>
                <a:gd name="connsiteY15" fmla="*/ 745331 h 1164431"/>
                <a:gd name="connsiteX16" fmla="*/ 378619 w 771525"/>
                <a:gd name="connsiteY16" fmla="*/ 781050 h 1164431"/>
                <a:gd name="connsiteX17" fmla="*/ 395288 w 771525"/>
                <a:gd name="connsiteY17" fmla="*/ 797719 h 1164431"/>
                <a:gd name="connsiteX18" fmla="*/ 409575 w 771525"/>
                <a:gd name="connsiteY18" fmla="*/ 792956 h 1164431"/>
                <a:gd name="connsiteX19" fmla="*/ 426244 w 771525"/>
                <a:gd name="connsiteY19" fmla="*/ 785812 h 1164431"/>
                <a:gd name="connsiteX20" fmla="*/ 423863 w 771525"/>
                <a:gd name="connsiteY20" fmla="*/ 676275 h 1164431"/>
                <a:gd name="connsiteX21" fmla="*/ 409575 w 771525"/>
                <a:gd name="connsiteY21" fmla="*/ 640556 h 1164431"/>
                <a:gd name="connsiteX22" fmla="*/ 411957 w 771525"/>
                <a:gd name="connsiteY22" fmla="*/ 614362 h 1164431"/>
                <a:gd name="connsiteX23" fmla="*/ 426244 w 771525"/>
                <a:gd name="connsiteY23" fmla="*/ 566737 h 1164431"/>
                <a:gd name="connsiteX24" fmla="*/ 473869 w 771525"/>
                <a:gd name="connsiteY24" fmla="*/ 566737 h 1164431"/>
                <a:gd name="connsiteX25" fmla="*/ 488157 w 771525"/>
                <a:gd name="connsiteY25" fmla="*/ 552450 h 1164431"/>
                <a:gd name="connsiteX26" fmla="*/ 509588 w 771525"/>
                <a:gd name="connsiteY26" fmla="*/ 502444 h 1164431"/>
                <a:gd name="connsiteX27" fmla="*/ 604838 w 771525"/>
                <a:gd name="connsiteY27" fmla="*/ 457200 h 1164431"/>
                <a:gd name="connsiteX28" fmla="*/ 628650 w 771525"/>
                <a:gd name="connsiteY28" fmla="*/ 447675 h 1164431"/>
                <a:gd name="connsiteX29" fmla="*/ 638175 w 771525"/>
                <a:gd name="connsiteY29" fmla="*/ 402431 h 1164431"/>
                <a:gd name="connsiteX30" fmla="*/ 638175 w 771525"/>
                <a:gd name="connsiteY30" fmla="*/ 361950 h 1164431"/>
                <a:gd name="connsiteX31" fmla="*/ 640557 w 771525"/>
                <a:gd name="connsiteY31" fmla="*/ 340519 h 1164431"/>
                <a:gd name="connsiteX32" fmla="*/ 652463 w 771525"/>
                <a:gd name="connsiteY32" fmla="*/ 333375 h 1164431"/>
                <a:gd name="connsiteX33" fmla="*/ 742950 w 771525"/>
                <a:gd name="connsiteY33" fmla="*/ 297656 h 1164431"/>
                <a:gd name="connsiteX34" fmla="*/ 766763 w 771525"/>
                <a:gd name="connsiteY34" fmla="*/ 280987 h 1164431"/>
                <a:gd name="connsiteX35" fmla="*/ 754857 w 771525"/>
                <a:gd name="connsiteY35" fmla="*/ 252412 h 1164431"/>
                <a:gd name="connsiteX36" fmla="*/ 742950 w 771525"/>
                <a:gd name="connsiteY36" fmla="*/ 221456 h 1164431"/>
                <a:gd name="connsiteX37" fmla="*/ 771525 w 771525"/>
                <a:gd name="connsiteY37" fmla="*/ 192881 h 1164431"/>
                <a:gd name="connsiteX38" fmla="*/ 752475 w 771525"/>
                <a:gd name="connsiteY38" fmla="*/ 161925 h 1164431"/>
                <a:gd name="connsiteX39" fmla="*/ 752475 w 771525"/>
                <a:gd name="connsiteY39" fmla="*/ 119062 h 1164431"/>
                <a:gd name="connsiteX40" fmla="*/ 719138 w 771525"/>
                <a:gd name="connsiteY40" fmla="*/ 85725 h 1164431"/>
                <a:gd name="connsiteX41" fmla="*/ 671513 w 771525"/>
                <a:gd name="connsiteY41" fmla="*/ 52387 h 1164431"/>
                <a:gd name="connsiteX42" fmla="*/ 645319 w 771525"/>
                <a:gd name="connsiteY42" fmla="*/ 35719 h 1164431"/>
                <a:gd name="connsiteX43" fmla="*/ 642938 w 771525"/>
                <a:gd name="connsiteY43" fmla="*/ 4762 h 1164431"/>
                <a:gd name="connsiteX44" fmla="*/ 609600 w 771525"/>
                <a:gd name="connsiteY44" fmla="*/ 0 h 1164431"/>
                <a:gd name="connsiteX45" fmla="*/ 583407 w 771525"/>
                <a:gd name="connsiteY45" fmla="*/ 23812 h 1164431"/>
                <a:gd name="connsiteX46" fmla="*/ 564357 w 771525"/>
                <a:gd name="connsiteY46" fmla="*/ 19050 h 1164431"/>
                <a:gd name="connsiteX47" fmla="*/ 554832 w 771525"/>
                <a:gd name="connsiteY47" fmla="*/ 42862 h 1164431"/>
                <a:gd name="connsiteX48" fmla="*/ 509588 w 771525"/>
                <a:gd name="connsiteY48" fmla="*/ 76200 h 1164431"/>
                <a:gd name="connsiteX49" fmla="*/ 407194 w 771525"/>
                <a:gd name="connsiteY49" fmla="*/ 114300 h 1164431"/>
                <a:gd name="connsiteX50" fmla="*/ 381000 w 771525"/>
                <a:gd name="connsiteY50" fmla="*/ 152400 h 1164431"/>
                <a:gd name="connsiteX51" fmla="*/ 340519 w 771525"/>
                <a:gd name="connsiteY51" fmla="*/ 140494 h 1164431"/>
                <a:gd name="connsiteX52" fmla="*/ 245269 w 771525"/>
                <a:gd name="connsiteY52" fmla="*/ 145256 h 1164431"/>
                <a:gd name="connsiteX53" fmla="*/ 250032 w 771525"/>
                <a:gd name="connsiteY53" fmla="*/ 154781 h 1164431"/>
                <a:gd name="connsiteX54" fmla="*/ 309563 w 771525"/>
                <a:gd name="connsiteY54" fmla="*/ 204787 h 1164431"/>
                <a:gd name="connsiteX55" fmla="*/ 211932 w 771525"/>
                <a:gd name="connsiteY55" fmla="*/ 328612 h 1164431"/>
                <a:gd name="connsiteX56" fmla="*/ 173832 w 771525"/>
                <a:gd name="connsiteY56" fmla="*/ 319087 h 1164431"/>
                <a:gd name="connsiteX57" fmla="*/ 80963 w 771525"/>
                <a:gd name="connsiteY57" fmla="*/ 452437 h 1164431"/>
                <a:gd name="connsiteX58" fmla="*/ 97632 w 771525"/>
                <a:gd name="connsiteY58" fmla="*/ 464344 h 1164431"/>
                <a:gd name="connsiteX59" fmla="*/ 114300 w 771525"/>
                <a:gd name="connsiteY59" fmla="*/ 504825 h 1164431"/>
                <a:gd name="connsiteX60" fmla="*/ 92869 w 771525"/>
                <a:gd name="connsiteY60" fmla="*/ 566737 h 1164431"/>
                <a:gd name="connsiteX61" fmla="*/ 102394 w 771525"/>
                <a:gd name="connsiteY61" fmla="*/ 640556 h 1164431"/>
                <a:gd name="connsiteX62" fmla="*/ 73819 w 771525"/>
                <a:gd name="connsiteY62" fmla="*/ 678656 h 1164431"/>
                <a:gd name="connsiteX63" fmla="*/ 73819 w 771525"/>
                <a:gd name="connsiteY63" fmla="*/ 704850 h 1164431"/>
                <a:gd name="connsiteX64" fmla="*/ 61913 w 771525"/>
                <a:gd name="connsiteY64" fmla="*/ 733425 h 1164431"/>
                <a:gd name="connsiteX65" fmla="*/ 88107 w 771525"/>
                <a:gd name="connsiteY65" fmla="*/ 762000 h 1164431"/>
                <a:gd name="connsiteX66" fmla="*/ 135732 w 771525"/>
                <a:gd name="connsiteY66" fmla="*/ 850106 h 1164431"/>
                <a:gd name="connsiteX67" fmla="*/ 69057 w 771525"/>
                <a:gd name="connsiteY67" fmla="*/ 876300 h 1164431"/>
                <a:gd name="connsiteX68" fmla="*/ 45244 w 771525"/>
                <a:gd name="connsiteY68" fmla="*/ 928687 h 1164431"/>
                <a:gd name="connsiteX69" fmla="*/ 33338 w 771525"/>
                <a:gd name="connsiteY69" fmla="*/ 983456 h 1164431"/>
                <a:gd name="connsiteX70" fmla="*/ 2382 w 771525"/>
                <a:gd name="connsiteY70" fmla="*/ 973931 h 1164431"/>
                <a:gd name="connsiteX71" fmla="*/ 0 w 771525"/>
                <a:gd name="connsiteY71" fmla="*/ 1021556 h 1164431"/>
                <a:gd name="connsiteX72" fmla="*/ 16669 w 771525"/>
                <a:gd name="connsiteY72" fmla="*/ 1031081 h 1164431"/>
                <a:gd name="connsiteX73" fmla="*/ 57150 w 771525"/>
                <a:gd name="connsiteY73" fmla="*/ 1040606 h 1164431"/>
                <a:gd name="connsiteX74" fmla="*/ 85725 w 771525"/>
                <a:gd name="connsiteY74" fmla="*/ 1054894 h 1164431"/>
                <a:gd name="connsiteX75" fmla="*/ 102394 w 771525"/>
                <a:gd name="connsiteY75" fmla="*/ 1109662 h 1164431"/>
                <a:gd name="connsiteX76" fmla="*/ 130969 w 771525"/>
                <a:gd name="connsiteY76" fmla="*/ 1135856 h 1164431"/>
                <a:gd name="connsiteX77" fmla="*/ 157163 w 771525"/>
                <a:gd name="connsiteY77" fmla="*/ 1164431 h 1164431"/>
                <a:gd name="connsiteX78" fmla="*/ 192882 w 771525"/>
                <a:gd name="connsiteY78" fmla="*/ 1157288 h 1164431"/>
                <a:gd name="connsiteX79" fmla="*/ 202407 w 771525"/>
                <a:gd name="connsiteY79" fmla="*/ 1131094 h 1164431"/>
                <a:gd name="connsiteX0" fmla="*/ 202407 w 771525"/>
                <a:gd name="connsiteY0" fmla="*/ 1164432 h 1197769"/>
                <a:gd name="connsiteX1" fmla="*/ 221457 w 771525"/>
                <a:gd name="connsiteY1" fmla="*/ 1097757 h 1197769"/>
                <a:gd name="connsiteX2" fmla="*/ 238125 w 771525"/>
                <a:gd name="connsiteY2" fmla="*/ 1076325 h 1197769"/>
                <a:gd name="connsiteX3" fmla="*/ 247650 w 771525"/>
                <a:gd name="connsiteY3" fmla="*/ 1045369 h 1197769"/>
                <a:gd name="connsiteX4" fmla="*/ 283369 w 771525"/>
                <a:gd name="connsiteY4" fmla="*/ 1019175 h 1197769"/>
                <a:gd name="connsiteX5" fmla="*/ 319088 w 771525"/>
                <a:gd name="connsiteY5" fmla="*/ 995363 h 1197769"/>
                <a:gd name="connsiteX6" fmla="*/ 350044 w 771525"/>
                <a:gd name="connsiteY6" fmla="*/ 962025 h 1197769"/>
                <a:gd name="connsiteX7" fmla="*/ 354807 w 771525"/>
                <a:gd name="connsiteY7" fmla="*/ 933450 h 1197769"/>
                <a:gd name="connsiteX8" fmla="*/ 321469 w 771525"/>
                <a:gd name="connsiteY8" fmla="*/ 888207 h 1197769"/>
                <a:gd name="connsiteX9" fmla="*/ 323850 w 771525"/>
                <a:gd name="connsiteY9" fmla="*/ 819150 h 1197769"/>
                <a:gd name="connsiteX10" fmla="*/ 280988 w 771525"/>
                <a:gd name="connsiteY10" fmla="*/ 769144 h 1197769"/>
                <a:gd name="connsiteX11" fmla="*/ 288132 w 771525"/>
                <a:gd name="connsiteY11" fmla="*/ 731044 h 1197769"/>
                <a:gd name="connsiteX12" fmla="*/ 316707 w 771525"/>
                <a:gd name="connsiteY12" fmla="*/ 714375 h 1197769"/>
                <a:gd name="connsiteX13" fmla="*/ 330994 w 771525"/>
                <a:gd name="connsiteY13" fmla="*/ 740569 h 1197769"/>
                <a:gd name="connsiteX14" fmla="*/ 354807 w 771525"/>
                <a:gd name="connsiteY14" fmla="*/ 759619 h 1197769"/>
                <a:gd name="connsiteX15" fmla="*/ 369094 w 771525"/>
                <a:gd name="connsiteY15" fmla="*/ 778669 h 1197769"/>
                <a:gd name="connsiteX16" fmla="*/ 378619 w 771525"/>
                <a:gd name="connsiteY16" fmla="*/ 814388 h 1197769"/>
                <a:gd name="connsiteX17" fmla="*/ 395288 w 771525"/>
                <a:gd name="connsiteY17" fmla="*/ 831057 h 1197769"/>
                <a:gd name="connsiteX18" fmla="*/ 409575 w 771525"/>
                <a:gd name="connsiteY18" fmla="*/ 826294 h 1197769"/>
                <a:gd name="connsiteX19" fmla="*/ 426244 w 771525"/>
                <a:gd name="connsiteY19" fmla="*/ 819150 h 1197769"/>
                <a:gd name="connsiteX20" fmla="*/ 423863 w 771525"/>
                <a:gd name="connsiteY20" fmla="*/ 709613 h 1197769"/>
                <a:gd name="connsiteX21" fmla="*/ 409575 w 771525"/>
                <a:gd name="connsiteY21" fmla="*/ 673894 h 1197769"/>
                <a:gd name="connsiteX22" fmla="*/ 411957 w 771525"/>
                <a:gd name="connsiteY22" fmla="*/ 647700 h 1197769"/>
                <a:gd name="connsiteX23" fmla="*/ 426244 w 771525"/>
                <a:gd name="connsiteY23" fmla="*/ 600075 h 1197769"/>
                <a:gd name="connsiteX24" fmla="*/ 473869 w 771525"/>
                <a:gd name="connsiteY24" fmla="*/ 600075 h 1197769"/>
                <a:gd name="connsiteX25" fmla="*/ 488157 w 771525"/>
                <a:gd name="connsiteY25" fmla="*/ 585788 h 1197769"/>
                <a:gd name="connsiteX26" fmla="*/ 509588 w 771525"/>
                <a:gd name="connsiteY26" fmla="*/ 535782 h 1197769"/>
                <a:gd name="connsiteX27" fmla="*/ 604838 w 771525"/>
                <a:gd name="connsiteY27" fmla="*/ 490538 h 1197769"/>
                <a:gd name="connsiteX28" fmla="*/ 628650 w 771525"/>
                <a:gd name="connsiteY28" fmla="*/ 481013 h 1197769"/>
                <a:gd name="connsiteX29" fmla="*/ 638175 w 771525"/>
                <a:gd name="connsiteY29" fmla="*/ 435769 h 1197769"/>
                <a:gd name="connsiteX30" fmla="*/ 638175 w 771525"/>
                <a:gd name="connsiteY30" fmla="*/ 395288 h 1197769"/>
                <a:gd name="connsiteX31" fmla="*/ 640557 w 771525"/>
                <a:gd name="connsiteY31" fmla="*/ 373857 h 1197769"/>
                <a:gd name="connsiteX32" fmla="*/ 652463 w 771525"/>
                <a:gd name="connsiteY32" fmla="*/ 366713 h 1197769"/>
                <a:gd name="connsiteX33" fmla="*/ 742950 w 771525"/>
                <a:gd name="connsiteY33" fmla="*/ 330994 h 1197769"/>
                <a:gd name="connsiteX34" fmla="*/ 766763 w 771525"/>
                <a:gd name="connsiteY34" fmla="*/ 314325 h 1197769"/>
                <a:gd name="connsiteX35" fmla="*/ 754857 w 771525"/>
                <a:gd name="connsiteY35" fmla="*/ 285750 h 1197769"/>
                <a:gd name="connsiteX36" fmla="*/ 742950 w 771525"/>
                <a:gd name="connsiteY36" fmla="*/ 254794 h 1197769"/>
                <a:gd name="connsiteX37" fmla="*/ 771525 w 771525"/>
                <a:gd name="connsiteY37" fmla="*/ 226219 h 1197769"/>
                <a:gd name="connsiteX38" fmla="*/ 752475 w 771525"/>
                <a:gd name="connsiteY38" fmla="*/ 195263 h 1197769"/>
                <a:gd name="connsiteX39" fmla="*/ 752475 w 771525"/>
                <a:gd name="connsiteY39" fmla="*/ 152400 h 1197769"/>
                <a:gd name="connsiteX40" fmla="*/ 719138 w 771525"/>
                <a:gd name="connsiteY40" fmla="*/ 119063 h 1197769"/>
                <a:gd name="connsiteX41" fmla="*/ 671513 w 771525"/>
                <a:gd name="connsiteY41" fmla="*/ 85725 h 1197769"/>
                <a:gd name="connsiteX42" fmla="*/ 645319 w 771525"/>
                <a:gd name="connsiteY42" fmla="*/ 69057 h 1197769"/>
                <a:gd name="connsiteX43" fmla="*/ 642938 w 771525"/>
                <a:gd name="connsiteY43" fmla="*/ 0 h 1197769"/>
                <a:gd name="connsiteX44" fmla="*/ 609600 w 771525"/>
                <a:gd name="connsiteY44" fmla="*/ 33338 h 1197769"/>
                <a:gd name="connsiteX45" fmla="*/ 583407 w 771525"/>
                <a:gd name="connsiteY45" fmla="*/ 57150 h 1197769"/>
                <a:gd name="connsiteX46" fmla="*/ 564357 w 771525"/>
                <a:gd name="connsiteY46" fmla="*/ 52388 h 1197769"/>
                <a:gd name="connsiteX47" fmla="*/ 554832 w 771525"/>
                <a:gd name="connsiteY47" fmla="*/ 76200 h 1197769"/>
                <a:gd name="connsiteX48" fmla="*/ 509588 w 771525"/>
                <a:gd name="connsiteY48" fmla="*/ 109538 h 1197769"/>
                <a:gd name="connsiteX49" fmla="*/ 407194 w 771525"/>
                <a:gd name="connsiteY49" fmla="*/ 147638 h 1197769"/>
                <a:gd name="connsiteX50" fmla="*/ 381000 w 771525"/>
                <a:gd name="connsiteY50" fmla="*/ 185738 h 1197769"/>
                <a:gd name="connsiteX51" fmla="*/ 340519 w 771525"/>
                <a:gd name="connsiteY51" fmla="*/ 173832 h 1197769"/>
                <a:gd name="connsiteX52" fmla="*/ 245269 w 771525"/>
                <a:gd name="connsiteY52" fmla="*/ 178594 h 1197769"/>
                <a:gd name="connsiteX53" fmla="*/ 250032 w 771525"/>
                <a:gd name="connsiteY53" fmla="*/ 188119 h 1197769"/>
                <a:gd name="connsiteX54" fmla="*/ 309563 w 771525"/>
                <a:gd name="connsiteY54" fmla="*/ 238125 h 1197769"/>
                <a:gd name="connsiteX55" fmla="*/ 211932 w 771525"/>
                <a:gd name="connsiteY55" fmla="*/ 361950 h 1197769"/>
                <a:gd name="connsiteX56" fmla="*/ 173832 w 771525"/>
                <a:gd name="connsiteY56" fmla="*/ 352425 h 1197769"/>
                <a:gd name="connsiteX57" fmla="*/ 80963 w 771525"/>
                <a:gd name="connsiteY57" fmla="*/ 485775 h 1197769"/>
                <a:gd name="connsiteX58" fmla="*/ 97632 w 771525"/>
                <a:gd name="connsiteY58" fmla="*/ 497682 h 1197769"/>
                <a:gd name="connsiteX59" fmla="*/ 114300 w 771525"/>
                <a:gd name="connsiteY59" fmla="*/ 538163 h 1197769"/>
                <a:gd name="connsiteX60" fmla="*/ 92869 w 771525"/>
                <a:gd name="connsiteY60" fmla="*/ 600075 h 1197769"/>
                <a:gd name="connsiteX61" fmla="*/ 102394 w 771525"/>
                <a:gd name="connsiteY61" fmla="*/ 673894 h 1197769"/>
                <a:gd name="connsiteX62" fmla="*/ 73819 w 771525"/>
                <a:gd name="connsiteY62" fmla="*/ 711994 h 1197769"/>
                <a:gd name="connsiteX63" fmla="*/ 73819 w 771525"/>
                <a:gd name="connsiteY63" fmla="*/ 738188 h 1197769"/>
                <a:gd name="connsiteX64" fmla="*/ 61913 w 771525"/>
                <a:gd name="connsiteY64" fmla="*/ 766763 h 1197769"/>
                <a:gd name="connsiteX65" fmla="*/ 88107 w 771525"/>
                <a:gd name="connsiteY65" fmla="*/ 795338 h 1197769"/>
                <a:gd name="connsiteX66" fmla="*/ 135732 w 771525"/>
                <a:gd name="connsiteY66" fmla="*/ 883444 h 1197769"/>
                <a:gd name="connsiteX67" fmla="*/ 69057 w 771525"/>
                <a:gd name="connsiteY67" fmla="*/ 909638 h 1197769"/>
                <a:gd name="connsiteX68" fmla="*/ 45244 w 771525"/>
                <a:gd name="connsiteY68" fmla="*/ 962025 h 1197769"/>
                <a:gd name="connsiteX69" fmla="*/ 33338 w 771525"/>
                <a:gd name="connsiteY69" fmla="*/ 1016794 h 1197769"/>
                <a:gd name="connsiteX70" fmla="*/ 2382 w 771525"/>
                <a:gd name="connsiteY70" fmla="*/ 1007269 h 1197769"/>
                <a:gd name="connsiteX71" fmla="*/ 0 w 771525"/>
                <a:gd name="connsiteY71" fmla="*/ 1054894 h 1197769"/>
                <a:gd name="connsiteX72" fmla="*/ 16669 w 771525"/>
                <a:gd name="connsiteY72" fmla="*/ 1064419 h 1197769"/>
                <a:gd name="connsiteX73" fmla="*/ 57150 w 771525"/>
                <a:gd name="connsiteY73" fmla="*/ 1073944 h 1197769"/>
                <a:gd name="connsiteX74" fmla="*/ 85725 w 771525"/>
                <a:gd name="connsiteY74" fmla="*/ 1088232 h 1197769"/>
                <a:gd name="connsiteX75" fmla="*/ 102394 w 771525"/>
                <a:gd name="connsiteY75" fmla="*/ 1143000 h 1197769"/>
                <a:gd name="connsiteX76" fmla="*/ 130969 w 771525"/>
                <a:gd name="connsiteY76" fmla="*/ 1169194 h 1197769"/>
                <a:gd name="connsiteX77" fmla="*/ 157163 w 771525"/>
                <a:gd name="connsiteY77" fmla="*/ 1197769 h 1197769"/>
                <a:gd name="connsiteX78" fmla="*/ 192882 w 771525"/>
                <a:gd name="connsiteY78" fmla="*/ 1190626 h 1197769"/>
                <a:gd name="connsiteX79" fmla="*/ 202407 w 771525"/>
                <a:gd name="connsiteY79" fmla="*/ 1164432 h 1197769"/>
                <a:gd name="connsiteX0" fmla="*/ 202407 w 771525"/>
                <a:gd name="connsiteY0" fmla="*/ 1164432 h 1197769"/>
                <a:gd name="connsiteX1" fmla="*/ 221457 w 771525"/>
                <a:gd name="connsiteY1" fmla="*/ 1097757 h 1197769"/>
                <a:gd name="connsiteX2" fmla="*/ 238125 w 771525"/>
                <a:gd name="connsiteY2" fmla="*/ 1076325 h 1197769"/>
                <a:gd name="connsiteX3" fmla="*/ 247650 w 771525"/>
                <a:gd name="connsiteY3" fmla="*/ 1045369 h 1197769"/>
                <a:gd name="connsiteX4" fmla="*/ 283369 w 771525"/>
                <a:gd name="connsiteY4" fmla="*/ 1019175 h 1197769"/>
                <a:gd name="connsiteX5" fmla="*/ 319088 w 771525"/>
                <a:gd name="connsiteY5" fmla="*/ 995363 h 1197769"/>
                <a:gd name="connsiteX6" fmla="*/ 350044 w 771525"/>
                <a:gd name="connsiteY6" fmla="*/ 962025 h 1197769"/>
                <a:gd name="connsiteX7" fmla="*/ 354807 w 771525"/>
                <a:gd name="connsiteY7" fmla="*/ 933450 h 1197769"/>
                <a:gd name="connsiteX8" fmla="*/ 321469 w 771525"/>
                <a:gd name="connsiteY8" fmla="*/ 888207 h 1197769"/>
                <a:gd name="connsiteX9" fmla="*/ 323850 w 771525"/>
                <a:gd name="connsiteY9" fmla="*/ 819150 h 1197769"/>
                <a:gd name="connsiteX10" fmla="*/ 280988 w 771525"/>
                <a:gd name="connsiteY10" fmla="*/ 769144 h 1197769"/>
                <a:gd name="connsiteX11" fmla="*/ 288132 w 771525"/>
                <a:gd name="connsiteY11" fmla="*/ 731044 h 1197769"/>
                <a:gd name="connsiteX12" fmla="*/ 316707 w 771525"/>
                <a:gd name="connsiteY12" fmla="*/ 714375 h 1197769"/>
                <a:gd name="connsiteX13" fmla="*/ 330994 w 771525"/>
                <a:gd name="connsiteY13" fmla="*/ 740569 h 1197769"/>
                <a:gd name="connsiteX14" fmla="*/ 354807 w 771525"/>
                <a:gd name="connsiteY14" fmla="*/ 759619 h 1197769"/>
                <a:gd name="connsiteX15" fmla="*/ 369094 w 771525"/>
                <a:gd name="connsiteY15" fmla="*/ 778669 h 1197769"/>
                <a:gd name="connsiteX16" fmla="*/ 378619 w 771525"/>
                <a:gd name="connsiteY16" fmla="*/ 814388 h 1197769"/>
                <a:gd name="connsiteX17" fmla="*/ 395288 w 771525"/>
                <a:gd name="connsiteY17" fmla="*/ 831057 h 1197769"/>
                <a:gd name="connsiteX18" fmla="*/ 409575 w 771525"/>
                <a:gd name="connsiteY18" fmla="*/ 826294 h 1197769"/>
                <a:gd name="connsiteX19" fmla="*/ 426244 w 771525"/>
                <a:gd name="connsiteY19" fmla="*/ 819150 h 1197769"/>
                <a:gd name="connsiteX20" fmla="*/ 423863 w 771525"/>
                <a:gd name="connsiteY20" fmla="*/ 709613 h 1197769"/>
                <a:gd name="connsiteX21" fmla="*/ 409575 w 771525"/>
                <a:gd name="connsiteY21" fmla="*/ 673894 h 1197769"/>
                <a:gd name="connsiteX22" fmla="*/ 411957 w 771525"/>
                <a:gd name="connsiteY22" fmla="*/ 647700 h 1197769"/>
                <a:gd name="connsiteX23" fmla="*/ 426244 w 771525"/>
                <a:gd name="connsiteY23" fmla="*/ 600075 h 1197769"/>
                <a:gd name="connsiteX24" fmla="*/ 473869 w 771525"/>
                <a:gd name="connsiteY24" fmla="*/ 600075 h 1197769"/>
                <a:gd name="connsiteX25" fmla="*/ 488157 w 771525"/>
                <a:gd name="connsiteY25" fmla="*/ 585788 h 1197769"/>
                <a:gd name="connsiteX26" fmla="*/ 509588 w 771525"/>
                <a:gd name="connsiteY26" fmla="*/ 535782 h 1197769"/>
                <a:gd name="connsiteX27" fmla="*/ 604838 w 771525"/>
                <a:gd name="connsiteY27" fmla="*/ 490538 h 1197769"/>
                <a:gd name="connsiteX28" fmla="*/ 628650 w 771525"/>
                <a:gd name="connsiteY28" fmla="*/ 481013 h 1197769"/>
                <a:gd name="connsiteX29" fmla="*/ 638175 w 771525"/>
                <a:gd name="connsiteY29" fmla="*/ 435769 h 1197769"/>
                <a:gd name="connsiteX30" fmla="*/ 638175 w 771525"/>
                <a:gd name="connsiteY30" fmla="*/ 395288 h 1197769"/>
                <a:gd name="connsiteX31" fmla="*/ 640557 w 771525"/>
                <a:gd name="connsiteY31" fmla="*/ 373857 h 1197769"/>
                <a:gd name="connsiteX32" fmla="*/ 652463 w 771525"/>
                <a:gd name="connsiteY32" fmla="*/ 366713 h 1197769"/>
                <a:gd name="connsiteX33" fmla="*/ 742950 w 771525"/>
                <a:gd name="connsiteY33" fmla="*/ 330994 h 1197769"/>
                <a:gd name="connsiteX34" fmla="*/ 766763 w 771525"/>
                <a:gd name="connsiteY34" fmla="*/ 314325 h 1197769"/>
                <a:gd name="connsiteX35" fmla="*/ 754857 w 771525"/>
                <a:gd name="connsiteY35" fmla="*/ 285750 h 1197769"/>
                <a:gd name="connsiteX36" fmla="*/ 742950 w 771525"/>
                <a:gd name="connsiteY36" fmla="*/ 254794 h 1197769"/>
                <a:gd name="connsiteX37" fmla="*/ 771525 w 771525"/>
                <a:gd name="connsiteY37" fmla="*/ 226219 h 1197769"/>
                <a:gd name="connsiteX38" fmla="*/ 752475 w 771525"/>
                <a:gd name="connsiteY38" fmla="*/ 195263 h 1197769"/>
                <a:gd name="connsiteX39" fmla="*/ 752475 w 771525"/>
                <a:gd name="connsiteY39" fmla="*/ 152400 h 1197769"/>
                <a:gd name="connsiteX40" fmla="*/ 719138 w 771525"/>
                <a:gd name="connsiteY40" fmla="*/ 119063 h 1197769"/>
                <a:gd name="connsiteX41" fmla="*/ 695325 w 771525"/>
                <a:gd name="connsiteY41" fmla="*/ 97632 h 1197769"/>
                <a:gd name="connsiteX42" fmla="*/ 671513 w 771525"/>
                <a:gd name="connsiteY42" fmla="*/ 85725 h 1197769"/>
                <a:gd name="connsiteX43" fmla="*/ 645319 w 771525"/>
                <a:gd name="connsiteY43" fmla="*/ 69057 h 1197769"/>
                <a:gd name="connsiteX44" fmla="*/ 642938 w 771525"/>
                <a:gd name="connsiteY44" fmla="*/ 0 h 1197769"/>
                <a:gd name="connsiteX45" fmla="*/ 609600 w 771525"/>
                <a:gd name="connsiteY45" fmla="*/ 33338 h 1197769"/>
                <a:gd name="connsiteX46" fmla="*/ 583407 w 771525"/>
                <a:gd name="connsiteY46" fmla="*/ 57150 h 1197769"/>
                <a:gd name="connsiteX47" fmla="*/ 564357 w 771525"/>
                <a:gd name="connsiteY47" fmla="*/ 52388 h 1197769"/>
                <a:gd name="connsiteX48" fmla="*/ 554832 w 771525"/>
                <a:gd name="connsiteY48" fmla="*/ 76200 h 1197769"/>
                <a:gd name="connsiteX49" fmla="*/ 509588 w 771525"/>
                <a:gd name="connsiteY49" fmla="*/ 109538 h 1197769"/>
                <a:gd name="connsiteX50" fmla="*/ 407194 w 771525"/>
                <a:gd name="connsiteY50" fmla="*/ 147638 h 1197769"/>
                <a:gd name="connsiteX51" fmla="*/ 381000 w 771525"/>
                <a:gd name="connsiteY51" fmla="*/ 185738 h 1197769"/>
                <a:gd name="connsiteX52" fmla="*/ 340519 w 771525"/>
                <a:gd name="connsiteY52" fmla="*/ 173832 h 1197769"/>
                <a:gd name="connsiteX53" fmla="*/ 245269 w 771525"/>
                <a:gd name="connsiteY53" fmla="*/ 178594 h 1197769"/>
                <a:gd name="connsiteX54" fmla="*/ 250032 w 771525"/>
                <a:gd name="connsiteY54" fmla="*/ 188119 h 1197769"/>
                <a:gd name="connsiteX55" fmla="*/ 309563 w 771525"/>
                <a:gd name="connsiteY55" fmla="*/ 238125 h 1197769"/>
                <a:gd name="connsiteX56" fmla="*/ 211932 w 771525"/>
                <a:gd name="connsiteY56" fmla="*/ 361950 h 1197769"/>
                <a:gd name="connsiteX57" fmla="*/ 173832 w 771525"/>
                <a:gd name="connsiteY57" fmla="*/ 352425 h 1197769"/>
                <a:gd name="connsiteX58" fmla="*/ 80963 w 771525"/>
                <a:gd name="connsiteY58" fmla="*/ 485775 h 1197769"/>
                <a:gd name="connsiteX59" fmla="*/ 97632 w 771525"/>
                <a:gd name="connsiteY59" fmla="*/ 497682 h 1197769"/>
                <a:gd name="connsiteX60" fmla="*/ 114300 w 771525"/>
                <a:gd name="connsiteY60" fmla="*/ 538163 h 1197769"/>
                <a:gd name="connsiteX61" fmla="*/ 92869 w 771525"/>
                <a:gd name="connsiteY61" fmla="*/ 600075 h 1197769"/>
                <a:gd name="connsiteX62" fmla="*/ 102394 w 771525"/>
                <a:gd name="connsiteY62" fmla="*/ 673894 h 1197769"/>
                <a:gd name="connsiteX63" fmla="*/ 73819 w 771525"/>
                <a:gd name="connsiteY63" fmla="*/ 711994 h 1197769"/>
                <a:gd name="connsiteX64" fmla="*/ 73819 w 771525"/>
                <a:gd name="connsiteY64" fmla="*/ 738188 h 1197769"/>
                <a:gd name="connsiteX65" fmla="*/ 61913 w 771525"/>
                <a:gd name="connsiteY65" fmla="*/ 766763 h 1197769"/>
                <a:gd name="connsiteX66" fmla="*/ 88107 w 771525"/>
                <a:gd name="connsiteY66" fmla="*/ 795338 h 1197769"/>
                <a:gd name="connsiteX67" fmla="*/ 135732 w 771525"/>
                <a:gd name="connsiteY67" fmla="*/ 883444 h 1197769"/>
                <a:gd name="connsiteX68" fmla="*/ 69057 w 771525"/>
                <a:gd name="connsiteY68" fmla="*/ 909638 h 1197769"/>
                <a:gd name="connsiteX69" fmla="*/ 45244 w 771525"/>
                <a:gd name="connsiteY69" fmla="*/ 962025 h 1197769"/>
                <a:gd name="connsiteX70" fmla="*/ 33338 w 771525"/>
                <a:gd name="connsiteY70" fmla="*/ 1016794 h 1197769"/>
                <a:gd name="connsiteX71" fmla="*/ 2382 w 771525"/>
                <a:gd name="connsiteY71" fmla="*/ 1007269 h 1197769"/>
                <a:gd name="connsiteX72" fmla="*/ 0 w 771525"/>
                <a:gd name="connsiteY72" fmla="*/ 1054894 h 1197769"/>
                <a:gd name="connsiteX73" fmla="*/ 16669 w 771525"/>
                <a:gd name="connsiteY73" fmla="*/ 1064419 h 1197769"/>
                <a:gd name="connsiteX74" fmla="*/ 57150 w 771525"/>
                <a:gd name="connsiteY74" fmla="*/ 1073944 h 1197769"/>
                <a:gd name="connsiteX75" fmla="*/ 85725 w 771525"/>
                <a:gd name="connsiteY75" fmla="*/ 1088232 h 1197769"/>
                <a:gd name="connsiteX76" fmla="*/ 102394 w 771525"/>
                <a:gd name="connsiteY76" fmla="*/ 1143000 h 1197769"/>
                <a:gd name="connsiteX77" fmla="*/ 130969 w 771525"/>
                <a:gd name="connsiteY77" fmla="*/ 1169194 h 1197769"/>
                <a:gd name="connsiteX78" fmla="*/ 157163 w 771525"/>
                <a:gd name="connsiteY78" fmla="*/ 1197769 h 1197769"/>
                <a:gd name="connsiteX79" fmla="*/ 192882 w 771525"/>
                <a:gd name="connsiteY79" fmla="*/ 1190626 h 1197769"/>
                <a:gd name="connsiteX80" fmla="*/ 202407 w 771525"/>
                <a:gd name="connsiteY80" fmla="*/ 1164432 h 1197769"/>
                <a:gd name="connsiteX0" fmla="*/ 202407 w 771525"/>
                <a:gd name="connsiteY0" fmla="*/ 1164432 h 1197769"/>
                <a:gd name="connsiteX1" fmla="*/ 221457 w 771525"/>
                <a:gd name="connsiteY1" fmla="*/ 1097757 h 1197769"/>
                <a:gd name="connsiteX2" fmla="*/ 238125 w 771525"/>
                <a:gd name="connsiteY2" fmla="*/ 1076325 h 1197769"/>
                <a:gd name="connsiteX3" fmla="*/ 247650 w 771525"/>
                <a:gd name="connsiteY3" fmla="*/ 1045369 h 1197769"/>
                <a:gd name="connsiteX4" fmla="*/ 283369 w 771525"/>
                <a:gd name="connsiteY4" fmla="*/ 1019175 h 1197769"/>
                <a:gd name="connsiteX5" fmla="*/ 319088 w 771525"/>
                <a:gd name="connsiteY5" fmla="*/ 995363 h 1197769"/>
                <a:gd name="connsiteX6" fmla="*/ 350044 w 771525"/>
                <a:gd name="connsiteY6" fmla="*/ 962025 h 1197769"/>
                <a:gd name="connsiteX7" fmla="*/ 354807 w 771525"/>
                <a:gd name="connsiteY7" fmla="*/ 933450 h 1197769"/>
                <a:gd name="connsiteX8" fmla="*/ 321469 w 771525"/>
                <a:gd name="connsiteY8" fmla="*/ 888207 h 1197769"/>
                <a:gd name="connsiteX9" fmla="*/ 323850 w 771525"/>
                <a:gd name="connsiteY9" fmla="*/ 819150 h 1197769"/>
                <a:gd name="connsiteX10" fmla="*/ 280988 w 771525"/>
                <a:gd name="connsiteY10" fmla="*/ 769144 h 1197769"/>
                <a:gd name="connsiteX11" fmla="*/ 288132 w 771525"/>
                <a:gd name="connsiteY11" fmla="*/ 731044 h 1197769"/>
                <a:gd name="connsiteX12" fmla="*/ 316707 w 771525"/>
                <a:gd name="connsiteY12" fmla="*/ 714375 h 1197769"/>
                <a:gd name="connsiteX13" fmla="*/ 330994 w 771525"/>
                <a:gd name="connsiteY13" fmla="*/ 740569 h 1197769"/>
                <a:gd name="connsiteX14" fmla="*/ 354807 w 771525"/>
                <a:gd name="connsiteY14" fmla="*/ 759619 h 1197769"/>
                <a:gd name="connsiteX15" fmla="*/ 369094 w 771525"/>
                <a:gd name="connsiteY15" fmla="*/ 778669 h 1197769"/>
                <a:gd name="connsiteX16" fmla="*/ 378619 w 771525"/>
                <a:gd name="connsiteY16" fmla="*/ 814388 h 1197769"/>
                <a:gd name="connsiteX17" fmla="*/ 395288 w 771525"/>
                <a:gd name="connsiteY17" fmla="*/ 831057 h 1197769"/>
                <a:gd name="connsiteX18" fmla="*/ 409575 w 771525"/>
                <a:gd name="connsiteY18" fmla="*/ 826294 h 1197769"/>
                <a:gd name="connsiteX19" fmla="*/ 426244 w 771525"/>
                <a:gd name="connsiteY19" fmla="*/ 819150 h 1197769"/>
                <a:gd name="connsiteX20" fmla="*/ 423863 w 771525"/>
                <a:gd name="connsiteY20" fmla="*/ 709613 h 1197769"/>
                <a:gd name="connsiteX21" fmla="*/ 409575 w 771525"/>
                <a:gd name="connsiteY21" fmla="*/ 673894 h 1197769"/>
                <a:gd name="connsiteX22" fmla="*/ 411957 w 771525"/>
                <a:gd name="connsiteY22" fmla="*/ 647700 h 1197769"/>
                <a:gd name="connsiteX23" fmla="*/ 426244 w 771525"/>
                <a:gd name="connsiteY23" fmla="*/ 600075 h 1197769"/>
                <a:gd name="connsiteX24" fmla="*/ 473869 w 771525"/>
                <a:gd name="connsiteY24" fmla="*/ 600075 h 1197769"/>
                <a:gd name="connsiteX25" fmla="*/ 488157 w 771525"/>
                <a:gd name="connsiteY25" fmla="*/ 585788 h 1197769"/>
                <a:gd name="connsiteX26" fmla="*/ 509588 w 771525"/>
                <a:gd name="connsiteY26" fmla="*/ 535782 h 1197769"/>
                <a:gd name="connsiteX27" fmla="*/ 604838 w 771525"/>
                <a:gd name="connsiteY27" fmla="*/ 490538 h 1197769"/>
                <a:gd name="connsiteX28" fmla="*/ 628650 w 771525"/>
                <a:gd name="connsiteY28" fmla="*/ 481013 h 1197769"/>
                <a:gd name="connsiteX29" fmla="*/ 638175 w 771525"/>
                <a:gd name="connsiteY29" fmla="*/ 435769 h 1197769"/>
                <a:gd name="connsiteX30" fmla="*/ 638175 w 771525"/>
                <a:gd name="connsiteY30" fmla="*/ 395288 h 1197769"/>
                <a:gd name="connsiteX31" fmla="*/ 640557 w 771525"/>
                <a:gd name="connsiteY31" fmla="*/ 373857 h 1197769"/>
                <a:gd name="connsiteX32" fmla="*/ 652463 w 771525"/>
                <a:gd name="connsiteY32" fmla="*/ 366713 h 1197769"/>
                <a:gd name="connsiteX33" fmla="*/ 742950 w 771525"/>
                <a:gd name="connsiteY33" fmla="*/ 330994 h 1197769"/>
                <a:gd name="connsiteX34" fmla="*/ 766763 w 771525"/>
                <a:gd name="connsiteY34" fmla="*/ 314325 h 1197769"/>
                <a:gd name="connsiteX35" fmla="*/ 754857 w 771525"/>
                <a:gd name="connsiteY35" fmla="*/ 285750 h 1197769"/>
                <a:gd name="connsiteX36" fmla="*/ 742950 w 771525"/>
                <a:gd name="connsiteY36" fmla="*/ 254794 h 1197769"/>
                <a:gd name="connsiteX37" fmla="*/ 771525 w 771525"/>
                <a:gd name="connsiteY37" fmla="*/ 226219 h 1197769"/>
                <a:gd name="connsiteX38" fmla="*/ 752475 w 771525"/>
                <a:gd name="connsiteY38" fmla="*/ 195263 h 1197769"/>
                <a:gd name="connsiteX39" fmla="*/ 752475 w 771525"/>
                <a:gd name="connsiteY39" fmla="*/ 152400 h 1197769"/>
                <a:gd name="connsiteX40" fmla="*/ 719138 w 771525"/>
                <a:gd name="connsiteY40" fmla="*/ 119063 h 1197769"/>
                <a:gd name="connsiteX41" fmla="*/ 707231 w 771525"/>
                <a:gd name="connsiteY41" fmla="*/ 92870 h 1197769"/>
                <a:gd name="connsiteX42" fmla="*/ 671513 w 771525"/>
                <a:gd name="connsiteY42" fmla="*/ 85725 h 1197769"/>
                <a:gd name="connsiteX43" fmla="*/ 645319 w 771525"/>
                <a:gd name="connsiteY43" fmla="*/ 69057 h 1197769"/>
                <a:gd name="connsiteX44" fmla="*/ 642938 w 771525"/>
                <a:gd name="connsiteY44" fmla="*/ 0 h 1197769"/>
                <a:gd name="connsiteX45" fmla="*/ 609600 w 771525"/>
                <a:gd name="connsiteY45" fmla="*/ 33338 h 1197769"/>
                <a:gd name="connsiteX46" fmla="*/ 583407 w 771525"/>
                <a:gd name="connsiteY46" fmla="*/ 57150 h 1197769"/>
                <a:gd name="connsiteX47" fmla="*/ 564357 w 771525"/>
                <a:gd name="connsiteY47" fmla="*/ 52388 h 1197769"/>
                <a:gd name="connsiteX48" fmla="*/ 554832 w 771525"/>
                <a:gd name="connsiteY48" fmla="*/ 76200 h 1197769"/>
                <a:gd name="connsiteX49" fmla="*/ 509588 w 771525"/>
                <a:gd name="connsiteY49" fmla="*/ 109538 h 1197769"/>
                <a:gd name="connsiteX50" fmla="*/ 407194 w 771525"/>
                <a:gd name="connsiteY50" fmla="*/ 147638 h 1197769"/>
                <a:gd name="connsiteX51" fmla="*/ 381000 w 771525"/>
                <a:gd name="connsiteY51" fmla="*/ 185738 h 1197769"/>
                <a:gd name="connsiteX52" fmla="*/ 340519 w 771525"/>
                <a:gd name="connsiteY52" fmla="*/ 173832 h 1197769"/>
                <a:gd name="connsiteX53" fmla="*/ 245269 w 771525"/>
                <a:gd name="connsiteY53" fmla="*/ 178594 h 1197769"/>
                <a:gd name="connsiteX54" fmla="*/ 250032 w 771525"/>
                <a:gd name="connsiteY54" fmla="*/ 188119 h 1197769"/>
                <a:gd name="connsiteX55" fmla="*/ 309563 w 771525"/>
                <a:gd name="connsiteY55" fmla="*/ 238125 h 1197769"/>
                <a:gd name="connsiteX56" fmla="*/ 211932 w 771525"/>
                <a:gd name="connsiteY56" fmla="*/ 361950 h 1197769"/>
                <a:gd name="connsiteX57" fmla="*/ 173832 w 771525"/>
                <a:gd name="connsiteY57" fmla="*/ 352425 h 1197769"/>
                <a:gd name="connsiteX58" fmla="*/ 80963 w 771525"/>
                <a:gd name="connsiteY58" fmla="*/ 485775 h 1197769"/>
                <a:gd name="connsiteX59" fmla="*/ 97632 w 771525"/>
                <a:gd name="connsiteY59" fmla="*/ 497682 h 1197769"/>
                <a:gd name="connsiteX60" fmla="*/ 114300 w 771525"/>
                <a:gd name="connsiteY60" fmla="*/ 538163 h 1197769"/>
                <a:gd name="connsiteX61" fmla="*/ 92869 w 771525"/>
                <a:gd name="connsiteY61" fmla="*/ 600075 h 1197769"/>
                <a:gd name="connsiteX62" fmla="*/ 102394 w 771525"/>
                <a:gd name="connsiteY62" fmla="*/ 673894 h 1197769"/>
                <a:gd name="connsiteX63" fmla="*/ 73819 w 771525"/>
                <a:gd name="connsiteY63" fmla="*/ 711994 h 1197769"/>
                <a:gd name="connsiteX64" fmla="*/ 73819 w 771525"/>
                <a:gd name="connsiteY64" fmla="*/ 738188 h 1197769"/>
                <a:gd name="connsiteX65" fmla="*/ 61913 w 771525"/>
                <a:gd name="connsiteY65" fmla="*/ 766763 h 1197769"/>
                <a:gd name="connsiteX66" fmla="*/ 88107 w 771525"/>
                <a:gd name="connsiteY66" fmla="*/ 795338 h 1197769"/>
                <a:gd name="connsiteX67" fmla="*/ 135732 w 771525"/>
                <a:gd name="connsiteY67" fmla="*/ 883444 h 1197769"/>
                <a:gd name="connsiteX68" fmla="*/ 69057 w 771525"/>
                <a:gd name="connsiteY68" fmla="*/ 909638 h 1197769"/>
                <a:gd name="connsiteX69" fmla="*/ 45244 w 771525"/>
                <a:gd name="connsiteY69" fmla="*/ 962025 h 1197769"/>
                <a:gd name="connsiteX70" fmla="*/ 33338 w 771525"/>
                <a:gd name="connsiteY70" fmla="*/ 1016794 h 1197769"/>
                <a:gd name="connsiteX71" fmla="*/ 2382 w 771525"/>
                <a:gd name="connsiteY71" fmla="*/ 1007269 h 1197769"/>
                <a:gd name="connsiteX72" fmla="*/ 0 w 771525"/>
                <a:gd name="connsiteY72" fmla="*/ 1054894 h 1197769"/>
                <a:gd name="connsiteX73" fmla="*/ 16669 w 771525"/>
                <a:gd name="connsiteY73" fmla="*/ 1064419 h 1197769"/>
                <a:gd name="connsiteX74" fmla="*/ 57150 w 771525"/>
                <a:gd name="connsiteY74" fmla="*/ 1073944 h 1197769"/>
                <a:gd name="connsiteX75" fmla="*/ 85725 w 771525"/>
                <a:gd name="connsiteY75" fmla="*/ 1088232 h 1197769"/>
                <a:gd name="connsiteX76" fmla="*/ 102394 w 771525"/>
                <a:gd name="connsiteY76" fmla="*/ 1143000 h 1197769"/>
                <a:gd name="connsiteX77" fmla="*/ 130969 w 771525"/>
                <a:gd name="connsiteY77" fmla="*/ 1169194 h 1197769"/>
                <a:gd name="connsiteX78" fmla="*/ 157163 w 771525"/>
                <a:gd name="connsiteY78" fmla="*/ 1197769 h 1197769"/>
                <a:gd name="connsiteX79" fmla="*/ 192882 w 771525"/>
                <a:gd name="connsiteY79" fmla="*/ 1190626 h 1197769"/>
                <a:gd name="connsiteX80" fmla="*/ 202407 w 771525"/>
                <a:gd name="connsiteY80" fmla="*/ 1164432 h 119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71525" h="1197769">
                  <a:moveTo>
                    <a:pt x="202407" y="1164432"/>
                  </a:moveTo>
                  <a:lnTo>
                    <a:pt x="221457" y="1097757"/>
                  </a:lnTo>
                  <a:lnTo>
                    <a:pt x="238125" y="1076325"/>
                  </a:lnTo>
                  <a:lnTo>
                    <a:pt x="247650" y="1045369"/>
                  </a:lnTo>
                  <a:lnTo>
                    <a:pt x="283369" y="1019175"/>
                  </a:lnTo>
                  <a:lnTo>
                    <a:pt x="319088" y="995363"/>
                  </a:lnTo>
                  <a:lnTo>
                    <a:pt x="350044" y="962025"/>
                  </a:lnTo>
                  <a:lnTo>
                    <a:pt x="354807" y="933450"/>
                  </a:lnTo>
                  <a:lnTo>
                    <a:pt x="321469" y="888207"/>
                  </a:lnTo>
                  <a:cubicBezTo>
                    <a:pt x="322263" y="865188"/>
                    <a:pt x="323056" y="842169"/>
                    <a:pt x="323850" y="819150"/>
                  </a:cubicBezTo>
                  <a:lnTo>
                    <a:pt x="280988" y="769144"/>
                  </a:lnTo>
                  <a:lnTo>
                    <a:pt x="288132" y="731044"/>
                  </a:lnTo>
                  <a:lnTo>
                    <a:pt x="316707" y="714375"/>
                  </a:lnTo>
                  <a:lnTo>
                    <a:pt x="330994" y="740569"/>
                  </a:lnTo>
                  <a:lnTo>
                    <a:pt x="354807" y="759619"/>
                  </a:lnTo>
                  <a:lnTo>
                    <a:pt x="369094" y="778669"/>
                  </a:lnTo>
                  <a:lnTo>
                    <a:pt x="378619" y="814388"/>
                  </a:lnTo>
                  <a:lnTo>
                    <a:pt x="395288" y="831057"/>
                  </a:lnTo>
                  <a:lnTo>
                    <a:pt x="409575" y="826294"/>
                  </a:lnTo>
                  <a:lnTo>
                    <a:pt x="426244" y="819150"/>
                  </a:lnTo>
                  <a:cubicBezTo>
                    <a:pt x="425450" y="782638"/>
                    <a:pt x="424657" y="746125"/>
                    <a:pt x="423863" y="709613"/>
                  </a:cubicBezTo>
                  <a:lnTo>
                    <a:pt x="409575" y="673894"/>
                  </a:lnTo>
                  <a:lnTo>
                    <a:pt x="411957" y="647700"/>
                  </a:lnTo>
                  <a:lnTo>
                    <a:pt x="426244" y="600075"/>
                  </a:lnTo>
                  <a:lnTo>
                    <a:pt x="473869" y="600075"/>
                  </a:lnTo>
                  <a:lnTo>
                    <a:pt x="488157" y="585788"/>
                  </a:lnTo>
                  <a:lnTo>
                    <a:pt x="509588" y="535782"/>
                  </a:lnTo>
                  <a:lnTo>
                    <a:pt x="604838" y="490538"/>
                  </a:lnTo>
                  <a:lnTo>
                    <a:pt x="628650" y="481013"/>
                  </a:lnTo>
                  <a:lnTo>
                    <a:pt x="638175" y="435769"/>
                  </a:lnTo>
                  <a:lnTo>
                    <a:pt x="638175" y="395288"/>
                  </a:lnTo>
                  <a:lnTo>
                    <a:pt x="640557" y="373857"/>
                  </a:lnTo>
                  <a:lnTo>
                    <a:pt x="652463" y="366713"/>
                  </a:lnTo>
                  <a:lnTo>
                    <a:pt x="742950" y="330994"/>
                  </a:lnTo>
                  <a:lnTo>
                    <a:pt x="766763" y="314325"/>
                  </a:lnTo>
                  <a:lnTo>
                    <a:pt x="754857" y="285750"/>
                  </a:lnTo>
                  <a:lnTo>
                    <a:pt x="742950" y="254794"/>
                  </a:lnTo>
                  <a:lnTo>
                    <a:pt x="771525" y="226219"/>
                  </a:lnTo>
                  <a:lnTo>
                    <a:pt x="752475" y="195263"/>
                  </a:lnTo>
                  <a:lnTo>
                    <a:pt x="752475" y="152400"/>
                  </a:lnTo>
                  <a:lnTo>
                    <a:pt x="719138" y="119063"/>
                  </a:lnTo>
                  <a:lnTo>
                    <a:pt x="707231" y="92870"/>
                  </a:lnTo>
                  <a:lnTo>
                    <a:pt x="671513" y="85725"/>
                  </a:lnTo>
                  <a:lnTo>
                    <a:pt x="645319" y="69057"/>
                  </a:lnTo>
                  <a:cubicBezTo>
                    <a:pt x="644525" y="46038"/>
                    <a:pt x="643732" y="23019"/>
                    <a:pt x="642938" y="0"/>
                  </a:cubicBezTo>
                  <a:lnTo>
                    <a:pt x="609600" y="33338"/>
                  </a:lnTo>
                  <a:lnTo>
                    <a:pt x="583407" y="57150"/>
                  </a:lnTo>
                  <a:lnTo>
                    <a:pt x="564357" y="52388"/>
                  </a:lnTo>
                  <a:lnTo>
                    <a:pt x="554832" y="76200"/>
                  </a:lnTo>
                  <a:lnTo>
                    <a:pt x="509588" y="109538"/>
                  </a:lnTo>
                  <a:lnTo>
                    <a:pt x="407194" y="147638"/>
                  </a:lnTo>
                  <a:lnTo>
                    <a:pt x="381000" y="185738"/>
                  </a:lnTo>
                  <a:lnTo>
                    <a:pt x="340519" y="173832"/>
                  </a:lnTo>
                  <a:lnTo>
                    <a:pt x="245269" y="178594"/>
                  </a:lnTo>
                  <a:lnTo>
                    <a:pt x="250032" y="188119"/>
                  </a:lnTo>
                  <a:lnTo>
                    <a:pt x="309563" y="238125"/>
                  </a:lnTo>
                  <a:lnTo>
                    <a:pt x="211932" y="361950"/>
                  </a:lnTo>
                  <a:lnTo>
                    <a:pt x="173832" y="352425"/>
                  </a:lnTo>
                  <a:lnTo>
                    <a:pt x="80963" y="485775"/>
                  </a:lnTo>
                  <a:lnTo>
                    <a:pt x="97632" y="497682"/>
                  </a:lnTo>
                  <a:lnTo>
                    <a:pt x="114300" y="538163"/>
                  </a:lnTo>
                  <a:lnTo>
                    <a:pt x="92869" y="600075"/>
                  </a:lnTo>
                  <a:lnTo>
                    <a:pt x="102394" y="673894"/>
                  </a:lnTo>
                  <a:lnTo>
                    <a:pt x="73819" y="711994"/>
                  </a:lnTo>
                  <a:lnTo>
                    <a:pt x="73819" y="738188"/>
                  </a:lnTo>
                  <a:lnTo>
                    <a:pt x="61913" y="766763"/>
                  </a:lnTo>
                  <a:lnTo>
                    <a:pt x="88107" y="795338"/>
                  </a:lnTo>
                  <a:lnTo>
                    <a:pt x="135732" y="883444"/>
                  </a:lnTo>
                  <a:lnTo>
                    <a:pt x="69057" y="909638"/>
                  </a:lnTo>
                  <a:lnTo>
                    <a:pt x="45244" y="962025"/>
                  </a:lnTo>
                  <a:lnTo>
                    <a:pt x="33338" y="1016794"/>
                  </a:lnTo>
                  <a:lnTo>
                    <a:pt x="2382" y="1007269"/>
                  </a:lnTo>
                  <a:lnTo>
                    <a:pt x="0" y="1054894"/>
                  </a:lnTo>
                  <a:lnTo>
                    <a:pt x="16669" y="1064419"/>
                  </a:lnTo>
                  <a:lnTo>
                    <a:pt x="57150" y="1073944"/>
                  </a:lnTo>
                  <a:lnTo>
                    <a:pt x="85725" y="1088232"/>
                  </a:lnTo>
                  <a:lnTo>
                    <a:pt x="102394" y="1143000"/>
                  </a:lnTo>
                  <a:lnTo>
                    <a:pt x="130969" y="1169194"/>
                  </a:lnTo>
                  <a:lnTo>
                    <a:pt x="157163" y="1197769"/>
                  </a:lnTo>
                  <a:lnTo>
                    <a:pt x="192882" y="1190626"/>
                  </a:lnTo>
                  <a:lnTo>
                    <a:pt x="202407" y="1164432"/>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27" name="Freeform 88">
              <a:extLst>
                <a:ext uri="{FF2B5EF4-FFF2-40B4-BE49-F238E27FC236}">
                  <a16:creationId xmlns:a16="http://schemas.microsoft.com/office/drawing/2014/main" id="{3460C17E-58E6-44CB-96A2-051E14E82B8A}"/>
                </a:ext>
              </a:extLst>
            </p:cNvPr>
            <p:cNvSpPr/>
            <p:nvPr/>
          </p:nvSpPr>
          <p:spPr bwMode="auto">
            <a:xfrm>
              <a:off x="4178971" y="4032548"/>
              <a:ext cx="997234" cy="755226"/>
            </a:xfrm>
            <a:custGeom>
              <a:avLst/>
              <a:gdLst>
                <a:gd name="connsiteX0" fmla="*/ 631031 w 1114425"/>
                <a:gd name="connsiteY0" fmla="*/ 650081 h 862012"/>
                <a:gd name="connsiteX1" fmla="*/ 678656 w 1114425"/>
                <a:gd name="connsiteY1" fmla="*/ 585787 h 862012"/>
                <a:gd name="connsiteX2" fmla="*/ 702468 w 1114425"/>
                <a:gd name="connsiteY2" fmla="*/ 573881 h 862012"/>
                <a:gd name="connsiteX3" fmla="*/ 733425 w 1114425"/>
                <a:gd name="connsiteY3" fmla="*/ 573881 h 862012"/>
                <a:gd name="connsiteX4" fmla="*/ 778668 w 1114425"/>
                <a:gd name="connsiteY4" fmla="*/ 554831 h 862012"/>
                <a:gd name="connsiteX5" fmla="*/ 833437 w 1114425"/>
                <a:gd name="connsiteY5" fmla="*/ 528637 h 862012"/>
                <a:gd name="connsiteX6" fmla="*/ 883443 w 1114425"/>
                <a:gd name="connsiteY6" fmla="*/ 495300 h 862012"/>
                <a:gd name="connsiteX7" fmla="*/ 900112 w 1114425"/>
                <a:gd name="connsiteY7" fmla="*/ 490537 h 862012"/>
                <a:gd name="connsiteX8" fmla="*/ 919162 w 1114425"/>
                <a:gd name="connsiteY8" fmla="*/ 485775 h 862012"/>
                <a:gd name="connsiteX9" fmla="*/ 916781 w 1114425"/>
                <a:gd name="connsiteY9" fmla="*/ 447675 h 862012"/>
                <a:gd name="connsiteX10" fmla="*/ 954881 w 1114425"/>
                <a:gd name="connsiteY10" fmla="*/ 428625 h 862012"/>
                <a:gd name="connsiteX11" fmla="*/ 985837 w 1114425"/>
                <a:gd name="connsiteY11" fmla="*/ 407194 h 862012"/>
                <a:gd name="connsiteX12" fmla="*/ 1000125 w 1114425"/>
                <a:gd name="connsiteY12" fmla="*/ 347662 h 862012"/>
                <a:gd name="connsiteX13" fmla="*/ 981075 w 1114425"/>
                <a:gd name="connsiteY13" fmla="*/ 316706 h 862012"/>
                <a:gd name="connsiteX14" fmla="*/ 997743 w 1114425"/>
                <a:gd name="connsiteY14" fmla="*/ 271462 h 862012"/>
                <a:gd name="connsiteX15" fmla="*/ 1033462 w 1114425"/>
                <a:gd name="connsiteY15" fmla="*/ 233362 h 862012"/>
                <a:gd name="connsiteX16" fmla="*/ 1097756 w 1114425"/>
                <a:gd name="connsiteY16" fmla="*/ 209550 h 862012"/>
                <a:gd name="connsiteX17" fmla="*/ 1114425 w 1114425"/>
                <a:gd name="connsiteY17" fmla="*/ 190500 h 862012"/>
                <a:gd name="connsiteX18" fmla="*/ 1100137 w 1114425"/>
                <a:gd name="connsiteY18" fmla="*/ 161925 h 862012"/>
                <a:gd name="connsiteX19" fmla="*/ 1052512 w 1114425"/>
                <a:gd name="connsiteY19" fmla="*/ 107156 h 862012"/>
                <a:gd name="connsiteX20" fmla="*/ 1009650 w 1114425"/>
                <a:gd name="connsiteY20" fmla="*/ 73819 h 862012"/>
                <a:gd name="connsiteX21" fmla="*/ 995362 w 1114425"/>
                <a:gd name="connsiteY21" fmla="*/ 47625 h 862012"/>
                <a:gd name="connsiteX22" fmla="*/ 983456 w 1114425"/>
                <a:gd name="connsiteY22" fmla="*/ 64294 h 862012"/>
                <a:gd name="connsiteX23" fmla="*/ 966787 w 1114425"/>
                <a:gd name="connsiteY23" fmla="*/ 69056 h 862012"/>
                <a:gd name="connsiteX24" fmla="*/ 935831 w 1114425"/>
                <a:gd name="connsiteY24" fmla="*/ 59531 h 862012"/>
                <a:gd name="connsiteX25" fmla="*/ 904875 w 1114425"/>
                <a:gd name="connsiteY25" fmla="*/ 23812 h 862012"/>
                <a:gd name="connsiteX26" fmla="*/ 888206 w 1114425"/>
                <a:gd name="connsiteY26" fmla="*/ 0 h 862012"/>
                <a:gd name="connsiteX27" fmla="*/ 869156 w 1114425"/>
                <a:gd name="connsiteY27" fmla="*/ 28575 h 862012"/>
                <a:gd name="connsiteX28" fmla="*/ 871537 w 1114425"/>
                <a:gd name="connsiteY28" fmla="*/ 69056 h 862012"/>
                <a:gd name="connsiteX29" fmla="*/ 847725 w 1114425"/>
                <a:gd name="connsiteY29" fmla="*/ 100012 h 862012"/>
                <a:gd name="connsiteX30" fmla="*/ 826293 w 1114425"/>
                <a:gd name="connsiteY30" fmla="*/ 97631 h 862012"/>
                <a:gd name="connsiteX31" fmla="*/ 800100 w 1114425"/>
                <a:gd name="connsiteY31" fmla="*/ 71437 h 862012"/>
                <a:gd name="connsiteX32" fmla="*/ 783431 w 1114425"/>
                <a:gd name="connsiteY32" fmla="*/ 57150 h 862012"/>
                <a:gd name="connsiteX33" fmla="*/ 764381 w 1114425"/>
                <a:gd name="connsiteY33" fmla="*/ 61912 h 862012"/>
                <a:gd name="connsiteX34" fmla="*/ 747712 w 1114425"/>
                <a:gd name="connsiteY34" fmla="*/ 92869 h 862012"/>
                <a:gd name="connsiteX35" fmla="*/ 742950 w 1114425"/>
                <a:gd name="connsiteY35" fmla="*/ 107156 h 862012"/>
                <a:gd name="connsiteX36" fmla="*/ 714375 w 1114425"/>
                <a:gd name="connsiteY36" fmla="*/ 107156 h 862012"/>
                <a:gd name="connsiteX37" fmla="*/ 700087 w 1114425"/>
                <a:gd name="connsiteY37" fmla="*/ 95250 h 862012"/>
                <a:gd name="connsiteX38" fmla="*/ 700087 w 1114425"/>
                <a:gd name="connsiteY38" fmla="*/ 66675 h 862012"/>
                <a:gd name="connsiteX39" fmla="*/ 704850 w 1114425"/>
                <a:gd name="connsiteY39" fmla="*/ 38100 h 862012"/>
                <a:gd name="connsiteX40" fmla="*/ 692943 w 1114425"/>
                <a:gd name="connsiteY40" fmla="*/ 23812 h 862012"/>
                <a:gd name="connsiteX41" fmla="*/ 669131 w 1114425"/>
                <a:gd name="connsiteY41" fmla="*/ 26194 h 862012"/>
                <a:gd name="connsiteX42" fmla="*/ 640556 w 1114425"/>
                <a:gd name="connsiteY42" fmla="*/ 19050 h 862012"/>
                <a:gd name="connsiteX43" fmla="*/ 604837 w 1114425"/>
                <a:gd name="connsiteY43" fmla="*/ 4762 h 862012"/>
                <a:gd name="connsiteX44" fmla="*/ 569118 w 1114425"/>
                <a:gd name="connsiteY44" fmla="*/ 4762 h 862012"/>
                <a:gd name="connsiteX45" fmla="*/ 557212 w 1114425"/>
                <a:gd name="connsiteY45" fmla="*/ 11906 h 862012"/>
                <a:gd name="connsiteX46" fmla="*/ 438150 w 1114425"/>
                <a:gd name="connsiteY46" fmla="*/ 69056 h 862012"/>
                <a:gd name="connsiteX47" fmla="*/ 421481 w 1114425"/>
                <a:gd name="connsiteY47" fmla="*/ 169069 h 862012"/>
                <a:gd name="connsiteX48" fmla="*/ 304800 w 1114425"/>
                <a:gd name="connsiteY48" fmla="*/ 228600 h 862012"/>
                <a:gd name="connsiteX49" fmla="*/ 276225 w 1114425"/>
                <a:gd name="connsiteY49" fmla="*/ 290512 h 862012"/>
                <a:gd name="connsiteX50" fmla="*/ 228600 w 1114425"/>
                <a:gd name="connsiteY50" fmla="*/ 285750 h 862012"/>
                <a:gd name="connsiteX51" fmla="*/ 211931 w 1114425"/>
                <a:gd name="connsiteY51" fmla="*/ 357187 h 862012"/>
                <a:gd name="connsiteX52" fmla="*/ 207168 w 1114425"/>
                <a:gd name="connsiteY52" fmla="*/ 369094 h 862012"/>
                <a:gd name="connsiteX53" fmla="*/ 223837 w 1114425"/>
                <a:gd name="connsiteY53" fmla="*/ 404812 h 862012"/>
                <a:gd name="connsiteX54" fmla="*/ 219075 w 1114425"/>
                <a:gd name="connsiteY54" fmla="*/ 511969 h 862012"/>
                <a:gd name="connsiteX55" fmla="*/ 195262 w 1114425"/>
                <a:gd name="connsiteY55" fmla="*/ 521494 h 862012"/>
                <a:gd name="connsiteX56" fmla="*/ 180975 w 1114425"/>
                <a:gd name="connsiteY56" fmla="*/ 502444 h 862012"/>
                <a:gd name="connsiteX57" fmla="*/ 161925 w 1114425"/>
                <a:gd name="connsiteY57" fmla="*/ 457200 h 862012"/>
                <a:gd name="connsiteX58" fmla="*/ 128587 w 1114425"/>
                <a:gd name="connsiteY58" fmla="*/ 433387 h 862012"/>
                <a:gd name="connsiteX59" fmla="*/ 116681 w 1114425"/>
                <a:gd name="connsiteY59" fmla="*/ 409575 h 862012"/>
                <a:gd name="connsiteX60" fmla="*/ 83343 w 1114425"/>
                <a:gd name="connsiteY60" fmla="*/ 421481 h 862012"/>
                <a:gd name="connsiteX61" fmla="*/ 78581 w 1114425"/>
                <a:gd name="connsiteY61" fmla="*/ 466725 h 862012"/>
                <a:gd name="connsiteX62" fmla="*/ 116681 w 1114425"/>
                <a:gd name="connsiteY62" fmla="*/ 514350 h 862012"/>
                <a:gd name="connsiteX63" fmla="*/ 123825 w 1114425"/>
                <a:gd name="connsiteY63" fmla="*/ 583406 h 862012"/>
                <a:gd name="connsiteX64" fmla="*/ 152400 w 1114425"/>
                <a:gd name="connsiteY64" fmla="*/ 631031 h 862012"/>
                <a:gd name="connsiteX65" fmla="*/ 142875 w 1114425"/>
                <a:gd name="connsiteY65" fmla="*/ 657225 h 862012"/>
                <a:gd name="connsiteX66" fmla="*/ 107156 w 1114425"/>
                <a:gd name="connsiteY66" fmla="*/ 697706 h 862012"/>
                <a:gd name="connsiteX67" fmla="*/ 42862 w 1114425"/>
                <a:gd name="connsiteY67" fmla="*/ 735806 h 862012"/>
                <a:gd name="connsiteX68" fmla="*/ 35718 w 1114425"/>
                <a:gd name="connsiteY68" fmla="*/ 769144 h 862012"/>
                <a:gd name="connsiteX69" fmla="*/ 19050 w 1114425"/>
                <a:gd name="connsiteY69" fmla="*/ 795337 h 862012"/>
                <a:gd name="connsiteX70" fmla="*/ 0 w 1114425"/>
                <a:gd name="connsiteY70" fmla="*/ 859631 h 862012"/>
                <a:gd name="connsiteX71" fmla="*/ 19050 w 1114425"/>
                <a:gd name="connsiteY71" fmla="*/ 862012 h 862012"/>
                <a:gd name="connsiteX72" fmla="*/ 154781 w 1114425"/>
                <a:gd name="connsiteY72" fmla="*/ 828675 h 862012"/>
                <a:gd name="connsiteX73" fmla="*/ 171450 w 1114425"/>
                <a:gd name="connsiteY73" fmla="*/ 757237 h 862012"/>
                <a:gd name="connsiteX74" fmla="*/ 259556 w 1114425"/>
                <a:gd name="connsiteY74" fmla="*/ 800100 h 862012"/>
                <a:gd name="connsiteX75" fmla="*/ 297656 w 1114425"/>
                <a:gd name="connsiteY75" fmla="*/ 700087 h 862012"/>
                <a:gd name="connsiteX76" fmla="*/ 385762 w 1114425"/>
                <a:gd name="connsiteY76" fmla="*/ 666750 h 862012"/>
                <a:gd name="connsiteX77" fmla="*/ 435768 w 1114425"/>
                <a:gd name="connsiteY77" fmla="*/ 681037 h 862012"/>
                <a:gd name="connsiteX78" fmla="*/ 473868 w 1114425"/>
                <a:gd name="connsiteY78" fmla="*/ 702469 h 862012"/>
                <a:gd name="connsiteX79" fmla="*/ 500062 w 1114425"/>
                <a:gd name="connsiteY79" fmla="*/ 707231 h 862012"/>
                <a:gd name="connsiteX80" fmla="*/ 516731 w 1114425"/>
                <a:gd name="connsiteY80" fmla="*/ 702469 h 862012"/>
                <a:gd name="connsiteX81" fmla="*/ 545306 w 1114425"/>
                <a:gd name="connsiteY81" fmla="*/ 671512 h 862012"/>
                <a:gd name="connsiteX82" fmla="*/ 576262 w 1114425"/>
                <a:gd name="connsiteY82" fmla="*/ 671512 h 862012"/>
                <a:gd name="connsiteX83" fmla="*/ 631031 w 1114425"/>
                <a:gd name="connsiteY83" fmla="*/ 650081 h 862012"/>
                <a:gd name="connsiteX0" fmla="*/ 631031 w 1138238"/>
                <a:gd name="connsiteY0" fmla="*/ 650081 h 862012"/>
                <a:gd name="connsiteX1" fmla="*/ 678656 w 1138238"/>
                <a:gd name="connsiteY1" fmla="*/ 585787 h 862012"/>
                <a:gd name="connsiteX2" fmla="*/ 702468 w 1138238"/>
                <a:gd name="connsiteY2" fmla="*/ 573881 h 862012"/>
                <a:gd name="connsiteX3" fmla="*/ 733425 w 1138238"/>
                <a:gd name="connsiteY3" fmla="*/ 573881 h 862012"/>
                <a:gd name="connsiteX4" fmla="*/ 778668 w 1138238"/>
                <a:gd name="connsiteY4" fmla="*/ 554831 h 862012"/>
                <a:gd name="connsiteX5" fmla="*/ 833437 w 1138238"/>
                <a:gd name="connsiteY5" fmla="*/ 528637 h 862012"/>
                <a:gd name="connsiteX6" fmla="*/ 883443 w 1138238"/>
                <a:gd name="connsiteY6" fmla="*/ 495300 h 862012"/>
                <a:gd name="connsiteX7" fmla="*/ 900112 w 1138238"/>
                <a:gd name="connsiteY7" fmla="*/ 490537 h 862012"/>
                <a:gd name="connsiteX8" fmla="*/ 919162 w 1138238"/>
                <a:gd name="connsiteY8" fmla="*/ 485775 h 862012"/>
                <a:gd name="connsiteX9" fmla="*/ 916781 w 1138238"/>
                <a:gd name="connsiteY9" fmla="*/ 447675 h 862012"/>
                <a:gd name="connsiteX10" fmla="*/ 954881 w 1138238"/>
                <a:gd name="connsiteY10" fmla="*/ 428625 h 862012"/>
                <a:gd name="connsiteX11" fmla="*/ 985837 w 1138238"/>
                <a:gd name="connsiteY11" fmla="*/ 407194 h 862012"/>
                <a:gd name="connsiteX12" fmla="*/ 1000125 w 1138238"/>
                <a:gd name="connsiteY12" fmla="*/ 347662 h 862012"/>
                <a:gd name="connsiteX13" fmla="*/ 981075 w 1138238"/>
                <a:gd name="connsiteY13" fmla="*/ 316706 h 862012"/>
                <a:gd name="connsiteX14" fmla="*/ 997743 w 1138238"/>
                <a:gd name="connsiteY14" fmla="*/ 271462 h 862012"/>
                <a:gd name="connsiteX15" fmla="*/ 1033462 w 1138238"/>
                <a:gd name="connsiteY15" fmla="*/ 233362 h 862012"/>
                <a:gd name="connsiteX16" fmla="*/ 1097756 w 1138238"/>
                <a:gd name="connsiteY16" fmla="*/ 209550 h 862012"/>
                <a:gd name="connsiteX17" fmla="*/ 1138238 w 1138238"/>
                <a:gd name="connsiteY17" fmla="*/ 185737 h 862012"/>
                <a:gd name="connsiteX18" fmla="*/ 1100137 w 1138238"/>
                <a:gd name="connsiteY18" fmla="*/ 161925 h 862012"/>
                <a:gd name="connsiteX19" fmla="*/ 1052512 w 1138238"/>
                <a:gd name="connsiteY19" fmla="*/ 107156 h 862012"/>
                <a:gd name="connsiteX20" fmla="*/ 1009650 w 1138238"/>
                <a:gd name="connsiteY20" fmla="*/ 73819 h 862012"/>
                <a:gd name="connsiteX21" fmla="*/ 995362 w 1138238"/>
                <a:gd name="connsiteY21" fmla="*/ 47625 h 862012"/>
                <a:gd name="connsiteX22" fmla="*/ 983456 w 1138238"/>
                <a:gd name="connsiteY22" fmla="*/ 64294 h 862012"/>
                <a:gd name="connsiteX23" fmla="*/ 966787 w 1138238"/>
                <a:gd name="connsiteY23" fmla="*/ 69056 h 862012"/>
                <a:gd name="connsiteX24" fmla="*/ 935831 w 1138238"/>
                <a:gd name="connsiteY24" fmla="*/ 59531 h 862012"/>
                <a:gd name="connsiteX25" fmla="*/ 904875 w 1138238"/>
                <a:gd name="connsiteY25" fmla="*/ 23812 h 862012"/>
                <a:gd name="connsiteX26" fmla="*/ 888206 w 1138238"/>
                <a:gd name="connsiteY26" fmla="*/ 0 h 862012"/>
                <a:gd name="connsiteX27" fmla="*/ 869156 w 1138238"/>
                <a:gd name="connsiteY27" fmla="*/ 28575 h 862012"/>
                <a:gd name="connsiteX28" fmla="*/ 871537 w 1138238"/>
                <a:gd name="connsiteY28" fmla="*/ 69056 h 862012"/>
                <a:gd name="connsiteX29" fmla="*/ 847725 w 1138238"/>
                <a:gd name="connsiteY29" fmla="*/ 100012 h 862012"/>
                <a:gd name="connsiteX30" fmla="*/ 826293 w 1138238"/>
                <a:gd name="connsiteY30" fmla="*/ 97631 h 862012"/>
                <a:gd name="connsiteX31" fmla="*/ 800100 w 1138238"/>
                <a:gd name="connsiteY31" fmla="*/ 71437 h 862012"/>
                <a:gd name="connsiteX32" fmla="*/ 783431 w 1138238"/>
                <a:gd name="connsiteY32" fmla="*/ 57150 h 862012"/>
                <a:gd name="connsiteX33" fmla="*/ 764381 w 1138238"/>
                <a:gd name="connsiteY33" fmla="*/ 61912 h 862012"/>
                <a:gd name="connsiteX34" fmla="*/ 747712 w 1138238"/>
                <a:gd name="connsiteY34" fmla="*/ 92869 h 862012"/>
                <a:gd name="connsiteX35" fmla="*/ 742950 w 1138238"/>
                <a:gd name="connsiteY35" fmla="*/ 107156 h 862012"/>
                <a:gd name="connsiteX36" fmla="*/ 714375 w 1138238"/>
                <a:gd name="connsiteY36" fmla="*/ 107156 h 862012"/>
                <a:gd name="connsiteX37" fmla="*/ 700087 w 1138238"/>
                <a:gd name="connsiteY37" fmla="*/ 95250 h 862012"/>
                <a:gd name="connsiteX38" fmla="*/ 700087 w 1138238"/>
                <a:gd name="connsiteY38" fmla="*/ 66675 h 862012"/>
                <a:gd name="connsiteX39" fmla="*/ 704850 w 1138238"/>
                <a:gd name="connsiteY39" fmla="*/ 38100 h 862012"/>
                <a:gd name="connsiteX40" fmla="*/ 692943 w 1138238"/>
                <a:gd name="connsiteY40" fmla="*/ 23812 h 862012"/>
                <a:gd name="connsiteX41" fmla="*/ 669131 w 1138238"/>
                <a:gd name="connsiteY41" fmla="*/ 26194 h 862012"/>
                <a:gd name="connsiteX42" fmla="*/ 640556 w 1138238"/>
                <a:gd name="connsiteY42" fmla="*/ 19050 h 862012"/>
                <a:gd name="connsiteX43" fmla="*/ 604837 w 1138238"/>
                <a:gd name="connsiteY43" fmla="*/ 4762 h 862012"/>
                <a:gd name="connsiteX44" fmla="*/ 569118 w 1138238"/>
                <a:gd name="connsiteY44" fmla="*/ 4762 h 862012"/>
                <a:gd name="connsiteX45" fmla="*/ 557212 w 1138238"/>
                <a:gd name="connsiteY45" fmla="*/ 11906 h 862012"/>
                <a:gd name="connsiteX46" fmla="*/ 438150 w 1138238"/>
                <a:gd name="connsiteY46" fmla="*/ 69056 h 862012"/>
                <a:gd name="connsiteX47" fmla="*/ 421481 w 1138238"/>
                <a:gd name="connsiteY47" fmla="*/ 169069 h 862012"/>
                <a:gd name="connsiteX48" fmla="*/ 304800 w 1138238"/>
                <a:gd name="connsiteY48" fmla="*/ 228600 h 862012"/>
                <a:gd name="connsiteX49" fmla="*/ 276225 w 1138238"/>
                <a:gd name="connsiteY49" fmla="*/ 290512 h 862012"/>
                <a:gd name="connsiteX50" fmla="*/ 228600 w 1138238"/>
                <a:gd name="connsiteY50" fmla="*/ 285750 h 862012"/>
                <a:gd name="connsiteX51" fmla="*/ 211931 w 1138238"/>
                <a:gd name="connsiteY51" fmla="*/ 357187 h 862012"/>
                <a:gd name="connsiteX52" fmla="*/ 207168 w 1138238"/>
                <a:gd name="connsiteY52" fmla="*/ 369094 h 862012"/>
                <a:gd name="connsiteX53" fmla="*/ 223837 w 1138238"/>
                <a:gd name="connsiteY53" fmla="*/ 404812 h 862012"/>
                <a:gd name="connsiteX54" fmla="*/ 219075 w 1138238"/>
                <a:gd name="connsiteY54" fmla="*/ 511969 h 862012"/>
                <a:gd name="connsiteX55" fmla="*/ 195262 w 1138238"/>
                <a:gd name="connsiteY55" fmla="*/ 521494 h 862012"/>
                <a:gd name="connsiteX56" fmla="*/ 180975 w 1138238"/>
                <a:gd name="connsiteY56" fmla="*/ 502444 h 862012"/>
                <a:gd name="connsiteX57" fmla="*/ 161925 w 1138238"/>
                <a:gd name="connsiteY57" fmla="*/ 457200 h 862012"/>
                <a:gd name="connsiteX58" fmla="*/ 128587 w 1138238"/>
                <a:gd name="connsiteY58" fmla="*/ 433387 h 862012"/>
                <a:gd name="connsiteX59" fmla="*/ 116681 w 1138238"/>
                <a:gd name="connsiteY59" fmla="*/ 409575 h 862012"/>
                <a:gd name="connsiteX60" fmla="*/ 83343 w 1138238"/>
                <a:gd name="connsiteY60" fmla="*/ 421481 h 862012"/>
                <a:gd name="connsiteX61" fmla="*/ 78581 w 1138238"/>
                <a:gd name="connsiteY61" fmla="*/ 466725 h 862012"/>
                <a:gd name="connsiteX62" fmla="*/ 116681 w 1138238"/>
                <a:gd name="connsiteY62" fmla="*/ 514350 h 862012"/>
                <a:gd name="connsiteX63" fmla="*/ 123825 w 1138238"/>
                <a:gd name="connsiteY63" fmla="*/ 583406 h 862012"/>
                <a:gd name="connsiteX64" fmla="*/ 152400 w 1138238"/>
                <a:gd name="connsiteY64" fmla="*/ 631031 h 862012"/>
                <a:gd name="connsiteX65" fmla="*/ 142875 w 1138238"/>
                <a:gd name="connsiteY65" fmla="*/ 657225 h 862012"/>
                <a:gd name="connsiteX66" fmla="*/ 107156 w 1138238"/>
                <a:gd name="connsiteY66" fmla="*/ 697706 h 862012"/>
                <a:gd name="connsiteX67" fmla="*/ 42862 w 1138238"/>
                <a:gd name="connsiteY67" fmla="*/ 735806 h 862012"/>
                <a:gd name="connsiteX68" fmla="*/ 35718 w 1138238"/>
                <a:gd name="connsiteY68" fmla="*/ 769144 h 862012"/>
                <a:gd name="connsiteX69" fmla="*/ 19050 w 1138238"/>
                <a:gd name="connsiteY69" fmla="*/ 795337 h 862012"/>
                <a:gd name="connsiteX70" fmla="*/ 0 w 1138238"/>
                <a:gd name="connsiteY70" fmla="*/ 859631 h 862012"/>
                <a:gd name="connsiteX71" fmla="*/ 19050 w 1138238"/>
                <a:gd name="connsiteY71" fmla="*/ 862012 h 862012"/>
                <a:gd name="connsiteX72" fmla="*/ 154781 w 1138238"/>
                <a:gd name="connsiteY72" fmla="*/ 828675 h 862012"/>
                <a:gd name="connsiteX73" fmla="*/ 171450 w 1138238"/>
                <a:gd name="connsiteY73" fmla="*/ 757237 h 862012"/>
                <a:gd name="connsiteX74" fmla="*/ 259556 w 1138238"/>
                <a:gd name="connsiteY74" fmla="*/ 800100 h 862012"/>
                <a:gd name="connsiteX75" fmla="*/ 297656 w 1138238"/>
                <a:gd name="connsiteY75" fmla="*/ 700087 h 862012"/>
                <a:gd name="connsiteX76" fmla="*/ 385762 w 1138238"/>
                <a:gd name="connsiteY76" fmla="*/ 666750 h 862012"/>
                <a:gd name="connsiteX77" fmla="*/ 435768 w 1138238"/>
                <a:gd name="connsiteY77" fmla="*/ 681037 h 862012"/>
                <a:gd name="connsiteX78" fmla="*/ 473868 w 1138238"/>
                <a:gd name="connsiteY78" fmla="*/ 702469 h 862012"/>
                <a:gd name="connsiteX79" fmla="*/ 500062 w 1138238"/>
                <a:gd name="connsiteY79" fmla="*/ 707231 h 862012"/>
                <a:gd name="connsiteX80" fmla="*/ 516731 w 1138238"/>
                <a:gd name="connsiteY80" fmla="*/ 702469 h 862012"/>
                <a:gd name="connsiteX81" fmla="*/ 545306 w 1138238"/>
                <a:gd name="connsiteY81" fmla="*/ 671512 h 862012"/>
                <a:gd name="connsiteX82" fmla="*/ 576262 w 1138238"/>
                <a:gd name="connsiteY82" fmla="*/ 671512 h 862012"/>
                <a:gd name="connsiteX83" fmla="*/ 631031 w 1138238"/>
                <a:gd name="connsiteY83" fmla="*/ 650081 h 862012"/>
                <a:gd name="connsiteX0" fmla="*/ 631031 w 1138238"/>
                <a:gd name="connsiteY0" fmla="*/ 650081 h 862012"/>
                <a:gd name="connsiteX1" fmla="*/ 678656 w 1138238"/>
                <a:gd name="connsiteY1" fmla="*/ 585787 h 862012"/>
                <a:gd name="connsiteX2" fmla="*/ 702468 w 1138238"/>
                <a:gd name="connsiteY2" fmla="*/ 573881 h 862012"/>
                <a:gd name="connsiteX3" fmla="*/ 733425 w 1138238"/>
                <a:gd name="connsiteY3" fmla="*/ 573881 h 862012"/>
                <a:gd name="connsiteX4" fmla="*/ 778668 w 1138238"/>
                <a:gd name="connsiteY4" fmla="*/ 554831 h 862012"/>
                <a:gd name="connsiteX5" fmla="*/ 833437 w 1138238"/>
                <a:gd name="connsiteY5" fmla="*/ 528637 h 862012"/>
                <a:gd name="connsiteX6" fmla="*/ 883443 w 1138238"/>
                <a:gd name="connsiteY6" fmla="*/ 495300 h 862012"/>
                <a:gd name="connsiteX7" fmla="*/ 900112 w 1138238"/>
                <a:gd name="connsiteY7" fmla="*/ 490537 h 862012"/>
                <a:gd name="connsiteX8" fmla="*/ 919162 w 1138238"/>
                <a:gd name="connsiteY8" fmla="*/ 485775 h 862012"/>
                <a:gd name="connsiteX9" fmla="*/ 916781 w 1138238"/>
                <a:gd name="connsiteY9" fmla="*/ 447675 h 862012"/>
                <a:gd name="connsiteX10" fmla="*/ 954881 w 1138238"/>
                <a:gd name="connsiteY10" fmla="*/ 428625 h 862012"/>
                <a:gd name="connsiteX11" fmla="*/ 985837 w 1138238"/>
                <a:gd name="connsiteY11" fmla="*/ 407194 h 862012"/>
                <a:gd name="connsiteX12" fmla="*/ 1000125 w 1138238"/>
                <a:gd name="connsiteY12" fmla="*/ 347662 h 862012"/>
                <a:gd name="connsiteX13" fmla="*/ 981075 w 1138238"/>
                <a:gd name="connsiteY13" fmla="*/ 316706 h 862012"/>
                <a:gd name="connsiteX14" fmla="*/ 997743 w 1138238"/>
                <a:gd name="connsiteY14" fmla="*/ 271462 h 862012"/>
                <a:gd name="connsiteX15" fmla="*/ 1033462 w 1138238"/>
                <a:gd name="connsiteY15" fmla="*/ 233362 h 862012"/>
                <a:gd name="connsiteX16" fmla="*/ 1097756 w 1138238"/>
                <a:gd name="connsiteY16" fmla="*/ 209550 h 862012"/>
                <a:gd name="connsiteX17" fmla="*/ 1138238 w 1138238"/>
                <a:gd name="connsiteY17" fmla="*/ 185737 h 862012"/>
                <a:gd name="connsiteX18" fmla="*/ 1107281 w 1138238"/>
                <a:gd name="connsiteY18" fmla="*/ 154781 h 862012"/>
                <a:gd name="connsiteX19" fmla="*/ 1052512 w 1138238"/>
                <a:gd name="connsiteY19" fmla="*/ 107156 h 862012"/>
                <a:gd name="connsiteX20" fmla="*/ 1009650 w 1138238"/>
                <a:gd name="connsiteY20" fmla="*/ 73819 h 862012"/>
                <a:gd name="connsiteX21" fmla="*/ 995362 w 1138238"/>
                <a:gd name="connsiteY21" fmla="*/ 47625 h 862012"/>
                <a:gd name="connsiteX22" fmla="*/ 983456 w 1138238"/>
                <a:gd name="connsiteY22" fmla="*/ 64294 h 862012"/>
                <a:gd name="connsiteX23" fmla="*/ 966787 w 1138238"/>
                <a:gd name="connsiteY23" fmla="*/ 69056 h 862012"/>
                <a:gd name="connsiteX24" fmla="*/ 935831 w 1138238"/>
                <a:gd name="connsiteY24" fmla="*/ 59531 h 862012"/>
                <a:gd name="connsiteX25" fmla="*/ 904875 w 1138238"/>
                <a:gd name="connsiteY25" fmla="*/ 23812 h 862012"/>
                <a:gd name="connsiteX26" fmla="*/ 888206 w 1138238"/>
                <a:gd name="connsiteY26" fmla="*/ 0 h 862012"/>
                <a:gd name="connsiteX27" fmla="*/ 869156 w 1138238"/>
                <a:gd name="connsiteY27" fmla="*/ 28575 h 862012"/>
                <a:gd name="connsiteX28" fmla="*/ 871537 w 1138238"/>
                <a:gd name="connsiteY28" fmla="*/ 69056 h 862012"/>
                <a:gd name="connsiteX29" fmla="*/ 847725 w 1138238"/>
                <a:gd name="connsiteY29" fmla="*/ 100012 h 862012"/>
                <a:gd name="connsiteX30" fmla="*/ 826293 w 1138238"/>
                <a:gd name="connsiteY30" fmla="*/ 97631 h 862012"/>
                <a:gd name="connsiteX31" fmla="*/ 800100 w 1138238"/>
                <a:gd name="connsiteY31" fmla="*/ 71437 h 862012"/>
                <a:gd name="connsiteX32" fmla="*/ 783431 w 1138238"/>
                <a:gd name="connsiteY32" fmla="*/ 57150 h 862012"/>
                <a:gd name="connsiteX33" fmla="*/ 764381 w 1138238"/>
                <a:gd name="connsiteY33" fmla="*/ 61912 h 862012"/>
                <a:gd name="connsiteX34" fmla="*/ 747712 w 1138238"/>
                <a:gd name="connsiteY34" fmla="*/ 92869 h 862012"/>
                <a:gd name="connsiteX35" fmla="*/ 742950 w 1138238"/>
                <a:gd name="connsiteY35" fmla="*/ 107156 h 862012"/>
                <a:gd name="connsiteX36" fmla="*/ 714375 w 1138238"/>
                <a:gd name="connsiteY36" fmla="*/ 107156 h 862012"/>
                <a:gd name="connsiteX37" fmla="*/ 700087 w 1138238"/>
                <a:gd name="connsiteY37" fmla="*/ 95250 h 862012"/>
                <a:gd name="connsiteX38" fmla="*/ 700087 w 1138238"/>
                <a:gd name="connsiteY38" fmla="*/ 66675 h 862012"/>
                <a:gd name="connsiteX39" fmla="*/ 704850 w 1138238"/>
                <a:gd name="connsiteY39" fmla="*/ 38100 h 862012"/>
                <a:gd name="connsiteX40" fmla="*/ 692943 w 1138238"/>
                <a:gd name="connsiteY40" fmla="*/ 23812 h 862012"/>
                <a:gd name="connsiteX41" fmla="*/ 669131 w 1138238"/>
                <a:gd name="connsiteY41" fmla="*/ 26194 h 862012"/>
                <a:gd name="connsiteX42" fmla="*/ 640556 w 1138238"/>
                <a:gd name="connsiteY42" fmla="*/ 19050 h 862012"/>
                <a:gd name="connsiteX43" fmla="*/ 604837 w 1138238"/>
                <a:gd name="connsiteY43" fmla="*/ 4762 h 862012"/>
                <a:gd name="connsiteX44" fmla="*/ 569118 w 1138238"/>
                <a:gd name="connsiteY44" fmla="*/ 4762 h 862012"/>
                <a:gd name="connsiteX45" fmla="*/ 557212 w 1138238"/>
                <a:gd name="connsiteY45" fmla="*/ 11906 h 862012"/>
                <a:gd name="connsiteX46" fmla="*/ 438150 w 1138238"/>
                <a:gd name="connsiteY46" fmla="*/ 69056 h 862012"/>
                <a:gd name="connsiteX47" fmla="*/ 421481 w 1138238"/>
                <a:gd name="connsiteY47" fmla="*/ 169069 h 862012"/>
                <a:gd name="connsiteX48" fmla="*/ 304800 w 1138238"/>
                <a:gd name="connsiteY48" fmla="*/ 228600 h 862012"/>
                <a:gd name="connsiteX49" fmla="*/ 276225 w 1138238"/>
                <a:gd name="connsiteY49" fmla="*/ 290512 h 862012"/>
                <a:gd name="connsiteX50" fmla="*/ 228600 w 1138238"/>
                <a:gd name="connsiteY50" fmla="*/ 285750 h 862012"/>
                <a:gd name="connsiteX51" fmla="*/ 211931 w 1138238"/>
                <a:gd name="connsiteY51" fmla="*/ 357187 h 862012"/>
                <a:gd name="connsiteX52" fmla="*/ 207168 w 1138238"/>
                <a:gd name="connsiteY52" fmla="*/ 369094 h 862012"/>
                <a:gd name="connsiteX53" fmla="*/ 223837 w 1138238"/>
                <a:gd name="connsiteY53" fmla="*/ 404812 h 862012"/>
                <a:gd name="connsiteX54" fmla="*/ 219075 w 1138238"/>
                <a:gd name="connsiteY54" fmla="*/ 511969 h 862012"/>
                <a:gd name="connsiteX55" fmla="*/ 195262 w 1138238"/>
                <a:gd name="connsiteY55" fmla="*/ 521494 h 862012"/>
                <a:gd name="connsiteX56" fmla="*/ 180975 w 1138238"/>
                <a:gd name="connsiteY56" fmla="*/ 502444 h 862012"/>
                <a:gd name="connsiteX57" fmla="*/ 161925 w 1138238"/>
                <a:gd name="connsiteY57" fmla="*/ 457200 h 862012"/>
                <a:gd name="connsiteX58" fmla="*/ 128587 w 1138238"/>
                <a:gd name="connsiteY58" fmla="*/ 433387 h 862012"/>
                <a:gd name="connsiteX59" fmla="*/ 116681 w 1138238"/>
                <a:gd name="connsiteY59" fmla="*/ 409575 h 862012"/>
                <a:gd name="connsiteX60" fmla="*/ 83343 w 1138238"/>
                <a:gd name="connsiteY60" fmla="*/ 421481 h 862012"/>
                <a:gd name="connsiteX61" fmla="*/ 78581 w 1138238"/>
                <a:gd name="connsiteY61" fmla="*/ 466725 h 862012"/>
                <a:gd name="connsiteX62" fmla="*/ 116681 w 1138238"/>
                <a:gd name="connsiteY62" fmla="*/ 514350 h 862012"/>
                <a:gd name="connsiteX63" fmla="*/ 123825 w 1138238"/>
                <a:gd name="connsiteY63" fmla="*/ 583406 h 862012"/>
                <a:gd name="connsiteX64" fmla="*/ 152400 w 1138238"/>
                <a:gd name="connsiteY64" fmla="*/ 631031 h 862012"/>
                <a:gd name="connsiteX65" fmla="*/ 142875 w 1138238"/>
                <a:gd name="connsiteY65" fmla="*/ 657225 h 862012"/>
                <a:gd name="connsiteX66" fmla="*/ 107156 w 1138238"/>
                <a:gd name="connsiteY66" fmla="*/ 697706 h 862012"/>
                <a:gd name="connsiteX67" fmla="*/ 42862 w 1138238"/>
                <a:gd name="connsiteY67" fmla="*/ 735806 h 862012"/>
                <a:gd name="connsiteX68" fmla="*/ 35718 w 1138238"/>
                <a:gd name="connsiteY68" fmla="*/ 769144 h 862012"/>
                <a:gd name="connsiteX69" fmla="*/ 19050 w 1138238"/>
                <a:gd name="connsiteY69" fmla="*/ 795337 h 862012"/>
                <a:gd name="connsiteX70" fmla="*/ 0 w 1138238"/>
                <a:gd name="connsiteY70" fmla="*/ 859631 h 862012"/>
                <a:gd name="connsiteX71" fmla="*/ 19050 w 1138238"/>
                <a:gd name="connsiteY71" fmla="*/ 862012 h 862012"/>
                <a:gd name="connsiteX72" fmla="*/ 154781 w 1138238"/>
                <a:gd name="connsiteY72" fmla="*/ 828675 h 862012"/>
                <a:gd name="connsiteX73" fmla="*/ 171450 w 1138238"/>
                <a:gd name="connsiteY73" fmla="*/ 757237 h 862012"/>
                <a:gd name="connsiteX74" fmla="*/ 259556 w 1138238"/>
                <a:gd name="connsiteY74" fmla="*/ 800100 h 862012"/>
                <a:gd name="connsiteX75" fmla="*/ 297656 w 1138238"/>
                <a:gd name="connsiteY75" fmla="*/ 700087 h 862012"/>
                <a:gd name="connsiteX76" fmla="*/ 385762 w 1138238"/>
                <a:gd name="connsiteY76" fmla="*/ 666750 h 862012"/>
                <a:gd name="connsiteX77" fmla="*/ 435768 w 1138238"/>
                <a:gd name="connsiteY77" fmla="*/ 681037 h 862012"/>
                <a:gd name="connsiteX78" fmla="*/ 473868 w 1138238"/>
                <a:gd name="connsiteY78" fmla="*/ 702469 h 862012"/>
                <a:gd name="connsiteX79" fmla="*/ 500062 w 1138238"/>
                <a:gd name="connsiteY79" fmla="*/ 707231 h 862012"/>
                <a:gd name="connsiteX80" fmla="*/ 516731 w 1138238"/>
                <a:gd name="connsiteY80" fmla="*/ 702469 h 862012"/>
                <a:gd name="connsiteX81" fmla="*/ 545306 w 1138238"/>
                <a:gd name="connsiteY81" fmla="*/ 671512 h 862012"/>
                <a:gd name="connsiteX82" fmla="*/ 576262 w 1138238"/>
                <a:gd name="connsiteY82" fmla="*/ 671512 h 862012"/>
                <a:gd name="connsiteX83" fmla="*/ 631031 w 1138238"/>
                <a:gd name="connsiteY83" fmla="*/ 650081 h 862012"/>
                <a:gd name="connsiteX0" fmla="*/ 631031 w 1138238"/>
                <a:gd name="connsiteY0" fmla="*/ 650081 h 862012"/>
                <a:gd name="connsiteX1" fmla="*/ 678656 w 1138238"/>
                <a:gd name="connsiteY1" fmla="*/ 585787 h 862012"/>
                <a:gd name="connsiteX2" fmla="*/ 702468 w 1138238"/>
                <a:gd name="connsiteY2" fmla="*/ 573881 h 862012"/>
                <a:gd name="connsiteX3" fmla="*/ 733425 w 1138238"/>
                <a:gd name="connsiteY3" fmla="*/ 573881 h 862012"/>
                <a:gd name="connsiteX4" fmla="*/ 778668 w 1138238"/>
                <a:gd name="connsiteY4" fmla="*/ 554831 h 862012"/>
                <a:gd name="connsiteX5" fmla="*/ 833437 w 1138238"/>
                <a:gd name="connsiteY5" fmla="*/ 528637 h 862012"/>
                <a:gd name="connsiteX6" fmla="*/ 883443 w 1138238"/>
                <a:gd name="connsiteY6" fmla="*/ 495300 h 862012"/>
                <a:gd name="connsiteX7" fmla="*/ 900112 w 1138238"/>
                <a:gd name="connsiteY7" fmla="*/ 490537 h 862012"/>
                <a:gd name="connsiteX8" fmla="*/ 919162 w 1138238"/>
                <a:gd name="connsiteY8" fmla="*/ 485775 h 862012"/>
                <a:gd name="connsiteX9" fmla="*/ 916781 w 1138238"/>
                <a:gd name="connsiteY9" fmla="*/ 447675 h 862012"/>
                <a:gd name="connsiteX10" fmla="*/ 954881 w 1138238"/>
                <a:gd name="connsiteY10" fmla="*/ 428625 h 862012"/>
                <a:gd name="connsiteX11" fmla="*/ 985837 w 1138238"/>
                <a:gd name="connsiteY11" fmla="*/ 407194 h 862012"/>
                <a:gd name="connsiteX12" fmla="*/ 1000125 w 1138238"/>
                <a:gd name="connsiteY12" fmla="*/ 347662 h 862012"/>
                <a:gd name="connsiteX13" fmla="*/ 981075 w 1138238"/>
                <a:gd name="connsiteY13" fmla="*/ 316706 h 862012"/>
                <a:gd name="connsiteX14" fmla="*/ 997743 w 1138238"/>
                <a:gd name="connsiteY14" fmla="*/ 271462 h 862012"/>
                <a:gd name="connsiteX15" fmla="*/ 1033462 w 1138238"/>
                <a:gd name="connsiteY15" fmla="*/ 233362 h 862012"/>
                <a:gd name="connsiteX16" fmla="*/ 1097756 w 1138238"/>
                <a:gd name="connsiteY16" fmla="*/ 209550 h 862012"/>
                <a:gd name="connsiteX17" fmla="*/ 1138238 w 1138238"/>
                <a:gd name="connsiteY17" fmla="*/ 185737 h 862012"/>
                <a:gd name="connsiteX18" fmla="*/ 1107281 w 1138238"/>
                <a:gd name="connsiteY18" fmla="*/ 154781 h 862012"/>
                <a:gd name="connsiteX19" fmla="*/ 1052512 w 1138238"/>
                <a:gd name="connsiteY19" fmla="*/ 97631 h 862012"/>
                <a:gd name="connsiteX20" fmla="*/ 1009650 w 1138238"/>
                <a:gd name="connsiteY20" fmla="*/ 73819 h 862012"/>
                <a:gd name="connsiteX21" fmla="*/ 995362 w 1138238"/>
                <a:gd name="connsiteY21" fmla="*/ 47625 h 862012"/>
                <a:gd name="connsiteX22" fmla="*/ 983456 w 1138238"/>
                <a:gd name="connsiteY22" fmla="*/ 64294 h 862012"/>
                <a:gd name="connsiteX23" fmla="*/ 966787 w 1138238"/>
                <a:gd name="connsiteY23" fmla="*/ 69056 h 862012"/>
                <a:gd name="connsiteX24" fmla="*/ 935831 w 1138238"/>
                <a:gd name="connsiteY24" fmla="*/ 59531 h 862012"/>
                <a:gd name="connsiteX25" fmla="*/ 904875 w 1138238"/>
                <a:gd name="connsiteY25" fmla="*/ 23812 h 862012"/>
                <a:gd name="connsiteX26" fmla="*/ 888206 w 1138238"/>
                <a:gd name="connsiteY26" fmla="*/ 0 h 862012"/>
                <a:gd name="connsiteX27" fmla="*/ 869156 w 1138238"/>
                <a:gd name="connsiteY27" fmla="*/ 28575 h 862012"/>
                <a:gd name="connsiteX28" fmla="*/ 871537 w 1138238"/>
                <a:gd name="connsiteY28" fmla="*/ 69056 h 862012"/>
                <a:gd name="connsiteX29" fmla="*/ 847725 w 1138238"/>
                <a:gd name="connsiteY29" fmla="*/ 100012 h 862012"/>
                <a:gd name="connsiteX30" fmla="*/ 826293 w 1138238"/>
                <a:gd name="connsiteY30" fmla="*/ 97631 h 862012"/>
                <a:gd name="connsiteX31" fmla="*/ 800100 w 1138238"/>
                <a:gd name="connsiteY31" fmla="*/ 71437 h 862012"/>
                <a:gd name="connsiteX32" fmla="*/ 783431 w 1138238"/>
                <a:gd name="connsiteY32" fmla="*/ 57150 h 862012"/>
                <a:gd name="connsiteX33" fmla="*/ 764381 w 1138238"/>
                <a:gd name="connsiteY33" fmla="*/ 61912 h 862012"/>
                <a:gd name="connsiteX34" fmla="*/ 747712 w 1138238"/>
                <a:gd name="connsiteY34" fmla="*/ 92869 h 862012"/>
                <a:gd name="connsiteX35" fmla="*/ 742950 w 1138238"/>
                <a:gd name="connsiteY35" fmla="*/ 107156 h 862012"/>
                <a:gd name="connsiteX36" fmla="*/ 714375 w 1138238"/>
                <a:gd name="connsiteY36" fmla="*/ 107156 h 862012"/>
                <a:gd name="connsiteX37" fmla="*/ 700087 w 1138238"/>
                <a:gd name="connsiteY37" fmla="*/ 95250 h 862012"/>
                <a:gd name="connsiteX38" fmla="*/ 700087 w 1138238"/>
                <a:gd name="connsiteY38" fmla="*/ 66675 h 862012"/>
                <a:gd name="connsiteX39" fmla="*/ 704850 w 1138238"/>
                <a:gd name="connsiteY39" fmla="*/ 38100 h 862012"/>
                <a:gd name="connsiteX40" fmla="*/ 692943 w 1138238"/>
                <a:gd name="connsiteY40" fmla="*/ 23812 h 862012"/>
                <a:gd name="connsiteX41" fmla="*/ 669131 w 1138238"/>
                <a:gd name="connsiteY41" fmla="*/ 26194 h 862012"/>
                <a:gd name="connsiteX42" fmla="*/ 640556 w 1138238"/>
                <a:gd name="connsiteY42" fmla="*/ 19050 h 862012"/>
                <a:gd name="connsiteX43" fmla="*/ 604837 w 1138238"/>
                <a:gd name="connsiteY43" fmla="*/ 4762 h 862012"/>
                <a:gd name="connsiteX44" fmla="*/ 569118 w 1138238"/>
                <a:gd name="connsiteY44" fmla="*/ 4762 h 862012"/>
                <a:gd name="connsiteX45" fmla="*/ 557212 w 1138238"/>
                <a:gd name="connsiteY45" fmla="*/ 11906 h 862012"/>
                <a:gd name="connsiteX46" fmla="*/ 438150 w 1138238"/>
                <a:gd name="connsiteY46" fmla="*/ 69056 h 862012"/>
                <a:gd name="connsiteX47" fmla="*/ 421481 w 1138238"/>
                <a:gd name="connsiteY47" fmla="*/ 169069 h 862012"/>
                <a:gd name="connsiteX48" fmla="*/ 304800 w 1138238"/>
                <a:gd name="connsiteY48" fmla="*/ 228600 h 862012"/>
                <a:gd name="connsiteX49" fmla="*/ 276225 w 1138238"/>
                <a:gd name="connsiteY49" fmla="*/ 290512 h 862012"/>
                <a:gd name="connsiteX50" fmla="*/ 228600 w 1138238"/>
                <a:gd name="connsiteY50" fmla="*/ 285750 h 862012"/>
                <a:gd name="connsiteX51" fmla="*/ 211931 w 1138238"/>
                <a:gd name="connsiteY51" fmla="*/ 357187 h 862012"/>
                <a:gd name="connsiteX52" fmla="*/ 207168 w 1138238"/>
                <a:gd name="connsiteY52" fmla="*/ 369094 h 862012"/>
                <a:gd name="connsiteX53" fmla="*/ 223837 w 1138238"/>
                <a:gd name="connsiteY53" fmla="*/ 404812 h 862012"/>
                <a:gd name="connsiteX54" fmla="*/ 219075 w 1138238"/>
                <a:gd name="connsiteY54" fmla="*/ 511969 h 862012"/>
                <a:gd name="connsiteX55" fmla="*/ 195262 w 1138238"/>
                <a:gd name="connsiteY55" fmla="*/ 521494 h 862012"/>
                <a:gd name="connsiteX56" fmla="*/ 180975 w 1138238"/>
                <a:gd name="connsiteY56" fmla="*/ 502444 h 862012"/>
                <a:gd name="connsiteX57" fmla="*/ 161925 w 1138238"/>
                <a:gd name="connsiteY57" fmla="*/ 457200 h 862012"/>
                <a:gd name="connsiteX58" fmla="*/ 128587 w 1138238"/>
                <a:gd name="connsiteY58" fmla="*/ 433387 h 862012"/>
                <a:gd name="connsiteX59" fmla="*/ 116681 w 1138238"/>
                <a:gd name="connsiteY59" fmla="*/ 409575 h 862012"/>
                <a:gd name="connsiteX60" fmla="*/ 83343 w 1138238"/>
                <a:gd name="connsiteY60" fmla="*/ 421481 h 862012"/>
                <a:gd name="connsiteX61" fmla="*/ 78581 w 1138238"/>
                <a:gd name="connsiteY61" fmla="*/ 466725 h 862012"/>
                <a:gd name="connsiteX62" fmla="*/ 116681 w 1138238"/>
                <a:gd name="connsiteY62" fmla="*/ 514350 h 862012"/>
                <a:gd name="connsiteX63" fmla="*/ 123825 w 1138238"/>
                <a:gd name="connsiteY63" fmla="*/ 583406 h 862012"/>
                <a:gd name="connsiteX64" fmla="*/ 152400 w 1138238"/>
                <a:gd name="connsiteY64" fmla="*/ 631031 h 862012"/>
                <a:gd name="connsiteX65" fmla="*/ 142875 w 1138238"/>
                <a:gd name="connsiteY65" fmla="*/ 657225 h 862012"/>
                <a:gd name="connsiteX66" fmla="*/ 107156 w 1138238"/>
                <a:gd name="connsiteY66" fmla="*/ 697706 h 862012"/>
                <a:gd name="connsiteX67" fmla="*/ 42862 w 1138238"/>
                <a:gd name="connsiteY67" fmla="*/ 735806 h 862012"/>
                <a:gd name="connsiteX68" fmla="*/ 35718 w 1138238"/>
                <a:gd name="connsiteY68" fmla="*/ 769144 h 862012"/>
                <a:gd name="connsiteX69" fmla="*/ 19050 w 1138238"/>
                <a:gd name="connsiteY69" fmla="*/ 795337 h 862012"/>
                <a:gd name="connsiteX70" fmla="*/ 0 w 1138238"/>
                <a:gd name="connsiteY70" fmla="*/ 859631 h 862012"/>
                <a:gd name="connsiteX71" fmla="*/ 19050 w 1138238"/>
                <a:gd name="connsiteY71" fmla="*/ 862012 h 862012"/>
                <a:gd name="connsiteX72" fmla="*/ 154781 w 1138238"/>
                <a:gd name="connsiteY72" fmla="*/ 828675 h 862012"/>
                <a:gd name="connsiteX73" fmla="*/ 171450 w 1138238"/>
                <a:gd name="connsiteY73" fmla="*/ 757237 h 862012"/>
                <a:gd name="connsiteX74" fmla="*/ 259556 w 1138238"/>
                <a:gd name="connsiteY74" fmla="*/ 800100 h 862012"/>
                <a:gd name="connsiteX75" fmla="*/ 297656 w 1138238"/>
                <a:gd name="connsiteY75" fmla="*/ 700087 h 862012"/>
                <a:gd name="connsiteX76" fmla="*/ 385762 w 1138238"/>
                <a:gd name="connsiteY76" fmla="*/ 666750 h 862012"/>
                <a:gd name="connsiteX77" fmla="*/ 435768 w 1138238"/>
                <a:gd name="connsiteY77" fmla="*/ 681037 h 862012"/>
                <a:gd name="connsiteX78" fmla="*/ 473868 w 1138238"/>
                <a:gd name="connsiteY78" fmla="*/ 702469 h 862012"/>
                <a:gd name="connsiteX79" fmla="*/ 500062 w 1138238"/>
                <a:gd name="connsiteY79" fmla="*/ 707231 h 862012"/>
                <a:gd name="connsiteX80" fmla="*/ 516731 w 1138238"/>
                <a:gd name="connsiteY80" fmla="*/ 702469 h 862012"/>
                <a:gd name="connsiteX81" fmla="*/ 545306 w 1138238"/>
                <a:gd name="connsiteY81" fmla="*/ 671512 h 862012"/>
                <a:gd name="connsiteX82" fmla="*/ 576262 w 1138238"/>
                <a:gd name="connsiteY82" fmla="*/ 671512 h 862012"/>
                <a:gd name="connsiteX83" fmla="*/ 631031 w 1138238"/>
                <a:gd name="connsiteY83" fmla="*/ 650081 h 86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38238" h="862012">
                  <a:moveTo>
                    <a:pt x="631031" y="650081"/>
                  </a:moveTo>
                  <a:lnTo>
                    <a:pt x="678656" y="585787"/>
                  </a:lnTo>
                  <a:lnTo>
                    <a:pt x="702468" y="573881"/>
                  </a:lnTo>
                  <a:lnTo>
                    <a:pt x="733425" y="573881"/>
                  </a:lnTo>
                  <a:lnTo>
                    <a:pt x="778668" y="554831"/>
                  </a:lnTo>
                  <a:lnTo>
                    <a:pt x="833437" y="528637"/>
                  </a:lnTo>
                  <a:lnTo>
                    <a:pt x="883443" y="495300"/>
                  </a:lnTo>
                  <a:lnTo>
                    <a:pt x="900112" y="490537"/>
                  </a:lnTo>
                  <a:lnTo>
                    <a:pt x="919162" y="485775"/>
                  </a:lnTo>
                  <a:lnTo>
                    <a:pt x="916781" y="447675"/>
                  </a:lnTo>
                  <a:lnTo>
                    <a:pt x="954881" y="428625"/>
                  </a:lnTo>
                  <a:lnTo>
                    <a:pt x="985837" y="407194"/>
                  </a:lnTo>
                  <a:lnTo>
                    <a:pt x="1000125" y="347662"/>
                  </a:lnTo>
                  <a:lnTo>
                    <a:pt x="981075" y="316706"/>
                  </a:lnTo>
                  <a:lnTo>
                    <a:pt x="997743" y="271462"/>
                  </a:lnTo>
                  <a:lnTo>
                    <a:pt x="1033462" y="233362"/>
                  </a:lnTo>
                  <a:lnTo>
                    <a:pt x="1097756" y="209550"/>
                  </a:lnTo>
                  <a:lnTo>
                    <a:pt x="1138238" y="185737"/>
                  </a:lnTo>
                  <a:lnTo>
                    <a:pt x="1107281" y="154781"/>
                  </a:lnTo>
                  <a:lnTo>
                    <a:pt x="1052512" y="97631"/>
                  </a:lnTo>
                  <a:lnTo>
                    <a:pt x="1009650" y="73819"/>
                  </a:lnTo>
                  <a:lnTo>
                    <a:pt x="995362" y="47625"/>
                  </a:lnTo>
                  <a:lnTo>
                    <a:pt x="983456" y="64294"/>
                  </a:lnTo>
                  <a:lnTo>
                    <a:pt x="966787" y="69056"/>
                  </a:lnTo>
                  <a:lnTo>
                    <a:pt x="935831" y="59531"/>
                  </a:lnTo>
                  <a:lnTo>
                    <a:pt x="904875" y="23812"/>
                  </a:lnTo>
                  <a:lnTo>
                    <a:pt x="888206" y="0"/>
                  </a:lnTo>
                  <a:lnTo>
                    <a:pt x="869156" y="28575"/>
                  </a:lnTo>
                  <a:lnTo>
                    <a:pt x="871537" y="69056"/>
                  </a:lnTo>
                  <a:lnTo>
                    <a:pt x="847725" y="100012"/>
                  </a:lnTo>
                  <a:lnTo>
                    <a:pt x="826293" y="97631"/>
                  </a:lnTo>
                  <a:lnTo>
                    <a:pt x="800100" y="71437"/>
                  </a:lnTo>
                  <a:lnTo>
                    <a:pt x="783431" y="57150"/>
                  </a:lnTo>
                  <a:lnTo>
                    <a:pt x="764381" y="61912"/>
                  </a:lnTo>
                  <a:lnTo>
                    <a:pt x="747712" y="92869"/>
                  </a:lnTo>
                  <a:lnTo>
                    <a:pt x="742950" y="107156"/>
                  </a:lnTo>
                  <a:lnTo>
                    <a:pt x="714375" y="107156"/>
                  </a:lnTo>
                  <a:lnTo>
                    <a:pt x="700087" y="95250"/>
                  </a:lnTo>
                  <a:lnTo>
                    <a:pt x="700087" y="66675"/>
                  </a:lnTo>
                  <a:lnTo>
                    <a:pt x="704850" y="38100"/>
                  </a:lnTo>
                  <a:lnTo>
                    <a:pt x="692943" y="23812"/>
                  </a:lnTo>
                  <a:lnTo>
                    <a:pt x="669131" y="26194"/>
                  </a:lnTo>
                  <a:lnTo>
                    <a:pt x="640556" y="19050"/>
                  </a:lnTo>
                  <a:lnTo>
                    <a:pt x="604837" y="4762"/>
                  </a:lnTo>
                  <a:lnTo>
                    <a:pt x="569118" y="4762"/>
                  </a:lnTo>
                  <a:lnTo>
                    <a:pt x="557212" y="11906"/>
                  </a:lnTo>
                  <a:lnTo>
                    <a:pt x="438150" y="69056"/>
                  </a:lnTo>
                  <a:lnTo>
                    <a:pt x="421481" y="169069"/>
                  </a:lnTo>
                  <a:lnTo>
                    <a:pt x="304800" y="228600"/>
                  </a:lnTo>
                  <a:lnTo>
                    <a:pt x="276225" y="290512"/>
                  </a:lnTo>
                  <a:lnTo>
                    <a:pt x="228600" y="285750"/>
                  </a:lnTo>
                  <a:lnTo>
                    <a:pt x="211931" y="357187"/>
                  </a:lnTo>
                  <a:lnTo>
                    <a:pt x="207168" y="369094"/>
                  </a:lnTo>
                  <a:lnTo>
                    <a:pt x="223837" y="404812"/>
                  </a:lnTo>
                  <a:lnTo>
                    <a:pt x="219075" y="511969"/>
                  </a:lnTo>
                  <a:lnTo>
                    <a:pt x="195262" y="521494"/>
                  </a:lnTo>
                  <a:lnTo>
                    <a:pt x="180975" y="502444"/>
                  </a:lnTo>
                  <a:lnTo>
                    <a:pt x="161925" y="457200"/>
                  </a:lnTo>
                  <a:lnTo>
                    <a:pt x="128587" y="433387"/>
                  </a:lnTo>
                  <a:lnTo>
                    <a:pt x="116681" y="409575"/>
                  </a:lnTo>
                  <a:lnTo>
                    <a:pt x="83343" y="421481"/>
                  </a:lnTo>
                  <a:lnTo>
                    <a:pt x="78581" y="466725"/>
                  </a:lnTo>
                  <a:lnTo>
                    <a:pt x="116681" y="514350"/>
                  </a:lnTo>
                  <a:lnTo>
                    <a:pt x="123825" y="583406"/>
                  </a:lnTo>
                  <a:lnTo>
                    <a:pt x="152400" y="631031"/>
                  </a:lnTo>
                  <a:lnTo>
                    <a:pt x="142875" y="657225"/>
                  </a:lnTo>
                  <a:lnTo>
                    <a:pt x="107156" y="697706"/>
                  </a:lnTo>
                  <a:lnTo>
                    <a:pt x="42862" y="735806"/>
                  </a:lnTo>
                  <a:lnTo>
                    <a:pt x="35718" y="769144"/>
                  </a:lnTo>
                  <a:lnTo>
                    <a:pt x="19050" y="795337"/>
                  </a:lnTo>
                  <a:lnTo>
                    <a:pt x="0" y="859631"/>
                  </a:lnTo>
                  <a:lnTo>
                    <a:pt x="19050" y="862012"/>
                  </a:lnTo>
                  <a:lnTo>
                    <a:pt x="154781" y="828675"/>
                  </a:lnTo>
                  <a:lnTo>
                    <a:pt x="171450" y="757237"/>
                  </a:lnTo>
                  <a:lnTo>
                    <a:pt x="259556" y="800100"/>
                  </a:lnTo>
                  <a:lnTo>
                    <a:pt x="297656" y="700087"/>
                  </a:lnTo>
                  <a:lnTo>
                    <a:pt x="385762" y="666750"/>
                  </a:lnTo>
                  <a:lnTo>
                    <a:pt x="435768" y="681037"/>
                  </a:lnTo>
                  <a:lnTo>
                    <a:pt x="473868" y="702469"/>
                  </a:lnTo>
                  <a:lnTo>
                    <a:pt x="500062" y="707231"/>
                  </a:lnTo>
                  <a:lnTo>
                    <a:pt x="516731" y="702469"/>
                  </a:lnTo>
                  <a:lnTo>
                    <a:pt x="545306" y="671512"/>
                  </a:lnTo>
                  <a:lnTo>
                    <a:pt x="576262" y="671512"/>
                  </a:lnTo>
                  <a:lnTo>
                    <a:pt x="631031" y="650081"/>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28" name="Freeform 89">
              <a:extLst>
                <a:ext uri="{FF2B5EF4-FFF2-40B4-BE49-F238E27FC236}">
                  <a16:creationId xmlns:a16="http://schemas.microsoft.com/office/drawing/2014/main" id="{F38F54B7-AAE1-4F08-84A7-2F997744995A}"/>
                </a:ext>
              </a:extLst>
            </p:cNvPr>
            <p:cNvSpPr/>
            <p:nvPr/>
          </p:nvSpPr>
          <p:spPr bwMode="auto">
            <a:xfrm>
              <a:off x="4565625" y="3591651"/>
              <a:ext cx="643960" cy="538256"/>
            </a:xfrm>
            <a:custGeom>
              <a:avLst/>
              <a:gdLst>
                <a:gd name="connsiteX0" fmla="*/ 123825 w 735806"/>
                <a:gd name="connsiteY0" fmla="*/ 504825 h 611981"/>
                <a:gd name="connsiteX1" fmla="*/ 207169 w 735806"/>
                <a:gd name="connsiteY1" fmla="*/ 528638 h 611981"/>
                <a:gd name="connsiteX2" fmla="*/ 235744 w 735806"/>
                <a:gd name="connsiteY2" fmla="*/ 535781 h 611981"/>
                <a:gd name="connsiteX3" fmla="*/ 257175 w 735806"/>
                <a:gd name="connsiteY3" fmla="*/ 531019 h 611981"/>
                <a:gd name="connsiteX4" fmla="*/ 259556 w 735806"/>
                <a:gd name="connsiteY4" fmla="*/ 547688 h 611981"/>
                <a:gd name="connsiteX5" fmla="*/ 266700 w 735806"/>
                <a:gd name="connsiteY5" fmla="*/ 604838 h 611981"/>
                <a:gd name="connsiteX6" fmla="*/ 276225 w 735806"/>
                <a:gd name="connsiteY6" fmla="*/ 611981 h 611981"/>
                <a:gd name="connsiteX7" fmla="*/ 276225 w 735806"/>
                <a:gd name="connsiteY7" fmla="*/ 611981 h 611981"/>
                <a:gd name="connsiteX8" fmla="*/ 311944 w 735806"/>
                <a:gd name="connsiteY8" fmla="*/ 592931 h 611981"/>
                <a:gd name="connsiteX9" fmla="*/ 323850 w 735806"/>
                <a:gd name="connsiteY9" fmla="*/ 566738 h 611981"/>
                <a:gd name="connsiteX10" fmla="*/ 340519 w 735806"/>
                <a:gd name="connsiteY10" fmla="*/ 561975 h 611981"/>
                <a:gd name="connsiteX11" fmla="*/ 364331 w 735806"/>
                <a:gd name="connsiteY11" fmla="*/ 585788 h 611981"/>
                <a:gd name="connsiteX12" fmla="*/ 381000 w 735806"/>
                <a:gd name="connsiteY12" fmla="*/ 600075 h 611981"/>
                <a:gd name="connsiteX13" fmla="*/ 400050 w 735806"/>
                <a:gd name="connsiteY13" fmla="*/ 607219 h 611981"/>
                <a:gd name="connsiteX14" fmla="*/ 426244 w 735806"/>
                <a:gd name="connsiteY14" fmla="*/ 573881 h 611981"/>
                <a:gd name="connsiteX15" fmla="*/ 433387 w 735806"/>
                <a:gd name="connsiteY15" fmla="*/ 533400 h 611981"/>
                <a:gd name="connsiteX16" fmla="*/ 447675 w 735806"/>
                <a:gd name="connsiteY16" fmla="*/ 504825 h 611981"/>
                <a:gd name="connsiteX17" fmla="*/ 473869 w 735806"/>
                <a:gd name="connsiteY17" fmla="*/ 542925 h 611981"/>
                <a:gd name="connsiteX18" fmla="*/ 495300 w 735806"/>
                <a:gd name="connsiteY18" fmla="*/ 561975 h 611981"/>
                <a:gd name="connsiteX19" fmla="*/ 516731 w 735806"/>
                <a:gd name="connsiteY19" fmla="*/ 578644 h 611981"/>
                <a:gd name="connsiteX20" fmla="*/ 550069 w 735806"/>
                <a:gd name="connsiteY20" fmla="*/ 566738 h 611981"/>
                <a:gd name="connsiteX21" fmla="*/ 557212 w 735806"/>
                <a:gd name="connsiteY21" fmla="*/ 547688 h 611981"/>
                <a:gd name="connsiteX22" fmla="*/ 557212 w 735806"/>
                <a:gd name="connsiteY22" fmla="*/ 535781 h 611981"/>
                <a:gd name="connsiteX23" fmla="*/ 531019 w 735806"/>
                <a:gd name="connsiteY23" fmla="*/ 511969 h 611981"/>
                <a:gd name="connsiteX24" fmla="*/ 514350 w 735806"/>
                <a:gd name="connsiteY24" fmla="*/ 421481 h 611981"/>
                <a:gd name="connsiteX25" fmla="*/ 514350 w 735806"/>
                <a:gd name="connsiteY25" fmla="*/ 421481 h 611981"/>
                <a:gd name="connsiteX26" fmla="*/ 464344 w 735806"/>
                <a:gd name="connsiteY26" fmla="*/ 445294 h 611981"/>
                <a:gd name="connsiteX27" fmla="*/ 438150 w 735806"/>
                <a:gd name="connsiteY27" fmla="*/ 431006 h 611981"/>
                <a:gd name="connsiteX28" fmla="*/ 426244 w 735806"/>
                <a:gd name="connsiteY28" fmla="*/ 385763 h 611981"/>
                <a:gd name="connsiteX29" fmla="*/ 411956 w 735806"/>
                <a:gd name="connsiteY29" fmla="*/ 381000 h 611981"/>
                <a:gd name="connsiteX30" fmla="*/ 388144 w 735806"/>
                <a:gd name="connsiteY30" fmla="*/ 350044 h 611981"/>
                <a:gd name="connsiteX31" fmla="*/ 409575 w 735806"/>
                <a:gd name="connsiteY31" fmla="*/ 314325 h 611981"/>
                <a:gd name="connsiteX32" fmla="*/ 507206 w 735806"/>
                <a:gd name="connsiteY32" fmla="*/ 338138 h 611981"/>
                <a:gd name="connsiteX33" fmla="*/ 528637 w 735806"/>
                <a:gd name="connsiteY33" fmla="*/ 311944 h 611981"/>
                <a:gd name="connsiteX34" fmla="*/ 626269 w 735806"/>
                <a:gd name="connsiteY34" fmla="*/ 290513 h 611981"/>
                <a:gd name="connsiteX35" fmla="*/ 631031 w 735806"/>
                <a:gd name="connsiteY35" fmla="*/ 240506 h 611981"/>
                <a:gd name="connsiteX36" fmla="*/ 714375 w 735806"/>
                <a:gd name="connsiteY36" fmla="*/ 166688 h 611981"/>
                <a:gd name="connsiteX37" fmla="*/ 735806 w 735806"/>
                <a:gd name="connsiteY37" fmla="*/ 71438 h 611981"/>
                <a:gd name="connsiteX38" fmla="*/ 707231 w 735806"/>
                <a:gd name="connsiteY38" fmla="*/ 0 h 611981"/>
                <a:gd name="connsiteX39" fmla="*/ 614362 w 735806"/>
                <a:gd name="connsiteY39" fmla="*/ 47625 h 611981"/>
                <a:gd name="connsiteX40" fmla="*/ 614362 w 735806"/>
                <a:gd name="connsiteY40" fmla="*/ 66675 h 611981"/>
                <a:gd name="connsiteX41" fmla="*/ 597694 w 735806"/>
                <a:gd name="connsiteY41" fmla="*/ 135731 h 611981"/>
                <a:gd name="connsiteX42" fmla="*/ 566737 w 735806"/>
                <a:gd name="connsiteY42" fmla="*/ 130969 h 611981"/>
                <a:gd name="connsiteX43" fmla="*/ 514350 w 735806"/>
                <a:gd name="connsiteY43" fmla="*/ 164306 h 611981"/>
                <a:gd name="connsiteX44" fmla="*/ 433387 w 735806"/>
                <a:gd name="connsiteY44" fmla="*/ 123825 h 611981"/>
                <a:gd name="connsiteX45" fmla="*/ 402431 w 735806"/>
                <a:gd name="connsiteY45" fmla="*/ 128588 h 611981"/>
                <a:gd name="connsiteX46" fmla="*/ 359569 w 735806"/>
                <a:gd name="connsiteY46" fmla="*/ 154781 h 611981"/>
                <a:gd name="connsiteX47" fmla="*/ 307181 w 735806"/>
                <a:gd name="connsiteY47" fmla="*/ 154781 h 611981"/>
                <a:gd name="connsiteX48" fmla="*/ 280987 w 735806"/>
                <a:gd name="connsiteY48" fmla="*/ 188119 h 611981"/>
                <a:gd name="connsiteX49" fmla="*/ 209550 w 735806"/>
                <a:gd name="connsiteY49" fmla="*/ 171450 h 611981"/>
                <a:gd name="connsiteX50" fmla="*/ 154781 w 735806"/>
                <a:gd name="connsiteY50" fmla="*/ 197644 h 611981"/>
                <a:gd name="connsiteX51" fmla="*/ 126206 w 735806"/>
                <a:gd name="connsiteY51" fmla="*/ 176213 h 611981"/>
                <a:gd name="connsiteX52" fmla="*/ 111919 w 735806"/>
                <a:gd name="connsiteY52" fmla="*/ 176213 h 611981"/>
                <a:gd name="connsiteX53" fmla="*/ 107156 w 735806"/>
                <a:gd name="connsiteY53" fmla="*/ 164306 h 611981"/>
                <a:gd name="connsiteX54" fmla="*/ 9525 w 735806"/>
                <a:gd name="connsiteY54" fmla="*/ 159544 h 611981"/>
                <a:gd name="connsiteX55" fmla="*/ 0 w 735806"/>
                <a:gd name="connsiteY55" fmla="*/ 190500 h 611981"/>
                <a:gd name="connsiteX56" fmla="*/ 2381 w 735806"/>
                <a:gd name="connsiteY56" fmla="*/ 261938 h 611981"/>
                <a:gd name="connsiteX57" fmla="*/ 30956 w 735806"/>
                <a:gd name="connsiteY57" fmla="*/ 278606 h 611981"/>
                <a:gd name="connsiteX58" fmla="*/ 47625 w 735806"/>
                <a:gd name="connsiteY58" fmla="*/ 285750 h 611981"/>
                <a:gd name="connsiteX59" fmla="*/ 69056 w 735806"/>
                <a:gd name="connsiteY59" fmla="*/ 292894 h 611981"/>
                <a:gd name="connsiteX60" fmla="*/ 80962 w 735806"/>
                <a:gd name="connsiteY60" fmla="*/ 319088 h 611981"/>
                <a:gd name="connsiteX61" fmla="*/ 109537 w 735806"/>
                <a:gd name="connsiteY61" fmla="*/ 340519 h 611981"/>
                <a:gd name="connsiteX62" fmla="*/ 111919 w 735806"/>
                <a:gd name="connsiteY62" fmla="*/ 390525 h 611981"/>
                <a:gd name="connsiteX63" fmla="*/ 128587 w 735806"/>
                <a:gd name="connsiteY63" fmla="*/ 428625 h 611981"/>
                <a:gd name="connsiteX64" fmla="*/ 104775 w 735806"/>
                <a:gd name="connsiteY64" fmla="*/ 445294 h 611981"/>
                <a:gd name="connsiteX65" fmla="*/ 123825 w 735806"/>
                <a:gd name="connsiteY65" fmla="*/ 504825 h 611981"/>
                <a:gd name="connsiteX0" fmla="*/ 123825 w 735806"/>
                <a:gd name="connsiteY0" fmla="*/ 504825 h 614362"/>
                <a:gd name="connsiteX1" fmla="*/ 207169 w 735806"/>
                <a:gd name="connsiteY1" fmla="*/ 528638 h 614362"/>
                <a:gd name="connsiteX2" fmla="*/ 235744 w 735806"/>
                <a:gd name="connsiteY2" fmla="*/ 535781 h 614362"/>
                <a:gd name="connsiteX3" fmla="*/ 257175 w 735806"/>
                <a:gd name="connsiteY3" fmla="*/ 531019 h 614362"/>
                <a:gd name="connsiteX4" fmla="*/ 259556 w 735806"/>
                <a:gd name="connsiteY4" fmla="*/ 547688 h 614362"/>
                <a:gd name="connsiteX5" fmla="*/ 266700 w 735806"/>
                <a:gd name="connsiteY5" fmla="*/ 604838 h 614362"/>
                <a:gd name="connsiteX6" fmla="*/ 276225 w 735806"/>
                <a:gd name="connsiteY6" fmla="*/ 611981 h 614362"/>
                <a:gd name="connsiteX7" fmla="*/ 276225 w 735806"/>
                <a:gd name="connsiteY7" fmla="*/ 611981 h 614362"/>
                <a:gd name="connsiteX8" fmla="*/ 311944 w 735806"/>
                <a:gd name="connsiteY8" fmla="*/ 614362 h 614362"/>
                <a:gd name="connsiteX9" fmla="*/ 323850 w 735806"/>
                <a:gd name="connsiteY9" fmla="*/ 566738 h 614362"/>
                <a:gd name="connsiteX10" fmla="*/ 340519 w 735806"/>
                <a:gd name="connsiteY10" fmla="*/ 561975 h 614362"/>
                <a:gd name="connsiteX11" fmla="*/ 364331 w 735806"/>
                <a:gd name="connsiteY11" fmla="*/ 585788 h 614362"/>
                <a:gd name="connsiteX12" fmla="*/ 381000 w 735806"/>
                <a:gd name="connsiteY12" fmla="*/ 600075 h 614362"/>
                <a:gd name="connsiteX13" fmla="*/ 400050 w 735806"/>
                <a:gd name="connsiteY13" fmla="*/ 607219 h 614362"/>
                <a:gd name="connsiteX14" fmla="*/ 426244 w 735806"/>
                <a:gd name="connsiteY14" fmla="*/ 573881 h 614362"/>
                <a:gd name="connsiteX15" fmla="*/ 433387 w 735806"/>
                <a:gd name="connsiteY15" fmla="*/ 533400 h 614362"/>
                <a:gd name="connsiteX16" fmla="*/ 447675 w 735806"/>
                <a:gd name="connsiteY16" fmla="*/ 504825 h 614362"/>
                <a:gd name="connsiteX17" fmla="*/ 473869 w 735806"/>
                <a:gd name="connsiteY17" fmla="*/ 542925 h 614362"/>
                <a:gd name="connsiteX18" fmla="*/ 495300 w 735806"/>
                <a:gd name="connsiteY18" fmla="*/ 561975 h 614362"/>
                <a:gd name="connsiteX19" fmla="*/ 516731 w 735806"/>
                <a:gd name="connsiteY19" fmla="*/ 578644 h 614362"/>
                <a:gd name="connsiteX20" fmla="*/ 550069 w 735806"/>
                <a:gd name="connsiteY20" fmla="*/ 566738 h 614362"/>
                <a:gd name="connsiteX21" fmla="*/ 557212 w 735806"/>
                <a:gd name="connsiteY21" fmla="*/ 547688 h 614362"/>
                <a:gd name="connsiteX22" fmla="*/ 557212 w 735806"/>
                <a:gd name="connsiteY22" fmla="*/ 535781 h 614362"/>
                <a:gd name="connsiteX23" fmla="*/ 531019 w 735806"/>
                <a:gd name="connsiteY23" fmla="*/ 511969 h 614362"/>
                <a:gd name="connsiteX24" fmla="*/ 514350 w 735806"/>
                <a:gd name="connsiteY24" fmla="*/ 421481 h 614362"/>
                <a:gd name="connsiteX25" fmla="*/ 514350 w 735806"/>
                <a:gd name="connsiteY25" fmla="*/ 421481 h 614362"/>
                <a:gd name="connsiteX26" fmla="*/ 464344 w 735806"/>
                <a:gd name="connsiteY26" fmla="*/ 445294 h 614362"/>
                <a:gd name="connsiteX27" fmla="*/ 438150 w 735806"/>
                <a:gd name="connsiteY27" fmla="*/ 431006 h 614362"/>
                <a:gd name="connsiteX28" fmla="*/ 426244 w 735806"/>
                <a:gd name="connsiteY28" fmla="*/ 385763 h 614362"/>
                <a:gd name="connsiteX29" fmla="*/ 411956 w 735806"/>
                <a:gd name="connsiteY29" fmla="*/ 381000 h 614362"/>
                <a:gd name="connsiteX30" fmla="*/ 388144 w 735806"/>
                <a:gd name="connsiteY30" fmla="*/ 350044 h 614362"/>
                <a:gd name="connsiteX31" fmla="*/ 409575 w 735806"/>
                <a:gd name="connsiteY31" fmla="*/ 314325 h 614362"/>
                <a:gd name="connsiteX32" fmla="*/ 507206 w 735806"/>
                <a:gd name="connsiteY32" fmla="*/ 338138 h 614362"/>
                <a:gd name="connsiteX33" fmla="*/ 528637 w 735806"/>
                <a:gd name="connsiteY33" fmla="*/ 311944 h 614362"/>
                <a:gd name="connsiteX34" fmla="*/ 626269 w 735806"/>
                <a:gd name="connsiteY34" fmla="*/ 290513 h 614362"/>
                <a:gd name="connsiteX35" fmla="*/ 631031 w 735806"/>
                <a:gd name="connsiteY35" fmla="*/ 240506 h 614362"/>
                <a:gd name="connsiteX36" fmla="*/ 714375 w 735806"/>
                <a:gd name="connsiteY36" fmla="*/ 166688 h 614362"/>
                <a:gd name="connsiteX37" fmla="*/ 735806 w 735806"/>
                <a:gd name="connsiteY37" fmla="*/ 71438 h 614362"/>
                <a:gd name="connsiteX38" fmla="*/ 707231 w 735806"/>
                <a:gd name="connsiteY38" fmla="*/ 0 h 614362"/>
                <a:gd name="connsiteX39" fmla="*/ 614362 w 735806"/>
                <a:gd name="connsiteY39" fmla="*/ 47625 h 614362"/>
                <a:gd name="connsiteX40" fmla="*/ 614362 w 735806"/>
                <a:gd name="connsiteY40" fmla="*/ 66675 h 614362"/>
                <a:gd name="connsiteX41" fmla="*/ 597694 w 735806"/>
                <a:gd name="connsiteY41" fmla="*/ 135731 h 614362"/>
                <a:gd name="connsiteX42" fmla="*/ 566737 w 735806"/>
                <a:gd name="connsiteY42" fmla="*/ 130969 h 614362"/>
                <a:gd name="connsiteX43" fmla="*/ 514350 w 735806"/>
                <a:gd name="connsiteY43" fmla="*/ 164306 h 614362"/>
                <a:gd name="connsiteX44" fmla="*/ 433387 w 735806"/>
                <a:gd name="connsiteY44" fmla="*/ 123825 h 614362"/>
                <a:gd name="connsiteX45" fmla="*/ 402431 w 735806"/>
                <a:gd name="connsiteY45" fmla="*/ 128588 h 614362"/>
                <a:gd name="connsiteX46" fmla="*/ 359569 w 735806"/>
                <a:gd name="connsiteY46" fmla="*/ 154781 h 614362"/>
                <a:gd name="connsiteX47" fmla="*/ 307181 w 735806"/>
                <a:gd name="connsiteY47" fmla="*/ 154781 h 614362"/>
                <a:gd name="connsiteX48" fmla="*/ 280987 w 735806"/>
                <a:gd name="connsiteY48" fmla="*/ 188119 h 614362"/>
                <a:gd name="connsiteX49" fmla="*/ 209550 w 735806"/>
                <a:gd name="connsiteY49" fmla="*/ 171450 h 614362"/>
                <a:gd name="connsiteX50" fmla="*/ 154781 w 735806"/>
                <a:gd name="connsiteY50" fmla="*/ 197644 h 614362"/>
                <a:gd name="connsiteX51" fmla="*/ 126206 w 735806"/>
                <a:gd name="connsiteY51" fmla="*/ 176213 h 614362"/>
                <a:gd name="connsiteX52" fmla="*/ 111919 w 735806"/>
                <a:gd name="connsiteY52" fmla="*/ 176213 h 614362"/>
                <a:gd name="connsiteX53" fmla="*/ 107156 w 735806"/>
                <a:gd name="connsiteY53" fmla="*/ 164306 h 614362"/>
                <a:gd name="connsiteX54" fmla="*/ 9525 w 735806"/>
                <a:gd name="connsiteY54" fmla="*/ 159544 h 614362"/>
                <a:gd name="connsiteX55" fmla="*/ 0 w 735806"/>
                <a:gd name="connsiteY55" fmla="*/ 190500 h 614362"/>
                <a:gd name="connsiteX56" fmla="*/ 2381 w 735806"/>
                <a:gd name="connsiteY56" fmla="*/ 261938 h 614362"/>
                <a:gd name="connsiteX57" fmla="*/ 30956 w 735806"/>
                <a:gd name="connsiteY57" fmla="*/ 278606 h 614362"/>
                <a:gd name="connsiteX58" fmla="*/ 47625 w 735806"/>
                <a:gd name="connsiteY58" fmla="*/ 285750 h 614362"/>
                <a:gd name="connsiteX59" fmla="*/ 69056 w 735806"/>
                <a:gd name="connsiteY59" fmla="*/ 292894 h 614362"/>
                <a:gd name="connsiteX60" fmla="*/ 80962 w 735806"/>
                <a:gd name="connsiteY60" fmla="*/ 319088 h 614362"/>
                <a:gd name="connsiteX61" fmla="*/ 109537 w 735806"/>
                <a:gd name="connsiteY61" fmla="*/ 340519 h 614362"/>
                <a:gd name="connsiteX62" fmla="*/ 111919 w 735806"/>
                <a:gd name="connsiteY62" fmla="*/ 390525 h 614362"/>
                <a:gd name="connsiteX63" fmla="*/ 128587 w 735806"/>
                <a:gd name="connsiteY63" fmla="*/ 428625 h 614362"/>
                <a:gd name="connsiteX64" fmla="*/ 104775 w 735806"/>
                <a:gd name="connsiteY64" fmla="*/ 445294 h 614362"/>
                <a:gd name="connsiteX65" fmla="*/ 123825 w 735806"/>
                <a:gd name="connsiteY65" fmla="*/ 504825 h 614362"/>
                <a:gd name="connsiteX0" fmla="*/ 123825 w 735806"/>
                <a:gd name="connsiteY0" fmla="*/ 504825 h 614362"/>
                <a:gd name="connsiteX1" fmla="*/ 207169 w 735806"/>
                <a:gd name="connsiteY1" fmla="*/ 528638 h 614362"/>
                <a:gd name="connsiteX2" fmla="*/ 235744 w 735806"/>
                <a:gd name="connsiteY2" fmla="*/ 535781 h 614362"/>
                <a:gd name="connsiteX3" fmla="*/ 257175 w 735806"/>
                <a:gd name="connsiteY3" fmla="*/ 531019 h 614362"/>
                <a:gd name="connsiteX4" fmla="*/ 259556 w 735806"/>
                <a:gd name="connsiteY4" fmla="*/ 547688 h 614362"/>
                <a:gd name="connsiteX5" fmla="*/ 259556 w 735806"/>
                <a:gd name="connsiteY5" fmla="*/ 592932 h 614362"/>
                <a:gd name="connsiteX6" fmla="*/ 276225 w 735806"/>
                <a:gd name="connsiteY6" fmla="*/ 611981 h 614362"/>
                <a:gd name="connsiteX7" fmla="*/ 276225 w 735806"/>
                <a:gd name="connsiteY7" fmla="*/ 611981 h 614362"/>
                <a:gd name="connsiteX8" fmla="*/ 311944 w 735806"/>
                <a:gd name="connsiteY8" fmla="*/ 614362 h 614362"/>
                <a:gd name="connsiteX9" fmla="*/ 323850 w 735806"/>
                <a:gd name="connsiteY9" fmla="*/ 566738 h 614362"/>
                <a:gd name="connsiteX10" fmla="*/ 340519 w 735806"/>
                <a:gd name="connsiteY10" fmla="*/ 561975 h 614362"/>
                <a:gd name="connsiteX11" fmla="*/ 364331 w 735806"/>
                <a:gd name="connsiteY11" fmla="*/ 585788 h 614362"/>
                <a:gd name="connsiteX12" fmla="*/ 381000 w 735806"/>
                <a:gd name="connsiteY12" fmla="*/ 600075 h 614362"/>
                <a:gd name="connsiteX13" fmla="*/ 400050 w 735806"/>
                <a:gd name="connsiteY13" fmla="*/ 607219 h 614362"/>
                <a:gd name="connsiteX14" fmla="*/ 426244 w 735806"/>
                <a:gd name="connsiteY14" fmla="*/ 573881 h 614362"/>
                <a:gd name="connsiteX15" fmla="*/ 433387 w 735806"/>
                <a:gd name="connsiteY15" fmla="*/ 533400 h 614362"/>
                <a:gd name="connsiteX16" fmla="*/ 447675 w 735806"/>
                <a:gd name="connsiteY16" fmla="*/ 504825 h 614362"/>
                <a:gd name="connsiteX17" fmla="*/ 473869 w 735806"/>
                <a:gd name="connsiteY17" fmla="*/ 542925 h 614362"/>
                <a:gd name="connsiteX18" fmla="*/ 495300 w 735806"/>
                <a:gd name="connsiteY18" fmla="*/ 561975 h 614362"/>
                <a:gd name="connsiteX19" fmla="*/ 516731 w 735806"/>
                <a:gd name="connsiteY19" fmla="*/ 578644 h 614362"/>
                <a:gd name="connsiteX20" fmla="*/ 550069 w 735806"/>
                <a:gd name="connsiteY20" fmla="*/ 566738 h 614362"/>
                <a:gd name="connsiteX21" fmla="*/ 557212 w 735806"/>
                <a:gd name="connsiteY21" fmla="*/ 547688 h 614362"/>
                <a:gd name="connsiteX22" fmla="*/ 557212 w 735806"/>
                <a:gd name="connsiteY22" fmla="*/ 535781 h 614362"/>
                <a:gd name="connsiteX23" fmla="*/ 531019 w 735806"/>
                <a:gd name="connsiteY23" fmla="*/ 511969 h 614362"/>
                <a:gd name="connsiteX24" fmla="*/ 514350 w 735806"/>
                <a:gd name="connsiteY24" fmla="*/ 421481 h 614362"/>
                <a:gd name="connsiteX25" fmla="*/ 514350 w 735806"/>
                <a:gd name="connsiteY25" fmla="*/ 421481 h 614362"/>
                <a:gd name="connsiteX26" fmla="*/ 464344 w 735806"/>
                <a:gd name="connsiteY26" fmla="*/ 445294 h 614362"/>
                <a:gd name="connsiteX27" fmla="*/ 438150 w 735806"/>
                <a:gd name="connsiteY27" fmla="*/ 431006 h 614362"/>
                <a:gd name="connsiteX28" fmla="*/ 426244 w 735806"/>
                <a:gd name="connsiteY28" fmla="*/ 385763 h 614362"/>
                <a:gd name="connsiteX29" fmla="*/ 411956 w 735806"/>
                <a:gd name="connsiteY29" fmla="*/ 381000 h 614362"/>
                <a:gd name="connsiteX30" fmla="*/ 388144 w 735806"/>
                <a:gd name="connsiteY30" fmla="*/ 350044 h 614362"/>
                <a:gd name="connsiteX31" fmla="*/ 409575 w 735806"/>
                <a:gd name="connsiteY31" fmla="*/ 314325 h 614362"/>
                <a:gd name="connsiteX32" fmla="*/ 507206 w 735806"/>
                <a:gd name="connsiteY32" fmla="*/ 338138 h 614362"/>
                <a:gd name="connsiteX33" fmla="*/ 528637 w 735806"/>
                <a:gd name="connsiteY33" fmla="*/ 311944 h 614362"/>
                <a:gd name="connsiteX34" fmla="*/ 626269 w 735806"/>
                <a:gd name="connsiteY34" fmla="*/ 290513 h 614362"/>
                <a:gd name="connsiteX35" fmla="*/ 631031 w 735806"/>
                <a:gd name="connsiteY35" fmla="*/ 240506 h 614362"/>
                <a:gd name="connsiteX36" fmla="*/ 714375 w 735806"/>
                <a:gd name="connsiteY36" fmla="*/ 166688 h 614362"/>
                <a:gd name="connsiteX37" fmla="*/ 735806 w 735806"/>
                <a:gd name="connsiteY37" fmla="*/ 71438 h 614362"/>
                <a:gd name="connsiteX38" fmla="*/ 707231 w 735806"/>
                <a:gd name="connsiteY38" fmla="*/ 0 h 614362"/>
                <a:gd name="connsiteX39" fmla="*/ 614362 w 735806"/>
                <a:gd name="connsiteY39" fmla="*/ 47625 h 614362"/>
                <a:gd name="connsiteX40" fmla="*/ 614362 w 735806"/>
                <a:gd name="connsiteY40" fmla="*/ 66675 h 614362"/>
                <a:gd name="connsiteX41" fmla="*/ 597694 w 735806"/>
                <a:gd name="connsiteY41" fmla="*/ 135731 h 614362"/>
                <a:gd name="connsiteX42" fmla="*/ 566737 w 735806"/>
                <a:gd name="connsiteY42" fmla="*/ 130969 h 614362"/>
                <a:gd name="connsiteX43" fmla="*/ 514350 w 735806"/>
                <a:gd name="connsiteY43" fmla="*/ 164306 h 614362"/>
                <a:gd name="connsiteX44" fmla="*/ 433387 w 735806"/>
                <a:gd name="connsiteY44" fmla="*/ 123825 h 614362"/>
                <a:gd name="connsiteX45" fmla="*/ 402431 w 735806"/>
                <a:gd name="connsiteY45" fmla="*/ 128588 h 614362"/>
                <a:gd name="connsiteX46" fmla="*/ 359569 w 735806"/>
                <a:gd name="connsiteY46" fmla="*/ 154781 h 614362"/>
                <a:gd name="connsiteX47" fmla="*/ 307181 w 735806"/>
                <a:gd name="connsiteY47" fmla="*/ 154781 h 614362"/>
                <a:gd name="connsiteX48" fmla="*/ 280987 w 735806"/>
                <a:gd name="connsiteY48" fmla="*/ 188119 h 614362"/>
                <a:gd name="connsiteX49" fmla="*/ 209550 w 735806"/>
                <a:gd name="connsiteY49" fmla="*/ 171450 h 614362"/>
                <a:gd name="connsiteX50" fmla="*/ 154781 w 735806"/>
                <a:gd name="connsiteY50" fmla="*/ 197644 h 614362"/>
                <a:gd name="connsiteX51" fmla="*/ 126206 w 735806"/>
                <a:gd name="connsiteY51" fmla="*/ 176213 h 614362"/>
                <a:gd name="connsiteX52" fmla="*/ 111919 w 735806"/>
                <a:gd name="connsiteY52" fmla="*/ 176213 h 614362"/>
                <a:gd name="connsiteX53" fmla="*/ 107156 w 735806"/>
                <a:gd name="connsiteY53" fmla="*/ 164306 h 614362"/>
                <a:gd name="connsiteX54" fmla="*/ 9525 w 735806"/>
                <a:gd name="connsiteY54" fmla="*/ 159544 h 614362"/>
                <a:gd name="connsiteX55" fmla="*/ 0 w 735806"/>
                <a:gd name="connsiteY55" fmla="*/ 190500 h 614362"/>
                <a:gd name="connsiteX56" fmla="*/ 2381 w 735806"/>
                <a:gd name="connsiteY56" fmla="*/ 261938 h 614362"/>
                <a:gd name="connsiteX57" fmla="*/ 30956 w 735806"/>
                <a:gd name="connsiteY57" fmla="*/ 278606 h 614362"/>
                <a:gd name="connsiteX58" fmla="*/ 47625 w 735806"/>
                <a:gd name="connsiteY58" fmla="*/ 285750 h 614362"/>
                <a:gd name="connsiteX59" fmla="*/ 69056 w 735806"/>
                <a:gd name="connsiteY59" fmla="*/ 292894 h 614362"/>
                <a:gd name="connsiteX60" fmla="*/ 80962 w 735806"/>
                <a:gd name="connsiteY60" fmla="*/ 319088 h 614362"/>
                <a:gd name="connsiteX61" fmla="*/ 109537 w 735806"/>
                <a:gd name="connsiteY61" fmla="*/ 340519 h 614362"/>
                <a:gd name="connsiteX62" fmla="*/ 111919 w 735806"/>
                <a:gd name="connsiteY62" fmla="*/ 390525 h 614362"/>
                <a:gd name="connsiteX63" fmla="*/ 128587 w 735806"/>
                <a:gd name="connsiteY63" fmla="*/ 428625 h 614362"/>
                <a:gd name="connsiteX64" fmla="*/ 104775 w 735806"/>
                <a:gd name="connsiteY64" fmla="*/ 445294 h 614362"/>
                <a:gd name="connsiteX65" fmla="*/ 123825 w 735806"/>
                <a:gd name="connsiteY65" fmla="*/ 504825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35806" h="614362">
                  <a:moveTo>
                    <a:pt x="123825" y="504825"/>
                  </a:moveTo>
                  <a:lnTo>
                    <a:pt x="207169" y="528638"/>
                  </a:lnTo>
                  <a:lnTo>
                    <a:pt x="235744" y="535781"/>
                  </a:lnTo>
                  <a:lnTo>
                    <a:pt x="257175" y="531019"/>
                  </a:lnTo>
                  <a:lnTo>
                    <a:pt x="259556" y="547688"/>
                  </a:lnTo>
                  <a:lnTo>
                    <a:pt x="259556" y="592932"/>
                  </a:lnTo>
                  <a:lnTo>
                    <a:pt x="276225" y="611981"/>
                  </a:lnTo>
                  <a:lnTo>
                    <a:pt x="276225" y="611981"/>
                  </a:lnTo>
                  <a:lnTo>
                    <a:pt x="311944" y="614362"/>
                  </a:lnTo>
                  <a:lnTo>
                    <a:pt x="323850" y="566738"/>
                  </a:lnTo>
                  <a:lnTo>
                    <a:pt x="340519" y="561975"/>
                  </a:lnTo>
                  <a:lnTo>
                    <a:pt x="364331" y="585788"/>
                  </a:lnTo>
                  <a:lnTo>
                    <a:pt x="381000" y="600075"/>
                  </a:lnTo>
                  <a:lnTo>
                    <a:pt x="400050" y="607219"/>
                  </a:lnTo>
                  <a:lnTo>
                    <a:pt x="426244" y="573881"/>
                  </a:lnTo>
                  <a:lnTo>
                    <a:pt x="433387" y="533400"/>
                  </a:lnTo>
                  <a:lnTo>
                    <a:pt x="447675" y="504825"/>
                  </a:lnTo>
                  <a:lnTo>
                    <a:pt x="473869" y="542925"/>
                  </a:lnTo>
                  <a:lnTo>
                    <a:pt x="495300" y="561975"/>
                  </a:lnTo>
                  <a:lnTo>
                    <a:pt x="516731" y="578644"/>
                  </a:lnTo>
                  <a:lnTo>
                    <a:pt x="550069" y="566738"/>
                  </a:lnTo>
                  <a:lnTo>
                    <a:pt x="557212" y="547688"/>
                  </a:lnTo>
                  <a:lnTo>
                    <a:pt x="557212" y="535781"/>
                  </a:lnTo>
                  <a:lnTo>
                    <a:pt x="531019" y="511969"/>
                  </a:lnTo>
                  <a:lnTo>
                    <a:pt x="514350" y="421481"/>
                  </a:lnTo>
                  <a:lnTo>
                    <a:pt x="514350" y="421481"/>
                  </a:lnTo>
                  <a:lnTo>
                    <a:pt x="464344" y="445294"/>
                  </a:lnTo>
                  <a:lnTo>
                    <a:pt x="438150" y="431006"/>
                  </a:lnTo>
                  <a:lnTo>
                    <a:pt x="426244" y="385763"/>
                  </a:lnTo>
                  <a:lnTo>
                    <a:pt x="411956" y="381000"/>
                  </a:lnTo>
                  <a:lnTo>
                    <a:pt x="388144" y="350044"/>
                  </a:lnTo>
                  <a:lnTo>
                    <a:pt x="409575" y="314325"/>
                  </a:lnTo>
                  <a:lnTo>
                    <a:pt x="507206" y="338138"/>
                  </a:lnTo>
                  <a:lnTo>
                    <a:pt x="528637" y="311944"/>
                  </a:lnTo>
                  <a:lnTo>
                    <a:pt x="626269" y="290513"/>
                  </a:lnTo>
                  <a:lnTo>
                    <a:pt x="631031" y="240506"/>
                  </a:lnTo>
                  <a:lnTo>
                    <a:pt x="714375" y="166688"/>
                  </a:lnTo>
                  <a:lnTo>
                    <a:pt x="735806" y="71438"/>
                  </a:lnTo>
                  <a:lnTo>
                    <a:pt x="707231" y="0"/>
                  </a:lnTo>
                  <a:lnTo>
                    <a:pt x="614362" y="47625"/>
                  </a:lnTo>
                  <a:lnTo>
                    <a:pt x="614362" y="66675"/>
                  </a:lnTo>
                  <a:lnTo>
                    <a:pt x="597694" y="135731"/>
                  </a:lnTo>
                  <a:lnTo>
                    <a:pt x="566737" y="130969"/>
                  </a:lnTo>
                  <a:lnTo>
                    <a:pt x="514350" y="164306"/>
                  </a:lnTo>
                  <a:lnTo>
                    <a:pt x="433387" y="123825"/>
                  </a:lnTo>
                  <a:lnTo>
                    <a:pt x="402431" y="128588"/>
                  </a:lnTo>
                  <a:lnTo>
                    <a:pt x="359569" y="154781"/>
                  </a:lnTo>
                  <a:lnTo>
                    <a:pt x="307181" y="154781"/>
                  </a:lnTo>
                  <a:lnTo>
                    <a:pt x="280987" y="188119"/>
                  </a:lnTo>
                  <a:lnTo>
                    <a:pt x="209550" y="171450"/>
                  </a:lnTo>
                  <a:lnTo>
                    <a:pt x="154781" y="197644"/>
                  </a:lnTo>
                  <a:lnTo>
                    <a:pt x="126206" y="176213"/>
                  </a:lnTo>
                  <a:lnTo>
                    <a:pt x="111919" y="176213"/>
                  </a:lnTo>
                  <a:lnTo>
                    <a:pt x="107156" y="164306"/>
                  </a:lnTo>
                  <a:lnTo>
                    <a:pt x="9525" y="159544"/>
                  </a:lnTo>
                  <a:lnTo>
                    <a:pt x="0" y="190500"/>
                  </a:lnTo>
                  <a:cubicBezTo>
                    <a:pt x="794" y="214313"/>
                    <a:pt x="1587" y="238125"/>
                    <a:pt x="2381" y="261938"/>
                  </a:cubicBezTo>
                  <a:lnTo>
                    <a:pt x="30956" y="278606"/>
                  </a:lnTo>
                  <a:lnTo>
                    <a:pt x="47625" y="285750"/>
                  </a:lnTo>
                  <a:lnTo>
                    <a:pt x="69056" y="292894"/>
                  </a:lnTo>
                  <a:lnTo>
                    <a:pt x="80962" y="319088"/>
                  </a:lnTo>
                  <a:lnTo>
                    <a:pt x="109537" y="340519"/>
                  </a:lnTo>
                  <a:lnTo>
                    <a:pt x="111919" y="390525"/>
                  </a:lnTo>
                  <a:lnTo>
                    <a:pt x="128587" y="428625"/>
                  </a:lnTo>
                  <a:lnTo>
                    <a:pt x="104775" y="445294"/>
                  </a:lnTo>
                  <a:lnTo>
                    <a:pt x="123825" y="504825"/>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9" name="Freeform 90">
              <a:extLst>
                <a:ext uri="{FF2B5EF4-FFF2-40B4-BE49-F238E27FC236}">
                  <a16:creationId xmlns:a16="http://schemas.microsoft.com/office/drawing/2014/main" id="{BA3915E1-2BDE-4766-86CF-D62D4D8A2D90}"/>
                </a:ext>
              </a:extLst>
            </p:cNvPr>
            <p:cNvSpPr/>
            <p:nvPr/>
          </p:nvSpPr>
          <p:spPr bwMode="auto">
            <a:xfrm>
              <a:off x="5714460" y="3758552"/>
              <a:ext cx="182201" cy="258697"/>
            </a:xfrm>
            <a:custGeom>
              <a:avLst/>
              <a:gdLst>
                <a:gd name="connsiteX0" fmla="*/ 195262 w 207168"/>
                <a:gd name="connsiteY0" fmla="*/ 0 h 295275"/>
                <a:gd name="connsiteX1" fmla="*/ 64293 w 207168"/>
                <a:gd name="connsiteY1" fmla="*/ 45244 h 295275"/>
                <a:gd name="connsiteX2" fmla="*/ 9525 w 207168"/>
                <a:gd name="connsiteY2" fmla="*/ 90488 h 295275"/>
                <a:gd name="connsiteX3" fmla="*/ 2381 w 207168"/>
                <a:gd name="connsiteY3" fmla="*/ 152400 h 295275"/>
                <a:gd name="connsiteX4" fmla="*/ 0 w 207168"/>
                <a:gd name="connsiteY4" fmla="*/ 197644 h 295275"/>
                <a:gd name="connsiteX5" fmla="*/ 7143 w 207168"/>
                <a:gd name="connsiteY5" fmla="*/ 204788 h 295275"/>
                <a:gd name="connsiteX6" fmla="*/ 4762 w 207168"/>
                <a:gd name="connsiteY6" fmla="*/ 228600 h 295275"/>
                <a:gd name="connsiteX7" fmla="*/ 30956 w 207168"/>
                <a:gd name="connsiteY7" fmla="*/ 252413 h 295275"/>
                <a:gd name="connsiteX8" fmla="*/ 52387 w 207168"/>
                <a:gd name="connsiteY8" fmla="*/ 295275 h 295275"/>
                <a:gd name="connsiteX9" fmla="*/ 69056 w 207168"/>
                <a:gd name="connsiteY9" fmla="*/ 288131 h 295275"/>
                <a:gd name="connsiteX10" fmla="*/ 69056 w 207168"/>
                <a:gd name="connsiteY10" fmla="*/ 259556 h 295275"/>
                <a:gd name="connsiteX11" fmla="*/ 88106 w 207168"/>
                <a:gd name="connsiteY11" fmla="*/ 233363 h 295275"/>
                <a:gd name="connsiteX12" fmla="*/ 104775 w 207168"/>
                <a:gd name="connsiteY12" fmla="*/ 228600 h 295275"/>
                <a:gd name="connsiteX13" fmla="*/ 176212 w 207168"/>
                <a:gd name="connsiteY13" fmla="*/ 161925 h 295275"/>
                <a:gd name="connsiteX14" fmla="*/ 180975 w 207168"/>
                <a:gd name="connsiteY14" fmla="*/ 128588 h 295275"/>
                <a:gd name="connsiteX15" fmla="*/ 185737 w 207168"/>
                <a:gd name="connsiteY15" fmla="*/ 97631 h 295275"/>
                <a:gd name="connsiteX16" fmla="*/ 185737 w 207168"/>
                <a:gd name="connsiteY16" fmla="*/ 88106 h 295275"/>
                <a:gd name="connsiteX17" fmla="*/ 207168 w 207168"/>
                <a:gd name="connsiteY17" fmla="*/ 59531 h 295275"/>
                <a:gd name="connsiteX18" fmla="*/ 195262 w 207168"/>
                <a:gd name="connsiteY1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7168" h="295275">
                  <a:moveTo>
                    <a:pt x="195262" y="0"/>
                  </a:moveTo>
                  <a:lnTo>
                    <a:pt x="64293" y="45244"/>
                  </a:lnTo>
                  <a:lnTo>
                    <a:pt x="9525" y="90488"/>
                  </a:lnTo>
                  <a:lnTo>
                    <a:pt x="2381" y="152400"/>
                  </a:lnTo>
                  <a:lnTo>
                    <a:pt x="0" y="197644"/>
                  </a:lnTo>
                  <a:lnTo>
                    <a:pt x="7143" y="204788"/>
                  </a:lnTo>
                  <a:lnTo>
                    <a:pt x="4762" y="228600"/>
                  </a:lnTo>
                  <a:lnTo>
                    <a:pt x="30956" y="252413"/>
                  </a:lnTo>
                  <a:lnTo>
                    <a:pt x="52387" y="295275"/>
                  </a:lnTo>
                  <a:lnTo>
                    <a:pt x="69056" y="288131"/>
                  </a:lnTo>
                  <a:lnTo>
                    <a:pt x="69056" y="259556"/>
                  </a:lnTo>
                  <a:lnTo>
                    <a:pt x="88106" y="233363"/>
                  </a:lnTo>
                  <a:lnTo>
                    <a:pt x="104775" y="228600"/>
                  </a:lnTo>
                  <a:lnTo>
                    <a:pt x="176212" y="161925"/>
                  </a:lnTo>
                  <a:lnTo>
                    <a:pt x="180975" y="128588"/>
                  </a:lnTo>
                  <a:lnTo>
                    <a:pt x="185737" y="97631"/>
                  </a:lnTo>
                  <a:lnTo>
                    <a:pt x="185737" y="88106"/>
                  </a:lnTo>
                  <a:lnTo>
                    <a:pt x="207168" y="59531"/>
                  </a:lnTo>
                  <a:lnTo>
                    <a:pt x="195262" y="0"/>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91">
              <a:extLst>
                <a:ext uri="{FF2B5EF4-FFF2-40B4-BE49-F238E27FC236}">
                  <a16:creationId xmlns:a16="http://schemas.microsoft.com/office/drawing/2014/main" id="{83AC11F3-1432-4FF7-A4F3-8D8706ECBB67}"/>
                </a:ext>
              </a:extLst>
            </p:cNvPr>
            <p:cNvSpPr/>
            <p:nvPr/>
          </p:nvSpPr>
          <p:spPr bwMode="auto">
            <a:xfrm>
              <a:off x="5864671" y="3744643"/>
              <a:ext cx="190546" cy="363010"/>
            </a:xfrm>
            <a:custGeom>
              <a:avLst/>
              <a:gdLst>
                <a:gd name="connsiteX0" fmla="*/ 0 w 216693"/>
                <a:gd name="connsiteY0" fmla="*/ 183356 h 411956"/>
                <a:gd name="connsiteX1" fmla="*/ 40481 w 216693"/>
                <a:gd name="connsiteY1" fmla="*/ 254793 h 411956"/>
                <a:gd name="connsiteX2" fmla="*/ 59531 w 216693"/>
                <a:gd name="connsiteY2" fmla="*/ 276225 h 411956"/>
                <a:gd name="connsiteX3" fmla="*/ 71437 w 216693"/>
                <a:gd name="connsiteY3" fmla="*/ 309562 h 411956"/>
                <a:gd name="connsiteX4" fmla="*/ 73818 w 216693"/>
                <a:gd name="connsiteY4" fmla="*/ 342900 h 411956"/>
                <a:gd name="connsiteX5" fmla="*/ 111918 w 216693"/>
                <a:gd name="connsiteY5" fmla="*/ 392906 h 411956"/>
                <a:gd name="connsiteX6" fmla="*/ 130968 w 216693"/>
                <a:gd name="connsiteY6" fmla="*/ 388143 h 411956"/>
                <a:gd name="connsiteX7" fmla="*/ 157162 w 216693"/>
                <a:gd name="connsiteY7" fmla="*/ 411956 h 411956"/>
                <a:gd name="connsiteX8" fmla="*/ 192881 w 216693"/>
                <a:gd name="connsiteY8" fmla="*/ 402431 h 411956"/>
                <a:gd name="connsiteX9" fmla="*/ 185737 w 216693"/>
                <a:gd name="connsiteY9" fmla="*/ 309562 h 411956"/>
                <a:gd name="connsiteX10" fmla="*/ 216693 w 216693"/>
                <a:gd name="connsiteY10" fmla="*/ 257175 h 411956"/>
                <a:gd name="connsiteX11" fmla="*/ 216693 w 216693"/>
                <a:gd name="connsiteY11" fmla="*/ 128587 h 411956"/>
                <a:gd name="connsiteX12" fmla="*/ 211931 w 216693"/>
                <a:gd name="connsiteY12" fmla="*/ 80962 h 411956"/>
                <a:gd name="connsiteX13" fmla="*/ 142875 w 216693"/>
                <a:gd name="connsiteY13" fmla="*/ 28575 h 411956"/>
                <a:gd name="connsiteX14" fmla="*/ 116681 w 216693"/>
                <a:gd name="connsiteY14" fmla="*/ 7143 h 411956"/>
                <a:gd name="connsiteX15" fmla="*/ 78581 w 216693"/>
                <a:gd name="connsiteY15" fmla="*/ 4762 h 411956"/>
                <a:gd name="connsiteX16" fmla="*/ 42862 w 216693"/>
                <a:gd name="connsiteY16" fmla="*/ 0 h 411956"/>
                <a:gd name="connsiteX17" fmla="*/ 35718 w 216693"/>
                <a:gd name="connsiteY17" fmla="*/ 19050 h 411956"/>
                <a:gd name="connsiteX18" fmla="*/ 35718 w 216693"/>
                <a:gd name="connsiteY18" fmla="*/ 19050 h 411956"/>
                <a:gd name="connsiteX19" fmla="*/ 38100 w 216693"/>
                <a:gd name="connsiteY19" fmla="*/ 88106 h 411956"/>
                <a:gd name="connsiteX20" fmla="*/ 11906 w 216693"/>
                <a:gd name="connsiteY20" fmla="*/ 114300 h 411956"/>
                <a:gd name="connsiteX21" fmla="*/ 0 w 216693"/>
                <a:gd name="connsiteY21" fmla="*/ 183356 h 411956"/>
                <a:gd name="connsiteX0" fmla="*/ 0 w 216693"/>
                <a:gd name="connsiteY0" fmla="*/ 183356 h 411956"/>
                <a:gd name="connsiteX1" fmla="*/ 40481 w 216693"/>
                <a:gd name="connsiteY1" fmla="*/ 254793 h 411956"/>
                <a:gd name="connsiteX2" fmla="*/ 59531 w 216693"/>
                <a:gd name="connsiteY2" fmla="*/ 276225 h 411956"/>
                <a:gd name="connsiteX3" fmla="*/ 71437 w 216693"/>
                <a:gd name="connsiteY3" fmla="*/ 309562 h 411956"/>
                <a:gd name="connsiteX4" fmla="*/ 73818 w 216693"/>
                <a:gd name="connsiteY4" fmla="*/ 342900 h 411956"/>
                <a:gd name="connsiteX5" fmla="*/ 111918 w 216693"/>
                <a:gd name="connsiteY5" fmla="*/ 392906 h 411956"/>
                <a:gd name="connsiteX6" fmla="*/ 130968 w 216693"/>
                <a:gd name="connsiteY6" fmla="*/ 388143 h 411956"/>
                <a:gd name="connsiteX7" fmla="*/ 157162 w 216693"/>
                <a:gd name="connsiteY7" fmla="*/ 411956 h 411956"/>
                <a:gd name="connsiteX8" fmla="*/ 192881 w 216693"/>
                <a:gd name="connsiteY8" fmla="*/ 402431 h 411956"/>
                <a:gd name="connsiteX9" fmla="*/ 185737 w 216693"/>
                <a:gd name="connsiteY9" fmla="*/ 309562 h 411956"/>
                <a:gd name="connsiteX10" fmla="*/ 216693 w 216693"/>
                <a:gd name="connsiteY10" fmla="*/ 257175 h 411956"/>
                <a:gd name="connsiteX11" fmla="*/ 216693 w 216693"/>
                <a:gd name="connsiteY11" fmla="*/ 128587 h 411956"/>
                <a:gd name="connsiteX12" fmla="*/ 211931 w 216693"/>
                <a:gd name="connsiteY12" fmla="*/ 80962 h 411956"/>
                <a:gd name="connsiteX13" fmla="*/ 142875 w 216693"/>
                <a:gd name="connsiteY13" fmla="*/ 28575 h 411956"/>
                <a:gd name="connsiteX14" fmla="*/ 116681 w 216693"/>
                <a:gd name="connsiteY14" fmla="*/ 7143 h 411956"/>
                <a:gd name="connsiteX15" fmla="*/ 78581 w 216693"/>
                <a:gd name="connsiteY15" fmla="*/ 4762 h 411956"/>
                <a:gd name="connsiteX16" fmla="*/ 42862 w 216693"/>
                <a:gd name="connsiteY16" fmla="*/ 0 h 411956"/>
                <a:gd name="connsiteX17" fmla="*/ 35718 w 216693"/>
                <a:gd name="connsiteY17" fmla="*/ 19050 h 411956"/>
                <a:gd name="connsiteX18" fmla="*/ 26193 w 216693"/>
                <a:gd name="connsiteY18" fmla="*/ 26194 h 411956"/>
                <a:gd name="connsiteX19" fmla="*/ 38100 w 216693"/>
                <a:gd name="connsiteY19" fmla="*/ 88106 h 411956"/>
                <a:gd name="connsiteX20" fmla="*/ 11906 w 216693"/>
                <a:gd name="connsiteY20" fmla="*/ 114300 h 411956"/>
                <a:gd name="connsiteX21" fmla="*/ 0 w 216693"/>
                <a:gd name="connsiteY21" fmla="*/ 183356 h 411956"/>
                <a:gd name="connsiteX0" fmla="*/ 0 w 216693"/>
                <a:gd name="connsiteY0" fmla="*/ 185737 h 414337"/>
                <a:gd name="connsiteX1" fmla="*/ 40481 w 216693"/>
                <a:gd name="connsiteY1" fmla="*/ 257174 h 414337"/>
                <a:gd name="connsiteX2" fmla="*/ 59531 w 216693"/>
                <a:gd name="connsiteY2" fmla="*/ 278606 h 414337"/>
                <a:gd name="connsiteX3" fmla="*/ 71437 w 216693"/>
                <a:gd name="connsiteY3" fmla="*/ 311943 h 414337"/>
                <a:gd name="connsiteX4" fmla="*/ 73818 w 216693"/>
                <a:gd name="connsiteY4" fmla="*/ 345281 h 414337"/>
                <a:gd name="connsiteX5" fmla="*/ 111918 w 216693"/>
                <a:gd name="connsiteY5" fmla="*/ 395287 h 414337"/>
                <a:gd name="connsiteX6" fmla="*/ 130968 w 216693"/>
                <a:gd name="connsiteY6" fmla="*/ 390524 h 414337"/>
                <a:gd name="connsiteX7" fmla="*/ 157162 w 216693"/>
                <a:gd name="connsiteY7" fmla="*/ 414337 h 414337"/>
                <a:gd name="connsiteX8" fmla="*/ 192881 w 216693"/>
                <a:gd name="connsiteY8" fmla="*/ 404812 h 414337"/>
                <a:gd name="connsiteX9" fmla="*/ 185737 w 216693"/>
                <a:gd name="connsiteY9" fmla="*/ 311943 h 414337"/>
                <a:gd name="connsiteX10" fmla="*/ 216693 w 216693"/>
                <a:gd name="connsiteY10" fmla="*/ 259556 h 414337"/>
                <a:gd name="connsiteX11" fmla="*/ 216693 w 216693"/>
                <a:gd name="connsiteY11" fmla="*/ 130968 h 414337"/>
                <a:gd name="connsiteX12" fmla="*/ 211931 w 216693"/>
                <a:gd name="connsiteY12" fmla="*/ 83343 h 414337"/>
                <a:gd name="connsiteX13" fmla="*/ 142875 w 216693"/>
                <a:gd name="connsiteY13" fmla="*/ 30956 h 414337"/>
                <a:gd name="connsiteX14" fmla="*/ 116681 w 216693"/>
                <a:gd name="connsiteY14" fmla="*/ 9524 h 414337"/>
                <a:gd name="connsiteX15" fmla="*/ 78581 w 216693"/>
                <a:gd name="connsiteY15" fmla="*/ 7143 h 414337"/>
                <a:gd name="connsiteX16" fmla="*/ 30956 w 216693"/>
                <a:gd name="connsiteY16" fmla="*/ 0 h 414337"/>
                <a:gd name="connsiteX17" fmla="*/ 35718 w 216693"/>
                <a:gd name="connsiteY17" fmla="*/ 21431 h 414337"/>
                <a:gd name="connsiteX18" fmla="*/ 26193 w 216693"/>
                <a:gd name="connsiteY18" fmla="*/ 28575 h 414337"/>
                <a:gd name="connsiteX19" fmla="*/ 38100 w 216693"/>
                <a:gd name="connsiteY19" fmla="*/ 90487 h 414337"/>
                <a:gd name="connsiteX20" fmla="*/ 11906 w 216693"/>
                <a:gd name="connsiteY20" fmla="*/ 116681 h 414337"/>
                <a:gd name="connsiteX21" fmla="*/ 0 w 216693"/>
                <a:gd name="connsiteY21" fmla="*/ 185737 h 414337"/>
                <a:gd name="connsiteX0" fmla="*/ 0 w 216693"/>
                <a:gd name="connsiteY0" fmla="*/ 185737 h 414337"/>
                <a:gd name="connsiteX1" fmla="*/ 40481 w 216693"/>
                <a:gd name="connsiteY1" fmla="*/ 257174 h 414337"/>
                <a:gd name="connsiteX2" fmla="*/ 59531 w 216693"/>
                <a:gd name="connsiteY2" fmla="*/ 278606 h 414337"/>
                <a:gd name="connsiteX3" fmla="*/ 71437 w 216693"/>
                <a:gd name="connsiteY3" fmla="*/ 311943 h 414337"/>
                <a:gd name="connsiteX4" fmla="*/ 73818 w 216693"/>
                <a:gd name="connsiteY4" fmla="*/ 345281 h 414337"/>
                <a:gd name="connsiteX5" fmla="*/ 111918 w 216693"/>
                <a:gd name="connsiteY5" fmla="*/ 395287 h 414337"/>
                <a:gd name="connsiteX6" fmla="*/ 130968 w 216693"/>
                <a:gd name="connsiteY6" fmla="*/ 390524 h 414337"/>
                <a:gd name="connsiteX7" fmla="*/ 157162 w 216693"/>
                <a:gd name="connsiteY7" fmla="*/ 414337 h 414337"/>
                <a:gd name="connsiteX8" fmla="*/ 192881 w 216693"/>
                <a:gd name="connsiteY8" fmla="*/ 404812 h 414337"/>
                <a:gd name="connsiteX9" fmla="*/ 185737 w 216693"/>
                <a:gd name="connsiteY9" fmla="*/ 311943 h 414337"/>
                <a:gd name="connsiteX10" fmla="*/ 216693 w 216693"/>
                <a:gd name="connsiteY10" fmla="*/ 259556 h 414337"/>
                <a:gd name="connsiteX11" fmla="*/ 216693 w 216693"/>
                <a:gd name="connsiteY11" fmla="*/ 130968 h 414337"/>
                <a:gd name="connsiteX12" fmla="*/ 211931 w 216693"/>
                <a:gd name="connsiteY12" fmla="*/ 83343 h 414337"/>
                <a:gd name="connsiteX13" fmla="*/ 142875 w 216693"/>
                <a:gd name="connsiteY13" fmla="*/ 30956 h 414337"/>
                <a:gd name="connsiteX14" fmla="*/ 116681 w 216693"/>
                <a:gd name="connsiteY14" fmla="*/ 9524 h 414337"/>
                <a:gd name="connsiteX15" fmla="*/ 78581 w 216693"/>
                <a:gd name="connsiteY15" fmla="*/ 7143 h 414337"/>
                <a:gd name="connsiteX16" fmla="*/ 30956 w 216693"/>
                <a:gd name="connsiteY16" fmla="*/ 0 h 414337"/>
                <a:gd name="connsiteX17" fmla="*/ 23812 w 216693"/>
                <a:gd name="connsiteY17" fmla="*/ 19050 h 414337"/>
                <a:gd name="connsiteX18" fmla="*/ 26193 w 216693"/>
                <a:gd name="connsiteY18" fmla="*/ 28575 h 414337"/>
                <a:gd name="connsiteX19" fmla="*/ 38100 w 216693"/>
                <a:gd name="connsiteY19" fmla="*/ 90487 h 414337"/>
                <a:gd name="connsiteX20" fmla="*/ 11906 w 216693"/>
                <a:gd name="connsiteY20" fmla="*/ 116681 h 414337"/>
                <a:gd name="connsiteX21" fmla="*/ 0 w 216693"/>
                <a:gd name="connsiteY21" fmla="*/ 185737 h 41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6693" h="414337">
                  <a:moveTo>
                    <a:pt x="0" y="185737"/>
                  </a:moveTo>
                  <a:lnTo>
                    <a:pt x="40481" y="257174"/>
                  </a:lnTo>
                  <a:lnTo>
                    <a:pt x="59531" y="278606"/>
                  </a:lnTo>
                  <a:lnTo>
                    <a:pt x="71437" y="311943"/>
                  </a:lnTo>
                  <a:lnTo>
                    <a:pt x="73818" y="345281"/>
                  </a:lnTo>
                  <a:lnTo>
                    <a:pt x="111918" y="395287"/>
                  </a:lnTo>
                  <a:lnTo>
                    <a:pt x="130968" y="390524"/>
                  </a:lnTo>
                  <a:lnTo>
                    <a:pt x="157162" y="414337"/>
                  </a:lnTo>
                  <a:lnTo>
                    <a:pt x="192881" y="404812"/>
                  </a:lnTo>
                  <a:lnTo>
                    <a:pt x="185737" y="311943"/>
                  </a:lnTo>
                  <a:lnTo>
                    <a:pt x="216693" y="259556"/>
                  </a:lnTo>
                  <a:lnTo>
                    <a:pt x="216693" y="130968"/>
                  </a:lnTo>
                  <a:lnTo>
                    <a:pt x="211931" y="83343"/>
                  </a:lnTo>
                  <a:lnTo>
                    <a:pt x="142875" y="30956"/>
                  </a:lnTo>
                  <a:lnTo>
                    <a:pt x="116681" y="9524"/>
                  </a:lnTo>
                  <a:lnTo>
                    <a:pt x="78581" y="7143"/>
                  </a:lnTo>
                  <a:lnTo>
                    <a:pt x="30956" y="0"/>
                  </a:lnTo>
                  <a:cubicBezTo>
                    <a:pt x="28575" y="6350"/>
                    <a:pt x="24606" y="14288"/>
                    <a:pt x="23812" y="19050"/>
                  </a:cubicBezTo>
                  <a:cubicBezTo>
                    <a:pt x="23018" y="23812"/>
                    <a:pt x="23812" y="16669"/>
                    <a:pt x="26193" y="28575"/>
                  </a:cubicBezTo>
                  <a:cubicBezTo>
                    <a:pt x="28574" y="40481"/>
                    <a:pt x="34131" y="69850"/>
                    <a:pt x="38100" y="90487"/>
                  </a:cubicBezTo>
                  <a:lnTo>
                    <a:pt x="11906" y="116681"/>
                  </a:lnTo>
                  <a:cubicBezTo>
                    <a:pt x="11112" y="139700"/>
                    <a:pt x="10319" y="162718"/>
                    <a:pt x="0" y="185737"/>
                  </a:cubicBez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31" name="Freeform 92">
              <a:extLst>
                <a:ext uri="{FF2B5EF4-FFF2-40B4-BE49-F238E27FC236}">
                  <a16:creationId xmlns:a16="http://schemas.microsoft.com/office/drawing/2014/main" id="{AAD7D5B6-D9B4-418F-B75A-9A8B7628B0B3}"/>
                </a:ext>
              </a:extLst>
            </p:cNvPr>
            <p:cNvSpPr/>
            <p:nvPr/>
          </p:nvSpPr>
          <p:spPr bwMode="auto">
            <a:xfrm>
              <a:off x="5963421" y="3552707"/>
              <a:ext cx="293467" cy="264260"/>
            </a:xfrm>
            <a:custGeom>
              <a:avLst/>
              <a:gdLst>
                <a:gd name="connsiteX0" fmla="*/ 104775 w 335757"/>
                <a:gd name="connsiteY0" fmla="*/ 302419 h 302419"/>
                <a:gd name="connsiteX1" fmla="*/ 247650 w 335757"/>
                <a:gd name="connsiteY1" fmla="*/ 276225 h 302419"/>
                <a:gd name="connsiteX2" fmla="*/ 280988 w 335757"/>
                <a:gd name="connsiteY2" fmla="*/ 209550 h 302419"/>
                <a:gd name="connsiteX3" fmla="*/ 302419 w 335757"/>
                <a:gd name="connsiteY3" fmla="*/ 173832 h 302419"/>
                <a:gd name="connsiteX4" fmla="*/ 316707 w 335757"/>
                <a:gd name="connsiteY4" fmla="*/ 138113 h 302419"/>
                <a:gd name="connsiteX5" fmla="*/ 335757 w 335757"/>
                <a:gd name="connsiteY5" fmla="*/ 114300 h 302419"/>
                <a:gd name="connsiteX6" fmla="*/ 314325 w 335757"/>
                <a:gd name="connsiteY6" fmla="*/ 66675 h 302419"/>
                <a:gd name="connsiteX7" fmla="*/ 309563 w 335757"/>
                <a:gd name="connsiteY7" fmla="*/ 30957 h 302419"/>
                <a:gd name="connsiteX8" fmla="*/ 252413 w 335757"/>
                <a:gd name="connsiteY8" fmla="*/ 7144 h 302419"/>
                <a:gd name="connsiteX9" fmla="*/ 216694 w 335757"/>
                <a:gd name="connsiteY9" fmla="*/ 0 h 302419"/>
                <a:gd name="connsiteX10" fmla="*/ 169069 w 335757"/>
                <a:gd name="connsiteY10" fmla="*/ 16669 h 302419"/>
                <a:gd name="connsiteX11" fmla="*/ 135732 w 335757"/>
                <a:gd name="connsiteY11" fmla="*/ 40482 h 302419"/>
                <a:gd name="connsiteX12" fmla="*/ 66675 w 335757"/>
                <a:gd name="connsiteY12" fmla="*/ 102394 h 302419"/>
                <a:gd name="connsiteX13" fmla="*/ 76200 w 335757"/>
                <a:gd name="connsiteY13" fmla="*/ 176213 h 302419"/>
                <a:gd name="connsiteX14" fmla="*/ 0 w 335757"/>
                <a:gd name="connsiteY14" fmla="*/ 221457 h 302419"/>
                <a:gd name="connsiteX15" fmla="*/ 104775 w 335757"/>
                <a:gd name="connsiteY15" fmla="*/ 302419 h 3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5757" h="302419">
                  <a:moveTo>
                    <a:pt x="104775" y="302419"/>
                  </a:moveTo>
                  <a:lnTo>
                    <a:pt x="247650" y="276225"/>
                  </a:lnTo>
                  <a:lnTo>
                    <a:pt x="280988" y="209550"/>
                  </a:lnTo>
                  <a:lnTo>
                    <a:pt x="302419" y="173832"/>
                  </a:lnTo>
                  <a:lnTo>
                    <a:pt x="316707" y="138113"/>
                  </a:lnTo>
                  <a:lnTo>
                    <a:pt x="335757" y="114300"/>
                  </a:lnTo>
                  <a:lnTo>
                    <a:pt x="314325" y="66675"/>
                  </a:lnTo>
                  <a:lnTo>
                    <a:pt x="309563" y="30957"/>
                  </a:lnTo>
                  <a:lnTo>
                    <a:pt x="252413" y="7144"/>
                  </a:lnTo>
                  <a:lnTo>
                    <a:pt x="216694" y="0"/>
                  </a:lnTo>
                  <a:lnTo>
                    <a:pt x="169069" y="16669"/>
                  </a:lnTo>
                  <a:lnTo>
                    <a:pt x="135732" y="40482"/>
                  </a:lnTo>
                  <a:lnTo>
                    <a:pt x="66675" y="102394"/>
                  </a:lnTo>
                  <a:lnTo>
                    <a:pt x="76200" y="176213"/>
                  </a:lnTo>
                  <a:lnTo>
                    <a:pt x="0" y="221457"/>
                  </a:lnTo>
                  <a:lnTo>
                    <a:pt x="104775" y="302419"/>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32" name="Freeform 93">
              <a:extLst>
                <a:ext uri="{FF2B5EF4-FFF2-40B4-BE49-F238E27FC236}">
                  <a16:creationId xmlns:a16="http://schemas.microsoft.com/office/drawing/2014/main" id="{57EC0EFE-B400-4353-9AB9-1DDA24B02FBE}"/>
                </a:ext>
              </a:extLst>
            </p:cNvPr>
            <p:cNvSpPr/>
            <p:nvPr/>
          </p:nvSpPr>
          <p:spPr bwMode="auto">
            <a:xfrm>
              <a:off x="5437683" y="3107638"/>
              <a:ext cx="980543" cy="645350"/>
            </a:xfrm>
            <a:custGeom>
              <a:avLst/>
              <a:gdLst>
                <a:gd name="connsiteX0" fmla="*/ 723900 w 1119188"/>
                <a:gd name="connsiteY0" fmla="*/ 554831 h 735806"/>
                <a:gd name="connsiteX1" fmla="*/ 716757 w 1119188"/>
                <a:gd name="connsiteY1" fmla="*/ 497681 h 735806"/>
                <a:gd name="connsiteX2" fmla="*/ 702469 w 1119188"/>
                <a:gd name="connsiteY2" fmla="*/ 473869 h 735806"/>
                <a:gd name="connsiteX3" fmla="*/ 716757 w 1119188"/>
                <a:gd name="connsiteY3" fmla="*/ 459581 h 735806"/>
                <a:gd name="connsiteX4" fmla="*/ 766763 w 1119188"/>
                <a:gd name="connsiteY4" fmla="*/ 461963 h 735806"/>
                <a:gd name="connsiteX5" fmla="*/ 764382 w 1119188"/>
                <a:gd name="connsiteY5" fmla="*/ 426244 h 735806"/>
                <a:gd name="connsiteX6" fmla="*/ 773907 w 1119188"/>
                <a:gd name="connsiteY6" fmla="*/ 407194 h 735806"/>
                <a:gd name="connsiteX7" fmla="*/ 819150 w 1119188"/>
                <a:gd name="connsiteY7" fmla="*/ 376238 h 735806"/>
                <a:gd name="connsiteX8" fmla="*/ 816769 w 1119188"/>
                <a:gd name="connsiteY8" fmla="*/ 283369 h 735806"/>
                <a:gd name="connsiteX9" fmla="*/ 840582 w 1119188"/>
                <a:gd name="connsiteY9" fmla="*/ 273844 h 735806"/>
                <a:gd name="connsiteX10" fmla="*/ 881063 w 1119188"/>
                <a:gd name="connsiteY10" fmla="*/ 321469 h 735806"/>
                <a:gd name="connsiteX11" fmla="*/ 909638 w 1119188"/>
                <a:gd name="connsiteY11" fmla="*/ 307181 h 735806"/>
                <a:gd name="connsiteX12" fmla="*/ 919163 w 1119188"/>
                <a:gd name="connsiteY12" fmla="*/ 264319 h 735806"/>
                <a:gd name="connsiteX13" fmla="*/ 952500 w 1119188"/>
                <a:gd name="connsiteY13" fmla="*/ 259556 h 735806"/>
                <a:gd name="connsiteX14" fmla="*/ 1004888 w 1119188"/>
                <a:gd name="connsiteY14" fmla="*/ 204788 h 735806"/>
                <a:gd name="connsiteX15" fmla="*/ 1035844 w 1119188"/>
                <a:gd name="connsiteY15" fmla="*/ 180975 h 735806"/>
                <a:gd name="connsiteX16" fmla="*/ 1104900 w 1119188"/>
                <a:gd name="connsiteY16" fmla="*/ 157163 h 735806"/>
                <a:gd name="connsiteX17" fmla="*/ 1116807 w 1119188"/>
                <a:gd name="connsiteY17" fmla="*/ 83344 h 735806"/>
                <a:gd name="connsiteX18" fmla="*/ 1116807 w 1119188"/>
                <a:gd name="connsiteY18" fmla="*/ 57150 h 735806"/>
                <a:gd name="connsiteX19" fmla="*/ 1119188 w 1119188"/>
                <a:gd name="connsiteY19" fmla="*/ 35719 h 735806"/>
                <a:gd name="connsiteX20" fmla="*/ 1104900 w 1119188"/>
                <a:gd name="connsiteY20" fmla="*/ 0 h 735806"/>
                <a:gd name="connsiteX21" fmla="*/ 1069182 w 1119188"/>
                <a:gd name="connsiteY21" fmla="*/ 7144 h 735806"/>
                <a:gd name="connsiteX22" fmla="*/ 992982 w 1119188"/>
                <a:gd name="connsiteY22" fmla="*/ 9525 h 735806"/>
                <a:gd name="connsiteX23" fmla="*/ 954882 w 1119188"/>
                <a:gd name="connsiteY23" fmla="*/ 38100 h 735806"/>
                <a:gd name="connsiteX24" fmla="*/ 931069 w 1119188"/>
                <a:gd name="connsiteY24" fmla="*/ 42863 h 735806"/>
                <a:gd name="connsiteX25" fmla="*/ 904875 w 1119188"/>
                <a:gd name="connsiteY25" fmla="*/ 42863 h 735806"/>
                <a:gd name="connsiteX26" fmla="*/ 831057 w 1119188"/>
                <a:gd name="connsiteY26" fmla="*/ 85725 h 735806"/>
                <a:gd name="connsiteX27" fmla="*/ 776288 w 1119188"/>
                <a:gd name="connsiteY27" fmla="*/ 104775 h 735806"/>
                <a:gd name="connsiteX28" fmla="*/ 707232 w 1119188"/>
                <a:gd name="connsiteY28" fmla="*/ 180975 h 735806"/>
                <a:gd name="connsiteX29" fmla="*/ 692944 w 1119188"/>
                <a:gd name="connsiteY29" fmla="*/ 195263 h 735806"/>
                <a:gd name="connsiteX30" fmla="*/ 626269 w 1119188"/>
                <a:gd name="connsiteY30" fmla="*/ 192881 h 735806"/>
                <a:gd name="connsiteX31" fmla="*/ 619125 w 1119188"/>
                <a:gd name="connsiteY31" fmla="*/ 207169 h 735806"/>
                <a:gd name="connsiteX32" fmla="*/ 519113 w 1119188"/>
                <a:gd name="connsiteY32" fmla="*/ 211931 h 735806"/>
                <a:gd name="connsiteX33" fmla="*/ 492919 w 1119188"/>
                <a:gd name="connsiteY33" fmla="*/ 230981 h 735806"/>
                <a:gd name="connsiteX34" fmla="*/ 459582 w 1119188"/>
                <a:gd name="connsiteY34" fmla="*/ 245269 h 735806"/>
                <a:gd name="connsiteX35" fmla="*/ 433388 w 1119188"/>
                <a:gd name="connsiteY35" fmla="*/ 271463 h 735806"/>
                <a:gd name="connsiteX36" fmla="*/ 416719 w 1119188"/>
                <a:gd name="connsiteY36" fmla="*/ 278606 h 735806"/>
                <a:gd name="connsiteX37" fmla="*/ 378619 w 1119188"/>
                <a:gd name="connsiteY37" fmla="*/ 278606 h 735806"/>
                <a:gd name="connsiteX38" fmla="*/ 335757 w 1119188"/>
                <a:gd name="connsiteY38" fmla="*/ 250031 h 735806"/>
                <a:gd name="connsiteX39" fmla="*/ 250032 w 1119188"/>
                <a:gd name="connsiteY39" fmla="*/ 250031 h 735806"/>
                <a:gd name="connsiteX40" fmla="*/ 211932 w 1119188"/>
                <a:gd name="connsiteY40" fmla="*/ 240506 h 735806"/>
                <a:gd name="connsiteX41" fmla="*/ 188119 w 1119188"/>
                <a:gd name="connsiteY41" fmla="*/ 221456 h 735806"/>
                <a:gd name="connsiteX42" fmla="*/ 171450 w 1119188"/>
                <a:gd name="connsiteY42" fmla="*/ 207169 h 735806"/>
                <a:gd name="connsiteX43" fmla="*/ 150019 w 1119188"/>
                <a:gd name="connsiteY43" fmla="*/ 202406 h 735806"/>
                <a:gd name="connsiteX44" fmla="*/ 126207 w 1119188"/>
                <a:gd name="connsiteY44" fmla="*/ 209550 h 735806"/>
                <a:gd name="connsiteX45" fmla="*/ 85725 w 1119188"/>
                <a:gd name="connsiteY45" fmla="*/ 226219 h 735806"/>
                <a:gd name="connsiteX46" fmla="*/ 54769 w 1119188"/>
                <a:gd name="connsiteY46" fmla="*/ 245269 h 735806"/>
                <a:gd name="connsiteX47" fmla="*/ 16669 w 1119188"/>
                <a:gd name="connsiteY47" fmla="*/ 254794 h 735806"/>
                <a:gd name="connsiteX48" fmla="*/ 0 w 1119188"/>
                <a:gd name="connsiteY48" fmla="*/ 261938 h 735806"/>
                <a:gd name="connsiteX49" fmla="*/ 28575 w 1119188"/>
                <a:gd name="connsiteY49" fmla="*/ 278606 h 735806"/>
                <a:gd name="connsiteX50" fmla="*/ 59532 w 1119188"/>
                <a:gd name="connsiteY50" fmla="*/ 278606 h 735806"/>
                <a:gd name="connsiteX51" fmla="*/ 80963 w 1119188"/>
                <a:gd name="connsiteY51" fmla="*/ 278606 h 735806"/>
                <a:gd name="connsiteX52" fmla="*/ 88107 w 1119188"/>
                <a:gd name="connsiteY52" fmla="*/ 276225 h 735806"/>
                <a:gd name="connsiteX53" fmla="*/ 100013 w 1119188"/>
                <a:gd name="connsiteY53" fmla="*/ 261938 h 735806"/>
                <a:gd name="connsiteX54" fmla="*/ 119063 w 1119188"/>
                <a:gd name="connsiteY54" fmla="*/ 259556 h 735806"/>
                <a:gd name="connsiteX55" fmla="*/ 142875 w 1119188"/>
                <a:gd name="connsiteY55" fmla="*/ 257175 h 735806"/>
                <a:gd name="connsiteX56" fmla="*/ 154782 w 1119188"/>
                <a:gd name="connsiteY56" fmla="*/ 271463 h 735806"/>
                <a:gd name="connsiteX57" fmla="*/ 145257 w 1119188"/>
                <a:gd name="connsiteY57" fmla="*/ 292894 h 735806"/>
                <a:gd name="connsiteX58" fmla="*/ 114300 w 1119188"/>
                <a:gd name="connsiteY58" fmla="*/ 304800 h 735806"/>
                <a:gd name="connsiteX59" fmla="*/ 78582 w 1119188"/>
                <a:gd name="connsiteY59" fmla="*/ 397669 h 735806"/>
                <a:gd name="connsiteX60" fmla="*/ 97632 w 1119188"/>
                <a:gd name="connsiteY60" fmla="*/ 421481 h 735806"/>
                <a:gd name="connsiteX61" fmla="*/ 102394 w 1119188"/>
                <a:gd name="connsiteY61" fmla="*/ 464344 h 735806"/>
                <a:gd name="connsiteX62" fmla="*/ 107157 w 1119188"/>
                <a:gd name="connsiteY62" fmla="*/ 481013 h 735806"/>
                <a:gd name="connsiteX63" fmla="*/ 142875 w 1119188"/>
                <a:gd name="connsiteY63" fmla="*/ 471488 h 735806"/>
                <a:gd name="connsiteX64" fmla="*/ 178594 w 1119188"/>
                <a:gd name="connsiteY64" fmla="*/ 459581 h 735806"/>
                <a:gd name="connsiteX65" fmla="*/ 228600 w 1119188"/>
                <a:gd name="connsiteY65" fmla="*/ 471488 h 735806"/>
                <a:gd name="connsiteX66" fmla="*/ 266700 w 1119188"/>
                <a:gd name="connsiteY66" fmla="*/ 481013 h 735806"/>
                <a:gd name="connsiteX67" fmla="*/ 319088 w 1119188"/>
                <a:gd name="connsiteY67" fmla="*/ 478631 h 735806"/>
                <a:gd name="connsiteX68" fmla="*/ 359569 w 1119188"/>
                <a:gd name="connsiteY68" fmla="*/ 461963 h 735806"/>
                <a:gd name="connsiteX69" fmla="*/ 395288 w 1119188"/>
                <a:gd name="connsiteY69" fmla="*/ 442913 h 735806"/>
                <a:gd name="connsiteX70" fmla="*/ 433388 w 1119188"/>
                <a:gd name="connsiteY70" fmla="*/ 450056 h 735806"/>
                <a:gd name="connsiteX71" fmla="*/ 473869 w 1119188"/>
                <a:gd name="connsiteY71" fmla="*/ 469106 h 735806"/>
                <a:gd name="connsiteX72" fmla="*/ 519113 w 1119188"/>
                <a:gd name="connsiteY72" fmla="*/ 495300 h 735806"/>
                <a:gd name="connsiteX73" fmla="*/ 550069 w 1119188"/>
                <a:gd name="connsiteY73" fmla="*/ 521494 h 735806"/>
                <a:gd name="connsiteX74" fmla="*/ 554832 w 1119188"/>
                <a:gd name="connsiteY74" fmla="*/ 559594 h 735806"/>
                <a:gd name="connsiteX75" fmla="*/ 550069 w 1119188"/>
                <a:gd name="connsiteY75" fmla="*/ 614363 h 735806"/>
                <a:gd name="connsiteX76" fmla="*/ 545307 w 1119188"/>
                <a:gd name="connsiteY76" fmla="*/ 645319 h 735806"/>
                <a:gd name="connsiteX77" fmla="*/ 519113 w 1119188"/>
                <a:gd name="connsiteY77" fmla="*/ 657225 h 735806"/>
                <a:gd name="connsiteX78" fmla="*/ 502444 w 1119188"/>
                <a:gd name="connsiteY78" fmla="*/ 673894 h 735806"/>
                <a:gd name="connsiteX79" fmla="*/ 504825 w 1119188"/>
                <a:gd name="connsiteY79" fmla="*/ 707231 h 735806"/>
                <a:gd name="connsiteX80" fmla="*/ 523875 w 1119188"/>
                <a:gd name="connsiteY80" fmla="*/ 731044 h 735806"/>
                <a:gd name="connsiteX81" fmla="*/ 604838 w 1119188"/>
                <a:gd name="connsiteY81" fmla="*/ 735806 h 735806"/>
                <a:gd name="connsiteX82" fmla="*/ 671513 w 1119188"/>
                <a:gd name="connsiteY82" fmla="*/ 685800 h 735806"/>
                <a:gd name="connsiteX83" fmla="*/ 671513 w 1119188"/>
                <a:gd name="connsiteY83" fmla="*/ 604838 h 735806"/>
                <a:gd name="connsiteX84" fmla="*/ 723900 w 1119188"/>
                <a:gd name="connsiteY84" fmla="*/ 554831 h 73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119188" h="735806">
                  <a:moveTo>
                    <a:pt x="723900" y="554831"/>
                  </a:moveTo>
                  <a:lnTo>
                    <a:pt x="716757" y="497681"/>
                  </a:lnTo>
                  <a:lnTo>
                    <a:pt x="702469" y="473869"/>
                  </a:lnTo>
                  <a:lnTo>
                    <a:pt x="716757" y="459581"/>
                  </a:lnTo>
                  <a:lnTo>
                    <a:pt x="766763" y="461963"/>
                  </a:lnTo>
                  <a:lnTo>
                    <a:pt x="764382" y="426244"/>
                  </a:lnTo>
                  <a:lnTo>
                    <a:pt x="773907" y="407194"/>
                  </a:lnTo>
                  <a:lnTo>
                    <a:pt x="819150" y="376238"/>
                  </a:lnTo>
                  <a:cubicBezTo>
                    <a:pt x="818356" y="345282"/>
                    <a:pt x="817563" y="314325"/>
                    <a:pt x="816769" y="283369"/>
                  </a:cubicBezTo>
                  <a:lnTo>
                    <a:pt x="840582" y="273844"/>
                  </a:lnTo>
                  <a:lnTo>
                    <a:pt x="881063" y="321469"/>
                  </a:lnTo>
                  <a:lnTo>
                    <a:pt x="909638" y="307181"/>
                  </a:lnTo>
                  <a:lnTo>
                    <a:pt x="919163" y="264319"/>
                  </a:lnTo>
                  <a:lnTo>
                    <a:pt x="952500" y="259556"/>
                  </a:lnTo>
                  <a:lnTo>
                    <a:pt x="1004888" y="204788"/>
                  </a:lnTo>
                  <a:lnTo>
                    <a:pt x="1035844" y="180975"/>
                  </a:lnTo>
                  <a:lnTo>
                    <a:pt x="1104900" y="157163"/>
                  </a:lnTo>
                  <a:lnTo>
                    <a:pt x="1116807" y="83344"/>
                  </a:lnTo>
                  <a:lnTo>
                    <a:pt x="1116807" y="57150"/>
                  </a:lnTo>
                  <a:lnTo>
                    <a:pt x="1119188" y="35719"/>
                  </a:lnTo>
                  <a:lnTo>
                    <a:pt x="1104900" y="0"/>
                  </a:lnTo>
                  <a:lnTo>
                    <a:pt x="1069182" y="7144"/>
                  </a:lnTo>
                  <a:lnTo>
                    <a:pt x="992982" y="9525"/>
                  </a:lnTo>
                  <a:lnTo>
                    <a:pt x="954882" y="38100"/>
                  </a:lnTo>
                  <a:lnTo>
                    <a:pt x="931069" y="42863"/>
                  </a:lnTo>
                  <a:lnTo>
                    <a:pt x="904875" y="42863"/>
                  </a:lnTo>
                  <a:lnTo>
                    <a:pt x="831057" y="85725"/>
                  </a:lnTo>
                  <a:lnTo>
                    <a:pt x="776288" y="104775"/>
                  </a:lnTo>
                  <a:lnTo>
                    <a:pt x="707232" y="180975"/>
                  </a:lnTo>
                  <a:lnTo>
                    <a:pt x="692944" y="195263"/>
                  </a:lnTo>
                  <a:lnTo>
                    <a:pt x="626269" y="192881"/>
                  </a:lnTo>
                  <a:lnTo>
                    <a:pt x="619125" y="207169"/>
                  </a:lnTo>
                  <a:lnTo>
                    <a:pt x="519113" y="211931"/>
                  </a:lnTo>
                  <a:lnTo>
                    <a:pt x="492919" y="230981"/>
                  </a:lnTo>
                  <a:lnTo>
                    <a:pt x="459582" y="245269"/>
                  </a:lnTo>
                  <a:lnTo>
                    <a:pt x="433388" y="271463"/>
                  </a:lnTo>
                  <a:lnTo>
                    <a:pt x="416719" y="278606"/>
                  </a:lnTo>
                  <a:lnTo>
                    <a:pt x="378619" y="278606"/>
                  </a:lnTo>
                  <a:lnTo>
                    <a:pt x="335757" y="250031"/>
                  </a:lnTo>
                  <a:lnTo>
                    <a:pt x="250032" y="250031"/>
                  </a:lnTo>
                  <a:lnTo>
                    <a:pt x="211932" y="240506"/>
                  </a:lnTo>
                  <a:lnTo>
                    <a:pt x="188119" y="221456"/>
                  </a:lnTo>
                  <a:lnTo>
                    <a:pt x="171450" y="207169"/>
                  </a:lnTo>
                  <a:lnTo>
                    <a:pt x="150019" y="202406"/>
                  </a:lnTo>
                  <a:lnTo>
                    <a:pt x="126207" y="209550"/>
                  </a:lnTo>
                  <a:lnTo>
                    <a:pt x="85725" y="226219"/>
                  </a:lnTo>
                  <a:lnTo>
                    <a:pt x="54769" y="245269"/>
                  </a:lnTo>
                  <a:lnTo>
                    <a:pt x="16669" y="254794"/>
                  </a:lnTo>
                  <a:lnTo>
                    <a:pt x="0" y="261938"/>
                  </a:lnTo>
                  <a:lnTo>
                    <a:pt x="28575" y="278606"/>
                  </a:lnTo>
                  <a:lnTo>
                    <a:pt x="59532" y="278606"/>
                  </a:lnTo>
                  <a:lnTo>
                    <a:pt x="80963" y="278606"/>
                  </a:lnTo>
                  <a:lnTo>
                    <a:pt x="88107" y="276225"/>
                  </a:lnTo>
                  <a:lnTo>
                    <a:pt x="100013" y="261938"/>
                  </a:lnTo>
                  <a:lnTo>
                    <a:pt x="119063" y="259556"/>
                  </a:lnTo>
                  <a:lnTo>
                    <a:pt x="142875" y="257175"/>
                  </a:lnTo>
                  <a:lnTo>
                    <a:pt x="154782" y="271463"/>
                  </a:lnTo>
                  <a:lnTo>
                    <a:pt x="145257" y="292894"/>
                  </a:lnTo>
                  <a:lnTo>
                    <a:pt x="114300" y="304800"/>
                  </a:lnTo>
                  <a:lnTo>
                    <a:pt x="78582" y="397669"/>
                  </a:lnTo>
                  <a:lnTo>
                    <a:pt x="97632" y="421481"/>
                  </a:lnTo>
                  <a:lnTo>
                    <a:pt x="102394" y="464344"/>
                  </a:lnTo>
                  <a:lnTo>
                    <a:pt x="107157" y="481013"/>
                  </a:lnTo>
                  <a:lnTo>
                    <a:pt x="142875" y="471488"/>
                  </a:lnTo>
                  <a:lnTo>
                    <a:pt x="178594" y="459581"/>
                  </a:lnTo>
                  <a:lnTo>
                    <a:pt x="228600" y="471488"/>
                  </a:lnTo>
                  <a:lnTo>
                    <a:pt x="266700" y="481013"/>
                  </a:lnTo>
                  <a:lnTo>
                    <a:pt x="319088" y="478631"/>
                  </a:lnTo>
                  <a:lnTo>
                    <a:pt x="359569" y="461963"/>
                  </a:lnTo>
                  <a:lnTo>
                    <a:pt x="395288" y="442913"/>
                  </a:lnTo>
                  <a:lnTo>
                    <a:pt x="433388" y="450056"/>
                  </a:lnTo>
                  <a:lnTo>
                    <a:pt x="473869" y="469106"/>
                  </a:lnTo>
                  <a:lnTo>
                    <a:pt x="519113" y="495300"/>
                  </a:lnTo>
                  <a:lnTo>
                    <a:pt x="550069" y="521494"/>
                  </a:lnTo>
                  <a:lnTo>
                    <a:pt x="554832" y="559594"/>
                  </a:lnTo>
                  <a:lnTo>
                    <a:pt x="550069" y="614363"/>
                  </a:lnTo>
                  <a:lnTo>
                    <a:pt x="545307" y="645319"/>
                  </a:lnTo>
                  <a:lnTo>
                    <a:pt x="519113" y="657225"/>
                  </a:lnTo>
                  <a:lnTo>
                    <a:pt x="502444" y="673894"/>
                  </a:lnTo>
                  <a:lnTo>
                    <a:pt x="504825" y="707231"/>
                  </a:lnTo>
                  <a:lnTo>
                    <a:pt x="523875" y="731044"/>
                  </a:lnTo>
                  <a:lnTo>
                    <a:pt x="604838" y="735806"/>
                  </a:lnTo>
                  <a:lnTo>
                    <a:pt x="671513" y="685800"/>
                  </a:lnTo>
                  <a:lnTo>
                    <a:pt x="671513" y="604838"/>
                  </a:lnTo>
                  <a:lnTo>
                    <a:pt x="723900" y="554831"/>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Freeform 94">
              <a:extLst>
                <a:ext uri="{FF2B5EF4-FFF2-40B4-BE49-F238E27FC236}">
                  <a16:creationId xmlns:a16="http://schemas.microsoft.com/office/drawing/2014/main" id="{FE6DF188-58ED-46A7-A508-A6A87C18DEA0}"/>
                </a:ext>
              </a:extLst>
            </p:cNvPr>
            <p:cNvSpPr/>
            <p:nvPr/>
          </p:nvSpPr>
          <p:spPr bwMode="auto">
            <a:xfrm>
              <a:off x="5522524" y="3495683"/>
              <a:ext cx="403344" cy="186373"/>
            </a:xfrm>
            <a:custGeom>
              <a:avLst/>
              <a:gdLst>
                <a:gd name="connsiteX0" fmla="*/ 0 w 459581"/>
                <a:gd name="connsiteY0" fmla="*/ 42862 h 211931"/>
                <a:gd name="connsiteX1" fmla="*/ 7143 w 459581"/>
                <a:gd name="connsiteY1" fmla="*/ 104775 h 211931"/>
                <a:gd name="connsiteX2" fmla="*/ 30956 w 459581"/>
                <a:gd name="connsiteY2" fmla="*/ 119062 h 211931"/>
                <a:gd name="connsiteX3" fmla="*/ 33337 w 459581"/>
                <a:gd name="connsiteY3" fmla="*/ 171450 h 211931"/>
                <a:gd name="connsiteX4" fmla="*/ 38100 w 459581"/>
                <a:gd name="connsiteY4" fmla="*/ 188118 h 211931"/>
                <a:gd name="connsiteX5" fmla="*/ 88106 w 459581"/>
                <a:gd name="connsiteY5" fmla="*/ 204787 h 211931"/>
                <a:gd name="connsiteX6" fmla="*/ 88106 w 459581"/>
                <a:gd name="connsiteY6" fmla="*/ 204787 h 211931"/>
                <a:gd name="connsiteX7" fmla="*/ 147637 w 459581"/>
                <a:gd name="connsiteY7" fmla="*/ 211931 h 211931"/>
                <a:gd name="connsiteX8" fmla="*/ 180975 w 459581"/>
                <a:gd name="connsiteY8" fmla="*/ 197643 h 211931"/>
                <a:gd name="connsiteX9" fmla="*/ 214312 w 459581"/>
                <a:gd name="connsiteY9" fmla="*/ 192881 h 211931"/>
                <a:gd name="connsiteX10" fmla="*/ 242887 w 459581"/>
                <a:gd name="connsiteY10" fmla="*/ 204787 h 211931"/>
                <a:gd name="connsiteX11" fmla="*/ 261937 w 459581"/>
                <a:gd name="connsiteY11" fmla="*/ 204787 h 211931"/>
                <a:gd name="connsiteX12" fmla="*/ 321468 w 459581"/>
                <a:gd name="connsiteY12" fmla="*/ 178593 h 211931"/>
                <a:gd name="connsiteX13" fmla="*/ 350043 w 459581"/>
                <a:gd name="connsiteY13" fmla="*/ 180975 h 211931"/>
                <a:gd name="connsiteX14" fmla="*/ 402431 w 459581"/>
                <a:gd name="connsiteY14" fmla="*/ 161925 h 211931"/>
                <a:gd name="connsiteX15" fmla="*/ 457200 w 459581"/>
                <a:gd name="connsiteY15" fmla="*/ 173831 h 211931"/>
                <a:gd name="connsiteX16" fmla="*/ 459581 w 459581"/>
                <a:gd name="connsiteY16" fmla="*/ 128587 h 211931"/>
                <a:gd name="connsiteX17" fmla="*/ 450056 w 459581"/>
                <a:gd name="connsiteY17" fmla="*/ 83343 h 211931"/>
                <a:gd name="connsiteX18" fmla="*/ 423862 w 459581"/>
                <a:gd name="connsiteY18" fmla="*/ 52387 h 211931"/>
                <a:gd name="connsiteX19" fmla="*/ 357187 w 459581"/>
                <a:gd name="connsiteY19" fmla="*/ 19050 h 211931"/>
                <a:gd name="connsiteX20" fmla="*/ 319087 w 459581"/>
                <a:gd name="connsiteY20" fmla="*/ 0 h 211931"/>
                <a:gd name="connsiteX21" fmla="*/ 295275 w 459581"/>
                <a:gd name="connsiteY21" fmla="*/ 0 h 211931"/>
                <a:gd name="connsiteX22" fmla="*/ 240506 w 459581"/>
                <a:gd name="connsiteY22" fmla="*/ 33337 h 211931"/>
                <a:gd name="connsiteX23" fmla="*/ 176212 w 459581"/>
                <a:gd name="connsiteY23" fmla="*/ 45243 h 211931"/>
                <a:gd name="connsiteX24" fmla="*/ 95250 w 459581"/>
                <a:gd name="connsiteY24" fmla="*/ 19050 h 211931"/>
                <a:gd name="connsiteX25" fmla="*/ 78581 w 459581"/>
                <a:gd name="connsiteY25" fmla="*/ 16668 h 211931"/>
                <a:gd name="connsiteX26" fmla="*/ 0 w 459581"/>
                <a:gd name="connsiteY26" fmla="*/ 42862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9581" h="211931">
                  <a:moveTo>
                    <a:pt x="0" y="42862"/>
                  </a:moveTo>
                  <a:lnTo>
                    <a:pt x="7143" y="104775"/>
                  </a:lnTo>
                  <a:lnTo>
                    <a:pt x="30956" y="119062"/>
                  </a:lnTo>
                  <a:lnTo>
                    <a:pt x="33337" y="171450"/>
                  </a:lnTo>
                  <a:lnTo>
                    <a:pt x="38100" y="188118"/>
                  </a:lnTo>
                  <a:lnTo>
                    <a:pt x="88106" y="204787"/>
                  </a:lnTo>
                  <a:lnTo>
                    <a:pt x="88106" y="204787"/>
                  </a:lnTo>
                  <a:lnTo>
                    <a:pt x="147637" y="211931"/>
                  </a:lnTo>
                  <a:lnTo>
                    <a:pt x="180975" y="197643"/>
                  </a:lnTo>
                  <a:lnTo>
                    <a:pt x="214312" y="192881"/>
                  </a:lnTo>
                  <a:lnTo>
                    <a:pt x="242887" y="204787"/>
                  </a:lnTo>
                  <a:lnTo>
                    <a:pt x="261937" y="204787"/>
                  </a:lnTo>
                  <a:lnTo>
                    <a:pt x="321468" y="178593"/>
                  </a:lnTo>
                  <a:lnTo>
                    <a:pt x="350043" y="180975"/>
                  </a:lnTo>
                  <a:lnTo>
                    <a:pt x="402431" y="161925"/>
                  </a:lnTo>
                  <a:lnTo>
                    <a:pt x="457200" y="173831"/>
                  </a:lnTo>
                  <a:lnTo>
                    <a:pt x="459581" y="128587"/>
                  </a:lnTo>
                  <a:lnTo>
                    <a:pt x="450056" y="83343"/>
                  </a:lnTo>
                  <a:lnTo>
                    <a:pt x="423862" y="52387"/>
                  </a:lnTo>
                  <a:lnTo>
                    <a:pt x="357187" y="19050"/>
                  </a:lnTo>
                  <a:lnTo>
                    <a:pt x="319087" y="0"/>
                  </a:lnTo>
                  <a:lnTo>
                    <a:pt x="295275" y="0"/>
                  </a:lnTo>
                  <a:lnTo>
                    <a:pt x="240506" y="33337"/>
                  </a:lnTo>
                  <a:lnTo>
                    <a:pt x="176212" y="45243"/>
                  </a:lnTo>
                  <a:lnTo>
                    <a:pt x="95250" y="19050"/>
                  </a:lnTo>
                  <a:lnTo>
                    <a:pt x="78581" y="16668"/>
                  </a:lnTo>
                  <a:lnTo>
                    <a:pt x="0" y="42862"/>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34" name="Freeform 95">
              <a:extLst>
                <a:ext uri="{FF2B5EF4-FFF2-40B4-BE49-F238E27FC236}">
                  <a16:creationId xmlns:a16="http://schemas.microsoft.com/office/drawing/2014/main" id="{8E1195BB-FFA5-47AB-B7F0-2A869F728ABA}"/>
                </a:ext>
              </a:extLst>
            </p:cNvPr>
            <p:cNvSpPr/>
            <p:nvPr/>
          </p:nvSpPr>
          <p:spPr bwMode="auto">
            <a:xfrm>
              <a:off x="5731150" y="2860068"/>
              <a:ext cx="929082" cy="493749"/>
            </a:xfrm>
            <a:custGeom>
              <a:avLst/>
              <a:gdLst>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2462 w 1059656"/>
                <a:gd name="connsiteY79" fmla="*/ 481012 h 531019"/>
                <a:gd name="connsiteX80" fmla="*/ 697706 w 1059656"/>
                <a:gd name="connsiteY80"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2462 w 1059656"/>
                <a:gd name="connsiteY79" fmla="*/ 481012 h 531019"/>
                <a:gd name="connsiteX80" fmla="*/ 676275 w 1059656"/>
                <a:gd name="connsiteY80" fmla="*/ 500062 h 531019"/>
                <a:gd name="connsiteX81" fmla="*/ 697706 w 1059656"/>
                <a:gd name="connsiteY81"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9605 w 1059656"/>
                <a:gd name="connsiteY79" fmla="*/ 471487 h 531019"/>
                <a:gd name="connsiteX80" fmla="*/ 676275 w 1059656"/>
                <a:gd name="connsiteY80" fmla="*/ 500062 h 531019"/>
                <a:gd name="connsiteX81" fmla="*/ 697706 w 1059656"/>
                <a:gd name="connsiteY81"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7224 w 1059656"/>
                <a:gd name="connsiteY79" fmla="*/ 483393 h 531019"/>
                <a:gd name="connsiteX80" fmla="*/ 676275 w 1059656"/>
                <a:gd name="connsiteY80" fmla="*/ 500062 h 531019"/>
                <a:gd name="connsiteX81" fmla="*/ 697706 w 1059656"/>
                <a:gd name="connsiteY81"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7224 w 1059656"/>
                <a:gd name="connsiteY79" fmla="*/ 483393 h 531019"/>
                <a:gd name="connsiteX80" fmla="*/ 654844 w 1059656"/>
                <a:gd name="connsiteY80" fmla="*/ 495300 h 531019"/>
                <a:gd name="connsiteX81" fmla="*/ 697706 w 1059656"/>
                <a:gd name="connsiteY81"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2461 w 1059656"/>
                <a:gd name="connsiteY79" fmla="*/ 476249 h 531019"/>
                <a:gd name="connsiteX80" fmla="*/ 654844 w 1059656"/>
                <a:gd name="connsiteY80" fmla="*/ 495300 h 531019"/>
                <a:gd name="connsiteX81" fmla="*/ 697706 w 1059656"/>
                <a:gd name="connsiteY81" fmla="*/ 531019 h 531019"/>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33437 w 1059656"/>
                <a:gd name="connsiteY25" fmla="*/ 0 h 564357"/>
                <a:gd name="connsiteX26" fmla="*/ 809625 w 1059656"/>
                <a:gd name="connsiteY26" fmla="*/ 33338 h 564357"/>
                <a:gd name="connsiteX27" fmla="*/ 797718 w 1059656"/>
                <a:gd name="connsiteY27" fmla="*/ 50007 h 564357"/>
                <a:gd name="connsiteX28" fmla="*/ 757237 w 1059656"/>
                <a:gd name="connsiteY28" fmla="*/ 45244 h 564357"/>
                <a:gd name="connsiteX29" fmla="*/ 735806 w 1059656"/>
                <a:gd name="connsiteY29" fmla="*/ 50007 h 564357"/>
                <a:gd name="connsiteX30" fmla="*/ 719137 w 1059656"/>
                <a:gd name="connsiteY30" fmla="*/ 78582 h 564357"/>
                <a:gd name="connsiteX31" fmla="*/ 723900 w 1059656"/>
                <a:gd name="connsiteY31" fmla="*/ 97632 h 564357"/>
                <a:gd name="connsiteX32" fmla="*/ 707231 w 1059656"/>
                <a:gd name="connsiteY32" fmla="*/ 111919 h 564357"/>
                <a:gd name="connsiteX33" fmla="*/ 631031 w 1059656"/>
                <a:gd name="connsiteY33" fmla="*/ 114300 h 564357"/>
                <a:gd name="connsiteX34" fmla="*/ 597693 w 1059656"/>
                <a:gd name="connsiteY34" fmla="*/ 100013 h 564357"/>
                <a:gd name="connsiteX35" fmla="*/ 569118 w 1059656"/>
                <a:gd name="connsiteY35" fmla="*/ 71438 h 564357"/>
                <a:gd name="connsiteX36" fmla="*/ 531018 w 1059656"/>
                <a:gd name="connsiteY36" fmla="*/ 66675 h 564357"/>
                <a:gd name="connsiteX37" fmla="*/ 497681 w 1059656"/>
                <a:gd name="connsiteY37" fmla="*/ 90488 h 564357"/>
                <a:gd name="connsiteX38" fmla="*/ 481012 w 1059656"/>
                <a:gd name="connsiteY38" fmla="*/ 109538 h 564357"/>
                <a:gd name="connsiteX39" fmla="*/ 466725 w 1059656"/>
                <a:gd name="connsiteY39" fmla="*/ 126207 h 564357"/>
                <a:gd name="connsiteX40" fmla="*/ 450056 w 1059656"/>
                <a:gd name="connsiteY40" fmla="*/ 145257 h 564357"/>
                <a:gd name="connsiteX41" fmla="*/ 454818 w 1059656"/>
                <a:gd name="connsiteY41" fmla="*/ 171450 h 564357"/>
                <a:gd name="connsiteX42" fmla="*/ 423862 w 1059656"/>
                <a:gd name="connsiteY42" fmla="*/ 195263 h 564357"/>
                <a:gd name="connsiteX43" fmla="*/ 371475 w 1059656"/>
                <a:gd name="connsiteY43" fmla="*/ 204788 h 564357"/>
                <a:gd name="connsiteX44" fmla="*/ 330993 w 1059656"/>
                <a:gd name="connsiteY44" fmla="*/ 223838 h 564357"/>
                <a:gd name="connsiteX45" fmla="*/ 321468 w 1059656"/>
                <a:gd name="connsiteY45" fmla="*/ 261938 h 564357"/>
                <a:gd name="connsiteX46" fmla="*/ 319087 w 1059656"/>
                <a:gd name="connsiteY46" fmla="*/ 269082 h 564357"/>
                <a:gd name="connsiteX47" fmla="*/ 266700 w 1059656"/>
                <a:gd name="connsiteY47" fmla="*/ 285750 h 564357"/>
                <a:gd name="connsiteX48" fmla="*/ 180975 w 1059656"/>
                <a:gd name="connsiteY48" fmla="*/ 316707 h 564357"/>
                <a:gd name="connsiteX49" fmla="*/ 157162 w 1059656"/>
                <a:gd name="connsiteY49" fmla="*/ 309563 h 564357"/>
                <a:gd name="connsiteX50" fmla="*/ 128587 w 1059656"/>
                <a:gd name="connsiteY50" fmla="*/ 300038 h 564357"/>
                <a:gd name="connsiteX51" fmla="*/ 130968 w 1059656"/>
                <a:gd name="connsiteY51" fmla="*/ 359569 h 564357"/>
                <a:gd name="connsiteX52" fmla="*/ 169068 w 1059656"/>
                <a:gd name="connsiteY52" fmla="*/ 388144 h 564357"/>
                <a:gd name="connsiteX53" fmla="*/ 185737 w 1059656"/>
                <a:gd name="connsiteY53" fmla="*/ 411957 h 564357"/>
                <a:gd name="connsiteX54" fmla="*/ 180975 w 1059656"/>
                <a:gd name="connsiteY54" fmla="*/ 442913 h 564357"/>
                <a:gd name="connsiteX55" fmla="*/ 173831 w 1059656"/>
                <a:gd name="connsiteY55" fmla="*/ 471488 h 564357"/>
                <a:gd name="connsiteX56" fmla="*/ 130968 w 1059656"/>
                <a:gd name="connsiteY56" fmla="*/ 473869 h 564357"/>
                <a:gd name="connsiteX57" fmla="*/ 95250 w 1059656"/>
                <a:gd name="connsiteY57" fmla="*/ 488157 h 564357"/>
                <a:gd name="connsiteX58" fmla="*/ 71437 w 1059656"/>
                <a:gd name="connsiteY58" fmla="*/ 492919 h 564357"/>
                <a:gd name="connsiteX59" fmla="*/ 50006 w 1059656"/>
                <a:gd name="connsiteY59" fmla="*/ 504825 h 564357"/>
                <a:gd name="connsiteX60" fmla="*/ 30956 w 1059656"/>
                <a:gd name="connsiteY60" fmla="*/ 521494 h 564357"/>
                <a:gd name="connsiteX61" fmla="*/ 7143 w 1059656"/>
                <a:gd name="connsiteY61" fmla="*/ 528638 h 564357"/>
                <a:gd name="connsiteX62" fmla="*/ 0 w 1059656"/>
                <a:gd name="connsiteY62" fmla="*/ 533400 h 564357"/>
                <a:gd name="connsiteX63" fmla="*/ 38100 w 1059656"/>
                <a:gd name="connsiteY63" fmla="*/ 561975 h 564357"/>
                <a:gd name="connsiteX64" fmla="*/ 80962 w 1059656"/>
                <a:gd name="connsiteY64" fmla="*/ 559594 h 564357"/>
                <a:gd name="connsiteX65" fmla="*/ 116681 w 1059656"/>
                <a:gd name="connsiteY65" fmla="*/ 526257 h 564357"/>
                <a:gd name="connsiteX66" fmla="*/ 171450 w 1059656"/>
                <a:gd name="connsiteY66" fmla="*/ 500063 h 564357"/>
                <a:gd name="connsiteX67" fmla="*/ 278606 w 1059656"/>
                <a:gd name="connsiteY67" fmla="*/ 492919 h 564357"/>
                <a:gd name="connsiteX68" fmla="*/ 292893 w 1059656"/>
                <a:gd name="connsiteY68" fmla="*/ 481013 h 564357"/>
                <a:gd name="connsiteX69" fmla="*/ 357187 w 1059656"/>
                <a:gd name="connsiteY69" fmla="*/ 481013 h 564357"/>
                <a:gd name="connsiteX70" fmla="*/ 433387 w 1059656"/>
                <a:gd name="connsiteY70" fmla="*/ 388144 h 564357"/>
                <a:gd name="connsiteX71" fmla="*/ 559593 w 1059656"/>
                <a:gd name="connsiteY71" fmla="*/ 328613 h 564357"/>
                <a:gd name="connsiteX72" fmla="*/ 619125 w 1059656"/>
                <a:gd name="connsiteY72" fmla="*/ 321469 h 564357"/>
                <a:gd name="connsiteX73" fmla="*/ 654843 w 1059656"/>
                <a:gd name="connsiteY73" fmla="*/ 295275 h 564357"/>
                <a:gd name="connsiteX74" fmla="*/ 716756 w 1059656"/>
                <a:gd name="connsiteY74" fmla="*/ 292894 h 564357"/>
                <a:gd name="connsiteX75" fmla="*/ 771525 w 1059656"/>
                <a:gd name="connsiteY75" fmla="*/ 285750 h 564357"/>
                <a:gd name="connsiteX76" fmla="*/ 781050 w 1059656"/>
                <a:gd name="connsiteY76" fmla="*/ 323850 h 564357"/>
                <a:gd name="connsiteX77" fmla="*/ 773906 w 1059656"/>
                <a:gd name="connsiteY77" fmla="*/ 445294 h 564357"/>
                <a:gd name="connsiteX78" fmla="*/ 707231 w 1059656"/>
                <a:gd name="connsiteY78" fmla="*/ 461963 h 564357"/>
                <a:gd name="connsiteX79" fmla="*/ 652461 w 1059656"/>
                <a:gd name="connsiteY79" fmla="*/ 509587 h 564357"/>
                <a:gd name="connsiteX80" fmla="*/ 654844 w 1059656"/>
                <a:gd name="connsiteY80" fmla="*/ 528638 h 564357"/>
                <a:gd name="connsiteX81" fmla="*/ 697706 w 1059656"/>
                <a:gd name="connsiteY81"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35818 w 1059656"/>
                <a:gd name="connsiteY25" fmla="*/ 52388 h 564357"/>
                <a:gd name="connsiteX26" fmla="*/ 833437 w 1059656"/>
                <a:gd name="connsiteY26" fmla="*/ 0 h 564357"/>
                <a:gd name="connsiteX27" fmla="*/ 809625 w 1059656"/>
                <a:gd name="connsiteY27" fmla="*/ 33338 h 564357"/>
                <a:gd name="connsiteX28" fmla="*/ 797718 w 1059656"/>
                <a:gd name="connsiteY28" fmla="*/ 50007 h 564357"/>
                <a:gd name="connsiteX29" fmla="*/ 757237 w 1059656"/>
                <a:gd name="connsiteY29" fmla="*/ 45244 h 564357"/>
                <a:gd name="connsiteX30" fmla="*/ 735806 w 1059656"/>
                <a:gd name="connsiteY30" fmla="*/ 50007 h 564357"/>
                <a:gd name="connsiteX31" fmla="*/ 719137 w 1059656"/>
                <a:gd name="connsiteY31" fmla="*/ 78582 h 564357"/>
                <a:gd name="connsiteX32" fmla="*/ 723900 w 1059656"/>
                <a:gd name="connsiteY32" fmla="*/ 97632 h 564357"/>
                <a:gd name="connsiteX33" fmla="*/ 707231 w 1059656"/>
                <a:gd name="connsiteY33" fmla="*/ 111919 h 564357"/>
                <a:gd name="connsiteX34" fmla="*/ 631031 w 1059656"/>
                <a:gd name="connsiteY34" fmla="*/ 114300 h 564357"/>
                <a:gd name="connsiteX35" fmla="*/ 597693 w 1059656"/>
                <a:gd name="connsiteY35" fmla="*/ 100013 h 564357"/>
                <a:gd name="connsiteX36" fmla="*/ 569118 w 1059656"/>
                <a:gd name="connsiteY36" fmla="*/ 71438 h 564357"/>
                <a:gd name="connsiteX37" fmla="*/ 531018 w 1059656"/>
                <a:gd name="connsiteY37" fmla="*/ 66675 h 564357"/>
                <a:gd name="connsiteX38" fmla="*/ 497681 w 1059656"/>
                <a:gd name="connsiteY38" fmla="*/ 90488 h 564357"/>
                <a:gd name="connsiteX39" fmla="*/ 481012 w 1059656"/>
                <a:gd name="connsiteY39" fmla="*/ 109538 h 564357"/>
                <a:gd name="connsiteX40" fmla="*/ 466725 w 1059656"/>
                <a:gd name="connsiteY40" fmla="*/ 126207 h 564357"/>
                <a:gd name="connsiteX41" fmla="*/ 450056 w 1059656"/>
                <a:gd name="connsiteY41" fmla="*/ 145257 h 564357"/>
                <a:gd name="connsiteX42" fmla="*/ 454818 w 1059656"/>
                <a:gd name="connsiteY42" fmla="*/ 171450 h 564357"/>
                <a:gd name="connsiteX43" fmla="*/ 423862 w 1059656"/>
                <a:gd name="connsiteY43" fmla="*/ 195263 h 564357"/>
                <a:gd name="connsiteX44" fmla="*/ 371475 w 1059656"/>
                <a:gd name="connsiteY44" fmla="*/ 204788 h 564357"/>
                <a:gd name="connsiteX45" fmla="*/ 330993 w 1059656"/>
                <a:gd name="connsiteY45" fmla="*/ 223838 h 564357"/>
                <a:gd name="connsiteX46" fmla="*/ 321468 w 1059656"/>
                <a:gd name="connsiteY46" fmla="*/ 261938 h 564357"/>
                <a:gd name="connsiteX47" fmla="*/ 319087 w 1059656"/>
                <a:gd name="connsiteY47" fmla="*/ 269082 h 564357"/>
                <a:gd name="connsiteX48" fmla="*/ 266700 w 1059656"/>
                <a:gd name="connsiteY48" fmla="*/ 285750 h 564357"/>
                <a:gd name="connsiteX49" fmla="*/ 180975 w 1059656"/>
                <a:gd name="connsiteY49" fmla="*/ 316707 h 564357"/>
                <a:gd name="connsiteX50" fmla="*/ 157162 w 1059656"/>
                <a:gd name="connsiteY50" fmla="*/ 309563 h 564357"/>
                <a:gd name="connsiteX51" fmla="*/ 128587 w 1059656"/>
                <a:gd name="connsiteY51" fmla="*/ 300038 h 564357"/>
                <a:gd name="connsiteX52" fmla="*/ 130968 w 1059656"/>
                <a:gd name="connsiteY52" fmla="*/ 359569 h 564357"/>
                <a:gd name="connsiteX53" fmla="*/ 169068 w 1059656"/>
                <a:gd name="connsiteY53" fmla="*/ 388144 h 564357"/>
                <a:gd name="connsiteX54" fmla="*/ 185737 w 1059656"/>
                <a:gd name="connsiteY54" fmla="*/ 411957 h 564357"/>
                <a:gd name="connsiteX55" fmla="*/ 180975 w 1059656"/>
                <a:gd name="connsiteY55" fmla="*/ 442913 h 564357"/>
                <a:gd name="connsiteX56" fmla="*/ 173831 w 1059656"/>
                <a:gd name="connsiteY56" fmla="*/ 471488 h 564357"/>
                <a:gd name="connsiteX57" fmla="*/ 130968 w 1059656"/>
                <a:gd name="connsiteY57" fmla="*/ 473869 h 564357"/>
                <a:gd name="connsiteX58" fmla="*/ 95250 w 1059656"/>
                <a:gd name="connsiteY58" fmla="*/ 488157 h 564357"/>
                <a:gd name="connsiteX59" fmla="*/ 71437 w 1059656"/>
                <a:gd name="connsiteY59" fmla="*/ 492919 h 564357"/>
                <a:gd name="connsiteX60" fmla="*/ 50006 w 1059656"/>
                <a:gd name="connsiteY60" fmla="*/ 504825 h 564357"/>
                <a:gd name="connsiteX61" fmla="*/ 30956 w 1059656"/>
                <a:gd name="connsiteY61" fmla="*/ 521494 h 564357"/>
                <a:gd name="connsiteX62" fmla="*/ 7143 w 1059656"/>
                <a:gd name="connsiteY62" fmla="*/ 528638 h 564357"/>
                <a:gd name="connsiteX63" fmla="*/ 0 w 1059656"/>
                <a:gd name="connsiteY63" fmla="*/ 533400 h 564357"/>
                <a:gd name="connsiteX64" fmla="*/ 38100 w 1059656"/>
                <a:gd name="connsiteY64" fmla="*/ 561975 h 564357"/>
                <a:gd name="connsiteX65" fmla="*/ 80962 w 1059656"/>
                <a:gd name="connsiteY65" fmla="*/ 559594 h 564357"/>
                <a:gd name="connsiteX66" fmla="*/ 116681 w 1059656"/>
                <a:gd name="connsiteY66" fmla="*/ 526257 h 564357"/>
                <a:gd name="connsiteX67" fmla="*/ 171450 w 1059656"/>
                <a:gd name="connsiteY67" fmla="*/ 500063 h 564357"/>
                <a:gd name="connsiteX68" fmla="*/ 278606 w 1059656"/>
                <a:gd name="connsiteY68" fmla="*/ 492919 h 564357"/>
                <a:gd name="connsiteX69" fmla="*/ 292893 w 1059656"/>
                <a:gd name="connsiteY69" fmla="*/ 481013 h 564357"/>
                <a:gd name="connsiteX70" fmla="*/ 357187 w 1059656"/>
                <a:gd name="connsiteY70" fmla="*/ 481013 h 564357"/>
                <a:gd name="connsiteX71" fmla="*/ 433387 w 1059656"/>
                <a:gd name="connsiteY71" fmla="*/ 388144 h 564357"/>
                <a:gd name="connsiteX72" fmla="*/ 559593 w 1059656"/>
                <a:gd name="connsiteY72" fmla="*/ 328613 h 564357"/>
                <a:gd name="connsiteX73" fmla="*/ 619125 w 1059656"/>
                <a:gd name="connsiteY73" fmla="*/ 321469 h 564357"/>
                <a:gd name="connsiteX74" fmla="*/ 654843 w 1059656"/>
                <a:gd name="connsiteY74" fmla="*/ 295275 h 564357"/>
                <a:gd name="connsiteX75" fmla="*/ 716756 w 1059656"/>
                <a:gd name="connsiteY75" fmla="*/ 292894 h 564357"/>
                <a:gd name="connsiteX76" fmla="*/ 771525 w 1059656"/>
                <a:gd name="connsiteY76" fmla="*/ 285750 h 564357"/>
                <a:gd name="connsiteX77" fmla="*/ 781050 w 1059656"/>
                <a:gd name="connsiteY77" fmla="*/ 323850 h 564357"/>
                <a:gd name="connsiteX78" fmla="*/ 773906 w 1059656"/>
                <a:gd name="connsiteY78" fmla="*/ 445294 h 564357"/>
                <a:gd name="connsiteX79" fmla="*/ 707231 w 1059656"/>
                <a:gd name="connsiteY79" fmla="*/ 461963 h 564357"/>
                <a:gd name="connsiteX80" fmla="*/ 652461 w 1059656"/>
                <a:gd name="connsiteY80" fmla="*/ 509587 h 564357"/>
                <a:gd name="connsiteX81" fmla="*/ 654844 w 1059656"/>
                <a:gd name="connsiteY81" fmla="*/ 528638 h 564357"/>
                <a:gd name="connsiteX82" fmla="*/ 697706 w 1059656"/>
                <a:gd name="connsiteY82"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57249 w 1059656"/>
                <a:gd name="connsiteY25" fmla="*/ 28576 h 564357"/>
                <a:gd name="connsiteX26" fmla="*/ 833437 w 1059656"/>
                <a:gd name="connsiteY26" fmla="*/ 0 h 564357"/>
                <a:gd name="connsiteX27" fmla="*/ 809625 w 1059656"/>
                <a:gd name="connsiteY27" fmla="*/ 33338 h 564357"/>
                <a:gd name="connsiteX28" fmla="*/ 797718 w 1059656"/>
                <a:gd name="connsiteY28" fmla="*/ 50007 h 564357"/>
                <a:gd name="connsiteX29" fmla="*/ 757237 w 1059656"/>
                <a:gd name="connsiteY29" fmla="*/ 45244 h 564357"/>
                <a:gd name="connsiteX30" fmla="*/ 735806 w 1059656"/>
                <a:gd name="connsiteY30" fmla="*/ 50007 h 564357"/>
                <a:gd name="connsiteX31" fmla="*/ 719137 w 1059656"/>
                <a:gd name="connsiteY31" fmla="*/ 78582 h 564357"/>
                <a:gd name="connsiteX32" fmla="*/ 723900 w 1059656"/>
                <a:gd name="connsiteY32" fmla="*/ 97632 h 564357"/>
                <a:gd name="connsiteX33" fmla="*/ 707231 w 1059656"/>
                <a:gd name="connsiteY33" fmla="*/ 111919 h 564357"/>
                <a:gd name="connsiteX34" fmla="*/ 631031 w 1059656"/>
                <a:gd name="connsiteY34" fmla="*/ 114300 h 564357"/>
                <a:gd name="connsiteX35" fmla="*/ 597693 w 1059656"/>
                <a:gd name="connsiteY35" fmla="*/ 100013 h 564357"/>
                <a:gd name="connsiteX36" fmla="*/ 569118 w 1059656"/>
                <a:gd name="connsiteY36" fmla="*/ 71438 h 564357"/>
                <a:gd name="connsiteX37" fmla="*/ 531018 w 1059656"/>
                <a:gd name="connsiteY37" fmla="*/ 66675 h 564357"/>
                <a:gd name="connsiteX38" fmla="*/ 497681 w 1059656"/>
                <a:gd name="connsiteY38" fmla="*/ 90488 h 564357"/>
                <a:gd name="connsiteX39" fmla="*/ 481012 w 1059656"/>
                <a:gd name="connsiteY39" fmla="*/ 109538 h 564357"/>
                <a:gd name="connsiteX40" fmla="*/ 466725 w 1059656"/>
                <a:gd name="connsiteY40" fmla="*/ 126207 h 564357"/>
                <a:gd name="connsiteX41" fmla="*/ 450056 w 1059656"/>
                <a:gd name="connsiteY41" fmla="*/ 145257 h 564357"/>
                <a:gd name="connsiteX42" fmla="*/ 454818 w 1059656"/>
                <a:gd name="connsiteY42" fmla="*/ 171450 h 564357"/>
                <a:gd name="connsiteX43" fmla="*/ 423862 w 1059656"/>
                <a:gd name="connsiteY43" fmla="*/ 195263 h 564357"/>
                <a:gd name="connsiteX44" fmla="*/ 371475 w 1059656"/>
                <a:gd name="connsiteY44" fmla="*/ 204788 h 564357"/>
                <a:gd name="connsiteX45" fmla="*/ 330993 w 1059656"/>
                <a:gd name="connsiteY45" fmla="*/ 223838 h 564357"/>
                <a:gd name="connsiteX46" fmla="*/ 321468 w 1059656"/>
                <a:gd name="connsiteY46" fmla="*/ 261938 h 564357"/>
                <a:gd name="connsiteX47" fmla="*/ 319087 w 1059656"/>
                <a:gd name="connsiteY47" fmla="*/ 269082 h 564357"/>
                <a:gd name="connsiteX48" fmla="*/ 266700 w 1059656"/>
                <a:gd name="connsiteY48" fmla="*/ 285750 h 564357"/>
                <a:gd name="connsiteX49" fmla="*/ 180975 w 1059656"/>
                <a:gd name="connsiteY49" fmla="*/ 316707 h 564357"/>
                <a:gd name="connsiteX50" fmla="*/ 157162 w 1059656"/>
                <a:gd name="connsiteY50" fmla="*/ 309563 h 564357"/>
                <a:gd name="connsiteX51" fmla="*/ 128587 w 1059656"/>
                <a:gd name="connsiteY51" fmla="*/ 300038 h 564357"/>
                <a:gd name="connsiteX52" fmla="*/ 130968 w 1059656"/>
                <a:gd name="connsiteY52" fmla="*/ 359569 h 564357"/>
                <a:gd name="connsiteX53" fmla="*/ 169068 w 1059656"/>
                <a:gd name="connsiteY53" fmla="*/ 388144 h 564357"/>
                <a:gd name="connsiteX54" fmla="*/ 185737 w 1059656"/>
                <a:gd name="connsiteY54" fmla="*/ 411957 h 564357"/>
                <a:gd name="connsiteX55" fmla="*/ 180975 w 1059656"/>
                <a:gd name="connsiteY55" fmla="*/ 442913 h 564357"/>
                <a:gd name="connsiteX56" fmla="*/ 173831 w 1059656"/>
                <a:gd name="connsiteY56" fmla="*/ 471488 h 564357"/>
                <a:gd name="connsiteX57" fmla="*/ 130968 w 1059656"/>
                <a:gd name="connsiteY57" fmla="*/ 473869 h 564357"/>
                <a:gd name="connsiteX58" fmla="*/ 95250 w 1059656"/>
                <a:gd name="connsiteY58" fmla="*/ 488157 h 564357"/>
                <a:gd name="connsiteX59" fmla="*/ 71437 w 1059656"/>
                <a:gd name="connsiteY59" fmla="*/ 492919 h 564357"/>
                <a:gd name="connsiteX60" fmla="*/ 50006 w 1059656"/>
                <a:gd name="connsiteY60" fmla="*/ 504825 h 564357"/>
                <a:gd name="connsiteX61" fmla="*/ 30956 w 1059656"/>
                <a:gd name="connsiteY61" fmla="*/ 521494 h 564357"/>
                <a:gd name="connsiteX62" fmla="*/ 7143 w 1059656"/>
                <a:gd name="connsiteY62" fmla="*/ 528638 h 564357"/>
                <a:gd name="connsiteX63" fmla="*/ 0 w 1059656"/>
                <a:gd name="connsiteY63" fmla="*/ 533400 h 564357"/>
                <a:gd name="connsiteX64" fmla="*/ 38100 w 1059656"/>
                <a:gd name="connsiteY64" fmla="*/ 561975 h 564357"/>
                <a:gd name="connsiteX65" fmla="*/ 80962 w 1059656"/>
                <a:gd name="connsiteY65" fmla="*/ 559594 h 564357"/>
                <a:gd name="connsiteX66" fmla="*/ 116681 w 1059656"/>
                <a:gd name="connsiteY66" fmla="*/ 526257 h 564357"/>
                <a:gd name="connsiteX67" fmla="*/ 171450 w 1059656"/>
                <a:gd name="connsiteY67" fmla="*/ 500063 h 564357"/>
                <a:gd name="connsiteX68" fmla="*/ 278606 w 1059656"/>
                <a:gd name="connsiteY68" fmla="*/ 492919 h 564357"/>
                <a:gd name="connsiteX69" fmla="*/ 292893 w 1059656"/>
                <a:gd name="connsiteY69" fmla="*/ 481013 h 564357"/>
                <a:gd name="connsiteX70" fmla="*/ 357187 w 1059656"/>
                <a:gd name="connsiteY70" fmla="*/ 481013 h 564357"/>
                <a:gd name="connsiteX71" fmla="*/ 433387 w 1059656"/>
                <a:gd name="connsiteY71" fmla="*/ 388144 h 564357"/>
                <a:gd name="connsiteX72" fmla="*/ 559593 w 1059656"/>
                <a:gd name="connsiteY72" fmla="*/ 328613 h 564357"/>
                <a:gd name="connsiteX73" fmla="*/ 619125 w 1059656"/>
                <a:gd name="connsiteY73" fmla="*/ 321469 h 564357"/>
                <a:gd name="connsiteX74" fmla="*/ 654843 w 1059656"/>
                <a:gd name="connsiteY74" fmla="*/ 295275 h 564357"/>
                <a:gd name="connsiteX75" fmla="*/ 716756 w 1059656"/>
                <a:gd name="connsiteY75" fmla="*/ 292894 h 564357"/>
                <a:gd name="connsiteX76" fmla="*/ 771525 w 1059656"/>
                <a:gd name="connsiteY76" fmla="*/ 285750 h 564357"/>
                <a:gd name="connsiteX77" fmla="*/ 781050 w 1059656"/>
                <a:gd name="connsiteY77" fmla="*/ 323850 h 564357"/>
                <a:gd name="connsiteX78" fmla="*/ 773906 w 1059656"/>
                <a:gd name="connsiteY78" fmla="*/ 445294 h 564357"/>
                <a:gd name="connsiteX79" fmla="*/ 707231 w 1059656"/>
                <a:gd name="connsiteY79" fmla="*/ 461963 h 564357"/>
                <a:gd name="connsiteX80" fmla="*/ 652461 w 1059656"/>
                <a:gd name="connsiteY80" fmla="*/ 509587 h 564357"/>
                <a:gd name="connsiteX81" fmla="*/ 654844 w 1059656"/>
                <a:gd name="connsiteY81" fmla="*/ 528638 h 564357"/>
                <a:gd name="connsiteX82" fmla="*/ 697706 w 1059656"/>
                <a:gd name="connsiteY82"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45343 w 1059656"/>
                <a:gd name="connsiteY25" fmla="*/ 61913 h 564357"/>
                <a:gd name="connsiteX26" fmla="*/ 857249 w 1059656"/>
                <a:gd name="connsiteY26" fmla="*/ 28576 h 564357"/>
                <a:gd name="connsiteX27" fmla="*/ 833437 w 1059656"/>
                <a:gd name="connsiteY27" fmla="*/ 0 h 564357"/>
                <a:gd name="connsiteX28" fmla="*/ 809625 w 1059656"/>
                <a:gd name="connsiteY28" fmla="*/ 33338 h 564357"/>
                <a:gd name="connsiteX29" fmla="*/ 797718 w 1059656"/>
                <a:gd name="connsiteY29" fmla="*/ 50007 h 564357"/>
                <a:gd name="connsiteX30" fmla="*/ 757237 w 1059656"/>
                <a:gd name="connsiteY30" fmla="*/ 45244 h 564357"/>
                <a:gd name="connsiteX31" fmla="*/ 735806 w 1059656"/>
                <a:gd name="connsiteY31" fmla="*/ 50007 h 564357"/>
                <a:gd name="connsiteX32" fmla="*/ 719137 w 1059656"/>
                <a:gd name="connsiteY32" fmla="*/ 78582 h 564357"/>
                <a:gd name="connsiteX33" fmla="*/ 723900 w 1059656"/>
                <a:gd name="connsiteY33" fmla="*/ 97632 h 564357"/>
                <a:gd name="connsiteX34" fmla="*/ 707231 w 1059656"/>
                <a:gd name="connsiteY34" fmla="*/ 111919 h 564357"/>
                <a:gd name="connsiteX35" fmla="*/ 631031 w 1059656"/>
                <a:gd name="connsiteY35" fmla="*/ 114300 h 564357"/>
                <a:gd name="connsiteX36" fmla="*/ 597693 w 1059656"/>
                <a:gd name="connsiteY36" fmla="*/ 100013 h 564357"/>
                <a:gd name="connsiteX37" fmla="*/ 569118 w 1059656"/>
                <a:gd name="connsiteY37" fmla="*/ 71438 h 564357"/>
                <a:gd name="connsiteX38" fmla="*/ 531018 w 1059656"/>
                <a:gd name="connsiteY38" fmla="*/ 66675 h 564357"/>
                <a:gd name="connsiteX39" fmla="*/ 497681 w 1059656"/>
                <a:gd name="connsiteY39" fmla="*/ 90488 h 564357"/>
                <a:gd name="connsiteX40" fmla="*/ 481012 w 1059656"/>
                <a:gd name="connsiteY40" fmla="*/ 109538 h 564357"/>
                <a:gd name="connsiteX41" fmla="*/ 466725 w 1059656"/>
                <a:gd name="connsiteY41" fmla="*/ 126207 h 564357"/>
                <a:gd name="connsiteX42" fmla="*/ 450056 w 1059656"/>
                <a:gd name="connsiteY42" fmla="*/ 145257 h 564357"/>
                <a:gd name="connsiteX43" fmla="*/ 454818 w 1059656"/>
                <a:gd name="connsiteY43" fmla="*/ 171450 h 564357"/>
                <a:gd name="connsiteX44" fmla="*/ 423862 w 1059656"/>
                <a:gd name="connsiteY44" fmla="*/ 195263 h 564357"/>
                <a:gd name="connsiteX45" fmla="*/ 371475 w 1059656"/>
                <a:gd name="connsiteY45" fmla="*/ 204788 h 564357"/>
                <a:gd name="connsiteX46" fmla="*/ 330993 w 1059656"/>
                <a:gd name="connsiteY46" fmla="*/ 223838 h 564357"/>
                <a:gd name="connsiteX47" fmla="*/ 321468 w 1059656"/>
                <a:gd name="connsiteY47" fmla="*/ 261938 h 564357"/>
                <a:gd name="connsiteX48" fmla="*/ 319087 w 1059656"/>
                <a:gd name="connsiteY48" fmla="*/ 269082 h 564357"/>
                <a:gd name="connsiteX49" fmla="*/ 266700 w 1059656"/>
                <a:gd name="connsiteY49" fmla="*/ 285750 h 564357"/>
                <a:gd name="connsiteX50" fmla="*/ 180975 w 1059656"/>
                <a:gd name="connsiteY50" fmla="*/ 316707 h 564357"/>
                <a:gd name="connsiteX51" fmla="*/ 157162 w 1059656"/>
                <a:gd name="connsiteY51" fmla="*/ 309563 h 564357"/>
                <a:gd name="connsiteX52" fmla="*/ 128587 w 1059656"/>
                <a:gd name="connsiteY52" fmla="*/ 300038 h 564357"/>
                <a:gd name="connsiteX53" fmla="*/ 130968 w 1059656"/>
                <a:gd name="connsiteY53" fmla="*/ 359569 h 564357"/>
                <a:gd name="connsiteX54" fmla="*/ 169068 w 1059656"/>
                <a:gd name="connsiteY54" fmla="*/ 388144 h 564357"/>
                <a:gd name="connsiteX55" fmla="*/ 185737 w 1059656"/>
                <a:gd name="connsiteY55" fmla="*/ 411957 h 564357"/>
                <a:gd name="connsiteX56" fmla="*/ 180975 w 1059656"/>
                <a:gd name="connsiteY56" fmla="*/ 442913 h 564357"/>
                <a:gd name="connsiteX57" fmla="*/ 173831 w 1059656"/>
                <a:gd name="connsiteY57" fmla="*/ 471488 h 564357"/>
                <a:gd name="connsiteX58" fmla="*/ 130968 w 1059656"/>
                <a:gd name="connsiteY58" fmla="*/ 473869 h 564357"/>
                <a:gd name="connsiteX59" fmla="*/ 95250 w 1059656"/>
                <a:gd name="connsiteY59" fmla="*/ 488157 h 564357"/>
                <a:gd name="connsiteX60" fmla="*/ 71437 w 1059656"/>
                <a:gd name="connsiteY60" fmla="*/ 492919 h 564357"/>
                <a:gd name="connsiteX61" fmla="*/ 50006 w 1059656"/>
                <a:gd name="connsiteY61" fmla="*/ 504825 h 564357"/>
                <a:gd name="connsiteX62" fmla="*/ 30956 w 1059656"/>
                <a:gd name="connsiteY62" fmla="*/ 521494 h 564357"/>
                <a:gd name="connsiteX63" fmla="*/ 7143 w 1059656"/>
                <a:gd name="connsiteY63" fmla="*/ 528638 h 564357"/>
                <a:gd name="connsiteX64" fmla="*/ 0 w 1059656"/>
                <a:gd name="connsiteY64" fmla="*/ 533400 h 564357"/>
                <a:gd name="connsiteX65" fmla="*/ 38100 w 1059656"/>
                <a:gd name="connsiteY65" fmla="*/ 561975 h 564357"/>
                <a:gd name="connsiteX66" fmla="*/ 80962 w 1059656"/>
                <a:gd name="connsiteY66" fmla="*/ 559594 h 564357"/>
                <a:gd name="connsiteX67" fmla="*/ 116681 w 1059656"/>
                <a:gd name="connsiteY67" fmla="*/ 526257 h 564357"/>
                <a:gd name="connsiteX68" fmla="*/ 171450 w 1059656"/>
                <a:gd name="connsiteY68" fmla="*/ 500063 h 564357"/>
                <a:gd name="connsiteX69" fmla="*/ 278606 w 1059656"/>
                <a:gd name="connsiteY69" fmla="*/ 492919 h 564357"/>
                <a:gd name="connsiteX70" fmla="*/ 292893 w 1059656"/>
                <a:gd name="connsiteY70" fmla="*/ 481013 h 564357"/>
                <a:gd name="connsiteX71" fmla="*/ 357187 w 1059656"/>
                <a:gd name="connsiteY71" fmla="*/ 481013 h 564357"/>
                <a:gd name="connsiteX72" fmla="*/ 433387 w 1059656"/>
                <a:gd name="connsiteY72" fmla="*/ 388144 h 564357"/>
                <a:gd name="connsiteX73" fmla="*/ 559593 w 1059656"/>
                <a:gd name="connsiteY73" fmla="*/ 328613 h 564357"/>
                <a:gd name="connsiteX74" fmla="*/ 619125 w 1059656"/>
                <a:gd name="connsiteY74" fmla="*/ 321469 h 564357"/>
                <a:gd name="connsiteX75" fmla="*/ 654843 w 1059656"/>
                <a:gd name="connsiteY75" fmla="*/ 295275 h 564357"/>
                <a:gd name="connsiteX76" fmla="*/ 716756 w 1059656"/>
                <a:gd name="connsiteY76" fmla="*/ 292894 h 564357"/>
                <a:gd name="connsiteX77" fmla="*/ 771525 w 1059656"/>
                <a:gd name="connsiteY77" fmla="*/ 285750 h 564357"/>
                <a:gd name="connsiteX78" fmla="*/ 781050 w 1059656"/>
                <a:gd name="connsiteY78" fmla="*/ 323850 h 564357"/>
                <a:gd name="connsiteX79" fmla="*/ 773906 w 1059656"/>
                <a:gd name="connsiteY79" fmla="*/ 445294 h 564357"/>
                <a:gd name="connsiteX80" fmla="*/ 707231 w 1059656"/>
                <a:gd name="connsiteY80" fmla="*/ 461963 h 564357"/>
                <a:gd name="connsiteX81" fmla="*/ 652461 w 1059656"/>
                <a:gd name="connsiteY81" fmla="*/ 509587 h 564357"/>
                <a:gd name="connsiteX82" fmla="*/ 654844 w 1059656"/>
                <a:gd name="connsiteY82" fmla="*/ 528638 h 564357"/>
                <a:gd name="connsiteX83" fmla="*/ 697706 w 1059656"/>
                <a:gd name="connsiteY83"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59630 w 1059656"/>
                <a:gd name="connsiteY25" fmla="*/ 66676 h 564357"/>
                <a:gd name="connsiteX26" fmla="*/ 857249 w 1059656"/>
                <a:gd name="connsiteY26" fmla="*/ 28576 h 564357"/>
                <a:gd name="connsiteX27" fmla="*/ 833437 w 1059656"/>
                <a:gd name="connsiteY27" fmla="*/ 0 h 564357"/>
                <a:gd name="connsiteX28" fmla="*/ 809625 w 1059656"/>
                <a:gd name="connsiteY28" fmla="*/ 33338 h 564357"/>
                <a:gd name="connsiteX29" fmla="*/ 797718 w 1059656"/>
                <a:gd name="connsiteY29" fmla="*/ 50007 h 564357"/>
                <a:gd name="connsiteX30" fmla="*/ 757237 w 1059656"/>
                <a:gd name="connsiteY30" fmla="*/ 45244 h 564357"/>
                <a:gd name="connsiteX31" fmla="*/ 735806 w 1059656"/>
                <a:gd name="connsiteY31" fmla="*/ 50007 h 564357"/>
                <a:gd name="connsiteX32" fmla="*/ 719137 w 1059656"/>
                <a:gd name="connsiteY32" fmla="*/ 78582 h 564357"/>
                <a:gd name="connsiteX33" fmla="*/ 723900 w 1059656"/>
                <a:gd name="connsiteY33" fmla="*/ 97632 h 564357"/>
                <a:gd name="connsiteX34" fmla="*/ 707231 w 1059656"/>
                <a:gd name="connsiteY34" fmla="*/ 111919 h 564357"/>
                <a:gd name="connsiteX35" fmla="*/ 631031 w 1059656"/>
                <a:gd name="connsiteY35" fmla="*/ 114300 h 564357"/>
                <a:gd name="connsiteX36" fmla="*/ 597693 w 1059656"/>
                <a:gd name="connsiteY36" fmla="*/ 100013 h 564357"/>
                <a:gd name="connsiteX37" fmla="*/ 569118 w 1059656"/>
                <a:gd name="connsiteY37" fmla="*/ 71438 h 564357"/>
                <a:gd name="connsiteX38" fmla="*/ 531018 w 1059656"/>
                <a:gd name="connsiteY38" fmla="*/ 66675 h 564357"/>
                <a:gd name="connsiteX39" fmla="*/ 497681 w 1059656"/>
                <a:gd name="connsiteY39" fmla="*/ 90488 h 564357"/>
                <a:gd name="connsiteX40" fmla="*/ 481012 w 1059656"/>
                <a:gd name="connsiteY40" fmla="*/ 109538 h 564357"/>
                <a:gd name="connsiteX41" fmla="*/ 466725 w 1059656"/>
                <a:gd name="connsiteY41" fmla="*/ 126207 h 564357"/>
                <a:gd name="connsiteX42" fmla="*/ 450056 w 1059656"/>
                <a:gd name="connsiteY42" fmla="*/ 145257 h 564357"/>
                <a:gd name="connsiteX43" fmla="*/ 454818 w 1059656"/>
                <a:gd name="connsiteY43" fmla="*/ 171450 h 564357"/>
                <a:gd name="connsiteX44" fmla="*/ 423862 w 1059656"/>
                <a:gd name="connsiteY44" fmla="*/ 195263 h 564357"/>
                <a:gd name="connsiteX45" fmla="*/ 371475 w 1059656"/>
                <a:gd name="connsiteY45" fmla="*/ 204788 h 564357"/>
                <a:gd name="connsiteX46" fmla="*/ 330993 w 1059656"/>
                <a:gd name="connsiteY46" fmla="*/ 223838 h 564357"/>
                <a:gd name="connsiteX47" fmla="*/ 321468 w 1059656"/>
                <a:gd name="connsiteY47" fmla="*/ 261938 h 564357"/>
                <a:gd name="connsiteX48" fmla="*/ 319087 w 1059656"/>
                <a:gd name="connsiteY48" fmla="*/ 269082 h 564357"/>
                <a:gd name="connsiteX49" fmla="*/ 266700 w 1059656"/>
                <a:gd name="connsiteY49" fmla="*/ 285750 h 564357"/>
                <a:gd name="connsiteX50" fmla="*/ 180975 w 1059656"/>
                <a:gd name="connsiteY50" fmla="*/ 316707 h 564357"/>
                <a:gd name="connsiteX51" fmla="*/ 157162 w 1059656"/>
                <a:gd name="connsiteY51" fmla="*/ 309563 h 564357"/>
                <a:gd name="connsiteX52" fmla="*/ 128587 w 1059656"/>
                <a:gd name="connsiteY52" fmla="*/ 300038 h 564357"/>
                <a:gd name="connsiteX53" fmla="*/ 130968 w 1059656"/>
                <a:gd name="connsiteY53" fmla="*/ 359569 h 564357"/>
                <a:gd name="connsiteX54" fmla="*/ 169068 w 1059656"/>
                <a:gd name="connsiteY54" fmla="*/ 388144 h 564357"/>
                <a:gd name="connsiteX55" fmla="*/ 185737 w 1059656"/>
                <a:gd name="connsiteY55" fmla="*/ 411957 h 564357"/>
                <a:gd name="connsiteX56" fmla="*/ 180975 w 1059656"/>
                <a:gd name="connsiteY56" fmla="*/ 442913 h 564357"/>
                <a:gd name="connsiteX57" fmla="*/ 173831 w 1059656"/>
                <a:gd name="connsiteY57" fmla="*/ 471488 h 564357"/>
                <a:gd name="connsiteX58" fmla="*/ 130968 w 1059656"/>
                <a:gd name="connsiteY58" fmla="*/ 473869 h 564357"/>
                <a:gd name="connsiteX59" fmla="*/ 95250 w 1059656"/>
                <a:gd name="connsiteY59" fmla="*/ 488157 h 564357"/>
                <a:gd name="connsiteX60" fmla="*/ 71437 w 1059656"/>
                <a:gd name="connsiteY60" fmla="*/ 492919 h 564357"/>
                <a:gd name="connsiteX61" fmla="*/ 50006 w 1059656"/>
                <a:gd name="connsiteY61" fmla="*/ 504825 h 564357"/>
                <a:gd name="connsiteX62" fmla="*/ 30956 w 1059656"/>
                <a:gd name="connsiteY62" fmla="*/ 521494 h 564357"/>
                <a:gd name="connsiteX63" fmla="*/ 7143 w 1059656"/>
                <a:gd name="connsiteY63" fmla="*/ 528638 h 564357"/>
                <a:gd name="connsiteX64" fmla="*/ 0 w 1059656"/>
                <a:gd name="connsiteY64" fmla="*/ 533400 h 564357"/>
                <a:gd name="connsiteX65" fmla="*/ 38100 w 1059656"/>
                <a:gd name="connsiteY65" fmla="*/ 561975 h 564357"/>
                <a:gd name="connsiteX66" fmla="*/ 80962 w 1059656"/>
                <a:gd name="connsiteY66" fmla="*/ 559594 h 564357"/>
                <a:gd name="connsiteX67" fmla="*/ 116681 w 1059656"/>
                <a:gd name="connsiteY67" fmla="*/ 526257 h 564357"/>
                <a:gd name="connsiteX68" fmla="*/ 171450 w 1059656"/>
                <a:gd name="connsiteY68" fmla="*/ 500063 h 564357"/>
                <a:gd name="connsiteX69" fmla="*/ 278606 w 1059656"/>
                <a:gd name="connsiteY69" fmla="*/ 492919 h 564357"/>
                <a:gd name="connsiteX70" fmla="*/ 292893 w 1059656"/>
                <a:gd name="connsiteY70" fmla="*/ 481013 h 564357"/>
                <a:gd name="connsiteX71" fmla="*/ 357187 w 1059656"/>
                <a:gd name="connsiteY71" fmla="*/ 481013 h 564357"/>
                <a:gd name="connsiteX72" fmla="*/ 433387 w 1059656"/>
                <a:gd name="connsiteY72" fmla="*/ 388144 h 564357"/>
                <a:gd name="connsiteX73" fmla="*/ 559593 w 1059656"/>
                <a:gd name="connsiteY73" fmla="*/ 328613 h 564357"/>
                <a:gd name="connsiteX74" fmla="*/ 619125 w 1059656"/>
                <a:gd name="connsiteY74" fmla="*/ 321469 h 564357"/>
                <a:gd name="connsiteX75" fmla="*/ 654843 w 1059656"/>
                <a:gd name="connsiteY75" fmla="*/ 295275 h 564357"/>
                <a:gd name="connsiteX76" fmla="*/ 716756 w 1059656"/>
                <a:gd name="connsiteY76" fmla="*/ 292894 h 564357"/>
                <a:gd name="connsiteX77" fmla="*/ 771525 w 1059656"/>
                <a:gd name="connsiteY77" fmla="*/ 285750 h 564357"/>
                <a:gd name="connsiteX78" fmla="*/ 781050 w 1059656"/>
                <a:gd name="connsiteY78" fmla="*/ 323850 h 564357"/>
                <a:gd name="connsiteX79" fmla="*/ 773906 w 1059656"/>
                <a:gd name="connsiteY79" fmla="*/ 445294 h 564357"/>
                <a:gd name="connsiteX80" fmla="*/ 707231 w 1059656"/>
                <a:gd name="connsiteY80" fmla="*/ 461963 h 564357"/>
                <a:gd name="connsiteX81" fmla="*/ 652461 w 1059656"/>
                <a:gd name="connsiteY81" fmla="*/ 509587 h 564357"/>
                <a:gd name="connsiteX82" fmla="*/ 654844 w 1059656"/>
                <a:gd name="connsiteY82" fmla="*/ 528638 h 564357"/>
                <a:gd name="connsiteX83" fmla="*/ 697706 w 1059656"/>
                <a:gd name="connsiteY83"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52488 w 1059656"/>
                <a:gd name="connsiteY24" fmla="*/ 92869 h 564357"/>
                <a:gd name="connsiteX25" fmla="*/ 859630 w 1059656"/>
                <a:gd name="connsiteY25" fmla="*/ 66676 h 564357"/>
                <a:gd name="connsiteX26" fmla="*/ 857249 w 1059656"/>
                <a:gd name="connsiteY26" fmla="*/ 28576 h 564357"/>
                <a:gd name="connsiteX27" fmla="*/ 833437 w 1059656"/>
                <a:gd name="connsiteY27" fmla="*/ 0 h 564357"/>
                <a:gd name="connsiteX28" fmla="*/ 809625 w 1059656"/>
                <a:gd name="connsiteY28" fmla="*/ 33338 h 564357"/>
                <a:gd name="connsiteX29" fmla="*/ 797718 w 1059656"/>
                <a:gd name="connsiteY29" fmla="*/ 50007 h 564357"/>
                <a:gd name="connsiteX30" fmla="*/ 757237 w 1059656"/>
                <a:gd name="connsiteY30" fmla="*/ 45244 h 564357"/>
                <a:gd name="connsiteX31" fmla="*/ 735806 w 1059656"/>
                <a:gd name="connsiteY31" fmla="*/ 50007 h 564357"/>
                <a:gd name="connsiteX32" fmla="*/ 719137 w 1059656"/>
                <a:gd name="connsiteY32" fmla="*/ 78582 h 564357"/>
                <a:gd name="connsiteX33" fmla="*/ 723900 w 1059656"/>
                <a:gd name="connsiteY33" fmla="*/ 97632 h 564357"/>
                <a:gd name="connsiteX34" fmla="*/ 707231 w 1059656"/>
                <a:gd name="connsiteY34" fmla="*/ 111919 h 564357"/>
                <a:gd name="connsiteX35" fmla="*/ 631031 w 1059656"/>
                <a:gd name="connsiteY35" fmla="*/ 114300 h 564357"/>
                <a:gd name="connsiteX36" fmla="*/ 597693 w 1059656"/>
                <a:gd name="connsiteY36" fmla="*/ 100013 h 564357"/>
                <a:gd name="connsiteX37" fmla="*/ 569118 w 1059656"/>
                <a:gd name="connsiteY37" fmla="*/ 71438 h 564357"/>
                <a:gd name="connsiteX38" fmla="*/ 531018 w 1059656"/>
                <a:gd name="connsiteY38" fmla="*/ 66675 h 564357"/>
                <a:gd name="connsiteX39" fmla="*/ 497681 w 1059656"/>
                <a:gd name="connsiteY39" fmla="*/ 90488 h 564357"/>
                <a:gd name="connsiteX40" fmla="*/ 481012 w 1059656"/>
                <a:gd name="connsiteY40" fmla="*/ 109538 h 564357"/>
                <a:gd name="connsiteX41" fmla="*/ 466725 w 1059656"/>
                <a:gd name="connsiteY41" fmla="*/ 126207 h 564357"/>
                <a:gd name="connsiteX42" fmla="*/ 450056 w 1059656"/>
                <a:gd name="connsiteY42" fmla="*/ 145257 h 564357"/>
                <a:gd name="connsiteX43" fmla="*/ 454818 w 1059656"/>
                <a:gd name="connsiteY43" fmla="*/ 171450 h 564357"/>
                <a:gd name="connsiteX44" fmla="*/ 423862 w 1059656"/>
                <a:gd name="connsiteY44" fmla="*/ 195263 h 564357"/>
                <a:gd name="connsiteX45" fmla="*/ 371475 w 1059656"/>
                <a:gd name="connsiteY45" fmla="*/ 204788 h 564357"/>
                <a:gd name="connsiteX46" fmla="*/ 330993 w 1059656"/>
                <a:gd name="connsiteY46" fmla="*/ 223838 h 564357"/>
                <a:gd name="connsiteX47" fmla="*/ 321468 w 1059656"/>
                <a:gd name="connsiteY47" fmla="*/ 261938 h 564357"/>
                <a:gd name="connsiteX48" fmla="*/ 319087 w 1059656"/>
                <a:gd name="connsiteY48" fmla="*/ 269082 h 564357"/>
                <a:gd name="connsiteX49" fmla="*/ 266700 w 1059656"/>
                <a:gd name="connsiteY49" fmla="*/ 285750 h 564357"/>
                <a:gd name="connsiteX50" fmla="*/ 180975 w 1059656"/>
                <a:gd name="connsiteY50" fmla="*/ 316707 h 564357"/>
                <a:gd name="connsiteX51" fmla="*/ 157162 w 1059656"/>
                <a:gd name="connsiteY51" fmla="*/ 309563 h 564357"/>
                <a:gd name="connsiteX52" fmla="*/ 128587 w 1059656"/>
                <a:gd name="connsiteY52" fmla="*/ 300038 h 564357"/>
                <a:gd name="connsiteX53" fmla="*/ 130968 w 1059656"/>
                <a:gd name="connsiteY53" fmla="*/ 359569 h 564357"/>
                <a:gd name="connsiteX54" fmla="*/ 169068 w 1059656"/>
                <a:gd name="connsiteY54" fmla="*/ 388144 h 564357"/>
                <a:gd name="connsiteX55" fmla="*/ 185737 w 1059656"/>
                <a:gd name="connsiteY55" fmla="*/ 411957 h 564357"/>
                <a:gd name="connsiteX56" fmla="*/ 180975 w 1059656"/>
                <a:gd name="connsiteY56" fmla="*/ 442913 h 564357"/>
                <a:gd name="connsiteX57" fmla="*/ 173831 w 1059656"/>
                <a:gd name="connsiteY57" fmla="*/ 471488 h 564357"/>
                <a:gd name="connsiteX58" fmla="*/ 130968 w 1059656"/>
                <a:gd name="connsiteY58" fmla="*/ 473869 h 564357"/>
                <a:gd name="connsiteX59" fmla="*/ 95250 w 1059656"/>
                <a:gd name="connsiteY59" fmla="*/ 488157 h 564357"/>
                <a:gd name="connsiteX60" fmla="*/ 71437 w 1059656"/>
                <a:gd name="connsiteY60" fmla="*/ 492919 h 564357"/>
                <a:gd name="connsiteX61" fmla="*/ 50006 w 1059656"/>
                <a:gd name="connsiteY61" fmla="*/ 504825 h 564357"/>
                <a:gd name="connsiteX62" fmla="*/ 30956 w 1059656"/>
                <a:gd name="connsiteY62" fmla="*/ 521494 h 564357"/>
                <a:gd name="connsiteX63" fmla="*/ 7143 w 1059656"/>
                <a:gd name="connsiteY63" fmla="*/ 528638 h 564357"/>
                <a:gd name="connsiteX64" fmla="*/ 0 w 1059656"/>
                <a:gd name="connsiteY64" fmla="*/ 533400 h 564357"/>
                <a:gd name="connsiteX65" fmla="*/ 38100 w 1059656"/>
                <a:gd name="connsiteY65" fmla="*/ 561975 h 564357"/>
                <a:gd name="connsiteX66" fmla="*/ 80962 w 1059656"/>
                <a:gd name="connsiteY66" fmla="*/ 559594 h 564357"/>
                <a:gd name="connsiteX67" fmla="*/ 116681 w 1059656"/>
                <a:gd name="connsiteY67" fmla="*/ 526257 h 564357"/>
                <a:gd name="connsiteX68" fmla="*/ 171450 w 1059656"/>
                <a:gd name="connsiteY68" fmla="*/ 500063 h 564357"/>
                <a:gd name="connsiteX69" fmla="*/ 278606 w 1059656"/>
                <a:gd name="connsiteY69" fmla="*/ 492919 h 564357"/>
                <a:gd name="connsiteX70" fmla="*/ 292893 w 1059656"/>
                <a:gd name="connsiteY70" fmla="*/ 481013 h 564357"/>
                <a:gd name="connsiteX71" fmla="*/ 357187 w 1059656"/>
                <a:gd name="connsiteY71" fmla="*/ 481013 h 564357"/>
                <a:gd name="connsiteX72" fmla="*/ 433387 w 1059656"/>
                <a:gd name="connsiteY72" fmla="*/ 388144 h 564357"/>
                <a:gd name="connsiteX73" fmla="*/ 559593 w 1059656"/>
                <a:gd name="connsiteY73" fmla="*/ 328613 h 564357"/>
                <a:gd name="connsiteX74" fmla="*/ 619125 w 1059656"/>
                <a:gd name="connsiteY74" fmla="*/ 321469 h 564357"/>
                <a:gd name="connsiteX75" fmla="*/ 654843 w 1059656"/>
                <a:gd name="connsiteY75" fmla="*/ 295275 h 564357"/>
                <a:gd name="connsiteX76" fmla="*/ 716756 w 1059656"/>
                <a:gd name="connsiteY76" fmla="*/ 292894 h 564357"/>
                <a:gd name="connsiteX77" fmla="*/ 771525 w 1059656"/>
                <a:gd name="connsiteY77" fmla="*/ 285750 h 564357"/>
                <a:gd name="connsiteX78" fmla="*/ 781050 w 1059656"/>
                <a:gd name="connsiteY78" fmla="*/ 323850 h 564357"/>
                <a:gd name="connsiteX79" fmla="*/ 773906 w 1059656"/>
                <a:gd name="connsiteY79" fmla="*/ 445294 h 564357"/>
                <a:gd name="connsiteX80" fmla="*/ 707231 w 1059656"/>
                <a:gd name="connsiteY80" fmla="*/ 461963 h 564357"/>
                <a:gd name="connsiteX81" fmla="*/ 652461 w 1059656"/>
                <a:gd name="connsiteY81" fmla="*/ 509587 h 564357"/>
                <a:gd name="connsiteX82" fmla="*/ 654844 w 1059656"/>
                <a:gd name="connsiteY82" fmla="*/ 528638 h 564357"/>
                <a:gd name="connsiteX83" fmla="*/ 697706 w 1059656"/>
                <a:gd name="connsiteY83" fmla="*/ 564357 h 56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59656" h="564357">
                  <a:moveTo>
                    <a:pt x="697706" y="564357"/>
                  </a:moveTo>
                  <a:lnTo>
                    <a:pt x="778668" y="492919"/>
                  </a:lnTo>
                  <a:lnTo>
                    <a:pt x="816768" y="473869"/>
                  </a:lnTo>
                  <a:lnTo>
                    <a:pt x="852487" y="471488"/>
                  </a:lnTo>
                  <a:lnTo>
                    <a:pt x="916781" y="457200"/>
                  </a:lnTo>
                  <a:lnTo>
                    <a:pt x="950118" y="459582"/>
                  </a:lnTo>
                  <a:lnTo>
                    <a:pt x="988218" y="476250"/>
                  </a:lnTo>
                  <a:lnTo>
                    <a:pt x="1019175" y="445294"/>
                  </a:lnTo>
                  <a:lnTo>
                    <a:pt x="992981" y="414338"/>
                  </a:lnTo>
                  <a:lnTo>
                    <a:pt x="988218" y="383382"/>
                  </a:lnTo>
                  <a:lnTo>
                    <a:pt x="995362" y="345282"/>
                  </a:lnTo>
                  <a:lnTo>
                    <a:pt x="1023937" y="304800"/>
                  </a:lnTo>
                  <a:lnTo>
                    <a:pt x="1052512" y="295275"/>
                  </a:lnTo>
                  <a:lnTo>
                    <a:pt x="1059656" y="266700"/>
                  </a:lnTo>
                  <a:lnTo>
                    <a:pt x="1047750" y="238125"/>
                  </a:lnTo>
                  <a:lnTo>
                    <a:pt x="1019175" y="228600"/>
                  </a:lnTo>
                  <a:lnTo>
                    <a:pt x="992981" y="235744"/>
                  </a:lnTo>
                  <a:lnTo>
                    <a:pt x="935831" y="254794"/>
                  </a:lnTo>
                  <a:lnTo>
                    <a:pt x="900112" y="259557"/>
                  </a:lnTo>
                  <a:lnTo>
                    <a:pt x="878681" y="242888"/>
                  </a:lnTo>
                  <a:lnTo>
                    <a:pt x="873918" y="228600"/>
                  </a:lnTo>
                  <a:lnTo>
                    <a:pt x="881062" y="185738"/>
                  </a:lnTo>
                  <a:lnTo>
                    <a:pt x="888206" y="150019"/>
                  </a:lnTo>
                  <a:lnTo>
                    <a:pt x="871537" y="111919"/>
                  </a:lnTo>
                  <a:lnTo>
                    <a:pt x="852488" y="92869"/>
                  </a:lnTo>
                  <a:lnTo>
                    <a:pt x="859630" y="66676"/>
                  </a:lnTo>
                  <a:lnTo>
                    <a:pt x="857249" y="28576"/>
                  </a:lnTo>
                  <a:lnTo>
                    <a:pt x="833437" y="0"/>
                  </a:lnTo>
                  <a:lnTo>
                    <a:pt x="809625" y="33338"/>
                  </a:lnTo>
                  <a:lnTo>
                    <a:pt x="797718" y="50007"/>
                  </a:lnTo>
                  <a:lnTo>
                    <a:pt x="757237" y="45244"/>
                  </a:lnTo>
                  <a:lnTo>
                    <a:pt x="735806" y="50007"/>
                  </a:lnTo>
                  <a:lnTo>
                    <a:pt x="719137" y="78582"/>
                  </a:lnTo>
                  <a:lnTo>
                    <a:pt x="723900" y="97632"/>
                  </a:lnTo>
                  <a:lnTo>
                    <a:pt x="707231" y="111919"/>
                  </a:lnTo>
                  <a:lnTo>
                    <a:pt x="631031" y="114300"/>
                  </a:lnTo>
                  <a:lnTo>
                    <a:pt x="597693" y="100013"/>
                  </a:lnTo>
                  <a:lnTo>
                    <a:pt x="569118" y="71438"/>
                  </a:lnTo>
                  <a:lnTo>
                    <a:pt x="531018" y="66675"/>
                  </a:lnTo>
                  <a:lnTo>
                    <a:pt x="497681" y="90488"/>
                  </a:lnTo>
                  <a:lnTo>
                    <a:pt x="481012" y="109538"/>
                  </a:lnTo>
                  <a:lnTo>
                    <a:pt x="466725" y="126207"/>
                  </a:lnTo>
                  <a:lnTo>
                    <a:pt x="450056" y="145257"/>
                  </a:lnTo>
                  <a:lnTo>
                    <a:pt x="454818" y="171450"/>
                  </a:lnTo>
                  <a:lnTo>
                    <a:pt x="423862" y="195263"/>
                  </a:lnTo>
                  <a:lnTo>
                    <a:pt x="371475" y="204788"/>
                  </a:lnTo>
                  <a:lnTo>
                    <a:pt x="330993" y="223838"/>
                  </a:lnTo>
                  <a:lnTo>
                    <a:pt x="321468" y="261938"/>
                  </a:lnTo>
                  <a:lnTo>
                    <a:pt x="319087" y="269082"/>
                  </a:lnTo>
                  <a:lnTo>
                    <a:pt x="266700" y="285750"/>
                  </a:lnTo>
                  <a:lnTo>
                    <a:pt x="180975" y="316707"/>
                  </a:lnTo>
                  <a:lnTo>
                    <a:pt x="157162" y="309563"/>
                  </a:lnTo>
                  <a:lnTo>
                    <a:pt x="128587" y="300038"/>
                  </a:lnTo>
                  <a:cubicBezTo>
                    <a:pt x="129381" y="319882"/>
                    <a:pt x="130174" y="339725"/>
                    <a:pt x="130968" y="359569"/>
                  </a:cubicBezTo>
                  <a:lnTo>
                    <a:pt x="169068" y="388144"/>
                  </a:lnTo>
                  <a:lnTo>
                    <a:pt x="185737" y="411957"/>
                  </a:lnTo>
                  <a:lnTo>
                    <a:pt x="180975" y="442913"/>
                  </a:lnTo>
                  <a:lnTo>
                    <a:pt x="173831" y="471488"/>
                  </a:lnTo>
                  <a:lnTo>
                    <a:pt x="130968" y="473869"/>
                  </a:lnTo>
                  <a:lnTo>
                    <a:pt x="95250" y="488157"/>
                  </a:lnTo>
                  <a:lnTo>
                    <a:pt x="71437" y="492919"/>
                  </a:lnTo>
                  <a:lnTo>
                    <a:pt x="50006" y="504825"/>
                  </a:lnTo>
                  <a:lnTo>
                    <a:pt x="30956" y="521494"/>
                  </a:lnTo>
                  <a:lnTo>
                    <a:pt x="7143" y="528638"/>
                  </a:lnTo>
                  <a:lnTo>
                    <a:pt x="0" y="533400"/>
                  </a:lnTo>
                  <a:lnTo>
                    <a:pt x="38100" y="561975"/>
                  </a:lnTo>
                  <a:lnTo>
                    <a:pt x="80962" y="559594"/>
                  </a:lnTo>
                  <a:lnTo>
                    <a:pt x="116681" y="526257"/>
                  </a:lnTo>
                  <a:lnTo>
                    <a:pt x="171450" y="500063"/>
                  </a:lnTo>
                  <a:lnTo>
                    <a:pt x="278606" y="492919"/>
                  </a:lnTo>
                  <a:lnTo>
                    <a:pt x="292893" y="481013"/>
                  </a:lnTo>
                  <a:lnTo>
                    <a:pt x="357187" y="481013"/>
                  </a:lnTo>
                  <a:lnTo>
                    <a:pt x="433387" y="388144"/>
                  </a:lnTo>
                  <a:lnTo>
                    <a:pt x="559593" y="328613"/>
                  </a:lnTo>
                  <a:lnTo>
                    <a:pt x="619125" y="321469"/>
                  </a:lnTo>
                  <a:lnTo>
                    <a:pt x="654843" y="295275"/>
                  </a:lnTo>
                  <a:lnTo>
                    <a:pt x="716756" y="292894"/>
                  </a:lnTo>
                  <a:lnTo>
                    <a:pt x="771525" y="285750"/>
                  </a:lnTo>
                  <a:lnTo>
                    <a:pt x="781050" y="323850"/>
                  </a:lnTo>
                  <a:lnTo>
                    <a:pt x="773906" y="445294"/>
                  </a:lnTo>
                  <a:lnTo>
                    <a:pt x="707231" y="461963"/>
                  </a:lnTo>
                  <a:lnTo>
                    <a:pt x="652461" y="509587"/>
                  </a:lnTo>
                  <a:lnTo>
                    <a:pt x="654844" y="528638"/>
                  </a:lnTo>
                  <a:lnTo>
                    <a:pt x="697706" y="564357"/>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sp>
          <p:nvSpPr>
            <p:cNvPr id="35" name="Freeform 96">
              <a:extLst>
                <a:ext uri="{FF2B5EF4-FFF2-40B4-BE49-F238E27FC236}">
                  <a16:creationId xmlns:a16="http://schemas.microsoft.com/office/drawing/2014/main" id="{A52E619D-374F-42A7-ADDA-782274E1C966}"/>
                </a:ext>
              </a:extLst>
            </p:cNvPr>
            <p:cNvSpPr/>
            <p:nvPr/>
          </p:nvSpPr>
          <p:spPr bwMode="auto">
            <a:xfrm>
              <a:off x="6059389" y="3306529"/>
              <a:ext cx="280950" cy="289295"/>
            </a:xfrm>
            <a:custGeom>
              <a:avLst/>
              <a:gdLst>
                <a:gd name="connsiteX0" fmla="*/ 190500 w 314325"/>
                <a:gd name="connsiteY0" fmla="*/ 302419 h 330994"/>
                <a:gd name="connsiteX1" fmla="*/ 221456 w 314325"/>
                <a:gd name="connsiteY1" fmla="*/ 240506 h 330994"/>
                <a:gd name="connsiteX2" fmla="*/ 250031 w 314325"/>
                <a:gd name="connsiteY2" fmla="*/ 214312 h 330994"/>
                <a:gd name="connsiteX3" fmla="*/ 266700 w 314325"/>
                <a:gd name="connsiteY3" fmla="*/ 169069 h 330994"/>
                <a:gd name="connsiteX4" fmla="*/ 273844 w 314325"/>
                <a:gd name="connsiteY4" fmla="*/ 119062 h 330994"/>
                <a:gd name="connsiteX5" fmla="*/ 314325 w 314325"/>
                <a:gd name="connsiteY5" fmla="*/ 52387 h 330994"/>
                <a:gd name="connsiteX6" fmla="*/ 295275 w 314325"/>
                <a:gd name="connsiteY6" fmla="*/ 14287 h 330994"/>
                <a:gd name="connsiteX7" fmla="*/ 285750 w 314325"/>
                <a:gd name="connsiteY7" fmla="*/ 21431 h 330994"/>
                <a:gd name="connsiteX8" fmla="*/ 273844 w 314325"/>
                <a:gd name="connsiteY8" fmla="*/ 0 h 330994"/>
                <a:gd name="connsiteX9" fmla="*/ 245269 w 314325"/>
                <a:gd name="connsiteY9" fmla="*/ 33337 h 330994"/>
                <a:gd name="connsiteX10" fmla="*/ 211931 w 314325"/>
                <a:gd name="connsiteY10" fmla="*/ 45244 h 330994"/>
                <a:gd name="connsiteX11" fmla="*/ 202406 w 314325"/>
                <a:gd name="connsiteY11" fmla="*/ 85725 h 330994"/>
                <a:gd name="connsiteX12" fmla="*/ 178594 w 314325"/>
                <a:gd name="connsiteY12" fmla="*/ 95250 h 330994"/>
                <a:gd name="connsiteX13" fmla="*/ 135731 w 314325"/>
                <a:gd name="connsiteY13" fmla="*/ 47625 h 330994"/>
                <a:gd name="connsiteX14" fmla="*/ 104775 w 314325"/>
                <a:gd name="connsiteY14" fmla="*/ 64294 h 330994"/>
                <a:gd name="connsiteX15" fmla="*/ 109537 w 314325"/>
                <a:gd name="connsiteY15" fmla="*/ 154781 h 330994"/>
                <a:gd name="connsiteX16" fmla="*/ 78581 w 314325"/>
                <a:gd name="connsiteY16" fmla="*/ 176212 h 330994"/>
                <a:gd name="connsiteX17" fmla="*/ 59531 w 314325"/>
                <a:gd name="connsiteY17" fmla="*/ 195262 h 330994"/>
                <a:gd name="connsiteX18" fmla="*/ 59531 w 314325"/>
                <a:gd name="connsiteY18" fmla="*/ 195262 h 330994"/>
                <a:gd name="connsiteX19" fmla="*/ 61912 w 314325"/>
                <a:gd name="connsiteY19" fmla="*/ 240506 h 330994"/>
                <a:gd name="connsiteX20" fmla="*/ 9525 w 314325"/>
                <a:gd name="connsiteY20" fmla="*/ 233362 h 330994"/>
                <a:gd name="connsiteX21" fmla="*/ 0 w 314325"/>
                <a:gd name="connsiteY21" fmla="*/ 254794 h 330994"/>
                <a:gd name="connsiteX22" fmla="*/ 14287 w 314325"/>
                <a:gd name="connsiteY22" fmla="*/ 330994 h 330994"/>
                <a:gd name="connsiteX23" fmla="*/ 59531 w 314325"/>
                <a:gd name="connsiteY23" fmla="*/ 302419 h 330994"/>
                <a:gd name="connsiteX24" fmla="*/ 100012 w 314325"/>
                <a:gd name="connsiteY24" fmla="*/ 285750 h 330994"/>
                <a:gd name="connsiteX25" fmla="*/ 126206 w 314325"/>
                <a:gd name="connsiteY25" fmla="*/ 288131 h 330994"/>
                <a:gd name="connsiteX26" fmla="*/ 190500 w 314325"/>
                <a:gd name="connsiteY26" fmla="*/ 302419 h 330994"/>
                <a:gd name="connsiteX0" fmla="*/ 190500 w 321468"/>
                <a:gd name="connsiteY0" fmla="*/ 302419 h 330994"/>
                <a:gd name="connsiteX1" fmla="*/ 221456 w 321468"/>
                <a:gd name="connsiteY1" fmla="*/ 240506 h 330994"/>
                <a:gd name="connsiteX2" fmla="*/ 250031 w 321468"/>
                <a:gd name="connsiteY2" fmla="*/ 214312 h 330994"/>
                <a:gd name="connsiteX3" fmla="*/ 266700 w 321468"/>
                <a:gd name="connsiteY3" fmla="*/ 169069 h 330994"/>
                <a:gd name="connsiteX4" fmla="*/ 273844 w 321468"/>
                <a:gd name="connsiteY4" fmla="*/ 119062 h 330994"/>
                <a:gd name="connsiteX5" fmla="*/ 321468 w 321468"/>
                <a:gd name="connsiteY5" fmla="*/ 61912 h 330994"/>
                <a:gd name="connsiteX6" fmla="*/ 295275 w 321468"/>
                <a:gd name="connsiteY6" fmla="*/ 14287 h 330994"/>
                <a:gd name="connsiteX7" fmla="*/ 285750 w 321468"/>
                <a:gd name="connsiteY7" fmla="*/ 21431 h 330994"/>
                <a:gd name="connsiteX8" fmla="*/ 273844 w 321468"/>
                <a:gd name="connsiteY8" fmla="*/ 0 h 330994"/>
                <a:gd name="connsiteX9" fmla="*/ 245269 w 321468"/>
                <a:gd name="connsiteY9" fmla="*/ 33337 h 330994"/>
                <a:gd name="connsiteX10" fmla="*/ 211931 w 321468"/>
                <a:gd name="connsiteY10" fmla="*/ 45244 h 330994"/>
                <a:gd name="connsiteX11" fmla="*/ 202406 w 321468"/>
                <a:gd name="connsiteY11" fmla="*/ 85725 h 330994"/>
                <a:gd name="connsiteX12" fmla="*/ 178594 w 321468"/>
                <a:gd name="connsiteY12" fmla="*/ 95250 h 330994"/>
                <a:gd name="connsiteX13" fmla="*/ 135731 w 321468"/>
                <a:gd name="connsiteY13" fmla="*/ 47625 h 330994"/>
                <a:gd name="connsiteX14" fmla="*/ 104775 w 321468"/>
                <a:gd name="connsiteY14" fmla="*/ 64294 h 330994"/>
                <a:gd name="connsiteX15" fmla="*/ 109537 w 321468"/>
                <a:gd name="connsiteY15" fmla="*/ 154781 h 330994"/>
                <a:gd name="connsiteX16" fmla="*/ 78581 w 321468"/>
                <a:gd name="connsiteY16" fmla="*/ 176212 h 330994"/>
                <a:gd name="connsiteX17" fmla="*/ 59531 w 321468"/>
                <a:gd name="connsiteY17" fmla="*/ 195262 h 330994"/>
                <a:gd name="connsiteX18" fmla="*/ 59531 w 321468"/>
                <a:gd name="connsiteY18" fmla="*/ 195262 h 330994"/>
                <a:gd name="connsiteX19" fmla="*/ 61912 w 321468"/>
                <a:gd name="connsiteY19" fmla="*/ 240506 h 330994"/>
                <a:gd name="connsiteX20" fmla="*/ 9525 w 321468"/>
                <a:gd name="connsiteY20" fmla="*/ 233362 h 330994"/>
                <a:gd name="connsiteX21" fmla="*/ 0 w 321468"/>
                <a:gd name="connsiteY21" fmla="*/ 254794 h 330994"/>
                <a:gd name="connsiteX22" fmla="*/ 14287 w 321468"/>
                <a:gd name="connsiteY22" fmla="*/ 330994 h 330994"/>
                <a:gd name="connsiteX23" fmla="*/ 59531 w 321468"/>
                <a:gd name="connsiteY23" fmla="*/ 302419 h 330994"/>
                <a:gd name="connsiteX24" fmla="*/ 100012 w 321468"/>
                <a:gd name="connsiteY24" fmla="*/ 285750 h 330994"/>
                <a:gd name="connsiteX25" fmla="*/ 126206 w 321468"/>
                <a:gd name="connsiteY25" fmla="*/ 288131 h 330994"/>
                <a:gd name="connsiteX26" fmla="*/ 190500 w 321468"/>
                <a:gd name="connsiteY26" fmla="*/ 302419 h 33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1468" h="330994">
                  <a:moveTo>
                    <a:pt x="190500" y="302419"/>
                  </a:moveTo>
                  <a:lnTo>
                    <a:pt x="221456" y="240506"/>
                  </a:lnTo>
                  <a:lnTo>
                    <a:pt x="250031" y="214312"/>
                  </a:lnTo>
                  <a:lnTo>
                    <a:pt x="266700" y="169069"/>
                  </a:lnTo>
                  <a:lnTo>
                    <a:pt x="273844" y="119062"/>
                  </a:lnTo>
                  <a:lnTo>
                    <a:pt x="321468" y="61912"/>
                  </a:lnTo>
                  <a:lnTo>
                    <a:pt x="295275" y="14287"/>
                  </a:lnTo>
                  <a:lnTo>
                    <a:pt x="285750" y="21431"/>
                  </a:lnTo>
                  <a:lnTo>
                    <a:pt x="273844" y="0"/>
                  </a:lnTo>
                  <a:lnTo>
                    <a:pt x="245269" y="33337"/>
                  </a:lnTo>
                  <a:lnTo>
                    <a:pt x="211931" y="45244"/>
                  </a:lnTo>
                  <a:lnTo>
                    <a:pt x="202406" y="85725"/>
                  </a:lnTo>
                  <a:lnTo>
                    <a:pt x="178594" y="95250"/>
                  </a:lnTo>
                  <a:lnTo>
                    <a:pt x="135731" y="47625"/>
                  </a:lnTo>
                  <a:lnTo>
                    <a:pt x="104775" y="64294"/>
                  </a:lnTo>
                  <a:lnTo>
                    <a:pt x="109537" y="154781"/>
                  </a:lnTo>
                  <a:lnTo>
                    <a:pt x="78581" y="176212"/>
                  </a:lnTo>
                  <a:lnTo>
                    <a:pt x="59531" y="195262"/>
                  </a:lnTo>
                  <a:lnTo>
                    <a:pt x="59531" y="195262"/>
                  </a:lnTo>
                  <a:lnTo>
                    <a:pt x="61912" y="240506"/>
                  </a:lnTo>
                  <a:lnTo>
                    <a:pt x="9525" y="233362"/>
                  </a:lnTo>
                  <a:lnTo>
                    <a:pt x="0" y="254794"/>
                  </a:lnTo>
                  <a:lnTo>
                    <a:pt x="14287" y="330994"/>
                  </a:lnTo>
                  <a:lnTo>
                    <a:pt x="59531" y="302419"/>
                  </a:lnTo>
                  <a:lnTo>
                    <a:pt x="100012" y="285750"/>
                  </a:lnTo>
                  <a:lnTo>
                    <a:pt x="126206" y="288131"/>
                  </a:lnTo>
                  <a:lnTo>
                    <a:pt x="190500" y="302419"/>
                  </a:lnTo>
                  <a:close/>
                </a:path>
              </a:pathLst>
            </a:custGeom>
            <a:grpFill/>
            <a:ln w="6350" cap="flat" cmpd="sng" algn="ctr">
              <a:solidFill>
                <a:srgbClr val="FFFFFF"/>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4" name="Rectangle 3">
            <a:hlinkClick r:id="rId3" action="ppaction://hlinksldjump"/>
            <a:extLst>
              <a:ext uri="{FF2B5EF4-FFF2-40B4-BE49-F238E27FC236}">
                <a16:creationId xmlns:a16="http://schemas.microsoft.com/office/drawing/2014/main" id="{D9C4BCEC-80D0-40F4-A8AB-FB13F31711E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627147932"/>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Project Management</a:t>
            </a:r>
          </a:p>
        </p:txBody>
      </p:sp>
      <p:sp>
        <p:nvSpPr>
          <p:cNvPr id="8" name="Freeform: Shape 7">
            <a:hlinkClick r:id="rId3"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Text Placeholder 4">
            <a:extLst>
              <a:ext uri="{FF2B5EF4-FFF2-40B4-BE49-F238E27FC236}">
                <a16:creationId xmlns:a16="http://schemas.microsoft.com/office/drawing/2014/main" id="{60B2936E-98E8-4017-9FF2-3A234057BC85}"/>
              </a:ext>
            </a:extLst>
          </p:cNvPr>
          <p:cNvSpPr>
            <a:spLocks noGrp="1"/>
          </p:cNvSpPr>
          <p:nvPr>
            <p:ph type="body" sz="quarter" idx="15"/>
          </p:nvPr>
        </p:nvSpPr>
        <p:spPr>
          <a:xfrm>
            <a:off x="8055427" y="3889828"/>
            <a:ext cx="2993573" cy="2194486"/>
          </a:xfrm>
        </p:spPr>
        <p:txBody>
          <a:bodyPr/>
          <a:lstStyle/>
          <a:p>
            <a:r>
              <a:rPr lang="en-US" dirty="0"/>
              <a:t>Part of </a:t>
            </a:r>
            <a:br>
              <a:rPr lang="en-US" dirty="0"/>
            </a:br>
            <a:r>
              <a:rPr lang="en-US" dirty="0">
                <a:hlinkClick r:id="rId4" action="ppaction://hlinksldjump">
                  <a:extLst>
                    <a:ext uri="{A12FA001-AC4F-418D-AE19-62706E023703}">
                      <ahyp:hlinkClr xmlns:ahyp="http://schemas.microsoft.com/office/drawing/2018/hyperlinkcolor" val="tx"/>
                    </a:ext>
                  </a:extLst>
                </a:hlinkClick>
              </a:rPr>
              <a:t>Standard Visuals</a:t>
            </a:r>
            <a:endParaRPr lang="en-US" dirty="0"/>
          </a:p>
        </p:txBody>
      </p:sp>
      <p:sp>
        <p:nvSpPr>
          <p:cNvPr id="2" name="Rectangle 1">
            <a:hlinkClick r:id="rId3" action="ppaction://hlinksldjump"/>
            <a:extLst>
              <a:ext uri="{FF2B5EF4-FFF2-40B4-BE49-F238E27FC236}">
                <a16:creationId xmlns:a16="http://schemas.microsoft.com/office/drawing/2014/main" id="{F02F6F28-DAD5-4928-A2F0-E9DB0917E4A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745604841"/>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AEE37-1610-4B27-B97B-B45F31A203C1}"/>
              </a:ext>
            </a:extLst>
          </p:cNvPr>
          <p:cNvSpPr>
            <a:spLocks noGrp="1"/>
          </p:cNvSpPr>
          <p:nvPr>
            <p:ph type="title"/>
          </p:nvPr>
        </p:nvSpPr>
        <p:spPr/>
        <p:txBody>
          <a:bodyPr/>
          <a:lstStyle/>
          <a:p>
            <a:r>
              <a:rPr lang="en-US" dirty="0"/>
              <a:t>Project Phases</a:t>
            </a:r>
            <a:endParaRPr lang="de-DE" dirty="0"/>
          </a:p>
        </p:txBody>
      </p:sp>
      <p:sp>
        <p:nvSpPr>
          <p:cNvPr id="21" name="Freeform: Shape 20">
            <a:hlinkClick r:id="rId3" action="ppaction://hlinksldjump"/>
            <a:extLst>
              <a:ext uri="{FF2B5EF4-FFF2-40B4-BE49-F238E27FC236}">
                <a16:creationId xmlns:a16="http://schemas.microsoft.com/office/drawing/2014/main" id="{C466E28E-58A3-4379-BB47-251E9AD4343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cxnSp>
        <p:nvCxnSpPr>
          <p:cNvPr id="36" name="Straight Connector 35">
            <a:extLst>
              <a:ext uri="{FF2B5EF4-FFF2-40B4-BE49-F238E27FC236}">
                <a16:creationId xmlns:a16="http://schemas.microsoft.com/office/drawing/2014/main" id="{DE9C67ED-C344-413F-B2A2-1D6706577A93}"/>
              </a:ext>
            </a:extLst>
          </p:cNvPr>
          <p:cNvCxnSpPr/>
          <p:nvPr/>
        </p:nvCxnSpPr>
        <p:spPr>
          <a:xfrm>
            <a:off x="4600157" y="1763712"/>
            <a:ext cx="0" cy="3488052"/>
          </a:xfrm>
          <a:prstGeom prst="line">
            <a:avLst/>
          </a:prstGeom>
          <a:noFill/>
          <a:ln w="19050" cap="rnd" cmpd="sng" algn="ctr">
            <a:solidFill>
              <a:srgbClr val="96968C">
                <a:lumMod val="40000"/>
                <a:lumOff val="60000"/>
              </a:srgbClr>
            </a:solidFill>
            <a:prstDash val="sysDot"/>
          </a:ln>
          <a:effectLst/>
        </p:spPr>
      </p:cxnSp>
      <p:cxnSp>
        <p:nvCxnSpPr>
          <p:cNvPr id="37" name="Straight Connector 36">
            <a:extLst>
              <a:ext uri="{FF2B5EF4-FFF2-40B4-BE49-F238E27FC236}">
                <a16:creationId xmlns:a16="http://schemas.microsoft.com/office/drawing/2014/main" id="{DDC18F4C-354D-46B5-A60C-41C64CD95203}"/>
              </a:ext>
            </a:extLst>
          </p:cNvPr>
          <p:cNvCxnSpPr/>
          <p:nvPr/>
        </p:nvCxnSpPr>
        <p:spPr>
          <a:xfrm>
            <a:off x="7582461" y="1763712"/>
            <a:ext cx="0" cy="3488052"/>
          </a:xfrm>
          <a:prstGeom prst="line">
            <a:avLst/>
          </a:prstGeom>
          <a:noFill/>
          <a:ln w="19050" cap="rnd" cmpd="sng" algn="ctr">
            <a:solidFill>
              <a:srgbClr val="96968C">
                <a:lumMod val="40000"/>
                <a:lumOff val="60000"/>
              </a:srgbClr>
            </a:solidFill>
            <a:prstDash val="sysDot"/>
          </a:ln>
          <a:effectLst/>
        </p:spPr>
      </p:cxnSp>
      <p:sp>
        <p:nvSpPr>
          <p:cNvPr id="38" name="Content Placeholder 7">
            <a:extLst>
              <a:ext uri="{FF2B5EF4-FFF2-40B4-BE49-F238E27FC236}">
                <a16:creationId xmlns:a16="http://schemas.microsoft.com/office/drawing/2014/main" id="{4805A04A-5B7A-4A51-8A7B-BC9E7B8C74A5}"/>
              </a:ext>
            </a:extLst>
          </p:cNvPr>
          <p:cNvSpPr txBox="1">
            <a:spLocks/>
          </p:cNvSpPr>
          <p:nvPr/>
        </p:nvSpPr>
        <p:spPr bwMode="auto">
          <a:xfrm>
            <a:off x="1822451" y="2466836"/>
            <a:ext cx="2613024" cy="287034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9" name="AutoShape 5">
            <a:extLst>
              <a:ext uri="{FF2B5EF4-FFF2-40B4-BE49-F238E27FC236}">
                <a16:creationId xmlns:a16="http://schemas.microsoft.com/office/drawing/2014/main" id="{9286E6FC-FC5D-4B77-B5DA-484B0C11865F}"/>
              </a:ext>
            </a:extLst>
          </p:cNvPr>
          <p:cNvSpPr>
            <a:spLocks noChangeArrowheads="1"/>
          </p:cNvSpPr>
          <p:nvPr/>
        </p:nvSpPr>
        <p:spPr bwMode="auto">
          <a:xfrm>
            <a:off x="1822451" y="1763713"/>
            <a:ext cx="2616200" cy="485775"/>
          </a:xfrm>
          <a:prstGeom prst="homePlate">
            <a:avLst>
              <a:gd name="adj" fmla="val 27116"/>
            </a:avLst>
          </a:prstGeom>
          <a:solidFill>
            <a:schemeClr val="accent3"/>
          </a:solidFill>
          <a:ln w="6350">
            <a:noFill/>
            <a:miter lim="800000"/>
            <a:headEnd/>
            <a:tailEnd/>
          </a:ln>
        </p:spPr>
        <p:txBody>
          <a:bodyPr lIns="72000" tIns="144000" rIns="72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40" name="AutoShape 5">
            <a:extLst>
              <a:ext uri="{FF2B5EF4-FFF2-40B4-BE49-F238E27FC236}">
                <a16:creationId xmlns:a16="http://schemas.microsoft.com/office/drawing/2014/main" id="{9023CC6C-BEE1-4A0A-AB55-259324053F8D}"/>
              </a:ext>
            </a:extLst>
          </p:cNvPr>
          <p:cNvSpPr>
            <a:spLocks noChangeArrowheads="1"/>
          </p:cNvSpPr>
          <p:nvPr/>
        </p:nvSpPr>
        <p:spPr bwMode="auto">
          <a:xfrm>
            <a:off x="4794250" y="1763713"/>
            <a:ext cx="2616200" cy="485775"/>
          </a:xfrm>
          <a:prstGeom prst="homePlate">
            <a:avLst>
              <a:gd name="adj" fmla="val 27116"/>
            </a:avLst>
          </a:prstGeom>
          <a:solidFill>
            <a:schemeClr val="accent2"/>
          </a:solidFill>
          <a:ln w="6350">
            <a:noFill/>
            <a:miter lim="800000"/>
            <a:headEnd/>
            <a:tailEnd/>
          </a:ln>
        </p:spPr>
        <p:txBody>
          <a:bodyPr lIns="72000" tIns="144000" rIns="72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41" name="AutoShape 5">
            <a:extLst>
              <a:ext uri="{FF2B5EF4-FFF2-40B4-BE49-F238E27FC236}">
                <a16:creationId xmlns:a16="http://schemas.microsoft.com/office/drawing/2014/main" id="{2B78A563-8D9E-4F1B-8721-2E85BF98786E}"/>
              </a:ext>
            </a:extLst>
          </p:cNvPr>
          <p:cNvSpPr>
            <a:spLocks noChangeArrowheads="1"/>
          </p:cNvSpPr>
          <p:nvPr/>
        </p:nvSpPr>
        <p:spPr bwMode="auto">
          <a:xfrm>
            <a:off x="7766049" y="1763713"/>
            <a:ext cx="2616200" cy="485775"/>
          </a:xfrm>
          <a:prstGeom prst="homePlate">
            <a:avLst>
              <a:gd name="adj" fmla="val 27116"/>
            </a:avLst>
          </a:prstGeom>
          <a:solidFill>
            <a:schemeClr val="accent1"/>
          </a:solidFill>
          <a:ln w="6350">
            <a:noFill/>
            <a:miter lim="800000"/>
            <a:headEnd/>
            <a:tailEnd/>
          </a:ln>
        </p:spPr>
        <p:txBody>
          <a:bodyPr lIns="72000" tIns="144000" rIns="72000" bIns="72000" anchor="ctr" anchorCtr="0"/>
          <a:lstStyle/>
          <a:p>
            <a:pPr marL="0" marR="0" lvl="0" indent="0" algn="ctr" defTabSz="914400" rtl="0" eaLnBrk="0" fontAlgn="auto" latinLnBrk="0" hangingPunct="0">
              <a:lnSpc>
                <a:spcPct val="85000"/>
              </a:lnSpc>
              <a:spcBef>
                <a:spcPts val="100"/>
              </a:spcBef>
              <a:spcAft>
                <a:spcPts val="30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42" name="Content Placeholder 7">
            <a:extLst>
              <a:ext uri="{FF2B5EF4-FFF2-40B4-BE49-F238E27FC236}">
                <a16:creationId xmlns:a16="http://schemas.microsoft.com/office/drawing/2014/main" id="{394B22E3-883F-4C4A-B825-B3ABE78409AF}"/>
              </a:ext>
            </a:extLst>
          </p:cNvPr>
          <p:cNvSpPr txBox="1">
            <a:spLocks/>
          </p:cNvSpPr>
          <p:nvPr/>
        </p:nvSpPr>
        <p:spPr bwMode="auto">
          <a:xfrm>
            <a:off x="4791075" y="2466836"/>
            <a:ext cx="2613024" cy="287034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43" name="Content Placeholder 7">
            <a:extLst>
              <a:ext uri="{FF2B5EF4-FFF2-40B4-BE49-F238E27FC236}">
                <a16:creationId xmlns:a16="http://schemas.microsoft.com/office/drawing/2014/main" id="{286A9176-D730-496B-A95C-10F04219B58D}"/>
              </a:ext>
            </a:extLst>
          </p:cNvPr>
          <p:cNvSpPr txBox="1">
            <a:spLocks/>
          </p:cNvSpPr>
          <p:nvPr/>
        </p:nvSpPr>
        <p:spPr bwMode="auto">
          <a:xfrm>
            <a:off x="7759699" y="2466836"/>
            <a:ext cx="2613024" cy="287034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 name="Rectangle 2">
            <a:hlinkClick r:id="rId3" action="ppaction://hlinksldjump"/>
            <a:extLst>
              <a:ext uri="{FF2B5EF4-FFF2-40B4-BE49-F238E27FC236}">
                <a16:creationId xmlns:a16="http://schemas.microsoft.com/office/drawing/2014/main" id="{4E84B5A0-B524-411E-A68C-2A97A578C45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621510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D4DA0F-1D9D-421C-957D-E92017F4C552}"/>
              </a:ext>
            </a:extLst>
          </p:cNvPr>
          <p:cNvSpPr>
            <a:spLocks noGrp="1"/>
          </p:cNvSpPr>
          <p:nvPr>
            <p:ph type="title"/>
          </p:nvPr>
        </p:nvSpPr>
        <p:spPr/>
        <p:txBody>
          <a:bodyPr/>
          <a:lstStyle/>
          <a:p>
            <a:r>
              <a:rPr lang="en-US" dirty="0"/>
              <a:t>Process Chart</a:t>
            </a:r>
          </a:p>
        </p:txBody>
      </p:sp>
      <p:sp>
        <p:nvSpPr>
          <p:cNvPr id="5" name="Freeform: Shape 4">
            <a:hlinkClick r:id="rId3" action="ppaction://hlinksldjump"/>
            <a:extLst>
              <a:ext uri="{FF2B5EF4-FFF2-40B4-BE49-F238E27FC236}">
                <a16:creationId xmlns:a16="http://schemas.microsoft.com/office/drawing/2014/main" id="{CE6E9109-3D52-43F7-A099-8435D0663A7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7" name="AutoShape 5">
            <a:extLst>
              <a:ext uri="{FF2B5EF4-FFF2-40B4-BE49-F238E27FC236}">
                <a16:creationId xmlns:a16="http://schemas.microsoft.com/office/drawing/2014/main" id="{83E9E2C6-BC8C-493F-935C-0D8CEDA6336E}"/>
              </a:ext>
            </a:extLst>
          </p:cNvPr>
          <p:cNvSpPr>
            <a:spLocks noChangeArrowheads="1"/>
          </p:cNvSpPr>
          <p:nvPr/>
        </p:nvSpPr>
        <p:spPr bwMode="auto">
          <a:xfrm>
            <a:off x="9534673" y="1763713"/>
            <a:ext cx="2320776" cy="485775"/>
          </a:xfrm>
          <a:prstGeom prst="homePlate">
            <a:avLst>
              <a:gd name="adj" fmla="val 27116"/>
            </a:avLst>
          </a:prstGeom>
          <a:solidFill>
            <a:schemeClr val="accent5"/>
          </a:solidFill>
          <a:ln w="6350">
            <a:no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Name of phase 1</a:t>
            </a:r>
          </a:p>
        </p:txBody>
      </p:sp>
      <p:sp>
        <p:nvSpPr>
          <p:cNvPr id="8" name="AutoShape 5">
            <a:extLst>
              <a:ext uri="{FF2B5EF4-FFF2-40B4-BE49-F238E27FC236}">
                <a16:creationId xmlns:a16="http://schemas.microsoft.com/office/drawing/2014/main" id="{42D0B0FB-863F-49E5-A22C-AF72836097E7}"/>
              </a:ext>
            </a:extLst>
          </p:cNvPr>
          <p:cNvSpPr>
            <a:spLocks noChangeArrowheads="1"/>
          </p:cNvSpPr>
          <p:nvPr/>
        </p:nvSpPr>
        <p:spPr bwMode="auto">
          <a:xfrm>
            <a:off x="7340170" y="1763713"/>
            <a:ext cx="2340000" cy="485775"/>
          </a:xfrm>
          <a:prstGeom prst="homePlate">
            <a:avLst>
              <a:gd name="adj" fmla="val 27116"/>
            </a:avLst>
          </a:prstGeom>
          <a:solidFill>
            <a:schemeClr val="accent1"/>
          </a:solidFill>
          <a:ln w="6350">
            <a:no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Name of phase 1</a:t>
            </a:r>
          </a:p>
        </p:txBody>
      </p:sp>
      <p:sp>
        <p:nvSpPr>
          <p:cNvPr id="9" name="AutoShape 5">
            <a:extLst>
              <a:ext uri="{FF2B5EF4-FFF2-40B4-BE49-F238E27FC236}">
                <a16:creationId xmlns:a16="http://schemas.microsoft.com/office/drawing/2014/main" id="{2419AEB9-0D17-4347-91C6-BA772DFF3755}"/>
              </a:ext>
            </a:extLst>
          </p:cNvPr>
          <p:cNvSpPr>
            <a:spLocks noChangeArrowheads="1"/>
          </p:cNvSpPr>
          <p:nvPr/>
        </p:nvSpPr>
        <p:spPr bwMode="auto">
          <a:xfrm>
            <a:off x="5145666" y="1763713"/>
            <a:ext cx="2340000" cy="485775"/>
          </a:xfrm>
          <a:prstGeom prst="homePlate">
            <a:avLst>
              <a:gd name="adj" fmla="val 27116"/>
            </a:avLst>
          </a:prstGeom>
          <a:solidFill>
            <a:schemeClr val="accent2"/>
          </a:solidFill>
          <a:ln w="6350">
            <a:no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Name of phase 1</a:t>
            </a:r>
          </a:p>
        </p:txBody>
      </p:sp>
      <p:sp>
        <p:nvSpPr>
          <p:cNvPr id="10" name="AutoShape 5">
            <a:extLst>
              <a:ext uri="{FF2B5EF4-FFF2-40B4-BE49-F238E27FC236}">
                <a16:creationId xmlns:a16="http://schemas.microsoft.com/office/drawing/2014/main" id="{CA07E23A-4B2E-4363-80E2-C7C1FCD618D4}"/>
              </a:ext>
            </a:extLst>
          </p:cNvPr>
          <p:cNvSpPr>
            <a:spLocks noChangeArrowheads="1"/>
          </p:cNvSpPr>
          <p:nvPr/>
        </p:nvSpPr>
        <p:spPr bwMode="auto">
          <a:xfrm>
            <a:off x="2951162" y="1763713"/>
            <a:ext cx="2340000" cy="485775"/>
          </a:xfrm>
          <a:prstGeom prst="homePlate">
            <a:avLst>
              <a:gd name="adj" fmla="val 27116"/>
            </a:avLst>
          </a:prstGeom>
          <a:solidFill>
            <a:schemeClr val="accent3"/>
          </a:solidFill>
          <a:ln w="6350">
            <a:no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Name of phase 1</a:t>
            </a:r>
          </a:p>
        </p:txBody>
      </p:sp>
      <p:graphicFrame>
        <p:nvGraphicFramePr>
          <p:cNvPr id="11" name="Table 10">
            <a:extLst>
              <a:ext uri="{FF2B5EF4-FFF2-40B4-BE49-F238E27FC236}">
                <a16:creationId xmlns:a16="http://schemas.microsoft.com/office/drawing/2014/main" id="{E55D772B-7765-4840-A700-D3B6CBA924C6}"/>
              </a:ext>
            </a:extLst>
          </p:cNvPr>
          <p:cNvGraphicFramePr>
            <a:graphicFrameLocks noGrp="1"/>
          </p:cNvGraphicFramePr>
          <p:nvPr/>
        </p:nvGraphicFramePr>
        <p:xfrm>
          <a:off x="334963" y="2311017"/>
          <a:ext cx="11522075" cy="3748139"/>
        </p:xfrm>
        <a:graphic>
          <a:graphicData uri="http://schemas.openxmlformats.org/drawingml/2006/table">
            <a:tbl>
              <a:tblPr bandRow="1"/>
              <a:tblGrid>
                <a:gridCol w="2629301">
                  <a:extLst>
                    <a:ext uri="{9D8B030D-6E8A-4147-A177-3AD203B41FA5}">
                      <a16:colId xmlns:a16="http://schemas.microsoft.com/office/drawing/2014/main" val="3257024030"/>
                    </a:ext>
                  </a:extLst>
                </a:gridCol>
                <a:gridCol w="2190540">
                  <a:extLst>
                    <a:ext uri="{9D8B030D-6E8A-4147-A177-3AD203B41FA5}">
                      <a16:colId xmlns:a16="http://schemas.microsoft.com/office/drawing/2014/main" val="3487455746"/>
                    </a:ext>
                  </a:extLst>
                </a:gridCol>
                <a:gridCol w="2180493">
                  <a:extLst>
                    <a:ext uri="{9D8B030D-6E8A-4147-A177-3AD203B41FA5}">
                      <a16:colId xmlns:a16="http://schemas.microsoft.com/office/drawing/2014/main" val="1287227841"/>
                    </a:ext>
                  </a:extLst>
                </a:gridCol>
                <a:gridCol w="2217326">
                  <a:extLst>
                    <a:ext uri="{9D8B030D-6E8A-4147-A177-3AD203B41FA5}">
                      <a16:colId xmlns:a16="http://schemas.microsoft.com/office/drawing/2014/main" val="1001841147"/>
                    </a:ext>
                  </a:extLst>
                </a:gridCol>
                <a:gridCol w="2304415">
                  <a:extLst>
                    <a:ext uri="{9D8B030D-6E8A-4147-A177-3AD203B41FA5}">
                      <a16:colId xmlns:a16="http://schemas.microsoft.com/office/drawing/2014/main" val="859802438"/>
                    </a:ext>
                  </a:extLst>
                </a:gridCol>
              </a:tblGrid>
              <a:tr h="37084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AU" sz="1400" cap="none" baseline="0" dirty="0">
                          <a:latin typeface="+mj-lt"/>
                        </a:rPr>
                        <a:t>Timing</a:t>
                      </a:r>
                      <a:endParaRPr lang="en-GB" sz="1400" cap="none" baseline="0" dirty="0">
                        <a:latin typeface="+mj-lt"/>
                      </a:endParaRPr>
                    </a:p>
                  </a:txBody>
                  <a:tcPr marL="0"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dirty="0"/>
                        <a:t>2 week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dirty="0"/>
                        <a:t>4 week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dirty="0"/>
                        <a:t>3 week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dirty="0"/>
                        <a:t>2 week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96968C">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3702299"/>
                  </a:ext>
                </a:extLst>
              </a:tr>
              <a:tr h="3377299">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AU" sz="1400" cap="none" baseline="0" dirty="0">
                          <a:latin typeface="+mj-lt"/>
                        </a:rPr>
                        <a:t>Key tasks</a:t>
                      </a:r>
                      <a:endParaRPr lang="en-GB" sz="1400" cap="none" baseline="0" dirty="0">
                        <a:latin typeface="+mj-lt"/>
                      </a:endParaRPr>
                    </a:p>
                  </a:txBody>
                  <a:tcPr marL="0"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7800" indent="-177800" defTabSz="708025">
                        <a:spcBef>
                          <a:spcPts val="100"/>
                        </a:spcBef>
                        <a:spcAft>
                          <a:spcPts val="100"/>
                        </a:spcAft>
                        <a:buClr>
                          <a:schemeClr val="tx1"/>
                        </a:buClr>
                        <a:buFontTx/>
                        <a:buChar char="•"/>
                      </a:pPr>
                      <a:r>
                        <a:rPr lang="en-US" sz="1400" dirty="0"/>
                        <a:t>Task 1</a:t>
                      </a:r>
                    </a:p>
                    <a:p>
                      <a:pPr marL="177800" indent="-177800" defTabSz="708025">
                        <a:spcBef>
                          <a:spcPts val="100"/>
                        </a:spcBef>
                        <a:spcAft>
                          <a:spcPts val="100"/>
                        </a:spcAft>
                        <a:buClr>
                          <a:schemeClr val="tx1"/>
                        </a:buClr>
                        <a:buFontTx/>
                        <a:buChar char="•"/>
                      </a:pPr>
                      <a:r>
                        <a:rPr lang="en-US" sz="1400" dirty="0"/>
                        <a:t>Task 2</a:t>
                      </a:r>
                    </a:p>
                    <a:p>
                      <a:pPr marL="177800" indent="-177800" defTabSz="708025">
                        <a:spcBef>
                          <a:spcPts val="100"/>
                        </a:spcBef>
                        <a:spcAft>
                          <a:spcPts val="100"/>
                        </a:spcAft>
                        <a:buClr>
                          <a:schemeClr val="tx1"/>
                        </a:buClr>
                        <a:buFontTx/>
                        <a:buChar char="•"/>
                      </a:pPr>
                      <a:r>
                        <a:rPr lang="en-US" sz="1400" dirty="0"/>
                        <a:t>Task 3</a:t>
                      </a:r>
                      <a:endParaRPr lang="en-GB" sz="1400" dirty="0"/>
                    </a:p>
                  </a:txBody>
                  <a:tcPr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7800" indent="-177800" defTabSz="708025">
                        <a:spcBef>
                          <a:spcPts val="100"/>
                        </a:spcBef>
                        <a:spcAft>
                          <a:spcPts val="100"/>
                        </a:spcAft>
                        <a:buClr>
                          <a:schemeClr val="tx1"/>
                        </a:buClr>
                        <a:buFontTx/>
                        <a:buChar char="•"/>
                      </a:pPr>
                      <a:r>
                        <a:rPr lang="en-US" sz="1400" dirty="0"/>
                        <a:t>Task 1</a:t>
                      </a:r>
                    </a:p>
                    <a:p>
                      <a:pPr marL="177800" indent="-177800" defTabSz="708025">
                        <a:spcBef>
                          <a:spcPts val="100"/>
                        </a:spcBef>
                        <a:spcAft>
                          <a:spcPts val="100"/>
                        </a:spcAft>
                        <a:buClr>
                          <a:schemeClr val="tx1"/>
                        </a:buClr>
                        <a:buFontTx/>
                        <a:buChar char="•"/>
                      </a:pPr>
                      <a:r>
                        <a:rPr lang="en-US" sz="1400" dirty="0"/>
                        <a:t>Task 2</a:t>
                      </a:r>
                    </a:p>
                    <a:p>
                      <a:pPr marL="177800" indent="-177800" defTabSz="708025">
                        <a:spcBef>
                          <a:spcPts val="100"/>
                        </a:spcBef>
                        <a:spcAft>
                          <a:spcPts val="100"/>
                        </a:spcAft>
                        <a:buClr>
                          <a:schemeClr val="tx1"/>
                        </a:buClr>
                        <a:buFontTx/>
                        <a:buChar char="•"/>
                      </a:pPr>
                      <a:r>
                        <a:rPr lang="en-US" sz="1400" dirty="0"/>
                        <a:t>Task 3</a:t>
                      </a:r>
                      <a:endParaRPr lang="en-GB" sz="1400" dirty="0"/>
                    </a:p>
                    <a:p>
                      <a:endParaRPr lang="en-GB" sz="1400" dirty="0"/>
                    </a:p>
                  </a:txBody>
                  <a:tcPr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7800" indent="-177800" defTabSz="708025">
                        <a:spcBef>
                          <a:spcPts val="100"/>
                        </a:spcBef>
                        <a:spcAft>
                          <a:spcPts val="100"/>
                        </a:spcAft>
                        <a:buClr>
                          <a:schemeClr val="tx1"/>
                        </a:buClr>
                        <a:buFontTx/>
                        <a:buChar char="•"/>
                      </a:pPr>
                      <a:r>
                        <a:rPr lang="en-US" sz="1400" dirty="0"/>
                        <a:t>Task 1</a:t>
                      </a:r>
                    </a:p>
                    <a:p>
                      <a:pPr marL="177800" indent="-177800" defTabSz="708025">
                        <a:spcBef>
                          <a:spcPts val="100"/>
                        </a:spcBef>
                        <a:spcAft>
                          <a:spcPts val="100"/>
                        </a:spcAft>
                        <a:buClr>
                          <a:schemeClr val="tx1"/>
                        </a:buClr>
                        <a:buFontTx/>
                        <a:buChar char="•"/>
                      </a:pPr>
                      <a:r>
                        <a:rPr lang="en-US" sz="1400" dirty="0"/>
                        <a:t>Task 2</a:t>
                      </a:r>
                    </a:p>
                    <a:p>
                      <a:pPr marL="177800" indent="-177800" defTabSz="708025">
                        <a:spcBef>
                          <a:spcPts val="100"/>
                        </a:spcBef>
                        <a:spcAft>
                          <a:spcPts val="100"/>
                        </a:spcAft>
                        <a:buClr>
                          <a:schemeClr val="tx1"/>
                        </a:buClr>
                        <a:buFontTx/>
                        <a:buChar char="•"/>
                      </a:pPr>
                      <a:r>
                        <a:rPr lang="en-US" sz="1400" dirty="0"/>
                        <a:t>Task 3</a:t>
                      </a:r>
                      <a:endParaRPr lang="en-GB" sz="1400" dirty="0"/>
                    </a:p>
                    <a:p>
                      <a:endParaRPr lang="en-GB" sz="1400" dirty="0"/>
                    </a:p>
                  </a:txBody>
                  <a:tcPr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7800" indent="-177800" defTabSz="708025">
                        <a:spcBef>
                          <a:spcPts val="100"/>
                        </a:spcBef>
                        <a:spcAft>
                          <a:spcPts val="100"/>
                        </a:spcAft>
                        <a:buClr>
                          <a:schemeClr val="tx1"/>
                        </a:buClr>
                        <a:buFontTx/>
                        <a:buChar char="•"/>
                      </a:pPr>
                      <a:r>
                        <a:rPr lang="en-US" sz="1400" dirty="0"/>
                        <a:t>Task 1</a:t>
                      </a:r>
                    </a:p>
                    <a:p>
                      <a:pPr marL="177800" indent="-177800" defTabSz="708025">
                        <a:spcBef>
                          <a:spcPts val="100"/>
                        </a:spcBef>
                        <a:spcAft>
                          <a:spcPts val="100"/>
                        </a:spcAft>
                        <a:buClr>
                          <a:schemeClr val="tx1"/>
                        </a:buClr>
                        <a:buFontTx/>
                        <a:buChar char="•"/>
                      </a:pPr>
                      <a:r>
                        <a:rPr lang="en-US" sz="1400" dirty="0"/>
                        <a:t>Task 2</a:t>
                      </a:r>
                    </a:p>
                    <a:p>
                      <a:pPr marL="177800" indent="-177800" defTabSz="708025">
                        <a:spcBef>
                          <a:spcPts val="100"/>
                        </a:spcBef>
                        <a:spcAft>
                          <a:spcPts val="100"/>
                        </a:spcAft>
                        <a:buClr>
                          <a:schemeClr val="tx1"/>
                        </a:buClr>
                        <a:buFontTx/>
                        <a:buChar char="•"/>
                      </a:pPr>
                      <a:r>
                        <a:rPr lang="en-US" sz="1400" dirty="0"/>
                        <a:t>Task 3</a:t>
                      </a:r>
                      <a:endParaRPr lang="en-GB" sz="1400" dirty="0"/>
                    </a:p>
                    <a:p>
                      <a:endParaRPr lang="en-GB" sz="1400" dirty="0"/>
                    </a:p>
                  </a:txBody>
                  <a:tcPr marT="108000">
                    <a:lnL w="12700" cmpd="sng">
                      <a:solidFill>
                        <a:srgbClr val="FFFFFF"/>
                      </a:solidFill>
                    </a:lnL>
                    <a:lnR w="12700" cmpd="sng">
                      <a:solidFill>
                        <a:srgbClr val="FFFFFF"/>
                      </a:solidFill>
                    </a:lnR>
                    <a:lnT w="12700" cap="flat" cmpd="sng" algn="ctr">
                      <a:solidFill>
                        <a:srgbClr val="96968C">
                          <a:lumMod val="60000"/>
                          <a:lumOff val="4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767826105"/>
                  </a:ext>
                </a:extLst>
              </a:tr>
            </a:tbl>
          </a:graphicData>
        </a:graphic>
      </p:graphicFrame>
      <p:sp>
        <p:nvSpPr>
          <p:cNvPr id="12" name="Rectangle 11">
            <a:extLst>
              <a:ext uri="{FF2B5EF4-FFF2-40B4-BE49-F238E27FC236}">
                <a16:creationId xmlns:a16="http://schemas.microsoft.com/office/drawing/2014/main" id="{87C6B71B-5306-4382-878C-6C4E84141467}"/>
              </a:ext>
            </a:extLst>
          </p:cNvPr>
          <p:cNvSpPr/>
          <p:nvPr/>
        </p:nvSpPr>
        <p:spPr>
          <a:xfrm>
            <a:off x="2951162" y="1487105"/>
            <a:ext cx="2194504" cy="276999"/>
          </a:xfrm>
          <a:prstGeom prst="rect">
            <a:avLst/>
          </a:prstGeom>
        </p:spPr>
        <p:txBody>
          <a:bodyPr wrap="none" lIns="0" tIns="0" rIns="0" bIns="0">
            <a:noAutofit/>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Black"/>
                <a:ea typeface="ArialUnicodeMS"/>
                <a:cs typeface="Gotham Medium"/>
              </a:rPr>
              <a:t>Phase 1</a:t>
            </a:r>
          </a:p>
        </p:txBody>
      </p:sp>
      <p:sp>
        <p:nvSpPr>
          <p:cNvPr id="13" name="Rectangle 12">
            <a:extLst>
              <a:ext uri="{FF2B5EF4-FFF2-40B4-BE49-F238E27FC236}">
                <a16:creationId xmlns:a16="http://schemas.microsoft.com/office/drawing/2014/main" id="{6469DB83-70ED-4FD9-BC10-29F0CB5116BC}"/>
              </a:ext>
            </a:extLst>
          </p:cNvPr>
          <p:cNvSpPr/>
          <p:nvPr/>
        </p:nvSpPr>
        <p:spPr>
          <a:xfrm>
            <a:off x="5145666" y="1487105"/>
            <a:ext cx="2194504" cy="276999"/>
          </a:xfrm>
          <a:prstGeom prst="rect">
            <a:avLst/>
          </a:prstGeom>
        </p:spPr>
        <p:txBody>
          <a:bodyPr wrap="none" lIns="0" tIns="0" rIns="0" bIns="0">
            <a:noAutofit/>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Black"/>
                <a:ea typeface="ArialUnicodeMS"/>
                <a:cs typeface="Gotham Medium"/>
              </a:rPr>
              <a:t>Phase 2</a:t>
            </a:r>
          </a:p>
        </p:txBody>
      </p:sp>
      <p:sp>
        <p:nvSpPr>
          <p:cNvPr id="14" name="Rectangle 13">
            <a:extLst>
              <a:ext uri="{FF2B5EF4-FFF2-40B4-BE49-F238E27FC236}">
                <a16:creationId xmlns:a16="http://schemas.microsoft.com/office/drawing/2014/main" id="{C0D63588-96C7-40A7-B303-53B8B7E0E47E}"/>
              </a:ext>
            </a:extLst>
          </p:cNvPr>
          <p:cNvSpPr/>
          <p:nvPr/>
        </p:nvSpPr>
        <p:spPr>
          <a:xfrm>
            <a:off x="7340169" y="1487105"/>
            <a:ext cx="2194504" cy="276999"/>
          </a:xfrm>
          <a:prstGeom prst="rect">
            <a:avLst/>
          </a:prstGeom>
        </p:spPr>
        <p:txBody>
          <a:bodyPr wrap="none" lIns="0" tIns="0" rIns="0" bIns="0">
            <a:noAutofit/>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Black"/>
                <a:ea typeface="ArialUnicodeMS"/>
                <a:cs typeface="Gotham Medium"/>
              </a:rPr>
              <a:t>Phase 3</a:t>
            </a:r>
          </a:p>
        </p:txBody>
      </p:sp>
      <p:sp>
        <p:nvSpPr>
          <p:cNvPr id="15" name="Rectangle 14">
            <a:extLst>
              <a:ext uri="{FF2B5EF4-FFF2-40B4-BE49-F238E27FC236}">
                <a16:creationId xmlns:a16="http://schemas.microsoft.com/office/drawing/2014/main" id="{6A129999-96EF-46AE-8E99-FC69CBC96A7E}"/>
              </a:ext>
            </a:extLst>
          </p:cNvPr>
          <p:cNvSpPr/>
          <p:nvPr/>
        </p:nvSpPr>
        <p:spPr>
          <a:xfrm>
            <a:off x="9552946" y="1487105"/>
            <a:ext cx="2194504" cy="276999"/>
          </a:xfrm>
          <a:prstGeom prst="rect">
            <a:avLst/>
          </a:prstGeom>
        </p:spPr>
        <p:txBody>
          <a:bodyPr wrap="none" lIns="0" tIns="0" rIns="0" bIns="0">
            <a:noAutofit/>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raphik Black"/>
                <a:ea typeface="ArialUnicodeMS"/>
                <a:cs typeface="Gotham Medium"/>
              </a:rPr>
              <a:t>Phase 4</a:t>
            </a:r>
          </a:p>
        </p:txBody>
      </p:sp>
      <p:grpSp>
        <p:nvGrpSpPr>
          <p:cNvPr id="16" name="Group 15">
            <a:extLst>
              <a:ext uri="{FF2B5EF4-FFF2-40B4-BE49-F238E27FC236}">
                <a16:creationId xmlns:a16="http://schemas.microsoft.com/office/drawing/2014/main" id="{2D29F856-0199-4C0D-BE47-DB1D8BCC0EC0}"/>
              </a:ext>
            </a:extLst>
          </p:cNvPr>
          <p:cNvGrpSpPr/>
          <p:nvPr/>
        </p:nvGrpSpPr>
        <p:grpSpPr>
          <a:xfrm>
            <a:off x="9912680" y="1108215"/>
            <a:ext cx="1942769" cy="209821"/>
            <a:chOff x="9912680" y="1108215"/>
            <a:chExt cx="1942769" cy="209821"/>
          </a:xfrm>
        </p:grpSpPr>
        <p:sp>
          <p:nvSpPr>
            <p:cNvPr id="17" name="AutoShape 5">
              <a:extLst>
                <a:ext uri="{FF2B5EF4-FFF2-40B4-BE49-F238E27FC236}">
                  <a16:creationId xmlns:a16="http://schemas.microsoft.com/office/drawing/2014/main" id="{E0F5AD2B-A5FA-4A5E-B86A-8B00233D6956}"/>
                </a:ext>
              </a:extLst>
            </p:cNvPr>
            <p:cNvSpPr>
              <a:spLocks noChangeArrowheads="1"/>
            </p:cNvSpPr>
            <p:nvPr/>
          </p:nvSpPr>
          <p:spPr bwMode="auto">
            <a:xfrm>
              <a:off x="11288493" y="1108215"/>
              <a:ext cx="566956" cy="209821"/>
            </a:xfrm>
            <a:prstGeom prst="homePlate">
              <a:avLst>
                <a:gd name="adj" fmla="val 27116"/>
              </a:avLst>
            </a:prstGeom>
            <a:solidFill>
              <a:srgbClr val="96968C">
                <a:lumMod val="40000"/>
                <a:lumOff val="60000"/>
              </a:srgbClr>
            </a:solidFill>
            <a:ln w="12700">
              <a:solidFill>
                <a:srgbClr val="FFFFFF"/>
              </a:solid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Graphik"/>
                <a:ea typeface="+mn-ea"/>
                <a:cs typeface="+mn-cs"/>
              </a:endParaRPr>
            </a:p>
          </p:txBody>
        </p:sp>
        <p:sp>
          <p:nvSpPr>
            <p:cNvPr id="18" name="AutoShape 5">
              <a:extLst>
                <a:ext uri="{FF2B5EF4-FFF2-40B4-BE49-F238E27FC236}">
                  <a16:creationId xmlns:a16="http://schemas.microsoft.com/office/drawing/2014/main" id="{1091F1E7-61A9-4242-AF25-0BFEF3223D52}"/>
                </a:ext>
              </a:extLst>
            </p:cNvPr>
            <p:cNvSpPr>
              <a:spLocks noChangeArrowheads="1"/>
            </p:cNvSpPr>
            <p:nvPr/>
          </p:nvSpPr>
          <p:spPr bwMode="auto">
            <a:xfrm>
              <a:off x="10829888" y="1108215"/>
              <a:ext cx="571652" cy="209821"/>
            </a:xfrm>
            <a:prstGeom prst="homePlate">
              <a:avLst>
                <a:gd name="adj" fmla="val 27116"/>
              </a:avLst>
            </a:prstGeom>
            <a:solidFill>
              <a:srgbClr val="96968C">
                <a:lumMod val="40000"/>
                <a:lumOff val="60000"/>
              </a:srgbClr>
            </a:solidFill>
            <a:ln w="12700">
              <a:solidFill>
                <a:srgbClr val="FFFFFF"/>
              </a:solid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Graphik"/>
                <a:ea typeface="+mn-ea"/>
                <a:cs typeface="+mn-cs"/>
              </a:endParaRPr>
            </a:p>
          </p:txBody>
        </p:sp>
        <p:sp>
          <p:nvSpPr>
            <p:cNvPr id="19" name="AutoShape 5">
              <a:extLst>
                <a:ext uri="{FF2B5EF4-FFF2-40B4-BE49-F238E27FC236}">
                  <a16:creationId xmlns:a16="http://schemas.microsoft.com/office/drawing/2014/main" id="{0FFF6294-436B-44F2-A0EC-8E5ABF63D128}"/>
                </a:ext>
              </a:extLst>
            </p:cNvPr>
            <p:cNvSpPr>
              <a:spLocks noChangeArrowheads="1"/>
            </p:cNvSpPr>
            <p:nvPr/>
          </p:nvSpPr>
          <p:spPr bwMode="auto">
            <a:xfrm>
              <a:off x="10371284" y="1108215"/>
              <a:ext cx="571652" cy="209821"/>
            </a:xfrm>
            <a:prstGeom prst="homePlate">
              <a:avLst>
                <a:gd name="adj" fmla="val 27116"/>
              </a:avLst>
            </a:prstGeom>
            <a:solidFill>
              <a:srgbClr val="96968C">
                <a:lumMod val="40000"/>
                <a:lumOff val="60000"/>
              </a:srgbClr>
            </a:solidFill>
            <a:ln w="12700">
              <a:solidFill>
                <a:srgbClr val="FFFFFF"/>
              </a:solid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Graphik"/>
                <a:ea typeface="+mn-ea"/>
                <a:cs typeface="+mn-cs"/>
              </a:endParaRPr>
            </a:p>
          </p:txBody>
        </p:sp>
        <p:sp>
          <p:nvSpPr>
            <p:cNvPr id="20" name="AutoShape 5">
              <a:extLst>
                <a:ext uri="{FF2B5EF4-FFF2-40B4-BE49-F238E27FC236}">
                  <a16:creationId xmlns:a16="http://schemas.microsoft.com/office/drawing/2014/main" id="{7A724ABD-C620-4DEF-9B93-33934EA21BAA}"/>
                </a:ext>
              </a:extLst>
            </p:cNvPr>
            <p:cNvSpPr>
              <a:spLocks noChangeArrowheads="1"/>
            </p:cNvSpPr>
            <p:nvPr/>
          </p:nvSpPr>
          <p:spPr bwMode="auto">
            <a:xfrm>
              <a:off x="9912680" y="1108215"/>
              <a:ext cx="571652" cy="209821"/>
            </a:xfrm>
            <a:prstGeom prst="homePlate">
              <a:avLst>
                <a:gd name="adj" fmla="val 27116"/>
              </a:avLst>
            </a:prstGeom>
            <a:solidFill>
              <a:srgbClr val="A100FF"/>
            </a:solidFill>
            <a:ln w="12700">
              <a:solidFill>
                <a:srgbClr val="FFFFFF"/>
              </a:solidFill>
              <a:miter lim="800000"/>
              <a:headEnd/>
              <a:tailEnd/>
            </a:ln>
          </p:spPr>
          <p:txBody>
            <a:bodyPr lIns="144000" tIns="72000" rIns="144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Graphik"/>
                <a:ea typeface="+mn-ea"/>
                <a:cs typeface="+mn-cs"/>
              </a:endParaRPr>
            </a:p>
          </p:txBody>
        </p:sp>
      </p:grpSp>
      <p:sp>
        <p:nvSpPr>
          <p:cNvPr id="2" name="Rectangle 1">
            <a:hlinkClick r:id="rId3" action="ppaction://hlinksldjump"/>
            <a:extLst>
              <a:ext uri="{FF2B5EF4-FFF2-40B4-BE49-F238E27FC236}">
                <a16:creationId xmlns:a16="http://schemas.microsoft.com/office/drawing/2014/main" id="{F5681B16-1DC0-4B68-9CB6-D23F4CD0ECD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885043573"/>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19AF25-CE3E-4D10-96DD-4E666FF5020A}"/>
              </a:ext>
            </a:extLst>
          </p:cNvPr>
          <p:cNvSpPr>
            <a:spLocks noGrp="1"/>
          </p:cNvSpPr>
          <p:nvPr>
            <p:ph type="title"/>
          </p:nvPr>
        </p:nvSpPr>
        <p:spPr/>
        <p:txBody>
          <a:bodyPr/>
          <a:lstStyle/>
          <a:p>
            <a:r>
              <a:rPr lang="en-US" dirty="0"/>
              <a:t>Implementation Plan</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7" name="Freeform: Shape 6">
            <a:extLst>
              <a:ext uri="{FF2B5EF4-FFF2-40B4-BE49-F238E27FC236}">
                <a16:creationId xmlns:a16="http://schemas.microsoft.com/office/drawing/2014/main" id="{5BFD1CC1-4B10-4600-B121-56D178A42AC3}"/>
              </a:ext>
            </a:extLst>
          </p:cNvPr>
          <p:cNvSpPr>
            <a:spLocks noChangeArrowheads="1"/>
          </p:cNvSpPr>
          <p:nvPr/>
        </p:nvSpPr>
        <p:spPr bwMode="auto">
          <a:xfrm rot="16200000" flipH="1">
            <a:off x="2818175" y="3063362"/>
            <a:ext cx="1680208" cy="1677283"/>
          </a:xfrm>
          <a:custGeom>
            <a:avLst/>
            <a:gdLst>
              <a:gd name="connsiteX0" fmla="*/ 0 w 1785883"/>
              <a:gd name="connsiteY0" fmla="*/ 1782773 h 1782774"/>
              <a:gd name="connsiteX1" fmla="*/ 0 w 1785883"/>
              <a:gd name="connsiteY1" fmla="*/ 1782774 h 1782774"/>
              <a:gd name="connsiteX2" fmla="*/ 1191631 w 1785883"/>
              <a:gd name="connsiteY2" fmla="*/ 1782774 h 1782774"/>
              <a:gd name="connsiteX3" fmla="*/ 1785883 w 1785883"/>
              <a:gd name="connsiteY3" fmla="*/ 891387 h 1782774"/>
              <a:gd name="connsiteX4" fmla="*/ 1191631 w 1785883"/>
              <a:gd name="connsiteY4" fmla="*/ 0 h 1782774"/>
              <a:gd name="connsiteX5" fmla="*/ 3834 w 1785883"/>
              <a:gd name="connsiteY5" fmla="*/ 0 h 1782774"/>
              <a:gd name="connsiteX6" fmla="*/ 601438 w 1785883"/>
              <a:gd name="connsiteY6" fmla="*/ 891387 h 1782774"/>
              <a:gd name="connsiteX7" fmla="*/ 3834 w 1785883"/>
              <a:gd name="connsiteY7" fmla="*/ 1782773 h 178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5883" h="1782774">
                <a:moveTo>
                  <a:pt x="0" y="1782773"/>
                </a:moveTo>
                <a:lnTo>
                  <a:pt x="0" y="1782774"/>
                </a:lnTo>
                <a:lnTo>
                  <a:pt x="1191631" y="1782774"/>
                </a:lnTo>
                <a:lnTo>
                  <a:pt x="1785883" y="891387"/>
                </a:lnTo>
                <a:lnTo>
                  <a:pt x="1191631" y="0"/>
                </a:lnTo>
                <a:lnTo>
                  <a:pt x="3834" y="0"/>
                </a:lnTo>
                <a:lnTo>
                  <a:pt x="601438" y="891387"/>
                </a:lnTo>
                <a:lnTo>
                  <a:pt x="3834" y="1782773"/>
                </a:lnTo>
                <a:close/>
              </a:path>
            </a:pathLst>
          </a:custGeom>
          <a:solidFill>
            <a:schemeClr val="accent2"/>
          </a:solidFill>
          <a:ln w="6350">
            <a:noFill/>
            <a:miter lim="800000"/>
            <a:headEnd/>
            <a:tailEnd/>
          </a:ln>
          <a:effectLst/>
        </p:spPr>
        <p:txBody>
          <a:bodyPr vert="eaVert" wrap="square" lIns="36000" tIns="0" rIns="252000" anchor="ctr">
            <a:noAutofit/>
          </a:bodyP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AU" sz="1600" b="1" i="0" u="none" strike="noStrike" kern="0" cap="none" spc="0" normalizeH="0" baseline="0" noProof="0" dirty="0">
                <a:ln>
                  <a:noFill/>
                </a:ln>
                <a:solidFill>
                  <a:srgbClr val="FFFFFF"/>
                </a:solidFill>
                <a:effectLst/>
                <a:uLnTx/>
                <a:uFillTx/>
                <a:latin typeface="Graphik Black"/>
                <a:ea typeface="+mn-ea"/>
                <a:cs typeface="+mn-cs"/>
              </a:rPr>
              <a:t>Phase 2</a:t>
            </a:r>
            <a:endParaRPr kumimoji="0" lang="en-GB" sz="1600" b="1" i="0" u="none" strike="noStrike" kern="0" cap="none" spc="0" normalizeH="0" baseline="0" noProof="0" dirty="0">
              <a:ln>
                <a:noFill/>
              </a:ln>
              <a:solidFill>
                <a:srgbClr val="FFFFFF"/>
              </a:solidFill>
              <a:effectLst/>
              <a:uLnTx/>
              <a:uFillTx/>
              <a:latin typeface="Graphik Black"/>
              <a:ea typeface="+mn-ea"/>
              <a:cs typeface="+mn-cs"/>
            </a:endParaRPr>
          </a:p>
        </p:txBody>
      </p:sp>
      <p:sp>
        <p:nvSpPr>
          <p:cNvPr id="8" name="Freeform: Shape 7">
            <a:extLst>
              <a:ext uri="{FF2B5EF4-FFF2-40B4-BE49-F238E27FC236}">
                <a16:creationId xmlns:a16="http://schemas.microsoft.com/office/drawing/2014/main" id="{15217DFD-7032-4083-98E1-2C744B9C89C6}"/>
              </a:ext>
            </a:extLst>
          </p:cNvPr>
          <p:cNvSpPr>
            <a:spLocks noChangeArrowheads="1"/>
          </p:cNvSpPr>
          <p:nvPr/>
        </p:nvSpPr>
        <p:spPr bwMode="auto">
          <a:xfrm rot="16200000" flipH="1">
            <a:off x="2751648" y="4283639"/>
            <a:ext cx="1813261" cy="1677283"/>
          </a:xfrm>
          <a:custGeom>
            <a:avLst/>
            <a:gdLst>
              <a:gd name="connsiteX0" fmla="*/ 0 w 1927304"/>
              <a:gd name="connsiteY0" fmla="*/ 0 h 1782774"/>
              <a:gd name="connsiteX1" fmla="*/ 0 w 1927304"/>
              <a:gd name="connsiteY1" fmla="*/ 1 h 1782774"/>
              <a:gd name="connsiteX2" fmla="*/ 101065 w 1927304"/>
              <a:gd name="connsiteY2" fmla="*/ 1 h 1782774"/>
              <a:gd name="connsiteX3" fmla="*/ 695317 w 1927304"/>
              <a:gd name="connsiteY3" fmla="*/ 891388 h 1782774"/>
              <a:gd name="connsiteX4" fmla="*/ 101065 w 1927304"/>
              <a:gd name="connsiteY4" fmla="*/ 1782774 h 1782774"/>
              <a:gd name="connsiteX5" fmla="*/ 1333052 w 1927304"/>
              <a:gd name="connsiteY5" fmla="*/ 1782774 h 1782774"/>
              <a:gd name="connsiteX6" fmla="*/ 1927304 w 1927304"/>
              <a:gd name="connsiteY6" fmla="*/ 891387 h 1782774"/>
              <a:gd name="connsiteX7" fmla="*/ 1333052 w 1927304"/>
              <a:gd name="connsiteY7" fmla="*/ 0 h 178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7304" h="1782774">
                <a:moveTo>
                  <a:pt x="0" y="0"/>
                </a:moveTo>
                <a:lnTo>
                  <a:pt x="0" y="1"/>
                </a:lnTo>
                <a:lnTo>
                  <a:pt x="101065" y="1"/>
                </a:lnTo>
                <a:lnTo>
                  <a:pt x="695317" y="891388"/>
                </a:lnTo>
                <a:lnTo>
                  <a:pt x="101065" y="1782774"/>
                </a:lnTo>
                <a:lnTo>
                  <a:pt x="1333052" y="1782774"/>
                </a:lnTo>
                <a:lnTo>
                  <a:pt x="1927304" y="891387"/>
                </a:lnTo>
                <a:lnTo>
                  <a:pt x="1333052" y="0"/>
                </a:lnTo>
                <a:close/>
              </a:path>
            </a:pathLst>
          </a:custGeom>
          <a:solidFill>
            <a:schemeClr val="accent1"/>
          </a:solidFill>
          <a:ln w="6350">
            <a:noFill/>
            <a:miter lim="800000"/>
            <a:headEnd/>
            <a:tailEnd/>
          </a:ln>
          <a:effectLst/>
        </p:spPr>
        <p:txBody>
          <a:bodyPr vert="eaVert" wrap="square" lIns="36000" tIns="0" rIns="252000" anchor="ctr">
            <a:noAutofit/>
          </a:bodyP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AU" sz="1600" b="1" i="0" u="none" strike="noStrike" kern="0" cap="none" spc="0" normalizeH="0" baseline="0" noProof="0" dirty="0">
                <a:ln>
                  <a:noFill/>
                </a:ln>
                <a:solidFill>
                  <a:srgbClr val="FFFFFF"/>
                </a:solidFill>
                <a:effectLst/>
                <a:uLnTx/>
                <a:uFillTx/>
                <a:latin typeface="Graphik Black"/>
                <a:ea typeface="+mn-ea"/>
                <a:cs typeface="+mn-cs"/>
              </a:rPr>
              <a:t>Phase 3</a:t>
            </a:r>
            <a:endParaRPr kumimoji="0" lang="en-GB" sz="1600" b="1" i="0" u="none" strike="noStrike" kern="0" cap="none" spc="0" normalizeH="0" baseline="0" noProof="0" dirty="0">
              <a:ln>
                <a:noFill/>
              </a:ln>
              <a:solidFill>
                <a:srgbClr val="FFFFFF"/>
              </a:solidFill>
              <a:effectLst/>
              <a:uLnTx/>
              <a:uFillTx/>
              <a:latin typeface="Graphik Black"/>
              <a:ea typeface="+mn-ea"/>
              <a:cs typeface="+mn-cs"/>
            </a:endParaRPr>
          </a:p>
        </p:txBody>
      </p:sp>
      <p:sp>
        <p:nvSpPr>
          <p:cNvPr id="9" name="Rectangle 6">
            <a:extLst>
              <a:ext uri="{FF2B5EF4-FFF2-40B4-BE49-F238E27FC236}">
                <a16:creationId xmlns:a16="http://schemas.microsoft.com/office/drawing/2014/main" id="{E679E93E-69B6-4085-9A31-324BD9158C78}"/>
              </a:ext>
            </a:extLst>
          </p:cNvPr>
          <p:cNvSpPr>
            <a:spLocks noChangeArrowheads="1"/>
          </p:cNvSpPr>
          <p:nvPr/>
        </p:nvSpPr>
        <p:spPr bwMode="auto">
          <a:xfrm>
            <a:off x="4606028" y="1765605"/>
            <a:ext cx="4422358" cy="1170298"/>
          </a:xfrm>
          <a:prstGeom prst="rect">
            <a:avLst/>
          </a:prstGeom>
          <a:solidFill>
            <a:schemeClr val="accent3"/>
          </a:solidFill>
          <a:ln w="6350">
            <a:noFill/>
            <a:miter lim="800000"/>
            <a:headEnd/>
            <a:tailEnd/>
          </a:ln>
        </p:spPr>
        <p:txBody>
          <a:bodyPr lIns="252000" tIns="144000" rIns="72000" bIns="72000"/>
          <a:lstStyle/>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10" name="Rectangle 7">
            <a:extLst>
              <a:ext uri="{FF2B5EF4-FFF2-40B4-BE49-F238E27FC236}">
                <a16:creationId xmlns:a16="http://schemas.microsoft.com/office/drawing/2014/main" id="{55E61B14-7579-4740-9362-D9D53B2AB329}"/>
              </a:ext>
            </a:extLst>
          </p:cNvPr>
          <p:cNvSpPr>
            <a:spLocks noChangeArrowheads="1"/>
          </p:cNvSpPr>
          <p:nvPr/>
        </p:nvSpPr>
        <p:spPr bwMode="auto">
          <a:xfrm>
            <a:off x="4606027" y="3057766"/>
            <a:ext cx="4422359" cy="1118909"/>
          </a:xfrm>
          <a:prstGeom prst="rect">
            <a:avLst/>
          </a:prstGeom>
          <a:solidFill>
            <a:schemeClr val="accent2"/>
          </a:solidFill>
          <a:ln w="6350">
            <a:noFill/>
            <a:miter lim="800000"/>
            <a:headEnd/>
            <a:tailEnd/>
          </a:ln>
        </p:spPr>
        <p:txBody>
          <a:bodyPr lIns="252000" tIns="144000" rIns="72000" bIns="72000"/>
          <a:lstStyle/>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11" name="Rectangle 8">
            <a:extLst>
              <a:ext uri="{FF2B5EF4-FFF2-40B4-BE49-F238E27FC236}">
                <a16:creationId xmlns:a16="http://schemas.microsoft.com/office/drawing/2014/main" id="{5216927F-8C40-4B55-B041-47051ACB5F87}"/>
              </a:ext>
            </a:extLst>
          </p:cNvPr>
          <p:cNvSpPr>
            <a:spLocks noChangeArrowheads="1"/>
          </p:cNvSpPr>
          <p:nvPr/>
        </p:nvSpPr>
        <p:spPr bwMode="auto">
          <a:xfrm>
            <a:off x="4606027" y="4309728"/>
            <a:ext cx="4422357" cy="1163242"/>
          </a:xfrm>
          <a:prstGeom prst="rect">
            <a:avLst/>
          </a:prstGeom>
          <a:solidFill>
            <a:schemeClr val="accent1"/>
          </a:solidFill>
          <a:ln w="6350">
            <a:noFill/>
            <a:miter lim="800000"/>
            <a:headEnd/>
            <a:tailEnd/>
          </a:ln>
        </p:spPr>
        <p:txBody>
          <a:bodyPr lIns="252000" tIns="144000" rIns="72000" bIns="72000"/>
          <a:lstStyle/>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a:p>
            <a:pPr marL="174625" marR="0" lvl="0" indent="-174625" algn="l" defTabSz="914400" rtl="0" eaLnBrk="0" fontAlgn="auto" latinLnBrk="0" hangingPunct="0">
              <a:lnSpc>
                <a:spcPct val="85000"/>
              </a:lnSpc>
              <a:spcBef>
                <a:spcPts val="100"/>
              </a:spcBef>
              <a:spcAft>
                <a:spcPts val="100"/>
              </a:spcAft>
              <a:buClrTx/>
              <a:buSzTx/>
              <a:buFontTx/>
              <a:buChar char="•"/>
              <a:tabLst/>
              <a:defRPr/>
            </a:pPr>
            <a:r>
              <a:rPr kumimoji="0" lang="en-GB" sz="1400" b="0" i="0" u="none" strike="noStrike" kern="0" cap="none" spc="0" normalizeH="0" baseline="0" noProof="0" dirty="0">
                <a:ln>
                  <a:noFill/>
                </a:ln>
                <a:solidFill>
                  <a:srgbClr val="FFFFFF"/>
                </a:solidFill>
                <a:effectLst/>
                <a:uLnTx/>
                <a:uFillTx/>
                <a:latin typeface="Graphik"/>
                <a:ea typeface="+mn-ea"/>
                <a:cs typeface="+mn-cs"/>
              </a:rPr>
              <a:t>Text</a:t>
            </a:r>
          </a:p>
        </p:txBody>
      </p:sp>
      <p:sp>
        <p:nvSpPr>
          <p:cNvPr id="12" name="AutoShape 9">
            <a:extLst>
              <a:ext uri="{FF2B5EF4-FFF2-40B4-BE49-F238E27FC236}">
                <a16:creationId xmlns:a16="http://schemas.microsoft.com/office/drawing/2014/main" id="{918B20BF-DF94-4454-9E51-696931915242}"/>
              </a:ext>
            </a:extLst>
          </p:cNvPr>
          <p:cNvSpPr>
            <a:spLocks noChangeArrowheads="1"/>
          </p:cNvSpPr>
          <p:nvPr/>
        </p:nvSpPr>
        <p:spPr bwMode="auto">
          <a:xfrm rot="16200000" flipH="1">
            <a:off x="2788987" y="1796255"/>
            <a:ext cx="1738583" cy="1677283"/>
          </a:xfrm>
          <a:prstGeom prst="homePlate">
            <a:avLst>
              <a:gd name="adj" fmla="val 33521"/>
            </a:avLst>
          </a:prstGeom>
          <a:solidFill>
            <a:schemeClr val="accent3"/>
          </a:solidFill>
          <a:ln w="6350">
            <a:noFill/>
            <a:miter lim="800000"/>
            <a:headEnd/>
            <a:tailEnd/>
          </a:ln>
          <a:effectLst/>
        </p:spPr>
        <p:txBody>
          <a:bodyPr vert="eaVert" wrap="none" lIns="45720" rIns="45720" anchor="ctr"/>
          <a:lstStyle/>
          <a:p>
            <a:pPr marL="0" marR="0" lvl="0" indent="0" algn="ctr" defTabSz="914400" rtl="0" eaLnBrk="0" fontAlgn="auto" latinLnBrk="0" hangingPunct="0">
              <a:lnSpc>
                <a:spcPct val="85000"/>
              </a:lnSpc>
              <a:spcBef>
                <a:spcPts val="100"/>
              </a:spcBef>
              <a:spcAft>
                <a:spcPts val="300"/>
              </a:spcAft>
              <a:buClr>
                <a:srgbClr val="FFFFFF"/>
              </a:buClr>
              <a:buSzTx/>
              <a:buFontTx/>
              <a:buNone/>
              <a:tabLst/>
              <a:defRPr/>
            </a:pPr>
            <a:r>
              <a:rPr kumimoji="0" lang="en-GB" sz="1600" b="1" i="0" u="none" strike="noStrike" kern="0" cap="none" spc="0" normalizeH="0" baseline="0" noProof="0" dirty="0">
                <a:ln>
                  <a:noFill/>
                </a:ln>
                <a:solidFill>
                  <a:srgbClr val="FFFFFF"/>
                </a:solidFill>
                <a:effectLst/>
                <a:uLnTx/>
                <a:uFillTx/>
                <a:latin typeface="Graphik Black"/>
                <a:ea typeface="+mn-ea"/>
                <a:cs typeface="+mn-cs"/>
              </a:rPr>
              <a:t>Phase 1</a:t>
            </a:r>
          </a:p>
        </p:txBody>
      </p:sp>
      <p:sp>
        <p:nvSpPr>
          <p:cNvPr id="13" name="Rectangle 7">
            <a:extLst>
              <a:ext uri="{FF2B5EF4-FFF2-40B4-BE49-F238E27FC236}">
                <a16:creationId xmlns:a16="http://schemas.microsoft.com/office/drawing/2014/main" id="{26054D6E-C656-435B-B55A-76A5EB191183}"/>
              </a:ext>
            </a:extLst>
          </p:cNvPr>
          <p:cNvSpPr>
            <a:spLocks noChangeArrowheads="1"/>
          </p:cNvSpPr>
          <p:nvPr/>
        </p:nvSpPr>
        <p:spPr bwMode="auto">
          <a:xfrm>
            <a:off x="4606027" y="1306272"/>
            <a:ext cx="4422357" cy="392807"/>
          </a:xfrm>
          <a:prstGeom prst="rect">
            <a:avLst/>
          </a:prstGeom>
          <a:noFill/>
          <a:ln w="6350">
            <a:noFill/>
            <a:miter lim="800000"/>
            <a:headEnd/>
            <a:tailEnd/>
          </a:ln>
          <a:effectLst/>
        </p:spPr>
        <p:txBody>
          <a:bodyPr lIns="0" tIns="72000" rIns="72000" bIns="72000" anchor="b"/>
          <a:lstStyle/>
          <a:p>
            <a:pPr marL="0" marR="0" lvl="0" indent="0" algn="l" defTabSz="739775" rtl="0" eaLnBrk="0" fontAlgn="auto" latinLnBrk="0" hangingPunct="0">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raphik Black"/>
                <a:ea typeface="+mn-ea"/>
                <a:cs typeface="+mn-cs"/>
              </a:rPr>
              <a:t>Activities per phase</a:t>
            </a:r>
          </a:p>
        </p:txBody>
      </p:sp>
      <p:sp>
        <p:nvSpPr>
          <p:cNvPr id="14" name="Rectangle 4">
            <a:extLst>
              <a:ext uri="{FF2B5EF4-FFF2-40B4-BE49-F238E27FC236}">
                <a16:creationId xmlns:a16="http://schemas.microsoft.com/office/drawing/2014/main" id="{5507E7CE-03AB-4E8C-9E68-1A9169DE1220}"/>
              </a:ext>
            </a:extLst>
          </p:cNvPr>
          <p:cNvSpPr>
            <a:spLocks noChangeArrowheads="1"/>
          </p:cNvSpPr>
          <p:nvPr/>
        </p:nvSpPr>
        <p:spPr bwMode="auto">
          <a:xfrm>
            <a:off x="1582918" y="2881086"/>
            <a:ext cx="1017588" cy="215444"/>
          </a:xfrm>
          <a:prstGeom prst="rect">
            <a:avLst/>
          </a:prstGeom>
          <a:noFill/>
          <a:ln w="6350">
            <a:noFill/>
            <a:miter lim="800000"/>
            <a:headEnd/>
            <a:tailEnd/>
          </a:ln>
          <a:effectLst/>
        </p:spPr>
        <p:txBody>
          <a:bodyPr lIns="0" tIns="0" rIns="0" bIns="0">
            <a:spAutoFit/>
          </a:bodyPr>
          <a:lstStyle/>
          <a:p>
            <a:pPr marL="0" marR="0" lvl="0" indent="0" algn="r" defTabSz="739775"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Review</a:t>
            </a:r>
          </a:p>
        </p:txBody>
      </p:sp>
      <p:sp>
        <p:nvSpPr>
          <p:cNvPr id="15" name="Rectangle 5">
            <a:extLst>
              <a:ext uri="{FF2B5EF4-FFF2-40B4-BE49-F238E27FC236}">
                <a16:creationId xmlns:a16="http://schemas.microsoft.com/office/drawing/2014/main" id="{1F4879B0-717E-4B60-A8C3-56C1DF49388A}"/>
              </a:ext>
            </a:extLst>
          </p:cNvPr>
          <p:cNvSpPr>
            <a:spLocks noChangeArrowheads="1"/>
          </p:cNvSpPr>
          <p:nvPr/>
        </p:nvSpPr>
        <p:spPr bwMode="auto">
          <a:xfrm>
            <a:off x="1582918" y="4111533"/>
            <a:ext cx="1016000" cy="215444"/>
          </a:xfrm>
          <a:prstGeom prst="rect">
            <a:avLst/>
          </a:prstGeom>
          <a:noFill/>
          <a:ln w="6350">
            <a:noFill/>
            <a:miter lim="800000"/>
            <a:headEnd/>
            <a:tailEnd/>
          </a:ln>
          <a:effectLst/>
        </p:spPr>
        <p:txBody>
          <a:bodyPr lIns="0" tIns="0" rIns="0" bIns="0">
            <a:spAutoFit/>
          </a:bodyPr>
          <a:lstStyle/>
          <a:p>
            <a:pPr marL="0" marR="0" lvl="0" indent="0" algn="r" defTabSz="739775"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Review</a:t>
            </a:r>
          </a:p>
        </p:txBody>
      </p:sp>
      <p:sp>
        <p:nvSpPr>
          <p:cNvPr id="16" name="Rectangle 6">
            <a:extLst>
              <a:ext uri="{FF2B5EF4-FFF2-40B4-BE49-F238E27FC236}">
                <a16:creationId xmlns:a16="http://schemas.microsoft.com/office/drawing/2014/main" id="{A5ED4C1D-410A-415B-9635-9357CCA8A254}"/>
              </a:ext>
            </a:extLst>
          </p:cNvPr>
          <p:cNvSpPr>
            <a:spLocks noChangeArrowheads="1"/>
          </p:cNvSpPr>
          <p:nvPr/>
        </p:nvSpPr>
        <p:spPr bwMode="auto">
          <a:xfrm>
            <a:off x="1582918" y="5415431"/>
            <a:ext cx="1016000" cy="215444"/>
          </a:xfrm>
          <a:prstGeom prst="rect">
            <a:avLst/>
          </a:prstGeom>
          <a:noFill/>
          <a:ln w="6350">
            <a:noFill/>
            <a:miter lim="800000"/>
            <a:headEnd/>
            <a:tailEnd/>
          </a:ln>
          <a:effectLst/>
        </p:spPr>
        <p:txBody>
          <a:bodyPr lIns="0" tIns="0" rIns="0" bIns="0">
            <a:spAutoFit/>
          </a:bodyPr>
          <a:lstStyle/>
          <a:p>
            <a:pPr marL="0" marR="0" lvl="0" indent="0" algn="r" defTabSz="739775"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Review</a:t>
            </a:r>
          </a:p>
        </p:txBody>
      </p:sp>
      <p:sp>
        <p:nvSpPr>
          <p:cNvPr id="2" name="Rectangle 1">
            <a:hlinkClick r:id="rId3" action="ppaction://hlinksldjump"/>
            <a:extLst>
              <a:ext uri="{FF2B5EF4-FFF2-40B4-BE49-F238E27FC236}">
                <a16:creationId xmlns:a16="http://schemas.microsoft.com/office/drawing/2014/main" id="{8E24C464-7405-42CE-9445-1720DF994F6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89027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F56B6C-CB85-4BF8-9F1A-B1CD782313C8}"/>
              </a:ext>
            </a:extLst>
          </p:cNvPr>
          <p:cNvSpPr>
            <a:spLocks noGrp="1"/>
          </p:cNvSpPr>
          <p:nvPr>
            <p:ph type="title"/>
          </p:nvPr>
        </p:nvSpPr>
        <p:spPr/>
        <p:txBody>
          <a:bodyPr/>
          <a:lstStyle/>
          <a:p>
            <a:r>
              <a:rPr lang="en-US" dirty="0"/>
              <a:t>Gantt Chart 1</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3" action="ppaction://hlinksldjump"/>
            <a:extLst>
              <a:ext uri="{FF2B5EF4-FFF2-40B4-BE49-F238E27FC236}">
                <a16:creationId xmlns:a16="http://schemas.microsoft.com/office/drawing/2014/main" id="{4C75855C-818B-4B9E-91CB-C4DAD71C833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77" name="Group 76">
            <a:extLst>
              <a:ext uri="{FF2B5EF4-FFF2-40B4-BE49-F238E27FC236}">
                <a16:creationId xmlns:a16="http://schemas.microsoft.com/office/drawing/2014/main" id="{9635A2F2-46C3-40E0-A117-18044680A34F}"/>
              </a:ext>
            </a:extLst>
          </p:cNvPr>
          <p:cNvGrpSpPr/>
          <p:nvPr/>
        </p:nvGrpSpPr>
        <p:grpSpPr>
          <a:xfrm>
            <a:off x="-1" y="1423065"/>
            <a:ext cx="12223281" cy="4680856"/>
            <a:chOff x="-1" y="1423065"/>
            <a:chExt cx="12223281" cy="4680856"/>
          </a:xfrm>
        </p:grpSpPr>
        <p:sp>
          <p:nvSpPr>
            <p:cNvPr id="78" name="Rectangle 77">
              <a:extLst>
                <a:ext uri="{FF2B5EF4-FFF2-40B4-BE49-F238E27FC236}">
                  <a16:creationId xmlns:a16="http://schemas.microsoft.com/office/drawing/2014/main" id="{10CE3981-017F-4E0B-8E3E-0AA60194EB1E}"/>
                </a:ext>
              </a:extLst>
            </p:cNvPr>
            <p:cNvSpPr/>
            <p:nvPr/>
          </p:nvSpPr>
          <p:spPr>
            <a:xfrm>
              <a:off x="0" y="1991117"/>
              <a:ext cx="12192000" cy="4084113"/>
            </a:xfrm>
            <a:prstGeom prst="rect">
              <a:avLst/>
            </a:prstGeom>
            <a:pattFill prst="wdUpDiag">
              <a:fgClr>
                <a:schemeClr val="bg1">
                  <a:lumMod val="9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9" name="Rectangle 78">
              <a:extLst>
                <a:ext uri="{FF2B5EF4-FFF2-40B4-BE49-F238E27FC236}">
                  <a16:creationId xmlns:a16="http://schemas.microsoft.com/office/drawing/2014/main" id="{6DAAD4F5-3C0C-4248-9E36-B7DBD560205F}"/>
                </a:ext>
              </a:extLst>
            </p:cNvPr>
            <p:cNvSpPr/>
            <p:nvPr/>
          </p:nvSpPr>
          <p:spPr>
            <a:xfrm>
              <a:off x="-1" y="1991116"/>
              <a:ext cx="3095897" cy="41128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41A3D7E9-3607-4788-8E81-82F120E69188}"/>
                </a:ext>
              </a:extLst>
            </p:cNvPr>
            <p:cNvGrpSpPr/>
            <p:nvPr/>
          </p:nvGrpSpPr>
          <p:grpSpPr>
            <a:xfrm>
              <a:off x="0" y="1423065"/>
              <a:ext cx="12192000" cy="335148"/>
              <a:chOff x="0" y="1423065"/>
              <a:chExt cx="12192000" cy="335148"/>
            </a:xfrm>
          </p:grpSpPr>
          <p:sp>
            <p:nvSpPr>
              <p:cNvPr id="89" name="TextBox 88">
                <a:extLst>
                  <a:ext uri="{FF2B5EF4-FFF2-40B4-BE49-F238E27FC236}">
                    <a16:creationId xmlns:a16="http://schemas.microsoft.com/office/drawing/2014/main" id="{D0BAD95E-3BF8-480D-82F2-C70DAC635172}"/>
                  </a:ext>
                </a:extLst>
              </p:cNvPr>
              <p:cNvSpPr txBox="1"/>
              <p:nvPr/>
            </p:nvSpPr>
            <p:spPr>
              <a:xfrm>
                <a:off x="3274072" y="1644988"/>
                <a:ext cx="311418" cy="113225"/>
              </a:xfrm>
              <a:prstGeom prst="rect">
                <a:avLst/>
              </a:prstGeom>
              <a:ln w="25400">
                <a:noFill/>
              </a:ln>
            </p:spPr>
            <p:txBody>
              <a:bodyPr vert="horz" wrap="square" lIns="0" tIns="0" rIns="0" bIns="0" rtlCol="0" anchor="b" anchorCtr="0">
                <a:noAutofit/>
              </a:bodyPr>
              <a:lstStyle/>
              <a:p>
                <a:pPr algn="ctr"/>
                <a:r>
                  <a:rPr lang="en-US" sz="1050" dirty="0">
                    <a:latin typeface="+mj-lt"/>
                  </a:rPr>
                  <a:t>Jan</a:t>
                </a:r>
              </a:p>
            </p:txBody>
          </p:sp>
          <p:sp>
            <p:nvSpPr>
              <p:cNvPr id="90" name="TextBox 89">
                <a:extLst>
                  <a:ext uri="{FF2B5EF4-FFF2-40B4-BE49-F238E27FC236}">
                    <a16:creationId xmlns:a16="http://schemas.microsoft.com/office/drawing/2014/main" id="{F4A50912-4B6B-4530-98E1-73ED9F35AB8F}"/>
                  </a:ext>
                </a:extLst>
              </p:cNvPr>
              <p:cNvSpPr txBox="1"/>
              <p:nvPr/>
            </p:nvSpPr>
            <p:spPr>
              <a:xfrm>
                <a:off x="4015606" y="1644987"/>
                <a:ext cx="295992" cy="113225"/>
              </a:xfrm>
              <a:prstGeom prst="rect">
                <a:avLst/>
              </a:prstGeom>
              <a:ln w="25400">
                <a:noFill/>
              </a:ln>
            </p:spPr>
            <p:txBody>
              <a:bodyPr vert="horz" wrap="square" lIns="0" tIns="0" rIns="0" bIns="0" rtlCol="0" anchor="b" anchorCtr="0">
                <a:noAutofit/>
              </a:bodyPr>
              <a:lstStyle/>
              <a:p>
                <a:pPr algn="ctr"/>
                <a:r>
                  <a:rPr lang="en-US" sz="1050" dirty="0">
                    <a:latin typeface="+mj-lt"/>
                  </a:rPr>
                  <a:t>Feb</a:t>
                </a:r>
              </a:p>
            </p:txBody>
          </p:sp>
          <p:sp>
            <p:nvSpPr>
              <p:cNvPr id="91" name="TextBox 90">
                <a:extLst>
                  <a:ext uri="{FF2B5EF4-FFF2-40B4-BE49-F238E27FC236}">
                    <a16:creationId xmlns:a16="http://schemas.microsoft.com/office/drawing/2014/main" id="{497D0730-891D-45CA-976D-49EE423CA583}"/>
                  </a:ext>
                </a:extLst>
              </p:cNvPr>
              <p:cNvSpPr txBox="1"/>
              <p:nvPr/>
            </p:nvSpPr>
            <p:spPr>
              <a:xfrm>
                <a:off x="4741714" y="1644986"/>
                <a:ext cx="344302" cy="113225"/>
              </a:xfrm>
              <a:prstGeom prst="rect">
                <a:avLst/>
              </a:prstGeom>
              <a:ln w="25400">
                <a:noFill/>
              </a:ln>
            </p:spPr>
            <p:txBody>
              <a:bodyPr vert="horz" wrap="square" lIns="0" tIns="0" rIns="0" bIns="0" rtlCol="0" anchor="b" anchorCtr="0">
                <a:noAutofit/>
              </a:bodyPr>
              <a:lstStyle/>
              <a:p>
                <a:pPr algn="ctr"/>
                <a:r>
                  <a:rPr lang="en-US" sz="1050" dirty="0">
                    <a:latin typeface="+mj-lt"/>
                  </a:rPr>
                  <a:t>Mar</a:t>
                </a:r>
              </a:p>
            </p:txBody>
          </p:sp>
          <p:sp>
            <p:nvSpPr>
              <p:cNvPr id="92" name="TextBox 91">
                <a:extLst>
                  <a:ext uri="{FF2B5EF4-FFF2-40B4-BE49-F238E27FC236}">
                    <a16:creationId xmlns:a16="http://schemas.microsoft.com/office/drawing/2014/main" id="{70B1DCD1-F3E0-447E-863D-1F931EEBF5BF}"/>
                  </a:ext>
                </a:extLst>
              </p:cNvPr>
              <p:cNvSpPr txBox="1"/>
              <p:nvPr/>
            </p:nvSpPr>
            <p:spPr>
              <a:xfrm>
                <a:off x="5516132" y="1643481"/>
                <a:ext cx="330904" cy="113225"/>
              </a:xfrm>
              <a:prstGeom prst="rect">
                <a:avLst/>
              </a:prstGeom>
              <a:ln w="25400">
                <a:noFill/>
              </a:ln>
            </p:spPr>
            <p:txBody>
              <a:bodyPr vert="horz" wrap="square" lIns="0" tIns="0" rIns="0" bIns="0" rtlCol="0" anchor="b" anchorCtr="0">
                <a:noAutofit/>
              </a:bodyPr>
              <a:lstStyle/>
              <a:p>
                <a:pPr algn="ctr"/>
                <a:r>
                  <a:rPr lang="en-US" sz="1050" dirty="0">
                    <a:latin typeface="+mj-lt"/>
                  </a:rPr>
                  <a:t>Apr</a:t>
                </a:r>
              </a:p>
            </p:txBody>
          </p:sp>
          <p:sp>
            <p:nvSpPr>
              <p:cNvPr id="93" name="TextBox 92">
                <a:extLst>
                  <a:ext uri="{FF2B5EF4-FFF2-40B4-BE49-F238E27FC236}">
                    <a16:creationId xmlns:a16="http://schemas.microsoft.com/office/drawing/2014/main" id="{BEED91AE-B5A5-4E43-8FFA-1D3A51D04D4F}"/>
                  </a:ext>
                </a:extLst>
              </p:cNvPr>
              <p:cNvSpPr txBox="1"/>
              <p:nvPr/>
            </p:nvSpPr>
            <p:spPr>
              <a:xfrm>
                <a:off x="6277152" y="1643481"/>
                <a:ext cx="354336" cy="113225"/>
              </a:xfrm>
              <a:prstGeom prst="rect">
                <a:avLst/>
              </a:prstGeom>
              <a:ln w="25400">
                <a:noFill/>
              </a:ln>
            </p:spPr>
            <p:txBody>
              <a:bodyPr vert="horz" wrap="square" lIns="0" tIns="0" rIns="0" bIns="0" rtlCol="0" anchor="b" anchorCtr="0">
                <a:noAutofit/>
              </a:bodyPr>
              <a:lstStyle/>
              <a:p>
                <a:pPr algn="ctr"/>
                <a:r>
                  <a:rPr lang="en-US" sz="1050" dirty="0">
                    <a:latin typeface="+mj-lt"/>
                  </a:rPr>
                  <a:t>May</a:t>
                </a:r>
              </a:p>
            </p:txBody>
          </p:sp>
          <p:sp>
            <p:nvSpPr>
              <p:cNvPr id="94" name="TextBox 93">
                <a:extLst>
                  <a:ext uri="{FF2B5EF4-FFF2-40B4-BE49-F238E27FC236}">
                    <a16:creationId xmlns:a16="http://schemas.microsoft.com/office/drawing/2014/main" id="{C3CE8DD2-03F1-48ED-9310-2735616315D2}"/>
                  </a:ext>
                </a:extLst>
              </p:cNvPr>
              <p:cNvSpPr txBox="1"/>
              <p:nvPr/>
            </p:nvSpPr>
            <p:spPr>
              <a:xfrm>
                <a:off x="7061604" y="1643481"/>
                <a:ext cx="315840" cy="113225"/>
              </a:xfrm>
              <a:prstGeom prst="rect">
                <a:avLst/>
              </a:prstGeom>
              <a:ln w="25400">
                <a:noFill/>
              </a:ln>
            </p:spPr>
            <p:txBody>
              <a:bodyPr vert="horz" wrap="square" lIns="0" tIns="0" rIns="0" bIns="0" rtlCol="0" anchor="b" anchorCtr="0">
                <a:noAutofit/>
              </a:bodyPr>
              <a:lstStyle/>
              <a:p>
                <a:pPr algn="ctr"/>
                <a:r>
                  <a:rPr lang="en-US" sz="1050" dirty="0">
                    <a:latin typeface="+mj-lt"/>
                  </a:rPr>
                  <a:t>Jun</a:t>
                </a:r>
              </a:p>
            </p:txBody>
          </p:sp>
          <p:sp>
            <p:nvSpPr>
              <p:cNvPr id="95" name="TextBox 94">
                <a:extLst>
                  <a:ext uri="{FF2B5EF4-FFF2-40B4-BE49-F238E27FC236}">
                    <a16:creationId xmlns:a16="http://schemas.microsoft.com/office/drawing/2014/main" id="{EC8051C0-31C2-473C-ABA8-10598710D82D}"/>
                  </a:ext>
                </a:extLst>
              </p:cNvPr>
              <p:cNvSpPr txBox="1"/>
              <p:nvPr/>
            </p:nvSpPr>
            <p:spPr>
              <a:xfrm>
                <a:off x="7807560" y="1643481"/>
                <a:ext cx="291650" cy="113225"/>
              </a:xfrm>
              <a:prstGeom prst="rect">
                <a:avLst/>
              </a:prstGeom>
              <a:ln w="25400">
                <a:noFill/>
              </a:ln>
            </p:spPr>
            <p:txBody>
              <a:bodyPr vert="horz" wrap="square" lIns="0" tIns="0" rIns="0" bIns="0" rtlCol="0" anchor="b" anchorCtr="0">
                <a:noAutofit/>
              </a:bodyPr>
              <a:lstStyle/>
              <a:p>
                <a:pPr algn="ctr"/>
                <a:r>
                  <a:rPr lang="en-US" sz="1050" dirty="0">
                    <a:latin typeface="+mj-lt"/>
                  </a:rPr>
                  <a:t>Jul</a:t>
                </a:r>
              </a:p>
            </p:txBody>
          </p:sp>
          <p:sp>
            <p:nvSpPr>
              <p:cNvPr id="96" name="TextBox 95">
                <a:extLst>
                  <a:ext uri="{FF2B5EF4-FFF2-40B4-BE49-F238E27FC236}">
                    <a16:creationId xmlns:a16="http://schemas.microsoft.com/office/drawing/2014/main" id="{CA82A7B5-A528-4A64-B454-B02417A4B7D2}"/>
                  </a:ext>
                </a:extLst>
              </p:cNvPr>
              <p:cNvSpPr txBox="1"/>
              <p:nvPr/>
            </p:nvSpPr>
            <p:spPr>
              <a:xfrm>
                <a:off x="8529326" y="1643481"/>
                <a:ext cx="336592" cy="113225"/>
              </a:xfrm>
              <a:prstGeom prst="rect">
                <a:avLst/>
              </a:prstGeom>
              <a:ln w="25400">
                <a:noFill/>
              </a:ln>
            </p:spPr>
            <p:txBody>
              <a:bodyPr vert="horz" wrap="square" lIns="0" tIns="0" rIns="0" bIns="0" rtlCol="0" anchor="b" anchorCtr="0">
                <a:noAutofit/>
              </a:bodyPr>
              <a:lstStyle/>
              <a:p>
                <a:pPr algn="ctr"/>
                <a:r>
                  <a:rPr lang="en-US" sz="1050" dirty="0">
                    <a:latin typeface="+mj-lt"/>
                  </a:rPr>
                  <a:t>Aug</a:t>
                </a:r>
              </a:p>
            </p:txBody>
          </p:sp>
          <p:sp>
            <p:nvSpPr>
              <p:cNvPr id="97" name="TextBox 96">
                <a:extLst>
                  <a:ext uri="{FF2B5EF4-FFF2-40B4-BE49-F238E27FC236}">
                    <a16:creationId xmlns:a16="http://schemas.microsoft.com/office/drawing/2014/main" id="{FB527BB6-5AD5-404E-A6F7-BD961C690DB5}"/>
                  </a:ext>
                </a:extLst>
              </p:cNvPr>
              <p:cNvSpPr txBox="1"/>
              <p:nvPr/>
            </p:nvSpPr>
            <p:spPr>
              <a:xfrm>
                <a:off x="9296034" y="1643481"/>
                <a:ext cx="293516" cy="113225"/>
              </a:xfrm>
              <a:prstGeom prst="rect">
                <a:avLst/>
              </a:prstGeom>
              <a:ln w="25400">
                <a:noFill/>
              </a:ln>
            </p:spPr>
            <p:txBody>
              <a:bodyPr vert="horz" wrap="square" lIns="0" tIns="0" rIns="0" bIns="0" rtlCol="0" anchor="b" anchorCtr="0">
                <a:noAutofit/>
              </a:bodyPr>
              <a:lstStyle/>
              <a:p>
                <a:pPr algn="ctr"/>
                <a:r>
                  <a:rPr lang="en-US" sz="1050" dirty="0">
                    <a:latin typeface="+mj-lt"/>
                  </a:rPr>
                  <a:t>Sep</a:t>
                </a:r>
              </a:p>
            </p:txBody>
          </p:sp>
          <p:sp>
            <p:nvSpPr>
              <p:cNvPr id="98" name="TextBox 97">
                <a:extLst>
                  <a:ext uri="{FF2B5EF4-FFF2-40B4-BE49-F238E27FC236}">
                    <a16:creationId xmlns:a16="http://schemas.microsoft.com/office/drawing/2014/main" id="{96195630-9E6B-4F63-B6ED-9288B9202972}"/>
                  </a:ext>
                </a:extLst>
              </p:cNvPr>
              <p:cNvSpPr txBox="1"/>
              <p:nvPr/>
            </p:nvSpPr>
            <p:spPr>
              <a:xfrm>
                <a:off x="10019666" y="1643481"/>
                <a:ext cx="328296" cy="113225"/>
              </a:xfrm>
              <a:prstGeom prst="rect">
                <a:avLst/>
              </a:prstGeom>
              <a:ln w="25400">
                <a:noFill/>
              </a:ln>
            </p:spPr>
            <p:txBody>
              <a:bodyPr vert="horz" wrap="square" lIns="0" tIns="0" rIns="0" bIns="0" rtlCol="0" anchor="b" anchorCtr="0">
                <a:noAutofit/>
              </a:bodyPr>
              <a:lstStyle/>
              <a:p>
                <a:pPr algn="ctr"/>
                <a:r>
                  <a:rPr lang="en-US" sz="1050" dirty="0">
                    <a:latin typeface="+mj-lt"/>
                  </a:rPr>
                  <a:t>Oct</a:t>
                </a:r>
              </a:p>
            </p:txBody>
          </p:sp>
          <p:sp>
            <p:nvSpPr>
              <p:cNvPr id="99" name="TextBox 98">
                <a:extLst>
                  <a:ext uri="{FF2B5EF4-FFF2-40B4-BE49-F238E27FC236}">
                    <a16:creationId xmlns:a16="http://schemas.microsoft.com/office/drawing/2014/main" id="{1F711383-4898-4ABA-AF2E-D800594F8622}"/>
                  </a:ext>
                </a:extLst>
              </p:cNvPr>
              <p:cNvSpPr txBox="1"/>
              <p:nvPr/>
            </p:nvSpPr>
            <p:spPr>
              <a:xfrm>
                <a:off x="10778078" y="1643481"/>
                <a:ext cx="339666" cy="113225"/>
              </a:xfrm>
              <a:prstGeom prst="rect">
                <a:avLst/>
              </a:prstGeom>
              <a:ln w="25400">
                <a:noFill/>
              </a:ln>
            </p:spPr>
            <p:txBody>
              <a:bodyPr vert="horz" wrap="square" lIns="0" tIns="0" rIns="0" bIns="0" rtlCol="0" anchor="b" anchorCtr="0">
                <a:noAutofit/>
              </a:bodyPr>
              <a:lstStyle/>
              <a:p>
                <a:pPr algn="ctr"/>
                <a:r>
                  <a:rPr lang="en-US" sz="1050" dirty="0">
                    <a:latin typeface="+mj-lt"/>
                  </a:rPr>
                  <a:t>Nov</a:t>
                </a:r>
              </a:p>
            </p:txBody>
          </p:sp>
          <p:sp>
            <p:nvSpPr>
              <p:cNvPr id="100" name="TextBox 99">
                <a:extLst>
                  <a:ext uri="{FF2B5EF4-FFF2-40B4-BE49-F238E27FC236}">
                    <a16:creationId xmlns:a16="http://schemas.microsoft.com/office/drawing/2014/main" id="{2B01517F-9B93-46EA-A169-F7900578354B}"/>
                  </a:ext>
                </a:extLst>
              </p:cNvPr>
              <p:cNvSpPr txBox="1"/>
              <p:nvPr/>
            </p:nvSpPr>
            <p:spPr>
              <a:xfrm>
                <a:off x="11547862" y="1638341"/>
                <a:ext cx="307588" cy="113225"/>
              </a:xfrm>
              <a:prstGeom prst="rect">
                <a:avLst/>
              </a:prstGeom>
              <a:ln w="25400">
                <a:noFill/>
              </a:ln>
            </p:spPr>
            <p:txBody>
              <a:bodyPr vert="horz" wrap="square" lIns="0" tIns="0" rIns="0" bIns="0" rtlCol="0" anchor="b" anchorCtr="0">
                <a:noAutofit/>
              </a:bodyPr>
              <a:lstStyle/>
              <a:p>
                <a:pPr algn="ctr"/>
                <a:r>
                  <a:rPr lang="en-US" sz="1050" dirty="0">
                    <a:latin typeface="+mj-lt"/>
                  </a:rPr>
                  <a:t>Dec</a:t>
                </a:r>
              </a:p>
            </p:txBody>
          </p:sp>
          <p:grpSp>
            <p:nvGrpSpPr>
              <p:cNvPr id="101" name="Group 100">
                <a:extLst>
                  <a:ext uri="{FF2B5EF4-FFF2-40B4-BE49-F238E27FC236}">
                    <a16:creationId xmlns:a16="http://schemas.microsoft.com/office/drawing/2014/main" id="{FC99AB63-9281-44A9-937B-B274A7FA5711}"/>
                  </a:ext>
                </a:extLst>
              </p:cNvPr>
              <p:cNvGrpSpPr/>
              <p:nvPr/>
            </p:nvGrpSpPr>
            <p:grpSpPr>
              <a:xfrm>
                <a:off x="0" y="1423065"/>
                <a:ext cx="12192000" cy="125807"/>
                <a:chOff x="0" y="1423065"/>
                <a:chExt cx="12192000" cy="125807"/>
              </a:xfrm>
            </p:grpSpPr>
            <p:cxnSp>
              <p:nvCxnSpPr>
                <p:cNvPr id="102" name="Straight Connector 101">
                  <a:extLst>
                    <a:ext uri="{FF2B5EF4-FFF2-40B4-BE49-F238E27FC236}">
                      <a16:creationId xmlns:a16="http://schemas.microsoft.com/office/drawing/2014/main" id="{1BFE695F-B874-4FA0-9BE6-8ED0A9A2A31D}"/>
                    </a:ext>
                  </a:extLst>
                </p:cNvPr>
                <p:cNvCxnSpPr/>
                <p:nvPr/>
              </p:nvCxnSpPr>
              <p:spPr>
                <a:xfrm>
                  <a:off x="0" y="1423065"/>
                  <a:ext cx="121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860BDBC-1E22-4979-ACDC-B30BCAABA1BB}"/>
                    </a:ext>
                  </a:extLst>
                </p:cNvPr>
                <p:cNvCxnSpPr/>
                <p:nvPr/>
              </p:nvCxnSpPr>
              <p:spPr>
                <a:xfrm>
                  <a:off x="3429781"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611137B-7647-4C81-B86E-C4A2E7FB111A}"/>
                    </a:ext>
                  </a:extLst>
                </p:cNvPr>
                <p:cNvCxnSpPr/>
                <p:nvPr/>
              </p:nvCxnSpPr>
              <p:spPr>
                <a:xfrm>
                  <a:off x="4163602"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E6085A0-E980-4809-AB2F-E9747566DC87}"/>
                    </a:ext>
                  </a:extLst>
                </p:cNvPr>
                <p:cNvCxnSpPr/>
                <p:nvPr/>
              </p:nvCxnSpPr>
              <p:spPr>
                <a:xfrm>
                  <a:off x="4913865"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81FAC05C-CEF6-476C-80D3-F05CAB6732C4}"/>
                    </a:ext>
                  </a:extLst>
                </p:cNvPr>
                <p:cNvCxnSpPr/>
                <p:nvPr/>
              </p:nvCxnSpPr>
              <p:spPr>
                <a:xfrm>
                  <a:off x="568158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0893060-949F-4EA0-848D-2A1FAF8225A5}"/>
                    </a:ext>
                  </a:extLst>
                </p:cNvPr>
                <p:cNvCxnSpPr/>
                <p:nvPr/>
              </p:nvCxnSpPr>
              <p:spPr>
                <a:xfrm>
                  <a:off x="6454320"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C4B9E2B-A979-48EE-A00F-E93AF74E97E4}"/>
                    </a:ext>
                  </a:extLst>
                </p:cNvPr>
                <p:cNvCxnSpPr/>
                <p:nvPr/>
              </p:nvCxnSpPr>
              <p:spPr>
                <a:xfrm>
                  <a:off x="721952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B306CDC-8851-42FF-8945-DD52B30F9BBE}"/>
                    </a:ext>
                  </a:extLst>
                </p:cNvPr>
                <p:cNvCxnSpPr/>
                <p:nvPr/>
              </p:nvCxnSpPr>
              <p:spPr>
                <a:xfrm>
                  <a:off x="7953385"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7E5ACB5-2C3F-4C6C-93DA-160285EC70CF}"/>
                    </a:ext>
                  </a:extLst>
                </p:cNvPr>
                <p:cNvCxnSpPr/>
                <p:nvPr/>
              </p:nvCxnSpPr>
              <p:spPr>
                <a:xfrm>
                  <a:off x="8697622"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29664CB-5327-4F90-A16F-AAFF1A8164C5}"/>
                    </a:ext>
                  </a:extLst>
                </p:cNvPr>
                <p:cNvCxnSpPr/>
                <p:nvPr/>
              </p:nvCxnSpPr>
              <p:spPr>
                <a:xfrm>
                  <a:off x="9442792"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F3C6E63-B71F-4328-8AD0-2E46E00493DC}"/>
                    </a:ext>
                  </a:extLst>
                </p:cNvPr>
                <p:cNvCxnSpPr/>
                <p:nvPr/>
              </p:nvCxnSpPr>
              <p:spPr>
                <a:xfrm>
                  <a:off x="1018381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9791E09-853D-4865-B0F1-8D2D27BD05A5}"/>
                    </a:ext>
                  </a:extLst>
                </p:cNvPr>
                <p:cNvCxnSpPr/>
                <p:nvPr/>
              </p:nvCxnSpPr>
              <p:spPr>
                <a:xfrm>
                  <a:off x="10947911"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B5F1FF4-804E-40DB-8FE7-7C384AB632A2}"/>
                    </a:ext>
                  </a:extLst>
                </p:cNvPr>
                <p:cNvCxnSpPr/>
                <p:nvPr/>
              </p:nvCxnSpPr>
              <p:spPr>
                <a:xfrm>
                  <a:off x="11701656"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81" name="Group 80">
              <a:extLst>
                <a:ext uri="{FF2B5EF4-FFF2-40B4-BE49-F238E27FC236}">
                  <a16:creationId xmlns:a16="http://schemas.microsoft.com/office/drawing/2014/main" id="{F655FC28-0990-4C7E-8F87-5167AE7EDD1F}"/>
                </a:ext>
              </a:extLst>
            </p:cNvPr>
            <p:cNvGrpSpPr/>
            <p:nvPr/>
          </p:nvGrpSpPr>
          <p:grpSpPr>
            <a:xfrm>
              <a:off x="0" y="2514039"/>
              <a:ext cx="12223280" cy="3078730"/>
              <a:chOff x="0" y="2514039"/>
              <a:chExt cx="12223280" cy="3078730"/>
            </a:xfrm>
          </p:grpSpPr>
          <p:cxnSp>
            <p:nvCxnSpPr>
              <p:cNvPr id="82" name="Straight Connector 81">
                <a:extLst>
                  <a:ext uri="{FF2B5EF4-FFF2-40B4-BE49-F238E27FC236}">
                    <a16:creationId xmlns:a16="http://schemas.microsoft.com/office/drawing/2014/main" id="{7E549C76-3CF8-4C74-AC8F-EA3B65C0B1DF}"/>
                  </a:ext>
                </a:extLst>
              </p:cNvPr>
              <p:cNvCxnSpPr/>
              <p:nvPr/>
            </p:nvCxnSpPr>
            <p:spPr>
              <a:xfrm>
                <a:off x="0" y="2514039"/>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A9EF69A-DD4E-41E0-B1F2-833F52C50E1E}"/>
                  </a:ext>
                </a:extLst>
              </p:cNvPr>
              <p:cNvCxnSpPr/>
              <p:nvPr/>
            </p:nvCxnSpPr>
            <p:spPr>
              <a:xfrm>
                <a:off x="0" y="3027873"/>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00AA9B-A940-461E-AEAC-DBA3D857C7B3}"/>
                  </a:ext>
                </a:extLst>
              </p:cNvPr>
              <p:cNvCxnSpPr/>
              <p:nvPr/>
            </p:nvCxnSpPr>
            <p:spPr>
              <a:xfrm>
                <a:off x="0" y="3540923"/>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9E0193C-9070-40D1-9CB6-C78E31CE8FA0}"/>
                  </a:ext>
                </a:extLst>
              </p:cNvPr>
              <p:cNvCxnSpPr/>
              <p:nvPr/>
            </p:nvCxnSpPr>
            <p:spPr>
              <a:xfrm>
                <a:off x="0" y="4054757"/>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4A166FF-72E8-4F28-925B-95A31A237709}"/>
                  </a:ext>
                </a:extLst>
              </p:cNvPr>
              <p:cNvCxnSpPr/>
              <p:nvPr/>
            </p:nvCxnSpPr>
            <p:spPr>
              <a:xfrm>
                <a:off x="0" y="4565885"/>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F51A33E-4DAB-40E8-B4DE-F55C9B292358}"/>
                  </a:ext>
                </a:extLst>
              </p:cNvPr>
              <p:cNvCxnSpPr/>
              <p:nvPr/>
            </p:nvCxnSpPr>
            <p:spPr>
              <a:xfrm>
                <a:off x="0" y="5078935"/>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681A3357-FC19-480E-A33F-33A9C6C24248}"/>
                  </a:ext>
                </a:extLst>
              </p:cNvPr>
              <p:cNvCxnSpPr/>
              <p:nvPr/>
            </p:nvCxnSpPr>
            <p:spPr>
              <a:xfrm>
                <a:off x="0" y="5592769"/>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15" name="Group 114">
            <a:extLst>
              <a:ext uri="{FF2B5EF4-FFF2-40B4-BE49-F238E27FC236}">
                <a16:creationId xmlns:a16="http://schemas.microsoft.com/office/drawing/2014/main" id="{3B7F41E9-E4D3-452A-B997-F4D8C7EE34FB}"/>
              </a:ext>
            </a:extLst>
          </p:cNvPr>
          <p:cNvGrpSpPr/>
          <p:nvPr/>
        </p:nvGrpSpPr>
        <p:grpSpPr>
          <a:xfrm>
            <a:off x="3429781" y="2076691"/>
            <a:ext cx="2523034" cy="350570"/>
            <a:chOff x="327677" y="3722771"/>
            <a:chExt cx="2523034" cy="350570"/>
          </a:xfrm>
        </p:grpSpPr>
        <p:sp>
          <p:nvSpPr>
            <p:cNvPr id="116" name="Rectangle 115">
              <a:extLst>
                <a:ext uri="{FF2B5EF4-FFF2-40B4-BE49-F238E27FC236}">
                  <a16:creationId xmlns:a16="http://schemas.microsoft.com/office/drawing/2014/main" id="{B7CC29C4-D464-4ABA-9468-296588E9EA69}"/>
                </a:ext>
              </a:extLst>
            </p:cNvPr>
            <p:cNvSpPr/>
            <p:nvPr/>
          </p:nvSpPr>
          <p:spPr>
            <a:xfrm>
              <a:off x="334963" y="3934193"/>
              <a:ext cx="2244517" cy="13914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7" name="Rectangle 116">
              <a:extLst>
                <a:ext uri="{FF2B5EF4-FFF2-40B4-BE49-F238E27FC236}">
                  <a16:creationId xmlns:a16="http://schemas.microsoft.com/office/drawing/2014/main" id="{F4D80D83-11FE-4322-AB70-5BDB89CCA452}"/>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1"/>
                  </a:solidFill>
                </a:rPr>
                <a:t>Step 1</a:t>
              </a:r>
            </a:p>
          </p:txBody>
        </p:sp>
      </p:grpSp>
      <p:grpSp>
        <p:nvGrpSpPr>
          <p:cNvPr id="118" name="Group 117">
            <a:extLst>
              <a:ext uri="{FF2B5EF4-FFF2-40B4-BE49-F238E27FC236}">
                <a16:creationId xmlns:a16="http://schemas.microsoft.com/office/drawing/2014/main" id="{F47CBF9B-2F4F-4612-A751-FFDC4EE6394C}"/>
              </a:ext>
            </a:extLst>
          </p:cNvPr>
          <p:cNvGrpSpPr/>
          <p:nvPr/>
        </p:nvGrpSpPr>
        <p:grpSpPr>
          <a:xfrm>
            <a:off x="4489046" y="2595278"/>
            <a:ext cx="2730478" cy="350570"/>
            <a:chOff x="327677" y="3722771"/>
            <a:chExt cx="2730478" cy="350570"/>
          </a:xfrm>
        </p:grpSpPr>
        <p:sp>
          <p:nvSpPr>
            <p:cNvPr id="119" name="Rectangle 118">
              <a:extLst>
                <a:ext uri="{FF2B5EF4-FFF2-40B4-BE49-F238E27FC236}">
                  <a16:creationId xmlns:a16="http://schemas.microsoft.com/office/drawing/2014/main" id="{79FC6A6F-78E1-4A92-BB3B-1C9FDD98964F}"/>
                </a:ext>
              </a:extLst>
            </p:cNvPr>
            <p:cNvSpPr/>
            <p:nvPr/>
          </p:nvSpPr>
          <p:spPr>
            <a:xfrm>
              <a:off x="334963" y="3934193"/>
              <a:ext cx="2723192" cy="13914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0" name="Rectangle 119">
              <a:extLst>
                <a:ext uri="{FF2B5EF4-FFF2-40B4-BE49-F238E27FC236}">
                  <a16:creationId xmlns:a16="http://schemas.microsoft.com/office/drawing/2014/main" id="{A5019E82-64E7-43ED-96C5-C61FEDAA9A20}"/>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3"/>
                  </a:solidFill>
                </a:rPr>
                <a:t>Step 2</a:t>
              </a:r>
            </a:p>
          </p:txBody>
        </p:sp>
      </p:grpSp>
      <p:grpSp>
        <p:nvGrpSpPr>
          <p:cNvPr id="121" name="Group 120">
            <a:extLst>
              <a:ext uri="{FF2B5EF4-FFF2-40B4-BE49-F238E27FC236}">
                <a16:creationId xmlns:a16="http://schemas.microsoft.com/office/drawing/2014/main" id="{243F61A7-2BA7-4CC1-ACBD-ABF021FAB78B}"/>
              </a:ext>
            </a:extLst>
          </p:cNvPr>
          <p:cNvGrpSpPr/>
          <p:nvPr/>
        </p:nvGrpSpPr>
        <p:grpSpPr>
          <a:xfrm>
            <a:off x="6169160" y="3104522"/>
            <a:ext cx="2523034" cy="350570"/>
            <a:chOff x="327677" y="3722771"/>
            <a:chExt cx="2523034" cy="350570"/>
          </a:xfrm>
        </p:grpSpPr>
        <p:sp>
          <p:nvSpPr>
            <p:cNvPr id="122" name="Rectangle 121">
              <a:extLst>
                <a:ext uri="{FF2B5EF4-FFF2-40B4-BE49-F238E27FC236}">
                  <a16:creationId xmlns:a16="http://schemas.microsoft.com/office/drawing/2014/main" id="{FACD1C18-5657-4A00-A399-7A7CCBDCBA01}"/>
                </a:ext>
              </a:extLst>
            </p:cNvPr>
            <p:cNvSpPr/>
            <p:nvPr/>
          </p:nvSpPr>
          <p:spPr>
            <a:xfrm>
              <a:off x="334963" y="3934193"/>
              <a:ext cx="2213527" cy="13914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3" name="Rectangle 122">
              <a:extLst>
                <a:ext uri="{FF2B5EF4-FFF2-40B4-BE49-F238E27FC236}">
                  <a16:creationId xmlns:a16="http://schemas.microsoft.com/office/drawing/2014/main" id="{7F0471B8-EC84-4272-9B02-E026879E5CBB}"/>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4"/>
                  </a:solidFill>
                </a:rPr>
                <a:t>Step 3</a:t>
              </a:r>
            </a:p>
          </p:txBody>
        </p:sp>
      </p:grpSp>
      <p:sp>
        <p:nvSpPr>
          <p:cNvPr id="124" name="Rectangle 123">
            <a:extLst>
              <a:ext uri="{FF2B5EF4-FFF2-40B4-BE49-F238E27FC236}">
                <a16:creationId xmlns:a16="http://schemas.microsoft.com/office/drawing/2014/main" id="{226D0307-A11C-4D10-9339-EDC7BC323D4B}"/>
              </a:ext>
            </a:extLst>
          </p:cNvPr>
          <p:cNvSpPr/>
          <p:nvPr/>
        </p:nvSpPr>
        <p:spPr>
          <a:xfrm>
            <a:off x="336350" y="2514038"/>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 Medium"/>
              </a:rPr>
              <a:t>Insert text here max 2 lines, min 12pt</a:t>
            </a:r>
          </a:p>
        </p:txBody>
      </p:sp>
      <p:sp>
        <p:nvSpPr>
          <p:cNvPr id="125" name="Rectangle 124">
            <a:extLst>
              <a:ext uri="{FF2B5EF4-FFF2-40B4-BE49-F238E27FC236}">
                <a16:creationId xmlns:a16="http://schemas.microsoft.com/office/drawing/2014/main" id="{F843D28B-6E63-41D5-BE30-937309CB546D}"/>
              </a:ext>
            </a:extLst>
          </p:cNvPr>
          <p:cNvSpPr/>
          <p:nvPr/>
        </p:nvSpPr>
        <p:spPr>
          <a:xfrm>
            <a:off x="336351" y="1592933"/>
            <a:ext cx="2487634" cy="276999"/>
          </a:xfrm>
          <a:prstGeom prst="rect">
            <a:avLst/>
          </a:prstGeom>
        </p:spPr>
        <p:txBody>
          <a:bodyPr wrap="none" lIns="0" tIns="0" rIns="0" bIns="0">
            <a:noAutofit/>
          </a:bodyPr>
          <a:lstStyle/>
          <a:p>
            <a:pPr lvl="0" defTabSz="1734634">
              <a:defRPr/>
            </a:pPr>
            <a:r>
              <a:rPr lang="en-US" sz="1200" dirty="0">
                <a:latin typeface="+mj-lt"/>
                <a:ea typeface="ArialUnicodeMS"/>
                <a:cs typeface="Gotham Medium"/>
              </a:rPr>
              <a:t>Phases</a:t>
            </a:r>
          </a:p>
        </p:txBody>
      </p:sp>
      <p:sp>
        <p:nvSpPr>
          <p:cNvPr id="126" name="Rectangle 125">
            <a:extLst>
              <a:ext uri="{FF2B5EF4-FFF2-40B4-BE49-F238E27FC236}">
                <a16:creationId xmlns:a16="http://schemas.microsoft.com/office/drawing/2014/main" id="{6F61223F-39D9-4D60-A4A2-E1CD53F58E66}"/>
              </a:ext>
            </a:extLst>
          </p:cNvPr>
          <p:cNvSpPr/>
          <p:nvPr/>
        </p:nvSpPr>
        <p:spPr>
          <a:xfrm>
            <a:off x="336350" y="1995451"/>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 Medium"/>
              </a:rPr>
              <a:t>Insert text here max 2 lines, min 12pt</a:t>
            </a:r>
          </a:p>
        </p:txBody>
      </p:sp>
      <p:sp>
        <p:nvSpPr>
          <p:cNvPr id="127" name="Rectangle 126">
            <a:extLst>
              <a:ext uri="{FF2B5EF4-FFF2-40B4-BE49-F238E27FC236}">
                <a16:creationId xmlns:a16="http://schemas.microsoft.com/office/drawing/2014/main" id="{9218DC55-DF2B-4AA2-BD3F-96F5BCB47A76}"/>
              </a:ext>
            </a:extLst>
          </p:cNvPr>
          <p:cNvSpPr/>
          <p:nvPr/>
        </p:nvSpPr>
        <p:spPr>
          <a:xfrm>
            <a:off x="336350" y="3023282"/>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 Medium"/>
              </a:rPr>
              <a:t>Insert text here max 2 lines, min 12pt</a:t>
            </a:r>
          </a:p>
        </p:txBody>
      </p:sp>
      <p:sp>
        <p:nvSpPr>
          <p:cNvPr id="128" name="Rectangle 127">
            <a:extLst>
              <a:ext uri="{FF2B5EF4-FFF2-40B4-BE49-F238E27FC236}">
                <a16:creationId xmlns:a16="http://schemas.microsoft.com/office/drawing/2014/main" id="{97276DF9-50FA-4692-AE23-3049F7C514D5}"/>
              </a:ext>
            </a:extLst>
          </p:cNvPr>
          <p:cNvSpPr/>
          <p:nvPr/>
        </p:nvSpPr>
        <p:spPr>
          <a:xfrm>
            <a:off x="336350" y="3540922"/>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 Medium"/>
              </a:rPr>
              <a:t>Insert text here max 2 lines, min 12pt</a:t>
            </a:r>
          </a:p>
        </p:txBody>
      </p:sp>
      <p:sp>
        <p:nvSpPr>
          <p:cNvPr id="129" name="Rectangle 128">
            <a:extLst>
              <a:ext uri="{FF2B5EF4-FFF2-40B4-BE49-F238E27FC236}">
                <a16:creationId xmlns:a16="http://schemas.microsoft.com/office/drawing/2014/main" id="{8F957C77-84BF-48E8-B01E-AE93205AE93E}"/>
              </a:ext>
            </a:extLst>
          </p:cNvPr>
          <p:cNvSpPr/>
          <p:nvPr/>
        </p:nvSpPr>
        <p:spPr>
          <a:xfrm>
            <a:off x="336350" y="4052858"/>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 Medium"/>
              </a:rPr>
              <a:t>Insert text here max 2 lines, min 12pt</a:t>
            </a:r>
          </a:p>
        </p:txBody>
      </p:sp>
      <p:grpSp>
        <p:nvGrpSpPr>
          <p:cNvPr id="130" name="Group 129">
            <a:extLst>
              <a:ext uri="{FF2B5EF4-FFF2-40B4-BE49-F238E27FC236}">
                <a16:creationId xmlns:a16="http://schemas.microsoft.com/office/drawing/2014/main" id="{7E7B7CB0-5631-43BC-BB9A-77665D629FCB}"/>
              </a:ext>
            </a:extLst>
          </p:cNvPr>
          <p:cNvGrpSpPr/>
          <p:nvPr/>
        </p:nvGrpSpPr>
        <p:grpSpPr>
          <a:xfrm>
            <a:off x="5293589" y="4133290"/>
            <a:ext cx="2730478" cy="350570"/>
            <a:chOff x="327677" y="3722771"/>
            <a:chExt cx="2730478" cy="350570"/>
          </a:xfrm>
        </p:grpSpPr>
        <p:sp>
          <p:nvSpPr>
            <p:cNvPr id="131" name="Rectangle 130">
              <a:extLst>
                <a:ext uri="{FF2B5EF4-FFF2-40B4-BE49-F238E27FC236}">
                  <a16:creationId xmlns:a16="http://schemas.microsoft.com/office/drawing/2014/main" id="{551BB68E-AB76-4B73-82DD-54F09BD158CB}"/>
                </a:ext>
              </a:extLst>
            </p:cNvPr>
            <p:cNvSpPr/>
            <p:nvPr/>
          </p:nvSpPr>
          <p:spPr>
            <a:xfrm>
              <a:off x="334963" y="3934193"/>
              <a:ext cx="2723192" cy="13914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2" name="Rectangle 131">
              <a:extLst>
                <a:ext uri="{FF2B5EF4-FFF2-40B4-BE49-F238E27FC236}">
                  <a16:creationId xmlns:a16="http://schemas.microsoft.com/office/drawing/2014/main" id="{90B82752-A054-4539-84A0-B62C353B0160}"/>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6"/>
                  </a:solidFill>
                </a:rPr>
                <a:t>Step 5</a:t>
              </a:r>
            </a:p>
          </p:txBody>
        </p:sp>
      </p:grpSp>
      <p:grpSp>
        <p:nvGrpSpPr>
          <p:cNvPr id="133" name="Group 132">
            <a:extLst>
              <a:ext uri="{FF2B5EF4-FFF2-40B4-BE49-F238E27FC236}">
                <a16:creationId xmlns:a16="http://schemas.microsoft.com/office/drawing/2014/main" id="{D0EC0278-E002-4630-BA82-D06D06840874}"/>
              </a:ext>
            </a:extLst>
          </p:cNvPr>
          <p:cNvGrpSpPr/>
          <p:nvPr/>
        </p:nvGrpSpPr>
        <p:grpSpPr>
          <a:xfrm>
            <a:off x="7221979" y="3610571"/>
            <a:ext cx="2523034" cy="350570"/>
            <a:chOff x="327677" y="3722771"/>
            <a:chExt cx="2523034" cy="350570"/>
          </a:xfrm>
        </p:grpSpPr>
        <p:sp>
          <p:nvSpPr>
            <p:cNvPr id="134" name="Rectangle 133">
              <a:extLst>
                <a:ext uri="{FF2B5EF4-FFF2-40B4-BE49-F238E27FC236}">
                  <a16:creationId xmlns:a16="http://schemas.microsoft.com/office/drawing/2014/main" id="{DE5EF03A-DD23-458D-9022-92195996E585}"/>
                </a:ext>
              </a:extLst>
            </p:cNvPr>
            <p:cNvSpPr/>
            <p:nvPr/>
          </p:nvSpPr>
          <p:spPr>
            <a:xfrm>
              <a:off x="334963" y="3934193"/>
              <a:ext cx="2213527" cy="13914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5" name="Rectangle 134">
              <a:extLst>
                <a:ext uri="{FF2B5EF4-FFF2-40B4-BE49-F238E27FC236}">
                  <a16:creationId xmlns:a16="http://schemas.microsoft.com/office/drawing/2014/main" id="{545CD0F8-5AD3-45BF-A9C7-7C7097CFD775}"/>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4"/>
                  </a:solidFill>
                </a:rPr>
                <a:t>Step 4</a:t>
              </a:r>
            </a:p>
          </p:txBody>
        </p:sp>
      </p:grpSp>
      <p:grpSp>
        <p:nvGrpSpPr>
          <p:cNvPr id="136" name="Group 135">
            <a:extLst>
              <a:ext uri="{FF2B5EF4-FFF2-40B4-BE49-F238E27FC236}">
                <a16:creationId xmlns:a16="http://schemas.microsoft.com/office/drawing/2014/main" id="{2C67600E-25FB-42C0-9912-11C25FD782F0}"/>
              </a:ext>
            </a:extLst>
          </p:cNvPr>
          <p:cNvGrpSpPr/>
          <p:nvPr/>
        </p:nvGrpSpPr>
        <p:grpSpPr>
          <a:xfrm>
            <a:off x="8692194" y="5672110"/>
            <a:ext cx="3009462" cy="350570"/>
            <a:chOff x="327677" y="3722771"/>
            <a:chExt cx="3009462" cy="350570"/>
          </a:xfrm>
        </p:grpSpPr>
        <p:sp>
          <p:nvSpPr>
            <p:cNvPr id="137" name="Rectangle 136">
              <a:extLst>
                <a:ext uri="{FF2B5EF4-FFF2-40B4-BE49-F238E27FC236}">
                  <a16:creationId xmlns:a16="http://schemas.microsoft.com/office/drawing/2014/main" id="{9E02E9F8-E756-465D-A6AC-3BEAFF079579}"/>
                </a:ext>
              </a:extLst>
            </p:cNvPr>
            <p:cNvSpPr/>
            <p:nvPr/>
          </p:nvSpPr>
          <p:spPr>
            <a:xfrm>
              <a:off x="334962" y="3934193"/>
              <a:ext cx="3002177" cy="13914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88D782A5-F055-4AEE-934D-DEB9287FAC24}"/>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3"/>
                  </a:solidFill>
                </a:rPr>
                <a:t>Step 8</a:t>
              </a:r>
            </a:p>
          </p:txBody>
        </p:sp>
      </p:grpSp>
      <p:grpSp>
        <p:nvGrpSpPr>
          <p:cNvPr id="139" name="Group 138">
            <a:extLst>
              <a:ext uri="{FF2B5EF4-FFF2-40B4-BE49-F238E27FC236}">
                <a16:creationId xmlns:a16="http://schemas.microsoft.com/office/drawing/2014/main" id="{9AE56F96-2737-4D1B-8D11-A8E73E3D243C}"/>
              </a:ext>
            </a:extLst>
          </p:cNvPr>
          <p:cNvGrpSpPr/>
          <p:nvPr/>
        </p:nvGrpSpPr>
        <p:grpSpPr>
          <a:xfrm>
            <a:off x="8181275" y="5160174"/>
            <a:ext cx="2523034" cy="350570"/>
            <a:chOff x="327677" y="3722771"/>
            <a:chExt cx="2523034" cy="350570"/>
          </a:xfrm>
        </p:grpSpPr>
        <p:sp>
          <p:nvSpPr>
            <p:cNvPr id="140" name="Rectangle 139">
              <a:extLst>
                <a:ext uri="{FF2B5EF4-FFF2-40B4-BE49-F238E27FC236}">
                  <a16:creationId xmlns:a16="http://schemas.microsoft.com/office/drawing/2014/main" id="{B15B9913-A135-4B12-B0D5-12DB90C5730B}"/>
                </a:ext>
              </a:extLst>
            </p:cNvPr>
            <p:cNvSpPr/>
            <p:nvPr/>
          </p:nvSpPr>
          <p:spPr>
            <a:xfrm>
              <a:off x="334963" y="3934193"/>
              <a:ext cx="1497833" cy="13914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1" name="Rectangle 140">
              <a:extLst>
                <a:ext uri="{FF2B5EF4-FFF2-40B4-BE49-F238E27FC236}">
                  <a16:creationId xmlns:a16="http://schemas.microsoft.com/office/drawing/2014/main" id="{5B490DF7-DCE2-4A1A-AC29-74CABFB5F980}"/>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4"/>
                  </a:solidFill>
                </a:rPr>
                <a:t>Step 7</a:t>
              </a:r>
            </a:p>
          </p:txBody>
        </p:sp>
      </p:grpSp>
      <p:sp>
        <p:nvSpPr>
          <p:cNvPr id="142" name="Rectangle 141">
            <a:extLst>
              <a:ext uri="{FF2B5EF4-FFF2-40B4-BE49-F238E27FC236}">
                <a16:creationId xmlns:a16="http://schemas.microsoft.com/office/drawing/2014/main" id="{5110D20E-0862-41AA-9C5D-54F1A90F5B2C}"/>
              </a:ext>
            </a:extLst>
          </p:cNvPr>
          <p:cNvSpPr/>
          <p:nvPr/>
        </p:nvSpPr>
        <p:spPr>
          <a:xfrm>
            <a:off x="336350" y="4561294"/>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 Medium"/>
              </a:rPr>
              <a:t>Insert text here max 2 lines, min 12pt</a:t>
            </a:r>
          </a:p>
        </p:txBody>
      </p:sp>
      <p:sp>
        <p:nvSpPr>
          <p:cNvPr id="143" name="Rectangle 142">
            <a:extLst>
              <a:ext uri="{FF2B5EF4-FFF2-40B4-BE49-F238E27FC236}">
                <a16:creationId xmlns:a16="http://schemas.microsoft.com/office/drawing/2014/main" id="{C139B3C4-9344-4370-8A1E-7D56E0F249A9}"/>
              </a:ext>
            </a:extLst>
          </p:cNvPr>
          <p:cNvSpPr/>
          <p:nvPr/>
        </p:nvSpPr>
        <p:spPr>
          <a:xfrm>
            <a:off x="336350" y="5078934"/>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 Medium"/>
              </a:rPr>
              <a:t>Insert text here max 2 lines, min 12pt</a:t>
            </a:r>
          </a:p>
        </p:txBody>
      </p:sp>
      <p:sp>
        <p:nvSpPr>
          <p:cNvPr id="144" name="Rectangle 143">
            <a:extLst>
              <a:ext uri="{FF2B5EF4-FFF2-40B4-BE49-F238E27FC236}">
                <a16:creationId xmlns:a16="http://schemas.microsoft.com/office/drawing/2014/main" id="{8D192323-A18E-4B7B-8A9E-35B0BD6B047E}"/>
              </a:ext>
            </a:extLst>
          </p:cNvPr>
          <p:cNvSpPr/>
          <p:nvPr/>
        </p:nvSpPr>
        <p:spPr>
          <a:xfrm>
            <a:off x="336350" y="5590870"/>
            <a:ext cx="2595535" cy="513051"/>
          </a:xfrm>
          <a:prstGeom prst="rect">
            <a:avLst/>
          </a:prstGeom>
        </p:spPr>
        <p:txBody>
          <a:bodyPr wrap="square" lIns="0" tIns="0" rIns="0" bIns="0" anchor="ctr" anchorCtr="0">
            <a:noAutofit/>
          </a:bodyPr>
          <a:lstStyle/>
          <a:p>
            <a:pPr lvl="0" defTabSz="1734634">
              <a:defRPr/>
            </a:pPr>
            <a:r>
              <a:rPr lang="en-US" sz="1200" dirty="0">
                <a:ea typeface="ArialUnicodeMS"/>
                <a:cs typeface="Gotham Medium"/>
              </a:rPr>
              <a:t>Insert text here max 2 lines, min 12pt</a:t>
            </a:r>
          </a:p>
        </p:txBody>
      </p:sp>
      <p:grpSp>
        <p:nvGrpSpPr>
          <p:cNvPr id="145" name="Group 144">
            <a:extLst>
              <a:ext uri="{FF2B5EF4-FFF2-40B4-BE49-F238E27FC236}">
                <a16:creationId xmlns:a16="http://schemas.microsoft.com/office/drawing/2014/main" id="{19301E0B-F813-4543-B75B-E3E7D8AE26C2}"/>
              </a:ext>
            </a:extLst>
          </p:cNvPr>
          <p:cNvGrpSpPr/>
          <p:nvPr/>
        </p:nvGrpSpPr>
        <p:grpSpPr>
          <a:xfrm>
            <a:off x="4489046" y="4642534"/>
            <a:ext cx="2730478" cy="350570"/>
            <a:chOff x="327677" y="3722771"/>
            <a:chExt cx="2730478" cy="350570"/>
          </a:xfrm>
        </p:grpSpPr>
        <p:sp>
          <p:nvSpPr>
            <p:cNvPr id="146" name="Rectangle 145">
              <a:extLst>
                <a:ext uri="{FF2B5EF4-FFF2-40B4-BE49-F238E27FC236}">
                  <a16:creationId xmlns:a16="http://schemas.microsoft.com/office/drawing/2014/main" id="{1C08ECAB-607A-4C16-80F9-1AF443524CCA}"/>
                </a:ext>
              </a:extLst>
            </p:cNvPr>
            <p:cNvSpPr/>
            <p:nvPr/>
          </p:nvSpPr>
          <p:spPr>
            <a:xfrm>
              <a:off x="334963" y="3934193"/>
              <a:ext cx="2723192" cy="13914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7" name="Rectangle 146">
              <a:extLst>
                <a:ext uri="{FF2B5EF4-FFF2-40B4-BE49-F238E27FC236}">
                  <a16:creationId xmlns:a16="http://schemas.microsoft.com/office/drawing/2014/main" id="{981FBA39-93DF-4E05-B176-FED49F91DD1E}"/>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dirty="0">
                  <a:solidFill>
                    <a:schemeClr val="accent5"/>
                  </a:solidFill>
                </a:rPr>
                <a:t>Step 6</a:t>
              </a:r>
            </a:p>
          </p:txBody>
        </p:sp>
      </p:grpSp>
    </p:spTree>
    <p:extLst>
      <p:ext uri="{BB962C8B-B14F-4D97-AF65-F5344CB8AC3E}">
        <p14:creationId xmlns:p14="http://schemas.microsoft.com/office/powerpoint/2010/main" val="3278319809"/>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5E2146-7591-4624-B41E-A6994C5B2ADF}"/>
              </a:ext>
            </a:extLst>
          </p:cNvPr>
          <p:cNvSpPr>
            <a:spLocks noGrp="1"/>
          </p:cNvSpPr>
          <p:nvPr>
            <p:ph type="title"/>
          </p:nvPr>
        </p:nvSpPr>
        <p:spPr/>
        <p:txBody>
          <a:bodyPr/>
          <a:lstStyle/>
          <a:p>
            <a:r>
              <a:rPr lang="en-US" dirty="0"/>
              <a:t>Gantt Chart 2</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3" action="ppaction://hlinksldjump"/>
            <a:extLst>
              <a:ext uri="{FF2B5EF4-FFF2-40B4-BE49-F238E27FC236}">
                <a16:creationId xmlns:a16="http://schemas.microsoft.com/office/drawing/2014/main" id="{A976C1BA-0886-4118-B738-1B02D083394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11" name="Group 110">
            <a:extLst>
              <a:ext uri="{FF2B5EF4-FFF2-40B4-BE49-F238E27FC236}">
                <a16:creationId xmlns:a16="http://schemas.microsoft.com/office/drawing/2014/main" id="{1F02B153-1058-41E7-B02C-16B86BFA4533}"/>
              </a:ext>
            </a:extLst>
          </p:cNvPr>
          <p:cNvGrpSpPr/>
          <p:nvPr/>
        </p:nvGrpSpPr>
        <p:grpSpPr>
          <a:xfrm>
            <a:off x="805453" y="1412658"/>
            <a:ext cx="3070357" cy="2087780"/>
            <a:chOff x="805453" y="1412658"/>
            <a:chExt cx="3070357" cy="2087780"/>
          </a:xfrm>
        </p:grpSpPr>
        <p:cxnSp>
          <p:nvCxnSpPr>
            <p:cNvPr id="112" name="Straight Connector 111">
              <a:extLst>
                <a:ext uri="{FF2B5EF4-FFF2-40B4-BE49-F238E27FC236}">
                  <a16:creationId xmlns:a16="http://schemas.microsoft.com/office/drawing/2014/main" id="{82A2AF0A-E472-49F3-8D9C-EAB24A10A0CA}"/>
                </a:ext>
              </a:extLst>
            </p:cNvPr>
            <p:cNvCxnSpPr/>
            <p:nvPr/>
          </p:nvCxnSpPr>
          <p:spPr>
            <a:xfrm>
              <a:off x="805453" y="2394705"/>
              <a:ext cx="0" cy="1105733"/>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C0C50218-6A89-44F1-B9F3-5E840A1EC0E5}"/>
                </a:ext>
              </a:extLst>
            </p:cNvPr>
            <p:cNvGrpSpPr/>
            <p:nvPr/>
          </p:nvGrpSpPr>
          <p:grpSpPr>
            <a:xfrm>
              <a:off x="812739" y="1412658"/>
              <a:ext cx="3063071" cy="328500"/>
              <a:chOff x="327677" y="3722771"/>
              <a:chExt cx="3063071" cy="328500"/>
            </a:xfrm>
          </p:grpSpPr>
          <p:sp>
            <p:nvSpPr>
              <p:cNvPr id="117" name="Rectangle 116">
                <a:extLst>
                  <a:ext uri="{FF2B5EF4-FFF2-40B4-BE49-F238E27FC236}">
                    <a16:creationId xmlns:a16="http://schemas.microsoft.com/office/drawing/2014/main" id="{C4289393-CB98-41E7-A3DA-B73B34F100BB}"/>
                  </a:ext>
                </a:extLst>
              </p:cNvPr>
              <p:cNvSpPr/>
              <p:nvPr/>
            </p:nvSpPr>
            <p:spPr>
              <a:xfrm>
                <a:off x="334963" y="3934193"/>
                <a:ext cx="3055785" cy="117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F64CECBF-F243-49E4-B2FB-4E83FB5CA501}"/>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1</a:t>
                </a:r>
              </a:p>
            </p:txBody>
          </p:sp>
        </p:grpSp>
        <p:grpSp>
          <p:nvGrpSpPr>
            <p:cNvPr id="114" name="Group 113">
              <a:extLst>
                <a:ext uri="{FF2B5EF4-FFF2-40B4-BE49-F238E27FC236}">
                  <a16:creationId xmlns:a16="http://schemas.microsoft.com/office/drawing/2014/main" id="{507D9B60-A48C-4D27-AAB4-515C4EE55F1A}"/>
                </a:ext>
              </a:extLst>
            </p:cNvPr>
            <p:cNvGrpSpPr/>
            <p:nvPr/>
          </p:nvGrpSpPr>
          <p:grpSpPr>
            <a:xfrm>
              <a:off x="805453" y="1929819"/>
              <a:ext cx="2523034" cy="328500"/>
              <a:chOff x="327677" y="3722771"/>
              <a:chExt cx="2523034" cy="328500"/>
            </a:xfrm>
          </p:grpSpPr>
          <p:sp>
            <p:nvSpPr>
              <p:cNvPr id="115" name="Rectangle 114">
                <a:extLst>
                  <a:ext uri="{FF2B5EF4-FFF2-40B4-BE49-F238E27FC236}">
                    <a16:creationId xmlns:a16="http://schemas.microsoft.com/office/drawing/2014/main" id="{757497C9-1A7E-48CF-BE15-9B44F2C535A3}"/>
                  </a:ext>
                </a:extLst>
              </p:cNvPr>
              <p:cNvSpPr/>
              <p:nvPr/>
            </p:nvSpPr>
            <p:spPr>
              <a:xfrm>
                <a:off x="334963" y="3934193"/>
                <a:ext cx="1692000" cy="117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D755E450-ED0F-4C77-A0D2-CC407DB67D15}"/>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1</a:t>
                </a:r>
              </a:p>
            </p:txBody>
          </p:sp>
        </p:grpSp>
      </p:grpSp>
      <p:grpSp>
        <p:nvGrpSpPr>
          <p:cNvPr id="119" name="Group 118">
            <a:extLst>
              <a:ext uri="{FF2B5EF4-FFF2-40B4-BE49-F238E27FC236}">
                <a16:creationId xmlns:a16="http://schemas.microsoft.com/office/drawing/2014/main" id="{1BE60E8F-8C52-4166-B6CD-6777784871C1}"/>
              </a:ext>
            </a:extLst>
          </p:cNvPr>
          <p:cNvGrpSpPr/>
          <p:nvPr/>
        </p:nvGrpSpPr>
        <p:grpSpPr>
          <a:xfrm>
            <a:off x="1743963" y="2446980"/>
            <a:ext cx="2523034" cy="1053458"/>
            <a:chOff x="1743963" y="2446980"/>
            <a:chExt cx="2523034" cy="1053458"/>
          </a:xfrm>
        </p:grpSpPr>
        <p:cxnSp>
          <p:nvCxnSpPr>
            <p:cNvPr id="120" name="Straight Connector 119">
              <a:extLst>
                <a:ext uri="{FF2B5EF4-FFF2-40B4-BE49-F238E27FC236}">
                  <a16:creationId xmlns:a16="http://schemas.microsoft.com/office/drawing/2014/main" id="{40ACC5CB-9140-4861-9952-4638BCFB645F}"/>
                </a:ext>
              </a:extLst>
            </p:cNvPr>
            <p:cNvCxnSpPr/>
            <p:nvPr/>
          </p:nvCxnSpPr>
          <p:spPr>
            <a:xfrm>
              <a:off x="1743963" y="2875402"/>
              <a:ext cx="0" cy="625036"/>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4F13D1EC-43A1-4182-88F8-5134F389CA48}"/>
                </a:ext>
              </a:extLst>
            </p:cNvPr>
            <p:cNvGrpSpPr/>
            <p:nvPr/>
          </p:nvGrpSpPr>
          <p:grpSpPr>
            <a:xfrm>
              <a:off x="1743963" y="2446980"/>
              <a:ext cx="2523034" cy="328500"/>
              <a:chOff x="327677" y="3722771"/>
              <a:chExt cx="2523034" cy="328500"/>
            </a:xfrm>
          </p:grpSpPr>
          <p:sp>
            <p:nvSpPr>
              <p:cNvPr id="122" name="Rectangle 121">
                <a:extLst>
                  <a:ext uri="{FF2B5EF4-FFF2-40B4-BE49-F238E27FC236}">
                    <a16:creationId xmlns:a16="http://schemas.microsoft.com/office/drawing/2014/main" id="{18AFF9AC-D088-47A0-99CA-4945481BC436}"/>
                  </a:ext>
                </a:extLst>
              </p:cNvPr>
              <p:cNvSpPr/>
              <p:nvPr/>
            </p:nvSpPr>
            <p:spPr>
              <a:xfrm>
                <a:off x="334963" y="3934193"/>
                <a:ext cx="1692000" cy="117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ED2A13E2-0B4E-4AF9-B97E-B2A58FC6CF66}"/>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1</a:t>
                </a:r>
              </a:p>
            </p:txBody>
          </p:sp>
        </p:grpSp>
      </p:grpSp>
      <p:grpSp>
        <p:nvGrpSpPr>
          <p:cNvPr id="124" name="Group 123">
            <a:extLst>
              <a:ext uri="{FF2B5EF4-FFF2-40B4-BE49-F238E27FC236}">
                <a16:creationId xmlns:a16="http://schemas.microsoft.com/office/drawing/2014/main" id="{22D93806-1EBE-485D-B71F-A5CD5D91B197}"/>
              </a:ext>
            </a:extLst>
          </p:cNvPr>
          <p:cNvGrpSpPr/>
          <p:nvPr/>
        </p:nvGrpSpPr>
        <p:grpSpPr>
          <a:xfrm>
            <a:off x="2504739" y="2964142"/>
            <a:ext cx="2523034" cy="536296"/>
            <a:chOff x="2504739" y="2964142"/>
            <a:chExt cx="2523034" cy="536296"/>
          </a:xfrm>
        </p:grpSpPr>
        <p:cxnSp>
          <p:nvCxnSpPr>
            <p:cNvPr id="125" name="Straight Connector 124">
              <a:extLst>
                <a:ext uri="{FF2B5EF4-FFF2-40B4-BE49-F238E27FC236}">
                  <a16:creationId xmlns:a16="http://schemas.microsoft.com/office/drawing/2014/main" id="{7DCD8D99-BA88-49D9-ACA0-BFF369970759}"/>
                </a:ext>
              </a:extLst>
            </p:cNvPr>
            <p:cNvCxnSpPr/>
            <p:nvPr/>
          </p:nvCxnSpPr>
          <p:spPr>
            <a:xfrm>
              <a:off x="2509644" y="3378994"/>
              <a:ext cx="0" cy="121444"/>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722611AA-B594-4003-9C24-DA4B831CA4CA}"/>
                </a:ext>
              </a:extLst>
            </p:cNvPr>
            <p:cNvGrpSpPr/>
            <p:nvPr/>
          </p:nvGrpSpPr>
          <p:grpSpPr>
            <a:xfrm>
              <a:off x="2504739" y="2964142"/>
              <a:ext cx="2523034" cy="328500"/>
              <a:chOff x="327677" y="3722771"/>
              <a:chExt cx="2523034" cy="328500"/>
            </a:xfrm>
          </p:grpSpPr>
          <p:sp>
            <p:nvSpPr>
              <p:cNvPr id="127" name="Rectangle 126">
                <a:extLst>
                  <a:ext uri="{FF2B5EF4-FFF2-40B4-BE49-F238E27FC236}">
                    <a16:creationId xmlns:a16="http://schemas.microsoft.com/office/drawing/2014/main" id="{0D2E9000-6037-4EC6-8523-72DAAAD5BDFD}"/>
                  </a:ext>
                </a:extLst>
              </p:cNvPr>
              <p:cNvSpPr/>
              <p:nvPr/>
            </p:nvSpPr>
            <p:spPr>
              <a:xfrm>
                <a:off x="334963" y="3934193"/>
                <a:ext cx="2088000" cy="1170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3FB8A72E-1D8D-41A4-A873-54B6915DC7BA}"/>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1</a:t>
                </a:r>
              </a:p>
            </p:txBody>
          </p:sp>
        </p:grpSp>
      </p:grpSp>
      <p:grpSp>
        <p:nvGrpSpPr>
          <p:cNvPr id="129" name="Group 128">
            <a:extLst>
              <a:ext uri="{FF2B5EF4-FFF2-40B4-BE49-F238E27FC236}">
                <a16:creationId xmlns:a16="http://schemas.microsoft.com/office/drawing/2014/main" id="{0016A8D5-6B46-4371-958C-3D405C951EB8}"/>
              </a:ext>
            </a:extLst>
          </p:cNvPr>
          <p:cNvGrpSpPr/>
          <p:nvPr/>
        </p:nvGrpSpPr>
        <p:grpSpPr>
          <a:xfrm>
            <a:off x="5319610" y="1412658"/>
            <a:ext cx="2887286" cy="2087780"/>
            <a:chOff x="5319610" y="1412658"/>
            <a:chExt cx="2887286" cy="2087780"/>
          </a:xfrm>
        </p:grpSpPr>
        <p:cxnSp>
          <p:nvCxnSpPr>
            <p:cNvPr id="130" name="Straight Connector 129">
              <a:extLst>
                <a:ext uri="{FF2B5EF4-FFF2-40B4-BE49-F238E27FC236}">
                  <a16:creationId xmlns:a16="http://schemas.microsoft.com/office/drawing/2014/main" id="{F25B9A87-8717-4B56-8BAC-CF5BC731246D}"/>
                </a:ext>
              </a:extLst>
            </p:cNvPr>
            <p:cNvCxnSpPr/>
            <p:nvPr/>
          </p:nvCxnSpPr>
          <p:spPr>
            <a:xfrm>
              <a:off x="5319610" y="2394705"/>
              <a:ext cx="0" cy="1105733"/>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0844AF-E9D0-4E74-82F2-3E66D17BC59B}"/>
                </a:ext>
              </a:extLst>
            </p:cNvPr>
            <p:cNvGrpSpPr/>
            <p:nvPr/>
          </p:nvGrpSpPr>
          <p:grpSpPr>
            <a:xfrm>
              <a:off x="5326896" y="1412658"/>
              <a:ext cx="2523034" cy="328500"/>
              <a:chOff x="327677" y="3722771"/>
              <a:chExt cx="2523034" cy="328500"/>
            </a:xfrm>
          </p:grpSpPr>
          <p:sp>
            <p:nvSpPr>
              <p:cNvPr id="135" name="Rectangle 134">
                <a:extLst>
                  <a:ext uri="{FF2B5EF4-FFF2-40B4-BE49-F238E27FC236}">
                    <a16:creationId xmlns:a16="http://schemas.microsoft.com/office/drawing/2014/main" id="{1AA3C688-6329-4A47-9ED3-A882F195C525}"/>
                  </a:ext>
                </a:extLst>
              </p:cNvPr>
              <p:cNvSpPr/>
              <p:nvPr/>
            </p:nvSpPr>
            <p:spPr>
              <a:xfrm>
                <a:off x="334963" y="3934193"/>
                <a:ext cx="1800000" cy="1170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9F844F8D-B907-470B-944D-1CD869A88AC3}"/>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3</a:t>
                </a:r>
              </a:p>
            </p:txBody>
          </p:sp>
        </p:grpSp>
        <p:grpSp>
          <p:nvGrpSpPr>
            <p:cNvPr id="132" name="Group 131">
              <a:extLst>
                <a:ext uri="{FF2B5EF4-FFF2-40B4-BE49-F238E27FC236}">
                  <a16:creationId xmlns:a16="http://schemas.microsoft.com/office/drawing/2014/main" id="{9444922A-5A4A-4E3A-ABE0-3371FE81172D}"/>
                </a:ext>
              </a:extLst>
            </p:cNvPr>
            <p:cNvGrpSpPr/>
            <p:nvPr/>
          </p:nvGrpSpPr>
          <p:grpSpPr>
            <a:xfrm>
              <a:off x="5319610" y="1929819"/>
              <a:ext cx="2887286" cy="328500"/>
              <a:chOff x="327677" y="3722771"/>
              <a:chExt cx="2887286" cy="328500"/>
            </a:xfrm>
          </p:grpSpPr>
          <p:sp>
            <p:nvSpPr>
              <p:cNvPr id="133" name="Rectangle 132">
                <a:extLst>
                  <a:ext uri="{FF2B5EF4-FFF2-40B4-BE49-F238E27FC236}">
                    <a16:creationId xmlns:a16="http://schemas.microsoft.com/office/drawing/2014/main" id="{2BA647BF-F297-4E37-AE11-CFC9718B9C60}"/>
                  </a:ext>
                </a:extLst>
              </p:cNvPr>
              <p:cNvSpPr/>
              <p:nvPr/>
            </p:nvSpPr>
            <p:spPr>
              <a:xfrm>
                <a:off x="334963" y="3934193"/>
                <a:ext cx="2880000" cy="1170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78CBB994-9B44-4931-B665-3D73FB851BC2}"/>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3</a:t>
                </a:r>
              </a:p>
            </p:txBody>
          </p:sp>
        </p:grpSp>
      </p:grpSp>
      <p:grpSp>
        <p:nvGrpSpPr>
          <p:cNvPr id="137" name="Group 136">
            <a:extLst>
              <a:ext uri="{FF2B5EF4-FFF2-40B4-BE49-F238E27FC236}">
                <a16:creationId xmlns:a16="http://schemas.microsoft.com/office/drawing/2014/main" id="{ABC07D2D-8EEB-4CCF-BDC8-157EF76EAE87}"/>
              </a:ext>
            </a:extLst>
          </p:cNvPr>
          <p:cNvGrpSpPr/>
          <p:nvPr/>
        </p:nvGrpSpPr>
        <p:grpSpPr>
          <a:xfrm>
            <a:off x="7315661" y="2446980"/>
            <a:ext cx="2523034" cy="1053458"/>
            <a:chOff x="7315661" y="2446980"/>
            <a:chExt cx="2523034" cy="1053458"/>
          </a:xfrm>
        </p:grpSpPr>
        <p:cxnSp>
          <p:nvCxnSpPr>
            <p:cNvPr id="138" name="Straight Connector 137">
              <a:extLst>
                <a:ext uri="{FF2B5EF4-FFF2-40B4-BE49-F238E27FC236}">
                  <a16:creationId xmlns:a16="http://schemas.microsoft.com/office/drawing/2014/main" id="{3E530F33-B0A4-41D4-937E-E3727007FA73}"/>
                </a:ext>
              </a:extLst>
            </p:cNvPr>
            <p:cNvCxnSpPr/>
            <p:nvPr/>
          </p:nvCxnSpPr>
          <p:spPr>
            <a:xfrm>
              <a:off x="7322947" y="2875402"/>
              <a:ext cx="0" cy="625036"/>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DDF7AF06-E4D2-4594-80E7-40D687EABDC3}"/>
                </a:ext>
              </a:extLst>
            </p:cNvPr>
            <p:cNvGrpSpPr/>
            <p:nvPr/>
          </p:nvGrpSpPr>
          <p:grpSpPr>
            <a:xfrm>
              <a:off x="7315661" y="2446980"/>
              <a:ext cx="2523034" cy="328500"/>
              <a:chOff x="327677" y="3722771"/>
              <a:chExt cx="2523034" cy="328500"/>
            </a:xfrm>
          </p:grpSpPr>
          <p:sp>
            <p:nvSpPr>
              <p:cNvPr id="140" name="Rectangle 139">
                <a:extLst>
                  <a:ext uri="{FF2B5EF4-FFF2-40B4-BE49-F238E27FC236}">
                    <a16:creationId xmlns:a16="http://schemas.microsoft.com/office/drawing/2014/main" id="{CB948366-9930-48A7-AD81-3F0CDD073572}"/>
                  </a:ext>
                </a:extLst>
              </p:cNvPr>
              <p:cNvSpPr/>
              <p:nvPr/>
            </p:nvSpPr>
            <p:spPr>
              <a:xfrm>
                <a:off x="334963" y="3934193"/>
                <a:ext cx="1080000" cy="1170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C4BB17F1-834C-42F9-9C04-2D8E3390735C}"/>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3</a:t>
                </a:r>
              </a:p>
            </p:txBody>
          </p:sp>
        </p:grpSp>
      </p:grpSp>
      <p:grpSp>
        <p:nvGrpSpPr>
          <p:cNvPr id="142" name="Group 141">
            <a:extLst>
              <a:ext uri="{FF2B5EF4-FFF2-40B4-BE49-F238E27FC236}">
                <a16:creationId xmlns:a16="http://schemas.microsoft.com/office/drawing/2014/main" id="{70D37354-4368-41AA-81A4-D24AD5F3E53A}"/>
              </a:ext>
            </a:extLst>
          </p:cNvPr>
          <p:cNvGrpSpPr/>
          <p:nvPr/>
        </p:nvGrpSpPr>
        <p:grpSpPr>
          <a:xfrm>
            <a:off x="8327521" y="2964142"/>
            <a:ext cx="2523034" cy="536296"/>
            <a:chOff x="8327521" y="2964142"/>
            <a:chExt cx="2523034" cy="536296"/>
          </a:xfrm>
        </p:grpSpPr>
        <p:grpSp>
          <p:nvGrpSpPr>
            <p:cNvPr id="143" name="Group 142">
              <a:extLst>
                <a:ext uri="{FF2B5EF4-FFF2-40B4-BE49-F238E27FC236}">
                  <a16:creationId xmlns:a16="http://schemas.microsoft.com/office/drawing/2014/main" id="{9C5EEE03-2F02-4499-A983-D865D6A4674F}"/>
                </a:ext>
              </a:extLst>
            </p:cNvPr>
            <p:cNvGrpSpPr/>
            <p:nvPr/>
          </p:nvGrpSpPr>
          <p:grpSpPr>
            <a:xfrm>
              <a:off x="8327521" y="2964142"/>
              <a:ext cx="2523034" cy="328500"/>
              <a:chOff x="327677" y="3722771"/>
              <a:chExt cx="2523034" cy="328500"/>
            </a:xfrm>
          </p:grpSpPr>
          <p:sp>
            <p:nvSpPr>
              <p:cNvPr id="145" name="Rectangle 144">
                <a:extLst>
                  <a:ext uri="{FF2B5EF4-FFF2-40B4-BE49-F238E27FC236}">
                    <a16:creationId xmlns:a16="http://schemas.microsoft.com/office/drawing/2014/main" id="{1674D8B3-38A0-4838-8C6D-A4D0F57BCDEC}"/>
                  </a:ext>
                </a:extLst>
              </p:cNvPr>
              <p:cNvSpPr/>
              <p:nvPr/>
            </p:nvSpPr>
            <p:spPr>
              <a:xfrm>
                <a:off x="334963" y="3934193"/>
                <a:ext cx="2160000" cy="1170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E3AA222B-93E5-4AC8-9FC0-66D489D8C2DF}"/>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3</a:t>
                </a:r>
              </a:p>
            </p:txBody>
          </p:sp>
        </p:grpSp>
        <p:cxnSp>
          <p:nvCxnSpPr>
            <p:cNvPr id="144" name="Straight Connector 143">
              <a:extLst>
                <a:ext uri="{FF2B5EF4-FFF2-40B4-BE49-F238E27FC236}">
                  <a16:creationId xmlns:a16="http://schemas.microsoft.com/office/drawing/2014/main" id="{190C6269-CC93-4B49-8F5E-2353454FA913}"/>
                </a:ext>
              </a:extLst>
            </p:cNvPr>
            <p:cNvCxnSpPr/>
            <p:nvPr/>
          </p:nvCxnSpPr>
          <p:spPr>
            <a:xfrm>
              <a:off x="8334986" y="3292642"/>
              <a:ext cx="0" cy="207796"/>
            </a:xfrm>
            <a:prstGeom prst="line">
              <a:avLst/>
            </a:prstGeom>
            <a:ln w="952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grpSp>
        <p:nvGrpSpPr>
          <p:cNvPr id="147" name="Group 146">
            <a:extLst>
              <a:ext uri="{FF2B5EF4-FFF2-40B4-BE49-F238E27FC236}">
                <a16:creationId xmlns:a16="http://schemas.microsoft.com/office/drawing/2014/main" id="{D08730F2-2FFC-4867-B520-5B1C7FDE26C0}"/>
              </a:ext>
            </a:extLst>
          </p:cNvPr>
          <p:cNvGrpSpPr/>
          <p:nvPr/>
        </p:nvGrpSpPr>
        <p:grpSpPr>
          <a:xfrm>
            <a:off x="2005229" y="3500438"/>
            <a:ext cx="3067286" cy="2568802"/>
            <a:chOff x="2005229" y="3500438"/>
            <a:chExt cx="3067286" cy="2568802"/>
          </a:xfrm>
        </p:grpSpPr>
        <p:cxnSp>
          <p:nvCxnSpPr>
            <p:cNvPr id="148" name="Straight Connector 147">
              <a:extLst>
                <a:ext uri="{FF2B5EF4-FFF2-40B4-BE49-F238E27FC236}">
                  <a16:creationId xmlns:a16="http://schemas.microsoft.com/office/drawing/2014/main" id="{C6DB5294-CACA-4E02-A4A9-E6E7256F48DC}"/>
                </a:ext>
              </a:extLst>
            </p:cNvPr>
            <p:cNvCxnSpPr/>
            <p:nvPr/>
          </p:nvCxnSpPr>
          <p:spPr>
            <a:xfrm>
              <a:off x="2012515" y="3500438"/>
              <a:ext cx="0" cy="1622405"/>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57383283-C936-4883-AA78-68A2565F5630}"/>
                </a:ext>
              </a:extLst>
            </p:cNvPr>
            <p:cNvGrpSpPr/>
            <p:nvPr/>
          </p:nvGrpSpPr>
          <p:grpSpPr>
            <a:xfrm>
              <a:off x="2012515" y="5223579"/>
              <a:ext cx="2523034" cy="328500"/>
              <a:chOff x="327677" y="3722771"/>
              <a:chExt cx="2523034" cy="328500"/>
            </a:xfrm>
          </p:grpSpPr>
          <p:sp>
            <p:nvSpPr>
              <p:cNvPr id="153" name="Rectangle 152">
                <a:extLst>
                  <a:ext uri="{FF2B5EF4-FFF2-40B4-BE49-F238E27FC236}">
                    <a16:creationId xmlns:a16="http://schemas.microsoft.com/office/drawing/2014/main" id="{490DBDBD-1F59-4513-B5D1-F03E51475E61}"/>
                  </a:ext>
                </a:extLst>
              </p:cNvPr>
              <p:cNvSpPr/>
              <p:nvPr/>
            </p:nvSpPr>
            <p:spPr>
              <a:xfrm>
                <a:off x="334963" y="3934193"/>
                <a:ext cx="2160000" cy="11707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B7F4516F-5EE3-46B4-A13A-9A8B975BBA72}"/>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2</a:t>
                </a:r>
              </a:p>
            </p:txBody>
          </p:sp>
        </p:grpSp>
        <p:grpSp>
          <p:nvGrpSpPr>
            <p:cNvPr id="150" name="Group 149">
              <a:extLst>
                <a:ext uri="{FF2B5EF4-FFF2-40B4-BE49-F238E27FC236}">
                  <a16:creationId xmlns:a16="http://schemas.microsoft.com/office/drawing/2014/main" id="{D1295A5B-A9C7-453B-B577-A5ADB93AFB5C}"/>
                </a:ext>
              </a:extLst>
            </p:cNvPr>
            <p:cNvGrpSpPr/>
            <p:nvPr/>
          </p:nvGrpSpPr>
          <p:grpSpPr>
            <a:xfrm>
              <a:off x="2005229" y="5740740"/>
              <a:ext cx="3067286" cy="328500"/>
              <a:chOff x="327677" y="3722771"/>
              <a:chExt cx="3067286" cy="328500"/>
            </a:xfrm>
          </p:grpSpPr>
          <p:sp>
            <p:nvSpPr>
              <p:cNvPr id="151" name="Rectangle 150">
                <a:extLst>
                  <a:ext uri="{FF2B5EF4-FFF2-40B4-BE49-F238E27FC236}">
                    <a16:creationId xmlns:a16="http://schemas.microsoft.com/office/drawing/2014/main" id="{40968F03-F340-4C08-A8C5-73F1053A49D1}"/>
                  </a:ext>
                </a:extLst>
              </p:cNvPr>
              <p:cNvSpPr/>
              <p:nvPr/>
            </p:nvSpPr>
            <p:spPr>
              <a:xfrm>
                <a:off x="334963" y="3934193"/>
                <a:ext cx="3060000" cy="11707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22181D80-E802-438C-806A-30AFAAD2FC17}"/>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2</a:t>
                </a:r>
              </a:p>
            </p:txBody>
          </p:sp>
        </p:grpSp>
      </p:grpSp>
      <p:grpSp>
        <p:nvGrpSpPr>
          <p:cNvPr id="155" name="Group 154">
            <a:extLst>
              <a:ext uri="{FF2B5EF4-FFF2-40B4-BE49-F238E27FC236}">
                <a16:creationId xmlns:a16="http://schemas.microsoft.com/office/drawing/2014/main" id="{40611C78-1100-4657-9BF1-FA9DDE9F1BFB}"/>
              </a:ext>
            </a:extLst>
          </p:cNvPr>
          <p:cNvGrpSpPr/>
          <p:nvPr/>
        </p:nvGrpSpPr>
        <p:grpSpPr>
          <a:xfrm>
            <a:off x="4157730" y="3500438"/>
            <a:ext cx="2523034" cy="1518584"/>
            <a:chOff x="4157730" y="3500438"/>
            <a:chExt cx="2523034" cy="1518584"/>
          </a:xfrm>
        </p:grpSpPr>
        <p:cxnSp>
          <p:nvCxnSpPr>
            <p:cNvPr id="156" name="Straight Connector 155">
              <a:extLst>
                <a:ext uri="{FF2B5EF4-FFF2-40B4-BE49-F238E27FC236}">
                  <a16:creationId xmlns:a16="http://schemas.microsoft.com/office/drawing/2014/main" id="{D90308F1-B92E-4B63-8574-5405F69F6781}"/>
                </a:ext>
              </a:extLst>
            </p:cNvPr>
            <p:cNvCxnSpPr/>
            <p:nvPr/>
          </p:nvCxnSpPr>
          <p:spPr>
            <a:xfrm>
              <a:off x="4157730" y="3500438"/>
              <a:ext cx="0" cy="553769"/>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3B90FC2C-A7DF-4E1D-9597-3A1E04D1BA14}"/>
                </a:ext>
              </a:extLst>
            </p:cNvPr>
            <p:cNvGrpSpPr/>
            <p:nvPr/>
          </p:nvGrpSpPr>
          <p:grpSpPr>
            <a:xfrm>
              <a:off x="4157730" y="4173361"/>
              <a:ext cx="2523034" cy="328500"/>
              <a:chOff x="327677" y="3722771"/>
              <a:chExt cx="2523034" cy="328500"/>
            </a:xfrm>
          </p:grpSpPr>
          <p:sp>
            <p:nvSpPr>
              <p:cNvPr id="161" name="Rectangle 160">
                <a:extLst>
                  <a:ext uri="{FF2B5EF4-FFF2-40B4-BE49-F238E27FC236}">
                    <a16:creationId xmlns:a16="http://schemas.microsoft.com/office/drawing/2014/main" id="{5C97A887-1ED1-4374-AFCE-C92197C3038D}"/>
                  </a:ext>
                </a:extLst>
              </p:cNvPr>
              <p:cNvSpPr/>
              <p:nvPr/>
            </p:nvSpPr>
            <p:spPr>
              <a:xfrm>
                <a:off x="334963" y="3934193"/>
                <a:ext cx="1080000" cy="11707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62E7181B-BBA3-433A-8829-B10BE3B399BA}"/>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2</a:t>
                </a:r>
              </a:p>
            </p:txBody>
          </p:sp>
        </p:grpSp>
        <p:grpSp>
          <p:nvGrpSpPr>
            <p:cNvPr id="158" name="Group 157">
              <a:extLst>
                <a:ext uri="{FF2B5EF4-FFF2-40B4-BE49-F238E27FC236}">
                  <a16:creationId xmlns:a16="http://schemas.microsoft.com/office/drawing/2014/main" id="{E99E645F-D9D2-468C-B8E7-9CA06F6210A2}"/>
                </a:ext>
              </a:extLst>
            </p:cNvPr>
            <p:cNvGrpSpPr/>
            <p:nvPr/>
          </p:nvGrpSpPr>
          <p:grpSpPr>
            <a:xfrm>
              <a:off x="4157730" y="4690522"/>
              <a:ext cx="2523034" cy="328500"/>
              <a:chOff x="327677" y="3722771"/>
              <a:chExt cx="2523034" cy="328500"/>
            </a:xfrm>
          </p:grpSpPr>
          <p:sp>
            <p:nvSpPr>
              <p:cNvPr id="159" name="Rectangle 158">
                <a:extLst>
                  <a:ext uri="{FF2B5EF4-FFF2-40B4-BE49-F238E27FC236}">
                    <a16:creationId xmlns:a16="http://schemas.microsoft.com/office/drawing/2014/main" id="{75578B3A-7E30-4D17-AC1C-770E4D94430A}"/>
                  </a:ext>
                </a:extLst>
              </p:cNvPr>
              <p:cNvSpPr/>
              <p:nvPr/>
            </p:nvSpPr>
            <p:spPr>
              <a:xfrm>
                <a:off x="334963" y="3934193"/>
                <a:ext cx="1800000" cy="11707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AEFAA4EB-7E71-4951-B042-CCF6A0EE522F}"/>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a:solidFill>
                      <a:schemeClr val="tx1"/>
                    </a:solidFill>
                  </a:rPr>
                  <a:t>Phase 2</a:t>
                </a:r>
              </a:p>
            </p:txBody>
          </p:sp>
        </p:grpSp>
      </p:grpSp>
      <p:grpSp>
        <p:nvGrpSpPr>
          <p:cNvPr id="163" name="Group 162">
            <a:extLst>
              <a:ext uri="{FF2B5EF4-FFF2-40B4-BE49-F238E27FC236}">
                <a16:creationId xmlns:a16="http://schemas.microsoft.com/office/drawing/2014/main" id="{F1832DE8-94C4-4B46-BF1A-77BD5E9B2BB1}"/>
              </a:ext>
            </a:extLst>
          </p:cNvPr>
          <p:cNvGrpSpPr/>
          <p:nvPr/>
        </p:nvGrpSpPr>
        <p:grpSpPr>
          <a:xfrm>
            <a:off x="8896350" y="3500438"/>
            <a:ext cx="2959286" cy="2051641"/>
            <a:chOff x="8896350" y="3500438"/>
            <a:chExt cx="2959286" cy="2051641"/>
          </a:xfrm>
        </p:grpSpPr>
        <p:cxnSp>
          <p:nvCxnSpPr>
            <p:cNvPr id="164" name="Straight Connector 163">
              <a:extLst>
                <a:ext uri="{FF2B5EF4-FFF2-40B4-BE49-F238E27FC236}">
                  <a16:creationId xmlns:a16="http://schemas.microsoft.com/office/drawing/2014/main" id="{CD6D357D-BDC5-4289-A023-0BC7B38255CD}"/>
                </a:ext>
              </a:extLst>
            </p:cNvPr>
            <p:cNvCxnSpPr/>
            <p:nvPr/>
          </p:nvCxnSpPr>
          <p:spPr>
            <a:xfrm>
              <a:off x="8903636" y="3500438"/>
              <a:ext cx="0" cy="1622405"/>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4E28850A-8FC6-4008-8DFB-CB084F8F7AF5}"/>
                </a:ext>
              </a:extLst>
            </p:cNvPr>
            <p:cNvGrpSpPr/>
            <p:nvPr/>
          </p:nvGrpSpPr>
          <p:grpSpPr>
            <a:xfrm>
              <a:off x="8896350" y="5223579"/>
              <a:ext cx="2959286" cy="328500"/>
              <a:chOff x="327677" y="3722771"/>
              <a:chExt cx="2959286" cy="328500"/>
            </a:xfrm>
          </p:grpSpPr>
          <p:sp>
            <p:nvSpPr>
              <p:cNvPr id="166" name="Rectangle 165">
                <a:extLst>
                  <a:ext uri="{FF2B5EF4-FFF2-40B4-BE49-F238E27FC236}">
                    <a16:creationId xmlns:a16="http://schemas.microsoft.com/office/drawing/2014/main" id="{E5BAEA57-0695-402D-9748-20594DC75A18}"/>
                  </a:ext>
                </a:extLst>
              </p:cNvPr>
              <p:cNvSpPr/>
              <p:nvPr/>
            </p:nvSpPr>
            <p:spPr>
              <a:xfrm>
                <a:off x="334963" y="3934193"/>
                <a:ext cx="2952000" cy="1170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7" name="Rectangle 166">
                <a:extLst>
                  <a:ext uri="{FF2B5EF4-FFF2-40B4-BE49-F238E27FC236}">
                    <a16:creationId xmlns:a16="http://schemas.microsoft.com/office/drawing/2014/main" id="{86B6450F-4830-4551-96C0-BD7590AE6C6C}"/>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4</a:t>
                </a:r>
              </a:p>
            </p:txBody>
          </p:sp>
        </p:grpSp>
      </p:grpSp>
      <p:grpSp>
        <p:nvGrpSpPr>
          <p:cNvPr id="168" name="Group 167">
            <a:extLst>
              <a:ext uri="{FF2B5EF4-FFF2-40B4-BE49-F238E27FC236}">
                <a16:creationId xmlns:a16="http://schemas.microsoft.com/office/drawing/2014/main" id="{9C7A0776-F9E9-4C7E-AD16-46B0BA4398D0}"/>
              </a:ext>
            </a:extLst>
          </p:cNvPr>
          <p:cNvGrpSpPr/>
          <p:nvPr/>
        </p:nvGrpSpPr>
        <p:grpSpPr>
          <a:xfrm>
            <a:off x="9928327" y="3500438"/>
            <a:ext cx="1944000" cy="1001423"/>
            <a:chOff x="9928327" y="3500438"/>
            <a:chExt cx="1944000" cy="1001423"/>
          </a:xfrm>
        </p:grpSpPr>
        <p:cxnSp>
          <p:nvCxnSpPr>
            <p:cNvPr id="169" name="Straight Connector 168">
              <a:extLst>
                <a:ext uri="{FF2B5EF4-FFF2-40B4-BE49-F238E27FC236}">
                  <a16:creationId xmlns:a16="http://schemas.microsoft.com/office/drawing/2014/main" id="{6995D872-81CA-40D2-B38A-978D454A6E25}"/>
                </a:ext>
              </a:extLst>
            </p:cNvPr>
            <p:cNvCxnSpPr/>
            <p:nvPr/>
          </p:nvCxnSpPr>
          <p:spPr>
            <a:xfrm>
              <a:off x="9928327" y="3500438"/>
              <a:ext cx="0" cy="553769"/>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0920ED6B-F8B8-4E04-B76A-D88E3D94855B}"/>
                </a:ext>
              </a:extLst>
            </p:cNvPr>
            <p:cNvGrpSpPr/>
            <p:nvPr/>
          </p:nvGrpSpPr>
          <p:grpSpPr>
            <a:xfrm>
              <a:off x="9928327" y="4173361"/>
              <a:ext cx="1944000" cy="328500"/>
              <a:chOff x="327677" y="3722771"/>
              <a:chExt cx="1944000" cy="328500"/>
            </a:xfrm>
          </p:grpSpPr>
          <p:sp>
            <p:nvSpPr>
              <p:cNvPr id="171" name="Rectangle 170">
                <a:extLst>
                  <a:ext uri="{FF2B5EF4-FFF2-40B4-BE49-F238E27FC236}">
                    <a16:creationId xmlns:a16="http://schemas.microsoft.com/office/drawing/2014/main" id="{5F13311A-7315-4186-9E58-E76E4F0C3FE6}"/>
                  </a:ext>
                </a:extLst>
              </p:cNvPr>
              <p:cNvSpPr/>
              <p:nvPr/>
            </p:nvSpPr>
            <p:spPr>
              <a:xfrm>
                <a:off x="334963" y="3934193"/>
                <a:ext cx="1800000" cy="1170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2" name="Rectangle 171">
                <a:extLst>
                  <a:ext uri="{FF2B5EF4-FFF2-40B4-BE49-F238E27FC236}">
                    <a16:creationId xmlns:a16="http://schemas.microsoft.com/office/drawing/2014/main" id="{93D54C6B-DD7A-4203-B570-D41562AEAF97}"/>
                  </a:ext>
                </a:extLst>
              </p:cNvPr>
              <p:cNvSpPr/>
              <p:nvPr/>
            </p:nvSpPr>
            <p:spPr>
              <a:xfrm>
                <a:off x="327677" y="3722771"/>
                <a:ext cx="1944000"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4</a:t>
                </a:r>
              </a:p>
            </p:txBody>
          </p:sp>
        </p:grpSp>
      </p:grpSp>
      <p:grpSp>
        <p:nvGrpSpPr>
          <p:cNvPr id="173" name="Group 172">
            <a:extLst>
              <a:ext uri="{FF2B5EF4-FFF2-40B4-BE49-F238E27FC236}">
                <a16:creationId xmlns:a16="http://schemas.microsoft.com/office/drawing/2014/main" id="{9B723247-6FFC-4F48-A266-8E0A9796EFFE}"/>
              </a:ext>
            </a:extLst>
          </p:cNvPr>
          <p:cNvGrpSpPr/>
          <p:nvPr/>
        </p:nvGrpSpPr>
        <p:grpSpPr>
          <a:xfrm>
            <a:off x="9224416" y="3500438"/>
            <a:ext cx="2523034" cy="1518584"/>
            <a:chOff x="9224416" y="3500438"/>
            <a:chExt cx="2523034" cy="1518584"/>
          </a:xfrm>
        </p:grpSpPr>
        <p:cxnSp>
          <p:nvCxnSpPr>
            <p:cNvPr id="174" name="Straight Connector 173">
              <a:extLst>
                <a:ext uri="{FF2B5EF4-FFF2-40B4-BE49-F238E27FC236}">
                  <a16:creationId xmlns:a16="http://schemas.microsoft.com/office/drawing/2014/main" id="{64D62A71-4832-4514-9363-405FE4B253DE}"/>
                </a:ext>
              </a:extLst>
            </p:cNvPr>
            <p:cNvCxnSpPr/>
            <p:nvPr/>
          </p:nvCxnSpPr>
          <p:spPr>
            <a:xfrm>
              <a:off x="9243621" y="3500438"/>
              <a:ext cx="0" cy="1001423"/>
            </a:xfrm>
            <a:prstGeom prst="line">
              <a:avLst/>
            </a:prstGeom>
            <a:ln w="9525"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75" name="Group 174">
              <a:extLst>
                <a:ext uri="{FF2B5EF4-FFF2-40B4-BE49-F238E27FC236}">
                  <a16:creationId xmlns:a16="http://schemas.microsoft.com/office/drawing/2014/main" id="{343D5251-40CC-4E83-B7FA-C9FDF451DFDD}"/>
                </a:ext>
              </a:extLst>
            </p:cNvPr>
            <p:cNvGrpSpPr/>
            <p:nvPr/>
          </p:nvGrpSpPr>
          <p:grpSpPr>
            <a:xfrm>
              <a:off x="9224416" y="4690522"/>
              <a:ext cx="2523034" cy="328500"/>
              <a:chOff x="327677" y="3722771"/>
              <a:chExt cx="2523034" cy="328500"/>
            </a:xfrm>
          </p:grpSpPr>
          <p:sp>
            <p:nvSpPr>
              <p:cNvPr id="176" name="Rectangle 175">
                <a:extLst>
                  <a:ext uri="{FF2B5EF4-FFF2-40B4-BE49-F238E27FC236}">
                    <a16:creationId xmlns:a16="http://schemas.microsoft.com/office/drawing/2014/main" id="{BD976B7A-AE8C-4E34-9F06-F818B26D3B4B}"/>
                  </a:ext>
                </a:extLst>
              </p:cNvPr>
              <p:cNvSpPr/>
              <p:nvPr/>
            </p:nvSpPr>
            <p:spPr>
              <a:xfrm>
                <a:off x="334963" y="3934193"/>
                <a:ext cx="1800000" cy="1170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7" name="Rectangle 176">
                <a:extLst>
                  <a:ext uri="{FF2B5EF4-FFF2-40B4-BE49-F238E27FC236}">
                    <a16:creationId xmlns:a16="http://schemas.microsoft.com/office/drawing/2014/main" id="{2BA0935A-7733-4AE6-A806-B5457B7B5BAC}"/>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dirty="0">
                    <a:solidFill>
                      <a:schemeClr val="tx1"/>
                    </a:solidFill>
                  </a:rPr>
                  <a:t>Phase 4</a:t>
                </a:r>
              </a:p>
            </p:txBody>
          </p:sp>
        </p:grpSp>
      </p:grpSp>
      <p:grpSp>
        <p:nvGrpSpPr>
          <p:cNvPr id="178" name="Group 177">
            <a:extLst>
              <a:ext uri="{FF2B5EF4-FFF2-40B4-BE49-F238E27FC236}">
                <a16:creationId xmlns:a16="http://schemas.microsoft.com/office/drawing/2014/main" id="{78B6C940-8D53-4C81-8D1D-35C19BB2D530}"/>
              </a:ext>
            </a:extLst>
          </p:cNvPr>
          <p:cNvGrpSpPr/>
          <p:nvPr/>
        </p:nvGrpSpPr>
        <p:grpSpPr>
          <a:xfrm>
            <a:off x="0" y="3500438"/>
            <a:ext cx="12192000" cy="335148"/>
            <a:chOff x="0" y="3500438"/>
            <a:chExt cx="12192000" cy="335148"/>
          </a:xfrm>
        </p:grpSpPr>
        <p:sp>
          <p:nvSpPr>
            <p:cNvPr id="179" name="TextBox 178">
              <a:extLst>
                <a:ext uri="{FF2B5EF4-FFF2-40B4-BE49-F238E27FC236}">
                  <a16:creationId xmlns:a16="http://schemas.microsoft.com/office/drawing/2014/main" id="{1B775FAF-8E35-43BD-BA9C-F1DAEFE8CABD}"/>
                </a:ext>
              </a:extLst>
            </p:cNvPr>
            <p:cNvSpPr txBox="1"/>
            <p:nvPr/>
          </p:nvSpPr>
          <p:spPr>
            <a:xfrm>
              <a:off x="334963" y="3722361"/>
              <a:ext cx="311418" cy="113225"/>
            </a:xfrm>
            <a:prstGeom prst="rect">
              <a:avLst/>
            </a:prstGeom>
            <a:ln w="25400">
              <a:noFill/>
            </a:ln>
          </p:spPr>
          <p:txBody>
            <a:bodyPr vert="horz" wrap="square" lIns="0" tIns="0" rIns="0" bIns="0" rtlCol="0" anchor="b" anchorCtr="0">
              <a:noAutofit/>
            </a:bodyPr>
            <a:lstStyle/>
            <a:p>
              <a:pPr algn="ctr"/>
              <a:r>
                <a:rPr lang="en-US" sz="1050" cap="all">
                  <a:latin typeface="+mj-lt"/>
                </a:rPr>
                <a:t>Jan</a:t>
              </a:r>
            </a:p>
          </p:txBody>
        </p:sp>
        <p:cxnSp>
          <p:nvCxnSpPr>
            <p:cNvPr id="180" name="Straight Connector 179">
              <a:extLst>
                <a:ext uri="{FF2B5EF4-FFF2-40B4-BE49-F238E27FC236}">
                  <a16:creationId xmlns:a16="http://schemas.microsoft.com/office/drawing/2014/main" id="{DBEBA12C-E356-4637-9BD6-1911F841FE9C}"/>
                </a:ext>
              </a:extLst>
            </p:cNvPr>
            <p:cNvCxnSpPr/>
            <p:nvPr/>
          </p:nvCxnSpPr>
          <p:spPr>
            <a:xfrm>
              <a:off x="490672" y="3500439"/>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2DD97920-EDF4-4E88-B9CE-03BA7BB4567F}"/>
                </a:ext>
              </a:extLst>
            </p:cNvPr>
            <p:cNvSpPr txBox="1"/>
            <p:nvPr/>
          </p:nvSpPr>
          <p:spPr>
            <a:xfrm>
              <a:off x="1343689" y="3722360"/>
              <a:ext cx="295992" cy="113225"/>
            </a:xfrm>
            <a:prstGeom prst="rect">
              <a:avLst/>
            </a:prstGeom>
            <a:ln w="25400">
              <a:noFill/>
            </a:ln>
          </p:spPr>
          <p:txBody>
            <a:bodyPr vert="horz" wrap="square" lIns="0" tIns="0" rIns="0" bIns="0" rtlCol="0" anchor="b" anchorCtr="0">
              <a:noAutofit/>
            </a:bodyPr>
            <a:lstStyle/>
            <a:p>
              <a:pPr algn="ctr"/>
              <a:r>
                <a:rPr lang="en-US" sz="1050" cap="all">
                  <a:latin typeface="+mj-lt"/>
                </a:rPr>
                <a:t>Feb</a:t>
              </a:r>
            </a:p>
          </p:txBody>
        </p:sp>
        <p:cxnSp>
          <p:nvCxnSpPr>
            <p:cNvPr id="182" name="Straight Connector 181">
              <a:extLst>
                <a:ext uri="{FF2B5EF4-FFF2-40B4-BE49-F238E27FC236}">
                  <a16:creationId xmlns:a16="http://schemas.microsoft.com/office/drawing/2014/main" id="{71C316B9-B356-413E-95F5-55AF022E7DDF}"/>
                </a:ext>
              </a:extLst>
            </p:cNvPr>
            <p:cNvCxnSpPr/>
            <p:nvPr/>
          </p:nvCxnSpPr>
          <p:spPr>
            <a:xfrm>
              <a:off x="1491685" y="3500439"/>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8BBD815C-1370-44F4-BC14-5E651D09C0D7}"/>
                </a:ext>
              </a:extLst>
            </p:cNvPr>
            <p:cNvSpPr txBox="1"/>
            <p:nvPr/>
          </p:nvSpPr>
          <p:spPr>
            <a:xfrm>
              <a:off x="2336989" y="3722359"/>
              <a:ext cx="344302" cy="113225"/>
            </a:xfrm>
            <a:prstGeom prst="rect">
              <a:avLst/>
            </a:prstGeom>
            <a:ln w="25400">
              <a:noFill/>
            </a:ln>
          </p:spPr>
          <p:txBody>
            <a:bodyPr vert="horz" wrap="square" lIns="0" tIns="0" rIns="0" bIns="0" rtlCol="0" anchor="b" anchorCtr="0">
              <a:noAutofit/>
            </a:bodyPr>
            <a:lstStyle/>
            <a:p>
              <a:pPr algn="ctr"/>
              <a:r>
                <a:rPr lang="en-US" sz="1050" cap="all">
                  <a:latin typeface="+mj-lt"/>
                </a:rPr>
                <a:t>Mar</a:t>
              </a:r>
            </a:p>
          </p:txBody>
        </p:sp>
        <p:cxnSp>
          <p:nvCxnSpPr>
            <p:cNvPr id="184" name="Straight Connector 183">
              <a:extLst>
                <a:ext uri="{FF2B5EF4-FFF2-40B4-BE49-F238E27FC236}">
                  <a16:creationId xmlns:a16="http://schemas.microsoft.com/office/drawing/2014/main" id="{F3C31B46-6B9C-419B-8C1F-5109A1A2C05D}"/>
                </a:ext>
              </a:extLst>
            </p:cNvPr>
            <p:cNvCxnSpPr/>
            <p:nvPr/>
          </p:nvCxnSpPr>
          <p:spPr>
            <a:xfrm>
              <a:off x="2509140"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B6CBBAAE-4564-4509-9916-EA63E1177FF4}"/>
                </a:ext>
              </a:extLst>
            </p:cNvPr>
            <p:cNvSpPr txBox="1"/>
            <p:nvPr/>
          </p:nvSpPr>
          <p:spPr>
            <a:xfrm>
              <a:off x="3378599" y="3720854"/>
              <a:ext cx="330904" cy="113225"/>
            </a:xfrm>
            <a:prstGeom prst="rect">
              <a:avLst/>
            </a:prstGeom>
            <a:ln w="25400">
              <a:noFill/>
            </a:ln>
          </p:spPr>
          <p:txBody>
            <a:bodyPr vert="horz" wrap="square" lIns="0" tIns="0" rIns="0" bIns="0" rtlCol="0" anchor="b" anchorCtr="0">
              <a:noAutofit/>
            </a:bodyPr>
            <a:lstStyle/>
            <a:p>
              <a:pPr algn="ctr"/>
              <a:r>
                <a:rPr lang="en-US" sz="1050" cap="all">
                  <a:latin typeface="+mj-lt"/>
                </a:rPr>
                <a:t>Apr</a:t>
              </a:r>
            </a:p>
          </p:txBody>
        </p:sp>
        <p:cxnSp>
          <p:nvCxnSpPr>
            <p:cNvPr id="186" name="Straight Connector 185">
              <a:extLst>
                <a:ext uri="{FF2B5EF4-FFF2-40B4-BE49-F238E27FC236}">
                  <a16:creationId xmlns:a16="http://schemas.microsoft.com/office/drawing/2014/main" id="{C159FD82-EACF-420B-80D1-FDB379B5F8A6}"/>
                </a:ext>
              </a:extLst>
            </p:cNvPr>
            <p:cNvCxnSpPr/>
            <p:nvPr/>
          </p:nvCxnSpPr>
          <p:spPr>
            <a:xfrm>
              <a:off x="3544051"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0EB88BC8-A071-4EA1-BFC2-BF930B16D25D}"/>
                </a:ext>
              </a:extLst>
            </p:cNvPr>
            <p:cNvSpPr txBox="1"/>
            <p:nvPr/>
          </p:nvSpPr>
          <p:spPr>
            <a:xfrm>
              <a:off x="4406811" y="3720854"/>
              <a:ext cx="354336" cy="113225"/>
            </a:xfrm>
            <a:prstGeom prst="rect">
              <a:avLst/>
            </a:prstGeom>
            <a:ln w="25400">
              <a:noFill/>
            </a:ln>
          </p:spPr>
          <p:txBody>
            <a:bodyPr vert="horz" wrap="square" lIns="0" tIns="0" rIns="0" bIns="0" rtlCol="0" anchor="b" anchorCtr="0">
              <a:noAutofit/>
            </a:bodyPr>
            <a:lstStyle/>
            <a:p>
              <a:pPr algn="ctr"/>
              <a:r>
                <a:rPr lang="en-US" sz="1050" cap="all">
                  <a:latin typeface="+mj-lt"/>
                </a:rPr>
                <a:t>May</a:t>
              </a:r>
            </a:p>
          </p:txBody>
        </p:sp>
        <p:cxnSp>
          <p:nvCxnSpPr>
            <p:cNvPr id="188" name="Straight Connector 187">
              <a:extLst>
                <a:ext uri="{FF2B5EF4-FFF2-40B4-BE49-F238E27FC236}">
                  <a16:creationId xmlns:a16="http://schemas.microsoft.com/office/drawing/2014/main" id="{4F262ADE-C860-43A2-94DB-E50D50FA8601}"/>
                </a:ext>
              </a:extLst>
            </p:cNvPr>
            <p:cNvCxnSpPr/>
            <p:nvPr/>
          </p:nvCxnSpPr>
          <p:spPr>
            <a:xfrm>
              <a:off x="4583979"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F618BD56-AFC0-4065-84E5-64856DDC3174}"/>
                </a:ext>
              </a:extLst>
            </p:cNvPr>
            <p:cNvSpPr txBox="1"/>
            <p:nvPr/>
          </p:nvSpPr>
          <p:spPr>
            <a:xfrm>
              <a:off x="5458455" y="3720854"/>
              <a:ext cx="315840" cy="113225"/>
            </a:xfrm>
            <a:prstGeom prst="rect">
              <a:avLst/>
            </a:prstGeom>
            <a:ln w="25400">
              <a:noFill/>
            </a:ln>
          </p:spPr>
          <p:txBody>
            <a:bodyPr vert="horz" wrap="square" lIns="0" tIns="0" rIns="0" bIns="0" rtlCol="0" anchor="b" anchorCtr="0">
              <a:noAutofit/>
            </a:bodyPr>
            <a:lstStyle/>
            <a:p>
              <a:pPr algn="ctr"/>
              <a:r>
                <a:rPr lang="en-US" sz="1050" cap="all">
                  <a:latin typeface="+mj-lt"/>
                </a:rPr>
                <a:t>Jun</a:t>
              </a:r>
            </a:p>
          </p:txBody>
        </p:sp>
        <p:cxnSp>
          <p:nvCxnSpPr>
            <p:cNvPr id="190" name="Straight Connector 189">
              <a:extLst>
                <a:ext uri="{FF2B5EF4-FFF2-40B4-BE49-F238E27FC236}">
                  <a16:creationId xmlns:a16="http://schemas.microsoft.com/office/drawing/2014/main" id="{0790EE83-CF10-473B-9AC9-24CC3D77938C}"/>
                </a:ext>
              </a:extLst>
            </p:cNvPr>
            <p:cNvCxnSpPr/>
            <p:nvPr/>
          </p:nvCxnSpPr>
          <p:spPr>
            <a:xfrm>
              <a:off x="5616375"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C737D339-9B35-44F5-89A8-C847DD6ABD02}"/>
                </a:ext>
              </a:extLst>
            </p:cNvPr>
            <p:cNvSpPr txBox="1"/>
            <p:nvPr/>
          </p:nvSpPr>
          <p:spPr>
            <a:xfrm>
              <a:off x="6471603" y="3720854"/>
              <a:ext cx="291650" cy="113225"/>
            </a:xfrm>
            <a:prstGeom prst="rect">
              <a:avLst/>
            </a:prstGeom>
            <a:ln w="25400">
              <a:noFill/>
            </a:ln>
          </p:spPr>
          <p:txBody>
            <a:bodyPr vert="horz" wrap="square" lIns="0" tIns="0" rIns="0" bIns="0" rtlCol="0" anchor="b" anchorCtr="0">
              <a:noAutofit/>
            </a:bodyPr>
            <a:lstStyle/>
            <a:p>
              <a:pPr algn="ctr"/>
              <a:r>
                <a:rPr lang="en-US" sz="1050" cap="all">
                  <a:latin typeface="+mj-lt"/>
                </a:rPr>
                <a:t>Jul</a:t>
              </a:r>
            </a:p>
          </p:txBody>
        </p:sp>
        <p:cxnSp>
          <p:nvCxnSpPr>
            <p:cNvPr id="192" name="Straight Connector 191">
              <a:extLst>
                <a:ext uri="{FF2B5EF4-FFF2-40B4-BE49-F238E27FC236}">
                  <a16:creationId xmlns:a16="http://schemas.microsoft.com/office/drawing/2014/main" id="{D0D60B07-E6BD-41E8-A475-45BB6FD136B8}"/>
                </a:ext>
              </a:extLst>
            </p:cNvPr>
            <p:cNvCxnSpPr/>
            <p:nvPr/>
          </p:nvCxnSpPr>
          <p:spPr>
            <a:xfrm>
              <a:off x="6617428"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898F70BC-1080-427E-8C27-6AB7E20F3C7F}"/>
                </a:ext>
              </a:extLst>
            </p:cNvPr>
            <p:cNvSpPr txBox="1"/>
            <p:nvPr/>
          </p:nvSpPr>
          <p:spPr>
            <a:xfrm>
              <a:off x="7460561" y="3720854"/>
              <a:ext cx="336592" cy="113225"/>
            </a:xfrm>
            <a:prstGeom prst="rect">
              <a:avLst/>
            </a:prstGeom>
            <a:ln w="25400">
              <a:noFill/>
            </a:ln>
          </p:spPr>
          <p:txBody>
            <a:bodyPr vert="horz" wrap="square" lIns="0" tIns="0" rIns="0" bIns="0" rtlCol="0" anchor="b" anchorCtr="0">
              <a:noAutofit/>
            </a:bodyPr>
            <a:lstStyle/>
            <a:p>
              <a:pPr algn="ctr"/>
              <a:r>
                <a:rPr lang="en-US" sz="1050" cap="all">
                  <a:latin typeface="+mj-lt"/>
                </a:rPr>
                <a:t>Aug</a:t>
              </a:r>
            </a:p>
          </p:txBody>
        </p:sp>
        <p:cxnSp>
          <p:nvCxnSpPr>
            <p:cNvPr id="194" name="Straight Connector 193">
              <a:extLst>
                <a:ext uri="{FF2B5EF4-FFF2-40B4-BE49-F238E27FC236}">
                  <a16:creationId xmlns:a16="http://schemas.microsoft.com/office/drawing/2014/main" id="{0D325875-482B-4829-B6B3-51A1E15347C8}"/>
                </a:ext>
              </a:extLst>
            </p:cNvPr>
            <p:cNvCxnSpPr/>
            <p:nvPr/>
          </p:nvCxnSpPr>
          <p:spPr>
            <a:xfrm>
              <a:off x="7628857"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AD3D5E98-3B66-45C5-AEEE-D1B806167545}"/>
                </a:ext>
              </a:extLst>
            </p:cNvPr>
            <p:cNvSpPr txBox="1"/>
            <p:nvPr/>
          </p:nvSpPr>
          <p:spPr>
            <a:xfrm>
              <a:off x="8494461" y="3720854"/>
              <a:ext cx="293516" cy="113225"/>
            </a:xfrm>
            <a:prstGeom prst="rect">
              <a:avLst/>
            </a:prstGeom>
            <a:ln w="25400">
              <a:noFill/>
            </a:ln>
          </p:spPr>
          <p:txBody>
            <a:bodyPr vert="horz" wrap="square" lIns="0" tIns="0" rIns="0" bIns="0" rtlCol="0" anchor="b" anchorCtr="0">
              <a:noAutofit/>
            </a:bodyPr>
            <a:lstStyle/>
            <a:p>
              <a:pPr algn="ctr"/>
              <a:r>
                <a:rPr lang="en-US" sz="1050" cap="all">
                  <a:latin typeface="+mj-lt"/>
                </a:rPr>
                <a:t>Sep</a:t>
              </a:r>
            </a:p>
          </p:txBody>
        </p:sp>
        <p:cxnSp>
          <p:nvCxnSpPr>
            <p:cNvPr id="196" name="Straight Connector 195">
              <a:extLst>
                <a:ext uri="{FF2B5EF4-FFF2-40B4-BE49-F238E27FC236}">
                  <a16:creationId xmlns:a16="http://schemas.microsoft.com/office/drawing/2014/main" id="{499AAD18-DAEB-4597-9EAD-008B74A3FE7A}"/>
                </a:ext>
              </a:extLst>
            </p:cNvPr>
            <p:cNvCxnSpPr/>
            <p:nvPr/>
          </p:nvCxnSpPr>
          <p:spPr>
            <a:xfrm>
              <a:off x="8641219"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38C884E6-79C4-4D02-A3C0-19F9AC8C572D}"/>
                </a:ext>
              </a:extLst>
            </p:cNvPr>
            <p:cNvSpPr txBox="1"/>
            <p:nvPr/>
          </p:nvSpPr>
          <p:spPr>
            <a:xfrm>
              <a:off x="9485285" y="3720854"/>
              <a:ext cx="328296" cy="113225"/>
            </a:xfrm>
            <a:prstGeom prst="rect">
              <a:avLst/>
            </a:prstGeom>
            <a:ln w="25400">
              <a:noFill/>
            </a:ln>
          </p:spPr>
          <p:txBody>
            <a:bodyPr vert="horz" wrap="square" lIns="0" tIns="0" rIns="0" bIns="0" rtlCol="0" anchor="b" anchorCtr="0">
              <a:noAutofit/>
            </a:bodyPr>
            <a:lstStyle/>
            <a:p>
              <a:pPr algn="ctr"/>
              <a:r>
                <a:rPr lang="en-US" sz="1050" cap="all">
                  <a:latin typeface="+mj-lt"/>
                </a:rPr>
                <a:t>Oct</a:t>
              </a:r>
            </a:p>
          </p:txBody>
        </p:sp>
        <p:cxnSp>
          <p:nvCxnSpPr>
            <p:cNvPr id="198" name="Straight Connector 197">
              <a:extLst>
                <a:ext uri="{FF2B5EF4-FFF2-40B4-BE49-F238E27FC236}">
                  <a16:creationId xmlns:a16="http://schemas.microsoft.com/office/drawing/2014/main" id="{5F7668AD-402C-4BEE-8C23-9DDFAFB20B83}"/>
                </a:ext>
              </a:extLst>
            </p:cNvPr>
            <p:cNvCxnSpPr/>
            <p:nvPr/>
          </p:nvCxnSpPr>
          <p:spPr>
            <a:xfrm>
              <a:off x="9649433"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9" name="TextBox 198">
              <a:extLst>
                <a:ext uri="{FF2B5EF4-FFF2-40B4-BE49-F238E27FC236}">
                  <a16:creationId xmlns:a16="http://schemas.microsoft.com/office/drawing/2014/main" id="{58EC2A81-2FE1-4077-B268-538F87CF77AC}"/>
                </a:ext>
              </a:extLst>
            </p:cNvPr>
            <p:cNvSpPr txBox="1"/>
            <p:nvPr/>
          </p:nvSpPr>
          <p:spPr>
            <a:xfrm>
              <a:off x="10510889" y="3720854"/>
              <a:ext cx="339666" cy="113225"/>
            </a:xfrm>
            <a:prstGeom prst="rect">
              <a:avLst/>
            </a:prstGeom>
            <a:ln w="25400">
              <a:noFill/>
            </a:ln>
          </p:spPr>
          <p:txBody>
            <a:bodyPr vert="horz" wrap="square" lIns="0" tIns="0" rIns="0" bIns="0" rtlCol="0" anchor="b" anchorCtr="0">
              <a:noAutofit/>
            </a:bodyPr>
            <a:lstStyle/>
            <a:p>
              <a:pPr algn="ctr"/>
              <a:r>
                <a:rPr lang="en-US" sz="1050" cap="all">
                  <a:latin typeface="+mj-lt"/>
                </a:rPr>
                <a:t>Nov</a:t>
              </a:r>
            </a:p>
          </p:txBody>
        </p:sp>
        <p:cxnSp>
          <p:nvCxnSpPr>
            <p:cNvPr id="200" name="Straight Connector 199">
              <a:extLst>
                <a:ext uri="{FF2B5EF4-FFF2-40B4-BE49-F238E27FC236}">
                  <a16:creationId xmlns:a16="http://schemas.microsoft.com/office/drawing/2014/main" id="{572BC444-DC26-4E87-B0F6-8743F2ACDFB7}"/>
                </a:ext>
              </a:extLst>
            </p:cNvPr>
            <p:cNvCxnSpPr/>
            <p:nvPr/>
          </p:nvCxnSpPr>
          <p:spPr>
            <a:xfrm>
              <a:off x="10680722" y="3500439"/>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013E6850-2400-4666-897C-EE2C205484B8}"/>
                </a:ext>
              </a:extLst>
            </p:cNvPr>
            <p:cNvSpPr txBox="1"/>
            <p:nvPr/>
          </p:nvSpPr>
          <p:spPr>
            <a:xfrm>
              <a:off x="11547862" y="3715714"/>
              <a:ext cx="307588" cy="113225"/>
            </a:xfrm>
            <a:prstGeom prst="rect">
              <a:avLst/>
            </a:prstGeom>
            <a:ln w="25400">
              <a:noFill/>
            </a:ln>
          </p:spPr>
          <p:txBody>
            <a:bodyPr vert="horz" wrap="square" lIns="0" tIns="0" rIns="0" bIns="0" rtlCol="0" anchor="b" anchorCtr="0">
              <a:noAutofit/>
            </a:bodyPr>
            <a:lstStyle/>
            <a:p>
              <a:pPr algn="ctr"/>
              <a:r>
                <a:rPr lang="en-US" sz="1050" cap="all" dirty="0">
                  <a:latin typeface="+mj-lt"/>
                </a:rPr>
                <a:t>Dec</a:t>
              </a:r>
            </a:p>
          </p:txBody>
        </p:sp>
        <p:cxnSp>
          <p:nvCxnSpPr>
            <p:cNvPr id="202" name="Straight Connector 201">
              <a:extLst>
                <a:ext uri="{FF2B5EF4-FFF2-40B4-BE49-F238E27FC236}">
                  <a16:creationId xmlns:a16="http://schemas.microsoft.com/office/drawing/2014/main" id="{6530BE68-F73D-4E30-A2EC-A261D8A91B73}"/>
                </a:ext>
              </a:extLst>
            </p:cNvPr>
            <p:cNvCxnSpPr/>
            <p:nvPr/>
          </p:nvCxnSpPr>
          <p:spPr>
            <a:xfrm>
              <a:off x="11701656" y="3500439"/>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9AD68828-5C95-4E00-8364-F33EF7FEBCEA}"/>
                </a:ext>
              </a:extLst>
            </p:cNvPr>
            <p:cNvCxnSpPr/>
            <p:nvPr/>
          </p:nvCxnSpPr>
          <p:spPr>
            <a:xfrm>
              <a:off x="0" y="3500438"/>
              <a:ext cx="121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04" name="Group 203">
            <a:extLst>
              <a:ext uri="{FF2B5EF4-FFF2-40B4-BE49-F238E27FC236}">
                <a16:creationId xmlns:a16="http://schemas.microsoft.com/office/drawing/2014/main" id="{406BE3A1-8B9A-4FB0-871D-CB171C0DBF20}"/>
              </a:ext>
            </a:extLst>
          </p:cNvPr>
          <p:cNvGrpSpPr/>
          <p:nvPr/>
        </p:nvGrpSpPr>
        <p:grpSpPr>
          <a:xfrm>
            <a:off x="8275956" y="914662"/>
            <a:ext cx="904874" cy="178676"/>
            <a:chOff x="9164037" y="693683"/>
            <a:chExt cx="904874" cy="178676"/>
          </a:xfrm>
        </p:grpSpPr>
        <p:sp>
          <p:nvSpPr>
            <p:cNvPr id="205" name="Rectangle 204">
              <a:extLst>
                <a:ext uri="{FF2B5EF4-FFF2-40B4-BE49-F238E27FC236}">
                  <a16:creationId xmlns:a16="http://schemas.microsoft.com/office/drawing/2014/main" id="{99AE9A55-3137-4A88-A5AC-4165104479F7}"/>
                </a:ext>
              </a:extLst>
            </p:cNvPr>
            <p:cNvSpPr/>
            <p:nvPr/>
          </p:nvSpPr>
          <p:spPr>
            <a:xfrm>
              <a:off x="9164037" y="693683"/>
              <a:ext cx="169149" cy="1786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06" name="TextBox 205">
              <a:extLst>
                <a:ext uri="{FF2B5EF4-FFF2-40B4-BE49-F238E27FC236}">
                  <a16:creationId xmlns:a16="http://schemas.microsoft.com/office/drawing/2014/main" id="{B4389987-3803-4294-8AE9-D32C29FA4746}"/>
                </a:ext>
              </a:extLst>
            </p:cNvPr>
            <p:cNvSpPr txBox="1"/>
            <p:nvPr/>
          </p:nvSpPr>
          <p:spPr>
            <a:xfrm>
              <a:off x="9467851" y="704193"/>
              <a:ext cx="601060" cy="168166"/>
            </a:xfrm>
            <a:prstGeom prst="rect">
              <a:avLst/>
            </a:prstGeom>
          </p:spPr>
          <p:txBody>
            <a:bodyPr vert="horz" wrap="square" lIns="0" tIns="0" rIns="0" bIns="0" rtlCol="0">
              <a:noAutofit/>
            </a:bodyPr>
            <a:lstStyle/>
            <a:p>
              <a:r>
                <a:rPr lang="en-AU" sz="1000"/>
                <a:t>Phase 1</a:t>
              </a:r>
            </a:p>
          </p:txBody>
        </p:sp>
      </p:grpSp>
      <p:grpSp>
        <p:nvGrpSpPr>
          <p:cNvPr id="207" name="Group 206">
            <a:extLst>
              <a:ext uri="{FF2B5EF4-FFF2-40B4-BE49-F238E27FC236}">
                <a16:creationId xmlns:a16="http://schemas.microsoft.com/office/drawing/2014/main" id="{D09E3076-E921-4CAB-90FB-3B1946B3D72E}"/>
              </a:ext>
            </a:extLst>
          </p:cNvPr>
          <p:cNvGrpSpPr/>
          <p:nvPr/>
        </p:nvGrpSpPr>
        <p:grpSpPr>
          <a:xfrm>
            <a:off x="9214692" y="914662"/>
            <a:ext cx="904874" cy="178676"/>
            <a:chOff x="9164037" y="693683"/>
            <a:chExt cx="904874" cy="178676"/>
          </a:xfrm>
        </p:grpSpPr>
        <p:sp>
          <p:nvSpPr>
            <p:cNvPr id="208" name="Rectangle 207">
              <a:extLst>
                <a:ext uri="{FF2B5EF4-FFF2-40B4-BE49-F238E27FC236}">
                  <a16:creationId xmlns:a16="http://schemas.microsoft.com/office/drawing/2014/main" id="{13DFC079-0E7D-466C-8DF8-9FBF36E3328D}"/>
                </a:ext>
              </a:extLst>
            </p:cNvPr>
            <p:cNvSpPr/>
            <p:nvPr/>
          </p:nvSpPr>
          <p:spPr>
            <a:xfrm>
              <a:off x="9164037" y="693683"/>
              <a:ext cx="169149" cy="1786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09" name="TextBox 208">
              <a:extLst>
                <a:ext uri="{FF2B5EF4-FFF2-40B4-BE49-F238E27FC236}">
                  <a16:creationId xmlns:a16="http://schemas.microsoft.com/office/drawing/2014/main" id="{B82D1411-E328-4165-9F9B-D8BEC80FC4BB}"/>
                </a:ext>
              </a:extLst>
            </p:cNvPr>
            <p:cNvSpPr txBox="1"/>
            <p:nvPr/>
          </p:nvSpPr>
          <p:spPr>
            <a:xfrm>
              <a:off x="9467851" y="704193"/>
              <a:ext cx="601060" cy="168166"/>
            </a:xfrm>
            <a:prstGeom prst="rect">
              <a:avLst/>
            </a:prstGeom>
          </p:spPr>
          <p:txBody>
            <a:bodyPr vert="horz" wrap="square" lIns="0" tIns="0" rIns="0" bIns="0" rtlCol="0">
              <a:noAutofit/>
            </a:bodyPr>
            <a:lstStyle/>
            <a:p>
              <a:r>
                <a:rPr lang="en-AU" sz="1000"/>
                <a:t>Phase 2</a:t>
              </a:r>
            </a:p>
          </p:txBody>
        </p:sp>
      </p:grpSp>
      <p:grpSp>
        <p:nvGrpSpPr>
          <p:cNvPr id="210" name="Group 209">
            <a:extLst>
              <a:ext uri="{FF2B5EF4-FFF2-40B4-BE49-F238E27FC236}">
                <a16:creationId xmlns:a16="http://schemas.microsoft.com/office/drawing/2014/main" id="{A855C3DF-9E76-4F7B-8A66-8F1ADF7121CF}"/>
              </a:ext>
            </a:extLst>
          </p:cNvPr>
          <p:cNvGrpSpPr/>
          <p:nvPr/>
        </p:nvGrpSpPr>
        <p:grpSpPr>
          <a:xfrm>
            <a:off x="10153428" y="914662"/>
            <a:ext cx="904874" cy="178676"/>
            <a:chOff x="9164037" y="693683"/>
            <a:chExt cx="904874" cy="178676"/>
          </a:xfrm>
        </p:grpSpPr>
        <p:sp>
          <p:nvSpPr>
            <p:cNvPr id="211" name="Rectangle 210">
              <a:extLst>
                <a:ext uri="{FF2B5EF4-FFF2-40B4-BE49-F238E27FC236}">
                  <a16:creationId xmlns:a16="http://schemas.microsoft.com/office/drawing/2014/main" id="{6BA69122-F1F5-492D-913D-16B607080339}"/>
                </a:ext>
              </a:extLst>
            </p:cNvPr>
            <p:cNvSpPr/>
            <p:nvPr/>
          </p:nvSpPr>
          <p:spPr>
            <a:xfrm>
              <a:off x="9164037" y="693683"/>
              <a:ext cx="169149" cy="17867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12" name="TextBox 211">
              <a:extLst>
                <a:ext uri="{FF2B5EF4-FFF2-40B4-BE49-F238E27FC236}">
                  <a16:creationId xmlns:a16="http://schemas.microsoft.com/office/drawing/2014/main" id="{967D3E2A-A057-4A37-AFEC-5196FE584C60}"/>
                </a:ext>
              </a:extLst>
            </p:cNvPr>
            <p:cNvSpPr txBox="1"/>
            <p:nvPr/>
          </p:nvSpPr>
          <p:spPr>
            <a:xfrm>
              <a:off x="9467851" y="704193"/>
              <a:ext cx="601060" cy="168166"/>
            </a:xfrm>
            <a:prstGeom prst="rect">
              <a:avLst/>
            </a:prstGeom>
          </p:spPr>
          <p:txBody>
            <a:bodyPr vert="horz" wrap="square" lIns="0" tIns="0" rIns="0" bIns="0" rtlCol="0">
              <a:noAutofit/>
            </a:bodyPr>
            <a:lstStyle/>
            <a:p>
              <a:r>
                <a:rPr lang="en-AU" sz="1000"/>
                <a:t>Phase 3</a:t>
              </a:r>
            </a:p>
          </p:txBody>
        </p:sp>
      </p:grpSp>
      <p:grpSp>
        <p:nvGrpSpPr>
          <p:cNvPr id="213" name="Group 212">
            <a:extLst>
              <a:ext uri="{FF2B5EF4-FFF2-40B4-BE49-F238E27FC236}">
                <a16:creationId xmlns:a16="http://schemas.microsoft.com/office/drawing/2014/main" id="{3B5C0B51-C2B6-453D-8A7A-2952CFEABD11}"/>
              </a:ext>
            </a:extLst>
          </p:cNvPr>
          <p:cNvGrpSpPr/>
          <p:nvPr/>
        </p:nvGrpSpPr>
        <p:grpSpPr>
          <a:xfrm>
            <a:off x="11092164" y="914662"/>
            <a:ext cx="904874" cy="178676"/>
            <a:chOff x="9164037" y="693683"/>
            <a:chExt cx="904874" cy="178676"/>
          </a:xfrm>
        </p:grpSpPr>
        <p:sp>
          <p:nvSpPr>
            <p:cNvPr id="214" name="Rectangle 213">
              <a:extLst>
                <a:ext uri="{FF2B5EF4-FFF2-40B4-BE49-F238E27FC236}">
                  <a16:creationId xmlns:a16="http://schemas.microsoft.com/office/drawing/2014/main" id="{3D7026AD-9BE2-4758-8027-8EDDA8BBE7C1}"/>
                </a:ext>
              </a:extLst>
            </p:cNvPr>
            <p:cNvSpPr/>
            <p:nvPr/>
          </p:nvSpPr>
          <p:spPr>
            <a:xfrm>
              <a:off x="9164037" y="693683"/>
              <a:ext cx="169149" cy="178676"/>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15" name="TextBox 214">
              <a:extLst>
                <a:ext uri="{FF2B5EF4-FFF2-40B4-BE49-F238E27FC236}">
                  <a16:creationId xmlns:a16="http://schemas.microsoft.com/office/drawing/2014/main" id="{696878CE-4716-4AE2-898F-F873215B398C}"/>
                </a:ext>
              </a:extLst>
            </p:cNvPr>
            <p:cNvSpPr txBox="1"/>
            <p:nvPr/>
          </p:nvSpPr>
          <p:spPr>
            <a:xfrm>
              <a:off x="9467851" y="704193"/>
              <a:ext cx="601060" cy="168166"/>
            </a:xfrm>
            <a:prstGeom prst="rect">
              <a:avLst/>
            </a:prstGeom>
          </p:spPr>
          <p:txBody>
            <a:bodyPr vert="horz" wrap="square" lIns="0" tIns="0" rIns="0" bIns="0" rtlCol="0">
              <a:noAutofit/>
            </a:bodyPr>
            <a:lstStyle/>
            <a:p>
              <a:r>
                <a:rPr lang="en-AU" sz="1000"/>
                <a:t>Phase 4</a:t>
              </a:r>
            </a:p>
          </p:txBody>
        </p:sp>
      </p:grpSp>
    </p:spTree>
    <p:extLst>
      <p:ext uri="{BB962C8B-B14F-4D97-AF65-F5344CB8AC3E}">
        <p14:creationId xmlns:p14="http://schemas.microsoft.com/office/powerpoint/2010/main" val="16384465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4B95A-D9A0-3946-94E7-DFBF0E4EA89D}"/>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C1813216-4F44-0344-882E-D89AEC9818C2}"/>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999081020"/>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A15787-62BC-469B-8861-8C84BB2D172E}"/>
              </a:ext>
            </a:extLst>
          </p:cNvPr>
          <p:cNvSpPr>
            <a:spLocks noGrp="1"/>
          </p:cNvSpPr>
          <p:nvPr>
            <p:ph type="title"/>
          </p:nvPr>
        </p:nvSpPr>
        <p:spPr/>
        <p:txBody>
          <a:bodyPr/>
          <a:lstStyle/>
          <a:p>
            <a:r>
              <a:rPr lang="en-US" dirty="0"/>
              <a:t>Gantt Chart 3</a:t>
            </a:r>
          </a:p>
        </p:txBody>
      </p:sp>
      <p:sp>
        <p:nvSpPr>
          <p:cNvPr id="5" name="Freeform: Shape 4">
            <a:hlinkClick r:id="rId5"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5" action="ppaction://hlinksldjump"/>
            <a:extLst>
              <a:ext uri="{FF2B5EF4-FFF2-40B4-BE49-F238E27FC236}">
                <a16:creationId xmlns:a16="http://schemas.microsoft.com/office/drawing/2014/main" id="{16A73E14-ED2D-4DD0-AFF5-9E35CA548A5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7" name="Group 26">
            <a:extLst>
              <a:ext uri="{FF2B5EF4-FFF2-40B4-BE49-F238E27FC236}">
                <a16:creationId xmlns:a16="http://schemas.microsoft.com/office/drawing/2014/main" id="{4BF30D5C-4051-4AF1-AB21-78C43F10D27B}"/>
              </a:ext>
            </a:extLst>
          </p:cNvPr>
          <p:cNvGrpSpPr/>
          <p:nvPr/>
        </p:nvGrpSpPr>
        <p:grpSpPr>
          <a:xfrm>
            <a:off x="-1" y="1527605"/>
            <a:ext cx="11855450" cy="4365823"/>
            <a:chOff x="-1" y="1991116"/>
            <a:chExt cx="11855450" cy="4174884"/>
          </a:xfrm>
        </p:grpSpPr>
        <p:sp>
          <p:nvSpPr>
            <p:cNvPr id="28" name="Rectangle 27">
              <a:extLst>
                <a:ext uri="{FF2B5EF4-FFF2-40B4-BE49-F238E27FC236}">
                  <a16:creationId xmlns:a16="http://schemas.microsoft.com/office/drawing/2014/main" id="{3252195D-4781-407F-A48B-38B5DF86FF22}"/>
                </a:ext>
              </a:extLst>
            </p:cNvPr>
            <p:cNvSpPr/>
            <p:nvPr/>
          </p:nvSpPr>
          <p:spPr>
            <a:xfrm>
              <a:off x="0" y="1991117"/>
              <a:ext cx="11855449" cy="4174883"/>
            </a:xfrm>
            <a:prstGeom prst="rect">
              <a:avLst/>
            </a:prstGeom>
            <a:pattFill prst="wdUpDiag">
              <a:fgClr>
                <a:schemeClr val="bg1">
                  <a:lumMod val="9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E6179015-19C0-4C01-BC07-15C2730B5A9F}"/>
                </a:ext>
              </a:extLst>
            </p:cNvPr>
            <p:cNvSpPr/>
            <p:nvPr/>
          </p:nvSpPr>
          <p:spPr>
            <a:xfrm>
              <a:off x="-1" y="1991116"/>
              <a:ext cx="4455994" cy="41748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30" name="Table 29">
            <a:extLst>
              <a:ext uri="{FF2B5EF4-FFF2-40B4-BE49-F238E27FC236}">
                <a16:creationId xmlns:a16="http://schemas.microsoft.com/office/drawing/2014/main" id="{225E7DF1-1F0F-438D-A5F6-76AE1E731E89}"/>
              </a:ext>
            </a:extLst>
          </p:cNvPr>
          <p:cNvGraphicFramePr>
            <a:graphicFrameLocks noGrp="1"/>
          </p:cNvGraphicFramePr>
          <p:nvPr>
            <p:extLst>
              <p:ext uri="{D42A27DB-BD31-4B8C-83A1-F6EECF244321}">
                <p14:modId xmlns:p14="http://schemas.microsoft.com/office/powerpoint/2010/main" val="2983738511"/>
              </p:ext>
            </p:extLst>
          </p:nvPr>
        </p:nvGraphicFramePr>
        <p:xfrm>
          <a:off x="334963" y="1207908"/>
          <a:ext cx="11520487" cy="4681413"/>
        </p:xfrm>
        <a:graphic>
          <a:graphicData uri="http://schemas.openxmlformats.org/drawingml/2006/table">
            <a:tbl>
              <a:tblPr firstRow="1" bandRow="1">
                <a:tableStyleId>{5C22544A-7EE6-4342-B048-85BDC9FD1C3A}</a:tableStyleId>
              </a:tblPr>
              <a:tblGrid>
                <a:gridCol w="4110913">
                  <a:extLst>
                    <a:ext uri="{9D8B030D-6E8A-4147-A177-3AD203B41FA5}">
                      <a16:colId xmlns:a16="http://schemas.microsoft.com/office/drawing/2014/main" val="3698304851"/>
                    </a:ext>
                  </a:extLst>
                </a:gridCol>
                <a:gridCol w="1234929">
                  <a:extLst>
                    <a:ext uri="{9D8B030D-6E8A-4147-A177-3AD203B41FA5}">
                      <a16:colId xmlns:a16="http://schemas.microsoft.com/office/drawing/2014/main" val="2422821095"/>
                    </a:ext>
                  </a:extLst>
                </a:gridCol>
                <a:gridCol w="1234929">
                  <a:extLst>
                    <a:ext uri="{9D8B030D-6E8A-4147-A177-3AD203B41FA5}">
                      <a16:colId xmlns:a16="http://schemas.microsoft.com/office/drawing/2014/main" val="55153618"/>
                    </a:ext>
                  </a:extLst>
                </a:gridCol>
                <a:gridCol w="1234929">
                  <a:extLst>
                    <a:ext uri="{9D8B030D-6E8A-4147-A177-3AD203B41FA5}">
                      <a16:colId xmlns:a16="http://schemas.microsoft.com/office/drawing/2014/main" val="3283457396"/>
                    </a:ext>
                  </a:extLst>
                </a:gridCol>
                <a:gridCol w="1234929">
                  <a:extLst>
                    <a:ext uri="{9D8B030D-6E8A-4147-A177-3AD203B41FA5}">
                      <a16:colId xmlns:a16="http://schemas.microsoft.com/office/drawing/2014/main" val="2255681718"/>
                    </a:ext>
                  </a:extLst>
                </a:gridCol>
                <a:gridCol w="1234929">
                  <a:extLst>
                    <a:ext uri="{9D8B030D-6E8A-4147-A177-3AD203B41FA5}">
                      <a16:colId xmlns:a16="http://schemas.microsoft.com/office/drawing/2014/main" val="99406314"/>
                    </a:ext>
                  </a:extLst>
                </a:gridCol>
                <a:gridCol w="1234929">
                  <a:extLst>
                    <a:ext uri="{9D8B030D-6E8A-4147-A177-3AD203B41FA5}">
                      <a16:colId xmlns:a16="http://schemas.microsoft.com/office/drawing/2014/main" val="3371254486"/>
                    </a:ext>
                  </a:extLst>
                </a:gridCol>
              </a:tblGrid>
              <a:tr h="292293">
                <a:tc>
                  <a:txBody>
                    <a:bodyPr/>
                    <a:lstStyle/>
                    <a:p>
                      <a:endParaRPr lang="en-GB" sz="900" dirty="0"/>
                    </a:p>
                  </a:txBody>
                  <a:tcPr anchor="ctr">
                    <a:noFill/>
                  </a:tcPr>
                </a:tc>
                <a:tc>
                  <a:txBody>
                    <a:bodyPr/>
                    <a:lstStyle/>
                    <a:p>
                      <a:pPr algn="ctr"/>
                      <a:r>
                        <a:rPr lang="en-AU" sz="1200" cap="none" baseline="0" dirty="0">
                          <a:latin typeface="+mj-lt"/>
                        </a:rPr>
                        <a:t>Jan</a:t>
                      </a:r>
                      <a:endParaRPr lang="en-GB" sz="1200" cap="none" baseline="0" dirty="0">
                        <a:latin typeface="+mj-lt"/>
                      </a:endParaRPr>
                    </a:p>
                  </a:txBody>
                  <a:tcPr marT="36000" marB="36000" anchor="ctr">
                    <a:solidFill>
                      <a:schemeClr val="accent5"/>
                    </a:solidFill>
                  </a:tcPr>
                </a:tc>
                <a:tc>
                  <a:txBody>
                    <a:bodyPr/>
                    <a:lstStyle/>
                    <a:p>
                      <a:pPr algn="ctr"/>
                      <a:r>
                        <a:rPr lang="en-US" sz="1200" b="1" cap="none" baseline="0" dirty="0">
                          <a:solidFill>
                            <a:schemeClr val="bg1"/>
                          </a:solidFill>
                          <a:latin typeface="+mj-lt"/>
                        </a:rPr>
                        <a:t>Feb</a:t>
                      </a:r>
                      <a:endParaRPr lang="en-GB" sz="1200" cap="none" baseline="0" dirty="0">
                        <a:latin typeface="+mj-lt"/>
                      </a:endParaRPr>
                    </a:p>
                  </a:txBody>
                  <a:tcPr marT="36000" marB="36000" anchor="ctr">
                    <a:solidFill>
                      <a:schemeClr val="accent5"/>
                    </a:solidFill>
                  </a:tcPr>
                </a:tc>
                <a:tc>
                  <a:txBody>
                    <a:bodyPr/>
                    <a:lstStyle/>
                    <a:p>
                      <a:pPr algn="ctr"/>
                      <a:r>
                        <a:rPr lang="en-US" sz="1200" b="1" cap="none" baseline="0" dirty="0">
                          <a:solidFill>
                            <a:schemeClr val="bg1"/>
                          </a:solidFill>
                          <a:latin typeface="+mj-lt"/>
                        </a:rPr>
                        <a:t>Mar</a:t>
                      </a:r>
                      <a:endParaRPr lang="en-GB" sz="1200" cap="none" baseline="0" dirty="0">
                        <a:latin typeface="+mj-lt"/>
                      </a:endParaRPr>
                    </a:p>
                  </a:txBody>
                  <a:tcPr marT="36000" marB="36000" anchor="ctr">
                    <a:solidFill>
                      <a:schemeClr val="accent5"/>
                    </a:solidFill>
                  </a:tcPr>
                </a:tc>
                <a:tc>
                  <a:txBody>
                    <a:bodyPr/>
                    <a:lstStyle/>
                    <a:p>
                      <a:pPr marL="0" marR="0" lvl="0" indent="0" algn="ctr" defTabSz="1734634" rtl="0" eaLnBrk="1" fontAlgn="auto" latinLnBrk="0" hangingPunct="1">
                        <a:lnSpc>
                          <a:spcPct val="100000"/>
                        </a:lnSpc>
                        <a:spcBef>
                          <a:spcPts val="0"/>
                        </a:spcBef>
                        <a:spcAft>
                          <a:spcPts val="0"/>
                        </a:spcAft>
                        <a:buClrTx/>
                        <a:buSzTx/>
                        <a:buFontTx/>
                        <a:buNone/>
                        <a:tabLst/>
                        <a:defRPr/>
                      </a:pPr>
                      <a:r>
                        <a:rPr lang="en-US" sz="1200" b="1" cap="none" baseline="0" dirty="0">
                          <a:solidFill>
                            <a:schemeClr val="bg1"/>
                          </a:solidFill>
                          <a:latin typeface="+mj-lt"/>
                        </a:rPr>
                        <a:t>Apr</a:t>
                      </a:r>
                    </a:p>
                  </a:txBody>
                  <a:tcPr marT="36000" marB="36000" anchor="ctr">
                    <a:solidFill>
                      <a:schemeClr val="accent5"/>
                    </a:solidFill>
                  </a:tcPr>
                </a:tc>
                <a:tc>
                  <a:txBody>
                    <a:bodyPr/>
                    <a:lstStyle/>
                    <a:p>
                      <a:pPr algn="ctr"/>
                      <a:r>
                        <a:rPr lang="en-US" sz="1200" b="1" cap="none" baseline="0" dirty="0">
                          <a:solidFill>
                            <a:schemeClr val="bg1"/>
                          </a:solidFill>
                          <a:latin typeface="+mj-lt"/>
                        </a:rPr>
                        <a:t>May</a:t>
                      </a:r>
                      <a:endParaRPr lang="en-GB" sz="1200" cap="none" baseline="0" dirty="0">
                        <a:latin typeface="+mj-lt"/>
                      </a:endParaRPr>
                    </a:p>
                  </a:txBody>
                  <a:tcPr marT="36000" marB="36000" anchor="ctr">
                    <a:solidFill>
                      <a:schemeClr val="accent5"/>
                    </a:solidFill>
                  </a:tcPr>
                </a:tc>
                <a:tc>
                  <a:txBody>
                    <a:bodyPr/>
                    <a:lstStyle/>
                    <a:p>
                      <a:pPr algn="ctr"/>
                      <a:r>
                        <a:rPr lang="en-US" sz="1200" b="1" cap="none" baseline="0" dirty="0">
                          <a:solidFill>
                            <a:schemeClr val="bg1"/>
                          </a:solidFill>
                          <a:latin typeface="+mj-lt"/>
                        </a:rPr>
                        <a:t>Jun</a:t>
                      </a:r>
                      <a:endParaRPr lang="en-GB" sz="1200" cap="none" baseline="0" dirty="0">
                        <a:latin typeface="+mj-lt"/>
                      </a:endParaRPr>
                    </a:p>
                  </a:txBody>
                  <a:tcPr marT="36000" marB="36000" anchor="ctr">
                    <a:solidFill>
                      <a:schemeClr val="accent5"/>
                    </a:solidFill>
                  </a:tcPr>
                </a:tc>
                <a:extLst>
                  <a:ext uri="{0D108BD9-81ED-4DB2-BD59-A6C34878D82A}">
                    <a16:rowId xmlns:a16="http://schemas.microsoft.com/office/drawing/2014/main" val="254855395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100 phase 1</a:t>
                      </a:r>
                      <a:endParaRPr lang="en-US" sz="1200" cap="none" baseline="0" dirty="0">
                        <a:latin typeface="+mj-lt"/>
                      </a:endParaRPr>
                    </a:p>
                  </a:txBody>
                  <a:tcPr marL="0"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tc>
                  <a:txBody>
                    <a:bodyPr/>
                    <a:lstStyle/>
                    <a:p>
                      <a:endParaRPr lang="en-GB" sz="900" dirty="0"/>
                    </a:p>
                  </a:txBody>
                  <a:tcPr anchor="ctr">
                    <a:lnB w="12700" cap="flat" cmpd="sng" algn="ctr">
                      <a:noFill/>
                      <a:prstDash val="solid"/>
                      <a:round/>
                      <a:headEnd type="none" w="med" len="med"/>
                      <a:tailEnd type="none" w="med" len="med"/>
                    </a:lnB>
                    <a:noFill/>
                  </a:tcPr>
                </a:tc>
                <a:extLst>
                  <a:ext uri="{0D108BD9-81ED-4DB2-BD59-A6C34878D82A}">
                    <a16:rowId xmlns:a16="http://schemas.microsoft.com/office/drawing/2014/main" val="343655616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5472823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1932937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90573348"/>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10792786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200 phase 2</a:t>
                      </a:r>
                      <a:endParaRPr lang="en-US" sz="1200" cap="none" baseline="0" dirty="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31469834"/>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3457318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5408781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27980715"/>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15448543"/>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300 phase 3</a:t>
                      </a:r>
                      <a:endParaRPr lang="en-US" sz="1200" cap="none" baseline="0" dirty="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8948501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88100610"/>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16655884"/>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417631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79385901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kern="1200" cap="none" baseline="0" dirty="0">
                          <a:solidFill>
                            <a:schemeClr val="dk1"/>
                          </a:solidFill>
                          <a:latin typeface="+mj-lt"/>
                          <a:ea typeface="+mn-ea"/>
                          <a:cs typeface="+mn-cs"/>
                        </a:rPr>
                        <a:t>Key decision points</a:t>
                      </a:r>
                      <a:endParaRPr lang="en-US" sz="1200" kern="1200" cap="none" baseline="0" dirty="0">
                        <a:solidFill>
                          <a:schemeClr val="dk1"/>
                        </a:solidFill>
                        <a:latin typeface="+mj-lt"/>
                        <a:ea typeface="+mn-ea"/>
                        <a:cs typeface="+mn-cs"/>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501114773"/>
                  </a:ext>
                </a:extLst>
              </a:tr>
            </a:tbl>
          </a:graphicData>
        </a:graphic>
      </p:graphicFrame>
      <p:sp>
        <p:nvSpPr>
          <p:cNvPr id="31" name="Rectangle 30">
            <a:extLst>
              <a:ext uri="{FF2B5EF4-FFF2-40B4-BE49-F238E27FC236}">
                <a16:creationId xmlns:a16="http://schemas.microsoft.com/office/drawing/2014/main" id="{249FC25A-B0A7-4151-81EE-67B7C981DD72}"/>
              </a:ext>
            </a:extLst>
          </p:cNvPr>
          <p:cNvSpPr/>
          <p:nvPr/>
        </p:nvSpPr>
        <p:spPr>
          <a:xfrm>
            <a:off x="4455994" y="1527605"/>
            <a:ext cx="4101328" cy="2103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E0E2DD5D-40F3-439A-88EC-27B970CB4284}"/>
              </a:ext>
            </a:extLst>
          </p:cNvPr>
          <p:cNvSpPr/>
          <p:nvPr/>
        </p:nvSpPr>
        <p:spPr>
          <a:xfrm>
            <a:off x="4455994" y="1806315"/>
            <a:ext cx="1751128"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C00F772B-1167-437A-8693-D824BC3DE78A}"/>
              </a:ext>
            </a:extLst>
          </p:cNvPr>
          <p:cNvSpPr/>
          <p:nvPr/>
        </p:nvSpPr>
        <p:spPr>
          <a:xfrm>
            <a:off x="5000552" y="2085025"/>
            <a:ext cx="1584198"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35954CFE-8A75-4578-804E-A91E6C3A4AA6}"/>
              </a:ext>
            </a:extLst>
          </p:cNvPr>
          <p:cNvSpPr/>
          <p:nvPr/>
        </p:nvSpPr>
        <p:spPr>
          <a:xfrm>
            <a:off x="5453398" y="2363735"/>
            <a:ext cx="1300210"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3A9496AD-FBF1-4A22-BB67-372C165526C3}"/>
              </a:ext>
            </a:extLst>
          </p:cNvPr>
          <p:cNvSpPr/>
          <p:nvPr/>
        </p:nvSpPr>
        <p:spPr>
          <a:xfrm>
            <a:off x="6022914" y="2642445"/>
            <a:ext cx="1317093"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6C67E023-3926-48B4-BC22-40A0D32C5955}"/>
              </a:ext>
            </a:extLst>
          </p:cNvPr>
          <p:cNvSpPr/>
          <p:nvPr/>
        </p:nvSpPr>
        <p:spPr>
          <a:xfrm>
            <a:off x="5453397" y="2929864"/>
            <a:ext cx="5681148" cy="21030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7F3333EF-7CEE-49CD-A3CB-BF08D3D0A27B}"/>
              </a:ext>
            </a:extLst>
          </p:cNvPr>
          <p:cNvSpPr/>
          <p:nvPr/>
        </p:nvSpPr>
        <p:spPr>
          <a:xfrm>
            <a:off x="5453397" y="3208574"/>
            <a:ext cx="2142022"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4362EF1B-1D00-4F57-816E-968409E7EC6C}"/>
              </a:ext>
            </a:extLst>
          </p:cNvPr>
          <p:cNvSpPr/>
          <p:nvPr/>
        </p:nvSpPr>
        <p:spPr>
          <a:xfrm>
            <a:off x="7340007" y="3487284"/>
            <a:ext cx="1619638"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99EABFBF-43F2-4A5F-9B4C-BBD39119BE6A}"/>
              </a:ext>
            </a:extLst>
          </p:cNvPr>
          <p:cNvSpPr/>
          <p:nvPr/>
        </p:nvSpPr>
        <p:spPr>
          <a:xfrm>
            <a:off x="8503425" y="3765994"/>
            <a:ext cx="1805698"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6BBAD3FB-A3FE-4E46-AECB-797B8DF3D795}"/>
              </a:ext>
            </a:extLst>
          </p:cNvPr>
          <p:cNvSpPr/>
          <p:nvPr/>
        </p:nvSpPr>
        <p:spPr>
          <a:xfrm>
            <a:off x="9036021" y="4044704"/>
            <a:ext cx="2098523"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45EF8347-188E-48EC-BD5C-AA21CC2EED9C}"/>
              </a:ext>
            </a:extLst>
          </p:cNvPr>
          <p:cNvSpPr/>
          <p:nvPr/>
        </p:nvSpPr>
        <p:spPr>
          <a:xfrm>
            <a:off x="7410450" y="4314705"/>
            <a:ext cx="4445000"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B3623AA3-2C0B-49C1-B9F1-A922AF4F2050}"/>
              </a:ext>
            </a:extLst>
          </p:cNvPr>
          <p:cNvSpPr/>
          <p:nvPr/>
        </p:nvSpPr>
        <p:spPr>
          <a:xfrm>
            <a:off x="7410450" y="4593415"/>
            <a:ext cx="1549195"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861A5CC7-68DC-4AD2-BDFB-1CA6C6685456}"/>
              </a:ext>
            </a:extLst>
          </p:cNvPr>
          <p:cNvSpPr/>
          <p:nvPr/>
        </p:nvSpPr>
        <p:spPr>
          <a:xfrm>
            <a:off x="8503426" y="4872125"/>
            <a:ext cx="1503354"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174FADB8-A6C4-43E0-9F27-5C8A86C532DF}"/>
              </a:ext>
            </a:extLst>
          </p:cNvPr>
          <p:cNvSpPr/>
          <p:nvPr/>
        </p:nvSpPr>
        <p:spPr>
          <a:xfrm>
            <a:off x="9632950" y="5150835"/>
            <a:ext cx="1318800"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C85249FA-B674-4A20-8715-6E6820620FFD}"/>
              </a:ext>
            </a:extLst>
          </p:cNvPr>
          <p:cNvSpPr/>
          <p:nvPr/>
        </p:nvSpPr>
        <p:spPr>
          <a:xfrm>
            <a:off x="10132142" y="5429552"/>
            <a:ext cx="1723307"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Text Box 4">
            <a:extLst>
              <a:ext uri="{FF2B5EF4-FFF2-40B4-BE49-F238E27FC236}">
                <a16:creationId xmlns:a16="http://schemas.microsoft.com/office/drawing/2014/main" id="{B315F46B-D226-4C03-A32A-FA9668844D56}"/>
              </a:ext>
            </a:extLst>
          </p:cNvPr>
          <p:cNvSpPr txBox="1">
            <a:spLocks noChangeArrowheads="1"/>
          </p:cNvSpPr>
          <p:nvPr>
            <p:custDataLst>
              <p:tags r:id="rId1"/>
            </p:custDataLst>
          </p:nvPr>
        </p:nvSpPr>
        <p:spPr bwMode="auto">
          <a:xfrm>
            <a:off x="7253097" y="5628832"/>
            <a:ext cx="902624" cy="523220"/>
          </a:xfrm>
          <a:prstGeom prst="rect">
            <a:avLst/>
          </a:prstGeom>
          <a:noFill/>
          <a:ln w="6350">
            <a:noFill/>
            <a:miter lim="800000"/>
            <a:headEnd/>
            <a:tailEnd/>
          </a:ln>
          <a:effectLst/>
        </p:spPr>
        <p:txBody>
          <a:bodyPr>
            <a:spAutoFit/>
          </a:bodyPr>
          <a:lstStyle/>
          <a:p>
            <a:pPr eaLnBrk="0" hangingPunct="0">
              <a:spcBef>
                <a:spcPct val="0"/>
              </a:spcBef>
              <a:buClr>
                <a:schemeClr val="accent6"/>
              </a:buClr>
              <a:buFont typeface="Wingdings" pitchFamily="2" charset="2"/>
              <a:buChar char="u"/>
            </a:pPr>
            <a:r>
              <a:rPr lang="en-US" sz="1400" dirty="0">
                <a:solidFill>
                  <a:schemeClr val="tx1"/>
                </a:solidFill>
              </a:rPr>
              <a:t> </a:t>
            </a:r>
            <a:endParaRPr lang="en-US" sz="1400" dirty="0"/>
          </a:p>
          <a:p>
            <a:pPr eaLnBrk="0" hangingPunct="0">
              <a:spcBef>
                <a:spcPct val="0"/>
              </a:spcBef>
              <a:buClr>
                <a:schemeClr val="accent6"/>
              </a:buClr>
            </a:pPr>
            <a:r>
              <a:rPr lang="en-US" sz="1400" dirty="0"/>
              <a:t>Date</a:t>
            </a:r>
            <a:endParaRPr lang="en-US" sz="1400" dirty="0">
              <a:solidFill>
                <a:schemeClr val="tx1"/>
              </a:solidFill>
            </a:endParaRPr>
          </a:p>
        </p:txBody>
      </p:sp>
      <p:sp>
        <p:nvSpPr>
          <p:cNvPr id="47" name="Text Box 5">
            <a:extLst>
              <a:ext uri="{FF2B5EF4-FFF2-40B4-BE49-F238E27FC236}">
                <a16:creationId xmlns:a16="http://schemas.microsoft.com/office/drawing/2014/main" id="{93DFE4ED-BED5-4FC0-BC50-91E1310BDCDB}"/>
              </a:ext>
            </a:extLst>
          </p:cNvPr>
          <p:cNvSpPr txBox="1">
            <a:spLocks noChangeArrowheads="1"/>
          </p:cNvSpPr>
          <p:nvPr>
            <p:custDataLst>
              <p:tags r:id="rId2"/>
            </p:custDataLst>
          </p:nvPr>
        </p:nvSpPr>
        <p:spPr bwMode="auto">
          <a:xfrm>
            <a:off x="8778973" y="5628832"/>
            <a:ext cx="905694" cy="523220"/>
          </a:xfrm>
          <a:prstGeom prst="rect">
            <a:avLst/>
          </a:prstGeom>
          <a:noFill/>
          <a:ln w="6350">
            <a:noFill/>
            <a:miter lim="800000"/>
            <a:headEnd/>
            <a:tailEnd/>
          </a:ln>
          <a:effectLst/>
        </p:spPr>
        <p:txBody>
          <a:bodyPr>
            <a:spAutoFit/>
          </a:bodyPr>
          <a:lstStyle/>
          <a:p>
            <a:pPr eaLnBrk="0" hangingPunct="0">
              <a:spcBef>
                <a:spcPct val="0"/>
              </a:spcBef>
              <a:buClr>
                <a:schemeClr val="accent6"/>
              </a:buClr>
              <a:buFont typeface="Wingdings" pitchFamily="2" charset="2"/>
              <a:buChar char="u"/>
            </a:pPr>
            <a:r>
              <a:rPr lang="en-US" sz="1400" dirty="0">
                <a:solidFill>
                  <a:schemeClr val="tx1"/>
                </a:solidFill>
              </a:rPr>
              <a:t> </a:t>
            </a:r>
          </a:p>
          <a:p>
            <a:pPr eaLnBrk="0" hangingPunct="0">
              <a:spcBef>
                <a:spcPct val="0"/>
              </a:spcBef>
              <a:buClr>
                <a:schemeClr val="accent6"/>
              </a:buClr>
            </a:pPr>
            <a:r>
              <a:rPr lang="en-US" sz="1400" dirty="0">
                <a:solidFill>
                  <a:schemeClr val="tx1"/>
                </a:solidFill>
              </a:rPr>
              <a:t>Date</a:t>
            </a:r>
          </a:p>
        </p:txBody>
      </p:sp>
    </p:spTree>
    <p:extLst>
      <p:ext uri="{BB962C8B-B14F-4D97-AF65-F5344CB8AC3E}">
        <p14:creationId xmlns:p14="http://schemas.microsoft.com/office/powerpoint/2010/main" val="475750216"/>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831BF9-C1A9-4605-B483-A332233A3017}"/>
              </a:ext>
            </a:extLst>
          </p:cNvPr>
          <p:cNvSpPr>
            <a:spLocks noGrp="1"/>
          </p:cNvSpPr>
          <p:nvPr>
            <p:ph type="title"/>
          </p:nvPr>
        </p:nvSpPr>
        <p:spPr/>
        <p:txBody>
          <a:bodyPr/>
          <a:lstStyle/>
          <a:p>
            <a:r>
              <a:rPr lang="en-US" dirty="0"/>
              <a:t>Gantt Chart 4</a:t>
            </a:r>
          </a:p>
        </p:txBody>
      </p:sp>
      <p:sp>
        <p:nvSpPr>
          <p:cNvPr id="5" name="Freeform: Shape 4">
            <a:hlinkClick r:id="rId5"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5" action="ppaction://hlinksldjump"/>
            <a:extLst>
              <a:ext uri="{FF2B5EF4-FFF2-40B4-BE49-F238E27FC236}">
                <a16:creationId xmlns:a16="http://schemas.microsoft.com/office/drawing/2014/main" id="{54C8BEE3-98E0-4A08-B009-6C5FF9E784D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3" name="Table 2">
            <a:extLst>
              <a:ext uri="{FF2B5EF4-FFF2-40B4-BE49-F238E27FC236}">
                <a16:creationId xmlns:a16="http://schemas.microsoft.com/office/drawing/2014/main" id="{8BA7E229-4E9D-469C-965C-2319CFD39AB1}"/>
              </a:ext>
            </a:extLst>
          </p:cNvPr>
          <p:cNvGraphicFramePr>
            <a:graphicFrameLocks noGrp="1"/>
          </p:cNvGraphicFramePr>
          <p:nvPr>
            <p:extLst>
              <p:ext uri="{D42A27DB-BD31-4B8C-83A1-F6EECF244321}">
                <p14:modId xmlns:p14="http://schemas.microsoft.com/office/powerpoint/2010/main" val="3557526480"/>
              </p:ext>
            </p:extLst>
          </p:nvPr>
        </p:nvGraphicFramePr>
        <p:xfrm>
          <a:off x="334963" y="1207908"/>
          <a:ext cx="11520487" cy="4681413"/>
        </p:xfrm>
        <a:graphic>
          <a:graphicData uri="http://schemas.openxmlformats.org/drawingml/2006/table">
            <a:tbl>
              <a:tblPr firstRow="1" bandRow="1">
                <a:tableStyleId>{5C22544A-7EE6-4342-B048-85BDC9FD1C3A}</a:tableStyleId>
              </a:tblPr>
              <a:tblGrid>
                <a:gridCol w="4110913">
                  <a:extLst>
                    <a:ext uri="{9D8B030D-6E8A-4147-A177-3AD203B41FA5}">
                      <a16:colId xmlns:a16="http://schemas.microsoft.com/office/drawing/2014/main" val="3698304851"/>
                    </a:ext>
                  </a:extLst>
                </a:gridCol>
                <a:gridCol w="1234929">
                  <a:extLst>
                    <a:ext uri="{9D8B030D-6E8A-4147-A177-3AD203B41FA5}">
                      <a16:colId xmlns:a16="http://schemas.microsoft.com/office/drawing/2014/main" val="2422821095"/>
                    </a:ext>
                  </a:extLst>
                </a:gridCol>
                <a:gridCol w="1234929">
                  <a:extLst>
                    <a:ext uri="{9D8B030D-6E8A-4147-A177-3AD203B41FA5}">
                      <a16:colId xmlns:a16="http://schemas.microsoft.com/office/drawing/2014/main" val="55153618"/>
                    </a:ext>
                  </a:extLst>
                </a:gridCol>
                <a:gridCol w="1234929">
                  <a:extLst>
                    <a:ext uri="{9D8B030D-6E8A-4147-A177-3AD203B41FA5}">
                      <a16:colId xmlns:a16="http://schemas.microsoft.com/office/drawing/2014/main" val="3283457396"/>
                    </a:ext>
                  </a:extLst>
                </a:gridCol>
                <a:gridCol w="1234929">
                  <a:extLst>
                    <a:ext uri="{9D8B030D-6E8A-4147-A177-3AD203B41FA5}">
                      <a16:colId xmlns:a16="http://schemas.microsoft.com/office/drawing/2014/main" val="2255681718"/>
                    </a:ext>
                  </a:extLst>
                </a:gridCol>
                <a:gridCol w="1234929">
                  <a:extLst>
                    <a:ext uri="{9D8B030D-6E8A-4147-A177-3AD203B41FA5}">
                      <a16:colId xmlns:a16="http://schemas.microsoft.com/office/drawing/2014/main" val="99406314"/>
                    </a:ext>
                  </a:extLst>
                </a:gridCol>
                <a:gridCol w="1234929">
                  <a:extLst>
                    <a:ext uri="{9D8B030D-6E8A-4147-A177-3AD203B41FA5}">
                      <a16:colId xmlns:a16="http://schemas.microsoft.com/office/drawing/2014/main" val="3371254486"/>
                    </a:ext>
                  </a:extLst>
                </a:gridCol>
              </a:tblGrid>
              <a:tr h="292293">
                <a:tc>
                  <a:txBody>
                    <a:bodyPr/>
                    <a:lstStyle/>
                    <a:p>
                      <a:endParaRPr lang="en-GB" sz="900" dirty="0"/>
                    </a:p>
                  </a:txBody>
                  <a:tcPr anchor="ctr">
                    <a:lnB w="12700" cap="flat" cmpd="sng" algn="ctr">
                      <a:solidFill>
                        <a:schemeClr val="tx1"/>
                      </a:solidFill>
                      <a:prstDash val="solid"/>
                      <a:round/>
                      <a:headEnd type="none" w="med" len="med"/>
                      <a:tailEnd type="none" w="med" len="med"/>
                    </a:lnB>
                    <a:noFill/>
                  </a:tcPr>
                </a:tc>
                <a:tc>
                  <a:txBody>
                    <a:bodyPr/>
                    <a:lstStyle/>
                    <a:p>
                      <a:pPr algn="ctr"/>
                      <a:r>
                        <a:rPr lang="en-AU" sz="1200" cap="none" baseline="0" dirty="0">
                          <a:solidFill>
                            <a:schemeClr val="tx1"/>
                          </a:solidFill>
                          <a:latin typeface="+mj-lt"/>
                        </a:rPr>
                        <a:t>Jan</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none" baseline="0" dirty="0">
                          <a:solidFill>
                            <a:schemeClr val="tx1"/>
                          </a:solidFill>
                          <a:latin typeface="+mj-lt"/>
                        </a:rPr>
                        <a:t>Feb</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none" baseline="0" dirty="0">
                          <a:solidFill>
                            <a:schemeClr val="tx1"/>
                          </a:solidFill>
                          <a:latin typeface="+mj-lt"/>
                        </a:rPr>
                        <a:t>Mar</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marL="0" marR="0" lvl="0" indent="0" algn="ctr" defTabSz="1734634" rtl="0" eaLnBrk="1" fontAlgn="auto" latinLnBrk="0" hangingPunct="1">
                        <a:lnSpc>
                          <a:spcPct val="100000"/>
                        </a:lnSpc>
                        <a:spcBef>
                          <a:spcPts val="0"/>
                        </a:spcBef>
                        <a:spcAft>
                          <a:spcPts val="0"/>
                        </a:spcAft>
                        <a:buClrTx/>
                        <a:buSzTx/>
                        <a:buFontTx/>
                        <a:buNone/>
                        <a:tabLst/>
                        <a:defRPr/>
                      </a:pPr>
                      <a:r>
                        <a:rPr lang="en-US" sz="1200" b="1" cap="none" baseline="0" dirty="0">
                          <a:solidFill>
                            <a:schemeClr val="tx1"/>
                          </a:solidFill>
                          <a:latin typeface="+mj-lt"/>
                        </a:rPr>
                        <a:t>Apr</a:t>
                      </a: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none" baseline="0" dirty="0">
                          <a:solidFill>
                            <a:schemeClr val="tx1"/>
                          </a:solidFill>
                          <a:latin typeface="+mj-lt"/>
                        </a:rPr>
                        <a:t>May</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none" baseline="0" dirty="0">
                          <a:solidFill>
                            <a:schemeClr val="tx1"/>
                          </a:solidFill>
                          <a:latin typeface="+mj-lt"/>
                        </a:rPr>
                        <a:t>Jun</a:t>
                      </a:r>
                      <a:endParaRPr lang="en-GB" sz="1200" cap="none" baseline="0" dirty="0">
                        <a:solidFill>
                          <a:schemeClr val="tx1"/>
                        </a:solidFill>
                        <a:latin typeface="+mj-lt"/>
                      </a:endParaRPr>
                    </a:p>
                  </a:txBody>
                  <a:tcPr marT="36000" marB="3600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855395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100 phase 1</a:t>
                      </a:r>
                      <a:endParaRPr lang="en-US" sz="1200" cap="none" baseline="0" dirty="0">
                        <a:latin typeface="+mj-lt"/>
                      </a:endParaRPr>
                    </a:p>
                  </a:txBody>
                  <a:tcPr marL="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3655616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5472823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1932937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90573348"/>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10792786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200 phase 2</a:t>
                      </a:r>
                      <a:endParaRPr lang="en-US" sz="1200" cap="none" baseline="0" dirty="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31469834"/>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3457318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5408781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27980715"/>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15448543"/>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none" baseline="0" dirty="0">
                          <a:latin typeface="+mj-lt"/>
                        </a:rPr>
                        <a:t>300 phase 3</a:t>
                      </a:r>
                      <a:endParaRPr lang="en-US" sz="1200" cap="none" baseline="0" dirty="0">
                        <a:latin typeface="+mj-lt"/>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8948501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88100610"/>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16655884"/>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417631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dirty="0"/>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79385901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kern="1200" cap="none" baseline="0" dirty="0">
                          <a:solidFill>
                            <a:schemeClr val="dk1"/>
                          </a:solidFill>
                          <a:latin typeface="+mj-lt"/>
                          <a:ea typeface="+mn-ea"/>
                          <a:cs typeface="+mn-cs"/>
                        </a:rPr>
                        <a:t>Key decision points</a:t>
                      </a:r>
                      <a:endParaRPr lang="en-US" sz="1200" kern="1200" cap="none" baseline="0" dirty="0">
                        <a:solidFill>
                          <a:schemeClr val="dk1"/>
                        </a:solidFill>
                        <a:latin typeface="+mj-lt"/>
                        <a:ea typeface="+mn-ea"/>
                        <a:cs typeface="+mn-cs"/>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dirty="0"/>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501114773"/>
                  </a:ext>
                </a:extLst>
              </a:tr>
            </a:tbl>
          </a:graphicData>
        </a:graphic>
      </p:graphicFrame>
      <p:sp>
        <p:nvSpPr>
          <p:cNvPr id="26" name="Rectangle 25">
            <a:extLst>
              <a:ext uri="{FF2B5EF4-FFF2-40B4-BE49-F238E27FC236}">
                <a16:creationId xmlns:a16="http://schemas.microsoft.com/office/drawing/2014/main" id="{1098560B-A401-4621-BC3A-1938863C9ADE}"/>
              </a:ext>
            </a:extLst>
          </p:cNvPr>
          <p:cNvSpPr/>
          <p:nvPr/>
        </p:nvSpPr>
        <p:spPr>
          <a:xfrm>
            <a:off x="4455994" y="1552657"/>
            <a:ext cx="4101328" cy="2103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C0F7775-2C1D-4C7F-8543-6307F8CE67DA}"/>
              </a:ext>
            </a:extLst>
          </p:cNvPr>
          <p:cNvSpPr/>
          <p:nvPr/>
        </p:nvSpPr>
        <p:spPr>
          <a:xfrm>
            <a:off x="4455994" y="1825104"/>
            <a:ext cx="1751128"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F74B3362-B999-47D0-9255-0CA81E236E67}"/>
              </a:ext>
            </a:extLst>
          </p:cNvPr>
          <p:cNvSpPr/>
          <p:nvPr/>
        </p:nvSpPr>
        <p:spPr>
          <a:xfrm>
            <a:off x="5000552" y="2097551"/>
            <a:ext cx="1584198"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3D63A6B1-188D-427D-AFA5-AE4015A34681}"/>
              </a:ext>
            </a:extLst>
          </p:cNvPr>
          <p:cNvSpPr/>
          <p:nvPr/>
        </p:nvSpPr>
        <p:spPr>
          <a:xfrm>
            <a:off x="5453398" y="2369998"/>
            <a:ext cx="1300210"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CD3EA462-3A15-42B8-A53C-56C51EEEEF77}"/>
              </a:ext>
            </a:extLst>
          </p:cNvPr>
          <p:cNvSpPr/>
          <p:nvPr/>
        </p:nvSpPr>
        <p:spPr>
          <a:xfrm>
            <a:off x="6022914" y="2642445"/>
            <a:ext cx="1317093" cy="21030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39C257FA-FBDE-481F-BBC1-38474F71410D}"/>
              </a:ext>
            </a:extLst>
          </p:cNvPr>
          <p:cNvSpPr/>
          <p:nvPr/>
        </p:nvSpPr>
        <p:spPr>
          <a:xfrm>
            <a:off x="5453397" y="2922897"/>
            <a:ext cx="5681148" cy="21030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9E21F7DA-1844-47FD-9FB7-929B9AC5E5B6}"/>
              </a:ext>
            </a:extLst>
          </p:cNvPr>
          <p:cNvSpPr/>
          <p:nvPr/>
        </p:nvSpPr>
        <p:spPr>
          <a:xfrm>
            <a:off x="5453397" y="3203349"/>
            <a:ext cx="2142022"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2325D245-5BB0-4AF7-BABE-D03C722EF39F}"/>
              </a:ext>
            </a:extLst>
          </p:cNvPr>
          <p:cNvSpPr/>
          <p:nvPr/>
        </p:nvSpPr>
        <p:spPr>
          <a:xfrm>
            <a:off x="7340007" y="3483801"/>
            <a:ext cx="1619638"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6E29D6A9-3C0D-4A78-87DE-29C88F7DD142}"/>
              </a:ext>
            </a:extLst>
          </p:cNvPr>
          <p:cNvSpPr/>
          <p:nvPr/>
        </p:nvSpPr>
        <p:spPr>
          <a:xfrm>
            <a:off x="8503425" y="3764253"/>
            <a:ext cx="1805698"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708667F1-A7FB-4CC6-9A3D-359854A74BFC}"/>
              </a:ext>
            </a:extLst>
          </p:cNvPr>
          <p:cNvSpPr/>
          <p:nvPr/>
        </p:nvSpPr>
        <p:spPr>
          <a:xfrm>
            <a:off x="9036021" y="4044704"/>
            <a:ext cx="2098523" cy="21030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2234C003-C5B4-49C5-9E4D-C3217A1E435A}"/>
              </a:ext>
            </a:extLst>
          </p:cNvPr>
          <p:cNvSpPr/>
          <p:nvPr/>
        </p:nvSpPr>
        <p:spPr>
          <a:xfrm>
            <a:off x="7410450" y="4314705"/>
            <a:ext cx="4445000" cy="21030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FA0274D9-25D9-47AC-81BA-9BA6D7009B64}"/>
              </a:ext>
            </a:extLst>
          </p:cNvPr>
          <p:cNvSpPr/>
          <p:nvPr/>
        </p:nvSpPr>
        <p:spPr>
          <a:xfrm>
            <a:off x="7410450" y="4593415"/>
            <a:ext cx="1549195"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2820D54E-00FD-4142-954A-E85E05E79A06}"/>
              </a:ext>
            </a:extLst>
          </p:cNvPr>
          <p:cNvSpPr/>
          <p:nvPr/>
        </p:nvSpPr>
        <p:spPr>
          <a:xfrm>
            <a:off x="8503426" y="4872125"/>
            <a:ext cx="1503354"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429A4623-5A7B-4B1B-8F23-1125B9A87A59}"/>
              </a:ext>
            </a:extLst>
          </p:cNvPr>
          <p:cNvSpPr/>
          <p:nvPr/>
        </p:nvSpPr>
        <p:spPr>
          <a:xfrm>
            <a:off x="9632950" y="5150835"/>
            <a:ext cx="1318800"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A7B73390-92A3-46B7-A5AD-E7DBE66EA2FD}"/>
              </a:ext>
            </a:extLst>
          </p:cNvPr>
          <p:cNvSpPr/>
          <p:nvPr/>
        </p:nvSpPr>
        <p:spPr>
          <a:xfrm>
            <a:off x="10132142" y="5429552"/>
            <a:ext cx="1723307" cy="21030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Text Box 46">
            <a:extLst>
              <a:ext uri="{FF2B5EF4-FFF2-40B4-BE49-F238E27FC236}">
                <a16:creationId xmlns:a16="http://schemas.microsoft.com/office/drawing/2014/main" id="{6BD47E2F-D998-4FA4-9BF4-9AC67F9F1AE7}"/>
              </a:ext>
            </a:extLst>
          </p:cNvPr>
          <p:cNvSpPr txBox="1">
            <a:spLocks noChangeArrowheads="1"/>
          </p:cNvSpPr>
          <p:nvPr>
            <p:custDataLst>
              <p:tags r:id="rId1"/>
            </p:custDataLst>
          </p:nvPr>
        </p:nvSpPr>
        <p:spPr bwMode="auto">
          <a:xfrm>
            <a:off x="7052922" y="5612926"/>
            <a:ext cx="1132125" cy="253222"/>
          </a:xfrm>
          <a:prstGeom prst="rect">
            <a:avLst/>
          </a:prstGeom>
          <a:noFill/>
          <a:ln w="6350">
            <a:noFill/>
            <a:miter lim="800000"/>
            <a:headEnd/>
            <a:tailEnd/>
          </a:ln>
          <a:effectLst/>
        </p:spPr>
        <p:txBody>
          <a:bodyPr lIns="45720" rIns="45720"/>
          <a:lstStyle/>
          <a:p>
            <a:pPr eaLnBrk="0" hangingPunct="0">
              <a:spcBef>
                <a:spcPct val="0"/>
              </a:spcBef>
              <a:buClr>
                <a:schemeClr val="accent6"/>
              </a:buClr>
              <a:buFont typeface="Wingdings" pitchFamily="2" charset="2"/>
              <a:buChar char="u"/>
            </a:pPr>
            <a:r>
              <a:rPr lang="en-US" sz="1400" dirty="0">
                <a:solidFill>
                  <a:schemeClr val="tx1"/>
                </a:solidFill>
              </a:rPr>
              <a:t> 13.03.02</a:t>
            </a:r>
          </a:p>
        </p:txBody>
      </p:sp>
      <p:sp>
        <p:nvSpPr>
          <p:cNvPr id="58" name="Text Box 47">
            <a:extLst>
              <a:ext uri="{FF2B5EF4-FFF2-40B4-BE49-F238E27FC236}">
                <a16:creationId xmlns:a16="http://schemas.microsoft.com/office/drawing/2014/main" id="{19B8CDD1-ECD9-4536-A355-0EF84CEC524B}"/>
              </a:ext>
            </a:extLst>
          </p:cNvPr>
          <p:cNvSpPr txBox="1">
            <a:spLocks noChangeArrowheads="1"/>
          </p:cNvSpPr>
          <p:nvPr>
            <p:custDataLst>
              <p:tags r:id="rId2"/>
            </p:custDataLst>
          </p:nvPr>
        </p:nvSpPr>
        <p:spPr bwMode="auto">
          <a:xfrm>
            <a:off x="9742076" y="5612926"/>
            <a:ext cx="1134094" cy="253222"/>
          </a:xfrm>
          <a:prstGeom prst="rect">
            <a:avLst/>
          </a:prstGeom>
          <a:noFill/>
          <a:ln w="6350">
            <a:noFill/>
            <a:miter lim="800000"/>
            <a:headEnd/>
            <a:tailEnd/>
          </a:ln>
          <a:effectLst/>
        </p:spPr>
        <p:txBody>
          <a:bodyPr lIns="45720" rIns="45720"/>
          <a:lstStyle/>
          <a:p>
            <a:pPr eaLnBrk="0" hangingPunct="0">
              <a:spcBef>
                <a:spcPct val="0"/>
              </a:spcBef>
              <a:buClr>
                <a:schemeClr val="accent6"/>
              </a:buClr>
              <a:buFont typeface="Wingdings" pitchFamily="2" charset="2"/>
              <a:buChar char="u"/>
            </a:pPr>
            <a:r>
              <a:rPr lang="en-US" sz="1400" dirty="0">
                <a:solidFill>
                  <a:schemeClr val="tx1"/>
                </a:solidFill>
              </a:rPr>
              <a:t> 15.05.02</a:t>
            </a:r>
          </a:p>
        </p:txBody>
      </p:sp>
    </p:spTree>
    <p:extLst>
      <p:ext uri="{BB962C8B-B14F-4D97-AF65-F5344CB8AC3E}">
        <p14:creationId xmlns:p14="http://schemas.microsoft.com/office/powerpoint/2010/main" val="537277778"/>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ogram Status Dashboard</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3" action="ppaction://hlinksldjump"/>
            <a:extLst>
              <a:ext uri="{FF2B5EF4-FFF2-40B4-BE49-F238E27FC236}">
                <a16:creationId xmlns:a16="http://schemas.microsoft.com/office/drawing/2014/main" id="{2B2FC871-4BB1-48CE-8E34-F181FC97546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1" name="Rectangle 2">
            <a:extLst>
              <a:ext uri="{FF2B5EF4-FFF2-40B4-BE49-F238E27FC236}">
                <a16:creationId xmlns:a16="http://schemas.microsoft.com/office/drawing/2014/main" id="{83B63532-501A-42A5-B405-8340C5D82E72}"/>
              </a:ext>
            </a:extLst>
          </p:cNvPr>
          <p:cNvSpPr txBox="1">
            <a:spLocks noChangeArrowheads="1"/>
          </p:cNvSpPr>
          <p:nvPr/>
        </p:nvSpPr>
        <p:spPr bwMode="auto">
          <a:xfrm>
            <a:off x="805393" y="1238678"/>
            <a:ext cx="5341938" cy="6546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762000" fontAlgn="base">
              <a:spcBef>
                <a:spcPts val="100"/>
              </a:spcBef>
              <a:spcAft>
                <a:spcPts val="100"/>
              </a:spcAft>
              <a:tabLst>
                <a:tab pos="2147888" algn="l"/>
              </a:tabLst>
              <a:defRPr/>
            </a:pPr>
            <a:r>
              <a:rPr lang="en-US" sz="1400" b="1" dirty="0">
                <a:solidFill>
                  <a:srgbClr val="000000"/>
                </a:solidFill>
              </a:rPr>
              <a:t>Workstream: </a:t>
            </a:r>
            <a:r>
              <a:rPr lang="en-US" sz="1400" dirty="0">
                <a:solidFill>
                  <a:srgbClr val="000000"/>
                </a:solidFill>
              </a:rPr>
              <a:t>&lt;Workstream Name&gt;</a:t>
            </a:r>
            <a:br>
              <a:rPr lang="en-US" sz="1400" dirty="0">
                <a:solidFill>
                  <a:srgbClr val="000000"/>
                </a:solidFill>
              </a:rPr>
            </a:br>
            <a:r>
              <a:rPr lang="en-US" sz="1400" b="1" dirty="0">
                <a:solidFill>
                  <a:srgbClr val="000000"/>
                </a:solidFill>
              </a:rPr>
              <a:t>Workstream Lead: </a:t>
            </a:r>
            <a:r>
              <a:rPr lang="en-US" sz="1400" dirty="0">
                <a:solidFill>
                  <a:srgbClr val="000000"/>
                </a:solidFill>
              </a:rPr>
              <a:t>&lt; Name&gt;</a:t>
            </a:r>
          </a:p>
        </p:txBody>
      </p:sp>
      <p:graphicFrame>
        <p:nvGraphicFramePr>
          <p:cNvPr id="42" name="Group 97">
            <a:extLst>
              <a:ext uri="{FF2B5EF4-FFF2-40B4-BE49-F238E27FC236}">
                <a16:creationId xmlns:a16="http://schemas.microsoft.com/office/drawing/2014/main" id="{05285912-2E6E-4026-B234-4FF535D34CC1}"/>
              </a:ext>
            </a:extLst>
          </p:cNvPr>
          <p:cNvGraphicFramePr>
            <a:graphicFrameLocks noGrp="1"/>
          </p:cNvGraphicFramePr>
          <p:nvPr>
            <p:extLst>
              <p:ext uri="{D42A27DB-BD31-4B8C-83A1-F6EECF244321}">
                <p14:modId xmlns:p14="http://schemas.microsoft.com/office/powerpoint/2010/main" val="3120194180"/>
              </p:ext>
            </p:extLst>
          </p:nvPr>
        </p:nvGraphicFramePr>
        <p:xfrm>
          <a:off x="334964" y="2240872"/>
          <a:ext cx="11652443" cy="3996441"/>
        </p:xfrm>
        <a:graphic>
          <a:graphicData uri="http://schemas.openxmlformats.org/drawingml/2006/table">
            <a:tbl>
              <a:tblPr/>
              <a:tblGrid>
                <a:gridCol w="2197983">
                  <a:extLst>
                    <a:ext uri="{9D8B030D-6E8A-4147-A177-3AD203B41FA5}">
                      <a16:colId xmlns:a16="http://schemas.microsoft.com/office/drawing/2014/main" val="20000"/>
                    </a:ext>
                  </a:extLst>
                </a:gridCol>
                <a:gridCol w="575972">
                  <a:extLst>
                    <a:ext uri="{9D8B030D-6E8A-4147-A177-3AD203B41FA5}">
                      <a16:colId xmlns:a16="http://schemas.microsoft.com/office/drawing/2014/main" val="20001"/>
                    </a:ext>
                  </a:extLst>
                </a:gridCol>
                <a:gridCol w="2850494">
                  <a:extLst>
                    <a:ext uri="{9D8B030D-6E8A-4147-A177-3AD203B41FA5}">
                      <a16:colId xmlns:a16="http://schemas.microsoft.com/office/drawing/2014/main" val="20002"/>
                    </a:ext>
                  </a:extLst>
                </a:gridCol>
                <a:gridCol w="4756140">
                  <a:extLst>
                    <a:ext uri="{9D8B030D-6E8A-4147-A177-3AD203B41FA5}">
                      <a16:colId xmlns:a16="http://schemas.microsoft.com/office/drawing/2014/main" val="20003"/>
                    </a:ext>
                  </a:extLst>
                </a:gridCol>
                <a:gridCol w="1271854">
                  <a:extLst>
                    <a:ext uri="{9D8B030D-6E8A-4147-A177-3AD203B41FA5}">
                      <a16:colId xmlns:a16="http://schemas.microsoft.com/office/drawing/2014/main" val="20004"/>
                    </a:ext>
                  </a:extLst>
                </a:gridCol>
              </a:tblGrid>
              <a:tr h="241931">
                <a:tc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18415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Status</a:t>
                      </a:r>
                    </a:p>
                  </a:txBody>
                  <a:tcPr marL="72000" marR="36000" marT="36000" marB="36000" anchor="ctr"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sym typeface="Webdings" pitchFamily="18" charset="2"/>
                        </a:rPr>
                        <a:t>Comment</a:t>
                      </a:r>
                      <a:endParaRPr kumimoji="0" lang="en-US" sz="1100" b="1" i="0" u="none" strike="noStrike" cap="none" normalizeH="0" baseline="0" dirty="0">
                        <a:ln>
                          <a:noFill/>
                        </a:ln>
                        <a:solidFill>
                          <a:schemeClr val="bg1"/>
                        </a:solidFill>
                        <a:effectLst/>
                        <a:latin typeface="Graphik" panose="020B0503030202060203" pitchFamily="34" charset="0"/>
                      </a:endParaRPr>
                    </a:p>
                  </a:txBody>
                  <a:tcPr marL="72000" marR="36000" marT="36000" marB="36000" anchor="ctr"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9525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Progress Since Last Report</a:t>
                      </a:r>
                    </a:p>
                  </a:txBody>
                  <a:tcPr marL="72000" marR="36000" marT="36000" marB="36000" anchor="ctr" horzOverflow="overflow">
                    <a:lnL w="6350" cap="flat" cmpd="sng" algn="ctr">
                      <a:solidFill>
                        <a:schemeClr val="accent1"/>
                      </a:solidFill>
                      <a:prstDash val="lgDash"/>
                      <a:round/>
                      <a:headEnd type="none" w="med" len="med"/>
                      <a:tailEnd type="none" w="med" len="med"/>
                    </a:lnL>
                    <a:lnR cap="flat">
                      <a:noFill/>
                    </a:lnR>
                    <a:lnT cap="flat">
                      <a:noFill/>
                    </a:lnT>
                    <a:lnB w="6350" cap="flat" cmpd="sng" algn="ctr">
                      <a:solidFill>
                        <a:schemeClr val="accent5"/>
                      </a:solid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17598">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tx1"/>
                          </a:solidFill>
                          <a:effectLst/>
                          <a:latin typeface="Graphik" panose="020B0503030202060203" pitchFamily="34" charset="0"/>
                        </a:rPr>
                        <a:t>Time</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Graphik" panose="020B0503030202060203" pitchFamily="34"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rowSpan="4"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Graphik" panose="020B0503030202060203" pitchFamily="34" charset="0"/>
                        </a:rPr>
                        <a:t>&lt;Brief statement on positive changes since last report&gt;</a:t>
                      </a:r>
                    </a:p>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Graphik" panose="020B0503030202060203" pitchFamily="34" charset="0"/>
                        </a:rPr>
                        <a:t>&lt;Continue to specifically focus on  Issues/Objectives met and overall Value Delivered to the client as documented in the Value Map/Business Case&gt;</a:t>
                      </a: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72000" marR="18000" marT="18000" marB="18000" horzOverflow="overflow">
                    <a:lnL w="6350" cap="flat" cmpd="sng" algn="ctr">
                      <a:solidFill>
                        <a:schemeClr val="accent1"/>
                      </a:solidFill>
                      <a:prstDash val="lgDash"/>
                      <a:round/>
                      <a:headEnd type="none" w="med" len="med"/>
                      <a:tailEnd type="none" w="med" len="med"/>
                    </a:lnL>
                    <a:lnR cap="flat">
                      <a:noFill/>
                    </a:lnR>
                    <a:lnT w="6350" cap="flat" cmpd="sng" algn="ctr">
                      <a:solidFill>
                        <a:schemeClr val="accent5"/>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rowSpan="4" hMerge="1">
                  <a:txBody>
                    <a:bodyPr/>
                    <a:lstStyle/>
                    <a:p>
                      <a:endParaRPr lang="en-US"/>
                    </a:p>
                  </a:txBody>
                  <a:tcPr/>
                </a:tc>
                <a:extLst>
                  <a:ext uri="{0D108BD9-81ED-4DB2-BD59-A6C34878D82A}">
                    <a16:rowId xmlns:a16="http://schemas.microsoft.com/office/drawing/2014/main" val="10001"/>
                  </a:ext>
                </a:extLst>
              </a:tr>
              <a:tr h="40182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tx1"/>
                          </a:solidFill>
                          <a:effectLst/>
                          <a:latin typeface="Graphik" panose="020B0503030202060203" pitchFamily="34" charset="0"/>
                        </a:rPr>
                        <a:t>Workstream Objectives</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Graphik" panose="020B0503030202060203" pitchFamily="34"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2"/>
                  </a:ext>
                </a:extLst>
              </a:tr>
              <a:tr h="401822">
                <a:tc>
                  <a:txBody>
                    <a:body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tx1"/>
                          </a:solidFill>
                          <a:effectLst/>
                          <a:latin typeface="Graphik" panose="020B0503030202060203" pitchFamily="34" charset="0"/>
                        </a:rPr>
                        <a:t>Client Value Delivered</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tx2">
                        <a:lumMod val="20000"/>
                        <a:lumOff val="80000"/>
                      </a:schemeClr>
                    </a:solidFill>
                  </a:tcPr>
                </a:tc>
                <a:tc>
                  <a:txBody>
                    <a:body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Graphik" panose="020B0503030202060203" pitchFamily="34"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3"/>
                  </a:ext>
                </a:extLst>
              </a:tr>
              <a:tr h="398313">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dirty="0">
                          <a:ln>
                            <a:noFill/>
                          </a:ln>
                          <a:solidFill>
                            <a:schemeClr val="tx1"/>
                          </a:solidFill>
                          <a:effectLst/>
                          <a:latin typeface="Graphik" panose="020B0503030202060203" pitchFamily="34" charset="0"/>
                        </a:rPr>
                        <a:t>Budget</a:t>
                      </a:r>
                    </a:p>
                  </a:txBody>
                  <a:tcPr marL="72000" marR="18000" marT="18000" marB="18000" anchor="ctr" horzOverflow="overflow">
                    <a:lnL w="12700" cap="flat" cmpd="sng" algn="ctr">
                      <a:noFill/>
                      <a:prstDash val="solid"/>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accent1"/>
                        </a:solidFill>
                        <a:effectLst/>
                        <a:latin typeface="Graphik" panose="020B0503030202060203" pitchFamily="34" charset="0"/>
                        <a:sym typeface="Webdings" pitchFamily="18" charset="2"/>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w="6350" cap="flat" cmpd="sng" algn="ctr">
                      <a:solidFill>
                        <a:schemeClr val="accent1"/>
                      </a:solidFill>
                      <a:prstDash val="lgDash"/>
                      <a:round/>
                      <a:headEnd type="none" w="med" len="med"/>
                      <a:tailEnd type="none" w="med" len="med"/>
                    </a:lnL>
                    <a:lnR w="6350" cap="flat" cmpd="sng" algn="ctr">
                      <a:solidFill>
                        <a:schemeClr val="accent1"/>
                      </a:solid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solidFill>
                        <a:schemeClr val="accent1"/>
                      </a:solidFill>
                      <a:prstDash val="lg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4"/>
                  </a:ext>
                </a:extLst>
              </a:tr>
              <a:tr h="19139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dirty="0">
                        <a:ln>
                          <a:noFill/>
                        </a:ln>
                        <a:solidFill>
                          <a:schemeClr val="accent1"/>
                        </a:solidFill>
                        <a:effectLst/>
                        <a:latin typeface="Graphik" panose="020B0503030202060203" pitchFamily="34" charset="0"/>
                        <a:sym typeface="Webdings" pitchFamily="18" charset="2"/>
                      </a:endParaRP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a:ln>
                          <a:noFill/>
                        </a:ln>
                        <a:solidFill>
                          <a:schemeClr val="tx1"/>
                        </a:solidFill>
                        <a:effectLst/>
                        <a:latin typeface="Graphik" panose="020B0503030202060203" pitchFamily="34" charset="0"/>
                      </a:endParaRPr>
                    </a:p>
                  </a:txBody>
                  <a:tcPr marL="18000" marR="18000" marT="18000" marB="18000" horzOverflow="overflow">
                    <a:lnL w="6350" cap="flat" cmpd="sng" algn="ctr">
                      <a:noFill/>
                      <a:prstDash val="lgDash"/>
                      <a:round/>
                      <a:headEnd type="none" w="med" len="med"/>
                      <a:tailEnd type="none" w="med" len="med"/>
                    </a:lnL>
                    <a:lnR cap="flat">
                      <a:noFill/>
                    </a:lnR>
                    <a:lnT w="6350" cap="flat" cmpd="sng" algn="ctr">
                      <a:solidFill>
                        <a:schemeClr val="accent1"/>
                      </a:solid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7548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Issues/Risk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6"/>
                  </a:ext>
                </a:extLst>
              </a:tr>
              <a:tr h="400067">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Graphik" panose="020B0503030202060203" pitchFamily="34" charset="0"/>
                        </a:rPr>
                        <a:t>&lt;Issues and risks identified&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Graphik" panose="020B0503030202060203" pitchFamily="34" charset="0"/>
                        </a:rPr>
                        <a:t>&lt;</a:t>
                      </a:r>
                      <a:r>
                        <a:rPr kumimoji="0" lang="en-US" sz="1000" b="0" i="0" u="none" strike="noStrike" cap="none" normalizeH="0" baseline="0" dirty="0" err="1">
                          <a:ln>
                            <a:noFill/>
                          </a:ln>
                          <a:solidFill>
                            <a:schemeClr val="tx1"/>
                          </a:solidFill>
                          <a:effectLst/>
                          <a:latin typeface="Graphik" panose="020B0503030202060203" pitchFamily="34" charset="0"/>
                        </a:rPr>
                        <a:t>Workstream</a:t>
                      </a:r>
                      <a:r>
                        <a:rPr kumimoji="0" lang="en-US" sz="1000" b="0" i="0" u="none" strike="noStrike" cap="none" normalizeH="0" baseline="0" dirty="0">
                          <a:ln>
                            <a:noFill/>
                          </a:ln>
                          <a:solidFill>
                            <a:schemeClr val="tx1"/>
                          </a:solidFill>
                          <a:effectLst/>
                          <a:latin typeface="Graphik" panose="020B0503030202060203" pitchFamily="34" charset="0"/>
                        </a:rPr>
                        <a:t> team member r&gt; </a:t>
                      </a: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a:ln>
                            <a:noFill/>
                          </a:ln>
                          <a:solidFill>
                            <a:schemeClr val="tx1"/>
                          </a:solidFill>
                          <a:effectLst/>
                          <a:latin typeface="Graphik" panose="020B0503030202060203" pitchFamily="34" charset="0"/>
                        </a:rPr>
                        <a:t>DD.MM.YYYY</a:t>
                      </a: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7767">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ts val="1200"/>
                        </a:lnSpc>
                        <a:spcBef>
                          <a:spcPct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Necessary Decision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Graphik" panose="020B0503030202060203" pitchFamily="34" charset="0"/>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8"/>
                  </a:ext>
                </a:extLst>
              </a:tr>
              <a:tr h="393534">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Graphik" panose="020B0503030202060203" pitchFamily="34" charset="0"/>
                        </a:rPr>
                        <a:t>&lt;Decisions needed to solve issues/risks&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Graphik" panose="020B0503030202060203" pitchFamily="34" charset="0"/>
                        </a:rPr>
                        <a:t>&lt;Name, Department&gt;</a:t>
                      </a: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dirty="0">
                          <a:ln>
                            <a:noFill/>
                          </a:ln>
                          <a:solidFill>
                            <a:schemeClr val="tx1"/>
                          </a:solidFill>
                          <a:effectLst/>
                          <a:latin typeface="Graphik" panose="020B0503030202060203" pitchFamily="34" charset="0"/>
                        </a:rPr>
                        <a:t>DD.MM.YYYY</a:t>
                      </a: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7548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ts val="1200"/>
                        </a:lnSpc>
                        <a:spcBef>
                          <a:spcPct val="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Next Steps</a:t>
                      </a:r>
                    </a:p>
                  </a:txBody>
                  <a:tcPr marL="72000" marR="18000" marT="18000" marB="18000" anchor="ctr"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Graphik" panose="020B0503030202060203" pitchFamily="34" charset="0"/>
                        </a:rPr>
                        <a:t>Responsible</a:t>
                      </a:r>
                    </a:p>
                  </a:txBody>
                  <a:tcPr marL="72000" marR="18000" marT="18000" marB="18000"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dirty="0">
                          <a:ln>
                            <a:noFill/>
                          </a:ln>
                          <a:solidFill>
                            <a:schemeClr val="bg1"/>
                          </a:solidFill>
                          <a:effectLst/>
                          <a:latin typeface="Graphik" panose="020B0503030202060203" pitchFamily="34" charset="0"/>
                        </a:rPr>
                        <a:t>End Date</a:t>
                      </a:r>
                    </a:p>
                  </a:txBody>
                  <a:tcPr marL="72000" marR="18000" marT="18000" marB="18000" anchor="ctr"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10"/>
                  </a:ext>
                </a:extLst>
              </a:tr>
              <a:tr h="411222">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Graphik" panose="020B0503030202060203" pitchFamily="34" charset="0"/>
                        </a:rPr>
                        <a:t>&lt;Action items to be done until next report&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cap="flat">
                      <a:noFill/>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cap="flat">
                      <a:noFill/>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dirty="0">
                          <a:ln>
                            <a:noFill/>
                          </a:ln>
                          <a:solidFill>
                            <a:schemeClr val="tx1"/>
                          </a:solidFill>
                          <a:effectLst/>
                          <a:latin typeface="Graphik" panose="020B0503030202060203" pitchFamily="34" charset="0"/>
                        </a:rPr>
                        <a:t>&lt;</a:t>
                      </a:r>
                      <a:r>
                        <a:rPr kumimoji="0" lang="en-US" sz="1000" b="0" i="0" u="none" strike="noStrike" cap="none" normalizeH="0" baseline="0" dirty="0" err="1">
                          <a:ln>
                            <a:noFill/>
                          </a:ln>
                          <a:solidFill>
                            <a:schemeClr val="tx1"/>
                          </a:solidFill>
                          <a:effectLst/>
                          <a:latin typeface="Graphik" panose="020B0503030202060203" pitchFamily="34" charset="0"/>
                        </a:rPr>
                        <a:t>Workstream</a:t>
                      </a:r>
                      <a:r>
                        <a:rPr kumimoji="0" lang="en-US" sz="1000" b="0" i="0" u="none" strike="noStrike" cap="none" normalizeH="0" baseline="0" dirty="0">
                          <a:ln>
                            <a:noFill/>
                          </a:ln>
                          <a:solidFill>
                            <a:schemeClr val="tx1"/>
                          </a:solidFill>
                          <a:effectLst/>
                          <a:latin typeface="Graphik" panose="020B0503030202060203" pitchFamily="34" charset="0"/>
                        </a:rPr>
                        <a:t> team member required&gt;</a:t>
                      </a:r>
                    </a:p>
                    <a:p>
                      <a:pPr marL="3175" marR="0" lvl="0" indent="-31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cap="flat">
                      <a:noFill/>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dirty="0">
                          <a:ln>
                            <a:noFill/>
                          </a:ln>
                          <a:solidFill>
                            <a:schemeClr val="tx1"/>
                          </a:solidFill>
                          <a:effectLst/>
                          <a:latin typeface="Graphik" panose="020B0503030202060203" pitchFamily="34" charset="0"/>
                        </a:rPr>
                        <a:t>DD.MM.YYYY</a:t>
                      </a:r>
                    </a:p>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Graphik" panose="020B0503030202060203" pitchFamily="34" charset="0"/>
                      </a:endParaRPr>
                    </a:p>
                  </a:txBody>
                  <a:tcPr marL="18000" marR="18000" marT="18000" marB="18000" horzOverflow="overflow">
                    <a:lnL w="6350" cap="flat" cmpd="sng" algn="ctr">
                      <a:noFill/>
                      <a:prstDash val="lgDash"/>
                      <a:round/>
                      <a:headEnd type="none" w="med" len="med"/>
                      <a:tailEnd type="none" w="med" len="med"/>
                    </a:lnL>
                    <a:lnR cap="flat">
                      <a:noFill/>
                    </a:lnR>
                    <a:lnT w="6350" cap="flat" cmpd="sng" algn="ctr">
                      <a:noFill/>
                      <a:prstDash val="lgDash"/>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11"/>
                  </a:ext>
                </a:extLst>
              </a:tr>
            </a:tbl>
          </a:graphicData>
        </a:graphic>
      </p:graphicFrame>
      <p:graphicFrame>
        <p:nvGraphicFramePr>
          <p:cNvPr id="43" name="Group 69">
            <a:extLst>
              <a:ext uri="{FF2B5EF4-FFF2-40B4-BE49-F238E27FC236}">
                <a16:creationId xmlns:a16="http://schemas.microsoft.com/office/drawing/2014/main" id="{A4DC3A72-E101-4255-8413-610FA93549E3}"/>
              </a:ext>
            </a:extLst>
          </p:cNvPr>
          <p:cNvGraphicFramePr>
            <a:graphicFrameLocks noGrp="1"/>
          </p:cNvGraphicFramePr>
          <p:nvPr>
            <p:extLst>
              <p:ext uri="{D42A27DB-BD31-4B8C-83A1-F6EECF244321}">
                <p14:modId xmlns:p14="http://schemas.microsoft.com/office/powerpoint/2010/main" val="755608682"/>
              </p:ext>
            </p:extLst>
          </p:nvPr>
        </p:nvGraphicFramePr>
        <p:xfrm>
          <a:off x="9533011" y="1235381"/>
          <a:ext cx="2454396" cy="489860"/>
        </p:xfrm>
        <a:graphic>
          <a:graphicData uri="http://schemas.openxmlformats.org/drawingml/2006/table">
            <a:tbl>
              <a:tblPr/>
              <a:tblGrid>
                <a:gridCol w="1190241">
                  <a:extLst>
                    <a:ext uri="{9D8B030D-6E8A-4147-A177-3AD203B41FA5}">
                      <a16:colId xmlns:a16="http://schemas.microsoft.com/office/drawing/2014/main" val="20000"/>
                    </a:ext>
                  </a:extLst>
                </a:gridCol>
                <a:gridCol w="1264155">
                  <a:extLst>
                    <a:ext uri="{9D8B030D-6E8A-4147-A177-3AD203B41FA5}">
                      <a16:colId xmlns:a16="http://schemas.microsoft.com/office/drawing/2014/main" val="20001"/>
                    </a:ext>
                  </a:extLst>
                </a:gridCol>
              </a:tblGrid>
              <a:tr h="22869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1" i="0" u="none" strike="noStrike" cap="none" normalizeH="0" baseline="0" dirty="0">
                          <a:ln>
                            <a:noFill/>
                          </a:ln>
                          <a:solidFill>
                            <a:schemeClr val="accent5"/>
                          </a:solidFill>
                          <a:effectLst/>
                          <a:latin typeface="Arial" charset="0"/>
                        </a:rPr>
                        <a:t>Start date:</a:t>
                      </a:r>
                    </a:p>
                  </a:txBody>
                  <a:tcPr marL="42455" marR="0" marT="42455" marB="42455"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1" i="0" u="none" strike="noStrike" cap="none" normalizeH="0" baseline="0" dirty="0">
                          <a:ln>
                            <a:noFill/>
                          </a:ln>
                          <a:solidFill>
                            <a:schemeClr val="accent5"/>
                          </a:solidFill>
                          <a:effectLst/>
                          <a:latin typeface="Arial" charset="0"/>
                        </a:rPr>
                        <a:t>End date:</a:t>
                      </a:r>
                    </a:p>
                  </a:txBody>
                  <a:tcPr marL="42455" marR="0" marT="42455" marB="42455"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10000"/>
                  </a:ext>
                </a:extLst>
              </a:tr>
              <a:tr h="22869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0" i="0" u="none" strike="noStrike" cap="none" normalizeH="0" baseline="0" dirty="0">
                          <a:ln>
                            <a:noFill/>
                          </a:ln>
                          <a:solidFill>
                            <a:schemeClr val="tx1"/>
                          </a:solidFill>
                          <a:effectLst/>
                          <a:latin typeface="Arial" charset="0"/>
                        </a:rPr>
                        <a:t>DD.MM.YYYY</a:t>
                      </a:r>
                    </a:p>
                  </a:txBody>
                  <a:tcPr marL="42455" marR="0" marT="42455" marB="42455"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0" i="0" u="none" strike="noStrike" cap="none" normalizeH="0" baseline="0" dirty="0">
                          <a:ln>
                            <a:noFill/>
                          </a:ln>
                          <a:solidFill>
                            <a:schemeClr val="tx1"/>
                          </a:solidFill>
                          <a:effectLst/>
                          <a:latin typeface="Arial" charset="0"/>
                        </a:rPr>
                        <a:t>DD.MM.YYYY</a:t>
                      </a:r>
                    </a:p>
                  </a:txBody>
                  <a:tcPr marL="42455" marR="0" marT="42455" marB="42455"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44" name="Rectangle 83">
            <a:extLst>
              <a:ext uri="{FF2B5EF4-FFF2-40B4-BE49-F238E27FC236}">
                <a16:creationId xmlns:a16="http://schemas.microsoft.com/office/drawing/2014/main" id="{CE88FA97-245E-4FFC-9BA2-8F8CD9F48E23}"/>
              </a:ext>
            </a:extLst>
          </p:cNvPr>
          <p:cNvSpPr>
            <a:spLocks noChangeArrowheads="1"/>
          </p:cNvSpPr>
          <p:nvPr/>
        </p:nvSpPr>
        <p:spPr bwMode="auto">
          <a:xfrm rot="10800000">
            <a:off x="345018" y="1211553"/>
            <a:ext cx="323850" cy="711200"/>
          </a:xfrm>
          <a:prstGeom prst="rect">
            <a:avLst/>
          </a:prstGeom>
          <a:solidFill>
            <a:schemeClr val="tx2">
              <a:lumMod val="20000"/>
              <a:lumOff val="80000"/>
            </a:schemeClr>
          </a:solidFill>
          <a:ln w="9525">
            <a:noFill/>
            <a:miter lim="800000"/>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45" name="Oval 84">
            <a:extLst>
              <a:ext uri="{FF2B5EF4-FFF2-40B4-BE49-F238E27FC236}">
                <a16:creationId xmlns:a16="http://schemas.microsoft.com/office/drawing/2014/main" id="{A47035B1-8986-4D9F-A49E-D78311FE1DBE}"/>
              </a:ext>
            </a:extLst>
          </p:cNvPr>
          <p:cNvSpPr>
            <a:spLocks noChangeArrowheads="1"/>
          </p:cNvSpPr>
          <p:nvPr/>
        </p:nvSpPr>
        <p:spPr bwMode="auto">
          <a:xfrm rot="10800000">
            <a:off x="419017" y="1682428"/>
            <a:ext cx="180000" cy="180000"/>
          </a:xfrm>
          <a:prstGeom prst="ellipse">
            <a:avLst/>
          </a:prstGeom>
          <a:solidFill>
            <a:schemeClr val="accent4"/>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46" name="Oval 85">
            <a:extLst>
              <a:ext uri="{FF2B5EF4-FFF2-40B4-BE49-F238E27FC236}">
                <a16:creationId xmlns:a16="http://schemas.microsoft.com/office/drawing/2014/main" id="{40772388-6A09-4ED2-B5C7-8716F1AD7E1D}"/>
              </a:ext>
            </a:extLst>
          </p:cNvPr>
          <p:cNvSpPr>
            <a:spLocks noChangeArrowheads="1"/>
          </p:cNvSpPr>
          <p:nvPr/>
        </p:nvSpPr>
        <p:spPr bwMode="auto">
          <a:xfrm rot="10800000">
            <a:off x="419632" y="1474466"/>
            <a:ext cx="179387" cy="180000"/>
          </a:xfrm>
          <a:prstGeom prst="ellipse">
            <a:avLst/>
          </a:prstGeom>
          <a:noFill/>
          <a:ln w="9525" algn="ctr">
            <a:solidFill>
              <a:schemeClr val="accent5"/>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sp>
        <p:nvSpPr>
          <p:cNvPr id="47" name="Oval 86">
            <a:extLst>
              <a:ext uri="{FF2B5EF4-FFF2-40B4-BE49-F238E27FC236}">
                <a16:creationId xmlns:a16="http://schemas.microsoft.com/office/drawing/2014/main" id="{DDE57C1A-CC44-4E4A-B488-F13D39DE9AE4}"/>
              </a:ext>
            </a:extLst>
          </p:cNvPr>
          <p:cNvSpPr>
            <a:spLocks noChangeArrowheads="1"/>
          </p:cNvSpPr>
          <p:nvPr/>
        </p:nvSpPr>
        <p:spPr bwMode="auto">
          <a:xfrm rot="10800000">
            <a:off x="419632" y="1266503"/>
            <a:ext cx="179387" cy="180000"/>
          </a:xfrm>
          <a:prstGeom prst="ellipse">
            <a:avLst/>
          </a:prstGeom>
          <a:noFill/>
          <a:ln w="9525" algn="ctr">
            <a:solidFill>
              <a:schemeClr val="accent5"/>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Arial" charset="0"/>
            </a:endParaRPr>
          </a:p>
        </p:txBody>
      </p:sp>
      <p:grpSp>
        <p:nvGrpSpPr>
          <p:cNvPr id="48" name="Group 47">
            <a:extLst>
              <a:ext uri="{FF2B5EF4-FFF2-40B4-BE49-F238E27FC236}">
                <a16:creationId xmlns:a16="http://schemas.microsoft.com/office/drawing/2014/main" id="{D9253A48-2F20-4FB3-8590-E808D4733CCC}"/>
              </a:ext>
            </a:extLst>
          </p:cNvPr>
          <p:cNvGrpSpPr/>
          <p:nvPr/>
        </p:nvGrpSpPr>
        <p:grpSpPr>
          <a:xfrm>
            <a:off x="2758399" y="2564923"/>
            <a:ext cx="180001" cy="1332128"/>
            <a:chOff x="3647747" y="2564923"/>
            <a:chExt cx="180001" cy="1332128"/>
          </a:xfrm>
        </p:grpSpPr>
        <p:sp>
          <p:nvSpPr>
            <p:cNvPr id="49" name="Oval 87">
              <a:extLst>
                <a:ext uri="{FF2B5EF4-FFF2-40B4-BE49-F238E27FC236}">
                  <a16:creationId xmlns:a16="http://schemas.microsoft.com/office/drawing/2014/main" id="{68A42AAC-4E0B-40E4-81C3-7F11992330A1}"/>
                </a:ext>
              </a:extLst>
            </p:cNvPr>
            <p:cNvSpPr>
              <a:spLocks noChangeArrowheads="1"/>
            </p:cNvSpPr>
            <p:nvPr/>
          </p:nvSpPr>
          <p:spPr bwMode="auto">
            <a:xfrm rot="10800000">
              <a:off x="3647748" y="2564923"/>
              <a:ext cx="180000" cy="180000"/>
            </a:xfrm>
            <a:prstGeom prst="ellipse">
              <a:avLst/>
            </a:prstGeom>
            <a:solidFill>
              <a:schemeClr val="accent4"/>
            </a:solidFill>
            <a:ln w="9525" algn="ctr">
              <a:noFill/>
              <a:round/>
              <a:headEnd/>
              <a:tailEnd/>
            </a:ln>
            <a:effectLst/>
          </p:spPr>
          <p:txBody>
            <a:bodyPr wrap="none" anchor="ctr"/>
            <a:lstStyle/>
            <a:p>
              <a:pPr fontAlgn="base">
                <a:spcBef>
                  <a:spcPct val="0"/>
                </a:spcBef>
                <a:spcAft>
                  <a:spcPct val="0"/>
                </a:spcAft>
              </a:pPr>
              <a:endParaRPr lang="en-US" sz="1000">
                <a:solidFill>
                  <a:srgbClr val="000000"/>
                </a:solidFill>
                <a:latin typeface="Arial" charset="0"/>
              </a:endParaRPr>
            </a:p>
          </p:txBody>
        </p:sp>
        <p:sp>
          <p:nvSpPr>
            <p:cNvPr id="50" name="Oval 88">
              <a:extLst>
                <a:ext uri="{FF2B5EF4-FFF2-40B4-BE49-F238E27FC236}">
                  <a16:creationId xmlns:a16="http://schemas.microsoft.com/office/drawing/2014/main" id="{99599576-1177-4205-9F13-46DCA570F93F}"/>
                </a:ext>
              </a:extLst>
            </p:cNvPr>
            <p:cNvSpPr>
              <a:spLocks noChangeArrowheads="1"/>
            </p:cNvSpPr>
            <p:nvPr/>
          </p:nvSpPr>
          <p:spPr bwMode="auto">
            <a:xfrm rot="10800000">
              <a:off x="3647747" y="2924944"/>
              <a:ext cx="180000" cy="180000"/>
            </a:xfrm>
            <a:prstGeom prst="ellipse">
              <a:avLst/>
            </a:prstGeom>
            <a:solidFill>
              <a:srgbClr val="A100FF"/>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endParaRPr>
            </a:p>
          </p:txBody>
        </p:sp>
        <p:sp>
          <p:nvSpPr>
            <p:cNvPr id="51" name="Oval 89">
              <a:extLst>
                <a:ext uri="{FF2B5EF4-FFF2-40B4-BE49-F238E27FC236}">
                  <a16:creationId xmlns:a16="http://schemas.microsoft.com/office/drawing/2014/main" id="{B8E19890-9273-4A45-AA22-35BB956277FE}"/>
                </a:ext>
              </a:extLst>
            </p:cNvPr>
            <p:cNvSpPr>
              <a:spLocks noChangeArrowheads="1"/>
            </p:cNvSpPr>
            <p:nvPr/>
          </p:nvSpPr>
          <p:spPr bwMode="auto">
            <a:xfrm rot="10800000">
              <a:off x="3647747" y="3321007"/>
              <a:ext cx="180000" cy="180000"/>
            </a:xfrm>
            <a:prstGeom prst="ellipse">
              <a:avLst/>
            </a:prstGeom>
            <a:solidFill>
              <a:srgbClr val="DCAFFF"/>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endParaRPr>
            </a:p>
          </p:txBody>
        </p:sp>
        <p:sp>
          <p:nvSpPr>
            <p:cNvPr id="52" name="Oval 87">
              <a:extLst>
                <a:ext uri="{FF2B5EF4-FFF2-40B4-BE49-F238E27FC236}">
                  <a16:creationId xmlns:a16="http://schemas.microsoft.com/office/drawing/2014/main" id="{906570F8-4D1E-4FC2-903B-B573FDA03C9F}"/>
                </a:ext>
              </a:extLst>
            </p:cNvPr>
            <p:cNvSpPr>
              <a:spLocks noChangeArrowheads="1"/>
            </p:cNvSpPr>
            <p:nvPr/>
          </p:nvSpPr>
          <p:spPr bwMode="auto">
            <a:xfrm rot="10800000">
              <a:off x="3647747" y="3717051"/>
              <a:ext cx="180000" cy="180000"/>
            </a:xfrm>
            <a:prstGeom prst="ellipse">
              <a:avLst/>
            </a:prstGeom>
            <a:solidFill>
              <a:schemeClr val="accent3"/>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endParaRPr>
            </a:p>
          </p:txBody>
        </p:sp>
      </p:grpSp>
    </p:spTree>
    <p:extLst>
      <p:ext uri="{BB962C8B-B14F-4D97-AF65-F5344CB8AC3E}">
        <p14:creationId xmlns:p14="http://schemas.microsoft.com/office/powerpoint/2010/main" val="399987707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latin typeface="Graphik" panose="020B0503030202060203" pitchFamily="34" charset="0"/>
              </a:rPr>
              <a:t>Client Value Drivers </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Box 45">
            <a:extLst>
              <a:ext uri="{FF2B5EF4-FFF2-40B4-BE49-F238E27FC236}">
                <a16:creationId xmlns:a16="http://schemas.microsoft.com/office/drawing/2014/main" id="{5CE4829C-D5CF-48DA-82A1-8AB34AE0DFD1}"/>
              </a:ext>
            </a:extLst>
          </p:cNvPr>
          <p:cNvSpPr txBox="1">
            <a:spLocks noChangeArrowheads="1"/>
          </p:cNvSpPr>
          <p:nvPr/>
        </p:nvSpPr>
        <p:spPr bwMode="auto">
          <a:xfrm>
            <a:off x="1991544" y="2098485"/>
            <a:ext cx="3130722" cy="3502336"/>
          </a:xfrm>
          <a:prstGeom prst="rect">
            <a:avLst/>
          </a:prstGeom>
          <a:solidFill>
            <a:srgbClr val="BE82FF">
              <a:lumMod val="20000"/>
              <a:lumOff val="80000"/>
            </a:srgbClr>
          </a:solidFill>
          <a:ln w="9525" algn="ctr">
            <a:noFill/>
            <a:miter lim="800000"/>
            <a:headEnd/>
            <a:tailEnd/>
          </a:ln>
        </p:spPr>
        <p:txBody>
          <a:bodyPr wrap="square" lIns="72000" tIns="72000" rIns="36000" bIns="72000">
            <a:noAutofit/>
          </a:bodyPr>
          <a:lstStyle/>
          <a:p>
            <a:pPr marL="90000" marR="0" lvl="0" indent="-90000" algn="l" defTabSz="914400" rtl="0" eaLnBrk="1" fontAlgn="auto" latinLnBrk="0" hangingPunct="1">
              <a:lnSpc>
                <a:spcPct val="100000"/>
              </a:lnSpc>
              <a:spcBef>
                <a:spcPts val="300"/>
              </a:spcBef>
              <a:spcAft>
                <a:spcPts val="300"/>
              </a:spcAft>
              <a:buClrTx/>
              <a:buSzPct val="100000"/>
              <a:buFontTx/>
              <a:buChar char="•"/>
              <a:tabLst/>
              <a:defRPr/>
            </a:pPr>
            <a:r>
              <a:rPr kumimoji="0" lang="en-GB" sz="1100" b="0" i="0" u="none" strike="noStrike" kern="0" cap="none" spc="0" normalizeH="0" baseline="0" noProof="0" dirty="0">
                <a:ln>
                  <a:noFill/>
                </a:ln>
                <a:solidFill>
                  <a:srgbClr val="000000"/>
                </a:solidFill>
                <a:effectLst/>
                <a:uLnTx/>
                <a:uFillTx/>
                <a:latin typeface="Graphik"/>
                <a:ea typeface="+mn-ea"/>
                <a:cs typeface="Arial" pitchFamily="34" charset="0"/>
              </a:rPr>
              <a:t>[Context Point 1]</a:t>
            </a:r>
          </a:p>
          <a:p>
            <a:pPr marL="90000" marR="0" lvl="0" indent="-90000" algn="l" defTabSz="914400" rtl="0" eaLnBrk="1" fontAlgn="auto" latinLnBrk="0" hangingPunct="1">
              <a:lnSpc>
                <a:spcPct val="100000"/>
              </a:lnSpc>
              <a:spcBef>
                <a:spcPts val="300"/>
              </a:spcBef>
              <a:spcAft>
                <a:spcPts val="300"/>
              </a:spcAft>
              <a:buClrTx/>
              <a:buSzPct val="100000"/>
              <a:buFontTx/>
              <a:buChar char="•"/>
              <a:tabLst/>
              <a:defRPr/>
            </a:pPr>
            <a:r>
              <a:rPr kumimoji="0" lang="en-GB" sz="1100" b="0" i="0" u="none" strike="noStrike" kern="0" cap="none" spc="0" normalizeH="0" baseline="0" noProof="0" dirty="0">
                <a:ln>
                  <a:noFill/>
                </a:ln>
                <a:solidFill>
                  <a:srgbClr val="000000"/>
                </a:solidFill>
                <a:effectLst/>
                <a:uLnTx/>
                <a:uFillTx/>
                <a:latin typeface="Graphik"/>
                <a:ea typeface="+mn-ea"/>
                <a:cs typeface="Arial" pitchFamily="34" charset="0"/>
              </a:rPr>
              <a:t>[Context Point 2]</a:t>
            </a:r>
          </a:p>
          <a:p>
            <a:pPr marL="90000" marR="0" lvl="0" indent="-90000" algn="l" defTabSz="914400" rtl="0" eaLnBrk="1" fontAlgn="auto" latinLnBrk="0" hangingPunct="1">
              <a:lnSpc>
                <a:spcPct val="100000"/>
              </a:lnSpc>
              <a:spcBef>
                <a:spcPts val="300"/>
              </a:spcBef>
              <a:spcAft>
                <a:spcPts val="300"/>
              </a:spcAft>
              <a:buClrTx/>
              <a:buSzPct val="100000"/>
              <a:buFontTx/>
              <a:buChar char="•"/>
              <a:tabLst/>
              <a:defRPr/>
            </a:pPr>
            <a:r>
              <a:rPr kumimoji="0" lang="en-GB" sz="1100" b="0" i="0" u="none" strike="noStrike" kern="0" cap="none" spc="0" normalizeH="0" baseline="0" noProof="0" dirty="0">
                <a:ln>
                  <a:noFill/>
                </a:ln>
                <a:solidFill>
                  <a:srgbClr val="000000"/>
                </a:solidFill>
                <a:effectLst/>
                <a:uLnTx/>
                <a:uFillTx/>
                <a:latin typeface="Graphik"/>
                <a:ea typeface="+mn-ea"/>
                <a:cs typeface="Arial" pitchFamily="34" charset="0"/>
              </a:rPr>
              <a:t>[Context Point 3]</a:t>
            </a:r>
            <a:endParaRPr kumimoji="0" lang="en-GB" sz="11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7" name="Text Box 26">
            <a:extLst>
              <a:ext uri="{FF2B5EF4-FFF2-40B4-BE49-F238E27FC236}">
                <a16:creationId xmlns:a16="http://schemas.microsoft.com/office/drawing/2014/main" id="{5B9C9DEF-900B-4E6E-AEBD-A9EF72F5DCA6}"/>
              </a:ext>
            </a:extLst>
          </p:cNvPr>
          <p:cNvSpPr txBox="1">
            <a:spLocks noChangeArrowheads="1"/>
          </p:cNvSpPr>
          <p:nvPr/>
        </p:nvSpPr>
        <p:spPr bwMode="auto">
          <a:xfrm>
            <a:off x="1949006" y="1763713"/>
            <a:ext cx="1274388" cy="147733"/>
          </a:xfrm>
          <a:prstGeom prst="rect">
            <a:avLst/>
          </a:prstGeom>
          <a:noFill/>
          <a:ln w="19050">
            <a:noFill/>
            <a:miter lim="800000"/>
            <a:headEnd/>
            <a:tailEnd/>
          </a:ln>
        </p:spPr>
        <p:txBody>
          <a:bodyPr wrap="none" lIns="0" tIns="0" rIns="0" bIns="0">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Graphik"/>
                <a:ea typeface="+mn-ea"/>
                <a:cs typeface="Arial" pitchFamily="34" charset="0"/>
              </a:rPr>
              <a:t>Industry context</a:t>
            </a:r>
          </a:p>
        </p:txBody>
      </p:sp>
      <p:cxnSp>
        <p:nvCxnSpPr>
          <p:cNvPr id="8" name="AutoShape 8">
            <a:extLst>
              <a:ext uri="{FF2B5EF4-FFF2-40B4-BE49-F238E27FC236}">
                <a16:creationId xmlns:a16="http://schemas.microsoft.com/office/drawing/2014/main" id="{6A0884D0-DA44-4C7B-89ED-A43BAF1F097D}"/>
              </a:ext>
            </a:extLst>
          </p:cNvPr>
          <p:cNvCxnSpPr>
            <a:cxnSpLocks noChangeShapeType="1"/>
            <a:stCxn id="6" idx="3"/>
            <a:endCxn id="21" idx="1"/>
          </p:cNvCxnSpPr>
          <p:nvPr/>
        </p:nvCxnSpPr>
        <p:spPr bwMode="auto">
          <a:xfrm flipV="1">
            <a:off x="5122266" y="2356555"/>
            <a:ext cx="686826" cy="1493099"/>
          </a:xfrm>
          <a:prstGeom prst="bentConnector3">
            <a:avLst>
              <a:gd name="adj1" fmla="val 50000"/>
            </a:avLst>
          </a:prstGeom>
          <a:noFill/>
          <a:ln w="6350">
            <a:solidFill>
              <a:srgbClr val="BE82FF"/>
            </a:solidFill>
            <a:miter lim="800000"/>
            <a:headEnd/>
            <a:tailEnd/>
          </a:ln>
        </p:spPr>
      </p:cxnSp>
      <p:cxnSp>
        <p:nvCxnSpPr>
          <p:cNvPr id="9" name="AutoShape 9">
            <a:extLst>
              <a:ext uri="{FF2B5EF4-FFF2-40B4-BE49-F238E27FC236}">
                <a16:creationId xmlns:a16="http://schemas.microsoft.com/office/drawing/2014/main" id="{3D9C4382-FFA7-4A80-AD3E-F35D8F2E1478}"/>
              </a:ext>
            </a:extLst>
          </p:cNvPr>
          <p:cNvCxnSpPr>
            <a:cxnSpLocks noChangeShapeType="1"/>
            <a:stCxn id="6" idx="3"/>
            <a:endCxn id="22" idx="1"/>
          </p:cNvCxnSpPr>
          <p:nvPr/>
        </p:nvCxnSpPr>
        <p:spPr bwMode="auto">
          <a:xfrm flipV="1">
            <a:off x="5122266" y="3091745"/>
            <a:ext cx="686826" cy="757908"/>
          </a:xfrm>
          <a:prstGeom prst="bentConnector3">
            <a:avLst>
              <a:gd name="adj1" fmla="val 50000"/>
            </a:avLst>
          </a:prstGeom>
          <a:noFill/>
          <a:ln w="6350">
            <a:solidFill>
              <a:srgbClr val="BE82FF"/>
            </a:solidFill>
            <a:miter lim="800000"/>
            <a:headEnd/>
            <a:tailEnd/>
          </a:ln>
        </p:spPr>
      </p:cxnSp>
      <p:cxnSp>
        <p:nvCxnSpPr>
          <p:cNvPr id="10" name="AutoShape 11">
            <a:extLst>
              <a:ext uri="{FF2B5EF4-FFF2-40B4-BE49-F238E27FC236}">
                <a16:creationId xmlns:a16="http://schemas.microsoft.com/office/drawing/2014/main" id="{EAFD8D62-DD33-4C4F-907F-F271B1F527CB}"/>
              </a:ext>
            </a:extLst>
          </p:cNvPr>
          <p:cNvCxnSpPr>
            <a:cxnSpLocks noChangeShapeType="1"/>
            <a:stCxn id="6" idx="3"/>
            <a:endCxn id="23" idx="1"/>
          </p:cNvCxnSpPr>
          <p:nvPr/>
        </p:nvCxnSpPr>
        <p:spPr bwMode="auto">
          <a:xfrm>
            <a:off x="5122266" y="3849654"/>
            <a:ext cx="686826" cy="766961"/>
          </a:xfrm>
          <a:prstGeom prst="bentConnector3">
            <a:avLst>
              <a:gd name="adj1" fmla="val 50000"/>
            </a:avLst>
          </a:prstGeom>
          <a:noFill/>
          <a:ln w="6350">
            <a:solidFill>
              <a:srgbClr val="BE82FF"/>
            </a:solidFill>
            <a:miter lim="800000"/>
            <a:headEnd/>
            <a:tailEnd/>
          </a:ln>
        </p:spPr>
      </p:cxnSp>
      <p:cxnSp>
        <p:nvCxnSpPr>
          <p:cNvPr id="11" name="AutoShape 12">
            <a:extLst>
              <a:ext uri="{FF2B5EF4-FFF2-40B4-BE49-F238E27FC236}">
                <a16:creationId xmlns:a16="http://schemas.microsoft.com/office/drawing/2014/main" id="{8B52816B-F0E0-4E9E-9345-302129EAA159}"/>
              </a:ext>
            </a:extLst>
          </p:cNvPr>
          <p:cNvCxnSpPr>
            <a:cxnSpLocks noChangeShapeType="1"/>
            <a:stCxn id="6" idx="3"/>
            <a:endCxn id="24" idx="1"/>
          </p:cNvCxnSpPr>
          <p:nvPr/>
        </p:nvCxnSpPr>
        <p:spPr bwMode="auto">
          <a:xfrm>
            <a:off x="5122266" y="3849654"/>
            <a:ext cx="686826" cy="1500027"/>
          </a:xfrm>
          <a:prstGeom prst="bentConnector3">
            <a:avLst>
              <a:gd name="adj1" fmla="val 50000"/>
            </a:avLst>
          </a:prstGeom>
          <a:noFill/>
          <a:ln w="6350">
            <a:solidFill>
              <a:srgbClr val="BE82FF"/>
            </a:solidFill>
            <a:miter lim="800000"/>
            <a:headEnd/>
            <a:tailEnd/>
          </a:ln>
        </p:spPr>
      </p:cxnSp>
      <p:sp>
        <p:nvSpPr>
          <p:cNvPr id="12" name="Text Box 26">
            <a:extLst>
              <a:ext uri="{FF2B5EF4-FFF2-40B4-BE49-F238E27FC236}">
                <a16:creationId xmlns:a16="http://schemas.microsoft.com/office/drawing/2014/main" id="{918EA78C-8DE2-47E1-BF07-F22147F99B5A}"/>
              </a:ext>
            </a:extLst>
          </p:cNvPr>
          <p:cNvSpPr txBox="1">
            <a:spLocks noChangeArrowheads="1"/>
          </p:cNvSpPr>
          <p:nvPr/>
        </p:nvSpPr>
        <p:spPr bwMode="auto">
          <a:xfrm>
            <a:off x="5790250" y="1763713"/>
            <a:ext cx="1429880" cy="147733"/>
          </a:xfrm>
          <a:prstGeom prst="rect">
            <a:avLst/>
          </a:prstGeom>
          <a:noFill/>
          <a:ln w="19050">
            <a:noFill/>
            <a:miter lim="800000"/>
            <a:headEnd/>
            <a:tailEnd/>
          </a:ln>
        </p:spPr>
        <p:txBody>
          <a:bodyPr wrap="none" lIns="0" tIns="0" rIns="0" bIns="0">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Graphik"/>
                <a:ea typeface="+mn-ea"/>
                <a:cs typeface="Arial" pitchFamily="34" charset="0"/>
              </a:rPr>
              <a:t>Key Value Drivers*</a:t>
            </a:r>
          </a:p>
        </p:txBody>
      </p:sp>
      <p:sp>
        <p:nvSpPr>
          <p:cNvPr id="13" name="Text Box 26">
            <a:extLst>
              <a:ext uri="{FF2B5EF4-FFF2-40B4-BE49-F238E27FC236}">
                <a16:creationId xmlns:a16="http://schemas.microsoft.com/office/drawing/2014/main" id="{71D1245A-26C7-4F43-9C02-19A8C986C4C9}"/>
              </a:ext>
            </a:extLst>
          </p:cNvPr>
          <p:cNvSpPr txBox="1">
            <a:spLocks noChangeArrowheads="1"/>
          </p:cNvSpPr>
          <p:nvPr/>
        </p:nvSpPr>
        <p:spPr bwMode="auto">
          <a:xfrm>
            <a:off x="7656932" y="1763713"/>
            <a:ext cx="541816" cy="147733"/>
          </a:xfrm>
          <a:prstGeom prst="rect">
            <a:avLst/>
          </a:prstGeom>
          <a:noFill/>
          <a:ln w="19050">
            <a:noFill/>
            <a:miter lim="800000"/>
            <a:headEnd/>
            <a:tailEnd/>
          </a:ln>
        </p:spPr>
        <p:txBody>
          <a:bodyPr wrap="none" lIns="0" tIns="0" rIns="0" bIns="0">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Graphik"/>
                <a:ea typeface="+mn-ea"/>
                <a:cs typeface="Arial" pitchFamily="34" charset="0"/>
              </a:rPr>
              <a:t>Impact</a:t>
            </a:r>
          </a:p>
        </p:txBody>
      </p:sp>
      <p:sp>
        <p:nvSpPr>
          <p:cNvPr id="14" name="Text Box 13">
            <a:extLst>
              <a:ext uri="{FF2B5EF4-FFF2-40B4-BE49-F238E27FC236}">
                <a16:creationId xmlns:a16="http://schemas.microsoft.com/office/drawing/2014/main" id="{083DD91F-A038-462B-8859-CC5C2E046749}"/>
              </a:ext>
            </a:extLst>
          </p:cNvPr>
          <p:cNvSpPr txBox="1">
            <a:spLocks noChangeArrowheads="1"/>
          </p:cNvSpPr>
          <p:nvPr/>
        </p:nvSpPr>
        <p:spPr bwMode="auto">
          <a:xfrm>
            <a:off x="7680177" y="2288103"/>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latin typeface="Graphik"/>
                <a:ea typeface="+mn-ea"/>
                <a:cs typeface="Arial" pitchFamily="34" charset="0"/>
              </a:rPr>
              <a:t>Client Impact/ Performance #1 ...</a:t>
            </a:r>
          </a:p>
        </p:txBody>
      </p:sp>
      <p:sp>
        <p:nvSpPr>
          <p:cNvPr id="15" name="Text Box 13">
            <a:extLst>
              <a:ext uri="{FF2B5EF4-FFF2-40B4-BE49-F238E27FC236}">
                <a16:creationId xmlns:a16="http://schemas.microsoft.com/office/drawing/2014/main" id="{9DDFB925-722F-4F15-AC6F-5FE8497CF275}"/>
              </a:ext>
            </a:extLst>
          </p:cNvPr>
          <p:cNvSpPr txBox="1">
            <a:spLocks noChangeArrowheads="1"/>
          </p:cNvSpPr>
          <p:nvPr/>
        </p:nvSpPr>
        <p:spPr bwMode="auto">
          <a:xfrm>
            <a:off x="7680177" y="3000769"/>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latin typeface="Graphik"/>
                <a:ea typeface="+mn-ea"/>
                <a:cs typeface="Arial" pitchFamily="34" charset="0"/>
              </a:rPr>
              <a:t>Client Impact/ Performance #2 ...</a:t>
            </a:r>
          </a:p>
        </p:txBody>
      </p:sp>
      <p:sp>
        <p:nvSpPr>
          <p:cNvPr id="16" name="Text Box 13">
            <a:extLst>
              <a:ext uri="{FF2B5EF4-FFF2-40B4-BE49-F238E27FC236}">
                <a16:creationId xmlns:a16="http://schemas.microsoft.com/office/drawing/2014/main" id="{C80DC5D6-BA1A-4E9A-9959-140EFEC19D78}"/>
              </a:ext>
            </a:extLst>
          </p:cNvPr>
          <p:cNvSpPr txBox="1">
            <a:spLocks noChangeArrowheads="1"/>
          </p:cNvSpPr>
          <p:nvPr/>
        </p:nvSpPr>
        <p:spPr bwMode="auto">
          <a:xfrm>
            <a:off x="7680177" y="3762946"/>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latin typeface="Graphik"/>
                <a:ea typeface="+mn-ea"/>
                <a:cs typeface="Arial" pitchFamily="34" charset="0"/>
              </a:rPr>
              <a:t>Client Impact/ Performance #3 ...</a:t>
            </a:r>
          </a:p>
        </p:txBody>
      </p:sp>
      <p:sp>
        <p:nvSpPr>
          <p:cNvPr id="17" name="Text Box 13">
            <a:extLst>
              <a:ext uri="{FF2B5EF4-FFF2-40B4-BE49-F238E27FC236}">
                <a16:creationId xmlns:a16="http://schemas.microsoft.com/office/drawing/2014/main" id="{50D9B359-B0E6-4CF0-ABC5-718C585C72D8}"/>
              </a:ext>
            </a:extLst>
          </p:cNvPr>
          <p:cNvSpPr txBox="1">
            <a:spLocks noChangeArrowheads="1"/>
          </p:cNvSpPr>
          <p:nvPr/>
        </p:nvSpPr>
        <p:spPr bwMode="auto">
          <a:xfrm>
            <a:off x="7692877" y="4525123"/>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latin typeface="Graphik"/>
                <a:ea typeface="+mn-ea"/>
                <a:cs typeface="Arial" pitchFamily="34" charset="0"/>
              </a:rPr>
              <a:t>Client Impact/ Performance #4 ...</a:t>
            </a:r>
          </a:p>
        </p:txBody>
      </p:sp>
      <p:sp>
        <p:nvSpPr>
          <p:cNvPr id="18" name="Text Box 13">
            <a:extLst>
              <a:ext uri="{FF2B5EF4-FFF2-40B4-BE49-F238E27FC236}">
                <a16:creationId xmlns:a16="http://schemas.microsoft.com/office/drawing/2014/main" id="{D4AF1DF0-CC9F-450D-9D29-394C9282EE25}"/>
              </a:ext>
            </a:extLst>
          </p:cNvPr>
          <p:cNvSpPr txBox="1">
            <a:spLocks noChangeArrowheads="1"/>
          </p:cNvSpPr>
          <p:nvPr/>
        </p:nvSpPr>
        <p:spPr bwMode="auto">
          <a:xfrm>
            <a:off x="7680177" y="5276435"/>
            <a:ext cx="2892151" cy="123111"/>
          </a:xfrm>
          <a:prstGeom prst="rect">
            <a:avLst/>
          </a:prstGeom>
          <a:noFill/>
          <a:ln w="12700">
            <a:noFill/>
            <a:miter lim="800000"/>
            <a:headEnd/>
            <a:tailEnd/>
          </a:ln>
        </p:spPr>
        <p:txBody>
          <a:bodyPr wrap="square" lIns="36000" tIns="0" rIns="36000" bIns="0">
            <a:spAutoFit/>
          </a:bodyPr>
          <a:lstStyle/>
          <a:p>
            <a:pPr marL="88900" marR="0" lvl="0" indent="-88900" algn="l" defTabSz="914400" rtl="0" eaLnBrk="0" fontAlgn="base" latinLnBrk="0" hangingPunct="0">
              <a:lnSpc>
                <a:spcPct val="80000"/>
              </a:lnSpc>
              <a:spcBef>
                <a:spcPct val="0"/>
              </a:spcBef>
              <a:spcAft>
                <a:spcPct val="0"/>
              </a:spcAft>
              <a:buClrTx/>
              <a:buSzPct val="100000"/>
              <a:buFontTx/>
              <a:buChar char="•"/>
              <a:tabLst/>
              <a:defRPr/>
            </a:pPr>
            <a:r>
              <a:rPr kumimoji="0" lang="en-GB" sz="1000" b="0" i="0" u="none" strike="noStrike" kern="1200" cap="none" spc="0" normalizeH="0" baseline="0" noProof="0" dirty="0">
                <a:ln>
                  <a:noFill/>
                </a:ln>
                <a:solidFill>
                  <a:srgbClr val="000000"/>
                </a:solidFill>
                <a:effectLst/>
                <a:uLnTx/>
                <a:uFillTx/>
                <a:latin typeface="Graphik"/>
                <a:ea typeface="+mn-ea"/>
                <a:cs typeface="Arial" pitchFamily="34" charset="0"/>
              </a:rPr>
              <a:t>Client Impact/ Performance #5 ...</a:t>
            </a:r>
          </a:p>
        </p:txBody>
      </p:sp>
      <p:sp>
        <p:nvSpPr>
          <p:cNvPr id="19" name="TextBox 18">
            <a:extLst>
              <a:ext uri="{FF2B5EF4-FFF2-40B4-BE49-F238E27FC236}">
                <a16:creationId xmlns:a16="http://schemas.microsoft.com/office/drawing/2014/main" id="{075AAF97-4A8E-4506-9623-9D3A5EEADD0E}"/>
              </a:ext>
            </a:extLst>
          </p:cNvPr>
          <p:cNvSpPr txBox="1"/>
          <p:nvPr/>
        </p:nvSpPr>
        <p:spPr bwMode="auto">
          <a:xfrm>
            <a:off x="1992314" y="5795590"/>
            <a:ext cx="820344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Note: *These should reconcile with the Industry Value Driver Tree. Where one does not already exist, this should be created first and the drivers in here can then reference the tree to ensure consistency</a:t>
            </a:r>
          </a:p>
        </p:txBody>
      </p:sp>
      <p:cxnSp>
        <p:nvCxnSpPr>
          <p:cNvPr id="20" name="Straight Connector 19">
            <a:extLst>
              <a:ext uri="{FF2B5EF4-FFF2-40B4-BE49-F238E27FC236}">
                <a16:creationId xmlns:a16="http://schemas.microsoft.com/office/drawing/2014/main" id="{56020424-5309-4CAC-8508-6183BCD2B54B}"/>
              </a:ext>
            </a:extLst>
          </p:cNvPr>
          <p:cNvCxnSpPr/>
          <p:nvPr/>
        </p:nvCxnSpPr>
        <p:spPr bwMode="auto">
          <a:xfrm flipH="1">
            <a:off x="5465680" y="3848065"/>
            <a:ext cx="361665" cy="0"/>
          </a:xfrm>
          <a:prstGeom prst="line">
            <a:avLst/>
          </a:prstGeom>
          <a:noFill/>
          <a:ln w="6350" cap="flat" cmpd="sng" algn="ctr">
            <a:solidFill>
              <a:srgbClr val="BE82FF"/>
            </a:solidFill>
            <a:prstDash val="solid"/>
          </a:ln>
          <a:effectLst/>
        </p:spPr>
      </p:cxnSp>
      <p:sp>
        <p:nvSpPr>
          <p:cNvPr id="21" name="Text Box 3">
            <a:extLst>
              <a:ext uri="{FF2B5EF4-FFF2-40B4-BE49-F238E27FC236}">
                <a16:creationId xmlns:a16="http://schemas.microsoft.com/office/drawing/2014/main" id="{7CF0AB07-1941-481B-B80C-F1FB064606BF}"/>
              </a:ext>
            </a:extLst>
          </p:cNvPr>
          <p:cNvSpPr txBox="1">
            <a:spLocks noChangeArrowheads="1"/>
          </p:cNvSpPr>
          <p:nvPr/>
        </p:nvSpPr>
        <p:spPr bwMode="auto">
          <a:xfrm>
            <a:off x="5809092" y="2110645"/>
            <a:ext cx="1373944" cy="491819"/>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Graphik"/>
                <a:ea typeface="+mn-ea"/>
                <a:cs typeface="Arial" pitchFamily="34" charset="0"/>
              </a:rPr>
              <a:t>Driver #1 ... </a:t>
            </a:r>
          </a:p>
        </p:txBody>
      </p:sp>
      <p:sp>
        <p:nvSpPr>
          <p:cNvPr id="22" name="Text Box 4">
            <a:extLst>
              <a:ext uri="{FF2B5EF4-FFF2-40B4-BE49-F238E27FC236}">
                <a16:creationId xmlns:a16="http://schemas.microsoft.com/office/drawing/2014/main" id="{7AEB457A-06FD-435C-94D9-7F471F349FE9}"/>
              </a:ext>
            </a:extLst>
          </p:cNvPr>
          <p:cNvSpPr txBox="1">
            <a:spLocks noChangeArrowheads="1"/>
          </p:cNvSpPr>
          <p:nvPr/>
        </p:nvSpPr>
        <p:spPr bwMode="auto">
          <a:xfrm>
            <a:off x="5809092" y="2849515"/>
            <a:ext cx="1373944" cy="484461"/>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Graphik"/>
                <a:ea typeface="+mn-ea"/>
                <a:cs typeface="Arial" pitchFamily="34" charset="0"/>
              </a:rPr>
              <a:t>Driver #2 ... </a:t>
            </a:r>
          </a:p>
        </p:txBody>
      </p:sp>
      <p:sp>
        <p:nvSpPr>
          <p:cNvPr id="23" name="Text Box 6">
            <a:extLst>
              <a:ext uri="{FF2B5EF4-FFF2-40B4-BE49-F238E27FC236}">
                <a16:creationId xmlns:a16="http://schemas.microsoft.com/office/drawing/2014/main" id="{FC3C58E1-D8C3-4393-AC81-CA2EFA8AF9F6}"/>
              </a:ext>
            </a:extLst>
          </p:cNvPr>
          <p:cNvSpPr txBox="1">
            <a:spLocks noChangeArrowheads="1"/>
          </p:cNvSpPr>
          <p:nvPr/>
        </p:nvSpPr>
        <p:spPr bwMode="auto">
          <a:xfrm>
            <a:off x="5809092" y="4381739"/>
            <a:ext cx="1373944" cy="469750"/>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Graphik"/>
                <a:ea typeface="+mn-ea"/>
                <a:cs typeface="Arial" pitchFamily="34" charset="0"/>
              </a:rPr>
              <a:t>Driver #4 ... </a:t>
            </a:r>
          </a:p>
        </p:txBody>
      </p:sp>
      <p:sp>
        <p:nvSpPr>
          <p:cNvPr id="24" name="Text Box 7">
            <a:extLst>
              <a:ext uri="{FF2B5EF4-FFF2-40B4-BE49-F238E27FC236}">
                <a16:creationId xmlns:a16="http://schemas.microsoft.com/office/drawing/2014/main" id="{C4B7848C-C36B-4BCC-A6C7-3CFF22049C97}"/>
              </a:ext>
            </a:extLst>
          </p:cNvPr>
          <p:cNvSpPr txBox="1">
            <a:spLocks noChangeArrowheads="1"/>
          </p:cNvSpPr>
          <p:nvPr/>
        </p:nvSpPr>
        <p:spPr bwMode="auto">
          <a:xfrm>
            <a:off x="5809092" y="5098539"/>
            <a:ext cx="1373944" cy="502282"/>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Graphik"/>
                <a:ea typeface="+mn-ea"/>
                <a:cs typeface="Arial" pitchFamily="34" charset="0"/>
              </a:rPr>
              <a:t>Driver #5 ... </a:t>
            </a:r>
          </a:p>
        </p:txBody>
      </p:sp>
      <p:sp>
        <p:nvSpPr>
          <p:cNvPr id="25" name="Text Box 5">
            <a:extLst>
              <a:ext uri="{FF2B5EF4-FFF2-40B4-BE49-F238E27FC236}">
                <a16:creationId xmlns:a16="http://schemas.microsoft.com/office/drawing/2014/main" id="{3F49FFB9-B936-45C4-AD8C-5C408DD5BDD8}"/>
              </a:ext>
            </a:extLst>
          </p:cNvPr>
          <p:cNvSpPr txBox="1">
            <a:spLocks noChangeArrowheads="1"/>
          </p:cNvSpPr>
          <p:nvPr/>
        </p:nvSpPr>
        <p:spPr bwMode="auto">
          <a:xfrm>
            <a:off x="5809092" y="3581026"/>
            <a:ext cx="1373944" cy="553662"/>
          </a:xfrm>
          <a:prstGeom prst="rect">
            <a:avLst/>
          </a:prstGeom>
          <a:solidFill>
            <a:srgbClr val="A100FF"/>
          </a:solidFill>
          <a:ln w="9525">
            <a:noFill/>
            <a:miter lim="800000"/>
            <a:headEnd/>
            <a:tailEnd/>
          </a:ln>
        </p:spPr>
        <p:txBody>
          <a:bodyPr lIns="72000" rIns="45720" anchor="ctr" anchorCtr="0"/>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Graphik"/>
                <a:ea typeface="+mn-ea"/>
                <a:cs typeface="Arial" pitchFamily="34" charset="0"/>
              </a:rPr>
              <a:t>Driver #3 ... </a:t>
            </a:r>
          </a:p>
        </p:txBody>
      </p:sp>
      <p:sp>
        <p:nvSpPr>
          <p:cNvPr id="2" name="TextBox 1">
            <a:extLst>
              <a:ext uri="{FF2B5EF4-FFF2-40B4-BE49-F238E27FC236}">
                <a16:creationId xmlns:a16="http://schemas.microsoft.com/office/drawing/2014/main" id="{60553C31-1B2F-4C34-A798-531EFDC4A09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srgbClr val="000000"/>
                </a:solidFill>
                <a:effectLst/>
                <a:uLnTx/>
                <a:uFillTx/>
                <a:latin typeface="Graphik"/>
                <a:ea typeface="+mn-ea"/>
                <a:cs typeface="+mn-cs"/>
              </a:rPr>
              <a:t>&lt;Document the summary insight based on the factors which “make up” the client context. Details can be accessed based on the work undertaken in the proposal phase.  These can be detailed out as backups using the various AMC Way assets listed.&gt;</a:t>
            </a:r>
            <a:endParaRPr kumimoji="0" lang="en-US" sz="16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943E96C9-AD3C-480C-8D81-38A1836CE63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694599365"/>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Economic Model Template</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5">
            <a:extLst>
              <a:ext uri="{FF2B5EF4-FFF2-40B4-BE49-F238E27FC236}">
                <a16:creationId xmlns:a16="http://schemas.microsoft.com/office/drawing/2014/main" id="{FFBE396B-0DE5-4171-864B-687DF71339A1}"/>
              </a:ext>
            </a:extLst>
          </p:cNvPr>
          <p:cNvSpPr>
            <a:spLocks noChangeArrowheads="1"/>
          </p:cNvSpPr>
          <p:nvPr/>
        </p:nvSpPr>
        <p:spPr bwMode="auto">
          <a:xfrm>
            <a:off x="5459258" y="3246213"/>
            <a:ext cx="1482725" cy="1368425"/>
          </a:xfrm>
          <a:prstGeom prst="rect">
            <a:avLst/>
          </a:prstGeom>
          <a:solidFill>
            <a:srgbClr val="A100FF"/>
          </a:solidFill>
          <a:ln w="12700">
            <a:noFill/>
            <a:miter lim="800000"/>
            <a:headEnd/>
            <a:tailEnd/>
          </a:ln>
        </p:spPr>
        <p:txBody>
          <a:bodyPr wrap="square" lIns="72000" tIns="0" rIns="7200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Graphik"/>
                <a:ea typeface="+mn-ea"/>
                <a:cs typeface="+mn-cs"/>
              </a:rPr>
              <a:t>Compan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Graphik"/>
                <a:ea typeface="+mn-ea"/>
                <a:cs typeface="+mn-cs"/>
              </a:rPr>
              <a:t>Na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srgbClr val="FFFFFF"/>
              </a:solidFill>
              <a:effectLst/>
              <a:uLnTx/>
              <a:uFillTx/>
              <a:latin typeface="Graphik"/>
              <a:ea typeface="+mn-ea"/>
              <a:cs typeface="+mn-cs"/>
            </a:endParaRPr>
          </a:p>
        </p:txBody>
      </p:sp>
      <p:sp>
        <p:nvSpPr>
          <p:cNvPr id="7" name="Rectangle 7">
            <a:extLst>
              <a:ext uri="{FF2B5EF4-FFF2-40B4-BE49-F238E27FC236}">
                <a16:creationId xmlns:a16="http://schemas.microsoft.com/office/drawing/2014/main" id="{C34ACE23-8916-4091-B8B9-EDEE9BFB9214}"/>
              </a:ext>
            </a:extLst>
          </p:cNvPr>
          <p:cNvSpPr>
            <a:spLocks noChangeAspect="1" noChangeArrowheads="1"/>
          </p:cNvSpPr>
          <p:nvPr/>
        </p:nvSpPr>
        <p:spPr bwMode="auto">
          <a:xfrm>
            <a:off x="7703970" y="3514500"/>
            <a:ext cx="903287" cy="835025"/>
          </a:xfrm>
          <a:prstGeom prst="rect">
            <a:avLst/>
          </a:prstGeom>
          <a:solidFill>
            <a:srgbClr val="BE82FF"/>
          </a:solidFill>
          <a:ln w="12700">
            <a:noFill/>
            <a:miter lim="800000"/>
            <a:headEnd/>
            <a:tailEnd/>
          </a:ln>
        </p:spPr>
        <p:txBody>
          <a:bodyPr wrap="squar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Graphik"/>
                <a:ea typeface="+mn-ea"/>
                <a:cs typeface="+mn-cs"/>
              </a:rPr>
              <a:t>Value </a:t>
            </a:r>
            <a:br>
              <a:rPr kumimoji="0" lang="en-GB" sz="900" b="1" i="0" u="none" strike="noStrike" kern="0" cap="none" spc="0" normalizeH="0" baseline="0" noProof="0" dirty="0">
                <a:ln>
                  <a:noFill/>
                </a:ln>
                <a:solidFill>
                  <a:srgbClr val="FFFFFF"/>
                </a:solidFill>
                <a:effectLst/>
                <a:uLnTx/>
                <a:uFillTx/>
                <a:latin typeface="Graphik"/>
                <a:ea typeface="+mn-ea"/>
                <a:cs typeface="+mn-cs"/>
              </a:rPr>
            </a:br>
            <a:r>
              <a:rPr kumimoji="0" lang="en-GB" sz="900" b="1" i="0" u="none" strike="noStrike" kern="0" cap="none" spc="0" normalizeH="0" baseline="0" noProof="0" dirty="0">
                <a:ln>
                  <a:noFill/>
                </a:ln>
                <a:solidFill>
                  <a:srgbClr val="FFFFFF"/>
                </a:solidFill>
                <a:effectLst/>
                <a:uLnTx/>
                <a:uFillTx/>
                <a:latin typeface="Graphik"/>
                <a:ea typeface="+mn-ea"/>
                <a:cs typeface="+mn-cs"/>
              </a:rPr>
              <a:t>Driver 3</a:t>
            </a:r>
            <a:endParaRPr kumimoji="0" lang="en-US" sz="900" b="1" i="0" u="none" strike="noStrike" kern="0" cap="none" spc="0" normalizeH="0" baseline="0" noProof="0" dirty="0">
              <a:ln>
                <a:noFill/>
              </a:ln>
              <a:solidFill>
                <a:srgbClr val="FFFFFF"/>
              </a:solidFill>
              <a:effectLst/>
              <a:uLnTx/>
              <a:uFillTx/>
              <a:latin typeface="Graphik"/>
              <a:ea typeface="+mn-ea"/>
              <a:cs typeface="+mn-cs"/>
            </a:endParaRPr>
          </a:p>
        </p:txBody>
      </p:sp>
      <p:sp>
        <p:nvSpPr>
          <p:cNvPr id="8" name="Rectangle 8">
            <a:extLst>
              <a:ext uri="{FF2B5EF4-FFF2-40B4-BE49-F238E27FC236}">
                <a16:creationId xmlns:a16="http://schemas.microsoft.com/office/drawing/2014/main" id="{4C62199F-3155-47E5-90A5-FFF50FA8CCC9}"/>
              </a:ext>
            </a:extLst>
          </p:cNvPr>
          <p:cNvSpPr>
            <a:spLocks noChangeAspect="1" noChangeArrowheads="1"/>
          </p:cNvSpPr>
          <p:nvPr/>
        </p:nvSpPr>
        <p:spPr bwMode="auto">
          <a:xfrm>
            <a:off x="5748183" y="1916833"/>
            <a:ext cx="904875" cy="835025"/>
          </a:xfrm>
          <a:prstGeom prst="rect">
            <a:avLst/>
          </a:prstGeom>
          <a:solidFill>
            <a:srgbClr val="BE82FF"/>
          </a:solidFill>
          <a:ln w="12700">
            <a:noFill/>
            <a:miter lim="800000"/>
            <a:headEnd/>
            <a:tailEnd/>
          </a:ln>
        </p:spPr>
        <p:txBody>
          <a:bodyPr wrap="squar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Graphik"/>
                <a:ea typeface="+mn-ea"/>
                <a:cs typeface="+mn-cs"/>
              </a:rPr>
              <a:t>Value </a:t>
            </a:r>
            <a:br>
              <a:rPr kumimoji="0" lang="en-GB" sz="900" b="1" i="0" u="none" strike="noStrike" kern="0" cap="none" spc="0" normalizeH="0" baseline="0" noProof="0" dirty="0">
                <a:ln>
                  <a:noFill/>
                </a:ln>
                <a:solidFill>
                  <a:srgbClr val="FFFFFF"/>
                </a:solidFill>
                <a:effectLst/>
                <a:uLnTx/>
                <a:uFillTx/>
                <a:latin typeface="Graphik"/>
                <a:ea typeface="+mn-ea"/>
                <a:cs typeface="+mn-cs"/>
              </a:rPr>
            </a:br>
            <a:r>
              <a:rPr kumimoji="0" lang="en-GB" sz="900" b="1" i="0" u="none" strike="noStrike" kern="0" cap="none" spc="0" normalizeH="0" baseline="0" noProof="0" dirty="0">
                <a:ln>
                  <a:noFill/>
                </a:ln>
                <a:solidFill>
                  <a:srgbClr val="FFFFFF"/>
                </a:solidFill>
                <a:effectLst/>
                <a:uLnTx/>
                <a:uFillTx/>
                <a:latin typeface="Graphik"/>
                <a:ea typeface="+mn-ea"/>
                <a:cs typeface="+mn-cs"/>
              </a:rPr>
              <a:t>Driver 2</a:t>
            </a:r>
            <a:endParaRPr kumimoji="0" lang="en-US" sz="900" b="1" i="0" u="none" strike="noStrike" kern="0" cap="none" spc="0" normalizeH="0" baseline="0" noProof="0" dirty="0">
              <a:ln>
                <a:noFill/>
              </a:ln>
              <a:solidFill>
                <a:srgbClr val="FFFFFF"/>
              </a:solidFill>
              <a:effectLst/>
              <a:uLnTx/>
              <a:uFillTx/>
              <a:latin typeface="Graphik"/>
              <a:ea typeface="+mn-ea"/>
              <a:cs typeface="+mn-cs"/>
            </a:endParaRPr>
          </a:p>
        </p:txBody>
      </p:sp>
      <p:sp>
        <p:nvSpPr>
          <p:cNvPr id="9" name="Rectangle 12">
            <a:extLst>
              <a:ext uri="{FF2B5EF4-FFF2-40B4-BE49-F238E27FC236}">
                <a16:creationId xmlns:a16="http://schemas.microsoft.com/office/drawing/2014/main" id="{7D170408-E01D-4121-AC37-EF1EBC92EA5D}"/>
              </a:ext>
            </a:extLst>
          </p:cNvPr>
          <p:cNvSpPr>
            <a:spLocks noChangeArrowheads="1"/>
          </p:cNvSpPr>
          <p:nvPr/>
        </p:nvSpPr>
        <p:spPr bwMode="auto">
          <a:xfrm>
            <a:off x="8647079" y="1677165"/>
            <a:ext cx="571403" cy="147615"/>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KPI 1</a:t>
            </a:r>
          </a:p>
        </p:txBody>
      </p:sp>
      <p:cxnSp>
        <p:nvCxnSpPr>
          <p:cNvPr id="10" name="AutoShape 13">
            <a:extLst>
              <a:ext uri="{FF2B5EF4-FFF2-40B4-BE49-F238E27FC236}">
                <a16:creationId xmlns:a16="http://schemas.microsoft.com/office/drawing/2014/main" id="{E5650DEB-7B88-4F86-AD19-6104BCFA4CE9}"/>
              </a:ext>
            </a:extLst>
          </p:cNvPr>
          <p:cNvCxnSpPr>
            <a:cxnSpLocks noChangeShapeType="1"/>
          </p:cNvCxnSpPr>
          <p:nvPr/>
        </p:nvCxnSpPr>
        <p:spPr bwMode="auto">
          <a:xfrm flipV="1">
            <a:off x="6653058" y="1836062"/>
            <a:ext cx="466725" cy="519112"/>
          </a:xfrm>
          <a:prstGeom prst="bentConnector3">
            <a:avLst>
              <a:gd name="adj1" fmla="val 50000"/>
            </a:avLst>
          </a:prstGeom>
          <a:noFill/>
          <a:ln w="6350">
            <a:solidFill>
              <a:srgbClr val="BE82FF"/>
            </a:solidFill>
            <a:miter lim="800000"/>
            <a:headEnd type="triangle" w="med" len="med"/>
            <a:tailEnd/>
          </a:ln>
        </p:spPr>
      </p:cxnSp>
      <p:cxnSp>
        <p:nvCxnSpPr>
          <p:cNvPr id="11" name="AutoShape 14">
            <a:extLst>
              <a:ext uri="{FF2B5EF4-FFF2-40B4-BE49-F238E27FC236}">
                <a16:creationId xmlns:a16="http://schemas.microsoft.com/office/drawing/2014/main" id="{CE4962EE-28F6-4AB0-981D-15729BAC3972}"/>
              </a:ext>
            </a:extLst>
          </p:cNvPr>
          <p:cNvCxnSpPr>
            <a:cxnSpLocks noChangeShapeType="1"/>
          </p:cNvCxnSpPr>
          <p:nvPr/>
        </p:nvCxnSpPr>
        <p:spPr bwMode="auto">
          <a:xfrm>
            <a:off x="6653058" y="2355174"/>
            <a:ext cx="466725" cy="522288"/>
          </a:xfrm>
          <a:prstGeom prst="bentConnector3">
            <a:avLst>
              <a:gd name="adj1" fmla="val 50000"/>
            </a:avLst>
          </a:prstGeom>
          <a:noFill/>
          <a:ln w="6350">
            <a:solidFill>
              <a:srgbClr val="BE82FF"/>
            </a:solidFill>
            <a:miter lim="800000"/>
            <a:headEnd/>
            <a:tailEnd/>
          </a:ln>
        </p:spPr>
      </p:cxnSp>
      <p:cxnSp>
        <p:nvCxnSpPr>
          <p:cNvPr id="12" name="AutoShape 16">
            <a:extLst>
              <a:ext uri="{FF2B5EF4-FFF2-40B4-BE49-F238E27FC236}">
                <a16:creationId xmlns:a16="http://schemas.microsoft.com/office/drawing/2014/main" id="{D4BA6F28-EE76-4E7A-97E3-49795AC686E6}"/>
              </a:ext>
            </a:extLst>
          </p:cNvPr>
          <p:cNvCxnSpPr>
            <a:cxnSpLocks noChangeShapeType="1"/>
          </p:cNvCxnSpPr>
          <p:nvPr/>
        </p:nvCxnSpPr>
        <p:spPr bwMode="auto">
          <a:xfrm flipV="1">
            <a:off x="7926538" y="1723350"/>
            <a:ext cx="522287" cy="112713"/>
          </a:xfrm>
          <a:prstGeom prst="bentConnector3">
            <a:avLst>
              <a:gd name="adj1" fmla="val 49847"/>
            </a:avLst>
          </a:prstGeom>
          <a:noFill/>
          <a:ln w="6350">
            <a:solidFill>
              <a:srgbClr val="BE82FF"/>
            </a:solidFill>
            <a:miter lim="800000"/>
            <a:headEnd/>
            <a:tailEnd type="triangle" w="med" len="med"/>
          </a:ln>
        </p:spPr>
      </p:cxnSp>
      <p:sp>
        <p:nvSpPr>
          <p:cNvPr id="13" name="Rectangle 17">
            <a:extLst>
              <a:ext uri="{FF2B5EF4-FFF2-40B4-BE49-F238E27FC236}">
                <a16:creationId xmlns:a16="http://schemas.microsoft.com/office/drawing/2014/main" id="{067CE1BC-A4E9-4720-B6FD-8509742E1F2C}"/>
              </a:ext>
            </a:extLst>
          </p:cNvPr>
          <p:cNvSpPr>
            <a:spLocks noChangeArrowheads="1"/>
          </p:cNvSpPr>
          <p:nvPr/>
        </p:nvSpPr>
        <p:spPr bwMode="auto">
          <a:xfrm>
            <a:off x="1992313" y="4108224"/>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4</a:t>
            </a:r>
          </a:p>
        </p:txBody>
      </p:sp>
      <p:sp>
        <p:nvSpPr>
          <p:cNvPr id="14" name="Rectangle 18">
            <a:extLst>
              <a:ext uri="{FF2B5EF4-FFF2-40B4-BE49-F238E27FC236}">
                <a16:creationId xmlns:a16="http://schemas.microsoft.com/office/drawing/2014/main" id="{C6A60E0F-F988-4130-AD20-46C0BFAF038B}"/>
              </a:ext>
            </a:extLst>
          </p:cNvPr>
          <p:cNvSpPr>
            <a:spLocks noChangeArrowheads="1"/>
          </p:cNvSpPr>
          <p:nvPr/>
        </p:nvSpPr>
        <p:spPr bwMode="auto">
          <a:xfrm>
            <a:off x="1992313" y="4392387"/>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5</a:t>
            </a:r>
          </a:p>
        </p:txBody>
      </p:sp>
      <p:sp>
        <p:nvSpPr>
          <p:cNvPr id="15" name="Rectangle 20">
            <a:extLst>
              <a:ext uri="{FF2B5EF4-FFF2-40B4-BE49-F238E27FC236}">
                <a16:creationId xmlns:a16="http://schemas.microsoft.com/office/drawing/2014/main" id="{3C9F01B6-07F0-47C9-8420-5829E1132205}"/>
              </a:ext>
            </a:extLst>
          </p:cNvPr>
          <p:cNvSpPr>
            <a:spLocks noChangeArrowheads="1"/>
          </p:cNvSpPr>
          <p:nvPr/>
        </p:nvSpPr>
        <p:spPr bwMode="auto">
          <a:xfrm>
            <a:off x="1992313" y="3825649"/>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3</a:t>
            </a:r>
          </a:p>
        </p:txBody>
      </p:sp>
      <p:sp>
        <p:nvSpPr>
          <p:cNvPr id="16" name="Rectangle 21">
            <a:extLst>
              <a:ext uri="{FF2B5EF4-FFF2-40B4-BE49-F238E27FC236}">
                <a16:creationId xmlns:a16="http://schemas.microsoft.com/office/drawing/2014/main" id="{4D38B537-D07A-4A18-A219-ED73606431B5}"/>
              </a:ext>
            </a:extLst>
          </p:cNvPr>
          <p:cNvSpPr>
            <a:spLocks noChangeArrowheads="1"/>
          </p:cNvSpPr>
          <p:nvPr/>
        </p:nvSpPr>
        <p:spPr bwMode="auto">
          <a:xfrm>
            <a:off x="1992313" y="3541487"/>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2</a:t>
            </a:r>
          </a:p>
        </p:txBody>
      </p:sp>
      <p:cxnSp>
        <p:nvCxnSpPr>
          <p:cNvPr id="17" name="AutoShape 27">
            <a:extLst>
              <a:ext uri="{FF2B5EF4-FFF2-40B4-BE49-F238E27FC236}">
                <a16:creationId xmlns:a16="http://schemas.microsoft.com/office/drawing/2014/main" id="{2C179F8B-10D7-48BD-8556-A554E42A896D}"/>
              </a:ext>
            </a:extLst>
          </p:cNvPr>
          <p:cNvCxnSpPr>
            <a:cxnSpLocks noChangeShapeType="1"/>
            <a:stCxn id="8" idx="2"/>
            <a:endCxn id="6" idx="0"/>
          </p:cNvCxnSpPr>
          <p:nvPr/>
        </p:nvCxnSpPr>
        <p:spPr bwMode="auto">
          <a:xfrm>
            <a:off x="6200620" y="2751858"/>
            <a:ext cx="0" cy="494355"/>
          </a:xfrm>
          <a:prstGeom prst="straightConnector1">
            <a:avLst/>
          </a:prstGeom>
          <a:noFill/>
          <a:ln w="6350">
            <a:solidFill>
              <a:srgbClr val="BE82FF"/>
            </a:solidFill>
            <a:round/>
            <a:headEnd/>
            <a:tailEnd type="triangle" w="med" len="med"/>
          </a:ln>
        </p:spPr>
      </p:cxnSp>
      <p:cxnSp>
        <p:nvCxnSpPr>
          <p:cNvPr id="18" name="AutoShape 28">
            <a:extLst>
              <a:ext uri="{FF2B5EF4-FFF2-40B4-BE49-F238E27FC236}">
                <a16:creationId xmlns:a16="http://schemas.microsoft.com/office/drawing/2014/main" id="{71BB82FA-2F3C-44E8-9F50-943D47B497F5}"/>
              </a:ext>
            </a:extLst>
          </p:cNvPr>
          <p:cNvCxnSpPr>
            <a:cxnSpLocks noChangeShapeType="1"/>
            <a:stCxn id="6" idx="1"/>
            <a:endCxn id="69" idx="3"/>
          </p:cNvCxnSpPr>
          <p:nvPr/>
        </p:nvCxnSpPr>
        <p:spPr bwMode="auto">
          <a:xfrm flipH="1">
            <a:off x="4585051" y="3930425"/>
            <a:ext cx="874206" cy="0"/>
          </a:xfrm>
          <a:prstGeom prst="straightConnector1">
            <a:avLst/>
          </a:prstGeom>
          <a:noFill/>
          <a:ln w="6350">
            <a:solidFill>
              <a:srgbClr val="BE82FF"/>
            </a:solidFill>
            <a:round/>
            <a:headEnd type="none"/>
            <a:tailEnd type="triangle" w="med" len="med"/>
          </a:ln>
        </p:spPr>
      </p:cxnSp>
      <p:cxnSp>
        <p:nvCxnSpPr>
          <p:cNvPr id="19" name="AutoShape 29">
            <a:extLst>
              <a:ext uri="{FF2B5EF4-FFF2-40B4-BE49-F238E27FC236}">
                <a16:creationId xmlns:a16="http://schemas.microsoft.com/office/drawing/2014/main" id="{C4F84F43-E11F-42AF-8872-59302C1EED9E}"/>
              </a:ext>
            </a:extLst>
          </p:cNvPr>
          <p:cNvCxnSpPr>
            <a:cxnSpLocks noChangeShapeType="1"/>
            <a:stCxn id="7" idx="3"/>
          </p:cNvCxnSpPr>
          <p:nvPr/>
        </p:nvCxnSpPr>
        <p:spPr bwMode="auto">
          <a:xfrm flipV="1">
            <a:off x="8607256" y="3735162"/>
            <a:ext cx="755650" cy="196850"/>
          </a:xfrm>
          <a:prstGeom prst="bentConnector3">
            <a:avLst>
              <a:gd name="adj1" fmla="val 49792"/>
            </a:avLst>
          </a:prstGeom>
          <a:noFill/>
          <a:ln w="6350">
            <a:solidFill>
              <a:srgbClr val="BE82FF"/>
            </a:solidFill>
            <a:miter lim="800000"/>
            <a:headEnd/>
            <a:tailEnd type="triangle" w="med" len="med"/>
          </a:ln>
        </p:spPr>
      </p:cxnSp>
      <p:cxnSp>
        <p:nvCxnSpPr>
          <p:cNvPr id="20" name="AutoShape 30">
            <a:extLst>
              <a:ext uri="{FF2B5EF4-FFF2-40B4-BE49-F238E27FC236}">
                <a16:creationId xmlns:a16="http://schemas.microsoft.com/office/drawing/2014/main" id="{1338F5F5-282D-44A1-BE2A-553D96C3D410}"/>
              </a:ext>
            </a:extLst>
          </p:cNvPr>
          <p:cNvCxnSpPr>
            <a:cxnSpLocks noChangeShapeType="1"/>
            <a:stCxn id="7" idx="3"/>
          </p:cNvCxnSpPr>
          <p:nvPr/>
        </p:nvCxnSpPr>
        <p:spPr bwMode="auto">
          <a:xfrm>
            <a:off x="8607256" y="3932013"/>
            <a:ext cx="755650" cy="193675"/>
          </a:xfrm>
          <a:prstGeom prst="bentConnector3">
            <a:avLst>
              <a:gd name="adj1" fmla="val 50000"/>
            </a:avLst>
          </a:prstGeom>
          <a:noFill/>
          <a:ln w="6350">
            <a:solidFill>
              <a:srgbClr val="BE82FF"/>
            </a:solidFill>
            <a:miter lim="800000"/>
            <a:headEnd/>
            <a:tailEnd type="triangle" w="med" len="med"/>
          </a:ln>
          <a:effectLst/>
        </p:spPr>
      </p:cxnSp>
      <p:sp>
        <p:nvSpPr>
          <p:cNvPr id="21" name="Rectangle 31">
            <a:extLst>
              <a:ext uri="{FF2B5EF4-FFF2-40B4-BE49-F238E27FC236}">
                <a16:creationId xmlns:a16="http://schemas.microsoft.com/office/drawing/2014/main" id="{0EC9DD5D-D05E-4EAF-9DB1-857CC4A8FA8D}"/>
              </a:ext>
            </a:extLst>
          </p:cNvPr>
          <p:cNvSpPr>
            <a:spLocks noChangeArrowheads="1"/>
          </p:cNvSpPr>
          <p:nvPr/>
        </p:nvSpPr>
        <p:spPr bwMode="auto">
          <a:xfrm>
            <a:off x="8647079" y="1897181"/>
            <a:ext cx="571403" cy="132305"/>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KPI 2</a:t>
            </a:r>
          </a:p>
        </p:txBody>
      </p:sp>
      <p:cxnSp>
        <p:nvCxnSpPr>
          <p:cNvPr id="22" name="AutoShape 33">
            <a:extLst>
              <a:ext uri="{FF2B5EF4-FFF2-40B4-BE49-F238E27FC236}">
                <a16:creationId xmlns:a16="http://schemas.microsoft.com/office/drawing/2014/main" id="{5F5AAC8C-039D-46B1-B79F-E639EC8DB6B1}"/>
              </a:ext>
            </a:extLst>
          </p:cNvPr>
          <p:cNvCxnSpPr>
            <a:cxnSpLocks noChangeShapeType="1"/>
          </p:cNvCxnSpPr>
          <p:nvPr/>
        </p:nvCxnSpPr>
        <p:spPr bwMode="auto">
          <a:xfrm>
            <a:off x="7926538" y="1836063"/>
            <a:ext cx="522287" cy="122237"/>
          </a:xfrm>
          <a:prstGeom prst="bentConnector3">
            <a:avLst>
              <a:gd name="adj1" fmla="val 49847"/>
            </a:avLst>
          </a:prstGeom>
          <a:noFill/>
          <a:ln w="6350">
            <a:solidFill>
              <a:srgbClr val="BE82FF"/>
            </a:solidFill>
            <a:miter lim="800000"/>
            <a:headEnd/>
            <a:tailEnd type="triangle" w="med" len="med"/>
          </a:ln>
        </p:spPr>
      </p:cxnSp>
      <p:sp>
        <p:nvSpPr>
          <p:cNvPr id="23" name="Rectangle 35">
            <a:extLst>
              <a:ext uri="{FF2B5EF4-FFF2-40B4-BE49-F238E27FC236}">
                <a16:creationId xmlns:a16="http://schemas.microsoft.com/office/drawing/2014/main" id="{2DC6A628-9A07-4E75-A893-432B37EA4AC3}"/>
              </a:ext>
            </a:extLst>
          </p:cNvPr>
          <p:cNvSpPr>
            <a:spLocks noChangeArrowheads="1"/>
          </p:cNvSpPr>
          <p:nvPr/>
        </p:nvSpPr>
        <p:spPr bwMode="auto">
          <a:xfrm>
            <a:off x="8647079" y="2188340"/>
            <a:ext cx="571403" cy="137318"/>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KPI 3</a:t>
            </a:r>
          </a:p>
        </p:txBody>
      </p:sp>
      <p:sp>
        <p:nvSpPr>
          <p:cNvPr id="24" name="Rectangle 36">
            <a:extLst>
              <a:ext uri="{FF2B5EF4-FFF2-40B4-BE49-F238E27FC236}">
                <a16:creationId xmlns:a16="http://schemas.microsoft.com/office/drawing/2014/main" id="{EEC72E9A-D3C3-4542-9E14-2B7E015B6E28}"/>
              </a:ext>
            </a:extLst>
          </p:cNvPr>
          <p:cNvSpPr>
            <a:spLocks noChangeArrowheads="1"/>
          </p:cNvSpPr>
          <p:nvPr/>
        </p:nvSpPr>
        <p:spPr bwMode="auto">
          <a:xfrm>
            <a:off x="8647079" y="2412209"/>
            <a:ext cx="571403" cy="117475"/>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KPI 4</a:t>
            </a:r>
          </a:p>
        </p:txBody>
      </p:sp>
      <p:cxnSp>
        <p:nvCxnSpPr>
          <p:cNvPr id="25" name="AutoShape 37">
            <a:extLst>
              <a:ext uri="{FF2B5EF4-FFF2-40B4-BE49-F238E27FC236}">
                <a16:creationId xmlns:a16="http://schemas.microsoft.com/office/drawing/2014/main" id="{0B2FDADC-4DAD-4177-9F7B-AB6475AC06A3}"/>
              </a:ext>
            </a:extLst>
          </p:cNvPr>
          <p:cNvCxnSpPr>
            <a:cxnSpLocks noChangeShapeType="1"/>
          </p:cNvCxnSpPr>
          <p:nvPr/>
        </p:nvCxnSpPr>
        <p:spPr bwMode="auto">
          <a:xfrm>
            <a:off x="7945588" y="2356762"/>
            <a:ext cx="503237" cy="127000"/>
          </a:xfrm>
          <a:prstGeom prst="bentConnector3">
            <a:avLst>
              <a:gd name="adj1" fmla="val 49843"/>
            </a:avLst>
          </a:prstGeom>
          <a:noFill/>
          <a:ln w="6350">
            <a:solidFill>
              <a:srgbClr val="BE82FF"/>
            </a:solidFill>
            <a:miter lim="800000"/>
            <a:headEnd/>
            <a:tailEnd type="triangle" w="med" len="med"/>
          </a:ln>
        </p:spPr>
      </p:cxnSp>
      <p:cxnSp>
        <p:nvCxnSpPr>
          <p:cNvPr id="26" name="AutoShape 38">
            <a:extLst>
              <a:ext uri="{FF2B5EF4-FFF2-40B4-BE49-F238E27FC236}">
                <a16:creationId xmlns:a16="http://schemas.microsoft.com/office/drawing/2014/main" id="{25BA33CB-0046-4E8D-B196-A9AE68D5A2AB}"/>
              </a:ext>
            </a:extLst>
          </p:cNvPr>
          <p:cNvCxnSpPr>
            <a:cxnSpLocks noChangeShapeType="1"/>
          </p:cNvCxnSpPr>
          <p:nvPr/>
        </p:nvCxnSpPr>
        <p:spPr bwMode="auto">
          <a:xfrm flipV="1">
            <a:off x="7945588" y="2234524"/>
            <a:ext cx="503237" cy="122238"/>
          </a:xfrm>
          <a:prstGeom prst="bentConnector3">
            <a:avLst>
              <a:gd name="adj1" fmla="val 49843"/>
            </a:avLst>
          </a:prstGeom>
          <a:noFill/>
          <a:ln w="6350">
            <a:solidFill>
              <a:srgbClr val="BE82FF"/>
            </a:solidFill>
            <a:miter lim="800000"/>
            <a:headEnd/>
            <a:tailEnd type="triangle" w="med" len="med"/>
          </a:ln>
        </p:spPr>
      </p:cxnSp>
      <p:sp>
        <p:nvSpPr>
          <p:cNvPr id="27" name="Rectangle 41">
            <a:extLst>
              <a:ext uri="{FF2B5EF4-FFF2-40B4-BE49-F238E27FC236}">
                <a16:creationId xmlns:a16="http://schemas.microsoft.com/office/drawing/2014/main" id="{822F379C-65A3-4D94-839E-E734AD64265F}"/>
              </a:ext>
            </a:extLst>
          </p:cNvPr>
          <p:cNvSpPr>
            <a:spLocks noChangeArrowheads="1"/>
          </p:cNvSpPr>
          <p:nvPr/>
        </p:nvSpPr>
        <p:spPr bwMode="auto">
          <a:xfrm>
            <a:off x="8647078" y="2661968"/>
            <a:ext cx="653278" cy="168472"/>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KPI 5</a:t>
            </a:r>
          </a:p>
        </p:txBody>
      </p:sp>
      <p:cxnSp>
        <p:nvCxnSpPr>
          <p:cNvPr id="28" name="AutoShape 44">
            <a:extLst>
              <a:ext uri="{FF2B5EF4-FFF2-40B4-BE49-F238E27FC236}">
                <a16:creationId xmlns:a16="http://schemas.microsoft.com/office/drawing/2014/main" id="{CC8D8096-BF74-4B6B-9732-FA1B10989A14}"/>
              </a:ext>
            </a:extLst>
          </p:cNvPr>
          <p:cNvCxnSpPr>
            <a:cxnSpLocks noChangeShapeType="1"/>
          </p:cNvCxnSpPr>
          <p:nvPr/>
        </p:nvCxnSpPr>
        <p:spPr bwMode="auto">
          <a:xfrm flipV="1">
            <a:off x="7947174" y="2745700"/>
            <a:ext cx="501650" cy="131763"/>
          </a:xfrm>
          <a:prstGeom prst="bentConnector3">
            <a:avLst>
              <a:gd name="adj1" fmla="val 50000"/>
            </a:avLst>
          </a:prstGeom>
          <a:noFill/>
          <a:ln w="6350">
            <a:solidFill>
              <a:srgbClr val="BE82FF"/>
            </a:solidFill>
            <a:miter lim="800000"/>
            <a:headEnd/>
            <a:tailEnd type="triangle" w="med" len="med"/>
          </a:ln>
        </p:spPr>
      </p:cxnSp>
      <p:cxnSp>
        <p:nvCxnSpPr>
          <p:cNvPr id="29" name="AutoShape 51">
            <a:extLst>
              <a:ext uri="{FF2B5EF4-FFF2-40B4-BE49-F238E27FC236}">
                <a16:creationId xmlns:a16="http://schemas.microsoft.com/office/drawing/2014/main" id="{90970ECA-BC8C-4320-ABE1-750B9CBE8B15}"/>
              </a:ext>
            </a:extLst>
          </p:cNvPr>
          <p:cNvCxnSpPr>
            <a:cxnSpLocks noChangeShapeType="1"/>
            <a:endCxn id="8" idx="1"/>
          </p:cNvCxnSpPr>
          <p:nvPr/>
        </p:nvCxnSpPr>
        <p:spPr bwMode="auto">
          <a:xfrm flipV="1">
            <a:off x="4567094" y="2334346"/>
            <a:ext cx="1181089" cy="133349"/>
          </a:xfrm>
          <a:prstGeom prst="bentConnector3">
            <a:avLst>
              <a:gd name="adj1" fmla="val 28226"/>
            </a:avLst>
          </a:prstGeom>
          <a:noFill/>
          <a:ln w="6350">
            <a:solidFill>
              <a:srgbClr val="BE82FF"/>
            </a:solidFill>
            <a:miter lim="800000"/>
            <a:headEnd/>
            <a:tailEnd type="triangle" w="med" len="med"/>
          </a:ln>
        </p:spPr>
      </p:cxnSp>
      <p:cxnSp>
        <p:nvCxnSpPr>
          <p:cNvPr id="30" name="AutoShape 52">
            <a:extLst>
              <a:ext uri="{FF2B5EF4-FFF2-40B4-BE49-F238E27FC236}">
                <a16:creationId xmlns:a16="http://schemas.microsoft.com/office/drawing/2014/main" id="{53E93A80-584D-4353-800F-D2DE7D8BEAC2}"/>
              </a:ext>
            </a:extLst>
          </p:cNvPr>
          <p:cNvCxnSpPr>
            <a:cxnSpLocks noChangeShapeType="1"/>
            <a:endCxn id="8" idx="1"/>
          </p:cNvCxnSpPr>
          <p:nvPr/>
        </p:nvCxnSpPr>
        <p:spPr bwMode="auto">
          <a:xfrm>
            <a:off x="4567094" y="2142257"/>
            <a:ext cx="1181089" cy="192088"/>
          </a:xfrm>
          <a:prstGeom prst="bentConnector3">
            <a:avLst>
              <a:gd name="adj1" fmla="val 28226"/>
            </a:avLst>
          </a:prstGeom>
          <a:noFill/>
          <a:ln w="6350">
            <a:solidFill>
              <a:srgbClr val="BE82FF"/>
            </a:solidFill>
            <a:miter lim="800000"/>
            <a:headEnd/>
            <a:tailEnd type="triangle" w="med" len="med"/>
          </a:ln>
        </p:spPr>
      </p:cxnSp>
      <p:cxnSp>
        <p:nvCxnSpPr>
          <p:cNvPr id="31" name="AutoShape 53">
            <a:extLst>
              <a:ext uri="{FF2B5EF4-FFF2-40B4-BE49-F238E27FC236}">
                <a16:creationId xmlns:a16="http://schemas.microsoft.com/office/drawing/2014/main" id="{34289E1B-7780-4CD9-8306-AD1A95D6AB43}"/>
              </a:ext>
            </a:extLst>
          </p:cNvPr>
          <p:cNvCxnSpPr>
            <a:cxnSpLocks noChangeShapeType="1"/>
            <a:endCxn id="8" idx="1"/>
          </p:cNvCxnSpPr>
          <p:nvPr/>
        </p:nvCxnSpPr>
        <p:spPr bwMode="auto">
          <a:xfrm>
            <a:off x="4567094" y="1816819"/>
            <a:ext cx="1181089" cy="517526"/>
          </a:xfrm>
          <a:prstGeom prst="bentConnector3">
            <a:avLst>
              <a:gd name="adj1" fmla="val 28226"/>
            </a:avLst>
          </a:prstGeom>
          <a:noFill/>
          <a:ln w="6350">
            <a:solidFill>
              <a:srgbClr val="BE82FF"/>
            </a:solidFill>
            <a:miter lim="800000"/>
            <a:headEnd/>
            <a:tailEnd type="triangle" w="med" len="med"/>
          </a:ln>
        </p:spPr>
      </p:cxnSp>
      <p:cxnSp>
        <p:nvCxnSpPr>
          <p:cNvPr id="32" name="AutoShape 27">
            <a:extLst>
              <a:ext uri="{FF2B5EF4-FFF2-40B4-BE49-F238E27FC236}">
                <a16:creationId xmlns:a16="http://schemas.microsoft.com/office/drawing/2014/main" id="{C26F046A-3369-4232-8550-60CB6FA1CF93}"/>
              </a:ext>
            </a:extLst>
          </p:cNvPr>
          <p:cNvCxnSpPr>
            <a:cxnSpLocks noChangeShapeType="1"/>
            <a:stCxn id="7" idx="1"/>
            <a:endCxn id="6" idx="3"/>
          </p:cNvCxnSpPr>
          <p:nvPr/>
        </p:nvCxnSpPr>
        <p:spPr bwMode="auto">
          <a:xfrm flipH="1" flipV="1">
            <a:off x="6941983" y="3930426"/>
            <a:ext cx="761987" cy="1587"/>
          </a:xfrm>
          <a:prstGeom prst="straightConnector1">
            <a:avLst/>
          </a:prstGeom>
          <a:noFill/>
          <a:ln w="6350">
            <a:solidFill>
              <a:srgbClr val="BE82FF"/>
            </a:solidFill>
            <a:round/>
            <a:headEnd/>
            <a:tailEnd type="triangle" w="med" len="med"/>
          </a:ln>
          <a:effectLst/>
        </p:spPr>
      </p:cxnSp>
      <p:cxnSp>
        <p:nvCxnSpPr>
          <p:cNvPr id="33" name="Straight Connector 32">
            <a:extLst>
              <a:ext uri="{FF2B5EF4-FFF2-40B4-BE49-F238E27FC236}">
                <a16:creationId xmlns:a16="http://schemas.microsoft.com/office/drawing/2014/main" id="{B4014589-F230-4152-B009-714477291074}"/>
              </a:ext>
            </a:extLst>
          </p:cNvPr>
          <p:cNvCxnSpPr/>
          <p:nvPr/>
        </p:nvCxnSpPr>
        <p:spPr bwMode="auto">
          <a:xfrm>
            <a:off x="1611313" y="4939405"/>
            <a:ext cx="8877300" cy="1588"/>
          </a:xfrm>
          <a:prstGeom prst="line">
            <a:avLst/>
          </a:prstGeom>
          <a:noFill/>
          <a:ln w="9525" cap="flat" cmpd="sng" algn="ctr">
            <a:solidFill>
              <a:srgbClr val="A100FF">
                <a:shade val="95000"/>
                <a:satMod val="105000"/>
              </a:srgbClr>
            </a:solidFill>
            <a:prstDash val="dashDot"/>
          </a:ln>
          <a:effectLst/>
        </p:spPr>
      </p:cxnSp>
      <p:sp>
        <p:nvSpPr>
          <p:cNvPr id="34" name="Rectangle 45">
            <a:extLst>
              <a:ext uri="{FF2B5EF4-FFF2-40B4-BE49-F238E27FC236}">
                <a16:creationId xmlns:a16="http://schemas.microsoft.com/office/drawing/2014/main" id="{0397F30D-EAB3-4B6C-AD27-F16D8C70403C}"/>
              </a:ext>
            </a:extLst>
          </p:cNvPr>
          <p:cNvSpPr>
            <a:spLocks noChangeArrowheads="1"/>
          </p:cNvSpPr>
          <p:nvPr/>
        </p:nvSpPr>
        <p:spPr bwMode="auto">
          <a:xfrm>
            <a:off x="5987989" y="5179829"/>
            <a:ext cx="1584325" cy="261937"/>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Intangible factor 1</a:t>
            </a:r>
          </a:p>
        </p:txBody>
      </p:sp>
      <p:sp>
        <p:nvSpPr>
          <p:cNvPr id="35" name="Rectangle 45">
            <a:extLst>
              <a:ext uri="{FF2B5EF4-FFF2-40B4-BE49-F238E27FC236}">
                <a16:creationId xmlns:a16="http://schemas.microsoft.com/office/drawing/2014/main" id="{9234AD4E-DFCF-4B1A-862E-2587CF85FB3F}"/>
              </a:ext>
            </a:extLst>
          </p:cNvPr>
          <p:cNvSpPr>
            <a:spLocks noChangeArrowheads="1"/>
          </p:cNvSpPr>
          <p:nvPr/>
        </p:nvSpPr>
        <p:spPr bwMode="auto">
          <a:xfrm>
            <a:off x="5987989" y="5471929"/>
            <a:ext cx="1584325" cy="261937"/>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Intangible factor 2</a:t>
            </a:r>
          </a:p>
        </p:txBody>
      </p:sp>
      <p:sp>
        <p:nvSpPr>
          <p:cNvPr id="36" name="Rectangle 45">
            <a:extLst>
              <a:ext uri="{FF2B5EF4-FFF2-40B4-BE49-F238E27FC236}">
                <a16:creationId xmlns:a16="http://schemas.microsoft.com/office/drawing/2014/main" id="{A9229B4A-9FAA-4764-8D78-7FCE1D205362}"/>
              </a:ext>
            </a:extLst>
          </p:cNvPr>
          <p:cNvSpPr>
            <a:spLocks noChangeArrowheads="1"/>
          </p:cNvSpPr>
          <p:nvPr/>
        </p:nvSpPr>
        <p:spPr bwMode="auto">
          <a:xfrm>
            <a:off x="5987989" y="5776729"/>
            <a:ext cx="1584325" cy="261937"/>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Intangible factor 3</a:t>
            </a:r>
          </a:p>
        </p:txBody>
      </p:sp>
      <p:sp>
        <p:nvSpPr>
          <p:cNvPr id="37" name="Rectangle 45">
            <a:extLst>
              <a:ext uri="{FF2B5EF4-FFF2-40B4-BE49-F238E27FC236}">
                <a16:creationId xmlns:a16="http://schemas.microsoft.com/office/drawing/2014/main" id="{CB5E3B6D-1103-4179-957E-022CBA8520D6}"/>
              </a:ext>
            </a:extLst>
          </p:cNvPr>
          <p:cNvSpPr>
            <a:spLocks noChangeArrowheads="1"/>
          </p:cNvSpPr>
          <p:nvPr/>
        </p:nvSpPr>
        <p:spPr bwMode="auto">
          <a:xfrm>
            <a:off x="5987988" y="6068829"/>
            <a:ext cx="1752600" cy="261937"/>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Intangible factor 4</a:t>
            </a:r>
          </a:p>
        </p:txBody>
      </p:sp>
      <p:cxnSp>
        <p:nvCxnSpPr>
          <p:cNvPr id="38" name="AutoShape 51">
            <a:extLst>
              <a:ext uri="{FF2B5EF4-FFF2-40B4-BE49-F238E27FC236}">
                <a16:creationId xmlns:a16="http://schemas.microsoft.com/office/drawing/2014/main" id="{297AC21A-5E92-4C4D-A998-B3274DA8D216}"/>
              </a:ext>
            </a:extLst>
          </p:cNvPr>
          <p:cNvCxnSpPr>
            <a:cxnSpLocks noChangeShapeType="1"/>
            <a:endCxn id="8" idx="1"/>
          </p:cNvCxnSpPr>
          <p:nvPr/>
        </p:nvCxnSpPr>
        <p:spPr bwMode="auto">
          <a:xfrm flipV="1">
            <a:off x="4567094" y="2334346"/>
            <a:ext cx="1181089" cy="487363"/>
          </a:xfrm>
          <a:prstGeom prst="bentConnector3">
            <a:avLst>
              <a:gd name="adj1" fmla="val 28226"/>
            </a:avLst>
          </a:prstGeom>
          <a:noFill/>
          <a:ln w="6350">
            <a:solidFill>
              <a:srgbClr val="BE82FF"/>
            </a:solidFill>
            <a:miter lim="800000"/>
            <a:headEnd/>
            <a:tailEnd type="triangle" w="med" len="med"/>
          </a:ln>
        </p:spPr>
      </p:cxnSp>
      <p:sp>
        <p:nvSpPr>
          <p:cNvPr id="39" name="Rectangle 59">
            <a:extLst>
              <a:ext uri="{FF2B5EF4-FFF2-40B4-BE49-F238E27FC236}">
                <a16:creationId xmlns:a16="http://schemas.microsoft.com/office/drawing/2014/main" id="{F785880D-1C9D-4635-A592-610A34036A1D}"/>
              </a:ext>
            </a:extLst>
          </p:cNvPr>
          <p:cNvSpPr>
            <a:spLocks noChangeAspect="1" noChangeArrowheads="1"/>
          </p:cNvSpPr>
          <p:nvPr/>
        </p:nvSpPr>
        <p:spPr bwMode="auto">
          <a:xfrm>
            <a:off x="5531178" y="4312840"/>
            <a:ext cx="423503" cy="268288"/>
          </a:xfrm>
          <a:prstGeom prst="rect">
            <a:avLst/>
          </a:prstGeom>
          <a:solidFill>
            <a:srgbClr val="FFFFFF"/>
          </a:solidFill>
          <a:ln w="12700">
            <a:noFill/>
            <a:miter lim="800000"/>
            <a:headEnd type="none" w="sm" len="sm"/>
            <a:tailEnd type="none" w="sm" len="sm"/>
          </a:ln>
        </p:spPr>
        <p:txBody>
          <a:bodyPr lIns="36000" tIns="0" rIns="36000" bIns="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Graphik"/>
                <a:ea typeface="+mn-ea"/>
                <a:cs typeface="+mn-cs"/>
              </a:rPr>
              <a:t>SBU1</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40" name="Rectangle 59">
            <a:extLst>
              <a:ext uri="{FF2B5EF4-FFF2-40B4-BE49-F238E27FC236}">
                <a16:creationId xmlns:a16="http://schemas.microsoft.com/office/drawing/2014/main" id="{EEFD7F20-E9BD-411D-92F4-DC7F8AD4E64F}"/>
              </a:ext>
            </a:extLst>
          </p:cNvPr>
          <p:cNvSpPr>
            <a:spLocks noChangeAspect="1" noChangeArrowheads="1"/>
          </p:cNvSpPr>
          <p:nvPr/>
        </p:nvSpPr>
        <p:spPr bwMode="auto">
          <a:xfrm>
            <a:off x="5988869" y="4312840"/>
            <a:ext cx="423503" cy="268288"/>
          </a:xfrm>
          <a:prstGeom prst="rect">
            <a:avLst/>
          </a:prstGeom>
          <a:solidFill>
            <a:srgbClr val="FFFFFF"/>
          </a:solidFill>
          <a:ln w="12700">
            <a:noFill/>
            <a:miter lim="800000"/>
            <a:headEnd type="none" w="sm" len="sm"/>
            <a:tailEnd type="none" w="sm" len="sm"/>
          </a:ln>
        </p:spPr>
        <p:txBody>
          <a:bodyPr lIns="36000" tIns="0" rIns="36000" bIns="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Graphik"/>
                <a:ea typeface="+mn-ea"/>
                <a:cs typeface="+mn-cs"/>
              </a:rPr>
              <a:t>SBU2</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41" name="Rectangle 59">
            <a:extLst>
              <a:ext uri="{FF2B5EF4-FFF2-40B4-BE49-F238E27FC236}">
                <a16:creationId xmlns:a16="http://schemas.microsoft.com/office/drawing/2014/main" id="{78627189-8A2A-484B-AB8B-EBC4D81E8DC7}"/>
              </a:ext>
            </a:extLst>
          </p:cNvPr>
          <p:cNvSpPr>
            <a:spLocks noChangeAspect="1" noChangeArrowheads="1"/>
          </p:cNvSpPr>
          <p:nvPr/>
        </p:nvSpPr>
        <p:spPr bwMode="auto">
          <a:xfrm>
            <a:off x="6462915" y="4312840"/>
            <a:ext cx="423503" cy="268288"/>
          </a:xfrm>
          <a:prstGeom prst="rect">
            <a:avLst/>
          </a:prstGeom>
          <a:solidFill>
            <a:srgbClr val="FFFFFF"/>
          </a:solidFill>
          <a:ln w="12700">
            <a:noFill/>
            <a:miter lim="800000"/>
            <a:headEnd type="none" w="sm" len="sm"/>
            <a:tailEnd type="none" w="sm" len="sm"/>
          </a:ln>
        </p:spPr>
        <p:txBody>
          <a:bodyPr lIns="36000" tIns="0" rIns="36000" bIns="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Graphik"/>
                <a:ea typeface="+mn-ea"/>
                <a:cs typeface="+mn-cs"/>
              </a:rPr>
              <a:t>SBU3</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42" name="Rectangle 41">
            <a:extLst>
              <a:ext uri="{FF2B5EF4-FFF2-40B4-BE49-F238E27FC236}">
                <a16:creationId xmlns:a16="http://schemas.microsoft.com/office/drawing/2014/main" id="{D2C7AAB2-11E9-434C-8759-0CEC51349F64}"/>
              </a:ext>
            </a:extLst>
          </p:cNvPr>
          <p:cNvSpPr>
            <a:spLocks noChangeArrowheads="1"/>
          </p:cNvSpPr>
          <p:nvPr/>
        </p:nvSpPr>
        <p:spPr bwMode="auto">
          <a:xfrm>
            <a:off x="8647078" y="2915968"/>
            <a:ext cx="653278" cy="152992"/>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KPI 6</a:t>
            </a:r>
          </a:p>
        </p:txBody>
      </p:sp>
      <p:cxnSp>
        <p:nvCxnSpPr>
          <p:cNvPr id="43" name="AutoShape 87">
            <a:extLst>
              <a:ext uri="{FF2B5EF4-FFF2-40B4-BE49-F238E27FC236}">
                <a16:creationId xmlns:a16="http://schemas.microsoft.com/office/drawing/2014/main" id="{0BF97A65-9525-4A69-97FC-259B2B42DD49}"/>
              </a:ext>
            </a:extLst>
          </p:cNvPr>
          <p:cNvCxnSpPr>
            <a:cxnSpLocks noChangeShapeType="1"/>
          </p:cNvCxnSpPr>
          <p:nvPr/>
        </p:nvCxnSpPr>
        <p:spPr bwMode="auto">
          <a:xfrm>
            <a:off x="7947174" y="2877463"/>
            <a:ext cx="501650" cy="122237"/>
          </a:xfrm>
          <a:prstGeom prst="bentConnector3">
            <a:avLst>
              <a:gd name="adj1" fmla="val 50000"/>
            </a:avLst>
          </a:prstGeom>
          <a:noFill/>
          <a:ln w="6350">
            <a:solidFill>
              <a:srgbClr val="BE82FF"/>
            </a:solidFill>
            <a:miter lim="800000"/>
            <a:headEnd/>
            <a:tailEnd type="triangle" w="med" len="med"/>
          </a:ln>
        </p:spPr>
      </p:cxnSp>
      <p:sp>
        <p:nvSpPr>
          <p:cNvPr id="44" name="Text Box 82">
            <a:extLst>
              <a:ext uri="{FF2B5EF4-FFF2-40B4-BE49-F238E27FC236}">
                <a16:creationId xmlns:a16="http://schemas.microsoft.com/office/drawing/2014/main" id="{ADD46CEA-30C6-455E-B376-7A2DF534D2DC}"/>
              </a:ext>
            </a:extLst>
          </p:cNvPr>
          <p:cNvSpPr txBox="1">
            <a:spLocks noChangeArrowheads="1"/>
          </p:cNvSpPr>
          <p:nvPr/>
        </p:nvSpPr>
        <p:spPr bwMode="auto">
          <a:xfrm>
            <a:off x="8400256" y="1776338"/>
            <a:ext cx="450850" cy="138499"/>
          </a:xfrm>
          <a:prstGeom prst="rect">
            <a:avLst/>
          </a:prstGeom>
          <a:noFill/>
          <a:ln w="9525">
            <a:noFill/>
            <a:miter lim="800000"/>
            <a:headEnd/>
            <a:tailEnd/>
          </a:ln>
          <a:effectLst>
            <a:prstShdw prst="shdw17" dist="17961" dir="2700000">
              <a:srgbClr val="A100FF">
                <a:gamma/>
                <a:shade val="60000"/>
                <a:invGamma/>
              </a:srgbClr>
            </a:prstShdw>
          </a:effectLst>
        </p:spPr>
        <p:txBody>
          <a:bodyPr lIns="0" tIns="0" rIns="0" bIns="0" anchor="t">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Graphik"/>
                <a:ea typeface="+mn-ea"/>
                <a:cs typeface="+mn-cs"/>
              </a:rPr>
              <a:t>(x)</a:t>
            </a:r>
          </a:p>
        </p:txBody>
      </p:sp>
      <p:sp>
        <p:nvSpPr>
          <p:cNvPr id="45" name="Text Box 82">
            <a:extLst>
              <a:ext uri="{FF2B5EF4-FFF2-40B4-BE49-F238E27FC236}">
                <a16:creationId xmlns:a16="http://schemas.microsoft.com/office/drawing/2014/main" id="{209EF414-46F2-4506-BA70-F3EFA1800D59}"/>
              </a:ext>
            </a:extLst>
          </p:cNvPr>
          <p:cNvSpPr txBox="1">
            <a:spLocks noChangeArrowheads="1"/>
          </p:cNvSpPr>
          <p:nvPr/>
        </p:nvSpPr>
        <p:spPr bwMode="auto">
          <a:xfrm>
            <a:off x="8400256" y="2281455"/>
            <a:ext cx="450850" cy="138499"/>
          </a:xfrm>
          <a:prstGeom prst="rect">
            <a:avLst/>
          </a:prstGeom>
          <a:noFill/>
          <a:ln w="9525">
            <a:noFill/>
            <a:miter lim="800000"/>
            <a:headEnd/>
            <a:tailEnd/>
          </a:ln>
          <a:effectLst>
            <a:prstShdw prst="shdw17" dist="17961" dir="2700000">
              <a:srgbClr val="A100FF">
                <a:gamma/>
                <a:shade val="60000"/>
                <a:invGamma/>
              </a:srgbClr>
            </a:prstShdw>
          </a:effectLst>
        </p:spPr>
        <p:txBody>
          <a:bodyPr lIns="0" tIns="0" rIns="0" bIns="0" anchor="t">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900" b="0" i="0" u="none" strike="noStrike" kern="0" cap="none" spc="0" normalizeH="0" baseline="0" noProof="0" dirty="0">
                <a:ln>
                  <a:noFill/>
                </a:ln>
                <a:solidFill>
                  <a:srgbClr val="000000"/>
                </a:solidFill>
                <a:effectLst/>
                <a:uLnTx/>
                <a:uFillTx/>
                <a:latin typeface="Graphik"/>
                <a:ea typeface="+mn-ea"/>
                <a:cs typeface="+mn-cs"/>
              </a:rPr>
              <a:t>(x)</a:t>
            </a:r>
          </a:p>
        </p:txBody>
      </p:sp>
      <p:sp>
        <p:nvSpPr>
          <p:cNvPr id="46" name="Text Box 82">
            <a:extLst>
              <a:ext uri="{FF2B5EF4-FFF2-40B4-BE49-F238E27FC236}">
                <a16:creationId xmlns:a16="http://schemas.microsoft.com/office/drawing/2014/main" id="{23FF40C7-2EAA-4418-A4A3-A5415178E0A2}"/>
              </a:ext>
            </a:extLst>
          </p:cNvPr>
          <p:cNvSpPr txBox="1">
            <a:spLocks noChangeArrowheads="1"/>
          </p:cNvSpPr>
          <p:nvPr/>
        </p:nvSpPr>
        <p:spPr bwMode="auto">
          <a:xfrm>
            <a:off x="8400256" y="2811581"/>
            <a:ext cx="450850" cy="138499"/>
          </a:xfrm>
          <a:prstGeom prst="rect">
            <a:avLst/>
          </a:prstGeom>
          <a:noFill/>
          <a:ln w="9525">
            <a:noFill/>
            <a:miter lim="800000"/>
            <a:headEnd/>
            <a:tailEnd/>
          </a:ln>
          <a:effectLst>
            <a:prstShdw prst="shdw17" dist="17961" dir="2700000">
              <a:srgbClr val="A100FF">
                <a:gamma/>
                <a:shade val="60000"/>
                <a:invGamma/>
              </a:srgbClr>
            </a:prstShdw>
          </a:effectLst>
        </p:spPr>
        <p:txBody>
          <a:bodyPr lIns="0" tIns="0" rIns="0" bIns="0" anchor="t">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Graphik"/>
                <a:ea typeface="+mn-ea"/>
                <a:cs typeface="+mn-cs"/>
              </a:rPr>
              <a:t>(x)</a:t>
            </a:r>
          </a:p>
        </p:txBody>
      </p:sp>
      <p:sp>
        <p:nvSpPr>
          <p:cNvPr id="47" name="Rectangle 54">
            <a:extLst>
              <a:ext uri="{FF2B5EF4-FFF2-40B4-BE49-F238E27FC236}">
                <a16:creationId xmlns:a16="http://schemas.microsoft.com/office/drawing/2014/main" id="{1EE66D3E-57D5-4BB8-A1B4-5E1D36F3165A}"/>
              </a:ext>
            </a:extLst>
          </p:cNvPr>
          <p:cNvSpPr>
            <a:spLocks noChangeAspect="1" noChangeArrowheads="1"/>
          </p:cNvSpPr>
          <p:nvPr/>
        </p:nvSpPr>
        <p:spPr bwMode="auto">
          <a:xfrm>
            <a:off x="8708422" y="5573277"/>
            <a:ext cx="1317625" cy="227012"/>
          </a:xfrm>
          <a:prstGeom prst="rect">
            <a:avLst/>
          </a:prstGeom>
          <a:no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Graphik"/>
                <a:ea typeface="+mn-ea"/>
                <a:cs typeface="Arial" pitchFamily="34" charset="0"/>
              </a:rPr>
              <a:t>Economic Indicators</a:t>
            </a:r>
            <a:endParaRPr kumimoji="0" lang="en-US" sz="900" b="0" i="0" u="none" strike="noStrike" kern="1200" cap="none" spc="0" normalizeH="0" baseline="0" noProof="0">
              <a:ln>
                <a:noFill/>
              </a:ln>
              <a:solidFill>
                <a:srgbClr val="000000"/>
              </a:solidFill>
              <a:effectLst/>
              <a:uLnTx/>
              <a:uFillTx/>
              <a:latin typeface="Graphik"/>
              <a:ea typeface="+mn-ea"/>
              <a:cs typeface="Arial" pitchFamily="34" charset="0"/>
            </a:endParaRPr>
          </a:p>
        </p:txBody>
      </p:sp>
      <p:sp>
        <p:nvSpPr>
          <p:cNvPr id="48" name="Rectangle 55">
            <a:extLst>
              <a:ext uri="{FF2B5EF4-FFF2-40B4-BE49-F238E27FC236}">
                <a16:creationId xmlns:a16="http://schemas.microsoft.com/office/drawing/2014/main" id="{956C541D-CEE2-4848-8D2E-CA00F2ADF271}"/>
              </a:ext>
            </a:extLst>
          </p:cNvPr>
          <p:cNvSpPr>
            <a:spLocks noChangeAspect="1" noChangeArrowheads="1"/>
          </p:cNvSpPr>
          <p:nvPr/>
        </p:nvSpPr>
        <p:spPr bwMode="auto">
          <a:xfrm>
            <a:off x="8708422" y="5825305"/>
            <a:ext cx="1724025" cy="295275"/>
          </a:xfrm>
          <a:prstGeom prst="rect">
            <a:avLst/>
          </a:prstGeom>
          <a:no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Graphik"/>
                <a:ea typeface="+mn-ea"/>
                <a:cs typeface="Arial" pitchFamily="34" charset="0"/>
              </a:rPr>
              <a:t>Non-controllable factors</a:t>
            </a:r>
            <a:endParaRPr kumimoji="0" lang="en-US" sz="900" b="0" i="0" u="none" strike="noStrike" kern="1200" cap="none" spc="0" normalizeH="0" baseline="0" noProof="0">
              <a:ln>
                <a:noFill/>
              </a:ln>
              <a:solidFill>
                <a:srgbClr val="000000"/>
              </a:solidFill>
              <a:effectLst/>
              <a:uLnTx/>
              <a:uFillTx/>
              <a:latin typeface="Graphik"/>
              <a:ea typeface="+mn-ea"/>
              <a:cs typeface="Arial" pitchFamily="34" charset="0"/>
            </a:endParaRPr>
          </a:p>
        </p:txBody>
      </p:sp>
      <p:sp>
        <p:nvSpPr>
          <p:cNvPr id="49" name="Rectangle 56">
            <a:extLst>
              <a:ext uri="{FF2B5EF4-FFF2-40B4-BE49-F238E27FC236}">
                <a16:creationId xmlns:a16="http://schemas.microsoft.com/office/drawing/2014/main" id="{E9055739-C4FE-40B1-9CE4-504CDB82BC44}"/>
              </a:ext>
            </a:extLst>
          </p:cNvPr>
          <p:cNvSpPr>
            <a:spLocks noChangeAspect="1" noChangeArrowheads="1"/>
          </p:cNvSpPr>
          <p:nvPr/>
        </p:nvSpPr>
        <p:spPr bwMode="auto">
          <a:xfrm>
            <a:off x="8708422" y="6077333"/>
            <a:ext cx="1317625" cy="227013"/>
          </a:xfrm>
          <a:prstGeom prst="rect">
            <a:avLst/>
          </a:prstGeom>
          <a:no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Graphik"/>
                <a:ea typeface="+mn-ea"/>
                <a:cs typeface="Arial" pitchFamily="34" charset="0"/>
              </a:rPr>
              <a:t>Controllable factors</a:t>
            </a:r>
            <a:endParaRPr kumimoji="0" lang="en-US" sz="900" b="0" i="0" u="none" strike="noStrike" kern="1200" cap="none" spc="0" normalizeH="0" baseline="0" noProof="0">
              <a:ln>
                <a:noFill/>
              </a:ln>
              <a:solidFill>
                <a:srgbClr val="000000"/>
              </a:solidFill>
              <a:effectLst/>
              <a:uLnTx/>
              <a:uFillTx/>
              <a:latin typeface="Graphik"/>
              <a:ea typeface="+mn-ea"/>
              <a:cs typeface="Arial" pitchFamily="34" charset="0"/>
            </a:endParaRPr>
          </a:p>
        </p:txBody>
      </p:sp>
      <p:sp>
        <p:nvSpPr>
          <p:cNvPr id="50" name="Rectangle 54">
            <a:extLst>
              <a:ext uri="{FF2B5EF4-FFF2-40B4-BE49-F238E27FC236}">
                <a16:creationId xmlns:a16="http://schemas.microsoft.com/office/drawing/2014/main" id="{35846E09-E69D-44E1-9A90-1B8B9AFA6926}"/>
              </a:ext>
            </a:extLst>
          </p:cNvPr>
          <p:cNvSpPr>
            <a:spLocks noChangeAspect="1" noChangeArrowheads="1"/>
          </p:cNvSpPr>
          <p:nvPr/>
        </p:nvSpPr>
        <p:spPr bwMode="auto">
          <a:xfrm>
            <a:off x="8371368" y="5553237"/>
            <a:ext cx="244913" cy="192431"/>
          </a:xfrm>
          <a:prstGeom prst="rect">
            <a:avLst/>
          </a:prstGeom>
          <a:solidFill>
            <a:srgbClr val="DCAFFF"/>
          </a:solid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n-ea"/>
              <a:cs typeface="+mn-cs"/>
            </a:endParaRPr>
          </a:p>
        </p:txBody>
      </p:sp>
      <p:sp>
        <p:nvSpPr>
          <p:cNvPr id="51" name="Rectangle 55">
            <a:extLst>
              <a:ext uri="{FF2B5EF4-FFF2-40B4-BE49-F238E27FC236}">
                <a16:creationId xmlns:a16="http://schemas.microsoft.com/office/drawing/2014/main" id="{68714DD1-85EF-4A78-9F78-9D40EAC3EFF0}"/>
              </a:ext>
            </a:extLst>
          </p:cNvPr>
          <p:cNvSpPr>
            <a:spLocks noChangeAspect="1" noChangeArrowheads="1"/>
          </p:cNvSpPr>
          <p:nvPr/>
        </p:nvSpPr>
        <p:spPr bwMode="auto">
          <a:xfrm>
            <a:off x="8371368" y="5805264"/>
            <a:ext cx="244913" cy="192432"/>
          </a:xfrm>
          <a:prstGeom prst="rect">
            <a:avLst/>
          </a:prstGeom>
          <a:solidFill>
            <a:srgbClr val="A100FF"/>
          </a:solidFill>
          <a:ln w="12700">
            <a:no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n-ea"/>
              <a:cs typeface="+mn-cs"/>
            </a:endParaRPr>
          </a:p>
        </p:txBody>
      </p:sp>
      <p:sp>
        <p:nvSpPr>
          <p:cNvPr id="52" name="Rectangle 56">
            <a:extLst>
              <a:ext uri="{FF2B5EF4-FFF2-40B4-BE49-F238E27FC236}">
                <a16:creationId xmlns:a16="http://schemas.microsoft.com/office/drawing/2014/main" id="{874B4213-BC5F-412B-ABFF-FE95F8753273}"/>
              </a:ext>
            </a:extLst>
          </p:cNvPr>
          <p:cNvSpPr>
            <a:spLocks noChangeAspect="1" noChangeArrowheads="1"/>
          </p:cNvSpPr>
          <p:nvPr/>
        </p:nvSpPr>
        <p:spPr bwMode="auto">
          <a:xfrm>
            <a:off x="8370545" y="6057292"/>
            <a:ext cx="236839" cy="192432"/>
          </a:xfrm>
          <a:prstGeom prst="rect">
            <a:avLst/>
          </a:prstGeom>
          <a:solidFill>
            <a:srgbClr val="FFFFFF"/>
          </a:solidFill>
          <a:ln w="12700">
            <a:solidFill>
              <a:srgbClr val="C0C0C0"/>
            </a:solidFill>
            <a:miter lim="800000"/>
            <a:headEnd type="none" w="sm" len="sm"/>
            <a:tailEnd type="none" w="sm" len="sm"/>
          </a:ln>
          <a:effectLst/>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n-ea"/>
              <a:cs typeface="+mn-cs"/>
            </a:endParaRPr>
          </a:p>
        </p:txBody>
      </p:sp>
      <p:sp>
        <p:nvSpPr>
          <p:cNvPr id="53" name="Rectangle 21">
            <a:extLst>
              <a:ext uri="{FF2B5EF4-FFF2-40B4-BE49-F238E27FC236}">
                <a16:creationId xmlns:a16="http://schemas.microsoft.com/office/drawing/2014/main" id="{7D470B4C-2043-4957-A299-2A8EED9C4773}"/>
              </a:ext>
            </a:extLst>
          </p:cNvPr>
          <p:cNvSpPr>
            <a:spLocks noChangeArrowheads="1"/>
          </p:cNvSpPr>
          <p:nvPr/>
        </p:nvSpPr>
        <p:spPr bwMode="auto">
          <a:xfrm>
            <a:off x="1992313" y="3268880"/>
            <a:ext cx="1080000" cy="21590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1</a:t>
            </a:r>
          </a:p>
        </p:txBody>
      </p:sp>
      <p:sp>
        <p:nvSpPr>
          <p:cNvPr id="54" name="Rectangle 21">
            <a:extLst>
              <a:ext uri="{FF2B5EF4-FFF2-40B4-BE49-F238E27FC236}">
                <a16:creationId xmlns:a16="http://schemas.microsoft.com/office/drawing/2014/main" id="{DE576169-F927-457D-90DE-C6821C95B03E}"/>
              </a:ext>
            </a:extLst>
          </p:cNvPr>
          <p:cNvSpPr>
            <a:spLocks noChangeArrowheads="1"/>
          </p:cNvSpPr>
          <p:nvPr/>
        </p:nvSpPr>
        <p:spPr bwMode="auto">
          <a:xfrm>
            <a:off x="3644134" y="1746518"/>
            <a:ext cx="1195387" cy="143326"/>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1</a:t>
            </a:r>
          </a:p>
        </p:txBody>
      </p:sp>
      <p:sp>
        <p:nvSpPr>
          <p:cNvPr id="55" name="Rectangle 21">
            <a:extLst>
              <a:ext uri="{FF2B5EF4-FFF2-40B4-BE49-F238E27FC236}">
                <a16:creationId xmlns:a16="http://schemas.microsoft.com/office/drawing/2014/main" id="{652EC0A5-5DD9-4DE5-B1C4-2088CCD984C7}"/>
              </a:ext>
            </a:extLst>
          </p:cNvPr>
          <p:cNvSpPr>
            <a:spLocks noChangeArrowheads="1"/>
          </p:cNvSpPr>
          <p:nvPr/>
        </p:nvSpPr>
        <p:spPr bwMode="auto">
          <a:xfrm>
            <a:off x="3644134" y="2071361"/>
            <a:ext cx="1195387" cy="128120"/>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2</a:t>
            </a:r>
          </a:p>
        </p:txBody>
      </p:sp>
      <p:sp>
        <p:nvSpPr>
          <p:cNvPr id="56" name="Rectangle 21">
            <a:extLst>
              <a:ext uri="{FF2B5EF4-FFF2-40B4-BE49-F238E27FC236}">
                <a16:creationId xmlns:a16="http://schemas.microsoft.com/office/drawing/2014/main" id="{7CEA80D0-75BF-4931-9573-0653573D298F}"/>
              </a:ext>
            </a:extLst>
          </p:cNvPr>
          <p:cNvSpPr>
            <a:spLocks noChangeArrowheads="1"/>
          </p:cNvSpPr>
          <p:nvPr/>
        </p:nvSpPr>
        <p:spPr bwMode="auto">
          <a:xfrm>
            <a:off x="3644134" y="2391835"/>
            <a:ext cx="1195387" cy="150388"/>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3</a:t>
            </a:r>
          </a:p>
        </p:txBody>
      </p:sp>
      <p:sp>
        <p:nvSpPr>
          <p:cNvPr id="57" name="Rectangle 21">
            <a:extLst>
              <a:ext uri="{FF2B5EF4-FFF2-40B4-BE49-F238E27FC236}">
                <a16:creationId xmlns:a16="http://schemas.microsoft.com/office/drawing/2014/main" id="{43D8C9BD-7ABE-4B3C-8144-531972D8185F}"/>
              </a:ext>
            </a:extLst>
          </p:cNvPr>
          <p:cNvSpPr>
            <a:spLocks noChangeArrowheads="1"/>
          </p:cNvSpPr>
          <p:nvPr/>
        </p:nvSpPr>
        <p:spPr bwMode="auto">
          <a:xfrm>
            <a:off x="3644134" y="2750898"/>
            <a:ext cx="1195387" cy="138043"/>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4</a:t>
            </a:r>
          </a:p>
        </p:txBody>
      </p:sp>
      <p:sp>
        <p:nvSpPr>
          <p:cNvPr id="58" name="Rectangle 21">
            <a:extLst>
              <a:ext uri="{FF2B5EF4-FFF2-40B4-BE49-F238E27FC236}">
                <a16:creationId xmlns:a16="http://schemas.microsoft.com/office/drawing/2014/main" id="{07238866-2EC7-4863-A3DF-C044615EE49A}"/>
              </a:ext>
            </a:extLst>
          </p:cNvPr>
          <p:cNvSpPr>
            <a:spLocks noChangeArrowheads="1"/>
          </p:cNvSpPr>
          <p:nvPr/>
        </p:nvSpPr>
        <p:spPr bwMode="auto">
          <a:xfrm>
            <a:off x="7145065" y="1750973"/>
            <a:ext cx="1195387" cy="133873"/>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1</a:t>
            </a:r>
          </a:p>
        </p:txBody>
      </p:sp>
      <p:sp>
        <p:nvSpPr>
          <p:cNvPr id="59" name="Rectangle 21">
            <a:extLst>
              <a:ext uri="{FF2B5EF4-FFF2-40B4-BE49-F238E27FC236}">
                <a16:creationId xmlns:a16="http://schemas.microsoft.com/office/drawing/2014/main" id="{C707764F-7223-4E54-A164-4E7B8D5CBC6C}"/>
              </a:ext>
            </a:extLst>
          </p:cNvPr>
          <p:cNvSpPr>
            <a:spLocks noChangeArrowheads="1"/>
          </p:cNvSpPr>
          <p:nvPr/>
        </p:nvSpPr>
        <p:spPr bwMode="auto">
          <a:xfrm>
            <a:off x="7145065" y="2281526"/>
            <a:ext cx="1195387" cy="158364"/>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2</a:t>
            </a:r>
          </a:p>
        </p:txBody>
      </p:sp>
      <p:sp>
        <p:nvSpPr>
          <p:cNvPr id="60" name="Rectangle 21">
            <a:extLst>
              <a:ext uri="{FF2B5EF4-FFF2-40B4-BE49-F238E27FC236}">
                <a16:creationId xmlns:a16="http://schemas.microsoft.com/office/drawing/2014/main" id="{BFD99FB0-DC51-4FBB-9EB8-BD13C905EE36}"/>
              </a:ext>
            </a:extLst>
          </p:cNvPr>
          <p:cNvSpPr>
            <a:spLocks noChangeArrowheads="1"/>
          </p:cNvSpPr>
          <p:nvPr/>
        </p:nvSpPr>
        <p:spPr bwMode="auto">
          <a:xfrm>
            <a:off x="7145065" y="2801460"/>
            <a:ext cx="1195387" cy="150791"/>
          </a:xfrm>
          <a:prstGeom prst="rect">
            <a:avLst/>
          </a:prstGeom>
          <a:noFill/>
          <a:ln w="9525">
            <a:noFill/>
            <a:miter lim="800000"/>
            <a:headEnd/>
            <a:tailEnd/>
          </a:ln>
        </p:spPr>
        <p:txBody>
          <a:bodyPr wrap="none"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3</a:t>
            </a:r>
          </a:p>
        </p:txBody>
      </p:sp>
      <p:sp>
        <p:nvSpPr>
          <p:cNvPr id="61" name="Left Brace 60">
            <a:extLst>
              <a:ext uri="{FF2B5EF4-FFF2-40B4-BE49-F238E27FC236}">
                <a16:creationId xmlns:a16="http://schemas.microsoft.com/office/drawing/2014/main" id="{46BA49AD-8E02-4F66-831E-E1C0B5E0E5D6}"/>
              </a:ext>
            </a:extLst>
          </p:cNvPr>
          <p:cNvSpPr/>
          <p:nvPr/>
        </p:nvSpPr>
        <p:spPr bwMode="auto">
          <a:xfrm>
            <a:off x="3347129" y="1680611"/>
            <a:ext cx="193183" cy="1275009"/>
          </a:xfrm>
          <a:prstGeom prst="leftBrace">
            <a:avLst/>
          </a:prstGeom>
          <a:noFill/>
          <a:ln w="9525" cap="flat" cmpd="sng" algn="ctr">
            <a:solidFill>
              <a:srgbClr val="FFFFFF">
                <a:lumMod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Graphik"/>
              <a:ea typeface="+mn-ea"/>
              <a:cs typeface="+mn-cs"/>
            </a:endParaRPr>
          </a:p>
        </p:txBody>
      </p:sp>
      <p:sp>
        <p:nvSpPr>
          <p:cNvPr id="62" name="TextBox 61">
            <a:extLst>
              <a:ext uri="{FF2B5EF4-FFF2-40B4-BE49-F238E27FC236}">
                <a16:creationId xmlns:a16="http://schemas.microsoft.com/office/drawing/2014/main" id="{1168AC38-D9B0-4C26-B327-079D5482214E}"/>
              </a:ext>
            </a:extLst>
          </p:cNvPr>
          <p:cNvSpPr txBox="1"/>
          <p:nvPr/>
        </p:nvSpPr>
        <p:spPr bwMode="auto">
          <a:xfrm>
            <a:off x="2005740" y="2143264"/>
            <a:ext cx="149395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raphik"/>
                <a:ea typeface="+mn-ea"/>
                <a:cs typeface="Arial" pitchFamily="34" charset="0"/>
              </a:rPr>
              <a:t>Macro-econom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raphik"/>
                <a:ea typeface="+mn-ea"/>
                <a:cs typeface="Arial" pitchFamily="34" charset="0"/>
              </a:rPr>
              <a:t>Industry Growth Drivers</a:t>
            </a:r>
          </a:p>
        </p:txBody>
      </p:sp>
      <p:sp>
        <p:nvSpPr>
          <p:cNvPr id="63" name="TextBox 62">
            <a:extLst>
              <a:ext uri="{FF2B5EF4-FFF2-40B4-BE49-F238E27FC236}">
                <a16:creationId xmlns:a16="http://schemas.microsoft.com/office/drawing/2014/main" id="{CDF9CEB3-1931-4988-ADEE-E8AE1E4EC937}"/>
              </a:ext>
            </a:extLst>
          </p:cNvPr>
          <p:cNvSpPr txBox="1"/>
          <p:nvPr/>
        </p:nvSpPr>
        <p:spPr bwMode="auto">
          <a:xfrm>
            <a:off x="1992314" y="4705644"/>
            <a:ext cx="3538864" cy="1384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raphik"/>
                <a:ea typeface="+mn-ea"/>
                <a:cs typeface="Arial" pitchFamily="34" charset="0"/>
              </a:rPr>
              <a:t>Note: Value drivers should be tangible, quantifiable, and MECE.</a:t>
            </a:r>
          </a:p>
        </p:txBody>
      </p:sp>
      <p:sp>
        <p:nvSpPr>
          <p:cNvPr id="64" name="TextBox 63">
            <a:extLst>
              <a:ext uri="{FF2B5EF4-FFF2-40B4-BE49-F238E27FC236}">
                <a16:creationId xmlns:a16="http://schemas.microsoft.com/office/drawing/2014/main" id="{1E5854A3-ED18-4309-9AA0-7E3B0CCFAC10}"/>
              </a:ext>
            </a:extLst>
          </p:cNvPr>
          <p:cNvSpPr txBox="1"/>
          <p:nvPr/>
        </p:nvSpPr>
        <p:spPr bwMode="auto">
          <a:xfrm>
            <a:off x="3584621" y="5445224"/>
            <a:ext cx="2040095" cy="4154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raphik"/>
                <a:ea typeface="+mn-ea"/>
                <a:cs typeface="Arial" pitchFamily="34" charset="0"/>
              </a:rPr>
              <a:t>Non-quantifiable value creation levers for the company (macro economic, industry and company specific factors)</a:t>
            </a:r>
          </a:p>
        </p:txBody>
      </p:sp>
      <p:sp>
        <p:nvSpPr>
          <p:cNvPr id="65" name="Rectangle 22">
            <a:extLst>
              <a:ext uri="{FF2B5EF4-FFF2-40B4-BE49-F238E27FC236}">
                <a16:creationId xmlns:a16="http://schemas.microsoft.com/office/drawing/2014/main" id="{687E19FF-7DD8-495C-95BE-545A5D32FCF5}"/>
              </a:ext>
            </a:extLst>
          </p:cNvPr>
          <p:cNvSpPr>
            <a:spLocks noChangeArrowheads="1"/>
          </p:cNvSpPr>
          <p:nvPr/>
        </p:nvSpPr>
        <p:spPr bwMode="auto">
          <a:xfrm>
            <a:off x="7145065" y="3800094"/>
            <a:ext cx="370977" cy="254000"/>
          </a:xfrm>
          <a:prstGeom prst="rect">
            <a:avLst/>
          </a:prstGeom>
          <a:noFill/>
          <a:ln w="9525">
            <a:noFill/>
            <a:miter lim="800000"/>
            <a:headEnd/>
            <a:tailEnd/>
          </a:ln>
        </p:spPr>
        <p:txBody>
          <a:bodyPr wrap="none"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Cas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In</a:t>
            </a:r>
          </a:p>
        </p:txBody>
      </p:sp>
      <p:sp>
        <p:nvSpPr>
          <p:cNvPr id="66" name="Rectangle 22">
            <a:extLst>
              <a:ext uri="{FF2B5EF4-FFF2-40B4-BE49-F238E27FC236}">
                <a16:creationId xmlns:a16="http://schemas.microsoft.com/office/drawing/2014/main" id="{D5CA30B8-C0A4-4D9C-8E48-DEDEFDCCE28A}"/>
              </a:ext>
            </a:extLst>
          </p:cNvPr>
          <p:cNvSpPr>
            <a:spLocks noChangeArrowheads="1"/>
          </p:cNvSpPr>
          <p:nvPr/>
        </p:nvSpPr>
        <p:spPr bwMode="auto">
          <a:xfrm>
            <a:off x="4817472" y="3799325"/>
            <a:ext cx="409365" cy="229524"/>
          </a:xfrm>
          <a:prstGeom prst="rect">
            <a:avLst/>
          </a:prstGeom>
          <a:noFill/>
          <a:ln w="9525">
            <a:noFill/>
            <a:miter lim="800000"/>
            <a:headEnd/>
            <a:tailEnd/>
          </a:ln>
        </p:spPr>
        <p:txBody>
          <a:bodyPr wrap="none"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Ca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Out</a:t>
            </a:r>
          </a:p>
        </p:txBody>
      </p:sp>
      <p:sp>
        <p:nvSpPr>
          <p:cNvPr id="67" name="Rectangle 22">
            <a:extLst>
              <a:ext uri="{FF2B5EF4-FFF2-40B4-BE49-F238E27FC236}">
                <a16:creationId xmlns:a16="http://schemas.microsoft.com/office/drawing/2014/main" id="{8DB96DDB-1CB9-445E-ADFF-E8FFC2F26487}"/>
              </a:ext>
            </a:extLst>
          </p:cNvPr>
          <p:cNvSpPr>
            <a:spLocks noChangeArrowheads="1"/>
          </p:cNvSpPr>
          <p:nvPr/>
        </p:nvSpPr>
        <p:spPr bwMode="auto">
          <a:xfrm>
            <a:off x="6049144" y="2872699"/>
            <a:ext cx="582613" cy="254000"/>
          </a:xfrm>
          <a:prstGeom prst="rect">
            <a:avLst/>
          </a:prstGeom>
          <a:noFill/>
          <a:ln w="9525">
            <a:noFill/>
            <a:miter lim="800000"/>
            <a:headEnd/>
            <a:tailEnd/>
          </a:ln>
        </p:spPr>
        <p:txBody>
          <a:bodyPr wrap="none"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Ca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In</a:t>
            </a:r>
          </a:p>
        </p:txBody>
      </p:sp>
      <p:sp>
        <p:nvSpPr>
          <p:cNvPr id="68" name="TextBox 67">
            <a:extLst>
              <a:ext uri="{FF2B5EF4-FFF2-40B4-BE49-F238E27FC236}">
                <a16:creationId xmlns:a16="http://schemas.microsoft.com/office/drawing/2014/main" id="{63051783-80AC-4036-AC87-0AF5ACDA38E3}"/>
              </a:ext>
            </a:extLst>
          </p:cNvPr>
          <p:cNvSpPr txBox="1"/>
          <p:nvPr/>
        </p:nvSpPr>
        <p:spPr bwMode="auto">
          <a:xfrm>
            <a:off x="9444372" y="2101831"/>
            <a:ext cx="755316"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raphik"/>
                <a:ea typeface="+mn-ea"/>
                <a:cs typeface="Arial" pitchFamily="34" charset="0"/>
              </a:rPr>
              <a:t>Value driver sub elements &amp; their breakdown</a:t>
            </a:r>
          </a:p>
        </p:txBody>
      </p:sp>
      <p:sp>
        <p:nvSpPr>
          <p:cNvPr id="69" name="Rectangle 6">
            <a:extLst>
              <a:ext uri="{FF2B5EF4-FFF2-40B4-BE49-F238E27FC236}">
                <a16:creationId xmlns:a16="http://schemas.microsoft.com/office/drawing/2014/main" id="{319DC4FC-0EF4-440F-AB1A-09764B409A9E}"/>
              </a:ext>
            </a:extLst>
          </p:cNvPr>
          <p:cNvSpPr>
            <a:spLocks noChangeAspect="1" noChangeArrowheads="1"/>
          </p:cNvSpPr>
          <p:nvPr/>
        </p:nvSpPr>
        <p:spPr bwMode="auto">
          <a:xfrm>
            <a:off x="3680177" y="3512913"/>
            <a:ext cx="904875" cy="835025"/>
          </a:xfrm>
          <a:prstGeom prst="rect">
            <a:avLst/>
          </a:prstGeom>
          <a:solidFill>
            <a:srgbClr val="BE82FF"/>
          </a:solidFill>
          <a:ln w="12700">
            <a:noFill/>
            <a:miter lim="800000"/>
            <a:headEnd/>
            <a:tailEnd/>
          </a:ln>
        </p:spPr>
        <p:txBody>
          <a:bodyPr wrap="squar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Graphik"/>
                <a:ea typeface="+mn-ea"/>
                <a:cs typeface="+mn-cs"/>
              </a:rPr>
              <a:t>Value </a:t>
            </a:r>
            <a:br>
              <a:rPr kumimoji="0" lang="en-GB" sz="900" b="1" i="0" u="none" strike="noStrike" kern="0" cap="none" spc="0" normalizeH="0" baseline="0" noProof="0" dirty="0">
                <a:ln>
                  <a:noFill/>
                </a:ln>
                <a:solidFill>
                  <a:srgbClr val="FFFFFF"/>
                </a:solidFill>
                <a:effectLst/>
                <a:uLnTx/>
                <a:uFillTx/>
                <a:latin typeface="Graphik"/>
                <a:ea typeface="+mn-ea"/>
                <a:cs typeface="+mn-cs"/>
              </a:rPr>
            </a:br>
            <a:r>
              <a:rPr kumimoji="0" lang="en-GB" sz="900" b="1" i="0" u="none" strike="noStrike" kern="0" cap="none" spc="0" normalizeH="0" baseline="0" noProof="0" dirty="0">
                <a:ln>
                  <a:noFill/>
                </a:ln>
                <a:solidFill>
                  <a:srgbClr val="FFFFFF"/>
                </a:solidFill>
                <a:effectLst/>
                <a:uLnTx/>
                <a:uFillTx/>
                <a:latin typeface="Graphik"/>
                <a:ea typeface="+mn-ea"/>
                <a:cs typeface="+mn-cs"/>
              </a:rPr>
              <a:t>Driver 1</a:t>
            </a:r>
            <a:endParaRPr kumimoji="0" lang="en-US" sz="900" b="1" i="0" u="none" strike="noStrike" kern="0" cap="none" spc="0" normalizeH="0" baseline="0" noProof="0" dirty="0">
              <a:ln>
                <a:noFill/>
              </a:ln>
              <a:solidFill>
                <a:srgbClr val="FFFFFF"/>
              </a:solidFill>
              <a:effectLst/>
              <a:uLnTx/>
              <a:uFillTx/>
              <a:latin typeface="Graphik"/>
              <a:ea typeface="+mn-ea"/>
              <a:cs typeface="+mn-cs"/>
            </a:endParaRPr>
          </a:p>
        </p:txBody>
      </p:sp>
      <p:sp>
        <p:nvSpPr>
          <p:cNvPr id="70" name="Right Brace 69">
            <a:extLst>
              <a:ext uri="{FF2B5EF4-FFF2-40B4-BE49-F238E27FC236}">
                <a16:creationId xmlns:a16="http://schemas.microsoft.com/office/drawing/2014/main" id="{1FCA3438-2219-474F-AE38-DB647558702B}"/>
              </a:ext>
            </a:extLst>
          </p:cNvPr>
          <p:cNvSpPr/>
          <p:nvPr/>
        </p:nvSpPr>
        <p:spPr bwMode="auto">
          <a:xfrm>
            <a:off x="9212687" y="1628776"/>
            <a:ext cx="154546" cy="1442433"/>
          </a:xfrm>
          <a:prstGeom prst="rightBrace">
            <a:avLst/>
          </a:prstGeom>
          <a:noFill/>
          <a:ln w="9525" cap="flat" cmpd="sng" algn="ctr">
            <a:solidFill>
              <a:srgbClr val="BE82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Graphik"/>
              <a:ea typeface="+mn-ea"/>
              <a:cs typeface="+mn-cs"/>
            </a:endParaRPr>
          </a:p>
        </p:txBody>
      </p:sp>
      <p:sp>
        <p:nvSpPr>
          <p:cNvPr id="71" name="Rectangle 48">
            <a:extLst>
              <a:ext uri="{FF2B5EF4-FFF2-40B4-BE49-F238E27FC236}">
                <a16:creationId xmlns:a16="http://schemas.microsoft.com/office/drawing/2014/main" id="{0BF82812-7ACC-47A7-BE5F-5C5D298DE269}"/>
              </a:ext>
            </a:extLst>
          </p:cNvPr>
          <p:cNvSpPr>
            <a:spLocks noChangeAspect="1" noChangeArrowheads="1"/>
          </p:cNvSpPr>
          <p:nvPr/>
        </p:nvSpPr>
        <p:spPr bwMode="auto">
          <a:xfrm>
            <a:off x="1992314" y="1268772"/>
            <a:ext cx="1592307" cy="611187"/>
          </a:xfrm>
          <a:prstGeom prst="rect">
            <a:avLst/>
          </a:prstGeom>
          <a:noFill/>
          <a:ln w="12700">
            <a:noFill/>
            <a:miter lim="800000"/>
            <a:headEnd type="none" w="sm" len="sm"/>
            <a:tailEnd type="none" w="sm" len="sm"/>
          </a:ln>
        </p:spPr>
        <p:txBody>
          <a:bodyPr lIns="0" tIns="0" rIns="0" bIns="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Graphik"/>
                <a:ea typeface="+mn-ea"/>
                <a:cs typeface="Arial" pitchFamily="34" charset="0"/>
              </a:rPr>
              <a:t>Tangible Drivers of Economic Value</a:t>
            </a:r>
            <a:endParaRPr kumimoji="0" lang="en-US" sz="1200" b="1" i="0" u="none" strike="noStrike" kern="1200" cap="none" spc="0" normalizeH="0" baseline="0" noProof="0" dirty="0">
              <a:ln>
                <a:noFill/>
              </a:ln>
              <a:solidFill>
                <a:srgbClr val="000000"/>
              </a:solidFill>
              <a:effectLst/>
              <a:uLnTx/>
              <a:uFillTx/>
              <a:latin typeface="Graphik"/>
              <a:ea typeface="+mn-ea"/>
              <a:cs typeface="Arial" pitchFamily="34" charset="0"/>
            </a:endParaRPr>
          </a:p>
        </p:txBody>
      </p:sp>
      <p:sp>
        <p:nvSpPr>
          <p:cNvPr id="72" name="Rectangle 48">
            <a:extLst>
              <a:ext uri="{FF2B5EF4-FFF2-40B4-BE49-F238E27FC236}">
                <a16:creationId xmlns:a16="http://schemas.microsoft.com/office/drawing/2014/main" id="{96BDB6F0-B0EE-425D-ABDC-050F99930139}"/>
              </a:ext>
            </a:extLst>
          </p:cNvPr>
          <p:cNvSpPr>
            <a:spLocks noChangeAspect="1" noChangeArrowheads="1"/>
          </p:cNvSpPr>
          <p:nvPr/>
        </p:nvSpPr>
        <p:spPr bwMode="auto">
          <a:xfrm>
            <a:off x="1970691" y="5075597"/>
            <a:ext cx="1673442" cy="552911"/>
          </a:xfrm>
          <a:prstGeom prst="rect">
            <a:avLst/>
          </a:prstGeom>
          <a:noFill/>
          <a:ln w="12700">
            <a:noFill/>
            <a:miter lim="800000"/>
            <a:headEnd type="none" w="sm" len="sm"/>
            <a:tailEnd type="none" w="sm" len="sm"/>
          </a:ln>
        </p:spPr>
        <p:txBody>
          <a:bodyPr lIns="0" tIns="0" rIns="0" bIns="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Graphik"/>
                <a:ea typeface="+mn-ea"/>
                <a:cs typeface="Arial" pitchFamily="34" charset="0"/>
              </a:rPr>
              <a:t>Intangible Drivers</a:t>
            </a:r>
            <a:br>
              <a:rPr kumimoji="0" lang="en-GB" sz="1200" b="1" i="0" u="none" strike="noStrike" kern="1200" cap="none" spc="0" normalizeH="0" baseline="0" noProof="0" dirty="0">
                <a:ln>
                  <a:noFill/>
                </a:ln>
                <a:solidFill>
                  <a:srgbClr val="000000"/>
                </a:solidFill>
                <a:effectLst/>
                <a:uLnTx/>
                <a:uFillTx/>
                <a:latin typeface="Graphik"/>
                <a:ea typeface="+mn-ea"/>
                <a:cs typeface="Arial" pitchFamily="34" charset="0"/>
              </a:rPr>
            </a:br>
            <a:r>
              <a:rPr kumimoji="0" lang="en-GB" sz="1200" b="1" i="0" u="none" strike="noStrike" kern="1200" cap="none" spc="0" normalizeH="0" baseline="0" noProof="0" dirty="0">
                <a:ln>
                  <a:noFill/>
                </a:ln>
                <a:solidFill>
                  <a:srgbClr val="000000"/>
                </a:solidFill>
                <a:effectLst/>
                <a:uLnTx/>
                <a:uFillTx/>
                <a:latin typeface="Graphik"/>
                <a:ea typeface="+mn-ea"/>
                <a:cs typeface="Arial" pitchFamily="34" charset="0"/>
              </a:rPr>
              <a:t>of Economic Value</a:t>
            </a:r>
            <a:endParaRPr kumimoji="0" lang="en-US" sz="1200" b="1" i="0" u="none" strike="noStrike" kern="1200" cap="none" spc="0" normalizeH="0" baseline="0" noProof="0" dirty="0">
              <a:ln>
                <a:noFill/>
              </a:ln>
              <a:solidFill>
                <a:srgbClr val="000000"/>
              </a:solidFill>
              <a:effectLst/>
              <a:uLnTx/>
              <a:uFillTx/>
              <a:latin typeface="Graphik"/>
              <a:ea typeface="+mn-ea"/>
              <a:cs typeface="Arial" pitchFamily="34" charset="0"/>
            </a:endParaRPr>
          </a:p>
        </p:txBody>
      </p:sp>
      <p:sp>
        <p:nvSpPr>
          <p:cNvPr id="73" name="AutoShape 4">
            <a:extLst>
              <a:ext uri="{FF2B5EF4-FFF2-40B4-BE49-F238E27FC236}">
                <a16:creationId xmlns:a16="http://schemas.microsoft.com/office/drawing/2014/main" id="{903FC637-BB27-4317-B317-D5330BCA4CB9}"/>
              </a:ext>
            </a:extLst>
          </p:cNvPr>
          <p:cNvSpPr>
            <a:spLocks noChangeArrowheads="1"/>
          </p:cNvSpPr>
          <p:nvPr/>
        </p:nvSpPr>
        <p:spPr bwMode="auto">
          <a:xfrm>
            <a:off x="6096001" y="1680611"/>
            <a:ext cx="200257" cy="176491"/>
          </a:xfrm>
          <a:prstGeom prst="hexagon">
            <a:avLst>
              <a:gd name="adj" fmla="val 27042"/>
              <a:gd name="vf" fmla="val 115470"/>
            </a:avLst>
          </a:prstGeom>
          <a:solidFill>
            <a:srgbClr val="B455AA"/>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Graphik"/>
                <a:ea typeface="+mn-ea"/>
                <a:cs typeface="+mn-cs"/>
              </a:rPr>
              <a:t>1</a:t>
            </a:r>
          </a:p>
        </p:txBody>
      </p:sp>
      <p:sp>
        <p:nvSpPr>
          <p:cNvPr id="74" name="AutoShape 4">
            <a:extLst>
              <a:ext uri="{FF2B5EF4-FFF2-40B4-BE49-F238E27FC236}">
                <a16:creationId xmlns:a16="http://schemas.microsoft.com/office/drawing/2014/main" id="{F6D8B028-5DCC-4CCE-B1E3-0510FB270242}"/>
              </a:ext>
            </a:extLst>
          </p:cNvPr>
          <p:cNvSpPr>
            <a:spLocks noChangeArrowheads="1"/>
          </p:cNvSpPr>
          <p:nvPr/>
        </p:nvSpPr>
        <p:spPr bwMode="auto">
          <a:xfrm>
            <a:off x="3971485" y="3308290"/>
            <a:ext cx="200257" cy="176491"/>
          </a:xfrm>
          <a:prstGeom prst="hexagon">
            <a:avLst>
              <a:gd name="adj" fmla="val 27042"/>
              <a:gd name="vf" fmla="val 115470"/>
            </a:avLst>
          </a:prstGeom>
          <a:solidFill>
            <a:srgbClr val="B455AA"/>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Graphik"/>
                <a:ea typeface="+mn-ea"/>
                <a:cs typeface="+mn-cs"/>
              </a:rPr>
              <a:t>2</a:t>
            </a:r>
          </a:p>
        </p:txBody>
      </p:sp>
      <p:sp>
        <p:nvSpPr>
          <p:cNvPr id="75" name="AutoShape 4">
            <a:extLst>
              <a:ext uri="{FF2B5EF4-FFF2-40B4-BE49-F238E27FC236}">
                <a16:creationId xmlns:a16="http://schemas.microsoft.com/office/drawing/2014/main" id="{C93F4EF0-F50B-4522-88CF-14E0E5953BB3}"/>
              </a:ext>
            </a:extLst>
          </p:cNvPr>
          <p:cNvSpPr>
            <a:spLocks noChangeArrowheads="1"/>
          </p:cNvSpPr>
          <p:nvPr/>
        </p:nvSpPr>
        <p:spPr bwMode="auto">
          <a:xfrm>
            <a:off x="8055484" y="3308290"/>
            <a:ext cx="200257" cy="176491"/>
          </a:xfrm>
          <a:prstGeom prst="hexagon">
            <a:avLst>
              <a:gd name="adj" fmla="val 27042"/>
              <a:gd name="vf" fmla="val 115470"/>
            </a:avLst>
          </a:prstGeom>
          <a:solidFill>
            <a:srgbClr val="B455AA"/>
          </a:solidFill>
          <a:ln w="19050">
            <a:no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Graphik"/>
                <a:ea typeface="+mn-ea"/>
                <a:cs typeface="+mn-cs"/>
              </a:rPr>
              <a:t>3</a:t>
            </a:r>
          </a:p>
        </p:txBody>
      </p:sp>
      <p:cxnSp>
        <p:nvCxnSpPr>
          <p:cNvPr id="76" name="AutoShape 19">
            <a:extLst>
              <a:ext uri="{FF2B5EF4-FFF2-40B4-BE49-F238E27FC236}">
                <a16:creationId xmlns:a16="http://schemas.microsoft.com/office/drawing/2014/main" id="{396EDBB8-9B50-4E4D-B982-27D89FF79276}"/>
              </a:ext>
            </a:extLst>
          </p:cNvPr>
          <p:cNvCxnSpPr>
            <a:cxnSpLocks noChangeShapeType="1"/>
          </p:cNvCxnSpPr>
          <p:nvPr/>
        </p:nvCxnSpPr>
        <p:spPr bwMode="auto">
          <a:xfrm rot="10800000" flipV="1">
            <a:off x="2870946" y="3917725"/>
            <a:ext cx="543081" cy="569912"/>
          </a:xfrm>
          <a:prstGeom prst="bentConnector3">
            <a:avLst>
              <a:gd name="adj1" fmla="val 50000"/>
            </a:avLst>
          </a:prstGeom>
          <a:noFill/>
          <a:ln w="6350">
            <a:solidFill>
              <a:srgbClr val="BE82FF"/>
            </a:solidFill>
            <a:miter lim="800000"/>
            <a:headEnd/>
            <a:tailEnd/>
          </a:ln>
        </p:spPr>
      </p:cxnSp>
      <p:cxnSp>
        <p:nvCxnSpPr>
          <p:cNvPr id="77" name="AutoShape 23">
            <a:extLst>
              <a:ext uri="{FF2B5EF4-FFF2-40B4-BE49-F238E27FC236}">
                <a16:creationId xmlns:a16="http://schemas.microsoft.com/office/drawing/2014/main" id="{A8371F00-5A52-4153-AE0B-D46093A4A111}"/>
              </a:ext>
            </a:extLst>
          </p:cNvPr>
          <p:cNvCxnSpPr>
            <a:cxnSpLocks noChangeShapeType="1"/>
          </p:cNvCxnSpPr>
          <p:nvPr/>
        </p:nvCxnSpPr>
        <p:spPr bwMode="auto">
          <a:xfrm rot="10800000" flipV="1">
            <a:off x="2870946" y="3917725"/>
            <a:ext cx="543081" cy="285749"/>
          </a:xfrm>
          <a:prstGeom prst="bentConnector3">
            <a:avLst>
              <a:gd name="adj1" fmla="val 50000"/>
            </a:avLst>
          </a:prstGeom>
          <a:noFill/>
          <a:ln w="6350">
            <a:solidFill>
              <a:srgbClr val="BE82FF"/>
            </a:solidFill>
            <a:miter lim="800000"/>
            <a:headEnd/>
            <a:tailEnd/>
          </a:ln>
        </p:spPr>
      </p:cxnSp>
      <p:cxnSp>
        <p:nvCxnSpPr>
          <p:cNvPr id="78" name="AutoShape 25">
            <a:extLst>
              <a:ext uri="{FF2B5EF4-FFF2-40B4-BE49-F238E27FC236}">
                <a16:creationId xmlns:a16="http://schemas.microsoft.com/office/drawing/2014/main" id="{7C88659C-5EDB-4BCC-96B5-AF65DC59BCA3}"/>
              </a:ext>
            </a:extLst>
          </p:cNvPr>
          <p:cNvCxnSpPr>
            <a:cxnSpLocks noChangeShapeType="1"/>
          </p:cNvCxnSpPr>
          <p:nvPr/>
        </p:nvCxnSpPr>
        <p:spPr bwMode="auto">
          <a:xfrm rot="10800000">
            <a:off x="2870946" y="3636737"/>
            <a:ext cx="543081" cy="280988"/>
          </a:xfrm>
          <a:prstGeom prst="bentConnector3">
            <a:avLst>
              <a:gd name="adj1" fmla="val 50000"/>
            </a:avLst>
          </a:prstGeom>
          <a:noFill/>
          <a:ln w="6350">
            <a:solidFill>
              <a:srgbClr val="BE82FF"/>
            </a:solidFill>
            <a:miter lim="800000"/>
            <a:headEnd/>
            <a:tailEnd type="triangle" w="med" len="med"/>
          </a:ln>
        </p:spPr>
      </p:cxnSp>
      <p:cxnSp>
        <p:nvCxnSpPr>
          <p:cNvPr id="79" name="AutoShape 26">
            <a:extLst>
              <a:ext uri="{FF2B5EF4-FFF2-40B4-BE49-F238E27FC236}">
                <a16:creationId xmlns:a16="http://schemas.microsoft.com/office/drawing/2014/main" id="{58834BDD-CAD8-4CD5-AD43-AA86F1472EDA}"/>
              </a:ext>
            </a:extLst>
          </p:cNvPr>
          <p:cNvCxnSpPr>
            <a:cxnSpLocks noChangeShapeType="1"/>
          </p:cNvCxnSpPr>
          <p:nvPr/>
        </p:nvCxnSpPr>
        <p:spPr bwMode="auto">
          <a:xfrm rot="10800000">
            <a:off x="2862214" y="3341462"/>
            <a:ext cx="860747" cy="576263"/>
          </a:xfrm>
          <a:prstGeom prst="bentConnector3">
            <a:avLst>
              <a:gd name="adj1" fmla="val 67411"/>
            </a:avLst>
          </a:prstGeom>
          <a:noFill/>
          <a:ln w="6350">
            <a:solidFill>
              <a:srgbClr val="BE82FF"/>
            </a:solidFill>
            <a:miter lim="800000"/>
            <a:headEnd/>
            <a:tailEnd type="triangle" w="med" len="med"/>
          </a:ln>
        </p:spPr>
      </p:cxnSp>
      <p:sp>
        <p:nvSpPr>
          <p:cNvPr id="80" name="Text Box 78">
            <a:extLst>
              <a:ext uri="{FF2B5EF4-FFF2-40B4-BE49-F238E27FC236}">
                <a16:creationId xmlns:a16="http://schemas.microsoft.com/office/drawing/2014/main" id="{C325BD67-E4C0-4BAB-8EB6-E3B4A36440C2}"/>
              </a:ext>
            </a:extLst>
          </p:cNvPr>
          <p:cNvSpPr txBox="1">
            <a:spLocks noChangeArrowheads="1"/>
          </p:cNvSpPr>
          <p:nvPr/>
        </p:nvSpPr>
        <p:spPr bwMode="auto">
          <a:xfrm>
            <a:off x="2783632" y="3366863"/>
            <a:ext cx="450850" cy="244475"/>
          </a:xfrm>
          <a:prstGeom prst="rect">
            <a:avLst/>
          </a:prstGeom>
          <a:noFill/>
          <a:ln w="9525">
            <a:noFill/>
            <a:miter lim="800000"/>
            <a:headEnd/>
            <a:tailEnd/>
          </a:ln>
          <a:effectLst>
            <a:prstShdw prst="shdw17" dist="17961" dir="2700000">
              <a:srgbClr val="A100FF">
                <a:gamma/>
                <a:shade val="60000"/>
                <a:invGamma/>
              </a:srgbClr>
            </a:prstShdw>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Lucida Sans"/>
                <a:ea typeface="+mn-ea"/>
                <a:cs typeface="+mn-cs"/>
              </a:rPr>
              <a:t>(+)</a:t>
            </a:r>
          </a:p>
        </p:txBody>
      </p:sp>
      <p:sp>
        <p:nvSpPr>
          <p:cNvPr id="81" name="Text Box 78">
            <a:extLst>
              <a:ext uri="{FF2B5EF4-FFF2-40B4-BE49-F238E27FC236}">
                <a16:creationId xmlns:a16="http://schemas.microsoft.com/office/drawing/2014/main" id="{93B95255-FF43-4A9D-855B-23E99BBF946D}"/>
              </a:ext>
            </a:extLst>
          </p:cNvPr>
          <p:cNvSpPr txBox="1">
            <a:spLocks noChangeArrowheads="1"/>
          </p:cNvSpPr>
          <p:nvPr/>
        </p:nvSpPr>
        <p:spPr bwMode="auto">
          <a:xfrm>
            <a:off x="2783632" y="3658963"/>
            <a:ext cx="450850" cy="244475"/>
          </a:xfrm>
          <a:prstGeom prst="rect">
            <a:avLst/>
          </a:prstGeom>
          <a:noFill/>
          <a:ln w="9525">
            <a:noFill/>
            <a:miter lim="800000"/>
            <a:headEnd/>
            <a:tailEnd/>
          </a:ln>
          <a:effectLst>
            <a:prstShdw prst="shdw17" dist="17961" dir="2700000">
              <a:srgbClr val="A100FF">
                <a:gamma/>
                <a:shade val="60000"/>
                <a:invGamma/>
              </a:srgbClr>
            </a:prstShdw>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Lucida Sans"/>
                <a:ea typeface="+mn-ea"/>
                <a:cs typeface="+mn-cs"/>
              </a:rPr>
              <a:t>(+)</a:t>
            </a:r>
          </a:p>
        </p:txBody>
      </p:sp>
      <p:sp>
        <p:nvSpPr>
          <p:cNvPr id="82" name="Text Box 78">
            <a:extLst>
              <a:ext uri="{FF2B5EF4-FFF2-40B4-BE49-F238E27FC236}">
                <a16:creationId xmlns:a16="http://schemas.microsoft.com/office/drawing/2014/main" id="{D5443C83-FF6B-4200-B3CE-4140BE9B455D}"/>
              </a:ext>
            </a:extLst>
          </p:cNvPr>
          <p:cNvSpPr txBox="1">
            <a:spLocks noChangeArrowheads="1"/>
          </p:cNvSpPr>
          <p:nvPr/>
        </p:nvSpPr>
        <p:spPr bwMode="auto">
          <a:xfrm>
            <a:off x="2783632" y="3938363"/>
            <a:ext cx="450850" cy="244475"/>
          </a:xfrm>
          <a:prstGeom prst="rect">
            <a:avLst/>
          </a:prstGeom>
          <a:noFill/>
          <a:ln w="9525">
            <a:noFill/>
            <a:miter lim="800000"/>
            <a:headEnd/>
            <a:tailEnd/>
          </a:ln>
          <a:effectLst>
            <a:prstShdw prst="shdw17" dist="17961" dir="2700000">
              <a:srgbClr val="A100FF">
                <a:gamma/>
                <a:shade val="60000"/>
                <a:invGamma/>
              </a:srgbClr>
            </a:prstShdw>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Lucida Sans"/>
                <a:ea typeface="+mn-ea"/>
                <a:cs typeface="+mn-cs"/>
              </a:rPr>
              <a:t>(+)</a:t>
            </a:r>
          </a:p>
        </p:txBody>
      </p:sp>
      <p:sp>
        <p:nvSpPr>
          <p:cNvPr id="83" name="Text Box 78">
            <a:extLst>
              <a:ext uri="{FF2B5EF4-FFF2-40B4-BE49-F238E27FC236}">
                <a16:creationId xmlns:a16="http://schemas.microsoft.com/office/drawing/2014/main" id="{1277D661-64A4-4AA6-85BE-DE50E7544671}"/>
              </a:ext>
            </a:extLst>
          </p:cNvPr>
          <p:cNvSpPr txBox="1">
            <a:spLocks noChangeArrowheads="1"/>
          </p:cNvSpPr>
          <p:nvPr/>
        </p:nvSpPr>
        <p:spPr bwMode="auto">
          <a:xfrm>
            <a:off x="2783632" y="4230463"/>
            <a:ext cx="450850" cy="244475"/>
          </a:xfrm>
          <a:prstGeom prst="rect">
            <a:avLst/>
          </a:prstGeom>
          <a:noFill/>
          <a:ln w="9525">
            <a:noFill/>
            <a:miter lim="800000"/>
            <a:headEnd/>
            <a:tailEnd/>
          </a:ln>
          <a:effectLst>
            <a:prstShdw prst="shdw17" dist="17961" dir="2700000">
              <a:srgbClr val="A100FF">
                <a:gamma/>
                <a:shade val="60000"/>
                <a:invGamma/>
              </a:srgbClr>
            </a:prstShdw>
          </a:effec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Lucida Sans"/>
                <a:ea typeface="+mn-ea"/>
                <a:cs typeface="+mn-cs"/>
              </a:rPr>
              <a:t>(+)</a:t>
            </a:r>
          </a:p>
        </p:txBody>
      </p:sp>
      <p:sp>
        <p:nvSpPr>
          <p:cNvPr id="84" name="Rectangle 45">
            <a:extLst>
              <a:ext uri="{FF2B5EF4-FFF2-40B4-BE49-F238E27FC236}">
                <a16:creationId xmlns:a16="http://schemas.microsoft.com/office/drawing/2014/main" id="{9591EAAF-6C59-4F5D-BA53-FFB34F30AE40}"/>
              </a:ext>
            </a:extLst>
          </p:cNvPr>
          <p:cNvSpPr>
            <a:spLocks noChangeArrowheads="1"/>
          </p:cNvSpPr>
          <p:nvPr/>
        </p:nvSpPr>
        <p:spPr bwMode="auto">
          <a:xfrm>
            <a:off x="9463891" y="3675974"/>
            <a:ext cx="1102712" cy="195262"/>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1</a:t>
            </a:r>
          </a:p>
        </p:txBody>
      </p:sp>
      <p:sp>
        <p:nvSpPr>
          <p:cNvPr id="85" name="Rectangle 46">
            <a:extLst>
              <a:ext uri="{FF2B5EF4-FFF2-40B4-BE49-F238E27FC236}">
                <a16:creationId xmlns:a16="http://schemas.microsoft.com/office/drawing/2014/main" id="{1213FF88-699F-49F8-AB18-7D7B177CF30B}"/>
              </a:ext>
            </a:extLst>
          </p:cNvPr>
          <p:cNvSpPr>
            <a:spLocks noChangeArrowheads="1"/>
          </p:cNvSpPr>
          <p:nvPr/>
        </p:nvSpPr>
        <p:spPr bwMode="auto">
          <a:xfrm>
            <a:off x="9444224" y="4054095"/>
            <a:ext cx="1584325" cy="176368"/>
          </a:xfrm>
          <a:prstGeom prst="rect">
            <a:avLst/>
          </a:prstGeom>
          <a:noFill/>
          <a:ln w="9525">
            <a:noFill/>
            <a:miter lim="800000"/>
            <a:headEnd/>
            <a:tailEnd/>
          </a:ln>
        </p:spPr>
        <p:txBody>
          <a:bodyPr lIns="0" tIns="0" rIns="0" bIns="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Graphik"/>
                <a:ea typeface="+mn-ea"/>
                <a:cs typeface="Arial" pitchFamily="34" charset="0"/>
              </a:rPr>
              <a:t>Sub element 2</a:t>
            </a:r>
          </a:p>
        </p:txBody>
      </p:sp>
      <p:sp>
        <p:nvSpPr>
          <p:cNvPr id="86" name="Left Brace 85">
            <a:extLst>
              <a:ext uri="{FF2B5EF4-FFF2-40B4-BE49-F238E27FC236}">
                <a16:creationId xmlns:a16="http://schemas.microsoft.com/office/drawing/2014/main" id="{D06FF608-5062-41E6-85F4-F29B07D2BA66}"/>
              </a:ext>
            </a:extLst>
          </p:cNvPr>
          <p:cNvSpPr/>
          <p:nvPr/>
        </p:nvSpPr>
        <p:spPr bwMode="auto">
          <a:xfrm>
            <a:off x="5788805" y="5020648"/>
            <a:ext cx="193183" cy="1275009"/>
          </a:xfrm>
          <a:prstGeom prst="leftBrace">
            <a:avLst/>
          </a:prstGeom>
          <a:noFill/>
          <a:ln w="9525" cap="flat" cmpd="sng" algn="ctr">
            <a:solidFill>
              <a:srgbClr val="BE82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cxnSp>
        <p:nvCxnSpPr>
          <p:cNvPr id="87" name="Straight Connector 86">
            <a:extLst>
              <a:ext uri="{FF2B5EF4-FFF2-40B4-BE49-F238E27FC236}">
                <a16:creationId xmlns:a16="http://schemas.microsoft.com/office/drawing/2014/main" id="{DA90C91C-7DCB-4171-B506-4DC43A1F9FBC}"/>
              </a:ext>
            </a:extLst>
          </p:cNvPr>
          <p:cNvCxnSpPr/>
          <p:nvPr/>
        </p:nvCxnSpPr>
        <p:spPr bwMode="auto">
          <a:xfrm>
            <a:off x="6882498" y="2355174"/>
            <a:ext cx="227860" cy="0"/>
          </a:xfrm>
          <a:prstGeom prst="line">
            <a:avLst/>
          </a:prstGeom>
          <a:noFill/>
          <a:ln w="6350" cap="flat" cmpd="sng" algn="ctr">
            <a:solidFill>
              <a:srgbClr val="BE82FF"/>
            </a:solidFill>
            <a:prstDash val="solid"/>
          </a:ln>
          <a:effectLst/>
        </p:spPr>
      </p:cxnSp>
      <p:cxnSp>
        <p:nvCxnSpPr>
          <p:cNvPr id="88" name="Straight Arrow Connector 87">
            <a:extLst>
              <a:ext uri="{FF2B5EF4-FFF2-40B4-BE49-F238E27FC236}">
                <a16:creationId xmlns:a16="http://schemas.microsoft.com/office/drawing/2014/main" id="{F12AA5C3-D05A-41DC-A7AF-7000A660C25C}"/>
              </a:ext>
            </a:extLst>
          </p:cNvPr>
          <p:cNvCxnSpPr/>
          <p:nvPr/>
        </p:nvCxnSpPr>
        <p:spPr bwMode="auto">
          <a:xfrm flipH="1">
            <a:off x="2870945" y="3917726"/>
            <a:ext cx="271540" cy="1"/>
          </a:xfrm>
          <a:prstGeom prst="straightConnector1">
            <a:avLst/>
          </a:prstGeom>
          <a:noFill/>
          <a:ln w="6350" cap="flat" cmpd="sng" algn="ctr">
            <a:solidFill>
              <a:srgbClr val="BE82FF"/>
            </a:solidFill>
            <a:prstDash val="solid"/>
            <a:headEnd type="none"/>
            <a:tailEnd type="triangle"/>
          </a:ln>
          <a:effectLst/>
        </p:spPr>
      </p:cxnSp>
      <p:sp>
        <p:nvSpPr>
          <p:cNvPr id="2" name="Rectangle 1">
            <a:hlinkClick r:id="rId3" action="ppaction://hlinksldjump"/>
            <a:extLst>
              <a:ext uri="{FF2B5EF4-FFF2-40B4-BE49-F238E27FC236}">
                <a16:creationId xmlns:a16="http://schemas.microsoft.com/office/drawing/2014/main" id="{FA8E91B1-B910-42D6-BEC7-4B71EF631B4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8815523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Maturity Model 1</a:t>
            </a:r>
          </a:p>
        </p:txBody>
      </p:sp>
      <p:sp>
        <p:nvSpPr>
          <p:cNvPr id="5" name="Freeform: Shape 4">
            <a:hlinkClick r:id="rId4"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Box 4">
            <a:extLst>
              <a:ext uri="{FF2B5EF4-FFF2-40B4-BE49-F238E27FC236}">
                <a16:creationId xmlns:a16="http://schemas.microsoft.com/office/drawing/2014/main" id="{4F1B9FC7-D9B9-4622-AD9A-280111396320}"/>
              </a:ext>
            </a:extLst>
          </p:cNvPr>
          <p:cNvSpPr txBox="1">
            <a:spLocks noChangeArrowheads="1"/>
          </p:cNvSpPr>
          <p:nvPr/>
        </p:nvSpPr>
        <p:spPr bwMode="auto">
          <a:xfrm>
            <a:off x="1978777" y="1173293"/>
            <a:ext cx="8234446" cy="409343"/>
          </a:xfrm>
          <a:prstGeom prst="rect">
            <a:avLst/>
          </a:prstGeom>
          <a:noFill/>
          <a:ln w="9525">
            <a:noFill/>
            <a:miter lim="800000"/>
            <a:headEnd/>
            <a:tailEnd/>
          </a:ln>
        </p:spPr>
        <p:txBody>
          <a:bodyPr wrap="square" lIns="0" tIns="0" rIns="0" bIns="0">
            <a:spAutoFit/>
          </a:bodyPr>
          <a:lstStyle/>
          <a:p>
            <a:pPr marL="0" marR="0" lvl="0" indent="0" algn="l" defTabSz="914400" rtl="0" eaLnBrk="0" fontAlgn="auto" latinLnBrk="0" hangingPunct="0">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At a summary level, &lt;Client&gt; supply chain capabilities are consistent with a basic level of maturity and performance.</a:t>
            </a:r>
          </a:p>
        </p:txBody>
      </p:sp>
      <p:sp>
        <p:nvSpPr>
          <p:cNvPr id="7" name="Line 52">
            <a:extLst>
              <a:ext uri="{FF2B5EF4-FFF2-40B4-BE49-F238E27FC236}">
                <a16:creationId xmlns:a16="http://schemas.microsoft.com/office/drawing/2014/main" id="{AA33C4C7-47CF-4BD8-BF65-3F780CD081F6}"/>
              </a:ext>
            </a:extLst>
          </p:cNvPr>
          <p:cNvSpPr>
            <a:spLocks noChangeShapeType="1"/>
          </p:cNvSpPr>
          <p:nvPr/>
        </p:nvSpPr>
        <p:spPr bwMode="auto">
          <a:xfrm flipV="1">
            <a:off x="1967262" y="1957239"/>
            <a:ext cx="8579653" cy="0"/>
          </a:xfrm>
          <a:prstGeom prst="line">
            <a:avLst/>
          </a:prstGeom>
          <a:noFill/>
          <a:ln w="12700">
            <a:solidFill>
              <a:srgbClr val="A100FF"/>
            </a:solidFill>
            <a:prstDash val="dash"/>
            <a:round/>
            <a:headEnd type="none" w="sm" len="sm"/>
            <a:tailEnd type="none" w="sm" len="sm"/>
          </a:ln>
        </p:spPr>
        <p:txBody>
          <a:bodyPr wrap="non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Rectangle 67">
            <a:extLst>
              <a:ext uri="{FF2B5EF4-FFF2-40B4-BE49-F238E27FC236}">
                <a16:creationId xmlns:a16="http://schemas.microsoft.com/office/drawing/2014/main" id="{27A5AE5E-09BC-4AC2-9EEA-F93D0DE1BD1F}"/>
              </a:ext>
            </a:extLst>
          </p:cNvPr>
          <p:cNvSpPr>
            <a:spLocks noChangeArrowheads="1"/>
          </p:cNvSpPr>
          <p:nvPr/>
        </p:nvSpPr>
        <p:spPr bwMode="auto">
          <a:xfrm>
            <a:off x="3675290" y="1731571"/>
            <a:ext cx="2832100" cy="184666"/>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Performance</a:t>
            </a:r>
          </a:p>
        </p:txBody>
      </p:sp>
      <p:sp>
        <p:nvSpPr>
          <p:cNvPr id="9" name="Rectangle 68">
            <a:extLst>
              <a:ext uri="{FF2B5EF4-FFF2-40B4-BE49-F238E27FC236}">
                <a16:creationId xmlns:a16="http://schemas.microsoft.com/office/drawing/2014/main" id="{E2CFA6F1-7F98-479A-B335-E1A4843B3E19}"/>
              </a:ext>
            </a:extLst>
          </p:cNvPr>
          <p:cNvSpPr>
            <a:spLocks noChangeArrowheads="1"/>
          </p:cNvSpPr>
          <p:nvPr/>
        </p:nvSpPr>
        <p:spPr bwMode="auto">
          <a:xfrm>
            <a:off x="5685169" y="1731571"/>
            <a:ext cx="2832100" cy="184666"/>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Rationale</a:t>
            </a:r>
          </a:p>
        </p:txBody>
      </p:sp>
      <p:sp>
        <p:nvSpPr>
          <p:cNvPr id="10" name="Rectangle 69">
            <a:extLst>
              <a:ext uri="{FF2B5EF4-FFF2-40B4-BE49-F238E27FC236}">
                <a16:creationId xmlns:a16="http://schemas.microsoft.com/office/drawing/2014/main" id="{758C902C-C7A8-4378-9F1C-92171C925B90}"/>
              </a:ext>
            </a:extLst>
          </p:cNvPr>
          <p:cNvSpPr>
            <a:spLocks noChangeAspect="1" noChangeArrowheads="1"/>
          </p:cNvSpPr>
          <p:nvPr/>
        </p:nvSpPr>
        <p:spPr bwMode="auto">
          <a:xfrm>
            <a:off x="3791745" y="6287644"/>
            <a:ext cx="409525" cy="114780"/>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Graphik"/>
              <a:ea typeface="+mn-ea"/>
              <a:cs typeface="+mn-cs"/>
            </a:endParaRPr>
          </a:p>
        </p:txBody>
      </p:sp>
      <p:sp>
        <p:nvSpPr>
          <p:cNvPr id="11" name="Text Box 71">
            <a:extLst>
              <a:ext uri="{FF2B5EF4-FFF2-40B4-BE49-F238E27FC236}">
                <a16:creationId xmlns:a16="http://schemas.microsoft.com/office/drawing/2014/main" id="{86A6ACC9-13DA-4966-97F4-3C87D9C34182}"/>
              </a:ext>
            </a:extLst>
          </p:cNvPr>
          <p:cNvSpPr txBox="1">
            <a:spLocks noChangeAspect="1" noChangeArrowheads="1"/>
          </p:cNvSpPr>
          <p:nvPr/>
        </p:nvSpPr>
        <p:spPr bwMode="auto">
          <a:xfrm>
            <a:off x="2103588" y="6237312"/>
            <a:ext cx="1616148" cy="215444"/>
          </a:xfrm>
          <a:prstGeom prst="rect">
            <a:avLst/>
          </a:prstGeom>
          <a:noFill/>
          <a:ln w="9525">
            <a:noFill/>
            <a:miter lim="800000"/>
            <a:headEnd/>
            <a:tailEnd/>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Graphik"/>
                <a:ea typeface="+mn-ea"/>
                <a:cs typeface="+mn-cs"/>
              </a:rPr>
              <a:t>Current Company Performance</a:t>
            </a:r>
          </a:p>
        </p:txBody>
      </p:sp>
      <p:sp>
        <p:nvSpPr>
          <p:cNvPr id="12" name="Text Box 72">
            <a:extLst>
              <a:ext uri="{FF2B5EF4-FFF2-40B4-BE49-F238E27FC236}">
                <a16:creationId xmlns:a16="http://schemas.microsoft.com/office/drawing/2014/main" id="{6E73CE7F-148D-45A4-85ED-E7B8FC8A35A4}"/>
              </a:ext>
            </a:extLst>
          </p:cNvPr>
          <p:cNvSpPr txBox="1">
            <a:spLocks noChangeAspect="1" noChangeArrowheads="1"/>
          </p:cNvSpPr>
          <p:nvPr/>
        </p:nvSpPr>
        <p:spPr bwMode="auto">
          <a:xfrm>
            <a:off x="4221937" y="6237312"/>
            <a:ext cx="3480441" cy="215444"/>
          </a:xfrm>
          <a:prstGeom prst="rect">
            <a:avLst/>
          </a:prstGeom>
          <a:noFill/>
          <a:ln w="9525">
            <a:noFill/>
            <a:miter lim="800000"/>
            <a:headEnd/>
            <a:tailEnd/>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Graphik"/>
                <a:ea typeface="+mn-ea"/>
                <a:cs typeface="+mn-cs"/>
              </a:rPr>
              <a:t>Suggested Company Competency Range based on Industry information</a:t>
            </a:r>
          </a:p>
        </p:txBody>
      </p:sp>
      <p:sp>
        <p:nvSpPr>
          <p:cNvPr id="13" name="Text Box 115">
            <a:extLst>
              <a:ext uri="{FF2B5EF4-FFF2-40B4-BE49-F238E27FC236}">
                <a16:creationId xmlns:a16="http://schemas.microsoft.com/office/drawing/2014/main" id="{96BD25A3-FA04-4DA8-93BF-45BEA39A33AB}"/>
              </a:ext>
            </a:extLst>
          </p:cNvPr>
          <p:cNvSpPr txBox="1">
            <a:spLocks noChangeArrowheads="1"/>
          </p:cNvSpPr>
          <p:nvPr/>
        </p:nvSpPr>
        <p:spPr bwMode="auto">
          <a:xfrm>
            <a:off x="4970516" y="5984326"/>
            <a:ext cx="945465" cy="230832"/>
          </a:xfrm>
          <a:prstGeom prst="rect">
            <a:avLst/>
          </a:prstGeom>
          <a:noFill/>
          <a:ln w="6350">
            <a:noFill/>
            <a:miter lim="800000"/>
            <a:headEnd/>
            <a:tailEnd/>
          </a:ln>
        </p:spPr>
        <p:txBody>
          <a:bodyPr wrap="square" anchor="ctr">
            <a:spAutoFit/>
          </a:bodyPr>
          <a:lstStyle/>
          <a:p>
            <a:pPr marL="0" marR="0" lvl="0" indent="0" algn="ctr" defTabSz="914400" rtl="0" eaLnBrk="0" fontAlgn="auto" latinLnBrk="0" hangingPunct="0">
              <a:lnSpc>
                <a:spcPct val="100000"/>
              </a:lnSpc>
              <a:spcBef>
                <a:spcPct val="35000"/>
              </a:spcBef>
              <a:spcAft>
                <a:spcPts val="0"/>
              </a:spcAft>
              <a:buClrTx/>
              <a:buSzPct val="60000"/>
              <a:buFont typeface="Wingdings" pitchFamily="2" charset="2"/>
              <a:buNone/>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Leading</a:t>
            </a:r>
          </a:p>
        </p:txBody>
      </p:sp>
      <p:sp>
        <p:nvSpPr>
          <p:cNvPr id="14" name="Rectangle 121">
            <a:extLst>
              <a:ext uri="{FF2B5EF4-FFF2-40B4-BE49-F238E27FC236}">
                <a16:creationId xmlns:a16="http://schemas.microsoft.com/office/drawing/2014/main" id="{E620C01B-DEB5-4FD8-949D-8F7BBDB9BCCE}"/>
              </a:ext>
            </a:extLst>
          </p:cNvPr>
          <p:cNvSpPr>
            <a:spLocks noChangeArrowheads="1"/>
          </p:cNvSpPr>
          <p:nvPr/>
        </p:nvSpPr>
        <p:spPr bwMode="auto">
          <a:xfrm>
            <a:off x="1976757" y="1731571"/>
            <a:ext cx="1676400" cy="184666"/>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Capability Area</a:t>
            </a:r>
          </a:p>
        </p:txBody>
      </p:sp>
      <p:sp>
        <p:nvSpPr>
          <p:cNvPr id="15" name="Text Box 53">
            <a:extLst>
              <a:ext uri="{FF2B5EF4-FFF2-40B4-BE49-F238E27FC236}">
                <a16:creationId xmlns:a16="http://schemas.microsoft.com/office/drawing/2014/main" id="{D44E957C-6450-4CAC-B566-9AC14B019BC2}"/>
              </a:ext>
            </a:extLst>
          </p:cNvPr>
          <p:cNvSpPr txBox="1">
            <a:spLocks noChangeArrowheads="1"/>
          </p:cNvSpPr>
          <p:nvPr/>
        </p:nvSpPr>
        <p:spPr bwMode="auto">
          <a:xfrm>
            <a:off x="6638926" y="2283375"/>
            <a:ext cx="4139718" cy="803180"/>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Strategy and alignment to business/corporate objectives is unclear, with supply chain underinvested.</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Tactical focus and lean staffing results in reactive service.</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asurement and performance is unclear with few measures established or communicated.</a:t>
            </a:r>
          </a:p>
        </p:txBody>
      </p:sp>
      <p:sp>
        <p:nvSpPr>
          <p:cNvPr id="16" name="Text Box 54">
            <a:extLst>
              <a:ext uri="{FF2B5EF4-FFF2-40B4-BE49-F238E27FC236}">
                <a16:creationId xmlns:a16="http://schemas.microsoft.com/office/drawing/2014/main" id="{9670866E-1262-4E83-9AB7-DFC1F4D5F8CB}"/>
              </a:ext>
            </a:extLst>
          </p:cNvPr>
          <p:cNvSpPr txBox="1">
            <a:spLocks noChangeArrowheads="1"/>
          </p:cNvSpPr>
          <p:nvPr/>
        </p:nvSpPr>
        <p:spPr bwMode="auto">
          <a:xfrm>
            <a:off x="1971946" y="2127772"/>
            <a:ext cx="1178731"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Integrated Supply Chain</a:t>
            </a:r>
          </a:p>
        </p:txBody>
      </p:sp>
      <p:grpSp>
        <p:nvGrpSpPr>
          <p:cNvPr id="17" name="Group 3">
            <a:extLst>
              <a:ext uri="{FF2B5EF4-FFF2-40B4-BE49-F238E27FC236}">
                <a16:creationId xmlns:a16="http://schemas.microsoft.com/office/drawing/2014/main" id="{89EFDB6A-96C2-4FF3-A319-FAA39F9256CB}"/>
              </a:ext>
            </a:extLst>
          </p:cNvPr>
          <p:cNvGrpSpPr/>
          <p:nvPr/>
        </p:nvGrpSpPr>
        <p:grpSpPr bwMode="auto">
          <a:xfrm>
            <a:off x="3171825" y="2096853"/>
            <a:ext cx="3467100" cy="404093"/>
            <a:chOff x="1647825" y="2276872"/>
            <a:chExt cx="3467100" cy="404093"/>
          </a:xfrm>
        </p:grpSpPr>
        <p:sp>
          <p:nvSpPr>
            <p:cNvPr id="18" name="AutoShape 75">
              <a:extLst>
                <a:ext uri="{FF2B5EF4-FFF2-40B4-BE49-F238E27FC236}">
                  <a16:creationId xmlns:a16="http://schemas.microsoft.com/office/drawing/2014/main" id="{7AC58AA7-0DED-4301-8D70-506600D37B51}"/>
                </a:ext>
              </a:extLst>
            </p:cNvPr>
            <p:cNvSpPr>
              <a:spLocks noChangeArrowheads="1"/>
            </p:cNvSpPr>
            <p:nvPr/>
          </p:nvSpPr>
          <p:spPr bwMode="auto">
            <a:xfrm>
              <a:off x="1647825" y="2374498"/>
              <a:ext cx="3467100" cy="306467"/>
            </a:xfrm>
            <a:prstGeom prst="roundRect">
              <a:avLst>
                <a:gd name="adj" fmla="val 16667"/>
              </a:avLst>
            </a:prstGeom>
            <a:solidFill>
              <a:srgbClr val="96968C">
                <a:lumMod val="60000"/>
                <a:lumOff val="40000"/>
              </a:srgbClr>
            </a:solidFill>
            <a:ln w="9525">
              <a:noFill/>
              <a:round/>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9" name="Rectangle 79">
              <a:extLst>
                <a:ext uri="{FF2B5EF4-FFF2-40B4-BE49-F238E27FC236}">
                  <a16:creationId xmlns:a16="http://schemas.microsoft.com/office/drawing/2014/main" id="{CEB732CE-EA8A-4F49-B29A-367C17A1B8ED}"/>
                </a:ext>
              </a:extLst>
            </p:cNvPr>
            <p:cNvSpPr>
              <a:spLocks noChangeArrowheads="1"/>
            </p:cNvSpPr>
            <p:nvPr/>
          </p:nvSpPr>
          <p:spPr bwMode="auto">
            <a:xfrm>
              <a:off x="4472744" y="2300448"/>
              <a:ext cx="495300" cy="171450"/>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Graphik"/>
                <a:ea typeface="+mn-ea"/>
                <a:cs typeface="+mn-cs"/>
              </a:endParaRPr>
            </a:p>
          </p:txBody>
        </p:sp>
        <p:sp>
          <p:nvSpPr>
            <p:cNvPr id="20" name="AutoShape 48">
              <a:extLst>
                <a:ext uri="{FF2B5EF4-FFF2-40B4-BE49-F238E27FC236}">
                  <a16:creationId xmlns:a16="http://schemas.microsoft.com/office/drawing/2014/main" id="{937667B9-01E0-4F7B-ACCF-7D4BAE1C63F9}"/>
                </a:ext>
              </a:extLst>
            </p:cNvPr>
            <p:cNvSpPr>
              <a:spLocks noChangeArrowheads="1"/>
            </p:cNvSpPr>
            <p:nvPr/>
          </p:nvSpPr>
          <p:spPr bwMode="auto">
            <a:xfrm>
              <a:off x="2311304" y="2276872"/>
              <a:ext cx="196850" cy="185737"/>
            </a:xfrm>
            <a:prstGeom prst="diamond">
              <a:avLst/>
            </a:prstGeom>
            <a:solidFill>
              <a:schemeClr val="accent3"/>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21" name="Text Box 55">
            <a:extLst>
              <a:ext uri="{FF2B5EF4-FFF2-40B4-BE49-F238E27FC236}">
                <a16:creationId xmlns:a16="http://schemas.microsoft.com/office/drawing/2014/main" id="{AE63DD20-354F-4EA3-BF8F-D93A3B24E5B2}"/>
              </a:ext>
            </a:extLst>
          </p:cNvPr>
          <p:cNvSpPr txBox="1">
            <a:spLocks noChangeArrowheads="1"/>
          </p:cNvSpPr>
          <p:nvPr/>
        </p:nvSpPr>
        <p:spPr bwMode="auto">
          <a:xfrm>
            <a:off x="1971946" y="3328469"/>
            <a:ext cx="1008819"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Client Collaboration and Integration</a:t>
            </a:r>
          </a:p>
        </p:txBody>
      </p:sp>
      <p:sp>
        <p:nvSpPr>
          <p:cNvPr id="22" name="Text Box 61">
            <a:extLst>
              <a:ext uri="{FF2B5EF4-FFF2-40B4-BE49-F238E27FC236}">
                <a16:creationId xmlns:a16="http://schemas.microsoft.com/office/drawing/2014/main" id="{261F88D0-54B7-4AEC-91A1-EFB9481E00A4}"/>
              </a:ext>
            </a:extLst>
          </p:cNvPr>
          <p:cNvSpPr txBox="1">
            <a:spLocks noChangeArrowheads="1"/>
          </p:cNvSpPr>
          <p:nvPr/>
        </p:nvSpPr>
        <p:spPr bwMode="auto">
          <a:xfrm>
            <a:off x="6638926" y="3200053"/>
            <a:ext cx="4183560" cy="258767"/>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Demand / supply planning is an ad-hoc activity with no formal and/or consistent collaborative planning &amp; communication.</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ng term, forward-looking detailed material and service requirements un available nor communicated to supply chain.</a:t>
            </a:r>
          </a:p>
        </p:txBody>
      </p:sp>
      <p:sp>
        <p:nvSpPr>
          <p:cNvPr id="23" name="AutoShape 80">
            <a:extLst>
              <a:ext uri="{FF2B5EF4-FFF2-40B4-BE49-F238E27FC236}">
                <a16:creationId xmlns:a16="http://schemas.microsoft.com/office/drawing/2014/main" id="{A63D4269-BDAB-4438-9DB8-28437B876FA6}"/>
              </a:ext>
            </a:extLst>
          </p:cNvPr>
          <p:cNvSpPr>
            <a:spLocks noChangeArrowheads="1"/>
          </p:cNvSpPr>
          <p:nvPr/>
        </p:nvSpPr>
        <p:spPr bwMode="auto">
          <a:xfrm>
            <a:off x="3171825" y="3414156"/>
            <a:ext cx="3467100" cy="306467"/>
          </a:xfrm>
          <a:prstGeom prst="roundRect">
            <a:avLst>
              <a:gd name="adj" fmla="val 16667"/>
            </a:avLst>
          </a:prstGeom>
          <a:solidFill>
            <a:srgbClr val="96968C">
              <a:lumMod val="60000"/>
              <a:lumOff val="40000"/>
            </a:srgbClr>
          </a:solidFill>
          <a:ln w="9525">
            <a:noFill/>
            <a:round/>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4" name="Rectangle 84">
            <a:extLst>
              <a:ext uri="{FF2B5EF4-FFF2-40B4-BE49-F238E27FC236}">
                <a16:creationId xmlns:a16="http://schemas.microsoft.com/office/drawing/2014/main" id="{EB759983-EE24-489A-A1B2-A807D0297BCD}"/>
              </a:ext>
            </a:extLst>
          </p:cNvPr>
          <p:cNvSpPr>
            <a:spLocks noChangeArrowheads="1"/>
          </p:cNvSpPr>
          <p:nvPr/>
        </p:nvSpPr>
        <p:spPr bwMode="auto">
          <a:xfrm>
            <a:off x="5262563" y="3338517"/>
            <a:ext cx="495300" cy="173038"/>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Graphik"/>
              <a:ea typeface="+mn-ea"/>
              <a:cs typeface="+mn-cs"/>
            </a:endParaRPr>
          </a:p>
        </p:txBody>
      </p:sp>
      <p:sp>
        <p:nvSpPr>
          <p:cNvPr id="25" name="AutoShape 48">
            <a:extLst>
              <a:ext uri="{FF2B5EF4-FFF2-40B4-BE49-F238E27FC236}">
                <a16:creationId xmlns:a16="http://schemas.microsoft.com/office/drawing/2014/main" id="{13917581-6883-4771-B332-2DB49180E47D}"/>
              </a:ext>
            </a:extLst>
          </p:cNvPr>
          <p:cNvSpPr>
            <a:spLocks noChangeArrowheads="1"/>
          </p:cNvSpPr>
          <p:nvPr/>
        </p:nvSpPr>
        <p:spPr bwMode="auto">
          <a:xfrm>
            <a:off x="3897269" y="3296434"/>
            <a:ext cx="196850" cy="185737"/>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Graphik"/>
            </a:endParaRPr>
          </a:p>
        </p:txBody>
      </p:sp>
      <p:sp>
        <p:nvSpPr>
          <p:cNvPr id="26" name="Text Box 60">
            <a:extLst>
              <a:ext uri="{FF2B5EF4-FFF2-40B4-BE49-F238E27FC236}">
                <a16:creationId xmlns:a16="http://schemas.microsoft.com/office/drawing/2014/main" id="{D9F9A089-6545-4614-B51B-C5300BB0E882}"/>
              </a:ext>
            </a:extLst>
          </p:cNvPr>
          <p:cNvSpPr txBox="1">
            <a:spLocks noChangeArrowheads="1"/>
          </p:cNvSpPr>
          <p:nvPr/>
        </p:nvSpPr>
        <p:spPr bwMode="auto">
          <a:xfrm>
            <a:off x="1971946" y="4366629"/>
            <a:ext cx="1349375"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Efficient Distribution</a:t>
            </a:r>
          </a:p>
        </p:txBody>
      </p:sp>
      <p:sp>
        <p:nvSpPr>
          <p:cNvPr id="27" name="Text Box 62">
            <a:extLst>
              <a:ext uri="{FF2B5EF4-FFF2-40B4-BE49-F238E27FC236}">
                <a16:creationId xmlns:a16="http://schemas.microsoft.com/office/drawing/2014/main" id="{F3CC0EA0-10B7-4117-B9CC-9237029E683E}"/>
              </a:ext>
            </a:extLst>
          </p:cNvPr>
          <p:cNvSpPr txBox="1">
            <a:spLocks noChangeArrowheads="1"/>
          </p:cNvSpPr>
          <p:nvPr/>
        </p:nvSpPr>
        <p:spPr bwMode="auto">
          <a:xfrm>
            <a:off x="6638926" y="3975460"/>
            <a:ext cx="4139715" cy="1001713"/>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Focus on transactional, day to day activities, limited available to   focus on strategic initiatives (SRM, Contract Mgmt, S Sourcing).</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Strategic sourcing has been pursued with proven success but is limited by availability of Dir, Supply Chain who leads efforts.</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Supplier diversity is a focus area with a dedicated resource who reports to HR.</a:t>
            </a:r>
          </a:p>
        </p:txBody>
      </p:sp>
      <p:sp>
        <p:nvSpPr>
          <p:cNvPr id="28" name="AutoShape 85">
            <a:extLst>
              <a:ext uri="{FF2B5EF4-FFF2-40B4-BE49-F238E27FC236}">
                <a16:creationId xmlns:a16="http://schemas.microsoft.com/office/drawing/2014/main" id="{D943740F-1B0A-4810-8B62-A9EC1569BF8B}"/>
              </a:ext>
            </a:extLst>
          </p:cNvPr>
          <p:cNvSpPr>
            <a:spLocks noChangeArrowheads="1"/>
          </p:cNvSpPr>
          <p:nvPr/>
        </p:nvSpPr>
        <p:spPr bwMode="auto">
          <a:xfrm>
            <a:off x="3171825" y="4377703"/>
            <a:ext cx="3467100" cy="306467"/>
          </a:xfrm>
          <a:prstGeom prst="roundRect">
            <a:avLst>
              <a:gd name="adj" fmla="val 16667"/>
            </a:avLst>
          </a:prstGeom>
          <a:solidFill>
            <a:srgbClr val="96968C">
              <a:lumMod val="60000"/>
              <a:lumOff val="40000"/>
            </a:srgbClr>
          </a:solidFill>
          <a:ln w="9525">
            <a:noFill/>
            <a:round/>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Rectangle 89">
            <a:extLst>
              <a:ext uri="{FF2B5EF4-FFF2-40B4-BE49-F238E27FC236}">
                <a16:creationId xmlns:a16="http://schemas.microsoft.com/office/drawing/2014/main" id="{309EEB94-BD0B-4916-B4B0-2EA91F78BABE}"/>
              </a:ext>
            </a:extLst>
          </p:cNvPr>
          <p:cNvSpPr>
            <a:spLocks noChangeArrowheads="1"/>
          </p:cNvSpPr>
          <p:nvPr/>
        </p:nvSpPr>
        <p:spPr bwMode="auto">
          <a:xfrm>
            <a:off x="5724525" y="4302066"/>
            <a:ext cx="495300" cy="173037"/>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Graphik"/>
              <a:ea typeface="+mn-ea"/>
              <a:cs typeface="+mn-cs"/>
            </a:endParaRPr>
          </a:p>
        </p:txBody>
      </p:sp>
      <p:sp>
        <p:nvSpPr>
          <p:cNvPr id="30" name="AutoShape 48">
            <a:extLst>
              <a:ext uri="{FF2B5EF4-FFF2-40B4-BE49-F238E27FC236}">
                <a16:creationId xmlns:a16="http://schemas.microsoft.com/office/drawing/2014/main" id="{C3B944AE-6195-4F2E-87C4-6C726FE18B24}"/>
              </a:ext>
            </a:extLst>
          </p:cNvPr>
          <p:cNvSpPr>
            <a:spLocks noChangeArrowheads="1"/>
          </p:cNvSpPr>
          <p:nvPr/>
        </p:nvSpPr>
        <p:spPr bwMode="auto">
          <a:xfrm>
            <a:off x="4570508" y="4281107"/>
            <a:ext cx="196850" cy="185737"/>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Graphik"/>
            </a:endParaRPr>
          </a:p>
        </p:txBody>
      </p:sp>
      <p:sp>
        <p:nvSpPr>
          <p:cNvPr id="31" name="Text Box 59">
            <a:extLst>
              <a:ext uri="{FF2B5EF4-FFF2-40B4-BE49-F238E27FC236}">
                <a16:creationId xmlns:a16="http://schemas.microsoft.com/office/drawing/2014/main" id="{13D2D22A-CDA1-42C7-B9BE-5978D3DC79C8}"/>
              </a:ext>
            </a:extLst>
          </p:cNvPr>
          <p:cNvSpPr txBox="1">
            <a:spLocks noChangeArrowheads="1"/>
          </p:cNvSpPr>
          <p:nvPr/>
        </p:nvSpPr>
        <p:spPr bwMode="auto">
          <a:xfrm>
            <a:off x="1971946" y="5532511"/>
            <a:ext cx="1349375"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Demand Driven Planning</a:t>
            </a:r>
          </a:p>
        </p:txBody>
      </p:sp>
      <p:sp>
        <p:nvSpPr>
          <p:cNvPr id="32" name="AutoShape 105">
            <a:extLst>
              <a:ext uri="{FF2B5EF4-FFF2-40B4-BE49-F238E27FC236}">
                <a16:creationId xmlns:a16="http://schemas.microsoft.com/office/drawing/2014/main" id="{49E3930E-AEFA-4C4D-ACAB-021DD5962A81}"/>
              </a:ext>
            </a:extLst>
          </p:cNvPr>
          <p:cNvSpPr>
            <a:spLocks noChangeArrowheads="1"/>
          </p:cNvSpPr>
          <p:nvPr/>
        </p:nvSpPr>
        <p:spPr bwMode="auto">
          <a:xfrm>
            <a:off x="3171825" y="5486808"/>
            <a:ext cx="3467100" cy="306467"/>
          </a:xfrm>
          <a:prstGeom prst="roundRect">
            <a:avLst>
              <a:gd name="adj" fmla="val 16667"/>
            </a:avLst>
          </a:prstGeom>
          <a:solidFill>
            <a:srgbClr val="96968C">
              <a:lumMod val="60000"/>
              <a:lumOff val="40000"/>
            </a:srgbClr>
          </a:solidFill>
          <a:ln w="9525">
            <a:noFill/>
            <a:round/>
            <a:headEnd/>
            <a:tailEnd/>
          </a:ln>
        </p:spPr>
        <p:txBody>
          <a:bodyPr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Rectangle 109">
            <a:extLst>
              <a:ext uri="{FF2B5EF4-FFF2-40B4-BE49-F238E27FC236}">
                <a16:creationId xmlns:a16="http://schemas.microsoft.com/office/drawing/2014/main" id="{66783654-3618-4579-A0F3-848100BBE199}"/>
              </a:ext>
            </a:extLst>
          </p:cNvPr>
          <p:cNvSpPr>
            <a:spLocks noChangeArrowheads="1"/>
          </p:cNvSpPr>
          <p:nvPr/>
        </p:nvSpPr>
        <p:spPr bwMode="auto">
          <a:xfrm>
            <a:off x="5457825" y="5411171"/>
            <a:ext cx="495300" cy="173037"/>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Graphik"/>
              <a:ea typeface="+mn-ea"/>
              <a:cs typeface="+mn-cs"/>
            </a:endParaRPr>
          </a:p>
        </p:txBody>
      </p:sp>
      <p:sp>
        <p:nvSpPr>
          <p:cNvPr id="34" name="Text Box 120">
            <a:extLst>
              <a:ext uri="{FF2B5EF4-FFF2-40B4-BE49-F238E27FC236}">
                <a16:creationId xmlns:a16="http://schemas.microsoft.com/office/drawing/2014/main" id="{7E7AA4CE-CCE6-486E-BE2D-BDA9B11F85B2}"/>
              </a:ext>
            </a:extLst>
          </p:cNvPr>
          <p:cNvSpPr txBox="1">
            <a:spLocks noChangeArrowheads="1"/>
          </p:cNvSpPr>
          <p:nvPr/>
        </p:nvSpPr>
        <p:spPr bwMode="auto">
          <a:xfrm>
            <a:off x="6621724" y="5140617"/>
            <a:ext cx="4200759" cy="193300"/>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Network of T&amp;D district storerooms appear to have excess inventory based on calculated turn rates.</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Strategic use of HD Supply as Client’s central distribution centers, provision of SLAs and methods of aggregated procurement.</a:t>
            </a:r>
          </a:p>
          <a:p>
            <a:pPr marL="72000" marR="0" lvl="0" indent="-72000" algn="l" defTabSz="914400" rtl="0" eaLnBrk="0" fontAlgn="auto" latinLnBrk="0" hangingPunct="0">
              <a:lnSpc>
                <a:spcPct val="100000"/>
              </a:lnSpc>
              <a:spcBef>
                <a:spcPts val="100"/>
              </a:spcBef>
              <a:spcAft>
                <a:spcPts val="100"/>
              </a:spcAft>
              <a:buClrTx/>
              <a:buSzPct val="60000"/>
              <a:buFont typeface="Wingdings" pitchFamily="2" charset="2"/>
              <a:buChar char="n"/>
              <a:tabLst/>
              <a:defRPr/>
            </a:pPr>
            <a:endParaRPr kumimoji="0" lang="en-US" sz="1000" b="0" i="0" u="none" strike="noStrike" kern="0" cap="none" spc="0" normalizeH="0" baseline="0" noProof="0" dirty="0">
              <a:ln>
                <a:noFill/>
              </a:ln>
              <a:solidFill>
                <a:srgbClr val="000000"/>
              </a:solidFill>
              <a:effectLst/>
              <a:uLnTx/>
              <a:uFillTx/>
              <a:latin typeface="Graphik"/>
              <a:ea typeface="+mn-ea"/>
              <a:cs typeface="+mn-cs"/>
            </a:endParaRPr>
          </a:p>
        </p:txBody>
      </p:sp>
      <p:sp>
        <p:nvSpPr>
          <p:cNvPr id="35" name="AutoShape 48">
            <a:extLst>
              <a:ext uri="{FF2B5EF4-FFF2-40B4-BE49-F238E27FC236}">
                <a16:creationId xmlns:a16="http://schemas.microsoft.com/office/drawing/2014/main" id="{7525AE41-0BC9-45E7-B4CE-F791FF07C7D4}"/>
              </a:ext>
            </a:extLst>
          </p:cNvPr>
          <p:cNvSpPr>
            <a:spLocks noChangeArrowheads="1"/>
          </p:cNvSpPr>
          <p:nvPr/>
        </p:nvSpPr>
        <p:spPr bwMode="auto">
          <a:xfrm>
            <a:off x="4459976" y="5375837"/>
            <a:ext cx="196850" cy="185737"/>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Graphik"/>
            </a:endParaRPr>
          </a:p>
        </p:txBody>
      </p:sp>
      <p:sp>
        <p:nvSpPr>
          <p:cNvPr id="36" name="AutoShape 48">
            <a:extLst>
              <a:ext uri="{FF2B5EF4-FFF2-40B4-BE49-F238E27FC236}">
                <a16:creationId xmlns:a16="http://schemas.microsoft.com/office/drawing/2014/main" id="{94A0B527-5DA6-4585-A733-9381FD364F85}"/>
              </a:ext>
            </a:extLst>
          </p:cNvPr>
          <p:cNvSpPr>
            <a:spLocks noChangeArrowheads="1"/>
          </p:cNvSpPr>
          <p:nvPr/>
        </p:nvSpPr>
        <p:spPr bwMode="auto">
          <a:xfrm>
            <a:off x="1992314" y="6279075"/>
            <a:ext cx="139811" cy="131918"/>
          </a:xfrm>
          <a:prstGeom prst="diamond">
            <a:avLst/>
          </a:prstGeom>
          <a:solidFill>
            <a:schemeClr val="accent3"/>
          </a:solidFill>
          <a:ln w="12700" algn="ctr">
            <a:noFill/>
            <a:miter lim="800000"/>
            <a:headEnd/>
            <a:tailEnd/>
          </a:ln>
        </p:spPr>
        <p:txBody>
          <a:bodyPr rot="10800000" vert="eaVert" wrap="none" anchor="ctr"/>
          <a:lstStyle/>
          <a:p>
            <a:endParaRPr lang="en-US" kern="0">
              <a:solidFill>
                <a:srgbClr val="000000"/>
              </a:solidFill>
              <a:latin typeface="Graphik"/>
            </a:endParaRPr>
          </a:p>
        </p:txBody>
      </p:sp>
      <p:sp>
        <p:nvSpPr>
          <p:cNvPr id="37" name="AutoShape 110">
            <a:extLst>
              <a:ext uri="{FF2B5EF4-FFF2-40B4-BE49-F238E27FC236}">
                <a16:creationId xmlns:a16="http://schemas.microsoft.com/office/drawing/2014/main" id="{5F41339F-DFD0-4BCE-A45E-465929ACA988}"/>
              </a:ext>
            </a:extLst>
          </p:cNvPr>
          <p:cNvSpPr>
            <a:spLocks/>
          </p:cNvSpPr>
          <p:nvPr/>
        </p:nvSpPr>
        <p:spPr bwMode="auto">
          <a:xfrm rot="16200000">
            <a:off x="3424724" y="5511401"/>
            <a:ext cx="205482" cy="711280"/>
          </a:xfrm>
          <a:prstGeom prst="leftBrace">
            <a:avLst>
              <a:gd name="adj1" fmla="val 32353"/>
              <a:gd name="adj2" fmla="val 50000"/>
            </a:avLst>
          </a:prstGeom>
          <a:noFill/>
          <a:ln w="6350">
            <a:solidFill>
              <a:srgbClr val="808080"/>
            </a:solidFill>
            <a:round/>
            <a:headEnd/>
            <a:tailEnd/>
          </a:ln>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AutoShape 111">
            <a:extLst>
              <a:ext uri="{FF2B5EF4-FFF2-40B4-BE49-F238E27FC236}">
                <a16:creationId xmlns:a16="http://schemas.microsoft.com/office/drawing/2014/main" id="{528D1ED7-E255-4293-9BB0-0CBD2E9068A8}"/>
              </a:ext>
            </a:extLst>
          </p:cNvPr>
          <p:cNvSpPr>
            <a:spLocks/>
          </p:cNvSpPr>
          <p:nvPr/>
        </p:nvSpPr>
        <p:spPr bwMode="auto">
          <a:xfrm rot="16200000">
            <a:off x="5315095" y="5367280"/>
            <a:ext cx="241011" cy="1035052"/>
          </a:xfrm>
          <a:prstGeom prst="leftBrace">
            <a:avLst>
              <a:gd name="adj1" fmla="val 30903"/>
              <a:gd name="adj2" fmla="val 50000"/>
            </a:avLst>
          </a:prstGeom>
          <a:noFill/>
          <a:ln w="6350">
            <a:solidFill>
              <a:srgbClr val="808080"/>
            </a:solidFill>
            <a:round/>
            <a:headEnd/>
            <a:tailEnd/>
          </a:ln>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AutoShape 112">
            <a:extLst>
              <a:ext uri="{FF2B5EF4-FFF2-40B4-BE49-F238E27FC236}">
                <a16:creationId xmlns:a16="http://schemas.microsoft.com/office/drawing/2014/main" id="{2C80489E-FF88-430C-9A4E-CC6F32299978}"/>
              </a:ext>
            </a:extLst>
          </p:cNvPr>
          <p:cNvSpPr>
            <a:spLocks/>
          </p:cNvSpPr>
          <p:nvPr/>
        </p:nvSpPr>
        <p:spPr bwMode="auto">
          <a:xfrm rot="16200000">
            <a:off x="4298289" y="5347394"/>
            <a:ext cx="206634" cy="1040449"/>
          </a:xfrm>
          <a:prstGeom prst="leftBrace">
            <a:avLst>
              <a:gd name="adj1" fmla="val 32986"/>
              <a:gd name="adj2" fmla="val 50000"/>
            </a:avLst>
          </a:prstGeom>
          <a:noFill/>
          <a:ln w="6350">
            <a:solidFill>
              <a:srgbClr val="808080"/>
            </a:solidFill>
            <a:round/>
            <a:headEnd/>
            <a:tailEnd/>
          </a:ln>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0" name="Text Box 113">
            <a:extLst>
              <a:ext uri="{FF2B5EF4-FFF2-40B4-BE49-F238E27FC236}">
                <a16:creationId xmlns:a16="http://schemas.microsoft.com/office/drawing/2014/main" id="{EFB9CCB0-4285-42D6-9076-9475DA5FFAB0}"/>
              </a:ext>
            </a:extLst>
          </p:cNvPr>
          <p:cNvSpPr txBox="1">
            <a:spLocks noChangeArrowheads="1"/>
          </p:cNvSpPr>
          <p:nvPr/>
        </p:nvSpPr>
        <p:spPr bwMode="auto">
          <a:xfrm>
            <a:off x="3179677" y="5981759"/>
            <a:ext cx="671981" cy="230832"/>
          </a:xfrm>
          <a:prstGeom prst="rect">
            <a:avLst/>
          </a:prstGeom>
          <a:noFill/>
          <a:ln w="6350">
            <a:noFill/>
            <a:miter lim="800000"/>
            <a:headEnd/>
            <a:tailEnd/>
          </a:ln>
        </p:spPr>
        <p:txBody>
          <a:bodyPr wrap="square" anchor="ctr">
            <a:spAutoFit/>
          </a:bodyPr>
          <a:lstStyle/>
          <a:p>
            <a:pPr marL="0" marR="0" lvl="0" indent="0" algn="ctr" defTabSz="914400" rtl="0" eaLnBrk="0" fontAlgn="auto" latinLnBrk="0" hangingPunct="0">
              <a:lnSpc>
                <a:spcPct val="100000"/>
              </a:lnSpc>
              <a:spcBef>
                <a:spcPct val="35000"/>
              </a:spcBef>
              <a:spcAft>
                <a:spcPts val="0"/>
              </a:spcAft>
              <a:buClrTx/>
              <a:buSzPct val="60000"/>
              <a:buFont typeface="Wingdings" pitchFamily="2" charset="2"/>
              <a:buNone/>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Basic</a:t>
            </a:r>
          </a:p>
        </p:txBody>
      </p:sp>
      <p:sp>
        <p:nvSpPr>
          <p:cNvPr id="41" name="Text Box 114">
            <a:extLst>
              <a:ext uri="{FF2B5EF4-FFF2-40B4-BE49-F238E27FC236}">
                <a16:creationId xmlns:a16="http://schemas.microsoft.com/office/drawing/2014/main" id="{6B520AC1-391B-4DE8-855C-74058AB22254}"/>
              </a:ext>
            </a:extLst>
          </p:cNvPr>
          <p:cNvSpPr txBox="1">
            <a:spLocks noChangeArrowheads="1"/>
          </p:cNvSpPr>
          <p:nvPr/>
        </p:nvSpPr>
        <p:spPr bwMode="auto">
          <a:xfrm>
            <a:off x="3807190" y="5982770"/>
            <a:ext cx="1185856" cy="230832"/>
          </a:xfrm>
          <a:prstGeom prst="rect">
            <a:avLst/>
          </a:prstGeom>
          <a:noFill/>
          <a:ln w="6350">
            <a:noFill/>
            <a:miter lim="800000"/>
            <a:headEnd/>
            <a:tailEnd/>
          </a:ln>
        </p:spPr>
        <p:txBody>
          <a:bodyPr wrap="square" anchor="ctr">
            <a:spAutoFit/>
          </a:bodyPr>
          <a:lstStyle/>
          <a:p>
            <a:pPr marL="0" marR="0" lvl="0" indent="0" algn="ctr" defTabSz="914400" rtl="0" eaLnBrk="0" fontAlgn="auto" latinLnBrk="0" hangingPunct="0">
              <a:lnSpc>
                <a:spcPct val="100000"/>
              </a:lnSpc>
              <a:spcBef>
                <a:spcPct val="35000"/>
              </a:spcBef>
              <a:spcAft>
                <a:spcPts val="0"/>
              </a:spcAft>
              <a:buClrTx/>
              <a:buSzPct val="60000"/>
              <a:buFont typeface="Wingdings" pitchFamily="2" charset="2"/>
              <a:buNone/>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dvanced</a:t>
            </a:r>
          </a:p>
        </p:txBody>
      </p:sp>
      <p:sp>
        <p:nvSpPr>
          <p:cNvPr id="42" name="AutoShape 110">
            <a:extLst>
              <a:ext uri="{FF2B5EF4-FFF2-40B4-BE49-F238E27FC236}">
                <a16:creationId xmlns:a16="http://schemas.microsoft.com/office/drawing/2014/main" id="{257BAA63-C987-4BC4-AA5C-3893BA44F781}"/>
              </a:ext>
            </a:extLst>
          </p:cNvPr>
          <p:cNvSpPr>
            <a:spLocks/>
          </p:cNvSpPr>
          <p:nvPr/>
        </p:nvSpPr>
        <p:spPr bwMode="auto">
          <a:xfrm rot="16200000">
            <a:off x="6183236" y="5534191"/>
            <a:ext cx="205482" cy="665703"/>
          </a:xfrm>
          <a:prstGeom prst="leftBrace">
            <a:avLst>
              <a:gd name="adj1" fmla="val 32353"/>
              <a:gd name="adj2" fmla="val 50000"/>
            </a:avLst>
          </a:prstGeom>
          <a:noFill/>
          <a:ln w="6350">
            <a:solidFill>
              <a:srgbClr val="808080"/>
            </a:solidFill>
            <a:round/>
            <a:headEnd/>
            <a:tailEnd/>
          </a:ln>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3" name="Text Box 115">
            <a:extLst>
              <a:ext uri="{FF2B5EF4-FFF2-40B4-BE49-F238E27FC236}">
                <a16:creationId xmlns:a16="http://schemas.microsoft.com/office/drawing/2014/main" id="{A36352C7-E45E-4B33-A177-9A2F81FBB722}"/>
              </a:ext>
            </a:extLst>
          </p:cNvPr>
          <p:cNvSpPr txBox="1">
            <a:spLocks noChangeArrowheads="1"/>
          </p:cNvSpPr>
          <p:nvPr/>
        </p:nvSpPr>
        <p:spPr bwMode="auto">
          <a:xfrm>
            <a:off x="5807969" y="5981759"/>
            <a:ext cx="945465" cy="230832"/>
          </a:xfrm>
          <a:prstGeom prst="rect">
            <a:avLst/>
          </a:prstGeom>
          <a:noFill/>
          <a:ln w="6350">
            <a:noFill/>
            <a:miter lim="800000"/>
            <a:headEnd/>
            <a:tailEnd/>
          </a:ln>
        </p:spPr>
        <p:txBody>
          <a:bodyPr wrap="square" anchor="ctr">
            <a:spAutoFit/>
          </a:bodyPr>
          <a:lstStyle/>
          <a:p>
            <a:pPr marL="0" marR="0" lvl="0" indent="0" algn="ctr" defTabSz="914400" rtl="0" eaLnBrk="0" fontAlgn="auto" latinLnBrk="0" hangingPunct="0">
              <a:lnSpc>
                <a:spcPct val="100000"/>
              </a:lnSpc>
              <a:spcBef>
                <a:spcPct val="35000"/>
              </a:spcBef>
              <a:spcAft>
                <a:spcPts val="0"/>
              </a:spcAft>
              <a:buClrTx/>
              <a:buSzPct val="60000"/>
              <a:buFont typeface="Wingdings" pitchFamily="2" charset="2"/>
              <a:buNone/>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Emerging</a:t>
            </a:r>
          </a:p>
        </p:txBody>
      </p:sp>
      <p:grpSp>
        <p:nvGrpSpPr>
          <p:cNvPr id="44" name="Group 2">
            <a:extLst>
              <a:ext uri="{FF2B5EF4-FFF2-40B4-BE49-F238E27FC236}">
                <a16:creationId xmlns:a16="http://schemas.microsoft.com/office/drawing/2014/main" id="{27836348-08F5-493C-84EC-B2F952FBF9BB}"/>
              </a:ext>
            </a:extLst>
          </p:cNvPr>
          <p:cNvGrpSpPr/>
          <p:nvPr/>
        </p:nvGrpSpPr>
        <p:grpSpPr bwMode="auto">
          <a:xfrm>
            <a:off x="3171825" y="2259603"/>
            <a:ext cx="3449898" cy="3549873"/>
            <a:chOff x="1647825" y="2403617"/>
            <a:chExt cx="3449898" cy="3936208"/>
          </a:xfrm>
        </p:grpSpPr>
        <p:sp>
          <p:nvSpPr>
            <p:cNvPr id="45" name="Line 73">
              <a:extLst>
                <a:ext uri="{FF2B5EF4-FFF2-40B4-BE49-F238E27FC236}">
                  <a16:creationId xmlns:a16="http://schemas.microsoft.com/office/drawing/2014/main" id="{86DB04E9-AA6D-401E-A9BB-3742B27F2775}"/>
                </a:ext>
              </a:extLst>
            </p:cNvPr>
            <p:cNvSpPr>
              <a:spLocks noChangeShapeType="1"/>
            </p:cNvSpPr>
            <p:nvPr/>
          </p:nvSpPr>
          <p:spPr bwMode="auto">
            <a:xfrm flipV="1">
              <a:off x="2357379" y="2436163"/>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6" name="Line 74">
              <a:extLst>
                <a:ext uri="{FF2B5EF4-FFF2-40B4-BE49-F238E27FC236}">
                  <a16:creationId xmlns:a16="http://schemas.microsoft.com/office/drawing/2014/main" id="{165B46C1-6465-49C3-AED9-EEA77DAEDAD8}"/>
                </a:ext>
              </a:extLst>
            </p:cNvPr>
            <p:cNvSpPr>
              <a:spLocks noChangeShapeType="1"/>
            </p:cNvSpPr>
            <p:nvPr/>
          </p:nvSpPr>
          <p:spPr bwMode="auto">
            <a:xfrm flipV="1">
              <a:off x="3397827" y="2436163"/>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Line 74">
              <a:extLst>
                <a:ext uri="{FF2B5EF4-FFF2-40B4-BE49-F238E27FC236}">
                  <a16:creationId xmlns:a16="http://schemas.microsoft.com/office/drawing/2014/main" id="{15AB8974-5D55-4EE1-B2C3-27A3A9DA0080}"/>
                </a:ext>
              </a:extLst>
            </p:cNvPr>
            <p:cNvSpPr>
              <a:spLocks noChangeShapeType="1"/>
            </p:cNvSpPr>
            <p:nvPr/>
          </p:nvSpPr>
          <p:spPr bwMode="auto">
            <a:xfrm flipV="1">
              <a:off x="4428977" y="2436163"/>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8" name="Line 73">
              <a:extLst>
                <a:ext uri="{FF2B5EF4-FFF2-40B4-BE49-F238E27FC236}">
                  <a16:creationId xmlns:a16="http://schemas.microsoft.com/office/drawing/2014/main" id="{0E5C5434-A25D-4660-9C25-171990C4E299}"/>
                </a:ext>
              </a:extLst>
            </p:cNvPr>
            <p:cNvSpPr>
              <a:spLocks noChangeShapeType="1"/>
            </p:cNvSpPr>
            <p:nvPr/>
          </p:nvSpPr>
          <p:spPr bwMode="auto">
            <a:xfrm flipV="1">
              <a:off x="1647825" y="2423285"/>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9" name="Line 73">
              <a:extLst>
                <a:ext uri="{FF2B5EF4-FFF2-40B4-BE49-F238E27FC236}">
                  <a16:creationId xmlns:a16="http://schemas.microsoft.com/office/drawing/2014/main" id="{F8B85B0C-4689-4CE5-96D4-C888BB913124}"/>
                </a:ext>
              </a:extLst>
            </p:cNvPr>
            <p:cNvSpPr>
              <a:spLocks noChangeShapeType="1"/>
            </p:cNvSpPr>
            <p:nvPr/>
          </p:nvSpPr>
          <p:spPr bwMode="auto">
            <a:xfrm flipV="1">
              <a:off x="5097723" y="2403617"/>
              <a:ext cx="0" cy="3903662"/>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50" name="Group 60">
            <a:extLst>
              <a:ext uri="{FF2B5EF4-FFF2-40B4-BE49-F238E27FC236}">
                <a16:creationId xmlns:a16="http://schemas.microsoft.com/office/drawing/2014/main" id="{188A3A59-FF5F-421D-B49D-D3D7CBBB4D19}"/>
              </a:ext>
            </a:extLst>
          </p:cNvPr>
          <p:cNvGrpSpPr/>
          <p:nvPr>
            <p:custDataLst>
              <p:tags r:id="rId1"/>
            </p:custDataLst>
          </p:nvPr>
        </p:nvGrpSpPr>
        <p:grpSpPr bwMode="auto">
          <a:xfrm>
            <a:off x="9399007" y="728700"/>
            <a:ext cx="737381" cy="266244"/>
            <a:chOff x="7949419" y="1498600"/>
            <a:chExt cx="737381" cy="266244"/>
          </a:xfrm>
        </p:grpSpPr>
        <p:sp>
          <p:nvSpPr>
            <p:cNvPr id="51" name="TextBox 50">
              <a:extLst>
                <a:ext uri="{FF2B5EF4-FFF2-40B4-BE49-F238E27FC236}">
                  <a16:creationId xmlns:a16="http://schemas.microsoft.com/office/drawing/2014/main" id="{0C495A71-6F08-4531-8CD5-D68718892C70}"/>
                </a:ext>
              </a:extLst>
            </p:cNvPr>
            <p:cNvSpPr txBox="1"/>
            <p:nvPr/>
          </p:nvSpPr>
          <p:spPr bwMode="auto">
            <a:xfrm>
              <a:off x="7949419" y="1524000"/>
              <a:ext cx="737381" cy="215444"/>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Example</a:t>
              </a:r>
            </a:p>
          </p:txBody>
        </p:sp>
        <p:cxnSp>
          <p:nvCxnSpPr>
            <p:cNvPr id="52" name="Straight Connector 51">
              <a:extLst>
                <a:ext uri="{FF2B5EF4-FFF2-40B4-BE49-F238E27FC236}">
                  <a16:creationId xmlns:a16="http://schemas.microsoft.com/office/drawing/2014/main" id="{8B5F3161-409F-4B41-9015-666586BA5C1A}"/>
                </a:ext>
              </a:extLst>
            </p:cNvPr>
            <p:cNvCxnSpPr/>
            <p:nvPr/>
          </p:nvCxnSpPr>
          <p:spPr bwMode="auto">
            <a:xfrm>
              <a:off x="7949419" y="1498600"/>
              <a:ext cx="737381" cy="0"/>
            </a:xfrm>
            <a:prstGeom prst="line">
              <a:avLst/>
            </a:prstGeom>
            <a:noFill/>
            <a:ln w="12700" cap="flat" cmpd="sng" algn="ctr">
              <a:solidFill>
                <a:srgbClr val="000000"/>
              </a:solidFill>
              <a:prstDash val="solid"/>
              <a:headEnd type="none"/>
              <a:tailEnd type="none"/>
            </a:ln>
            <a:effectLst/>
          </p:spPr>
        </p:cxnSp>
        <p:cxnSp>
          <p:nvCxnSpPr>
            <p:cNvPr id="53" name="Straight Connector 52">
              <a:extLst>
                <a:ext uri="{FF2B5EF4-FFF2-40B4-BE49-F238E27FC236}">
                  <a16:creationId xmlns:a16="http://schemas.microsoft.com/office/drawing/2014/main" id="{6763CB20-22E8-4318-B24B-EB5997DF75AA}"/>
                </a:ext>
              </a:extLst>
            </p:cNvPr>
            <p:cNvCxnSpPr/>
            <p:nvPr/>
          </p:nvCxnSpPr>
          <p:spPr bwMode="auto">
            <a:xfrm>
              <a:off x="7949419" y="1764844"/>
              <a:ext cx="737381" cy="0"/>
            </a:xfrm>
            <a:prstGeom prst="line">
              <a:avLst/>
            </a:prstGeom>
            <a:noFill/>
            <a:ln w="12700" cap="flat" cmpd="sng" algn="ctr">
              <a:solidFill>
                <a:srgbClr val="000000"/>
              </a:solidFill>
              <a:prstDash val="solid"/>
              <a:headEnd type="none"/>
              <a:tailEnd type="none"/>
            </a:ln>
            <a:effectLst/>
          </p:spPr>
        </p:cxnSp>
      </p:grpSp>
      <p:sp>
        <p:nvSpPr>
          <p:cNvPr id="2" name="Rectangle 1">
            <a:hlinkClick r:id="rId4" action="ppaction://hlinksldjump"/>
            <a:extLst>
              <a:ext uri="{FF2B5EF4-FFF2-40B4-BE49-F238E27FC236}">
                <a16:creationId xmlns:a16="http://schemas.microsoft.com/office/drawing/2014/main" id="{9DB6A2E3-5713-4ED0-8B7D-FA8D33AA06D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974995703"/>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Maturity Model 2</a:t>
            </a:r>
          </a:p>
        </p:txBody>
      </p:sp>
      <p:sp>
        <p:nvSpPr>
          <p:cNvPr id="5" name="Freeform: Shape 4">
            <a:hlinkClick r:id="rId4"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Box 4">
            <a:extLst>
              <a:ext uri="{FF2B5EF4-FFF2-40B4-BE49-F238E27FC236}">
                <a16:creationId xmlns:a16="http://schemas.microsoft.com/office/drawing/2014/main" id="{4C25FC85-C20A-4D0E-9364-985567667C88}"/>
              </a:ext>
            </a:extLst>
          </p:cNvPr>
          <p:cNvSpPr txBox="1">
            <a:spLocks noChangeArrowheads="1"/>
          </p:cNvSpPr>
          <p:nvPr/>
        </p:nvSpPr>
        <p:spPr bwMode="auto">
          <a:xfrm>
            <a:off x="1992314" y="1296420"/>
            <a:ext cx="8207375" cy="701731"/>
          </a:xfrm>
          <a:prstGeom prst="rect">
            <a:avLst/>
          </a:prstGeom>
          <a:noFill/>
          <a:ln w="9525">
            <a:noFill/>
            <a:miter lim="800000"/>
            <a:headEnd/>
            <a:tailEnd/>
          </a:ln>
        </p:spPr>
        <p:txBody>
          <a:bodyPr wrap="square" lIns="0" tIns="0" rIns="0" bIns="0">
            <a:spAutoFit/>
          </a:bodyPr>
          <a:lstStyle/>
          <a:p>
            <a:pPr marL="0" marR="0" lvl="0" indent="0" algn="l" defTabSz="914400" rtl="0" eaLnBrk="0" fontAlgn="auto" latinLnBrk="0" hangingPunct="0">
              <a:lnSpc>
                <a:spcPct val="95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Graphik"/>
                <a:ea typeface="+mn-ea"/>
                <a:cs typeface="+mn-cs"/>
              </a:rPr>
              <a:t>After analyzing the current state with qualitative and quantitative data, map current vs. future agreed upon state.  Realize that it is unnecessary and sometimes fiscally irresponsible to be “Progressive” in every capability.</a:t>
            </a:r>
          </a:p>
        </p:txBody>
      </p:sp>
      <p:sp>
        <p:nvSpPr>
          <p:cNvPr id="7" name="Line 47">
            <a:extLst>
              <a:ext uri="{FF2B5EF4-FFF2-40B4-BE49-F238E27FC236}">
                <a16:creationId xmlns:a16="http://schemas.microsoft.com/office/drawing/2014/main" id="{A7B801D1-B8B2-4094-A404-9B16747B484D}"/>
              </a:ext>
            </a:extLst>
          </p:cNvPr>
          <p:cNvSpPr>
            <a:spLocks noChangeShapeType="1"/>
          </p:cNvSpPr>
          <p:nvPr/>
        </p:nvSpPr>
        <p:spPr bwMode="auto">
          <a:xfrm>
            <a:off x="7778622" y="1874838"/>
            <a:ext cx="0" cy="4464050"/>
          </a:xfrm>
          <a:prstGeom prst="line">
            <a:avLst/>
          </a:prstGeom>
          <a:noFill/>
          <a:ln w="9525" cap="rnd">
            <a:solidFill>
              <a:srgbClr val="FFFFFF"/>
            </a:solidFill>
            <a:prstDash val="sysDot"/>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8" name="Group 14">
            <a:extLst>
              <a:ext uri="{FF2B5EF4-FFF2-40B4-BE49-F238E27FC236}">
                <a16:creationId xmlns:a16="http://schemas.microsoft.com/office/drawing/2014/main" id="{9A03835D-3F56-4BA5-8FB6-DB29844E462A}"/>
              </a:ext>
            </a:extLst>
          </p:cNvPr>
          <p:cNvGrpSpPr/>
          <p:nvPr/>
        </p:nvGrpSpPr>
        <p:grpSpPr bwMode="auto">
          <a:xfrm>
            <a:off x="1955541" y="2337844"/>
            <a:ext cx="7705857" cy="4004839"/>
            <a:chOff x="431540" y="2337843"/>
            <a:chExt cx="7705857" cy="4004839"/>
          </a:xfrm>
        </p:grpSpPr>
        <p:sp>
          <p:nvSpPr>
            <p:cNvPr id="9" name="Text Box 13">
              <a:extLst>
                <a:ext uri="{FF2B5EF4-FFF2-40B4-BE49-F238E27FC236}">
                  <a16:creationId xmlns:a16="http://schemas.microsoft.com/office/drawing/2014/main" id="{A83B219F-069B-4032-91C8-A91C327CD05F}"/>
                </a:ext>
              </a:extLst>
            </p:cNvPr>
            <p:cNvSpPr txBox="1">
              <a:spLocks noChangeArrowheads="1"/>
            </p:cNvSpPr>
            <p:nvPr/>
          </p:nvSpPr>
          <p:spPr bwMode="auto">
            <a:xfrm>
              <a:off x="5523345" y="6181099"/>
              <a:ext cx="1251218" cy="161583"/>
            </a:xfrm>
            <a:prstGeom prst="rect">
              <a:avLst/>
            </a:prstGeom>
            <a:noFill/>
            <a:ln w="12700">
              <a:noFill/>
              <a:miter lim="800000"/>
              <a:headEnd/>
              <a:tailEnd/>
            </a:ln>
          </p:spPr>
          <p:txBody>
            <a:bodyPr wrap="square" lIns="0" tIns="0" rIns="0" bIns="0">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Arial"/>
                  <a:ea typeface="+mn-ea"/>
                  <a:cs typeface="+mn-cs"/>
                </a:rPr>
                <a:t>Leading</a:t>
              </a:r>
            </a:p>
          </p:txBody>
        </p:sp>
        <p:sp>
          <p:nvSpPr>
            <p:cNvPr id="10" name="Text Box 14">
              <a:extLst>
                <a:ext uri="{FF2B5EF4-FFF2-40B4-BE49-F238E27FC236}">
                  <a16:creationId xmlns:a16="http://schemas.microsoft.com/office/drawing/2014/main" id="{7CF11A20-A61A-4ABE-891F-9E24EF3BF29C}"/>
                </a:ext>
              </a:extLst>
            </p:cNvPr>
            <p:cNvSpPr txBox="1">
              <a:spLocks noChangeArrowheads="1"/>
            </p:cNvSpPr>
            <p:nvPr/>
          </p:nvSpPr>
          <p:spPr bwMode="auto">
            <a:xfrm>
              <a:off x="2519772" y="6181099"/>
              <a:ext cx="1295979" cy="161583"/>
            </a:xfrm>
            <a:prstGeom prst="rect">
              <a:avLst/>
            </a:prstGeom>
            <a:noFill/>
            <a:ln w="12700">
              <a:noFill/>
              <a:miter lim="800000"/>
              <a:headEnd/>
              <a:tailEnd/>
            </a:ln>
          </p:spPr>
          <p:txBody>
            <a:bodyPr wrap="square" lIns="0" tIns="0" rIns="0" bIns="0">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Arial"/>
                  <a:ea typeface="+mn-ea"/>
                  <a:cs typeface="+mn-cs"/>
                </a:rPr>
                <a:t>Basic</a:t>
              </a:r>
            </a:p>
          </p:txBody>
        </p:sp>
        <p:sp>
          <p:nvSpPr>
            <p:cNvPr id="11" name="Text Box 15">
              <a:extLst>
                <a:ext uri="{FF2B5EF4-FFF2-40B4-BE49-F238E27FC236}">
                  <a16:creationId xmlns:a16="http://schemas.microsoft.com/office/drawing/2014/main" id="{52CEA7D8-1751-4E58-A4DA-BCA12356077C}"/>
                </a:ext>
              </a:extLst>
            </p:cNvPr>
            <p:cNvSpPr txBox="1">
              <a:spLocks noChangeArrowheads="1"/>
            </p:cNvSpPr>
            <p:nvPr/>
          </p:nvSpPr>
          <p:spPr bwMode="auto">
            <a:xfrm>
              <a:off x="4104507" y="6181099"/>
              <a:ext cx="1110839" cy="161583"/>
            </a:xfrm>
            <a:prstGeom prst="rect">
              <a:avLst/>
            </a:prstGeom>
            <a:noFill/>
            <a:ln w="12700">
              <a:noFill/>
              <a:miter lim="800000"/>
              <a:headEnd/>
              <a:tailEnd/>
            </a:ln>
          </p:spPr>
          <p:txBody>
            <a:bodyPr wrap="square" lIns="0" tIns="0" rIns="0" bIns="0">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Arial"/>
                  <a:ea typeface="+mn-ea"/>
                  <a:cs typeface="+mn-cs"/>
                </a:rPr>
                <a:t>Advanced</a:t>
              </a:r>
            </a:p>
          </p:txBody>
        </p:sp>
        <p:grpSp>
          <p:nvGrpSpPr>
            <p:cNvPr id="12" name="Group 2">
              <a:extLst>
                <a:ext uri="{FF2B5EF4-FFF2-40B4-BE49-F238E27FC236}">
                  <a16:creationId xmlns:a16="http://schemas.microsoft.com/office/drawing/2014/main" id="{FC0D2FFF-06B3-41A1-A463-BE286FC672A4}"/>
                </a:ext>
              </a:extLst>
            </p:cNvPr>
            <p:cNvGrpSpPr/>
            <p:nvPr/>
          </p:nvGrpSpPr>
          <p:grpSpPr bwMode="auto">
            <a:xfrm>
              <a:off x="461689" y="2337843"/>
              <a:ext cx="7675708" cy="272955"/>
              <a:chOff x="461689" y="2337263"/>
              <a:chExt cx="7675708" cy="272955"/>
            </a:xfrm>
          </p:grpSpPr>
          <p:cxnSp>
            <p:nvCxnSpPr>
              <p:cNvPr id="60" name="AutoShape 33">
                <a:extLst>
                  <a:ext uri="{FF2B5EF4-FFF2-40B4-BE49-F238E27FC236}">
                    <a16:creationId xmlns:a16="http://schemas.microsoft.com/office/drawing/2014/main" id="{285ED1AB-0101-42F9-A32E-CB633AB1B8E7}"/>
                  </a:ext>
                </a:extLst>
              </p:cNvPr>
              <p:cNvCxnSpPr>
                <a:cxnSpLocks noChangeShapeType="1"/>
              </p:cNvCxnSpPr>
              <p:nvPr/>
            </p:nvCxnSpPr>
            <p:spPr bwMode="auto">
              <a:xfrm>
                <a:off x="2759215" y="2473740"/>
                <a:ext cx="5247822" cy="0"/>
              </a:xfrm>
              <a:prstGeom prst="straightConnector1">
                <a:avLst/>
              </a:prstGeom>
              <a:noFill/>
              <a:ln w="12700">
                <a:solidFill>
                  <a:srgbClr val="B455AA"/>
                </a:solidFill>
                <a:prstDash val="dash"/>
                <a:round/>
                <a:headEnd type="none" w="sm" len="sm"/>
                <a:tailEnd type="none" w="sm" len="sm"/>
              </a:ln>
            </p:spPr>
          </p:cxnSp>
          <p:sp>
            <p:nvSpPr>
              <p:cNvPr id="61" name="Text Box 34">
                <a:extLst>
                  <a:ext uri="{FF2B5EF4-FFF2-40B4-BE49-F238E27FC236}">
                    <a16:creationId xmlns:a16="http://schemas.microsoft.com/office/drawing/2014/main" id="{B61A2944-7C41-4363-B454-D6BD0E842BFD}"/>
                  </a:ext>
                </a:extLst>
              </p:cNvPr>
              <p:cNvSpPr txBox="1">
                <a:spLocks noChangeArrowheads="1"/>
              </p:cNvSpPr>
              <p:nvPr/>
            </p:nvSpPr>
            <p:spPr bwMode="auto">
              <a:xfrm>
                <a:off x="461689" y="2400217"/>
                <a:ext cx="2482850"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Integrated Supply Chain</a:t>
                </a:r>
              </a:p>
            </p:txBody>
          </p:sp>
          <p:sp>
            <p:nvSpPr>
              <p:cNvPr id="62" name="AutoShape 31">
                <a:extLst>
                  <a:ext uri="{FF2B5EF4-FFF2-40B4-BE49-F238E27FC236}">
                    <a16:creationId xmlns:a16="http://schemas.microsoft.com/office/drawing/2014/main" id="{0EAD95F2-6184-4710-BA32-C60EA5DABB85}"/>
                  </a:ext>
                </a:extLst>
              </p:cNvPr>
              <p:cNvSpPr>
                <a:spLocks noChangeArrowheads="1"/>
              </p:cNvSpPr>
              <p:nvPr/>
            </p:nvSpPr>
            <p:spPr bwMode="auto">
              <a:xfrm>
                <a:off x="2627184" y="2383253"/>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3" name="AutoShape 32">
                <a:extLst>
                  <a:ext uri="{FF2B5EF4-FFF2-40B4-BE49-F238E27FC236}">
                    <a16:creationId xmlns:a16="http://schemas.microsoft.com/office/drawing/2014/main" id="{7DD40229-6333-42C7-8A70-CE2C0D637317}"/>
                  </a:ext>
                </a:extLst>
              </p:cNvPr>
              <p:cNvSpPr>
                <a:spLocks noChangeArrowheads="1"/>
              </p:cNvSpPr>
              <p:nvPr/>
            </p:nvSpPr>
            <p:spPr bwMode="auto">
              <a:xfrm>
                <a:off x="7875006" y="2383253"/>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4" name="AutoShape 48">
                <a:extLst>
                  <a:ext uri="{FF2B5EF4-FFF2-40B4-BE49-F238E27FC236}">
                    <a16:creationId xmlns:a16="http://schemas.microsoft.com/office/drawing/2014/main" id="{9B77D9A4-1866-42FB-AE59-19CCF69AAEE9}"/>
                  </a:ext>
                </a:extLst>
              </p:cNvPr>
              <p:cNvSpPr>
                <a:spLocks noChangeArrowheads="1"/>
              </p:cNvSpPr>
              <p:nvPr/>
            </p:nvSpPr>
            <p:spPr bwMode="auto">
              <a:xfrm>
                <a:off x="3778363" y="2380872"/>
                <a:ext cx="196850" cy="18573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65" name="5-Point Star 59">
                <a:extLst>
                  <a:ext uri="{FF2B5EF4-FFF2-40B4-BE49-F238E27FC236}">
                    <a16:creationId xmlns:a16="http://schemas.microsoft.com/office/drawing/2014/main" id="{7ADAD692-0E02-48DF-83C0-1B0728136645}"/>
                  </a:ext>
                </a:extLst>
              </p:cNvPr>
              <p:cNvSpPr/>
              <p:nvPr/>
            </p:nvSpPr>
            <p:spPr bwMode="auto">
              <a:xfrm>
                <a:off x="5650167" y="2337263"/>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3" name="Group 4">
              <a:extLst>
                <a:ext uri="{FF2B5EF4-FFF2-40B4-BE49-F238E27FC236}">
                  <a16:creationId xmlns:a16="http://schemas.microsoft.com/office/drawing/2014/main" id="{35A07D6D-8F62-4C6B-97C0-728561AD0C5E}"/>
                </a:ext>
              </a:extLst>
            </p:cNvPr>
            <p:cNvGrpSpPr/>
            <p:nvPr/>
          </p:nvGrpSpPr>
          <p:grpSpPr bwMode="auto">
            <a:xfrm>
              <a:off x="431540" y="2888117"/>
              <a:ext cx="7705857" cy="272955"/>
              <a:chOff x="431540" y="2899669"/>
              <a:chExt cx="7705857" cy="272955"/>
            </a:xfrm>
          </p:grpSpPr>
          <p:cxnSp>
            <p:nvCxnSpPr>
              <p:cNvPr id="54" name="AutoShape 29">
                <a:extLst>
                  <a:ext uri="{FF2B5EF4-FFF2-40B4-BE49-F238E27FC236}">
                    <a16:creationId xmlns:a16="http://schemas.microsoft.com/office/drawing/2014/main" id="{145B64E2-4079-4023-A014-EEE864DEF58F}"/>
                  </a:ext>
                </a:extLst>
              </p:cNvPr>
              <p:cNvCxnSpPr>
                <a:cxnSpLocks noChangeShapeType="1"/>
              </p:cNvCxnSpPr>
              <p:nvPr/>
            </p:nvCxnSpPr>
            <p:spPr bwMode="auto">
              <a:xfrm>
                <a:off x="2759215" y="3036146"/>
                <a:ext cx="5247822" cy="0"/>
              </a:xfrm>
              <a:prstGeom prst="straightConnector1">
                <a:avLst/>
              </a:prstGeom>
              <a:noFill/>
              <a:ln w="12700">
                <a:solidFill>
                  <a:srgbClr val="B455AA"/>
                </a:solidFill>
                <a:prstDash val="dash"/>
                <a:round/>
                <a:headEnd type="none" w="sm" len="sm"/>
                <a:tailEnd type="none" w="sm" len="sm"/>
              </a:ln>
            </p:spPr>
          </p:cxnSp>
          <p:sp>
            <p:nvSpPr>
              <p:cNvPr id="55" name="AutoShape 27">
                <a:extLst>
                  <a:ext uri="{FF2B5EF4-FFF2-40B4-BE49-F238E27FC236}">
                    <a16:creationId xmlns:a16="http://schemas.microsoft.com/office/drawing/2014/main" id="{702AB50A-A613-4557-BE56-D4048BF43FC5}"/>
                  </a:ext>
                </a:extLst>
              </p:cNvPr>
              <p:cNvSpPr>
                <a:spLocks noChangeArrowheads="1"/>
              </p:cNvSpPr>
              <p:nvPr/>
            </p:nvSpPr>
            <p:spPr bwMode="auto">
              <a:xfrm>
                <a:off x="2627184" y="2945659"/>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6" name="AutoShape 28">
                <a:extLst>
                  <a:ext uri="{FF2B5EF4-FFF2-40B4-BE49-F238E27FC236}">
                    <a16:creationId xmlns:a16="http://schemas.microsoft.com/office/drawing/2014/main" id="{19197FF3-2746-4BDB-B95F-13F58E062B8D}"/>
                  </a:ext>
                </a:extLst>
              </p:cNvPr>
              <p:cNvSpPr>
                <a:spLocks noChangeArrowheads="1"/>
              </p:cNvSpPr>
              <p:nvPr/>
            </p:nvSpPr>
            <p:spPr bwMode="auto">
              <a:xfrm>
                <a:off x="7875006" y="2945659"/>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7" name="Text Box 35">
                <a:extLst>
                  <a:ext uri="{FF2B5EF4-FFF2-40B4-BE49-F238E27FC236}">
                    <a16:creationId xmlns:a16="http://schemas.microsoft.com/office/drawing/2014/main" id="{3733BC1D-D07D-4E6D-A9B1-0A7BF81A76A4}"/>
                  </a:ext>
                </a:extLst>
              </p:cNvPr>
              <p:cNvSpPr txBox="1">
                <a:spLocks noChangeArrowheads="1"/>
              </p:cNvSpPr>
              <p:nvPr/>
            </p:nvSpPr>
            <p:spPr bwMode="auto">
              <a:xfrm>
                <a:off x="431540" y="2921178"/>
                <a:ext cx="2201863"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Clients Collaboration</a:t>
                </a:r>
              </a:p>
            </p:txBody>
          </p:sp>
          <p:sp>
            <p:nvSpPr>
              <p:cNvPr id="58" name="AutoShape 51">
                <a:extLst>
                  <a:ext uri="{FF2B5EF4-FFF2-40B4-BE49-F238E27FC236}">
                    <a16:creationId xmlns:a16="http://schemas.microsoft.com/office/drawing/2014/main" id="{BE872C59-2B98-44B4-803E-218EE74B7D48}"/>
                  </a:ext>
                </a:extLst>
              </p:cNvPr>
              <p:cNvSpPr>
                <a:spLocks noChangeArrowheads="1"/>
              </p:cNvSpPr>
              <p:nvPr/>
            </p:nvSpPr>
            <p:spPr bwMode="auto">
              <a:xfrm>
                <a:off x="3778363" y="2943277"/>
                <a:ext cx="196850" cy="185738"/>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9" name="5-Point Star 60">
                <a:extLst>
                  <a:ext uri="{FF2B5EF4-FFF2-40B4-BE49-F238E27FC236}">
                    <a16:creationId xmlns:a16="http://schemas.microsoft.com/office/drawing/2014/main" id="{C1D07ABC-F406-456B-8FB7-7DEDCAFF0CBB}"/>
                  </a:ext>
                </a:extLst>
              </p:cNvPr>
              <p:cNvSpPr/>
              <p:nvPr/>
            </p:nvSpPr>
            <p:spPr bwMode="auto">
              <a:xfrm>
                <a:off x="7017227" y="2899669"/>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4" name="Group 5">
              <a:extLst>
                <a:ext uri="{FF2B5EF4-FFF2-40B4-BE49-F238E27FC236}">
                  <a16:creationId xmlns:a16="http://schemas.microsoft.com/office/drawing/2014/main" id="{FC234DBC-5B20-4199-AD94-1A2035A0A464}"/>
                </a:ext>
              </a:extLst>
            </p:cNvPr>
            <p:cNvGrpSpPr/>
            <p:nvPr/>
          </p:nvGrpSpPr>
          <p:grpSpPr bwMode="auto">
            <a:xfrm>
              <a:off x="431540" y="3438391"/>
              <a:ext cx="7705857" cy="272955"/>
              <a:chOff x="431540" y="3440466"/>
              <a:chExt cx="7705857" cy="272955"/>
            </a:xfrm>
          </p:grpSpPr>
          <p:cxnSp>
            <p:nvCxnSpPr>
              <p:cNvPr id="48" name="AutoShape 25">
                <a:extLst>
                  <a:ext uri="{FF2B5EF4-FFF2-40B4-BE49-F238E27FC236}">
                    <a16:creationId xmlns:a16="http://schemas.microsoft.com/office/drawing/2014/main" id="{04B2205E-A06A-4B1B-A29D-A8D96C86F8E8}"/>
                  </a:ext>
                </a:extLst>
              </p:cNvPr>
              <p:cNvCxnSpPr>
                <a:cxnSpLocks noChangeShapeType="1"/>
              </p:cNvCxnSpPr>
              <p:nvPr/>
            </p:nvCxnSpPr>
            <p:spPr bwMode="auto">
              <a:xfrm>
                <a:off x="2759215" y="3576943"/>
                <a:ext cx="5247822" cy="0"/>
              </a:xfrm>
              <a:prstGeom prst="straightConnector1">
                <a:avLst/>
              </a:prstGeom>
              <a:noFill/>
              <a:ln w="12700">
                <a:solidFill>
                  <a:srgbClr val="B455AA"/>
                </a:solidFill>
                <a:prstDash val="dash"/>
                <a:round/>
                <a:headEnd type="none" w="sm" len="sm"/>
                <a:tailEnd type="none" w="sm" len="sm"/>
              </a:ln>
            </p:spPr>
          </p:cxnSp>
          <p:sp>
            <p:nvSpPr>
              <p:cNvPr id="49" name="AutoShape 23">
                <a:extLst>
                  <a:ext uri="{FF2B5EF4-FFF2-40B4-BE49-F238E27FC236}">
                    <a16:creationId xmlns:a16="http://schemas.microsoft.com/office/drawing/2014/main" id="{2E51E24E-B4A5-484E-9697-EEDAA3B72008}"/>
                  </a:ext>
                </a:extLst>
              </p:cNvPr>
              <p:cNvSpPr>
                <a:spLocks noChangeArrowheads="1"/>
              </p:cNvSpPr>
              <p:nvPr/>
            </p:nvSpPr>
            <p:spPr bwMode="auto">
              <a:xfrm>
                <a:off x="2627184" y="3486456"/>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0" name="AutoShape 24">
                <a:extLst>
                  <a:ext uri="{FF2B5EF4-FFF2-40B4-BE49-F238E27FC236}">
                    <a16:creationId xmlns:a16="http://schemas.microsoft.com/office/drawing/2014/main" id="{499D652E-EB48-45DD-ABFC-80D34FF02B0C}"/>
                  </a:ext>
                </a:extLst>
              </p:cNvPr>
              <p:cNvSpPr>
                <a:spLocks noChangeArrowheads="1"/>
              </p:cNvSpPr>
              <p:nvPr/>
            </p:nvSpPr>
            <p:spPr bwMode="auto">
              <a:xfrm>
                <a:off x="7875006" y="3486456"/>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1" name="Text Box 36">
                <a:extLst>
                  <a:ext uri="{FF2B5EF4-FFF2-40B4-BE49-F238E27FC236}">
                    <a16:creationId xmlns:a16="http://schemas.microsoft.com/office/drawing/2014/main" id="{4D9ABAF1-9D3E-4B54-8F84-F71DB1A77141}"/>
                  </a:ext>
                </a:extLst>
              </p:cNvPr>
              <p:cNvSpPr txBox="1">
                <a:spLocks noChangeArrowheads="1"/>
              </p:cNvSpPr>
              <p:nvPr/>
            </p:nvSpPr>
            <p:spPr bwMode="auto">
              <a:xfrm>
                <a:off x="431540" y="3461975"/>
                <a:ext cx="2201863"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Sales Effectiveness</a:t>
                </a:r>
              </a:p>
            </p:txBody>
          </p:sp>
          <p:sp>
            <p:nvSpPr>
              <p:cNvPr id="52" name="AutoShape 53">
                <a:extLst>
                  <a:ext uri="{FF2B5EF4-FFF2-40B4-BE49-F238E27FC236}">
                    <a16:creationId xmlns:a16="http://schemas.microsoft.com/office/drawing/2014/main" id="{BF33524E-2888-451A-BDFB-A554C0DE1429}"/>
                  </a:ext>
                </a:extLst>
              </p:cNvPr>
              <p:cNvSpPr>
                <a:spLocks noChangeArrowheads="1"/>
              </p:cNvSpPr>
              <p:nvPr/>
            </p:nvSpPr>
            <p:spPr bwMode="auto">
              <a:xfrm>
                <a:off x="4227760" y="3484074"/>
                <a:ext cx="196850" cy="185738"/>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53" name="5-Point Star 61">
                <a:extLst>
                  <a:ext uri="{FF2B5EF4-FFF2-40B4-BE49-F238E27FC236}">
                    <a16:creationId xmlns:a16="http://schemas.microsoft.com/office/drawing/2014/main" id="{0B45E5E1-692C-4862-B79F-336EE578812F}"/>
                  </a:ext>
                </a:extLst>
              </p:cNvPr>
              <p:cNvSpPr/>
              <p:nvPr/>
            </p:nvSpPr>
            <p:spPr bwMode="auto">
              <a:xfrm>
                <a:off x="6416718" y="3440466"/>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5" name="Group 6">
              <a:extLst>
                <a:ext uri="{FF2B5EF4-FFF2-40B4-BE49-F238E27FC236}">
                  <a16:creationId xmlns:a16="http://schemas.microsoft.com/office/drawing/2014/main" id="{0E2AA3A3-61C2-46A5-B259-2BDDE772FF3C}"/>
                </a:ext>
              </a:extLst>
            </p:cNvPr>
            <p:cNvGrpSpPr/>
            <p:nvPr/>
          </p:nvGrpSpPr>
          <p:grpSpPr bwMode="auto">
            <a:xfrm>
              <a:off x="431540" y="3988665"/>
              <a:ext cx="7705857" cy="272955"/>
              <a:chOff x="431540" y="3996604"/>
              <a:chExt cx="7705857" cy="272955"/>
            </a:xfrm>
          </p:grpSpPr>
          <p:cxnSp>
            <p:nvCxnSpPr>
              <p:cNvPr id="42" name="AutoShape 21">
                <a:extLst>
                  <a:ext uri="{FF2B5EF4-FFF2-40B4-BE49-F238E27FC236}">
                    <a16:creationId xmlns:a16="http://schemas.microsoft.com/office/drawing/2014/main" id="{F5F58B2A-5A1D-4683-B0EB-7BD809EC71BB}"/>
                  </a:ext>
                </a:extLst>
              </p:cNvPr>
              <p:cNvCxnSpPr>
                <a:cxnSpLocks noChangeShapeType="1"/>
              </p:cNvCxnSpPr>
              <p:nvPr/>
            </p:nvCxnSpPr>
            <p:spPr bwMode="auto">
              <a:xfrm>
                <a:off x="2759215" y="4133081"/>
                <a:ext cx="5247822" cy="0"/>
              </a:xfrm>
              <a:prstGeom prst="straightConnector1">
                <a:avLst/>
              </a:prstGeom>
              <a:noFill/>
              <a:ln w="12700">
                <a:solidFill>
                  <a:srgbClr val="B455AA"/>
                </a:solidFill>
                <a:prstDash val="dash"/>
                <a:round/>
                <a:headEnd type="none" w="sm" len="sm"/>
                <a:tailEnd type="none" w="sm" len="sm"/>
              </a:ln>
            </p:spPr>
          </p:cxnSp>
          <p:sp>
            <p:nvSpPr>
              <p:cNvPr id="43" name="AutoShape 19">
                <a:extLst>
                  <a:ext uri="{FF2B5EF4-FFF2-40B4-BE49-F238E27FC236}">
                    <a16:creationId xmlns:a16="http://schemas.microsoft.com/office/drawing/2014/main" id="{AF12E486-0E1F-4A8E-BEB9-0F0649764665}"/>
                  </a:ext>
                </a:extLst>
              </p:cNvPr>
              <p:cNvSpPr>
                <a:spLocks noChangeArrowheads="1"/>
              </p:cNvSpPr>
              <p:nvPr/>
            </p:nvSpPr>
            <p:spPr bwMode="auto">
              <a:xfrm>
                <a:off x="2627184" y="4042594"/>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4" name="AutoShape 20">
                <a:extLst>
                  <a:ext uri="{FF2B5EF4-FFF2-40B4-BE49-F238E27FC236}">
                    <a16:creationId xmlns:a16="http://schemas.microsoft.com/office/drawing/2014/main" id="{0747AD46-EF32-4B6C-823C-8D61FCBB3F32}"/>
                  </a:ext>
                </a:extLst>
              </p:cNvPr>
              <p:cNvSpPr>
                <a:spLocks noChangeArrowheads="1"/>
              </p:cNvSpPr>
              <p:nvPr/>
            </p:nvSpPr>
            <p:spPr bwMode="auto">
              <a:xfrm>
                <a:off x="7875006" y="4042594"/>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5" name="Text Box 37">
                <a:extLst>
                  <a:ext uri="{FF2B5EF4-FFF2-40B4-BE49-F238E27FC236}">
                    <a16:creationId xmlns:a16="http://schemas.microsoft.com/office/drawing/2014/main" id="{7501B151-370E-4900-9E46-849B9949F4CF}"/>
                  </a:ext>
                </a:extLst>
              </p:cNvPr>
              <p:cNvSpPr txBox="1">
                <a:spLocks noChangeArrowheads="1"/>
              </p:cNvSpPr>
              <p:nvPr/>
            </p:nvSpPr>
            <p:spPr bwMode="auto">
              <a:xfrm>
                <a:off x="431540" y="4018113"/>
                <a:ext cx="2765425"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Demand Driven Planning</a:t>
                </a:r>
              </a:p>
            </p:txBody>
          </p:sp>
          <p:sp>
            <p:nvSpPr>
              <p:cNvPr id="46" name="AutoShape 52">
                <a:extLst>
                  <a:ext uri="{FF2B5EF4-FFF2-40B4-BE49-F238E27FC236}">
                    <a16:creationId xmlns:a16="http://schemas.microsoft.com/office/drawing/2014/main" id="{94CC6173-D1B5-4B0B-AA7C-798F986B28B0}"/>
                  </a:ext>
                </a:extLst>
              </p:cNvPr>
              <p:cNvSpPr>
                <a:spLocks noChangeArrowheads="1"/>
              </p:cNvSpPr>
              <p:nvPr/>
            </p:nvSpPr>
            <p:spPr bwMode="auto">
              <a:xfrm>
                <a:off x="5545250" y="4040213"/>
                <a:ext cx="196850" cy="18573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7" name="5-Point Star 62">
                <a:extLst>
                  <a:ext uri="{FF2B5EF4-FFF2-40B4-BE49-F238E27FC236}">
                    <a16:creationId xmlns:a16="http://schemas.microsoft.com/office/drawing/2014/main" id="{71A3ADAA-B93B-4CC3-9405-5FB0865C2FBE}"/>
                  </a:ext>
                </a:extLst>
              </p:cNvPr>
              <p:cNvSpPr/>
              <p:nvPr/>
            </p:nvSpPr>
            <p:spPr bwMode="auto">
              <a:xfrm>
                <a:off x="6541822" y="3996604"/>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6" name="Group 15">
              <a:extLst>
                <a:ext uri="{FF2B5EF4-FFF2-40B4-BE49-F238E27FC236}">
                  <a16:creationId xmlns:a16="http://schemas.microsoft.com/office/drawing/2014/main" id="{1D683B19-9868-45DB-A7D1-67EA95049981}"/>
                </a:ext>
              </a:extLst>
            </p:cNvPr>
            <p:cNvGrpSpPr/>
            <p:nvPr/>
          </p:nvGrpSpPr>
          <p:grpSpPr bwMode="auto">
            <a:xfrm>
              <a:off x="431540" y="5089213"/>
              <a:ext cx="7705857" cy="272955"/>
              <a:chOff x="431540" y="5091635"/>
              <a:chExt cx="7705857" cy="272955"/>
            </a:xfrm>
          </p:grpSpPr>
          <p:cxnSp>
            <p:nvCxnSpPr>
              <p:cNvPr id="36" name="AutoShape 13">
                <a:extLst>
                  <a:ext uri="{FF2B5EF4-FFF2-40B4-BE49-F238E27FC236}">
                    <a16:creationId xmlns:a16="http://schemas.microsoft.com/office/drawing/2014/main" id="{23413FF3-EBA6-4ED4-BCE0-DF73DFD6FD4C}"/>
                  </a:ext>
                </a:extLst>
              </p:cNvPr>
              <p:cNvCxnSpPr>
                <a:cxnSpLocks noChangeShapeType="1"/>
              </p:cNvCxnSpPr>
              <p:nvPr/>
            </p:nvCxnSpPr>
            <p:spPr bwMode="auto">
              <a:xfrm>
                <a:off x="2759215" y="5228112"/>
                <a:ext cx="5247822" cy="0"/>
              </a:xfrm>
              <a:prstGeom prst="straightConnector1">
                <a:avLst/>
              </a:prstGeom>
              <a:noFill/>
              <a:ln w="12700">
                <a:solidFill>
                  <a:srgbClr val="B455AA"/>
                </a:solidFill>
                <a:prstDash val="dash"/>
                <a:round/>
                <a:headEnd type="none" w="sm" len="sm"/>
                <a:tailEnd type="none" w="sm" len="sm"/>
              </a:ln>
            </p:spPr>
          </p:cxnSp>
          <p:sp>
            <p:nvSpPr>
              <p:cNvPr id="37" name="AutoShape 11">
                <a:extLst>
                  <a:ext uri="{FF2B5EF4-FFF2-40B4-BE49-F238E27FC236}">
                    <a16:creationId xmlns:a16="http://schemas.microsoft.com/office/drawing/2014/main" id="{51B2BE60-A850-41D4-8F3B-DAAB9EDFD07E}"/>
                  </a:ext>
                </a:extLst>
              </p:cNvPr>
              <p:cNvSpPr>
                <a:spLocks noChangeArrowheads="1"/>
              </p:cNvSpPr>
              <p:nvPr/>
            </p:nvSpPr>
            <p:spPr bwMode="auto">
              <a:xfrm>
                <a:off x="2627184" y="5137625"/>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8" name="AutoShape 12">
                <a:extLst>
                  <a:ext uri="{FF2B5EF4-FFF2-40B4-BE49-F238E27FC236}">
                    <a16:creationId xmlns:a16="http://schemas.microsoft.com/office/drawing/2014/main" id="{147E9C6B-BC80-4B20-B0CC-7A3665B2017D}"/>
                  </a:ext>
                </a:extLst>
              </p:cNvPr>
              <p:cNvSpPr>
                <a:spLocks noChangeArrowheads="1"/>
              </p:cNvSpPr>
              <p:nvPr/>
            </p:nvSpPr>
            <p:spPr bwMode="auto">
              <a:xfrm>
                <a:off x="7875006" y="5137625"/>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9" name="Text Box 39">
                <a:extLst>
                  <a:ext uri="{FF2B5EF4-FFF2-40B4-BE49-F238E27FC236}">
                    <a16:creationId xmlns:a16="http://schemas.microsoft.com/office/drawing/2014/main" id="{CC5F15B3-0840-4519-B0F7-E412861772FC}"/>
                  </a:ext>
                </a:extLst>
              </p:cNvPr>
              <p:cNvSpPr txBox="1">
                <a:spLocks noChangeArrowheads="1"/>
              </p:cNvSpPr>
              <p:nvPr/>
            </p:nvSpPr>
            <p:spPr bwMode="auto">
              <a:xfrm>
                <a:off x="431540" y="5113144"/>
                <a:ext cx="3225800"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Suppliers Collaboration</a:t>
                </a:r>
              </a:p>
            </p:txBody>
          </p:sp>
          <p:sp>
            <p:nvSpPr>
              <p:cNvPr id="40" name="AutoShape 55">
                <a:extLst>
                  <a:ext uri="{FF2B5EF4-FFF2-40B4-BE49-F238E27FC236}">
                    <a16:creationId xmlns:a16="http://schemas.microsoft.com/office/drawing/2014/main" id="{5B18A3F4-353E-4509-9A36-27F04B3CC253}"/>
                  </a:ext>
                </a:extLst>
              </p:cNvPr>
              <p:cNvSpPr>
                <a:spLocks noChangeArrowheads="1"/>
              </p:cNvSpPr>
              <p:nvPr/>
            </p:nvSpPr>
            <p:spPr bwMode="auto">
              <a:xfrm>
                <a:off x="7316900" y="5135244"/>
                <a:ext cx="196850" cy="18573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41" name="5-Point Star 64">
                <a:extLst>
                  <a:ext uri="{FF2B5EF4-FFF2-40B4-BE49-F238E27FC236}">
                    <a16:creationId xmlns:a16="http://schemas.microsoft.com/office/drawing/2014/main" id="{09F0B20C-D2B3-4925-8F1C-52AB02481EC9}"/>
                  </a:ext>
                </a:extLst>
              </p:cNvPr>
              <p:cNvSpPr/>
              <p:nvPr/>
            </p:nvSpPr>
            <p:spPr bwMode="auto">
              <a:xfrm>
                <a:off x="7513750" y="5091635"/>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7" name="Group 16">
              <a:extLst>
                <a:ext uri="{FF2B5EF4-FFF2-40B4-BE49-F238E27FC236}">
                  <a16:creationId xmlns:a16="http://schemas.microsoft.com/office/drawing/2014/main" id="{18D9E791-275E-43EE-9446-5985C4F92384}"/>
                </a:ext>
              </a:extLst>
            </p:cNvPr>
            <p:cNvGrpSpPr/>
            <p:nvPr/>
          </p:nvGrpSpPr>
          <p:grpSpPr bwMode="auto">
            <a:xfrm>
              <a:off x="431540" y="5639490"/>
              <a:ext cx="7705857" cy="272955"/>
              <a:chOff x="431540" y="5638910"/>
              <a:chExt cx="7705857" cy="272955"/>
            </a:xfrm>
          </p:grpSpPr>
          <p:cxnSp>
            <p:nvCxnSpPr>
              <p:cNvPr id="30" name="AutoShape 45">
                <a:extLst>
                  <a:ext uri="{FF2B5EF4-FFF2-40B4-BE49-F238E27FC236}">
                    <a16:creationId xmlns:a16="http://schemas.microsoft.com/office/drawing/2014/main" id="{41FDAD0C-8363-4BF6-9E7D-29A545768681}"/>
                  </a:ext>
                </a:extLst>
              </p:cNvPr>
              <p:cNvCxnSpPr>
                <a:cxnSpLocks noChangeShapeType="1"/>
              </p:cNvCxnSpPr>
              <p:nvPr/>
            </p:nvCxnSpPr>
            <p:spPr bwMode="auto">
              <a:xfrm>
                <a:off x="2759215" y="5775387"/>
                <a:ext cx="5247822" cy="0"/>
              </a:xfrm>
              <a:prstGeom prst="straightConnector1">
                <a:avLst/>
              </a:prstGeom>
              <a:noFill/>
              <a:ln w="12700">
                <a:solidFill>
                  <a:srgbClr val="B455AA"/>
                </a:solidFill>
                <a:prstDash val="dash"/>
                <a:round/>
                <a:headEnd type="none" w="sm" len="sm"/>
                <a:tailEnd type="none" w="sm" len="sm"/>
              </a:ln>
            </p:spPr>
          </p:cxnSp>
          <p:sp>
            <p:nvSpPr>
              <p:cNvPr id="31" name="AutoShape 43">
                <a:extLst>
                  <a:ext uri="{FF2B5EF4-FFF2-40B4-BE49-F238E27FC236}">
                    <a16:creationId xmlns:a16="http://schemas.microsoft.com/office/drawing/2014/main" id="{3ED319EE-3D08-4C48-A247-E8512C269738}"/>
                  </a:ext>
                </a:extLst>
              </p:cNvPr>
              <p:cNvSpPr>
                <a:spLocks noChangeArrowheads="1"/>
              </p:cNvSpPr>
              <p:nvPr/>
            </p:nvSpPr>
            <p:spPr bwMode="auto">
              <a:xfrm>
                <a:off x="2627184" y="5684106"/>
                <a:ext cx="264062" cy="182562"/>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2" name="AutoShape 44">
                <a:extLst>
                  <a:ext uri="{FF2B5EF4-FFF2-40B4-BE49-F238E27FC236}">
                    <a16:creationId xmlns:a16="http://schemas.microsoft.com/office/drawing/2014/main" id="{30BE9D14-082E-44D0-A73B-8D7F390228C7}"/>
                  </a:ext>
                </a:extLst>
              </p:cNvPr>
              <p:cNvSpPr>
                <a:spLocks noChangeArrowheads="1"/>
              </p:cNvSpPr>
              <p:nvPr/>
            </p:nvSpPr>
            <p:spPr bwMode="auto">
              <a:xfrm>
                <a:off x="7875006" y="5684106"/>
                <a:ext cx="262391" cy="182562"/>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Text Box 40">
                <a:extLst>
                  <a:ext uri="{FF2B5EF4-FFF2-40B4-BE49-F238E27FC236}">
                    <a16:creationId xmlns:a16="http://schemas.microsoft.com/office/drawing/2014/main" id="{54C1BAE7-B76D-4B24-8ADE-4ADD26DECF1B}"/>
                  </a:ext>
                </a:extLst>
              </p:cNvPr>
              <p:cNvSpPr txBox="1">
                <a:spLocks noChangeArrowheads="1"/>
              </p:cNvSpPr>
              <p:nvPr/>
            </p:nvSpPr>
            <p:spPr bwMode="auto">
              <a:xfrm>
                <a:off x="431540" y="5660419"/>
                <a:ext cx="2862262"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echnology Capabilities</a:t>
                </a:r>
              </a:p>
            </p:txBody>
          </p:sp>
          <p:sp>
            <p:nvSpPr>
              <p:cNvPr id="34" name="AutoShape 56">
                <a:extLst>
                  <a:ext uri="{FF2B5EF4-FFF2-40B4-BE49-F238E27FC236}">
                    <a16:creationId xmlns:a16="http://schemas.microsoft.com/office/drawing/2014/main" id="{4643676D-D44A-4A30-8D5D-2A7EE9E232E3}"/>
                  </a:ext>
                </a:extLst>
              </p:cNvPr>
              <p:cNvSpPr>
                <a:spLocks noChangeArrowheads="1"/>
              </p:cNvSpPr>
              <p:nvPr/>
            </p:nvSpPr>
            <p:spPr bwMode="auto">
              <a:xfrm>
                <a:off x="4651819" y="5682518"/>
                <a:ext cx="196850" cy="185738"/>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35" name="5-Point Star 65">
                <a:extLst>
                  <a:ext uri="{FF2B5EF4-FFF2-40B4-BE49-F238E27FC236}">
                    <a16:creationId xmlns:a16="http://schemas.microsoft.com/office/drawing/2014/main" id="{E780363F-0B6B-4B46-A782-1DFEC1A4F5C0}"/>
                  </a:ext>
                </a:extLst>
              </p:cNvPr>
              <p:cNvSpPr/>
              <p:nvPr/>
            </p:nvSpPr>
            <p:spPr bwMode="auto">
              <a:xfrm>
                <a:off x="6459935" y="5638910"/>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grpSp>
        <p:grpSp>
          <p:nvGrpSpPr>
            <p:cNvPr id="18" name="Group 7">
              <a:extLst>
                <a:ext uri="{FF2B5EF4-FFF2-40B4-BE49-F238E27FC236}">
                  <a16:creationId xmlns:a16="http://schemas.microsoft.com/office/drawing/2014/main" id="{9658471B-F443-45C6-A772-DECF26AEBD4B}"/>
                </a:ext>
              </a:extLst>
            </p:cNvPr>
            <p:cNvGrpSpPr/>
            <p:nvPr/>
          </p:nvGrpSpPr>
          <p:grpSpPr bwMode="auto">
            <a:xfrm>
              <a:off x="431540" y="4538939"/>
              <a:ext cx="7705857" cy="272955"/>
              <a:chOff x="431540" y="4564988"/>
              <a:chExt cx="7705857" cy="272955"/>
            </a:xfrm>
          </p:grpSpPr>
          <p:cxnSp>
            <p:nvCxnSpPr>
              <p:cNvPr id="24" name="AutoShape 17">
                <a:extLst>
                  <a:ext uri="{FF2B5EF4-FFF2-40B4-BE49-F238E27FC236}">
                    <a16:creationId xmlns:a16="http://schemas.microsoft.com/office/drawing/2014/main" id="{E1B04A3B-D88E-4A68-999D-DCAF5AC57C50}"/>
                  </a:ext>
                </a:extLst>
              </p:cNvPr>
              <p:cNvCxnSpPr>
                <a:cxnSpLocks noChangeShapeType="1"/>
              </p:cNvCxnSpPr>
              <p:nvPr/>
            </p:nvCxnSpPr>
            <p:spPr bwMode="auto">
              <a:xfrm>
                <a:off x="2759215" y="4701465"/>
                <a:ext cx="5247822" cy="0"/>
              </a:xfrm>
              <a:prstGeom prst="straightConnector1">
                <a:avLst/>
              </a:prstGeom>
              <a:noFill/>
              <a:ln w="12700">
                <a:solidFill>
                  <a:srgbClr val="B455AA"/>
                </a:solidFill>
                <a:prstDash val="dash"/>
                <a:round/>
                <a:headEnd type="none" w="sm" len="sm"/>
                <a:tailEnd type="none" w="sm" len="sm"/>
              </a:ln>
            </p:spPr>
          </p:cxnSp>
          <p:sp>
            <p:nvSpPr>
              <p:cNvPr id="25" name="AutoShape 15">
                <a:extLst>
                  <a:ext uri="{FF2B5EF4-FFF2-40B4-BE49-F238E27FC236}">
                    <a16:creationId xmlns:a16="http://schemas.microsoft.com/office/drawing/2014/main" id="{8209150D-D784-4560-83F4-4DFDDA37B6ED}"/>
                  </a:ext>
                </a:extLst>
              </p:cNvPr>
              <p:cNvSpPr>
                <a:spLocks noChangeArrowheads="1"/>
              </p:cNvSpPr>
              <p:nvPr/>
            </p:nvSpPr>
            <p:spPr bwMode="auto">
              <a:xfrm>
                <a:off x="2627184" y="4610978"/>
                <a:ext cx="264062"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AutoShape 16">
                <a:extLst>
                  <a:ext uri="{FF2B5EF4-FFF2-40B4-BE49-F238E27FC236}">
                    <a16:creationId xmlns:a16="http://schemas.microsoft.com/office/drawing/2014/main" id="{D833BE58-58DF-45AB-A635-A8F35110344E}"/>
                  </a:ext>
                </a:extLst>
              </p:cNvPr>
              <p:cNvSpPr>
                <a:spLocks noChangeArrowheads="1"/>
              </p:cNvSpPr>
              <p:nvPr/>
            </p:nvSpPr>
            <p:spPr bwMode="auto">
              <a:xfrm>
                <a:off x="7875006" y="4610978"/>
                <a:ext cx="262391" cy="180975"/>
              </a:xfrm>
              <a:prstGeom prst="upArrow">
                <a:avLst>
                  <a:gd name="adj1" fmla="val 100000"/>
                  <a:gd name="adj2" fmla="val 100000"/>
                </a:avLst>
              </a:prstGeom>
              <a:solidFill>
                <a:srgbClr val="96968C"/>
              </a:solidFill>
              <a:ln w="12700">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7" name="Text Box 38">
                <a:extLst>
                  <a:ext uri="{FF2B5EF4-FFF2-40B4-BE49-F238E27FC236}">
                    <a16:creationId xmlns:a16="http://schemas.microsoft.com/office/drawing/2014/main" id="{45A9AF92-FFDC-494B-A8BC-8953FC59010E}"/>
                  </a:ext>
                </a:extLst>
              </p:cNvPr>
              <p:cNvSpPr txBox="1">
                <a:spLocks noChangeArrowheads="1"/>
              </p:cNvSpPr>
              <p:nvPr/>
            </p:nvSpPr>
            <p:spPr bwMode="auto">
              <a:xfrm>
                <a:off x="431540" y="4586497"/>
                <a:ext cx="2667000" cy="169277"/>
              </a:xfrm>
              <a:prstGeom prst="rect">
                <a:avLst/>
              </a:prstGeom>
              <a:noFill/>
              <a:ln w="12700">
                <a:noFill/>
                <a:miter lim="800000"/>
                <a:headEnd/>
                <a:tailEnd/>
              </a:ln>
            </p:spPr>
            <p:txBody>
              <a:bodyPr lIns="0" tIns="0" rIns="0" bIns="0">
                <a:spAutoFit/>
              </a:bodyPr>
              <a:lstStyle/>
              <a:p>
                <a:pPr marL="0" marR="0" lvl="0" indent="0" algn="l" defTabSz="914400" rtl="0" eaLnBrk="1" fontAlgn="auto" latinLnBrk="0" hangingPunct="1">
                  <a:lnSpc>
                    <a:spcPct val="100000"/>
                  </a:lnSpc>
                  <a:spcBef>
                    <a:spcPct val="30000"/>
                  </a:spcBef>
                  <a:spcAft>
                    <a:spcPts val="0"/>
                  </a:spcAft>
                  <a:buClr>
                    <a:srgbClr val="993333"/>
                  </a:buClr>
                  <a:buSzTx/>
                  <a:buFontTx/>
                  <a:buNone/>
                  <a:tabLst>
                    <a:tab pos="2400300" algn="l"/>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Efficient Production</a:t>
                </a:r>
              </a:p>
            </p:txBody>
          </p:sp>
          <p:sp>
            <p:nvSpPr>
              <p:cNvPr id="28" name="5-Point Star 63">
                <a:extLst>
                  <a:ext uri="{FF2B5EF4-FFF2-40B4-BE49-F238E27FC236}">
                    <a16:creationId xmlns:a16="http://schemas.microsoft.com/office/drawing/2014/main" id="{370CCDF6-CC20-4D32-812B-0765AB511029}"/>
                  </a:ext>
                </a:extLst>
              </p:cNvPr>
              <p:cNvSpPr/>
              <p:nvPr/>
            </p:nvSpPr>
            <p:spPr bwMode="auto">
              <a:xfrm>
                <a:off x="7251507" y="4564988"/>
                <a:ext cx="272955" cy="272955"/>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29" name="AutoShape 52">
                <a:extLst>
                  <a:ext uri="{FF2B5EF4-FFF2-40B4-BE49-F238E27FC236}">
                    <a16:creationId xmlns:a16="http://schemas.microsoft.com/office/drawing/2014/main" id="{49539544-1A0F-486A-B118-078A4C848498}"/>
                  </a:ext>
                </a:extLst>
              </p:cNvPr>
              <p:cNvSpPr>
                <a:spLocks noChangeArrowheads="1"/>
              </p:cNvSpPr>
              <p:nvPr/>
            </p:nvSpPr>
            <p:spPr bwMode="auto">
              <a:xfrm>
                <a:off x="5465638" y="4608597"/>
                <a:ext cx="196850" cy="18573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19" name="AutoShape 48">
              <a:extLst>
                <a:ext uri="{FF2B5EF4-FFF2-40B4-BE49-F238E27FC236}">
                  <a16:creationId xmlns:a16="http://schemas.microsoft.com/office/drawing/2014/main" id="{4D4F99AA-779D-4E5F-8E3A-4EDCA24F668F}"/>
                </a:ext>
              </a:extLst>
            </p:cNvPr>
            <p:cNvSpPr>
              <a:spLocks noChangeArrowheads="1"/>
            </p:cNvSpPr>
            <p:nvPr/>
          </p:nvSpPr>
          <p:spPr bwMode="auto">
            <a:xfrm>
              <a:off x="462523" y="6188046"/>
              <a:ext cx="177207" cy="146147"/>
            </a:xfrm>
            <a:prstGeom prst="diamond">
              <a:avLst/>
            </a:prstGeom>
            <a:solidFill>
              <a:schemeClr val="accent3"/>
            </a:solidFill>
            <a:ln w="12700" algn="ctr">
              <a:noFill/>
              <a:miter lim="800000"/>
              <a:headEnd/>
              <a:tailEnd/>
            </a:ln>
          </p:spPr>
          <p:txBody>
            <a:bodyPr rot="10800000" vert="eaVert"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5-Point Star 79">
              <a:extLst>
                <a:ext uri="{FF2B5EF4-FFF2-40B4-BE49-F238E27FC236}">
                  <a16:creationId xmlns:a16="http://schemas.microsoft.com/office/drawing/2014/main" id="{6418E349-DF6F-496C-84CF-86BF28F9E99A}"/>
                </a:ext>
              </a:extLst>
            </p:cNvPr>
            <p:cNvSpPr/>
            <p:nvPr/>
          </p:nvSpPr>
          <p:spPr bwMode="auto">
            <a:xfrm>
              <a:off x="1223628" y="6136445"/>
              <a:ext cx="188794" cy="202443"/>
            </a:xfrm>
            <a:prstGeom prst="star5">
              <a:avLst/>
            </a:prstGeom>
            <a:solidFill>
              <a:srgbClr val="A100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21" name="TextBox 20">
              <a:extLst>
                <a:ext uri="{FF2B5EF4-FFF2-40B4-BE49-F238E27FC236}">
                  <a16:creationId xmlns:a16="http://schemas.microsoft.com/office/drawing/2014/main" id="{B483341D-06B6-460B-80C6-B88FF87C2B5F}"/>
                </a:ext>
              </a:extLst>
            </p:cNvPr>
            <p:cNvSpPr txBox="1"/>
            <p:nvPr/>
          </p:nvSpPr>
          <p:spPr bwMode="auto">
            <a:xfrm>
              <a:off x="696278" y="6184176"/>
              <a:ext cx="426399"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Current</a:t>
              </a:r>
            </a:p>
          </p:txBody>
        </p:sp>
        <p:sp>
          <p:nvSpPr>
            <p:cNvPr id="22" name="TextBox 21">
              <a:extLst>
                <a:ext uri="{FF2B5EF4-FFF2-40B4-BE49-F238E27FC236}">
                  <a16:creationId xmlns:a16="http://schemas.microsoft.com/office/drawing/2014/main" id="{AD03875D-BF41-4974-81A0-56FC69442A5F}"/>
                </a:ext>
              </a:extLst>
            </p:cNvPr>
            <p:cNvSpPr txBox="1"/>
            <p:nvPr/>
          </p:nvSpPr>
          <p:spPr bwMode="auto">
            <a:xfrm>
              <a:off x="1436632" y="6184176"/>
              <a:ext cx="36869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Future</a:t>
              </a:r>
            </a:p>
          </p:txBody>
        </p:sp>
        <p:sp>
          <p:nvSpPr>
            <p:cNvPr id="23" name="Text Box 13">
              <a:extLst>
                <a:ext uri="{FF2B5EF4-FFF2-40B4-BE49-F238E27FC236}">
                  <a16:creationId xmlns:a16="http://schemas.microsoft.com/office/drawing/2014/main" id="{7934EEFF-A2F1-4B66-9828-B7D404A79331}"/>
                </a:ext>
              </a:extLst>
            </p:cNvPr>
            <p:cNvSpPr txBox="1">
              <a:spLocks noChangeArrowheads="1"/>
            </p:cNvSpPr>
            <p:nvPr/>
          </p:nvSpPr>
          <p:spPr bwMode="auto">
            <a:xfrm>
              <a:off x="6803870" y="6181099"/>
              <a:ext cx="1251218" cy="161583"/>
            </a:xfrm>
            <a:prstGeom prst="rect">
              <a:avLst/>
            </a:prstGeom>
            <a:noFill/>
            <a:ln w="12700">
              <a:noFill/>
              <a:miter lim="800000"/>
              <a:headEnd/>
              <a:tailEnd/>
            </a:ln>
          </p:spPr>
          <p:txBody>
            <a:bodyPr wrap="square" lIns="0" tIns="0" rIns="0" bIns="0">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Arial"/>
                  <a:ea typeface="+mn-ea"/>
                  <a:cs typeface="+mn-cs"/>
                </a:rPr>
                <a:t>Emerging</a:t>
              </a:r>
            </a:p>
          </p:txBody>
        </p:sp>
      </p:grpSp>
      <p:grpSp>
        <p:nvGrpSpPr>
          <p:cNvPr id="66" name="Group 65">
            <a:extLst>
              <a:ext uri="{FF2B5EF4-FFF2-40B4-BE49-F238E27FC236}">
                <a16:creationId xmlns:a16="http://schemas.microsoft.com/office/drawing/2014/main" id="{E8E46E19-CA60-40E6-819C-C5B65BB7231F}"/>
              </a:ext>
            </a:extLst>
          </p:cNvPr>
          <p:cNvGrpSpPr/>
          <p:nvPr>
            <p:custDataLst>
              <p:tags r:id="rId1"/>
            </p:custDataLst>
          </p:nvPr>
        </p:nvGrpSpPr>
        <p:grpSpPr bwMode="auto">
          <a:xfrm>
            <a:off x="9399007" y="728700"/>
            <a:ext cx="737381" cy="266244"/>
            <a:chOff x="7949419" y="1498600"/>
            <a:chExt cx="737381" cy="266244"/>
          </a:xfrm>
        </p:grpSpPr>
        <p:sp>
          <p:nvSpPr>
            <p:cNvPr id="67" name="TextBox 66">
              <a:extLst>
                <a:ext uri="{FF2B5EF4-FFF2-40B4-BE49-F238E27FC236}">
                  <a16:creationId xmlns:a16="http://schemas.microsoft.com/office/drawing/2014/main" id="{D28A7570-B385-46FB-8A29-0D37938C3A3D}"/>
                </a:ext>
              </a:extLst>
            </p:cNvPr>
            <p:cNvSpPr txBox="1"/>
            <p:nvPr/>
          </p:nvSpPr>
          <p:spPr bwMode="auto">
            <a:xfrm>
              <a:off x="7949419" y="1524000"/>
              <a:ext cx="737381" cy="215444"/>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Example</a:t>
              </a:r>
            </a:p>
          </p:txBody>
        </p:sp>
        <p:cxnSp>
          <p:nvCxnSpPr>
            <p:cNvPr id="68" name="Straight Connector 67">
              <a:extLst>
                <a:ext uri="{FF2B5EF4-FFF2-40B4-BE49-F238E27FC236}">
                  <a16:creationId xmlns:a16="http://schemas.microsoft.com/office/drawing/2014/main" id="{7AA14B00-798C-467F-B2E0-348E9E9E3C59}"/>
                </a:ext>
              </a:extLst>
            </p:cNvPr>
            <p:cNvCxnSpPr/>
            <p:nvPr/>
          </p:nvCxnSpPr>
          <p:spPr bwMode="auto">
            <a:xfrm>
              <a:off x="7949419" y="1498600"/>
              <a:ext cx="737381" cy="0"/>
            </a:xfrm>
            <a:prstGeom prst="line">
              <a:avLst/>
            </a:prstGeom>
            <a:noFill/>
            <a:ln w="12700" cap="flat" cmpd="sng" algn="ctr">
              <a:solidFill>
                <a:srgbClr val="000000"/>
              </a:solidFill>
              <a:prstDash val="solid"/>
              <a:headEnd type="none"/>
              <a:tailEnd type="none"/>
            </a:ln>
            <a:effectLst/>
          </p:spPr>
        </p:cxnSp>
        <p:cxnSp>
          <p:nvCxnSpPr>
            <p:cNvPr id="69" name="Straight Connector 68">
              <a:extLst>
                <a:ext uri="{FF2B5EF4-FFF2-40B4-BE49-F238E27FC236}">
                  <a16:creationId xmlns:a16="http://schemas.microsoft.com/office/drawing/2014/main" id="{54542D52-0BC6-49A6-8F31-D439A0565325}"/>
                </a:ext>
              </a:extLst>
            </p:cNvPr>
            <p:cNvCxnSpPr/>
            <p:nvPr/>
          </p:nvCxnSpPr>
          <p:spPr bwMode="auto">
            <a:xfrm>
              <a:off x="7949419" y="1764844"/>
              <a:ext cx="737381" cy="0"/>
            </a:xfrm>
            <a:prstGeom prst="line">
              <a:avLst/>
            </a:prstGeom>
            <a:noFill/>
            <a:ln w="12700" cap="flat" cmpd="sng" algn="ctr">
              <a:solidFill>
                <a:srgbClr val="000000"/>
              </a:solidFill>
              <a:prstDash val="solid"/>
              <a:headEnd type="none"/>
              <a:tailEnd type="none"/>
            </a:ln>
            <a:effectLst/>
          </p:spPr>
        </p:cxnSp>
      </p:grpSp>
      <p:sp>
        <p:nvSpPr>
          <p:cNvPr id="2" name="Rectangle 1">
            <a:hlinkClick r:id="rId4" action="ppaction://hlinksldjump"/>
            <a:extLst>
              <a:ext uri="{FF2B5EF4-FFF2-40B4-BE49-F238E27FC236}">
                <a16:creationId xmlns:a16="http://schemas.microsoft.com/office/drawing/2014/main" id="{00E4E087-EF52-4083-A036-BAA96D37DE4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37861153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de-DE" dirty="0"/>
              <a:t>Project Timelines 1</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6" name="Table 5">
            <a:extLst>
              <a:ext uri="{FF2B5EF4-FFF2-40B4-BE49-F238E27FC236}">
                <a16:creationId xmlns:a16="http://schemas.microsoft.com/office/drawing/2014/main" id="{EA9DB723-BDC9-4FA7-9B55-ED46964E7C8E}"/>
              </a:ext>
            </a:extLst>
          </p:cNvPr>
          <p:cNvGraphicFramePr>
            <a:graphicFrameLocks noGrp="1"/>
          </p:cNvGraphicFramePr>
          <p:nvPr/>
        </p:nvGraphicFramePr>
        <p:xfrm>
          <a:off x="2166907" y="1457328"/>
          <a:ext cx="8364947" cy="4705883"/>
        </p:xfrm>
        <a:graphic>
          <a:graphicData uri="http://schemas.openxmlformats.org/drawingml/2006/table">
            <a:tbl>
              <a:tblPr/>
              <a:tblGrid>
                <a:gridCol w="772799">
                  <a:extLst>
                    <a:ext uri="{9D8B030D-6E8A-4147-A177-3AD203B41FA5}">
                      <a16:colId xmlns:a16="http://schemas.microsoft.com/office/drawing/2014/main" val="20000"/>
                    </a:ext>
                  </a:extLst>
                </a:gridCol>
                <a:gridCol w="632679">
                  <a:extLst>
                    <a:ext uri="{9D8B030D-6E8A-4147-A177-3AD203B41FA5}">
                      <a16:colId xmlns:a16="http://schemas.microsoft.com/office/drawing/2014/main" val="20001"/>
                    </a:ext>
                  </a:extLst>
                </a:gridCol>
                <a:gridCol w="632679">
                  <a:extLst>
                    <a:ext uri="{9D8B030D-6E8A-4147-A177-3AD203B41FA5}">
                      <a16:colId xmlns:a16="http://schemas.microsoft.com/office/drawing/2014/main" val="20002"/>
                    </a:ext>
                  </a:extLst>
                </a:gridCol>
                <a:gridCol w="632679">
                  <a:extLst>
                    <a:ext uri="{9D8B030D-6E8A-4147-A177-3AD203B41FA5}">
                      <a16:colId xmlns:a16="http://schemas.microsoft.com/office/drawing/2014/main" val="20003"/>
                    </a:ext>
                  </a:extLst>
                </a:gridCol>
                <a:gridCol w="632679">
                  <a:extLst>
                    <a:ext uri="{9D8B030D-6E8A-4147-A177-3AD203B41FA5}">
                      <a16:colId xmlns:a16="http://schemas.microsoft.com/office/drawing/2014/main" val="20004"/>
                    </a:ext>
                  </a:extLst>
                </a:gridCol>
                <a:gridCol w="632679">
                  <a:extLst>
                    <a:ext uri="{9D8B030D-6E8A-4147-A177-3AD203B41FA5}">
                      <a16:colId xmlns:a16="http://schemas.microsoft.com/office/drawing/2014/main" val="20005"/>
                    </a:ext>
                  </a:extLst>
                </a:gridCol>
                <a:gridCol w="632679">
                  <a:extLst>
                    <a:ext uri="{9D8B030D-6E8A-4147-A177-3AD203B41FA5}">
                      <a16:colId xmlns:a16="http://schemas.microsoft.com/office/drawing/2014/main" val="20006"/>
                    </a:ext>
                  </a:extLst>
                </a:gridCol>
                <a:gridCol w="632679">
                  <a:extLst>
                    <a:ext uri="{9D8B030D-6E8A-4147-A177-3AD203B41FA5}">
                      <a16:colId xmlns:a16="http://schemas.microsoft.com/office/drawing/2014/main" val="20007"/>
                    </a:ext>
                  </a:extLst>
                </a:gridCol>
                <a:gridCol w="632679">
                  <a:extLst>
                    <a:ext uri="{9D8B030D-6E8A-4147-A177-3AD203B41FA5}">
                      <a16:colId xmlns:a16="http://schemas.microsoft.com/office/drawing/2014/main" val="20008"/>
                    </a:ext>
                  </a:extLst>
                </a:gridCol>
                <a:gridCol w="632679">
                  <a:extLst>
                    <a:ext uri="{9D8B030D-6E8A-4147-A177-3AD203B41FA5}">
                      <a16:colId xmlns:a16="http://schemas.microsoft.com/office/drawing/2014/main" val="20009"/>
                    </a:ext>
                  </a:extLst>
                </a:gridCol>
                <a:gridCol w="632679">
                  <a:extLst>
                    <a:ext uri="{9D8B030D-6E8A-4147-A177-3AD203B41FA5}">
                      <a16:colId xmlns:a16="http://schemas.microsoft.com/office/drawing/2014/main" val="20010"/>
                    </a:ext>
                  </a:extLst>
                </a:gridCol>
                <a:gridCol w="632679">
                  <a:extLst>
                    <a:ext uri="{9D8B030D-6E8A-4147-A177-3AD203B41FA5}">
                      <a16:colId xmlns:a16="http://schemas.microsoft.com/office/drawing/2014/main" val="20011"/>
                    </a:ext>
                  </a:extLst>
                </a:gridCol>
                <a:gridCol w="632679">
                  <a:extLst>
                    <a:ext uri="{9D8B030D-6E8A-4147-A177-3AD203B41FA5}">
                      <a16:colId xmlns:a16="http://schemas.microsoft.com/office/drawing/2014/main" val="20012"/>
                    </a:ext>
                  </a:extLst>
                </a:gridCol>
              </a:tblGrid>
              <a:tr h="21207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1000" b="0" i="0" u="none" strike="noStrike" dirty="0">
                        <a:solidFill>
                          <a:srgbClr val="FFFFFF"/>
                        </a:solidFill>
                        <a:latin typeface="Arial"/>
                      </a:endParaRP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chemeClr val="tx1"/>
                          </a:solidFill>
                          <a:latin typeface="Arial"/>
                        </a:rPr>
                        <a:t>Year</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0197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b" latinLnBrk="0" hangingPunct="1"/>
                      <a:endParaRPr lang="en-US" sz="1000" b="0" i="0" u="none" strike="noStrike" kern="1200" dirty="0">
                        <a:solidFill>
                          <a:srgbClr val="FFFFFF"/>
                        </a:solidFill>
                        <a:latin typeface="Arial"/>
                        <a:ea typeface="+mn-ea"/>
                        <a:cs typeface="+mn-cs"/>
                      </a:endParaRP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b" latinLnBrk="0" hangingPunct="1"/>
                      <a:r>
                        <a:rPr lang="en-US" sz="1000" b="1" i="0" u="none" strike="noStrike" kern="1200" dirty="0">
                          <a:solidFill>
                            <a:schemeClr val="bg1"/>
                          </a:solidFill>
                          <a:latin typeface="Arial"/>
                          <a:ea typeface="+mn-ea"/>
                          <a:cs typeface="+mn-cs"/>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6968C"/>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chemeClr val="bg1"/>
                          </a:solidFill>
                          <a:latin typeface="Arial"/>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6968C"/>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chemeClr val="bg1"/>
                          </a:solidFill>
                          <a:latin typeface="Arial"/>
                        </a:rPr>
                        <a:t>Month</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6968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3365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1000" b="0" i="0" u="none" strike="noStrike" dirty="0">
                        <a:solidFill>
                          <a:srgbClr val="FFFFFF"/>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Arial"/>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000" b="1" i="0" u="none" strike="noStrike" dirty="0">
                          <a:solidFill>
                            <a:srgbClr val="FFFFFF"/>
                          </a:solidFill>
                          <a:latin typeface="+mn-lt"/>
                        </a:rPr>
                        <a:t>Week</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extLst>
                  <a:ext uri="{0D108BD9-81ED-4DB2-BD59-A6C34878D82A}">
                    <a16:rowId xmlns:a16="http://schemas.microsoft.com/office/drawing/2014/main" val="10002"/>
                  </a:ext>
                </a:extLst>
              </a:tr>
              <a:tr h="38787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85725" marR="0" lvl="0" indent="-85725" algn="l" defTabSz="914400" rtl="0" eaLnBrk="1" fontAlgn="b"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dirty="0">
                        <a:ln>
                          <a:noFill/>
                        </a:ln>
                        <a:solidFill>
                          <a:srgbClr val="000000"/>
                        </a:solidFill>
                        <a:effectLst/>
                        <a:uLnTx/>
                        <a:uFillTx/>
                        <a:latin typeface="+mn-lt"/>
                        <a:ea typeface="+mn-ea"/>
                        <a:cs typeface="+mn-cs"/>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3"/>
                  </a:ext>
                </a:extLst>
              </a:tr>
              <a:tr h="2143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85725" marR="0" lvl="0" indent="-85725" algn="l" defTabSz="914400" rtl="0" eaLnBrk="1" fontAlgn="b"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dirty="0">
                        <a:ln>
                          <a:noFill/>
                        </a:ln>
                        <a:solidFill>
                          <a:srgbClr val="000000"/>
                        </a:solidFill>
                        <a:effectLst/>
                        <a:uLnTx/>
                        <a:uFillTx/>
                        <a:latin typeface="+mn-lt"/>
                        <a:ea typeface="+mn-ea"/>
                        <a:cs typeface="+mn-cs"/>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800" b="0" i="0" u="none" strike="noStrike" dirty="0">
                          <a:solidFill>
                            <a:srgbClr val="000000"/>
                          </a:solidFill>
                          <a:latin typeface="Arial"/>
                        </a:rPr>
                        <a:t> </a:t>
                      </a: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n-US" sz="800" b="0" i="0" u="none" strike="noStrike" dirty="0">
                        <a:solidFill>
                          <a:srgbClr val="000000"/>
                        </a:solidFill>
                        <a:latin typeface="Arial"/>
                      </a:endParaRPr>
                    </a:p>
                  </a:txBody>
                  <a:tcPr marL="6494" marR="6494" marT="6494"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76000">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algn="ct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dirty="0"/>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5"/>
                  </a:ext>
                </a:extLst>
              </a:tr>
              <a:tr h="576000">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dirty="0"/>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6"/>
                  </a:ext>
                </a:extLst>
              </a:tr>
              <a:tr h="576000">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7"/>
                  </a:ext>
                </a:extLst>
              </a:tr>
              <a:tr h="576000">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8"/>
                  </a:ext>
                </a:extLst>
              </a:tr>
              <a:tr h="576000">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09"/>
                  </a:ext>
                </a:extLst>
              </a:tr>
              <a:tr h="576000">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ext</a:t>
                      </a:r>
                    </a:p>
                  </a:txBody>
                  <a:tcPr marL="6494" marR="6494" marT="6494"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endParaRPr lang="en-US" dirty="0"/>
                    </a:p>
                  </a:txBody>
                  <a:tcPr marL="6494" marR="6494" marT="6494"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4E7E7"/>
                    </a:solidFill>
                  </a:tcPr>
                </a:tc>
                <a:extLst>
                  <a:ext uri="{0D108BD9-81ED-4DB2-BD59-A6C34878D82A}">
                    <a16:rowId xmlns:a16="http://schemas.microsoft.com/office/drawing/2014/main" val="10010"/>
                  </a:ext>
                </a:extLst>
              </a:tr>
            </a:tbl>
          </a:graphicData>
        </a:graphic>
      </p:graphicFrame>
      <p:sp>
        <p:nvSpPr>
          <p:cNvPr id="7" name="Rectangle 3">
            <a:extLst>
              <a:ext uri="{FF2B5EF4-FFF2-40B4-BE49-F238E27FC236}">
                <a16:creationId xmlns:a16="http://schemas.microsoft.com/office/drawing/2014/main" id="{D5CE8A9B-BEE2-4552-84E9-38C045FF57F3}"/>
              </a:ext>
            </a:extLst>
          </p:cNvPr>
          <p:cNvSpPr>
            <a:spLocks noChangeArrowheads="1"/>
          </p:cNvSpPr>
          <p:nvPr/>
        </p:nvSpPr>
        <p:spPr bwMode="auto">
          <a:xfrm>
            <a:off x="2166908" y="2094548"/>
            <a:ext cx="760740" cy="398348"/>
          </a:xfrm>
          <a:prstGeom prst="rect">
            <a:avLst/>
          </a:prstGeom>
          <a:solidFill>
            <a:srgbClr val="96968C"/>
          </a:solidFill>
          <a:ln w="10000" cap="flat" cmpd="sng" algn="ctr">
            <a:noFill/>
            <a:prstDash val="solid"/>
            <a:headEnd/>
            <a:tailEnd/>
          </a:ln>
          <a:effectLst>
            <a:outerShdw blurRad="38100" dist="30000" dir="5400000" rotWithShape="0">
              <a:srgbClr val="000000">
                <a:alpha val="45000"/>
              </a:srgbClr>
            </a:outerShdw>
          </a:effectLst>
        </p:spPr>
        <p:txBody>
          <a:bodyPr wrap="square" lIns="36000" tIns="36000" rIns="36000" bIns="36000" anchor="ctr"/>
          <a:lstStyle/>
          <a:p>
            <a:pPr marL="0" marR="0" lvl="1" indent="0" algn="ctr" defTabSz="914400" rtl="0" eaLnBrk="1" fontAlgn="auto" latinLnBrk="0" hangingPunct="1">
              <a:lnSpc>
                <a:spcPct val="100000"/>
              </a:lnSpc>
              <a:spcBef>
                <a:spcPct val="25000"/>
              </a:spcBef>
              <a:spcAft>
                <a:spcPts val="0"/>
              </a:spcAft>
              <a:buClr>
                <a:srgbClr val="F0AB00"/>
              </a:buClr>
              <a:buSzTx/>
              <a:buFontTx/>
              <a:buNone/>
              <a:tabLst/>
              <a:defRPr/>
            </a:pPr>
            <a:r>
              <a:rPr kumimoji="0" lang="en-US" sz="1050" b="1" i="0" u="none" strike="noStrike" kern="0" cap="none" spc="0" normalizeH="0" baseline="0" noProof="0" dirty="0">
                <a:ln>
                  <a:noFill/>
                </a:ln>
                <a:solidFill>
                  <a:srgbClr val="FFFFFF"/>
                </a:solidFill>
                <a:effectLst/>
                <a:uLnTx/>
                <a:uFillTx/>
                <a:latin typeface="Arial"/>
                <a:ea typeface="+mn-ea"/>
                <a:cs typeface="+mn-cs"/>
              </a:rPr>
              <a:t>Heading</a:t>
            </a:r>
          </a:p>
        </p:txBody>
      </p:sp>
      <p:sp>
        <p:nvSpPr>
          <p:cNvPr id="8" name="Rectangle 7">
            <a:extLst>
              <a:ext uri="{FF2B5EF4-FFF2-40B4-BE49-F238E27FC236}">
                <a16:creationId xmlns:a16="http://schemas.microsoft.com/office/drawing/2014/main" id="{1AE9F937-B96C-4458-9505-E3E2DEA43656}"/>
              </a:ext>
            </a:extLst>
          </p:cNvPr>
          <p:cNvSpPr/>
          <p:nvPr/>
        </p:nvSpPr>
        <p:spPr bwMode="auto">
          <a:xfrm rot="16200000">
            <a:off x="-23627" y="3982619"/>
            <a:ext cx="4068663" cy="292522"/>
          </a:xfrm>
          <a:prstGeom prst="rect">
            <a:avLst/>
          </a:prstGeom>
          <a:solidFill>
            <a:srgbClr val="96968C"/>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1100" b="1" i="0" u="none" strike="noStrike" kern="0" cap="none" spc="0" normalizeH="0" baseline="0" noProof="0" dirty="0">
                <a:ln>
                  <a:noFill/>
                </a:ln>
                <a:solidFill>
                  <a:srgbClr val="FFFFFF"/>
                </a:solidFill>
                <a:effectLst/>
                <a:uLnTx/>
                <a:uFillTx/>
                <a:latin typeface="Graphik"/>
                <a:ea typeface="Arial Unicode MS" pitchFamily="34" charset="-128"/>
                <a:cs typeface="Arial Unicode MS" pitchFamily="34" charset="-128"/>
              </a:rPr>
              <a:t>Heading</a:t>
            </a:r>
            <a:endParaRPr kumimoji="0" lang="en-US" sz="1100" b="1" i="0" u="none" strike="noStrike" kern="0" cap="none" spc="0" normalizeH="0" baseline="0" noProof="0" dirty="0">
              <a:ln>
                <a:noFill/>
              </a:ln>
              <a:solidFill>
                <a:srgbClr val="FFFFFF"/>
              </a:solidFill>
              <a:effectLst/>
              <a:uLnTx/>
              <a:uFillTx/>
              <a:latin typeface="Graphik"/>
              <a:ea typeface="Arial Unicode MS" pitchFamily="34" charset="-128"/>
              <a:cs typeface="Arial Unicode MS" pitchFamily="34" charset="-128"/>
            </a:endParaRPr>
          </a:p>
        </p:txBody>
      </p:sp>
      <p:sp>
        <p:nvSpPr>
          <p:cNvPr id="9" name="Oval 8">
            <a:extLst>
              <a:ext uri="{FF2B5EF4-FFF2-40B4-BE49-F238E27FC236}">
                <a16:creationId xmlns:a16="http://schemas.microsoft.com/office/drawing/2014/main" id="{D44BD661-F0D0-4553-86D0-0586BDFB311C}"/>
              </a:ext>
            </a:extLst>
          </p:cNvPr>
          <p:cNvSpPr/>
          <p:nvPr/>
        </p:nvSpPr>
        <p:spPr bwMode="auto">
          <a:xfrm>
            <a:off x="3827748" y="2234580"/>
            <a:ext cx="144016" cy="148208"/>
          </a:xfrm>
          <a:prstGeom prst="ellipse">
            <a:avLst/>
          </a:prstGeom>
          <a:solidFill>
            <a:schemeClr val="accent3"/>
          </a:solidFill>
          <a:ln w="9525" algn="ctr">
            <a:noFill/>
            <a:miter lim="800000"/>
            <a:headEnd/>
            <a:tailEnd/>
          </a:ln>
        </p:spPr>
        <p:txBody>
          <a:bodyPr lIns="90000" tIns="72000" rIns="90000" bIns="72000" rtlCol="0" anchor="ctr"/>
          <a:lstStyle/>
          <a:p>
            <a:pPr marL="184150" marR="0" lvl="0" indent="-18415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sp>
        <p:nvSpPr>
          <p:cNvPr id="10" name="Oval 9">
            <a:extLst>
              <a:ext uri="{FF2B5EF4-FFF2-40B4-BE49-F238E27FC236}">
                <a16:creationId xmlns:a16="http://schemas.microsoft.com/office/drawing/2014/main" id="{B4C463C5-B57A-4E01-960C-A5BDEC4242FA}"/>
              </a:ext>
            </a:extLst>
          </p:cNvPr>
          <p:cNvSpPr/>
          <p:nvPr/>
        </p:nvSpPr>
        <p:spPr bwMode="auto">
          <a:xfrm>
            <a:off x="9516380" y="2234580"/>
            <a:ext cx="144016" cy="148208"/>
          </a:xfrm>
          <a:prstGeom prst="ellipse">
            <a:avLst/>
          </a:prstGeom>
          <a:solidFill>
            <a:schemeClr val="accent3"/>
          </a:solidFill>
          <a:ln w="9525" algn="ctr">
            <a:noFill/>
            <a:miter lim="800000"/>
            <a:headEnd/>
            <a:tailEnd/>
          </a:ln>
        </p:spPr>
        <p:txBody>
          <a:bodyPr lIns="90000" tIns="72000" rIns="90000" bIns="72000" rtlCol="0" anchor="ctr"/>
          <a:lstStyle/>
          <a:p>
            <a:pPr marL="184150" marR="0" lvl="0" indent="-18415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sp>
        <p:nvSpPr>
          <p:cNvPr id="11" name="Rectangle 10">
            <a:extLst>
              <a:ext uri="{FF2B5EF4-FFF2-40B4-BE49-F238E27FC236}">
                <a16:creationId xmlns:a16="http://schemas.microsoft.com/office/drawing/2014/main" id="{4BD6DEC9-51C0-4A6A-9A11-89C3FF2BAD10}"/>
              </a:ext>
            </a:extLst>
          </p:cNvPr>
          <p:cNvSpPr/>
          <p:nvPr/>
        </p:nvSpPr>
        <p:spPr bwMode="auto">
          <a:xfrm>
            <a:off x="3539718" y="2423268"/>
            <a:ext cx="792087" cy="213644"/>
          </a:xfrm>
          <a:prstGeom prst="rect">
            <a:avLst/>
          </a:prstGeom>
          <a:solidFill>
            <a:schemeClr val="accent3"/>
          </a:solidFill>
          <a:ln w="9525"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700" b="1" i="0" u="none" strike="noStrike" kern="0" cap="none" spc="0" normalizeH="0" baseline="0" noProof="0" dirty="0">
                <a:ln>
                  <a:noFill/>
                </a:ln>
                <a:solidFill>
                  <a:srgbClr val="FFFFFF"/>
                </a:solidFill>
                <a:effectLst/>
                <a:uLnTx/>
                <a:uFillTx/>
                <a:latin typeface="Graphik"/>
                <a:ea typeface="Arial Unicode MS" pitchFamily="34" charset="-128"/>
                <a:cs typeface="Arial Unicode MS" pitchFamily="34" charset="-128"/>
              </a:rPr>
              <a:t>Milestone</a:t>
            </a:r>
            <a:endParaRPr kumimoji="0" lang="de-DE" sz="500" b="1" i="0" u="none" strike="noStrike" kern="0" cap="none" spc="0" normalizeH="0" baseline="0" noProof="0" dirty="0">
              <a:ln>
                <a:noFill/>
              </a:ln>
              <a:solidFill>
                <a:srgbClr val="FFFFFF"/>
              </a:solidFill>
              <a:effectLst/>
              <a:uLnTx/>
              <a:uFillTx/>
              <a:latin typeface="Graphik"/>
              <a:ea typeface="Arial Unicode MS" pitchFamily="34" charset="-128"/>
              <a:cs typeface="Arial Unicode MS" pitchFamily="34" charset="-128"/>
            </a:endParaRPr>
          </a:p>
        </p:txBody>
      </p:sp>
      <p:sp>
        <p:nvSpPr>
          <p:cNvPr id="12" name="Rectangle 11">
            <a:extLst>
              <a:ext uri="{FF2B5EF4-FFF2-40B4-BE49-F238E27FC236}">
                <a16:creationId xmlns:a16="http://schemas.microsoft.com/office/drawing/2014/main" id="{A13C3C4F-37EC-422C-863C-40A160BD2218}"/>
              </a:ext>
            </a:extLst>
          </p:cNvPr>
          <p:cNvSpPr/>
          <p:nvPr/>
        </p:nvSpPr>
        <p:spPr bwMode="auto">
          <a:xfrm>
            <a:off x="9228350" y="2423268"/>
            <a:ext cx="792087" cy="213644"/>
          </a:xfrm>
          <a:prstGeom prst="rect">
            <a:avLst/>
          </a:prstGeom>
          <a:solidFill>
            <a:schemeClr val="accent3"/>
          </a:solidFill>
          <a:ln w="9525"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700" b="1" i="0" u="none" strike="noStrike" kern="0" cap="none" spc="0" normalizeH="0" baseline="0" noProof="0" dirty="0">
                <a:ln>
                  <a:noFill/>
                </a:ln>
                <a:solidFill>
                  <a:srgbClr val="FFFFFF"/>
                </a:solidFill>
                <a:effectLst/>
                <a:uLnTx/>
                <a:uFillTx/>
                <a:latin typeface="Graphik"/>
                <a:ea typeface="Arial Unicode MS" pitchFamily="34" charset="-128"/>
                <a:cs typeface="Arial Unicode MS" pitchFamily="34" charset="-128"/>
              </a:rPr>
              <a:t>Milestone</a:t>
            </a:r>
            <a:endParaRPr kumimoji="0" lang="de-DE" sz="500" b="1" i="0" u="none" strike="noStrike" kern="0" cap="none" spc="0" normalizeH="0" baseline="0" noProof="0" dirty="0">
              <a:ln>
                <a:noFill/>
              </a:ln>
              <a:solidFill>
                <a:srgbClr val="FFFFFF"/>
              </a:solidFill>
              <a:effectLst/>
              <a:uLnTx/>
              <a:uFillTx/>
              <a:latin typeface="Graphik"/>
              <a:ea typeface="Arial Unicode MS" pitchFamily="34" charset="-128"/>
              <a:cs typeface="Arial Unicode MS" pitchFamily="34" charset="-128"/>
            </a:endParaRPr>
          </a:p>
        </p:txBody>
      </p:sp>
      <p:sp>
        <p:nvSpPr>
          <p:cNvPr id="2" name="Rectangle 1">
            <a:hlinkClick r:id="rId3" action="ppaction://hlinksldjump"/>
            <a:extLst>
              <a:ext uri="{FF2B5EF4-FFF2-40B4-BE49-F238E27FC236}">
                <a16:creationId xmlns:a16="http://schemas.microsoft.com/office/drawing/2014/main" id="{2634EB8F-83D7-46BC-B801-3ABA410C397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88165840"/>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de-DE" dirty="0"/>
              <a:t>Project Timelines 2</a:t>
            </a:r>
            <a:endParaRPr lang="en-US" dirty="0"/>
          </a:p>
        </p:txBody>
      </p:sp>
      <p:sp>
        <p:nvSpPr>
          <p:cNvPr id="5" name="Freeform: Shape 4">
            <a:hlinkClick r:id="rId4"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cxnSp>
        <p:nvCxnSpPr>
          <p:cNvPr id="6" name="Straight Connector 5">
            <a:extLst>
              <a:ext uri="{FF2B5EF4-FFF2-40B4-BE49-F238E27FC236}">
                <a16:creationId xmlns:a16="http://schemas.microsoft.com/office/drawing/2014/main" id="{DFC448F4-F1C3-4D6B-8D82-5BBA63B2203B}"/>
              </a:ext>
            </a:extLst>
          </p:cNvPr>
          <p:cNvCxnSpPr>
            <a:endCxn id="19" idx="0"/>
          </p:cNvCxnSpPr>
          <p:nvPr/>
        </p:nvCxnSpPr>
        <p:spPr bwMode="auto">
          <a:xfrm flipH="1">
            <a:off x="4673882" y="1934890"/>
            <a:ext cx="1588" cy="3993345"/>
          </a:xfrm>
          <a:prstGeom prst="line">
            <a:avLst/>
          </a:prstGeom>
          <a:solidFill>
            <a:srgbClr val="A100FF"/>
          </a:solidFill>
          <a:ln w="3175" cap="flat" cmpd="sng" algn="ctr">
            <a:solidFill>
              <a:srgbClr val="96968C"/>
            </a:solidFill>
            <a:prstDash val="dash"/>
            <a:round/>
            <a:headEnd type="none" w="med" len="med"/>
            <a:tailEnd type="none" w="med" len="med"/>
          </a:ln>
          <a:effectLst/>
        </p:spPr>
      </p:cxnSp>
      <p:cxnSp>
        <p:nvCxnSpPr>
          <p:cNvPr id="7" name="Straight Connector 6">
            <a:extLst>
              <a:ext uri="{FF2B5EF4-FFF2-40B4-BE49-F238E27FC236}">
                <a16:creationId xmlns:a16="http://schemas.microsoft.com/office/drawing/2014/main" id="{AC9A7579-BA55-4030-9664-77C4A80A0DBE}"/>
              </a:ext>
            </a:extLst>
          </p:cNvPr>
          <p:cNvCxnSpPr>
            <a:endCxn id="23" idx="0"/>
          </p:cNvCxnSpPr>
          <p:nvPr/>
        </p:nvCxnSpPr>
        <p:spPr bwMode="auto">
          <a:xfrm>
            <a:off x="6716843" y="1934890"/>
            <a:ext cx="1909" cy="3993345"/>
          </a:xfrm>
          <a:prstGeom prst="line">
            <a:avLst/>
          </a:prstGeom>
          <a:solidFill>
            <a:srgbClr val="A100FF"/>
          </a:solidFill>
          <a:ln w="3175" cap="flat" cmpd="sng" algn="ctr">
            <a:solidFill>
              <a:srgbClr val="96968C"/>
            </a:solidFill>
            <a:prstDash val="dash"/>
            <a:round/>
            <a:headEnd type="none" w="med" len="med"/>
            <a:tailEnd type="none" w="med" len="med"/>
          </a:ln>
          <a:effectLst/>
        </p:spPr>
      </p:cxnSp>
      <p:cxnSp>
        <p:nvCxnSpPr>
          <p:cNvPr id="8" name="Straight Connector 7">
            <a:extLst>
              <a:ext uri="{FF2B5EF4-FFF2-40B4-BE49-F238E27FC236}">
                <a16:creationId xmlns:a16="http://schemas.microsoft.com/office/drawing/2014/main" id="{A1AF0590-25C7-4D45-B327-58093531DE04}"/>
              </a:ext>
            </a:extLst>
          </p:cNvPr>
          <p:cNvCxnSpPr>
            <a:endCxn id="21" idx="0"/>
          </p:cNvCxnSpPr>
          <p:nvPr/>
        </p:nvCxnSpPr>
        <p:spPr bwMode="auto">
          <a:xfrm>
            <a:off x="10042720" y="1934890"/>
            <a:ext cx="1909" cy="3993345"/>
          </a:xfrm>
          <a:prstGeom prst="line">
            <a:avLst/>
          </a:prstGeom>
          <a:solidFill>
            <a:srgbClr val="A100FF"/>
          </a:solidFill>
          <a:ln w="3175" cap="flat" cmpd="sng" algn="ctr">
            <a:solidFill>
              <a:srgbClr val="96968C"/>
            </a:solidFill>
            <a:prstDash val="dash"/>
            <a:round/>
            <a:headEnd type="none" w="med" len="med"/>
            <a:tailEnd type="none" w="med" len="med"/>
          </a:ln>
          <a:effectLst/>
        </p:spPr>
      </p:cxnSp>
      <p:sp>
        <p:nvSpPr>
          <p:cNvPr id="9" name="Text Box 3">
            <a:extLst>
              <a:ext uri="{FF2B5EF4-FFF2-40B4-BE49-F238E27FC236}">
                <a16:creationId xmlns:a16="http://schemas.microsoft.com/office/drawing/2014/main" id="{2914235C-ABE1-4521-9BF4-ED0E4719BA08}"/>
              </a:ext>
            </a:extLst>
          </p:cNvPr>
          <p:cNvSpPr txBox="1">
            <a:spLocks noChangeArrowheads="1"/>
          </p:cNvSpPr>
          <p:nvPr/>
        </p:nvSpPr>
        <p:spPr bwMode="auto">
          <a:xfrm>
            <a:off x="2985361" y="4481322"/>
            <a:ext cx="3439723" cy="461665"/>
          </a:xfrm>
          <a:prstGeom prst="rect">
            <a:avLst/>
          </a:prstGeom>
          <a:solidFill>
            <a:srgbClr val="FFFFFF"/>
          </a:solidFill>
          <a:ln w="9525" algn="ctr">
            <a:noFill/>
            <a:miter lim="800000"/>
            <a:headEnd/>
            <a:tailEnd/>
          </a:ln>
        </p:spPr>
        <p:txBody>
          <a:bodyPr wrap="square" lIns="0" tIns="0" rIns="0" bIns="0">
            <a:spAutoFit/>
          </a:bodyPr>
          <a:lstStyle/>
          <a:p>
            <a:pPr marL="101600" marR="0" lvl="0" indent="-101600" algn="l" defTabSz="914400" rtl="0" eaLnBrk="1" fontAlgn="auto" latinLnBrk="0" hangingPunct="1">
              <a:lnSpc>
                <a:spcPct val="100000"/>
              </a:lnSpc>
              <a:spcBef>
                <a:spcPts val="0"/>
              </a:spcBef>
              <a:spcAft>
                <a:spcPts val="0"/>
              </a:spcAft>
              <a:buClrTx/>
              <a:buSzPct val="120000"/>
              <a:buFontTx/>
              <a:buChar char="•"/>
              <a:tabLst/>
              <a:defRPr/>
            </a:pPr>
            <a:r>
              <a:rPr kumimoji="0" lang="en-US" sz="1000" b="0" i="0" u="none" strike="noStrike" kern="0" cap="none" spc="0" normalizeH="0" baseline="0" noProof="0" dirty="0">
                <a:ln>
                  <a:noFill/>
                </a:ln>
                <a:solidFill>
                  <a:sysClr val="windowText" lastClr="000000"/>
                </a:solidFill>
                <a:effectLst/>
                <a:uLnTx/>
                <a:uFillTx/>
                <a:latin typeface="Graphik"/>
                <a:ea typeface="+mn-ea"/>
                <a:cs typeface="+mn-cs"/>
              </a:rPr>
              <a:t>Web page designing done be &lt;client name&gt;</a:t>
            </a:r>
          </a:p>
          <a:p>
            <a:pPr marL="101600" marR="0" lvl="0" indent="-101600" algn="l" defTabSz="914400" rtl="0" eaLnBrk="1" fontAlgn="auto" latinLnBrk="0" hangingPunct="1">
              <a:lnSpc>
                <a:spcPct val="100000"/>
              </a:lnSpc>
              <a:spcBef>
                <a:spcPts val="0"/>
              </a:spcBef>
              <a:spcAft>
                <a:spcPts val="0"/>
              </a:spcAft>
              <a:buClrTx/>
              <a:buSzPct val="120000"/>
              <a:buFontTx/>
              <a:buChar char="•"/>
              <a:tabLst/>
              <a:defRPr/>
            </a:pPr>
            <a:r>
              <a:rPr kumimoji="0" lang="en-US" sz="1000" b="0" i="0" u="none" strike="noStrike" kern="0" cap="none" spc="0" normalizeH="0" baseline="0" noProof="0" dirty="0">
                <a:ln>
                  <a:noFill/>
                </a:ln>
                <a:solidFill>
                  <a:sysClr val="windowText" lastClr="000000"/>
                </a:solidFill>
                <a:effectLst/>
                <a:uLnTx/>
                <a:uFillTx/>
                <a:latin typeface="Graphik"/>
                <a:ea typeface="+mn-ea"/>
                <a:cs typeface="+mn-cs"/>
              </a:rPr>
              <a:t>Go live date to be decided later by client depending on the business requirement</a:t>
            </a:r>
          </a:p>
        </p:txBody>
      </p:sp>
      <p:sp>
        <p:nvSpPr>
          <p:cNvPr id="10" name="Text Box 124">
            <a:extLst>
              <a:ext uri="{FF2B5EF4-FFF2-40B4-BE49-F238E27FC236}">
                <a16:creationId xmlns:a16="http://schemas.microsoft.com/office/drawing/2014/main" id="{3C2F2DBD-21B9-4500-93CA-A680F1C84599}"/>
              </a:ext>
            </a:extLst>
          </p:cNvPr>
          <p:cNvSpPr txBox="1">
            <a:spLocks noChangeArrowheads="1"/>
          </p:cNvSpPr>
          <p:nvPr/>
        </p:nvSpPr>
        <p:spPr bwMode="auto">
          <a:xfrm>
            <a:off x="4757504" y="1590526"/>
            <a:ext cx="1959338" cy="218295"/>
          </a:xfrm>
          <a:prstGeom prst="rect">
            <a:avLst/>
          </a:prstGeom>
          <a:solidFill>
            <a:srgbClr val="A055F5"/>
          </a:solidFill>
          <a:ln w="3175" algn="ctr">
            <a:noFill/>
            <a:miter lim="800000"/>
            <a:headEnd/>
            <a:tailEnd/>
          </a:ln>
        </p:spPr>
        <p:txBody>
          <a:bodyPr anchor="ct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Medium Term</a:t>
            </a:r>
          </a:p>
        </p:txBody>
      </p:sp>
      <p:sp>
        <p:nvSpPr>
          <p:cNvPr id="11" name="Text Box 131">
            <a:extLst>
              <a:ext uri="{FF2B5EF4-FFF2-40B4-BE49-F238E27FC236}">
                <a16:creationId xmlns:a16="http://schemas.microsoft.com/office/drawing/2014/main" id="{5EE4F822-4A87-4B8F-9AEA-5D4030B5426B}"/>
              </a:ext>
            </a:extLst>
          </p:cNvPr>
          <p:cNvSpPr txBox="1">
            <a:spLocks noChangeArrowheads="1"/>
          </p:cNvSpPr>
          <p:nvPr/>
        </p:nvSpPr>
        <p:spPr bwMode="auto">
          <a:xfrm>
            <a:off x="3557966" y="1590526"/>
            <a:ext cx="1094725" cy="218295"/>
          </a:xfrm>
          <a:prstGeom prst="rect">
            <a:avLst/>
          </a:prstGeom>
          <a:solidFill>
            <a:srgbClr val="A100FF"/>
          </a:solidFill>
          <a:ln w="3175" algn="ctr">
            <a:noFill/>
            <a:miter lim="800000"/>
            <a:headEnd/>
            <a:tailEnd/>
          </a:ln>
          <a:effectLst/>
        </p:spPr>
        <p:txBody>
          <a:bodyPr anchor="ct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SimSun" pitchFamily="2" charset="-122"/>
                <a:cs typeface="+mn-cs"/>
              </a:rPr>
              <a:t>Quick Wins</a:t>
            </a:r>
          </a:p>
        </p:txBody>
      </p:sp>
      <p:sp>
        <p:nvSpPr>
          <p:cNvPr id="12" name="Text Box 132">
            <a:extLst>
              <a:ext uri="{FF2B5EF4-FFF2-40B4-BE49-F238E27FC236}">
                <a16:creationId xmlns:a16="http://schemas.microsoft.com/office/drawing/2014/main" id="{B1DB99E6-79AD-4377-92CC-BA59F76A8F3F}"/>
              </a:ext>
            </a:extLst>
          </p:cNvPr>
          <p:cNvSpPr txBox="1">
            <a:spLocks noChangeArrowheads="1"/>
          </p:cNvSpPr>
          <p:nvPr/>
        </p:nvSpPr>
        <p:spPr bwMode="auto">
          <a:xfrm>
            <a:off x="6778634" y="1590526"/>
            <a:ext cx="3277806" cy="218295"/>
          </a:xfrm>
          <a:prstGeom prst="rect">
            <a:avLst/>
          </a:prstGeom>
          <a:solidFill>
            <a:srgbClr val="B455AA"/>
          </a:solidFill>
          <a:ln w="3175" algn="ctr">
            <a:noFill/>
            <a:miter lim="800000"/>
            <a:headEnd/>
            <a:tailEnd/>
          </a:ln>
        </p:spPr>
        <p:txBody>
          <a:bodyPr anchor="ctr"/>
          <a:lstStyle/>
          <a:p>
            <a:pPr marL="0" marR="0" lvl="0" indent="0" algn="ctr" defTabSz="914400" rtl="0" eaLnBrk="0" fontAlgn="auto" latinLnBrk="0" hangingPunct="0">
              <a:lnSpc>
                <a:spcPct val="8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Long Term</a:t>
            </a:r>
          </a:p>
        </p:txBody>
      </p:sp>
      <p:sp>
        <p:nvSpPr>
          <p:cNvPr id="13" name="Text Box 134">
            <a:extLst>
              <a:ext uri="{FF2B5EF4-FFF2-40B4-BE49-F238E27FC236}">
                <a16:creationId xmlns:a16="http://schemas.microsoft.com/office/drawing/2014/main" id="{B3BAA5FE-BC89-4EF6-89F5-C6544DD753D5}"/>
              </a:ext>
            </a:extLst>
          </p:cNvPr>
          <p:cNvSpPr txBox="1">
            <a:spLocks noChangeArrowheads="1"/>
          </p:cNvSpPr>
          <p:nvPr/>
        </p:nvSpPr>
        <p:spPr bwMode="auto">
          <a:xfrm>
            <a:off x="2595399" y="1602172"/>
            <a:ext cx="710407" cy="169277"/>
          </a:xfrm>
          <a:prstGeom prst="rect">
            <a:avLst/>
          </a:prstGeom>
          <a:noFill/>
          <a:ln w="9525">
            <a:noFill/>
            <a:miter lim="800000"/>
            <a:headEnd/>
            <a:tailEnd/>
          </a:ln>
          <a:effectLst>
            <a:prstShdw prst="shdw17" dist="17961" dir="2700000">
              <a:srgbClr val="A100FF">
                <a:gamma/>
                <a:shade val="60000"/>
                <a:invGamma/>
              </a:srgbClr>
            </a:prstShdw>
          </a:effectLst>
        </p:spPr>
        <p:txBody>
          <a:bodyPr lIns="0" tIns="0" rIns="0" bIns="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SimSun" pitchFamily="2" charset="-122"/>
                <a:cs typeface="+mn-cs"/>
              </a:rPr>
              <a:t>Phase:</a:t>
            </a:r>
          </a:p>
        </p:txBody>
      </p:sp>
      <p:sp>
        <p:nvSpPr>
          <p:cNvPr id="14" name="Text Box 3">
            <a:extLst>
              <a:ext uri="{FF2B5EF4-FFF2-40B4-BE49-F238E27FC236}">
                <a16:creationId xmlns:a16="http://schemas.microsoft.com/office/drawing/2014/main" id="{FD925F2C-B7EA-4790-9DC3-AD548FFBC898}"/>
              </a:ext>
            </a:extLst>
          </p:cNvPr>
          <p:cNvSpPr txBox="1">
            <a:spLocks noChangeArrowheads="1"/>
          </p:cNvSpPr>
          <p:nvPr/>
        </p:nvSpPr>
        <p:spPr bwMode="auto">
          <a:xfrm>
            <a:off x="2253336" y="2622626"/>
            <a:ext cx="2722474" cy="153888"/>
          </a:xfrm>
          <a:prstGeom prst="rect">
            <a:avLst/>
          </a:prstGeom>
          <a:noFill/>
          <a:ln w="9525" algn="ctr">
            <a:noFill/>
            <a:miter lim="800000"/>
            <a:headEnd/>
            <a:tailEnd/>
          </a:ln>
        </p:spPr>
        <p:txBody>
          <a:bodyPr wrap="square" lIns="0" tIns="0" rIns="0" bIns="0">
            <a:spAutoFit/>
          </a:bodyPr>
          <a:lstStyle/>
          <a:p>
            <a:pPr marL="72000" marR="0" lvl="0" indent="-72000" algn="l" defTabSz="914400" rtl="0" eaLnBrk="1" fontAlgn="auto" latinLnBrk="0" hangingPunct="1">
              <a:lnSpc>
                <a:spcPct val="100000"/>
              </a:lnSpc>
              <a:spcBef>
                <a:spcPts val="100"/>
              </a:spcBef>
              <a:spcAft>
                <a:spcPts val="100"/>
              </a:spcAft>
              <a:buClrTx/>
              <a:buSzPct val="100000"/>
              <a:buFontTx/>
              <a:buChar char="•"/>
              <a:tabLst/>
              <a:defRPr/>
            </a:pPr>
            <a:r>
              <a:rPr kumimoji="0" lang="en-US" sz="1000" b="0" i="0" u="none" strike="noStrike" kern="0" cap="none" spc="0" normalizeH="0" baseline="0" noProof="0" dirty="0">
                <a:ln>
                  <a:noFill/>
                </a:ln>
                <a:solidFill>
                  <a:sysClr val="windowText" lastClr="000000"/>
                </a:solidFill>
                <a:effectLst/>
                <a:uLnTx/>
                <a:uFillTx/>
                <a:latin typeface="Graphik"/>
                <a:ea typeface="+mn-ea"/>
                <a:cs typeface="+mn-cs"/>
              </a:rPr>
              <a:t>To be rolled out in all branches</a:t>
            </a:r>
          </a:p>
        </p:txBody>
      </p:sp>
      <p:sp>
        <p:nvSpPr>
          <p:cNvPr id="15" name="Text Box 3">
            <a:extLst>
              <a:ext uri="{FF2B5EF4-FFF2-40B4-BE49-F238E27FC236}">
                <a16:creationId xmlns:a16="http://schemas.microsoft.com/office/drawing/2014/main" id="{94513CE5-9FDA-407A-8859-53AD0DC8CCB9}"/>
              </a:ext>
            </a:extLst>
          </p:cNvPr>
          <p:cNvSpPr txBox="1">
            <a:spLocks noChangeArrowheads="1"/>
          </p:cNvSpPr>
          <p:nvPr/>
        </p:nvSpPr>
        <p:spPr bwMode="auto">
          <a:xfrm>
            <a:off x="2231404" y="3479011"/>
            <a:ext cx="3123151" cy="333425"/>
          </a:xfrm>
          <a:prstGeom prst="rect">
            <a:avLst/>
          </a:prstGeom>
          <a:noFill/>
          <a:ln w="9525" algn="ctr">
            <a:noFill/>
            <a:miter lim="800000"/>
            <a:headEnd/>
            <a:tailEnd/>
          </a:ln>
        </p:spPr>
        <p:txBody>
          <a:bodyPr wrap="square" lIns="0" tIns="0" rIns="0" bIns="0">
            <a:spAutoFit/>
          </a:bodyPr>
          <a:lstStyle/>
          <a:p>
            <a:pPr marL="72000" marR="0" lvl="0" indent="-72000" algn="l" defTabSz="914400" rtl="0" eaLnBrk="1" fontAlgn="auto" latinLnBrk="0" hangingPunct="1">
              <a:lnSpc>
                <a:spcPct val="100000"/>
              </a:lnSpc>
              <a:spcBef>
                <a:spcPts val="100"/>
              </a:spcBef>
              <a:spcAft>
                <a:spcPts val="100"/>
              </a:spcAft>
              <a:buClrTx/>
              <a:buSzPct val="100000"/>
              <a:buFontTx/>
              <a:buChar char="•"/>
              <a:tabLst/>
              <a:defRPr/>
            </a:pPr>
            <a:r>
              <a:rPr kumimoji="0" lang="en-US" sz="1000" b="0" i="0" u="none" strike="noStrike" kern="0" cap="none" spc="0" normalizeH="0" baseline="0" noProof="0" dirty="0">
                <a:ln>
                  <a:noFill/>
                </a:ln>
                <a:solidFill>
                  <a:sysClr val="windowText" lastClr="000000"/>
                </a:solidFill>
                <a:effectLst/>
                <a:uLnTx/>
                <a:uFillTx/>
                <a:latin typeface="Graphik"/>
                <a:ea typeface="+mn-ea"/>
                <a:cs typeface="+mn-cs"/>
              </a:rPr>
              <a:t>Survey to be conducted in urban areas</a:t>
            </a:r>
          </a:p>
          <a:p>
            <a:pPr marL="72000" marR="0" lvl="0" indent="-72000" algn="l" defTabSz="914400" rtl="0" eaLnBrk="1" fontAlgn="auto" latinLnBrk="0" hangingPunct="1">
              <a:lnSpc>
                <a:spcPct val="100000"/>
              </a:lnSpc>
              <a:spcBef>
                <a:spcPts val="100"/>
              </a:spcBef>
              <a:spcAft>
                <a:spcPts val="100"/>
              </a:spcAft>
              <a:buClrTx/>
              <a:buSzPct val="100000"/>
              <a:buFontTx/>
              <a:buChar char="•"/>
              <a:tabLst/>
              <a:defRPr/>
            </a:pPr>
            <a:r>
              <a:rPr kumimoji="0" lang="en-US" sz="1000" b="0" i="0" u="none" strike="noStrike" kern="0" cap="none" spc="0" normalizeH="0" baseline="0" noProof="0" dirty="0">
                <a:ln>
                  <a:noFill/>
                </a:ln>
                <a:solidFill>
                  <a:sysClr val="windowText" lastClr="000000"/>
                </a:solidFill>
                <a:effectLst/>
                <a:uLnTx/>
                <a:uFillTx/>
                <a:latin typeface="Graphik"/>
                <a:ea typeface="+mn-ea"/>
                <a:cs typeface="+mn-cs"/>
              </a:rPr>
              <a:t>Sample population to be selected by Accenture</a:t>
            </a:r>
          </a:p>
        </p:txBody>
      </p:sp>
      <p:sp>
        <p:nvSpPr>
          <p:cNvPr id="16" name="Text Box 3">
            <a:extLst>
              <a:ext uri="{FF2B5EF4-FFF2-40B4-BE49-F238E27FC236}">
                <a16:creationId xmlns:a16="http://schemas.microsoft.com/office/drawing/2014/main" id="{8FCB6845-F9E3-433A-A69A-FB5D7A9A09F2}"/>
              </a:ext>
            </a:extLst>
          </p:cNvPr>
          <p:cNvSpPr txBox="1">
            <a:spLocks noChangeArrowheads="1"/>
          </p:cNvSpPr>
          <p:nvPr/>
        </p:nvSpPr>
        <p:spPr bwMode="auto">
          <a:xfrm>
            <a:off x="5015881" y="5631603"/>
            <a:ext cx="3441633" cy="307777"/>
          </a:xfrm>
          <a:prstGeom prst="rect">
            <a:avLst/>
          </a:prstGeom>
          <a:noFill/>
          <a:ln w="9525" algn="ctr">
            <a:noFill/>
            <a:miter lim="800000"/>
            <a:headEnd/>
            <a:tailEnd/>
          </a:ln>
        </p:spPr>
        <p:txBody>
          <a:bodyPr wrap="square" lIns="0" tIns="0" rIns="0" bIns="0">
            <a:spAutoFit/>
          </a:bodyPr>
          <a:lstStyle/>
          <a:p>
            <a:pPr marL="101600" marR="0" lvl="0" indent="-101600" algn="l" defTabSz="914400" rtl="0" eaLnBrk="1" fontAlgn="auto" latinLnBrk="0" hangingPunct="1">
              <a:lnSpc>
                <a:spcPct val="100000"/>
              </a:lnSpc>
              <a:spcBef>
                <a:spcPts val="0"/>
              </a:spcBef>
              <a:spcAft>
                <a:spcPts val="0"/>
              </a:spcAft>
              <a:buClrTx/>
              <a:buSzPct val="100000"/>
              <a:buFontTx/>
              <a:buChar char="•"/>
              <a:tabLst/>
              <a:defRPr/>
            </a:pPr>
            <a:r>
              <a:rPr kumimoji="0" lang="en-US" sz="1000" b="0" i="0" u="none" strike="noStrike" kern="0" cap="none" spc="0" normalizeH="0" baseline="0" noProof="0" dirty="0">
                <a:ln>
                  <a:noFill/>
                </a:ln>
                <a:solidFill>
                  <a:sysClr val="windowText" lastClr="000000"/>
                </a:solidFill>
                <a:effectLst/>
                <a:uLnTx/>
                <a:uFillTx/>
                <a:latin typeface="Graphik"/>
                <a:ea typeface="+mn-ea"/>
                <a:cs typeface="+mn-cs"/>
              </a:rPr>
              <a:t>Accenture to play PMO and system integrator role</a:t>
            </a:r>
          </a:p>
          <a:p>
            <a:pPr marL="101600" marR="0" lvl="0" indent="-101600" algn="l" defTabSz="914400" rtl="0" eaLnBrk="1" fontAlgn="auto" latinLnBrk="0" hangingPunct="1">
              <a:lnSpc>
                <a:spcPct val="100000"/>
              </a:lnSpc>
              <a:spcBef>
                <a:spcPts val="0"/>
              </a:spcBef>
              <a:spcAft>
                <a:spcPts val="0"/>
              </a:spcAft>
              <a:buClrTx/>
              <a:buSzPct val="120000"/>
              <a:buFontTx/>
              <a:buChar char="•"/>
              <a:tabLst/>
              <a:defRPr/>
            </a:pPr>
            <a:endParaRPr kumimoji="0" lang="en-US" sz="1000" b="0" i="0" u="none" strike="noStrike" kern="0" cap="none" spc="0" normalizeH="0" baseline="0" noProof="0" dirty="0">
              <a:ln>
                <a:noFill/>
              </a:ln>
              <a:solidFill>
                <a:sysClr val="windowText" lastClr="000000"/>
              </a:solidFill>
              <a:effectLst/>
              <a:uLnTx/>
              <a:uFillTx/>
              <a:latin typeface="Graphik"/>
              <a:ea typeface="+mn-ea"/>
              <a:cs typeface="+mn-cs"/>
            </a:endParaRPr>
          </a:p>
        </p:txBody>
      </p:sp>
      <p:cxnSp>
        <p:nvCxnSpPr>
          <p:cNvPr id="17" name="Straight Connector 16">
            <a:extLst>
              <a:ext uri="{FF2B5EF4-FFF2-40B4-BE49-F238E27FC236}">
                <a16:creationId xmlns:a16="http://schemas.microsoft.com/office/drawing/2014/main" id="{624EAABA-8B88-477A-9054-A0C79C70E263}"/>
              </a:ext>
            </a:extLst>
          </p:cNvPr>
          <p:cNvCxnSpPr/>
          <p:nvPr/>
        </p:nvCxnSpPr>
        <p:spPr bwMode="auto">
          <a:xfrm>
            <a:off x="1976109" y="5875816"/>
            <a:ext cx="8252469" cy="0"/>
          </a:xfrm>
          <a:prstGeom prst="line">
            <a:avLst/>
          </a:prstGeom>
          <a:noFill/>
          <a:ln w="19050" cap="flat" cmpd="sng" algn="ctr">
            <a:solidFill>
              <a:srgbClr val="DCAFFF"/>
            </a:solidFill>
            <a:prstDash val="solid"/>
          </a:ln>
          <a:effectLst/>
        </p:spPr>
      </p:cxnSp>
      <p:sp>
        <p:nvSpPr>
          <p:cNvPr id="18" name="TextBox 17">
            <a:extLst>
              <a:ext uri="{FF2B5EF4-FFF2-40B4-BE49-F238E27FC236}">
                <a16:creationId xmlns:a16="http://schemas.microsoft.com/office/drawing/2014/main" id="{C21A9298-5BB9-4682-9015-5F97A464AE6D}"/>
              </a:ext>
            </a:extLst>
          </p:cNvPr>
          <p:cNvSpPr txBox="1"/>
          <p:nvPr/>
        </p:nvSpPr>
        <p:spPr bwMode="auto">
          <a:xfrm>
            <a:off x="1976109" y="5920419"/>
            <a:ext cx="1480469"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Key Milestones</a:t>
            </a:r>
          </a:p>
        </p:txBody>
      </p:sp>
      <p:sp>
        <p:nvSpPr>
          <p:cNvPr id="19" name="Isosceles Triangle 18">
            <a:extLst>
              <a:ext uri="{FF2B5EF4-FFF2-40B4-BE49-F238E27FC236}">
                <a16:creationId xmlns:a16="http://schemas.microsoft.com/office/drawing/2014/main" id="{AE89B802-752D-48FB-9EBC-C08388AE1E86}"/>
              </a:ext>
            </a:extLst>
          </p:cNvPr>
          <p:cNvSpPr/>
          <p:nvPr/>
        </p:nvSpPr>
        <p:spPr bwMode="auto">
          <a:xfrm>
            <a:off x="4591351" y="5928234"/>
            <a:ext cx="165062" cy="165062"/>
          </a:xfrm>
          <a:prstGeom prst="triangle">
            <a:avLst/>
          </a:prstGeom>
          <a:solidFill>
            <a:srgbClr val="96968C"/>
          </a:solidFill>
          <a:ln w="63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C9582811-C99C-4D9E-A134-4B58A09B0C2D}"/>
              </a:ext>
            </a:extLst>
          </p:cNvPr>
          <p:cNvSpPr txBox="1"/>
          <p:nvPr/>
        </p:nvSpPr>
        <p:spPr bwMode="auto">
          <a:xfrm>
            <a:off x="4001170" y="6109556"/>
            <a:ext cx="143714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Quick win implementation complete</a:t>
            </a:r>
          </a:p>
        </p:txBody>
      </p:sp>
      <p:sp>
        <p:nvSpPr>
          <p:cNvPr id="21" name="Isosceles Triangle 20">
            <a:extLst>
              <a:ext uri="{FF2B5EF4-FFF2-40B4-BE49-F238E27FC236}">
                <a16:creationId xmlns:a16="http://schemas.microsoft.com/office/drawing/2014/main" id="{E2F23A88-9E6D-4EEC-9D91-A42592E50195}"/>
              </a:ext>
            </a:extLst>
          </p:cNvPr>
          <p:cNvSpPr/>
          <p:nvPr/>
        </p:nvSpPr>
        <p:spPr bwMode="auto">
          <a:xfrm>
            <a:off x="9962097" y="5928234"/>
            <a:ext cx="165062" cy="165062"/>
          </a:xfrm>
          <a:prstGeom prst="triangle">
            <a:avLst/>
          </a:prstGeom>
          <a:solidFill>
            <a:srgbClr val="96968C"/>
          </a:solidFill>
          <a:ln w="63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22" name="TextBox 21">
            <a:extLst>
              <a:ext uri="{FF2B5EF4-FFF2-40B4-BE49-F238E27FC236}">
                <a16:creationId xmlns:a16="http://schemas.microsoft.com/office/drawing/2014/main" id="{B57B6E6B-6F07-4930-9131-5D95DDED804A}"/>
              </a:ext>
            </a:extLst>
          </p:cNvPr>
          <p:cNvSpPr txBox="1"/>
          <p:nvPr/>
        </p:nvSpPr>
        <p:spPr bwMode="auto">
          <a:xfrm>
            <a:off x="9273132" y="6109556"/>
            <a:ext cx="121535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New customer care suite completed</a:t>
            </a:r>
          </a:p>
        </p:txBody>
      </p:sp>
      <p:sp>
        <p:nvSpPr>
          <p:cNvPr id="23" name="Isosceles Triangle 22">
            <a:extLst>
              <a:ext uri="{FF2B5EF4-FFF2-40B4-BE49-F238E27FC236}">
                <a16:creationId xmlns:a16="http://schemas.microsoft.com/office/drawing/2014/main" id="{2C1892F3-8E84-485E-B731-7A87C3E052A0}"/>
              </a:ext>
            </a:extLst>
          </p:cNvPr>
          <p:cNvSpPr/>
          <p:nvPr/>
        </p:nvSpPr>
        <p:spPr bwMode="auto">
          <a:xfrm>
            <a:off x="6636220" y="5928234"/>
            <a:ext cx="165062" cy="165062"/>
          </a:xfrm>
          <a:prstGeom prst="triangle">
            <a:avLst/>
          </a:prstGeom>
          <a:solidFill>
            <a:srgbClr val="96968C"/>
          </a:solidFill>
          <a:ln w="63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24" name="TextBox 23">
            <a:extLst>
              <a:ext uri="{FF2B5EF4-FFF2-40B4-BE49-F238E27FC236}">
                <a16:creationId xmlns:a16="http://schemas.microsoft.com/office/drawing/2014/main" id="{CA731FC6-0331-4D6C-8832-CE7886020426}"/>
              </a:ext>
            </a:extLst>
          </p:cNvPr>
          <p:cNvSpPr txBox="1"/>
          <p:nvPr/>
        </p:nvSpPr>
        <p:spPr bwMode="auto">
          <a:xfrm>
            <a:off x="6067384" y="6109556"/>
            <a:ext cx="135752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Self service – </a:t>
            </a:r>
            <a:br>
              <a:rPr kumimoji="0" lang="en-US" sz="1000" b="0" i="0" u="none" strike="noStrike" kern="0" cap="none" spc="0" normalizeH="0" baseline="0" noProof="0" dirty="0">
                <a:ln>
                  <a:noFill/>
                </a:ln>
                <a:solidFill>
                  <a:srgbClr val="000000"/>
                </a:solidFill>
                <a:effectLst/>
                <a:uLnTx/>
                <a:uFillTx/>
                <a:latin typeface="Graphik"/>
                <a:ea typeface="+mn-ea"/>
                <a:cs typeface="+mn-cs"/>
              </a:rPr>
            </a:br>
            <a:r>
              <a:rPr kumimoji="0" lang="en-US" sz="1000" b="0" i="0" u="none" strike="noStrike" kern="0" cap="none" spc="0" normalizeH="0" baseline="0" noProof="0" dirty="0">
                <a:ln>
                  <a:noFill/>
                </a:ln>
                <a:solidFill>
                  <a:srgbClr val="000000"/>
                </a:solidFill>
                <a:effectLst/>
                <a:uLnTx/>
                <a:uFillTx/>
                <a:latin typeface="Graphik"/>
                <a:ea typeface="+mn-ea"/>
                <a:cs typeface="+mn-cs"/>
              </a:rPr>
              <a:t>expected go live date</a:t>
            </a:r>
          </a:p>
        </p:txBody>
      </p:sp>
      <p:sp>
        <p:nvSpPr>
          <p:cNvPr id="25" name="AutoShape 4">
            <a:extLst>
              <a:ext uri="{FF2B5EF4-FFF2-40B4-BE49-F238E27FC236}">
                <a16:creationId xmlns:a16="http://schemas.microsoft.com/office/drawing/2014/main" id="{A887B7F7-C006-44C5-9444-6ED6A34A2F27}"/>
              </a:ext>
            </a:extLst>
          </p:cNvPr>
          <p:cNvSpPr>
            <a:spLocks noChangeArrowheads="1"/>
          </p:cNvSpPr>
          <p:nvPr/>
        </p:nvSpPr>
        <p:spPr bwMode="auto">
          <a:xfrm>
            <a:off x="2242770" y="2017451"/>
            <a:ext cx="2427617" cy="578684"/>
          </a:xfrm>
          <a:prstGeom prst="homePlate">
            <a:avLst>
              <a:gd name="adj" fmla="val 28952"/>
            </a:avLst>
          </a:prstGeom>
          <a:solidFill>
            <a:srgbClr val="A100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Graphik"/>
              <a:ea typeface="+mn-ea"/>
              <a:cs typeface="+mn-cs"/>
            </a:endParaRPr>
          </a:p>
        </p:txBody>
      </p:sp>
      <p:sp>
        <p:nvSpPr>
          <p:cNvPr id="26" name="TextBox 25">
            <a:extLst>
              <a:ext uri="{FF2B5EF4-FFF2-40B4-BE49-F238E27FC236}">
                <a16:creationId xmlns:a16="http://schemas.microsoft.com/office/drawing/2014/main" id="{43F397FF-A0AA-454D-9F7D-47EFC58747D4}"/>
              </a:ext>
            </a:extLst>
          </p:cNvPr>
          <p:cNvSpPr txBox="1"/>
          <p:nvPr/>
        </p:nvSpPr>
        <p:spPr bwMode="auto">
          <a:xfrm>
            <a:off x="2550486" y="2131731"/>
            <a:ext cx="1224694"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Graphik"/>
                <a:ea typeface="+mn-ea"/>
                <a:cs typeface="+mn-cs"/>
              </a:rPr>
              <a:t>Process Modifications</a:t>
            </a:r>
          </a:p>
        </p:txBody>
      </p:sp>
      <p:grpSp>
        <p:nvGrpSpPr>
          <p:cNvPr id="27" name="Group 26">
            <a:extLst>
              <a:ext uri="{FF2B5EF4-FFF2-40B4-BE49-F238E27FC236}">
                <a16:creationId xmlns:a16="http://schemas.microsoft.com/office/drawing/2014/main" id="{A138FA9A-0A73-4464-895D-30C3948A4060}"/>
              </a:ext>
            </a:extLst>
          </p:cNvPr>
          <p:cNvGrpSpPr/>
          <p:nvPr/>
        </p:nvGrpSpPr>
        <p:grpSpPr bwMode="auto">
          <a:xfrm>
            <a:off x="2343348" y="2362399"/>
            <a:ext cx="2078723" cy="163547"/>
            <a:chOff x="3535453" y="2766749"/>
            <a:chExt cx="1824132" cy="163548"/>
          </a:xfrm>
        </p:grpSpPr>
        <p:sp>
          <p:nvSpPr>
            <p:cNvPr id="28" name="AutoShape 4">
              <a:extLst>
                <a:ext uri="{FF2B5EF4-FFF2-40B4-BE49-F238E27FC236}">
                  <a16:creationId xmlns:a16="http://schemas.microsoft.com/office/drawing/2014/main" id="{0D699616-1916-498E-A3E5-AFD8AD362067}"/>
                </a:ext>
              </a:extLst>
            </p:cNvPr>
            <p:cNvSpPr>
              <a:spLocks noChangeArrowheads="1"/>
            </p:cNvSpPr>
            <p:nvPr/>
          </p:nvSpPr>
          <p:spPr bwMode="auto">
            <a:xfrm>
              <a:off x="3535453" y="2766751"/>
              <a:ext cx="594546" cy="163546"/>
            </a:xfrm>
            <a:prstGeom prst="homePlate">
              <a:avLst>
                <a:gd name="adj" fmla="val 28952"/>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Design</a:t>
              </a:r>
              <a:endParaRPr kumimoji="0" lang="en-US" sz="900" b="0" i="0" u="none" strike="noStrike" kern="0" cap="none" spc="0" normalizeH="0" baseline="0" noProof="0" dirty="0">
                <a:ln>
                  <a:noFill/>
                </a:ln>
                <a:solidFill>
                  <a:srgbClr val="000000"/>
                </a:solidFill>
                <a:effectLst/>
                <a:uLnTx/>
                <a:uFillTx/>
                <a:latin typeface="Arial"/>
                <a:ea typeface="+mn-ea"/>
                <a:cs typeface="+mn-cs"/>
              </a:endParaRPr>
            </a:p>
          </p:txBody>
        </p:sp>
        <p:sp>
          <p:nvSpPr>
            <p:cNvPr id="29" name="AutoShape 4">
              <a:extLst>
                <a:ext uri="{FF2B5EF4-FFF2-40B4-BE49-F238E27FC236}">
                  <a16:creationId xmlns:a16="http://schemas.microsoft.com/office/drawing/2014/main" id="{A072A489-C62C-4429-A318-B3D1C8C5E479}"/>
                </a:ext>
              </a:extLst>
            </p:cNvPr>
            <p:cNvSpPr>
              <a:spLocks noChangeArrowheads="1"/>
            </p:cNvSpPr>
            <p:nvPr/>
          </p:nvSpPr>
          <p:spPr bwMode="auto">
            <a:xfrm>
              <a:off x="4146857"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rain</a:t>
              </a:r>
            </a:p>
          </p:txBody>
        </p:sp>
        <p:sp>
          <p:nvSpPr>
            <p:cNvPr id="30" name="AutoShape 4">
              <a:extLst>
                <a:ext uri="{FF2B5EF4-FFF2-40B4-BE49-F238E27FC236}">
                  <a16:creationId xmlns:a16="http://schemas.microsoft.com/office/drawing/2014/main" id="{E16726D5-C1D6-4577-8E89-6A23F459BEC9}"/>
                </a:ext>
              </a:extLst>
            </p:cNvPr>
            <p:cNvSpPr>
              <a:spLocks noChangeArrowheads="1"/>
            </p:cNvSpPr>
            <p:nvPr/>
          </p:nvSpPr>
          <p:spPr bwMode="auto">
            <a:xfrm>
              <a:off x="4765039"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Deploy</a:t>
              </a:r>
            </a:p>
          </p:txBody>
        </p:sp>
      </p:grpSp>
      <p:sp>
        <p:nvSpPr>
          <p:cNvPr id="31" name="AutoShape 4">
            <a:extLst>
              <a:ext uri="{FF2B5EF4-FFF2-40B4-BE49-F238E27FC236}">
                <a16:creationId xmlns:a16="http://schemas.microsoft.com/office/drawing/2014/main" id="{E9B2AFA6-58C0-4D2D-B412-C39FFBB2FB65}"/>
              </a:ext>
            </a:extLst>
          </p:cNvPr>
          <p:cNvSpPr>
            <a:spLocks noChangeArrowheads="1"/>
          </p:cNvSpPr>
          <p:nvPr/>
        </p:nvSpPr>
        <p:spPr bwMode="auto">
          <a:xfrm>
            <a:off x="2231406" y="2888644"/>
            <a:ext cx="2427617" cy="578684"/>
          </a:xfrm>
          <a:prstGeom prst="homePlate">
            <a:avLst>
              <a:gd name="adj" fmla="val 28952"/>
            </a:avLst>
          </a:prstGeom>
          <a:solidFill>
            <a:srgbClr val="A100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Graphik"/>
              <a:ea typeface="+mn-ea"/>
              <a:cs typeface="+mn-cs"/>
            </a:endParaRPr>
          </a:p>
        </p:txBody>
      </p:sp>
      <p:sp>
        <p:nvSpPr>
          <p:cNvPr id="32" name="TextBox 31">
            <a:extLst>
              <a:ext uri="{FF2B5EF4-FFF2-40B4-BE49-F238E27FC236}">
                <a16:creationId xmlns:a16="http://schemas.microsoft.com/office/drawing/2014/main" id="{4EFDAF76-DFE1-4B06-BFCF-18F2F26102B5}"/>
              </a:ext>
            </a:extLst>
          </p:cNvPr>
          <p:cNvSpPr txBox="1"/>
          <p:nvPr/>
        </p:nvSpPr>
        <p:spPr bwMode="auto">
          <a:xfrm>
            <a:off x="2560388" y="2992331"/>
            <a:ext cx="1436291"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Graphik"/>
                <a:ea typeface="+mn-ea"/>
                <a:cs typeface="+mn-cs"/>
              </a:rPr>
              <a:t>Voice of Customer Survey</a:t>
            </a:r>
          </a:p>
        </p:txBody>
      </p:sp>
      <p:grpSp>
        <p:nvGrpSpPr>
          <p:cNvPr id="33" name="Group 106">
            <a:extLst>
              <a:ext uri="{FF2B5EF4-FFF2-40B4-BE49-F238E27FC236}">
                <a16:creationId xmlns:a16="http://schemas.microsoft.com/office/drawing/2014/main" id="{A85598C9-0464-4248-B2B2-621A196EEE05}"/>
              </a:ext>
            </a:extLst>
          </p:cNvPr>
          <p:cNvGrpSpPr/>
          <p:nvPr/>
        </p:nvGrpSpPr>
        <p:grpSpPr bwMode="auto">
          <a:xfrm>
            <a:off x="2331984" y="3233592"/>
            <a:ext cx="2078723" cy="163547"/>
            <a:chOff x="3535453" y="2766749"/>
            <a:chExt cx="1824132" cy="163548"/>
          </a:xfrm>
        </p:grpSpPr>
        <p:sp>
          <p:nvSpPr>
            <p:cNvPr id="34" name="AutoShape 4">
              <a:extLst>
                <a:ext uri="{FF2B5EF4-FFF2-40B4-BE49-F238E27FC236}">
                  <a16:creationId xmlns:a16="http://schemas.microsoft.com/office/drawing/2014/main" id="{901EA80B-AA15-4D55-9FB4-E8C393AAC15C}"/>
                </a:ext>
              </a:extLst>
            </p:cNvPr>
            <p:cNvSpPr>
              <a:spLocks noChangeArrowheads="1"/>
            </p:cNvSpPr>
            <p:nvPr/>
          </p:nvSpPr>
          <p:spPr bwMode="auto">
            <a:xfrm>
              <a:off x="3535453" y="2766751"/>
              <a:ext cx="594546" cy="163546"/>
            </a:xfrm>
            <a:prstGeom prst="homePlate">
              <a:avLst>
                <a:gd name="adj" fmla="val 28952"/>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Design</a:t>
              </a:r>
              <a:endParaRPr kumimoji="0" lang="en-US" sz="900" b="0" i="0" u="none" strike="noStrike" kern="0" cap="none" spc="0" normalizeH="0" baseline="0" noProof="0" dirty="0">
                <a:ln>
                  <a:noFill/>
                </a:ln>
                <a:solidFill>
                  <a:srgbClr val="000000"/>
                </a:solidFill>
                <a:effectLst/>
                <a:uLnTx/>
                <a:uFillTx/>
                <a:latin typeface="Arial"/>
                <a:ea typeface="+mn-ea"/>
                <a:cs typeface="+mn-cs"/>
              </a:endParaRPr>
            </a:p>
          </p:txBody>
        </p:sp>
        <p:sp>
          <p:nvSpPr>
            <p:cNvPr id="35" name="AutoShape 4">
              <a:extLst>
                <a:ext uri="{FF2B5EF4-FFF2-40B4-BE49-F238E27FC236}">
                  <a16:creationId xmlns:a16="http://schemas.microsoft.com/office/drawing/2014/main" id="{625EC702-2BD4-4DC0-B679-71375223AC3D}"/>
                </a:ext>
              </a:extLst>
            </p:cNvPr>
            <p:cNvSpPr>
              <a:spLocks noChangeArrowheads="1"/>
            </p:cNvSpPr>
            <p:nvPr/>
          </p:nvSpPr>
          <p:spPr bwMode="auto">
            <a:xfrm>
              <a:off x="4146857"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Survey</a:t>
              </a:r>
            </a:p>
          </p:txBody>
        </p:sp>
        <p:sp>
          <p:nvSpPr>
            <p:cNvPr id="36" name="AutoShape 4">
              <a:extLst>
                <a:ext uri="{FF2B5EF4-FFF2-40B4-BE49-F238E27FC236}">
                  <a16:creationId xmlns:a16="http://schemas.microsoft.com/office/drawing/2014/main" id="{1289E7DD-102C-4ED5-8565-F0B84F8690E5}"/>
                </a:ext>
              </a:extLst>
            </p:cNvPr>
            <p:cNvSpPr>
              <a:spLocks noChangeArrowheads="1"/>
            </p:cNvSpPr>
            <p:nvPr/>
          </p:nvSpPr>
          <p:spPr bwMode="auto">
            <a:xfrm>
              <a:off x="4765039"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Analyze</a:t>
              </a:r>
            </a:p>
          </p:txBody>
        </p:sp>
      </p:grpSp>
      <p:sp>
        <p:nvSpPr>
          <p:cNvPr id="37" name="AutoShape 4">
            <a:extLst>
              <a:ext uri="{FF2B5EF4-FFF2-40B4-BE49-F238E27FC236}">
                <a16:creationId xmlns:a16="http://schemas.microsoft.com/office/drawing/2014/main" id="{A2F16DE3-B8C6-44E6-95C1-99CF200AE5C4}"/>
              </a:ext>
            </a:extLst>
          </p:cNvPr>
          <p:cNvSpPr>
            <a:spLocks noChangeArrowheads="1"/>
          </p:cNvSpPr>
          <p:nvPr/>
        </p:nvSpPr>
        <p:spPr bwMode="auto">
          <a:xfrm>
            <a:off x="2985363" y="3890448"/>
            <a:ext cx="3577331" cy="578684"/>
          </a:xfrm>
          <a:prstGeom prst="homePlate">
            <a:avLst>
              <a:gd name="adj" fmla="val 28952"/>
            </a:avLst>
          </a:prstGeom>
          <a:solidFill>
            <a:srgbClr val="B455AA">
              <a:lumMod val="40000"/>
              <a:lumOff val="60000"/>
            </a:srgbClr>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Graphik"/>
              <a:ea typeface="+mn-ea"/>
              <a:cs typeface="+mn-cs"/>
            </a:endParaRPr>
          </a:p>
        </p:txBody>
      </p:sp>
      <p:sp>
        <p:nvSpPr>
          <p:cNvPr id="38" name="TextBox 37">
            <a:extLst>
              <a:ext uri="{FF2B5EF4-FFF2-40B4-BE49-F238E27FC236}">
                <a16:creationId xmlns:a16="http://schemas.microsoft.com/office/drawing/2014/main" id="{1BE03F81-B9E3-4A3C-864D-2D57DBC5F38C}"/>
              </a:ext>
            </a:extLst>
          </p:cNvPr>
          <p:cNvSpPr txBox="1"/>
          <p:nvPr/>
        </p:nvSpPr>
        <p:spPr bwMode="auto">
          <a:xfrm>
            <a:off x="3307937" y="3994135"/>
            <a:ext cx="1359346"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Graphik"/>
                <a:ea typeface="+mn-ea"/>
                <a:cs typeface="+mn-cs"/>
              </a:rPr>
              <a:t>Web based Self Services</a:t>
            </a:r>
          </a:p>
        </p:txBody>
      </p:sp>
      <p:grpSp>
        <p:nvGrpSpPr>
          <p:cNvPr id="39" name="Group 116">
            <a:extLst>
              <a:ext uri="{FF2B5EF4-FFF2-40B4-BE49-F238E27FC236}">
                <a16:creationId xmlns:a16="http://schemas.microsoft.com/office/drawing/2014/main" id="{284A227D-A1BD-443E-BCA5-8ED6B38FFEDC}"/>
              </a:ext>
            </a:extLst>
          </p:cNvPr>
          <p:cNvGrpSpPr/>
          <p:nvPr/>
        </p:nvGrpSpPr>
        <p:grpSpPr bwMode="auto">
          <a:xfrm>
            <a:off x="3085941" y="4235396"/>
            <a:ext cx="3273195" cy="163546"/>
            <a:chOff x="3535453" y="2766749"/>
            <a:chExt cx="1824132" cy="163548"/>
          </a:xfrm>
        </p:grpSpPr>
        <p:sp>
          <p:nvSpPr>
            <p:cNvPr id="40" name="AutoShape 4">
              <a:extLst>
                <a:ext uri="{FF2B5EF4-FFF2-40B4-BE49-F238E27FC236}">
                  <a16:creationId xmlns:a16="http://schemas.microsoft.com/office/drawing/2014/main" id="{9C6A6B18-4E22-4D28-AC3C-D6EA6979FF60}"/>
                </a:ext>
              </a:extLst>
            </p:cNvPr>
            <p:cNvSpPr>
              <a:spLocks noChangeArrowheads="1"/>
            </p:cNvSpPr>
            <p:nvPr/>
          </p:nvSpPr>
          <p:spPr bwMode="auto">
            <a:xfrm>
              <a:off x="3535453" y="2766751"/>
              <a:ext cx="594546" cy="163546"/>
            </a:xfrm>
            <a:prstGeom prst="homePlate">
              <a:avLst>
                <a:gd name="adj" fmla="val 28952"/>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Design</a:t>
              </a:r>
              <a:endParaRPr kumimoji="0" lang="en-US" sz="900" b="0" i="0" u="none" strike="noStrike" kern="0" cap="none" spc="0" normalizeH="0" baseline="0" noProof="0" dirty="0">
                <a:ln>
                  <a:noFill/>
                </a:ln>
                <a:solidFill>
                  <a:srgbClr val="000000"/>
                </a:solidFill>
                <a:effectLst/>
                <a:uLnTx/>
                <a:uFillTx/>
                <a:latin typeface="Arial"/>
                <a:ea typeface="+mn-ea"/>
                <a:cs typeface="+mn-cs"/>
              </a:endParaRPr>
            </a:p>
          </p:txBody>
        </p:sp>
        <p:sp>
          <p:nvSpPr>
            <p:cNvPr id="41" name="AutoShape 4">
              <a:extLst>
                <a:ext uri="{FF2B5EF4-FFF2-40B4-BE49-F238E27FC236}">
                  <a16:creationId xmlns:a16="http://schemas.microsoft.com/office/drawing/2014/main" id="{AA84B753-F029-416A-9352-6B1437DA213F}"/>
                </a:ext>
              </a:extLst>
            </p:cNvPr>
            <p:cNvSpPr>
              <a:spLocks noChangeArrowheads="1"/>
            </p:cNvSpPr>
            <p:nvPr/>
          </p:nvSpPr>
          <p:spPr bwMode="auto">
            <a:xfrm>
              <a:off x="4146857"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Develop</a:t>
              </a:r>
            </a:p>
          </p:txBody>
        </p:sp>
        <p:sp>
          <p:nvSpPr>
            <p:cNvPr id="42" name="AutoShape 4">
              <a:extLst>
                <a:ext uri="{FF2B5EF4-FFF2-40B4-BE49-F238E27FC236}">
                  <a16:creationId xmlns:a16="http://schemas.microsoft.com/office/drawing/2014/main" id="{67B8C147-ED26-4934-8A3C-2F3160A0A61B}"/>
                </a:ext>
              </a:extLst>
            </p:cNvPr>
            <p:cNvSpPr>
              <a:spLocks noChangeArrowheads="1"/>
            </p:cNvSpPr>
            <p:nvPr/>
          </p:nvSpPr>
          <p:spPr bwMode="auto">
            <a:xfrm>
              <a:off x="4765039"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Go Live</a:t>
              </a:r>
            </a:p>
          </p:txBody>
        </p:sp>
      </p:grpSp>
      <p:sp>
        <p:nvSpPr>
          <p:cNvPr id="43" name="AutoShape 4">
            <a:extLst>
              <a:ext uri="{FF2B5EF4-FFF2-40B4-BE49-F238E27FC236}">
                <a16:creationId xmlns:a16="http://schemas.microsoft.com/office/drawing/2014/main" id="{2F41D00C-9284-4A67-8177-0BED82F3E308}"/>
              </a:ext>
            </a:extLst>
          </p:cNvPr>
          <p:cNvSpPr>
            <a:spLocks noChangeArrowheads="1"/>
          </p:cNvSpPr>
          <p:nvPr/>
        </p:nvSpPr>
        <p:spPr bwMode="auto">
          <a:xfrm>
            <a:off x="5035800" y="5040512"/>
            <a:ext cx="3577331" cy="578684"/>
          </a:xfrm>
          <a:prstGeom prst="homePlate">
            <a:avLst>
              <a:gd name="adj" fmla="val 28952"/>
            </a:avLst>
          </a:prstGeom>
          <a:solidFill>
            <a:srgbClr val="B455AA"/>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Graphik"/>
              <a:ea typeface="+mn-ea"/>
              <a:cs typeface="+mn-cs"/>
            </a:endParaRPr>
          </a:p>
        </p:txBody>
      </p:sp>
      <p:sp>
        <p:nvSpPr>
          <p:cNvPr id="44" name="TextBox 43">
            <a:extLst>
              <a:ext uri="{FF2B5EF4-FFF2-40B4-BE49-F238E27FC236}">
                <a16:creationId xmlns:a16="http://schemas.microsoft.com/office/drawing/2014/main" id="{7ADC0C34-D343-40D8-918B-5D2CB4A930C2}"/>
              </a:ext>
            </a:extLst>
          </p:cNvPr>
          <p:cNvSpPr txBox="1"/>
          <p:nvPr/>
        </p:nvSpPr>
        <p:spPr bwMode="auto">
          <a:xfrm>
            <a:off x="5358375" y="5144199"/>
            <a:ext cx="2840521"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900" b="1" i="0" u="none" strike="noStrike" kern="0" cap="none" spc="0" normalizeH="0" baseline="0" noProof="0" dirty="0">
                <a:ln>
                  <a:noFill/>
                </a:ln>
                <a:solidFill>
                  <a:prstClr val="white"/>
                </a:solidFill>
                <a:effectLst/>
                <a:uLnTx/>
                <a:uFillTx/>
                <a:latin typeface="Graphik"/>
                <a:ea typeface="+mn-ea"/>
                <a:cs typeface="+mn-cs"/>
              </a:rPr>
              <a:t>System enhancement for payment and alert options</a:t>
            </a:r>
            <a:br>
              <a:rPr kumimoji="0" lang="en-IE" sz="900" b="1" i="0" u="none" strike="noStrike" kern="0" cap="none" spc="0" normalizeH="0" baseline="0" noProof="0" dirty="0">
                <a:ln>
                  <a:noFill/>
                </a:ln>
                <a:solidFill>
                  <a:prstClr val="white"/>
                </a:solidFill>
                <a:effectLst/>
                <a:uLnTx/>
                <a:uFillTx/>
                <a:latin typeface="Graphik"/>
                <a:ea typeface="+mn-ea"/>
                <a:cs typeface="+mn-cs"/>
              </a:rPr>
            </a:br>
            <a:endParaRPr kumimoji="0" lang="en-IE" sz="900" b="1" i="0" u="none" strike="noStrike" kern="0" cap="none" spc="0" normalizeH="0" baseline="0" noProof="0" dirty="0">
              <a:ln>
                <a:noFill/>
              </a:ln>
              <a:solidFill>
                <a:prstClr val="white"/>
              </a:solidFill>
              <a:effectLst/>
              <a:uLnTx/>
              <a:uFillTx/>
              <a:latin typeface="Graphik"/>
              <a:ea typeface="+mn-ea"/>
              <a:cs typeface="+mn-cs"/>
            </a:endParaRPr>
          </a:p>
        </p:txBody>
      </p:sp>
      <p:grpSp>
        <p:nvGrpSpPr>
          <p:cNvPr id="45" name="Group 124">
            <a:extLst>
              <a:ext uri="{FF2B5EF4-FFF2-40B4-BE49-F238E27FC236}">
                <a16:creationId xmlns:a16="http://schemas.microsoft.com/office/drawing/2014/main" id="{B8604064-21A5-4613-94E6-3A4E8FEEB2BD}"/>
              </a:ext>
            </a:extLst>
          </p:cNvPr>
          <p:cNvGrpSpPr/>
          <p:nvPr/>
        </p:nvGrpSpPr>
        <p:grpSpPr bwMode="auto">
          <a:xfrm>
            <a:off x="5136378" y="5385460"/>
            <a:ext cx="3273195" cy="163546"/>
            <a:chOff x="3535453" y="2766749"/>
            <a:chExt cx="1824132" cy="163548"/>
          </a:xfrm>
        </p:grpSpPr>
        <p:sp>
          <p:nvSpPr>
            <p:cNvPr id="46" name="AutoShape 4">
              <a:extLst>
                <a:ext uri="{FF2B5EF4-FFF2-40B4-BE49-F238E27FC236}">
                  <a16:creationId xmlns:a16="http://schemas.microsoft.com/office/drawing/2014/main" id="{3628DE46-9917-4AC7-8113-B5901E17FD2A}"/>
                </a:ext>
              </a:extLst>
            </p:cNvPr>
            <p:cNvSpPr>
              <a:spLocks noChangeArrowheads="1"/>
            </p:cNvSpPr>
            <p:nvPr/>
          </p:nvSpPr>
          <p:spPr bwMode="auto">
            <a:xfrm>
              <a:off x="3535453" y="2766751"/>
              <a:ext cx="594546" cy="163546"/>
            </a:xfrm>
            <a:prstGeom prst="homePlate">
              <a:avLst>
                <a:gd name="adj" fmla="val 28952"/>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Design</a:t>
              </a:r>
              <a:endParaRPr kumimoji="0" lang="en-US" sz="900" b="0" i="0" u="none" strike="noStrike" kern="0" cap="none" spc="0" normalizeH="0" baseline="0" noProof="0" dirty="0">
                <a:ln>
                  <a:noFill/>
                </a:ln>
                <a:solidFill>
                  <a:srgbClr val="000000"/>
                </a:solidFill>
                <a:effectLst/>
                <a:uLnTx/>
                <a:uFillTx/>
                <a:latin typeface="Arial"/>
                <a:ea typeface="+mn-ea"/>
                <a:cs typeface="+mn-cs"/>
              </a:endParaRPr>
            </a:p>
          </p:txBody>
        </p:sp>
        <p:sp>
          <p:nvSpPr>
            <p:cNvPr id="47" name="AutoShape 4">
              <a:extLst>
                <a:ext uri="{FF2B5EF4-FFF2-40B4-BE49-F238E27FC236}">
                  <a16:creationId xmlns:a16="http://schemas.microsoft.com/office/drawing/2014/main" id="{8DD98F8A-3218-4A6B-AA53-F4AD823FFA68}"/>
                </a:ext>
              </a:extLst>
            </p:cNvPr>
            <p:cNvSpPr>
              <a:spLocks noChangeArrowheads="1"/>
            </p:cNvSpPr>
            <p:nvPr/>
          </p:nvSpPr>
          <p:spPr bwMode="auto">
            <a:xfrm>
              <a:off x="4146857"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Develop</a:t>
              </a:r>
            </a:p>
          </p:txBody>
        </p:sp>
        <p:sp>
          <p:nvSpPr>
            <p:cNvPr id="48" name="AutoShape 4">
              <a:extLst>
                <a:ext uri="{FF2B5EF4-FFF2-40B4-BE49-F238E27FC236}">
                  <a16:creationId xmlns:a16="http://schemas.microsoft.com/office/drawing/2014/main" id="{6CC86210-F7EC-4DED-A949-C48BD5CE352F}"/>
                </a:ext>
              </a:extLst>
            </p:cNvPr>
            <p:cNvSpPr>
              <a:spLocks noChangeArrowheads="1"/>
            </p:cNvSpPr>
            <p:nvPr/>
          </p:nvSpPr>
          <p:spPr bwMode="auto">
            <a:xfrm>
              <a:off x="4765039" y="2766749"/>
              <a:ext cx="594546" cy="163547"/>
            </a:xfrm>
            <a:prstGeom prst="chevron">
              <a:avLst>
                <a:gd name="adj" fmla="val 27844"/>
              </a:avLst>
            </a:prstGeom>
            <a:solidFill>
              <a:srgbClr val="FFFFFF"/>
            </a:solidFill>
            <a:ln w="19050" cmpd="sng">
              <a:solidFill>
                <a:srgbClr val="FFFFFF"/>
              </a:solidFill>
              <a:miter lim="800000"/>
              <a:headEnd/>
              <a:tailEnd/>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Go Live</a:t>
              </a:r>
            </a:p>
          </p:txBody>
        </p:sp>
      </p:grpSp>
      <p:grpSp>
        <p:nvGrpSpPr>
          <p:cNvPr id="49" name="Group 134">
            <a:extLst>
              <a:ext uri="{FF2B5EF4-FFF2-40B4-BE49-F238E27FC236}">
                <a16:creationId xmlns:a16="http://schemas.microsoft.com/office/drawing/2014/main" id="{5CEF723E-941C-4601-9C33-A325407F03A3}"/>
              </a:ext>
            </a:extLst>
          </p:cNvPr>
          <p:cNvGrpSpPr/>
          <p:nvPr>
            <p:custDataLst>
              <p:tags r:id="rId1"/>
            </p:custDataLst>
          </p:nvPr>
        </p:nvGrpSpPr>
        <p:grpSpPr bwMode="auto">
          <a:xfrm>
            <a:off x="9273132" y="512677"/>
            <a:ext cx="894476" cy="481687"/>
            <a:chOff x="7792324" y="1498600"/>
            <a:chExt cx="894476" cy="481687"/>
          </a:xfrm>
        </p:grpSpPr>
        <p:sp>
          <p:nvSpPr>
            <p:cNvPr id="50" name="TextBox 49">
              <a:extLst>
                <a:ext uri="{FF2B5EF4-FFF2-40B4-BE49-F238E27FC236}">
                  <a16:creationId xmlns:a16="http://schemas.microsoft.com/office/drawing/2014/main" id="{D35F22A2-45DE-49C1-826C-679E6A066E9B}"/>
                </a:ext>
              </a:extLst>
            </p:cNvPr>
            <p:cNvSpPr txBox="1"/>
            <p:nvPr/>
          </p:nvSpPr>
          <p:spPr bwMode="auto">
            <a:xfrm>
              <a:off x="7792324" y="1524000"/>
              <a:ext cx="894476" cy="430887"/>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Illustr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Contents</a:t>
              </a:r>
            </a:p>
          </p:txBody>
        </p:sp>
        <p:cxnSp>
          <p:nvCxnSpPr>
            <p:cNvPr id="51" name="Straight Connector 50">
              <a:extLst>
                <a:ext uri="{FF2B5EF4-FFF2-40B4-BE49-F238E27FC236}">
                  <a16:creationId xmlns:a16="http://schemas.microsoft.com/office/drawing/2014/main" id="{5E820987-DD3D-491B-AABF-86830EC8398D}"/>
                </a:ext>
              </a:extLst>
            </p:cNvPr>
            <p:cNvCxnSpPr/>
            <p:nvPr/>
          </p:nvCxnSpPr>
          <p:spPr bwMode="auto">
            <a:xfrm>
              <a:off x="7792324" y="1498600"/>
              <a:ext cx="894476" cy="0"/>
            </a:xfrm>
            <a:prstGeom prst="line">
              <a:avLst/>
            </a:prstGeom>
            <a:noFill/>
            <a:ln w="12700" cap="flat" cmpd="sng" algn="ctr">
              <a:solidFill>
                <a:srgbClr val="000000"/>
              </a:solidFill>
              <a:prstDash val="solid"/>
              <a:headEnd type="none"/>
              <a:tailEnd type="none"/>
            </a:ln>
            <a:effectLst/>
          </p:spPr>
        </p:cxnSp>
        <p:cxnSp>
          <p:nvCxnSpPr>
            <p:cNvPr id="52" name="Straight Connector 51">
              <a:extLst>
                <a:ext uri="{FF2B5EF4-FFF2-40B4-BE49-F238E27FC236}">
                  <a16:creationId xmlns:a16="http://schemas.microsoft.com/office/drawing/2014/main" id="{9AA629A8-D955-4347-9090-688692675522}"/>
                </a:ext>
              </a:extLst>
            </p:cNvPr>
            <p:cNvCxnSpPr/>
            <p:nvPr/>
          </p:nvCxnSpPr>
          <p:spPr bwMode="auto">
            <a:xfrm>
              <a:off x="7792324" y="1980287"/>
              <a:ext cx="894476" cy="0"/>
            </a:xfrm>
            <a:prstGeom prst="line">
              <a:avLst/>
            </a:prstGeom>
            <a:noFill/>
            <a:ln w="12700" cap="flat" cmpd="sng" algn="ctr">
              <a:solidFill>
                <a:srgbClr val="000000"/>
              </a:solidFill>
              <a:prstDash val="solid"/>
              <a:headEnd type="none"/>
              <a:tailEnd type="none"/>
            </a:ln>
            <a:effectLst/>
          </p:spPr>
        </p:cxnSp>
      </p:grpSp>
      <p:sp>
        <p:nvSpPr>
          <p:cNvPr id="2" name="Rectangle 1">
            <a:hlinkClick r:id="rId4" action="ppaction://hlinksldjump"/>
            <a:extLst>
              <a:ext uri="{FF2B5EF4-FFF2-40B4-BE49-F238E27FC236}">
                <a16:creationId xmlns:a16="http://schemas.microsoft.com/office/drawing/2014/main" id="{FBF02B5F-9DA6-48C1-89C1-2B09D9CF47B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44113792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oject Timelines 3</a:t>
            </a:r>
          </a:p>
        </p:txBody>
      </p:sp>
      <p:sp>
        <p:nvSpPr>
          <p:cNvPr id="5" name="Freeform: Shape 4">
            <a:hlinkClick r:id="rId5"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6" name="Table 5">
            <a:extLst>
              <a:ext uri="{FF2B5EF4-FFF2-40B4-BE49-F238E27FC236}">
                <a16:creationId xmlns:a16="http://schemas.microsoft.com/office/drawing/2014/main" id="{E198DBFA-D8D1-44DA-9F7D-A2A2F0E8C7AC}"/>
              </a:ext>
            </a:extLst>
          </p:cNvPr>
          <p:cNvGraphicFramePr>
            <a:graphicFrameLocks noGrp="1"/>
          </p:cNvGraphicFramePr>
          <p:nvPr>
            <p:extLst>
              <p:ext uri="{D42A27DB-BD31-4B8C-83A1-F6EECF244321}">
                <p14:modId xmlns:p14="http://schemas.microsoft.com/office/powerpoint/2010/main" val="2385626218"/>
              </p:ext>
            </p:extLst>
          </p:nvPr>
        </p:nvGraphicFramePr>
        <p:xfrm>
          <a:off x="1992314" y="5100723"/>
          <a:ext cx="8203443" cy="1219200"/>
        </p:xfrm>
        <a:graphic>
          <a:graphicData uri="http://schemas.openxmlformats.org/drawingml/2006/table">
            <a:tbl>
              <a:tblPr firstRow="1" bandRow="1"/>
              <a:tblGrid>
                <a:gridCol w="2381320">
                  <a:extLst>
                    <a:ext uri="{9D8B030D-6E8A-4147-A177-3AD203B41FA5}">
                      <a16:colId xmlns:a16="http://schemas.microsoft.com/office/drawing/2014/main" val="20000"/>
                    </a:ext>
                  </a:extLst>
                </a:gridCol>
                <a:gridCol w="5822123">
                  <a:extLst>
                    <a:ext uri="{9D8B030D-6E8A-4147-A177-3AD203B41FA5}">
                      <a16:colId xmlns:a16="http://schemas.microsoft.com/office/drawing/2014/main" val="20001"/>
                    </a:ext>
                  </a:extLst>
                </a:gridCol>
              </a:tblGrid>
              <a:tr h="140764">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l"/>
                      <a:r>
                        <a:rPr lang="en-US" sz="1000" dirty="0"/>
                        <a:t>Key Deliverabl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l"/>
                      <a:r>
                        <a:rPr lang="en-US" sz="1000" dirty="0"/>
                        <a:t>Dependenc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100FF"/>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Work Plan</a:t>
                      </a:r>
                      <a:endParaRPr 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A100FF">
                        <a:tint val="40000"/>
                      </a:srgbClr>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A100FF">
                        <a:tint val="40000"/>
                      </a:srgbClr>
                    </a:solidFill>
                  </a:tcPr>
                </a:tc>
                <a:extLst>
                  <a:ext uri="{0D108BD9-81ED-4DB2-BD59-A6C34878D82A}">
                    <a16:rowId xmlns:a16="http://schemas.microsoft.com/office/drawing/2014/main" val="10001"/>
                  </a:ext>
                </a:extLst>
              </a:tr>
              <a:tr h="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Issue Log Template</a:t>
                      </a:r>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20000"/>
                      </a:srgbClr>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20000"/>
                      </a:srgbClr>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Change Impacts List</a:t>
                      </a:r>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40000"/>
                      </a:srgbClr>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40000"/>
                      </a:srgbClr>
                    </a:solidFill>
                  </a:tcPr>
                </a:tc>
                <a:extLst>
                  <a:ext uri="{0D108BD9-81ED-4DB2-BD59-A6C34878D82A}">
                    <a16:rowId xmlns:a16="http://schemas.microsoft.com/office/drawing/2014/main" val="10003"/>
                  </a:ext>
                </a:extLst>
              </a:tr>
              <a:tr h="148615">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Communication Plan</a:t>
                      </a:r>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20000"/>
                      </a:srgbClr>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100FF">
                        <a:tint val="20000"/>
                      </a:srgbClr>
                    </a:solidFill>
                  </a:tcPr>
                </a:tc>
                <a:extLst>
                  <a:ext uri="{0D108BD9-81ED-4DB2-BD59-A6C34878D82A}">
                    <a16:rowId xmlns:a16="http://schemas.microsoft.com/office/drawing/2014/main" val="10004"/>
                  </a:ext>
                </a:extLst>
              </a:tr>
            </a:tbl>
          </a:graphicData>
        </a:graphic>
      </p:graphicFrame>
      <p:sp>
        <p:nvSpPr>
          <p:cNvPr id="7" name="Rectangle 90">
            <a:extLst>
              <a:ext uri="{FF2B5EF4-FFF2-40B4-BE49-F238E27FC236}">
                <a16:creationId xmlns:a16="http://schemas.microsoft.com/office/drawing/2014/main" id="{4093FF5F-46C8-4B3E-9154-584FBEDA7A27}"/>
              </a:ext>
            </a:extLst>
          </p:cNvPr>
          <p:cNvSpPr>
            <a:spLocks noChangeArrowheads="1"/>
          </p:cNvSpPr>
          <p:nvPr/>
        </p:nvSpPr>
        <p:spPr bwMode="auto">
          <a:xfrm>
            <a:off x="8194058" y="4374848"/>
            <a:ext cx="1258152"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Metrics Development</a:t>
            </a:r>
          </a:p>
        </p:txBody>
      </p:sp>
      <p:pic>
        <p:nvPicPr>
          <p:cNvPr id="8" name="Picture 3">
            <a:extLst>
              <a:ext uri="{FF2B5EF4-FFF2-40B4-BE49-F238E27FC236}">
                <a16:creationId xmlns:a16="http://schemas.microsoft.com/office/drawing/2014/main" id="{A3B332C4-29C3-4A07-8A71-370017421FED}"/>
              </a:ext>
            </a:extLst>
          </p:cNvPr>
          <p:cNvPicPr>
            <a:picLocks noChangeAspect="1" noChangeArrowheads="1"/>
          </p:cNvPicPr>
          <p:nvPr/>
        </p:nvPicPr>
        <p:blipFill rotWithShape="1">
          <a:blip r:embed="rId6" cstate="print"/>
          <a:srcRect l="2638" t="5662" r="3965" b="3528"/>
          <a:stretch/>
        </p:blipFill>
        <p:spPr bwMode="auto">
          <a:xfrm>
            <a:off x="2027549" y="2200424"/>
            <a:ext cx="2382385" cy="1816419"/>
          </a:xfrm>
          <a:prstGeom prst="rect">
            <a:avLst/>
          </a:prstGeom>
          <a:noFill/>
          <a:ln w="9525">
            <a:noFill/>
            <a:miter lim="800000"/>
            <a:headEnd/>
            <a:tailEnd/>
          </a:ln>
          <a:effectLst/>
        </p:spPr>
      </p:pic>
      <p:sp>
        <p:nvSpPr>
          <p:cNvPr id="9" name="Line 37">
            <a:extLst>
              <a:ext uri="{FF2B5EF4-FFF2-40B4-BE49-F238E27FC236}">
                <a16:creationId xmlns:a16="http://schemas.microsoft.com/office/drawing/2014/main" id="{74876A3F-DE1F-4D31-A630-F77C690F9C9C}"/>
              </a:ext>
            </a:extLst>
          </p:cNvPr>
          <p:cNvSpPr>
            <a:spLocks noChangeShapeType="1"/>
          </p:cNvSpPr>
          <p:nvPr/>
        </p:nvSpPr>
        <p:spPr bwMode="auto">
          <a:xfrm flipV="1">
            <a:off x="2884178" y="1801553"/>
            <a:ext cx="2135629" cy="603720"/>
          </a:xfrm>
          <a:prstGeom prst="line">
            <a:avLst/>
          </a:prstGeom>
          <a:noFill/>
          <a:ln w="6350">
            <a:solidFill>
              <a:srgbClr val="BE82FF"/>
            </a:solidFill>
            <a:prstDash val="dash"/>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Line 38">
            <a:extLst>
              <a:ext uri="{FF2B5EF4-FFF2-40B4-BE49-F238E27FC236}">
                <a16:creationId xmlns:a16="http://schemas.microsoft.com/office/drawing/2014/main" id="{D99DA9B5-743D-42C7-9275-0A9ACEED83A8}"/>
              </a:ext>
            </a:extLst>
          </p:cNvPr>
          <p:cNvSpPr>
            <a:spLocks noChangeShapeType="1"/>
          </p:cNvSpPr>
          <p:nvPr/>
        </p:nvSpPr>
        <p:spPr bwMode="auto">
          <a:xfrm>
            <a:off x="2884178" y="2939283"/>
            <a:ext cx="2135629" cy="2083086"/>
          </a:xfrm>
          <a:prstGeom prst="line">
            <a:avLst/>
          </a:prstGeom>
          <a:noFill/>
          <a:ln w="6350">
            <a:solidFill>
              <a:srgbClr val="BE82FF"/>
            </a:solidFill>
            <a:prstDash val="dash"/>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nvGrpSpPr>
          <p:cNvPr id="11" name="Group 11">
            <a:extLst>
              <a:ext uri="{FF2B5EF4-FFF2-40B4-BE49-F238E27FC236}">
                <a16:creationId xmlns:a16="http://schemas.microsoft.com/office/drawing/2014/main" id="{1F8E78F1-0353-45EE-93B4-DD86913C1014}"/>
              </a:ext>
            </a:extLst>
          </p:cNvPr>
          <p:cNvGrpSpPr/>
          <p:nvPr/>
        </p:nvGrpSpPr>
        <p:grpSpPr bwMode="auto">
          <a:xfrm>
            <a:off x="5951451" y="1716348"/>
            <a:ext cx="3133531" cy="3306023"/>
            <a:chOff x="4427450" y="1607480"/>
            <a:chExt cx="3133531" cy="3440114"/>
          </a:xfrm>
        </p:grpSpPr>
        <p:sp>
          <p:nvSpPr>
            <p:cNvPr id="12" name="Line 41">
              <a:extLst>
                <a:ext uri="{FF2B5EF4-FFF2-40B4-BE49-F238E27FC236}">
                  <a16:creationId xmlns:a16="http://schemas.microsoft.com/office/drawing/2014/main" id="{73617D6C-5B05-4C6A-AD2E-A25CFAB020A8}"/>
                </a:ext>
              </a:extLst>
            </p:cNvPr>
            <p:cNvSpPr>
              <a:spLocks noChangeShapeType="1"/>
            </p:cNvSpPr>
            <p:nvPr/>
          </p:nvSpPr>
          <p:spPr bwMode="auto">
            <a:xfrm>
              <a:off x="4427450" y="1607480"/>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 name="Line 11">
              <a:extLst>
                <a:ext uri="{FF2B5EF4-FFF2-40B4-BE49-F238E27FC236}">
                  <a16:creationId xmlns:a16="http://schemas.microsoft.com/office/drawing/2014/main" id="{F9857F70-A2E8-4EAE-9261-D220795CCA5F}"/>
                </a:ext>
              </a:extLst>
            </p:cNvPr>
            <p:cNvSpPr>
              <a:spLocks noChangeShapeType="1"/>
            </p:cNvSpPr>
            <p:nvPr/>
          </p:nvSpPr>
          <p:spPr bwMode="auto">
            <a:xfrm>
              <a:off x="7560981" y="1607481"/>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4" name="Line 14">
              <a:extLst>
                <a:ext uri="{FF2B5EF4-FFF2-40B4-BE49-F238E27FC236}">
                  <a16:creationId xmlns:a16="http://schemas.microsoft.com/office/drawing/2014/main" id="{E1E69420-BE03-43E9-993A-B6A616A81542}"/>
                </a:ext>
              </a:extLst>
            </p:cNvPr>
            <p:cNvSpPr>
              <a:spLocks noChangeShapeType="1"/>
            </p:cNvSpPr>
            <p:nvPr/>
          </p:nvSpPr>
          <p:spPr bwMode="auto">
            <a:xfrm>
              <a:off x="6780348" y="1607480"/>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 name="Line 12">
              <a:extLst>
                <a:ext uri="{FF2B5EF4-FFF2-40B4-BE49-F238E27FC236}">
                  <a16:creationId xmlns:a16="http://schemas.microsoft.com/office/drawing/2014/main" id="{0DBE76E5-8123-443B-AAE4-2E7F9CE12FEB}"/>
                </a:ext>
              </a:extLst>
            </p:cNvPr>
            <p:cNvSpPr>
              <a:spLocks noChangeShapeType="1"/>
            </p:cNvSpPr>
            <p:nvPr/>
          </p:nvSpPr>
          <p:spPr bwMode="auto">
            <a:xfrm>
              <a:off x="5996048" y="1607480"/>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6" name="Line 13">
              <a:extLst>
                <a:ext uri="{FF2B5EF4-FFF2-40B4-BE49-F238E27FC236}">
                  <a16:creationId xmlns:a16="http://schemas.microsoft.com/office/drawing/2014/main" id="{E262F095-FF5D-4678-B92C-7E80513A326E}"/>
                </a:ext>
              </a:extLst>
            </p:cNvPr>
            <p:cNvSpPr>
              <a:spLocks noChangeShapeType="1"/>
            </p:cNvSpPr>
            <p:nvPr/>
          </p:nvSpPr>
          <p:spPr bwMode="auto">
            <a:xfrm>
              <a:off x="5211749" y="1607480"/>
              <a:ext cx="0" cy="3440113"/>
            </a:xfrm>
            <a:prstGeom prst="line">
              <a:avLst/>
            </a:prstGeom>
            <a:noFill/>
            <a:ln w="6350">
              <a:solidFill>
                <a:srgbClr val="96968C"/>
              </a:solidFill>
              <a:prstDash val="dash"/>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sp>
        <p:nvSpPr>
          <p:cNvPr id="17" name="Text Box 15">
            <a:extLst>
              <a:ext uri="{FF2B5EF4-FFF2-40B4-BE49-F238E27FC236}">
                <a16:creationId xmlns:a16="http://schemas.microsoft.com/office/drawing/2014/main" id="{C78B31CD-67B9-4DE9-ADCB-7B97273751EB}"/>
              </a:ext>
            </a:extLst>
          </p:cNvPr>
          <p:cNvSpPr txBox="1">
            <a:spLocks noChangeArrowheads="1"/>
          </p:cNvSpPr>
          <p:nvPr/>
        </p:nvSpPr>
        <p:spPr bwMode="auto">
          <a:xfrm>
            <a:off x="6474613"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latin typeface="Graphik"/>
                <a:ea typeface="+mn-ea"/>
                <a:cs typeface="Times New Roman" pitchFamily="18" charset="0"/>
              </a:rPr>
              <a:t>02/10</a:t>
            </a:r>
            <a:endParaRPr kumimoji="0" lang="en-US" sz="1000" b="0" i="0" u="none" strike="noStrike" kern="1200" cap="none" spc="0" normalizeH="0" baseline="0" noProof="0" dirty="0">
              <a:ln>
                <a:noFill/>
              </a:ln>
              <a:solidFill>
                <a:srgbClr val="000000"/>
              </a:solidFill>
              <a:effectLst/>
              <a:uLnTx/>
              <a:uFillTx/>
              <a:latin typeface="Graphik"/>
              <a:ea typeface="+mn-ea"/>
              <a:cs typeface="Times New Roman" pitchFamily="18" charset="0"/>
            </a:endParaRPr>
          </a:p>
        </p:txBody>
      </p:sp>
      <p:sp>
        <p:nvSpPr>
          <p:cNvPr id="18" name="Text Box 20">
            <a:extLst>
              <a:ext uri="{FF2B5EF4-FFF2-40B4-BE49-F238E27FC236}">
                <a16:creationId xmlns:a16="http://schemas.microsoft.com/office/drawing/2014/main" id="{4EC80A12-9D0C-4AAD-9078-57DCB9216FAA}"/>
              </a:ext>
            </a:extLst>
          </p:cNvPr>
          <p:cNvSpPr txBox="1">
            <a:spLocks noChangeArrowheads="1"/>
          </p:cNvSpPr>
          <p:nvPr/>
        </p:nvSpPr>
        <p:spPr bwMode="auto">
          <a:xfrm>
            <a:off x="7266701"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latin typeface="Graphik"/>
                <a:ea typeface="+mn-ea"/>
                <a:cs typeface="Times New Roman" pitchFamily="18" charset="0"/>
              </a:rPr>
              <a:t>03/10</a:t>
            </a:r>
            <a:endParaRPr kumimoji="0" lang="en-US" sz="1000" b="0" i="0" u="none" strike="noStrike" kern="1200" cap="none" spc="0" normalizeH="0" baseline="0" noProof="0" dirty="0">
              <a:ln>
                <a:noFill/>
              </a:ln>
              <a:solidFill>
                <a:srgbClr val="000000"/>
              </a:solidFill>
              <a:effectLst/>
              <a:uLnTx/>
              <a:uFillTx/>
              <a:latin typeface="Graphik"/>
              <a:ea typeface="+mn-ea"/>
              <a:cs typeface="Times New Roman" pitchFamily="18" charset="0"/>
            </a:endParaRPr>
          </a:p>
        </p:txBody>
      </p:sp>
      <p:sp>
        <p:nvSpPr>
          <p:cNvPr id="19" name="Text Box 21">
            <a:extLst>
              <a:ext uri="{FF2B5EF4-FFF2-40B4-BE49-F238E27FC236}">
                <a16:creationId xmlns:a16="http://schemas.microsoft.com/office/drawing/2014/main" id="{15197CD3-239A-46B5-9EBE-F5357DAFCBFC}"/>
              </a:ext>
            </a:extLst>
          </p:cNvPr>
          <p:cNvSpPr txBox="1">
            <a:spLocks noChangeArrowheads="1"/>
          </p:cNvSpPr>
          <p:nvPr/>
        </p:nvSpPr>
        <p:spPr bwMode="auto">
          <a:xfrm>
            <a:off x="8044141"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latin typeface="Graphik"/>
                <a:ea typeface="+mn-ea"/>
                <a:cs typeface="Times New Roman" pitchFamily="18" charset="0"/>
              </a:rPr>
              <a:t>04/10</a:t>
            </a:r>
            <a:endParaRPr kumimoji="0" lang="en-US" sz="1000" b="0" i="0" u="none" strike="noStrike" kern="1200" cap="none" spc="0" normalizeH="0" baseline="0" noProof="0" dirty="0">
              <a:ln>
                <a:noFill/>
              </a:ln>
              <a:solidFill>
                <a:srgbClr val="000000"/>
              </a:solidFill>
              <a:effectLst/>
              <a:uLnTx/>
              <a:uFillTx/>
              <a:latin typeface="Graphik"/>
              <a:ea typeface="+mn-ea"/>
              <a:cs typeface="Times New Roman" pitchFamily="18" charset="0"/>
            </a:endParaRPr>
          </a:p>
        </p:txBody>
      </p:sp>
      <p:sp>
        <p:nvSpPr>
          <p:cNvPr id="20" name="Text Box 22">
            <a:extLst>
              <a:ext uri="{FF2B5EF4-FFF2-40B4-BE49-F238E27FC236}">
                <a16:creationId xmlns:a16="http://schemas.microsoft.com/office/drawing/2014/main" id="{DBD45755-0411-4258-8A5A-3BC708E2D898}"/>
              </a:ext>
            </a:extLst>
          </p:cNvPr>
          <p:cNvSpPr txBox="1">
            <a:spLocks noChangeArrowheads="1"/>
          </p:cNvSpPr>
          <p:nvPr/>
        </p:nvSpPr>
        <p:spPr bwMode="auto">
          <a:xfrm>
            <a:off x="8836229"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latin typeface="Graphik"/>
                <a:ea typeface="+mn-ea"/>
                <a:cs typeface="Times New Roman" pitchFamily="18" charset="0"/>
              </a:rPr>
              <a:t>05/10</a:t>
            </a:r>
            <a:endParaRPr kumimoji="0" lang="en-US" sz="1000" b="0" i="0" u="none" strike="noStrike" kern="1200" cap="none" spc="0" normalizeH="0" baseline="0" noProof="0" dirty="0">
              <a:ln>
                <a:noFill/>
              </a:ln>
              <a:solidFill>
                <a:srgbClr val="000000"/>
              </a:solidFill>
              <a:effectLst/>
              <a:uLnTx/>
              <a:uFillTx/>
              <a:latin typeface="Graphik"/>
              <a:ea typeface="+mn-ea"/>
              <a:cs typeface="Times New Roman" pitchFamily="18" charset="0"/>
            </a:endParaRPr>
          </a:p>
        </p:txBody>
      </p:sp>
      <p:sp>
        <p:nvSpPr>
          <p:cNvPr id="21" name="Text Box 24">
            <a:extLst>
              <a:ext uri="{FF2B5EF4-FFF2-40B4-BE49-F238E27FC236}">
                <a16:creationId xmlns:a16="http://schemas.microsoft.com/office/drawing/2014/main" id="{EA56B298-89A0-405F-913D-9B51E98913DC}"/>
              </a:ext>
            </a:extLst>
          </p:cNvPr>
          <p:cNvSpPr txBox="1">
            <a:spLocks noChangeArrowheads="1"/>
          </p:cNvSpPr>
          <p:nvPr/>
        </p:nvSpPr>
        <p:spPr bwMode="auto">
          <a:xfrm>
            <a:off x="9650118"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latin typeface="Graphik"/>
                <a:ea typeface="+mn-ea"/>
                <a:cs typeface="Times New Roman" pitchFamily="18" charset="0"/>
              </a:rPr>
              <a:t>06/10</a:t>
            </a:r>
            <a:endParaRPr kumimoji="0" lang="en-US" sz="1000" b="0" i="0" u="none" strike="noStrike" kern="1200" cap="none" spc="0" normalizeH="0" baseline="0" noProof="0" dirty="0">
              <a:ln>
                <a:noFill/>
              </a:ln>
              <a:solidFill>
                <a:srgbClr val="000000"/>
              </a:solidFill>
              <a:effectLst/>
              <a:uLnTx/>
              <a:uFillTx/>
              <a:latin typeface="Graphik"/>
              <a:ea typeface="+mn-ea"/>
              <a:cs typeface="Times New Roman" pitchFamily="18" charset="0"/>
            </a:endParaRPr>
          </a:p>
        </p:txBody>
      </p:sp>
      <p:sp>
        <p:nvSpPr>
          <p:cNvPr id="22" name="Text Box 43">
            <a:extLst>
              <a:ext uri="{FF2B5EF4-FFF2-40B4-BE49-F238E27FC236}">
                <a16:creationId xmlns:a16="http://schemas.microsoft.com/office/drawing/2014/main" id="{2E899B1F-9049-4466-A6B3-408A11A9A39B}"/>
              </a:ext>
            </a:extLst>
          </p:cNvPr>
          <p:cNvSpPr txBox="1">
            <a:spLocks noChangeArrowheads="1"/>
          </p:cNvSpPr>
          <p:nvPr/>
        </p:nvSpPr>
        <p:spPr bwMode="auto">
          <a:xfrm>
            <a:off x="5727154" y="1192164"/>
            <a:ext cx="517490" cy="153888"/>
          </a:xfrm>
          <a:prstGeom prst="rect">
            <a:avLst/>
          </a:prstGeom>
          <a:noFill/>
          <a:ln w="9525" algn="ctr">
            <a:noFill/>
            <a:miter lim="800000"/>
            <a:headEnd/>
            <a:tailEnd/>
          </a:ln>
          <a:effectLst/>
        </p:spPr>
        <p:txBody>
          <a:bodyPr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000000"/>
                </a:solidFill>
                <a:effectLst/>
                <a:uLnTx/>
                <a:uFillTx/>
                <a:latin typeface="Graphik"/>
                <a:ea typeface="+mn-ea"/>
                <a:cs typeface="Times New Roman" pitchFamily="18" charset="0"/>
              </a:rPr>
              <a:t>01/10</a:t>
            </a:r>
            <a:endParaRPr kumimoji="0" lang="en-US" sz="1000" b="0" i="0" u="none" strike="noStrike" kern="1200" cap="none" spc="0" normalizeH="0" baseline="0" noProof="0" dirty="0">
              <a:ln>
                <a:noFill/>
              </a:ln>
              <a:solidFill>
                <a:srgbClr val="000000"/>
              </a:solidFill>
              <a:effectLst/>
              <a:uLnTx/>
              <a:uFillTx/>
              <a:latin typeface="Graphik"/>
              <a:ea typeface="+mn-ea"/>
              <a:cs typeface="Times New Roman" pitchFamily="18" charset="0"/>
            </a:endParaRPr>
          </a:p>
        </p:txBody>
      </p:sp>
      <p:sp>
        <p:nvSpPr>
          <p:cNvPr id="23" name="Line 51">
            <a:extLst>
              <a:ext uri="{FF2B5EF4-FFF2-40B4-BE49-F238E27FC236}">
                <a16:creationId xmlns:a16="http://schemas.microsoft.com/office/drawing/2014/main" id="{4E99365E-B348-4765-9B85-9C0E278EA081}"/>
              </a:ext>
            </a:extLst>
          </p:cNvPr>
          <p:cNvSpPr>
            <a:spLocks noChangeShapeType="1"/>
          </p:cNvSpPr>
          <p:nvPr/>
        </p:nvSpPr>
        <p:spPr bwMode="auto">
          <a:xfrm>
            <a:off x="5256575" y="2310767"/>
            <a:ext cx="4557732" cy="0"/>
          </a:xfrm>
          <a:prstGeom prst="line">
            <a:avLst/>
          </a:prstGeom>
          <a:noFill/>
          <a:ln w="12700">
            <a:solidFill>
              <a:srgbClr val="A055F5"/>
            </a:solidFill>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4" name="Text Box 52">
            <a:extLst>
              <a:ext uri="{FF2B5EF4-FFF2-40B4-BE49-F238E27FC236}">
                <a16:creationId xmlns:a16="http://schemas.microsoft.com/office/drawing/2014/main" id="{DF4D0603-F6D2-4D31-957A-18EA789AC0EF}"/>
              </a:ext>
            </a:extLst>
          </p:cNvPr>
          <p:cNvSpPr txBox="1">
            <a:spLocks noChangeArrowheads="1"/>
          </p:cNvSpPr>
          <p:nvPr/>
        </p:nvSpPr>
        <p:spPr bwMode="auto">
          <a:xfrm>
            <a:off x="6702764" y="2102905"/>
            <a:ext cx="1728390" cy="153888"/>
          </a:xfrm>
          <a:prstGeom prst="rect">
            <a:avLst/>
          </a:prstGeom>
          <a:noFill/>
          <a:ln w="12700" algn="ctr">
            <a:noFill/>
            <a:miter lim="800000"/>
            <a:headEnd/>
            <a:tailEnd/>
          </a:ln>
          <a:effectLst/>
        </p:spPr>
        <p:txBody>
          <a:bodyPr lIns="0" tIns="0" rIns="0" bIns="0">
            <a:spAutoFit/>
          </a:bodyPr>
          <a:lstStyle/>
          <a:p>
            <a:pPr marL="0" marR="0" lvl="0" indent="0" algn="l" defTabSz="787400" rtl="0" eaLnBrk="1" fontAlgn="auto" latinLnBrk="0" hangingPunct="1">
              <a:lnSpc>
                <a:spcPct val="100000"/>
              </a:lnSpc>
              <a:spcBef>
                <a:spcPct val="50000"/>
              </a:spcBef>
              <a:spcAft>
                <a:spcPts val="0"/>
              </a:spcAft>
              <a:buClrTx/>
              <a:buSzTx/>
              <a:buFontTx/>
              <a:buNone/>
              <a:tabLst/>
              <a:defRPr/>
            </a:pPr>
            <a:r>
              <a:rPr kumimoji="0" lang="it-IT" sz="1000" b="1" i="0" u="none" strike="noStrike" kern="0" cap="none" spc="0" normalizeH="0" baseline="0" noProof="0" dirty="0">
                <a:ln>
                  <a:noFill/>
                </a:ln>
                <a:solidFill>
                  <a:srgbClr val="000000"/>
                </a:solidFill>
                <a:effectLst/>
                <a:uLnTx/>
                <a:uFillTx/>
                <a:latin typeface="Graphik"/>
                <a:ea typeface="+mn-ea"/>
                <a:cs typeface="+mn-cs"/>
              </a:rPr>
              <a:t>Process Design</a:t>
            </a:r>
            <a:endParaRPr kumimoji="0" lang="en-US" sz="1000" b="1" i="0" u="none" strike="noStrike" kern="0" cap="none" spc="0" normalizeH="0" baseline="0" noProof="0" dirty="0">
              <a:ln>
                <a:noFill/>
              </a:ln>
              <a:solidFill>
                <a:srgbClr val="000000"/>
              </a:solidFill>
              <a:effectLst/>
              <a:uLnTx/>
              <a:uFillTx/>
              <a:latin typeface="Graphik"/>
              <a:ea typeface="+mn-ea"/>
              <a:cs typeface="+mn-cs"/>
            </a:endParaRPr>
          </a:p>
        </p:txBody>
      </p:sp>
      <p:sp>
        <p:nvSpPr>
          <p:cNvPr id="25" name="Oval 53">
            <a:extLst>
              <a:ext uri="{FF2B5EF4-FFF2-40B4-BE49-F238E27FC236}">
                <a16:creationId xmlns:a16="http://schemas.microsoft.com/office/drawing/2014/main" id="{C3C2B136-9D74-40AD-A6BC-B3F217C8F1A7}"/>
              </a:ext>
            </a:extLst>
          </p:cNvPr>
          <p:cNvSpPr>
            <a:spLocks noChangeAspect="1" noChangeArrowheads="1"/>
          </p:cNvSpPr>
          <p:nvPr/>
        </p:nvSpPr>
        <p:spPr bwMode="auto">
          <a:xfrm>
            <a:off x="5177413" y="2256794"/>
            <a:ext cx="83560" cy="88899"/>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6" name="Oval 54">
            <a:extLst>
              <a:ext uri="{FF2B5EF4-FFF2-40B4-BE49-F238E27FC236}">
                <a16:creationId xmlns:a16="http://schemas.microsoft.com/office/drawing/2014/main" id="{ACD61EC2-95E4-4841-B2EB-20F4E93411EB}"/>
              </a:ext>
            </a:extLst>
          </p:cNvPr>
          <p:cNvSpPr>
            <a:spLocks noChangeAspect="1" noChangeArrowheads="1"/>
          </p:cNvSpPr>
          <p:nvPr/>
        </p:nvSpPr>
        <p:spPr bwMode="auto">
          <a:xfrm>
            <a:off x="9806978" y="2269494"/>
            <a:ext cx="83560" cy="88899"/>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7" name="Rectangle 55">
            <a:extLst>
              <a:ext uri="{FF2B5EF4-FFF2-40B4-BE49-F238E27FC236}">
                <a16:creationId xmlns:a16="http://schemas.microsoft.com/office/drawing/2014/main" id="{F8DDA04D-604F-4914-8DDC-F4A631DAC4D4}"/>
              </a:ext>
            </a:extLst>
          </p:cNvPr>
          <p:cNvSpPr>
            <a:spLocks noChangeArrowheads="1"/>
          </p:cNvSpPr>
          <p:nvPr/>
        </p:nvSpPr>
        <p:spPr bwMode="auto">
          <a:xfrm>
            <a:off x="5236051" y="2356804"/>
            <a:ext cx="1499698"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0" cap="none" spc="0" normalizeH="0" baseline="0" noProof="0" dirty="0">
                <a:ln>
                  <a:noFill/>
                </a:ln>
                <a:solidFill>
                  <a:prstClr val="white"/>
                </a:solidFill>
                <a:effectLst/>
                <a:uLnTx/>
                <a:uFillTx/>
                <a:latin typeface="Arial"/>
                <a:ea typeface="+mn-ea"/>
                <a:cs typeface="+mn-cs"/>
              </a:rPr>
              <a:t>Interviews</a:t>
            </a:r>
            <a:endParaRPr kumimoji="0" lang="en-US"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28" name="Rectangle 56">
            <a:extLst>
              <a:ext uri="{FF2B5EF4-FFF2-40B4-BE49-F238E27FC236}">
                <a16:creationId xmlns:a16="http://schemas.microsoft.com/office/drawing/2014/main" id="{4691ADB1-8AD4-433E-969B-5225079818FD}"/>
              </a:ext>
            </a:extLst>
          </p:cNvPr>
          <p:cNvSpPr>
            <a:spLocks noChangeArrowheads="1"/>
          </p:cNvSpPr>
          <p:nvPr/>
        </p:nvSpPr>
        <p:spPr bwMode="auto">
          <a:xfrm>
            <a:off x="5381184" y="2537779"/>
            <a:ext cx="1549540"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Process Mapping (RAID)</a:t>
            </a:r>
          </a:p>
        </p:txBody>
      </p:sp>
      <p:sp>
        <p:nvSpPr>
          <p:cNvPr id="29" name="Rectangle 59">
            <a:extLst>
              <a:ext uri="{FF2B5EF4-FFF2-40B4-BE49-F238E27FC236}">
                <a16:creationId xmlns:a16="http://schemas.microsoft.com/office/drawing/2014/main" id="{AF09F407-A02F-468E-97E5-4C2CD6E39F18}"/>
              </a:ext>
            </a:extLst>
          </p:cNvPr>
          <p:cNvSpPr>
            <a:spLocks noChangeArrowheads="1"/>
          </p:cNvSpPr>
          <p:nvPr/>
        </p:nvSpPr>
        <p:spPr bwMode="auto">
          <a:xfrm>
            <a:off x="6436519" y="2718754"/>
            <a:ext cx="1464684"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Best Practices Collection</a:t>
            </a:r>
          </a:p>
        </p:txBody>
      </p:sp>
      <p:sp>
        <p:nvSpPr>
          <p:cNvPr id="30" name="Rectangle 61">
            <a:extLst>
              <a:ext uri="{FF2B5EF4-FFF2-40B4-BE49-F238E27FC236}">
                <a16:creationId xmlns:a16="http://schemas.microsoft.com/office/drawing/2014/main" id="{F55B2C41-2B97-41F5-8A9F-1024C1CF6415}"/>
              </a:ext>
            </a:extLst>
          </p:cNvPr>
          <p:cNvSpPr>
            <a:spLocks noChangeArrowheads="1"/>
          </p:cNvSpPr>
          <p:nvPr/>
        </p:nvSpPr>
        <p:spPr bwMode="auto">
          <a:xfrm>
            <a:off x="7890943" y="2899729"/>
            <a:ext cx="2031207"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Process Reengineering</a:t>
            </a:r>
          </a:p>
        </p:txBody>
      </p:sp>
      <p:sp>
        <p:nvSpPr>
          <p:cNvPr id="31" name="Line 63">
            <a:extLst>
              <a:ext uri="{FF2B5EF4-FFF2-40B4-BE49-F238E27FC236}">
                <a16:creationId xmlns:a16="http://schemas.microsoft.com/office/drawing/2014/main" id="{3CDBF86B-EDB8-4BE1-BF18-4583CCFDD72E}"/>
              </a:ext>
            </a:extLst>
          </p:cNvPr>
          <p:cNvSpPr>
            <a:spLocks noChangeShapeType="1"/>
          </p:cNvSpPr>
          <p:nvPr/>
        </p:nvSpPr>
        <p:spPr bwMode="auto">
          <a:xfrm>
            <a:off x="5268304" y="3209292"/>
            <a:ext cx="2251745" cy="0"/>
          </a:xfrm>
          <a:prstGeom prst="line">
            <a:avLst/>
          </a:prstGeom>
          <a:noFill/>
          <a:ln w="12700">
            <a:solidFill>
              <a:srgbClr val="A055F5"/>
            </a:solidFill>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2" name="Text Box 64">
            <a:extLst>
              <a:ext uri="{FF2B5EF4-FFF2-40B4-BE49-F238E27FC236}">
                <a16:creationId xmlns:a16="http://schemas.microsoft.com/office/drawing/2014/main" id="{CB136260-B653-4DF0-8CBA-7208A6213606}"/>
              </a:ext>
            </a:extLst>
          </p:cNvPr>
          <p:cNvSpPr txBox="1">
            <a:spLocks noChangeArrowheads="1"/>
          </p:cNvSpPr>
          <p:nvPr/>
        </p:nvSpPr>
        <p:spPr bwMode="auto">
          <a:xfrm>
            <a:off x="5330834" y="3017450"/>
            <a:ext cx="1951220" cy="153888"/>
          </a:xfrm>
          <a:prstGeom prst="rect">
            <a:avLst/>
          </a:prstGeom>
          <a:noFill/>
          <a:ln w="12700" algn="ctr">
            <a:noFill/>
            <a:miter lim="800000"/>
            <a:headEnd/>
            <a:tailEnd/>
          </a:ln>
          <a:effectLst/>
        </p:spPr>
        <p:txBody>
          <a:bodyPr lIns="0" tIns="0" rIns="0" bIns="0">
            <a:spAutoFit/>
          </a:bodyPr>
          <a:lstStyle/>
          <a:p>
            <a:pPr marL="0" marR="0" lvl="0" indent="0" algn="l" defTabSz="787400" rtl="0" eaLnBrk="1" fontAlgn="auto" latinLnBrk="0" hangingPunct="1">
              <a:lnSpc>
                <a:spcPct val="100000"/>
              </a:lnSpc>
              <a:spcBef>
                <a:spcPct val="50000"/>
              </a:spcBef>
              <a:spcAft>
                <a:spcPts val="0"/>
              </a:spcAft>
              <a:buClrTx/>
              <a:buSzTx/>
              <a:buFontTx/>
              <a:buNone/>
              <a:tabLst/>
              <a:defRPr/>
            </a:pPr>
            <a:r>
              <a:rPr kumimoji="0" lang="it-IT" sz="1000" b="1" i="0" u="none" strike="noStrike" kern="0" cap="none" spc="0" normalizeH="0" baseline="0" noProof="0" dirty="0">
                <a:ln>
                  <a:noFill/>
                </a:ln>
                <a:solidFill>
                  <a:srgbClr val="000000"/>
                </a:solidFill>
                <a:effectLst/>
                <a:uLnTx/>
                <a:uFillTx/>
                <a:latin typeface="Graphik"/>
                <a:ea typeface="+mn-ea"/>
                <a:cs typeface="+mn-cs"/>
              </a:rPr>
              <a:t>Organization Design </a:t>
            </a:r>
            <a:endParaRPr kumimoji="0" lang="en-US" sz="1000" b="1" i="0" u="none" strike="noStrike" kern="0" cap="none" spc="0" normalizeH="0" baseline="0" noProof="0" dirty="0">
              <a:ln>
                <a:noFill/>
              </a:ln>
              <a:solidFill>
                <a:srgbClr val="000000"/>
              </a:solidFill>
              <a:effectLst/>
              <a:uLnTx/>
              <a:uFillTx/>
              <a:latin typeface="Graphik"/>
              <a:ea typeface="+mn-ea"/>
              <a:cs typeface="+mn-cs"/>
            </a:endParaRPr>
          </a:p>
        </p:txBody>
      </p:sp>
      <p:sp>
        <p:nvSpPr>
          <p:cNvPr id="33" name="Oval 65">
            <a:extLst>
              <a:ext uri="{FF2B5EF4-FFF2-40B4-BE49-F238E27FC236}">
                <a16:creationId xmlns:a16="http://schemas.microsoft.com/office/drawing/2014/main" id="{41611D71-840E-4C05-9542-5C9DEF425F20}"/>
              </a:ext>
            </a:extLst>
          </p:cNvPr>
          <p:cNvSpPr>
            <a:spLocks noChangeAspect="1" noChangeArrowheads="1"/>
          </p:cNvSpPr>
          <p:nvPr/>
        </p:nvSpPr>
        <p:spPr bwMode="auto">
          <a:xfrm>
            <a:off x="5199825" y="3164483"/>
            <a:ext cx="83560" cy="88899"/>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4" name="Oval 66">
            <a:extLst>
              <a:ext uri="{FF2B5EF4-FFF2-40B4-BE49-F238E27FC236}">
                <a16:creationId xmlns:a16="http://schemas.microsoft.com/office/drawing/2014/main" id="{BFD79C76-07E6-4B4B-A303-0876886A40BB}"/>
              </a:ext>
            </a:extLst>
          </p:cNvPr>
          <p:cNvSpPr>
            <a:spLocks noChangeAspect="1" noChangeArrowheads="1"/>
          </p:cNvSpPr>
          <p:nvPr/>
        </p:nvSpPr>
        <p:spPr bwMode="auto">
          <a:xfrm>
            <a:off x="7483399" y="3168017"/>
            <a:ext cx="83560" cy="88900"/>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5" name="Rectangle 71">
            <a:extLst>
              <a:ext uri="{FF2B5EF4-FFF2-40B4-BE49-F238E27FC236}">
                <a16:creationId xmlns:a16="http://schemas.microsoft.com/office/drawing/2014/main" id="{0914313C-E3C2-49AB-9486-00A55A3E56B3}"/>
              </a:ext>
            </a:extLst>
          </p:cNvPr>
          <p:cNvSpPr>
            <a:spLocks noChangeArrowheads="1"/>
          </p:cNvSpPr>
          <p:nvPr/>
        </p:nvSpPr>
        <p:spPr bwMode="auto">
          <a:xfrm>
            <a:off x="6367788" y="3637916"/>
            <a:ext cx="1413886"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Organization Alignment</a:t>
            </a:r>
          </a:p>
        </p:txBody>
      </p:sp>
      <p:sp>
        <p:nvSpPr>
          <p:cNvPr id="36" name="Line 82">
            <a:extLst>
              <a:ext uri="{FF2B5EF4-FFF2-40B4-BE49-F238E27FC236}">
                <a16:creationId xmlns:a16="http://schemas.microsoft.com/office/drawing/2014/main" id="{5A62E61B-B4AD-4474-A4C2-C10E513AE7E4}"/>
              </a:ext>
            </a:extLst>
          </p:cNvPr>
          <p:cNvSpPr>
            <a:spLocks noChangeShapeType="1"/>
          </p:cNvSpPr>
          <p:nvPr/>
        </p:nvSpPr>
        <p:spPr bwMode="auto">
          <a:xfrm>
            <a:off x="7520049" y="3926842"/>
            <a:ext cx="2294259" cy="0"/>
          </a:xfrm>
          <a:prstGeom prst="line">
            <a:avLst/>
          </a:prstGeom>
          <a:noFill/>
          <a:ln w="12700">
            <a:solidFill>
              <a:srgbClr val="A055F5"/>
            </a:solidFill>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7" name="Text Box 83">
            <a:extLst>
              <a:ext uri="{FF2B5EF4-FFF2-40B4-BE49-F238E27FC236}">
                <a16:creationId xmlns:a16="http://schemas.microsoft.com/office/drawing/2014/main" id="{FE59C00A-9E3F-40BF-8CCC-2AAE5BEB149F}"/>
              </a:ext>
            </a:extLst>
          </p:cNvPr>
          <p:cNvSpPr txBox="1">
            <a:spLocks noChangeArrowheads="1"/>
          </p:cNvSpPr>
          <p:nvPr/>
        </p:nvSpPr>
        <p:spPr bwMode="auto">
          <a:xfrm>
            <a:off x="7816177" y="3625217"/>
            <a:ext cx="1728391" cy="153888"/>
          </a:xfrm>
          <a:prstGeom prst="rect">
            <a:avLst/>
          </a:prstGeom>
          <a:noFill/>
          <a:ln w="12700" algn="ctr">
            <a:noFill/>
            <a:miter lim="800000"/>
            <a:headEnd/>
            <a:tailEnd/>
          </a:ln>
          <a:effectLst/>
        </p:spPr>
        <p:txBody>
          <a:bodyPr lIns="0" tIns="0" rIns="0" bIns="0">
            <a:spAutoFit/>
          </a:bodyPr>
          <a:lstStyle/>
          <a:p>
            <a:pPr marL="0" marR="0" lvl="0" indent="0" algn="l" defTabSz="787400" rtl="0" eaLnBrk="1" fontAlgn="auto" latinLnBrk="0" hangingPunct="1">
              <a:lnSpc>
                <a:spcPct val="100000"/>
              </a:lnSpc>
              <a:spcBef>
                <a:spcPct val="50000"/>
              </a:spcBef>
              <a:spcAft>
                <a:spcPts val="0"/>
              </a:spcAft>
              <a:buClrTx/>
              <a:buSzTx/>
              <a:buFontTx/>
              <a:buNone/>
              <a:tabLst/>
              <a:defRPr/>
            </a:pPr>
            <a:r>
              <a:rPr kumimoji="0" lang="it-IT" sz="1000" b="1" i="0" u="none" strike="noStrike" kern="0" cap="none" spc="0" normalizeH="0" baseline="0" noProof="0" dirty="0">
                <a:ln>
                  <a:noFill/>
                </a:ln>
                <a:solidFill>
                  <a:srgbClr val="000000"/>
                </a:solidFill>
                <a:effectLst/>
                <a:uLnTx/>
                <a:uFillTx/>
                <a:latin typeface="Graphik"/>
                <a:ea typeface="+mn-ea"/>
                <a:cs typeface="+mn-cs"/>
              </a:rPr>
              <a:t>Customer Survey</a:t>
            </a:r>
            <a:endParaRPr kumimoji="0" lang="en-US" sz="1000" b="1" i="0" u="none" strike="noStrike" kern="0" cap="none" spc="0" normalizeH="0" baseline="0" noProof="0" dirty="0">
              <a:ln>
                <a:noFill/>
              </a:ln>
              <a:solidFill>
                <a:srgbClr val="000000"/>
              </a:solidFill>
              <a:effectLst/>
              <a:uLnTx/>
              <a:uFillTx/>
              <a:latin typeface="Graphik"/>
              <a:ea typeface="+mn-ea"/>
              <a:cs typeface="+mn-cs"/>
            </a:endParaRPr>
          </a:p>
        </p:txBody>
      </p:sp>
      <p:sp>
        <p:nvSpPr>
          <p:cNvPr id="38" name="Oval 84">
            <a:extLst>
              <a:ext uri="{FF2B5EF4-FFF2-40B4-BE49-F238E27FC236}">
                <a16:creationId xmlns:a16="http://schemas.microsoft.com/office/drawing/2014/main" id="{D33B03CE-52E3-4346-BAD3-386C0380B944}"/>
              </a:ext>
            </a:extLst>
          </p:cNvPr>
          <p:cNvSpPr>
            <a:spLocks noChangeAspect="1" noChangeArrowheads="1"/>
          </p:cNvSpPr>
          <p:nvPr/>
        </p:nvSpPr>
        <p:spPr bwMode="auto">
          <a:xfrm>
            <a:off x="7489263" y="3871279"/>
            <a:ext cx="83560" cy="88900"/>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9" name="Oval 85">
            <a:extLst>
              <a:ext uri="{FF2B5EF4-FFF2-40B4-BE49-F238E27FC236}">
                <a16:creationId xmlns:a16="http://schemas.microsoft.com/office/drawing/2014/main" id="{42B03777-DD36-4582-A6E4-68870BA2E8EE}"/>
              </a:ext>
            </a:extLst>
          </p:cNvPr>
          <p:cNvSpPr>
            <a:spLocks noChangeAspect="1" noChangeArrowheads="1"/>
          </p:cNvSpPr>
          <p:nvPr/>
        </p:nvSpPr>
        <p:spPr bwMode="auto">
          <a:xfrm>
            <a:off x="9806978" y="3883981"/>
            <a:ext cx="83560" cy="88899"/>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0" name="Rectangle 86">
            <a:extLst>
              <a:ext uri="{FF2B5EF4-FFF2-40B4-BE49-F238E27FC236}">
                <a16:creationId xmlns:a16="http://schemas.microsoft.com/office/drawing/2014/main" id="{1C403132-EFA7-4A56-BBBE-281D4F86E9D7}"/>
              </a:ext>
            </a:extLst>
          </p:cNvPr>
          <p:cNvSpPr>
            <a:spLocks noChangeArrowheads="1"/>
          </p:cNvSpPr>
          <p:nvPr/>
        </p:nvSpPr>
        <p:spPr bwMode="auto">
          <a:xfrm>
            <a:off x="7520049" y="4001454"/>
            <a:ext cx="782838"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Interviews</a:t>
            </a:r>
            <a:endParaRPr kumimoji="0" lang="en-US" sz="1600" b="0" i="0" u="none" strike="noStrike" kern="0" cap="none" spc="0" normalizeH="0" baseline="0" noProof="0" dirty="0">
              <a:ln>
                <a:noFill/>
              </a:ln>
              <a:solidFill>
                <a:srgbClr val="FFFFFF"/>
              </a:solidFill>
              <a:effectLst/>
              <a:uLnTx/>
              <a:uFillTx/>
              <a:latin typeface="Graphik"/>
              <a:ea typeface="+mn-ea"/>
              <a:cs typeface="+mn-cs"/>
            </a:endParaRPr>
          </a:p>
        </p:txBody>
      </p:sp>
      <p:sp>
        <p:nvSpPr>
          <p:cNvPr id="41" name="Rectangle 88">
            <a:extLst>
              <a:ext uri="{FF2B5EF4-FFF2-40B4-BE49-F238E27FC236}">
                <a16:creationId xmlns:a16="http://schemas.microsoft.com/office/drawing/2014/main" id="{C06E0BEB-A217-47DB-A2D4-AF40182F72D4}"/>
              </a:ext>
            </a:extLst>
          </p:cNvPr>
          <p:cNvSpPr>
            <a:spLocks noChangeArrowheads="1"/>
          </p:cNvSpPr>
          <p:nvPr/>
        </p:nvSpPr>
        <p:spPr bwMode="auto">
          <a:xfrm>
            <a:off x="7654033" y="4188151"/>
            <a:ext cx="1541529"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Value Drivers</a:t>
            </a:r>
          </a:p>
        </p:txBody>
      </p:sp>
      <p:sp>
        <p:nvSpPr>
          <p:cNvPr id="42" name="Rectangle 92">
            <a:extLst>
              <a:ext uri="{FF2B5EF4-FFF2-40B4-BE49-F238E27FC236}">
                <a16:creationId xmlns:a16="http://schemas.microsoft.com/office/drawing/2014/main" id="{455EDE1B-ACEA-48A9-9B64-3C7F6A4D5147}"/>
              </a:ext>
            </a:extLst>
          </p:cNvPr>
          <p:cNvSpPr>
            <a:spLocks noChangeArrowheads="1"/>
          </p:cNvSpPr>
          <p:nvPr/>
        </p:nvSpPr>
        <p:spPr bwMode="auto">
          <a:xfrm>
            <a:off x="9084982" y="4561544"/>
            <a:ext cx="837167"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Action Plan</a:t>
            </a:r>
          </a:p>
        </p:txBody>
      </p:sp>
      <p:sp>
        <p:nvSpPr>
          <p:cNvPr id="43" name="Line 103">
            <a:extLst>
              <a:ext uri="{FF2B5EF4-FFF2-40B4-BE49-F238E27FC236}">
                <a16:creationId xmlns:a16="http://schemas.microsoft.com/office/drawing/2014/main" id="{C14830FD-EFA3-47BA-9FEB-A5645DFB2493}"/>
              </a:ext>
            </a:extLst>
          </p:cNvPr>
          <p:cNvSpPr>
            <a:spLocks noChangeShapeType="1"/>
          </p:cNvSpPr>
          <p:nvPr/>
        </p:nvSpPr>
        <p:spPr bwMode="auto">
          <a:xfrm>
            <a:off x="5218460" y="2069467"/>
            <a:ext cx="784300" cy="0"/>
          </a:xfrm>
          <a:prstGeom prst="line">
            <a:avLst/>
          </a:prstGeom>
          <a:noFill/>
          <a:ln w="12700">
            <a:solidFill>
              <a:srgbClr val="A055F5"/>
            </a:solidFill>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4" name="Oval 104">
            <a:extLst>
              <a:ext uri="{FF2B5EF4-FFF2-40B4-BE49-F238E27FC236}">
                <a16:creationId xmlns:a16="http://schemas.microsoft.com/office/drawing/2014/main" id="{DFB15903-75AC-4D1C-8AA7-4FAD11E856E0}"/>
              </a:ext>
            </a:extLst>
          </p:cNvPr>
          <p:cNvSpPr>
            <a:spLocks noChangeAspect="1" noChangeArrowheads="1"/>
          </p:cNvSpPr>
          <p:nvPr/>
        </p:nvSpPr>
        <p:spPr bwMode="auto">
          <a:xfrm>
            <a:off x="5174481" y="2025019"/>
            <a:ext cx="83560" cy="88899"/>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5" name="Oval 105">
            <a:extLst>
              <a:ext uri="{FF2B5EF4-FFF2-40B4-BE49-F238E27FC236}">
                <a16:creationId xmlns:a16="http://schemas.microsoft.com/office/drawing/2014/main" id="{6951E097-6A32-4175-BB03-FC60D1D07A6E}"/>
              </a:ext>
            </a:extLst>
          </p:cNvPr>
          <p:cNvSpPr>
            <a:spLocks noChangeAspect="1" noChangeArrowheads="1"/>
          </p:cNvSpPr>
          <p:nvPr/>
        </p:nvSpPr>
        <p:spPr bwMode="auto">
          <a:xfrm>
            <a:off x="5960246" y="2025019"/>
            <a:ext cx="83560" cy="88899"/>
          </a:xfrm>
          <a:prstGeom prst="ellipse">
            <a:avLst/>
          </a:prstGeom>
          <a:solidFill>
            <a:srgbClr val="A055F5"/>
          </a:solidFill>
          <a:ln w="1270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pic>
        <p:nvPicPr>
          <p:cNvPr id="47" name="Picture 2">
            <a:extLst>
              <a:ext uri="{FF2B5EF4-FFF2-40B4-BE49-F238E27FC236}">
                <a16:creationId xmlns:a16="http://schemas.microsoft.com/office/drawing/2014/main" id="{3C7A5DC5-8005-4167-8D6A-D5DD751C540A}"/>
              </a:ext>
            </a:extLst>
          </p:cNvPr>
          <p:cNvPicPr>
            <a:picLocks noChangeAspect="1" noChangeArrowheads="1"/>
          </p:cNvPicPr>
          <p:nvPr/>
        </p:nvPicPr>
        <p:blipFill>
          <a:blip r:embed="rId7" cstate="print"/>
          <a:srcRect/>
          <a:stretch>
            <a:fillRect/>
          </a:stretch>
        </p:blipFill>
        <p:spPr bwMode="auto">
          <a:xfrm>
            <a:off x="2036497" y="2416864"/>
            <a:ext cx="847681" cy="506867"/>
          </a:xfrm>
          <a:prstGeom prst="rect">
            <a:avLst/>
          </a:prstGeom>
          <a:noFill/>
          <a:ln w="9525">
            <a:solidFill>
              <a:srgbClr val="96968C"/>
            </a:solidFill>
            <a:miter lim="800000"/>
            <a:headEnd/>
            <a:tailEnd/>
          </a:ln>
        </p:spPr>
      </p:pic>
      <p:sp>
        <p:nvSpPr>
          <p:cNvPr id="48" name="Rectangle 47">
            <a:extLst>
              <a:ext uri="{FF2B5EF4-FFF2-40B4-BE49-F238E27FC236}">
                <a16:creationId xmlns:a16="http://schemas.microsoft.com/office/drawing/2014/main" id="{D8A868C8-8E8E-4C5E-A94F-55D68E268F3F}"/>
              </a:ext>
            </a:extLst>
          </p:cNvPr>
          <p:cNvSpPr/>
          <p:nvPr/>
        </p:nvSpPr>
        <p:spPr bwMode="auto">
          <a:xfrm>
            <a:off x="2027550" y="2405275"/>
            <a:ext cx="857915" cy="534009"/>
          </a:xfrm>
          <a:prstGeom prst="rect">
            <a:avLst/>
          </a:prstGeom>
          <a:noFill/>
          <a:ln w="19050" cap="flat" cmpd="sng" algn="ctr">
            <a:solidFill>
              <a:srgbClr val="A100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charset="0"/>
              <a:ea typeface="+mn-ea"/>
              <a:cs typeface="+mn-cs"/>
            </a:endParaRPr>
          </a:p>
        </p:txBody>
      </p:sp>
      <p:sp>
        <p:nvSpPr>
          <p:cNvPr id="49" name="5-Point Star 119">
            <a:extLst>
              <a:ext uri="{FF2B5EF4-FFF2-40B4-BE49-F238E27FC236}">
                <a16:creationId xmlns:a16="http://schemas.microsoft.com/office/drawing/2014/main" id="{11E3D6CA-6C62-4985-93E3-6A2A833943F3}"/>
              </a:ext>
            </a:extLst>
          </p:cNvPr>
          <p:cNvSpPr/>
          <p:nvPr/>
        </p:nvSpPr>
        <p:spPr bwMode="auto">
          <a:xfrm>
            <a:off x="7414378" y="4720348"/>
            <a:ext cx="226855" cy="245660"/>
          </a:xfrm>
          <a:prstGeom prst="star5">
            <a:avLst/>
          </a:prstGeom>
          <a:solidFill>
            <a:srgbClr val="B455A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50" name="5-Point Star 120">
            <a:extLst>
              <a:ext uri="{FF2B5EF4-FFF2-40B4-BE49-F238E27FC236}">
                <a16:creationId xmlns:a16="http://schemas.microsoft.com/office/drawing/2014/main" id="{C2A43C5A-9993-44A0-A53B-40FCA91964DA}"/>
              </a:ext>
            </a:extLst>
          </p:cNvPr>
          <p:cNvSpPr/>
          <p:nvPr/>
        </p:nvSpPr>
        <p:spPr bwMode="auto">
          <a:xfrm>
            <a:off x="9808338" y="4720348"/>
            <a:ext cx="226855" cy="245660"/>
          </a:xfrm>
          <a:prstGeom prst="star5">
            <a:avLst/>
          </a:prstGeom>
          <a:solidFill>
            <a:srgbClr val="B455A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51" name="5-Point Star 122">
            <a:extLst>
              <a:ext uri="{FF2B5EF4-FFF2-40B4-BE49-F238E27FC236}">
                <a16:creationId xmlns:a16="http://schemas.microsoft.com/office/drawing/2014/main" id="{2DD9654D-AE96-4015-BA29-70D332008186}"/>
              </a:ext>
            </a:extLst>
          </p:cNvPr>
          <p:cNvSpPr/>
          <p:nvPr/>
        </p:nvSpPr>
        <p:spPr bwMode="auto">
          <a:xfrm>
            <a:off x="3240854" y="4720348"/>
            <a:ext cx="226855" cy="245660"/>
          </a:xfrm>
          <a:prstGeom prst="star5">
            <a:avLst/>
          </a:prstGeom>
          <a:solidFill>
            <a:srgbClr val="B455AA"/>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00000"/>
              </a:solidFill>
              <a:effectLst/>
              <a:uLnTx/>
              <a:uFillTx/>
              <a:latin typeface="Arial" charset="0"/>
              <a:ea typeface="+mn-ea"/>
              <a:cs typeface="+mn-cs"/>
            </a:endParaRPr>
          </a:p>
        </p:txBody>
      </p:sp>
      <p:sp>
        <p:nvSpPr>
          <p:cNvPr id="52" name="TextBox 51">
            <a:extLst>
              <a:ext uri="{FF2B5EF4-FFF2-40B4-BE49-F238E27FC236}">
                <a16:creationId xmlns:a16="http://schemas.microsoft.com/office/drawing/2014/main" id="{E2543163-87B9-4D41-9467-8BA8073EBD84}"/>
              </a:ext>
            </a:extLst>
          </p:cNvPr>
          <p:cNvSpPr txBox="1"/>
          <p:nvPr/>
        </p:nvSpPr>
        <p:spPr bwMode="auto">
          <a:xfrm>
            <a:off x="3538659" y="4704680"/>
            <a:ext cx="142414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Steering Committee Reviews (quarterly)</a:t>
            </a:r>
          </a:p>
        </p:txBody>
      </p:sp>
      <p:sp>
        <p:nvSpPr>
          <p:cNvPr id="53" name="Rectangle 52">
            <a:extLst>
              <a:ext uri="{FF2B5EF4-FFF2-40B4-BE49-F238E27FC236}">
                <a16:creationId xmlns:a16="http://schemas.microsoft.com/office/drawing/2014/main" id="{02AC10DC-2865-4AA7-A54F-9300AE5F8BB7}"/>
              </a:ext>
            </a:extLst>
          </p:cNvPr>
          <p:cNvSpPr/>
          <p:nvPr/>
        </p:nvSpPr>
        <p:spPr bwMode="auto">
          <a:xfrm>
            <a:off x="5019807" y="1788330"/>
            <a:ext cx="4902343" cy="3234041"/>
          </a:xfrm>
          <a:prstGeom prst="rect">
            <a:avLst/>
          </a:prstGeom>
          <a:noFill/>
          <a:ln w="6350">
            <a:solidFill>
              <a:srgbClr val="BE82FF"/>
            </a:solidFill>
            <a:prstDash val="dash"/>
            <a:miter lim="800000"/>
            <a:headEnd/>
            <a:tailEnd/>
          </a:ln>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54" name="Rectangle 67">
            <a:extLst>
              <a:ext uri="{FF2B5EF4-FFF2-40B4-BE49-F238E27FC236}">
                <a16:creationId xmlns:a16="http://schemas.microsoft.com/office/drawing/2014/main" id="{AF266481-3179-4590-B37B-04754EA7697B}"/>
              </a:ext>
            </a:extLst>
          </p:cNvPr>
          <p:cNvSpPr>
            <a:spLocks noChangeArrowheads="1"/>
          </p:cNvSpPr>
          <p:nvPr/>
        </p:nvSpPr>
        <p:spPr bwMode="auto">
          <a:xfrm>
            <a:off x="5239174" y="3290254"/>
            <a:ext cx="795837"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Gap Analysis</a:t>
            </a:r>
          </a:p>
        </p:txBody>
      </p:sp>
      <p:sp>
        <p:nvSpPr>
          <p:cNvPr id="55" name="Rectangle 69">
            <a:extLst>
              <a:ext uri="{FF2B5EF4-FFF2-40B4-BE49-F238E27FC236}">
                <a16:creationId xmlns:a16="http://schemas.microsoft.com/office/drawing/2014/main" id="{075FEC39-18AE-463A-8F64-C1E748BD474C}"/>
              </a:ext>
            </a:extLst>
          </p:cNvPr>
          <p:cNvSpPr>
            <a:spLocks noChangeArrowheads="1"/>
          </p:cNvSpPr>
          <p:nvPr/>
        </p:nvSpPr>
        <p:spPr bwMode="auto">
          <a:xfrm>
            <a:off x="5239175" y="3464085"/>
            <a:ext cx="1235439" cy="152400"/>
          </a:xfrm>
          <a:prstGeom prst="rect">
            <a:avLst/>
          </a:prstGeom>
          <a:solidFill>
            <a:srgbClr val="B455AA"/>
          </a:solidFill>
          <a:ln w="12700" algn="ctr">
            <a:noFill/>
            <a:miter lim="800000"/>
            <a:headEnd/>
            <a:tailEnd/>
          </a:ln>
          <a:effectLst/>
        </p:spPr>
        <p:txBody>
          <a:bodyPr wrap="none" lIns="36000" tIns="0" rIns="36000" bIns="0" anchor="ctr"/>
          <a:lstStyle/>
          <a:p>
            <a:pPr marL="0" marR="0" lvl="0" indent="0" algn="l" defTabSz="787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mn-ea"/>
                <a:cs typeface="+mn-cs"/>
              </a:rPr>
              <a:t>To-Be Confirmation</a:t>
            </a:r>
          </a:p>
        </p:txBody>
      </p:sp>
      <p:sp>
        <p:nvSpPr>
          <p:cNvPr id="56" name="AutoShape 16">
            <a:extLst>
              <a:ext uri="{FF2B5EF4-FFF2-40B4-BE49-F238E27FC236}">
                <a16:creationId xmlns:a16="http://schemas.microsoft.com/office/drawing/2014/main" id="{2CA5F31A-53B0-4B49-9681-66539C0C2835}"/>
              </a:ext>
            </a:extLst>
          </p:cNvPr>
          <p:cNvSpPr>
            <a:spLocks noChangeArrowheads="1"/>
          </p:cNvSpPr>
          <p:nvPr/>
        </p:nvSpPr>
        <p:spPr bwMode="auto">
          <a:xfrm rot="10800000">
            <a:off x="6642881" y="1350301"/>
            <a:ext cx="185737"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7" name="AutoShape 17">
            <a:extLst>
              <a:ext uri="{FF2B5EF4-FFF2-40B4-BE49-F238E27FC236}">
                <a16:creationId xmlns:a16="http://schemas.microsoft.com/office/drawing/2014/main" id="{FA7148C4-6B9D-47F4-8BF3-75EC1A9F80A8}"/>
              </a:ext>
            </a:extLst>
          </p:cNvPr>
          <p:cNvSpPr>
            <a:spLocks noChangeArrowheads="1"/>
          </p:cNvSpPr>
          <p:nvPr/>
        </p:nvSpPr>
        <p:spPr bwMode="auto">
          <a:xfrm rot="10800000">
            <a:off x="7427179" y="1350301"/>
            <a:ext cx="185738"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8" name="AutoShape 18">
            <a:extLst>
              <a:ext uri="{FF2B5EF4-FFF2-40B4-BE49-F238E27FC236}">
                <a16:creationId xmlns:a16="http://schemas.microsoft.com/office/drawing/2014/main" id="{84D1585F-F65D-4E0C-946E-D6FE193AD262}"/>
              </a:ext>
            </a:extLst>
          </p:cNvPr>
          <p:cNvSpPr>
            <a:spLocks noChangeArrowheads="1"/>
          </p:cNvSpPr>
          <p:nvPr/>
        </p:nvSpPr>
        <p:spPr bwMode="auto">
          <a:xfrm rot="10800000">
            <a:off x="8221440" y="1350300"/>
            <a:ext cx="185737"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9" name="AutoShape 19">
            <a:extLst>
              <a:ext uri="{FF2B5EF4-FFF2-40B4-BE49-F238E27FC236}">
                <a16:creationId xmlns:a16="http://schemas.microsoft.com/office/drawing/2014/main" id="{CF2ADFEE-C683-4F89-871B-F6F30EC3286B}"/>
              </a:ext>
            </a:extLst>
          </p:cNvPr>
          <p:cNvSpPr>
            <a:spLocks noChangeArrowheads="1"/>
          </p:cNvSpPr>
          <p:nvPr/>
        </p:nvSpPr>
        <p:spPr bwMode="auto">
          <a:xfrm rot="10800000">
            <a:off x="8992113" y="1350300"/>
            <a:ext cx="185737"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0" name="AutoShape 23">
            <a:extLst>
              <a:ext uri="{FF2B5EF4-FFF2-40B4-BE49-F238E27FC236}">
                <a16:creationId xmlns:a16="http://schemas.microsoft.com/office/drawing/2014/main" id="{B53EFBE0-0193-4CF5-B26E-0FAFF83E3736}"/>
              </a:ext>
            </a:extLst>
          </p:cNvPr>
          <p:cNvSpPr>
            <a:spLocks noChangeArrowheads="1"/>
          </p:cNvSpPr>
          <p:nvPr/>
        </p:nvSpPr>
        <p:spPr bwMode="auto">
          <a:xfrm rot="10800000">
            <a:off x="9829282" y="1350300"/>
            <a:ext cx="185737"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1" name="AutoShape 42">
            <a:extLst>
              <a:ext uri="{FF2B5EF4-FFF2-40B4-BE49-F238E27FC236}">
                <a16:creationId xmlns:a16="http://schemas.microsoft.com/office/drawing/2014/main" id="{05C1F093-DE03-41D1-83D5-49501D516BE7}"/>
              </a:ext>
            </a:extLst>
          </p:cNvPr>
          <p:cNvSpPr>
            <a:spLocks noChangeArrowheads="1"/>
          </p:cNvSpPr>
          <p:nvPr/>
        </p:nvSpPr>
        <p:spPr bwMode="auto">
          <a:xfrm rot="10800000">
            <a:off x="5856893" y="1350300"/>
            <a:ext cx="185738" cy="737996"/>
          </a:xfrm>
          <a:prstGeom prst="triangle">
            <a:avLst>
              <a:gd name="adj" fmla="val 50000"/>
            </a:avLst>
          </a:prstGeom>
          <a:solidFill>
            <a:srgbClr val="A100FF"/>
          </a:solidFill>
          <a:ln w="12700" algn="ctr">
            <a:noFill/>
            <a:miter lim="800000"/>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2" name="AcnStamp_ID_51">
            <a:extLst>
              <a:ext uri="{FF2B5EF4-FFF2-40B4-BE49-F238E27FC236}">
                <a16:creationId xmlns:a16="http://schemas.microsoft.com/office/drawing/2014/main" id="{EAFEB857-27F1-4811-BEAF-84EF54965B6A}"/>
              </a:ext>
            </a:extLst>
          </p:cNvPr>
          <p:cNvSpPr/>
          <p:nvPr>
            <p:custDataLst>
              <p:tags r:id="rId1"/>
            </p:custDataLst>
          </p:nvPr>
        </p:nvSpPr>
        <p:spPr bwMode="auto">
          <a:xfrm>
            <a:off x="1992314" y="6324859"/>
            <a:ext cx="8207375" cy="473498"/>
          </a:xfrm>
          <a:prstGeom prst="leftRightArrow">
            <a:avLst>
              <a:gd name="adj1" fmla="val 0"/>
              <a:gd name="adj2" fmla="val 0"/>
            </a:avLst>
          </a:prstGeom>
          <a:no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charset="0"/>
                <a:ea typeface="+mn-ea"/>
                <a:cs typeface="+mn-cs"/>
              </a:rPr>
              <a:t>Key Activities And Deliverables Should Be Defined For Components Shown Above</a:t>
            </a:r>
          </a:p>
        </p:txBody>
      </p:sp>
      <p:grpSp>
        <p:nvGrpSpPr>
          <p:cNvPr id="63" name="Group 15">
            <a:extLst>
              <a:ext uri="{FF2B5EF4-FFF2-40B4-BE49-F238E27FC236}">
                <a16:creationId xmlns:a16="http://schemas.microsoft.com/office/drawing/2014/main" id="{63C1F733-9A29-4CE8-A10E-6E18BEBDC9C4}"/>
              </a:ext>
            </a:extLst>
          </p:cNvPr>
          <p:cNvGrpSpPr/>
          <p:nvPr>
            <p:custDataLst>
              <p:tags r:id="rId2"/>
            </p:custDataLst>
          </p:nvPr>
        </p:nvGrpSpPr>
        <p:grpSpPr bwMode="auto">
          <a:xfrm>
            <a:off x="9273132" y="512677"/>
            <a:ext cx="894476" cy="481687"/>
            <a:chOff x="7792324" y="1498600"/>
            <a:chExt cx="894476" cy="481687"/>
          </a:xfrm>
        </p:grpSpPr>
        <p:sp>
          <p:nvSpPr>
            <p:cNvPr id="64" name="TextBox 63">
              <a:extLst>
                <a:ext uri="{FF2B5EF4-FFF2-40B4-BE49-F238E27FC236}">
                  <a16:creationId xmlns:a16="http://schemas.microsoft.com/office/drawing/2014/main" id="{1CB4E19D-9F78-4217-8573-215DE85D38EB}"/>
                </a:ext>
              </a:extLst>
            </p:cNvPr>
            <p:cNvSpPr txBox="1"/>
            <p:nvPr/>
          </p:nvSpPr>
          <p:spPr bwMode="auto">
            <a:xfrm>
              <a:off x="7792324" y="1524000"/>
              <a:ext cx="894476" cy="430887"/>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Illustr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Contents</a:t>
              </a:r>
            </a:p>
          </p:txBody>
        </p:sp>
        <p:cxnSp>
          <p:nvCxnSpPr>
            <p:cNvPr id="65" name="Straight Connector 64">
              <a:extLst>
                <a:ext uri="{FF2B5EF4-FFF2-40B4-BE49-F238E27FC236}">
                  <a16:creationId xmlns:a16="http://schemas.microsoft.com/office/drawing/2014/main" id="{773621E9-4DFE-4254-8D83-FDDE05DF1FF3}"/>
                </a:ext>
              </a:extLst>
            </p:cNvPr>
            <p:cNvCxnSpPr/>
            <p:nvPr/>
          </p:nvCxnSpPr>
          <p:spPr bwMode="auto">
            <a:xfrm>
              <a:off x="7792324" y="1498600"/>
              <a:ext cx="894476" cy="0"/>
            </a:xfrm>
            <a:prstGeom prst="line">
              <a:avLst/>
            </a:prstGeom>
            <a:noFill/>
            <a:ln w="12700" cap="flat" cmpd="sng" algn="ctr">
              <a:solidFill>
                <a:srgbClr val="000000"/>
              </a:solidFill>
              <a:prstDash val="solid"/>
              <a:headEnd type="none"/>
              <a:tailEnd type="none"/>
            </a:ln>
            <a:effectLst/>
          </p:spPr>
        </p:cxnSp>
        <p:cxnSp>
          <p:nvCxnSpPr>
            <p:cNvPr id="66" name="Straight Connector 65">
              <a:extLst>
                <a:ext uri="{FF2B5EF4-FFF2-40B4-BE49-F238E27FC236}">
                  <a16:creationId xmlns:a16="http://schemas.microsoft.com/office/drawing/2014/main" id="{BD7F7BF3-08B0-4E5A-8CD7-5EA1671059D3}"/>
                </a:ext>
              </a:extLst>
            </p:cNvPr>
            <p:cNvCxnSpPr/>
            <p:nvPr/>
          </p:nvCxnSpPr>
          <p:spPr bwMode="auto">
            <a:xfrm>
              <a:off x="7792324" y="1980287"/>
              <a:ext cx="894476" cy="0"/>
            </a:xfrm>
            <a:prstGeom prst="line">
              <a:avLst/>
            </a:prstGeom>
            <a:noFill/>
            <a:ln w="12700" cap="flat" cmpd="sng" algn="ctr">
              <a:solidFill>
                <a:srgbClr val="000000"/>
              </a:solidFill>
              <a:prstDash val="solid"/>
              <a:headEnd type="none"/>
              <a:tailEnd type="none"/>
            </a:ln>
            <a:effectLst/>
          </p:spPr>
        </p:cxnSp>
      </p:grpSp>
      <p:sp>
        <p:nvSpPr>
          <p:cNvPr id="46" name="Text Box 106">
            <a:extLst>
              <a:ext uri="{FF2B5EF4-FFF2-40B4-BE49-F238E27FC236}">
                <a16:creationId xmlns:a16="http://schemas.microsoft.com/office/drawing/2014/main" id="{83C23D1F-32E2-4999-AE3D-DCB25B0CFD6E}"/>
              </a:ext>
            </a:extLst>
          </p:cNvPr>
          <p:cNvSpPr txBox="1">
            <a:spLocks noChangeArrowheads="1"/>
          </p:cNvSpPr>
          <p:nvPr/>
        </p:nvSpPr>
        <p:spPr bwMode="auto">
          <a:xfrm>
            <a:off x="5189738" y="1801553"/>
            <a:ext cx="1728390" cy="153888"/>
          </a:xfrm>
          <a:prstGeom prst="rect">
            <a:avLst/>
          </a:prstGeom>
          <a:noFill/>
          <a:ln w="12700" algn="ctr">
            <a:noFill/>
            <a:miter lim="800000"/>
            <a:headEnd/>
            <a:tailEnd/>
          </a:ln>
          <a:effectLst/>
        </p:spPr>
        <p:txBody>
          <a:bodyPr lIns="0" tIns="0" rIns="0" bIns="0">
            <a:spAutoFit/>
          </a:bodyPr>
          <a:lstStyle/>
          <a:p>
            <a:pPr marL="0" marR="0" lvl="0" indent="0" algn="l" defTabSz="787400" rtl="0" eaLnBrk="1" fontAlgn="auto" latinLnBrk="0" hangingPunct="1">
              <a:lnSpc>
                <a:spcPct val="100000"/>
              </a:lnSpc>
              <a:spcBef>
                <a:spcPct val="50000"/>
              </a:spcBef>
              <a:spcAft>
                <a:spcPts val="0"/>
              </a:spcAft>
              <a:buClrTx/>
              <a:buSzTx/>
              <a:buFontTx/>
              <a:buNone/>
              <a:tabLst/>
              <a:defRPr/>
            </a:pPr>
            <a:r>
              <a:rPr kumimoji="0" lang="it-IT" sz="1000" b="1" i="0" u="none" strike="noStrike" kern="0" cap="none" spc="0" normalizeH="0" baseline="0" noProof="0" dirty="0">
                <a:ln>
                  <a:noFill/>
                </a:ln>
                <a:solidFill>
                  <a:srgbClr val="000000"/>
                </a:solidFill>
                <a:effectLst/>
                <a:uLnTx/>
                <a:uFillTx/>
                <a:latin typeface="Graphik"/>
                <a:ea typeface="+mn-ea"/>
                <a:cs typeface="+mn-cs"/>
              </a:rPr>
              <a:t>Mission Statement</a:t>
            </a:r>
            <a:endParaRPr kumimoji="0" lang="en-US" sz="1000" b="1" i="0" u="none" strike="noStrike" kern="0" cap="none" spc="0" normalizeH="0" baseline="0" noProof="0" dirty="0">
              <a:ln>
                <a:noFill/>
              </a:ln>
              <a:solidFill>
                <a:srgbClr val="000000"/>
              </a:solidFill>
              <a:effectLst/>
              <a:uLnTx/>
              <a:uFillTx/>
              <a:latin typeface="Graphik"/>
              <a:ea typeface="+mn-ea"/>
              <a:cs typeface="+mn-cs"/>
            </a:endParaRPr>
          </a:p>
        </p:txBody>
      </p:sp>
      <p:sp>
        <p:nvSpPr>
          <p:cNvPr id="2" name="Rectangle 1">
            <a:hlinkClick r:id="rId5" action="ppaction://hlinksldjump"/>
            <a:extLst>
              <a:ext uri="{FF2B5EF4-FFF2-40B4-BE49-F238E27FC236}">
                <a16:creationId xmlns:a16="http://schemas.microsoft.com/office/drawing/2014/main" id="{4F836FC4-55CF-48A9-9FB4-17170783035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158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2A2C568-6112-8948-BF3C-EDF5517327B1}"/>
              </a:ext>
            </a:extLst>
          </p:cNvPr>
          <p:cNvSpPr>
            <a:spLocks noGrp="1"/>
          </p:cNvSpPr>
          <p:nvPr>
            <p:ph type="body" sz="quarter" idx="14"/>
          </p:nvPr>
        </p:nvSpPr>
        <p:spPr/>
        <p:txBody>
          <a:bodyPr/>
          <a:lstStyle/>
          <a:p>
            <a:endParaRPr lang="en-US"/>
          </a:p>
        </p:txBody>
      </p:sp>
      <p:sp>
        <p:nvSpPr>
          <p:cNvPr id="4" name="Content Placeholder 3">
            <a:extLst>
              <a:ext uri="{FF2B5EF4-FFF2-40B4-BE49-F238E27FC236}">
                <a16:creationId xmlns:a16="http://schemas.microsoft.com/office/drawing/2014/main" id="{1CE69315-14CD-0A4B-95ED-CC0DDCB37121}"/>
              </a:ext>
            </a:extLst>
          </p:cNvPr>
          <p:cNvSpPr>
            <a:spLocks noGrp="1"/>
          </p:cNvSpPr>
          <p:nvPr>
            <p:ph sz="quarter" idx="10"/>
          </p:nvPr>
        </p:nvSpPr>
        <p:spPr/>
        <p:txBody>
          <a:bodyPr/>
          <a:lstStyle/>
          <a:p>
            <a:endParaRPr lang="en-US"/>
          </a:p>
        </p:txBody>
      </p:sp>
      <p:sp>
        <p:nvSpPr>
          <p:cNvPr id="3" name="Title 2">
            <a:extLst>
              <a:ext uri="{FF2B5EF4-FFF2-40B4-BE49-F238E27FC236}">
                <a16:creationId xmlns:a16="http://schemas.microsoft.com/office/drawing/2014/main" id="{BCFEC6C7-4BB7-7546-819A-219887884062}"/>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654933931"/>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GB" dirty="0"/>
              <a:t>Template Problem Definition Worksheet</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4">
            <a:extLst>
              <a:ext uri="{FF2B5EF4-FFF2-40B4-BE49-F238E27FC236}">
                <a16:creationId xmlns:a16="http://schemas.microsoft.com/office/drawing/2014/main" id="{C25E2965-3A0D-479F-AC36-F51DF367CE02}"/>
              </a:ext>
            </a:extLst>
          </p:cNvPr>
          <p:cNvSpPr>
            <a:spLocks noChangeArrowheads="1"/>
          </p:cNvSpPr>
          <p:nvPr/>
        </p:nvSpPr>
        <p:spPr bwMode="auto">
          <a:xfrm>
            <a:off x="1992313" y="1304765"/>
            <a:ext cx="8207376" cy="1006475"/>
          </a:xfrm>
          <a:prstGeom prst="rect">
            <a:avLst/>
          </a:prstGeom>
          <a:noFill/>
          <a:ln w="6350">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a:ea typeface="+mn-ea"/>
                <a:cs typeface="+mn-cs"/>
              </a:rPr>
              <a:t>Key facts (situation):</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Rectangle 5">
            <a:extLst>
              <a:ext uri="{FF2B5EF4-FFF2-40B4-BE49-F238E27FC236}">
                <a16:creationId xmlns:a16="http://schemas.microsoft.com/office/drawing/2014/main" id="{C28DCEA9-77B2-4458-A12F-4207D06464E9}"/>
              </a:ext>
            </a:extLst>
          </p:cNvPr>
          <p:cNvSpPr>
            <a:spLocks noChangeArrowheads="1"/>
          </p:cNvSpPr>
          <p:nvPr/>
        </p:nvSpPr>
        <p:spPr bwMode="auto">
          <a:xfrm>
            <a:off x="1992313" y="2365214"/>
            <a:ext cx="8207376" cy="820738"/>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a:ea typeface="+mn-ea"/>
                <a:cs typeface="+mn-cs"/>
              </a:rPr>
              <a:t>Need for change (complication):</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Rectangle 6">
            <a:extLst>
              <a:ext uri="{FF2B5EF4-FFF2-40B4-BE49-F238E27FC236}">
                <a16:creationId xmlns:a16="http://schemas.microsoft.com/office/drawing/2014/main" id="{0056C889-38E5-4DCF-9A7E-C5D2C029C0AD}"/>
              </a:ext>
            </a:extLst>
          </p:cNvPr>
          <p:cNvSpPr>
            <a:spLocks noChangeArrowheads="1"/>
          </p:cNvSpPr>
          <p:nvPr/>
        </p:nvSpPr>
        <p:spPr bwMode="auto">
          <a:xfrm>
            <a:off x="1992313" y="3239928"/>
            <a:ext cx="8207376" cy="638175"/>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2550" marR="0" lvl="0" indent="-8255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A100FF"/>
                </a:solidFill>
                <a:effectLst/>
                <a:uLnTx/>
                <a:uFillTx/>
                <a:latin typeface="Graphik"/>
                <a:ea typeface="+mn-ea"/>
                <a:cs typeface="+mn-cs"/>
              </a:rPr>
              <a:t>Key question:</a:t>
            </a:r>
          </a:p>
          <a:p>
            <a:pPr marL="82550" marR="0" lvl="0" indent="-82550" algn="l" defTabSz="914400" rtl="0" eaLnBrk="1" fontAlgn="auto" latinLnBrk="0" hangingPunct="1">
              <a:lnSpc>
                <a:spcPct val="100000"/>
              </a:lnSpc>
              <a:spcBef>
                <a:spcPct val="25000"/>
              </a:spcBef>
              <a:spcAft>
                <a:spcPts val="0"/>
              </a:spcAft>
              <a:buClrTx/>
              <a:buSzTx/>
              <a:buFontTx/>
              <a:buChar char="•"/>
              <a:tabLst/>
              <a:defRPr/>
            </a:pPr>
            <a:endParaRPr kumimoji="0" lang="en-GB" sz="1400" b="1" i="0" u="none" strike="noStrike" kern="0" cap="none" spc="0" normalizeH="0" baseline="0" noProof="0" dirty="0">
              <a:ln>
                <a:noFill/>
              </a:ln>
              <a:solidFill>
                <a:srgbClr val="A100FF"/>
              </a:solidFill>
              <a:effectLst/>
              <a:uLnTx/>
              <a:uFillTx/>
              <a:latin typeface="Graphik"/>
              <a:ea typeface="+mn-ea"/>
              <a:cs typeface="+mn-cs"/>
            </a:endParaRPr>
          </a:p>
        </p:txBody>
      </p:sp>
      <p:sp>
        <p:nvSpPr>
          <p:cNvPr id="9" name="Rectangle 8">
            <a:extLst>
              <a:ext uri="{FF2B5EF4-FFF2-40B4-BE49-F238E27FC236}">
                <a16:creationId xmlns:a16="http://schemas.microsoft.com/office/drawing/2014/main" id="{796F3DA2-41BF-4055-B065-B0D213B9DAB6}"/>
              </a:ext>
            </a:extLst>
          </p:cNvPr>
          <p:cNvSpPr>
            <a:spLocks noChangeArrowheads="1"/>
          </p:cNvSpPr>
          <p:nvPr/>
        </p:nvSpPr>
        <p:spPr bwMode="auto">
          <a:xfrm>
            <a:off x="1992314" y="4213064"/>
            <a:ext cx="3954463" cy="1270000"/>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a:ea typeface="+mn-ea"/>
                <a:cs typeface="+mn-cs"/>
              </a:rPr>
              <a:t>Sponsors:</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Rectangle 9">
            <a:extLst>
              <a:ext uri="{FF2B5EF4-FFF2-40B4-BE49-F238E27FC236}">
                <a16:creationId xmlns:a16="http://schemas.microsoft.com/office/drawing/2014/main" id="{F43E6D6E-3651-4367-A032-4FCE1972AB4F}"/>
              </a:ext>
            </a:extLst>
          </p:cNvPr>
          <p:cNvSpPr>
            <a:spLocks noChangeArrowheads="1"/>
          </p:cNvSpPr>
          <p:nvPr/>
        </p:nvSpPr>
        <p:spPr bwMode="auto">
          <a:xfrm>
            <a:off x="1992314" y="4848064"/>
            <a:ext cx="3954463" cy="635000"/>
          </a:xfrm>
          <a:prstGeom prst="rect">
            <a:avLst/>
          </a:prstGeom>
          <a:noFill/>
          <a:ln w="6350" algn="ctr">
            <a:no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a:ea typeface="+mn-ea"/>
                <a:cs typeface="+mn-cs"/>
              </a:rPr>
              <a:t>Key decision makers:</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1" i="0" u="none" strike="noStrike" kern="0" cap="none" spc="0" normalizeH="0" baseline="0" noProof="0" dirty="0">
              <a:ln>
                <a:noFill/>
              </a:ln>
              <a:solidFill>
                <a:srgbClr val="000000"/>
              </a:solidFill>
              <a:effectLst/>
              <a:uLnTx/>
              <a:uFillTx/>
              <a:latin typeface="Graphik"/>
              <a:ea typeface="+mn-ea"/>
              <a:cs typeface="+mn-cs"/>
            </a:endParaRPr>
          </a:p>
        </p:txBody>
      </p:sp>
      <p:sp>
        <p:nvSpPr>
          <p:cNvPr id="11" name="Rectangle 10">
            <a:extLst>
              <a:ext uri="{FF2B5EF4-FFF2-40B4-BE49-F238E27FC236}">
                <a16:creationId xmlns:a16="http://schemas.microsoft.com/office/drawing/2014/main" id="{6F47ED1A-FF1D-4A40-AE3B-005B364DDCF1}"/>
              </a:ext>
            </a:extLst>
          </p:cNvPr>
          <p:cNvSpPr>
            <a:spLocks noChangeArrowheads="1"/>
          </p:cNvSpPr>
          <p:nvPr/>
        </p:nvSpPr>
        <p:spPr bwMode="auto">
          <a:xfrm>
            <a:off x="6245227" y="4213064"/>
            <a:ext cx="3954463" cy="1270000"/>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0" marR="0" lvl="0" indent="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a:ea typeface="+mn-ea"/>
                <a:cs typeface="+mn-cs"/>
              </a:rPr>
              <a:t>Desired outcomes:</a:t>
            </a:r>
          </a:p>
        </p:txBody>
      </p:sp>
      <p:sp>
        <p:nvSpPr>
          <p:cNvPr id="12" name="Rectangle 11">
            <a:extLst>
              <a:ext uri="{FF2B5EF4-FFF2-40B4-BE49-F238E27FC236}">
                <a16:creationId xmlns:a16="http://schemas.microsoft.com/office/drawing/2014/main" id="{F34D9AEA-6937-4213-9019-34FCF201303D}"/>
              </a:ext>
            </a:extLst>
          </p:cNvPr>
          <p:cNvSpPr>
            <a:spLocks noChangeArrowheads="1"/>
          </p:cNvSpPr>
          <p:nvPr/>
        </p:nvSpPr>
        <p:spPr bwMode="auto">
          <a:xfrm>
            <a:off x="6245227" y="4848064"/>
            <a:ext cx="3954463" cy="635000"/>
          </a:xfrm>
          <a:prstGeom prst="rect">
            <a:avLst/>
          </a:prstGeom>
          <a:noFill/>
          <a:ln w="6350" algn="ctr">
            <a:no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a:ea typeface="+mn-ea"/>
                <a:cs typeface="+mn-cs"/>
              </a:rPr>
              <a:t>Out of scope:</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13" name="Rectangle 12">
            <a:extLst>
              <a:ext uri="{FF2B5EF4-FFF2-40B4-BE49-F238E27FC236}">
                <a16:creationId xmlns:a16="http://schemas.microsoft.com/office/drawing/2014/main" id="{9B81410D-F98D-4F4E-A0E2-B8FD8B80D91F}"/>
              </a:ext>
            </a:extLst>
          </p:cNvPr>
          <p:cNvSpPr>
            <a:spLocks noChangeArrowheads="1"/>
          </p:cNvSpPr>
          <p:nvPr/>
        </p:nvSpPr>
        <p:spPr bwMode="auto">
          <a:xfrm>
            <a:off x="1993081" y="3920480"/>
            <a:ext cx="39544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4000" tIns="54000" rIns="54000" bIns="54000"/>
          <a:lstStyle/>
          <a:p>
            <a:pPr marL="0" marR="0" lvl="0" indent="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a:ea typeface="+mn-ea"/>
                <a:cs typeface="+mn-cs"/>
              </a:rPr>
              <a:t>Buyers</a:t>
            </a:r>
          </a:p>
        </p:txBody>
      </p:sp>
      <p:sp>
        <p:nvSpPr>
          <p:cNvPr id="14" name="Rectangle 13">
            <a:extLst>
              <a:ext uri="{FF2B5EF4-FFF2-40B4-BE49-F238E27FC236}">
                <a16:creationId xmlns:a16="http://schemas.microsoft.com/office/drawing/2014/main" id="{187119C3-04F9-476D-8DA2-4931D5C76801}"/>
              </a:ext>
            </a:extLst>
          </p:cNvPr>
          <p:cNvSpPr>
            <a:spLocks noChangeArrowheads="1"/>
          </p:cNvSpPr>
          <p:nvPr/>
        </p:nvSpPr>
        <p:spPr bwMode="auto">
          <a:xfrm>
            <a:off x="6245994" y="3920480"/>
            <a:ext cx="39544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4000" tIns="54000" rIns="54000" bIns="54000"/>
          <a:lstStyle/>
          <a:p>
            <a:pPr marL="0" marR="0" lvl="0" indent="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a:ln>
                  <a:noFill/>
                </a:ln>
                <a:solidFill>
                  <a:srgbClr val="000000"/>
                </a:solidFill>
                <a:effectLst/>
                <a:uLnTx/>
                <a:uFillTx/>
                <a:latin typeface="Graphik"/>
                <a:ea typeface="+mn-ea"/>
                <a:cs typeface="+mn-cs"/>
              </a:rPr>
              <a:t>Scope</a:t>
            </a:r>
          </a:p>
        </p:txBody>
      </p:sp>
      <p:sp>
        <p:nvSpPr>
          <p:cNvPr id="15" name="Rectangle 14">
            <a:extLst>
              <a:ext uri="{FF2B5EF4-FFF2-40B4-BE49-F238E27FC236}">
                <a16:creationId xmlns:a16="http://schemas.microsoft.com/office/drawing/2014/main" id="{358A0810-F3AB-4BA5-A49C-C016C94554BD}"/>
              </a:ext>
            </a:extLst>
          </p:cNvPr>
          <p:cNvSpPr>
            <a:spLocks noChangeArrowheads="1"/>
          </p:cNvSpPr>
          <p:nvPr/>
        </p:nvSpPr>
        <p:spPr bwMode="auto">
          <a:xfrm>
            <a:off x="1992313" y="5540215"/>
            <a:ext cx="8207376" cy="650875"/>
          </a:xfrm>
          <a:prstGeom prst="rect">
            <a:avLst/>
          </a:prstGeom>
          <a:noFill/>
          <a:ln w="6350" algn="ctr">
            <a:solidFill>
              <a:srgbClr val="BE82F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54000" tIns="54000" rIns="54000" bIns="54000"/>
          <a:lstStyle/>
          <a:p>
            <a:pPr marL="88900" marR="0" lvl="0" indent="-88900" algn="l" defTabSz="914400" rtl="0" eaLnBrk="1" fontAlgn="auto" latinLnBrk="0" hangingPunct="1">
              <a:lnSpc>
                <a:spcPct val="100000"/>
              </a:lnSpc>
              <a:spcBef>
                <a:spcPct val="2500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Graphik"/>
                <a:ea typeface="+mn-ea"/>
                <a:cs typeface="+mn-cs"/>
              </a:rPr>
              <a:t>Criteria for quality:</a:t>
            </a:r>
          </a:p>
          <a:p>
            <a:pPr marL="88900" marR="0" lvl="0" indent="-88900" algn="l" defTabSz="914400" rtl="0" eaLnBrk="1" fontAlgn="auto" latinLnBrk="0" hangingPunct="1">
              <a:lnSpc>
                <a:spcPct val="100000"/>
              </a:lnSpc>
              <a:spcBef>
                <a:spcPct val="25000"/>
              </a:spcBef>
              <a:spcAft>
                <a:spcPts val="0"/>
              </a:spcAft>
              <a:buClrTx/>
              <a:buSzTx/>
              <a:buFontTx/>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2" name="Rectangle 1">
            <a:hlinkClick r:id="rId3" action="ppaction://hlinksldjump"/>
            <a:extLst>
              <a:ext uri="{FF2B5EF4-FFF2-40B4-BE49-F238E27FC236}">
                <a16:creationId xmlns:a16="http://schemas.microsoft.com/office/drawing/2014/main" id="{7A9808F5-440A-441B-87C6-CEBF73820D4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185478192"/>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ioritization Matrix 1</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Box 11">
            <a:extLst>
              <a:ext uri="{FF2B5EF4-FFF2-40B4-BE49-F238E27FC236}">
                <a16:creationId xmlns:a16="http://schemas.microsoft.com/office/drawing/2014/main" id="{025735E3-E820-4E59-9353-A85041B7C7E3}"/>
              </a:ext>
            </a:extLst>
          </p:cNvPr>
          <p:cNvSpPr txBox="1">
            <a:spLocks noChangeArrowheads="1"/>
          </p:cNvSpPr>
          <p:nvPr/>
        </p:nvSpPr>
        <p:spPr bwMode="auto">
          <a:xfrm>
            <a:off x="1981762" y="1630339"/>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Value</a:t>
            </a:r>
          </a:p>
        </p:txBody>
      </p:sp>
      <p:sp>
        <p:nvSpPr>
          <p:cNvPr id="7" name="Rectangle 7">
            <a:extLst>
              <a:ext uri="{FF2B5EF4-FFF2-40B4-BE49-F238E27FC236}">
                <a16:creationId xmlns:a16="http://schemas.microsoft.com/office/drawing/2014/main" id="{C623B92B-E917-411C-997A-C2B3031E8327}"/>
              </a:ext>
            </a:extLst>
          </p:cNvPr>
          <p:cNvSpPr>
            <a:spLocks noChangeArrowheads="1"/>
          </p:cNvSpPr>
          <p:nvPr/>
        </p:nvSpPr>
        <p:spPr bwMode="auto">
          <a:xfrm>
            <a:off x="2546464" y="1974643"/>
            <a:ext cx="3656764" cy="3330319"/>
          </a:xfrm>
          <a:prstGeom prst="rect">
            <a:avLst/>
          </a:prstGeom>
          <a:noFill/>
          <a:ln w="6350" cap="flat" cmpd="sng" algn="ctr">
            <a:solidFill>
              <a:srgbClr val="96968C">
                <a:lumMod val="60000"/>
                <a:lumOff val="40000"/>
              </a:srgbClr>
            </a:solidFill>
            <a:prstDash val="solid"/>
            <a:headEnd/>
            <a:tailEnd/>
          </a:ln>
          <a:effectLst/>
        </p:spPr>
        <p:txBody>
          <a:bodyPr wrap="none" lIns="0" tIns="0" rIns="0" bIns="0"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Graphik"/>
              <a:ea typeface="+mn-ea"/>
              <a:cs typeface="+mn-cs"/>
            </a:endParaRPr>
          </a:p>
        </p:txBody>
      </p:sp>
      <p:sp>
        <p:nvSpPr>
          <p:cNvPr id="8" name="Text Box 11">
            <a:extLst>
              <a:ext uri="{FF2B5EF4-FFF2-40B4-BE49-F238E27FC236}">
                <a16:creationId xmlns:a16="http://schemas.microsoft.com/office/drawing/2014/main" id="{C6CCF3D8-22B0-475E-A4C5-6E3A255C9E5E}"/>
              </a:ext>
            </a:extLst>
          </p:cNvPr>
          <p:cNvSpPr txBox="1">
            <a:spLocks noChangeArrowheads="1"/>
          </p:cNvSpPr>
          <p:nvPr/>
        </p:nvSpPr>
        <p:spPr bwMode="auto">
          <a:xfrm>
            <a:off x="5735960" y="5693536"/>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Effort</a:t>
            </a:r>
          </a:p>
        </p:txBody>
      </p:sp>
      <p:sp>
        <p:nvSpPr>
          <p:cNvPr id="9" name="Text Box 13">
            <a:extLst>
              <a:ext uri="{FF2B5EF4-FFF2-40B4-BE49-F238E27FC236}">
                <a16:creationId xmlns:a16="http://schemas.microsoft.com/office/drawing/2014/main" id="{AF68CEC8-71DE-445B-8831-BCDC6106B313}"/>
              </a:ext>
            </a:extLst>
          </p:cNvPr>
          <p:cNvSpPr txBox="1">
            <a:spLocks noChangeArrowheads="1"/>
          </p:cNvSpPr>
          <p:nvPr/>
        </p:nvSpPr>
        <p:spPr bwMode="auto">
          <a:xfrm>
            <a:off x="5547948" y="5405505"/>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10" name="Text Box 14">
            <a:extLst>
              <a:ext uri="{FF2B5EF4-FFF2-40B4-BE49-F238E27FC236}">
                <a16:creationId xmlns:a16="http://schemas.microsoft.com/office/drawing/2014/main" id="{ABF2F071-E386-4EC5-AF22-D56F84681A60}"/>
              </a:ext>
            </a:extLst>
          </p:cNvPr>
          <p:cNvSpPr txBox="1">
            <a:spLocks noChangeArrowheads="1"/>
          </p:cNvSpPr>
          <p:nvPr/>
        </p:nvSpPr>
        <p:spPr bwMode="auto">
          <a:xfrm>
            <a:off x="2370849" y="5405505"/>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11" name="Text Box 15">
            <a:extLst>
              <a:ext uri="{FF2B5EF4-FFF2-40B4-BE49-F238E27FC236}">
                <a16:creationId xmlns:a16="http://schemas.microsoft.com/office/drawing/2014/main" id="{B0DD6764-933A-4167-B74D-CDD3669A79BD}"/>
              </a:ext>
            </a:extLst>
          </p:cNvPr>
          <p:cNvSpPr txBox="1">
            <a:spLocks noChangeArrowheads="1"/>
          </p:cNvSpPr>
          <p:nvPr/>
        </p:nvSpPr>
        <p:spPr bwMode="auto">
          <a:xfrm>
            <a:off x="4062337" y="5405505"/>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grpSp>
        <p:nvGrpSpPr>
          <p:cNvPr id="12" name="Group 11">
            <a:extLst>
              <a:ext uri="{FF2B5EF4-FFF2-40B4-BE49-F238E27FC236}">
                <a16:creationId xmlns:a16="http://schemas.microsoft.com/office/drawing/2014/main" id="{694F427B-227A-450E-A6D9-B16354E8A228}"/>
              </a:ext>
            </a:extLst>
          </p:cNvPr>
          <p:cNvGrpSpPr/>
          <p:nvPr/>
        </p:nvGrpSpPr>
        <p:grpSpPr>
          <a:xfrm>
            <a:off x="2536836" y="1974642"/>
            <a:ext cx="3666392" cy="3322480"/>
            <a:chOff x="2536836" y="1974642"/>
            <a:chExt cx="3666392" cy="3322480"/>
          </a:xfrm>
        </p:grpSpPr>
        <p:sp>
          <p:nvSpPr>
            <p:cNvPr id="13" name="Line 20">
              <a:extLst>
                <a:ext uri="{FF2B5EF4-FFF2-40B4-BE49-F238E27FC236}">
                  <a16:creationId xmlns:a16="http://schemas.microsoft.com/office/drawing/2014/main" id="{13F13656-5C48-420D-B2A7-72A270F2E34A}"/>
                </a:ext>
              </a:extLst>
            </p:cNvPr>
            <p:cNvSpPr>
              <a:spLocks noChangeShapeType="1"/>
            </p:cNvSpPr>
            <p:nvPr/>
          </p:nvSpPr>
          <p:spPr bwMode="auto">
            <a:xfrm flipV="1">
              <a:off x="3776252" y="1974642"/>
              <a:ext cx="0" cy="3322480"/>
            </a:xfrm>
            <a:prstGeom prst="line">
              <a:avLst/>
            </a:prstGeom>
            <a:noFill/>
            <a:ln w="6350">
              <a:solidFill>
                <a:srgbClr val="96968C">
                  <a:lumMod val="60000"/>
                  <a:lumOff val="40000"/>
                </a:srgbClr>
              </a:solidFill>
              <a:prstDash val="solid"/>
              <a:round/>
              <a:headEnd/>
              <a:tailEnd/>
            </a:ln>
          </p:spPr>
          <p:txBody>
            <a:bodyPr wrap="none" lIns="0" tIns="0" rIns="0" bIns="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4" name="Line 21">
              <a:extLst>
                <a:ext uri="{FF2B5EF4-FFF2-40B4-BE49-F238E27FC236}">
                  <a16:creationId xmlns:a16="http://schemas.microsoft.com/office/drawing/2014/main" id="{5C1A1DBC-6B6B-4595-8848-8DDE27F0A985}"/>
                </a:ext>
              </a:extLst>
            </p:cNvPr>
            <p:cNvSpPr>
              <a:spLocks noChangeShapeType="1"/>
            </p:cNvSpPr>
            <p:nvPr/>
          </p:nvSpPr>
          <p:spPr bwMode="auto">
            <a:xfrm>
              <a:off x="2536836" y="3192319"/>
              <a:ext cx="3666392" cy="0"/>
            </a:xfrm>
            <a:prstGeom prst="line">
              <a:avLst/>
            </a:prstGeom>
            <a:noFill/>
            <a:ln w="6350">
              <a:solidFill>
                <a:srgbClr val="96968C">
                  <a:lumMod val="60000"/>
                  <a:lumOff val="40000"/>
                </a:srgbClr>
              </a:solidFill>
              <a:prstDash val="solid"/>
              <a:round/>
              <a:headEnd/>
              <a:tailEnd/>
            </a:ln>
          </p:spPr>
          <p:txBody>
            <a:bodyPr wrap="none" lIns="0" tIns="0" rIns="0" bIns="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5" name="Line 22">
              <a:extLst>
                <a:ext uri="{FF2B5EF4-FFF2-40B4-BE49-F238E27FC236}">
                  <a16:creationId xmlns:a16="http://schemas.microsoft.com/office/drawing/2014/main" id="{148A29FA-4411-4E2C-B5E0-FA14FC2C0889}"/>
                </a:ext>
              </a:extLst>
            </p:cNvPr>
            <p:cNvSpPr>
              <a:spLocks noChangeShapeType="1"/>
            </p:cNvSpPr>
            <p:nvPr/>
          </p:nvSpPr>
          <p:spPr bwMode="auto">
            <a:xfrm flipV="1">
              <a:off x="5005886" y="1974642"/>
              <a:ext cx="0" cy="3322480"/>
            </a:xfrm>
            <a:prstGeom prst="line">
              <a:avLst/>
            </a:prstGeom>
            <a:noFill/>
            <a:ln w="6350">
              <a:solidFill>
                <a:srgbClr val="96968C">
                  <a:lumMod val="60000"/>
                  <a:lumOff val="40000"/>
                </a:srgbClr>
              </a:solidFill>
              <a:prstDash val="solid"/>
              <a:round/>
              <a:headEnd/>
              <a:tailEnd/>
            </a:ln>
          </p:spPr>
          <p:txBody>
            <a:bodyPr wrap="none" lIns="0" tIns="0" rIns="0" bIns="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6" name="Line 23">
              <a:extLst>
                <a:ext uri="{FF2B5EF4-FFF2-40B4-BE49-F238E27FC236}">
                  <a16:creationId xmlns:a16="http://schemas.microsoft.com/office/drawing/2014/main" id="{C216786B-7679-4E6A-9397-3FAD5DB2B49F}"/>
                </a:ext>
              </a:extLst>
            </p:cNvPr>
            <p:cNvSpPr>
              <a:spLocks noChangeShapeType="1"/>
            </p:cNvSpPr>
            <p:nvPr/>
          </p:nvSpPr>
          <p:spPr bwMode="auto">
            <a:xfrm>
              <a:off x="2536836" y="4237535"/>
              <a:ext cx="3666392" cy="0"/>
            </a:xfrm>
            <a:prstGeom prst="line">
              <a:avLst/>
            </a:prstGeom>
            <a:noFill/>
            <a:ln w="6350">
              <a:solidFill>
                <a:srgbClr val="96968C">
                  <a:lumMod val="60000"/>
                  <a:lumOff val="40000"/>
                </a:srgbClr>
              </a:solidFill>
              <a:prstDash val="solid"/>
              <a:round/>
              <a:headEnd/>
              <a:tailEnd/>
            </a:ln>
          </p:spPr>
          <p:txBody>
            <a:bodyPr wrap="none" lIns="0" tIns="0" rIns="0" bIns="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grpSp>
      <p:sp>
        <p:nvSpPr>
          <p:cNvPr id="17" name="Text Box 13">
            <a:extLst>
              <a:ext uri="{FF2B5EF4-FFF2-40B4-BE49-F238E27FC236}">
                <a16:creationId xmlns:a16="http://schemas.microsoft.com/office/drawing/2014/main" id="{FF24009F-1317-41EB-B468-5793091EEB5F}"/>
              </a:ext>
            </a:extLst>
          </p:cNvPr>
          <p:cNvSpPr txBox="1">
            <a:spLocks noChangeArrowheads="1"/>
          </p:cNvSpPr>
          <p:nvPr/>
        </p:nvSpPr>
        <p:spPr bwMode="auto">
          <a:xfrm>
            <a:off x="2034442" y="2483370"/>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18" name="Text Box 14">
            <a:extLst>
              <a:ext uri="{FF2B5EF4-FFF2-40B4-BE49-F238E27FC236}">
                <a16:creationId xmlns:a16="http://schemas.microsoft.com/office/drawing/2014/main" id="{FE4A006C-B405-41EC-ADEB-7283EC969318}"/>
              </a:ext>
            </a:extLst>
          </p:cNvPr>
          <p:cNvSpPr txBox="1">
            <a:spLocks noChangeArrowheads="1"/>
          </p:cNvSpPr>
          <p:nvPr/>
        </p:nvSpPr>
        <p:spPr bwMode="auto">
          <a:xfrm>
            <a:off x="2034442" y="4684234"/>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19" name="Text Box 15">
            <a:extLst>
              <a:ext uri="{FF2B5EF4-FFF2-40B4-BE49-F238E27FC236}">
                <a16:creationId xmlns:a16="http://schemas.microsoft.com/office/drawing/2014/main" id="{73CB86F9-DD90-455F-BC74-5DE94EDDD66F}"/>
              </a:ext>
            </a:extLst>
          </p:cNvPr>
          <p:cNvSpPr txBox="1">
            <a:spLocks noChangeArrowheads="1"/>
          </p:cNvSpPr>
          <p:nvPr/>
        </p:nvSpPr>
        <p:spPr bwMode="auto">
          <a:xfrm>
            <a:off x="2034442" y="3650113"/>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20" name="Oval 19">
            <a:extLst>
              <a:ext uri="{FF2B5EF4-FFF2-40B4-BE49-F238E27FC236}">
                <a16:creationId xmlns:a16="http://schemas.microsoft.com/office/drawing/2014/main" id="{09F0E292-24A8-493C-B3D2-006DF0948D32}"/>
              </a:ext>
            </a:extLst>
          </p:cNvPr>
          <p:cNvSpPr/>
          <p:nvPr/>
        </p:nvSpPr>
        <p:spPr bwMode="auto">
          <a:xfrm>
            <a:off x="4034294" y="2533330"/>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a:t>
            </a:r>
          </a:p>
        </p:txBody>
      </p:sp>
      <p:sp>
        <p:nvSpPr>
          <p:cNvPr id="21" name="Oval 20">
            <a:extLst>
              <a:ext uri="{FF2B5EF4-FFF2-40B4-BE49-F238E27FC236}">
                <a16:creationId xmlns:a16="http://schemas.microsoft.com/office/drawing/2014/main" id="{0EBFC9E9-927F-46D7-AB3A-7D5E77FD6C68}"/>
              </a:ext>
            </a:extLst>
          </p:cNvPr>
          <p:cNvSpPr/>
          <p:nvPr/>
        </p:nvSpPr>
        <p:spPr bwMode="auto">
          <a:xfrm>
            <a:off x="4406177" y="3385939"/>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7</a:t>
            </a:r>
          </a:p>
        </p:txBody>
      </p:sp>
      <p:sp>
        <p:nvSpPr>
          <p:cNvPr id="22" name="Oval 21">
            <a:extLst>
              <a:ext uri="{FF2B5EF4-FFF2-40B4-BE49-F238E27FC236}">
                <a16:creationId xmlns:a16="http://schemas.microsoft.com/office/drawing/2014/main" id="{AE3DADED-90B1-432C-BB28-DC24C40B88C5}"/>
              </a:ext>
            </a:extLst>
          </p:cNvPr>
          <p:cNvSpPr/>
          <p:nvPr/>
        </p:nvSpPr>
        <p:spPr bwMode="auto">
          <a:xfrm>
            <a:off x="2991208" y="2469838"/>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6</a:t>
            </a:r>
          </a:p>
        </p:txBody>
      </p:sp>
      <p:sp>
        <p:nvSpPr>
          <p:cNvPr id="23" name="Oval 22">
            <a:extLst>
              <a:ext uri="{FF2B5EF4-FFF2-40B4-BE49-F238E27FC236}">
                <a16:creationId xmlns:a16="http://schemas.microsoft.com/office/drawing/2014/main" id="{374B338B-DDDF-41C1-9AC0-DCBF039DFD49}"/>
              </a:ext>
            </a:extLst>
          </p:cNvPr>
          <p:cNvSpPr/>
          <p:nvPr/>
        </p:nvSpPr>
        <p:spPr bwMode="auto">
          <a:xfrm>
            <a:off x="4224771" y="4374603"/>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5</a:t>
            </a:r>
          </a:p>
        </p:txBody>
      </p:sp>
      <p:sp>
        <p:nvSpPr>
          <p:cNvPr id="24" name="Oval 23">
            <a:extLst>
              <a:ext uri="{FF2B5EF4-FFF2-40B4-BE49-F238E27FC236}">
                <a16:creationId xmlns:a16="http://schemas.microsoft.com/office/drawing/2014/main" id="{71C8BC1B-4611-445A-A83B-E4D25A24D038}"/>
              </a:ext>
            </a:extLst>
          </p:cNvPr>
          <p:cNvSpPr/>
          <p:nvPr/>
        </p:nvSpPr>
        <p:spPr bwMode="auto">
          <a:xfrm>
            <a:off x="4950396" y="4066213"/>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4</a:t>
            </a:r>
          </a:p>
        </p:txBody>
      </p:sp>
      <p:sp>
        <p:nvSpPr>
          <p:cNvPr id="25" name="Oval 24">
            <a:extLst>
              <a:ext uri="{FF2B5EF4-FFF2-40B4-BE49-F238E27FC236}">
                <a16:creationId xmlns:a16="http://schemas.microsoft.com/office/drawing/2014/main" id="{3CD7E014-BD60-436A-9778-A145F2E56484}"/>
              </a:ext>
            </a:extLst>
          </p:cNvPr>
          <p:cNvSpPr/>
          <p:nvPr/>
        </p:nvSpPr>
        <p:spPr bwMode="auto">
          <a:xfrm>
            <a:off x="3499146" y="3494783"/>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3</a:t>
            </a:r>
          </a:p>
        </p:txBody>
      </p:sp>
      <p:sp>
        <p:nvSpPr>
          <p:cNvPr id="26" name="Oval 25">
            <a:extLst>
              <a:ext uri="{FF2B5EF4-FFF2-40B4-BE49-F238E27FC236}">
                <a16:creationId xmlns:a16="http://schemas.microsoft.com/office/drawing/2014/main" id="{565D8728-F841-48C8-8F82-05486282FD18}"/>
              </a:ext>
            </a:extLst>
          </p:cNvPr>
          <p:cNvSpPr/>
          <p:nvPr/>
        </p:nvSpPr>
        <p:spPr bwMode="auto">
          <a:xfrm>
            <a:off x="5213435" y="2497049"/>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2</a:t>
            </a:r>
          </a:p>
        </p:txBody>
      </p:sp>
      <p:sp>
        <p:nvSpPr>
          <p:cNvPr id="27" name="Oval 26">
            <a:extLst>
              <a:ext uri="{FF2B5EF4-FFF2-40B4-BE49-F238E27FC236}">
                <a16:creationId xmlns:a16="http://schemas.microsoft.com/office/drawing/2014/main" id="{2A622DB6-20F6-4753-9664-E69AD9F7609A}"/>
              </a:ext>
            </a:extLst>
          </p:cNvPr>
          <p:cNvSpPr/>
          <p:nvPr/>
        </p:nvSpPr>
        <p:spPr bwMode="auto">
          <a:xfrm>
            <a:off x="2791661" y="4165986"/>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1</a:t>
            </a:r>
          </a:p>
        </p:txBody>
      </p:sp>
      <p:sp>
        <p:nvSpPr>
          <p:cNvPr id="28" name="Oval 27">
            <a:extLst>
              <a:ext uri="{FF2B5EF4-FFF2-40B4-BE49-F238E27FC236}">
                <a16:creationId xmlns:a16="http://schemas.microsoft.com/office/drawing/2014/main" id="{76C8542C-2B09-4D2C-AE4C-21DF25B98445}"/>
              </a:ext>
            </a:extLst>
          </p:cNvPr>
          <p:cNvSpPr/>
          <p:nvPr/>
        </p:nvSpPr>
        <p:spPr bwMode="auto">
          <a:xfrm>
            <a:off x="5086451" y="3322447"/>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0</a:t>
            </a:r>
          </a:p>
        </p:txBody>
      </p:sp>
      <p:sp>
        <p:nvSpPr>
          <p:cNvPr id="29" name="Oval 28">
            <a:extLst>
              <a:ext uri="{FF2B5EF4-FFF2-40B4-BE49-F238E27FC236}">
                <a16:creationId xmlns:a16="http://schemas.microsoft.com/office/drawing/2014/main" id="{1AEAE969-2D49-42C6-9769-7507A1719C49}"/>
              </a:ext>
            </a:extLst>
          </p:cNvPr>
          <p:cNvSpPr/>
          <p:nvPr/>
        </p:nvSpPr>
        <p:spPr bwMode="auto">
          <a:xfrm>
            <a:off x="2982138" y="3549205"/>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9</a:t>
            </a:r>
          </a:p>
        </p:txBody>
      </p:sp>
      <p:sp>
        <p:nvSpPr>
          <p:cNvPr id="30" name="Oval 29">
            <a:extLst>
              <a:ext uri="{FF2B5EF4-FFF2-40B4-BE49-F238E27FC236}">
                <a16:creationId xmlns:a16="http://schemas.microsoft.com/office/drawing/2014/main" id="{89793218-BF1B-4342-A3D3-6100923E0D8C}"/>
              </a:ext>
            </a:extLst>
          </p:cNvPr>
          <p:cNvSpPr/>
          <p:nvPr/>
        </p:nvSpPr>
        <p:spPr bwMode="auto">
          <a:xfrm>
            <a:off x="4723638" y="2506119"/>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8</a:t>
            </a:r>
          </a:p>
        </p:txBody>
      </p:sp>
      <p:sp>
        <p:nvSpPr>
          <p:cNvPr id="31" name="Oval 30">
            <a:extLst>
              <a:ext uri="{FF2B5EF4-FFF2-40B4-BE49-F238E27FC236}">
                <a16:creationId xmlns:a16="http://schemas.microsoft.com/office/drawing/2014/main" id="{F37CE22A-3A9A-482D-8C40-2CBC46FFA554}"/>
              </a:ext>
            </a:extLst>
          </p:cNvPr>
          <p:cNvSpPr/>
          <p:nvPr/>
        </p:nvSpPr>
        <p:spPr bwMode="auto">
          <a:xfrm>
            <a:off x="3317739" y="2633104"/>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7</a:t>
            </a:r>
          </a:p>
        </p:txBody>
      </p:sp>
      <p:sp>
        <p:nvSpPr>
          <p:cNvPr id="32" name="Oval 31">
            <a:extLst>
              <a:ext uri="{FF2B5EF4-FFF2-40B4-BE49-F238E27FC236}">
                <a16:creationId xmlns:a16="http://schemas.microsoft.com/office/drawing/2014/main" id="{D864CDD0-CC15-4DC4-B632-14F2158B494A}"/>
              </a:ext>
            </a:extLst>
          </p:cNvPr>
          <p:cNvSpPr/>
          <p:nvPr/>
        </p:nvSpPr>
        <p:spPr bwMode="auto">
          <a:xfrm>
            <a:off x="3771255" y="3812244"/>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6</a:t>
            </a:r>
          </a:p>
        </p:txBody>
      </p:sp>
      <p:sp>
        <p:nvSpPr>
          <p:cNvPr id="33" name="Oval 32">
            <a:extLst>
              <a:ext uri="{FF2B5EF4-FFF2-40B4-BE49-F238E27FC236}">
                <a16:creationId xmlns:a16="http://schemas.microsoft.com/office/drawing/2014/main" id="{58D4C505-C6C1-46F4-8290-E1A67703A874}"/>
              </a:ext>
            </a:extLst>
          </p:cNvPr>
          <p:cNvSpPr/>
          <p:nvPr/>
        </p:nvSpPr>
        <p:spPr bwMode="auto">
          <a:xfrm>
            <a:off x="3072841" y="4438095"/>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5</a:t>
            </a:r>
          </a:p>
        </p:txBody>
      </p:sp>
      <p:sp>
        <p:nvSpPr>
          <p:cNvPr id="34" name="Oval 33">
            <a:extLst>
              <a:ext uri="{FF2B5EF4-FFF2-40B4-BE49-F238E27FC236}">
                <a16:creationId xmlns:a16="http://schemas.microsoft.com/office/drawing/2014/main" id="{77D4554D-D296-49F1-A531-71CB88605447}"/>
              </a:ext>
            </a:extLst>
          </p:cNvPr>
          <p:cNvSpPr/>
          <p:nvPr/>
        </p:nvSpPr>
        <p:spPr bwMode="auto">
          <a:xfrm>
            <a:off x="3236106" y="3258955"/>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4</a:t>
            </a:r>
          </a:p>
        </p:txBody>
      </p:sp>
      <p:sp>
        <p:nvSpPr>
          <p:cNvPr id="35" name="Oval 34">
            <a:extLst>
              <a:ext uri="{FF2B5EF4-FFF2-40B4-BE49-F238E27FC236}">
                <a16:creationId xmlns:a16="http://schemas.microsoft.com/office/drawing/2014/main" id="{209B231E-9AB9-4BFF-97F1-7E82BB29F716}"/>
              </a:ext>
            </a:extLst>
          </p:cNvPr>
          <p:cNvSpPr/>
          <p:nvPr/>
        </p:nvSpPr>
        <p:spPr bwMode="auto">
          <a:xfrm>
            <a:off x="4242912" y="2868932"/>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3</a:t>
            </a:r>
          </a:p>
        </p:txBody>
      </p:sp>
      <p:sp>
        <p:nvSpPr>
          <p:cNvPr id="36" name="Oval 35">
            <a:extLst>
              <a:ext uri="{FF2B5EF4-FFF2-40B4-BE49-F238E27FC236}">
                <a16:creationId xmlns:a16="http://schemas.microsoft.com/office/drawing/2014/main" id="{7A12E4CD-1D92-430D-B3AD-5D6B8F65B119}"/>
              </a:ext>
            </a:extLst>
          </p:cNvPr>
          <p:cNvSpPr/>
          <p:nvPr/>
        </p:nvSpPr>
        <p:spPr bwMode="auto">
          <a:xfrm>
            <a:off x="5086451" y="4329252"/>
            <a:ext cx="229196" cy="229196"/>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2</a:t>
            </a:r>
          </a:p>
        </p:txBody>
      </p:sp>
      <p:sp>
        <p:nvSpPr>
          <p:cNvPr id="37" name="Rectangle 36">
            <a:extLst>
              <a:ext uri="{FF2B5EF4-FFF2-40B4-BE49-F238E27FC236}">
                <a16:creationId xmlns:a16="http://schemas.microsoft.com/office/drawing/2014/main" id="{2958E4B1-CED4-4B28-A69F-9DB8627AF061}"/>
              </a:ext>
            </a:extLst>
          </p:cNvPr>
          <p:cNvSpPr/>
          <p:nvPr/>
        </p:nvSpPr>
        <p:spPr bwMode="auto">
          <a:xfrm>
            <a:off x="8071520" y="1628800"/>
            <a:ext cx="2124236" cy="3919022"/>
          </a:xfrm>
          <a:prstGeom prst="rect">
            <a:avLst/>
          </a:prstGeom>
        </p:spPr>
        <p:txBody>
          <a:bodyPr wrap="square" lIns="0" tIns="0" rIns="0" bIns="0">
            <a:spAutoFit/>
          </a:bodyPr>
          <a:lstStyle/>
          <a:p>
            <a:pPr marL="144000" marR="0" lvl="0" indent="-144000" algn="l" defTabSz="914400" rtl="0" eaLnBrk="0" fontAlgn="auto" latinLnBrk="0" hangingPunct="0">
              <a:lnSpc>
                <a:spcPct val="100000"/>
              </a:lnSpc>
              <a:spcBef>
                <a:spcPts val="200"/>
              </a:spcBef>
              <a:spcAft>
                <a:spcPts val="2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Opportunities to Explore:</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2</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3</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4</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5</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6</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7</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8</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9</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0</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1</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2</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3</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4</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5</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6</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7</a:t>
            </a:r>
          </a:p>
        </p:txBody>
      </p:sp>
      <p:sp>
        <p:nvSpPr>
          <p:cNvPr id="38" name="Line 28">
            <a:extLst>
              <a:ext uri="{FF2B5EF4-FFF2-40B4-BE49-F238E27FC236}">
                <a16:creationId xmlns:a16="http://schemas.microsoft.com/office/drawing/2014/main" id="{54AF5CBB-B318-400E-A0A8-382E39316026}"/>
              </a:ext>
            </a:extLst>
          </p:cNvPr>
          <p:cNvSpPr>
            <a:spLocks noChangeShapeType="1"/>
          </p:cNvSpPr>
          <p:nvPr/>
        </p:nvSpPr>
        <p:spPr bwMode="auto">
          <a:xfrm>
            <a:off x="2554785" y="5304961"/>
            <a:ext cx="3962897"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39" name="Line 28">
            <a:extLst>
              <a:ext uri="{FF2B5EF4-FFF2-40B4-BE49-F238E27FC236}">
                <a16:creationId xmlns:a16="http://schemas.microsoft.com/office/drawing/2014/main" id="{3B510D25-DB9D-4CA5-BF18-840292626875}"/>
              </a:ext>
            </a:extLst>
          </p:cNvPr>
          <p:cNvSpPr>
            <a:spLocks noChangeShapeType="1"/>
          </p:cNvSpPr>
          <p:nvPr/>
        </p:nvSpPr>
        <p:spPr bwMode="auto">
          <a:xfrm flipV="1">
            <a:off x="2548052" y="1723776"/>
            <a:ext cx="0" cy="3581185"/>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2" name="Rectangle 1">
            <a:hlinkClick r:id="rId3" action="ppaction://hlinksldjump"/>
            <a:extLst>
              <a:ext uri="{FF2B5EF4-FFF2-40B4-BE49-F238E27FC236}">
                <a16:creationId xmlns:a16="http://schemas.microsoft.com/office/drawing/2014/main" id="{FAD8E3B9-B471-4811-B27B-2804BF8A7DB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58239858"/>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ioritization Matrix 2</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Box 71">
            <a:extLst>
              <a:ext uri="{FF2B5EF4-FFF2-40B4-BE49-F238E27FC236}">
                <a16:creationId xmlns:a16="http://schemas.microsoft.com/office/drawing/2014/main" id="{81992CB9-38F9-4958-9A07-F561D0CF8BB6}"/>
              </a:ext>
            </a:extLst>
          </p:cNvPr>
          <p:cNvSpPr txBox="1">
            <a:spLocks noChangeArrowheads="1"/>
          </p:cNvSpPr>
          <p:nvPr/>
        </p:nvSpPr>
        <p:spPr bwMode="auto">
          <a:xfrm>
            <a:off x="7730678" y="1789551"/>
            <a:ext cx="3117850" cy="314683"/>
          </a:xfrm>
          <a:prstGeom prst="rect">
            <a:avLst/>
          </a:prstGeom>
          <a:noFill/>
          <a:ln w="6350" algn="ctr">
            <a:noFill/>
            <a:miter lim="800000"/>
            <a:headEnd/>
            <a:tailEnd/>
          </a:ln>
        </p:spPr>
        <p:txBody>
          <a:bodyPr lIns="72000" tIns="72000" rIns="72000"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0" cap="none" spc="0" normalizeH="0" baseline="0" noProof="0" dirty="0">
                <a:ln>
                  <a:noFill/>
                </a:ln>
                <a:solidFill>
                  <a:sysClr val="windowText" lastClr="000000"/>
                </a:solidFill>
                <a:effectLst/>
                <a:uLnTx/>
                <a:uFillTx/>
                <a:latin typeface="Graphik"/>
                <a:ea typeface="+mn-ea"/>
                <a:cs typeface="+mn-cs"/>
              </a:rPr>
              <a:t>List of projects:</a:t>
            </a:r>
          </a:p>
        </p:txBody>
      </p:sp>
      <p:grpSp>
        <p:nvGrpSpPr>
          <p:cNvPr id="7" name="Group 73">
            <a:extLst>
              <a:ext uri="{FF2B5EF4-FFF2-40B4-BE49-F238E27FC236}">
                <a16:creationId xmlns:a16="http://schemas.microsoft.com/office/drawing/2014/main" id="{C4FF1DDA-3089-44F7-99CD-D99B0D198711}"/>
              </a:ext>
            </a:extLst>
          </p:cNvPr>
          <p:cNvGrpSpPr/>
          <p:nvPr/>
        </p:nvGrpSpPr>
        <p:grpSpPr bwMode="auto">
          <a:xfrm>
            <a:off x="7788188" y="2262824"/>
            <a:ext cx="2484277" cy="3847207"/>
            <a:chOff x="6048164" y="2384884"/>
            <a:chExt cx="2484277" cy="3847207"/>
          </a:xfrm>
        </p:grpSpPr>
        <p:sp>
          <p:nvSpPr>
            <p:cNvPr id="8" name="Text Box 2">
              <a:extLst>
                <a:ext uri="{FF2B5EF4-FFF2-40B4-BE49-F238E27FC236}">
                  <a16:creationId xmlns:a16="http://schemas.microsoft.com/office/drawing/2014/main" id="{84583733-4AB3-4C30-82CA-6E7664F4285E}"/>
                </a:ext>
              </a:extLst>
            </p:cNvPr>
            <p:cNvSpPr txBox="1">
              <a:spLocks noChangeArrowheads="1"/>
            </p:cNvSpPr>
            <p:nvPr/>
          </p:nvSpPr>
          <p:spPr bwMode="auto">
            <a:xfrm>
              <a:off x="6343239" y="2384884"/>
              <a:ext cx="2189202" cy="3847207"/>
            </a:xfrm>
            <a:prstGeom prst="rect">
              <a:avLst/>
            </a:prstGeom>
            <a:noFill/>
            <a:ln w="317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Process modifications at call center and back office</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Employee training for increased customer focus</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Voice of customer (VoC)” survey to identify customer preferences</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Review of advertisement strategy</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Product strategy review to align with ‘VoC’</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Set up single counter operations </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Enable web based self service</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Implement CRM for single customer view</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Enable SMS alerts</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altLang="zh-CN"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Enable multi channel payment facility (through web, mobile and kiosk)</a:t>
              </a:r>
            </a:p>
          </p:txBody>
        </p:sp>
        <p:sp>
          <p:nvSpPr>
            <p:cNvPr id="9" name="Oval 3">
              <a:extLst>
                <a:ext uri="{FF2B5EF4-FFF2-40B4-BE49-F238E27FC236}">
                  <a16:creationId xmlns:a16="http://schemas.microsoft.com/office/drawing/2014/main" id="{456FCF56-DEB0-4BE4-8FE8-81F2AFE4BD4F}"/>
                </a:ext>
              </a:extLst>
            </p:cNvPr>
            <p:cNvSpPr>
              <a:spLocks noChangeArrowheads="1"/>
            </p:cNvSpPr>
            <p:nvPr/>
          </p:nvSpPr>
          <p:spPr bwMode="auto">
            <a:xfrm>
              <a:off x="6048164" y="2405795"/>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1</a:t>
              </a:r>
            </a:p>
          </p:txBody>
        </p:sp>
        <p:sp>
          <p:nvSpPr>
            <p:cNvPr id="10" name="Oval 3">
              <a:extLst>
                <a:ext uri="{FF2B5EF4-FFF2-40B4-BE49-F238E27FC236}">
                  <a16:creationId xmlns:a16="http://schemas.microsoft.com/office/drawing/2014/main" id="{0F4248D1-853A-428F-B42F-549E9D7BEC6C}"/>
                </a:ext>
              </a:extLst>
            </p:cNvPr>
            <p:cNvSpPr>
              <a:spLocks noChangeArrowheads="1"/>
            </p:cNvSpPr>
            <p:nvPr/>
          </p:nvSpPr>
          <p:spPr bwMode="auto">
            <a:xfrm>
              <a:off x="6048164" y="2852936"/>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2</a:t>
              </a:r>
            </a:p>
          </p:txBody>
        </p:sp>
        <p:sp>
          <p:nvSpPr>
            <p:cNvPr id="11" name="Oval 3">
              <a:extLst>
                <a:ext uri="{FF2B5EF4-FFF2-40B4-BE49-F238E27FC236}">
                  <a16:creationId xmlns:a16="http://schemas.microsoft.com/office/drawing/2014/main" id="{3C5072ED-440C-43B1-BB54-02749B752D20}"/>
                </a:ext>
              </a:extLst>
            </p:cNvPr>
            <p:cNvSpPr>
              <a:spLocks noChangeArrowheads="1"/>
            </p:cNvSpPr>
            <p:nvPr/>
          </p:nvSpPr>
          <p:spPr bwMode="auto">
            <a:xfrm>
              <a:off x="6048164" y="3320988"/>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3</a:t>
              </a:r>
            </a:p>
          </p:txBody>
        </p:sp>
        <p:sp>
          <p:nvSpPr>
            <p:cNvPr id="12" name="Oval 3">
              <a:extLst>
                <a:ext uri="{FF2B5EF4-FFF2-40B4-BE49-F238E27FC236}">
                  <a16:creationId xmlns:a16="http://schemas.microsoft.com/office/drawing/2014/main" id="{3ABC1F93-E2A5-4B3E-BBD4-61934758DEED}"/>
                </a:ext>
              </a:extLst>
            </p:cNvPr>
            <p:cNvSpPr>
              <a:spLocks noChangeArrowheads="1"/>
            </p:cNvSpPr>
            <p:nvPr/>
          </p:nvSpPr>
          <p:spPr bwMode="auto">
            <a:xfrm>
              <a:off x="6048164" y="3737967"/>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4</a:t>
              </a:r>
            </a:p>
          </p:txBody>
        </p:sp>
        <p:sp>
          <p:nvSpPr>
            <p:cNvPr id="13" name="Oval 3">
              <a:extLst>
                <a:ext uri="{FF2B5EF4-FFF2-40B4-BE49-F238E27FC236}">
                  <a16:creationId xmlns:a16="http://schemas.microsoft.com/office/drawing/2014/main" id="{1474C982-A4AF-4A00-8769-A0B70BB46CE3}"/>
                </a:ext>
              </a:extLst>
            </p:cNvPr>
            <p:cNvSpPr>
              <a:spLocks noChangeArrowheads="1"/>
            </p:cNvSpPr>
            <p:nvPr/>
          </p:nvSpPr>
          <p:spPr bwMode="auto">
            <a:xfrm>
              <a:off x="6048164" y="4061979"/>
              <a:ext cx="213422"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5</a:t>
              </a:r>
            </a:p>
          </p:txBody>
        </p:sp>
        <p:sp>
          <p:nvSpPr>
            <p:cNvPr id="14" name="Oval 3">
              <a:extLst>
                <a:ext uri="{FF2B5EF4-FFF2-40B4-BE49-F238E27FC236}">
                  <a16:creationId xmlns:a16="http://schemas.microsoft.com/office/drawing/2014/main" id="{96F622B8-476C-488D-A220-517E79262574}"/>
                </a:ext>
              </a:extLst>
            </p:cNvPr>
            <p:cNvSpPr>
              <a:spLocks noChangeArrowheads="1"/>
            </p:cNvSpPr>
            <p:nvPr/>
          </p:nvSpPr>
          <p:spPr bwMode="auto">
            <a:xfrm>
              <a:off x="6048164" y="4494051"/>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6</a:t>
              </a:r>
            </a:p>
          </p:txBody>
        </p:sp>
        <p:sp>
          <p:nvSpPr>
            <p:cNvPr id="15" name="Oval 3">
              <a:extLst>
                <a:ext uri="{FF2B5EF4-FFF2-40B4-BE49-F238E27FC236}">
                  <a16:creationId xmlns:a16="http://schemas.microsoft.com/office/drawing/2014/main" id="{2DC52032-7339-4E4C-9B17-B4AC44C4A59A}"/>
                </a:ext>
              </a:extLst>
            </p:cNvPr>
            <p:cNvSpPr>
              <a:spLocks noChangeArrowheads="1"/>
            </p:cNvSpPr>
            <p:nvPr/>
          </p:nvSpPr>
          <p:spPr bwMode="auto">
            <a:xfrm>
              <a:off x="6048164" y="4782083"/>
              <a:ext cx="213422"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7</a:t>
              </a:r>
            </a:p>
          </p:txBody>
        </p:sp>
        <p:sp>
          <p:nvSpPr>
            <p:cNvPr id="16" name="Oval 3">
              <a:extLst>
                <a:ext uri="{FF2B5EF4-FFF2-40B4-BE49-F238E27FC236}">
                  <a16:creationId xmlns:a16="http://schemas.microsoft.com/office/drawing/2014/main" id="{69F8E883-B2F7-4EF3-A185-02A864B2675E}"/>
                </a:ext>
              </a:extLst>
            </p:cNvPr>
            <p:cNvSpPr>
              <a:spLocks noChangeArrowheads="1"/>
            </p:cNvSpPr>
            <p:nvPr/>
          </p:nvSpPr>
          <p:spPr bwMode="auto">
            <a:xfrm>
              <a:off x="6048164" y="5157216"/>
              <a:ext cx="213422"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8</a:t>
              </a:r>
            </a:p>
          </p:txBody>
        </p:sp>
        <p:sp>
          <p:nvSpPr>
            <p:cNvPr id="17" name="Oval 3">
              <a:extLst>
                <a:ext uri="{FF2B5EF4-FFF2-40B4-BE49-F238E27FC236}">
                  <a16:creationId xmlns:a16="http://schemas.microsoft.com/office/drawing/2014/main" id="{810472C3-17AE-40A4-A7C2-0665643664F8}"/>
                </a:ext>
              </a:extLst>
            </p:cNvPr>
            <p:cNvSpPr>
              <a:spLocks noChangeArrowheads="1"/>
            </p:cNvSpPr>
            <p:nvPr/>
          </p:nvSpPr>
          <p:spPr bwMode="auto">
            <a:xfrm>
              <a:off x="6048164" y="5553260"/>
              <a:ext cx="213422"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9</a:t>
              </a:r>
            </a:p>
          </p:txBody>
        </p:sp>
        <p:sp>
          <p:nvSpPr>
            <p:cNvPr id="18" name="Oval 3">
              <a:extLst>
                <a:ext uri="{FF2B5EF4-FFF2-40B4-BE49-F238E27FC236}">
                  <a16:creationId xmlns:a16="http://schemas.microsoft.com/office/drawing/2014/main" id="{337DA196-C1DD-453E-B966-52ADF98DABCB}"/>
                </a:ext>
              </a:extLst>
            </p:cNvPr>
            <p:cNvSpPr>
              <a:spLocks noChangeArrowheads="1"/>
            </p:cNvSpPr>
            <p:nvPr/>
          </p:nvSpPr>
          <p:spPr bwMode="auto">
            <a:xfrm>
              <a:off x="6048164" y="5913300"/>
              <a:ext cx="213422"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10</a:t>
              </a:r>
            </a:p>
          </p:txBody>
        </p:sp>
      </p:grpSp>
      <p:grpSp>
        <p:nvGrpSpPr>
          <p:cNvPr id="19" name="Group 74">
            <a:extLst>
              <a:ext uri="{FF2B5EF4-FFF2-40B4-BE49-F238E27FC236}">
                <a16:creationId xmlns:a16="http://schemas.microsoft.com/office/drawing/2014/main" id="{8BFB1F20-3142-4965-974A-86764C066FE3}"/>
              </a:ext>
            </a:extLst>
          </p:cNvPr>
          <p:cNvGrpSpPr/>
          <p:nvPr/>
        </p:nvGrpSpPr>
        <p:grpSpPr bwMode="auto">
          <a:xfrm>
            <a:off x="1991544" y="5683790"/>
            <a:ext cx="844798" cy="246221"/>
            <a:chOff x="467544" y="6135107"/>
            <a:chExt cx="844798" cy="246221"/>
          </a:xfrm>
        </p:grpSpPr>
        <p:sp>
          <p:nvSpPr>
            <p:cNvPr id="20" name="Oval 3">
              <a:extLst>
                <a:ext uri="{FF2B5EF4-FFF2-40B4-BE49-F238E27FC236}">
                  <a16:creationId xmlns:a16="http://schemas.microsoft.com/office/drawing/2014/main" id="{9EECE769-9C60-4918-9918-57E068B5B61F}"/>
                </a:ext>
              </a:extLst>
            </p:cNvPr>
            <p:cNvSpPr>
              <a:spLocks noChangeArrowheads="1"/>
            </p:cNvSpPr>
            <p:nvPr/>
          </p:nvSpPr>
          <p:spPr bwMode="auto">
            <a:xfrm>
              <a:off x="467544" y="6142370"/>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endPar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endParaRPr>
            </a:p>
          </p:txBody>
        </p:sp>
        <p:sp>
          <p:nvSpPr>
            <p:cNvPr id="21" name="TextBox 40">
              <a:extLst>
                <a:ext uri="{FF2B5EF4-FFF2-40B4-BE49-F238E27FC236}">
                  <a16:creationId xmlns:a16="http://schemas.microsoft.com/office/drawing/2014/main" id="{827438BA-90C0-4108-8892-E53240A1BFDA}"/>
                </a:ext>
              </a:extLst>
            </p:cNvPr>
            <p:cNvSpPr txBox="1">
              <a:spLocks noChangeArrowheads="1"/>
            </p:cNvSpPr>
            <p:nvPr/>
          </p:nvSpPr>
          <p:spPr bwMode="auto">
            <a:xfrm>
              <a:off x="646775" y="6135107"/>
              <a:ext cx="665567" cy="246221"/>
            </a:xfrm>
            <a:prstGeom prst="rect">
              <a:avLst/>
            </a:prstGeom>
            <a:noFill/>
            <a:ln w="9525">
              <a:noFill/>
              <a:miter lim="800000"/>
              <a:headEnd/>
              <a:tailEnd/>
            </a:ln>
          </p:spPr>
          <p:txBody>
            <a:bodyPr wrap="none">
              <a:spAutoFit/>
            </a:bodyPr>
            <a:lstStyle/>
            <a:p>
              <a:pPr marL="109538" marR="0" lvl="0" indent="-109538"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Ongoing</a:t>
              </a:r>
              <a:endParaRPr kumimoji="0" lang="zh-CN" altLang="en-US" sz="10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22" name="Group 75">
            <a:extLst>
              <a:ext uri="{FF2B5EF4-FFF2-40B4-BE49-F238E27FC236}">
                <a16:creationId xmlns:a16="http://schemas.microsoft.com/office/drawing/2014/main" id="{28B0D7F7-0BDD-4728-A44C-2C94194AADEE}"/>
              </a:ext>
            </a:extLst>
          </p:cNvPr>
          <p:cNvGrpSpPr/>
          <p:nvPr/>
        </p:nvGrpSpPr>
        <p:grpSpPr bwMode="auto">
          <a:xfrm>
            <a:off x="1992314" y="5971822"/>
            <a:ext cx="981215" cy="246221"/>
            <a:chOff x="1439652" y="6135107"/>
            <a:chExt cx="981215" cy="246221"/>
          </a:xfrm>
        </p:grpSpPr>
        <p:sp>
          <p:nvSpPr>
            <p:cNvPr id="23" name="Oval 3">
              <a:extLst>
                <a:ext uri="{FF2B5EF4-FFF2-40B4-BE49-F238E27FC236}">
                  <a16:creationId xmlns:a16="http://schemas.microsoft.com/office/drawing/2014/main" id="{7EFD7C6E-05AF-47AF-8579-2919677DF1DA}"/>
                </a:ext>
              </a:extLst>
            </p:cNvPr>
            <p:cNvSpPr>
              <a:spLocks noChangeArrowheads="1"/>
            </p:cNvSpPr>
            <p:nvPr/>
          </p:nvSpPr>
          <p:spPr bwMode="auto">
            <a:xfrm>
              <a:off x="1439652" y="6142370"/>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endPar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endParaRPr>
            </a:p>
          </p:txBody>
        </p:sp>
        <p:sp>
          <p:nvSpPr>
            <p:cNvPr id="24" name="TextBox 44">
              <a:extLst>
                <a:ext uri="{FF2B5EF4-FFF2-40B4-BE49-F238E27FC236}">
                  <a16:creationId xmlns:a16="http://schemas.microsoft.com/office/drawing/2014/main" id="{22061914-E88D-43C0-B416-19FA06C49BFB}"/>
                </a:ext>
              </a:extLst>
            </p:cNvPr>
            <p:cNvSpPr txBox="1">
              <a:spLocks noChangeArrowheads="1"/>
            </p:cNvSpPr>
            <p:nvPr/>
          </p:nvSpPr>
          <p:spPr bwMode="auto">
            <a:xfrm>
              <a:off x="1612632" y="6135107"/>
              <a:ext cx="808235" cy="246221"/>
            </a:xfrm>
            <a:prstGeom prst="rect">
              <a:avLst/>
            </a:prstGeom>
            <a:noFill/>
            <a:ln w="9525">
              <a:noFill/>
              <a:miter lim="800000"/>
              <a:headEnd/>
              <a:tailEnd/>
            </a:ln>
          </p:spPr>
          <p:txBody>
            <a:bodyPr wrap="none">
              <a:spAutoFit/>
            </a:bodyPr>
            <a:lstStyle/>
            <a:p>
              <a:pPr marL="109538" marR="0" lvl="0" indent="-109538"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000000"/>
                  </a:solidFill>
                  <a:effectLst/>
                  <a:uLnTx/>
                  <a:uFillTx/>
                  <a:latin typeface="Graphik"/>
                  <a:ea typeface="+mn-ea"/>
                  <a:cs typeface="+mn-cs"/>
                </a:rPr>
                <a:t>Not started</a:t>
              </a:r>
              <a:endParaRPr kumimoji="0" lang="zh-CN" altLang="en-US" sz="10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25" name="Group 51">
            <a:extLst>
              <a:ext uri="{FF2B5EF4-FFF2-40B4-BE49-F238E27FC236}">
                <a16:creationId xmlns:a16="http://schemas.microsoft.com/office/drawing/2014/main" id="{6FABF757-57E2-4B82-BED1-82F2F4BB8321}"/>
              </a:ext>
            </a:extLst>
          </p:cNvPr>
          <p:cNvGrpSpPr/>
          <p:nvPr/>
        </p:nvGrpSpPr>
        <p:grpSpPr bwMode="auto">
          <a:xfrm>
            <a:off x="1991544" y="1828656"/>
            <a:ext cx="5544616" cy="4137359"/>
            <a:chOff x="323528" y="1852571"/>
            <a:chExt cx="5544616" cy="4137359"/>
          </a:xfrm>
        </p:grpSpPr>
        <p:sp>
          <p:nvSpPr>
            <p:cNvPr id="26" name="Arc 29">
              <a:extLst>
                <a:ext uri="{FF2B5EF4-FFF2-40B4-BE49-F238E27FC236}">
                  <a16:creationId xmlns:a16="http://schemas.microsoft.com/office/drawing/2014/main" id="{F8C8D433-BA4D-4A20-923F-0BA80F108813}"/>
                </a:ext>
              </a:extLst>
            </p:cNvPr>
            <p:cNvSpPr>
              <a:spLocks noChangeAspect="1"/>
            </p:cNvSpPr>
            <p:nvPr/>
          </p:nvSpPr>
          <p:spPr bwMode="auto">
            <a:xfrm rot="10800000" flipH="1" flipV="1">
              <a:off x="1172450" y="3372469"/>
              <a:ext cx="3277127" cy="2126868"/>
            </a:xfrm>
            <a:custGeom>
              <a:avLst/>
              <a:gdLst>
                <a:gd name="T0" fmla="*/ 0 w 21600"/>
                <a:gd name="T1" fmla="*/ 0 h 21600"/>
                <a:gd name="T2" fmla="*/ 2183 w 21600"/>
                <a:gd name="T3" fmla="*/ 1685 h 21600"/>
                <a:gd name="T4" fmla="*/ 0 w 21600"/>
                <a:gd name="T5" fmla="*/ 1685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E82FF">
                <a:lumMod val="20000"/>
                <a:lumOff val="80000"/>
              </a:srgbClr>
            </a:solidFill>
            <a:ln w="28575">
              <a:noFill/>
              <a:round/>
              <a:headEnd/>
              <a:tailEnd/>
            </a:ln>
          </p:spPr>
          <p:txBody>
            <a:bodyPr rot="10800000"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27" name="Arc 30">
              <a:extLst>
                <a:ext uri="{FF2B5EF4-FFF2-40B4-BE49-F238E27FC236}">
                  <a16:creationId xmlns:a16="http://schemas.microsoft.com/office/drawing/2014/main" id="{CBF6DCDF-439D-4DC0-8739-18BDCEC2645E}"/>
                </a:ext>
              </a:extLst>
            </p:cNvPr>
            <p:cNvSpPr>
              <a:spLocks/>
            </p:cNvSpPr>
            <p:nvPr/>
          </p:nvSpPr>
          <p:spPr bwMode="auto">
            <a:xfrm rot="10800000" flipH="1" flipV="1">
              <a:off x="1175419" y="3403542"/>
              <a:ext cx="1901402" cy="2095795"/>
            </a:xfrm>
            <a:custGeom>
              <a:avLst/>
              <a:gdLst>
                <a:gd name="T0" fmla="*/ 15 w 21600"/>
                <a:gd name="T1" fmla="*/ 0 h 21598"/>
                <a:gd name="T2" fmla="*/ 1140 w 21600"/>
                <a:gd name="T3" fmla="*/ 1658 h 21598"/>
                <a:gd name="T4" fmla="*/ 0 w 21600"/>
                <a:gd name="T5" fmla="*/ 1658 h 21598"/>
                <a:gd name="T6" fmla="*/ 0 60000 65536"/>
                <a:gd name="T7" fmla="*/ 0 60000 65536"/>
                <a:gd name="T8" fmla="*/ 0 60000 65536"/>
                <a:gd name="T9" fmla="*/ 0 w 21600"/>
                <a:gd name="T10" fmla="*/ 0 h 21598"/>
                <a:gd name="T11" fmla="*/ 21600 w 21600"/>
                <a:gd name="T12" fmla="*/ 21598 h 21598"/>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Lst>
              <a:ahLst/>
              <a:cxnLst>
                <a:cxn ang="0">
                  <a:pos x="connsiteX0" y="connsiteY0"/>
                </a:cxn>
                <a:cxn ang="0">
                  <a:pos x="connsiteX1" y="connsiteY1"/>
                </a:cxn>
                <a:cxn ang="0">
                  <a:pos x="connsiteX2" y="connsiteY2"/>
                </a:cxn>
                <a:cxn ang="0">
                  <a:pos x="connsiteX3" y="connsiteY3"/>
                </a:cxn>
              </a:cxnLst>
              <a:rect l="l" t="t" r="r" b="b"/>
              <a:pathLst>
                <a:path w="21600" h="21599" fill="none" extrusionOk="0">
                  <a:moveTo>
                    <a:pt x="291" y="0"/>
                  </a:moveTo>
                  <a:cubicBezTo>
                    <a:pt x="11427" y="193"/>
                    <a:pt x="21600" y="9783"/>
                    <a:pt x="21600" y="21599"/>
                  </a:cubicBezTo>
                </a:path>
                <a:path w="21600" h="21599" stroke="0" extrusionOk="0">
                  <a:moveTo>
                    <a:pt x="291" y="0"/>
                  </a:moveTo>
                  <a:cubicBezTo>
                    <a:pt x="12105" y="160"/>
                    <a:pt x="21600" y="9783"/>
                    <a:pt x="21600" y="21599"/>
                  </a:cubicBezTo>
                  <a:lnTo>
                    <a:pt x="0" y="21599"/>
                  </a:lnTo>
                  <a:cubicBezTo>
                    <a:pt x="97" y="14399"/>
                    <a:pt x="16" y="7200"/>
                    <a:pt x="291" y="0"/>
                  </a:cubicBezTo>
                  <a:close/>
                </a:path>
              </a:pathLst>
            </a:custGeom>
            <a:solidFill>
              <a:srgbClr val="A100FF">
                <a:lumMod val="60000"/>
                <a:lumOff val="40000"/>
              </a:srgbClr>
            </a:solidFill>
            <a:ln w="28575">
              <a:noFill/>
              <a:round/>
              <a:headEnd/>
              <a:tailEnd/>
            </a:ln>
          </p:spPr>
          <p:txBody>
            <a:bodyPr rot="10800000"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sng" strike="noStrike" kern="0" cap="none" spc="0" normalizeH="0" baseline="0" noProof="0" dirty="0">
                <a:ln>
                  <a:noFill/>
                </a:ln>
                <a:solidFill>
                  <a:srgbClr val="808080"/>
                </a:solidFill>
                <a:effectLst/>
                <a:uLnTx/>
                <a:uFillTx/>
                <a:latin typeface="Graphik"/>
                <a:ea typeface="+mn-ea"/>
                <a:cs typeface="+mn-cs"/>
              </a:endParaRPr>
            </a:p>
          </p:txBody>
        </p:sp>
        <p:sp>
          <p:nvSpPr>
            <p:cNvPr id="28" name="Rectangle 31">
              <a:extLst>
                <a:ext uri="{FF2B5EF4-FFF2-40B4-BE49-F238E27FC236}">
                  <a16:creationId xmlns:a16="http://schemas.microsoft.com/office/drawing/2014/main" id="{97B74642-7DC6-43B5-9F86-6D28AE47393F}"/>
                </a:ext>
              </a:extLst>
            </p:cNvPr>
            <p:cNvSpPr>
              <a:spLocks noChangeArrowheads="1"/>
            </p:cNvSpPr>
            <p:nvPr/>
          </p:nvSpPr>
          <p:spPr bwMode="auto">
            <a:xfrm>
              <a:off x="1175419" y="2290483"/>
              <a:ext cx="4440697" cy="3208854"/>
            </a:xfrm>
            <a:prstGeom prst="rect">
              <a:avLst/>
            </a:prstGeom>
            <a:noFill/>
            <a:ln w="6350" algn="ctr">
              <a:solidFill>
                <a:srgbClr val="96968C">
                  <a:lumMod val="60000"/>
                  <a:lumOff val="40000"/>
                </a:srgbClr>
              </a:solidFill>
              <a:miter lim="800000"/>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9" name="Text Box 32">
              <a:extLst>
                <a:ext uri="{FF2B5EF4-FFF2-40B4-BE49-F238E27FC236}">
                  <a16:creationId xmlns:a16="http://schemas.microsoft.com/office/drawing/2014/main" id="{EE76DAEA-136D-490C-8935-4C5CB76E8831}"/>
                </a:ext>
              </a:extLst>
            </p:cNvPr>
            <p:cNvSpPr txBox="1">
              <a:spLocks noChangeArrowheads="1"/>
            </p:cNvSpPr>
            <p:nvPr/>
          </p:nvSpPr>
          <p:spPr bwMode="auto">
            <a:xfrm>
              <a:off x="2476519" y="5805264"/>
              <a:ext cx="2029402" cy="184666"/>
            </a:xfrm>
            <a:prstGeom prst="rect">
              <a:avLst/>
            </a:prstGeom>
            <a:noFill/>
            <a:ln w="38100" algn="ctr">
              <a:noFill/>
              <a:miter lim="800000"/>
              <a:headEnd/>
              <a:tailEnd/>
            </a:ln>
          </p:spPr>
          <p:txBody>
            <a:bodyPr wrap="none" lIns="0" tIns="0" rIns="0" bIns="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000000"/>
                  </a:solidFill>
                  <a:effectLst/>
                  <a:uLnTx/>
                  <a:uFillTx/>
                  <a:latin typeface="Graphik"/>
                  <a:ea typeface="MS PGothic" pitchFamily="34" charset="-128"/>
                  <a:cs typeface="+mn-cs"/>
                </a:rPr>
                <a:t>Difficulty of Implementation</a:t>
              </a:r>
            </a:p>
          </p:txBody>
        </p:sp>
        <p:sp>
          <p:nvSpPr>
            <p:cNvPr id="30" name="Text Box 33">
              <a:extLst>
                <a:ext uri="{FF2B5EF4-FFF2-40B4-BE49-F238E27FC236}">
                  <a16:creationId xmlns:a16="http://schemas.microsoft.com/office/drawing/2014/main" id="{041E1BDB-F4B7-4AE7-B1D9-320B78487C93}"/>
                </a:ext>
              </a:extLst>
            </p:cNvPr>
            <p:cNvSpPr txBox="1">
              <a:spLocks noChangeArrowheads="1"/>
            </p:cNvSpPr>
            <p:nvPr/>
          </p:nvSpPr>
          <p:spPr bwMode="auto">
            <a:xfrm>
              <a:off x="1656302" y="5526053"/>
              <a:ext cx="252290"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latin typeface="Graphik"/>
                  <a:ea typeface="MS PGothic" pitchFamily="34" charset="-128"/>
                  <a:cs typeface="+mn-cs"/>
                </a:rPr>
                <a:t>L</a:t>
              </a:r>
            </a:p>
          </p:txBody>
        </p:sp>
        <p:sp>
          <p:nvSpPr>
            <p:cNvPr id="31" name="Text Box 34">
              <a:extLst>
                <a:ext uri="{FF2B5EF4-FFF2-40B4-BE49-F238E27FC236}">
                  <a16:creationId xmlns:a16="http://schemas.microsoft.com/office/drawing/2014/main" id="{1A39264B-827D-4728-8F8F-9D80351F1166}"/>
                </a:ext>
              </a:extLst>
            </p:cNvPr>
            <p:cNvSpPr txBox="1">
              <a:spLocks noChangeArrowheads="1"/>
            </p:cNvSpPr>
            <p:nvPr/>
          </p:nvSpPr>
          <p:spPr bwMode="auto">
            <a:xfrm>
              <a:off x="3248855" y="5526053"/>
              <a:ext cx="289160"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latin typeface="Graphik"/>
                  <a:ea typeface="MS PGothic" pitchFamily="34" charset="-128"/>
                  <a:cs typeface="+mn-cs"/>
                </a:rPr>
                <a:t>M</a:t>
              </a:r>
            </a:p>
          </p:txBody>
        </p:sp>
        <p:sp>
          <p:nvSpPr>
            <p:cNvPr id="32" name="Text Box 35">
              <a:extLst>
                <a:ext uri="{FF2B5EF4-FFF2-40B4-BE49-F238E27FC236}">
                  <a16:creationId xmlns:a16="http://schemas.microsoft.com/office/drawing/2014/main" id="{F1FD2626-9EA6-4F25-8289-59E4092819AE}"/>
                </a:ext>
              </a:extLst>
            </p:cNvPr>
            <p:cNvSpPr txBox="1">
              <a:spLocks noChangeArrowheads="1"/>
            </p:cNvSpPr>
            <p:nvPr/>
          </p:nvSpPr>
          <p:spPr bwMode="auto">
            <a:xfrm>
              <a:off x="4994282" y="5526053"/>
              <a:ext cx="274732"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latin typeface="Graphik"/>
                  <a:ea typeface="MS PGothic" pitchFamily="34" charset="-128"/>
                  <a:cs typeface="+mn-cs"/>
                </a:rPr>
                <a:t>H</a:t>
              </a:r>
            </a:p>
          </p:txBody>
        </p:sp>
        <p:sp>
          <p:nvSpPr>
            <p:cNvPr id="33" name="Text Box 36">
              <a:extLst>
                <a:ext uri="{FF2B5EF4-FFF2-40B4-BE49-F238E27FC236}">
                  <a16:creationId xmlns:a16="http://schemas.microsoft.com/office/drawing/2014/main" id="{D2A848EA-F027-407C-8E17-913D3DACFE35}"/>
                </a:ext>
              </a:extLst>
            </p:cNvPr>
            <p:cNvSpPr txBox="1">
              <a:spLocks noChangeArrowheads="1"/>
            </p:cNvSpPr>
            <p:nvPr/>
          </p:nvSpPr>
          <p:spPr bwMode="auto">
            <a:xfrm>
              <a:off x="869008" y="4758718"/>
              <a:ext cx="252290"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latin typeface="Graphik"/>
                  <a:ea typeface="MS PGothic" pitchFamily="34" charset="-128"/>
                  <a:cs typeface="+mn-cs"/>
                </a:rPr>
                <a:t>L</a:t>
              </a:r>
            </a:p>
          </p:txBody>
        </p:sp>
        <p:sp>
          <p:nvSpPr>
            <p:cNvPr id="34" name="Text Box 37">
              <a:extLst>
                <a:ext uri="{FF2B5EF4-FFF2-40B4-BE49-F238E27FC236}">
                  <a16:creationId xmlns:a16="http://schemas.microsoft.com/office/drawing/2014/main" id="{547FFDE5-7975-46FA-9B7F-D9B45ADBDB76}"/>
                </a:ext>
              </a:extLst>
            </p:cNvPr>
            <p:cNvSpPr txBox="1">
              <a:spLocks noChangeArrowheads="1"/>
            </p:cNvSpPr>
            <p:nvPr/>
          </p:nvSpPr>
          <p:spPr bwMode="auto">
            <a:xfrm>
              <a:off x="869008" y="2714966"/>
              <a:ext cx="274732"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latin typeface="Graphik"/>
                  <a:ea typeface="MS PGothic" pitchFamily="34" charset="-128"/>
                  <a:cs typeface="+mn-cs"/>
                </a:rPr>
                <a:t>H</a:t>
              </a:r>
            </a:p>
          </p:txBody>
        </p:sp>
        <p:sp>
          <p:nvSpPr>
            <p:cNvPr id="35" name="Line 40">
              <a:extLst>
                <a:ext uri="{FF2B5EF4-FFF2-40B4-BE49-F238E27FC236}">
                  <a16:creationId xmlns:a16="http://schemas.microsoft.com/office/drawing/2014/main" id="{938C47F6-915D-438F-AFC5-FCFF0E33C09E}"/>
                </a:ext>
              </a:extLst>
            </p:cNvPr>
            <p:cNvSpPr>
              <a:spLocks noChangeShapeType="1"/>
            </p:cNvSpPr>
            <p:nvPr/>
          </p:nvSpPr>
          <p:spPr bwMode="auto">
            <a:xfrm>
              <a:off x="2621035" y="2290484"/>
              <a:ext cx="0" cy="3208854"/>
            </a:xfrm>
            <a:prstGeom prst="line">
              <a:avLst/>
            </a:prstGeom>
            <a:noFill/>
            <a:ln w="6350">
              <a:solidFill>
                <a:srgbClr val="96968C">
                  <a:lumMod val="60000"/>
                  <a:lumOff val="40000"/>
                </a:srgbClr>
              </a:solidFill>
              <a:prstDash val="solid"/>
              <a:round/>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36" name="Line 41">
              <a:extLst>
                <a:ext uri="{FF2B5EF4-FFF2-40B4-BE49-F238E27FC236}">
                  <a16:creationId xmlns:a16="http://schemas.microsoft.com/office/drawing/2014/main" id="{4FB4B8A9-9009-4604-86B2-7E31E6CC1304}"/>
                </a:ext>
              </a:extLst>
            </p:cNvPr>
            <p:cNvSpPr>
              <a:spLocks noChangeShapeType="1"/>
            </p:cNvSpPr>
            <p:nvPr/>
          </p:nvSpPr>
          <p:spPr bwMode="auto">
            <a:xfrm>
              <a:off x="4123052" y="2290484"/>
              <a:ext cx="0" cy="3208854"/>
            </a:xfrm>
            <a:prstGeom prst="line">
              <a:avLst/>
            </a:prstGeom>
            <a:noFill/>
            <a:ln w="6350">
              <a:solidFill>
                <a:srgbClr val="96968C">
                  <a:lumMod val="60000"/>
                  <a:lumOff val="40000"/>
                </a:srgbClr>
              </a:solidFill>
              <a:prstDash val="solid"/>
              <a:round/>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37" name="Line 42">
              <a:extLst>
                <a:ext uri="{FF2B5EF4-FFF2-40B4-BE49-F238E27FC236}">
                  <a16:creationId xmlns:a16="http://schemas.microsoft.com/office/drawing/2014/main" id="{1B067EED-4566-4316-8AB5-F0C167CD7244}"/>
                </a:ext>
              </a:extLst>
            </p:cNvPr>
            <p:cNvSpPr>
              <a:spLocks noChangeShapeType="1"/>
            </p:cNvSpPr>
            <p:nvPr/>
          </p:nvSpPr>
          <p:spPr bwMode="auto">
            <a:xfrm>
              <a:off x="1175419" y="3354659"/>
              <a:ext cx="4440697" cy="0"/>
            </a:xfrm>
            <a:prstGeom prst="line">
              <a:avLst/>
            </a:prstGeom>
            <a:noFill/>
            <a:ln w="6350">
              <a:solidFill>
                <a:srgbClr val="96968C">
                  <a:lumMod val="60000"/>
                  <a:lumOff val="40000"/>
                </a:srgbClr>
              </a:solidFill>
              <a:prstDash val="solid"/>
              <a:round/>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38" name="Line 43">
              <a:extLst>
                <a:ext uri="{FF2B5EF4-FFF2-40B4-BE49-F238E27FC236}">
                  <a16:creationId xmlns:a16="http://schemas.microsoft.com/office/drawing/2014/main" id="{C432776A-409C-43F5-B6AB-ED3F98F64F7A}"/>
                </a:ext>
              </a:extLst>
            </p:cNvPr>
            <p:cNvSpPr>
              <a:spLocks noChangeShapeType="1"/>
            </p:cNvSpPr>
            <p:nvPr/>
          </p:nvSpPr>
          <p:spPr bwMode="auto">
            <a:xfrm>
              <a:off x="1175419" y="4418835"/>
              <a:ext cx="4440697" cy="0"/>
            </a:xfrm>
            <a:prstGeom prst="line">
              <a:avLst/>
            </a:prstGeom>
            <a:noFill/>
            <a:ln w="6350">
              <a:solidFill>
                <a:srgbClr val="96968C">
                  <a:lumMod val="60000"/>
                  <a:lumOff val="40000"/>
                </a:srgbClr>
              </a:solidFill>
              <a:prstDash val="solid"/>
              <a:round/>
              <a:headEnd/>
              <a:tailEn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39" name="Text Box 44">
              <a:extLst>
                <a:ext uri="{FF2B5EF4-FFF2-40B4-BE49-F238E27FC236}">
                  <a16:creationId xmlns:a16="http://schemas.microsoft.com/office/drawing/2014/main" id="{5BF04AC3-4F39-492B-8D08-D8A52660A5D2}"/>
                </a:ext>
              </a:extLst>
            </p:cNvPr>
            <p:cNvSpPr txBox="1">
              <a:spLocks noChangeArrowheads="1"/>
            </p:cNvSpPr>
            <p:nvPr/>
          </p:nvSpPr>
          <p:spPr bwMode="auto">
            <a:xfrm>
              <a:off x="869008" y="3737584"/>
              <a:ext cx="289160" cy="248402"/>
            </a:xfrm>
            <a:prstGeom prst="rect">
              <a:avLst/>
            </a:prstGeom>
            <a:noFill/>
            <a:ln w="38100" algn="ctr">
              <a:noFill/>
              <a:miter lim="800000"/>
              <a:headEnd/>
              <a:tailEnd/>
            </a:ln>
          </p:spPr>
          <p:txBody>
            <a:bodyPr wrap="none" lIns="90000" tIns="46800" rIns="90000" bIns="46800">
              <a:spAutoFit/>
            </a:bodyPr>
            <a:lstStyle/>
            <a:p>
              <a:pPr marL="174625" marR="0" lvl="0" indent="-174625"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000" b="0" i="0" u="none" strike="noStrike" kern="0" cap="none" spc="0" normalizeH="0" baseline="0" noProof="0" dirty="0">
                  <a:ln>
                    <a:noFill/>
                  </a:ln>
                  <a:solidFill>
                    <a:srgbClr val="000000"/>
                  </a:solidFill>
                  <a:effectLst/>
                  <a:uLnTx/>
                  <a:uFillTx/>
                  <a:latin typeface="Graphik"/>
                  <a:ea typeface="MS PGothic" pitchFamily="34" charset="-128"/>
                  <a:cs typeface="+mn-cs"/>
                </a:rPr>
                <a:t>M</a:t>
              </a:r>
            </a:p>
          </p:txBody>
        </p:sp>
        <p:sp>
          <p:nvSpPr>
            <p:cNvPr id="40" name="Text Box 45">
              <a:extLst>
                <a:ext uri="{FF2B5EF4-FFF2-40B4-BE49-F238E27FC236}">
                  <a16:creationId xmlns:a16="http://schemas.microsoft.com/office/drawing/2014/main" id="{796FB450-88EB-48BD-AC89-882449190871}"/>
                </a:ext>
              </a:extLst>
            </p:cNvPr>
            <p:cNvSpPr txBox="1">
              <a:spLocks noChangeArrowheads="1"/>
            </p:cNvSpPr>
            <p:nvPr/>
          </p:nvSpPr>
          <p:spPr bwMode="auto">
            <a:xfrm>
              <a:off x="2668530" y="2290483"/>
              <a:ext cx="1258607" cy="246221"/>
            </a:xfrm>
            <a:prstGeom prst="rect">
              <a:avLst/>
            </a:prstGeom>
            <a:noFill/>
            <a:ln w="9525">
              <a:noFill/>
              <a:miter lim="800000"/>
              <a:headEnd/>
              <a:tailEnd/>
            </a:ln>
          </p:spPr>
          <p:txBody>
            <a:bodyPr>
              <a:spAutoFit/>
            </a:bodyPr>
            <a:lstStyle/>
            <a:p>
              <a:pPr marL="0" marR="0" lvl="0" indent="0" algn="r" defTabSz="914400" rtl="0" eaLnBrk="1" fontAlgn="auto" latinLnBrk="0" hangingPunct="1">
                <a:lnSpc>
                  <a:spcPct val="100000"/>
                </a:lnSpc>
                <a:spcBef>
                  <a:spcPct val="60000"/>
                </a:spcBef>
                <a:spcAft>
                  <a:spcPts val="0"/>
                </a:spcAft>
                <a:buClrTx/>
                <a:buSzTx/>
                <a:buFontTx/>
                <a:buNone/>
                <a:tabLst/>
                <a:defRPr/>
              </a:pPr>
              <a:r>
                <a:rPr kumimoji="0" lang="en-US" sz="1000" b="1" i="0" u="none" strike="noStrike" kern="0" cap="none" spc="0" normalizeH="0" baseline="0" noProof="0" dirty="0">
                  <a:ln>
                    <a:noFill/>
                  </a:ln>
                  <a:solidFill>
                    <a:srgbClr val="DCAFFF"/>
                  </a:solidFill>
                  <a:effectLst/>
                  <a:uLnTx/>
                  <a:uFillTx/>
                  <a:latin typeface="Graphik"/>
                  <a:ea typeface="+mn-ea"/>
                  <a:cs typeface="+mn-cs"/>
                </a:rPr>
                <a:t>Medium Term</a:t>
              </a:r>
            </a:p>
          </p:txBody>
        </p:sp>
        <p:sp>
          <p:nvSpPr>
            <p:cNvPr id="41" name="Text Box 46">
              <a:extLst>
                <a:ext uri="{FF2B5EF4-FFF2-40B4-BE49-F238E27FC236}">
                  <a16:creationId xmlns:a16="http://schemas.microsoft.com/office/drawing/2014/main" id="{8689C061-3535-4D1D-A5EB-984C13B208A0}"/>
                </a:ext>
              </a:extLst>
            </p:cNvPr>
            <p:cNvSpPr txBox="1">
              <a:spLocks noChangeArrowheads="1"/>
            </p:cNvSpPr>
            <p:nvPr/>
          </p:nvSpPr>
          <p:spPr bwMode="auto">
            <a:xfrm>
              <a:off x="1435155" y="2291967"/>
              <a:ext cx="948407" cy="246221"/>
            </a:xfrm>
            <a:prstGeom prst="rect">
              <a:avLst/>
            </a:prstGeom>
            <a:noFill/>
            <a:ln w="9525" algn="ctr">
              <a:noFill/>
              <a:miter lim="800000"/>
              <a:headEnd/>
              <a:tailEnd/>
            </a:ln>
          </p:spPr>
          <p:txBody>
            <a:bodyPr>
              <a:spAutoFit/>
            </a:bodyPr>
            <a:lstStyle/>
            <a:p>
              <a:pPr marL="0" marR="0" lvl="0" indent="0" algn="l" defTabSz="914400" rtl="0" eaLnBrk="1" fontAlgn="auto" latinLnBrk="0" hangingPunct="1">
                <a:lnSpc>
                  <a:spcPct val="100000"/>
                </a:lnSpc>
                <a:spcBef>
                  <a:spcPct val="60000"/>
                </a:spcBef>
                <a:spcAft>
                  <a:spcPts val="0"/>
                </a:spcAft>
                <a:buClrTx/>
                <a:buSzTx/>
                <a:buFontTx/>
                <a:buNone/>
                <a:tabLst/>
                <a:defRPr/>
              </a:pPr>
              <a:r>
                <a:rPr kumimoji="0" lang="en-US" sz="1000" b="1" i="0" u="none" strike="noStrike" kern="0" cap="none" spc="0" normalizeH="0" baseline="0" noProof="0" dirty="0">
                  <a:ln>
                    <a:noFill/>
                  </a:ln>
                  <a:solidFill>
                    <a:srgbClr val="DCAFFF"/>
                  </a:solidFill>
                  <a:effectLst/>
                  <a:uLnTx/>
                  <a:uFillTx/>
                  <a:latin typeface="Graphik"/>
                  <a:ea typeface="+mn-ea"/>
                  <a:cs typeface="+mn-cs"/>
                </a:rPr>
                <a:t>Quick Win</a:t>
              </a:r>
            </a:p>
          </p:txBody>
        </p:sp>
        <p:sp>
          <p:nvSpPr>
            <p:cNvPr id="42" name="Text Box 47">
              <a:extLst>
                <a:ext uri="{FF2B5EF4-FFF2-40B4-BE49-F238E27FC236}">
                  <a16:creationId xmlns:a16="http://schemas.microsoft.com/office/drawing/2014/main" id="{F3E06895-AF09-47BF-9E8E-807B9417DA39}"/>
                </a:ext>
              </a:extLst>
            </p:cNvPr>
            <p:cNvSpPr txBox="1">
              <a:spLocks noChangeArrowheads="1"/>
            </p:cNvSpPr>
            <p:nvPr/>
          </p:nvSpPr>
          <p:spPr bwMode="auto">
            <a:xfrm>
              <a:off x="4520819" y="2291967"/>
              <a:ext cx="926145" cy="246221"/>
            </a:xfrm>
            <a:prstGeom prst="rect">
              <a:avLst/>
            </a:prstGeom>
            <a:noFill/>
            <a:ln w="9525" algn="ctr">
              <a:noFill/>
              <a:miter lim="800000"/>
              <a:headEnd/>
              <a:tailEnd/>
            </a:ln>
          </p:spPr>
          <p:txBody>
            <a:bodyPr>
              <a:spAutoFit/>
            </a:bodyPr>
            <a:lstStyle/>
            <a:p>
              <a:pPr marL="0" marR="0" lvl="0" indent="0" algn="l" defTabSz="914400" rtl="0" eaLnBrk="1" fontAlgn="auto" latinLnBrk="0" hangingPunct="1">
                <a:lnSpc>
                  <a:spcPct val="100000"/>
                </a:lnSpc>
                <a:spcBef>
                  <a:spcPct val="60000"/>
                </a:spcBef>
                <a:spcAft>
                  <a:spcPts val="0"/>
                </a:spcAft>
                <a:buClrTx/>
                <a:buSzTx/>
                <a:buFontTx/>
                <a:buNone/>
                <a:tabLst/>
                <a:defRPr/>
              </a:pPr>
              <a:r>
                <a:rPr kumimoji="0" lang="en-US" sz="1000" b="1" i="0" u="none" strike="noStrike" kern="0" cap="none" spc="0" normalizeH="0" baseline="0" noProof="0" dirty="0">
                  <a:ln>
                    <a:noFill/>
                  </a:ln>
                  <a:solidFill>
                    <a:srgbClr val="DCAFFF"/>
                  </a:solidFill>
                  <a:effectLst/>
                  <a:uLnTx/>
                  <a:uFillTx/>
                  <a:latin typeface="Graphik"/>
                  <a:ea typeface="+mn-ea"/>
                  <a:cs typeface="+mn-cs"/>
                </a:rPr>
                <a:t>Long Term</a:t>
              </a:r>
            </a:p>
          </p:txBody>
        </p:sp>
        <p:sp>
          <p:nvSpPr>
            <p:cNvPr id="43" name="Oval 3">
              <a:extLst>
                <a:ext uri="{FF2B5EF4-FFF2-40B4-BE49-F238E27FC236}">
                  <a16:creationId xmlns:a16="http://schemas.microsoft.com/office/drawing/2014/main" id="{E164C641-9B72-42A2-9147-2766FBA185AA}"/>
                </a:ext>
              </a:extLst>
            </p:cNvPr>
            <p:cNvSpPr>
              <a:spLocks noChangeArrowheads="1"/>
            </p:cNvSpPr>
            <p:nvPr/>
          </p:nvSpPr>
          <p:spPr bwMode="auto">
            <a:xfrm>
              <a:off x="1314934" y="3930530"/>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1</a:t>
              </a:r>
            </a:p>
          </p:txBody>
        </p:sp>
        <p:sp>
          <p:nvSpPr>
            <p:cNvPr id="44" name="Oval 3">
              <a:extLst>
                <a:ext uri="{FF2B5EF4-FFF2-40B4-BE49-F238E27FC236}">
                  <a16:creationId xmlns:a16="http://schemas.microsoft.com/office/drawing/2014/main" id="{942796EE-FB21-44CD-B860-9F332B6B0CCA}"/>
                </a:ext>
              </a:extLst>
            </p:cNvPr>
            <p:cNvSpPr>
              <a:spLocks noChangeArrowheads="1"/>
            </p:cNvSpPr>
            <p:nvPr/>
          </p:nvSpPr>
          <p:spPr bwMode="auto">
            <a:xfrm>
              <a:off x="1742385" y="3930530"/>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2</a:t>
              </a:r>
            </a:p>
          </p:txBody>
        </p:sp>
        <p:sp>
          <p:nvSpPr>
            <p:cNvPr id="45" name="Oval 3">
              <a:extLst>
                <a:ext uri="{FF2B5EF4-FFF2-40B4-BE49-F238E27FC236}">
                  <a16:creationId xmlns:a16="http://schemas.microsoft.com/office/drawing/2014/main" id="{F74ABC8F-F1DB-4DFA-A2CA-5B94FE84490C}"/>
                </a:ext>
              </a:extLst>
            </p:cNvPr>
            <p:cNvSpPr>
              <a:spLocks noChangeArrowheads="1"/>
            </p:cNvSpPr>
            <p:nvPr/>
          </p:nvSpPr>
          <p:spPr bwMode="auto">
            <a:xfrm>
              <a:off x="1671143" y="4856675"/>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4</a:t>
              </a:r>
            </a:p>
          </p:txBody>
        </p:sp>
        <p:sp>
          <p:nvSpPr>
            <p:cNvPr id="46" name="Oval 3">
              <a:extLst>
                <a:ext uri="{FF2B5EF4-FFF2-40B4-BE49-F238E27FC236}">
                  <a16:creationId xmlns:a16="http://schemas.microsoft.com/office/drawing/2014/main" id="{A9F23779-F669-4AEE-B7FB-73C0267E3A2F}"/>
                </a:ext>
              </a:extLst>
            </p:cNvPr>
            <p:cNvSpPr>
              <a:spLocks noChangeArrowheads="1"/>
            </p:cNvSpPr>
            <p:nvPr/>
          </p:nvSpPr>
          <p:spPr bwMode="auto">
            <a:xfrm>
              <a:off x="2383562" y="3716804"/>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3</a:t>
              </a:r>
            </a:p>
          </p:txBody>
        </p:sp>
        <p:sp>
          <p:nvSpPr>
            <p:cNvPr id="47" name="Oval 3">
              <a:extLst>
                <a:ext uri="{FF2B5EF4-FFF2-40B4-BE49-F238E27FC236}">
                  <a16:creationId xmlns:a16="http://schemas.microsoft.com/office/drawing/2014/main" id="{21F15E10-A01F-43FF-A363-77276EE496D6}"/>
                </a:ext>
              </a:extLst>
            </p:cNvPr>
            <p:cNvSpPr>
              <a:spLocks noChangeArrowheads="1"/>
            </p:cNvSpPr>
            <p:nvPr/>
          </p:nvSpPr>
          <p:spPr bwMode="auto">
            <a:xfrm>
              <a:off x="2785783" y="2719418"/>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5</a:t>
              </a:r>
            </a:p>
          </p:txBody>
        </p:sp>
        <p:sp>
          <p:nvSpPr>
            <p:cNvPr id="48" name="Oval 3">
              <a:extLst>
                <a:ext uri="{FF2B5EF4-FFF2-40B4-BE49-F238E27FC236}">
                  <a16:creationId xmlns:a16="http://schemas.microsoft.com/office/drawing/2014/main" id="{87083849-971A-473A-B67A-9689E6727776}"/>
                </a:ext>
              </a:extLst>
            </p:cNvPr>
            <p:cNvSpPr>
              <a:spLocks noChangeArrowheads="1"/>
            </p:cNvSpPr>
            <p:nvPr/>
          </p:nvSpPr>
          <p:spPr bwMode="auto">
            <a:xfrm>
              <a:off x="3523433" y="4163551"/>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6</a:t>
              </a:r>
            </a:p>
          </p:txBody>
        </p:sp>
        <p:sp>
          <p:nvSpPr>
            <p:cNvPr id="49" name="Oval 3">
              <a:extLst>
                <a:ext uri="{FF2B5EF4-FFF2-40B4-BE49-F238E27FC236}">
                  <a16:creationId xmlns:a16="http://schemas.microsoft.com/office/drawing/2014/main" id="{0F57822A-A4D1-41BF-980C-14047AA4E9A2}"/>
                </a:ext>
              </a:extLst>
            </p:cNvPr>
            <p:cNvSpPr>
              <a:spLocks noChangeArrowheads="1"/>
            </p:cNvSpPr>
            <p:nvPr/>
          </p:nvSpPr>
          <p:spPr bwMode="auto">
            <a:xfrm>
              <a:off x="3309707" y="3930530"/>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8</a:t>
              </a:r>
            </a:p>
          </p:txBody>
        </p:sp>
        <p:sp>
          <p:nvSpPr>
            <p:cNvPr id="50" name="Oval 3">
              <a:extLst>
                <a:ext uri="{FF2B5EF4-FFF2-40B4-BE49-F238E27FC236}">
                  <a16:creationId xmlns:a16="http://schemas.microsoft.com/office/drawing/2014/main" id="{B13948AD-7E15-453C-B836-F29F23471CA7}"/>
                </a:ext>
              </a:extLst>
            </p:cNvPr>
            <p:cNvSpPr>
              <a:spLocks noChangeArrowheads="1"/>
            </p:cNvSpPr>
            <p:nvPr/>
          </p:nvSpPr>
          <p:spPr bwMode="auto">
            <a:xfrm>
              <a:off x="3167223" y="2719418"/>
              <a:ext cx="216000" cy="216000"/>
            </a:xfrm>
            <a:prstGeom prst="ellipse">
              <a:avLst/>
            </a:prstGeom>
            <a:solidFill>
              <a:schemeClr val="accent3"/>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7</a:t>
              </a:r>
            </a:p>
          </p:txBody>
        </p:sp>
        <p:sp>
          <p:nvSpPr>
            <p:cNvPr id="51" name="Oval 3">
              <a:extLst>
                <a:ext uri="{FF2B5EF4-FFF2-40B4-BE49-F238E27FC236}">
                  <a16:creationId xmlns:a16="http://schemas.microsoft.com/office/drawing/2014/main" id="{160D1939-A584-43D6-9A9B-1CF6625EAC93}"/>
                </a:ext>
              </a:extLst>
            </p:cNvPr>
            <p:cNvSpPr>
              <a:spLocks noChangeArrowheads="1"/>
            </p:cNvSpPr>
            <p:nvPr/>
          </p:nvSpPr>
          <p:spPr bwMode="auto">
            <a:xfrm>
              <a:off x="3523433" y="2719418"/>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9</a:t>
              </a:r>
            </a:p>
          </p:txBody>
        </p:sp>
        <p:sp>
          <p:nvSpPr>
            <p:cNvPr id="52" name="Oval 3">
              <a:extLst>
                <a:ext uri="{FF2B5EF4-FFF2-40B4-BE49-F238E27FC236}">
                  <a16:creationId xmlns:a16="http://schemas.microsoft.com/office/drawing/2014/main" id="{4BAD3469-67B5-4B74-9824-A7E4CD9AA8BC}"/>
                </a:ext>
              </a:extLst>
            </p:cNvPr>
            <p:cNvSpPr>
              <a:spLocks noChangeArrowheads="1"/>
            </p:cNvSpPr>
            <p:nvPr/>
          </p:nvSpPr>
          <p:spPr bwMode="auto">
            <a:xfrm>
              <a:off x="5208007" y="3431837"/>
              <a:ext cx="216000" cy="216000"/>
            </a:xfrm>
            <a:prstGeom prst="ellipse">
              <a:avLst/>
            </a:prstGeom>
            <a:solidFill>
              <a:srgbClr val="A100FF"/>
            </a:solidFill>
            <a:ln w="9525" algn="ctr">
              <a:noFill/>
              <a:round/>
              <a:headEnd/>
              <a:tailEnd/>
            </a:ln>
          </p:spPr>
          <p:txBody>
            <a:bodyPr wrap="none" lIns="90000" tIns="46800" rIns="90000" bIns="46800" anchor="ctr"/>
            <a:lstStyle/>
            <a:p>
              <a:pPr marL="174625" marR="0" lvl="0" indent="-17462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FFFFFF"/>
                  </a:solidFill>
                  <a:effectLst/>
                  <a:uLnTx/>
                  <a:uFillTx/>
                  <a:latin typeface="Graphik"/>
                  <a:ea typeface="MS PGothic" pitchFamily="34" charset="-128"/>
                  <a:cs typeface="+mn-cs"/>
                </a:rPr>
                <a:t>10</a:t>
              </a:r>
            </a:p>
          </p:txBody>
        </p:sp>
        <p:sp>
          <p:nvSpPr>
            <p:cNvPr id="53" name="Line 28">
              <a:extLst>
                <a:ext uri="{FF2B5EF4-FFF2-40B4-BE49-F238E27FC236}">
                  <a16:creationId xmlns:a16="http://schemas.microsoft.com/office/drawing/2014/main" id="{B43482CE-D1EE-4C06-B80D-C88C63C5B1AD}"/>
                </a:ext>
              </a:extLst>
            </p:cNvPr>
            <p:cNvSpPr>
              <a:spLocks noChangeShapeType="1"/>
            </p:cNvSpPr>
            <p:nvPr/>
          </p:nvSpPr>
          <p:spPr bwMode="auto">
            <a:xfrm>
              <a:off x="1177513" y="5499337"/>
              <a:ext cx="4690631"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54" name="Line 28">
              <a:extLst>
                <a:ext uri="{FF2B5EF4-FFF2-40B4-BE49-F238E27FC236}">
                  <a16:creationId xmlns:a16="http://schemas.microsoft.com/office/drawing/2014/main" id="{F4760B4B-D441-4FCB-ABC5-3B1A842E5B32}"/>
                </a:ext>
              </a:extLst>
            </p:cNvPr>
            <p:cNvSpPr>
              <a:spLocks noChangeShapeType="1"/>
            </p:cNvSpPr>
            <p:nvPr/>
          </p:nvSpPr>
          <p:spPr bwMode="auto">
            <a:xfrm flipV="1">
              <a:off x="1170781" y="2017606"/>
              <a:ext cx="0" cy="3471316"/>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55" name="Rectangle 54">
              <a:extLst>
                <a:ext uri="{FF2B5EF4-FFF2-40B4-BE49-F238E27FC236}">
                  <a16:creationId xmlns:a16="http://schemas.microsoft.com/office/drawing/2014/main" id="{45641B3F-AA74-4491-8E57-35A2926E4F1D}"/>
                </a:ext>
              </a:extLst>
            </p:cNvPr>
            <p:cNvSpPr/>
            <p:nvPr/>
          </p:nvSpPr>
          <p:spPr bwMode="auto">
            <a:xfrm>
              <a:off x="323528" y="1852571"/>
              <a:ext cx="850224" cy="553998"/>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200" b="1" i="0" u="none" strike="noStrike" kern="0" cap="none" spc="0" normalizeH="0" baseline="0" noProof="0" dirty="0">
                  <a:ln>
                    <a:noFill/>
                  </a:ln>
                  <a:solidFill>
                    <a:srgbClr val="000000"/>
                  </a:solidFill>
                  <a:effectLst/>
                  <a:uLnTx/>
                  <a:uFillTx/>
                  <a:latin typeface="Graphik"/>
                  <a:ea typeface="MS PGothic" pitchFamily="34" charset="-128"/>
                  <a:cs typeface="+mn-cs"/>
                </a:rPr>
                <a:t>Level of Potential Benefits</a:t>
              </a:r>
            </a:p>
          </p:txBody>
        </p:sp>
      </p:grpSp>
      <p:sp>
        <p:nvSpPr>
          <p:cNvPr id="2" name="TextBox 1">
            <a:extLst>
              <a:ext uri="{FF2B5EF4-FFF2-40B4-BE49-F238E27FC236}">
                <a16:creationId xmlns:a16="http://schemas.microsoft.com/office/drawing/2014/main" id="{2DFE9CEE-7459-4F1D-9122-BE5D2E74FAE6}"/>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000000"/>
                </a:solidFill>
                <a:effectLst/>
                <a:uLnTx/>
                <a:uFillTx/>
                <a:latin typeface="Graphik"/>
                <a:ea typeface="宋体" pitchFamily="2" charset="-122"/>
                <a:cs typeface="+mn-cs"/>
              </a:rPr>
              <a:t>After the As Is study Accenture has identified list of initiatives which align to the &lt;Client Name&gt;’s strategic vision of creating a customer focused organization</a:t>
            </a:r>
            <a:endParaRPr kumimoji="0" lang="zh-CN" altLang="en-US" sz="1600" b="0" i="0" u="none" strike="noStrike" kern="1200" cap="none" spc="0" normalizeH="0" baseline="0" noProof="0" dirty="0">
              <a:ln>
                <a:noFill/>
              </a:ln>
              <a:solidFill>
                <a:srgbClr val="000000"/>
              </a:solidFill>
              <a:effectLst/>
              <a:uLnTx/>
              <a:uFillTx/>
              <a:latin typeface="Graphik"/>
              <a:ea typeface="宋体" pitchFamily="2" charset="-122"/>
              <a:cs typeface="+mn-cs"/>
            </a:endParaRPr>
          </a:p>
        </p:txBody>
      </p:sp>
      <p:sp>
        <p:nvSpPr>
          <p:cNvPr id="3" name="Rectangle 2">
            <a:hlinkClick r:id="rId3" action="ppaction://hlinksldjump"/>
            <a:extLst>
              <a:ext uri="{FF2B5EF4-FFF2-40B4-BE49-F238E27FC236}">
                <a16:creationId xmlns:a16="http://schemas.microsoft.com/office/drawing/2014/main" id="{5F3FA5BF-4EDB-476D-8C93-A19E25CAD32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35641150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ioritization Matrix 3</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7" name="Rectangle 6">
            <a:extLst>
              <a:ext uri="{FF2B5EF4-FFF2-40B4-BE49-F238E27FC236}">
                <a16:creationId xmlns:a16="http://schemas.microsoft.com/office/drawing/2014/main" id="{80E753B9-CEF6-4194-9F77-DA52B928E2E5}"/>
              </a:ext>
            </a:extLst>
          </p:cNvPr>
          <p:cNvSpPr/>
          <p:nvPr/>
        </p:nvSpPr>
        <p:spPr bwMode="auto">
          <a:xfrm>
            <a:off x="8071520" y="1628800"/>
            <a:ext cx="2124236" cy="3919022"/>
          </a:xfrm>
          <a:prstGeom prst="rect">
            <a:avLst/>
          </a:prstGeom>
        </p:spPr>
        <p:txBody>
          <a:bodyPr wrap="square" lIns="0" tIns="0" rIns="0" bIns="0">
            <a:spAutoFit/>
          </a:bodyPr>
          <a:lstStyle/>
          <a:p>
            <a:pPr marL="144000" marR="0" lvl="0" indent="-144000" algn="l" defTabSz="914400" rtl="0" eaLnBrk="0" fontAlgn="auto" latinLnBrk="0" hangingPunct="0">
              <a:lnSpc>
                <a:spcPct val="100000"/>
              </a:lnSpc>
              <a:spcBef>
                <a:spcPts val="200"/>
              </a:spcBef>
              <a:spcAft>
                <a:spcPts val="2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Opportunities to Explore:</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2</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3</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4</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5</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6</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7</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8</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9</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0</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1</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2</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3</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4</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5</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6</a:t>
            </a:r>
          </a:p>
          <a:p>
            <a:pPr marL="144000" marR="0" lvl="0" indent="-144000" algn="l" defTabSz="914400" rtl="0" eaLnBrk="0" fontAlgn="auto" latinLnBrk="0" hangingPunct="0">
              <a:lnSpc>
                <a:spcPct val="100000"/>
              </a:lnSpc>
              <a:spcBef>
                <a:spcPts val="200"/>
              </a:spcBef>
              <a:spcAft>
                <a:spcPts val="2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Opportunity Area 17</a:t>
            </a:r>
          </a:p>
        </p:txBody>
      </p:sp>
      <p:grpSp>
        <p:nvGrpSpPr>
          <p:cNvPr id="8" name="Group 7">
            <a:extLst>
              <a:ext uri="{FF2B5EF4-FFF2-40B4-BE49-F238E27FC236}">
                <a16:creationId xmlns:a16="http://schemas.microsoft.com/office/drawing/2014/main" id="{2A971C13-F009-4CC2-85FE-4CB0BD042F18}"/>
              </a:ext>
            </a:extLst>
          </p:cNvPr>
          <p:cNvGrpSpPr/>
          <p:nvPr/>
        </p:nvGrpSpPr>
        <p:grpSpPr>
          <a:xfrm>
            <a:off x="1991544" y="1628800"/>
            <a:ext cx="4844100" cy="4284476"/>
            <a:chOff x="1991544" y="1628800"/>
            <a:chExt cx="4844100" cy="4284476"/>
          </a:xfrm>
        </p:grpSpPr>
        <p:sp>
          <p:nvSpPr>
            <p:cNvPr id="9" name="Rectangle 7">
              <a:extLst>
                <a:ext uri="{FF2B5EF4-FFF2-40B4-BE49-F238E27FC236}">
                  <a16:creationId xmlns:a16="http://schemas.microsoft.com/office/drawing/2014/main" id="{46A5C8D2-6AB3-4D56-85A8-F272D487A695}"/>
                </a:ext>
              </a:extLst>
            </p:cNvPr>
            <p:cNvSpPr>
              <a:spLocks noChangeArrowheads="1"/>
            </p:cNvSpPr>
            <p:nvPr/>
          </p:nvSpPr>
          <p:spPr bwMode="auto">
            <a:xfrm>
              <a:off x="2619674" y="1852484"/>
              <a:ext cx="3840074"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Graphik"/>
                <a:ea typeface="+mn-ea"/>
                <a:cs typeface="+mn-cs"/>
              </a:endParaRPr>
            </a:p>
          </p:txBody>
        </p:sp>
        <p:sp>
          <p:nvSpPr>
            <p:cNvPr id="10" name="AutoShape 8">
              <a:extLst>
                <a:ext uri="{FF2B5EF4-FFF2-40B4-BE49-F238E27FC236}">
                  <a16:creationId xmlns:a16="http://schemas.microsoft.com/office/drawing/2014/main" id="{ED434FEE-13E1-48AA-BEF0-4D3841BC2232}"/>
                </a:ext>
              </a:extLst>
            </p:cNvPr>
            <p:cNvSpPr>
              <a:spLocks noChangeArrowheads="1"/>
            </p:cNvSpPr>
            <p:nvPr/>
          </p:nvSpPr>
          <p:spPr bwMode="auto">
            <a:xfrm rot="5400000">
              <a:off x="1894047" y="2556053"/>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1" name="AutoShape 9">
              <a:extLst>
                <a:ext uri="{FF2B5EF4-FFF2-40B4-BE49-F238E27FC236}">
                  <a16:creationId xmlns:a16="http://schemas.microsoft.com/office/drawing/2014/main" id="{2B902588-443A-4D54-BCF3-2E57C4A40145}"/>
                </a:ext>
              </a:extLst>
            </p:cNvPr>
            <p:cNvSpPr>
              <a:spLocks noChangeArrowheads="1"/>
            </p:cNvSpPr>
            <p:nvPr/>
          </p:nvSpPr>
          <p:spPr bwMode="auto">
            <a:xfrm flipH="1">
              <a:off x="2599131" y="3642962"/>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2" name="Rectangle 10">
              <a:extLst>
                <a:ext uri="{FF2B5EF4-FFF2-40B4-BE49-F238E27FC236}">
                  <a16:creationId xmlns:a16="http://schemas.microsoft.com/office/drawing/2014/main" id="{56A6C49E-2510-47C2-9CF7-E100F4622EED}"/>
                </a:ext>
              </a:extLst>
            </p:cNvPr>
            <p:cNvSpPr>
              <a:spLocks noChangeArrowheads="1"/>
            </p:cNvSpPr>
            <p:nvPr/>
          </p:nvSpPr>
          <p:spPr bwMode="auto">
            <a:xfrm>
              <a:off x="2564566" y="1852484"/>
              <a:ext cx="562814" cy="3524484"/>
            </a:xfrm>
            <a:prstGeom prst="rect">
              <a:avLst/>
            </a:prstGeom>
            <a:solidFill>
              <a:srgbClr val="DCAFFF"/>
            </a:solidFill>
            <a:ln w="3175" algn="ctr">
              <a:noFill/>
              <a:miter lim="800000"/>
              <a:headEnd type="none" w="sm" len="sm"/>
              <a:tailEnd type="none" w="sm" len="sm"/>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3" name="Line 20">
              <a:extLst>
                <a:ext uri="{FF2B5EF4-FFF2-40B4-BE49-F238E27FC236}">
                  <a16:creationId xmlns:a16="http://schemas.microsoft.com/office/drawing/2014/main" id="{02C1C8D6-0566-4ADA-BB8E-D1572D4442A4}"/>
                </a:ext>
              </a:extLst>
            </p:cNvPr>
            <p:cNvSpPr>
              <a:spLocks noChangeShapeType="1"/>
            </p:cNvSpPr>
            <p:nvPr/>
          </p:nvSpPr>
          <p:spPr bwMode="auto">
            <a:xfrm flipV="1">
              <a:off x="3902145" y="185248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4" name="Line 21">
              <a:extLst>
                <a:ext uri="{FF2B5EF4-FFF2-40B4-BE49-F238E27FC236}">
                  <a16:creationId xmlns:a16="http://schemas.microsoft.com/office/drawing/2014/main" id="{272E0704-3A09-4486-A605-15C42C2503DF}"/>
                </a:ext>
              </a:extLst>
            </p:cNvPr>
            <p:cNvSpPr>
              <a:spLocks noChangeShapeType="1"/>
            </p:cNvSpPr>
            <p:nvPr/>
          </p:nvSpPr>
          <p:spPr bwMode="auto">
            <a:xfrm>
              <a:off x="2557834" y="3131201"/>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5" name="Line 22">
              <a:extLst>
                <a:ext uri="{FF2B5EF4-FFF2-40B4-BE49-F238E27FC236}">
                  <a16:creationId xmlns:a16="http://schemas.microsoft.com/office/drawing/2014/main" id="{142282EE-009A-4FCE-98B5-5006229E75CF}"/>
                </a:ext>
              </a:extLst>
            </p:cNvPr>
            <p:cNvSpPr>
              <a:spLocks noChangeShapeType="1"/>
            </p:cNvSpPr>
            <p:nvPr/>
          </p:nvSpPr>
          <p:spPr bwMode="auto">
            <a:xfrm flipV="1">
              <a:off x="5193419" y="185248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6" name="Line 23">
              <a:extLst>
                <a:ext uri="{FF2B5EF4-FFF2-40B4-BE49-F238E27FC236}">
                  <a16:creationId xmlns:a16="http://schemas.microsoft.com/office/drawing/2014/main" id="{1DB2E22D-E8C4-46B0-BF12-A8F7FB5A4257}"/>
                </a:ext>
              </a:extLst>
            </p:cNvPr>
            <p:cNvSpPr>
              <a:spLocks noChangeShapeType="1"/>
            </p:cNvSpPr>
            <p:nvPr/>
          </p:nvSpPr>
          <p:spPr bwMode="auto">
            <a:xfrm>
              <a:off x="2557834" y="4228812"/>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7" name="Text Box 24">
              <a:extLst>
                <a:ext uri="{FF2B5EF4-FFF2-40B4-BE49-F238E27FC236}">
                  <a16:creationId xmlns:a16="http://schemas.microsoft.com/office/drawing/2014/main" id="{0A0E1B00-6542-4871-891B-4E5C2A0CD1F8}"/>
                </a:ext>
              </a:extLst>
            </p:cNvPr>
            <p:cNvSpPr txBox="1">
              <a:spLocks noChangeArrowheads="1"/>
            </p:cNvSpPr>
            <p:nvPr/>
          </p:nvSpPr>
          <p:spPr bwMode="auto">
            <a:xfrm>
              <a:off x="3073063" y="1880690"/>
              <a:ext cx="1092717"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High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Desirable</a:t>
              </a:r>
            </a:p>
          </p:txBody>
        </p:sp>
        <p:sp>
          <p:nvSpPr>
            <p:cNvPr id="18" name="Text Box 25">
              <a:extLst>
                <a:ext uri="{FF2B5EF4-FFF2-40B4-BE49-F238E27FC236}">
                  <a16:creationId xmlns:a16="http://schemas.microsoft.com/office/drawing/2014/main" id="{30847B2A-9589-4E6B-8704-E7A8B50E310C}"/>
                </a:ext>
              </a:extLst>
            </p:cNvPr>
            <p:cNvSpPr txBox="1">
              <a:spLocks noChangeArrowheads="1"/>
            </p:cNvSpPr>
            <p:nvPr/>
          </p:nvSpPr>
          <p:spPr bwMode="auto">
            <a:xfrm>
              <a:off x="5465120" y="1880690"/>
              <a:ext cx="1136334"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Potential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Desirable</a:t>
              </a:r>
            </a:p>
          </p:txBody>
        </p:sp>
        <p:sp>
          <p:nvSpPr>
            <p:cNvPr id="19" name="Text Box 26">
              <a:extLst>
                <a:ext uri="{FF2B5EF4-FFF2-40B4-BE49-F238E27FC236}">
                  <a16:creationId xmlns:a16="http://schemas.microsoft.com/office/drawing/2014/main" id="{9BBDB3E2-F568-4131-963A-00ECE713AACE}"/>
                </a:ext>
              </a:extLst>
            </p:cNvPr>
            <p:cNvSpPr txBox="1">
              <a:spLocks noChangeArrowheads="1"/>
            </p:cNvSpPr>
            <p:nvPr/>
          </p:nvSpPr>
          <p:spPr bwMode="auto">
            <a:xfrm>
              <a:off x="5432604" y="4830401"/>
              <a:ext cx="758541"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Least</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Desirable</a:t>
              </a:r>
            </a:p>
          </p:txBody>
        </p:sp>
        <p:sp>
          <p:nvSpPr>
            <p:cNvPr id="20" name="Text Box 27">
              <a:extLst>
                <a:ext uri="{FF2B5EF4-FFF2-40B4-BE49-F238E27FC236}">
                  <a16:creationId xmlns:a16="http://schemas.microsoft.com/office/drawing/2014/main" id="{A495325C-C886-4F6D-B536-F597F94B1804}"/>
                </a:ext>
              </a:extLst>
            </p:cNvPr>
            <p:cNvSpPr txBox="1">
              <a:spLocks noChangeArrowheads="1"/>
            </p:cNvSpPr>
            <p:nvPr/>
          </p:nvSpPr>
          <p:spPr bwMode="auto">
            <a:xfrm>
              <a:off x="2543492" y="4830401"/>
              <a:ext cx="538930"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Quick</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Hits</a:t>
              </a:r>
            </a:p>
          </p:txBody>
        </p:sp>
        <p:grpSp>
          <p:nvGrpSpPr>
            <p:cNvPr id="21" name="Group 4">
              <a:extLst>
                <a:ext uri="{FF2B5EF4-FFF2-40B4-BE49-F238E27FC236}">
                  <a16:creationId xmlns:a16="http://schemas.microsoft.com/office/drawing/2014/main" id="{0AA4BED7-443F-4F69-9C8B-A1C14F80A52D}"/>
                </a:ext>
              </a:extLst>
            </p:cNvPr>
            <p:cNvGrpSpPr/>
            <p:nvPr/>
          </p:nvGrpSpPr>
          <p:grpSpPr bwMode="auto">
            <a:xfrm>
              <a:off x="2809764" y="2502758"/>
              <a:ext cx="2783860" cy="2307610"/>
              <a:chOff x="1285764" y="2502758"/>
              <a:chExt cx="2783860" cy="2307610"/>
            </a:xfrm>
          </p:grpSpPr>
          <p:sp>
            <p:nvSpPr>
              <p:cNvPr id="33" name="Oval 32">
                <a:extLst>
                  <a:ext uri="{FF2B5EF4-FFF2-40B4-BE49-F238E27FC236}">
                    <a16:creationId xmlns:a16="http://schemas.microsoft.com/office/drawing/2014/main" id="{892CCC71-FA19-41F5-B0AB-2ABA4009DACD}"/>
                  </a:ext>
                </a:extLst>
              </p:cNvPr>
              <p:cNvSpPr/>
              <p:nvPr/>
            </p:nvSpPr>
            <p:spPr bwMode="auto">
              <a:xfrm>
                <a:off x="2590689" y="2569433"/>
                <a:ext cx="240685" cy="240685"/>
              </a:xfrm>
              <a:prstGeom prst="ellipse">
                <a:avLst/>
              </a:prstGeom>
              <a:solidFill>
                <a:srgbClr val="A100FF"/>
              </a:solidFill>
              <a:ln w="25400" cap="flat" cmpd="sng" algn="ctr">
                <a:noFill/>
                <a:prstDash val="solid"/>
              </a:ln>
              <a:effectLst/>
            </p:spPr>
            <p:txBody>
              <a:bodyPr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a:t>
                </a:r>
              </a:p>
            </p:txBody>
          </p:sp>
          <p:sp>
            <p:nvSpPr>
              <p:cNvPr id="34" name="Oval 33">
                <a:extLst>
                  <a:ext uri="{FF2B5EF4-FFF2-40B4-BE49-F238E27FC236}">
                    <a16:creationId xmlns:a16="http://schemas.microsoft.com/office/drawing/2014/main" id="{4771F673-FA77-4828-8A61-4E90C5846783}"/>
                  </a:ext>
                </a:extLst>
              </p:cNvPr>
              <p:cNvSpPr/>
              <p:nvPr/>
            </p:nvSpPr>
            <p:spPr bwMode="auto">
              <a:xfrm>
                <a:off x="2981214" y="346478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7</a:t>
                </a:r>
              </a:p>
            </p:txBody>
          </p:sp>
          <p:sp>
            <p:nvSpPr>
              <p:cNvPr id="35" name="Oval 34">
                <a:extLst>
                  <a:ext uri="{FF2B5EF4-FFF2-40B4-BE49-F238E27FC236}">
                    <a16:creationId xmlns:a16="http://schemas.microsoft.com/office/drawing/2014/main" id="{71881C1D-5491-4BA8-957F-9813B914D7CB}"/>
                  </a:ext>
                </a:extLst>
              </p:cNvPr>
              <p:cNvSpPr/>
              <p:nvPr/>
            </p:nvSpPr>
            <p:spPr bwMode="auto">
              <a:xfrm>
                <a:off x="1495314" y="25027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6</a:t>
                </a:r>
              </a:p>
            </p:txBody>
          </p:sp>
          <p:sp>
            <p:nvSpPr>
              <p:cNvPr id="36" name="Oval 35">
                <a:extLst>
                  <a:ext uri="{FF2B5EF4-FFF2-40B4-BE49-F238E27FC236}">
                    <a16:creationId xmlns:a16="http://schemas.microsoft.com/office/drawing/2014/main" id="{487088ED-B0F5-4DDA-83BE-555E0FB8E3FC}"/>
                  </a:ext>
                </a:extLst>
              </p:cNvPr>
              <p:cNvSpPr/>
              <p:nvPr/>
            </p:nvSpPr>
            <p:spPr bwMode="auto">
              <a:xfrm>
                <a:off x="2790714" y="450300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5</a:t>
                </a:r>
              </a:p>
            </p:txBody>
          </p:sp>
          <p:sp>
            <p:nvSpPr>
              <p:cNvPr id="37" name="Oval 36">
                <a:extLst>
                  <a:ext uri="{FF2B5EF4-FFF2-40B4-BE49-F238E27FC236}">
                    <a16:creationId xmlns:a16="http://schemas.microsoft.com/office/drawing/2014/main" id="{7C326016-0EF9-4AEC-B367-4D5DFB4795F9}"/>
                  </a:ext>
                </a:extLst>
              </p:cNvPr>
              <p:cNvSpPr/>
              <p:nvPr/>
            </p:nvSpPr>
            <p:spPr bwMode="auto">
              <a:xfrm>
                <a:off x="3552714" y="41791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4</a:t>
                </a:r>
              </a:p>
            </p:txBody>
          </p:sp>
          <p:sp>
            <p:nvSpPr>
              <p:cNvPr id="38" name="Oval 37">
                <a:extLst>
                  <a:ext uri="{FF2B5EF4-FFF2-40B4-BE49-F238E27FC236}">
                    <a16:creationId xmlns:a16="http://schemas.microsoft.com/office/drawing/2014/main" id="{908F888C-6461-4F9C-8DD6-6C42938BB5EC}"/>
                  </a:ext>
                </a:extLst>
              </p:cNvPr>
              <p:cNvSpPr/>
              <p:nvPr/>
            </p:nvSpPr>
            <p:spPr bwMode="auto">
              <a:xfrm>
                <a:off x="2028714" y="357908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3</a:t>
                </a:r>
              </a:p>
            </p:txBody>
          </p:sp>
          <p:sp>
            <p:nvSpPr>
              <p:cNvPr id="39" name="Oval 38">
                <a:extLst>
                  <a:ext uri="{FF2B5EF4-FFF2-40B4-BE49-F238E27FC236}">
                    <a16:creationId xmlns:a16="http://schemas.microsoft.com/office/drawing/2014/main" id="{5739CCA5-A20C-489A-869A-4CA5C74DF229}"/>
                  </a:ext>
                </a:extLst>
              </p:cNvPr>
              <p:cNvSpPr/>
              <p:nvPr/>
            </p:nvSpPr>
            <p:spPr bwMode="auto">
              <a:xfrm>
                <a:off x="3828939" y="253133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2</a:t>
                </a:r>
              </a:p>
            </p:txBody>
          </p:sp>
          <p:sp>
            <p:nvSpPr>
              <p:cNvPr id="40" name="Oval 39">
                <a:extLst>
                  <a:ext uri="{FF2B5EF4-FFF2-40B4-BE49-F238E27FC236}">
                    <a16:creationId xmlns:a16="http://schemas.microsoft.com/office/drawing/2014/main" id="{4D4453FA-8FEA-4299-A905-DE0FEEE5CB39}"/>
                  </a:ext>
                </a:extLst>
              </p:cNvPr>
              <p:cNvSpPr/>
              <p:nvPr/>
            </p:nvSpPr>
            <p:spPr bwMode="auto">
              <a:xfrm>
                <a:off x="1285764" y="428393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1</a:t>
                </a:r>
              </a:p>
            </p:txBody>
          </p:sp>
          <p:sp>
            <p:nvSpPr>
              <p:cNvPr id="41" name="Oval 40">
                <a:extLst>
                  <a:ext uri="{FF2B5EF4-FFF2-40B4-BE49-F238E27FC236}">
                    <a16:creationId xmlns:a16="http://schemas.microsoft.com/office/drawing/2014/main" id="{D060CA61-A8C1-4D84-B966-15FE95FE7A71}"/>
                  </a:ext>
                </a:extLst>
              </p:cNvPr>
              <p:cNvSpPr/>
              <p:nvPr/>
            </p:nvSpPr>
            <p:spPr bwMode="auto">
              <a:xfrm>
                <a:off x="3695589" y="339810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0</a:t>
                </a:r>
              </a:p>
            </p:txBody>
          </p:sp>
          <p:sp>
            <p:nvSpPr>
              <p:cNvPr id="42" name="Oval 41">
                <a:extLst>
                  <a:ext uri="{FF2B5EF4-FFF2-40B4-BE49-F238E27FC236}">
                    <a16:creationId xmlns:a16="http://schemas.microsoft.com/office/drawing/2014/main" id="{D3CA0E1E-E985-4C26-9E1F-CC3E7A63F360}"/>
                  </a:ext>
                </a:extLst>
              </p:cNvPr>
              <p:cNvSpPr/>
              <p:nvPr/>
            </p:nvSpPr>
            <p:spPr bwMode="auto">
              <a:xfrm>
                <a:off x="1485789" y="363623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9</a:t>
                </a:r>
              </a:p>
            </p:txBody>
          </p:sp>
          <p:sp>
            <p:nvSpPr>
              <p:cNvPr id="43" name="Oval 42">
                <a:extLst>
                  <a:ext uri="{FF2B5EF4-FFF2-40B4-BE49-F238E27FC236}">
                    <a16:creationId xmlns:a16="http://schemas.microsoft.com/office/drawing/2014/main" id="{C5DE7EDC-1EBE-40F8-AA62-698D8B7C8603}"/>
                  </a:ext>
                </a:extLst>
              </p:cNvPr>
              <p:cNvSpPr/>
              <p:nvPr/>
            </p:nvSpPr>
            <p:spPr bwMode="auto">
              <a:xfrm>
                <a:off x="3314589" y="25408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8</a:t>
                </a:r>
              </a:p>
            </p:txBody>
          </p:sp>
          <p:sp>
            <p:nvSpPr>
              <p:cNvPr id="44" name="Oval 43">
                <a:extLst>
                  <a:ext uri="{FF2B5EF4-FFF2-40B4-BE49-F238E27FC236}">
                    <a16:creationId xmlns:a16="http://schemas.microsoft.com/office/drawing/2014/main" id="{137F352B-6916-4D8C-A245-2946B228202F}"/>
                  </a:ext>
                </a:extLst>
              </p:cNvPr>
              <p:cNvSpPr/>
              <p:nvPr/>
            </p:nvSpPr>
            <p:spPr bwMode="auto">
              <a:xfrm>
                <a:off x="1838214" y="267420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7</a:t>
                </a:r>
              </a:p>
            </p:txBody>
          </p:sp>
          <p:sp>
            <p:nvSpPr>
              <p:cNvPr id="45" name="Oval 44">
                <a:extLst>
                  <a:ext uri="{FF2B5EF4-FFF2-40B4-BE49-F238E27FC236}">
                    <a16:creationId xmlns:a16="http://schemas.microsoft.com/office/drawing/2014/main" id="{960ED2EB-94F1-4CDA-B06B-E53FD1B285E2}"/>
                  </a:ext>
                </a:extLst>
              </p:cNvPr>
              <p:cNvSpPr/>
              <p:nvPr/>
            </p:nvSpPr>
            <p:spPr bwMode="auto">
              <a:xfrm>
                <a:off x="2314464" y="39124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6</a:t>
                </a:r>
              </a:p>
            </p:txBody>
          </p:sp>
          <p:sp>
            <p:nvSpPr>
              <p:cNvPr id="46" name="Oval 45">
                <a:extLst>
                  <a:ext uri="{FF2B5EF4-FFF2-40B4-BE49-F238E27FC236}">
                    <a16:creationId xmlns:a16="http://schemas.microsoft.com/office/drawing/2014/main" id="{A337A380-FE06-45DA-A12D-CCCAC0601369}"/>
                  </a:ext>
                </a:extLst>
              </p:cNvPr>
              <p:cNvSpPr/>
              <p:nvPr/>
            </p:nvSpPr>
            <p:spPr bwMode="auto">
              <a:xfrm>
                <a:off x="1581039" y="456968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5</a:t>
                </a:r>
              </a:p>
            </p:txBody>
          </p:sp>
          <p:sp>
            <p:nvSpPr>
              <p:cNvPr id="47" name="Oval 46">
                <a:extLst>
                  <a:ext uri="{FF2B5EF4-FFF2-40B4-BE49-F238E27FC236}">
                    <a16:creationId xmlns:a16="http://schemas.microsoft.com/office/drawing/2014/main" id="{AEF7ADEB-4910-416D-8276-63EE4223B17F}"/>
                  </a:ext>
                </a:extLst>
              </p:cNvPr>
              <p:cNvSpPr/>
              <p:nvPr/>
            </p:nvSpPr>
            <p:spPr bwMode="auto">
              <a:xfrm>
                <a:off x="1752489" y="333143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4</a:t>
                </a:r>
              </a:p>
            </p:txBody>
          </p:sp>
          <p:sp>
            <p:nvSpPr>
              <p:cNvPr id="48" name="Oval 47">
                <a:extLst>
                  <a:ext uri="{FF2B5EF4-FFF2-40B4-BE49-F238E27FC236}">
                    <a16:creationId xmlns:a16="http://schemas.microsoft.com/office/drawing/2014/main" id="{100C0D58-83A0-4331-B947-142A84E67C6C}"/>
                  </a:ext>
                </a:extLst>
              </p:cNvPr>
              <p:cNvSpPr/>
              <p:nvPr/>
            </p:nvSpPr>
            <p:spPr bwMode="auto">
              <a:xfrm>
                <a:off x="2809764" y="2921858"/>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3</a:t>
                </a:r>
              </a:p>
            </p:txBody>
          </p:sp>
          <p:sp>
            <p:nvSpPr>
              <p:cNvPr id="49" name="Oval 48">
                <a:extLst>
                  <a:ext uri="{FF2B5EF4-FFF2-40B4-BE49-F238E27FC236}">
                    <a16:creationId xmlns:a16="http://schemas.microsoft.com/office/drawing/2014/main" id="{EFC7934E-E8E4-41D0-82EF-78490FD219A9}"/>
                  </a:ext>
                </a:extLst>
              </p:cNvPr>
              <p:cNvSpPr/>
              <p:nvPr/>
            </p:nvSpPr>
            <p:spPr bwMode="auto">
              <a:xfrm>
                <a:off x="3695589" y="4455383"/>
                <a:ext cx="240685" cy="240685"/>
              </a:xfrm>
              <a:prstGeom prst="ellipse">
                <a:avLst/>
              </a:prstGeom>
              <a:solidFill>
                <a:srgbClr val="A100FF"/>
              </a:solidFill>
              <a:ln w="25400" cap="flat" cmpd="sng" algn="ctr">
                <a:noFill/>
                <a:prstDash val="solid"/>
              </a:ln>
              <a:effectLst/>
            </p:spPr>
            <p:txBody>
              <a:bodyPr lIns="0" tIns="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2</a:t>
                </a:r>
              </a:p>
            </p:txBody>
          </p:sp>
        </p:grpSp>
        <p:grpSp>
          <p:nvGrpSpPr>
            <p:cNvPr id="22" name="Group 65">
              <a:extLst>
                <a:ext uri="{FF2B5EF4-FFF2-40B4-BE49-F238E27FC236}">
                  <a16:creationId xmlns:a16="http://schemas.microsoft.com/office/drawing/2014/main" id="{28C9BD17-A518-4770-9808-F605186E594A}"/>
                </a:ext>
              </a:extLst>
            </p:cNvPr>
            <p:cNvGrpSpPr/>
            <p:nvPr/>
          </p:nvGrpSpPr>
          <p:grpSpPr bwMode="auto">
            <a:xfrm>
              <a:off x="1991544" y="1628800"/>
              <a:ext cx="4844100" cy="4284476"/>
              <a:chOff x="610162" y="1709192"/>
              <a:chExt cx="4844100" cy="4284476"/>
            </a:xfrm>
          </p:grpSpPr>
          <p:sp>
            <p:nvSpPr>
              <p:cNvPr id="23" name="Text Box 11">
                <a:extLst>
                  <a:ext uri="{FF2B5EF4-FFF2-40B4-BE49-F238E27FC236}">
                    <a16:creationId xmlns:a16="http://schemas.microsoft.com/office/drawing/2014/main" id="{62D6CCFE-4CC5-41D6-A0B5-3EBFF910C9AB}"/>
                  </a:ext>
                </a:extLst>
              </p:cNvPr>
              <p:cNvSpPr txBox="1">
                <a:spLocks noChangeArrowheads="1"/>
              </p:cNvSpPr>
              <p:nvPr/>
            </p:nvSpPr>
            <p:spPr bwMode="auto">
              <a:xfrm>
                <a:off x="610162" y="1709192"/>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Value</a:t>
                </a:r>
              </a:p>
            </p:txBody>
          </p:sp>
          <p:sp>
            <p:nvSpPr>
              <p:cNvPr id="24" name="Text Box 11">
                <a:extLst>
                  <a:ext uri="{FF2B5EF4-FFF2-40B4-BE49-F238E27FC236}">
                    <a16:creationId xmlns:a16="http://schemas.microsoft.com/office/drawing/2014/main" id="{74D601BC-9CF5-4242-B0A3-CA1822C24D4E}"/>
                  </a:ext>
                </a:extLst>
              </p:cNvPr>
              <p:cNvSpPr txBox="1">
                <a:spLocks noChangeArrowheads="1"/>
              </p:cNvSpPr>
              <p:nvPr/>
            </p:nvSpPr>
            <p:spPr bwMode="auto">
              <a:xfrm>
                <a:off x="4364360" y="5845935"/>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Effort</a:t>
                </a:r>
              </a:p>
            </p:txBody>
          </p:sp>
          <p:sp>
            <p:nvSpPr>
              <p:cNvPr id="25" name="Text Box 13">
                <a:extLst>
                  <a:ext uri="{FF2B5EF4-FFF2-40B4-BE49-F238E27FC236}">
                    <a16:creationId xmlns:a16="http://schemas.microsoft.com/office/drawing/2014/main" id="{9A9B1FEC-BF79-4F98-AB26-7E9FEB6BAE37}"/>
                  </a:ext>
                </a:extLst>
              </p:cNvPr>
              <p:cNvSpPr txBox="1">
                <a:spLocks noChangeArrowheads="1"/>
              </p:cNvSpPr>
              <p:nvPr/>
            </p:nvSpPr>
            <p:spPr bwMode="auto">
              <a:xfrm>
                <a:off x="4176348" y="5557904"/>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26" name="Text Box 14">
                <a:extLst>
                  <a:ext uri="{FF2B5EF4-FFF2-40B4-BE49-F238E27FC236}">
                    <a16:creationId xmlns:a16="http://schemas.microsoft.com/office/drawing/2014/main" id="{89BD6DB8-8A68-4DE5-A753-EC2E1772BE04}"/>
                  </a:ext>
                </a:extLst>
              </p:cNvPr>
              <p:cNvSpPr txBox="1">
                <a:spLocks noChangeArrowheads="1"/>
              </p:cNvSpPr>
              <p:nvPr/>
            </p:nvSpPr>
            <p:spPr bwMode="auto">
              <a:xfrm>
                <a:off x="999249" y="5557904"/>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27" name="Text Box 15">
                <a:extLst>
                  <a:ext uri="{FF2B5EF4-FFF2-40B4-BE49-F238E27FC236}">
                    <a16:creationId xmlns:a16="http://schemas.microsoft.com/office/drawing/2014/main" id="{9D228F16-F010-4A22-8AE8-30846FE6FBE1}"/>
                  </a:ext>
                </a:extLst>
              </p:cNvPr>
              <p:cNvSpPr txBox="1">
                <a:spLocks noChangeArrowheads="1"/>
              </p:cNvSpPr>
              <p:nvPr/>
            </p:nvSpPr>
            <p:spPr bwMode="auto">
              <a:xfrm>
                <a:off x="2690737" y="5557904"/>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28" name="Text Box 13">
                <a:extLst>
                  <a:ext uri="{FF2B5EF4-FFF2-40B4-BE49-F238E27FC236}">
                    <a16:creationId xmlns:a16="http://schemas.microsoft.com/office/drawing/2014/main" id="{DC6E9FE8-B342-4A11-AB53-25B5BABF3998}"/>
                  </a:ext>
                </a:extLst>
              </p:cNvPr>
              <p:cNvSpPr txBox="1">
                <a:spLocks noChangeArrowheads="1"/>
              </p:cNvSpPr>
              <p:nvPr/>
            </p:nvSpPr>
            <p:spPr bwMode="auto">
              <a:xfrm>
                <a:off x="662842" y="2635769"/>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29" name="Text Box 14">
                <a:extLst>
                  <a:ext uri="{FF2B5EF4-FFF2-40B4-BE49-F238E27FC236}">
                    <a16:creationId xmlns:a16="http://schemas.microsoft.com/office/drawing/2014/main" id="{E0D93EEB-55AC-40D9-BF2A-7780DB7D12B4}"/>
                  </a:ext>
                </a:extLst>
              </p:cNvPr>
              <p:cNvSpPr txBox="1">
                <a:spLocks noChangeArrowheads="1"/>
              </p:cNvSpPr>
              <p:nvPr/>
            </p:nvSpPr>
            <p:spPr bwMode="auto">
              <a:xfrm>
                <a:off x="662842" y="4836633"/>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30" name="Text Box 15">
                <a:extLst>
                  <a:ext uri="{FF2B5EF4-FFF2-40B4-BE49-F238E27FC236}">
                    <a16:creationId xmlns:a16="http://schemas.microsoft.com/office/drawing/2014/main" id="{086F7E33-0B4C-4CFB-BFE2-34F3627E70F5}"/>
                  </a:ext>
                </a:extLst>
              </p:cNvPr>
              <p:cNvSpPr txBox="1">
                <a:spLocks noChangeArrowheads="1"/>
              </p:cNvSpPr>
              <p:nvPr/>
            </p:nvSpPr>
            <p:spPr bwMode="auto">
              <a:xfrm>
                <a:off x="662842" y="3802512"/>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31" name="Line 28">
                <a:extLst>
                  <a:ext uri="{FF2B5EF4-FFF2-40B4-BE49-F238E27FC236}">
                    <a16:creationId xmlns:a16="http://schemas.microsoft.com/office/drawing/2014/main" id="{E8B5AB64-0B29-4050-84FA-5EE19A1201FA}"/>
                  </a:ext>
                </a:extLst>
              </p:cNvPr>
              <p:cNvSpPr>
                <a:spLocks noChangeShapeType="1"/>
              </p:cNvSpPr>
              <p:nvPr/>
            </p:nvSpPr>
            <p:spPr bwMode="auto">
              <a:xfrm>
                <a:off x="1183184"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32" name="Line 28">
                <a:extLst>
                  <a:ext uri="{FF2B5EF4-FFF2-40B4-BE49-F238E27FC236}">
                    <a16:creationId xmlns:a16="http://schemas.microsoft.com/office/drawing/2014/main" id="{CFAF2F0F-5BBA-4FB4-B66E-295547E76C66}"/>
                  </a:ext>
                </a:extLst>
              </p:cNvPr>
              <p:cNvSpPr>
                <a:spLocks noChangeShapeType="1"/>
              </p:cNvSpPr>
              <p:nvPr/>
            </p:nvSpPr>
            <p:spPr bwMode="auto">
              <a:xfrm flipV="1">
                <a:off x="1176452"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grpSp>
      </p:grpSp>
      <p:sp>
        <p:nvSpPr>
          <p:cNvPr id="2" name="Rectangle 1">
            <a:hlinkClick r:id="rId3" action="ppaction://hlinksldjump"/>
            <a:extLst>
              <a:ext uri="{FF2B5EF4-FFF2-40B4-BE49-F238E27FC236}">
                <a16:creationId xmlns:a16="http://schemas.microsoft.com/office/drawing/2014/main" id="{022210B6-2C9B-4D6C-B818-8461C836D2B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652748147"/>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1</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26">
            <a:extLst>
              <a:ext uri="{FF2B5EF4-FFF2-40B4-BE49-F238E27FC236}">
                <a16:creationId xmlns:a16="http://schemas.microsoft.com/office/drawing/2014/main" id="{33226278-974F-43C9-8376-A73C3EF40D99}"/>
              </a:ext>
            </a:extLst>
          </p:cNvPr>
          <p:cNvSpPr>
            <a:spLocks noChangeArrowheads="1"/>
          </p:cNvSpPr>
          <p:nvPr/>
        </p:nvSpPr>
        <p:spPr bwMode="gray">
          <a:xfrm>
            <a:off x="7020734" y="4932601"/>
            <a:ext cx="2241684" cy="1369162"/>
          </a:xfrm>
          <a:prstGeom prst="rect">
            <a:avLst/>
          </a:prstGeom>
          <a:solidFill>
            <a:srgbClr val="F8F8F8"/>
          </a:solidFill>
          <a:ln w="9525" algn="ctr">
            <a:solidFill>
              <a:srgbClr val="E6E6E6"/>
            </a:solidFill>
            <a:miter lim="800000"/>
            <a:headEnd/>
            <a:tailEnd/>
          </a:ln>
        </p:spPr>
        <p:txBody>
          <a:bodyPr lIns="91440" tIns="91440" rIns="91440" bIns="91440"/>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Graphik"/>
                <a:ea typeface="+mn-ea"/>
                <a:cs typeface="+mn-cs"/>
              </a:rPr>
              <a:t>Methods Tracker</a:t>
            </a:r>
          </a:p>
          <a:p>
            <a:pPr marL="112713" marR="0" lvl="0" indent="-112713" algn="l" defTabSz="914400" rtl="0" eaLnBrk="1" fontAlgn="auto" latinLnBrk="0" hangingPunct="1">
              <a:lnSpc>
                <a:spcPct val="100000"/>
              </a:lnSpc>
              <a:spcBef>
                <a:spcPts val="0"/>
              </a:spcBef>
              <a:spcAft>
                <a:spcPts val="0"/>
              </a:spcAft>
              <a:buClrTx/>
              <a:buSzTx/>
              <a:buFontTx/>
              <a:buChar char="•"/>
              <a:tabLst/>
              <a:defRPr/>
            </a:pPr>
            <a:endParaRPr kumimoji="0" lang="en-US" sz="10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Text Box 5">
            <a:extLst>
              <a:ext uri="{FF2B5EF4-FFF2-40B4-BE49-F238E27FC236}">
                <a16:creationId xmlns:a16="http://schemas.microsoft.com/office/drawing/2014/main" id="{326BC11A-E1A2-464F-9DF8-5ECC3ACF7003}"/>
              </a:ext>
            </a:extLst>
          </p:cNvPr>
          <p:cNvSpPr txBox="1">
            <a:spLocks noChangeArrowheads="1"/>
          </p:cNvSpPr>
          <p:nvPr/>
        </p:nvSpPr>
        <p:spPr bwMode="gray">
          <a:xfrm>
            <a:off x="386707" y="2027479"/>
            <a:ext cx="4338637" cy="2782330"/>
          </a:xfrm>
          <a:prstGeom prst="rect">
            <a:avLst/>
          </a:prstGeom>
          <a:solidFill>
            <a:srgbClr val="F8F8F8"/>
          </a:solidFill>
          <a:ln w="9525" algn="ctr">
            <a:solidFill>
              <a:srgbClr val="E6E6E6"/>
            </a:solidFill>
            <a:miter lim="800000"/>
            <a:headEnd/>
            <a:tailEnd/>
          </a:ln>
        </p:spPr>
        <p:txBody>
          <a:bodyPr lIns="91440" tIns="91440" bIns="91440"/>
          <a:lstStyle/>
          <a:p>
            <a:pPr marL="112713" marR="0" lvl="0" indent="-112713"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GB" sz="1200" b="1" i="0" u="none" strike="noStrike" kern="0" cap="none" spc="0" normalizeH="0" baseline="0" noProof="0" dirty="0">
                <a:ln>
                  <a:noFill/>
                </a:ln>
                <a:solidFill>
                  <a:schemeClr val="accent2"/>
                </a:solidFill>
                <a:effectLst/>
                <a:uLnTx/>
                <a:uFillTx/>
                <a:latin typeface="Graphik"/>
                <a:ea typeface="宋体" pitchFamily="2" charset="-122"/>
                <a:cs typeface="+mn-cs"/>
              </a:rPr>
              <a:t>Asset Description/Definition:</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his initial screening procedure and graph helps to facilitate a discussion around the potential benefits to be realized and the projected effort required to accomplish a particular project or process improvemen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he same measurements are applied to each and all are mapped on the same graph, displaying which projects might be quick wins or highly desirable (less effort and high benefit) and which are less desirable (high effort and lower benefi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Benefits to be considered include: revenue growth, cost reduction, capital reduction, tax or interest rate impac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Efforts to be considered include: resources required, project duration , capital investment, expense investmen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Also consider strategic fit, enabling project, regulatory compliance, project risk</a:t>
            </a:r>
          </a:p>
          <a:p>
            <a:pPr marL="569913" marR="0" lvl="1" indent="-112713" algn="l" defTabSz="914400" rtl="0" eaLnBrk="1" fontAlgn="auto" latinLnBrk="0" hangingPunct="1">
              <a:lnSpc>
                <a:spcPct val="100000"/>
              </a:lnSpc>
              <a:spcBef>
                <a:spcPts val="0"/>
              </a:spcBef>
              <a:spcAft>
                <a:spcPts val="0"/>
              </a:spcAft>
              <a:buClr>
                <a:srgbClr val="000000"/>
              </a:buClr>
              <a:buSzPct val="100000"/>
              <a:buFont typeface="Arial" pitchFamily="34" charset="0"/>
              <a:buChar char="•"/>
              <a:tabLst/>
              <a:defRPr/>
            </a:pPr>
            <a:endParaRPr kumimoji="0" lang="en-GB" sz="10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Rectangle 6">
            <a:extLst>
              <a:ext uri="{FF2B5EF4-FFF2-40B4-BE49-F238E27FC236}">
                <a16:creationId xmlns:a16="http://schemas.microsoft.com/office/drawing/2014/main" id="{C5476869-BA0F-4E3E-B395-B4D5372D955C}"/>
              </a:ext>
            </a:extLst>
          </p:cNvPr>
          <p:cNvSpPr>
            <a:spLocks noChangeArrowheads="1"/>
          </p:cNvSpPr>
          <p:nvPr/>
        </p:nvSpPr>
        <p:spPr bwMode="gray">
          <a:xfrm>
            <a:off x="389880" y="4922204"/>
            <a:ext cx="4338638" cy="1373505"/>
          </a:xfrm>
          <a:prstGeom prst="rect">
            <a:avLst/>
          </a:prstGeom>
          <a:solidFill>
            <a:srgbClr val="F8F8F8"/>
          </a:solidFill>
          <a:ln w="9525" algn="ctr">
            <a:solidFill>
              <a:srgbClr val="E6E6E6"/>
            </a:solidFill>
            <a:miter lim="800000"/>
            <a:headEnd/>
            <a:tailEnd/>
          </a:ln>
        </p:spPr>
        <p:txBody>
          <a:bodyPr lIns="91440" tIns="91440" rIns="91440" bIns="91440"/>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Graphik"/>
                <a:ea typeface="+mn-ea"/>
                <a:cs typeface="+mn-cs"/>
              </a:rPr>
              <a:t>Value to Clients/ Benefits:</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Encourages a structured process for comparison of process improvement ideas</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Provides graphical representation of the projects being considered</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Engages stakeholders in the activity of project prioritization</a:t>
            </a:r>
          </a:p>
        </p:txBody>
      </p:sp>
      <p:sp>
        <p:nvSpPr>
          <p:cNvPr id="9" name="Rectangle 8">
            <a:extLst>
              <a:ext uri="{FF2B5EF4-FFF2-40B4-BE49-F238E27FC236}">
                <a16:creationId xmlns:a16="http://schemas.microsoft.com/office/drawing/2014/main" id="{E129D706-9F97-484B-B95E-E3082B5698EC}"/>
              </a:ext>
            </a:extLst>
          </p:cNvPr>
          <p:cNvSpPr>
            <a:spLocks noChangeArrowheads="1"/>
          </p:cNvSpPr>
          <p:nvPr/>
        </p:nvSpPr>
        <p:spPr bwMode="gray">
          <a:xfrm>
            <a:off x="4890444" y="1104583"/>
            <a:ext cx="4371975" cy="3705225"/>
          </a:xfrm>
          <a:prstGeom prst="rect">
            <a:avLst/>
          </a:prstGeom>
          <a:solidFill>
            <a:srgbClr val="FFFFFF">
              <a:lumMod val="95000"/>
            </a:srgbClr>
          </a:solidFill>
          <a:ln w="9525" algn="ctr">
            <a:solidFill>
              <a:srgbClr val="E6E6E6"/>
            </a:solidFill>
            <a:miter lim="800000"/>
            <a:headEnd/>
            <a:tailEnd/>
          </a:ln>
        </p:spPr>
        <p:txBody>
          <a:bodyPr lIns="91440" tIns="91440" rIns="91440" bIns="91440"/>
          <a:lstStyle/>
          <a:p>
            <a:pPr marL="0" marR="0" lvl="0" indent="0" algn="l" defTabSz="914400" rtl="0" eaLnBrk="1" fontAlgn="auto" latinLnBrk="0" hangingPunct="1">
              <a:lnSpc>
                <a:spcPct val="100000"/>
              </a:lnSpc>
              <a:spcBef>
                <a:spcPts val="0"/>
              </a:spcBef>
              <a:spcAft>
                <a:spcPts val="0"/>
              </a:spcAft>
              <a:buClr>
                <a:srgbClr val="000000"/>
              </a:buClr>
              <a:buSzPct val="100000"/>
              <a:buFont typeface="Wingdings" pitchFamily="2" charset="2"/>
              <a:buNone/>
              <a:tabLst/>
              <a:defRPr/>
            </a:pPr>
            <a:r>
              <a:rPr kumimoji="0" lang="en-GB" sz="1200" b="1" i="0" u="none" strike="noStrike" kern="0" cap="none" spc="0" normalizeH="0" baseline="0" noProof="0" dirty="0">
                <a:ln>
                  <a:noFill/>
                </a:ln>
                <a:solidFill>
                  <a:schemeClr val="accent2"/>
                </a:solidFill>
                <a:effectLst/>
                <a:uLnTx/>
                <a:uFillTx/>
                <a:latin typeface="Graphik"/>
                <a:ea typeface="宋体" pitchFamily="2" charset="-122"/>
                <a:cs typeface="+mn-cs"/>
              </a:rPr>
              <a:t>Visual Representation:</a:t>
            </a:r>
          </a:p>
        </p:txBody>
      </p:sp>
      <p:sp>
        <p:nvSpPr>
          <p:cNvPr id="10" name="Rectangle 26">
            <a:extLst>
              <a:ext uri="{FF2B5EF4-FFF2-40B4-BE49-F238E27FC236}">
                <a16:creationId xmlns:a16="http://schemas.microsoft.com/office/drawing/2014/main" id="{852BE776-B142-4401-A8E3-ACB96279431B}"/>
              </a:ext>
            </a:extLst>
          </p:cNvPr>
          <p:cNvSpPr>
            <a:spLocks noChangeArrowheads="1"/>
          </p:cNvSpPr>
          <p:nvPr/>
        </p:nvSpPr>
        <p:spPr bwMode="gray">
          <a:xfrm>
            <a:off x="4891215" y="4931317"/>
            <a:ext cx="2034403" cy="1369162"/>
          </a:xfrm>
          <a:prstGeom prst="rect">
            <a:avLst/>
          </a:prstGeom>
          <a:solidFill>
            <a:srgbClr val="F8F8F8"/>
          </a:solidFill>
          <a:ln w="9525" algn="ctr">
            <a:solidFill>
              <a:srgbClr val="E6E6E6"/>
            </a:solidFill>
            <a:miter lim="800000"/>
            <a:headEnd/>
            <a:tailEnd/>
          </a:ln>
        </p:spPr>
        <p:txBody>
          <a:bodyPr lIns="91440" tIns="91440" rIns="91440" bIns="91440"/>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Graphik"/>
                <a:ea typeface="+mn-ea"/>
                <a:cs typeface="+mn-cs"/>
              </a:rPr>
              <a:t>KX Lin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hlinkClick r:id="rId4"/>
              </a:rPr>
              <a:t>https://kx.accenture.com/Repositories/ContributionForm.aspx?path=C21/27/3&amp;mode=Read</a:t>
            </a:r>
            <a:endParaRPr kumimoji="0" lang="en-US" sz="1200" b="0" i="0" u="none" strike="noStrike" kern="0" cap="none" spc="0" normalizeH="0" baseline="0" noProof="0" dirty="0">
              <a:ln>
                <a:noFill/>
              </a:ln>
              <a:solidFill>
                <a:srgbClr val="A055F5">
                  <a:lumMod val="75000"/>
                </a:srgbClr>
              </a:solidFill>
              <a:effectLst/>
              <a:uLnTx/>
              <a:uFillTx/>
              <a:latin typeface="Graphik"/>
              <a:ea typeface="+mn-ea"/>
              <a:cs typeface="+mn-cs"/>
            </a:endParaRPr>
          </a:p>
          <a:p>
            <a:pPr marL="112713" marR="0" lvl="0" indent="-112713" algn="l" defTabSz="914400" rtl="0" eaLnBrk="1" fontAlgn="auto" latinLnBrk="0" hangingPunct="1">
              <a:lnSpc>
                <a:spcPct val="100000"/>
              </a:lnSpc>
              <a:spcBef>
                <a:spcPts val="0"/>
              </a:spcBef>
              <a:spcAft>
                <a:spcPts val="0"/>
              </a:spcAft>
              <a:buClrTx/>
              <a:buSzTx/>
              <a:buFontTx/>
              <a:buChar char="•"/>
              <a:tabLst/>
              <a:defRPr/>
            </a:pPr>
            <a:endParaRPr kumimoji="0" lang="en-US" sz="11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Rectangle 6">
            <a:extLst>
              <a:ext uri="{FF2B5EF4-FFF2-40B4-BE49-F238E27FC236}">
                <a16:creationId xmlns:a16="http://schemas.microsoft.com/office/drawing/2014/main" id="{3765A4B2-EBFE-4C6A-802D-7705F6ADBA4E}"/>
              </a:ext>
            </a:extLst>
          </p:cNvPr>
          <p:cNvSpPr>
            <a:spLocks noChangeArrowheads="1"/>
          </p:cNvSpPr>
          <p:nvPr/>
        </p:nvSpPr>
        <p:spPr bwMode="gray">
          <a:xfrm>
            <a:off x="381000" y="1101412"/>
            <a:ext cx="4342751" cy="839570"/>
          </a:xfrm>
          <a:prstGeom prst="rect">
            <a:avLst/>
          </a:prstGeom>
          <a:solidFill>
            <a:srgbClr val="F8F8F8"/>
          </a:solidFill>
          <a:ln w="9525" algn="ctr">
            <a:solidFill>
              <a:srgbClr val="E6E6E6"/>
            </a:solidFill>
            <a:miter lim="800000"/>
            <a:headEnd/>
            <a:tailEnd/>
          </a:ln>
        </p:spPr>
        <p:txBody>
          <a:bodyPr lIns="91440" tIns="91440" rIns="91440" bIns="9144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Graphik"/>
                <a:ea typeface="+mn-ea"/>
                <a:cs typeface="+mn-cs"/>
              </a:rPr>
              <a:t>Purpo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Provides framework and graphical tool for assessing the expected benefit and perceived effort of one process improvement project relative to another</a:t>
            </a:r>
          </a:p>
        </p:txBody>
      </p:sp>
      <p:pic>
        <p:nvPicPr>
          <p:cNvPr id="12" name="Picture 2">
            <a:extLst>
              <a:ext uri="{FF2B5EF4-FFF2-40B4-BE49-F238E27FC236}">
                <a16:creationId xmlns:a16="http://schemas.microsoft.com/office/drawing/2014/main" id="{2F9A93DC-B3F6-4C18-8D8D-B05769CE32D2}"/>
              </a:ext>
            </a:extLst>
          </p:cNvPr>
          <p:cNvPicPr>
            <a:picLocks noChangeAspect="1" noChangeArrowheads="1"/>
          </p:cNvPicPr>
          <p:nvPr/>
        </p:nvPicPr>
        <p:blipFill>
          <a:blip r:embed="rId5" cstate="print"/>
          <a:srcRect/>
          <a:stretch>
            <a:fillRect/>
          </a:stretch>
        </p:blipFill>
        <p:spPr bwMode="auto">
          <a:xfrm>
            <a:off x="7548775" y="5312096"/>
            <a:ext cx="1012295" cy="882642"/>
          </a:xfrm>
          <a:prstGeom prst="rect">
            <a:avLst/>
          </a:prstGeom>
          <a:noFill/>
          <a:ln w="9525">
            <a:noFill/>
            <a:miter lim="800000"/>
            <a:headEnd/>
            <a:tailEnd/>
          </a:ln>
        </p:spPr>
      </p:pic>
      <p:pic>
        <p:nvPicPr>
          <p:cNvPr id="13" name="Picture 12">
            <a:extLst>
              <a:ext uri="{FF2B5EF4-FFF2-40B4-BE49-F238E27FC236}">
                <a16:creationId xmlns:a16="http://schemas.microsoft.com/office/drawing/2014/main" id="{F2C7409B-E8EA-4278-B49D-98B1AE73F85E}"/>
              </a:ext>
            </a:extLst>
          </p:cNvPr>
          <p:cNvPicPr>
            <a:picLocks noChangeAspect="1"/>
          </p:cNvPicPr>
          <p:nvPr/>
        </p:nvPicPr>
        <p:blipFill>
          <a:blip r:embed="rId6"/>
          <a:stretch>
            <a:fillRect/>
          </a:stretch>
        </p:blipFill>
        <p:spPr>
          <a:xfrm>
            <a:off x="5189405" y="1521197"/>
            <a:ext cx="3595959" cy="3229745"/>
          </a:xfrm>
          <a:prstGeom prst="rect">
            <a:avLst/>
          </a:prstGeom>
        </p:spPr>
      </p:pic>
      <p:sp>
        <p:nvSpPr>
          <p:cNvPr id="2" name="Rectangle 1">
            <a:hlinkClick r:id="rId3" action="ppaction://hlinksldjump"/>
            <a:extLst>
              <a:ext uri="{FF2B5EF4-FFF2-40B4-BE49-F238E27FC236}">
                <a16:creationId xmlns:a16="http://schemas.microsoft.com/office/drawing/2014/main" id="{DED466A5-D2F2-483B-A946-E4F5E97B994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34622780"/>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latin typeface="Graphik" panose="020B0503030202060203" pitchFamily="34" charset="0"/>
              </a:rPr>
              <a:t>Benefit Effort Matrix 2</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2" name="Group 1">
            <a:extLst>
              <a:ext uri="{FF2B5EF4-FFF2-40B4-BE49-F238E27FC236}">
                <a16:creationId xmlns:a16="http://schemas.microsoft.com/office/drawing/2014/main" id="{60F39D62-8291-4025-B460-D6FC1140AA33}"/>
              </a:ext>
            </a:extLst>
          </p:cNvPr>
          <p:cNvGrpSpPr/>
          <p:nvPr/>
        </p:nvGrpSpPr>
        <p:grpSpPr>
          <a:xfrm>
            <a:off x="966651" y="1179367"/>
            <a:ext cx="10431736" cy="5135880"/>
            <a:chOff x="1725613" y="1179367"/>
            <a:chExt cx="8913812" cy="5135880"/>
          </a:xfrm>
        </p:grpSpPr>
        <p:sp>
          <p:nvSpPr>
            <p:cNvPr id="6" name="Text Box 5">
              <a:extLst>
                <a:ext uri="{FF2B5EF4-FFF2-40B4-BE49-F238E27FC236}">
                  <a16:creationId xmlns:a16="http://schemas.microsoft.com/office/drawing/2014/main" id="{412609E9-4916-43E9-BCAD-FAAD178107F4}"/>
                </a:ext>
              </a:extLst>
            </p:cNvPr>
            <p:cNvSpPr txBox="1">
              <a:spLocks noChangeArrowheads="1"/>
            </p:cNvSpPr>
            <p:nvPr/>
          </p:nvSpPr>
          <p:spPr bwMode="gray">
            <a:xfrm>
              <a:off x="1733550" y="2040427"/>
              <a:ext cx="4370387" cy="1145096"/>
            </a:xfrm>
            <a:prstGeom prst="rect">
              <a:avLst/>
            </a:prstGeom>
            <a:solidFill>
              <a:srgbClr val="F8F8F8"/>
            </a:solidFill>
            <a:ln w="9525" algn="ctr">
              <a:solidFill>
                <a:srgbClr val="E6E6E6"/>
              </a:solidFill>
              <a:miter lim="800000"/>
              <a:headEnd/>
              <a:tailEnd/>
            </a:ln>
          </p:spPr>
          <p:txBody>
            <a:bodyPr lIns="91440" tIns="91440" bIns="91440"/>
            <a:lstStyle/>
            <a:p>
              <a:pPr marL="112713" marR="0" lvl="0" indent="-112713"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GB" sz="1200" b="1" i="0" u="none" strike="noStrike" kern="0" cap="none" spc="0" normalizeH="0" baseline="0" noProof="0" dirty="0">
                  <a:ln>
                    <a:noFill/>
                  </a:ln>
                  <a:solidFill>
                    <a:schemeClr val="accent2"/>
                  </a:solidFill>
                  <a:effectLst/>
                  <a:uLnTx/>
                  <a:uFillTx/>
                  <a:latin typeface="Graphik"/>
                  <a:ea typeface="宋体" pitchFamily="2" charset="-122"/>
                  <a:cs typeface="+mn-cs"/>
                </a:rPr>
                <a:t>Inputs – Data Required:</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List of improvement projects</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Input or recommendations from key stakeholders around each project</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Any metrics or data about a process or project that could be used to support a benefit or effort assessment</a:t>
              </a:r>
            </a:p>
          </p:txBody>
        </p:sp>
        <p:sp>
          <p:nvSpPr>
            <p:cNvPr id="7" name="Rectangle 6">
              <a:extLst>
                <a:ext uri="{FF2B5EF4-FFF2-40B4-BE49-F238E27FC236}">
                  <a16:creationId xmlns:a16="http://schemas.microsoft.com/office/drawing/2014/main" id="{0E365A19-0152-43F6-9D86-23F14EAAEF34}"/>
                </a:ext>
              </a:extLst>
            </p:cNvPr>
            <p:cNvSpPr>
              <a:spLocks noChangeArrowheads="1"/>
            </p:cNvSpPr>
            <p:nvPr/>
          </p:nvSpPr>
          <p:spPr bwMode="gray">
            <a:xfrm>
              <a:off x="1733550" y="3303441"/>
              <a:ext cx="4364355" cy="3011806"/>
            </a:xfrm>
            <a:prstGeom prst="rect">
              <a:avLst/>
            </a:prstGeom>
            <a:solidFill>
              <a:srgbClr val="F8F8F8"/>
            </a:solidFill>
            <a:ln w="9525" algn="ctr">
              <a:solidFill>
                <a:srgbClr val="E6E6E6"/>
              </a:solidFill>
              <a:miter lim="800000"/>
              <a:headEnd/>
              <a:tailEnd/>
            </a:ln>
          </p:spPr>
          <p:txBody>
            <a:bodyPr lIns="91440" tIns="91440" rIns="91440" bIns="91440"/>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2"/>
                  </a:solidFill>
                  <a:effectLst/>
                  <a:uLnTx/>
                  <a:uFillTx/>
                  <a:latin typeface="Graphik"/>
                  <a:ea typeface="+mn-ea"/>
                  <a:cs typeface="+mn-cs"/>
                </a:rPr>
                <a:t>How to use:</a:t>
              </a:r>
            </a:p>
            <a:p>
              <a:pPr marL="112713" marR="0" lvl="0"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Calibri" pitchFamily="34" charset="0"/>
                  <a:cs typeface="Times New Roman" pitchFamily="18" charset="0"/>
                </a:rPr>
                <a:t>The process improvements is classified into the four categories indicated on the Matrix.</a:t>
              </a:r>
            </a:p>
            <a:p>
              <a:pPr marL="112713" marR="0" lvl="0"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Screen the initial list of opportunities as:</a:t>
              </a:r>
            </a:p>
            <a:p>
              <a:pPr marL="569913" marR="0" lvl="1"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Highly Desirable Opportunities</a:t>
              </a:r>
            </a:p>
            <a:p>
              <a:pPr marL="569913" marR="0" lvl="1"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Potentially Desirable Opportunities</a:t>
              </a:r>
            </a:p>
            <a:p>
              <a:pPr marL="569913" marR="0" lvl="1"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Potential Quick Hits</a:t>
              </a:r>
            </a:p>
            <a:p>
              <a:pPr marL="569913" marR="0" lvl="1"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Least Desirable Opportunities</a:t>
              </a:r>
            </a:p>
            <a:p>
              <a:pPr marL="112713" marR="0" lvl="0"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Each process improvement needs to be evaluated and prioritized using specific evaluation criteria—key dependencies and by benefit-effort trade off—in order to develop a road map.</a:t>
              </a:r>
            </a:p>
            <a:p>
              <a:pPr marL="112713" marR="0" lvl="0" indent="-11271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Scale the  Benefit: Based on the potential benefit derived, each process improvement is scaled using the five target areas guidelines(Time Reduction, Complexity Reduction, Process Transparency, Project Management and Cost Controls)</a:t>
              </a:r>
            </a:p>
          </p:txBody>
        </p:sp>
        <p:sp>
          <p:nvSpPr>
            <p:cNvPr id="8" name="Rectangle 8">
              <a:extLst>
                <a:ext uri="{FF2B5EF4-FFF2-40B4-BE49-F238E27FC236}">
                  <a16:creationId xmlns:a16="http://schemas.microsoft.com/office/drawing/2014/main" id="{1CEB2B8D-3964-4610-AF49-715AEAB9E7A7}"/>
                </a:ext>
              </a:extLst>
            </p:cNvPr>
            <p:cNvSpPr>
              <a:spLocks noChangeArrowheads="1"/>
            </p:cNvSpPr>
            <p:nvPr/>
          </p:nvSpPr>
          <p:spPr bwMode="gray">
            <a:xfrm>
              <a:off x="6219824" y="1183176"/>
              <a:ext cx="4419601" cy="5122546"/>
            </a:xfrm>
            <a:prstGeom prst="rect">
              <a:avLst/>
            </a:prstGeom>
            <a:solidFill>
              <a:srgbClr val="F8F8F8"/>
            </a:solidFill>
            <a:ln w="9525" algn="ctr">
              <a:solidFill>
                <a:srgbClr val="E6E6E6"/>
              </a:solidFill>
              <a:miter lim="800000"/>
              <a:headEnd/>
              <a:tailEnd/>
            </a:ln>
          </p:spPr>
          <p:txBody>
            <a:bodyPr lIns="91440" tIns="91440" rIns="91440" bIns="91440"/>
            <a:lstStyle/>
            <a:p>
              <a:pPr marL="0" marR="0" lvl="0" indent="0" algn="l" defTabSz="914400" rtl="0" eaLnBrk="1" fontAlgn="auto" latinLnBrk="0" hangingPunct="1">
                <a:lnSpc>
                  <a:spcPct val="100000"/>
                </a:lnSpc>
                <a:spcBef>
                  <a:spcPts val="0"/>
                </a:spcBef>
                <a:spcAft>
                  <a:spcPts val="0"/>
                </a:spcAft>
                <a:buClr>
                  <a:srgbClr val="000000"/>
                </a:buClr>
                <a:buSzPct val="100000"/>
                <a:buFont typeface="Wingdings" pitchFamily="2" charset="2"/>
                <a:buNone/>
                <a:tabLst/>
                <a:defRPr/>
              </a:pPr>
              <a:r>
                <a:rPr kumimoji="0" lang="en-GB" sz="1200" b="1" i="0" u="none" strike="noStrike" kern="0" cap="none" spc="0" normalizeH="0" baseline="0" noProof="0" dirty="0">
                  <a:ln>
                    <a:noFill/>
                  </a:ln>
                  <a:solidFill>
                    <a:schemeClr val="accent2"/>
                  </a:solidFill>
                  <a:effectLst/>
                  <a:uLnTx/>
                  <a:uFillTx/>
                  <a:latin typeface="Graphik"/>
                  <a:ea typeface="宋体" pitchFamily="2" charset="-122"/>
                  <a:cs typeface="+mn-cs"/>
                </a:rPr>
                <a:t>How to use – continued</a:t>
              </a: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r>
                <a:rPr kumimoji="0" lang="en-US" sz="1050" b="0" i="0" u="none" strike="noStrike" kern="0" cap="none" spc="0" normalizeH="0" baseline="0" noProof="0" dirty="0">
                  <a:ln>
                    <a:noFill/>
                  </a:ln>
                  <a:solidFill>
                    <a:srgbClr val="000000"/>
                  </a:solidFill>
                  <a:effectLst/>
                  <a:uLnTx/>
                  <a:uFillTx/>
                  <a:latin typeface="Graphik"/>
                  <a:ea typeface="+mn-ea"/>
                  <a:cs typeface="+mn-cs"/>
                </a:rPr>
                <a:t>Benefits scales to assess time reduction, complexity reduction, process transparency, project management and cost controls; quantify the benefit</a:t>
              </a: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r>
                <a:rPr kumimoji="0" lang="en-US" sz="1050" b="0" i="0" u="none" strike="noStrike" kern="0" cap="none" spc="0" normalizeH="0" baseline="0" noProof="0" dirty="0">
                  <a:ln>
                    <a:noFill/>
                  </a:ln>
                  <a:solidFill>
                    <a:srgbClr val="000000"/>
                  </a:solidFill>
                  <a:effectLst/>
                  <a:uLnTx/>
                  <a:uFillTx/>
                  <a:latin typeface="Graphik"/>
                  <a:ea typeface="+mn-ea"/>
                  <a:cs typeface="+mn-cs"/>
                </a:rPr>
                <a:t>Scale the Effort: consider the resources required, complexity of the project, and the amount of time required to complete, each process improvement’s potential effort is scaled based on the guidelines</a:t>
              </a: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br>
                <a:rPr kumimoji="0" lang="en-US" sz="1050" b="0" i="0" u="none" strike="noStrike" kern="0" cap="none" spc="0" normalizeH="0" baseline="0" noProof="0" dirty="0">
                  <a:ln>
                    <a:noFill/>
                  </a:ln>
                  <a:solidFill>
                    <a:srgbClr val="000000"/>
                  </a:solidFill>
                  <a:effectLst/>
                  <a:uLnTx/>
                  <a:uFillTx/>
                  <a:latin typeface="Graphik"/>
                  <a:ea typeface="+mn-ea"/>
                  <a:cs typeface="+mn-cs"/>
                </a:rPr>
              </a:b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Tx/>
                <a:buNone/>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a:p>
              <a:pPr marL="112713" marR="0" lvl="1" indent="-112713" algn="l" defTabSz="914400" rtl="0" eaLnBrk="1" fontAlgn="auto" latinLnBrk="0" hangingPunct="1">
                <a:lnSpc>
                  <a:spcPct val="120000"/>
                </a:lnSpc>
                <a:spcBef>
                  <a:spcPts val="0"/>
                </a:spcBef>
                <a:spcAft>
                  <a:spcPts val="0"/>
                </a:spcAft>
                <a:buClr>
                  <a:prstClr val="black"/>
                </a:buClr>
                <a:buSzPct val="100000"/>
                <a:buFont typeface="Arial" pitchFamily="34" charset="0"/>
                <a:buChar char="•"/>
                <a:tabLst/>
                <a:defRPr/>
              </a:pPr>
              <a:r>
                <a:rPr kumimoji="0" lang="en-US" sz="1050" b="0" i="0" u="none" strike="noStrike" kern="0" cap="none" spc="0" normalizeH="0" baseline="0" noProof="0" dirty="0">
                  <a:ln>
                    <a:noFill/>
                  </a:ln>
                  <a:solidFill>
                    <a:srgbClr val="000000"/>
                  </a:solidFill>
                  <a:effectLst/>
                  <a:uLnTx/>
                  <a:uFillTx/>
                  <a:latin typeface="Graphik"/>
                  <a:ea typeface="+mn-ea"/>
                  <a:cs typeface="+mn-cs"/>
                </a:rPr>
                <a:t>Process improvement initiatives should target areas with the greatest benefit, while managing resources to minimize required effort</a:t>
              </a:r>
            </a:p>
          </p:txBody>
        </p:sp>
        <p:sp>
          <p:nvSpPr>
            <p:cNvPr id="9" name="Text Box 5">
              <a:extLst>
                <a:ext uri="{FF2B5EF4-FFF2-40B4-BE49-F238E27FC236}">
                  <a16:creationId xmlns:a16="http://schemas.microsoft.com/office/drawing/2014/main" id="{DE90F4E7-CD9B-42D7-ACD8-2A576D0F7FE1}"/>
                </a:ext>
              </a:extLst>
            </p:cNvPr>
            <p:cNvSpPr txBox="1">
              <a:spLocks noChangeArrowheads="1"/>
            </p:cNvSpPr>
            <p:nvPr/>
          </p:nvSpPr>
          <p:spPr bwMode="gray">
            <a:xfrm>
              <a:off x="1725613" y="1179367"/>
              <a:ext cx="4372292" cy="746016"/>
            </a:xfrm>
            <a:prstGeom prst="rect">
              <a:avLst/>
            </a:prstGeom>
            <a:solidFill>
              <a:srgbClr val="F8F8F8"/>
            </a:solidFill>
            <a:ln w="9525" algn="ctr">
              <a:solidFill>
                <a:srgbClr val="E6E6E6"/>
              </a:solidFill>
              <a:miter lim="800000"/>
              <a:headEnd/>
              <a:tailEnd/>
            </a:ln>
          </p:spPr>
          <p:txBody>
            <a:bodyPr lIns="91440" tIns="91440" bIns="91440"/>
            <a:lstStyle/>
            <a:p>
              <a:pPr marL="112713" marR="0" lvl="0" indent="-112713"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GB" sz="1200" b="1" i="0" u="none" strike="noStrike" kern="0" cap="none" spc="0" normalizeH="0" baseline="0" noProof="0" dirty="0">
                  <a:ln>
                    <a:noFill/>
                  </a:ln>
                  <a:solidFill>
                    <a:schemeClr val="accent2"/>
                  </a:solidFill>
                  <a:effectLst/>
                  <a:uLnTx/>
                  <a:uFillTx/>
                  <a:latin typeface="Graphik"/>
                  <a:ea typeface="宋体" pitchFamily="2" charset="-122"/>
                  <a:cs typeface="+mn-cs"/>
                </a:rPr>
                <a:t>When to use:</a:t>
              </a:r>
            </a:p>
            <a:p>
              <a:pPr marL="112713" marR="0" lvl="0" indent="-112713"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Use a Benefit/Effort Matrix to prioritize and choose from process improvement projects prior to beginning the transformation itself</a:t>
              </a:r>
            </a:p>
          </p:txBody>
        </p:sp>
      </p:grpSp>
      <p:graphicFrame>
        <p:nvGraphicFramePr>
          <p:cNvPr id="10" name="Table 9">
            <a:extLst>
              <a:ext uri="{FF2B5EF4-FFF2-40B4-BE49-F238E27FC236}">
                <a16:creationId xmlns:a16="http://schemas.microsoft.com/office/drawing/2014/main" id="{8E547203-B44E-44FE-AD3D-962F7A8B7880}"/>
              </a:ext>
            </a:extLst>
          </p:cNvPr>
          <p:cNvGraphicFramePr>
            <a:graphicFrameLocks noGrp="1"/>
          </p:cNvGraphicFramePr>
          <p:nvPr>
            <p:extLst>
              <p:ext uri="{D42A27DB-BD31-4B8C-83A1-F6EECF244321}">
                <p14:modId xmlns:p14="http://schemas.microsoft.com/office/powerpoint/2010/main" val="2546530964"/>
              </p:ext>
            </p:extLst>
          </p:nvPr>
        </p:nvGraphicFramePr>
        <p:xfrm>
          <a:off x="7178990" y="1966323"/>
          <a:ext cx="3266583" cy="1219200"/>
        </p:xfrm>
        <a:graphic>
          <a:graphicData uri="http://schemas.openxmlformats.org/drawingml/2006/table">
            <a:tbl>
              <a:tblPr firstRow="1" bandRow="1"/>
              <a:tblGrid>
                <a:gridCol w="652173">
                  <a:extLst>
                    <a:ext uri="{9D8B030D-6E8A-4147-A177-3AD203B41FA5}">
                      <a16:colId xmlns:a16="http://schemas.microsoft.com/office/drawing/2014/main" val="20000"/>
                    </a:ext>
                  </a:extLst>
                </a:gridCol>
                <a:gridCol w="2614410">
                  <a:extLst>
                    <a:ext uri="{9D8B030D-6E8A-4147-A177-3AD203B41FA5}">
                      <a16:colId xmlns:a16="http://schemas.microsoft.com/office/drawing/2014/main" val="20001"/>
                    </a:ext>
                  </a:extLst>
                </a:gridCol>
              </a:tblGrid>
              <a:tr h="0">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US" sz="1000" dirty="0">
                          <a:latin typeface="+mn-lt"/>
                          <a:cs typeface="Arial" pitchFamily="34" charset="0"/>
                        </a:rPr>
                        <a:t>Scal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100FF"/>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US" sz="1000" dirty="0">
                          <a:latin typeface="+mn-lt"/>
                          <a:cs typeface="Arial" pitchFamily="34" charset="0"/>
                        </a:rPr>
                        <a:t>Descriptio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A100FF"/>
                    </a:solidFill>
                  </a:tcPr>
                </a:tc>
                <a:extLst>
                  <a:ext uri="{0D108BD9-81ED-4DB2-BD59-A6C34878D82A}">
                    <a16:rowId xmlns:a16="http://schemas.microsoft.com/office/drawing/2014/main" val="10000"/>
                  </a:ext>
                </a:extLst>
              </a:tr>
              <a:tr h="21336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US" sz="1000" dirty="0">
                          <a:latin typeface="+mn-lt"/>
                          <a:cs typeface="Arial" pitchFamily="34" charset="0"/>
                        </a:rPr>
                        <a:t>0-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40000"/>
                      </a:srgbClr>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US" sz="1000" dirty="0">
                          <a:latin typeface="+mn-lt"/>
                          <a:cs typeface="Arial" pitchFamily="34" charset="0"/>
                        </a:rPr>
                        <a:t>Low</a:t>
                      </a:r>
                      <a:r>
                        <a:rPr lang="en-US" sz="1000" baseline="0" dirty="0">
                          <a:latin typeface="+mn-lt"/>
                          <a:cs typeface="Arial" pitchFamily="34" charset="0"/>
                        </a:rPr>
                        <a:t>—minimal or no impact </a:t>
                      </a:r>
                      <a:endParaRPr lang="en-US" sz="1000" dirty="0">
                        <a:latin typeface="+mn-lt"/>
                        <a:cs typeface="Arial" pitchFamily="34"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40000"/>
                      </a:srgbClr>
                    </a:solidFill>
                  </a:tcPr>
                </a:tc>
                <a:extLst>
                  <a:ext uri="{0D108BD9-81ED-4DB2-BD59-A6C34878D82A}">
                    <a16:rowId xmlns:a16="http://schemas.microsoft.com/office/drawing/2014/main" val="10001"/>
                  </a:ext>
                </a:extLst>
              </a:tr>
              <a:tr h="21336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US" sz="1000" dirty="0">
                          <a:latin typeface="+mn-lt"/>
                          <a:cs typeface="Arial" pitchFamily="34" charset="0"/>
                        </a:rPr>
                        <a:t>1-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20000"/>
                      </a:srgbClr>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US" sz="1000" dirty="0">
                          <a:latin typeface="+mn-lt"/>
                          <a:cs typeface="Arial" pitchFamily="34" charset="0"/>
                        </a:rPr>
                        <a:t>Incremental</a:t>
                      </a:r>
                      <a:r>
                        <a:rPr lang="en-US" sz="1000" baseline="0" dirty="0">
                          <a:latin typeface="+mn-lt"/>
                          <a:cs typeface="Arial" pitchFamily="34" charset="0"/>
                        </a:rPr>
                        <a:t> impact</a:t>
                      </a:r>
                      <a:endParaRPr lang="en-US" sz="1000" dirty="0">
                        <a:latin typeface="+mn-lt"/>
                        <a:cs typeface="Arial"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20000"/>
                      </a:srgbClr>
                    </a:solidFill>
                  </a:tcPr>
                </a:tc>
                <a:extLst>
                  <a:ext uri="{0D108BD9-81ED-4DB2-BD59-A6C34878D82A}">
                    <a16:rowId xmlns:a16="http://schemas.microsoft.com/office/drawing/2014/main" val="10002"/>
                  </a:ext>
                </a:extLst>
              </a:tr>
              <a:tr h="21336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US" sz="1000" dirty="0">
                          <a:latin typeface="+mn-lt"/>
                          <a:cs typeface="Arial" pitchFamily="34" charset="0"/>
                        </a:rPr>
                        <a:t>2-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40000"/>
                      </a:srgbClr>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US" sz="1000" dirty="0">
                          <a:latin typeface="+mn-lt"/>
                          <a:cs typeface="Arial" pitchFamily="34" charset="0"/>
                        </a:rPr>
                        <a:t>Measurable</a:t>
                      </a:r>
                      <a:r>
                        <a:rPr lang="en-US" sz="1000" baseline="0" dirty="0">
                          <a:latin typeface="+mn-lt"/>
                          <a:cs typeface="Arial" pitchFamily="34" charset="0"/>
                        </a:rPr>
                        <a:t> impact—”move the needle”</a:t>
                      </a:r>
                      <a:endParaRPr lang="en-US" sz="1000" dirty="0">
                        <a:latin typeface="+mn-lt"/>
                        <a:cs typeface="Arial"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40000"/>
                      </a:srgbClr>
                    </a:solidFill>
                  </a:tcPr>
                </a:tc>
                <a:extLst>
                  <a:ext uri="{0D108BD9-81ED-4DB2-BD59-A6C34878D82A}">
                    <a16:rowId xmlns:a16="http://schemas.microsoft.com/office/drawing/2014/main" val="10003"/>
                  </a:ext>
                </a:extLst>
              </a:tr>
              <a:tr h="21336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US" sz="1000" dirty="0">
                          <a:latin typeface="+mn-lt"/>
                          <a:cs typeface="Arial" pitchFamily="34" charset="0"/>
                        </a:rPr>
                        <a:t>3-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20000"/>
                      </a:srgbClr>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r>
                        <a:rPr lang="en-US" sz="1000" dirty="0">
                          <a:latin typeface="+mn-lt"/>
                          <a:cs typeface="Arial" pitchFamily="34" charset="0"/>
                        </a:rPr>
                        <a:t>High impact –” game changing”</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100FF">
                        <a:tint val="20000"/>
                      </a:srgbClr>
                    </a:solidFill>
                  </a:tcPr>
                </a:tc>
                <a:extLst>
                  <a:ext uri="{0D108BD9-81ED-4DB2-BD59-A6C34878D82A}">
                    <a16:rowId xmlns:a16="http://schemas.microsoft.com/office/drawing/2014/main" val="10004"/>
                  </a:ext>
                </a:extLst>
              </a:tr>
            </a:tbl>
          </a:graphicData>
        </a:graphic>
      </p:graphicFrame>
      <p:sp>
        <p:nvSpPr>
          <p:cNvPr id="3" name="Rectangle 2">
            <a:hlinkClick r:id="rId3" action="ppaction://hlinksldjump"/>
            <a:extLst>
              <a:ext uri="{FF2B5EF4-FFF2-40B4-BE49-F238E27FC236}">
                <a16:creationId xmlns:a16="http://schemas.microsoft.com/office/drawing/2014/main" id="{C4B63E10-E640-4E95-9FF9-5E7B62851CA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pic>
        <p:nvPicPr>
          <p:cNvPr id="14" name="Picture 13">
            <a:extLst>
              <a:ext uri="{FF2B5EF4-FFF2-40B4-BE49-F238E27FC236}">
                <a16:creationId xmlns:a16="http://schemas.microsoft.com/office/drawing/2014/main" id="{1F2F2578-2D35-ED48-8A5E-FCE61F9A5E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7035" y="4026614"/>
            <a:ext cx="4416346" cy="1568069"/>
          </a:xfrm>
          <a:prstGeom prst="rect">
            <a:avLst/>
          </a:prstGeom>
        </p:spPr>
      </p:pic>
    </p:spTree>
    <p:extLst>
      <p:ext uri="{BB962C8B-B14F-4D97-AF65-F5344CB8AC3E}">
        <p14:creationId xmlns:p14="http://schemas.microsoft.com/office/powerpoint/2010/main" val="2337265080"/>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3</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Content Placeholder 2">
            <a:extLst>
              <a:ext uri="{FF2B5EF4-FFF2-40B4-BE49-F238E27FC236}">
                <a16:creationId xmlns:a16="http://schemas.microsoft.com/office/drawing/2014/main" id="{73619D21-48A4-44EC-98DE-09F5204EC9E1}"/>
              </a:ext>
            </a:extLst>
          </p:cNvPr>
          <p:cNvSpPr txBox="1">
            <a:spLocks/>
          </p:cNvSpPr>
          <p:nvPr/>
        </p:nvSpPr>
        <p:spPr>
          <a:xfrm>
            <a:off x="1898668" y="1236106"/>
            <a:ext cx="8159409" cy="835025"/>
          </a:xfrm>
          <a:prstGeom prst="rect">
            <a:avLst/>
          </a:prstGeom>
        </p:spPr>
        <p:txBody>
          <a:bodyPr/>
          <a:lstStyle>
            <a:lvl1pPr marL="174625" indent="-174625" algn="l" rtl="0" eaLnBrk="0" fontAlgn="base" hangingPunct="0">
              <a:spcBef>
                <a:spcPts val="300"/>
              </a:spcBef>
              <a:spcAft>
                <a:spcPts val="300"/>
              </a:spcAft>
              <a:buFont typeface="Arial" charset="0"/>
              <a:buChar char="•"/>
              <a:defRPr lang="de-DE" sz="2400" kern="1200" dirty="0" smtClean="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marR="0" lvl="0" indent="-174625" algn="l" defTabSz="914400" rtl="0" eaLnBrk="0" fontAlgn="base" latinLnBrk="0" hangingPunct="0">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raphik"/>
                <a:ea typeface="+mn-ea"/>
                <a:cs typeface="+mn-cs"/>
              </a:rPr>
              <a:t>Three steps to create the Benefit-Effort Matrix:</a:t>
            </a:r>
          </a:p>
        </p:txBody>
      </p:sp>
      <p:cxnSp>
        <p:nvCxnSpPr>
          <p:cNvPr id="7" name="Straight Arrow Connector 6">
            <a:extLst>
              <a:ext uri="{FF2B5EF4-FFF2-40B4-BE49-F238E27FC236}">
                <a16:creationId xmlns:a16="http://schemas.microsoft.com/office/drawing/2014/main" id="{4210E594-ED6F-4059-9D3C-FFBC0E44B72A}"/>
              </a:ext>
            </a:extLst>
          </p:cNvPr>
          <p:cNvCxnSpPr>
            <a:cxnSpLocks/>
            <a:stCxn id="9" idx="2"/>
            <a:endCxn id="10" idx="0"/>
          </p:cNvCxnSpPr>
          <p:nvPr/>
        </p:nvCxnSpPr>
        <p:spPr>
          <a:xfrm>
            <a:off x="3255717" y="2726702"/>
            <a:ext cx="0" cy="587377"/>
          </a:xfrm>
          <a:prstGeom prst="straightConnector1">
            <a:avLst/>
          </a:prstGeom>
          <a:noFill/>
          <a:ln w="12700" cap="flat" cmpd="sng" algn="ctr">
            <a:solidFill>
              <a:srgbClr val="000000"/>
            </a:solidFill>
            <a:prstDash val="solid"/>
            <a:tailEnd type="triangle"/>
          </a:ln>
          <a:effectLst/>
        </p:spPr>
      </p:cxnSp>
      <p:cxnSp>
        <p:nvCxnSpPr>
          <p:cNvPr id="8" name="Straight Arrow Connector 7">
            <a:extLst>
              <a:ext uri="{FF2B5EF4-FFF2-40B4-BE49-F238E27FC236}">
                <a16:creationId xmlns:a16="http://schemas.microsoft.com/office/drawing/2014/main" id="{3A76BD7A-4A1F-47C8-B790-BF8FB247745F}"/>
              </a:ext>
            </a:extLst>
          </p:cNvPr>
          <p:cNvCxnSpPr>
            <a:stCxn id="10" idx="2"/>
            <a:endCxn id="11" idx="0"/>
          </p:cNvCxnSpPr>
          <p:nvPr/>
        </p:nvCxnSpPr>
        <p:spPr>
          <a:xfrm>
            <a:off x="3255717" y="4214192"/>
            <a:ext cx="0" cy="587374"/>
          </a:xfrm>
          <a:prstGeom prst="straightConnector1">
            <a:avLst/>
          </a:prstGeom>
          <a:noFill/>
          <a:ln w="12700" cap="flat" cmpd="sng" algn="ctr">
            <a:solidFill>
              <a:srgbClr val="000000"/>
            </a:solidFill>
            <a:prstDash val="solid"/>
            <a:tailEnd type="triangle"/>
          </a:ln>
          <a:effectLst/>
        </p:spPr>
      </p:cxnSp>
      <p:sp>
        <p:nvSpPr>
          <p:cNvPr id="9" name="Rectangle 8">
            <a:extLst>
              <a:ext uri="{FF2B5EF4-FFF2-40B4-BE49-F238E27FC236}">
                <a16:creationId xmlns:a16="http://schemas.microsoft.com/office/drawing/2014/main" id="{23C25947-2E65-417A-B8BC-452FED229BA1}"/>
              </a:ext>
            </a:extLst>
          </p:cNvPr>
          <p:cNvSpPr/>
          <p:nvPr/>
        </p:nvSpPr>
        <p:spPr>
          <a:xfrm>
            <a:off x="1975945" y="2008327"/>
            <a:ext cx="2559543" cy="718375"/>
          </a:xfrm>
          <a:prstGeom prst="rect">
            <a:avLst/>
          </a:prstGeom>
          <a:solidFill>
            <a:srgbClr val="A100FF"/>
          </a:solidFill>
          <a:ln w="25400" cap="flat" cmpd="sng" algn="ctr">
            <a:noFill/>
            <a:prstDash val="solid"/>
          </a:ln>
          <a:effectLst/>
        </p:spPr>
        <p:txBody>
          <a:bodyPr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Graphik"/>
                <a:ea typeface="+mn-ea"/>
                <a:cs typeface="Arial" pitchFamily="34" charset="0"/>
              </a:rPr>
              <a:t>1. Screen initial list of opportunities</a:t>
            </a:r>
          </a:p>
        </p:txBody>
      </p:sp>
      <p:sp>
        <p:nvSpPr>
          <p:cNvPr id="10" name="Rectangle 9">
            <a:extLst>
              <a:ext uri="{FF2B5EF4-FFF2-40B4-BE49-F238E27FC236}">
                <a16:creationId xmlns:a16="http://schemas.microsoft.com/office/drawing/2014/main" id="{D5D6965C-0053-42CE-95CA-D8B81035B05F}"/>
              </a:ext>
            </a:extLst>
          </p:cNvPr>
          <p:cNvSpPr/>
          <p:nvPr/>
        </p:nvSpPr>
        <p:spPr>
          <a:xfrm>
            <a:off x="1975945" y="3314079"/>
            <a:ext cx="2559543" cy="900113"/>
          </a:xfrm>
          <a:prstGeom prst="rect">
            <a:avLst/>
          </a:prstGeom>
          <a:solidFill>
            <a:srgbClr val="A100FF"/>
          </a:solidFill>
          <a:ln w="25400" cap="flat" cmpd="sng" algn="ctr">
            <a:noFill/>
            <a:prstDash val="solid"/>
          </a:ln>
          <a:effectLst/>
        </p:spPr>
        <p:txBody>
          <a:bodyPr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Graphik"/>
                <a:ea typeface="+mn-ea"/>
                <a:cs typeface="Arial" pitchFamily="34" charset="0"/>
              </a:rPr>
              <a:t>2. Evaluate and prioritize using specific evaluation criteria</a:t>
            </a:r>
          </a:p>
        </p:txBody>
      </p:sp>
      <p:sp>
        <p:nvSpPr>
          <p:cNvPr id="11" name="Rectangle 10">
            <a:extLst>
              <a:ext uri="{FF2B5EF4-FFF2-40B4-BE49-F238E27FC236}">
                <a16:creationId xmlns:a16="http://schemas.microsoft.com/office/drawing/2014/main" id="{C0C4AAA5-3EA1-4951-85F4-66889CAEFD42}"/>
              </a:ext>
            </a:extLst>
          </p:cNvPr>
          <p:cNvSpPr/>
          <p:nvPr/>
        </p:nvSpPr>
        <p:spPr>
          <a:xfrm>
            <a:off x="1975945" y="4801566"/>
            <a:ext cx="2559543" cy="900112"/>
          </a:xfrm>
          <a:prstGeom prst="rect">
            <a:avLst/>
          </a:prstGeom>
          <a:solidFill>
            <a:srgbClr val="A100FF"/>
          </a:solidFill>
          <a:ln w="25400" cap="flat" cmpd="sng" algn="ctr">
            <a:noFill/>
            <a:prstDash val="solid"/>
          </a:ln>
          <a:effectLst/>
        </p:spPr>
        <p:txBody>
          <a:bodyPr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Graphik"/>
                <a:ea typeface="+mn-ea"/>
                <a:cs typeface="Arial" pitchFamily="34" charset="0"/>
              </a:rPr>
              <a:t>3. Scale the Matrix</a:t>
            </a:r>
          </a:p>
        </p:txBody>
      </p:sp>
      <p:grpSp>
        <p:nvGrpSpPr>
          <p:cNvPr id="12" name="Group 11">
            <a:extLst>
              <a:ext uri="{FF2B5EF4-FFF2-40B4-BE49-F238E27FC236}">
                <a16:creationId xmlns:a16="http://schemas.microsoft.com/office/drawing/2014/main" id="{E097CA95-D186-472F-B2F7-C2211405D06D}"/>
              </a:ext>
            </a:extLst>
          </p:cNvPr>
          <p:cNvGrpSpPr/>
          <p:nvPr/>
        </p:nvGrpSpPr>
        <p:grpSpPr>
          <a:xfrm>
            <a:off x="5569338" y="1826990"/>
            <a:ext cx="4844100" cy="4284476"/>
            <a:chOff x="5569338" y="1826990"/>
            <a:chExt cx="4844100" cy="4284476"/>
          </a:xfrm>
        </p:grpSpPr>
        <p:sp>
          <p:nvSpPr>
            <p:cNvPr id="13" name="Rectangle 7">
              <a:extLst>
                <a:ext uri="{FF2B5EF4-FFF2-40B4-BE49-F238E27FC236}">
                  <a16:creationId xmlns:a16="http://schemas.microsoft.com/office/drawing/2014/main" id="{0E787354-EDB0-419E-91C7-2359FC56C18C}"/>
                </a:ext>
              </a:extLst>
            </p:cNvPr>
            <p:cNvSpPr>
              <a:spLocks noChangeArrowheads="1"/>
            </p:cNvSpPr>
            <p:nvPr/>
          </p:nvSpPr>
          <p:spPr bwMode="auto">
            <a:xfrm>
              <a:off x="6197468" y="2050674"/>
              <a:ext cx="3840074"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Graphik"/>
                <a:ea typeface="+mn-ea"/>
                <a:cs typeface="+mn-cs"/>
              </a:endParaRPr>
            </a:p>
          </p:txBody>
        </p:sp>
        <p:sp>
          <p:nvSpPr>
            <p:cNvPr id="14" name="AutoShape 8">
              <a:extLst>
                <a:ext uri="{FF2B5EF4-FFF2-40B4-BE49-F238E27FC236}">
                  <a16:creationId xmlns:a16="http://schemas.microsoft.com/office/drawing/2014/main" id="{FC6BDCBA-9722-4D45-84F9-F4EE1CF004C6}"/>
                </a:ext>
              </a:extLst>
            </p:cNvPr>
            <p:cNvSpPr>
              <a:spLocks noChangeArrowheads="1"/>
            </p:cNvSpPr>
            <p:nvPr/>
          </p:nvSpPr>
          <p:spPr bwMode="auto">
            <a:xfrm rot="5400000">
              <a:off x="5471841" y="2754243"/>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5" name="AutoShape 9">
              <a:extLst>
                <a:ext uri="{FF2B5EF4-FFF2-40B4-BE49-F238E27FC236}">
                  <a16:creationId xmlns:a16="http://schemas.microsoft.com/office/drawing/2014/main" id="{63A9FA97-58D7-41DC-8913-868426CB634B}"/>
                </a:ext>
              </a:extLst>
            </p:cNvPr>
            <p:cNvSpPr>
              <a:spLocks noChangeArrowheads="1"/>
            </p:cNvSpPr>
            <p:nvPr/>
          </p:nvSpPr>
          <p:spPr bwMode="auto">
            <a:xfrm flipH="1">
              <a:off x="6176925" y="3841152"/>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6" name="Rectangle 10">
              <a:extLst>
                <a:ext uri="{FF2B5EF4-FFF2-40B4-BE49-F238E27FC236}">
                  <a16:creationId xmlns:a16="http://schemas.microsoft.com/office/drawing/2014/main" id="{76861685-9BCB-4AA5-A189-2C153834DAB6}"/>
                </a:ext>
              </a:extLst>
            </p:cNvPr>
            <p:cNvSpPr>
              <a:spLocks noChangeArrowheads="1"/>
            </p:cNvSpPr>
            <p:nvPr/>
          </p:nvSpPr>
          <p:spPr bwMode="auto">
            <a:xfrm>
              <a:off x="6142360" y="2050674"/>
              <a:ext cx="562814" cy="3524484"/>
            </a:xfrm>
            <a:prstGeom prst="rect">
              <a:avLst/>
            </a:prstGeom>
            <a:solidFill>
              <a:srgbClr val="DCAFFF"/>
            </a:solidFill>
            <a:ln w="3175" algn="ctr">
              <a:noFill/>
              <a:miter lim="800000"/>
              <a:headEnd type="none" w="sm" len="sm"/>
              <a:tailEnd type="none" w="sm" len="sm"/>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7" name="Line 20">
              <a:extLst>
                <a:ext uri="{FF2B5EF4-FFF2-40B4-BE49-F238E27FC236}">
                  <a16:creationId xmlns:a16="http://schemas.microsoft.com/office/drawing/2014/main" id="{A2AF3BA5-F779-4098-9357-09AB416A15F3}"/>
                </a:ext>
              </a:extLst>
            </p:cNvPr>
            <p:cNvSpPr>
              <a:spLocks noChangeShapeType="1"/>
            </p:cNvSpPr>
            <p:nvPr/>
          </p:nvSpPr>
          <p:spPr bwMode="auto">
            <a:xfrm flipV="1">
              <a:off x="7479939" y="205067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8" name="Line 21">
              <a:extLst>
                <a:ext uri="{FF2B5EF4-FFF2-40B4-BE49-F238E27FC236}">
                  <a16:creationId xmlns:a16="http://schemas.microsoft.com/office/drawing/2014/main" id="{CF3E6DB2-AC6B-4138-A510-3594F2FA946B}"/>
                </a:ext>
              </a:extLst>
            </p:cNvPr>
            <p:cNvSpPr>
              <a:spLocks noChangeShapeType="1"/>
            </p:cNvSpPr>
            <p:nvPr/>
          </p:nvSpPr>
          <p:spPr bwMode="auto">
            <a:xfrm>
              <a:off x="6135628" y="3329391"/>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9" name="Line 22">
              <a:extLst>
                <a:ext uri="{FF2B5EF4-FFF2-40B4-BE49-F238E27FC236}">
                  <a16:creationId xmlns:a16="http://schemas.microsoft.com/office/drawing/2014/main" id="{BAA48C23-A0F1-4F1B-AF21-EB669E60C0AC}"/>
                </a:ext>
              </a:extLst>
            </p:cNvPr>
            <p:cNvSpPr>
              <a:spLocks noChangeShapeType="1"/>
            </p:cNvSpPr>
            <p:nvPr/>
          </p:nvSpPr>
          <p:spPr bwMode="auto">
            <a:xfrm flipV="1">
              <a:off x="8771213" y="205067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20" name="Line 23">
              <a:extLst>
                <a:ext uri="{FF2B5EF4-FFF2-40B4-BE49-F238E27FC236}">
                  <a16:creationId xmlns:a16="http://schemas.microsoft.com/office/drawing/2014/main" id="{AED4D03D-BC4F-46CB-B5F8-D2283C7DC6CE}"/>
                </a:ext>
              </a:extLst>
            </p:cNvPr>
            <p:cNvSpPr>
              <a:spLocks noChangeShapeType="1"/>
            </p:cNvSpPr>
            <p:nvPr/>
          </p:nvSpPr>
          <p:spPr bwMode="auto">
            <a:xfrm>
              <a:off x="6135628" y="4427002"/>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21" name="Text Box 24">
              <a:extLst>
                <a:ext uri="{FF2B5EF4-FFF2-40B4-BE49-F238E27FC236}">
                  <a16:creationId xmlns:a16="http://schemas.microsoft.com/office/drawing/2014/main" id="{ABDF1508-E54C-4F83-AED1-A3B86DA63AF6}"/>
                </a:ext>
              </a:extLst>
            </p:cNvPr>
            <p:cNvSpPr txBox="1">
              <a:spLocks noChangeArrowheads="1"/>
            </p:cNvSpPr>
            <p:nvPr/>
          </p:nvSpPr>
          <p:spPr bwMode="auto">
            <a:xfrm>
              <a:off x="6650857" y="2078880"/>
              <a:ext cx="1092717"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High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Desirable</a:t>
              </a:r>
            </a:p>
          </p:txBody>
        </p:sp>
        <p:sp>
          <p:nvSpPr>
            <p:cNvPr id="22" name="Text Box 25">
              <a:extLst>
                <a:ext uri="{FF2B5EF4-FFF2-40B4-BE49-F238E27FC236}">
                  <a16:creationId xmlns:a16="http://schemas.microsoft.com/office/drawing/2014/main" id="{576ACECF-3D09-43C4-9D81-F131418996C9}"/>
                </a:ext>
              </a:extLst>
            </p:cNvPr>
            <p:cNvSpPr txBox="1">
              <a:spLocks noChangeArrowheads="1"/>
            </p:cNvSpPr>
            <p:nvPr/>
          </p:nvSpPr>
          <p:spPr bwMode="auto">
            <a:xfrm>
              <a:off x="9042914" y="2078880"/>
              <a:ext cx="1136334"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Potential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Desirable</a:t>
              </a:r>
            </a:p>
          </p:txBody>
        </p:sp>
        <p:sp>
          <p:nvSpPr>
            <p:cNvPr id="23" name="Text Box 26">
              <a:extLst>
                <a:ext uri="{FF2B5EF4-FFF2-40B4-BE49-F238E27FC236}">
                  <a16:creationId xmlns:a16="http://schemas.microsoft.com/office/drawing/2014/main" id="{28ED749F-1CA4-41B4-9F3F-AEC396846178}"/>
                </a:ext>
              </a:extLst>
            </p:cNvPr>
            <p:cNvSpPr txBox="1">
              <a:spLocks noChangeArrowheads="1"/>
            </p:cNvSpPr>
            <p:nvPr/>
          </p:nvSpPr>
          <p:spPr bwMode="auto">
            <a:xfrm>
              <a:off x="9010398" y="5028591"/>
              <a:ext cx="758541"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Least</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Desirable</a:t>
              </a:r>
            </a:p>
          </p:txBody>
        </p:sp>
        <p:sp>
          <p:nvSpPr>
            <p:cNvPr id="24" name="Text Box 27">
              <a:extLst>
                <a:ext uri="{FF2B5EF4-FFF2-40B4-BE49-F238E27FC236}">
                  <a16:creationId xmlns:a16="http://schemas.microsoft.com/office/drawing/2014/main" id="{C0D1E207-CD4B-4DE1-87B9-DB050C637B21}"/>
                </a:ext>
              </a:extLst>
            </p:cNvPr>
            <p:cNvSpPr txBox="1">
              <a:spLocks noChangeArrowheads="1"/>
            </p:cNvSpPr>
            <p:nvPr/>
          </p:nvSpPr>
          <p:spPr bwMode="auto">
            <a:xfrm>
              <a:off x="6121286" y="5028591"/>
              <a:ext cx="538930"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Quick</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Hits</a:t>
              </a:r>
            </a:p>
          </p:txBody>
        </p:sp>
        <p:grpSp>
          <p:nvGrpSpPr>
            <p:cNvPr id="25" name="Group 65">
              <a:extLst>
                <a:ext uri="{FF2B5EF4-FFF2-40B4-BE49-F238E27FC236}">
                  <a16:creationId xmlns:a16="http://schemas.microsoft.com/office/drawing/2014/main" id="{84E7CAFE-A14B-4ACA-9719-2313E7250295}"/>
                </a:ext>
              </a:extLst>
            </p:cNvPr>
            <p:cNvGrpSpPr/>
            <p:nvPr/>
          </p:nvGrpSpPr>
          <p:grpSpPr bwMode="auto">
            <a:xfrm>
              <a:off x="5569338" y="1826990"/>
              <a:ext cx="4844100" cy="4284476"/>
              <a:chOff x="610162" y="1709192"/>
              <a:chExt cx="4844100" cy="4284476"/>
            </a:xfrm>
          </p:grpSpPr>
          <p:sp>
            <p:nvSpPr>
              <p:cNvPr id="26" name="Text Box 11">
                <a:extLst>
                  <a:ext uri="{FF2B5EF4-FFF2-40B4-BE49-F238E27FC236}">
                    <a16:creationId xmlns:a16="http://schemas.microsoft.com/office/drawing/2014/main" id="{8CD7287B-E55F-4EA0-9444-5408AF52F569}"/>
                  </a:ext>
                </a:extLst>
              </p:cNvPr>
              <p:cNvSpPr txBox="1">
                <a:spLocks noChangeArrowheads="1"/>
              </p:cNvSpPr>
              <p:nvPr/>
            </p:nvSpPr>
            <p:spPr bwMode="auto">
              <a:xfrm>
                <a:off x="610162" y="1709192"/>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Value</a:t>
                </a:r>
              </a:p>
            </p:txBody>
          </p:sp>
          <p:sp>
            <p:nvSpPr>
              <p:cNvPr id="27" name="Text Box 11">
                <a:extLst>
                  <a:ext uri="{FF2B5EF4-FFF2-40B4-BE49-F238E27FC236}">
                    <a16:creationId xmlns:a16="http://schemas.microsoft.com/office/drawing/2014/main" id="{CDAA634B-C344-46D0-AA0E-00C8BBC0BFA0}"/>
                  </a:ext>
                </a:extLst>
              </p:cNvPr>
              <p:cNvSpPr txBox="1">
                <a:spLocks noChangeArrowheads="1"/>
              </p:cNvSpPr>
              <p:nvPr/>
            </p:nvSpPr>
            <p:spPr bwMode="auto">
              <a:xfrm>
                <a:off x="4364360" y="5845935"/>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Effort</a:t>
                </a:r>
              </a:p>
            </p:txBody>
          </p:sp>
          <p:sp>
            <p:nvSpPr>
              <p:cNvPr id="28" name="Text Box 13">
                <a:extLst>
                  <a:ext uri="{FF2B5EF4-FFF2-40B4-BE49-F238E27FC236}">
                    <a16:creationId xmlns:a16="http://schemas.microsoft.com/office/drawing/2014/main" id="{1C95C09F-63BB-4A64-BC86-050FB6449D8C}"/>
                  </a:ext>
                </a:extLst>
              </p:cNvPr>
              <p:cNvSpPr txBox="1">
                <a:spLocks noChangeArrowheads="1"/>
              </p:cNvSpPr>
              <p:nvPr/>
            </p:nvSpPr>
            <p:spPr bwMode="auto">
              <a:xfrm>
                <a:off x="4176348" y="5557904"/>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29" name="Text Box 14">
                <a:extLst>
                  <a:ext uri="{FF2B5EF4-FFF2-40B4-BE49-F238E27FC236}">
                    <a16:creationId xmlns:a16="http://schemas.microsoft.com/office/drawing/2014/main" id="{56C2696A-D505-4E71-BD32-7522D1CE25DC}"/>
                  </a:ext>
                </a:extLst>
              </p:cNvPr>
              <p:cNvSpPr txBox="1">
                <a:spLocks noChangeArrowheads="1"/>
              </p:cNvSpPr>
              <p:nvPr/>
            </p:nvSpPr>
            <p:spPr bwMode="auto">
              <a:xfrm>
                <a:off x="999249" y="5557904"/>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30" name="Text Box 15">
                <a:extLst>
                  <a:ext uri="{FF2B5EF4-FFF2-40B4-BE49-F238E27FC236}">
                    <a16:creationId xmlns:a16="http://schemas.microsoft.com/office/drawing/2014/main" id="{BBD486D9-D0E4-4904-ADCE-D6F5836F7D25}"/>
                  </a:ext>
                </a:extLst>
              </p:cNvPr>
              <p:cNvSpPr txBox="1">
                <a:spLocks noChangeArrowheads="1"/>
              </p:cNvSpPr>
              <p:nvPr/>
            </p:nvSpPr>
            <p:spPr bwMode="auto">
              <a:xfrm>
                <a:off x="2690737" y="5557904"/>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31" name="Text Box 13">
                <a:extLst>
                  <a:ext uri="{FF2B5EF4-FFF2-40B4-BE49-F238E27FC236}">
                    <a16:creationId xmlns:a16="http://schemas.microsoft.com/office/drawing/2014/main" id="{44A96E74-9094-4A81-AF81-6436DD2CF85E}"/>
                  </a:ext>
                </a:extLst>
              </p:cNvPr>
              <p:cNvSpPr txBox="1">
                <a:spLocks noChangeArrowheads="1"/>
              </p:cNvSpPr>
              <p:nvPr/>
            </p:nvSpPr>
            <p:spPr bwMode="auto">
              <a:xfrm>
                <a:off x="662842" y="2635769"/>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32" name="Text Box 14">
                <a:extLst>
                  <a:ext uri="{FF2B5EF4-FFF2-40B4-BE49-F238E27FC236}">
                    <a16:creationId xmlns:a16="http://schemas.microsoft.com/office/drawing/2014/main" id="{1C8DBD4C-1C82-4CB5-8593-06916DFCA442}"/>
                  </a:ext>
                </a:extLst>
              </p:cNvPr>
              <p:cNvSpPr txBox="1">
                <a:spLocks noChangeArrowheads="1"/>
              </p:cNvSpPr>
              <p:nvPr/>
            </p:nvSpPr>
            <p:spPr bwMode="auto">
              <a:xfrm>
                <a:off x="662842" y="4836633"/>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33" name="Text Box 15">
                <a:extLst>
                  <a:ext uri="{FF2B5EF4-FFF2-40B4-BE49-F238E27FC236}">
                    <a16:creationId xmlns:a16="http://schemas.microsoft.com/office/drawing/2014/main" id="{781A0D1A-27DC-4F33-9984-4DD36660C4FF}"/>
                  </a:ext>
                </a:extLst>
              </p:cNvPr>
              <p:cNvSpPr txBox="1">
                <a:spLocks noChangeArrowheads="1"/>
              </p:cNvSpPr>
              <p:nvPr/>
            </p:nvSpPr>
            <p:spPr bwMode="auto">
              <a:xfrm>
                <a:off x="662842" y="3802512"/>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34" name="Line 28">
                <a:extLst>
                  <a:ext uri="{FF2B5EF4-FFF2-40B4-BE49-F238E27FC236}">
                    <a16:creationId xmlns:a16="http://schemas.microsoft.com/office/drawing/2014/main" id="{C08C8C97-9F0C-4F16-B633-9FC492210C12}"/>
                  </a:ext>
                </a:extLst>
              </p:cNvPr>
              <p:cNvSpPr>
                <a:spLocks noChangeShapeType="1"/>
              </p:cNvSpPr>
              <p:nvPr/>
            </p:nvSpPr>
            <p:spPr bwMode="auto">
              <a:xfrm>
                <a:off x="1183184"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35" name="Line 28">
                <a:extLst>
                  <a:ext uri="{FF2B5EF4-FFF2-40B4-BE49-F238E27FC236}">
                    <a16:creationId xmlns:a16="http://schemas.microsoft.com/office/drawing/2014/main" id="{F865831B-CBE9-459A-A6F9-D768642C9472}"/>
                  </a:ext>
                </a:extLst>
              </p:cNvPr>
              <p:cNvSpPr>
                <a:spLocks noChangeShapeType="1"/>
              </p:cNvSpPr>
              <p:nvPr/>
            </p:nvSpPr>
            <p:spPr bwMode="auto">
              <a:xfrm flipV="1">
                <a:off x="1176452"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grpSp>
      </p:grpSp>
      <p:sp>
        <p:nvSpPr>
          <p:cNvPr id="2" name="Rectangle 1">
            <a:hlinkClick r:id="rId3" action="ppaction://hlinksldjump"/>
            <a:extLst>
              <a:ext uri="{FF2B5EF4-FFF2-40B4-BE49-F238E27FC236}">
                <a16:creationId xmlns:a16="http://schemas.microsoft.com/office/drawing/2014/main" id="{5E3B6280-CD3B-45DC-95B2-D65F9F33572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3720961"/>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4</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Pentagon 52">
            <a:extLst>
              <a:ext uri="{FF2B5EF4-FFF2-40B4-BE49-F238E27FC236}">
                <a16:creationId xmlns:a16="http://schemas.microsoft.com/office/drawing/2014/main" id="{E60DF02D-15E9-4B5A-B90B-828DED5B4084}"/>
              </a:ext>
            </a:extLst>
          </p:cNvPr>
          <p:cNvSpPr/>
          <p:nvPr/>
        </p:nvSpPr>
        <p:spPr bwMode="auto">
          <a:xfrm>
            <a:off x="683172" y="1519420"/>
            <a:ext cx="3100535" cy="3221960"/>
          </a:xfrm>
          <a:prstGeom prst="homePlate">
            <a:avLst>
              <a:gd name="adj" fmla="val 15605"/>
            </a:avLst>
          </a:prstGeom>
          <a:solidFill>
            <a:srgbClr val="E0E0E0"/>
          </a:solidFill>
          <a:ln w="25400" cap="flat" cmpd="sng" algn="ctr">
            <a:noFill/>
            <a:prstDash val="solid"/>
          </a:ln>
          <a:effectLst/>
        </p:spPr>
        <p:txBody>
          <a:bodyPr anchor="ctr"/>
          <a:lstStyle/>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Revenue enhancement</a:t>
            </a: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endParaRP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Operating profit from cost reduction</a:t>
            </a: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endParaRP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Capital reduction</a:t>
            </a: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endParaRP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Strategic alignment</a:t>
            </a: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endParaRPr>
          </a:p>
          <a:p>
            <a:pPr marL="180975" marR="0" lvl="1"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Other benefits</a:t>
            </a:r>
          </a:p>
          <a:p>
            <a:pPr marL="355600" marR="0" lvl="2"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Client satisfaction</a:t>
            </a:r>
          </a:p>
          <a:p>
            <a:pPr marL="355600" marR="0" lvl="2"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Cycle time reduction</a:t>
            </a:r>
          </a:p>
          <a:p>
            <a:pPr marL="355600" marR="0" lvl="2"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Associate involvement</a:t>
            </a:r>
          </a:p>
        </p:txBody>
      </p:sp>
      <p:sp>
        <p:nvSpPr>
          <p:cNvPr id="7" name="Pentagon 53">
            <a:extLst>
              <a:ext uri="{FF2B5EF4-FFF2-40B4-BE49-F238E27FC236}">
                <a16:creationId xmlns:a16="http://schemas.microsoft.com/office/drawing/2014/main" id="{4EA1EC27-8A9E-4C09-8235-E91F9655AAE5}"/>
              </a:ext>
            </a:extLst>
          </p:cNvPr>
          <p:cNvSpPr/>
          <p:nvPr/>
        </p:nvSpPr>
        <p:spPr bwMode="auto">
          <a:xfrm rot="16200000">
            <a:off x="5562748" y="4202808"/>
            <a:ext cx="1360563" cy="3287420"/>
          </a:xfrm>
          <a:prstGeom prst="homePlate">
            <a:avLst>
              <a:gd name="adj" fmla="val 14520"/>
            </a:avLst>
          </a:prstGeom>
          <a:solidFill>
            <a:srgbClr val="E0E0E0"/>
          </a:solidFill>
          <a:ln w="25400" cap="flat" cmpd="sng" algn="ctr">
            <a:noFill/>
            <a:prstDash val="solid"/>
          </a:ln>
          <a:effectLst/>
        </p:spPr>
        <p:txBody>
          <a:bodyPr vert="vert" anchor="ctr"/>
          <a:lstStyle/>
          <a:p>
            <a:pPr marL="355600" marR="0" lvl="1"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Personnel requirements</a:t>
            </a:r>
          </a:p>
          <a:p>
            <a:pPr marL="355600" marR="0" lvl="1"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Project duration</a:t>
            </a:r>
          </a:p>
          <a:p>
            <a:pPr marL="355600" marR="0" lvl="1"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Capital investment</a:t>
            </a:r>
          </a:p>
          <a:p>
            <a:pPr marL="355600" marR="0" lvl="1" indent="-1746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Graphik"/>
                <a:ea typeface="+mn-ea"/>
                <a:cs typeface="Arial" pitchFamily="34" charset="0"/>
              </a:rPr>
              <a:t>Risk projection</a:t>
            </a:r>
            <a:endParaRPr kumimoji="0" lang="en-US" sz="1400" b="0" i="0" u="none" strike="noStrike" kern="0" cap="none" spc="0" normalizeH="0" baseline="0" noProof="0" dirty="0">
              <a:ln>
                <a:noFill/>
              </a:ln>
              <a:solidFill>
                <a:srgbClr val="000000"/>
              </a:solidFill>
              <a:effectLst/>
              <a:uLnTx/>
              <a:uFillTx/>
              <a:latin typeface="Graphik"/>
              <a:ea typeface="+mn-ea"/>
              <a:cs typeface="Arial" pitchFamily="34" charset="0"/>
            </a:endParaRPr>
          </a:p>
        </p:txBody>
      </p:sp>
      <p:grpSp>
        <p:nvGrpSpPr>
          <p:cNvPr id="8" name="Group 7">
            <a:extLst>
              <a:ext uri="{FF2B5EF4-FFF2-40B4-BE49-F238E27FC236}">
                <a16:creationId xmlns:a16="http://schemas.microsoft.com/office/drawing/2014/main" id="{0EC4110A-7EB8-487D-8CFA-805D0D3C01D4}"/>
              </a:ext>
            </a:extLst>
          </p:cNvPr>
          <p:cNvGrpSpPr/>
          <p:nvPr/>
        </p:nvGrpSpPr>
        <p:grpSpPr>
          <a:xfrm>
            <a:off x="3783707" y="1005610"/>
            <a:ext cx="5289503" cy="4085748"/>
            <a:chOff x="5569338" y="1826990"/>
            <a:chExt cx="5289503" cy="4085748"/>
          </a:xfrm>
        </p:grpSpPr>
        <p:sp>
          <p:nvSpPr>
            <p:cNvPr id="9" name="Rectangle 7">
              <a:extLst>
                <a:ext uri="{FF2B5EF4-FFF2-40B4-BE49-F238E27FC236}">
                  <a16:creationId xmlns:a16="http://schemas.microsoft.com/office/drawing/2014/main" id="{CD4F767B-054E-42CE-BFA1-F60C06022C93}"/>
                </a:ext>
              </a:extLst>
            </p:cNvPr>
            <p:cNvSpPr>
              <a:spLocks noChangeArrowheads="1"/>
            </p:cNvSpPr>
            <p:nvPr/>
          </p:nvSpPr>
          <p:spPr bwMode="auto">
            <a:xfrm>
              <a:off x="6197468" y="2050674"/>
              <a:ext cx="3840074"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Graphik"/>
                <a:ea typeface="+mn-ea"/>
                <a:cs typeface="+mn-cs"/>
              </a:endParaRPr>
            </a:p>
          </p:txBody>
        </p:sp>
        <p:sp>
          <p:nvSpPr>
            <p:cNvPr id="10" name="AutoShape 8">
              <a:extLst>
                <a:ext uri="{FF2B5EF4-FFF2-40B4-BE49-F238E27FC236}">
                  <a16:creationId xmlns:a16="http://schemas.microsoft.com/office/drawing/2014/main" id="{63AFF484-58A5-42CB-8A3D-0759F838C3EC}"/>
                </a:ext>
              </a:extLst>
            </p:cNvPr>
            <p:cNvSpPr>
              <a:spLocks noChangeArrowheads="1"/>
            </p:cNvSpPr>
            <p:nvPr/>
          </p:nvSpPr>
          <p:spPr bwMode="auto">
            <a:xfrm rot="5400000">
              <a:off x="5471841" y="2754243"/>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1" name="AutoShape 9">
              <a:extLst>
                <a:ext uri="{FF2B5EF4-FFF2-40B4-BE49-F238E27FC236}">
                  <a16:creationId xmlns:a16="http://schemas.microsoft.com/office/drawing/2014/main" id="{8F871715-1CF7-43D8-9941-624377DD63E5}"/>
                </a:ext>
              </a:extLst>
            </p:cNvPr>
            <p:cNvSpPr>
              <a:spLocks noChangeArrowheads="1"/>
            </p:cNvSpPr>
            <p:nvPr/>
          </p:nvSpPr>
          <p:spPr bwMode="auto">
            <a:xfrm flipH="1">
              <a:off x="6176925" y="3841152"/>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2" name="Rectangle 10">
              <a:extLst>
                <a:ext uri="{FF2B5EF4-FFF2-40B4-BE49-F238E27FC236}">
                  <a16:creationId xmlns:a16="http://schemas.microsoft.com/office/drawing/2014/main" id="{6A5C8485-2E04-4156-8C2C-CC317CEA4C7E}"/>
                </a:ext>
              </a:extLst>
            </p:cNvPr>
            <p:cNvSpPr>
              <a:spLocks noChangeArrowheads="1"/>
            </p:cNvSpPr>
            <p:nvPr/>
          </p:nvSpPr>
          <p:spPr bwMode="auto">
            <a:xfrm>
              <a:off x="6142360" y="2050674"/>
              <a:ext cx="562814" cy="3524484"/>
            </a:xfrm>
            <a:prstGeom prst="rect">
              <a:avLst/>
            </a:prstGeom>
            <a:solidFill>
              <a:srgbClr val="DCAFFF"/>
            </a:solidFill>
            <a:ln w="3175" algn="ctr">
              <a:noFill/>
              <a:miter lim="800000"/>
              <a:headEnd type="none" w="sm" len="sm"/>
              <a:tailEnd type="none" w="sm" len="sm"/>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3" name="Line 20">
              <a:extLst>
                <a:ext uri="{FF2B5EF4-FFF2-40B4-BE49-F238E27FC236}">
                  <a16:creationId xmlns:a16="http://schemas.microsoft.com/office/drawing/2014/main" id="{229A104C-30EE-437A-948E-FDB17F9CDF98}"/>
                </a:ext>
              </a:extLst>
            </p:cNvPr>
            <p:cNvSpPr>
              <a:spLocks noChangeShapeType="1"/>
            </p:cNvSpPr>
            <p:nvPr/>
          </p:nvSpPr>
          <p:spPr bwMode="auto">
            <a:xfrm flipV="1">
              <a:off x="7479939" y="205067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4" name="Line 21">
              <a:extLst>
                <a:ext uri="{FF2B5EF4-FFF2-40B4-BE49-F238E27FC236}">
                  <a16:creationId xmlns:a16="http://schemas.microsoft.com/office/drawing/2014/main" id="{1D60C95C-8612-4BDD-85FD-12D390784200}"/>
                </a:ext>
              </a:extLst>
            </p:cNvPr>
            <p:cNvSpPr>
              <a:spLocks noChangeShapeType="1"/>
            </p:cNvSpPr>
            <p:nvPr/>
          </p:nvSpPr>
          <p:spPr bwMode="auto">
            <a:xfrm>
              <a:off x="6135628" y="3329391"/>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5" name="Line 22">
              <a:extLst>
                <a:ext uri="{FF2B5EF4-FFF2-40B4-BE49-F238E27FC236}">
                  <a16:creationId xmlns:a16="http://schemas.microsoft.com/office/drawing/2014/main" id="{256297EC-5831-4B79-9086-106C2358AC48}"/>
                </a:ext>
              </a:extLst>
            </p:cNvPr>
            <p:cNvSpPr>
              <a:spLocks noChangeShapeType="1"/>
            </p:cNvSpPr>
            <p:nvPr/>
          </p:nvSpPr>
          <p:spPr bwMode="auto">
            <a:xfrm flipV="1">
              <a:off x="8771213" y="2050674"/>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6" name="Line 23">
              <a:extLst>
                <a:ext uri="{FF2B5EF4-FFF2-40B4-BE49-F238E27FC236}">
                  <a16:creationId xmlns:a16="http://schemas.microsoft.com/office/drawing/2014/main" id="{DE71069A-1AFF-4A3F-9E29-55CA4102825A}"/>
                </a:ext>
              </a:extLst>
            </p:cNvPr>
            <p:cNvSpPr>
              <a:spLocks noChangeShapeType="1"/>
            </p:cNvSpPr>
            <p:nvPr/>
          </p:nvSpPr>
          <p:spPr bwMode="auto">
            <a:xfrm>
              <a:off x="6135628" y="4427002"/>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7" name="Text Box 24">
              <a:extLst>
                <a:ext uri="{FF2B5EF4-FFF2-40B4-BE49-F238E27FC236}">
                  <a16:creationId xmlns:a16="http://schemas.microsoft.com/office/drawing/2014/main" id="{C07DD390-8E9B-4143-ABD1-6471C941B6FD}"/>
                </a:ext>
              </a:extLst>
            </p:cNvPr>
            <p:cNvSpPr txBox="1">
              <a:spLocks noChangeArrowheads="1"/>
            </p:cNvSpPr>
            <p:nvPr/>
          </p:nvSpPr>
          <p:spPr bwMode="auto">
            <a:xfrm>
              <a:off x="6650857" y="2078880"/>
              <a:ext cx="1092717"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High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Desirable</a:t>
              </a:r>
            </a:p>
          </p:txBody>
        </p:sp>
        <p:sp>
          <p:nvSpPr>
            <p:cNvPr id="18" name="Text Box 25">
              <a:extLst>
                <a:ext uri="{FF2B5EF4-FFF2-40B4-BE49-F238E27FC236}">
                  <a16:creationId xmlns:a16="http://schemas.microsoft.com/office/drawing/2014/main" id="{3ADC0587-296A-4D2C-8575-A3B15AD18B2A}"/>
                </a:ext>
              </a:extLst>
            </p:cNvPr>
            <p:cNvSpPr txBox="1">
              <a:spLocks noChangeArrowheads="1"/>
            </p:cNvSpPr>
            <p:nvPr/>
          </p:nvSpPr>
          <p:spPr bwMode="auto">
            <a:xfrm>
              <a:off x="9042914" y="2078880"/>
              <a:ext cx="1136334" cy="400110"/>
            </a:xfrm>
            <a:prstGeom prst="rect">
              <a:avLst/>
            </a:prstGeom>
            <a:noFill/>
            <a:ln w="12700" algn="ctr">
              <a:noFill/>
              <a:miter lim="800000"/>
              <a:headEnd type="none" w="sm" len="sm"/>
              <a:tailEnd type="none" w="sm" len="sm"/>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Potentiall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Desirable</a:t>
              </a:r>
            </a:p>
          </p:txBody>
        </p:sp>
        <p:sp>
          <p:nvSpPr>
            <p:cNvPr id="19" name="Text Box 26">
              <a:extLst>
                <a:ext uri="{FF2B5EF4-FFF2-40B4-BE49-F238E27FC236}">
                  <a16:creationId xmlns:a16="http://schemas.microsoft.com/office/drawing/2014/main" id="{C6258DF5-9224-421D-BEEE-9F24C18A88F7}"/>
                </a:ext>
              </a:extLst>
            </p:cNvPr>
            <p:cNvSpPr txBox="1">
              <a:spLocks noChangeArrowheads="1"/>
            </p:cNvSpPr>
            <p:nvPr/>
          </p:nvSpPr>
          <p:spPr bwMode="auto">
            <a:xfrm>
              <a:off x="9010398" y="5028591"/>
              <a:ext cx="758541"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Least</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Desirable</a:t>
              </a:r>
            </a:p>
          </p:txBody>
        </p:sp>
        <p:sp>
          <p:nvSpPr>
            <p:cNvPr id="20" name="Text Box 27">
              <a:extLst>
                <a:ext uri="{FF2B5EF4-FFF2-40B4-BE49-F238E27FC236}">
                  <a16:creationId xmlns:a16="http://schemas.microsoft.com/office/drawing/2014/main" id="{2A79AFC3-E601-470B-B463-81F690325850}"/>
                </a:ext>
              </a:extLst>
            </p:cNvPr>
            <p:cNvSpPr txBox="1">
              <a:spLocks noChangeArrowheads="1"/>
            </p:cNvSpPr>
            <p:nvPr/>
          </p:nvSpPr>
          <p:spPr bwMode="auto">
            <a:xfrm>
              <a:off x="6121286" y="5028591"/>
              <a:ext cx="538930" cy="338554"/>
            </a:xfrm>
            <a:prstGeom prst="rect">
              <a:avLst/>
            </a:prstGeom>
            <a:noFill/>
            <a:ln w="12700" algn="ctr">
              <a:noFill/>
              <a:miter lim="800000"/>
              <a:headEnd type="none" w="sm" len="sm"/>
              <a:tailEnd type="none" w="sm" len="sm"/>
            </a:ln>
          </p:spPr>
          <p:txBody>
            <a:bodyPr wrap="none">
              <a:sp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Quick</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mn-cs"/>
                </a:rPr>
                <a:t>Hits</a:t>
              </a:r>
            </a:p>
          </p:txBody>
        </p:sp>
        <p:grpSp>
          <p:nvGrpSpPr>
            <p:cNvPr id="21" name="Group 65">
              <a:extLst>
                <a:ext uri="{FF2B5EF4-FFF2-40B4-BE49-F238E27FC236}">
                  <a16:creationId xmlns:a16="http://schemas.microsoft.com/office/drawing/2014/main" id="{E1AE6772-9CD4-4F1D-9DAC-453196778B1E}"/>
                </a:ext>
              </a:extLst>
            </p:cNvPr>
            <p:cNvGrpSpPr/>
            <p:nvPr/>
          </p:nvGrpSpPr>
          <p:grpSpPr bwMode="auto">
            <a:xfrm>
              <a:off x="5569338" y="1826990"/>
              <a:ext cx="5289503" cy="4085748"/>
              <a:chOff x="610162" y="1709192"/>
              <a:chExt cx="5289503" cy="4085748"/>
            </a:xfrm>
          </p:grpSpPr>
          <p:sp>
            <p:nvSpPr>
              <p:cNvPr id="22" name="Text Box 11">
                <a:extLst>
                  <a:ext uri="{FF2B5EF4-FFF2-40B4-BE49-F238E27FC236}">
                    <a16:creationId xmlns:a16="http://schemas.microsoft.com/office/drawing/2014/main" id="{E886F61E-C4F3-413A-9197-2205F4F05BE2}"/>
                  </a:ext>
                </a:extLst>
              </p:cNvPr>
              <p:cNvSpPr txBox="1">
                <a:spLocks noChangeArrowheads="1"/>
              </p:cNvSpPr>
              <p:nvPr/>
            </p:nvSpPr>
            <p:spPr bwMode="auto">
              <a:xfrm>
                <a:off x="610162" y="1709192"/>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Value</a:t>
                </a:r>
              </a:p>
            </p:txBody>
          </p:sp>
          <p:sp>
            <p:nvSpPr>
              <p:cNvPr id="23" name="Text Box 11">
                <a:extLst>
                  <a:ext uri="{FF2B5EF4-FFF2-40B4-BE49-F238E27FC236}">
                    <a16:creationId xmlns:a16="http://schemas.microsoft.com/office/drawing/2014/main" id="{1566AB85-025A-40B3-910F-D405ADC4DCEC}"/>
                  </a:ext>
                </a:extLst>
              </p:cNvPr>
              <p:cNvSpPr txBox="1">
                <a:spLocks noChangeArrowheads="1"/>
              </p:cNvSpPr>
              <p:nvPr/>
            </p:nvSpPr>
            <p:spPr bwMode="auto">
              <a:xfrm>
                <a:off x="4809763" y="5647207"/>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Effort</a:t>
                </a:r>
              </a:p>
            </p:txBody>
          </p:sp>
          <p:sp>
            <p:nvSpPr>
              <p:cNvPr id="24" name="Text Box 13">
                <a:extLst>
                  <a:ext uri="{FF2B5EF4-FFF2-40B4-BE49-F238E27FC236}">
                    <a16:creationId xmlns:a16="http://schemas.microsoft.com/office/drawing/2014/main" id="{F1CC6E95-21DD-4B5E-BB90-84996FB81FDB}"/>
                  </a:ext>
                </a:extLst>
              </p:cNvPr>
              <p:cNvSpPr txBox="1">
                <a:spLocks noChangeArrowheads="1"/>
              </p:cNvSpPr>
              <p:nvPr/>
            </p:nvSpPr>
            <p:spPr bwMode="auto">
              <a:xfrm>
                <a:off x="4176348" y="5557904"/>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25" name="Text Box 14">
                <a:extLst>
                  <a:ext uri="{FF2B5EF4-FFF2-40B4-BE49-F238E27FC236}">
                    <a16:creationId xmlns:a16="http://schemas.microsoft.com/office/drawing/2014/main" id="{339FFAB6-DC5C-49AE-A9DC-09AB689C140E}"/>
                  </a:ext>
                </a:extLst>
              </p:cNvPr>
              <p:cNvSpPr txBox="1">
                <a:spLocks noChangeArrowheads="1"/>
              </p:cNvSpPr>
              <p:nvPr/>
            </p:nvSpPr>
            <p:spPr bwMode="auto">
              <a:xfrm>
                <a:off x="999249" y="5557904"/>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26" name="Text Box 15">
                <a:extLst>
                  <a:ext uri="{FF2B5EF4-FFF2-40B4-BE49-F238E27FC236}">
                    <a16:creationId xmlns:a16="http://schemas.microsoft.com/office/drawing/2014/main" id="{ACB3BD85-BC4C-4DED-AC84-25769C1DFD5D}"/>
                  </a:ext>
                </a:extLst>
              </p:cNvPr>
              <p:cNvSpPr txBox="1">
                <a:spLocks noChangeArrowheads="1"/>
              </p:cNvSpPr>
              <p:nvPr/>
            </p:nvSpPr>
            <p:spPr bwMode="auto">
              <a:xfrm>
                <a:off x="2690737" y="5557904"/>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27" name="Text Box 13">
                <a:extLst>
                  <a:ext uri="{FF2B5EF4-FFF2-40B4-BE49-F238E27FC236}">
                    <a16:creationId xmlns:a16="http://schemas.microsoft.com/office/drawing/2014/main" id="{6109F132-B383-49D5-AE74-1FEED8922005}"/>
                  </a:ext>
                </a:extLst>
              </p:cNvPr>
              <p:cNvSpPr txBox="1">
                <a:spLocks noChangeArrowheads="1"/>
              </p:cNvSpPr>
              <p:nvPr/>
            </p:nvSpPr>
            <p:spPr bwMode="auto">
              <a:xfrm>
                <a:off x="662842" y="2635769"/>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28" name="Text Box 14">
                <a:extLst>
                  <a:ext uri="{FF2B5EF4-FFF2-40B4-BE49-F238E27FC236}">
                    <a16:creationId xmlns:a16="http://schemas.microsoft.com/office/drawing/2014/main" id="{FE6DC56B-D73C-44E3-8076-38ACB80AF3D1}"/>
                  </a:ext>
                </a:extLst>
              </p:cNvPr>
              <p:cNvSpPr txBox="1">
                <a:spLocks noChangeArrowheads="1"/>
              </p:cNvSpPr>
              <p:nvPr/>
            </p:nvSpPr>
            <p:spPr bwMode="auto">
              <a:xfrm>
                <a:off x="662842" y="4836633"/>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29" name="Text Box 15">
                <a:extLst>
                  <a:ext uri="{FF2B5EF4-FFF2-40B4-BE49-F238E27FC236}">
                    <a16:creationId xmlns:a16="http://schemas.microsoft.com/office/drawing/2014/main" id="{9C00D796-D0FE-49F7-8ECE-B8E3DD1BA960}"/>
                  </a:ext>
                </a:extLst>
              </p:cNvPr>
              <p:cNvSpPr txBox="1">
                <a:spLocks noChangeArrowheads="1"/>
              </p:cNvSpPr>
              <p:nvPr/>
            </p:nvSpPr>
            <p:spPr bwMode="auto">
              <a:xfrm>
                <a:off x="662842" y="3802512"/>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30" name="Line 28">
                <a:extLst>
                  <a:ext uri="{FF2B5EF4-FFF2-40B4-BE49-F238E27FC236}">
                    <a16:creationId xmlns:a16="http://schemas.microsoft.com/office/drawing/2014/main" id="{2FB6BA31-81EC-4517-B09A-211BB3B5B4E7}"/>
                  </a:ext>
                </a:extLst>
              </p:cNvPr>
              <p:cNvSpPr>
                <a:spLocks noChangeShapeType="1"/>
              </p:cNvSpPr>
              <p:nvPr/>
            </p:nvSpPr>
            <p:spPr bwMode="auto">
              <a:xfrm>
                <a:off x="1183184"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31" name="Line 28">
                <a:extLst>
                  <a:ext uri="{FF2B5EF4-FFF2-40B4-BE49-F238E27FC236}">
                    <a16:creationId xmlns:a16="http://schemas.microsoft.com/office/drawing/2014/main" id="{C4D6253F-4162-40F6-8FE5-B9F5F45D5B0B}"/>
                  </a:ext>
                </a:extLst>
              </p:cNvPr>
              <p:cNvSpPr>
                <a:spLocks noChangeShapeType="1"/>
              </p:cNvSpPr>
              <p:nvPr/>
            </p:nvSpPr>
            <p:spPr bwMode="auto">
              <a:xfrm flipV="1">
                <a:off x="1176452"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grpSp>
      </p:grpSp>
      <p:sp>
        <p:nvSpPr>
          <p:cNvPr id="2" name="Rectangle 1">
            <a:hlinkClick r:id="rId3" action="ppaction://hlinksldjump"/>
            <a:extLst>
              <a:ext uri="{FF2B5EF4-FFF2-40B4-BE49-F238E27FC236}">
                <a16:creationId xmlns:a16="http://schemas.microsoft.com/office/drawing/2014/main" id="{DD410DDD-8977-45AD-8551-BC80A55A72F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37596163"/>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5</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26">
            <a:extLst>
              <a:ext uri="{FF2B5EF4-FFF2-40B4-BE49-F238E27FC236}">
                <a16:creationId xmlns:a16="http://schemas.microsoft.com/office/drawing/2014/main" id="{CBE03A63-F0D7-4979-941D-A071B17076C8}"/>
              </a:ext>
            </a:extLst>
          </p:cNvPr>
          <p:cNvSpPr>
            <a:spLocks noChangeArrowheads="1"/>
          </p:cNvSpPr>
          <p:nvPr/>
        </p:nvSpPr>
        <p:spPr bwMode="auto">
          <a:xfrm>
            <a:off x="5586761" y="2197458"/>
            <a:ext cx="6268689" cy="3732691"/>
          </a:xfrm>
          <a:prstGeom prst="rect">
            <a:avLst/>
          </a:prstGeom>
          <a:solidFill>
            <a:srgbClr val="E0E0E0"/>
          </a:solidFill>
          <a:ln w="9525" cmpd="sng">
            <a:solidFill>
              <a:srgbClr val="E0E0E0"/>
            </a:solidFill>
            <a:miter lim="800000"/>
            <a:headEnd/>
            <a:tailEnd/>
          </a:ln>
        </p:spPr>
        <p:txBody>
          <a:bodyPr wrap="square" lIns="180000" tIns="108000" bIns="108000">
            <a:noAutofit/>
          </a:bodyPr>
          <a:lstStyle/>
          <a:p>
            <a:pPr marL="273050" marR="0" lvl="0" indent="-273050"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raphik"/>
                <a:ea typeface="+mn-ea"/>
                <a:cs typeface="Arial" charset="0"/>
              </a:rPr>
              <a:t>Initial Recommendation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Define and develop a single process owner.</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Build feedback loops and toll gates to facilitate a learning proces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Evaluate and realign key performance drivers across functions participating in the proces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Leverage CVSM to enhance upstream and downstream process visibility and knowledge.</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Refine and standardize premium costing analysis, including direct and indirect cost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Design and implement a single </a:t>
            </a:r>
            <a:br>
              <a:rPr kumimoji="0" lang="en-US" sz="1200" b="0" i="0" u="none" strike="noStrike" kern="1200" cap="none" spc="0" normalizeH="0" baseline="0" noProof="0" dirty="0">
                <a:ln>
                  <a:noFill/>
                </a:ln>
                <a:solidFill>
                  <a:srgbClr val="000000"/>
                </a:solidFill>
                <a:effectLst/>
                <a:uLnTx/>
                <a:uFillTx/>
                <a:latin typeface="Graphik"/>
                <a:ea typeface="+mn-ea"/>
                <a:cs typeface="Arial" charset="0"/>
              </a:rPr>
            </a:b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promotions "white board“.</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Define and implement a pre-project impact meeting with all potential process participant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Define and implement formal kick-off meeting.</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Develop concept/premium decision matrix with inputs and potential cost/capacity outputs.</a:t>
            </a:r>
          </a:p>
          <a:p>
            <a:pPr marL="273050" marR="0" lvl="0" indent="-273050" algn="l" defTabSz="914400" rtl="0" eaLnBrk="1" fontAlgn="auto" latinLnBrk="0" hangingPunct="1">
              <a:lnSpc>
                <a:spcPct val="100000"/>
              </a:lnSpc>
              <a:spcBef>
                <a:spcPts val="0"/>
              </a:spcBef>
              <a:spcAft>
                <a:spcPts val="0"/>
              </a:spcAft>
              <a:buClrTx/>
              <a:buSzTx/>
              <a:buFont typeface="Arial" charset="0"/>
              <a:buAutoNum type="arabicPeriod"/>
              <a:tabLst/>
              <a:defRPr/>
            </a:pPr>
            <a:r>
              <a:rPr kumimoji="0" lang="en-US" sz="1200" b="0" i="0" u="none" strike="noStrike" kern="1200" cap="none" spc="0" normalizeH="0" baseline="0" noProof="0" dirty="0">
                <a:ln>
                  <a:noFill/>
                </a:ln>
                <a:solidFill>
                  <a:srgbClr val="000000"/>
                </a:solidFill>
                <a:effectLst/>
                <a:uLnTx/>
                <a:uFillTx/>
                <a:latin typeface="Graphik"/>
                <a:ea typeface="+mn-ea"/>
                <a:cs typeface="Arial" charset="0"/>
              </a:rPr>
              <a:t>Define premium promotion "post-mortem" process, including data gathering and performance evaluation.</a:t>
            </a:r>
          </a:p>
        </p:txBody>
      </p:sp>
      <p:sp>
        <p:nvSpPr>
          <p:cNvPr id="7" name="Rectangle 7">
            <a:extLst>
              <a:ext uri="{FF2B5EF4-FFF2-40B4-BE49-F238E27FC236}">
                <a16:creationId xmlns:a16="http://schemas.microsoft.com/office/drawing/2014/main" id="{282A97A1-262A-4D0F-BFED-2BBE84ACF010}"/>
              </a:ext>
            </a:extLst>
          </p:cNvPr>
          <p:cNvSpPr>
            <a:spLocks noChangeArrowheads="1"/>
          </p:cNvSpPr>
          <p:nvPr/>
        </p:nvSpPr>
        <p:spPr bwMode="auto">
          <a:xfrm>
            <a:off x="973148" y="2150437"/>
            <a:ext cx="3840074"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Graphik"/>
              <a:ea typeface="+mn-ea"/>
              <a:cs typeface="+mn-cs"/>
            </a:endParaRPr>
          </a:p>
        </p:txBody>
      </p:sp>
      <p:sp>
        <p:nvSpPr>
          <p:cNvPr id="8" name="AutoShape 8">
            <a:extLst>
              <a:ext uri="{FF2B5EF4-FFF2-40B4-BE49-F238E27FC236}">
                <a16:creationId xmlns:a16="http://schemas.microsoft.com/office/drawing/2014/main" id="{D66D7502-2B0B-4B70-B800-57D39C94D539}"/>
              </a:ext>
            </a:extLst>
          </p:cNvPr>
          <p:cNvSpPr>
            <a:spLocks noChangeArrowheads="1"/>
          </p:cNvSpPr>
          <p:nvPr/>
        </p:nvSpPr>
        <p:spPr bwMode="auto">
          <a:xfrm rot="5400000">
            <a:off x="247521" y="2854006"/>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9" name="AutoShape 9">
            <a:extLst>
              <a:ext uri="{FF2B5EF4-FFF2-40B4-BE49-F238E27FC236}">
                <a16:creationId xmlns:a16="http://schemas.microsoft.com/office/drawing/2014/main" id="{930D4A8C-8A7B-494F-99E1-3919796A092D}"/>
              </a:ext>
            </a:extLst>
          </p:cNvPr>
          <p:cNvSpPr>
            <a:spLocks noChangeArrowheads="1"/>
          </p:cNvSpPr>
          <p:nvPr/>
        </p:nvSpPr>
        <p:spPr bwMode="auto">
          <a:xfrm flipH="1">
            <a:off x="952605" y="3940915"/>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0" name="Rectangle 10">
            <a:extLst>
              <a:ext uri="{FF2B5EF4-FFF2-40B4-BE49-F238E27FC236}">
                <a16:creationId xmlns:a16="http://schemas.microsoft.com/office/drawing/2014/main" id="{BF613330-9DD4-4444-99E9-733CB8E02E71}"/>
              </a:ext>
            </a:extLst>
          </p:cNvPr>
          <p:cNvSpPr>
            <a:spLocks noChangeArrowheads="1"/>
          </p:cNvSpPr>
          <p:nvPr/>
        </p:nvSpPr>
        <p:spPr bwMode="auto">
          <a:xfrm>
            <a:off x="918040" y="2150437"/>
            <a:ext cx="562814" cy="3524484"/>
          </a:xfrm>
          <a:prstGeom prst="rect">
            <a:avLst/>
          </a:prstGeom>
          <a:solidFill>
            <a:srgbClr val="DCAFFF"/>
          </a:solidFill>
          <a:ln w="3175" algn="ctr">
            <a:noFill/>
            <a:miter lim="800000"/>
            <a:headEnd type="none" w="sm" len="sm"/>
            <a:tailEnd type="none" w="sm" len="sm"/>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1" name="Line 20">
            <a:extLst>
              <a:ext uri="{FF2B5EF4-FFF2-40B4-BE49-F238E27FC236}">
                <a16:creationId xmlns:a16="http://schemas.microsoft.com/office/drawing/2014/main" id="{9AB06AE2-1943-4CF9-8B0E-E1C5BD8CDC0E}"/>
              </a:ext>
            </a:extLst>
          </p:cNvPr>
          <p:cNvSpPr>
            <a:spLocks noChangeShapeType="1"/>
          </p:cNvSpPr>
          <p:nvPr/>
        </p:nvSpPr>
        <p:spPr bwMode="auto">
          <a:xfrm flipV="1">
            <a:off x="2255619" y="2150437"/>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2" name="Line 21">
            <a:extLst>
              <a:ext uri="{FF2B5EF4-FFF2-40B4-BE49-F238E27FC236}">
                <a16:creationId xmlns:a16="http://schemas.microsoft.com/office/drawing/2014/main" id="{C9515972-2983-40DA-A0DB-5FFBB8806DD3}"/>
              </a:ext>
            </a:extLst>
          </p:cNvPr>
          <p:cNvSpPr>
            <a:spLocks noChangeShapeType="1"/>
          </p:cNvSpPr>
          <p:nvPr/>
        </p:nvSpPr>
        <p:spPr bwMode="auto">
          <a:xfrm>
            <a:off x="911308" y="3429154"/>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3" name="Line 22">
            <a:extLst>
              <a:ext uri="{FF2B5EF4-FFF2-40B4-BE49-F238E27FC236}">
                <a16:creationId xmlns:a16="http://schemas.microsoft.com/office/drawing/2014/main" id="{49CBD65C-5355-40D4-9AF0-44D56314732E}"/>
              </a:ext>
            </a:extLst>
          </p:cNvPr>
          <p:cNvSpPr>
            <a:spLocks noChangeShapeType="1"/>
          </p:cNvSpPr>
          <p:nvPr/>
        </p:nvSpPr>
        <p:spPr bwMode="auto">
          <a:xfrm flipV="1">
            <a:off x="3546893" y="2150437"/>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4" name="Line 23">
            <a:extLst>
              <a:ext uri="{FF2B5EF4-FFF2-40B4-BE49-F238E27FC236}">
                <a16:creationId xmlns:a16="http://schemas.microsoft.com/office/drawing/2014/main" id="{CEABBDCD-623C-4737-AEC8-41AFCE42D883}"/>
              </a:ext>
            </a:extLst>
          </p:cNvPr>
          <p:cNvSpPr>
            <a:spLocks noChangeShapeType="1"/>
          </p:cNvSpPr>
          <p:nvPr/>
        </p:nvSpPr>
        <p:spPr bwMode="auto">
          <a:xfrm>
            <a:off x="911308" y="4526765"/>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grpSp>
        <p:nvGrpSpPr>
          <p:cNvPr id="15" name="Group 65">
            <a:extLst>
              <a:ext uri="{FF2B5EF4-FFF2-40B4-BE49-F238E27FC236}">
                <a16:creationId xmlns:a16="http://schemas.microsoft.com/office/drawing/2014/main" id="{1DB3DF18-E26B-44C9-A507-5D65D2CCDAB9}"/>
              </a:ext>
            </a:extLst>
          </p:cNvPr>
          <p:cNvGrpSpPr/>
          <p:nvPr/>
        </p:nvGrpSpPr>
        <p:grpSpPr bwMode="auto">
          <a:xfrm>
            <a:off x="345018" y="1926753"/>
            <a:ext cx="4844100" cy="4284476"/>
            <a:chOff x="610162" y="1709192"/>
            <a:chExt cx="4844100" cy="4284476"/>
          </a:xfrm>
        </p:grpSpPr>
        <p:sp>
          <p:nvSpPr>
            <p:cNvPr id="16" name="Text Box 11">
              <a:extLst>
                <a:ext uri="{FF2B5EF4-FFF2-40B4-BE49-F238E27FC236}">
                  <a16:creationId xmlns:a16="http://schemas.microsoft.com/office/drawing/2014/main" id="{B62562E5-EE6B-4492-A1A3-CE25B73F8CDC}"/>
                </a:ext>
              </a:extLst>
            </p:cNvPr>
            <p:cNvSpPr txBox="1">
              <a:spLocks noChangeArrowheads="1"/>
            </p:cNvSpPr>
            <p:nvPr/>
          </p:nvSpPr>
          <p:spPr bwMode="auto">
            <a:xfrm>
              <a:off x="610162" y="1709192"/>
              <a:ext cx="1089902" cy="147733"/>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Value</a:t>
              </a:r>
            </a:p>
          </p:txBody>
        </p:sp>
        <p:sp>
          <p:nvSpPr>
            <p:cNvPr id="17" name="Text Box 11">
              <a:extLst>
                <a:ext uri="{FF2B5EF4-FFF2-40B4-BE49-F238E27FC236}">
                  <a16:creationId xmlns:a16="http://schemas.microsoft.com/office/drawing/2014/main" id="{ED7A79C3-D19C-4028-8FEB-655C0ECE0443}"/>
                </a:ext>
              </a:extLst>
            </p:cNvPr>
            <p:cNvSpPr txBox="1">
              <a:spLocks noChangeArrowheads="1"/>
            </p:cNvSpPr>
            <p:nvPr/>
          </p:nvSpPr>
          <p:spPr bwMode="auto">
            <a:xfrm>
              <a:off x="4364360" y="5845935"/>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Effort</a:t>
              </a:r>
            </a:p>
          </p:txBody>
        </p:sp>
        <p:sp>
          <p:nvSpPr>
            <p:cNvPr id="18" name="Text Box 13">
              <a:extLst>
                <a:ext uri="{FF2B5EF4-FFF2-40B4-BE49-F238E27FC236}">
                  <a16:creationId xmlns:a16="http://schemas.microsoft.com/office/drawing/2014/main" id="{61113C81-AD19-40FD-BEF9-69FB065A6C49}"/>
                </a:ext>
              </a:extLst>
            </p:cNvPr>
            <p:cNvSpPr txBox="1">
              <a:spLocks noChangeArrowheads="1"/>
            </p:cNvSpPr>
            <p:nvPr/>
          </p:nvSpPr>
          <p:spPr bwMode="auto">
            <a:xfrm>
              <a:off x="4176348" y="5557904"/>
              <a:ext cx="859346"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19" name="Text Box 14">
              <a:extLst>
                <a:ext uri="{FF2B5EF4-FFF2-40B4-BE49-F238E27FC236}">
                  <a16:creationId xmlns:a16="http://schemas.microsoft.com/office/drawing/2014/main" id="{C5B82D74-2FFB-4617-9D76-D7D27BD53D6D}"/>
                </a:ext>
              </a:extLst>
            </p:cNvPr>
            <p:cNvSpPr txBox="1">
              <a:spLocks noChangeArrowheads="1"/>
            </p:cNvSpPr>
            <p:nvPr/>
          </p:nvSpPr>
          <p:spPr bwMode="auto">
            <a:xfrm>
              <a:off x="999249" y="5557904"/>
              <a:ext cx="890088"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20" name="Text Box 15">
              <a:extLst>
                <a:ext uri="{FF2B5EF4-FFF2-40B4-BE49-F238E27FC236}">
                  <a16:creationId xmlns:a16="http://schemas.microsoft.com/office/drawing/2014/main" id="{00240F7D-AE63-4574-AD76-AF2C41821821}"/>
                </a:ext>
              </a:extLst>
            </p:cNvPr>
            <p:cNvSpPr txBox="1">
              <a:spLocks noChangeArrowheads="1"/>
            </p:cNvSpPr>
            <p:nvPr/>
          </p:nvSpPr>
          <p:spPr bwMode="auto">
            <a:xfrm>
              <a:off x="2690737" y="5557904"/>
              <a:ext cx="762932" cy="123111"/>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21" name="Text Box 13">
              <a:extLst>
                <a:ext uri="{FF2B5EF4-FFF2-40B4-BE49-F238E27FC236}">
                  <a16:creationId xmlns:a16="http://schemas.microsoft.com/office/drawing/2014/main" id="{49353CDA-2E8A-4E9D-BB86-7CBC0A848E66}"/>
                </a:ext>
              </a:extLst>
            </p:cNvPr>
            <p:cNvSpPr txBox="1">
              <a:spLocks noChangeArrowheads="1"/>
            </p:cNvSpPr>
            <p:nvPr/>
          </p:nvSpPr>
          <p:spPr bwMode="auto">
            <a:xfrm>
              <a:off x="662842" y="2635769"/>
              <a:ext cx="859346"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High</a:t>
              </a:r>
            </a:p>
          </p:txBody>
        </p:sp>
        <p:sp>
          <p:nvSpPr>
            <p:cNvPr id="22" name="Text Box 14">
              <a:extLst>
                <a:ext uri="{FF2B5EF4-FFF2-40B4-BE49-F238E27FC236}">
                  <a16:creationId xmlns:a16="http://schemas.microsoft.com/office/drawing/2014/main" id="{4D31E6C4-CBE0-4BCF-A02D-6E4ADCE3B51E}"/>
                </a:ext>
              </a:extLst>
            </p:cNvPr>
            <p:cNvSpPr txBox="1">
              <a:spLocks noChangeArrowheads="1"/>
            </p:cNvSpPr>
            <p:nvPr/>
          </p:nvSpPr>
          <p:spPr bwMode="auto">
            <a:xfrm>
              <a:off x="662842" y="4836633"/>
              <a:ext cx="890088"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Low</a:t>
              </a:r>
            </a:p>
          </p:txBody>
        </p:sp>
        <p:sp>
          <p:nvSpPr>
            <p:cNvPr id="23" name="Text Box 15">
              <a:extLst>
                <a:ext uri="{FF2B5EF4-FFF2-40B4-BE49-F238E27FC236}">
                  <a16:creationId xmlns:a16="http://schemas.microsoft.com/office/drawing/2014/main" id="{5345073D-1CC2-48B5-89D6-627F3D372344}"/>
                </a:ext>
              </a:extLst>
            </p:cNvPr>
            <p:cNvSpPr txBox="1">
              <a:spLocks noChangeArrowheads="1"/>
            </p:cNvSpPr>
            <p:nvPr/>
          </p:nvSpPr>
          <p:spPr bwMode="auto">
            <a:xfrm>
              <a:off x="662842" y="3802512"/>
              <a:ext cx="762932" cy="123111"/>
            </a:xfrm>
            <a:prstGeom prst="rect">
              <a:avLst/>
            </a:prstGeom>
            <a:noFill/>
            <a:ln w="12700">
              <a:noFill/>
              <a:miter lim="800000"/>
              <a:headEnd/>
              <a:tailEnd/>
            </a:ln>
          </p:spPr>
          <p:txBody>
            <a:bodyPr lIns="0" tIns="0" rIns="0" bIns="0">
              <a:spAutoFit/>
            </a:bodyPr>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Med</a:t>
              </a:r>
            </a:p>
          </p:txBody>
        </p:sp>
        <p:sp>
          <p:nvSpPr>
            <p:cNvPr id="24" name="Line 28">
              <a:extLst>
                <a:ext uri="{FF2B5EF4-FFF2-40B4-BE49-F238E27FC236}">
                  <a16:creationId xmlns:a16="http://schemas.microsoft.com/office/drawing/2014/main" id="{46F062BF-CA0B-4899-8ECD-47FCF5CAFEBD}"/>
                </a:ext>
              </a:extLst>
            </p:cNvPr>
            <p:cNvSpPr>
              <a:spLocks noChangeShapeType="1"/>
            </p:cNvSpPr>
            <p:nvPr/>
          </p:nvSpPr>
          <p:spPr bwMode="auto">
            <a:xfrm>
              <a:off x="1183184"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25" name="Line 28">
              <a:extLst>
                <a:ext uri="{FF2B5EF4-FFF2-40B4-BE49-F238E27FC236}">
                  <a16:creationId xmlns:a16="http://schemas.microsoft.com/office/drawing/2014/main" id="{F1B40916-6625-4A83-BE69-95C3A7668CCA}"/>
                </a:ext>
              </a:extLst>
            </p:cNvPr>
            <p:cNvSpPr>
              <a:spLocks noChangeShapeType="1"/>
            </p:cNvSpPr>
            <p:nvPr/>
          </p:nvSpPr>
          <p:spPr bwMode="auto">
            <a:xfrm flipV="1">
              <a:off x="1176452"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grpSp>
      <p:grpSp>
        <p:nvGrpSpPr>
          <p:cNvPr id="26" name="Group 25">
            <a:extLst>
              <a:ext uri="{FF2B5EF4-FFF2-40B4-BE49-F238E27FC236}">
                <a16:creationId xmlns:a16="http://schemas.microsoft.com/office/drawing/2014/main" id="{DA208999-9E43-4CBE-906F-248A63EFD421}"/>
              </a:ext>
            </a:extLst>
          </p:cNvPr>
          <p:cNvGrpSpPr/>
          <p:nvPr/>
        </p:nvGrpSpPr>
        <p:grpSpPr>
          <a:xfrm>
            <a:off x="1185830" y="3280456"/>
            <a:ext cx="3574781" cy="1457604"/>
            <a:chOff x="5758690" y="3458256"/>
            <a:chExt cx="3036938" cy="1238300"/>
          </a:xfrm>
        </p:grpSpPr>
        <p:sp>
          <p:nvSpPr>
            <p:cNvPr id="27" name="Oval 26">
              <a:extLst>
                <a:ext uri="{FF2B5EF4-FFF2-40B4-BE49-F238E27FC236}">
                  <a16:creationId xmlns:a16="http://schemas.microsoft.com/office/drawing/2014/main" id="{D3C980F3-3B99-4667-B1B1-335978D638E6}"/>
                </a:ext>
              </a:extLst>
            </p:cNvPr>
            <p:cNvSpPr>
              <a:spLocks noChangeAspect="1"/>
            </p:cNvSpPr>
            <p:nvPr/>
          </p:nvSpPr>
          <p:spPr>
            <a:xfrm>
              <a:off x="5758690" y="414564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28" name="Oval 27">
              <a:extLst>
                <a:ext uri="{FF2B5EF4-FFF2-40B4-BE49-F238E27FC236}">
                  <a16:creationId xmlns:a16="http://schemas.microsoft.com/office/drawing/2014/main" id="{CAD46760-63AB-4D3D-B8F2-9E25D164E671}"/>
                </a:ext>
              </a:extLst>
            </p:cNvPr>
            <p:cNvSpPr>
              <a:spLocks noChangeAspect="1"/>
            </p:cNvSpPr>
            <p:nvPr/>
          </p:nvSpPr>
          <p:spPr>
            <a:xfrm>
              <a:off x="5815840" y="365669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29" name="Oval 28">
              <a:extLst>
                <a:ext uri="{FF2B5EF4-FFF2-40B4-BE49-F238E27FC236}">
                  <a16:creationId xmlns:a16="http://schemas.microsoft.com/office/drawing/2014/main" id="{0AEEA8FB-E72E-429B-A20E-2DEC6A81FB84}"/>
                </a:ext>
              </a:extLst>
            </p:cNvPr>
            <p:cNvSpPr>
              <a:spLocks noChangeAspect="1"/>
            </p:cNvSpPr>
            <p:nvPr/>
          </p:nvSpPr>
          <p:spPr>
            <a:xfrm>
              <a:off x="6158740" y="356303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0" name="Oval 29">
              <a:extLst>
                <a:ext uri="{FF2B5EF4-FFF2-40B4-BE49-F238E27FC236}">
                  <a16:creationId xmlns:a16="http://schemas.microsoft.com/office/drawing/2014/main" id="{81950079-458F-4775-91B5-DFCE499DEA96}"/>
                </a:ext>
              </a:extLst>
            </p:cNvPr>
            <p:cNvSpPr>
              <a:spLocks noChangeAspect="1"/>
            </p:cNvSpPr>
            <p:nvPr/>
          </p:nvSpPr>
          <p:spPr>
            <a:xfrm>
              <a:off x="6393690" y="389323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1" name="Oval 30">
              <a:extLst>
                <a:ext uri="{FF2B5EF4-FFF2-40B4-BE49-F238E27FC236}">
                  <a16:creationId xmlns:a16="http://schemas.microsoft.com/office/drawing/2014/main" id="{3BDA1F94-5281-414B-86AB-39AE6C6E013B}"/>
                </a:ext>
              </a:extLst>
            </p:cNvPr>
            <p:cNvSpPr>
              <a:spLocks noChangeAspect="1"/>
            </p:cNvSpPr>
            <p:nvPr/>
          </p:nvSpPr>
          <p:spPr>
            <a:xfrm>
              <a:off x="6627053" y="3458256"/>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2" name="Oval 31">
              <a:extLst>
                <a:ext uri="{FF2B5EF4-FFF2-40B4-BE49-F238E27FC236}">
                  <a16:creationId xmlns:a16="http://schemas.microsoft.com/office/drawing/2014/main" id="{73444CAB-B0AA-4133-80E2-19E8EBDECE3E}"/>
                </a:ext>
              </a:extLst>
            </p:cNvPr>
            <p:cNvSpPr>
              <a:spLocks noChangeAspect="1"/>
            </p:cNvSpPr>
            <p:nvPr/>
          </p:nvSpPr>
          <p:spPr>
            <a:xfrm>
              <a:off x="6998529" y="3869420"/>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3" name="Oval 32">
              <a:extLst>
                <a:ext uri="{FF2B5EF4-FFF2-40B4-BE49-F238E27FC236}">
                  <a16:creationId xmlns:a16="http://schemas.microsoft.com/office/drawing/2014/main" id="{F7EBC9B6-3F46-4BF6-A3C9-6C85AC59A87F}"/>
                </a:ext>
              </a:extLst>
            </p:cNvPr>
            <p:cNvSpPr>
              <a:spLocks noChangeAspect="1"/>
            </p:cNvSpPr>
            <p:nvPr/>
          </p:nvSpPr>
          <p:spPr>
            <a:xfrm>
              <a:off x="6998528" y="3869419"/>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4" name="Oval 33">
              <a:extLst>
                <a:ext uri="{FF2B5EF4-FFF2-40B4-BE49-F238E27FC236}">
                  <a16:creationId xmlns:a16="http://schemas.microsoft.com/office/drawing/2014/main" id="{8CCEAE0B-201F-4825-9553-4119BCE4B8D1}"/>
                </a:ext>
              </a:extLst>
            </p:cNvPr>
            <p:cNvSpPr>
              <a:spLocks noChangeAspect="1"/>
            </p:cNvSpPr>
            <p:nvPr/>
          </p:nvSpPr>
          <p:spPr>
            <a:xfrm>
              <a:off x="7177915" y="409008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5" name="Oval 34">
              <a:extLst>
                <a:ext uri="{FF2B5EF4-FFF2-40B4-BE49-F238E27FC236}">
                  <a16:creationId xmlns:a16="http://schemas.microsoft.com/office/drawing/2014/main" id="{EDE60BC0-39FC-44C3-A158-F8E7A07E0FE8}"/>
                </a:ext>
              </a:extLst>
            </p:cNvPr>
            <p:cNvSpPr>
              <a:spLocks noChangeAspect="1"/>
            </p:cNvSpPr>
            <p:nvPr/>
          </p:nvSpPr>
          <p:spPr>
            <a:xfrm>
              <a:off x="7316028" y="408214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6" name="Oval 35">
              <a:extLst>
                <a:ext uri="{FF2B5EF4-FFF2-40B4-BE49-F238E27FC236}">
                  <a16:creationId xmlns:a16="http://schemas.microsoft.com/office/drawing/2014/main" id="{49A0F793-B043-4C93-97A6-794627222E07}"/>
                </a:ext>
              </a:extLst>
            </p:cNvPr>
            <p:cNvSpPr>
              <a:spLocks noChangeAspect="1"/>
            </p:cNvSpPr>
            <p:nvPr/>
          </p:nvSpPr>
          <p:spPr>
            <a:xfrm>
              <a:off x="7277928" y="417739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7" name="Oval 36">
              <a:extLst>
                <a:ext uri="{FF2B5EF4-FFF2-40B4-BE49-F238E27FC236}">
                  <a16:creationId xmlns:a16="http://schemas.microsoft.com/office/drawing/2014/main" id="{1E3B8B34-7F19-4430-B354-04BF4E763DDB}"/>
                </a:ext>
              </a:extLst>
            </p:cNvPr>
            <p:cNvSpPr>
              <a:spLocks noChangeAspect="1"/>
            </p:cNvSpPr>
            <p:nvPr/>
          </p:nvSpPr>
          <p:spPr>
            <a:xfrm>
              <a:off x="7416040" y="4098019"/>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8" name="Oval 37">
              <a:extLst>
                <a:ext uri="{FF2B5EF4-FFF2-40B4-BE49-F238E27FC236}">
                  <a16:creationId xmlns:a16="http://schemas.microsoft.com/office/drawing/2014/main" id="{D6307DC9-5733-4BEA-A661-D2C476FB5BD3}"/>
                </a:ext>
              </a:extLst>
            </p:cNvPr>
            <p:cNvSpPr>
              <a:spLocks noChangeAspect="1"/>
            </p:cNvSpPr>
            <p:nvPr/>
          </p:nvSpPr>
          <p:spPr>
            <a:xfrm>
              <a:off x="7268403" y="366304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39" name="Oval 38">
              <a:extLst>
                <a:ext uri="{FF2B5EF4-FFF2-40B4-BE49-F238E27FC236}">
                  <a16:creationId xmlns:a16="http://schemas.microsoft.com/office/drawing/2014/main" id="{49C4F6B5-B676-4E38-BE57-3D5F998BE97D}"/>
                </a:ext>
              </a:extLst>
            </p:cNvPr>
            <p:cNvSpPr>
              <a:spLocks noChangeAspect="1"/>
            </p:cNvSpPr>
            <p:nvPr/>
          </p:nvSpPr>
          <p:spPr>
            <a:xfrm>
              <a:off x="7652578" y="389799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40" name="Oval 39">
              <a:extLst>
                <a:ext uri="{FF2B5EF4-FFF2-40B4-BE49-F238E27FC236}">
                  <a16:creationId xmlns:a16="http://schemas.microsoft.com/office/drawing/2014/main" id="{086B43F2-340A-4335-9934-178888D4908D}"/>
                </a:ext>
              </a:extLst>
            </p:cNvPr>
            <p:cNvSpPr>
              <a:spLocks noChangeAspect="1"/>
            </p:cNvSpPr>
            <p:nvPr/>
          </p:nvSpPr>
          <p:spPr>
            <a:xfrm>
              <a:off x="7968490" y="407738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41" name="Oval 40">
              <a:extLst>
                <a:ext uri="{FF2B5EF4-FFF2-40B4-BE49-F238E27FC236}">
                  <a16:creationId xmlns:a16="http://schemas.microsoft.com/office/drawing/2014/main" id="{744F4533-E64B-4926-B91F-385BF2D3178C}"/>
                </a:ext>
              </a:extLst>
            </p:cNvPr>
            <p:cNvSpPr>
              <a:spLocks noChangeAspect="1"/>
            </p:cNvSpPr>
            <p:nvPr/>
          </p:nvSpPr>
          <p:spPr>
            <a:xfrm>
              <a:off x="8162165" y="3832906"/>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42" name="Oval 41">
              <a:extLst>
                <a:ext uri="{FF2B5EF4-FFF2-40B4-BE49-F238E27FC236}">
                  <a16:creationId xmlns:a16="http://schemas.microsoft.com/office/drawing/2014/main" id="{A9168E5E-86CC-4FF1-8C3D-742BB8402CF5}"/>
                </a:ext>
              </a:extLst>
            </p:cNvPr>
            <p:cNvSpPr>
              <a:spLocks noChangeAspect="1"/>
            </p:cNvSpPr>
            <p:nvPr/>
          </p:nvSpPr>
          <p:spPr>
            <a:xfrm>
              <a:off x="8438390" y="428693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43" name="Oval 42">
              <a:extLst>
                <a:ext uri="{FF2B5EF4-FFF2-40B4-BE49-F238E27FC236}">
                  <a16:creationId xmlns:a16="http://schemas.microsoft.com/office/drawing/2014/main" id="{1A66EC22-EBAA-4093-98D2-430982DE3EBD}"/>
                </a:ext>
              </a:extLst>
            </p:cNvPr>
            <p:cNvSpPr>
              <a:spLocks noChangeAspect="1"/>
            </p:cNvSpPr>
            <p:nvPr/>
          </p:nvSpPr>
          <p:spPr>
            <a:xfrm>
              <a:off x="8603490" y="4588556"/>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44" name="Oval 43">
              <a:extLst>
                <a:ext uri="{FF2B5EF4-FFF2-40B4-BE49-F238E27FC236}">
                  <a16:creationId xmlns:a16="http://schemas.microsoft.com/office/drawing/2014/main" id="{9990F669-BC18-49A1-AD98-A23F3890AAE9}"/>
                </a:ext>
              </a:extLst>
            </p:cNvPr>
            <p:cNvSpPr>
              <a:spLocks noChangeAspect="1"/>
            </p:cNvSpPr>
            <p:nvPr/>
          </p:nvSpPr>
          <p:spPr>
            <a:xfrm>
              <a:off x="8687628" y="3704319"/>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45" name="Oval 44">
              <a:extLst>
                <a:ext uri="{FF2B5EF4-FFF2-40B4-BE49-F238E27FC236}">
                  <a16:creationId xmlns:a16="http://schemas.microsoft.com/office/drawing/2014/main" id="{49426E0B-2D90-45F1-9D64-E2020715DF41}"/>
                </a:ext>
              </a:extLst>
            </p:cNvPr>
            <p:cNvSpPr>
              <a:spLocks noChangeAspect="1"/>
            </p:cNvSpPr>
            <p:nvPr/>
          </p:nvSpPr>
          <p:spPr>
            <a:xfrm>
              <a:off x="8486015" y="3664631"/>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46" name="Oval 45">
              <a:extLst>
                <a:ext uri="{FF2B5EF4-FFF2-40B4-BE49-F238E27FC236}">
                  <a16:creationId xmlns:a16="http://schemas.microsoft.com/office/drawing/2014/main" id="{1CE350C8-7537-43F1-BF39-0C9E641906B0}"/>
                </a:ext>
              </a:extLst>
            </p:cNvPr>
            <p:cNvSpPr>
              <a:spLocks noChangeAspect="1"/>
            </p:cNvSpPr>
            <p:nvPr/>
          </p:nvSpPr>
          <p:spPr>
            <a:xfrm>
              <a:off x="8638415" y="3504294"/>
              <a:ext cx="108000" cy="108000"/>
            </a:xfrm>
            <a:prstGeom prst="ellipse">
              <a:avLst/>
            </a:prstGeom>
            <a:solidFill>
              <a:srgbClr val="000000"/>
            </a:solidFill>
            <a:ln w="25400"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grpSp>
      <p:grpSp>
        <p:nvGrpSpPr>
          <p:cNvPr id="47" name="Group 46">
            <a:extLst>
              <a:ext uri="{FF2B5EF4-FFF2-40B4-BE49-F238E27FC236}">
                <a16:creationId xmlns:a16="http://schemas.microsoft.com/office/drawing/2014/main" id="{3F586A71-3227-4E3F-83FD-B1F978601679}"/>
              </a:ext>
            </a:extLst>
          </p:cNvPr>
          <p:cNvGrpSpPr/>
          <p:nvPr/>
        </p:nvGrpSpPr>
        <p:grpSpPr>
          <a:xfrm>
            <a:off x="1522150" y="2231670"/>
            <a:ext cx="3298114" cy="1755284"/>
            <a:chOff x="1522150" y="2231670"/>
            <a:chExt cx="3298114" cy="1755284"/>
          </a:xfrm>
        </p:grpSpPr>
        <p:sp>
          <p:nvSpPr>
            <p:cNvPr id="48" name="Oval 47">
              <a:extLst>
                <a:ext uri="{FF2B5EF4-FFF2-40B4-BE49-F238E27FC236}">
                  <a16:creationId xmlns:a16="http://schemas.microsoft.com/office/drawing/2014/main" id="{0088313E-DC23-406E-806D-85731D51FA5B}"/>
                </a:ext>
              </a:extLst>
            </p:cNvPr>
            <p:cNvSpPr/>
            <p:nvPr/>
          </p:nvSpPr>
          <p:spPr bwMode="auto">
            <a:xfrm>
              <a:off x="4523824" y="2231670"/>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a:t>
              </a:r>
            </a:p>
          </p:txBody>
        </p:sp>
        <p:sp>
          <p:nvSpPr>
            <p:cNvPr id="49" name="Oval 48">
              <a:extLst>
                <a:ext uri="{FF2B5EF4-FFF2-40B4-BE49-F238E27FC236}">
                  <a16:creationId xmlns:a16="http://schemas.microsoft.com/office/drawing/2014/main" id="{6913D264-1C3F-420F-9CE7-D6A2AC9E3E9A}"/>
                </a:ext>
              </a:extLst>
            </p:cNvPr>
            <p:cNvSpPr/>
            <p:nvPr/>
          </p:nvSpPr>
          <p:spPr bwMode="auto">
            <a:xfrm>
              <a:off x="4579579" y="2946641"/>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9</a:t>
              </a:r>
            </a:p>
          </p:txBody>
        </p:sp>
        <p:sp>
          <p:nvSpPr>
            <p:cNvPr id="50" name="Oval 49">
              <a:extLst>
                <a:ext uri="{FF2B5EF4-FFF2-40B4-BE49-F238E27FC236}">
                  <a16:creationId xmlns:a16="http://schemas.microsoft.com/office/drawing/2014/main" id="{0FEECB76-7438-40C9-B043-5C7A010A0CB0}"/>
                </a:ext>
              </a:extLst>
            </p:cNvPr>
            <p:cNvSpPr/>
            <p:nvPr/>
          </p:nvSpPr>
          <p:spPr bwMode="auto">
            <a:xfrm>
              <a:off x="4383916" y="3133578"/>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10</a:t>
              </a:r>
            </a:p>
          </p:txBody>
        </p:sp>
        <p:sp>
          <p:nvSpPr>
            <p:cNvPr id="51" name="Oval 50">
              <a:extLst>
                <a:ext uri="{FF2B5EF4-FFF2-40B4-BE49-F238E27FC236}">
                  <a16:creationId xmlns:a16="http://schemas.microsoft.com/office/drawing/2014/main" id="{D15C33BC-F601-4D75-BAE2-A37ADAA52858}"/>
                </a:ext>
              </a:extLst>
            </p:cNvPr>
            <p:cNvSpPr/>
            <p:nvPr/>
          </p:nvSpPr>
          <p:spPr bwMode="auto">
            <a:xfrm>
              <a:off x="4146958" y="2966894"/>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6</a:t>
              </a:r>
            </a:p>
          </p:txBody>
        </p:sp>
        <p:sp>
          <p:nvSpPr>
            <p:cNvPr id="52" name="Oval 51">
              <a:extLst>
                <a:ext uri="{FF2B5EF4-FFF2-40B4-BE49-F238E27FC236}">
                  <a16:creationId xmlns:a16="http://schemas.microsoft.com/office/drawing/2014/main" id="{03ED787D-C8CE-4B13-9917-6E58A5BCFD7A}"/>
                </a:ext>
              </a:extLst>
            </p:cNvPr>
            <p:cNvSpPr/>
            <p:nvPr/>
          </p:nvSpPr>
          <p:spPr bwMode="auto">
            <a:xfrm>
              <a:off x="3581327" y="3178179"/>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8</a:t>
              </a:r>
            </a:p>
          </p:txBody>
        </p:sp>
        <p:sp>
          <p:nvSpPr>
            <p:cNvPr id="53" name="Oval 52">
              <a:extLst>
                <a:ext uri="{FF2B5EF4-FFF2-40B4-BE49-F238E27FC236}">
                  <a16:creationId xmlns:a16="http://schemas.microsoft.com/office/drawing/2014/main" id="{B0593A6B-6DE3-4CEE-A721-EFC4EA956A1F}"/>
                </a:ext>
              </a:extLst>
            </p:cNvPr>
            <p:cNvSpPr/>
            <p:nvPr/>
          </p:nvSpPr>
          <p:spPr bwMode="auto">
            <a:xfrm>
              <a:off x="3155115" y="3454921"/>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7</a:t>
              </a:r>
            </a:p>
          </p:txBody>
        </p:sp>
        <p:sp>
          <p:nvSpPr>
            <p:cNvPr id="54" name="Oval 53">
              <a:extLst>
                <a:ext uri="{FF2B5EF4-FFF2-40B4-BE49-F238E27FC236}">
                  <a16:creationId xmlns:a16="http://schemas.microsoft.com/office/drawing/2014/main" id="{3873B859-B8D1-4FC9-82A9-99BD7A455A7C}"/>
                </a:ext>
              </a:extLst>
            </p:cNvPr>
            <p:cNvSpPr/>
            <p:nvPr/>
          </p:nvSpPr>
          <p:spPr bwMode="auto">
            <a:xfrm>
              <a:off x="2912343" y="3253920"/>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3</a:t>
              </a:r>
            </a:p>
          </p:txBody>
        </p:sp>
        <p:sp>
          <p:nvSpPr>
            <p:cNvPr id="55" name="Oval 54">
              <a:extLst>
                <a:ext uri="{FF2B5EF4-FFF2-40B4-BE49-F238E27FC236}">
                  <a16:creationId xmlns:a16="http://schemas.microsoft.com/office/drawing/2014/main" id="{A7835AF6-541F-42DF-A0EB-CE34B31237A6}"/>
                </a:ext>
              </a:extLst>
            </p:cNvPr>
            <p:cNvSpPr/>
            <p:nvPr/>
          </p:nvSpPr>
          <p:spPr bwMode="auto">
            <a:xfrm>
              <a:off x="2643853" y="3121785"/>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2</a:t>
              </a:r>
            </a:p>
          </p:txBody>
        </p:sp>
        <p:sp>
          <p:nvSpPr>
            <p:cNvPr id="56" name="Oval 55">
              <a:extLst>
                <a:ext uri="{FF2B5EF4-FFF2-40B4-BE49-F238E27FC236}">
                  <a16:creationId xmlns:a16="http://schemas.microsoft.com/office/drawing/2014/main" id="{411B3865-ACD6-412A-909F-9871B9991A1E}"/>
                </a:ext>
              </a:extLst>
            </p:cNvPr>
            <p:cNvSpPr/>
            <p:nvPr/>
          </p:nvSpPr>
          <p:spPr bwMode="auto">
            <a:xfrm>
              <a:off x="2333159" y="2914885"/>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5</a:t>
              </a:r>
            </a:p>
          </p:txBody>
        </p:sp>
        <p:sp>
          <p:nvSpPr>
            <p:cNvPr id="57" name="Oval 56">
              <a:extLst>
                <a:ext uri="{FF2B5EF4-FFF2-40B4-BE49-F238E27FC236}">
                  <a16:creationId xmlns:a16="http://schemas.microsoft.com/office/drawing/2014/main" id="{33AA475D-898B-49D3-81DF-4F9F9E5A0B8F}"/>
                </a:ext>
              </a:extLst>
            </p:cNvPr>
            <p:cNvSpPr/>
            <p:nvPr/>
          </p:nvSpPr>
          <p:spPr bwMode="auto">
            <a:xfrm>
              <a:off x="1522150" y="3746269"/>
              <a:ext cx="240685" cy="240685"/>
            </a:xfrm>
            <a:prstGeom prst="ellipse">
              <a:avLst/>
            </a:prstGeom>
            <a:solidFill>
              <a:srgbClr val="A100FF"/>
            </a:solidFill>
            <a:ln w="25400" cap="flat" cmpd="sng" algn="ctr">
              <a:noFill/>
              <a:prstDash val="solid"/>
            </a:ln>
            <a:effectLst/>
          </p:spPr>
          <p:txBody>
            <a:bodyPr lIns="0" tIns="36000" rIns="0" bIns="0" numCol="1" rtlCol="0" anchor="ct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raphik"/>
                  <a:ea typeface="+mn-ea"/>
                  <a:cs typeface="Arial" pitchFamily="34" charset="0"/>
                </a:rPr>
                <a:t>4</a:t>
              </a:r>
            </a:p>
          </p:txBody>
        </p:sp>
      </p:grpSp>
      <p:sp>
        <p:nvSpPr>
          <p:cNvPr id="58" name="Rectangle 57">
            <a:extLst>
              <a:ext uri="{FF2B5EF4-FFF2-40B4-BE49-F238E27FC236}">
                <a16:creationId xmlns:a16="http://schemas.microsoft.com/office/drawing/2014/main" id="{BDB967E3-170B-4E9A-BA39-1FDF01567BA4}"/>
              </a:ext>
            </a:extLst>
          </p:cNvPr>
          <p:cNvSpPr/>
          <p:nvPr/>
        </p:nvSpPr>
        <p:spPr>
          <a:xfrm>
            <a:off x="1242355" y="2019226"/>
            <a:ext cx="3738719" cy="1952028"/>
          </a:xfrm>
          <a:prstGeom prst="rect">
            <a:avLst/>
          </a:prstGeom>
          <a:noFill/>
          <a:ln w="19050" cap="flat" cmpd="sng" algn="ctr">
            <a:solidFill>
              <a:schemeClr val="accent1"/>
            </a:solidFill>
            <a:prstDash val="dash"/>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Graphik"/>
              <a:ea typeface="+mn-ea"/>
              <a:cs typeface="Arial" pitchFamily="34" charset="0"/>
            </a:endParaRPr>
          </a:p>
        </p:txBody>
      </p:sp>
      <p:sp>
        <p:nvSpPr>
          <p:cNvPr id="2" name="TextBox 1">
            <a:extLst>
              <a:ext uri="{FF2B5EF4-FFF2-40B4-BE49-F238E27FC236}">
                <a16:creationId xmlns:a16="http://schemas.microsoft.com/office/drawing/2014/main" id="{6289C067-841A-42B5-9F66-0E80A6E244DF}"/>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raphik"/>
                <a:ea typeface="+mn-ea"/>
                <a:cs typeface="+mn-cs"/>
              </a:rPr>
              <a:t>Process improvement initiatives should target areas with the greatest benefit, while managing resources to minimize required effort</a:t>
            </a:r>
          </a:p>
        </p:txBody>
      </p:sp>
      <p:sp>
        <p:nvSpPr>
          <p:cNvPr id="3" name="Rectangle 2">
            <a:hlinkClick r:id="rId3" action="ppaction://hlinksldjump"/>
            <a:extLst>
              <a:ext uri="{FF2B5EF4-FFF2-40B4-BE49-F238E27FC236}">
                <a16:creationId xmlns:a16="http://schemas.microsoft.com/office/drawing/2014/main" id="{BF64C00E-757C-4774-9DD6-8A321ACE619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98538123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Benefit Effort Matrix 6</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117" name="TextBox 116">
            <a:extLst>
              <a:ext uri="{FF2B5EF4-FFF2-40B4-BE49-F238E27FC236}">
                <a16:creationId xmlns:a16="http://schemas.microsoft.com/office/drawing/2014/main" id="{ACA349FB-E5A3-4D6F-9B19-1A7AFCD50FD5}"/>
              </a:ext>
            </a:extLst>
          </p:cNvPr>
          <p:cNvSpPr txBox="1"/>
          <p:nvPr/>
        </p:nvSpPr>
        <p:spPr>
          <a:xfrm>
            <a:off x="5922033" y="4334095"/>
            <a:ext cx="5933417" cy="759045"/>
          </a:xfrm>
          <a:prstGeom prst="rect">
            <a:avLst/>
          </a:prstGeom>
          <a:noFill/>
          <a:ln w="19050">
            <a:solidFill>
              <a:srgbClr val="DCAFFF"/>
            </a:solidFill>
          </a:ln>
        </p:spPr>
        <p:txBody>
          <a:bodyPr wrap="square"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Just Do It</a:t>
            </a:r>
          </a:p>
          <a:p>
            <a:pPr marL="180975" marR="0" lvl="0" indent="-180975" algn="l" defTabSz="914400" rtl="0" eaLnBrk="1" fontAlgn="auto" latinLnBrk="0" hangingPunct="1">
              <a:lnSpc>
                <a:spcPct val="100000"/>
              </a:lnSpc>
              <a:spcBef>
                <a:spcPct val="1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Low complexity projects where </a:t>
            </a:r>
            <a:r>
              <a:rPr kumimoji="0" lang="en-US" sz="1300" b="0" i="0" u="sng" strike="noStrike" kern="1200" cap="none" spc="0" normalizeH="0" baseline="0" noProof="0" dirty="0">
                <a:ln>
                  <a:noFill/>
                </a:ln>
                <a:solidFill>
                  <a:srgbClr val="000000"/>
                </a:solidFill>
                <a:effectLst/>
                <a:uLnTx/>
                <a:uFillTx/>
                <a:latin typeface="Arial" pitchFamily="34" charset="0"/>
                <a:ea typeface="+mn-ea"/>
                <a:cs typeface="Arial" pitchFamily="34" charset="0"/>
              </a:rPr>
              <a:t>known solution</a:t>
            </a: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 can be applied</a:t>
            </a:r>
          </a:p>
          <a:p>
            <a:pPr marL="180975" marR="0" lvl="0" indent="-180975" algn="l" defTabSz="914400" rtl="0" eaLnBrk="1" fontAlgn="auto" latinLnBrk="0" hangingPunct="1">
              <a:lnSpc>
                <a:spcPct val="100000"/>
              </a:lnSpc>
              <a:spcBef>
                <a:spcPct val="1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High bias for action and implementation</a:t>
            </a:r>
          </a:p>
        </p:txBody>
      </p:sp>
      <p:sp>
        <p:nvSpPr>
          <p:cNvPr id="118" name="TextBox 117">
            <a:extLst>
              <a:ext uri="{FF2B5EF4-FFF2-40B4-BE49-F238E27FC236}">
                <a16:creationId xmlns:a16="http://schemas.microsoft.com/office/drawing/2014/main" id="{6C3CEE31-384E-42C2-9032-905BF711B00D}"/>
              </a:ext>
            </a:extLst>
          </p:cNvPr>
          <p:cNvSpPr txBox="1"/>
          <p:nvPr/>
        </p:nvSpPr>
        <p:spPr>
          <a:xfrm>
            <a:off x="5922033" y="1583076"/>
            <a:ext cx="5933417" cy="1179160"/>
          </a:xfrm>
          <a:prstGeom prst="rect">
            <a:avLst/>
          </a:prstGeom>
          <a:noFill/>
          <a:ln w="19050">
            <a:solidFill>
              <a:srgbClr val="96968C">
                <a:lumMod val="60000"/>
                <a:lumOff val="40000"/>
              </a:srgbClr>
            </a:solidFill>
          </a:ln>
        </p:spPr>
        <p:txBody>
          <a:bodyPr wrap="square"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Strategic Initiatives</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Network-wide, unbounded, systemic business issues</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Require the use of hypothesis-driven analysis to drive insights that lead to recommendations</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Significant execution effort (time, FTE)</a:t>
            </a:r>
          </a:p>
        </p:txBody>
      </p:sp>
      <p:sp>
        <p:nvSpPr>
          <p:cNvPr id="119" name="TextBox 118">
            <a:extLst>
              <a:ext uri="{FF2B5EF4-FFF2-40B4-BE49-F238E27FC236}">
                <a16:creationId xmlns:a16="http://schemas.microsoft.com/office/drawing/2014/main" id="{41862BFE-019A-429C-904E-EA661082F12B}"/>
              </a:ext>
            </a:extLst>
          </p:cNvPr>
          <p:cNvSpPr txBox="1"/>
          <p:nvPr/>
        </p:nvSpPr>
        <p:spPr>
          <a:xfrm>
            <a:off x="5922033" y="3050149"/>
            <a:ext cx="5933417" cy="996033"/>
          </a:xfrm>
          <a:prstGeom prst="rect">
            <a:avLst/>
          </a:prstGeom>
          <a:noFill/>
          <a:ln w="19050">
            <a:solidFill>
              <a:schemeClr val="accent1"/>
            </a:solidFill>
          </a:ln>
        </p:spPr>
        <p:txBody>
          <a:bodyPr wrap="square"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rocess Improvement Projects</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omplex projects where root cause of problem is not fully understood</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horough measurement and analysis prior to implementation</a:t>
            </a:r>
          </a:p>
          <a:p>
            <a:pPr marL="180975" marR="0" lvl="0" indent="-180975" algn="l" defTabSz="914400" rtl="0" eaLnBrk="1" fontAlgn="auto" latinLnBrk="0" hangingPunct="1">
              <a:lnSpc>
                <a:spcPct val="100000"/>
              </a:lnSpc>
              <a:spcBef>
                <a:spcPct val="10000"/>
              </a:spcBef>
              <a:spcAft>
                <a:spcPts val="0"/>
              </a:spcAft>
              <a:buClrTx/>
              <a:buSzTx/>
              <a:buFontTx/>
              <a:buChar char="•"/>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ypical 1 to 4 month project </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duration</a:t>
            </a:r>
          </a:p>
        </p:txBody>
      </p:sp>
      <p:sp>
        <p:nvSpPr>
          <p:cNvPr id="120" name="TextBox 119">
            <a:extLst>
              <a:ext uri="{FF2B5EF4-FFF2-40B4-BE49-F238E27FC236}">
                <a16:creationId xmlns:a16="http://schemas.microsoft.com/office/drawing/2014/main" id="{1CCAE691-9F8F-4BDC-B8AE-8B7ABA93B585}"/>
              </a:ext>
            </a:extLst>
          </p:cNvPr>
          <p:cNvSpPr txBox="1"/>
          <p:nvPr/>
        </p:nvSpPr>
        <p:spPr>
          <a:xfrm>
            <a:off x="5922033" y="5381052"/>
            <a:ext cx="5933417" cy="759045"/>
          </a:xfrm>
          <a:prstGeom prst="rect">
            <a:avLst/>
          </a:prstGeom>
          <a:noFill/>
          <a:ln w="19050">
            <a:solidFill>
              <a:schemeClr val="accent1">
                <a:lumMod val="40000"/>
                <a:lumOff val="60000"/>
              </a:schemeClr>
            </a:solidFill>
          </a:ln>
        </p:spPr>
        <p:txBody>
          <a:bodyPr wrap="square"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Not Worth It</a:t>
            </a:r>
          </a:p>
          <a:p>
            <a:pPr marL="180975" marR="0" lvl="0" indent="-180975" algn="l" defTabSz="914400" rtl="0" eaLnBrk="1" fontAlgn="auto" latinLnBrk="0" hangingPunct="1">
              <a:lnSpc>
                <a:spcPct val="100000"/>
              </a:lnSpc>
              <a:spcBef>
                <a:spcPct val="1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enefits don’t outweigh costs</a:t>
            </a:r>
          </a:p>
          <a:p>
            <a:pPr marL="180975" marR="0" lvl="0" indent="-180975" algn="l" defTabSz="914400" rtl="0" eaLnBrk="1" fontAlgn="auto" latinLnBrk="0" hangingPunct="1">
              <a:lnSpc>
                <a:spcPct val="100000"/>
              </a:lnSpc>
              <a:spcBef>
                <a:spcPct val="1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Limited opportunity for improvement</a:t>
            </a:r>
          </a:p>
        </p:txBody>
      </p:sp>
      <p:sp>
        <p:nvSpPr>
          <p:cNvPr id="121" name="Rectangle 7">
            <a:extLst>
              <a:ext uri="{FF2B5EF4-FFF2-40B4-BE49-F238E27FC236}">
                <a16:creationId xmlns:a16="http://schemas.microsoft.com/office/drawing/2014/main" id="{F8BE874E-FCCE-4359-BC32-71EF8C320B8A}"/>
              </a:ext>
            </a:extLst>
          </p:cNvPr>
          <p:cNvSpPr>
            <a:spLocks noChangeArrowheads="1"/>
          </p:cNvSpPr>
          <p:nvPr/>
        </p:nvSpPr>
        <p:spPr bwMode="auto">
          <a:xfrm>
            <a:off x="938463" y="2150437"/>
            <a:ext cx="3874759" cy="3524485"/>
          </a:xfrm>
          <a:prstGeom prst="rect">
            <a:avLst/>
          </a:prstGeom>
          <a:solidFill>
            <a:srgbClr val="BE82FF">
              <a:lumMod val="20000"/>
              <a:lumOff val="80000"/>
            </a:srgbClr>
          </a:solidFill>
          <a:ln w="6350" algn="ctr">
            <a:solidFill>
              <a:srgbClr val="96968C">
                <a:lumMod val="40000"/>
                <a:lumOff val="60000"/>
              </a:srgbClr>
            </a:solid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2800" b="1" i="0" u="none" strike="noStrike" kern="0" cap="none" spc="0" normalizeH="0" baseline="0" noProof="0" dirty="0">
              <a:ln>
                <a:noFill/>
              </a:ln>
              <a:solidFill>
                <a:srgbClr val="000000"/>
              </a:solidFill>
              <a:effectLst/>
              <a:uLnTx/>
              <a:uFillTx/>
              <a:latin typeface="Graphik"/>
              <a:ea typeface="+mn-ea"/>
              <a:cs typeface="+mn-cs"/>
            </a:endParaRPr>
          </a:p>
        </p:txBody>
      </p:sp>
      <p:sp>
        <p:nvSpPr>
          <p:cNvPr id="122" name="AutoShape 8">
            <a:extLst>
              <a:ext uri="{FF2B5EF4-FFF2-40B4-BE49-F238E27FC236}">
                <a16:creationId xmlns:a16="http://schemas.microsoft.com/office/drawing/2014/main" id="{31E5281D-411F-4D80-8226-C01BAEAA75F1}"/>
              </a:ext>
            </a:extLst>
          </p:cNvPr>
          <p:cNvSpPr>
            <a:spLocks noChangeArrowheads="1"/>
          </p:cNvSpPr>
          <p:nvPr/>
        </p:nvSpPr>
        <p:spPr bwMode="auto">
          <a:xfrm rot="5400000">
            <a:off x="247521" y="2854006"/>
            <a:ext cx="3483544" cy="2077778"/>
          </a:xfrm>
          <a:prstGeom prst="rtTriangle">
            <a:avLst/>
          </a:prstGeom>
          <a:solidFill>
            <a:srgbClr val="A100FF">
              <a:lumMod val="60000"/>
              <a:lumOff val="40000"/>
            </a:srgbClr>
          </a:solidFill>
          <a:ln w="3175" algn="ctr">
            <a:noFill/>
            <a:miter lim="800000"/>
            <a:headEnd/>
            <a:tailEnd/>
          </a:ln>
        </p:spPr>
        <p:txBody>
          <a:bodyPr rot="10800000" vert="eaVert"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23" name="AutoShape 9">
            <a:extLst>
              <a:ext uri="{FF2B5EF4-FFF2-40B4-BE49-F238E27FC236}">
                <a16:creationId xmlns:a16="http://schemas.microsoft.com/office/drawing/2014/main" id="{C7F06588-C0C3-4534-BF1A-A2B6958B4F22}"/>
              </a:ext>
            </a:extLst>
          </p:cNvPr>
          <p:cNvSpPr>
            <a:spLocks noChangeArrowheads="1"/>
          </p:cNvSpPr>
          <p:nvPr/>
        </p:nvSpPr>
        <p:spPr bwMode="auto">
          <a:xfrm flipH="1">
            <a:off x="952605" y="3940915"/>
            <a:ext cx="3860618" cy="1734006"/>
          </a:xfrm>
          <a:prstGeom prst="rtTriangle">
            <a:avLst/>
          </a:prstGeom>
          <a:solidFill>
            <a:srgbClr val="A100FF">
              <a:lumMod val="40000"/>
              <a:lumOff val="60000"/>
            </a:srgbClr>
          </a:solidFill>
          <a:ln w="3175" algn="ctr">
            <a:noFill/>
            <a:miter lim="800000"/>
            <a:headEnd/>
            <a:tailEnd/>
          </a:ln>
        </p:spPr>
        <p:txBody>
          <a:bodyPr wrap="none" anchor="ctr"/>
          <a:lstStyle/>
          <a:p>
            <a:pPr marL="0" marR="0" lvl="0" indent="0" algn="ctr"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24" name="Line 20">
            <a:extLst>
              <a:ext uri="{FF2B5EF4-FFF2-40B4-BE49-F238E27FC236}">
                <a16:creationId xmlns:a16="http://schemas.microsoft.com/office/drawing/2014/main" id="{61F1CBAF-0434-4D96-A87A-9764A61A3167}"/>
              </a:ext>
            </a:extLst>
          </p:cNvPr>
          <p:cNvSpPr>
            <a:spLocks noChangeShapeType="1"/>
          </p:cNvSpPr>
          <p:nvPr/>
        </p:nvSpPr>
        <p:spPr bwMode="auto">
          <a:xfrm flipV="1">
            <a:off x="2255619" y="2150437"/>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25" name="Line 22">
            <a:extLst>
              <a:ext uri="{FF2B5EF4-FFF2-40B4-BE49-F238E27FC236}">
                <a16:creationId xmlns:a16="http://schemas.microsoft.com/office/drawing/2014/main" id="{677CA3DB-5111-4634-AC44-135277ED067D}"/>
              </a:ext>
            </a:extLst>
          </p:cNvPr>
          <p:cNvSpPr>
            <a:spLocks noChangeShapeType="1"/>
          </p:cNvSpPr>
          <p:nvPr/>
        </p:nvSpPr>
        <p:spPr bwMode="auto">
          <a:xfrm flipV="1">
            <a:off x="3546893" y="2150437"/>
            <a:ext cx="0" cy="3524484"/>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grpSp>
        <p:nvGrpSpPr>
          <p:cNvPr id="126" name="Group 125">
            <a:extLst>
              <a:ext uri="{FF2B5EF4-FFF2-40B4-BE49-F238E27FC236}">
                <a16:creationId xmlns:a16="http://schemas.microsoft.com/office/drawing/2014/main" id="{566C4ABF-A974-4329-9C89-33C744C403CF}"/>
              </a:ext>
            </a:extLst>
          </p:cNvPr>
          <p:cNvGrpSpPr/>
          <p:nvPr/>
        </p:nvGrpSpPr>
        <p:grpSpPr>
          <a:xfrm>
            <a:off x="935288" y="3429154"/>
            <a:ext cx="3876467" cy="1097611"/>
            <a:chOff x="911308" y="3429154"/>
            <a:chExt cx="3900448" cy="1097611"/>
          </a:xfrm>
        </p:grpSpPr>
        <p:sp>
          <p:nvSpPr>
            <p:cNvPr id="127" name="Line 21">
              <a:extLst>
                <a:ext uri="{FF2B5EF4-FFF2-40B4-BE49-F238E27FC236}">
                  <a16:creationId xmlns:a16="http://schemas.microsoft.com/office/drawing/2014/main" id="{10331AA7-0BE2-4FDF-9763-3CD8161E8803}"/>
                </a:ext>
              </a:extLst>
            </p:cNvPr>
            <p:cNvSpPr>
              <a:spLocks noChangeShapeType="1"/>
            </p:cNvSpPr>
            <p:nvPr/>
          </p:nvSpPr>
          <p:spPr bwMode="auto">
            <a:xfrm>
              <a:off x="911308" y="3429154"/>
              <a:ext cx="3869632"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sp>
          <p:nvSpPr>
            <p:cNvPr id="128" name="Line 23">
              <a:extLst>
                <a:ext uri="{FF2B5EF4-FFF2-40B4-BE49-F238E27FC236}">
                  <a16:creationId xmlns:a16="http://schemas.microsoft.com/office/drawing/2014/main" id="{9C4D7996-A0F8-4E4A-9B68-BF1202E56BD5}"/>
                </a:ext>
              </a:extLst>
            </p:cNvPr>
            <p:cNvSpPr>
              <a:spLocks noChangeShapeType="1"/>
            </p:cNvSpPr>
            <p:nvPr/>
          </p:nvSpPr>
          <p:spPr bwMode="auto">
            <a:xfrm>
              <a:off x="911308" y="4526765"/>
              <a:ext cx="3900448" cy="0"/>
            </a:xfrm>
            <a:prstGeom prst="line">
              <a:avLst/>
            </a:prstGeom>
            <a:noFill/>
            <a:ln w="6350">
              <a:solidFill>
                <a:srgbClr val="96968C">
                  <a:lumMod val="40000"/>
                  <a:lumOff val="60000"/>
                </a:srgbClr>
              </a:solidFill>
              <a:prstDash val="solid"/>
              <a:round/>
              <a:headEnd/>
              <a:tailEnd/>
            </a:ln>
          </p:spPr>
          <p:txBody>
            <a:bodyPr wrap="none"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29" name="Group 65">
            <a:extLst>
              <a:ext uri="{FF2B5EF4-FFF2-40B4-BE49-F238E27FC236}">
                <a16:creationId xmlns:a16="http://schemas.microsoft.com/office/drawing/2014/main" id="{58E886AB-9DD9-49BF-90B8-E8E0F10EA448}"/>
              </a:ext>
            </a:extLst>
          </p:cNvPr>
          <p:cNvGrpSpPr/>
          <p:nvPr/>
        </p:nvGrpSpPr>
        <p:grpSpPr bwMode="auto">
          <a:xfrm>
            <a:off x="637044" y="1926753"/>
            <a:ext cx="4520570" cy="4007664"/>
            <a:chOff x="902188" y="1709192"/>
            <a:chExt cx="4520570" cy="4007664"/>
          </a:xfrm>
        </p:grpSpPr>
        <p:sp>
          <p:nvSpPr>
            <p:cNvPr id="130" name="Text Box 11">
              <a:extLst>
                <a:ext uri="{FF2B5EF4-FFF2-40B4-BE49-F238E27FC236}">
                  <a16:creationId xmlns:a16="http://schemas.microsoft.com/office/drawing/2014/main" id="{AA6EDCAE-3E2C-4E65-B07E-548533042FAE}"/>
                </a:ext>
              </a:extLst>
            </p:cNvPr>
            <p:cNvSpPr txBox="1">
              <a:spLocks noChangeArrowheads="1"/>
            </p:cNvSpPr>
            <p:nvPr/>
          </p:nvSpPr>
          <p:spPr bwMode="auto">
            <a:xfrm rot="16200000">
              <a:off x="-683541" y="3669335"/>
              <a:ext cx="3319191" cy="147733"/>
            </a:xfrm>
            <a:prstGeom prst="rect">
              <a:avLst/>
            </a:prstGeom>
            <a:noFill/>
            <a:ln w="12700">
              <a:noFill/>
              <a:miter lim="800000"/>
              <a:headEnd/>
              <a:tailEnd/>
            </a:ln>
          </p:spPr>
          <p:txBody>
            <a:bodyPr wrap="square"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Business Benefit</a:t>
              </a:r>
            </a:p>
          </p:txBody>
        </p:sp>
        <p:sp>
          <p:nvSpPr>
            <p:cNvPr id="131" name="Text Box 11">
              <a:extLst>
                <a:ext uri="{FF2B5EF4-FFF2-40B4-BE49-F238E27FC236}">
                  <a16:creationId xmlns:a16="http://schemas.microsoft.com/office/drawing/2014/main" id="{772F7F0C-C3B0-4791-BAB3-436BB4201330}"/>
                </a:ext>
              </a:extLst>
            </p:cNvPr>
            <p:cNvSpPr txBox="1">
              <a:spLocks noChangeArrowheads="1"/>
            </p:cNvSpPr>
            <p:nvPr/>
          </p:nvSpPr>
          <p:spPr bwMode="auto">
            <a:xfrm>
              <a:off x="2683107" y="5569123"/>
              <a:ext cx="1089902" cy="147733"/>
            </a:xfrm>
            <a:prstGeom prst="rect">
              <a:avLst/>
            </a:prstGeom>
            <a:noFill/>
            <a:ln w="12700">
              <a:noFill/>
              <a:miter lim="800000"/>
              <a:headEnd/>
              <a:tailEnd/>
            </a:ln>
          </p:spPr>
          <p:txBody>
            <a:bodyPr lIns="0" tIns="0" rIns="0" bIns="0">
              <a:spAutoFit/>
            </a:bodyPr>
            <a:lstStyle/>
            <a:p>
              <a:pPr marL="0" marR="0" lvl="0" indent="0" algn="ctr" defTabSz="914400" rtl="0" eaLnBrk="0" fontAlgn="base" latinLnBrk="0" hangingPunct="0">
                <a:lnSpc>
                  <a:spcPct val="8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Effort</a:t>
              </a:r>
            </a:p>
          </p:txBody>
        </p:sp>
        <p:sp>
          <p:nvSpPr>
            <p:cNvPr id="132" name="Line 28">
              <a:extLst>
                <a:ext uri="{FF2B5EF4-FFF2-40B4-BE49-F238E27FC236}">
                  <a16:creationId xmlns:a16="http://schemas.microsoft.com/office/drawing/2014/main" id="{4A171644-17B3-4D51-99AA-52E06A243F0B}"/>
                </a:ext>
              </a:extLst>
            </p:cNvPr>
            <p:cNvSpPr>
              <a:spLocks noChangeShapeType="1"/>
            </p:cNvSpPr>
            <p:nvPr/>
          </p:nvSpPr>
          <p:spPr bwMode="auto">
            <a:xfrm>
              <a:off x="1207248" y="5457361"/>
              <a:ext cx="4215510" cy="0"/>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sp>
          <p:nvSpPr>
            <p:cNvPr id="133" name="Line 28">
              <a:extLst>
                <a:ext uri="{FF2B5EF4-FFF2-40B4-BE49-F238E27FC236}">
                  <a16:creationId xmlns:a16="http://schemas.microsoft.com/office/drawing/2014/main" id="{AB291E3A-74C6-48EB-A1C1-71683CAE8FFA}"/>
                </a:ext>
              </a:extLst>
            </p:cNvPr>
            <p:cNvSpPr>
              <a:spLocks noChangeShapeType="1"/>
            </p:cNvSpPr>
            <p:nvPr/>
          </p:nvSpPr>
          <p:spPr bwMode="auto">
            <a:xfrm flipV="1">
              <a:off x="1212548" y="1709192"/>
              <a:ext cx="0" cy="3748168"/>
            </a:xfrm>
            <a:prstGeom prst="line">
              <a:avLst/>
            </a:prstGeom>
            <a:noFill/>
            <a:ln w="6350">
              <a:solidFill>
                <a:srgbClr val="000000"/>
              </a:solidFill>
              <a:round/>
              <a:headEnd type="none" w="med" len="med"/>
              <a:tailEnd type="triangle" w="med" len="med"/>
            </a:ln>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Graphik"/>
                <a:ea typeface="+mn-ea"/>
                <a:cs typeface="+mn-cs"/>
              </a:endParaRPr>
            </a:p>
          </p:txBody>
        </p:sp>
      </p:grpSp>
      <p:cxnSp>
        <p:nvCxnSpPr>
          <p:cNvPr id="134" name="Straight Connector 143">
            <a:extLst>
              <a:ext uri="{FF2B5EF4-FFF2-40B4-BE49-F238E27FC236}">
                <a16:creationId xmlns:a16="http://schemas.microsoft.com/office/drawing/2014/main" id="{4322FE87-D9C0-46B1-97FC-076FBE82FE52}"/>
              </a:ext>
            </a:extLst>
          </p:cNvPr>
          <p:cNvCxnSpPr>
            <a:cxnSpLocks noChangeShapeType="1"/>
          </p:cNvCxnSpPr>
          <p:nvPr/>
        </p:nvCxnSpPr>
        <p:spPr bwMode="auto">
          <a:xfrm rot="10800000" flipH="1">
            <a:off x="992336" y="2150436"/>
            <a:ext cx="3805106" cy="3544574"/>
          </a:xfrm>
          <a:prstGeom prst="line">
            <a:avLst/>
          </a:prstGeom>
          <a:noFill/>
          <a:ln w="19050" algn="ctr">
            <a:solidFill>
              <a:srgbClr val="A100FF"/>
            </a:solidFill>
            <a:prstDash val="dash"/>
            <a:round/>
            <a:headEnd/>
            <a:tailEnd/>
          </a:ln>
        </p:spPr>
      </p:cxnSp>
      <p:sp>
        <p:nvSpPr>
          <p:cNvPr id="135" name="Rectangle 194">
            <a:extLst>
              <a:ext uri="{FF2B5EF4-FFF2-40B4-BE49-F238E27FC236}">
                <a16:creationId xmlns:a16="http://schemas.microsoft.com/office/drawing/2014/main" id="{CB00FDEF-A541-4BAE-AF32-9D67C10607AA}"/>
              </a:ext>
            </a:extLst>
          </p:cNvPr>
          <p:cNvSpPr>
            <a:spLocks noChangeArrowheads="1"/>
          </p:cNvSpPr>
          <p:nvPr/>
        </p:nvSpPr>
        <p:spPr bwMode="auto">
          <a:xfrm>
            <a:off x="1019276" y="2172656"/>
            <a:ext cx="433378" cy="3489015"/>
          </a:xfrm>
          <a:prstGeom prst="rect">
            <a:avLst/>
          </a:prstGeom>
          <a:noFill/>
          <a:ln w="28575" algn="ctr">
            <a:solidFill>
              <a:srgbClr val="DCAFFF"/>
            </a:solidFill>
            <a:prstDash val="sysDash"/>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6" name="Isosceles Triangle 208">
            <a:extLst>
              <a:ext uri="{FF2B5EF4-FFF2-40B4-BE49-F238E27FC236}">
                <a16:creationId xmlns:a16="http://schemas.microsoft.com/office/drawing/2014/main" id="{B54707D7-7EED-4F50-80AC-6605F48AB109}"/>
              </a:ext>
            </a:extLst>
          </p:cNvPr>
          <p:cNvSpPr>
            <a:spLocks noChangeArrowheads="1"/>
          </p:cNvSpPr>
          <p:nvPr/>
        </p:nvSpPr>
        <p:spPr bwMode="auto">
          <a:xfrm rot="5400000">
            <a:off x="1619435" y="2105883"/>
            <a:ext cx="2922328" cy="3100320"/>
          </a:xfrm>
          <a:prstGeom prst="triangle">
            <a:avLst>
              <a:gd name="adj" fmla="val 0"/>
            </a:avLst>
          </a:prstGeom>
          <a:noFill/>
          <a:ln w="28575" algn="ctr">
            <a:solidFill>
              <a:schemeClr val="accent1"/>
            </a:solidFill>
            <a:prstDash val="sysDash"/>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137" name="Group 136">
            <a:extLst>
              <a:ext uri="{FF2B5EF4-FFF2-40B4-BE49-F238E27FC236}">
                <a16:creationId xmlns:a16="http://schemas.microsoft.com/office/drawing/2014/main" id="{F340FB2E-95E4-4B85-A644-D9CD7772FCE0}"/>
              </a:ext>
            </a:extLst>
          </p:cNvPr>
          <p:cNvGrpSpPr/>
          <p:nvPr/>
        </p:nvGrpSpPr>
        <p:grpSpPr>
          <a:xfrm>
            <a:off x="1019276" y="2250437"/>
            <a:ext cx="3663922" cy="3263671"/>
            <a:chOff x="1019276" y="2250437"/>
            <a:chExt cx="3663922" cy="3263671"/>
          </a:xfrm>
        </p:grpSpPr>
        <p:sp>
          <p:nvSpPr>
            <p:cNvPr id="138" name="Oval 160">
              <a:extLst>
                <a:ext uri="{FF2B5EF4-FFF2-40B4-BE49-F238E27FC236}">
                  <a16:creationId xmlns:a16="http://schemas.microsoft.com/office/drawing/2014/main" id="{82AF7B12-FB0F-4342-AC57-DC2D67438243}"/>
                </a:ext>
              </a:extLst>
            </p:cNvPr>
            <p:cNvSpPr>
              <a:spLocks noChangeAspect="1" noChangeArrowheads="1"/>
            </p:cNvSpPr>
            <p:nvPr/>
          </p:nvSpPr>
          <p:spPr bwMode="auto">
            <a:xfrm>
              <a:off x="3919574" y="2305995"/>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39" name="Oval 161">
              <a:extLst>
                <a:ext uri="{FF2B5EF4-FFF2-40B4-BE49-F238E27FC236}">
                  <a16:creationId xmlns:a16="http://schemas.microsoft.com/office/drawing/2014/main" id="{0CB8528E-A206-498A-949F-1EAECF879F00}"/>
                </a:ext>
              </a:extLst>
            </p:cNvPr>
            <p:cNvSpPr>
              <a:spLocks noChangeAspect="1" noChangeArrowheads="1"/>
            </p:cNvSpPr>
            <p:nvPr/>
          </p:nvSpPr>
          <p:spPr bwMode="auto">
            <a:xfrm>
              <a:off x="3463972" y="2628229"/>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0" name="Oval 162">
              <a:extLst>
                <a:ext uri="{FF2B5EF4-FFF2-40B4-BE49-F238E27FC236}">
                  <a16:creationId xmlns:a16="http://schemas.microsoft.com/office/drawing/2014/main" id="{4DD5DD5A-6C2B-4C47-BB34-D0C9364B57F7}"/>
                </a:ext>
              </a:extLst>
            </p:cNvPr>
            <p:cNvSpPr>
              <a:spLocks noChangeAspect="1" noChangeArrowheads="1"/>
            </p:cNvSpPr>
            <p:nvPr/>
          </p:nvSpPr>
          <p:spPr bwMode="auto">
            <a:xfrm>
              <a:off x="2808349" y="2261549"/>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1" name="Oval 163">
              <a:extLst>
                <a:ext uri="{FF2B5EF4-FFF2-40B4-BE49-F238E27FC236}">
                  <a16:creationId xmlns:a16="http://schemas.microsoft.com/office/drawing/2014/main" id="{0E6B2CE6-36D9-476A-9A42-04A71DDECC7D}"/>
                </a:ext>
              </a:extLst>
            </p:cNvPr>
            <p:cNvSpPr>
              <a:spLocks noChangeAspect="1" noChangeArrowheads="1"/>
            </p:cNvSpPr>
            <p:nvPr/>
          </p:nvSpPr>
          <p:spPr bwMode="auto">
            <a:xfrm>
              <a:off x="2519430" y="2317107"/>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2" name="Oval 164">
              <a:extLst>
                <a:ext uri="{FF2B5EF4-FFF2-40B4-BE49-F238E27FC236}">
                  <a16:creationId xmlns:a16="http://schemas.microsoft.com/office/drawing/2014/main" id="{152B5E3F-1447-43F9-B44B-4DDA253A9219}"/>
                </a:ext>
              </a:extLst>
            </p:cNvPr>
            <p:cNvSpPr>
              <a:spLocks noChangeAspect="1" noChangeArrowheads="1"/>
            </p:cNvSpPr>
            <p:nvPr/>
          </p:nvSpPr>
          <p:spPr bwMode="auto">
            <a:xfrm>
              <a:off x="3052818" y="249489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3" name="Oval 165">
              <a:extLst>
                <a:ext uri="{FF2B5EF4-FFF2-40B4-BE49-F238E27FC236}">
                  <a16:creationId xmlns:a16="http://schemas.microsoft.com/office/drawing/2014/main" id="{9CB33290-BA64-46AA-9E55-998DC8DDF664}"/>
                </a:ext>
              </a:extLst>
            </p:cNvPr>
            <p:cNvSpPr>
              <a:spLocks noChangeAspect="1" noChangeArrowheads="1"/>
            </p:cNvSpPr>
            <p:nvPr/>
          </p:nvSpPr>
          <p:spPr bwMode="auto">
            <a:xfrm>
              <a:off x="2763899" y="2728233"/>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4" name="Oval 166">
              <a:extLst>
                <a:ext uri="{FF2B5EF4-FFF2-40B4-BE49-F238E27FC236}">
                  <a16:creationId xmlns:a16="http://schemas.microsoft.com/office/drawing/2014/main" id="{9691A6E9-ADD2-4528-961A-D6E0DE048DF2}"/>
                </a:ext>
              </a:extLst>
            </p:cNvPr>
            <p:cNvSpPr>
              <a:spLocks noChangeAspect="1" noChangeArrowheads="1"/>
            </p:cNvSpPr>
            <p:nvPr/>
          </p:nvSpPr>
          <p:spPr bwMode="auto">
            <a:xfrm>
              <a:off x="2041603" y="239488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5" name="Oval 167">
              <a:extLst>
                <a:ext uri="{FF2B5EF4-FFF2-40B4-BE49-F238E27FC236}">
                  <a16:creationId xmlns:a16="http://schemas.microsoft.com/office/drawing/2014/main" id="{2967529E-9EFE-48B1-BC33-4FCF3F327CFC}"/>
                </a:ext>
              </a:extLst>
            </p:cNvPr>
            <p:cNvSpPr>
              <a:spLocks noChangeAspect="1" noChangeArrowheads="1"/>
            </p:cNvSpPr>
            <p:nvPr/>
          </p:nvSpPr>
          <p:spPr bwMode="auto">
            <a:xfrm>
              <a:off x="1663786" y="2739344"/>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6" name="Oval 168">
              <a:extLst>
                <a:ext uri="{FF2B5EF4-FFF2-40B4-BE49-F238E27FC236}">
                  <a16:creationId xmlns:a16="http://schemas.microsoft.com/office/drawing/2014/main" id="{BAD72C73-FC79-4FF3-BFCC-4AD1C48C3FFC}"/>
                </a:ext>
              </a:extLst>
            </p:cNvPr>
            <p:cNvSpPr>
              <a:spLocks noChangeAspect="1" noChangeArrowheads="1"/>
            </p:cNvSpPr>
            <p:nvPr/>
          </p:nvSpPr>
          <p:spPr bwMode="auto">
            <a:xfrm>
              <a:off x="3363962" y="3061579"/>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7" name="Oval 169">
              <a:extLst>
                <a:ext uri="{FF2B5EF4-FFF2-40B4-BE49-F238E27FC236}">
                  <a16:creationId xmlns:a16="http://schemas.microsoft.com/office/drawing/2014/main" id="{B83B1009-DDA9-4F96-83CE-EECA2326F947}"/>
                </a:ext>
              </a:extLst>
            </p:cNvPr>
            <p:cNvSpPr>
              <a:spLocks noChangeAspect="1" noChangeArrowheads="1"/>
            </p:cNvSpPr>
            <p:nvPr/>
          </p:nvSpPr>
          <p:spPr bwMode="auto">
            <a:xfrm>
              <a:off x="3075043" y="3194916"/>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8" name="Oval 170">
              <a:extLst>
                <a:ext uri="{FF2B5EF4-FFF2-40B4-BE49-F238E27FC236}">
                  <a16:creationId xmlns:a16="http://schemas.microsoft.com/office/drawing/2014/main" id="{0BAD728D-422C-4053-8396-A8B3C4D8ED0E}"/>
                </a:ext>
              </a:extLst>
            </p:cNvPr>
            <p:cNvSpPr>
              <a:spLocks noChangeAspect="1" noChangeArrowheads="1"/>
            </p:cNvSpPr>
            <p:nvPr/>
          </p:nvSpPr>
          <p:spPr bwMode="auto">
            <a:xfrm>
              <a:off x="2352746" y="3550484"/>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49" name="Oval 171">
              <a:extLst>
                <a:ext uri="{FF2B5EF4-FFF2-40B4-BE49-F238E27FC236}">
                  <a16:creationId xmlns:a16="http://schemas.microsoft.com/office/drawing/2014/main" id="{802C94FC-F603-422B-8EA4-8AD39D0C57DB}"/>
                </a:ext>
              </a:extLst>
            </p:cNvPr>
            <p:cNvSpPr>
              <a:spLocks noChangeAspect="1" noChangeArrowheads="1"/>
            </p:cNvSpPr>
            <p:nvPr/>
          </p:nvSpPr>
          <p:spPr bwMode="auto">
            <a:xfrm>
              <a:off x="2286072" y="283934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0" name="Oval 172">
              <a:extLst>
                <a:ext uri="{FF2B5EF4-FFF2-40B4-BE49-F238E27FC236}">
                  <a16:creationId xmlns:a16="http://schemas.microsoft.com/office/drawing/2014/main" id="{97885243-F950-403E-876B-8F955233477D}"/>
                </a:ext>
              </a:extLst>
            </p:cNvPr>
            <p:cNvSpPr>
              <a:spLocks noChangeAspect="1" noChangeArrowheads="1"/>
            </p:cNvSpPr>
            <p:nvPr/>
          </p:nvSpPr>
          <p:spPr bwMode="auto">
            <a:xfrm>
              <a:off x="1074837" y="401716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1" name="Oval 173">
              <a:extLst>
                <a:ext uri="{FF2B5EF4-FFF2-40B4-BE49-F238E27FC236}">
                  <a16:creationId xmlns:a16="http://schemas.microsoft.com/office/drawing/2014/main" id="{B316AA1A-D44B-450A-B38E-57A95A597781}"/>
                </a:ext>
              </a:extLst>
            </p:cNvPr>
            <p:cNvSpPr>
              <a:spLocks noChangeAspect="1" noChangeArrowheads="1"/>
            </p:cNvSpPr>
            <p:nvPr/>
          </p:nvSpPr>
          <p:spPr bwMode="auto">
            <a:xfrm>
              <a:off x="1019276" y="5150543"/>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2" name="Oval 174">
              <a:extLst>
                <a:ext uri="{FF2B5EF4-FFF2-40B4-BE49-F238E27FC236}">
                  <a16:creationId xmlns:a16="http://schemas.microsoft.com/office/drawing/2014/main" id="{AC9E25A6-E76A-4593-A3FA-8AB4633A1B09}"/>
                </a:ext>
              </a:extLst>
            </p:cNvPr>
            <p:cNvSpPr>
              <a:spLocks noChangeAspect="1" noChangeArrowheads="1"/>
            </p:cNvSpPr>
            <p:nvPr/>
          </p:nvSpPr>
          <p:spPr bwMode="auto">
            <a:xfrm>
              <a:off x="1230408" y="5239435"/>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3" name="Oval 175">
              <a:extLst>
                <a:ext uri="{FF2B5EF4-FFF2-40B4-BE49-F238E27FC236}">
                  <a16:creationId xmlns:a16="http://schemas.microsoft.com/office/drawing/2014/main" id="{B90EBEC4-896F-472C-BBA3-FBE3456373D0}"/>
                </a:ext>
              </a:extLst>
            </p:cNvPr>
            <p:cNvSpPr>
              <a:spLocks noChangeAspect="1" noChangeArrowheads="1"/>
            </p:cNvSpPr>
            <p:nvPr/>
          </p:nvSpPr>
          <p:spPr bwMode="auto">
            <a:xfrm>
              <a:off x="2530542" y="528388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4" name="Oval 176">
              <a:extLst>
                <a:ext uri="{FF2B5EF4-FFF2-40B4-BE49-F238E27FC236}">
                  <a16:creationId xmlns:a16="http://schemas.microsoft.com/office/drawing/2014/main" id="{281D7A60-3CEB-4B3F-99B2-7E2D560EBB47}"/>
                </a:ext>
              </a:extLst>
            </p:cNvPr>
            <p:cNvSpPr>
              <a:spLocks noChangeAspect="1" noChangeArrowheads="1"/>
            </p:cNvSpPr>
            <p:nvPr/>
          </p:nvSpPr>
          <p:spPr bwMode="auto">
            <a:xfrm>
              <a:off x="4308503" y="540610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5" name="Oval 179">
              <a:extLst>
                <a:ext uri="{FF2B5EF4-FFF2-40B4-BE49-F238E27FC236}">
                  <a16:creationId xmlns:a16="http://schemas.microsoft.com/office/drawing/2014/main" id="{84022816-14AE-4B72-8CA1-08CE57FEFF6E}"/>
                </a:ext>
              </a:extLst>
            </p:cNvPr>
            <p:cNvSpPr>
              <a:spLocks noChangeAspect="1" noChangeArrowheads="1"/>
            </p:cNvSpPr>
            <p:nvPr/>
          </p:nvSpPr>
          <p:spPr bwMode="auto">
            <a:xfrm>
              <a:off x="4175156" y="2250437"/>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6" name="Oval 185">
              <a:extLst>
                <a:ext uri="{FF2B5EF4-FFF2-40B4-BE49-F238E27FC236}">
                  <a16:creationId xmlns:a16="http://schemas.microsoft.com/office/drawing/2014/main" id="{7118993F-B51D-42D0-B7A9-7C5B376946A2}"/>
                </a:ext>
              </a:extLst>
            </p:cNvPr>
            <p:cNvSpPr>
              <a:spLocks noChangeAspect="1" noChangeArrowheads="1"/>
            </p:cNvSpPr>
            <p:nvPr/>
          </p:nvSpPr>
          <p:spPr bwMode="auto">
            <a:xfrm>
              <a:off x="3197278" y="2250437"/>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7" name="Oval 186">
              <a:extLst>
                <a:ext uri="{FF2B5EF4-FFF2-40B4-BE49-F238E27FC236}">
                  <a16:creationId xmlns:a16="http://schemas.microsoft.com/office/drawing/2014/main" id="{0D93E637-583D-4B12-9E87-C0BB921FADED}"/>
                </a:ext>
              </a:extLst>
            </p:cNvPr>
            <p:cNvSpPr>
              <a:spLocks noChangeAspect="1" noChangeArrowheads="1"/>
            </p:cNvSpPr>
            <p:nvPr/>
          </p:nvSpPr>
          <p:spPr bwMode="auto">
            <a:xfrm>
              <a:off x="3997360" y="308380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8" name="Oval 188">
              <a:extLst>
                <a:ext uri="{FF2B5EF4-FFF2-40B4-BE49-F238E27FC236}">
                  <a16:creationId xmlns:a16="http://schemas.microsoft.com/office/drawing/2014/main" id="{630888D7-3A78-4348-A4F1-0BBE18D41CFB}"/>
                </a:ext>
              </a:extLst>
            </p:cNvPr>
            <p:cNvSpPr>
              <a:spLocks noChangeAspect="1" noChangeArrowheads="1"/>
            </p:cNvSpPr>
            <p:nvPr/>
          </p:nvSpPr>
          <p:spPr bwMode="auto">
            <a:xfrm>
              <a:off x="3441747" y="3850496"/>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59" name="Oval 189">
              <a:extLst>
                <a:ext uri="{FF2B5EF4-FFF2-40B4-BE49-F238E27FC236}">
                  <a16:creationId xmlns:a16="http://schemas.microsoft.com/office/drawing/2014/main" id="{AD5B6A95-A75A-4EF4-8C3F-46F433C08FE1}"/>
                </a:ext>
              </a:extLst>
            </p:cNvPr>
            <p:cNvSpPr>
              <a:spLocks noChangeAspect="1" noChangeArrowheads="1"/>
            </p:cNvSpPr>
            <p:nvPr/>
          </p:nvSpPr>
          <p:spPr bwMode="auto">
            <a:xfrm>
              <a:off x="4575198" y="293935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0" name="Oval 190">
              <a:extLst>
                <a:ext uri="{FF2B5EF4-FFF2-40B4-BE49-F238E27FC236}">
                  <a16:creationId xmlns:a16="http://schemas.microsoft.com/office/drawing/2014/main" id="{D8CF0751-6670-42D0-97B6-3EB144616A0E}"/>
                </a:ext>
              </a:extLst>
            </p:cNvPr>
            <p:cNvSpPr>
              <a:spLocks noChangeAspect="1" noChangeArrowheads="1"/>
            </p:cNvSpPr>
            <p:nvPr/>
          </p:nvSpPr>
          <p:spPr bwMode="auto">
            <a:xfrm>
              <a:off x="2752787" y="4128283"/>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1" name="Oval 191">
              <a:extLst>
                <a:ext uri="{FF2B5EF4-FFF2-40B4-BE49-F238E27FC236}">
                  <a16:creationId xmlns:a16="http://schemas.microsoft.com/office/drawing/2014/main" id="{8F81FD1F-A9E8-4B22-A94E-C579827072EA}"/>
                </a:ext>
              </a:extLst>
            </p:cNvPr>
            <p:cNvSpPr>
              <a:spLocks noChangeAspect="1" noChangeArrowheads="1"/>
            </p:cNvSpPr>
            <p:nvPr/>
          </p:nvSpPr>
          <p:spPr bwMode="auto">
            <a:xfrm>
              <a:off x="2174950" y="4239398"/>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2" name="Oval 192">
              <a:extLst>
                <a:ext uri="{FF2B5EF4-FFF2-40B4-BE49-F238E27FC236}">
                  <a16:creationId xmlns:a16="http://schemas.microsoft.com/office/drawing/2014/main" id="{4F9ADB7A-FC6B-4973-94AA-95243429B1B6}"/>
                </a:ext>
              </a:extLst>
            </p:cNvPr>
            <p:cNvSpPr>
              <a:spLocks noChangeAspect="1" noChangeArrowheads="1"/>
            </p:cNvSpPr>
            <p:nvPr/>
          </p:nvSpPr>
          <p:spPr bwMode="auto">
            <a:xfrm>
              <a:off x="1508215" y="4472741"/>
              <a:ext cx="108000" cy="108000"/>
            </a:xfrm>
            <a:prstGeom prst="ellipse">
              <a:avLst/>
            </a:prstGeom>
            <a:solidFill>
              <a:srgbClr val="000000"/>
            </a:solidFill>
            <a:ln w="9525" algn="ctr">
              <a:solidFill>
                <a:srgbClr val="000000"/>
              </a:solid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cxnSp>
        <p:nvCxnSpPr>
          <p:cNvPr id="163" name="Straight Arrow Connector 162">
            <a:extLst>
              <a:ext uri="{FF2B5EF4-FFF2-40B4-BE49-F238E27FC236}">
                <a16:creationId xmlns:a16="http://schemas.microsoft.com/office/drawing/2014/main" id="{BE2F2C06-78A4-4263-B873-9280F8944273}"/>
              </a:ext>
            </a:extLst>
          </p:cNvPr>
          <p:cNvCxnSpPr>
            <a:stCxn id="117" idx="1"/>
          </p:cNvCxnSpPr>
          <p:nvPr/>
        </p:nvCxnSpPr>
        <p:spPr>
          <a:xfrm flipH="1">
            <a:off x="1452654" y="4713618"/>
            <a:ext cx="4469379" cy="41262"/>
          </a:xfrm>
          <a:prstGeom prst="straightConnector1">
            <a:avLst/>
          </a:prstGeom>
          <a:noFill/>
          <a:ln w="19050" cap="flat" cmpd="sng" algn="ctr">
            <a:solidFill>
              <a:srgbClr val="DCAFFF"/>
            </a:solidFill>
            <a:prstDash val="solid"/>
            <a:tailEnd type="none"/>
          </a:ln>
          <a:effectLst/>
        </p:spPr>
      </p:cxnSp>
      <p:cxnSp>
        <p:nvCxnSpPr>
          <p:cNvPr id="164" name="Straight Arrow Connector 163">
            <a:extLst>
              <a:ext uri="{FF2B5EF4-FFF2-40B4-BE49-F238E27FC236}">
                <a16:creationId xmlns:a16="http://schemas.microsoft.com/office/drawing/2014/main" id="{4A11AFB0-EF46-4A78-A4EE-995A05D3DBC8}"/>
              </a:ext>
            </a:extLst>
          </p:cNvPr>
          <p:cNvCxnSpPr>
            <a:stCxn id="119" idx="1"/>
          </p:cNvCxnSpPr>
          <p:nvPr/>
        </p:nvCxnSpPr>
        <p:spPr>
          <a:xfrm flipH="1">
            <a:off x="3197278" y="3548166"/>
            <a:ext cx="2724755" cy="2318"/>
          </a:xfrm>
          <a:prstGeom prst="straightConnector1">
            <a:avLst/>
          </a:prstGeom>
          <a:noFill/>
          <a:ln w="19050" cap="flat" cmpd="sng" algn="ctr">
            <a:solidFill>
              <a:schemeClr val="accent1"/>
            </a:solidFill>
            <a:prstDash val="solid"/>
            <a:tailEnd type="none"/>
          </a:ln>
          <a:effectLst/>
        </p:spPr>
      </p:cxnSp>
      <p:grpSp>
        <p:nvGrpSpPr>
          <p:cNvPr id="165" name="Group 164">
            <a:extLst>
              <a:ext uri="{FF2B5EF4-FFF2-40B4-BE49-F238E27FC236}">
                <a16:creationId xmlns:a16="http://schemas.microsoft.com/office/drawing/2014/main" id="{29B53DE7-CA0F-4B0D-ACFF-4C4835DDA514}"/>
              </a:ext>
            </a:extLst>
          </p:cNvPr>
          <p:cNvGrpSpPr/>
          <p:nvPr/>
        </p:nvGrpSpPr>
        <p:grpSpPr>
          <a:xfrm>
            <a:off x="4292917" y="1596952"/>
            <a:ext cx="625173" cy="273622"/>
            <a:chOff x="4292917" y="1596952"/>
            <a:chExt cx="625173" cy="273622"/>
          </a:xfrm>
          <a:solidFill>
            <a:srgbClr val="000000"/>
          </a:solidFill>
        </p:grpSpPr>
        <p:sp>
          <p:nvSpPr>
            <p:cNvPr id="166" name="Oval 177">
              <a:extLst>
                <a:ext uri="{FF2B5EF4-FFF2-40B4-BE49-F238E27FC236}">
                  <a16:creationId xmlns:a16="http://schemas.microsoft.com/office/drawing/2014/main" id="{D4656713-CEB7-4966-918F-54801E92591E}"/>
                </a:ext>
              </a:extLst>
            </p:cNvPr>
            <p:cNvSpPr>
              <a:spLocks noChangeAspect="1" noChangeArrowheads="1"/>
            </p:cNvSpPr>
            <p:nvPr/>
          </p:nvSpPr>
          <p:spPr bwMode="auto">
            <a:xfrm>
              <a:off x="4710906" y="1596952"/>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7" name="Oval 180">
              <a:extLst>
                <a:ext uri="{FF2B5EF4-FFF2-40B4-BE49-F238E27FC236}">
                  <a16:creationId xmlns:a16="http://schemas.microsoft.com/office/drawing/2014/main" id="{5E32B390-787A-4FFB-A1AA-773D130974E8}"/>
                </a:ext>
              </a:extLst>
            </p:cNvPr>
            <p:cNvSpPr>
              <a:spLocks noChangeAspect="1" noChangeArrowheads="1"/>
            </p:cNvSpPr>
            <p:nvPr/>
          </p:nvSpPr>
          <p:spPr bwMode="auto">
            <a:xfrm>
              <a:off x="4555046" y="1658052"/>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8" name="Oval 182">
              <a:extLst>
                <a:ext uri="{FF2B5EF4-FFF2-40B4-BE49-F238E27FC236}">
                  <a16:creationId xmlns:a16="http://schemas.microsoft.com/office/drawing/2014/main" id="{D1203EDF-A673-4D57-9322-FDBCAFFC367E}"/>
                </a:ext>
              </a:extLst>
            </p:cNvPr>
            <p:cNvSpPr>
              <a:spLocks noChangeAspect="1" noChangeArrowheads="1"/>
            </p:cNvSpPr>
            <p:nvPr/>
          </p:nvSpPr>
          <p:spPr bwMode="auto">
            <a:xfrm>
              <a:off x="4406270" y="1750145"/>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69" name="Oval 183">
              <a:extLst>
                <a:ext uri="{FF2B5EF4-FFF2-40B4-BE49-F238E27FC236}">
                  <a16:creationId xmlns:a16="http://schemas.microsoft.com/office/drawing/2014/main" id="{C89F8C1A-0D29-4DE7-9370-51D5CDA06491}"/>
                </a:ext>
              </a:extLst>
            </p:cNvPr>
            <p:cNvSpPr>
              <a:spLocks noChangeAspect="1" noChangeArrowheads="1"/>
            </p:cNvSpPr>
            <p:nvPr/>
          </p:nvSpPr>
          <p:spPr bwMode="auto">
            <a:xfrm>
              <a:off x="4292917" y="1596952"/>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70" name="Oval 184">
              <a:extLst>
                <a:ext uri="{FF2B5EF4-FFF2-40B4-BE49-F238E27FC236}">
                  <a16:creationId xmlns:a16="http://schemas.microsoft.com/office/drawing/2014/main" id="{BF69BEA1-0D6D-424B-AA0C-71A310B54753}"/>
                </a:ext>
              </a:extLst>
            </p:cNvPr>
            <p:cNvSpPr>
              <a:spLocks noChangeAspect="1" noChangeArrowheads="1"/>
            </p:cNvSpPr>
            <p:nvPr/>
          </p:nvSpPr>
          <p:spPr bwMode="auto">
            <a:xfrm>
              <a:off x="4810090" y="1764313"/>
              <a:ext cx="108000" cy="106261"/>
            </a:xfrm>
            <a:prstGeom prst="ellipse">
              <a:avLst/>
            </a:prstGeom>
            <a:grpFill/>
            <a:ln w="9525" algn="ctr">
              <a:noFill/>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171" name="Rectangle 193">
            <a:extLst>
              <a:ext uri="{FF2B5EF4-FFF2-40B4-BE49-F238E27FC236}">
                <a16:creationId xmlns:a16="http://schemas.microsoft.com/office/drawing/2014/main" id="{B697F90D-7CE5-4FA9-814F-ABE88DFDE520}"/>
              </a:ext>
            </a:extLst>
          </p:cNvPr>
          <p:cNvSpPr>
            <a:spLocks noChangeArrowheads="1"/>
          </p:cNvSpPr>
          <p:nvPr/>
        </p:nvSpPr>
        <p:spPr bwMode="auto">
          <a:xfrm>
            <a:off x="4157378" y="1516252"/>
            <a:ext cx="844928" cy="399074"/>
          </a:xfrm>
          <a:prstGeom prst="rect">
            <a:avLst/>
          </a:prstGeom>
          <a:noFill/>
          <a:ln w="19050" algn="ctr">
            <a:solidFill>
              <a:srgbClr val="96968C">
                <a:lumMod val="60000"/>
                <a:lumOff val="40000"/>
              </a:srgbClr>
            </a:solidFill>
            <a:prstDash val="sysDash"/>
            <a:round/>
            <a:headEnd/>
            <a:tailEnd/>
          </a:ln>
        </p:spPr>
        <p:txBody>
          <a:bodyPr/>
          <a:lstStyle/>
          <a:p>
            <a:pPr marL="0" marR="0" lvl="0" indent="0" algn="ctr" defTabSz="914400" rtl="0" eaLnBrk="0" fontAlgn="auto" latinLnBrk="0" hangingPunct="0">
              <a:lnSpc>
                <a:spcPct val="100000"/>
              </a:lnSpc>
              <a:spcBef>
                <a:spcPct val="20000"/>
              </a:spcBef>
              <a:spcAft>
                <a:spcPts val="0"/>
              </a:spcAft>
              <a:buClrTx/>
              <a:buSzPct val="100000"/>
              <a:buFont typeface="Wingdings" pitchFamily="2" charset="2"/>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cxnSp>
        <p:nvCxnSpPr>
          <p:cNvPr id="172" name="Connector: Elbow 171">
            <a:extLst>
              <a:ext uri="{FF2B5EF4-FFF2-40B4-BE49-F238E27FC236}">
                <a16:creationId xmlns:a16="http://schemas.microsoft.com/office/drawing/2014/main" id="{CAFE86F3-456E-41EF-B58E-06AB09E8F7DF}"/>
              </a:ext>
            </a:extLst>
          </p:cNvPr>
          <p:cNvCxnSpPr>
            <a:stCxn id="118" idx="1"/>
            <a:endCxn id="171" idx="3"/>
          </p:cNvCxnSpPr>
          <p:nvPr/>
        </p:nvCxnSpPr>
        <p:spPr>
          <a:xfrm rot="10800000">
            <a:off x="5002307" y="1715790"/>
            <a:ext cx="919727" cy="456867"/>
          </a:xfrm>
          <a:prstGeom prst="bentConnector3">
            <a:avLst/>
          </a:prstGeom>
          <a:noFill/>
          <a:ln w="19050" cap="flat" cmpd="sng" algn="ctr">
            <a:solidFill>
              <a:srgbClr val="96968C">
                <a:lumMod val="60000"/>
                <a:lumOff val="40000"/>
              </a:srgbClr>
            </a:solidFill>
            <a:prstDash val="solid"/>
            <a:tailEnd type="triangle"/>
          </a:ln>
          <a:effectLst/>
        </p:spPr>
      </p:cxnSp>
      <p:cxnSp>
        <p:nvCxnSpPr>
          <p:cNvPr id="173" name="Connector: Elbow 172">
            <a:extLst>
              <a:ext uri="{FF2B5EF4-FFF2-40B4-BE49-F238E27FC236}">
                <a16:creationId xmlns:a16="http://schemas.microsoft.com/office/drawing/2014/main" id="{FBA39221-915E-4312-902E-DF11680AF68E}"/>
              </a:ext>
            </a:extLst>
          </p:cNvPr>
          <p:cNvCxnSpPr>
            <a:stCxn id="120" idx="1"/>
          </p:cNvCxnSpPr>
          <p:nvPr/>
        </p:nvCxnSpPr>
        <p:spPr>
          <a:xfrm rot="10800000">
            <a:off x="4918091" y="4959275"/>
            <a:ext cx="1003943" cy="801300"/>
          </a:xfrm>
          <a:prstGeom prst="bentConnector3">
            <a:avLst/>
          </a:prstGeom>
          <a:noFill/>
          <a:ln w="19050" cap="flat" cmpd="sng" algn="ctr">
            <a:solidFill>
              <a:schemeClr val="accent1">
                <a:lumMod val="40000"/>
                <a:lumOff val="60000"/>
              </a:schemeClr>
            </a:solidFill>
            <a:prstDash val="solid"/>
            <a:tailEnd type="triangle"/>
          </a:ln>
          <a:effectLst/>
        </p:spPr>
      </p:cxnSp>
      <p:sp>
        <p:nvSpPr>
          <p:cNvPr id="2" name="Rectangle 1">
            <a:hlinkClick r:id="rId3" action="ppaction://hlinksldjump"/>
            <a:extLst>
              <a:ext uri="{FF2B5EF4-FFF2-40B4-BE49-F238E27FC236}">
                <a16:creationId xmlns:a16="http://schemas.microsoft.com/office/drawing/2014/main" id="{92EF9090-7518-438E-8BB5-F3F9582218B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9446001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C45A8C-2FE9-5848-BA2D-F6A718C4CAB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95855B93-9B5A-1344-A345-D9119246C40D}"/>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41A92972-23EC-CE4F-B59B-67DFB9C223D3}"/>
              </a:ext>
            </a:extLst>
          </p:cNvPr>
          <p:cNvSpPr>
            <a:spLocks noGrp="1"/>
          </p:cNvSpPr>
          <p:nvPr>
            <p:ph type="body" idx="14"/>
          </p:nvPr>
        </p:nvSpPr>
        <p:spPr/>
        <p:txBody>
          <a:bodyPr/>
          <a:lstStyle/>
          <a:p>
            <a:endParaRPr lang="en-US"/>
          </a:p>
        </p:txBody>
      </p:sp>
      <p:sp>
        <p:nvSpPr>
          <p:cNvPr id="7" name="Text Placeholder 6">
            <a:extLst>
              <a:ext uri="{FF2B5EF4-FFF2-40B4-BE49-F238E27FC236}">
                <a16:creationId xmlns:a16="http://schemas.microsoft.com/office/drawing/2014/main" id="{D9B093E8-7D17-A745-9384-E0D6B25872BB}"/>
              </a:ext>
            </a:extLst>
          </p:cNvPr>
          <p:cNvSpPr>
            <a:spLocks noGrp="1"/>
          </p:cNvSpPr>
          <p:nvPr>
            <p:ph type="body" idx="16"/>
          </p:nvPr>
        </p:nvSpPr>
        <p:spPr/>
        <p:txBody>
          <a:bodyPr/>
          <a:lstStyle/>
          <a:p>
            <a:endParaRPr lang="en-US"/>
          </a:p>
        </p:txBody>
      </p:sp>
      <p:sp>
        <p:nvSpPr>
          <p:cNvPr id="8" name="Text Placeholder 7">
            <a:extLst>
              <a:ext uri="{FF2B5EF4-FFF2-40B4-BE49-F238E27FC236}">
                <a16:creationId xmlns:a16="http://schemas.microsoft.com/office/drawing/2014/main" id="{EBBB98D0-A81F-6442-BE05-7F71956BDF0A}"/>
              </a:ext>
            </a:extLst>
          </p:cNvPr>
          <p:cNvSpPr>
            <a:spLocks noGrp="1"/>
          </p:cNvSpPr>
          <p:nvPr>
            <p:ph type="body" idx="17"/>
          </p:nvPr>
        </p:nvSpPr>
        <p:spPr/>
        <p:txBody>
          <a:bodyPr/>
          <a:lstStyle/>
          <a:p>
            <a:endParaRPr lang="en-US"/>
          </a:p>
        </p:txBody>
      </p:sp>
      <p:sp>
        <p:nvSpPr>
          <p:cNvPr id="5" name="Content Placeholder 4">
            <a:extLst>
              <a:ext uri="{FF2B5EF4-FFF2-40B4-BE49-F238E27FC236}">
                <a16:creationId xmlns:a16="http://schemas.microsoft.com/office/drawing/2014/main" id="{549B8D30-9847-7B46-A21C-D25FD8422AA5}"/>
              </a:ext>
            </a:extLst>
          </p:cNvPr>
          <p:cNvSpPr>
            <a:spLocks noGrp="1"/>
          </p:cNvSpPr>
          <p:nvPr>
            <p:ph sz="half" idx="2"/>
          </p:nvPr>
        </p:nvSpPr>
        <p:spPr/>
        <p:txBody>
          <a:bodyPr/>
          <a:lstStyle/>
          <a:p>
            <a:endParaRPr lang="en-US"/>
          </a:p>
        </p:txBody>
      </p:sp>
      <p:sp>
        <p:nvSpPr>
          <p:cNvPr id="9" name="Content Placeholder 8">
            <a:extLst>
              <a:ext uri="{FF2B5EF4-FFF2-40B4-BE49-F238E27FC236}">
                <a16:creationId xmlns:a16="http://schemas.microsoft.com/office/drawing/2014/main" id="{6EDD1566-1C3C-6843-AEBF-A9F255B2297C}"/>
              </a:ext>
            </a:extLst>
          </p:cNvPr>
          <p:cNvSpPr>
            <a:spLocks noGrp="1"/>
          </p:cNvSpPr>
          <p:nvPr>
            <p:ph sz="half" idx="18"/>
          </p:nvPr>
        </p:nvSpPr>
        <p:spPr/>
        <p:txBody>
          <a:bodyPr/>
          <a:lstStyle/>
          <a:p>
            <a:endParaRPr lang="en-US"/>
          </a:p>
        </p:txBody>
      </p:sp>
    </p:spTree>
    <p:extLst>
      <p:ext uri="{BB962C8B-B14F-4D97-AF65-F5344CB8AC3E}">
        <p14:creationId xmlns:p14="http://schemas.microsoft.com/office/powerpoint/2010/main" val="3651557557"/>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High-Level Business Case</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7" name="Table 6">
            <a:extLst>
              <a:ext uri="{FF2B5EF4-FFF2-40B4-BE49-F238E27FC236}">
                <a16:creationId xmlns:a16="http://schemas.microsoft.com/office/drawing/2014/main" id="{2A9906E7-CDCD-4A64-A82C-C9F6D3BA99F0}"/>
              </a:ext>
            </a:extLst>
          </p:cNvPr>
          <p:cNvGraphicFramePr>
            <a:graphicFrameLocks noGrp="1"/>
          </p:cNvGraphicFramePr>
          <p:nvPr/>
        </p:nvGraphicFramePr>
        <p:xfrm>
          <a:off x="1955799" y="1292226"/>
          <a:ext cx="8289926" cy="4645413"/>
        </p:xfrm>
        <a:graphic>
          <a:graphicData uri="http://schemas.openxmlformats.org/drawingml/2006/table">
            <a:tbl>
              <a:tblPr firstRow="1" bandRow="1"/>
              <a:tblGrid>
                <a:gridCol w="4144963">
                  <a:extLst>
                    <a:ext uri="{9D8B030D-6E8A-4147-A177-3AD203B41FA5}">
                      <a16:colId xmlns:a16="http://schemas.microsoft.com/office/drawing/2014/main" val="20000"/>
                    </a:ext>
                  </a:extLst>
                </a:gridCol>
                <a:gridCol w="4144963">
                  <a:extLst>
                    <a:ext uri="{9D8B030D-6E8A-4147-A177-3AD203B41FA5}">
                      <a16:colId xmlns:a16="http://schemas.microsoft.com/office/drawing/2014/main" val="20001"/>
                    </a:ext>
                  </a:extLst>
                </a:gridCol>
              </a:tblGrid>
              <a:tr h="381264">
                <a:tc gridSpan="2">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US" sz="1600" dirty="0">
                          <a:solidFill>
                            <a:schemeClr val="tx1"/>
                          </a:solidFill>
                        </a:rPr>
                        <a:t>Preliminary High</a:t>
                      </a:r>
                      <a:r>
                        <a:rPr lang="en-US" sz="1600" baseline="0" dirty="0">
                          <a:solidFill>
                            <a:schemeClr val="tx1"/>
                          </a:solidFill>
                        </a:rPr>
                        <a:t>-</a:t>
                      </a:r>
                      <a:r>
                        <a:rPr lang="en-US" sz="1600" dirty="0">
                          <a:solidFill>
                            <a:schemeClr val="tx1"/>
                          </a:solidFill>
                        </a:rPr>
                        <a:t>Level Business Case</a:t>
                      </a:r>
                      <a:endParaRPr lang="en-US" sz="1600" baseline="30000" dirty="0">
                        <a:solidFill>
                          <a:schemeClr val="tx1"/>
                        </a:solidFill>
                      </a:endParaRPr>
                    </a:p>
                  </a:txBody>
                  <a:tcPr anchor="b">
                    <a:lnL w="12700" cmpd="sng">
                      <a:solidFill>
                        <a:srgbClr val="FFFFFF"/>
                      </a:solidFill>
                    </a:lnL>
                    <a:lnR w="6350" cap="flat" cmpd="sng" algn="ctr">
                      <a:noFill/>
                      <a:prstDash val="dash"/>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hMerge="1">
                  <a:txBody>
                    <a:bodyPr/>
                    <a:lstStyle/>
                    <a:p>
                      <a:endParaRPr lang="en-AU" dirty="0">
                        <a:solidFill>
                          <a:schemeClr val="accent4"/>
                        </a:solidFill>
                      </a:endParaRPr>
                    </a:p>
                  </a:txBody>
                  <a:tcPr anchor="b">
                    <a:lnL w="6350" cap="flat" cmpd="sng" algn="ctr">
                      <a:solidFill>
                        <a:schemeClr val="accent5"/>
                      </a:solidFill>
                      <a:prstDash val="dash"/>
                      <a:round/>
                      <a:headEnd type="none" w="med" len="med"/>
                      <a:tailEnd type="none" w="med" len="med"/>
                    </a:lnL>
                    <a:lnR w="6350" cap="flat" cmpd="sng" algn="ctr">
                      <a:noFill/>
                      <a:prstDash val="dash"/>
                      <a:round/>
                      <a:headEnd type="none" w="med" len="med"/>
                      <a:tailEnd type="none" w="med" len="med"/>
                    </a:lnR>
                    <a:lnB w="6350" cap="flat" cmpd="sng" algn="ctr">
                      <a:noFill/>
                      <a:prstDash val="dash"/>
                      <a:round/>
                      <a:headEnd type="none" w="med" len="med"/>
                      <a:tailEnd type="none" w="med" len="med"/>
                    </a:lnB>
                    <a:noFill/>
                  </a:tcPr>
                </a:tc>
                <a:extLst>
                  <a:ext uri="{0D108BD9-81ED-4DB2-BD59-A6C34878D82A}">
                    <a16:rowId xmlns:a16="http://schemas.microsoft.com/office/drawing/2014/main" val="10000"/>
                  </a:ext>
                </a:extLst>
              </a:tr>
              <a:tr h="4264149">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Target Benefits ($)</a:t>
                      </a:r>
                    </a:p>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Body copy</a:t>
                      </a:r>
                    </a:p>
                  </a:txBody>
                  <a:tcP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76213" marR="0" lvl="0" indent="-176213" algn="l" defTabSz="914400" rtl="0" eaLnBrk="1" fontAlgn="base" latinLnBrk="0" hangingPunct="1">
                        <a:lnSpc>
                          <a:spcPct val="100000"/>
                        </a:lnSpc>
                        <a:spcBef>
                          <a:spcPct val="20000"/>
                        </a:spcBef>
                        <a:spcAft>
                          <a:spcPct val="0"/>
                        </a:spcAft>
                        <a:buClr>
                          <a:schemeClr val="tx1"/>
                        </a:buClr>
                        <a:buSzTx/>
                        <a:buFontTx/>
                        <a:buNone/>
                        <a:tabLst/>
                        <a:defRPr/>
                      </a:pPr>
                      <a:r>
                        <a:rPr kumimoji="0" lang="en-US" sz="1200" b="1" i="0" u="none" strike="noStrike" kern="0" cap="none" spc="0" normalizeH="0" baseline="0" noProof="0" dirty="0">
                          <a:ln>
                            <a:noFill/>
                          </a:ln>
                          <a:solidFill>
                            <a:schemeClr val="tx1"/>
                          </a:solidFill>
                          <a:effectLst/>
                          <a:uLnTx/>
                          <a:uFillTx/>
                          <a:latin typeface="+mn-lt"/>
                          <a:ea typeface="+mn-ea"/>
                          <a:cs typeface="+mn-cs"/>
                        </a:rPr>
                        <a:t>Investment Required ($) -- Optional</a:t>
                      </a:r>
                    </a:p>
                    <a:p>
                      <a:pPr marL="176213" marR="0" lvl="0" indent="-176213" algn="l" defTabSz="914400" rtl="0" eaLnBrk="1" fontAlgn="base" latinLnBrk="0" hangingPunct="1">
                        <a:lnSpc>
                          <a:spcPct val="100000"/>
                        </a:lnSpc>
                        <a:spcBef>
                          <a:spcPct val="20000"/>
                        </a:spcBef>
                        <a:spcAft>
                          <a:spcPct val="0"/>
                        </a:spcAft>
                        <a:buClr>
                          <a:schemeClr val="tx1"/>
                        </a:buClr>
                        <a:buSzTx/>
                        <a:buFontTx/>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Body copy</a:t>
                      </a:r>
                    </a:p>
                  </a:txBody>
                  <a:tcP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 name="Rectangle 1">
            <a:hlinkClick r:id="rId3" action="ppaction://hlinksldjump"/>
            <a:extLst>
              <a:ext uri="{FF2B5EF4-FFF2-40B4-BE49-F238E27FC236}">
                <a16:creationId xmlns:a16="http://schemas.microsoft.com/office/drawing/2014/main" id="{6AEC58BE-CF05-4C1D-8F4D-D7E6C1560FE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91167829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de-DE" dirty="0"/>
              <a:t>Open Items</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Box 3">
            <a:extLst>
              <a:ext uri="{FF2B5EF4-FFF2-40B4-BE49-F238E27FC236}">
                <a16:creationId xmlns:a16="http://schemas.microsoft.com/office/drawing/2014/main" id="{DE866DD4-9955-45F1-A581-6842951AA6EA}"/>
              </a:ext>
            </a:extLst>
          </p:cNvPr>
          <p:cNvSpPr txBox="1">
            <a:spLocks noChangeArrowheads="1"/>
          </p:cNvSpPr>
          <p:nvPr/>
        </p:nvSpPr>
        <p:spPr bwMode="auto">
          <a:xfrm>
            <a:off x="2046818" y="5675314"/>
            <a:ext cx="3439583" cy="598487"/>
          </a:xfrm>
          <a:prstGeom prst="rect">
            <a:avLst/>
          </a:prstGeom>
          <a:solidFill>
            <a:srgbClr val="FFFFFF"/>
          </a:solidFill>
          <a:ln w="9525">
            <a:noFill/>
            <a:miter lim="800000"/>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tab pos="982663" algn="l"/>
              </a:tabLst>
              <a:defRPr/>
            </a:pPr>
            <a:r>
              <a:rPr kumimoji="0" lang="de-DE" sz="1200" b="0" i="0" u="none" strike="noStrike" kern="0" cap="none" spc="0" normalizeH="0" baseline="0" noProof="0" dirty="0">
                <a:ln>
                  <a:noFill/>
                </a:ln>
                <a:solidFill>
                  <a:srgbClr val="000000"/>
                </a:solidFill>
                <a:effectLst/>
                <a:uLnTx/>
                <a:uFillTx/>
                <a:latin typeface="Graphik"/>
                <a:ea typeface="+mn-ea"/>
                <a:cs typeface="+mn-cs"/>
              </a:rPr>
              <a:t>Status:	= Decision needed</a:t>
            </a:r>
          </a:p>
          <a:p>
            <a:pPr marL="0" marR="0" lvl="0" indent="0" algn="l" defTabSz="914400" rtl="0" eaLnBrk="1" fontAlgn="auto" latinLnBrk="0" hangingPunct="1">
              <a:lnSpc>
                <a:spcPct val="100000"/>
              </a:lnSpc>
              <a:spcBef>
                <a:spcPct val="0"/>
              </a:spcBef>
              <a:spcAft>
                <a:spcPts val="0"/>
              </a:spcAft>
              <a:buClrTx/>
              <a:buSzTx/>
              <a:buFontTx/>
              <a:buNone/>
              <a:tabLst>
                <a:tab pos="1516063" algn="l"/>
              </a:tabLst>
              <a:defRPr/>
            </a:pPr>
            <a:endParaRPr kumimoji="0" lang="de-DE" sz="12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tab pos="982663" algn="l"/>
              </a:tabLst>
              <a:defRPr/>
            </a:pPr>
            <a:r>
              <a:rPr kumimoji="0" lang="de-DE" sz="1200" b="0" i="0" u="none" strike="noStrike" kern="0" cap="none" spc="0" normalizeH="0" baseline="0" noProof="0" dirty="0">
                <a:ln>
                  <a:noFill/>
                </a:ln>
                <a:solidFill>
                  <a:srgbClr val="000000"/>
                </a:solidFill>
                <a:effectLst/>
                <a:uLnTx/>
                <a:uFillTx/>
                <a:latin typeface="Graphik"/>
                <a:ea typeface="+mn-ea"/>
                <a:cs typeface="+mn-cs"/>
              </a:rPr>
              <a:t>	= Item closed</a:t>
            </a:r>
          </a:p>
        </p:txBody>
      </p:sp>
      <p:sp>
        <p:nvSpPr>
          <p:cNvPr id="7" name="Rectangle 4">
            <a:extLst>
              <a:ext uri="{FF2B5EF4-FFF2-40B4-BE49-F238E27FC236}">
                <a16:creationId xmlns:a16="http://schemas.microsoft.com/office/drawing/2014/main" id="{F6887DD5-FAF6-4543-8824-4B9FAFE8E136}"/>
              </a:ext>
            </a:extLst>
          </p:cNvPr>
          <p:cNvSpPr>
            <a:spLocks noChangeArrowheads="1"/>
          </p:cNvSpPr>
          <p:nvPr/>
        </p:nvSpPr>
        <p:spPr bwMode="auto">
          <a:xfrm>
            <a:off x="2814120" y="5700577"/>
            <a:ext cx="219075" cy="278089"/>
          </a:xfrm>
          <a:prstGeom prst="rect">
            <a:avLst/>
          </a:prstGeom>
          <a:solidFill>
            <a:srgbClr val="A100FF"/>
          </a:solidFill>
          <a:ln w="12700">
            <a:noFill/>
            <a:miter lim="800000"/>
            <a:headEnd/>
            <a:tailEnd/>
          </a:ln>
        </p:spPr>
        <p:txBody>
          <a:bodyPr lIns="46800" tIns="46800" rIns="46800" anchor="ctr">
            <a:spAutoFit/>
          </a:bodyPr>
          <a:lstStyle/>
          <a:p>
            <a:pPr marL="190500" marR="0" lvl="0" indent="-190500" algn="l" defTabSz="914400" rtl="0" eaLnBrk="0" fontAlgn="auto" latinLnBrk="0" hangingPunct="0">
              <a:lnSpc>
                <a:spcPct val="100000"/>
              </a:lnSpc>
              <a:spcBef>
                <a:spcPct val="100000"/>
              </a:spcBef>
              <a:spcAft>
                <a:spcPts val="0"/>
              </a:spcAft>
              <a:buClr>
                <a:srgbClr val="7500C0"/>
              </a:buClr>
              <a:buSzTx/>
              <a:buFontTx/>
              <a:buNone/>
              <a:tabLst/>
              <a:defRPr/>
            </a:pPr>
            <a:r>
              <a:rPr kumimoji="0" lang="de-DE" sz="1200" b="1" i="0" u="none" strike="noStrike" kern="0" cap="none" spc="0" normalizeH="0" baseline="0" noProof="0" dirty="0">
                <a:ln>
                  <a:noFill/>
                </a:ln>
                <a:solidFill>
                  <a:srgbClr val="FFFFFF"/>
                </a:solidFill>
                <a:effectLst/>
                <a:uLnTx/>
                <a:uFillTx/>
                <a:latin typeface="Graphik"/>
                <a:ea typeface="+mn-ea"/>
                <a:cs typeface="+mn-cs"/>
                <a:sym typeface="Monotype Sorts" pitchFamily="2" charset="2"/>
              </a:rPr>
              <a:t>?</a:t>
            </a:r>
          </a:p>
        </p:txBody>
      </p:sp>
      <p:sp>
        <p:nvSpPr>
          <p:cNvPr id="8" name="Rectangle 5">
            <a:extLst>
              <a:ext uri="{FF2B5EF4-FFF2-40B4-BE49-F238E27FC236}">
                <a16:creationId xmlns:a16="http://schemas.microsoft.com/office/drawing/2014/main" id="{CACBBAD2-4055-4FBD-A5AE-F2B9D2862FCF}"/>
              </a:ext>
            </a:extLst>
          </p:cNvPr>
          <p:cNvSpPr>
            <a:spLocks noChangeArrowheads="1"/>
          </p:cNvSpPr>
          <p:nvPr/>
        </p:nvSpPr>
        <p:spPr bwMode="auto">
          <a:xfrm>
            <a:off x="2814120" y="5987914"/>
            <a:ext cx="219075" cy="278089"/>
          </a:xfrm>
          <a:prstGeom prst="rect">
            <a:avLst/>
          </a:prstGeom>
          <a:solidFill>
            <a:schemeClr val="bg1">
              <a:lumMod val="65000"/>
            </a:schemeClr>
          </a:solidFill>
          <a:ln w="12700">
            <a:noFill/>
            <a:miter lim="800000"/>
            <a:headEnd/>
            <a:tailEnd/>
          </a:ln>
        </p:spPr>
        <p:txBody>
          <a:bodyPr lIns="46800" tIns="46800" rIns="46800" anchor="ctr">
            <a:spAutoFit/>
          </a:bodyPr>
          <a:lstStyle/>
          <a:p>
            <a:pPr marL="190500" marR="0" lvl="0" indent="-190500" algn="l" defTabSz="914400" rtl="0" eaLnBrk="0" fontAlgn="auto" latinLnBrk="0" hangingPunct="0">
              <a:lnSpc>
                <a:spcPct val="100000"/>
              </a:lnSpc>
              <a:spcBef>
                <a:spcPct val="100000"/>
              </a:spcBef>
              <a:spcAft>
                <a:spcPts val="0"/>
              </a:spcAft>
              <a:buClr>
                <a:srgbClr val="7500C0"/>
              </a:buClr>
              <a:buSzTx/>
              <a:buFontTx/>
              <a:buNone/>
              <a:tabLst/>
              <a:defRPr/>
            </a:pPr>
            <a:r>
              <a:rPr kumimoji="0" lang="de-DE" sz="1200" b="1" i="0" u="none" strike="noStrike" kern="0" cap="none" spc="0" normalizeH="0" baseline="0" noProof="0" dirty="0">
                <a:ln>
                  <a:noFill/>
                </a:ln>
                <a:solidFill>
                  <a:srgbClr val="FFFFFF"/>
                </a:solidFill>
                <a:effectLst/>
                <a:uLnTx/>
                <a:uFillTx/>
                <a:latin typeface="Graphik"/>
                <a:ea typeface="+mn-ea"/>
                <a:cs typeface="+mn-cs"/>
                <a:sym typeface="Wingdings" pitchFamily="2" charset="2"/>
              </a:rPr>
              <a:t></a:t>
            </a:r>
          </a:p>
        </p:txBody>
      </p:sp>
      <p:graphicFrame>
        <p:nvGraphicFramePr>
          <p:cNvPr id="9" name="Group 6">
            <a:extLst>
              <a:ext uri="{FF2B5EF4-FFF2-40B4-BE49-F238E27FC236}">
                <a16:creationId xmlns:a16="http://schemas.microsoft.com/office/drawing/2014/main" id="{218801A7-5F43-46AA-8077-8335DDF7BDA7}"/>
              </a:ext>
            </a:extLst>
          </p:cNvPr>
          <p:cNvGraphicFramePr>
            <a:graphicFrameLocks noGrp="1"/>
          </p:cNvGraphicFramePr>
          <p:nvPr>
            <p:extLst>
              <p:ext uri="{D42A27DB-BD31-4B8C-83A1-F6EECF244321}">
                <p14:modId xmlns:p14="http://schemas.microsoft.com/office/powerpoint/2010/main" val="2717789127"/>
              </p:ext>
            </p:extLst>
          </p:nvPr>
        </p:nvGraphicFramePr>
        <p:xfrm>
          <a:off x="2063751" y="1718210"/>
          <a:ext cx="8208963" cy="3384552"/>
        </p:xfrm>
        <a:graphic>
          <a:graphicData uri="http://schemas.openxmlformats.org/drawingml/2006/table">
            <a:tbl>
              <a:tblPr/>
              <a:tblGrid>
                <a:gridCol w="627063">
                  <a:extLst>
                    <a:ext uri="{9D8B030D-6E8A-4147-A177-3AD203B41FA5}">
                      <a16:colId xmlns:a16="http://schemas.microsoft.com/office/drawing/2014/main" val="20000"/>
                    </a:ext>
                  </a:extLst>
                </a:gridCol>
                <a:gridCol w="6645275">
                  <a:extLst>
                    <a:ext uri="{9D8B030D-6E8A-4147-A177-3AD203B41FA5}">
                      <a16:colId xmlns:a16="http://schemas.microsoft.com/office/drawing/2014/main" val="20001"/>
                    </a:ext>
                  </a:extLst>
                </a:gridCol>
                <a:gridCol w="936625">
                  <a:extLst>
                    <a:ext uri="{9D8B030D-6E8A-4147-A177-3AD203B41FA5}">
                      <a16:colId xmlns:a16="http://schemas.microsoft.com/office/drawing/2014/main" val="20002"/>
                    </a:ext>
                  </a:extLst>
                </a:gridCol>
              </a:tblGrid>
              <a:tr h="423863">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rPr>
                        <a:t>1</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Arial" charset="0"/>
                        </a:rPr>
                        <a:t>xx</a:t>
                      </a:r>
                      <a:endParaRPr kumimoji="0" lang="de-DE" sz="1600" b="1" i="0" u="none" strike="noStrike" cap="none" normalizeH="0" baseline="0" dirty="0">
                        <a:ln>
                          <a:noFill/>
                        </a:ln>
                        <a:solidFill>
                          <a:schemeClr val="tx1"/>
                        </a:solidFill>
                        <a:effectLst/>
                        <a:latin typeface="Arial" charset="0"/>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sym typeface="Wingdings" pitchFamily="2" charset="2"/>
                        </a:rPr>
                        <a:t></a:t>
                      </a:r>
                      <a:endParaRPr kumimoji="0" lang="de-DE" sz="1800" b="0" i="0" u="none" strike="noStrike" cap="none" normalizeH="0" baseline="0" dirty="0">
                        <a:ln>
                          <a:noFill/>
                        </a:ln>
                        <a:solidFill>
                          <a:schemeClr val="bg1"/>
                        </a:solidFill>
                        <a:effectLst/>
                        <a:latin typeface="Arial" charset="0"/>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0"/>
                  </a:ext>
                </a:extLst>
              </a:tr>
              <a:tr h="422275">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rPr>
                        <a:t>2</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Arial" charset="0"/>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sym typeface="Wingdings" pitchFamily="2" charset="2"/>
                        </a:rPr>
                        <a:t></a:t>
                      </a:r>
                      <a:endParaRPr kumimoji="0" lang="de-DE" sz="1800" b="0" i="0" u="none" strike="noStrike" cap="none" normalizeH="0" baseline="0" dirty="0">
                        <a:ln>
                          <a:noFill/>
                        </a:ln>
                        <a:solidFill>
                          <a:schemeClr val="bg1"/>
                        </a:solidFill>
                        <a:effectLst/>
                        <a:latin typeface="Arial" charset="0"/>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1"/>
                  </a:ext>
                </a:extLst>
              </a:tr>
              <a:tr h="423863">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rPr>
                        <a:t>3</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Arial" charset="0"/>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sym typeface="Wingdings" pitchFamily="2" charset="2"/>
                        </a:rPr>
                        <a:t></a:t>
                      </a:r>
                      <a:endParaRPr kumimoji="0" lang="de-DE" sz="1800" b="0" i="0" u="none" strike="noStrike" cap="none" normalizeH="0" baseline="0" dirty="0">
                        <a:ln>
                          <a:noFill/>
                        </a:ln>
                        <a:solidFill>
                          <a:schemeClr val="bg1"/>
                        </a:solidFill>
                        <a:effectLst/>
                        <a:latin typeface="Arial" charset="0"/>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2"/>
                  </a:ext>
                </a:extLst>
              </a:tr>
              <a:tr h="422275">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rPr>
                        <a:t>4</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Arial" charset="0"/>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sym typeface="Wingdings" pitchFamily="2" charset="2"/>
                        </a:rPr>
                        <a:t>?</a:t>
                      </a:r>
                      <a:endParaRPr kumimoji="0" lang="de-DE" sz="1800" b="0" i="0" u="none" strike="noStrike" cap="none" normalizeH="0" baseline="0" dirty="0">
                        <a:ln>
                          <a:noFill/>
                        </a:ln>
                        <a:solidFill>
                          <a:schemeClr val="bg1"/>
                        </a:solidFill>
                        <a:effectLst/>
                        <a:latin typeface="Arial" charset="0"/>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100FF"/>
                    </a:solidFill>
                  </a:tcPr>
                </a:tc>
                <a:extLst>
                  <a:ext uri="{0D108BD9-81ED-4DB2-BD59-A6C34878D82A}">
                    <a16:rowId xmlns:a16="http://schemas.microsoft.com/office/drawing/2014/main" val="10003"/>
                  </a:ext>
                </a:extLst>
              </a:tr>
              <a:tr h="423863">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rPr>
                        <a:t>5</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Arial" charset="0"/>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sym typeface="Wingdings" pitchFamily="2" charset="2"/>
                        </a:rPr>
                        <a:t></a:t>
                      </a:r>
                      <a:endParaRPr kumimoji="0" lang="de-DE" sz="1800" b="0" i="0" u="none" strike="noStrike" cap="none" normalizeH="0" baseline="0" dirty="0">
                        <a:ln>
                          <a:noFill/>
                        </a:ln>
                        <a:solidFill>
                          <a:schemeClr val="bg1"/>
                        </a:solidFill>
                        <a:effectLst/>
                        <a:latin typeface="Arial" charset="0"/>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4"/>
                  </a:ext>
                </a:extLst>
              </a:tr>
              <a:tr h="422275">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rPr>
                        <a:t>6</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Arial" charset="0"/>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sym typeface="Wingdings" pitchFamily="2" charset="2"/>
                        </a:rPr>
                        <a:t></a:t>
                      </a:r>
                      <a:endParaRPr kumimoji="0" lang="de-DE" sz="1800" b="0" i="0" u="none" strike="noStrike" cap="none" normalizeH="0" baseline="0" dirty="0">
                        <a:ln>
                          <a:noFill/>
                        </a:ln>
                        <a:solidFill>
                          <a:schemeClr val="bg1"/>
                        </a:solidFill>
                        <a:effectLst/>
                        <a:latin typeface="Arial" charset="0"/>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5"/>
                  </a:ext>
                </a:extLst>
              </a:tr>
              <a:tr h="423863">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rPr>
                        <a:t>7</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Arial" charset="0"/>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sym typeface="Wingdings" pitchFamily="2" charset="2"/>
                        </a:rPr>
                        <a:t></a:t>
                      </a:r>
                      <a:endParaRPr kumimoji="0" lang="de-DE" sz="1800" b="0" i="0" u="none" strike="noStrike" cap="none" normalizeH="0" baseline="0" dirty="0">
                        <a:ln>
                          <a:noFill/>
                        </a:ln>
                        <a:solidFill>
                          <a:schemeClr val="bg1"/>
                        </a:solidFill>
                        <a:effectLst/>
                        <a:latin typeface="Arial" charset="0"/>
                      </a:endParaRP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6"/>
                  </a:ext>
                </a:extLst>
              </a:tr>
              <a:tr h="422275">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ctr" defTabSz="914400" rtl="0" eaLnBrk="1" fontAlgn="base" latinLnBrk="0" hangingPunct="1">
                        <a:lnSpc>
                          <a:spcPct val="100000"/>
                        </a:lnSpc>
                        <a:spcBef>
                          <a:spcPct val="0"/>
                        </a:spcBef>
                        <a:spcAft>
                          <a:spcPct val="0"/>
                        </a:spcAft>
                        <a:buClr>
                          <a:schemeClr val="hlink"/>
                        </a:buClr>
                        <a:buSzTx/>
                        <a:buFont typeface="Wingdings" pitchFamily="2" charset="2"/>
                        <a:buNone/>
                        <a:tabLst/>
                      </a:pPr>
                      <a:r>
                        <a:rPr kumimoji="0" lang="de-DE" sz="1800" b="1" i="0" u="none" strike="noStrike" cap="none" normalizeH="0" baseline="0" dirty="0">
                          <a:ln>
                            <a:noFill/>
                          </a:ln>
                          <a:solidFill>
                            <a:schemeClr val="bg1"/>
                          </a:solidFill>
                          <a:effectLst/>
                          <a:latin typeface="Arial" charset="0"/>
                        </a:rPr>
                        <a:t>8</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182563" marR="0" lvl="0" indent="-182563" algn="l" defTabSz="914400" rtl="0" eaLnBrk="1" fontAlgn="base" latinLnBrk="0" hangingPunct="1">
                        <a:lnSpc>
                          <a:spcPct val="100000"/>
                        </a:lnSpc>
                        <a:spcBef>
                          <a:spcPct val="0"/>
                        </a:spcBef>
                        <a:spcAft>
                          <a:spcPct val="0"/>
                        </a:spcAft>
                        <a:buClr>
                          <a:schemeClr val="tx2"/>
                        </a:buClr>
                        <a:buSzTx/>
                        <a:buFont typeface="Wingdings" pitchFamily="2" charset="2"/>
                        <a:buChar char="§"/>
                        <a:tabLst/>
                      </a:pPr>
                      <a:r>
                        <a:rPr kumimoji="0" lang="de-DE" sz="1600" b="1" i="0" u="none" strike="noStrike" cap="none" normalizeH="0" baseline="0" dirty="0">
                          <a:ln>
                            <a:noFill/>
                          </a:ln>
                          <a:solidFill>
                            <a:srgbClr val="000000"/>
                          </a:solidFill>
                          <a:effectLst/>
                          <a:latin typeface="Arial" charset="0"/>
                        </a:rPr>
                        <a:t>xx</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4E7E7"/>
                    </a:solidFill>
                  </a:tcPr>
                </a:tc>
                <a:tc>
                  <a:txBody>
                    <a:bodyPr/>
                    <a:lstStyle>
                      <a:lvl1pPr marL="0" algn="l" defTabSz="914400" rtl="0" eaLnBrk="1" latinLnBrk="0" hangingPunct="1">
                        <a:defRPr sz="1800" kern="1200">
                          <a:solidFill>
                            <a:schemeClr val="tx1"/>
                          </a:solidFill>
                          <a:latin typeface="Graphik"/>
                        </a:defRPr>
                      </a:lvl1pPr>
                      <a:lvl2pPr marL="457200" algn="l" defTabSz="914400" rtl="0" eaLnBrk="1" latinLnBrk="0" hangingPunct="1">
                        <a:defRPr sz="1800" kern="1200">
                          <a:solidFill>
                            <a:schemeClr val="tx1"/>
                          </a:solidFill>
                          <a:latin typeface="Graphik"/>
                        </a:defRPr>
                      </a:lvl2pPr>
                      <a:lvl3pPr marL="914400" algn="l" defTabSz="914400" rtl="0" eaLnBrk="1" latinLnBrk="0" hangingPunct="1">
                        <a:defRPr sz="1800" kern="1200">
                          <a:solidFill>
                            <a:schemeClr val="tx1"/>
                          </a:solidFill>
                          <a:latin typeface="Graphik"/>
                        </a:defRPr>
                      </a:lvl3pPr>
                      <a:lvl4pPr marL="1371600" algn="l" defTabSz="914400" rtl="0" eaLnBrk="1" latinLnBrk="0" hangingPunct="1">
                        <a:defRPr sz="1800" kern="1200">
                          <a:solidFill>
                            <a:schemeClr val="tx1"/>
                          </a:solidFill>
                          <a:latin typeface="Graphik"/>
                        </a:defRPr>
                      </a:lvl4pPr>
                      <a:lvl5pPr marL="1828800" algn="l" defTabSz="914400" rtl="0" eaLnBrk="1" latinLnBrk="0" hangingPunct="1">
                        <a:defRPr sz="1800" kern="1200">
                          <a:solidFill>
                            <a:schemeClr val="tx1"/>
                          </a:solidFill>
                          <a:latin typeface="Graphik"/>
                        </a:defRPr>
                      </a:lvl5pPr>
                      <a:lvl6pPr marL="2286000" algn="l" defTabSz="914400" rtl="0" eaLnBrk="1" latinLnBrk="0" hangingPunct="1">
                        <a:defRPr sz="1800" kern="1200">
                          <a:solidFill>
                            <a:schemeClr val="tx1"/>
                          </a:solidFill>
                          <a:latin typeface="Graphik"/>
                        </a:defRPr>
                      </a:lvl6pPr>
                      <a:lvl7pPr marL="2743200" algn="l" defTabSz="914400" rtl="0" eaLnBrk="1" latinLnBrk="0" hangingPunct="1">
                        <a:defRPr sz="1800" kern="1200">
                          <a:solidFill>
                            <a:schemeClr val="tx1"/>
                          </a:solidFill>
                          <a:latin typeface="Graphik"/>
                        </a:defRPr>
                      </a:lvl7pPr>
                      <a:lvl8pPr marL="3200400" algn="l" defTabSz="914400" rtl="0" eaLnBrk="1" latinLnBrk="0" hangingPunct="1">
                        <a:defRPr sz="1800" kern="1200">
                          <a:solidFill>
                            <a:schemeClr val="tx1"/>
                          </a:solidFill>
                          <a:latin typeface="Graphik"/>
                        </a:defRPr>
                      </a:lvl8pPr>
                      <a:lvl9pPr marL="3657600" algn="l" defTabSz="914400" rtl="0" eaLnBrk="1" latinLnBrk="0" hangingPunct="1">
                        <a:defRPr sz="1800" kern="1200">
                          <a:solidFill>
                            <a:schemeClr val="tx1"/>
                          </a:solidFill>
                          <a:latin typeface="Graphik"/>
                        </a:defRPr>
                      </a:lvl9p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pPr>
                      <a:r>
                        <a:rPr kumimoji="0" lang="de-DE" sz="1800" b="1" i="0" u="none" strike="noStrike" cap="none" normalizeH="0" baseline="0" dirty="0">
                          <a:ln>
                            <a:noFill/>
                          </a:ln>
                          <a:solidFill>
                            <a:schemeClr val="bg1"/>
                          </a:solidFill>
                          <a:effectLst/>
                          <a:latin typeface="Arial" charset="0"/>
                          <a:sym typeface="Wingdings" pitchFamily="2" charset="2"/>
                        </a:rPr>
                        <a:t>?</a:t>
                      </a:r>
                    </a:p>
                  </a:txBody>
                  <a:tcPr marL="90000" marR="9000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A100FF"/>
                    </a:solidFill>
                  </a:tcPr>
                </a:tc>
                <a:extLst>
                  <a:ext uri="{0D108BD9-81ED-4DB2-BD59-A6C34878D82A}">
                    <a16:rowId xmlns:a16="http://schemas.microsoft.com/office/drawing/2014/main" val="10007"/>
                  </a:ext>
                </a:extLst>
              </a:tr>
            </a:tbl>
          </a:graphicData>
        </a:graphic>
      </p:graphicFrame>
      <p:sp>
        <p:nvSpPr>
          <p:cNvPr id="2" name="Rectangle 1">
            <a:hlinkClick r:id="rId3" action="ppaction://hlinksldjump"/>
            <a:extLst>
              <a:ext uri="{FF2B5EF4-FFF2-40B4-BE49-F238E27FC236}">
                <a16:creationId xmlns:a16="http://schemas.microsoft.com/office/drawing/2014/main" id="{D2AAF2B5-CBA5-4B1D-B6B7-DA90247EC71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205296099"/>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Teams and People</a:t>
            </a:r>
          </a:p>
        </p:txBody>
      </p:sp>
      <p:sp>
        <p:nvSpPr>
          <p:cNvPr id="8" name="Freeform: Shape 7">
            <a:hlinkClick r:id="rId3"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Text Placeholder 4">
            <a:extLst>
              <a:ext uri="{FF2B5EF4-FFF2-40B4-BE49-F238E27FC236}">
                <a16:creationId xmlns:a16="http://schemas.microsoft.com/office/drawing/2014/main" id="{BF4F5740-2CE9-425A-BCE8-3285679F2B91}"/>
              </a:ext>
            </a:extLst>
          </p:cNvPr>
          <p:cNvSpPr>
            <a:spLocks noGrp="1"/>
          </p:cNvSpPr>
          <p:nvPr>
            <p:ph type="body" sz="quarter" idx="15"/>
          </p:nvPr>
        </p:nvSpPr>
        <p:spPr>
          <a:xfrm>
            <a:off x="8055427" y="3889828"/>
            <a:ext cx="2993573" cy="2194486"/>
          </a:xfrm>
        </p:spPr>
        <p:txBody>
          <a:bodyPr/>
          <a:lstStyle/>
          <a:p>
            <a:r>
              <a:rPr lang="en-US" dirty="0"/>
              <a:t>Part of </a:t>
            </a:r>
            <a:br>
              <a:rPr lang="en-US" dirty="0"/>
            </a:br>
            <a:r>
              <a:rPr lang="en-US" dirty="0">
                <a:hlinkClick r:id="rId4" action="ppaction://hlinksldjump">
                  <a:extLst>
                    <a:ext uri="{A12FA001-AC4F-418D-AE19-62706E023703}">
                      <ahyp:hlinkClr xmlns:ahyp="http://schemas.microsoft.com/office/drawing/2018/hyperlinkcolor" val="tx"/>
                    </a:ext>
                  </a:extLst>
                </a:hlinkClick>
              </a:rPr>
              <a:t>Standard Visuals</a:t>
            </a:r>
            <a:endParaRPr lang="en-US" dirty="0"/>
          </a:p>
        </p:txBody>
      </p:sp>
      <p:sp>
        <p:nvSpPr>
          <p:cNvPr id="2" name="Rectangle 1">
            <a:hlinkClick r:id="rId3" action="ppaction://hlinksldjump"/>
            <a:extLst>
              <a:ext uri="{FF2B5EF4-FFF2-40B4-BE49-F238E27FC236}">
                <a16:creationId xmlns:a16="http://schemas.microsoft.com/office/drawing/2014/main" id="{7052D677-7E52-4CA3-A7E6-2912679B1F9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258852739"/>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Team Structure</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3" action="ppaction://hlinksldjump"/>
            <a:extLst>
              <a:ext uri="{FF2B5EF4-FFF2-40B4-BE49-F238E27FC236}">
                <a16:creationId xmlns:a16="http://schemas.microsoft.com/office/drawing/2014/main" id="{5D1F49F5-AA13-4512-8778-FC56D009812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6" name="Rectangle 19">
            <a:extLst>
              <a:ext uri="{FF2B5EF4-FFF2-40B4-BE49-F238E27FC236}">
                <a16:creationId xmlns:a16="http://schemas.microsoft.com/office/drawing/2014/main" id="{A41B669C-1E0D-46B0-B8A6-DB0DEC2659B3}"/>
              </a:ext>
            </a:extLst>
          </p:cNvPr>
          <p:cNvSpPr>
            <a:spLocks noChangeArrowheads="1"/>
          </p:cNvSpPr>
          <p:nvPr/>
        </p:nvSpPr>
        <p:spPr bwMode="auto">
          <a:xfrm>
            <a:off x="6530584" y="4406385"/>
            <a:ext cx="3493526" cy="1182688"/>
          </a:xfrm>
          <a:prstGeom prst="rect">
            <a:avLst/>
          </a:prstGeom>
          <a:solidFill>
            <a:schemeClr val="bg1"/>
          </a:solid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dirty="0">
              <a:solidFill>
                <a:schemeClr val="bg1"/>
              </a:solidFill>
            </a:endParaRPr>
          </a:p>
        </p:txBody>
      </p:sp>
      <p:sp>
        <p:nvSpPr>
          <p:cNvPr id="57" name="Rectangle 19">
            <a:extLst>
              <a:ext uri="{FF2B5EF4-FFF2-40B4-BE49-F238E27FC236}">
                <a16:creationId xmlns:a16="http://schemas.microsoft.com/office/drawing/2014/main" id="{02CF5096-5B4A-4036-A5F4-69EDE2944B79}"/>
              </a:ext>
            </a:extLst>
          </p:cNvPr>
          <p:cNvSpPr>
            <a:spLocks noChangeArrowheads="1"/>
          </p:cNvSpPr>
          <p:nvPr/>
        </p:nvSpPr>
        <p:spPr bwMode="auto">
          <a:xfrm>
            <a:off x="2167890" y="1284288"/>
            <a:ext cx="7856220" cy="344487"/>
          </a:xfrm>
          <a:prstGeom prst="rect">
            <a:avLst/>
          </a:prstGeom>
          <a:solidFill>
            <a:schemeClr val="bg1">
              <a:lumMod val="50000"/>
            </a:schemeClr>
          </a:solidFill>
          <a:ln>
            <a:no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dirty="0">
                <a:solidFill>
                  <a:schemeClr val="bg1"/>
                </a:solidFill>
              </a:rPr>
              <a:t>Executive Steering Team</a:t>
            </a:r>
          </a:p>
        </p:txBody>
      </p:sp>
      <p:sp>
        <p:nvSpPr>
          <p:cNvPr id="58" name="AutoShape 3">
            <a:extLst>
              <a:ext uri="{FF2B5EF4-FFF2-40B4-BE49-F238E27FC236}">
                <a16:creationId xmlns:a16="http://schemas.microsoft.com/office/drawing/2014/main" id="{525B2700-4C2A-473B-B687-309476851817}"/>
              </a:ext>
            </a:extLst>
          </p:cNvPr>
          <p:cNvSpPr>
            <a:spLocks noChangeArrowheads="1"/>
          </p:cNvSpPr>
          <p:nvPr/>
        </p:nvSpPr>
        <p:spPr bwMode="auto">
          <a:xfrm>
            <a:off x="4648269" y="1754037"/>
            <a:ext cx="2902685" cy="230657"/>
          </a:xfrm>
          <a:prstGeom prst="roundRect">
            <a:avLst>
              <a:gd name="adj" fmla="val 0"/>
            </a:avLst>
          </a:prstGeom>
          <a:solidFill>
            <a:schemeClr val="accent3"/>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eaLnBrk="0" hangingPunct="0">
              <a:lnSpc>
                <a:spcPct val="100000"/>
              </a:lnSpc>
              <a:spcBef>
                <a:spcPct val="20000"/>
              </a:spcBef>
              <a:buFont typeface="Wingdings" pitchFamily="2" charset="2"/>
              <a:buNone/>
              <a:defRPr/>
            </a:pPr>
            <a:endParaRPr lang="en-US" sz="1100" dirty="0">
              <a:solidFill>
                <a:schemeClr val="bg1"/>
              </a:solidFill>
            </a:endParaRPr>
          </a:p>
          <a:p>
            <a:pPr algn="ctr" eaLnBrk="0" hangingPunct="0">
              <a:lnSpc>
                <a:spcPct val="100000"/>
              </a:lnSpc>
              <a:spcBef>
                <a:spcPct val="20000"/>
              </a:spcBef>
              <a:buFont typeface="Wingdings" pitchFamily="2" charset="2"/>
              <a:buNone/>
              <a:defRPr/>
            </a:pPr>
            <a:r>
              <a:rPr lang="en-US" sz="1100" dirty="0">
                <a:solidFill>
                  <a:schemeClr val="bg1"/>
                </a:solidFill>
              </a:rPr>
              <a:t>Client Lead</a:t>
            </a:r>
          </a:p>
          <a:p>
            <a:pPr algn="ctr" eaLnBrk="0" hangingPunct="0">
              <a:lnSpc>
                <a:spcPct val="100000"/>
              </a:lnSpc>
              <a:spcBef>
                <a:spcPct val="20000"/>
              </a:spcBef>
              <a:buFont typeface="Wingdings" pitchFamily="2" charset="2"/>
              <a:buNone/>
              <a:defRPr/>
            </a:pPr>
            <a:endParaRPr lang="en-US" sz="1100" dirty="0"/>
          </a:p>
        </p:txBody>
      </p:sp>
      <p:sp>
        <p:nvSpPr>
          <p:cNvPr id="59" name="Rectangle 19">
            <a:extLst>
              <a:ext uri="{FF2B5EF4-FFF2-40B4-BE49-F238E27FC236}">
                <a16:creationId xmlns:a16="http://schemas.microsoft.com/office/drawing/2014/main" id="{ACDBCB81-76B6-4799-8ECD-6F06F05E4CA2}"/>
              </a:ext>
            </a:extLst>
          </p:cNvPr>
          <p:cNvSpPr>
            <a:spLocks noChangeArrowheads="1"/>
          </p:cNvSpPr>
          <p:nvPr/>
        </p:nvSpPr>
        <p:spPr bwMode="auto">
          <a:xfrm>
            <a:off x="2167890" y="1284289"/>
            <a:ext cx="7856220" cy="1182688"/>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dirty="0">
              <a:solidFill>
                <a:schemeClr val="bg1"/>
              </a:solidFill>
            </a:endParaRPr>
          </a:p>
        </p:txBody>
      </p:sp>
      <p:sp>
        <p:nvSpPr>
          <p:cNvPr id="60" name="AutoShape 3">
            <a:extLst>
              <a:ext uri="{FF2B5EF4-FFF2-40B4-BE49-F238E27FC236}">
                <a16:creationId xmlns:a16="http://schemas.microsoft.com/office/drawing/2014/main" id="{F4814E73-C342-405B-9514-3579E8F5E684}"/>
              </a:ext>
            </a:extLst>
          </p:cNvPr>
          <p:cNvSpPr>
            <a:spLocks noChangeArrowheads="1"/>
          </p:cNvSpPr>
          <p:nvPr/>
        </p:nvSpPr>
        <p:spPr bwMode="auto">
          <a:xfrm>
            <a:off x="2476762" y="2109955"/>
            <a:ext cx="2902685" cy="230657"/>
          </a:xfrm>
          <a:prstGeom prst="roundRect">
            <a:avLst>
              <a:gd name="adj" fmla="val 0"/>
            </a:avLst>
          </a:prstGeom>
          <a:solidFill>
            <a:schemeClr val="accent2"/>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Managing Director</a:t>
            </a:r>
          </a:p>
        </p:txBody>
      </p:sp>
      <p:sp>
        <p:nvSpPr>
          <p:cNvPr id="61" name="AutoShape 3">
            <a:extLst>
              <a:ext uri="{FF2B5EF4-FFF2-40B4-BE49-F238E27FC236}">
                <a16:creationId xmlns:a16="http://schemas.microsoft.com/office/drawing/2014/main" id="{65766CFD-C347-4DE2-B2DD-7B08C3D8A1F5}"/>
              </a:ext>
            </a:extLst>
          </p:cNvPr>
          <p:cNvSpPr>
            <a:spLocks noChangeArrowheads="1"/>
          </p:cNvSpPr>
          <p:nvPr/>
        </p:nvSpPr>
        <p:spPr bwMode="auto">
          <a:xfrm>
            <a:off x="6824112" y="2109955"/>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Managing Director</a:t>
            </a:r>
          </a:p>
        </p:txBody>
      </p:sp>
      <p:sp>
        <p:nvSpPr>
          <p:cNvPr id="62" name="Rectangle 19">
            <a:extLst>
              <a:ext uri="{FF2B5EF4-FFF2-40B4-BE49-F238E27FC236}">
                <a16:creationId xmlns:a16="http://schemas.microsoft.com/office/drawing/2014/main" id="{1A0E7966-9945-4B46-AB88-2F27556506D4}"/>
              </a:ext>
            </a:extLst>
          </p:cNvPr>
          <p:cNvSpPr>
            <a:spLocks noChangeArrowheads="1"/>
          </p:cNvSpPr>
          <p:nvPr/>
        </p:nvSpPr>
        <p:spPr bwMode="auto">
          <a:xfrm>
            <a:off x="2177521" y="2655888"/>
            <a:ext cx="3493526" cy="344487"/>
          </a:xfrm>
          <a:prstGeom prst="rect">
            <a:avLst/>
          </a:prstGeom>
          <a:solidFill>
            <a:schemeClr val="bg1">
              <a:lumMod val="50000"/>
            </a:schemeClr>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a:solidFill>
                  <a:schemeClr val="bg1"/>
                </a:solidFill>
              </a:rPr>
              <a:t>Account Team </a:t>
            </a:r>
            <a:endParaRPr lang="en-US" sz="1200" b="1" dirty="0">
              <a:solidFill>
                <a:schemeClr val="bg1"/>
              </a:solidFill>
            </a:endParaRPr>
          </a:p>
        </p:txBody>
      </p:sp>
      <p:sp>
        <p:nvSpPr>
          <p:cNvPr id="63" name="AutoShape 3">
            <a:extLst>
              <a:ext uri="{FF2B5EF4-FFF2-40B4-BE49-F238E27FC236}">
                <a16:creationId xmlns:a16="http://schemas.microsoft.com/office/drawing/2014/main" id="{D34E1286-E03E-43FF-8635-160B307C3207}"/>
              </a:ext>
            </a:extLst>
          </p:cNvPr>
          <p:cNvSpPr>
            <a:spLocks noChangeArrowheads="1"/>
          </p:cNvSpPr>
          <p:nvPr/>
        </p:nvSpPr>
        <p:spPr bwMode="auto">
          <a:xfrm>
            <a:off x="2476762" y="3125637"/>
            <a:ext cx="2902685" cy="230657"/>
          </a:xfrm>
          <a:prstGeom prst="roundRect">
            <a:avLst>
              <a:gd name="adj" fmla="val 0"/>
            </a:avLst>
          </a:prstGeom>
          <a:solidFill>
            <a:schemeClr val="accent2"/>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Senior Manager</a:t>
            </a:r>
          </a:p>
        </p:txBody>
      </p:sp>
      <p:sp>
        <p:nvSpPr>
          <p:cNvPr id="64" name="AutoShape 3">
            <a:extLst>
              <a:ext uri="{FF2B5EF4-FFF2-40B4-BE49-F238E27FC236}">
                <a16:creationId xmlns:a16="http://schemas.microsoft.com/office/drawing/2014/main" id="{DEBFCA0B-9EFA-4E7C-99CE-D5516282FC51}"/>
              </a:ext>
            </a:extLst>
          </p:cNvPr>
          <p:cNvSpPr>
            <a:spLocks noChangeArrowheads="1"/>
          </p:cNvSpPr>
          <p:nvPr/>
        </p:nvSpPr>
        <p:spPr bwMode="auto">
          <a:xfrm>
            <a:off x="2476762" y="3481555"/>
            <a:ext cx="2902685" cy="230657"/>
          </a:xfrm>
          <a:prstGeom prst="roundRect">
            <a:avLst>
              <a:gd name="adj" fmla="val 0"/>
            </a:avLst>
          </a:prstGeom>
          <a:solidFill>
            <a:schemeClr val="accent2"/>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Manager</a:t>
            </a:r>
          </a:p>
        </p:txBody>
      </p:sp>
      <p:cxnSp>
        <p:nvCxnSpPr>
          <p:cNvPr id="65" name="Straight Connector 64">
            <a:extLst>
              <a:ext uri="{FF2B5EF4-FFF2-40B4-BE49-F238E27FC236}">
                <a16:creationId xmlns:a16="http://schemas.microsoft.com/office/drawing/2014/main" id="{EF6A81A5-0318-4824-A9A4-7C30B85DF133}"/>
              </a:ext>
            </a:extLst>
          </p:cNvPr>
          <p:cNvCxnSpPr>
            <a:stCxn id="60" idx="2"/>
            <a:endCxn id="62" idx="0"/>
          </p:cNvCxnSpPr>
          <p:nvPr/>
        </p:nvCxnSpPr>
        <p:spPr bwMode="auto">
          <a:xfrm flipH="1">
            <a:off x="3924283" y="2340612"/>
            <a:ext cx="3820" cy="315276"/>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66" name="Rectangle 19">
            <a:extLst>
              <a:ext uri="{FF2B5EF4-FFF2-40B4-BE49-F238E27FC236}">
                <a16:creationId xmlns:a16="http://schemas.microsoft.com/office/drawing/2014/main" id="{7E0E81E5-7120-476E-A1C9-D076EF28AADA}"/>
              </a:ext>
            </a:extLst>
          </p:cNvPr>
          <p:cNvSpPr>
            <a:spLocks noChangeArrowheads="1"/>
          </p:cNvSpPr>
          <p:nvPr/>
        </p:nvSpPr>
        <p:spPr bwMode="auto">
          <a:xfrm>
            <a:off x="2177521" y="2655889"/>
            <a:ext cx="3493526" cy="1182688"/>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dirty="0">
              <a:solidFill>
                <a:schemeClr val="bg1"/>
              </a:solidFill>
            </a:endParaRPr>
          </a:p>
        </p:txBody>
      </p:sp>
      <p:sp>
        <p:nvSpPr>
          <p:cNvPr id="67" name="Rectangle 19">
            <a:extLst>
              <a:ext uri="{FF2B5EF4-FFF2-40B4-BE49-F238E27FC236}">
                <a16:creationId xmlns:a16="http://schemas.microsoft.com/office/drawing/2014/main" id="{623B768C-5718-4189-B4EF-2E544AC5653C}"/>
              </a:ext>
            </a:extLst>
          </p:cNvPr>
          <p:cNvSpPr>
            <a:spLocks noChangeArrowheads="1"/>
          </p:cNvSpPr>
          <p:nvPr/>
        </p:nvSpPr>
        <p:spPr bwMode="auto">
          <a:xfrm>
            <a:off x="6529769" y="2655889"/>
            <a:ext cx="3494341" cy="344487"/>
          </a:xfrm>
          <a:prstGeom prst="rect">
            <a:avLst/>
          </a:prstGeom>
          <a:solidFill>
            <a:schemeClr val="bg1">
              <a:lumMod val="50000"/>
            </a:schemeClr>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dirty="0">
                <a:solidFill>
                  <a:schemeClr val="bg1"/>
                </a:solidFill>
              </a:rPr>
              <a:t>Operating Model Team</a:t>
            </a:r>
          </a:p>
        </p:txBody>
      </p:sp>
      <p:sp>
        <p:nvSpPr>
          <p:cNvPr id="68" name="AutoShape 3">
            <a:extLst>
              <a:ext uri="{FF2B5EF4-FFF2-40B4-BE49-F238E27FC236}">
                <a16:creationId xmlns:a16="http://schemas.microsoft.com/office/drawing/2014/main" id="{E136F65C-EF41-4A0D-9C24-4C3E58A814E8}"/>
              </a:ext>
            </a:extLst>
          </p:cNvPr>
          <p:cNvSpPr>
            <a:spLocks noChangeArrowheads="1"/>
          </p:cNvSpPr>
          <p:nvPr/>
        </p:nvSpPr>
        <p:spPr bwMode="auto">
          <a:xfrm>
            <a:off x="6838640" y="3125637"/>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Senior Manager</a:t>
            </a:r>
          </a:p>
        </p:txBody>
      </p:sp>
      <p:cxnSp>
        <p:nvCxnSpPr>
          <p:cNvPr id="69" name="Straight Connector 68">
            <a:extLst>
              <a:ext uri="{FF2B5EF4-FFF2-40B4-BE49-F238E27FC236}">
                <a16:creationId xmlns:a16="http://schemas.microsoft.com/office/drawing/2014/main" id="{F54F4501-DCAF-4F0B-8348-FF7EAB008CE4}"/>
              </a:ext>
            </a:extLst>
          </p:cNvPr>
          <p:cNvCxnSpPr>
            <a:stCxn id="61" idx="2"/>
            <a:endCxn id="67" idx="0"/>
          </p:cNvCxnSpPr>
          <p:nvPr/>
        </p:nvCxnSpPr>
        <p:spPr bwMode="auto">
          <a:xfrm rot="16200000" flipH="1">
            <a:off x="8118560" y="2497507"/>
            <a:ext cx="315277" cy="1485"/>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70" name="Rectangle 19">
            <a:extLst>
              <a:ext uri="{FF2B5EF4-FFF2-40B4-BE49-F238E27FC236}">
                <a16:creationId xmlns:a16="http://schemas.microsoft.com/office/drawing/2014/main" id="{01B2844B-3B87-4CBD-981B-1F9F669D9BA8}"/>
              </a:ext>
            </a:extLst>
          </p:cNvPr>
          <p:cNvSpPr>
            <a:spLocks noChangeArrowheads="1"/>
          </p:cNvSpPr>
          <p:nvPr/>
        </p:nvSpPr>
        <p:spPr bwMode="auto">
          <a:xfrm>
            <a:off x="6529769" y="2655889"/>
            <a:ext cx="3494341" cy="1549400"/>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dirty="0">
              <a:solidFill>
                <a:schemeClr val="bg1"/>
              </a:solidFill>
            </a:endParaRPr>
          </a:p>
        </p:txBody>
      </p:sp>
      <p:cxnSp>
        <p:nvCxnSpPr>
          <p:cNvPr id="71" name="Straight Connector 70">
            <a:extLst>
              <a:ext uri="{FF2B5EF4-FFF2-40B4-BE49-F238E27FC236}">
                <a16:creationId xmlns:a16="http://schemas.microsoft.com/office/drawing/2014/main" id="{451EDFCE-A5B1-4721-8020-F0354DCDC1DB}"/>
              </a:ext>
            </a:extLst>
          </p:cNvPr>
          <p:cNvCxnSpPr>
            <a:stCxn id="68" idx="2"/>
            <a:endCxn id="79" idx="0"/>
          </p:cNvCxnSpPr>
          <p:nvPr/>
        </p:nvCxnSpPr>
        <p:spPr bwMode="auto">
          <a:xfrm rot="16200000" flipH="1">
            <a:off x="8227850" y="3418427"/>
            <a:ext cx="125261" cy="992"/>
          </a:xfrm>
          <a:prstGeom prst="line">
            <a:avLst/>
          </a:prstGeom>
          <a:solidFill>
            <a:schemeClr val="accent1"/>
          </a:solidFill>
          <a:ln w="9525" cap="flat" cmpd="sng" algn="ctr">
            <a:solidFill>
              <a:srgbClr val="778888"/>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EAE2A1FB-62E4-43B2-9496-5CF39F7CA666}"/>
              </a:ext>
            </a:extLst>
          </p:cNvPr>
          <p:cNvCxnSpPr/>
          <p:nvPr/>
        </p:nvCxnSpPr>
        <p:spPr bwMode="auto">
          <a:xfrm rot="5400000">
            <a:off x="7352790" y="3774283"/>
            <a:ext cx="214313"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B165073F-309F-42B5-AB05-9F9B8E57ABD3}"/>
              </a:ext>
            </a:extLst>
          </p:cNvPr>
          <p:cNvCxnSpPr/>
          <p:nvPr/>
        </p:nvCxnSpPr>
        <p:spPr bwMode="auto">
          <a:xfrm rot="5400000">
            <a:off x="8739607" y="3774284"/>
            <a:ext cx="214313"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74" name="AutoShape 3">
            <a:extLst>
              <a:ext uri="{FF2B5EF4-FFF2-40B4-BE49-F238E27FC236}">
                <a16:creationId xmlns:a16="http://schemas.microsoft.com/office/drawing/2014/main" id="{FAC3733F-76C8-499A-B005-BEE45F475AFD}"/>
              </a:ext>
            </a:extLst>
          </p:cNvPr>
          <p:cNvSpPr>
            <a:spLocks noChangeArrowheads="1"/>
          </p:cNvSpPr>
          <p:nvPr/>
        </p:nvSpPr>
        <p:spPr bwMode="auto">
          <a:xfrm>
            <a:off x="6838642" y="3836837"/>
            <a:ext cx="125785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Consultant</a:t>
            </a:r>
          </a:p>
        </p:txBody>
      </p:sp>
      <p:sp>
        <p:nvSpPr>
          <p:cNvPr id="75" name="AutoShape 3">
            <a:extLst>
              <a:ext uri="{FF2B5EF4-FFF2-40B4-BE49-F238E27FC236}">
                <a16:creationId xmlns:a16="http://schemas.microsoft.com/office/drawing/2014/main" id="{7191596B-73F7-4A5E-8DC9-D6934CD56283}"/>
              </a:ext>
            </a:extLst>
          </p:cNvPr>
          <p:cNvSpPr>
            <a:spLocks noChangeArrowheads="1"/>
          </p:cNvSpPr>
          <p:nvPr/>
        </p:nvSpPr>
        <p:spPr bwMode="auto">
          <a:xfrm>
            <a:off x="8225458" y="3836837"/>
            <a:ext cx="125785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Analyst</a:t>
            </a:r>
          </a:p>
        </p:txBody>
      </p:sp>
      <p:sp>
        <p:nvSpPr>
          <p:cNvPr id="76" name="AutoShape 3">
            <a:extLst>
              <a:ext uri="{FF2B5EF4-FFF2-40B4-BE49-F238E27FC236}">
                <a16:creationId xmlns:a16="http://schemas.microsoft.com/office/drawing/2014/main" id="{F55E6436-1D55-4C07-89B2-F22BD808E606}"/>
              </a:ext>
            </a:extLst>
          </p:cNvPr>
          <p:cNvSpPr>
            <a:spLocks noChangeArrowheads="1"/>
          </p:cNvSpPr>
          <p:nvPr/>
        </p:nvSpPr>
        <p:spPr bwMode="auto">
          <a:xfrm>
            <a:off x="6839456" y="4876133"/>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Consultant</a:t>
            </a:r>
          </a:p>
        </p:txBody>
      </p:sp>
      <p:sp>
        <p:nvSpPr>
          <p:cNvPr id="77" name="AutoShape 3">
            <a:extLst>
              <a:ext uri="{FF2B5EF4-FFF2-40B4-BE49-F238E27FC236}">
                <a16:creationId xmlns:a16="http://schemas.microsoft.com/office/drawing/2014/main" id="{87434B08-1B8F-4148-852C-51EBF09758EB}"/>
              </a:ext>
            </a:extLst>
          </p:cNvPr>
          <p:cNvSpPr>
            <a:spLocks noChangeArrowheads="1"/>
          </p:cNvSpPr>
          <p:nvPr/>
        </p:nvSpPr>
        <p:spPr bwMode="auto">
          <a:xfrm>
            <a:off x="6839456" y="5232051"/>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Analyst</a:t>
            </a:r>
          </a:p>
        </p:txBody>
      </p:sp>
      <p:cxnSp>
        <p:nvCxnSpPr>
          <p:cNvPr id="78" name="Straight Connector 77">
            <a:extLst>
              <a:ext uri="{FF2B5EF4-FFF2-40B4-BE49-F238E27FC236}">
                <a16:creationId xmlns:a16="http://schemas.microsoft.com/office/drawing/2014/main" id="{3AD7B87B-1A13-4D78-872A-FF99C561F5A1}"/>
              </a:ext>
            </a:extLst>
          </p:cNvPr>
          <p:cNvCxnSpPr/>
          <p:nvPr/>
        </p:nvCxnSpPr>
        <p:spPr bwMode="auto">
          <a:xfrm rot="5400000">
            <a:off x="9225100" y="4055746"/>
            <a:ext cx="754380"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79" name="AutoShape 3">
            <a:extLst>
              <a:ext uri="{FF2B5EF4-FFF2-40B4-BE49-F238E27FC236}">
                <a16:creationId xmlns:a16="http://schemas.microsoft.com/office/drawing/2014/main" id="{A47B9B1F-32E9-4307-B15E-FFD5B5FC01B2}"/>
              </a:ext>
            </a:extLst>
          </p:cNvPr>
          <p:cNvSpPr>
            <a:spLocks noChangeArrowheads="1"/>
          </p:cNvSpPr>
          <p:nvPr/>
        </p:nvSpPr>
        <p:spPr bwMode="auto">
          <a:xfrm>
            <a:off x="6838639" y="3481555"/>
            <a:ext cx="2904671"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dirty="0">
                <a:solidFill>
                  <a:schemeClr val="bg1"/>
                </a:solidFill>
              </a:rPr>
              <a:t>Manager</a:t>
            </a:r>
          </a:p>
        </p:txBody>
      </p:sp>
      <p:sp>
        <p:nvSpPr>
          <p:cNvPr id="80" name="Rectangle 19">
            <a:extLst>
              <a:ext uri="{FF2B5EF4-FFF2-40B4-BE49-F238E27FC236}">
                <a16:creationId xmlns:a16="http://schemas.microsoft.com/office/drawing/2014/main" id="{BF1C30D6-5F7E-4BCC-B6A5-87294ED36713}"/>
              </a:ext>
            </a:extLst>
          </p:cNvPr>
          <p:cNvSpPr>
            <a:spLocks noChangeArrowheads="1"/>
          </p:cNvSpPr>
          <p:nvPr/>
        </p:nvSpPr>
        <p:spPr bwMode="auto">
          <a:xfrm>
            <a:off x="6530584" y="4406385"/>
            <a:ext cx="3493526" cy="344487"/>
          </a:xfrm>
          <a:prstGeom prst="rect">
            <a:avLst/>
          </a:prstGeom>
          <a:solidFill>
            <a:schemeClr val="bg1">
              <a:lumMod val="50000"/>
            </a:schemeClr>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dirty="0">
                <a:solidFill>
                  <a:schemeClr val="bg1"/>
                </a:solidFill>
              </a:rPr>
              <a:t>Global Talent &amp; Innovation Network</a:t>
            </a:r>
          </a:p>
        </p:txBody>
      </p:sp>
    </p:spTree>
    <p:extLst>
      <p:ext uri="{BB962C8B-B14F-4D97-AF65-F5344CB8AC3E}">
        <p14:creationId xmlns:p14="http://schemas.microsoft.com/office/powerpoint/2010/main" val="724998507"/>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oject Organization 1</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3">
            <a:extLst>
              <a:ext uri="{FF2B5EF4-FFF2-40B4-BE49-F238E27FC236}">
                <a16:creationId xmlns:a16="http://schemas.microsoft.com/office/drawing/2014/main" id="{D68BE65D-8242-489B-A4DB-E5CDB0E2DB60}"/>
              </a:ext>
            </a:extLst>
          </p:cNvPr>
          <p:cNvSpPr>
            <a:spLocks noChangeArrowheads="1"/>
          </p:cNvSpPr>
          <p:nvPr/>
        </p:nvSpPr>
        <p:spPr bwMode="auto">
          <a:xfrm>
            <a:off x="2508250" y="6248400"/>
            <a:ext cx="1758950" cy="457200"/>
          </a:xfrm>
          <a:prstGeom prst="rect">
            <a:avLst/>
          </a:prstGeom>
          <a:no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Rectangle 4">
            <a:extLst>
              <a:ext uri="{FF2B5EF4-FFF2-40B4-BE49-F238E27FC236}">
                <a16:creationId xmlns:a16="http://schemas.microsoft.com/office/drawing/2014/main" id="{0C5BC9D5-C50E-487E-8F06-87858F78623A}"/>
              </a:ext>
            </a:extLst>
          </p:cNvPr>
          <p:cNvSpPr>
            <a:spLocks noChangeArrowheads="1"/>
          </p:cNvSpPr>
          <p:nvPr/>
        </p:nvSpPr>
        <p:spPr bwMode="auto">
          <a:xfrm>
            <a:off x="4759325" y="6248400"/>
            <a:ext cx="2673350" cy="457200"/>
          </a:xfrm>
          <a:prstGeom prst="rect">
            <a:avLst/>
          </a:prstGeom>
          <a:no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Rectangle 6">
            <a:extLst>
              <a:ext uri="{FF2B5EF4-FFF2-40B4-BE49-F238E27FC236}">
                <a16:creationId xmlns:a16="http://schemas.microsoft.com/office/drawing/2014/main" id="{524BF40D-FC1B-4578-B4CC-A889478D8A74}"/>
              </a:ext>
            </a:extLst>
          </p:cNvPr>
          <p:cNvSpPr>
            <a:spLocks noChangeArrowheads="1"/>
          </p:cNvSpPr>
          <p:nvPr/>
        </p:nvSpPr>
        <p:spPr bwMode="auto">
          <a:xfrm>
            <a:off x="4823154" y="4670538"/>
            <a:ext cx="2532987" cy="354343"/>
          </a:xfrm>
          <a:prstGeom prst="rect">
            <a:avLst/>
          </a:prstGeom>
          <a:solidFill>
            <a:schemeClr val="accent3"/>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9" name="Rectangle 7">
            <a:extLst>
              <a:ext uri="{FF2B5EF4-FFF2-40B4-BE49-F238E27FC236}">
                <a16:creationId xmlns:a16="http://schemas.microsoft.com/office/drawing/2014/main" id="{88999B96-8339-468C-B41D-1434B6A8C424}"/>
              </a:ext>
            </a:extLst>
          </p:cNvPr>
          <p:cNvSpPr>
            <a:spLocks noChangeArrowheads="1"/>
          </p:cNvSpPr>
          <p:nvPr/>
        </p:nvSpPr>
        <p:spPr bwMode="auto">
          <a:xfrm>
            <a:off x="1996878" y="4670538"/>
            <a:ext cx="2532987" cy="354343"/>
          </a:xfrm>
          <a:prstGeom prst="rect">
            <a:avLst/>
          </a:prstGeom>
          <a:solidFill>
            <a:schemeClr val="accent3"/>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0" name="Rectangle 8">
            <a:extLst>
              <a:ext uri="{FF2B5EF4-FFF2-40B4-BE49-F238E27FC236}">
                <a16:creationId xmlns:a16="http://schemas.microsoft.com/office/drawing/2014/main" id="{32308F00-1C39-456E-BDE7-6A4DD680237C}"/>
              </a:ext>
            </a:extLst>
          </p:cNvPr>
          <p:cNvSpPr>
            <a:spLocks noChangeArrowheads="1"/>
          </p:cNvSpPr>
          <p:nvPr/>
        </p:nvSpPr>
        <p:spPr bwMode="auto">
          <a:xfrm>
            <a:off x="7662770" y="4670538"/>
            <a:ext cx="2532987" cy="354343"/>
          </a:xfrm>
          <a:prstGeom prst="rect">
            <a:avLst/>
          </a:prstGeom>
          <a:solidFill>
            <a:schemeClr val="accent3"/>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1" name="Rectangle 9">
            <a:extLst>
              <a:ext uri="{FF2B5EF4-FFF2-40B4-BE49-F238E27FC236}">
                <a16:creationId xmlns:a16="http://schemas.microsoft.com/office/drawing/2014/main" id="{29306749-0CE7-46AE-8D1D-121431399BA1}"/>
              </a:ext>
            </a:extLst>
          </p:cNvPr>
          <p:cNvSpPr>
            <a:spLocks noChangeArrowheads="1"/>
          </p:cNvSpPr>
          <p:nvPr/>
        </p:nvSpPr>
        <p:spPr bwMode="auto">
          <a:xfrm>
            <a:off x="4823153" y="1668780"/>
            <a:ext cx="2530904" cy="354343"/>
          </a:xfrm>
          <a:prstGeom prst="rect">
            <a:avLst/>
          </a:prstGeom>
          <a:solidFill>
            <a:schemeClr val="accent1"/>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2" name="Rectangle 10">
            <a:extLst>
              <a:ext uri="{FF2B5EF4-FFF2-40B4-BE49-F238E27FC236}">
                <a16:creationId xmlns:a16="http://schemas.microsoft.com/office/drawing/2014/main" id="{E9DFAA0D-2E69-479B-B792-D67438CF1192}"/>
              </a:ext>
            </a:extLst>
          </p:cNvPr>
          <p:cNvSpPr>
            <a:spLocks noChangeArrowheads="1"/>
          </p:cNvSpPr>
          <p:nvPr/>
        </p:nvSpPr>
        <p:spPr bwMode="auto">
          <a:xfrm>
            <a:off x="4823153" y="2853684"/>
            <a:ext cx="2530904" cy="354343"/>
          </a:xfrm>
          <a:prstGeom prst="rect">
            <a:avLst/>
          </a:prstGeom>
          <a:solidFill>
            <a:schemeClr val="accent2"/>
          </a:solidFill>
          <a:ln w="6350">
            <a:noFill/>
            <a:miter lim="800000"/>
            <a:headEnd/>
            <a:tailEnd/>
          </a:ln>
          <a:effectLst/>
        </p:spPr>
        <p:txBody>
          <a:bodyPr lIns="72000" tIns="72000" rIns="72000" bIns="72000" anchor="ct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Black"/>
                <a:ea typeface="+mn-ea"/>
                <a:cs typeface="+mn-cs"/>
              </a:rPr>
              <a:t>Text</a:t>
            </a:r>
          </a:p>
        </p:txBody>
      </p:sp>
      <p:sp>
        <p:nvSpPr>
          <p:cNvPr id="13" name="Rectangle 11">
            <a:extLst>
              <a:ext uri="{FF2B5EF4-FFF2-40B4-BE49-F238E27FC236}">
                <a16:creationId xmlns:a16="http://schemas.microsoft.com/office/drawing/2014/main" id="{57327646-B8C3-4556-BC66-06B38F8AAD30}"/>
              </a:ext>
            </a:extLst>
          </p:cNvPr>
          <p:cNvSpPr>
            <a:spLocks noChangeArrowheads="1"/>
          </p:cNvSpPr>
          <p:nvPr/>
        </p:nvSpPr>
        <p:spPr bwMode="auto">
          <a:xfrm>
            <a:off x="4823154" y="5011338"/>
            <a:ext cx="2532987" cy="99080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4" name="Rectangle 12">
            <a:extLst>
              <a:ext uri="{FF2B5EF4-FFF2-40B4-BE49-F238E27FC236}">
                <a16:creationId xmlns:a16="http://schemas.microsoft.com/office/drawing/2014/main" id="{28EC4FDD-4B1F-49E5-930B-9A5CDF006808}"/>
              </a:ext>
            </a:extLst>
          </p:cNvPr>
          <p:cNvSpPr>
            <a:spLocks noChangeArrowheads="1"/>
          </p:cNvSpPr>
          <p:nvPr/>
        </p:nvSpPr>
        <p:spPr bwMode="auto">
          <a:xfrm>
            <a:off x="1996878" y="5011338"/>
            <a:ext cx="2532987" cy="99080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5" name="Rectangle 13">
            <a:extLst>
              <a:ext uri="{FF2B5EF4-FFF2-40B4-BE49-F238E27FC236}">
                <a16:creationId xmlns:a16="http://schemas.microsoft.com/office/drawing/2014/main" id="{FE73D1E1-B122-4F73-A9B0-55D1FC82FE13}"/>
              </a:ext>
            </a:extLst>
          </p:cNvPr>
          <p:cNvSpPr>
            <a:spLocks noChangeArrowheads="1"/>
          </p:cNvSpPr>
          <p:nvPr/>
        </p:nvSpPr>
        <p:spPr bwMode="auto">
          <a:xfrm>
            <a:off x="7662770" y="5011338"/>
            <a:ext cx="2532987" cy="99080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6" name="Rectangle 14">
            <a:extLst>
              <a:ext uri="{FF2B5EF4-FFF2-40B4-BE49-F238E27FC236}">
                <a16:creationId xmlns:a16="http://schemas.microsoft.com/office/drawing/2014/main" id="{3C7B49C7-00C7-48B0-A3DE-02AF48A44C80}"/>
              </a:ext>
            </a:extLst>
          </p:cNvPr>
          <p:cNvSpPr>
            <a:spLocks noChangeArrowheads="1"/>
          </p:cNvSpPr>
          <p:nvPr/>
        </p:nvSpPr>
        <p:spPr bwMode="auto">
          <a:xfrm>
            <a:off x="4823153" y="2007324"/>
            <a:ext cx="2530904" cy="444621"/>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7" name="Rectangle 15">
            <a:extLst>
              <a:ext uri="{FF2B5EF4-FFF2-40B4-BE49-F238E27FC236}">
                <a16:creationId xmlns:a16="http://schemas.microsoft.com/office/drawing/2014/main" id="{292DB0E6-86DE-4885-838C-8DBB087160CA}"/>
              </a:ext>
            </a:extLst>
          </p:cNvPr>
          <p:cNvSpPr>
            <a:spLocks noChangeArrowheads="1"/>
          </p:cNvSpPr>
          <p:nvPr/>
        </p:nvSpPr>
        <p:spPr bwMode="auto">
          <a:xfrm>
            <a:off x="4823153" y="3192228"/>
            <a:ext cx="2530904" cy="99080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cxnSp>
        <p:nvCxnSpPr>
          <p:cNvPr id="18" name="AutoShape 16">
            <a:extLst>
              <a:ext uri="{FF2B5EF4-FFF2-40B4-BE49-F238E27FC236}">
                <a16:creationId xmlns:a16="http://schemas.microsoft.com/office/drawing/2014/main" id="{5A57B635-4DE5-416D-8567-91BF835136B5}"/>
              </a:ext>
            </a:extLst>
          </p:cNvPr>
          <p:cNvCxnSpPr>
            <a:cxnSpLocks noChangeShapeType="1"/>
            <a:stCxn id="16" idx="2"/>
            <a:endCxn id="12" idx="0"/>
          </p:cNvCxnSpPr>
          <p:nvPr/>
        </p:nvCxnSpPr>
        <p:spPr bwMode="auto">
          <a:xfrm>
            <a:off x="6088605" y="2451945"/>
            <a:ext cx="0" cy="401739"/>
          </a:xfrm>
          <a:prstGeom prst="straightConnector1">
            <a:avLst/>
          </a:prstGeom>
          <a:noFill/>
          <a:ln w="12700" cap="rnd" cmpd="sng" algn="ctr">
            <a:solidFill>
              <a:srgbClr val="96968C"/>
            </a:solidFill>
            <a:prstDash val="sysDot"/>
            <a:headEnd type="none" w="med" len="med"/>
            <a:tailEnd type="none" w="med" len="med"/>
          </a:ln>
          <a:effectLst/>
        </p:spPr>
      </p:cxnSp>
      <p:cxnSp>
        <p:nvCxnSpPr>
          <p:cNvPr id="19" name="AutoShape 17">
            <a:extLst>
              <a:ext uri="{FF2B5EF4-FFF2-40B4-BE49-F238E27FC236}">
                <a16:creationId xmlns:a16="http://schemas.microsoft.com/office/drawing/2014/main" id="{6F0E0176-04A4-462A-B737-7196B5BB22AF}"/>
              </a:ext>
            </a:extLst>
          </p:cNvPr>
          <p:cNvCxnSpPr>
            <a:cxnSpLocks noChangeShapeType="1"/>
            <a:stCxn id="17" idx="2"/>
            <a:endCxn id="9" idx="0"/>
          </p:cNvCxnSpPr>
          <p:nvPr/>
        </p:nvCxnSpPr>
        <p:spPr bwMode="auto">
          <a:xfrm rot="5400000">
            <a:off x="4432238" y="3014168"/>
            <a:ext cx="487503" cy="2825234"/>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20" name="AutoShape 18">
            <a:extLst>
              <a:ext uri="{FF2B5EF4-FFF2-40B4-BE49-F238E27FC236}">
                <a16:creationId xmlns:a16="http://schemas.microsoft.com/office/drawing/2014/main" id="{75633AEB-50D7-4F82-BCCF-6B56512C7FDF}"/>
              </a:ext>
            </a:extLst>
          </p:cNvPr>
          <p:cNvCxnSpPr>
            <a:cxnSpLocks noChangeShapeType="1"/>
            <a:stCxn id="17" idx="2"/>
            <a:endCxn id="10" idx="0"/>
          </p:cNvCxnSpPr>
          <p:nvPr/>
        </p:nvCxnSpPr>
        <p:spPr bwMode="auto">
          <a:xfrm rot="16200000" flipH="1">
            <a:off x="7265182" y="3006456"/>
            <a:ext cx="487504" cy="2840659"/>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21" name="AutoShape 19">
            <a:extLst>
              <a:ext uri="{FF2B5EF4-FFF2-40B4-BE49-F238E27FC236}">
                <a16:creationId xmlns:a16="http://schemas.microsoft.com/office/drawing/2014/main" id="{512669C2-3DCA-49EF-BE4E-66AE291AA7CB}"/>
              </a:ext>
            </a:extLst>
          </p:cNvPr>
          <p:cNvCxnSpPr>
            <a:cxnSpLocks noChangeShapeType="1"/>
            <a:stCxn id="17" idx="2"/>
            <a:endCxn id="8" idx="0"/>
          </p:cNvCxnSpPr>
          <p:nvPr/>
        </p:nvCxnSpPr>
        <p:spPr bwMode="auto">
          <a:xfrm>
            <a:off x="6088605" y="4183034"/>
            <a:ext cx="1043" cy="487504"/>
          </a:xfrm>
          <a:prstGeom prst="straightConnector1">
            <a:avLst/>
          </a:prstGeom>
          <a:noFill/>
          <a:ln w="12700" cap="rnd" cmpd="sng" algn="ctr">
            <a:solidFill>
              <a:srgbClr val="96968C"/>
            </a:solidFill>
            <a:prstDash val="sysDot"/>
            <a:headEnd type="none" w="med" len="med"/>
            <a:tailEnd type="none" w="med" len="med"/>
          </a:ln>
          <a:effectLst/>
        </p:spPr>
      </p:cxnSp>
      <p:sp>
        <p:nvSpPr>
          <p:cNvPr id="2" name="Rectangle 1">
            <a:hlinkClick r:id="rId3" action="ppaction://hlinksldjump"/>
            <a:extLst>
              <a:ext uri="{FF2B5EF4-FFF2-40B4-BE49-F238E27FC236}">
                <a16:creationId xmlns:a16="http://schemas.microsoft.com/office/drawing/2014/main" id="{8BBD0EC2-F4DA-4A80-9341-C30DEFE5810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70357099"/>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roject Organization 2</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3">
            <a:extLst>
              <a:ext uri="{FF2B5EF4-FFF2-40B4-BE49-F238E27FC236}">
                <a16:creationId xmlns:a16="http://schemas.microsoft.com/office/drawing/2014/main" id="{9955DE38-738E-4EDA-9D9E-7DD9219224C1}"/>
              </a:ext>
            </a:extLst>
          </p:cNvPr>
          <p:cNvSpPr>
            <a:spLocks noChangeArrowheads="1"/>
          </p:cNvSpPr>
          <p:nvPr/>
        </p:nvSpPr>
        <p:spPr bwMode="auto">
          <a:xfrm>
            <a:off x="2508250" y="6248400"/>
            <a:ext cx="1758950" cy="457200"/>
          </a:xfrm>
          <a:prstGeom prst="rect">
            <a:avLst/>
          </a:prstGeom>
          <a:no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cxnSp>
        <p:nvCxnSpPr>
          <p:cNvPr id="7" name="AutoShape 5">
            <a:extLst>
              <a:ext uri="{FF2B5EF4-FFF2-40B4-BE49-F238E27FC236}">
                <a16:creationId xmlns:a16="http://schemas.microsoft.com/office/drawing/2014/main" id="{554054F9-51B5-4562-8998-A28923DAC4C7}"/>
              </a:ext>
            </a:extLst>
          </p:cNvPr>
          <p:cNvCxnSpPr>
            <a:cxnSpLocks noChangeShapeType="1"/>
            <a:stCxn id="17" idx="3"/>
            <a:endCxn id="19" idx="1"/>
          </p:cNvCxnSpPr>
          <p:nvPr/>
        </p:nvCxnSpPr>
        <p:spPr bwMode="auto">
          <a:xfrm>
            <a:off x="4206038" y="4001655"/>
            <a:ext cx="3824961" cy="1534"/>
          </a:xfrm>
          <a:prstGeom prst="straightConnector1">
            <a:avLst/>
          </a:prstGeom>
          <a:noFill/>
          <a:ln w="12700" cap="rnd" cmpd="sng" algn="ctr">
            <a:solidFill>
              <a:srgbClr val="96968C"/>
            </a:solidFill>
            <a:prstDash val="sysDot"/>
            <a:headEnd type="none" w="med" len="med"/>
            <a:tailEnd type="none" w="med" len="med"/>
          </a:ln>
          <a:effectLst/>
        </p:spPr>
      </p:cxnSp>
      <p:cxnSp>
        <p:nvCxnSpPr>
          <p:cNvPr id="8" name="AutoShape 6">
            <a:extLst>
              <a:ext uri="{FF2B5EF4-FFF2-40B4-BE49-F238E27FC236}">
                <a16:creationId xmlns:a16="http://schemas.microsoft.com/office/drawing/2014/main" id="{EB37142E-1E11-4426-8063-34AD54D0EB15}"/>
              </a:ext>
            </a:extLst>
          </p:cNvPr>
          <p:cNvCxnSpPr>
            <a:cxnSpLocks noChangeShapeType="1"/>
            <a:stCxn id="12" idx="2"/>
            <a:endCxn id="13" idx="0"/>
          </p:cNvCxnSpPr>
          <p:nvPr/>
        </p:nvCxnSpPr>
        <p:spPr bwMode="auto">
          <a:xfrm>
            <a:off x="6116218" y="2896328"/>
            <a:ext cx="0" cy="1888717"/>
          </a:xfrm>
          <a:prstGeom prst="straightConnector1">
            <a:avLst/>
          </a:prstGeom>
          <a:noFill/>
          <a:ln w="12700" cap="rnd" cmpd="sng" algn="ctr">
            <a:solidFill>
              <a:srgbClr val="96968C"/>
            </a:solidFill>
            <a:prstDash val="sysDot"/>
            <a:headEnd type="none" w="med" len="med"/>
            <a:tailEnd type="none" w="med" len="med"/>
          </a:ln>
          <a:effectLst/>
        </p:spPr>
      </p:cxnSp>
      <p:sp>
        <p:nvSpPr>
          <p:cNvPr id="9" name="Rectangle 8">
            <a:extLst>
              <a:ext uri="{FF2B5EF4-FFF2-40B4-BE49-F238E27FC236}">
                <a16:creationId xmlns:a16="http://schemas.microsoft.com/office/drawing/2014/main" id="{97DD97AD-5736-4CAF-98D6-7B648BF1377E}"/>
              </a:ext>
            </a:extLst>
          </p:cNvPr>
          <p:cNvSpPr>
            <a:spLocks noChangeArrowheads="1"/>
          </p:cNvSpPr>
          <p:nvPr/>
        </p:nvSpPr>
        <p:spPr bwMode="auto">
          <a:xfrm>
            <a:off x="7985007" y="4785045"/>
            <a:ext cx="2213724" cy="407791"/>
          </a:xfrm>
          <a:prstGeom prst="rect">
            <a:avLst/>
          </a:prstGeom>
          <a:solidFill>
            <a:schemeClr val="accent3"/>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a:ea typeface="+mn-ea"/>
                <a:cs typeface="+mn-cs"/>
              </a:rPr>
              <a:t>Team 3</a:t>
            </a:r>
          </a:p>
        </p:txBody>
      </p:sp>
      <p:cxnSp>
        <p:nvCxnSpPr>
          <p:cNvPr id="10" name="AutoShape 9">
            <a:extLst>
              <a:ext uri="{FF2B5EF4-FFF2-40B4-BE49-F238E27FC236}">
                <a16:creationId xmlns:a16="http://schemas.microsoft.com/office/drawing/2014/main" id="{14202FE9-4514-4400-9A11-D289354489FB}"/>
              </a:ext>
            </a:extLst>
          </p:cNvPr>
          <p:cNvCxnSpPr>
            <a:cxnSpLocks noChangeShapeType="1"/>
            <a:stCxn id="20" idx="0"/>
            <a:endCxn id="9" idx="0"/>
          </p:cNvCxnSpPr>
          <p:nvPr/>
        </p:nvCxnSpPr>
        <p:spPr bwMode="auto">
          <a:xfrm rot="16200000" flipH="1">
            <a:off x="6083258" y="1776434"/>
            <a:ext cx="24528" cy="5992694"/>
          </a:xfrm>
          <a:prstGeom prst="bentConnector3">
            <a:avLst>
              <a:gd name="adj1" fmla="val -931996"/>
            </a:avLst>
          </a:prstGeom>
          <a:noFill/>
          <a:ln w="12700" cap="rnd" cmpd="sng" algn="ctr">
            <a:solidFill>
              <a:srgbClr val="96968C"/>
            </a:solidFill>
            <a:prstDash val="sysDot"/>
            <a:headEnd type="none" w="med" len="med"/>
            <a:tailEnd type="none" w="med" len="med"/>
          </a:ln>
          <a:effectLst/>
        </p:spPr>
      </p:cxnSp>
      <p:sp>
        <p:nvSpPr>
          <p:cNvPr id="11" name="Rectangle 10">
            <a:extLst>
              <a:ext uri="{FF2B5EF4-FFF2-40B4-BE49-F238E27FC236}">
                <a16:creationId xmlns:a16="http://schemas.microsoft.com/office/drawing/2014/main" id="{E8C06075-2B48-4F05-8408-27D1D7822782}"/>
              </a:ext>
            </a:extLst>
          </p:cNvPr>
          <p:cNvSpPr>
            <a:spLocks noChangeArrowheads="1"/>
          </p:cNvSpPr>
          <p:nvPr/>
        </p:nvSpPr>
        <p:spPr bwMode="auto">
          <a:xfrm>
            <a:off x="4986360" y="1665289"/>
            <a:ext cx="2259716" cy="357201"/>
          </a:xfrm>
          <a:prstGeom prst="rect">
            <a:avLst/>
          </a:prstGeom>
          <a:solidFill>
            <a:schemeClr val="accent1"/>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Graphik"/>
                <a:ea typeface="+mn-ea"/>
                <a:cs typeface="+mn-cs"/>
              </a:rPr>
              <a:t>Steering Committee</a:t>
            </a:r>
          </a:p>
        </p:txBody>
      </p:sp>
      <p:sp>
        <p:nvSpPr>
          <p:cNvPr id="12" name="Rectangle 11">
            <a:extLst>
              <a:ext uri="{FF2B5EF4-FFF2-40B4-BE49-F238E27FC236}">
                <a16:creationId xmlns:a16="http://schemas.microsoft.com/office/drawing/2014/main" id="{3B1F9032-F35A-4483-932D-DB3CB8B4DF75}"/>
              </a:ext>
            </a:extLst>
          </p:cNvPr>
          <p:cNvSpPr>
            <a:spLocks noChangeArrowheads="1"/>
          </p:cNvSpPr>
          <p:nvPr/>
        </p:nvSpPr>
        <p:spPr bwMode="auto">
          <a:xfrm>
            <a:off x="4986360" y="2019424"/>
            <a:ext cx="2259716" cy="876904"/>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3" name="Rectangle 12">
            <a:extLst>
              <a:ext uri="{FF2B5EF4-FFF2-40B4-BE49-F238E27FC236}">
                <a16:creationId xmlns:a16="http://schemas.microsoft.com/office/drawing/2014/main" id="{A156C0DF-DC69-4560-8D49-00E96B75FFF7}"/>
              </a:ext>
            </a:extLst>
          </p:cNvPr>
          <p:cNvSpPr>
            <a:spLocks noChangeArrowheads="1"/>
          </p:cNvSpPr>
          <p:nvPr/>
        </p:nvSpPr>
        <p:spPr bwMode="auto">
          <a:xfrm>
            <a:off x="4986360" y="4785045"/>
            <a:ext cx="2259716" cy="407791"/>
          </a:xfrm>
          <a:prstGeom prst="rect">
            <a:avLst/>
          </a:prstGeom>
          <a:solidFill>
            <a:schemeClr val="accent3"/>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Graphik"/>
                <a:ea typeface="+mn-ea"/>
                <a:cs typeface="+mn-cs"/>
              </a:rPr>
              <a:t>Team 2</a:t>
            </a:r>
          </a:p>
        </p:txBody>
      </p:sp>
      <p:sp>
        <p:nvSpPr>
          <p:cNvPr id="14" name="Rectangle 13">
            <a:extLst>
              <a:ext uri="{FF2B5EF4-FFF2-40B4-BE49-F238E27FC236}">
                <a16:creationId xmlns:a16="http://schemas.microsoft.com/office/drawing/2014/main" id="{E7514B50-ECFD-4675-9DDD-8D7447450545}"/>
              </a:ext>
            </a:extLst>
          </p:cNvPr>
          <p:cNvSpPr>
            <a:spLocks noChangeArrowheads="1"/>
          </p:cNvSpPr>
          <p:nvPr/>
        </p:nvSpPr>
        <p:spPr bwMode="auto">
          <a:xfrm>
            <a:off x="4986360" y="3232065"/>
            <a:ext cx="2259716" cy="361800"/>
          </a:xfrm>
          <a:prstGeom prst="rect">
            <a:avLst/>
          </a:prstGeom>
          <a:solidFill>
            <a:schemeClr val="accent2"/>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Graphik"/>
                <a:ea typeface="+mn-ea"/>
                <a:cs typeface="+mn-cs"/>
              </a:rPr>
              <a:t>Project Management</a:t>
            </a:r>
          </a:p>
        </p:txBody>
      </p:sp>
      <p:sp>
        <p:nvSpPr>
          <p:cNvPr id="15" name="Rectangle 15">
            <a:extLst>
              <a:ext uri="{FF2B5EF4-FFF2-40B4-BE49-F238E27FC236}">
                <a16:creationId xmlns:a16="http://schemas.microsoft.com/office/drawing/2014/main" id="{CD6C2C40-D762-4032-83DA-C6C6FD3205D6}"/>
              </a:ext>
            </a:extLst>
          </p:cNvPr>
          <p:cNvSpPr>
            <a:spLocks noChangeArrowheads="1"/>
          </p:cNvSpPr>
          <p:nvPr/>
        </p:nvSpPr>
        <p:spPr bwMode="auto">
          <a:xfrm>
            <a:off x="4986360" y="3593865"/>
            <a:ext cx="2259716" cy="815583"/>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6" name="Rectangle 16">
            <a:extLst>
              <a:ext uri="{FF2B5EF4-FFF2-40B4-BE49-F238E27FC236}">
                <a16:creationId xmlns:a16="http://schemas.microsoft.com/office/drawing/2014/main" id="{CE1A4503-16D1-421E-A35C-4E884DB8ECAE}"/>
              </a:ext>
            </a:extLst>
          </p:cNvPr>
          <p:cNvSpPr>
            <a:spLocks noChangeArrowheads="1"/>
          </p:cNvSpPr>
          <p:nvPr/>
        </p:nvSpPr>
        <p:spPr bwMode="auto">
          <a:xfrm>
            <a:off x="1992313" y="3232065"/>
            <a:ext cx="2213724" cy="361800"/>
          </a:xfrm>
          <a:prstGeom prst="rect">
            <a:avLst/>
          </a:prstGeom>
          <a:solidFill>
            <a:schemeClr val="accent2"/>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Graphik"/>
                <a:ea typeface="+mn-ea"/>
                <a:cs typeface="+mn-cs"/>
              </a:rPr>
              <a:t>QA</a:t>
            </a:r>
          </a:p>
        </p:txBody>
      </p:sp>
      <p:sp>
        <p:nvSpPr>
          <p:cNvPr id="17" name="Rectangle 17">
            <a:extLst>
              <a:ext uri="{FF2B5EF4-FFF2-40B4-BE49-F238E27FC236}">
                <a16:creationId xmlns:a16="http://schemas.microsoft.com/office/drawing/2014/main" id="{40EB8ABD-AAF2-47C6-A9F5-F2D90C6C5666}"/>
              </a:ext>
            </a:extLst>
          </p:cNvPr>
          <p:cNvSpPr>
            <a:spLocks noChangeArrowheads="1"/>
          </p:cNvSpPr>
          <p:nvPr/>
        </p:nvSpPr>
        <p:spPr bwMode="auto">
          <a:xfrm>
            <a:off x="1992313" y="3593865"/>
            <a:ext cx="2213724" cy="815583"/>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8" name="Rectangle 18">
            <a:extLst>
              <a:ext uri="{FF2B5EF4-FFF2-40B4-BE49-F238E27FC236}">
                <a16:creationId xmlns:a16="http://schemas.microsoft.com/office/drawing/2014/main" id="{C2F513D6-B549-4A60-9FE3-829B9401DD47}"/>
              </a:ext>
            </a:extLst>
          </p:cNvPr>
          <p:cNvSpPr>
            <a:spLocks noChangeArrowheads="1"/>
          </p:cNvSpPr>
          <p:nvPr/>
        </p:nvSpPr>
        <p:spPr bwMode="auto">
          <a:xfrm>
            <a:off x="8030999" y="3232065"/>
            <a:ext cx="2167733" cy="361800"/>
          </a:xfrm>
          <a:prstGeom prst="rect">
            <a:avLst/>
          </a:prstGeom>
          <a:solidFill>
            <a:schemeClr val="accent2"/>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a:ea typeface="+mn-ea"/>
                <a:cs typeface="+mn-cs"/>
              </a:rPr>
              <a:t>Subject Matter Experts</a:t>
            </a:r>
          </a:p>
        </p:txBody>
      </p:sp>
      <p:sp>
        <p:nvSpPr>
          <p:cNvPr id="19" name="Rectangle 19">
            <a:extLst>
              <a:ext uri="{FF2B5EF4-FFF2-40B4-BE49-F238E27FC236}">
                <a16:creationId xmlns:a16="http://schemas.microsoft.com/office/drawing/2014/main" id="{22EA9979-F046-43AE-A1E7-56FF9C82A7BC}"/>
              </a:ext>
            </a:extLst>
          </p:cNvPr>
          <p:cNvSpPr>
            <a:spLocks noChangeArrowheads="1"/>
          </p:cNvSpPr>
          <p:nvPr/>
        </p:nvSpPr>
        <p:spPr bwMode="auto">
          <a:xfrm>
            <a:off x="8030999" y="3593865"/>
            <a:ext cx="2167733" cy="815583"/>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20" name="Rectangle 7">
            <a:extLst>
              <a:ext uri="{FF2B5EF4-FFF2-40B4-BE49-F238E27FC236}">
                <a16:creationId xmlns:a16="http://schemas.microsoft.com/office/drawing/2014/main" id="{EE069B4A-49FE-4686-A615-F79FF15D9C20}"/>
              </a:ext>
            </a:extLst>
          </p:cNvPr>
          <p:cNvSpPr>
            <a:spLocks noChangeArrowheads="1"/>
          </p:cNvSpPr>
          <p:nvPr/>
        </p:nvSpPr>
        <p:spPr bwMode="auto">
          <a:xfrm>
            <a:off x="1992313" y="4760517"/>
            <a:ext cx="2213724" cy="407791"/>
          </a:xfrm>
          <a:prstGeom prst="rect">
            <a:avLst/>
          </a:prstGeom>
          <a:solidFill>
            <a:schemeClr val="accent3"/>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Graphik"/>
                <a:ea typeface="+mn-ea"/>
                <a:cs typeface="+mn-cs"/>
              </a:rPr>
              <a:t>Team 1</a:t>
            </a:r>
          </a:p>
        </p:txBody>
      </p:sp>
      <p:sp>
        <p:nvSpPr>
          <p:cNvPr id="21" name="Rectangle 20">
            <a:extLst>
              <a:ext uri="{FF2B5EF4-FFF2-40B4-BE49-F238E27FC236}">
                <a16:creationId xmlns:a16="http://schemas.microsoft.com/office/drawing/2014/main" id="{D73CCB6C-6E23-4F4A-8DFA-A7F801ADF582}"/>
              </a:ext>
            </a:extLst>
          </p:cNvPr>
          <p:cNvSpPr>
            <a:spLocks noChangeArrowheads="1"/>
          </p:cNvSpPr>
          <p:nvPr/>
        </p:nvSpPr>
        <p:spPr bwMode="auto">
          <a:xfrm>
            <a:off x="1992313" y="5159110"/>
            <a:ext cx="2213724" cy="81711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22" name="Rectangle 21">
            <a:extLst>
              <a:ext uri="{FF2B5EF4-FFF2-40B4-BE49-F238E27FC236}">
                <a16:creationId xmlns:a16="http://schemas.microsoft.com/office/drawing/2014/main" id="{C004206B-1493-4CF7-AEBB-2C8668A2EE7A}"/>
              </a:ext>
            </a:extLst>
          </p:cNvPr>
          <p:cNvSpPr>
            <a:spLocks noChangeArrowheads="1"/>
          </p:cNvSpPr>
          <p:nvPr/>
        </p:nvSpPr>
        <p:spPr bwMode="auto">
          <a:xfrm>
            <a:off x="7985007" y="5192836"/>
            <a:ext cx="2213724" cy="81711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23" name="Rectangle 22">
            <a:extLst>
              <a:ext uri="{FF2B5EF4-FFF2-40B4-BE49-F238E27FC236}">
                <a16:creationId xmlns:a16="http://schemas.microsoft.com/office/drawing/2014/main" id="{76D27719-C461-4884-A02F-D0DEB43E79E6}"/>
              </a:ext>
            </a:extLst>
          </p:cNvPr>
          <p:cNvSpPr>
            <a:spLocks noChangeArrowheads="1"/>
          </p:cNvSpPr>
          <p:nvPr/>
        </p:nvSpPr>
        <p:spPr bwMode="auto">
          <a:xfrm>
            <a:off x="4986360" y="5192836"/>
            <a:ext cx="2259716" cy="817116"/>
          </a:xfrm>
          <a:prstGeom prst="rect">
            <a:avLst/>
          </a:prstGeom>
          <a:solidFill>
            <a:srgbClr val="96968C">
              <a:lumMod val="20000"/>
              <a:lumOff val="80000"/>
            </a:srgbClr>
          </a:solidFill>
          <a:ln w="6350">
            <a:noFill/>
            <a:miter lim="800000"/>
            <a:headEnd/>
            <a:tailEnd/>
          </a:ln>
          <a:effectLst/>
        </p:spPr>
        <p:txBody>
          <a:bodyPr wrap="none" lIns="180000" tIns="72000" rIns="72000" bIns="72000"/>
          <a:lstStyle/>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a:p>
            <a:pPr marL="177800" marR="0" lvl="0" indent="-177800"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2" name="Rectangle 1">
            <a:hlinkClick r:id="rId3" action="ppaction://hlinksldjump"/>
            <a:extLst>
              <a:ext uri="{FF2B5EF4-FFF2-40B4-BE49-F238E27FC236}">
                <a16:creationId xmlns:a16="http://schemas.microsoft.com/office/drawing/2014/main" id="{C298D0B5-A978-4768-8C50-B463A9563F5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880591061"/>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Individual Resource Profile</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5">
            <a:extLst>
              <a:ext uri="{FF2B5EF4-FFF2-40B4-BE49-F238E27FC236}">
                <a16:creationId xmlns:a16="http://schemas.microsoft.com/office/drawing/2014/main" id="{760EA6C3-16B0-4F71-B002-ED5F4F6FEC20}"/>
              </a:ext>
            </a:extLst>
          </p:cNvPr>
          <p:cNvSpPr>
            <a:spLocks noChangeArrowheads="1"/>
          </p:cNvSpPr>
          <p:nvPr/>
        </p:nvSpPr>
        <p:spPr bwMode="auto">
          <a:xfrm>
            <a:off x="1955540" y="1628801"/>
            <a:ext cx="2923202" cy="287313"/>
          </a:xfrm>
          <a:prstGeom prst="rect">
            <a:avLst/>
          </a:prstGeom>
          <a:noFill/>
          <a:ln w="9525" algn="ctr">
            <a:noFill/>
            <a:round/>
            <a:headEnd/>
            <a:tailEnd/>
          </a:ln>
        </p:spPr>
        <p:txBody>
          <a:bodyPr lIns="0" rIns="0"/>
          <a:lstStyle/>
          <a:p>
            <a:pPr marL="176213" marR="0" lvl="0" indent="-176213" algn="l" defTabSz="914400" rtl="0" eaLnBrk="1" fontAlgn="auto" latinLnBrk="0" hangingPunct="1">
              <a:lnSpc>
                <a:spcPct val="100000"/>
              </a:lnSpc>
              <a:spcBef>
                <a:spcPct val="2000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Profile Overview</a:t>
            </a:r>
          </a:p>
        </p:txBody>
      </p:sp>
      <p:sp>
        <p:nvSpPr>
          <p:cNvPr id="7" name="Rectangle 15">
            <a:extLst>
              <a:ext uri="{FF2B5EF4-FFF2-40B4-BE49-F238E27FC236}">
                <a16:creationId xmlns:a16="http://schemas.microsoft.com/office/drawing/2014/main" id="{FD7557E8-1947-4FC7-98D8-F5495ED2131B}"/>
              </a:ext>
            </a:extLst>
          </p:cNvPr>
          <p:cNvSpPr>
            <a:spLocks noChangeArrowheads="1"/>
          </p:cNvSpPr>
          <p:nvPr/>
        </p:nvSpPr>
        <p:spPr bwMode="auto">
          <a:xfrm>
            <a:off x="5036135" y="1628801"/>
            <a:ext cx="5381041" cy="287313"/>
          </a:xfrm>
          <a:prstGeom prst="rect">
            <a:avLst/>
          </a:prstGeom>
          <a:noFill/>
          <a:ln w="9525" algn="ctr">
            <a:noFill/>
            <a:round/>
            <a:headEnd/>
            <a:tailEnd/>
          </a:ln>
        </p:spPr>
        <p:txBody>
          <a:bodyPr/>
          <a:lstStyle/>
          <a:p>
            <a:pPr marL="176213" marR="0" lvl="0" indent="-176213" algn="l" defTabSz="914400" rtl="0" eaLnBrk="1" fontAlgn="auto" latinLnBrk="0" hangingPunct="1">
              <a:lnSpc>
                <a:spcPct val="100000"/>
              </a:lnSpc>
              <a:spcBef>
                <a:spcPct val="2000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Relevant Experience</a:t>
            </a:r>
          </a:p>
        </p:txBody>
      </p:sp>
      <p:sp>
        <p:nvSpPr>
          <p:cNvPr id="8" name="Rectangle 15">
            <a:extLst>
              <a:ext uri="{FF2B5EF4-FFF2-40B4-BE49-F238E27FC236}">
                <a16:creationId xmlns:a16="http://schemas.microsoft.com/office/drawing/2014/main" id="{922A1B51-8840-46CE-B3A5-01EBFC42460C}"/>
              </a:ext>
            </a:extLst>
          </p:cNvPr>
          <p:cNvSpPr>
            <a:spLocks noChangeArrowheads="1"/>
          </p:cNvSpPr>
          <p:nvPr/>
        </p:nvSpPr>
        <p:spPr bwMode="auto">
          <a:xfrm>
            <a:off x="5036135" y="4791100"/>
            <a:ext cx="5381041" cy="302080"/>
          </a:xfrm>
          <a:prstGeom prst="rect">
            <a:avLst/>
          </a:prstGeom>
          <a:noFill/>
          <a:ln w="9525" algn="ctr">
            <a:noFill/>
            <a:round/>
            <a:headEnd/>
            <a:tailEnd/>
          </a:ln>
        </p:spPr>
        <p:txBody>
          <a:bodyPr/>
          <a:lstStyle/>
          <a:p>
            <a:pPr marL="176213" marR="0" lvl="0" indent="-176213" algn="l" defTabSz="914400" rtl="0" eaLnBrk="1" fontAlgn="auto" latinLnBrk="0" hangingPunct="1">
              <a:lnSpc>
                <a:spcPct val="100000"/>
              </a:lnSpc>
              <a:spcBef>
                <a:spcPct val="2000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Relevant Skills</a:t>
            </a:r>
          </a:p>
        </p:txBody>
      </p:sp>
      <p:sp>
        <p:nvSpPr>
          <p:cNvPr id="9" name="Rounded Rectangle 18">
            <a:extLst>
              <a:ext uri="{FF2B5EF4-FFF2-40B4-BE49-F238E27FC236}">
                <a16:creationId xmlns:a16="http://schemas.microsoft.com/office/drawing/2014/main" id="{5407894F-5A69-4F08-B616-4201D8F74C4F}"/>
              </a:ext>
            </a:extLst>
          </p:cNvPr>
          <p:cNvSpPr/>
          <p:nvPr/>
        </p:nvSpPr>
        <p:spPr bwMode="auto">
          <a:xfrm>
            <a:off x="1957885" y="1988840"/>
            <a:ext cx="1010721" cy="1206500"/>
          </a:xfrm>
          <a:prstGeom prst="roundRect">
            <a:avLst>
              <a:gd name="adj" fmla="val 0"/>
            </a:avLst>
          </a:prstGeom>
          <a:solidFill>
            <a:srgbClr val="96968C">
              <a:lumMod val="60000"/>
              <a:lumOff val="40000"/>
            </a:srgbClr>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Insert Photo</a:t>
            </a:r>
          </a:p>
        </p:txBody>
      </p:sp>
      <p:sp>
        <p:nvSpPr>
          <p:cNvPr id="10" name="TextBox 9">
            <a:extLst>
              <a:ext uri="{FF2B5EF4-FFF2-40B4-BE49-F238E27FC236}">
                <a16:creationId xmlns:a16="http://schemas.microsoft.com/office/drawing/2014/main" id="{615EBD1D-2790-4C79-841D-B73A9C625C9F}"/>
              </a:ext>
            </a:extLst>
          </p:cNvPr>
          <p:cNvSpPr txBox="1"/>
          <p:nvPr/>
        </p:nvSpPr>
        <p:spPr bwMode="auto">
          <a:xfrm>
            <a:off x="2928023" y="2784957"/>
            <a:ext cx="569387"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a:ea typeface="+mn-ea"/>
                <a:cs typeface="+mn-cs"/>
              </a:rPr>
              <a:t>Title</a:t>
            </a:r>
            <a:endParaRPr kumimoji="0" lang="en-US" sz="11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TextBox 10">
            <a:extLst>
              <a:ext uri="{FF2B5EF4-FFF2-40B4-BE49-F238E27FC236}">
                <a16:creationId xmlns:a16="http://schemas.microsoft.com/office/drawing/2014/main" id="{EBA9EECF-ED21-41C1-9612-B02D90AE3D04}"/>
              </a:ext>
            </a:extLst>
          </p:cNvPr>
          <p:cNvSpPr txBox="1"/>
          <p:nvPr/>
        </p:nvSpPr>
        <p:spPr bwMode="auto">
          <a:xfrm>
            <a:off x="1957884" y="3275402"/>
            <a:ext cx="2920114" cy="261610"/>
          </a:xfrm>
          <a:prstGeom prst="rect">
            <a:avLst/>
          </a:prstGeom>
          <a:noFill/>
        </p:spPr>
        <p:txBody>
          <a:bodyPr wrap="square" lIns="0"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2" name="TextBox 11">
            <a:extLst>
              <a:ext uri="{FF2B5EF4-FFF2-40B4-BE49-F238E27FC236}">
                <a16:creationId xmlns:a16="http://schemas.microsoft.com/office/drawing/2014/main" id="{9BB2324B-B023-44A7-866E-34CE3850B80B}"/>
              </a:ext>
            </a:extLst>
          </p:cNvPr>
          <p:cNvSpPr txBox="1"/>
          <p:nvPr/>
        </p:nvSpPr>
        <p:spPr bwMode="auto">
          <a:xfrm>
            <a:off x="5036135" y="1911351"/>
            <a:ext cx="5381041"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TextBox 12">
            <a:extLst>
              <a:ext uri="{FF2B5EF4-FFF2-40B4-BE49-F238E27FC236}">
                <a16:creationId xmlns:a16="http://schemas.microsoft.com/office/drawing/2014/main" id="{41A9B3EA-B8EA-4A6C-8966-50D05A4653B9}"/>
              </a:ext>
            </a:extLst>
          </p:cNvPr>
          <p:cNvSpPr txBox="1"/>
          <p:nvPr/>
        </p:nvSpPr>
        <p:spPr bwMode="auto">
          <a:xfrm>
            <a:off x="5036135" y="5093181"/>
            <a:ext cx="269052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Industry</a:t>
            </a:r>
          </a:p>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ext</a:t>
            </a:r>
          </a:p>
        </p:txBody>
      </p:sp>
      <p:cxnSp>
        <p:nvCxnSpPr>
          <p:cNvPr id="14" name="Straight Connector 13">
            <a:extLst>
              <a:ext uri="{FF2B5EF4-FFF2-40B4-BE49-F238E27FC236}">
                <a16:creationId xmlns:a16="http://schemas.microsoft.com/office/drawing/2014/main" id="{FCA6FAE2-98AB-4EE4-AD0A-2FE97247A2A2}"/>
              </a:ext>
            </a:extLst>
          </p:cNvPr>
          <p:cNvCxnSpPr/>
          <p:nvPr/>
        </p:nvCxnSpPr>
        <p:spPr bwMode="auto">
          <a:xfrm rot="5400000">
            <a:off x="2720377" y="3951536"/>
            <a:ext cx="4482828" cy="0"/>
          </a:xfrm>
          <a:prstGeom prst="line">
            <a:avLst/>
          </a:prstGeom>
          <a:solidFill>
            <a:srgbClr val="A100FF"/>
          </a:solidFill>
          <a:ln w="6350" cap="flat" cmpd="sng" algn="ctr">
            <a:solidFill>
              <a:srgbClr val="96968C"/>
            </a:solidFill>
            <a:prstDash val="dash"/>
            <a:round/>
            <a:headEnd type="none" w="med" len="med"/>
            <a:tailEnd type="none" w="med" len="med"/>
          </a:ln>
          <a:effectLst/>
        </p:spPr>
      </p:cxnSp>
      <p:cxnSp>
        <p:nvCxnSpPr>
          <p:cNvPr id="15" name="Straight Connector 14">
            <a:extLst>
              <a:ext uri="{FF2B5EF4-FFF2-40B4-BE49-F238E27FC236}">
                <a16:creationId xmlns:a16="http://schemas.microsoft.com/office/drawing/2014/main" id="{177969BB-512E-4F94-BF6F-DC4A348C5C16}"/>
              </a:ext>
            </a:extLst>
          </p:cNvPr>
          <p:cNvCxnSpPr/>
          <p:nvPr/>
        </p:nvCxnSpPr>
        <p:spPr bwMode="auto">
          <a:xfrm>
            <a:off x="5043985" y="4723745"/>
            <a:ext cx="52017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16" name="TextBox 15">
            <a:extLst>
              <a:ext uri="{FF2B5EF4-FFF2-40B4-BE49-F238E27FC236}">
                <a16:creationId xmlns:a16="http://schemas.microsoft.com/office/drawing/2014/main" id="{0904CA2E-0DA0-4B52-BAA1-9C40C101AEFA}"/>
              </a:ext>
            </a:extLst>
          </p:cNvPr>
          <p:cNvSpPr txBox="1"/>
          <p:nvPr/>
        </p:nvSpPr>
        <p:spPr bwMode="auto">
          <a:xfrm>
            <a:off x="7719893" y="5093181"/>
            <a:ext cx="269052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Graphik"/>
                <a:ea typeface="+mn-ea"/>
                <a:cs typeface="+mn-cs"/>
              </a:rPr>
              <a:t>Functional</a:t>
            </a:r>
          </a:p>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 name="TextBox 1">
            <a:extLst>
              <a:ext uri="{FF2B5EF4-FFF2-40B4-BE49-F238E27FC236}">
                <a16:creationId xmlns:a16="http://schemas.microsoft.com/office/drawing/2014/main" id="{59126BFE-6974-4DAE-AAD5-41749C49774C}"/>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raphik"/>
                <a:ea typeface="+mn-ea"/>
                <a:cs typeface="+mn-cs"/>
              </a:rPr>
              <a:t>Accenture Team Member: Representative Profile</a:t>
            </a:r>
          </a:p>
        </p:txBody>
      </p:sp>
      <p:sp>
        <p:nvSpPr>
          <p:cNvPr id="3" name="Rectangle 2">
            <a:hlinkClick r:id="rId3" action="ppaction://hlinksldjump"/>
            <a:extLst>
              <a:ext uri="{FF2B5EF4-FFF2-40B4-BE49-F238E27FC236}">
                <a16:creationId xmlns:a16="http://schemas.microsoft.com/office/drawing/2014/main" id="{790BAD67-4006-4BA4-ABDC-67BAF51647B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91112499"/>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GB" dirty="0"/>
              <a:t>&lt;Title&gt; in &lt;OG, BD or GG&gt;,</a:t>
            </a:r>
            <a:br>
              <a:rPr lang="en-GB" dirty="0"/>
            </a:br>
            <a:r>
              <a:rPr lang="en-GB" dirty="0"/>
              <a:t>&lt;Location&gt;: &lt;Full name&gt;</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15">
            <a:extLst>
              <a:ext uri="{FF2B5EF4-FFF2-40B4-BE49-F238E27FC236}">
                <a16:creationId xmlns:a16="http://schemas.microsoft.com/office/drawing/2014/main" id="{EDDC289A-B9AA-4466-AB72-62F0CA4FA40F}"/>
              </a:ext>
            </a:extLst>
          </p:cNvPr>
          <p:cNvSpPr>
            <a:spLocks noChangeArrowheads="1"/>
          </p:cNvSpPr>
          <p:nvPr/>
        </p:nvSpPr>
        <p:spPr bwMode="auto">
          <a:xfrm>
            <a:off x="1945475" y="3379516"/>
            <a:ext cx="2608150" cy="252598"/>
          </a:xfrm>
          <a:prstGeom prst="rect">
            <a:avLst/>
          </a:prstGeom>
          <a:noFill/>
          <a:ln w="9525" algn="ctr">
            <a:noFill/>
            <a:round/>
            <a:headEnd/>
            <a:tailEnd/>
          </a:ln>
        </p:spPr>
        <p:txBody>
          <a:bodyPr lIns="0"/>
          <a:lstStyle/>
          <a:p>
            <a:pPr marL="0" marR="0" lvl="0" indent="0" algn="l" defTabSz="914400" rtl="0" eaLnBrk="1" fontAlgn="auto" latinLnBrk="0" hangingPunct="1">
              <a:lnSpc>
                <a:spcPct val="100000"/>
              </a:lnSpc>
              <a:spcBef>
                <a:spcPct val="20000"/>
              </a:spcBef>
              <a:spcAft>
                <a:spcPts val="0"/>
              </a:spcAft>
              <a:buClr>
                <a:srgbClr val="000000"/>
              </a:buClr>
              <a:buSzTx/>
              <a:buFontTx/>
              <a:buNone/>
              <a:tabLst/>
              <a:defRPr/>
            </a:pPr>
            <a:r>
              <a:rPr kumimoji="0" lang="en-US" sz="1400" b="1" i="0" u="none" strike="noStrike" kern="0" cap="none" spc="0" normalizeH="0" baseline="0" noProof="0" dirty="0">
                <a:ln>
                  <a:noFill/>
                </a:ln>
                <a:solidFill>
                  <a:srgbClr val="A100FF"/>
                </a:solidFill>
                <a:effectLst/>
                <a:uLnTx/>
                <a:uFillTx/>
                <a:latin typeface="Graphik"/>
                <a:ea typeface="+mn-ea"/>
                <a:cs typeface="+mn-cs"/>
              </a:rPr>
              <a:t>Relevant Skills:</a:t>
            </a:r>
          </a:p>
        </p:txBody>
      </p:sp>
      <p:sp>
        <p:nvSpPr>
          <p:cNvPr id="7" name="Rounded Rectangle 6">
            <a:extLst>
              <a:ext uri="{FF2B5EF4-FFF2-40B4-BE49-F238E27FC236}">
                <a16:creationId xmlns:a16="http://schemas.microsoft.com/office/drawing/2014/main" id="{93FD38E9-BA7C-4543-B759-D90B133DE19A}"/>
              </a:ext>
            </a:extLst>
          </p:cNvPr>
          <p:cNvSpPr/>
          <p:nvPr/>
        </p:nvSpPr>
        <p:spPr bwMode="auto">
          <a:xfrm>
            <a:off x="1955801" y="1550717"/>
            <a:ext cx="932973" cy="1155062"/>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latin typeface="Graphik"/>
                <a:ea typeface="+mn-ea"/>
                <a:cs typeface="+mn-cs"/>
              </a:rPr>
              <a:t>Insert Photo</a:t>
            </a:r>
          </a:p>
        </p:txBody>
      </p:sp>
      <p:sp>
        <p:nvSpPr>
          <p:cNvPr id="8" name="TextBox 7">
            <a:extLst>
              <a:ext uri="{FF2B5EF4-FFF2-40B4-BE49-F238E27FC236}">
                <a16:creationId xmlns:a16="http://schemas.microsoft.com/office/drawing/2014/main" id="{15AFC403-CDB1-4AD2-800D-B5EFF2313522}"/>
              </a:ext>
            </a:extLst>
          </p:cNvPr>
          <p:cNvSpPr txBox="1"/>
          <p:nvPr/>
        </p:nvSpPr>
        <p:spPr bwMode="auto">
          <a:xfrm>
            <a:off x="2976511" y="1600962"/>
            <a:ext cx="561372"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latin typeface="Graphik"/>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000000"/>
                </a:solidFill>
                <a:effectLst/>
                <a:uLnTx/>
                <a:uFillTx/>
                <a:latin typeface="Graphik"/>
                <a:ea typeface="+mn-ea"/>
                <a:cs typeface="+mn-cs"/>
              </a:rPr>
              <a:t>Title</a:t>
            </a:r>
          </a:p>
        </p:txBody>
      </p:sp>
      <p:sp>
        <p:nvSpPr>
          <p:cNvPr id="9" name="TextBox 8">
            <a:extLst>
              <a:ext uri="{FF2B5EF4-FFF2-40B4-BE49-F238E27FC236}">
                <a16:creationId xmlns:a16="http://schemas.microsoft.com/office/drawing/2014/main" id="{519CFF4E-EC0D-4F94-8625-99288A0AC6AA}"/>
              </a:ext>
            </a:extLst>
          </p:cNvPr>
          <p:cNvSpPr txBox="1"/>
          <p:nvPr/>
        </p:nvSpPr>
        <p:spPr bwMode="auto">
          <a:xfrm>
            <a:off x="1934712" y="2741405"/>
            <a:ext cx="2678288" cy="276999"/>
          </a:xfrm>
          <a:prstGeom prst="rect">
            <a:avLst/>
          </a:prstGeom>
          <a:noFill/>
        </p:spPr>
        <p:txBody>
          <a:bodyPr wrap="square" lIns="0" rtlCol="0">
            <a:spAutoFit/>
          </a:bodyPr>
          <a:lstStyle/>
          <a:p>
            <a:pPr marL="119063" marR="0" lvl="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AU" sz="1200" b="0" i="0" u="none" strike="noStrike" kern="0" cap="none" spc="0" normalizeH="0" baseline="0" noProof="0" dirty="0">
                <a:ln>
                  <a:noFill/>
                </a:ln>
                <a:solidFill>
                  <a:srgbClr val="000000"/>
                </a:solidFill>
                <a:effectLst/>
                <a:uLnTx/>
                <a:uFillTx/>
                <a:latin typeface="Graphik"/>
                <a:ea typeface="+mn-ea"/>
                <a:cs typeface="+mn-cs"/>
              </a:rPr>
              <a:t>Summary </a:t>
            </a:r>
          </a:p>
        </p:txBody>
      </p:sp>
      <p:cxnSp>
        <p:nvCxnSpPr>
          <p:cNvPr id="10" name="Straight Connector 9">
            <a:extLst>
              <a:ext uri="{FF2B5EF4-FFF2-40B4-BE49-F238E27FC236}">
                <a16:creationId xmlns:a16="http://schemas.microsoft.com/office/drawing/2014/main" id="{3F1178D6-C68D-4FA4-98B2-B5D59CE73CA5}"/>
              </a:ext>
            </a:extLst>
          </p:cNvPr>
          <p:cNvCxnSpPr/>
          <p:nvPr/>
        </p:nvCxnSpPr>
        <p:spPr bwMode="auto">
          <a:xfrm>
            <a:off x="4494341" y="1300162"/>
            <a:ext cx="0" cy="5005387"/>
          </a:xfrm>
          <a:prstGeom prst="line">
            <a:avLst/>
          </a:prstGeom>
          <a:solidFill>
            <a:srgbClr val="A100FF"/>
          </a:solidFill>
          <a:ln w="12700" cap="flat" cmpd="sng" algn="ctr">
            <a:solidFill>
              <a:srgbClr val="666666"/>
            </a:solidFill>
            <a:prstDash val="dash"/>
            <a:round/>
            <a:headEnd type="none" w="med" len="med"/>
            <a:tailEnd type="none" w="med" len="med"/>
          </a:ln>
          <a:effectLst/>
        </p:spPr>
      </p:cxnSp>
      <p:graphicFrame>
        <p:nvGraphicFramePr>
          <p:cNvPr id="11" name="Table 10">
            <a:extLst>
              <a:ext uri="{FF2B5EF4-FFF2-40B4-BE49-F238E27FC236}">
                <a16:creationId xmlns:a16="http://schemas.microsoft.com/office/drawing/2014/main" id="{3E8C8F75-8B72-44F2-9260-9E2024CA6448}"/>
              </a:ext>
            </a:extLst>
          </p:cNvPr>
          <p:cNvGraphicFramePr>
            <a:graphicFrameLocks noGrp="1"/>
          </p:cNvGraphicFramePr>
          <p:nvPr/>
        </p:nvGraphicFramePr>
        <p:xfrm>
          <a:off x="1955801" y="3712028"/>
          <a:ext cx="2465475" cy="1318161"/>
        </p:xfrm>
        <a:graphic>
          <a:graphicData uri="http://schemas.openxmlformats.org/drawingml/2006/table">
            <a:tbl>
              <a:tblPr firstRow="1" bandRow="1"/>
              <a:tblGrid>
                <a:gridCol w="2465475">
                  <a:extLst>
                    <a:ext uri="{9D8B030D-6E8A-4147-A177-3AD203B41FA5}">
                      <a16:colId xmlns:a16="http://schemas.microsoft.com/office/drawing/2014/main" val="20000"/>
                    </a:ext>
                  </a:extLst>
                </a:gridCol>
              </a:tblGrid>
              <a:tr h="282139">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AU" sz="1000" b="0" dirty="0"/>
                        <a:t>Industry </a:t>
                      </a:r>
                    </a:p>
                  </a:txBody>
                  <a:tcPr marL="84406" marR="84406">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96968C">
                        <a:lumMod val="60000"/>
                        <a:lumOff val="40000"/>
                      </a:srgbClr>
                    </a:solidFill>
                  </a:tcPr>
                </a:tc>
                <a:extLst>
                  <a:ext uri="{0D108BD9-81ED-4DB2-BD59-A6C34878D82A}">
                    <a16:rowId xmlns:a16="http://schemas.microsoft.com/office/drawing/2014/main" val="10000"/>
                  </a:ext>
                </a:extLst>
              </a:tr>
              <a:tr h="1036022">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aphicFrame>
        <p:nvGraphicFramePr>
          <p:cNvPr id="12" name="Table 11">
            <a:extLst>
              <a:ext uri="{FF2B5EF4-FFF2-40B4-BE49-F238E27FC236}">
                <a16:creationId xmlns:a16="http://schemas.microsoft.com/office/drawing/2014/main" id="{418D9FCA-10EF-40B1-B353-CAEA892E1C6E}"/>
              </a:ext>
            </a:extLst>
          </p:cNvPr>
          <p:cNvGraphicFramePr>
            <a:graphicFrameLocks noGrp="1"/>
          </p:cNvGraphicFramePr>
          <p:nvPr/>
        </p:nvGraphicFramePr>
        <p:xfrm>
          <a:off x="1955801" y="5089564"/>
          <a:ext cx="2465475" cy="1215984"/>
        </p:xfrm>
        <a:graphic>
          <a:graphicData uri="http://schemas.openxmlformats.org/drawingml/2006/table">
            <a:tbl>
              <a:tblPr firstRow="1" bandRow="1"/>
              <a:tblGrid>
                <a:gridCol w="2465475">
                  <a:extLst>
                    <a:ext uri="{9D8B030D-6E8A-4147-A177-3AD203B41FA5}">
                      <a16:colId xmlns:a16="http://schemas.microsoft.com/office/drawing/2014/main" val="20000"/>
                    </a:ext>
                  </a:extLst>
                </a:gridCol>
              </a:tblGrid>
              <a:tr h="260269">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AU" sz="1000" b="0" dirty="0"/>
                        <a:t>Functional</a:t>
                      </a:r>
                    </a:p>
                  </a:txBody>
                  <a:tcPr marL="84406" marR="84406">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96968C">
                        <a:lumMod val="60000"/>
                        <a:lumOff val="40000"/>
                      </a:srgbClr>
                    </a:solidFill>
                  </a:tcPr>
                </a:tc>
                <a:extLst>
                  <a:ext uri="{0D108BD9-81ED-4DB2-BD59-A6C34878D82A}">
                    <a16:rowId xmlns:a16="http://schemas.microsoft.com/office/drawing/2014/main" val="10000"/>
                  </a:ext>
                </a:extLst>
              </a:tr>
              <a:tr h="955715">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3A4873A0-60AD-412D-8E9D-08FE64BD78CB}"/>
              </a:ext>
            </a:extLst>
          </p:cNvPr>
          <p:cNvGraphicFramePr>
            <a:graphicFrameLocks noGrp="1"/>
          </p:cNvGraphicFramePr>
          <p:nvPr/>
        </p:nvGraphicFramePr>
        <p:xfrm>
          <a:off x="4660500" y="1569726"/>
          <a:ext cx="5585226" cy="4747269"/>
        </p:xfrm>
        <a:graphic>
          <a:graphicData uri="http://schemas.openxmlformats.org/drawingml/2006/table">
            <a:tbl>
              <a:tblPr firstRow="1" bandRow="1"/>
              <a:tblGrid>
                <a:gridCol w="2792613">
                  <a:extLst>
                    <a:ext uri="{9D8B030D-6E8A-4147-A177-3AD203B41FA5}">
                      <a16:colId xmlns:a16="http://schemas.microsoft.com/office/drawing/2014/main" val="20000"/>
                    </a:ext>
                  </a:extLst>
                </a:gridCol>
                <a:gridCol w="2792613">
                  <a:extLst>
                    <a:ext uri="{9D8B030D-6E8A-4147-A177-3AD203B41FA5}">
                      <a16:colId xmlns:a16="http://schemas.microsoft.com/office/drawing/2014/main" val="20001"/>
                    </a:ext>
                  </a:extLst>
                </a:gridCol>
              </a:tblGrid>
              <a:tr h="232393">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AU" sz="1000" b="0" dirty="0"/>
                        <a:t>Experience</a:t>
                      </a:r>
                    </a:p>
                  </a:txBody>
                  <a:tcPr marL="84406" marR="84406">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96968C">
                        <a:lumMod val="60000"/>
                        <a:lumOff val="40000"/>
                      </a:srgbClr>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AU" sz="1000" b="0" dirty="0"/>
                        <a:t>Outcomes</a:t>
                      </a:r>
                    </a:p>
                  </a:txBody>
                  <a:tcPr marL="84406" marR="84406">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96968C">
                        <a:lumMod val="60000"/>
                        <a:lumOff val="40000"/>
                      </a:srgbClr>
                    </a:solidFill>
                  </a:tcPr>
                </a:tc>
                <a:extLst>
                  <a:ext uri="{0D108BD9-81ED-4DB2-BD59-A6C34878D82A}">
                    <a16:rowId xmlns:a16="http://schemas.microsoft.com/office/drawing/2014/main" val="10000"/>
                  </a:ext>
                </a:extLst>
              </a:tr>
              <a:tr h="643347">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lt;List relevant experience&gt;</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lt;Highlight outcomes and tangible value delivered to clients&gt;</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3347">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3347">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43347">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43347">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43347">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643347">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buFont typeface="Arial" pitchFamily="34" charset="0"/>
                        <a:buChar char="•"/>
                      </a:pPr>
                      <a:r>
                        <a:rPr lang="en-AU" sz="1000" dirty="0"/>
                        <a:t> </a:t>
                      </a:r>
                    </a:p>
                  </a:txBody>
                  <a:tcPr marL="33231" marR="84406">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lumMod val="85000"/>
                        </a:srgb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2" name="Rectangle 1">
            <a:hlinkClick r:id="rId3" action="ppaction://hlinksldjump"/>
            <a:extLst>
              <a:ext uri="{FF2B5EF4-FFF2-40B4-BE49-F238E27FC236}">
                <a16:creationId xmlns:a16="http://schemas.microsoft.com/office/drawing/2014/main" id="{71B1D9C3-DB15-48E1-81EF-27C3803CB3E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54403457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AU" dirty="0"/>
              <a:t>&lt;List names, roles and key experience of team members&gt;</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6" name="Content Placeholder 4">
            <a:extLst>
              <a:ext uri="{FF2B5EF4-FFF2-40B4-BE49-F238E27FC236}">
                <a16:creationId xmlns:a16="http://schemas.microsoft.com/office/drawing/2014/main" id="{21525619-382A-4BAF-AF27-8F06D4569A87}"/>
              </a:ext>
            </a:extLst>
          </p:cNvPr>
          <p:cNvGraphicFramePr>
            <a:graphicFrameLocks/>
          </p:cNvGraphicFramePr>
          <p:nvPr/>
        </p:nvGraphicFramePr>
        <p:xfrm>
          <a:off x="345017" y="1289275"/>
          <a:ext cx="11599333" cy="4715678"/>
        </p:xfrm>
        <a:graphic>
          <a:graphicData uri="http://schemas.openxmlformats.org/drawingml/2006/table">
            <a:tbl>
              <a:tblPr firstRow="1"/>
              <a:tblGrid>
                <a:gridCol w="1347374">
                  <a:extLst>
                    <a:ext uri="{9D8B030D-6E8A-4147-A177-3AD203B41FA5}">
                      <a16:colId xmlns:a16="http://schemas.microsoft.com/office/drawing/2014/main" val="20000"/>
                    </a:ext>
                  </a:extLst>
                </a:gridCol>
                <a:gridCol w="1276949">
                  <a:extLst>
                    <a:ext uri="{9D8B030D-6E8A-4147-A177-3AD203B41FA5}">
                      <a16:colId xmlns:a16="http://schemas.microsoft.com/office/drawing/2014/main" val="20001"/>
                    </a:ext>
                  </a:extLst>
                </a:gridCol>
                <a:gridCol w="1499241">
                  <a:extLst>
                    <a:ext uri="{9D8B030D-6E8A-4147-A177-3AD203B41FA5}">
                      <a16:colId xmlns:a16="http://schemas.microsoft.com/office/drawing/2014/main" val="20002"/>
                    </a:ext>
                  </a:extLst>
                </a:gridCol>
                <a:gridCol w="7475769">
                  <a:extLst>
                    <a:ext uri="{9D8B030D-6E8A-4147-A177-3AD203B41FA5}">
                      <a16:colId xmlns:a16="http://schemas.microsoft.com/office/drawing/2014/main" val="20003"/>
                    </a:ext>
                  </a:extLst>
                </a:gridCol>
              </a:tblGrid>
              <a:tr h="334651">
                <a:tc gridSpan="2">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l"/>
                      <a:r>
                        <a:rPr lang="en-GB" sz="1200" dirty="0">
                          <a:solidFill>
                            <a:schemeClr val="tx1"/>
                          </a:solidFill>
                        </a:rPr>
                        <a:t>Name</a:t>
                      </a:r>
                      <a:endParaRPr lang="en-GB" sz="1200" b="1" dirty="0">
                        <a:solidFill>
                          <a:schemeClr val="tx1"/>
                        </a:solidFill>
                        <a:latin typeface="+mn-lt"/>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200" dirty="0">
                        <a:solidFill>
                          <a:schemeClr val="bg1"/>
                        </a:solidFill>
                      </a:endParaRPr>
                    </a:p>
                  </a:txBody>
                  <a:tcPr marL="36000" marR="36000" anchor="ctr">
                    <a:solidFill>
                      <a:srgbClr val="CC6600"/>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l"/>
                      <a:r>
                        <a:rPr lang="en-GB" sz="1200" dirty="0">
                          <a:solidFill>
                            <a:schemeClr val="tx1"/>
                          </a:solidFill>
                        </a:rPr>
                        <a:t>Role</a:t>
                      </a:r>
                      <a:endParaRPr lang="en-GB" sz="1200" b="1" dirty="0">
                        <a:solidFill>
                          <a:schemeClr val="tx1"/>
                        </a:solidFill>
                        <a:latin typeface="+mn-lt"/>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l"/>
                      <a:r>
                        <a:rPr lang="en-GB" sz="1200" dirty="0">
                          <a:solidFill>
                            <a:schemeClr val="tx1"/>
                          </a:solidFill>
                        </a:rPr>
                        <a:t>Experience</a:t>
                      </a:r>
                      <a:endParaRPr lang="en-GB" sz="1200" b="1" dirty="0">
                        <a:solidFill>
                          <a:schemeClr val="tx1"/>
                        </a:solidFill>
                        <a:latin typeface="+mn-lt"/>
                      </a:endParaRPr>
                    </a:p>
                  </a:txBody>
                  <a:tcPr marR="33231" marT="9144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mpd="sng">
                      <a:solidFill>
                        <a:srgbClr val="FFFFFF"/>
                      </a:solidFill>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84303">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lang="en-AU" sz="1200" dirty="0">
                          <a:solidFill>
                            <a:schemeClr val="tx1"/>
                          </a:solidFill>
                        </a:rPr>
                        <a:t> Name 1</a:t>
                      </a:r>
                      <a:endParaRPr lang="en-GB" sz="1200" dirty="0">
                        <a:solidFill>
                          <a:schemeClr val="tx1"/>
                        </a:solidFill>
                        <a:latin typeface="+mn-lt"/>
                        <a:ea typeface="Times New Roman"/>
                        <a:cs typeface="Times New Roman"/>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3175" marR="0" lvl="0" indent="-3175" algn="l" defTabSz="914400" rtl="0" eaLnBrk="1" fontAlgn="auto" latinLnBrk="0" hangingPunct="1">
                        <a:lnSpc>
                          <a:spcPct val="100000"/>
                        </a:lnSpc>
                        <a:spcBef>
                          <a:spcPts val="400"/>
                        </a:spcBef>
                        <a:spcAft>
                          <a:spcPts val="0"/>
                        </a:spcAft>
                        <a:buClrTx/>
                        <a:buSzTx/>
                        <a:buFontTx/>
                        <a:buNone/>
                        <a:tabLst/>
                        <a:defRPr/>
                      </a:pPr>
                      <a:endParaRPr lang="en-GB" sz="1200" dirty="0">
                        <a:solidFill>
                          <a:schemeClr val="tx1"/>
                        </a:solidFill>
                        <a:latin typeface="+mn-lt"/>
                        <a:ea typeface="Times New Roman"/>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3175" marR="0" indent="-3175" algn="l">
                        <a:lnSpc>
                          <a:spcPct val="100000"/>
                        </a:lnSpc>
                        <a:spcBef>
                          <a:spcPts val="400"/>
                        </a:spcBef>
                        <a:spcAft>
                          <a:spcPts val="0"/>
                        </a:spcAft>
                        <a:buFontTx/>
                        <a:buNone/>
                      </a:pPr>
                      <a:r>
                        <a:rPr lang="en-GB" sz="1200" kern="1200" dirty="0">
                          <a:solidFill>
                            <a:schemeClr val="tx1"/>
                          </a:solidFill>
                        </a:rPr>
                        <a:t>Project Director</a:t>
                      </a:r>
                      <a:endParaRPr lang="en-GB" sz="1200" kern="1200" dirty="0">
                        <a:solidFill>
                          <a:schemeClr val="tx1"/>
                        </a:solidFill>
                        <a:latin typeface="+mn-lt"/>
                        <a:ea typeface="MS Mincho"/>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lgn="l">
                        <a:lnSpc>
                          <a:spcPct val="100000"/>
                        </a:lnSpc>
                        <a:buFont typeface="Arial" pitchFamily="34" charset="0"/>
                        <a:buChar char="•"/>
                      </a:pPr>
                      <a:r>
                        <a:rPr lang="en-AU" sz="1200" dirty="0">
                          <a:solidFill>
                            <a:schemeClr val="tx1"/>
                          </a:solidFill>
                        </a:rPr>
                        <a:t>&lt;In addition</a:t>
                      </a:r>
                      <a:r>
                        <a:rPr lang="en-AU" sz="1200" baseline="0" dirty="0">
                          <a:solidFill>
                            <a:schemeClr val="tx1"/>
                          </a:solidFill>
                        </a:rPr>
                        <a:t> to listing relevant experience, h</a:t>
                      </a:r>
                      <a:r>
                        <a:rPr lang="en-AU" sz="1200" dirty="0">
                          <a:solidFill>
                            <a:schemeClr val="tx1"/>
                          </a:solidFill>
                        </a:rPr>
                        <a:t>ighlight outcomes and tangible</a:t>
                      </a:r>
                      <a:r>
                        <a:rPr lang="en-AU" sz="1200" baseline="0" dirty="0">
                          <a:solidFill>
                            <a:schemeClr val="tx1"/>
                          </a:solidFill>
                        </a:rPr>
                        <a:t> value delivered to clients&gt;</a:t>
                      </a:r>
                      <a:endParaRPr lang="en-US" sz="1200" dirty="0">
                        <a:solidFill>
                          <a:schemeClr val="tx1"/>
                        </a:solidFill>
                        <a:latin typeface="+mn-lt"/>
                      </a:endParaRPr>
                    </a:p>
                  </a:txBody>
                  <a:tcPr marR="33231" marT="91440" marB="3600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52350">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lang="en-AU" sz="1200" dirty="0">
                          <a:solidFill>
                            <a:schemeClr val="tx1"/>
                          </a:solidFill>
                        </a:rPr>
                        <a:t>Name 2</a:t>
                      </a:r>
                      <a:endParaRPr lang="en-GB" sz="1200" kern="1200" dirty="0">
                        <a:solidFill>
                          <a:schemeClr val="tx1"/>
                        </a:solidFill>
                        <a:latin typeface="+mn-lt"/>
                        <a:ea typeface="Times New Roman"/>
                        <a:cs typeface="Times New Roman"/>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3175" marR="0" lvl="0" indent="-3175" algn="l" defTabSz="914400" rtl="0" eaLnBrk="1" fontAlgn="auto" latinLnBrk="0" hangingPunct="1">
                        <a:lnSpc>
                          <a:spcPct val="100000"/>
                        </a:lnSpc>
                        <a:spcBef>
                          <a:spcPts val="400"/>
                        </a:spcBef>
                        <a:spcAft>
                          <a:spcPts val="0"/>
                        </a:spcAft>
                        <a:buClrTx/>
                        <a:buSzTx/>
                        <a:buFontTx/>
                        <a:buNone/>
                        <a:tabLst/>
                        <a:defRPr/>
                      </a:pPr>
                      <a:endParaRPr lang="en-GB" sz="1200" kern="1200" dirty="0">
                        <a:solidFill>
                          <a:schemeClr val="tx1"/>
                        </a:solidFill>
                        <a:latin typeface="+mn-lt"/>
                        <a:ea typeface="Times New Roman"/>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3175" marR="0" indent="-3175" algn="l" defTabSz="914400" rtl="0" eaLnBrk="1" latinLnBrk="0" hangingPunct="1">
                        <a:lnSpc>
                          <a:spcPct val="100000"/>
                        </a:lnSpc>
                        <a:spcBef>
                          <a:spcPts val="400"/>
                        </a:spcBef>
                        <a:spcAft>
                          <a:spcPts val="0"/>
                        </a:spcAft>
                        <a:buFontTx/>
                        <a:buNone/>
                      </a:pPr>
                      <a:r>
                        <a:rPr lang="en-GB" sz="1200" kern="1200" dirty="0">
                          <a:solidFill>
                            <a:schemeClr val="tx1"/>
                          </a:solidFill>
                        </a:rPr>
                        <a:t>Project</a:t>
                      </a:r>
                      <a:r>
                        <a:rPr lang="en-GB" sz="1200" kern="1200" baseline="0" dirty="0">
                          <a:solidFill>
                            <a:schemeClr val="tx1"/>
                          </a:solidFill>
                        </a:rPr>
                        <a:t> Manager</a:t>
                      </a:r>
                      <a:endParaRPr lang="en-GB" sz="1200" kern="1200" dirty="0">
                        <a:solidFill>
                          <a:schemeClr val="tx1"/>
                        </a:solidFill>
                        <a:latin typeface="+mn-lt"/>
                        <a:ea typeface="MS Mincho"/>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lgn="l" defTabSz="914400" rtl="0" eaLnBrk="1" latinLnBrk="0" hangingPunct="1">
                        <a:lnSpc>
                          <a:spcPct val="100000"/>
                        </a:lnSpc>
                        <a:buFont typeface="Arial" pitchFamily="34" charset="0"/>
                        <a:buChar char="•"/>
                      </a:pPr>
                      <a:r>
                        <a:rPr lang="en-AU" sz="1200" kern="1200" dirty="0">
                          <a:solidFill>
                            <a:schemeClr val="tx1"/>
                          </a:solidFill>
                          <a:latin typeface="+mn-lt"/>
                          <a:ea typeface="+mn-ea"/>
                          <a:cs typeface="+mn-cs"/>
                        </a:rPr>
                        <a:t>&lt;In addition to listing relevant experience, highlight outcomes and tangible value delivered to clients&gt;</a:t>
                      </a:r>
                      <a:endParaRPr lang="en-US" sz="1200" kern="1200" dirty="0">
                        <a:solidFill>
                          <a:schemeClr val="tx1"/>
                        </a:solidFill>
                        <a:latin typeface="+mn-lt"/>
                        <a:ea typeface="+mn-ea"/>
                        <a:cs typeface="+mn-cs"/>
                      </a:endParaRPr>
                    </a:p>
                  </a:txBody>
                  <a:tcPr marR="33231" marT="91440" marB="3600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84303">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lang="en-AU" sz="1200" dirty="0">
                          <a:solidFill>
                            <a:schemeClr val="tx1"/>
                          </a:solidFill>
                        </a:rPr>
                        <a:t>Name 3</a:t>
                      </a:r>
                      <a:endParaRPr lang="en-US" altLang="zh-TW" sz="1200" i="0" dirty="0">
                        <a:solidFill>
                          <a:schemeClr val="tx1"/>
                        </a:solidFill>
                        <a:latin typeface="+mn-lt"/>
                        <a:ea typeface="宋体" pitchFamily="2" charset="-122"/>
                        <a:cs typeface="Tahoma" pitchFamily="34" charset="0"/>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3175" marR="0" lvl="0" indent="-3175" algn="l" defTabSz="914400" rtl="0" eaLnBrk="1" fontAlgn="auto" latinLnBrk="0" hangingPunct="1">
                        <a:lnSpc>
                          <a:spcPct val="100000"/>
                        </a:lnSpc>
                        <a:spcBef>
                          <a:spcPts val="400"/>
                        </a:spcBef>
                        <a:spcAft>
                          <a:spcPts val="0"/>
                        </a:spcAft>
                        <a:buClrTx/>
                        <a:buSzTx/>
                        <a:buFontTx/>
                        <a:buNone/>
                        <a:tabLst/>
                        <a:defRPr/>
                      </a:pPr>
                      <a:endParaRPr lang="en-GB" sz="1200" dirty="0">
                        <a:solidFill>
                          <a:schemeClr val="tx1"/>
                        </a:solidFill>
                        <a:latin typeface="+mn-lt"/>
                        <a:ea typeface="Times New Roman"/>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3175" marR="0" indent="-3175" algn="l" defTabSz="914400" rtl="0" eaLnBrk="1" fontAlgn="auto" latinLnBrk="0" hangingPunct="1">
                        <a:lnSpc>
                          <a:spcPct val="100000"/>
                        </a:lnSpc>
                        <a:spcBef>
                          <a:spcPts val="400"/>
                        </a:spcBef>
                        <a:spcAft>
                          <a:spcPts val="0"/>
                        </a:spcAft>
                        <a:buClrTx/>
                        <a:buSzTx/>
                        <a:buFontTx/>
                        <a:buNone/>
                        <a:tabLst/>
                        <a:defRPr/>
                      </a:pPr>
                      <a:r>
                        <a:rPr lang="en-GB" sz="1200" kern="1200" dirty="0">
                          <a:solidFill>
                            <a:schemeClr val="tx1"/>
                          </a:solidFill>
                        </a:rPr>
                        <a:t>Workstream</a:t>
                      </a:r>
                      <a:r>
                        <a:rPr lang="en-GB" sz="1200" kern="1200" baseline="0" dirty="0">
                          <a:solidFill>
                            <a:schemeClr val="tx1"/>
                          </a:solidFill>
                        </a:rPr>
                        <a:t> Lead</a:t>
                      </a:r>
                      <a:r>
                        <a:rPr lang="en-GB" sz="1200" kern="1200" dirty="0">
                          <a:solidFill>
                            <a:schemeClr val="tx1"/>
                          </a:solidFill>
                        </a:rPr>
                        <a:t> </a:t>
                      </a:r>
                      <a:endParaRPr lang="en-GB" sz="1200" kern="1200" dirty="0">
                        <a:solidFill>
                          <a:schemeClr val="tx1"/>
                        </a:solidFill>
                        <a:latin typeface="+mn-lt"/>
                        <a:ea typeface="MS Mincho"/>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lgn="l" defTabSz="914400" rtl="0" eaLnBrk="1" latinLnBrk="0" hangingPunct="1">
                        <a:lnSpc>
                          <a:spcPct val="100000"/>
                        </a:lnSpc>
                        <a:buFont typeface="Arial" pitchFamily="34" charset="0"/>
                        <a:buChar char="•"/>
                      </a:pPr>
                      <a:r>
                        <a:rPr lang="en-AU" sz="1200" kern="1200" dirty="0">
                          <a:solidFill>
                            <a:schemeClr val="tx1"/>
                          </a:solidFill>
                          <a:latin typeface="+mn-lt"/>
                          <a:ea typeface="+mn-ea"/>
                          <a:cs typeface="+mn-cs"/>
                        </a:rPr>
                        <a:t>&lt;In addition to listing relevant experience, highlight outcomes and tangible value delivered to clients&gt;</a:t>
                      </a:r>
                      <a:endParaRPr lang="en-US" sz="1200" kern="1200" dirty="0">
                        <a:solidFill>
                          <a:schemeClr val="tx1"/>
                        </a:solidFill>
                        <a:latin typeface="+mn-lt"/>
                        <a:ea typeface="+mn-ea"/>
                        <a:cs typeface="+mn-cs"/>
                      </a:endParaRPr>
                    </a:p>
                  </a:txBody>
                  <a:tcPr marR="33231" marT="91440" marB="3600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ap="flat" cmpd="sng" algn="ctr">
                      <a:solidFill>
                        <a:srgbClr val="96968C">
                          <a:lumMod val="60000"/>
                          <a:lumOff val="40000"/>
                        </a:srgbClr>
                      </a:solidFill>
                      <a:prstDash val="sysDot"/>
                      <a:round/>
                      <a:headEnd type="none" w="med" len="med"/>
                      <a:tailEnd type="none" w="med" len="med"/>
                    </a:lnT>
                    <a:lnB w="12700" cap="flat" cmpd="sng" algn="ctr">
                      <a:solidFill>
                        <a:srgbClr val="96968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60071">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lang="en-AU" sz="1200" dirty="0">
                          <a:solidFill>
                            <a:schemeClr val="tx1"/>
                          </a:solidFill>
                        </a:rPr>
                        <a:t>Name 4</a:t>
                      </a:r>
                      <a:endParaRPr lang="en-GB" sz="1200" dirty="0">
                        <a:solidFill>
                          <a:schemeClr val="tx1"/>
                        </a:solidFill>
                        <a:latin typeface="+mn-lt"/>
                        <a:ea typeface="Times New Roman"/>
                        <a:cs typeface="Times New Roman"/>
                      </a:endParaRPr>
                    </a:p>
                  </a:txBody>
                  <a:tcPr marR="33231" marT="9144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3175" marR="0" lvl="0" indent="-3175" algn="l" defTabSz="914400" rtl="0" eaLnBrk="1" fontAlgn="auto" latinLnBrk="0" hangingPunct="1">
                        <a:lnSpc>
                          <a:spcPct val="100000"/>
                        </a:lnSpc>
                        <a:spcBef>
                          <a:spcPts val="400"/>
                        </a:spcBef>
                        <a:spcAft>
                          <a:spcPts val="0"/>
                        </a:spcAft>
                        <a:buClrTx/>
                        <a:buSzTx/>
                        <a:buFontTx/>
                        <a:buNone/>
                        <a:tabLst/>
                        <a:defRPr/>
                      </a:pPr>
                      <a:endParaRPr lang="en-GB" sz="1200" dirty="0">
                        <a:solidFill>
                          <a:schemeClr val="tx1"/>
                        </a:solidFill>
                        <a:latin typeface="+mn-lt"/>
                        <a:ea typeface="Times New Roman"/>
                        <a:cs typeface="Times New Roman"/>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3175" marR="0" indent="-3175" algn="l" defTabSz="914400" rtl="0" eaLnBrk="1" fontAlgn="auto" latinLnBrk="0" hangingPunct="1">
                        <a:lnSpc>
                          <a:spcPct val="100000"/>
                        </a:lnSpc>
                        <a:spcBef>
                          <a:spcPts val="400"/>
                        </a:spcBef>
                        <a:spcAft>
                          <a:spcPts val="0"/>
                        </a:spcAft>
                        <a:buClrTx/>
                        <a:buSzTx/>
                        <a:buFontTx/>
                        <a:buNone/>
                        <a:tabLst/>
                        <a:defRPr/>
                      </a:pPr>
                      <a:r>
                        <a:rPr lang="en-GB" sz="1200" dirty="0">
                          <a:solidFill>
                            <a:schemeClr val="tx1"/>
                          </a:solidFill>
                        </a:rPr>
                        <a:t>Consultant</a:t>
                      </a:r>
                      <a:endParaRPr lang="en-GB" sz="1200" dirty="0">
                        <a:solidFill>
                          <a:schemeClr val="tx1"/>
                        </a:solidFill>
                        <a:latin typeface="+mn-lt"/>
                      </a:endParaRPr>
                    </a:p>
                  </a:txBody>
                  <a:tcPr marR="33231" marT="9144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solidFill>
                        <a:srgbClr val="96968C">
                          <a:lumMod val="60000"/>
                          <a:lumOff val="40000"/>
                        </a:srgbClr>
                      </a:solidFill>
                      <a:prstDash val="sysDot"/>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19063" indent="-119063" algn="l" defTabSz="914400" rtl="0" eaLnBrk="1" latinLnBrk="0" hangingPunct="1">
                        <a:lnSpc>
                          <a:spcPct val="100000"/>
                        </a:lnSpc>
                        <a:buFont typeface="Arial" pitchFamily="34" charset="0"/>
                        <a:buChar char="•"/>
                      </a:pPr>
                      <a:r>
                        <a:rPr lang="en-AU" sz="1200" kern="1200" dirty="0">
                          <a:solidFill>
                            <a:schemeClr val="tx1"/>
                          </a:solidFill>
                          <a:latin typeface="+mn-lt"/>
                          <a:ea typeface="+mn-ea"/>
                          <a:cs typeface="+mn-cs"/>
                        </a:rPr>
                        <a:t>&lt;In addition to listing relevant experience, highlight outcomes and tangible value delivered to clients&gt;</a:t>
                      </a:r>
                      <a:endParaRPr lang="en-US" sz="1200" kern="1200" dirty="0">
                        <a:solidFill>
                          <a:schemeClr val="tx1"/>
                        </a:solidFill>
                        <a:latin typeface="+mn-lt"/>
                        <a:ea typeface="+mn-ea"/>
                        <a:cs typeface="+mn-cs"/>
                      </a:endParaRPr>
                    </a:p>
                  </a:txBody>
                  <a:tcPr marR="33231" marT="91440" marB="36000">
                    <a:lnL w="12700" cap="flat" cmpd="sng" algn="ctr">
                      <a:solidFill>
                        <a:srgbClr val="96968C">
                          <a:lumMod val="60000"/>
                          <a:lumOff val="40000"/>
                        </a:srgbClr>
                      </a:solidFill>
                      <a:prstDash val="sysDot"/>
                      <a:round/>
                      <a:headEnd type="none" w="med" len="med"/>
                      <a:tailEnd type="none" w="med" len="med"/>
                    </a:lnL>
                    <a:lnR w="12700" cmpd="sng">
                      <a:solidFill>
                        <a:srgbClr val="FFFFFF"/>
                      </a:solidFill>
                    </a:lnR>
                    <a:lnT w="12700" cap="flat" cmpd="sng" algn="ctr">
                      <a:solidFill>
                        <a:srgbClr val="96968C">
                          <a:lumMod val="60000"/>
                          <a:lumOff val="40000"/>
                        </a:srgbClr>
                      </a:solidFill>
                      <a:prstDash val="sysDot"/>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7" name="Rounded Rectangle 4">
            <a:extLst>
              <a:ext uri="{FF2B5EF4-FFF2-40B4-BE49-F238E27FC236}">
                <a16:creationId xmlns:a16="http://schemas.microsoft.com/office/drawing/2014/main" id="{1DCCCC79-272C-4A03-AEC4-BDC1BF0FE270}"/>
              </a:ext>
            </a:extLst>
          </p:cNvPr>
          <p:cNvSpPr/>
          <p:nvPr/>
        </p:nvSpPr>
        <p:spPr bwMode="auto">
          <a:xfrm>
            <a:off x="1837536" y="1717879"/>
            <a:ext cx="974244" cy="790046"/>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latin typeface="Graphik"/>
                <a:ea typeface="+mn-ea"/>
                <a:cs typeface="+mn-cs"/>
              </a:rPr>
              <a:t>Insert Photo</a:t>
            </a:r>
          </a:p>
        </p:txBody>
      </p:sp>
      <p:sp>
        <p:nvSpPr>
          <p:cNvPr id="8" name="Rounded Rectangle 5">
            <a:extLst>
              <a:ext uri="{FF2B5EF4-FFF2-40B4-BE49-F238E27FC236}">
                <a16:creationId xmlns:a16="http://schemas.microsoft.com/office/drawing/2014/main" id="{B0E1C110-69E6-4024-8EB7-BB36BDA4A621}"/>
              </a:ext>
            </a:extLst>
          </p:cNvPr>
          <p:cNvSpPr/>
          <p:nvPr/>
        </p:nvSpPr>
        <p:spPr bwMode="auto">
          <a:xfrm>
            <a:off x="1837536" y="2844315"/>
            <a:ext cx="974244" cy="790046"/>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latin typeface="Graphik"/>
                <a:ea typeface="+mn-ea"/>
                <a:cs typeface="+mn-cs"/>
              </a:rPr>
              <a:t>Insert Photo</a:t>
            </a:r>
          </a:p>
        </p:txBody>
      </p:sp>
      <p:sp>
        <p:nvSpPr>
          <p:cNvPr id="9" name="Rounded Rectangle 6">
            <a:extLst>
              <a:ext uri="{FF2B5EF4-FFF2-40B4-BE49-F238E27FC236}">
                <a16:creationId xmlns:a16="http://schemas.microsoft.com/office/drawing/2014/main" id="{C4392561-B780-4A5F-AEBE-F60C61BFBC08}"/>
              </a:ext>
            </a:extLst>
          </p:cNvPr>
          <p:cNvSpPr/>
          <p:nvPr/>
        </p:nvSpPr>
        <p:spPr bwMode="auto">
          <a:xfrm>
            <a:off x="1837536" y="3953150"/>
            <a:ext cx="974244" cy="790046"/>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latin typeface="Graphik"/>
                <a:ea typeface="+mn-ea"/>
                <a:cs typeface="+mn-cs"/>
              </a:rPr>
              <a:t>Insert Photo</a:t>
            </a:r>
          </a:p>
        </p:txBody>
      </p:sp>
      <p:sp>
        <p:nvSpPr>
          <p:cNvPr id="10" name="Rounded Rectangle 7">
            <a:extLst>
              <a:ext uri="{FF2B5EF4-FFF2-40B4-BE49-F238E27FC236}">
                <a16:creationId xmlns:a16="http://schemas.microsoft.com/office/drawing/2014/main" id="{7936F83D-6F00-4002-96E8-020513D73697}"/>
              </a:ext>
            </a:extLst>
          </p:cNvPr>
          <p:cNvSpPr/>
          <p:nvPr/>
        </p:nvSpPr>
        <p:spPr bwMode="auto">
          <a:xfrm>
            <a:off x="1837536" y="5035817"/>
            <a:ext cx="974244" cy="790046"/>
          </a:xfrm>
          <a:prstGeom prst="roundRect">
            <a:avLst>
              <a:gd name="adj" fmla="val 0"/>
            </a:avLst>
          </a:prstGeom>
          <a:solidFill>
            <a:srgbClr val="E0E0E0"/>
          </a:solidFill>
          <a:ln w="9525" cap="flat" cmpd="sng" algn="ctr">
            <a:noFill/>
            <a:prstDash val="solid"/>
            <a:round/>
            <a:headEnd type="none" w="med" len="med"/>
            <a:tailEnd type="none" w="med" len="med"/>
          </a:ln>
          <a:effec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000000"/>
                </a:solidFill>
                <a:effectLst/>
                <a:uLnTx/>
                <a:uFillTx/>
                <a:latin typeface="Graphik"/>
                <a:ea typeface="+mn-ea"/>
                <a:cs typeface="+mn-cs"/>
              </a:rPr>
              <a:t>Insert Photo</a:t>
            </a:r>
          </a:p>
        </p:txBody>
      </p:sp>
      <p:sp>
        <p:nvSpPr>
          <p:cNvPr id="2" name="Rectangle 1">
            <a:hlinkClick r:id="rId3" action="ppaction://hlinksldjump"/>
            <a:extLst>
              <a:ext uri="{FF2B5EF4-FFF2-40B4-BE49-F238E27FC236}">
                <a16:creationId xmlns:a16="http://schemas.microsoft.com/office/drawing/2014/main" id="{23967C42-B231-4311-91F2-7BF4D779567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91890089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Organization Chart</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4">
            <a:extLst>
              <a:ext uri="{FF2B5EF4-FFF2-40B4-BE49-F238E27FC236}">
                <a16:creationId xmlns:a16="http://schemas.microsoft.com/office/drawing/2014/main" id="{CCCD202A-AD77-4F13-904F-6B20FCAD8E8C}"/>
              </a:ext>
            </a:extLst>
          </p:cNvPr>
          <p:cNvSpPr>
            <a:spLocks noChangeArrowheads="1"/>
          </p:cNvSpPr>
          <p:nvPr/>
        </p:nvSpPr>
        <p:spPr bwMode="auto">
          <a:xfrm>
            <a:off x="5209148" y="1343444"/>
            <a:ext cx="1828311" cy="488764"/>
          </a:xfrm>
          <a:prstGeom prst="rect">
            <a:avLst/>
          </a:prstGeom>
          <a:solidFill>
            <a:schemeClr val="accent1"/>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a:ea typeface="+mn-ea"/>
                <a:cs typeface="+mn-cs"/>
              </a:rPr>
              <a:t>CEO Name</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CEO</a:t>
            </a:r>
          </a:p>
        </p:txBody>
      </p:sp>
      <p:cxnSp>
        <p:nvCxnSpPr>
          <p:cNvPr id="7" name="AutoShape 5">
            <a:extLst>
              <a:ext uri="{FF2B5EF4-FFF2-40B4-BE49-F238E27FC236}">
                <a16:creationId xmlns:a16="http://schemas.microsoft.com/office/drawing/2014/main" id="{D4A97FE1-809B-4844-9CF5-2B1869D9B623}"/>
              </a:ext>
            </a:extLst>
          </p:cNvPr>
          <p:cNvCxnSpPr>
            <a:cxnSpLocks noChangeShapeType="1"/>
            <a:stCxn id="12" idx="0"/>
            <a:endCxn id="6" idx="2"/>
          </p:cNvCxnSpPr>
          <p:nvPr/>
        </p:nvCxnSpPr>
        <p:spPr bwMode="auto">
          <a:xfrm rot="5400000" flipH="1" flipV="1">
            <a:off x="3575441" y="-131596"/>
            <a:ext cx="584059" cy="4511668"/>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8" name="AutoShape 6">
            <a:extLst>
              <a:ext uri="{FF2B5EF4-FFF2-40B4-BE49-F238E27FC236}">
                <a16:creationId xmlns:a16="http://schemas.microsoft.com/office/drawing/2014/main" id="{86D6F615-C4FA-4F34-BBE3-03019B3C58E4}"/>
              </a:ext>
            </a:extLst>
          </p:cNvPr>
          <p:cNvCxnSpPr>
            <a:cxnSpLocks noChangeShapeType="1"/>
            <a:stCxn id="21" idx="0"/>
            <a:endCxn id="6" idx="2"/>
          </p:cNvCxnSpPr>
          <p:nvPr/>
        </p:nvCxnSpPr>
        <p:spPr bwMode="auto">
          <a:xfrm rot="5400000" flipH="1" flipV="1">
            <a:off x="4702594" y="995557"/>
            <a:ext cx="584059" cy="2257362"/>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9" name="AutoShape 7">
            <a:extLst>
              <a:ext uri="{FF2B5EF4-FFF2-40B4-BE49-F238E27FC236}">
                <a16:creationId xmlns:a16="http://schemas.microsoft.com/office/drawing/2014/main" id="{14834240-AE83-44F3-B3FD-7945A757926E}"/>
              </a:ext>
            </a:extLst>
          </p:cNvPr>
          <p:cNvCxnSpPr>
            <a:cxnSpLocks noChangeShapeType="1"/>
            <a:stCxn id="6" idx="2"/>
            <a:endCxn id="30" idx="0"/>
          </p:cNvCxnSpPr>
          <p:nvPr/>
        </p:nvCxnSpPr>
        <p:spPr bwMode="auto">
          <a:xfrm>
            <a:off x="6123304" y="1832208"/>
            <a:ext cx="0" cy="584059"/>
          </a:xfrm>
          <a:prstGeom prst="straightConnector1">
            <a:avLst/>
          </a:prstGeom>
          <a:noFill/>
          <a:ln w="12700" cap="rnd" cmpd="sng" algn="ctr">
            <a:solidFill>
              <a:srgbClr val="96968C"/>
            </a:solidFill>
            <a:prstDash val="sysDot"/>
            <a:headEnd type="none" w="med" len="med"/>
            <a:tailEnd type="none" w="med" len="med"/>
          </a:ln>
          <a:effectLst/>
        </p:spPr>
      </p:cxnSp>
      <p:cxnSp>
        <p:nvCxnSpPr>
          <p:cNvPr id="10" name="AutoShape 8">
            <a:extLst>
              <a:ext uri="{FF2B5EF4-FFF2-40B4-BE49-F238E27FC236}">
                <a16:creationId xmlns:a16="http://schemas.microsoft.com/office/drawing/2014/main" id="{8795058E-8B54-4F01-964A-14DD0732BDE8}"/>
              </a:ext>
            </a:extLst>
          </p:cNvPr>
          <p:cNvCxnSpPr>
            <a:cxnSpLocks noChangeShapeType="1"/>
            <a:stCxn id="6" idx="2"/>
            <a:endCxn id="39" idx="0"/>
          </p:cNvCxnSpPr>
          <p:nvPr/>
        </p:nvCxnSpPr>
        <p:spPr bwMode="auto">
          <a:xfrm rot="16200000" flipH="1">
            <a:off x="6959447" y="996065"/>
            <a:ext cx="584059" cy="2256344"/>
          </a:xfrm>
          <a:prstGeom prst="bentConnector3">
            <a:avLst>
              <a:gd name="adj1" fmla="val 50000"/>
            </a:avLst>
          </a:prstGeom>
          <a:noFill/>
          <a:ln w="12700" cap="rnd" cmpd="sng" algn="ctr">
            <a:solidFill>
              <a:srgbClr val="96968C"/>
            </a:solidFill>
            <a:prstDash val="sysDot"/>
            <a:headEnd type="none" w="med" len="med"/>
            <a:tailEnd type="none" w="med" len="med"/>
          </a:ln>
          <a:effectLst/>
        </p:spPr>
      </p:cxnSp>
      <p:cxnSp>
        <p:nvCxnSpPr>
          <p:cNvPr id="11" name="AutoShape 9">
            <a:extLst>
              <a:ext uri="{FF2B5EF4-FFF2-40B4-BE49-F238E27FC236}">
                <a16:creationId xmlns:a16="http://schemas.microsoft.com/office/drawing/2014/main" id="{43C3831C-25A1-450A-8BC1-6C0B4D271316}"/>
              </a:ext>
            </a:extLst>
          </p:cNvPr>
          <p:cNvCxnSpPr>
            <a:cxnSpLocks noChangeShapeType="1"/>
            <a:stCxn id="6" idx="2"/>
            <a:endCxn id="48" idx="0"/>
          </p:cNvCxnSpPr>
          <p:nvPr/>
        </p:nvCxnSpPr>
        <p:spPr bwMode="auto">
          <a:xfrm rot="16200000" flipH="1">
            <a:off x="8087110" y="-131598"/>
            <a:ext cx="584059" cy="4511670"/>
          </a:xfrm>
          <a:prstGeom prst="bentConnector3">
            <a:avLst>
              <a:gd name="adj1" fmla="val 50000"/>
            </a:avLst>
          </a:prstGeom>
          <a:noFill/>
          <a:ln w="12700" cap="rnd" cmpd="sng" algn="ctr">
            <a:solidFill>
              <a:srgbClr val="96968C"/>
            </a:solidFill>
            <a:prstDash val="sysDot"/>
            <a:headEnd type="none" w="med" len="med"/>
            <a:tailEnd type="none" w="med" len="med"/>
          </a:ln>
          <a:effectLst/>
        </p:spPr>
      </p:cxnSp>
      <p:sp>
        <p:nvSpPr>
          <p:cNvPr id="12" name="Rectangle 11">
            <a:extLst>
              <a:ext uri="{FF2B5EF4-FFF2-40B4-BE49-F238E27FC236}">
                <a16:creationId xmlns:a16="http://schemas.microsoft.com/office/drawing/2014/main" id="{10D94482-8EFA-4EB9-A5A1-47091282A8D2}"/>
              </a:ext>
            </a:extLst>
          </p:cNvPr>
          <p:cNvSpPr>
            <a:spLocks noChangeArrowheads="1"/>
          </p:cNvSpPr>
          <p:nvPr/>
        </p:nvSpPr>
        <p:spPr bwMode="auto">
          <a:xfrm>
            <a:off x="698500" y="2416267"/>
            <a:ext cx="1826272" cy="484152"/>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a:ea typeface="+mn-ea"/>
                <a:cs typeface="+mn-cs"/>
              </a:rPr>
              <a:t>Name Dep. 1</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SVP Department 1</a:t>
            </a:r>
          </a:p>
        </p:txBody>
      </p:sp>
      <p:sp>
        <p:nvSpPr>
          <p:cNvPr id="13" name="Rectangle 12">
            <a:extLst>
              <a:ext uri="{FF2B5EF4-FFF2-40B4-BE49-F238E27FC236}">
                <a16:creationId xmlns:a16="http://schemas.microsoft.com/office/drawing/2014/main" id="{8C08A271-9361-4D08-A531-52FFDE631660}"/>
              </a:ext>
            </a:extLst>
          </p:cNvPr>
          <p:cNvSpPr>
            <a:spLocks noChangeArrowheads="1"/>
          </p:cNvSpPr>
          <p:nvPr/>
        </p:nvSpPr>
        <p:spPr bwMode="auto">
          <a:xfrm>
            <a:off x="973664" y="3238629"/>
            <a:ext cx="1551108"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14" name="Rectangle 13">
            <a:extLst>
              <a:ext uri="{FF2B5EF4-FFF2-40B4-BE49-F238E27FC236}">
                <a16:creationId xmlns:a16="http://schemas.microsoft.com/office/drawing/2014/main" id="{4EB51FFC-5CBF-4CA4-841A-811F432D2818}"/>
              </a:ext>
            </a:extLst>
          </p:cNvPr>
          <p:cNvSpPr>
            <a:spLocks noChangeArrowheads="1"/>
          </p:cNvSpPr>
          <p:nvPr/>
        </p:nvSpPr>
        <p:spPr bwMode="auto">
          <a:xfrm>
            <a:off x="973664" y="3876481"/>
            <a:ext cx="1551108"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15" name="Rectangle 14">
            <a:extLst>
              <a:ext uri="{FF2B5EF4-FFF2-40B4-BE49-F238E27FC236}">
                <a16:creationId xmlns:a16="http://schemas.microsoft.com/office/drawing/2014/main" id="{A31D7C07-E667-4168-B4DA-5CA7E14B5E87}"/>
              </a:ext>
            </a:extLst>
          </p:cNvPr>
          <p:cNvSpPr>
            <a:spLocks noChangeArrowheads="1"/>
          </p:cNvSpPr>
          <p:nvPr/>
        </p:nvSpPr>
        <p:spPr bwMode="auto">
          <a:xfrm>
            <a:off x="973664" y="4551222"/>
            <a:ext cx="1551108"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16" name="Rectangle 15">
            <a:extLst>
              <a:ext uri="{FF2B5EF4-FFF2-40B4-BE49-F238E27FC236}">
                <a16:creationId xmlns:a16="http://schemas.microsoft.com/office/drawing/2014/main" id="{D70F815F-4926-4316-811E-092E1BB88627}"/>
              </a:ext>
            </a:extLst>
          </p:cNvPr>
          <p:cNvSpPr>
            <a:spLocks noChangeArrowheads="1"/>
          </p:cNvSpPr>
          <p:nvPr/>
        </p:nvSpPr>
        <p:spPr bwMode="auto">
          <a:xfrm>
            <a:off x="973664" y="5224423"/>
            <a:ext cx="1551108"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Name</a:t>
            </a:r>
            <a:br>
              <a:rPr kumimoji="0" lang="en-US" sz="1200" b="1" i="0" u="none" strike="noStrike" kern="0" cap="none" spc="0" normalizeH="0" baseline="0" noProof="0" dirty="0">
                <a:ln>
                  <a:noFill/>
                </a:ln>
                <a:solidFill>
                  <a:srgbClr val="000000"/>
                </a:solidFill>
                <a:effectLst/>
                <a:uLnTx/>
                <a:uFillTx/>
                <a:latin typeface="Graphik"/>
                <a:ea typeface="+mn-ea"/>
                <a:cs typeface="+mn-cs"/>
              </a:rPr>
            </a:br>
            <a:r>
              <a:rPr kumimoji="0" lang="en-US" sz="1200" b="0" i="0" u="none" strike="noStrike" kern="0" cap="none" spc="0" normalizeH="0" baseline="0" noProof="0" dirty="0">
                <a:ln>
                  <a:noFill/>
                </a:ln>
                <a:solidFill>
                  <a:srgbClr val="000000"/>
                </a:solidFill>
                <a:effectLst/>
                <a:uLnTx/>
                <a:uFillTx/>
                <a:latin typeface="Graphik"/>
                <a:ea typeface="+mn-ea"/>
                <a:cs typeface="+mn-cs"/>
              </a:rPr>
              <a:t>Title</a:t>
            </a:r>
          </a:p>
        </p:txBody>
      </p:sp>
      <p:cxnSp>
        <p:nvCxnSpPr>
          <p:cNvPr id="17" name="AutoShape 16">
            <a:extLst>
              <a:ext uri="{FF2B5EF4-FFF2-40B4-BE49-F238E27FC236}">
                <a16:creationId xmlns:a16="http://schemas.microsoft.com/office/drawing/2014/main" id="{3C6D1475-B8C4-4239-BAEB-E717A9880B24}"/>
              </a:ext>
            </a:extLst>
          </p:cNvPr>
          <p:cNvCxnSpPr>
            <a:cxnSpLocks noChangeShapeType="1"/>
            <a:stCxn id="12" idx="2"/>
            <a:endCxn id="13" idx="1"/>
          </p:cNvCxnSpPr>
          <p:nvPr/>
        </p:nvCxnSpPr>
        <p:spPr bwMode="auto">
          <a:xfrm rot="5400000">
            <a:off x="1002123" y="2871960"/>
            <a:ext cx="581055" cy="637972"/>
          </a:xfrm>
          <a:prstGeom prst="bentConnector4">
            <a:avLst>
              <a:gd name="adj1" fmla="val 29103"/>
              <a:gd name="adj2" fmla="val 151957"/>
            </a:avLst>
          </a:prstGeom>
          <a:noFill/>
          <a:ln w="12700" cap="rnd" cmpd="sng" algn="ctr">
            <a:solidFill>
              <a:srgbClr val="96968C"/>
            </a:solidFill>
            <a:prstDash val="sysDot"/>
            <a:headEnd type="none" w="med" len="med"/>
            <a:tailEnd type="none" w="med" len="med"/>
          </a:ln>
          <a:effectLst/>
        </p:spPr>
      </p:cxnSp>
      <p:cxnSp>
        <p:nvCxnSpPr>
          <p:cNvPr id="18" name="AutoShape 17">
            <a:extLst>
              <a:ext uri="{FF2B5EF4-FFF2-40B4-BE49-F238E27FC236}">
                <a16:creationId xmlns:a16="http://schemas.microsoft.com/office/drawing/2014/main" id="{1C01A7AB-C0CD-456F-99D0-36293E1911EC}"/>
              </a:ext>
            </a:extLst>
          </p:cNvPr>
          <p:cNvCxnSpPr>
            <a:cxnSpLocks noChangeShapeType="1"/>
            <a:stCxn id="13" idx="1"/>
            <a:endCxn id="14" idx="1"/>
          </p:cNvCxnSpPr>
          <p:nvPr/>
        </p:nvCxnSpPr>
        <p:spPr bwMode="auto">
          <a:xfrm rot="10800000" flipH="1" flipV="1">
            <a:off x="973663" y="3481475"/>
            <a:ext cx="4077" cy="639389"/>
          </a:xfrm>
          <a:prstGeom prst="bentConnector3">
            <a:avLst>
              <a:gd name="adj1" fmla="val -8000000"/>
            </a:avLst>
          </a:prstGeom>
          <a:noFill/>
          <a:ln w="12700" cap="rnd" cmpd="sng" algn="ctr">
            <a:solidFill>
              <a:srgbClr val="96968C"/>
            </a:solidFill>
            <a:prstDash val="sysDot"/>
            <a:headEnd type="none" w="med" len="med"/>
            <a:tailEnd type="none" w="med" len="med"/>
          </a:ln>
          <a:effectLst/>
        </p:spPr>
      </p:cxnSp>
      <p:cxnSp>
        <p:nvCxnSpPr>
          <p:cNvPr id="19" name="AutoShape 18">
            <a:extLst>
              <a:ext uri="{FF2B5EF4-FFF2-40B4-BE49-F238E27FC236}">
                <a16:creationId xmlns:a16="http://schemas.microsoft.com/office/drawing/2014/main" id="{F7F75617-56A5-407F-8A9E-61F33C184ED9}"/>
              </a:ext>
            </a:extLst>
          </p:cNvPr>
          <p:cNvCxnSpPr>
            <a:cxnSpLocks noChangeShapeType="1"/>
            <a:stCxn id="14" idx="1"/>
            <a:endCxn id="15" idx="1"/>
          </p:cNvCxnSpPr>
          <p:nvPr/>
        </p:nvCxnSpPr>
        <p:spPr bwMode="auto">
          <a:xfrm rot="10800000" flipH="1" flipV="1">
            <a:off x="973663" y="4120864"/>
            <a:ext cx="4077" cy="673203"/>
          </a:xfrm>
          <a:prstGeom prst="bentConnector3">
            <a:avLst>
              <a:gd name="adj1" fmla="val -8000000"/>
            </a:avLst>
          </a:prstGeom>
          <a:noFill/>
          <a:ln w="12700" cap="rnd" cmpd="sng" algn="ctr">
            <a:solidFill>
              <a:srgbClr val="96968C"/>
            </a:solidFill>
            <a:prstDash val="sysDot"/>
            <a:headEnd type="none" w="med" len="med"/>
            <a:tailEnd type="none" w="med" len="med"/>
          </a:ln>
          <a:effectLst/>
        </p:spPr>
      </p:cxnSp>
      <p:cxnSp>
        <p:nvCxnSpPr>
          <p:cNvPr id="20" name="AutoShape 19">
            <a:extLst>
              <a:ext uri="{FF2B5EF4-FFF2-40B4-BE49-F238E27FC236}">
                <a16:creationId xmlns:a16="http://schemas.microsoft.com/office/drawing/2014/main" id="{B20FD6BB-9194-42A6-88FE-1D4A0C5CADEF}"/>
              </a:ext>
            </a:extLst>
          </p:cNvPr>
          <p:cNvCxnSpPr>
            <a:cxnSpLocks noChangeShapeType="1"/>
            <a:stCxn id="15" idx="1"/>
            <a:endCxn id="16" idx="1"/>
          </p:cNvCxnSpPr>
          <p:nvPr/>
        </p:nvCxnSpPr>
        <p:spPr bwMode="auto">
          <a:xfrm rot="10800000" flipH="1" flipV="1">
            <a:off x="973663" y="4794065"/>
            <a:ext cx="4077" cy="674740"/>
          </a:xfrm>
          <a:prstGeom prst="bentConnector3">
            <a:avLst>
              <a:gd name="adj1" fmla="val -8000000"/>
            </a:avLst>
          </a:prstGeom>
          <a:noFill/>
          <a:ln w="12700" cap="rnd" cmpd="sng" algn="ctr">
            <a:solidFill>
              <a:srgbClr val="96968C"/>
            </a:solidFill>
            <a:prstDash val="sysDot"/>
            <a:headEnd type="none" w="med" len="med"/>
            <a:tailEnd type="none" w="med" len="med"/>
          </a:ln>
          <a:effectLst/>
        </p:spPr>
      </p:cxnSp>
      <p:sp>
        <p:nvSpPr>
          <p:cNvPr id="21" name="Rectangle 21">
            <a:extLst>
              <a:ext uri="{FF2B5EF4-FFF2-40B4-BE49-F238E27FC236}">
                <a16:creationId xmlns:a16="http://schemas.microsoft.com/office/drawing/2014/main" id="{659FC2C5-F67D-4441-BFA6-97A0528ADF90}"/>
              </a:ext>
            </a:extLst>
          </p:cNvPr>
          <p:cNvSpPr>
            <a:spLocks noChangeArrowheads="1"/>
          </p:cNvSpPr>
          <p:nvPr/>
        </p:nvSpPr>
        <p:spPr bwMode="auto">
          <a:xfrm>
            <a:off x="2952806" y="2416267"/>
            <a:ext cx="1826272" cy="484152"/>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Graphik"/>
                <a:ea typeface="+mn-ea"/>
                <a:cs typeface="+mn-cs"/>
              </a:rPr>
              <a:t>Name Dep. 2</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Graphik"/>
                <a:ea typeface="+mn-ea"/>
                <a:cs typeface="+mn-cs"/>
              </a:rPr>
              <a:t>SVP Department 2</a:t>
            </a:r>
          </a:p>
        </p:txBody>
      </p:sp>
      <p:sp>
        <p:nvSpPr>
          <p:cNvPr id="22" name="Rectangle 22">
            <a:extLst>
              <a:ext uri="{FF2B5EF4-FFF2-40B4-BE49-F238E27FC236}">
                <a16:creationId xmlns:a16="http://schemas.microsoft.com/office/drawing/2014/main" id="{8B440ED4-05C6-444E-B90C-C65D867935FD}"/>
              </a:ext>
            </a:extLst>
          </p:cNvPr>
          <p:cNvSpPr>
            <a:spLocks noChangeArrowheads="1"/>
          </p:cNvSpPr>
          <p:nvPr/>
        </p:nvSpPr>
        <p:spPr bwMode="auto">
          <a:xfrm>
            <a:off x="3230007" y="3238629"/>
            <a:ext cx="1549070"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23" name="Rectangle 23">
            <a:extLst>
              <a:ext uri="{FF2B5EF4-FFF2-40B4-BE49-F238E27FC236}">
                <a16:creationId xmlns:a16="http://schemas.microsoft.com/office/drawing/2014/main" id="{4CEC7CB2-E89E-4F55-95E7-847382E975F5}"/>
              </a:ext>
            </a:extLst>
          </p:cNvPr>
          <p:cNvSpPr>
            <a:spLocks noChangeArrowheads="1"/>
          </p:cNvSpPr>
          <p:nvPr/>
        </p:nvSpPr>
        <p:spPr bwMode="auto">
          <a:xfrm>
            <a:off x="3230007" y="3876481"/>
            <a:ext cx="1549070"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24" name="Rectangle 24">
            <a:extLst>
              <a:ext uri="{FF2B5EF4-FFF2-40B4-BE49-F238E27FC236}">
                <a16:creationId xmlns:a16="http://schemas.microsoft.com/office/drawing/2014/main" id="{0D26D913-32B8-4D71-9D9C-CE8B533E96FF}"/>
              </a:ext>
            </a:extLst>
          </p:cNvPr>
          <p:cNvSpPr>
            <a:spLocks noChangeArrowheads="1"/>
          </p:cNvSpPr>
          <p:nvPr/>
        </p:nvSpPr>
        <p:spPr bwMode="auto">
          <a:xfrm>
            <a:off x="3230007" y="4551222"/>
            <a:ext cx="1549070"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25" name="Rectangle 25">
            <a:extLst>
              <a:ext uri="{FF2B5EF4-FFF2-40B4-BE49-F238E27FC236}">
                <a16:creationId xmlns:a16="http://schemas.microsoft.com/office/drawing/2014/main" id="{FBB4D18A-E60E-4E5D-8A65-A29922D084B8}"/>
              </a:ext>
            </a:extLst>
          </p:cNvPr>
          <p:cNvSpPr>
            <a:spLocks noChangeArrowheads="1"/>
          </p:cNvSpPr>
          <p:nvPr/>
        </p:nvSpPr>
        <p:spPr bwMode="auto">
          <a:xfrm>
            <a:off x="3230007" y="5224423"/>
            <a:ext cx="1549070"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cxnSp>
        <p:nvCxnSpPr>
          <p:cNvPr id="26" name="AutoShape 26">
            <a:extLst>
              <a:ext uri="{FF2B5EF4-FFF2-40B4-BE49-F238E27FC236}">
                <a16:creationId xmlns:a16="http://schemas.microsoft.com/office/drawing/2014/main" id="{5BF5FAF4-55EE-4B81-8708-99C9161B8564}"/>
              </a:ext>
            </a:extLst>
          </p:cNvPr>
          <p:cNvCxnSpPr>
            <a:cxnSpLocks noChangeShapeType="1"/>
            <a:stCxn id="22" idx="1"/>
            <a:endCxn id="23" idx="1"/>
          </p:cNvCxnSpPr>
          <p:nvPr/>
        </p:nvCxnSpPr>
        <p:spPr bwMode="auto">
          <a:xfrm rot="10800000" flipH="1" flipV="1">
            <a:off x="3230008" y="3481475"/>
            <a:ext cx="2038" cy="639389"/>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27" name="AutoShape 27">
            <a:extLst>
              <a:ext uri="{FF2B5EF4-FFF2-40B4-BE49-F238E27FC236}">
                <a16:creationId xmlns:a16="http://schemas.microsoft.com/office/drawing/2014/main" id="{5B0AD702-ED6D-429F-B1AF-0F22EDCED052}"/>
              </a:ext>
            </a:extLst>
          </p:cNvPr>
          <p:cNvCxnSpPr>
            <a:cxnSpLocks noChangeShapeType="1"/>
            <a:stCxn id="23" idx="1"/>
            <a:endCxn id="24" idx="1"/>
          </p:cNvCxnSpPr>
          <p:nvPr/>
        </p:nvCxnSpPr>
        <p:spPr bwMode="auto">
          <a:xfrm rot="10800000" flipH="1" flipV="1">
            <a:off x="3230008" y="4120864"/>
            <a:ext cx="2038" cy="673203"/>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28" name="AutoShape 28">
            <a:extLst>
              <a:ext uri="{FF2B5EF4-FFF2-40B4-BE49-F238E27FC236}">
                <a16:creationId xmlns:a16="http://schemas.microsoft.com/office/drawing/2014/main" id="{0A8950CF-12BE-4ADE-9CDE-C4A3AF7DCF02}"/>
              </a:ext>
            </a:extLst>
          </p:cNvPr>
          <p:cNvCxnSpPr>
            <a:cxnSpLocks noChangeShapeType="1"/>
            <a:stCxn id="24" idx="1"/>
            <a:endCxn id="25" idx="1"/>
          </p:cNvCxnSpPr>
          <p:nvPr/>
        </p:nvCxnSpPr>
        <p:spPr bwMode="auto">
          <a:xfrm rot="10800000" flipH="1" flipV="1">
            <a:off x="3230008" y="4794065"/>
            <a:ext cx="2038" cy="674740"/>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29" name="AutoShape 29">
            <a:extLst>
              <a:ext uri="{FF2B5EF4-FFF2-40B4-BE49-F238E27FC236}">
                <a16:creationId xmlns:a16="http://schemas.microsoft.com/office/drawing/2014/main" id="{4A342749-2A15-407D-B57C-DE4EFD2BC6F7}"/>
              </a:ext>
            </a:extLst>
          </p:cNvPr>
          <p:cNvCxnSpPr>
            <a:cxnSpLocks noChangeShapeType="1"/>
            <a:stCxn id="21" idx="2"/>
            <a:endCxn id="22" idx="1"/>
          </p:cNvCxnSpPr>
          <p:nvPr/>
        </p:nvCxnSpPr>
        <p:spPr bwMode="auto">
          <a:xfrm rot="5400000">
            <a:off x="3257448" y="2872979"/>
            <a:ext cx="581055" cy="635935"/>
          </a:xfrm>
          <a:prstGeom prst="bentConnector4">
            <a:avLst>
              <a:gd name="adj1" fmla="val 29103"/>
              <a:gd name="adj2" fmla="val 146731"/>
            </a:avLst>
          </a:prstGeom>
          <a:noFill/>
          <a:ln w="12700" cap="rnd" cmpd="sng" algn="ctr">
            <a:solidFill>
              <a:srgbClr val="96968C"/>
            </a:solidFill>
            <a:prstDash val="sysDot"/>
            <a:headEnd type="none" w="med" len="med"/>
            <a:tailEnd type="none" w="med" len="med"/>
          </a:ln>
          <a:effectLst/>
        </p:spPr>
      </p:cxnSp>
      <p:sp>
        <p:nvSpPr>
          <p:cNvPr id="30" name="Rectangle 31">
            <a:extLst>
              <a:ext uri="{FF2B5EF4-FFF2-40B4-BE49-F238E27FC236}">
                <a16:creationId xmlns:a16="http://schemas.microsoft.com/office/drawing/2014/main" id="{12E11C17-78E2-41CF-84B1-0C0A44E78080}"/>
              </a:ext>
            </a:extLst>
          </p:cNvPr>
          <p:cNvSpPr>
            <a:spLocks noChangeArrowheads="1"/>
          </p:cNvSpPr>
          <p:nvPr/>
        </p:nvSpPr>
        <p:spPr bwMode="auto">
          <a:xfrm>
            <a:off x="5209148" y="2416267"/>
            <a:ext cx="1828311" cy="484152"/>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Graphik"/>
                <a:ea typeface="+mn-ea"/>
                <a:cs typeface="+mn-cs"/>
              </a:rPr>
              <a:t>Name Dep. 3</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Graphik"/>
                <a:ea typeface="+mn-ea"/>
                <a:cs typeface="+mn-cs"/>
              </a:rPr>
              <a:t>SVP Department 3</a:t>
            </a:r>
          </a:p>
        </p:txBody>
      </p:sp>
      <p:sp>
        <p:nvSpPr>
          <p:cNvPr id="31" name="Rectangle 32">
            <a:extLst>
              <a:ext uri="{FF2B5EF4-FFF2-40B4-BE49-F238E27FC236}">
                <a16:creationId xmlns:a16="http://schemas.microsoft.com/office/drawing/2014/main" id="{2870B8A1-994E-4A4A-954E-7D6AC672E3B1}"/>
              </a:ext>
            </a:extLst>
          </p:cNvPr>
          <p:cNvSpPr>
            <a:spLocks noChangeArrowheads="1"/>
          </p:cNvSpPr>
          <p:nvPr/>
        </p:nvSpPr>
        <p:spPr bwMode="auto">
          <a:xfrm>
            <a:off x="5484312" y="3238629"/>
            <a:ext cx="1553147"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Name</a:t>
            </a:r>
            <a:br>
              <a:rPr kumimoji="0" lang="en-US" sz="1200" b="1" i="0" u="none" strike="noStrike" kern="0" cap="none" spc="0" normalizeH="0" baseline="0" noProof="0" dirty="0">
                <a:ln>
                  <a:noFill/>
                </a:ln>
                <a:solidFill>
                  <a:srgbClr val="000000"/>
                </a:solidFill>
                <a:effectLst/>
                <a:uLnTx/>
                <a:uFillTx/>
                <a:latin typeface="Graphik"/>
                <a:ea typeface="+mn-ea"/>
                <a:cs typeface="+mn-cs"/>
              </a:rPr>
            </a:br>
            <a:r>
              <a:rPr kumimoji="0" lang="en-US" sz="1200" b="0" i="0" u="none" strike="noStrike" kern="0" cap="none" spc="0" normalizeH="0" baseline="0" noProof="0" dirty="0">
                <a:ln>
                  <a:noFill/>
                </a:ln>
                <a:solidFill>
                  <a:srgbClr val="000000"/>
                </a:solidFill>
                <a:effectLst/>
                <a:uLnTx/>
                <a:uFillTx/>
                <a:latin typeface="Graphik"/>
                <a:ea typeface="+mn-ea"/>
                <a:cs typeface="+mn-cs"/>
              </a:rPr>
              <a:t>Title</a:t>
            </a:r>
          </a:p>
        </p:txBody>
      </p:sp>
      <p:sp>
        <p:nvSpPr>
          <p:cNvPr id="32" name="Rectangle 33">
            <a:extLst>
              <a:ext uri="{FF2B5EF4-FFF2-40B4-BE49-F238E27FC236}">
                <a16:creationId xmlns:a16="http://schemas.microsoft.com/office/drawing/2014/main" id="{C1DA7035-832D-4C90-8E23-93DC4587A97E}"/>
              </a:ext>
            </a:extLst>
          </p:cNvPr>
          <p:cNvSpPr>
            <a:spLocks noChangeArrowheads="1"/>
          </p:cNvSpPr>
          <p:nvPr/>
        </p:nvSpPr>
        <p:spPr bwMode="auto">
          <a:xfrm>
            <a:off x="5484312" y="3876481"/>
            <a:ext cx="1553147"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33" name="Rectangle 34">
            <a:extLst>
              <a:ext uri="{FF2B5EF4-FFF2-40B4-BE49-F238E27FC236}">
                <a16:creationId xmlns:a16="http://schemas.microsoft.com/office/drawing/2014/main" id="{276F30CA-5DF4-49BF-A923-EA817624D602}"/>
              </a:ext>
            </a:extLst>
          </p:cNvPr>
          <p:cNvSpPr>
            <a:spLocks noChangeArrowheads="1"/>
          </p:cNvSpPr>
          <p:nvPr/>
        </p:nvSpPr>
        <p:spPr bwMode="auto">
          <a:xfrm>
            <a:off x="5484312" y="4581961"/>
            <a:ext cx="1553147"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34" name="Rectangle 35">
            <a:extLst>
              <a:ext uri="{FF2B5EF4-FFF2-40B4-BE49-F238E27FC236}">
                <a16:creationId xmlns:a16="http://schemas.microsoft.com/office/drawing/2014/main" id="{099DC31F-CCEB-436A-AB65-836302588229}"/>
              </a:ext>
            </a:extLst>
          </p:cNvPr>
          <p:cNvSpPr>
            <a:spLocks noChangeArrowheads="1"/>
          </p:cNvSpPr>
          <p:nvPr/>
        </p:nvSpPr>
        <p:spPr bwMode="auto">
          <a:xfrm>
            <a:off x="5484312" y="5224423"/>
            <a:ext cx="1553147"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cxnSp>
        <p:nvCxnSpPr>
          <p:cNvPr id="35" name="AutoShape 36">
            <a:extLst>
              <a:ext uri="{FF2B5EF4-FFF2-40B4-BE49-F238E27FC236}">
                <a16:creationId xmlns:a16="http://schemas.microsoft.com/office/drawing/2014/main" id="{635055E8-756A-4834-B2F3-50349B7318AF}"/>
              </a:ext>
            </a:extLst>
          </p:cNvPr>
          <p:cNvCxnSpPr>
            <a:cxnSpLocks noChangeShapeType="1"/>
            <a:stCxn id="31" idx="1"/>
            <a:endCxn id="32" idx="1"/>
          </p:cNvCxnSpPr>
          <p:nvPr/>
        </p:nvCxnSpPr>
        <p:spPr bwMode="auto">
          <a:xfrm rot="10800000" flipH="1" flipV="1">
            <a:off x="5484314" y="3481475"/>
            <a:ext cx="2038" cy="639389"/>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36" name="AutoShape 37">
            <a:extLst>
              <a:ext uri="{FF2B5EF4-FFF2-40B4-BE49-F238E27FC236}">
                <a16:creationId xmlns:a16="http://schemas.microsoft.com/office/drawing/2014/main" id="{9B5A9521-E736-4897-85EB-A099B752494A}"/>
              </a:ext>
            </a:extLst>
          </p:cNvPr>
          <p:cNvCxnSpPr>
            <a:cxnSpLocks noChangeShapeType="1"/>
            <a:stCxn id="32" idx="1"/>
            <a:endCxn id="33" idx="1"/>
          </p:cNvCxnSpPr>
          <p:nvPr/>
        </p:nvCxnSpPr>
        <p:spPr bwMode="auto">
          <a:xfrm rot="10800000" flipH="1" flipV="1">
            <a:off x="5484314" y="4120864"/>
            <a:ext cx="2038" cy="703943"/>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37" name="AutoShape 38">
            <a:extLst>
              <a:ext uri="{FF2B5EF4-FFF2-40B4-BE49-F238E27FC236}">
                <a16:creationId xmlns:a16="http://schemas.microsoft.com/office/drawing/2014/main" id="{F6B5A53F-7EEC-44CB-B616-F6F5E631AEEA}"/>
              </a:ext>
            </a:extLst>
          </p:cNvPr>
          <p:cNvCxnSpPr>
            <a:cxnSpLocks noChangeShapeType="1"/>
            <a:stCxn id="33" idx="1"/>
            <a:endCxn id="34" idx="1"/>
          </p:cNvCxnSpPr>
          <p:nvPr/>
        </p:nvCxnSpPr>
        <p:spPr bwMode="auto">
          <a:xfrm rot="10800000" flipH="1" flipV="1">
            <a:off x="5484314" y="4824805"/>
            <a:ext cx="2038" cy="644000"/>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38" name="AutoShape 39">
            <a:extLst>
              <a:ext uri="{FF2B5EF4-FFF2-40B4-BE49-F238E27FC236}">
                <a16:creationId xmlns:a16="http://schemas.microsoft.com/office/drawing/2014/main" id="{68D82BD3-D7AB-4882-8663-A873D70EC825}"/>
              </a:ext>
            </a:extLst>
          </p:cNvPr>
          <p:cNvCxnSpPr>
            <a:cxnSpLocks noChangeShapeType="1"/>
            <a:stCxn id="30" idx="2"/>
            <a:endCxn id="31" idx="1"/>
          </p:cNvCxnSpPr>
          <p:nvPr/>
        </p:nvCxnSpPr>
        <p:spPr bwMode="auto">
          <a:xfrm rot="5400000">
            <a:off x="5513281" y="2871450"/>
            <a:ext cx="581055" cy="638992"/>
          </a:xfrm>
          <a:prstGeom prst="bentConnector4">
            <a:avLst>
              <a:gd name="adj1" fmla="val 29103"/>
              <a:gd name="adj2" fmla="val 146507"/>
            </a:avLst>
          </a:prstGeom>
          <a:noFill/>
          <a:ln w="12700" cap="rnd" cmpd="sng" algn="ctr">
            <a:solidFill>
              <a:srgbClr val="96968C"/>
            </a:solidFill>
            <a:prstDash val="sysDot"/>
            <a:headEnd type="none" w="med" len="med"/>
            <a:tailEnd type="none" w="med" len="med"/>
          </a:ln>
          <a:effectLst/>
        </p:spPr>
      </p:cxnSp>
      <p:sp>
        <p:nvSpPr>
          <p:cNvPr id="39" name="Rectangle 41">
            <a:extLst>
              <a:ext uri="{FF2B5EF4-FFF2-40B4-BE49-F238E27FC236}">
                <a16:creationId xmlns:a16="http://schemas.microsoft.com/office/drawing/2014/main" id="{2E5EE163-81DB-4D8B-A5E6-B160ABABF219}"/>
              </a:ext>
            </a:extLst>
          </p:cNvPr>
          <p:cNvSpPr>
            <a:spLocks noChangeArrowheads="1"/>
          </p:cNvSpPr>
          <p:nvPr/>
        </p:nvSpPr>
        <p:spPr bwMode="auto">
          <a:xfrm>
            <a:off x="7467531" y="2416267"/>
            <a:ext cx="1824234" cy="485690"/>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Graphik"/>
                <a:ea typeface="+mn-ea"/>
                <a:cs typeface="+mn-cs"/>
              </a:rPr>
              <a:t>Name Dep. 4</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Graphik"/>
                <a:ea typeface="+mn-ea"/>
                <a:cs typeface="+mn-cs"/>
              </a:rPr>
              <a:t>SVP Department 4</a:t>
            </a:r>
          </a:p>
        </p:txBody>
      </p:sp>
      <p:sp>
        <p:nvSpPr>
          <p:cNvPr id="40" name="Rectangle 42">
            <a:extLst>
              <a:ext uri="{FF2B5EF4-FFF2-40B4-BE49-F238E27FC236}">
                <a16:creationId xmlns:a16="http://schemas.microsoft.com/office/drawing/2014/main" id="{36978417-9387-4D99-8ADB-07BD9459D61B}"/>
              </a:ext>
            </a:extLst>
          </p:cNvPr>
          <p:cNvSpPr>
            <a:spLocks noChangeArrowheads="1"/>
          </p:cNvSpPr>
          <p:nvPr/>
        </p:nvSpPr>
        <p:spPr bwMode="auto">
          <a:xfrm>
            <a:off x="7742693" y="3269369"/>
            <a:ext cx="1549070"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41" name="Rectangle 43">
            <a:extLst>
              <a:ext uri="{FF2B5EF4-FFF2-40B4-BE49-F238E27FC236}">
                <a16:creationId xmlns:a16="http://schemas.microsoft.com/office/drawing/2014/main" id="{30026B12-D982-4B47-8AAA-2F6CBE658CB0}"/>
              </a:ext>
            </a:extLst>
          </p:cNvPr>
          <p:cNvSpPr>
            <a:spLocks noChangeArrowheads="1"/>
          </p:cNvSpPr>
          <p:nvPr/>
        </p:nvSpPr>
        <p:spPr bwMode="auto">
          <a:xfrm>
            <a:off x="7742693" y="3907221"/>
            <a:ext cx="1549070"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42" name="Rectangle 44">
            <a:extLst>
              <a:ext uri="{FF2B5EF4-FFF2-40B4-BE49-F238E27FC236}">
                <a16:creationId xmlns:a16="http://schemas.microsoft.com/office/drawing/2014/main" id="{695FB49F-D351-435E-90D1-1DB7B194F759}"/>
              </a:ext>
            </a:extLst>
          </p:cNvPr>
          <p:cNvSpPr>
            <a:spLocks noChangeArrowheads="1"/>
          </p:cNvSpPr>
          <p:nvPr/>
        </p:nvSpPr>
        <p:spPr bwMode="auto">
          <a:xfrm>
            <a:off x="7740658" y="4581961"/>
            <a:ext cx="1551108"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43" name="Rectangle 45">
            <a:extLst>
              <a:ext uri="{FF2B5EF4-FFF2-40B4-BE49-F238E27FC236}">
                <a16:creationId xmlns:a16="http://schemas.microsoft.com/office/drawing/2014/main" id="{5145A67D-4AB3-4552-A021-9045906EE04C}"/>
              </a:ext>
            </a:extLst>
          </p:cNvPr>
          <p:cNvSpPr>
            <a:spLocks noChangeArrowheads="1"/>
          </p:cNvSpPr>
          <p:nvPr/>
        </p:nvSpPr>
        <p:spPr bwMode="auto">
          <a:xfrm>
            <a:off x="7742693" y="5255163"/>
            <a:ext cx="1549070"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cxnSp>
        <p:nvCxnSpPr>
          <p:cNvPr id="44" name="AutoShape 46">
            <a:extLst>
              <a:ext uri="{FF2B5EF4-FFF2-40B4-BE49-F238E27FC236}">
                <a16:creationId xmlns:a16="http://schemas.microsoft.com/office/drawing/2014/main" id="{84B0402E-5675-4D9E-BCB1-7B0FC20DB7B7}"/>
              </a:ext>
            </a:extLst>
          </p:cNvPr>
          <p:cNvCxnSpPr>
            <a:cxnSpLocks noChangeShapeType="1"/>
            <a:stCxn id="40" idx="1"/>
            <a:endCxn id="41" idx="1"/>
          </p:cNvCxnSpPr>
          <p:nvPr/>
        </p:nvCxnSpPr>
        <p:spPr bwMode="auto">
          <a:xfrm rot="10800000" flipH="1" flipV="1">
            <a:off x="7742695" y="3512215"/>
            <a:ext cx="2038" cy="639389"/>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45" name="AutoShape 47">
            <a:extLst>
              <a:ext uri="{FF2B5EF4-FFF2-40B4-BE49-F238E27FC236}">
                <a16:creationId xmlns:a16="http://schemas.microsoft.com/office/drawing/2014/main" id="{B22B092D-658A-4D31-A81F-56016B3365B2}"/>
              </a:ext>
            </a:extLst>
          </p:cNvPr>
          <p:cNvCxnSpPr>
            <a:cxnSpLocks noChangeShapeType="1"/>
            <a:stCxn id="41" idx="1"/>
            <a:endCxn id="42" idx="1"/>
          </p:cNvCxnSpPr>
          <p:nvPr/>
        </p:nvCxnSpPr>
        <p:spPr bwMode="auto">
          <a:xfrm rot="10800000" flipV="1">
            <a:off x="7740658" y="4151603"/>
            <a:ext cx="2038" cy="673203"/>
          </a:xfrm>
          <a:prstGeom prst="bentConnector3">
            <a:avLst>
              <a:gd name="adj1" fmla="val 14500000"/>
            </a:avLst>
          </a:prstGeom>
          <a:noFill/>
          <a:ln w="12700" cap="rnd" cmpd="sng" algn="ctr">
            <a:solidFill>
              <a:srgbClr val="96968C"/>
            </a:solidFill>
            <a:prstDash val="sysDot"/>
            <a:headEnd type="none" w="med" len="med"/>
            <a:tailEnd type="none" w="med" len="med"/>
          </a:ln>
          <a:effectLst/>
        </p:spPr>
      </p:cxnSp>
      <p:cxnSp>
        <p:nvCxnSpPr>
          <p:cNvPr id="46" name="AutoShape 48">
            <a:extLst>
              <a:ext uri="{FF2B5EF4-FFF2-40B4-BE49-F238E27FC236}">
                <a16:creationId xmlns:a16="http://schemas.microsoft.com/office/drawing/2014/main" id="{56167058-0A09-4268-9A99-2F996817AE9A}"/>
              </a:ext>
            </a:extLst>
          </p:cNvPr>
          <p:cNvCxnSpPr>
            <a:cxnSpLocks noChangeShapeType="1"/>
            <a:stCxn id="42" idx="1"/>
            <a:endCxn id="43" idx="1"/>
          </p:cNvCxnSpPr>
          <p:nvPr/>
        </p:nvCxnSpPr>
        <p:spPr bwMode="auto">
          <a:xfrm rot="10800000" flipH="1" flipV="1">
            <a:off x="7740658" y="4824805"/>
            <a:ext cx="2038" cy="674740"/>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47" name="AutoShape 49">
            <a:extLst>
              <a:ext uri="{FF2B5EF4-FFF2-40B4-BE49-F238E27FC236}">
                <a16:creationId xmlns:a16="http://schemas.microsoft.com/office/drawing/2014/main" id="{DB723B1A-0966-4F7F-A693-3B8050A6F9C4}"/>
              </a:ext>
            </a:extLst>
          </p:cNvPr>
          <p:cNvCxnSpPr>
            <a:cxnSpLocks noChangeShapeType="1"/>
            <a:stCxn id="39" idx="2"/>
            <a:endCxn id="40" idx="1"/>
          </p:cNvCxnSpPr>
          <p:nvPr/>
        </p:nvCxnSpPr>
        <p:spPr bwMode="auto">
          <a:xfrm rot="5400000">
            <a:off x="7756043" y="2888608"/>
            <a:ext cx="610257" cy="636955"/>
          </a:xfrm>
          <a:prstGeom prst="bentConnector4">
            <a:avLst>
              <a:gd name="adj1" fmla="val 30103"/>
              <a:gd name="adj2" fmla="val 146657"/>
            </a:avLst>
          </a:prstGeom>
          <a:noFill/>
          <a:ln w="12700" cap="rnd" cmpd="sng" algn="ctr">
            <a:solidFill>
              <a:srgbClr val="96968C"/>
            </a:solidFill>
            <a:prstDash val="sysDot"/>
            <a:headEnd type="none" w="med" len="med"/>
            <a:tailEnd type="none" w="med" len="med"/>
          </a:ln>
          <a:effectLst/>
        </p:spPr>
      </p:cxnSp>
      <p:sp>
        <p:nvSpPr>
          <p:cNvPr id="48" name="Rectangle 51">
            <a:extLst>
              <a:ext uri="{FF2B5EF4-FFF2-40B4-BE49-F238E27FC236}">
                <a16:creationId xmlns:a16="http://schemas.microsoft.com/office/drawing/2014/main" id="{52F6B933-9A0A-4D00-922B-B8BB087B8413}"/>
              </a:ext>
            </a:extLst>
          </p:cNvPr>
          <p:cNvSpPr>
            <a:spLocks noChangeArrowheads="1"/>
          </p:cNvSpPr>
          <p:nvPr/>
        </p:nvSpPr>
        <p:spPr bwMode="auto">
          <a:xfrm>
            <a:off x="9721838" y="2416267"/>
            <a:ext cx="1826272" cy="484152"/>
          </a:xfrm>
          <a:prstGeom prst="rect">
            <a:avLst/>
          </a:prstGeom>
          <a:solidFill>
            <a:schemeClr val="accent2"/>
          </a:solidFill>
          <a:ln w="6350">
            <a:noFill/>
            <a:miter lim="800000"/>
            <a:headEnd type="none" w="sm" len="sm"/>
            <a:tailEnd type="none" w="sm" len="sm"/>
          </a:ln>
          <a:effectLst/>
        </p:spPr>
        <p:txBody>
          <a:bodyPr wrap="none" lIns="72000" tIns="72000" rIns="72000" bIns="7200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raphik"/>
                <a:ea typeface="+mn-ea"/>
                <a:cs typeface="+mn-cs"/>
              </a:rPr>
              <a:t>Name Dep. 5</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SVP Department 5</a:t>
            </a:r>
          </a:p>
        </p:txBody>
      </p:sp>
      <p:sp>
        <p:nvSpPr>
          <p:cNvPr id="49" name="Rectangle 52">
            <a:extLst>
              <a:ext uri="{FF2B5EF4-FFF2-40B4-BE49-F238E27FC236}">
                <a16:creationId xmlns:a16="http://schemas.microsoft.com/office/drawing/2014/main" id="{06741147-36B9-4141-B1ED-881111DF8AE7}"/>
              </a:ext>
            </a:extLst>
          </p:cNvPr>
          <p:cNvSpPr>
            <a:spLocks noChangeArrowheads="1"/>
          </p:cNvSpPr>
          <p:nvPr/>
        </p:nvSpPr>
        <p:spPr bwMode="auto">
          <a:xfrm>
            <a:off x="9994962" y="3238629"/>
            <a:ext cx="1553147" cy="485690"/>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50" name="Rectangle 53">
            <a:extLst>
              <a:ext uri="{FF2B5EF4-FFF2-40B4-BE49-F238E27FC236}">
                <a16:creationId xmlns:a16="http://schemas.microsoft.com/office/drawing/2014/main" id="{3783027E-B786-4B5D-9282-32D2DEF5D715}"/>
              </a:ext>
            </a:extLst>
          </p:cNvPr>
          <p:cNvSpPr>
            <a:spLocks noChangeArrowheads="1"/>
          </p:cNvSpPr>
          <p:nvPr/>
        </p:nvSpPr>
        <p:spPr bwMode="auto">
          <a:xfrm>
            <a:off x="9994962" y="3876481"/>
            <a:ext cx="1553147"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51" name="Rectangle 54">
            <a:extLst>
              <a:ext uri="{FF2B5EF4-FFF2-40B4-BE49-F238E27FC236}">
                <a16:creationId xmlns:a16="http://schemas.microsoft.com/office/drawing/2014/main" id="{BAA06575-BA91-4985-89EC-5D541E255FB6}"/>
              </a:ext>
            </a:extLst>
          </p:cNvPr>
          <p:cNvSpPr>
            <a:spLocks noChangeArrowheads="1"/>
          </p:cNvSpPr>
          <p:nvPr/>
        </p:nvSpPr>
        <p:spPr bwMode="auto">
          <a:xfrm>
            <a:off x="9994962" y="4581961"/>
            <a:ext cx="1553147" cy="487227"/>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sp>
        <p:nvSpPr>
          <p:cNvPr id="52" name="Rectangle 55">
            <a:extLst>
              <a:ext uri="{FF2B5EF4-FFF2-40B4-BE49-F238E27FC236}">
                <a16:creationId xmlns:a16="http://schemas.microsoft.com/office/drawing/2014/main" id="{B37382AC-C856-452F-A365-FFF8026E26A5}"/>
              </a:ext>
            </a:extLst>
          </p:cNvPr>
          <p:cNvSpPr>
            <a:spLocks noChangeArrowheads="1"/>
          </p:cNvSpPr>
          <p:nvPr/>
        </p:nvSpPr>
        <p:spPr bwMode="auto">
          <a:xfrm>
            <a:off x="9994962" y="5224423"/>
            <a:ext cx="1553147" cy="488764"/>
          </a:xfrm>
          <a:prstGeom prst="rect">
            <a:avLst/>
          </a:prstGeom>
          <a:solidFill>
            <a:srgbClr val="96968C">
              <a:lumMod val="20000"/>
              <a:lumOff val="80000"/>
            </a:srgbClr>
          </a:solidFill>
          <a:ln w="6350">
            <a:noFill/>
            <a:miter lim="800000"/>
            <a:headEnd type="none" w="sm" len="sm"/>
            <a:tailEnd type="none" w="sm" len="sm"/>
          </a:ln>
          <a:effectLst/>
        </p:spPr>
        <p:txBody>
          <a:bodyPr wrap="none" lIns="72000" tIns="72000" rIns="72000" bIns="7200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Name</a:t>
            </a:r>
            <a:br>
              <a:rPr kumimoji="0" lang="en-US" sz="1200" b="1" i="0" u="none" strike="noStrike" kern="0" cap="none" spc="0" normalizeH="0" baseline="0" noProof="0">
                <a:ln>
                  <a:noFill/>
                </a:ln>
                <a:solidFill>
                  <a:srgbClr val="000000"/>
                </a:solidFill>
                <a:effectLst/>
                <a:uLnTx/>
                <a:uFillTx/>
                <a:latin typeface="Graphik"/>
                <a:ea typeface="+mn-ea"/>
                <a:cs typeface="+mn-cs"/>
              </a:rPr>
            </a:br>
            <a:r>
              <a:rPr kumimoji="0" lang="en-US" sz="1200" b="0" i="0" u="none" strike="noStrike" kern="0" cap="none" spc="0" normalizeH="0" baseline="0" noProof="0">
                <a:ln>
                  <a:noFill/>
                </a:ln>
                <a:solidFill>
                  <a:srgbClr val="000000"/>
                </a:solidFill>
                <a:effectLst/>
                <a:uLnTx/>
                <a:uFillTx/>
                <a:latin typeface="Graphik"/>
                <a:ea typeface="+mn-ea"/>
                <a:cs typeface="+mn-cs"/>
              </a:rPr>
              <a:t>Title</a:t>
            </a:r>
          </a:p>
        </p:txBody>
      </p:sp>
      <p:cxnSp>
        <p:nvCxnSpPr>
          <p:cNvPr id="53" name="AutoShape 56">
            <a:extLst>
              <a:ext uri="{FF2B5EF4-FFF2-40B4-BE49-F238E27FC236}">
                <a16:creationId xmlns:a16="http://schemas.microsoft.com/office/drawing/2014/main" id="{89198138-6147-4F86-9ECD-08D0D077D9F3}"/>
              </a:ext>
            </a:extLst>
          </p:cNvPr>
          <p:cNvCxnSpPr>
            <a:cxnSpLocks noChangeShapeType="1"/>
            <a:stCxn id="49" idx="1"/>
            <a:endCxn id="50" idx="1"/>
          </p:cNvCxnSpPr>
          <p:nvPr/>
        </p:nvCxnSpPr>
        <p:spPr bwMode="auto">
          <a:xfrm rot="10800000" flipH="1" flipV="1">
            <a:off x="9994963" y="3481475"/>
            <a:ext cx="2038" cy="639389"/>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54" name="AutoShape 57">
            <a:extLst>
              <a:ext uri="{FF2B5EF4-FFF2-40B4-BE49-F238E27FC236}">
                <a16:creationId xmlns:a16="http://schemas.microsoft.com/office/drawing/2014/main" id="{E5581FA1-2324-45E0-896A-A78B02DECCD6}"/>
              </a:ext>
            </a:extLst>
          </p:cNvPr>
          <p:cNvCxnSpPr>
            <a:cxnSpLocks noChangeShapeType="1"/>
            <a:stCxn id="50" idx="1"/>
            <a:endCxn id="51" idx="1"/>
          </p:cNvCxnSpPr>
          <p:nvPr/>
        </p:nvCxnSpPr>
        <p:spPr bwMode="auto">
          <a:xfrm rot="10800000" flipH="1" flipV="1">
            <a:off x="9994963" y="4120864"/>
            <a:ext cx="2038" cy="703943"/>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55" name="AutoShape 58">
            <a:extLst>
              <a:ext uri="{FF2B5EF4-FFF2-40B4-BE49-F238E27FC236}">
                <a16:creationId xmlns:a16="http://schemas.microsoft.com/office/drawing/2014/main" id="{02B52CF7-0DD8-4088-B35C-173C4C75DB83}"/>
              </a:ext>
            </a:extLst>
          </p:cNvPr>
          <p:cNvCxnSpPr>
            <a:cxnSpLocks noChangeShapeType="1"/>
            <a:stCxn id="51" idx="1"/>
            <a:endCxn id="52" idx="1"/>
          </p:cNvCxnSpPr>
          <p:nvPr/>
        </p:nvCxnSpPr>
        <p:spPr bwMode="auto">
          <a:xfrm rot="10800000" flipH="1" flipV="1">
            <a:off x="9994963" y="4824805"/>
            <a:ext cx="2038" cy="644000"/>
          </a:xfrm>
          <a:prstGeom prst="bentConnector3">
            <a:avLst>
              <a:gd name="adj1" fmla="val -14400000"/>
            </a:avLst>
          </a:prstGeom>
          <a:noFill/>
          <a:ln w="12700" cap="rnd" cmpd="sng" algn="ctr">
            <a:solidFill>
              <a:srgbClr val="96968C"/>
            </a:solidFill>
            <a:prstDash val="sysDot"/>
            <a:headEnd type="none" w="med" len="med"/>
            <a:tailEnd type="none" w="med" len="med"/>
          </a:ln>
          <a:effectLst/>
        </p:spPr>
      </p:cxnSp>
      <p:cxnSp>
        <p:nvCxnSpPr>
          <p:cNvPr id="56" name="AutoShape 59">
            <a:extLst>
              <a:ext uri="{FF2B5EF4-FFF2-40B4-BE49-F238E27FC236}">
                <a16:creationId xmlns:a16="http://schemas.microsoft.com/office/drawing/2014/main" id="{80FBDAF5-9A1C-4BAA-9CB7-716C2B1AF620}"/>
              </a:ext>
            </a:extLst>
          </p:cNvPr>
          <p:cNvCxnSpPr>
            <a:cxnSpLocks noChangeShapeType="1"/>
            <a:stCxn id="48" idx="2"/>
            <a:endCxn id="49" idx="1"/>
          </p:cNvCxnSpPr>
          <p:nvPr/>
        </p:nvCxnSpPr>
        <p:spPr bwMode="auto">
          <a:xfrm rot="5400000">
            <a:off x="10024441" y="2870940"/>
            <a:ext cx="581055" cy="640012"/>
          </a:xfrm>
          <a:prstGeom prst="bentConnector4">
            <a:avLst>
              <a:gd name="adj1" fmla="val 29103"/>
              <a:gd name="adj2" fmla="val 144647"/>
            </a:avLst>
          </a:prstGeom>
          <a:noFill/>
          <a:ln w="12700" cap="rnd" cmpd="sng" algn="ctr">
            <a:solidFill>
              <a:srgbClr val="96968C"/>
            </a:solidFill>
            <a:prstDash val="sysDot"/>
            <a:headEnd type="none" w="med" len="med"/>
            <a:tailEnd type="none" w="med" len="med"/>
          </a:ln>
          <a:effectLst/>
        </p:spPr>
      </p:cxnSp>
      <p:sp>
        <p:nvSpPr>
          <p:cNvPr id="2" name="Rectangle 1">
            <a:hlinkClick r:id="rId3" action="ppaction://hlinksldjump"/>
            <a:extLst>
              <a:ext uri="{FF2B5EF4-FFF2-40B4-BE49-F238E27FC236}">
                <a16:creationId xmlns:a16="http://schemas.microsoft.com/office/drawing/2014/main" id="{DF0B625C-DB00-4001-B4C3-145D0E39ED2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3477085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2AD61CE-9FDB-4F62-9AD2-A7DEB3E14762}"/>
              </a:ext>
            </a:extLst>
          </p:cNvPr>
          <p:cNvSpPr>
            <a:spLocks noGrp="1"/>
          </p:cNvSpPr>
          <p:nvPr>
            <p:ph type="title"/>
          </p:nvPr>
        </p:nvSpPr>
        <p:spPr/>
        <p:txBody>
          <a:bodyPr/>
          <a:lstStyle/>
          <a:p>
            <a:r>
              <a:rPr lang="en-GB" dirty="0"/>
              <a:t>Getting started with this template</a:t>
            </a:r>
          </a:p>
        </p:txBody>
      </p:sp>
      <p:sp>
        <p:nvSpPr>
          <p:cNvPr id="13" name="TextBox 12">
            <a:extLst>
              <a:ext uri="{FF2B5EF4-FFF2-40B4-BE49-F238E27FC236}">
                <a16:creationId xmlns:a16="http://schemas.microsoft.com/office/drawing/2014/main" id="{40FD57BF-538E-48B6-AFFF-6B687FCC3ADB}"/>
              </a:ext>
            </a:extLst>
          </p:cNvPr>
          <p:cNvSpPr txBox="1"/>
          <p:nvPr/>
        </p:nvSpPr>
        <p:spPr>
          <a:xfrm>
            <a:off x="381000" y="1156448"/>
            <a:ext cx="5524500" cy="4503736"/>
          </a:xfrm>
          <a:prstGeom prst="rect">
            <a:avLst/>
          </a:prstGeom>
          <a:noFill/>
        </p:spPr>
        <p:txBody>
          <a:bodyPr wrap="square" lIns="0" tIns="0" rIns="0" bIns="0" rtlCol="0">
            <a:noAutofit/>
          </a:bodyPr>
          <a:lstStyle/>
          <a:p>
            <a:pPr lvl="0" defTabSz="228600">
              <a:spcAft>
                <a:spcPts val="1200"/>
              </a:spcAft>
              <a:defRPr/>
            </a:pPr>
            <a:r>
              <a:rPr lang="en-GB" sz="2000" b="1" dirty="0">
                <a:solidFill>
                  <a:srgbClr val="000000"/>
                </a:solidFill>
              </a:rPr>
              <a:t>How are you using this PPT?</a:t>
            </a:r>
          </a:p>
          <a:p>
            <a:pPr lvl="0" defTabSz="228600">
              <a:spcAft>
                <a:spcPts val="1200"/>
              </a:spcAft>
              <a:defRPr/>
            </a:pPr>
            <a:r>
              <a:rPr lang="en-GB" sz="1600" b="1" dirty="0">
                <a:solidFill>
                  <a:srgbClr val="A100FF"/>
                </a:solidFill>
              </a:rPr>
              <a:t>Live presentation vs. document</a:t>
            </a:r>
          </a:p>
          <a:p>
            <a:pPr lvl="0" defTabSz="228600">
              <a:spcAft>
                <a:spcPts val="1200"/>
              </a:spcAft>
            </a:pPr>
            <a:r>
              <a:rPr lang="en-GB" sz="1600" dirty="0">
                <a:solidFill>
                  <a:srgbClr val="000000"/>
                </a:solidFill>
              </a:rPr>
              <a:t>Avoid longform content on a Presentation deck; include headlines and key points, NOT your presentation script. Add extra information in the Notes section if needed.</a:t>
            </a:r>
            <a:br>
              <a:rPr lang="en-GB" dirty="0">
                <a:solidFill>
                  <a:srgbClr val="000000"/>
                </a:solidFill>
              </a:rPr>
            </a:br>
            <a:endParaRPr lang="en-GB" dirty="0">
              <a:solidFill>
                <a:srgbClr val="000000"/>
              </a:solidFill>
            </a:endParaRPr>
          </a:p>
          <a:p>
            <a:pPr lvl="0" defTabSz="228600">
              <a:spcAft>
                <a:spcPts val="1200"/>
              </a:spcAft>
              <a:defRPr/>
            </a:pPr>
            <a:r>
              <a:rPr lang="en-GB" sz="2000" b="1" dirty="0">
                <a:solidFill>
                  <a:srgbClr val="000000"/>
                </a:solidFill>
              </a:rPr>
              <a:t>Brand Guidelines and Asset Library</a:t>
            </a:r>
            <a:endParaRPr lang="en-GB" sz="2000" dirty="0">
              <a:solidFill>
                <a:srgbClr val="000000"/>
              </a:solidFill>
            </a:endParaRPr>
          </a:p>
          <a:p>
            <a:pPr lvl="0" defTabSz="228600">
              <a:spcAft>
                <a:spcPts val="1200"/>
              </a:spcAft>
              <a:defRPr/>
            </a:pPr>
            <a:r>
              <a:rPr lang="en-GB" sz="1600" dirty="0">
                <a:solidFill>
                  <a:srgbClr val="000000"/>
                </a:solidFill>
              </a:rPr>
              <a:t>Our expansive asset library including fonts, photography, iconography and custom slides are available </a:t>
            </a:r>
            <a:r>
              <a:rPr lang="en-GB" sz="1600" u="sng" dirty="0">
                <a:solidFill>
                  <a:srgbClr val="A100FF"/>
                </a:solidFill>
                <a:hlinkClick r:id="rId2">
                  <a:extLst>
                    <a:ext uri="{A12FA001-AC4F-418D-AE19-62706E023703}">
                      <ahyp:hlinkClr xmlns:ahyp="http://schemas.microsoft.com/office/drawing/2018/hyperlinkcolor" val="tx"/>
                    </a:ext>
                  </a:extLst>
                </a:hlinkClick>
              </a:rPr>
              <a:t>here</a:t>
            </a:r>
            <a:r>
              <a:rPr lang="en-GB" sz="1600" dirty="0">
                <a:solidFill>
                  <a:srgbClr val="A100FF"/>
                </a:solidFill>
              </a:rPr>
              <a:t>.</a:t>
            </a:r>
            <a:endParaRPr lang="en-GB" sz="1600" dirty="0">
              <a:solidFill>
                <a:srgbClr val="000000"/>
              </a:solidFill>
            </a:endParaRPr>
          </a:p>
          <a:p>
            <a:pPr lvl="0" defTabSz="228600">
              <a:spcAft>
                <a:spcPts val="1200"/>
              </a:spcAft>
              <a:defRPr/>
            </a:pPr>
            <a:r>
              <a:rPr lang="en-GB" sz="1600" dirty="0">
                <a:solidFill>
                  <a:srgbClr val="000000"/>
                </a:solidFill>
              </a:rPr>
              <a:t>Contact </a:t>
            </a:r>
            <a:r>
              <a:rPr lang="en-GB" sz="1600" u="sng" dirty="0">
                <a:solidFill>
                  <a:srgbClr val="A100FF"/>
                </a:solidFill>
                <a:hlinkClick r:id="rId3">
                  <a:extLst>
                    <a:ext uri="{A12FA001-AC4F-418D-AE19-62706E023703}">
                      <ahyp:hlinkClr xmlns:ahyp="http://schemas.microsoft.com/office/drawing/2018/hyperlinkcolor" val="tx"/>
                    </a:ext>
                  </a:extLst>
                </a:hlinkClick>
              </a:rPr>
              <a:t>brandsupport</a:t>
            </a:r>
            <a:r>
              <a:rPr lang="en-GB" sz="1600" dirty="0">
                <a:solidFill>
                  <a:srgbClr val="A100FF"/>
                </a:solidFill>
                <a:hlinkClick r:id="rId3">
                  <a:extLst>
                    <a:ext uri="{A12FA001-AC4F-418D-AE19-62706E023703}">
                      <ahyp:hlinkClr xmlns:ahyp="http://schemas.microsoft.com/office/drawing/2018/hyperlinkcolor" val="tx"/>
                    </a:ext>
                  </a:extLst>
                </a:hlinkClick>
              </a:rPr>
              <a:t>@accenture.com</a:t>
            </a:r>
            <a:r>
              <a:rPr lang="en-GB" sz="1600" u="sng" dirty="0">
                <a:solidFill>
                  <a:srgbClr val="A100FF"/>
                </a:solidFill>
                <a:hlinkClick r:id="rId3">
                  <a:extLst>
                    <a:ext uri="{A12FA001-AC4F-418D-AE19-62706E023703}">
                      <ahyp:hlinkClr xmlns:ahyp="http://schemas.microsoft.com/office/drawing/2018/hyperlinkcolor" val="tx"/>
                    </a:ext>
                  </a:extLst>
                </a:hlinkClick>
              </a:rPr>
              <a:t> </a:t>
            </a:r>
            <a:r>
              <a:rPr lang="en-GB" sz="1600" dirty="0">
                <a:solidFill>
                  <a:srgbClr val="000000"/>
                </a:solidFill>
              </a:rPr>
              <a:t>for more info.</a:t>
            </a:r>
            <a:br>
              <a:rPr lang="en-GB" dirty="0">
                <a:solidFill>
                  <a:srgbClr val="000000"/>
                </a:solidFill>
              </a:rPr>
            </a:br>
            <a:endParaRPr lang="en-GB" dirty="0">
              <a:solidFill>
                <a:srgbClr val="000000"/>
              </a:solidFill>
            </a:endParaRPr>
          </a:p>
          <a:p>
            <a:pPr lvl="0" defTabSz="228600">
              <a:spcAft>
                <a:spcPts val="1200"/>
              </a:spcAft>
              <a:defRPr/>
            </a:pPr>
            <a:r>
              <a:rPr lang="en-GB" sz="2000" b="1" dirty="0">
                <a:solidFill>
                  <a:srgbClr val="000000"/>
                </a:solidFill>
              </a:rPr>
              <a:t>Use of photography</a:t>
            </a:r>
          </a:p>
          <a:p>
            <a:pPr lvl="0" defTabSz="228600">
              <a:spcAft>
                <a:spcPts val="1200"/>
              </a:spcAft>
              <a:defRPr/>
            </a:pPr>
            <a:r>
              <a:rPr lang="en-GB" sz="1600" dirty="0">
                <a:solidFill>
                  <a:srgbClr val="000000"/>
                </a:solidFill>
              </a:rPr>
              <a:t>Select background photographs from the approved photos in the image library. Choose photos based on relevance to the content being presented.</a:t>
            </a:r>
          </a:p>
          <a:p>
            <a:pPr lvl="0" defTabSz="228600">
              <a:spcAft>
                <a:spcPts val="1200"/>
              </a:spcAft>
              <a:defRPr/>
            </a:pPr>
            <a:endParaRPr lang="en-GB" dirty="0">
              <a:solidFill>
                <a:srgbClr val="000000"/>
              </a:solidFill>
            </a:endParaRPr>
          </a:p>
        </p:txBody>
      </p:sp>
      <p:sp>
        <p:nvSpPr>
          <p:cNvPr id="15" name="TextBox 14">
            <a:extLst>
              <a:ext uri="{FF2B5EF4-FFF2-40B4-BE49-F238E27FC236}">
                <a16:creationId xmlns:a16="http://schemas.microsoft.com/office/drawing/2014/main" id="{2BA165CA-B56C-4E98-BE21-0C8D498535A4}"/>
              </a:ext>
            </a:extLst>
          </p:cNvPr>
          <p:cNvSpPr txBox="1"/>
          <p:nvPr/>
        </p:nvSpPr>
        <p:spPr>
          <a:xfrm>
            <a:off x="6286500" y="1156448"/>
            <a:ext cx="5524500" cy="4503736"/>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Graphik"/>
                <a:ea typeface="+mn-ea"/>
                <a:cs typeface="+mn-cs"/>
              </a:rPr>
              <a:t>PPT tips</a:t>
            </a: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1" i="0" u="none" strike="noStrike" kern="1200" cap="none" spc="0" normalizeH="0" baseline="0" noProof="0" dirty="0">
                <a:ln>
                  <a:noFill/>
                </a:ln>
                <a:solidFill>
                  <a:srgbClr val="A100FF"/>
                </a:solidFill>
                <a:effectLst/>
                <a:uLnTx/>
                <a:uFillTx/>
                <a:latin typeface="Graphik"/>
                <a:ea typeface="+mn-ea"/>
                <a:cs typeface="+mn-cs"/>
              </a:rPr>
              <a:t>Guides and grids</a:t>
            </a:r>
            <a:endParaRPr kumimoji="0" lang="en-GB" sz="1600" b="1" i="0" u="none" strike="noStrike" kern="1200" cap="none" spc="0" normalizeH="0" baseline="0" noProof="0" dirty="0">
              <a:ln>
                <a:noFill/>
              </a:ln>
              <a:solidFill>
                <a:srgbClr val="7500C0"/>
              </a:solidFill>
              <a:effectLst/>
              <a:uLnTx/>
              <a:uFillTx/>
              <a:latin typeface="Graphik"/>
              <a:ea typeface="+mn-ea"/>
              <a:cs typeface="+mn-cs"/>
            </a:endParaRP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Make use of Guides set within this template. </a:t>
            </a:r>
            <a:br>
              <a:rPr kumimoji="0" lang="en-GB" sz="1600" b="0" i="0" u="none" strike="noStrike" kern="1200" cap="none" spc="0" normalizeH="0" baseline="0" noProof="0" dirty="0">
                <a:ln>
                  <a:noFill/>
                </a:ln>
                <a:solidFill>
                  <a:srgbClr val="000000"/>
                </a:solidFill>
                <a:effectLst/>
                <a:uLnTx/>
                <a:uFillTx/>
                <a:latin typeface="Graphik"/>
                <a:ea typeface="+mn-ea"/>
                <a:cs typeface="+mn-cs"/>
              </a:rPr>
            </a:br>
            <a:r>
              <a:rPr kumimoji="0" lang="en-GB" sz="1600" b="0" i="0" u="none" strike="noStrike" kern="1200" cap="none" spc="0" normalizeH="0" baseline="0" noProof="0" dirty="0">
                <a:ln>
                  <a:noFill/>
                </a:ln>
                <a:solidFill>
                  <a:srgbClr val="000000"/>
                </a:solidFill>
                <a:effectLst/>
                <a:uLnTx/>
                <a:uFillTx/>
                <a:latin typeface="Graphik"/>
                <a:ea typeface="+mn-ea"/>
                <a:cs typeface="+mn-cs"/>
              </a:rPr>
              <a:t>View &gt; checkmark ‘Guides’.</a:t>
            </a: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1" i="0" u="none" strike="noStrike" kern="1200" cap="none" spc="0" normalizeH="0" baseline="0" noProof="0" dirty="0">
                <a:ln>
                  <a:noFill/>
                </a:ln>
                <a:solidFill>
                  <a:srgbClr val="A100FF"/>
                </a:solidFill>
                <a:effectLst/>
                <a:uLnTx/>
                <a:uFillTx/>
                <a:latin typeface="Graphik"/>
                <a:ea typeface="+mn-ea"/>
                <a:cs typeface="+mn-cs"/>
              </a:rPr>
              <a:t>Use indent</a:t>
            </a:r>
            <a:endParaRPr kumimoji="0" lang="en-GB" sz="1600" b="1" i="0" u="none" strike="noStrike" kern="1200" cap="none" spc="0" normalizeH="0" baseline="0" noProof="0" dirty="0">
              <a:ln>
                <a:noFill/>
              </a:ln>
              <a:solidFill>
                <a:srgbClr val="7500C0"/>
              </a:solidFill>
              <a:effectLst/>
              <a:uLnTx/>
              <a:uFillTx/>
              <a:latin typeface="Graphik"/>
              <a:ea typeface="+mn-ea"/>
              <a:cs typeface="+mn-cs"/>
            </a:endParaRP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Use the indent buttons to increase or decrease text formatting levels. </a:t>
            </a:r>
          </a:p>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Shortcut: Alt + Shift + (Arrow Right to increase or Arrow Left to decrease).</a:t>
            </a:r>
          </a:p>
          <a:p>
            <a:pPr defTabSz="228600">
              <a:spcAft>
                <a:spcPts val="1200"/>
              </a:spcAft>
              <a:defRPr/>
            </a:pPr>
            <a:r>
              <a:rPr lang="en-GB" sz="1600" b="1" dirty="0">
                <a:solidFill>
                  <a:srgbClr val="A100FF"/>
                </a:solidFill>
              </a:rPr>
              <a:t>Try the Quick Presentation Toolkit</a:t>
            </a:r>
          </a:p>
          <a:p>
            <a:pPr defTabSz="228600">
              <a:spcAft>
                <a:spcPts val="1200"/>
              </a:spcAft>
              <a:defRPr/>
            </a:pPr>
            <a:r>
              <a:rPr lang="en-US" sz="1600" dirty="0"/>
              <a:t>It’s designed to </a:t>
            </a:r>
            <a:r>
              <a:rPr lang="en-US" sz="1600" dirty="0">
                <a:hlinkClick r:id="rId4"/>
              </a:rPr>
              <a:t>help you create powerful PPT presentations </a:t>
            </a:r>
            <a:r>
              <a:rPr lang="en-US" sz="1600" dirty="0"/>
              <a:t>while saving you time and frustration.</a:t>
            </a:r>
            <a:endParaRPr lang="en-GB" sz="1600" dirty="0">
              <a:solidFill>
                <a:srgbClr val="000000"/>
              </a:solidFill>
            </a:endParaRPr>
          </a:p>
        </p:txBody>
      </p:sp>
      <p:sp>
        <p:nvSpPr>
          <p:cNvPr id="2" name="TextBox 1">
            <a:extLst>
              <a:ext uri="{FF2B5EF4-FFF2-40B4-BE49-F238E27FC236}">
                <a16:creationId xmlns:a16="http://schemas.microsoft.com/office/drawing/2014/main" id="{CEFCA228-3F7B-6B4C-8B5A-50E0E1B20ABE}"/>
              </a:ext>
            </a:extLst>
          </p:cNvPr>
          <p:cNvSpPr txBox="1"/>
          <p:nvPr/>
        </p:nvSpPr>
        <p:spPr>
          <a:xfrm>
            <a:off x="11114468" y="6297769"/>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9873175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DD7CB3-9574-6541-9F28-792E9BB97D63}"/>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98E26DFC-16B9-1341-B805-EF46510E6361}"/>
              </a:ext>
            </a:extLst>
          </p:cNvPr>
          <p:cNvSpPr>
            <a:spLocks noGrp="1"/>
          </p:cNvSpPr>
          <p:nvPr>
            <p:ph type="body" idx="1"/>
          </p:nvPr>
        </p:nvSpPr>
        <p:spPr/>
        <p:txBody>
          <a:bodyPr/>
          <a:lstStyle/>
          <a:p>
            <a:endParaRPr lang="en-US"/>
          </a:p>
        </p:txBody>
      </p:sp>
      <p:sp>
        <p:nvSpPr>
          <p:cNvPr id="5" name="Content Placeholder 4">
            <a:extLst>
              <a:ext uri="{FF2B5EF4-FFF2-40B4-BE49-F238E27FC236}">
                <a16:creationId xmlns:a16="http://schemas.microsoft.com/office/drawing/2014/main" id="{8B97037E-3A79-0545-A5DA-6B5619331740}"/>
              </a:ext>
            </a:extLst>
          </p:cNvPr>
          <p:cNvSpPr>
            <a:spLocks noGrp="1"/>
          </p:cNvSpPr>
          <p:nvPr>
            <p:ph sz="half" idx="2"/>
          </p:nvPr>
        </p:nvSpPr>
        <p:spPr/>
        <p:txBody>
          <a:bodyPr/>
          <a:lstStyle/>
          <a:p>
            <a:endParaRPr lang="en-US"/>
          </a:p>
        </p:txBody>
      </p:sp>
      <p:sp>
        <p:nvSpPr>
          <p:cNvPr id="6" name="Text Placeholder 5">
            <a:extLst>
              <a:ext uri="{FF2B5EF4-FFF2-40B4-BE49-F238E27FC236}">
                <a16:creationId xmlns:a16="http://schemas.microsoft.com/office/drawing/2014/main" id="{C3625A93-60D4-B64B-879E-A959E3118B8E}"/>
              </a:ext>
            </a:extLst>
          </p:cNvPr>
          <p:cNvSpPr>
            <a:spLocks noGrp="1"/>
          </p:cNvSpPr>
          <p:nvPr>
            <p:ph type="body" idx="18"/>
          </p:nvPr>
        </p:nvSpPr>
        <p:spPr/>
        <p:txBody>
          <a:bodyPr/>
          <a:lstStyle/>
          <a:p>
            <a:endParaRPr lang="en-US"/>
          </a:p>
        </p:txBody>
      </p:sp>
      <p:sp>
        <p:nvSpPr>
          <p:cNvPr id="7" name="Text Placeholder 6">
            <a:extLst>
              <a:ext uri="{FF2B5EF4-FFF2-40B4-BE49-F238E27FC236}">
                <a16:creationId xmlns:a16="http://schemas.microsoft.com/office/drawing/2014/main" id="{C58D8C47-89A7-F54A-8FF1-71A512D265AC}"/>
              </a:ext>
            </a:extLst>
          </p:cNvPr>
          <p:cNvSpPr>
            <a:spLocks noGrp="1"/>
          </p:cNvSpPr>
          <p:nvPr>
            <p:ph type="body" idx="19"/>
          </p:nvPr>
        </p:nvSpPr>
        <p:spPr/>
        <p:txBody>
          <a:bodyPr/>
          <a:lstStyle/>
          <a:p>
            <a:endParaRPr lang="en-US"/>
          </a:p>
        </p:txBody>
      </p:sp>
      <p:sp>
        <p:nvSpPr>
          <p:cNvPr id="8" name="Content Placeholder 7">
            <a:extLst>
              <a:ext uri="{FF2B5EF4-FFF2-40B4-BE49-F238E27FC236}">
                <a16:creationId xmlns:a16="http://schemas.microsoft.com/office/drawing/2014/main" id="{3192064B-B41A-8644-882A-4541035404DA}"/>
              </a:ext>
            </a:extLst>
          </p:cNvPr>
          <p:cNvSpPr>
            <a:spLocks noGrp="1"/>
          </p:cNvSpPr>
          <p:nvPr>
            <p:ph sz="half" idx="20"/>
          </p:nvPr>
        </p:nvSpPr>
        <p:spPr/>
        <p:txBody>
          <a:bodyPr/>
          <a:lstStyle/>
          <a:p>
            <a:endParaRPr lang="en-US"/>
          </a:p>
        </p:txBody>
      </p:sp>
      <p:sp>
        <p:nvSpPr>
          <p:cNvPr id="9" name="Text Placeholder 8">
            <a:extLst>
              <a:ext uri="{FF2B5EF4-FFF2-40B4-BE49-F238E27FC236}">
                <a16:creationId xmlns:a16="http://schemas.microsoft.com/office/drawing/2014/main" id="{04D6940C-A08A-2A4E-9CAA-F71D55A9A37F}"/>
              </a:ext>
            </a:extLst>
          </p:cNvPr>
          <p:cNvSpPr>
            <a:spLocks noGrp="1"/>
          </p:cNvSpPr>
          <p:nvPr>
            <p:ph type="body" idx="21"/>
          </p:nvPr>
        </p:nvSpPr>
        <p:spPr/>
        <p:txBody>
          <a:bodyPr/>
          <a:lstStyle/>
          <a:p>
            <a:endParaRPr lang="en-US"/>
          </a:p>
        </p:txBody>
      </p:sp>
      <p:sp>
        <p:nvSpPr>
          <p:cNvPr id="10" name="Text Placeholder 9">
            <a:extLst>
              <a:ext uri="{FF2B5EF4-FFF2-40B4-BE49-F238E27FC236}">
                <a16:creationId xmlns:a16="http://schemas.microsoft.com/office/drawing/2014/main" id="{6B51FD6A-23FE-AE4B-AAA4-C10959637C94}"/>
              </a:ext>
            </a:extLst>
          </p:cNvPr>
          <p:cNvSpPr>
            <a:spLocks noGrp="1"/>
          </p:cNvSpPr>
          <p:nvPr>
            <p:ph type="body" idx="22"/>
          </p:nvPr>
        </p:nvSpPr>
        <p:spPr/>
        <p:txBody>
          <a:bodyPr/>
          <a:lstStyle/>
          <a:p>
            <a:endParaRPr lang="en-US"/>
          </a:p>
        </p:txBody>
      </p:sp>
      <p:sp>
        <p:nvSpPr>
          <p:cNvPr id="11" name="Content Placeholder 10">
            <a:extLst>
              <a:ext uri="{FF2B5EF4-FFF2-40B4-BE49-F238E27FC236}">
                <a16:creationId xmlns:a16="http://schemas.microsoft.com/office/drawing/2014/main" id="{2215A9B7-BAF6-5748-B326-79088836F89A}"/>
              </a:ext>
            </a:extLst>
          </p:cNvPr>
          <p:cNvSpPr>
            <a:spLocks noGrp="1"/>
          </p:cNvSpPr>
          <p:nvPr>
            <p:ph sz="half" idx="23"/>
          </p:nvPr>
        </p:nvSpPr>
        <p:spPr/>
        <p:txBody>
          <a:bodyPr/>
          <a:lstStyle/>
          <a:p>
            <a:endParaRPr lang="en-US"/>
          </a:p>
        </p:txBody>
      </p:sp>
      <p:sp>
        <p:nvSpPr>
          <p:cNvPr id="12" name="Text Placeholder 11">
            <a:extLst>
              <a:ext uri="{FF2B5EF4-FFF2-40B4-BE49-F238E27FC236}">
                <a16:creationId xmlns:a16="http://schemas.microsoft.com/office/drawing/2014/main" id="{324F7B86-18C9-DB4E-B4C8-E15782B80262}"/>
              </a:ext>
            </a:extLst>
          </p:cNvPr>
          <p:cNvSpPr>
            <a:spLocks noGrp="1"/>
          </p:cNvSpPr>
          <p:nvPr>
            <p:ph type="body" idx="24"/>
          </p:nvPr>
        </p:nvSpPr>
        <p:spPr/>
        <p:txBody>
          <a:bodyPr/>
          <a:lstStyle/>
          <a:p>
            <a:endParaRPr lang="en-US"/>
          </a:p>
        </p:txBody>
      </p:sp>
    </p:spTree>
    <p:extLst>
      <p:ext uri="{BB962C8B-B14F-4D97-AF65-F5344CB8AC3E}">
        <p14:creationId xmlns:p14="http://schemas.microsoft.com/office/powerpoint/2010/main" val="148861953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Parallel Chart</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26">
            <a:extLst>
              <a:ext uri="{FF2B5EF4-FFF2-40B4-BE49-F238E27FC236}">
                <a16:creationId xmlns:a16="http://schemas.microsoft.com/office/drawing/2014/main" id="{D6692F23-6861-443D-9054-2838329BB836}"/>
              </a:ext>
            </a:extLst>
          </p:cNvPr>
          <p:cNvSpPr>
            <a:spLocks noChangeArrowheads="1"/>
          </p:cNvSpPr>
          <p:nvPr/>
        </p:nvSpPr>
        <p:spPr bwMode="auto">
          <a:xfrm>
            <a:off x="4626042" y="2856395"/>
            <a:ext cx="1322082" cy="293460"/>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7" name="Rectangle 27">
            <a:extLst>
              <a:ext uri="{FF2B5EF4-FFF2-40B4-BE49-F238E27FC236}">
                <a16:creationId xmlns:a16="http://schemas.microsoft.com/office/drawing/2014/main" id="{E370FD14-C294-4B08-85B2-16108DC1A71D}"/>
              </a:ext>
            </a:extLst>
          </p:cNvPr>
          <p:cNvSpPr>
            <a:spLocks noChangeArrowheads="1"/>
          </p:cNvSpPr>
          <p:nvPr/>
        </p:nvSpPr>
        <p:spPr bwMode="auto">
          <a:xfrm>
            <a:off x="4626042" y="3472055"/>
            <a:ext cx="1322082"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8" name="Rectangle 28">
            <a:extLst>
              <a:ext uri="{FF2B5EF4-FFF2-40B4-BE49-F238E27FC236}">
                <a16:creationId xmlns:a16="http://schemas.microsoft.com/office/drawing/2014/main" id="{CED734AF-6885-4FAD-9517-47912F96DAEC}"/>
              </a:ext>
            </a:extLst>
          </p:cNvPr>
          <p:cNvSpPr>
            <a:spLocks noChangeArrowheads="1"/>
          </p:cNvSpPr>
          <p:nvPr/>
        </p:nvSpPr>
        <p:spPr bwMode="auto">
          <a:xfrm>
            <a:off x="4626042" y="4084692"/>
            <a:ext cx="1322082" cy="291947"/>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9" name="Rectangle 29">
            <a:extLst>
              <a:ext uri="{FF2B5EF4-FFF2-40B4-BE49-F238E27FC236}">
                <a16:creationId xmlns:a16="http://schemas.microsoft.com/office/drawing/2014/main" id="{F98A57FE-2BDB-4CF3-A9E1-32FC41ED95E4}"/>
              </a:ext>
            </a:extLst>
          </p:cNvPr>
          <p:cNvSpPr>
            <a:spLocks noChangeArrowheads="1"/>
          </p:cNvSpPr>
          <p:nvPr/>
        </p:nvSpPr>
        <p:spPr bwMode="auto">
          <a:xfrm>
            <a:off x="4626042" y="4686738"/>
            <a:ext cx="1322082"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0" name="Rectangle 30">
            <a:extLst>
              <a:ext uri="{FF2B5EF4-FFF2-40B4-BE49-F238E27FC236}">
                <a16:creationId xmlns:a16="http://schemas.microsoft.com/office/drawing/2014/main" id="{F3C0EA48-C396-4877-BFFD-02076CB26033}"/>
              </a:ext>
            </a:extLst>
          </p:cNvPr>
          <p:cNvSpPr>
            <a:spLocks noChangeArrowheads="1"/>
          </p:cNvSpPr>
          <p:nvPr/>
        </p:nvSpPr>
        <p:spPr bwMode="auto">
          <a:xfrm>
            <a:off x="4621504" y="2242247"/>
            <a:ext cx="1320570"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1" name="Rectangle 31">
            <a:extLst>
              <a:ext uri="{FF2B5EF4-FFF2-40B4-BE49-F238E27FC236}">
                <a16:creationId xmlns:a16="http://schemas.microsoft.com/office/drawing/2014/main" id="{95C6146E-CF3E-47DB-B780-868BC7104981}"/>
              </a:ext>
            </a:extLst>
          </p:cNvPr>
          <p:cNvSpPr>
            <a:spLocks noChangeArrowheads="1"/>
          </p:cNvSpPr>
          <p:nvPr/>
        </p:nvSpPr>
        <p:spPr bwMode="auto">
          <a:xfrm>
            <a:off x="4346196" y="1674992"/>
            <a:ext cx="1576212" cy="360018"/>
          </a:xfrm>
          <a:prstGeom prst="rect">
            <a:avLst/>
          </a:prstGeom>
          <a:solidFill>
            <a:schemeClr val="accent2"/>
          </a:solidFill>
          <a:ln w="6350">
            <a:noFill/>
            <a:miter lim="800000"/>
            <a:headEnd/>
            <a:tailEnd/>
          </a:ln>
          <a:effectLst/>
        </p:spPr>
        <p:txBody>
          <a:bodyPr lIns="72000" tIns="72000" rIns="72000" bIns="72000" anchor="ctr"/>
          <a:lstStyle/>
          <a:p>
            <a:pPr marL="222250" marR="0" lvl="0" indent="-222250" algn="l" defTabSz="1044575" rtl="0" eaLnBrk="0" fontAlgn="auto" latinLnBrk="0" hangingPunct="0">
              <a:lnSpc>
                <a:spcPct val="100000"/>
              </a:lnSpc>
              <a:spcBef>
                <a:spcPct val="10000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cxnSp>
        <p:nvCxnSpPr>
          <p:cNvPr id="12" name="AutoShape 32">
            <a:extLst>
              <a:ext uri="{FF2B5EF4-FFF2-40B4-BE49-F238E27FC236}">
                <a16:creationId xmlns:a16="http://schemas.microsoft.com/office/drawing/2014/main" id="{B4EE16D7-426F-4A45-BF27-646454BBDE37}"/>
              </a:ext>
            </a:extLst>
          </p:cNvPr>
          <p:cNvCxnSpPr>
            <a:cxnSpLocks noChangeShapeType="1"/>
            <a:stCxn id="10" idx="1"/>
            <a:endCxn id="6" idx="1"/>
          </p:cNvCxnSpPr>
          <p:nvPr/>
        </p:nvCxnSpPr>
        <p:spPr bwMode="auto">
          <a:xfrm rot="10800000" flipH="1" flipV="1">
            <a:off x="4621505" y="2387465"/>
            <a:ext cx="4539" cy="615660"/>
          </a:xfrm>
          <a:prstGeom prst="bentConnector3">
            <a:avLst>
              <a:gd name="adj1" fmla="val -10266667"/>
            </a:avLst>
          </a:prstGeom>
          <a:noFill/>
          <a:ln w="12700" cap="rnd" cmpd="sng" algn="ctr">
            <a:solidFill>
              <a:srgbClr val="96968C"/>
            </a:solidFill>
            <a:prstDash val="sysDot"/>
            <a:headEnd type="none" w="med" len="med"/>
            <a:tailEnd type="none" w="med" len="med"/>
          </a:ln>
          <a:effectLst/>
        </p:spPr>
      </p:cxnSp>
      <p:cxnSp>
        <p:nvCxnSpPr>
          <p:cNvPr id="13" name="AutoShape 36">
            <a:extLst>
              <a:ext uri="{FF2B5EF4-FFF2-40B4-BE49-F238E27FC236}">
                <a16:creationId xmlns:a16="http://schemas.microsoft.com/office/drawing/2014/main" id="{3AA5DAA3-365B-446C-BF93-C48F4C540567}"/>
              </a:ext>
            </a:extLst>
          </p:cNvPr>
          <p:cNvCxnSpPr>
            <a:cxnSpLocks noChangeShapeType="1"/>
            <a:stCxn id="11" idx="1"/>
            <a:endCxn id="10" idx="1"/>
          </p:cNvCxnSpPr>
          <p:nvPr/>
        </p:nvCxnSpPr>
        <p:spPr bwMode="auto">
          <a:xfrm rot="10800000" flipH="1" flipV="1">
            <a:off x="4346196" y="1855002"/>
            <a:ext cx="275308" cy="532463"/>
          </a:xfrm>
          <a:prstGeom prst="bentConnector3">
            <a:avLst>
              <a:gd name="adj1" fmla="val -69231"/>
            </a:avLst>
          </a:prstGeom>
          <a:noFill/>
          <a:ln w="12700" cap="rnd" cmpd="sng" algn="ctr">
            <a:solidFill>
              <a:srgbClr val="96968C"/>
            </a:solidFill>
            <a:prstDash val="sysDot"/>
            <a:headEnd type="none" w="med" len="med"/>
            <a:tailEnd type="none" w="med" len="med"/>
          </a:ln>
          <a:effectLst/>
        </p:spPr>
      </p:cxnSp>
      <p:sp>
        <p:nvSpPr>
          <p:cNvPr id="14" name="Rectangle 15">
            <a:extLst>
              <a:ext uri="{FF2B5EF4-FFF2-40B4-BE49-F238E27FC236}">
                <a16:creationId xmlns:a16="http://schemas.microsoft.com/office/drawing/2014/main" id="{2C8FBDDA-D6E9-428F-9BB9-6F8D0D0B47A0}"/>
              </a:ext>
            </a:extLst>
          </p:cNvPr>
          <p:cNvSpPr>
            <a:spLocks noChangeArrowheads="1"/>
          </p:cNvSpPr>
          <p:nvPr/>
        </p:nvSpPr>
        <p:spPr bwMode="auto">
          <a:xfrm>
            <a:off x="6699926" y="2844294"/>
            <a:ext cx="1323595" cy="293460"/>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5" name="Rectangle 16">
            <a:extLst>
              <a:ext uri="{FF2B5EF4-FFF2-40B4-BE49-F238E27FC236}">
                <a16:creationId xmlns:a16="http://schemas.microsoft.com/office/drawing/2014/main" id="{9FC99836-0D42-4807-B879-B547D88C61B2}"/>
              </a:ext>
            </a:extLst>
          </p:cNvPr>
          <p:cNvSpPr>
            <a:spLocks noChangeArrowheads="1"/>
          </p:cNvSpPr>
          <p:nvPr/>
        </p:nvSpPr>
        <p:spPr bwMode="auto">
          <a:xfrm>
            <a:off x="6699926" y="3459954"/>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6" name="Rectangle 17">
            <a:extLst>
              <a:ext uri="{FF2B5EF4-FFF2-40B4-BE49-F238E27FC236}">
                <a16:creationId xmlns:a16="http://schemas.microsoft.com/office/drawing/2014/main" id="{ADB2A4AF-B39D-409C-8971-2A418A3BB757}"/>
              </a:ext>
            </a:extLst>
          </p:cNvPr>
          <p:cNvSpPr>
            <a:spLocks noChangeArrowheads="1"/>
          </p:cNvSpPr>
          <p:nvPr/>
        </p:nvSpPr>
        <p:spPr bwMode="auto">
          <a:xfrm>
            <a:off x="6699926" y="4072590"/>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7" name="Rectangle 18">
            <a:extLst>
              <a:ext uri="{FF2B5EF4-FFF2-40B4-BE49-F238E27FC236}">
                <a16:creationId xmlns:a16="http://schemas.microsoft.com/office/drawing/2014/main" id="{78582087-04D7-4CF6-92E0-6D49BDF1C350}"/>
              </a:ext>
            </a:extLst>
          </p:cNvPr>
          <p:cNvSpPr>
            <a:spLocks noChangeArrowheads="1"/>
          </p:cNvSpPr>
          <p:nvPr/>
        </p:nvSpPr>
        <p:spPr bwMode="auto">
          <a:xfrm>
            <a:off x="6699926" y="4674636"/>
            <a:ext cx="1323595"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8" name="Rectangle 19">
            <a:extLst>
              <a:ext uri="{FF2B5EF4-FFF2-40B4-BE49-F238E27FC236}">
                <a16:creationId xmlns:a16="http://schemas.microsoft.com/office/drawing/2014/main" id="{6A813FC1-CB46-4F91-9249-5AE023FAF123}"/>
              </a:ext>
            </a:extLst>
          </p:cNvPr>
          <p:cNvSpPr>
            <a:spLocks noChangeArrowheads="1"/>
          </p:cNvSpPr>
          <p:nvPr/>
        </p:nvSpPr>
        <p:spPr bwMode="auto">
          <a:xfrm>
            <a:off x="6695388" y="2230146"/>
            <a:ext cx="1322082"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19" name="Rectangle 20">
            <a:extLst>
              <a:ext uri="{FF2B5EF4-FFF2-40B4-BE49-F238E27FC236}">
                <a16:creationId xmlns:a16="http://schemas.microsoft.com/office/drawing/2014/main" id="{09B925DB-F24A-4399-8EE2-CA1E020C8D8F}"/>
              </a:ext>
            </a:extLst>
          </p:cNvPr>
          <p:cNvSpPr>
            <a:spLocks noChangeArrowheads="1"/>
          </p:cNvSpPr>
          <p:nvPr/>
        </p:nvSpPr>
        <p:spPr bwMode="auto">
          <a:xfrm>
            <a:off x="6448821" y="1674992"/>
            <a:ext cx="1576212" cy="360018"/>
          </a:xfrm>
          <a:prstGeom prst="rect">
            <a:avLst/>
          </a:prstGeom>
          <a:solidFill>
            <a:schemeClr val="accent1"/>
          </a:solidFill>
          <a:ln w="6350">
            <a:noFill/>
            <a:miter lim="800000"/>
            <a:headEnd/>
            <a:tailEnd/>
          </a:ln>
          <a:effectLst/>
        </p:spPr>
        <p:txBody>
          <a:bodyPr lIns="72000" tIns="72000" rIns="72000" bIns="72000" anchor="ctr"/>
          <a:lstStyle/>
          <a:p>
            <a:pPr marL="222250" marR="0" lvl="0" indent="-222250" algn="l" defTabSz="1044575" rtl="0" eaLnBrk="0" fontAlgn="auto" latinLnBrk="0" hangingPunct="0">
              <a:lnSpc>
                <a:spcPct val="100000"/>
              </a:lnSpc>
              <a:spcBef>
                <a:spcPct val="10000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cxnSp>
        <p:nvCxnSpPr>
          <p:cNvPr id="20" name="AutoShape 21">
            <a:extLst>
              <a:ext uri="{FF2B5EF4-FFF2-40B4-BE49-F238E27FC236}">
                <a16:creationId xmlns:a16="http://schemas.microsoft.com/office/drawing/2014/main" id="{F162A8F2-CF3A-4C90-B07E-0BE2206980A1}"/>
              </a:ext>
            </a:extLst>
          </p:cNvPr>
          <p:cNvCxnSpPr>
            <a:cxnSpLocks noChangeShapeType="1"/>
            <a:stCxn id="19" idx="1"/>
            <a:endCxn id="18" idx="1"/>
          </p:cNvCxnSpPr>
          <p:nvPr/>
        </p:nvCxnSpPr>
        <p:spPr bwMode="auto">
          <a:xfrm rot="10800000" flipH="1" flipV="1">
            <a:off x="6448822" y="1855001"/>
            <a:ext cx="246567" cy="520362"/>
          </a:xfrm>
          <a:prstGeom prst="bentConnector3">
            <a:avLst>
              <a:gd name="adj1" fmla="val -88343"/>
            </a:avLst>
          </a:prstGeom>
          <a:noFill/>
          <a:ln w="12700" cap="rnd" cmpd="sng" algn="ctr">
            <a:solidFill>
              <a:srgbClr val="96968C"/>
            </a:solidFill>
            <a:prstDash val="sysDot"/>
            <a:headEnd type="none" w="med" len="med"/>
            <a:tailEnd type="none" w="med" len="med"/>
          </a:ln>
          <a:effectLst/>
        </p:spPr>
      </p:cxnSp>
      <p:cxnSp>
        <p:nvCxnSpPr>
          <p:cNvPr id="21" name="AutoShape 48">
            <a:extLst>
              <a:ext uri="{FF2B5EF4-FFF2-40B4-BE49-F238E27FC236}">
                <a16:creationId xmlns:a16="http://schemas.microsoft.com/office/drawing/2014/main" id="{7549DF37-B6BD-49AA-84FE-C6D878DBC59D}"/>
              </a:ext>
            </a:extLst>
          </p:cNvPr>
          <p:cNvCxnSpPr>
            <a:cxnSpLocks noChangeShapeType="1"/>
            <a:stCxn id="15" idx="1"/>
            <a:endCxn id="16" idx="1"/>
          </p:cNvCxnSpPr>
          <p:nvPr/>
        </p:nvCxnSpPr>
        <p:spPr bwMode="auto">
          <a:xfrm rot="10800000" flipH="1" flipV="1">
            <a:off x="6699926" y="3606684"/>
            <a:ext cx="1513" cy="612636"/>
          </a:xfrm>
          <a:prstGeom prst="bentConnector3">
            <a:avLst>
              <a:gd name="adj1" fmla="val -31000000"/>
            </a:avLst>
          </a:prstGeom>
          <a:noFill/>
          <a:ln w="12700" cap="rnd" cmpd="sng" algn="ctr">
            <a:solidFill>
              <a:srgbClr val="96968C"/>
            </a:solidFill>
            <a:prstDash val="sysDot"/>
            <a:headEnd type="none" w="med" len="med"/>
            <a:tailEnd type="none" w="med" len="med"/>
          </a:ln>
          <a:effectLst/>
        </p:spPr>
      </p:cxnSp>
      <p:cxnSp>
        <p:nvCxnSpPr>
          <p:cNvPr id="22" name="AutoShape 49">
            <a:extLst>
              <a:ext uri="{FF2B5EF4-FFF2-40B4-BE49-F238E27FC236}">
                <a16:creationId xmlns:a16="http://schemas.microsoft.com/office/drawing/2014/main" id="{17CBE2DC-61D7-42DB-9B68-D2E2AECF47C5}"/>
              </a:ext>
            </a:extLst>
          </p:cNvPr>
          <p:cNvCxnSpPr>
            <a:cxnSpLocks noChangeShapeType="1"/>
            <a:stCxn id="18" idx="1"/>
            <a:endCxn id="14" idx="1"/>
          </p:cNvCxnSpPr>
          <p:nvPr/>
        </p:nvCxnSpPr>
        <p:spPr bwMode="auto">
          <a:xfrm rot="10800000" flipH="1" flipV="1">
            <a:off x="6695389" y="2375364"/>
            <a:ext cx="4539" cy="615661"/>
          </a:xfrm>
          <a:prstGeom prst="bentConnector3">
            <a:avLst>
              <a:gd name="adj1" fmla="val -10233333"/>
            </a:avLst>
          </a:prstGeom>
          <a:noFill/>
          <a:ln w="12700" cap="rnd" cmpd="sng" algn="ctr">
            <a:solidFill>
              <a:srgbClr val="96968C"/>
            </a:solidFill>
            <a:prstDash val="sysDot"/>
            <a:headEnd type="none" w="med" len="med"/>
            <a:tailEnd type="none" w="med" len="med"/>
          </a:ln>
          <a:effectLst/>
        </p:spPr>
      </p:cxnSp>
      <p:cxnSp>
        <p:nvCxnSpPr>
          <p:cNvPr id="23" name="AutoShape 50">
            <a:extLst>
              <a:ext uri="{FF2B5EF4-FFF2-40B4-BE49-F238E27FC236}">
                <a16:creationId xmlns:a16="http://schemas.microsoft.com/office/drawing/2014/main" id="{3FD06EAE-F307-4D00-8B60-0C9AB63CF2D5}"/>
              </a:ext>
            </a:extLst>
          </p:cNvPr>
          <p:cNvCxnSpPr>
            <a:cxnSpLocks noChangeShapeType="1"/>
            <a:stCxn id="14" idx="1"/>
            <a:endCxn id="15" idx="1"/>
          </p:cNvCxnSpPr>
          <p:nvPr/>
        </p:nvCxnSpPr>
        <p:spPr bwMode="auto">
          <a:xfrm rot="10800000" flipH="1" flipV="1">
            <a:off x="6699926" y="2991024"/>
            <a:ext cx="1513" cy="615661"/>
          </a:xfrm>
          <a:prstGeom prst="bentConnector3">
            <a:avLst>
              <a:gd name="adj1" fmla="val -31000000"/>
            </a:avLst>
          </a:prstGeom>
          <a:noFill/>
          <a:ln w="12700" cap="rnd" cmpd="sng" algn="ctr">
            <a:solidFill>
              <a:srgbClr val="96968C"/>
            </a:solidFill>
            <a:prstDash val="sysDot"/>
            <a:headEnd type="none" w="med" len="med"/>
            <a:tailEnd type="none" w="med" len="med"/>
          </a:ln>
          <a:effectLst/>
        </p:spPr>
      </p:cxnSp>
      <p:cxnSp>
        <p:nvCxnSpPr>
          <p:cNvPr id="24" name="AutoShape 51">
            <a:extLst>
              <a:ext uri="{FF2B5EF4-FFF2-40B4-BE49-F238E27FC236}">
                <a16:creationId xmlns:a16="http://schemas.microsoft.com/office/drawing/2014/main" id="{24EA10DE-481C-4E43-9320-14C1B66888FB}"/>
              </a:ext>
            </a:extLst>
          </p:cNvPr>
          <p:cNvCxnSpPr>
            <a:cxnSpLocks noChangeShapeType="1"/>
            <a:stCxn id="16" idx="1"/>
            <a:endCxn id="17" idx="1"/>
          </p:cNvCxnSpPr>
          <p:nvPr/>
        </p:nvCxnSpPr>
        <p:spPr bwMode="auto">
          <a:xfrm rot="10800000" flipH="1" flipV="1">
            <a:off x="6699926" y="4219319"/>
            <a:ext cx="1513" cy="600534"/>
          </a:xfrm>
          <a:prstGeom prst="bentConnector3">
            <a:avLst>
              <a:gd name="adj1" fmla="val -31000000"/>
            </a:avLst>
          </a:prstGeom>
          <a:noFill/>
          <a:ln w="12700" cap="rnd" cmpd="sng" algn="ctr">
            <a:solidFill>
              <a:srgbClr val="96968C"/>
            </a:solidFill>
            <a:prstDash val="sysDot"/>
            <a:headEnd type="none" w="med" len="med"/>
            <a:tailEnd type="none" w="med" len="med"/>
          </a:ln>
          <a:effectLst/>
        </p:spPr>
      </p:cxnSp>
      <p:sp>
        <p:nvSpPr>
          <p:cNvPr id="25" name="Rectangle 4">
            <a:extLst>
              <a:ext uri="{FF2B5EF4-FFF2-40B4-BE49-F238E27FC236}">
                <a16:creationId xmlns:a16="http://schemas.microsoft.com/office/drawing/2014/main" id="{D39FF0EC-9EE1-45CA-8DE5-806BCEDE6DB7}"/>
              </a:ext>
            </a:extLst>
          </p:cNvPr>
          <p:cNvSpPr>
            <a:spLocks noChangeArrowheads="1"/>
          </p:cNvSpPr>
          <p:nvPr/>
        </p:nvSpPr>
        <p:spPr bwMode="auto">
          <a:xfrm>
            <a:off x="8804064" y="2844294"/>
            <a:ext cx="1323595" cy="293460"/>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26" name="Rectangle 5">
            <a:extLst>
              <a:ext uri="{FF2B5EF4-FFF2-40B4-BE49-F238E27FC236}">
                <a16:creationId xmlns:a16="http://schemas.microsoft.com/office/drawing/2014/main" id="{8E078130-FD4C-4E07-9CE6-F50750817792}"/>
              </a:ext>
            </a:extLst>
          </p:cNvPr>
          <p:cNvSpPr>
            <a:spLocks noChangeArrowheads="1"/>
          </p:cNvSpPr>
          <p:nvPr/>
        </p:nvSpPr>
        <p:spPr bwMode="auto">
          <a:xfrm>
            <a:off x="8804064" y="3459954"/>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27" name="Rectangle 6">
            <a:extLst>
              <a:ext uri="{FF2B5EF4-FFF2-40B4-BE49-F238E27FC236}">
                <a16:creationId xmlns:a16="http://schemas.microsoft.com/office/drawing/2014/main" id="{11164158-65EB-41B0-AA98-5CFF40A45F9E}"/>
              </a:ext>
            </a:extLst>
          </p:cNvPr>
          <p:cNvSpPr>
            <a:spLocks noChangeArrowheads="1"/>
          </p:cNvSpPr>
          <p:nvPr/>
        </p:nvSpPr>
        <p:spPr bwMode="auto">
          <a:xfrm>
            <a:off x="8804064" y="4072590"/>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28" name="Rectangle 7">
            <a:extLst>
              <a:ext uri="{FF2B5EF4-FFF2-40B4-BE49-F238E27FC236}">
                <a16:creationId xmlns:a16="http://schemas.microsoft.com/office/drawing/2014/main" id="{93BF4E75-CA8E-4381-BC9D-226DCAE01C17}"/>
              </a:ext>
            </a:extLst>
          </p:cNvPr>
          <p:cNvSpPr>
            <a:spLocks noChangeArrowheads="1"/>
          </p:cNvSpPr>
          <p:nvPr/>
        </p:nvSpPr>
        <p:spPr bwMode="auto">
          <a:xfrm>
            <a:off x="8804064" y="4674636"/>
            <a:ext cx="1323595"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29" name="Rectangle 8">
            <a:extLst>
              <a:ext uri="{FF2B5EF4-FFF2-40B4-BE49-F238E27FC236}">
                <a16:creationId xmlns:a16="http://schemas.microsoft.com/office/drawing/2014/main" id="{D9173483-2A2F-4C2B-8EE9-41FE894A7785}"/>
              </a:ext>
            </a:extLst>
          </p:cNvPr>
          <p:cNvSpPr>
            <a:spLocks noChangeArrowheads="1"/>
          </p:cNvSpPr>
          <p:nvPr/>
        </p:nvSpPr>
        <p:spPr bwMode="auto">
          <a:xfrm>
            <a:off x="8799525" y="2230146"/>
            <a:ext cx="1322082"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30" name="Rectangle 9">
            <a:extLst>
              <a:ext uri="{FF2B5EF4-FFF2-40B4-BE49-F238E27FC236}">
                <a16:creationId xmlns:a16="http://schemas.microsoft.com/office/drawing/2014/main" id="{6C95379F-1823-487C-8471-24B782A075DC}"/>
              </a:ext>
            </a:extLst>
          </p:cNvPr>
          <p:cNvSpPr>
            <a:spLocks noChangeArrowheads="1"/>
          </p:cNvSpPr>
          <p:nvPr/>
        </p:nvSpPr>
        <p:spPr bwMode="auto">
          <a:xfrm>
            <a:off x="8552958" y="1674992"/>
            <a:ext cx="1576212" cy="360018"/>
          </a:xfrm>
          <a:prstGeom prst="rect">
            <a:avLst/>
          </a:prstGeom>
          <a:solidFill>
            <a:schemeClr val="accent5"/>
          </a:solidFill>
          <a:ln w="6350">
            <a:noFill/>
            <a:miter lim="800000"/>
            <a:headEnd/>
            <a:tailEnd/>
          </a:ln>
          <a:effectLst/>
        </p:spPr>
        <p:txBody>
          <a:bodyPr lIns="72000" tIns="72000" rIns="72000" bIns="72000" anchor="ctr"/>
          <a:lstStyle/>
          <a:p>
            <a:pPr marL="222250" marR="0" lvl="0" indent="-222250" algn="l" defTabSz="1044575" rtl="0" eaLnBrk="0" fontAlgn="auto" latinLnBrk="0" hangingPunct="0">
              <a:lnSpc>
                <a:spcPct val="100000"/>
              </a:lnSpc>
              <a:spcBef>
                <a:spcPct val="10000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raphik"/>
                <a:ea typeface="+mn-ea"/>
                <a:cs typeface="+mn-cs"/>
              </a:rPr>
              <a:t>Text</a:t>
            </a:r>
          </a:p>
        </p:txBody>
      </p:sp>
      <p:cxnSp>
        <p:nvCxnSpPr>
          <p:cNvPr id="31" name="AutoShape 11">
            <a:extLst>
              <a:ext uri="{FF2B5EF4-FFF2-40B4-BE49-F238E27FC236}">
                <a16:creationId xmlns:a16="http://schemas.microsoft.com/office/drawing/2014/main" id="{AF37A7B7-25BF-441C-88AA-794646EC70FD}"/>
              </a:ext>
            </a:extLst>
          </p:cNvPr>
          <p:cNvCxnSpPr>
            <a:cxnSpLocks noChangeShapeType="1"/>
            <a:stCxn id="30" idx="1"/>
            <a:endCxn id="29" idx="1"/>
          </p:cNvCxnSpPr>
          <p:nvPr/>
        </p:nvCxnSpPr>
        <p:spPr bwMode="auto">
          <a:xfrm rot="10800000" flipH="1" flipV="1">
            <a:off x="8552959" y="1855001"/>
            <a:ext cx="246567" cy="520362"/>
          </a:xfrm>
          <a:prstGeom prst="bentConnector3">
            <a:avLst>
              <a:gd name="adj1" fmla="val -104347"/>
            </a:avLst>
          </a:prstGeom>
          <a:noFill/>
          <a:ln w="12700" cap="rnd" cmpd="sng" algn="ctr">
            <a:solidFill>
              <a:srgbClr val="96968C"/>
            </a:solidFill>
            <a:prstDash val="sysDot"/>
            <a:headEnd type="none" w="med" len="med"/>
            <a:tailEnd type="none" w="med" len="med"/>
          </a:ln>
          <a:effectLst/>
        </p:spPr>
      </p:cxnSp>
      <p:cxnSp>
        <p:nvCxnSpPr>
          <p:cNvPr id="32" name="AutoShape 14">
            <a:extLst>
              <a:ext uri="{FF2B5EF4-FFF2-40B4-BE49-F238E27FC236}">
                <a16:creationId xmlns:a16="http://schemas.microsoft.com/office/drawing/2014/main" id="{D23FB827-C50B-4917-997E-552EACCFFB35}"/>
              </a:ext>
            </a:extLst>
          </p:cNvPr>
          <p:cNvCxnSpPr>
            <a:cxnSpLocks noChangeShapeType="1"/>
            <a:stCxn id="29" idx="1"/>
            <a:endCxn id="25" idx="1"/>
          </p:cNvCxnSpPr>
          <p:nvPr/>
        </p:nvCxnSpPr>
        <p:spPr bwMode="auto">
          <a:xfrm rot="10800000" flipH="1" flipV="1">
            <a:off x="8799526" y="2375364"/>
            <a:ext cx="4539" cy="615661"/>
          </a:xfrm>
          <a:prstGeom prst="bentConnector3">
            <a:avLst>
              <a:gd name="adj1" fmla="val -11133333"/>
            </a:avLst>
          </a:prstGeom>
          <a:noFill/>
          <a:ln w="12700" cap="rnd" cmpd="sng" algn="ctr">
            <a:solidFill>
              <a:srgbClr val="96968C"/>
            </a:solidFill>
            <a:prstDash val="sysDot"/>
            <a:headEnd type="none" w="med" len="med"/>
            <a:tailEnd type="none" w="med" len="med"/>
          </a:ln>
          <a:effectLst/>
        </p:spPr>
      </p:cxnSp>
      <p:cxnSp>
        <p:nvCxnSpPr>
          <p:cNvPr id="33" name="AutoShape 52">
            <a:extLst>
              <a:ext uri="{FF2B5EF4-FFF2-40B4-BE49-F238E27FC236}">
                <a16:creationId xmlns:a16="http://schemas.microsoft.com/office/drawing/2014/main" id="{EA8667A6-6E93-4BBF-8756-7958F948BB35}"/>
              </a:ext>
            </a:extLst>
          </p:cNvPr>
          <p:cNvCxnSpPr>
            <a:cxnSpLocks noChangeShapeType="1"/>
            <a:stCxn id="25" idx="1"/>
            <a:endCxn id="26" idx="1"/>
          </p:cNvCxnSpPr>
          <p:nvPr/>
        </p:nvCxnSpPr>
        <p:spPr bwMode="auto">
          <a:xfrm rot="10800000" flipH="1" flipV="1">
            <a:off x="8804064" y="2991024"/>
            <a:ext cx="1513" cy="615661"/>
          </a:xfrm>
          <a:prstGeom prst="bentConnector3">
            <a:avLst>
              <a:gd name="adj1" fmla="val -33800000"/>
            </a:avLst>
          </a:prstGeom>
          <a:noFill/>
          <a:ln w="12700" cap="rnd" cmpd="sng" algn="ctr">
            <a:solidFill>
              <a:srgbClr val="96968C"/>
            </a:solidFill>
            <a:prstDash val="sysDot"/>
            <a:headEnd type="none" w="med" len="med"/>
            <a:tailEnd type="none" w="med" len="med"/>
          </a:ln>
          <a:effectLst/>
        </p:spPr>
      </p:cxnSp>
      <p:cxnSp>
        <p:nvCxnSpPr>
          <p:cNvPr id="34" name="AutoShape 53">
            <a:extLst>
              <a:ext uri="{FF2B5EF4-FFF2-40B4-BE49-F238E27FC236}">
                <a16:creationId xmlns:a16="http://schemas.microsoft.com/office/drawing/2014/main" id="{3750042B-8F3D-4F47-AD33-5B4932A46911}"/>
              </a:ext>
            </a:extLst>
          </p:cNvPr>
          <p:cNvCxnSpPr>
            <a:cxnSpLocks noChangeShapeType="1"/>
            <a:stCxn id="26" idx="1"/>
            <a:endCxn id="27" idx="1"/>
          </p:cNvCxnSpPr>
          <p:nvPr/>
        </p:nvCxnSpPr>
        <p:spPr bwMode="auto">
          <a:xfrm rot="10800000" flipH="1" flipV="1">
            <a:off x="8804064" y="3606684"/>
            <a:ext cx="1513" cy="612636"/>
          </a:xfrm>
          <a:prstGeom prst="bentConnector3">
            <a:avLst>
              <a:gd name="adj1" fmla="val -33900000"/>
            </a:avLst>
          </a:prstGeom>
          <a:noFill/>
          <a:ln w="12700" cap="rnd" cmpd="sng" algn="ctr">
            <a:solidFill>
              <a:srgbClr val="96968C"/>
            </a:solidFill>
            <a:prstDash val="sysDot"/>
            <a:headEnd type="none" w="med" len="med"/>
            <a:tailEnd type="none" w="med" len="med"/>
          </a:ln>
          <a:effectLst/>
        </p:spPr>
      </p:cxnSp>
      <p:cxnSp>
        <p:nvCxnSpPr>
          <p:cNvPr id="35" name="AutoShape 54">
            <a:extLst>
              <a:ext uri="{FF2B5EF4-FFF2-40B4-BE49-F238E27FC236}">
                <a16:creationId xmlns:a16="http://schemas.microsoft.com/office/drawing/2014/main" id="{27449FB9-3E9D-40B3-824A-F92AAA8A09A4}"/>
              </a:ext>
            </a:extLst>
          </p:cNvPr>
          <p:cNvCxnSpPr>
            <a:cxnSpLocks noChangeShapeType="1"/>
            <a:stCxn id="27" idx="1"/>
            <a:endCxn id="28" idx="1"/>
          </p:cNvCxnSpPr>
          <p:nvPr/>
        </p:nvCxnSpPr>
        <p:spPr bwMode="auto">
          <a:xfrm rot="10800000" flipH="1" flipV="1">
            <a:off x="8804064" y="4219319"/>
            <a:ext cx="1513" cy="600534"/>
          </a:xfrm>
          <a:prstGeom prst="bentConnector3">
            <a:avLst>
              <a:gd name="adj1" fmla="val -33900000"/>
            </a:avLst>
          </a:prstGeom>
          <a:noFill/>
          <a:ln w="12700" cap="rnd" cmpd="sng" algn="ctr">
            <a:solidFill>
              <a:srgbClr val="96968C"/>
            </a:solidFill>
            <a:prstDash val="sysDot"/>
            <a:headEnd type="none" w="med" len="med"/>
            <a:tailEnd type="none" w="med" len="med"/>
          </a:ln>
          <a:effectLst/>
        </p:spPr>
      </p:cxnSp>
      <p:cxnSp>
        <p:nvCxnSpPr>
          <p:cNvPr id="36" name="AutoShape 55">
            <a:extLst>
              <a:ext uri="{FF2B5EF4-FFF2-40B4-BE49-F238E27FC236}">
                <a16:creationId xmlns:a16="http://schemas.microsoft.com/office/drawing/2014/main" id="{13A253E1-6702-46AC-A2E6-70FC401815CC}"/>
              </a:ext>
            </a:extLst>
          </p:cNvPr>
          <p:cNvCxnSpPr>
            <a:cxnSpLocks noChangeShapeType="1"/>
            <a:stCxn id="6" idx="1"/>
            <a:endCxn id="7" idx="1"/>
          </p:cNvCxnSpPr>
          <p:nvPr/>
        </p:nvCxnSpPr>
        <p:spPr bwMode="auto">
          <a:xfrm rot="10800000" flipH="1" flipV="1">
            <a:off x="4626042" y="3003126"/>
            <a:ext cx="1512" cy="615661"/>
          </a:xfrm>
          <a:prstGeom prst="bentConnector3">
            <a:avLst>
              <a:gd name="adj1" fmla="val -31855952"/>
            </a:avLst>
          </a:prstGeom>
          <a:noFill/>
          <a:ln w="12700" cap="rnd" cmpd="sng" algn="ctr">
            <a:solidFill>
              <a:srgbClr val="96968C"/>
            </a:solidFill>
            <a:prstDash val="sysDot"/>
            <a:headEnd type="none" w="med" len="med"/>
            <a:tailEnd type="none" w="med" len="med"/>
          </a:ln>
          <a:effectLst/>
        </p:spPr>
      </p:cxnSp>
      <p:cxnSp>
        <p:nvCxnSpPr>
          <p:cNvPr id="37" name="AutoShape 56">
            <a:extLst>
              <a:ext uri="{FF2B5EF4-FFF2-40B4-BE49-F238E27FC236}">
                <a16:creationId xmlns:a16="http://schemas.microsoft.com/office/drawing/2014/main" id="{79A466F6-DA80-41D0-883A-9C8ADB9F81C3}"/>
              </a:ext>
            </a:extLst>
          </p:cNvPr>
          <p:cNvCxnSpPr>
            <a:cxnSpLocks noChangeShapeType="1"/>
            <a:stCxn id="7" idx="1"/>
            <a:endCxn id="8" idx="1"/>
          </p:cNvCxnSpPr>
          <p:nvPr/>
        </p:nvCxnSpPr>
        <p:spPr bwMode="auto">
          <a:xfrm rot="10800000" flipH="1" flipV="1">
            <a:off x="4626042" y="3618787"/>
            <a:ext cx="1512" cy="612635"/>
          </a:xfrm>
          <a:prstGeom prst="bentConnector3">
            <a:avLst>
              <a:gd name="adj1" fmla="val -31855952"/>
            </a:avLst>
          </a:prstGeom>
          <a:noFill/>
          <a:ln w="12700" cap="rnd" cmpd="sng" algn="ctr">
            <a:solidFill>
              <a:srgbClr val="96968C"/>
            </a:solidFill>
            <a:prstDash val="sysDot"/>
            <a:headEnd type="none" w="med" len="med"/>
            <a:tailEnd type="none" w="med" len="med"/>
          </a:ln>
          <a:effectLst/>
        </p:spPr>
      </p:cxnSp>
      <p:sp>
        <p:nvSpPr>
          <p:cNvPr id="38" name="Rectangle 37">
            <a:extLst>
              <a:ext uri="{FF2B5EF4-FFF2-40B4-BE49-F238E27FC236}">
                <a16:creationId xmlns:a16="http://schemas.microsoft.com/office/drawing/2014/main" id="{00B46202-34A4-4042-B548-2464FCF3B07B}"/>
              </a:ext>
            </a:extLst>
          </p:cNvPr>
          <p:cNvSpPr>
            <a:spLocks noChangeArrowheads="1"/>
          </p:cNvSpPr>
          <p:nvPr/>
        </p:nvSpPr>
        <p:spPr bwMode="auto">
          <a:xfrm>
            <a:off x="2494678" y="2844294"/>
            <a:ext cx="1323595" cy="293460"/>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39" name="Rectangle 38">
            <a:extLst>
              <a:ext uri="{FF2B5EF4-FFF2-40B4-BE49-F238E27FC236}">
                <a16:creationId xmlns:a16="http://schemas.microsoft.com/office/drawing/2014/main" id="{CF112E2C-D7A2-40A6-A7A6-DC11C121B265}"/>
              </a:ext>
            </a:extLst>
          </p:cNvPr>
          <p:cNvSpPr>
            <a:spLocks noChangeArrowheads="1"/>
          </p:cNvSpPr>
          <p:nvPr/>
        </p:nvSpPr>
        <p:spPr bwMode="auto">
          <a:xfrm>
            <a:off x="2494678" y="3459954"/>
            <a:ext cx="1323595" cy="291948"/>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40" name="Rectangle 39">
            <a:extLst>
              <a:ext uri="{FF2B5EF4-FFF2-40B4-BE49-F238E27FC236}">
                <a16:creationId xmlns:a16="http://schemas.microsoft.com/office/drawing/2014/main" id="{BFD7DBDF-9023-4EB4-B28C-3F9BA85FFA53}"/>
              </a:ext>
            </a:extLst>
          </p:cNvPr>
          <p:cNvSpPr>
            <a:spLocks noChangeArrowheads="1"/>
          </p:cNvSpPr>
          <p:nvPr/>
        </p:nvSpPr>
        <p:spPr bwMode="auto">
          <a:xfrm>
            <a:off x="2494678" y="4072591"/>
            <a:ext cx="1323595" cy="291947"/>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41" name="Rectangle 40">
            <a:extLst>
              <a:ext uri="{FF2B5EF4-FFF2-40B4-BE49-F238E27FC236}">
                <a16:creationId xmlns:a16="http://schemas.microsoft.com/office/drawing/2014/main" id="{45625C9A-8A30-4A9A-8F6B-8C9B50C946A9}"/>
              </a:ext>
            </a:extLst>
          </p:cNvPr>
          <p:cNvSpPr>
            <a:spLocks noChangeArrowheads="1"/>
          </p:cNvSpPr>
          <p:nvPr/>
        </p:nvSpPr>
        <p:spPr bwMode="auto">
          <a:xfrm>
            <a:off x="2494678" y="4674636"/>
            <a:ext cx="1323595"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42" name="Rectangle 41">
            <a:extLst>
              <a:ext uri="{FF2B5EF4-FFF2-40B4-BE49-F238E27FC236}">
                <a16:creationId xmlns:a16="http://schemas.microsoft.com/office/drawing/2014/main" id="{9DB6454F-32D7-4252-A667-71781D7D42AC}"/>
              </a:ext>
            </a:extLst>
          </p:cNvPr>
          <p:cNvSpPr>
            <a:spLocks noChangeArrowheads="1"/>
          </p:cNvSpPr>
          <p:nvPr/>
        </p:nvSpPr>
        <p:spPr bwMode="auto">
          <a:xfrm>
            <a:off x="2490139" y="2230146"/>
            <a:ext cx="1322082" cy="290434"/>
          </a:xfrm>
          <a:prstGeom prst="rect">
            <a:avLst/>
          </a:prstGeom>
          <a:solidFill>
            <a:srgbClr val="96968C">
              <a:lumMod val="20000"/>
              <a:lumOff val="80000"/>
            </a:srgbClr>
          </a:solidFill>
          <a:ln w="6350">
            <a:noFill/>
            <a:miter lim="800000"/>
            <a:headEnd/>
            <a:tailEnd/>
          </a:ln>
          <a:effectLst/>
        </p:spPr>
        <p:txBody>
          <a:bodyPr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Text</a:t>
            </a:r>
          </a:p>
        </p:txBody>
      </p:sp>
      <p:sp>
        <p:nvSpPr>
          <p:cNvPr id="43" name="Rectangle 42">
            <a:extLst>
              <a:ext uri="{FF2B5EF4-FFF2-40B4-BE49-F238E27FC236}">
                <a16:creationId xmlns:a16="http://schemas.microsoft.com/office/drawing/2014/main" id="{6CD0385A-7E83-41F8-9674-DEF7C92165F1}"/>
              </a:ext>
            </a:extLst>
          </p:cNvPr>
          <p:cNvSpPr>
            <a:spLocks noChangeArrowheads="1"/>
          </p:cNvSpPr>
          <p:nvPr/>
        </p:nvSpPr>
        <p:spPr bwMode="auto">
          <a:xfrm>
            <a:off x="2243572" y="1674992"/>
            <a:ext cx="1576212" cy="360018"/>
          </a:xfrm>
          <a:prstGeom prst="rect">
            <a:avLst/>
          </a:prstGeom>
          <a:solidFill>
            <a:schemeClr val="accent3"/>
          </a:solidFill>
          <a:ln w="6350">
            <a:noFill/>
            <a:miter lim="800000"/>
            <a:headEnd/>
            <a:tailEnd/>
          </a:ln>
          <a:effectLst/>
        </p:spPr>
        <p:txBody>
          <a:bodyPr lIns="72000" tIns="72000" rIns="72000" bIns="72000" anchor="ctr"/>
          <a:lstStyle/>
          <a:p>
            <a:pPr marL="222250" marR="0" lvl="0" indent="-222250" algn="l" defTabSz="1044575" rtl="0" eaLnBrk="0" fontAlgn="auto" latinLnBrk="0" hangingPunct="0">
              <a:lnSpc>
                <a:spcPct val="100000"/>
              </a:lnSpc>
              <a:spcBef>
                <a:spcPct val="10000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Text</a:t>
            </a:r>
          </a:p>
        </p:txBody>
      </p:sp>
      <p:cxnSp>
        <p:nvCxnSpPr>
          <p:cNvPr id="44" name="AutoShape 57">
            <a:extLst>
              <a:ext uri="{FF2B5EF4-FFF2-40B4-BE49-F238E27FC236}">
                <a16:creationId xmlns:a16="http://schemas.microsoft.com/office/drawing/2014/main" id="{257D1C9F-E768-4ED1-98A0-3FEDAAF94025}"/>
              </a:ext>
            </a:extLst>
          </p:cNvPr>
          <p:cNvCxnSpPr>
            <a:cxnSpLocks noChangeShapeType="1"/>
            <a:stCxn id="43" idx="1"/>
            <a:endCxn id="42" idx="1"/>
          </p:cNvCxnSpPr>
          <p:nvPr/>
        </p:nvCxnSpPr>
        <p:spPr bwMode="auto">
          <a:xfrm rot="10800000" flipH="1" flipV="1">
            <a:off x="2243573" y="1855001"/>
            <a:ext cx="246567" cy="520362"/>
          </a:xfrm>
          <a:prstGeom prst="bentConnector3">
            <a:avLst>
              <a:gd name="adj1" fmla="val -88343"/>
            </a:avLst>
          </a:prstGeom>
          <a:noFill/>
          <a:ln w="12700" cap="rnd" cmpd="sng" algn="ctr">
            <a:solidFill>
              <a:srgbClr val="96968C"/>
            </a:solidFill>
            <a:prstDash val="sysDot"/>
            <a:headEnd type="none" w="med" len="med"/>
            <a:tailEnd type="none" w="med" len="med"/>
          </a:ln>
          <a:effectLst/>
        </p:spPr>
      </p:cxnSp>
      <p:cxnSp>
        <p:nvCxnSpPr>
          <p:cNvPr id="45" name="AutoShape 58">
            <a:extLst>
              <a:ext uri="{FF2B5EF4-FFF2-40B4-BE49-F238E27FC236}">
                <a16:creationId xmlns:a16="http://schemas.microsoft.com/office/drawing/2014/main" id="{E507EC84-86A0-454A-9B7B-B90751EC6205}"/>
              </a:ext>
            </a:extLst>
          </p:cNvPr>
          <p:cNvCxnSpPr>
            <a:cxnSpLocks noChangeShapeType="1"/>
            <a:stCxn id="42" idx="1"/>
            <a:endCxn id="38" idx="1"/>
          </p:cNvCxnSpPr>
          <p:nvPr/>
        </p:nvCxnSpPr>
        <p:spPr bwMode="auto">
          <a:xfrm rot="10800000" flipH="1" flipV="1">
            <a:off x="2490139" y="2375363"/>
            <a:ext cx="4538" cy="615660"/>
          </a:xfrm>
          <a:prstGeom prst="bentConnector3">
            <a:avLst>
              <a:gd name="adj1" fmla="val -10300000"/>
            </a:avLst>
          </a:prstGeom>
          <a:noFill/>
          <a:ln w="12700" cap="rnd" cmpd="sng" algn="ctr">
            <a:solidFill>
              <a:srgbClr val="96968C"/>
            </a:solidFill>
            <a:prstDash val="sysDot"/>
            <a:headEnd type="none" w="med" len="med"/>
            <a:tailEnd type="none" w="med" len="med"/>
          </a:ln>
          <a:effectLst/>
        </p:spPr>
      </p:cxnSp>
      <p:cxnSp>
        <p:nvCxnSpPr>
          <p:cNvPr id="46" name="AutoShape 59">
            <a:extLst>
              <a:ext uri="{FF2B5EF4-FFF2-40B4-BE49-F238E27FC236}">
                <a16:creationId xmlns:a16="http://schemas.microsoft.com/office/drawing/2014/main" id="{D7C1C54F-3410-483D-AEF0-D7831E5E4409}"/>
              </a:ext>
            </a:extLst>
          </p:cNvPr>
          <p:cNvCxnSpPr>
            <a:cxnSpLocks noChangeShapeType="1"/>
            <a:stCxn id="38" idx="1"/>
            <a:endCxn id="39" idx="1"/>
          </p:cNvCxnSpPr>
          <p:nvPr/>
        </p:nvCxnSpPr>
        <p:spPr bwMode="auto">
          <a:xfrm rot="10800000" flipH="1" flipV="1">
            <a:off x="2494678" y="2991024"/>
            <a:ext cx="1513" cy="615661"/>
          </a:xfrm>
          <a:prstGeom prst="bentConnector3">
            <a:avLst>
              <a:gd name="adj1" fmla="val -30644547"/>
            </a:avLst>
          </a:prstGeom>
          <a:noFill/>
          <a:ln w="12700" cap="rnd" cmpd="sng" algn="ctr">
            <a:solidFill>
              <a:srgbClr val="96968C"/>
            </a:solidFill>
            <a:prstDash val="sysDot"/>
            <a:headEnd type="none" w="med" len="med"/>
            <a:tailEnd type="none" w="med" len="med"/>
          </a:ln>
          <a:effectLst/>
        </p:spPr>
      </p:cxnSp>
      <p:cxnSp>
        <p:nvCxnSpPr>
          <p:cNvPr id="47" name="AutoShape 60">
            <a:extLst>
              <a:ext uri="{FF2B5EF4-FFF2-40B4-BE49-F238E27FC236}">
                <a16:creationId xmlns:a16="http://schemas.microsoft.com/office/drawing/2014/main" id="{E3E08A5B-F4E7-4DBC-9291-E8BE47AA8506}"/>
              </a:ext>
            </a:extLst>
          </p:cNvPr>
          <p:cNvCxnSpPr>
            <a:cxnSpLocks noChangeShapeType="1"/>
            <a:stCxn id="39" idx="1"/>
            <a:endCxn id="40" idx="1"/>
          </p:cNvCxnSpPr>
          <p:nvPr/>
        </p:nvCxnSpPr>
        <p:spPr bwMode="auto">
          <a:xfrm rot="10800000" flipH="1" flipV="1">
            <a:off x="2494678" y="3606685"/>
            <a:ext cx="1513" cy="612635"/>
          </a:xfrm>
          <a:prstGeom prst="bentConnector3">
            <a:avLst>
              <a:gd name="adj1" fmla="val -31300000"/>
            </a:avLst>
          </a:prstGeom>
          <a:noFill/>
          <a:ln w="12700" cap="rnd" cmpd="sng" algn="ctr">
            <a:solidFill>
              <a:srgbClr val="96968C"/>
            </a:solidFill>
            <a:prstDash val="sysDot"/>
            <a:headEnd type="none" w="med" len="med"/>
            <a:tailEnd type="none" w="med" len="med"/>
          </a:ln>
          <a:effectLst/>
        </p:spPr>
      </p:cxnSp>
      <p:cxnSp>
        <p:nvCxnSpPr>
          <p:cNvPr id="48" name="AutoShape 61">
            <a:extLst>
              <a:ext uri="{FF2B5EF4-FFF2-40B4-BE49-F238E27FC236}">
                <a16:creationId xmlns:a16="http://schemas.microsoft.com/office/drawing/2014/main" id="{1938F6E0-E956-4043-8B83-260880746DE6}"/>
              </a:ext>
            </a:extLst>
          </p:cNvPr>
          <p:cNvCxnSpPr>
            <a:cxnSpLocks noChangeShapeType="1"/>
            <a:stCxn id="40" idx="1"/>
            <a:endCxn id="41" idx="1"/>
          </p:cNvCxnSpPr>
          <p:nvPr/>
        </p:nvCxnSpPr>
        <p:spPr bwMode="auto">
          <a:xfrm rot="10800000" flipH="1" flipV="1">
            <a:off x="2494678" y="4219319"/>
            <a:ext cx="1513" cy="600534"/>
          </a:xfrm>
          <a:prstGeom prst="bentConnector3">
            <a:avLst>
              <a:gd name="adj1" fmla="val -31000000"/>
            </a:avLst>
          </a:prstGeom>
          <a:noFill/>
          <a:ln w="12700" cap="rnd" cmpd="sng" algn="ctr">
            <a:solidFill>
              <a:srgbClr val="96968C"/>
            </a:solidFill>
            <a:prstDash val="sysDot"/>
            <a:headEnd type="none" w="med" len="med"/>
            <a:tailEnd type="none" w="med" len="med"/>
          </a:ln>
          <a:effectLst/>
        </p:spPr>
      </p:cxnSp>
      <p:cxnSp>
        <p:nvCxnSpPr>
          <p:cNvPr id="49" name="AutoShape 63">
            <a:extLst>
              <a:ext uri="{FF2B5EF4-FFF2-40B4-BE49-F238E27FC236}">
                <a16:creationId xmlns:a16="http://schemas.microsoft.com/office/drawing/2014/main" id="{786BFD4F-C3CD-4133-AD85-CC05CFBF750C}"/>
              </a:ext>
            </a:extLst>
          </p:cNvPr>
          <p:cNvCxnSpPr>
            <a:cxnSpLocks noChangeShapeType="1"/>
            <a:stCxn id="8" idx="1"/>
            <a:endCxn id="9" idx="1"/>
          </p:cNvCxnSpPr>
          <p:nvPr/>
        </p:nvCxnSpPr>
        <p:spPr bwMode="auto">
          <a:xfrm rot="10800000" flipH="1" flipV="1">
            <a:off x="4626042" y="4231420"/>
            <a:ext cx="1512" cy="600534"/>
          </a:xfrm>
          <a:prstGeom prst="bentConnector3">
            <a:avLst>
              <a:gd name="adj1" fmla="val -31755952"/>
            </a:avLst>
          </a:prstGeom>
          <a:noFill/>
          <a:ln w="12700" cap="rnd" cmpd="sng" algn="ctr">
            <a:solidFill>
              <a:srgbClr val="96968C"/>
            </a:solidFill>
            <a:prstDash val="sysDot"/>
            <a:headEnd type="none" w="med" len="med"/>
            <a:tailEnd type="none" w="med" len="med"/>
          </a:ln>
          <a:effectLst/>
        </p:spPr>
      </p:cxnSp>
      <p:sp>
        <p:nvSpPr>
          <p:cNvPr id="2" name="Rectangle 1">
            <a:hlinkClick r:id="rId3" action="ppaction://hlinksldjump"/>
            <a:extLst>
              <a:ext uri="{FF2B5EF4-FFF2-40B4-BE49-F238E27FC236}">
                <a16:creationId xmlns:a16="http://schemas.microsoft.com/office/drawing/2014/main" id="{101D114A-1DDD-4E02-8EC8-EAB2919A3F7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54367985"/>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US" dirty="0"/>
              <a:t>Credential Template</a:t>
            </a:r>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Box 4">
            <a:extLst>
              <a:ext uri="{FF2B5EF4-FFF2-40B4-BE49-F238E27FC236}">
                <a16:creationId xmlns:a16="http://schemas.microsoft.com/office/drawing/2014/main" id="{002B2DB4-B354-4192-A831-293E123FA252}"/>
              </a:ext>
            </a:extLst>
          </p:cNvPr>
          <p:cNvSpPr txBox="1">
            <a:spLocks noChangeArrowheads="1"/>
          </p:cNvSpPr>
          <p:nvPr/>
        </p:nvSpPr>
        <p:spPr bwMode="auto">
          <a:xfrm>
            <a:off x="1992314" y="1168730"/>
            <a:ext cx="3421063" cy="377825"/>
          </a:xfrm>
          <a:prstGeom prst="rect">
            <a:avLst/>
          </a:prstGeom>
          <a:noFill/>
          <a:ln w="9525">
            <a:noFill/>
            <a:miter lim="800000"/>
            <a:headEnd/>
            <a:tailEnd/>
          </a:ln>
          <a:effectLst/>
        </p:spPr>
        <p:txBody>
          <a:bodyPr lIns="0" tIns="0" rIns="0" bIns="36000" anchor="b"/>
          <a:lstStyle/>
          <a:p>
            <a:pPr marL="190500" marR="0" lvl="0" indent="-190500" algn="l"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Graphik"/>
                <a:ea typeface="+mn-ea"/>
                <a:cs typeface="+mn-cs"/>
              </a:rPr>
              <a:t>Client background</a:t>
            </a:r>
          </a:p>
        </p:txBody>
      </p:sp>
      <p:sp>
        <p:nvSpPr>
          <p:cNvPr id="7" name="Text Box 5">
            <a:extLst>
              <a:ext uri="{FF2B5EF4-FFF2-40B4-BE49-F238E27FC236}">
                <a16:creationId xmlns:a16="http://schemas.microsoft.com/office/drawing/2014/main" id="{8A12C0D6-DEC0-4268-8D0F-30E59F7F9734}"/>
              </a:ext>
            </a:extLst>
          </p:cNvPr>
          <p:cNvSpPr txBox="1">
            <a:spLocks noChangeArrowheads="1"/>
          </p:cNvSpPr>
          <p:nvPr/>
        </p:nvSpPr>
        <p:spPr bwMode="auto">
          <a:xfrm>
            <a:off x="6082320" y="1168730"/>
            <a:ext cx="3421062" cy="377825"/>
          </a:xfrm>
          <a:prstGeom prst="rect">
            <a:avLst/>
          </a:prstGeom>
          <a:noFill/>
          <a:ln w="9525">
            <a:noFill/>
            <a:miter lim="800000"/>
            <a:headEnd/>
            <a:tailEnd/>
          </a:ln>
          <a:effectLst/>
        </p:spPr>
        <p:txBody>
          <a:bodyPr lIns="0" tIns="0" rIns="0" bIns="36000" anchor="b"/>
          <a:lstStyle/>
          <a:p>
            <a:pPr marL="190500" marR="0" lvl="0" indent="-190500" algn="l"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Graphik"/>
                <a:ea typeface="+mn-ea"/>
                <a:cs typeface="+mn-cs"/>
              </a:rPr>
              <a:t>Business challenge</a:t>
            </a:r>
            <a:endParaRPr kumimoji="0" lang="en-US" sz="1600" b="0" i="0" u="none" strike="noStrike" kern="0" cap="none" spc="0" normalizeH="0" baseline="0" noProof="0">
              <a:ln>
                <a:noFill/>
              </a:ln>
              <a:solidFill>
                <a:srgbClr val="000000"/>
              </a:solidFill>
              <a:effectLst/>
              <a:uLnTx/>
              <a:uFillTx/>
              <a:latin typeface="Graphik"/>
              <a:ea typeface="+mn-ea"/>
              <a:cs typeface="+mn-cs"/>
            </a:endParaRPr>
          </a:p>
        </p:txBody>
      </p:sp>
      <p:sp>
        <p:nvSpPr>
          <p:cNvPr id="8" name="Text Box 6">
            <a:extLst>
              <a:ext uri="{FF2B5EF4-FFF2-40B4-BE49-F238E27FC236}">
                <a16:creationId xmlns:a16="http://schemas.microsoft.com/office/drawing/2014/main" id="{001942E7-B1B1-45A1-8C7C-3E996492E403}"/>
              </a:ext>
            </a:extLst>
          </p:cNvPr>
          <p:cNvSpPr txBox="1">
            <a:spLocks noChangeArrowheads="1"/>
          </p:cNvSpPr>
          <p:nvPr/>
        </p:nvSpPr>
        <p:spPr bwMode="auto">
          <a:xfrm>
            <a:off x="1992314" y="3716668"/>
            <a:ext cx="3421063" cy="377825"/>
          </a:xfrm>
          <a:prstGeom prst="rect">
            <a:avLst/>
          </a:prstGeom>
          <a:noFill/>
          <a:ln w="9525">
            <a:noFill/>
            <a:miter lim="800000"/>
            <a:headEnd/>
            <a:tailEnd/>
          </a:ln>
          <a:effectLst/>
        </p:spPr>
        <p:txBody>
          <a:bodyPr lIns="0" tIns="0" rIns="0" bIns="36000" anchor="b"/>
          <a:lstStyle/>
          <a:p>
            <a:pPr marL="190500" marR="0" lvl="0" indent="-190500" algn="l"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Graphik"/>
                <a:ea typeface="+mn-ea"/>
                <a:cs typeface="+mn-cs"/>
              </a:rPr>
              <a:t>How Accenture helped</a:t>
            </a:r>
            <a:endParaRPr kumimoji="0" lang="en-US" sz="1600" b="0" i="0" u="none" strike="noStrike" kern="0" cap="none" spc="0" normalizeH="0" baseline="0" noProof="0">
              <a:ln>
                <a:noFill/>
              </a:ln>
              <a:solidFill>
                <a:srgbClr val="000000"/>
              </a:solidFill>
              <a:effectLst/>
              <a:uLnTx/>
              <a:uFillTx/>
              <a:latin typeface="Graphik"/>
              <a:ea typeface="+mn-ea"/>
              <a:cs typeface="+mn-cs"/>
            </a:endParaRPr>
          </a:p>
        </p:txBody>
      </p:sp>
      <p:sp>
        <p:nvSpPr>
          <p:cNvPr id="9" name="Text Box 7">
            <a:extLst>
              <a:ext uri="{FF2B5EF4-FFF2-40B4-BE49-F238E27FC236}">
                <a16:creationId xmlns:a16="http://schemas.microsoft.com/office/drawing/2014/main" id="{E0C8AB14-2D96-48EE-A18E-46DDA413D65D}"/>
              </a:ext>
            </a:extLst>
          </p:cNvPr>
          <p:cNvSpPr txBox="1">
            <a:spLocks noChangeArrowheads="1"/>
          </p:cNvSpPr>
          <p:nvPr/>
        </p:nvSpPr>
        <p:spPr bwMode="auto">
          <a:xfrm>
            <a:off x="6082320" y="3716668"/>
            <a:ext cx="3421062" cy="377825"/>
          </a:xfrm>
          <a:prstGeom prst="rect">
            <a:avLst/>
          </a:prstGeom>
          <a:noFill/>
          <a:ln w="9525">
            <a:noFill/>
            <a:miter lim="800000"/>
            <a:headEnd/>
            <a:tailEnd/>
          </a:ln>
          <a:effectLst/>
        </p:spPr>
        <p:txBody>
          <a:bodyPr lIns="0" tIns="0" rIns="0" bIns="36000" anchor="b"/>
          <a:lstStyle/>
          <a:p>
            <a:pPr marL="190500" marR="0" lvl="0" indent="-190500" algn="l"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Graphik"/>
                <a:ea typeface="+mn-ea"/>
                <a:cs typeface="+mn-cs"/>
              </a:rPr>
              <a:t>Value delivered</a:t>
            </a:r>
            <a:endParaRPr kumimoji="0" lang="en-US" sz="1600" b="0" i="0" u="none" strike="noStrike" kern="0" cap="none" spc="0" normalizeH="0" baseline="0" noProof="0">
              <a:ln>
                <a:noFill/>
              </a:ln>
              <a:solidFill>
                <a:srgbClr val="000000"/>
              </a:solidFill>
              <a:effectLst/>
              <a:uLnTx/>
              <a:uFillTx/>
              <a:latin typeface="Graphik"/>
              <a:ea typeface="+mn-ea"/>
              <a:cs typeface="+mn-cs"/>
            </a:endParaRPr>
          </a:p>
        </p:txBody>
      </p:sp>
      <p:sp>
        <p:nvSpPr>
          <p:cNvPr id="10" name="Text Box 8">
            <a:extLst>
              <a:ext uri="{FF2B5EF4-FFF2-40B4-BE49-F238E27FC236}">
                <a16:creationId xmlns:a16="http://schemas.microsoft.com/office/drawing/2014/main" id="{CCAB545D-0D1C-49F6-BAED-1C28BA90DB93}"/>
              </a:ext>
            </a:extLst>
          </p:cNvPr>
          <p:cNvSpPr txBox="1">
            <a:spLocks noChangeArrowheads="1"/>
          </p:cNvSpPr>
          <p:nvPr/>
        </p:nvSpPr>
        <p:spPr bwMode="auto">
          <a:xfrm>
            <a:off x="1992314" y="1546554"/>
            <a:ext cx="3421063" cy="738664"/>
          </a:xfrm>
          <a:prstGeom prst="rect">
            <a:avLst/>
          </a:prstGeom>
          <a:noFill/>
          <a:ln w="9525">
            <a:noFill/>
            <a:miter lim="800000"/>
            <a:headEnd/>
            <a:tailEnd/>
          </a:ln>
          <a:effectLst/>
        </p:spPr>
        <p:txBody>
          <a:bodyPr lIns="0" tIns="0" rIns="0" bIns="0">
            <a:spAutoFit/>
          </a:bodyPr>
          <a:lstStyle/>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1" name="Text Box 9">
            <a:extLst>
              <a:ext uri="{FF2B5EF4-FFF2-40B4-BE49-F238E27FC236}">
                <a16:creationId xmlns:a16="http://schemas.microsoft.com/office/drawing/2014/main" id="{CF8156BE-82EB-4A47-AB10-E9B79EA545AB}"/>
              </a:ext>
            </a:extLst>
          </p:cNvPr>
          <p:cNvSpPr txBox="1">
            <a:spLocks noChangeArrowheads="1"/>
          </p:cNvSpPr>
          <p:nvPr/>
        </p:nvSpPr>
        <p:spPr bwMode="auto">
          <a:xfrm>
            <a:off x="6082320" y="1546554"/>
            <a:ext cx="3421062" cy="738664"/>
          </a:xfrm>
          <a:prstGeom prst="rect">
            <a:avLst/>
          </a:prstGeom>
          <a:noFill/>
          <a:ln w="9525">
            <a:noFill/>
            <a:miter lim="800000"/>
            <a:headEnd/>
            <a:tailEnd/>
          </a:ln>
          <a:effectLst/>
        </p:spPr>
        <p:txBody>
          <a:bodyPr lIns="0" tIns="0" rIns="0" bIns="0">
            <a:spAutoFit/>
          </a:bodyPr>
          <a:lstStyle/>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a:t>
            </a:r>
          </a:p>
        </p:txBody>
      </p:sp>
      <p:sp>
        <p:nvSpPr>
          <p:cNvPr id="12" name="Text Box 10">
            <a:extLst>
              <a:ext uri="{FF2B5EF4-FFF2-40B4-BE49-F238E27FC236}">
                <a16:creationId xmlns:a16="http://schemas.microsoft.com/office/drawing/2014/main" id="{C004BA56-F779-476D-9F6F-9CAD6692A639}"/>
              </a:ext>
            </a:extLst>
          </p:cNvPr>
          <p:cNvSpPr txBox="1">
            <a:spLocks noChangeArrowheads="1"/>
          </p:cNvSpPr>
          <p:nvPr/>
        </p:nvSpPr>
        <p:spPr bwMode="auto">
          <a:xfrm>
            <a:off x="1992314" y="4094492"/>
            <a:ext cx="3421063" cy="738664"/>
          </a:xfrm>
          <a:prstGeom prst="rect">
            <a:avLst/>
          </a:prstGeom>
          <a:noFill/>
          <a:ln w="9525">
            <a:noFill/>
            <a:miter lim="800000"/>
            <a:headEnd/>
            <a:tailEnd/>
          </a:ln>
          <a:effectLst/>
        </p:spPr>
        <p:txBody>
          <a:bodyPr lIns="0" tIns="0" rIns="0" bIns="0">
            <a:spAutoFit/>
          </a:bodyPr>
          <a:lstStyle/>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a:t>
            </a:r>
          </a:p>
        </p:txBody>
      </p:sp>
      <p:sp>
        <p:nvSpPr>
          <p:cNvPr id="13" name="Text Box 11">
            <a:extLst>
              <a:ext uri="{FF2B5EF4-FFF2-40B4-BE49-F238E27FC236}">
                <a16:creationId xmlns:a16="http://schemas.microsoft.com/office/drawing/2014/main" id="{827EACCA-4212-4CD9-B5C9-0D09EABA6E4B}"/>
              </a:ext>
            </a:extLst>
          </p:cNvPr>
          <p:cNvSpPr txBox="1">
            <a:spLocks noChangeArrowheads="1"/>
          </p:cNvSpPr>
          <p:nvPr/>
        </p:nvSpPr>
        <p:spPr bwMode="auto">
          <a:xfrm>
            <a:off x="6082320" y="4094492"/>
            <a:ext cx="3421062" cy="738664"/>
          </a:xfrm>
          <a:prstGeom prst="rect">
            <a:avLst/>
          </a:prstGeom>
          <a:noFill/>
          <a:ln w="9525">
            <a:noFill/>
            <a:miter lim="800000"/>
            <a:headEnd/>
            <a:tailEnd/>
          </a:ln>
          <a:effectLst/>
        </p:spPr>
        <p:txBody>
          <a:bodyPr lIns="0" tIns="0" rIns="0" bIns="0">
            <a:spAutoFit/>
          </a:bodyPr>
          <a:lstStyle/>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 </a:t>
            </a:r>
          </a:p>
          <a:p>
            <a:pPr marL="179388" marR="0" lvl="0" indent="-179388" algn="l" defTabSz="914400" rtl="0" eaLnBrk="0" fontAlgn="auto" latinLnBrk="0" hangingPunct="0">
              <a:lnSpc>
                <a:spcPct val="100000"/>
              </a:lnSpc>
              <a:spcBef>
                <a:spcPts val="0"/>
              </a:spcBef>
              <a:spcAft>
                <a:spcPts val="0"/>
              </a:spcAft>
              <a:buClr>
                <a:srgbClr val="000000"/>
              </a:buClr>
              <a:buSzTx/>
              <a:buFontTx/>
              <a:buChar char="•"/>
              <a:tabLst/>
              <a:defRPr/>
            </a:pPr>
            <a:r>
              <a:rPr kumimoji="0" lang="en-US" sz="1600" b="0" i="0" u="none" strike="noStrike" kern="0" cap="none" spc="0" normalizeH="0" baseline="0" noProof="0">
                <a:ln>
                  <a:noFill/>
                </a:ln>
                <a:solidFill>
                  <a:srgbClr val="000000"/>
                </a:solidFill>
                <a:effectLst/>
                <a:uLnTx/>
                <a:uFillTx/>
                <a:latin typeface="Graphik"/>
                <a:ea typeface="+mn-ea"/>
                <a:cs typeface="+mn-cs"/>
              </a:rPr>
              <a:t>Text</a:t>
            </a:r>
          </a:p>
        </p:txBody>
      </p:sp>
      <p:sp>
        <p:nvSpPr>
          <p:cNvPr id="2" name="Rectangle 1">
            <a:hlinkClick r:id="rId3" action="ppaction://hlinksldjump"/>
            <a:extLst>
              <a:ext uri="{FF2B5EF4-FFF2-40B4-BE49-F238E27FC236}">
                <a16:creationId xmlns:a16="http://schemas.microsoft.com/office/drawing/2014/main" id="{4D2BBEF9-B768-42F8-8345-EEC8D839D48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97384730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Credentials Template</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Content Placeholder 7">
            <a:extLst>
              <a:ext uri="{FF2B5EF4-FFF2-40B4-BE49-F238E27FC236}">
                <a16:creationId xmlns:a16="http://schemas.microsoft.com/office/drawing/2014/main" id="{0D6E067B-3C50-4291-AE41-8AC930BCB414}"/>
              </a:ext>
            </a:extLst>
          </p:cNvPr>
          <p:cNvSpPr txBox="1">
            <a:spLocks/>
          </p:cNvSpPr>
          <p:nvPr/>
        </p:nvSpPr>
        <p:spPr bwMode="auto">
          <a:xfrm>
            <a:off x="1847850" y="1292836"/>
            <a:ext cx="4365892" cy="362842"/>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marR="0" lvl="0" indent="-176213"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Client Profile</a:t>
            </a:r>
          </a:p>
        </p:txBody>
      </p:sp>
      <p:sp>
        <p:nvSpPr>
          <p:cNvPr id="7" name="TextBox 6">
            <a:extLst>
              <a:ext uri="{FF2B5EF4-FFF2-40B4-BE49-F238E27FC236}">
                <a16:creationId xmlns:a16="http://schemas.microsoft.com/office/drawing/2014/main" id="{F910D770-206F-4ADE-87E4-19FA3300893C}"/>
              </a:ext>
            </a:extLst>
          </p:cNvPr>
          <p:cNvSpPr txBox="1"/>
          <p:nvPr/>
        </p:nvSpPr>
        <p:spPr bwMode="auto">
          <a:xfrm>
            <a:off x="1847850" y="1641868"/>
            <a:ext cx="4425950"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Content Placeholder 7">
            <a:extLst>
              <a:ext uri="{FF2B5EF4-FFF2-40B4-BE49-F238E27FC236}">
                <a16:creationId xmlns:a16="http://schemas.microsoft.com/office/drawing/2014/main" id="{DDC0CC4B-0A42-41C4-89D7-05597C5D74C4}"/>
              </a:ext>
            </a:extLst>
          </p:cNvPr>
          <p:cNvSpPr txBox="1">
            <a:spLocks/>
          </p:cNvSpPr>
          <p:nvPr/>
        </p:nvSpPr>
        <p:spPr bwMode="auto">
          <a:xfrm>
            <a:off x="1854000" y="2480525"/>
            <a:ext cx="2873849" cy="366974"/>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Delivering High Performance from Issue to Outcome</a:t>
            </a:r>
          </a:p>
        </p:txBody>
      </p:sp>
      <p:cxnSp>
        <p:nvCxnSpPr>
          <p:cNvPr id="9" name="Straight Connector 8">
            <a:extLst>
              <a:ext uri="{FF2B5EF4-FFF2-40B4-BE49-F238E27FC236}">
                <a16:creationId xmlns:a16="http://schemas.microsoft.com/office/drawing/2014/main" id="{BF5FEB07-0D5C-4EC3-9B78-2747FDD8E39E}"/>
              </a:ext>
            </a:extLst>
          </p:cNvPr>
          <p:cNvCxnSpPr/>
          <p:nvPr/>
        </p:nvCxnSpPr>
        <p:spPr bwMode="auto">
          <a:xfrm>
            <a:off x="1960377" y="2454247"/>
            <a:ext cx="4133536"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10" name="TextBox 9">
            <a:extLst>
              <a:ext uri="{FF2B5EF4-FFF2-40B4-BE49-F238E27FC236}">
                <a16:creationId xmlns:a16="http://schemas.microsoft.com/office/drawing/2014/main" id="{769332FF-EDC1-4000-98C5-321D38C281D8}"/>
              </a:ext>
            </a:extLst>
          </p:cNvPr>
          <p:cNvSpPr txBox="1"/>
          <p:nvPr/>
        </p:nvSpPr>
        <p:spPr bwMode="auto">
          <a:xfrm>
            <a:off x="1852612" y="3120003"/>
            <a:ext cx="4425950"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a:ln>
                  <a:noFill/>
                </a:ln>
                <a:solidFill>
                  <a:srgbClr val="000000"/>
                </a:solidFill>
                <a:effectLst/>
                <a:uLnTx/>
                <a:uFillTx/>
                <a:latin typeface="Graphik"/>
                <a:ea typeface="+mn-ea"/>
                <a:cs typeface="+mn-cs"/>
              </a:rPr>
              <a:t>Text</a:t>
            </a:r>
            <a:endParaRPr kumimoji="0" lang="en-US" sz="11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Content Placeholder 7">
            <a:extLst>
              <a:ext uri="{FF2B5EF4-FFF2-40B4-BE49-F238E27FC236}">
                <a16:creationId xmlns:a16="http://schemas.microsoft.com/office/drawing/2014/main" id="{CAC605D0-D81D-46FA-B0A0-7E3E1AF6F975}"/>
              </a:ext>
            </a:extLst>
          </p:cNvPr>
          <p:cNvSpPr txBox="1">
            <a:spLocks/>
          </p:cNvSpPr>
          <p:nvPr/>
        </p:nvSpPr>
        <p:spPr bwMode="auto">
          <a:xfrm>
            <a:off x="6158816" y="1292836"/>
            <a:ext cx="4365892" cy="362842"/>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marR="0" lvl="0" indent="-176213"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Approach</a:t>
            </a:r>
          </a:p>
        </p:txBody>
      </p:sp>
      <p:sp>
        <p:nvSpPr>
          <p:cNvPr id="12" name="TextBox 11">
            <a:extLst>
              <a:ext uri="{FF2B5EF4-FFF2-40B4-BE49-F238E27FC236}">
                <a16:creationId xmlns:a16="http://schemas.microsoft.com/office/drawing/2014/main" id="{8EE7E997-22FF-440F-B359-BF242B2356D7}"/>
              </a:ext>
            </a:extLst>
          </p:cNvPr>
          <p:cNvSpPr txBox="1"/>
          <p:nvPr/>
        </p:nvSpPr>
        <p:spPr bwMode="auto">
          <a:xfrm>
            <a:off x="6158816" y="1641868"/>
            <a:ext cx="4425950"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Content Placeholder 7">
            <a:extLst>
              <a:ext uri="{FF2B5EF4-FFF2-40B4-BE49-F238E27FC236}">
                <a16:creationId xmlns:a16="http://schemas.microsoft.com/office/drawing/2014/main" id="{EFC5E789-594E-48C8-B9EC-7FE364F2B338}"/>
              </a:ext>
            </a:extLst>
          </p:cNvPr>
          <p:cNvSpPr txBox="1">
            <a:spLocks/>
          </p:cNvSpPr>
          <p:nvPr/>
        </p:nvSpPr>
        <p:spPr bwMode="auto">
          <a:xfrm>
            <a:off x="6158816" y="4823490"/>
            <a:ext cx="4365892" cy="362842"/>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marR="0" lvl="0" indent="-176213" algn="l"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The Breakthrough or Key Results</a:t>
            </a:r>
          </a:p>
        </p:txBody>
      </p:sp>
      <p:sp>
        <p:nvSpPr>
          <p:cNvPr id="14" name="TextBox 13">
            <a:extLst>
              <a:ext uri="{FF2B5EF4-FFF2-40B4-BE49-F238E27FC236}">
                <a16:creationId xmlns:a16="http://schemas.microsoft.com/office/drawing/2014/main" id="{85EC159B-6014-4764-B39B-650C71001B1E}"/>
              </a:ext>
            </a:extLst>
          </p:cNvPr>
          <p:cNvSpPr txBox="1"/>
          <p:nvPr/>
        </p:nvSpPr>
        <p:spPr bwMode="auto">
          <a:xfrm>
            <a:off x="6158816" y="5172522"/>
            <a:ext cx="4425950" cy="261610"/>
          </a:xfrm>
          <a:prstGeom prst="rect">
            <a:avLst/>
          </a:prstGeom>
          <a:noFill/>
        </p:spPr>
        <p:txBody>
          <a:bodyPr wrap="square" rtlCol="0">
            <a:spAutoFit/>
          </a:bodyPr>
          <a:lstStyle/>
          <a:p>
            <a:pPr marL="92075" marR="0" lvl="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a:ln>
                  <a:noFill/>
                </a:ln>
                <a:solidFill>
                  <a:srgbClr val="000000"/>
                </a:solidFill>
                <a:effectLst/>
                <a:uLnTx/>
                <a:uFillTx/>
                <a:latin typeface="Graphik"/>
                <a:ea typeface="+mn-ea"/>
                <a:cs typeface="+mn-cs"/>
              </a:rPr>
              <a:t>Text</a:t>
            </a:r>
            <a:endParaRPr kumimoji="0" lang="en-US" sz="1100" b="0" i="0" u="none" strike="noStrike" kern="0" cap="none" spc="0" normalizeH="0" baseline="0" noProof="0" dirty="0">
              <a:ln>
                <a:noFill/>
              </a:ln>
              <a:solidFill>
                <a:srgbClr val="000000"/>
              </a:solidFill>
              <a:effectLst/>
              <a:uLnTx/>
              <a:uFillTx/>
              <a:latin typeface="Graphik"/>
              <a:ea typeface="+mn-ea"/>
              <a:cs typeface="+mn-cs"/>
            </a:endParaRPr>
          </a:p>
        </p:txBody>
      </p:sp>
      <p:cxnSp>
        <p:nvCxnSpPr>
          <p:cNvPr id="15" name="Straight Connector 14">
            <a:extLst>
              <a:ext uri="{FF2B5EF4-FFF2-40B4-BE49-F238E27FC236}">
                <a16:creationId xmlns:a16="http://schemas.microsoft.com/office/drawing/2014/main" id="{B8F2B06B-E1BA-4FD7-BC80-7E2844655AD3}"/>
              </a:ext>
            </a:extLst>
          </p:cNvPr>
          <p:cNvCxnSpPr/>
          <p:nvPr/>
        </p:nvCxnSpPr>
        <p:spPr bwMode="auto">
          <a:xfrm>
            <a:off x="6093913" y="4783748"/>
            <a:ext cx="4158110" cy="0"/>
          </a:xfrm>
          <a:prstGeom prst="line">
            <a:avLst/>
          </a:prstGeom>
          <a:solidFill>
            <a:srgbClr val="A100FF"/>
          </a:solidFill>
          <a:ln w="6350" cap="flat" cmpd="sng" algn="ctr">
            <a:solidFill>
              <a:srgbClr val="96968C"/>
            </a:solidFill>
            <a:prstDash val="dash"/>
            <a:round/>
            <a:headEnd type="none" w="med" len="med"/>
            <a:tailEnd type="none" w="med" len="med"/>
          </a:ln>
          <a:effectLst/>
        </p:spPr>
      </p:cxnSp>
      <p:cxnSp>
        <p:nvCxnSpPr>
          <p:cNvPr id="16" name="Straight Connector 15">
            <a:extLst>
              <a:ext uri="{FF2B5EF4-FFF2-40B4-BE49-F238E27FC236}">
                <a16:creationId xmlns:a16="http://schemas.microsoft.com/office/drawing/2014/main" id="{08022400-272D-4CBC-932C-4C11710C5086}"/>
              </a:ext>
            </a:extLst>
          </p:cNvPr>
          <p:cNvCxnSpPr/>
          <p:nvPr/>
        </p:nvCxnSpPr>
        <p:spPr bwMode="auto">
          <a:xfrm rot="5400000">
            <a:off x="3505422" y="3884342"/>
            <a:ext cx="5179836"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2" name="Rectangle 1">
            <a:hlinkClick r:id="rId3" action="ppaction://hlinksldjump"/>
            <a:extLst>
              <a:ext uri="{FF2B5EF4-FFF2-40B4-BE49-F238E27FC236}">
                <a16:creationId xmlns:a16="http://schemas.microsoft.com/office/drawing/2014/main" id="{BE278A96-D4B5-4419-9C04-56417FFD2DA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65572292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094B8-9807-4600-8781-93C429BF7FF2}"/>
              </a:ext>
            </a:extLst>
          </p:cNvPr>
          <p:cNvSpPr>
            <a:spLocks noGrp="1"/>
          </p:cNvSpPr>
          <p:nvPr>
            <p:ph type="title"/>
          </p:nvPr>
        </p:nvSpPr>
        <p:spPr/>
        <p:txBody>
          <a:bodyPr/>
          <a:lstStyle/>
          <a:p>
            <a:r>
              <a:rPr lang="en-ZA" dirty="0"/>
              <a:t>Governance Model</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11" name="Content Placeholder 10">
            <a:extLst>
              <a:ext uri="{FF2B5EF4-FFF2-40B4-BE49-F238E27FC236}">
                <a16:creationId xmlns:a16="http://schemas.microsoft.com/office/drawing/2014/main" id="{8AC8ADA1-FA7D-41D5-9D0D-6325DDCF9FA9}"/>
              </a:ext>
            </a:extLst>
          </p:cNvPr>
          <p:cNvGraphicFramePr>
            <a:graphicFrameLocks noGrp="1"/>
          </p:cNvGraphicFramePr>
          <p:nvPr>
            <p:ph sz="quarter" idx="10"/>
            <p:extLst>
              <p:ext uri="{D42A27DB-BD31-4B8C-83A1-F6EECF244321}">
                <p14:modId xmlns:p14="http://schemas.microsoft.com/office/powerpoint/2010/main" val="3087718168"/>
              </p:ext>
            </p:extLst>
          </p:nvPr>
        </p:nvGraphicFramePr>
        <p:xfrm>
          <a:off x="381000" y="1371600"/>
          <a:ext cx="11430000" cy="3396885"/>
        </p:xfrm>
        <a:graphic>
          <a:graphicData uri="http://schemas.openxmlformats.org/drawingml/2006/table">
            <a:tbl>
              <a:tblPr firstRow="1" bandRow="1"/>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gridCol w="3810000">
                  <a:extLst>
                    <a:ext uri="{9D8B030D-6E8A-4147-A177-3AD203B41FA5}">
                      <a16:colId xmlns:a16="http://schemas.microsoft.com/office/drawing/2014/main" val="20002"/>
                    </a:ext>
                  </a:extLst>
                </a:gridCol>
              </a:tblGrid>
              <a:tr h="350837">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ctr"/>
                      <a:r>
                        <a:rPr lang="en-US" sz="1400" cap="none" baseline="0" dirty="0">
                          <a:solidFill>
                            <a:schemeClr val="bg1"/>
                          </a:solidFill>
                          <a:latin typeface="+mj-lt"/>
                        </a:rPr>
                        <a:t>Item</a:t>
                      </a:r>
                    </a:p>
                  </a:txBody>
                  <a:tcPr anchor="ctr">
                    <a:lnL w="12700" cmpd="sng">
                      <a:solidFill>
                        <a:srgbClr val="FFFFFF"/>
                      </a:solidFill>
                    </a:lnL>
                    <a:lnR w="12700" cap="flat" cmpd="sng" algn="ctr">
                      <a:noFill/>
                      <a:prstDash val="sysDot"/>
                      <a:round/>
                      <a:headEnd type="none" w="med" len="med"/>
                      <a:tailEnd type="none" w="med" len="med"/>
                    </a:lnR>
                    <a:lnT w="12700" cmpd="sng">
                      <a:solidFill>
                        <a:srgbClr val="FFFFFF"/>
                      </a:solid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ctr"/>
                      <a:r>
                        <a:rPr lang="en-US" sz="1400" cap="none" baseline="0" dirty="0">
                          <a:solidFill>
                            <a:schemeClr val="bg1"/>
                          </a:solidFill>
                          <a:latin typeface="+mj-lt"/>
                        </a:rPr>
                        <a:t>Objec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mpd="sng">
                      <a:solidFill>
                        <a:srgbClr val="FFFFFF"/>
                      </a:solid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pPr algn="ctr"/>
                      <a:r>
                        <a:rPr lang="en-US" sz="1400" cap="none" baseline="0" dirty="0">
                          <a:solidFill>
                            <a:schemeClr val="bg1"/>
                          </a:solidFill>
                          <a:latin typeface="+mj-lt"/>
                        </a:rPr>
                        <a:t>Frequency</a:t>
                      </a:r>
                    </a:p>
                  </a:txBody>
                  <a:tcPr anchor="ctr">
                    <a:lnL w="12700" cap="flat" cmpd="sng" algn="ctr">
                      <a:noFill/>
                      <a:prstDash val="sysDot"/>
                      <a:round/>
                      <a:headEnd type="none" w="med" len="med"/>
                      <a:tailEnd type="none" w="med" len="med"/>
                    </a:lnL>
                    <a:lnR w="6350" cap="flat" cmpd="sng" algn="ctr">
                      <a:noFill/>
                      <a:prstDash val="dash"/>
                      <a:round/>
                      <a:headEnd type="none" w="med" len="med"/>
                      <a:tailEnd type="none" w="med" len="med"/>
                    </a:lnR>
                    <a:lnT w="12700" cmpd="sng">
                      <a:solidFill>
                        <a:srgbClr val="FFFFFF"/>
                      </a:solid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61512">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Steering committee review</a:t>
                      </a:r>
                    </a:p>
                  </a:txBody>
                  <a:tcPr marL="72009" marR="72009" marT="35941" marB="35941" anchor="ct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91440" marR="0" indent="-91440" algn="l" rtl="0" eaLnBrk="0" fontAlgn="base" latinLnBrk="0" hangingPunct="0">
                        <a:spcBef>
                          <a:spcPts val="0"/>
                        </a:spcBef>
                        <a:spcAft>
                          <a:spcPts val="192"/>
                        </a:spcAft>
                        <a:tabLst>
                          <a:tab pos="2400300" algn="l"/>
                        </a:tabLst>
                      </a:pPr>
                      <a:endParaRPr lang="en-US" sz="1400" b="0" i="0" u="none" strike="noStrike" kern="1200" baseline="0"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91440" marR="0" indent="-9144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Quarterly</a:t>
                      </a:r>
                      <a:endParaRPr lang="en-US" sz="1600" b="0" i="0" u="none" strike="noStrike"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1512">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Workstream sponsor reviews</a:t>
                      </a:r>
                    </a:p>
                  </a:txBody>
                  <a:tcPr marL="72009" marR="72009" marT="35941" marB="35941" anchor="ct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91440" marR="0" indent="-91440" algn="l" rtl="0" eaLnBrk="0" fontAlgn="base" latinLnBrk="0" hangingPunct="0">
                        <a:spcBef>
                          <a:spcPts val="0"/>
                        </a:spcBef>
                        <a:spcAft>
                          <a:spcPts val="192"/>
                        </a:spcAft>
                        <a:tabLst>
                          <a:tab pos="2400300" algn="l"/>
                        </a:tabLst>
                      </a:pPr>
                      <a:endParaRPr lang="en-US" sz="1400" b="0" i="0" u="none" strike="noStrike" kern="1200" baseline="0"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91440" marR="0" indent="-9144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Fortnightly</a:t>
                      </a:r>
                      <a:endParaRPr lang="en-US" sz="1600" b="0" i="0" u="none" strike="noStrike"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1512">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Team meetings</a:t>
                      </a:r>
                    </a:p>
                  </a:txBody>
                  <a:tcPr marL="72009" marR="72009" marT="35941" marB="35941" anchor="ct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91440" marR="0" indent="-91440" algn="l" rtl="0" eaLnBrk="0" fontAlgn="base" latinLnBrk="0" hangingPunct="0">
                        <a:spcBef>
                          <a:spcPts val="0"/>
                        </a:spcBef>
                        <a:spcAft>
                          <a:spcPts val="192"/>
                        </a:spcAft>
                      </a:pPr>
                      <a:endParaRPr lang="en-US" sz="1400" b="0" i="0" u="none" strike="noStrike" kern="1200" baseline="0"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91440" marR="0" indent="-9144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Weekly</a:t>
                      </a:r>
                      <a:endParaRPr lang="en-US" sz="1600" b="0" i="0" u="none" strike="noStrike"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61512">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marR="0" indent="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Status update calls</a:t>
                      </a:r>
                      <a:endParaRPr lang="en-US" sz="1600" b="0" i="0" u="none" strike="noStrike" dirty="0">
                        <a:solidFill>
                          <a:schemeClr val="tx1"/>
                        </a:solidFill>
                        <a:latin typeface="+mn-lt"/>
                      </a:endParaRPr>
                    </a:p>
                  </a:txBody>
                  <a:tcPr marL="72009" marR="72009" marT="35941" marB="35941" anchor="ct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91440" marR="0" indent="-91440" algn="l" rtl="0" eaLnBrk="0" fontAlgn="base" latinLnBrk="0" hangingPunct="0">
                        <a:spcBef>
                          <a:spcPts val="0"/>
                        </a:spcBef>
                        <a:spcAft>
                          <a:spcPts val="192"/>
                        </a:spcAft>
                        <a:tabLst>
                          <a:tab pos="2400300" algn="l"/>
                        </a:tabLst>
                      </a:pPr>
                      <a:endParaRPr lang="en-US" sz="1400" b="0" i="0" u="none" strike="noStrike" kern="1200" baseline="0"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91440" marR="0" indent="-91440" algn="l" rtl="0" eaLnBrk="0" fontAlgn="base" latinLnBrk="0" hangingPunct="0">
                        <a:spcBef>
                          <a:spcPts val="0"/>
                        </a:spcBef>
                        <a:spcAft>
                          <a:spcPts val="192"/>
                        </a:spcAft>
                        <a:tabLst>
                          <a:tab pos="2400300" algn="l"/>
                        </a:tabLst>
                      </a:pPr>
                      <a:r>
                        <a:rPr lang="en-US" sz="1400" b="0" i="0" u="none" strike="noStrike" kern="1200" baseline="0" dirty="0">
                          <a:solidFill>
                            <a:schemeClr val="tx1"/>
                          </a:solidFill>
                          <a:latin typeface="+mn-lt"/>
                        </a:rPr>
                        <a:t>Weekly</a:t>
                      </a:r>
                      <a:endParaRPr lang="en-US" sz="1600" b="0" i="0" u="none" strike="noStrike" dirty="0">
                        <a:solidFill>
                          <a:schemeClr val="tx1"/>
                        </a:solidFill>
                        <a:latin typeface="+mn-lt"/>
                      </a:endParaRPr>
                    </a:p>
                  </a:txBody>
                  <a:tcPr marL="180000" marR="72009" marT="35941" marB="35941" anchor="ct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3" name="Rectangle 2">
            <a:hlinkClick r:id="rId3" action="ppaction://hlinksldjump"/>
            <a:extLst>
              <a:ext uri="{FF2B5EF4-FFF2-40B4-BE49-F238E27FC236}">
                <a16:creationId xmlns:a16="http://schemas.microsoft.com/office/drawing/2014/main" id="{E78A9890-A0AC-4498-8430-CC19289B696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181620453"/>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B4296-9745-48A9-909B-7BED971230FC}"/>
              </a:ext>
            </a:extLst>
          </p:cNvPr>
          <p:cNvSpPr>
            <a:spLocks noGrp="1"/>
          </p:cNvSpPr>
          <p:nvPr>
            <p:ph type="title"/>
          </p:nvPr>
        </p:nvSpPr>
        <p:spPr/>
        <p:txBody>
          <a:bodyPr/>
          <a:lstStyle/>
          <a:p>
            <a:r>
              <a:rPr lang="en-ZA" dirty="0"/>
              <a:t>Client Experience:</a:t>
            </a:r>
            <a:br>
              <a:rPr lang="en-ZA" dirty="0"/>
            </a:br>
            <a:r>
              <a:rPr lang="en-ZA" dirty="0"/>
              <a:t>How we will work with you</a:t>
            </a:r>
            <a:endParaRPr lang="en-US" dirty="0"/>
          </a:p>
        </p:txBody>
      </p:sp>
      <p:sp>
        <p:nvSpPr>
          <p:cNvPr id="5" name="Freeform: Shape 4">
            <a:hlinkClick r:id="rId3" action="ppaction://hlinksldjump"/>
            <a:extLst>
              <a:ext uri="{FF2B5EF4-FFF2-40B4-BE49-F238E27FC236}">
                <a16:creationId xmlns:a16="http://schemas.microsoft.com/office/drawing/2014/main" id="{482EC212-717B-40B8-B713-0C2AA74D2A7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6" name="Table 5">
            <a:extLst>
              <a:ext uri="{FF2B5EF4-FFF2-40B4-BE49-F238E27FC236}">
                <a16:creationId xmlns:a16="http://schemas.microsoft.com/office/drawing/2014/main" id="{C568CB2F-16AE-4ECC-A334-9CFFF5F4C3F5}"/>
              </a:ext>
            </a:extLst>
          </p:cNvPr>
          <p:cNvGraphicFramePr>
            <a:graphicFrameLocks noGrp="1"/>
          </p:cNvGraphicFramePr>
          <p:nvPr/>
        </p:nvGraphicFramePr>
        <p:xfrm>
          <a:off x="345019" y="2195355"/>
          <a:ext cx="11512020" cy="3487198"/>
        </p:xfrm>
        <a:graphic>
          <a:graphicData uri="http://schemas.openxmlformats.org/drawingml/2006/table">
            <a:tbl>
              <a:tblPr firstRow="1" bandRow="1"/>
              <a:tblGrid>
                <a:gridCol w="3837340">
                  <a:extLst>
                    <a:ext uri="{9D8B030D-6E8A-4147-A177-3AD203B41FA5}">
                      <a16:colId xmlns:a16="http://schemas.microsoft.com/office/drawing/2014/main" val="20000"/>
                    </a:ext>
                  </a:extLst>
                </a:gridCol>
                <a:gridCol w="3837340">
                  <a:extLst>
                    <a:ext uri="{9D8B030D-6E8A-4147-A177-3AD203B41FA5}">
                      <a16:colId xmlns:a16="http://schemas.microsoft.com/office/drawing/2014/main" val="20001"/>
                    </a:ext>
                  </a:extLst>
                </a:gridCol>
                <a:gridCol w="3837340">
                  <a:extLst>
                    <a:ext uri="{9D8B030D-6E8A-4147-A177-3AD203B41FA5}">
                      <a16:colId xmlns:a16="http://schemas.microsoft.com/office/drawing/2014/main" val="20002"/>
                    </a:ext>
                  </a:extLst>
                </a:gridCol>
              </a:tblGrid>
              <a:tr h="616940">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ZA" sz="1600" dirty="0">
                          <a:solidFill>
                            <a:schemeClr val="tx1"/>
                          </a:solidFill>
                        </a:rPr>
                        <a:t>What we heard you say is important to you in how we work together</a:t>
                      </a:r>
                    </a:p>
                  </a:txBody>
                  <a:tcPr marT="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US" sz="1600" dirty="0">
                          <a:solidFill>
                            <a:schemeClr val="tx1"/>
                          </a:solidFill>
                        </a:rPr>
                        <a:t>This is the style</a:t>
                      </a:r>
                      <a:r>
                        <a:rPr lang="en-US" sz="1600" baseline="0" dirty="0">
                          <a:solidFill>
                            <a:schemeClr val="tx1"/>
                          </a:solidFill>
                        </a:rPr>
                        <a:t> we will use</a:t>
                      </a:r>
                      <a:endParaRPr lang="en-US" sz="1600" dirty="0">
                        <a:solidFill>
                          <a:schemeClr val="tx1"/>
                        </a:solidFill>
                      </a:endParaRPr>
                    </a:p>
                  </a:txBody>
                  <a:tcPr marT="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US" sz="1600" dirty="0">
                          <a:solidFill>
                            <a:schemeClr val="tx1"/>
                          </a:solidFill>
                        </a:rPr>
                        <a:t>These are behaviors we will avoid</a:t>
                      </a:r>
                    </a:p>
                  </a:txBody>
                  <a:tcPr marT="0">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70258">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80000" indent="-180000">
                        <a:spcAft>
                          <a:spcPts val="1200"/>
                        </a:spcAft>
                        <a:buFont typeface="Arial" panose="020B0604020202020204" pitchFamily="34" charset="0"/>
                        <a:buChar char="•"/>
                      </a:pPr>
                      <a:r>
                        <a:rPr lang="en-US" sz="1400" b="0" i="0" dirty="0">
                          <a:solidFill>
                            <a:schemeClr val="tx1"/>
                          </a:solidFill>
                          <a:latin typeface="+mn-lt"/>
                        </a:rPr>
                        <a:t>Body copy</a:t>
                      </a:r>
                    </a:p>
                  </a:txBody>
                  <a:tcP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80000" indent="-180000">
                        <a:spcAft>
                          <a:spcPts val="1200"/>
                        </a:spcAft>
                        <a:buFont typeface="Arial" panose="020B0604020202020204" pitchFamily="34" charset="0"/>
                        <a:buChar char="•"/>
                      </a:pPr>
                      <a:r>
                        <a:rPr lang="en-US" sz="1400" b="0" i="0" dirty="0">
                          <a:solidFill>
                            <a:schemeClr val="tx1"/>
                          </a:solidFill>
                          <a:latin typeface="+mn-lt"/>
                        </a:rPr>
                        <a:t>Body copy</a:t>
                      </a:r>
                    </a:p>
                  </a:txBody>
                  <a:tcP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180000" marR="0" lvl="0" indent="-180000" algn="l" defTabSz="17346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b="0" i="0" dirty="0">
                          <a:solidFill>
                            <a:schemeClr val="tx1"/>
                          </a:solidFill>
                          <a:latin typeface="+mn-lt"/>
                        </a:rPr>
                        <a:t>Body copy</a:t>
                      </a:r>
                    </a:p>
                  </a:txBody>
                  <a:tcP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 name="Rectangle 1">
            <a:hlinkClick r:id="rId3" action="ppaction://hlinksldjump"/>
            <a:extLst>
              <a:ext uri="{FF2B5EF4-FFF2-40B4-BE49-F238E27FC236}">
                <a16:creationId xmlns:a16="http://schemas.microsoft.com/office/drawing/2014/main" id="{76730193-736C-4218-B93F-55C5C66970C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588532113"/>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ZA" dirty="0"/>
              <a:t>&lt;Outline the statement of intent for the target client experience&gt;</a:t>
            </a:r>
            <a:endParaRPr lang="en-US" dirty="0"/>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5" name="Table 4">
            <a:extLst>
              <a:ext uri="{FF2B5EF4-FFF2-40B4-BE49-F238E27FC236}">
                <a16:creationId xmlns:a16="http://schemas.microsoft.com/office/drawing/2014/main" id="{9206FBD8-E940-46EA-B556-235AA8490701}"/>
              </a:ext>
            </a:extLst>
          </p:cNvPr>
          <p:cNvGraphicFramePr>
            <a:graphicFrameLocks noGrp="1"/>
          </p:cNvGraphicFramePr>
          <p:nvPr/>
        </p:nvGraphicFramePr>
        <p:xfrm>
          <a:off x="380364" y="2019006"/>
          <a:ext cx="11430000" cy="3487198"/>
        </p:xfrm>
        <a:graphic>
          <a:graphicData uri="http://schemas.openxmlformats.org/drawingml/2006/table">
            <a:tbl>
              <a:tblPr firstRow="1" bandRow="1"/>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gridCol w="3810000">
                  <a:extLst>
                    <a:ext uri="{9D8B030D-6E8A-4147-A177-3AD203B41FA5}">
                      <a16:colId xmlns:a16="http://schemas.microsoft.com/office/drawing/2014/main" val="20002"/>
                    </a:ext>
                  </a:extLst>
                </a:gridCol>
              </a:tblGrid>
              <a:tr h="616940">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ZA" sz="1600" dirty="0">
                          <a:solidFill>
                            <a:schemeClr val="tx1"/>
                          </a:solidFill>
                        </a:rPr>
                        <a:t>What we heard you say is important to you in how we work together</a:t>
                      </a:r>
                    </a:p>
                  </a:txBody>
                  <a:tcPr marT="0">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US" sz="1600" dirty="0">
                          <a:solidFill>
                            <a:schemeClr val="tx1"/>
                          </a:solidFill>
                        </a:rPr>
                        <a:t>This is the style</a:t>
                      </a:r>
                      <a:r>
                        <a:rPr lang="en-US" sz="1600" baseline="0" dirty="0">
                          <a:solidFill>
                            <a:schemeClr val="tx1"/>
                          </a:solidFill>
                        </a:rPr>
                        <a:t> we will use</a:t>
                      </a:r>
                      <a:endParaRPr lang="en-US" sz="1600" dirty="0">
                        <a:solidFill>
                          <a:schemeClr val="tx1"/>
                        </a:solidFill>
                      </a:endParaRPr>
                    </a:p>
                  </a:txBody>
                  <a:tcPr marT="0">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raphik"/>
                        </a:defRPr>
                      </a:lvl1pPr>
                      <a:lvl2pPr marL="457200" algn="l" defTabSz="914400" rtl="0" eaLnBrk="1" latinLnBrk="0" hangingPunct="1">
                        <a:defRPr sz="1800" b="1" kern="1200">
                          <a:solidFill>
                            <a:schemeClr val="lt1"/>
                          </a:solidFill>
                          <a:latin typeface="Graphik"/>
                        </a:defRPr>
                      </a:lvl2pPr>
                      <a:lvl3pPr marL="914400" algn="l" defTabSz="914400" rtl="0" eaLnBrk="1" latinLnBrk="0" hangingPunct="1">
                        <a:defRPr sz="1800" b="1" kern="1200">
                          <a:solidFill>
                            <a:schemeClr val="lt1"/>
                          </a:solidFill>
                          <a:latin typeface="Graphik"/>
                        </a:defRPr>
                      </a:lvl3pPr>
                      <a:lvl4pPr marL="1371600" algn="l" defTabSz="914400" rtl="0" eaLnBrk="1" latinLnBrk="0" hangingPunct="1">
                        <a:defRPr sz="1800" b="1" kern="1200">
                          <a:solidFill>
                            <a:schemeClr val="lt1"/>
                          </a:solidFill>
                          <a:latin typeface="Graphik"/>
                        </a:defRPr>
                      </a:lvl4pPr>
                      <a:lvl5pPr marL="1828800" algn="l" defTabSz="914400" rtl="0" eaLnBrk="1" latinLnBrk="0" hangingPunct="1">
                        <a:defRPr sz="1800" b="1" kern="1200">
                          <a:solidFill>
                            <a:schemeClr val="lt1"/>
                          </a:solidFill>
                          <a:latin typeface="Graphik"/>
                        </a:defRPr>
                      </a:lvl5pPr>
                      <a:lvl6pPr marL="2286000" algn="l" defTabSz="914400" rtl="0" eaLnBrk="1" latinLnBrk="0" hangingPunct="1">
                        <a:defRPr sz="1800" b="1" kern="1200">
                          <a:solidFill>
                            <a:schemeClr val="lt1"/>
                          </a:solidFill>
                          <a:latin typeface="Graphik"/>
                        </a:defRPr>
                      </a:lvl6pPr>
                      <a:lvl7pPr marL="2743200" algn="l" defTabSz="914400" rtl="0" eaLnBrk="1" latinLnBrk="0" hangingPunct="1">
                        <a:defRPr sz="1800" b="1" kern="1200">
                          <a:solidFill>
                            <a:schemeClr val="lt1"/>
                          </a:solidFill>
                          <a:latin typeface="Graphik"/>
                        </a:defRPr>
                      </a:lvl7pPr>
                      <a:lvl8pPr marL="3200400" algn="l" defTabSz="914400" rtl="0" eaLnBrk="1" latinLnBrk="0" hangingPunct="1">
                        <a:defRPr sz="1800" b="1" kern="1200">
                          <a:solidFill>
                            <a:schemeClr val="lt1"/>
                          </a:solidFill>
                          <a:latin typeface="Graphik"/>
                        </a:defRPr>
                      </a:lvl8pPr>
                      <a:lvl9pPr marL="3657600" algn="l" defTabSz="914400" rtl="0" eaLnBrk="1" latinLnBrk="0" hangingPunct="1">
                        <a:defRPr sz="1800" b="1" kern="1200">
                          <a:solidFill>
                            <a:schemeClr val="lt1"/>
                          </a:solidFill>
                          <a:latin typeface="Graphik"/>
                        </a:defRPr>
                      </a:lvl9pPr>
                    </a:lstStyle>
                    <a:p>
                      <a:r>
                        <a:rPr lang="en-US" sz="1600" dirty="0">
                          <a:solidFill>
                            <a:schemeClr val="tx1"/>
                          </a:solidFill>
                        </a:rPr>
                        <a:t>These are behaviors we will avoid</a:t>
                      </a:r>
                    </a:p>
                  </a:txBody>
                  <a:tcPr marT="0">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12700" cmpd="sng">
                      <a:solidFill>
                        <a:srgbClr val="FFFFFF"/>
                      </a:solidFill>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70258">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indent="0">
                        <a:spcAft>
                          <a:spcPts val="1200"/>
                        </a:spcAft>
                      </a:pPr>
                      <a:r>
                        <a:rPr lang="en-US" sz="1100" b="0" i="1" dirty="0">
                          <a:solidFill>
                            <a:schemeClr val="accent1"/>
                          </a:solidFill>
                          <a:latin typeface="+mn-lt"/>
                        </a:rPr>
                        <a:t>&lt;Refer to the Client Experience Expectations Plan&gt;</a:t>
                      </a:r>
                      <a:endParaRPr lang="en-US" sz="1100" b="0" dirty="0">
                        <a:solidFill>
                          <a:schemeClr val="accent1"/>
                        </a:solidFill>
                        <a:latin typeface="+mn-lt"/>
                      </a:endParaRPr>
                    </a:p>
                    <a:p>
                      <a:pPr marL="88900" indent="-88900">
                        <a:spcAft>
                          <a:spcPts val="600"/>
                        </a:spcAft>
                        <a:buFont typeface="Arial" pitchFamily="34" charset="0"/>
                        <a:buChar char="•"/>
                      </a:pPr>
                      <a:r>
                        <a:rPr lang="en-US" sz="1100" b="0" dirty="0">
                          <a:solidFill>
                            <a:schemeClr val="tx1"/>
                          </a:solidFill>
                          <a:latin typeface="+mn-lt"/>
                        </a:rPr>
                        <a:t>Overall client expectations, pertaining to:</a:t>
                      </a:r>
                    </a:p>
                    <a:p>
                      <a:pPr marL="260350" lvl="2" indent="-171450">
                        <a:spcAft>
                          <a:spcPts val="600"/>
                        </a:spcAft>
                        <a:buFont typeface="Arial" pitchFamily="34" charset="0"/>
                        <a:buChar char="-"/>
                      </a:pPr>
                      <a:r>
                        <a:rPr lang="en-US" sz="1100" b="0" dirty="0">
                          <a:solidFill>
                            <a:schemeClr val="tx1"/>
                          </a:solidFill>
                          <a:latin typeface="+mn-lt"/>
                        </a:rPr>
                        <a:t>Key issues and priorities</a:t>
                      </a:r>
                    </a:p>
                    <a:p>
                      <a:pPr marL="260350" lvl="2" indent="-171450">
                        <a:spcAft>
                          <a:spcPts val="600"/>
                        </a:spcAft>
                        <a:buFont typeface="Arial" pitchFamily="34" charset="0"/>
                        <a:buChar char="-"/>
                      </a:pPr>
                      <a:r>
                        <a:rPr lang="en-US" sz="1100" b="0" dirty="0">
                          <a:solidFill>
                            <a:schemeClr val="tx1"/>
                          </a:solidFill>
                          <a:latin typeface="+mn-lt"/>
                        </a:rPr>
                        <a:t>Value and outcomes</a:t>
                      </a:r>
                    </a:p>
                    <a:p>
                      <a:pPr marL="260350" lvl="2" indent="-171450">
                        <a:spcAft>
                          <a:spcPts val="600"/>
                        </a:spcAft>
                        <a:buFont typeface="Arial" pitchFamily="34" charset="0"/>
                        <a:buChar char="-"/>
                      </a:pPr>
                      <a:r>
                        <a:rPr lang="en-US" sz="1100" b="0" dirty="0">
                          <a:solidFill>
                            <a:schemeClr val="tx1"/>
                          </a:solidFill>
                          <a:latin typeface="+mn-lt"/>
                        </a:rPr>
                        <a:t>Delivery approach</a:t>
                      </a:r>
                    </a:p>
                    <a:p>
                      <a:pPr marL="260350" lvl="2" indent="-171450">
                        <a:spcAft>
                          <a:spcPts val="600"/>
                        </a:spcAft>
                        <a:buFont typeface="Arial" pitchFamily="34" charset="0"/>
                        <a:buChar char="-"/>
                      </a:pPr>
                      <a:r>
                        <a:rPr lang="en-US" sz="1100" b="0" dirty="0">
                          <a:solidFill>
                            <a:schemeClr val="tx1"/>
                          </a:solidFill>
                          <a:latin typeface="+mn-lt"/>
                        </a:rPr>
                        <a:t>Legacy</a:t>
                      </a:r>
                    </a:p>
                    <a:p>
                      <a:pPr marL="260350" lvl="2" indent="-171450">
                        <a:spcAft>
                          <a:spcPts val="600"/>
                        </a:spcAft>
                        <a:buFont typeface="Arial" pitchFamily="34" charset="0"/>
                        <a:buChar char="-"/>
                      </a:pPr>
                      <a:r>
                        <a:rPr lang="en-US" sz="1100" b="0" dirty="0">
                          <a:solidFill>
                            <a:schemeClr val="tx1"/>
                          </a:solidFill>
                          <a:latin typeface="+mn-lt"/>
                        </a:rPr>
                        <a:t>Personal expectations</a:t>
                      </a:r>
                    </a:p>
                  </a:txBody>
                  <a:tcPr>
                    <a:lnL w="12700" cmpd="sng">
                      <a:solidFill>
                        <a:srgbClr val="FFFFFF"/>
                      </a:solidFill>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marL="0" indent="0">
                        <a:spcAft>
                          <a:spcPts val="1200"/>
                        </a:spcAft>
                      </a:pPr>
                      <a:r>
                        <a:rPr lang="en-US" sz="1100" b="0" i="1" dirty="0">
                          <a:solidFill>
                            <a:schemeClr val="accent1"/>
                          </a:solidFill>
                          <a:latin typeface="+mn-lt"/>
                        </a:rPr>
                        <a:t>&lt;Refer to the Client Experience Expectations Plan&gt;</a:t>
                      </a:r>
                    </a:p>
                    <a:p>
                      <a:pPr marL="88900" indent="-88900">
                        <a:spcAft>
                          <a:spcPts val="600"/>
                        </a:spcAft>
                        <a:buFont typeface="Arial" pitchFamily="34" charset="0"/>
                        <a:buChar char="•"/>
                      </a:pPr>
                      <a:r>
                        <a:rPr lang="en-ZA" sz="1100" b="0" dirty="0">
                          <a:solidFill>
                            <a:schemeClr val="tx1"/>
                          </a:solidFill>
                          <a:latin typeface="+mn-lt"/>
                        </a:rPr>
                        <a:t>E.g., Identify and focus on your key issues and priorities</a:t>
                      </a:r>
                    </a:p>
                    <a:p>
                      <a:pPr marL="88900" indent="-88900">
                        <a:spcAft>
                          <a:spcPts val="600"/>
                        </a:spcAft>
                        <a:buFont typeface="Arial" pitchFamily="34" charset="0"/>
                        <a:buChar char="•"/>
                      </a:pPr>
                      <a:r>
                        <a:rPr lang="en-ZA" sz="1100" b="0" dirty="0">
                          <a:solidFill>
                            <a:schemeClr val="tx1"/>
                          </a:solidFill>
                          <a:latin typeface="+mn-lt"/>
                        </a:rPr>
                        <a:t>Define what outcomes you are looking to achieve</a:t>
                      </a:r>
                    </a:p>
                    <a:p>
                      <a:pPr marL="88900" indent="-88900">
                        <a:spcAft>
                          <a:spcPts val="600"/>
                        </a:spcAft>
                        <a:buFont typeface="Arial" pitchFamily="34" charset="0"/>
                        <a:buChar char="•"/>
                      </a:pPr>
                      <a:r>
                        <a:rPr lang="en-ZA" sz="1100" b="0" dirty="0">
                          <a:solidFill>
                            <a:schemeClr val="tx1"/>
                          </a:solidFill>
                          <a:latin typeface="+mn-lt"/>
                        </a:rPr>
                        <a:t>Focus on adding value over and above the core deliverables </a:t>
                      </a:r>
                    </a:p>
                    <a:p>
                      <a:pPr marL="88900" indent="-88900">
                        <a:spcAft>
                          <a:spcPts val="600"/>
                        </a:spcAft>
                        <a:buFont typeface="Arial" pitchFamily="34" charset="0"/>
                        <a:buChar char="•"/>
                      </a:pPr>
                      <a:r>
                        <a:rPr lang="en-ZA" sz="1100" b="0" dirty="0">
                          <a:solidFill>
                            <a:schemeClr val="tx1"/>
                          </a:solidFill>
                          <a:latin typeface="+mn-lt"/>
                        </a:rPr>
                        <a:t>Clearly define the delivery approach, management and communication style</a:t>
                      </a:r>
                    </a:p>
                    <a:p>
                      <a:pPr marL="88900" indent="-88900">
                        <a:spcAft>
                          <a:spcPts val="600"/>
                        </a:spcAft>
                        <a:buFont typeface="Arial" pitchFamily="34" charset="0"/>
                        <a:buChar char="•"/>
                      </a:pPr>
                      <a:r>
                        <a:rPr lang="en-ZA" sz="1100" b="0" dirty="0">
                          <a:solidFill>
                            <a:schemeClr val="tx1"/>
                          </a:solidFill>
                          <a:latin typeface="+mn-lt"/>
                        </a:rPr>
                        <a:t>Focus on building skill and capability into your organisation</a:t>
                      </a:r>
                    </a:p>
                    <a:p>
                      <a:pPr marL="88900" indent="-88900">
                        <a:spcAft>
                          <a:spcPts val="600"/>
                        </a:spcAft>
                        <a:buFont typeface="Arial" pitchFamily="34" charset="0"/>
                        <a:buChar char="•"/>
                      </a:pPr>
                      <a:r>
                        <a:rPr lang="en-ZA" sz="1100" b="0" dirty="0">
                          <a:solidFill>
                            <a:schemeClr val="tx1"/>
                          </a:solidFill>
                          <a:latin typeface="+mn-lt"/>
                        </a:rPr>
                        <a:t>Focus on outcomes which make you (the client) successful</a:t>
                      </a:r>
                    </a:p>
                  </a:txBody>
                  <a:tcPr>
                    <a:lnL w="12700" cap="flat" cmpd="sng" algn="ctr">
                      <a:solidFill>
                        <a:srgbClr val="96968C">
                          <a:lumMod val="60000"/>
                          <a:lumOff val="40000"/>
                        </a:srgbClr>
                      </a:solidFill>
                      <a:prstDash val="sysDot"/>
                      <a:round/>
                      <a:headEnd type="none" w="med" len="med"/>
                      <a:tailEnd type="none" w="med" len="med"/>
                    </a:lnL>
                    <a:lnR w="12700" cap="flat" cmpd="sng" algn="ctr">
                      <a:solidFill>
                        <a:srgbClr val="96968C">
                          <a:lumMod val="60000"/>
                          <a:lumOff val="40000"/>
                        </a:srgbClr>
                      </a:solidFill>
                      <a:prstDash val="sysDot"/>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raphik"/>
                        </a:defRPr>
                      </a:lvl1pPr>
                      <a:lvl2pPr marL="457200" algn="l" defTabSz="914400" rtl="0" eaLnBrk="1" latinLnBrk="0" hangingPunct="1">
                        <a:defRPr sz="1800" kern="1200">
                          <a:solidFill>
                            <a:schemeClr val="dk1"/>
                          </a:solidFill>
                          <a:latin typeface="Graphik"/>
                        </a:defRPr>
                      </a:lvl2pPr>
                      <a:lvl3pPr marL="914400" algn="l" defTabSz="914400" rtl="0" eaLnBrk="1" latinLnBrk="0" hangingPunct="1">
                        <a:defRPr sz="1800" kern="1200">
                          <a:solidFill>
                            <a:schemeClr val="dk1"/>
                          </a:solidFill>
                          <a:latin typeface="Graphik"/>
                        </a:defRPr>
                      </a:lvl3pPr>
                      <a:lvl4pPr marL="1371600" algn="l" defTabSz="914400" rtl="0" eaLnBrk="1" latinLnBrk="0" hangingPunct="1">
                        <a:defRPr sz="1800" kern="1200">
                          <a:solidFill>
                            <a:schemeClr val="dk1"/>
                          </a:solidFill>
                          <a:latin typeface="Graphik"/>
                        </a:defRPr>
                      </a:lvl4pPr>
                      <a:lvl5pPr marL="1828800" algn="l" defTabSz="914400" rtl="0" eaLnBrk="1" latinLnBrk="0" hangingPunct="1">
                        <a:defRPr sz="1800" kern="1200">
                          <a:solidFill>
                            <a:schemeClr val="dk1"/>
                          </a:solidFill>
                          <a:latin typeface="Graphik"/>
                        </a:defRPr>
                      </a:lvl5pPr>
                      <a:lvl6pPr marL="2286000" algn="l" defTabSz="914400" rtl="0" eaLnBrk="1" latinLnBrk="0" hangingPunct="1">
                        <a:defRPr sz="1800" kern="1200">
                          <a:solidFill>
                            <a:schemeClr val="dk1"/>
                          </a:solidFill>
                          <a:latin typeface="Graphik"/>
                        </a:defRPr>
                      </a:lvl6pPr>
                      <a:lvl7pPr marL="2743200" algn="l" defTabSz="914400" rtl="0" eaLnBrk="1" latinLnBrk="0" hangingPunct="1">
                        <a:defRPr sz="1800" kern="1200">
                          <a:solidFill>
                            <a:schemeClr val="dk1"/>
                          </a:solidFill>
                          <a:latin typeface="Graphik"/>
                        </a:defRPr>
                      </a:lvl7pPr>
                      <a:lvl8pPr marL="3200400" algn="l" defTabSz="914400" rtl="0" eaLnBrk="1" latinLnBrk="0" hangingPunct="1">
                        <a:defRPr sz="1800" kern="1200">
                          <a:solidFill>
                            <a:schemeClr val="dk1"/>
                          </a:solidFill>
                          <a:latin typeface="Graphik"/>
                        </a:defRPr>
                      </a:lvl8pPr>
                      <a:lvl9pPr marL="3657600" algn="l" defTabSz="914400" rtl="0" eaLnBrk="1" latinLnBrk="0" hangingPunct="1">
                        <a:defRPr sz="1800" kern="1200">
                          <a:solidFill>
                            <a:schemeClr val="dk1"/>
                          </a:solidFill>
                          <a:latin typeface="Graphik"/>
                        </a:defRPr>
                      </a:lvl9pPr>
                    </a:lstStyle>
                    <a:p>
                      <a:pPr>
                        <a:spcAft>
                          <a:spcPts val="1200"/>
                        </a:spcAft>
                      </a:pPr>
                      <a:r>
                        <a:rPr lang="en-US" sz="1100" b="0" i="1" dirty="0">
                          <a:solidFill>
                            <a:schemeClr val="accent1"/>
                          </a:solidFill>
                          <a:latin typeface="+mn-lt"/>
                        </a:rPr>
                        <a:t>&lt;Outline specific “traps” that we need to avoid based on your understanding of the client expectations&gt;</a:t>
                      </a:r>
                    </a:p>
                    <a:p>
                      <a:pPr>
                        <a:spcAft>
                          <a:spcPts val="1200"/>
                        </a:spcAft>
                      </a:pPr>
                      <a:r>
                        <a:rPr lang="en-US" sz="1100" b="0" dirty="0">
                          <a:solidFill>
                            <a:schemeClr val="tx1"/>
                          </a:solidFill>
                          <a:latin typeface="+mn-lt"/>
                        </a:rPr>
                        <a:t>E.g., </a:t>
                      </a:r>
                      <a:r>
                        <a:rPr lang="en-US" sz="1100" dirty="0">
                          <a:solidFill>
                            <a:schemeClr val="tx1"/>
                          </a:solidFill>
                        </a:rPr>
                        <a:t>“w</a:t>
                      </a:r>
                      <a:r>
                        <a:rPr lang="en-AU" sz="1100" dirty="0">
                          <a:solidFill>
                            <a:schemeClr val="tx1"/>
                          </a:solidFill>
                        </a:rPr>
                        <a:t>e will seek first to understand versus presenting an answer without listening</a:t>
                      </a:r>
                      <a:r>
                        <a:rPr lang="en-US" sz="1100" dirty="0">
                          <a:solidFill>
                            <a:schemeClr val="tx1"/>
                          </a:solidFill>
                        </a:rPr>
                        <a:t>” </a:t>
                      </a:r>
                      <a:endParaRPr lang="en-US" sz="1100" b="0" dirty="0">
                        <a:solidFill>
                          <a:schemeClr val="tx1"/>
                        </a:solidFill>
                        <a:latin typeface="+mn-lt"/>
                      </a:endParaRPr>
                    </a:p>
                  </a:txBody>
                  <a:tcPr>
                    <a:lnL w="12700" cap="flat" cmpd="sng" algn="ctr">
                      <a:solidFill>
                        <a:srgbClr val="96968C">
                          <a:lumMod val="60000"/>
                          <a:lumOff val="40000"/>
                        </a:srgbClr>
                      </a:solidFill>
                      <a:prstDash val="sysDot"/>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6" name="TextBox 5">
            <a:extLst>
              <a:ext uri="{FF2B5EF4-FFF2-40B4-BE49-F238E27FC236}">
                <a16:creationId xmlns:a16="http://schemas.microsoft.com/office/drawing/2014/main" id="{AA370E69-3036-4DA3-BE47-C2BF6387F114}"/>
              </a:ext>
            </a:extLst>
          </p:cNvPr>
          <p:cNvSpPr txBox="1"/>
          <p:nvPr/>
        </p:nvSpPr>
        <p:spPr bwMode="auto">
          <a:xfrm>
            <a:off x="381000" y="5764689"/>
            <a:ext cx="7644552" cy="461665"/>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30000" noProof="0" dirty="0">
                <a:ln>
                  <a:noFill/>
                </a:ln>
                <a:solidFill>
                  <a:srgbClr val="000000"/>
                </a:solidFill>
                <a:effectLst/>
                <a:uLnTx/>
                <a:uFillTx/>
                <a:latin typeface="Graphik"/>
                <a:ea typeface="Calibri"/>
                <a:cs typeface="Times New Roman"/>
              </a:rPr>
              <a:t>1</a:t>
            </a:r>
            <a:r>
              <a:rPr kumimoji="0" lang="en-GB" sz="1000" b="0" i="0" u="none" strike="noStrike" kern="0" cap="none" spc="0" normalizeH="0" baseline="0" noProof="0" dirty="0">
                <a:ln>
                  <a:noFill/>
                </a:ln>
                <a:solidFill>
                  <a:srgbClr val="000000"/>
                </a:solidFill>
                <a:effectLst/>
                <a:uLnTx/>
                <a:uFillTx/>
                <a:latin typeface="Graphik"/>
                <a:ea typeface="Calibri"/>
                <a:cs typeface="Times New Roman"/>
              </a:rPr>
              <a:t>Client experience charter </a:t>
            </a:r>
            <a:r>
              <a:rPr kumimoji="0" lang="en-AU" sz="1000" b="0" i="0" u="none" strike="noStrike" kern="0" cap="none" spc="0" normalizeH="0" baseline="0" noProof="0" dirty="0">
                <a:ln>
                  <a:noFill/>
                </a:ln>
                <a:solidFill>
                  <a:srgbClr val="000000"/>
                </a:solidFill>
                <a:effectLst/>
                <a:uLnTx/>
                <a:uFillTx/>
                <a:latin typeface="Graphik"/>
                <a:ea typeface="Calibri"/>
                <a:cs typeface="Times New Roman"/>
              </a:rPr>
              <a:t>is about how we will work together with the client; it is not a legal document but more of a statement of intent against which we can be judged and which we can be held accountable to in the sense of the client relationship. The client experience charter should be a summary of the “Client Experience Expectations Plan”</a:t>
            </a:r>
            <a:endParaRPr kumimoji="0" lang="en-AU" sz="1000" b="0" i="0" u="none" strike="noStrike" kern="0" cap="none" spc="0" normalizeH="0" baseline="0" noProof="0" dirty="0">
              <a:ln>
                <a:noFill/>
              </a:ln>
              <a:solidFill>
                <a:srgbClr val="000000"/>
              </a:solidFill>
              <a:effectLst/>
              <a:uLnTx/>
              <a:uFillTx/>
              <a:latin typeface="Graphik"/>
              <a:ea typeface="+mn-ea"/>
              <a:cs typeface="+mn-cs"/>
            </a:endParaRPr>
          </a:p>
        </p:txBody>
      </p:sp>
      <p:sp>
        <p:nvSpPr>
          <p:cNvPr id="10" name="TextBox 9">
            <a:extLst>
              <a:ext uri="{FF2B5EF4-FFF2-40B4-BE49-F238E27FC236}">
                <a16:creationId xmlns:a16="http://schemas.microsoft.com/office/drawing/2014/main" id="{EB959100-D563-4178-AE04-E1502C240BF0}"/>
              </a:ext>
            </a:extLst>
          </p:cNvPr>
          <p:cNvSpPr txBox="1"/>
          <p:nvPr/>
        </p:nvSpPr>
        <p:spPr>
          <a:xfrm>
            <a:off x="380383" y="1351796"/>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0000"/>
                </a:solidFill>
                <a:effectLst/>
                <a:uLnTx/>
                <a:uFillTx/>
                <a:latin typeface="Graphik"/>
                <a:ea typeface="+mn-ea"/>
                <a:cs typeface="+mn-cs"/>
              </a:rPr>
              <a:t>Client Experience Charter</a:t>
            </a:r>
            <a:r>
              <a:rPr kumimoji="0" lang="en-AU" sz="1800" b="1" i="0" u="none" strike="noStrike" kern="1200" cap="none" spc="0" normalizeH="0" baseline="30000" noProof="0" dirty="0">
                <a:ln>
                  <a:noFill/>
                </a:ln>
                <a:solidFill>
                  <a:srgbClr val="000000"/>
                </a:solidFill>
                <a:effectLst/>
                <a:uLnTx/>
                <a:uFillTx/>
                <a:latin typeface="Graphik"/>
                <a:ea typeface="+mn-ea"/>
                <a:cs typeface="+mn-cs"/>
              </a:rPr>
              <a:t>1</a:t>
            </a:r>
          </a:p>
        </p:txBody>
      </p:sp>
      <p:sp>
        <p:nvSpPr>
          <p:cNvPr id="3" name="Rectangle 2">
            <a:hlinkClick r:id="rId3" action="ppaction://hlinksldjump"/>
            <a:extLst>
              <a:ext uri="{FF2B5EF4-FFF2-40B4-BE49-F238E27FC236}">
                <a16:creationId xmlns:a16="http://schemas.microsoft.com/office/drawing/2014/main" id="{D8E7F512-AA94-4A15-ACC7-8EAC8BD1A87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272528809"/>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Evaluation</a:t>
            </a:r>
          </a:p>
        </p:txBody>
      </p:sp>
      <p:sp>
        <p:nvSpPr>
          <p:cNvPr id="8" name="Freeform: Shape 7">
            <a:hlinkClick r:id="rId3"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Text Placeholder 4">
            <a:extLst>
              <a:ext uri="{FF2B5EF4-FFF2-40B4-BE49-F238E27FC236}">
                <a16:creationId xmlns:a16="http://schemas.microsoft.com/office/drawing/2014/main" id="{F691B614-34D5-4CA9-810A-F5B31C43C8E1}"/>
              </a:ext>
            </a:extLst>
          </p:cNvPr>
          <p:cNvSpPr>
            <a:spLocks noGrp="1"/>
          </p:cNvSpPr>
          <p:nvPr>
            <p:ph type="body" sz="quarter" idx="15"/>
          </p:nvPr>
        </p:nvSpPr>
        <p:spPr>
          <a:xfrm>
            <a:off x="8055427" y="3889828"/>
            <a:ext cx="2993573" cy="2194486"/>
          </a:xfrm>
        </p:spPr>
        <p:txBody>
          <a:bodyPr/>
          <a:lstStyle/>
          <a:p>
            <a:r>
              <a:rPr lang="en-US" dirty="0"/>
              <a:t>Part of </a:t>
            </a:r>
            <a:br>
              <a:rPr lang="en-US" dirty="0"/>
            </a:br>
            <a:r>
              <a:rPr lang="en-US" dirty="0">
                <a:hlinkClick r:id="rId4" action="ppaction://hlinksldjump">
                  <a:extLst>
                    <a:ext uri="{A12FA001-AC4F-418D-AE19-62706E023703}">
                      <ahyp:hlinkClr xmlns:ahyp="http://schemas.microsoft.com/office/drawing/2018/hyperlinkcolor" val="tx"/>
                    </a:ext>
                  </a:extLst>
                </a:hlinkClick>
              </a:rPr>
              <a:t>Standard Visuals</a:t>
            </a:r>
            <a:endParaRPr lang="en-US" dirty="0"/>
          </a:p>
        </p:txBody>
      </p:sp>
      <p:sp>
        <p:nvSpPr>
          <p:cNvPr id="2" name="Rectangle 1">
            <a:hlinkClick r:id="rId3" action="ppaction://hlinksldjump"/>
            <a:extLst>
              <a:ext uri="{FF2B5EF4-FFF2-40B4-BE49-F238E27FC236}">
                <a16:creationId xmlns:a16="http://schemas.microsoft.com/office/drawing/2014/main" id="{0F6980D1-5D44-4713-8DCA-E901B31D129F}"/>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925249858"/>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coring 1 – Harvey Balls</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7" name="Rectangle 3">
            <a:extLst>
              <a:ext uri="{FF2B5EF4-FFF2-40B4-BE49-F238E27FC236}">
                <a16:creationId xmlns:a16="http://schemas.microsoft.com/office/drawing/2014/main" id="{85EAFB45-D1A8-4F45-B8B0-8681B9C6BFA2}"/>
              </a:ext>
            </a:extLst>
          </p:cNvPr>
          <p:cNvSpPr>
            <a:spLocks noChangeArrowheads="1"/>
          </p:cNvSpPr>
          <p:nvPr/>
        </p:nvSpPr>
        <p:spPr bwMode="auto">
          <a:xfrm>
            <a:off x="341856" y="5834482"/>
            <a:ext cx="5288235" cy="551534"/>
          </a:xfrm>
          <a:prstGeom prst="rect">
            <a:avLst/>
          </a:prstGeom>
          <a:solidFill>
            <a:srgbClr val="FFFFFF">
              <a:lumMod val="95000"/>
            </a:srgbClr>
          </a:solidFill>
          <a:ln w="3175">
            <a:noFill/>
            <a:miter lim="800000"/>
            <a:headEnd/>
            <a:tailEnd/>
          </a:ln>
          <a:effectLst/>
        </p:spPr>
        <p:txBody>
          <a:bodyPr wrap="square" lIns="108000" tIns="108000" rIns="72000" bIns="108000" anchor="b"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Tips</a:t>
            </a:r>
          </a:p>
          <a:p>
            <a:pPr marL="0" marR="0" lvl="0" indent="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latin typeface="Graphik"/>
                <a:ea typeface="+mn-ea"/>
                <a:cs typeface="+mn-cs"/>
              </a:rPr>
              <a:t>Use “ </a:t>
            </a:r>
            <a:r>
              <a:rPr lang="en-IE" sz="1000" kern="0" dirty="0">
                <a:solidFill>
                  <a:srgbClr val="000000"/>
                </a:solidFill>
                <a:latin typeface="Graphik"/>
              </a:rPr>
              <a:t>H</a:t>
            </a:r>
            <a:r>
              <a:rPr kumimoji="0" lang="en-IE" sz="1000" b="0" i="0" u="none" strike="noStrike" kern="0" cap="none" spc="0" normalizeH="0" baseline="0" noProof="0" dirty="0" err="1">
                <a:ln>
                  <a:noFill/>
                </a:ln>
                <a:solidFill>
                  <a:srgbClr val="000000"/>
                </a:solidFill>
                <a:effectLst/>
                <a:uLnTx/>
                <a:uFillTx/>
                <a:latin typeface="Graphik"/>
                <a:ea typeface="+mn-ea"/>
                <a:cs typeface="+mn-cs"/>
              </a:rPr>
              <a:t>arvey</a:t>
            </a:r>
            <a:r>
              <a:rPr kumimoji="0" lang="en-IE" sz="1000" b="0" i="0" u="none" strike="noStrike" kern="0" cap="none" spc="0" normalizeH="0" baseline="0" noProof="0" dirty="0">
                <a:ln>
                  <a:noFill/>
                </a:ln>
                <a:solidFill>
                  <a:srgbClr val="000000"/>
                </a:solidFill>
                <a:effectLst/>
                <a:uLnTx/>
                <a:uFillTx/>
                <a:latin typeface="Graphik"/>
                <a:ea typeface="+mn-ea"/>
                <a:cs typeface="+mn-cs"/>
              </a:rPr>
              <a:t> ball” on the MC toolbar to quickly draw and replace these shapes</a:t>
            </a:r>
          </a:p>
        </p:txBody>
      </p:sp>
      <p:sp>
        <p:nvSpPr>
          <p:cNvPr id="35" name="Rectangle 34">
            <a:hlinkClick r:id="rId3" action="ppaction://hlinksldjump"/>
            <a:extLst>
              <a:ext uri="{FF2B5EF4-FFF2-40B4-BE49-F238E27FC236}">
                <a16:creationId xmlns:a16="http://schemas.microsoft.com/office/drawing/2014/main" id="{1DEFAFDE-8FE6-4456-A862-5749627FD90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6" name="Rectangle 84">
            <a:extLst>
              <a:ext uri="{FF2B5EF4-FFF2-40B4-BE49-F238E27FC236}">
                <a16:creationId xmlns:a16="http://schemas.microsoft.com/office/drawing/2014/main" id="{939628A0-FC0B-432B-AA14-6AC77A81FEA2}"/>
              </a:ext>
            </a:extLst>
          </p:cNvPr>
          <p:cNvSpPr>
            <a:spLocks noChangeArrowheads="1"/>
          </p:cNvSpPr>
          <p:nvPr/>
        </p:nvSpPr>
        <p:spPr bwMode="auto">
          <a:xfrm>
            <a:off x="9596263"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7" name="Rectangle 85">
            <a:extLst>
              <a:ext uri="{FF2B5EF4-FFF2-40B4-BE49-F238E27FC236}">
                <a16:creationId xmlns:a16="http://schemas.microsoft.com/office/drawing/2014/main" id="{B11CF8EA-EC22-4361-8D8C-0DFF6780B18C}"/>
              </a:ext>
            </a:extLst>
          </p:cNvPr>
          <p:cNvSpPr>
            <a:spLocks noChangeArrowheads="1"/>
          </p:cNvSpPr>
          <p:nvPr/>
        </p:nvSpPr>
        <p:spPr bwMode="auto">
          <a:xfrm>
            <a:off x="9596263"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8" name="Rectangle 88">
            <a:extLst>
              <a:ext uri="{FF2B5EF4-FFF2-40B4-BE49-F238E27FC236}">
                <a16:creationId xmlns:a16="http://schemas.microsoft.com/office/drawing/2014/main" id="{29C59A0F-3D58-409C-82E9-A5218A8A6294}"/>
              </a:ext>
            </a:extLst>
          </p:cNvPr>
          <p:cNvSpPr>
            <a:spLocks noChangeArrowheads="1"/>
          </p:cNvSpPr>
          <p:nvPr/>
        </p:nvSpPr>
        <p:spPr bwMode="auto">
          <a:xfrm>
            <a:off x="9596263" y="1362569"/>
            <a:ext cx="2304000" cy="441441"/>
          </a:xfrm>
          <a:prstGeom prst="rect">
            <a:avLst/>
          </a:prstGeom>
          <a:solidFill>
            <a:schemeClr val="accent2">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4</a:t>
            </a:r>
          </a:p>
        </p:txBody>
      </p:sp>
      <p:sp>
        <p:nvSpPr>
          <p:cNvPr id="109" name="Rectangle 126">
            <a:extLst>
              <a:ext uri="{FF2B5EF4-FFF2-40B4-BE49-F238E27FC236}">
                <a16:creationId xmlns:a16="http://schemas.microsoft.com/office/drawing/2014/main" id="{1C2F1960-1A16-47B3-B60F-54F29B01F8F0}"/>
              </a:ext>
            </a:extLst>
          </p:cNvPr>
          <p:cNvSpPr>
            <a:spLocks noChangeArrowheads="1"/>
          </p:cNvSpPr>
          <p:nvPr/>
        </p:nvSpPr>
        <p:spPr bwMode="auto">
          <a:xfrm>
            <a:off x="9596263" y="356684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0" name="Rectangle 127">
            <a:extLst>
              <a:ext uri="{FF2B5EF4-FFF2-40B4-BE49-F238E27FC236}">
                <a16:creationId xmlns:a16="http://schemas.microsoft.com/office/drawing/2014/main" id="{CBD0AFBE-9758-471C-B31F-27F11F5F23E4}"/>
              </a:ext>
            </a:extLst>
          </p:cNvPr>
          <p:cNvSpPr>
            <a:spLocks noChangeArrowheads="1"/>
          </p:cNvSpPr>
          <p:nvPr/>
        </p:nvSpPr>
        <p:spPr bwMode="auto">
          <a:xfrm>
            <a:off x="9596263" y="411442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1" name="Rectangle 130">
            <a:extLst>
              <a:ext uri="{FF2B5EF4-FFF2-40B4-BE49-F238E27FC236}">
                <a16:creationId xmlns:a16="http://schemas.microsoft.com/office/drawing/2014/main" id="{E719509B-8C28-4217-A14B-6B31DF1C2EC4}"/>
              </a:ext>
            </a:extLst>
          </p:cNvPr>
          <p:cNvSpPr>
            <a:spLocks noChangeArrowheads="1"/>
          </p:cNvSpPr>
          <p:nvPr/>
        </p:nvSpPr>
        <p:spPr bwMode="auto">
          <a:xfrm>
            <a:off x="9596263" y="3125409"/>
            <a:ext cx="2304000" cy="441441"/>
          </a:xfrm>
          <a:prstGeom prst="rect">
            <a:avLst/>
          </a:prstGeom>
          <a:solidFill>
            <a:schemeClr val="accent1">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4</a:t>
            </a:r>
          </a:p>
        </p:txBody>
      </p:sp>
      <p:sp>
        <p:nvSpPr>
          <p:cNvPr id="112" name="Rectangle 82">
            <a:extLst>
              <a:ext uri="{FF2B5EF4-FFF2-40B4-BE49-F238E27FC236}">
                <a16:creationId xmlns:a16="http://schemas.microsoft.com/office/drawing/2014/main" id="{A1E2320C-D657-41B2-A3A5-0D8F2ED21345}"/>
              </a:ext>
            </a:extLst>
          </p:cNvPr>
          <p:cNvSpPr>
            <a:spLocks noChangeArrowheads="1"/>
          </p:cNvSpPr>
          <p:nvPr/>
        </p:nvSpPr>
        <p:spPr bwMode="auto">
          <a:xfrm>
            <a:off x="7294638"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3" name="Rectangle 83">
            <a:extLst>
              <a:ext uri="{FF2B5EF4-FFF2-40B4-BE49-F238E27FC236}">
                <a16:creationId xmlns:a16="http://schemas.microsoft.com/office/drawing/2014/main" id="{37527245-06E5-48E6-BFE5-BBBC09DC5394}"/>
              </a:ext>
            </a:extLst>
          </p:cNvPr>
          <p:cNvSpPr>
            <a:spLocks noChangeArrowheads="1"/>
          </p:cNvSpPr>
          <p:nvPr/>
        </p:nvSpPr>
        <p:spPr bwMode="auto">
          <a:xfrm>
            <a:off x="7294638"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4" name="Rectangle 89">
            <a:extLst>
              <a:ext uri="{FF2B5EF4-FFF2-40B4-BE49-F238E27FC236}">
                <a16:creationId xmlns:a16="http://schemas.microsoft.com/office/drawing/2014/main" id="{12C07D3A-8B63-470F-82E0-C5B1C156E005}"/>
              </a:ext>
            </a:extLst>
          </p:cNvPr>
          <p:cNvSpPr>
            <a:spLocks noChangeArrowheads="1"/>
          </p:cNvSpPr>
          <p:nvPr/>
        </p:nvSpPr>
        <p:spPr bwMode="auto">
          <a:xfrm>
            <a:off x="7294638" y="1362569"/>
            <a:ext cx="2304000" cy="441441"/>
          </a:xfrm>
          <a:prstGeom prst="rect">
            <a:avLst/>
          </a:prstGeom>
          <a:solidFill>
            <a:schemeClr val="accent2">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3</a:t>
            </a:r>
          </a:p>
        </p:txBody>
      </p:sp>
      <p:sp>
        <p:nvSpPr>
          <p:cNvPr id="115" name="Rectangle 124">
            <a:extLst>
              <a:ext uri="{FF2B5EF4-FFF2-40B4-BE49-F238E27FC236}">
                <a16:creationId xmlns:a16="http://schemas.microsoft.com/office/drawing/2014/main" id="{EA44A921-A595-4AC8-B8EE-097B764B6F38}"/>
              </a:ext>
            </a:extLst>
          </p:cNvPr>
          <p:cNvSpPr>
            <a:spLocks noChangeArrowheads="1"/>
          </p:cNvSpPr>
          <p:nvPr/>
        </p:nvSpPr>
        <p:spPr bwMode="auto">
          <a:xfrm>
            <a:off x="7294638" y="356684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6" name="Rectangle 125">
            <a:extLst>
              <a:ext uri="{FF2B5EF4-FFF2-40B4-BE49-F238E27FC236}">
                <a16:creationId xmlns:a16="http://schemas.microsoft.com/office/drawing/2014/main" id="{1F311E0F-F37E-4A57-9EB9-D88089D01C41}"/>
              </a:ext>
            </a:extLst>
          </p:cNvPr>
          <p:cNvSpPr>
            <a:spLocks noChangeArrowheads="1"/>
          </p:cNvSpPr>
          <p:nvPr/>
        </p:nvSpPr>
        <p:spPr bwMode="auto">
          <a:xfrm>
            <a:off x="7294638" y="411442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7" name="Rectangle 131">
            <a:extLst>
              <a:ext uri="{FF2B5EF4-FFF2-40B4-BE49-F238E27FC236}">
                <a16:creationId xmlns:a16="http://schemas.microsoft.com/office/drawing/2014/main" id="{E54896B0-D8FC-4D72-808F-2BAD0DE3ABFE}"/>
              </a:ext>
            </a:extLst>
          </p:cNvPr>
          <p:cNvSpPr>
            <a:spLocks noChangeArrowheads="1"/>
          </p:cNvSpPr>
          <p:nvPr/>
        </p:nvSpPr>
        <p:spPr bwMode="auto">
          <a:xfrm>
            <a:off x="7294638" y="3125409"/>
            <a:ext cx="2304000" cy="441441"/>
          </a:xfrm>
          <a:prstGeom prst="rect">
            <a:avLst/>
          </a:prstGeom>
          <a:solidFill>
            <a:schemeClr val="accent1">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3</a:t>
            </a:r>
          </a:p>
        </p:txBody>
      </p:sp>
      <p:sp>
        <p:nvSpPr>
          <p:cNvPr id="118" name="Rectangle 80">
            <a:extLst>
              <a:ext uri="{FF2B5EF4-FFF2-40B4-BE49-F238E27FC236}">
                <a16:creationId xmlns:a16="http://schemas.microsoft.com/office/drawing/2014/main" id="{BCEA5465-4F4C-4BAE-BED3-B11A9D79DB92}"/>
              </a:ext>
            </a:extLst>
          </p:cNvPr>
          <p:cNvSpPr>
            <a:spLocks noChangeArrowheads="1"/>
          </p:cNvSpPr>
          <p:nvPr/>
        </p:nvSpPr>
        <p:spPr bwMode="auto">
          <a:xfrm>
            <a:off x="4993014"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9" name="Rectangle 81">
            <a:extLst>
              <a:ext uri="{FF2B5EF4-FFF2-40B4-BE49-F238E27FC236}">
                <a16:creationId xmlns:a16="http://schemas.microsoft.com/office/drawing/2014/main" id="{8D3A17AD-6628-493C-B760-B4D09791C0DD}"/>
              </a:ext>
            </a:extLst>
          </p:cNvPr>
          <p:cNvSpPr>
            <a:spLocks noChangeArrowheads="1"/>
          </p:cNvSpPr>
          <p:nvPr/>
        </p:nvSpPr>
        <p:spPr bwMode="auto">
          <a:xfrm>
            <a:off x="4993014"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0" name="Rectangle 90">
            <a:extLst>
              <a:ext uri="{FF2B5EF4-FFF2-40B4-BE49-F238E27FC236}">
                <a16:creationId xmlns:a16="http://schemas.microsoft.com/office/drawing/2014/main" id="{EAF100D6-1017-4FF4-A7D6-A3C373B8E8BE}"/>
              </a:ext>
            </a:extLst>
          </p:cNvPr>
          <p:cNvSpPr>
            <a:spLocks noChangeArrowheads="1"/>
          </p:cNvSpPr>
          <p:nvPr/>
        </p:nvSpPr>
        <p:spPr bwMode="auto">
          <a:xfrm>
            <a:off x="4993014" y="1362569"/>
            <a:ext cx="2304000" cy="441441"/>
          </a:xfrm>
          <a:prstGeom prst="rect">
            <a:avLst/>
          </a:prstGeom>
          <a:solidFill>
            <a:schemeClr val="accent2">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2</a:t>
            </a:r>
          </a:p>
        </p:txBody>
      </p:sp>
      <p:sp>
        <p:nvSpPr>
          <p:cNvPr id="121" name="Rectangle 122">
            <a:extLst>
              <a:ext uri="{FF2B5EF4-FFF2-40B4-BE49-F238E27FC236}">
                <a16:creationId xmlns:a16="http://schemas.microsoft.com/office/drawing/2014/main" id="{96A2F4A6-D918-4DB2-9091-F92B30B46D65}"/>
              </a:ext>
            </a:extLst>
          </p:cNvPr>
          <p:cNvSpPr>
            <a:spLocks noChangeArrowheads="1"/>
          </p:cNvSpPr>
          <p:nvPr/>
        </p:nvSpPr>
        <p:spPr bwMode="auto">
          <a:xfrm>
            <a:off x="4993014" y="356684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2" name="Rectangle 123">
            <a:extLst>
              <a:ext uri="{FF2B5EF4-FFF2-40B4-BE49-F238E27FC236}">
                <a16:creationId xmlns:a16="http://schemas.microsoft.com/office/drawing/2014/main" id="{2E357912-9350-46AE-9991-DADAE3EA0904}"/>
              </a:ext>
            </a:extLst>
          </p:cNvPr>
          <p:cNvSpPr>
            <a:spLocks noChangeArrowheads="1"/>
          </p:cNvSpPr>
          <p:nvPr/>
        </p:nvSpPr>
        <p:spPr bwMode="auto">
          <a:xfrm>
            <a:off x="4993014" y="411442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3" name="Rectangle 132">
            <a:extLst>
              <a:ext uri="{FF2B5EF4-FFF2-40B4-BE49-F238E27FC236}">
                <a16:creationId xmlns:a16="http://schemas.microsoft.com/office/drawing/2014/main" id="{A5F8387A-C971-4F28-A39B-1A24465CF91F}"/>
              </a:ext>
            </a:extLst>
          </p:cNvPr>
          <p:cNvSpPr>
            <a:spLocks noChangeArrowheads="1"/>
          </p:cNvSpPr>
          <p:nvPr/>
        </p:nvSpPr>
        <p:spPr bwMode="auto">
          <a:xfrm>
            <a:off x="4993014" y="3125409"/>
            <a:ext cx="2304000" cy="441441"/>
          </a:xfrm>
          <a:prstGeom prst="rect">
            <a:avLst/>
          </a:prstGeom>
          <a:solidFill>
            <a:schemeClr val="accent1">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2</a:t>
            </a:r>
          </a:p>
        </p:txBody>
      </p:sp>
      <p:sp>
        <p:nvSpPr>
          <p:cNvPr id="124" name="Rectangle 79">
            <a:extLst>
              <a:ext uri="{FF2B5EF4-FFF2-40B4-BE49-F238E27FC236}">
                <a16:creationId xmlns:a16="http://schemas.microsoft.com/office/drawing/2014/main" id="{637BE6E7-0034-460D-8A39-649CEC68B8A3}"/>
              </a:ext>
            </a:extLst>
          </p:cNvPr>
          <p:cNvSpPr>
            <a:spLocks noChangeArrowheads="1"/>
          </p:cNvSpPr>
          <p:nvPr/>
        </p:nvSpPr>
        <p:spPr bwMode="auto">
          <a:xfrm>
            <a:off x="2691390"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5" name="Rectangle 86">
            <a:extLst>
              <a:ext uri="{FF2B5EF4-FFF2-40B4-BE49-F238E27FC236}">
                <a16:creationId xmlns:a16="http://schemas.microsoft.com/office/drawing/2014/main" id="{D9603747-B123-49A9-93CB-847ADC489A69}"/>
              </a:ext>
            </a:extLst>
          </p:cNvPr>
          <p:cNvSpPr>
            <a:spLocks noChangeArrowheads="1"/>
          </p:cNvSpPr>
          <p:nvPr/>
        </p:nvSpPr>
        <p:spPr bwMode="auto">
          <a:xfrm>
            <a:off x="2691390"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6" name="Rectangle 91">
            <a:extLst>
              <a:ext uri="{FF2B5EF4-FFF2-40B4-BE49-F238E27FC236}">
                <a16:creationId xmlns:a16="http://schemas.microsoft.com/office/drawing/2014/main" id="{250EDA71-C321-45E5-BAAD-DC76C10975B0}"/>
              </a:ext>
            </a:extLst>
          </p:cNvPr>
          <p:cNvSpPr>
            <a:spLocks noChangeArrowheads="1"/>
          </p:cNvSpPr>
          <p:nvPr/>
        </p:nvSpPr>
        <p:spPr bwMode="auto">
          <a:xfrm>
            <a:off x="2691390" y="1362569"/>
            <a:ext cx="2304000" cy="441441"/>
          </a:xfrm>
          <a:prstGeom prst="rect">
            <a:avLst/>
          </a:prstGeom>
          <a:solidFill>
            <a:schemeClr val="accent2"/>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1</a:t>
            </a:r>
          </a:p>
        </p:txBody>
      </p:sp>
      <p:sp>
        <p:nvSpPr>
          <p:cNvPr id="127" name="Rectangle 121">
            <a:extLst>
              <a:ext uri="{FF2B5EF4-FFF2-40B4-BE49-F238E27FC236}">
                <a16:creationId xmlns:a16="http://schemas.microsoft.com/office/drawing/2014/main" id="{F0755349-9BC4-43BB-8084-67338EF9DAC8}"/>
              </a:ext>
            </a:extLst>
          </p:cNvPr>
          <p:cNvSpPr>
            <a:spLocks noChangeArrowheads="1"/>
          </p:cNvSpPr>
          <p:nvPr/>
        </p:nvSpPr>
        <p:spPr bwMode="auto">
          <a:xfrm>
            <a:off x="2691390" y="411442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8" name="Rectangle 128">
            <a:extLst>
              <a:ext uri="{FF2B5EF4-FFF2-40B4-BE49-F238E27FC236}">
                <a16:creationId xmlns:a16="http://schemas.microsoft.com/office/drawing/2014/main" id="{A5FC1693-47F7-4F74-9C28-E6EF340A173E}"/>
              </a:ext>
            </a:extLst>
          </p:cNvPr>
          <p:cNvSpPr>
            <a:spLocks noChangeArrowheads="1"/>
          </p:cNvSpPr>
          <p:nvPr/>
        </p:nvSpPr>
        <p:spPr bwMode="auto">
          <a:xfrm>
            <a:off x="2691390" y="356684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9" name="Rectangle 133">
            <a:extLst>
              <a:ext uri="{FF2B5EF4-FFF2-40B4-BE49-F238E27FC236}">
                <a16:creationId xmlns:a16="http://schemas.microsoft.com/office/drawing/2014/main" id="{F226D147-6C0D-4E0C-987B-93A920407596}"/>
              </a:ext>
            </a:extLst>
          </p:cNvPr>
          <p:cNvSpPr>
            <a:spLocks noChangeArrowheads="1"/>
          </p:cNvSpPr>
          <p:nvPr/>
        </p:nvSpPr>
        <p:spPr bwMode="auto">
          <a:xfrm>
            <a:off x="2691390" y="3125409"/>
            <a:ext cx="2304000" cy="441441"/>
          </a:xfrm>
          <a:prstGeom prst="rect">
            <a:avLst/>
          </a:prstGeom>
          <a:solidFill>
            <a:schemeClr val="accent1"/>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1</a:t>
            </a:r>
          </a:p>
        </p:txBody>
      </p:sp>
      <p:sp>
        <p:nvSpPr>
          <p:cNvPr id="130" name="Rectangle 87">
            <a:extLst>
              <a:ext uri="{FF2B5EF4-FFF2-40B4-BE49-F238E27FC236}">
                <a16:creationId xmlns:a16="http://schemas.microsoft.com/office/drawing/2014/main" id="{7DBAA2FF-59E0-4CD7-A060-B8D3E9D54C6D}"/>
              </a:ext>
            </a:extLst>
          </p:cNvPr>
          <p:cNvSpPr>
            <a:spLocks noChangeArrowheads="1"/>
          </p:cNvSpPr>
          <p:nvPr/>
        </p:nvSpPr>
        <p:spPr bwMode="auto">
          <a:xfrm>
            <a:off x="389766" y="1804009"/>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Option 1</a:t>
            </a:r>
          </a:p>
        </p:txBody>
      </p:sp>
      <p:sp>
        <p:nvSpPr>
          <p:cNvPr id="131" name="Rectangle 92">
            <a:extLst>
              <a:ext uri="{FF2B5EF4-FFF2-40B4-BE49-F238E27FC236}">
                <a16:creationId xmlns:a16="http://schemas.microsoft.com/office/drawing/2014/main" id="{2B248F0E-5076-4F34-991C-E3E4B69A2E88}"/>
              </a:ext>
            </a:extLst>
          </p:cNvPr>
          <p:cNvSpPr>
            <a:spLocks noChangeArrowheads="1"/>
          </p:cNvSpPr>
          <p:nvPr/>
        </p:nvSpPr>
        <p:spPr bwMode="auto">
          <a:xfrm>
            <a:off x="389766" y="136256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s</a:t>
            </a:r>
          </a:p>
        </p:txBody>
      </p:sp>
      <p:sp>
        <p:nvSpPr>
          <p:cNvPr id="132" name="Rectangle 93">
            <a:extLst>
              <a:ext uri="{FF2B5EF4-FFF2-40B4-BE49-F238E27FC236}">
                <a16:creationId xmlns:a16="http://schemas.microsoft.com/office/drawing/2014/main" id="{FC60E29A-DE9B-48E3-9912-FE0D7B8CB6AC}"/>
              </a:ext>
            </a:extLst>
          </p:cNvPr>
          <p:cNvSpPr>
            <a:spLocks noChangeArrowheads="1"/>
          </p:cNvSpPr>
          <p:nvPr/>
        </p:nvSpPr>
        <p:spPr bwMode="auto">
          <a:xfrm>
            <a:off x="389766" y="2351581"/>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Option 2</a:t>
            </a:r>
          </a:p>
        </p:txBody>
      </p:sp>
      <p:sp>
        <p:nvSpPr>
          <p:cNvPr id="133" name="Rectangle 129">
            <a:extLst>
              <a:ext uri="{FF2B5EF4-FFF2-40B4-BE49-F238E27FC236}">
                <a16:creationId xmlns:a16="http://schemas.microsoft.com/office/drawing/2014/main" id="{67D502E3-0509-4724-8124-919975965091}"/>
              </a:ext>
            </a:extLst>
          </p:cNvPr>
          <p:cNvSpPr>
            <a:spLocks noChangeArrowheads="1"/>
          </p:cNvSpPr>
          <p:nvPr/>
        </p:nvSpPr>
        <p:spPr bwMode="auto">
          <a:xfrm>
            <a:off x="389766" y="3566849"/>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Criterion 1</a:t>
            </a:r>
          </a:p>
        </p:txBody>
      </p:sp>
      <p:sp>
        <p:nvSpPr>
          <p:cNvPr id="134" name="Rectangle 134">
            <a:extLst>
              <a:ext uri="{FF2B5EF4-FFF2-40B4-BE49-F238E27FC236}">
                <a16:creationId xmlns:a16="http://schemas.microsoft.com/office/drawing/2014/main" id="{C5FCCFF8-B330-4A32-A2A1-C494038193B4}"/>
              </a:ext>
            </a:extLst>
          </p:cNvPr>
          <p:cNvSpPr>
            <a:spLocks noChangeArrowheads="1"/>
          </p:cNvSpPr>
          <p:nvPr/>
        </p:nvSpPr>
        <p:spPr bwMode="auto">
          <a:xfrm>
            <a:off x="389766" y="312540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a</a:t>
            </a:r>
          </a:p>
        </p:txBody>
      </p:sp>
      <p:sp>
        <p:nvSpPr>
          <p:cNvPr id="135" name="Rectangle 135">
            <a:extLst>
              <a:ext uri="{FF2B5EF4-FFF2-40B4-BE49-F238E27FC236}">
                <a16:creationId xmlns:a16="http://schemas.microsoft.com/office/drawing/2014/main" id="{FF35B9FB-7FA3-4A24-A1F9-0B91636ACDB5}"/>
              </a:ext>
            </a:extLst>
          </p:cNvPr>
          <p:cNvSpPr>
            <a:spLocks noChangeArrowheads="1"/>
          </p:cNvSpPr>
          <p:nvPr/>
        </p:nvSpPr>
        <p:spPr bwMode="auto">
          <a:xfrm>
            <a:off x="389766" y="4114421"/>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Criterion 2</a:t>
            </a:r>
          </a:p>
        </p:txBody>
      </p:sp>
      <p:sp>
        <p:nvSpPr>
          <p:cNvPr id="137" name="Rectangle 6">
            <a:extLst>
              <a:ext uri="{FF2B5EF4-FFF2-40B4-BE49-F238E27FC236}">
                <a16:creationId xmlns:a16="http://schemas.microsoft.com/office/drawing/2014/main" id="{19CA594C-CE1D-4332-9CFD-4CCFF72AC73C}"/>
              </a:ext>
            </a:extLst>
          </p:cNvPr>
          <p:cNvSpPr>
            <a:spLocks noChangeAspect="1" noChangeArrowheads="1"/>
          </p:cNvSpPr>
          <p:nvPr/>
        </p:nvSpPr>
        <p:spPr bwMode="auto">
          <a:xfrm>
            <a:off x="386847" y="4809096"/>
            <a:ext cx="557845"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Excellent</a:t>
            </a:r>
          </a:p>
        </p:txBody>
      </p:sp>
      <p:sp>
        <p:nvSpPr>
          <p:cNvPr id="139" name="Rectangle 23">
            <a:extLst>
              <a:ext uri="{FF2B5EF4-FFF2-40B4-BE49-F238E27FC236}">
                <a16:creationId xmlns:a16="http://schemas.microsoft.com/office/drawing/2014/main" id="{EEEF3F4D-5426-47B9-B75D-B7440BCDC2A8}"/>
              </a:ext>
            </a:extLst>
          </p:cNvPr>
          <p:cNvSpPr>
            <a:spLocks noChangeAspect="1" noChangeArrowheads="1"/>
          </p:cNvSpPr>
          <p:nvPr/>
        </p:nvSpPr>
        <p:spPr bwMode="auto">
          <a:xfrm>
            <a:off x="400561" y="5530800"/>
            <a:ext cx="583493"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Very high</a:t>
            </a:r>
          </a:p>
        </p:txBody>
      </p:sp>
      <p:sp>
        <p:nvSpPr>
          <p:cNvPr id="140" name="Rectangle 11">
            <a:extLst>
              <a:ext uri="{FF2B5EF4-FFF2-40B4-BE49-F238E27FC236}">
                <a16:creationId xmlns:a16="http://schemas.microsoft.com/office/drawing/2014/main" id="{3CF7DF2A-6E9A-44C0-AB09-A083C14C0D27}"/>
              </a:ext>
            </a:extLst>
          </p:cNvPr>
          <p:cNvSpPr>
            <a:spLocks noChangeAspect="1" noChangeArrowheads="1"/>
          </p:cNvSpPr>
          <p:nvPr/>
        </p:nvSpPr>
        <p:spPr bwMode="auto">
          <a:xfrm>
            <a:off x="1336665" y="4809096"/>
            <a:ext cx="338234"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Good</a:t>
            </a:r>
          </a:p>
        </p:txBody>
      </p:sp>
      <p:sp>
        <p:nvSpPr>
          <p:cNvPr id="142" name="Rectangle 28">
            <a:extLst>
              <a:ext uri="{FF2B5EF4-FFF2-40B4-BE49-F238E27FC236}">
                <a16:creationId xmlns:a16="http://schemas.microsoft.com/office/drawing/2014/main" id="{EFA6DA67-1542-43BC-A22A-1862C98C4762}"/>
              </a:ext>
            </a:extLst>
          </p:cNvPr>
          <p:cNvSpPr>
            <a:spLocks noChangeAspect="1" noChangeArrowheads="1"/>
          </p:cNvSpPr>
          <p:nvPr/>
        </p:nvSpPr>
        <p:spPr bwMode="auto">
          <a:xfrm>
            <a:off x="1360710" y="5530800"/>
            <a:ext cx="288541"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High</a:t>
            </a:r>
          </a:p>
        </p:txBody>
      </p:sp>
      <p:sp>
        <p:nvSpPr>
          <p:cNvPr id="143" name="Rectangle 9">
            <a:extLst>
              <a:ext uri="{FF2B5EF4-FFF2-40B4-BE49-F238E27FC236}">
                <a16:creationId xmlns:a16="http://schemas.microsoft.com/office/drawing/2014/main" id="{A7EBF1C8-D3FD-40DA-9D4E-4DE3F9D68525}"/>
              </a:ext>
            </a:extLst>
          </p:cNvPr>
          <p:cNvSpPr>
            <a:spLocks noChangeAspect="1" noChangeArrowheads="1"/>
          </p:cNvSpPr>
          <p:nvPr/>
        </p:nvSpPr>
        <p:spPr bwMode="auto">
          <a:xfrm flipH="1">
            <a:off x="3064857" y="4809096"/>
            <a:ext cx="282129"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Poor</a:t>
            </a:r>
          </a:p>
        </p:txBody>
      </p:sp>
      <p:sp>
        <p:nvSpPr>
          <p:cNvPr id="145" name="Rectangle 26">
            <a:extLst>
              <a:ext uri="{FF2B5EF4-FFF2-40B4-BE49-F238E27FC236}">
                <a16:creationId xmlns:a16="http://schemas.microsoft.com/office/drawing/2014/main" id="{423DF92F-E5FC-45AB-8A3A-AA65CEEA4EA2}"/>
              </a:ext>
            </a:extLst>
          </p:cNvPr>
          <p:cNvSpPr>
            <a:spLocks noChangeAspect="1" noChangeArrowheads="1"/>
          </p:cNvSpPr>
          <p:nvPr/>
        </p:nvSpPr>
        <p:spPr bwMode="auto">
          <a:xfrm flipH="1">
            <a:off x="3082490" y="5530800"/>
            <a:ext cx="251672"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Low</a:t>
            </a:r>
          </a:p>
        </p:txBody>
      </p:sp>
      <p:sp>
        <p:nvSpPr>
          <p:cNvPr id="146" name="Rectangle 8">
            <a:extLst>
              <a:ext uri="{FF2B5EF4-FFF2-40B4-BE49-F238E27FC236}">
                <a16:creationId xmlns:a16="http://schemas.microsoft.com/office/drawing/2014/main" id="{674128CB-0F3F-4CDF-B75C-79BCEE9522F8}"/>
              </a:ext>
            </a:extLst>
          </p:cNvPr>
          <p:cNvSpPr>
            <a:spLocks noChangeAspect="1" noChangeArrowheads="1"/>
          </p:cNvSpPr>
          <p:nvPr/>
        </p:nvSpPr>
        <p:spPr bwMode="auto">
          <a:xfrm>
            <a:off x="2020741" y="4809096"/>
            <a:ext cx="730969"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Satisfactory</a:t>
            </a:r>
          </a:p>
        </p:txBody>
      </p:sp>
      <p:sp>
        <p:nvSpPr>
          <p:cNvPr id="148" name="Rectangle 25">
            <a:extLst>
              <a:ext uri="{FF2B5EF4-FFF2-40B4-BE49-F238E27FC236}">
                <a16:creationId xmlns:a16="http://schemas.microsoft.com/office/drawing/2014/main" id="{EC2F074A-60AE-4325-A8C6-75D690B8B749}"/>
              </a:ext>
            </a:extLst>
          </p:cNvPr>
          <p:cNvSpPr>
            <a:spLocks noChangeAspect="1" noChangeArrowheads="1"/>
          </p:cNvSpPr>
          <p:nvPr/>
        </p:nvSpPr>
        <p:spPr bwMode="auto">
          <a:xfrm>
            <a:off x="2126539" y="5530800"/>
            <a:ext cx="495328"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Medium</a:t>
            </a:r>
          </a:p>
        </p:txBody>
      </p:sp>
      <p:sp>
        <p:nvSpPr>
          <p:cNvPr id="150" name="Rectangle 10">
            <a:extLst>
              <a:ext uri="{FF2B5EF4-FFF2-40B4-BE49-F238E27FC236}">
                <a16:creationId xmlns:a16="http://schemas.microsoft.com/office/drawing/2014/main" id="{B3754EE3-791D-4688-AA7D-736F92D2019B}"/>
              </a:ext>
            </a:extLst>
          </p:cNvPr>
          <p:cNvSpPr>
            <a:spLocks noChangeAspect="1" noChangeArrowheads="1"/>
          </p:cNvSpPr>
          <p:nvPr/>
        </p:nvSpPr>
        <p:spPr bwMode="auto">
          <a:xfrm>
            <a:off x="3712929" y="4809096"/>
            <a:ext cx="599523"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Very poor</a:t>
            </a:r>
          </a:p>
        </p:txBody>
      </p:sp>
      <p:sp>
        <p:nvSpPr>
          <p:cNvPr id="151" name="Rectangle 27">
            <a:extLst>
              <a:ext uri="{FF2B5EF4-FFF2-40B4-BE49-F238E27FC236}">
                <a16:creationId xmlns:a16="http://schemas.microsoft.com/office/drawing/2014/main" id="{A057E81D-9BBC-445E-8C97-EDEA684B2514}"/>
              </a:ext>
            </a:extLst>
          </p:cNvPr>
          <p:cNvSpPr>
            <a:spLocks noChangeAspect="1" noChangeArrowheads="1"/>
          </p:cNvSpPr>
          <p:nvPr/>
        </p:nvSpPr>
        <p:spPr bwMode="auto">
          <a:xfrm>
            <a:off x="3726555" y="5530800"/>
            <a:ext cx="559449" cy="153888"/>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000" u="sng" dirty="0">
                <a:solidFill>
                  <a:schemeClr val="tx1"/>
                </a:solidFill>
              </a:rPr>
              <a:t>Very low </a:t>
            </a:r>
          </a:p>
        </p:txBody>
      </p:sp>
      <p:grpSp>
        <p:nvGrpSpPr>
          <p:cNvPr id="158" name="Group 94">
            <a:extLst>
              <a:ext uri="{FF2B5EF4-FFF2-40B4-BE49-F238E27FC236}">
                <a16:creationId xmlns:a16="http://schemas.microsoft.com/office/drawing/2014/main" id="{FEB02DE6-B64D-44E9-BDEB-35251C15D185}"/>
              </a:ext>
            </a:extLst>
          </p:cNvPr>
          <p:cNvGrpSpPr>
            <a:grpSpLocks/>
          </p:cNvGrpSpPr>
          <p:nvPr/>
        </p:nvGrpSpPr>
        <p:grpSpPr bwMode="auto">
          <a:xfrm>
            <a:off x="2949873" y="2497426"/>
            <a:ext cx="252909" cy="248311"/>
            <a:chOff x="1387" y="1872"/>
            <a:chExt cx="209" cy="210"/>
          </a:xfrm>
        </p:grpSpPr>
        <p:sp>
          <p:nvSpPr>
            <p:cNvPr id="159" name="Oval 95">
              <a:extLst>
                <a:ext uri="{FF2B5EF4-FFF2-40B4-BE49-F238E27FC236}">
                  <a16:creationId xmlns:a16="http://schemas.microsoft.com/office/drawing/2014/main" id="{7B5641EA-2716-4304-8CD9-C16FAFBBD59C}"/>
                </a:ext>
              </a:extLst>
            </p:cNvPr>
            <p:cNvSpPr>
              <a:spLocks noChangeArrowheads="1"/>
            </p:cNvSpPr>
            <p:nvPr/>
          </p:nvSpPr>
          <p:spPr bwMode="auto">
            <a:xfrm>
              <a:off x="1387" y="1872"/>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0" name="Arc 96">
              <a:extLst>
                <a:ext uri="{FF2B5EF4-FFF2-40B4-BE49-F238E27FC236}">
                  <a16:creationId xmlns:a16="http://schemas.microsoft.com/office/drawing/2014/main" id="{CBB0DA26-4C54-4912-8622-DA9D68F67AA6}"/>
                </a:ext>
              </a:extLst>
            </p:cNvPr>
            <p:cNvSpPr>
              <a:spLocks/>
            </p:cNvSpPr>
            <p:nvPr/>
          </p:nvSpPr>
          <p:spPr bwMode="auto">
            <a:xfrm>
              <a:off x="1388" y="1872"/>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61" name="Group 97">
            <a:extLst>
              <a:ext uri="{FF2B5EF4-FFF2-40B4-BE49-F238E27FC236}">
                <a16:creationId xmlns:a16="http://schemas.microsoft.com/office/drawing/2014/main" id="{7AD8DD57-CEF6-48BF-A9A9-89AF1839CA32}"/>
              </a:ext>
            </a:extLst>
          </p:cNvPr>
          <p:cNvGrpSpPr>
            <a:grpSpLocks/>
          </p:cNvGrpSpPr>
          <p:nvPr/>
        </p:nvGrpSpPr>
        <p:grpSpPr bwMode="auto">
          <a:xfrm>
            <a:off x="5219342" y="1949854"/>
            <a:ext cx="251376" cy="248311"/>
            <a:chOff x="2444" y="1583"/>
            <a:chExt cx="209" cy="210"/>
          </a:xfrm>
        </p:grpSpPr>
        <p:sp>
          <p:nvSpPr>
            <p:cNvPr id="162" name="Oval 98">
              <a:extLst>
                <a:ext uri="{FF2B5EF4-FFF2-40B4-BE49-F238E27FC236}">
                  <a16:creationId xmlns:a16="http://schemas.microsoft.com/office/drawing/2014/main" id="{792FA480-A7FA-4534-9EB7-6906ECB34251}"/>
                </a:ext>
              </a:extLst>
            </p:cNvPr>
            <p:cNvSpPr>
              <a:spLocks noChangeArrowheads="1"/>
            </p:cNvSpPr>
            <p:nvPr/>
          </p:nvSpPr>
          <p:spPr bwMode="auto">
            <a:xfrm>
              <a:off x="2444" y="1583"/>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3" name="Arc 99">
              <a:extLst>
                <a:ext uri="{FF2B5EF4-FFF2-40B4-BE49-F238E27FC236}">
                  <a16:creationId xmlns:a16="http://schemas.microsoft.com/office/drawing/2014/main" id="{295F762C-3FEE-4BE5-8F9D-8ED457AE58AB}"/>
                </a:ext>
              </a:extLst>
            </p:cNvPr>
            <p:cNvSpPr>
              <a:spLocks/>
            </p:cNvSpPr>
            <p:nvPr/>
          </p:nvSpPr>
          <p:spPr bwMode="auto">
            <a:xfrm>
              <a:off x="2445" y="1583"/>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64" name="Group 100">
            <a:extLst>
              <a:ext uri="{FF2B5EF4-FFF2-40B4-BE49-F238E27FC236}">
                <a16:creationId xmlns:a16="http://schemas.microsoft.com/office/drawing/2014/main" id="{B695C903-0621-4F6F-9172-8A4637BDA49C}"/>
              </a:ext>
            </a:extLst>
          </p:cNvPr>
          <p:cNvGrpSpPr>
            <a:grpSpLocks/>
          </p:cNvGrpSpPr>
          <p:nvPr/>
        </p:nvGrpSpPr>
        <p:grpSpPr bwMode="auto">
          <a:xfrm>
            <a:off x="9838554" y="1949854"/>
            <a:ext cx="251376" cy="248311"/>
            <a:chOff x="4556" y="1584"/>
            <a:chExt cx="209" cy="210"/>
          </a:xfrm>
        </p:grpSpPr>
        <p:sp>
          <p:nvSpPr>
            <p:cNvPr id="165" name="Oval 101">
              <a:extLst>
                <a:ext uri="{FF2B5EF4-FFF2-40B4-BE49-F238E27FC236}">
                  <a16:creationId xmlns:a16="http://schemas.microsoft.com/office/drawing/2014/main" id="{623E338B-8668-4695-9C3B-16F39441DBE2}"/>
                </a:ext>
              </a:extLst>
            </p:cNvPr>
            <p:cNvSpPr>
              <a:spLocks noChangeArrowheads="1"/>
            </p:cNvSpPr>
            <p:nvPr/>
          </p:nvSpPr>
          <p:spPr bwMode="auto">
            <a:xfrm>
              <a:off x="4556" y="1584"/>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6" name="Arc 102">
              <a:extLst>
                <a:ext uri="{FF2B5EF4-FFF2-40B4-BE49-F238E27FC236}">
                  <a16:creationId xmlns:a16="http://schemas.microsoft.com/office/drawing/2014/main" id="{028BD4BF-989D-4836-A65C-AFBFF74DC2A5}"/>
                </a:ext>
              </a:extLst>
            </p:cNvPr>
            <p:cNvSpPr>
              <a:spLocks/>
            </p:cNvSpPr>
            <p:nvPr/>
          </p:nvSpPr>
          <p:spPr bwMode="auto">
            <a:xfrm>
              <a:off x="4557" y="1584"/>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67" name="Group 103">
            <a:extLst>
              <a:ext uri="{FF2B5EF4-FFF2-40B4-BE49-F238E27FC236}">
                <a16:creationId xmlns:a16="http://schemas.microsoft.com/office/drawing/2014/main" id="{401D217D-418F-4FBB-9D1A-E165EDF74E10}"/>
              </a:ext>
            </a:extLst>
          </p:cNvPr>
          <p:cNvGrpSpPr>
            <a:grpSpLocks/>
          </p:cNvGrpSpPr>
          <p:nvPr/>
        </p:nvGrpSpPr>
        <p:grpSpPr bwMode="auto">
          <a:xfrm>
            <a:off x="2949873" y="1949854"/>
            <a:ext cx="252909" cy="248311"/>
            <a:chOff x="1387" y="1584"/>
            <a:chExt cx="209" cy="210"/>
          </a:xfrm>
        </p:grpSpPr>
        <p:sp>
          <p:nvSpPr>
            <p:cNvPr id="168" name="Oval 104">
              <a:extLst>
                <a:ext uri="{FF2B5EF4-FFF2-40B4-BE49-F238E27FC236}">
                  <a16:creationId xmlns:a16="http://schemas.microsoft.com/office/drawing/2014/main" id="{0BD2C2A4-9722-4ECC-8587-71D18470B57F}"/>
                </a:ext>
              </a:extLst>
            </p:cNvPr>
            <p:cNvSpPr>
              <a:spLocks noChangeArrowheads="1"/>
            </p:cNvSpPr>
            <p:nvPr/>
          </p:nvSpPr>
          <p:spPr bwMode="auto">
            <a:xfrm>
              <a:off x="1387" y="1584"/>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69" name="Arc 105">
              <a:extLst>
                <a:ext uri="{FF2B5EF4-FFF2-40B4-BE49-F238E27FC236}">
                  <a16:creationId xmlns:a16="http://schemas.microsoft.com/office/drawing/2014/main" id="{10C935C9-A28A-43B2-ABB9-A925EAE25B09}"/>
                </a:ext>
              </a:extLst>
            </p:cNvPr>
            <p:cNvSpPr>
              <a:spLocks/>
            </p:cNvSpPr>
            <p:nvPr/>
          </p:nvSpPr>
          <p:spPr bwMode="auto">
            <a:xfrm>
              <a:off x="1492" y="1584"/>
              <a:ext cx="104" cy="21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70" name="Group 106">
            <a:extLst>
              <a:ext uri="{FF2B5EF4-FFF2-40B4-BE49-F238E27FC236}">
                <a16:creationId xmlns:a16="http://schemas.microsoft.com/office/drawing/2014/main" id="{71D78FE1-A2C1-4055-A548-815B0388A553}"/>
              </a:ext>
            </a:extLst>
          </p:cNvPr>
          <p:cNvGrpSpPr>
            <a:grpSpLocks/>
          </p:cNvGrpSpPr>
          <p:nvPr/>
        </p:nvGrpSpPr>
        <p:grpSpPr bwMode="auto">
          <a:xfrm>
            <a:off x="7520365" y="1949854"/>
            <a:ext cx="251376" cy="248311"/>
            <a:chOff x="3500" y="1580"/>
            <a:chExt cx="209" cy="210"/>
          </a:xfrm>
        </p:grpSpPr>
        <p:sp>
          <p:nvSpPr>
            <p:cNvPr id="171" name="Oval 107">
              <a:extLst>
                <a:ext uri="{FF2B5EF4-FFF2-40B4-BE49-F238E27FC236}">
                  <a16:creationId xmlns:a16="http://schemas.microsoft.com/office/drawing/2014/main" id="{62520134-A1A0-486E-88B6-5D1D38FBC596}"/>
                </a:ext>
              </a:extLst>
            </p:cNvPr>
            <p:cNvSpPr>
              <a:spLocks noChangeArrowheads="1"/>
            </p:cNvSpPr>
            <p:nvPr/>
          </p:nvSpPr>
          <p:spPr bwMode="auto">
            <a:xfrm>
              <a:off x="3500" y="1580"/>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72" name="Arc 108">
              <a:extLst>
                <a:ext uri="{FF2B5EF4-FFF2-40B4-BE49-F238E27FC236}">
                  <a16:creationId xmlns:a16="http://schemas.microsoft.com/office/drawing/2014/main" id="{5187016E-6E85-4EE3-82B4-9537660CFD68}"/>
                </a:ext>
              </a:extLst>
            </p:cNvPr>
            <p:cNvSpPr>
              <a:spLocks/>
            </p:cNvSpPr>
            <p:nvPr/>
          </p:nvSpPr>
          <p:spPr bwMode="auto">
            <a:xfrm>
              <a:off x="3605" y="1580"/>
              <a:ext cx="104" cy="21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73" name="Group 109">
            <a:extLst>
              <a:ext uri="{FF2B5EF4-FFF2-40B4-BE49-F238E27FC236}">
                <a16:creationId xmlns:a16="http://schemas.microsoft.com/office/drawing/2014/main" id="{B21FBB53-4DBB-4865-832B-E0508FE8DB79}"/>
              </a:ext>
            </a:extLst>
          </p:cNvPr>
          <p:cNvGrpSpPr>
            <a:grpSpLocks/>
          </p:cNvGrpSpPr>
          <p:nvPr/>
        </p:nvGrpSpPr>
        <p:grpSpPr bwMode="auto">
          <a:xfrm>
            <a:off x="7520365" y="2497426"/>
            <a:ext cx="251376" cy="248311"/>
            <a:chOff x="3500" y="1868"/>
            <a:chExt cx="209" cy="210"/>
          </a:xfrm>
        </p:grpSpPr>
        <p:sp>
          <p:nvSpPr>
            <p:cNvPr id="174" name="Oval 110">
              <a:extLst>
                <a:ext uri="{FF2B5EF4-FFF2-40B4-BE49-F238E27FC236}">
                  <a16:creationId xmlns:a16="http://schemas.microsoft.com/office/drawing/2014/main" id="{F2D281B7-AE68-4907-AEAC-CD0D4AF6DBAC}"/>
                </a:ext>
              </a:extLst>
            </p:cNvPr>
            <p:cNvSpPr>
              <a:spLocks noChangeArrowheads="1"/>
            </p:cNvSpPr>
            <p:nvPr/>
          </p:nvSpPr>
          <p:spPr bwMode="auto">
            <a:xfrm>
              <a:off x="3500" y="1868"/>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75" name="Arc 111">
              <a:extLst>
                <a:ext uri="{FF2B5EF4-FFF2-40B4-BE49-F238E27FC236}">
                  <a16:creationId xmlns:a16="http://schemas.microsoft.com/office/drawing/2014/main" id="{BB848CA4-6D5A-4167-9355-AE85B3945008}"/>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grpSp>
        <p:nvGrpSpPr>
          <p:cNvPr id="176" name="Group 112">
            <a:extLst>
              <a:ext uri="{FF2B5EF4-FFF2-40B4-BE49-F238E27FC236}">
                <a16:creationId xmlns:a16="http://schemas.microsoft.com/office/drawing/2014/main" id="{3EB9524B-9A3E-40A8-AE83-E32A9F642F41}"/>
              </a:ext>
            </a:extLst>
          </p:cNvPr>
          <p:cNvGrpSpPr>
            <a:grpSpLocks/>
          </p:cNvGrpSpPr>
          <p:nvPr/>
        </p:nvGrpSpPr>
        <p:grpSpPr bwMode="auto">
          <a:xfrm>
            <a:off x="5219342" y="2497426"/>
            <a:ext cx="251376" cy="248311"/>
            <a:chOff x="2444" y="1871"/>
            <a:chExt cx="209" cy="209"/>
          </a:xfrm>
        </p:grpSpPr>
        <p:sp>
          <p:nvSpPr>
            <p:cNvPr id="177" name="Oval 113">
              <a:extLst>
                <a:ext uri="{FF2B5EF4-FFF2-40B4-BE49-F238E27FC236}">
                  <a16:creationId xmlns:a16="http://schemas.microsoft.com/office/drawing/2014/main" id="{B55F534A-C3CF-4C1A-AA4A-EEAFA7691DDA}"/>
                </a:ext>
              </a:extLst>
            </p:cNvPr>
            <p:cNvSpPr>
              <a:spLocks noChangeArrowheads="1"/>
            </p:cNvSpPr>
            <p:nvPr/>
          </p:nvSpPr>
          <p:spPr bwMode="auto">
            <a:xfrm>
              <a:off x="2444" y="1871"/>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78" name="Arc 114">
              <a:extLst>
                <a:ext uri="{FF2B5EF4-FFF2-40B4-BE49-F238E27FC236}">
                  <a16:creationId xmlns:a16="http://schemas.microsoft.com/office/drawing/2014/main" id="{C50FE775-C47C-464B-A63C-A70220FAE967}"/>
                </a:ext>
              </a:extLst>
            </p:cNvPr>
            <p:cNvSpPr>
              <a:spLocks/>
            </p:cNvSpPr>
            <p:nvPr/>
          </p:nvSpPr>
          <p:spPr bwMode="auto">
            <a:xfrm>
              <a:off x="2549" y="1871"/>
              <a:ext cx="104" cy="10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79" name="Group 115">
            <a:extLst>
              <a:ext uri="{FF2B5EF4-FFF2-40B4-BE49-F238E27FC236}">
                <a16:creationId xmlns:a16="http://schemas.microsoft.com/office/drawing/2014/main" id="{731E14B7-CA2F-4E5B-9B36-77BEFD978420}"/>
              </a:ext>
            </a:extLst>
          </p:cNvPr>
          <p:cNvGrpSpPr>
            <a:grpSpLocks/>
          </p:cNvGrpSpPr>
          <p:nvPr/>
        </p:nvGrpSpPr>
        <p:grpSpPr bwMode="auto">
          <a:xfrm>
            <a:off x="9838554" y="2497426"/>
            <a:ext cx="251376" cy="248311"/>
            <a:chOff x="4556" y="1872"/>
            <a:chExt cx="209" cy="209"/>
          </a:xfrm>
        </p:grpSpPr>
        <p:sp>
          <p:nvSpPr>
            <p:cNvPr id="180" name="Oval 116">
              <a:extLst>
                <a:ext uri="{FF2B5EF4-FFF2-40B4-BE49-F238E27FC236}">
                  <a16:creationId xmlns:a16="http://schemas.microsoft.com/office/drawing/2014/main" id="{74C8503F-A2A6-4511-8346-2F0B155F98B9}"/>
                </a:ext>
              </a:extLst>
            </p:cNvPr>
            <p:cNvSpPr>
              <a:spLocks noChangeArrowheads="1"/>
            </p:cNvSpPr>
            <p:nvPr/>
          </p:nvSpPr>
          <p:spPr bwMode="auto">
            <a:xfrm>
              <a:off x="4556" y="1872"/>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81" name="Arc 117">
              <a:extLst>
                <a:ext uri="{FF2B5EF4-FFF2-40B4-BE49-F238E27FC236}">
                  <a16:creationId xmlns:a16="http://schemas.microsoft.com/office/drawing/2014/main" id="{619F371B-B068-487C-8B1C-CE10CE8DE71D}"/>
                </a:ext>
              </a:extLst>
            </p:cNvPr>
            <p:cNvSpPr>
              <a:spLocks/>
            </p:cNvSpPr>
            <p:nvPr/>
          </p:nvSpPr>
          <p:spPr bwMode="auto">
            <a:xfrm>
              <a:off x="4661" y="1872"/>
              <a:ext cx="104" cy="10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82" name="Group 136">
            <a:extLst>
              <a:ext uri="{FF2B5EF4-FFF2-40B4-BE49-F238E27FC236}">
                <a16:creationId xmlns:a16="http://schemas.microsoft.com/office/drawing/2014/main" id="{0C42B36D-5A4B-4BB8-A885-DB73F1E1C82C}"/>
              </a:ext>
            </a:extLst>
          </p:cNvPr>
          <p:cNvGrpSpPr>
            <a:grpSpLocks/>
          </p:cNvGrpSpPr>
          <p:nvPr/>
        </p:nvGrpSpPr>
        <p:grpSpPr bwMode="auto">
          <a:xfrm>
            <a:off x="2960986" y="4246175"/>
            <a:ext cx="252909" cy="248311"/>
            <a:chOff x="1387" y="1872"/>
            <a:chExt cx="209" cy="210"/>
          </a:xfrm>
        </p:grpSpPr>
        <p:sp>
          <p:nvSpPr>
            <p:cNvPr id="183" name="Oval 137">
              <a:extLst>
                <a:ext uri="{FF2B5EF4-FFF2-40B4-BE49-F238E27FC236}">
                  <a16:creationId xmlns:a16="http://schemas.microsoft.com/office/drawing/2014/main" id="{702318F9-982F-440C-A616-9EEE329950A7}"/>
                </a:ext>
              </a:extLst>
            </p:cNvPr>
            <p:cNvSpPr>
              <a:spLocks noChangeArrowheads="1"/>
            </p:cNvSpPr>
            <p:nvPr/>
          </p:nvSpPr>
          <p:spPr bwMode="auto">
            <a:xfrm>
              <a:off x="1387" y="1872"/>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84" name="Arc 138">
              <a:extLst>
                <a:ext uri="{FF2B5EF4-FFF2-40B4-BE49-F238E27FC236}">
                  <a16:creationId xmlns:a16="http://schemas.microsoft.com/office/drawing/2014/main" id="{DD3A2E4A-BE15-4619-8FB7-A6D2B3CD7DB9}"/>
                </a:ext>
              </a:extLst>
            </p:cNvPr>
            <p:cNvSpPr>
              <a:spLocks/>
            </p:cNvSpPr>
            <p:nvPr/>
          </p:nvSpPr>
          <p:spPr bwMode="auto">
            <a:xfrm>
              <a:off x="1388" y="1872"/>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85" name="Group 139">
            <a:extLst>
              <a:ext uri="{FF2B5EF4-FFF2-40B4-BE49-F238E27FC236}">
                <a16:creationId xmlns:a16="http://schemas.microsoft.com/office/drawing/2014/main" id="{32E085FE-A90D-41D6-A7B8-5702C3229387}"/>
              </a:ext>
            </a:extLst>
          </p:cNvPr>
          <p:cNvGrpSpPr>
            <a:grpSpLocks/>
          </p:cNvGrpSpPr>
          <p:nvPr/>
        </p:nvGrpSpPr>
        <p:grpSpPr bwMode="auto">
          <a:xfrm>
            <a:off x="5230455" y="3704723"/>
            <a:ext cx="251376" cy="248311"/>
            <a:chOff x="2444" y="1583"/>
            <a:chExt cx="209" cy="210"/>
          </a:xfrm>
        </p:grpSpPr>
        <p:sp>
          <p:nvSpPr>
            <p:cNvPr id="186" name="Oval 140">
              <a:extLst>
                <a:ext uri="{FF2B5EF4-FFF2-40B4-BE49-F238E27FC236}">
                  <a16:creationId xmlns:a16="http://schemas.microsoft.com/office/drawing/2014/main" id="{B9F7E287-B483-4A81-BA29-F34A9386C702}"/>
                </a:ext>
              </a:extLst>
            </p:cNvPr>
            <p:cNvSpPr>
              <a:spLocks noChangeArrowheads="1"/>
            </p:cNvSpPr>
            <p:nvPr/>
          </p:nvSpPr>
          <p:spPr bwMode="auto">
            <a:xfrm>
              <a:off x="2444" y="1583"/>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87" name="Arc 141">
              <a:extLst>
                <a:ext uri="{FF2B5EF4-FFF2-40B4-BE49-F238E27FC236}">
                  <a16:creationId xmlns:a16="http://schemas.microsoft.com/office/drawing/2014/main" id="{6B27C89F-5307-4EEC-8CFD-205BDD6FD067}"/>
                </a:ext>
              </a:extLst>
            </p:cNvPr>
            <p:cNvSpPr>
              <a:spLocks/>
            </p:cNvSpPr>
            <p:nvPr/>
          </p:nvSpPr>
          <p:spPr bwMode="auto">
            <a:xfrm>
              <a:off x="2445" y="1583"/>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88" name="Group 142">
            <a:extLst>
              <a:ext uri="{FF2B5EF4-FFF2-40B4-BE49-F238E27FC236}">
                <a16:creationId xmlns:a16="http://schemas.microsoft.com/office/drawing/2014/main" id="{64C5C4EF-E413-4323-B754-0A2DE5A78C64}"/>
              </a:ext>
            </a:extLst>
          </p:cNvPr>
          <p:cNvGrpSpPr>
            <a:grpSpLocks/>
          </p:cNvGrpSpPr>
          <p:nvPr/>
        </p:nvGrpSpPr>
        <p:grpSpPr bwMode="auto">
          <a:xfrm>
            <a:off x="9849667" y="3706256"/>
            <a:ext cx="251376" cy="248311"/>
            <a:chOff x="4556" y="1584"/>
            <a:chExt cx="209" cy="210"/>
          </a:xfrm>
        </p:grpSpPr>
        <p:sp>
          <p:nvSpPr>
            <p:cNvPr id="189" name="Oval 143">
              <a:extLst>
                <a:ext uri="{FF2B5EF4-FFF2-40B4-BE49-F238E27FC236}">
                  <a16:creationId xmlns:a16="http://schemas.microsoft.com/office/drawing/2014/main" id="{757F597F-1A19-4D83-A082-ED14C6905050}"/>
                </a:ext>
              </a:extLst>
            </p:cNvPr>
            <p:cNvSpPr>
              <a:spLocks noChangeArrowheads="1"/>
            </p:cNvSpPr>
            <p:nvPr/>
          </p:nvSpPr>
          <p:spPr bwMode="auto">
            <a:xfrm>
              <a:off x="4556" y="1584"/>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0" name="Arc 144">
              <a:extLst>
                <a:ext uri="{FF2B5EF4-FFF2-40B4-BE49-F238E27FC236}">
                  <a16:creationId xmlns:a16="http://schemas.microsoft.com/office/drawing/2014/main" id="{DD1EFF6A-7674-4E18-AA59-FE0CA905F202}"/>
                </a:ext>
              </a:extLst>
            </p:cNvPr>
            <p:cNvSpPr>
              <a:spLocks/>
            </p:cNvSpPr>
            <p:nvPr/>
          </p:nvSpPr>
          <p:spPr bwMode="auto">
            <a:xfrm>
              <a:off x="4557" y="1584"/>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91" name="Group 145">
            <a:extLst>
              <a:ext uri="{FF2B5EF4-FFF2-40B4-BE49-F238E27FC236}">
                <a16:creationId xmlns:a16="http://schemas.microsoft.com/office/drawing/2014/main" id="{C212837F-6C48-4EB5-8D8F-17D4107286D3}"/>
              </a:ext>
            </a:extLst>
          </p:cNvPr>
          <p:cNvGrpSpPr>
            <a:grpSpLocks/>
          </p:cNvGrpSpPr>
          <p:nvPr/>
        </p:nvGrpSpPr>
        <p:grpSpPr bwMode="auto">
          <a:xfrm>
            <a:off x="2960986" y="3706256"/>
            <a:ext cx="252909" cy="248311"/>
            <a:chOff x="1387" y="1584"/>
            <a:chExt cx="209" cy="210"/>
          </a:xfrm>
        </p:grpSpPr>
        <p:sp>
          <p:nvSpPr>
            <p:cNvPr id="192" name="Oval 146">
              <a:extLst>
                <a:ext uri="{FF2B5EF4-FFF2-40B4-BE49-F238E27FC236}">
                  <a16:creationId xmlns:a16="http://schemas.microsoft.com/office/drawing/2014/main" id="{D4C909C8-6A97-4D1E-B1F1-D4DF8437E6D8}"/>
                </a:ext>
              </a:extLst>
            </p:cNvPr>
            <p:cNvSpPr>
              <a:spLocks noChangeArrowheads="1"/>
            </p:cNvSpPr>
            <p:nvPr/>
          </p:nvSpPr>
          <p:spPr bwMode="auto">
            <a:xfrm>
              <a:off x="1387" y="1584"/>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3" name="Arc 147">
              <a:extLst>
                <a:ext uri="{FF2B5EF4-FFF2-40B4-BE49-F238E27FC236}">
                  <a16:creationId xmlns:a16="http://schemas.microsoft.com/office/drawing/2014/main" id="{C84FBE4C-C5E7-43F0-BC01-22ED5184AA2F}"/>
                </a:ext>
              </a:extLst>
            </p:cNvPr>
            <p:cNvSpPr>
              <a:spLocks/>
            </p:cNvSpPr>
            <p:nvPr/>
          </p:nvSpPr>
          <p:spPr bwMode="auto">
            <a:xfrm>
              <a:off x="1492" y="1584"/>
              <a:ext cx="104" cy="21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94" name="Group 148">
            <a:extLst>
              <a:ext uri="{FF2B5EF4-FFF2-40B4-BE49-F238E27FC236}">
                <a16:creationId xmlns:a16="http://schemas.microsoft.com/office/drawing/2014/main" id="{FE465BB3-3976-4FB8-9F75-C71207ABA277}"/>
              </a:ext>
            </a:extLst>
          </p:cNvPr>
          <p:cNvGrpSpPr>
            <a:grpSpLocks/>
          </p:cNvGrpSpPr>
          <p:nvPr/>
        </p:nvGrpSpPr>
        <p:grpSpPr bwMode="auto">
          <a:xfrm>
            <a:off x="7531478" y="3700125"/>
            <a:ext cx="251376" cy="248311"/>
            <a:chOff x="3500" y="1580"/>
            <a:chExt cx="209" cy="210"/>
          </a:xfrm>
        </p:grpSpPr>
        <p:sp>
          <p:nvSpPr>
            <p:cNvPr id="195" name="Oval 149">
              <a:extLst>
                <a:ext uri="{FF2B5EF4-FFF2-40B4-BE49-F238E27FC236}">
                  <a16:creationId xmlns:a16="http://schemas.microsoft.com/office/drawing/2014/main" id="{5561C27C-30A8-48BA-8354-A6E99F9184B2}"/>
                </a:ext>
              </a:extLst>
            </p:cNvPr>
            <p:cNvSpPr>
              <a:spLocks noChangeArrowheads="1"/>
            </p:cNvSpPr>
            <p:nvPr/>
          </p:nvSpPr>
          <p:spPr bwMode="auto">
            <a:xfrm>
              <a:off x="3500" y="1580"/>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6" name="Arc 150">
              <a:extLst>
                <a:ext uri="{FF2B5EF4-FFF2-40B4-BE49-F238E27FC236}">
                  <a16:creationId xmlns:a16="http://schemas.microsoft.com/office/drawing/2014/main" id="{2053CF27-EE55-4CF4-A78A-8898AF627387}"/>
                </a:ext>
              </a:extLst>
            </p:cNvPr>
            <p:cNvSpPr>
              <a:spLocks/>
            </p:cNvSpPr>
            <p:nvPr/>
          </p:nvSpPr>
          <p:spPr bwMode="auto">
            <a:xfrm>
              <a:off x="3605" y="1580"/>
              <a:ext cx="104" cy="21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197" name="Group 151">
            <a:extLst>
              <a:ext uri="{FF2B5EF4-FFF2-40B4-BE49-F238E27FC236}">
                <a16:creationId xmlns:a16="http://schemas.microsoft.com/office/drawing/2014/main" id="{CA986233-520C-45C5-9FC9-3544F6C95DDE}"/>
              </a:ext>
            </a:extLst>
          </p:cNvPr>
          <p:cNvGrpSpPr>
            <a:grpSpLocks/>
          </p:cNvGrpSpPr>
          <p:nvPr/>
        </p:nvGrpSpPr>
        <p:grpSpPr bwMode="auto">
          <a:xfrm>
            <a:off x="7531478" y="4240044"/>
            <a:ext cx="251376" cy="248311"/>
            <a:chOff x="3500" y="1868"/>
            <a:chExt cx="209" cy="210"/>
          </a:xfrm>
        </p:grpSpPr>
        <p:sp>
          <p:nvSpPr>
            <p:cNvPr id="198" name="Oval 152">
              <a:extLst>
                <a:ext uri="{FF2B5EF4-FFF2-40B4-BE49-F238E27FC236}">
                  <a16:creationId xmlns:a16="http://schemas.microsoft.com/office/drawing/2014/main" id="{D4A35A4D-2D67-498F-AFEA-541AF5F14411}"/>
                </a:ext>
              </a:extLst>
            </p:cNvPr>
            <p:cNvSpPr>
              <a:spLocks noChangeArrowheads="1"/>
            </p:cNvSpPr>
            <p:nvPr/>
          </p:nvSpPr>
          <p:spPr bwMode="auto">
            <a:xfrm>
              <a:off x="3500" y="1868"/>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199" name="Arc 153">
              <a:extLst>
                <a:ext uri="{FF2B5EF4-FFF2-40B4-BE49-F238E27FC236}">
                  <a16:creationId xmlns:a16="http://schemas.microsoft.com/office/drawing/2014/main" id="{6CE6B81E-FB75-42DF-8D05-10A5F51E8700}"/>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grpSp>
        <p:nvGrpSpPr>
          <p:cNvPr id="200" name="Group 154">
            <a:extLst>
              <a:ext uri="{FF2B5EF4-FFF2-40B4-BE49-F238E27FC236}">
                <a16:creationId xmlns:a16="http://schemas.microsoft.com/office/drawing/2014/main" id="{AB09D7C8-B41F-4939-A73D-C38840DBCB30}"/>
              </a:ext>
            </a:extLst>
          </p:cNvPr>
          <p:cNvGrpSpPr>
            <a:grpSpLocks/>
          </p:cNvGrpSpPr>
          <p:nvPr/>
        </p:nvGrpSpPr>
        <p:grpSpPr bwMode="auto">
          <a:xfrm>
            <a:off x="5230455" y="4243110"/>
            <a:ext cx="251376" cy="248311"/>
            <a:chOff x="2444" y="1871"/>
            <a:chExt cx="209" cy="209"/>
          </a:xfrm>
        </p:grpSpPr>
        <p:sp>
          <p:nvSpPr>
            <p:cNvPr id="201" name="Oval 155">
              <a:extLst>
                <a:ext uri="{FF2B5EF4-FFF2-40B4-BE49-F238E27FC236}">
                  <a16:creationId xmlns:a16="http://schemas.microsoft.com/office/drawing/2014/main" id="{CA55CDF1-83AF-44D6-B3DD-3E48AA70572C}"/>
                </a:ext>
              </a:extLst>
            </p:cNvPr>
            <p:cNvSpPr>
              <a:spLocks noChangeArrowheads="1"/>
            </p:cNvSpPr>
            <p:nvPr/>
          </p:nvSpPr>
          <p:spPr bwMode="auto">
            <a:xfrm>
              <a:off x="2444" y="1871"/>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02" name="Arc 156">
              <a:extLst>
                <a:ext uri="{FF2B5EF4-FFF2-40B4-BE49-F238E27FC236}">
                  <a16:creationId xmlns:a16="http://schemas.microsoft.com/office/drawing/2014/main" id="{F46013A7-6980-483F-81B1-AD0F0C284934}"/>
                </a:ext>
              </a:extLst>
            </p:cNvPr>
            <p:cNvSpPr>
              <a:spLocks/>
            </p:cNvSpPr>
            <p:nvPr/>
          </p:nvSpPr>
          <p:spPr bwMode="auto">
            <a:xfrm>
              <a:off x="2549" y="1871"/>
              <a:ext cx="104" cy="10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grpSp>
        <p:nvGrpSpPr>
          <p:cNvPr id="203" name="Group 157">
            <a:extLst>
              <a:ext uri="{FF2B5EF4-FFF2-40B4-BE49-F238E27FC236}">
                <a16:creationId xmlns:a16="http://schemas.microsoft.com/office/drawing/2014/main" id="{736861FD-E776-4191-8BE5-D843E2328014}"/>
              </a:ext>
            </a:extLst>
          </p:cNvPr>
          <p:cNvGrpSpPr>
            <a:grpSpLocks/>
          </p:cNvGrpSpPr>
          <p:nvPr/>
        </p:nvGrpSpPr>
        <p:grpSpPr bwMode="auto">
          <a:xfrm>
            <a:off x="9849667" y="4244642"/>
            <a:ext cx="251376" cy="248311"/>
            <a:chOff x="4556" y="1872"/>
            <a:chExt cx="209" cy="209"/>
          </a:xfrm>
        </p:grpSpPr>
        <p:sp>
          <p:nvSpPr>
            <p:cNvPr id="204" name="Oval 158">
              <a:extLst>
                <a:ext uri="{FF2B5EF4-FFF2-40B4-BE49-F238E27FC236}">
                  <a16:creationId xmlns:a16="http://schemas.microsoft.com/office/drawing/2014/main" id="{9D932998-08A7-4BE1-933B-4CF796C6BF11}"/>
                </a:ext>
              </a:extLst>
            </p:cNvPr>
            <p:cNvSpPr>
              <a:spLocks noChangeArrowheads="1"/>
            </p:cNvSpPr>
            <p:nvPr/>
          </p:nvSpPr>
          <p:spPr bwMode="auto">
            <a:xfrm>
              <a:off x="4556" y="1872"/>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05" name="Arc 159">
              <a:extLst>
                <a:ext uri="{FF2B5EF4-FFF2-40B4-BE49-F238E27FC236}">
                  <a16:creationId xmlns:a16="http://schemas.microsoft.com/office/drawing/2014/main" id="{D534997A-82E5-4DDF-B905-3BB7DF1A4E14}"/>
                </a:ext>
              </a:extLst>
            </p:cNvPr>
            <p:cNvSpPr>
              <a:spLocks/>
            </p:cNvSpPr>
            <p:nvPr/>
          </p:nvSpPr>
          <p:spPr bwMode="auto">
            <a:xfrm>
              <a:off x="4661" y="1872"/>
              <a:ext cx="104" cy="10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206" name="Group 151">
            <a:extLst>
              <a:ext uri="{FF2B5EF4-FFF2-40B4-BE49-F238E27FC236}">
                <a16:creationId xmlns:a16="http://schemas.microsoft.com/office/drawing/2014/main" id="{C91572F6-0529-D041-9DCE-E8B9AC17C940}"/>
              </a:ext>
            </a:extLst>
          </p:cNvPr>
          <p:cNvGrpSpPr>
            <a:grpSpLocks/>
          </p:cNvGrpSpPr>
          <p:nvPr/>
        </p:nvGrpSpPr>
        <p:grpSpPr bwMode="auto">
          <a:xfrm>
            <a:off x="3876153" y="5127930"/>
            <a:ext cx="251376" cy="248311"/>
            <a:chOff x="3500" y="1868"/>
            <a:chExt cx="209" cy="210"/>
          </a:xfrm>
        </p:grpSpPr>
        <p:sp>
          <p:nvSpPr>
            <p:cNvPr id="207" name="Oval 152">
              <a:extLst>
                <a:ext uri="{FF2B5EF4-FFF2-40B4-BE49-F238E27FC236}">
                  <a16:creationId xmlns:a16="http://schemas.microsoft.com/office/drawing/2014/main" id="{3D531D3C-925C-644D-93C0-005E1999FA38}"/>
                </a:ext>
              </a:extLst>
            </p:cNvPr>
            <p:cNvSpPr>
              <a:spLocks noChangeArrowheads="1"/>
            </p:cNvSpPr>
            <p:nvPr/>
          </p:nvSpPr>
          <p:spPr bwMode="auto">
            <a:xfrm>
              <a:off x="3500" y="1868"/>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08" name="Arc 153">
              <a:extLst>
                <a:ext uri="{FF2B5EF4-FFF2-40B4-BE49-F238E27FC236}">
                  <a16:creationId xmlns:a16="http://schemas.microsoft.com/office/drawing/2014/main" id="{0962826C-9712-864D-A4CA-3A604EFAC769}"/>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rgbClr val="000000"/>
            </a:solid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grpSp>
        <p:nvGrpSpPr>
          <p:cNvPr id="209" name="Group 151">
            <a:extLst>
              <a:ext uri="{FF2B5EF4-FFF2-40B4-BE49-F238E27FC236}">
                <a16:creationId xmlns:a16="http://schemas.microsoft.com/office/drawing/2014/main" id="{C821ECE8-88BD-204D-84BF-B9577284E2F0}"/>
              </a:ext>
            </a:extLst>
          </p:cNvPr>
          <p:cNvGrpSpPr>
            <a:grpSpLocks/>
          </p:cNvGrpSpPr>
          <p:nvPr/>
        </p:nvGrpSpPr>
        <p:grpSpPr bwMode="auto">
          <a:xfrm>
            <a:off x="548373" y="5127930"/>
            <a:ext cx="251376" cy="248311"/>
            <a:chOff x="3500" y="1868"/>
            <a:chExt cx="209" cy="210"/>
          </a:xfrm>
          <a:solidFill>
            <a:schemeClr val="accent6"/>
          </a:solidFill>
        </p:grpSpPr>
        <p:sp>
          <p:nvSpPr>
            <p:cNvPr id="210" name="Oval 152">
              <a:extLst>
                <a:ext uri="{FF2B5EF4-FFF2-40B4-BE49-F238E27FC236}">
                  <a16:creationId xmlns:a16="http://schemas.microsoft.com/office/drawing/2014/main" id="{F61DDB11-2BA8-3D44-8F39-19B6CDD100F4}"/>
                </a:ext>
              </a:extLst>
            </p:cNvPr>
            <p:cNvSpPr>
              <a:spLocks noChangeArrowheads="1"/>
            </p:cNvSpPr>
            <p:nvPr/>
          </p:nvSpPr>
          <p:spPr bwMode="auto">
            <a:xfrm>
              <a:off x="3500" y="1868"/>
              <a:ext cx="209" cy="209"/>
            </a:xfrm>
            <a:prstGeom prst="ellipse">
              <a:avLst/>
            </a:prstGeom>
            <a:grp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11" name="Arc 153">
              <a:extLst>
                <a:ext uri="{FF2B5EF4-FFF2-40B4-BE49-F238E27FC236}">
                  <a16:creationId xmlns:a16="http://schemas.microsoft.com/office/drawing/2014/main" id="{2B892D3B-43E3-4743-89A5-0F658AEA28B4}"/>
                </a:ext>
              </a:extLst>
            </p:cNvPr>
            <p:cNvSpPr>
              <a:spLocks/>
            </p:cNvSpPr>
            <p:nvPr/>
          </p:nvSpPr>
          <p:spPr bwMode="auto">
            <a:xfrm>
              <a:off x="3501" y="1868"/>
              <a:ext cx="208" cy="21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grp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grpSp>
        <p:nvGrpSpPr>
          <p:cNvPr id="212" name="Group 136">
            <a:extLst>
              <a:ext uri="{FF2B5EF4-FFF2-40B4-BE49-F238E27FC236}">
                <a16:creationId xmlns:a16="http://schemas.microsoft.com/office/drawing/2014/main" id="{3B2AB5A7-5D4B-6042-9B83-E5B1272B6E96}"/>
              </a:ext>
            </a:extLst>
          </p:cNvPr>
          <p:cNvGrpSpPr>
            <a:grpSpLocks/>
          </p:cNvGrpSpPr>
          <p:nvPr/>
        </p:nvGrpSpPr>
        <p:grpSpPr bwMode="auto">
          <a:xfrm>
            <a:off x="1366472" y="5127930"/>
            <a:ext cx="252909" cy="248311"/>
            <a:chOff x="1387" y="1872"/>
            <a:chExt cx="209" cy="210"/>
          </a:xfrm>
        </p:grpSpPr>
        <p:sp>
          <p:nvSpPr>
            <p:cNvPr id="213" name="Oval 137">
              <a:extLst>
                <a:ext uri="{FF2B5EF4-FFF2-40B4-BE49-F238E27FC236}">
                  <a16:creationId xmlns:a16="http://schemas.microsoft.com/office/drawing/2014/main" id="{127E031E-EDB8-354A-81FA-30710A312DE7}"/>
                </a:ext>
              </a:extLst>
            </p:cNvPr>
            <p:cNvSpPr>
              <a:spLocks noChangeArrowheads="1"/>
            </p:cNvSpPr>
            <p:nvPr/>
          </p:nvSpPr>
          <p:spPr bwMode="auto">
            <a:xfrm>
              <a:off x="1387" y="1872"/>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14" name="Arc 138">
              <a:extLst>
                <a:ext uri="{FF2B5EF4-FFF2-40B4-BE49-F238E27FC236}">
                  <a16:creationId xmlns:a16="http://schemas.microsoft.com/office/drawing/2014/main" id="{CADEAFBB-4BA9-AB49-8F40-3A4C4E33E7D0}"/>
                </a:ext>
              </a:extLst>
            </p:cNvPr>
            <p:cNvSpPr>
              <a:spLocks/>
            </p:cNvSpPr>
            <p:nvPr/>
          </p:nvSpPr>
          <p:spPr bwMode="auto">
            <a:xfrm>
              <a:off x="1388" y="1872"/>
              <a:ext cx="208" cy="21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215" name="Group 148">
            <a:extLst>
              <a:ext uri="{FF2B5EF4-FFF2-40B4-BE49-F238E27FC236}">
                <a16:creationId xmlns:a16="http://schemas.microsoft.com/office/drawing/2014/main" id="{AA8C55DE-CAF3-E94A-9EBA-38BDC9CD3AFF}"/>
              </a:ext>
            </a:extLst>
          </p:cNvPr>
          <p:cNvGrpSpPr>
            <a:grpSpLocks/>
          </p:cNvGrpSpPr>
          <p:nvPr/>
        </p:nvGrpSpPr>
        <p:grpSpPr bwMode="auto">
          <a:xfrm>
            <a:off x="2211126" y="5127930"/>
            <a:ext cx="251376" cy="248311"/>
            <a:chOff x="3500" y="1580"/>
            <a:chExt cx="209" cy="210"/>
          </a:xfrm>
        </p:grpSpPr>
        <p:sp>
          <p:nvSpPr>
            <p:cNvPr id="216" name="Oval 149">
              <a:extLst>
                <a:ext uri="{FF2B5EF4-FFF2-40B4-BE49-F238E27FC236}">
                  <a16:creationId xmlns:a16="http://schemas.microsoft.com/office/drawing/2014/main" id="{BE14195E-F754-6546-B27F-C9F25DCDBCD7}"/>
                </a:ext>
              </a:extLst>
            </p:cNvPr>
            <p:cNvSpPr>
              <a:spLocks noChangeArrowheads="1"/>
            </p:cNvSpPr>
            <p:nvPr/>
          </p:nvSpPr>
          <p:spPr bwMode="auto">
            <a:xfrm>
              <a:off x="3500" y="1580"/>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17" name="Arc 150">
              <a:extLst>
                <a:ext uri="{FF2B5EF4-FFF2-40B4-BE49-F238E27FC236}">
                  <a16:creationId xmlns:a16="http://schemas.microsoft.com/office/drawing/2014/main" id="{FE05A54D-584C-D94F-B636-A3E66F712FAA}"/>
                </a:ext>
              </a:extLst>
            </p:cNvPr>
            <p:cNvSpPr>
              <a:spLocks/>
            </p:cNvSpPr>
            <p:nvPr/>
          </p:nvSpPr>
          <p:spPr bwMode="auto">
            <a:xfrm>
              <a:off x="3605" y="1580"/>
              <a:ext cx="104" cy="21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6"/>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grpSp>
      <p:grpSp>
        <p:nvGrpSpPr>
          <p:cNvPr id="218" name="Group 154">
            <a:extLst>
              <a:ext uri="{FF2B5EF4-FFF2-40B4-BE49-F238E27FC236}">
                <a16:creationId xmlns:a16="http://schemas.microsoft.com/office/drawing/2014/main" id="{75D69BA7-A2AB-4043-A958-83E0F8694570}"/>
              </a:ext>
            </a:extLst>
          </p:cNvPr>
          <p:cNvGrpSpPr>
            <a:grpSpLocks/>
          </p:cNvGrpSpPr>
          <p:nvPr/>
        </p:nvGrpSpPr>
        <p:grpSpPr bwMode="auto">
          <a:xfrm>
            <a:off x="3062736" y="5127930"/>
            <a:ext cx="251376" cy="248311"/>
            <a:chOff x="2444" y="1871"/>
            <a:chExt cx="209" cy="209"/>
          </a:xfrm>
        </p:grpSpPr>
        <p:sp>
          <p:nvSpPr>
            <p:cNvPr id="219" name="Oval 155">
              <a:extLst>
                <a:ext uri="{FF2B5EF4-FFF2-40B4-BE49-F238E27FC236}">
                  <a16:creationId xmlns:a16="http://schemas.microsoft.com/office/drawing/2014/main" id="{AE7364AF-22F7-EA47-A382-4A0907353663}"/>
                </a:ext>
              </a:extLst>
            </p:cNvPr>
            <p:cNvSpPr>
              <a:spLocks noChangeArrowheads="1"/>
            </p:cNvSpPr>
            <p:nvPr/>
          </p:nvSpPr>
          <p:spPr bwMode="auto">
            <a:xfrm>
              <a:off x="2444" y="1871"/>
              <a:ext cx="209" cy="209"/>
            </a:xfrm>
            <a:prstGeom prst="ellipse">
              <a:avLst/>
            </a:prstGeom>
            <a:solidFill>
              <a:srgbClr val="FFFFFF"/>
            </a:solidFill>
            <a:ln w="6350">
              <a:solidFill>
                <a:schemeClr val="accent6"/>
              </a:solidFill>
              <a:round/>
              <a:headEnd type="none" w="sm" len="sm"/>
              <a:tailEnd type="none" w="sm" len="sm"/>
            </a:ln>
            <a:effectLst/>
          </p:spPr>
          <p:txBody>
            <a:bodyPr wrap="none" lIns="72000" tIns="72000" rIns="72000" bIns="72000" anchor="ctr"/>
            <a:lstStyle/>
            <a:p>
              <a:endParaRPr lang="de-DE" dirty="0"/>
            </a:p>
          </p:txBody>
        </p:sp>
        <p:sp>
          <p:nvSpPr>
            <p:cNvPr id="220" name="Arc 156">
              <a:extLst>
                <a:ext uri="{FF2B5EF4-FFF2-40B4-BE49-F238E27FC236}">
                  <a16:creationId xmlns:a16="http://schemas.microsoft.com/office/drawing/2014/main" id="{5E4329C7-821C-0544-854F-036B3AB11DAE}"/>
                </a:ext>
              </a:extLst>
            </p:cNvPr>
            <p:cNvSpPr>
              <a:spLocks/>
            </p:cNvSpPr>
            <p:nvPr/>
          </p:nvSpPr>
          <p:spPr bwMode="auto">
            <a:xfrm>
              <a:off x="2549" y="1871"/>
              <a:ext cx="104" cy="10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6"/>
            </a:solidFill>
            <a:ln w="6350">
              <a:solidFill>
                <a:schemeClr val="folHlink"/>
              </a:solidFill>
              <a:round/>
              <a:headEnd type="none" w="sm" len="sm"/>
              <a:tailEnd type="none" w="sm" len="sm"/>
            </a:ln>
            <a:effectLst/>
          </p:spPr>
          <p:txBody>
            <a:bodyPr wrap="none" lIns="72000" tIns="72000" rIns="72000" bIns="72000" anchor="ctr"/>
            <a:lstStyle/>
            <a:p>
              <a:endParaRPr lang="de-DE" dirty="0"/>
            </a:p>
          </p:txBody>
        </p:sp>
      </p:grpSp>
    </p:spTree>
    <p:extLst>
      <p:ext uri="{BB962C8B-B14F-4D97-AF65-F5344CB8AC3E}">
        <p14:creationId xmlns:p14="http://schemas.microsoft.com/office/powerpoint/2010/main" val="124685559"/>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coring 1 – Arrows</a:t>
            </a:r>
          </a:p>
        </p:txBody>
      </p:sp>
      <p:sp>
        <p:nvSpPr>
          <p:cNvPr id="4" name="Freeform: Shape 3">
            <a:hlinkClick r:id="rId2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7" name="Rectangle 6">
            <a:extLst>
              <a:ext uri="{FF2B5EF4-FFF2-40B4-BE49-F238E27FC236}">
                <a16:creationId xmlns:a16="http://schemas.microsoft.com/office/drawing/2014/main" id="{6BDA0C76-3D85-4031-9BB3-2F3E2834F439}"/>
              </a:ext>
            </a:extLst>
          </p:cNvPr>
          <p:cNvSpPr>
            <a:spLocks noChangeAspect="1" noChangeArrowheads="1"/>
          </p:cNvSpPr>
          <p:nvPr/>
        </p:nvSpPr>
        <p:spPr bwMode="auto">
          <a:xfrm>
            <a:off x="341856" y="5152971"/>
            <a:ext cx="557845"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Excellent</a:t>
            </a:r>
          </a:p>
        </p:txBody>
      </p:sp>
      <p:sp>
        <p:nvSpPr>
          <p:cNvPr id="38" name="Rectangle 11">
            <a:extLst>
              <a:ext uri="{FF2B5EF4-FFF2-40B4-BE49-F238E27FC236}">
                <a16:creationId xmlns:a16="http://schemas.microsoft.com/office/drawing/2014/main" id="{241A6279-54A7-4811-9774-6D7F734DAC1B}"/>
              </a:ext>
            </a:extLst>
          </p:cNvPr>
          <p:cNvSpPr>
            <a:spLocks noChangeAspect="1" noChangeArrowheads="1"/>
          </p:cNvSpPr>
          <p:nvPr/>
        </p:nvSpPr>
        <p:spPr bwMode="auto">
          <a:xfrm>
            <a:off x="1291674" y="5152971"/>
            <a:ext cx="338234"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Good</a:t>
            </a:r>
          </a:p>
        </p:txBody>
      </p:sp>
      <p:sp>
        <p:nvSpPr>
          <p:cNvPr id="39" name="Rectangle 9">
            <a:extLst>
              <a:ext uri="{FF2B5EF4-FFF2-40B4-BE49-F238E27FC236}">
                <a16:creationId xmlns:a16="http://schemas.microsoft.com/office/drawing/2014/main" id="{9E3A3971-5389-40B1-9914-C3BBE1D41B1D}"/>
              </a:ext>
            </a:extLst>
          </p:cNvPr>
          <p:cNvSpPr>
            <a:spLocks noChangeAspect="1" noChangeArrowheads="1"/>
          </p:cNvSpPr>
          <p:nvPr/>
        </p:nvSpPr>
        <p:spPr bwMode="auto">
          <a:xfrm flipH="1">
            <a:off x="3019866" y="5152971"/>
            <a:ext cx="282129"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Poor</a:t>
            </a:r>
          </a:p>
        </p:txBody>
      </p:sp>
      <p:sp>
        <p:nvSpPr>
          <p:cNvPr id="40" name="Rectangle 8">
            <a:extLst>
              <a:ext uri="{FF2B5EF4-FFF2-40B4-BE49-F238E27FC236}">
                <a16:creationId xmlns:a16="http://schemas.microsoft.com/office/drawing/2014/main" id="{41E3C704-31D5-4DC2-89B1-C47D6107AC24}"/>
              </a:ext>
            </a:extLst>
          </p:cNvPr>
          <p:cNvSpPr>
            <a:spLocks noChangeAspect="1" noChangeArrowheads="1"/>
          </p:cNvSpPr>
          <p:nvPr/>
        </p:nvSpPr>
        <p:spPr bwMode="auto">
          <a:xfrm>
            <a:off x="1975750" y="5152971"/>
            <a:ext cx="730969"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Satisfactory</a:t>
            </a:r>
          </a:p>
        </p:txBody>
      </p:sp>
      <p:sp>
        <p:nvSpPr>
          <p:cNvPr id="41" name="Rectangle 10">
            <a:extLst>
              <a:ext uri="{FF2B5EF4-FFF2-40B4-BE49-F238E27FC236}">
                <a16:creationId xmlns:a16="http://schemas.microsoft.com/office/drawing/2014/main" id="{40F3085F-0815-4ACF-9153-719277E21E4E}"/>
              </a:ext>
            </a:extLst>
          </p:cNvPr>
          <p:cNvSpPr>
            <a:spLocks noChangeAspect="1" noChangeArrowheads="1"/>
          </p:cNvSpPr>
          <p:nvPr/>
        </p:nvSpPr>
        <p:spPr bwMode="auto">
          <a:xfrm>
            <a:off x="3667938" y="5152971"/>
            <a:ext cx="599523"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Very poor</a:t>
            </a:r>
          </a:p>
        </p:txBody>
      </p:sp>
      <p:grpSp>
        <p:nvGrpSpPr>
          <p:cNvPr id="42" name="Group 216">
            <a:extLst>
              <a:ext uri="{FF2B5EF4-FFF2-40B4-BE49-F238E27FC236}">
                <a16:creationId xmlns:a16="http://schemas.microsoft.com/office/drawing/2014/main" id="{82E46F59-FA93-44C7-ACD1-22ED68594703}"/>
              </a:ext>
            </a:extLst>
          </p:cNvPr>
          <p:cNvGrpSpPr>
            <a:grpSpLocks/>
          </p:cNvGrpSpPr>
          <p:nvPr>
            <p:custDataLst>
              <p:tags r:id="rId1"/>
            </p:custDataLst>
          </p:nvPr>
        </p:nvGrpSpPr>
        <p:grpSpPr bwMode="auto">
          <a:xfrm>
            <a:off x="507323" y="5354288"/>
            <a:ext cx="141050" cy="303959"/>
            <a:chOff x="1870" y="1711"/>
            <a:chExt cx="154" cy="340"/>
          </a:xfrm>
          <a:solidFill>
            <a:schemeClr val="tx2">
              <a:lumMod val="60000"/>
              <a:lumOff val="40000"/>
            </a:schemeClr>
          </a:solidFill>
        </p:grpSpPr>
        <p:sp>
          <p:nvSpPr>
            <p:cNvPr id="55" name="Arc 217">
              <a:extLst>
                <a:ext uri="{FF2B5EF4-FFF2-40B4-BE49-F238E27FC236}">
                  <a16:creationId xmlns:a16="http://schemas.microsoft.com/office/drawing/2014/main" id="{806E5D95-A251-4177-B50B-C1ED58571183}"/>
                </a:ext>
              </a:extLst>
            </p:cNvPr>
            <p:cNvSpPr>
              <a:spLocks/>
            </p:cNvSpPr>
            <p:nvPr/>
          </p:nvSpPr>
          <p:spPr bwMode="auto">
            <a:xfrm flipH="1">
              <a:off x="1870" y="1724"/>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6" name="AutoShape 218">
              <a:extLst>
                <a:ext uri="{FF2B5EF4-FFF2-40B4-BE49-F238E27FC236}">
                  <a16:creationId xmlns:a16="http://schemas.microsoft.com/office/drawing/2014/main" id="{0E6B32E7-CF79-4630-B94F-D8634904508E}"/>
                </a:ext>
              </a:extLst>
            </p:cNvPr>
            <p:cNvSpPr>
              <a:spLocks noChangeArrowheads="1"/>
            </p:cNvSpPr>
            <p:nvPr/>
          </p:nvSpPr>
          <p:spPr bwMode="auto">
            <a:xfrm>
              <a:off x="1920" y="1711"/>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43" name="Group 219">
            <a:extLst>
              <a:ext uri="{FF2B5EF4-FFF2-40B4-BE49-F238E27FC236}">
                <a16:creationId xmlns:a16="http://schemas.microsoft.com/office/drawing/2014/main" id="{58FA17AD-42BA-44EB-A6F3-64DFDF79FEBE}"/>
              </a:ext>
            </a:extLst>
          </p:cNvPr>
          <p:cNvGrpSpPr>
            <a:grpSpLocks/>
          </p:cNvGrpSpPr>
          <p:nvPr>
            <p:custDataLst>
              <p:tags r:id="rId2"/>
            </p:custDataLst>
          </p:nvPr>
        </p:nvGrpSpPr>
        <p:grpSpPr bwMode="auto">
          <a:xfrm>
            <a:off x="3105966" y="5349966"/>
            <a:ext cx="95254" cy="303959"/>
            <a:chOff x="3043" y="1710"/>
            <a:chExt cx="104" cy="340"/>
          </a:xfrm>
          <a:solidFill>
            <a:schemeClr val="tx2">
              <a:lumMod val="60000"/>
              <a:lumOff val="40000"/>
            </a:schemeClr>
          </a:solidFill>
        </p:grpSpPr>
        <p:sp>
          <p:nvSpPr>
            <p:cNvPr id="53" name="Arc 220">
              <a:extLst>
                <a:ext uri="{FF2B5EF4-FFF2-40B4-BE49-F238E27FC236}">
                  <a16:creationId xmlns:a16="http://schemas.microsoft.com/office/drawing/2014/main" id="{DB6A8856-9717-486B-8A52-F82FBEBDEE67}"/>
                </a:ext>
              </a:extLst>
            </p:cNvPr>
            <p:cNvSpPr>
              <a:spLocks/>
            </p:cNvSpPr>
            <p:nvPr/>
          </p:nvSpPr>
          <p:spPr bwMode="auto">
            <a:xfrm rot="8953712" flipH="1">
              <a:off x="3096" y="1726"/>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4" name="AutoShape 221">
              <a:extLst>
                <a:ext uri="{FF2B5EF4-FFF2-40B4-BE49-F238E27FC236}">
                  <a16:creationId xmlns:a16="http://schemas.microsoft.com/office/drawing/2014/main" id="{F4FBA20C-E2B3-410C-B0F3-6DA16C15EA2D}"/>
                </a:ext>
              </a:extLst>
            </p:cNvPr>
            <p:cNvSpPr>
              <a:spLocks noChangeArrowheads="1"/>
            </p:cNvSpPr>
            <p:nvPr/>
          </p:nvSpPr>
          <p:spPr bwMode="auto">
            <a:xfrm rot="8953712">
              <a:off x="3043" y="1710"/>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44" name="Group 222">
            <a:extLst>
              <a:ext uri="{FF2B5EF4-FFF2-40B4-BE49-F238E27FC236}">
                <a16:creationId xmlns:a16="http://schemas.microsoft.com/office/drawing/2014/main" id="{3B961F22-A19B-4523-A35A-6B94F6F4AE12}"/>
              </a:ext>
            </a:extLst>
          </p:cNvPr>
          <p:cNvGrpSpPr>
            <a:grpSpLocks/>
          </p:cNvGrpSpPr>
          <p:nvPr>
            <p:custDataLst>
              <p:tags r:id="rId3"/>
            </p:custDataLst>
          </p:nvPr>
        </p:nvGrpSpPr>
        <p:grpSpPr bwMode="auto">
          <a:xfrm>
            <a:off x="1397694" y="5354288"/>
            <a:ext cx="95254" cy="303959"/>
            <a:chOff x="4165" y="1707"/>
            <a:chExt cx="104" cy="340"/>
          </a:xfrm>
          <a:solidFill>
            <a:schemeClr val="tx2">
              <a:lumMod val="60000"/>
              <a:lumOff val="40000"/>
            </a:schemeClr>
          </a:solidFill>
        </p:grpSpPr>
        <p:sp>
          <p:nvSpPr>
            <p:cNvPr id="51" name="Arc 223">
              <a:extLst>
                <a:ext uri="{FF2B5EF4-FFF2-40B4-BE49-F238E27FC236}">
                  <a16:creationId xmlns:a16="http://schemas.microsoft.com/office/drawing/2014/main" id="{FDABE480-076F-4D1C-90CC-54FB1D967448}"/>
                </a:ext>
              </a:extLst>
            </p:cNvPr>
            <p:cNvSpPr>
              <a:spLocks/>
            </p:cNvSpPr>
            <p:nvPr/>
          </p:nvSpPr>
          <p:spPr bwMode="auto">
            <a:xfrm rot="12646288" flipH="1" flipV="1">
              <a:off x="4219" y="1721"/>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2" name="AutoShape 224">
              <a:extLst>
                <a:ext uri="{FF2B5EF4-FFF2-40B4-BE49-F238E27FC236}">
                  <a16:creationId xmlns:a16="http://schemas.microsoft.com/office/drawing/2014/main" id="{31A15414-E7D2-4C25-B4F9-99242993FB09}"/>
                </a:ext>
              </a:extLst>
            </p:cNvPr>
            <p:cNvSpPr>
              <a:spLocks noChangeArrowheads="1"/>
            </p:cNvSpPr>
            <p:nvPr/>
          </p:nvSpPr>
          <p:spPr bwMode="auto">
            <a:xfrm rot="12646288" flipV="1">
              <a:off x="4165" y="1707"/>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45" name="Group 225">
            <a:extLst>
              <a:ext uri="{FF2B5EF4-FFF2-40B4-BE49-F238E27FC236}">
                <a16:creationId xmlns:a16="http://schemas.microsoft.com/office/drawing/2014/main" id="{4A7668E5-5FBA-4A80-954F-6667F2BEDE38}"/>
              </a:ext>
            </a:extLst>
          </p:cNvPr>
          <p:cNvGrpSpPr>
            <a:grpSpLocks/>
          </p:cNvGrpSpPr>
          <p:nvPr>
            <p:custDataLst>
              <p:tags r:id="rId4"/>
            </p:custDataLst>
          </p:nvPr>
        </p:nvGrpSpPr>
        <p:grpSpPr bwMode="auto">
          <a:xfrm>
            <a:off x="3897729" y="5354288"/>
            <a:ext cx="95254" cy="303959"/>
            <a:chOff x="5291" y="1711"/>
            <a:chExt cx="104" cy="340"/>
          </a:xfrm>
          <a:solidFill>
            <a:schemeClr val="tx2">
              <a:lumMod val="60000"/>
              <a:lumOff val="40000"/>
            </a:schemeClr>
          </a:solidFill>
        </p:grpSpPr>
        <p:sp>
          <p:nvSpPr>
            <p:cNvPr id="49" name="Arc 226">
              <a:extLst>
                <a:ext uri="{FF2B5EF4-FFF2-40B4-BE49-F238E27FC236}">
                  <a16:creationId xmlns:a16="http://schemas.microsoft.com/office/drawing/2014/main" id="{B921A5C0-1A35-4735-945C-EB89B880EBC6}"/>
                </a:ext>
              </a:extLst>
            </p:cNvPr>
            <p:cNvSpPr>
              <a:spLocks/>
            </p:cNvSpPr>
            <p:nvPr/>
          </p:nvSpPr>
          <p:spPr bwMode="auto">
            <a:xfrm rot="10800000" flipH="1">
              <a:off x="5342" y="1727"/>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0" name="AutoShape 227">
              <a:extLst>
                <a:ext uri="{FF2B5EF4-FFF2-40B4-BE49-F238E27FC236}">
                  <a16:creationId xmlns:a16="http://schemas.microsoft.com/office/drawing/2014/main" id="{871DD199-E2D6-475C-82C5-7C5F28C81EE9}"/>
                </a:ext>
              </a:extLst>
            </p:cNvPr>
            <p:cNvSpPr>
              <a:spLocks noChangeArrowheads="1"/>
            </p:cNvSpPr>
            <p:nvPr/>
          </p:nvSpPr>
          <p:spPr bwMode="auto">
            <a:xfrm rot="10800000">
              <a:off x="5291" y="1711"/>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46" name="Group 232">
            <a:extLst>
              <a:ext uri="{FF2B5EF4-FFF2-40B4-BE49-F238E27FC236}">
                <a16:creationId xmlns:a16="http://schemas.microsoft.com/office/drawing/2014/main" id="{D5010201-17A6-4C04-BEEE-51F7FF29A521}"/>
              </a:ext>
            </a:extLst>
          </p:cNvPr>
          <p:cNvGrpSpPr>
            <a:grpSpLocks/>
          </p:cNvGrpSpPr>
          <p:nvPr/>
        </p:nvGrpSpPr>
        <p:grpSpPr bwMode="auto">
          <a:xfrm rot="18000000">
            <a:off x="2261475" y="5354863"/>
            <a:ext cx="95254" cy="303959"/>
            <a:chOff x="3043" y="1710"/>
            <a:chExt cx="104" cy="340"/>
          </a:xfrm>
          <a:solidFill>
            <a:schemeClr val="tx2">
              <a:lumMod val="60000"/>
              <a:lumOff val="40000"/>
            </a:schemeClr>
          </a:solidFill>
        </p:grpSpPr>
        <p:sp>
          <p:nvSpPr>
            <p:cNvPr id="47" name="Arc 233">
              <a:extLst>
                <a:ext uri="{FF2B5EF4-FFF2-40B4-BE49-F238E27FC236}">
                  <a16:creationId xmlns:a16="http://schemas.microsoft.com/office/drawing/2014/main" id="{C99A30E2-A89A-4A1F-8223-41205F2F098F}"/>
                </a:ext>
              </a:extLst>
            </p:cNvPr>
            <p:cNvSpPr>
              <a:spLocks/>
            </p:cNvSpPr>
            <p:nvPr/>
          </p:nvSpPr>
          <p:spPr bwMode="auto">
            <a:xfrm rot="8953712" flipH="1">
              <a:off x="3096" y="1726"/>
              <a:ext cx="0" cy="310"/>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grpFill/>
            <a:ln w="6350">
              <a:no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8" name="AutoShape 234">
              <a:extLst>
                <a:ext uri="{FF2B5EF4-FFF2-40B4-BE49-F238E27FC236}">
                  <a16:creationId xmlns:a16="http://schemas.microsoft.com/office/drawing/2014/main" id="{A9922E14-AD87-4FF5-811F-499409E4B2D2}"/>
                </a:ext>
              </a:extLst>
            </p:cNvPr>
            <p:cNvSpPr>
              <a:spLocks noChangeArrowheads="1"/>
            </p:cNvSpPr>
            <p:nvPr/>
          </p:nvSpPr>
          <p:spPr bwMode="auto">
            <a:xfrm rot="8953712">
              <a:off x="3043" y="1710"/>
              <a:ext cx="104" cy="340"/>
            </a:xfrm>
            <a:prstGeom prst="upArrow">
              <a:avLst>
                <a:gd name="adj1" fmla="val 39398"/>
                <a:gd name="adj2" fmla="val 72253"/>
              </a:avLst>
            </a:prstGeom>
            <a:grpFill/>
            <a:ln w="6350">
              <a:noFill/>
              <a:miter lim="800000"/>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sp>
        <p:nvSpPr>
          <p:cNvPr id="3" name="Rectangle 2">
            <a:hlinkClick r:id="rId23" action="ppaction://hlinksldjump"/>
            <a:extLst>
              <a:ext uri="{FF2B5EF4-FFF2-40B4-BE49-F238E27FC236}">
                <a16:creationId xmlns:a16="http://schemas.microsoft.com/office/drawing/2014/main" id="{08119BAE-2664-43DE-BFAD-3B27999FB7C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05" name="Rectangle 84">
            <a:extLst>
              <a:ext uri="{FF2B5EF4-FFF2-40B4-BE49-F238E27FC236}">
                <a16:creationId xmlns:a16="http://schemas.microsoft.com/office/drawing/2014/main" id="{9720E0F8-25CA-4D02-9F62-C39EC8379D5C}"/>
              </a:ext>
            </a:extLst>
          </p:cNvPr>
          <p:cNvSpPr>
            <a:spLocks noChangeArrowheads="1"/>
          </p:cNvSpPr>
          <p:nvPr/>
        </p:nvSpPr>
        <p:spPr bwMode="auto">
          <a:xfrm>
            <a:off x="9551272"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6" name="Rectangle 85">
            <a:extLst>
              <a:ext uri="{FF2B5EF4-FFF2-40B4-BE49-F238E27FC236}">
                <a16:creationId xmlns:a16="http://schemas.microsoft.com/office/drawing/2014/main" id="{F390D345-8912-42DB-BEAA-BBA239EF456B}"/>
              </a:ext>
            </a:extLst>
          </p:cNvPr>
          <p:cNvSpPr>
            <a:spLocks noChangeArrowheads="1"/>
          </p:cNvSpPr>
          <p:nvPr/>
        </p:nvSpPr>
        <p:spPr bwMode="auto">
          <a:xfrm>
            <a:off x="9551272"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7" name="Rectangle 88">
            <a:extLst>
              <a:ext uri="{FF2B5EF4-FFF2-40B4-BE49-F238E27FC236}">
                <a16:creationId xmlns:a16="http://schemas.microsoft.com/office/drawing/2014/main" id="{13BE22C9-17E5-4E49-A8E3-76B9E723503B}"/>
              </a:ext>
            </a:extLst>
          </p:cNvPr>
          <p:cNvSpPr>
            <a:spLocks noChangeArrowheads="1"/>
          </p:cNvSpPr>
          <p:nvPr/>
        </p:nvSpPr>
        <p:spPr bwMode="auto">
          <a:xfrm>
            <a:off x="9551272" y="1362569"/>
            <a:ext cx="2304000" cy="441441"/>
          </a:xfrm>
          <a:prstGeom prst="rect">
            <a:avLst/>
          </a:prstGeom>
          <a:solidFill>
            <a:schemeClr val="accent2">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4</a:t>
            </a:r>
          </a:p>
        </p:txBody>
      </p:sp>
      <p:sp>
        <p:nvSpPr>
          <p:cNvPr id="108" name="Rectangle 126">
            <a:extLst>
              <a:ext uri="{FF2B5EF4-FFF2-40B4-BE49-F238E27FC236}">
                <a16:creationId xmlns:a16="http://schemas.microsoft.com/office/drawing/2014/main" id="{48012EDA-291F-4EF6-90D8-10A31829A887}"/>
              </a:ext>
            </a:extLst>
          </p:cNvPr>
          <p:cNvSpPr>
            <a:spLocks noChangeArrowheads="1"/>
          </p:cNvSpPr>
          <p:nvPr/>
        </p:nvSpPr>
        <p:spPr bwMode="auto">
          <a:xfrm>
            <a:off x="9551272" y="356684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09" name="Rectangle 127">
            <a:extLst>
              <a:ext uri="{FF2B5EF4-FFF2-40B4-BE49-F238E27FC236}">
                <a16:creationId xmlns:a16="http://schemas.microsoft.com/office/drawing/2014/main" id="{A18E098F-689A-4F71-8D27-6D2A0E0E1236}"/>
              </a:ext>
            </a:extLst>
          </p:cNvPr>
          <p:cNvSpPr>
            <a:spLocks noChangeArrowheads="1"/>
          </p:cNvSpPr>
          <p:nvPr/>
        </p:nvSpPr>
        <p:spPr bwMode="auto">
          <a:xfrm>
            <a:off x="9551272" y="411442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0" name="Rectangle 130">
            <a:extLst>
              <a:ext uri="{FF2B5EF4-FFF2-40B4-BE49-F238E27FC236}">
                <a16:creationId xmlns:a16="http://schemas.microsoft.com/office/drawing/2014/main" id="{9BC3CF96-69D6-4435-AB17-6CAF8D74D79E}"/>
              </a:ext>
            </a:extLst>
          </p:cNvPr>
          <p:cNvSpPr>
            <a:spLocks noChangeArrowheads="1"/>
          </p:cNvSpPr>
          <p:nvPr/>
        </p:nvSpPr>
        <p:spPr bwMode="auto">
          <a:xfrm>
            <a:off x="9551272" y="3125409"/>
            <a:ext cx="2304000" cy="441441"/>
          </a:xfrm>
          <a:prstGeom prst="rect">
            <a:avLst/>
          </a:prstGeom>
          <a:solidFill>
            <a:schemeClr val="accent1">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4</a:t>
            </a:r>
          </a:p>
        </p:txBody>
      </p:sp>
      <p:sp>
        <p:nvSpPr>
          <p:cNvPr id="111" name="Rectangle 82">
            <a:extLst>
              <a:ext uri="{FF2B5EF4-FFF2-40B4-BE49-F238E27FC236}">
                <a16:creationId xmlns:a16="http://schemas.microsoft.com/office/drawing/2014/main" id="{E2F357D2-5D6C-4EA8-A76D-F654D76EA955}"/>
              </a:ext>
            </a:extLst>
          </p:cNvPr>
          <p:cNvSpPr>
            <a:spLocks noChangeArrowheads="1"/>
          </p:cNvSpPr>
          <p:nvPr/>
        </p:nvSpPr>
        <p:spPr bwMode="auto">
          <a:xfrm>
            <a:off x="7249647"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2" name="Rectangle 83">
            <a:extLst>
              <a:ext uri="{FF2B5EF4-FFF2-40B4-BE49-F238E27FC236}">
                <a16:creationId xmlns:a16="http://schemas.microsoft.com/office/drawing/2014/main" id="{AAADEFC9-746E-40CF-A4D1-2529B32F90C7}"/>
              </a:ext>
            </a:extLst>
          </p:cNvPr>
          <p:cNvSpPr>
            <a:spLocks noChangeArrowheads="1"/>
          </p:cNvSpPr>
          <p:nvPr/>
        </p:nvSpPr>
        <p:spPr bwMode="auto">
          <a:xfrm>
            <a:off x="7249647"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3" name="Rectangle 89">
            <a:extLst>
              <a:ext uri="{FF2B5EF4-FFF2-40B4-BE49-F238E27FC236}">
                <a16:creationId xmlns:a16="http://schemas.microsoft.com/office/drawing/2014/main" id="{8DEC5B6D-38E2-4714-8BB4-39B393F172C2}"/>
              </a:ext>
            </a:extLst>
          </p:cNvPr>
          <p:cNvSpPr>
            <a:spLocks noChangeArrowheads="1"/>
          </p:cNvSpPr>
          <p:nvPr/>
        </p:nvSpPr>
        <p:spPr bwMode="auto">
          <a:xfrm>
            <a:off x="7249647" y="1362569"/>
            <a:ext cx="2304000" cy="441441"/>
          </a:xfrm>
          <a:prstGeom prst="rect">
            <a:avLst/>
          </a:prstGeom>
          <a:solidFill>
            <a:schemeClr val="accent2">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3</a:t>
            </a:r>
          </a:p>
        </p:txBody>
      </p:sp>
      <p:sp>
        <p:nvSpPr>
          <p:cNvPr id="114" name="Rectangle 124">
            <a:extLst>
              <a:ext uri="{FF2B5EF4-FFF2-40B4-BE49-F238E27FC236}">
                <a16:creationId xmlns:a16="http://schemas.microsoft.com/office/drawing/2014/main" id="{9867F281-2A9A-4BF2-B43C-5A58291D3B58}"/>
              </a:ext>
            </a:extLst>
          </p:cNvPr>
          <p:cNvSpPr>
            <a:spLocks noChangeArrowheads="1"/>
          </p:cNvSpPr>
          <p:nvPr/>
        </p:nvSpPr>
        <p:spPr bwMode="auto">
          <a:xfrm>
            <a:off x="7249647" y="356684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5" name="Rectangle 125">
            <a:extLst>
              <a:ext uri="{FF2B5EF4-FFF2-40B4-BE49-F238E27FC236}">
                <a16:creationId xmlns:a16="http://schemas.microsoft.com/office/drawing/2014/main" id="{0D722337-4939-4A9C-9851-ED2E486FA1B4}"/>
              </a:ext>
            </a:extLst>
          </p:cNvPr>
          <p:cNvSpPr>
            <a:spLocks noChangeArrowheads="1"/>
          </p:cNvSpPr>
          <p:nvPr/>
        </p:nvSpPr>
        <p:spPr bwMode="auto">
          <a:xfrm>
            <a:off x="7249647" y="411442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6" name="Rectangle 131">
            <a:extLst>
              <a:ext uri="{FF2B5EF4-FFF2-40B4-BE49-F238E27FC236}">
                <a16:creationId xmlns:a16="http://schemas.microsoft.com/office/drawing/2014/main" id="{CE7C4568-EA53-43E3-BDAE-A9DC66427BF7}"/>
              </a:ext>
            </a:extLst>
          </p:cNvPr>
          <p:cNvSpPr>
            <a:spLocks noChangeArrowheads="1"/>
          </p:cNvSpPr>
          <p:nvPr/>
        </p:nvSpPr>
        <p:spPr bwMode="auto">
          <a:xfrm>
            <a:off x="7249647" y="3125409"/>
            <a:ext cx="2304000" cy="441441"/>
          </a:xfrm>
          <a:prstGeom prst="rect">
            <a:avLst/>
          </a:prstGeom>
          <a:solidFill>
            <a:schemeClr val="accent1">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3</a:t>
            </a:r>
          </a:p>
        </p:txBody>
      </p:sp>
      <p:sp>
        <p:nvSpPr>
          <p:cNvPr id="117" name="Rectangle 80">
            <a:extLst>
              <a:ext uri="{FF2B5EF4-FFF2-40B4-BE49-F238E27FC236}">
                <a16:creationId xmlns:a16="http://schemas.microsoft.com/office/drawing/2014/main" id="{7FBDC194-83C9-4886-A824-2BD83B16D18E}"/>
              </a:ext>
            </a:extLst>
          </p:cNvPr>
          <p:cNvSpPr>
            <a:spLocks noChangeArrowheads="1"/>
          </p:cNvSpPr>
          <p:nvPr/>
        </p:nvSpPr>
        <p:spPr bwMode="auto">
          <a:xfrm>
            <a:off x="4948023"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8" name="Rectangle 81">
            <a:extLst>
              <a:ext uri="{FF2B5EF4-FFF2-40B4-BE49-F238E27FC236}">
                <a16:creationId xmlns:a16="http://schemas.microsoft.com/office/drawing/2014/main" id="{B2DBF7AF-B8CB-4E4E-BBBA-06B25F8CBBA3}"/>
              </a:ext>
            </a:extLst>
          </p:cNvPr>
          <p:cNvSpPr>
            <a:spLocks noChangeArrowheads="1"/>
          </p:cNvSpPr>
          <p:nvPr/>
        </p:nvSpPr>
        <p:spPr bwMode="auto">
          <a:xfrm>
            <a:off x="4948023"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19" name="Rectangle 90">
            <a:extLst>
              <a:ext uri="{FF2B5EF4-FFF2-40B4-BE49-F238E27FC236}">
                <a16:creationId xmlns:a16="http://schemas.microsoft.com/office/drawing/2014/main" id="{AEE9C125-5A05-4E4E-BD85-8A602FEF3BA4}"/>
              </a:ext>
            </a:extLst>
          </p:cNvPr>
          <p:cNvSpPr>
            <a:spLocks noChangeArrowheads="1"/>
          </p:cNvSpPr>
          <p:nvPr/>
        </p:nvSpPr>
        <p:spPr bwMode="auto">
          <a:xfrm>
            <a:off x="4948023" y="1362569"/>
            <a:ext cx="2304000" cy="441441"/>
          </a:xfrm>
          <a:prstGeom prst="rect">
            <a:avLst/>
          </a:prstGeom>
          <a:solidFill>
            <a:schemeClr val="accent2">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2</a:t>
            </a:r>
          </a:p>
        </p:txBody>
      </p:sp>
      <p:sp>
        <p:nvSpPr>
          <p:cNvPr id="120" name="Rectangle 122">
            <a:extLst>
              <a:ext uri="{FF2B5EF4-FFF2-40B4-BE49-F238E27FC236}">
                <a16:creationId xmlns:a16="http://schemas.microsoft.com/office/drawing/2014/main" id="{3E0CFEB9-BA05-4793-8048-81CAA5FABDED}"/>
              </a:ext>
            </a:extLst>
          </p:cNvPr>
          <p:cNvSpPr>
            <a:spLocks noChangeArrowheads="1"/>
          </p:cNvSpPr>
          <p:nvPr/>
        </p:nvSpPr>
        <p:spPr bwMode="auto">
          <a:xfrm>
            <a:off x="4948023" y="356684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1" name="Rectangle 123">
            <a:extLst>
              <a:ext uri="{FF2B5EF4-FFF2-40B4-BE49-F238E27FC236}">
                <a16:creationId xmlns:a16="http://schemas.microsoft.com/office/drawing/2014/main" id="{A45373E8-8F10-4E92-B715-24F10629F521}"/>
              </a:ext>
            </a:extLst>
          </p:cNvPr>
          <p:cNvSpPr>
            <a:spLocks noChangeArrowheads="1"/>
          </p:cNvSpPr>
          <p:nvPr/>
        </p:nvSpPr>
        <p:spPr bwMode="auto">
          <a:xfrm>
            <a:off x="4948023" y="411442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2" name="Rectangle 132">
            <a:extLst>
              <a:ext uri="{FF2B5EF4-FFF2-40B4-BE49-F238E27FC236}">
                <a16:creationId xmlns:a16="http://schemas.microsoft.com/office/drawing/2014/main" id="{075C703B-7336-4478-8949-C7271E4072DA}"/>
              </a:ext>
            </a:extLst>
          </p:cNvPr>
          <p:cNvSpPr>
            <a:spLocks noChangeArrowheads="1"/>
          </p:cNvSpPr>
          <p:nvPr/>
        </p:nvSpPr>
        <p:spPr bwMode="auto">
          <a:xfrm>
            <a:off x="4948023" y="3125409"/>
            <a:ext cx="2304000" cy="441441"/>
          </a:xfrm>
          <a:prstGeom prst="rect">
            <a:avLst/>
          </a:prstGeom>
          <a:solidFill>
            <a:schemeClr val="accent1">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2</a:t>
            </a:r>
          </a:p>
        </p:txBody>
      </p:sp>
      <p:sp>
        <p:nvSpPr>
          <p:cNvPr id="123" name="Rectangle 79">
            <a:extLst>
              <a:ext uri="{FF2B5EF4-FFF2-40B4-BE49-F238E27FC236}">
                <a16:creationId xmlns:a16="http://schemas.microsoft.com/office/drawing/2014/main" id="{C0451194-8A00-44CE-9D88-4B6F244B1827}"/>
              </a:ext>
            </a:extLst>
          </p:cNvPr>
          <p:cNvSpPr>
            <a:spLocks noChangeArrowheads="1"/>
          </p:cNvSpPr>
          <p:nvPr/>
        </p:nvSpPr>
        <p:spPr bwMode="auto">
          <a:xfrm>
            <a:off x="2646399" y="235158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4" name="Rectangle 86">
            <a:extLst>
              <a:ext uri="{FF2B5EF4-FFF2-40B4-BE49-F238E27FC236}">
                <a16:creationId xmlns:a16="http://schemas.microsoft.com/office/drawing/2014/main" id="{8859E429-E231-4FA3-820C-7BBD93332548}"/>
              </a:ext>
            </a:extLst>
          </p:cNvPr>
          <p:cNvSpPr>
            <a:spLocks noChangeArrowheads="1"/>
          </p:cNvSpPr>
          <p:nvPr/>
        </p:nvSpPr>
        <p:spPr bwMode="auto">
          <a:xfrm>
            <a:off x="2646399" y="180400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5" name="Rectangle 91">
            <a:extLst>
              <a:ext uri="{FF2B5EF4-FFF2-40B4-BE49-F238E27FC236}">
                <a16:creationId xmlns:a16="http://schemas.microsoft.com/office/drawing/2014/main" id="{D3612F57-D981-43BB-B7D1-915E4A056B4F}"/>
              </a:ext>
            </a:extLst>
          </p:cNvPr>
          <p:cNvSpPr>
            <a:spLocks noChangeArrowheads="1"/>
          </p:cNvSpPr>
          <p:nvPr/>
        </p:nvSpPr>
        <p:spPr bwMode="auto">
          <a:xfrm>
            <a:off x="2646399" y="1362569"/>
            <a:ext cx="2304000" cy="441441"/>
          </a:xfrm>
          <a:prstGeom prst="rect">
            <a:avLst/>
          </a:prstGeom>
          <a:solidFill>
            <a:schemeClr val="accent2"/>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1</a:t>
            </a:r>
          </a:p>
        </p:txBody>
      </p:sp>
      <p:sp>
        <p:nvSpPr>
          <p:cNvPr id="126" name="Rectangle 121">
            <a:extLst>
              <a:ext uri="{FF2B5EF4-FFF2-40B4-BE49-F238E27FC236}">
                <a16:creationId xmlns:a16="http://schemas.microsoft.com/office/drawing/2014/main" id="{53D31C6C-6185-4068-8CD3-E528BC8CC0DB}"/>
              </a:ext>
            </a:extLst>
          </p:cNvPr>
          <p:cNvSpPr>
            <a:spLocks noChangeArrowheads="1"/>
          </p:cNvSpPr>
          <p:nvPr/>
        </p:nvSpPr>
        <p:spPr bwMode="auto">
          <a:xfrm>
            <a:off x="2646399" y="4114421"/>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7" name="Rectangle 128">
            <a:extLst>
              <a:ext uri="{FF2B5EF4-FFF2-40B4-BE49-F238E27FC236}">
                <a16:creationId xmlns:a16="http://schemas.microsoft.com/office/drawing/2014/main" id="{3741BD6C-F8FE-4B35-99DA-576DE6E77C1C}"/>
              </a:ext>
            </a:extLst>
          </p:cNvPr>
          <p:cNvSpPr>
            <a:spLocks noChangeArrowheads="1"/>
          </p:cNvSpPr>
          <p:nvPr/>
        </p:nvSpPr>
        <p:spPr bwMode="auto">
          <a:xfrm>
            <a:off x="2646399" y="3566849"/>
            <a:ext cx="2304000" cy="540000"/>
          </a:xfrm>
          <a:prstGeom prst="rect">
            <a:avLst/>
          </a:prstGeom>
          <a:solidFill>
            <a:srgbClr val="E4E7E7"/>
          </a:solidFill>
          <a:ln w="6350">
            <a:solidFill>
              <a:schemeClr val="bg1"/>
            </a:solidFill>
            <a:miter lim="800000"/>
            <a:headEnd/>
            <a:tailEnd/>
          </a:ln>
          <a:effectLst/>
        </p:spPr>
        <p:txBody>
          <a:bodyPr lIns="684000" tIns="72000" rIns="108000" bIns="72000" anchor="ctr" anchorCtr="0"/>
          <a:lstStyle/>
          <a:p>
            <a:pPr marL="180975" indent="-180975" algn="l" eaLnBrk="0" hangingPunct="0">
              <a:spcBef>
                <a:spcPct val="0"/>
              </a:spcBef>
              <a:buFontTx/>
              <a:buChar char="•"/>
            </a:pPr>
            <a:r>
              <a:rPr lang="en-US" sz="1050" dirty="0">
                <a:solidFill>
                  <a:schemeClr val="tx1"/>
                </a:solidFill>
              </a:rPr>
              <a:t>Comment</a:t>
            </a:r>
          </a:p>
          <a:p>
            <a:pPr marL="180975" indent="-180975" algn="l" eaLnBrk="0" hangingPunct="0">
              <a:spcBef>
                <a:spcPct val="0"/>
              </a:spcBef>
              <a:buFontTx/>
              <a:buChar char="•"/>
            </a:pPr>
            <a:r>
              <a:rPr lang="en-US" sz="1050" dirty="0">
                <a:solidFill>
                  <a:schemeClr val="tx1"/>
                </a:solidFill>
              </a:rPr>
              <a:t>Comment</a:t>
            </a:r>
          </a:p>
        </p:txBody>
      </p:sp>
      <p:sp>
        <p:nvSpPr>
          <p:cNvPr id="128" name="Rectangle 133">
            <a:extLst>
              <a:ext uri="{FF2B5EF4-FFF2-40B4-BE49-F238E27FC236}">
                <a16:creationId xmlns:a16="http://schemas.microsoft.com/office/drawing/2014/main" id="{3201F509-79E2-45F5-A6E0-3488C88B21E9}"/>
              </a:ext>
            </a:extLst>
          </p:cNvPr>
          <p:cNvSpPr>
            <a:spLocks noChangeArrowheads="1"/>
          </p:cNvSpPr>
          <p:nvPr/>
        </p:nvSpPr>
        <p:spPr bwMode="auto">
          <a:xfrm>
            <a:off x="2646399" y="3125409"/>
            <a:ext cx="2304000" cy="441441"/>
          </a:xfrm>
          <a:prstGeom prst="rect">
            <a:avLst/>
          </a:prstGeom>
          <a:solidFill>
            <a:schemeClr val="accent1"/>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1</a:t>
            </a:r>
          </a:p>
        </p:txBody>
      </p:sp>
      <p:sp>
        <p:nvSpPr>
          <p:cNvPr id="129" name="Rectangle 87">
            <a:extLst>
              <a:ext uri="{FF2B5EF4-FFF2-40B4-BE49-F238E27FC236}">
                <a16:creationId xmlns:a16="http://schemas.microsoft.com/office/drawing/2014/main" id="{6D876566-FE2B-4367-B58D-FF9F3F9C528E}"/>
              </a:ext>
            </a:extLst>
          </p:cNvPr>
          <p:cNvSpPr>
            <a:spLocks noChangeArrowheads="1"/>
          </p:cNvSpPr>
          <p:nvPr/>
        </p:nvSpPr>
        <p:spPr bwMode="auto">
          <a:xfrm>
            <a:off x="344775" y="1804009"/>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Option 1</a:t>
            </a:r>
          </a:p>
        </p:txBody>
      </p:sp>
      <p:sp>
        <p:nvSpPr>
          <p:cNvPr id="130" name="Rectangle 92">
            <a:extLst>
              <a:ext uri="{FF2B5EF4-FFF2-40B4-BE49-F238E27FC236}">
                <a16:creationId xmlns:a16="http://schemas.microsoft.com/office/drawing/2014/main" id="{92897073-DEC5-48D9-9E3F-CC57B66D77C8}"/>
              </a:ext>
            </a:extLst>
          </p:cNvPr>
          <p:cNvSpPr>
            <a:spLocks noChangeArrowheads="1"/>
          </p:cNvSpPr>
          <p:nvPr/>
        </p:nvSpPr>
        <p:spPr bwMode="auto">
          <a:xfrm>
            <a:off x="344775" y="136256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s</a:t>
            </a:r>
          </a:p>
        </p:txBody>
      </p:sp>
      <p:sp>
        <p:nvSpPr>
          <p:cNvPr id="131" name="Rectangle 93">
            <a:extLst>
              <a:ext uri="{FF2B5EF4-FFF2-40B4-BE49-F238E27FC236}">
                <a16:creationId xmlns:a16="http://schemas.microsoft.com/office/drawing/2014/main" id="{5F8A00AD-9355-4042-8374-BD52373F9C78}"/>
              </a:ext>
            </a:extLst>
          </p:cNvPr>
          <p:cNvSpPr>
            <a:spLocks noChangeArrowheads="1"/>
          </p:cNvSpPr>
          <p:nvPr/>
        </p:nvSpPr>
        <p:spPr bwMode="auto">
          <a:xfrm>
            <a:off x="344775" y="2351581"/>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Option 2</a:t>
            </a:r>
          </a:p>
        </p:txBody>
      </p:sp>
      <p:sp>
        <p:nvSpPr>
          <p:cNvPr id="132" name="Rectangle 129">
            <a:extLst>
              <a:ext uri="{FF2B5EF4-FFF2-40B4-BE49-F238E27FC236}">
                <a16:creationId xmlns:a16="http://schemas.microsoft.com/office/drawing/2014/main" id="{7596CF70-ECCA-4E2A-8563-F9EF5ABB7564}"/>
              </a:ext>
            </a:extLst>
          </p:cNvPr>
          <p:cNvSpPr>
            <a:spLocks noChangeArrowheads="1"/>
          </p:cNvSpPr>
          <p:nvPr/>
        </p:nvSpPr>
        <p:spPr bwMode="auto">
          <a:xfrm>
            <a:off x="344775" y="3566849"/>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Criterion 1</a:t>
            </a:r>
          </a:p>
        </p:txBody>
      </p:sp>
      <p:sp>
        <p:nvSpPr>
          <p:cNvPr id="133" name="Rectangle 134">
            <a:extLst>
              <a:ext uri="{FF2B5EF4-FFF2-40B4-BE49-F238E27FC236}">
                <a16:creationId xmlns:a16="http://schemas.microsoft.com/office/drawing/2014/main" id="{88078CDA-2250-4CF7-9635-97F4095596D6}"/>
              </a:ext>
            </a:extLst>
          </p:cNvPr>
          <p:cNvSpPr>
            <a:spLocks noChangeArrowheads="1"/>
          </p:cNvSpPr>
          <p:nvPr/>
        </p:nvSpPr>
        <p:spPr bwMode="auto">
          <a:xfrm>
            <a:off x="344775" y="312540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a</a:t>
            </a:r>
          </a:p>
        </p:txBody>
      </p:sp>
      <p:sp>
        <p:nvSpPr>
          <p:cNvPr id="134" name="Rectangle 135">
            <a:extLst>
              <a:ext uri="{FF2B5EF4-FFF2-40B4-BE49-F238E27FC236}">
                <a16:creationId xmlns:a16="http://schemas.microsoft.com/office/drawing/2014/main" id="{E710A9A7-2415-437D-9AA4-063CA5CE2345}"/>
              </a:ext>
            </a:extLst>
          </p:cNvPr>
          <p:cNvSpPr>
            <a:spLocks noChangeArrowheads="1"/>
          </p:cNvSpPr>
          <p:nvPr/>
        </p:nvSpPr>
        <p:spPr bwMode="auto">
          <a:xfrm>
            <a:off x="344775" y="4114421"/>
            <a:ext cx="2304000" cy="540000"/>
          </a:xfrm>
          <a:prstGeom prst="rect">
            <a:avLst/>
          </a:prstGeom>
          <a:solidFill>
            <a:srgbClr val="E4E7E7"/>
          </a:solidFill>
          <a:ln w="6350">
            <a:solidFill>
              <a:schemeClr val="bg1"/>
            </a:solidFill>
            <a:miter lim="800000"/>
            <a:headEnd/>
            <a:tailEnd/>
          </a:ln>
          <a:effectLst/>
        </p:spPr>
        <p:txBody>
          <a:bodyPr lIns="144000" tIns="72000" rIns="108000" bIns="72000" anchor="ctr"/>
          <a:lstStyle/>
          <a:p>
            <a:pPr algn="l" eaLnBrk="0" hangingPunct="0">
              <a:spcBef>
                <a:spcPct val="0"/>
              </a:spcBef>
            </a:pPr>
            <a:r>
              <a:rPr lang="en-US" sz="1200" b="1" dirty="0">
                <a:solidFill>
                  <a:schemeClr val="tx1"/>
                </a:solidFill>
              </a:rPr>
              <a:t>Criterion 2</a:t>
            </a:r>
          </a:p>
        </p:txBody>
      </p:sp>
      <p:grpSp>
        <p:nvGrpSpPr>
          <p:cNvPr id="135" name="Group 145">
            <a:extLst>
              <a:ext uri="{FF2B5EF4-FFF2-40B4-BE49-F238E27FC236}">
                <a16:creationId xmlns:a16="http://schemas.microsoft.com/office/drawing/2014/main" id="{52597149-8A52-4592-BCA3-F92A3DCD7B75}"/>
              </a:ext>
            </a:extLst>
          </p:cNvPr>
          <p:cNvGrpSpPr>
            <a:grpSpLocks noChangeAspect="1"/>
          </p:cNvGrpSpPr>
          <p:nvPr>
            <p:custDataLst>
              <p:tags r:id="rId5"/>
            </p:custDataLst>
          </p:nvPr>
        </p:nvGrpSpPr>
        <p:grpSpPr bwMode="auto">
          <a:xfrm>
            <a:off x="2901477" y="1914853"/>
            <a:ext cx="217412" cy="316938"/>
            <a:chOff x="1870" y="1765"/>
            <a:chExt cx="154" cy="230"/>
          </a:xfrm>
        </p:grpSpPr>
        <p:sp>
          <p:nvSpPr>
            <p:cNvPr id="136" name="Arc 146">
              <a:extLst>
                <a:ext uri="{FF2B5EF4-FFF2-40B4-BE49-F238E27FC236}">
                  <a16:creationId xmlns:a16="http://schemas.microsoft.com/office/drawing/2014/main" id="{9ECDDF12-AB00-4100-B376-745B40161136}"/>
                </a:ext>
              </a:extLst>
            </p:cNvPr>
            <p:cNvSpPr>
              <a:spLocks/>
            </p:cNvSpPr>
            <p:nvPr/>
          </p:nvSpPr>
          <p:spPr bwMode="auto">
            <a:xfrm flipH="1">
              <a:off x="1870" y="1778"/>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37" name="AutoShape 147">
              <a:extLst>
                <a:ext uri="{FF2B5EF4-FFF2-40B4-BE49-F238E27FC236}">
                  <a16:creationId xmlns:a16="http://schemas.microsoft.com/office/drawing/2014/main" id="{B265DE02-4DFE-47E7-B03F-663E889EB8BE}"/>
                </a:ext>
              </a:extLst>
            </p:cNvPr>
            <p:cNvSpPr>
              <a:spLocks noChangeArrowheads="1"/>
            </p:cNvSpPr>
            <p:nvPr/>
          </p:nvSpPr>
          <p:spPr bwMode="auto">
            <a:xfrm>
              <a:off x="1920" y="1765"/>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38" name="Group 127">
            <a:extLst>
              <a:ext uri="{FF2B5EF4-FFF2-40B4-BE49-F238E27FC236}">
                <a16:creationId xmlns:a16="http://schemas.microsoft.com/office/drawing/2014/main" id="{D57EDCE2-18DB-4200-A1E9-22E0BEAF6867}"/>
              </a:ext>
            </a:extLst>
          </p:cNvPr>
          <p:cNvGrpSpPr>
            <a:grpSpLocks noChangeAspect="1"/>
          </p:cNvGrpSpPr>
          <p:nvPr>
            <p:custDataLst>
              <p:tags r:id="rId6"/>
            </p:custDataLst>
          </p:nvPr>
        </p:nvGrpSpPr>
        <p:grpSpPr bwMode="auto">
          <a:xfrm>
            <a:off x="9827205" y="1914853"/>
            <a:ext cx="146824" cy="316938"/>
            <a:chOff x="5291" y="1765"/>
            <a:chExt cx="104" cy="230"/>
          </a:xfrm>
        </p:grpSpPr>
        <p:sp>
          <p:nvSpPr>
            <p:cNvPr id="139" name="Arc 128">
              <a:extLst>
                <a:ext uri="{FF2B5EF4-FFF2-40B4-BE49-F238E27FC236}">
                  <a16:creationId xmlns:a16="http://schemas.microsoft.com/office/drawing/2014/main" id="{A47D28A9-7492-425F-AB69-AC8EFDFFF86D}"/>
                </a:ext>
              </a:extLst>
            </p:cNvPr>
            <p:cNvSpPr>
              <a:spLocks/>
            </p:cNvSpPr>
            <p:nvPr/>
          </p:nvSpPr>
          <p:spPr bwMode="auto">
            <a:xfrm rot="10800000" flipH="1">
              <a:off x="5342" y="1781"/>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40" name="AutoShape 129">
              <a:extLst>
                <a:ext uri="{FF2B5EF4-FFF2-40B4-BE49-F238E27FC236}">
                  <a16:creationId xmlns:a16="http://schemas.microsoft.com/office/drawing/2014/main" id="{7B68ED4D-1D2A-4512-84FE-EBD8F4208690}"/>
                </a:ext>
              </a:extLst>
            </p:cNvPr>
            <p:cNvSpPr>
              <a:spLocks noChangeArrowheads="1"/>
            </p:cNvSpPr>
            <p:nvPr/>
          </p:nvSpPr>
          <p:spPr bwMode="auto">
            <a:xfrm rot="10800000">
              <a:off x="5291" y="1765"/>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41" name="Group 130">
            <a:extLst>
              <a:ext uri="{FF2B5EF4-FFF2-40B4-BE49-F238E27FC236}">
                <a16:creationId xmlns:a16="http://schemas.microsoft.com/office/drawing/2014/main" id="{CD7966F2-60AA-458A-8D67-16922BB6FD2C}"/>
              </a:ext>
            </a:extLst>
          </p:cNvPr>
          <p:cNvGrpSpPr>
            <a:grpSpLocks noChangeAspect="1"/>
          </p:cNvGrpSpPr>
          <p:nvPr>
            <p:custDataLst>
              <p:tags r:id="rId7"/>
            </p:custDataLst>
          </p:nvPr>
        </p:nvGrpSpPr>
        <p:grpSpPr bwMode="auto">
          <a:xfrm>
            <a:off x="7574032" y="1914853"/>
            <a:ext cx="146824" cy="316938"/>
            <a:chOff x="3043" y="1764"/>
            <a:chExt cx="104" cy="230"/>
          </a:xfrm>
        </p:grpSpPr>
        <p:sp>
          <p:nvSpPr>
            <p:cNvPr id="142" name="Arc 131">
              <a:extLst>
                <a:ext uri="{FF2B5EF4-FFF2-40B4-BE49-F238E27FC236}">
                  <a16:creationId xmlns:a16="http://schemas.microsoft.com/office/drawing/2014/main" id="{E5929368-485D-4850-BEEC-527E5A31DE3C}"/>
                </a:ext>
              </a:extLst>
            </p:cNvPr>
            <p:cNvSpPr>
              <a:spLocks/>
            </p:cNvSpPr>
            <p:nvPr/>
          </p:nvSpPr>
          <p:spPr bwMode="auto">
            <a:xfrm rot="8953712" flipH="1">
              <a:off x="3096" y="1780"/>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43" name="AutoShape 132">
              <a:extLst>
                <a:ext uri="{FF2B5EF4-FFF2-40B4-BE49-F238E27FC236}">
                  <a16:creationId xmlns:a16="http://schemas.microsoft.com/office/drawing/2014/main" id="{0743E79C-B616-4F28-8B73-2A1E505DF121}"/>
                </a:ext>
              </a:extLst>
            </p:cNvPr>
            <p:cNvSpPr>
              <a:spLocks noChangeArrowheads="1"/>
            </p:cNvSpPr>
            <p:nvPr/>
          </p:nvSpPr>
          <p:spPr bwMode="auto">
            <a:xfrm rot="8953712">
              <a:off x="3043" y="1764"/>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44" name="Group 198">
            <a:extLst>
              <a:ext uri="{FF2B5EF4-FFF2-40B4-BE49-F238E27FC236}">
                <a16:creationId xmlns:a16="http://schemas.microsoft.com/office/drawing/2014/main" id="{06047411-7C20-471C-92B2-ACDF12B661F1}"/>
              </a:ext>
            </a:extLst>
          </p:cNvPr>
          <p:cNvGrpSpPr>
            <a:grpSpLocks noChangeAspect="1"/>
          </p:cNvGrpSpPr>
          <p:nvPr>
            <p:custDataLst>
              <p:tags r:id="rId8"/>
            </p:custDataLst>
          </p:nvPr>
        </p:nvGrpSpPr>
        <p:grpSpPr bwMode="auto">
          <a:xfrm>
            <a:off x="5265431" y="1914853"/>
            <a:ext cx="146824" cy="316938"/>
            <a:chOff x="4165" y="1761"/>
            <a:chExt cx="104" cy="230"/>
          </a:xfrm>
        </p:grpSpPr>
        <p:sp>
          <p:nvSpPr>
            <p:cNvPr id="145" name="Arc 199">
              <a:extLst>
                <a:ext uri="{FF2B5EF4-FFF2-40B4-BE49-F238E27FC236}">
                  <a16:creationId xmlns:a16="http://schemas.microsoft.com/office/drawing/2014/main" id="{F2072CA5-A268-47F8-B28E-6DB27A732ABB}"/>
                </a:ext>
              </a:extLst>
            </p:cNvPr>
            <p:cNvSpPr>
              <a:spLocks/>
            </p:cNvSpPr>
            <p:nvPr/>
          </p:nvSpPr>
          <p:spPr bwMode="auto">
            <a:xfrm rot="12646288" flipH="1" flipV="1">
              <a:off x="4219" y="1775"/>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46" name="AutoShape 200">
              <a:extLst>
                <a:ext uri="{FF2B5EF4-FFF2-40B4-BE49-F238E27FC236}">
                  <a16:creationId xmlns:a16="http://schemas.microsoft.com/office/drawing/2014/main" id="{99AA9560-F17F-4060-8B60-49CE71A04703}"/>
                </a:ext>
              </a:extLst>
            </p:cNvPr>
            <p:cNvSpPr>
              <a:spLocks noChangeArrowheads="1"/>
            </p:cNvSpPr>
            <p:nvPr/>
          </p:nvSpPr>
          <p:spPr bwMode="auto">
            <a:xfrm rot="12646288" flipV="1">
              <a:off x="4165" y="1761"/>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47" name="Group 145">
            <a:extLst>
              <a:ext uri="{FF2B5EF4-FFF2-40B4-BE49-F238E27FC236}">
                <a16:creationId xmlns:a16="http://schemas.microsoft.com/office/drawing/2014/main" id="{5BC23579-01D3-49EA-A9A4-86A7C97F425B}"/>
              </a:ext>
            </a:extLst>
          </p:cNvPr>
          <p:cNvGrpSpPr>
            <a:grpSpLocks noChangeAspect="1"/>
          </p:cNvGrpSpPr>
          <p:nvPr>
            <p:custDataLst>
              <p:tags r:id="rId9"/>
            </p:custDataLst>
          </p:nvPr>
        </p:nvGrpSpPr>
        <p:grpSpPr bwMode="auto">
          <a:xfrm>
            <a:off x="2901477" y="2475138"/>
            <a:ext cx="217412" cy="316938"/>
            <a:chOff x="1870" y="1765"/>
            <a:chExt cx="154" cy="230"/>
          </a:xfrm>
        </p:grpSpPr>
        <p:sp>
          <p:nvSpPr>
            <p:cNvPr id="148" name="Arc 146">
              <a:extLst>
                <a:ext uri="{FF2B5EF4-FFF2-40B4-BE49-F238E27FC236}">
                  <a16:creationId xmlns:a16="http://schemas.microsoft.com/office/drawing/2014/main" id="{23BBF481-2D7E-482A-B5A5-019A047EE47D}"/>
                </a:ext>
              </a:extLst>
            </p:cNvPr>
            <p:cNvSpPr>
              <a:spLocks/>
            </p:cNvSpPr>
            <p:nvPr/>
          </p:nvSpPr>
          <p:spPr bwMode="auto">
            <a:xfrm flipH="1">
              <a:off x="1870" y="1778"/>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49" name="AutoShape 147">
              <a:extLst>
                <a:ext uri="{FF2B5EF4-FFF2-40B4-BE49-F238E27FC236}">
                  <a16:creationId xmlns:a16="http://schemas.microsoft.com/office/drawing/2014/main" id="{E72EA215-8009-47AB-B0E2-E8D39C0F369F}"/>
                </a:ext>
              </a:extLst>
            </p:cNvPr>
            <p:cNvSpPr>
              <a:spLocks noChangeArrowheads="1"/>
            </p:cNvSpPr>
            <p:nvPr/>
          </p:nvSpPr>
          <p:spPr bwMode="auto">
            <a:xfrm>
              <a:off x="1920" y="1765"/>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50" name="Group 127">
            <a:extLst>
              <a:ext uri="{FF2B5EF4-FFF2-40B4-BE49-F238E27FC236}">
                <a16:creationId xmlns:a16="http://schemas.microsoft.com/office/drawing/2014/main" id="{52AC4679-499F-46FE-B366-416D9F5FC177}"/>
              </a:ext>
            </a:extLst>
          </p:cNvPr>
          <p:cNvGrpSpPr>
            <a:grpSpLocks noChangeAspect="1"/>
          </p:cNvGrpSpPr>
          <p:nvPr>
            <p:custDataLst>
              <p:tags r:id="rId10"/>
            </p:custDataLst>
          </p:nvPr>
        </p:nvGrpSpPr>
        <p:grpSpPr bwMode="auto">
          <a:xfrm>
            <a:off x="9827205" y="2475138"/>
            <a:ext cx="146824" cy="316938"/>
            <a:chOff x="5291" y="1765"/>
            <a:chExt cx="104" cy="230"/>
          </a:xfrm>
        </p:grpSpPr>
        <p:sp>
          <p:nvSpPr>
            <p:cNvPr id="151" name="Arc 128">
              <a:extLst>
                <a:ext uri="{FF2B5EF4-FFF2-40B4-BE49-F238E27FC236}">
                  <a16:creationId xmlns:a16="http://schemas.microsoft.com/office/drawing/2014/main" id="{A481BBBD-B61C-4239-9ACB-55FCF95E6346}"/>
                </a:ext>
              </a:extLst>
            </p:cNvPr>
            <p:cNvSpPr>
              <a:spLocks/>
            </p:cNvSpPr>
            <p:nvPr/>
          </p:nvSpPr>
          <p:spPr bwMode="auto">
            <a:xfrm rot="10800000" flipH="1">
              <a:off x="5342" y="1781"/>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52" name="AutoShape 129">
              <a:extLst>
                <a:ext uri="{FF2B5EF4-FFF2-40B4-BE49-F238E27FC236}">
                  <a16:creationId xmlns:a16="http://schemas.microsoft.com/office/drawing/2014/main" id="{AC559440-3878-4E9A-9536-22F1E626A7DD}"/>
                </a:ext>
              </a:extLst>
            </p:cNvPr>
            <p:cNvSpPr>
              <a:spLocks noChangeArrowheads="1"/>
            </p:cNvSpPr>
            <p:nvPr/>
          </p:nvSpPr>
          <p:spPr bwMode="auto">
            <a:xfrm rot="10800000">
              <a:off x="5291" y="1765"/>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53" name="Group 130">
            <a:extLst>
              <a:ext uri="{FF2B5EF4-FFF2-40B4-BE49-F238E27FC236}">
                <a16:creationId xmlns:a16="http://schemas.microsoft.com/office/drawing/2014/main" id="{269B0770-84F6-4DAE-9995-9144D128B5EF}"/>
              </a:ext>
            </a:extLst>
          </p:cNvPr>
          <p:cNvGrpSpPr>
            <a:grpSpLocks noChangeAspect="1"/>
          </p:cNvGrpSpPr>
          <p:nvPr>
            <p:custDataLst>
              <p:tags r:id="rId11"/>
            </p:custDataLst>
          </p:nvPr>
        </p:nvGrpSpPr>
        <p:grpSpPr bwMode="auto">
          <a:xfrm>
            <a:off x="7574032" y="2475138"/>
            <a:ext cx="146824" cy="316938"/>
            <a:chOff x="3043" y="1764"/>
            <a:chExt cx="104" cy="230"/>
          </a:xfrm>
        </p:grpSpPr>
        <p:sp>
          <p:nvSpPr>
            <p:cNvPr id="154" name="Arc 131">
              <a:extLst>
                <a:ext uri="{FF2B5EF4-FFF2-40B4-BE49-F238E27FC236}">
                  <a16:creationId xmlns:a16="http://schemas.microsoft.com/office/drawing/2014/main" id="{B958523D-EEA3-46CF-8E88-5401EC3501F4}"/>
                </a:ext>
              </a:extLst>
            </p:cNvPr>
            <p:cNvSpPr>
              <a:spLocks/>
            </p:cNvSpPr>
            <p:nvPr/>
          </p:nvSpPr>
          <p:spPr bwMode="auto">
            <a:xfrm rot="8953712" flipH="1">
              <a:off x="3096" y="1780"/>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55" name="AutoShape 132">
              <a:extLst>
                <a:ext uri="{FF2B5EF4-FFF2-40B4-BE49-F238E27FC236}">
                  <a16:creationId xmlns:a16="http://schemas.microsoft.com/office/drawing/2014/main" id="{0EF60012-2322-4757-9DC5-F297D099153D}"/>
                </a:ext>
              </a:extLst>
            </p:cNvPr>
            <p:cNvSpPr>
              <a:spLocks noChangeArrowheads="1"/>
            </p:cNvSpPr>
            <p:nvPr/>
          </p:nvSpPr>
          <p:spPr bwMode="auto">
            <a:xfrm rot="8953712">
              <a:off x="3043" y="1764"/>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56" name="Group 198">
            <a:extLst>
              <a:ext uri="{FF2B5EF4-FFF2-40B4-BE49-F238E27FC236}">
                <a16:creationId xmlns:a16="http://schemas.microsoft.com/office/drawing/2014/main" id="{7BED7D26-2F6A-42B5-9DE3-490309C9277A}"/>
              </a:ext>
            </a:extLst>
          </p:cNvPr>
          <p:cNvGrpSpPr>
            <a:grpSpLocks noChangeAspect="1"/>
          </p:cNvGrpSpPr>
          <p:nvPr>
            <p:custDataLst>
              <p:tags r:id="rId12"/>
            </p:custDataLst>
          </p:nvPr>
        </p:nvGrpSpPr>
        <p:grpSpPr bwMode="auto">
          <a:xfrm>
            <a:off x="5265431" y="2475138"/>
            <a:ext cx="146824" cy="316938"/>
            <a:chOff x="4165" y="1761"/>
            <a:chExt cx="104" cy="230"/>
          </a:xfrm>
        </p:grpSpPr>
        <p:sp>
          <p:nvSpPr>
            <p:cNvPr id="157" name="Arc 199">
              <a:extLst>
                <a:ext uri="{FF2B5EF4-FFF2-40B4-BE49-F238E27FC236}">
                  <a16:creationId xmlns:a16="http://schemas.microsoft.com/office/drawing/2014/main" id="{0FB6AAF0-C332-439A-9ADE-2D0071536D15}"/>
                </a:ext>
              </a:extLst>
            </p:cNvPr>
            <p:cNvSpPr>
              <a:spLocks/>
            </p:cNvSpPr>
            <p:nvPr/>
          </p:nvSpPr>
          <p:spPr bwMode="auto">
            <a:xfrm rot="12646288" flipH="1" flipV="1">
              <a:off x="4219" y="1775"/>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58" name="AutoShape 200">
              <a:extLst>
                <a:ext uri="{FF2B5EF4-FFF2-40B4-BE49-F238E27FC236}">
                  <a16:creationId xmlns:a16="http://schemas.microsoft.com/office/drawing/2014/main" id="{EBB6BFA5-B03E-485C-AA3C-0E166FFD35D9}"/>
                </a:ext>
              </a:extLst>
            </p:cNvPr>
            <p:cNvSpPr>
              <a:spLocks noChangeArrowheads="1"/>
            </p:cNvSpPr>
            <p:nvPr/>
          </p:nvSpPr>
          <p:spPr bwMode="auto">
            <a:xfrm rot="12646288" flipV="1">
              <a:off x="4165" y="1761"/>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59" name="Group 145">
            <a:extLst>
              <a:ext uri="{FF2B5EF4-FFF2-40B4-BE49-F238E27FC236}">
                <a16:creationId xmlns:a16="http://schemas.microsoft.com/office/drawing/2014/main" id="{D0019CF3-4ED2-496A-A82B-2AE821BE06C6}"/>
              </a:ext>
            </a:extLst>
          </p:cNvPr>
          <p:cNvGrpSpPr>
            <a:grpSpLocks noChangeAspect="1"/>
          </p:cNvGrpSpPr>
          <p:nvPr>
            <p:custDataLst>
              <p:tags r:id="rId13"/>
            </p:custDataLst>
          </p:nvPr>
        </p:nvGrpSpPr>
        <p:grpSpPr bwMode="auto">
          <a:xfrm>
            <a:off x="2901477" y="3683469"/>
            <a:ext cx="217412" cy="316938"/>
            <a:chOff x="1870" y="1765"/>
            <a:chExt cx="154" cy="230"/>
          </a:xfrm>
        </p:grpSpPr>
        <p:sp>
          <p:nvSpPr>
            <p:cNvPr id="160" name="Arc 146">
              <a:extLst>
                <a:ext uri="{FF2B5EF4-FFF2-40B4-BE49-F238E27FC236}">
                  <a16:creationId xmlns:a16="http://schemas.microsoft.com/office/drawing/2014/main" id="{BA98A119-5616-4CBA-A848-E863D4C19D1B}"/>
                </a:ext>
              </a:extLst>
            </p:cNvPr>
            <p:cNvSpPr>
              <a:spLocks/>
            </p:cNvSpPr>
            <p:nvPr/>
          </p:nvSpPr>
          <p:spPr bwMode="auto">
            <a:xfrm flipH="1">
              <a:off x="1870" y="1778"/>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61" name="AutoShape 147">
              <a:extLst>
                <a:ext uri="{FF2B5EF4-FFF2-40B4-BE49-F238E27FC236}">
                  <a16:creationId xmlns:a16="http://schemas.microsoft.com/office/drawing/2014/main" id="{61AA9B47-3FF9-485D-BDC3-0C62FDE168DB}"/>
                </a:ext>
              </a:extLst>
            </p:cNvPr>
            <p:cNvSpPr>
              <a:spLocks noChangeArrowheads="1"/>
            </p:cNvSpPr>
            <p:nvPr/>
          </p:nvSpPr>
          <p:spPr bwMode="auto">
            <a:xfrm>
              <a:off x="1920" y="1765"/>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62" name="Group 127">
            <a:extLst>
              <a:ext uri="{FF2B5EF4-FFF2-40B4-BE49-F238E27FC236}">
                <a16:creationId xmlns:a16="http://schemas.microsoft.com/office/drawing/2014/main" id="{DA215C3F-50D7-40BE-9E1F-25D1FD636F07}"/>
              </a:ext>
            </a:extLst>
          </p:cNvPr>
          <p:cNvGrpSpPr>
            <a:grpSpLocks noChangeAspect="1"/>
          </p:cNvGrpSpPr>
          <p:nvPr>
            <p:custDataLst>
              <p:tags r:id="rId14"/>
            </p:custDataLst>
          </p:nvPr>
        </p:nvGrpSpPr>
        <p:grpSpPr bwMode="auto">
          <a:xfrm>
            <a:off x="9827205" y="3683469"/>
            <a:ext cx="146824" cy="316938"/>
            <a:chOff x="5291" y="1765"/>
            <a:chExt cx="104" cy="230"/>
          </a:xfrm>
        </p:grpSpPr>
        <p:sp>
          <p:nvSpPr>
            <p:cNvPr id="163" name="Arc 128">
              <a:extLst>
                <a:ext uri="{FF2B5EF4-FFF2-40B4-BE49-F238E27FC236}">
                  <a16:creationId xmlns:a16="http://schemas.microsoft.com/office/drawing/2014/main" id="{32452422-2E01-46E7-B734-4F4591F11774}"/>
                </a:ext>
              </a:extLst>
            </p:cNvPr>
            <p:cNvSpPr>
              <a:spLocks/>
            </p:cNvSpPr>
            <p:nvPr/>
          </p:nvSpPr>
          <p:spPr bwMode="auto">
            <a:xfrm rot="10800000" flipH="1">
              <a:off x="5342" y="1781"/>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64" name="AutoShape 129">
              <a:extLst>
                <a:ext uri="{FF2B5EF4-FFF2-40B4-BE49-F238E27FC236}">
                  <a16:creationId xmlns:a16="http://schemas.microsoft.com/office/drawing/2014/main" id="{9A2D1D49-EC81-4F8B-B0EC-A2C7911CA1F1}"/>
                </a:ext>
              </a:extLst>
            </p:cNvPr>
            <p:cNvSpPr>
              <a:spLocks noChangeArrowheads="1"/>
            </p:cNvSpPr>
            <p:nvPr/>
          </p:nvSpPr>
          <p:spPr bwMode="auto">
            <a:xfrm rot="10800000">
              <a:off x="5291" y="1765"/>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65" name="Group 130">
            <a:extLst>
              <a:ext uri="{FF2B5EF4-FFF2-40B4-BE49-F238E27FC236}">
                <a16:creationId xmlns:a16="http://schemas.microsoft.com/office/drawing/2014/main" id="{C33A7ABD-7B11-4AF8-AEA1-83B3952FF43B}"/>
              </a:ext>
            </a:extLst>
          </p:cNvPr>
          <p:cNvGrpSpPr>
            <a:grpSpLocks noChangeAspect="1"/>
          </p:cNvGrpSpPr>
          <p:nvPr>
            <p:custDataLst>
              <p:tags r:id="rId15"/>
            </p:custDataLst>
          </p:nvPr>
        </p:nvGrpSpPr>
        <p:grpSpPr bwMode="auto">
          <a:xfrm>
            <a:off x="7574032" y="3683469"/>
            <a:ext cx="146824" cy="316938"/>
            <a:chOff x="3043" y="1764"/>
            <a:chExt cx="104" cy="230"/>
          </a:xfrm>
        </p:grpSpPr>
        <p:sp>
          <p:nvSpPr>
            <p:cNvPr id="166" name="Arc 131">
              <a:extLst>
                <a:ext uri="{FF2B5EF4-FFF2-40B4-BE49-F238E27FC236}">
                  <a16:creationId xmlns:a16="http://schemas.microsoft.com/office/drawing/2014/main" id="{3F6C0051-8208-46C9-8A40-59D7B15F7940}"/>
                </a:ext>
              </a:extLst>
            </p:cNvPr>
            <p:cNvSpPr>
              <a:spLocks/>
            </p:cNvSpPr>
            <p:nvPr/>
          </p:nvSpPr>
          <p:spPr bwMode="auto">
            <a:xfrm rot="8953712" flipH="1">
              <a:off x="3096" y="1780"/>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67" name="AutoShape 132">
              <a:extLst>
                <a:ext uri="{FF2B5EF4-FFF2-40B4-BE49-F238E27FC236}">
                  <a16:creationId xmlns:a16="http://schemas.microsoft.com/office/drawing/2014/main" id="{BD649C04-A6AD-4A75-940E-6E2E04AD1904}"/>
                </a:ext>
              </a:extLst>
            </p:cNvPr>
            <p:cNvSpPr>
              <a:spLocks noChangeArrowheads="1"/>
            </p:cNvSpPr>
            <p:nvPr/>
          </p:nvSpPr>
          <p:spPr bwMode="auto">
            <a:xfrm rot="8953712">
              <a:off x="3043" y="1764"/>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68" name="Group 198">
            <a:extLst>
              <a:ext uri="{FF2B5EF4-FFF2-40B4-BE49-F238E27FC236}">
                <a16:creationId xmlns:a16="http://schemas.microsoft.com/office/drawing/2014/main" id="{62DD664E-71BB-44B4-AA42-7E0B2F65218C}"/>
              </a:ext>
            </a:extLst>
          </p:cNvPr>
          <p:cNvGrpSpPr>
            <a:grpSpLocks noChangeAspect="1"/>
          </p:cNvGrpSpPr>
          <p:nvPr>
            <p:custDataLst>
              <p:tags r:id="rId16"/>
            </p:custDataLst>
          </p:nvPr>
        </p:nvGrpSpPr>
        <p:grpSpPr bwMode="auto">
          <a:xfrm>
            <a:off x="5265431" y="3683469"/>
            <a:ext cx="146824" cy="316938"/>
            <a:chOff x="4165" y="1761"/>
            <a:chExt cx="104" cy="230"/>
          </a:xfrm>
        </p:grpSpPr>
        <p:sp>
          <p:nvSpPr>
            <p:cNvPr id="169" name="Arc 199">
              <a:extLst>
                <a:ext uri="{FF2B5EF4-FFF2-40B4-BE49-F238E27FC236}">
                  <a16:creationId xmlns:a16="http://schemas.microsoft.com/office/drawing/2014/main" id="{4D3EF71C-3E90-467F-AFC1-4E3056D925A7}"/>
                </a:ext>
              </a:extLst>
            </p:cNvPr>
            <p:cNvSpPr>
              <a:spLocks/>
            </p:cNvSpPr>
            <p:nvPr/>
          </p:nvSpPr>
          <p:spPr bwMode="auto">
            <a:xfrm rot="12646288" flipH="1" flipV="1">
              <a:off x="4219" y="1775"/>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70" name="AutoShape 200">
              <a:extLst>
                <a:ext uri="{FF2B5EF4-FFF2-40B4-BE49-F238E27FC236}">
                  <a16:creationId xmlns:a16="http://schemas.microsoft.com/office/drawing/2014/main" id="{158EEF01-1761-47A5-8635-E553E982EEB6}"/>
                </a:ext>
              </a:extLst>
            </p:cNvPr>
            <p:cNvSpPr>
              <a:spLocks noChangeArrowheads="1"/>
            </p:cNvSpPr>
            <p:nvPr/>
          </p:nvSpPr>
          <p:spPr bwMode="auto">
            <a:xfrm rot="12646288" flipV="1">
              <a:off x="4165" y="1761"/>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71" name="Group 145">
            <a:extLst>
              <a:ext uri="{FF2B5EF4-FFF2-40B4-BE49-F238E27FC236}">
                <a16:creationId xmlns:a16="http://schemas.microsoft.com/office/drawing/2014/main" id="{43EA6314-A909-48F0-8369-5FB38F1B5A7A}"/>
              </a:ext>
            </a:extLst>
          </p:cNvPr>
          <p:cNvGrpSpPr>
            <a:grpSpLocks noChangeAspect="1"/>
          </p:cNvGrpSpPr>
          <p:nvPr>
            <p:custDataLst>
              <p:tags r:id="rId17"/>
            </p:custDataLst>
          </p:nvPr>
        </p:nvGrpSpPr>
        <p:grpSpPr bwMode="auto">
          <a:xfrm>
            <a:off x="2901477" y="4227712"/>
            <a:ext cx="217412" cy="316938"/>
            <a:chOff x="1870" y="1765"/>
            <a:chExt cx="154" cy="230"/>
          </a:xfrm>
        </p:grpSpPr>
        <p:sp>
          <p:nvSpPr>
            <p:cNvPr id="172" name="Arc 146">
              <a:extLst>
                <a:ext uri="{FF2B5EF4-FFF2-40B4-BE49-F238E27FC236}">
                  <a16:creationId xmlns:a16="http://schemas.microsoft.com/office/drawing/2014/main" id="{FBD24BFA-7575-4558-BBB2-8687638F1EA9}"/>
                </a:ext>
              </a:extLst>
            </p:cNvPr>
            <p:cNvSpPr>
              <a:spLocks/>
            </p:cNvSpPr>
            <p:nvPr/>
          </p:nvSpPr>
          <p:spPr bwMode="auto">
            <a:xfrm flipH="1">
              <a:off x="1870" y="1778"/>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73" name="AutoShape 147">
              <a:extLst>
                <a:ext uri="{FF2B5EF4-FFF2-40B4-BE49-F238E27FC236}">
                  <a16:creationId xmlns:a16="http://schemas.microsoft.com/office/drawing/2014/main" id="{B46333C1-140B-45A4-B34C-6333853C1BE8}"/>
                </a:ext>
              </a:extLst>
            </p:cNvPr>
            <p:cNvSpPr>
              <a:spLocks noChangeArrowheads="1"/>
            </p:cNvSpPr>
            <p:nvPr/>
          </p:nvSpPr>
          <p:spPr bwMode="auto">
            <a:xfrm>
              <a:off x="1920" y="1765"/>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74" name="Group 127">
            <a:extLst>
              <a:ext uri="{FF2B5EF4-FFF2-40B4-BE49-F238E27FC236}">
                <a16:creationId xmlns:a16="http://schemas.microsoft.com/office/drawing/2014/main" id="{9208B5C0-502F-486B-803A-E91392510D4C}"/>
              </a:ext>
            </a:extLst>
          </p:cNvPr>
          <p:cNvGrpSpPr>
            <a:grpSpLocks noChangeAspect="1"/>
          </p:cNvGrpSpPr>
          <p:nvPr>
            <p:custDataLst>
              <p:tags r:id="rId18"/>
            </p:custDataLst>
          </p:nvPr>
        </p:nvGrpSpPr>
        <p:grpSpPr bwMode="auto">
          <a:xfrm>
            <a:off x="9827205" y="4227712"/>
            <a:ext cx="146824" cy="316938"/>
            <a:chOff x="5291" y="1765"/>
            <a:chExt cx="104" cy="230"/>
          </a:xfrm>
        </p:grpSpPr>
        <p:sp>
          <p:nvSpPr>
            <p:cNvPr id="175" name="Arc 128">
              <a:extLst>
                <a:ext uri="{FF2B5EF4-FFF2-40B4-BE49-F238E27FC236}">
                  <a16:creationId xmlns:a16="http://schemas.microsoft.com/office/drawing/2014/main" id="{1CAF3104-B928-470A-BFEE-7618F7DD7A2D}"/>
                </a:ext>
              </a:extLst>
            </p:cNvPr>
            <p:cNvSpPr>
              <a:spLocks/>
            </p:cNvSpPr>
            <p:nvPr/>
          </p:nvSpPr>
          <p:spPr bwMode="auto">
            <a:xfrm rot="10800000" flipH="1">
              <a:off x="5342" y="1781"/>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76" name="AutoShape 129">
              <a:extLst>
                <a:ext uri="{FF2B5EF4-FFF2-40B4-BE49-F238E27FC236}">
                  <a16:creationId xmlns:a16="http://schemas.microsoft.com/office/drawing/2014/main" id="{013E2A50-F8A9-4ABD-9D9B-F670C2C5DB8E}"/>
                </a:ext>
              </a:extLst>
            </p:cNvPr>
            <p:cNvSpPr>
              <a:spLocks noChangeArrowheads="1"/>
            </p:cNvSpPr>
            <p:nvPr/>
          </p:nvSpPr>
          <p:spPr bwMode="auto">
            <a:xfrm rot="10800000">
              <a:off x="5291" y="1765"/>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77" name="Group 130">
            <a:extLst>
              <a:ext uri="{FF2B5EF4-FFF2-40B4-BE49-F238E27FC236}">
                <a16:creationId xmlns:a16="http://schemas.microsoft.com/office/drawing/2014/main" id="{BDDB5DC7-DC09-4F4D-82FD-F73E93015E0D}"/>
              </a:ext>
            </a:extLst>
          </p:cNvPr>
          <p:cNvGrpSpPr>
            <a:grpSpLocks noChangeAspect="1"/>
          </p:cNvGrpSpPr>
          <p:nvPr>
            <p:custDataLst>
              <p:tags r:id="rId19"/>
            </p:custDataLst>
          </p:nvPr>
        </p:nvGrpSpPr>
        <p:grpSpPr bwMode="auto">
          <a:xfrm>
            <a:off x="7574032" y="4227712"/>
            <a:ext cx="146824" cy="316938"/>
            <a:chOff x="3043" y="1764"/>
            <a:chExt cx="104" cy="230"/>
          </a:xfrm>
        </p:grpSpPr>
        <p:sp>
          <p:nvSpPr>
            <p:cNvPr id="178" name="Arc 131">
              <a:extLst>
                <a:ext uri="{FF2B5EF4-FFF2-40B4-BE49-F238E27FC236}">
                  <a16:creationId xmlns:a16="http://schemas.microsoft.com/office/drawing/2014/main" id="{F07080D3-F6CB-48A5-85EC-DF1B58FAAFC7}"/>
                </a:ext>
              </a:extLst>
            </p:cNvPr>
            <p:cNvSpPr>
              <a:spLocks/>
            </p:cNvSpPr>
            <p:nvPr/>
          </p:nvSpPr>
          <p:spPr bwMode="auto">
            <a:xfrm rot="8953712" flipH="1">
              <a:off x="3096" y="1780"/>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79" name="AutoShape 132">
              <a:extLst>
                <a:ext uri="{FF2B5EF4-FFF2-40B4-BE49-F238E27FC236}">
                  <a16:creationId xmlns:a16="http://schemas.microsoft.com/office/drawing/2014/main" id="{205F0134-3642-4FC1-B7FB-89A9E99C62A9}"/>
                </a:ext>
              </a:extLst>
            </p:cNvPr>
            <p:cNvSpPr>
              <a:spLocks noChangeArrowheads="1"/>
            </p:cNvSpPr>
            <p:nvPr/>
          </p:nvSpPr>
          <p:spPr bwMode="auto">
            <a:xfrm rot="8953712">
              <a:off x="3043" y="1764"/>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grpSp>
        <p:nvGrpSpPr>
          <p:cNvPr id="180" name="Group 198">
            <a:extLst>
              <a:ext uri="{FF2B5EF4-FFF2-40B4-BE49-F238E27FC236}">
                <a16:creationId xmlns:a16="http://schemas.microsoft.com/office/drawing/2014/main" id="{29E5E3AB-5A56-4EEB-B34F-AE6F18DF1F6A}"/>
              </a:ext>
            </a:extLst>
          </p:cNvPr>
          <p:cNvGrpSpPr>
            <a:grpSpLocks noChangeAspect="1"/>
          </p:cNvGrpSpPr>
          <p:nvPr>
            <p:custDataLst>
              <p:tags r:id="rId20"/>
            </p:custDataLst>
          </p:nvPr>
        </p:nvGrpSpPr>
        <p:grpSpPr bwMode="auto">
          <a:xfrm>
            <a:off x="5265431" y="4227712"/>
            <a:ext cx="146824" cy="316938"/>
            <a:chOff x="4165" y="1761"/>
            <a:chExt cx="104" cy="230"/>
          </a:xfrm>
        </p:grpSpPr>
        <p:sp>
          <p:nvSpPr>
            <p:cNvPr id="181" name="Arc 199">
              <a:extLst>
                <a:ext uri="{FF2B5EF4-FFF2-40B4-BE49-F238E27FC236}">
                  <a16:creationId xmlns:a16="http://schemas.microsoft.com/office/drawing/2014/main" id="{EB4019CD-A458-47AD-882B-273F7080D575}"/>
                </a:ext>
              </a:extLst>
            </p:cNvPr>
            <p:cNvSpPr>
              <a:spLocks/>
            </p:cNvSpPr>
            <p:nvPr/>
          </p:nvSpPr>
          <p:spPr bwMode="auto">
            <a:xfrm rot="12646288" flipH="1" flipV="1">
              <a:off x="4219" y="1775"/>
              <a:ext cx="0" cy="201"/>
            </a:xfrm>
            <a:custGeom>
              <a:avLst/>
              <a:gdLst>
                <a:gd name="G0" fmla="+- 21600 0 0"/>
                <a:gd name="G1" fmla="+- 21600 0 0"/>
                <a:gd name="G2" fmla="+- 21600 0 0"/>
                <a:gd name="T0" fmla="*/ 21600 w 43200"/>
                <a:gd name="T1" fmla="*/ 0 h 43200"/>
                <a:gd name="T2" fmla="*/ 21433 w 43200"/>
                <a:gd name="T3" fmla="*/ 1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9735"/>
                    <a:pt x="9569" y="92"/>
                    <a:pt x="21432" y="0"/>
                  </a:cubicBezTo>
                  <a:lnTo>
                    <a:pt x="21600" y="21600"/>
                  </a:lnTo>
                  <a:close/>
                </a:path>
              </a:pathLst>
            </a:custGeom>
            <a:solidFill>
              <a:schemeClr val="accent6"/>
            </a:solidFill>
            <a:ln w="6350">
              <a:noFill/>
              <a:round/>
              <a:headEnd/>
              <a:tailEnd/>
            </a:ln>
            <a:effectLst/>
          </p:spPr>
          <p:txBody>
            <a:bodyPr wrap="none" lIns="0" tIns="0" rIns="0" bIns="0" anchor="ctr">
              <a:spAutoFit/>
            </a:bodyPr>
            <a:lstStyle/>
            <a:p>
              <a:endParaRPr lang="de-DE" dirty="0"/>
            </a:p>
          </p:txBody>
        </p:sp>
        <p:sp>
          <p:nvSpPr>
            <p:cNvPr id="182" name="AutoShape 200">
              <a:extLst>
                <a:ext uri="{FF2B5EF4-FFF2-40B4-BE49-F238E27FC236}">
                  <a16:creationId xmlns:a16="http://schemas.microsoft.com/office/drawing/2014/main" id="{062473C2-D712-421F-8CA8-408A07878225}"/>
                </a:ext>
              </a:extLst>
            </p:cNvPr>
            <p:cNvSpPr>
              <a:spLocks noChangeArrowheads="1"/>
            </p:cNvSpPr>
            <p:nvPr/>
          </p:nvSpPr>
          <p:spPr bwMode="auto">
            <a:xfrm rot="12646288" flipV="1">
              <a:off x="4165" y="1761"/>
              <a:ext cx="104" cy="230"/>
            </a:xfrm>
            <a:prstGeom prst="upArrow">
              <a:avLst>
                <a:gd name="adj1" fmla="val 39398"/>
                <a:gd name="adj2" fmla="val 72253"/>
              </a:avLst>
            </a:prstGeom>
            <a:solidFill>
              <a:schemeClr val="bg1"/>
            </a:solidFill>
            <a:ln w="6350">
              <a:noFill/>
              <a:miter lim="800000"/>
              <a:headEnd/>
              <a:tailEnd/>
            </a:ln>
            <a:effectLst/>
          </p:spPr>
          <p:txBody>
            <a:bodyPr lIns="0" tIns="0" rIns="0" bIns="0" anchor="ctr">
              <a:spAutoFit/>
            </a:bodyPr>
            <a:lstStyle/>
            <a:p>
              <a:endParaRPr lang="de-DE" dirty="0"/>
            </a:p>
          </p:txBody>
        </p:sp>
      </p:grpSp>
    </p:spTree>
    <p:extLst>
      <p:ext uri="{BB962C8B-B14F-4D97-AF65-F5344CB8AC3E}">
        <p14:creationId xmlns:p14="http://schemas.microsoft.com/office/powerpoint/2010/main" val="715643583"/>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coring 1 – Stars</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84">
            <a:extLst>
              <a:ext uri="{FF2B5EF4-FFF2-40B4-BE49-F238E27FC236}">
                <a16:creationId xmlns:a16="http://schemas.microsoft.com/office/drawing/2014/main" id="{5E1ADCD3-41D8-4570-84D7-E188D42273B2}"/>
              </a:ext>
            </a:extLst>
          </p:cNvPr>
          <p:cNvSpPr>
            <a:spLocks noChangeArrowheads="1"/>
          </p:cNvSpPr>
          <p:nvPr/>
        </p:nvSpPr>
        <p:spPr bwMode="auto">
          <a:xfrm>
            <a:off x="9551272"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6" name="Rectangle 85">
            <a:extLst>
              <a:ext uri="{FF2B5EF4-FFF2-40B4-BE49-F238E27FC236}">
                <a16:creationId xmlns:a16="http://schemas.microsoft.com/office/drawing/2014/main" id="{F509ED7C-E2F8-4BE5-99EE-42BE07599347}"/>
              </a:ext>
            </a:extLst>
          </p:cNvPr>
          <p:cNvSpPr>
            <a:spLocks noChangeArrowheads="1"/>
          </p:cNvSpPr>
          <p:nvPr/>
        </p:nvSpPr>
        <p:spPr bwMode="auto">
          <a:xfrm>
            <a:off x="9551272"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Rectangle 126">
            <a:extLst>
              <a:ext uri="{FF2B5EF4-FFF2-40B4-BE49-F238E27FC236}">
                <a16:creationId xmlns:a16="http://schemas.microsoft.com/office/drawing/2014/main" id="{A81C6A4E-82D4-496A-B3AB-C81F8C5644C0}"/>
              </a:ext>
            </a:extLst>
          </p:cNvPr>
          <p:cNvSpPr>
            <a:spLocks noChangeArrowheads="1"/>
          </p:cNvSpPr>
          <p:nvPr/>
        </p:nvSpPr>
        <p:spPr bwMode="auto">
          <a:xfrm>
            <a:off x="9551272" y="356684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9" name="Rectangle 127">
            <a:extLst>
              <a:ext uri="{FF2B5EF4-FFF2-40B4-BE49-F238E27FC236}">
                <a16:creationId xmlns:a16="http://schemas.microsoft.com/office/drawing/2014/main" id="{51EA9E0E-959E-4FFD-8B94-4AE4EF1B0CE6}"/>
              </a:ext>
            </a:extLst>
          </p:cNvPr>
          <p:cNvSpPr>
            <a:spLocks noChangeArrowheads="1"/>
          </p:cNvSpPr>
          <p:nvPr/>
        </p:nvSpPr>
        <p:spPr bwMode="auto">
          <a:xfrm>
            <a:off x="9551272" y="411442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Rectangle 82">
            <a:extLst>
              <a:ext uri="{FF2B5EF4-FFF2-40B4-BE49-F238E27FC236}">
                <a16:creationId xmlns:a16="http://schemas.microsoft.com/office/drawing/2014/main" id="{446BFC38-EADD-421E-BBBB-982094274538}"/>
              </a:ext>
            </a:extLst>
          </p:cNvPr>
          <p:cNvSpPr>
            <a:spLocks noChangeArrowheads="1"/>
          </p:cNvSpPr>
          <p:nvPr/>
        </p:nvSpPr>
        <p:spPr bwMode="auto">
          <a:xfrm>
            <a:off x="7249647"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Rectangle 83">
            <a:extLst>
              <a:ext uri="{FF2B5EF4-FFF2-40B4-BE49-F238E27FC236}">
                <a16:creationId xmlns:a16="http://schemas.microsoft.com/office/drawing/2014/main" id="{C9F293A2-4622-4970-9C0F-91AF88DAFB47}"/>
              </a:ext>
            </a:extLst>
          </p:cNvPr>
          <p:cNvSpPr>
            <a:spLocks noChangeArrowheads="1"/>
          </p:cNvSpPr>
          <p:nvPr/>
        </p:nvSpPr>
        <p:spPr bwMode="auto">
          <a:xfrm>
            <a:off x="7249647"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14" name="Rectangle 124">
            <a:extLst>
              <a:ext uri="{FF2B5EF4-FFF2-40B4-BE49-F238E27FC236}">
                <a16:creationId xmlns:a16="http://schemas.microsoft.com/office/drawing/2014/main" id="{2CDE9B77-768E-4CAD-BB7A-8EBB44823021}"/>
              </a:ext>
            </a:extLst>
          </p:cNvPr>
          <p:cNvSpPr>
            <a:spLocks noChangeArrowheads="1"/>
          </p:cNvSpPr>
          <p:nvPr/>
        </p:nvSpPr>
        <p:spPr bwMode="auto">
          <a:xfrm>
            <a:off x="7249647" y="356684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15" name="Rectangle 125">
            <a:extLst>
              <a:ext uri="{FF2B5EF4-FFF2-40B4-BE49-F238E27FC236}">
                <a16:creationId xmlns:a16="http://schemas.microsoft.com/office/drawing/2014/main" id="{B4470BE9-8FE2-4384-AA9E-D36EBBCABDB4}"/>
              </a:ext>
            </a:extLst>
          </p:cNvPr>
          <p:cNvSpPr>
            <a:spLocks noChangeArrowheads="1"/>
          </p:cNvSpPr>
          <p:nvPr/>
        </p:nvSpPr>
        <p:spPr bwMode="auto">
          <a:xfrm>
            <a:off x="7249647" y="411442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17" name="Rectangle 80">
            <a:extLst>
              <a:ext uri="{FF2B5EF4-FFF2-40B4-BE49-F238E27FC236}">
                <a16:creationId xmlns:a16="http://schemas.microsoft.com/office/drawing/2014/main" id="{BB86CF0E-0711-4E0E-ACBE-7B12935F5B71}"/>
              </a:ext>
            </a:extLst>
          </p:cNvPr>
          <p:cNvSpPr>
            <a:spLocks noChangeArrowheads="1"/>
          </p:cNvSpPr>
          <p:nvPr/>
        </p:nvSpPr>
        <p:spPr bwMode="auto">
          <a:xfrm>
            <a:off x="4948023"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18" name="Rectangle 81">
            <a:extLst>
              <a:ext uri="{FF2B5EF4-FFF2-40B4-BE49-F238E27FC236}">
                <a16:creationId xmlns:a16="http://schemas.microsoft.com/office/drawing/2014/main" id="{A0A9745E-FCEE-4766-8F43-C13CEB468C99}"/>
              </a:ext>
            </a:extLst>
          </p:cNvPr>
          <p:cNvSpPr>
            <a:spLocks noChangeArrowheads="1"/>
          </p:cNvSpPr>
          <p:nvPr/>
        </p:nvSpPr>
        <p:spPr bwMode="auto">
          <a:xfrm>
            <a:off x="4948023"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20" name="Rectangle 122">
            <a:extLst>
              <a:ext uri="{FF2B5EF4-FFF2-40B4-BE49-F238E27FC236}">
                <a16:creationId xmlns:a16="http://schemas.microsoft.com/office/drawing/2014/main" id="{BC62A930-C249-4B3F-A3CC-3FBD9FAF0DB7}"/>
              </a:ext>
            </a:extLst>
          </p:cNvPr>
          <p:cNvSpPr>
            <a:spLocks noChangeArrowheads="1"/>
          </p:cNvSpPr>
          <p:nvPr/>
        </p:nvSpPr>
        <p:spPr bwMode="auto">
          <a:xfrm>
            <a:off x="4948023" y="356684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21" name="Rectangle 123">
            <a:extLst>
              <a:ext uri="{FF2B5EF4-FFF2-40B4-BE49-F238E27FC236}">
                <a16:creationId xmlns:a16="http://schemas.microsoft.com/office/drawing/2014/main" id="{4C49012F-8054-414F-9888-2A2DFCFD714C}"/>
              </a:ext>
            </a:extLst>
          </p:cNvPr>
          <p:cNvSpPr>
            <a:spLocks noChangeArrowheads="1"/>
          </p:cNvSpPr>
          <p:nvPr/>
        </p:nvSpPr>
        <p:spPr bwMode="auto">
          <a:xfrm>
            <a:off x="4948023" y="411442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23" name="Rectangle 79">
            <a:extLst>
              <a:ext uri="{FF2B5EF4-FFF2-40B4-BE49-F238E27FC236}">
                <a16:creationId xmlns:a16="http://schemas.microsoft.com/office/drawing/2014/main" id="{1222E0EE-2FD2-4C6A-9326-FDF09A940984}"/>
              </a:ext>
            </a:extLst>
          </p:cNvPr>
          <p:cNvSpPr>
            <a:spLocks noChangeArrowheads="1"/>
          </p:cNvSpPr>
          <p:nvPr/>
        </p:nvSpPr>
        <p:spPr bwMode="auto">
          <a:xfrm>
            <a:off x="2646399" y="235158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24" name="Rectangle 86">
            <a:extLst>
              <a:ext uri="{FF2B5EF4-FFF2-40B4-BE49-F238E27FC236}">
                <a16:creationId xmlns:a16="http://schemas.microsoft.com/office/drawing/2014/main" id="{1C10B9D7-1346-44C0-B198-1A81C3EEA0B9}"/>
              </a:ext>
            </a:extLst>
          </p:cNvPr>
          <p:cNvSpPr>
            <a:spLocks noChangeArrowheads="1"/>
          </p:cNvSpPr>
          <p:nvPr/>
        </p:nvSpPr>
        <p:spPr bwMode="auto">
          <a:xfrm>
            <a:off x="2646399" y="180400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26" name="Rectangle 121">
            <a:extLst>
              <a:ext uri="{FF2B5EF4-FFF2-40B4-BE49-F238E27FC236}">
                <a16:creationId xmlns:a16="http://schemas.microsoft.com/office/drawing/2014/main" id="{A99EDEF2-5924-493D-97B3-8B7BCB7660B2}"/>
              </a:ext>
            </a:extLst>
          </p:cNvPr>
          <p:cNvSpPr>
            <a:spLocks noChangeArrowheads="1"/>
          </p:cNvSpPr>
          <p:nvPr/>
        </p:nvSpPr>
        <p:spPr bwMode="auto">
          <a:xfrm>
            <a:off x="2646399" y="4114421"/>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27" name="Rectangle 128">
            <a:extLst>
              <a:ext uri="{FF2B5EF4-FFF2-40B4-BE49-F238E27FC236}">
                <a16:creationId xmlns:a16="http://schemas.microsoft.com/office/drawing/2014/main" id="{B468771C-4D9B-49DB-B0F7-4CA39EF3B8AB}"/>
              </a:ext>
            </a:extLst>
          </p:cNvPr>
          <p:cNvSpPr>
            <a:spLocks noChangeArrowheads="1"/>
          </p:cNvSpPr>
          <p:nvPr/>
        </p:nvSpPr>
        <p:spPr bwMode="auto">
          <a:xfrm>
            <a:off x="2646399" y="3566849"/>
            <a:ext cx="2304000" cy="540000"/>
          </a:xfrm>
          <a:prstGeom prst="rect">
            <a:avLst/>
          </a:prstGeom>
          <a:solidFill>
            <a:srgbClr val="E4E7E7"/>
          </a:solidFill>
          <a:ln w="6350">
            <a:solidFill>
              <a:srgbClr val="FFFFFF"/>
            </a:solidFill>
            <a:miter lim="800000"/>
            <a:headEnd/>
            <a:tailEnd/>
          </a:ln>
          <a:effectLst/>
        </p:spPr>
        <p:txBody>
          <a:bodyPr lIns="684000" tIns="72000" rIns="108000" bIns="72000" anchor="ctr" anchorCtr="0"/>
          <a:lstStyle/>
          <a:p>
            <a:pPr marL="180975" marR="0" lvl="0" indent="-180975" algn="l" defTabSz="914400" rtl="0" eaLnBrk="0" fontAlgn="auto" latinLnBrk="0" hangingPunct="0">
              <a:lnSpc>
                <a:spcPct val="100000"/>
              </a:lnSpc>
              <a:spcBef>
                <a:spcPct val="0"/>
              </a:spcBef>
              <a:spcAft>
                <a:spcPts val="0"/>
              </a:spcAft>
              <a:buClrTx/>
              <a:buSzTx/>
              <a:buFontTx/>
              <a:buChar char="•"/>
              <a:tabLst/>
              <a:defRPr/>
            </a:pPr>
            <a:endParaRPr kumimoji="0" lang="en-US" sz="1050" b="0" i="0" u="none" strike="noStrike" kern="0" cap="none" spc="0" normalizeH="0" baseline="0" noProof="0" dirty="0">
              <a:ln>
                <a:noFill/>
              </a:ln>
              <a:solidFill>
                <a:srgbClr val="000000"/>
              </a:solidFill>
              <a:effectLst/>
              <a:uLnTx/>
              <a:uFillTx/>
              <a:latin typeface="Graphik"/>
              <a:ea typeface="+mn-ea"/>
              <a:cs typeface="+mn-cs"/>
            </a:endParaRPr>
          </a:p>
        </p:txBody>
      </p:sp>
      <p:sp>
        <p:nvSpPr>
          <p:cNvPr id="29" name="Rectangle 87">
            <a:extLst>
              <a:ext uri="{FF2B5EF4-FFF2-40B4-BE49-F238E27FC236}">
                <a16:creationId xmlns:a16="http://schemas.microsoft.com/office/drawing/2014/main" id="{51469D7F-96D9-4C74-B2EA-088BAD65F295}"/>
              </a:ext>
            </a:extLst>
          </p:cNvPr>
          <p:cNvSpPr>
            <a:spLocks noChangeArrowheads="1"/>
          </p:cNvSpPr>
          <p:nvPr/>
        </p:nvSpPr>
        <p:spPr bwMode="auto">
          <a:xfrm>
            <a:off x="344775" y="1804009"/>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Option 1</a:t>
            </a:r>
          </a:p>
        </p:txBody>
      </p:sp>
      <p:sp>
        <p:nvSpPr>
          <p:cNvPr id="31" name="Rectangle 93">
            <a:extLst>
              <a:ext uri="{FF2B5EF4-FFF2-40B4-BE49-F238E27FC236}">
                <a16:creationId xmlns:a16="http://schemas.microsoft.com/office/drawing/2014/main" id="{3CD43278-CBF6-4FD4-BBBC-0D6DA8181D0F}"/>
              </a:ext>
            </a:extLst>
          </p:cNvPr>
          <p:cNvSpPr>
            <a:spLocks noChangeArrowheads="1"/>
          </p:cNvSpPr>
          <p:nvPr/>
        </p:nvSpPr>
        <p:spPr bwMode="auto">
          <a:xfrm>
            <a:off x="344775" y="2351581"/>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Option 2</a:t>
            </a:r>
          </a:p>
        </p:txBody>
      </p:sp>
      <p:sp>
        <p:nvSpPr>
          <p:cNvPr id="32" name="Rectangle 129">
            <a:extLst>
              <a:ext uri="{FF2B5EF4-FFF2-40B4-BE49-F238E27FC236}">
                <a16:creationId xmlns:a16="http://schemas.microsoft.com/office/drawing/2014/main" id="{42D02B0E-04AE-4CB3-8763-3CAF88BD3E22}"/>
              </a:ext>
            </a:extLst>
          </p:cNvPr>
          <p:cNvSpPr>
            <a:spLocks noChangeArrowheads="1"/>
          </p:cNvSpPr>
          <p:nvPr/>
        </p:nvSpPr>
        <p:spPr bwMode="auto">
          <a:xfrm>
            <a:off x="344775" y="3566849"/>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Criterion 1</a:t>
            </a:r>
          </a:p>
        </p:txBody>
      </p:sp>
      <p:sp>
        <p:nvSpPr>
          <p:cNvPr id="34" name="Rectangle 135">
            <a:extLst>
              <a:ext uri="{FF2B5EF4-FFF2-40B4-BE49-F238E27FC236}">
                <a16:creationId xmlns:a16="http://schemas.microsoft.com/office/drawing/2014/main" id="{06C81705-028D-43FA-A160-8CDB57B2596E}"/>
              </a:ext>
            </a:extLst>
          </p:cNvPr>
          <p:cNvSpPr>
            <a:spLocks noChangeArrowheads="1"/>
          </p:cNvSpPr>
          <p:nvPr/>
        </p:nvSpPr>
        <p:spPr bwMode="auto">
          <a:xfrm>
            <a:off x="344775" y="4114421"/>
            <a:ext cx="2304000" cy="540000"/>
          </a:xfrm>
          <a:prstGeom prst="rect">
            <a:avLst/>
          </a:prstGeom>
          <a:solidFill>
            <a:srgbClr val="E4E7E7"/>
          </a:solidFill>
          <a:ln w="6350">
            <a:solidFill>
              <a:srgbClr val="FFFFFF"/>
            </a:solidFill>
            <a:miter lim="800000"/>
            <a:headEnd/>
            <a:tailEnd/>
          </a:ln>
          <a:effectLst/>
        </p:spPr>
        <p:txBody>
          <a:bodyPr lIns="144000" tIns="72000" rIns="108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Criterion 2</a:t>
            </a:r>
          </a:p>
        </p:txBody>
      </p:sp>
      <p:sp>
        <p:nvSpPr>
          <p:cNvPr id="35" name="Rectangle 6">
            <a:extLst>
              <a:ext uri="{FF2B5EF4-FFF2-40B4-BE49-F238E27FC236}">
                <a16:creationId xmlns:a16="http://schemas.microsoft.com/office/drawing/2014/main" id="{ABD8BECE-9867-451E-88BB-A0EF8740F98B}"/>
              </a:ext>
            </a:extLst>
          </p:cNvPr>
          <p:cNvSpPr>
            <a:spLocks noChangeAspect="1" noChangeArrowheads="1"/>
          </p:cNvSpPr>
          <p:nvPr/>
        </p:nvSpPr>
        <p:spPr bwMode="auto">
          <a:xfrm>
            <a:off x="341856" y="5152971"/>
            <a:ext cx="557845"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Excellent</a:t>
            </a:r>
          </a:p>
        </p:txBody>
      </p:sp>
      <p:sp>
        <p:nvSpPr>
          <p:cNvPr id="36" name="Rectangle 11">
            <a:extLst>
              <a:ext uri="{FF2B5EF4-FFF2-40B4-BE49-F238E27FC236}">
                <a16:creationId xmlns:a16="http://schemas.microsoft.com/office/drawing/2014/main" id="{A32466E9-B7CB-4879-9BB8-CB8E8F4577EF}"/>
              </a:ext>
            </a:extLst>
          </p:cNvPr>
          <p:cNvSpPr>
            <a:spLocks noChangeAspect="1" noChangeArrowheads="1"/>
          </p:cNvSpPr>
          <p:nvPr/>
        </p:nvSpPr>
        <p:spPr bwMode="auto">
          <a:xfrm>
            <a:off x="1291674" y="5152971"/>
            <a:ext cx="338234"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Good</a:t>
            </a:r>
          </a:p>
        </p:txBody>
      </p:sp>
      <p:sp>
        <p:nvSpPr>
          <p:cNvPr id="37" name="Rectangle 9">
            <a:extLst>
              <a:ext uri="{FF2B5EF4-FFF2-40B4-BE49-F238E27FC236}">
                <a16:creationId xmlns:a16="http://schemas.microsoft.com/office/drawing/2014/main" id="{CAACDCA2-5779-4C5C-A5BE-CE4D59010DCF}"/>
              </a:ext>
            </a:extLst>
          </p:cNvPr>
          <p:cNvSpPr>
            <a:spLocks noChangeAspect="1" noChangeArrowheads="1"/>
          </p:cNvSpPr>
          <p:nvPr/>
        </p:nvSpPr>
        <p:spPr bwMode="auto">
          <a:xfrm flipH="1">
            <a:off x="3019866" y="5152971"/>
            <a:ext cx="282129"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Poor</a:t>
            </a:r>
          </a:p>
        </p:txBody>
      </p:sp>
      <p:sp>
        <p:nvSpPr>
          <p:cNvPr id="38" name="Rectangle 8">
            <a:extLst>
              <a:ext uri="{FF2B5EF4-FFF2-40B4-BE49-F238E27FC236}">
                <a16:creationId xmlns:a16="http://schemas.microsoft.com/office/drawing/2014/main" id="{AA5CAD1F-0159-4273-925A-DA4E45054F0D}"/>
              </a:ext>
            </a:extLst>
          </p:cNvPr>
          <p:cNvSpPr>
            <a:spLocks noChangeAspect="1" noChangeArrowheads="1"/>
          </p:cNvSpPr>
          <p:nvPr/>
        </p:nvSpPr>
        <p:spPr bwMode="auto">
          <a:xfrm>
            <a:off x="1975750" y="5152971"/>
            <a:ext cx="730969"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Satisfactory</a:t>
            </a:r>
          </a:p>
        </p:txBody>
      </p:sp>
      <p:sp>
        <p:nvSpPr>
          <p:cNvPr id="39" name="Rectangle 10">
            <a:extLst>
              <a:ext uri="{FF2B5EF4-FFF2-40B4-BE49-F238E27FC236}">
                <a16:creationId xmlns:a16="http://schemas.microsoft.com/office/drawing/2014/main" id="{A6E88832-0F90-43F9-A8CA-E3C9108CADAF}"/>
              </a:ext>
            </a:extLst>
          </p:cNvPr>
          <p:cNvSpPr>
            <a:spLocks noChangeAspect="1" noChangeArrowheads="1"/>
          </p:cNvSpPr>
          <p:nvPr/>
        </p:nvSpPr>
        <p:spPr bwMode="auto">
          <a:xfrm>
            <a:off x="3667938" y="5152971"/>
            <a:ext cx="599523" cy="153888"/>
          </a:xfrm>
          <a:prstGeom prst="rect">
            <a:avLst/>
          </a:prstGeom>
          <a:noFill/>
          <a:ln w="6350">
            <a:noFill/>
            <a:miter lim="800000"/>
            <a:headEnd/>
            <a:tailEnd/>
          </a:ln>
          <a:effectLst/>
        </p:spPr>
        <p:txBody>
          <a:bodyPr wrap="none" lIns="0" tIns="0" rIns="0" bIns="0" anchor="ctr">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raphik"/>
                <a:ea typeface="+mn-ea"/>
                <a:cs typeface="+mn-cs"/>
              </a:rPr>
              <a:t>Very poor</a:t>
            </a:r>
          </a:p>
        </p:txBody>
      </p:sp>
      <p:grpSp>
        <p:nvGrpSpPr>
          <p:cNvPr id="40" name="Group 199">
            <a:extLst>
              <a:ext uri="{FF2B5EF4-FFF2-40B4-BE49-F238E27FC236}">
                <a16:creationId xmlns:a16="http://schemas.microsoft.com/office/drawing/2014/main" id="{275E024E-E427-47AE-97DF-E413CB2D7689}"/>
              </a:ext>
            </a:extLst>
          </p:cNvPr>
          <p:cNvGrpSpPr>
            <a:grpSpLocks noChangeAspect="1"/>
          </p:cNvGrpSpPr>
          <p:nvPr/>
        </p:nvGrpSpPr>
        <p:grpSpPr bwMode="auto">
          <a:xfrm>
            <a:off x="333632" y="5427694"/>
            <a:ext cx="519232" cy="91899"/>
            <a:chOff x="2711" y="3146"/>
            <a:chExt cx="745" cy="121"/>
          </a:xfrm>
          <a:solidFill>
            <a:srgbClr val="DCAFFF"/>
          </a:solidFill>
        </p:grpSpPr>
        <p:sp>
          <p:nvSpPr>
            <p:cNvPr id="41" name="AutoShape 200">
              <a:extLst>
                <a:ext uri="{FF2B5EF4-FFF2-40B4-BE49-F238E27FC236}">
                  <a16:creationId xmlns:a16="http://schemas.microsoft.com/office/drawing/2014/main" id="{D0625773-16BC-4EE5-9B6D-E69CC4851862}"/>
                </a:ext>
              </a:extLst>
            </p:cNvPr>
            <p:cNvSpPr>
              <a:spLocks noChangeArrowheads="1"/>
            </p:cNvSpPr>
            <p:nvPr/>
          </p:nvSpPr>
          <p:spPr bwMode="auto">
            <a:xfrm>
              <a:off x="2711"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2" name="AutoShape 201">
              <a:extLst>
                <a:ext uri="{FF2B5EF4-FFF2-40B4-BE49-F238E27FC236}">
                  <a16:creationId xmlns:a16="http://schemas.microsoft.com/office/drawing/2014/main" id="{0803AB35-92EB-4C37-AC04-7EA68E370299}"/>
                </a:ext>
              </a:extLst>
            </p:cNvPr>
            <p:cNvSpPr>
              <a:spLocks noChangeArrowheads="1"/>
            </p:cNvSpPr>
            <p:nvPr/>
          </p:nvSpPr>
          <p:spPr bwMode="auto">
            <a:xfrm>
              <a:off x="2863" y="3146"/>
              <a:ext cx="136"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3" name="AutoShape 202">
              <a:extLst>
                <a:ext uri="{FF2B5EF4-FFF2-40B4-BE49-F238E27FC236}">
                  <a16:creationId xmlns:a16="http://schemas.microsoft.com/office/drawing/2014/main" id="{73791BDB-7F26-4FFA-A793-4192143C5742}"/>
                </a:ext>
              </a:extLst>
            </p:cNvPr>
            <p:cNvSpPr>
              <a:spLocks noChangeArrowheads="1"/>
            </p:cNvSpPr>
            <p:nvPr/>
          </p:nvSpPr>
          <p:spPr bwMode="auto">
            <a:xfrm>
              <a:off x="3016"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4" name="AutoShape 203">
              <a:extLst>
                <a:ext uri="{FF2B5EF4-FFF2-40B4-BE49-F238E27FC236}">
                  <a16:creationId xmlns:a16="http://schemas.microsoft.com/office/drawing/2014/main" id="{A930B3ED-4B54-4A4F-B99E-911F9E34DE48}"/>
                </a:ext>
              </a:extLst>
            </p:cNvPr>
            <p:cNvSpPr>
              <a:spLocks noChangeArrowheads="1"/>
            </p:cNvSpPr>
            <p:nvPr/>
          </p:nvSpPr>
          <p:spPr bwMode="auto">
            <a:xfrm>
              <a:off x="3168" y="3146"/>
              <a:ext cx="136"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5" name="AutoShape 204">
              <a:extLst>
                <a:ext uri="{FF2B5EF4-FFF2-40B4-BE49-F238E27FC236}">
                  <a16:creationId xmlns:a16="http://schemas.microsoft.com/office/drawing/2014/main" id="{60F4C23F-76C5-4C07-8B65-314A38C29681}"/>
                </a:ext>
              </a:extLst>
            </p:cNvPr>
            <p:cNvSpPr>
              <a:spLocks noChangeArrowheads="1"/>
            </p:cNvSpPr>
            <p:nvPr/>
          </p:nvSpPr>
          <p:spPr bwMode="auto">
            <a:xfrm>
              <a:off x="3321"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46" name="Group 205">
            <a:extLst>
              <a:ext uri="{FF2B5EF4-FFF2-40B4-BE49-F238E27FC236}">
                <a16:creationId xmlns:a16="http://schemas.microsoft.com/office/drawing/2014/main" id="{07B0C887-4DE1-469D-A998-9D2515BD0256}"/>
              </a:ext>
            </a:extLst>
          </p:cNvPr>
          <p:cNvGrpSpPr>
            <a:grpSpLocks noChangeAspect="1"/>
          </p:cNvGrpSpPr>
          <p:nvPr/>
        </p:nvGrpSpPr>
        <p:grpSpPr bwMode="auto">
          <a:xfrm>
            <a:off x="3701744" y="5427694"/>
            <a:ext cx="519231" cy="91899"/>
            <a:chOff x="2711" y="3146"/>
            <a:chExt cx="745" cy="121"/>
          </a:xfrm>
        </p:grpSpPr>
        <p:sp>
          <p:nvSpPr>
            <p:cNvPr id="47" name="AutoShape 206">
              <a:extLst>
                <a:ext uri="{FF2B5EF4-FFF2-40B4-BE49-F238E27FC236}">
                  <a16:creationId xmlns:a16="http://schemas.microsoft.com/office/drawing/2014/main" id="{F8F7A6E6-6FCF-4ABC-8113-BA93F9BBC3DC}"/>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8" name="AutoShape 207">
              <a:extLst>
                <a:ext uri="{FF2B5EF4-FFF2-40B4-BE49-F238E27FC236}">
                  <a16:creationId xmlns:a16="http://schemas.microsoft.com/office/drawing/2014/main" id="{9F2FA7AD-E5C0-4D21-95C6-BDCD8A21A251}"/>
                </a:ext>
              </a:extLst>
            </p:cNvPr>
            <p:cNvSpPr>
              <a:spLocks noChangeArrowheads="1"/>
            </p:cNvSpPr>
            <p:nvPr/>
          </p:nvSpPr>
          <p:spPr bwMode="auto">
            <a:xfrm>
              <a:off x="2863"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49" name="AutoShape 208">
              <a:extLst>
                <a:ext uri="{FF2B5EF4-FFF2-40B4-BE49-F238E27FC236}">
                  <a16:creationId xmlns:a16="http://schemas.microsoft.com/office/drawing/2014/main" id="{0250CF3A-B500-4544-81D6-96A7304F2070}"/>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0" name="AutoShape 209">
              <a:extLst>
                <a:ext uri="{FF2B5EF4-FFF2-40B4-BE49-F238E27FC236}">
                  <a16:creationId xmlns:a16="http://schemas.microsoft.com/office/drawing/2014/main" id="{223C4823-83E6-43E3-9ED2-31E23A8198F2}"/>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1" name="AutoShape 210">
              <a:extLst>
                <a:ext uri="{FF2B5EF4-FFF2-40B4-BE49-F238E27FC236}">
                  <a16:creationId xmlns:a16="http://schemas.microsoft.com/office/drawing/2014/main" id="{03494D85-DEFD-43D3-B782-F2419A8A1C04}"/>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52" name="Group 211">
            <a:extLst>
              <a:ext uri="{FF2B5EF4-FFF2-40B4-BE49-F238E27FC236}">
                <a16:creationId xmlns:a16="http://schemas.microsoft.com/office/drawing/2014/main" id="{8F740192-93E3-45FD-9D96-4282120C6930}"/>
              </a:ext>
            </a:extLst>
          </p:cNvPr>
          <p:cNvGrpSpPr>
            <a:grpSpLocks noChangeAspect="1"/>
          </p:cNvGrpSpPr>
          <p:nvPr/>
        </p:nvGrpSpPr>
        <p:grpSpPr bwMode="auto">
          <a:xfrm>
            <a:off x="2859718" y="5427694"/>
            <a:ext cx="519231" cy="91899"/>
            <a:chOff x="2711" y="3146"/>
            <a:chExt cx="745" cy="121"/>
          </a:xfrm>
        </p:grpSpPr>
        <p:sp>
          <p:nvSpPr>
            <p:cNvPr id="53" name="AutoShape 212">
              <a:extLst>
                <a:ext uri="{FF2B5EF4-FFF2-40B4-BE49-F238E27FC236}">
                  <a16:creationId xmlns:a16="http://schemas.microsoft.com/office/drawing/2014/main" id="{47E30018-671F-4564-B748-2C2F3CFB153F}"/>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4" name="AutoShape 213">
              <a:extLst>
                <a:ext uri="{FF2B5EF4-FFF2-40B4-BE49-F238E27FC236}">
                  <a16:creationId xmlns:a16="http://schemas.microsoft.com/office/drawing/2014/main" id="{CB8A08D3-93D7-4158-B81E-B1F916D580BC}"/>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5" name="AutoShape 214">
              <a:extLst>
                <a:ext uri="{FF2B5EF4-FFF2-40B4-BE49-F238E27FC236}">
                  <a16:creationId xmlns:a16="http://schemas.microsoft.com/office/drawing/2014/main" id="{88858D8D-FDCF-4D7C-A9EB-78A03C88AA42}"/>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6" name="AutoShape 215">
              <a:extLst>
                <a:ext uri="{FF2B5EF4-FFF2-40B4-BE49-F238E27FC236}">
                  <a16:creationId xmlns:a16="http://schemas.microsoft.com/office/drawing/2014/main" id="{01CB50B3-5B97-4627-8720-0CFFDBF65255}"/>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57" name="AutoShape 216">
              <a:extLst>
                <a:ext uri="{FF2B5EF4-FFF2-40B4-BE49-F238E27FC236}">
                  <a16:creationId xmlns:a16="http://schemas.microsoft.com/office/drawing/2014/main" id="{810CDA4A-DB2C-423A-A278-083E3B1A89C7}"/>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58" name="Group 217">
            <a:extLst>
              <a:ext uri="{FF2B5EF4-FFF2-40B4-BE49-F238E27FC236}">
                <a16:creationId xmlns:a16="http://schemas.microsoft.com/office/drawing/2014/main" id="{F0DBE5EC-4B38-4A48-AC4F-5399B91BEE0C}"/>
              </a:ext>
            </a:extLst>
          </p:cNvPr>
          <p:cNvGrpSpPr>
            <a:grpSpLocks noChangeAspect="1"/>
          </p:cNvGrpSpPr>
          <p:nvPr/>
        </p:nvGrpSpPr>
        <p:grpSpPr bwMode="auto">
          <a:xfrm>
            <a:off x="2020489" y="5427694"/>
            <a:ext cx="519232" cy="91899"/>
            <a:chOff x="2711" y="3146"/>
            <a:chExt cx="745" cy="121"/>
          </a:xfrm>
        </p:grpSpPr>
        <p:sp>
          <p:nvSpPr>
            <p:cNvPr id="59" name="AutoShape 218">
              <a:extLst>
                <a:ext uri="{FF2B5EF4-FFF2-40B4-BE49-F238E27FC236}">
                  <a16:creationId xmlns:a16="http://schemas.microsoft.com/office/drawing/2014/main" id="{C207360F-1EAB-4E19-9E31-19ABC83E0175}"/>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0" name="AutoShape 219">
              <a:extLst>
                <a:ext uri="{FF2B5EF4-FFF2-40B4-BE49-F238E27FC236}">
                  <a16:creationId xmlns:a16="http://schemas.microsoft.com/office/drawing/2014/main" id="{BBA6321C-BDDB-43CB-B425-94BCCB95A372}"/>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1" name="AutoShape 220">
              <a:extLst>
                <a:ext uri="{FF2B5EF4-FFF2-40B4-BE49-F238E27FC236}">
                  <a16:creationId xmlns:a16="http://schemas.microsoft.com/office/drawing/2014/main" id="{2A869865-5533-428E-8223-3BF4A1AABB70}"/>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2" name="AutoShape 221">
              <a:extLst>
                <a:ext uri="{FF2B5EF4-FFF2-40B4-BE49-F238E27FC236}">
                  <a16:creationId xmlns:a16="http://schemas.microsoft.com/office/drawing/2014/main" id="{3212DBA3-02D6-4CD3-BDF3-9B1C2BC6D96C}"/>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3" name="AutoShape 222">
              <a:extLst>
                <a:ext uri="{FF2B5EF4-FFF2-40B4-BE49-F238E27FC236}">
                  <a16:creationId xmlns:a16="http://schemas.microsoft.com/office/drawing/2014/main" id="{B74D0E4E-C115-4748-8851-404ACDA844D6}"/>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64" name="Group 223">
            <a:extLst>
              <a:ext uri="{FF2B5EF4-FFF2-40B4-BE49-F238E27FC236}">
                <a16:creationId xmlns:a16="http://schemas.microsoft.com/office/drawing/2014/main" id="{07F83AB8-249D-46BB-A07D-E3B27583D06F}"/>
              </a:ext>
            </a:extLst>
          </p:cNvPr>
          <p:cNvGrpSpPr>
            <a:grpSpLocks noChangeAspect="1"/>
          </p:cNvGrpSpPr>
          <p:nvPr/>
        </p:nvGrpSpPr>
        <p:grpSpPr bwMode="auto">
          <a:xfrm>
            <a:off x="1175661" y="5427694"/>
            <a:ext cx="519231" cy="91899"/>
            <a:chOff x="2711" y="3146"/>
            <a:chExt cx="745" cy="121"/>
          </a:xfrm>
        </p:grpSpPr>
        <p:sp>
          <p:nvSpPr>
            <p:cNvPr id="65" name="AutoShape 224">
              <a:extLst>
                <a:ext uri="{FF2B5EF4-FFF2-40B4-BE49-F238E27FC236}">
                  <a16:creationId xmlns:a16="http://schemas.microsoft.com/office/drawing/2014/main" id="{2FD1ABD6-1905-4BD2-B122-6A99271B2DFF}"/>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6" name="AutoShape 225">
              <a:extLst>
                <a:ext uri="{FF2B5EF4-FFF2-40B4-BE49-F238E27FC236}">
                  <a16:creationId xmlns:a16="http://schemas.microsoft.com/office/drawing/2014/main" id="{1571D76C-79AD-4C02-9EDE-E3DF41BF7B4B}"/>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7" name="AutoShape 226">
              <a:extLst>
                <a:ext uri="{FF2B5EF4-FFF2-40B4-BE49-F238E27FC236}">
                  <a16:creationId xmlns:a16="http://schemas.microsoft.com/office/drawing/2014/main" id="{D6F424B0-F58D-427C-AAF9-0BC20C60B264}"/>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8" name="AutoShape 227">
              <a:extLst>
                <a:ext uri="{FF2B5EF4-FFF2-40B4-BE49-F238E27FC236}">
                  <a16:creationId xmlns:a16="http://schemas.microsoft.com/office/drawing/2014/main" id="{0990BD36-F168-4640-B01B-BD14DF9EC800}"/>
                </a:ext>
              </a:extLst>
            </p:cNvPr>
            <p:cNvSpPr>
              <a:spLocks noChangeArrowheads="1"/>
            </p:cNvSpPr>
            <p:nvPr/>
          </p:nvSpPr>
          <p:spPr bwMode="auto">
            <a:xfrm>
              <a:off x="3168"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69" name="AutoShape 228">
              <a:extLst>
                <a:ext uri="{FF2B5EF4-FFF2-40B4-BE49-F238E27FC236}">
                  <a16:creationId xmlns:a16="http://schemas.microsoft.com/office/drawing/2014/main" id="{17EBDFEB-8C9A-4ECD-AA83-28AB41353207}"/>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70" name="Group 211">
            <a:extLst>
              <a:ext uri="{FF2B5EF4-FFF2-40B4-BE49-F238E27FC236}">
                <a16:creationId xmlns:a16="http://schemas.microsoft.com/office/drawing/2014/main" id="{1D31B081-4B35-4482-84F4-B2F95E6D6573}"/>
              </a:ext>
            </a:extLst>
          </p:cNvPr>
          <p:cNvGrpSpPr>
            <a:grpSpLocks noChangeAspect="1"/>
          </p:cNvGrpSpPr>
          <p:nvPr/>
        </p:nvGrpSpPr>
        <p:grpSpPr bwMode="auto">
          <a:xfrm>
            <a:off x="3078399" y="1946575"/>
            <a:ext cx="1440000" cy="254869"/>
            <a:chOff x="2711" y="3146"/>
            <a:chExt cx="745" cy="121"/>
          </a:xfrm>
        </p:grpSpPr>
        <p:sp>
          <p:nvSpPr>
            <p:cNvPr id="71" name="AutoShape 212">
              <a:extLst>
                <a:ext uri="{FF2B5EF4-FFF2-40B4-BE49-F238E27FC236}">
                  <a16:creationId xmlns:a16="http://schemas.microsoft.com/office/drawing/2014/main" id="{88911F13-7281-488F-838C-AC38A1B43D23}"/>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2" name="AutoShape 213">
              <a:extLst>
                <a:ext uri="{FF2B5EF4-FFF2-40B4-BE49-F238E27FC236}">
                  <a16:creationId xmlns:a16="http://schemas.microsoft.com/office/drawing/2014/main" id="{3BD16CBA-3FC5-4782-878B-9EED7698A561}"/>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3" name="AutoShape 214">
              <a:extLst>
                <a:ext uri="{FF2B5EF4-FFF2-40B4-BE49-F238E27FC236}">
                  <a16:creationId xmlns:a16="http://schemas.microsoft.com/office/drawing/2014/main" id="{DC8E5DC5-D647-4A23-B418-91F0824049AE}"/>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4" name="AutoShape 215">
              <a:extLst>
                <a:ext uri="{FF2B5EF4-FFF2-40B4-BE49-F238E27FC236}">
                  <a16:creationId xmlns:a16="http://schemas.microsoft.com/office/drawing/2014/main" id="{ED38E6DF-191E-40B3-8121-7A13A578D43F}"/>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5" name="AutoShape 216">
              <a:extLst>
                <a:ext uri="{FF2B5EF4-FFF2-40B4-BE49-F238E27FC236}">
                  <a16:creationId xmlns:a16="http://schemas.microsoft.com/office/drawing/2014/main" id="{2A075A53-723C-43FC-8FCD-3CAFE9CA882E}"/>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76" name="Group 205">
            <a:extLst>
              <a:ext uri="{FF2B5EF4-FFF2-40B4-BE49-F238E27FC236}">
                <a16:creationId xmlns:a16="http://schemas.microsoft.com/office/drawing/2014/main" id="{0C2D844A-3978-4CAA-8565-B92B22C27C36}"/>
              </a:ext>
            </a:extLst>
          </p:cNvPr>
          <p:cNvGrpSpPr>
            <a:grpSpLocks noChangeAspect="1"/>
          </p:cNvGrpSpPr>
          <p:nvPr/>
        </p:nvGrpSpPr>
        <p:grpSpPr bwMode="auto">
          <a:xfrm>
            <a:off x="5380023" y="2548898"/>
            <a:ext cx="1440000" cy="254880"/>
            <a:chOff x="2711" y="3146"/>
            <a:chExt cx="745" cy="121"/>
          </a:xfrm>
        </p:grpSpPr>
        <p:sp>
          <p:nvSpPr>
            <p:cNvPr id="77" name="AutoShape 206">
              <a:extLst>
                <a:ext uri="{FF2B5EF4-FFF2-40B4-BE49-F238E27FC236}">
                  <a16:creationId xmlns:a16="http://schemas.microsoft.com/office/drawing/2014/main" id="{7A7445B7-17AF-4972-BD86-41ABCCDFF525}"/>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8" name="AutoShape 207">
              <a:extLst>
                <a:ext uri="{FF2B5EF4-FFF2-40B4-BE49-F238E27FC236}">
                  <a16:creationId xmlns:a16="http://schemas.microsoft.com/office/drawing/2014/main" id="{58B02209-1706-4F6E-ACFC-38376DB54059}"/>
                </a:ext>
              </a:extLst>
            </p:cNvPr>
            <p:cNvSpPr>
              <a:spLocks noChangeArrowheads="1"/>
            </p:cNvSpPr>
            <p:nvPr/>
          </p:nvSpPr>
          <p:spPr bwMode="auto">
            <a:xfrm>
              <a:off x="2863"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79" name="AutoShape 208">
              <a:extLst>
                <a:ext uri="{FF2B5EF4-FFF2-40B4-BE49-F238E27FC236}">
                  <a16:creationId xmlns:a16="http://schemas.microsoft.com/office/drawing/2014/main" id="{15E907A9-4079-4E8C-B3D7-3B5290387DF9}"/>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0" name="AutoShape 209">
              <a:extLst>
                <a:ext uri="{FF2B5EF4-FFF2-40B4-BE49-F238E27FC236}">
                  <a16:creationId xmlns:a16="http://schemas.microsoft.com/office/drawing/2014/main" id="{7B955C72-C0AF-4B65-94AE-673445F996F4}"/>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1" name="AutoShape 210">
              <a:extLst>
                <a:ext uri="{FF2B5EF4-FFF2-40B4-BE49-F238E27FC236}">
                  <a16:creationId xmlns:a16="http://schemas.microsoft.com/office/drawing/2014/main" id="{7682E358-9C84-4966-B20D-4913C11FC353}"/>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82" name="Group 223">
            <a:extLst>
              <a:ext uri="{FF2B5EF4-FFF2-40B4-BE49-F238E27FC236}">
                <a16:creationId xmlns:a16="http://schemas.microsoft.com/office/drawing/2014/main" id="{9BC714A2-8C99-46C7-88E1-CAF58F776D90}"/>
              </a:ext>
            </a:extLst>
          </p:cNvPr>
          <p:cNvGrpSpPr>
            <a:grpSpLocks noChangeAspect="1"/>
          </p:cNvGrpSpPr>
          <p:nvPr/>
        </p:nvGrpSpPr>
        <p:grpSpPr bwMode="auto">
          <a:xfrm>
            <a:off x="5380023" y="1946569"/>
            <a:ext cx="1440000" cy="254880"/>
            <a:chOff x="2711" y="3146"/>
            <a:chExt cx="745" cy="121"/>
          </a:xfrm>
        </p:grpSpPr>
        <p:sp>
          <p:nvSpPr>
            <p:cNvPr id="83" name="AutoShape 224">
              <a:extLst>
                <a:ext uri="{FF2B5EF4-FFF2-40B4-BE49-F238E27FC236}">
                  <a16:creationId xmlns:a16="http://schemas.microsoft.com/office/drawing/2014/main" id="{2AAE3AA3-F13F-4293-8D1C-98CF7B7D2581}"/>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4" name="AutoShape 225">
              <a:extLst>
                <a:ext uri="{FF2B5EF4-FFF2-40B4-BE49-F238E27FC236}">
                  <a16:creationId xmlns:a16="http://schemas.microsoft.com/office/drawing/2014/main" id="{0AE48D56-C510-4ABA-A2A8-0A64BB5815F9}"/>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5" name="AutoShape 226">
              <a:extLst>
                <a:ext uri="{FF2B5EF4-FFF2-40B4-BE49-F238E27FC236}">
                  <a16:creationId xmlns:a16="http://schemas.microsoft.com/office/drawing/2014/main" id="{EFB41C55-1531-49C1-99C2-47B13DCB35C4}"/>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6" name="AutoShape 227">
              <a:extLst>
                <a:ext uri="{FF2B5EF4-FFF2-40B4-BE49-F238E27FC236}">
                  <a16:creationId xmlns:a16="http://schemas.microsoft.com/office/drawing/2014/main" id="{A1498E74-3A92-40A7-81C9-08BB1CB83236}"/>
                </a:ext>
              </a:extLst>
            </p:cNvPr>
            <p:cNvSpPr>
              <a:spLocks noChangeArrowheads="1"/>
            </p:cNvSpPr>
            <p:nvPr/>
          </p:nvSpPr>
          <p:spPr bwMode="auto">
            <a:xfrm>
              <a:off x="3168"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87" name="AutoShape 228">
              <a:extLst>
                <a:ext uri="{FF2B5EF4-FFF2-40B4-BE49-F238E27FC236}">
                  <a16:creationId xmlns:a16="http://schemas.microsoft.com/office/drawing/2014/main" id="{39355489-0D3E-4CD3-8A71-603970702023}"/>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88" name="Group 199">
            <a:extLst>
              <a:ext uri="{FF2B5EF4-FFF2-40B4-BE49-F238E27FC236}">
                <a16:creationId xmlns:a16="http://schemas.microsoft.com/office/drawing/2014/main" id="{588A4764-5A2F-4792-9675-9772B3FAF8DB}"/>
              </a:ext>
            </a:extLst>
          </p:cNvPr>
          <p:cNvGrpSpPr>
            <a:grpSpLocks noChangeAspect="1"/>
          </p:cNvGrpSpPr>
          <p:nvPr/>
        </p:nvGrpSpPr>
        <p:grpSpPr bwMode="auto">
          <a:xfrm>
            <a:off x="9983272" y="1946569"/>
            <a:ext cx="1440000" cy="254880"/>
            <a:chOff x="2711" y="3146"/>
            <a:chExt cx="745" cy="121"/>
          </a:xfrm>
          <a:solidFill>
            <a:srgbClr val="DCAFFF"/>
          </a:solidFill>
        </p:grpSpPr>
        <p:sp>
          <p:nvSpPr>
            <p:cNvPr id="89" name="AutoShape 200">
              <a:extLst>
                <a:ext uri="{FF2B5EF4-FFF2-40B4-BE49-F238E27FC236}">
                  <a16:creationId xmlns:a16="http://schemas.microsoft.com/office/drawing/2014/main" id="{3C2C6A62-46DA-4A9A-967F-085041A857F8}"/>
                </a:ext>
              </a:extLst>
            </p:cNvPr>
            <p:cNvSpPr>
              <a:spLocks noChangeArrowheads="1"/>
            </p:cNvSpPr>
            <p:nvPr/>
          </p:nvSpPr>
          <p:spPr bwMode="auto">
            <a:xfrm>
              <a:off x="2711"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0" name="AutoShape 201">
              <a:extLst>
                <a:ext uri="{FF2B5EF4-FFF2-40B4-BE49-F238E27FC236}">
                  <a16:creationId xmlns:a16="http://schemas.microsoft.com/office/drawing/2014/main" id="{7EE7D523-4F24-4FD6-B2E1-0205FD6FC9BA}"/>
                </a:ext>
              </a:extLst>
            </p:cNvPr>
            <p:cNvSpPr>
              <a:spLocks noChangeArrowheads="1"/>
            </p:cNvSpPr>
            <p:nvPr/>
          </p:nvSpPr>
          <p:spPr bwMode="auto">
            <a:xfrm>
              <a:off x="2863" y="3146"/>
              <a:ext cx="136"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1" name="AutoShape 202">
              <a:extLst>
                <a:ext uri="{FF2B5EF4-FFF2-40B4-BE49-F238E27FC236}">
                  <a16:creationId xmlns:a16="http://schemas.microsoft.com/office/drawing/2014/main" id="{BE239B8C-6AFE-4F88-98BF-45DE507D2D9D}"/>
                </a:ext>
              </a:extLst>
            </p:cNvPr>
            <p:cNvSpPr>
              <a:spLocks noChangeArrowheads="1"/>
            </p:cNvSpPr>
            <p:nvPr/>
          </p:nvSpPr>
          <p:spPr bwMode="auto">
            <a:xfrm>
              <a:off x="3016"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2" name="AutoShape 203">
              <a:extLst>
                <a:ext uri="{FF2B5EF4-FFF2-40B4-BE49-F238E27FC236}">
                  <a16:creationId xmlns:a16="http://schemas.microsoft.com/office/drawing/2014/main" id="{2A4C450A-7435-4A9A-BA4C-8EACA616C501}"/>
                </a:ext>
              </a:extLst>
            </p:cNvPr>
            <p:cNvSpPr>
              <a:spLocks noChangeArrowheads="1"/>
            </p:cNvSpPr>
            <p:nvPr/>
          </p:nvSpPr>
          <p:spPr bwMode="auto">
            <a:xfrm>
              <a:off x="3168" y="3146"/>
              <a:ext cx="136"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3" name="AutoShape 204">
              <a:extLst>
                <a:ext uri="{FF2B5EF4-FFF2-40B4-BE49-F238E27FC236}">
                  <a16:creationId xmlns:a16="http://schemas.microsoft.com/office/drawing/2014/main" id="{E4E15104-061A-4C3D-9FD0-75A39C2F356D}"/>
                </a:ext>
              </a:extLst>
            </p:cNvPr>
            <p:cNvSpPr>
              <a:spLocks noChangeArrowheads="1"/>
            </p:cNvSpPr>
            <p:nvPr/>
          </p:nvSpPr>
          <p:spPr bwMode="auto">
            <a:xfrm>
              <a:off x="3321"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94" name="Group 217">
            <a:extLst>
              <a:ext uri="{FF2B5EF4-FFF2-40B4-BE49-F238E27FC236}">
                <a16:creationId xmlns:a16="http://schemas.microsoft.com/office/drawing/2014/main" id="{DCFC9AF8-C9F2-4B64-BB9E-5E15B4065585}"/>
              </a:ext>
            </a:extLst>
          </p:cNvPr>
          <p:cNvGrpSpPr>
            <a:grpSpLocks noChangeAspect="1"/>
          </p:cNvGrpSpPr>
          <p:nvPr/>
        </p:nvGrpSpPr>
        <p:grpSpPr bwMode="auto">
          <a:xfrm>
            <a:off x="3078399" y="2517532"/>
            <a:ext cx="1440000" cy="254880"/>
            <a:chOff x="2711" y="3146"/>
            <a:chExt cx="745" cy="121"/>
          </a:xfrm>
        </p:grpSpPr>
        <p:sp>
          <p:nvSpPr>
            <p:cNvPr id="95" name="AutoShape 218">
              <a:extLst>
                <a:ext uri="{FF2B5EF4-FFF2-40B4-BE49-F238E27FC236}">
                  <a16:creationId xmlns:a16="http://schemas.microsoft.com/office/drawing/2014/main" id="{F1C32A82-6358-409C-8780-1D70CF3A0C60}"/>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6" name="AutoShape 219">
              <a:extLst>
                <a:ext uri="{FF2B5EF4-FFF2-40B4-BE49-F238E27FC236}">
                  <a16:creationId xmlns:a16="http://schemas.microsoft.com/office/drawing/2014/main" id="{83DCDEFF-A412-4BAB-96FF-7968109D8CBE}"/>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7" name="AutoShape 220">
              <a:extLst>
                <a:ext uri="{FF2B5EF4-FFF2-40B4-BE49-F238E27FC236}">
                  <a16:creationId xmlns:a16="http://schemas.microsoft.com/office/drawing/2014/main" id="{A58C5E18-DBAE-4BA9-BA7B-148294BFF24A}"/>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8" name="AutoShape 221">
              <a:extLst>
                <a:ext uri="{FF2B5EF4-FFF2-40B4-BE49-F238E27FC236}">
                  <a16:creationId xmlns:a16="http://schemas.microsoft.com/office/drawing/2014/main" id="{3863431B-8CCD-493F-B55A-7EBDB9ECB978}"/>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99" name="AutoShape 222">
              <a:extLst>
                <a:ext uri="{FF2B5EF4-FFF2-40B4-BE49-F238E27FC236}">
                  <a16:creationId xmlns:a16="http://schemas.microsoft.com/office/drawing/2014/main" id="{BB7E293A-B06D-499A-95E2-641BF5486A95}"/>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00" name="Group 211">
            <a:extLst>
              <a:ext uri="{FF2B5EF4-FFF2-40B4-BE49-F238E27FC236}">
                <a16:creationId xmlns:a16="http://schemas.microsoft.com/office/drawing/2014/main" id="{D8620024-3AB7-4212-92BD-055F376AC82A}"/>
              </a:ext>
            </a:extLst>
          </p:cNvPr>
          <p:cNvGrpSpPr>
            <a:grpSpLocks noChangeAspect="1"/>
          </p:cNvGrpSpPr>
          <p:nvPr/>
        </p:nvGrpSpPr>
        <p:grpSpPr bwMode="auto">
          <a:xfrm>
            <a:off x="7681647" y="2494146"/>
            <a:ext cx="1440000" cy="254869"/>
            <a:chOff x="2711" y="3146"/>
            <a:chExt cx="745" cy="121"/>
          </a:xfrm>
        </p:grpSpPr>
        <p:sp>
          <p:nvSpPr>
            <p:cNvPr id="101" name="AutoShape 212">
              <a:extLst>
                <a:ext uri="{FF2B5EF4-FFF2-40B4-BE49-F238E27FC236}">
                  <a16:creationId xmlns:a16="http://schemas.microsoft.com/office/drawing/2014/main" id="{75ACDB5C-705D-4B45-8DA1-EB20F29431C4}"/>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2" name="AutoShape 213">
              <a:extLst>
                <a:ext uri="{FF2B5EF4-FFF2-40B4-BE49-F238E27FC236}">
                  <a16:creationId xmlns:a16="http://schemas.microsoft.com/office/drawing/2014/main" id="{CE820290-B8C2-4C1E-BBD7-9A5B40ED1C6E}"/>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3" name="AutoShape 214">
              <a:extLst>
                <a:ext uri="{FF2B5EF4-FFF2-40B4-BE49-F238E27FC236}">
                  <a16:creationId xmlns:a16="http://schemas.microsoft.com/office/drawing/2014/main" id="{998CCE86-2892-4327-B749-CB4FD4025537}"/>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4" name="AutoShape 215">
              <a:extLst>
                <a:ext uri="{FF2B5EF4-FFF2-40B4-BE49-F238E27FC236}">
                  <a16:creationId xmlns:a16="http://schemas.microsoft.com/office/drawing/2014/main" id="{634438B2-3D7E-4C8D-A98B-10A5AB5C11C7}"/>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5" name="AutoShape 216">
              <a:extLst>
                <a:ext uri="{FF2B5EF4-FFF2-40B4-BE49-F238E27FC236}">
                  <a16:creationId xmlns:a16="http://schemas.microsoft.com/office/drawing/2014/main" id="{876E94D4-5C45-48CB-9FF6-B04C606DD4AD}"/>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06" name="Group 223">
            <a:extLst>
              <a:ext uri="{FF2B5EF4-FFF2-40B4-BE49-F238E27FC236}">
                <a16:creationId xmlns:a16="http://schemas.microsoft.com/office/drawing/2014/main" id="{9A27EB39-A269-4E9B-BF5B-87FA1E357250}"/>
              </a:ext>
            </a:extLst>
          </p:cNvPr>
          <p:cNvGrpSpPr>
            <a:grpSpLocks noChangeAspect="1"/>
          </p:cNvGrpSpPr>
          <p:nvPr/>
        </p:nvGrpSpPr>
        <p:grpSpPr bwMode="auto">
          <a:xfrm>
            <a:off x="7681647" y="1946569"/>
            <a:ext cx="1440000" cy="254880"/>
            <a:chOff x="2711" y="3146"/>
            <a:chExt cx="745" cy="121"/>
          </a:xfrm>
        </p:grpSpPr>
        <p:sp>
          <p:nvSpPr>
            <p:cNvPr id="107" name="AutoShape 224">
              <a:extLst>
                <a:ext uri="{FF2B5EF4-FFF2-40B4-BE49-F238E27FC236}">
                  <a16:creationId xmlns:a16="http://schemas.microsoft.com/office/drawing/2014/main" id="{E665A882-94C7-4E5D-B82E-4A999CA4CFC6}"/>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8" name="AutoShape 225">
              <a:extLst>
                <a:ext uri="{FF2B5EF4-FFF2-40B4-BE49-F238E27FC236}">
                  <a16:creationId xmlns:a16="http://schemas.microsoft.com/office/drawing/2014/main" id="{5F468306-B20D-48C1-A673-CE320F9724B2}"/>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09" name="AutoShape 226">
              <a:extLst>
                <a:ext uri="{FF2B5EF4-FFF2-40B4-BE49-F238E27FC236}">
                  <a16:creationId xmlns:a16="http://schemas.microsoft.com/office/drawing/2014/main" id="{D7B8BF7E-F95E-4AF0-A52F-9AEF1FBAA9EA}"/>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0" name="AutoShape 227">
              <a:extLst>
                <a:ext uri="{FF2B5EF4-FFF2-40B4-BE49-F238E27FC236}">
                  <a16:creationId xmlns:a16="http://schemas.microsoft.com/office/drawing/2014/main" id="{421F1277-12B6-48A8-BBC9-E10DD0E5655A}"/>
                </a:ext>
              </a:extLst>
            </p:cNvPr>
            <p:cNvSpPr>
              <a:spLocks noChangeArrowheads="1"/>
            </p:cNvSpPr>
            <p:nvPr/>
          </p:nvSpPr>
          <p:spPr bwMode="auto">
            <a:xfrm>
              <a:off x="3168"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1" name="AutoShape 228">
              <a:extLst>
                <a:ext uri="{FF2B5EF4-FFF2-40B4-BE49-F238E27FC236}">
                  <a16:creationId xmlns:a16="http://schemas.microsoft.com/office/drawing/2014/main" id="{EFA39718-7A0B-4CE0-BD57-D60C4583C32C}"/>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12" name="Group 217">
            <a:extLst>
              <a:ext uri="{FF2B5EF4-FFF2-40B4-BE49-F238E27FC236}">
                <a16:creationId xmlns:a16="http://schemas.microsoft.com/office/drawing/2014/main" id="{9409CC46-A906-40D3-999A-D78F16D5E3BB}"/>
              </a:ext>
            </a:extLst>
          </p:cNvPr>
          <p:cNvGrpSpPr>
            <a:grpSpLocks noChangeAspect="1"/>
          </p:cNvGrpSpPr>
          <p:nvPr/>
        </p:nvGrpSpPr>
        <p:grpSpPr bwMode="auto">
          <a:xfrm>
            <a:off x="9983272" y="2517532"/>
            <a:ext cx="1440000" cy="254880"/>
            <a:chOff x="2711" y="3146"/>
            <a:chExt cx="745" cy="121"/>
          </a:xfrm>
        </p:grpSpPr>
        <p:sp>
          <p:nvSpPr>
            <p:cNvPr id="113" name="AutoShape 218">
              <a:extLst>
                <a:ext uri="{FF2B5EF4-FFF2-40B4-BE49-F238E27FC236}">
                  <a16:creationId xmlns:a16="http://schemas.microsoft.com/office/drawing/2014/main" id="{80FF1CF5-8CF4-4304-AD75-37C559BCD8D7}"/>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4" name="AutoShape 219">
              <a:extLst>
                <a:ext uri="{FF2B5EF4-FFF2-40B4-BE49-F238E27FC236}">
                  <a16:creationId xmlns:a16="http://schemas.microsoft.com/office/drawing/2014/main" id="{7FBF2A04-B28C-4277-B34B-BABA4D098789}"/>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5" name="AutoShape 220">
              <a:extLst>
                <a:ext uri="{FF2B5EF4-FFF2-40B4-BE49-F238E27FC236}">
                  <a16:creationId xmlns:a16="http://schemas.microsoft.com/office/drawing/2014/main" id="{D12F1A01-632C-4FD1-A093-8F73AE157996}"/>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6" name="AutoShape 221">
              <a:extLst>
                <a:ext uri="{FF2B5EF4-FFF2-40B4-BE49-F238E27FC236}">
                  <a16:creationId xmlns:a16="http://schemas.microsoft.com/office/drawing/2014/main" id="{1719BCF3-1B00-40AF-BFAE-F9616B62069F}"/>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17" name="AutoShape 222">
              <a:extLst>
                <a:ext uri="{FF2B5EF4-FFF2-40B4-BE49-F238E27FC236}">
                  <a16:creationId xmlns:a16="http://schemas.microsoft.com/office/drawing/2014/main" id="{68FB2532-0D5A-4B06-8712-CE1F8A847E16}"/>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18" name="Group 211">
            <a:extLst>
              <a:ext uri="{FF2B5EF4-FFF2-40B4-BE49-F238E27FC236}">
                <a16:creationId xmlns:a16="http://schemas.microsoft.com/office/drawing/2014/main" id="{BB8447AE-5833-49D1-B4E8-008DEFAC5B91}"/>
              </a:ext>
            </a:extLst>
          </p:cNvPr>
          <p:cNvGrpSpPr>
            <a:grpSpLocks noChangeAspect="1"/>
          </p:cNvGrpSpPr>
          <p:nvPr/>
        </p:nvGrpSpPr>
        <p:grpSpPr bwMode="auto">
          <a:xfrm>
            <a:off x="3078399" y="3668195"/>
            <a:ext cx="1440000" cy="254869"/>
            <a:chOff x="2711" y="3146"/>
            <a:chExt cx="745" cy="121"/>
          </a:xfrm>
        </p:grpSpPr>
        <p:sp>
          <p:nvSpPr>
            <p:cNvPr id="119" name="AutoShape 212">
              <a:extLst>
                <a:ext uri="{FF2B5EF4-FFF2-40B4-BE49-F238E27FC236}">
                  <a16:creationId xmlns:a16="http://schemas.microsoft.com/office/drawing/2014/main" id="{900FC672-946B-469B-A4CC-C66C3D4F2688}"/>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0" name="AutoShape 213">
              <a:extLst>
                <a:ext uri="{FF2B5EF4-FFF2-40B4-BE49-F238E27FC236}">
                  <a16:creationId xmlns:a16="http://schemas.microsoft.com/office/drawing/2014/main" id="{64F6307B-D1ED-4F45-9E83-B39E74A68D69}"/>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1" name="AutoShape 214">
              <a:extLst>
                <a:ext uri="{FF2B5EF4-FFF2-40B4-BE49-F238E27FC236}">
                  <a16:creationId xmlns:a16="http://schemas.microsoft.com/office/drawing/2014/main" id="{8486AA4E-68D1-4515-BC43-76EA67957D9E}"/>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2" name="AutoShape 215">
              <a:extLst>
                <a:ext uri="{FF2B5EF4-FFF2-40B4-BE49-F238E27FC236}">
                  <a16:creationId xmlns:a16="http://schemas.microsoft.com/office/drawing/2014/main" id="{7418F68C-2BB3-4B7B-BBE6-A6FC1E889456}"/>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3" name="AutoShape 216">
              <a:extLst>
                <a:ext uri="{FF2B5EF4-FFF2-40B4-BE49-F238E27FC236}">
                  <a16:creationId xmlns:a16="http://schemas.microsoft.com/office/drawing/2014/main" id="{66D45AEC-1317-4E96-95C6-599C234CD96A}"/>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24" name="Group 205">
            <a:extLst>
              <a:ext uri="{FF2B5EF4-FFF2-40B4-BE49-F238E27FC236}">
                <a16:creationId xmlns:a16="http://schemas.microsoft.com/office/drawing/2014/main" id="{8BFD1E9E-194E-4ED4-9913-A6BE1816F994}"/>
              </a:ext>
            </a:extLst>
          </p:cNvPr>
          <p:cNvGrpSpPr>
            <a:grpSpLocks noChangeAspect="1"/>
          </p:cNvGrpSpPr>
          <p:nvPr/>
        </p:nvGrpSpPr>
        <p:grpSpPr bwMode="auto">
          <a:xfrm>
            <a:off x="5380023" y="4270518"/>
            <a:ext cx="1440000" cy="254880"/>
            <a:chOff x="2711" y="3146"/>
            <a:chExt cx="745" cy="121"/>
          </a:xfrm>
        </p:grpSpPr>
        <p:sp>
          <p:nvSpPr>
            <p:cNvPr id="125" name="AutoShape 206">
              <a:extLst>
                <a:ext uri="{FF2B5EF4-FFF2-40B4-BE49-F238E27FC236}">
                  <a16:creationId xmlns:a16="http://schemas.microsoft.com/office/drawing/2014/main" id="{7770A580-83EF-4FCD-BB23-88F2E17BADD3}"/>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6" name="AutoShape 207">
              <a:extLst>
                <a:ext uri="{FF2B5EF4-FFF2-40B4-BE49-F238E27FC236}">
                  <a16:creationId xmlns:a16="http://schemas.microsoft.com/office/drawing/2014/main" id="{0F62552B-6B00-4BCE-8718-F95BCB0CBE79}"/>
                </a:ext>
              </a:extLst>
            </p:cNvPr>
            <p:cNvSpPr>
              <a:spLocks noChangeArrowheads="1"/>
            </p:cNvSpPr>
            <p:nvPr/>
          </p:nvSpPr>
          <p:spPr bwMode="auto">
            <a:xfrm>
              <a:off x="2863"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7" name="AutoShape 208">
              <a:extLst>
                <a:ext uri="{FF2B5EF4-FFF2-40B4-BE49-F238E27FC236}">
                  <a16:creationId xmlns:a16="http://schemas.microsoft.com/office/drawing/2014/main" id="{3C6D5FAF-2FF2-4728-AAF1-593A1F4C9CDF}"/>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8" name="AutoShape 209">
              <a:extLst>
                <a:ext uri="{FF2B5EF4-FFF2-40B4-BE49-F238E27FC236}">
                  <a16:creationId xmlns:a16="http://schemas.microsoft.com/office/drawing/2014/main" id="{4A691FC4-332A-4DA2-A17C-37228E570DF8}"/>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29" name="AutoShape 210">
              <a:extLst>
                <a:ext uri="{FF2B5EF4-FFF2-40B4-BE49-F238E27FC236}">
                  <a16:creationId xmlns:a16="http://schemas.microsoft.com/office/drawing/2014/main" id="{771E233B-0263-41F3-99AF-8ADE7E50D4FE}"/>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30" name="Group 223">
            <a:extLst>
              <a:ext uri="{FF2B5EF4-FFF2-40B4-BE49-F238E27FC236}">
                <a16:creationId xmlns:a16="http://schemas.microsoft.com/office/drawing/2014/main" id="{1A91A53F-3042-400F-B566-78B1C9D027BE}"/>
              </a:ext>
            </a:extLst>
          </p:cNvPr>
          <p:cNvGrpSpPr>
            <a:grpSpLocks noChangeAspect="1"/>
          </p:cNvGrpSpPr>
          <p:nvPr/>
        </p:nvGrpSpPr>
        <p:grpSpPr bwMode="auto">
          <a:xfrm>
            <a:off x="5380023" y="3668189"/>
            <a:ext cx="1440000" cy="254880"/>
            <a:chOff x="2711" y="3146"/>
            <a:chExt cx="745" cy="121"/>
          </a:xfrm>
        </p:grpSpPr>
        <p:sp>
          <p:nvSpPr>
            <p:cNvPr id="131" name="AutoShape 224">
              <a:extLst>
                <a:ext uri="{FF2B5EF4-FFF2-40B4-BE49-F238E27FC236}">
                  <a16:creationId xmlns:a16="http://schemas.microsoft.com/office/drawing/2014/main" id="{727D2526-403A-4F33-B191-0D37EFFC1899}"/>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2" name="AutoShape 225">
              <a:extLst>
                <a:ext uri="{FF2B5EF4-FFF2-40B4-BE49-F238E27FC236}">
                  <a16:creationId xmlns:a16="http://schemas.microsoft.com/office/drawing/2014/main" id="{DAB93122-5964-4CC8-8373-B63E1505F429}"/>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3" name="AutoShape 226">
              <a:extLst>
                <a:ext uri="{FF2B5EF4-FFF2-40B4-BE49-F238E27FC236}">
                  <a16:creationId xmlns:a16="http://schemas.microsoft.com/office/drawing/2014/main" id="{7536E15A-9E72-495C-8A50-0103042F02DC}"/>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4" name="AutoShape 227">
              <a:extLst>
                <a:ext uri="{FF2B5EF4-FFF2-40B4-BE49-F238E27FC236}">
                  <a16:creationId xmlns:a16="http://schemas.microsoft.com/office/drawing/2014/main" id="{7430E738-EC31-4B19-A56F-9EE9AC7409AF}"/>
                </a:ext>
              </a:extLst>
            </p:cNvPr>
            <p:cNvSpPr>
              <a:spLocks noChangeArrowheads="1"/>
            </p:cNvSpPr>
            <p:nvPr/>
          </p:nvSpPr>
          <p:spPr bwMode="auto">
            <a:xfrm>
              <a:off x="3168"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5" name="AutoShape 228">
              <a:extLst>
                <a:ext uri="{FF2B5EF4-FFF2-40B4-BE49-F238E27FC236}">
                  <a16:creationId xmlns:a16="http://schemas.microsoft.com/office/drawing/2014/main" id="{FC083970-86C8-48BC-83C2-1852C4AB75B1}"/>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36" name="Group 199">
            <a:extLst>
              <a:ext uri="{FF2B5EF4-FFF2-40B4-BE49-F238E27FC236}">
                <a16:creationId xmlns:a16="http://schemas.microsoft.com/office/drawing/2014/main" id="{E9E86D30-366A-414C-B6F3-57E64A72871F}"/>
              </a:ext>
            </a:extLst>
          </p:cNvPr>
          <p:cNvGrpSpPr>
            <a:grpSpLocks noChangeAspect="1"/>
          </p:cNvGrpSpPr>
          <p:nvPr/>
        </p:nvGrpSpPr>
        <p:grpSpPr bwMode="auto">
          <a:xfrm>
            <a:off x="9983272" y="3668189"/>
            <a:ext cx="1440000" cy="254880"/>
            <a:chOff x="2711" y="3146"/>
            <a:chExt cx="745" cy="121"/>
          </a:xfrm>
          <a:solidFill>
            <a:srgbClr val="DCAFFF"/>
          </a:solidFill>
        </p:grpSpPr>
        <p:sp>
          <p:nvSpPr>
            <p:cNvPr id="137" name="AutoShape 200">
              <a:extLst>
                <a:ext uri="{FF2B5EF4-FFF2-40B4-BE49-F238E27FC236}">
                  <a16:creationId xmlns:a16="http://schemas.microsoft.com/office/drawing/2014/main" id="{62607573-6D2A-4EBA-8C69-D9FD91E932D1}"/>
                </a:ext>
              </a:extLst>
            </p:cNvPr>
            <p:cNvSpPr>
              <a:spLocks noChangeArrowheads="1"/>
            </p:cNvSpPr>
            <p:nvPr/>
          </p:nvSpPr>
          <p:spPr bwMode="auto">
            <a:xfrm>
              <a:off x="2711"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8" name="AutoShape 201">
              <a:extLst>
                <a:ext uri="{FF2B5EF4-FFF2-40B4-BE49-F238E27FC236}">
                  <a16:creationId xmlns:a16="http://schemas.microsoft.com/office/drawing/2014/main" id="{CA91904C-613F-4905-96A9-B10091057DCE}"/>
                </a:ext>
              </a:extLst>
            </p:cNvPr>
            <p:cNvSpPr>
              <a:spLocks noChangeArrowheads="1"/>
            </p:cNvSpPr>
            <p:nvPr/>
          </p:nvSpPr>
          <p:spPr bwMode="auto">
            <a:xfrm>
              <a:off x="2863" y="3146"/>
              <a:ext cx="136"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39" name="AutoShape 202">
              <a:extLst>
                <a:ext uri="{FF2B5EF4-FFF2-40B4-BE49-F238E27FC236}">
                  <a16:creationId xmlns:a16="http://schemas.microsoft.com/office/drawing/2014/main" id="{81DF9AEF-E7B0-414B-BB46-41EDDB4B4035}"/>
                </a:ext>
              </a:extLst>
            </p:cNvPr>
            <p:cNvSpPr>
              <a:spLocks noChangeArrowheads="1"/>
            </p:cNvSpPr>
            <p:nvPr/>
          </p:nvSpPr>
          <p:spPr bwMode="auto">
            <a:xfrm>
              <a:off x="3016"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40" name="AutoShape 203">
              <a:extLst>
                <a:ext uri="{FF2B5EF4-FFF2-40B4-BE49-F238E27FC236}">
                  <a16:creationId xmlns:a16="http://schemas.microsoft.com/office/drawing/2014/main" id="{7FA61E4E-945F-4AFC-84CA-119E75EC95D0}"/>
                </a:ext>
              </a:extLst>
            </p:cNvPr>
            <p:cNvSpPr>
              <a:spLocks noChangeArrowheads="1"/>
            </p:cNvSpPr>
            <p:nvPr/>
          </p:nvSpPr>
          <p:spPr bwMode="auto">
            <a:xfrm>
              <a:off x="3168" y="3146"/>
              <a:ext cx="136"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41" name="AutoShape 204">
              <a:extLst>
                <a:ext uri="{FF2B5EF4-FFF2-40B4-BE49-F238E27FC236}">
                  <a16:creationId xmlns:a16="http://schemas.microsoft.com/office/drawing/2014/main" id="{D55A5D7E-06AC-4617-8134-8653DC40C67B}"/>
                </a:ext>
              </a:extLst>
            </p:cNvPr>
            <p:cNvSpPr>
              <a:spLocks noChangeArrowheads="1"/>
            </p:cNvSpPr>
            <p:nvPr/>
          </p:nvSpPr>
          <p:spPr bwMode="auto">
            <a:xfrm>
              <a:off x="3321" y="3146"/>
              <a:ext cx="135" cy="121"/>
            </a:xfrm>
            <a:prstGeom prst="star5">
              <a:avLst/>
            </a:prstGeom>
            <a:grp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42" name="Group 217">
            <a:extLst>
              <a:ext uri="{FF2B5EF4-FFF2-40B4-BE49-F238E27FC236}">
                <a16:creationId xmlns:a16="http://schemas.microsoft.com/office/drawing/2014/main" id="{0B0578EF-9746-4DA8-BAA1-31FCF10A6F92}"/>
              </a:ext>
            </a:extLst>
          </p:cNvPr>
          <p:cNvGrpSpPr>
            <a:grpSpLocks noChangeAspect="1"/>
          </p:cNvGrpSpPr>
          <p:nvPr/>
        </p:nvGrpSpPr>
        <p:grpSpPr bwMode="auto">
          <a:xfrm>
            <a:off x="3078399" y="4239152"/>
            <a:ext cx="1440000" cy="254880"/>
            <a:chOff x="2711" y="3146"/>
            <a:chExt cx="745" cy="121"/>
          </a:xfrm>
        </p:grpSpPr>
        <p:sp>
          <p:nvSpPr>
            <p:cNvPr id="143" name="AutoShape 218">
              <a:extLst>
                <a:ext uri="{FF2B5EF4-FFF2-40B4-BE49-F238E27FC236}">
                  <a16:creationId xmlns:a16="http://schemas.microsoft.com/office/drawing/2014/main" id="{A18222D9-88D7-4D43-BF3A-3DA25B8A3DBE}"/>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44" name="AutoShape 219">
              <a:extLst>
                <a:ext uri="{FF2B5EF4-FFF2-40B4-BE49-F238E27FC236}">
                  <a16:creationId xmlns:a16="http://schemas.microsoft.com/office/drawing/2014/main" id="{EA1F508F-0664-42C4-A43B-88F0A302CF13}"/>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45" name="AutoShape 220">
              <a:extLst>
                <a:ext uri="{FF2B5EF4-FFF2-40B4-BE49-F238E27FC236}">
                  <a16:creationId xmlns:a16="http://schemas.microsoft.com/office/drawing/2014/main" id="{725EA0F7-5CA3-48C0-A6D1-B5CAE1E3CC27}"/>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46" name="AutoShape 221">
              <a:extLst>
                <a:ext uri="{FF2B5EF4-FFF2-40B4-BE49-F238E27FC236}">
                  <a16:creationId xmlns:a16="http://schemas.microsoft.com/office/drawing/2014/main" id="{231F85B5-0EEF-47BC-9609-9F1B75A57FFA}"/>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47" name="AutoShape 222">
              <a:extLst>
                <a:ext uri="{FF2B5EF4-FFF2-40B4-BE49-F238E27FC236}">
                  <a16:creationId xmlns:a16="http://schemas.microsoft.com/office/drawing/2014/main" id="{DD1782A1-58E0-41FE-9D8C-49FD90D7C655}"/>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48" name="Group 211">
            <a:extLst>
              <a:ext uri="{FF2B5EF4-FFF2-40B4-BE49-F238E27FC236}">
                <a16:creationId xmlns:a16="http://schemas.microsoft.com/office/drawing/2014/main" id="{56979BE9-EA54-4B0A-A398-3527F57ED5FE}"/>
              </a:ext>
            </a:extLst>
          </p:cNvPr>
          <p:cNvGrpSpPr>
            <a:grpSpLocks noChangeAspect="1"/>
          </p:cNvGrpSpPr>
          <p:nvPr/>
        </p:nvGrpSpPr>
        <p:grpSpPr bwMode="auto">
          <a:xfrm>
            <a:off x="7681647" y="4215766"/>
            <a:ext cx="1440000" cy="254869"/>
            <a:chOff x="2711" y="3146"/>
            <a:chExt cx="745" cy="121"/>
          </a:xfrm>
        </p:grpSpPr>
        <p:sp>
          <p:nvSpPr>
            <p:cNvPr id="149" name="AutoShape 212">
              <a:extLst>
                <a:ext uri="{FF2B5EF4-FFF2-40B4-BE49-F238E27FC236}">
                  <a16:creationId xmlns:a16="http://schemas.microsoft.com/office/drawing/2014/main" id="{5DAA56AB-006C-4701-8B24-A882B2E1CAFD}"/>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0" name="AutoShape 213">
              <a:extLst>
                <a:ext uri="{FF2B5EF4-FFF2-40B4-BE49-F238E27FC236}">
                  <a16:creationId xmlns:a16="http://schemas.microsoft.com/office/drawing/2014/main" id="{971D3652-23C4-4481-B18F-0AFD97505293}"/>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1" name="AutoShape 214">
              <a:extLst>
                <a:ext uri="{FF2B5EF4-FFF2-40B4-BE49-F238E27FC236}">
                  <a16:creationId xmlns:a16="http://schemas.microsoft.com/office/drawing/2014/main" id="{7E29C959-EE9A-4F11-8541-7AD1D754B6E6}"/>
                </a:ext>
              </a:extLst>
            </p:cNvPr>
            <p:cNvSpPr>
              <a:spLocks noChangeArrowheads="1"/>
            </p:cNvSpPr>
            <p:nvPr/>
          </p:nvSpPr>
          <p:spPr bwMode="auto">
            <a:xfrm>
              <a:off x="3016"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2" name="AutoShape 215">
              <a:extLst>
                <a:ext uri="{FF2B5EF4-FFF2-40B4-BE49-F238E27FC236}">
                  <a16:creationId xmlns:a16="http://schemas.microsoft.com/office/drawing/2014/main" id="{C208FA36-384C-4C10-990E-3FCA80974BF0}"/>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3" name="AutoShape 216">
              <a:extLst>
                <a:ext uri="{FF2B5EF4-FFF2-40B4-BE49-F238E27FC236}">
                  <a16:creationId xmlns:a16="http://schemas.microsoft.com/office/drawing/2014/main" id="{26AF11BC-14D8-4FEC-AA64-5C85072CAB57}"/>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54" name="Group 223">
            <a:extLst>
              <a:ext uri="{FF2B5EF4-FFF2-40B4-BE49-F238E27FC236}">
                <a16:creationId xmlns:a16="http://schemas.microsoft.com/office/drawing/2014/main" id="{D39496F1-F03B-44B1-ACD4-9302C332B1FA}"/>
              </a:ext>
            </a:extLst>
          </p:cNvPr>
          <p:cNvGrpSpPr>
            <a:grpSpLocks noChangeAspect="1"/>
          </p:cNvGrpSpPr>
          <p:nvPr/>
        </p:nvGrpSpPr>
        <p:grpSpPr bwMode="auto">
          <a:xfrm>
            <a:off x="7681647" y="3668189"/>
            <a:ext cx="1440000" cy="254880"/>
            <a:chOff x="2711" y="3146"/>
            <a:chExt cx="745" cy="121"/>
          </a:xfrm>
        </p:grpSpPr>
        <p:sp>
          <p:nvSpPr>
            <p:cNvPr id="155" name="AutoShape 224">
              <a:extLst>
                <a:ext uri="{FF2B5EF4-FFF2-40B4-BE49-F238E27FC236}">
                  <a16:creationId xmlns:a16="http://schemas.microsoft.com/office/drawing/2014/main" id="{5D2E60A4-DA76-4905-A412-F1E5C13B1011}"/>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6" name="AutoShape 225">
              <a:extLst>
                <a:ext uri="{FF2B5EF4-FFF2-40B4-BE49-F238E27FC236}">
                  <a16:creationId xmlns:a16="http://schemas.microsoft.com/office/drawing/2014/main" id="{5630AC40-1225-46B2-A600-F6484FEDB6F4}"/>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7" name="AutoShape 226">
              <a:extLst>
                <a:ext uri="{FF2B5EF4-FFF2-40B4-BE49-F238E27FC236}">
                  <a16:creationId xmlns:a16="http://schemas.microsoft.com/office/drawing/2014/main" id="{D487BD9E-D0BE-4937-ADB8-F3ED8C6F41F9}"/>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8" name="AutoShape 227">
              <a:extLst>
                <a:ext uri="{FF2B5EF4-FFF2-40B4-BE49-F238E27FC236}">
                  <a16:creationId xmlns:a16="http://schemas.microsoft.com/office/drawing/2014/main" id="{1FD9787C-CA2E-4D6D-AFF8-1AAE934757C1}"/>
                </a:ext>
              </a:extLst>
            </p:cNvPr>
            <p:cNvSpPr>
              <a:spLocks noChangeArrowheads="1"/>
            </p:cNvSpPr>
            <p:nvPr/>
          </p:nvSpPr>
          <p:spPr bwMode="auto">
            <a:xfrm>
              <a:off x="3168"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59" name="AutoShape 228">
              <a:extLst>
                <a:ext uri="{FF2B5EF4-FFF2-40B4-BE49-F238E27FC236}">
                  <a16:creationId xmlns:a16="http://schemas.microsoft.com/office/drawing/2014/main" id="{7CD0C498-5F8D-4378-B992-518AEE5F86F6}"/>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grpSp>
        <p:nvGrpSpPr>
          <p:cNvPr id="160" name="Group 217">
            <a:extLst>
              <a:ext uri="{FF2B5EF4-FFF2-40B4-BE49-F238E27FC236}">
                <a16:creationId xmlns:a16="http://schemas.microsoft.com/office/drawing/2014/main" id="{A0097EF5-389D-481D-B172-C7A719BF2681}"/>
              </a:ext>
            </a:extLst>
          </p:cNvPr>
          <p:cNvGrpSpPr>
            <a:grpSpLocks noChangeAspect="1"/>
          </p:cNvGrpSpPr>
          <p:nvPr/>
        </p:nvGrpSpPr>
        <p:grpSpPr bwMode="auto">
          <a:xfrm>
            <a:off x="9983272" y="4239152"/>
            <a:ext cx="1440000" cy="254880"/>
            <a:chOff x="2711" y="3146"/>
            <a:chExt cx="745" cy="121"/>
          </a:xfrm>
        </p:grpSpPr>
        <p:sp>
          <p:nvSpPr>
            <p:cNvPr id="161" name="AutoShape 218">
              <a:extLst>
                <a:ext uri="{FF2B5EF4-FFF2-40B4-BE49-F238E27FC236}">
                  <a16:creationId xmlns:a16="http://schemas.microsoft.com/office/drawing/2014/main" id="{92E00E90-E95C-45C5-ACB4-4D84E4211F47}"/>
                </a:ext>
              </a:extLst>
            </p:cNvPr>
            <p:cNvSpPr>
              <a:spLocks noChangeArrowheads="1"/>
            </p:cNvSpPr>
            <p:nvPr/>
          </p:nvSpPr>
          <p:spPr bwMode="auto">
            <a:xfrm>
              <a:off x="2711"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62" name="AutoShape 219">
              <a:extLst>
                <a:ext uri="{FF2B5EF4-FFF2-40B4-BE49-F238E27FC236}">
                  <a16:creationId xmlns:a16="http://schemas.microsoft.com/office/drawing/2014/main" id="{91FADC3D-BE56-4A4C-A43A-226123F17AF2}"/>
                </a:ext>
              </a:extLst>
            </p:cNvPr>
            <p:cNvSpPr>
              <a:spLocks noChangeArrowheads="1"/>
            </p:cNvSpPr>
            <p:nvPr/>
          </p:nvSpPr>
          <p:spPr bwMode="auto">
            <a:xfrm>
              <a:off x="2863" y="3146"/>
              <a:ext cx="136"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63" name="AutoShape 220">
              <a:extLst>
                <a:ext uri="{FF2B5EF4-FFF2-40B4-BE49-F238E27FC236}">
                  <a16:creationId xmlns:a16="http://schemas.microsoft.com/office/drawing/2014/main" id="{9C89EAE9-19C1-49D4-8D3D-EEDD249D47AA}"/>
                </a:ext>
              </a:extLst>
            </p:cNvPr>
            <p:cNvSpPr>
              <a:spLocks noChangeArrowheads="1"/>
            </p:cNvSpPr>
            <p:nvPr/>
          </p:nvSpPr>
          <p:spPr bwMode="auto">
            <a:xfrm>
              <a:off x="3016" y="3146"/>
              <a:ext cx="135" cy="121"/>
            </a:xfrm>
            <a:prstGeom prst="star5">
              <a:avLst/>
            </a:prstGeom>
            <a:solidFill>
              <a:srgbClr val="DCAFFF"/>
            </a:solidFill>
            <a:ln w="6350">
              <a:solidFill>
                <a:srgbClr val="DCAFFF"/>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64" name="AutoShape 221">
              <a:extLst>
                <a:ext uri="{FF2B5EF4-FFF2-40B4-BE49-F238E27FC236}">
                  <a16:creationId xmlns:a16="http://schemas.microsoft.com/office/drawing/2014/main" id="{4B0967B3-62B0-49CA-88BF-1988B5744EDD}"/>
                </a:ext>
              </a:extLst>
            </p:cNvPr>
            <p:cNvSpPr>
              <a:spLocks noChangeArrowheads="1"/>
            </p:cNvSpPr>
            <p:nvPr/>
          </p:nvSpPr>
          <p:spPr bwMode="auto">
            <a:xfrm>
              <a:off x="3168" y="3146"/>
              <a:ext cx="136"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165" name="AutoShape 222">
              <a:extLst>
                <a:ext uri="{FF2B5EF4-FFF2-40B4-BE49-F238E27FC236}">
                  <a16:creationId xmlns:a16="http://schemas.microsoft.com/office/drawing/2014/main" id="{6D939935-CAD8-471F-9F63-5DDBB48A09C3}"/>
                </a:ext>
              </a:extLst>
            </p:cNvPr>
            <p:cNvSpPr>
              <a:spLocks noChangeArrowheads="1"/>
            </p:cNvSpPr>
            <p:nvPr/>
          </p:nvSpPr>
          <p:spPr bwMode="auto">
            <a:xfrm>
              <a:off x="3321" y="3146"/>
              <a:ext cx="135" cy="121"/>
            </a:xfrm>
            <a:prstGeom prst="star5">
              <a:avLst/>
            </a:prstGeom>
            <a:noFill/>
            <a:ln w="6350">
              <a:solidFill>
                <a:srgbClr val="96968C">
                  <a:lumMod val="60000"/>
                  <a:lumOff val="40000"/>
                </a:srgbClr>
              </a:solid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Graphik"/>
                <a:ea typeface="+mn-ea"/>
                <a:cs typeface="+mn-cs"/>
              </a:endParaRPr>
            </a:p>
          </p:txBody>
        </p:sp>
      </p:grpSp>
      <p:sp>
        <p:nvSpPr>
          <p:cNvPr id="3" name="Rectangle 2">
            <a:hlinkClick r:id="rId3" action="ppaction://hlinksldjump"/>
            <a:extLst>
              <a:ext uri="{FF2B5EF4-FFF2-40B4-BE49-F238E27FC236}">
                <a16:creationId xmlns:a16="http://schemas.microsoft.com/office/drawing/2014/main" id="{830B5030-A179-4FA1-B57B-81FE8459C87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67" name="Rectangle 88">
            <a:extLst>
              <a:ext uri="{FF2B5EF4-FFF2-40B4-BE49-F238E27FC236}">
                <a16:creationId xmlns:a16="http://schemas.microsoft.com/office/drawing/2014/main" id="{834EE302-F301-472D-A760-A805F4D13D9B}"/>
              </a:ext>
            </a:extLst>
          </p:cNvPr>
          <p:cNvSpPr>
            <a:spLocks noChangeArrowheads="1"/>
          </p:cNvSpPr>
          <p:nvPr/>
        </p:nvSpPr>
        <p:spPr bwMode="auto">
          <a:xfrm>
            <a:off x="9551272" y="1362569"/>
            <a:ext cx="2304000" cy="441441"/>
          </a:xfrm>
          <a:prstGeom prst="rect">
            <a:avLst/>
          </a:prstGeom>
          <a:solidFill>
            <a:schemeClr val="accent2">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4</a:t>
            </a:r>
          </a:p>
        </p:txBody>
      </p:sp>
      <p:sp>
        <p:nvSpPr>
          <p:cNvPr id="169" name="Rectangle 130">
            <a:extLst>
              <a:ext uri="{FF2B5EF4-FFF2-40B4-BE49-F238E27FC236}">
                <a16:creationId xmlns:a16="http://schemas.microsoft.com/office/drawing/2014/main" id="{B4EE9576-4018-43E2-9301-D2BB0961C790}"/>
              </a:ext>
            </a:extLst>
          </p:cNvPr>
          <p:cNvSpPr>
            <a:spLocks noChangeArrowheads="1"/>
          </p:cNvSpPr>
          <p:nvPr/>
        </p:nvSpPr>
        <p:spPr bwMode="auto">
          <a:xfrm>
            <a:off x="9551272" y="3125409"/>
            <a:ext cx="2304000" cy="441441"/>
          </a:xfrm>
          <a:prstGeom prst="rect">
            <a:avLst/>
          </a:prstGeom>
          <a:solidFill>
            <a:schemeClr val="accent1">
              <a:lumMod val="20000"/>
              <a:lumOff val="8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4</a:t>
            </a:r>
          </a:p>
        </p:txBody>
      </p:sp>
      <p:sp>
        <p:nvSpPr>
          <p:cNvPr id="171" name="Rectangle 89">
            <a:extLst>
              <a:ext uri="{FF2B5EF4-FFF2-40B4-BE49-F238E27FC236}">
                <a16:creationId xmlns:a16="http://schemas.microsoft.com/office/drawing/2014/main" id="{DD67D942-B7DE-4E0E-8CEF-913465DC680F}"/>
              </a:ext>
            </a:extLst>
          </p:cNvPr>
          <p:cNvSpPr>
            <a:spLocks noChangeArrowheads="1"/>
          </p:cNvSpPr>
          <p:nvPr/>
        </p:nvSpPr>
        <p:spPr bwMode="auto">
          <a:xfrm>
            <a:off x="7249647" y="1362569"/>
            <a:ext cx="2304000" cy="441441"/>
          </a:xfrm>
          <a:prstGeom prst="rect">
            <a:avLst/>
          </a:prstGeom>
          <a:solidFill>
            <a:schemeClr val="accent2">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3</a:t>
            </a:r>
          </a:p>
        </p:txBody>
      </p:sp>
      <p:sp>
        <p:nvSpPr>
          <p:cNvPr id="173" name="Rectangle 131">
            <a:extLst>
              <a:ext uri="{FF2B5EF4-FFF2-40B4-BE49-F238E27FC236}">
                <a16:creationId xmlns:a16="http://schemas.microsoft.com/office/drawing/2014/main" id="{D39653E9-5554-4406-B3FB-A5C411B09597}"/>
              </a:ext>
            </a:extLst>
          </p:cNvPr>
          <p:cNvSpPr>
            <a:spLocks noChangeArrowheads="1"/>
          </p:cNvSpPr>
          <p:nvPr/>
        </p:nvSpPr>
        <p:spPr bwMode="auto">
          <a:xfrm>
            <a:off x="7249647" y="3125409"/>
            <a:ext cx="2304000" cy="441441"/>
          </a:xfrm>
          <a:prstGeom prst="rect">
            <a:avLst/>
          </a:prstGeom>
          <a:solidFill>
            <a:schemeClr val="accent1">
              <a:lumMod val="40000"/>
              <a:lumOff val="6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3</a:t>
            </a:r>
          </a:p>
        </p:txBody>
      </p:sp>
      <p:sp>
        <p:nvSpPr>
          <p:cNvPr id="175" name="Rectangle 90">
            <a:extLst>
              <a:ext uri="{FF2B5EF4-FFF2-40B4-BE49-F238E27FC236}">
                <a16:creationId xmlns:a16="http://schemas.microsoft.com/office/drawing/2014/main" id="{5C8BE007-ABF7-45BC-8E23-AB3A0542B722}"/>
              </a:ext>
            </a:extLst>
          </p:cNvPr>
          <p:cNvSpPr>
            <a:spLocks noChangeArrowheads="1"/>
          </p:cNvSpPr>
          <p:nvPr/>
        </p:nvSpPr>
        <p:spPr bwMode="auto">
          <a:xfrm>
            <a:off x="4948023" y="1362569"/>
            <a:ext cx="2304000" cy="441441"/>
          </a:xfrm>
          <a:prstGeom prst="rect">
            <a:avLst/>
          </a:prstGeom>
          <a:solidFill>
            <a:schemeClr val="accent2">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2</a:t>
            </a:r>
          </a:p>
        </p:txBody>
      </p:sp>
      <p:sp>
        <p:nvSpPr>
          <p:cNvPr id="177" name="Rectangle 132">
            <a:extLst>
              <a:ext uri="{FF2B5EF4-FFF2-40B4-BE49-F238E27FC236}">
                <a16:creationId xmlns:a16="http://schemas.microsoft.com/office/drawing/2014/main" id="{E80F4484-4A44-40EA-AA87-EFCD2E5CA733}"/>
              </a:ext>
            </a:extLst>
          </p:cNvPr>
          <p:cNvSpPr>
            <a:spLocks noChangeArrowheads="1"/>
          </p:cNvSpPr>
          <p:nvPr/>
        </p:nvSpPr>
        <p:spPr bwMode="auto">
          <a:xfrm>
            <a:off x="4948023" y="3125409"/>
            <a:ext cx="2304000" cy="441441"/>
          </a:xfrm>
          <a:prstGeom prst="rect">
            <a:avLst/>
          </a:prstGeom>
          <a:solidFill>
            <a:schemeClr val="accent1">
              <a:lumMod val="60000"/>
              <a:lumOff val="40000"/>
            </a:schemeClr>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2</a:t>
            </a:r>
          </a:p>
        </p:txBody>
      </p:sp>
      <p:sp>
        <p:nvSpPr>
          <p:cNvPr id="179" name="Rectangle 91">
            <a:extLst>
              <a:ext uri="{FF2B5EF4-FFF2-40B4-BE49-F238E27FC236}">
                <a16:creationId xmlns:a16="http://schemas.microsoft.com/office/drawing/2014/main" id="{ACCF39CD-7E62-464A-82FB-3ADAFF4794DE}"/>
              </a:ext>
            </a:extLst>
          </p:cNvPr>
          <p:cNvSpPr>
            <a:spLocks noChangeArrowheads="1"/>
          </p:cNvSpPr>
          <p:nvPr/>
        </p:nvSpPr>
        <p:spPr bwMode="auto">
          <a:xfrm>
            <a:off x="2646399" y="1362569"/>
            <a:ext cx="2304000" cy="441441"/>
          </a:xfrm>
          <a:prstGeom prst="rect">
            <a:avLst/>
          </a:prstGeom>
          <a:solidFill>
            <a:schemeClr val="accent2"/>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on 1</a:t>
            </a:r>
          </a:p>
        </p:txBody>
      </p:sp>
      <p:sp>
        <p:nvSpPr>
          <p:cNvPr id="181" name="Rectangle 133">
            <a:extLst>
              <a:ext uri="{FF2B5EF4-FFF2-40B4-BE49-F238E27FC236}">
                <a16:creationId xmlns:a16="http://schemas.microsoft.com/office/drawing/2014/main" id="{CA4E285A-DBF7-4B98-A089-019CA899DC6C}"/>
              </a:ext>
            </a:extLst>
          </p:cNvPr>
          <p:cNvSpPr>
            <a:spLocks noChangeArrowheads="1"/>
          </p:cNvSpPr>
          <p:nvPr/>
        </p:nvSpPr>
        <p:spPr bwMode="auto">
          <a:xfrm>
            <a:off x="2646399" y="3125409"/>
            <a:ext cx="2304000" cy="441441"/>
          </a:xfrm>
          <a:prstGeom prst="rect">
            <a:avLst/>
          </a:prstGeom>
          <a:solidFill>
            <a:schemeClr val="accent1"/>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 1</a:t>
            </a:r>
          </a:p>
        </p:txBody>
      </p:sp>
      <p:sp>
        <p:nvSpPr>
          <p:cNvPr id="183" name="Rectangle 92">
            <a:extLst>
              <a:ext uri="{FF2B5EF4-FFF2-40B4-BE49-F238E27FC236}">
                <a16:creationId xmlns:a16="http://schemas.microsoft.com/office/drawing/2014/main" id="{056D1FD5-39AC-487C-9C97-0637DBBE732D}"/>
              </a:ext>
            </a:extLst>
          </p:cNvPr>
          <p:cNvSpPr>
            <a:spLocks noChangeArrowheads="1"/>
          </p:cNvSpPr>
          <p:nvPr/>
        </p:nvSpPr>
        <p:spPr bwMode="auto">
          <a:xfrm>
            <a:off x="344775" y="136256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Options</a:t>
            </a:r>
          </a:p>
        </p:txBody>
      </p:sp>
      <p:sp>
        <p:nvSpPr>
          <p:cNvPr id="185" name="Rectangle 134">
            <a:extLst>
              <a:ext uri="{FF2B5EF4-FFF2-40B4-BE49-F238E27FC236}">
                <a16:creationId xmlns:a16="http://schemas.microsoft.com/office/drawing/2014/main" id="{DBC87270-3B4D-4973-987D-F0A8492C2199}"/>
              </a:ext>
            </a:extLst>
          </p:cNvPr>
          <p:cNvSpPr>
            <a:spLocks noChangeArrowheads="1"/>
          </p:cNvSpPr>
          <p:nvPr/>
        </p:nvSpPr>
        <p:spPr bwMode="auto">
          <a:xfrm>
            <a:off x="344775" y="3125409"/>
            <a:ext cx="2304000" cy="441441"/>
          </a:xfrm>
          <a:prstGeom prst="rect">
            <a:avLst/>
          </a:prstGeom>
          <a:solidFill>
            <a:schemeClr val="accent3"/>
          </a:solidFill>
          <a:ln w="6350">
            <a:solidFill>
              <a:schemeClr val="bg1"/>
            </a:solidFill>
            <a:miter lim="800000"/>
            <a:headEnd/>
            <a:tailEnd/>
          </a:ln>
          <a:effectLst/>
        </p:spPr>
        <p:txBody>
          <a:bodyPr lIns="72000" tIns="144000" rIns="72000" bIns="72000" anchor="ctr"/>
          <a:lstStyle/>
          <a:p>
            <a:pPr algn="ctr" eaLnBrk="0" hangingPunct="0">
              <a:lnSpc>
                <a:spcPct val="85000"/>
              </a:lnSpc>
              <a:spcBef>
                <a:spcPct val="0"/>
              </a:spcBef>
            </a:pPr>
            <a:r>
              <a:rPr lang="en-US" sz="1200" b="1" dirty="0">
                <a:solidFill>
                  <a:schemeClr val="bg1"/>
                </a:solidFill>
                <a:latin typeface="+mj-lt"/>
              </a:rPr>
              <a:t>Criteria</a:t>
            </a:r>
          </a:p>
        </p:txBody>
      </p:sp>
    </p:spTree>
    <p:extLst>
      <p:ext uri="{BB962C8B-B14F-4D97-AF65-F5344CB8AC3E}">
        <p14:creationId xmlns:p14="http://schemas.microsoft.com/office/powerpoint/2010/main" val="17085572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5F8AE1-6B4C-CF42-AB60-9B579190CF57}"/>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386422DA-AA82-2B45-B8E1-8716142FC05B}"/>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943E295E-70FD-0B43-A2F8-1C38EE099295}"/>
              </a:ext>
            </a:extLst>
          </p:cNvPr>
          <p:cNvSpPr>
            <a:spLocks noGrp="1"/>
          </p:cNvSpPr>
          <p:nvPr>
            <p:ph type="body" idx="18"/>
          </p:nvPr>
        </p:nvSpPr>
        <p:spPr/>
        <p:txBody>
          <a:bodyPr/>
          <a:lstStyle/>
          <a:p>
            <a:endParaRPr lang="en-US"/>
          </a:p>
        </p:txBody>
      </p:sp>
      <p:sp>
        <p:nvSpPr>
          <p:cNvPr id="6" name="Text Placeholder 5">
            <a:extLst>
              <a:ext uri="{FF2B5EF4-FFF2-40B4-BE49-F238E27FC236}">
                <a16:creationId xmlns:a16="http://schemas.microsoft.com/office/drawing/2014/main" id="{37B6463D-E279-5C45-AC27-00D64DDC28FD}"/>
              </a:ext>
            </a:extLst>
          </p:cNvPr>
          <p:cNvSpPr>
            <a:spLocks noGrp="1"/>
          </p:cNvSpPr>
          <p:nvPr>
            <p:ph type="body" idx="19"/>
          </p:nvPr>
        </p:nvSpPr>
        <p:spPr/>
        <p:txBody>
          <a:bodyPr/>
          <a:lstStyle/>
          <a:p>
            <a:endParaRPr lang="en-US"/>
          </a:p>
        </p:txBody>
      </p:sp>
      <p:sp>
        <p:nvSpPr>
          <p:cNvPr id="7" name="Text Placeholder 6">
            <a:extLst>
              <a:ext uri="{FF2B5EF4-FFF2-40B4-BE49-F238E27FC236}">
                <a16:creationId xmlns:a16="http://schemas.microsoft.com/office/drawing/2014/main" id="{B55E9BB3-F3A8-0849-B290-8D4250F10123}"/>
              </a:ext>
            </a:extLst>
          </p:cNvPr>
          <p:cNvSpPr>
            <a:spLocks noGrp="1"/>
          </p:cNvSpPr>
          <p:nvPr>
            <p:ph type="body" idx="21"/>
          </p:nvPr>
        </p:nvSpPr>
        <p:spPr/>
        <p:txBody>
          <a:bodyPr/>
          <a:lstStyle/>
          <a:p>
            <a:endParaRPr lang="en-US"/>
          </a:p>
        </p:txBody>
      </p:sp>
      <p:sp>
        <p:nvSpPr>
          <p:cNvPr id="8" name="Text Placeholder 7">
            <a:extLst>
              <a:ext uri="{FF2B5EF4-FFF2-40B4-BE49-F238E27FC236}">
                <a16:creationId xmlns:a16="http://schemas.microsoft.com/office/drawing/2014/main" id="{8C48C243-31D6-3E44-9DCC-5663E4AB9BDD}"/>
              </a:ext>
            </a:extLst>
          </p:cNvPr>
          <p:cNvSpPr>
            <a:spLocks noGrp="1"/>
          </p:cNvSpPr>
          <p:nvPr>
            <p:ph type="body" idx="22"/>
          </p:nvPr>
        </p:nvSpPr>
        <p:spPr/>
        <p:txBody>
          <a:bodyPr/>
          <a:lstStyle/>
          <a:p>
            <a:endParaRPr lang="en-US"/>
          </a:p>
        </p:txBody>
      </p:sp>
      <p:sp>
        <p:nvSpPr>
          <p:cNvPr id="9" name="Text Placeholder 8">
            <a:extLst>
              <a:ext uri="{FF2B5EF4-FFF2-40B4-BE49-F238E27FC236}">
                <a16:creationId xmlns:a16="http://schemas.microsoft.com/office/drawing/2014/main" id="{ACB72C35-4385-DA49-BB3E-4C5C3B5D80A8}"/>
              </a:ext>
            </a:extLst>
          </p:cNvPr>
          <p:cNvSpPr>
            <a:spLocks noGrp="1"/>
          </p:cNvSpPr>
          <p:nvPr>
            <p:ph type="body" idx="24"/>
          </p:nvPr>
        </p:nvSpPr>
        <p:spPr/>
        <p:txBody>
          <a:bodyPr/>
          <a:lstStyle/>
          <a:p>
            <a:endParaRPr lang="en-US"/>
          </a:p>
        </p:txBody>
      </p:sp>
      <p:sp>
        <p:nvSpPr>
          <p:cNvPr id="10" name="Text Placeholder 9">
            <a:extLst>
              <a:ext uri="{FF2B5EF4-FFF2-40B4-BE49-F238E27FC236}">
                <a16:creationId xmlns:a16="http://schemas.microsoft.com/office/drawing/2014/main" id="{3799F293-7FEA-0B4F-AAD7-D262443F5ED7}"/>
              </a:ext>
            </a:extLst>
          </p:cNvPr>
          <p:cNvSpPr>
            <a:spLocks noGrp="1"/>
          </p:cNvSpPr>
          <p:nvPr>
            <p:ph type="body" idx="25"/>
          </p:nvPr>
        </p:nvSpPr>
        <p:spPr/>
        <p:txBody>
          <a:bodyPr/>
          <a:lstStyle/>
          <a:p>
            <a:endParaRPr lang="en-US"/>
          </a:p>
        </p:txBody>
      </p:sp>
      <p:sp>
        <p:nvSpPr>
          <p:cNvPr id="11" name="Text Placeholder 10">
            <a:extLst>
              <a:ext uri="{FF2B5EF4-FFF2-40B4-BE49-F238E27FC236}">
                <a16:creationId xmlns:a16="http://schemas.microsoft.com/office/drawing/2014/main" id="{107F6A4A-389D-894F-AA91-12422EA6F5FA}"/>
              </a:ext>
            </a:extLst>
          </p:cNvPr>
          <p:cNvSpPr>
            <a:spLocks noGrp="1"/>
          </p:cNvSpPr>
          <p:nvPr>
            <p:ph type="body" idx="27"/>
          </p:nvPr>
        </p:nvSpPr>
        <p:spPr/>
        <p:txBody>
          <a:bodyPr/>
          <a:lstStyle/>
          <a:p>
            <a:endParaRPr lang="en-US"/>
          </a:p>
        </p:txBody>
      </p:sp>
      <p:sp>
        <p:nvSpPr>
          <p:cNvPr id="12" name="Content Placeholder 11">
            <a:extLst>
              <a:ext uri="{FF2B5EF4-FFF2-40B4-BE49-F238E27FC236}">
                <a16:creationId xmlns:a16="http://schemas.microsoft.com/office/drawing/2014/main" id="{63DE44B7-B78C-7D46-808A-DF9BBF9E03B3}"/>
              </a:ext>
            </a:extLst>
          </p:cNvPr>
          <p:cNvSpPr>
            <a:spLocks noGrp="1"/>
          </p:cNvSpPr>
          <p:nvPr>
            <p:ph sz="half" idx="28"/>
          </p:nvPr>
        </p:nvSpPr>
        <p:spPr/>
        <p:txBody>
          <a:bodyPr/>
          <a:lstStyle/>
          <a:p>
            <a:endParaRPr lang="en-US"/>
          </a:p>
        </p:txBody>
      </p:sp>
      <p:sp>
        <p:nvSpPr>
          <p:cNvPr id="13" name="Content Placeholder 12">
            <a:extLst>
              <a:ext uri="{FF2B5EF4-FFF2-40B4-BE49-F238E27FC236}">
                <a16:creationId xmlns:a16="http://schemas.microsoft.com/office/drawing/2014/main" id="{38D18A62-2835-854B-99CA-458CD94D2816}"/>
              </a:ext>
            </a:extLst>
          </p:cNvPr>
          <p:cNvSpPr>
            <a:spLocks noGrp="1"/>
          </p:cNvSpPr>
          <p:nvPr>
            <p:ph sz="half" idx="29"/>
          </p:nvPr>
        </p:nvSpPr>
        <p:spPr/>
        <p:txBody>
          <a:bodyPr/>
          <a:lstStyle/>
          <a:p>
            <a:endParaRPr lang="en-US"/>
          </a:p>
        </p:txBody>
      </p:sp>
      <p:sp>
        <p:nvSpPr>
          <p:cNvPr id="14" name="Content Placeholder 13">
            <a:extLst>
              <a:ext uri="{FF2B5EF4-FFF2-40B4-BE49-F238E27FC236}">
                <a16:creationId xmlns:a16="http://schemas.microsoft.com/office/drawing/2014/main" id="{2ED9240E-1DA8-C840-A9C4-FC9780411DE7}"/>
              </a:ext>
            </a:extLst>
          </p:cNvPr>
          <p:cNvSpPr>
            <a:spLocks noGrp="1"/>
          </p:cNvSpPr>
          <p:nvPr>
            <p:ph sz="half" idx="30"/>
          </p:nvPr>
        </p:nvSpPr>
        <p:spPr/>
        <p:txBody>
          <a:bodyPr/>
          <a:lstStyle/>
          <a:p>
            <a:endParaRPr lang="en-US"/>
          </a:p>
        </p:txBody>
      </p:sp>
      <p:sp>
        <p:nvSpPr>
          <p:cNvPr id="15" name="Content Placeholder 14">
            <a:extLst>
              <a:ext uri="{FF2B5EF4-FFF2-40B4-BE49-F238E27FC236}">
                <a16:creationId xmlns:a16="http://schemas.microsoft.com/office/drawing/2014/main" id="{8287A3AD-7D70-FF44-AD0F-9610C33F598E}"/>
              </a:ext>
            </a:extLst>
          </p:cNvPr>
          <p:cNvSpPr>
            <a:spLocks noGrp="1"/>
          </p:cNvSpPr>
          <p:nvPr>
            <p:ph sz="half" idx="31"/>
          </p:nvPr>
        </p:nvSpPr>
        <p:spPr/>
        <p:txBody>
          <a:bodyPr/>
          <a:lstStyle/>
          <a:p>
            <a:endParaRPr lang="en-US"/>
          </a:p>
        </p:txBody>
      </p:sp>
    </p:spTree>
    <p:extLst>
      <p:ext uri="{BB962C8B-B14F-4D97-AF65-F5344CB8AC3E}">
        <p14:creationId xmlns:p14="http://schemas.microsoft.com/office/powerpoint/2010/main" val="2192097591"/>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Opportunities/Risks 1</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11" name="Group 10">
            <a:extLst>
              <a:ext uri="{FF2B5EF4-FFF2-40B4-BE49-F238E27FC236}">
                <a16:creationId xmlns:a16="http://schemas.microsoft.com/office/drawing/2014/main" id="{66CFB802-781C-457F-BF37-82E7EC43B2B4}"/>
              </a:ext>
            </a:extLst>
          </p:cNvPr>
          <p:cNvGrpSpPr/>
          <p:nvPr/>
        </p:nvGrpSpPr>
        <p:grpSpPr>
          <a:xfrm>
            <a:off x="1822451" y="1763713"/>
            <a:ext cx="4097337" cy="3991425"/>
            <a:chOff x="1822450" y="1793280"/>
            <a:chExt cx="2795267" cy="4264620"/>
          </a:xfrm>
        </p:grpSpPr>
        <p:sp>
          <p:nvSpPr>
            <p:cNvPr id="12" name="Freeform: Shape 11">
              <a:extLst>
                <a:ext uri="{FF2B5EF4-FFF2-40B4-BE49-F238E27FC236}">
                  <a16:creationId xmlns:a16="http://schemas.microsoft.com/office/drawing/2014/main" id="{2A33C2C9-6257-4C42-AC2A-BB000CA75FF9}"/>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wrap="square" lIns="180000" tIns="864000" rtlCol="0" anchor="t" anchorCtr="0">
              <a:noAutofit/>
            </a:bodyPr>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3" name="AutoShape 9">
              <a:extLst>
                <a:ext uri="{FF2B5EF4-FFF2-40B4-BE49-F238E27FC236}">
                  <a16:creationId xmlns:a16="http://schemas.microsoft.com/office/drawing/2014/main" id="{56E5953F-FFD3-4D4F-A65C-2AC5566A5AA5}"/>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1"/>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AU" sz="1600" b="1" dirty="0">
                  <a:solidFill>
                    <a:schemeClr val="bg1"/>
                  </a:solidFill>
                  <a:latin typeface="+mj-lt"/>
                </a:rPr>
                <a:t>Opportunities</a:t>
              </a:r>
              <a:endParaRPr lang="en-GB" sz="1600" b="1" cap="all" dirty="0">
                <a:solidFill>
                  <a:schemeClr val="bg1"/>
                </a:solidFill>
                <a:latin typeface="+mj-lt"/>
              </a:endParaRPr>
            </a:p>
          </p:txBody>
        </p:sp>
      </p:grpSp>
      <p:grpSp>
        <p:nvGrpSpPr>
          <p:cNvPr id="14" name="Group 13">
            <a:extLst>
              <a:ext uri="{FF2B5EF4-FFF2-40B4-BE49-F238E27FC236}">
                <a16:creationId xmlns:a16="http://schemas.microsoft.com/office/drawing/2014/main" id="{6943EB00-3A27-4C04-A78E-BC16AEAF27A3}"/>
              </a:ext>
            </a:extLst>
          </p:cNvPr>
          <p:cNvGrpSpPr/>
          <p:nvPr/>
        </p:nvGrpSpPr>
        <p:grpSpPr>
          <a:xfrm>
            <a:off x="6272213" y="1763713"/>
            <a:ext cx="4100512" cy="3991425"/>
            <a:chOff x="1822450" y="1793280"/>
            <a:chExt cx="2795267" cy="4264620"/>
          </a:xfrm>
        </p:grpSpPr>
        <p:sp>
          <p:nvSpPr>
            <p:cNvPr id="15" name="Freeform: Shape 14">
              <a:extLst>
                <a:ext uri="{FF2B5EF4-FFF2-40B4-BE49-F238E27FC236}">
                  <a16:creationId xmlns:a16="http://schemas.microsoft.com/office/drawing/2014/main" id="{55C34505-C105-4C99-9A10-824A64530D54}"/>
                </a:ext>
              </a:extLst>
            </p:cNvPr>
            <p:cNvSpPr/>
            <p:nvPr/>
          </p:nvSpPr>
          <p:spPr>
            <a:xfrm>
              <a:off x="1822450" y="1923344"/>
              <a:ext cx="2795263" cy="4134556"/>
            </a:xfrm>
            <a:custGeom>
              <a:avLst/>
              <a:gdLst>
                <a:gd name="connsiteX0" fmla="*/ 0 w 2795263"/>
                <a:gd name="connsiteY0" fmla="*/ 0 h 4134556"/>
                <a:gd name="connsiteX1" fmla="*/ 2795263 w 2795263"/>
                <a:gd name="connsiteY1" fmla="*/ 0 h 4134556"/>
                <a:gd name="connsiteX2" fmla="*/ 2795263 w 2795263"/>
                <a:gd name="connsiteY2" fmla="*/ 1 h 4134556"/>
                <a:gd name="connsiteX3" fmla="*/ 2 w 2795263"/>
                <a:gd name="connsiteY3" fmla="*/ 1 h 4134556"/>
                <a:gd name="connsiteX4" fmla="*/ 2 w 2795263"/>
                <a:gd name="connsiteY4" fmla="*/ 504601 h 4134556"/>
                <a:gd name="connsiteX5" fmla="*/ 1397635 w 2795263"/>
                <a:gd name="connsiteY5" fmla="*/ 759038 h 4134556"/>
                <a:gd name="connsiteX6" fmla="*/ 2795263 w 2795263"/>
                <a:gd name="connsiteY6" fmla="*/ 504602 h 4134556"/>
                <a:gd name="connsiteX7" fmla="*/ 2795263 w 2795263"/>
                <a:gd name="connsiteY7" fmla="*/ 4134556 h 4134556"/>
                <a:gd name="connsiteX8" fmla="*/ 0 w 2795263"/>
                <a:gd name="connsiteY8" fmla="*/ 4134556 h 413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5263" h="4134556">
                  <a:moveTo>
                    <a:pt x="0" y="0"/>
                  </a:moveTo>
                  <a:lnTo>
                    <a:pt x="2795263" y="0"/>
                  </a:lnTo>
                  <a:lnTo>
                    <a:pt x="2795263" y="1"/>
                  </a:lnTo>
                  <a:lnTo>
                    <a:pt x="2" y="1"/>
                  </a:lnTo>
                  <a:lnTo>
                    <a:pt x="2" y="504601"/>
                  </a:lnTo>
                  <a:lnTo>
                    <a:pt x="1397635" y="759038"/>
                  </a:lnTo>
                  <a:lnTo>
                    <a:pt x="2795263" y="504602"/>
                  </a:lnTo>
                  <a:lnTo>
                    <a:pt x="2795263" y="4134556"/>
                  </a:lnTo>
                  <a:lnTo>
                    <a:pt x="0" y="4134556"/>
                  </a:lnTo>
                  <a:close/>
                </a:path>
              </a:pathLst>
            </a:cu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wrap="square" lIns="180000" tIns="864000" rtlCol="0" anchor="t" anchorCtr="0">
              <a:noAutofit/>
            </a:bodyPr>
            <a:lstStyle/>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a:p>
              <a:pPr marL="176213" indent="-176213" eaLnBrk="0" hangingPunct="0">
                <a:spcBef>
                  <a:spcPts val="100"/>
                </a:spcBef>
                <a:spcAft>
                  <a:spcPts val="100"/>
                </a:spcAft>
                <a:buFontTx/>
                <a:buChar char="•"/>
              </a:pPr>
              <a:r>
                <a:rPr lang="en-US" dirty="0">
                  <a:solidFill>
                    <a:schemeClr val="tx1"/>
                  </a:solidFill>
                </a:rPr>
                <a:t>Text</a:t>
              </a:r>
            </a:p>
          </p:txBody>
        </p:sp>
        <p:sp>
          <p:nvSpPr>
            <p:cNvPr id="16" name="AutoShape 9">
              <a:extLst>
                <a:ext uri="{FF2B5EF4-FFF2-40B4-BE49-F238E27FC236}">
                  <a16:creationId xmlns:a16="http://schemas.microsoft.com/office/drawing/2014/main" id="{6164DC6B-D343-4A37-AF1D-C06422B95F4D}"/>
                </a:ext>
              </a:extLst>
            </p:cNvPr>
            <p:cNvSpPr>
              <a:spLocks noChangeArrowheads="1"/>
            </p:cNvSpPr>
            <p:nvPr/>
          </p:nvSpPr>
          <p:spPr bwMode="auto">
            <a:xfrm rot="16200000" flipH="1">
              <a:off x="2840566" y="775166"/>
              <a:ext cx="759037" cy="2795265"/>
            </a:xfrm>
            <a:prstGeom prst="homePlate">
              <a:avLst>
                <a:gd name="adj" fmla="val 33521"/>
              </a:avLst>
            </a:prstGeom>
            <a:solidFill>
              <a:schemeClr val="accent3"/>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GB" sz="1600" b="1" dirty="0">
                  <a:solidFill>
                    <a:schemeClr val="bg1"/>
                  </a:solidFill>
                  <a:latin typeface="+mj-lt"/>
                </a:rPr>
                <a:t>Risks</a:t>
              </a:r>
              <a:endParaRPr lang="en-GB" sz="1600" b="1" cap="all" dirty="0">
                <a:solidFill>
                  <a:schemeClr val="bg1"/>
                </a:solidFill>
                <a:latin typeface="+mj-lt"/>
              </a:endParaRPr>
            </a:p>
          </p:txBody>
        </p:sp>
      </p:grpSp>
    </p:spTree>
    <p:extLst>
      <p:ext uri="{BB962C8B-B14F-4D97-AF65-F5344CB8AC3E}">
        <p14:creationId xmlns:p14="http://schemas.microsoft.com/office/powerpoint/2010/main" val="2366979495"/>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Opportunities/Risks 2</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7EC30EEA-BC42-40C4-8F38-EEFCF638A12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AutoShape 6">
            <a:extLst>
              <a:ext uri="{FF2B5EF4-FFF2-40B4-BE49-F238E27FC236}">
                <a16:creationId xmlns:a16="http://schemas.microsoft.com/office/drawing/2014/main" id="{F543F49E-68F7-404C-B927-D15F84C45892}"/>
              </a:ext>
            </a:extLst>
          </p:cNvPr>
          <p:cNvSpPr>
            <a:spLocks noChangeArrowheads="1"/>
          </p:cNvSpPr>
          <p:nvPr/>
        </p:nvSpPr>
        <p:spPr bwMode="auto">
          <a:xfrm rot="5400000" flipH="1">
            <a:off x="2108505" y="1092873"/>
            <a:ext cx="4060236" cy="3719641"/>
          </a:xfrm>
          <a:prstGeom prst="homePlate">
            <a:avLst>
              <a:gd name="adj" fmla="val 32103"/>
            </a:avLst>
          </a:prstGeom>
          <a:solidFill>
            <a:schemeClr val="accent3"/>
          </a:solidFill>
          <a:ln w="6350">
            <a:noFill/>
            <a:miter lim="800000"/>
            <a:headEnd/>
            <a:tailEnd/>
          </a:ln>
          <a:effectLst/>
        </p:spPr>
        <p:txBody>
          <a:bodyPr vert="vert270" lIns="684000" tIns="180000" rIns="180000" bIns="180000" anchor="t"/>
          <a:lstStyle/>
          <a:p>
            <a:pPr marL="0" lvl="1"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a:p>
            <a:pPr marL="177800" indent="-177800" algn="l" eaLnBrk="0" hangingPunct="0">
              <a:spcBef>
                <a:spcPts val="100"/>
              </a:spcBef>
              <a:spcAft>
                <a:spcPts val="100"/>
              </a:spcAft>
              <a:buFontTx/>
              <a:buChar char="•"/>
            </a:pPr>
            <a:r>
              <a:rPr lang="en-US" dirty="0">
                <a:solidFill>
                  <a:schemeClr val="bg1"/>
                </a:solidFill>
              </a:rPr>
              <a:t>Text</a:t>
            </a:r>
          </a:p>
        </p:txBody>
      </p:sp>
      <p:sp>
        <p:nvSpPr>
          <p:cNvPr id="10" name="AutoShape 7">
            <a:extLst>
              <a:ext uri="{FF2B5EF4-FFF2-40B4-BE49-F238E27FC236}">
                <a16:creationId xmlns:a16="http://schemas.microsoft.com/office/drawing/2014/main" id="{CEAD6545-3B41-4599-88D7-6CF7C1651E95}"/>
              </a:ext>
            </a:extLst>
          </p:cNvPr>
          <p:cNvSpPr>
            <a:spLocks noChangeArrowheads="1"/>
          </p:cNvSpPr>
          <p:nvPr/>
        </p:nvSpPr>
        <p:spPr bwMode="auto">
          <a:xfrm rot="5400000">
            <a:off x="5997142" y="2291493"/>
            <a:ext cx="4060236" cy="3719641"/>
          </a:xfrm>
          <a:prstGeom prst="homePlate">
            <a:avLst>
              <a:gd name="adj" fmla="val 32103"/>
            </a:avLst>
          </a:prstGeom>
          <a:solidFill>
            <a:schemeClr val="accent1"/>
          </a:solidFill>
          <a:ln w="6350">
            <a:noFill/>
            <a:miter lim="800000"/>
            <a:headEnd/>
            <a:tailEnd/>
          </a:ln>
          <a:effectLst/>
        </p:spPr>
        <p:txBody>
          <a:bodyPr vert="vert270" lIns="216000" tIns="36000" rIns="180000" bIns="180000" anchor="t"/>
          <a:lstStyle/>
          <a:p>
            <a:pPr marL="0" lvl="1" algn="l" eaLnBrk="0" hangingPunct="0">
              <a:lnSpc>
                <a:spcPct val="85000"/>
              </a:lnSpc>
              <a:spcBef>
                <a:spcPts val="100"/>
              </a:spcBef>
              <a:spcAft>
                <a:spcPts val="300"/>
              </a:spcAft>
              <a:buClr>
                <a:schemeClr val="folHlink"/>
              </a:buClr>
            </a:pPr>
            <a:r>
              <a:rPr lang="en-US" b="1" dirty="0">
                <a:solidFill>
                  <a:schemeClr val="bg1"/>
                </a:solidFill>
                <a:latin typeface="+mj-lt"/>
              </a:rPr>
              <a:t>Text</a:t>
            </a:r>
            <a:endParaRPr lang="en-US" b="1" cap="all" dirty="0">
              <a:solidFill>
                <a:schemeClr val="bg1"/>
              </a:solidFill>
              <a:latin typeface="+mj-lt"/>
            </a:endParaRP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a:p>
            <a:pPr marL="177800" lvl="1" indent="-177800" algn="l" eaLnBrk="0" hangingPunct="0">
              <a:spcBef>
                <a:spcPts val="100"/>
              </a:spcBef>
              <a:spcAft>
                <a:spcPts val="100"/>
              </a:spcAft>
              <a:buFontTx/>
              <a:buChar char="•"/>
            </a:pPr>
            <a:r>
              <a:rPr lang="en-US" dirty="0">
                <a:solidFill>
                  <a:schemeClr val="bg1"/>
                </a:solidFill>
              </a:rPr>
              <a:t>Text</a:t>
            </a:r>
          </a:p>
        </p:txBody>
      </p:sp>
    </p:spTree>
    <p:extLst>
      <p:ext uri="{BB962C8B-B14F-4D97-AF65-F5344CB8AC3E}">
        <p14:creationId xmlns:p14="http://schemas.microsoft.com/office/powerpoint/2010/main" val="272463488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de-DE" dirty="0"/>
              <a:t>As-is/to-be Comparison</a:t>
            </a:r>
            <a:endParaRPr lang="en-US" dirty="0"/>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C2AA4E0-F0FF-400E-B5B0-844A33D27A4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3" name="Rectangle 22">
            <a:extLst>
              <a:ext uri="{FF2B5EF4-FFF2-40B4-BE49-F238E27FC236}">
                <a16:creationId xmlns:a16="http://schemas.microsoft.com/office/drawing/2014/main" id="{3AC3366D-43DF-4E8E-847D-A832409ED0A5}"/>
              </a:ext>
            </a:extLst>
          </p:cNvPr>
          <p:cNvSpPr/>
          <p:nvPr/>
        </p:nvSpPr>
        <p:spPr>
          <a:xfrm>
            <a:off x="2720148" y="1907460"/>
            <a:ext cx="9135302" cy="1799132"/>
          </a:xfrm>
          <a:prstGeom prst="rect">
            <a:avLst/>
          </a:prstGeom>
          <a:pattFill prst="dkUpDiag">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 name="Rectangle 23">
            <a:extLst>
              <a:ext uri="{FF2B5EF4-FFF2-40B4-BE49-F238E27FC236}">
                <a16:creationId xmlns:a16="http://schemas.microsoft.com/office/drawing/2014/main" id="{49175677-3C59-4186-8643-72E7A487C3F3}"/>
              </a:ext>
            </a:extLst>
          </p:cNvPr>
          <p:cNvSpPr/>
          <p:nvPr/>
        </p:nvSpPr>
        <p:spPr>
          <a:xfrm>
            <a:off x="2720148" y="4114334"/>
            <a:ext cx="9135302" cy="1799132"/>
          </a:xfrm>
          <a:prstGeom prst="rect">
            <a:avLst/>
          </a:prstGeom>
          <a:pattFill prst="dkUpDiag">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 name="Arrow: Chevron 24">
            <a:extLst>
              <a:ext uri="{FF2B5EF4-FFF2-40B4-BE49-F238E27FC236}">
                <a16:creationId xmlns:a16="http://schemas.microsoft.com/office/drawing/2014/main" id="{AFA9E792-530A-4629-A194-8A4F1B8BBF57}"/>
              </a:ext>
            </a:extLst>
          </p:cNvPr>
          <p:cNvSpPr/>
          <p:nvPr/>
        </p:nvSpPr>
        <p:spPr>
          <a:xfrm>
            <a:off x="2276921" y="2627972"/>
            <a:ext cx="260576" cy="358108"/>
          </a:xfrm>
          <a:prstGeom prst="chevron">
            <a:avLst/>
          </a:prstGeom>
          <a:pattFill prst="dkUpDiag">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sp>
        <p:nvSpPr>
          <p:cNvPr id="26" name="TextBox 25">
            <a:extLst>
              <a:ext uri="{FF2B5EF4-FFF2-40B4-BE49-F238E27FC236}">
                <a16:creationId xmlns:a16="http://schemas.microsoft.com/office/drawing/2014/main" id="{3EA38C6F-FBB7-485D-99DE-12B009E31053}"/>
              </a:ext>
            </a:extLst>
          </p:cNvPr>
          <p:cNvSpPr txBox="1"/>
          <p:nvPr/>
        </p:nvSpPr>
        <p:spPr>
          <a:xfrm>
            <a:off x="2951163" y="1366838"/>
            <a:ext cx="4244324" cy="396191"/>
          </a:xfrm>
          <a:prstGeom prst="rect">
            <a:avLst/>
          </a:prstGeom>
          <a:solidFill>
            <a:schemeClr val="accent2"/>
          </a:solidFill>
          <a:ln w="19050">
            <a:noFill/>
          </a:ln>
        </p:spPr>
        <p:txBody>
          <a:bodyPr vert="horz" wrap="square" lIns="0" tIns="36000" rIns="0" bIns="0" rtlCol="0" anchor="ctr">
            <a:noAutofit/>
          </a:bodyPr>
          <a:lstStyle/>
          <a:p>
            <a:pPr algn="ctr">
              <a:lnSpc>
                <a:spcPct val="85000"/>
              </a:lnSpc>
            </a:pPr>
            <a:r>
              <a:rPr lang="en-AU" sz="1400" b="1" dirty="0">
                <a:solidFill>
                  <a:schemeClr val="bg1"/>
                </a:solidFill>
                <a:latin typeface="+mj-lt"/>
              </a:rPr>
              <a:t>As-is</a:t>
            </a:r>
          </a:p>
        </p:txBody>
      </p:sp>
      <p:sp>
        <p:nvSpPr>
          <p:cNvPr id="27" name="TextBox 26">
            <a:extLst>
              <a:ext uri="{FF2B5EF4-FFF2-40B4-BE49-F238E27FC236}">
                <a16:creationId xmlns:a16="http://schemas.microsoft.com/office/drawing/2014/main" id="{4945625E-4408-4B7B-8AF2-E476B9C92D19}"/>
              </a:ext>
            </a:extLst>
          </p:cNvPr>
          <p:cNvSpPr txBox="1"/>
          <p:nvPr/>
        </p:nvSpPr>
        <p:spPr>
          <a:xfrm>
            <a:off x="7395124" y="1366838"/>
            <a:ext cx="4244324" cy="396191"/>
          </a:xfrm>
          <a:prstGeom prst="rect">
            <a:avLst/>
          </a:prstGeom>
          <a:solidFill>
            <a:schemeClr val="accent5"/>
          </a:solidFill>
          <a:ln w="19050">
            <a:noFill/>
          </a:ln>
        </p:spPr>
        <p:txBody>
          <a:bodyPr vert="horz" wrap="square" lIns="0" tIns="36000" rIns="0" bIns="0" rtlCol="0" anchor="ctr">
            <a:noAutofit/>
          </a:bodyPr>
          <a:lstStyle/>
          <a:p>
            <a:pPr algn="ctr">
              <a:lnSpc>
                <a:spcPct val="85000"/>
              </a:lnSpc>
            </a:pPr>
            <a:r>
              <a:rPr lang="en-AU" sz="1400" b="1" dirty="0">
                <a:solidFill>
                  <a:schemeClr val="bg1"/>
                </a:solidFill>
                <a:latin typeface="+mj-lt"/>
              </a:rPr>
              <a:t>To-be</a:t>
            </a:r>
          </a:p>
        </p:txBody>
      </p:sp>
      <p:grpSp>
        <p:nvGrpSpPr>
          <p:cNvPr id="28" name="Group 27">
            <a:extLst>
              <a:ext uri="{FF2B5EF4-FFF2-40B4-BE49-F238E27FC236}">
                <a16:creationId xmlns:a16="http://schemas.microsoft.com/office/drawing/2014/main" id="{7FC6441F-F6F7-467E-9E1B-09792C5AF981}"/>
              </a:ext>
            </a:extLst>
          </p:cNvPr>
          <p:cNvGrpSpPr/>
          <p:nvPr/>
        </p:nvGrpSpPr>
        <p:grpSpPr>
          <a:xfrm>
            <a:off x="334963" y="1763026"/>
            <a:ext cx="11304487" cy="2088000"/>
            <a:chOff x="334963" y="1763027"/>
            <a:chExt cx="11304487" cy="1825747"/>
          </a:xfrm>
        </p:grpSpPr>
        <p:sp>
          <p:nvSpPr>
            <p:cNvPr id="29" name="TextBox 28">
              <a:extLst>
                <a:ext uri="{FF2B5EF4-FFF2-40B4-BE49-F238E27FC236}">
                  <a16:creationId xmlns:a16="http://schemas.microsoft.com/office/drawing/2014/main" id="{07497223-4EBF-4B7F-85FA-F1D907F99400}"/>
                </a:ext>
              </a:extLst>
            </p:cNvPr>
            <p:cNvSpPr txBox="1"/>
            <p:nvPr/>
          </p:nvSpPr>
          <p:spPr>
            <a:xfrm>
              <a:off x="334963" y="1889320"/>
              <a:ext cx="1759308" cy="1573161"/>
            </a:xfrm>
            <a:prstGeom prst="rect">
              <a:avLst/>
            </a:prstGeom>
            <a:solidFill>
              <a:schemeClr val="accent1"/>
            </a:solidFill>
            <a:ln w="19050">
              <a:noFill/>
            </a:ln>
          </p:spPr>
          <p:txBody>
            <a:bodyPr vert="horz" wrap="square" lIns="72000" tIns="36000" rIns="72000" bIns="0" rtlCol="0" anchor="ctr">
              <a:noAutofit/>
            </a:bodyPr>
            <a:lstStyle/>
            <a:p>
              <a:pPr algn="ctr">
                <a:lnSpc>
                  <a:spcPct val="85000"/>
                </a:lnSpc>
              </a:pPr>
              <a:r>
                <a:rPr lang="en-AU" sz="1400" dirty="0">
                  <a:solidFill>
                    <a:schemeClr val="bg1"/>
                  </a:solidFill>
                  <a:latin typeface="+mj-lt"/>
                </a:rPr>
                <a:t>Text</a:t>
              </a:r>
            </a:p>
          </p:txBody>
        </p:sp>
        <p:sp>
          <p:nvSpPr>
            <p:cNvPr id="30" name="Rectangle 29">
              <a:extLst>
                <a:ext uri="{FF2B5EF4-FFF2-40B4-BE49-F238E27FC236}">
                  <a16:creationId xmlns:a16="http://schemas.microsoft.com/office/drawing/2014/main" id="{28333B93-9CD2-461D-AB1C-BE7948983176}"/>
                </a:ext>
              </a:extLst>
            </p:cNvPr>
            <p:cNvSpPr/>
            <p:nvPr/>
          </p:nvSpPr>
          <p:spPr>
            <a:xfrm>
              <a:off x="2951165" y="1763027"/>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As-is situation</a:t>
              </a:r>
            </a:p>
          </p:txBody>
        </p:sp>
        <p:sp>
          <p:nvSpPr>
            <p:cNvPr id="31" name="Rectangle 30">
              <a:extLst>
                <a:ext uri="{FF2B5EF4-FFF2-40B4-BE49-F238E27FC236}">
                  <a16:creationId xmlns:a16="http://schemas.microsoft.com/office/drawing/2014/main" id="{9652392A-3CDE-462C-A240-7C8630880B52}"/>
                </a:ext>
              </a:extLst>
            </p:cNvPr>
            <p:cNvSpPr/>
            <p:nvPr/>
          </p:nvSpPr>
          <p:spPr>
            <a:xfrm>
              <a:off x="7395126" y="1763027"/>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o-be situation</a:t>
              </a:r>
            </a:p>
          </p:txBody>
        </p:sp>
      </p:grpSp>
      <p:sp>
        <p:nvSpPr>
          <p:cNvPr id="32" name="Arrow: Chevron 31">
            <a:extLst>
              <a:ext uri="{FF2B5EF4-FFF2-40B4-BE49-F238E27FC236}">
                <a16:creationId xmlns:a16="http://schemas.microsoft.com/office/drawing/2014/main" id="{27604A5E-44A6-40A5-916C-0FFD97C11D7A}"/>
              </a:ext>
            </a:extLst>
          </p:cNvPr>
          <p:cNvSpPr/>
          <p:nvPr/>
        </p:nvSpPr>
        <p:spPr>
          <a:xfrm>
            <a:off x="2276921" y="4834846"/>
            <a:ext cx="260576" cy="358108"/>
          </a:xfrm>
          <a:prstGeom prst="chevron">
            <a:avLst/>
          </a:prstGeom>
          <a:pattFill prst="dkUpDiag">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endParaRPr>
          </a:p>
        </p:txBody>
      </p:sp>
      <p:grpSp>
        <p:nvGrpSpPr>
          <p:cNvPr id="33" name="Group 32">
            <a:extLst>
              <a:ext uri="{FF2B5EF4-FFF2-40B4-BE49-F238E27FC236}">
                <a16:creationId xmlns:a16="http://schemas.microsoft.com/office/drawing/2014/main" id="{F47BBD30-83B2-46E3-B87B-91F9EAE1EE9E}"/>
              </a:ext>
            </a:extLst>
          </p:cNvPr>
          <p:cNvGrpSpPr/>
          <p:nvPr/>
        </p:nvGrpSpPr>
        <p:grpSpPr>
          <a:xfrm>
            <a:off x="334963" y="3969900"/>
            <a:ext cx="11304487" cy="2088000"/>
            <a:chOff x="334963" y="3715065"/>
            <a:chExt cx="11304487" cy="1825747"/>
          </a:xfrm>
        </p:grpSpPr>
        <p:sp>
          <p:nvSpPr>
            <p:cNvPr id="34" name="TextBox 33">
              <a:extLst>
                <a:ext uri="{FF2B5EF4-FFF2-40B4-BE49-F238E27FC236}">
                  <a16:creationId xmlns:a16="http://schemas.microsoft.com/office/drawing/2014/main" id="{DC0D0CD6-E778-479F-B457-8465102DE55B}"/>
                </a:ext>
              </a:extLst>
            </p:cNvPr>
            <p:cNvSpPr txBox="1"/>
            <p:nvPr/>
          </p:nvSpPr>
          <p:spPr>
            <a:xfrm>
              <a:off x="334963" y="3841358"/>
              <a:ext cx="1759308" cy="1573161"/>
            </a:xfrm>
            <a:prstGeom prst="rect">
              <a:avLst/>
            </a:prstGeom>
            <a:solidFill>
              <a:schemeClr val="accent3"/>
            </a:solidFill>
            <a:ln w="19050">
              <a:noFill/>
            </a:ln>
          </p:spPr>
          <p:txBody>
            <a:bodyPr vert="horz" wrap="square" lIns="72000" tIns="36000" rIns="72000" bIns="0" rtlCol="0" anchor="ctr">
              <a:noAutofit/>
            </a:bodyPr>
            <a:lstStyle>
              <a:defPPr>
                <a:defRPr lang="en-US"/>
              </a:defPPr>
              <a:lvl1pPr algn="ctr">
                <a:lnSpc>
                  <a:spcPct val="85000"/>
                </a:lnSpc>
                <a:defRPr sz="1400">
                  <a:solidFill>
                    <a:schemeClr val="bg1"/>
                  </a:solidFill>
                  <a:latin typeface="+mj-lt"/>
                </a:defRPr>
              </a:lvl1pPr>
            </a:lstStyle>
            <a:p>
              <a:r>
                <a:rPr lang="en-AU" b="1" dirty="0"/>
                <a:t>Text</a:t>
              </a:r>
            </a:p>
          </p:txBody>
        </p:sp>
        <p:sp>
          <p:nvSpPr>
            <p:cNvPr id="35" name="Rectangle 34">
              <a:extLst>
                <a:ext uri="{FF2B5EF4-FFF2-40B4-BE49-F238E27FC236}">
                  <a16:creationId xmlns:a16="http://schemas.microsoft.com/office/drawing/2014/main" id="{A0FC0231-FD82-47AF-BF2C-78A3242198B5}"/>
                </a:ext>
              </a:extLst>
            </p:cNvPr>
            <p:cNvSpPr/>
            <p:nvPr/>
          </p:nvSpPr>
          <p:spPr>
            <a:xfrm>
              <a:off x="2951165" y="3715065"/>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As-is situation</a:t>
              </a:r>
            </a:p>
          </p:txBody>
        </p:sp>
        <p:sp>
          <p:nvSpPr>
            <p:cNvPr id="36" name="Rectangle 35">
              <a:extLst>
                <a:ext uri="{FF2B5EF4-FFF2-40B4-BE49-F238E27FC236}">
                  <a16:creationId xmlns:a16="http://schemas.microsoft.com/office/drawing/2014/main" id="{EE8D8440-1FDF-4619-9F1B-066767631734}"/>
                </a:ext>
              </a:extLst>
            </p:cNvPr>
            <p:cNvSpPr/>
            <p:nvPr/>
          </p:nvSpPr>
          <p:spPr>
            <a:xfrm>
              <a:off x="7395126" y="3715065"/>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o-be situation</a:t>
              </a:r>
            </a:p>
          </p:txBody>
        </p:sp>
      </p:grpSp>
      <p:grpSp>
        <p:nvGrpSpPr>
          <p:cNvPr id="37" name="Group 36">
            <a:extLst>
              <a:ext uri="{FF2B5EF4-FFF2-40B4-BE49-F238E27FC236}">
                <a16:creationId xmlns:a16="http://schemas.microsoft.com/office/drawing/2014/main" id="{215DD090-59F4-4175-9091-098C81D39E5C}"/>
              </a:ext>
            </a:extLst>
          </p:cNvPr>
          <p:cNvGrpSpPr/>
          <p:nvPr/>
        </p:nvGrpSpPr>
        <p:grpSpPr>
          <a:xfrm>
            <a:off x="334963" y="1763029"/>
            <a:ext cx="11304487" cy="2088000"/>
            <a:chOff x="334963" y="1763027"/>
            <a:chExt cx="11304487" cy="1825747"/>
          </a:xfrm>
        </p:grpSpPr>
        <p:sp>
          <p:nvSpPr>
            <p:cNvPr id="38" name="TextBox 37">
              <a:extLst>
                <a:ext uri="{FF2B5EF4-FFF2-40B4-BE49-F238E27FC236}">
                  <a16:creationId xmlns:a16="http://schemas.microsoft.com/office/drawing/2014/main" id="{EAFAB634-CBDA-4B4D-BAEB-9EA1BEBDF140}"/>
                </a:ext>
              </a:extLst>
            </p:cNvPr>
            <p:cNvSpPr txBox="1"/>
            <p:nvPr/>
          </p:nvSpPr>
          <p:spPr>
            <a:xfrm>
              <a:off x="334963" y="1889320"/>
              <a:ext cx="1759308" cy="1573161"/>
            </a:xfrm>
            <a:prstGeom prst="rect">
              <a:avLst/>
            </a:prstGeom>
            <a:solidFill>
              <a:schemeClr val="accent3"/>
            </a:solidFill>
            <a:ln w="19050">
              <a:noFill/>
            </a:ln>
          </p:spPr>
          <p:txBody>
            <a:bodyPr vert="horz" wrap="square" lIns="72000" tIns="36000" rIns="72000" bIns="0" rtlCol="0" anchor="ctr">
              <a:noAutofit/>
            </a:bodyPr>
            <a:lstStyle/>
            <a:p>
              <a:pPr algn="ctr">
                <a:lnSpc>
                  <a:spcPct val="85000"/>
                </a:lnSpc>
              </a:pPr>
              <a:r>
                <a:rPr lang="en-AU" sz="1400" b="1" dirty="0">
                  <a:solidFill>
                    <a:schemeClr val="bg1"/>
                  </a:solidFill>
                  <a:latin typeface="+mj-lt"/>
                </a:rPr>
                <a:t>Text</a:t>
              </a:r>
            </a:p>
          </p:txBody>
        </p:sp>
        <p:sp>
          <p:nvSpPr>
            <p:cNvPr id="39" name="Rectangle 38">
              <a:extLst>
                <a:ext uri="{FF2B5EF4-FFF2-40B4-BE49-F238E27FC236}">
                  <a16:creationId xmlns:a16="http://schemas.microsoft.com/office/drawing/2014/main" id="{A3C6930F-C72D-4DE3-98DB-529752E49419}"/>
                </a:ext>
              </a:extLst>
            </p:cNvPr>
            <p:cNvSpPr/>
            <p:nvPr/>
          </p:nvSpPr>
          <p:spPr>
            <a:xfrm>
              <a:off x="2951165" y="1763027"/>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As-is situation</a:t>
              </a:r>
            </a:p>
          </p:txBody>
        </p:sp>
        <p:sp>
          <p:nvSpPr>
            <p:cNvPr id="40" name="Rectangle 39">
              <a:extLst>
                <a:ext uri="{FF2B5EF4-FFF2-40B4-BE49-F238E27FC236}">
                  <a16:creationId xmlns:a16="http://schemas.microsoft.com/office/drawing/2014/main" id="{D2816F9C-7CD9-4B3B-BC8E-8A282BDD2730}"/>
                </a:ext>
              </a:extLst>
            </p:cNvPr>
            <p:cNvSpPr/>
            <p:nvPr/>
          </p:nvSpPr>
          <p:spPr>
            <a:xfrm>
              <a:off x="7395126" y="1763027"/>
              <a:ext cx="4244324" cy="1825747"/>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80000" tIns="180000" rtlCol="0" anchor="t" anchorCtr="0"/>
            <a:lstStyle/>
            <a:p>
              <a:pPr marL="176213" indent="-176213" eaLnBrk="0" hangingPunct="0">
                <a:spcBef>
                  <a:spcPts val="100"/>
                </a:spcBef>
                <a:spcAft>
                  <a:spcPts val="100"/>
                </a:spcAft>
                <a:buFontTx/>
                <a:buChar char="•"/>
              </a:pPr>
              <a:r>
                <a:rPr lang="en-US" sz="1400" dirty="0">
                  <a:solidFill>
                    <a:schemeClr val="tx1"/>
                  </a:solidFill>
                </a:rPr>
                <a:t>To-be situation</a:t>
              </a:r>
            </a:p>
          </p:txBody>
        </p:sp>
      </p:grpSp>
    </p:spTree>
    <p:extLst>
      <p:ext uri="{BB962C8B-B14F-4D97-AF65-F5344CB8AC3E}">
        <p14:creationId xmlns:p14="http://schemas.microsoft.com/office/powerpoint/2010/main" val="62974543"/>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Advantages/Disadvantages</a:t>
            </a:r>
          </a:p>
        </p:txBody>
      </p:sp>
      <p:sp>
        <p:nvSpPr>
          <p:cNvPr id="4" name="Freeform: Shape 3">
            <a:hlinkClick r:id="rId7"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7" action="ppaction://hlinksldjump"/>
            <a:extLst>
              <a:ext uri="{FF2B5EF4-FFF2-40B4-BE49-F238E27FC236}">
                <a16:creationId xmlns:a16="http://schemas.microsoft.com/office/drawing/2014/main" id="{7E538321-2FC7-4161-ACEF-AD813B83F2C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2" name="Group 11">
            <a:extLst>
              <a:ext uri="{FF2B5EF4-FFF2-40B4-BE49-F238E27FC236}">
                <a16:creationId xmlns:a16="http://schemas.microsoft.com/office/drawing/2014/main" id="{E673ACC9-5CC0-48C8-864B-CE0F41FF1464}"/>
              </a:ext>
            </a:extLst>
          </p:cNvPr>
          <p:cNvGrpSpPr/>
          <p:nvPr/>
        </p:nvGrpSpPr>
        <p:grpSpPr>
          <a:xfrm>
            <a:off x="381000" y="1612109"/>
            <a:ext cx="5053547" cy="3725066"/>
            <a:chOff x="1100738" y="1576600"/>
            <a:chExt cx="3600000" cy="4225110"/>
          </a:xfrm>
        </p:grpSpPr>
        <p:sp>
          <p:nvSpPr>
            <p:cNvPr id="13" name="Rectangle 12">
              <a:extLst>
                <a:ext uri="{FF2B5EF4-FFF2-40B4-BE49-F238E27FC236}">
                  <a16:creationId xmlns:a16="http://schemas.microsoft.com/office/drawing/2014/main" id="{7D6E8750-BC21-476D-936D-4B49AC87F027}"/>
                </a:ext>
              </a:extLst>
            </p:cNvPr>
            <p:cNvSpPr>
              <a:spLocks noChangeArrowheads="1"/>
            </p:cNvSpPr>
            <p:nvPr>
              <p:custDataLst>
                <p:tags r:id="rId3"/>
              </p:custDataLst>
            </p:nvPr>
          </p:nvSpPr>
          <p:spPr bwMode="auto">
            <a:xfrm>
              <a:off x="1100738" y="1576600"/>
              <a:ext cx="3600000" cy="367218"/>
            </a:xfrm>
            <a:prstGeom prst="rect">
              <a:avLst/>
            </a:prstGeom>
            <a:solidFill>
              <a:schemeClr val="accent3"/>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Advantages</a:t>
              </a:r>
            </a:p>
          </p:txBody>
        </p:sp>
        <p:sp>
          <p:nvSpPr>
            <p:cNvPr id="14" name="Rectangle 13">
              <a:extLst>
                <a:ext uri="{FF2B5EF4-FFF2-40B4-BE49-F238E27FC236}">
                  <a16:creationId xmlns:a16="http://schemas.microsoft.com/office/drawing/2014/main" id="{44039324-AA3E-4140-B3B1-ACC208FC7E85}"/>
                </a:ext>
              </a:extLst>
            </p:cNvPr>
            <p:cNvSpPr>
              <a:spLocks noChangeArrowheads="1"/>
            </p:cNvSpPr>
            <p:nvPr>
              <p:custDataLst>
                <p:tags r:id="rId4"/>
              </p:custDataLst>
            </p:nvPr>
          </p:nvSpPr>
          <p:spPr bwMode="auto">
            <a:xfrm>
              <a:off x="1100738" y="1943818"/>
              <a:ext cx="3600000" cy="3857892"/>
            </a:xfrm>
            <a:prstGeom prst="rect">
              <a:avLst/>
            </a:prstGeom>
            <a:solidFill>
              <a:schemeClr val="tx2">
                <a:lumMod val="20000"/>
                <a:lumOff val="80000"/>
              </a:schemeClr>
            </a:solidFill>
            <a:ln w="6350">
              <a:noFill/>
              <a:miter lim="800000"/>
              <a:headEnd/>
              <a:tailEnd/>
            </a:ln>
          </p:spPr>
          <p:txBody>
            <a:bodyPr lIns="18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grpSp>
        <p:nvGrpSpPr>
          <p:cNvPr id="15" name="Group 14">
            <a:extLst>
              <a:ext uri="{FF2B5EF4-FFF2-40B4-BE49-F238E27FC236}">
                <a16:creationId xmlns:a16="http://schemas.microsoft.com/office/drawing/2014/main" id="{98BD6DAC-0CAA-4465-9A27-68B0E0DD5A2D}"/>
              </a:ext>
            </a:extLst>
          </p:cNvPr>
          <p:cNvGrpSpPr/>
          <p:nvPr/>
        </p:nvGrpSpPr>
        <p:grpSpPr>
          <a:xfrm>
            <a:off x="6758393" y="1612109"/>
            <a:ext cx="5051973" cy="3725066"/>
            <a:chOff x="7144573" y="1582411"/>
            <a:chExt cx="3600000" cy="3754764"/>
          </a:xfrm>
        </p:grpSpPr>
        <p:sp>
          <p:nvSpPr>
            <p:cNvPr id="16" name="Rectangle 14">
              <a:extLst>
                <a:ext uri="{FF2B5EF4-FFF2-40B4-BE49-F238E27FC236}">
                  <a16:creationId xmlns:a16="http://schemas.microsoft.com/office/drawing/2014/main" id="{B500A0D1-E138-4720-81D0-B24B265F8261}"/>
                </a:ext>
              </a:extLst>
            </p:cNvPr>
            <p:cNvSpPr>
              <a:spLocks noChangeArrowheads="1"/>
            </p:cNvSpPr>
            <p:nvPr>
              <p:custDataLst>
                <p:tags r:id="rId1"/>
              </p:custDataLst>
            </p:nvPr>
          </p:nvSpPr>
          <p:spPr bwMode="auto">
            <a:xfrm>
              <a:off x="7144573" y="1582411"/>
              <a:ext cx="3600000" cy="326339"/>
            </a:xfrm>
            <a:prstGeom prst="rect">
              <a:avLst/>
            </a:prstGeom>
            <a:solidFill>
              <a:schemeClr val="accent5"/>
            </a:solidFill>
            <a:ln w="6350">
              <a:noFill/>
              <a:miter lim="800000"/>
              <a:headEnd/>
              <a:tailEnd/>
            </a:ln>
            <a:effectLst/>
          </p:spPr>
          <p:txBody>
            <a:bodyPr wrap="none" lIns="72000" tIns="108000" rIns="72000" bIns="72000" anchor="ctr"/>
            <a:lstStyle/>
            <a:p>
              <a:pPr algn="ctr" eaLnBrk="0" hangingPunct="0">
                <a:lnSpc>
                  <a:spcPct val="85000"/>
                </a:lnSpc>
                <a:spcBef>
                  <a:spcPts val="100"/>
                </a:spcBef>
                <a:spcAft>
                  <a:spcPts val="300"/>
                </a:spcAft>
              </a:pPr>
              <a:r>
                <a:rPr lang="en-US" sz="1600" b="1" dirty="0">
                  <a:solidFill>
                    <a:schemeClr val="bg1"/>
                  </a:solidFill>
                  <a:latin typeface="+mj-lt"/>
                </a:rPr>
                <a:t>Disadvantages</a:t>
              </a:r>
            </a:p>
          </p:txBody>
        </p:sp>
        <p:sp>
          <p:nvSpPr>
            <p:cNvPr id="17" name="Rectangle 15">
              <a:extLst>
                <a:ext uri="{FF2B5EF4-FFF2-40B4-BE49-F238E27FC236}">
                  <a16:creationId xmlns:a16="http://schemas.microsoft.com/office/drawing/2014/main" id="{A1B14A67-D899-4A44-829C-A6DBC6CA727A}"/>
                </a:ext>
              </a:extLst>
            </p:cNvPr>
            <p:cNvSpPr>
              <a:spLocks noChangeArrowheads="1"/>
            </p:cNvSpPr>
            <p:nvPr>
              <p:custDataLst>
                <p:tags r:id="rId2"/>
              </p:custDataLst>
            </p:nvPr>
          </p:nvSpPr>
          <p:spPr bwMode="auto">
            <a:xfrm>
              <a:off x="7144573" y="1908751"/>
              <a:ext cx="3600000" cy="3428424"/>
            </a:xfrm>
            <a:prstGeom prst="rect">
              <a:avLst/>
            </a:prstGeom>
            <a:solidFill>
              <a:schemeClr val="tx2">
                <a:lumMod val="20000"/>
                <a:lumOff val="80000"/>
              </a:schemeClr>
            </a:solidFill>
            <a:ln w="6350">
              <a:noFill/>
              <a:miter lim="800000"/>
              <a:headEnd/>
              <a:tailEnd/>
            </a:ln>
          </p:spPr>
          <p:txBody>
            <a:bodyPr lIns="360000" tIns="144000" rIns="144000" bIns="72000"/>
            <a:lstStyle/>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a:p>
              <a:pPr marL="174625" indent="-174625" eaLnBrk="0" hangingPunct="0">
                <a:lnSpc>
                  <a:spcPct val="85000"/>
                </a:lnSpc>
                <a:spcBef>
                  <a:spcPts val="100"/>
                </a:spcBef>
                <a:spcAft>
                  <a:spcPts val="100"/>
                </a:spcAft>
                <a:buFontTx/>
                <a:buChar char="•"/>
              </a:pPr>
              <a:r>
                <a:rPr lang="en-US" sz="1600" dirty="0"/>
                <a:t>Text</a:t>
              </a:r>
            </a:p>
          </p:txBody>
        </p:sp>
      </p:grpSp>
      <p:sp>
        <p:nvSpPr>
          <p:cNvPr id="18" name="Oval 25">
            <a:extLst>
              <a:ext uri="{FF2B5EF4-FFF2-40B4-BE49-F238E27FC236}">
                <a16:creationId xmlns:a16="http://schemas.microsoft.com/office/drawing/2014/main" id="{02DF2664-8857-4997-9BF0-0B184E9A2A81}"/>
              </a:ext>
            </a:extLst>
          </p:cNvPr>
          <p:cNvSpPr>
            <a:spLocks noChangeArrowheads="1"/>
          </p:cNvSpPr>
          <p:nvPr/>
        </p:nvSpPr>
        <p:spPr bwMode="auto">
          <a:xfrm>
            <a:off x="5667277" y="3068457"/>
            <a:ext cx="858390" cy="858391"/>
          </a:xfrm>
          <a:prstGeom prst="ellipse">
            <a:avLst/>
          </a:prstGeom>
          <a:pattFill prst="dkUpDiag">
            <a:fgClr>
              <a:schemeClr val="tx2">
                <a:lumMod val="40000"/>
                <a:lumOff val="60000"/>
              </a:schemeClr>
            </a:fgClr>
            <a:bgClr>
              <a:schemeClr val="bg1"/>
            </a:bgClr>
          </a:pattFill>
          <a:ln w="101600">
            <a:solidFill>
              <a:schemeClr val="bg1"/>
            </a:solidFill>
            <a:miter lim="800000"/>
            <a:headEnd/>
            <a:tailEnd/>
          </a:ln>
        </p:spPr>
        <p:txBody>
          <a:bodyPr lIns="0" tIns="72000" rIns="0" bIns="0" anchor="ctr" anchorCtr="0"/>
          <a:lstStyle/>
          <a:p>
            <a:pPr algn="ctr" eaLnBrk="0" hangingPunct="0">
              <a:lnSpc>
                <a:spcPct val="85000"/>
              </a:lnSpc>
              <a:spcBef>
                <a:spcPts val="100"/>
              </a:spcBef>
              <a:spcAft>
                <a:spcPts val="300"/>
              </a:spcAft>
            </a:pPr>
            <a:r>
              <a:rPr lang="en-US" b="1" dirty="0">
                <a:solidFill>
                  <a:schemeClr val="tx2"/>
                </a:solidFill>
                <a:latin typeface="+mj-lt"/>
              </a:rPr>
              <a:t>Vs</a:t>
            </a:r>
          </a:p>
        </p:txBody>
      </p:sp>
    </p:spTree>
    <p:extLst>
      <p:ext uri="{BB962C8B-B14F-4D97-AF65-F5344CB8AC3E}">
        <p14:creationId xmlns:p14="http://schemas.microsoft.com/office/powerpoint/2010/main" val="2465209346"/>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Evaluation Chart</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3">
            <a:extLst>
              <a:ext uri="{FF2B5EF4-FFF2-40B4-BE49-F238E27FC236}">
                <a16:creationId xmlns:a16="http://schemas.microsoft.com/office/drawing/2014/main" id="{33D6B874-6753-43C8-BC1E-2C30A2B0A889}"/>
              </a:ext>
            </a:extLst>
          </p:cNvPr>
          <p:cNvSpPr>
            <a:spLocks noChangeArrowheads="1"/>
          </p:cNvSpPr>
          <p:nvPr/>
        </p:nvSpPr>
        <p:spPr bwMode="auto">
          <a:xfrm>
            <a:off x="341856" y="5299497"/>
            <a:ext cx="4721757" cy="1090143"/>
          </a:xfrm>
          <a:prstGeom prst="rect">
            <a:avLst/>
          </a:prstGeom>
          <a:solidFill>
            <a:srgbClr val="FFFFFF">
              <a:lumMod val="95000"/>
            </a:srgbClr>
          </a:solidFill>
          <a:ln w="3175">
            <a:noFill/>
            <a:miter lim="800000"/>
            <a:headEnd/>
            <a:tailEnd/>
          </a:ln>
          <a:effectLst/>
        </p:spPr>
        <p:txBody>
          <a:bodyPr wrap="square" lIns="108000" tIns="108000" rIns="72000" bIns="108000" anchor="b"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latin typeface="Graphik"/>
                <a:ea typeface="+mn-ea"/>
                <a:cs typeface="+mn-cs"/>
              </a:rPr>
              <a:t>1	Right-click onto the </a:t>
            </a:r>
            <a:r>
              <a:rPr kumimoji="0" lang="en-IE" sz="1000" b="0" i="0" u="none" strike="noStrike" kern="0" cap="none" spc="0" normalizeH="0" baseline="0" noProof="0" dirty="0" err="1">
                <a:ln>
                  <a:noFill/>
                </a:ln>
                <a:solidFill>
                  <a:srgbClr val="000000"/>
                </a:solidFill>
                <a:effectLst/>
                <a:uLnTx/>
                <a:uFillTx/>
                <a:latin typeface="Graphik"/>
                <a:ea typeface="+mn-ea"/>
                <a:cs typeface="+mn-cs"/>
              </a:rPr>
              <a:t>colored</a:t>
            </a:r>
            <a:r>
              <a:rPr kumimoji="0" lang="en-IE" sz="1000" b="0" i="0" u="none" strike="noStrike" kern="0" cap="none" spc="0" normalizeH="0" baseline="0" noProof="0" dirty="0">
                <a:ln>
                  <a:noFill/>
                </a:ln>
                <a:solidFill>
                  <a:srgbClr val="000000"/>
                </a:solidFill>
                <a:effectLst/>
                <a:uLnTx/>
                <a:uFillTx/>
                <a:latin typeface="Graphik"/>
                <a:ea typeface="+mn-ea"/>
                <a:cs typeface="+mn-cs"/>
              </a:rPr>
              <a:t> lines and select “edit po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latin typeface="Graphik"/>
                <a:ea typeface="+mn-ea"/>
                <a:cs typeface="+mn-cs"/>
              </a:rPr>
              <a:t>2	Click onto appearing black points and move them to desired position</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latin typeface="Graphik"/>
                <a:ea typeface="+mn-ea"/>
                <a:cs typeface="+mn-cs"/>
              </a:rPr>
              <a:t>3	Edit company names manually </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IE" sz="1000" b="0" i="0" u="none" strike="noStrike" kern="0" cap="none" spc="0" normalizeH="0" baseline="0" noProof="0" dirty="0">
                <a:ln>
                  <a:noFill/>
                </a:ln>
                <a:solidFill>
                  <a:srgbClr val="000000"/>
                </a:solidFill>
                <a:effectLst/>
                <a:uLnTx/>
                <a:uFillTx/>
                <a:latin typeface="Graphik"/>
                <a:ea typeface="+mn-ea"/>
                <a:cs typeface="+mn-cs"/>
              </a:rPr>
              <a:t>4	Edit attributes manually </a:t>
            </a:r>
          </a:p>
        </p:txBody>
      </p:sp>
      <p:grpSp>
        <p:nvGrpSpPr>
          <p:cNvPr id="6" name="Group 5">
            <a:extLst>
              <a:ext uri="{FF2B5EF4-FFF2-40B4-BE49-F238E27FC236}">
                <a16:creationId xmlns:a16="http://schemas.microsoft.com/office/drawing/2014/main" id="{1655A998-DA91-4565-93E9-43728215B940}"/>
              </a:ext>
            </a:extLst>
          </p:cNvPr>
          <p:cNvGrpSpPr/>
          <p:nvPr/>
        </p:nvGrpSpPr>
        <p:grpSpPr>
          <a:xfrm>
            <a:off x="2339076" y="4768606"/>
            <a:ext cx="2885262" cy="333769"/>
            <a:chOff x="2558463" y="4597667"/>
            <a:chExt cx="2920430" cy="333769"/>
          </a:xfrm>
        </p:grpSpPr>
        <p:sp>
          <p:nvSpPr>
            <p:cNvPr id="7" name="Text Box 35">
              <a:extLst>
                <a:ext uri="{FF2B5EF4-FFF2-40B4-BE49-F238E27FC236}">
                  <a16:creationId xmlns:a16="http://schemas.microsoft.com/office/drawing/2014/main" id="{EBA344ED-119B-456E-80A1-F73D26A97D11}"/>
                </a:ext>
              </a:extLst>
            </p:cNvPr>
            <p:cNvSpPr txBox="1">
              <a:spLocks noChangeArrowheads="1"/>
            </p:cNvSpPr>
            <p:nvPr/>
          </p:nvSpPr>
          <p:spPr bwMode="auto">
            <a:xfrm>
              <a:off x="3178490" y="4597667"/>
              <a:ext cx="2300403" cy="333769"/>
            </a:xfrm>
            <a:prstGeom prst="rect">
              <a:avLst/>
            </a:prstGeom>
            <a:noFill/>
            <a:ln w="3175">
              <a:noFill/>
              <a:miter lim="800000"/>
              <a:headEnd/>
              <a:tailEnd/>
            </a:ln>
            <a:effectLst/>
          </p:spPr>
          <p:txBody>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Company 1</a:t>
              </a:r>
            </a:p>
          </p:txBody>
        </p:sp>
        <p:sp>
          <p:nvSpPr>
            <p:cNvPr id="8" name="Freeform 39">
              <a:extLst>
                <a:ext uri="{FF2B5EF4-FFF2-40B4-BE49-F238E27FC236}">
                  <a16:creationId xmlns:a16="http://schemas.microsoft.com/office/drawing/2014/main" id="{DBF3B09D-A0C5-460E-8EBD-5B76546C7952}"/>
                </a:ext>
              </a:extLst>
            </p:cNvPr>
            <p:cNvSpPr>
              <a:spLocks/>
            </p:cNvSpPr>
            <p:nvPr/>
          </p:nvSpPr>
          <p:spPr bwMode="auto">
            <a:xfrm>
              <a:off x="2558463" y="4754070"/>
              <a:ext cx="540000" cy="1613"/>
            </a:xfrm>
            <a:custGeom>
              <a:avLst/>
              <a:gdLst/>
              <a:ahLst/>
              <a:cxnLst>
                <a:cxn ang="0">
                  <a:pos x="0" y="0"/>
                </a:cxn>
                <a:cxn ang="0">
                  <a:pos x="301" y="0"/>
                </a:cxn>
              </a:cxnLst>
              <a:rect l="0" t="0" r="r" b="b"/>
              <a:pathLst>
                <a:path w="301" h="1">
                  <a:moveTo>
                    <a:pt x="0" y="0"/>
                  </a:moveTo>
                  <a:lnTo>
                    <a:pt x="301" y="0"/>
                  </a:lnTo>
                </a:path>
              </a:pathLst>
            </a:custGeom>
            <a:noFill/>
            <a:ln w="38100" cap="flat" cmpd="sng">
              <a:solidFill>
                <a:srgbClr val="A100FF"/>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2" name="Group 11">
            <a:extLst>
              <a:ext uri="{FF2B5EF4-FFF2-40B4-BE49-F238E27FC236}">
                <a16:creationId xmlns:a16="http://schemas.microsoft.com/office/drawing/2014/main" id="{C4649875-34AA-478D-A448-46394480DBC2}"/>
              </a:ext>
            </a:extLst>
          </p:cNvPr>
          <p:cNvGrpSpPr/>
          <p:nvPr/>
        </p:nvGrpSpPr>
        <p:grpSpPr>
          <a:xfrm>
            <a:off x="6716539" y="4766993"/>
            <a:ext cx="2881980" cy="336994"/>
            <a:chOff x="6249806" y="4594443"/>
            <a:chExt cx="2917107" cy="336994"/>
          </a:xfrm>
        </p:grpSpPr>
        <p:sp>
          <p:nvSpPr>
            <p:cNvPr id="13" name="Text Box 36">
              <a:extLst>
                <a:ext uri="{FF2B5EF4-FFF2-40B4-BE49-F238E27FC236}">
                  <a16:creationId xmlns:a16="http://schemas.microsoft.com/office/drawing/2014/main" id="{685A0962-A62E-40B4-A723-EEF1D00A9A76}"/>
                </a:ext>
              </a:extLst>
            </p:cNvPr>
            <p:cNvSpPr txBox="1">
              <a:spLocks noChangeArrowheads="1"/>
            </p:cNvSpPr>
            <p:nvPr/>
          </p:nvSpPr>
          <p:spPr bwMode="auto">
            <a:xfrm>
              <a:off x="6866510" y="4594443"/>
              <a:ext cx="2300403" cy="336994"/>
            </a:xfrm>
            <a:prstGeom prst="rect">
              <a:avLst/>
            </a:prstGeom>
            <a:noFill/>
            <a:ln w="3175">
              <a:noFill/>
              <a:miter lim="800000"/>
              <a:headEnd/>
              <a:tailEnd/>
            </a:ln>
            <a:effectLst/>
          </p:spPr>
          <p:txBody>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Company 3</a:t>
              </a:r>
            </a:p>
          </p:txBody>
        </p:sp>
        <p:sp>
          <p:nvSpPr>
            <p:cNvPr id="14" name="Freeform 41">
              <a:extLst>
                <a:ext uri="{FF2B5EF4-FFF2-40B4-BE49-F238E27FC236}">
                  <a16:creationId xmlns:a16="http://schemas.microsoft.com/office/drawing/2014/main" id="{93FC392B-A9D8-4761-8358-974B79CD771C}"/>
                </a:ext>
              </a:extLst>
            </p:cNvPr>
            <p:cNvSpPr>
              <a:spLocks/>
            </p:cNvSpPr>
            <p:nvPr/>
          </p:nvSpPr>
          <p:spPr bwMode="auto">
            <a:xfrm>
              <a:off x="6249806" y="4762133"/>
              <a:ext cx="540000" cy="1613"/>
            </a:xfrm>
            <a:custGeom>
              <a:avLst/>
              <a:gdLst/>
              <a:ahLst/>
              <a:cxnLst>
                <a:cxn ang="0">
                  <a:pos x="0" y="0"/>
                </a:cxn>
                <a:cxn ang="0">
                  <a:pos x="301" y="0"/>
                </a:cxn>
              </a:cxnLst>
              <a:rect l="0" t="0" r="r" b="b"/>
              <a:pathLst>
                <a:path w="301" h="1">
                  <a:moveTo>
                    <a:pt x="0" y="0"/>
                  </a:moveTo>
                  <a:lnTo>
                    <a:pt x="301" y="0"/>
                  </a:lnTo>
                </a:path>
              </a:pathLst>
            </a:custGeom>
            <a:noFill/>
            <a:ln w="38100" cap="flat" cmpd="sng">
              <a:solidFill>
                <a:srgbClr val="A055F5"/>
              </a:solidFill>
              <a:prstDash val="lgDash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5" name="Group 14">
            <a:extLst>
              <a:ext uri="{FF2B5EF4-FFF2-40B4-BE49-F238E27FC236}">
                <a16:creationId xmlns:a16="http://schemas.microsoft.com/office/drawing/2014/main" id="{CB6593BA-A7A7-432C-82D0-89E19E5C5128}"/>
              </a:ext>
            </a:extLst>
          </p:cNvPr>
          <p:cNvGrpSpPr/>
          <p:nvPr/>
        </p:nvGrpSpPr>
        <p:grpSpPr>
          <a:xfrm>
            <a:off x="8901961" y="4768606"/>
            <a:ext cx="2881979" cy="333769"/>
            <a:chOff x="6249806" y="4931435"/>
            <a:chExt cx="2917106" cy="333769"/>
          </a:xfrm>
        </p:grpSpPr>
        <p:sp>
          <p:nvSpPr>
            <p:cNvPr id="16" name="Text Box 38">
              <a:extLst>
                <a:ext uri="{FF2B5EF4-FFF2-40B4-BE49-F238E27FC236}">
                  <a16:creationId xmlns:a16="http://schemas.microsoft.com/office/drawing/2014/main" id="{186788C4-A19F-4046-8E20-5E45F1631CC5}"/>
                </a:ext>
              </a:extLst>
            </p:cNvPr>
            <p:cNvSpPr txBox="1">
              <a:spLocks noChangeArrowheads="1"/>
            </p:cNvSpPr>
            <p:nvPr/>
          </p:nvSpPr>
          <p:spPr bwMode="auto">
            <a:xfrm>
              <a:off x="6866510" y="4931435"/>
              <a:ext cx="2300402" cy="333769"/>
            </a:xfrm>
            <a:prstGeom prst="rect">
              <a:avLst/>
            </a:prstGeom>
            <a:noFill/>
            <a:ln w="3175">
              <a:noFill/>
              <a:miter lim="800000"/>
              <a:headEnd/>
              <a:tailEnd/>
            </a:ln>
            <a:effectLst/>
          </p:spPr>
          <p:txBody>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Average</a:t>
              </a:r>
            </a:p>
          </p:txBody>
        </p:sp>
        <p:sp>
          <p:nvSpPr>
            <p:cNvPr id="17" name="Freeform 42">
              <a:extLst>
                <a:ext uri="{FF2B5EF4-FFF2-40B4-BE49-F238E27FC236}">
                  <a16:creationId xmlns:a16="http://schemas.microsoft.com/office/drawing/2014/main" id="{4237061A-4CFE-4F5D-8CB9-6483E8A7E42D}"/>
                </a:ext>
              </a:extLst>
            </p:cNvPr>
            <p:cNvSpPr>
              <a:spLocks/>
            </p:cNvSpPr>
            <p:nvPr/>
          </p:nvSpPr>
          <p:spPr bwMode="auto">
            <a:xfrm>
              <a:off x="6249806" y="5097514"/>
              <a:ext cx="540000" cy="1613"/>
            </a:xfrm>
            <a:custGeom>
              <a:avLst/>
              <a:gdLst/>
              <a:ahLst/>
              <a:cxnLst>
                <a:cxn ang="0">
                  <a:pos x="0" y="0"/>
                </a:cxn>
                <a:cxn ang="0">
                  <a:pos x="301" y="0"/>
                </a:cxn>
              </a:cxnLst>
              <a:rect l="0" t="0" r="r" b="b"/>
              <a:pathLst>
                <a:path w="301" h="1">
                  <a:moveTo>
                    <a:pt x="0" y="0"/>
                  </a:moveTo>
                  <a:lnTo>
                    <a:pt x="301" y="0"/>
                  </a:lnTo>
                </a:path>
              </a:pathLst>
            </a:custGeom>
            <a:noFill/>
            <a:ln w="38100" cap="flat" cmpd="sng">
              <a:solidFill>
                <a:srgbClr val="B455AA"/>
              </a:solidFill>
              <a:prstDash val="solid"/>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8" name="Group 17">
            <a:extLst>
              <a:ext uri="{FF2B5EF4-FFF2-40B4-BE49-F238E27FC236}">
                <a16:creationId xmlns:a16="http://schemas.microsoft.com/office/drawing/2014/main" id="{804D896F-B3A3-4CA6-BE6E-BFB11A0A7003}"/>
              </a:ext>
            </a:extLst>
          </p:cNvPr>
          <p:cNvGrpSpPr/>
          <p:nvPr/>
        </p:nvGrpSpPr>
        <p:grpSpPr>
          <a:xfrm>
            <a:off x="427038" y="1013317"/>
            <a:ext cx="11383328" cy="3624574"/>
            <a:chOff x="334963" y="1287541"/>
            <a:chExt cx="11522075" cy="3166622"/>
          </a:xfrm>
        </p:grpSpPr>
        <p:grpSp>
          <p:nvGrpSpPr>
            <p:cNvPr id="19" name="Group 18">
              <a:extLst>
                <a:ext uri="{FF2B5EF4-FFF2-40B4-BE49-F238E27FC236}">
                  <a16:creationId xmlns:a16="http://schemas.microsoft.com/office/drawing/2014/main" id="{51764A5A-C6A3-4190-A950-BB03ECA20DAE}"/>
                </a:ext>
              </a:extLst>
            </p:cNvPr>
            <p:cNvGrpSpPr>
              <a:grpSpLocks/>
            </p:cNvGrpSpPr>
            <p:nvPr/>
          </p:nvGrpSpPr>
          <p:grpSpPr bwMode="auto">
            <a:xfrm>
              <a:off x="2264226" y="1742094"/>
              <a:ext cx="9566065" cy="225737"/>
              <a:chOff x="2172" y="1718"/>
              <a:chExt cx="2160" cy="144"/>
            </a:xfrm>
          </p:grpSpPr>
          <p:sp>
            <p:nvSpPr>
              <p:cNvPr id="68" name="Rectangle 67">
                <a:extLst>
                  <a:ext uri="{FF2B5EF4-FFF2-40B4-BE49-F238E27FC236}">
                    <a16:creationId xmlns:a16="http://schemas.microsoft.com/office/drawing/2014/main" id="{6DFE9966-D64C-4475-A06B-B456256C833C}"/>
                  </a:ext>
                </a:extLst>
              </p:cNvPr>
              <p:cNvSpPr>
                <a:spLocks noChangeArrowheads="1"/>
              </p:cNvSpPr>
              <p:nvPr/>
            </p:nvSpPr>
            <p:spPr bwMode="auto">
              <a:xfrm>
                <a:off x="2172"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9" name="Rectangle 68">
                <a:extLst>
                  <a:ext uri="{FF2B5EF4-FFF2-40B4-BE49-F238E27FC236}">
                    <a16:creationId xmlns:a16="http://schemas.microsoft.com/office/drawing/2014/main" id="{86B74553-5F66-4F82-8035-D0000E3DDC87}"/>
                  </a:ext>
                </a:extLst>
              </p:cNvPr>
              <p:cNvSpPr>
                <a:spLocks noChangeArrowheads="1"/>
              </p:cNvSpPr>
              <p:nvPr/>
            </p:nvSpPr>
            <p:spPr bwMode="auto">
              <a:xfrm>
                <a:off x="2604"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0" name="Rectangle 69">
                <a:extLst>
                  <a:ext uri="{FF2B5EF4-FFF2-40B4-BE49-F238E27FC236}">
                    <a16:creationId xmlns:a16="http://schemas.microsoft.com/office/drawing/2014/main" id="{A3606A6B-58CC-45B0-94A8-A1C0B9B17A18}"/>
                  </a:ext>
                </a:extLst>
              </p:cNvPr>
              <p:cNvSpPr>
                <a:spLocks noChangeArrowheads="1"/>
              </p:cNvSpPr>
              <p:nvPr/>
            </p:nvSpPr>
            <p:spPr bwMode="auto">
              <a:xfrm>
                <a:off x="3036"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1" name="Rectangle 70">
                <a:extLst>
                  <a:ext uri="{FF2B5EF4-FFF2-40B4-BE49-F238E27FC236}">
                    <a16:creationId xmlns:a16="http://schemas.microsoft.com/office/drawing/2014/main" id="{D800A7E8-9D1B-45C1-967A-AD74F909A3A8}"/>
                  </a:ext>
                </a:extLst>
              </p:cNvPr>
              <p:cNvSpPr>
                <a:spLocks noChangeArrowheads="1"/>
              </p:cNvSpPr>
              <p:nvPr/>
            </p:nvSpPr>
            <p:spPr bwMode="auto">
              <a:xfrm>
                <a:off x="3468"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2" name="Rectangle 71">
                <a:extLst>
                  <a:ext uri="{FF2B5EF4-FFF2-40B4-BE49-F238E27FC236}">
                    <a16:creationId xmlns:a16="http://schemas.microsoft.com/office/drawing/2014/main" id="{17C5BE3F-CDC4-421D-8ECF-C612BCD36DF8}"/>
                  </a:ext>
                </a:extLst>
              </p:cNvPr>
              <p:cNvSpPr>
                <a:spLocks noChangeArrowheads="1"/>
              </p:cNvSpPr>
              <p:nvPr/>
            </p:nvSpPr>
            <p:spPr bwMode="auto">
              <a:xfrm>
                <a:off x="3900" y="171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20" name="Group 19">
              <a:extLst>
                <a:ext uri="{FF2B5EF4-FFF2-40B4-BE49-F238E27FC236}">
                  <a16:creationId xmlns:a16="http://schemas.microsoft.com/office/drawing/2014/main" id="{749DD831-E0D6-4934-B4E9-8A3C44CB29D1}"/>
                </a:ext>
              </a:extLst>
            </p:cNvPr>
            <p:cNvGrpSpPr>
              <a:grpSpLocks/>
            </p:cNvGrpSpPr>
            <p:nvPr/>
          </p:nvGrpSpPr>
          <p:grpSpPr bwMode="auto">
            <a:xfrm>
              <a:off x="2264226" y="2209692"/>
              <a:ext cx="9566065" cy="224125"/>
              <a:chOff x="2172" y="2016"/>
              <a:chExt cx="2160" cy="144"/>
            </a:xfrm>
          </p:grpSpPr>
          <p:sp>
            <p:nvSpPr>
              <p:cNvPr id="63" name="Rectangle 62">
                <a:extLst>
                  <a:ext uri="{FF2B5EF4-FFF2-40B4-BE49-F238E27FC236}">
                    <a16:creationId xmlns:a16="http://schemas.microsoft.com/office/drawing/2014/main" id="{A7E142EB-8967-4C37-9786-96913A0EEEAB}"/>
                  </a:ext>
                </a:extLst>
              </p:cNvPr>
              <p:cNvSpPr>
                <a:spLocks noChangeArrowheads="1"/>
              </p:cNvSpPr>
              <p:nvPr/>
            </p:nvSpPr>
            <p:spPr bwMode="auto">
              <a:xfrm>
                <a:off x="2172"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4" name="Rectangle 63">
                <a:extLst>
                  <a:ext uri="{FF2B5EF4-FFF2-40B4-BE49-F238E27FC236}">
                    <a16:creationId xmlns:a16="http://schemas.microsoft.com/office/drawing/2014/main" id="{B8453CD4-C5E9-46B6-8A21-8C59C9FF8359}"/>
                  </a:ext>
                </a:extLst>
              </p:cNvPr>
              <p:cNvSpPr>
                <a:spLocks noChangeArrowheads="1"/>
              </p:cNvSpPr>
              <p:nvPr/>
            </p:nvSpPr>
            <p:spPr bwMode="auto">
              <a:xfrm>
                <a:off x="2604"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5" name="Rectangle 64">
                <a:extLst>
                  <a:ext uri="{FF2B5EF4-FFF2-40B4-BE49-F238E27FC236}">
                    <a16:creationId xmlns:a16="http://schemas.microsoft.com/office/drawing/2014/main" id="{B03E1FB2-DF19-4AEA-88EE-7905632A9947}"/>
                  </a:ext>
                </a:extLst>
              </p:cNvPr>
              <p:cNvSpPr>
                <a:spLocks noChangeArrowheads="1"/>
              </p:cNvSpPr>
              <p:nvPr/>
            </p:nvSpPr>
            <p:spPr bwMode="auto">
              <a:xfrm>
                <a:off x="3036"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6" name="Rectangle 65">
                <a:extLst>
                  <a:ext uri="{FF2B5EF4-FFF2-40B4-BE49-F238E27FC236}">
                    <a16:creationId xmlns:a16="http://schemas.microsoft.com/office/drawing/2014/main" id="{51358556-2A3A-4BFD-8673-BAE9F059D2B3}"/>
                  </a:ext>
                </a:extLst>
              </p:cNvPr>
              <p:cNvSpPr>
                <a:spLocks noChangeArrowheads="1"/>
              </p:cNvSpPr>
              <p:nvPr/>
            </p:nvSpPr>
            <p:spPr bwMode="auto">
              <a:xfrm>
                <a:off x="3468"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7" name="Rectangle 66">
                <a:extLst>
                  <a:ext uri="{FF2B5EF4-FFF2-40B4-BE49-F238E27FC236}">
                    <a16:creationId xmlns:a16="http://schemas.microsoft.com/office/drawing/2014/main" id="{1DF869C1-6D5C-4650-9BC5-90F9CBC688C1}"/>
                  </a:ext>
                </a:extLst>
              </p:cNvPr>
              <p:cNvSpPr>
                <a:spLocks noChangeArrowheads="1"/>
              </p:cNvSpPr>
              <p:nvPr/>
            </p:nvSpPr>
            <p:spPr bwMode="auto">
              <a:xfrm>
                <a:off x="3900" y="2016"/>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21" name="Group 20">
              <a:extLst>
                <a:ext uri="{FF2B5EF4-FFF2-40B4-BE49-F238E27FC236}">
                  <a16:creationId xmlns:a16="http://schemas.microsoft.com/office/drawing/2014/main" id="{169ACBB1-15A9-4325-9FF8-9716193B367F}"/>
                </a:ext>
              </a:extLst>
            </p:cNvPr>
            <p:cNvGrpSpPr>
              <a:grpSpLocks/>
            </p:cNvGrpSpPr>
            <p:nvPr/>
          </p:nvGrpSpPr>
          <p:grpSpPr bwMode="auto">
            <a:xfrm>
              <a:off x="2264226" y="2672453"/>
              <a:ext cx="9566065" cy="225737"/>
              <a:chOff x="2172" y="2312"/>
              <a:chExt cx="2160" cy="144"/>
            </a:xfrm>
          </p:grpSpPr>
          <p:sp>
            <p:nvSpPr>
              <p:cNvPr id="58" name="Rectangle 57">
                <a:extLst>
                  <a:ext uri="{FF2B5EF4-FFF2-40B4-BE49-F238E27FC236}">
                    <a16:creationId xmlns:a16="http://schemas.microsoft.com/office/drawing/2014/main" id="{BB7852B4-BF17-44FB-822E-713052DD6950}"/>
                  </a:ext>
                </a:extLst>
              </p:cNvPr>
              <p:cNvSpPr>
                <a:spLocks noChangeArrowheads="1"/>
              </p:cNvSpPr>
              <p:nvPr/>
            </p:nvSpPr>
            <p:spPr bwMode="auto">
              <a:xfrm>
                <a:off x="2172"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59" name="Rectangle 58">
                <a:extLst>
                  <a:ext uri="{FF2B5EF4-FFF2-40B4-BE49-F238E27FC236}">
                    <a16:creationId xmlns:a16="http://schemas.microsoft.com/office/drawing/2014/main" id="{2DF9B852-679E-4BF1-A198-430F094AD2BE}"/>
                  </a:ext>
                </a:extLst>
              </p:cNvPr>
              <p:cNvSpPr>
                <a:spLocks noChangeArrowheads="1"/>
              </p:cNvSpPr>
              <p:nvPr/>
            </p:nvSpPr>
            <p:spPr bwMode="auto">
              <a:xfrm>
                <a:off x="2604"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0" name="Rectangle 59">
                <a:extLst>
                  <a:ext uri="{FF2B5EF4-FFF2-40B4-BE49-F238E27FC236}">
                    <a16:creationId xmlns:a16="http://schemas.microsoft.com/office/drawing/2014/main" id="{5A61CB82-6E3A-45AE-8236-574EE0DFB788}"/>
                  </a:ext>
                </a:extLst>
              </p:cNvPr>
              <p:cNvSpPr>
                <a:spLocks noChangeArrowheads="1"/>
              </p:cNvSpPr>
              <p:nvPr/>
            </p:nvSpPr>
            <p:spPr bwMode="auto">
              <a:xfrm>
                <a:off x="3036"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1" name="Rectangle 60">
                <a:extLst>
                  <a:ext uri="{FF2B5EF4-FFF2-40B4-BE49-F238E27FC236}">
                    <a16:creationId xmlns:a16="http://schemas.microsoft.com/office/drawing/2014/main" id="{A7BE71FD-7D87-4637-9C7A-42D217F78D89}"/>
                  </a:ext>
                </a:extLst>
              </p:cNvPr>
              <p:cNvSpPr>
                <a:spLocks noChangeArrowheads="1"/>
              </p:cNvSpPr>
              <p:nvPr/>
            </p:nvSpPr>
            <p:spPr bwMode="auto">
              <a:xfrm>
                <a:off x="3468"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2" name="Rectangle 61">
                <a:extLst>
                  <a:ext uri="{FF2B5EF4-FFF2-40B4-BE49-F238E27FC236}">
                    <a16:creationId xmlns:a16="http://schemas.microsoft.com/office/drawing/2014/main" id="{15C2ECC5-77DF-4A2E-AB05-2536F5BD688E}"/>
                  </a:ext>
                </a:extLst>
              </p:cNvPr>
              <p:cNvSpPr>
                <a:spLocks noChangeArrowheads="1"/>
              </p:cNvSpPr>
              <p:nvPr/>
            </p:nvSpPr>
            <p:spPr bwMode="auto">
              <a:xfrm>
                <a:off x="3900" y="2312"/>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22" name="Group 21">
              <a:extLst>
                <a:ext uri="{FF2B5EF4-FFF2-40B4-BE49-F238E27FC236}">
                  <a16:creationId xmlns:a16="http://schemas.microsoft.com/office/drawing/2014/main" id="{53B1059D-71A7-4ACB-BD70-C707682B34BD}"/>
                </a:ext>
              </a:extLst>
            </p:cNvPr>
            <p:cNvGrpSpPr>
              <a:grpSpLocks/>
            </p:cNvGrpSpPr>
            <p:nvPr/>
          </p:nvGrpSpPr>
          <p:grpSpPr bwMode="auto">
            <a:xfrm>
              <a:off x="2264226" y="3136826"/>
              <a:ext cx="9566065" cy="225737"/>
              <a:chOff x="2172" y="2608"/>
              <a:chExt cx="2160" cy="144"/>
            </a:xfrm>
          </p:grpSpPr>
          <p:sp>
            <p:nvSpPr>
              <p:cNvPr id="53" name="Rectangle 52">
                <a:extLst>
                  <a:ext uri="{FF2B5EF4-FFF2-40B4-BE49-F238E27FC236}">
                    <a16:creationId xmlns:a16="http://schemas.microsoft.com/office/drawing/2014/main" id="{811C4D29-0CA3-4185-84EC-0DA88BB85CAE}"/>
                  </a:ext>
                </a:extLst>
              </p:cNvPr>
              <p:cNvSpPr>
                <a:spLocks noChangeArrowheads="1"/>
              </p:cNvSpPr>
              <p:nvPr/>
            </p:nvSpPr>
            <p:spPr bwMode="auto">
              <a:xfrm>
                <a:off x="2172"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54" name="Rectangle 53">
                <a:extLst>
                  <a:ext uri="{FF2B5EF4-FFF2-40B4-BE49-F238E27FC236}">
                    <a16:creationId xmlns:a16="http://schemas.microsoft.com/office/drawing/2014/main" id="{B8A35581-CD86-4601-AE33-69F5AF0F5D7C}"/>
                  </a:ext>
                </a:extLst>
              </p:cNvPr>
              <p:cNvSpPr>
                <a:spLocks noChangeArrowheads="1"/>
              </p:cNvSpPr>
              <p:nvPr/>
            </p:nvSpPr>
            <p:spPr bwMode="auto">
              <a:xfrm>
                <a:off x="2604"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55" name="Rectangle 54">
                <a:extLst>
                  <a:ext uri="{FF2B5EF4-FFF2-40B4-BE49-F238E27FC236}">
                    <a16:creationId xmlns:a16="http://schemas.microsoft.com/office/drawing/2014/main" id="{1119D1E3-EF9D-47C6-B197-EBF3ED5C72D3}"/>
                  </a:ext>
                </a:extLst>
              </p:cNvPr>
              <p:cNvSpPr>
                <a:spLocks noChangeArrowheads="1"/>
              </p:cNvSpPr>
              <p:nvPr/>
            </p:nvSpPr>
            <p:spPr bwMode="auto">
              <a:xfrm>
                <a:off x="3036"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56" name="Rectangle 55">
                <a:extLst>
                  <a:ext uri="{FF2B5EF4-FFF2-40B4-BE49-F238E27FC236}">
                    <a16:creationId xmlns:a16="http://schemas.microsoft.com/office/drawing/2014/main" id="{98906006-8B75-4C5D-82F3-BBA6A342A693}"/>
                  </a:ext>
                </a:extLst>
              </p:cNvPr>
              <p:cNvSpPr>
                <a:spLocks noChangeArrowheads="1"/>
              </p:cNvSpPr>
              <p:nvPr/>
            </p:nvSpPr>
            <p:spPr bwMode="auto">
              <a:xfrm>
                <a:off x="3468"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57" name="Rectangle 56">
                <a:extLst>
                  <a:ext uri="{FF2B5EF4-FFF2-40B4-BE49-F238E27FC236}">
                    <a16:creationId xmlns:a16="http://schemas.microsoft.com/office/drawing/2014/main" id="{78DF04DD-AE24-412C-9FFC-CF159841562E}"/>
                  </a:ext>
                </a:extLst>
              </p:cNvPr>
              <p:cNvSpPr>
                <a:spLocks noChangeArrowheads="1"/>
              </p:cNvSpPr>
              <p:nvPr/>
            </p:nvSpPr>
            <p:spPr bwMode="auto">
              <a:xfrm>
                <a:off x="3900" y="2608"/>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23" name="Group 22">
              <a:extLst>
                <a:ext uri="{FF2B5EF4-FFF2-40B4-BE49-F238E27FC236}">
                  <a16:creationId xmlns:a16="http://schemas.microsoft.com/office/drawing/2014/main" id="{A99ED22B-D489-4C72-8DD8-5AA66EDEC05B}"/>
                </a:ext>
              </a:extLst>
            </p:cNvPr>
            <p:cNvGrpSpPr>
              <a:grpSpLocks/>
            </p:cNvGrpSpPr>
            <p:nvPr/>
          </p:nvGrpSpPr>
          <p:grpSpPr bwMode="auto">
            <a:xfrm>
              <a:off x="2264226" y="3601200"/>
              <a:ext cx="9566065" cy="225737"/>
              <a:chOff x="2172" y="2904"/>
              <a:chExt cx="2160" cy="144"/>
            </a:xfrm>
          </p:grpSpPr>
          <p:sp>
            <p:nvSpPr>
              <p:cNvPr id="48" name="Rectangle 47">
                <a:extLst>
                  <a:ext uri="{FF2B5EF4-FFF2-40B4-BE49-F238E27FC236}">
                    <a16:creationId xmlns:a16="http://schemas.microsoft.com/office/drawing/2014/main" id="{7BCA7FEE-7748-4782-925F-F8755745F673}"/>
                  </a:ext>
                </a:extLst>
              </p:cNvPr>
              <p:cNvSpPr>
                <a:spLocks noChangeArrowheads="1"/>
              </p:cNvSpPr>
              <p:nvPr/>
            </p:nvSpPr>
            <p:spPr bwMode="auto">
              <a:xfrm>
                <a:off x="2172"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49" name="Rectangle 48">
                <a:extLst>
                  <a:ext uri="{FF2B5EF4-FFF2-40B4-BE49-F238E27FC236}">
                    <a16:creationId xmlns:a16="http://schemas.microsoft.com/office/drawing/2014/main" id="{0141375A-1F3D-42FA-9779-620E4F3E794F}"/>
                  </a:ext>
                </a:extLst>
              </p:cNvPr>
              <p:cNvSpPr>
                <a:spLocks noChangeArrowheads="1"/>
              </p:cNvSpPr>
              <p:nvPr/>
            </p:nvSpPr>
            <p:spPr bwMode="auto">
              <a:xfrm>
                <a:off x="2604"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50" name="Rectangle 49">
                <a:extLst>
                  <a:ext uri="{FF2B5EF4-FFF2-40B4-BE49-F238E27FC236}">
                    <a16:creationId xmlns:a16="http://schemas.microsoft.com/office/drawing/2014/main" id="{700E8D22-405A-4FE2-89D4-05023A77F39D}"/>
                  </a:ext>
                </a:extLst>
              </p:cNvPr>
              <p:cNvSpPr>
                <a:spLocks noChangeArrowheads="1"/>
              </p:cNvSpPr>
              <p:nvPr/>
            </p:nvSpPr>
            <p:spPr bwMode="auto">
              <a:xfrm>
                <a:off x="3036"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51" name="Rectangle 50">
                <a:extLst>
                  <a:ext uri="{FF2B5EF4-FFF2-40B4-BE49-F238E27FC236}">
                    <a16:creationId xmlns:a16="http://schemas.microsoft.com/office/drawing/2014/main" id="{10BDDFCD-E796-4500-AC39-E2BBF194B86A}"/>
                  </a:ext>
                </a:extLst>
              </p:cNvPr>
              <p:cNvSpPr>
                <a:spLocks noChangeArrowheads="1"/>
              </p:cNvSpPr>
              <p:nvPr/>
            </p:nvSpPr>
            <p:spPr bwMode="auto">
              <a:xfrm>
                <a:off x="3468"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52" name="Rectangle 51">
                <a:extLst>
                  <a:ext uri="{FF2B5EF4-FFF2-40B4-BE49-F238E27FC236}">
                    <a16:creationId xmlns:a16="http://schemas.microsoft.com/office/drawing/2014/main" id="{203002FE-78A6-426D-905D-23712D212256}"/>
                  </a:ext>
                </a:extLst>
              </p:cNvPr>
              <p:cNvSpPr>
                <a:spLocks noChangeArrowheads="1"/>
              </p:cNvSpPr>
              <p:nvPr/>
            </p:nvSpPr>
            <p:spPr bwMode="auto">
              <a:xfrm>
                <a:off x="3900" y="290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sp>
          <p:nvSpPr>
            <p:cNvPr id="24" name="Text Box 43">
              <a:extLst>
                <a:ext uri="{FF2B5EF4-FFF2-40B4-BE49-F238E27FC236}">
                  <a16:creationId xmlns:a16="http://schemas.microsoft.com/office/drawing/2014/main" id="{A754F9FB-DFA4-40CE-BB0D-B332F7825FA1}"/>
                </a:ext>
              </a:extLst>
            </p:cNvPr>
            <p:cNvSpPr txBox="1">
              <a:spLocks noChangeArrowheads="1"/>
            </p:cNvSpPr>
            <p:nvPr/>
          </p:nvSpPr>
          <p:spPr bwMode="auto">
            <a:xfrm>
              <a:off x="334963" y="4225201"/>
              <a:ext cx="1879108" cy="228962"/>
            </a:xfrm>
            <a:prstGeom prst="rect">
              <a:avLst/>
            </a:prstGeom>
            <a:noFill/>
            <a:ln w="3175">
              <a:noFill/>
              <a:miter lim="800000"/>
              <a:headEnd/>
              <a:tailEnd/>
            </a:ln>
            <a:effectLst/>
          </p:spPr>
          <p:txBody>
            <a:bodyPr wrap="none" lIns="0" tIns="0" rIns="0" bIns="0" anchor="ct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Graphik"/>
                  <a:ea typeface="+mn-ea"/>
                  <a:cs typeface="+mn-cs"/>
                </a:rPr>
                <a:t>Average</a:t>
              </a:r>
            </a:p>
          </p:txBody>
        </p:sp>
        <p:sp>
          <p:nvSpPr>
            <p:cNvPr id="25" name="Text Box 44">
              <a:extLst>
                <a:ext uri="{FF2B5EF4-FFF2-40B4-BE49-F238E27FC236}">
                  <a16:creationId xmlns:a16="http://schemas.microsoft.com/office/drawing/2014/main" id="{5EC06773-867B-4D9D-89D8-7C8F848228F0}"/>
                </a:ext>
              </a:extLst>
            </p:cNvPr>
            <p:cNvSpPr txBox="1">
              <a:spLocks noChangeArrowheads="1"/>
            </p:cNvSpPr>
            <p:nvPr/>
          </p:nvSpPr>
          <p:spPr bwMode="auto">
            <a:xfrm>
              <a:off x="334963" y="1740482"/>
              <a:ext cx="1879108" cy="227350"/>
            </a:xfrm>
            <a:prstGeom prst="rect">
              <a:avLst/>
            </a:prstGeom>
            <a:noFill/>
            <a:ln w="3175">
              <a:noFill/>
              <a:miter lim="800000"/>
              <a:headEnd/>
              <a:tailEnd/>
            </a:ln>
            <a:effectLst/>
          </p:spPr>
          <p:txBody>
            <a:bodyPr wrap="none" lIns="0" tIns="0" rIns="0" bIns="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Attribute 1</a:t>
              </a:r>
            </a:p>
          </p:txBody>
        </p:sp>
        <p:sp>
          <p:nvSpPr>
            <p:cNvPr id="26" name="Text Box 45">
              <a:extLst>
                <a:ext uri="{FF2B5EF4-FFF2-40B4-BE49-F238E27FC236}">
                  <a16:creationId xmlns:a16="http://schemas.microsoft.com/office/drawing/2014/main" id="{26D0D59E-5949-4EE2-9D09-3424D3906329}"/>
                </a:ext>
              </a:extLst>
            </p:cNvPr>
            <p:cNvSpPr txBox="1">
              <a:spLocks noChangeArrowheads="1"/>
            </p:cNvSpPr>
            <p:nvPr/>
          </p:nvSpPr>
          <p:spPr bwMode="auto">
            <a:xfrm>
              <a:off x="334963" y="2208080"/>
              <a:ext cx="1879108" cy="225737"/>
            </a:xfrm>
            <a:prstGeom prst="rect">
              <a:avLst/>
            </a:prstGeom>
            <a:noFill/>
            <a:ln w="3175">
              <a:noFill/>
              <a:miter lim="800000"/>
              <a:headEnd/>
              <a:tailEnd/>
            </a:ln>
            <a:effectLst/>
          </p:spPr>
          <p:txBody>
            <a:bodyPr wrap="none" lIns="0" tIns="0" rIns="0" bIns="0" anchor="ct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Attribute 2</a:t>
              </a:r>
            </a:p>
          </p:txBody>
        </p:sp>
        <p:sp>
          <p:nvSpPr>
            <p:cNvPr id="27" name="Text Box 46">
              <a:extLst>
                <a:ext uri="{FF2B5EF4-FFF2-40B4-BE49-F238E27FC236}">
                  <a16:creationId xmlns:a16="http://schemas.microsoft.com/office/drawing/2014/main" id="{DD2D2014-B6A6-466D-8835-49385998C052}"/>
                </a:ext>
              </a:extLst>
            </p:cNvPr>
            <p:cNvSpPr txBox="1">
              <a:spLocks noChangeArrowheads="1"/>
            </p:cNvSpPr>
            <p:nvPr/>
          </p:nvSpPr>
          <p:spPr bwMode="auto">
            <a:xfrm>
              <a:off x="334963" y="2667615"/>
              <a:ext cx="1879108" cy="230575"/>
            </a:xfrm>
            <a:prstGeom prst="rect">
              <a:avLst/>
            </a:prstGeom>
            <a:noFill/>
            <a:ln w="3175">
              <a:noFill/>
              <a:miter lim="800000"/>
              <a:headEnd/>
              <a:tailEnd/>
            </a:ln>
            <a:effectLst/>
          </p:spPr>
          <p:txBody>
            <a:bodyPr wrap="none" lIns="0" tIns="0" rIns="0" bIns="0" anchor="ct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Attribute 3</a:t>
              </a:r>
            </a:p>
          </p:txBody>
        </p:sp>
        <p:sp>
          <p:nvSpPr>
            <p:cNvPr id="28" name="Text Box 47">
              <a:extLst>
                <a:ext uri="{FF2B5EF4-FFF2-40B4-BE49-F238E27FC236}">
                  <a16:creationId xmlns:a16="http://schemas.microsoft.com/office/drawing/2014/main" id="{03A7F41E-0E13-4FE4-91C7-495A6749A7E9}"/>
                </a:ext>
              </a:extLst>
            </p:cNvPr>
            <p:cNvSpPr txBox="1">
              <a:spLocks noChangeArrowheads="1"/>
            </p:cNvSpPr>
            <p:nvPr/>
          </p:nvSpPr>
          <p:spPr bwMode="auto">
            <a:xfrm>
              <a:off x="334963" y="3136826"/>
              <a:ext cx="1879108" cy="225737"/>
            </a:xfrm>
            <a:prstGeom prst="rect">
              <a:avLst/>
            </a:prstGeom>
            <a:noFill/>
            <a:ln w="3175">
              <a:noFill/>
              <a:miter lim="800000"/>
              <a:headEnd/>
              <a:tailEnd/>
            </a:ln>
            <a:effectLst/>
          </p:spPr>
          <p:txBody>
            <a:bodyPr wrap="none" lIns="0" tIns="0" rIns="0" bIns="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Attribute 4</a:t>
              </a:r>
            </a:p>
          </p:txBody>
        </p:sp>
        <p:sp>
          <p:nvSpPr>
            <p:cNvPr id="29" name="Text Box 48">
              <a:extLst>
                <a:ext uri="{FF2B5EF4-FFF2-40B4-BE49-F238E27FC236}">
                  <a16:creationId xmlns:a16="http://schemas.microsoft.com/office/drawing/2014/main" id="{E9455139-32ED-4AB1-88FC-53857642B079}"/>
                </a:ext>
              </a:extLst>
            </p:cNvPr>
            <p:cNvSpPr txBox="1">
              <a:spLocks noChangeArrowheads="1"/>
            </p:cNvSpPr>
            <p:nvPr/>
          </p:nvSpPr>
          <p:spPr bwMode="auto">
            <a:xfrm>
              <a:off x="334963" y="3601200"/>
              <a:ext cx="1879108" cy="225737"/>
            </a:xfrm>
            <a:prstGeom prst="rect">
              <a:avLst/>
            </a:prstGeom>
            <a:noFill/>
            <a:ln w="3175">
              <a:noFill/>
              <a:miter lim="800000"/>
              <a:headEnd/>
              <a:tailEnd/>
            </a:ln>
            <a:effectLst/>
          </p:spPr>
          <p:txBody>
            <a:bodyPr wrap="none" lIns="0" tIns="0" rIns="0" bIns="0" anchor="ct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Attribute 5</a:t>
              </a:r>
            </a:p>
          </p:txBody>
        </p:sp>
        <p:grpSp>
          <p:nvGrpSpPr>
            <p:cNvPr id="30" name="Group 29">
              <a:extLst>
                <a:ext uri="{FF2B5EF4-FFF2-40B4-BE49-F238E27FC236}">
                  <a16:creationId xmlns:a16="http://schemas.microsoft.com/office/drawing/2014/main" id="{6AFAF35D-9C9A-4E76-8B6A-461EB058DDBE}"/>
                </a:ext>
              </a:extLst>
            </p:cNvPr>
            <p:cNvGrpSpPr>
              <a:grpSpLocks/>
            </p:cNvGrpSpPr>
            <p:nvPr/>
          </p:nvGrpSpPr>
          <p:grpSpPr bwMode="auto">
            <a:xfrm>
              <a:off x="2264226" y="4228426"/>
              <a:ext cx="9566065" cy="225737"/>
              <a:chOff x="362" y="3424"/>
              <a:chExt cx="2160" cy="144"/>
            </a:xfrm>
          </p:grpSpPr>
          <p:sp>
            <p:nvSpPr>
              <p:cNvPr id="43" name="Rectangle 42">
                <a:extLst>
                  <a:ext uri="{FF2B5EF4-FFF2-40B4-BE49-F238E27FC236}">
                    <a16:creationId xmlns:a16="http://schemas.microsoft.com/office/drawing/2014/main" id="{7EB1E35B-44AC-46D5-8975-278A96E54F92}"/>
                  </a:ext>
                </a:extLst>
              </p:cNvPr>
              <p:cNvSpPr>
                <a:spLocks noChangeArrowheads="1"/>
              </p:cNvSpPr>
              <p:nvPr/>
            </p:nvSpPr>
            <p:spPr bwMode="auto">
              <a:xfrm>
                <a:off x="362"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44" name="Rectangle 43">
                <a:extLst>
                  <a:ext uri="{FF2B5EF4-FFF2-40B4-BE49-F238E27FC236}">
                    <a16:creationId xmlns:a16="http://schemas.microsoft.com/office/drawing/2014/main" id="{3C8E6C07-C780-4998-8DAD-C20EC7919E92}"/>
                  </a:ext>
                </a:extLst>
              </p:cNvPr>
              <p:cNvSpPr>
                <a:spLocks noChangeArrowheads="1"/>
              </p:cNvSpPr>
              <p:nvPr/>
            </p:nvSpPr>
            <p:spPr bwMode="auto">
              <a:xfrm>
                <a:off x="794"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45" name="Rectangle 44">
                <a:extLst>
                  <a:ext uri="{FF2B5EF4-FFF2-40B4-BE49-F238E27FC236}">
                    <a16:creationId xmlns:a16="http://schemas.microsoft.com/office/drawing/2014/main" id="{C672CA0C-6FA5-4995-A989-3DB17481AE73}"/>
                  </a:ext>
                </a:extLst>
              </p:cNvPr>
              <p:cNvSpPr>
                <a:spLocks noChangeArrowheads="1"/>
              </p:cNvSpPr>
              <p:nvPr/>
            </p:nvSpPr>
            <p:spPr bwMode="auto">
              <a:xfrm>
                <a:off x="1226"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46" name="Rectangle 45">
                <a:extLst>
                  <a:ext uri="{FF2B5EF4-FFF2-40B4-BE49-F238E27FC236}">
                    <a16:creationId xmlns:a16="http://schemas.microsoft.com/office/drawing/2014/main" id="{6D017037-EB0E-4280-9AF7-28D760EA1D02}"/>
                  </a:ext>
                </a:extLst>
              </p:cNvPr>
              <p:cNvSpPr>
                <a:spLocks noChangeArrowheads="1"/>
              </p:cNvSpPr>
              <p:nvPr/>
            </p:nvSpPr>
            <p:spPr bwMode="auto">
              <a:xfrm>
                <a:off x="1658"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47" name="Rectangle 46">
                <a:extLst>
                  <a:ext uri="{FF2B5EF4-FFF2-40B4-BE49-F238E27FC236}">
                    <a16:creationId xmlns:a16="http://schemas.microsoft.com/office/drawing/2014/main" id="{105EF0F3-B80E-4F4B-A095-910EA21CA02D}"/>
                  </a:ext>
                </a:extLst>
              </p:cNvPr>
              <p:cNvSpPr>
                <a:spLocks noChangeArrowheads="1"/>
              </p:cNvSpPr>
              <p:nvPr/>
            </p:nvSpPr>
            <p:spPr bwMode="auto">
              <a:xfrm>
                <a:off x="2090" y="3424"/>
                <a:ext cx="432" cy="144"/>
              </a:xfrm>
              <a:prstGeom prst="rect">
                <a:avLst/>
              </a:prstGeom>
              <a:solidFill>
                <a:srgbClr val="E4E7E7"/>
              </a:solidFill>
              <a:ln w="3175">
                <a:solidFill>
                  <a:srgbClr val="FFFFFF"/>
                </a:solidFill>
                <a:miter lim="800000"/>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sp>
          <p:nvSpPr>
            <p:cNvPr id="31" name="Freeform 55">
              <a:extLst>
                <a:ext uri="{FF2B5EF4-FFF2-40B4-BE49-F238E27FC236}">
                  <a16:creationId xmlns:a16="http://schemas.microsoft.com/office/drawing/2014/main" id="{24B78B47-8A67-469B-A8C3-20C35BC0AE1B}"/>
                </a:ext>
              </a:extLst>
            </p:cNvPr>
            <p:cNvSpPr>
              <a:spLocks/>
            </p:cNvSpPr>
            <p:nvPr/>
          </p:nvSpPr>
          <p:spPr bwMode="auto">
            <a:xfrm>
              <a:off x="7216108" y="1835613"/>
              <a:ext cx="4430281" cy="2528255"/>
            </a:xfrm>
            <a:custGeom>
              <a:avLst/>
              <a:gdLst/>
              <a:ahLst/>
              <a:cxnLst>
                <a:cxn ang="0">
                  <a:pos x="510" y="1568"/>
                </a:cxn>
                <a:cxn ang="0">
                  <a:pos x="15" y="1171"/>
                </a:cxn>
                <a:cxn ang="0">
                  <a:pos x="15" y="883"/>
                </a:cxn>
                <a:cxn ang="0">
                  <a:pos x="0" y="576"/>
                </a:cxn>
                <a:cxn ang="0">
                  <a:pos x="199" y="308"/>
                </a:cxn>
                <a:cxn ang="0">
                  <a:pos x="1325" y="0"/>
                </a:cxn>
              </a:cxnLst>
              <a:rect l="0" t="0" r="r" b="b"/>
              <a:pathLst>
                <a:path w="1325" h="1568">
                  <a:moveTo>
                    <a:pt x="510" y="1568"/>
                  </a:moveTo>
                  <a:lnTo>
                    <a:pt x="15" y="1171"/>
                  </a:lnTo>
                  <a:lnTo>
                    <a:pt x="15" y="883"/>
                  </a:lnTo>
                  <a:lnTo>
                    <a:pt x="0" y="576"/>
                  </a:lnTo>
                  <a:lnTo>
                    <a:pt x="199" y="308"/>
                  </a:lnTo>
                  <a:lnTo>
                    <a:pt x="1325" y="0"/>
                  </a:lnTo>
                </a:path>
              </a:pathLst>
            </a:custGeom>
            <a:noFill/>
            <a:ln w="38100" cap="flat" cmpd="sng">
              <a:solidFill>
                <a:schemeClr val="accent3"/>
              </a:solidFill>
              <a:prstDash val="dash"/>
              <a:round/>
              <a:headEnd/>
              <a:tailEnd/>
            </a:ln>
            <a:effectLst/>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32" name="Freeform 56">
              <a:extLst>
                <a:ext uri="{FF2B5EF4-FFF2-40B4-BE49-F238E27FC236}">
                  <a16:creationId xmlns:a16="http://schemas.microsoft.com/office/drawing/2014/main" id="{8865C0AA-A4D3-4139-BDCA-BC81E44EDFA0}"/>
                </a:ext>
              </a:extLst>
            </p:cNvPr>
            <p:cNvSpPr>
              <a:spLocks/>
            </p:cNvSpPr>
            <p:nvPr/>
          </p:nvSpPr>
          <p:spPr bwMode="auto">
            <a:xfrm>
              <a:off x="6731285" y="1825939"/>
              <a:ext cx="3032653" cy="2550828"/>
            </a:xfrm>
            <a:custGeom>
              <a:avLst/>
              <a:gdLst/>
              <a:ahLst/>
              <a:cxnLst>
                <a:cxn ang="0">
                  <a:pos x="383" y="1582"/>
                </a:cxn>
                <a:cxn ang="0">
                  <a:pos x="64" y="1155"/>
                </a:cxn>
                <a:cxn ang="0">
                  <a:pos x="0" y="844"/>
                </a:cxn>
                <a:cxn ang="0">
                  <a:pos x="132" y="569"/>
                </a:cxn>
                <a:cxn ang="0">
                  <a:pos x="542" y="276"/>
                </a:cxn>
                <a:cxn ang="0">
                  <a:pos x="907" y="0"/>
                </a:cxn>
              </a:cxnLst>
              <a:rect l="0" t="0" r="r" b="b"/>
              <a:pathLst>
                <a:path w="907" h="1582">
                  <a:moveTo>
                    <a:pt x="383" y="1582"/>
                  </a:moveTo>
                  <a:lnTo>
                    <a:pt x="64" y="1155"/>
                  </a:lnTo>
                  <a:lnTo>
                    <a:pt x="0" y="844"/>
                  </a:lnTo>
                  <a:lnTo>
                    <a:pt x="132" y="569"/>
                  </a:lnTo>
                  <a:lnTo>
                    <a:pt x="542" y="276"/>
                  </a:lnTo>
                  <a:lnTo>
                    <a:pt x="907" y="0"/>
                  </a:lnTo>
                </a:path>
              </a:pathLst>
            </a:custGeom>
            <a:noFill/>
            <a:ln w="38100" cap="flat" cmpd="sng">
              <a:solidFill>
                <a:srgbClr val="B455AA"/>
              </a:solidFill>
              <a:prstDash val="solid"/>
              <a:round/>
              <a:headEnd/>
              <a:tailEnd/>
            </a:ln>
            <a:effectLst/>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33" name="Freeform 57">
              <a:extLst>
                <a:ext uri="{FF2B5EF4-FFF2-40B4-BE49-F238E27FC236}">
                  <a16:creationId xmlns:a16="http://schemas.microsoft.com/office/drawing/2014/main" id="{70863AF5-2036-42E1-81BD-6AD2F3F1138C}"/>
                </a:ext>
              </a:extLst>
            </p:cNvPr>
            <p:cNvSpPr>
              <a:spLocks/>
            </p:cNvSpPr>
            <p:nvPr/>
          </p:nvSpPr>
          <p:spPr bwMode="auto">
            <a:xfrm>
              <a:off x="8841104" y="1809815"/>
              <a:ext cx="2882191" cy="2554053"/>
            </a:xfrm>
            <a:custGeom>
              <a:avLst/>
              <a:gdLst/>
              <a:ahLst/>
              <a:cxnLst>
                <a:cxn ang="0">
                  <a:pos x="584" y="1584"/>
                </a:cxn>
                <a:cxn ang="0">
                  <a:pos x="291" y="1155"/>
                </a:cxn>
                <a:cxn ang="0">
                  <a:pos x="0" y="868"/>
                </a:cxn>
                <a:cxn ang="0">
                  <a:pos x="287" y="584"/>
                </a:cxn>
                <a:cxn ang="0">
                  <a:pos x="575" y="300"/>
                </a:cxn>
                <a:cxn ang="0">
                  <a:pos x="862" y="0"/>
                </a:cxn>
              </a:cxnLst>
              <a:rect l="0" t="0" r="r" b="b"/>
              <a:pathLst>
                <a:path w="862" h="1584">
                  <a:moveTo>
                    <a:pt x="584" y="1584"/>
                  </a:moveTo>
                  <a:lnTo>
                    <a:pt x="291" y="1155"/>
                  </a:lnTo>
                  <a:lnTo>
                    <a:pt x="0" y="868"/>
                  </a:lnTo>
                  <a:lnTo>
                    <a:pt x="287" y="584"/>
                  </a:lnTo>
                  <a:lnTo>
                    <a:pt x="575" y="300"/>
                  </a:lnTo>
                  <a:lnTo>
                    <a:pt x="862" y="0"/>
                  </a:lnTo>
                </a:path>
              </a:pathLst>
            </a:custGeom>
            <a:noFill/>
            <a:ln w="38100" cap="flat" cmpd="sng">
              <a:solidFill>
                <a:srgbClr val="A055F5"/>
              </a:solidFill>
              <a:prstDash val="lgDashDot"/>
              <a:round/>
              <a:headEnd/>
              <a:tailEnd/>
            </a:ln>
            <a:effectLst/>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34" name="Freeform 58">
              <a:extLst>
                <a:ext uri="{FF2B5EF4-FFF2-40B4-BE49-F238E27FC236}">
                  <a16:creationId xmlns:a16="http://schemas.microsoft.com/office/drawing/2014/main" id="{7C9B9452-BE8A-4CD5-A56C-8A48D3502089}"/>
                </a:ext>
              </a:extLst>
            </p:cNvPr>
            <p:cNvSpPr>
              <a:spLocks/>
            </p:cNvSpPr>
            <p:nvPr/>
          </p:nvSpPr>
          <p:spPr bwMode="auto">
            <a:xfrm>
              <a:off x="2260882" y="1835613"/>
              <a:ext cx="6282641" cy="2541154"/>
            </a:xfrm>
            <a:custGeom>
              <a:avLst/>
              <a:gdLst/>
              <a:ahLst/>
              <a:cxnLst>
                <a:cxn ang="0">
                  <a:pos x="872" y="1576"/>
                </a:cxn>
                <a:cxn ang="0">
                  <a:pos x="215" y="1163"/>
                </a:cxn>
                <a:cxn ang="0">
                  <a:pos x="674" y="869"/>
                </a:cxn>
                <a:cxn ang="0">
                  <a:pos x="851" y="577"/>
                </a:cxn>
                <a:cxn ang="0">
                  <a:pos x="1879" y="284"/>
                </a:cxn>
                <a:cxn ang="0">
                  <a:pos x="0" y="0"/>
                </a:cxn>
              </a:cxnLst>
              <a:rect l="0" t="0" r="r" b="b"/>
              <a:pathLst>
                <a:path w="1879" h="1576">
                  <a:moveTo>
                    <a:pt x="872" y="1576"/>
                  </a:moveTo>
                  <a:lnTo>
                    <a:pt x="215" y="1163"/>
                  </a:lnTo>
                  <a:lnTo>
                    <a:pt x="674" y="869"/>
                  </a:lnTo>
                  <a:lnTo>
                    <a:pt x="851" y="577"/>
                  </a:lnTo>
                  <a:lnTo>
                    <a:pt x="1879" y="284"/>
                  </a:lnTo>
                  <a:lnTo>
                    <a:pt x="0" y="0"/>
                  </a:lnTo>
                </a:path>
              </a:pathLst>
            </a:custGeom>
            <a:noFill/>
            <a:ln w="38100" cap="flat" cmpd="sng">
              <a:solidFill>
                <a:srgbClr val="A100FF"/>
              </a:solidFill>
              <a:prstDash val="sysDot"/>
              <a:round/>
              <a:headEnd/>
              <a:tailEnd/>
            </a:ln>
            <a:effectLst/>
          </p:spPr>
          <p:txBody>
            <a:bodyPr lIns="36000" tIns="36000" rIns="36000" bIns="36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35" name="Text Box 59">
              <a:extLst>
                <a:ext uri="{FF2B5EF4-FFF2-40B4-BE49-F238E27FC236}">
                  <a16:creationId xmlns:a16="http://schemas.microsoft.com/office/drawing/2014/main" id="{1934D0BB-5170-4045-80CE-7E75BEF69D5A}"/>
                </a:ext>
              </a:extLst>
            </p:cNvPr>
            <p:cNvSpPr txBox="1">
              <a:spLocks noChangeArrowheads="1"/>
            </p:cNvSpPr>
            <p:nvPr/>
          </p:nvSpPr>
          <p:spPr bwMode="auto">
            <a:xfrm>
              <a:off x="341856" y="1287541"/>
              <a:ext cx="3065333" cy="188223"/>
            </a:xfrm>
            <a:prstGeom prst="rect">
              <a:avLst/>
            </a:prstGeom>
            <a:solidFill>
              <a:srgbClr val="FFFFFF"/>
            </a:solidFill>
            <a:ln w="3175">
              <a:noFill/>
              <a:miter lim="800000"/>
              <a:headEnd/>
              <a:tailEnd/>
            </a:ln>
            <a:effectLst/>
          </p:spPr>
          <p:txBody>
            <a:bodyPr wrap="square" lIns="0" tIns="0" rIns="0" bIns="0" anchor="ct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all" spc="0" normalizeH="0" baseline="0" noProof="0" dirty="0">
                  <a:ln>
                    <a:noFill/>
                  </a:ln>
                  <a:solidFill>
                    <a:srgbClr val="000000"/>
                  </a:solidFill>
                  <a:effectLst/>
                  <a:uLnTx/>
                  <a:uFillTx/>
                  <a:latin typeface="Graphik Black"/>
                  <a:ea typeface="+mn-ea"/>
                  <a:cs typeface="+mn-cs"/>
                </a:rPr>
                <a:t>Grade</a:t>
              </a:r>
            </a:p>
          </p:txBody>
        </p:sp>
        <p:grpSp>
          <p:nvGrpSpPr>
            <p:cNvPr id="36" name="Group 35">
              <a:extLst>
                <a:ext uri="{FF2B5EF4-FFF2-40B4-BE49-F238E27FC236}">
                  <a16:creationId xmlns:a16="http://schemas.microsoft.com/office/drawing/2014/main" id="{E88A216D-95DF-48FF-A5A8-666E936C1F63}"/>
                </a:ext>
              </a:extLst>
            </p:cNvPr>
            <p:cNvGrpSpPr>
              <a:grpSpLocks/>
            </p:cNvGrpSpPr>
            <p:nvPr/>
          </p:nvGrpSpPr>
          <p:grpSpPr bwMode="auto">
            <a:xfrm>
              <a:off x="2254195" y="1455420"/>
              <a:ext cx="9602843" cy="222512"/>
              <a:chOff x="351" y="1142"/>
              <a:chExt cx="2171" cy="184"/>
            </a:xfrm>
          </p:grpSpPr>
          <p:sp>
            <p:nvSpPr>
              <p:cNvPr id="37" name="Text Box 61">
                <a:extLst>
                  <a:ext uri="{FF2B5EF4-FFF2-40B4-BE49-F238E27FC236}">
                    <a16:creationId xmlns:a16="http://schemas.microsoft.com/office/drawing/2014/main" id="{5D513C43-AC8C-423A-83CC-14DAB6378663}"/>
                  </a:ext>
                </a:extLst>
              </p:cNvPr>
              <p:cNvSpPr txBox="1">
                <a:spLocks noChangeArrowheads="1"/>
              </p:cNvSpPr>
              <p:nvPr/>
            </p:nvSpPr>
            <p:spPr bwMode="auto">
              <a:xfrm>
                <a:off x="351" y="1145"/>
                <a:ext cx="51" cy="181"/>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6</a:t>
                </a:r>
              </a:p>
            </p:txBody>
          </p:sp>
          <p:sp>
            <p:nvSpPr>
              <p:cNvPr id="38" name="Text Box 62">
                <a:extLst>
                  <a:ext uri="{FF2B5EF4-FFF2-40B4-BE49-F238E27FC236}">
                    <a16:creationId xmlns:a16="http://schemas.microsoft.com/office/drawing/2014/main" id="{E4FCBA53-5373-446F-83A4-4D096B411285}"/>
                  </a:ext>
                </a:extLst>
              </p:cNvPr>
              <p:cNvSpPr txBox="1">
                <a:spLocks noChangeArrowheads="1"/>
              </p:cNvSpPr>
              <p:nvPr/>
            </p:nvSpPr>
            <p:spPr bwMode="auto">
              <a:xfrm>
                <a:off x="2471" y="1145"/>
                <a:ext cx="51" cy="181"/>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1</a:t>
                </a:r>
              </a:p>
            </p:txBody>
          </p:sp>
          <p:sp>
            <p:nvSpPr>
              <p:cNvPr id="39" name="Text Box 63">
                <a:extLst>
                  <a:ext uri="{FF2B5EF4-FFF2-40B4-BE49-F238E27FC236}">
                    <a16:creationId xmlns:a16="http://schemas.microsoft.com/office/drawing/2014/main" id="{B41E395A-67EA-4764-8E99-186182FC9CF3}"/>
                  </a:ext>
                </a:extLst>
              </p:cNvPr>
              <p:cNvSpPr txBox="1">
                <a:spLocks noChangeArrowheads="1"/>
              </p:cNvSpPr>
              <p:nvPr/>
            </p:nvSpPr>
            <p:spPr bwMode="auto">
              <a:xfrm>
                <a:off x="769" y="1145"/>
                <a:ext cx="51" cy="181"/>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5</a:t>
                </a:r>
              </a:p>
            </p:txBody>
          </p:sp>
          <p:sp>
            <p:nvSpPr>
              <p:cNvPr id="40" name="Text Box 64">
                <a:extLst>
                  <a:ext uri="{FF2B5EF4-FFF2-40B4-BE49-F238E27FC236}">
                    <a16:creationId xmlns:a16="http://schemas.microsoft.com/office/drawing/2014/main" id="{11FB0182-D22D-4FFC-ADE0-5ED6346B905C}"/>
                  </a:ext>
                </a:extLst>
              </p:cNvPr>
              <p:cNvSpPr txBox="1">
                <a:spLocks noChangeArrowheads="1"/>
              </p:cNvSpPr>
              <p:nvPr/>
            </p:nvSpPr>
            <p:spPr bwMode="auto">
              <a:xfrm>
                <a:off x="1201" y="1145"/>
                <a:ext cx="51" cy="181"/>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4</a:t>
                </a:r>
              </a:p>
            </p:txBody>
          </p:sp>
          <p:sp>
            <p:nvSpPr>
              <p:cNvPr id="41" name="Text Box 65">
                <a:extLst>
                  <a:ext uri="{FF2B5EF4-FFF2-40B4-BE49-F238E27FC236}">
                    <a16:creationId xmlns:a16="http://schemas.microsoft.com/office/drawing/2014/main" id="{FF4A73AC-E03D-4618-8F6F-D828BAD57F95}"/>
                  </a:ext>
                </a:extLst>
              </p:cNvPr>
              <p:cNvSpPr txBox="1">
                <a:spLocks noChangeArrowheads="1"/>
              </p:cNvSpPr>
              <p:nvPr/>
            </p:nvSpPr>
            <p:spPr bwMode="auto">
              <a:xfrm>
                <a:off x="1634" y="1142"/>
                <a:ext cx="51" cy="181"/>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3</a:t>
                </a:r>
              </a:p>
            </p:txBody>
          </p:sp>
          <p:sp>
            <p:nvSpPr>
              <p:cNvPr id="42" name="Text Box 66">
                <a:extLst>
                  <a:ext uri="{FF2B5EF4-FFF2-40B4-BE49-F238E27FC236}">
                    <a16:creationId xmlns:a16="http://schemas.microsoft.com/office/drawing/2014/main" id="{2DA3E2DA-E423-4B0C-A96F-970FFBF1E786}"/>
                  </a:ext>
                </a:extLst>
              </p:cNvPr>
              <p:cNvSpPr txBox="1">
                <a:spLocks noChangeArrowheads="1"/>
              </p:cNvSpPr>
              <p:nvPr/>
            </p:nvSpPr>
            <p:spPr bwMode="auto">
              <a:xfrm>
                <a:off x="2066" y="1145"/>
                <a:ext cx="51" cy="181"/>
              </a:xfrm>
              <a:prstGeom prst="rect">
                <a:avLst/>
              </a:prstGeom>
              <a:noFill/>
              <a:ln w="3175">
                <a:noFill/>
                <a:miter lim="800000"/>
                <a:headEnd/>
                <a:tailEnd/>
              </a:ln>
              <a:effectLst/>
            </p:spPr>
            <p:txBody>
              <a:bodyPr wrap="none" lIns="0" tIns="0" rIns="0" bIns="0" anchor="ctr">
                <a:spAutoFit/>
              </a:bodyPr>
              <a:lstStyle/>
              <a:p>
                <a:pPr marL="457200" marR="0" lvl="0" indent="-45720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2</a:t>
                </a:r>
              </a:p>
            </p:txBody>
          </p:sp>
        </p:grpSp>
      </p:grpSp>
      <p:sp>
        <p:nvSpPr>
          <p:cNvPr id="3" name="Rectangle 2">
            <a:hlinkClick r:id="rId3" action="ppaction://hlinksldjump"/>
            <a:extLst>
              <a:ext uri="{FF2B5EF4-FFF2-40B4-BE49-F238E27FC236}">
                <a16:creationId xmlns:a16="http://schemas.microsoft.com/office/drawing/2014/main" id="{B65C4D45-F4B8-4F63-A152-DCC15F1EE35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9" name="Group 8">
            <a:extLst>
              <a:ext uri="{FF2B5EF4-FFF2-40B4-BE49-F238E27FC236}">
                <a16:creationId xmlns:a16="http://schemas.microsoft.com/office/drawing/2014/main" id="{CD3BA845-007F-4A7A-9AE3-556730CCA5FD}"/>
              </a:ext>
            </a:extLst>
          </p:cNvPr>
          <p:cNvGrpSpPr/>
          <p:nvPr/>
        </p:nvGrpSpPr>
        <p:grpSpPr>
          <a:xfrm>
            <a:off x="4527821" y="4768606"/>
            <a:ext cx="2885262" cy="333769"/>
            <a:chOff x="2558463" y="4931435"/>
            <a:chExt cx="2920430" cy="333769"/>
          </a:xfrm>
        </p:grpSpPr>
        <p:sp>
          <p:nvSpPr>
            <p:cNvPr id="10" name="Text Box 37">
              <a:extLst>
                <a:ext uri="{FF2B5EF4-FFF2-40B4-BE49-F238E27FC236}">
                  <a16:creationId xmlns:a16="http://schemas.microsoft.com/office/drawing/2014/main" id="{C5C6C7A6-F49B-43AE-96F4-142DD29970AD}"/>
                </a:ext>
              </a:extLst>
            </p:cNvPr>
            <p:cNvSpPr txBox="1">
              <a:spLocks noChangeArrowheads="1"/>
            </p:cNvSpPr>
            <p:nvPr/>
          </p:nvSpPr>
          <p:spPr bwMode="auto">
            <a:xfrm>
              <a:off x="3178490" y="4931435"/>
              <a:ext cx="2300403" cy="333769"/>
            </a:xfrm>
            <a:prstGeom prst="rect">
              <a:avLst/>
            </a:prstGeom>
            <a:noFill/>
            <a:ln w="3175">
              <a:noFill/>
              <a:miter lim="800000"/>
              <a:headEnd/>
              <a:tailEnd/>
            </a:ln>
            <a:effectLst/>
          </p:spPr>
          <p:txBody>
            <a:bodyPr wrap="none" lIns="45720" rIns="4572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Company 2</a:t>
              </a:r>
            </a:p>
          </p:txBody>
        </p:sp>
        <p:sp>
          <p:nvSpPr>
            <p:cNvPr id="11" name="Freeform 40">
              <a:extLst>
                <a:ext uri="{FF2B5EF4-FFF2-40B4-BE49-F238E27FC236}">
                  <a16:creationId xmlns:a16="http://schemas.microsoft.com/office/drawing/2014/main" id="{566E97E4-5AAA-417F-903A-4C798E33E293}"/>
                </a:ext>
              </a:extLst>
            </p:cNvPr>
            <p:cNvSpPr>
              <a:spLocks/>
            </p:cNvSpPr>
            <p:nvPr/>
          </p:nvSpPr>
          <p:spPr bwMode="auto">
            <a:xfrm>
              <a:off x="2558463" y="5087839"/>
              <a:ext cx="540000" cy="1613"/>
            </a:xfrm>
            <a:custGeom>
              <a:avLst/>
              <a:gdLst/>
              <a:ahLst/>
              <a:cxnLst>
                <a:cxn ang="0">
                  <a:pos x="0" y="0"/>
                </a:cxn>
                <a:cxn ang="0">
                  <a:pos x="301" y="0"/>
                </a:cxn>
              </a:cxnLst>
              <a:rect l="0" t="0" r="r" b="b"/>
              <a:pathLst>
                <a:path w="301" h="1">
                  <a:moveTo>
                    <a:pt x="0" y="0"/>
                  </a:moveTo>
                  <a:lnTo>
                    <a:pt x="301" y="0"/>
                  </a:lnTo>
                </a:path>
              </a:pathLst>
            </a:custGeom>
            <a:noFill/>
            <a:ln w="38100" cap="flat" cmpd="sng">
              <a:solidFill>
                <a:schemeClr val="accent3"/>
              </a:solidFill>
              <a:prstDash val="dash"/>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966675832"/>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Illustrative Graphs and Frameworks</a:t>
            </a:r>
          </a:p>
        </p:txBody>
      </p:sp>
      <p:sp>
        <p:nvSpPr>
          <p:cNvPr id="8" name="Freeform: Shape 7">
            <a:hlinkClick r:id="rId3"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Text Placeholder 4">
            <a:extLst>
              <a:ext uri="{FF2B5EF4-FFF2-40B4-BE49-F238E27FC236}">
                <a16:creationId xmlns:a16="http://schemas.microsoft.com/office/drawing/2014/main" id="{9CAB437F-1517-4D80-8934-14DC05778C7F}"/>
              </a:ext>
            </a:extLst>
          </p:cNvPr>
          <p:cNvSpPr>
            <a:spLocks noGrp="1"/>
          </p:cNvSpPr>
          <p:nvPr>
            <p:ph type="body" sz="quarter" idx="15"/>
          </p:nvPr>
        </p:nvSpPr>
        <p:spPr>
          <a:xfrm>
            <a:off x="8055427" y="3889828"/>
            <a:ext cx="2993573" cy="2194486"/>
          </a:xfrm>
        </p:spPr>
        <p:txBody>
          <a:bodyPr/>
          <a:lstStyle/>
          <a:p>
            <a:r>
              <a:rPr lang="en-US" dirty="0"/>
              <a:t>Part of </a:t>
            </a:r>
            <a:br>
              <a:rPr lang="en-US" dirty="0"/>
            </a:br>
            <a:r>
              <a:rPr lang="en-US" dirty="0">
                <a:hlinkClick r:id="rId4" action="ppaction://hlinksldjump">
                  <a:extLst>
                    <a:ext uri="{A12FA001-AC4F-418D-AE19-62706E023703}">
                      <ahyp:hlinkClr xmlns:ahyp="http://schemas.microsoft.com/office/drawing/2018/hyperlinkcolor" val="tx"/>
                    </a:ext>
                  </a:extLst>
                </a:hlinkClick>
              </a:rPr>
              <a:t>Standard Visuals</a:t>
            </a:r>
            <a:endParaRPr lang="en-US" dirty="0"/>
          </a:p>
        </p:txBody>
      </p:sp>
      <p:sp>
        <p:nvSpPr>
          <p:cNvPr id="2" name="Rectangle 1">
            <a:hlinkClick r:id="rId3" action="ppaction://hlinksldjump"/>
            <a:extLst>
              <a:ext uri="{FF2B5EF4-FFF2-40B4-BE49-F238E27FC236}">
                <a16:creationId xmlns:a16="http://schemas.microsoft.com/office/drawing/2014/main" id="{1405C0D4-FC32-42E2-A05B-ACF38D8F4CB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3" name="Rectangle 2">
            <a:hlinkClick r:id="rId3" action="ppaction://hlinksldjump"/>
            <a:extLst>
              <a:ext uri="{FF2B5EF4-FFF2-40B4-BE49-F238E27FC236}">
                <a16:creationId xmlns:a16="http://schemas.microsoft.com/office/drawing/2014/main" id="{BD5D27FE-E8D8-4888-808E-6B68DA7110E8}"/>
              </a:ext>
            </a:extLst>
          </p:cNvPr>
          <p:cNvSpPr/>
          <p:nvPr/>
        </p:nvSpPr>
        <p:spPr>
          <a:xfrm>
            <a:off x="11584423" y="4470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551064323"/>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2x2 Matrix</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extLst>
              <a:ext uri="{FF2B5EF4-FFF2-40B4-BE49-F238E27FC236}">
                <a16:creationId xmlns:a16="http://schemas.microsoft.com/office/drawing/2014/main" id="{F6B166F0-FE5C-43E3-B857-941CA180F996}"/>
              </a:ext>
            </a:extLst>
          </p:cNvPr>
          <p:cNvSpPr>
            <a:spLocks noChangeAspect="1" noChangeArrowheads="1"/>
          </p:cNvSpPr>
          <p:nvPr/>
        </p:nvSpPr>
        <p:spPr bwMode="auto">
          <a:xfrm>
            <a:off x="5862412" y="3617243"/>
            <a:ext cx="1979613" cy="1998663"/>
          </a:xfrm>
          <a:prstGeom prst="rect">
            <a:avLst/>
          </a:prstGeom>
          <a:solidFill>
            <a:srgbClr val="E4E7E7"/>
          </a:solidFill>
          <a:ln w="6350">
            <a:solidFill>
              <a:srgbClr val="FFFFFF"/>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6" name="Rectangle 5">
            <a:extLst>
              <a:ext uri="{FF2B5EF4-FFF2-40B4-BE49-F238E27FC236}">
                <a16:creationId xmlns:a16="http://schemas.microsoft.com/office/drawing/2014/main" id="{4281B7D2-8B9E-4395-8546-9561EC80FB70}"/>
              </a:ext>
            </a:extLst>
          </p:cNvPr>
          <p:cNvSpPr>
            <a:spLocks noChangeAspect="1" noChangeArrowheads="1"/>
          </p:cNvSpPr>
          <p:nvPr/>
        </p:nvSpPr>
        <p:spPr bwMode="auto">
          <a:xfrm>
            <a:off x="3882800" y="3617243"/>
            <a:ext cx="1979613" cy="1998663"/>
          </a:xfrm>
          <a:prstGeom prst="rect">
            <a:avLst/>
          </a:prstGeom>
          <a:solidFill>
            <a:srgbClr val="E4E7E7"/>
          </a:solidFill>
          <a:ln w="6350">
            <a:solidFill>
              <a:srgbClr val="FFFFFF"/>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Rectangle 6">
            <a:extLst>
              <a:ext uri="{FF2B5EF4-FFF2-40B4-BE49-F238E27FC236}">
                <a16:creationId xmlns:a16="http://schemas.microsoft.com/office/drawing/2014/main" id="{151D0CA0-AEC4-499D-B515-1A88D509F20D}"/>
              </a:ext>
            </a:extLst>
          </p:cNvPr>
          <p:cNvSpPr>
            <a:spLocks noChangeAspect="1" noChangeArrowheads="1"/>
          </p:cNvSpPr>
          <p:nvPr/>
        </p:nvSpPr>
        <p:spPr bwMode="auto">
          <a:xfrm>
            <a:off x="5862412" y="1618580"/>
            <a:ext cx="1979613" cy="1998663"/>
          </a:xfrm>
          <a:prstGeom prst="rect">
            <a:avLst/>
          </a:prstGeom>
          <a:solidFill>
            <a:srgbClr val="B455AA">
              <a:lumMod val="40000"/>
              <a:lumOff val="60000"/>
            </a:srgbClr>
          </a:solidFill>
          <a:ln w="6350">
            <a:solidFill>
              <a:srgbClr val="FFFFFF"/>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17BE1C35-0413-4C9B-AF1F-8C385C2E0946}"/>
              </a:ext>
            </a:extLst>
          </p:cNvPr>
          <p:cNvSpPr>
            <a:spLocks noChangeAspect="1" noChangeArrowheads="1"/>
          </p:cNvSpPr>
          <p:nvPr/>
        </p:nvSpPr>
        <p:spPr bwMode="auto">
          <a:xfrm>
            <a:off x="3882800" y="1618580"/>
            <a:ext cx="1979613" cy="1998663"/>
          </a:xfrm>
          <a:prstGeom prst="rect">
            <a:avLst/>
          </a:prstGeom>
          <a:solidFill>
            <a:srgbClr val="E4E7E7"/>
          </a:solidFill>
          <a:ln w="6350">
            <a:solidFill>
              <a:srgbClr val="FFFFFF"/>
            </a:solidFill>
            <a:miter lim="800000"/>
            <a:headEnd/>
            <a:tailEnd/>
          </a:ln>
          <a:effectLst/>
        </p:spPr>
        <p:txBody>
          <a:bodyPr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Text Box 8">
            <a:extLst>
              <a:ext uri="{FF2B5EF4-FFF2-40B4-BE49-F238E27FC236}">
                <a16:creationId xmlns:a16="http://schemas.microsoft.com/office/drawing/2014/main" id="{2A7E0094-B1DB-4670-BCD4-88924722FA46}"/>
              </a:ext>
            </a:extLst>
          </p:cNvPr>
          <p:cNvSpPr txBox="1">
            <a:spLocks noChangeAspect="1" noChangeArrowheads="1"/>
          </p:cNvSpPr>
          <p:nvPr/>
        </p:nvSpPr>
        <p:spPr bwMode="auto">
          <a:xfrm>
            <a:off x="3287487" y="1618580"/>
            <a:ext cx="595313"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High</a:t>
            </a:r>
            <a:endParaRPr kumimoji="0" lang="en-US" sz="1400" b="1" i="0" u="none" strike="noStrike" kern="0" cap="none" spc="0" normalizeH="0" baseline="0" noProof="0">
              <a:ln>
                <a:noFill/>
              </a:ln>
              <a:solidFill>
                <a:srgbClr val="000000"/>
              </a:solidFill>
              <a:effectLst/>
              <a:uLnTx/>
              <a:uFillTx/>
              <a:latin typeface="Graphik"/>
              <a:ea typeface="+mn-ea"/>
              <a:cs typeface="+mn-cs"/>
            </a:endParaRPr>
          </a:p>
        </p:txBody>
      </p:sp>
      <p:sp>
        <p:nvSpPr>
          <p:cNvPr id="10" name="Text Box 9">
            <a:extLst>
              <a:ext uri="{FF2B5EF4-FFF2-40B4-BE49-F238E27FC236}">
                <a16:creationId xmlns:a16="http://schemas.microsoft.com/office/drawing/2014/main" id="{7D6E3C62-9037-40D6-A6DA-547CCBF31C8C}"/>
              </a:ext>
            </a:extLst>
          </p:cNvPr>
          <p:cNvSpPr txBox="1">
            <a:spLocks noChangeAspect="1" noChangeArrowheads="1"/>
          </p:cNvSpPr>
          <p:nvPr/>
        </p:nvSpPr>
        <p:spPr bwMode="auto">
          <a:xfrm>
            <a:off x="3327175" y="5282530"/>
            <a:ext cx="555625"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Low</a:t>
            </a:r>
            <a:endParaRPr kumimoji="0" lang="en-US" sz="1400" b="1"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10">
            <a:extLst>
              <a:ext uri="{FF2B5EF4-FFF2-40B4-BE49-F238E27FC236}">
                <a16:creationId xmlns:a16="http://schemas.microsoft.com/office/drawing/2014/main" id="{6B1406ED-69E9-40D2-A1F7-92E32B3D4E4B}"/>
              </a:ext>
            </a:extLst>
          </p:cNvPr>
          <p:cNvSpPr txBox="1">
            <a:spLocks noChangeAspect="1" noChangeArrowheads="1"/>
          </p:cNvSpPr>
          <p:nvPr/>
        </p:nvSpPr>
        <p:spPr bwMode="auto">
          <a:xfrm>
            <a:off x="3882800" y="5615905"/>
            <a:ext cx="547688"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Low</a:t>
            </a:r>
            <a:endParaRPr kumimoji="0" lang="en-US" sz="1400" b="1" i="0" u="none" strike="noStrike" kern="0" cap="none" spc="0" normalizeH="0" baseline="0" noProof="0">
              <a:ln>
                <a:noFill/>
              </a:ln>
              <a:solidFill>
                <a:srgbClr val="000000"/>
              </a:solidFill>
              <a:effectLst/>
              <a:uLnTx/>
              <a:uFillTx/>
              <a:latin typeface="Graphik"/>
              <a:ea typeface="+mn-ea"/>
              <a:cs typeface="+mn-cs"/>
            </a:endParaRPr>
          </a:p>
        </p:txBody>
      </p:sp>
      <p:sp>
        <p:nvSpPr>
          <p:cNvPr id="12" name="Text Box 11">
            <a:extLst>
              <a:ext uri="{FF2B5EF4-FFF2-40B4-BE49-F238E27FC236}">
                <a16:creationId xmlns:a16="http://schemas.microsoft.com/office/drawing/2014/main" id="{FE1214C4-9426-4AFC-B15F-3172743719AA}"/>
              </a:ext>
            </a:extLst>
          </p:cNvPr>
          <p:cNvSpPr txBox="1">
            <a:spLocks noChangeAspect="1" noChangeArrowheads="1"/>
          </p:cNvSpPr>
          <p:nvPr/>
        </p:nvSpPr>
        <p:spPr bwMode="auto">
          <a:xfrm>
            <a:off x="7343550" y="5615905"/>
            <a:ext cx="595313"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High</a:t>
            </a:r>
            <a:endParaRPr kumimoji="0" lang="en-US" sz="1400" b="1" i="0" u="none" strike="noStrike" kern="0" cap="none" spc="0" normalizeH="0" baseline="0" noProof="0">
              <a:ln>
                <a:noFill/>
              </a:ln>
              <a:solidFill>
                <a:srgbClr val="000000"/>
              </a:solidFill>
              <a:effectLst/>
              <a:uLnTx/>
              <a:uFillTx/>
              <a:latin typeface="Graphik"/>
              <a:ea typeface="+mn-ea"/>
              <a:cs typeface="+mn-cs"/>
            </a:endParaRPr>
          </a:p>
        </p:txBody>
      </p:sp>
      <p:sp>
        <p:nvSpPr>
          <p:cNvPr id="13" name="Text Box 12">
            <a:extLst>
              <a:ext uri="{FF2B5EF4-FFF2-40B4-BE49-F238E27FC236}">
                <a16:creationId xmlns:a16="http://schemas.microsoft.com/office/drawing/2014/main" id="{3183FA6C-8B84-4258-B459-5A6CA9BE38BA}"/>
              </a:ext>
            </a:extLst>
          </p:cNvPr>
          <p:cNvSpPr txBox="1">
            <a:spLocks noChangeAspect="1" noChangeArrowheads="1"/>
          </p:cNvSpPr>
          <p:nvPr/>
        </p:nvSpPr>
        <p:spPr bwMode="auto">
          <a:xfrm>
            <a:off x="2999842" y="3461668"/>
            <a:ext cx="668338" cy="33337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Label</a:t>
            </a:r>
            <a:endParaRPr kumimoji="0" lang="en-US"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14" name="Text Box 13">
            <a:extLst>
              <a:ext uri="{FF2B5EF4-FFF2-40B4-BE49-F238E27FC236}">
                <a16:creationId xmlns:a16="http://schemas.microsoft.com/office/drawing/2014/main" id="{E3DE4870-1383-4119-A719-4D69046B1CEE}"/>
              </a:ext>
            </a:extLst>
          </p:cNvPr>
          <p:cNvSpPr txBox="1">
            <a:spLocks noChangeAspect="1" noChangeArrowheads="1"/>
          </p:cNvSpPr>
          <p:nvPr/>
        </p:nvSpPr>
        <p:spPr bwMode="auto">
          <a:xfrm>
            <a:off x="5556126" y="5795925"/>
            <a:ext cx="669925" cy="333375"/>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Label</a:t>
            </a:r>
            <a:endParaRPr kumimoji="0" lang="en-US"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15" name="Text Box 14">
            <a:extLst>
              <a:ext uri="{FF2B5EF4-FFF2-40B4-BE49-F238E27FC236}">
                <a16:creationId xmlns:a16="http://schemas.microsoft.com/office/drawing/2014/main" id="{8FDA90BE-9014-4D47-93C2-C3AD050DED7B}"/>
              </a:ext>
            </a:extLst>
          </p:cNvPr>
          <p:cNvSpPr txBox="1">
            <a:spLocks noChangeArrowheads="1"/>
          </p:cNvSpPr>
          <p:nvPr/>
        </p:nvSpPr>
        <p:spPr bwMode="auto">
          <a:xfrm>
            <a:off x="4681312" y="337276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Product 2</a:t>
            </a:r>
          </a:p>
        </p:txBody>
      </p:sp>
      <p:sp>
        <p:nvSpPr>
          <p:cNvPr id="16" name="Text Box 15">
            <a:extLst>
              <a:ext uri="{FF2B5EF4-FFF2-40B4-BE49-F238E27FC236}">
                <a16:creationId xmlns:a16="http://schemas.microsoft.com/office/drawing/2014/main" id="{02534A76-E437-48F5-B434-5662C0B675DD}"/>
              </a:ext>
            </a:extLst>
          </p:cNvPr>
          <p:cNvSpPr txBox="1">
            <a:spLocks noChangeArrowheads="1"/>
          </p:cNvSpPr>
          <p:nvPr/>
        </p:nvSpPr>
        <p:spPr bwMode="auto">
          <a:xfrm>
            <a:off x="6224362" y="393791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Product 9</a:t>
            </a:r>
          </a:p>
        </p:txBody>
      </p:sp>
      <p:sp>
        <p:nvSpPr>
          <p:cNvPr id="17" name="Text Box 16">
            <a:extLst>
              <a:ext uri="{FF2B5EF4-FFF2-40B4-BE49-F238E27FC236}">
                <a16:creationId xmlns:a16="http://schemas.microsoft.com/office/drawing/2014/main" id="{D74352A4-0393-46AD-AFFF-3E12C3DE0531}"/>
              </a:ext>
            </a:extLst>
          </p:cNvPr>
          <p:cNvSpPr txBox="1">
            <a:spLocks noChangeArrowheads="1"/>
          </p:cNvSpPr>
          <p:nvPr/>
        </p:nvSpPr>
        <p:spPr bwMode="auto">
          <a:xfrm>
            <a:off x="6532337" y="3044155"/>
            <a:ext cx="1014413" cy="320675"/>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Product 8</a:t>
            </a:r>
          </a:p>
        </p:txBody>
      </p:sp>
      <p:sp>
        <p:nvSpPr>
          <p:cNvPr id="18" name="Text Box 17">
            <a:extLst>
              <a:ext uri="{FF2B5EF4-FFF2-40B4-BE49-F238E27FC236}">
                <a16:creationId xmlns:a16="http://schemas.microsoft.com/office/drawing/2014/main" id="{2D022BFE-B78C-42EE-B8B6-65041D92CABA}"/>
              </a:ext>
            </a:extLst>
          </p:cNvPr>
          <p:cNvSpPr txBox="1">
            <a:spLocks noChangeArrowheads="1"/>
          </p:cNvSpPr>
          <p:nvPr/>
        </p:nvSpPr>
        <p:spPr bwMode="auto">
          <a:xfrm>
            <a:off x="6235475" y="2728243"/>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Product 7</a:t>
            </a:r>
          </a:p>
        </p:txBody>
      </p:sp>
      <p:sp>
        <p:nvSpPr>
          <p:cNvPr id="19" name="Text Box 18">
            <a:extLst>
              <a:ext uri="{FF2B5EF4-FFF2-40B4-BE49-F238E27FC236}">
                <a16:creationId xmlns:a16="http://schemas.microsoft.com/office/drawing/2014/main" id="{863A0CE0-7B6B-47B4-A0A6-9C283A303552}"/>
              </a:ext>
            </a:extLst>
          </p:cNvPr>
          <p:cNvSpPr txBox="1">
            <a:spLocks noChangeArrowheads="1"/>
          </p:cNvSpPr>
          <p:nvPr/>
        </p:nvSpPr>
        <p:spPr bwMode="auto">
          <a:xfrm>
            <a:off x="6468837" y="238216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Product 6</a:t>
            </a:r>
          </a:p>
        </p:txBody>
      </p:sp>
      <p:sp>
        <p:nvSpPr>
          <p:cNvPr id="20" name="Text Box 19">
            <a:extLst>
              <a:ext uri="{FF2B5EF4-FFF2-40B4-BE49-F238E27FC236}">
                <a16:creationId xmlns:a16="http://schemas.microsoft.com/office/drawing/2014/main" id="{3B07090C-7840-44CD-BA45-EE9EB3BB609C}"/>
              </a:ext>
            </a:extLst>
          </p:cNvPr>
          <p:cNvSpPr txBox="1">
            <a:spLocks noChangeArrowheads="1"/>
          </p:cNvSpPr>
          <p:nvPr/>
        </p:nvSpPr>
        <p:spPr bwMode="auto">
          <a:xfrm>
            <a:off x="6826025" y="3617243"/>
            <a:ext cx="1100138"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Product 10</a:t>
            </a:r>
          </a:p>
        </p:txBody>
      </p:sp>
      <p:sp>
        <p:nvSpPr>
          <p:cNvPr id="21" name="Text Box 20">
            <a:extLst>
              <a:ext uri="{FF2B5EF4-FFF2-40B4-BE49-F238E27FC236}">
                <a16:creationId xmlns:a16="http://schemas.microsoft.com/office/drawing/2014/main" id="{3B73BFFF-0531-469A-9708-A42BE88BF45D}"/>
              </a:ext>
            </a:extLst>
          </p:cNvPr>
          <p:cNvSpPr txBox="1">
            <a:spLocks noChangeArrowheads="1"/>
          </p:cNvSpPr>
          <p:nvPr/>
        </p:nvSpPr>
        <p:spPr bwMode="auto">
          <a:xfrm>
            <a:off x="5852887" y="2210718"/>
            <a:ext cx="1014413" cy="320675"/>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Product 5</a:t>
            </a:r>
          </a:p>
        </p:txBody>
      </p:sp>
      <p:sp>
        <p:nvSpPr>
          <p:cNvPr id="22" name="Text Box 21">
            <a:extLst>
              <a:ext uri="{FF2B5EF4-FFF2-40B4-BE49-F238E27FC236}">
                <a16:creationId xmlns:a16="http://schemas.microsoft.com/office/drawing/2014/main" id="{56146CBA-88EF-4C19-9079-B522F3DBEE5E}"/>
              </a:ext>
            </a:extLst>
          </p:cNvPr>
          <p:cNvSpPr txBox="1">
            <a:spLocks noChangeArrowheads="1"/>
          </p:cNvSpPr>
          <p:nvPr/>
        </p:nvSpPr>
        <p:spPr bwMode="auto">
          <a:xfrm>
            <a:off x="4108225" y="2456780"/>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Product 1</a:t>
            </a:r>
          </a:p>
        </p:txBody>
      </p:sp>
      <p:sp>
        <p:nvSpPr>
          <p:cNvPr id="23" name="Text Box 22">
            <a:extLst>
              <a:ext uri="{FF2B5EF4-FFF2-40B4-BE49-F238E27FC236}">
                <a16:creationId xmlns:a16="http://schemas.microsoft.com/office/drawing/2014/main" id="{9FBA87D9-B4F7-4900-9D31-74B56BAD92E0}"/>
              </a:ext>
            </a:extLst>
          </p:cNvPr>
          <p:cNvSpPr txBox="1">
            <a:spLocks noChangeArrowheads="1"/>
          </p:cNvSpPr>
          <p:nvPr/>
        </p:nvSpPr>
        <p:spPr bwMode="auto">
          <a:xfrm>
            <a:off x="5136925" y="393791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Product 3</a:t>
            </a:r>
          </a:p>
        </p:txBody>
      </p:sp>
      <p:sp>
        <p:nvSpPr>
          <p:cNvPr id="24" name="Text Box 23">
            <a:extLst>
              <a:ext uri="{FF2B5EF4-FFF2-40B4-BE49-F238E27FC236}">
                <a16:creationId xmlns:a16="http://schemas.microsoft.com/office/drawing/2014/main" id="{63585BF0-8C28-45E7-A502-71F596703B27}"/>
              </a:ext>
            </a:extLst>
          </p:cNvPr>
          <p:cNvSpPr txBox="1">
            <a:spLocks noChangeArrowheads="1"/>
          </p:cNvSpPr>
          <p:nvPr/>
        </p:nvSpPr>
        <p:spPr bwMode="auto">
          <a:xfrm>
            <a:off x="5694137" y="3290218"/>
            <a:ext cx="1014413" cy="319088"/>
          </a:xfrm>
          <a:prstGeom prst="rect">
            <a:avLst/>
          </a:prstGeom>
          <a:noFill/>
          <a:ln w="6350">
            <a:noFill/>
            <a:miter lim="800000"/>
            <a:headEnd type="none" w="sm" len="sm"/>
            <a:tailEnd type="none" w="sm" len="sm"/>
          </a:ln>
          <a:effectLst/>
        </p:spPr>
        <p:txBody>
          <a:bodyPr wrap="none" lIns="45720" rIns="45720"/>
          <a:lstStyle/>
          <a:p>
            <a:pPr marL="117475" marR="0" lvl="0" indent="-117475" algn="l" defTabSz="914400" rtl="0" eaLnBrk="0" fontAlgn="auto" latinLnBrk="0" hangingPunct="0">
              <a:lnSpc>
                <a:spcPct val="100000"/>
              </a:lnSpc>
              <a:spcBef>
                <a:spcPct val="0"/>
              </a:spcBef>
              <a:spcAft>
                <a:spcPts val="0"/>
              </a:spcAft>
              <a:buClr>
                <a:srgbClr val="DCAFFF"/>
              </a:buClr>
              <a:buSzTx/>
              <a:buFont typeface="Wingdings" pitchFamily="2" charset="2"/>
              <a:buChar char="w"/>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Product 4</a:t>
            </a:r>
          </a:p>
        </p:txBody>
      </p:sp>
      <p:sp>
        <p:nvSpPr>
          <p:cNvPr id="3" name="Rectangle 2">
            <a:hlinkClick r:id="rId3" action="ppaction://hlinksldjump"/>
            <a:extLst>
              <a:ext uri="{FF2B5EF4-FFF2-40B4-BE49-F238E27FC236}">
                <a16:creationId xmlns:a16="http://schemas.microsoft.com/office/drawing/2014/main" id="{BB84D07D-2B9F-46E5-B59E-34BEA6FC9C6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312604006"/>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haded Areas 1</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E3B11897-DFF3-45EE-936E-001E6EC29061}"/>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4" name="Group 3">
            <a:extLst>
              <a:ext uri="{FF2B5EF4-FFF2-40B4-BE49-F238E27FC236}">
                <a16:creationId xmlns:a16="http://schemas.microsoft.com/office/drawing/2014/main" id="{0096CE95-385D-4531-96E5-862F56E455D4}"/>
              </a:ext>
            </a:extLst>
          </p:cNvPr>
          <p:cNvGrpSpPr>
            <a:grpSpLocks/>
          </p:cNvGrpSpPr>
          <p:nvPr/>
        </p:nvGrpSpPr>
        <p:grpSpPr bwMode="auto">
          <a:xfrm>
            <a:off x="3967163" y="1628775"/>
            <a:ext cx="4379912" cy="4116387"/>
            <a:chOff x="2011" y="1392"/>
            <a:chExt cx="2213" cy="1920"/>
          </a:xfrm>
        </p:grpSpPr>
        <p:sp>
          <p:nvSpPr>
            <p:cNvPr id="15" name="Rectangle 4">
              <a:extLst>
                <a:ext uri="{FF2B5EF4-FFF2-40B4-BE49-F238E27FC236}">
                  <a16:creationId xmlns:a16="http://schemas.microsoft.com/office/drawing/2014/main" id="{68959917-82C6-4AEA-9704-42CBAFC00697}"/>
                </a:ext>
              </a:extLst>
            </p:cNvPr>
            <p:cNvSpPr>
              <a:spLocks noChangeArrowheads="1"/>
            </p:cNvSpPr>
            <p:nvPr/>
          </p:nvSpPr>
          <p:spPr bwMode="auto">
            <a:xfrm>
              <a:off x="2011" y="1392"/>
              <a:ext cx="2213" cy="1920"/>
            </a:xfrm>
            <a:prstGeom prst="rect">
              <a:avLst/>
            </a:prstGeom>
            <a:solidFill>
              <a:schemeClr val="tx2">
                <a:lumMod val="20000"/>
                <a:lumOff val="80000"/>
              </a:schemeClr>
            </a:solidFill>
            <a:ln w="6350">
              <a:noFill/>
              <a:miter lim="800000"/>
              <a:headEnd/>
              <a:tailEnd/>
            </a:ln>
            <a:effectLst/>
          </p:spPr>
          <p:txBody>
            <a:bodyPr lIns="45720" rIns="45720"/>
            <a:lstStyle/>
            <a:p>
              <a:endParaRPr lang="de-DE" sz="1400" b="1"/>
            </a:p>
          </p:txBody>
        </p:sp>
        <p:sp>
          <p:nvSpPr>
            <p:cNvPr id="16" name="Freeform 5">
              <a:extLst>
                <a:ext uri="{FF2B5EF4-FFF2-40B4-BE49-F238E27FC236}">
                  <a16:creationId xmlns:a16="http://schemas.microsoft.com/office/drawing/2014/main" id="{3B4E12E4-0E52-43F6-A8F3-C6E0B7EA5128}"/>
                </a:ext>
              </a:extLst>
            </p:cNvPr>
            <p:cNvSpPr>
              <a:spLocks/>
            </p:cNvSpPr>
            <p:nvPr/>
          </p:nvSpPr>
          <p:spPr bwMode="auto">
            <a:xfrm>
              <a:off x="2011" y="1392"/>
              <a:ext cx="2213" cy="1920"/>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tx2">
                <a:lumMod val="40000"/>
                <a:lumOff val="60000"/>
              </a:schemeClr>
            </a:solidFill>
            <a:ln w="6350" cap="flat" cmpd="sng">
              <a:noFill/>
              <a:prstDash val="solid"/>
              <a:round/>
              <a:headEnd type="none" w="med" len="med"/>
              <a:tailEnd type="none" w="med" len="med"/>
            </a:ln>
            <a:effectLst/>
          </p:spPr>
          <p:txBody>
            <a:bodyPr lIns="45720" rIns="45720"/>
            <a:lstStyle/>
            <a:p>
              <a:endParaRPr lang="de-DE" sz="1400" b="1"/>
            </a:p>
          </p:txBody>
        </p:sp>
        <p:sp>
          <p:nvSpPr>
            <p:cNvPr id="17" name="Freeform 6">
              <a:extLst>
                <a:ext uri="{FF2B5EF4-FFF2-40B4-BE49-F238E27FC236}">
                  <a16:creationId xmlns:a16="http://schemas.microsoft.com/office/drawing/2014/main" id="{A6869126-968B-4D98-96FB-78C998141E17}"/>
                </a:ext>
              </a:extLst>
            </p:cNvPr>
            <p:cNvSpPr>
              <a:spLocks/>
            </p:cNvSpPr>
            <p:nvPr/>
          </p:nvSpPr>
          <p:spPr bwMode="auto">
            <a:xfrm>
              <a:off x="2747" y="1392"/>
              <a:ext cx="1477" cy="1269"/>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accent1"/>
            </a:solidFill>
            <a:ln w="6350" cap="flat" cmpd="sng">
              <a:noFill/>
              <a:prstDash val="solid"/>
              <a:round/>
              <a:headEnd type="none" w="med" len="med"/>
              <a:tailEnd type="none" w="med" len="med"/>
            </a:ln>
            <a:effectLst/>
          </p:spPr>
          <p:txBody>
            <a:bodyPr lIns="45720" rIns="45720"/>
            <a:lstStyle/>
            <a:p>
              <a:endParaRPr lang="de-DE" sz="1400" b="1"/>
            </a:p>
          </p:txBody>
        </p:sp>
        <p:sp>
          <p:nvSpPr>
            <p:cNvPr id="18" name="Freeform 7">
              <a:extLst>
                <a:ext uri="{FF2B5EF4-FFF2-40B4-BE49-F238E27FC236}">
                  <a16:creationId xmlns:a16="http://schemas.microsoft.com/office/drawing/2014/main" id="{EDCAA288-FA0F-4251-9A42-D491D702F124}"/>
                </a:ext>
              </a:extLst>
            </p:cNvPr>
            <p:cNvSpPr>
              <a:spLocks/>
            </p:cNvSpPr>
            <p:nvPr/>
          </p:nvSpPr>
          <p:spPr bwMode="auto">
            <a:xfrm>
              <a:off x="3488" y="1392"/>
              <a:ext cx="736" cy="645"/>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accent3"/>
            </a:solidFill>
            <a:ln w="6350" cap="flat" cmpd="sng">
              <a:noFill/>
              <a:prstDash val="solid"/>
              <a:round/>
              <a:headEnd type="none" w="med" len="med"/>
              <a:tailEnd type="none" w="med" len="med"/>
            </a:ln>
            <a:effectLst/>
          </p:spPr>
          <p:txBody>
            <a:bodyPr lIns="45720" rIns="45720"/>
            <a:lstStyle/>
            <a:p>
              <a:endParaRPr lang="de-DE" sz="1400" b="1"/>
            </a:p>
          </p:txBody>
        </p:sp>
        <p:sp>
          <p:nvSpPr>
            <p:cNvPr id="19" name="Text Box 8">
              <a:extLst>
                <a:ext uri="{FF2B5EF4-FFF2-40B4-BE49-F238E27FC236}">
                  <a16:creationId xmlns:a16="http://schemas.microsoft.com/office/drawing/2014/main" id="{17E77356-58DB-45AD-9E80-E2A05EE13C4D}"/>
                </a:ext>
              </a:extLst>
            </p:cNvPr>
            <p:cNvSpPr txBox="1">
              <a:spLocks noChangeArrowheads="1"/>
            </p:cNvSpPr>
            <p:nvPr/>
          </p:nvSpPr>
          <p:spPr bwMode="auto">
            <a:xfrm>
              <a:off x="3796" y="1575"/>
              <a:ext cx="282" cy="198"/>
            </a:xfrm>
            <a:prstGeom prst="rect">
              <a:avLst/>
            </a:prstGeom>
            <a:noFill/>
            <a:ln w="6350">
              <a:noFill/>
              <a:miter lim="800000"/>
              <a:headEnd/>
              <a:tailEnd/>
            </a:ln>
            <a:effectLst/>
          </p:spPr>
          <p:txBody>
            <a:bodyPr wrap="none" lIns="45720" rIns="45720"/>
            <a:lstStyle/>
            <a:p>
              <a:pPr eaLnBrk="0" hangingPunct="0">
                <a:spcBef>
                  <a:spcPct val="0"/>
                </a:spcBef>
              </a:pPr>
              <a:r>
                <a:rPr lang="en-US" sz="1400" b="1">
                  <a:solidFill>
                    <a:schemeClr val="bg1"/>
                  </a:solidFill>
                </a:rPr>
                <a:t>Area 1</a:t>
              </a:r>
            </a:p>
          </p:txBody>
        </p:sp>
        <p:sp>
          <p:nvSpPr>
            <p:cNvPr id="20" name="Text Box 9">
              <a:extLst>
                <a:ext uri="{FF2B5EF4-FFF2-40B4-BE49-F238E27FC236}">
                  <a16:creationId xmlns:a16="http://schemas.microsoft.com/office/drawing/2014/main" id="{21D75F71-F484-46C2-814F-DAB0A95AC856}"/>
                </a:ext>
              </a:extLst>
            </p:cNvPr>
            <p:cNvSpPr txBox="1">
              <a:spLocks noChangeArrowheads="1"/>
            </p:cNvSpPr>
            <p:nvPr/>
          </p:nvSpPr>
          <p:spPr bwMode="auto">
            <a:xfrm>
              <a:off x="3265" y="2051"/>
              <a:ext cx="282" cy="198"/>
            </a:xfrm>
            <a:prstGeom prst="rect">
              <a:avLst/>
            </a:prstGeom>
            <a:noFill/>
            <a:ln w="6350">
              <a:noFill/>
              <a:miter lim="800000"/>
              <a:headEnd/>
              <a:tailEnd/>
            </a:ln>
            <a:effectLst/>
          </p:spPr>
          <p:txBody>
            <a:bodyPr wrap="none" lIns="45720" rIns="45720"/>
            <a:lstStyle/>
            <a:p>
              <a:pPr eaLnBrk="0" hangingPunct="0">
                <a:spcBef>
                  <a:spcPct val="0"/>
                </a:spcBef>
              </a:pPr>
              <a:r>
                <a:rPr lang="en-US" sz="1400" b="1">
                  <a:solidFill>
                    <a:schemeClr val="bg1"/>
                  </a:solidFill>
                </a:rPr>
                <a:t>Area 2</a:t>
              </a:r>
            </a:p>
          </p:txBody>
        </p:sp>
        <p:sp>
          <p:nvSpPr>
            <p:cNvPr id="21" name="Text Box 10">
              <a:extLst>
                <a:ext uri="{FF2B5EF4-FFF2-40B4-BE49-F238E27FC236}">
                  <a16:creationId xmlns:a16="http://schemas.microsoft.com/office/drawing/2014/main" id="{46E0886D-6FA4-402C-A444-4085579A03A9}"/>
                </a:ext>
              </a:extLst>
            </p:cNvPr>
            <p:cNvSpPr txBox="1">
              <a:spLocks noChangeArrowheads="1"/>
            </p:cNvSpPr>
            <p:nvPr/>
          </p:nvSpPr>
          <p:spPr bwMode="auto">
            <a:xfrm>
              <a:off x="2734" y="2527"/>
              <a:ext cx="282" cy="198"/>
            </a:xfrm>
            <a:prstGeom prst="rect">
              <a:avLst/>
            </a:prstGeom>
            <a:noFill/>
            <a:ln w="6350">
              <a:noFill/>
              <a:miter lim="800000"/>
              <a:headEnd/>
              <a:tailEnd/>
            </a:ln>
            <a:effectLst/>
          </p:spPr>
          <p:txBody>
            <a:bodyPr wrap="none" lIns="45720" rIns="45720"/>
            <a:lstStyle/>
            <a:p>
              <a:pPr eaLnBrk="0" hangingPunct="0">
                <a:spcBef>
                  <a:spcPct val="0"/>
                </a:spcBef>
              </a:pPr>
              <a:r>
                <a:rPr lang="en-US" sz="1400" b="1" dirty="0">
                  <a:solidFill>
                    <a:schemeClr val="accent1"/>
                  </a:solidFill>
                </a:rPr>
                <a:t>Area 3</a:t>
              </a:r>
            </a:p>
          </p:txBody>
        </p:sp>
        <p:sp>
          <p:nvSpPr>
            <p:cNvPr id="22" name="Text Box 11">
              <a:extLst>
                <a:ext uri="{FF2B5EF4-FFF2-40B4-BE49-F238E27FC236}">
                  <a16:creationId xmlns:a16="http://schemas.microsoft.com/office/drawing/2014/main" id="{8C7264FC-B355-423A-9EF2-E643B05345A6}"/>
                </a:ext>
              </a:extLst>
            </p:cNvPr>
            <p:cNvSpPr txBox="1">
              <a:spLocks noChangeArrowheads="1"/>
            </p:cNvSpPr>
            <p:nvPr/>
          </p:nvSpPr>
          <p:spPr bwMode="auto">
            <a:xfrm>
              <a:off x="2203" y="3005"/>
              <a:ext cx="282" cy="198"/>
            </a:xfrm>
            <a:prstGeom prst="rect">
              <a:avLst/>
            </a:prstGeom>
            <a:noFill/>
            <a:ln w="6350">
              <a:noFill/>
              <a:miter lim="800000"/>
              <a:headEnd/>
              <a:tailEnd/>
            </a:ln>
            <a:effectLst/>
          </p:spPr>
          <p:txBody>
            <a:bodyPr wrap="none" lIns="45720" rIns="45720"/>
            <a:lstStyle/>
            <a:p>
              <a:pPr eaLnBrk="0" hangingPunct="0">
                <a:spcBef>
                  <a:spcPct val="0"/>
                </a:spcBef>
              </a:pPr>
              <a:r>
                <a:rPr lang="en-US" sz="1400" b="1">
                  <a:solidFill>
                    <a:schemeClr val="accent1"/>
                  </a:solidFill>
                </a:rPr>
                <a:t>Area 4</a:t>
              </a:r>
            </a:p>
          </p:txBody>
        </p:sp>
      </p:grpSp>
    </p:spTree>
    <p:extLst>
      <p:ext uri="{BB962C8B-B14F-4D97-AF65-F5344CB8AC3E}">
        <p14:creationId xmlns:p14="http://schemas.microsoft.com/office/powerpoint/2010/main" val="1742323085"/>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haded Areas 2</a:t>
            </a:r>
          </a:p>
        </p:txBody>
      </p:sp>
      <p:sp>
        <p:nvSpPr>
          <p:cNvPr id="4" name="Freeform: Shape 3">
            <a:hlinkClick r:id="rId15"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3D0499BA-19E9-4BFB-9B43-025E10EDC015}"/>
              </a:ext>
            </a:extLst>
          </p:cNvPr>
          <p:cNvGrpSpPr/>
          <p:nvPr/>
        </p:nvGrpSpPr>
        <p:grpSpPr>
          <a:xfrm>
            <a:off x="3289299" y="1610067"/>
            <a:ext cx="4619626" cy="4117976"/>
            <a:chOff x="1860549" y="1610067"/>
            <a:chExt cx="4619626" cy="4117976"/>
          </a:xfrm>
        </p:grpSpPr>
        <p:sp>
          <p:nvSpPr>
            <p:cNvPr id="6" name="Text Box 4">
              <a:extLst>
                <a:ext uri="{FF2B5EF4-FFF2-40B4-BE49-F238E27FC236}">
                  <a16:creationId xmlns:a16="http://schemas.microsoft.com/office/drawing/2014/main" id="{5955AAF4-E36D-455F-A4F5-9A9C15B6904B}"/>
                </a:ext>
              </a:extLst>
            </p:cNvPr>
            <p:cNvSpPr txBox="1">
              <a:spLocks noChangeArrowheads="1"/>
            </p:cNvSpPr>
            <p:nvPr>
              <p:custDataLst>
                <p:tags r:id="rId1"/>
              </p:custDataLst>
            </p:nvPr>
          </p:nvSpPr>
          <p:spPr bwMode="auto">
            <a:xfrm>
              <a:off x="1860549" y="3205505"/>
              <a:ext cx="811213" cy="25558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Y-Criteria</a:t>
              </a:r>
            </a:p>
          </p:txBody>
        </p:sp>
        <p:sp>
          <p:nvSpPr>
            <p:cNvPr id="7" name="Rectangle 15">
              <a:extLst>
                <a:ext uri="{FF2B5EF4-FFF2-40B4-BE49-F238E27FC236}">
                  <a16:creationId xmlns:a16="http://schemas.microsoft.com/office/drawing/2014/main" id="{E63F2A20-3A17-48E6-97AF-20CACA12A1E4}"/>
                </a:ext>
              </a:extLst>
            </p:cNvPr>
            <p:cNvSpPr>
              <a:spLocks noChangeArrowheads="1"/>
            </p:cNvSpPr>
            <p:nvPr>
              <p:custDataLst>
                <p:tags r:id="rId2"/>
              </p:custDataLst>
            </p:nvPr>
          </p:nvSpPr>
          <p:spPr bwMode="auto">
            <a:xfrm>
              <a:off x="2776538" y="1722780"/>
              <a:ext cx="3598862" cy="3598863"/>
            </a:xfrm>
            <a:prstGeom prst="rect">
              <a:avLst/>
            </a:prstGeom>
            <a:solidFill>
              <a:srgbClr val="96968C">
                <a:lumMod val="20000"/>
                <a:lumOff val="80000"/>
              </a:srgbClr>
            </a:solidFill>
            <a:ln w="6350" algn="ctr">
              <a:solidFill>
                <a:srgbClr val="E4E7E7"/>
              </a:solidFill>
              <a:miter lim="800000"/>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5">
              <a:extLst>
                <a:ext uri="{FF2B5EF4-FFF2-40B4-BE49-F238E27FC236}">
                  <a16:creationId xmlns:a16="http://schemas.microsoft.com/office/drawing/2014/main" id="{F6DD8A3B-BA63-49AF-B11F-9DD2D1D91373}"/>
                </a:ext>
              </a:extLst>
            </p:cNvPr>
            <p:cNvSpPr>
              <a:spLocks/>
            </p:cNvSpPr>
            <p:nvPr>
              <p:custDataLst>
                <p:tags r:id="rId3"/>
              </p:custDataLst>
            </p:nvPr>
          </p:nvSpPr>
          <p:spPr bwMode="auto">
            <a:xfrm flipH="1" flipV="1">
              <a:off x="2776538" y="1964080"/>
              <a:ext cx="3597275" cy="3357563"/>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96968C">
                <a:lumMod val="40000"/>
                <a:lumOff val="60000"/>
              </a:srgbClr>
            </a:solidFill>
            <a:ln w="6350" cap="flat"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6">
              <a:extLst>
                <a:ext uri="{FF2B5EF4-FFF2-40B4-BE49-F238E27FC236}">
                  <a16:creationId xmlns:a16="http://schemas.microsoft.com/office/drawing/2014/main" id="{710F5698-9851-46EB-B59A-BEB99AFD0561}"/>
                </a:ext>
              </a:extLst>
            </p:cNvPr>
            <p:cNvSpPr>
              <a:spLocks/>
            </p:cNvSpPr>
            <p:nvPr>
              <p:custDataLst>
                <p:tags r:id="rId4"/>
              </p:custDataLst>
            </p:nvPr>
          </p:nvSpPr>
          <p:spPr bwMode="auto">
            <a:xfrm flipH="1" flipV="1">
              <a:off x="2776538" y="3103905"/>
              <a:ext cx="2400300" cy="2217738"/>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A100FF"/>
            </a:solidFill>
            <a:ln w="6350" cap="flat"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0" name="Freeform 7">
              <a:extLst>
                <a:ext uri="{FF2B5EF4-FFF2-40B4-BE49-F238E27FC236}">
                  <a16:creationId xmlns:a16="http://schemas.microsoft.com/office/drawing/2014/main" id="{BC2C9CD3-D11C-43E5-A18D-FBEE6CF7A155}"/>
                </a:ext>
              </a:extLst>
            </p:cNvPr>
            <p:cNvSpPr>
              <a:spLocks/>
            </p:cNvSpPr>
            <p:nvPr>
              <p:custDataLst>
                <p:tags r:id="rId5"/>
              </p:custDataLst>
            </p:nvPr>
          </p:nvSpPr>
          <p:spPr bwMode="auto">
            <a:xfrm flipH="1" flipV="1">
              <a:off x="2776538" y="4194518"/>
              <a:ext cx="1195387" cy="1127125"/>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accent3"/>
            </a:solidFill>
            <a:ln w="6350" cap="flat" cmpd="sng">
              <a:no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8">
              <a:extLst>
                <a:ext uri="{FF2B5EF4-FFF2-40B4-BE49-F238E27FC236}">
                  <a16:creationId xmlns:a16="http://schemas.microsoft.com/office/drawing/2014/main" id="{0C344A6A-E5AD-4769-A4DD-C15E12CCFB75}"/>
                </a:ext>
              </a:extLst>
            </p:cNvPr>
            <p:cNvSpPr txBox="1">
              <a:spLocks noChangeArrowheads="1"/>
            </p:cNvSpPr>
            <p:nvPr>
              <p:custDataLst>
                <p:tags r:id="rId6"/>
              </p:custDataLst>
            </p:nvPr>
          </p:nvSpPr>
          <p:spPr bwMode="auto">
            <a:xfrm>
              <a:off x="5381625" y="2213318"/>
              <a:ext cx="565150" cy="276225"/>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A100FF"/>
                  </a:solidFill>
                  <a:effectLst/>
                  <a:uLnTx/>
                  <a:uFillTx/>
                  <a:latin typeface="Graphik"/>
                  <a:ea typeface="+mn-ea"/>
                  <a:cs typeface="+mn-cs"/>
                </a:rPr>
                <a:t>Area 1</a:t>
              </a:r>
            </a:p>
          </p:txBody>
        </p:sp>
        <p:sp>
          <p:nvSpPr>
            <p:cNvPr id="12" name="Text Box 9">
              <a:extLst>
                <a:ext uri="{FF2B5EF4-FFF2-40B4-BE49-F238E27FC236}">
                  <a16:creationId xmlns:a16="http://schemas.microsoft.com/office/drawing/2014/main" id="{967EDC11-2412-42F9-B4CF-E14C4333D4C2}"/>
                </a:ext>
              </a:extLst>
            </p:cNvPr>
            <p:cNvSpPr txBox="1">
              <a:spLocks noChangeArrowheads="1"/>
            </p:cNvSpPr>
            <p:nvPr>
              <p:custDataLst>
                <p:tags r:id="rId7"/>
              </p:custDataLst>
            </p:nvPr>
          </p:nvSpPr>
          <p:spPr bwMode="auto">
            <a:xfrm>
              <a:off x="4575175" y="3056280"/>
              <a:ext cx="565150" cy="277813"/>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A100FF"/>
                  </a:solidFill>
                  <a:effectLst/>
                  <a:uLnTx/>
                  <a:uFillTx/>
                  <a:latin typeface="Graphik"/>
                  <a:ea typeface="+mn-ea"/>
                  <a:cs typeface="+mn-cs"/>
                </a:rPr>
                <a:t>Area 2</a:t>
              </a:r>
            </a:p>
          </p:txBody>
        </p:sp>
        <p:sp>
          <p:nvSpPr>
            <p:cNvPr id="13" name="Text Box 10">
              <a:extLst>
                <a:ext uri="{FF2B5EF4-FFF2-40B4-BE49-F238E27FC236}">
                  <a16:creationId xmlns:a16="http://schemas.microsoft.com/office/drawing/2014/main" id="{FCCCB310-227C-43AA-99B5-38E70F852EFE}"/>
                </a:ext>
              </a:extLst>
            </p:cNvPr>
            <p:cNvSpPr txBox="1">
              <a:spLocks noChangeArrowheads="1"/>
            </p:cNvSpPr>
            <p:nvPr>
              <p:custDataLst>
                <p:tags r:id="rId8"/>
              </p:custDataLst>
            </p:nvPr>
          </p:nvSpPr>
          <p:spPr bwMode="auto">
            <a:xfrm>
              <a:off x="3768725" y="3900830"/>
              <a:ext cx="565150" cy="277813"/>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Area 3</a:t>
              </a:r>
            </a:p>
          </p:txBody>
        </p:sp>
        <p:sp>
          <p:nvSpPr>
            <p:cNvPr id="14" name="Text Box 11">
              <a:extLst>
                <a:ext uri="{FF2B5EF4-FFF2-40B4-BE49-F238E27FC236}">
                  <a16:creationId xmlns:a16="http://schemas.microsoft.com/office/drawing/2014/main" id="{7A79A8FD-A6BF-405B-89C3-498F01317B34}"/>
                </a:ext>
              </a:extLst>
            </p:cNvPr>
            <p:cNvSpPr txBox="1">
              <a:spLocks noChangeArrowheads="1"/>
            </p:cNvSpPr>
            <p:nvPr>
              <p:custDataLst>
                <p:tags r:id="rId9"/>
              </p:custDataLst>
            </p:nvPr>
          </p:nvSpPr>
          <p:spPr bwMode="auto">
            <a:xfrm>
              <a:off x="2963863" y="4745380"/>
              <a:ext cx="565150" cy="277813"/>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Graphik"/>
                  <a:ea typeface="+mn-ea"/>
                  <a:cs typeface="+mn-cs"/>
                </a:rPr>
                <a:t>Area 4</a:t>
              </a:r>
            </a:p>
          </p:txBody>
        </p:sp>
        <p:sp>
          <p:nvSpPr>
            <p:cNvPr id="15" name="Line 12">
              <a:extLst>
                <a:ext uri="{FF2B5EF4-FFF2-40B4-BE49-F238E27FC236}">
                  <a16:creationId xmlns:a16="http://schemas.microsoft.com/office/drawing/2014/main" id="{5EDA36B9-C5AD-4FC4-A8EC-B09722CC5141}"/>
                </a:ext>
              </a:extLst>
            </p:cNvPr>
            <p:cNvSpPr>
              <a:spLocks noChangeShapeType="1"/>
            </p:cNvSpPr>
            <p:nvPr>
              <p:custDataLst>
                <p:tags r:id="rId10"/>
              </p:custDataLst>
            </p:nvPr>
          </p:nvSpPr>
          <p:spPr bwMode="auto">
            <a:xfrm flipV="1">
              <a:off x="2776538" y="1610067"/>
              <a:ext cx="0" cy="3711574"/>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6" name="Line 13">
              <a:extLst>
                <a:ext uri="{FF2B5EF4-FFF2-40B4-BE49-F238E27FC236}">
                  <a16:creationId xmlns:a16="http://schemas.microsoft.com/office/drawing/2014/main" id="{924990D8-C802-48D3-B2C9-9AF6232C880F}"/>
                </a:ext>
              </a:extLst>
            </p:cNvPr>
            <p:cNvSpPr>
              <a:spLocks noChangeShapeType="1"/>
            </p:cNvSpPr>
            <p:nvPr>
              <p:custDataLst>
                <p:tags r:id="rId11"/>
              </p:custDataLst>
            </p:nvPr>
          </p:nvSpPr>
          <p:spPr bwMode="auto">
            <a:xfrm rot="5400000" flipV="1">
              <a:off x="4628357" y="3469824"/>
              <a:ext cx="0" cy="3703637"/>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7" name="Text Box 14">
              <a:extLst>
                <a:ext uri="{FF2B5EF4-FFF2-40B4-BE49-F238E27FC236}">
                  <a16:creationId xmlns:a16="http://schemas.microsoft.com/office/drawing/2014/main" id="{07CDB06C-CAFE-4F49-8730-2526CB5B35A0}"/>
                </a:ext>
              </a:extLst>
            </p:cNvPr>
            <p:cNvSpPr txBox="1">
              <a:spLocks noChangeArrowheads="1"/>
            </p:cNvSpPr>
            <p:nvPr>
              <p:custDataLst>
                <p:tags r:id="rId12"/>
              </p:custDataLst>
            </p:nvPr>
          </p:nvSpPr>
          <p:spPr bwMode="auto">
            <a:xfrm>
              <a:off x="2790825" y="5321643"/>
              <a:ext cx="3608388" cy="40640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X-Criteria</a:t>
              </a:r>
            </a:p>
          </p:txBody>
        </p:sp>
      </p:grpSp>
      <p:sp>
        <p:nvSpPr>
          <p:cNvPr id="3" name="Rectangle 2">
            <a:hlinkClick r:id="rId15" action="ppaction://hlinksldjump"/>
            <a:extLst>
              <a:ext uri="{FF2B5EF4-FFF2-40B4-BE49-F238E27FC236}">
                <a16:creationId xmlns:a16="http://schemas.microsoft.com/office/drawing/2014/main" id="{D82FC674-980A-43AA-8D74-D8A9582B746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893131996"/>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Cost Map </a:t>
            </a:r>
            <a:br>
              <a:rPr lang="en-US" dirty="0"/>
            </a:br>
            <a:r>
              <a:rPr lang="en-US" dirty="0"/>
              <a:t>(Total Cost Structure of Company)</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6" name="Group 5">
            <a:extLst>
              <a:ext uri="{FF2B5EF4-FFF2-40B4-BE49-F238E27FC236}">
                <a16:creationId xmlns:a16="http://schemas.microsoft.com/office/drawing/2014/main" id="{B4CA79B2-C58F-420E-A072-B30EA57426A3}"/>
              </a:ext>
            </a:extLst>
          </p:cNvPr>
          <p:cNvGrpSpPr/>
          <p:nvPr/>
        </p:nvGrpSpPr>
        <p:grpSpPr>
          <a:xfrm>
            <a:off x="381000" y="1808814"/>
            <a:ext cx="5807075" cy="3692258"/>
            <a:chOff x="1655763" y="1637364"/>
            <a:chExt cx="5807075" cy="3692258"/>
          </a:xfrm>
        </p:grpSpPr>
        <p:sp>
          <p:nvSpPr>
            <p:cNvPr id="7" name="Textplatzhalter 15">
              <a:extLst>
                <a:ext uri="{FF2B5EF4-FFF2-40B4-BE49-F238E27FC236}">
                  <a16:creationId xmlns:a16="http://schemas.microsoft.com/office/drawing/2014/main" id="{BDF390A3-1BF5-4EB9-BCEE-31311340CDEE}"/>
                </a:ext>
              </a:extLst>
            </p:cNvPr>
            <p:cNvSpPr txBox="1">
              <a:spLocks/>
            </p:cNvSpPr>
            <p:nvPr/>
          </p:nvSpPr>
          <p:spPr bwMode="auto">
            <a:xfrm>
              <a:off x="1655763" y="1637364"/>
              <a:ext cx="5807075" cy="307777"/>
            </a:xfrm>
            <a:prstGeom prst="rect">
              <a:avLst/>
            </a:prstGeom>
          </p:spPr>
          <p:txBody>
            <a:bodyPr lIns="0" tIns="0" rIns="0" bIns="0"/>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marL="0" marR="0" lvl="0" indent="0" algn="l" defTabSz="1734634" rtl="0" eaLnBrk="1" fontAlgn="auto" latinLnBrk="0" hangingPunct="1">
                <a:lnSpc>
                  <a:spcPct val="90000"/>
                </a:lnSpc>
                <a:spcBef>
                  <a:spcPts val="800"/>
                </a:spcBef>
                <a:spcAft>
                  <a:spcPts val="0"/>
                </a:spcAft>
                <a:buClrTx/>
                <a:buSzTx/>
                <a:buFont typeface="Arial" charset="0"/>
                <a:buNone/>
                <a:tabLst/>
                <a:defRPr/>
              </a:pPr>
              <a:r>
                <a:rPr kumimoji="0" lang="de-DE" sz="1800" b="1" i="0" u="none" strike="noStrike" kern="1200" cap="none" spc="0" normalizeH="0" baseline="0" noProof="0" dirty="0">
                  <a:ln>
                    <a:noFill/>
                  </a:ln>
                  <a:solidFill>
                    <a:srgbClr val="000000"/>
                  </a:solidFill>
                  <a:effectLst/>
                  <a:uLnTx/>
                  <a:uFillTx/>
                  <a:latin typeface="Graphik Black"/>
                </a:rPr>
                <a:t>Total costs: $xym</a:t>
              </a:r>
            </a:p>
          </p:txBody>
        </p:sp>
        <p:grpSp>
          <p:nvGrpSpPr>
            <p:cNvPr id="8" name="Group 16">
              <a:extLst>
                <a:ext uri="{FF2B5EF4-FFF2-40B4-BE49-F238E27FC236}">
                  <a16:creationId xmlns:a16="http://schemas.microsoft.com/office/drawing/2014/main" id="{D20B8C03-DE02-49FB-BE19-EEB97CEA590A}"/>
                </a:ext>
              </a:extLst>
            </p:cNvPr>
            <p:cNvGrpSpPr>
              <a:grpSpLocks/>
            </p:cNvGrpSpPr>
            <p:nvPr/>
          </p:nvGrpSpPr>
          <p:grpSpPr bwMode="auto">
            <a:xfrm>
              <a:off x="1655763" y="1999047"/>
              <a:ext cx="5807075" cy="3330575"/>
              <a:chOff x="1058" y="1400"/>
              <a:chExt cx="3323" cy="1906"/>
            </a:xfrm>
          </p:grpSpPr>
          <p:sp>
            <p:nvSpPr>
              <p:cNvPr id="10" name="Rectangle 4">
                <a:extLst>
                  <a:ext uri="{FF2B5EF4-FFF2-40B4-BE49-F238E27FC236}">
                    <a16:creationId xmlns:a16="http://schemas.microsoft.com/office/drawing/2014/main" id="{DFFA874B-6BC0-4973-AD37-25DCE343B181}"/>
                  </a:ext>
                </a:extLst>
              </p:cNvPr>
              <p:cNvSpPr>
                <a:spLocks noChangeArrowheads="1"/>
              </p:cNvSpPr>
              <p:nvPr/>
            </p:nvSpPr>
            <p:spPr bwMode="auto">
              <a:xfrm>
                <a:off x="1058" y="1638"/>
                <a:ext cx="3323" cy="238"/>
              </a:xfrm>
              <a:prstGeom prst="rect">
                <a:avLst/>
              </a:prstGeom>
              <a:solidFill>
                <a:srgbClr val="E4E7E7"/>
              </a:solidFill>
              <a:ln w="6350">
                <a:solidFill>
                  <a:srgbClr val="FFFFFF"/>
                </a:solidFill>
                <a:miter lim="800000"/>
                <a:headEnd/>
                <a:tailEnd/>
              </a:ln>
              <a:effectLst/>
            </p:spPr>
            <p:txBody>
              <a:bodyPr wrap="none" lIns="72000" tIns="72000" rIns="72000" bIns="72000" anchor="ct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Finance &amp; Strategy $</a:t>
                </a:r>
                <a:r>
                  <a:rPr kumimoji="0" lang="en-US" sz="1400" b="0" i="0" u="none" strike="noStrike" kern="0" cap="none" spc="0" normalizeH="0" baseline="0" noProof="0" dirty="0" err="1">
                    <a:ln>
                      <a:noFill/>
                    </a:ln>
                    <a:solidFill>
                      <a:srgbClr val="000000"/>
                    </a:solidFill>
                    <a:effectLst/>
                    <a:uLnTx/>
                    <a:uFillTx/>
                    <a:latin typeface="Graphik"/>
                    <a:ea typeface="+mn-ea"/>
                    <a:cs typeface="+mn-cs"/>
                  </a:rPr>
                  <a:t>Xm</a:t>
                </a:r>
                <a:endParaRPr kumimoji="0" lang="en-US"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11" name="Rectangle 5">
                <a:extLst>
                  <a:ext uri="{FF2B5EF4-FFF2-40B4-BE49-F238E27FC236}">
                    <a16:creationId xmlns:a16="http://schemas.microsoft.com/office/drawing/2014/main" id="{CF9EDA42-8E28-411D-8B55-45DB4013B223}"/>
                  </a:ext>
                </a:extLst>
              </p:cNvPr>
              <p:cNvSpPr>
                <a:spLocks noChangeArrowheads="1"/>
              </p:cNvSpPr>
              <p:nvPr/>
            </p:nvSpPr>
            <p:spPr bwMode="auto">
              <a:xfrm>
                <a:off x="1058" y="1876"/>
                <a:ext cx="3323" cy="238"/>
              </a:xfrm>
              <a:prstGeom prst="rect">
                <a:avLst/>
              </a:prstGeom>
              <a:solidFill>
                <a:srgbClr val="E4E7E7"/>
              </a:solidFill>
              <a:ln w="6350">
                <a:solidFill>
                  <a:srgbClr val="FFFFFF"/>
                </a:solidFill>
                <a:miter lim="800000"/>
                <a:headEnd/>
                <a:tailEnd/>
              </a:ln>
              <a:effectLst/>
            </p:spPr>
            <p:txBody>
              <a:bodyPr wrap="none" lIns="72000" tIns="72000" rIns="72000" bIns="72000" anchor="ct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HR $Xm</a:t>
                </a:r>
              </a:p>
            </p:txBody>
          </p:sp>
          <p:sp>
            <p:nvSpPr>
              <p:cNvPr id="12" name="Rectangle 6">
                <a:extLst>
                  <a:ext uri="{FF2B5EF4-FFF2-40B4-BE49-F238E27FC236}">
                    <a16:creationId xmlns:a16="http://schemas.microsoft.com/office/drawing/2014/main" id="{3DC221CF-3AF5-4421-9745-B5AC7046E277}"/>
                  </a:ext>
                </a:extLst>
              </p:cNvPr>
              <p:cNvSpPr>
                <a:spLocks noChangeArrowheads="1"/>
              </p:cNvSpPr>
              <p:nvPr/>
            </p:nvSpPr>
            <p:spPr bwMode="auto">
              <a:xfrm>
                <a:off x="1058" y="2114"/>
                <a:ext cx="3323" cy="239"/>
              </a:xfrm>
              <a:prstGeom prst="rect">
                <a:avLst/>
              </a:prstGeom>
              <a:solidFill>
                <a:srgbClr val="E4E7E7"/>
              </a:solidFill>
              <a:ln w="6350">
                <a:solidFill>
                  <a:srgbClr val="FFFFFF"/>
                </a:solidFill>
                <a:miter lim="800000"/>
                <a:headEnd/>
                <a:tailEnd/>
              </a:ln>
              <a:effectLst/>
            </p:spPr>
            <p:txBody>
              <a:bodyPr wrap="none" lIns="72000" tIns="72000" rIns="72000" bIns="72000" anchor="ct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Administration $Xm</a:t>
                </a:r>
              </a:p>
            </p:txBody>
          </p:sp>
          <p:sp>
            <p:nvSpPr>
              <p:cNvPr id="13" name="Rectangle 7">
                <a:extLst>
                  <a:ext uri="{FF2B5EF4-FFF2-40B4-BE49-F238E27FC236}">
                    <a16:creationId xmlns:a16="http://schemas.microsoft.com/office/drawing/2014/main" id="{1B57C0D5-7D5D-4312-BAE3-288F4098E46F}"/>
                  </a:ext>
                </a:extLst>
              </p:cNvPr>
              <p:cNvSpPr>
                <a:spLocks noChangeArrowheads="1"/>
              </p:cNvSpPr>
              <p:nvPr/>
            </p:nvSpPr>
            <p:spPr bwMode="auto">
              <a:xfrm>
                <a:off x="1058" y="1400"/>
                <a:ext cx="3323" cy="238"/>
              </a:xfrm>
              <a:prstGeom prst="rect">
                <a:avLst/>
              </a:prstGeom>
              <a:solidFill>
                <a:srgbClr val="E4E7E7"/>
              </a:solidFill>
              <a:ln w="6350">
                <a:solidFill>
                  <a:srgbClr val="FFFFFF"/>
                </a:solidFill>
                <a:miter lim="800000"/>
                <a:headEnd/>
                <a:tailEnd/>
              </a:ln>
              <a:effectLst/>
            </p:spPr>
            <p:txBody>
              <a:bodyPr wrap="none" lIns="72000" tIns="72000" rIns="72000" bIns="72000" anchor="ct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R&amp;D $</a:t>
                </a:r>
                <a:r>
                  <a:rPr kumimoji="0" lang="en-US" sz="1400" b="0" i="0" u="none" strike="noStrike" kern="0" cap="none" spc="0" normalizeH="0" baseline="0" noProof="0" dirty="0" err="1">
                    <a:ln>
                      <a:noFill/>
                    </a:ln>
                    <a:solidFill>
                      <a:srgbClr val="000000"/>
                    </a:solidFill>
                    <a:effectLst/>
                    <a:uLnTx/>
                    <a:uFillTx/>
                    <a:latin typeface="Graphik"/>
                    <a:ea typeface="+mn-ea"/>
                    <a:cs typeface="+mn-cs"/>
                  </a:rPr>
                  <a:t>Xm</a:t>
                </a:r>
                <a:endParaRPr kumimoji="0" lang="en-US"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14" name="Rectangle 8">
                <a:extLst>
                  <a:ext uri="{FF2B5EF4-FFF2-40B4-BE49-F238E27FC236}">
                    <a16:creationId xmlns:a16="http://schemas.microsoft.com/office/drawing/2014/main" id="{6E781E23-54C3-4ED4-906A-E26AF98CE410}"/>
                  </a:ext>
                </a:extLst>
              </p:cNvPr>
              <p:cNvSpPr>
                <a:spLocks noChangeArrowheads="1"/>
              </p:cNvSpPr>
              <p:nvPr/>
            </p:nvSpPr>
            <p:spPr bwMode="auto">
              <a:xfrm>
                <a:off x="1058" y="2353"/>
                <a:ext cx="830" cy="953"/>
              </a:xfrm>
              <a:prstGeom prst="rect">
                <a:avLst/>
              </a:prstGeom>
              <a:solidFill>
                <a:srgbClr val="E4E7E7"/>
              </a:solidFill>
              <a:ln w="6350">
                <a:solidFill>
                  <a:srgbClr val="FFFFFF"/>
                </a:solidFill>
                <a:miter lim="800000"/>
                <a:headEnd/>
                <a:tailEnd/>
              </a:ln>
            </p:spPr>
            <p:txBody>
              <a:bodyPr lIns="72000" tIns="72000" rIns="72000" bIns="7200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Procurement</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a:t>
                </a:r>
                <a:r>
                  <a:rPr kumimoji="0" lang="en-US" sz="1400" b="0" i="0" u="none" strike="noStrike" kern="0" cap="none" spc="0" normalizeH="0" baseline="0" noProof="0" dirty="0" err="1">
                    <a:ln>
                      <a:noFill/>
                    </a:ln>
                    <a:solidFill>
                      <a:srgbClr val="000000"/>
                    </a:solidFill>
                    <a:effectLst/>
                    <a:uLnTx/>
                    <a:uFillTx/>
                    <a:latin typeface="Graphik"/>
                    <a:ea typeface="+mn-ea"/>
                    <a:cs typeface="+mn-cs"/>
                  </a:rPr>
                  <a:t>Xm</a:t>
                </a:r>
                <a:endParaRPr kumimoji="0" lang="en-US"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15" name="Rectangle 9">
                <a:extLst>
                  <a:ext uri="{FF2B5EF4-FFF2-40B4-BE49-F238E27FC236}">
                    <a16:creationId xmlns:a16="http://schemas.microsoft.com/office/drawing/2014/main" id="{EC1F6F8E-7A68-4339-85D8-BE674C353EF9}"/>
                  </a:ext>
                </a:extLst>
              </p:cNvPr>
              <p:cNvSpPr>
                <a:spLocks noChangeArrowheads="1"/>
              </p:cNvSpPr>
              <p:nvPr/>
            </p:nvSpPr>
            <p:spPr bwMode="auto">
              <a:xfrm>
                <a:off x="1888" y="2353"/>
                <a:ext cx="831" cy="953"/>
              </a:xfrm>
              <a:prstGeom prst="rect">
                <a:avLst/>
              </a:prstGeom>
              <a:solidFill>
                <a:srgbClr val="E4E7E7"/>
              </a:solidFill>
              <a:ln w="6350">
                <a:solidFill>
                  <a:srgbClr val="FFFFFF"/>
                </a:solidFill>
                <a:miter lim="800000"/>
                <a:headEnd/>
                <a:tailEnd/>
              </a:ln>
            </p:spPr>
            <p:txBody>
              <a:bodyPr lIns="72000" tIns="72000" rIns="72000" bIns="7200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Manufacturing</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Xm</a:t>
                </a:r>
              </a:p>
            </p:txBody>
          </p:sp>
          <p:sp>
            <p:nvSpPr>
              <p:cNvPr id="16" name="Rectangle 10">
                <a:extLst>
                  <a:ext uri="{FF2B5EF4-FFF2-40B4-BE49-F238E27FC236}">
                    <a16:creationId xmlns:a16="http://schemas.microsoft.com/office/drawing/2014/main" id="{5D2E757B-08CF-49E2-877B-B31BDE5BB1C9}"/>
                  </a:ext>
                </a:extLst>
              </p:cNvPr>
              <p:cNvSpPr>
                <a:spLocks noChangeArrowheads="1"/>
              </p:cNvSpPr>
              <p:nvPr/>
            </p:nvSpPr>
            <p:spPr bwMode="auto">
              <a:xfrm>
                <a:off x="2719" y="2353"/>
                <a:ext cx="830" cy="953"/>
              </a:xfrm>
              <a:prstGeom prst="rect">
                <a:avLst/>
              </a:prstGeom>
              <a:solidFill>
                <a:srgbClr val="E4E7E7"/>
              </a:solidFill>
              <a:ln w="6350">
                <a:solidFill>
                  <a:srgbClr val="FFFFFF"/>
                </a:solidFill>
                <a:miter lim="800000"/>
                <a:headEnd/>
                <a:tailEnd/>
              </a:ln>
            </p:spPr>
            <p:txBody>
              <a:bodyPr lIns="72000" tIns="72000" rIns="72000" bIns="7200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Sales</a:t>
                </a:r>
              </a:p>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Xm</a:t>
                </a:r>
              </a:p>
            </p:txBody>
          </p:sp>
          <p:sp>
            <p:nvSpPr>
              <p:cNvPr id="17" name="Rectangle 11">
                <a:extLst>
                  <a:ext uri="{FF2B5EF4-FFF2-40B4-BE49-F238E27FC236}">
                    <a16:creationId xmlns:a16="http://schemas.microsoft.com/office/drawing/2014/main" id="{8353AEAB-FD28-42BA-8C3C-3D017308699E}"/>
                  </a:ext>
                </a:extLst>
              </p:cNvPr>
              <p:cNvSpPr>
                <a:spLocks noChangeArrowheads="1"/>
              </p:cNvSpPr>
              <p:nvPr/>
            </p:nvSpPr>
            <p:spPr bwMode="auto">
              <a:xfrm>
                <a:off x="3546" y="2353"/>
                <a:ext cx="834" cy="953"/>
              </a:xfrm>
              <a:prstGeom prst="rect">
                <a:avLst/>
              </a:prstGeom>
              <a:solidFill>
                <a:srgbClr val="E4E7E7"/>
              </a:solidFill>
              <a:ln w="6350">
                <a:solidFill>
                  <a:srgbClr val="FFFFFF"/>
                </a:solidFill>
                <a:miter lim="800000"/>
                <a:headEnd/>
                <a:tailEnd/>
              </a:ln>
            </p:spPr>
            <p:txBody>
              <a:bodyPr lIns="72000" tIns="72000" rIns="72000" bIns="7200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Customer</a:t>
                </a:r>
                <a:br>
                  <a:rPr kumimoji="0" lang="en-US" sz="1400" b="0" i="0" u="none" strike="noStrike" kern="0" cap="none" spc="0" normalizeH="0" baseline="0" noProof="0">
                    <a:ln>
                      <a:noFill/>
                    </a:ln>
                    <a:solidFill>
                      <a:srgbClr val="000000"/>
                    </a:solidFill>
                    <a:effectLst/>
                    <a:uLnTx/>
                    <a:uFillTx/>
                    <a:latin typeface="Graphik"/>
                    <a:ea typeface="+mn-ea"/>
                    <a:cs typeface="+mn-cs"/>
                  </a:rPr>
                </a:br>
                <a:r>
                  <a:rPr kumimoji="0" lang="en-US" sz="1400" b="0" i="0" u="none" strike="noStrike" kern="0" cap="none" spc="0" normalizeH="0" baseline="0" noProof="0">
                    <a:ln>
                      <a:noFill/>
                    </a:ln>
                    <a:solidFill>
                      <a:srgbClr val="000000"/>
                    </a:solidFill>
                    <a:effectLst/>
                    <a:uLnTx/>
                    <a:uFillTx/>
                    <a:latin typeface="Graphik"/>
                    <a:ea typeface="+mn-ea"/>
                    <a:cs typeface="+mn-cs"/>
                  </a:rPr>
                  <a:t>Service</a:t>
                </a:r>
                <a:br>
                  <a:rPr kumimoji="0" lang="en-US" sz="1400" b="0" i="0" u="none" strike="noStrike" kern="0" cap="none" spc="0" normalizeH="0" baseline="0" noProof="0">
                    <a:ln>
                      <a:noFill/>
                    </a:ln>
                    <a:solidFill>
                      <a:srgbClr val="000000"/>
                    </a:solidFill>
                    <a:effectLst/>
                    <a:uLnTx/>
                    <a:uFillTx/>
                    <a:latin typeface="Graphik"/>
                    <a:ea typeface="+mn-ea"/>
                    <a:cs typeface="+mn-cs"/>
                  </a:rPr>
                </a:br>
                <a:r>
                  <a:rPr kumimoji="0" lang="en-US" sz="1400" b="0" i="0" u="none" strike="noStrike" kern="0" cap="none" spc="0" normalizeH="0" baseline="0" noProof="0">
                    <a:ln>
                      <a:noFill/>
                    </a:ln>
                    <a:solidFill>
                      <a:srgbClr val="000000"/>
                    </a:solidFill>
                    <a:effectLst/>
                    <a:uLnTx/>
                    <a:uFillTx/>
                    <a:latin typeface="Graphik"/>
                    <a:ea typeface="+mn-ea"/>
                    <a:cs typeface="+mn-cs"/>
                  </a:rPr>
                  <a:t>$Xm</a:t>
                </a:r>
              </a:p>
            </p:txBody>
          </p:sp>
        </p:grpSp>
        <p:cxnSp>
          <p:nvCxnSpPr>
            <p:cNvPr id="9" name="Straight Connector 8">
              <a:extLst>
                <a:ext uri="{FF2B5EF4-FFF2-40B4-BE49-F238E27FC236}">
                  <a16:creationId xmlns:a16="http://schemas.microsoft.com/office/drawing/2014/main" id="{8974BCE3-C021-4857-8F4B-B5045AFF6C18}"/>
                </a:ext>
              </a:extLst>
            </p:cNvPr>
            <p:cNvCxnSpPr/>
            <p:nvPr/>
          </p:nvCxnSpPr>
          <p:spPr>
            <a:xfrm>
              <a:off x="1655763" y="1913322"/>
              <a:ext cx="5807075" cy="0"/>
            </a:xfrm>
            <a:prstGeom prst="line">
              <a:avLst/>
            </a:prstGeom>
            <a:noFill/>
            <a:ln w="25400" cap="flat" cmpd="sng" algn="ctr">
              <a:solidFill>
                <a:srgbClr val="A100FF">
                  <a:shade val="95000"/>
                  <a:satMod val="105000"/>
                </a:srgbClr>
              </a:solidFill>
              <a:prstDash val="solid"/>
            </a:ln>
            <a:effectLst/>
          </p:spPr>
        </p:cxnSp>
      </p:grpSp>
      <p:sp>
        <p:nvSpPr>
          <p:cNvPr id="3" name="Rectangle 2">
            <a:hlinkClick r:id="rId3" action="ppaction://hlinksldjump"/>
            <a:extLst>
              <a:ext uri="{FF2B5EF4-FFF2-40B4-BE49-F238E27FC236}">
                <a16:creationId xmlns:a16="http://schemas.microsoft.com/office/drawing/2014/main" id="{E1D519B5-E53D-4A76-9727-501A8DF0F05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251471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6BBEC92-F27C-CB4C-8E45-0FCA1F3980DE}"/>
              </a:ext>
            </a:extLst>
          </p:cNvPr>
          <p:cNvSpPr>
            <a:spLocks noGrp="1"/>
          </p:cNvSpPr>
          <p:nvPr>
            <p:ph type="title"/>
          </p:nvPr>
        </p:nvSpPr>
        <p:spPr/>
        <p:txBody>
          <a:bodyPr/>
          <a:lstStyle/>
          <a:p>
            <a:endParaRPr lang="en-US"/>
          </a:p>
        </p:txBody>
      </p:sp>
      <p:sp>
        <p:nvSpPr>
          <p:cNvPr id="38" name="Picture Placeholder 37">
            <a:extLst>
              <a:ext uri="{FF2B5EF4-FFF2-40B4-BE49-F238E27FC236}">
                <a16:creationId xmlns:a16="http://schemas.microsoft.com/office/drawing/2014/main" id="{99E6EDA2-A722-524A-AFAE-017726DEF010}"/>
              </a:ext>
            </a:extLst>
          </p:cNvPr>
          <p:cNvSpPr>
            <a:spLocks noGrp="1"/>
          </p:cNvSpPr>
          <p:nvPr>
            <p:ph type="pic" sz="quarter" idx="14"/>
          </p:nvPr>
        </p:nvSpPr>
        <p:spPr/>
      </p:sp>
      <p:sp>
        <p:nvSpPr>
          <p:cNvPr id="39" name="Text Placeholder 38">
            <a:extLst>
              <a:ext uri="{FF2B5EF4-FFF2-40B4-BE49-F238E27FC236}">
                <a16:creationId xmlns:a16="http://schemas.microsoft.com/office/drawing/2014/main" id="{74ADB3A9-54C2-684C-8E41-4756C8D1CE93}"/>
              </a:ext>
            </a:extLst>
          </p:cNvPr>
          <p:cNvSpPr>
            <a:spLocks noGrp="1"/>
          </p:cNvSpPr>
          <p:nvPr>
            <p:ph type="body" sz="quarter" idx="19"/>
          </p:nvPr>
        </p:nvSpPr>
        <p:spPr/>
        <p:txBody>
          <a:bodyPr/>
          <a:lstStyle/>
          <a:p>
            <a:endParaRPr lang="en-US"/>
          </a:p>
        </p:txBody>
      </p:sp>
      <p:sp>
        <p:nvSpPr>
          <p:cNvPr id="40" name="Text Placeholder 39">
            <a:extLst>
              <a:ext uri="{FF2B5EF4-FFF2-40B4-BE49-F238E27FC236}">
                <a16:creationId xmlns:a16="http://schemas.microsoft.com/office/drawing/2014/main" id="{D1CAC8D6-FD9B-2846-A0FB-698E4885D60D}"/>
              </a:ext>
            </a:extLst>
          </p:cNvPr>
          <p:cNvSpPr>
            <a:spLocks noGrp="1"/>
          </p:cNvSpPr>
          <p:nvPr>
            <p:ph type="body" sz="quarter" idx="20"/>
          </p:nvPr>
        </p:nvSpPr>
        <p:spPr/>
        <p:txBody>
          <a:bodyPr/>
          <a:lstStyle/>
          <a:p>
            <a:endParaRPr lang="en-US"/>
          </a:p>
        </p:txBody>
      </p:sp>
      <p:sp>
        <p:nvSpPr>
          <p:cNvPr id="41" name="Text Placeholder 40">
            <a:extLst>
              <a:ext uri="{FF2B5EF4-FFF2-40B4-BE49-F238E27FC236}">
                <a16:creationId xmlns:a16="http://schemas.microsoft.com/office/drawing/2014/main" id="{00B3779A-ADC4-5144-B71A-73D58EA32BF5}"/>
              </a:ext>
            </a:extLst>
          </p:cNvPr>
          <p:cNvSpPr>
            <a:spLocks noGrp="1"/>
          </p:cNvSpPr>
          <p:nvPr>
            <p:ph type="body" sz="quarter" idx="21"/>
          </p:nvPr>
        </p:nvSpPr>
        <p:spPr/>
        <p:txBody>
          <a:bodyPr/>
          <a:lstStyle/>
          <a:p>
            <a:endParaRPr lang="en-US"/>
          </a:p>
        </p:txBody>
      </p:sp>
      <p:sp>
        <p:nvSpPr>
          <p:cNvPr id="42" name="Text Placeholder 41">
            <a:extLst>
              <a:ext uri="{FF2B5EF4-FFF2-40B4-BE49-F238E27FC236}">
                <a16:creationId xmlns:a16="http://schemas.microsoft.com/office/drawing/2014/main" id="{D7B45758-5BBF-A24F-8EAC-58E923F85E53}"/>
              </a:ext>
            </a:extLst>
          </p:cNvPr>
          <p:cNvSpPr>
            <a:spLocks noGrp="1"/>
          </p:cNvSpPr>
          <p:nvPr>
            <p:ph type="body" sz="quarter" idx="22"/>
          </p:nvPr>
        </p:nvSpPr>
        <p:spPr/>
        <p:txBody>
          <a:bodyPr/>
          <a:lstStyle/>
          <a:p>
            <a:endParaRPr lang="en-US"/>
          </a:p>
        </p:txBody>
      </p:sp>
      <p:sp>
        <p:nvSpPr>
          <p:cNvPr id="43" name="Text Placeholder 42">
            <a:extLst>
              <a:ext uri="{FF2B5EF4-FFF2-40B4-BE49-F238E27FC236}">
                <a16:creationId xmlns:a16="http://schemas.microsoft.com/office/drawing/2014/main" id="{7037978B-CC23-F843-90FE-89CB033349F5}"/>
              </a:ext>
            </a:extLst>
          </p:cNvPr>
          <p:cNvSpPr>
            <a:spLocks noGrp="1"/>
          </p:cNvSpPr>
          <p:nvPr>
            <p:ph type="body" sz="quarter" idx="23"/>
          </p:nvPr>
        </p:nvSpPr>
        <p:spPr/>
        <p:txBody>
          <a:bodyPr/>
          <a:lstStyle/>
          <a:p>
            <a:endParaRPr lang="en-US"/>
          </a:p>
        </p:txBody>
      </p:sp>
      <p:sp>
        <p:nvSpPr>
          <p:cNvPr id="44" name="Picture Placeholder 43">
            <a:extLst>
              <a:ext uri="{FF2B5EF4-FFF2-40B4-BE49-F238E27FC236}">
                <a16:creationId xmlns:a16="http://schemas.microsoft.com/office/drawing/2014/main" id="{3850671A-7F7D-5B47-8839-BD84295CD935}"/>
              </a:ext>
            </a:extLst>
          </p:cNvPr>
          <p:cNvSpPr>
            <a:spLocks noGrp="1"/>
          </p:cNvSpPr>
          <p:nvPr>
            <p:ph type="pic" sz="quarter" idx="24"/>
          </p:nvPr>
        </p:nvSpPr>
        <p:spPr/>
      </p:sp>
      <p:sp>
        <p:nvSpPr>
          <p:cNvPr id="45" name="Picture Placeholder 44">
            <a:extLst>
              <a:ext uri="{FF2B5EF4-FFF2-40B4-BE49-F238E27FC236}">
                <a16:creationId xmlns:a16="http://schemas.microsoft.com/office/drawing/2014/main" id="{452364C7-C31A-494C-BA85-1BA95C4D4670}"/>
              </a:ext>
            </a:extLst>
          </p:cNvPr>
          <p:cNvSpPr>
            <a:spLocks noGrp="1"/>
          </p:cNvSpPr>
          <p:nvPr>
            <p:ph type="pic" sz="quarter" idx="25"/>
          </p:nvPr>
        </p:nvSpPr>
        <p:spPr/>
      </p:sp>
      <p:sp>
        <p:nvSpPr>
          <p:cNvPr id="46" name="Picture Placeholder 45">
            <a:extLst>
              <a:ext uri="{FF2B5EF4-FFF2-40B4-BE49-F238E27FC236}">
                <a16:creationId xmlns:a16="http://schemas.microsoft.com/office/drawing/2014/main" id="{38BAC476-EC07-1849-872A-5307A03C31B4}"/>
              </a:ext>
            </a:extLst>
          </p:cNvPr>
          <p:cNvSpPr>
            <a:spLocks noGrp="1"/>
          </p:cNvSpPr>
          <p:nvPr>
            <p:ph type="pic" sz="quarter" idx="26"/>
          </p:nvPr>
        </p:nvSpPr>
        <p:spPr/>
      </p:sp>
      <p:sp>
        <p:nvSpPr>
          <p:cNvPr id="47" name="Picture Placeholder 46">
            <a:extLst>
              <a:ext uri="{FF2B5EF4-FFF2-40B4-BE49-F238E27FC236}">
                <a16:creationId xmlns:a16="http://schemas.microsoft.com/office/drawing/2014/main" id="{F735C52C-C696-2649-BB49-E64A42C686C7}"/>
              </a:ext>
            </a:extLst>
          </p:cNvPr>
          <p:cNvSpPr>
            <a:spLocks noGrp="1"/>
          </p:cNvSpPr>
          <p:nvPr>
            <p:ph type="pic" sz="quarter" idx="27"/>
          </p:nvPr>
        </p:nvSpPr>
        <p:spPr/>
      </p:sp>
    </p:spTree>
    <p:extLst>
      <p:ext uri="{BB962C8B-B14F-4D97-AF65-F5344CB8AC3E}">
        <p14:creationId xmlns:p14="http://schemas.microsoft.com/office/powerpoint/2010/main" val="1671372882"/>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Target Market Comparison</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3">
            <a:extLst>
              <a:ext uri="{FF2B5EF4-FFF2-40B4-BE49-F238E27FC236}">
                <a16:creationId xmlns:a16="http://schemas.microsoft.com/office/drawing/2014/main" id="{6D6F6B5B-BCF6-4A5A-8D92-78100EBBD739}"/>
              </a:ext>
            </a:extLst>
          </p:cNvPr>
          <p:cNvGrpSpPr>
            <a:grpSpLocks/>
          </p:cNvGrpSpPr>
          <p:nvPr/>
        </p:nvGrpSpPr>
        <p:grpSpPr bwMode="auto">
          <a:xfrm>
            <a:off x="3411538" y="1990328"/>
            <a:ext cx="4899025" cy="2962275"/>
            <a:chOff x="1451" y="1446"/>
            <a:chExt cx="3343" cy="1866"/>
          </a:xfrm>
        </p:grpSpPr>
        <p:sp>
          <p:nvSpPr>
            <p:cNvPr id="6" name="AutoShape 4">
              <a:extLst>
                <a:ext uri="{FF2B5EF4-FFF2-40B4-BE49-F238E27FC236}">
                  <a16:creationId xmlns:a16="http://schemas.microsoft.com/office/drawing/2014/main" id="{F96F2C94-4F98-49C6-8829-E96B50B667E5}"/>
                </a:ext>
              </a:extLst>
            </p:cNvPr>
            <p:cNvSpPr>
              <a:spLocks noChangeArrowheads="1"/>
            </p:cNvSpPr>
            <p:nvPr/>
          </p:nvSpPr>
          <p:spPr bwMode="auto">
            <a:xfrm>
              <a:off x="3393" y="1844"/>
              <a:ext cx="788" cy="892"/>
            </a:xfrm>
            <a:prstGeom prst="triangle">
              <a:avLst>
                <a:gd name="adj" fmla="val 50000"/>
              </a:avLst>
            </a:prstGeom>
            <a:solidFill>
              <a:srgbClr val="E4E7E7"/>
            </a:solidFill>
            <a:ln w="6350">
              <a:noFill/>
              <a:miter lim="800000"/>
              <a:headEnd/>
              <a:tailEnd/>
            </a:ln>
            <a:effectLst/>
          </p:spPr>
          <p:txBody>
            <a:bodyPr wrap="none"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AutoShape 5">
              <a:extLst>
                <a:ext uri="{FF2B5EF4-FFF2-40B4-BE49-F238E27FC236}">
                  <a16:creationId xmlns:a16="http://schemas.microsoft.com/office/drawing/2014/main" id="{26710E41-8CD5-4805-993C-DC5818DA647C}"/>
                </a:ext>
              </a:extLst>
            </p:cNvPr>
            <p:cNvSpPr>
              <a:spLocks noChangeArrowheads="1"/>
            </p:cNvSpPr>
            <p:nvPr/>
          </p:nvSpPr>
          <p:spPr bwMode="auto">
            <a:xfrm>
              <a:off x="1451" y="1844"/>
              <a:ext cx="1285" cy="1468"/>
            </a:xfrm>
            <a:prstGeom prst="triangle">
              <a:avLst>
                <a:gd name="adj" fmla="val 50000"/>
              </a:avLst>
            </a:prstGeom>
            <a:solidFill>
              <a:srgbClr val="E4E7E7"/>
            </a:solidFill>
            <a:ln w="6350">
              <a:noFill/>
              <a:miter lim="800000"/>
              <a:headEnd/>
              <a:tailEnd/>
            </a:ln>
            <a:effectLst/>
          </p:spPr>
          <p:txBody>
            <a:bodyPr wrap="none"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6">
              <a:extLst>
                <a:ext uri="{FF2B5EF4-FFF2-40B4-BE49-F238E27FC236}">
                  <a16:creationId xmlns:a16="http://schemas.microsoft.com/office/drawing/2014/main" id="{0560BF26-B850-41C9-B059-8F63F4544138}"/>
                </a:ext>
              </a:extLst>
            </p:cNvPr>
            <p:cNvSpPr>
              <a:spLocks/>
            </p:cNvSpPr>
            <p:nvPr/>
          </p:nvSpPr>
          <p:spPr bwMode="auto">
            <a:xfrm>
              <a:off x="1827" y="1844"/>
              <a:ext cx="532" cy="598"/>
            </a:xfrm>
            <a:custGeom>
              <a:avLst/>
              <a:gdLst/>
              <a:ahLst/>
              <a:cxnLst>
                <a:cxn ang="0">
                  <a:pos x="358" y="0"/>
                </a:cxn>
                <a:cxn ang="0">
                  <a:pos x="0" y="620"/>
                </a:cxn>
                <a:cxn ang="0">
                  <a:pos x="717" y="620"/>
                </a:cxn>
                <a:cxn ang="0">
                  <a:pos x="358" y="0"/>
                </a:cxn>
              </a:cxnLst>
              <a:rect l="0" t="0" r="r" b="b"/>
              <a:pathLst>
                <a:path w="717" h="620">
                  <a:moveTo>
                    <a:pt x="358" y="0"/>
                  </a:moveTo>
                  <a:lnTo>
                    <a:pt x="0" y="620"/>
                  </a:lnTo>
                  <a:lnTo>
                    <a:pt x="717" y="620"/>
                  </a:lnTo>
                  <a:lnTo>
                    <a:pt x="358" y="0"/>
                  </a:lnTo>
                  <a:close/>
                </a:path>
              </a:pathLst>
            </a:custGeom>
            <a:solidFill>
              <a:srgbClr val="A100FF"/>
            </a:solidFill>
            <a:ln w="6350" cmpd="sng">
              <a:noFill/>
              <a:round/>
              <a:headEnd/>
              <a:tailEnd/>
            </a:ln>
            <a:effectLst/>
          </p:spPr>
          <p:txBody>
            <a:bodyPr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7">
              <a:extLst>
                <a:ext uri="{FF2B5EF4-FFF2-40B4-BE49-F238E27FC236}">
                  <a16:creationId xmlns:a16="http://schemas.microsoft.com/office/drawing/2014/main" id="{84462BB7-9EA5-4ED6-8298-44C7F6916EFF}"/>
                </a:ext>
              </a:extLst>
            </p:cNvPr>
            <p:cNvSpPr>
              <a:spLocks/>
            </p:cNvSpPr>
            <p:nvPr/>
          </p:nvSpPr>
          <p:spPr bwMode="auto">
            <a:xfrm>
              <a:off x="3521" y="1844"/>
              <a:ext cx="532" cy="598"/>
            </a:xfrm>
            <a:custGeom>
              <a:avLst/>
              <a:gdLst/>
              <a:ahLst/>
              <a:cxnLst>
                <a:cxn ang="0">
                  <a:pos x="358" y="0"/>
                </a:cxn>
                <a:cxn ang="0">
                  <a:pos x="0" y="620"/>
                </a:cxn>
                <a:cxn ang="0">
                  <a:pos x="717" y="620"/>
                </a:cxn>
                <a:cxn ang="0">
                  <a:pos x="358" y="0"/>
                </a:cxn>
              </a:cxnLst>
              <a:rect l="0" t="0" r="r" b="b"/>
              <a:pathLst>
                <a:path w="717" h="620">
                  <a:moveTo>
                    <a:pt x="358" y="0"/>
                  </a:moveTo>
                  <a:lnTo>
                    <a:pt x="0" y="620"/>
                  </a:lnTo>
                  <a:lnTo>
                    <a:pt x="717" y="620"/>
                  </a:lnTo>
                  <a:lnTo>
                    <a:pt x="358" y="0"/>
                  </a:lnTo>
                  <a:close/>
                </a:path>
              </a:pathLst>
            </a:custGeom>
            <a:solidFill>
              <a:srgbClr val="A100FF"/>
            </a:solidFill>
            <a:ln w="6350" cmpd="sng">
              <a:noFill/>
              <a:round/>
              <a:headEnd/>
              <a:tailEnd/>
            </a:ln>
            <a:effectLst/>
          </p:spPr>
          <p:txBody>
            <a:bodyPr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0" name="Text Box 8">
              <a:extLst>
                <a:ext uri="{FF2B5EF4-FFF2-40B4-BE49-F238E27FC236}">
                  <a16:creationId xmlns:a16="http://schemas.microsoft.com/office/drawing/2014/main" id="{EC3C8C29-CCEC-45CF-9A36-9B9CBB8E442C}"/>
                </a:ext>
              </a:extLst>
            </p:cNvPr>
            <p:cNvSpPr txBox="1">
              <a:spLocks noChangeArrowheads="1"/>
            </p:cNvSpPr>
            <p:nvPr/>
          </p:nvSpPr>
          <p:spPr bwMode="auto">
            <a:xfrm>
              <a:off x="2359" y="2064"/>
              <a:ext cx="741" cy="454"/>
            </a:xfrm>
            <a:prstGeom prst="rect">
              <a:avLst/>
            </a:prstGeom>
            <a:noFill/>
            <a:ln w="6350">
              <a:noFill/>
              <a:miter lim="800000"/>
              <a:headEnd/>
              <a:tailEnd/>
            </a:ln>
            <a:effectLst/>
          </p:spPr>
          <p:txBody>
            <a:bodyPr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arget segment</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a:t>
              </a:r>
              <a:r>
                <a:rPr kumimoji="0" lang="en-US" sz="1400" b="0" i="0" u="none" strike="noStrike" kern="0" cap="none" spc="0" normalizeH="0" baseline="0" noProof="0" dirty="0" err="1">
                  <a:ln>
                    <a:noFill/>
                  </a:ln>
                  <a:solidFill>
                    <a:srgbClr val="000000"/>
                  </a:solidFill>
                  <a:effectLst/>
                  <a:uLnTx/>
                  <a:uFillTx/>
                  <a:latin typeface="Graphik"/>
                  <a:ea typeface="+mn-ea"/>
                  <a:cs typeface="+mn-cs"/>
                </a:rPr>
                <a:t>Xm</a:t>
              </a:r>
              <a:r>
                <a:rPr kumimoji="0" lang="en-US" sz="1400" b="0" i="0" u="none" strike="noStrike" kern="0" cap="none" spc="0" normalizeH="0" baseline="0" noProof="0" dirty="0">
                  <a:ln>
                    <a:noFill/>
                  </a:ln>
                  <a:solidFill>
                    <a:srgbClr val="000000"/>
                  </a:solidFill>
                  <a:effectLst/>
                  <a:uLnTx/>
                  <a:uFillTx/>
                  <a:latin typeface="Graphik"/>
                  <a:ea typeface="+mn-ea"/>
                  <a:cs typeface="+mn-cs"/>
                </a:rPr>
                <a:t> (x%)</a:t>
              </a:r>
            </a:p>
          </p:txBody>
        </p:sp>
        <p:sp>
          <p:nvSpPr>
            <p:cNvPr id="11" name="Text Box 9">
              <a:extLst>
                <a:ext uri="{FF2B5EF4-FFF2-40B4-BE49-F238E27FC236}">
                  <a16:creationId xmlns:a16="http://schemas.microsoft.com/office/drawing/2014/main" id="{45428AE5-0084-48EF-94A9-45024AD11898}"/>
                </a:ext>
              </a:extLst>
            </p:cNvPr>
            <p:cNvSpPr txBox="1">
              <a:spLocks noChangeArrowheads="1"/>
            </p:cNvSpPr>
            <p:nvPr/>
          </p:nvSpPr>
          <p:spPr bwMode="auto">
            <a:xfrm>
              <a:off x="1569" y="1446"/>
              <a:ext cx="1048" cy="330"/>
            </a:xfrm>
            <a:prstGeom prst="rect">
              <a:avLst/>
            </a:prstGeom>
            <a:noFill/>
            <a:ln w="6350">
              <a:noFill/>
              <a:miter lim="800000"/>
              <a:headEnd/>
              <a:tailEnd/>
            </a:ln>
            <a:effectLst/>
          </p:spPr>
          <p:txBody>
            <a:bodyPr lIns="45720" rIns="45720">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Market a</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Total size: $</a:t>
              </a:r>
              <a:r>
                <a:rPr kumimoji="0" lang="en-US" sz="1400" b="1" i="0" u="none" strike="noStrike" kern="0" cap="none" spc="0" normalizeH="0" baseline="0" noProof="0" dirty="0" err="1">
                  <a:ln>
                    <a:noFill/>
                  </a:ln>
                  <a:solidFill>
                    <a:srgbClr val="000000"/>
                  </a:solidFill>
                  <a:effectLst/>
                  <a:uLnTx/>
                  <a:uFillTx/>
                  <a:latin typeface="Graphik"/>
                  <a:ea typeface="+mn-ea"/>
                  <a:cs typeface="+mn-cs"/>
                </a:rPr>
                <a:t>xm</a:t>
              </a:r>
              <a:endParaRPr kumimoji="0" lang="en-US" sz="1400" b="1" i="0" u="none" strike="noStrike" kern="0" cap="none" spc="0" normalizeH="0" baseline="0" noProof="0" dirty="0">
                <a:ln>
                  <a:noFill/>
                </a:ln>
                <a:solidFill>
                  <a:srgbClr val="000000"/>
                </a:solidFill>
                <a:effectLst/>
                <a:uLnTx/>
                <a:uFillTx/>
                <a:latin typeface="Graphik"/>
                <a:ea typeface="+mn-ea"/>
                <a:cs typeface="+mn-cs"/>
              </a:endParaRPr>
            </a:p>
          </p:txBody>
        </p:sp>
        <p:sp>
          <p:nvSpPr>
            <p:cNvPr id="12" name="Text Box 10">
              <a:extLst>
                <a:ext uri="{FF2B5EF4-FFF2-40B4-BE49-F238E27FC236}">
                  <a16:creationId xmlns:a16="http://schemas.microsoft.com/office/drawing/2014/main" id="{15EA5620-18C0-46F1-A7B9-0B74B423A631}"/>
                </a:ext>
              </a:extLst>
            </p:cNvPr>
            <p:cNvSpPr txBox="1">
              <a:spLocks noChangeArrowheads="1"/>
            </p:cNvSpPr>
            <p:nvPr/>
          </p:nvSpPr>
          <p:spPr bwMode="auto">
            <a:xfrm>
              <a:off x="4053" y="2064"/>
              <a:ext cx="741" cy="454"/>
            </a:xfrm>
            <a:prstGeom prst="rect">
              <a:avLst/>
            </a:prstGeom>
            <a:noFill/>
            <a:ln w="6350">
              <a:noFill/>
              <a:miter lim="800000"/>
              <a:headEnd/>
              <a:tailEnd/>
            </a:ln>
            <a:effectLst/>
          </p:spPr>
          <p:txBody>
            <a:bodyPr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arget segment</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a:t>
              </a:r>
              <a:r>
                <a:rPr kumimoji="0" lang="en-US" sz="1400" b="0" i="0" u="none" strike="noStrike" kern="0" cap="none" spc="0" normalizeH="0" baseline="0" noProof="0" dirty="0" err="1">
                  <a:ln>
                    <a:noFill/>
                  </a:ln>
                  <a:solidFill>
                    <a:srgbClr val="000000"/>
                  </a:solidFill>
                  <a:effectLst/>
                  <a:uLnTx/>
                  <a:uFillTx/>
                  <a:latin typeface="Graphik"/>
                  <a:ea typeface="+mn-ea"/>
                  <a:cs typeface="+mn-cs"/>
                </a:rPr>
                <a:t>Xm</a:t>
              </a:r>
              <a:r>
                <a:rPr kumimoji="0" lang="en-US" sz="1400" b="0" i="0" u="none" strike="noStrike" kern="0" cap="none" spc="0" normalizeH="0" baseline="0" noProof="0" dirty="0">
                  <a:ln>
                    <a:noFill/>
                  </a:ln>
                  <a:solidFill>
                    <a:srgbClr val="000000"/>
                  </a:solidFill>
                  <a:effectLst/>
                  <a:uLnTx/>
                  <a:uFillTx/>
                  <a:latin typeface="Graphik"/>
                  <a:ea typeface="+mn-ea"/>
                  <a:cs typeface="+mn-cs"/>
                </a:rPr>
                <a:t> (x%)</a:t>
              </a:r>
            </a:p>
          </p:txBody>
        </p:sp>
        <p:sp>
          <p:nvSpPr>
            <p:cNvPr id="13" name="Text Box 11">
              <a:extLst>
                <a:ext uri="{FF2B5EF4-FFF2-40B4-BE49-F238E27FC236}">
                  <a16:creationId xmlns:a16="http://schemas.microsoft.com/office/drawing/2014/main" id="{54C59067-FAE3-41D8-A131-77E9BC4830B4}"/>
                </a:ext>
              </a:extLst>
            </p:cNvPr>
            <p:cNvSpPr txBox="1">
              <a:spLocks noChangeArrowheads="1"/>
            </p:cNvSpPr>
            <p:nvPr/>
          </p:nvSpPr>
          <p:spPr bwMode="auto">
            <a:xfrm>
              <a:off x="3269" y="1446"/>
              <a:ext cx="1048" cy="330"/>
            </a:xfrm>
            <a:prstGeom prst="rect">
              <a:avLst/>
            </a:prstGeom>
            <a:noFill/>
            <a:ln w="6350">
              <a:noFill/>
              <a:miter lim="800000"/>
              <a:headEnd/>
              <a:tailEnd/>
            </a:ln>
            <a:effectLst/>
          </p:spPr>
          <p:txBody>
            <a:bodyPr lIns="45720" rIns="45720">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Black"/>
                  <a:ea typeface="+mn-ea"/>
                  <a:cs typeface="+mn-cs"/>
                </a:rPr>
                <a:t>Market b</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Total size: $</a:t>
              </a:r>
              <a:r>
                <a:rPr kumimoji="0" lang="en-US" sz="1400" b="1" i="0" u="none" strike="noStrike" kern="0" cap="none" spc="0" normalizeH="0" baseline="0" noProof="0" dirty="0" err="1">
                  <a:ln>
                    <a:noFill/>
                  </a:ln>
                  <a:solidFill>
                    <a:srgbClr val="000000"/>
                  </a:solidFill>
                  <a:effectLst/>
                  <a:uLnTx/>
                  <a:uFillTx/>
                  <a:latin typeface="Graphik"/>
                  <a:ea typeface="+mn-ea"/>
                  <a:cs typeface="+mn-cs"/>
                </a:rPr>
                <a:t>Xm</a:t>
              </a:r>
              <a:endParaRPr kumimoji="0" lang="en-US" sz="1400" b="1" i="0" u="none" strike="noStrike" kern="0" cap="none" spc="0" normalizeH="0" baseline="0" noProof="0" dirty="0">
                <a:ln>
                  <a:noFill/>
                </a:ln>
                <a:solidFill>
                  <a:srgbClr val="000000"/>
                </a:solidFill>
                <a:effectLst/>
                <a:uLnTx/>
                <a:uFillTx/>
                <a:latin typeface="Graphik"/>
                <a:ea typeface="+mn-ea"/>
                <a:cs typeface="+mn-cs"/>
              </a:endParaRPr>
            </a:p>
          </p:txBody>
        </p:sp>
      </p:grpSp>
      <p:sp>
        <p:nvSpPr>
          <p:cNvPr id="3" name="Rectangle 2">
            <a:hlinkClick r:id="rId3" action="ppaction://hlinksldjump"/>
            <a:extLst>
              <a:ext uri="{FF2B5EF4-FFF2-40B4-BE49-F238E27FC236}">
                <a16:creationId xmlns:a16="http://schemas.microsoft.com/office/drawing/2014/main" id="{ECAD627B-FC29-4795-8990-2B8D25BF905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75043767"/>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Exponential Curve</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A2CE02B1-DEA6-4D8F-8D15-37730D22F54B}"/>
              </a:ext>
            </a:extLst>
          </p:cNvPr>
          <p:cNvGrpSpPr/>
          <p:nvPr/>
        </p:nvGrpSpPr>
        <p:grpSpPr>
          <a:xfrm>
            <a:off x="3738563" y="1649161"/>
            <a:ext cx="4104544" cy="3779109"/>
            <a:chOff x="2519363" y="1630111"/>
            <a:chExt cx="4104544" cy="3779109"/>
          </a:xfrm>
        </p:grpSpPr>
        <p:sp>
          <p:nvSpPr>
            <p:cNvPr id="6" name="Line 4">
              <a:extLst>
                <a:ext uri="{FF2B5EF4-FFF2-40B4-BE49-F238E27FC236}">
                  <a16:creationId xmlns:a16="http://schemas.microsoft.com/office/drawing/2014/main" id="{F5FFE7EE-1E9D-4C35-9C6E-E56C8E76B8EE}"/>
                </a:ext>
              </a:extLst>
            </p:cNvPr>
            <p:cNvSpPr>
              <a:spLocks noChangeShapeType="1"/>
            </p:cNvSpPr>
            <p:nvPr/>
          </p:nvSpPr>
          <p:spPr bwMode="auto">
            <a:xfrm flipV="1">
              <a:off x="3265020" y="1630111"/>
              <a:ext cx="0" cy="33168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Line 5">
              <a:extLst>
                <a:ext uri="{FF2B5EF4-FFF2-40B4-BE49-F238E27FC236}">
                  <a16:creationId xmlns:a16="http://schemas.microsoft.com/office/drawing/2014/main" id="{8EBAAE24-4C6C-4F86-9DE4-207E963B84D1}"/>
                </a:ext>
              </a:extLst>
            </p:cNvPr>
            <p:cNvSpPr>
              <a:spLocks noChangeShapeType="1"/>
            </p:cNvSpPr>
            <p:nvPr/>
          </p:nvSpPr>
          <p:spPr bwMode="auto">
            <a:xfrm rot="5400000" flipV="1">
              <a:off x="4944892" y="3267039"/>
              <a:ext cx="0" cy="3358030"/>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Text Box 6">
              <a:extLst>
                <a:ext uri="{FF2B5EF4-FFF2-40B4-BE49-F238E27FC236}">
                  <a16:creationId xmlns:a16="http://schemas.microsoft.com/office/drawing/2014/main" id="{F2A413C0-DEE3-4ED2-8ECE-0FA3006CDF12}"/>
                </a:ext>
              </a:extLst>
            </p:cNvPr>
            <p:cNvSpPr txBox="1">
              <a:spLocks noChangeArrowheads="1"/>
            </p:cNvSpPr>
            <p:nvPr/>
          </p:nvSpPr>
          <p:spPr bwMode="auto">
            <a:xfrm>
              <a:off x="2519363" y="3102832"/>
              <a:ext cx="745657" cy="371430"/>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Y-Axis</a:t>
              </a:r>
            </a:p>
          </p:txBody>
        </p:sp>
        <p:sp>
          <p:nvSpPr>
            <p:cNvPr id="9" name="Text Box 7">
              <a:extLst>
                <a:ext uri="{FF2B5EF4-FFF2-40B4-BE49-F238E27FC236}">
                  <a16:creationId xmlns:a16="http://schemas.microsoft.com/office/drawing/2014/main" id="{22D27AAA-19D4-4E8A-9327-7FB40DDFF073}"/>
                </a:ext>
              </a:extLst>
            </p:cNvPr>
            <p:cNvSpPr txBox="1">
              <a:spLocks noChangeArrowheads="1"/>
            </p:cNvSpPr>
            <p:nvPr/>
          </p:nvSpPr>
          <p:spPr bwMode="auto">
            <a:xfrm>
              <a:off x="3265020" y="5037790"/>
              <a:ext cx="3231182" cy="37143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X-Axis</a:t>
              </a:r>
            </a:p>
          </p:txBody>
        </p:sp>
        <p:sp>
          <p:nvSpPr>
            <p:cNvPr id="10" name="Freeform 10">
              <a:extLst>
                <a:ext uri="{FF2B5EF4-FFF2-40B4-BE49-F238E27FC236}">
                  <a16:creationId xmlns:a16="http://schemas.microsoft.com/office/drawing/2014/main" id="{8B598B36-5EC8-4D0D-A18F-F87D384BC660}"/>
                </a:ext>
              </a:extLst>
            </p:cNvPr>
            <p:cNvSpPr/>
            <p:nvPr/>
          </p:nvSpPr>
          <p:spPr bwMode="auto">
            <a:xfrm>
              <a:off x="3263900" y="1703302"/>
              <a:ext cx="3035300" cy="3170489"/>
            </a:xfrm>
            <a:custGeom>
              <a:avLst/>
              <a:gdLst>
                <a:gd name="connsiteX0" fmla="*/ 0 w 3035300"/>
                <a:gd name="connsiteY0" fmla="*/ 2857500 h 2857500"/>
                <a:gd name="connsiteX1" fmla="*/ 2387600 w 3035300"/>
                <a:gd name="connsiteY1" fmla="*/ 2298700 h 2857500"/>
                <a:gd name="connsiteX2" fmla="*/ 3035300 w 3035300"/>
                <a:gd name="connsiteY2" fmla="*/ 0 h 2857500"/>
              </a:gdLst>
              <a:ahLst/>
              <a:cxnLst>
                <a:cxn ang="0">
                  <a:pos x="connsiteX0" y="connsiteY0"/>
                </a:cxn>
                <a:cxn ang="0">
                  <a:pos x="connsiteX1" y="connsiteY1"/>
                </a:cxn>
                <a:cxn ang="0">
                  <a:pos x="connsiteX2" y="connsiteY2"/>
                </a:cxn>
              </a:cxnLst>
              <a:rect l="l" t="t" r="r" b="b"/>
              <a:pathLst>
                <a:path w="3035300" h="2857500">
                  <a:moveTo>
                    <a:pt x="0" y="2857500"/>
                  </a:moveTo>
                  <a:cubicBezTo>
                    <a:pt x="940858" y="2816225"/>
                    <a:pt x="1881717" y="2774950"/>
                    <a:pt x="2387600" y="2298700"/>
                  </a:cubicBezTo>
                  <a:cubicBezTo>
                    <a:pt x="2893483" y="1822450"/>
                    <a:pt x="2964391" y="911225"/>
                    <a:pt x="3035300" y="0"/>
                  </a:cubicBezTo>
                </a:path>
              </a:pathLst>
            </a:custGeom>
            <a:noFill/>
            <a:ln w="25400" cap="flat" cmpd="sng">
              <a:solidFill>
                <a:srgbClr val="A100FF"/>
              </a:solidFill>
              <a:prstDash val="solid"/>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charset="0"/>
                <a:ea typeface="+mn-ea"/>
                <a:cs typeface="Arial" charset="0"/>
              </a:endParaRPr>
            </a:p>
          </p:txBody>
        </p:sp>
      </p:grpSp>
      <p:sp>
        <p:nvSpPr>
          <p:cNvPr id="3" name="Rectangle 2">
            <a:hlinkClick r:id="rId3" action="ppaction://hlinksldjump"/>
            <a:extLst>
              <a:ext uri="{FF2B5EF4-FFF2-40B4-BE49-F238E27FC236}">
                <a16:creationId xmlns:a16="http://schemas.microsoft.com/office/drawing/2014/main" id="{116FB276-67D9-4FF1-B185-7AA5192EB8B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969881017"/>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 Curve</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29713E72-F155-4D99-BE1B-77D35D7EE00E}"/>
              </a:ext>
            </a:extLst>
          </p:cNvPr>
          <p:cNvGrpSpPr/>
          <p:nvPr/>
        </p:nvGrpSpPr>
        <p:grpSpPr>
          <a:xfrm>
            <a:off x="3738563" y="1645154"/>
            <a:ext cx="4139135" cy="3775456"/>
            <a:chOff x="2519363" y="1645154"/>
            <a:chExt cx="4139135" cy="3775456"/>
          </a:xfrm>
        </p:grpSpPr>
        <p:sp>
          <p:nvSpPr>
            <p:cNvPr id="6" name="Freeform 4">
              <a:extLst>
                <a:ext uri="{FF2B5EF4-FFF2-40B4-BE49-F238E27FC236}">
                  <a16:creationId xmlns:a16="http://schemas.microsoft.com/office/drawing/2014/main" id="{21768B51-53DC-4CC4-9D5E-6C6772C4FD6E}"/>
                </a:ext>
              </a:extLst>
            </p:cNvPr>
            <p:cNvSpPr>
              <a:spLocks/>
            </p:cNvSpPr>
            <p:nvPr/>
          </p:nvSpPr>
          <p:spPr bwMode="auto">
            <a:xfrm>
              <a:off x="3341294" y="2592138"/>
              <a:ext cx="3317204" cy="2095214"/>
            </a:xfrm>
            <a:custGeom>
              <a:avLst/>
              <a:gdLst/>
              <a:ahLst/>
              <a:cxnLst>
                <a:cxn ang="0">
                  <a:pos x="0" y="1808"/>
                </a:cxn>
                <a:cxn ang="0">
                  <a:pos x="1160" y="1472"/>
                </a:cxn>
                <a:cxn ang="0">
                  <a:pos x="1496" y="232"/>
                </a:cxn>
                <a:cxn ang="0">
                  <a:pos x="3048" y="80"/>
                </a:cxn>
              </a:cxnLst>
              <a:rect l="0" t="0" r="r" b="b"/>
              <a:pathLst>
                <a:path w="3048" h="1808">
                  <a:moveTo>
                    <a:pt x="0" y="1808"/>
                  </a:moveTo>
                  <a:cubicBezTo>
                    <a:pt x="193" y="1752"/>
                    <a:pt x="911" y="1735"/>
                    <a:pt x="1160" y="1472"/>
                  </a:cubicBezTo>
                  <a:cubicBezTo>
                    <a:pt x="1409" y="1209"/>
                    <a:pt x="1181" y="464"/>
                    <a:pt x="1496" y="232"/>
                  </a:cubicBezTo>
                  <a:cubicBezTo>
                    <a:pt x="1811" y="0"/>
                    <a:pt x="2725" y="112"/>
                    <a:pt x="3048" y="80"/>
                  </a:cubicBezTo>
                </a:path>
              </a:pathLst>
            </a:custGeom>
            <a:noFill/>
            <a:ln w="25400" cap="flat" cmpd="sng">
              <a:solidFill>
                <a:srgbClr val="A100FF"/>
              </a:solidFill>
              <a:prstDash val="solid"/>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Line 4">
              <a:extLst>
                <a:ext uri="{FF2B5EF4-FFF2-40B4-BE49-F238E27FC236}">
                  <a16:creationId xmlns:a16="http://schemas.microsoft.com/office/drawing/2014/main" id="{BB4737CD-A5CA-4143-AF1B-7D324C914510}"/>
                </a:ext>
              </a:extLst>
            </p:cNvPr>
            <p:cNvSpPr>
              <a:spLocks noChangeShapeType="1"/>
            </p:cNvSpPr>
            <p:nvPr/>
          </p:nvSpPr>
          <p:spPr bwMode="auto">
            <a:xfrm flipV="1">
              <a:off x="3265020" y="1645154"/>
              <a:ext cx="0" cy="33168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Line 5">
              <a:extLst>
                <a:ext uri="{FF2B5EF4-FFF2-40B4-BE49-F238E27FC236}">
                  <a16:creationId xmlns:a16="http://schemas.microsoft.com/office/drawing/2014/main" id="{77BCB952-CC31-4618-A3B7-679CE6F35F83}"/>
                </a:ext>
              </a:extLst>
            </p:cNvPr>
            <p:cNvSpPr>
              <a:spLocks noChangeShapeType="1"/>
            </p:cNvSpPr>
            <p:nvPr/>
          </p:nvSpPr>
          <p:spPr bwMode="auto">
            <a:xfrm rot="5400000" flipV="1">
              <a:off x="4944892" y="3282082"/>
              <a:ext cx="0" cy="3358030"/>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Text Box 6">
              <a:extLst>
                <a:ext uri="{FF2B5EF4-FFF2-40B4-BE49-F238E27FC236}">
                  <a16:creationId xmlns:a16="http://schemas.microsoft.com/office/drawing/2014/main" id="{96B36557-FFBF-4F6D-A950-A0C7F6FB6E8A}"/>
                </a:ext>
              </a:extLst>
            </p:cNvPr>
            <p:cNvSpPr txBox="1">
              <a:spLocks noChangeArrowheads="1"/>
            </p:cNvSpPr>
            <p:nvPr/>
          </p:nvSpPr>
          <p:spPr bwMode="auto">
            <a:xfrm>
              <a:off x="2519363" y="3117875"/>
              <a:ext cx="745657" cy="371430"/>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Y-Axis</a:t>
              </a:r>
            </a:p>
          </p:txBody>
        </p:sp>
        <p:sp>
          <p:nvSpPr>
            <p:cNvPr id="10" name="Text Box 7">
              <a:extLst>
                <a:ext uri="{FF2B5EF4-FFF2-40B4-BE49-F238E27FC236}">
                  <a16:creationId xmlns:a16="http://schemas.microsoft.com/office/drawing/2014/main" id="{61F512E4-D818-4246-A35A-A77CE5A2588A}"/>
                </a:ext>
              </a:extLst>
            </p:cNvPr>
            <p:cNvSpPr txBox="1">
              <a:spLocks noChangeArrowheads="1"/>
            </p:cNvSpPr>
            <p:nvPr/>
          </p:nvSpPr>
          <p:spPr bwMode="auto">
            <a:xfrm>
              <a:off x="3265020" y="5049180"/>
              <a:ext cx="3231182" cy="37143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X-Axis</a:t>
              </a:r>
            </a:p>
          </p:txBody>
        </p:sp>
      </p:grpSp>
      <p:sp>
        <p:nvSpPr>
          <p:cNvPr id="3" name="Rectangle 2">
            <a:hlinkClick r:id="rId3" action="ppaction://hlinksldjump"/>
            <a:extLst>
              <a:ext uri="{FF2B5EF4-FFF2-40B4-BE49-F238E27FC236}">
                <a16:creationId xmlns:a16="http://schemas.microsoft.com/office/drawing/2014/main" id="{B20BAC55-0A4A-45A5-9A7E-D5FBB32FF95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6279504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Asymptotic Curve</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ADBDF328-8041-4173-A15D-45F8E70B9356}"/>
              </a:ext>
            </a:extLst>
          </p:cNvPr>
          <p:cNvGrpSpPr/>
          <p:nvPr/>
        </p:nvGrpSpPr>
        <p:grpSpPr>
          <a:xfrm>
            <a:off x="3738563" y="1655279"/>
            <a:ext cx="4104544" cy="3744416"/>
            <a:chOff x="2519363" y="1664804"/>
            <a:chExt cx="4104544" cy="3744416"/>
          </a:xfrm>
        </p:grpSpPr>
        <p:sp>
          <p:nvSpPr>
            <p:cNvPr id="6" name="Arc 4">
              <a:extLst>
                <a:ext uri="{FF2B5EF4-FFF2-40B4-BE49-F238E27FC236}">
                  <a16:creationId xmlns:a16="http://schemas.microsoft.com/office/drawing/2014/main" id="{521C3B8B-ACBE-4522-AFE1-837D24729909}"/>
                </a:ext>
              </a:extLst>
            </p:cNvPr>
            <p:cNvSpPr>
              <a:spLocks/>
            </p:cNvSpPr>
            <p:nvPr/>
          </p:nvSpPr>
          <p:spPr bwMode="auto">
            <a:xfrm rot="10800000">
              <a:off x="3440098" y="1781891"/>
              <a:ext cx="3071740" cy="304999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5400">
              <a:solidFill>
                <a:srgbClr val="A100FF"/>
              </a:solidFill>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Line 4">
              <a:extLst>
                <a:ext uri="{FF2B5EF4-FFF2-40B4-BE49-F238E27FC236}">
                  <a16:creationId xmlns:a16="http://schemas.microsoft.com/office/drawing/2014/main" id="{CBEED42B-D36C-4949-B805-557EC82C252C}"/>
                </a:ext>
              </a:extLst>
            </p:cNvPr>
            <p:cNvSpPr>
              <a:spLocks noChangeShapeType="1"/>
            </p:cNvSpPr>
            <p:nvPr/>
          </p:nvSpPr>
          <p:spPr bwMode="auto">
            <a:xfrm flipV="1">
              <a:off x="3265020" y="1664804"/>
              <a:ext cx="0" cy="33168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Line 5">
              <a:extLst>
                <a:ext uri="{FF2B5EF4-FFF2-40B4-BE49-F238E27FC236}">
                  <a16:creationId xmlns:a16="http://schemas.microsoft.com/office/drawing/2014/main" id="{ED160C47-2B82-4DD3-8BF6-E2B09F16D7DF}"/>
                </a:ext>
              </a:extLst>
            </p:cNvPr>
            <p:cNvSpPr>
              <a:spLocks noChangeShapeType="1"/>
            </p:cNvSpPr>
            <p:nvPr/>
          </p:nvSpPr>
          <p:spPr bwMode="auto">
            <a:xfrm rot="5400000" flipV="1">
              <a:off x="4944892" y="3301732"/>
              <a:ext cx="0" cy="3358030"/>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Text Box 6">
              <a:extLst>
                <a:ext uri="{FF2B5EF4-FFF2-40B4-BE49-F238E27FC236}">
                  <a16:creationId xmlns:a16="http://schemas.microsoft.com/office/drawing/2014/main" id="{AB43D773-ABD1-4268-8F94-336AA31035FB}"/>
                </a:ext>
              </a:extLst>
            </p:cNvPr>
            <p:cNvSpPr txBox="1">
              <a:spLocks noChangeArrowheads="1"/>
            </p:cNvSpPr>
            <p:nvPr/>
          </p:nvSpPr>
          <p:spPr bwMode="auto">
            <a:xfrm>
              <a:off x="2519363" y="3137525"/>
              <a:ext cx="745657" cy="371430"/>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Y-Axis</a:t>
              </a:r>
            </a:p>
          </p:txBody>
        </p:sp>
        <p:sp>
          <p:nvSpPr>
            <p:cNvPr id="10" name="Text Box 7">
              <a:extLst>
                <a:ext uri="{FF2B5EF4-FFF2-40B4-BE49-F238E27FC236}">
                  <a16:creationId xmlns:a16="http://schemas.microsoft.com/office/drawing/2014/main" id="{8CA97C4D-90F6-4A90-A517-AC956C08C607}"/>
                </a:ext>
              </a:extLst>
            </p:cNvPr>
            <p:cNvSpPr txBox="1">
              <a:spLocks noChangeArrowheads="1"/>
            </p:cNvSpPr>
            <p:nvPr/>
          </p:nvSpPr>
          <p:spPr bwMode="auto">
            <a:xfrm>
              <a:off x="3265020" y="5037790"/>
              <a:ext cx="3231182" cy="37143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Graphik"/>
                  <a:ea typeface="+mn-ea"/>
                  <a:cs typeface="+mn-cs"/>
                </a:rPr>
                <a:t>X-Axis</a:t>
              </a:r>
            </a:p>
          </p:txBody>
        </p:sp>
      </p:grpSp>
      <p:sp>
        <p:nvSpPr>
          <p:cNvPr id="3" name="Rectangle 2">
            <a:hlinkClick r:id="rId3" action="ppaction://hlinksldjump"/>
            <a:extLst>
              <a:ext uri="{FF2B5EF4-FFF2-40B4-BE49-F238E27FC236}">
                <a16:creationId xmlns:a16="http://schemas.microsoft.com/office/drawing/2014/main" id="{AE4BC171-10B1-4161-A716-29D2780B678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59207824"/>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Hyperbolic Curve</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C472535C-0258-4762-B7C3-CC83BF880842}"/>
              </a:ext>
            </a:extLst>
          </p:cNvPr>
          <p:cNvGrpSpPr/>
          <p:nvPr/>
        </p:nvGrpSpPr>
        <p:grpSpPr>
          <a:xfrm>
            <a:off x="3738928" y="1659613"/>
            <a:ext cx="4104544" cy="3734749"/>
            <a:chOff x="2519363" y="1602463"/>
            <a:chExt cx="4104544" cy="3734749"/>
          </a:xfrm>
        </p:grpSpPr>
        <p:sp>
          <p:nvSpPr>
            <p:cNvPr id="6" name="Arc 4">
              <a:extLst>
                <a:ext uri="{FF2B5EF4-FFF2-40B4-BE49-F238E27FC236}">
                  <a16:creationId xmlns:a16="http://schemas.microsoft.com/office/drawing/2014/main" id="{0C95C590-CC17-4452-8EE0-BD47657EBEFD}"/>
                </a:ext>
              </a:extLst>
            </p:cNvPr>
            <p:cNvSpPr>
              <a:spLocks/>
            </p:cNvSpPr>
            <p:nvPr/>
          </p:nvSpPr>
          <p:spPr bwMode="auto">
            <a:xfrm rot="10800000" flipH="1" flipV="1">
              <a:off x="3372591" y="1808820"/>
              <a:ext cx="2998753" cy="2980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5400">
              <a:solidFill>
                <a:srgbClr val="A100FF"/>
              </a:solidFill>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Line 4">
              <a:extLst>
                <a:ext uri="{FF2B5EF4-FFF2-40B4-BE49-F238E27FC236}">
                  <a16:creationId xmlns:a16="http://schemas.microsoft.com/office/drawing/2014/main" id="{967C1B37-79D0-4918-850D-470E83948090}"/>
                </a:ext>
              </a:extLst>
            </p:cNvPr>
            <p:cNvSpPr>
              <a:spLocks noChangeShapeType="1"/>
            </p:cNvSpPr>
            <p:nvPr/>
          </p:nvSpPr>
          <p:spPr bwMode="auto">
            <a:xfrm flipV="1">
              <a:off x="3265020" y="1602463"/>
              <a:ext cx="0" cy="33168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Line 5">
              <a:extLst>
                <a:ext uri="{FF2B5EF4-FFF2-40B4-BE49-F238E27FC236}">
                  <a16:creationId xmlns:a16="http://schemas.microsoft.com/office/drawing/2014/main" id="{744589EA-BD7B-4E4E-BE8D-30353CDAAB79}"/>
                </a:ext>
              </a:extLst>
            </p:cNvPr>
            <p:cNvSpPr>
              <a:spLocks noChangeShapeType="1"/>
            </p:cNvSpPr>
            <p:nvPr/>
          </p:nvSpPr>
          <p:spPr bwMode="auto">
            <a:xfrm rot="5400000" flipV="1">
              <a:off x="4944892" y="3239391"/>
              <a:ext cx="0" cy="3358030"/>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Text Box 6">
              <a:extLst>
                <a:ext uri="{FF2B5EF4-FFF2-40B4-BE49-F238E27FC236}">
                  <a16:creationId xmlns:a16="http://schemas.microsoft.com/office/drawing/2014/main" id="{4422AF3B-BBEA-41E9-B945-05A1FA63E7D2}"/>
                </a:ext>
              </a:extLst>
            </p:cNvPr>
            <p:cNvSpPr txBox="1">
              <a:spLocks noChangeArrowheads="1"/>
            </p:cNvSpPr>
            <p:nvPr/>
          </p:nvSpPr>
          <p:spPr bwMode="auto">
            <a:xfrm>
              <a:off x="2519363" y="3075184"/>
              <a:ext cx="745657" cy="371430"/>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Y-Axis</a:t>
              </a:r>
            </a:p>
          </p:txBody>
        </p:sp>
        <p:sp>
          <p:nvSpPr>
            <p:cNvPr id="10" name="Text Box 7">
              <a:extLst>
                <a:ext uri="{FF2B5EF4-FFF2-40B4-BE49-F238E27FC236}">
                  <a16:creationId xmlns:a16="http://schemas.microsoft.com/office/drawing/2014/main" id="{4ED0C322-03DA-4F83-9E39-E0E48349B934}"/>
                </a:ext>
              </a:extLst>
            </p:cNvPr>
            <p:cNvSpPr txBox="1">
              <a:spLocks noChangeArrowheads="1"/>
            </p:cNvSpPr>
            <p:nvPr/>
          </p:nvSpPr>
          <p:spPr bwMode="auto">
            <a:xfrm>
              <a:off x="3265020" y="4965782"/>
              <a:ext cx="3231182" cy="371430"/>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Graphik"/>
                  <a:ea typeface="+mn-ea"/>
                  <a:cs typeface="+mn-cs"/>
                </a:rPr>
                <a:t>X-Axis</a:t>
              </a:r>
            </a:p>
          </p:txBody>
        </p:sp>
      </p:grpSp>
      <p:sp>
        <p:nvSpPr>
          <p:cNvPr id="3" name="Rectangle 2">
            <a:hlinkClick r:id="rId3" action="ppaction://hlinksldjump"/>
            <a:extLst>
              <a:ext uri="{FF2B5EF4-FFF2-40B4-BE49-F238E27FC236}">
                <a16:creationId xmlns:a16="http://schemas.microsoft.com/office/drawing/2014/main" id="{8FA918F1-3AC6-43AE-BECF-171EFEE7ECC0}"/>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76996586"/>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areto (“80/20”) Distribution</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3">
            <a:extLst>
              <a:ext uri="{FF2B5EF4-FFF2-40B4-BE49-F238E27FC236}">
                <a16:creationId xmlns:a16="http://schemas.microsoft.com/office/drawing/2014/main" id="{193873A9-FE53-4D85-A2C7-9F6444B568FC}"/>
              </a:ext>
            </a:extLst>
          </p:cNvPr>
          <p:cNvGrpSpPr>
            <a:grpSpLocks/>
          </p:cNvGrpSpPr>
          <p:nvPr/>
        </p:nvGrpSpPr>
        <p:grpSpPr bwMode="auto">
          <a:xfrm>
            <a:off x="3649635" y="1633913"/>
            <a:ext cx="3997325" cy="3817938"/>
            <a:chOff x="1994" y="1440"/>
            <a:chExt cx="2242" cy="1977"/>
          </a:xfrm>
        </p:grpSpPr>
        <p:sp>
          <p:nvSpPr>
            <p:cNvPr id="6" name="Line 4">
              <a:extLst>
                <a:ext uri="{FF2B5EF4-FFF2-40B4-BE49-F238E27FC236}">
                  <a16:creationId xmlns:a16="http://schemas.microsoft.com/office/drawing/2014/main" id="{AEF12A6C-D410-4896-87FF-29E9223F98E5}"/>
                </a:ext>
              </a:extLst>
            </p:cNvPr>
            <p:cNvSpPr>
              <a:spLocks noChangeShapeType="1"/>
            </p:cNvSpPr>
            <p:nvPr/>
          </p:nvSpPr>
          <p:spPr bwMode="auto">
            <a:xfrm flipV="1">
              <a:off x="2364" y="1440"/>
              <a:ext cx="0" cy="1771"/>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Line 5">
              <a:extLst>
                <a:ext uri="{FF2B5EF4-FFF2-40B4-BE49-F238E27FC236}">
                  <a16:creationId xmlns:a16="http://schemas.microsoft.com/office/drawing/2014/main" id="{B0E6C373-EEC3-4C14-95B4-E6B955595C5F}"/>
                </a:ext>
              </a:extLst>
            </p:cNvPr>
            <p:cNvSpPr>
              <a:spLocks noChangeShapeType="1"/>
            </p:cNvSpPr>
            <p:nvPr/>
          </p:nvSpPr>
          <p:spPr bwMode="auto">
            <a:xfrm rot="5400000" flipV="1">
              <a:off x="3300" y="2275"/>
              <a:ext cx="0" cy="1872"/>
            </a:xfrm>
            <a:prstGeom prst="line">
              <a:avLst/>
            </a:prstGeom>
            <a:noFill/>
            <a:ln w="6350">
              <a:solidFill>
                <a:srgbClr val="000000"/>
              </a:solidFill>
              <a:round/>
              <a:headEnd/>
              <a:tailEnd type="triangl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Text Box 6">
              <a:extLst>
                <a:ext uri="{FF2B5EF4-FFF2-40B4-BE49-F238E27FC236}">
                  <a16:creationId xmlns:a16="http://schemas.microsoft.com/office/drawing/2014/main" id="{FEFD9C12-1221-4A65-8B1F-D9E49B52A520}"/>
                </a:ext>
              </a:extLst>
            </p:cNvPr>
            <p:cNvSpPr txBox="1">
              <a:spLocks noChangeArrowheads="1"/>
            </p:cNvSpPr>
            <p:nvPr/>
          </p:nvSpPr>
          <p:spPr bwMode="auto">
            <a:xfrm>
              <a:off x="1994" y="2325"/>
              <a:ext cx="370"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Graphik"/>
                  <a:ea typeface="+mn-ea"/>
                  <a:cs typeface="+mn-cs"/>
                </a:rPr>
                <a:t>Y-Axis</a:t>
              </a:r>
            </a:p>
          </p:txBody>
        </p:sp>
        <p:sp>
          <p:nvSpPr>
            <p:cNvPr id="9" name="Text Box 7">
              <a:extLst>
                <a:ext uri="{FF2B5EF4-FFF2-40B4-BE49-F238E27FC236}">
                  <a16:creationId xmlns:a16="http://schemas.microsoft.com/office/drawing/2014/main" id="{F1171F09-6965-43B1-B2C3-F8383E4D9444}"/>
                </a:ext>
              </a:extLst>
            </p:cNvPr>
            <p:cNvSpPr txBox="1">
              <a:spLocks noChangeArrowheads="1"/>
            </p:cNvSpPr>
            <p:nvPr/>
          </p:nvSpPr>
          <p:spPr bwMode="auto">
            <a:xfrm>
              <a:off x="2863" y="3245"/>
              <a:ext cx="1102" cy="172"/>
            </a:xfrm>
            <a:prstGeom prst="rect">
              <a:avLst/>
            </a:prstGeom>
            <a:no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X-Axis</a:t>
              </a:r>
            </a:p>
          </p:txBody>
        </p:sp>
        <p:sp>
          <p:nvSpPr>
            <p:cNvPr id="10" name="Freeform 8">
              <a:extLst>
                <a:ext uri="{FF2B5EF4-FFF2-40B4-BE49-F238E27FC236}">
                  <a16:creationId xmlns:a16="http://schemas.microsoft.com/office/drawing/2014/main" id="{E7C89B71-0249-4547-AEC5-79926B1F9425}"/>
                </a:ext>
              </a:extLst>
            </p:cNvPr>
            <p:cNvSpPr>
              <a:spLocks/>
            </p:cNvSpPr>
            <p:nvPr/>
          </p:nvSpPr>
          <p:spPr bwMode="auto">
            <a:xfrm>
              <a:off x="2405" y="1725"/>
              <a:ext cx="1708" cy="1461"/>
            </a:xfrm>
            <a:custGeom>
              <a:avLst/>
              <a:gdLst/>
              <a:ahLst/>
              <a:cxnLst>
                <a:cxn ang="0">
                  <a:pos x="0" y="2416"/>
                </a:cxn>
                <a:cxn ang="0">
                  <a:pos x="704" y="376"/>
                </a:cxn>
                <a:cxn ang="0">
                  <a:pos x="3032" y="64"/>
                </a:cxn>
              </a:cxnLst>
              <a:rect l="0" t="0" r="r" b="b"/>
              <a:pathLst>
                <a:path w="3032" h="2416">
                  <a:moveTo>
                    <a:pt x="0" y="2416"/>
                  </a:moveTo>
                  <a:cubicBezTo>
                    <a:pt x="117" y="2075"/>
                    <a:pt x="199" y="768"/>
                    <a:pt x="704" y="376"/>
                  </a:cubicBezTo>
                  <a:cubicBezTo>
                    <a:pt x="1080" y="0"/>
                    <a:pt x="2547" y="129"/>
                    <a:pt x="3032" y="64"/>
                  </a:cubicBezTo>
                </a:path>
              </a:pathLst>
            </a:custGeom>
            <a:noFill/>
            <a:ln w="25400" cap="flat" cmpd="sng">
              <a:solidFill>
                <a:srgbClr val="A100FF"/>
              </a:solidFill>
              <a:prstDash val="solid"/>
              <a:round/>
              <a:headEnd type="none" w="med" len="med"/>
              <a:tailEnd type="none" w="med" len="me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9">
              <a:extLst>
                <a:ext uri="{FF2B5EF4-FFF2-40B4-BE49-F238E27FC236}">
                  <a16:creationId xmlns:a16="http://schemas.microsoft.com/office/drawing/2014/main" id="{292AC2A8-B678-4A8E-9300-55FE4AC67891}"/>
                </a:ext>
              </a:extLst>
            </p:cNvPr>
            <p:cNvSpPr txBox="1">
              <a:spLocks noChangeArrowheads="1"/>
            </p:cNvSpPr>
            <p:nvPr/>
          </p:nvSpPr>
          <p:spPr bwMode="auto">
            <a:xfrm>
              <a:off x="1994" y="1843"/>
              <a:ext cx="370"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80%</a:t>
              </a:r>
            </a:p>
          </p:txBody>
        </p:sp>
        <p:sp>
          <p:nvSpPr>
            <p:cNvPr id="12" name="Line 10">
              <a:extLst>
                <a:ext uri="{FF2B5EF4-FFF2-40B4-BE49-F238E27FC236}">
                  <a16:creationId xmlns:a16="http://schemas.microsoft.com/office/drawing/2014/main" id="{C68A8BB6-9419-4BFA-BE77-EE72FC23775A}"/>
                </a:ext>
              </a:extLst>
            </p:cNvPr>
            <p:cNvSpPr>
              <a:spLocks noChangeShapeType="1"/>
            </p:cNvSpPr>
            <p:nvPr/>
          </p:nvSpPr>
          <p:spPr bwMode="auto">
            <a:xfrm>
              <a:off x="2364" y="2021"/>
              <a:ext cx="1749" cy="0"/>
            </a:xfrm>
            <a:prstGeom prst="line">
              <a:avLst/>
            </a:prstGeom>
            <a:noFill/>
            <a:ln w="6350">
              <a:solidFill>
                <a:srgbClr val="666666"/>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3" name="Line 11">
              <a:extLst>
                <a:ext uri="{FF2B5EF4-FFF2-40B4-BE49-F238E27FC236}">
                  <a16:creationId xmlns:a16="http://schemas.microsoft.com/office/drawing/2014/main" id="{FA0F2A58-237B-48F4-BBA8-9A652AF6E35B}"/>
                </a:ext>
              </a:extLst>
            </p:cNvPr>
            <p:cNvSpPr>
              <a:spLocks noChangeShapeType="1"/>
            </p:cNvSpPr>
            <p:nvPr/>
          </p:nvSpPr>
          <p:spPr bwMode="auto">
            <a:xfrm rot="5400000">
              <a:off x="2137" y="2616"/>
              <a:ext cx="1190" cy="0"/>
            </a:xfrm>
            <a:prstGeom prst="line">
              <a:avLst/>
            </a:prstGeom>
            <a:noFill/>
            <a:ln w="6350">
              <a:solidFill>
                <a:srgbClr val="666666"/>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4" name="Text Box 12">
              <a:extLst>
                <a:ext uri="{FF2B5EF4-FFF2-40B4-BE49-F238E27FC236}">
                  <a16:creationId xmlns:a16="http://schemas.microsoft.com/office/drawing/2014/main" id="{3ADA5813-359C-4CC5-B4B4-AF286F74277C}"/>
                </a:ext>
              </a:extLst>
            </p:cNvPr>
            <p:cNvSpPr txBox="1">
              <a:spLocks noChangeArrowheads="1"/>
            </p:cNvSpPr>
            <p:nvPr/>
          </p:nvSpPr>
          <p:spPr bwMode="auto">
            <a:xfrm>
              <a:off x="1994" y="1671"/>
              <a:ext cx="370"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100%</a:t>
              </a:r>
            </a:p>
          </p:txBody>
        </p:sp>
        <p:sp>
          <p:nvSpPr>
            <p:cNvPr id="15" name="Line 13">
              <a:extLst>
                <a:ext uri="{FF2B5EF4-FFF2-40B4-BE49-F238E27FC236}">
                  <a16:creationId xmlns:a16="http://schemas.microsoft.com/office/drawing/2014/main" id="{4C3DFFDA-E665-486B-9038-4123555864EE}"/>
                </a:ext>
              </a:extLst>
            </p:cNvPr>
            <p:cNvSpPr>
              <a:spLocks noChangeShapeType="1"/>
            </p:cNvSpPr>
            <p:nvPr/>
          </p:nvSpPr>
          <p:spPr bwMode="auto">
            <a:xfrm>
              <a:off x="2333" y="1725"/>
              <a:ext cx="31" cy="0"/>
            </a:xfrm>
            <a:prstGeom prst="line">
              <a:avLst/>
            </a:prstGeom>
            <a:noFill/>
            <a:ln w="6350">
              <a:solidFill>
                <a:srgbClr val="006699"/>
              </a:solidFill>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6" name="Line 14">
              <a:extLst>
                <a:ext uri="{FF2B5EF4-FFF2-40B4-BE49-F238E27FC236}">
                  <a16:creationId xmlns:a16="http://schemas.microsoft.com/office/drawing/2014/main" id="{52E9F848-7422-47E9-B114-AF2D486E96E0}"/>
                </a:ext>
              </a:extLst>
            </p:cNvPr>
            <p:cNvSpPr>
              <a:spLocks noChangeShapeType="1"/>
            </p:cNvSpPr>
            <p:nvPr/>
          </p:nvSpPr>
          <p:spPr bwMode="auto">
            <a:xfrm rot="-5400000">
              <a:off x="4082" y="3231"/>
              <a:ext cx="29" cy="0"/>
            </a:xfrm>
            <a:prstGeom prst="line">
              <a:avLst/>
            </a:prstGeom>
            <a:noFill/>
            <a:ln w="6350">
              <a:solidFill>
                <a:srgbClr val="006699"/>
              </a:solidFill>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7" name="Text Box 15">
              <a:extLst>
                <a:ext uri="{FF2B5EF4-FFF2-40B4-BE49-F238E27FC236}">
                  <a16:creationId xmlns:a16="http://schemas.microsoft.com/office/drawing/2014/main" id="{DF71C22B-79A9-4768-B6D9-D986E6964E52}"/>
                </a:ext>
              </a:extLst>
            </p:cNvPr>
            <p:cNvSpPr txBox="1">
              <a:spLocks noChangeArrowheads="1"/>
            </p:cNvSpPr>
            <p:nvPr/>
          </p:nvSpPr>
          <p:spPr bwMode="auto">
            <a:xfrm>
              <a:off x="2599" y="3245"/>
              <a:ext cx="264"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20%</a:t>
              </a:r>
            </a:p>
          </p:txBody>
        </p:sp>
        <p:sp>
          <p:nvSpPr>
            <p:cNvPr id="18" name="Text Box 16">
              <a:extLst>
                <a:ext uri="{FF2B5EF4-FFF2-40B4-BE49-F238E27FC236}">
                  <a16:creationId xmlns:a16="http://schemas.microsoft.com/office/drawing/2014/main" id="{A8E5D187-269E-4190-A8FF-681B25747800}"/>
                </a:ext>
              </a:extLst>
            </p:cNvPr>
            <p:cNvSpPr txBox="1">
              <a:spLocks noChangeArrowheads="1"/>
            </p:cNvSpPr>
            <p:nvPr/>
          </p:nvSpPr>
          <p:spPr bwMode="auto">
            <a:xfrm>
              <a:off x="3965" y="3245"/>
              <a:ext cx="264" cy="172"/>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100%</a:t>
              </a:r>
            </a:p>
          </p:txBody>
        </p:sp>
      </p:grpSp>
      <p:sp>
        <p:nvSpPr>
          <p:cNvPr id="3" name="Rectangle 2">
            <a:hlinkClick r:id="rId3" action="ppaction://hlinksldjump"/>
            <a:extLst>
              <a:ext uri="{FF2B5EF4-FFF2-40B4-BE49-F238E27FC236}">
                <a16:creationId xmlns:a16="http://schemas.microsoft.com/office/drawing/2014/main" id="{D23ACD27-41AC-429A-8378-B9E37A7339D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8505402"/>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Normal Distribution 1</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A6562111-7323-418D-8876-A553B81115ED}"/>
              </a:ext>
            </a:extLst>
          </p:cNvPr>
          <p:cNvGrpSpPr/>
          <p:nvPr/>
        </p:nvGrpSpPr>
        <p:grpSpPr>
          <a:xfrm>
            <a:off x="3028950" y="2202669"/>
            <a:ext cx="5456238" cy="3089276"/>
            <a:chOff x="3028950" y="2202669"/>
            <a:chExt cx="5456238" cy="3089276"/>
          </a:xfrm>
        </p:grpSpPr>
        <p:grpSp>
          <p:nvGrpSpPr>
            <p:cNvPr id="6" name="Group 4">
              <a:extLst>
                <a:ext uri="{FF2B5EF4-FFF2-40B4-BE49-F238E27FC236}">
                  <a16:creationId xmlns:a16="http://schemas.microsoft.com/office/drawing/2014/main" id="{C15C0F49-0805-49F1-AD0D-00A2D413DEF7}"/>
                </a:ext>
              </a:extLst>
            </p:cNvPr>
            <p:cNvGrpSpPr>
              <a:grpSpLocks/>
            </p:cNvGrpSpPr>
            <p:nvPr/>
          </p:nvGrpSpPr>
          <p:grpSpPr bwMode="auto">
            <a:xfrm>
              <a:off x="3469962" y="2467782"/>
              <a:ext cx="4883362" cy="1522413"/>
              <a:chOff x="984" y="1875"/>
              <a:chExt cx="3840" cy="730"/>
            </a:xfrm>
          </p:grpSpPr>
          <p:sp>
            <p:nvSpPr>
              <p:cNvPr id="29" name="Freeform 5">
                <a:extLst>
                  <a:ext uri="{FF2B5EF4-FFF2-40B4-BE49-F238E27FC236}">
                    <a16:creationId xmlns:a16="http://schemas.microsoft.com/office/drawing/2014/main" id="{A90EEDDB-0B03-438C-A655-2764CFF4807B}"/>
                  </a:ext>
                </a:extLst>
              </p:cNvPr>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A100FF"/>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30" name="Freeform 6">
                <a:extLst>
                  <a:ext uri="{FF2B5EF4-FFF2-40B4-BE49-F238E27FC236}">
                    <a16:creationId xmlns:a16="http://schemas.microsoft.com/office/drawing/2014/main" id="{A55C1279-A3C4-40D7-89E7-59C3E21B50B2}"/>
                  </a:ext>
                </a:extLst>
              </p:cNvPr>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A100FF"/>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sp>
          <p:nvSpPr>
            <p:cNvPr id="7" name="Freeform 7">
              <a:extLst>
                <a:ext uri="{FF2B5EF4-FFF2-40B4-BE49-F238E27FC236}">
                  <a16:creationId xmlns:a16="http://schemas.microsoft.com/office/drawing/2014/main" id="{80806D2A-5347-481A-A715-AE387C241514}"/>
                </a:ext>
              </a:extLst>
            </p:cNvPr>
            <p:cNvSpPr>
              <a:spLocks/>
            </p:cNvSpPr>
            <p:nvPr/>
          </p:nvSpPr>
          <p:spPr bwMode="auto">
            <a:xfrm>
              <a:off x="3430403" y="2202669"/>
              <a:ext cx="5054785" cy="1801813"/>
            </a:xfrm>
            <a:custGeom>
              <a:avLst/>
              <a:gdLst/>
              <a:ahLst/>
              <a:cxnLst>
                <a:cxn ang="0">
                  <a:pos x="0" y="0"/>
                </a:cxn>
                <a:cxn ang="0">
                  <a:pos x="0" y="764"/>
                </a:cxn>
                <a:cxn ang="0">
                  <a:pos x="1892" y="764"/>
                </a:cxn>
              </a:cxnLst>
              <a:rect l="0" t="0" r="r" b="b"/>
              <a:pathLst>
                <a:path w="1893" h="765">
                  <a:moveTo>
                    <a:pt x="0" y="0"/>
                  </a:moveTo>
                  <a:lnTo>
                    <a:pt x="0" y="764"/>
                  </a:lnTo>
                  <a:lnTo>
                    <a:pt x="1892" y="764"/>
                  </a:lnTo>
                </a:path>
              </a:pathLst>
            </a:custGeom>
            <a:noFill/>
            <a:ln w="6350" cap="rnd" cmpd="sng">
              <a:solidFill>
                <a:srgbClr val="000000"/>
              </a:solidFill>
              <a:prstDash val="solid"/>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Line 8">
              <a:extLst>
                <a:ext uri="{FF2B5EF4-FFF2-40B4-BE49-F238E27FC236}">
                  <a16:creationId xmlns:a16="http://schemas.microsoft.com/office/drawing/2014/main" id="{962E687C-A426-4CCF-99CE-4A3A89348208}"/>
                </a:ext>
              </a:extLst>
            </p:cNvPr>
            <p:cNvSpPr>
              <a:spLocks noChangeShapeType="1"/>
            </p:cNvSpPr>
            <p:nvPr/>
          </p:nvSpPr>
          <p:spPr bwMode="auto">
            <a:xfrm flipV="1">
              <a:off x="4430477" y="4280705"/>
              <a:ext cx="2952328" cy="0"/>
            </a:xfrm>
            <a:prstGeom prst="line">
              <a:avLst/>
            </a:prstGeom>
            <a:noFill/>
            <a:ln w="6350">
              <a:solidFill>
                <a:srgbClr val="778888"/>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Text Box 9">
              <a:extLst>
                <a:ext uri="{FF2B5EF4-FFF2-40B4-BE49-F238E27FC236}">
                  <a16:creationId xmlns:a16="http://schemas.microsoft.com/office/drawing/2014/main" id="{CB596229-EB61-477F-ABE7-F127A48FFFA9}"/>
                </a:ext>
              </a:extLst>
            </p:cNvPr>
            <p:cNvSpPr txBox="1">
              <a:spLocks noChangeArrowheads="1"/>
            </p:cNvSpPr>
            <p:nvPr/>
          </p:nvSpPr>
          <p:spPr bwMode="auto">
            <a:xfrm>
              <a:off x="7372376" y="4265142"/>
              <a:ext cx="442477"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99.7</a:t>
              </a:r>
            </a:p>
          </p:txBody>
        </p:sp>
        <p:sp>
          <p:nvSpPr>
            <p:cNvPr id="10" name="Line 10">
              <a:extLst>
                <a:ext uri="{FF2B5EF4-FFF2-40B4-BE49-F238E27FC236}">
                  <a16:creationId xmlns:a16="http://schemas.microsoft.com/office/drawing/2014/main" id="{AB3DD09F-2595-4123-8323-3838A0437F1B}"/>
                </a:ext>
              </a:extLst>
            </p:cNvPr>
            <p:cNvSpPr>
              <a:spLocks noChangeShapeType="1"/>
            </p:cNvSpPr>
            <p:nvPr/>
          </p:nvSpPr>
          <p:spPr bwMode="auto">
            <a:xfrm>
              <a:off x="5576855" y="5060169"/>
              <a:ext cx="729647" cy="0"/>
            </a:xfrm>
            <a:prstGeom prst="line">
              <a:avLst/>
            </a:prstGeom>
            <a:noFill/>
            <a:ln w="6350">
              <a:solidFill>
                <a:srgbClr val="778888"/>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11">
              <a:extLst>
                <a:ext uri="{FF2B5EF4-FFF2-40B4-BE49-F238E27FC236}">
                  <a16:creationId xmlns:a16="http://schemas.microsoft.com/office/drawing/2014/main" id="{1892EC6A-EEC3-454E-81E0-8D8F1AB654EB}"/>
                </a:ext>
              </a:extLst>
            </p:cNvPr>
            <p:cNvSpPr txBox="1">
              <a:spLocks noChangeArrowheads="1"/>
            </p:cNvSpPr>
            <p:nvPr/>
          </p:nvSpPr>
          <p:spPr bwMode="auto">
            <a:xfrm>
              <a:off x="6306502" y="5017307"/>
              <a:ext cx="442477"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68.3</a:t>
              </a:r>
            </a:p>
          </p:txBody>
        </p:sp>
        <p:sp>
          <p:nvSpPr>
            <p:cNvPr id="12" name="Line 12">
              <a:extLst>
                <a:ext uri="{FF2B5EF4-FFF2-40B4-BE49-F238E27FC236}">
                  <a16:creationId xmlns:a16="http://schemas.microsoft.com/office/drawing/2014/main" id="{65A6B0D4-4D40-4883-9D0E-3A6610E2A182}"/>
                </a:ext>
              </a:extLst>
            </p:cNvPr>
            <p:cNvSpPr>
              <a:spLocks noChangeShapeType="1"/>
            </p:cNvSpPr>
            <p:nvPr/>
          </p:nvSpPr>
          <p:spPr bwMode="auto">
            <a:xfrm flipV="1">
              <a:off x="5080015" y="4653769"/>
              <a:ext cx="1690721" cy="1"/>
            </a:xfrm>
            <a:prstGeom prst="line">
              <a:avLst/>
            </a:prstGeom>
            <a:noFill/>
            <a:ln w="6350">
              <a:solidFill>
                <a:srgbClr val="778888"/>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3" name="Text Box 13">
              <a:extLst>
                <a:ext uri="{FF2B5EF4-FFF2-40B4-BE49-F238E27FC236}">
                  <a16:creationId xmlns:a16="http://schemas.microsoft.com/office/drawing/2014/main" id="{E140C927-488F-488E-9487-4BB19F05ABDB}"/>
                </a:ext>
              </a:extLst>
            </p:cNvPr>
            <p:cNvSpPr txBox="1">
              <a:spLocks noChangeArrowheads="1"/>
            </p:cNvSpPr>
            <p:nvPr/>
          </p:nvSpPr>
          <p:spPr bwMode="auto">
            <a:xfrm>
              <a:off x="6724304" y="4683796"/>
              <a:ext cx="442477"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95.4</a:t>
              </a:r>
            </a:p>
          </p:txBody>
        </p:sp>
        <p:sp>
          <p:nvSpPr>
            <p:cNvPr id="14" name="Line 14">
              <a:extLst>
                <a:ext uri="{FF2B5EF4-FFF2-40B4-BE49-F238E27FC236}">
                  <a16:creationId xmlns:a16="http://schemas.microsoft.com/office/drawing/2014/main" id="{FCC1DA06-24E5-4E69-AF20-967880BB9F18}"/>
                </a:ext>
              </a:extLst>
            </p:cNvPr>
            <p:cNvSpPr>
              <a:spLocks noChangeShapeType="1"/>
            </p:cNvSpPr>
            <p:nvPr/>
          </p:nvSpPr>
          <p:spPr bwMode="auto">
            <a:xfrm>
              <a:off x="5938748" y="4004482"/>
              <a:ext cx="0" cy="1055688"/>
            </a:xfrm>
            <a:prstGeom prst="line">
              <a:avLst/>
            </a:prstGeom>
            <a:noFill/>
            <a:ln w="6350">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5" name="Line 15">
              <a:extLst>
                <a:ext uri="{FF2B5EF4-FFF2-40B4-BE49-F238E27FC236}">
                  <a16:creationId xmlns:a16="http://schemas.microsoft.com/office/drawing/2014/main" id="{891B4B5E-C5C1-4BA3-A428-6669A5621871}"/>
                </a:ext>
              </a:extLst>
            </p:cNvPr>
            <p:cNvSpPr>
              <a:spLocks noChangeShapeType="1"/>
            </p:cNvSpPr>
            <p:nvPr/>
          </p:nvSpPr>
          <p:spPr bwMode="auto">
            <a:xfrm>
              <a:off x="6309433" y="2661457"/>
              <a:ext cx="0" cy="1343025"/>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6" name="Line 16">
              <a:extLst>
                <a:ext uri="{FF2B5EF4-FFF2-40B4-BE49-F238E27FC236}">
                  <a16:creationId xmlns:a16="http://schemas.microsoft.com/office/drawing/2014/main" id="{7564BAD5-AFE4-4FE7-88B0-45478EDCECD7}"/>
                </a:ext>
              </a:extLst>
            </p:cNvPr>
            <p:cNvSpPr>
              <a:spLocks noChangeShapeType="1"/>
            </p:cNvSpPr>
            <p:nvPr/>
          </p:nvSpPr>
          <p:spPr bwMode="auto">
            <a:xfrm>
              <a:off x="6806741" y="3228988"/>
              <a:ext cx="0" cy="775494"/>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7" name="Line 17">
              <a:extLst>
                <a:ext uri="{FF2B5EF4-FFF2-40B4-BE49-F238E27FC236}">
                  <a16:creationId xmlns:a16="http://schemas.microsoft.com/office/drawing/2014/main" id="{1D380AC7-139B-40B3-B1BC-B0AA6EFE24CE}"/>
                </a:ext>
              </a:extLst>
            </p:cNvPr>
            <p:cNvSpPr>
              <a:spLocks noChangeShapeType="1"/>
            </p:cNvSpPr>
            <p:nvPr/>
          </p:nvSpPr>
          <p:spPr bwMode="auto">
            <a:xfrm>
              <a:off x="7382805" y="3729050"/>
              <a:ext cx="0" cy="275432"/>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8" name="Line 18">
              <a:extLst>
                <a:ext uri="{FF2B5EF4-FFF2-40B4-BE49-F238E27FC236}">
                  <a16:creationId xmlns:a16="http://schemas.microsoft.com/office/drawing/2014/main" id="{BFEA157A-469D-4218-91FD-B87F9FE69E88}"/>
                </a:ext>
              </a:extLst>
            </p:cNvPr>
            <p:cNvSpPr>
              <a:spLocks noChangeShapeType="1"/>
            </p:cNvSpPr>
            <p:nvPr/>
          </p:nvSpPr>
          <p:spPr bwMode="auto">
            <a:xfrm flipH="1">
              <a:off x="7382805" y="4004482"/>
              <a:ext cx="0" cy="246063"/>
            </a:xfrm>
            <a:prstGeom prst="line">
              <a:avLst/>
            </a:prstGeom>
            <a:noFill/>
            <a:ln w="6350" cap="rnd">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9" name="Rectangle 19">
              <a:extLst>
                <a:ext uri="{FF2B5EF4-FFF2-40B4-BE49-F238E27FC236}">
                  <a16:creationId xmlns:a16="http://schemas.microsoft.com/office/drawing/2014/main" id="{78E069FE-8A77-404B-ADC5-106DE4D3A932}"/>
                </a:ext>
              </a:extLst>
            </p:cNvPr>
            <p:cNvSpPr>
              <a:spLocks noChangeArrowheads="1"/>
            </p:cNvSpPr>
            <p:nvPr/>
          </p:nvSpPr>
          <p:spPr bwMode="auto">
            <a:xfrm>
              <a:off x="3028950" y="2302682"/>
              <a:ext cx="401453" cy="271463"/>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f(X)</a:t>
              </a:r>
            </a:p>
          </p:txBody>
        </p:sp>
        <p:sp>
          <p:nvSpPr>
            <p:cNvPr id="20" name="Text Box 20">
              <a:extLst>
                <a:ext uri="{FF2B5EF4-FFF2-40B4-BE49-F238E27FC236}">
                  <a16:creationId xmlns:a16="http://schemas.microsoft.com/office/drawing/2014/main" id="{E876C654-E17D-43BD-B977-AE8C26C0DF0C}"/>
                </a:ext>
              </a:extLst>
            </p:cNvPr>
            <p:cNvSpPr txBox="1">
              <a:spLocks noChangeArrowheads="1"/>
            </p:cNvSpPr>
            <p:nvPr/>
          </p:nvSpPr>
          <p:spPr bwMode="auto">
            <a:xfrm>
              <a:off x="8140877" y="4006069"/>
              <a:ext cx="247611"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x</a:t>
              </a:r>
            </a:p>
          </p:txBody>
        </p:sp>
        <p:sp>
          <p:nvSpPr>
            <p:cNvPr id="21" name="Line 21">
              <a:extLst>
                <a:ext uri="{FF2B5EF4-FFF2-40B4-BE49-F238E27FC236}">
                  <a16:creationId xmlns:a16="http://schemas.microsoft.com/office/drawing/2014/main" id="{5FA16FBF-1BDB-49B8-B383-3FB4E8F75139}"/>
                </a:ext>
              </a:extLst>
            </p:cNvPr>
            <p:cNvSpPr>
              <a:spLocks noChangeShapeType="1"/>
            </p:cNvSpPr>
            <p:nvPr/>
          </p:nvSpPr>
          <p:spPr bwMode="auto">
            <a:xfrm>
              <a:off x="5546601" y="2661457"/>
              <a:ext cx="0" cy="1343025"/>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22" name="Line 22">
              <a:extLst>
                <a:ext uri="{FF2B5EF4-FFF2-40B4-BE49-F238E27FC236}">
                  <a16:creationId xmlns:a16="http://schemas.microsoft.com/office/drawing/2014/main" id="{02A21DDE-CFB4-4BDD-9B2A-1A371B10CF67}"/>
                </a:ext>
              </a:extLst>
            </p:cNvPr>
            <p:cNvSpPr>
              <a:spLocks noChangeShapeType="1"/>
            </p:cNvSpPr>
            <p:nvPr/>
          </p:nvSpPr>
          <p:spPr bwMode="auto">
            <a:xfrm>
              <a:off x="6309433" y="4004482"/>
              <a:ext cx="0" cy="1055688"/>
            </a:xfrm>
            <a:prstGeom prst="line">
              <a:avLst/>
            </a:prstGeom>
            <a:noFill/>
            <a:ln w="6350" cap="rnd">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23" name="Line 23">
              <a:extLst>
                <a:ext uri="{FF2B5EF4-FFF2-40B4-BE49-F238E27FC236}">
                  <a16:creationId xmlns:a16="http://schemas.microsoft.com/office/drawing/2014/main" id="{7D731FD4-3A07-4BBB-9613-4F857995054E}"/>
                </a:ext>
              </a:extLst>
            </p:cNvPr>
            <p:cNvSpPr>
              <a:spLocks noChangeShapeType="1"/>
            </p:cNvSpPr>
            <p:nvPr/>
          </p:nvSpPr>
          <p:spPr bwMode="auto">
            <a:xfrm>
              <a:off x="5565134" y="4004482"/>
              <a:ext cx="0" cy="1055688"/>
            </a:xfrm>
            <a:prstGeom prst="line">
              <a:avLst/>
            </a:prstGeom>
            <a:noFill/>
            <a:ln w="6350" cap="rnd">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24" name="Line 24">
              <a:extLst>
                <a:ext uri="{FF2B5EF4-FFF2-40B4-BE49-F238E27FC236}">
                  <a16:creationId xmlns:a16="http://schemas.microsoft.com/office/drawing/2014/main" id="{B937A0D7-6ECA-45A2-AE12-3BB36BA9BD63}"/>
                </a:ext>
              </a:extLst>
            </p:cNvPr>
            <p:cNvSpPr>
              <a:spLocks noChangeShapeType="1"/>
            </p:cNvSpPr>
            <p:nvPr/>
          </p:nvSpPr>
          <p:spPr bwMode="auto">
            <a:xfrm>
              <a:off x="5042545" y="3228988"/>
              <a:ext cx="0" cy="775494"/>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25" name="Line 25">
              <a:extLst>
                <a:ext uri="{FF2B5EF4-FFF2-40B4-BE49-F238E27FC236}">
                  <a16:creationId xmlns:a16="http://schemas.microsoft.com/office/drawing/2014/main" id="{ADE1F082-58E1-41CD-8493-D2E91CAFF402}"/>
                </a:ext>
              </a:extLst>
            </p:cNvPr>
            <p:cNvSpPr>
              <a:spLocks noChangeShapeType="1"/>
            </p:cNvSpPr>
            <p:nvPr/>
          </p:nvSpPr>
          <p:spPr bwMode="auto">
            <a:xfrm>
              <a:off x="6806741" y="4004482"/>
              <a:ext cx="0" cy="649288"/>
            </a:xfrm>
            <a:prstGeom prst="line">
              <a:avLst/>
            </a:prstGeom>
            <a:noFill/>
            <a:ln w="6350" cap="rnd">
              <a:solidFill>
                <a:srgbClr val="778888"/>
              </a:solidFill>
              <a:prstDash val="sysDot"/>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26" name="Line 26">
              <a:extLst>
                <a:ext uri="{FF2B5EF4-FFF2-40B4-BE49-F238E27FC236}">
                  <a16:creationId xmlns:a16="http://schemas.microsoft.com/office/drawing/2014/main" id="{32157ED1-229F-4746-BCBB-AD0274B91A26}"/>
                </a:ext>
              </a:extLst>
            </p:cNvPr>
            <p:cNvSpPr>
              <a:spLocks noChangeShapeType="1"/>
            </p:cNvSpPr>
            <p:nvPr/>
          </p:nvSpPr>
          <p:spPr bwMode="auto">
            <a:xfrm>
              <a:off x="5042545" y="4004482"/>
              <a:ext cx="0" cy="649288"/>
            </a:xfrm>
            <a:prstGeom prst="line">
              <a:avLst/>
            </a:prstGeom>
            <a:noFill/>
            <a:ln w="6350" cap="rnd">
              <a:solidFill>
                <a:srgbClr val="778888"/>
              </a:solidFill>
              <a:prstDash val="sysDot"/>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27" name="Line 27">
              <a:extLst>
                <a:ext uri="{FF2B5EF4-FFF2-40B4-BE49-F238E27FC236}">
                  <a16:creationId xmlns:a16="http://schemas.microsoft.com/office/drawing/2014/main" id="{6F493A89-611D-4667-A1B5-1771C56D63E3}"/>
                </a:ext>
              </a:extLst>
            </p:cNvPr>
            <p:cNvSpPr>
              <a:spLocks noChangeShapeType="1"/>
            </p:cNvSpPr>
            <p:nvPr/>
          </p:nvSpPr>
          <p:spPr bwMode="auto">
            <a:xfrm>
              <a:off x="4430477" y="3729050"/>
              <a:ext cx="0" cy="275432"/>
            </a:xfrm>
            <a:prstGeom prst="line">
              <a:avLst/>
            </a:prstGeom>
            <a:noFill/>
            <a:ln w="6350">
              <a:solidFill>
                <a:srgbClr val="778888"/>
              </a:solidFill>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28" name="Line 28">
              <a:extLst>
                <a:ext uri="{FF2B5EF4-FFF2-40B4-BE49-F238E27FC236}">
                  <a16:creationId xmlns:a16="http://schemas.microsoft.com/office/drawing/2014/main" id="{940C7440-C80F-434A-8181-E2C51E148BAF}"/>
                </a:ext>
              </a:extLst>
            </p:cNvPr>
            <p:cNvSpPr>
              <a:spLocks noChangeShapeType="1"/>
            </p:cNvSpPr>
            <p:nvPr/>
          </p:nvSpPr>
          <p:spPr bwMode="auto">
            <a:xfrm flipH="1">
              <a:off x="4430477" y="4004482"/>
              <a:ext cx="0" cy="246063"/>
            </a:xfrm>
            <a:prstGeom prst="line">
              <a:avLst/>
            </a:prstGeom>
            <a:noFill/>
            <a:ln w="6350" cap="rnd">
              <a:solidFill>
                <a:srgbClr val="778888"/>
              </a:solidFill>
              <a:prstDash val="sysDot"/>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grpSp>
      <p:sp>
        <p:nvSpPr>
          <p:cNvPr id="3" name="Rectangle 2">
            <a:hlinkClick r:id="rId3" action="ppaction://hlinksldjump"/>
            <a:extLst>
              <a:ext uri="{FF2B5EF4-FFF2-40B4-BE49-F238E27FC236}">
                <a16:creationId xmlns:a16="http://schemas.microsoft.com/office/drawing/2014/main" id="{76F45CA3-B4DE-4E41-8CC9-E5BB38491CF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929692515"/>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Normal Distribution 2</a:t>
            </a:r>
          </a:p>
        </p:txBody>
      </p:sp>
      <p:sp>
        <p:nvSpPr>
          <p:cNvPr id="4" name="Freeform: Shape 3">
            <a:hlinkClick r:id="rId12"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12" action="ppaction://hlinksldjump"/>
            <a:extLst>
              <a:ext uri="{FF2B5EF4-FFF2-40B4-BE49-F238E27FC236}">
                <a16:creationId xmlns:a16="http://schemas.microsoft.com/office/drawing/2014/main" id="{739FF547-82D9-4ABD-B1D9-F7838155541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5" name="Group 14">
            <a:extLst>
              <a:ext uri="{FF2B5EF4-FFF2-40B4-BE49-F238E27FC236}">
                <a16:creationId xmlns:a16="http://schemas.microsoft.com/office/drawing/2014/main" id="{7CA87012-46EC-4B1B-AB7C-51A14836FC2B}"/>
              </a:ext>
            </a:extLst>
          </p:cNvPr>
          <p:cNvGrpSpPr/>
          <p:nvPr/>
        </p:nvGrpSpPr>
        <p:grpSpPr>
          <a:xfrm>
            <a:off x="2553494" y="1644650"/>
            <a:ext cx="7085012" cy="3743325"/>
            <a:chOff x="2553494" y="1644650"/>
            <a:chExt cx="7085012" cy="3743325"/>
          </a:xfrm>
        </p:grpSpPr>
        <p:sp>
          <p:nvSpPr>
            <p:cNvPr id="21" name="Freeform 4">
              <a:extLst>
                <a:ext uri="{FF2B5EF4-FFF2-40B4-BE49-F238E27FC236}">
                  <a16:creationId xmlns:a16="http://schemas.microsoft.com/office/drawing/2014/main" id="{CA80E66C-C0FA-4CFF-BA98-5C9902DF1209}"/>
                </a:ext>
              </a:extLst>
            </p:cNvPr>
            <p:cNvSpPr>
              <a:spLocks/>
            </p:cNvSpPr>
            <p:nvPr>
              <p:custDataLst>
                <p:tags r:id="rId1"/>
              </p:custDataLst>
            </p:nvPr>
          </p:nvSpPr>
          <p:spPr bwMode="auto">
            <a:xfrm>
              <a:off x="4622006" y="1644650"/>
              <a:ext cx="1398588" cy="3743325"/>
            </a:xfrm>
            <a:custGeom>
              <a:avLst/>
              <a:gdLst/>
              <a:ahLst/>
              <a:cxnLst>
                <a:cxn ang="0">
                  <a:pos x="881" y="0"/>
                </a:cxn>
                <a:cxn ang="0">
                  <a:pos x="787" y="31"/>
                </a:cxn>
                <a:cxn ang="0">
                  <a:pos x="684" y="126"/>
                </a:cxn>
                <a:cxn ang="0">
                  <a:pos x="594" y="240"/>
                </a:cxn>
                <a:cxn ang="0">
                  <a:pos x="505" y="394"/>
                </a:cxn>
                <a:cxn ang="0">
                  <a:pos x="433" y="536"/>
                </a:cxn>
                <a:cxn ang="0">
                  <a:pos x="366" y="672"/>
                </a:cxn>
                <a:cxn ang="0">
                  <a:pos x="277" y="867"/>
                </a:cxn>
                <a:cxn ang="0">
                  <a:pos x="193" y="1045"/>
                </a:cxn>
                <a:cxn ang="0">
                  <a:pos x="115" y="1215"/>
                </a:cxn>
                <a:cxn ang="0">
                  <a:pos x="1" y="1450"/>
                </a:cxn>
                <a:cxn ang="0">
                  <a:pos x="0" y="2358"/>
                </a:cxn>
                <a:cxn ang="0">
                  <a:pos x="881" y="2358"/>
                </a:cxn>
                <a:cxn ang="0">
                  <a:pos x="881" y="0"/>
                </a:cxn>
              </a:cxnLst>
              <a:rect l="0" t="0" r="r" b="b"/>
              <a:pathLst>
                <a:path w="881" h="2358">
                  <a:moveTo>
                    <a:pt x="881" y="0"/>
                  </a:moveTo>
                  <a:cubicBezTo>
                    <a:pt x="881" y="0"/>
                    <a:pt x="820" y="10"/>
                    <a:pt x="787" y="31"/>
                  </a:cubicBezTo>
                  <a:cubicBezTo>
                    <a:pt x="754" y="52"/>
                    <a:pt x="716" y="91"/>
                    <a:pt x="684" y="126"/>
                  </a:cubicBezTo>
                  <a:cubicBezTo>
                    <a:pt x="652" y="161"/>
                    <a:pt x="624" y="195"/>
                    <a:pt x="594" y="240"/>
                  </a:cubicBezTo>
                  <a:lnTo>
                    <a:pt x="505" y="394"/>
                  </a:lnTo>
                  <a:lnTo>
                    <a:pt x="433" y="536"/>
                  </a:lnTo>
                  <a:lnTo>
                    <a:pt x="366" y="672"/>
                  </a:lnTo>
                  <a:lnTo>
                    <a:pt x="277" y="867"/>
                  </a:lnTo>
                  <a:cubicBezTo>
                    <a:pt x="248" y="929"/>
                    <a:pt x="220" y="987"/>
                    <a:pt x="193" y="1045"/>
                  </a:cubicBezTo>
                  <a:cubicBezTo>
                    <a:pt x="166" y="1103"/>
                    <a:pt x="147" y="1148"/>
                    <a:pt x="115" y="1215"/>
                  </a:cubicBezTo>
                  <a:lnTo>
                    <a:pt x="1" y="1450"/>
                  </a:lnTo>
                  <a:lnTo>
                    <a:pt x="0" y="2358"/>
                  </a:lnTo>
                  <a:lnTo>
                    <a:pt x="881" y="2358"/>
                  </a:lnTo>
                  <a:lnTo>
                    <a:pt x="881" y="0"/>
                  </a:lnTo>
                  <a:close/>
                </a:path>
              </a:pathLst>
            </a:custGeom>
            <a:solidFill>
              <a:schemeClr val="accent1"/>
            </a:solidFill>
            <a:ln w="6350" cap="flat" cmpd="sng">
              <a:solidFill>
                <a:schemeClr val="bg1"/>
              </a:solidFill>
              <a:prstDash val="solid"/>
              <a:round/>
              <a:headEnd type="none" w="sm" len="sm"/>
              <a:tailEnd type="none" w="med" len="med"/>
            </a:ln>
            <a:effectLst/>
          </p:spPr>
          <p:txBody>
            <a:bodyPr wrap="none" anchor="ctr"/>
            <a:lstStyle/>
            <a:p>
              <a:endParaRPr lang="de-DE"/>
            </a:p>
          </p:txBody>
        </p:sp>
        <p:sp>
          <p:nvSpPr>
            <p:cNvPr id="16" name="Freeform 6">
              <a:extLst>
                <a:ext uri="{FF2B5EF4-FFF2-40B4-BE49-F238E27FC236}">
                  <a16:creationId xmlns:a16="http://schemas.microsoft.com/office/drawing/2014/main" id="{61004A79-9245-43A4-A80B-A326EF10774B}"/>
                </a:ext>
              </a:extLst>
            </p:cNvPr>
            <p:cNvSpPr>
              <a:spLocks/>
            </p:cNvSpPr>
            <p:nvPr>
              <p:custDataLst>
                <p:tags r:id="rId2"/>
              </p:custDataLst>
            </p:nvPr>
          </p:nvSpPr>
          <p:spPr bwMode="auto">
            <a:xfrm>
              <a:off x="3459956" y="5113338"/>
              <a:ext cx="246063" cy="274637"/>
            </a:xfrm>
            <a:custGeom>
              <a:avLst/>
              <a:gdLst/>
              <a:ahLst/>
              <a:cxnLst>
                <a:cxn ang="0">
                  <a:pos x="0" y="65"/>
                </a:cxn>
                <a:cxn ang="0">
                  <a:pos x="93" y="38"/>
                </a:cxn>
                <a:cxn ang="0">
                  <a:pos x="192" y="0"/>
                </a:cxn>
                <a:cxn ang="0">
                  <a:pos x="192" y="141"/>
                </a:cxn>
                <a:cxn ang="0">
                  <a:pos x="0" y="141"/>
                </a:cxn>
                <a:cxn ang="0">
                  <a:pos x="0" y="65"/>
                </a:cxn>
              </a:cxnLst>
              <a:rect l="0" t="0" r="r" b="b"/>
              <a:pathLst>
                <a:path w="192" h="141">
                  <a:moveTo>
                    <a:pt x="0" y="65"/>
                  </a:moveTo>
                  <a:lnTo>
                    <a:pt x="93" y="38"/>
                  </a:lnTo>
                  <a:lnTo>
                    <a:pt x="192" y="0"/>
                  </a:lnTo>
                  <a:lnTo>
                    <a:pt x="192" y="141"/>
                  </a:lnTo>
                  <a:lnTo>
                    <a:pt x="0" y="141"/>
                  </a:lnTo>
                  <a:lnTo>
                    <a:pt x="0" y="65"/>
                  </a:lnTo>
                  <a:close/>
                </a:path>
              </a:pathLst>
            </a:custGeom>
            <a:solidFill>
              <a:schemeClr val="accent2"/>
            </a:solidFill>
            <a:ln w="6350" cap="flat" cmpd="sng">
              <a:solidFill>
                <a:schemeClr val="bg1"/>
              </a:solidFill>
              <a:prstDash val="solid"/>
              <a:round/>
              <a:headEnd type="none" w="sm" len="sm"/>
              <a:tailEnd type="none" w="med" len="med"/>
            </a:ln>
            <a:effectLst/>
          </p:spPr>
          <p:txBody>
            <a:bodyPr wrap="none" anchor="ctr"/>
            <a:lstStyle/>
            <a:p>
              <a:endParaRPr lang="de-DE"/>
            </a:p>
          </p:txBody>
        </p:sp>
        <p:sp>
          <p:nvSpPr>
            <p:cNvPr id="17" name="Freeform 5">
              <a:extLst>
                <a:ext uri="{FF2B5EF4-FFF2-40B4-BE49-F238E27FC236}">
                  <a16:creationId xmlns:a16="http://schemas.microsoft.com/office/drawing/2014/main" id="{95300DF4-29D4-420D-A88F-3068D44E6EC9}"/>
                </a:ext>
              </a:extLst>
            </p:cNvPr>
            <p:cNvSpPr>
              <a:spLocks/>
            </p:cNvSpPr>
            <p:nvPr>
              <p:custDataLst>
                <p:tags r:id="rId3"/>
              </p:custDataLst>
            </p:nvPr>
          </p:nvSpPr>
          <p:spPr bwMode="auto">
            <a:xfrm>
              <a:off x="3701256" y="3944938"/>
              <a:ext cx="920750" cy="1443037"/>
            </a:xfrm>
            <a:custGeom>
              <a:avLst/>
              <a:gdLst/>
              <a:ahLst/>
              <a:cxnLst>
                <a:cxn ang="0">
                  <a:pos x="580" y="0"/>
                </a:cxn>
                <a:cxn ang="0">
                  <a:pos x="472" y="189"/>
                </a:cxn>
                <a:cxn ang="0">
                  <a:pos x="400" y="321"/>
                </a:cxn>
                <a:cxn ang="0">
                  <a:pos x="316" y="424"/>
                </a:cxn>
                <a:cxn ang="0">
                  <a:pos x="183" y="590"/>
                </a:cxn>
                <a:cxn ang="0">
                  <a:pos x="89" y="676"/>
                </a:cxn>
                <a:cxn ang="0">
                  <a:pos x="0" y="738"/>
                </a:cxn>
                <a:cxn ang="0">
                  <a:pos x="0" y="909"/>
                </a:cxn>
                <a:cxn ang="0">
                  <a:pos x="579" y="909"/>
                </a:cxn>
                <a:cxn ang="0">
                  <a:pos x="580" y="0"/>
                </a:cxn>
              </a:cxnLst>
              <a:rect l="0" t="0" r="r" b="b"/>
              <a:pathLst>
                <a:path w="580" h="909">
                  <a:moveTo>
                    <a:pt x="580" y="0"/>
                  </a:moveTo>
                  <a:lnTo>
                    <a:pt x="472" y="189"/>
                  </a:lnTo>
                  <a:lnTo>
                    <a:pt x="400" y="321"/>
                  </a:lnTo>
                  <a:lnTo>
                    <a:pt x="316" y="424"/>
                  </a:lnTo>
                  <a:lnTo>
                    <a:pt x="183" y="590"/>
                  </a:lnTo>
                  <a:lnTo>
                    <a:pt x="89" y="676"/>
                  </a:lnTo>
                  <a:lnTo>
                    <a:pt x="0" y="738"/>
                  </a:lnTo>
                  <a:lnTo>
                    <a:pt x="0" y="909"/>
                  </a:lnTo>
                  <a:lnTo>
                    <a:pt x="579" y="909"/>
                  </a:lnTo>
                  <a:lnTo>
                    <a:pt x="580" y="0"/>
                  </a:lnTo>
                  <a:close/>
                </a:path>
              </a:pathLst>
            </a:custGeom>
            <a:pattFill prst="wdUpDiag">
              <a:fgClr>
                <a:schemeClr val="accent3">
                  <a:lumMod val="20000"/>
                  <a:lumOff val="80000"/>
                </a:schemeClr>
              </a:fgClr>
              <a:bgClr>
                <a:schemeClr val="bg1"/>
              </a:bgClr>
            </a:pattFill>
            <a:ln>
              <a:noFill/>
            </a:ln>
          </p:spPr>
          <p:txBody>
            <a:bodyPr vert="horz" wrap="square" lIns="91440" tIns="45720" rIns="91440" bIns="45720" numCol="1" anchor="t" anchorCtr="0" compatLnSpc="1">
              <a:prstTxWarp prst="textNoShape">
                <a:avLst/>
              </a:prstTxWarp>
            </a:bodyPr>
            <a:lstStyle/>
            <a:p>
              <a:endParaRPr lang="de-DE"/>
            </a:p>
          </p:txBody>
        </p:sp>
        <p:sp>
          <p:nvSpPr>
            <p:cNvPr id="18" name="Freeform 9">
              <a:extLst>
                <a:ext uri="{FF2B5EF4-FFF2-40B4-BE49-F238E27FC236}">
                  <a16:creationId xmlns:a16="http://schemas.microsoft.com/office/drawing/2014/main" id="{8E26F6DA-4794-4FAA-B005-96846299B32E}"/>
                </a:ext>
              </a:extLst>
            </p:cNvPr>
            <p:cNvSpPr>
              <a:spLocks/>
            </p:cNvSpPr>
            <p:nvPr>
              <p:custDataLst>
                <p:tags r:id="rId4"/>
              </p:custDataLst>
            </p:nvPr>
          </p:nvSpPr>
          <p:spPr bwMode="auto">
            <a:xfrm>
              <a:off x="6019006" y="1644650"/>
              <a:ext cx="1404938" cy="3743325"/>
            </a:xfrm>
            <a:custGeom>
              <a:avLst/>
              <a:gdLst/>
              <a:ahLst/>
              <a:cxnLst>
                <a:cxn ang="0">
                  <a:pos x="0" y="0"/>
                </a:cxn>
                <a:cxn ang="0">
                  <a:pos x="48" y="7"/>
                </a:cxn>
                <a:cxn ang="0">
                  <a:pos x="129" y="54"/>
                </a:cxn>
                <a:cxn ang="0">
                  <a:pos x="185" y="106"/>
                </a:cxn>
                <a:cxn ang="0">
                  <a:pos x="288" y="239"/>
                </a:cxn>
                <a:cxn ang="0">
                  <a:pos x="380" y="394"/>
                </a:cxn>
                <a:cxn ang="0">
                  <a:pos x="452" y="536"/>
                </a:cxn>
                <a:cxn ang="0">
                  <a:pos x="519" y="672"/>
                </a:cxn>
                <a:cxn ang="0">
                  <a:pos x="604" y="867"/>
                </a:cxn>
                <a:cxn ang="0">
                  <a:pos x="687" y="1043"/>
                </a:cxn>
                <a:cxn ang="0">
                  <a:pos x="769" y="1215"/>
                </a:cxn>
                <a:cxn ang="0">
                  <a:pos x="884" y="1450"/>
                </a:cxn>
                <a:cxn ang="0">
                  <a:pos x="885" y="2358"/>
                </a:cxn>
                <a:cxn ang="0">
                  <a:pos x="4" y="2358"/>
                </a:cxn>
                <a:cxn ang="0">
                  <a:pos x="0" y="0"/>
                </a:cxn>
              </a:cxnLst>
              <a:rect l="0" t="0" r="r" b="b"/>
              <a:pathLst>
                <a:path w="885" h="2358">
                  <a:moveTo>
                    <a:pt x="0" y="0"/>
                  </a:moveTo>
                  <a:lnTo>
                    <a:pt x="48" y="7"/>
                  </a:lnTo>
                  <a:cubicBezTo>
                    <a:pt x="69" y="16"/>
                    <a:pt x="106" y="38"/>
                    <a:pt x="129" y="54"/>
                  </a:cubicBezTo>
                  <a:cubicBezTo>
                    <a:pt x="148" y="69"/>
                    <a:pt x="158" y="75"/>
                    <a:pt x="185" y="106"/>
                  </a:cubicBezTo>
                  <a:cubicBezTo>
                    <a:pt x="212" y="137"/>
                    <a:pt x="256" y="191"/>
                    <a:pt x="288" y="239"/>
                  </a:cubicBezTo>
                  <a:cubicBezTo>
                    <a:pt x="320" y="287"/>
                    <a:pt x="353" y="345"/>
                    <a:pt x="380" y="394"/>
                  </a:cubicBezTo>
                  <a:cubicBezTo>
                    <a:pt x="407" y="443"/>
                    <a:pt x="429" y="490"/>
                    <a:pt x="452" y="536"/>
                  </a:cubicBezTo>
                  <a:lnTo>
                    <a:pt x="519" y="672"/>
                  </a:lnTo>
                  <a:lnTo>
                    <a:pt x="604" y="867"/>
                  </a:lnTo>
                  <a:lnTo>
                    <a:pt x="687" y="1043"/>
                  </a:lnTo>
                  <a:lnTo>
                    <a:pt x="769" y="1215"/>
                  </a:lnTo>
                  <a:lnTo>
                    <a:pt x="884" y="1450"/>
                  </a:lnTo>
                  <a:lnTo>
                    <a:pt x="885" y="2358"/>
                  </a:lnTo>
                  <a:lnTo>
                    <a:pt x="4" y="2358"/>
                  </a:lnTo>
                  <a:lnTo>
                    <a:pt x="0" y="0"/>
                  </a:lnTo>
                  <a:close/>
                </a:path>
              </a:pathLst>
            </a:custGeom>
            <a:solidFill>
              <a:schemeClr val="accent1"/>
            </a:solidFill>
            <a:ln w="6350" cap="flat" cmpd="sng">
              <a:solidFill>
                <a:schemeClr val="bg1"/>
              </a:solidFill>
              <a:prstDash val="solid"/>
              <a:round/>
              <a:headEnd type="none" w="sm" len="sm"/>
              <a:tailEnd type="none" w="med" len="med"/>
            </a:ln>
            <a:effectLst/>
          </p:spPr>
          <p:txBody>
            <a:bodyPr wrap="none" anchor="ctr"/>
            <a:lstStyle/>
            <a:p>
              <a:endParaRPr lang="de-DE"/>
            </a:p>
          </p:txBody>
        </p:sp>
        <p:sp>
          <p:nvSpPr>
            <p:cNvPr id="19" name="Freeform 11">
              <a:extLst>
                <a:ext uri="{FF2B5EF4-FFF2-40B4-BE49-F238E27FC236}">
                  <a16:creationId xmlns:a16="http://schemas.microsoft.com/office/drawing/2014/main" id="{31E4A06A-979A-495F-81CF-CA86CB1834C6}"/>
                </a:ext>
              </a:extLst>
            </p:cNvPr>
            <p:cNvSpPr>
              <a:spLocks/>
            </p:cNvSpPr>
            <p:nvPr>
              <p:custDataLst>
                <p:tags r:id="rId5"/>
              </p:custDataLst>
            </p:nvPr>
          </p:nvSpPr>
          <p:spPr bwMode="auto">
            <a:xfrm flipH="1">
              <a:off x="8338344" y="5113338"/>
              <a:ext cx="246062" cy="274637"/>
            </a:xfrm>
            <a:custGeom>
              <a:avLst/>
              <a:gdLst/>
              <a:ahLst/>
              <a:cxnLst>
                <a:cxn ang="0">
                  <a:pos x="0" y="65"/>
                </a:cxn>
                <a:cxn ang="0">
                  <a:pos x="93" y="38"/>
                </a:cxn>
                <a:cxn ang="0">
                  <a:pos x="192" y="0"/>
                </a:cxn>
                <a:cxn ang="0">
                  <a:pos x="192" y="141"/>
                </a:cxn>
                <a:cxn ang="0">
                  <a:pos x="0" y="141"/>
                </a:cxn>
                <a:cxn ang="0">
                  <a:pos x="0" y="65"/>
                </a:cxn>
              </a:cxnLst>
              <a:rect l="0" t="0" r="r" b="b"/>
              <a:pathLst>
                <a:path w="192" h="141">
                  <a:moveTo>
                    <a:pt x="0" y="65"/>
                  </a:moveTo>
                  <a:lnTo>
                    <a:pt x="93" y="38"/>
                  </a:lnTo>
                  <a:lnTo>
                    <a:pt x="192" y="0"/>
                  </a:lnTo>
                  <a:lnTo>
                    <a:pt x="192" y="141"/>
                  </a:lnTo>
                  <a:lnTo>
                    <a:pt x="0" y="141"/>
                  </a:lnTo>
                  <a:lnTo>
                    <a:pt x="0" y="65"/>
                  </a:lnTo>
                  <a:close/>
                </a:path>
              </a:pathLst>
            </a:custGeom>
            <a:solidFill>
              <a:schemeClr val="accent2"/>
            </a:solidFill>
            <a:ln w="6350" cap="flat" cmpd="sng">
              <a:solidFill>
                <a:schemeClr val="bg1"/>
              </a:solidFill>
              <a:prstDash val="solid"/>
              <a:round/>
              <a:headEnd type="none" w="sm" len="sm"/>
              <a:tailEnd type="none" w="med" len="med"/>
            </a:ln>
            <a:effectLst/>
          </p:spPr>
          <p:txBody>
            <a:bodyPr wrap="none" anchor="ctr"/>
            <a:lstStyle/>
            <a:p>
              <a:endParaRPr lang="de-DE"/>
            </a:p>
          </p:txBody>
        </p:sp>
        <p:sp>
          <p:nvSpPr>
            <p:cNvPr id="20" name="Freeform 10">
              <a:extLst>
                <a:ext uri="{FF2B5EF4-FFF2-40B4-BE49-F238E27FC236}">
                  <a16:creationId xmlns:a16="http://schemas.microsoft.com/office/drawing/2014/main" id="{F1CA2A02-79B3-4F53-A6E6-8785FE3D7AA0}"/>
                </a:ext>
              </a:extLst>
            </p:cNvPr>
            <p:cNvSpPr>
              <a:spLocks/>
            </p:cNvSpPr>
            <p:nvPr>
              <p:custDataLst>
                <p:tags r:id="rId6"/>
              </p:custDataLst>
            </p:nvPr>
          </p:nvSpPr>
          <p:spPr bwMode="auto">
            <a:xfrm>
              <a:off x="7422356" y="3944938"/>
              <a:ext cx="920750" cy="1443037"/>
            </a:xfrm>
            <a:custGeom>
              <a:avLst/>
              <a:gdLst/>
              <a:ahLst/>
              <a:cxnLst>
                <a:cxn ang="0">
                  <a:pos x="0" y="0"/>
                </a:cxn>
                <a:cxn ang="0">
                  <a:pos x="108" y="189"/>
                </a:cxn>
                <a:cxn ang="0">
                  <a:pos x="178" y="316"/>
                </a:cxn>
                <a:cxn ang="0">
                  <a:pos x="264" y="424"/>
                </a:cxn>
                <a:cxn ang="0">
                  <a:pos x="402" y="589"/>
                </a:cxn>
                <a:cxn ang="0">
                  <a:pos x="499" y="675"/>
                </a:cxn>
                <a:cxn ang="0">
                  <a:pos x="580" y="738"/>
                </a:cxn>
                <a:cxn ang="0">
                  <a:pos x="580" y="909"/>
                </a:cxn>
                <a:cxn ang="0">
                  <a:pos x="1" y="909"/>
                </a:cxn>
                <a:cxn ang="0">
                  <a:pos x="0" y="0"/>
                </a:cxn>
              </a:cxnLst>
              <a:rect l="0" t="0" r="r" b="b"/>
              <a:pathLst>
                <a:path w="580" h="909">
                  <a:moveTo>
                    <a:pt x="0" y="0"/>
                  </a:moveTo>
                  <a:lnTo>
                    <a:pt x="108" y="189"/>
                  </a:lnTo>
                  <a:cubicBezTo>
                    <a:pt x="138" y="242"/>
                    <a:pt x="152" y="277"/>
                    <a:pt x="178" y="316"/>
                  </a:cubicBezTo>
                  <a:cubicBezTo>
                    <a:pt x="204" y="355"/>
                    <a:pt x="228" y="378"/>
                    <a:pt x="264" y="424"/>
                  </a:cubicBezTo>
                  <a:cubicBezTo>
                    <a:pt x="301" y="469"/>
                    <a:pt x="363" y="547"/>
                    <a:pt x="402" y="589"/>
                  </a:cubicBezTo>
                  <a:cubicBezTo>
                    <a:pt x="439" y="631"/>
                    <a:pt x="469" y="651"/>
                    <a:pt x="499" y="675"/>
                  </a:cubicBezTo>
                  <a:lnTo>
                    <a:pt x="580" y="738"/>
                  </a:lnTo>
                  <a:lnTo>
                    <a:pt x="580" y="909"/>
                  </a:lnTo>
                  <a:lnTo>
                    <a:pt x="1" y="909"/>
                  </a:lnTo>
                  <a:lnTo>
                    <a:pt x="0" y="0"/>
                  </a:lnTo>
                  <a:close/>
                </a:path>
              </a:pathLst>
            </a:custGeom>
            <a:pattFill prst="wdUpDiag">
              <a:fgClr>
                <a:schemeClr val="accent3">
                  <a:lumMod val="20000"/>
                  <a:lumOff val="80000"/>
                </a:schemeClr>
              </a:fgClr>
              <a:bgClr>
                <a:schemeClr val="bg1"/>
              </a:bgClr>
            </a:pattFill>
            <a:ln>
              <a:noFill/>
            </a:ln>
          </p:spPr>
          <p:txBody>
            <a:bodyPr vert="horz" wrap="square" lIns="91440" tIns="45720" rIns="91440" bIns="45720" numCol="1" anchor="t" anchorCtr="0" compatLnSpc="1">
              <a:prstTxWarp prst="textNoShape">
                <a:avLst/>
              </a:prstTxWarp>
            </a:bodyPr>
            <a:lstStyle/>
            <a:p>
              <a:endParaRPr lang="de-DE"/>
            </a:p>
          </p:txBody>
        </p:sp>
        <p:sp>
          <p:nvSpPr>
            <p:cNvPr id="22" name="Freeform 8">
              <a:extLst>
                <a:ext uri="{FF2B5EF4-FFF2-40B4-BE49-F238E27FC236}">
                  <a16:creationId xmlns:a16="http://schemas.microsoft.com/office/drawing/2014/main" id="{F2D6C02C-1F53-42AC-B547-6AA6DFC4284A}"/>
                </a:ext>
              </a:extLst>
            </p:cNvPr>
            <p:cNvSpPr>
              <a:spLocks/>
            </p:cNvSpPr>
            <p:nvPr>
              <p:custDataLst>
                <p:tags r:id="rId7"/>
              </p:custDataLst>
            </p:nvPr>
          </p:nvSpPr>
          <p:spPr bwMode="auto">
            <a:xfrm>
              <a:off x="2797969" y="1644650"/>
              <a:ext cx="3225800" cy="3736975"/>
            </a:xfrm>
            <a:custGeom>
              <a:avLst/>
              <a:gdLst/>
              <a:ahLst/>
              <a:cxnLst>
                <a:cxn ang="0">
                  <a:pos x="0" y="2354"/>
                </a:cxn>
                <a:cxn ang="0">
                  <a:pos x="216" y="2328"/>
                </a:cxn>
                <a:cxn ang="0">
                  <a:pos x="324" y="2302"/>
                </a:cxn>
                <a:cxn ang="0">
                  <a:pos x="431" y="2259"/>
                </a:cxn>
                <a:cxn ang="0">
                  <a:pos x="540" y="2208"/>
                </a:cxn>
                <a:cxn ang="0">
                  <a:pos x="647" y="2135"/>
                </a:cxn>
                <a:cxn ang="0">
                  <a:pos x="755" y="2037"/>
                </a:cxn>
                <a:cxn ang="0">
                  <a:pos x="971" y="1766"/>
                </a:cxn>
                <a:cxn ang="0">
                  <a:pos x="1187" y="1380"/>
                </a:cxn>
                <a:cxn ang="0">
                  <a:pos x="1404" y="919"/>
                </a:cxn>
                <a:cxn ang="0">
                  <a:pos x="1511" y="684"/>
                </a:cxn>
                <a:cxn ang="0">
                  <a:pos x="1619" y="465"/>
                </a:cxn>
                <a:cxn ang="0">
                  <a:pos x="1725" y="272"/>
                </a:cxn>
                <a:cxn ang="0">
                  <a:pos x="1835" y="124"/>
                </a:cxn>
                <a:cxn ang="0">
                  <a:pos x="1942" y="30"/>
                </a:cxn>
                <a:cxn ang="0">
                  <a:pos x="2032" y="0"/>
                </a:cxn>
              </a:cxnLst>
              <a:rect l="0" t="0" r="r" b="b"/>
              <a:pathLst>
                <a:path w="2032" h="2354">
                  <a:moveTo>
                    <a:pt x="0" y="2354"/>
                  </a:moveTo>
                  <a:lnTo>
                    <a:pt x="216" y="2328"/>
                  </a:lnTo>
                  <a:lnTo>
                    <a:pt x="324" y="2302"/>
                  </a:lnTo>
                  <a:lnTo>
                    <a:pt x="431" y="2259"/>
                  </a:lnTo>
                  <a:lnTo>
                    <a:pt x="540" y="2208"/>
                  </a:lnTo>
                  <a:lnTo>
                    <a:pt x="647" y="2135"/>
                  </a:lnTo>
                  <a:lnTo>
                    <a:pt x="755" y="2037"/>
                  </a:lnTo>
                  <a:lnTo>
                    <a:pt x="971" y="1766"/>
                  </a:lnTo>
                  <a:lnTo>
                    <a:pt x="1187" y="1380"/>
                  </a:lnTo>
                  <a:lnTo>
                    <a:pt x="1404" y="919"/>
                  </a:lnTo>
                  <a:lnTo>
                    <a:pt x="1511" y="684"/>
                  </a:lnTo>
                  <a:lnTo>
                    <a:pt x="1619" y="465"/>
                  </a:lnTo>
                  <a:lnTo>
                    <a:pt x="1725" y="272"/>
                  </a:lnTo>
                  <a:lnTo>
                    <a:pt x="1835" y="124"/>
                  </a:lnTo>
                  <a:cubicBezTo>
                    <a:pt x="1871" y="84"/>
                    <a:pt x="1909" y="51"/>
                    <a:pt x="1942" y="30"/>
                  </a:cubicBezTo>
                  <a:cubicBezTo>
                    <a:pt x="1975" y="9"/>
                    <a:pt x="2013" y="6"/>
                    <a:pt x="2032" y="0"/>
                  </a:cubicBezTo>
                </a:path>
              </a:pathLst>
            </a:custGeom>
            <a:noFill/>
            <a:ln w="28575" cap="rnd" cmpd="sng">
              <a:solidFill>
                <a:schemeClr val="accent2">
                  <a:lumMod val="50000"/>
                </a:schemeClr>
              </a:solidFill>
              <a:prstDash val="solid"/>
              <a:round/>
              <a:headEnd type="none" w="med" len="med"/>
              <a:tailEnd type="none" w="med" len="med"/>
            </a:ln>
            <a:effectLst/>
          </p:spPr>
          <p:txBody>
            <a:bodyPr/>
            <a:lstStyle/>
            <a:p>
              <a:endParaRPr lang="de-DE"/>
            </a:p>
          </p:txBody>
        </p:sp>
        <p:sp>
          <p:nvSpPr>
            <p:cNvPr id="23" name="Freeform 12">
              <a:extLst>
                <a:ext uri="{FF2B5EF4-FFF2-40B4-BE49-F238E27FC236}">
                  <a16:creationId xmlns:a16="http://schemas.microsoft.com/office/drawing/2014/main" id="{8A1F0EC5-5B17-4086-A9F9-486B0D78BF2D}"/>
                </a:ext>
              </a:extLst>
            </p:cNvPr>
            <p:cNvSpPr>
              <a:spLocks/>
            </p:cNvSpPr>
            <p:nvPr>
              <p:custDataLst>
                <p:tags r:id="rId8"/>
              </p:custDataLst>
            </p:nvPr>
          </p:nvSpPr>
          <p:spPr bwMode="auto">
            <a:xfrm>
              <a:off x="6020594" y="1649413"/>
              <a:ext cx="3227387" cy="3732212"/>
            </a:xfrm>
            <a:custGeom>
              <a:avLst/>
              <a:gdLst/>
              <a:ahLst/>
              <a:cxnLst>
                <a:cxn ang="0">
                  <a:pos x="2033" y="2351"/>
                </a:cxn>
                <a:cxn ang="0">
                  <a:pos x="1816" y="2325"/>
                </a:cxn>
                <a:cxn ang="0">
                  <a:pos x="1708" y="2299"/>
                </a:cxn>
                <a:cxn ang="0">
                  <a:pos x="1601" y="2256"/>
                </a:cxn>
                <a:cxn ang="0">
                  <a:pos x="1492" y="2205"/>
                </a:cxn>
                <a:cxn ang="0">
                  <a:pos x="1383" y="2132"/>
                </a:cxn>
                <a:cxn ang="0">
                  <a:pos x="1276" y="2034"/>
                </a:cxn>
                <a:cxn ang="0">
                  <a:pos x="1059" y="1763"/>
                </a:cxn>
                <a:cxn ang="0">
                  <a:pos x="842" y="1378"/>
                </a:cxn>
                <a:cxn ang="0">
                  <a:pos x="625" y="917"/>
                </a:cxn>
                <a:cxn ang="0">
                  <a:pos x="517" y="682"/>
                </a:cxn>
                <a:cxn ang="0">
                  <a:pos x="409" y="464"/>
                </a:cxn>
                <a:cxn ang="0">
                  <a:pos x="303" y="271"/>
                </a:cxn>
                <a:cxn ang="0">
                  <a:pos x="192" y="123"/>
                </a:cxn>
                <a:cxn ang="0">
                  <a:pos x="106" y="42"/>
                </a:cxn>
                <a:cxn ang="0">
                  <a:pos x="0" y="0"/>
                </a:cxn>
              </a:cxnLst>
              <a:rect l="0" t="0" r="r" b="b"/>
              <a:pathLst>
                <a:path w="2033" h="2351">
                  <a:moveTo>
                    <a:pt x="2033" y="2351"/>
                  </a:moveTo>
                  <a:lnTo>
                    <a:pt x="1816" y="2325"/>
                  </a:lnTo>
                  <a:lnTo>
                    <a:pt x="1708" y="2299"/>
                  </a:lnTo>
                  <a:lnTo>
                    <a:pt x="1601" y="2256"/>
                  </a:lnTo>
                  <a:lnTo>
                    <a:pt x="1492" y="2205"/>
                  </a:lnTo>
                  <a:lnTo>
                    <a:pt x="1383" y="2132"/>
                  </a:lnTo>
                  <a:lnTo>
                    <a:pt x="1276" y="2034"/>
                  </a:lnTo>
                  <a:lnTo>
                    <a:pt x="1059" y="1763"/>
                  </a:lnTo>
                  <a:lnTo>
                    <a:pt x="842" y="1378"/>
                  </a:lnTo>
                  <a:lnTo>
                    <a:pt x="625" y="917"/>
                  </a:lnTo>
                  <a:lnTo>
                    <a:pt x="517" y="682"/>
                  </a:lnTo>
                  <a:lnTo>
                    <a:pt x="409" y="464"/>
                  </a:lnTo>
                  <a:lnTo>
                    <a:pt x="303" y="271"/>
                  </a:lnTo>
                  <a:lnTo>
                    <a:pt x="192" y="123"/>
                  </a:lnTo>
                  <a:cubicBezTo>
                    <a:pt x="156" y="83"/>
                    <a:pt x="137" y="63"/>
                    <a:pt x="106" y="42"/>
                  </a:cubicBezTo>
                  <a:cubicBezTo>
                    <a:pt x="70" y="16"/>
                    <a:pt x="49" y="1"/>
                    <a:pt x="0" y="0"/>
                  </a:cubicBezTo>
                </a:path>
              </a:pathLst>
            </a:custGeom>
            <a:noFill/>
            <a:ln w="38100" cap="rnd" cmpd="sng">
              <a:solidFill>
                <a:schemeClr val="accent2">
                  <a:lumMod val="50000"/>
                </a:schemeClr>
              </a:solidFill>
              <a:prstDash val="solid"/>
              <a:round/>
              <a:headEnd type="none" w="med" len="med"/>
              <a:tailEnd type="none" w="med" len="med"/>
            </a:ln>
            <a:effectLst/>
          </p:spPr>
          <p:txBody>
            <a:bodyPr/>
            <a:lstStyle/>
            <a:p>
              <a:endParaRPr lang="de-DE"/>
            </a:p>
          </p:txBody>
        </p:sp>
        <p:sp>
          <p:nvSpPr>
            <p:cNvPr id="24" name="Line 7">
              <a:extLst>
                <a:ext uri="{FF2B5EF4-FFF2-40B4-BE49-F238E27FC236}">
                  <a16:creationId xmlns:a16="http://schemas.microsoft.com/office/drawing/2014/main" id="{AD00DC35-51E7-4F4F-A976-9BF4CAFDD807}"/>
                </a:ext>
              </a:extLst>
            </p:cNvPr>
            <p:cNvSpPr>
              <a:spLocks noChangeShapeType="1"/>
            </p:cNvSpPr>
            <p:nvPr>
              <p:custDataLst>
                <p:tags r:id="rId9"/>
              </p:custDataLst>
            </p:nvPr>
          </p:nvSpPr>
          <p:spPr bwMode="auto">
            <a:xfrm>
              <a:off x="2553494" y="5387975"/>
              <a:ext cx="7085012" cy="0"/>
            </a:xfrm>
            <a:prstGeom prst="line">
              <a:avLst/>
            </a:prstGeom>
            <a:noFill/>
            <a:ln w="6350">
              <a:solidFill>
                <a:schemeClr val="tx1"/>
              </a:solidFill>
              <a:round/>
              <a:headEnd/>
              <a:tailEnd type="triangle" w="med" len="med"/>
            </a:ln>
            <a:effectLst/>
          </p:spPr>
          <p:txBody>
            <a:bodyPr wrap="none" lIns="36000" tIns="36000" rIns="36000" bIns="36000" anchor="ctr"/>
            <a:lstStyle/>
            <a:p>
              <a:endParaRPr lang="de-DE"/>
            </a:p>
          </p:txBody>
        </p:sp>
      </p:grpSp>
    </p:spTree>
    <p:extLst>
      <p:ext uri="{BB962C8B-B14F-4D97-AF65-F5344CB8AC3E}">
        <p14:creationId xmlns:p14="http://schemas.microsoft.com/office/powerpoint/2010/main" val="2067552916"/>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de-DE" dirty="0"/>
              <a:t>Illustrative Graph</a:t>
            </a:r>
            <a:endParaRPr lang="en-US" dirty="0"/>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A2678578-9B1D-4479-80BB-2AB0AAF28FBE}"/>
              </a:ext>
            </a:extLst>
          </p:cNvPr>
          <p:cNvGrpSpPr/>
          <p:nvPr/>
        </p:nvGrpSpPr>
        <p:grpSpPr bwMode="auto">
          <a:xfrm>
            <a:off x="511713" y="1375584"/>
            <a:ext cx="7192415" cy="4905094"/>
            <a:chOff x="514410" y="1264698"/>
            <a:chExt cx="7503854" cy="5117488"/>
          </a:xfrm>
        </p:grpSpPr>
        <p:sp>
          <p:nvSpPr>
            <p:cNvPr id="6" name="Rectangle 5">
              <a:extLst>
                <a:ext uri="{FF2B5EF4-FFF2-40B4-BE49-F238E27FC236}">
                  <a16:creationId xmlns:a16="http://schemas.microsoft.com/office/drawing/2014/main" id="{AD3D2B8C-D53A-4A8D-AD04-93948359656B}"/>
                </a:ext>
              </a:extLst>
            </p:cNvPr>
            <p:cNvSpPr/>
            <p:nvPr/>
          </p:nvSpPr>
          <p:spPr bwMode="auto">
            <a:xfrm>
              <a:off x="937488" y="4118553"/>
              <a:ext cx="967015" cy="327384"/>
            </a:xfrm>
            <a:prstGeom prst="rect">
              <a:avLst/>
            </a:prstGeom>
            <a:noFill/>
            <a:ln w="9525" cap="flat" cmpd="sng" algn="ctr">
              <a:noFill/>
              <a:prstDash val="solid"/>
              <a:round/>
              <a:headEnd type="none" w="med" len="med"/>
              <a:tailEnd type="none" w="med" len="med"/>
            </a:ln>
            <a:effectLst/>
          </p:spPr>
          <p:txBody>
            <a:bodyPr vert="horz" wrap="square" lIns="104306" tIns="52153" rIns="104306" bIns="52153" numCol="1" rtlCol="0" anchor="b" anchorCtr="0" compatLnSpc="1">
              <a:prstTxWarp prst="textNoShape">
                <a:avLst/>
              </a:prstTxWarp>
            </a:bodyPr>
            <a:lstStyle/>
            <a:p>
              <a:pPr marL="0" marR="0" lvl="0" indent="0" algn="l" defTabSz="1043056" rtl="0" eaLnBrk="0" fontAlgn="base" latinLnBrk="0" hangingPunct="0">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96968C">
                      <a:lumMod val="60000"/>
                      <a:lumOff val="40000"/>
                    </a:srgbClr>
                  </a:solidFill>
                  <a:effectLst/>
                  <a:uLnTx/>
                  <a:uFillTx/>
                  <a:latin typeface="Graphik"/>
                  <a:ea typeface="+mn-ea"/>
                  <a:cs typeface="Arial"/>
                </a:rPr>
                <a:t>Stage 1</a:t>
              </a:r>
            </a:p>
          </p:txBody>
        </p:sp>
        <p:sp>
          <p:nvSpPr>
            <p:cNvPr id="7" name="Rectangle 6">
              <a:extLst>
                <a:ext uri="{FF2B5EF4-FFF2-40B4-BE49-F238E27FC236}">
                  <a16:creationId xmlns:a16="http://schemas.microsoft.com/office/drawing/2014/main" id="{04AF5010-4D33-4FF4-AC58-E5823516B35C}"/>
                </a:ext>
              </a:extLst>
            </p:cNvPr>
            <p:cNvSpPr/>
            <p:nvPr/>
          </p:nvSpPr>
          <p:spPr bwMode="auto">
            <a:xfrm>
              <a:off x="937488" y="2828174"/>
              <a:ext cx="1001094" cy="313938"/>
            </a:xfrm>
            <a:prstGeom prst="rect">
              <a:avLst/>
            </a:prstGeom>
            <a:noFill/>
            <a:ln w="9525" cap="flat" cmpd="sng" algn="ctr">
              <a:noFill/>
              <a:prstDash val="solid"/>
              <a:round/>
              <a:headEnd type="none" w="med" len="med"/>
              <a:tailEnd type="none" w="med" len="med"/>
            </a:ln>
            <a:effectLst/>
          </p:spPr>
          <p:txBody>
            <a:bodyPr vert="horz" wrap="square" lIns="104306" tIns="52153" rIns="104306" bIns="52153" numCol="1" rtlCol="0"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96968C">
                      <a:lumMod val="60000"/>
                      <a:lumOff val="40000"/>
                    </a:srgbClr>
                  </a:solidFill>
                  <a:effectLst/>
                  <a:uLnTx/>
                  <a:uFillTx/>
                  <a:latin typeface="Graphik"/>
                  <a:ea typeface="+mn-ea"/>
                  <a:cs typeface="Arial"/>
                </a:rPr>
                <a:t>Stage 2</a:t>
              </a:r>
            </a:p>
          </p:txBody>
        </p:sp>
        <p:sp>
          <p:nvSpPr>
            <p:cNvPr id="8" name="Rectangle 7">
              <a:extLst>
                <a:ext uri="{FF2B5EF4-FFF2-40B4-BE49-F238E27FC236}">
                  <a16:creationId xmlns:a16="http://schemas.microsoft.com/office/drawing/2014/main" id="{F7C39E1C-F2C3-402C-916C-BBC83E7CFEAB}"/>
                </a:ext>
              </a:extLst>
            </p:cNvPr>
            <p:cNvSpPr/>
            <p:nvPr/>
          </p:nvSpPr>
          <p:spPr bwMode="auto">
            <a:xfrm>
              <a:off x="937488" y="1290220"/>
              <a:ext cx="1117641" cy="287043"/>
            </a:xfrm>
            <a:prstGeom prst="rect">
              <a:avLst/>
            </a:prstGeom>
            <a:noFill/>
            <a:ln w="9525" cap="flat" cmpd="sng" algn="ctr">
              <a:noFill/>
              <a:prstDash val="solid"/>
              <a:round/>
              <a:headEnd type="none" w="med" len="med"/>
              <a:tailEnd type="none" w="med" len="med"/>
            </a:ln>
            <a:effectLst/>
          </p:spPr>
          <p:txBody>
            <a:bodyPr vert="horz" wrap="square" lIns="104306" tIns="52153" rIns="104306" bIns="52153" numCol="1" rtlCol="0"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96968C">
                      <a:lumMod val="60000"/>
                      <a:lumOff val="40000"/>
                    </a:srgbClr>
                  </a:solidFill>
                  <a:effectLst/>
                  <a:uLnTx/>
                  <a:uFillTx/>
                  <a:latin typeface="Graphik"/>
                  <a:ea typeface="+mn-ea"/>
                  <a:cs typeface="Arial"/>
                </a:rPr>
                <a:t>Stage 3</a:t>
              </a:r>
            </a:p>
          </p:txBody>
        </p:sp>
        <p:sp>
          <p:nvSpPr>
            <p:cNvPr id="9" name="Freeform 39">
              <a:extLst>
                <a:ext uri="{FF2B5EF4-FFF2-40B4-BE49-F238E27FC236}">
                  <a16:creationId xmlns:a16="http://schemas.microsoft.com/office/drawing/2014/main" id="{A2D8A406-CAA1-4973-B9D4-E3D766572E76}"/>
                </a:ext>
              </a:extLst>
            </p:cNvPr>
            <p:cNvSpPr/>
            <p:nvPr/>
          </p:nvSpPr>
          <p:spPr bwMode="auto">
            <a:xfrm>
              <a:off x="918370" y="1344317"/>
              <a:ext cx="2034215" cy="4641728"/>
            </a:xfrm>
            <a:custGeom>
              <a:avLst/>
              <a:gdLst>
                <a:gd name="connsiteX0" fmla="*/ 0 w 3797300"/>
                <a:gd name="connsiteY0" fmla="*/ 2870200 h 2870200"/>
                <a:gd name="connsiteX1" fmla="*/ 1943100 w 3797300"/>
                <a:gd name="connsiteY1" fmla="*/ 2438400 h 2870200"/>
                <a:gd name="connsiteX2" fmla="*/ 3175000 w 3797300"/>
                <a:gd name="connsiteY2" fmla="*/ 1562100 h 2870200"/>
                <a:gd name="connsiteX3" fmla="*/ 3797300 w 3797300"/>
                <a:gd name="connsiteY3" fmla="*/ 0 h 2870200"/>
              </a:gdLst>
              <a:ahLst/>
              <a:cxnLst>
                <a:cxn ang="0">
                  <a:pos x="connsiteX0" y="connsiteY0"/>
                </a:cxn>
                <a:cxn ang="0">
                  <a:pos x="connsiteX1" y="connsiteY1"/>
                </a:cxn>
                <a:cxn ang="0">
                  <a:pos x="connsiteX2" y="connsiteY2"/>
                </a:cxn>
                <a:cxn ang="0">
                  <a:pos x="connsiteX3" y="connsiteY3"/>
                </a:cxn>
              </a:cxnLst>
              <a:rect l="l" t="t" r="r" b="b"/>
              <a:pathLst>
                <a:path w="3797300" h="2870200">
                  <a:moveTo>
                    <a:pt x="0" y="2870200"/>
                  </a:moveTo>
                  <a:cubicBezTo>
                    <a:pt x="706966" y="2763308"/>
                    <a:pt x="1413933" y="2656417"/>
                    <a:pt x="1943100" y="2438400"/>
                  </a:cubicBezTo>
                  <a:cubicBezTo>
                    <a:pt x="2472267" y="2220383"/>
                    <a:pt x="2865967" y="1968500"/>
                    <a:pt x="3175000" y="1562100"/>
                  </a:cubicBezTo>
                  <a:cubicBezTo>
                    <a:pt x="3484033" y="1155700"/>
                    <a:pt x="3640666" y="577850"/>
                    <a:pt x="3797300" y="0"/>
                  </a:cubicBezTo>
                </a:path>
              </a:pathLst>
            </a:custGeom>
            <a:noFill/>
            <a:ln w="25400" cap="flat" cmpd="sng" algn="ctr">
              <a:solidFill>
                <a:srgbClr val="A100FF"/>
              </a:solidFill>
              <a:prstDash val="solid"/>
              <a:round/>
              <a:headEnd type="none" w="med" len="med"/>
              <a:tailEnd type="none" w="med" len="med"/>
            </a:ln>
            <a:effectLst/>
          </p:spPr>
          <p:txBody>
            <a:bodyPr lIns="104306" tIns="52153" rIns="104306" bIns="52153"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666666"/>
                </a:solidFill>
                <a:effectLst/>
                <a:uLnTx/>
                <a:uFillTx/>
                <a:latin typeface="Graphik"/>
                <a:ea typeface="+mn-ea"/>
                <a:cs typeface="Arial"/>
              </a:endParaRPr>
            </a:p>
          </p:txBody>
        </p:sp>
        <p:sp>
          <p:nvSpPr>
            <p:cNvPr id="10" name="TextBox 9">
              <a:extLst>
                <a:ext uri="{FF2B5EF4-FFF2-40B4-BE49-F238E27FC236}">
                  <a16:creationId xmlns:a16="http://schemas.microsoft.com/office/drawing/2014/main" id="{FFE3CF75-F111-43BA-88D3-89D076B553A0}"/>
                </a:ext>
              </a:extLst>
            </p:cNvPr>
            <p:cNvSpPr txBox="1"/>
            <p:nvPr/>
          </p:nvSpPr>
          <p:spPr bwMode="auto">
            <a:xfrm>
              <a:off x="3502421" y="6047529"/>
              <a:ext cx="1929127" cy="334657"/>
            </a:xfrm>
            <a:prstGeom prst="rect">
              <a:avLst/>
            </a:prstGeom>
            <a:noFill/>
          </p:spPr>
          <p:txBody>
            <a:bodyPr wrap="square" lIns="104306" tIns="52153" rIns="104306" bIns="5215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Arial"/>
                </a:rPr>
                <a:t>Text</a:t>
              </a:r>
            </a:p>
          </p:txBody>
        </p:sp>
        <p:sp>
          <p:nvSpPr>
            <p:cNvPr id="11" name="TextBox 10">
              <a:extLst>
                <a:ext uri="{FF2B5EF4-FFF2-40B4-BE49-F238E27FC236}">
                  <a16:creationId xmlns:a16="http://schemas.microsoft.com/office/drawing/2014/main" id="{DDC03C6C-1AFA-4624-B207-6439797603F6}"/>
                </a:ext>
              </a:extLst>
            </p:cNvPr>
            <p:cNvSpPr txBox="1"/>
            <p:nvPr/>
          </p:nvSpPr>
          <p:spPr bwMode="auto">
            <a:xfrm rot="16200000">
              <a:off x="-1410504" y="3380804"/>
              <a:ext cx="4184486" cy="334658"/>
            </a:xfrm>
            <a:prstGeom prst="rect">
              <a:avLst/>
            </a:prstGeom>
            <a:noFill/>
          </p:spPr>
          <p:txBody>
            <a:bodyPr wrap="square" lIns="104306" tIns="52153" rIns="104306" bIns="5215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Arial"/>
                </a:rPr>
                <a:t>Text</a:t>
              </a:r>
            </a:p>
          </p:txBody>
        </p:sp>
        <p:sp>
          <p:nvSpPr>
            <p:cNvPr id="12" name="TextBox 11">
              <a:extLst>
                <a:ext uri="{FF2B5EF4-FFF2-40B4-BE49-F238E27FC236}">
                  <a16:creationId xmlns:a16="http://schemas.microsoft.com/office/drawing/2014/main" id="{FBD454CC-9413-4F08-9375-DE5F59165A15}"/>
                </a:ext>
              </a:extLst>
            </p:cNvPr>
            <p:cNvSpPr txBox="1"/>
            <p:nvPr/>
          </p:nvSpPr>
          <p:spPr bwMode="auto">
            <a:xfrm>
              <a:off x="1272408" y="4513271"/>
              <a:ext cx="982875" cy="302548"/>
            </a:xfrm>
            <a:prstGeom prst="rect">
              <a:avLst/>
            </a:prstGeom>
            <a:noFill/>
          </p:spPr>
          <p:txBody>
            <a:bodyPr wrap="square" lIns="104306" tIns="52153" rIns="104306" bIns="52153"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a:rPr>
                <a:t>LEVEL 1</a:t>
              </a:r>
            </a:p>
          </p:txBody>
        </p:sp>
        <p:sp>
          <p:nvSpPr>
            <p:cNvPr id="13" name="TextBox 12">
              <a:extLst>
                <a:ext uri="{FF2B5EF4-FFF2-40B4-BE49-F238E27FC236}">
                  <a16:creationId xmlns:a16="http://schemas.microsoft.com/office/drawing/2014/main" id="{F981DB5F-62FC-4F39-9873-6B4EB9F62639}"/>
                </a:ext>
              </a:extLst>
            </p:cNvPr>
            <p:cNvSpPr txBox="1"/>
            <p:nvPr/>
          </p:nvSpPr>
          <p:spPr bwMode="auto">
            <a:xfrm>
              <a:off x="1448008" y="3305165"/>
              <a:ext cx="1160355" cy="302548"/>
            </a:xfrm>
            <a:prstGeom prst="rect">
              <a:avLst/>
            </a:prstGeom>
            <a:noFill/>
          </p:spPr>
          <p:txBody>
            <a:bodyPr wrap="square" lIns="104306" tIns="52153" rIns="104306" bIns="52153"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a:rPr>
                <a:t>LEVEL 2</a:t>
              </a:r>
            </a:p>
          </p:txBody>
        </p:sp>
        <p:sp>
          <p:nvSpPr>
            <p:cNvPr id="14" name="TextBox 13">
              <a:extLst>
                <a:ext uri="{FF2B5EF4-FFF2-40B4-BE49-F238E27FC236}">
                  <a16:creationId xmlns:a16="http://schemas.microsoft.com/office/drawing/2014/main" id="{328B65A4-C773-418F-A5EB-33F67EFCE246}"/>
                </a:ext>
              </a:extLst>
            </p:cNvPr>
            <p:cNvSpPr txBox="1"/>
            <p:nvPr/>
          </p:nvSpPr>
          <p:spPr bwMode="auto">
            <a:xfrm>
              <a:off x="1621888" y="1566381"/>
              <a:ext cx="1215401" cy="302548"/>
            </a:xfrm>
            <a:prstGeom prst="rect">
              <a:avLst/>
            </a:prstGeom>
            <a:noFill/>
          </p:spPr>
          <p:txBody>
            <a:bodyPr wrap="square" lIns="104306" tIns="52153" rIns="104306" bIns="52153"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a:rPr>
                <a:t>LEVEL 3</a:t>
              </a:r>
            </a:p>
          </p:txBody>
        </p:sp>
        <p:sp>
          <p:nvSpPr>
            <p:cNvPr id="15" name="TextBox 14">
              <a:extLst>
                <a:ext uri="{FF2B5EF4-FFF2-40B4-BE49-F238E27FC236}">
                  <a16:creationId xmlns:a16="http://schemas.microsoft.com/office/drawing/2014/main" id="{8EEEC1E4-451F-403B-94AD-C39F041DDD8E}"/>
                </a:ext>
              </a:extLst>
            </p:cNvPr>
            <p:cNvSpPr txBox="1"/>
            <p:nvPr/>
          </p:nvSpPr>
          <p:spPr bwMode="auto">
            <a:xfrm>
              <a:off x="3323116" y="1264698"/>
              <a:ext cx="1571609" cy="286492"/>
            </a:xfrm>
            <a:prstGeom prst="rect">
              <a:avLst/>
            </a:prstGeom>
            <a:noFill/>
          </p:spPr>
          <p:txBody>
            <a:bodyPr wrap="square" lIns="104306" tIns="52153" rIns="104306" bIns="52153" rtlCol="0">
              <a:spAutoFit/>
            </a:bodyPr>
            <a:lstStyle/>
            <a:p>
              <a:pPr marL="92075" marR="0" lvl="0" indent="-92075" algn="l" defTabSz="914400" rtl="0" eaLnBrk="1" fontAlgn="base" latinLnBrk="0" hangingPunct="1">
                <a:lnSpc>
                  <a:spcPct val="100000"/>
                </a:lnSpc>
                <a:spcBef>
                  <a:spcPct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Arial"/>
                </a:rPr>
                <a:t>Text</a:t>
              </a:r>
            </a:p>
          </p:txBody>
        </p:sp>
        <p:cxnSp>
          <p:nvCxnSpPr>
            <p:cNvPr id="16" name="Straight Connector 15">
              <a:extLst>
                <a:ext uri="{FF2B5EF4-FFF2-40B4-BE49-F238E27FC236}">
                  <a16:creationId xmlns:a16="http://schemas.microsoft.com/office/drawing/2014/main" id="{484A48EE-4D89-446F-B940-2ADE1B18BD07}"/>
                </a:ext>
              </a:extLst>
            </p:cNvPr>
            <p:cNvCxnSpPr/>
            <p:nvPr/>
          </p:nvCxnSpPr>
          <p:spPr bwMode="auto">
            <a:xfrm>
              <a:off x="915708" y="2779060"/>
              <a:ext cx="7102556" cy="0"/>
            </a:xfrm>
            <a:prstGeom prst="line">
              <a:avLst/>
            </a:prstGeom>
            <a:noFill/>
            <a:ln w="9525" cap="flat" cmpd="sng" algn="ctr">
              <a:solidFill>
                <a:srgbClr val="96968C">
                  <a:lumMod val="40000"/>
                  <a:lumOff val="60000"/>
                </a:srgbClr>
              </a:solidFill>
              <a:prstDash val="dash"/>
            </a:ln>
            <a:effectLst/>
          </p:spPr>
        </p:cxnSp>
        <p:sp>
          <p:nvSpPr>
            <p:cNvPr id="17" name="Oval 16">
              <a:extLst>
                <a:ext uri="{FF2B5EF4-FFF2-40B4-BE49-F238E27FC236}">
                  <a16:creationId xmlns:a16="http://schemas.microsoft.com/office/drawing/2014/main" id="{F5D7F371-0F14-4CD7-86CD-5CFB68762495}"/>
                </a:ext>
              </a:extLst>
            </p:cNvPr>
            <p:cNvSpPr/>
            <p:nvPr/>
          </p:nvSpPr>
          <p:spPr bwMode="auto">
            <a:xfrm>
              <a:off x="2819769" y="1624441"/>
              <a:ext cx="202906" cy="206303"/>
            </a:xfrm>
            <a:prstGeom prst="ellipse">
              <a:avLst/>
            </a:prstGeom>
            <a:solidFill>
              <a:srgbClr val="DCAFFF"/>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600" b="0" i="0" u="none" strike="noStrike" kern="0" cap="none" spc="0" normalizeH="0" baseline="0" noProof="0" dirty="0">
                <a:ln>
                  <a:noFill/>
                </a:ln>
                <a:solidFill>
                  <a:sysClr val="windowText" lastClr="000000"/>
                </a:solidFill>
                <a:effectLst/>
                <a:uLnTx/>
                <a:uFillTx/>
                <a:latin typeface="Graphik"/>
                <a:ea typeface="+mn-ea"/>
                <a:cs typeface="Arial"/>
              </a:endParaRPr>
            </a:p>
          </p:txBody>
        </p:sp>
        <p:sp>
          <p:nvSpPr>
            <p:cNvPr id="18" name="Oval 17">
              <a:extLst>
                <a:ext uri="{FF2B5EF4-FFF2-40B4-BE49-F238E27FC236}">
                  <a16:creationId xmlns:a16="http://schemas.microsoft.com/office/drawing/2014/main" id="{DEC7656E-9940-4099-9F9C-90AADADFF465}"/>
                </a:ext>
              </a:extLst>
            </p:cNvPr>
            <p:cNvSpPr/>
            <p:nvPr/>
          </p:nvSpPr>
          <p:spPr bwMode="auto">
            <a:xfrm>
              <a:off x="2608362" y="3368878"/>
              <a:ext cx="202906" cy="206303"/>
            </a:xfrm>
            <a:prstGeom prst="ellipse">
              <a:avLst/>
            </a:prstGeom>
            <a:solidFill>
              <a:srgbClr val="DCAFFF"/>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600" b="0" i="0" u="none" strike="noStrike" kern="0" cap="none" spc="0" normalizeH="0" baseline="0" noProof="0" dirty="0">
                <a:ln>
                  <a:noFill/>
                </a:ln>
                <a:solidFill>
                  <a:sysClr val="windowText" lastClr="000000"/>
                </a:solidFill>
                <a:effectLst/>
                <a:uLnTx/>
                <a:uFillTx/>
                <a:latin typeface="Graphik"/>
                <a:ea typeface="+mn-ea"/>
                <a:cs typeface="Arial"/>
              </a:endParaRPr>
            </a:p>
          </p:txBody>
        </p:sp>
        <p:sp>
          <p:nvSpPr>
            <p:cNvPr id="19" name="Oval 18">
              <a:extLst>
                <a:ext uri="{FF2B5EF4-FFF2-40B4-BE49-F238E27FC236}">
                  <a16:creationId xmlns:a16="http://schemas.microsoft.com/office/drawing/2014/main" id="{EA6C8426-589D-4851-8165-061EE44EDE0C}"/>
                </a:ext>
              </a:extLst>
            </p:cNvPr>
            <p:cNvSpPr/>
            <p:nvPr/>
          </p:nvSpPr>
          <p:spPr bwMode="auto">
            <a:xfrm>
              <a:off x="2255282" y="4561100"/>
              <a:ext cx="202906" cy="206303"/>
            </a:xfrm>
            <a:prstGeom prst="ellipse">
              <a:avLst/>
            </a:prstGeom>
            <a:solidFill>
              <a:srgbClr val="DCAFFF"/>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600" b="0" i="0" u="none" strike="noStrike" kern="0" cap="none" spc="0" normalizeH="0" baseline="0" noProof="0" dirty="0">
                <a:ln>
                  <a:noFill/>
                </a:ln>
                <a:solidFill>
                  <a:sysClr val="windowText" lastClr="000000"/>
                </a:solidFill>
                <a:effectLst/>
                <a:uLnTx/>
                <a:uFillTx/>
                <a:latin typeface="Graphik"/>
                <a:ea typeface="+mn-ea"/>
                <a:cs typeface="Arial"/>
              </a:endParaRPr>
            </a:p>
          </p:txBody>
        </p:sp>
        <p:sp>
          <p:nvSpPr>
            <p:cNvPr id="20" name="TextBox 19">
              <a:extLst>
                <a:ext uri="{FF2B5EF4-FFF2-40B4-BE49-F238E27FC236}">
                  <a16:creationId xmlns:a16="http://schemas.microsoft.com/office/drawing/2014/main" id="{DE103629-6F4D-4FDF-B34F-97D52EE878E7}"/>
                </a:ext>
              </a:extLst>
            </p:cNvPr>
            <p:cNvSpPr txBox="1"/>
            <p:nvPr/>
          </p:nvSpPr>
          <p:spPr bwMode="auto">
            <a:xfrm>
              <a:off x="3323117" y="2824685"/>
              <a:ext cx="1571609" cy="286492"/>
            </a:xfrm>
            <a:prstGeom prst="rect">
              <a:avLst/>
            </a:prstGeom>
            <a:noFill/>
          </p:spPr>
          <p:txBody>
            <a:bodyPr wrap="square" lIns="104306" tIns="52153" rIns="104306" bIns="52153" rtlCol="0">
              <a:spAutoFit/>
            </a:bodyPr>
            <a:lstStyle/>
            <a:p>
              <a:pPr marL="92075" marR="0" lvl="0" indent="-92075" algn="l" defTabSz="914400" rtl="0" eaLnBrk="1" fontAlgn="base" latinLnBrk="0" hangingPunct="1">
                <a:lnSpc>
                  <a:spcPct val="100000"/>
                </a:lnSpc>
                <a:spcBef>
                  <a:spcPct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Arial"/>
                </a:rPr>
                <a:t>Text</a:t>
              </a:r>
            </a:p>
          </p:txBody>
        </p:sp>
        <p:cxnSp>
          <p:nvCxnSpPr>
            <p:cNvPr id="21" name="Straight Connector 20">
              <a:extLst>
                <a:ext uri="{FF2B5EF4-FFF2-40B4-BE49-F238E27FC236}">
                  <a16:creationId xmlns:a16="http://schemas.microsoft.com/office/drawing/2014/main" id="{CEDC25C6-8518-4FD3-AA4E-5EF57CBA9444}"/>
                </a:ext>
              </a:extLst>
            </p:cNvPr>
            <p:cNvCxnSpPr/>
            <p:nvPr/>
          </p:nvCxnSpPr>
          <p:spPr bwMode="auto">
            <a:xfrm>
              <a:off x="915708" y="4087902"/>
              <a:ext cx="7102556" cy="0"/>
            </a:xfrm>
            <a:prstGeom prst="line">
              <a:avLst/>
            </a:prstGeom>
            <a:noFill/>
            <a:ln w="9525" cap="flat" cmpd="sng" algn="ctr">
              <a:solidFill>
                <a:srgbClr val="96968C">
                  <a:lumMod val="40000"/>
                  <a:lumOff val="60000"/>
                </a:srgbClr>
              </a:solidFill>
              <a:prstDash val="dash"/>
            </a:ln>
            <a:effectLst/>
          </p:spPr>
        </p:cxnSp>
        <p:sp>
          <p:nvSpPr>
            <p:cNvPr id="22" name="TextBox 21">
              <a:extLst>
                <a:ext uri="{FF2B5EF4-FFF2-40B4-BE49-F238E27FC236}">
                  <a16:creationId xmlns:a16="http://schemas.microsoft.com/office/drawing/2014/main" id="{CAB3DCF1-A497-4D9C-A556-EA1ADEB1ED5B}"/>
                </a:ext>
              </a:extLst>
            </p:cNvPr>
            <p:cNvSpPr txBox="1"/>
            <p:nvPr/>
          </p:nvSpPr>
          <p:spPr bwMode="auto">
            <a:xfrm>
              <a:off x="3338222" y="4178026"/>
              <a:ext cx="1571609" cy="286492"/>
            </a:xfrm>
            <a:prstGeom prst="rect">
              <a:avLst/>
            </a:prstGeom>
            <a:noFill/>
          </p:spPr>
          <p:txBody>
            <a:bodyPr wrap="square" lIns="104306" tIns="52153" rIns="104306" bIns="52153" rtlCol="0">
              <a:spAutoFit/>
            </a:bodyPr>
            <a:lstStyle/>
            <a:p>
              <a:pPr marL="92075" marR="0" lvl="0" indent="-92075" algn="l" defTabSz="914400" rtl="0" eaLnBrk="1" fontAlgn="base" latinLnBrk="0" hangingPunct="1">
                <a:lnSpc>
                  <a:spcPct val="100000"/>
                </a:lnSpc>
                <a:spcBef>
                  <a:spcPct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0000"/>
                  </a:solidFill>
                  <a:effectLst/>
                  <a:uLnTx/>
                  <a:uFillTx/>
                  <a:latin typeface="Graphik"/>
                  <a:ea typeface="+mn-ea"/>
                  <a:cs typeface="Arial"/>
                </a:rPr>
                <a:t>Text</a:t>
              </a:r>
            </a:p>
          </p:txBody>
        </p:sp>
      </p:grpSp>
      <p:sp>
        <p:nvSpPr>
          <p:cNvPr id="23" name="Freeform: Shape 22">
            <a:extLst>
              <a:ext uri="{FF2B5EF4-FFF2-40B4-BE49-F238E27FC236}">
                <a16:creationId xmlns:a16="http://schemas.microsoft.com/office/drawing/2014/main" id="{8F9E3507-BF61-4587-93CA-B7941266054A}"/>
              </a:ext>
            </a:extLst>
          </p:cNvPr>
          <p:cNvSpPr/>
          <p:nvPr/>
        </p:nvSpPr>
        <p:spPr>
          <a:xfrm>
            <a:off x="904875" y="1314450"/>
            <a:ext cx="6791325" cy="4600575"/>
          </a:xfrm>
          <a:custGeom>
            <a:avLst/>
            <a:gdLst>
              <a:gd name="connsiteX0" fmla="*/ 0 w 6791325"/>
              <a:gd name="connsiteY0" fmla="*/ 0 h 4600575"/>
              <a:gd name="connsiteX1" fmla="*/ 0 w 6791325"/>
              <a:gd name="connsiteY1" fmla="*/ 4600575 h 4600575"/>
              <a:gd name="connsiteX2" fmla="*/ 6791325 w 6791325"/>
              <a:gd name="connsiteY2" fmla="*/ 4600575 h 4600575"/>
            </a:gdLst>
            <a:ahLst/>
            <a:cxnLst>
              <a:cxn ang="0">
                <a:pos x="connsiteX0" y="connsiteY0"/>
              </a:cxn>
              <a:cxn ang="0">
                <a:pos x="connsiteX1" y="connsiteY1"/>
              </a:cxn>
              <a:cxn ang="0">
                <a:pos x="connsiteX2" y="connsiteY2"/>
              </a:cxn>
            </a:cxnLst>
            <a:rect l="l" t="t" r="r" b="b"/>
            <a:pathLst>
              <a:path w="6791325" h="4600575">
                <a:moveTo>
                  <a:pt x="0" y="0"/>
                </a:moveTo>
                <a:lnTo>
                  <a:pt x="0" y="4600575"/>
                </a:lnTo>
                <a:lnTo>
                  <a:pt x="6791325" y="4600575"/>
                </a:lnTo>
              </a:path>
            </a:pathLst>
          </a:custGeom>
          <a:noFill/>
          <a:ln w="9525" cap="flat" cmpd="sng" algn="ctr">
            <a:solidFill>
              <a:srgbClr val="96968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3F507FC-1A7B-47A6-905A-9BCC888BAA4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67635029"/>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Small Illustrative Graphs</a:t>
            </a:r>
          </a:p>
        </p:txBody>
      </p:sp>
      <p:sp>
        <p:nvSpPr>
          <p:cNvPr id="4" name="Freeform: Shape 3">
            <a:hlinkClick r:id="rId14"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Text Box 5">
            <a:extLst>
              <a:ext uri="{FF2B5EF4-FFF2-40B4-BE49-F238E27FC236}">
                <a16:creationId xmlns:a16="http://schemas.microsoft.com/office/drawing/2014/main" id="{B75BFC59-026D-420F-8E77-6BD5E7AFEA2A}"/>
              </a:ext>
            </a:extLst>
          </p:cNvPr>
          <p:cNvSpPr txBox="1">
            <a:spLocks noChangeArrowheads="1"/>
          </p:cNvSpPr>
          <p:nvPr>
            <p:custDataLst>
              <p:tags r:id="rId1"/>
            </p:custDataLst>
          </p:nvPr>
        </p:nvSpPr>
        <p:spPr bwMode="auto">
          <a:xfrm>
            <a:off x="530201" y="2823180"/>
            <a:ext cx="1754217" cy="499251"/>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Revenue</a:t>
            </a:r>
          </a:p>
        </p:txBody>
      </p:sp>
      <p:sp>
        <p:nvSpPr>
          <p:cNvPr id="6" name="Line 9">
            <a:extLst>
              <a:ext uri="{FF2B5EF4-FFF2-40B4-BE49-F238E27FC236}">
                <a16:creationId xmlns:a16="http://schemas.microsoft.com/office/drawing/2014/main" id="{30534B52-EF7F-441C-9DEC-FB0545BDABA1}"/>
              </a:ext>
            </a:extLst>
          </p:cNvPr>
          <p:cNvSpPr>
            <a:spLocks noChangeShapeType="1"/>
          </p:cNvSpPr>
          <p:nvPr>
            <p:custDataLst>
              <p:tags r:id="rId2"/>
            </p:custDataLst>
          </p:nvPr>
        </p:nvSpPr>
        <p:spPr bwMode="auto">
          <a:xfrm flipV="1">
            <a:off x="3677539" y="1551117"/>
            <a:ext cx="1410554" cy="1085699"/>
          </a:xfrm>
          <a:prstGeom prst="line">
            <a:avLst/>
          </a:pr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Text Box 11">
            <a:extLst>
              <a:ext uri="{FF2B5EF4-FFF2-40B4-BE49-F238E27FC236}">
                <a16:creationId xmlns:a16="http://schemas.microsoft.com/office/drawing/2014/main" id="{8925B2E3-F47C-4ED2-8DDF-7181526874C3}"/>
              </a:ext>
            </a:extLst>
          </p:cNvPr>
          <p:cNvSpPr txBox="1">
            <a:spLocks noChangeArrowheads="1"/>
          </p:cNvSpPr>
          <p:nvPr>
            <p:custDataLst>
              <p:tags r:id="rId3"/>
            </p:custDataLst>
          </p:nvPr>
        </p:nvSpPr>
        <p:spPr bwMode="auto">
          <a:xfrm>
            <a:off x="3587221" y="2823180"/>
            <a:ext cx="1754217" cy="499251"/>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Sales</a:t>
            </a:r>
          </a:p>
        </p:txBody>
      </p:sp>
      <p:sp>
        <p:nvSpPr>
          <p:cNvPr id="8" name="Arc 14">
            <a:extLst>
              <a:ext uri="{FF2B5EF4-FFF2-40B4-BE49-F238E27FC236}">
                <a16:creationId xmlns:a16="http://schemas.microsoft.com/office/drawing/2014/main" id="{4FA68FE4-0B00-4350-A85B-E6855DD349D2}"/>
              </a:ext>
            </a:extLst>
          </p:cNvPr>
          <p:cNvSpPr>
            <a:spLocks/>
          </p:cNvSpPr>
          <p:nvPr>
            <p:custDataLst>
              <p:tags r:id="rId4"/>
            </p:custDataLst>
          </p:nvPr>
        </p:nvSpPr>
        <p:spPr bwMode="auto">
          <a:xfrm flipV="1">
            <a:off x="617543" y="3599413"/>
            <a:ext cx="1425942" cy="1549045"/>
          </a:xfrm>
          <a:custGeom>
            <a:avLst/>
            <a:gdLst>
              <a:gd name="T0" fmla="*/ 0 w 20509"/>
              <a:gd name="T1" fmla="*/ 0 h 21600"/>
              <a:gd name="T2" fmla="*/ 85470271 w 20509"/>
              <a:gd name="T3" fmla="*/ 65717841 h 21600"/>
              <a:gd name="T4" fmla="*/ 0 w 20509"/>
              <a:gd name="T5" fmla="*/ 95770136 h 21600"/>
              <a:gd name="T6" fmla="*/ 0 60000 65536"/>
              <a:gd name="T7" fmla="*/ 0 60000 65536"/>
              <a:gd name="T8" fmla="*/ 0 60000 65536"/>
              <a:gd name="T9" fmla="*/ 0 w 20509"/>
              <a:gd name="T10" fmla="*/ 0 h 21600"/>
              <a:gd name="T11" fmla="*/ 20509 w 20509"/>
              <a:gd name="T12" fmla="*/ 21600 h 21600"/>
            </a:gdLst>
            <a:ahLst/>
            <a:cxnLst>
              <a:cxn ang="T6">
                <a:pos x="T0" y="T1"/>
              </a:cxn>
              <a:cxn ang="T7">
                <a:pos x="T2" y="T3"/>
              </a:cxn>
              <a:cxn ang="T8">
                <a:pos x="T4" y="T5"/>
              </a:cxn>
            </a:cxnLst>
            <a:rect l="T9" t="T10" r="T11" b="T12"/>
            <a:pathLst>
              <a:path w="20509" h="21600" fill="none" extrusionOk="0">
                <a:moveTo>
                  <a:pt x="-1" y="0"/>
                </a:moveTo>
                <a:cubicBezTo>
                  <a:pt x="9317" y="0"/>
                  <a:pt x="17585" y="5974"/>
                  <a:pt x="20508" y="14822"/>
                </a:cubicBezTo>
              </a:path>
              <a:path w="20509" h="21600" stroke="0" extrusionOk="0">
                <a:moveTo>
                  <a:pt x="-1" y="0"/>
                </a:moveTo>
                <a:cubicBezTo>
                  <a:pt x="9317" y="0"/>
                  <a:pt x="17585" y="5974"/>
                  <a:pt x="20508" y="14822"/>
                </a:cubicBezTo>
                <a:lnTo>
                  <a:pt x="0" y="21600"/>
                </a:lnTo>
                <a:close/>
              </a:path>
            </a:pathLst>
          </a:cu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Text Box 15">
            <a:extLst>
              <a:ext uri="{FF2B5EF4-FFF2-40B4-BE49-F238E27FC236}">
                <a16:creationId xmlns:a16="http://schemas.microsoft.com/office/drawing/2014/main" id="{997CF4BD-EEC3-4329-BE0D-2EC811EFEE9E}"/>
              </a:ext>
            </a:extLst>
          </p:cNvPr>
          <p:cNvSpPr txBox="1">
            <a:spLocks noChangeArrowheads="1"/>
          </p:cNvSpPr>
          <p:nvPr>
            <p:custDataLst>
              <p:tags r:id="rId5"/>
            </p:custDataLst>
          </p:nvPr>
        </p:nvSpPr>
        <p:spPr bwMode="auto">
          <a:xfrm>
            <a:off x="530201" y="5343371"/>
            <a:ext cx="1754217" cy="497540"/>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Productivity</a:t>
            </a:r>
          </a:p>
        </p:txBody>
      </p:sp>
      <p:sp>
        <p:nvSpPr>
          <p:cNvPr id="10" name="Arc 20">
            <a:extLst>
              <a:ext uri="{FF2B5EF4-FFF2-40B4-BE49-F238E27FC236}">
                <a16:creationId xmlns:a16="http://schemas.microsoft.com/office/drawing/2014/main" id="{4165C1B7-8ECB-46C5-BCCB-27E6B8976F56}"/>
              </a:ext>
            </a:extLst>
          </p:cNvPr>
          <p:cNvSpPr>
            <a:spLocks/>
          </p:cNvSpPr>
          <p:nvPr>
            <p:custDataLst>
              <p:tags r:id="rId6"/>
            </p:custDataLst>
          </p:nvPr>
        </p:nvSpPr>
        <p:spPr bwMode="auto">
          <a:xfrm>
            <a:off x="6960284" y="1551117"/>
            <a:ext cx="1653340" cy="1561013"/>
          </a:xfrm>
          <a:custGeom>
            <a:avLst/>
            <a:gdLst>
              <a:gd name="T0" fmla="*/ 0 w 15207"/>
              <a:gd name="T1" fmla="*/ 0 h 21600"/>
              <a:gd name="T2" fmla="*/ 154966069 w 15207"/>
              <a:gd name="T3" fmla="*/ 28186147 h 21600"/>
              <a:gd name="T4" fmla="*/ 0 w 15207"/>
              <a:gd name="T5" fmla="*/ 97255678 h 21600"/>
              <a:gd name="T6" fmla="*/ 0 60000 65536"/>
              <a:gd name="T7" fmla="*/ 0 60000 65536"/>
              <a:gd name="T8" fmla="*/ 0 60000 65536"/>
              <a:gd name="T9" fmla="*/ 0 w 15207"/>
              <a:gd name="T10" fmla="*/ 0 h 21600"/>
              <a:gd name="T11" fmla="*/ 15207 w 15207"/>
              <a:gd name="T12" fmla="*/ 21600 h 21600"/>
            </a:gdLst>
            <a:ahLst/>
            <a:cxnLst>
              <a:cxn ang="T6">
                <a:pos x="T0" y="T1"/>
              </a:cxn>
              <a:cxn ang="T7">
                <a:pos x="T2" y="T3"/>
              </a:cxn>
              <a:cxn ang="T8">
                <a:pos x="T4" y="T5"/>
              </a:cxn>
            </a:cxnLst>
            <a:rect l="T9" t="T10" r="T11" b="T12"/>
            <a:pathLst>
              <a:path w="15207" h="21600" fill="none" extrusionOk="0">
                <a:moveTo>
                  <a:pt x="-1" y="0"/>
                </a:moveTo>
                <a:cubicBezTo>
                  <a:pt x="5696" y="0"/>
                  <a:pt x="11161" y="2249"/>
                  <a:pt x="15206" y="6260"/>
                </a:cubicBezTo>
              </a:path>
              <a:path w="15207" h="21600" stroke="0" extrusionOk="0">
                <a:moveTo>
                  <a:pt x="-1" y="0"/>
                </a:moveTo>
                <a:cubicBezTo>
                  <a:pt x="5696" y="0"/>
                  <a:pt x="11161" y="2249"/>
                  <a:pt x="15206" y="6260"/>
                </a:cubicBezTo>
                <a:lnTo>
                  <a:pt x="0" y="21600"/>
                </a:lnTo>
                <a:close/>
              </a:path>
            </a:pathLst>
          </a:cu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21">
            <a:extLst>
              <a:ext uri="{FF2B5EF4-FFF2-40B4-BE49-F238E27FC236}">
                <a16:creationId xmlns:a16="http://schemas.microsoft.com/office/drawing/2014/main" id="{CAAE1680-9664-40DA-A937-E63D479310BA}"/>
              </a:ext>
            </a:extLst>
          </p:cNvPr>
          <p:cNvSpPr txBox="1">
            <a:spLocks noChangeArrowheads="1"/>
          </p:cNvSpPr>
          <p:nvPr>
            <p:custDataLst>
              <p:tags r:id="rId7"/>
            </p:custDataLst>
          </p:nvPr>
        </p:nvSpPr>
        <p:spPr bwMode="auto">
          <a:xfrm>
            <a:off x="6847440" y="2823180"/>
            <a:ext cx="1754217" cy="499251"/>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Unit costs</a:t>
            </a:r>
          </a:p>
        </p:txBody>
      </p:sp>
      <p:sp>
        <p:nvSpPr>
          <p:cNvPr id="12" name="Arc 24">
            <a:extLst>
              <a:ext uri="{FF2B5EF4-FFF2-40B4-BE49-F238E27FC236}">
                <a16:creationId xmlns:a16="http://schemas.microsoft.com/office/drawing/2014/main" id="{BF35554F-F5D2-4D07-B6B7-3CAADF189C36}"/>
              </a:ext>
            </a:extLst>
          </p:cNvPr>
          <p:cNvSpPr>
            <a:spLocks/>
          </p:cNvSpPr>
          <p:nvPr>
            <p:custDataLst>
              <p:tags r:id="rId8"/>
            </p:custDataLst>
          </p:nvPr>
        </p:nvSpPr>
        <p:spPr bwMode="auto">
          <a:xfrm>
            <a:off x="6949043" y="4228605"/>
            <a:ext cx="1386617" cy="1714892"/>
          </a:xfrm>
          <a:custGeom>
            <a:avLst/>
            <a:gdLst>
              <a:gd name="T0" fmla="*/ 0 w 17492"/>
              <a:gd name="T1" fmla="*/ 0 h 21600"/>
              <a:gd name="T2" fmla="*/ 94760937 w 17492"/>
              <a:gd name="T3" fmla="*/ 48509516 h 21600"/>
              <a:gd name="T4" fmla="*/ 0 w 17492"/>
              <a:gd name="T5" fmla="*/ 117374915 h 21600"/>
              <a:gd name="T6" fmla="*/ 0 60000 65536"/>
              <a:gd name="T7" fmla="*/ 0 60000 65536"/>
              <a:gd name="T8" fmla="*/ 0 60000 65536"/>
              <a:gd name="T9" fmla="*/ 0 w 17492"/>
              <a:gd name="T10" fmla="*/ 0 h 21600"/>
              <a:gd name="T11" fmla="*/ 17492 w 17492"/>
              <a:gd name="T12" fmla="*/ 21600 h 21600"/>
            </a:gdLst>
            <a:ahLst/>
            <a:cxnLst>
              <a:cxn ang="T6">
                <a:pos x="T0" y="T1"/>
              </a:cxn>
              <a:cxn ang="T7">
                <a:pos x="T2" y="T3"/>
              </a:cxn>
              <a:cxn ang="T8">
                <a:pos x="T4" y="T5"/>
              </a:cxn>
            </a:cxnLst>
            <a:rect l="T9" t="T10" r="T11" b="T12"/>
            <a:pathLst>
              <a:path w="17492" h="21600" fill="none" extrusionOk="0">
                <a:moveTo>
                  <a:pt x="-1" y="0"/>
                </a:moveTo>
                <a:cubicBezTo>
                  <a:pt x="6924" y="0"/>
                  <a:pt x="13429" y="3319"/>
                  <a:pt x="17491" y="8927"/>
                </a:cubicBezTo>
              </a:path>
              <a:path w="17492" h="21600" stroke="0" extrusionOk="0">
                <a:moveTo>
                  <a:pt x="-1" y="0"/>
                </a:moveTo>
                <a:cubicBezTo>
                  <a:pt x="6924" y="0"/>
                  <a:pt x="13429" y="3319"/>
                  <a:pt x="17491" y="8927"/>
                </a:cubicBezTo>
                <a:lnTo>
                  <a:pt x="0" y="21600"/>
                </a:lnTo>
                <a:close/>
              </a:path>
            </a:pathLst>
          </a:cu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3" name="Text Box 25">
            <a:extLst>
              <a:ext uri="{FF2B5EF4-FFF2-40B4-BE49-F238E27FC236}">
                <a16:creationId xmlns:a16="http://schemas.microsoft.com/office/drawing/2014/main" id="{C3808D3B-5503-4DF8-ABED-F7C7013DC5B1}"/>
              </a:ext>
            </a:extLst>
          </p:cNvPr>
          <p:cNvSpPr txBox="1">
            <a:spLocks noChangeArrowheads="1"/>
          </p:cNvSpPr>
          <p:nvPr>
            <p:custDataLst>
              <p:tags r:id="rId9"/>
            </p:custDataLst>
          </p:nvPr>
        </p:nvSpPr>
        <p:spPr bwMode="auto">
          <a:xfrm>
            <a:off x="6847440" y="5343371"/>
            <a:ext cx="1754217" cy="497540"/>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Error rate</a:t>
            </a:r>
          </a:p>
        </p:txBody>
      </p:sp>
      <p:sp>
        <p:nvSpPr>
          <p:cNvPr id="14" name="Text Box 29">
            <a:extLst>
              <a:ext uri="{FF2B5EF4-FFF2-40B4-BE49-F238E27FC236}">
                <a16:creationId xmlns:a16="http://schemas.microsoft.com/office/drawing/2014/main" id="{2949DF43-5E4F-45A2-8EE7-6FE7C6E83145}"/>
              </a:ext>
            </a:extLst>
          </p:cNvPr>
          <p:cNvSpPr txBox="1">
            <a:spLocks noChangeArrowheads="1"/>
          </p:cNvSpPr>
          <p:nvPr>
            <p:custDataLst>
              <p:tags r:id="rId10"/>
            </p:custDataLst>
          </p:nvPr>
        </p:nvSpPr>
        <p:spPr bwMode="auto">
          <a:xfrm>
            <a:off x="3587221" y="5343371"/>
            <a:ext cx="1754217" cy="497540"/>
          </a:xfrm>
          <a:prstGeom prst="rect">
            <a:avLst/>
          </a:prstGeom>
          <a:noFill/>
          <a:ln w="6350">
            <a:noFill/>
            <a:miter lim="800000"/>
            <a:headEnd/>
            <a:tailEnd/>
          </a:ln>
        </p:spPr>
        <p:txBody>
          <a:bodyPr lIns="0" rIns="45720"/>
          <a:lstStyle/>
          <a:p>
            <a:pPr marL="0" marR="0" lvl="0" indent="0" algn="l" defTabSz="914400" rtl="0"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Operating cost</a:t>
            </a:r>
          </a:p>
        </p:txBody>
      </p:sp>
      <p:sp>
        <p:nvSpPr>
          <p:cNvPr id="15" name="Line 33">
            <a:extLst>
              <a:ext uri="{FF2B5EF4-FFF2-40B4-BE49-F238E27FC236}">
                <a16:creationId xmlns:a16="http://schemas.microsoft.com/office/drawing/2014/main" id="{AAC3877D-3EAD-47E8-BCC9-9FD39E5863B9}"/>
              </a:ext>
            </a:extLst>
          </p:cNvPr>
          <p:cNvSpPr>
            <a:spLocks noChangeShapeType="1"/>
          </p:cNvSpPr>
          <p:nvPr>
            <p:custDataLst>
              <p:tags r:id="rId11"/>
            </p:custDataLst>
          </p:nvPr>
        </p:nvSpPr>
        <p:spPr bwMode="auto">
          <a:xfrm>
            <a:off x="3684378" y="4221766"/>
            <a:ext cx="1542206" cy="605256"/>
          </a:xfrm>
          <a:prstGeom prst="line">
            <a:avLst/>
          </a:prstGeom>
          <a:noFill/>
          <a:ln w="25400">
            <a:solidFill>
              <a:srgbClr val="A100FF"/>
            </a:solidFill>
            <a:round/>
            <a:headEnd/>
            <a:tailEnd/>
          </a:ln>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Graphik"/>
              <a:ea typeface="+mn-ea"/>
              <a:cs typeface="+mn-cs"/>
            </a:endParaRPr>
          </a:p>
        </p:txBody>
      </p:sp>
      <p:sp>
        <p:nvSpPr>
          <p:cNvPr id="16" name="Freeform: Shape 15">
            <a:extLst>
              <a:ext uri="{FF2B5EF4-FFF2-40B4-BE49-F238E27FC236}">
                <a16:creationId xmlns:a16="http://schemas.microsoft.com/office/drawing/2014/main" id="{6A8ECBCC-3244-4138-8FA1-77ED31307EA7}"/>
              </a:ext>
            </a:extLst>
          </p:cNvPr>
          <p:cNvSpPr/>
          <p:nvPr/>
        </p:nvSpPr>
        <p:spPr>
          <a:xfrm>
            <a:off x="6847440"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Graphik"/>
              <a:ea typeface="+mn-ea"/>
              <a:cs typeface="+mn-cs"/>
            </a:endParaRPr>
          </a:p>
        </p:txBody>
      </p:sp>
      <p:sp>
        <p:nvSpPr>
          <p:cNvPr id="17" name="Freeform: Shape 16">
            <a:extLst>
              <a:ext uri="{FF2B5EF4-FFF2-40B4-BE49-F238E27FC236}">
                <a16:creationId xmlns:a16="http://schemas.microsoft.com/office/drawing/2014/main" id="{8328C780-CAA7-454F-9FE4-6A1CA22EA3DF}"/>
              </a:ext>
            </a:extLst>
          </p:cNvPr>
          <p:cNvSpPr/>
          <p:nvPr/>
        </p:nvSpPr>
        <p:spPr>
          <a:xfrm>
            <a:off x="3587221"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Graphik"/>
              <a:ea typeface="+mn-ea"/>
              <a:cs typeface="+mn-cs"/>
            </a:endParaRPr>
          </a:p>
        </p:txBody>
      </p:sp>
      <p:sp>
        <p:nvSpPr>
          <p:cNvPr id="18" name="Freeform: Shape 17">
            <a:extLst>
              <a:ext uri="{FF2B5EF4-FFF2-40B4-BE49-F238E27FC236}">
                <a16:creationId xmlns:a16="http://schemas.microsoft.com/office/drawing/2014/main" id="{4EDDE497-5586-49C5-95D5-D4BF229710C1}"/>
              </a:ext>
            </a:extLst>
          </p:cNvPr>
          <p:cNvSpPr/>
          <p:nvPr/>
        </p:nvSpPr>
        <p:spPr>
          <a:xfrm>
            <a:off x="512768" y="140219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Graphik"/>
              <a:ea typeface="+mn-ea"/>
              <a:cs typeface="+mn-cs"/>
            </a:endParaRPr>
          </a:p>
        </p:txBody>
      </p:sp>
      <p:sp>
        <p:nvSpPr>
          <p:cNvPr id="19" name="Freeform: Shape 18">
            <a:extLst>
              <a:ext uri="{FF2B5EF4-FFF2-40B4-BE49-F238E27FC236}">
                <a16:creationId xmlns:a16="http://schemas.microsoft.com/office/drawing/2014/main" id="{00EDF099-040D-47B0-85A1-82A598B47A22}"/>
              </a:ext>
            </a:extLst>
          </p:cNvPr>
          <p:cNvSpPr/>
          <p:nvPr/>
        </p:nvSpPr>
        <p:spPr>
          <a:xfrm>
            <a:off x="6869665"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Graphik"/>
              <a:ea typeface="+mn-ea"/>
              <a:cs typeface="+mn-cs"/>
            </a:endParaRPr>
          </a:p>
        </p:txBody>
      </p:sp>
      <p:sp>
        <p:nvSpPr>
          <p:cNvPr id="20" name="Freeform: Shape 19">
            <a:extLst>
              <a:ext uri="{FF2B5EF4-FFF2-40B4-BE49-F238E27FC236}">
                <a16:creationId xmlns:a16="http://schemas.microsoft.com/office/drawing/2014/main" id="{580410F5-EFC2-4EA7-BF22-4EC3DFE9E2B9}"/>
              </a:ext>
            </a:extLst>
          </p:cNvPr>
          <p:cNvSpPr/>
          <p:nvPr/>
        </p:nvSpPr>
        <p:spPr>
          <a:xfrm>
            <a:off x="3587221"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Graphik"/>
              <a:ea typeface="+mn-ea"/>
              <a:cs typeface="+mn-cs"/>
            </a:endParaRPr>
          </a:p>
        </p:txBody>
      </p:sp>
      <p:sp>
        <p:nvSpPr>
          <p:cNvPr id="21" name="Freeform: Shape 20">
            <a:extLst>
              <a:ext uri="{FF2B5EF4-FFF2-40B4-BE49-F238E27FC236}">
                <a16:creationId xmlns:a16="http://schemas.microsoft.com/office/drawing/2014/main" id="{E522EE52-5ED9-49DF-BC27-510299D4B8EF}"/>
              </a:ext>
            </a:extLst>
          </p:cNvPr>
          <p:cNvSpPr/>
          <p:nvPr/>
        </p:nvSpPr>
        <p:spPr>
          <a:xfrm>
            <a:off x="512768" y="3909303"/>
            <a:ext cx="1771650" cy="1343025"/>
          </a:xfrm>
          <a:custGeom>
            <a:avLst/>
            <a:gdLst>
              <a:gd name="connsiteX0" fmla="*/ 0 w 1771650"/>
              <a:gd name="connsiteY0" fmla="*/ 0 h 1343025"/>
              <a:gd name="connsiteX1" fmla="*/ 0 w 1771650"/>
              <a:gd name="connsiteY1" fmla="*/ 1343025 h 1343025"/>
              <a:gd name="connsiteX2" fmla="*/ 1771650 w 1771650"/>
              <a:gd name="connsiteY2" fmla="*/ 1343025 h 1343025"/>
            </a:gdLst>
            <a:ahLst/>
            <a:cxnLst>
              <a:cxn ang="0">
                <a:pos x="connsiteX0" y="connsiteY0"/>
              </a:cxn>
              <a:cxn ang="0">
                <a:pos x="connsiteX1" y="connsiteY1"/>
              </a:cxn>
              <a:cxn ang="0">
                <a:pos x="connsiteX2" y="connsiteY2"/>
              </a:cxn>
            </a:cxnLst>
            <a:rect l="l" t="t" r="r" b="b"/>
            <a:pathLst>
              <a:path w="1771650" h="1343025">
                <a:moveTo>
                  <a:pt x="0" y="0"/>
                </a:moveTo>
                <a:lnTo>
                  <a:pt x="0" y="1343025"/>
                </a:lnTo>
                <a:lnTo>
                  <a:pt x="1771650" y="1343025"/>
                </a:lnTo>
              </a:path>
            </a:pathLst>
          </a:custGeom>
          <a:noFill/>
          <a:ln w="9525" cap="flat" cmpd="sng" algn="ctr">
            <a:solidFill>
              <a:srgbClr val="96968C">
                <a:lumMod val="60000"/>
                <a:lumOff val="40000"/>
              </a:srgbClr>
            </a:solidFill>
            <a:prstDash val="solid"/>
            <a:headEnd type="triangl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Graphik"/>
              <a:ea typeface="+mn-ea"/>
              <a:cs typeface="+mn-cs"/>
            </a:endParaRPr>
          </a:p>
        </p:txBody>
      </p:sp>
      <p:sp>
        <p:nvSpPr>
          <p:cNvPr id="3" name="Rectangle 2">
            <a:hlinkClick r:id="rId14" action="ppaction://hlinksldjump"/>
            <a:extLst>
              <a:ext uri="{FF2B5EF4-FFF2-40B4-BE49-F238E27FC236}">
                <a16:creationId xmlns:a16="http://schemas.microsoft.com/office/drawing/2014/main" id="{02B0BDAE-9D65-46CD-BBE9-CDF8DB9DDE4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7360936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651917E-8CDB-D74D-88B5-C8202A4C7C41}"/>
              </a:ext>
            </a:extLst>
          </p:cNvPr>
          <p:cNvSpPr>
            <a:spLocks noGrp="1"/>
          </p:cNvSpPr>
          <p:nvPr>
            <p:ph type="pic" sz="quarter" idx="15"/>
          </p:nvPr>
        </p:nvSpPr>
        <p:spPr/>
      </p:sp>
      <p:sp>
        <p:nvSpPr>
          <p:cNvPr id="10" name="Picture Placeholder 9">
            <a:extLst>
              <a:ext uri="{FF2B5EF4-FFF2-40B4-BE49-F238E27FC236}">
                <a16:creationId xmlns:a16="http://schemas.microsoft.com/office/drawing/2014/main" id="{DE2D1233-35B6-514D-9908-FD3B07F63268}"/>
              </a:ext>
            </a:extLst>
          </p:cNvPr>
          <p:cNvSpPr>
            <a:spLocks noGrp="1"/>
          </p:cNvSpPr>
          <p:nvPr>
            <p:ph type="pic" sz="quarter" idx="27"/>
          </p:nvPr>
        </p:nvSpPr>
        <p:spPr/>
      </p:sp>
      <p:sp>
        <p:nvSpPr>
          <p:cNvPr id="11" name="Picture Placeholder 10">
            <a:extLst>
              <a:ext uri="{FF2B5EF4-FFF2-40B4-BE49-F238E27FC236}">
                <a16:creationId xmlns:a16="http://schemas.microsoft.com/office/drawing/2014/main" id="{2DFB679D-BFE7-074D-A3F2-896514CE8C58}"/>
              </a:ext>
            </a:extLst>
          </p:cNvPr>
          <p:cNvSpPr>
            <a:spLocks noGrp="1"/>
          </p:cNvSpPr>
          <p:nvPr>
            <p:ph type="pic" sz="quarter" idx="28"/>
          </p:nvPr>
        </p:nvSpPr>
        <p:spPr/>
      </p:sp>
      <p:sp>
        <p:nvSpPr>
          <p:cNvPr id="12" name="Picture Placeholder 11">
            <a:extLst>
              <a:ext uri="{FF2B5EF4-FFF2-40B4-BE49-F238E27FC236}">
                <a16:creationId xmlns:a16="http://schemas.microsoft.com/office/drawing/2014/main" id="{85D56329-7046-A749-9392-AA07A973D90A}"/>
              </a:ext>
            </a:extLst>
          </p:cNvPr>
          <p:cNvSpPr>
            <a:spLocks noGrp="1"/>
          </p:cNvSpPr>
          <p:nvPr>
            <p:ph type="pic" sz="quarter" idx="29"/>
          </p:nvPr>
        </p:nvSpPr>
        <p:spPr/>
      </p:sp>
      <p:sp>
        <p:nvSpPr>
          <p:cNvPr id="4" name="Title 3">
            <a:extLst>
              <a:ext uri="{FF2B5EF4-FFF2-40B4-BE49-F238E27FC236}">
                <a16:creationId xmlns:a16="http://schemas.microsoft.com/office/drawing/2014/main" id="{B922BA6E-B020-3144-B2F1-C8FA6CE5DFFE}"/>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A180CFD5-2587-184D-96CA-B924B052EFF4}"/>
              </a:ext>
            </a:extLst>
          </p:cNvPr>
          <p:cNvSpPr>
            <a:spLocks noGrp="1"/>
          </p:cNvSpPr>
          <p:nvPr>
            <p:ph type="body" sz="quarter" idx="19"/>
          </p:nvPr>
        </p:nvSpPr>
        <p:spPr/>
        <p:txBody>
          <a:bodyPr/>
          <a:lstStyle/>
          <a:p>
            <a:endParaRPr lang="en-US"/>
          </a:p>
        </p:txBody>
      </p:sp>
      <p:sp>
        <p:nvSpPr>
          <p:cNvPr id="7" name="Text Placeholder 6">
            <a:extLst>
              <a:ext uri="{FF2B5EF4-FFF2-40B4-BE49-F238E27FC236}">
                <a16:creationId xmlns:a16="http://schemas.microsoft.com/office/drawing/2014/main" id="{E32EE728-E07E-A949-9FB5-EB7975208888}"/>
              </a:ext>
            </a:extLst>
          </p:cNvPr>
          <p:cNvSpPr>
            <a:spLocks noGrp="1"/>
          </p:cNvSpPr>
          <p:nvPr>
            <p:ph type="body" sz="quarter" idx="20"/>
          </p:nvPr>
        </p:nvSpPr>
        <p:spPr/>
        <p:txBody>
          <a:bodyPr/>
          <a:lstStyle/>
          <a:p>
            <a:endParaRPr lang="en-US"/>
          </a:p>
        </p:txBody>
      </p:sp>
      <p:sp>
        <p:nvSpPr>
          <p:cNvPr id="8" name="Text Placeholder 7">
            <a:extLst>
              <a:ext uri="{FF2B5EF4-FFF2-40B4-BE49-F238E27FC236}">
                <a16:creationId xmlns:a16="http://schemas.microsoft.com/office/drawing/2014/main" id="{995FBCFB-2C35-954C-BD16-19C3B6508D28}"/>
              </a:ext>
            </a:extLst>
          </p:cNvPr>
          <p:cNvSpPr>
            <a:spLocks noGrp="1"/>
          </p:cNvSpPr>
          <p:nvPr>
            <p:ph type="body" sz="quarter" idx="25"/>
          </p:nvPr>
        </p:nvSpPr>
        <p:spPr/>
        <p:txBody>
          <a:bodyPr/>
          <a:lstStyle/>
          <a:p>
            <a:endParaRPr lang="en-US"/>
          </a:p>
        </p:txBody>
      </p:sp>
      <p:sp>
        <p:nvSpPr>
          <p:cNvPr id="9" name="Text Placeholder 8">
            <a:extLst>
              <a:ext uri="{FF2B5EF4-FFF2-40B4-BE49-F238E27FC236}">
                <a16:creationId xmlns:a16="http://schemas.microsoft.com/office/drawing/2014/main" id="{D3F598EF-DE7E-A043-9D3F-652A042D344E}"/>
              </a:ext>
            </a:extLst>
          </p:cNvPr>
          <p:cNvSpPr>
            <a:spLocks noGrp="1"/>
          </p:cNvSpPr>
          <p:nvPr>
            <p:ph type="body" sz="quarter" idx="26"/>
          </p:nvPr>
        </p:nvSpPr>
        <p:spPr/>
        <p:txBody>
          <a:bodyPr/>
          <a:lstStyle/>
          <a:p>
            <a:endParaRPr lang="en-US"/>
          </a:p>
        </p:txBody>
      </p:sp>
    </p:spTree>
    <p:extLst>
      <p:ext uri="{BB962C8B-B14F-4D97-AF65-F5344CB8AC3E}">
        <p14:creationId xmlns:p14="http://schemas.microsoft.com/office/powerpoint/2010/main" val="3377228345"/>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Hockey Stick”</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560DD95-36FC-4CDC-A245-2BC5DB2DFA3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0" name="Group 19">
            <a:extLst>
              <a:ext uri="{FF2B5EF4-FFF2-40B4-BE49-F238E27FC236}">
                <a16:creationId xmlns:a16="http://schemas.microsoft.com/office/drawing/2014/main" id="{AD82686C-FDE7-4621-881E-25CD7A45247A}"/>
              </a:ext>
            </a:extLst>
          </p:cNvPr>
          <p:cNvGrpSpPr/>
          <p:nvPr/>
        </p:nvGrpSpPr>
        <p:grpSpPr bwMode="auto">
          <a:xfrm>
            <a:off x="449895" y="1619250"/>
            <a:ext cx="8188476" cy="4068477"/>
            <a:chOff x="990600" y="2095500"/>
            <a:chExt cx="7064375" cy="3509963"/>
          </a:xfrm>
        </p:grpSpPr>
        <p:sp>
          <p:nvSpPr>
            <p:cNvPr id="21" name="Freeform 3">
              <a:extLst>
                <a:ext uri="{FF2B5EF4-FFF2-40B4-BE49-F238E27FC236}">
                  <a16:creationId xmlns:a16="http://schemas.microsoft.com/office/drawing/2014/main" id="{2238B68D-B41E-460A-87AD-8DB91E009DAE}"/>
                </a:ext>
              </a:extLst>
            </p:cNvPr>
            <p:cNvSpPr>
              <a:spLocks/>
            </p:cNvSpPr>
            <p:nvPr/>
          </p:nvSpPr>
          <p:spPr bwMode="auto">
            <a:xfrm>
              <a:off x="4698556" y="2229929"/>
              <a:ext cx="2386345" cy="1777583"/>
            </a:xfrm>
            <a:custGeom>
              <a:avLst/>
              <a:gdLst>
                <a:gd name="connsiteX0" fmla="*/ 0 w 10096"/>
                <a:gd name="connsiteY0" fmla="*/ 10000 h 10000"/>
                <a:gd name="connsiteX1" fmla="*/ 10096 w 10096"/>
                <a:gd name="connsiteY1" fmla="*/ 0 h 10000"/>
                <a:gd name="connsiteX2" fmla="*/ 10021 w 10096"/>
                <a:gd name="connsiteY2" fmla="*/ 10000 h 10000"/>
                <a:gd name="connsiteX3" fmla="*/ 0 w 10096"/>
                <a:gd name="connsiteY3" fmla="*/ 10000 h 10000"/>
                <a:gd name="connsiteX0" fmla="*/ 0 w 10077"/>
                <a:gd name="connsiteY0" fmla="*/ 10077 h 10077"/>
                <a:gd name="connsiteX1" fmla="*/ 10077 w 10077"/>
                <a:gd name="connsiteY1" fmla="*/ 0 h 10077"/>
                <a:gd name="connsiteX2" fmla="*/ 10021 w 10077"/>
                <a:gd name="connsiteY2" fmla="*/ 10077 h 10077"/>
                <a:gd name="connsiteX3" fmla="*/ 0 w 10077"/>
                <a:gd name="connsiteY3" fmla="*/ 10077 h 10077"/>
              </a:gdLst>
              <a:ahLst/>
              <a:cxnLst>
                <a:cxn ang="0">
                  <a:pos x="connsiteX0" y="connsiteY0"/>
                </a:cxn>
                <a:cxn ang="0">
                  <a:pos x="connsiteX1" y="connsiteY1"/>
                </a:cxn>
                <a:cxn ang="0">
                  <a:pos x="connsiteX2" y="connsiteY2"/>
                </a:cxn>
                <a:cxn ang="0">
                  <a:pos x="connsiteX3" y="connsiteY3"/>
                </a:cxn>
              </a:cxnLst>
              <a:rect l="l" t="t" r="r" b="b"/>
              <a:pathLst>
                <a:path w="10077" h="10077">
                  <a:moveTo>
                    <a:pt x="0" y="10077"/>
                  </a:moveTo>
                  <a:lnTo>
                    <a:pt x="10077" y="0"/>
                  </a:lnTo>
                  <a:cubicBezTo>
                    <a:pt x="10052" y="3333"/>
                    <a:pt x="10046" y="6744"/>
                    <a:pt x="10021" y="10077"/>
                  </a:cubicBezTo>
                  <a:lnTo>
                    <a:pt x="0" y="10077"/>
                  </a:lnTo>
                  <a:close/>
                </a:path>
              </a:pathLst>
            </a:custGeom>
            <a:solidFill>
              <a:schemeClr val="accent6"/>
            </a:solidFill>
            <a:ln w="9525" cap="flat" cmpd="sng">
              <a:noFill/>
              <a:prstDash val="solid"/>
              <a:round/>
              <a:headEnd/>
              <a:tailEnd/>
            </a:ln>
            <a:effectLst/>
          </p:spPr>
          <p:txBody>
            <a:bodyPr wrap="none" lIns="90000" tIns="46800" rIns="90000" bIns="46800" anchor="ctr"/>
            <a:lstStyle/>
            <a:p>
              <a:endParaRPr lang="en-US" sz="1400"/>
            </a:p>
          </p:txBody>
        </p:sp>
        <p:sp>
          <p:nvSpPr>
            <p:cNvPr id="22" name="Freeform 2">
              <a:extLst>
                <a:ext uri="{FF2B5EF4-FFF2-40B4-BE49-F238E27FC236}">
                  <a16:creationId xmlns:a16="http://schemas.microsoft.com/office/drawing/2014/main" id="{24FFA85C-81E9-4712-AD9E-13841CCFD1CF}"/>
                </a:ext>
              </a:extLst>
            </p:cNvPr>
            <p:cNvSpPr>
              <a:spLocks/>
            </p:cNvSpPr>
            <p:nvPr/>
          </p:nvSpPr>
          <p:spPr bwMode="auto">
            <a:xfrm>
              <a:off x="1762125" y="3990975"/>
              <a:ext cx="2924175" cy="689665"/>
            </a:xfrm>
            <a:custGeom>
              <a:avLst/>
              <a:gdLst>
                <a:gd name="connsiteX0" fmla="*/ 0 w 10000"/>
                <a:gd name="connsiteY0" fmla="*/ 0 h 10000"/>
                <a:gd name="connsiteX1" fmla="*/ 10000 w 10000"/>
                <a:gd name="connsiteY1" fmla="*/ 211 h 10000"/>
                <a:gd name="connsiteX2" fmla="*/ 8360 w 10000"/>
                <a:gd name="connsiteY2" fmla="*/ 4859 h 10000"/>
                <a:gd name="connsiteX3" fmla="*/ 6992 w 10000"/>
                <a:gd name="connsiteY3" fmla="*/ 7817 h 10000"/>
                <a:gd name="connsiteX4" fmla="*/ 5880 w 10000"/>
                <a:gd name="connsiteY4" fmla="*/ 9732 h 10000"/>
                <a:gd name="connsiteX5" fmla="*/ 4609 w 10000"/>
                <a:gd name="connsiteY5" fmla="*/ 10000 h 10000"/>
                <a:gd name="connsiteX6" fmla="*/ 3355 w 10000"/>
                <a:gd name="connsiteY6" fmla="*/ 9108 h 10000"/>
                <a:gd name="connsiteX7" fmla="*/ 2134 w 10000"/>
                <a:gd name="connsiteY7" fmla="*/ 6408 h 10000"/>
                <a:gd name="connsiteX8" fmla="*/ 1270 w 10000"/>
                <a:gd name="connsiteY8" fmla="*/ 3967 h 10000"/>
                <a:gd name="connsiteX9" fmla="*/ 0 w 10000"/>
                <a:gd name="connsiteY9" fmla="*/ 0 h 10000"/>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355 w 10000"/>
                <a:gd name="connsiteY7" fmla="*/ 9108 h 10198"/>
                <a:gd name="connsiteX8" fmla="*/ 2134 w 10000"/>
                <a:gd name="connsiteY8" fmla="*/ 6408 h 10198"/>
                <a:gd name="connsiteX9" fmla="*/ 1270 w 10000"/>
                <a:gd name="connsiteY9" fmla="*/ 3967 h 10198"/>
                <a:gd name="connsiteX10" fmla="*/ 0 w 10000"/>
                <a:gd name="connsiteY10"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355 w 10000"/>
                <a:gd name="connsiteY7" fmla="*/ 9108 h 10198"/>
                <a:gd name="connsiteX8" fmla="*/ 2134 w 10000"/>
                <a:gd name="connsiteY8" fmla="*/ 6408 h 10198"/>
                <a:gd name="connsiteX9" fmla="*/ 1224 w 10000"/>
                <a:gd name="connsiteY9" fmla="*/ 3632 h 10198"/>
                <a:gd name="connsiteX10" fmla="*/ 0 w 10000"/>
                <a:gd name="connsiteY10"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324 w 10000"/>
                <a:gd name="connsiteY7" fmla="*/ 8974 h 10198"/>
                <a:gd name="connsiteX8" fmla="*/ 2134 w 10000"/>
                <a:gd name="connsiteY8" fmla="*/ 6408 h 10198"/>
                <a:gd name="connsiteX9" fmla="*/ 1224 w 10000"/>
                <a:gd name="connsiteY9" fmla="*/ 3632 h 10198"/>
                <a:gd name="connsiteX10" fmla="*/ 0 w 10000"/>
                <a:gd name="connsiteY10"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324 w 10000"/>
                <a:gd name="connsiteY7" fmla="*/ 8840 h 10198"/>
                <a:gd name="connsiteX8" fmla="*/ 2134 w 10000"/>
                <a:gd name="connsiteY8" fmla="*/ 6408 h 10198"/>
                <a:gd name="connsiteX9" fmla="*/ 1224 w 10000"/>
                <a:gd name="connsiteY9" fmla="*/ 3632 h 10198"/>
                <a:gd name="connsiteX10" fmla="*/ 0 w 10000"/>
                <a:gd name="connsiteY10"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5880 w 10000"/>
                <a:gd name="connsiteY4" fmla="*/ 9732 h 10198"/>
                <a:gd name="connsiteX5" fmla="*/ 4934 w 10000"/>
                <a:gd name="connsiteY5" fmla="*/ 10198 h 10198"/>
                <a:gd name="connsiteX6" fmla="*/ 4609 w 10000"/>
                <a:gd name="connsiteY6" fmla="*/ 10000 h 10198"/>
                <a:gd name="connsiteX7" fmla="*/ 3990 w 10000"/>
                <a:gd name="connsiteY7" fmla="*/ 9796 h 10198"/>
                <a:gd name="connsiteX8" fmla="*/ 3324 w 10000"/>
                <a:gd name="connsiteY8" fmla="*/ 8840 h 10198"/>
                <a:gd name="connsiteX9" fmla="*/ 2134 w 10000"/>
                <a:gd name="connsiteY9" fmla="*/ 6408 h 10198"/>
                <a:gd name="connsiteX10" fmla="*/ 1224 w 10000"/>
                <a:gd name="connsiteY10" fmla="*/ 3632 h 10198"/>
                <a:gd name="connsiteX11" fmla="*/ 0 w 10000"/>
                <a:gd name="connsiteY11" fmla="*/ 0 h 10198"/>
                <a:gd name="connsiteX0" fmla="*/ 0 w 10000"/>
                <a:gd name="connsiteY0" fmla="*/ 0 h 10198"/>
                <a:gd name="connsiteX1" fmla="*/ 10000 w 10000"/>
                <a:gd name="connsiteY1" fmla="*/ 211 h 10198"/>
                <a:gd name="connsiteX2" fmla="*/ 8360 w 10000"/>
                <a:gd name="connsiteY2" fmla="*/ 4859 h 10198"/>
                <a:gd name="connsiteX3" fmla="*/ 6992 w 10000"/>
                <a:gd name="connsiteY3" fmla="*/ 7817 h 10198"/>
                <a:gd name="connsiteX4" fmla="*/ 6529 w 10000"/>
                <a:gd name="connsiteY4" fmla="*/ 8792 h 10198"/>
                <a:gd name="connsiteX5" fmla="*/ 5880 w 10000"/>
                <a:gd name="connsiteY5" fmla="*/ 9732 h 10198"/>
                <a:gd name="connsiteX6" fmla="*/ 4934 w 10000"/>
                <a:gd name="connsiteY6" fmla="*/ 10198 h 10198"/>
                <a:gd name="connsiteX7" fmla="*/ 4609 w 10000"/>
                <a:gd name="connsiteY7" fmla="*/ 10000 h 10198"/>
                <a:gd name="connsiteX8" fmla="*/ 3990 w 10000"/>
                <a:gd name="connsiteY8" fmla="*/ 9796 h 10198"/>
                <a:gd name="connsiteX9" fmla="*/ 3324 w 10000"/>
                <a:gd name="connsiteY9" fmla="*/ 8840 h 10198"/>
                <a:gd name="connsiteX10" fmla="*/ 2134 w 10000"/>
                <a:gd name="connsiteY10" fmla="*/ 6408 h 10198"/>
                <a:gd name="connsiteX11" fmla="*/ 1224 w 10000"/>
                <a:gd name="connsiteY11" fmla="*/ 3632 h 10198"/>
                <a:gd name="connsiteX12" fmla="*/ 0 w 10000"/>
                <a:gd name="connsiteY12" fmla="*/ 0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198">
                  <a:moveTo>
                    <a:pt x="0" y="0"/>
                  </a:moveTo>
                  <a:lnTo>
                    <a:pt x="10000" y="211"/>
                  </a:lnTo>
                  <a:lnTo>
                    <a:pt x="8360" y="4859"/>
                  </a:lnTo>
                  <a:lnTo>
                    <a:pt x="6992" y="7817"/>
                  </a:lnTo>
                  <a:cubicBezTo>
                    <a:pt x="6838" y="8097"/>
                    <a:pt x="6683" y="8512"/>
                    <a:pt x="6529" y="8792"/>
                  </a:cubicBezTo>
                  <a:lnTo>
                    <a:pt x="5880" y="9732"/>
                  </a:lnTo>
                  <a:cubicBezTo>
                    <a:pt x="5611" y="9776"/>
                    <a:pt x="5203" y="10154"/>
                    <a:pt x="4934" y="10198"/>
                  </a:cubicBezTo>
                  <a:lnTo>
                    <a:pt x="4609" y="10000"/>
                  </a:lnTo>
                  <a:cubicBezTo>
                    <a:pt x="4444" y="9865"/>
                    <a:pt x="4155" y="9931"/>
                    <a:pt x="3990" y="9796"/>
                  </a:cubicBezTo>
                  <a:lnTo>
                    <a:pt x="3324" y="8840"/>
                  </a:lnTo>
                  <a:lnTo>
                    <a:pt x="2134" y="6408"/>
                  </a:lnTo>
                  <a:lnTo>
                    <a:pt x="1224" y="3632"/>
                  </a:lnTo>
                  <a:lnTo>
                    <a:pt x="0" y="0"/>
                  </a:lnTo>
                  <a:close/>
                </a:path>
              </a:pathLst>
            </a:custGeom>
            <a:solidFill>
              <a:schemeClr val="accent1"/>
            </a:solidFill>
            <a:ln w="9525" cap="flat" cmpd="sng">
              <a:noFill/>
              <a:prstDash val="solid"/>
              <a:round/>
              <a:headEnd/>
              <a:tailEnd/>
            </a:ln>
            <a:effectLst/>
          </p:spPr>
          <p:txBody>
            <a:bodyPr wrap="none" lIns="90000" tIns="46800" rIns="90000" bIns="46800" anchor="ctr"/>
            <a:lstStyle/>
            <a:p>
              <a:endParaRPr lang="en-US" sz="1400"/>
            </a:p>
          </p:txBody>
        </p:sp>
        <p:sp>
          <p:nvSpPr>
            <p:cNvPr id="23" name="Line 5">
              <a:extLst>
                <a:ext uri="{FF2B5EF4-FFF2-40B4-BE49-F238E27FC236}">
                  <a16:creationId xmlns:a16="http://schemas.microsoft.com/office/drawing/2014/main" id="{488DD7CF-E5BB-48DC-8357-6430045F5731}"/>
                </a:ext>
              </a:extLst>
            </p:cNvPr>
            <p:cNvSpPr>
              <a:spLocks noChangeShapeType="1"/>
            </p:cNvSpPr>
            <p:nvPr/>
          </p:nvSpPr>
          <p:spPr bwMode="auto">
            <a:xfrm flipV="1">
              <a:off x="1130300" y="3990975"/>
              <a:ext cx="0" cy="701675"/>
            </a:xfrm>
            <a:prstGeom prst="line">
              <a:avLst/>
            </a:prstGeom>
            <a:noFill/>
            <a:ln w="6350">
              <a:solidFill>
                <a:schemeClr val="accent2"/>
              </a:solidFill>
              <a:round/>
              <a:headEnd type="triangle" w="med" len="med"/>
              <a:tailEnd type="triangle" w="med" len="med"/>
            </a:ln>
            <a:effectLst/>
          </p:spPr>
          <p:txBody>
            <a:bodyPr lIns="45720" rIns="45720"/>
            <a:lstStyle/>
            <a:p>
              <a:endParaRPr lang="en-US" sz="1400"/>
            </a:p>
          </p:txBody>
        </p:sp>
        <p:sp>
          <p:nvSpPr>
            <p:cNvPr id="24" name="Text Box 6">
              <a:extLst>
                <a:ext uri="{FF2B5EF4-FFF2-40B4-BE49-F238E27FC236}">
                  <a16:creationId xmlns:a16="http://schemas.microsoft.com/office/drawing/2014/main" id="{7E1519CB-9043-4E66-BEBE-80A9636670F7}"/>
                </a:ext>
              </a:extLst>
            </p:cNvPr>
            <p:cNvSpPr txBox="1">
              <a:spLocks noChangeArrowheads="1"/>
            </p:cNvSpPr>
            <p:nvPr/>
          </p:nvSpPr>
          <p:spPr bwMode="auto">
            <a:xfrm>
              <a:off x="990600" y="2446338"/>
              <a:ext cx="581025" cy="274637"/>
            </a:xfrm>
            <a:prstGeom prst="rect">
              <a:avLst/>
            </a:prstGeom>
            <a:noFill/>
            <a:ln w="6350">
              <a:noFill/>
              <a:miter lim="800000"/>
              <a:headEnd/>
              <a:tailEnd/>
            </a:ln>
            <a:effectLst/>
          </p:spPr>
          <p:txBody>
            <a:bodyPr wrap="none" lIns="45720" rIns="45720"/>
            <a:lstStyle/>
            <a:p>
              <a:pPr algn="l" eaLnBrk="0" hangingPunct="0">
                <a:spcBef>
                  <a:spcPct val="50000"/>
                </a:spcBef>
                <a:buClrTx/>
                <a:buSzTx/>
                <a:buFontTx/>
                <a:buNone/>
              </a:pPr>
              <a:r>
                <a:rPr lang="en-US" sz="1400" b="1" dirty="0"/>
                <a:t>Xx Mio</a:t>
              </a:r>
            </a:p>
          </p:txBody>
        </p:sp>
        <p:sp>
          <p:nvSpPr>
            <p:cNvPr id="25" name="Line 7">
              <a:extLst>
                <a:ext uri="{FF2B5EF4-FFF2-40B4-BE49-F238E27FC236}">
                  <a16:creationId xmlns:a16="http://schemas.microsoft.com/office/drawing/2014/main" id="{4D424DF9-9A14-4056-9AC9-76F6778109C7}"/>
                </a:ext>
              </a:extLst>
            </p:cNvPr>
            <p:cNvSpPr>
              <a:spLocks noChangeShapeType="1"/>
            </p:cNvSpPr>
            <p:nvPr/>
          </p:nvSpPr>
          <p:spPr bwMode="auto">
            <a:xfrm>
              <a:off x="1762125" y="5324475"/>
              <a:ext cx="2949575" cy="0"/>
            </a:xfrm>
            <a:prstGeom prst="line">
              <a:avLst/>
            </a:prstGeom>
            <a:noFill/>
            <a:ln w="6350">
              <a:solidFill>
                <a:schemeClr val="accent2"/>
              </a:solidFill>
              <a:round/>
              <a:headEnd type="triangle" w="med" len="med"/>
              <a:tailEnd type="triangle" w="med" len="med"/>
            </a:ln>
            <a:effectLst/>
          </p:spPr>
          <p:txBody>
            <a:bodyPr lIns="45720" rIns="45720"/>
            <a:lstStyle/>
            <a:p>
              <a:endParaRPr lang="en-US" sz="1400"/>
            </a:p>
          </p:txBody>
        </p:sp>
        <p:sp>
          <p:nvSpPr>
            <p:cNvPr id="26" name="Line 8">
              <a:extLst>
                <a:ext uri="{FF2B5EF4-FFF2-40B4-BE49-F238E27FC236}">
                  <a16:creationId xmlns:a16="http://schemas.microsoft.com/office/drawing/2014/main" id="{160AEE0A-4EEF-4A7C-80C8-A6FF10E373EC}"/>
                </a:ext>
              </a:extLst>
            </p:cNvPr>
            <p:cNvSpPr>
              <a:spLocks noChangeShapeType="1"/>
            </p:cNvSpPr>
            <p:nvPr/>
          </p:nvSpPr>
          <p:spPr bwMode="auto">
            <a:xfrm>
              <a:off x="4711700" y="2727325"/>
              <a:ext cx="0" cy="2667000"/>
            </a:xfrm>
            <a:prstGeom prst="line">
              <a:avLst/>
            </a:prstGeom>
            <a:noFill/>
            <a:ln w="12700" cap="rnd">
              <a:solidFill>
                <a:schemeClr val="tx2"/>
              </a:solidFill>
              <a:prstDash val="dash"/>
              <a:round/>
              <a:headEnd/>
              <a:tailEnd/>
            </a:ln>
            <a:effectLst/>
          </p:spPr>
          <p:txBody>
            <a:bodyPr lIns="45720" rIns="45720"/>
            <a:lstStyle/>
            <a:p>
              <a:endParaRPr lang="en-US" sz="1400"/>
            </a:p>
          </p:txBody>
        </p:sp>
        <p:sp>
          <p:nvSpPr>
            <p:cNvPr id="27" name="Line 9">
              <a:extLst>
                <a:ext uri="{FF2B5EF4-FFF2-40B4-BE49-F238E27FC236}">
                  <a16:creationId xmlns:a16="http://schemas.microsoft.com/office/drawing/2014/main" id="{B4BD677F-E54D-4E41-AFD1-44329D308E44}"/>
                </a:ext>
              </a:extLst>
            </p:cNvPr>
            <p:cNvSpPr>
              <a:spLocks noChangeShapeType="1"/>
            </p:cNvSpPr>
            <p:nvPr/>
          </p:nvSpPr>
          <p:spPr bwMode="auto">
            <a:xfrm flipH="1">
              <a:off x="990600" y="3990975"/>
              <a:ext cx="701675" cy="0"/>
            </a:xfrm>
            <a:prstGeom prst="line">
              <a:avLst/>
            </a:prstGeom>
            <a:noFill/>
            <a:ln w="12700" cap="rnd">
              <a:solidFill>
                <a:schemeClr val="tx2"/>
              </a:solidFill>
              <a:prstDash val="dash"/>
              <a:round/>
              <a:headEnd/>
              <a:tailEnd/>
            </a:ln>
            <a:effectLst/>
          </p:spPr>
          <p:txBody>
            <a:bodyPr wrap="none" lIns="45720" rIns="45720"/>
            <a:lstStyle/>
            <a:p>
              <a:endParaRPr lang="en-US" sz="1400"/>
            </a:p>
          </p:txBody>
        </p:sp>
        <p:sp>
          <p:nvSpPr>
            <p:cNvPr id="28" name="Line 10">
              <a:extLst>
                <a:ext uri="{FF2B5EF4-FFF2-40B4-BE49-F238E27FC236}">
                  <a16:creationId xmlns:a16="http://schemas.microsoft.com/office/drawing/2014/main" id="{6A6A02B6-EAAC-4BE1-AEDD-C92676281F98}"/>
                </a:ext>
              </a:extLst>
            </p:cNvPr>
            <p:cNvSpPr>
              <a:spLocks noChangeShapeType="1"/>
            </p:cNvSpPr>
            <p:nvPr/>
          </p:nvSpPr>
          <p:spPr bwMode="auto">
            <a:xfrm>
              <a:off x="1727200" y="3999288"/>
              <a:ext cx="6107113" cy="0"/>
            </a:xfrm>
            <a:prstGeom prst="line">
              <a:avLst/>
            </a:prstGeom>
            <a:noFill/>
            <a:ln w="12700" cap="rnd">
              <a:solidFill>
                <a:schemeClr val="tx1"/>
              </a:solidFill>
              <a:round/>
              <a:headEnd type="none" w="med" len="med"/>
              <a:tailEnd type="triangle" w="med" len="med"/>
            </a:ln>
            <a:effectLst/>
          </p:spPr>
          <p:txBody>
            <a:bodyPr lIns="45720" rIns="45720"/>
            <a:lstStyle/>
            <a:p>
              <a:endParaRPr lang="en-US" sz="1400"/>
            </a:p>
          </p:txBody>
        </p:sp>
        <p:sp>
          <p:nvSpPr>
            <p:cNvPr id="29" name="Text Box 12">
              <a:extLst>
                <a:ext uri="{FF2B5EF4-FFF2-40B4-BE49-F238E27FC236}">
                  <a16:creationId xmlns:a16="http://schemas.microsoft.com/office/drawing/2014/main" id="{5EED8761-6568-4B93-B3E1-A2520EA00EC1}"/>
                </a:ext>
              </a:extLst>
            </p:cNvPr>
            <p:cNvSpPr txBox="1">
              <a:spLocks noChangeArrowheads="1"/>
            </p:cNvSpPr>
            <p:nvPr/>
          </p:nvSpPr>
          <p:spPr bwMode="auto">
            <a:xfrm>
              <a:off x="7613650" y="4040188"/>
              <a:ext cx="441325" cy="274637"/>
            </a:xfrm>
            <a:prstGeom prst="rect">
              <a:avLst/>
            </a:prstGeom>
            <a:noFill/>
            <a:ln w="6350">
              <a:noFill/>
              <a:miter lim="800000"/>
              <a:headEnd/>
              <a:tailEnd/>
            </a:ln>
            <a:effectLst/>
          </p:spPr>
          <p:txBody>
            <a:bodyPr wrap="none" lIns="45720" rIns="45720"/>
            <a:lstStyle/>
            <a:p>
              <a:pPr algn="l" eaLnBrk="0" hangingPunct="0">
                <a:spcBef>
                  <a:spcPct val="50000"/>
                </a:spcBef>
                <a:buClrTx/>
                <a:buSzTx/>
                <a:buFontTx/>
                <a:buNone/>
              </a:pPr>
              <a:r>
                <a:rPr lang="en-US" sz="1400" b="1" dirty="0"/>
                <a:t>Time</a:t>
              </a:r>
            </a:p>
          </p:txBody>
        </p:sp>
        <p:sp>
          <p:nvSpPr>
            <p:cNvPr id="30" name="Freeform 13">
              <a:extLst>
                <a:ext uri="{FF2B5EF4-FFF2-40B4-BE49-F238E27FC236}">
                  <a16:creationId xmlns:a16="http://schemas.microsoft.com/office/drawing/2014/main" id="{42DFADE8-1E18-4BAF-95BF-8B86A5BA6D61}"/>
                </a:ext>
              </a:extLst>
            </p:cNvPr>
            <p:cNvSpPr>
              <a:spLocks/>
            </p:cNvSpPr>
            <p:nvPr/>
          </p:nvSpPr>
          <p:spPr bwMode="auto">
            <a:xfrm>
              <a:off x="1728788" y="2168150"/>
              <a:ext cx="5448300" cy="2741612"/>
            </a:xfrm>
            <a:custGeom>
              <a:avLst/>
              <a:gdLst/>
              <a:ahLst/>
              <a:cxnLst>
                <a:cxn ang="0">
                  <a:pos x="0" y="1143"/>
                </a:cxn>
                <a:cxn ang="0">
                  <a:pos x="1182" y="1536"/>
                </a:cxn>
                <a:cxn ang="0">
                  <a:pos x="3432" y="0"/>
                </a:cxn>
              </a:cxnLst>
              <a:rect l="0" t="0" r="r" b="b"/>
              <a:pathLst>
                <a:path w="3432" h="1727">
                  <a:moveTo>
                    <a:pt x="0" y="1143"/>
                  </a:moveTo>
                  <a:cubicBezTo>
                    <a:pt x="197" y="1208"/>
                    <a:pt x="610" y="1727"/>
                    <a:pt x="1182" y="1536"/>
                  </a:cubicBezTo>
                  <a:cubicBezTo>
                    <a:pt x="1754" y="1345"/>
                    <a:pt x="2963" y="320"/>
                    <a:pt x="3432" y="0"/>
                  </a:cubicBezTo>
                </a:path>
              </a:pathLst>
            </a:custGeom>
            <a:noFill/>
            <a:ln w="19050" cap="flat" cmpd="sng">
              <a:solidFill>
                <a:schemeClr val="bg1">
                  <a:lumMod val="50000"/>
                </a:schemeClr>
              </a:solidFill>
              <a:prstDash val="solid"/>
              <a:round/>
              <a:headEnd type="none" w="med" len="med"/>
              <a:tailEnd type="none" w="med" len="med"/>
            </a:ln>
            <a:effectLst/>
          </p:spPr>
          <p:txBody>
            <a:bodyPr wrap="none" lIns="72000" tIns="54000" rIns="72000" bIns="54000" anchor="ctr"/>
            <a:lstStyle/>
            <a:p>
              <a:endParaRPr lang="en-US" sz="1400"/>
            </a:p>
          </p:txBody>
        </p:sp>
        <p:sp>
          <p:nvSpPr>
            <p:cNvPr id="31" name="Line 14">
              <a:extLst>
                <a:ext uri="{FF2B5EF4-FFF2-40B4-BE49-F238E27FC236}">
                  <a16:creationId xmlns:a16="http://schemas.microsoft.com/office/drawing/2014/main" id="{C2B3080A-D148-419B-8750-B4E415BEE3CF}"/>
                </a:ext>
              </a:extLst>
            </p:cNvPr>
            <p:cNvSpPr>
              <a:spLocks noChangeShapeType="1"/>
            </p:cNvSpPr>
            <p:nvPr/>
          </p:nvSpPr>
          <p:spPr bwMode="auto">
            <a:xfrm flipH="1">
              <a:off x="990600" y="4692650"/>
              <a:ext cx="2316163" cy="0"/>
            </a:xfrm>
            <a:prstGeom prst="line">
              <a:avLst/>
            </a:prstGeom>
            <a:noFill/>
            <a:ln w="12700" cap="rnd">
              <a:solidFill>
                <a:schemeClr val="tx2"/>
              </a:solidFill>
              <a:prstDash val="dash"/>
              <a:round/>
              <a:headEnd/>
              <a:tailEnd/>
            </a:ln>
            <a:effectLst/>
          </p:spPr>
          <p:txBody>
            <a:bodyPr wrap="none" lIns="45720" rIns="45720"/>
            <a:lstStyle/>
            <a:p>
              <a:endParaRPr lang="en-US" sz="1400"/>
            </a:p>
          </p:txBody>
        </p:sp>
        <p:sp>
          <p:nvSpPr>
            <p:cNvPr id="32" name="Line 15">
              <a:extLst>
                <a:ext uri="{FF2B5EF4-FFF2-40B4-BE49-F238E27FC236}">
                  <a16:creationId xmlns:a16="http://schemas.microsoft.com/office/drawing/2014/main" id="{20849F2D-F35B-47D4-A95A-6B291FF0CA84}"/>
                </a:ext>
              </a:extLst>
            </p:cNvPr>
            <p:cNvSpPr>
              <a:spLocks noChangeShapeType="1"/>
            </p:cNvSpPr>
            <p:nvPr/>
          </p:nvSpPr>
          <p:spPr bwMode="auto">
            <a:xfrm flipV="1">
              <a:off x="7519988" y="2165350"/>
              <a:ext cx="0" cy="1825625"/>
            </a:xfrm>
            <a:prstGeom prst="line">
              <a:avLst/>
            </a:prstGeom>
            <a:noFill/>
            <a:ln w="6350">
              <a:solidFill>
                <a:schemeClr val="accent6"/>
              </a:solidFill>
              <a:round/>
              <a:headEnd type="triangle" w="med" len="med"/>
              <a:tailEnd type="triangle" w="med" len="med"/>
            </a:ln>
            <a:effectLst/>
          </p:spPr>
          <p:txBody>
            <a:bodyPr lIns="45720" rIns="45720"/>
            <a:lstStyle/>
            <a:p>
              <a:endParaRPr lang="en-US" sz="1400"/>
            </a:p>
          </p:txBody>
        </p:sp>
        <p:sp>
          <p:nvSpPr>
            <p:cNvPr id="33" name="Line 16">
              <a:extLst>
                <a:ext uri="{FF2B5EF4-FFF2-40B4-BE49-F238E27FC236}">
                  <a16:creationId xmlns:a16="http://schemas.microsoft.com/office/drawing/2014/main" id="{F5676A85-5423-4FDA-849F-E888CED74C30}"/>
                </a:ext>
              </a:extLst>
            </p:cNvPr>
            <p:cNvSpPr>
              <a:spLocks noChangeShapeType="1"/>
            </p:cNvSpPr>
            <p:nvPr/>
          </p:nvSpPr>
          <p:spPr bwMode="auto">
            <a:xfrm flipH="1">
              <a:off x="7027863" y="2165350"/>
              <a:ext cx="701675" cy="0"/>
            </a:xfrm>
            <a:prstGeom prst="line">
              <a:avLst/>
            </a:prstGeom>
            <a:noFill/>
            <a:ln w="12700" cap="rnd">
              <a:solidFill>
                <a:schemeClr val="tx2"/>
              </a:solidFill>
              <a:prstDash val="dash"/>
              <a:round/>
              <a:headEnd/>
              <a:tailEnd/>
            </a:ln>
            <a:effectLst/>
          </p:spPr>
          <p:txBody>
            <a:bodyPr wrap="none" lIns="45720" rIns="45720"/>
            <a:lstStyle/>
            <a:p>
              <a:endParaRPr lang="en-US" sz="1400"/>
            </a:p>
          </p:txBody>
        </p:sp>
        <p:sp>
          <p:nvSpPr>
            <p:cNvPr id="34" name="Line 11">
              <a:extLst>
                <a:ext uri="{FF2B5EF4-FFF2-40B4-BE49-F238E27FC236}">
                  <a16:creationId xmlns:a16="http://schemas.microsoft.com/office/drawing/2014/main" id="{4B2109C6-02FD-4682-8498-D58C8D41E4D0}"/>
                </a:ext>
              </a:extLst>
            </p:cNvPr>
            <p:cNvSpPr>
              <a:spLocks noChangeShapeType="1"/>
            </p:cNvSpPr>
            <p:nvPr/>
          </p:nvSpPr>
          <p:spPr bwMode="auto">
            <a:xfrm>
              <a:off x="1727200" y="2095500"/>
              <a:ext cx="0" cy="3509963"/>
            </a:xfrm>
            <a:prstGeom prst="line">
              <a:avLst/>
            </a:prstGeom>
            <a:noFill/>
            <a:ln w="12700" cap="rnd" cmpd="sng">
              <a:solidFill>
                <a:schemeClr val="tx1"/>
              </a:solidFill>
              <a:prstDash val="solid"/>
              <a:round/>
              <a:headEnd type="triangle" w="med" len="med"/>
              <a:tailEnd type="triangle" w="med" len="med"/>
            </a:ln>
            <a:effectLst/>
          </p:spPr>
          <p:txBody>
            <a:bodyPr lIns="45720" rIns="45720"/>
            <a:lstStyle/>
            <a:p>
              <a:endParaRPr lang="en-US" sz="1400"/>
            </a:p>
          </p:txBody>
        </p:sp>
      </p:grpSp>
    </p:spTree>
    <p:extLst>
      <p:ext uri="{BB962C8B-B14F-4D97-AF65-F5344CB8AC3E}">
        <p14:creationId xmlns:p14="http://schemas.microsoft.com/office/powerpoint/2010/main" val="1380932510"/>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Hockey Stick” 2</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E0C88FC4-3033-4FD3-806C-2A53A30BAD55}"/>
              </a:ext>
            </a:extLst>
          </p:cNvPr>
          <p:cNvGrpSpPr/>
          <p:nvPr/>
        </p:nvGrpSpPr>
        <p:grpSpPr bwMode="auto">
          <a:xfrm>
            <a:off x="356482" y="1537734"/>
            <a:ext cx="8267649" cy="4191419"/>
            <a:chOff x="781050" y="2024063"/>
            <a:chExt cx="7064375" cy="3581400"/>
          </a:xfrm>
        </p:grpSpPr>
        <p:sp>
          <p:nvSpPr>
            <p:cNvPr id="6" name="Line 12">
              <a:extLst>
                <a:ext uri="{FF2B5EF4-FFF2-40B4-BE49-F238E27FC236}">
                  <a16:creationId xmlns:a16="http://schemas.microsoft.com/office/drawing/2014/main" id="{8D66FAF0-1E7B-4749-B811-AC06C37C75D5}"/>
                </a:ext>
              </a:extLst>
            </p:cNvPr>
            <p:cNvSpPr>
              <a:spLocks noChangeShapeType="1"/>
            </p:cNvSpPr>
            <p:nvPr/>
          </p:nvSpPr>
          <p:spPr bwMode="auto">
            <a:xfrm>
              <a:off x="1507602" y="3990975"/>
              <a:ext cx="6107113" cy="0"/>
            </a:xfrm>
            <a:prstGeom prst="line">
              <a:avLst/>
            </a:prstGeom>
            <a:noFill/>
            <a:ln w="12700" cap="rnd">
              <a:solidFill>
                <a:srgbClr val="000000"/>
              </a:solidFill>
              <a:round/>
              <a:headEnd type="non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7" name="Freeform 2">
              <a:extLst>
                <a:ext uri="{FF2B5EF4-FFF2-40B4-BE49-F238E27FC236}">
                  <a16:creationId xmlns:a16="http://schemas.microsoft.com/office/drawing/2014/main" id="{FB475D91-8700-42BC-8884-B565F7E35465}"/>
                </a:ext>
              </a:extLst>
            </p:cNvPr>
            <p:cNvSpPr>
              <a:spLocks/>
            </p:cNvSpPr>
            <p:nvPr/>
          </p:nvSpPr>
          <p:spPr bwMode="auto">
            <a:xfrm>
              <a:off x="4586690" y="2230918"/>
              <a:ext cx="2314362" cy="1779479"/>
            </a:xfrm>
            <a:custGeom>
              <a:avLst/>
              <a:gdLst>
                <a:gd name="connsiteX0" fmla="*/ 0 w 10013"/>
                <a:gd name="connsiteY0" fmla="*/ 9946 h 10000"/>
                <a:gd name="connsiteX1" fmla="*/ 10000 w 10013"/>
                <a:gd name="connsiteY1" fmla="*/ 0 h 10000"/>
                <a:gd name="connsiteX2" fmla="*/ 10013 w 10013"/>
                <a:gd name="connsiteY2" fmla="*/ 5467 h 10000"/>
                <a:gd name="connsiteX3" fmla="*/ 1645 w 10013"/>
                <a:gd name="connsiteY3" fmla="*/ 10000 h 10000"/>
                <a:gd name="connsiteX4" fmla="*/ 0 w 10013"/>
                <a:gd name="connsiteY4" fmla="*/ 9946 h 10000"/>
                <a:gd name="connsiteX0" fmla="*/ 0 w 10202"/>
                <a:gd name="connsiteY0" fmla="*/ 10027 h 10027"/>
                <a:gd name="connsiteX1" fmla="*/ 10189 w 10202"/>
                <a:gd name="connsiteY1" fmla="*/ 0 h 10027"/>
                <a:gd name="connsiteX2" fmla="*/ 10202 w 10202"/>
                <a:gd name="connsiteY2" fmla="*/ 5467 h 10027"/>
                <a:gd name="connsiteX3" fmla="*/ 1834 w 10202"/>
                <a:gd name="connsiteY3" fmla="*/ 10000 h 10027"/>
                <a:gd name="connsiteX4" fmla="*/ 0 w 10202"/>
                <a:gd name="connsiteY4" fmla="*/ 10027 h 10027"/>
                <a:gd name="connsiteX0" fmla="*/ 0 w 10202"/>
                <a:gd name="connsiteY0" fmla="*/ 10027 h 10054"/>
                <a:gd name="connsiteX1" fmla="*/ 10189 w 10202"/>
                <a:gd name="connsiteY1" fmla="*/ 0 h 10054"/>
                <a:gd name="connsiteX2" fmla="*/ 10202 w 10202"/>
                <a:gd name="connsiteY2" fmla="*/ 5467 h 10054"/>
                <a:gd name="connsiteX3" fmla="*/ 1624 w 10202"/>
                <a:gd name="connsiteY3" fmla="*/ 10054 h 10054"/>
                <a:gd name="connsiteX4" fmla="*/ 0 w 10202"/>
                <a:gd name="connsiteY4" fmla="*/ 10027 h 10054"/>
                <a:gd name="connsiteX0" fmla="*/ 0 w 10202"/>
                <a:gd name="connsiteY0" fmla="*/ 10108 h 10135"/>
                <a:gd name="connsiteX1" fmla="*/ 10168 w 10202"/>
                <a:gd name="connsiteY1" fmla="*/ 0 h 10135"/>
                <a:gd name="connsiteX2" fmla="*/ 10202 w 10202"/>
                <a:gd name="connsiteY2" fmla="*/ 5548 h 10135"/>
                <a:gd name="connsiteX3" fmla="*/ 1624 w 10202"/>
                <a:gd name="connsiteY3" fmla="*/ 10135 h 10135"/>
                <a:gd name="connsiteX4" fmla="*/ 0 w 10202"/>
                <a:gd name="connsiteY4" fmla="*/ 10108 h 1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135">
                  <a:moveTo>
                    <a:pt x="0" y="10108"/>
                  </a:moveTo>
                  <a:lnTo>
                    <a:pt x="10168" y="0"/>
                  </a:lnTo>
                  <a:cubicBezTo>
                    <a:pt x="10172" y="1822"/>
                    <a:pt x="10198" y="3726"/>
                    <a:pt x="10202" y="5548"/>
                  </a:cubicBezTo>
                  <a:lnTo>
                    <a:pt x="1624" y="10135"/>
                  </a:lnTo>
                  <a:lnTo>
                    <a:pt x="0" y="10108"/>
                  </a:lnTo>
                  <a:close/>
                </a:path>
              </a:pathLst>
            </a:custGeom>
            <a:solidFill>
              <a:schemeClr val="accent6"/>
            </a:solidFill>
            <a:ln w="9525" cap="flat" cmpd="sng">
              <a:noFill/>
              <a:prstDash val="solid"/>
              <a:round/>
              <a:headEnd/>
              <a:tailEnd/>
            </a:ln>
            <a:effectLst/>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8" name="Freeform 3">
              <a:extLst>
                <a:ext uri="{FF2B5EF4-FFF2-40B4-BE49-F238E27FC236}">
                  <a16:creationId xmlns:a16="http://schemas.microsoft.com/office/drawing/2014/main" id="{4EA451E4-F454-48AE-9AB0-6C2B95258AEC}"/>
                </a:ext>
              </a:extLst>
            </p:cNvPr>
            <p:cNvSpPr>
              <a:spLocks/>
            </p:cNvSpPr>
            <p:nvPr/>
          </p:nvSpPr>
          <p:spPr bwMode="auto">
            <a:xfrm>
              <a:off x="4176736" y="3990975"/>
              <a:ext cx="797708" cy="319074"/>
            </a:xfrm>
            <a:custGeom>
              <a:avLst/>
              <a:gdLst>
                <a:gd name="connsiteX0" fmla="*/ 0 w 10374"/>
                <a:gd name="connsiteY0" fmla="*/ 10000 h 10000"/>
                <a:gd name="connsiteX1" fmla="*/ 5995 w 10374"/>
                <a:gd name="connsiteY1" fmla="*/ 0 h 10000"/>
                <a:gd name="connsiteX2" fmla="*/ 10374 w 10374"/>
                <a:gd name="connsiteY2" fmla="*/ 323 h 10000"/>
                <a:gd name="connsiteX3" fmla="*/ 5995 w 10374"/>
                <a:gd name="connsiteY3" fmla="*/ 4972 h 10000"/>
                <a:gd name="connsiteX4" fmla="*/ 0 w 10374"/>
                <a:gd name="connsiteY4" fmla="*/ 10000 h 10000"/>
                <a:gd name="connsiteX0" fmla="*/ 0 w 10374"/>
                <a:gd name="connsiteY0" fmla="*/ 10000 h 10000"/>
                <a:gd name="connsiteX1" fmla="*/ 5746 w 10374"/>
                <a:gd name="connsiteY1" fmla="*/ 0 h 10000"/>
                <a:gd name="connsiteX2" fmla="*/ 10374 w 10374"/>
                <a:gd name="connsiteY2" fmla="*/ 323 h 10000"/>
                <a:gd name="connsiteX3" fmla="*/ 5995 w 10374"/>
                <a:gd name="connsiteY3" fmla="*/ 4972 h 10000"/>
                <a:gd name="connsiteX4" fmla="*/ 0 w 10374"/>
                <a:gd name="connsiteY4" fmla="*/ 10000 h 10000"/>
                <a:gd name="connsiteX0" fmla="*/ 0 w 10374"/>
                <a:gd name="connsiteY0" fmla="*/ 10000 h 10000"/>
                <a:gd name="connsiteX1" fmla="*/ 5497 w 10374"/>
                <a:gd name="connsiteY1" fmla="*/ 0 h 10000"/>
                <a:gd name="connsiteX2" fmla="*/ 10374 w 10374"/>
                <a:gd name="connsiteY2" fmla="*/ 323 h 10000"/>
                <a:gd name="connsiteX3" fmla="*/ 5995 w 10374"/>
                <a:gd name="connsiteY3" fmla="*/ 4972 h 10000"/>
                <a:gd name="connsiteX4" fmla="*/ 0 w 10374"/>
                <a:gd name="connsiteY4" fmla="*/ 10000 h 10000"/>
                <a:gd name="connsiteX0" fmla="*/ 0 w 10436"/>
                <a:gd name="connsiteY0" fmla="*/ 10806 h 10806"/>
                <a:gd name="connsiteX1" fmla="*/ 5559 w 10436"/>
                <a:gd name="connsiteY1" fmla="*/ 0 h 10806"/>
                <a:gd name="connsiteX2" fmla="*/ 10436 w 10436"/>
                <a:gd name="connsiteY2" fmla="*/ 323 h 10806"/>
                <a:gd name="connsiteX3" fmla="*/ 6057 w 10436"/>
                <a:gd name="connsiteY3" fmla="*/ 4972 h 10806"/>
                <a:gd name="connsiteX4" fmla="*/ 0 w 10436"/>
                <a:gd name="connsiteY4" fmla="*/ 10806 h 10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6" h="10806">
                  <a:moveTo>
                    <a:pt x="0" y="10806"/>
                  </a:moveTo>
                  <a:lnTo>
                    <a:pt x="5559" y="0"/>
                  </a:lnTo>
                  <a:lnTo>
                    <a:pt x="10436" y="323"/>
                  </a:lnTo>
                  <a:lnTo>
                    <a:pt x="6057" y="4972"/>
                  </a:lnTo>
                  <a:lnTo>
                    <a:pt x="0" y="10806"/>
                  </a:lnTo>
                  <a:close/>
                </a:path>
              </a:pathLst>
            </a:custGeom>
            <a:solidFill>
              <a:schemeClr val="accent1"/>
            </a:solidFill>
            <a:ln w="9525" cap="flat" cmpd="sng">
              <a:noFill/>
              <a:prstDash val="solid"/>
              <a:round/>
              <a:headEnd/>
              <a:tailEnd/>
            </a:ln>
            <a:effectLst/>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9" name="Freeform 4">
              <a:extLst>
                <a:ext uri="{FF2B5EF4-FFF2-40B4-BE49-F238E27FC236}">
                  <a16:creationId xmlns:a16="http://schemas.microsoft.com/office/drawing/2014/main" id="{DAA02FB8-6FBB-4F56-B263-45AC2D453C94}"/>
                </a:ext>
              </a:extLst>
            </p:cNvPr>
            <p:cNvSpPr>
              <a:spLocks/>
            </p:cNvSpPr>
            <p:nvPr/>
          </p:nvSpPr>
          <p:spPr bwMode="auto">
            <a:xfrm>
              <a:off x="1542462" y="4016033"/>
              <a:ext cx="2586737" cy="1220204"/>
            </a:xfrm>
            <a:custGeom>
              <a:avLst/>
              <a:gdLst>
                <a:gd name="connsiteX0" fmla="*/ 0 w 10000"/>
                <a:gd name="connsiteY0" fmla="*/ 0 h 10000"/>
                <a:gd name="connsiteX1" fmla="*/ 1657 w 10000"/>
                <a:gd name="connsiteY1" fmla="*/ 3667 h 10000"/>
                <a:gd name="connsiteX2" fmla="*/ 2991 w 10000"/>
                <a:gd name="connsiteY2" fmla="*/ 5189 h 10000"/>
                <a:gd name="connsiteX3" fmla="*/ 4112 w 10000"/>
                <a:gd name="connsiteY3" fmla="*/ 5618 h 10000"/>
                <a:gd name="connsiteX4" fmla="*/ 6261 w 10000"/>
                <a:gd name="connsiteY4" fmla="*/ 5189 h 10000"/>
                <a:gd name="connsiteX5" fmla="*/ 8542 w 10000"/>
                <a:gd name="connsiteY5" fmla="*/ 3667 h 10000"/>
                <a:gd name="connsiteX6" fmla="*/ 10000 w 10000"/>
                <a:gd name="connsiteY6" fmla="*/ 2536 h 10000"/>
                <a:gd name="connsiteX7" fmla="*/ 8542 w 10000"/>
                <a:gd name="connsiteY7" fmla="*/ 4824 h 10000"/>
                <a:gd name="connsiteX8" fmla="*/ 6336 w 10000"/>
                <a:gd name="connsiteY8" fmla="*/ 7698 h 10000"/>
                <a:gd name="connsiteX9" fmla="*/ 4685 w 10000"/>
                <a:gd name="connsiteY9" fmla="*/ 9428 h 10000"/>
                <a:gd name="connsiteX10" fmla="*/ 3583 w 10000"/>
                <a:gd name="connsiteY10" fmla="*/ 10000 h 10000"/>
                <a:gd name="connsiteX11" fmla="*/ 2150 w 10000"/>
                <a:gd name="connsiteY11" fmla="*/ 8895 h 10000"/>
                <a:gd name="connsiteX12" fmla="*/ 1103 w 10000"/>
                <a:gd name="connsiteY12" fmla="*/ 5969 h 10000"/>
                <a:gd name="connsiteX13" fmla="*/ 617 w 10000"/>
                <a:gd name="connsiteY13" fmla="*/ 3589 h 10000"/>
                <a:gd name="connsiteX14" fmla="*/ 0 w 10000"/>
                <a:gd name="connsiteY14" fmla="*/ 0 h 10000"/>
                <a:gd name="connsiteX0" fmla="*/ 0 w 10000"/>
                <a:gd name="connsiteY0" fmla="*/ 0 h 10000"/>
                <a:gd name="connsiteX1" fmla="*/ 1657 w 10000"/>
                <a:gd name="connsiteY1" fmla="*/ 3667 h 10000"/>
                <a:gd name="connsiteX2" fmla="*/ 2991 w 10000"/>
                <a:gd name="connsiteY2" fmla="*/ 5189 h 10000"/>
                <a:gd name="connsiteX3" fmla="*/ 4112 w 10000"/>
                <a:gd name="connsiteY3" fmla="*/ 5618 h 10000"/>
                <a:gd name="connsiteX4" fmla="*/ 6261 w 10000"/>
                <a:gd name="connsiteY4" fmla="*/ 5189 h 10000"/>
                <a:gd name="connsiteX5" fmla="*/ 6467 w 10000"/>
                <a:gd name="connsiteY5" fmla="*/ 4954 h 10000"/>
                <a:gd name="connsiteX6" fmla="*/ 8542 w 10000"/>
                <a:gd name="connsiteY6" fmla="*/ 3667 h 10000"/>
                <a:gd name="connsiteX7" fmla="*/ 10000 w 10000"/>
                <a:gd name="connsiteY7" fmla="*/ 2536 h 10000"/>
                <a:gd name="connsiteX8" fmla="*/ 8542 w 10000"/>
                <a:gd name="connsiteY8" fmla="*/ 4824 h 10000"/>
                <a:gd name="connsiteX9" fmla="*/ 6336 w 10000"/>
                <a:gd name="connsiteY9" fmla="*/ 7698 h 10000"/>
                <a:gd name="connsiteX10" fmla="*/ 4685 w 10000"/>
                <a:gd name="connsiteY10" fmla="*/ 9428 h 10000"/>
                <a:gd name="connsiteX11" fmla="*/ 3583 w 10000"/>
                <a:gd name="connsiteY11" fmla="*/ 10000 h 10000"/>
                <a:gd name="connsiteX12" fmla="*/ 2150 w 10000"/>
                <a:gd name="connsiteY12" fmla="*/ 8895 h 10000"/>
                <a:gd name="connsiteX13" fmla="*/ 1103 w 10000"/>
                <a:gd name="connsiteY13" fmla="*/ 5969 h 10000"/>
                <a:gd name="connsiteX14" fmla="*/ 617 w 10000"/>
                <a:gd name="connsiteY14" fmla="*/ 3589 h 10000"/>
                <a:gd name="connsiteX15" fmla="*/ 0 w 10000"/>
                <a:gd name="connsiteY15" fmla="*/ 0 h 10000"/>
                <a:gd name="connsiteX0" fmla="*/ 0 w 10000"/>
                <a:gd name="connsiteY0" fmla="*/ 0 h 10000"/>
                <a:gd name="connsiteX1" fmla="*/ 1657 w 10000"/>
                <a:gd name="connsiteY1" fmla="*/ 3667 h 10000"/>
                <a:gd name="connsiteX2" fmla="*/ 2991 w 10000"/>
                <a:gd name="connsiteY2" fmla="*/ 5189 h 10000"/>
                <a:gd name="connsiteX3" fmla="*/ 4112 w 10000"/>
                <a:gd name="connsiteY3" fmla="*/ 5618 h 10000"/>
                <a:gd name="connsiteX4" fmla="*/ 5963 w 10000"/>
                <a:gd name="connsiteY4" fmla="*/ 5228 h 10000"/>
                <a:gd name="connsiteX5" fmla="*/ 6261 w 10000"/>
                <a:gd name="connsiteY5" fmla="*/ 5189 h 10000"/>
                <a:gd name="connsiteX6" fmla="*/ 6467 w 10000"/>
                <a:gd name="connsiteY6" fmla="*/ 4954 h 10000"/>
                <a:gd name="connsiteX7" fmla="*/ 8542 w 10000"/>
                <a:gd name="connsiteY7" fmla="*/ 3667 h 10000"/>
                <a:gd name="connsiteX8" fmla="*/ 10000 w 10000"/>
                <a:gd name="connsiteY8" fmla="*/ 2536 h 10000"/>
                <a:gd name="connsiteX9" fmla="*/ 8542 w 10000"/>
                <a:gd name="connsiteY9" fmla="*/ 4824 h 10000"/>
                <a:gd name="connsiteX10" fmla="*/ 6336 w 10000"/>
                <a:gd name="connsiteY10" fmla="*/ 7698 h 10000"/>
                <a:gd name="connsiteX11" fmla="*/ 4685 w 10000"/>
                <a:gd name="connsiteY11" fmla="*/ 9428 h 10000"/>
                <a:gd name="connsiteX12" fmla="*/ 3583 w 10000"/>
                <a:gd name="connsiteY12" fmla="*/ 10000 h 10000"/>
                <a:gd name="connsiteX13" fmla="*/ 2150 w 10000"/>
                <a:gd name="connsiteY13" fmla="*/ 8895 h 10000"/>
                <a:gd name="connsiteX14" fmla="*/ 1103 w 10000"/>
                <a:gd name="connsiteY14" fmla="*/ 5969 h 10000"/>
                <a:gd name="connsiteX15" fmla="*/ 617 w 10000"/>
                <a:gd name="connsiteY15" fmla="*/ 3589 h 10000"/>
                <a:gd name="connsiteX16" fmla="*/ 0 w 10000"/>
                <a:gd name="connsiteY16" fmla="*/ 0 h 10000"/>
                <a:gd name="connsiteX0" fmla="*/ 0 w 10000"/>
                <a:gd name="connsiteY0" fmla="*/ 0 h 10000"/>
                <a:gd name="connsiteX1" fmla="*/ 1657 w 10000"/>
                <a:gd name="connsiteY1" fmla="*/ 3667 h 10000"/>
                <a:gd name="connsiteX2" fmla="*/ 2991 w 10000"/>
                <a:gd name="connsiteY2" fmla="*/ 5189 h 10000"/>
                <a:gd name="connsiteX3" fmla="*/ 4112 w 10000"/>
                <a:gd name="connsiteY3" fmla="*/ 5618 h 10000"/>
                <a:gd name="connsiteX4" fmla="*/ 5963 w 10000"/>
                <a:gd name="connsiteY4" fmla="*/ 5228 h 10000"/>
                <a:gd name="connsiteX5" fmla="*/ 6242 w 10000"/>
                <a:gd name="connsiteY5" fmla="*/ 5072 h 10000"/>
                <a:gd name="connsiteX6" fmla="*/ 6467 w 10000"/>
                <a:gd name="connsiteY6" fmla="*/ 4954 h 10000"/>
                <a:gd name="connsiteX7" fmla="*/ 8542 w 10000"/>
                <a:gd name="connsiteY7" fmla="*/ 3667 h 10000"/>
                <a:gd name="connsiteX8" fmla="*/ 10000 w 10000"/>
                <a:gd name="connsiteY8" fmla="*/ 2536 h 10000"/>
                <a:gd name="connsiteX9" fmla="*/ 8542 w 10000"/>
                <a:gd name="connsiteY9" fmla="*/ 4824 h 10000"/>
                <a:gd name="connsiteX10" fmla="*/ 6336 w 10000"/>
                <a:gd name="connsiteY10" fmla="*/ 7698 h 10000"/>
                <a:gd name="connsiteX11" fmla="*/ 4685 w 10000"/>
                <a:gd name="connsiteY11" fmla="*/ 9428 h 10000"/>
                <a:gd name="connsiteX12" fmla="*/ 3583 w 10000"/>
                <a:gd name="connsiteY12" fmla="*/ 10000 h 10000"/>
                <a:gd name="connsiteX13" fmla="*/ 2150 w 10000"/>
                <a:gd name="connsiteY13" fmla="*/ 8895 h 10000"/>
                <a:gd name="connsiteX14" fmla="*/ 1103 w 10000"/>
                <a:gd name="connsiteY14" fmla="*/ 5969 h 10000"/>
                <a:gd name="connsiteX15" fmla="*/ 617 w 10000"/>
                <a:gd name="connsiteY15" fmla="*/ 3589 h 10000"/>
                <a:gd name="connsiteX16" fmla="*/ 0 w 10000"/>
                <a:gd name="connsiteY16" fmla="*/ 0 h 10000"/>
                <a:gd name="connsiteX0" fmla="*/ 0 w 9963"/>
                <a:gd name="connsiteY0" fmla="*/ 0 h 10156"/>
                <a:gd name="connsiteX1" fmla="*/ 1620 w 9963"/>
                <a:gd name="connsiteY1" fmla="*/ 3823 h 10156"/>
                <a:gd name="connsiteX2" fmla="*/ 2954 w 9963"/>
                <a:gd name="connsiteY2" fmla="*/ 5345 h 10156"/>
                <a:gd name="connsiteX3" fmla="*/ 4075 w 9963"/>
                <a:gd name="connsiteY3" fmla="*/ 5774 h 10156"/>
                <a:gd name="connsiteX4" fmla="*/ 5926 w 9963"/>
                <a:gd name="connsiteY4" fmla="*/ 5384 h 10156"/>
                <a:gd name="connsiteX5" fmla="*/ 6205 w 9963"/>
                <a:gd name="connsiteY5" fmla="*/ 5228 h 10156"/>
                <a:gd name="connsiteX6" fmla="*/ 6430 w 9963"/>
                <a:gd name="connsiteY6" fmla="*/ 5110 h 10156"/>
                <a:gd name="connsiteX7" fmla="*/ 8505 w 9963"/>
                <a:gd name="connsiteY7" fmla="*/ 3823 h 10156"/>
                <a:gd name="connsiteX8" fmla="*/ 9963 w 9963"/>
                <a:gd name="connsiteY8" fmla="*/ 2692 h 10156"/>
                <a:gd name="connsiteX9" fmla="*/ 8505 w 9963"/>
                <a:gd name="connsiteY9" fmla="*/ 4980 h 10156"/>
                <a:gd name="connsiteX10" fmla="*/ 6299 w 9963"/>
                <a:gd name="connsiteY10" fmla="*/ 7854 h 10156"/>
                <a:gd name="connsiteX11" fmla="*/ 4648 w 9963"/>
                <a:gd name="connsiteY11" fmla="*/ 9584 h 10156"/>
                <a:gd name="connsiteX12" fmla="*/ 3546 w 9963"/>
                <a:gd name="connsiteY12" fmla="*/ 10156 h 10156"/>
                <a:gd name="connsiteX13" fmla="*/ 2113 w 9963"/>
                <a:gd name="connsiteY13" fmla="*/ 9051 h 10156"/>
                <a:gd name="connsiteX14" fmla="*/ 1066 w 9963"/>
                <a:gd name="connsiteY14" fmla="*/ 6125 h 10156"/>
                <a:gd name="connsiteX15" fmla="*/ 580 w 9963"/>
                <a:gd name="connsiteY15" fmla="*/ 3745 h 10156"/>
                <a:gd name="connsiteX16" fmla="*/ 0 w 9963"/>
                <a:gd name="connsiteY16" fmla="*/ 0 h 10156"/>
                <a:gd name="connsiteX0" fmla="*/ 0 w 10000"/>
                <a:gd name="connsiteY0" fmla="*/ 0 h 10000"/>
                <a:gd name="connsiteX1" fmla="*/ 1607 w 10000"/>
                <a:gd name="connsiteY1" fmla="*/ 3572 h 10000"/>
                <a:gd name="connsiteX2" fmla="*/ 2965 w 10000"/>
                <a:gd name="connsiteY2" fmla="*/ 5263 h 10000"/>
                <a:gd name="connsiteX3" fmla="*/ 4090 w 10000"/>
                <a:gd name="connsiteY3" fmla="*/ 5685 h 10000"/>
                <a:gd name="connsiteX4" fmla="*/ 5948 w 10000"/>
                <a:gd name="connsiteY4" fmla="*/ 5301 h 10000"/>
                <a:gd name="connsiteX5" fmla="*/ 6228 w 10000"/>
                <a:gd name="connsiteY5" fmla="*/ 5148 h 10000"/>
                <a:gd name="connsiteX6" fmla="*/ 6454 w 10000"/>
                <a:gd name="connsiteY6" fmla="*/ 5032 h 10000"/>
                <a:gd name="connsiteX7" fmla="*/ 8537 w 10000"/>
                <a:gd name="connsiteY7" fmla="*/ 3764 h 10000"/>
                <a:gd name="connsiteX8" fmla="*/ 10000 w 10000"/>
                <a:gd name="connsiteY8" fmla="*/ 2651 h 10000"/>
                <a:gd name="connsiteX9" fmla="*/ 8537 w 10000"/>
                <a:gd name="connsiteY9" fmla="*/ 4904 h 10000"/>
                <a:gd name="connsiteX10" fmla="*/ 6322 w 10000"/>
                <a:gd name="connsiteY10" fmla="*/ 7733 h 10000"/>
                <a:gd name="connsiteX11" fmla="*/ 4665 w 10000"/>
                <a:gd name="connsiteY11" fmla="*/ 9437 h 10000"/>
                <a:gd name="connsiteX12" fmla="*/ 3559 w 10000"/>
                <a:gd name="connsiteY12" fmla="*/ 10000 h 10000"/>
                <a:gd name="connsiteX13" fmla="*/ 2121 w 10000"/>
                <a:gd name="connsiteY13" fmla="*/ 8912 h 10000"/>
                <a:gd name="connsiteX14" fmla="*/ 1070 w 10000"/>
                <a:gd name="connsiteY14" fmla="*/ 6031 h 10000"/>
                <a:gd name="connsiteX15" fmla="*/ 582 w 10000"/>
                <a:gd name="connsiteY15" fmla="*/ 3687 h 10000"/>
                <a:gd name="connsiteX16" fmla="*/ 0 w 10000"/>
                <a:gd name="connsiteY16" fmla="*/ 0 h 10000"/>
                <a:gd name="connsiteX0" fmla="*/ 0 w 10000"/>
                <a:gd name="connsiteY0" fmla="*/ 0 h 10000"/>
                <a:gd name="connsiteX1" fmla="*/ 1607 w 10000"/>
                <a:gd name="connsiteY1" fmla="*/ 3572 h 10000"/>
                <a:gd name="connsiteX2" fmla="*/ 2890 w 10000"/>
                <a:gd name="connsiteY2" fmla="*/ 5148 h 10000"/>
                <a:gd name="connsiteX3" fmla="*/ 4090 w 10000"/>
                <a:gd name="connsiteY3" fmla="*/ 5685 h 10000"/>
                <a:gd name="connsiteX4" fmla="*/ 5948 w 10000"/>
                <a:gd name="connsiteY4" fmla="*/ 5301 h 10000"/>
                <a:gd name="connsiteX5" fmla="*/ 6228 w 10000"/>
                <a:gd name="connsiteY5" fmla="*/ 5148 h 10000"/>
                <a:gd name="connsiteX6" fmla="*/ 6454 w 10000"/>
                <a:gd name="connsiteY6" fmla="*/ 5032 h 10000"/>
                <a:gd name="connsiteX7" fmla="*/ 8537 w 10000"/>
                <a:gd name="connsiteY7" fmla="*/ 3764 h 10000"/>
                <a:gd name="connsiteX8" fmla="*/ 10000 w 10000"/>
                <a:gd name="connsiteY8" fmla="*/ 2651 h 10000"/>
                <a:gd name="connsiteX9" fmla="*/ 8537 w 10000"/>
                <a:gd name="connsiteY9" fmla="*/ 4904 h 10000"/>
                <a:gd name="connsiteX10" fmla="*/ 6322 w 10000"/>
                <a:gd name="connsiteY10" fmla="*/ 7733 h 10000"/>
                <a:gd name="connsiteX11" fmla="*/ 4665 w 10000"/>
                <a:gd name="connsiteY11" fmla="*/ 9437 h 10000"/>
                <a:gd name="connsiteX12" fmla="*/ 3559 w 10000"/>
                <a:gd name="connsiteY12" fmla="*/ 10000 h 10000"/>
                <a:gd name="connsiteX13" fmla="*/ 2121 w 10000"/>
                <a:gd name="connsiteY13" fmla="*/ 8912 h 10000"/>
                <a:gd name="connsiteX14" fmla="*/ 1070 w 10000"/>
                <a:gd name="connsiteY14" fmla="*/ 6031 h 10000"/>
                <a:gd name="connsiteX15" fmla="*/ 582 w 10000"/>
                <a:gd name="connsiteY15" fmla="*/ 3687 h 10000"/>
                <a:gd name="connsiteX16" fmla="*/ 0 w 10000"/>
                <a:gd name="connsiteY16"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121 w 10113"/>
                <a:gd name="connsiteY13" fmla="*/ 8912 h 10000"/>
                <a:gd name="connsiteX14" fmla="*/ 1070 w 10113"/>
                <a:gd name="connsiteY14" fmla="*/ 6031 h 10000"/>
                <a:gd name="connsiteX15" fmla="*/ 582 w 10113"/>
                <a:gd name="connsiteY15" fmla="*/ 3687 h 10000"/>
                <a:gd name="connsiteX16" fmla="*/ 0 w 10113"/>
                <a:gd name="connsiteY16"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646 w 10113"/>
                <a:gd name="connsiteY13" fmla="*/ 9526 h 10000"/>
                <a:gd name="connsiteX14" fmla="*/ 2121 w 10113"/>
                <a:gd name="connsiteY14" fmla="*/ 8912 h 10000"/>
                <a:gd name="connsiteX15" fmla="*/ 1070 w 10113"/>
                <a:gd name="connsiteY15" fmla="*/ 6031 h 10000"/>
                <a:gd name="connsiteX16" fmla="*/ 582 w 10113"/>
                <a:gd name="connsiteY16" fmla="*/ 3687 h 10000"/>
                <a:gd name="connsiteX17" fmla="*/ 0 w 10113"/>
                <a:gd name="connsiteY17"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646 w 10113"/>
                <a:gd name="connsiteY13" fmla="*/ 9526 h 10000"/>
                <a:gd name="connsiteX14" fmla="*/ 2121 w 10113"/>
                <a:gd name="connsiteY14" fmla="*/ 8912 h 10000"/>
                <a:gd name="connsiteX15" fmla="*/ 1655 w 10113"/>
                <a:gd name="connsiteY15" fmla="*/ 7761 h 10000"/>
                <a:gd name="connsiteX16" fmla="*/ 1070 w 10113"/>
                <a:gd name="connsiteY16" fmla="*/ 6031 h 10000"/>
                <a:gd name="connsiteX17" fmla="*/ 582 w 10113"/>
                <a:gd name="connsiteY17" fmla="*/ 3687 h 10000"/>
                <a:gd name="connsiteX18" fmla="*/ 0 w 10113"/>
                <a:gd name="connsiteY18"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646 w 10113"/>
                <a:gd name="connsiteY13" fmla="*/ 9526 h 10000"/>
                <a:gd name="connsiteX14" fmla="*/ 2121 w 10113"/>
                <a:gd name="connsiteY14" fmla="*/ 8912 h 10000"/>
                <a:gd name="connsiteX15" fmla="*/ 1655 w 10113"/>
                <a:gd name="connsiteY15" fmla="*/ 7761 h 10000"/>
                <a:gd name="connsiteX16" fmla="*/ 1094 w 10113"/>
                <a:gd name="connsiteY16" fmla="*/ 5957 h 10000"/>
                <a:gd name="connsiteX17" fmla="*/ 582 w 10113"/>
                <a:gd name="connsiteY17" fmla="*/ 3687 h 10000"/>
                <a:gd name="connsiteX18" fmla="*/ 0 w 10113"/>
                <a:gd name="connsiteY18" fmla="*/ 0 h 10000"/>
                <a:gd name="connsiteX0" fmla="*/ 0 w 10113"/>
                <a:gd name="connsiteY0" fmla="*/ 0 h 10000"/>
                <a:gd name="connsiteX1" fmla="*/ 1607 w 10113"/>
                <a:gd name="connsiteY1" fmla="*/ 3572 h 10000"/>
                <a:gd name="connsiteX2" fmla="*/ 2890 w 10113"/>
                <a:gd name="connsiteY2" fmla="*/ 5148 h 10000"/>
                <a:gd name="connsiteX3" fmla="*/ 4090 w 10113"/>
                <a:gd name="connsiteY3" fmla="*/ 5685 h 10000"/>
                <a:gd name="connsiteX4" fmla="*/ 5948 w 10113"/>
                <a:gd name="connsiteY4" fmla="*/ 5301 h 10000"/>
                <a:gd name="connsiteX5" fmla="*/ 6228 w 10113"/>
                <a:gd name="connsiteY5" fmla="*/ 5148 h 10000"/>
                <a:gd name="connsiteX6" fmla="*/ 6454 w 10113"/>
                <a:gd name="connsiteY6" fmla="*/ 5032 h 10000"/>
                <a:gd name="connsiteX7" fmla="*/ 8537 w 10113"/>
                <a:gd name="connsiteY7" fmla="*/ 3764 h 10000"/>
                <a:gd name="connsiteX8" fmla="*/ 10113 w 10113"/>
                <a:gd name="connsiteY8" fmla="*/ 2536 h 10000"/>
                <a:gd name="connsiteX9" fmla="*/ 8537 w 10113"/>
                <a:gd name="connsiteY9" fmla="*/ 4904 h 10000"/>
                <a:gd name="connsiteX10" fmla="*/ 6322 w 10113"/>
                <a:gd name="connsiteY10" fmla="*/ 7733 h 10000"/>
                <a:gd name="connsiteX11" fmla="*/ 4665 w 10113"/>
                <a:gd name="connsiteY11" fmla="*/ 9437 h 10000"/>
                <a:gd name="connsiteX12" fmla="*/ 3559 w 10113"/>
                <a:gd name="connsiteY12" fmla="*/ 10000 h 10000"/>
                <a:gd name="connsiteX13" fmla="*/ 2646 w 10113"/>
                <a:gd name="connsiteY13" fmla="*/ 9526 h 10000"/>
                <a:gd name="connsiteX14" fmla="*/ 2121 w 10113"/>
                <a:gd name="connsiteY14" fmla="*/ 8912 h 10000"/>
                <a:gd name="connsiteX15" fmla="*/ 1655 w 10113"/>
                <a:gd name="connsiteY15" fmla="*/ 7761 h 10000"/>
                <a:gd name="connsiteX16" fmla="*/ 1094 w 10113"/>
                <a:gd name="connsiteY16" fmla="*/ 5957 h 10000"/>
                <a:gd name="connsiteX17" fmla="*/ 606 w 10113"/>
                <a:gd name="connsiteY17" fmla="*/ 3613 h 10000"/>
                <a:gd name="connsiteX18" fmla="*/ 0 w 10113"/>
                <a:gd name="connsiteY18" fmla="*/ 0 h 10000"/>
                <a:gd name="connsiteX0" fmla="*/ 0 w 10186"/>
                <a:gd name="connsiteY0" fmla="*/ 0 h 10074"/>
                <a:gd name="connsiteX1" fmla="*/ 1680 w 10186"/>
                <a:gd name="connsiteY1" fmla="*/ 3646 h 10074"/>
                <a:gd name="connsiteX2" fmla="*/ 2963 w 10186"/>
                <a:gd name="connsiteY2" fmla="*/ 5222 h 10074"/>
                <a:gd name="connsiteX3" fmla="*/ 4163 w 10186"/>
                <a:gd name="connsiteY3" fmla="*/ 5759 h 10074"/>
                <a:gd name="connsiteX4" fmla="*/ 6021 w 10186"/>
                <a:gd name="connsiteY4" fmla="*/ 5375 h 10074"/>
                <a:gd name="connsiteX5" fmla="*/ 6301 w 10186"/>
                <a:gd name="connsiteY5" fmla="*/ 5222 h 10074"/>
                <a:gd name="connsiteX6" fmla="*/ 6527 w 10186"/>
                <a:gd name="connsiteY6" fmla="*/ 5106 h 10074"/>
                <a:gd name="connsiteX7" fmla="*/ 8610 w 10186"/>
                <a:gd name="connsiteY7" fmla="*/ 3838 h 10074"/>
                <a:gd name="connsiteX8" fmla="*/ 10186 w 10186"/>
                <a:gd name="connsiteY8" fmla="*/ 2610 h 10074"/>
                <a:gd name="connsiteX9" fmla="*/ 8610 w 10186"/>
                <a:gd name="connsiteY9" fmla="*/ 4978 h 10074"/>
                <a:gd name="connsiteX10" fmla="*/ 6395 w 10186"/>
                <a:gd name="connsiteY10" fmla="*/ 7807 h 10074"/>
                <a:gd name="connsiteX11" fmla="*/ 4738 w 10186"/>
                <a:gd name="connsiteY11" fmla="*/ 9511 h 10074"/>
                <a:gd name="connsiteX12" fmla="*/ 3632 w 10186"/>
                <a:gd name="connsiteY12" fmla="*/ 10074 h 10074"/>
                <a:gd name="connsiteX13" fmla="*/ 2719 w 10186"/>
                <a:gd name="connsiteY13" fmla="*/ 9600 h 10074"/>
                <a:gd name="connsiteX14" fmla="*/ 2194 w 10186"/>
                <a:gd name="connsiteY14" fmla="*/ 8986 h 10074"/>
                <a:gd name="connsiteX15" fmla="*/ 1728 w 10186"/>
                <a:gd name="connsiteY15" fmla="*/ 7835 h 10074"/>
                <a:gd name="connsiteX16" fmla="*/ 1167 w 10186"/>
                <a:gd name="connsiteY16" fmla="*/ 6031 h 10074"/>
                <a:gd name="connsiteX17" fmla="*/ 679 w 10186"/>
                <a:gd name="connsiteY17" fmla="*/ 3687 h 10074"/>
                <a:gd name="connsiteX18" fmla="*/ 0 w 10186"/>
                <a:gd name="connsiteY18" fmla="*/ 0 h 10074"/>
                <a:gd name="connsiteX0" fmla="*/ 68 w 10254"/>
                <a:gd name="connsiteY0" fmla="*/ 57 h 10131"/>
                <a:gd name="connsiteX1" fmla="*/ 1748 w 10254"/>
                <a:gd name="connsiteY1" fmla="*/ 3703 h 10131"/>
                <a:gd name="connsiteX2" fmla="*/ 3031 w 10254"/>
                <a:gd name="connsiteY2" fmla="*/ 5279 h 10131"/>
                <a:gd name="connsiteX3" fmla="*/ 4231 w 10254"/>
                <a:gd name="connsiteY3" fmla="*/ 5816 h 10131"/>
                <a:gd name="connsiteX4" fmla="*/ 6089 w 10254"/>
                <a:gd name="connsiteY4" fmla="*/ 5432 h 10131"/>
                <a:gd name="connsiteX5" fmla="*/ 6369 w 10254"/>
                <a:gd name="connsiteY5" fmla="*/ 5279 h 10131"/>
                <a:gd name="connsiteX6" fmla="*/ 6595 w 10254"/>
                <a:gd name="connsiteY6" fmla="*/ 5163 h 10131"/>
                <a:gd name="connsiteX7" fmla="*/ 8678 w 10254"/>
                <a:gd name="connsiteY7" fmla="*/ 3895 h 10131"/>
                <a:gd name="connsiteX8" fmla="*/ 10254 w 10254"/>
                <a:gd name="connsiteY8" fmla="*/ 2667 h 10131"/>
                <a:gd name="connsiteX9" fmla="*/ 8678 w 10254"/>
                <a:gd name="connsiteY9" fmla="*/ 5035 h 10131"/>
                <a:gd name="connsiteX10" fmla="*/ 6463 w 10254"/>
                <a:gd name="connsiteY10" fmla="*/ 7864 h 10131"/>
                <a:gd name="connsiteX11" fmla="*/ 4806 w 10254"/>
                <a:gd name="connsiteY11" fmla="*/ 9568 h 10131"/>
                <a:gd name="connsiteX12" fmla="*/ 3700 w 10254"/>
                <a:gd name="connsiteY12" fmla="*/ 10131 h 10131"/>
                <a:gd name="connsiteX13" fmla="*/ 2787 w 10254"/>
                <a:gd name="connsiteY13" fmla="*/ 9657 h 10131"/>
                <a:gd name="connsiteX14" fmla="*/ 2262 w 10254"/>
                <a:gd name="connsiteY14" fmla="*/ 9043 h 10131"/>
                <a:gd name="connsiteX15" fmla="*/ 1796 w 10254"/>
                <a:gd name="connsiteY15" fmla="*/ 7892 h 10131"/>
                <a:gd name="connsiteX16" fmla="*/ 1235 w 10254"/>
                <a:gd name="connsiteY16" fmla="*/ 6088 h 10131"/>
                <a:gd name="connsiteX17" fmla="*/ 747 w 10254"/>
                <a:gd name="connsiteY17" fmla="*/ 3744 h 10131"/>
                <a:gd name="connsiteX18" fmla="*/ 382 w 10254"/>
                <a:gd name="connsiteY18" fmla="*/ 1556 h 10131"/>
                <a:gd name="connsiteX19" fmla="*/ 68 w 10254"/>
                <a:gd name="connsiteY19" fmla="*/ 57 h 10131"/>
                <a:gd name="connsiteX0" fmla="*/ 78 w 10191"/>
                <a:gd name="connsiteY0" fmla="*/ 65 h 9991"/>
                <a:gd name="connsiteX1" fmla="*/ 1685 w 10191"/>
                <a:gd name="connsiteY1" fmla="*/ 3563 h 9991"/>
                <a:gd name="connsiteX2" fmla="*/ 2968 w 10191"/>
                <a:gd name="connsiteY2" fmla="*/ 5139 h 9991"/>
                <a:gd name="connsiteX3" fmla="*/ 4168 w 10191"/>
                <a:gd name="connsiteY3" fmla="*/ 5676 h 9991"/>
                <a:gd name="connsiteX4" fmla="*/ 6026 w 10191"/>
                <a:gd name="connsiteY4" fmla="*/ 5292 h 9991"/>
                <a:gd name="connsiteX5" fmla="*/ 6306 w 10191"/>
                <a:gd name="connsiteY5" fmla="*/ 5139 h 9991"/>
                <a:gd name="connsiteX6" fmla="*/ 6532 w 10191"/>
                <a:gd name="connsiteY6" fmla="*/ 5023 h 9991"/>
                <a:gd name="connsiteX7" fmla="*/ 8615 w 10191"/>
                <a:gd name="connsiteY7" fmla="*/ 3755 h 9991"/>
                <a:gd name="connsiteX8" fmla="*/ 10191 w 10191"/>
                <a:gd name="connsiteY8" fmla="*/ 2527 h 9991"/>
                <a:gd name="connsiteX9" fmla="*/ 8615 w 10191"/>
                <a:gd name="connsiteY9" fmla="*/ 4895 h 9991"/>
                <a:gd name="connsiteX10" fmla="*/ 6400 w 10191"/>
                <a:gd name="connsiteY10" fmla="*/ 7724 h 9991"/>
                <a:gd name="connsiteX11" fmla="*/ 4743 w 10191"/>
                <a:gd name="connsiteY11" fmla="*/ 9428 h 9991"/>
                <a:gd name="connsiteX12" fmla="*/ 3637 w 10191"/>
                <a:gd name="connsiteY12" fmla="*/ 9991 h 9991"/>
                <a:gd name="connsiteX13" fmla="*/ 2724 w 10191"/>
                <a:gd name="connsiteY13" fmla="*/ 9517 h 9991"/>
                <a:gd name="connsiteX14" fmla="*/ 2199 w 10191"/>
                <a:gd name="connsiteY14" fmla="*/ 8903 h 9991"/>
                <a:gd name="connsiteX15" fmla="*/ 1733 w 10191"/>
                <a:gd name="connsiteY15" fmla="*/ 7752 h 9991"/>
                <a:gd name="connsiteX16" fmla="*/ 1172 w 10191"/>
                <a:gd name="connsiteY16" fmla="*/ 5948 h 9991"/>
                <a:gd name="connsiteX17" fmla="*/ 684 w 10191"/>
                <a:gd name="connsiteY17" fmla="*/ 3604 h 9991"/>
                <a:gd name="connsiteX18" fmla="*/ 319 w 10191"/>
                <a:gd name="connsiteY18" fmla="*/ 1416 h 9991"/>
                <a:gd name="connsiteX19" fmla="*/ 78 w 10191"/>
                <a:gd name="connsiteY19" fmla="*/ 65 h 9991"/>
                <a:gd name="connsiteX0" fmla="*/ 76 w 9999"/>
                <a:gd name="connsiteY0" fmla="*/ 64 h 9925"/>
                <a:gd name="connsiteX1" fmla="*/ 1652 w 9999"/>
                <a:gd name="connsiteY1" fmla="*/ 3565 h 9925"/>
                <a:gd name="connsiteX2" fmla="*/ 2911 w 9999"/>
                <a:gd name="connsiteY2" fmla="*/ 5143 h 9925"/>
                <a:gd name="connsiteX3" fmla="*/ 4089 w 9999"/>
                <a:gd name="connsiteY3" fmla="*/ 5680 h 9925"/>
                <a:gd name="connsiteX4" fmla="*/ 5912 w 9999"/>
                <a:gd name="connsiteY4" fmla="*/ 5296 h 9925"/>
                <a:gd name="connsiteX5" fmla="*/ 6187 w 9999"/>
                <a:gd name="connsiteY5" fmla="*/ 5143 h 9925"/>
                <a:gd name="connsiteX6" fmla="*/ 6409 w 9999"/>
                <a:gd name="connsiteY6" fmla="*/ 5027 h 9925"/>
                <a:gd name="connsiteX7" fmla="*/ 8453 w 9999"/>
                <a:gd name="connsiteY7" fmla="*/ 3757 h 9925"/>
                <a:gd name="connsiteX8" fmla="*/ 9999 w 9999"/>
                <a:gd name="connsiteY8" fmla="*/ 2528 h 9925"/>
                <a:gd name="connsiteX9" fmla="*/ 8453 w 9999"/>
                <a:gd name="connsiteY9" fmla="*/ 4898 h 9925"/>
                <a:gd name="connsiteX10" fmla="*/ 6279 w 9999"/>
                <a:gd name="connsiteY10" fmla="*/ 7730 h 9925"/>
                <a:gd name="connsiteX11" fmla="*/ 4653 w 9999"/>
                <a:gd name="connsiteY11" fmla="*/ 9435 h 9925"/>
                <a:gd name="connsiteX12" fmla="*/ 3580 w 9999"/>
                <a:gd name="connsiteY12" fmla="*/ 9925 h 9925"/>
                <a:gd name="connsiteX13" fmla="*/ 2672 w 9999"/>
                <a:gd name="connsiteY13" fmla="*/ 9525 h 9925"/>
                <a:gd name="connsiteX14" fmla="*/ 2157 w 9999"/>
                <a:gd name="connsiteY14" fmla="*/ 8910 h 9925"/>
                <a:gd name="connsiteX15" fmla="*/ 1700 w 9999"/>
                <a:gd name="connsiteY15" fmla="*/ 7758 h 9925"/>
                <a:gd name="connsiteX16" fmla="*/ 1149 w 9999"/>
                <a:gd name="connsiteY16" fmla="*/ 5952 h 9925"/>
                <a:gd name="connsiteX17" fmla="*/ 670 w 9999"/>
                <a:gd name="connsiteY17" fmla="*/ 3606 h 9925"/>
                <a:gd name="connsiteX18" fmla="*/ 312 w 9999"/>
                <a:gd name="connsiteY18" fmla="*/ 1416 h 9925"/>
                <a:gd name="connsiteX19" fmla="*/ 76 w 9999"/>
                <a:gd name="connsiteY19" fmla="*/ 64 h 9925"/>
                <a:gd name="connsiteX0" fmla="*/ 76 w 10000"/>
                <a:gd name="connsiteY0" fmla="*/ 64 h 10000"/>
                <a:gd name="connsiteX1" fmla="*/ 1652 w 10000"/>
                <a:gd name="connsiteY1" fmla="*/ 3592 h 10000"/>
                <a:gd name="connsiteX2" fmla="*/ 2911 w 10000"/>
                <a:gd name="connsiteY2" fmla="*/ 5182 h 10000"/>
                <a:gd name="connsiteX3" fmla="*/ 4089 w 10000"/>
                <a:gd name="connsiteY3" fmla="*/ 5723 h 10000"/>
                <a:gd name="connsiteX4" fmla="*/ 5913 w 10000"/>
                <a:gd name="connsiteY4" fmla="*/ 5336 h 10000"/>
                <a:gd name="connsiteX5" fmla="*/ 6188 w 10000"/>
                <a:gd name="connsiteY5" fmla="*/ 5182 h 10000"/>
                <a:gd name="connsiteX6" fmla="*/ 6410 w 10000"/>
                <a:gd name="connsiteY6" fmla="*/ 5065 h 10000"/>
                <a:gd name="connsiteX7" fmla="*/ 8454 w 10000"/>
                <a:gd name="connsiteY7" fmla="*/ 3785 h 10000"/>
                <a:gd name="connsiteX8" fmla="*/ 10000 w 10000"/>
                <a:gd name="connsiteY8" fmla="*/ 2547 h 10000"/>
                <a:gd name="connsiteX9" fmla="*/ 8454 w 10000"/>
                <a:gd name="connsiteY9" fmla="*/ 4935 h 10000"/>
                <a:gd name="connsiteX10" fmla="*/ 6280 w 10000"/>
                <a:gd name="connsiteY10" fmla="*/ 7788 h 10000"/>
                <a:gd name="connsiteX11" fmla="*/ 4653 w 10000"/>
                <a:gd name="connsiteY11" fmla="*/ 9506 h 10000"/>
                <a:gd name="connsiteX12" fmla="*/ 3580 w 10000"/>
                <a:gd name="connsiteY12" fmla="*/ 10000 h 10000"/>
                <a:gd name="connsiteX13" fmla="*/ 2672 w 10000"/>
                <a:gd name="connsiteY13" fmla="*/ 9597 h 10000"/>
                <a:gd name="connsiteX14" fmla="*/ 2157 w 10000"/>
                <a:gd name="connsiteY14" fmla="*/ 8977 h 10000"/>
                <a:gd name="connsiteX15" fmla="*/ 1700 w 10000"/>
                <a:gd name="connsiteY15" fmla="*/ 7817 h 10000"/>
                <a:gd name="connsiteX16" fmla="*/ 1149 w 10000"/>
                <a:gd name="connsiteY16" fmla="*/ 5997 h 10000"/>
                <a:gd name="connsiteX17" fmla="*/ 670 w 10000"/>
                <a:gd name="connsiteY17" fmla="*/ 3633 h 10000"/>
                <a:gd name="connsiteX18" fmla="*/ 312 w 10000"/>
                <a:gd name="connsiteY18" fmla="*/ 1427 h 10000"/>
                <a:gd name="connsiteX19" fmla="*/ 76 w 10000"/>
                <a:gd name="connsiteY19" fmla="*/ 64 h 10000"/>
                <a:gd name="connsiteX0" fmla="*/ 76 w 10000"/>
                <a:gd name="connsiteY0" fmla="*/ 64 h 9925"/>
                <a:gd name="connsiteX1" fmla="*/ 1652 w 10000"/>
                <a:gd name="connsiteY1" fmla="*/ 3592 h 9925"/>
                <a:gd name="connsiteX2" fmla="*/ 2911 w 10000"/>
                <a:gd name="connsiteY2" fmla="*/ 5182 h 9925"/>
                <a:gd name="connsiteX3" fmla="*/ 4089 w 10000"/>
                <a:gd name="connsiteY3" fmla="*/ 5723 h 9925"/>
                <a:gd name="connsiteX4" fmla="*/ 5913 w 10000"/>
                <a:gd name="connsiteY4" fmla="*/ 5336 h 9925"/>
                <a:gd name="connsiteX5" fmla="*/ 6188 w 10000"/>
                <a:gd name="connsiteY5" fmla="*/ 5182 h 9925"/>
                <a:gd name="connsiteX6" fmla="*/ 6410 w 10000"/>
                <a:gd name="connsiteY6" fmla="*/ 5065 h 9925"/>
                <a:gd name="connsiteX7" fmla="*/ 8454 w 10000"/>
                <a:gd name="connsiteY7" fmla="*/ 3785 h 9925"/>
                <a:gd name="connsiteX8" fmla="*/ 10000 w 10000"/>
                <a:gd name="connsiteY8" fmla="*/ 2547 h 9925"/>
                <a:gd name="connsiteX9" fmla="*/ 8454 w 10000"/>
                <a:gd name="connsiteY9" fmla="*/ 4935 h 9925"/>
                <a:gd name="connsiteX10" fmla="*/ 6280 w 10000"/>
                <a:gd name="connsiteY10" fmla="*/ 7788 h 9925"/>
                <a:gd name="connsiteX11" fmla="*/ 4653 w 10000"/>
                <a:gd name="connsiteY11" fmla="*/ 9506 h 9925"/>
                <a:gd name="connsiteX12" fmla="*/ 3580 w 10000"/>
                <a:gd name="connsiteY12" fmla="*/ 9925 h 9925"/>
                <a:gd name="connsiteX13" fmla="*/ 2672 w 10000"/>
                <a:gd name="connsiteY13" fmla="*/ 9597 h 9925"/>
                <a:gd name="connsiteX14" fmla="*/ 2157 w 10000"/>
                <a:gd name="connsiteY14" fmla="*/ 8977 h 9925"/>
                <a:gd name="connsiteX15" fmla="*/ 1700 w 10000"/>
                <a:gd name="connsiteY15" fmla="*/ 7817 h 9925"/>
                <a:gd name="connsiteX16" fmla="*/ 1149 w 10000"/>
                <a:gd name="connsiteY16" fmla="*/ 5997 h 9925"/>
                <a:gd name="connsiteX17" fmla="*/ 670 w 10000"/>
                <a:gd name="connsiteY17" fmla="*/ 3633 h 9925"/>
                <a:gd name="connsiteX18" fmla="*/ 312 w 10000"/>
                <a:gd name="connsiteY18" fmla="*/ 1427 h 9925"/>
                <a:gd name="connsiteX19" fmla="*/ 76 w 10000"/>
                <a:gd name="connsiteY19" fmla="*/ 64 h 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00" h="9925">
                  <a:moveTo>
                    <a:pt x="76" y="64"/>
                  </a:moveTo>
                  <a:lnTo>
                    <a:pt x="1652" y="3592"/>
                  </a:lnTo>
                  <a:lnTo>
                    <a:pt x="2911" y="5182"/>
                  </a:lnTo>
                  <a:lnTo>
                    <a:pt x="4089" y="5723"/>
                  </a:lnTo>
                  <a:cubicBezTo>
                    <a:pt x="4734" y="5569"/>
                    <a:pt x="5269" y="5491"/>
                    <a:pt x="5913" y="5336"/>
                  </a:cubicBezTo>
                  <a:lnTo>
                    <a:pt x="6188" y="5182"/>
                  </a:lnTo>
                  <a:lnTo>
                    <a:pt x="6410" y="5065"/>
                  </a:lnTo>
                  <a:lnTo>
                    <a:pt x="8454" y="3785"/>
                  </a:lnTo>
                  <a:lnTo>
                    <a:pt x="10000" y="2547"/>
                  </a:lnTo>
                  <a:lnTo>
                    <a:pt x="8454" y="4935"/>
                  </a:lnTo>
                  <a:lnTo>
                    <a:pt x="6280" y="7788"/>
                  </a:lnTo>
                  <a:lnTo>
                    <a:pt x="4653" y="9506"/>
                  </a:lnTo>
                  <a:lnTo>
                    <a:pt x="3580" y="9925"/>
                  </a:lnTo>
                  <a:cubicBezTo>
                    <a:pt x="3228" y="9764"/>
                    <a:pt x="2953" y="9808"/>
                    <a:pt x="2672" y="9597"/>
                  </a:cubicBezTo>
                  <a:lnTo>
                    <a:pt x="2157" y="8977"/>
                  </a:lnTo>
                  <a:cubicBezTo>
                    <a:pt x="2013" y="8557"/>
                    <a:pt x="1844" y="8237"/>
                    <a:pt x="1700" y="7817"/>
                  </a:cubicBezTo>
                  <a:lnTo>
                    <a:pt x="1149" y="5997"/>
                  </a:lnTo>
                  <a:cubicBezTo>
                    <a:pt x="989" y="5210"/>
                    <a:pt x="830" y="4421"/>
                    <a:pt x="670" y="3633"/>
                  </a:cubicBezTo>
                  <a:cubicBezTo>
                    <a:pt x="525" y="2893"/>
                    <a:pt x="423" y="2046"/>
                    <a:pt x="312" y="1427"/>
                  </a:cubicBezTo>
                  <a:cubicBezTo>
                    <a:pt x="201" y="808"/>
                    <a:pt x="-154" y="-275"/>
                    <a:pt x="76" y="64"/>
                  </a:cubicBezTo>
                  <a:close/>
                </a:path>
              </a:pathLst>
            </a:custGeom>
            <a:solidFill>
              <a:schemeClr val="accent2"/>
            </a:solidFill>
            <a:ln w="9525" cap="flat" cmpd="sng">
              <a:noFill/>
              <a:prstDash val="solid"/>
              <a:round/>
              <a:headEnd/>
              <a:tailEnd/>
            </a:ln>
            <a:effectLst/>
          </p:spPr>
          <p:txBody>
            <a:bodyPr wrap="none" lIns="90000" tIns="46800" rIns="90000" bIns="46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0" name="Line 6">
              <a:extLst>
                <a:ext uri="{FF2B5EF4-FFF2-40B4-BE49-F238E27FC236}">
                  <a16:creationId xmlns:a16="http://schemas.microsoft.com/office/drawing/2014/main" id="{B443501A-791E-49C8-845B-E9312ECC25E9}"/>
                </a:ext>
              </a:extLst>
            </p:cNvPr>
            <p:cNvSpPr>
              <a:spLocks noChangeShapeType="1"/>
            </p:cNvSpPr>
            <p:nvPr/>
          </p:nvSpPr>
          <p:spPr bwMode="auto">
            <a:xfrm flipV="1">
              <a:off x="920750" y="4692650"/>
              <a:ext cx="0" cy="561975"/>
            </a:xfrm>
            <a:prstGeom prst="line">
              <a:avLst/>
            </a:prstGeom>
            <a:noFill/>
            <a:ln w="6350">
              <a:solidFill>
                <a:schemeClr val="accent2"/>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1" name="Text Box 7">
              <a:extLst>
                <a:ext uri="{FF2B5EF4-FFF2-40B4-BE49-F238E27FC236}">
                  <a16:creationId xmlns:a16="http://schemas.microsoft.com/office/drawing/2014/main" id="{C297F836-9B95-4EA3-ACE5-A201CA628E3B}"/>
                </a:ext>
              </a:extLst>
            </p:cNvPr>
            <p:cNvSpPr txBox="1">
              <a:spLocks noChangeArrowheads="1"/>
            </p:cNvSpPr>
            <p:nvPr/>
          </p:nvSpPr>
          <p:spPr bwMode="auto">
            <a:xfrm>
              <a:off x="831850" y="2030413"/>
              <a:ext cx="581025" cy="274637"/>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Xx Mio</a:t>
              </a:r>
            </a:p>
          </p:txBody>
        </p:sp>
        <p:sp>
          <p:nvSpPr>
            <p:cNvPr id="12" name="Line 8">
              <a:extLst>
                <a:ext uri="{FF2B5EF4-FFF2-40B4-BE49-F238E27FC236}">
                  <a16:creationId xmlns:a16="http://schemas.microsoft.com/office/drawing/2014/main" id="{36969D27-B8AE-41F5-883B-B5BB702A0EF7}"/>
                </a:ext>
              </a:extLst>
            </p:cNvPr>
            <p:cNvSpPr>
              <a:spLocks noChangeShapeType="1"/>
            </p:cNvSpPr>
            <p:nvPr/>
          </p:nvSpPr>
          <p:spPr bwMode="auto">
            <a:xfrm>
              <a:off x="4221163" y="5240338"/>
              <a:ext cx="771525" cy="0"/>
            </a:xfrm>
            <a:prstGeom prst="line">
              <a:avLst/>
            </a:prstGeom>
            <a:noFill/>
            <a:ln w="6350">
              <a:solidFill>
                <a:schemeClr val="accent1"/>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3" name="Line 9">
              <a:extLst>
                <a:ext uri="{FF2B5EF4-FFF2-40B4-BE49-F238E27FC236}">
                  <a16:creationId xmlns:a16="http://schemas.microsoft.com/office/drawing/2014/main" id="{51A05CAE-50C5-4AC7-8208-DEE83E75EBD6}"/>
                </a:ext>
              </a:extLst>
            </p:cNvPr>
            <p:cNvSpPr>
              <a:spLocks noChangeShapeType="1"/>
            </p:cNvSpPr>
            <p:nvPr/>
          </p:nvSpPr>
          <p:spPr bwMode="auto">
            <a:xfrm>
              <a:off x="4992688" y="2727325"/>
              <a:ext cx="0" cy="2667000"/>
            </a:xfrm>
            <a:prstGeom prst="line">
              <a:avLst/>
            </a:prstGeom>
            <a:noFill/>
            <a:ln w="12700" cap="rnd">
              <a:solidFill>
                <a:srgbClr val="96968C"/>
              </a:solidFill>
              <a:prstDash val="dash"/>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4" name="Line 10">
              <a:extLst>
                <a:ext uri="{FF2B5EF4-FFF2-40B4-BE49-F238E27FC236}">
                  <a16:creationId xmlns:a16="http://schemas.microsoft.com/office/drawing/2014/main" id="{C4597C80-2C70-4CCA-9A40-01F21FDBD467}"/>
                </a:ext>
              </a:extLst>
            </p:cNvPr>
            <p:cNvSpPr>
              <a:spLocks noChangeShapeType="1"/>
            </p:cNvSpPr>
            <p:nvPr/>
          </p:nvSpPr>
          <p:spPr bwMode="auto">
            <a:xfrm flipH="1">
              <a:off x="781050" y="5254625"/>
              <a:ext cx="1702718" cy="0"/>
            </a:xfrm>
            <a:prstGeom prst="line">
              <a:avLst/>
            </a:prstGeom>
            <a:noFill/>
            <a:ln w="12700" cap="rnd">
              <a:solidFill>
                <a:srgbClr val="96968C"/>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5" name="Line 11">
              <a:extLst>
                <a:ext uri="{FF2B5EF4-FFF2-40B4-BE49-F238E27FC236}">
                  <a16:creationId xmlns:a16="http://schemas.microsoft.com/office/drawing/2014/main" id="{3F0171DD-A7A5-4981-91BF-18B49E526337}"/>
                </a:ext>
              </a:extLst>
            </p:cNvPr>
            <p:cNvSpPr>
              <a:spLocks noChangeShapeType="1"/>
            </p:cNvSpPr>
            <p:nvPr/>
          </p:nvSpPr>
          <p:spPr bwMode="auto">
            <a:xfrm flipH="1">
              <a:off x="4221163" y="2727325"/>
              <a:ext cx="0" cy="2667000"/>
            </a:xfrm>
            <a:prstGeom prst="line">
              <a:avLst/>
            </a:prstGeom>
            <a:noFill/>
            <a:ln w="12700" cap="rnd">
              <a:solidFill>
                <a:srgbClr val="96968C"/>
              </a:solidFill>
              <a:prstDash val="dash"/>
              <a:round/>
              <a:headEnd/>
              <a:tailEn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6" name="Text Box 14">
              <a:extLst>
                <a:ext uri="{FF2B5EF4-FFF2-40B4-BE49-F238E27FC236}">
                  <a16:creationId xmlns:a16="http://schemas.microsoft.com/office/drawing/2014/main" id="{40A1BC29-B85E-4716-95AD-471BF398931D}"/>
                </a:ext>
              </a:extLst>
            </p:cNvPr>
            <p:cNvSpPr txBox="1">
              <a:spLocks noChangeArrowheads="1"/>
            </p:cNvSpPr>
            <p:nvPr/>
          </p:nvSpPr>
          <p:spPr bwMode="auto">
            <a:xfrm>
              <a:off x="7404100" y="4040188"/>
              <a:ext cx="441325" cy="274637"/>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Time</a:t>
              </a:r>
            </a:p>
          </p:txBody>
        </p:sp>
        <p:sp>
          <p:nvSpPr>
            <p:cNvPr id="17" name="Freeform 15">
              <a:extLst>
                <a:ext uri="{FF2B5EF4-FFF2-40B4-BE49-F238E27FC236}">
                  <a16:creationId xmlns:a16="http://schemas.microsoft.com/office/drawing/2014/main" id="{C821CA81-BE56-424D-A9D4-FC1F395A304E}"/>
                </a:ext>
              </a:extLst>
            </p:cNvPr>
            <p:cNvSpPr>
              <a:spLocks/>
            </p:cNvSpPr>
            <p:nvPr/>
          </p:nvSpPr>
          <p:spPr bwMode="auto">
            <a:xfrm>
              <a:off x="1514475" y="3148013"/>
              <a:ext cx="5514975" cy="1687512"/>
            </a:xfrm>
            <a:custGeom>
              <a:avLst/>
              <a:gdLst/>
              <a:ahLst/>
              <a:cxnLst>
                <a:cxn ang="0">
                  <a:pos x="0" y="534"/>
                </a:cxn>
                <a:cxn ang="0">
                  <a:pos x="878" y="974"/>
                </a:cxn>
                <a:cxn ang="0">
                  <a:pos x="3474" y="0"/>
                </a:cxn>
              </a:cxnLst>
              <a:rect l="0" t="0" r="r" b="b"/>
              <a:pathLst>
                <a:path w="3474" h="1063">
                  <a:moveTo>
                    <a:pt x="0" y="534"/>
                  </a:moveTo>
                  <a:cubicBezTo>
                    <a:pt x="147" y="608"/>
                    <a:pt x="299" y="1063"/>
                    <a:pt x="878" y="974"/>
                  </a:cubicBezTo>
                  <a:cubicBezTo>
                    <a:pt x="1457" y="885"/>
                    <a:pt x="2933" y="203"/>
                    <a:pt x="3474" y="0"/>
                  </a:cubicBezTo>
                </a:path>
              </a:pathLst>
            </a:custGeom>
            <a:noFill/>
            <a:ln w="19050" cap="flat" cmpd="sng">
              <a:solidFill>
                <a:srgbClr val="96968C"/>
              </a:solidFill>
              <a:prstDash val="solid"/>
              <a:round/>
              <a:headEnd type="none" w="med" len="med"/>
              <a:tailEnd type="none" w="med" len="med"/>
            </a:ln>
            <a:effectLst/>
          </p:spPr>
          <p:txBody>
            <a:bodyPr wrap="none" lIns="72000" tIns="54000" rIns="72000" bIns="54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16">
              <a:extLst>
                <a:ext uri="{FF2B5EF4-FFF2-40B4-BE49-F238E27FC236}">
                  <a16:creationId xmlns:a16="http://schemas.microsoft.com/office/drawing/2014/main" id="{6F227D6E-1A07-4761-9E6D-A1ED2466BC43}"/>
                </a:ext>
              </a:extLst>
            </p:cNvPr>
            <p:cNvSpPr>
              <a:spLocks/>
            </p:cNvSpPr>
            <p:nvPr/>
          </p:nvSpPr>
          <p:spPr bwMode="auto">
            <a:xfrm>
              <a:off x="1519238" y="2176463"/>
              <a:ext cx="5448300" cy="3316287"/>
            </a:xfrm>
            <a:custGeom>
              <a:avLst/>
              <a:gdLst/>
              <a:ahLst/>
              <a:cxnLst>
                <a:cxn ang="0">
                  <a:pos x="0" y="1143"/>
                </a:cxn>
                <a:cxn ang="0">
                  <a:pos x="755" y="1898"/>
                </a:cxn>
                <a:cxn ang="0">
                  <a:pos x="3432" y="0"/>
                </a:cxn>
              </a:cxnLst>
              <a:rect l="0" t="0" r="r" b="b"/>
              <a:pathLst>
                <a:path w="3432" h="2089">
                  <a:moveTo>
                    <a:pt x="0" y="1143"/>
                  </a:moveTo>
                  <a:cubicBezTo>
                    <a:pt x="125" y="1269"/>
                    <a:pt x="183" y="2089"/>
                    <a:pt x="755" y="1898"/>
                  </a:cubicBezTo>
                  <a:cubicBezTo>
                    <a:pt x="1327" y="1707"/>
                    <a:pt x="2874" y="395"/>
                    <a:pt x="3432" y="0"/>
                  </a:cubicBezTo>
                </a:path>
              </a:pathLst>
            </a:custGeom>
            <a:noFill/>
            <a:ln w="19050" cap="flat" cmpd="sng">
              <a:solidFill>
                <a:srgbClr val="96968C"/>
              </a:solidFill>
              <a:prstDash val="solid"/>
              <a:round/>
              <a:headEnd type="none" w="med" len="med"/>
              <a:tailEnd type="none" w="med" len="med"/>
            </a:ln>
            <a:effectLst/>
          </p:spPr>
          <p:txBody>
            <a:bodyPr wrap="none" lIns="72000" tIns="54000" rIns="72000" bIns="54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9" name="Line 17">
              <a:extLst>
                <a:ext uri="{FF2B5EF4-FFF2-40B4-BE49-F238E27FC236}">
                  <a16:creationId xmlns:a16="http://schemas.microsoft.com/office/drawing/2014/main" id="{86E21069-888F-45BB-9BF3-EE20A1C03A6B}"/>
                </a:ext>
              </a:extLst>
            </p:cNvPr>
            <p:cNvSpPr>
              <a:spLocks noChangeShapeType="1"/>
            </p:cNvSpPr>
            <p:nvPr/>
          </p:nvSpPr>
          <p:spPr bwMode="auto">
            <a:xfrm flipH="1">
              <a:off x="781050" y="4692650"/>
              <a:ext cx="1702718" cy="0"/>
            </a:xfrm>
            <a:prstGeom prst="line">
              <a:avLst/>
            </a:prstGeom>
            <a:noFill/>
            <a:ln w="12700" cap="rnd">
              <a:solidFill>
                <a:srgbClr val="96968C"/>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20" name="Line 18">
              <a:extLst>
                <a:ext uri="{FF2B5EF4-FFF2-40B4-BE49-F238E27FC236}">
                  <a16:creationId xmlns:a16="http://schemas.microsoft.com/office/drawing/2014/main" id="{7CE65BA5-1FAC-40D5-AC80-B4B8F13175ED}"/>
                </a:ext>
              </a:extLst>
            </p:cNvPr>
            <p:cNvSpPr>
              <a:spLocks noChangeShapeType="1"/>
            </p:cNvSpPr>
            <p:nvPr/>
          </p:nvSpPr>
          <p:spPr bwMode="auto">
            <a:xfrm flipV="1">
              <a:off x="7310438" y="2165350"/>
              <a:ext cx="0" cy="982663"/>
            </a:xfrm>
            <a:prstGeom prst="line">
              <a:avLst/>
            </a:prstGeom>
            <a:noFill/>
            <a:ln w="6350">
              <a:solidFill>
                <a:schemeClr val="accent6"/>
              </a:solidFill>
              <a:round/>
              <a:headEnd type="triangle" w="med" len="med"/>
              <a:tailEnd type="triangle" w="med" len="med"/>
            </a:ln>
            <a:effectLst/>
          </p:spPr>
          <p:txBody>
            <a:bodyPr lIns="45720" rIns="45720"/>
            <a:lstStyle/>
            <a:p>
              <a:endParaRPr lang="en-US" sz="1400"/>
            </a:p>
          </p:txBody>
        </p:sp>
        <p:sp>
          <p:nvSpPr>
            <p:cNvPr id="21" name="Line 19">
              <a:extLst>
                <a:ext uri="{FF2B5EF4-FFF2-40B4-BE49-F238E27FC236}">
                  <a16:creationId xmlns:a16="http://schemas.microsoft.com/office/drawing/2014/main" id="{9565B3CE-5618-474A-BA7B-83D683BB8B66}"/>
                </a:ext>
              </a:extLst>
            </p:cNvPr>
            <p:cNvSpPr>
              <a:spLocks noChangeShapeType="1"/>
            </p:cNvSpPr>
            <p:nvPr/>
          </p:nvSpPr>
          <p:spPr bwMode="auto">
            <a:xfrm flipH="1">
              <a:off x="7029450" y="3148013"/>
              <a:ext cx="490538" cy="0"/>
            </a:xfrm>
            <a:prstGeom prst="line">
              <a:avLst/>
            </a:prstGeom>
            <a:noFill/>
            <a:ln w="12700" cap="rnd">
              <a:solidFill>
                <a:srgbClr val="96968C"/>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22" name="Line 20">
              <a:extLst>
                <a:ext uri="{FF2B5EF4-FFF2-40B4-BE49-F238E27FC236}">
                  <a16:creationId xmlns:a16="http://schemas.microsoft.com/office/drawing/2014/main" id="{985463BE-0D35-4F8D-9DA8-1D2C121759AC}"/>
                </a:ext>
              </a:extLst>
            </p:cNvPr>
            <p:cNvSpPr>
              <a:spLocks noChangeShapeType="1"/>
            </p:cNvSpPr>
            <p:nvPr/>
          </p:nvSpPr>
          <p:spPr bwMode="auto">
            <a:xfrm flipH="1">
              <a:off x="6818313" y="2165350"/>
              <a:ext cx="701675" cy="0"/>
            </a:xfrm>
            <a:prstGeom prst="line">
              <a:avLst/>
            </a:prstGeom>
            <a:noFill/>
            <a:ln w="12700" cap="rnd">
              <a:solidFill>
                <a:srgbClr val="96968C"/>
              </a:solidFill>
              <a:prstDash val="dash"/>
              <a:round/>
              <a:headEnd/>
              <a:tailEnd/>
            </a:ln>
            <a:effectLst/>
          </p:spPr>
          <p:txBody>
            <a:bodyPr wrap="none"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23" name="Text Box 21">
              <a:extLst>
                <a:ext uri="{FF2B5EF4-FFF2-40B4-BE49-F238E27FC236}">
                  <a16:creationId xmlns:a16="http://schemas.microsoft.com/office/drawing/2014/main" id="{E03643B1-0996-4C3B-8442-1D25AEA763AA}"/>
                </a:ext>
              </a:extLst>
            </p:cNvPr>
            <p:cNvSpPr txBox="1">
              <a:spLocks noChangeArrowheads="1"/>
            </p:cNvSpPr>
            <p:nvPr/>
          </p:nvSpPr>
          <p:spPr bwMode="auto">
            <a:xfrm>
              <a:off x="5273675" y="2235200"/>
              <a:ext cx="1054100"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Alternative 1</a:t>
              </a:r>
            </a:p>
          </p:txBody>
        </p:sp>
        <p:sp>
          <p:nvSpPr>
            <p:cNvPr id="24" name="Text Box 22">
              <a:extLst>
                <a:ext uri="{FF2B5EF4-FFF2-40B4-BE49-F238E27FC236}">
                  <a16:creationId xmlns:a16="http://schemas.microsoft.com/office/drawing/2014/main" id="{0541DB00-EA97-496C-B3FD-CE879F1C0CA0}"/>
                </a:ext>
              </a:extLst>
            </p:cNvPr>
            <p:cNvSpPr txBox="1">
              <a:spLocks noChangeArrowheads="1"/>
            </p:cNvSpPr>
            <p:nvPr/>
          </p:nvSpPr>
          <p:spPr bwMode="auto">
            <a:xfrm>
              <a:off x="6116638" y="3568700"/>
              <a:ext cx="1054100" cy="274638"/>
            </a:xfrm>
            <a:prstGeom prst="rect">
              <a:avLst/>
            </a:prstGeom>
            <a:noFill/>
            <a:ln w="6350">
              <a:noFill/>
              <a:miter lim="800000"/>
              <a:headEnd/>
              <a:tailEnd/>
            </a:ln>
            <a:effectLst/>
          </p:spPr>
          <p:txBody>
            <a:bodyPr wrap="none" lIns="45720" rIns="45720"/>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Graphik"/>
                  <a:ea typeface="+mn-ea"/>
                  <a:cs typeface="+mn-cs"/>
                </a:rPr>
                <a:t>Alternative 2</a:t>
              </a:r>
            </a:p>
          </p:txBody>
        </p:sp>
        <p:sp>
          <p:nvSpPr>
            <p:cNvPr id="25" name="Line 13">
              <a:extLst>
                <a:ext uri="{FF2B5EF4-FFF2-40B4-BE49-F238E27FC236}">
                  <a16:creationId xmlns:a16="http://schemas.microsoft.com/office/drawing/2014/main" id="{8082E7AF-73AC-4803-9DF1-6D488C4A36C4}"/>
                </a:ext>
              </a:extLst>
            </p:cNvPr>
            <p:cNvSpPr>
              <a:spLocks noChangeShapeType="1"/>
            </p:cNvSpPr>
            <p:nvPr/>
          </p:nvSpPr>
          <p:spPr bwMode="auto">
            <a:xfrm>
              <a:off x="1507602" y="2024063"/>
              <a:ext cx="0" cy="3581400"/>
            </a:xfrm>
            <a:prstGeom prst="line">
              <a:avLst/>
            </a:prstGeom>
            <a:noFill/>
            <a:ln w="12700" cap="rnd" cmpd="sng">
              <a:solidFill>
                <a:srgbClr val="000000"/>
              </a:solidFill>
              <a:prstDash val="solid"/>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grpSp>
      <p:sp>
        <p:nvSpPr>
          <p:cNvPr id="3" name="Rectangle 2">
            <a:hlinkClick r:id="rId3" action="ppaction://hlinksldjump"/>
            <a:extLst>
              <a:ext uri="{FF2B5EF4-FFF2-40B4-BE49-F238E27FC236}">
                <a16:creationId xmlns:a16="http://schemas.microsoft.com/office/drawing/2014/main" id="{EDAAA290-70B0-4E49-91E5-21CDAC9B7E53}"/>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205622632"/>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Porter Five Forces</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13">
            <a:extLst>
              <a:ext uri="{FF2B5EF4-FFF2-40B4-BE49-F238E27FC236}">
                <a16:creationId xmlns:a16="http://schemas.microsoft.com/office/drawing/2014/main" id="{1D8F9B23-5F47-4A4E-BDF7-3A46596F5572}"/>
              </a:ext>
            </a:extLst>
          </p:cNvPr>
          <p:cNvSpPr>
            <a:spLocks noChangeArrowheads="1"/>
          </p:cNvSpPr>
          <p:nvPr/>
        </p:nvSpPr>
        <p:spPr bwMode="auto">
          <a:xfrm>
            <a:off x="4813418" y="5303283"/>
            <a:ext cx="2347475" cy="434567"/>
          </a:xfrm>
          <a:prstGeom prst="rect">
            <a:avLst/>
          </a:prstGeom>
          <a:noFill/>
          <a:ln w="28575" algn="ctr">
            <a:noFill/>
            <a:miter lim="800000"/>
            <a:headEnd/>
            <a:tailEnd/>
          </a:ln>
          <a:effectLst/>
        </p:spPr>
        <p:txBody>
          <a:bodyPr lIns="18000" tIns="10800" rIns="18000" bIns="1080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ompetitive rivalry</a:t>
            </a:r>
            <a:br>
              <a:rPr kumimoji="0" lang="en-US" sz="14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br>
            <a:r>
              <a:rPr kumimoji="0" lang="en-US" sz="14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within the industry</a:t>
            </a:r>
          </a:p>
        </p:txBody>
      </p:sp>
      <p:sp>
        <p:nvSpPr>
          <p:cNvPr id="6" name="Circular Arrow 14">
            <a:extLst>
              <a:ext uri="{FF2B5EF4-FFF2-40B4-BE49-F238E27FC236}">
                <a16:creationId xmlns:a16="http://schemas.microsoft.com/office/drawing/2014/main" id="{7768DD29-E41A-47A5-8D52-FDC5A6C65772}"/>
              </a:ext>
            </a:extLst>
          </p:cNvPr>
          <p:cNvSpPr/>
          <p:nvPr/>
        </p:nvSpPr>
        <p:spPr bwMode="auto">
          <a:xfrm rot="16617642">
            <a:off x="4178980" y="1582576"/>
            <a:ext cx="3616352" cy="3616352"/>
          </a:xfrm>
          <a:prstGeom prst="circularArrow">
            <a:avLst>
              <a:gd name="adj1" fmla="val 12500"/>
              <a:gd name="adj2" fmla="val 600187"/>
              <a:gd name="adj3" fmla="val 20457681"/>
              <a:gd name="adj4" fmla="val 21448570"/>
              <a:gd name="adj5" fmla="val 10452"/>
            </a:avLst>
          </a:prstGeom>
          <a:solidFill>
            <a:srgbClr val="A100FF"/>
          </a:solidFill>
          <a:ln w="9525" algn="ctr">
            <a:noFill/>
            <a:miter lim="800000"/>
            <a:headEnd/>
            <a:tailEnd/>
          </a:ln>
        </p:spPr>
        <p:txBody>
          <a:bodyPr lIns="90000" tIns="72000" rIns="144000" bIns="72000" rtlCol="0" anchor="ctr"/>
          <a:lstStyle/>
          <a:p>
            <a:pPr marL="157163" marR="0" lvl="0" indent="-157163" algn="ctr" defTabSz="914400" rtl="0" eaLnBrk="1" fontAlgn="base" latinLnBrk="0" hangingPunct="1">
              <a:lnSpc>
                <a:spcPct val="100000"/>
              </a:lnSpc>
              <a:spcBef>
                <a:spcPct val="50000"/>
              </a:spcBef>
              <a:spcAft>
                <a:spcPct val="0"/>
              </a:spcAft>
              <a:buClr>
                <a:srgbClr val="F0AB00"/>
              </a:buClr>
              <a:buSzPct val="80000"/>
              <a:buFont typeface="Wingdings" pitchFamily="2" charset="2"/>
              <a:buChar char="n"/>
              <a:tabLst/>
              <a:defRPr/>
            </a:pPr>
            <a:endParaRPr kumimoji="0" lang="en-US" sz="1400" b="0" i="0" u="none" strike="noStrike" kern="0" cap="none" spc="0" normalizeH="0" baseline="0" noProof="0">
              <a:ln>
                <a:noFill/>
              </a:ln>
              <a:solidFill>
                <a:srgbClr val="FFFFFF"/>
              </a:solidFill>
              <a:effectLst/>
              <a:uLnTx/>
              <a:uFillTx/>
              <a:latin typeface="Graphik"/>
              <a:ea typeface="Arial Unicode MS" pitchFamily="34" charset="-128"/>
              <a:cs typeface="Arial Unicode MS" pitchFamily="34" charset="-128"/>
            </a:endParaRPr>
          </a:p>
        </p:txBody>
      </p:sp>
      <p:sp>
        <p:nvSpPr>
          <p:cNvPr id="7" name="Text Placeholder 17">
            <a:extLst>
              <a:ext uri="{FF2B5EF4-FFF2-40B4-BE49-F238E27FC236}">
                <a16:creationId xmlns:a16="http://schemas.microsoft.com/office/drawing/2014/main" id="{86759DE9-7568-4B48-85E1-30CA447B0EF7}"/>
              </a:ext>
            </a:extLst>
          </p:cNvPr>
          <p:cNvSpPr txBox="1">
            <a:spLocks/>
          </p:cNvSpPr>
          <p:nvPr/>
        </p:nvSpPr>
        <p:spPr bwMode="auto">
          <a:xfrm>
            <a:off x="5026546" y="2600908"/>
            <a:ext cx="2024898" cy="1685704"/>
          </a:xfrm>
          <a:prstGeom prst="rect">
            <a:avLst/>
          </a:prstGeom>
        </p:spPr>
        <p:txBody>
          <a:bodyPr/>
          <a:lstStyle/>
          <a:p>
            <a:pPr marL="276225" marR="0" lvl="1" indent="-180975" algn="l" defTabSz="914400" rtl="0" eaLnBrk="1" fontAlgn="auto" latinLnBrk="0" hangingPunct="1">
              <a:lnSpc>
                <a:spcPct val="100000"/>
              </a:lnSpc>
              <a:spcBef>
                <a:spcPts val="100"/>
              </a:spcBef>
              <a:spcAft>
                <a:spcPts val="100"/>
              </a:spcAft>
              <a:buClrTx/>
              <a:buSzTx/>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a:p>
            <a:pPr marL="457200" marR="0" lvl="2" indent="-180975"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Text Placeholder 12">
            <a:extLst>
              <a:ext uri="{FF2B5EF4-FFF2-40B4-BE49-F238E27FC236}">
                <a16:creationId xmlns:a16="http://schemas.microsoft.com/office/drawing/2014/main" id="{CC058A4E-BF16-44E4-BCC2-F0FB646B15D9}"/>
              </a:ext>
            </a:extLst>
          </p:cNvPr>
          <p:cNvSpPr txBox="1">
            <a:spLocks/>
          </p:cNvSpPr>
          <p:nvPr/>
        </p:nvSpPr>
        <p:spPr bwMode="auto">
          <a:xfrm>
            <a:off x="1899471" y="2449837"/>
            <a:ext cx="2490348" cy="1418805"/>
          </a:xfrm>
          <a:prstGeom prst="rect">
            <a:avLst/>
          </a:prstGeom>
          <a:noFill/>
          <a:ln w="12700">
            <a:noFill/>
            <a:miter lim="800000"/>
            <a:headEnd/>
            <a:tailEnd/>
          </a:ln>
        </p:spPr>
        <p:txBody>
          <a:bodyPr vert="horz" wrap="square" lIns="0" tIns="90000" rIns="90000" bIns="90000" numCol="1" anchor="t" anchorCtr="0" compatLnSpc="1">
            <a:prstTxWarp prst="textNoShape">
              <a:avLst/>
            </a:prstTxWarp>
            <a:noAutofit/>
          </a:bodyPr>
          <a:lstStyle/>
          <a:p>
            <a:pPr marL="266700" marR="0" lvl="2" indent="-180975" algn="l" defTabSz="914400" rtl="0" eaLnBrk="1" fontAlgn="auto" latinLnBrk="0" hangingPunct="1">
              <a:lnSpc>
                <a:spcPct val="100000"/>
              </a:lnSpc>
              <a:spcBef>
                <a:spcPts val="100"/>
              </a:spcBef>
              <a:spcAft>
                <a:spcPts val="100"/>
              </a:spcAft>
              <a:buClrTx/>
              <a:buSzPct val="100000"/>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a:p>
            <a:pPr marL="447675" marR="0" lvl="3" indent="-171450"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9" name="Rectangle 8">
            <a:extLst>
              <a:ext uri="{FF2B5EF4-FFF2-40B4-BE49-F238E27FC236}">
                <a16:creationId xmlns:a16="http://schemas.microsoft.com/office/drawing/2014/main" id="{48703BB0-E582-4C2C-BCD4-D9B42404CFE3}"/>
              </a:ext>
            </a:extLst>
          </p:cNvPr>
          <p:cNvSpPr>
            <a:spLocks noChangeArrowheads="1"/>
          </p:cNvSpPr>
          <p:nvPr/>
        </p:nvSpPr>
        <p:spPr bwMode="auto">
          <a:xfrm>
            <a:off x="1899470" y="2170915"/>
            <a:ext cx="2886328" cy="252726"/>
          </a:xfrm>
          <a:prstGeom prst="rect">
            <a:avLst/>
          </a:prstGeom>
          <a:noFill/>
          <a:ln w="38100" algn="ctr">
            <a:noFill/>
            <a:miter lim="800000"/>
            <a:headEnd/>
            <a:tailEnd/>
          </a:ln>
          <a:effectLst/>
        </p:spPr>
        <p:txBody>
          <a:bodyPr lIns="0" tIns="10800" rIns="18000" bIns="1080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Bargaining Power of Customers</a:t>
            </a:r>
          </a:p>
        </p:txBody>
      </p:sp>
      <p:sp>
        <p:nvSpPr>
          <p:cNvPr id="10" name="Text Placeholder 12">
            <a:extLst>
              <a:ext uri="{FF2B5EF4-FFF2-40B4-BE49-F238E27FC236}">
                <a16:creationId xmlns:a16="http://schemas.microsoft.com/office/drawing/2014/main" id="{D9DEE83A-AF14-472C-B644-15DFD92F231A}"/>
              </a:ext>
            </a:extLst>
          </p:cNvPr>
          <p:cNvSpPr txBox="1">
            <a:spLocks/>
          </p:cNvSpPr>
          <p:nvPr/>
        </p:nvSpPr>
        <p:spPr bwMode="auto">
          <a:xfrm>
            <a:off x="1899471" y="4330644"/>
            <a:ext cx="2490348" cy="1418805"/>
          </a:xfrm>
          <a:prstGeom prst="rect">
            <a:avLst/>
          </a:prstGeom>
          <a:noFill/>
          <a:ln w="12700">
            <a:noFill/>
            <a:miter lim="800000"/>
            <a:headEnd/>
            <a:tailEnd/>
          </a:ln>
        </p:spPr>
        <p:txBody>
          <a:bodyPr vert="horz" wrap="square" lIns="0" tIns="90000" rIns="90000" bIns="90000" numCol="1" anchor="t" anchorCtr="0" compatLnSpc="1">
            <a:prstTxWarp prst="textNoShape">
              <a:avLst/>
            </a:prstTxWarp>
            <a:noAutofit/>
          </a:bodyPr>
          <a:lstStyle/>
          <a:p>
            <a:pPr marL="266700" marR="0" lvl="2" indent="-180975" algn="l" defTabSz="914400" rtl="0" eaLnBrk="1" fontAlgn="auto" latinLnBrk="0" hangingPunct="1">
              <a:lnSpc>
                <a:spcPct val="100000"/>
              </a:lnSpc>
              <a:spcBef>
                <a:spcPts val="100"/>
              </a:spcBef>
              <a:spcAft>
                <a:spcPts val="100"/>
              </a:spcAft>
              <a:buClrTx/>
              <a:buSzPct val="100000"/>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a:p>
            <a:pPr marL="447675" marR="0" lvl="3" indent="-171450"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1" name="Rectangle 8">
            <a:extLst>
              <a:ext uri="{FF2B5EF4-FFF2-40B4-BE49-F238E27FC236}">
                <a16:creationId xmlns:a16="http://schemas.microsoft.com/office/drawing/2014/main" id="{63A13C68-987E-4CC7-9585-F2FFA28CA4E3}"/>
              </a:ext>
            </a:extLst>
          </p:cNvPr>
          <p:cNvSpPr>
            <a:spLocks noChangeArrowheads="1"/>
          </p:cNvSpPr>
          <p:nvPr/>
        </p:nvSpPr>
        <p:spPr bwMode="auto">
          <a:xfrm>
            <a:off x="1899470" y="4051722"/>
            <a:ext cx="2491645" cy="252726"/>
          </a:xfrm>
          <a:prstGeom prst="rect">
            <a:avLst/>
          </a:prstGeom>
          <a:noFill/>
          <a:ln w="38100" algn="ctr">
            <a:noFill/>
            <a:miter lim="800000"/>
            <a:headEnd/>
            <a:tailEnd/>
          </a:ln>
          <a:effectLst/>
        </p:spPr>
        <p:txBody>
          <a:bodyPr lIns="0" tIns="10800" rIns="18000" bIns="1080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Bargaining Power of Suppliers</a:t>
            </a:r>
          </a:p>
        </p:txBody>
      </p:sp>
      <p:sp>
        <p:nvSpPr>
          <p:cNvPr id="12" name="Text Placeholder 12">
            <a:extLst>
              <a:ext uri="{FF2B5EF4-FFF2-40B4-BE49-F238E27FC236}">
                <a16:creationId xmlns:a16="http://schemas.microsoft.com/office/drawing/2014/main" id="{ECE64738-618B-468B-BD0D-894A58226991}"/>
              </a:ext>
            </a:extLst>
          </p:cNvPr>
          <p:cNvSpPr txBox="1">
            <a:spLocks/>
          </p:cNvSpPr>
          <p:nvPr/>
        </p:nvSpPr>
        <p:spPr bwMode="auto">
          <a:xfrm>
            <a:off x="7647470" y="2449837"/>
            <a:ext cx="2490348" cy="1418805"/>
          </a:xfrm>
          <a:prstGeom prst="rect">
            <a:avLst/>
          </a:prstGeom>
          <a:noFill/>
          <a:ln w="12700">
            <a:noFill/>
            <a:miter lim="800000"/>
            <a:headEnd/>
            <a:tailEnd/>
          </a:ln>
        </p:spPr>
        <p:txBody>
          <a:bodyPr vert="horz" wrap="square" lIns="0" tIns="90000" rIns="90000" bIns="90000" numCol="1" anchor="t" anchorCtr="0" compatLnSpc="1">
            <a:prstTxWarp prst="textNoShape">
              <a:avLst/>
            </a:prstTxWarp>
            <a:noAutofit/>
          </a:bodyPr>
          <a:lstStyle/>
          <a:p>
            <a:pPr marL="266700" marR="0" lvl="2" indent="-180975" algn="l" defTabSz="914400" rtl="0" eaLnBrk="1" fontAlgn="auto" latinLnBrk="0" hangingPunct="1">
              <a:lnSpc>
                <a:spcPct val="100000"/>
              </a:lnSpc>
              <a:spcBef>
                <a:spcPts val="100"/>
              </a:spcBef>
              <a:spcAft>
                <a:spcPts val="100"/>
              </a:spcAft>
              <a:buClrTx/>
              <a:buSzPct val="100000"/>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a:p>
            <a:pPr marL="447675" marR="0" lvl="3" indent="-171450"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3" name="Rectangle 8">
            <a:extLst>
              <a:ext uri="{FF2B5EF4-FFF2-40B4-BE49-F238E27FC236}">
                <a16:creationId xmlns:a16="http://schemas.microsoft.com/office/drawing/2014/main" id="{D620ACD3-8640-41D1-BF25-E9C909088E1F}"/>
              </a:ext>
            </a:extLst>
          </p:cNvPr>
          <p:cNvSpPr>
            <a:spLocks noChangeArrowheads="1"/>
          </p:cNvSpPr>
          <p:nvPr/>
        </p:nvSpPr>
        <p:spPr bwMode="auto">
          <a:xfrm>
            <a:off x="7647469" y="2170915"/>
            <a:ext cx="2491645" cy="252726"/>
          </a:xfrm>
          <a:prstGeom prst="rect">
            <a:avLst/>
          </a:prstGeom>
          <a:noFill/>
          <a:ln w="38100" algn="ctr">
            <a:noFill/>
            <a:miter lim="800000"/>
            <a:headEnd/>
            <a:tailEnd/>
          </a:ln>
          <a:effectLst/>
        </p:spPr>
        <p:txBody>
          <a:bodyPr lIns="0" tIns="10800" rIns="18000" bIns="1080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hreat of New Entrants</a:t>
            </a:r>
          </a:p>
        </p:txBody>
      </p:sp>
      <p:sp>
        <p:nvSpPr>
          <p:cNvPr id="14" name="Text Placeholder 12">
            <a:extLst>
              <a:ext uri="{FF2B5EF4-FFF2-40B4-BE49-F238E27FC236}">
                <a16:creationId xmlns:a16="http://schemas.microsoft.com/office/drawing/2014/main" id="{71CE1106-4F61-4505-BD89-4605D449DEA2}"/>
              </a:ext>
            </a:extLst>
          </p:cNvPr>
          <p:cNvSpPr txBox="1">
            <a:spLocks/>
          </p:cNvSpPr>
          <p:nvPr/>
        </p:nvSpPr>
        <p:spPr bwMode="auto">
          <a:xfrm>
            <a:off x="7647470" y="4330644"/>
            <a:ext cx="2490348" cy="1418805"/>
          </a:xfrm>
          <a:prstGeom prst="rect">
            <a:avLst/>
          </a:prstGeom>
          <a:noFill/>
          <a:ln w="12700">
            <a:noFill/>
            <a:miter lim="800000"/>
            <a:headEnd/>
            <a:tailEnd/>
          </a:ln>
        </p:spPr>
        <p:txBody>
          <a:bodyPr vert="horz" wrap="square" lIns="0" tIns="90000" rIns="90000" bIns="90000" numCol="1" anchor="t" anchorCtr="0" compatLnSpc="1">
            <a:prstTxWarp prst="textNoShape">
              <a:avLst/>
            </a:prstTxWarp>
            <a:noAutofit/>
          </a:bodyPr>
          <a:lstStyle/>
          <a:p>
            <a:pPr marL="266700" marR="0" lvl="2" indent="-180975" algn="l" defTabSz="914400" rtl="0" eaLnBrk="1" fontAlgn="auto" latinLnBrk="0" hangingPunct="1">
              <a:lnSpc>
                <a:spcPct val="100000"/>
              </a:lnSpc>
              <a:spcBef>
                <a:spcPts val="100"/>
              </a:spcBef>
              <a:spcAft>
                <a:spcPts val="100"/>
              </a:spcAft>
              <a:buClrTx/>
              <a:buSzPct val="100000"/>
              <a:buFont typeface="Wingdings" pitchFamily="2" charset="2"/>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a:p>
            <a:pPr marL="447675" marR="0" lvl="3" indent="-171450" algn="l" defTabSz="914400" rtl="0" eaLnBrk="1" fontAlgn="auto" latinLnBrk="0" hangingPunct="1">
              <a:lnSpc>
                <a:spcPct val="100000"/>
              </a:lnSpc>
              <a:spcBef>
                <a:spcPts val="100"/>
              </a:spcBef>
              <a:spcAft>
                <a:spcPts val="100"/>
              </a:spcAft>
              <a:buClrTx/>
              <a:buSzPct val="100000"/>
              <a:buFont typeface="Arial" pitchFamily="34" charset="0"/>
              <a:buChar char="–"/>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15" name="Rectangle 8">
            <a:extLst>
              <a:ext uri="{FF2B5EF4-FFF2-40B4-BE49-F238E27FC236}">
                <a16:creationId xmlns:a16="http://schemas.microsoft.com/office/drawing/2014/main" id="{730BEF48-0212-4459-8E44-8F9D0E8D7F09}"/>
              </a:ext>
            </a:extLst>
          </p:cNvPr>
          <p:cNvSpPr>
            <a:spLocks noChangeArrowheads="1"/>
          </p:cNvSpPr>
          <p:nvPr/>
        </p:nvSpPr>
        <p:spPr bwMode="auto">
          <a:xfrm>
            <a:off x="7647469" y="4051722"/>
            <a:ext cx="2491645" cy="252726"/>
          </a:xfrm>
          <a:prstGeom prst="rect">
            <a:avLst/>
          </a:prstGeom>
          <a:noFill/>
          <a:ln w="38100" algn="ctr">
            <a:noFill/>
            <a:miter lim="800000"/>
            <a:headEnd/>
            <a:tailEnd/>
          </a:ln>
          <a:effectLst/>
        </p:spPr>
        <p:txBody>
          <a:bodyPr lIns="0" tIns="10800" rIns="18000" bIns="1080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hreat of Substitute Products</a:t>
            </a:r>
          </a:p>
        </p:txBody>
      </p:sp>
      <p:sp>
        <p:nvSpPr>
          <p:cNvPr id="16" name="Freeform 55">
            <a:extLst>
              <a:ext uri="{FF2B5EF4-FFF2-40B4-BE49-F238E27FC236}">
                <a16:creationId xmlns:a16="http://schemas.microsoft.com/office/drawing/2014/main" id="{F6D0D4AA-5B19-437C-ACCA-8B5085A4BD96}"/>
              </a:ext>
            </a:extLst>
          </p:cNvPr>
          <p:cNvSpPr/>
          <p:nvPr/>
        </p:nvSpPr>
        <p:spPr bwMode="auto">
          <a:xfrm>
            <a:off x="1908087" y="2456749"/>
            <a:ext cx="2877711" cy="326069"/>
          </a:xfrm>
          <a:custGeom>
            <a:avLst/>
            <a:gdLst>
              <a:gd name="connsiteX0" fmla="*/ 0 w 3097763"/>
              <a:gd name="connsiteY0" fmla="*/ 0 h 653143"/>
              <a:gd name="connsiteX1" fmla="*/ 2603241 w 3097763"/>
              <a:gd name="connsiteY1" fmla="*/ 0 h 653143"/>
              <a:gd name="connsiteX2" fmla="*/ 3097763 w 3097763"/>
              <a:gd name="connsiteY2" fmla="*/ 653143 h 653143"/>
              <a:gd name="connsiteX0" fmla="*/ 0 w 2876906"/>
              <a:gd name="connsiteY0" fmla="*/ 0 h 347870"/>
              <a:gd name="connsiteX1" fmla="*/ 2603241 w 2876906"/>
              <a:gd name="connsiteY1" fmla="*/ 0 h 347870"/>
              <a:gd name="connsiteX2" fmla="*/ 2876906 w 2876906"/>
              <a:gd name="connsiteY2" fmla="*/ 347870 h 347870"/>
              <a:gd name="connsiteX0" fmla="*/ 0 w 3085161"/>
              <a:gd name="connsiteY0" fmla="*/ 0 h 305274"/>
              <a:gd name="connsiteX1" fmla="*/ 2603241 w 3085161"/>
              <a:gd name="connsiteY1" fmla="*/ 0 h 305274"/>
              <a:gd name="connsiteX2" fmla="*/ 3085161 w 3085161"/>
              <a:gd name="connsiteY2" fmla="*/ 305274 h 305274"/>
              <a:gd name="connsiteX0" fmla="*/ 0 w 2964511"/>
              <a:gd name="connsiteY0" fmla="*/ 0 h 255579"/>
              <a:gd name="connsiteX1" fmla="*/ 2603241 w 2964511"/>
              <a:gd name="connsiteY1" fmla="*/ 0 h 255579"/>
              <a:gd name="connsiteX2" fmla="*/ 2964511 w 2964511"/>
              <a:gd name="connsiteY2" fmla="*/ 255579 h 255579"/>
            </a:gdLst>
            <a:ahLst/>
            <a:cxnLst>
              <a:cxn ang="0">
                <a:pos x="connsiteX0" y="connsiteY0"/>
              </a:cxn>
              <a:cxn ang="0">
                <a:pos x="connsiteX1" y="connsiteY1"/>
              </a:cxn>
              <a:cxn ang="0">
                <a:pos x="connsiteX2" y="connsiteY2"/>
              </a:cxn>
            </a:cxnLst>
            <a:rect l="l" t="t" r="r" b="b"/>
            <a:pathLst>
              <a:path w="2964511" h="255579">
                <a:moveTo>
                  <a:pt x="0" y="0"/>
                </a:moveTo>
                <a:lnTo>
                  <a:pt x="2603241" y="0"/>
                </a:lnTo>
                <a:lnTo>
                  <a:pt x="2964511" y="255579"/>
                </a:lnTo>
              </a:path>
            </a:pathLst>
          </a:custGeom>
          <a:noFill/>
          <a:ln w="6350" cap="flat" cmpd="sng" algn="ctr">
            <a:solidFill>
              <a:srgbClr val="BE82FF"/>
            </a:solidFill>
            <a:prstDash val="solid"/>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7" name="Freeform 56">
            <a:extLst>
              <a:ext uri="{FF2B5EF4-FFF2-40B4-BE49-F238E27FC236}">
                <a16:creationId xmlns:a16="http://schemas.microsoft.com/office/drawing/2014/main" id="{5C38786C-3141-4411-9E51-0BF189EE9D70}"/>
              </a:ext>
            </a:extLst>
          </p:cNvPr>
          <p:cNvSpPr/>
          <p:nvPr/>
        </p:nvSpPr>
        <p:spPr bwMode="auto">
          <a:xfrm flipV="1">
            <a:off x="1908087" y="4014605"/>
            <a:ext cx="2877711" cy="326069"/>
          </a:xfrm>
          <a:custGeom>
            <a:avLst/>
            <a:gdLst>
              <a:gd name="connsiteX0" fmla="*/ 0 w 3097763"/>
              <a:gd name="connsiteY0" fmla="*/ 0 h 653143"/>
              <a:gd name="connsiteX1" fmla="*/ 2603241 w 3097763"/>
              <a:gd name="connsiteY1" fmla="*/ 0 h 653143"/>
              <a:gd name="connsiteX2" fmla="*/ 3097763 w 3097763"/>
              <a:gd name="connsiteY2" fmla="*/ 653143 h 653143"/>
              <a:gd name="connsiteX0" fmla="*/ 0 w 2876906"/>
              <a:gd name="connsiteY0" fmla="*/ 0 h 347870"/>
              <a:gd name="connsiteX1" fmla="*/ 2603241 w 2876906"/>
              <a:gd name="connsiteY1" fmla="*/ 0 h 347870"/>
              <a:gd name="connsiteX2" fmla="*/ 2876906 w 2876906"/>
              <a:gd name="connsiteY2" fmla="*/ 347870 h 347870"/>
              <a:gd name="connsiteX0" fmla="*/ 0 w 3085161"/>
              <a:gd name="connsiteY0" fmla="*/ 0 h 305274"/>
              <a:gd name="connsiteX1" fmla="*/ 2603241 w 3085161"/>
              <a:gd name="connsiteY1" fmla="*/ 0 h 305274"/>
              <a:gd name="connsiteX2" fmla="*/ 3085161 w 3085161"/>
              <a:gd name="connsiteY2" fmla="*/ 305274 h 305274"/>
              <a:gd name="connsiteX0" fmla="*/ 0 w 2964511"/>
              <a:gd name="connsiteY0" fmla="*/ 0 h 255579"/>
              <a:gd name="connsiteX1" fmla="*/ 2603241 w 2964511"/>
              <a:gd name="connsiteY1" fmla="*/ 0 h 255579"/>
              <a:gd name="connsiteX2" fmla="*/ 2964511 w 2964511"/>
              <a:gd name="connsiteY2" fmla="*/ 255579 h 255579"/>
            </a:gdLst>
            <a:ahLst/>
            <a:cxnLst>
              <a:cxn ang="0">
                <a:pos x="connsiteX0" y="connsiteY0"/>
              </a:cxn>
              <a:cxn ang="0">
                <a:pos x="connsiteX1" y="connsiteY1"/>
              </a:cxn>
              <a:cxn ang="0">
                <a:pos x="connsiteX2" y="connsiteY2"/>
              </a:cxn>
            </a:cxnLst>
            <a:rect l="l" t="t" r="r" b="b"/>
            <a:pathLst>
              <a:path w="2964511" h="255579">
                <a:moveTo>
                  <a:pt x="0" y="0"/>
                </a:moveTo>
                <a:lnTo>
                  <a:pt x="2603241" y="0"/>
                </a:lnTo>
                <a:lnTo>
                  <a:pt x="2964511" y="255579"/>
                </a:lnTo>
              </a:path>
            </a:pathLst>
          </a:custGeom>
          <a:noFill/>
          <a:ln w="6350" cap="flat" cmpd="sng" algn="ctr">
            <a:solidFill>
              <a:srgbClr val="BE82FF"/>
            </a:solidFill>
            <a:prstDash val="solid"/>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8" name="Freeform 57">
            <a:extLst>
              <a:ext uri="{FF2B5EF4-FFF2-40B4-BE49-F238E27FC236}">
                <a16:creationId xmlns:a16="http://schemas.microsoft.com/office/drawing/2014/main" id="{8EF7953C-5358-4CB2-93D7-C34EB6094537}"/>
              </a:ext>
            </a:extLst>
          </p:cNvPr>
          <p:cNvSpPr/>
          <p:nvPr/>
        </p:nvSpPr>
        <p:spPr bwMode="auto">
          <a:xfrm flipH="1">
            <a:off x="7179508" y="2456749"/>
            <a:ext cx="2877711" cy="326069"/>
          </a:xfrm>
          <a:custGeom>
            <a:avLst/>
            <a:gdLst>
              <a:gd name="connsiteX0" fmla="*/ 0 w 3097763"/>
              <a:gd name="connsiteY0" fmla="*/ 0 h 653143"/>
              <a:gd name="connsiteX1" fmla="*/ 2603241 w 3097763"/>
              <a:gd name="connsiteY1" fmla="*/ 0 h 653143"/>
              <a:gd name="connsiteX2" fmla="*/ 3097763 w 3097763"/>
              <a:gd name="connsiteY2" fmla="*/ 653143 h 653143"/>
              <a:gd name="connsiteX0" fmla="*/ 0 w 2876906"/>
              <a:gd name="connsiteY0" fmla="*/ 0 h 347870"/>
              <a:gd name="connsiteX1" fmla="*/ 2603241 w 2876906"/>
              <a:gd name="connsiteY1" fmla="*/ 0 h 347870"/>
              <a:gd name="connsiteX2" fmla="*/ 2876906 w 2876906"/>
              <a:gd name="connsiteY2" fmla="*/ 347870 h 347870"/>
              <a:gd name="connsiteX0" fmla="*/ 0 w 3085161"/>
              <a:gd name="connsiteY0" fmla="*/ 0 h 305274"/>
              <a:gd name="connsiteX1" fmla="*/ 2603241 w 3085161"/>
              <a:gd name="connsiteY1" fmla="*/ 0 h 305274"/>
              <a:gd name="connsiteX2" fmla="*/ 3085161 w 3085161"/>
              <a:gd name="connsiteY2" fmla="*/ 305274 h 305274"/>
              <a:gd name="connsiteX0" fmla="*/ 0 w 2964511"/>
              <a:gd name="connsiteY0" fmla="*/ 0 h 255579"/>
              <a:gd name="connsiteX1" fmla="*/ 2603241 w 2964511"/>
              <a:gd name="connsiteY1" fmla="*/ 0 h 255579"/>
              <a:gd name="connsiteX2" fmla="*/ 2964511 w 2964511"/>
              <a:gd name="connsiteY2" fmla="*/ 255579 h 255579"/>
            </a:gdLst>
            <a:ahLst/>
            <a:cxnLst>
              <a:cxn ang="0">
                <a:pos x="connsiteX0" y="connsiteY0"/>
              </a:cxn>
              <a:cxn ang="0">
                <a:pos x="connsiteX1" y="connsiteY1"/>
              </a:cxn>
              <a:cxn ang="0">
                <a:pos x="connsiteX2" y="connsiteY2"/>
              </a:cxn>
            </a:cxnLst>
            <a:rect l="l" t="t" r="r" b="b"/>
            <a:pathLst>
              <a:path w="2964511" h="255579">
                <a:moveTo>
                  <a:pt x="0" y="0"/>
                </a:moveTo>
                <a:lnTo>
                  <a:pt x="2603241" y="0"/>
                </a:lnTo>
                <a:lnTo>
                  <a:pt x="2964511" y="255579"/>
                </a:lnTo>
              </a:path>
            </a:pathLst>
          </a:custGeom>
          <a:noFill/>
          <a:ln w="6350" cap="flat" cmpd="sng" algn="ctr">
            <a:solidFill>
              <a:srgbClr val="BE82FF"/>
            </a:solidFill>
            <a:prstDash val="solid"/>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19" name="Freeform 58">
            <a:extLst>
              <a:ext uri="{FF2B5EF4-FFF2-40B4-BE49-F238E27FC236}">
                <a16:creationId xmlns:a16="http://schemas.microsoft.com/office/drawing/2014/main" id="{C201640B-5EFA-476D-AFF0-35D9623B5C10}"/>
              </a:ext>
            </a:extLst>
          </p:cNvPr>
          <p:cNvSpPr/>
          <p:nvPr/>
        </p:nvSpPr>
        <p:spPr bwMode="auto">
          <a:xfrm flipH="1" flipV="1">
            <a:off x="7179508" y="4014605"/>
            <a:ext cx="2877711" cy="326069"/>
          </a:xfrm>
          <a:custGeom>
            <a:avLst/>
            <a:gdLst>
              <a:gd name="connsiteX0" fmla="*/ 0 w 3097763"/>
              <a:gd name="connsiteY0" fmla="*/ 0 h 653143"/>
              <a:gd name="connsiteX1" fmla="*/ 2603241 w 3097763"/>
              <a:gd name="connsiteY1" fmla="*/ 0 h 653143"/>
              <a:gd name="connsiteX2" fmla="*/ 3097763 w 3097763"/>
              <a:gd name="connsiteY2" fmla="*/ 653143 h 653143"/>
              <a:gd name="connsiteX0" fmla="*/ 0 w 2876906"/>
              <a:gd name="connsiteY0" fmla="*/ 0 h 347870"/>
              <a:gd name="connsiteX1" fmla="*/ 2603241 w 2876906"/>
              <a:gd name="connsiteY1" fmla="*/ 0 h 347870"/>
              <a:gd name="connsiteX2" fmla="*/ 2876906 w 2876906"/>
              <a:gd name="connsiteY2" fmla="*/ 347870 h 347870"/>
              <a:gd name="connsiteX0" fmla="*/ 0 w 3085161"/>
              <a:gd name="connsiteY0" fmla="*/ 0 h 305274"/>
              <a:gd name="connsiteX1" fmla="*/ 2603241 w 3085161"/>
              <a:gd name="connsiteY1" fmla="*/ 0 h 305274"/>
              <a:gd name="connsiteX2" fmla="*/ 3085161 w 3085161"/>
              <a:gd name="connsiteY2" fmla="*/ 305274 h 305274"/>
              <a:gd name="connsiteX0" fmla="*/ 0 w 2964511"/>
              <a:gd name="connsiteY0" fmla="*/ 0 h 255579"/>
              <a:gd name="connsiteX1" fmla="*/ 2603241 w 2964511"/>
              <a:gd name="connsiteY1" fmla="*/ 0 h 255579"/>
              <a:gd name="connsiteX2" fmla="*/ 2964511 w 2964511"/>
              <a:gd name="connsiteY2" fmla="*/ 255579 h 255579"/>
            </a:gdLst>
            <a:ahLst/>
            <a:cxnLst>
              <a:cxn ang="0">
                <a:pos x="connsiteX0" y="connsiteY0"/>
              </a:cxn>
              <a:cxn ang="0">
                <a:pos x="connsiteX1" y="connsiteY1"/>
              </a:cxn>
              <a:cxn ang="0">
                <a:pos x="connsiteX2" y="connsiteY2"/>
              </a:cxn>
            </a:cxnLst>
            <a:rect l="l" t="t" r="r" b="b"/>
            <a:pathLst>
              <a:path w="2964511" h="255579">
                <a:moveTo>
                  <a:pt x="0" y="0"/>
                </a:moveTo>
                <a:lnTo>
                  <a:pt x="2603241" y="0"/>
                </a:lnTo>
                <a:lnTo>
                  <a:pt x="2964511" y="255579"/>
                </a:lnTo>
              </a:path>
            </a:pathLst>
          </a:custGeom>
          <a:noFill/>
          <a:ln w="6350" cap="flat" cmpd="sng" algn="ctr">
            <a:solidFill>
              <a:srgbClr val="BE82FF"/>
            </a:solidFill>
            <a:prstDash val="solid"/>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C0400A7B-D6C8-4308-AA8F-78A79943BFFC}"/>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786364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BCG Matrix</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9D6D0213-C673-4EF9-A82B-F460AB617BDE}"/>
              </a:ext>
            </a:extLst>
          </p:cNvPr>
          <p:cNvGrpSpPr/>
          <p:nvPr/>
        </p:nvGrpSpPr>
        <p:grpSpPr bwMode="auto">
          <a:xfrm>
            <a:off x="3290217" y="1342355"/>
            <a:ext cx="5167313" cy="4445000"/>
            <a:chOff x="1824322" y="1628800"/>
            <a:chExt cx="5167313" cy="4445000"/>
          </a:xfrm>
        </p:grpSpPr>
        <p:sp>
          <p:nvSpPr>
            <p:cNvPr id="6" name="Rectangle 3">
              <a:extLst>
                <a:ext uri="{FF2B5EF4-FFF2-40B4-BE49-F238E27FC236}">
                  <a16:creationId xmlns:a16="http://schemas.microsoft.com/office/drawing/2014/main" id="{14A5014D-5F09-41CD-B7E5-1AD6512DE30D}"/>
                </a:ext>
              </a:extLst>
            </p:cNvPr>
            <p:cNvSpPr>
              <a:spLocks noChangeArrowheads="1"/>
            </p:cNvSpPr>
            <p:nvPr/>
          </p:nvSpPr>
          <p:spPr bwMode="auto">
            <a:xfrm>
              <a:off x="2670460" y="1628800"/>
              <a:ext cx="4321175" cy="360362"/>
            </a:xfrm>
            <a:prstGeom prst="rect">
              <a:avLst/>
            </a:prstGeom>
            <a:noFill/>
            <a:ln w="12700" algn="ctr">
              <a:noFill/>
              <a:miter lim="800000"/>
              <a:headEnd/>
              <a:tailEnd/>
            </a:ln>
            <a:effectLst/>
          </p:spPr>
          <p:txBody>
            <a:bodyPr lIns="18000" tIns="46800" rIns="18000" bIns="4680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ja-JP" sz="1400" b="1" i="0" u="none" strike="noStrike" kern="0" cap="none" spc="0" normalizeH="0" baseline="0" noProof="0" dirty="0">
                  <a:ln>
                    <a:noFill/>
                  </a:ln>
                  <a:solidFill>
                    <a:srgbClr val="000000"/>
                  </a:solidFill>
                  <a:effectLst/>
                  <a:uLnTx/>
                  <a:uFillTx/>
                  <a:latin typeface="Arial Black" panose="020B0A04020102020204" pitchFamily="34" charset="0"/>
                  <a:ea typeface="ＭＳ Ｐゴシック" pitchFamily="34" charset="-128"/>
                  <a:cs typeface="+mn-cs"/>
                </a:rPr>
                <a:t>Text</a:t>
              </a:r>
              <a:endParaRPr kumimoji="0" lang="en-US" sz="1400" b="1" i="0" u="none" strike="noStrike" kern="0" cap="none" spc="0" normalizeH="0" baseline="0" noProof="0" dirty="0">
                <a:ln>
                  <a:noFill/>
                </a:ln>
                <a:solidFill>
                  <a:srgbClr val="000000"/>
                </a:solidFill>
                <a:effectLst/>
                <a:uLnTx/>
                <a:uFillTx/>
                <a:latin typeface="Arial Black" panose="020B0A04020102020204" pitchFamily="34" charset="0"/>
                <a:ea typeface="ＭＳ Ｐゴシック" pitchFamily="34" charset="-128"/>
                <a:cs typeface="+mn-cs"/>
              </a:endParaRPr>
            </a:p>
          </p:txBody>
        </p:sp>
        <p:sp>
          <p:nvSpPr>
            <p:cNvPr id="7" name="Rectangle 4">
              <a:extLst>
                <a:ext uri="{FF2B5EF4-FFF2-40B4-BE49-F238E27FC236}">
                  <a16:creationId xmlns:a16="http://schemas.microsoft.com/office/drawing/2014/main" id="{BCD8B8DC-EB79-4C52-A6B7-1313DAEDDB8C}"/>
                </a:ext>
              </a:extLst>
            </p:cNvPr>
            <p:cNvSpPr>
              <a:spLocks noChangeArrowheads="1"/>
            </p:cNvSpPr>
            <p:nvPr/>
          </p:nvSpPr>
          <p:spPr bwMode="auto">
            <a:xfrm>
              <a:off x="3146710" y="2400325"/>
              <a:ext cx="1603375" cy="1962150"/>
            </a:xfrm>
            <a:prstGeom prst="rect">
              <a:avLst/>
            </a:prstGeom>
            <a:solidFill>
              <a:srgbClr val="FFFFFF"/>
            </a:solidFill>
            <a:ln w="12700" algn="ctr">
              <a:noFill/>
              <a:miter lim="800000"/>
              <a:headEnd/>
              <a:tailEnd/>
            </a:ln>
            <a:effectLst/>
          </p:spPr>
          <p:txBody>
            <a:bodyPr wrap="none"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Graphik"/>
                  <a:ea typeface="+mn-ea"/>
                  <a:cs typeface="+mn-cs"/>
                </a:rPr>
                <a:t>Stars</a:t>
              </a:r>
              <a:endParaRPr kumimoji="0" lang="en-US" sz="1200" b="0" i="0" u="none" strike="noStrike" kern="0" cap="none" spc="0" normalizeH="0" baseline="0" noProof="0" dirty="0">
                <a:ln>
                  <a:noFill/>
                </a:ln>
                <a:solidFill>
                  <a:srgbClr val="FFFFFF">
                    <a:lumMod val="50000"/>
                  </a:srgbClr>
                </a:solidFill>
                <a:effectLst/>
                <a:uLnTx/>
                <a:uFillTx/>
                <a:latin typeface="Graphik"/>
                <a:ea typeface="+mn-ea"/>
                <a:cs typeface="+mn-cs"/>
                <a:sym typeface="Webdings" pitchFamily="18" charset="2"/>
              </a:endParaRPr>
            </a:p>
          </p:txBody>
        </p:sp>
        <p:sp>
          <p:nvSpPr>
            <p:cNvPr id="8" name="Rectangle 5">
              <a:extLst>
                <a:ext uri="{FF2B5EF4-FFF2-40B4-BE49-F238E27FC236}">
                  <a16:creationId xmlns:a16="http://schemas.microsoft.com/office/drawing/2014/main" id="{17E71DCA-565A-4E0D-B831-371AECAEDE8F}"/>
                </a:ext>
              </a:extLst>
            </p:cNvPr>
            <p:cNvSpPr>
              <a:spLocks noChangeArrowheads="1"/>
            </p:cNvSpPr>
            <p:nvPr/>
          </p:nvSpPr>
          <p:spPr bwMode="auto">
            <a:xfrm>
              <a:off x="4750085" y="2400325"/>
              <a:ext cx="1603375" cy="1962150"/>
            </a:xfrm>
            <a:prstGeom prst="rect">
              <a:avLst/>
            </a:prstGeom>
            <a:solidFill>
              <a:srgbClr val="FFFFFF"/>
            </a:solidFill>
            <a:ln w="12700" algn="ctr">
              <a:noFill/>
              <a:miter lim="800000"/>
              <a:headEnd/>
              <a:tailEnd/>
            </a:ln>
            <a:effectLst/>
          </p:spPr>
          <p:txBody>
            <a:bodyPr wrap="none"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lumMod val="50000"/>
                    </a:srgbClr>
                  </a:solidFill>
                  <a:effectLst/>
                  <a:uLnTx/>
                  <a:uFillTx/>
                  <a:latin typeface="Graphik"/>
                  <a:ea typeface="+mn-ea"/>
                  <a:cs typeface="+mn-cs"/>
                </a:rPr>
                <a:t>Question Marks</a:t>
              </a:r>
            </a:p>
          </p:txBody>
        </p:sp>
        <p:sp>
          <p:nvSpPr>
            <p:cNvPr id="9" name="Rectangle 6">
              <a:extLst>
                <a:ext uri="{FF2B5EF4-FFF2-40B4-BE49-F238E27FC236}">
                  <a16:creationId xmlns:a16="http://schemas.microsoft.com/office/drawing/2014/main" id="{FACF20CA-33CD-4EA7-88B3-F04464333E95}"/>
                </a:ext>
              </a:extLst>
            </p:cNvPr>
            <p:cNvSpPr>
              <a:spLocks noChangeArrowheads="1"/>
            </p:cNvSpPr>
            <p:nvPr/>
          </p:nvSpPr>
          <p:spPr bwMode="auto">
            <a:xfrm>
              <a:off x="3146710" y="4362475"/>
              <a:ext cx="1603375" cy="1035050"/>
            </a:xfrm>
            <a:prstGeom prst="rect">
              <a:avLst/>
            </a:prstGeom>
            <a:solidFill>
              <a:srgbClr val="FFFFFF"/>
            </a:solid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lumMod val="50000"/>
                    </a:srgbClr>
                  </a:solidFill>
                  <a:effectLst/>
                  <a:uLnTx/>
                  <a:uFillTx/>
                  <a:latin typeface="Graphik"/>
                  <a:ea typeface="+mn-ea"/>
                  <a:cs typeface="+mn-cs"/>
                </a:rPr>
                <a:t>Cash Cows</a:t>
              </a:r>
            </a:p>
          </p:txBody>
        </p:sp>
        <p:sp>
          <p:nvSpPr>
            <p:cNvPr id="10" name="Rectangle 7">
              <a:extLst>
                <a:ext uri="{FF2B5EF4-FFF2-40B4-BE49-F238E27FC236}">
                  <a16:creationId xmlns:a16="http://schemas.microsoft.com/office/drawing/2014/main" id="{A4C750B0-1C0B-40D2-9419-10944FCD1102}"/>
                </a:ext>
              </a:extLst>
            </p:cNvPr>
            <p:cNvSpPr>
              <a:spLocks noChangeArrowheads="1"/>
            </p:cNvSpPr>
            <p:nvPr/>
          </p:nvSpPr>
          <p:spPr bwMode="auto">
            <a:xfrm>
              <a:off x="4750085" y="4362475"/>
              <a:ext cx="1603375" cy="1035050"/>
            </a:xfrm>
            <a:prstGeom prst="rect">
              <a:avLst/>
            </a:prstGeom>
            <a:solidFill>
              <a:srgbClr val="FFFFFF"/>
            </a:solid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lumMod val="50000"/>
                    </a:srgbClr>
                  </a:solidFill>
                  <a:effectLst/>
                  <a:uLnTx/>
                  <a:uFillTx/>
                  <a:latin typeface="Graphik"/>
                  <a:ea typeface="+mn-ea"/>
                  <a:cs typeface="+mn-cs"/>
                </a:rPr>
                <a:t>Dogs</a:t>
              </a:r>
            </a:p>
          </p:txBody>
        </p:sp>
        <p:sp>
          <p:nvSpPr>
            <p:cNvPr id="11" name="Rectangle 8">
              <a:extLst>
                <a:ext uri="{FF2B5EF4-FFF2-40B4-BE49-F238E27FC236}">
                  <a16:creationId xmlns:a16="http://schemas.microsoft.com/office/drawing/2014/main" id="{16E1C665-0F29-4ACC-BE5B-09B10BE15E96}"/>
                </a:ext>
              </a:extLst>
            </p:cNvPr>
            <p:cNvSpPr>
              <a:spLocks noChangeArrowheads="1"/>
            </p:cNvSpPr>
            <p:nvPr/>
          </p:nvSpPr>
          <p:spPr bwMode="auto">
            <a:xfrm>
              <a:off x="1824322" y="3381400"/>
              <a:ext cx="1138238" cy="581025"/>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Market </a:t>
              </a:r>
              <a:br>
                <a:rPr kumimoji="0" lang="en-US" sz="1400" b="1" i="0" u="none" strike="noStrike" kern="0" cap="none" spc="0" normalizeH="0" baseline="0" noProof="0" dirty="0">
                  <a:ln>
                    <a:noFill/>
                  </a:ln>
                  <a:solidFill>
                    <a:srgbClr val="000000"/>
                  </a:solidFill>
                  <a:effectLst/>
                  <a:uLnTx/>
                  <a:uFillTx/>
                  <a:latin typeface="Graphik"/>
                  <a:ea typeface="+mn-ea"/>
                  <a:cs typeface="+mn-cs"/>
                </a:rPr>
              </a:br>
              <a:r>
                <a:rPr kumimoji="0" lang="en-US" sz="1400" b="1" i="0" u="none" strike="noStrike" kern="0" cap="none" spc="0" normalizeH="0" baseline="0" noProof="0" dirty="0">
                  <a:ln>
                    <a:noFill/>
                  </a:ln>
                  <a:solidFill>
                    <a:srgbClr val="000000"/>
                  </a:solidFill>
                  <a:effectLst/>
                  <a:uLnTx/>
                  <a:uFillTx/>
                  <a:latin typeface="Graphik"/>
                  <a:ea typeface="+mn-ea"/>
                  <a:cs typeface="+mn-cs"/>
                </a:rPr>
                <a:t>Growth</a:t>
              </a:r>
              <a:br>
                <a:rPr kumimoji="0" lang="en-US" sz="1400" b="1" i="0" u="none" strike="noStrike" kern="0" cap="none" spc="0" normalizeH="0" baseline="0" noProof="0" dirty="0">
                  <a:ln>
                    <a:noFill/>
                  </a:ln>
                  <a:solidFill>
                    <a:srgbClr val="000000"/>
                  </a:solidFill>
                  <a:effectLst/>
                  <a:uLnTx/>
                  <a:uFillTx/>
                  <a:latin typeface="Graphik"/>
                  <a:ea typeface="+mn-ea"/>
                  <a:cs typeface="+mn-cs"/>
                </a:rPr>
              </a:br>
              <a:r>
                <a:rPr kumimoji="0" lang="en-US" sz="1400" b="1" i="0" u="none" strike="noStrike" kern="0" cap="none" spc="0" normalizeH="0" baseline="0" noProof="0" dirty="0">
                  <a:ln>
                    <a:noFill/>
                  </a:ln>
                  <a:solidFill>
                    <a:srgbClr val="000000"/>
                  </a:solidFill>
                  <a:effectLst/>
                  <a:uLnTx/>
                  <a:uFillTx/>
                  <a:latin typeface="Graphik"/>
                  <a:ea typeface="+mn-ea"/>
                  <a:cs typeface="+mn-cs"/>
                </a:rPr>
                <a:t>Rate</a:t>
              </a:r>
            </a:p>
          </p:txBody>
        </p:sp>
        <p:sp>
          <p:nvSpPr>
            <p:cNvPr id="12" name="Rectangle 10">
              <a:extLst>
                <a:ext uri="{FF2B5EF4-FFF2-40B4-BE49-F238E27FC236}">
                  <a16:creationId xmlns:a16="http://schemas.microsoft.com/office/drawing/2014/main" id="{6EAD092C-DE5F-42E9-9EB9-0BC0ACD16095}"/>
                </a:ext>
              </a:extLst>
            </p:cNvPr>
            <p:cNvSpPr>
              <a:spLocks noChangeArrowheads="1"/>
            </p:cNvSpPr>
            <p:nvPr/>
          </p:nvSpPr>
          <p:spPr bwMode="auto">
            <a:xfrm>
              <a:off x="4004480" y="5735662"/>
              <a:ext cx="1613962" cy="338138"/>
            </a:xfrm>
            <a:prstGeom prst="rect">
              <a:avLst/>
            </a:prstGeom>
            <a:noFill/>
            <a:ln w="12700" algn="ctr">
              <a:noFill/>
              <a:miter lim="800000"/>
              <a:headEnd/>
              <a:tailEnd/>
            </a:ln>
            <a:effectLst/>
          </p:spPr>
          <p:txBody>
            <a:bodyPr wrap="none" lIns="72000" tIns="72000" rIns="72000" bIns="72000" anchor="ctr"/>
            <a:lstStyle/>
            <a:p>
              <a:pPr marL="0" marR="0" lvl="0" indent="0" algn="ctr" defTabSz="914400" rtl="0" eaLnBrk="1" fontAlgn="auto" latinLnBrk="0" hangingPunct="1">
                <a:lnSpc>
                  <a:spcPct val="100000"/>
                </a:lnSpc>
                <a:spcBef>
                  <a:spcPts val="0"/>
                </a:spcBef>
                <a:spcAft>
                  <a:spcPts val="0"/>
                </a:spcAft>
                <a:buClrTx/>
                <a:buSzPct val="75000"/>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Relative Market Share</a:t>
              </a:r>
            </a:p>
          </p:txBody>
        </p:sp>
        <p:sp>
          <p:nvSpPr>
            <p:cNvPr id="13" name="Rectangle 12">
              <a:extLst>
                <a:ext uri="{FF2B5EF4-FFF2-40B4-BE49-F238E27FC236}">
                  <a16:creationId xmlns:a16="http://schemas.microsoft.com/office/drawing/2014/main" id="{4548A0DF-817C-456E-9844-A22CC4149B70}"/>
                </a:ext>
              </a:extLst>
            </p:cNvPr>
            <p:cNvSpPr>
              <a:spLocks noChangeArrowheads="1"/>
            </p:cNvSpPr>
            <p:nvPr/>
          </p:nvSpPr>
          <p:spPr bwMode="auto">
            <a:xfrm>
              <a:off x="2714910" y="4192612"/>
              <a:ext cx="509587" cy="338138"/>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x%</a:t>
              </a:r>
            </a:p>
          </p:txBody>
        </p:sp>
        <p:sp>
          <p:nvSpPr>
            <p:cNvPr id="14" name="Oval 13">
              <a:extLst>
                <a:ext uri="{FF2B5EF4-FFF2-40B4-BE49-F238E27FC236}">
                  <a16:creationId xmlns:a16="http://schemas.microsoft.com/office/drawing/2014/main" id="{A49C18FA-991C-4410-BF8B-66AE722B9241}"/>
                </a:ext>
              </a:extLst>
            </p:cNvPr>
            <p:cNvSpPr>
              <a:spLocks noChangeArrowheads="1"/>
            </p:cNvSpPr>
            <p:nvPr/>
          </p:nvSpPr>
          <p:spPr bwMode="auto">
            <a:xfrm>
              <a:off x="5797835" y="4716487"/>
              <a:ext cx="211137" cy="211138"/>
            </a:xfrm>
            <a:prstGeom prst="ellipse">
              <a:avLst/>
            </a:prstGeom>
            <a:solidFill>
              <a:srgbClr val="A100FF"/>
            </a:solidFill>
            <a:ln w="38100" algn="ctr">
              <a:no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Pct val="75000"/>
                <a:buFontTx/>
                <a:buNone/>
                <a:tabLst/>
                <a:defRPr/>
              </a:pPr>
              <a:endParaRPr kumimoji="0" lang="en-US" sz="1800" b="1" i="0" u="none" strike="noStrike" kern="0" cap="none" spc="0" normalizeH="0" baseline="0" noProof="0">
                <a:ln>
                  <a:noFill/>
                </a:ln>
                <a:solidFill>
                  <a:srgbClr val="FFFFFF"/>
                </a:solidFill>
                <a:effectLst/>
                <a:uLnTx/>
                <a:uFillTx/>
                <a:latin typeface="Graphik"/>
                <a:ea typeface="+mn-ea"/>
                <a:cs typeface="+mn-cs"/>
              </a:endParaRPr>
            </a:p>
          </p:txBody>
        </p:sp>
        <p:sp>
          <p:nvSpPr>
            <p:cNvPr id="15" name="Rectangle 14">
              <a:extLst>
                <a:ext uri="{FF2B5EF4-FFF2-40B4-BE49-F238E27FC236}">
                  <a16:creationId xmlns:a16="http://schemas.microsoft.com/office/drawing/2014/main" id="{3F324993-23C0-4B07-8406-A298B8D54787}"/>
                </a:ext>
              </a:extLst>
            </p:cNvPr>
            <p:cNvSpPr>
              <a:spLocks noChangeArrowheads="1"/>
            </p:cNvSpPr>
            <p:nvPr/>
          </p:nvSpPr>
          <p:spPr bwMode="auto">
            <a:xfrm>
              <a:off x="5618441" y="4417907"/>
              <a:ext cx="555625" cy="234950"/>
            </a:xfrm>
            <a:prstGeom prst="rect">
              <a:avLst/>
            </a:prstGeom>
            <a:noFill/>
            <a:ln w="12700" algn="ctr">
              <a:noFill/>
              <a:miter lim="800000"/>
              <a:headEnd/>
              <a:tailEnd/>
            </a:ln>
            <a:effectLst/>
          </p:spPr>
          <p:txBody>
            <a:bodyPr wrap="none" lIns="72000" tIns="36000" rIns="72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Graphik"/>
                  <a:ea typeface="+mn-ea"/>
                  <a:cs typeface="+mn-cs"/>
                </a:rPr>
                <a:t>Text</a:t>
              </a:r>
            </a:p>
          </p:txBody>
        </p:sp>
        <p:sp>
          <p:nvSpPr>
            <p:cNvPr id="16" name="Rectangle 15">
              <a:extLst>
                <a:ext uri="{FF2B5EF4-FFF2-40B4-BE49-F238E27FC236}">
                  <a16:creationId xmlns:a16="http://schemas.microsoft.com/office/drawing/2014/main" id="{0C557D10-5378-4C2F-B6BF-5136A4AF6673}"/>
                </a:ext>
              </a:extLst>
            </p:cNvPr>
            <p:cNvSpPr>
              <a:spLocks noChangeArrowheads="1"/>
            </p:cNvSpPr>
            <p:nvPr/>
          </p:nvSpPr>
          <p:spPr bwMode="auto">
            <a:xfrm>
              <a:off x="2670460" y="2273325"/>
              <a:ext cx="509587" cy="338137"/>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y%</a:t>
              </a:r>
            </a:p>
          </p:txBody>
        </p:sp>
        <p:sp>
          <p:nvSpPr>
            <p:cNvPr id="17" name="Rectangle 17">
              <a:extLst>
                <a:ext uri="{FF2B5EF4-FFF2-40B4-BE49-F238E27FC236}">
                  <a16:creationId xmlns:a16="http://schemas.microsoft.com/office/drawing/2014/main" id="{99844088-7646-4940-8F84-8680A97BF8EA}"/>
                </a:ext>
              </a:extLst>
            </p:cNvPr>
            <p:cNvSpPr>
              <a:spLocks noChangeArrowheads="1"/>
            </p:cNvSpPr>
            <p:nvPr/>
          </p:nvSpPr>
          <p:spPr bwMode="auto">
            <a:xfrm>
              <a:off x="4004479" y="3660378"/>
              <a:ext cx="555625" cy="234950"/>
            </a:xfrm>
            <a:prstGeom prst="rect">
              <a:avLst/>
            </a:prstGeom>
            <a:noFill/>
            <a:ln w="12700" algn="ctr">
              <a:noFill/>
              <a:miter lim="800000"/>
              <a:headEnd/>
              <a:tailEnd/>
            </a:ln>
            <a:effectLst/>
          </p:spPr>
          <p:txBody>
            <a:bodyPr wrap="none" lIns="72000" tIns="36000" rIns="72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Graphik"/>
                  <a:ea typeface="+mn-ea"/>
                  <a:cs typeface="+mn-cs"/>
                </a:rPr>
                <a:t>Text</a:t>
              </a:r>
            </a:p>
          </p:txBody>
        </p:sp>
        <p:sp>
          <p:nvSpPr>
            <p:cNvPr id="18" name="Rectangle 18">
              <a:extLst>
                <a:ext uri="{FF2B5EF4-FFF2-40B4-BE49-F238E27FC236}">
                  <a16:creationId xmlns:a16="http://schemas.microsoft.com/office/drawing/2014/main" id="{135A8D8F-E719-44C3-A871-13663F8C8416}"/>
                </a:ext>
              </a:extLst>
            </p:cNvPr>
            <p:cNvSpPr>
              <a:spLocks noChangeArrowheads="1"/>
            </p:cNvSpPr>
            <p:nvPr/>
          </p:nvSpPr>
          <p:spPr bwMode="auto">
            <a:xfrm>
              <a:off x="3048285" y="5402287"/>
              <a:ext cx="509587" cy="338138"/>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10x</a:t>
              </a:r>
            </a:p>
          </p:txBody>
        </p:sp>
        <p:sp>
          <p:nvSpPr>
            <p:cNvPr id="19" name="Rectangle 19">
              <a:extLst>
                <a:ext uri="{FF2B5EF4-FFF2-40B4-BE49-F238E27FC236}">
                  <a16:creationId xmlns:a16="http://schemas.microsoft.com/office/drawing/2014/main" id="{5163C84E-F0DC-4FFC-98F5-9F1C34D24620}"/>
                </a:ext>
              </a:extLst>
            </p:cNvPr>
            <p:cNvSpPr>
              <a:spLocks noChangeArrowheads="1"/>
            </p:cNvSpPr>
            <p:nvPr/>
          </p:nvSpPr>
          <p:spPr bwMode="auto">
            <a:xfrm>
              <a:off x="4470685" y="5403875"/>
              <a:ext cx="509587" cy="338137"/>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1x</a:t>
              </a:r>
            </a:p>
          </p:txBody>
        </p:sp>
        <p:sp>
          <p:nvSpPr>
            <p:cNvPr id="20" name="Rectangle 20">
              <a:extLst>
                <a:ext uri="{FF2B5EF4-FFF2-40B4-BE49-F238E27FC236}">
                  <a16:creationId xmlns:a16="http://schemas.microsoft.com/office/drawing/2014/main" id="{0337C306-0C3A-470C-98EF-10A7C138144E}"/>
                </a:ext>
              </a:extLst>
            </p:cNvPr>
            <p:cNvSpPr>
              <a:spLocks noChangeArrowheads="1"/>
            </p:cNvSpPr>
            <p:nvPr/>
          </p:nvSpPr>
          <p:spPr bwMode="auto">
            <a:xfrm>
              <a:off x="5893085" y="5405462"/>
              <a:ext cx="509587" cy="338138"/>
            </a:xfrm>
            <a:prstGeom prst="rect">
              <a:avLst/>
            </a:prstGeom>
            <a:noFill/>
            <a:ln w="12700" algn="ctr">
              <a:noFill/>
              <a:miter lim="800000"/>
              <a:headEnd/>
              <a:tailEnd/>
            </a:ln>
            <a:effectLst/>
          </p:spPr>
          <p:txBody>
            <a:bodyPr wrap="none" lIns="72000" tIns="72000" rIns="72000" bIns="72000" anchor="b"/>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0.1x</a:t>
              </a:r>
            </a:p>
          </p:txBody>
        </p:sp>
        <p:cxnSp>
          <p:nvCxnSpPr>
            <p:cNvPr id="21" name="Straight Connector 20">
              <a:extLst>
                <a:ext uri="{FF2B5EF4-FFF2-40B4-BE49-F238E27FC236}">
                  <a16:creationId xmlns:a16="http://schemas.microsoft.com/office/drawing/2014/main" id="{1A3F777A-C80F-488D-BBC1-DC5C87D4AE8C}"/>
                </a:ext>
              </a:extLst>
            </p:cNvPr>
            <p:cNvCxnSpPr>
              <a:stCxn id="24" idx="0"/>
            </p:cNvCxnSpPr>
            <p:nvPr/>
          </p:nvCxnSpPr>
          <p:spPr bwMode="auto">
            <a:xfrm>
              <a:off x="4756338" y="2414304"/>
              <a:ext cx="1588" cy="2977497"/>
            </a:xfrm>
            <a:prstGeom prst="line">
              <a:avLst/>
            </a:prstGeom>
            <a:noFill/>
            <a:ln w="12700" cap="flat" cmpd="sng" algn="ctr">
              <a:solidFill>
                <a:srgbClr val="96968C"/>
              </a:solidFill>
              <a:prstDash val="solid"/>
            </a:ln>
            <a:effectLst/>
          </p:spPr>
        </p:cxnSp>
        <p:cxnSp>
          <p:nvCxnSpPr>
            <p:cNvPr id="22" name="Straight Connector 21">
              <a:extLst>
                <a:ext uri="{FF2B5EF4-FFF2-40B4-BE49-F238E27FC236}">
                  <a16:creationId xmlns:a16="http://schemas.microsoft.com/office/drawing/2014/main" id="{CC9CBB89-F837-4074-A503-BDD7CDA81D80}"/>
                </a:ext>
              </a:extLst>
            </p:cNvPr>
            <p:cNvCxnSpPr/>
            <p:nvPr/>
          </p:nvCxnSpPr>
          <p:spPr bwMode="auto">
            <a:xfrm rot="10800000" flipV="1">
              <a:off x="3139710" y="4358033"/>
              <a:ext cx="3222000" cy="0"/>
            </a:xfrm>
            <a:prstGeom prst="line">
              <a:avLst/>
            </a:prstGeom>
            <a:noFill/>
            <a:ln w="12700" cap="flat" cmpd="sng" algn="ctr">
              <a:solidFill>
                <a:srgbClr val="96968C"/>
              </a:solidFill>
              <a:prstDash val="solid"/>
            </a:ln>
            <a:effectLst/>
          </p:spPr>
        </p:cxnSp>
        <p:sp>
          <p:nvSpPr>
            <p:cNvPr id="23" name="Oval 16">
              <a:extLst>
                <a:ext uri="{FF2B5EF4-FFF2-40B4-BE49-F238E27FC236}">
                  <a16:creationId xmlns:a16="http://schemas.microsoft.com/office/drawing/2014/main" id="{AD9C636C-6263-4993-B967-108F2952EE94}"/>
                </a:ext>
              </a:extLst>
            </p:cNvPr>
            <p:cNvSpPr>
              <a:spLocks noChangeArrowheads="1"/>
            </p:cNvSpPr>
            <p:nvPr/>
          </p:nvSpPr>
          <p:spPr bwMode="auto">
            <a:xfrm>
              <a:off x="3418172" y="3833837"/>
              <a:ext cx="763588" cy="763588"/>
            </a:xfrm>
            <a:prstGeom prst="ellipse">
              <a:avLst/>
            </a:prstGeom>
            <a:solidFill>
              <a:srgbClr val="A100FF"/>
            </a:solidFill>
            <a:ln w="38100" algn="ctr">
              <a:noFill/>
              <a:round/>
              <a:headEnd/>
              <a:tailEn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Pct val="75000"/>
                <a:buFontTx/>
                <a:buNone/>
                <a:tabLst/>
                <a:defRPr/>
              </a:pPr>
              <a:endParaRPr kumimoji="0" lang="en-US" sz="1800" b="1" i="0" u="none" strike="noStrike" kern="0" cap="none" spc="0" normalizeH="0" baseline="0" noProof="0">
                <a:ln>
                  <a:noFill/>
                </a:ln>
                <a:solidFill>
                  <a:srgbClr val="FFFFFF"/>
                </a:solidFill>
                <a:effectLst/>
                <a:uLnTx/>
                <a:uFillTx/>
                <a:latin typeface="Graphik"/>
                <a:ea typeface="+mn-ea"/>
                <a:cs typeface="+mn-cs"/>
              </a:endParaRPr>
            </a:p>
          </p:txBody>
        </p:sp>
        <p:sp>
          <p:nvSpPr>
            <p:cNvPr id="24" name="Rectangle 23">
              <a:extLst>
                <a:ext uri="{FF2B5EF4-FFF2-40B4-BE49-F238E27FC236}">
                  <a16:creationId xmlns:a16="http://schemas.microsoft.com/office/drawing/2014/main" id="{532438B9-E7FA-4035-8373-218F228277AC}"/>
                </a:ext>
              </a:extLst>
            </p:cNvPr>
            <p:cNvSpPr/>
            <p:nvPr/>
          </p:nvSpPr>
          <p:spPr bwMode="auto">
            <a:xfrm>
              <a:off x="3146807" y="2414304"/>
              <a:ext cx="3219061" cy="2976141"/>
            </a:xfrm>
            <a:prstGeom prst="rect">
              <a:avLst/>
            </a:prstGeom>
            <a:noFill/>
            <a:ln w="12700" algn="ctr">
              <a:solidFill>
                <a:srgbClr val="96968C"/>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sp>
          <p:nvSpPr>
            <p:cNvPr id="25" name="Freeform 3">
              <a:extLst>
                <a:ext uri="{FF2B5EF4-FFF2-40B4-BE49-F238E27FC236}">
                  <a16:creationId xmlns:a16="http://schemas.microsoft.com/office/drawing/2014/main" id="{146A336B-AB95-4867-82D5-9AD845F32333}"/>
                </a:ext>
              </a:extLst>
            </p:cNvPr>
            <p:cNvSpPr>
              <a:spLocks/>
            </p:cNvSpPr>
            <p:nvPr/>
          </p:nvSpPr>
          <p:spPr bwMode="auto">
            <a:xfrm>
              <a:off x="3143308" y="2049778"/>
              <a:ext cx="3409172" cy="3343955"/>
            </a:xfrm>
            <a:custGeom>
              <a:avLst/>
              <a:gdLst/>
              <a:ahLst/>
              <a:cxnLst>
                <a:cxn ang="0">
                  <a:pos x="0" y="0"/>
                </a:cxn>
                <a:cxn ang="0">
                  <a:pos x="0" y="764"/>
                </a:cxn>
                <a:cxn ang="0">
                  <a:pos x="1892" y="764"/>
                </a:cxn>
              </a:cxnLst>
              <a:rect l="0" t="0" r="r" b="b"/>
              <a:pathLst>
                <a:path w="1893" h="765">
                  <a:moveTo>
                    <a:pt x="0" y="0"/>
                  </a:moveTo>
                  <a:lnTo>
                    <a:pt x="0" y="764"/>
                  </a:lnTo>
                  <a:lnTo>
                    <a:pt x="1892" y="764"/>
                  </a:lnTo>
                </a:path>
              </a:pathLst>
            </a:custGeom>
            <a:noFill/>
            <a:ln w="12700" cap="rnd" cmpd="sng">
              <a:solidFill>
                <a:srgbClr val="000000"/>
              </a:solidFill>
              <a:prstDash val="solid"/>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3" name="Rectangle 2">
            <a:hlinkClick r:id="rId3" action="ppaction://hlinksldjump"/>
            <a:extLst>
              <a:ext uri="{FF2B5EF4-FFF2-40B4-BE49-F238E27FC236}">
                <a16:creationId xmlns:a16="http://schemas.microsoft.com/office/drawing/2014/main" id="{837525C9-C902-4E32-B648-7CE54038495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31739296"/>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Benefit Potential</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B8EA743-C602-4CED-A2FE-A61A7FB94A3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93" name="Rectangle 6">
            <a:extLst>
              <a:ext uri="{FF2B5EF4-FFF2-40B4-BE49-F238E27FC236}">
                <a16:creationId xmlns:a16="http://schemas.microsoft.com/office/drawing/2014/main" id="{20DFE7AC-0EC8-4A9F-BD16-90DAC8CF2B85}"/>
              </a:ext>
            </a:extLst>
          </p:cNvPr>
          <p:cNvSpPr>
            <a:spLocks noChangeArrowheads="1"/>
          </p:cNvSpPr>
          <p:nvPr/>
        </p:nvSpPr>
        <p:spPr bwMode="auto">
          <a:xfrm>
            <a:off x="3489120" y="1273932"/>
            <a:ext cx="2175553" cy="822325"/>
          </a:xfrm>
          <a:prstGeom prst="rect">
            <a:avLst/>
          </a:prstGeom>
          <a:noFill/>
          <a:ln w="12700" algn="ctr">
            <a:noFill/>
            <a:prstDash val="dash"/>
            <a:miter lim="800000"/>
            <a:headEnd/>
            <a:tailEnd/>
          </a:ln>
          <a:effectLst/>
        </p:spPr>
        <p:txBody>
          <a:bodyPr wrap="none" anchorCtr="1"/>
          <a:lstStyle/>
          <a:p>
            <a:pPr>
              <a:buClrTx/>
              <a:buSzTx/>
              <a:buFontTx/>
              <a:buNone/>
            </a:pPr>
            <a:r>
              <a:rPr lang="en-US" sz="1200" dirty="0"/>
              <a:t>Potential Annual Benefits</a:t>
            </a:r>
          </a:p>
        </p:txBody>
      </p:sp>
      <p:sp>
        <p:nvSpPr>
          <p:cNvPr id="94" name="Rectangle 12">
            <a:extLst>
              <a:ext uri="{FF2B5EF4-FFF2-40B4-BE49-F238E27FC236}">
                <a16:creationId xmlns:a16="http://schemas.microsoft.com/office/drawing/2014/main" id="{BA5FDD81-67DC-45B8-9763-EECD937F0301}"/>
              </a:ext>
            </a:extLst>
          </p:cNvPr>
          <p:cNvSpPr>
            <a:spLocks noChangeArrowheads="1"/>
          </p:cNvSpPr>
          <p:nvPr/>
        </p:nvSpPr>
        <p:spPr bwMode="auto">
          <a:xfrm>
            <a:off x="728026" y="2477257"/>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a:solidFill>
                  <a:schemeClr val="bg1"/>
                </a:solidFill>
              </a:rPr>
              <a:t>Text</a:t>
            </a:r>
          </a:p>
          <a:p>
            <a:pPr algn="ctr">
              <a:lnSpc>
                <a:spcPct val="90000"/>
              </a:lnSpc>
              <a:buClrTx/>
              <a:buSzTx/>
              <a:buFontTx/>
              <a:buNone/>
            </a:pPr>
            <a:r>
              <a:rPr lang="en-US" sz="1000" b="1">
                <a:solidFill>
                  <a:schemeClr val="bg1"/>
                </a:solidFill>
              </a:rPr>
              <a:t>XM - YM</a:t>
            </a:r>
            <a:endParaRPr lang="en-US" sz="1000" b="1" dirty="0">
              <a:solidFill>
                <a:schemeClr val="bg1"/>
              </a:solidFill>
            </a:endParaRPr>
          </a:p>
        </p:txBody>
      </p:sp>
      <p:sp>
        <p:nvSpPr>
          <p:cNvPr id="95" name="Rectangle 19">
            <a:extLst>
              <a:ext uri="{FF2B5EF4-FFF2-40B4-BE49-F238E27FC236}">
                <a16:creationId xmlns:a16="http://schemas.microsoft.com/office/drawing/2014/main" id="{223FFC23-FD54-478A-91BB-CC5084A876F3}"/>
              </a:ext>
            </a:extLst>
          </p:cNvPr>
          <p:cNvSpPr>
            <a:spLocks noChangeArrowheads="1"/>
          </p:cNvSpPr>
          <p:nvPr/>
        </p:nvSpPr>
        <p:spPr bwMode="auto">
          <a:xfrm>
            <a:off x="3455743" y="2477257"/>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dirty="0">
                <a:solidFill>
                  <a:schemeClr val="bg1"/>
                </a:solidFill>
              </a:rPr>
              <a:t>Text</a:t>
            </a:r>
          </a:p>
          <a:p>
            <a:pPr algn="ctr">
              <a:lnSpc>
                <a:spcPct val="90000"/>
              </a:lnSpc>
              <a:buClrTx/>
              <a:buSzTx/>
              <a:buFontTx/>
              <a:buNone/>
            </a:pPr>
            <a:r>
              <a:rPr lang="en-US" sz="1000" b="1" dirty="0">
                <a:solidFill>
                  <a:schemeClr val="bg1"/>
                </a:solidFill>
              </a:rPr>
              <a:t>XM - YM</a:t>
            </a:r>
          </a:p>
        </p:txBody>
      </p:sp>
      <p:sp>
        <p:nvSpPr>
          <p:cNvPr id="96" name="Rectangle 24">
            <a:extLst>
              <a:ext uri="{FF2B5EF4-FFF2-40B4-BE49-F238E27FC236}">
                <a16:creationId xmlns:a16="http://schemas.microsoft.com/office/drawing/2014/main" id="{073CD72C-FD12-49D2-912B-2F603149073E}"/>
              </a:ext>
            </a:extLst>
          </p:cNvPr>
          <p:cNvSpPr>
            <a:spLocks noChangeArrowheads="1"/>
          </p:cNvSpPr>
          <p:nvPr/>
        </p:nvSpPr>
        <p:spPr bwMode="auto">
          <a:xfrm>
            <a:off x="6290469" y="2477257"/>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a:solidFill>
                  <a:schemeClr val="bg1"/>
                </a:solidFill>
              </a:rPr>
              <a:t>Text</a:t>
            </a:r>
          </a:p>
          <a:p>
            <a:pPr algn="ctr">
              <a:lnSpc>
                <a:spcPct val="90000"/>
              </a:lnSpc>
              <a:buClrTx/>
              <a:buSzTx/>
              <a:buFontTx/>
              <a:buNone/>
            </a:pPr>
            <a:r>
              <a:rPr lang="en-US" sz="1000" b="1">
                <a:solidFill>
                  <a:schemeClr val="bg1"/>
                </a:solidFill>
              </a:rPr>
              <a:t>XM - YM</a:t>
            </a:r>
          </a:p>
        </p:txBody>
      </p:sp>
      <p:sp>
        <p:nvSpPr>
          <p:cNvPr id="97" name="Rectangle 28">
            <a:extLst>
              <a:ext uri="{FF2B5EF4-FFF2-40B4-BE49-F238E27FC236}">
                <a16:creationId xmlns:a16="http://schemas.microsoft.com/office/drawing/2014/main" id="{76CB40F4-6CD9-444C-A723-ED827294C375}"/>
              </a:ext>
            </a:extLst>
          </p:cNvPr>
          <p:cNvSpPr>
            <a:spLocks noChangeArrowheads="1"/>
          </p:cNvSpPr>
          <p:nvPr/>
        </p:nvSpPr>
        <p:spPr bwMode="auto">
          <a:xfrm>
            <a:off x="6290469" y="4531482"/>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a:solidFill>
                  <a:schemeClr val="bg1"/>
                </a:solidFill>
              </a:rPr>
              <a:t>Text</a:t>
            </a:r>
          </a:p>
          <a:p>
            <a:pPr algn="ctr">
              <a:lnSpc>
                <a:spcPct val="90000"/>
              </a:lnSpc>
              <a:buClrTx/>
              <a:buSzTx/>
              <a:buFontTx/>
              <a:buNone/>
            </a:pPr>
            <a:r>
              <a:rPr lang="en-US" sz="1000" b="1">
                <a:solidFill>
                  <a:schemeClr val="bg1"/>
                </a:solidFill>
              </a:rPr>
              <a:t>XM - YM</a:t>
            </a:r>
          </a:p>
        </p:txBody>
      </p:sp>
      <p:sp>
        <p:nvSpPr>
          <p:cNvPr id="98" name="Rectangle 33">
            <a:extLst>
              <a:ext uri="{FF2B5EF4-FFF2-40B4-BE49-F238E27FC236}">
                <a16:creationId xmlns:a16="http://schemas.microsoft.com/office/drawing/2014/main" id="{CD034483-2765-4FC0-BAA1-EC8AB31A8AD4}"/>
              </a:ext>
            </a:extLst>
          </p:cNvPr>
          <p:cNvSpPr>
            <a:spLocks noChangeArrowheads="1"/>
          </p:cNvSpPr>
          <p:nvPr/>
        </p:nvSpPr>
        <p:spPr bwMode="auto">
          <a:xfrm>
            <a:off x="3455743" y="4531482"/>
            <a:ext cx="2242306" cy="315913"/>
          </a:xfrm>
          <a:prstGeom prst="rect">
            <a:avLst/>
          </a:prstGeom>
          <a:solidFill>
            <a:schemeClr val="accent1"/>
          </a:solidFill>
          <a:ln w="12700">
            <a:noFill/>
            <a:miter lim="800000"/>
            <a:headEnd/>
            <a:tailEnd/>
          </a:ln>
          <a:effectLst/>
        </p:spPr>
        <p:txBody>
          <a:bodyPr lIns="53975" tIns="53975" rIns="53975" bIns="53975" anchor="ctr"/>
          <a:lstStyle/>
          <a:p>
            <a:pPr algn="ctr">
              <a:lnSpc>
                <a:spcPct val="90000"/>
              </a:lnSpc>
              <a:buClrTx/>
              <a:buSzTx/>
              <a:buFontTx/>
              <a:buNone/>
            </a:pPr>
            <a:r>
              <a:rPr lang="en-US" sz="1000" b="1">
                <a:solidFill>
                  <a:schemeClr val="bg1"/>
                </a:solidFill>
              </a:rPr>
              <a:t>Text</a:t>
            </a:r>
            <a:br>
              <a:rPr lang="en-US" sz="1000" b="1">
                <a:solidFill>
                  <a:schemeClr val="bg1"/>
                </a:solidFill>
              </a:rPr>
            </a:br>
            <a:r>
              <a:rPr lang="en-US" sz="1000" b="1">
                <a:solidFill>
                  <a:schemeClr val="bg1"/>
                </a:solidFill>
              </a:rPr>
              <a:t>XM - YM</a:t>
            </a:r>
          </a:p>
        </p:txBody>
      </p:sp>
      <p:sp>
        <p:nvSpPr>
          <p:cNvPr id="99" name="Rectangle 36">
            <a:extLst>
              <a:ext uri="{FF2B5EF4-FFF2-40B4-BE49-F238E27FC236}">
                <a16:creationId xmlns:a16="http://schemas.microsoft.com/office/drawing/2014/main" id="{5D2C3AC3-1C15-42A8-A621-55AE066A18F0}"/>
              </a:ext>
            </a:extLst>
          </p:cNvPr>
          <p:cNvSpPr>
            <a:spLocks noChangeArrowheads="1"/>
          </p:cNvSpPr>
          <p:nvPr/>
        </p:nvSpPr>
        <p:spPr bwMode="auto">
          <a:xfrm>
            <a:off x="728026" y="2847145"/>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endParaRPr lang="en-US" sz="900" dirty="0"/>
          </a:p>
        </p:txBody>
      </p:sp>
      <p:sp>
        <p:nvSpPr>
          <p:cNvPr id="100" name="Text Box 38">
            <a:extLst>
              <a:ext uri="{FF2B5EF4-FFF2-40B4-BE49-F238E27FC236}">
                <a16:creationId xmlns:a16="http://schemas.microsoft.com/office/drawing/2014/main" id="{54C1ADC3-D54E-46E7-9FFF-9095F7E3E06F}"/>
              </a:ext>
            </a:extLst>
          </p:cNvPr>
          <p:cNvSpPr txBox="1">
            <a:spLocks noChangeArrowheads="1"/>
          </p:cNvSpPr>
          <p:nvPr/>
        </p:nvSpPr>
        <p:spPr bwMode="auto">
          <a:xfrm>
            <a:off x="2293696" y="2997958"/>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dirty="0">
                <a:solidFill>
                  <a:srgbClr val="FFFFFF"/>
                </a:solidFill>
              </a:rPr>
              <a:t>YM</a:t>
            </a:r>
          </a:p>
        </p:txBody>
      </p:sp>
      <p:sp>
        <p:nvSpPr>
          <p:cNvPr id="101" name="Text Box 39">
            <a:extLst>
              <a:ext uri="{FF2B5EF4-FFF2-40B4-BE49-F238E27FC236}">
                <a16:creationId xmlns:a16="http://schemas.microsoft.com/office/drawing/2014/main" id="{7275BFAA-9D87-4FF5-9673-595AD806FD54}"/>
              </a:ext>
            </a:extLst>
          </p:cNvPr>
          <p:cNvSpPr txBox="1">
            <a:spLocks noChangeArrowheads="1"/>
          </p:cNvSpPr>
          <p:nvPr/>
        </p:nvSpPr>
        <p:spPr bwMode="auto">
          <a:xfrm>
            <a:off x="2293696" y="28471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dirty="0">
                <a:solidFill>
                  <a:schemeClr val="bg1"/>
                </a:solidFill>
              </a:rPr>
              <a:t>XM</a:t>
            </a:r>
          </a:p>
        </p:txBody>
      </p:sp>
      <p:sp>
        <p:nvSpPr>
          <p:cNvPr id="102" name="Rectangle 41">
            <a:extLst>
              <a:ext uri="{FF2B5EF4-FFF2-40B4-BE49-F238E27FC236}">
                <a16:creationId xmlns:a16="http://schemas.microsoft.com/office/drawing/2014/main" id="{14AD78C0-F20D-482B-9EB7-56A74B6FCA8F}"/>
              </a:ext>
            </a:extLst>
          </p:cNvPr>
          <p:cNvSpPr>
            <a:spLocks noChangeArrowheads="1"/>
          </p:cNvSpPr>
          <p:nvPr/>
        </p:nvSpPr>
        <p:spPr bwMode="auto">
          <a:xfrm>
            <a:off x="728026" y="319798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03" name="Text Box 43">
            <a:extLst>
              <a:ext uri="{FF2B5EF4-FFF2-40B4-BE49-F238E27FC236}">
                <a16:creationId xmlns:a16="http://schemas.microsoft.com/office/drawing/2014/main" id="{07EE990C-C63C-4BA8-AAC0-85137622AFC5}"/>
              </a:ext>
            </a:extLst>
          </p:cNvPr>
          <p:cNvSpPr txBox="1">
            <a:spLocks noChangeArrowheads="1"/>
          </p:cNvSpPr>
          <p:nvPr/>
        </p:nvSpPr>
        <p:spPr bwMode="auto">
          <a:xfrm>
            <a:off x="2293696" y="334879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04" name="Text Box 44">
            <a:extLst>
              <a:ext uri="{FF2B5EF4-FFF2-40B4-BE49-F238E27FC236}">
                <a16:creationId xmlns:a16="http://schemas.microsoft.com/office/drawing/2014/main" id="{DE24CA7E-4ED4-4721-91E1-0EA562A43B7D}"/>
              </a:ext>
            </a:extLst>
          </p:cNvPr>
          <p:cNvSpPr txBox="1">
            <a:spLocks noChangeArrowheads="1"/>
          </p:cNvSpPr>
          <p:nvPr/>
        </p:nvSpPr>
        <p:spPr bwMode="auto">
          <a:xfrm>
            <a:off x="2293696" y="319798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05" name="Rectangle 46">
            <a:extLst>
              <a:ext uri="{FF2B5EF4-FFF2-40B4-BE49-F238E27FC236}">
                <a16:creationId xmlns:a16="http://schemas.microsoft.com/office/drawing/2014/main" id="{5C2D11F3-3DAA-42F8-9725-33AC36189317}"/>
              </a:ext>
            </a:extLst>
          </p:cNvPr>
          <p:cNvSpPr>
            <a:spLocks noChangeArrowheads="1"/>
          </p:cNvSpPr>
          <p:nvPr/>
        </p:nvSpPr>
        <p:spPr bwMode="auto">
          <a:xfrm>
            <a:off x="728026" y="3550407"/>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06" name="Text Box 48">
            <a:extLst>
              <a:ext uri="{FF2B5EF4-FFF2-40B4-BE49-F238E27FC236}">
                <a16:creationId xmlns:a16="http://schemas.microsoft.com/office/drawing/2014/main" id="{84EECB80-9045-4CB0-A90C-CB6A3A2178C1}"/>
              </a:ext>
            </a:extLst>
          </p:cNvPr>
          <p:cNvSpPr txBox="1">
            <a:spLocks noChangeArrowheads="1"/>
          </p:cNvSpPr>
          <p:nvPr/>
        </p:nvSpPr>
        <p:spPr bwMode="auto">
          <a:xfrm>
            <a:off x="2293696" y="3701220"/>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07" name="Text Box 49">
            <a:extLst>
              <a:ext uri="{FF2B5EF4-FFF2-40B4-BE49-F238E27FC236}">
                <a16:creationId xmlns:a16="http://schemas.microsoft.com/office/drawing/2014/main" id="{DBF8C938-FDF5-49DD-B03B-2386B0188F81}"/>
              </a:ext>
            </a:extLst>
          </p:cNvPr>
          <p:cNvSpPr txBox="1">
            <a:spLocks noChangeArrowheads="1"/>
          </p:cNvSpPr>
          <p:nvPr/>
        </p:nvSpPr>
        <p:spPr bwMode="auto">
          <a:xfrm>
            <a:off x="2293696" y="3550407"/>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08" name="Rectangle 51">
            <a:extLst>
              <a:ext uri="{FF2B5EF4-FFF2-40B4-BE49-F238E27FC236}">
                <a16:creationId xmlns:a16="http://schemas.microsoft.com/office/drawing/2014/main" id="{827F6E60-EC87-4E95-8532-939470CA2BBC}"/>
              </a:ext>
            </a:extLst>
          </p:cNvPr>
          <p:cNvSpPr>
            <a:spLocks noChangeArrowheads="1"/>
          </p:cNvSpPr>
          <p:nvPr/>
        </p:nvSpPr>
        <p:spPr bwMode="auto">
          <a:xfrm>
            <a:off x="728026" y="390283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09" name="Text Box 53">
            <a:extLst>
              <a:ext uri="{FF2B5EF4-FFF2-40B4-BE49-F238E27FC236}">
                <a16:creationId xmlns:a16="http://schemas.microsoft.com/office/drawing/2014/main" id="{D431CE4B-DFF3-4939-BFD4-08D51322544B}"/>
              </a:ext>
            </a:extLst>
          </p:cNvPr>
          <p:cNvSpPr txBox="1">
            <a:spLocks noChangeArrowheads="1"/>
          </p:cNvSpPr>
          <p:nvPr/>
        </p:nvSpPr>
        <p:spPr bwMode="auto">
          <a:xfrm>
            <a:off x="2293696" y="405364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10" name="Text Box 54">
            <a:extLst>
              <a:ext uri="{FF2B5EF4-FFF2-40B4-BE49-F238E27FC236}">
                <a16:creationId xmlns:a16="http://schemas.microsoft.com/office/drawing/2014/main" id="{93C79F54-79FC-4B9E-AAA8-4F6C8D0AEBCB}"/>
              </a:ext>
            </a:extLst>
          </p:cNvPr>
          <p:cNvSpPr txBox="1">
            <a:spLocks noChangeArrowheads="1"/>
          </p:cNvSpPr>
          <p:nvPr/>
        </p:nvSpPr>
        <p:spPr bwMode="auto">
          <a:xfrm>
            <a:off x="2293696" y="390283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11" name="Rectangle 56">
            <a:extLst>
              <a:ext uri="{FF2B5EF4-FFF2-40B4-BE49-F238E27FC236}">
                <a16:creationId xmlns:a16="http://schemas.microsoft.com/office/drawing/2014/main" id="{1886E6D9-0E42-4925-AA26-3C41069AE9BC}"/>
              </a:ext>
            </a:extLst>
          </p:cNvPr>
          <p:cNvSpPr>
            <a:spLocks noChangeArrowheads="1"/>
          </p:cNvSpPr>
          <p:nvPr/>
        </p:nvSpPr>
        <p:spPr bwMode="auto">
          <a:xfrm>
            <a:off x="728026" y="4255257"/>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12" name="Text Box 58">
            <a:extLst>
              <a:ext uri="{FF2B5EF4-FFF2-40B4-BE49-F238E27FC236}">
                <a16:creationId xmlns:a16="http://schemas.microsoft.com/office/drawing/2014/main" id="{361B9D75-1B60-4187-860B-70FAE128BFEE}"/>
              </a:ext>
            </a:extLst>
          </p:cNvPr>
          <p:cNvSpPr txBox="1">
            <a:spLocks noChangeArrowheads="1"/>
          </p:cNvSpPr>
          <p:nvPr/>
        </p:nvSpPr>
        <p:spPr bwMode="auto">
          <a:xfrm>
            <a:off x="2293696" y="4406070"/>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13" name="Text Box 59">
            <a:extLst>
              <a:ext uri="{FF2B5EF4-FFF2-40B4-BE49-F238E27FC236}">
                <a16:creationId xmlns:a16="http://schemas.microsoft.com/office/drawing/2014/main" id="{9C33FDC1-C21A-4BDD-859F-B04F2B8439EC}"/>
              </a:ext>
            </a:extLst>
          </p:cNvPr>
          <p:cNvSpPr txBox="1">
            <a:spLocks noChangeArrowheads="1"/>
          </p:cNvSpPr>
          <p:nvPr/>
        </p:nvSpPr>
        <p:spPr bwMode="auto">
          <a:xfrm>
            <a:off x="2293696" y="4255257"/>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endParaRPr lang="en-US" sz="900" b="1" dirty="0">
              <a:solidFill>
                <a:schemeClr val="bg1"/>
              </a:solidFill>
            </a:endParaRPr>
          </a:p>
        </p:txBody>
      </p:sp>
      <p:sp>
        <p:nvSpPr>
          <p:cNvPr id="114" name="Rectangle 67">
            <a:extLst>
              <a:ext uri="{FF2B5EF4-FFF2-40B4-BE49-F238E27FC236}">
                <a16:creationId xmlns:a16="http://schemas.microsoft.com/office/drawing/2014/main" id="{A5FA37E6-FD18-4D67-8445-83C3A18D2900}"/>
              </a:ext>
            </a:extLst>
          </p:cNvPr>
          <p:cNvSpPr>
            <a:spLocks noChangeArrowheads="1"/>
          </p:cNvSpPr>
          <p:nvPr/>
        </p:nvSpPr>
        <p:spPr bwMode="auto">
          <a:xfrm>
            <a:off x="3455743" y="319798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15" name="Text Box 69">
            <a:extLst>
              <a:ext uri="{FF2B5EF4-FFF2-40B4-BE49-F238E27FC236}">
                <a16:creationId xmlns:a16="http://schemas.microsoft.com/office/drawing/2014/main" id="{B72B2D57-F9BD-4E1E-9ADD-FABFDEF3A12E}"/>
              </a:ext>
            </a:extLst>
          </p:cNvPr>
          <p:cNvSpPr txBox="1">
            <a:spLocks noChangeArrowheads="1"/>
          </p:cNvSpPr>
          <p:nvPr/>
        </p:nvSpPr>
        <p:spPr bwMode="auto">
          <a:xfrm>
            <a:off x="5021413" y="334879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16" name="Text Box 70">
            <a:extLst>
              <a:ext uri="{FF2B5EF4-FFF2-40B4-BE49-F238E27FC236}">
                <a16:creationId xmlns:a16="http://schemas.microsoft.com/office/drawing/2014/main" id="{C5E85D6B-3D44-44E2-8C5D-3411814D400B}"/>
              </a:ext>
            </a:extLst>
          </p:cNvPr>
          <p:cNvSpPr txBox="1">
            <a:spLocks noChangeArrowheads="1"/>
          </p:cNvSpPr>
          <p:nvPr/>
        </p:nvSpPr>
        <p:spPr bwMode="auto">
          <a:xfrm>
            <a:off x="5021413" y="319798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17" name="Rectangle 71">
            <a:extLst>
              <a:ext uri="{FF2B5EF4-FFF2-40B4-BE49-F238E27FC236}">
                <a16:creationId xmlns:a16="http://schemas.microsoft.com/office/drawing/2014/main" id="{3BD2A4A4-7032-4CA6-883B-49A0C50BE8D3}"/>
              </a:ext>
            </a:extLst>
          </p:cNvPr>
          <p:cNvSpPr>
            <a:spLocks noChangeArrowheads="1"/>
          </p:cNvSpPr>
          <p:nvPr/>
        </p:nvSpPr>
        <p:spPr bwMode="auto">
          <a:xfrm>
            <a:off x="3455743" y="3550407"/>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18" name="Text Box 73">
            <a:extLst>
              <a:ext uri="{FF2B5EF4-FFF2-40B4-BE49-F238E27FC236}">
                <a16:creationId xmlns:a16="http://schemas.microsoft.com/office/drawing/2014/main" id="{1D71768F-1F51-4A97-AE69-EC482A266645}"/>
              </a:ext>
            </a:extLst>
          </p:cNvPr>
          <p:cNvSpPr txBox="1">
            <a:spLocks noChangeArrowheads="1"/>
          </p:cNvSpPr>
          <p:nvPr/>
        </p:nvSpPr>
        <p:spPr bwMode="auto">
          <a:xfrm>
            <a:off x="5021413" y="3701220"/>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19" name="Text Box 74">
            <a:extLst>
              <a:ext uri="{FF2B5EF4-FFF2-40B4-BE49-F238E27FC236}">
                <a16:creationId xmlns:a16="http://schemas.microsoft.com/office/drawing/2014/main" id="{1EB0FD47-F023-46EB-84DE-FC3A68950627}"/>
              </a:ext>
            </a:extLst>
          </p:cNvPr>
          <p:cNvSpPr txBox="1">
            <a:spLocks noChangeArrowheads="1"/>
          </p:cNvSpPr>
          <p:nvPr/>
        </p:nvSpPr>
        <p:spPr bwMode="auto">
          <a:xfrm>
            <a:off x="5021413" y="3550407"/>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dirty="0">
                <a:solidFill>
                  <a:schemeClr val="bg1"/>
                </a:solidFill>
              </a:rPr>
              <a:t>XM</a:t>
            </a:r>
          </a:p>
        </p:txBody>
      </p:sp>
      <p:sp>
        <p:nvSpPr>
          <p:cNvPr id="120" name="Rectangle 81">
            <a:extLst>
              <a:ext uri="{FF2B5EF4-FFF2-40B4-BE49-F238E27FC236}">
                <a16:creationId xmlns:a16="http://schemas.microsoft.com/office/drawing/2014/main" id="{AD1929CC-D38E-4E56-BAE0-1DE0440465C1}"/>
              </a:ext>
            </a:extLst>
          </p:cNvPr>
          <p:cNvSpPr>
            <a:spLocks noChangeArrowheads="1"/>
          </p:cNvSpPr>
          <p:nvPr/>
        </p:nvSpPr>
        <p:spPr bwMode="auto">
          <a:xfrm>
            <a:off x="6290469" y="2847145"/>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21" name="Text Box 83">
            <a:extLst>
              <a:ext uri="{FF2B5EF4-FFF2-40B4-BE49-F238E27FC236}">
                <a16:creationId xmlns:a16="http://schemas.microsoft.com/office/drawing/2014/main" id="{6DDE5EF1-3391-4BED-AAB0-8722C55A3399}"/>
              </a:ext>
            </a:extLst>
          </p:cNvPr>
          <p:cNvSpPr txBox="1">
            <a:spLocks noChangeArrowheads="1"/>
          </p:cNvSpPr>
          <p:nvPr/>
        </p:nvSpPr>
        <p:spPr bwMode="auto">
          <a:xfrm>
            <a:off x="7856138" y="2997958"/>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22" name="Text Box 84">
            <a:extLst>
              <a:ext uri="{FF2B5EF4-FFF2-40B4-BE49-F238E27FC236}">
                <a16:creationId xmlns:a16="http://schemas.microsoft.com/office/drawing/2014/main" id="{F18DF9E2-C44D-49C9-A2C9-92025542C405}"/>
              </a:ext>
            </a:extLst>
          </p:cNvPr>
          <p:cNvSpPr txBox="1">
            <a:spLocks noChangeArrowheads="1"/>
          </p:cNvSpPr>
          <p:nvPr/>
        </p:nvSpPr>
        <p:spPr bwMode="auto">
          <a:xfrm>
            <a:off x="7856138" y="28471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endParaRPr lang="en-US" sz="900" b="1" dirty="0">
              <a:solidFill>
                <a:schemeClr val="bg1"/>
              </a:solidFill>
            </a:endParaRPr>
          </a:p>
        </p:txBody>
      </p:sp>
      <p:sp>
        <p:nvSpPr>
          <p:cNvPr id="123" name="Rectangle 86">
            <a:extLst>
              <a:ext uri="{FF2B5EF4-FFF2-40B4-BE49-F238E27FC236}">
                <a16:creationId xmlns:a16="http://schemas.microsoft.com/office/drawing/2014/main" id="{BF692AF1-13B8-4337-AC39-0FB5CA07B1B7}"/>
              </a:ext>
            </a:extLst>
          </p:cNvPr>
          <p:cNvSpPr>
            <a:spLocks noChangeArrowheads="1"/>
          </p:cNvSpPr>
          <p:nvPr/>
        </p:nvSpPr>
        <p:spPr bwMode="auto">
          <a:xfrm>
            <a:off x="6290469" y="319798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24" name="Text Box 88">
            <a:extLst>
              <a:ext uri="{FF2B5EF4-FFF2-40B4-BE49-F238E27FC236}">
                <a16:creationId xmlns:a16="http://schemas.microsoft.com/office/drawing/2014/main" id="{0E67B7E6-72DE-4672-82B3-476665A1A628}"/>
              </a:ext>
            </a:extLst>
          </p:cNvPr>
          <p:cNvSpPr txBox="1">
            <a:spLocks noChangeArrowheads="1"/>
          </p:cNvSpPr>
          <p:nvPr/>
        </p:nvSpPr>
        <p:spPr bwMode="auto">
          <a:xfrm>
            <a:off x="7856138" y="334879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25" name="Text Box 89">
            <a:extLst>
              <a:ext uri="{FF2B5EF4-FFF2-40B4-BE49-F238E27FC236}">
                <a16:creationId xmlns:a16="http://schemas.microsoft.com/office/drawing/2014/main" id="{BCBE1DC0-5978-497D-A2AB-51537F4D9674}"/>
              </a:ext>
            </a:extLst>
          </p:cNvPr>
          <p:cNvSpPr txBox="1">
            <a:spLocks noChangeArrowheads="1"/>
          </p:cNvSpPr>
          <p:nvPr/>
        </p:nvSpPr>
        <p:spPr bwMode="auto">
          <a:xfrm>
            <a:off x="7856138" y="319798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26" name="Rectangle 91">
            <a:extLst>
              <a:ext uri="{FF2B5EF4-FFF2-40B4-BE49-F238E27FC236}">
                <a16:creationId xmlns:a16="http://schemas.microsoft.com/office/drawing/2014/main" id="{D84C6124-E379-463C-9745-E6BEC9E371D5}"/>
              </a:ext>
            </a:extLst>
          </p:cNvPr>
          <p:cNvSpPr>
            <a:spLocks noChangeArrowheads="1"/>
          </p:cNvSpPr>
          <p:nvPr/>
        </p:nvSpPr>
        <p:spPr bwMode="auto">
          <a:xfrm>
            <a:off x="6290469" y="3550407"/>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27" name="Text Box 93">
            <a:extLst>
              <a:ext uri="{FF2B5EF4-FFF2-40B4-BE49-F238E27FC236}">
                <a16:creationId xmlns:a16="http://schemas.microsoft.com/office/drawing/2014/main" id="{1DD30285-8CBF-476B-B997-9EAA942C99F6}"/>
              </a:ext>
            </a:extLst>
          </p:cNvPr>
          <p:cNvSpPr txBox="1">
            <a:spLocks noChangeArrowheads="1"/>
          </p:cNvSpPr>
          <p:nvPr/>
        </p:nvSpPr>
        <p:spPr bwMode="auto">
          <a:xfrm>
            <a:off x="7856138" y="3701220"/>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28" name="Text Box 94">
            <a:extLst>
              <a:ext uri="{FF2B5EF4-FFF2-40B4-BE49-F238E27FC236}">
                <a16:creationId xmlns:a16="http://schemas.microsoft.com/office/drawing/2014/main" id="{06268098-12E1-4F3B-B8C6-42981980DDAB}"/>
              </a:ext>
            </a:extLst>
          </p:cNvPr>
          <p:cNvSpPr txBox="1">
            <a:spLocks noChangeArrowheads="1"/>
          </p:cNvSpPr>
          <p:nvPr/>
        </p:nvSpPr>
        <p:spPr bwMode="auto">
          <a:xfrm>
            <a:off x="7856138" y="3550407"/>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dirty="0">
                <a:solidFill>
                  <a:schemeClr val="bg1"/>
                </a:solidFill>
              </a:rPr>
              <a:t>XM</a:t>
            </a:r>
          </a:p>
        </p:txBody>
      </p:sp>
      <p:sp>
        <p:nvSpPr>
          <p:cNvPr id="129" name="Rectangle 101">
            <a:extLst>
              <a:ext uri="{FF2B5EF4-FFF2-40B4-BE49-F238E27FC236}">
                <a16:creationId xmlns:a16="http://schemas.microsoft.com/office/drawing/2014/main" id="{493D57C2-90B1-4927-8B2B-3D7366711C71}"/>
              </a:ext>
            </a:extLst>
          </p:cNvPr>
          <p:cNvSpPr>
            <a:spLocks noChangeArrowheads="1"/>
          </p:cNvSpPr>
          <p:nvPr/>
        </p:nvSpPr>
        <p:spPr bwMode="auto">
          <a:xfrm>
            <a:off x="3455743" y="4891845"/>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30" name="Text Box 103">
            <a:extLst>
              <a:ext uri="{FF2B5EF4-FFF2-40B4-BE49-F238E27FC236}">
                <a16:creationId xmlns:a16="http://schemas.microsoft.com/office/drawing/2014/main" id="{2C7FB938-A916-483B-9ED2-BD5C1FB5C5A8}"/>
              </a:ext>
            </a:extLst>
          </p:cNvPr>
          <p:cNvSpPr txBox="1">
            <a:spLocks noChangeArrowheads="1"/>
          </p:cNvSpPr>
          <p:nvPr/>
        </p:nvSpPr>
        <p:spPr bwMode="auto">
          <a:xfrm>
            <a:off x="5021413" y="5042658"/>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31" name="Text Box 104">
            <a:extLst>
              <a:ext uri="{FF2B5EF4-FFF2-40B4-BE49-F238E27FC236}">
                <a16:creationId xmlns:a16="http://schemas.microsoft.com/office/drawing/2014/main" id="{CB3D7A3E-2329-4C66-AE18-16BA6BD1A8B1}"/>
              </a:ext>
            </a:extLst>
          </p:cNvPr>
          <p:cNvSpPr txBox="1">
            <a:spLocks noChangeArrowheads="1"/>
          </p:cNvSpPr>
          <p:nvPr/>
        </p:nvSpPr>
        <p:spPr bwMode="auto">
          <a:xfrm>
            <a:off x="5021413" y="48918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32" name="Rectangle 106">
            <a:extLst>
              <a:ext uri="{FF2B5EF4-FFF2-40B4-BE49-F238E27FC236}">
                <a16:creationId xmlns:a16="http://schemas.microsoft.com/office/drawing/2014/main" id="{3DDA02D6-4CAF-4742-989B-2A3DCA34EC69}"/>
              </a:ext>
            </a:extLst>
          </p:cNvPr>
          <p:cNvSpPr>
            <a:spLocks noChangeArrowheads="1"/>
          </p:cNvSpPr>
          <p:nvPr/>
        </p:nvSpPr>
        <p:spPr bwMode="auto">
          <a:xfrm>
            <a:off x="3455743" y="5242682"/>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33" name="Text Box 108">
            <a:extLst>
              <a:ext uri="{FF2B5EF4-FFF2-40B4-BE49-F238E27FC236}">
                <a16:creationId xmlns:a16="http://schemas.microsoft.com/office/drawing/2014/main" id="{D0425988-F368-4ECF-AE7D-62F5EB801C14}"/>
              </a:ext>
            </a:extLst>
          </p:cNvPr>
          <p:cNvSpPr txBox="1">
            <a:spLocks noChangeArrowheads="1"/>
          </p:cNvSpPr>
          <p:nvPr/>
        </p:nvSpPr>
        <p:spPr bwMode="auto">
          <a:xfrm>
            <a:off x="5021413" y="5393495"/>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dirty="0">
                <a:solidFill>
                  <a:srgbClr val="FFFFFF"/>
                </a:solidFill>
              </a:rPr>
              <a:t>YM</a:t>
            </a:r>
          </a:p>
        </p:txBody>
      </p:sp>
      <p:sp>
        <p:nvSpPr>
          <p:cNvPr id="134" name="Text Box 109">
            <a:extLst>
              <a:ext uri="{FF2B5EF4-FFF2-40B4-BE49-F238E27FC236}">
                <a16:creationId xmlns:a16="http://schemas.microsoft.com/office/drawing/2014/main" id="{642DF04D-8AC9-4464-BACA-2540BBC5E5CE}"/>
              </a:ext>
            </a:extLst>
          </p:cNvPr>
          <p:cNvSpPr txBox="1">
            <a:spLocks noChangeArrowheads="1"/>
          </p:cNvSpPr>
          <p:nvPr/>
        </p:nvSpPr>
        <p:spPr bwMode="auto">
          <a:xfrm>
            <a:off x="5021413" y="5242682"/>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35" name="Rectangle 126">
            <a:extLst>
              <a:ext uri="{FF2B5EF4-FFF2-40B4-BE49-F238E27FC236}">
                <a16:creationId xmlns:a16="http://schemas.microsoft.com/office/drawing/2014/main" id="{28A60512-B227-41FA-B82F-64A1EC6FCB62}"/>
              </a:ext>
            </a:extLst>
          </p:cNvPr>
          <p:cNvSpPr>
            <a:spLocks noChangeArrowheads="1"/>
          </p:cNvSpPr>
          <p:nvPr/>
        </p:nvSpPr>
        <p:spPr bwMode="auto">
          <a:xfrm>
            <a:off x="6290469" y="4891845"/>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36" name="Text Box 128">
            <a:extLst>
              <a:ext uri="{FF2B5EF4-FFF2-40B4-BE49-F238E27FC236}">
                <a16:creationId xmlns:a16="http://schemas.microsoft.com/office/drawing/2014/main" id="{7D8916D9-431A-4396-8D21-2594012238CF}"/>
              </a:ext>
            </a:extLst>
          </p:cNvPr>
          <p:cNvSpPr txBox="1">
            <a:spLocks noChangeArrowheads="1"/>
          </p:cNvSpPr>
          <p:nvPr/>
        </p:nvSpPr>
        <p:spPr bwMode="auto">
          <a:xfrm>
            <a:off x="7856138" y="5042658"/>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37" name="Text Box 129">
            <a:extLst>
              <a:ext uri="{FF2B5EF4-FFF2-40B4-BE49-F238E27FC236}">
                <a16:creationId xmlns:a16="http://schemas.microsoft.com/office/drawing/2014/main" id="{FE74FA37-FC1A-4C99-A6B8-94A68EAE62B8}"/>
              </a:ext>
            </a:extLst>
          </p:cNvPr>
          <p:cNvSpPr txBox="1">
            <a:spLocks noChangeArrowheads="1"/>
          </p:cNvSpPr>
          <p:nvPr/>
        </p:nvSpPr>
        <p:spPr bwMode="auto">
          <a:xfrm>
            <a:off x="7856138" y="48918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38" name="Rectangle 131">
            <a:extLst>
              <a:ext uri="{FF2B5EF4-FFF2-40B4-BE49-F238E27FC236}">
                <a16:creationId xmlns:a16="http://schemas.microsoft.com/office/drawing/2014/main" id="{7237A673-6768-473B-8E41-18350D9DA5CE}"/>
              </a:ext>
            </a:extLst>
          </p:cNvPr>
          <p:cNvSpPr>
            <a:spLocks noChangeArrowheads="1"/>
          </p:cNvSpPr>
          <p:nvPr/>
        </p:nvSpPr>
        <p:spPr bwMode="auto">
          <a:xfrm>
            <a:off x="6290469" y="5244270"/>
            <a:ext cx="2242306"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39" name="Text Box 133">
            <a:extLst>
              <a:ext uri="{FF2B5EF4-FFF2-40B4-BE49-F238E27FC236}">
                <a16:creationId xmlns:a16="http://schemas.microsoft.com/office/drawing/2014/main" id="{59FBF60A-4F59-437D-B481-61F3776A8EB3}"/>
              </a:ext>
            </a:extLst>
          </p:cNvPr>
          <p:cNvSpPr txBox="1">
            <a:spLocks noChangeArrowheads="1"/>
          </p:cNvSpPr>
          <p:nvPr/>
        </p:nvSpPr>
        <p:spPr bwMode="auto">
          <a:xfrm>
            <a:off x="7856138" y="5395082"/>
            <a:ext cx="676636" cy="150813"/>
          </a:xfrm>
          <a:prstGeom prst="rect">
            <a:avLst/>
          </a:prstGeom>
          <a:solidFill>
            <a:schemeClr val="accent3"/>
          </a:solidFill>
          <a:ln w="12700">
            <a:noFill/>
            <a:miter lim="800000"/>
            <a:headEnd/>
            <a:tailEnd/>
          </a:ln>
          <a:effectLst/>
        </p:spPr>
        <p:txBody>
          <a:bodyPr anchor="ctr"/>
          <a:lstStyle/>
          <a:p>
            <a:pPr algn="ctr" eaLnBrk="0" hangingPunct="0">
              <a:buClrTx/>
              <a:buSzTx/>
              <a:buFontTx/>
              <a:buNone/>
            </a:pPr>
            <a:r>
              <a:rPr lang="en-US" sz="900" b="1">
                <a:solidFill>
                  <a:srgbClr val="FFFFFF"/>
                </a:solidFill>
              </a:rPr>
              <a:t>YM</a:t>
            </a:r>
          </a:p>
        </p:txBody>
      </p:sp>
      <p:sp>
        <p:nvSpPr>
          <p:cNvPr id="140" name="Text Box 134">
            <a:extLst>
              <a:ext uri="{FF2B5EF4-FFF2-40B4-BE49-F238E27FC236}">
                <a16:creationId xmlns:a16="http://schemas.microsoft.com/office/drawing/2014/main" id="{D45C2B70-39A0-47E4-8B75-CA775E41E318}"/>
              </a:ext>
            </a:extLst>
          </p:cNvPr>
          <p:cNvSpPr txBox="1">
            <a:spLocks noChangeArrowheads="1"/>
          </p:cNvSpPr>
          <p:nvPr/>
        </p:nvSpPr>
        <p:spPr bwMode="auto">
          <a:xfrm>
            <a:off x="7856138" y="5242682"/>
            <a:ext cx="676636" cy="152400"/>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
        <p:nvSpPr>
          <p:cNvPr id="141" name="Text Box 141">
            <a:extLst>
              <a:ext uri="{FF2B5EF4-FFF2-40B4-BE49-F238E27FC236}">
                <a16:creationId xmlns:a16="http://schemas.microsoft.com/office/drawing/2014/main" id="{CB785CB4-F392-4407-96CB-ACC5870D2B1B}"/>
              </a:ext>
            </a:extLst>
          </p:cNvPr>
          <p:cNvSpPr txBox="1">
            <a:spLocks noChangeArrowheads="1"/>
          </p:cNvSpPr>
          <p:nvPr/>
        </p:nvSpPr>
        <p:spPr bwMode="auto">
          <a:xfrm>
            <a:off x="3681794" y="1607307"/>
            <a:ext cx="838969" cy="188913"/>
          </a:xfrm>
          <a:prstGeom prst="rect">
            <a:avLst/>
          </a:prstGeom>
          <a:solidFill>
            <a:schemeClr val="accent2"/>
          </a:solidFill>
          <a:ln w="12700">
            <a:noFill/>
            <a:miter lim="800000"/>
            <a:headEnd/>
            <a:tailEnd/>
          </a:ln>
          <a:effectLst/>
        </p:spPr>
        <p:txBody>
          <a:bodyPr wrap="none" anchor="ctr"/>
          <a:lstStyle/>
          <a:p>
            <a:pPr algn="ctr" eaLnBrk="0" hangingPunct="0">
              <a:buClrTx/>
              <a:buSzTx/>
              <a:buFontTx/>
              <a:buNone/>
            </a:pPr>
            <a:r>
              <a:rPr lang="en-US" sz="1200" b="1" dirty="0">
                <a:solidFill>
                  <a:schemeClr val="bg1"/>
                </a:solidFill>
              </a:rPr>
              <a:t>XXM</a:t>
            </a:r>
          </a:p>
        </p:txBody>
      </p:sp>
      <p:sp>
        <p:nvSpPr>
          <p:cNvPr id="142" name="Text Box 142">
            <a:extLst>
              <a:ext uri="{FF2B5EF4-FFF2-40B4-BE49-F238E27FC236}">
                <a16:creationId xmlns:a16="http://schemas.microsoft.com/office/drawing/2014/main" id="{1A5FDBC2-73AF-4637-895B-0BD212447D3E}"/>
              </a:ext>
            </a:extLst>
          </p:cNvPr>
          <p:cNvSpPr txBox="1">
            <a:spLocks noChangeArrowheads="1"/>
          </p:cNvSpPr>
          <p:nvPr/>
        </p:nvSpPr>
        <p:spPr bwMode="auto">
          <a:xfrm>
            <a:off x="3681794" y="1796220"/>
            <a:ext cx="838969" cy="188913"/>
          </a:xfrm>
          <a:prstGeom prst="rect">
            <a:avLst/>
          </a:prstGeom>
          <a:solidFill>
            <a:schemeClr val="accent3"/>
          </a:solidFill>
          <a:ln w="12700">
            <a:noFill/>
            <a:miter lim="800000"/>
            <a:headEnd/>
            <a:tailEnd/>
          </a:ln>
          <a:effectLst/>
        </p:spPr>
        <p:txBody>
          <a:bodyPr wrap="none" anchor="ctr"/>
          <a:lstStyle/>
          <a:p>
            <a:pPr algn="ctr" eaLnBrk="0" hangingPunct="0">
              <a:buClrTx/>
              <a:buSzTx/>
              <a:buFontTx/>
              <a:buNone/>
            </a:pPr>
            <a:r>
              <a:rPr lang="en-US" sz="1200" b="1">
                <a:solidFill>
                  <a:schemeClr val="bg1"/>
                </a:solidFill>
              </a:rPr>
              <a:t>YYM</a:t>
            </a:r>
          </a:p>
        </p:txBody>
      </p:sp>
      <p:sp>
        <p:nvSpPr>
          <p:cNvPr id="143" name="AutoShape 144">
            <a:extLst>
              <a:ext uri="{FF2B5EF4-FFF2-40B4-BE49-F238E27FC236}">
                <a16:creationId xmlns:a16="http://schemas.microsoft.com/office/drawing/2014/main" id="{09FD2148-83E9-4BF9-9DAE-134564EC149D}"/>
              </a:ext>
            </a:extLst>
          </p:cNvPr>
          <p:cNvSpPr>
            <a:spLocks noChangeArrowheads="1"/>
          </p:cNvSpPr>
          <p:nvPr/>
        </p:nvSpPr>
        <p:spPr bwMode="auto">
          <a:xfrm rot="16200000">
            <a:off x="4960148" y="1281756"/>
            <a:ext cx="188913" cy="842003"/>
          </a:xfrm>
          <a:prstGeom prst="flowChartDelay">
            <a:avLst/>
          </a:prstGeom>
          <a:solidFill>
            <a:schemeClr val="accent2"/>
          </a:solidFill>
          <a:ln w="12700" algn="ctr">
            <a:noFill/>
            <a:miter lim="800000"/>
            <a:headEnd/>
            <a:tailEnd/>
          </a:ln>
          <a:effectLst/>
        </p:spPr>
        <p:txBody>
          <a:bodyPr vert="eaVert" anchor="ctr"/>
          <a:lstStyle/>
          <a:p>
            <a:pPr algn="ctr" eaLnBrk="0" hangingPunct="0">
              <a:buClrTx/>
              <a:buSzTx/>
              <a:buFontTx/>
              <a:buNone/>
            </a:pPr>
            <a:r>
              <a:rPr lang="en-US" sz="1200" b="1" dirty="0">
                <a:solidFill>
                  <a:schemeClr val="bg1"/>
                </a:solidFill>
              </a:rPr>
              <a:t>XXM</a:t>
            </a:r>
          </a:p>
        </p:txBody>
      </p:sp>
      <p:sp>
        <p:nvSpPr>
          <p:cNvPr id="144" name="AutoShape 145">
            <a:extLst>
              <a:ext uri="{FF2B5EF4-FFF2-40B4-BE49-F238E27FC236}">
                <a16:creationId xmlns:a16="http://schemas.microsoft.com/office/drawing/2014/main" id="{E44A80D6-D8E8-4150-82C0-F8AA320A88A2}"/>
              </a:ext>
            </a:extLst>
          </p:cNvPr>
          <p:cNvSpPr>
            <a:spLocks noChangeArrowheads="1"/>
          </p:cNvSpPr>
          <p:nvPr/>
        </p:nvSpPr>
        <p:spPr bwMode="auto">
          <a:xfrm rot="5400000" flipV="1">
            <a:off x="4960148" y="1470669"/>
            <a:ext cx="188913" cy="842003"/>
          </a:xfrm>
          <a:prstGeom prst="flowChartDelay">
            <a:avLst/>
          </a:prstGeom>
          <a:solidFill>
            <a:schemeClr val="accent3"/>
          </a:solidFill>
          <a:ln w="12700" algn="ctr">
            <a:noFill/>
            <a:miter lim="800000"/>
            <a:headEnd/>
            <a:tailEnd/>
          </a:ln>
          <a:effectLst/>
        </p:spPr>
        <p:txBody>
          <a:bodyPr vert="eaVert" anchor="ctr"/>
          <a:lstStyle/>
          <a:p>
            <a:pPr algn="ctr" eaLnBrk="0" hangingPunct="0">
              <a:buClrTx/>
              <a:buSzTx/>
              <a:buFontTx/>
              <a:buNone/>
            </a:pPr>
            <a:r>
              <a:rPr lang="en-US" sz="1200" b="1">
                <a:solidFill>
                  <a:schemeClr val="bg1"/>
                </a:solidFill>
              </a:rPr>
              <a:t>YYM</a:t>
            </a:r>
          </a:p>
        </p:txBody>
      </p:sp>
      <p:grpSp>
        <p:nvGrpSpPr>
          <p:cNvPr id="145" name="Group 156">
            <a:extLst>
              <a:ext uri="{FF2B5EF4-FFF2-40B4-BE49-F238E27FC236}">
                <a16:creationId xmlns:a16="http://schemas.microsoft.com/office/drawing/2014/main" id="{BC3304BF-E958-4113-9C10-A535109F1D23}"/>
              </a:ext>
            </a:extLst>
          </p:cNvPr>
          <p:cNvGrpSpPr>
            <a:grpSpLocks/>
          </p:cNvGrpSpPr>
          <p:nvPr/>
        </p:nvGrpSpPr>
        <p:grpSpPr bwMode="auto">
          <a:xfrm>
            <a:off x="4237061" y="2204207"/>
            <a:ext cx="675120" cy="165100"/>
            <a:chOff x="2656" y="1150"/>
            <a:chExt cx="445" cy="104"/>
          </a:xfrm>
        </p:grpSpPr>
        <p:sp>
          <p:nvSpPr>
            <p:cNvPr id="146" name="Rectangle 157">
              <a:extLst>
                <a:ext uri="{FF2B5EF4-FFF2-40B4-BE49-F238E27FC236}">
                  <a16:creationId xmlns:a16="http://schemas.microsoft.com/office/drawing/2014/main" id="{4C71B250-EF32-47D8-A17B-0B80D8E8AF72}"/>
                </a:ext>
              </a:extLst>
            </p:cNvPr>
            <p:cNvSpPr>
              <a:spLocks noChangeArrowheads="1"/>
            </p:cNvSpPr>
            <p:nvPr/>
          </p:nvSpPr>
          <p:spPr bwMode="auto">
            <a:xfrm>
              <a:off x="2656" y="1150"/>
              <a:ext cx="106" cy="104"/>
            </a:xfrm>
            <a:prstGeom prst="rect">
              <a:avLst/>
            </a:prstGeom>
            <a:noFill/>
            <a:ln w="12700" algn="ctr">
              <a:noFill/>
              <a:miter lim="800000"/>
              <a:headEnd/>
              <a:tailEnd/>
            </a:ln>
            <a:effectLst/>
          </p:spPr>
          <p:txBody>
            <a:bodyPr wrap="none" lIns="72000" tIns="72000" rIns="72000" bIns="72000" anchor="ctr"/>
            <a:lstStyle/>
            <a:p>
              <a:pPr>
                <a:buClr>
                  <a:schemeClr val="tx2"/>
                </a:buClr>
                <a:buSzPct val="85000"/>
              </a:pPr>
              <a:endParaRPr lang="en-US" sz="1400"/>
            </a:p>
          </p:txBody>
        </p:sp>
        <p:sp>
          <p:nvSpPr>
            <p:cNvPr id="147" name="Rectangle 158">
              <a:extLst>
                <a:ext uri="{FF2B5EF4-FFF2-40B4-BE49-F238E27FC236}">
                  <a16:creationId xmlns:a16="http://schemas.microsoft.com/office/drawing/2014/main" id="{ADF4C742-2157-47AA-8AB5-436A518D58AB}"/>
                </a:ext>
              </a:extLst>
            </p:cNvPr>
            <p:cNvSpPr>
              <a:spLocks noChangeArrowheads="1"/>
            </p:cNvSpPr>
            <p:nvPr/>
          </p:nvSpPr>
          <p:spPr bwMode="auto">
            <a:xfrm>
              <a:off x="2995" y="1150"/>
              <a:ext cx="106" cy="104"/>
            </a:xfrm>
            <a:prstGeom prst="rect">
              <a:avLst/>
            </a:prstGeom>
            <a:noFill/>
            <a:ln w="12700" algn="ctr">
              <a:noFill/>
              <a:miter lim="800000"/>
              <a:headEnd/>
              <a:tailEnd/>
            </a:ln>
            <a:effectLst/>
          </p:spPr>
          <p:txBody>
            <a:bodyPr wrap="none" lIns="72000" tIns="72000" rIns="72000" bIns="72000" anchor="ctr"/>
            <a:lstStyle/>
            <a:p>
              <a:pPr>
                <a:buClr>
                  <a:schemeClr val="tx2"/>
                </a:buClr>
                <a:buSzPct val="85000"/>
              </a:pPr>
              <a:endParaRPr lang="en-US" sz="1400"/>
            </a:p>
          </p:txBody>
        </p:sp>
      </p:grpSp>
      <p:sp>
        <p:nvSpPr>
          <p:cNvPr id="148" name="Text Box 166">
            <a:extLst>
              <a:ext uri="{FF2B5EF4-FFF2-40B4-BE49-F238E27FC236}">
                <a16:creationId xmlns:a16="http://schemas.microsoft.com/office/drawing/2014/main" id="{E0A4314F-5CC1-478C-8987-821F8EED7EEF}"/>
              </a:ext>
            </a:extLst>
          </p:cNvPr>
          <p:cNvSpPr txBox="1">
            <a:spLocks noChangeArrowheads="1"/>
          </p:cNvSpPr>
          <p:nvPr/>
        </p:nvSpPr>
        <p:spPr bwMode="auto">
          <a:xfrm>
            <a:off x="7181795" y="1333500"/>
            <a:ext cx="1566669" cy="188913"/>
          </a:xfrm>
          <a:prstGeom prst="rect">
            <a:avLst/>
          </a:prstGeom>
          <a:noFill/>
          <a:ln w="12700">
            <a:noFill/>
            <a:miter lim="800000"/>
            <a:headEnd/>
            <a:tailEnd/>
          </a:ln>
          <a:effectLst>
            <a:prstShdw prst="shdw17" dist="17961" dir="2700000">
              <a:srgbClr val="CCFFFF">
                <a:gamma/>
                <a:shade val="60000"/>
                <a:invGamma/>
              </a:srgbClr>
            </a:prstShdw>
          </a:effectLst>
        </p:spPr>
        <p:txBody>
          <a:bodyPr lIns="0" tIns="0" rIns="0" bIns="0" anchor="ctr"/>
          <a:lstStyle/>
          <a:p>
            <a:pPr algn="l" eaLnBrk="0" hangingPunct="0">
              <a:buClrTx/>
              <a:buSzTx/>
              <a:buFontTx/>
              <a:buNone/>
            </a:pPr>
            <a:r>
              <a:rPr lang="en-US" sz="1100" dirty="0">
                <a:sym typeface="Wingdings" pitchFamily="2" charset="2"/>
              </a:rPr>
              <a:t>Conservative Estimate</a:t>
            </a:r>
            <a:endParaRPr lang="en-US" sz="1100" dirty="0"/>
          </a:p>
        </p:txBody>
      </p:sp>
      <p:sp>
        <p:nvSpPr>
          <p:cNvPr id="149" name="Text Box 167">
            <a:extLst>
              <a:ext uri="{FF2B5EF4-FFF2-40B4-BE49-F238E27FC236}">
                <a16:creationId xmlns:a16="http://schemas.microsoft.com/office/drawing/2014/main" id="{5901D853-19D6-48D9-8ED2-67684026E32E}"/>
              </a:ext>
            </a:extLst>
          </p:cNvPr>
          <p:cNvSpPr txBox="1">
            <a:spLocks noChangeArrowheads="1"/>
          </p:cNvSpPr>
          <p:nvPr/>
        </p:nvSpPr>
        <p:spPr bwMode="auto">
          <a:xfrm>
            <a:off x="7181795" y="1522414"/>
            <a:ext cx="1168184" cy="152400"/>
          </a:xfrm>
          <a:prstGeom prst="rect">
            <a:avLst/>
          </a:prstGeom>
          <a:noFill/>
          <a:ln w="12700" algn="ctr">
            <a:noFill/>
            <a:miter lim="800000"/>
            <a:headEnd/>
            <a:tailEnd/>
          </a:ln>
          <a:effectLst>
            <a:prstShdw prst="shdw17" dist="17961" dir="2700000">
              <a:schemeClr val="hlink">
                <a:gamma/>
                <a:shade val="60000"/>
                <a:invGamma/>
              </a:schemeClr>
            </a:prstShdw>
          </a:effectLst>
        </p:spPr>
        <p:txBody>
          <a:bodyPr lIns="0" tIns="0" rIns="0" bIns="0" anchor="ctr"/>
          <a:lstStyle/>
          <a:p>
            <a:pPr algn="l" eaLnBrk="0" hangingPunct="0">
              <a:buClrTx/>
              <a:buSzTx/>
              <a:buFontTx/>
              <a:buNone/>
            </a:pPr>
            <a:r>
              <a:rPr lang="en-US" sz="1100" dirty="0">
                <a:sym typeface="Wingdings" pitchFamily="2" charset="2"/>
              </a:rPr>
              <a:t>Likely Scenario</a:t>
            </a:r>
            <a:endParaRPr lang="en-US" sz="1100" dirty="0"/>
          </a:p>
        </p:txBody>
      </p:sp>
      <p:sp>
        <p:nvSpPr>
          <p:cNvPr id="150" name="Rectangle 168">
            <a:extLst>
              <a:ext uri="{FF2B5EF4-FFF2-40B4-BE49-F238E27FC236}">
                <a16:creationId xmlns:a16="http://schemas.microsoft.com/office/drawing/2014/main" id="{E603F2F8-6423-480E-8694-43FB330BDBE6}"/>
              </a:ext>
            </a:extLst>
          </p:cNvPr>
          <p:cNvSpPr>
            <a:spLocks noChangeArrowheads="1"/>
          </p:cNvSpPr>
          <p:nvPr/>
        </p:nvSpPr>
        <p:spPr bwMode="auto">
          <a:xfrm>
            <a:off x="6922366" y="1350964"/>
            <a:ext cx="200260" cy="117475"/>
          </a:xfrm>
          <a:prstGeom prst="rect">
            <a:avLst/>
          </a:prstGeom>
          <a:solidFill>
            <a:schemeClr val="accent2"/>
          </a:solidFill>
          <a:ln w="12700" algn="ctr">
            <a:noFill/>
            <a:miter lim="800000"/>
            <a:headEnd/>
            <a:tailEnd/>
          </a:ln>
          <a:effectLst/>
        </p:spPr>
        <p:txBody>
          <a:bodyPr wrap="none" anchor="ctr"/>
          <a:lstStyle/>
          <a:p>
            <a:pPr marL="180975" indent="-180975">
              <a:buClrTx/>
            </a:pPr>
            <a:endParaRPr lang="en-US" sz="1100" b="1"/>
          </a:p>
        </p:txBody>
      </p:sp>
      <p:sp>
        <p:nvSpPr>
          <p:cNvPr id="151" name="Rectangle 169">
            <a:extLst>
              <a:ext uri="{FF2B5EF4-FFF2-40B4-BE49-F238E27FC236}">
                <a16:creationId xmlns:a16="http://schemas.microsoft.com/office/drawing/2014/main" id="{5C6EDBEB-006E-4691-8E43-47FA95FF28E7}"/>
              </a:ext>
            </a:extLst>
          </p:cNvPr>
          <p:cNvSpPr>
            <a:spLocks noChangeArrowheads="1"/>
          </p:cNvSpPr>
          <p:nvPr/>
        </p:nvSpPr>
        <p:spPr bwMode="auto">
          <a:xfrm>
            <a:off x="6922366" y="1539876"/>
            <a:ext cx="200260" cy="117475"/>
          </a:xfrm>
          <a:prstGeom prst="rect">
            <a:avLst/>
          </a:prstGeom>
          <a:solidFill>
            <a:schemeClr val="accent3"/>
          </a:solidFill>
          <a:ln w="12700" algn="ctr">
            <a:noFill/>
            <a:miter lim="800000"/>
            <a:headEnd/>
            <a:tailEnd/>
          </a:ln>
          <a:effectLst/>
        </p:spPr>
        <p:txBody>
          <a:bodyPr wrap="none" anchor="ctr"/>
          <a:lstStyle/>
          <a:p>
            <a:pPr marL="180975" indent="-180975">
              <a:buClrTx/>
            </a:pPr>
            <a:endParaRPr lang="en-US" sz="1100" b="1"/>
          </a:p>
        </p:txBody>
      </p:sp>
      <p:grpSp>
        <p:nvGrpSpPr>
          <p:cNvPr id="152" name="Group 170">
            <a:extLst>
              <a:ext uri="{FF2B5EF4-FFF2-40B4-BE49-F238E27FC236}">
                <a16:creationId xmlns:a16="http://schemas.microsoft.com/office/drawing/2014/main" id="{535B455D-7D4C-474B-B0B9-B0CD6BAAF4D3}"/>
              </a:ext>
            </a:extLst>
          </p:cNvPr>
          <p:cNvGrpSpPr>
            <a:grpSpLocks/>
          </p:cNvGrpSpPr>
          <p:nvPr/>
        </p:nvGrpSpPr>
        <p:grpSpPr bwMode="auto">
          <a:xfrm>
            <a:off x="6922366" y="1708151"/>
            <a:ext cx="200260" cy="150813"/>
            <a:chOff x="4287" y="702"/>
            <a:chExt cx="446" cy="190"/>
          </a:xfrm>
        </p:grpSpPr>
        <p:sp>
          <p:nvSpPr>
            <p:cNvPr id="153" name="AutoShape 171">
              <a:extLst>
                <a:ext uri="{FF2B5EF4-FFF2-40B4-BE49-F238E27FC236}">
                  <a16:creationId xmlns:a16="http://schemas.microsoft.com/office/drawing/2014/main" id="{837B905F-F32E-4EC2-B4F2-D081D0B51B71}"/>
                </a:ext>
              </a:extLst>
            </p:cNvPr>
            <p:cNvSpPr>
              <a:spLocks noChangeArrowheads="1"/>
            </p:cNvSpPr>
            <p:nvPr/>
          </p:nvSpPr>
          <p:spPr bwMode="auto">
            <a:xfrm rot="-5400000">
              <a:off x="4462" y="527"/>
              <a:ext cx="95" cy="446"/>
            </a:xfrm>
            <a:prstGeom prst="flowChartDelay">
              <a:avLst/>
            </a:prstGeom>
            <a:solidFill>
              <a:schemeClr val="accent2"/>
            </a:solidFill>
            <a:ln w="12700" algn="ctr">
              <a:noFill/>
              <a:miter lim="800000"/>
              <a:headEnd/>
              <a:tailEnd/>
            </a:ln>
            <a:effectLst/>
          </p:spPr>
          <p:txBody>
            <a:bodyPr vert="eaVert" anchor="ctr"/>
            <a:lstStyle/>
            <a:p>
              <a:pPr eaLnBrk="0" hangingPunct="0">
                <a:buClrTx/>
                <a:buSzTx/>
                <a:buFontTx/>
                <a:buNone/>
              </a:pPr>
              <a:endParaRPr lang="en-US" sz="1100"/>
            </a:p>
          </p:txBody>
        </p:sp>
        <p:sp>
          <p:nvSpPr>
            <p:cNvPr id="154" name="AutoShape 172">
              <a:extLst>
                <a:ext uri="{FF2B5EF4-FFF2-40B4-BE49-F238E27FC236}">
                  <a16:creationId xmlns:a16="http://schemas.microsoft.com/office/drawing/2014/main" id="{55F9710A-91A4-4BAC-A932-3DB5D27FB387}"/>
                </a:ext>
              </a:extLst>
            </p:cNvPr>
            <p:cNvSpPr>
              <a:spLocks noChangeArrowheads="1"/>
            </p:cNvSpPr>
            <p:nvPr/>
          </p:nvSpPr>
          <p:spPr bwMode="auto">
            <a:xfrm rot="5400000" flipV="1">
              <a:off x="4462" y="622"/>
              <a:ext cx="95" cy="446"/>
            </a:xfrm>
            <a:prstGeom prst="flowChartDelay">
              <a:avLst/>
            </a:prstGeom>
            <a:solidFill>
              <a:schemeClr val="accent3"/>
            </a:solidFill>
            <a:ln w="12700" algn="ctr">
              <a:noFill/>
              <a:miter lim="800000"/>
              <a:headEnd/>
              <a:tailEnd/>
            </a:ln>
            <a:effectLst/>
          </p:spPr>
          <p:txBody>
            <a:bodyPr vert="eaVert" anchor="ctr"/>
            <a:lstStyle/>
            <a:p>
              <a:pPr eaLnBrk="0" hangingPunct="0">
                <a:buClrTx/>
                <a:buSzTx/>
                <a:buFontTx/>
                <a:buNone/>
              </a:pPr>
              <a:endParaRPr lang="en-US" sz="1100"/>
            </a:p>
          </p:txBody>
        </p:sp>
      </p:grpSp>
      <p:sp>
        <p:nvSpPr>
          <p:cNvPr id="155" name="Text Box 173">
            <a:extLst>
              <a:ext uri="{FF2B5EF4-FFF2-40B4-BE49-F238E27FC236}">
                <a16:creationId xmlns:a16="http://schemas.microsoft.com/office/drawing/2014/main" id="{AFC943DB-E3A3-4BB0-8638-14344D3D9917}"/>
              </a:ext>
            </a:extLst>
          </p:cNvPr>
          <p:cNvSpPr txBox="1">
            <a:spLocks noChangeArrowheads="1"/>
          </p:cNvSpPr>
          <p:nvPr/>
        </p:nvSpPr>
        <p:spPr bwMode="auto">
          <a:xfrm>
            <a:off x="7181795" y="1708151"/>
            <a:ext cx="1168184" cy="152400"/>
          </a:xfrm>
          <a:prstGeom prst="rect">
            <a:avLst/>
          </a:prstGeom>
          <a:noFill/>
          <a:ln w="12700" algn="ctr">
            <a:noFill/>
            <a:miter lim="800000"/>
            <a:headEnd/>
            <a:tailEnd/>
          </a:ln>
          <a:effectLst>
            <a:prstShdw prst="shdw17" dist="17961" dir="2700000">
              <a:schemeClr val="hlink">
                <a:gamma/>
                <a:shade val="60000"/>
                <a:invGamma/>
              </a:schemeClr>
            </a:prstShdw>
          </a:effectLst>
        </p:spPr>
        <p:txBody>
          <a:bodyPr lIns="0" tIns="0" rIns="0" bIns="0" anchor="ctr"/>
          <a:lstStyle/>
          <a:p>
            <a:pPr algn="l" eaLnBrk="0" hangingPunct="0">
              <a:buClrTx/>
              <a:buSzTx/>
              <a:buFontTx/>
              <a:buNone/>
            </a:pPr>
            <a:r>
              <a:rPr lang="en-US" sz="1100" dirty="0"/>
              <a:t>One-time benefit</a:t>
            </a:r>
          </a:p>
        </p:txBody>
      </p:sp>
      <p:cxnSp>
        <p:nvCxnSpPr>
          <p:cNvPr id="156" name="Elbow Connector 174">
            <a:extLst>
              <a:ext uri="{FF2B5EF4-FFF2-40B4-BE49-F238E27FC236}">
                <a16:creationId xmlns:a16="http://schemas.microsoft.com/office/drawing/2014/main" id="{11CED9C4-74C9-464D-B0CA-0CF72A6510D3}"/>
              </a:ext>
            </a:extLst>
          </p:cNvPr>
          <p:cNvCxnSpPr>
            <a:stCxn id="93" idx="2"/>
            <a:endCxn id="95" idx="0"/>
          </p:cNvCxnSpPr>
          <p:nvPr/>
        </p:nvCxnSpPr>
        <p:spPr bwMode="auto">
          <a:xfrm rot="5400000">
            <a:off x="4386397" y="2286792"/>
            <a:ext cx="381000" cy="1518"/>
          </a:xfrm>
          <a:prstGeom prst="bentConnector3">
            <a:avLst>
              <a:gd name="adj1" fmla="val 5000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7" name="Elbow Connector 177">
            <a:extLst>
              <a:ext uri="{FF2B5EF4-FFF2-40B4-BE49-F238E27FC236}">
                <a16:creationId xmlns:a16="http://schemas.microsoft.com/office/drawing/2014/main" id="{F7103B3B-0B9A-4BAE-B3C6-A411DCEAD0F2}"/>
              </a:ext>
            </a:extLst>
          </p:cNvPr>
          <p:cNvCxnSpPr>
            <a:stCxn id="93" idx="2"/>
            <a:endCxn id="96" idx="0"/>
          </p:cNvCxnSpPr>
          <p:nvPr/>
        </p:nvCxnSpPr>
        <p:spPr bwMode="auto">
          <a:xfrm rot="16200000" flipH="1">
            <a:off x="5803759" y="869394"/>
            <a:ext cx="381000" cy="2834725"/>
          </a:xfrm>
          <a:prstGeom prst="bentConnector3">
            <a:avLst>
              <a:gd name="adj1" fmla="val 5000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8" name="Elbow Connector 180">
            <a:extLst>
              <a:ext uri="{FF2B5EF4-FFF2-40B4-BE49-F238E27FC236}">
                <a16:creationId xmlns:a16="http://schemas.microsoft.com/office/drawing/2014/main" id="{71C3DCEE-4EDE-42A1-985F-ECE659F19783}"/>
              </a:ext>
            </a:extLst>
          </p:cNvPr>
          <p:cNvCxnSpPr>
            <a:stCxn id="93" idx="2"/>
            <a:endCxn id="94" idx="0"/>
          </p:cNvCxnSpPr>
          <p:nvPr/>
        </p:nvCxnSpPr>
        <p:spPr bwMode="auto">
          <a:xfrm rot="5400000">
            <a:off x="3022538" y="922898"/>
            <a:ext cx="381000" cy="2727717"/>
          </a:xfrm>
          <a:prstGeom prst="bentConnector3">
            <a:avLst>
              <a:gd name="adj1" fmla="val 5000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9" name="Elbow Connector 183">
            <a:extLst>
              <a:ext uri="{FF2B5EF4-FFF2-40B4-BE49-F238E27FC236}">
                <a16:creationId xmlns:a16="http://schemas.microsoft.com/office/drawing/2014/main" id="{3B4D77E4-B977-4A1F-BECC-62A568E1E79A}"/>
              </a:ext>
            </a:extLst>
          </p:cNvPr>
          <p:cNvCxnSpPr>
            <a:stCxn id="93" idx="2"/>
            <a:endCxn id="98" idx="3"/>
          </p:cNvCxnSpPr>
          <p:nvPr/>
        </p:nvCxnSpPr>
        <p:spPr bwMode="auto">
          <a:xfrm rot="16200000" flipH="1">
            <a:off x="3840882" y="2832272"/>
            <a:ext cx="2593182" cy="1121153"/>
          </a:xfrm>
          <a:prstGeom prst="bentConnector4">
            <a:avLst>
              <a:gd name="adj1" fmla="val 7285"/>
              <a:gd name="adj2" fmla="val 11542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0" name="Elbow Connector 187">
            <a:extLst>
              <a:ext uri="{FF2B5EF4-FFF2-40B4-BE49-F238E27FC236}">
                <a16:creationId xmlns:a16="http://schemas.microsoft.com/office/drawing/2014/main" id="{62C30752-7CD0-4D1E-B205-F636F03D6DB0}"/>
              </a:ext>
            </a:extLst>
          </p:cNvPr>
          <p:cNvCxnSpPr>
            <a:stCxn id="93" idx="2"/>
            <a:endCxn id="97" idx="3"/>
          </p:cNvCxnSpPr>
          <p:nvPr/>
        </p:nvCxnSpPr>
        <p:spPr bwMode="auto">
          <a:xfrm rot="16200000" flipH="1">
            <a:off x="5258245" y="1414909"/>
            <a:ext cx="2593182" cy="3955878"/>
          </a:xfrm>
          <a:prstGeom prst="bentConnector4">
            <a:avLst>
              <a:gd name="adj1" fmla="val 7375"/>
              <a:gd name="adj2" fmla="val 102593"/>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1" name="Elbow Connector 194">
            <a:extLst>
              <a:ext uri="{FF2B5EF4-FFF2-40B4-BE49-F238E27FC236}">
                <a16:creationId xmlns:a16="http://schemas.microsoft.com/office/drawing/2014/main" id="{97DBA143-6F6D-40E7-BAF7-0588C79D2A4E}"/>
              </a:ext>
            </a:extLst>
          </p:cNvPr>
          <p:cNvCxnSpPr>
            <a:stCxn id="94" idx="1"/>
          </p:cNvCxnSpPr>
          <p:nvPr/>
        </p:nvCxnSpPr>
        <p:spPr bwMode="auto">
          <a:xfrm rot="10800000" flipV="1">
            <a:off x="728026" y="2635214"/>
            <a:ext cx="1518" cy="362744"/>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2" name="Elbow Connector 197">
            <a:extLst>
              <a:ext uri="{FF2B5EF4-FFF2-40B4-BE49-F238E27FC236}">
                <a16:creationId xmlns:a16="http://schemas.microsoft.com/office/drawing/2014/main" id="{756ABC00-CD0C-4F49-BD38-B4369301FC63}"/>
              </a:ext>
            </a:extLst>
          </p:cNvPr>
          <p:cNvCxnSpPr>
            <a:stCxn id="94" idx="1"/>
          </p:cNvCxnSpPr>
          <p:nvPr/>
        </p:nvCxnSpPr>
        <p:spPr bwMode="auto">
          <a:xfrm rot="10800000" flipV="1">
            <a:off x="728026" y="2635213"/>
            <a:ext cx="1518" cy="713581"/>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3" name="Elbow Connector 200">
            <a:extLst>
              <a:ext uri="{FF2B5EF4-FFF2-40B4-BE49-F238E27FC236}">
                <a16:creationId xmlns:a16="http://schemas.microsoft.com/office/drawing/2014/main" id="{487DC6BE-E3A9-409F-A6D6-6576EDC559A2}"/>
              </a:ext>
            </a:extLst>
          </p:cNvPr>
          <p:cNvCxnSpPr>
            <a:stCxn id="94" idx="1"/>
          </p:cNvCxnSpPr>
          <p:nvPr/>
        </p:nvCxnSpPr>
        <p:spPr bwMode="auto">
          <a:xfrm rot="10800000" flipV="1">
            <a:off x="728026" y="2635214"/>
            <a:ext cx="1518" cy="106600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4" name="Elbow Connector 203">
            <a:extLst>
              <a:ext uri="{FF2B5EF4-FFF2-40B4-BE49-F238E27FC236}">
                <a16:creationId xmlns:a16="http://schemas.microsoft.com/office/drawing/2014/main" id="{9A8CFEAB-40DB-4D43-8786-19882C3061D0}"/>
              </a:ext>
            </a:extLst>
          </p:cNvPr>
          <p:cNvCxnSpPr>
            <a:stCxn id="94" idx="1"/>
          </p:cNvCxnSpPr>
          <p:nvPr/>
        </p:nvCxnSpPr>
        <p:spPr bwMode="auto">
          <a:xfrm rot="10800000" flipV="1">
            <a:off x="728026" y="2635213"/>
            <a:ext cx="1518" cy="1418431"/>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5" name="Elbow Connector 206">
            <a:extLst>
              <a:ext uri="{FF2B5EF4-FFF2-40B4-BE49-F238E27FC236}">
                <a16:creationId xmlns:a16="http://schemas.microsoft.com/office/drawing/2014/main" id="{4EA52A02-3C52-4B45-A64E-EDC0AF25586F}"/>
              </a:ext>
            </a:extLst>
          </p:cNvPr>
          <p:cNvCxnSpPr>
            <a:stCxn id="94" idx="1"/>
          </p:cNvCxnSpPr>
          <p:nvPr/>
        </p:nvCxnSpPr>
        <p:spPr bwMode="auto">
          <a:xfrm rot="10800000" flipV="1">
            <a:off x="728026" y="2635214"/>
            <a:ext cx="1518" cy="177085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6" name="Elbow Connector 212">
            <a:extLst>
              <a:ext uri="{FF2B5EF4-FFF2-40B4-BE49-F238E27FC236}">
                <a16:creationId xmlns:a16="http://schemas.microsoft.com/office/drawing/2014/main" id="{B670F3BB-C85B-481A-82CD-EB53AE8D91D8}"/>
              </a:ext>
            </a:extLst>
          </p:cNvPr>
          <p:cNvCxnSpPr>
            <a:stCxn id="96" idx="1"/>
          </p:cNvCxnSpPr>
          <p:nvPr/>
        </p:nvCxnSpPr>
        <p:spPr bwMode="auto">
          <a:xfrm rot="10800000" flipV="1">
            <a:off x="6290469" y="2635214"/>
            <a:ext cx="1518" cy="362744"/>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7" name="Elbow Connector 215">
            <a:extLst>
              <a:ext uri="{FF2B5EF4-FFF2-40B4-BE49-F238E27FC236}">
                <a16:creationId xmlns:a16="http://schemas.microsoft.com/office/drawing/2014/main" id="{3847C19A-C720-4ACB-886B-AB4A03AE323F}"/>
              </a:ext>
            </a:extLst>
          </p:cNvPr>
          <p:cNvCxnSpPr>
            <a:stCxn id="96" idx="1"/>
          </p:cNvCxnSpPr>
          <p:nvPr/>
        </p:nvCxnSpPr>
        <p:spPr bwMode="auto">
          <a:xfrm rot="10800000" flipV="1">
            <a:off x="6290469" y="2635213"/>
            <a:ext cx="1518" cy="713581"/>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8" name="Elbow Connector 218">
            <a:extLst>
              <a:ext uri="{FF2B5EF4-FFF2-40B4-BE49-F238E27FC236}">
                <a16:creationId xmlns:a16="http://schemas.microsoft.com/office/drawing/2014/main" id="{588FE5FC-DD7F-40FD-9FA6-111651CA00F6}"/>
              </a:ext>
            </a:extLst>
          </p:cNvPr>
          <p:cNvCxnSpPr>
            <a:stCxn id="96" idx="1"/>
          </p:cNvCxnSpPr>
          <p:nvPr/>
        </p:nvCxnSpPr>
        <p:spPr bwMode="auto">
          <a:xfrm rot="10800000" flipV="1">
            <a:off x="6290469" y="2635214"/>
            <a:ext cx="1518" cy="106600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9" name="Elbow Connector 227">
            <a:extLst>
              <a:ext uri="{FF2B5EF4-FFF2-40B4-BE49-F238E27FC236}">
                <a16:creationId xmlns:a16="http://schemas.microsoft.com/office/drawing/2014/main" id="{5EE23832-0CA4-4168-9E25-C3B46C806C91}"/>
              </a:ext>
            </a:extLst>
          </p:cNvPr>
          <p:cNvCxnSpPr>
            <a:stCxn id="95" idx="1"/>
          </p:cNvCxnSpPr>
          <p:nvPr/>
        </p:nvCxnSpPr>
        <p:spPr bwMode="auto">
          <a:xfrm rot="10800000" flipV="1">
            <a:off x="3455743" y="2635214"/>
            <a:ext cx="1518" cy="362744"/>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0" name="Elbow Connector 230">
            <a:extLst>
              <a:ext uri="{FF2B5EF4-FFF2-40B4-BE49-F238E27FC236}">
                <a16:creationId xmlns:a16="http://schemas.microsoft.com/office/drawing/2014/main" id="{EA2E2A36-6CF6-42D2-B0EF-0F6B1F980A4A}"/>
              </a:ext>
            </a:extLst>
          </p:cNvPr>
          <p:cNvCxnSpPr>
            <a:stCxn id="95" idx="1"/>
          </p:cNvCxnSpPr>
          <p:nvPr/>
        </p:nvCxnSpPr>
        <p:spPr bwMode="auto">
          <a:xfrm rot="10800000" flipV="1">
            <a:off x="3455743" y="2635213"/>
            <a:ext cx="1518" cy="713581"/>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1" name="Elbow Connector 233">
            <a:extLst>
              <a:ext uri="{FF2B5EF4-FFF2-40B4-BE49-F238E27FC236}">
                <a16:creationId xmlns:a16="http://schemas.microsoft.com/office/drawing/2014/main" id="{3D41E0A5-67E8-45BA-82B3-94E40E9FB208}"/>
              </a:ext>
            </a:extLst>
          </p:cNvPr>
          <p:cNvCxnSpPr>
            <a:stCxn id="95" idx="1"/>
          </p:cNvCxnSpPr>
          <p:nvPr/>
        </p:nvCxnSpPr>
        <p:spPr bwMode="auto">
          <a:xfrm rot="10800000" flipV="1">
            <a:off x="3455743" y="2635214"/>
            <a:ext cx="1518" cy="106600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2" name="Elbow Connector 239">
            <a:extLst>
              <a:ext uri="{FF2B5EF4-FFF2-40B4-BE49-F238E27FC236}">
                <a16:creationId xmlns:a16="http://schemas.microsoft.com/office/drawing/2014/main" id="{353F537E-2C4A-48AB-899C-A70F41FFFC9D}"/>
              </a:ext>
            </a:extLst>
          </p:cNvPr>
          <p:cNvCxnSpPr>
            <a:stCxn id="98" idx="1"/>
          </p:cNvCxnSpPr>
          <p:nvPr/>
        </p:nvCxnSpPr>
        <p:spPr bwMode="auto">
          <a:xfrm rot="10800000" flipV="1">
            <a:off x="3455743" y="4689438"/>
            <a:ext cx="1518" cy="353219"/>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3" name="Elbow Connector 241">
            <a:extLst>
              <a:ext uri="{FF2B5EF4-FFF2-40B4-BE49-F238E27FC236}">
                <a16:creationId xmlns:a16="http://schemas.microsoft.com/office/drawing/2014/main" id="{E60EDD3B-25BF-4814-BF97-8FC0B374B952}"/>
              </a:ext>
            </a:extLst>
          </p:cNvPr>
          <p:cNvCxnSpPr>
            <a:stCxn id="98" idx="1"/>
          </p:cNvCxnSpPr>
          <p:nvPr/>
        </p:nvCxnSpPr>
        <p:spPr bwMode="auto">
          <a:xfrm rot="10800000" flipV="1">
            <a:off x="3455743" y="4689439"/>
            <a:ext cx="1518" cy="704056"/>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4" name="Elbow Connector 251">
            <a:extLst>
              <a:ext uri="{FF2B5EF4-FFF2-40B4-BE49-F238E27FC236}">
                <a16:creationId xmlns:a16="http://schemas.microsoft.com/office/drawing/2014/main" id="{7B060816-E243-4F0C-8B5A-50C7DFFAE1CE}"/>
              </a:ext>
            </a:extLst>
          </p:cNvPr>
          <p:cNvCxnSpPr>
            <a:stCxn id="97" idx="1"/>
          </p:cNvCxnSpPr>
          <p:nvPr/>
        </p:nvCxnSpPr>
        <p:spPr bwMode="auto">
          <a:xfrm rot="10800000" flipV="1">
            <a:off x="6290469" y="4689438"/>
            <a:ext cx="1518" cy="353219"/>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5" name="Elbow Connector 253">
            <a:extLst>
              <a:ext uri="{FF2B5EF4-FFF2-40B4-BE49-F238E27FC236}">
                <a16:creationId xmlns:a16="http://schemas.microsoft.com/office/drawing/2014/main" id="{96590C86-1EFF-46EA-BEA8-120BF9E1F7EE}"/>
              </a:ext>
            </a:extLst>
          </p:cNvPr>
          <p:cNvCxnSpPr>
            <a:stCxn id="97" idx="1"/>
          </p:cNvCxnSpPr>
          <p:nvPr/>
        </p:nvCxnSpPr>
        <p:spPr bwMode="auto">
          <a:xfrm rot="10800000" flipV="1">
            <a:off x="6290469" y="4689439"/>
            <a:ext cx="1518" cy="705644"/>
          </a:xfrm>
          <a:prstGeom prst="bentConnector3">
            <a:avLst>
              <a:gd name="adj1" fmla="val 1439546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76" name="Group 122">
            <a:extLst>
              <a:ext uri="{FF2B5EF4-FFF2-40B4-BE49-F238E27FC236}">
                <a16:creationId xmlns:a16="http://schemas.microsoft.com/office/drawing/2014/main" id="{50AF9C6D-588A-431B-AF5F-AE0D382B0982}"/>
              </a:ext>
            </a:extLst>
          </p:cNvPr>
          <p:cNvGrpSpPr/>
          <p:nvPr/>
        </p:nvGrpSpPr>
        <p:grpSpPr bwMode="auto">
          <a:xfrm>
            <a:off x="3455743" y="2847145"/>
            <a:ext cx="2242306" cy="301626"/>
            <a:chOff x="3398838" y="3189253"/>
            <a:chExt cx="2346325" cy="301626"/>
          </a:xfrm>
        </p:grpSpPr>
        <p:sp>
          <p:nvSpPr>
            <p:cNvPr id="177" name="Rectangle 61">
              <a:extLst>
                <a:ext uri="{FF2B5EF4-FFF2-40B4-BE49-F238E27FC236}">
                  <a16:creationId xmlns:a16="http://schemas.microsoft.com/office/drawing/2014/main" id="{DF4A73BC-3753-4338-822E-8DD966D6D703}"/>
                </a:ext>
              </a:extLst>
            </p:cNvPr>
            <p:cNvSpPr>
              <a:spLocks noChangeArrowheads="1"/>
            </p:cNvSpPr>
            <p:nvPr/>
          </p:nvSpPr>
          <p:spPr bwMode="auto">
            <a:xfrm>
              <a:off x="3398838" y="3189253"/>
              <a:ext cx="2346325" cy="301625"/>
            </a:xfrm>
            <a:prstGeom prst="rect">
              <a:avLst/>
            </a:prstGeom>
            <a:solidFill>
              <a:srgbClr val="DFDFDF"/>
            </a:solidFill>
            <a:ln w="12700" algn="ctr">
              <a:noFill/>
              <a:miter lim="800000"/>
              <a:headEnd/>
              <a:tailEnd/>
            </a:ln>
            <a:effectLst/>
          </p:spPr>
          <p:txBody>
            <a:bodyPr lIns="54000" tIns="0" rIns="774000" bIns="0" anchor="ctr"/>
            <a:lstStyle/>
            <a:p>
              <a:pPr algn="l" defTabSz="968375" eaLnBrk="0" hangingPunct="0">
                <a:buClrTx/>
                <a:buSzTx/>
                <a:buFontTx/>
                <a:buNone/>
                <a:tabLst>
                  <a:tab pos="1255713" algn="r"/>
                </a:tabLst>
              </a:pPr>
              <a:r>
                <a:rPr lang="en-US" sz="900"/>
                <a:t>Text</a:t>
              </a:r>
            </a:p>
          </p:txBody>
        </p:sp>
        <p:sp>
          <p:nvSpPr>
            <p:cNvPr id="178" name="Text Box 64">
              <a:extLst>
                <a:ext uri="{FF2B5EF4-FFF2-40B4-BE49-F238E27FC236}">
                  <a16:creationId xmlns:a16="http://schemas.microsoft.com/office/drawing/2014/main" id="{2EE9B8D0-7916-4FD9-A5DB-DB2B1E4DC92C}"/>
                </a:ext>
              </a:extLst>
            </p:cNvPr>
            <p:cNvSpPr txBox="1">
              <a:spLocks noChangeArrowheads="1"/>
            </p:cNvSpPr>
            <p:nvPr/>
          </p:nvSpPr>
          <p:spPr bwMode="auto">
            <a:xfrm>
              <a:off x="5037138" y="3189253"/>
              <a:ext cx="708025" cy="150813"/>
            </a:xfrm>
            <a:prstGeom prst="rect">
              <a:avLst/>
            </a:prstGeom>
            <a:solidFill>
              <a:schemeClr val="accent3">
                <a:lumMod val="60000"/>
                <a:lumOff val="40000"/>
              </a:schemeClr>
            </a:solidFill>
            <a:ln w="12700">
              <a:noFill/>
              <a:miter lim="800000"/>
              <a:headEnd/>
              <a:tailEnd/>
            </a:ln>
            <a:effectLst/>
          </p:spPr>
          <p:txBody>
            <a:bodyPr anchor="ctr"/>
            <a:lstStyle/>
            <a:p>
              <a:pPr algn="ctr" eaLnBrk="0" hangingPunct="0">
                <a:buClrTx/>
                <a:buSzTx/>
                <a:buFontTx/>
                <a:buNone/>
              </a:pPr>
              <a:r>
                <a:rPr lang="en-US" sz="900" dirty="0">
                  <a:solidFill>
                    <a:schemeClr val="bg1"/>
                  </a:solidFill>
                </a:rPr>
                <a:t>XM</a:t>
              </a:r>
            </a:p>
          </p:txBody>
        </p:sp>
        <p:sp>
          <p:nvSpPr>
            <p:cNvPr id="179" name="Text Box 63">
              <a:extLst>
                <a:ext uri="{FF2B5EF4-FFF2-40B4-BE49-F238E27FC236}">
                  <a16:creationId xmlns:a16="http://schemas.microsoft.com/office/drawing/2014/main" id="{E9E52F23-9D08-47B8-A6AE-ADC5607382EE}"/>
                </a:ext>
              </a:extLst>
            </p:cNvPr>
            <p:cNvSpPr txBox="1">
              <a:spLocks noChangeArrowheads="1"/>
            </p:cNvSpPr>
            <p:nvPr/>
          </p:nvSpPr>
          <p:spPr bwMode="auto">
            <a:xfrm>
              <a:off x="5037138" y="3340066"/>
              <a:ext cx="708025" cy="150813"/>
            </a:xfrm>
            <a:prstGeom prst="rect">
              <a:avLst/>
            </a:prstGeom>
            <a:solidFill>
              <a:schemeClr val="accent3"/>
            </a:solidFill>
            <a:ln w="12700">
              <a:noFill/>
              <a:miter lim="800000"/>
              <a:headEnd/>
              <a:tailEnd/>
            </a:ln>
            <a:effectLst/>
          </p:spPr>
          <p:txBody>
            <a:bodyPr anchor="ctr"/>
            <a:lstStyle>
              <a:defPPr>
                <a:defRPr lang="en-US"/>
              </a:defPPr>
              <a:lvl1pPr algn="ctr" eaLnBrk="0" hangingPunct="0">
                <a:buClrTx/>
                <a:buSzTx/>
                <a:buFontTx/>
                <a:buNone/>
                <a:defRPr sz="900" b="1">
                  <a:solidFill>
                    <a:srgbClr val="FFFFFF"/>
                  </a:solidFill>
                </a:defRPr>
              </a:lvl1pPr>
            </a:lstStyle>
            <a:p>
              <a:r>
                <a:rPr lang="en-US"/>
                <a:t>YM</a:t>
              </a:r>
            </a:p>
          </p:txBody>
        </p:sp>
      </p:grpSp>
      <p:sp>
        <p:nvSpPr>
          <p:cNvPr id="180" name="Text Box 64">
            <a:extLst>
              <a:ext uri="{FF2B5EF4-FFF2-40B4-BE49-F238E27FC236}">
                <a16:creationId xmlns:a16="http://schemas.microsoft.com/office/drawing/2014/main" id="{827CD493-4128-4A5D-824B-6CA9D9DCEDCD}"/>
              </a:ext>
            </a:extLst>
          </p:cNvPr>
          <p:cNvSpPr txBox="1">
            <a:spLocks noChangeArrowheads="1"/>
          </p:cNvSpPr>
          <p:nvPr/>
        </p:nvSpPr>
        <p:spPr bwMode="auto">
          <a:xfrm>
            <a:off x="5021413" y="2847145"/>
            <a:ext cx="676636" cy="150813"/>
          </a:xfrm>
          <a:prstGeom prst="rect">
            <a:avLst/>
          </a:prstGeom>
          <a:solidFill>
            <a:schemeClr val="accent2"/>
          </a:solidFill>
          <a:ln w="12700">
            <a:noFill/>
            <a:miter lim="800000"/>
            <a:headEnd/>
            <a:tailEnd/>
          </a:ln>
          <a:effectLst/>
        </p:spPr>
        <p:txBody>
          <a:bodyPr anchor="ctr"/>
          <a:lstStyle/>
          <a:p>
            <a:pPr algn="ctr" eaLnBrk="0" hangingPunct="0">
              <a:buClrTx/>
              <a:buSzTx/>
              <a:buFontTx/>
              <a:buNone/>
            </a:pPr>
            <a:r>
              <a:rPr lang="en-US" sz="900" b="1">
                <a:solidFill>
                  <a:schemeClr val="bg1"/>
                </a:solidFill>
              </a:rPr>
              <a:t>XM</a:t>
            </a:r>
          </a:p>
        </p:txBody>
      </p:sp>
    </p:spTree>
    <p:extLst>
      <p:ext uri="{BB962C8B-B14F-4D97-AF65-F5344CB8AC3E}">
        <p14:creationId xmlns:p14="http://schemas.microsoft.com/office/powerpoint/2010/main" val="550241356"/>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rameworks: Peer Analysis</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8">
            <a:extLst>
              <a:ext uri="{FF2B5EF4-FFF2-40B4-BE49-F238E27FC236}">
                <a16:creationId xmlns:a16="http://schemas.microsoft.com/office/drawing/2014/main" id="{F37DF474-1544-4F34-8383-73EE1BA977ED}"/>
              </a:ext>
            </a:extLst>
          </p:cNvPr>
          <p:cNvSpPr>
            <a:spLocks noChangeArrowheads="1"/>
          </p:cNvSpPr>
          <p:nvPr/>
        </p:nvSpPr>
        <p:spPr bwMode="auto">
          <a:xfrm>
            <a:off x="334963" y="4817265"/>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Text</a:t>
            </a:r>
            <a:endParaRPr kumimoji="0" lang="en-US" sz="1200" b="1" i="0" u="none" strike="noStrike" kern="0" cap="none" spc="0" normalizeH="0" baseline="30000" noProof="0">
              <a:ln>
                <a:noFill/>
              </a:ln>
              <a:solidFill>
                <a:srgbClr val="000000"/>
              </a:solidFill>
              <a:effectLst/>
              <a:uLnTx/>
              <a:uFillTx/>
              <a:latin typeface="Graphik"/>
              <a:ea typeface="+mn-ea"/>
              <a:cs typeface="+mn-cs"/>
            </a:endParaRPr>
          </a:p>
        </p:txBody>
      </p:sp>
      <p:sp>
        <p:nvSpPr>
          <p:cNvPr id="6" name="Rectangle 9">
            <a:extLst>
              <a:ext uri="{FF2B5EF4-FFF2-40B4-BE49-F238E27FC236}">
                <a16:creationId xmlns:a16="http://schemas.microsoft.com/office/drawing/2014/main" id="{062C2084-6927-42EC-B4B7-BB9DBDEC12A1}"/>
              </a:ext>
            </a:extLst>
          </p:cNvPr>
          <p:cNvSpPr>
            <a:spLocks noChangeArrowheads="1"/>
          </p:cNvSpPr>
          <p:nvPr/>
        </p:nvSpPr>
        <p:spPr bwMode="auto">
          <a:xfrm>
            <a:off x="334963" y="2694778"/>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Text</a:t>
            </a:r>
          </a:p>
        </p:txBody>
      </p:sp>
      <p:sp>
        <p:nvSpPr>
          <p:cNvPr id="7" name="Rectangle 10">
            <a:extLst>
              <a:ext uri="{FF2B5EF4-FFF2-40B4-BE49-F238E27FC236}">
                <a16:creationId xmlns:a16="http://schemas.microsoft.com/office/drawing/2014/main" id="{C87899F7-2443-408E-9E0F-517288430F83}"/>
              </a:ext>
            </a:extLst>
          </p:cNvPr>
          <p:cNvSpPr>
            <a:spLocks noChangeArrowheads="1"/>
          </p:cNvSpPr>
          <p:nvPr/>
        </p:nvSpPr>
        <p:spPr bwMode="auto">
          <a:xfrm>
            <a:off x="334963" y="4109240"/>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Text</a:t>
            </a:r>
          </a:p>
        </p:txBody>
      </p:sp>
      <p:sp>
        <p:nvSpPr>
          <p:cNvPr id="8" name="Rectangle 11">
            <a:extLst>
              <a:ext uri="{FF2B5EF4-FFF2-40B4-BE49-F238E27FC236}">
                <a16:creationId xmlns:a16="http://schemas.microsoft.com/office/drawing/2014/main" id="{D4D0BD3B-B088-4DCF-93F0-122F26FD8058}"/>
              </a:ext>
            </a:extLst>
          </p:cNvPr>
          <p:cNvSpPr>
            <a:spLocks noChangeArrowheads="1"/>
          </p:cNvSpPr>
          <p:nvPr/>
        </p:nvSpPr>
        <p:spPr bwMode="auto">
          <a:xfrm>
            <a:off x="334963" y="3402803"/>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Text</a:t>
            </a:r>
          </a:p>
        </p:txBody>
      </p:sp>
      <p:sp>
        <p:nvSpPr>
          <p:cNvPr id="9" name="Rectangle 12">
            <a:extLst>
              <a:ext uri="{FF2B5EF4-FFF2-40B4-BE49-F238E27FC236}">
                <a16:creationId xmlns:a16="http://schemas.microsoft.com/office/drawing/2014/main" id="{01D49D10-3F9C-4D0B-B6A2-C63A402138EE}"/>
              </a:ext>
            </a:extLst>
          </p:cNvPr>
          <p:cNvSpPr>
            <a:spLocks noChangeArrowheads="1"/>
          </p:cNvSpPr>
          <p:nvPr/>
        </p:nvSpPr>
        <p:spPr bwMode="auto">
          <a:xfrm>
            <a:off x="334963" y="1988340"/>
            <a:ext cx="1102070" cy="581025"/>
          </a:xfrm>
          <a:prstGeom prst="rect">
            <a:avLst/>
          </a:prstGeom>
          <a:noFill/>
          <a:ln w="38100">
            <a:solidFill>
              <a:srgbClr val="FFFFFF"/>
            </a:solidFill>
            <a:miter lim="800000"/>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Text</a:t>
            </a:r>
          </a:p>
        </p:txBody>
      </p:sp>
      <p:sp>
        <p:nvSpPr>
          <p:cNvPr id="10" name="Rectangle 15">
            <a:extLst>
              <a:ext uri="{FF2B5EF4-FFF2-40B4-BE49-F238E27FC236}">
                <a16:creationId xmlns:a16="http://schemas.microsoft.com/office/drawing/2014/main" id="{C26A7762-913C-4890-8115-05F52D50548F}"/>
              </a:ext>
            </a:extLst>
          </p:cNvPr>
          <p:cNvSpPr>
            <a:spLocks noChangeArrowheads="1"/>
          </p:cNvSpPr>
          <p:nvPr/>
        </p:nvSpPr>
        <p:spPr bwMode="auto">
          <a:xfrm>
            <a:off x="6378636" y="1988340"/>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	Text</a:t>
            </a:r>
          </a:p>
        </p:txBody>
      </p:sp>
      <p:sp>
        <p:nvSpPr>
          <p:cNvPr id="11" name="Text Box 16">
            <a:extLst>
              <a:ext uri="{FF2B5EF4-FFF2-40B4-BE49-F238E27FC236}">
                <a16:creationId xmlns:a16="http://schemas.microsoft.com/office/drawing/2014/main" id="{B925A33D-340A-45F0-836E-F66B3F596ED5}"/>
              </a:ext>
            </a:extLst>
          </p:cNvPr>
          <p:cNvSpPr txBox="1">
            <a:spLocks noChangeArrowheads="1"/>
          </p:cNvSpPr>
          <p:nvPr/>
        </p:nvSpPr>
        <p:spPr bwMode="auto">
          <a:xfrm>
            <a:off x="1435909" y="1552092"/>
            <a:ext cx="1445412" cy="398462"/>
          </a:xfrm>
          <a:prstGeom prst="rect">
            <a:avLst/>
          </a:prstGeom>
          <a:noFill/>
          <a:ln w="9525" algn="ctr">
            <a:noFill/>
            <a:miter lim="800000"/>
            <a:headEnd/>
            <a:tailEnd/>
          </a:ln>
          <a:effectLst/>
        </p:spPr>
        <p:txBody>
          <a:bodyPr lIns="0" tIns="0" rIns="0" bIns="0" anchor="b"/>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Black"/>
                <a:ea typeface="+mn-ea"/>
                <a:cs typeface="+mn-cs"/>
              </a:rPr>
              <a:t>Peer worst</a:t>
            </a:r>
          </a:p>
        </p:txBody>
      </p:sp>
      <p:sp>
        <p:nvSpPr>
          <p:cNvPr id="12" name="Rectangle 17">
            <a:extLst>
              <a:ext uri="{FF2B5EF4-FFF2-40B4-BE49-F238E27FC236}">
                <a16:creationId xmlns:a16="http://schemas.microsoft.com/office/drawing/2014/main" id="{0475D7D5-6337-4C68-8D35-9EF772D66D13}"/>
              </a:ext>
            </a:extLst>
          </p:cNvPr>
          <p:cNvSpPr>
            <a:spLocks noChangeArrowheads="1"/>
          </p:cNvSpPr>
          <p:nvPr/>
        </p:nvSpPr>
        <p:spPr bwMode="auto">
          <a:xfrm>
            <a:off x="5045519" y="5023640"/>
            <a:ext cx="1154184"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ext</a:t>
            </a:r>
          </a:p>
        </p:txBody>
      </p:sp>
      <p:sp>
        <p:nvSpPr>
          <p:cNvPr id="13" name="Rectangle 18">
            <a:extLst>
              <a:ext uri="{FF2B5EF4-FFF2-40B4-BE49-F238E27FC236}">
                <a16:creationId xmlns:a16="http://schemas.microsoft.com/office/drawing/2014/main" id="{8092C16E-1001-4F13-BBC5-B8DBB420051A}"/>
              </a:ext>
            </a:extLst>
          </p:cNvPr>
          <p:cNvSpPr>
            <a:spLocks noChangeArrowheads="1"/>
          </p:cNvSpPr>
          <p:nvPr/>
        </p:nvSpPr>
        <p:spPr bwMode="auto">
          <a:xfrm>
            <a:off x="1437033" y="3609178"/>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ext</a:t>
            </a:r>
          </a:p>
        </p:txBody>
      </p:sp>
      <p:sp>
        <p:nvSpPr>
          <p:cNvPr id="14" name="Rectangle 19">
            <a:extLst>
              <a:ext uri="{FF2B5EF4-FFF2-40B4-BE49-F238E27FC236}">
                <a16:creationId xmlns:a16="http://schemas.microsoft.com/office/drawing/2014/main" id="{32A8A599-EAEC-452A-B2C6-C9323473E51E}"/>
              </a:ext>
            </a:extLst>
          </p:cNvPr>
          <p:cNvSpPr>
            <a:spLocks noChangeArrowheads="1"/>
          </p:cNvSpPr>
          <p:nvPr/>
        </p:nvSpPr>
        <p:spPr bwMode="auto">
          <a:xfrm>
            <a:off x="5045519" y="4315615"/>
            <a:ext cx="1154184"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ext</a:t>
            </a:r>
          </a:p>
        </p:txBody>
      </p:sp>
      <p:sp>
        <p:nvSpPr>
          <p:cNvPr id="15" name="Rectangle 20">
            <a:extLst>
              <a:ext uri="{FF2B5EF4-FFF2-40B4-BE49-F238E27FC236}">
                <a16:creationId xmlns:a16="http://schemas.microsoft.com/office/drawing/2014/main" id="{2C313CBF-C0FF-4C88-9DC3-8B77C2FABBA1}"/>
              </a:ext>
            </a:extLst>
          </p:cNvPr>
          <p:cNvSpPr>
            <a:spLocks noChangeArrowheads="1"/>
          </p:cNvSpPr>
          <p:nvPr/>
        </p:nvSpPr>
        <p:spPr bwMode="auto">
          <a:xfrm>
            <a:off x="1437033" y="2901153"/>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ext</a:t>
            </a:r>
          </a:p>
        </p:txBody>
      </p:sp>
      <p:sp>
        <p:nvSpPr>
          <p:cNvPr id="16" name="Rectangle 21">
            <a:extLst>
              <a:ext uri="{FF2B5EF4-FFF2-40B4-BE49-F238E27FC236}">
                <a16:creationId xmlns:a16="http://schemas.microsoft.com/office/drawing/2014/main" id="{223F3631-EC54-4375-9120-A520FE5F330A}"/>
              </a:ext>
            </a:extLst>
          </p:cNvPr>
          <p:cNvSpPr>
            <a:spLocks noChangeArrowheads="1"/>
          </p:cNvSpPr>
          <p:nvPr/>
        </p:nvSpPr>
        <p:spPr bwMode="auto">
          <a:xfrm>
            <a:off x="5045519" y="3609178"/>
            <a:ext cx="1154184"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ext</a:t>
            </a:r>
          </a:p>
        </p:txBody>
      </p:sp>
      <p:sp>
        <p:nvSpPr>
          <p:cNvPr id="17" name="Rectangle 22">
            <a:extLst>
              <a:ext uri="{FF2B5EF4-FFF2-40B4-BE49-F238E27FC236}">
                <a16:creationId xmlns:a16="http://schemas.microsoft.com/office/drawing/2014/main" id="{C06096A2-9560-4B3D-92DC-DFEAB1071FFE}"/>
              </a:ext>
            </a:extLst>
          </p:cNvPr>
          <p:cNvSpPr>
            <a:spLocks noChangeArrowheads="1"/>
          </p:cNvSpPr>
          <p:nvPr/>
        </p:nvSpPr>
        <p:spPr bwMode="auto">
          <a:xfrm>
            <a:off x="5045519" y="2867815"/>
            <a:ext cx="1154184" cy="236538"/>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ext</a:t>
            </a:r>
          </a:p>
        </p:txBody>
      </p:sp>
      <p:sp>
        <p:nvSpPr>
          <p:cNvPr id="18" name="Rectangle 23">
            <a:extLst>
              <a:ext uri="{FF2B5EF4-FFF2-40B4-BE49-F238E27FC236}">
                <a16:creationId xmlns:a16="http://schemas.microsoft.com/office/drawing/2014/main" id="{084E42E7-E74D-4A24-A383-35D7B4EFA2C8}"/>
              </a:ext>
            </a:extLst>
          </p:cNvPr>
          <p:cNvSpPr>
            <a:spLocks noChangeArrowheads="1"/>
          </p:cNvSpPr>
          <p:nvPr/>
        </p:nvSpPr>
        <p:spPr bwMode="auto">
          <a:xfrm>
            <a:off x="1437033" y="4315615"/>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ext</a:t>
            </a:r>
          </a:p>
        </p:txBody>
      </p:sp>
      <p:sp>
        <p:nvSpPr>
          <p:cNvPr id="19" name="Rectangle 24">
            <a:extLst>
              <a:ext uri="{FF2B5EF4-FFF2-40B4-BE49-F238E27FC236}">
                <a16:creationId xmlns:a16="http://schemas.microsoft.com/office/drawing/2014/main" id="{D2D288D2-4B5E-43B7-954C-70B285172EA4}"/>
              </a:ext>
            </a:extLst>
          </p:cNvPr>
          <p:cNvSpPr>
            <a:spLocks noChangeArrowheads="1"/>
          </p:cNvSpPr>
          <p:nvPr/>
        </p:nvSpPr>
        <p:spPr bwMode="auto">
          <a:xfrm>
            <a:off x="1437033" y="2194715"/>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0" name="Rectangle 25">
            <a:extLst>
              <a:ext uri="{FF2B5EF4-FFF2-40B4-BE49-F238E27FC236}">
                <a16:creationId xmlns:a16="http://schemas.microsoft.com/office/drawing/2014/main" id="{F3F27AC5-9B47-49F5-AAEA-E3F387B9F941}"/>
              </a:ext>
            </a:extLst>
          </p:cNvPr>
          <p:cNvSpPr>
            <a:spLocks noChangeArrowheads="1"/>
          </p:cNvSpPr>
          <p:nvPr/>
        </p:nvSpPr>
        <p:spPr bwMode="auto">
          <a:xfrm>
            <a:off x="5045519" y="2194715"/>
            <a:ext cx="1154184"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21" name="Rectangle 26">
            <a:extLst>
              <a:ext uri="{FF2B5EF4-FFF2-40B4-BE49-F238E27FC236}">
                <a16:creationId xmlns:a16="http://schemas.microsoft.com/office/drawing/2014/main" id="{D9C8A79A-BF3A-4A93-A300-34927B710259}"/>
              </a:ext>
            </a:extLst>
          </p:cNvPr>
          <p:cNvSpPr>
            <a:spLocks noChangeArrowheads="1"/>
          </p:cNvSpPr>
          <p:nvPr/>
        </p:nvSpPr>
        <p:spPr bwMode="auto">
          <a:xfrm>
            <a:off x="1437033" y="5023640"/>
            <a:ext cx="1164913" cy="168275"/>
          </a:xfrm>
          <a:prstGeom prst="rect">
            <a:avLst/>
          </a:prstGeom>
          <a:noFill/>
          <a:ln w="9525">
            <a:noFill/>
            <a:miter lim="800000"/>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ext</a:t>
            </a:r>
            <a:endParaRPr kumimoji="0" lang="en-US" sz="1200" b="0" i="0" u="none" strike="noStrike" kern="0" cap="none" spc="0" normalizeH="0" baseline="0" noProof="0" dirty="0">
              <a:ln>
                <a:noFill/>
              </a:ln>
              <a:solidFill>
                <a:srgbClr val="000000"/>
              </a:solidFill>
              <a:effectLst/>
              <a:uLnTx/>
              <a:uFillTx/>
              <a:latin typeface="Graphik"/>
              <a:ea typeface="+mn-ea"/>
              <a:cs typeface="+mn-cs"/>
            </a:endParaRPr>
          </a:p>
        </p:txBody>
      </p:sp>
      <p:sp>
        <p:nvSpPr>
          <p:cNvPr id="22" name="Text Box 28">
            <a:extLst>
              <a:ext uri="{FF2B5EF4-FFF2-40B4-BE49-F238E27FC236}">
                <a16:creationId xmlns:a16="http://schemas.microsoft.com/office/drawing/2014/main" id="{2EF266D7-2CE5-4B28-97A3-81E33E58DE8F}"/>
              </a:ext>
            </a:extLst>
          </p:cNvPr>
          <p:cNvSpPr txBox="1">
            <a:spLocks noChangeArrowheads="1"/>
          </p:cNvSpPr>
          <p:nvPr/>
        </p:nvSpPr>
        <p:spPr bwMode="auto">
          <a:xfrm>
            <a:off x="5045519" y="1552092"/>
            <a:ext cx="1445413" cy="398462"/>
          </a:xfrm>
          <a:prstGeom prst="rect">
            <a:avLst/>
          </a:prstGeom>
          <a:noFill/>
          <a:ln w="9525" algn="ctr">
            <a:noFill/>
            <a:miter lim="800000"/>
            <a:headEnd/>
            <a:tailEnd/>
          </a:ln>
          <a:effectLst/>
        </p:spPr>
        <p:txBody>
          <a:bodyPr lIns="0" tIns="0" rIns="0" bIns="0" anchor="b"/>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Black"/>
                <a:ea typeface="+mn-ea"/>
                <a:cs typeface="+mn-cs"/>
              </a:rPr>
              <a:t>Peer best</a:t>
            </a:r>
          </a:p>
        </p:txBody>
      </p:sp>
      <p:sp>
        <p:nvSpPr>
          <p:cNvPr id="23" name="Rectangle 30">
            <a:extLst>
              <a:ext uri="{FF2B5EF4-FFF2-40B4-BE49-F238E27FC236}">
                <a16:creationId xmlns:a16="http://schemas.microsoft.com/office/drawing/2014/main" id="{B0D0F267-B61D-4F0E-BD28-BD1440D2D15C}"/>
              </a:ext>
            </a:extLst>
          </p:cNvPr>
          <p:cNvSpPr>
            <a:spLocks noChangeArrowheads="1"/>
          </p:cNvSpPr>
          <p:nvPr/>
        </p:nvSpPr>
        <p:spPr bwMode="auto">
          <a:xfrm>
            <a:off x="6378636" y="2694778"/>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	Text</a:t>
            </a:r>
          </a:p>
        </p:txBody>
      </p:sp>
      <p:sp>
        <p:nvSpPr>
          <p:cNvPr id="24" name="Rectangle 31">
            <a:extLst>
              <a:ext uri="{FF2B5EF4-FFF2-40B4-BE49-F238E27FC236}">
                <a16:creationId xmlns:a16="http://schemas.microsoft.com/office/drawing/2014/main" id="{1C52B60F-49ED-4B4A-9878-FEAC33FAD5BA}"/>
              </a:ext>
            </a:extLst>
          </p:cNvPr>
          <p:cNvSpPr>
            <a:spLocks noChangeArrowheads="1"/>
          </p:cNvSpPr>
          <p:nvPr/>
        </p:nvSpPr>
        <p:spPr bwMode="auto">
          <a:xfrm>
            <a:off x="6378636" y="4109240"/>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	Text</a:t>
            </a:r>
          </a:p>
        </p:txBody>
      </p:sp>
      <p:sp>
        <p:nvSpPr>
          <p:cNvPr id="25" name="Rectangle 32">
            <a:extLst>
              <a:ext uri="{FF2B5EF4-FFF2-40B4-BE49-F238E27FC236}">
                <a16:creationId xmlns:a16="http://schemas.microsoft.com/office/drawing/2014/main" id="{89DCA40B-6F8B-459E-AEA9-71A310C90EC6}"/>
              </a:ext>
            </a:extLst>
          </p:cNvPr>
          <p:cNvSpPr>
            <a:spLocks noChangeArrowheads="1"/>
          </p:cNvSpPr>
          <p:nvPr/>
        </p:nvSpPr>
        <p:spPr bwMode="auto">
          <a:xfrm>
            <a:off x="6378636" y="4817265"/>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	Text</a:t>
            </a:r>
          </a:p>
        </p:txBody>
      </p:sp>
      <p:sp>
        <p:nvSpPr>
          <p:cNvPr id="26" name="Rectangle 34">
            <a:extLst>
              <a:ext uri="{FF2B5EF4-FFF2-40B4-BE49-F238E27FC236}">
                <a16:creationId xmlns:a16="http://schemas.microsoft.com/office/drawing/2014/main" id="{8AD6F418-C586-4303-9918-54709D6D1BF8}"/>
              </a:ext>
            </a:extLst>
          </p:cNvPr>
          <p:cNvSpPr>
            <a:spLocks noChangeArrowheads="1"/>
          </p:cNvSpPr>
          <p:nvPr/>
        </p:nvSpPr>
        <p:spPr bwMode="auto">
          <a:xfrm>
            <a:off x="2557783" y="2216940"/>
            <a:ext cx="328015" cy="122238"/>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x</a:t>
            </a:r>
          </a:p>
        </p:txBody>
      </p:sp>
      <p:sp>
        <p:nvSpPr>
          <p:cNvPr id="27" name="Rectangle 35">
            <a:extLst>
              <a:ext uri="{FF2B5EF4-FFF2-40B4-BE49-F238E27FC236}">
                <a16:creationId xmlns:a16="http://schemas.microsoft.com/office/drawing/2014/main" id="{7900787A-7D96-421A-9401-CCB96E17EC2E}"/>
              </a:ext>
            </a:extLst>
          </p:cNvPr>
          <p:cNvSpPr>
            <a:spLocks noChangeArrowheads="1"/>
          </p:cNvSpPr>
          <p:nvPr/>
        </p:nvSpPr>
        <p:spPr bwMode="auto">
          <a:xfrm>
            <a:off x="4754027" y="2216940"/>
            <a:ext cx="328015" cy="122238"/>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x</a:t>
            </a:r>
          </a:p>
        </p:txBody>
      </p:sp>
      <p:sp>
        <p:nvSpPr>
          <p:cNvPr id="28" name="Rectangle 37">
            <a:extLst>
              <a:ext uri="{FF2B5EF4-FFF2-40B4-BE49-F238E27FC236}">
                <a16:creationId xmlns:a16="http://schemas.microsoft.com/office/drawing/2014/main" id="{628B9BCE-1FD6-4D24-8FEB-E8747FD0F4D2}"/>
              </a:ext>
            </a:extLst>
          </p:cNvPr>
          <p:cNvSpPr>
            <a:spLocks noChangeArrowheads="1"/>
          </p:cNvSpPr>
          <p:nvPr/>
        </p:nvSpPr>
        <p:spPr bwMode="auto">
          <a:xfrm>
            <a:off x="3043087" y="2260211"/>
            <a:ext cx="1572992"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29" name="Oval 38">
            <a:extLst>
              <a:ext uri="{FF2B5EF4-FFF2-40B4-BE49-F238E27FC236}">
                <a16:creationId xmlns:a16="http://schemas.microsoft.com/office/drawing/2014/main" id="{BD61651B-1EA5-4CCA-8EF5-88051D26AF46}"/>
              </a:ext>
            </a:extLst>
          </p:cNvPr>
          <p:cNvSpPr>
            <a:spLocks noChangeArrowheads="1"/>
          </p:cNvSpPr>
          <p:nvPr/>
        </p:nvSpPr>
        <p:spPr bwMode="auto">
          <a:xfrm>
            <a:off x="2931494" y="2162965"/>
            <a:ext cx="222000" cy="230188"/>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30" name="Oval 39">
            <a:extLst>
              <a:ext uri="{FF2B5EF4-FFF2-40B4-BE49-F238E27FC236}">
                <a16:creationId xmlns:a16="http://schemas.microsoft.com/office/drawing/2014/main" id="{C9982DAB-CB8A-4F68-8113-04CFD8160429}"/>
              </a:ext>
            </a:extLst>
          </p:cNvPr>
          <p:cNvSpPr>
            <a:spLocks noChangeArrowheads="1"/>
          </p:cNvSpPr>
          <p:nvPr/>
        </p:nvSpPr>
        <p:spPr bwMode="auto">
          <a:xfrm>
            <a:off x="4489053" y="2162965"/>
            <a:ext cx="222000" cy="230188"/>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31" name="AutoShape 40">
            <a:extLst>
              <a:ext uri="{FF2B5EF4-FFF2-40B4-BE49-F238E27FC236}">
                <a16:creationId xmlns:a16="http://schemas.microsoft.com/office/drawing/2014/main" id="{E66DFD90-E86A-44B6-9244-74A6FE06E438}"/>
              </a:ext>
            </a:extLst>
          </p:cNvPr>
          <p:cNvSpPr>
            <a:spLocks noChangeArrowheads="1"/>
          </p:cNvSpPr>
          <p:nvPr/>
        </p:nvSpPr>
        <p:spPr bwMode="auto">
          <a:xfrm>
            <a:off x="4150055" y="2182536"/>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Graphik"/>
                <a:ea typeface="+mn-ea"/>
                <a:cs typeface="+mn-cs"/>
              </a:rPr>
              <a:t>x</a:t>
            </a:r>
          </a:p>
        </p:txBody>
      </p:sp>
      <p:sp>
        <p:nvSpPr>
          <p:cNvPr id="32" name="Rectangle 42">
            <a:extLst>
              <a:ext uri="{FF2B5EF4-FFF2-40B4-BE49-F238E27FC236}">
                <a16:creationId xmlns:a16="http://schemas.microsoft.com/office/drawing/2014/main" id="{35F1001E-BD7F-4943-AC1A-FD7A8479F5EC}"/>
              </a:ext>
            </a:extLst>
          </p:cNvPr>
          <p:cNvSpPr>
            <a:spLocks noChangeArrowheads="1"/>
          </p:cNvSpPr>
          <p:nvPr/>
        </p:nvSpPr>
        <p:spPr bwMode="auto">
          <a:xfrm>
            <a:off x="2556250" y="2923378"/>
            <a:ext cx="328015" cy="122237"/>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x</a:t>
            </a:r>
          </a:p>
        </p:txBody>
      </p:sp>
      <p:sp>
        <p:nvSpPr>
          <p:cNvPr id="33" name="Rectangle 43">
            <a:extLst>
              <a:ext uri="{FF2B5EF4-FFF2-40B4-BE49-F238E27FC236}">
                <a16:creationId xmlns:a16="http://schemas.microsoft.com/office/drawing/2014/main" id="{B2598AB3-28B7-4AE8-A0B4-2031F90BA694}"/>
              </a:ext>
            </a:extLst>
          </p:cNvPr>
          <p:cNvSpPr>
            <a:spLocks noChangeArrowheads="1"/>
          </p:cNvSpPr>
          <p:nvPr/>
        </p:nvSpPr>
        <p:spPr bwMode="auto">
          <a:xfrm>
            <a:off x="4752493" y="2923378"/>
            <a:ext cx="328015" cy="122237"/>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x</a:t>
            </a:r>
          </a:p>
        </p:txBody>
      </p:sp>
      <p:sp>
        <p:nvSpPr>
          <p:cNvPr id="34" name="Rectangle 45">
            <a:extLst>
              <a:ext uri="{FF2B5EF4-FFF2-40B4-BE49-F238E27FC236}">
                <a16:creationId xmlns:a16="http://schemas.microsoft.com/office/drawing/2014/main" id="{D665B93C-E2CB-44B5-8B31-51CE2BE26983}"/>
              </a:ext>
            </a:extLst>
          </p:cNvPr>
          <p:cNvSpPr>
            <a:spLocks noChangeArrowheads="1"/>
          </p:cNvSpPr>
          <p:nvPr/>
        </p:nvSpPr>
        <p:spPr bwMode="auto">
          <a:xfrm>
            <a:off x="3041554" y="2966648"/>
            <a:ext cx="1572991"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35" name="Oval 46">
            <a:extLst>
              <a:ext uri="{FF2B5EF4-FFF2-40B4-BE49-F238E27FC236}">
                <a16:creationId xmlns:a16="http://schemas.microsoft.com/office/drawing/2014/main" id="{40A0EB1A-C8C8-4897-BBE2-774E7A35DFA4}"/>
              </a:ext>
            </a:extLst>
          </p:cNvPr>
          <p:cNvSpPr>
            <a:spLocks noChangeArrowheads="1"/>
          </p:cNvSpPr>
          <p:nvPr/>
        </p:nvSpPr>
        <p:spPr bwMode="auto">
          <a:xfrm>
            <a:off x="2929961" y="2869403"/>
            <a:ext cx="222000" cy="230187"/>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mn-ea"/>
              <a:cs typeface="+mn-cs"/>
            </a:endParaRPr>
          </a:p>
        </p:txBody>
      </p:sp>
      <p:sp>
        <p:nvSpPr>
          <p:cNvPr id="36" name="Oval 47">
            <a:extLst>
              <a:ext uri="{FF2B5EF4-FFF2-40B4-BE49-F238E27FC236}">
                <a16:creationId xmlns:a16="http://schemas.microsoft.com/office/drawing/2014/main" id="{0D7320F7-3D54-4C05-8B32-ABB2DFE1908E}"/>
              </a:ext>
            </a:extLst>
          </p:cNvPr>
          <p:cNvSpPr>
            <a:spLocks noChangeArrowheads="1"/>
          </p:cNvSpPr>
          <p:nvPr/>
        </p:nvSpPr>
        <p:spPr bwMode="auto">
          <a:xfrm>
            <a:off x="4487519" y="2869403"/>
            <a:ext cx="222000" cy="230187"/>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37" name="AutoShape 69">
            <a:extLst>
              <a:ext uri="{FF2B5EF4-FFF2-40B4-BE49-F238E27FC236}">
                <a16:creationId xmlns:a16="http://schemas.microsoft.com/office/drawing/2014/main" id="{286FE3D0-C890-462A-907C-A7C633770F2C}"/>
              </a:ext>
            </a:extLst>
          </p:cNvPr>
          <p:cNvSpPr>
            <a:spLocks noChangeArrowheads="1"/>
          </p:cNvSpPr>
          <p:nvPr/>
        </p:nvSpPr>
        <p:spPr bwMode="auto">
          <a:xfrm>
            <a:off x="3340746" y="2894232"/>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Graphik"/>
                <a:ea typeface="+mn-ea"/>
                <a:cs typeface="+mn-cs"/>
              </a:rPr>
              <a:t>x</a:t>
            </a:r>
          </a:p>
        </p:txBody>
      </p:sp>
      <p:sp>
        <p:nvSpPr>
          <p:cNvPr id="38" name="Rectangle 49">
            <a:extLst>
              <a:ext uri="{FF2B5EF4-FFF2-40B4-BE49-F238E27FC236}">
                <a16:creationId xmlns:a16="http://schemas.microsoft.com/office/drawing/2014/main" id="{7E66867E-8CF5-462A-ACFA-A7222190B17C}"/>
              </a:ext>
            </a:extLst>
          </p:cNvPr>
          <p:cNvSpPr>
            <a:spLocks noChangeArrowheads="1"/>
          </p:cNvSpPr>
          <p:nvPr/>
        </p:nvSpPr>
        <p:spPr bwMode="auto">
          <a:xfrm>
            <a:off x="2557783" y="3631403"/>
            <a:ext cx="328015" cy="122237"/>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x</a:t>
            </a:r>
          </a:p>
        </p:txBody>
      </p:sp>
      <p:sp>
        <p:nvSpPr>
          <p:cNvPr id="39" name="Rectangle 50">
            <a:extLst>
              <a:ext uri="{FF2B5EF4-FFF2-40B4-BE49-F238E27FC236}">
                <a16:creationId xmlns:a16="http://schemas.microsoft.com/office/drawing/2014/main" id="{81560908-E52A-4C36-9C4E-C090DC70DE24}"/>
              </a:ext>
            </a:extLst>
          </p:cNvPr>
          <p:cNvSpPr>
            <a:spLocks noChangeArrowheads="1"/>
          </p:cNvSpPr>
          <p:nvPr/>
        </p:nvSpPr>
        <p:spPr bwMode="auto">
          <a:xfrm>
            <a:off x="4754027" y="3631403"/>
            <a:ext cx="328015" cy="122237"/>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x</a:t>
            </a:r>
          </a:p>
        </p:txBody>
      </p:sp>
      <p:sp>
        <p:nvSpPr>
          <p:cNvPr id="40" name="Rectangle 52">
            <a:extLst>
              <a:ext uri="{FF2B5EF4-FFF2-40B4-BE49-F238E27FC236}">
                <a16:creationId xmlns:a16="http://schemas.microsoft.com/office/drawing/2014/main" id="{0B992E96-DD7D-4CF9-A01B-D17AC6828A94}"/>
              </a:ext>
            </a:extLst>
          </p:cNvPr>
          <p:cNvSpPr>
            <a:spLocks noChangeArrowheads="1"/>
          </p:cNvSpPr>
          <p:nvPr/>
        </p:nvSpPr>
        <p:spPr bwMode="auto">
          <a:xfrm>
            <a:off x="3043087" y="3674673"/>
            <a:ext cx="1572992"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41" name="Oval 53">
            <a:extLst>
              <a:ext uri="{FF2B5EF4-FFF2-40B4-BE49-F238E27FC236}">
                <a16:creationId xmlns:a16="http://schemas.microsoft.com/office/drawing/2014/main" id="{5D517313-ADD3-44D4-A160-0474D91CFEC6}"/>
              </a:ext>
            </a:extLst>
          </p:cNvPr>
          <p:cNvSpPr>
            <a:spLocks noChangeArrowheads="1"/>
          </p:cNvSpPr>
          <p:nvPr/>
        </p:nvSpPr>
        <p:spPr bwMode="auto">
          <a:xfrm>
            <a:off x="2931494" y="3577428"/>
            <a:ext cx="222000" cy="230187"/>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42" name="Oval 54">
            <a:extLst>
              <a:ext uri="{FF2B5EF4-FFF2-40B4-BE49-F238E27FC236}">
                <a16:creationId xmlns:a16="http://schemas.microsoft.com/office/drawing/2014/main" id="{9FCAEA9F-8795-4DAA-8C69-B0A6EB0AF011}"/>
              </a:ext>
            </a:extLst>
          </p:cNvPr>
          <p:cNvSpPr>
            <a:spLocks noChangeArrowheads="1"/>
          </p:cNvSpPr>
          <p:nvPr/>
        </p:nvSpPr>
        <p:spPr bwMode="auto">
          <a:xfrm>
            <a:off x="4489053" y="3577428"/>
            <a:ext cx="222000" cy="230187"/>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43" name="AutoShape 70">
            <a:extLst>
              <a:ext uri="{FF2B5EF4-FFF2-40B4-BE49-F238E27FC236}">
                <a16:creationId xmlns:a16="http://schemas.microsoft.com/office/drawing/2014/main" id="{891916C2-F863-4878-946B-F63AB0A85ED4}"/>
              </a:ext>
            </a:extLst>
          </p:cNvPr>
          <p:cNvSpPr>
            <a:spLocks noChangeArrowheads="1"/>
          </p:cNvSpPr>
          <p:nvPr/>
        </p:nvSpPr>
        <p:spPr bwMode="auto">
          <a:xfrm>
            <a:off x="4064219" y="3614312"/>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Graphik"/>
                <a:ea typeface="+mn-ea"/>
                <a:cs typeface="+mn-cs"/>
              </a:rPr>
              <a:t>x</a:t>
            </a:r>
          </a:p>
        </p:txBody>
      </p:sp>
      <p:sp>
        <p:nvSpPr>
          <p:cNvPr id="44" name="Rectangle 56">
            <a:extLst>
              <a:ext uri="{FF2B5EF4-FFF2-40B4-BE49-F238E27FC236}">
                <a16:creationId xmlns:a16="http://schemas.microsoft.com/office/drawing/2014/main" id="{DB0E1D35-967F-4038-B4AE-6019A7A0C0FC}"/>
              </a:ext>
            </a:extLst>
          </p:cNvPr>
          <p:cNvSpPr>
            <a:spLocks noChangeArrowheads="1"/>
          </p:cNvSpPr>
          <p:nvPr/>
        </p:nvSpPr>
        <p:spPr bwMode="auto">
          <a:xfrm>
            <a:off x="2556250" y="4339428"/>
            <a:ext cx="328015" cy="122237"/>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x</a:t>
            </a:r>
          </a:p>
        </p:txBody>
      </p:sp>
      <p:sp>
        <p:nvSpPr>
          <p:cNvPr id="45" name="Rectangle 57">
            <a:extLst>
              <a:ext uri="{FF2B5EF4-FFF2-40B4-BE49-F238E27FC236}">
                <a16:creationId xmlns:a16="http://schemas.microsoft.com/office/drawing/2014/main" id="{F54CD958-86C4-4121-85EA-9CA7F54F54F2}"/>
              </a:ext>
            </a:extLst>
          </p:cNvPr>
          <p:cNvSpPr>
            <a:spLocks noChangeArrowheads="1"/>
          </p:cNvSpPr>
          <p:nvPr/>
        </p:nvSpPr>
        <p:spPr bwMode="auto">
          <a:xfrm>
            <a:off x="4752493" y="4339428"/>
            <a:ext cx="328015" cy="122237"/>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x</a:t>
            </a:r>
          </a:p>
        </p:txBody>
      </p:sp>
      <p:sp>
        <p:nvSpPr>
          <p:cNvPr id="46" name="Rectangle 59">
            <a:extLst>
              <a:ext uri="{FF2B5EF4-FFF2-40B4-BE49-F238E27FC236}">
                <a16:creationId xmlns:a16="http://schemas.microsoft.com/office/drawing/2014/main" id="{95B1A23F-2EEA-4A3D-A9C0-49EE6D35B517}"/>
              </a:ext>
            </a:extLst>
          </p:cNvPr>
          <p:cNvSpPr>
            <a:spLocks noChangeArrowheads="1"/>
          </p:cNvSpPr>
          <p:nvPr/>
        </p:nvSpPr>
        <p:spPr bwMode="auto">
          <a:xfrm>
            <a:off x="3041554" y="4382698"/>
            <a:ext cx="1572991"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47" name="Oval 60">
            <a:extLst>
              <a:ext uri="{FF2B5EF4-FFF2-40B4-BE49-F238E27FC236}">
                <a16:creationId xmlns:a16="http://schemas.microsoft.com/office/drawing/2014/main" id="{7EF0078E-08A4-4F13-AA4A-68E046C6F4AA}"/>
              </a:ext>
            </a:extLst>
          </p:cNvPr>
          <p:cNvSpPr>
            <a:spLocks noChangeArrowheads="1"/>
          </p:cNvSpPr>
          <p:nvPr/>
        </p:nvSpPr>
        <p:spPr bwMode="auto">
          <a:xfrm>
            <a:off x="2929961" y="4285453"/>
            <a:ext cx="222000" cy="230187"/>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48" name="Oval 61">
            <a:extLst>
              <a:ext uri="{FF2B5EF4-FFF2-40B4-BE49-F238E27FC236}">
                <a16:creationId xmlns:a16="http://schemas.microsoft.com/office/drawing/2014/main" id="{30DB7E2A-9EF3-40A4-8FA0-3D6C3705066C}"/>
              </a:ext>
            </a:extLst>
          </p:cNvPr>
          <p:cNvSpPr>
            <a:spLocks noChangeArrowheads="1"/>
          </p:cNvSpPr>
          <p:nvPr/>
        </p:nvSpPr>
        <p:spPr bwMode="auto">
          <a:xfrm>
            <a:off x="4487519" y="4285453"/>
            <a:ext cx="222000" cy="230187"/>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49" name="AutoShape 71">
            <a:extLst>
              <a:ext uri="{FF2B5EF4-FFF2-40B4-BE49-F238E27FC236}">
                <a16:creationId xmlns:a16="http://schemas.microsoft.com/office/drawing/2014/main" id="{4CA3F6D7-0A48-49A3-89BF-E896C01C9CCB}"/>
              </a:ext>
            </a:extLst>
          </p:cNvPr>
          <p:cNvSpPr>
            <a:spLocks noChangeArrowheads="1"/>
          </p:cNvSpPr>
          <p:nvPr/>
        </p:nvSpPr>
        <p:spPr bwMode="auto">
          <a:xfrm>
            <a:off x="3898678" y="4334392"/>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Graphik"/>
                <a:ea typeface="+mn-ea"/>
                <a:cs typeface="+mn-cs"/>
              </a:rPr>
              <a:t>x</a:t>
            </a:r>
          </a:p>
        </p:txBody>
      </p:sp>
      <p:sp>
        <p:nvSpPr>
          <p:cNvPr id="50" name="Rectangle 63">
            <a:extLst>
              <a:ext uri="{FF2B5EF4-FFF2-40B4-BE49-F238E27FC236}">
                <a16:creationId xmlns:a16="http://schemas.microsoft.com/office/drawing/2014/main" id="{17839F2B-424C-4CE6-9707-751BC5B5909D}"/>
              </a:ext>
            </a:extLst>
          </p:cNvPr>
          <p:cNvSpPr>
            <a:spLocks noChangeArrowheads="1"/>
          </p:cNvSpPr>
          <p:nvPr/>
        </p:nvSpPr>
        <p:spPr bwMode="auto">
          <a:xfrm>
            <a:off x="2557783" y="5047453"/>
            <a:ext cx="328015" cy="122237"/>
          </a:xfrm>
          <a:prstGeom prst="rect">
            <a:avLst/>
          </a:prstGeom>
          <a:noFill/>
          <a:ln w="12700" algn="ctr">
            <a:noFill/>
            <a:miter lim="800000"/>
            <a:headEnd/>
            <a:tailEnd/>
          </a:ln>
          <a:effec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x</a:t>
            </a:r>
          </a:p>
        </p:txBody>
      </p:sp>
      <p:sp>
        <p:nvSpPr>
          <p:cNvPr id="51" name="Rectangle 64">
            <a:extLst>
              <a:ext uri="{FF2B5EF4-FFF2-40B4-BE49-F238E27FC236}">
                <a16:creationId xmlns:a16="http://schemas.microsoft.com/office/drawing/2014/main" id="{8825DA2E-9E64-4188-9D67-42F22DA41F01}"/>
              </a:ext>
            </a:extLst>
          </p:cNvPr>
          <p:cNvSpPr>
            <a:spLocks noChangeArrowheads="1"/>
          </p:cNvSpPr>
          <p:nvPr/>
        </p:nvSpPr>
        <p:spPr bwMode="auto">
          <a:xfrm>
            <a:off x="4754027" y="5047453"/>
            <a:ext cx="328015" cy="122237"/>
          </a:xfrm>
          <a:prstGeom prst="rect">
            <a:avLst/>
          </a:prstGeom>
          <a:no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x</a:t>
            </a:r>
          </a:p>
        </p:txBody>
      </p:sp>
      <p:sp>
        <p:nvSpPr>
          <p:cNvPr id="52" name="Rectangle 66">
            <a:extLst>
              <a:ext uri="{FF2B5EF4-FFF2-40B4-BE49-F238E27FC236}">
                <a16:creationId xmlns:a16="http://schemas.microsoft.com/office/drawing/2014/main" id="{B54BDDE1-BBEF-4F52-A074-5238D718916E}"/>
              </a:ext>
            </a:extLst>
          </p:cNvPr>
          <p:cNvSpPr>
            <a:spLocks noChangeArrowheads="1"/>
          </p:cNvSpPr>
          <p:nvPr/>
        </p:nvSpPr>
        <p:spPr bwMode="auto">
          <a:xfrm>
            <a:off x="3043087" y="5090723"/>
            <a:ext cx="1572992" cy="35697"/>
          </a:xfrm>
          <a:prstGeom prst="rect">
            <a:avLst/>
          </a:prstGeom>
          <a:solidFill>
            <a:srgbClr val="96968C"/>
          </a:soli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53" name="Oval 67">
            <a:extLst>
              <a:ext uri="{FF2B5EF4-FFF2-40B4-BE49-F238E27FC236}">
                <a16:creationId xmlns:a16="http://schemas.microsoft.com/office/drawing/2014/main" id="{1B8D47EB-C233-4064-B5B1-0A0548304C05}"/>
              </a:ext>
            </a:extLst>
          </p:cNvPr>
          <p:cNvSpPr>
            <a:spLocks noChangeArrowheads="1"/>
          </p:cNvSpPr>
          <p:nvPr/>
        </p:nvSpPr>
        <p:spPr bwMode="auto">
          <a:xfrm>
            <a:off x="2931494" y="4993478"/>
            <a:ext cx="222000" cy="230187"/>
          </a:xfrm>
          <a:prstGeom prst="ellipse">
            <a:avLst/>
          </a:prstGeom>
          <a:solidFill>
            <a:schemeClr val="accent5"/>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54" name="Oval 68">
            <a:extLst>
              <a:ext uri="{FF2B5EF4-FFF2-40B4-BE49-F238E27FC236}">
                <a16:creationId xmlns:a16="http://schemas.microsoft.com/office/drawing/2014/main" id="{2371F617-FDC3-4A7B-AB4B-914266D20D02}"/>
              </a:ext>
            </a:extLst>
          </p:cNvPr>
          <p:cNvSpPr>
            <a:spLocks noChangeArrowheads="1"/>
          </p:cNvSpPr>
          <p:nvPr/>
        </p:nvSpPr>
        <p:spPr bwMode="auto">
          <a:xfrm>
            <a:off x="4489053" y="4993478"/>
            <a:ext cx="222000" cy="230187"/>
          </a:xfrm>
          <a:prstGeom prst="ellipse">
            <a:avLst/>
          </a:prstGeom>
          <a:solidFill>
            <a:schemeClr val="accent3"/>
          </a:solidFill>
          <a:ln w="19050" algn="ctr">
            <a:noFill/>
            <a:round/>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55" name="AutoShape 72">
            <a:extLst>
              <a:ext uri="{FF2B5EF4-FFF2-40B4-BE49-F238E27FC236}">
                <a16:creationId xmlns:a16="http://schemas.microsoft.com/office/drawing/2014/main" id="{77F761C1-8749-41FE-BAAF-38954BDBA79B}"/>
              </a:ext>
            </a:extLst>
          </p:cNvPr>
          <p:cNvSpPr>
            <a:spLocks noChangeArrowheads="1"/>
          </p:cNvSpPr>
          <p:nvPr/>
        </p:nvSpPr>
        <p:spPr bwMode="auto">
          <a:xfrm>
            <a:off x="3872621" y="5026852"/>
            <a:ext cx="171671" cy="152400"/>
          </a:xfrm>
          <a:prstGeom prst="triangle">
            <a:avLst>
              <a:gd name="adj" fmla="val 50000"/>
            </a:avLst>
          </a:prstGeom>
          <a:solidFill>
            <a:srgbClr val="A100FF"/>
          </a:solidFill>
          <a:ln w="12700" algn="ctr">
            <a:noFill/>
            <a:miter lim="800000"/>
            <a:headEnd/>
            <a:tailEnd/>
          </a:ln>
          <a:effectLst/>
        </p:spPr>
        <p:txBody>
          <a:bodyPr wrap="none" lIns="0" tIns="0" rIns="0" bIns="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200" b="0" i="0" u="none" strike="noStrike" kern="0" cap="none" spc="0" normalizeH="0" baseline="0" noProof="0" dirty="0">
                <a:ln>
                  <a:noFill/>
                </a:ln>
                <a:solidFill>
                  <a:srgbClr val="A100FF"/>
                </a:solidFill>
                <a:effectLst/>
                <a:uLnTx/>
                <a:uFillTx/>
                <a:latin typeface="Graphik"/>
                <a:ea typeface="+mn-ea"/>
                <a:cs typeface="+mn-cs"/>
              </a:rPr>
              <a:t>x</a:t>
            </a:r>
          </a:p>
        </p:txBody>
      </p:sp>
      <p:sp>
        <p:nvSpPr>
          <p:cNvPr id="56" name="Rectangle 73">
            <a:extLst>
              <a:ext uri="{FF2B5EF4-FFF2-40B4-BE49-F238E27FC236}">
                <a16:creationId xmlns:a16="http://schemas.microsoft.com/office/drawing/2014/main" id="{0FFD3783-CAA6-467F-A331-1AD8D739992A}"/>
              </a:ext>
            </a:extLst>
          </p:cNvPr>
          <p:cNvSpPr>
            <a:spLocks noChangeArrowheads="1"/>
          </p:cNvSpPr>
          <p:nvPr/>
        </p:nvSpPr>
        <p:spPr bwMode="auto">
          <a:xfrm>
            <a:off x="6378636" y="3402803"/>
            <a:ext cx="2150491" cy="581025"/>
          </a:xfrm>
          <a:prstGeom prst="rect">
            <a:avLst/>
          </a:prstGeom>
          <a:noFill/>
          <a:ln w="12700">
            <a:noFill/>
            <a:miter lim="800000"/>
            <a:headEnd/>
            <a:tailEnd/>
          </a:ln>
          <a:effectLst/>
        </p:spPr>
        <p:txBody>
          <a:bodyPr lIns="0" tIns="0" rIns="0" bIns="0" anchor="ctr"/>
          <a:lstStyle/>
          <a:p>
            <a:pPr marL="196850" marR="0" lvl="1" indent="-195263" algn="l" defTabSz="914400" rtl="0" eaLnBrk="1" fontAlgn="auto" latinLnBrk="0" hangingPunct="1">
              <a:lnSpc>
                <a:spcPct val="95000"/>
              </a:lnSpc>
              <a:spcBef>
                <a:spcPts val="0"/>
              </a:spcBef>
              <a:spcAft>
                <a:spcPct val="30000"/>
              </a:spcAft>
              <a:buClr>
                <a:srgbClr val="F0AB00"/>
              </a:buClr>
              <a:buSzPct val="85000"/>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	Text</a:t>
            </a:r>
          </a:p>
        </p:txBody>
      </p:sp>
      <p:sp>
        <p:nvSpPr>
          <p:cNvPr id="57" name="Rectangle 74">
            <a:extLst>
              <a:ext uri="{FF2B5EF4-FFF2-40B4-BE49-F238E27FC236}">
                <a16:creationId xmlns:a16="http://schemas.microsoft.com/office/drawing/2014/main" id="{E2F5DB92-3D6C-4CB7-988D-CC3AB7C5DB05}"/>
              </a:ext>
            </a:extLst>
          </p:cNvPr>
          <p:cNvSpPr>
            <a:spLocks noChangeArrowheads="1"/>
          </p:cNvSpPr>
          <p:nvPr/>
        </p:nvSpPr>
        <p:spPr bwMode="auto">
          <a:xfrm>
            <a:off x="6401626" y="1552092"/>
            <a:ext cx="5453823" cy="398462"/>
          </a:xfrm>
          <a:prstGeom prst="rect">
            <a:avLst/>
          </a:prstGeom>
          <a:noFill/>
          <a:ln w="9525" algn="ctr">
            <a:noFill/>
            <a:miter lim="800000"/>
            <a:headEnd/>
            <a:tailEnd/>
          </a:ln>
          <a:effectLst/>
        </p:spPr>
        <p:txBody>
          <a:bodyPr lIns="0" tIns="0" rIns="0" bIns="0" anchor="b"/>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Graphik Black"/>
                <a:ea typeface="+mn-ea"/>
                <a:cs typeface="+mn-cs"/>
              </a:rPr>
              <a:t>Moving the needle could mean to the customer…</a:t>
            </a:r>
          </a:p>
        </p:txBody>
      </p:sp>
      <p:grpSp>
        <p:nvGrpSpPr>
          <p:cNvPr id="58" name="Group 57">
            <a:extLst>
              <a:ext uri="{FF2B5EF4-FFF2-40B4-BE49-F238E27FC236}">
                <a16:creationId xmlns:a16="http://schemas.microsoft.com/office/drawing/2014/main" id="{D1A39AA3-2CC2-4E39-8B55-1D1EF256F146}"/>
              </a:ext>
            </a:extLst>
          </p:cNvPr>
          <p:cNvGrpSpPr/>
          <p:nvPr/>
        </p:nvGrpSpPr>
        <p:grpSpPr>
          <a:xfrm>
            <a:off x="1455436" y="2616938"/>
            <a:ext cx="10400014" cy="2141376"/>
            <a:chOff x="1455436" y="2616938"/>
            <a:chExt cx="7056102" cy="2141376"/>
          </a:xfrm>
        </p:grpSpPr>
        <p:cxnSp>
          <p:nvCxnSpPr>
            <p:cNvPr id="59" name="Straight Connector 58">
              <a:extLst>
                <a:ext uri="{FF2B5EF4-FFF2-40B4-BE49-F238E27FC236}">
                  <a16:creationId xmlns:a16="http://schemas.microsoft.com/office/drawing/2014/main" id="{679A2F77-70EA-4CD9-AA41-7672C4B80E28}"/>
                </a:ext>
              </a:extLst>
            </p:cNvPr>
            <p:cNvCxnSpPr/>
            <p:nvPr/>
          </p:nvCxnSpPr>
          <p:spPr bwMode="auto">
            <a:xfrm>
              <a:off x="1455436" y="2616938"/>
              <a:ext cx="7056102" cy="0"/>
            </a:xfrm>
            <a:prstGeom prst="line">
              <a:avLst/>
            </a:prstGeom>
            <a:noFill/>
            <a:ln w="12700" cap="flat" cmpd="sng" algn="ctr">
              <a:solidFill>
                <a:srgbClr val="96968C">
                  <a:lumMod val="60000"/>
                  <a:lumOff val="40000"/>
                </a:srgbClr>
              </a:solidFill>
              <a:prstDash val="dash"/>
            </a:ln>
            <a:effectLst/>
          </p:spPr>
        </p:cxnSp>
        <p:cxnSp>
          <p:nvCxnSpPr>
            <p:cNvPr id="60" name="Straight Connector 59">
              <a:extLst>
                <a:ext uri="{FF2B5EF4-FFF2-40B4-BE49-F238E27FC236}">
                  <a16:creationId xmlns:a16="http://schemas.microsoft.com/office/drawing/2014/main" id="{998A8A86-CBA6-4700-933D-B1909616AA4F}"/>
                </a:ext>
              </a:extLst>
            </p:cNvPr>
            <p:cNvCxnSpPr/>
            <p:nvPr/>
          </p:nvCxnSpPr>
          <p:spPr bwMode="auto">
            <a:xfrm>
              <a:off x="1455436" y="3330730"/>
              <a:ext cx="7056102" cy="0"/>
            </a:xfrm>
            <a:prstGeom prst="line">
              <a:avLst/>
            </a:prstGeom>
            <a:noFill/>
            <a:ln w="12700" cap="flat" cmpd="sng" algn="ctr">
              <a:solidFill>
                <a:srgbClr val="96968C">
                  <a:lumMod val="60000"/>
                  <a:lumOff val="40000"/>
                </a:srgbClr>
              </a:solidFill>
              <a:prstDash val="dash"/>
            </a:ln>
            <a:effectLst/>
          </p:spPr>
        </p:cxnSp>
        <p:cxnSp>
          <p:nvCxnSpPr>
            <p:cNvPr id="61" name="Straight Connector 60">
              <a:extLst>
                <a:ext uri="{FF2B5EF4-FFF2-40B4-BE49-F238E27FC236}">
                  <a16:creationId xmlns:a16="http://schemas.microsoft.com/office/drawing/2014/main" id="{DB98C5ED-02F7-4D45-9CB1-F895CE0F2876}"/>
                </a:ext>
              </a:extLst>
            </p:cNvPr>
            <p:cNvCxnSpPr/>
            <p:nvPr/>
          </p:nvCxnSpPr>
          <p:spPr bwMode="auto">
            <a:xfrm>
              <a:off x="1455436" y="4044522"/>
              <a:ext cx="7056102" cy="0"/>
            </a:xfrm>
            <a:prstGeom prst="line">
              <a:avLst/>
            </a:prstGeom>
            <a:noFill/>
            <a:ln w="12700" cap="flat" cmpd="sng" algn="ctr">
              <a:solidFill>
                <a:srgbClr val="96968C">
                  <a:lumMod val="60000"/>
                  <a:lumOff val="40000"/>
                </a:srgbClr>
              </a:solidFill>
              <a:prstDash val="dash"/>
            </a:ln>
            <a:effectLst/>
          </p:spPr>
        </p:cxnSp>
        <p:cxnSp>
          <p:nvCxnSpPr>
            <p:cNvPr id="62" name="Straight Connector 61">
              <a:extLst>
                <a:ext uri="{FF2B5EF4-FFF2-40B4-BE49-F238E27FC236}">
                  <a16:creationId xmlns:a16="http://schemas.microsoft.com/office/drawing/2014/main" id="{1E7045C3-7DE7-442E-8CA8-D4ED771BD799}"/>
                </a:ext>
              </a:extLst>
            </p:cNvPr>
            <p:cNvCxnSpPr/>
            <p:nvPr/>
          </p:nvCxnSpPr>
          <p:spPr bwMode="auto">
            <a:xfrm>
              <a:off x="1455436" y="4758314"/>
              <a:ext cx="7056102" cy="0"/>
            </a:xfrm>
            <a:prstGeom prst="line">
              <a:avLst/>
            </a:prstGeom>
            <a:noFill/>
            <a:ln w="12700" cap="flat" cmpd="sng" algn="ctr">
              <a:solidFill>
                <a:srgbClr val="96968C">
                  <a:lumMod val="60000"/>
                  <a:lumOff val="40000"/>
                </a:srgbClr>
              </a:solidFill>
              <a:prstDash val="dash"/>
            </a:ln>
            <a:effectLst/>
          </p:spPr>
        </p:cxnSp>
      </p:grpSp>
      <p:grpSp>
        <p:nvGrpSpPr>
          <p:cNvPr id="63" name="Group 62">
            <a:extLst>
              <a:ext uri="{FF2B5EF4-FFF2-40B4-BE49-F238E27FC236}">
                <a16:creationId xmlns:a16="http://schemas.microsoft.com/office/drawing/2014/main" id="{9B15B8ED-D489-4E49-942E-8CBCD13C261F}"/>
              </a:ext>
            </a:extLst>
          </p:cNvPr>
          <p:cNvGrpSpPr/>
          <p:nvPr/>
        </p:nvGrpSpPr>
        <p:grpSpPr>
          <a:xfrm>
            <a:off x="330283" y="1999194"/>
            <a:ext cx="11525167" cy="3470988"/>
            <a:chOff x="330283" y="1999194"/>
            <a:chExt cx="8203443" cy="3470988"/>
          </a:xfrm>
        </p:grpSpPr>
        <p:cxnSp>
          <p:nvCxnSpPr>
            <p:cNvPr id="64" name="Straight Connector 63">
              <a:extLst>
                <a:ext uri="{FF2B5EF4-FFF2-40B4-BE49-F238E27FC236}">
                  <a16:creationId xmlns:a16="http://schemas.microsoft.com/office/drawing/2014/main" id="{DB8FAF8B-FCB4-4E25-B142-4F3BF60C5574}"/>
                </a:ext>
              </a:extLst>
            </p:cNvPr>
            <p:cNvCxnSpPr/>
            <p:nvPr/>
          </p:nvCxnSpPr>
          <p:spPr bwMode="auto">
            <a:xfrm>
              <a:off x="330283" y="1999194"/>
              <a:ext cx="8203443" cy="0"/>
            </a:xfrm>
            <a:prstGeom prst="line">
              <a:avLst/>
            </a:prstGeom>
            <a:noFill/>
            <a:ln w="15875" cap="flat" cmpd="sng" algn="ctr">
              <a:solidFill>
                <a:srgbClr val="FFFFFF">
                  <a:lumMod val="50000"/>
                </a:srgbClr>
              </a:solidFill>
              <a:prstDash val="solid"/>
            </a:ln>
            <a:effectLst/>
          </p:spPr>
        </p:cxnSp>
        <p:cxnSp>
          <p:nvCxnSpPr>
            <p:cNvPr id="65" name="Straight Connector 64">
              <a:extLst>
                <a:ext uri="{FF2B5EF4-FFF2-40B4-BE49-F238E27FC236}">
                  <a16:creationId xmlns:a16="http://schemas.microsoft.com/office/drawing/2014/main" id="{A9CFD952-470A-46C5-8D4B-C3B1B6BD5EE5}"/>
                </a:ext>
              </a:extLst>
            </p:cNvPr>
            <p:cNvCxnSpPr/>
            <p:nvPr/>
          </p:nvCxnSpPr>
          <p:spPr bwMode="auto">
            <a:xfrm>
              <a:off x="330283" y="5470182"/>
              <a:ext cx="8203443" cy="0"/>
            </a:xfrm>
            <a:prstGeom prst="line">
              <a:avLst/>
            </a:prstGeom>
            <a:noFill/>
            <a:ln w="12700" cap="flat" cmpd="sng" algn="ctr">
              <a:solidFill>
                <a:srgbClr val="FFFFFF">
                  <a:lumMod val="50000"/>
                </a:srgbClr>
              </a:solidFill>
              <a:prstDash val="solid"/>
            </a:ln>
            <a:effectLst/>
          </p:spPr>
        </p:cxnSp>
      </p:grpSp>
      <p:sp>
        <p:nvSpPr>
          <p:cNvPr id="66" name="AutoShape 7">
            <a:extLst>
              <a:ext uri="{FF2B5EF4-FFF2-40B4-BE49-F238E27FC236}">
                <a16:creationId xmlns:a16="http://schemas.microsoft.com/office/drawing/2014/main" id="{4A47B11B-E159-4494-BC82-AB76A0859A79}"/>
              </a:ext>
            </a:extLst>
          </p:cNvPr>
          <p:cNvSpPr>
            <a:spLocks noChangeArrowheads="1"/>
          </p:cNvSpPr>
          <p:nvPr/>
        </p:nvSpPr>
        <p:spPr bwMode="auto">
          <a:xfrm>
            <a:off x="3681024" y="1596616"/>
            <a:ext cx="173796" cy="3884612"/>
          </a:xfrm>
          <a:prstGeom prst="upArrow">
            <a:avLst>
              <a:gd name="adj1" fmla="val 25963"/>
              <a:gd name="adj2" fmla="val 84640"/>
            </a:avLst>
          </a:prstGeom>
          <a:solidFill>
            <a:srgbClr val="A055F5"/>
          </a:solidFill>
          <a:ln w="12700">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
                <a:srgbClr val="96968C"/>
              </a:buClr>
              <a:buSzPct val="85000"/>
              <a:buFontTx/>
              <a:buNone/>
              <a:tabLst/>
              <a:defRPr/>
            </a:pPr>
            <a:endParaRPr kumimoji="0" lang="en-US" sz="1400" b="0" i="0" u="none" strike="noStrike" kern="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57B906B-0E74-4945-AA05-C8A671D6CDA2}"/>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38659383"/>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Useful Objects</a:t>
            </a:r>
          </a:p>
        </p:txBody>
      </p:sp>
      <p:sp>
        <p:nvSpPr>
          <p:cNvPr id="5" name="Text Placeholder 4">
            <a:extLst>
              <a:ext uri="{FF2B5EF4-FFF2-40B4-BE49-F238E27FC236}">
                <a16:creationId xmlns:a16="http://schemas.microsoft.com/office/drawing/2014/main" id="{77871B29-AE03-43AD-9374-C2E67BD30B7E}"/>
              </a:ext>
            </a:extLst>
          </p:cNvPr>
          <p:cNvSpPr>
            <a:spLocks noGrp="1"/>
          </p:cNvSpPr>
          <p:nvPr>
            <p:ph type="body" sz="quarter" idx="15"/>
          </p:nvPr>
        </p:nvSpPr>
        <p:spPr>
          <a:xfrm>
            <a:off x="8055427" y="3889828"/>
            <a:ext cx="2993573" cy="2194486"/>
          </a:xfrm>
        </p:spPr>
        <p:txBody>
          <a:bodyPr/>
          <a:lstStyle/>
          <a:p>
            <a:r>
              <a:rPr lang="en-US" dirty="0"/>
              <a:t>Part of </a:t>
            </a:r>
            <a:br>
              <a:rPr lang="en-US" dirty="0"/>
            </a:br>
            <a:r>
              <a:rPr lang="en-US" dirty="0">
                <a:hlinkClick r:id="rId3" action="ppaction://hlinksldjump">
                  <a:extLst>
                    <a:ext uri="{A12FA001-AC4F-418D-AE19-62706E023703}">
                      <ahyp:hlinkClr xmlns:ahyp="http://schemas.microsoft.com/office/drawing/2018/hyperlinkcolor" val="tx"/>
                    </a:ext>
                  </a:extLst>
                </a:hlinkClick>
              </a:rPr>
              <a:t>Standard Visuals</a:t>
            </a:r>
            <a:endParaRPr lang="en-US" dirty="0"/>
          </a:p>
        </p:txBody>
      </p:sp>
      <p:sp>
        <p:nvSpPr>
          <p:cNvPr id="2" name="Freeform: Shape 1">
            <a:hlinkClick r:id="rId4" action="ppaction://hlinksldjump"/>
            <a:extLst>
              <a:ext uri="{FF2B5EF4-FFF2-40B4-BE49-F238E27FC236}">
                <a16:creationId xmlns:a16="http://schemas.microsoft.com/office/drawing/2014/main" id="{B1B45DD8-BC6C-4853-96F3-0D1B70357DC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TextBox 2">
            <a:extLst>
              <a:ext uri="{FF2B5EF4-FFF2-40B4-BE49-F238E27FC236}">
                <a16:creationId xmlns:a16="http://schemas.microsoft.com/office/drawing/2014/main" id="{076BD614-CEAF-41F0-A7BB-611522A6323F}"/>
              </a:ext>
            </a:extLst>
          </p:cNvPr>
          <p:cNvSpPr txBox="1"/>
          <p:nvPr/>
        </p:nvSpPr>
        <p:spPr>
          <a:xfrm>
            <a:off x="11661569" y="546265"/>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10" name="Rectangle 9">
            <a:hlinkClick r:id="rId4" action="ppaction://hlinksldjump"/>
            <a:extLst>
              <a:ext uri="{FF2B5EF4-FFF2-40B4-BE49-F238E27FC236}">
                <a16:creationId xmlns:a16="http://schemas.microsoft.com/office/drawing/2014/main" id="{C5A1D230-B7FB-43CF-B9D4-DEDD3B01DBF9}"/>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794153633"/>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Fade-outs and Cover-ups</a:t>
            </a:r>
          </a:p>
        </p:txBody>
      </p:sp>
      <p:sp>
        <p:nvSpPr>
          <p:cNvPr id="4" name="Freeform: Shape 3">
            <a:hlinkClick r:id="rId7"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10">
            <a:extLst>
              <a:ext uri="{FF2B5EF4-FFF2-40B4-BE49-F238E27FC236}">
                <a16:creationId xmlns:a16="http://schemas.microsoft.com/office/drawing/2014/main" id="{D6C53302-C3EA-43E7-BCEF-8D97AC8B3AEA}"/>
              </a:ext>
            </a:extLst>
          </p:cNvPr>
          <p:cNvSpPr>
            <a:spLocks noChangeArrowheads="1"/>
          </p:cNvSpPr>
          <p:nvPr>
            <p:custDataLst>
              <p:tags r:id="rId1"/>
            </p:custDataLst>
          </p:nvPr>
        </p:nvSpPr>
        <p:spPr bwMode="auto">
          <a:xfrm>
            <a:off x="1323563" y="1628775"/>
            <a:ext cx="3544888" cy="2562225"/>
          </a:xfrm>
          <a:prstGeom prst="rect">
            <a:avLst/>
          </a:prstGeom>
          <a:solidFill>
            <a:srgbClr val="E4E7E7">
              <a:alpha val="50000"/>
            </a:srgbClr>
          </a:solidFill>
          <a:ln w="6350">
            <a:noFill/>
            <a:miter lim="800000"/>
            <a:headEnd/>
            <a:tailEnd/>
          </a:ln>
          <a:effectLst/>
        </p:spPr>
        <p:txBody>
          <a:bodyPr lIns="72000" tIns="72000" rIns="72000" bIns="72000" anchor="b"/>
          <a:lstStyle/>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Use this box to cover in-active or non-relevant parts of a slide, e.g. project phases out of scope. This area is optimized for black &amp; white printing.</a:t>
            </a:r>
          </a:p>
        </p:txBody>
      </p:sp>
      <p:sp>
        <p:nvSpPr>
          <p:cNvPr id="6" name="Text Box 7">
            <a:extLst>
              <a:ext uri="{FF2B5EF4-FFF2-40B4-BE49-F238E27FC236}">
                <a16:creationId xmlns:a16="http://schemas.microsoft.com/office/drawing/2014/main" id="{B18A740F-85A5-44B2-8BE6-1B11C5089AF4}"/>
              </a:ext>
            </a:extLst>
          </p:cNvPr>
          <p:cNvSpPr txBox="1">
            <a:spLocks noChangeArrowheads="1"/>
          </p:cNvSpPr>
          <p:nvPr>
            <p:custDataLst>
              <p:tags r:id="rId2"/>
            </p:custDataLst>
          </p:nvPr>
        </p:nvSpPr>
        <p:spPr bwMode="auto">
          <a:xfrm>
            <a:off x="1418168" y="1766900"/>
            <a:ext cx="879475" cy="697627"/>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Phase 2</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7" name="Text Box 8">
            <a:extLst>
              <a:ext uri="{FF2B5EF4-FFF2-40B4-BE49-F238E27FC236}">
                <a16:creationId xmlns:a16="http://schemas.microsoft.com/office/drawing/2014/main" id="{7B2D386B-5D6A-4B9A-9F61-4CBEE1FB4491}"/>
              </a:ext>
            </a:extLst>
          </p:cNvPr>
          <p:cNvSpPr txBox="1">
            <a:spLocks noChangeArrowheads="1"/>
          </p:cNvSpPr>
          <p:nvPr>
            <p:custDataLst>
              <p:tags r:id="rId3"/>
            </p:custDataLst>
          </p:nvPr>
        </p:nvSpPr>
        <p:spPr bwMode="auto">
          <a:xfrm>
            <a:off x="345018" y="1766900"/>
            <a:ext cx="879475" cy="697627"/>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Phase 1</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8" name="Text Box 9">
            <a:extLst>
              <a:ext uri="{FF2B5EF4-FFF2-40B4-BE49-F238E27FC236}">
                <a16:creationId xmlns:a16="http://schemas.microsoft.com/office/drawing/2014/main" id="{0B5C27B9-77C1-48B4-BA16-6225DDA6844C}"/>
              </a:ext>
            </a:extLst>
          </p:cNvPr>
          <p:cNvSpPr txBox="1">
            <a:spLocks noChangeArrowheads="1"/>
          </p:cNvSpPr>
          <p:nvPr>
            <p:custDataLst>
              <p:tags r:id="rId4"/>
            </p:custDataLst>
          </p:nvPr>
        </p:nvSpPr>
        <p:spPr bwMode="auto">
          <a:xfrm>
            <a:off x="2526243" y="1766900"/>
            <a:ext cx="879475" cy="697627"/>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raphik"/>
                <a:ea typeface="+mn-ea"/>
                <a:cs typeface="+mn-cs"/>
              </a:rPr>
              <a:t>Phase 3</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a:p>
            <a:pPr marL="0" marR="0" lvl="0" indent="0" algn="l" defTabSz="914400" rtl="0" eaLnBrk="0" fontAlgn="auto" latinLnBrk="0" hangingPunct="0">
              <a:lnSpc>
                <a:spcPct val="100000"/>
              </a:lnSpc>
              <a:spcBef>
                <a:spcPts val="100"/>
              </a:spcBef>
              <a:spcAft>
                <a:spcPts val="1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mn-cs"/>
              </a:rPr>
              <a:t>Text</a:t>
            </a:r>
          </a:p>
        </p:txBody>
      </p:sp>
      <p:sp>
        <p:nvSpPr>
          <p:cNvPr id="3" name="Rectangle 2">
            <a:hlinkClick r:id="rId7" action="ppaction://hlinksldjump"/>
            <a:extLst>
              <a:ext uri="{FF2B5EF4-FFF2-40B4-BE49-F238E27FC236}">
                <a16:creationId xmlns:a16="http://schemas.microsoft.com/office/drawing/2014/main" id="{C930372D-85D8-424A-9092-ECDAC978438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80525010"/>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altLang="zh-SG" dirty="0"/>
              <a:t>Duration, Milestones and Tick</a:t>
            </a:r>
            <a:endParaRPr lang="en-US" dirty="0"/>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3">
            <a:extLst>
              <a:ext uri="{FF2B5EF4-FFF2-40B4-BE49-F238E27FC236}">
                <a16:creationId xmlns:a16="http://schemas.microsoft.com/office/drawing/2014/main" id="{1A37F9C1-3BCE-4C5F-8B80-F6A199371CBB}"/>
              </a:ext>
            </a:extLst>
          </p:cNvPr>
          <p:cNvSpPr>
            <a:spLocks noChangeArrowheads="1"/>
          </p:cNvSpPr>
          <p:nvPr/>
        </p:nvSpPr>
        <p:spPr bwMode="auto">
          <a:xfrm>
            <a:off x="6628384" y="2903388"/>
            <a:ext cx="1327992" cy="43088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sym typeface="Wingdings" pitchFamily="2" charset="2"/>
              </a:rPr>
              <a:t>Tick character: </a:t>
            </a:r>
            <a:r>
              <a:rPr kumimoji="0" lang="en-US" sz="2800" b="1" i="0" u="none" strike="noStrike" kern="0" cap="none" spc="0" normalizeH="0" baseline="0" noProof="0" dirty="0">
                <a:ln>
                  <a:noFill/>
                </a:ln>
                <a:solidFill>
                  <a:srgbClr val="A100FF"/>
                </a:solidFill>
                <a:effectLst/>
                <a:uLnTx/>
                <a:uFillTx/>
                <a:latin typeface="Graphik"/>
                <a:ea typeface="+mn-ea"/>
                <a:cs typeface="+mn-cs"/>
                <a:sym typeface="Wingdings" pitchFamily="2" charset="2"/>
              </a:rPr>
              <a:t></a:t>
            </a:r>
          </a:p>
        </p:txBody>
      </p:sp>
      <p:grpSp>
        <p:nvGrpSpPr>
          <p:cNvPr id="6" name="Gruppieren 15">
            <a:extLst>
              <a:ext uri="{FF2B5EF4-FFF2-40B4-BE49-F238E27FC236}">
                <a16:creationId xmlns:a16="http://schemas.microsoft.com/office/drawing/2014/main" id="{3052A846-60E6-4A1C-B28A-E3D591406B5A}"/>
              </a:ext>
            </a:extLst>
          </p:cNvPr>
          <p:cNvGrpSpPr/>
          <p:nvPr/>
        </p:nvGrpSpPr>
        <p:grpSpPr bwMode="auto">
          <a:xfrm>
            <a:off x="986409" y="3000225"/>
            <a:ext cx="2039938" cy="290513"/>
            <a:chOff x="844550" y="3241675"/>
            <a:chExt cx="2039938" cy="290513"/>
          </a:xfrm>
        </p:grpSpPr>
        <p:sp>
          <p:nvSpPr>
            <p:cNvPr id="7" name="Line 5">
              <a:extLst>
                <a:ext uri="{FF2B5EF4-FFF2-40B4-BE49-F238E27FC236}">
                  <a16:creationId xmlns:a16="http://schemas.microsoft.com/office/drawing/2014/main" id="{634DC5FD-D501-4DCE-9B4D-CFABDAB293D5}"/>
                </a:ext>
              </a:extLst>
            </p:cNvPr>
            <p:cNvSpPr>
              <a:spLocks noChangeShapeType="1"/>
            </p:cNvSpPr>
            <p:nvPr/>
          </p:nvSpPr>
          <p:spPr bwMode="auto">
            <a:xfrm>
              <a:off x="844550" y="3373438"/>
              <a:ext cx="2039938" cy="0"/>
            </a:xfrm>
            <a:prstGeom prst="line">
              <a:avLst/>
            </a:prstGeom>
            <a:noFill/>
            <a:ln w="6350">
              <a:solidFill>
                <a:srgbClr val="BE82FF"/>
              </a:solidFill>
              <a:round/>
              <a:headEnd type="triangle" w="med" len="med"/>
              <a:tailEnd type="triangl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Rectangle 6">
              <a:extLst>
                <a:ext uri="{FF2B5EF4-FFF2-40B4-BE49-F238E27FC236}">
                  <a16:creationId xmlns:a16="http://schemas.microsoft.com/office/drawing/2014/main" id="{F567CA7F-CE36-4A6C-A2C9-0C56919DAA61}"/>
                </a:ext>
              </a:extLst>
            </p:cNvPr>
            <p:cNvSpPr>
              <a:spLocks noChangeArrowheads="1"/>
            </p:cNvSpPr>
            <p:nvPr/>
          </p:nvSpPr>
          <p:spPr bwMode="auto">
            <a:xfrm>
              <a:off x="1447836" y="3241675"/>
              <a:ext cx="833367" cy="290513"/>
            </a:xfrm>
            <a:prstGeom prst="rect">
              <a:avLst/>
            </a:prstGeom>
            <a:solidFill>
              <a:srgbClr val="FFFFFF"/>
            </a:solidFill>
            <a:ln w="6350">
              <a:noFill/>
              <a:miter lim="800000"/>
              <a:headEnd/>
              <a:tailEnd/>
            </a:ln>
            <a:effectLst/>
          </p:spPr>
          <p:txBody>
            <a:bodyPr wrap="none" lIns="45720" rIns="4572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3-4 weeks</a:t>
              </a:r>
            </a:p>
          </p:txBody>
        </p:sp>
      </p:grpSp>
      <p:sp>
        <p:nvSpPr>
          <p:cNvPr id="9" name="Rectangle 7">
            <a:extLst>
              <a:ext uri="{FF2B5EF4-FFF2-40B4-BE49-F238E27FC236}">
                <a16:creationId xmlns:a16="http://schemas.microsoft.com/office/drawing/2014/main" id="{B2B4677E-3B92-4F4B-B479-3DF8096CEACF}"/>
              </a:ext>
            </a:extLst>
          </p:cNvPr>
          <p:cNvSpPr>
            <a:spLocks noChangeArrowheads="1"/>
          </p:cNvSpPr>
          <p:nvPr/>
        </p:nvSpPr>
        <p:spPr bwMode="auto">
          <a:xfrm>
            <a:off x="986409" y="3339950"/>
            <a:ext cx="2039938" cy="365125"/>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ct val="3000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Graphik"/>
                <a:ea typeface="+mn-ea"/>
                <a:cs typeface="+mn-cs"/>
              </a:rPr>
              <a:t>This object can be stretched to its required width.</a:t>
            </a:r>
          </a:p>
        </p:txBody>
      </p:sp>
      <p:grpSp>
        <p:nvGrpSpPr>
          <p:cNvPr id="10" name="Group 8">
            <a:extLst>
              <a:ext uri="{FF2B5EF4-FFF2-40B4-BE49-F238E27FC236}">
                <a16:creationId xmlns:a16="http://schemas.microsoft.com/office/drawing/2014/main" id="{2A4106C6-C98B-409D-8B5E-607BEA73D5F8}"/>
              </a:ext>
            </a:extLst>
          </p:cNvPr>
          <p:cNvGrpSpPr>
            <a:grpSpLocks/>
          </p:cNvGrpSpPr>
          <p:nvPr/>
        </p:nvGrpSpPr>
        <p:grpSpPr bwMode="auto">
          <a:xfrm>
            <a:off x="3658172" y="1733400"/>
            <a:ext cx="1827212" cy="3675820"/>
            <a:chOff x="2400" y="1497"/>
            <a:chExt cx="1246" cy="1858"/>
          </a:xfrm>
        </p:grpSpPr>
        <p:sp>
          <p:nvSpPr>
            <p:cNvPr id="11" name="Line 9">
              <a:extLst>
                <a:ext uri="{FF2B5EF4-FFF2-40B4-BE49-F238E27FC236}">
                  <a16:creationId xmlns:a16="http://schemas.microsoft.com/office/drawing/2014/main" id="{0789A1CD-A919-4EF9-85D4-D3D0AC1AE215}"/>
                </a:ext>
              </a:extLst>
            </p:cNvPr>
            <p:cNvSpPr>
              <a:spLocks noChangeShapeType="1"/>
            </p:cNvSpPr>
            <p:nvPr/>
          </p:nvSpPr>
          <p:spPr bwMode="auto">
            <a:xfrm>
              <a:off x="3023" y="1497"/>
              <a:ext cx="0" cy="1340"/>
            </a:xfrm>
            <a:prstGeom prst="line">
              <a:avLst/>
            </a:prstGeom>
            <a:noFill/>
            <a:ln w="6350">
              <a:solidFill>
                <a:srgbClr val="BE82FF"/>
              </a:solidFill>
              <a:prstDash val="dash"/>
              <a:round/>
              <a:headEnd/>
              <a:tailEnd/>
            </a:ln>
            <a:effectLst/>
          </p:spPr>
          <p:txBody>
            <a:bodyPr wrap="none" lIns="36000" tIns="36000" rIns="36000" bIns="36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Text Box 10">
              <a:extLst>
                <a:ext uri="{FF2B5EF4-FFF2-40B4-BE49-F238E27FC236}">
                  <a16:creationId xmlns:a16="http://schemas.microsoft.com/office/drawing/2014/main" id="{E43F1AD7-62E9-4B6B-83E0-41BF17E8B2CE}"/>
                </a:ext>
              </a:extLst>
            </p:cNvPr>
            <p:cNvSpPr txBox="1">
              <a:spLocks noChangeArrowheads="1"/>
            </p:cNvSpPr>
            <p:nvPr/>
          </p:nvSpPr>
          <p:spPr bwMode="auto">
            <a:xfrm>
              <a:off x="2400" y="2795"/>
              <a:ext cx="1246" cy="560"/>
            </a:xfrm>
            <a:prstGeom prst="rect">
              <a:avLst/>
            </a:prstGeom>
            <a:solidFill>
              <a:srgbClr val="FFFFFF"/>
            </a:solid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ct val="0"/>
                </a:spcBef>
                <a:spcAft>
                  <a:spcPts val="0"/>
                </a:spcAft>
                <a:buClr>
                  <a:srgbClr val="BE82FF"/>
                </a:buClr>
                <a:buSzTx/>
                <a:buFont typeface="Wingdings" pitchFamily="2" charset="2"/>
                <a:buChar char="u"/>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 </a:t>
              </a:r>
              <a:br>
                <a:rPr kumimoji="0" lang="en-US" sz="1200" b="0" i="0" u="none" strike="noStrike" kern="0" cap="none" spc="0" normalizeH="0" baseline="0" noProof="0" dirty="0">
                  <a:ln>
                    <a:noFill/>
                  </a:ln>
                  <a:solidFill>
                    <a:srgbClr val="000000"/>
                  </a:solidFill>
                  <a:effectLst/>
                  <a:uLnTx/>
                  <a:uFillTx/>
                  <a:latin typeface="Graphik"/>
                  <a:ea typeface="+mn-ea"/>
                  <a:cs typeface="+mn-cs"/>
                </a:rPr>
              </a:br>
              <a:r>
                <a:rPr kumimoji="0" lang="en-US" sz="1200" b="0" i="0" u="none" strike="noStrike" kern="0" cap="none" spc="0" normalizeH="0" baseline="0" noProof="0" dirty="0">
                  <a:ln>
                    <a:noFill/>
                  </a:ln>
                  <a:solidFill>
                    <a:srgbClr val="000000"/>
                  </a:solidFill>
                  <a:effectLst/>
                  <a:uLnTx/>
                  <a:uFillTx/>
                  <a:latin typeface="Graphik"/>
                  <a:ea typeface="+mn-ea"/>
                  <a:cs typeface="+mn-cs"/>
                </a:rPr>
                <a:t>13.03.02</a:t>
              </a:r>
            </a:p>
            <a:p>
              <a:pPr marL="0" marR="0" lvl="0" indent="0" algn="l" defTabSz="914400" rtl="0" eaLnBrk="0" fontAlgn="auto" latinLnBrk="0" hangingPunct="0">
                <a:lnSpc>
                  <a:spcPct val="100000"/>
                </a:lnSpc>
                <a:spcBef>
                  <a:spcPct val="0"/>
                </a:spcBef>
                <a:spcAft>
                  <a:spcPts val="0"/>
                </a:spcAft>
                <a:buClr>
                  <a:srgbClr val="96968C"/>
                </a:buClr>
                <a:buSzTx/>
                <a:buFont typeface="Wingdings" pitchFamily="2" charset="2"/>
                <a:buNone/>
                <a:tabLst/>
                <a:defRPr/>
              </a:pPr>
              <a:r>
                <a:rPr kumimoji="0" lang="en-US" sz="1200" b="1" i="0" u="none" strike="noStrike" kern="0" cap="none" spc="0" normalizeH="0" baseline="0" noProof="0" dirty="0">
                  <a:ln>
                    <a:noFill/>
                  </a:ln>
                  <a:solidFill>
                    <a:srgbClr val="000000"/>
                  </a:solidFill>
                  <a:effectLst/>
                  <a:uLnTx/>
                  <a:uFillTx/>
                  <a:latin typeface="Graphik"/>
                  <a:ea typeface="+mn-ea"/>
                  <a:cs typeface="+mn-cs"/>
                </a:rPr>
                <a:t>Milestone object</a:t>
              </a:r>
            </a:p>
            <a:p>
              <a:pPr marL="0" marR="0" lvl="0" indent="0" algn="l" defTabSz="914400" rtl="0" eaLnBrk="0" fontAlgn="auto" latinLnBrk="0" hangingPunct="0">
                <a:lnSpc>
                  <a:spcPct val="100000"/>
                </a:lnSpc>
                <a:spcBef>
                  <a:spcPct val="0"/>
                </a:spcBef>
                <a:spcAft>
                  <a:spcPts val="0"/>
                </a:spcAft>
                <a:buClr>
                  <a:srgbClr val="96968C"/>
                </a:buClr>
                <a:buSzTx/>
                <a:buFont typeface="Wingdings" pitchFamily="2" charset="2"/>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The above diamond shape will not change its size when line is stretched </a:t>
              </a:r>
            </a:p>
          </p:txBody>
        </p:sp>
      </p:grpSp>
      <p:sp>
        <p:nvSpPr>
          <p:cNvPr id="13" name="Rectangle 11">
            <a:extLst>
              <a:ext uri="{FF2B5EF4-FFF2-40B4-BE49-F238E27FC236}">
                <a16:creationId xmlns:a16="http://schemas.microsoft.com/office/drawing/2014/main" id="{F61D9CD1-A42F-4F7E-9390-70F593B193C4}"/>
              </a:ext>
            </a:extLst>
          </p:cNvPr>
          <p:cNvSpPr>
            <a:spLocks noChangeArrowheads="1"/>
          </p:cNvSpPr>
          <p:nvPr/>
        </p:nvSpPr>
        <p:spPr bwMode="auto">
          <a:xfrm>
            <a:off x="986409" y="2730350"/>
            <a:ext cx="2039938" cy="182563"/>
          </a:xfrm>
          <a:prstGeom prst="rect">
            <a:avLst/>
          </a:prstGeom>
          <a:noFill/>
          <a:ln w="6350">
            <a:noFill/>
            <a:miter lim="800000"/>
            <a:headEnd/>
            <a:tailEnd/>
          </a:ln>
          <a:effectLst/>
        </p:spPr>
        <p:txBody>
          <a:bodyPr lIns="0" tIns="0" rIns="0" bIns="0">
            <a:spAutoFit/>
          </a:bodyPr>
          <a:lstStyle/>
          <a:p>
            <a:pPr marL="0" marR="0" lvl="0" indent="0" algn="l" defTabSz="914400" rtl="0" eaLnBrk="0" fontAlgn="auto" latinLnBrk="0" hangingPunct="0">
              <a:lnSpc>
                <a:spcPct val="100000"/>
              </a:lnSpc>
              <a:spcBef>
                <a:spcPct val="3000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Graphik"/>
                <a:ea typeface="+mn-ea"/>
                <a:cs typeface="+mn-cs"/>
              </a:rPr>
              <a:t>Duration line object</a:t>
            </a:r>
          </a:p>
        </p:txBody>
      </p:sp>
      <p:sp>
        <p:nvSpPr>
          <p:cNvPr id="3" name="Rectangle 2">
            <a:hlinkClick r:id="rId3" action="ppaction://hlinksldjump"/>
            <a:extLst>
              <a:ext uri="{FF2B5EF4-FFF2-40B4-BE49-F238E27FC236}">
                <a16:creationId xmlns:a16="http://schemas.microsoft.com/office/drawing/2014/main" id="{2F125316-12A6-4A0F-B740-1C4D36ED598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730628456"/>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Discontinuous Axis Marks</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Line 14">
            <a:extLst>
              <a:ext uri="{FF2B5EF4-FFF2-40B4-BE49-F238E27FC236}">
                <a16:creationId xmlns:a16="http://schemas.microsoft.com/office/drawing/2014/main" id="{F8FD6ADE-C840-483C-9563-7C620019961A}"/>
              </a:ext>
            </a:extLst>
          </p:cNvPr>
          <p:cNvSpPr>
            <a:spLocks noChangeShapeType="1"/>
          </p:cNvSpPr>
          <p:nvPr/>
        </p:nvSpPr>
        <p:spPr bwMode="auto">
          <a:xfrm>
            <a:off x="4540076" y="2429148"/>
            <a:ext cx="0" cy="3090862"/>
          </a:xfrm>
          <a:prstGeom prst="line">
            <a:avLst/>
          </a:prstGeom>
          <a:noFill/>
          <a:ln w="6350">
            <a:solidFill>
              <a:srgbClr val="666666"/>
            </a:solidFill>
            <a:round/>
            <a:headEnd type="triangle" w="med" len="me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6" name="Group 24">
            <a:extLst>
              <a:ext uri="{FF2B5EF4-FFF2-40B4-BE49-F238E27FC236}">
                <a16:creationId xmlns:a16="http://schemas.microsoft.com/office/drawing/2014/main" id="{745F1E46-12DF-4FCC-BA89-A30875833218}"/>
              </a:ext>
            </a:extLst>
          </p:cNvPr>
          <p:cNvGrpSpPr>
            <a:grpSpLocks/>
          </p:cNvGrpSpPr>
          <p:nvPr/>
        </p:nvGrpSpPr>
        <p:grpSpPr bwMode="auto">
          <a:xfrm>
            <a:off x="1193626" y="3745185"/>
            <a:ext cx="392113" cy="458788"/>
            <a:chOff x="4332" y="2562"/>
            <a:chExt cx="268" cy="289"/>
          </a:xfrm>
        </p:grpSpPr>
        <p:sp>
          <p:nvSpPr>
            <p:cNvPr id="7" name="Freeform 25">
              <a:extLst>
                <a:ext uri="{FF2B5EF4-FFF2-40B4-BE49-F238E27FC236}">
                  <a16:creationId xmlns:a16="http://schemas.microsoft.com/office/drawing/2014/main" id="{17CDB244-E0F7-4B31-9AF9-9AA45C1ECD7C}"/>
                </a:ext>
              </a:extLst>
            </p:cNvPr>
            <p:cNvSpPr>
              <a:spLocks/>
            </p:cNvSpPr>
            <p:nvPr/>
          </p:nvSpPr>
          <p:spPr bwMode="auto">
            <a:xfrm>
              <a:off x="4381" y="2619"/>
              <a:ext cx="184" cy="1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8" name="Line 26">
              <a:extLst>
                <a:ext uri="{FF2B5EF4-FFF2-40B4-BE49-F238E27FC236}">
                  <a16:creationId xmlns:a16="http://schemas.microsoft.com/office/drawing/2014/main" id="{A5770749-30EE-4FE3-960C-1B5F09BF2B72}"/>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9" name="Line 27">
              <a:extLst>
                <a:ext uri="{FF2B5EF4-FFF2-40B4-BE49-F238E27FC236}">
                  <a16:creationId xmlns:a16="http://schemas.microsoft.com/office/drawing/2014/main" id="{6950167E-895B-40D4-9E9C-E355DE50791C}"/>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0" name="Group 37">
            <a:extLst>
              <a:ext uri="{FF2B5EF4-FFF2-40B4-BE49-F238E27FC236}">
                <a16:creationId xmlns:a16="http://schemas.microsoft.com/office/drawing/2014/main" id="{CF1B77B1-33C5-4694-A8CA-30A85F4A0106}"/>
              </a:ext>
            </a:extLst>
          </p:cNvPr>
          <p:cNvGrpSpPr>
            <a:grpSpLocks/>
          </p:cNvGrpSpPr>
          <p:nvPr/>
        </p:nvGrpSpPr>
        <p:grpSpPr bwMode="auto">
          <a:xfrm rot="16200000" flipH="1">
            <a:off x="2159620" y="3761854"/>
            <a:ext cx="425450" cy="423862"/>
            <a:chOff x="4332" y="2562"/>
            <a:chExt cx="268" cy="289"/>
          </a:xfrm>
        </p:grpSpPr>
        <p:sp>
          <p:nvSpPr>
            <p:cNvPr id="11" name="Freeform 38">
              <a:extLst>
                <a:ext uri="{FF2B5EF4-FFF2-40B4-BE49-F238E27FC236}">
                  <a16:creationId xmlns:a16="http://schemas.microsoft.com/office/drawing/2014/main" id="{C2DAE165-1F24-42FE-8C60-84D120740F3D}"/>
                </a:ext>
              </a:extLst>
            </p:cNvPr>
            <p:cNvSpPr>
              <a:spLocks/>
            </p:cNvSpPr>
            <p:nvPr/>
          </p:nvSpPr>
          <p:spPr bwMode="auto">
            <a:xfrm>
              <a:off x="4381" y="2619"/>
              <a:ext cx="184" cy="1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12" name="Line 39">
              <a:extLst>
                <a:ext uri="{FF2B5EF4-FFF2-40B4-BE49-F238E27FC236}">
                  <a16:creationId xmlns:a16="http://schemas.microsoft.com/office/drawing/2014/main" id="{4AABB291-A38A-412A-B495-724D45AE1CE3}"/>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13" name="Line 40">
              <a:extLst>
                <a:ext uri="{FF2B5EF4-FFF2-40B4-BE49-F238E27FC236}">
                  <a16:creationId xmlns:a16="http://schemas.microsoft.com/office/drawing/2014/main" id="{91794621-179F-4E1D-BB4C-F4AB66B70F3F}"/>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14" name="Line 60">
            <a:extLst>
              <a:ext uri="{FF2B5EF4-FFF2-40B4-BE49-F238E27FC236}">
                <a16:creationId xmlns:a16="http://schemas.microsoft.com/office/drawing/2014/main" id="{D3BB85D6-469C-4B7C-B42B-89B746379A8D}"/>
              </a:ext>
            </a:extLst>
          </p:cNvPr>
          <p:cNvSpPr>
            <a:spLocks noChangeShapeType="1"/>
          </p:cNvSpPr>
          <p:nvPr/>
        </p:nvSpPr>
        <p:spPr bwMode="auto">
          <a:xfrm>
            <a:off x="5246514" y="2429148"/>
            <a:ext cx="0" cy="3090862"/>
          </a:xfrm>
          <a:prstGeom prst="line">
            <a:avLst/>
          </a:prstGeom>
          <a:noFill/>
          <a:ln w="6350">
            <a:solidFill>
              <a:srgbClr val="666666"/>
            </a:solidFill>
            <a:round/>
            <a:headEnd type="triangle" w="med" len="me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nvGrpSpPr>
          <p:cNvPr id="15" name="Group 65">
            <a:extLst>
              <a:ext uri="{FF2B5EF4-FFF2-40B4-BE49-F238E27FC236}">
                <a16:creationId xmlns:a16="http://schemas.microsoft.com/office/drawing/2014/main" id="{874FD133-DF97-4F98-87A5-17A46994B12F}"/>
              </a:ext>
            </a:extLst>
          </p:cNvPr>
          <p:cNvGrpSpPr>
            <a:grpSpLocks/>
          </p:cNvGrpSpPr>
          <p:nvPr/>
        </p:nvGrpSpPr>
        <p:grpSpPr bwMode="auto">
          <a:xfrm rot="16200000" flipH="1">
            <a:off x="5017120" y="3761854"/>
            <a:ext cx="425450" cy="423862"/>
            <a:chOff x="4332" y="2562"/>
            <a:chExt cx="268" cy="289"/>
          </a:xfrm>
        </p:grpSpPr>
        <p:sp>
          <p:nvSpPr>
            <p:cNvPr id="16" name="Freeform 66">
              <a:extLst>
                <a:ext uri="{FF2B5EF4-FFF2-40B4-BE49-F238E27FC236}">
                  <a16:creationId xmlns:a16="http://schemas.microsoft.com/office/drawing/2014/main" id="{98F17DEC-574A-42E6-AFFF-AC6F84889F11}"/>
                </a:ext>
              </a:extLst>
            </p:cNvPr>
            <p:cNvSpPr>
              <a:spLocks/>
            </p:cNvSpPr>
            <p:nvPr/>
          </p:nvSpPr>
          <p:spPr bwMode="auto">
            <a:xfrm>
              <a:off x="4381" y="2619"/>
              <a:ext cx="184" cy="1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17" name="Line 67">
              <a:extLst>
                <a:ext uri="{FF2B5EF4-FFF2-40B4-BE49-F238E27FC236}">
                  <a16:creationId xmlns:a16="http://schemas.microsoft.com/office/drawing/2014/main" id="{F94D76A0-A0B0-4BAF-B76D-EC37B25EEA97}"/>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18" name="Line 68">
              <a:extLst>
                <a:ext uri="{FF2B5EF4-FFF2-40B4-BE49-F238E27FC236}">
                  <a16:creationId xmlns:a16="http://schemas.microsoft.com/office/drawing/2014/main" id="{D4D99F52-E18C-4B59-90F5-A0C01256A54A}"/>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grpSp>
        <p:nvGrpSpPr>
          <p:cNvPr id="19" name="Group 18">
            <a:extLst>
              <a:ext uri="{FF2B5EF4-FFF2-40B4-BE49-F238E27FC236}">
                <a16:creationId xmlns:a16="http://schemas.microsoft.com/office/drawing/2014/main" id="{CA3ECE89-BA94-4C86-A790-9E84DDC018E8}"/>
              </a:ext>
            </a:extLst>
          </p:cNvPr>
          <p:cNvGrpSpPr/>
          <p:nvPr/>
        </p:nvGrpSpPr>
        <p:grpSpPr>
          <a:xfrm>
            <a:off x="6831005" y="2427329"/>
            <a:ext cx="1837690" cy="3087920"/>
            <a:chOff x="6831005" y="2427329"/>
            <a:chExt cx="1837690" cy="3087920"/>
          </a:xfrm>
        </p:grpSpPr>
        <p:sp>
          <p:nvSpPr>
            <p:cNvPr id="20" name="Rectangle 47">
              <a:extLst>
                <a:ext uri="{FF2B5EF4-FFF2-40B4-BE49-F238E27FC236}">
                  <a16:creationId xmlns:a16="http://schemas.microsoft.com/office/drawing/2014/main" id="{1AF5AEB1-5C82-4901-8C15-767388E5B7B9}"/>
                </a:ext>
              </a:extLst>
            </p:cNvPr>
            <p:cNvSpPr>
              <a:spLocks noChangeArrowheads="1"/>
            </p:cNvSpPr>
            <p:nvPr/>
          </p:nvSpPr>
          <p:spPr bwMode="auto">
            <a:xfrm>
              <a:off x="7447030" y="4392534"/>
              <a:ext cx="396398" cy="1122715"/>
            </a:xfrm>
            <a:prstGeom prst="rect">
              <a:avLst/>
            </a:prstGeom>
            <a:solidFill>
              <a:srgbClr val="A100FF"/>
            </a:solidFill>
            <a:ln w="6350">
              <a:noFill/>
              <a:miter lim="800000"/>
              <a:headEnd type="none" w="sm" len="sm"/>
              <a:tailEnd type="none" w="sm" len="sm"/>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21" name="Text Box 54">
              <a:extLst>
                <a:ext uri="{FF2B5EF4-FFF2-40B4-BE49-F238E27FC236}">
                  <a16:creationId xmlns:a16="http://schemas.microsoft.com/office/drawing/2014/main" id="{B9163689-BE72-4401-B707-8A2D7A9EDFD7}"/>
                </a:ext>
              </a:extLst>
            </p:cNvPr>
            <p:cNvSpPr txBox="1">
              <a:spLocks noChangeArrowheads="1"/>
            </p:cNvSpPr>
            <p:nvPr/>
          </p:nvSpPr>
          <p:spPr bwMode="auto">
            <a:xfrm>
              <a:off x="6831005" y="4617132"/>
              <a:ext cx="394613" cy="183783"/>
            </a:xfrm>
            <a:prstGeom prst="rect">
              <a:avLst/>
            </a:prstGeom>
            <a:noFill/>
            <a:ln w="6350">
              <a:noFill/>
              <a:miter lim="800000"/>
              <a:headEnd type="none" w="sm" len="sm"/>
              <a:tailEnd type="none" w="sm" len="sm"/>
            </a:ln>
            <a:effectLst/>
          </p:spPr>
          <p:txBody>
            <a:bodyPr lIns="0" tIns="0" rIns="0" bIns="0" anchor="b">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30</a:t>
              </a:r>
            </a:p>
          </p:txBody>
        </p:sp>
        <p:sp>
          <p:nvSpPr>
            <p:cNvPr id="22" name="Rectangle 55">
              <a:extLst>
                <a:ext uri="{FF2B5EF4-FFF2-40B4-BE49-F238E27FC236}">
                  <a16:creationId xmlns:a16="http://schemas.microsoft.com/office/drawing/2014/main" id="{4541AE24-D18E-4580-8BD7-3ABD0A7563DA}"/>
                </a:ext>
              </a:extLst>
            </p:cNvPr>
            <p:cNvSpPr>
              <a:spLocks noChangeArrowheads="1"/>
            </p:cNvSpPr>
            <p:nvPr/>
          </p:nvSpPr>
          <p:spPr bwMode="auto">
            <a:xfrm>
              <a:off x="6831005" y="4816509"/>
              <a:ext cx="394613" cy="698740"/>
            </a:xfrm>
            <a:prstGeom prst="rect">
              <a:avLst/>
            </a:prstGeom>
            <a:solidFill>
              <a:srgbClr val="A100FF"/>
            </a:solidFill>
            <a:ln w="6350">
              <a:noFill/>
              <a:miter lim="800000"/>
              <a:headEnd type="none" w="sm" len="sm"/>
              <a:tailEnd type="none" w="sm" len="sm"/>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23" name="Text Box 56">
              <a:extLst>
                <a:ext uri="{FF2B5EF4-FFF2-40B4-BE49-F238E27FC236}">
                  <a16:creationId xmlns:a16="http://schemas.microsoft.com/office/drawing/2014/main" id="{3B3E4034-A99A-4FAB-AB9F-46FC92746840}"/>
                </a:ext>
              </a:extLst>
            </p:cNvPr>
            <p:cNvSpPr txBox="1">
              <a:spLocks noChangeArrowheads="1"/>
            </p:cNvSpPr>
            <p:nvPr/>
          </p:nvSpPr>
          <p:spPr bwMode="auto">
            <a:xfrm>
              <a:off x="7447030" y="4185084"/>
              <a:ext cx="396398" cy="183783"/>
            </a:xfrm>
            <a:prstGeom prst="rect">
              <a:avLst/>
            </a:prstGeom>
            <a:noFill/>
            <a:ln w="6350">
              <a:noFill/>
              <a:miter lim="800000"/>
              <a:headEnd type="none" w="sm" len="sm"/>
              <a:tailEnd type="none" w="sm" len="sm"/>
            </a:ln>
            <a:effectLst/>
          </p:spPr>
          <p:txBody>
            <a:bodyPr lIns="0" tIns="0" rIns="0" bIns="0" anchor="b">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50</a:t>
              </a:r>
            </a:p>
          </p:txBody>
        </p:sp>
        <p:grpSp>
          <p:nvGrpSpPr>
            <p:cNvPr id="24" name="Group 23">
              <a:extLst>
                <a:ext uri="{FF2B5EF4-FFF2-40B4-BE49-F238E27FC236}">
                  <a16:creationId xmlns:a16="http://schemas.microsoft.com/office/drawing/2014/main" id="{F1651FE4-CDF5-4125-8844-367B7D8B8C2D}"/>
                </a:ext>
              </a:extLst>
            </p:cNvPr>
            <p:cNvGrpSpPr/>
            <p:nvPr/>
          </p:nvGrpSpPr>
          <p:grpSpPr>
            <a:xfrm>
              <a:off x="7881255" y="2427329"/>
              <a:ext cx="787440" cy="3087920"/>
              <a:chOff x="8018415" y="2427329"/>
              <a:chExt cx="787440" cy="3087920"/>
            </a:xfrm>
          </p:grpSpPr>
          <p:sp>
            <p:nvSpPr>
              <p:cNvPr id="25" name="Rectangle 48">
                <a:extLst>
                  <a:ext uri="{FF2B5EF4-FFF2-40B4-BE49-F238E27FC236}">
                    <a16:creationId xmlns:a16="http://schemas.microsoft.com/office/drawing/2014/main" id="{B1D65C59-E41F-406A-93E6-4BF4E5F33508}"/>
                  </a:ext>
                </a:extLst>
              </p:cNvPr>
              <p:cNvSpPr>
                <a:spLocks noChangeArrowheads="1"/>
              </p:cNvSpPr>
              <p:nvPr/>
            </p:nvSpPr>
            <p:spPr bwMode="auto">
              <a:xfrm>
                <a:off x="8213936" y="2611112"/>
                <a:ext cx="396398" cy="2904137"/>
              </a:xfrm>
              <a:prstGeom prst="rect">
                <a:avLst/>
              </a:prstGeom>
              <a:solidFill>
                <a:srgbClr val="A100FF"/>
              </a:solidFill>
              <a:ln w="6350">
                <a:noFill/>
                <a:miter lim="800000"/>
                <a:headEnd type="none" w="sm" len="sm"/>
                <a:tailEnd type="none" w="sm" len="sm"/>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26" name="Text Box 57">
                <a:extLst>
                  <a:ext uri="{FF2B5EF4-FFF2-40B4-BE49-F238E27FC236}">
                    <a16:creationId xmlns:a16="http://schemas.microsoft.com/office/drawing/2014/main" id="{35647525-243A-4C0F-B202-A9256699BC51}"/>
                  </a:ext>
                </a:extLst>
              </p:cNvPr>
              <p:cNvSpPr txBox="1">
                <a:spLocks noChangeArrowheads="1"/>
              </p:cNvSpPr>
              <p:nvPr/>
            </p:nvSpPr>
            <p:spPr bwMode="auto">
              <a:xfrm>
                <a:off x="8213936" y="2427329"/>
                <a:ext cx="396398" cy="183783"/>
              </a:xfrm>
              <a:prstGeom prst="rect">
                <a:avLst/>
              </a:prstGeom>
              <a:noFill/>
              <a:ln w="6350">
                <a:noFill/>
                <a:miter lim="800000"/>
                <a:headEnd type="none" w="sm" len="sm"/>
                <a:tailEnd type="none" w="sm" len="sm"/>
              </a:ln>
              <a:effectLst/>
            </p:spPr>
            <p:txBody>
              <a:bodyPr lIns="0" tIns="0" rIns="0" bIns="0" anchor="b">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a:ea typeface="+mn-ea"/>
                    <a:cs typeface="+mn-cs"/>
                  </a:rPr>
                  <a:t>300</a:t>
                </a:r>
              </a:p>
            </p:txBody>
          </p:sp>
          <p:grpSp>
            <p:nvGrpSpPr>
              <p:cNvPr id="27" name="Group 69">
                <a:extLst>
                  <a:ext uri="{FF2B5EF4-FFF2-40B4-BE49-F238E27FC236}">
                    <a16:creationId xmlns:a16="http://schemas.microsoft.com/office/drawing/2014/main" id="{6F000997-D926-476E-A21B-A856DEFAE410}"/>
                  </a:ext>
                </a:extLst>
              </p:cNvPr>
              <p:cNvGrpSpPr>
                <a:grpSpLocks/>
              </p:cNvGrpSpPr>
              <p:nvPr/>
            </p:nvGrpSpPr>
            <p:grpSpPr bwMode="auto">
              <a:xfrm rot="16200000" flipH="1">
                <a:off x="8009086" y="3073530"/>
                <a:ext cx="806098" cy="787440"/>
                <a:chOff x="4332" y="2562"/>
                <a:chExt cx="268" cy="289"/>
              </a:xfrm>
            </p:grpSpPr>
            <p:sp>
              <p:nvSpPr>
                <p:cNvPr id="28" name="Freeform 70">
                  <a:extLst>
                    <a:ext uri="{FF2B5EF4-FFF2-40B4-BE49-F238E27FC236}">
                      <a16:creationId xmlns:a16="http://schemas.microsoft.com/office/drawing/2014/main" id="{64755462-AA99-4A1F-B095-0689E85F8D7C}"/>
                    </a:ext>
                  </a:extLst>
                </p:cNvPr>
                <p:cNvSpPr>
                  <a:spLocks/>
                </p:cNvSpPr>
                <p:nvPr/>
              </p:nvSpPr>
              <p:spPr bwMode="auto">
                <a:xfrm>
                  <a:off x="4374" y="2630"/>
                  <a:ext cx="184" cy="152"/>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29" name="Line 71">
                  <a:extLst>
                    <a:ext uri="{FF2B5EF4-FFF2-40B4-BE49-F238E27FC236}">
                      <a16:creationId xmlns:a16="http://schemas.microsoft.com/office/drawing/2014/main" id="{F9DA9FF5-9B1F-459F-984F-45DF6CC58D8E}"/>
                    </a:ext>
                  </a:extLst>
                </p:cNvPr>
                <p:cNvSpPr>
                  <a:spLocks noChangeShapeType="1"/>
                </p:cNvSpPr>
                <p:nvPr/>
              </p:nvSpPr>
              <p:spPr bwMode="auto">
                <a:xfrm flipV="1">
                  <a:off x="4332" y="2562"/>
                  <a:ext cx="180" cy="289"/>
                </a:xfrm>
                <a:prstGeom prst="line">
                  <a:avLst/>
                </a:prstGeom>
                <a:noFill/>
                <a:ln w="6350">
                  <a:solidFill>
                    <a:srgbClr val="666666"/>
                  </a:solidFill>
                  <a:round/>
                  <a:headEnd/>
                  <a:tailEnd/>
                </a:ln>
                <a:effec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0" name="Line 72">
                  <a:extLst>
                    <a:ext uri="{FF2B5EF4-FFF2-40B4-BE49-F238E27FC236}">
                      <a16:creationId xmlns:a16="http://schemas.microsoft.com/office/drawing/2014/main" id="{EC010467-B1A1-4B55-B3EA-1B4B105E6EB1}"/>
                    </a:ext>
                  </a:extLst>
                </p:cNvPr>
                <p:cNvSpPr>
                  <a:spLocks noChangeShapeType="1"/>
                </p:cNvSpPr>
                <p:nvPr/>
              </p:nvSpPr>
              <p:spPr bwMode="auto">
                <a:xfrm flipV="1">
                  <a:off x="4420" y="2562"/>
                  <a:ext cx="180" cy="289"/>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grpSp>
      </p:grpSp>
      <p:grpSp>
        <p:nvGrpSpPr>
          <p:cNvPr id="31" name="Group 15">
            <a:extLst>
              <a:ext uri="{FF2B5EF4-FFF2-40B4-BE49-F238E27FC236}">
                <a16:creationId xmlns:a16="http://schemas.microsoft.com/office/drawing/2014/main" id="{144AB9D3-1FD2-4F79-BF7B-50F80E269EEF}"/>
              </a:ext>
            </a:extLst>
          </p:cNvPr>
          <p:cNvGrpSpPr>
            <a:grpSpLocks/>
          </p:cNvGrpSpPr>
          <p:nvPr/>
        </p:nvGrpSpPr>
        <p:grpSpPr bwMode="auto">
          <a:xfrm>
            <a:off x="4343226" y="3745185"/>
            <a:ext cx="392113" cy="457200"/>
            <a:chOff x="3130" y="2080"/>
            <a:chExt cx="268" cy="288"/>
          </a:xfrm>
        </p:grpSpPr>
        <p:sp>
          <p:nvSpPr>
            <p:cNvPr id="32" name="Freeform 16">
              <a:extLst>
                <a:ext uri="{FF2B5EF4-FFF2-40B4-BE49-F238E27FC236}">
                  <a16:creationId xmlns:a16="http://schemas.microsoft.com/office/drawing/2014/main" id="{116C7D2B-A56B-47C2-AD88-2B7DE86A2376}"/>
                </a:ext>
              </a:extLst>
            </p:cNvPr>
            <p:cNvSpPr>
              <a:spLocks/>
            </p:cNvSpPr>
            <p:nvPr/>
          </p:nvSpPr>
          <p:spPr bwMode="auto">
            <a:xfrm>
              <a:off x="3179" y="2137"/>
              <a:ext cx="184" cy="151"/>
            </a:xfrm>
            <a:custGeom>
              <a:avLst/>
              <a:gdLst/>
              <a:ahLst/>
              <a:cxnLst>
                <a:cxn ang="0">
                  <a:pos x="102" y="0"/>
                </a:cxn>
                <a:cxn ang="0">
                  <a:pos x="199" y="0"/>
                </a:cxn>
                <a:cxn ang="0">
                  <a:pos x="97" y="177"/>
                </a:cxn>
                <a:cxn ang="0">
                  <a:pos x="0" y="177"/>
                </a:cxn>
                <a:cxn ang="0">
                  <a:pos x="102" y="0"/>
                </a:cxn>
              </a:cxnLst>
              <a:rect l="0" t="0" r="r" b="b"/>
              <a:pathLst>
                <a:path w="199" h="177">
                  <a:moveTo>
                    <a:pt x="102" y="0"/>
                  </a:moveTo>
                  <a:lnTo>
                    <a:pt x="199" y="0"/>
                  </a:lnTo>
                  <a:lnTo>
                    <a:pt x="97" y="177"/>
                  </a:lnTo>
                  <a:lnTo>
                    <a:pt x="0" y="177"/>
                  </a:lnTo>
                  <a:lnTo>
                    <a:pt x="102" y="0"/>
                  </a:lnTo>
                  <a:close/>
                </a:path>
              </a:pathLst>
            </a:custGeom>
            <a:solidFill>
              <a:srgbClr val="FFFFFF"/>
            </a:solidFill>
            <a:ln w="3175" cap="flat" cmpd="sng">
              <a:noFill/>
              <a:prstDash val="solid"/>
              <a:round/>
              <a:headEnd type="none" w="med" len="med"/>
              <a:tailEnd type="none" w="med" len="me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3" name="Line 17">
              <a:extLst>
                <a:ext uri="{FF2B5EF4-FFF2-40B4-BE49-F238E27FC236}">
                  <a16:creationId xmlns:a16="http://schemas.microsoft.com/office/drawing/2014/main" id="{52B2CE2F-8A6D-406C-B7BA-EF68C36B8E16}"/>
                </a:ext>
              </a:extLst>
            </p:cNvPr>
            <p:cNvSpPr>
              <a:spLocks noChangeShapeType="1"/>
            </p:cNvSpPr>
            <p:nvPr/>
          </p:nvSpPr>
          <p:spPr bwMode="auto">
            <a:xfrm flipV="1">
              <a:off x="3130" y="2080"/>
              <a:ext cx="180" cy="288"/>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sp>
          <p:nvSpPr>
            <p:cNvPr id="34" name="Line 18">
              <a:extLst>
                <a:ext uri="{FF2B5EF4-FFF2-40B4-BE49-F238E27FC236}">
                  <a16:creationId xmlns:a16="http://schemas.microsoft.com/office/drawing/2014/main" id="{C9EE60B0-06DF-4829-A4F4-AE3D08259D12}"/>
                </a:ext>
              </a:extLst>
            </p:cNvPr>
            <p:cNvSpPr>
              <a:spLocks noChangeShapeType="1"/>
            </p:cNvSpPr>
            <p:nvPr/>
          </p:nvSpPr>
          <p:spPr bwMode="auto">
            <a:xfrm flipV="1">
              <a:off x="3218" y="2080"/>
              <a:ext cx="180" cy="288"/>
            </a:xfrm>
            <a:prstGeom prst="line">
              <a:avLst/>
            </a:prstGeom>
            <a:noFill/>
            <a:ln w="6350">
              <a:solidFill>
                <a:srgbClr val="666666"/>
              </a:solidFill>
              <a:round/>
              <a:headEnd/>
              <a:tailEnd/>
            </a:ln>
            <a:effec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Graphik"/>
                <a:ea typeface="+mn-ea"/>
                <a:cs typeface="+mn-cs"/>
              </a:endParaRPr>
            </a:p>
          </p:txBody>
        </p:sp>
      </p:grpSp>
      <p:sp>
        <p:nvSpPr>
          <p:cNvPr id="3" name="TextBox 2">
            <a:extLst>
              <a:ext uri="{FF2B5EF4-FFF2-40B4-BE49-F238E27FC236}">
                <a16:creationId xmlns:a16="http://schemas.microsoft.com/office/drawing/2014/main" id="{B95E7ED2-8831-4FB5-A1EE-7825CD00BA73}"/>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Place one of these objects on a graph’s axis or bar </a:t>
            </a:r>
            <a:br>
              <a:rPr kumimoji="0" lang="en-GB" sz="1600" b="0" i="0" u="none" strike="noStrike" kern="1200" cap="none" spc="0" normalizeH="0" baseline="0" noProof="0" dirty="0">
                <a:ln>
                  <a:noFill/>
                </a:ln>
                <a:solidFill>
                  <a:srgbClr val="000000"/>
                </a:solidFill>
                <a:effectLst/>
                <a:uLnTx/>
                <a:uFillTx/>
                <a:latin typeface="Graphik"/>
                <a:ea typeface="+mn-ea"/>
                <a:cs typeface="+mn-cs"/>
              </a:rPr>
            </a:br>
            <a:r>
              <a:rPr kumimoji="0" lang="en-GB" sz="1600" b="0" i="0" u="none" strike="noStrike" kern="1200" cap="none" spc="0" normalizeH="0" baseline="0" noProof="0" dirty="0">
                <a:ln>
                  <a:noFill/>
                </a:ln>
                <a:solidFill>
                  <a:srgbClr val="000000"/>
                </a:solidFill>
                <a:effectLst/>
                <a:uLnTx/>
                <a:uFillTx/>
                <a:latin typeface="Graphik"/>
                <a:ea typeface="+mn-ea"/>
                <a:cs typeface="+mn-cs"/>
              </a:rPr>
              <a:t>to advise about a discontinuous scale</a:t>
            </a:r>
          </a:p>
        </p:txBody>
      </p:sp>
      <p:sp>
        <p:nvSpPr>
          <p:cNvPr id="36" name="Rectangle 35">
            <a:hlinkClick r:id="rId3" action="ppaction://hlinksldjump"/>
            <a:extLst>
              <a:ext uri="{FF2B5EF4-FFF2-40B4-BE49-F238E27FC236}">
                <a16:creationId xmlns:a16="http://schemas.microsoft.com/office/drawing/2014/main" id="{ED2E3781-3A05-4439-BC28-A34323F305EA}"/>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624769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6C62067-229E-B948-BDE8-A5F2C0863344}"/>
              </a:ext>
            </a:extLst>
          </p:cNvPr>
          <p:cNvSpPr>
            <a:spLocks noGrp="1"/>
          </p:cNvSpPr>
          <p:nvPr>
            <p:ph type="title"/>
          </p:nvPr>
        </p:nvSpPr>
        <p:spPr/>
        <p:txBody>
          <a:bodyPr/>
          <a:lstStyle/>
          <a:p>
            <a:endParaRPr lang="en-US"/>
          </a:p>
        </p:txBody>
      </p:sp>
      <p:sp>
        <p:nvSpPr>
          <p:cNvPr id="12" name="Picture Placeholder 11">
            <a:extLst>
              <a:ext uri="{FF2B5EF4-FFF2-40B4-BE49-F238E27FC236}">
                <a16:creationId xmlns:a16="http://schemas.microsoft.com/office/drawing/2014/main" id="{50EC8482-B712-ED46-83C4-BBF42F2B232C}"/>
              </a:ext>
            </a:extLst>
          </p:cNvPr>
          <p:cNvSpPr>
            <a:spLocks noGrp="1"/>
          </p:cNvSpPr>
          <p:nvPr>
            <p:ph type="pic" sz="quarter" idx="14"/>
          </p:nvPr>
        </p:nvSpPr>
        <p:spPr/>
      </p:sp>
      <p:sp>
        <p:nvSpPr>
          <p:cNvPr id="13" name="Picture Placeholder 12">
            <a:extLst>
              <a:ext uri="{FF2B5EF4-FFF2-40B4-BE49-F238E27FC236}">
                <a16:creationId xmlns:a16="http://schemas.microsoft.com/office/drawing/2014/main" id="{495B333A-D3D8-5044-8ED8-D210314D6074}"/>
              </a:ext>
            </a:extLst>
          </p:cNvPr>
          <p:cNvSpPr>
            <a:spLocks noGrp="1"/>
          </p:cNvSpPr>
          <p:nvPr>
            <p:ph type="pic" sz="quarter" idx="15"/>
          </p:nvPr>
        </p:nvSpPr>
        <p:spPr/>
      </p:sp>
      <p:sp>
        <p:nvSpPr>
          <p:cNvPr id="14" name="Picture Placeholder 13">
            <a:extLst>
              <a:ext uri="{FF2B5EF4-FFF2-40B4-BE49-F238E27FC236}">
                <a16:creationId xmlns:a16="http://schemas.microsoft.com/office/drawing/2014/main" id="{A4D7DC68-A38C-D141-9C2D-BDEBF56C9E8F}"/>
              </a:ext>
            </a:extLst>
          </p:cNvPr>
          <p:cNvSpPr>
            <a:spLocks noGrp="1"/>
          </p:cNvSpPr>
          <p:nvPr>
            <p:ph type="pic" sz="quarter" idx="16"/>
          </p:nvPr>
        </p:nvSpPr>
        <p:spPr/>
      </p:sp>
      <p:sp>
        <p:nvSpPr>
          <p:cNvPr id="15" name="Picture Placeholder 14">
            <a:extLst>
              <a:ext uri="{FF2B5EF4-FFF2-40B4-BE49-F238E27FC236}">
                <a16:creationId xmlns:a16="http://schemas.microsoft.com/office/drawing/2014/main" id="{7A7D5E1B-6A61-CD42-A580-33F9F8AFDA5D}"/>
              </a:ext>
            </a:extLst>
          </p:cNvPr>
          <p:cNvSpPr>
            <a:spLocks noGrp="1"/>
          </p:cNvSpPr>
          <p:nvPr>
            <p:ph type="pic" sz="quarter" idx="17"/>
          </p:nvPr>
        </p:nvSpPr>
        <p:spPr/>
      </p:sp>
      <p:sp>
        <p:nvSpPr>
          <p:cNvPr id="16" name="Picture Placeholder 15">
            <a:extLst>
              <a:ext uri="{FF2B5EF4-FFF2-40B4-BE49-F238E27FC236}">
                <a16:creationId xmlns:a16="http://schemas.microsoft.com/office/drawing/2014/main" id="{002DEFDC-9E02-3A46-8FB2-7B9E86615641}"/>
              </a:ext>
            </a:extLst>
          </p:cNvPr>
          <p:cNvSpPr>
            <a:spLocks noGrp="1"/>
          </p:cNvSpPr>
          <p:nvPr>
            <p:ph type="pic" sz="quarter" idx="18"/>
          </p:nvPr>
        </p:nvSpPr>
        <p:spPr/>
      </p:sp>
      <p:sp>
        <p:nvSpPr>
          <p:cNvPr id="19" name="Picture Placeholder 18">
            <a:extLst>
              <a:ext uri="{FF2B5EF4-FFF2-40B4-BE49-F238E27FC236}">
                <a16:creationId xmlns:a16="http://schemas.microsoft.com/office/drawing/2014/main" id="{F83C091D-B31B-9F45-B092-231D8B89C10F}"/>
              </a:ext>
            </a:extLst>
          </p:cNvPr>
          <p:cNvSpPr>
            <a:spLocks noGrp="1"/>
          </p:cNvSpPr>
          <p:nvPr>
            <p:ph type="pic" sz="quarter" idx="24"/>
          </p:nvPr>
        </p:nvSpPr>
        <p:spPr/>
      </p:sp>
      <p:sp>
        <p:nvSpPr>
          <p:cNvPr id="17" name="Text Placeholder 16">
            <a:extLst>
              <a:ext uri="{FF2B5EF4-FFF2-40B4-BE49-F238E27FC236}">
                <a16:creationId xmlns:a16="http://schemas.microsoft.com/office/drawing/2014/main" id="{44FF8234-7B8F-1E42-A9E3-977F073728C8}"/>
              </a:ext>
            </a:extLst>
          </p:cNvPr>
          <p:cNvSpPr>
            <a:spLocks noGrp="1"/>
          </p:cNvSpPr>
          <p:nvPr>
            <p:ph type="body" sz="quarter" idx="19"/>
          </p:nvPr>
        </p:nvSpPr>
        <p:spPr/>
        <p:txBody>
          <a:bodyPr/>
          <a:lstStyle/>
          <a:p>
            <a:endParaRPr lang="en-US"/>
          </a:p>
        </p:txBody>
      </p:sp>
      <p:sp>
        <p:nvSpPr>
          <p:cNvPr id="18" name="Text Placeholder 17">
            <a:extLst>
              <a:ext uri="{FF2B5EF4-FFF2-40B4-BE49-F238E27FC236}">
                <a16:creationId xmlns:a16="http://schemas.microsoft.com/office/drawing/2014/main" id="{BC0679ED-A682-374C-A05E-1BDAF5C5FAB5}"/>
              </a:ext>
            </a:extLst>
          </p:cNvPr>
          <p:cNvSpPr>
            <a:spLocks noGrp="1"/>
          </p:cNvSpPr>
          <p:nvPr>
            <p:ph type="body" sz="quarter" idx="20"/>
          </p:nvPr>
        </p:nvSpPr>
        <p:spPr/>
        <p:txBody>
          <a:bodyPr/>
          <a:lstStyle/>
          <a:p>
            <a:endParaRPr lang="en-US"/>
          </a:p>
        </p:txBody>
      </p:sp>
      <p:sp>
        <p:nvSpPr>
          <p:cNvPr id="20" name="Text Placeholder 19">
            <a:extLst>
              <a:ext uri="{FF2B5EF4-FFF2-40B4-BE49-F238E27FC236}">
                <a16:creationId xmlns:a16="http://schemas.microsoft.com/office/drawing/2014/main" id="{25B73CC8-F25A-494F-824B-1EFD7393BAEB}"/>
              </a:ext>
            </a:extLst>
          </p:cNvPr>
          <p:cNvSpPr>
            <a:spLocks noGrp="1"/>
          </p:cNvSpPr>
          <p:nvPr>
            <p:ph type="body" sz="quarter" idx="25"/>
          </p:nvPr>
        </p:nvSpPr>
        <p:spPr/>
        <p:txBody>
          <a:bodyPr/>
          <a:lstStyle/>
          <a:p>
            <a:endParaRPr lang="en-US"/>
          </a:p>
        </p:txBody>
      </p:sp>
      <p:sp>
        <p:nvSpPr>
          <p:cNvPr id="21" name="Text Placeholder 20">
            <a:extLst>
              <a:ext uri="{FF2B5EF4-FFF2-40B4-BE49-F238E27FC236}">
                <a16:creationId xmlns:a16="http://schemas.microsoft.com/office/drawing/2014/main" id="{A6F5CFBD-15C0-DB49-9C11-6BA50DC3C0D4}"/>
              </a:ext>
            </a:extLst>
          </p:cNvPr>
          <p:cNvSpPr>
            <a:spLocks noGrp="1"/>
          </p:cNvSpPr>
          <p:nvPr>
            <p:ph type="body" sz="quarter" idx="26"/>
          </p:nvPr>
        </p:nvSpPr>
        <p:spPr/>
        <p:txBody>
          <a:bodyPr/>
          <a:lstStyle/>
          <a:p>
            <a:endParaRPr lang="en-US"/>
          </a:p>
        </p:txBody>
      </p:sp>
      <p:sp>
        <p:nvSpPr>
          <p:cNvPr id="22" name="Text Placeholder 21">
            <a:extLst>
              <a:ext uri="{FF2B5EF4-FFF2-40B4-BE49-F238E27FC236}">
                <a16:creationId xmlns:a16="http://schemas.microsoft.com/office/drawing/2014/main" id="{A04998A3-D425-A14F-A321-BA14E048D358}"/>
              </a:ext>
            </a:extLst>
          </p:cNvPr>
          <p:cNvSpPr>
            <a:spLocks noGrp="1"/>
          </p:cNvSpPr>
          <p:nvPr>
            <p:ph type="body" sz="quarter" idx="27"/>
          </p:nvPr>
        </p:nvSpPr>
        <p:spPr/>
        <p:txBody>
          <a:bodyPr/>
          <a:lstStyle/>
          <a:p>
            <a:endParaRPr lang="en-US"/>
          </a:p>
        </p:txBody>
      </p:sp>
      <p:sp>
        <p:nvSpPr>
          <p:cNvPr id="23" name="Text Placeholder 22">
            <a:extLst>
              <a:ext uri="{FF2B5EF4-FFF2-40B4-BE49-F238E27FC236}">
                <a16:creationId xmlns:a16="http://schemas.microsoft.com/office/drawing/2014/main" id="{094D35A9-AE25-F340-9351-39CB204BCB22}"/>
              </a:ext>
            </a:extLst>
          </p:cNvPr>
          <p:cNvSpPr>
            <a:spLocks noGrp="1"/>
          </p:cNvSpPr>
          <p:nvPr>
            <p:ph type="body" sz="quarter" idx="28"/>
          </p:nvPr>
        </p:nvSpPr>
        <p:spPr/>
        <p:txBody>
          <a:bodyPr/>
          <a:lstStyle/>
          <a:p>
            <a:endParaRPr lang="en-US"/>
          </a:p>
        </p:txBody>
      </p:sp>
    </p:spTree>
    <p:extLst>
      <p:ext uri="{BB962C8B-B14F-4D97-AF65-F5344CB8AC3E}">
        <p14:creationId xmlns:p14="http://schemas.microsoft.com/office/powerpoint/2010/main" val="129644429"/>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Legends</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extLst>
              <a:ext uri="{FF2B5EF4-FFF2-40B4-BE49-F238E27FC236}">
                <a16:creationId xmlns:a16="http://schemas.microsoft.com/office/drawing/2014/main" id="{CB1DAE2B-BA6F-41DF-83BE-A33FD7FC0026}"/>
              </a:ext>
            </a:extLst>
          </p:cNvPr>
          <p:cNvSpPr>
            <a:spLocks noChangeArrowheads="1"/>
          </p:cNvSpPr>
          <p:nvPr/>
        </p:nvSpPr>
        <p:spPr bwMode="auto">
          <a:xfrm>
            <a:off x="2025457" y="2566350"/>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accent3"/>
                </a:solidFill>
                <a:effectLst/>
                <a:uLnTx/>
                <a:uFillTx/>
                <a:latin typeface="Graphik"/>
                <a:ea typeface="+mn-ea"/>
                <a:cs typeface="+mn-cs"/>
              </a:rPr>
              <a:t>Tex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endParaRPr kumimoji="0" lang="en-US" sz="900" b="0" i="0" u="none" strike="noStrike" kern="0" cap="none" spc="0" normalizeH="0" baseline="0" noProof="0" dirty="0">
              <a:ln>
                <a:noFill/>
              </a:ln>
              <a:solidFill>
                <a:schemeClr val="accent3"/>
              </a:solidFill>
              <a:effectLst/>
              <a:uLnTx/>
              <a:uFillTx/>
              <a:latin typeface="Graphik"/>
              <a:ea typeface="+mn-ea"/>
              <a:cs typeface="+mn-cs"/>
            </a:endParaRPr>
          </a:p>
        </p:txBody>
      </p:sp>
      <p:sp>
        <p:nvSpPr>
          <p:cNvPr id="6" name="Rectangle 5">
            <a:extLst>
              <a:ext uri="{FF2B5EF4-FFF2-40B4-BE49-F238E27FC236}">
                <a16:creationId xmlns:a16="http://schemas.microsoft.com/office/drawing/2014/main" id="{6BDA3409-3379-426B-B613-4427727A8DE2}"/>
              </a:ext>
            </a:extLst>
          </p:cNvPr>
          <p:cNvSpPr>
            <a:spLocks noChangeArrowheads="1"/>
          </p:cNvSpPr>
          <p:nvPr/>
        </p:nvSpPr>
        <p:spPr bwMode="auto">
          <a:xfrm>
            <a:off x="5334204" y="2566350"/>
            <a:ext cx="128140" cy="141869"/>
          </a:xfrm>
          <a:prstGeom prst="rect">
            <a:avLst/>
          </a:prstGeom>
          <a:solidFill>
            <a:schemeClr val="accent2"/>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7" name="Rectangle 6">
            <a:extLst>
              <a:ext uri="{FF2B5EF4-FFF2-40B4-BE49-F238E27FC236}">
                <a16:creationId xmlns:a16="http://schemas.microsoft.com/office/drawing/2014/main" id="{60DB0850-BCE2-4790-A8D7-60EBBA539C5F}"/>
              </a:ext>
            </a:extLst>
          </p:cNvPr>
          <p:cNvSpPr>
            <a:spLocks noChangeArrowheads="1"/>
          </p:cNvSpPr>
          <p:nvPr/>
        </p:nvSpPr>
        <p:spPr bwMode="auto">
          <a:xfrm>
            <a:off x="3683645" y="2566350"/>
            <a:ext cx="138817" cy="138818"/>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879ABCB0-BB5D-4AE9-B541-A986BA3ECE0E}"/>
              </a:ext>
            </a:extLst>
          </p:cNvPr>
          <p:cNvSpPr>
            <a:spLocks noChangeArrowheads="1"/>
          </p:cNvSpPr>
          <p:nvPr/>
        </p:nvSpPr>
        <p:spPr bwMode="auto">
          <a:xfrm>
            <a:off x="381000" y="2566350"/>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text</a:t>
            </a:r>
          </a:p>
        </p:txBody>
      </p:sp>
      <p:sp>
        <p:nvSpPr>
          <p:cNvPr id="9" name="Rectangle 11">
            <a:extLst>
              <a:ext uri="{FF2B5EF4-FFF2-40B4-BE49-F238E27FC236}">
                <a16:creationId xmlns:a16="http://schemas.microsoft.com/office/drawing/2014/main" id="{BFADD4C8-49BD-4938-95D3-CFEE0CF9E5E0}"/>
              </a:ext>
            </a:extLst>
          </p:cNvPr>
          <p:cNvSpPr>
            <a:spLocks noChangeArrowheads="1"/>
          </p:cNvSpPr>
          <p:nvPr/>
        </p:nvSpPr>
        <p:spPr bwMode="auto">
          <a:xfrm>
            <a:off x="2025457" y="3347391"/>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accent3"/>
                </a:solidFill>
                <a:effectLst/>
                <a:uLnTx/>
                <a:uFillTx/>
                <a:latin typeface="Graphik"/>
                <a:ea typeface="+mn-ea"/>
                <a:cs typeface="+mn-cs"/>
              </a:rPr>
              <a:t>Tex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endParaRPr kumimoji="0" lang="en-US" sz="900" b="0" i="0" u="none" strike="noStrike" kern="0" cap="none" spc="0" normalizeH="0" baseline="0" noProof="0" dirty="0">
              <a:ln>
                <a:noFill/>
              </a:ln>
              <a:solidFill>
                <a:schemeClr val="accent3"/>
              </a:solidFill>
              <a:effectLst/>
              <a:uLnTx/>
              <a:uFillTx/>
              <a:latin typeface="Graphik"/>
              <a:ea typeface="+mn-ea"/>
              <a:cs typeface="+mn-cs"/>
            </a:endParaRPr>
          </a:p>
        </p:txBody>
      </p:sp>
      <p:sp>
        <p:nvSpPr>
          <p:cNvPr id="10" name="Rectangle 12">
            <a:extLst>
              <a:ext uri="{FF2B5EF4-FFF2-40B4-BE49-F238E27FC236}">
                <a16:creationId xmlns:a16="http://schemas.microsoft.com/office/drawing/2014/main" id="{0A741705-4181-4ADE-9B4F-BD8516BDAE82}"/>
              </a:ext>
            </a:extLst>
          </p:cNvPr>
          <p:cNvSpPr>
            <a:spLocks noChangeArrowheads="1"/>
          </p:cNvSpPr>
          <p:nvPr/>
        </p:nvSpPr>
        <p:spPr bwMode="auto">
          <a:xfrm>
            <a:off x="3683645" y="3347391"/>
            <a:ext cx="138817" cy="138818"/>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text</a:t>
            </a:r>
          </a:p>
        </p:txBody>
      </p:sp>
      <p:sp>
        <p:nvSpPr>
          <p:cNvPr id="11" name="Rectangle 13">
            <a:extLst>
              <a:ext uri="{FF2B5EF4-FFF2-40B4-BE49-F238E27FC236}">
                <a16:creationId xmlns:a16="http://schemas.microsoft.com/office/drawing/2014/main" id="{72711EED-5F6C-45FB-A5CE-2C01C6ACFE0E}"/>
              </a:ext>
            </a:extLst>
          </p:cNvPr>
          <p:cNvSpPr>
            <a:spLocks noChangeArrowheads="1"/>
          </p:cNvSpPr>
          <p:nvPr/>
        </p:nvSpPr>
        <p:spPr bwMode="auto">
          <a:xfrm>
            <a:off x="381000" y="3347391"/>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12" name="Rectangle 16">
            <a:extLst>
              <a:ext uri="{FF2B5EF4-FFF2-40B4-BE49-F238E27FC236}">
                <a16:creationId xmlns:a16="http://schemas.microsoft.com/office/drawing/2014/main" id="{7657760D-7E3F-4166-B86F-0B548AD08995}"/>
              </a:ext>
            </a:extLst>
          </p:cNvPr>
          <p:cNvSpPr>
            <a:spLocks noChangeArrowheads="1"/>
          </p:cNvSpPr>
          <p:nvPr/>
        </p:nvSpPr>
        <p:spPr bwMode="auto">
          <a:xfrm>
            <a:off x="2025457" y="4177247"/>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accent3"/>
                </a:solidFill>
                <a:effectLst/>
                <a:uLnTx/>
                <a:uFillTx/>
                <a:latin typeface="Graphik"/>
                <a:ea typeface="+mn-ea"/>
                <a:cs typeface="+mn-cs"/>
              </a:rPr>
              <a:t>Tex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tex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endParaRPr kumimoji="0" lang="en-US" sz="900" b="0" i="0" u="none" strike="noStrike" kern="0" cap="none" spc="0" normalizeH="0" baseline="0" noProof="0" dirty="0">
              <a:ln>
                <a:noFill/>
              </a:ln>
              <a:solidFill>
                <a:schemeClr val="accent3"/>
              </a:solidFill>
              <a:effectLst/>
              <a:uLnTx/>
              <a:uFillTx/>
              <a:latin typeface="Graphik"/>
              <a:ea typeface="+mn-ea"/>
              <a:cs typeface="+mn-cs"/>
            </a:endParaRPr>
          </a:p>
        </p:txBody>
      </p:sp>
      <p:sp>
        <p:nvSpPr>
          <p:cNvPr id="13" name="Rectangle 17">
            <a:extLst>
              <a:ext uri="{FF2B5EF4-FFF2-40B4-BE49-F238E27FC236}">
                <a16:creationId xmlns:a16="http://schemas.microsoft.com/office/drawing/2014/main" id="{AEC1040A-BA94-4180-A6CB-B0BD6736187B}"/>
              </a:ext>
            </a:extLst>
          </p:cNvPr>
          <p:cNvSpPr>
            <a:spLocks noChangeArrowheads="1"/>
          </p:cNvSpPr>
          <p:nvPr/>
        </p:nvSpPr>
        <p:spPr bwMode="auto">
          <a:xfrm>
            <a:off x="381000" y="4177247"/>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text</a:t>
            </a:r>
          </a:p>
        </p:txBody>
      </p:sp>
      <p:sp>
        <p:nvSpPr>
          <p:cNvPr id="14" name="Rectangle 20">
            <a:extLst>
              <a:ext uri="{FF2B5EF4-FFF2-40B4-BE49-F238E27FC236}">
                <a16:creationId xmlns:a16="http://schemas.microsoft.com/office/drawing/2014/main" id="{0A74F864-2F10-459D-9F04-06437F21A4DB}"/>
              </a:ext>
            </a:extLst>
          </p:cNvPr>
          <p:cNvSpPr>
            <a:spLocks noChangeArrowheads="1"/>
          </p:cNvSpPr>
          <p:nvPr/>
        </p:nvSpPr>
        <p:spPr bwMode="auto">
          <a:xfrm>
            <a:off x="381000" y="5234399"/>
            <a:ext cx="138817" cy="138817"/>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15" name="Rectangle 23">
            <a:extLst>
              <a:ext uri="{FF2B5EF4-FFF2-40B4-BE49-F238E27FC236}">
                <a16:creationId xmlns:a16="http://schemas.microsoft.com/office/drawing/2014/main" id="{830C4FED-5B2A-435D-B26C-5D294FDBADA0}"/>
              </a:ext>
            </a:extLst>
          </p:cNvPr>
          <p:cNvSpPr>
            <a:spLocks noChangeArrowheads="1"/>
          </p:cNvSpPr>
          <p:nvPr/>
        </p:nvSpPr>
        <p:spPr bwMode="auto">
          <a:xfrm>
            <a:off x="2025457" y="5026553"/>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16" name="Rectangle 24">
            <a:extLst>
              <a:ext uri="{FF2B5EF4-FFF2-40B4-BE49-F238E27FC236}">
                <a16:creationId xmlns:a16="http://schemas.microsoft.com/office/drawing/2014/main" id="{DEA880A9-B377-42F9-92CA-E85795D6755F}"/>
              </a:ext>
            </a:extLst>
          </p:cNvPr>
          <p:cNvSpPr>
            <a:spLocks noChangeArrowheads="1"/>
          </p:cNvSpPr>
          <p:nvPr/>
        </p:nvSpPr>
        <p:spPr bwMode="auto">
          <a:xfrm>
            <a:off x="2025457" y="5234399"/>
            <a:ext cx="138818" cy="138817"/>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accent3"/>
                </a:solidFill>
                <a:effectLst/>
                <a:uLnTx/>
                <a:uFillTx/>
                <a:latin typeface="Graphik"/>
                <a:ea typeface="+mn-ea"/>
                <a:cs typeface="+mn-cs"/>
              </a:rPr>
              <a:t>Tex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endParaRPr kumimoji="0" lang="en-US" sz="900" b="0" i="0" u="none" strike="noStrike" kern="0" cap="none" spc="0" normalizeH="0" baseline="0" noProof="0" dirty="0">
              <a:ln>
                <a:noFill/>
              </a:ln>
              <a:solidFill>
                <a:schemeClr val="accent3"/>
              </a:solidFill>
              <a:effectLst/>
              <a:uLnTx/>
              <a:uFillTx/>
              <a:latin typeface="Graphik"/>
              <a:ea typeface="+mn-ea"/>
              <a:cs typeface="+mn-cs"/>
            </a:endParaRPr>
          </a:p>
        </p:txBody>
      </p:sp>
      <p:sp>
        <p:nvSpPr>
          <p:cNvPr id="17" name="Rectangle 27">
            <a:extLst>
              <a:ext uri="{FF2B5EF4-FFF2-40B4-BE49-F238E27FC236}">
                <a16:creationId xmlns:a16="http://schemas.microsoft.com/office/drawing/2014/main" id="{DA55F043-23EF-4197-997C-55F3EFCC373D}"/>
              </a:ext>
            </a:extLst>
          </p:cNvPr>
          <p:cNvSpPr>
            <a:spLocks noChangeArrowheads="1"/>
          </p:cNvSpPr>
          <p:nvPr/>
        </p:nvSpPr>
        <p:spPr bwMode="auto">
          <a:xfrm>
            <a:off x="3685170" y="4818708"/>
            <a:ext cx="138818" cy="138817"/>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18" name="Rectangle 28">
            <a:extLst>
              <a:ext uri="{FF2B5EF4-FFF2-40B4-BE49-F238E27FC236}">
                <a16:creationId xmlns:a16="http://schemas.microsoft.com/office/drawing/2014/main" id="{A68753CF-53F2-4CA4-A388-782ADCFF301F}"/>
              </a:ext>
            </a:extLst>
          </p:cNvPr>
          <p:cNvSpPr>
            <a:spLocks noChangeArrowheads="1"/>
          </p:cNvSpPr>
          <p:nvPr/>
        </p:nvSpPr>
        <p:spPr bwMode="auto">
          <a:xfrm>
            <a:off x="3685170" y="5026553"/>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accent3"/>
                </a:solidFill>
                <a:effectLst/>
                <a:uLnTx/>
                <a:uFillTx/>
                <a:latin typeface="Graphik"/>
                <a:ea typeface="+mn-ea"/>
                <a:cs typeface="+mn-cs"/>
              </a:rPr>
              <a:t>Tex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endParaRPr kumimoji="0" lang="en-US" sz="900" b="0" i="0" u="none" strike="noStrike" kern="0" cap="none" spc="0" normalizeH="0" baseline="0" noProof="0" dirty="0">
              <a:ln>
                <a:noFill/>
              </a:ln>
              <a:solidFill>
                <a:schemeClr val="accent3"/>
              </a:solidFill>
              <a:effectLst/>
              <a:uLnTx/>
              <a:uFillTx/>
              <a:latin typeface="Graphik"/>
              <a:ea typeface="+mn-ea"/>
              <a:cs typeface="+mn-cs"/>
            </a:endParaRPr>
          </a:p>
        </p:txBody>
      </p:sp>
      <p:sp>
        <p:nvSpPr>
          <p:cNvPr id="19" name="Rectangle 29">
            <a:extLst>
              <a:ext uri="{FF2B5EF4-FFF2-40B4-BE49-F238E27FC236}">
                <a16:creationId xmlns:a16="http://schemas.microsoft.com/office/drawing/2014/main" id="{F934E16C-BAA3-454B-A5C7-AEA0108FA97E}"/>
              </a:ext>
            </a:extLst>
          </p:cNvPr>
          <p:cNvSpPr>
            <a:spLocks noChangeArrowheads="1"/>
          </p:cNvSpPr>
          <p:nvPr/>
        </p:nvSpPr>
        <p:spPr bwMode="auto">
          <a:xfrm>
            <a:off x="3685170" y="5234399"/>
            <a:ext cx="138818" cy="138817"/>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20" name="Rectangle 32">
            <a:extLst>
              <a:ext uri="{FF2B5EF4-FFF2-40B4-BE49-F238E27FC236}">
                <a16:creationId xmlns:a16="http://schemas.microsoft.com/office/drawing/2014/main" id="{7475B090-8EDB-4649-A362-D7F7FC4A5A15}"/>
              </a:ext>
            </a:extLst>
          </p:cNvPr>
          <p:cNvSpPr>
            <a:spLocks noChangeArrowheads="1"/>
          </p:cNvSpPr>
          <p:nvPr/>
        </p:nvSpPr>
        <p:spPr bwMode="auto">
          <a:xfrm>
            <a:off x="5335729" y="4610862"/>
            <a:ext cx="138818" cy="138817"/>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21" name="Rectangle 33">
            <a:extLst>
              <a:ext uri="{FF2B5EF4-FFF2-40B4-BE49-F238E27FC236}">
                <a16:creationId xmlns:a16="http://schemas.microsoft.com/office/drawing/2014/main" id="{39545C35-071D-49D9-AC3C-CBF7D72C8FEC}"/>
              </a:ext>
            </a:extLst>
          </p:cNvPr>
          <p:cNvSpPr>
            <a:spLocks noChangeArrowheads="1"/>
          </p:cNvSpPr>
          <p:nvPr/>
        </p:nvSpPr>
        <p:spPr bwMode="auto">
          <a:xfrm>
            <a:off x="5335729" y="4818708"/>
            <a:ext cx="138818" cy="138817"/>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accent3"/>
                </a:solidFill>
                <a:effectLst/>
                <a:uLnTx/>
                <a:uFillTx/>
                <a:latin typeface="Graphik"/>
                <a:ea typeface="+mn-ea"/>
                <a:cs typeface="+mn-cs"/>
              </a:rPr>
              <a:t>Tex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endParaRPr kumimoji="0" lang="en-US" sz="900" b="0" i="0" u="none" strike="noStrike" kern="0" cap="none" spc="0" normalizeH="0" baseline="0" noProof="0" dirty="0">
              <a:ln>
                <a:noFill/>
              </a:ln>
              <a:solidFill>
                <a:schemeClr val="accent3"/>
              </a:solidFill>
              <a:effectLst/>
              <a:uLnTx/>
              <a:uFillTx/>
              <a:latin typeface="Graphik"/>
              <a:ea typeface="+mn-ea"/>
              <a:cs typeface="+mn-cs"/>
            </a:endParaRPr>
          </a:p>
        </p:txBody>
      </p:sp>
      <p:sp>
        <p:nvSpPr>
          <p:cNvPr id="22" name="Rectangle 34">
            <a:extLst>
              <a:ext uri="{FF2B5EF4-FFF2-40B4-BE49-F238E27FC236}">
                <a16:creationId xmlns:a16="http://schemas.microsoft.com/office/drawing/2014/main" id="{60491620-C2D4-4536-BE6F-7B505495FE94}"/>
              </a:ext>
            </a:extLst>
          </p:cNvPr>
          <p:cNvSpPr>
            <a:spLocks noChangeArrowheads="1"/>
          </p:cNvSpPr>
          <p:nvPr/>
        </p:nvSpPr>
        <p:spPr bwMode="auto">
          <a:xfrm>
            <a:off x="5335729" y="5026553"/>
            <a:ext cx="138818" cy="138818"/>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23" name="Rectangle 35">
            <a:extLst>
              <a:ext uri="{FF2B5EF4-FFF2-40B4-BE49-F238E27FC236}">
                <a16:creationId xmlns:a16="http://schemas.microsoft.com/office/drawing/2014/main" id="{5933B0B9-E700-4E77-BD4E-2B9E39231B82}"/>
              </a:ext>
            </a:extLst>
          </p:cNvPr>
          <p:cNvSpPr>
            <a:spLocks noChangeArrowheads="1"/>
          </p:cNvSpPr>
          <p:nvPr/>
        </p:nvSpPr>
        <p:spPr bwMode="auto">
          <a:xfrm>
            <a:off x="5335729" y="5234399"/>
            <a:ext cx="138818" cy="138817"/>
          </a:xfrm>
          <a:prstGeom prst="rect">
            <a:avLst/>
          </a:prstGeom>
          <a:solidFill>
            <a:srgbClr val="A055F5"/>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24" name="Rectangle 38">
            <a:extLst>
              <a:ext uri="{FF2B5EF4-FFF2-40B4-BE49-F238E27FC236}">
                <a16:creationId xmlns:a16="http://schemas.microsoft.com/office/drawing/2014/main" id="{8D3C283A-6A90-4EBC-9A5B-0354DD602FE6}"/>
              </a:ext>
            </a:extLst>
          </p:cNvPr>
          <p:cNvSpPr>
            <a:spLocks noChangeArrowheads="1"/>
          </p:cNvSpPr>
          <p:nvPr/>
        </p:nvSpPr>
        <p:spPr bwMode="auto">
          <a:xfrm>
            <a:off x="7019849" y="4403017"/>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25" name="Rectangle 39">
            <a:extLst>
              <a:ext uri="{FF2B5EF4-FFF2-40B4-BE49-F238E27FC236}">
                <a16:creationId xmlns:a16="http://schemas.microsoft.com/office/drawing/2014/main" id="{90A99BD5-0D70-4ECE-829A-C4BFFAB7B90A}"/>
              </a:ext>
            </a:extLst>
          </p:cNvPr>
          <p:cNvSpPr>
            <a:spLocks noChangeArrowheads="1"/>
          </p:cNvSpPr>
          <p:nvPr/>
        </p:nvSpPr>
        <p:spPr bwMode="auto">
          <a:xfrm>
            <a:off x="7019849" y="4610862"/>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a:ln>
                  <a:noFill/>
                </a:ln>
                <a:solidFill>
                  <a:schemeClr val="accent3"/>
                </a:solidFill>
                <a:effectLst/>
                <a:uLnTx/>
                <a:uFillTx/>
                <a:latin typeface="Graphik"/>
                <a:ea typeface="+mn-ea"/>
                <a:cs typeface="+mn-cs"/>
              </a:rPr>
              <a:t>Text text text text text text</a:t>
            </a:r>
          </a:p>
        </p:txBody>
      </p:sp>
      <p:sp>
        <p:nvSpPr>
          <p:cNvPr id="26" name="Rectangle 40">
            <a:extLst>
              <a:ext uri="{FF2B5EF4-FFF2-40B4-BE49-F238E27FC236}">
                <a16:creationId xmlns:a16="http://schemas.microsoft.com/office/drawing/2014/main" id="{C802AE80-4F25-452F-94CB-7E2FBCC8C175}"/>
              </a:ext>
            </a:extLst>
          </p:cNvPr>
          <p:cNvSpPr>
            <a:spLocks noChangeArrowheads="1"/>
          </p:cNvSpPr>
          <p:nvPr/>
        </p:nvSpPr>
        <p:spPr bwMode="auto">
          <a:xfrm>
            <a:off x="7019849" y="4818708"/>
            <a:ext cx="138818" cy="138817"/>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Graphik"/>
                <a:ea typeface="+mn-ea"/>
                <a:cs typeface="+mn-cs"/>
              </a:rPr>
              <a:t>Text text text text text text</a:t>
            </a:r>
          </a:p>
        </p:txBody>
      </p:sp>
      <p:sp>
        <p:nvSpPr>
          <p:cNvPr id="27" name="Rectangle 41">
            <a:extLst>
              <a:ext uri="{FF2B5EF4-FFF2-40B4-BE49-F238E27FC236}">
                <a16:creationId xmlns:a16="http://schemas.microsoft.com/office/drawing/2014/main" id="{8821F56F-3D8C-4909-93BB-4C3DCFA81B3C}"/>
              </a:ext>
            </a:extLst>
          </p:cNvPr>
          <p:cNvSpPr>
            <a:spLocks noChangeArrowheads="1"/>
          </p:cNvSpPr>
          <p:nvPr/>
        </p:nvSpPr>
        <p:spPr bwMode="auto">
          <a:xfrm>
            <a:off x="7019849" y="5026552"/>
            <a:ext cx="138818" cy="138818"/>
          </a:xfrm>
          <a:prstGeom prst="rect">
            <a:avLst/>
          </a:prstGeom>
          <a:solidFill>
            <a:srgbClr val="A055F5"/>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Graphik"/>
                <a:ea typeface="+mn-ea"/>
                <a:cs typeface="+mn-cs"/>
              </a:rPr>
              <a:t>Text text text text text text</a:t>
            </a:r>
          </a:p>
        </p:txBody>
      </p:sp>
      <p:sp>
        <p:nvSpPr>
          <p:cNvPr id="28" name="Rectangle 42">
            <a:extLst>
              <a:ext uri="{FF2B5EF4-FFF2-40B4-BE49-F238E27FC236}">
                <a16:creationId xmlns:a16="http://schemas.microsoft.com/office/drawing/2014/main" id="{3E6BB8C3-0013-4E13-91A8-9F52DE8FBC1B}"/>
              </a:ext>
            </a:extLst>
          </p:cNvPr>
          <p:cNvSpPr>
            <a:spLocks noChangeArrowheads="1"/>
          </p:cNvSpPr>
          <p:nvPr/>
        </p:nvSpPr>
        <p:spPr bwMode="auto">
          <a:xfrm>
            <a:off x="7019849" y="5234399"/>
            <a:ext cx="138818" cy="138817"/>
          </a:xfrm>
          <a:prstGeom prst="rect">
            <a:avLst/>
          </a:prstGeom>
          <a:solidFill>
            <a:srgbClr val="BE82FF"/>
          </a:solidFill>
          <a:ln w="6350">
            <a:noFill/>
            <a:prstDash val="dash"/>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Graphik"/>
                <a:ea typeface="+mn-ea"/>
                <a:cs typeface="+mn-cs"/>
              </a:rPr>
              <a:t>Text text text text text text</a:t>
            </a:r>
          </a:p>
        </p:txBody>
      </p:sp>
      <p:sp>
        <p:nvSpPr>
          <p:cNvPr id="29" name="Rectangle 45">
            <a:extLst>
              <a:ext uri="{FF2B5EF4-FFF2-40B4-BE49-F238E27FC236}">
                <a16:creationId xmlns:a16="http://schemas.microsoft.com/office/drawing/2014/main" id="{120E0B2B-942F-46D6-8B14-7DF128048A5B}"/>
              </a:ext>
            </a:extLst>
          </p:cNvPr>
          <p:cNvSpPr>
            <a:spLocks noChangeArrowheads="1"/>
          </p:cNvSpPr>
          <p:nvPr/>
        </p:nvSpPr>
        <p:spPr bwMode="auto">
          <a:xfrm>
            <a:off x="2025457" y="1736494"/>
            <a:ext cx="138818" cy="138818"/>
          </a:xfrm>
          <a:prstGeom prst="rect">
            <a:avLst/>
          </a:prstGeom>
          <a:solidFill>
            <a:schemeClr val="accent3"/>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accent3"/>
                </a:solidFill>
                <a:effectLst/>
                <a:uLnTx/>
                <a:uFillTx/>
                <a:latin typeface="Graphik"/>
                <a:ea typeface="+mn-ea"/>
                <a:cs typeface="+mn-cs"/>
              </a:rPr>
              <a:t>Tex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a:t>
            </a:r>
            <a:r>
              <a:rPr kumimoji="0" lang="en-US" sz="900" b="0" i="0" u="none" strike="noStrike" kern="0" cap="none" spc="0" normalizeH="0" baseline="0" noProof="0" dirty="0" err="1">
                <a:ln>
                  <a:noFill/>
                </a:ln>
                <a:solidFill>
                  <a:schemeClr val="accent3"/>
                </a:solidFill>
                <a:effectLst/>
                <a:uLnTx/>
                <a:uFillTx/>
                <a:latin typeface="Graphik"/>
                <a:ea typeface="+mn-ea"/>
                <a:cs typeface="+mn-cs"/>
              </a:rPr>
              <a:t>text</a:t>
            </a:r>
            <a:r>
              <a:rPr kumimoji="0" lang="en-US" sz="900" b="0" i="0" u="none" strike="noStrike" kern="0" cap="none" spc="0" normalizeH="0" baseline="0" noProof="0" dirty="0">
                <a:ln>
                  <a:noFill/>
                </a:ln>
                <a:solidFill>
                  <a:schemeClr val="accent3"/>
                </a:solidFill>
                <a:effectLst/>
                <a:uLnTx/>
                <a:uFillTx/>
                <a:latin typeface="Graphik"/>
                <a:ea typeface="+mn-ea"/>
                <a:cs typeface="+mn-cs"/>
              </a:rPr>
              <a:t> text</a:t>
            </a:r>
          </a:p>
        </p:txBody>
      </p:sp>
      <p:sp>
        <p:nvSpPr>
          <p:cNvPr id="30" name="Rectangle 46">
            <a:extLst>
              <a:ext uri="{FF2B5EF4-FFF2-40B4-BE49-F238E27FC236}">
                <a16:creationId xmlns:a16="http://schemas.microsoft.com/office/drawing/2014/main" id="{45BB5EA4-1145-467E-A6A5-061FE219C1E2}"/>
              </a:ext>
            </a:extLst>
          </p:cNvPr>
          <p:cNvSpPr>
            <a:spLocks noChangeArrowheads="1"/>
          </p:cNvSpPr>
          <p:nvPr/>
        </p:nvSpPr>
        <p:spPr bwMode="auto">
          <a:xfrm>
            <a:off x="5335729" y="1736494"/>
            <a:ext cx="128140" cy="141869"/>
          </a:xfrm>
          <a:prstGeom prst="rect">
            <a:avLst/>
          </a:prstGeom>
          <a:solidFill>
            <a:schemeClr val="accent2"/>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text</a:t>
            </a:r>
          </a:p>
        </p:txBody>
      </p:sp>
      <p:sp>
        <p:nvSpPr>
          <p:cNvPr id="31" name="Rectangle 47">
            <a:extLst>
              <a:ext uri="{FF2B5EF4-FFF2-40B4-BE49-F238E27FC236}">
                <a16:creationId xmlns:a16="http://schemas.microsoft.com/office/drawing/2014/main" id="{90DBEF92-0F30-4082-AE96-FBD6E495C714}"/>
              </a:ext>
            </a:extLst>
          </p:cNvPr>
          <p:cNvSpPr>
            <a:spLocks noChangeArrowheads="1"/>
          </p:cNvSpPr>
          <p:nvPr/>
        </p:nvSpPr>
        <p:spPr bwMode="auto">
          <a:xfrm>
            <a:off x="3683645" y="1736494"/>
            <a:ext cx="138817" cy="138818"/>
          </a:xfrm>
          <a:prstGeom prst="rect">
            <a:avLst/>
          </a:prstGeom>
          <a:solidFill>
            <a:srgbClr val="B455AA"/>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32" name="Rectangle 48">
            <a:extLst>
              <a:ext uri="{FF2B5EF4-FFF2-40B4-BE49-F238E27FC236}">
                <a16:creationId xmlns:a16="http://schemas.microsoft.com/office/drawing/2014/main" id="{A9A96B53-D384-49D6-99C7-5F6C880EFFF6}"/>
              </a:ext>
            </a:extLst>
          </p:cNvPr>
          <p:cNvSpPr>
            <a:spLocks noChangeArrowheads="1"/>
          </p:cNvSpPr>
          <p:nvPr/>
        </p:nvSpPr>
        <p:spPr bwMode="auto">
          <a:xfrm>
            <a:off x="381000" y="1736494"/>
            <a:ext cx="138818" cy="138818"/>
          </a:xfrm>
          <a:prstGeom prst="rect">
            <a:avLst/>
          </a:prstGeom>
          <a:solidFill>
            <a:srgbClr val="A100FF"/>
          </a:solidFill>
          <a:ln w="6350">
            <a:noFill/>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33" name="Rectangle 49">
            <a:extLst>
              <a:ext uri="{FF2B5EF4-FFF2-40B4-BE49-F238E27FC236}">
                <a16:creationId xmlns:a16="http://schemas.microsoft.com/office/drawing/2014/main" id="{FE42A8F1-C5AB-4DB6-B340-F921683426C6}"/>
              </a:ext>
            </a:extLst>
          </p:cNvPr>
          <p:cNvSpPr>
            <a:spLocks noChangeArrowheads="1"/>
          </p:cNvSpPr>
          <p:nvPr/>
        </p:nvSpPr>
        <p:spPr bwMode="auto">
          <a:xfrm>
            <a:off x="7019849" y="1736494"/>
            <a:ext cx="138818" cy="138818"/>
          </a:xfrm>
          <a:prstGeom prst="rect">
            <a:avLst/>
          </a:prstGeom>
          <a:solidFill>
            <a:schemeClr val="accent6"/>
          </a:solidFill>
          <a:ln w="6350">
            <a:noFill/>
            <a:prstDash val="dash"/>
            <a:miter lim="800000"/>
            <a:headEnd/>
            <a:tailEnd/>
          </a:ln>
          <a:effectLst/>
        </p:spPr>
        <p:txBody>
          <a:bodyPr wrap="none" lIns="36000" tIns="36000" rIns="36000" bIns="36000" anchor="ctr"/>
          <a:lstStyle/>
          <a:p>
            <a:pPr marL="192088" marR="0" lvl="0" indent="0" algn="l" defTabSz="914400" rtl="0" eaLnBrk="0" fontAlgn="auto" latinLnBrk="0" hangingPunct="0">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raphik"/>
                <a:ea typeface="+mn-ea"/>
                <a:cs typeface="+mn-cs"/>
              </a:rPr>
              <a:t>Tex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r>
              <a:rPr kumimoji="0" lang="en-US" sz="900" b="0" i="0" u="none" strike="noStrike" kern="0" cap="none" spc="0" normalizeH="0" baseline="0" noProof="0" dirty="0">
                <a:ln>
                  <a:noFill/>
                </a:ln>
                <a:solidFill>
                  <a:srgbClr val="000000"/>
                </a:solidFill>
                <a:effectLst/>
                <a:uLnTx/>
                <a:uFillTx/>
                <a:latin typeface="Graphik"/>
                <a:ea typeface="+mn-ea"/>
                <a:cs typeface="+mn-cs"/>
              </a:rPr>
              <a:t> </a:t>
            </a:r>
            <a:r>
              <a:rPr kumimoji="0" lang="en-US" sz="900" b="0" i="0" u="none" strike="noStrike" kern="0" cap="none" spc="0" normalizeH="0" baseline="0" noProof="0" dirty="0" err="1">
                <a:ln>
                  <a:noFill/>
                </a:ln>
                <a:solidFill>
                  <a:srgbClr val="000000"/>
                </a:solidFill>
                <a:effectLst/>
                <a:uLnTx/>
                <a:uFillTx/>
                <a:latin typeface="Graphik"/>
                <a:ea typeface="+mn-ea"/>
                <a:cs typeface="+mn-cs"/>
              </a:rPr>
              <a:t>text</a:t>
            </a:r>
            <a:endParaRPr kumimoji="0" lang="en-US" sz="900" b="0" i="0" u="none" strike="noStrike" kern="0" cap="none" spc="0" normalizeH="0" baseline="0" noProof="0" dirty="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F187DF5F-91DD-4740-99AB-AC3E12936420}"/>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N.B. Avoid legends by placing text on chart if possible</a:t>
            </a:r>
          </a:p>
        </p:txBody>
      </p:sp>
      <p:sp>
        <p:nvSpPr>
          <p:cNvPr id="35" name="Rectangle 34">
            <a:hlinkClick r:id="rId3" action="ppaction://hlinksldjump"/>
            <a:extLst>
              <a:ext uri="{FF2B5EF4-FFF2-40B4-BE49-F238E27FC236}">
                <a16:creationId xmlns:a16="http://schemas.microsoft.com/office/drawing/2014/main" id="{4299B865-947B-4439-97AD-A42D993A7FA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655571277"/>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Harvey Ball Legends</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extBox 2">
            <a:extLst>
              <a:ext uri="{FF2B5EF4-FFF2-40B4-BE49-F238E27FC236}">
                <a16:creationId xmlns:a16="http://schemas.microsoft.com/office/drawing/2014/main" id="{3A28C293-5B39-486E-BD09-ABD0BA9EA4E5}"/>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Place one of these legend boxes next to a Harvey Ball chart; rename if required</a:t>
            </a:r>
          </a:p>
        </p:txBody>
      </p:sp>
      <p:sp>
        <p:nvSpPr>
          <p:cNvPr id="51" name="Rectangle 50">
            <a:hlinkClick r:id="rId3" action="ppaction://hlinksldjump"/>
            <a:extLst>
              <a:ext uri="{FF2B5EF4-FFF2-40B4-BE49-F238E27FC236}">
                <a16:creationId xmlns:a16="http://schemas.microsoft.com/office/drawing/2014/main" id="{A955168F-E9CA-46BA-93FC-7865A350EA84}"/>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2" name="Rectangle 85">
            <a:extLst>
              <a:ext uri="{FF2B5EF4-FFF2-40B4-BE49-F238E27FC236}">
                <a16:creationId xmlns:a16="http://schemas.microsoft.com/office/drawing/2014/main" id="{961536DA-43E3-4AC4-AE42-A33868426FDB}"/>
              </a:ext>
            </a:extLst>
          </p:cNvPr>
          <p:cNvSpPr>
            <a:spLocks noChangeArrowheads="1"/>
          </p:cNvSpPr>
          <p:nvPr/>
        </p:nvSpPr>
        <p:spPr bwMode="auto">
          <a:xfrm>
            <a:off x="380999" y="1702080"/>
            <a:ext cx="2624801" cy="448584"/>
          </a:xfrm>
          <a:prstGeom prst="rect">
            <a:avLst/>
          </a:prstGeom>
          <a:noFill/>
          <a:ln w="12700">
            <a:noFill/>
            <a:miter lim="800000"/>
            <a:headEnd/>
            <a:tailEnd/>
          </a:ln>
          <a:effectLst/>
        </p:spPr>
        <p:txBody>
          <a:bodyPr wrap="square" lIns="0" tIns="0" rIns="0" bIns="0">
            <a:spAutoFit/>
          </a:bodyPr>
          <a:lstStyle/>
          <a:p>
            <a:pPr algn="l">
              <a:lnSpc>
                <a:spcPct val="80000"/>
              </a:lnSpc>
              <a:spcBef>
                <a:spcPct val="0"/>
              </a:spcBef>
            </a:pPr>
            <a:r>
              <a:rPr lang="en-US" b="1" dirty="0">
                <a:latin typeface="+mj-lt"/>
              </a:rPr>
              <a:t>Excellent – </a:t>
            </a:r>
            <a:br>
              <a:rPr lang="en-US" b="1" dirty="0">
                <a:latin typeface="+mj-lt"/>
              </a:rPr>
            </a:br>
            <a:r>
              <a:rPr lang="en-US" b="1" dirty="0">
                <a:latin typeface="+mj-lt"/>
              </a:rPr>
              <a:t>very poor</a:t>
            </a:r>
          </a:p>
        </p:txBody>
      </p:sp>
      <p:sp>
        <p:nvSpPr>
          <p:cNvPr id="53" name="Rectangle 86">
            <a:extLst>
              <a:ext uri="{FF2B5EF4-FFF2-40B4-BE49-F238E27FC236}">
                <a16:creationId xmlns:a16="http://schemas.microsoft.com/office/drawing/2014/main" id="{2B67412B-17E6-4DD3-9C34-B7C07F6F39C9}"/>
              </a:ext>
            </a:extLst>
          </p:cNvPr>
          <p:cNvSpPr>
            <a:spLocks noChangeArrowheads="1"/>
          </p:cNvSpPr>
          <p:nvPr/>
        </p:nvSpPr>
        <p:spPr bwMode="auto">
          <a:xfrm>
            <a:off x="380999" y="4107911"/>
            <a:ext cx="2623690" cy="443198"/>
          </a:xfrm>
          <a:prstGeom prst="rect">
            <a:avLst/>
          </a:prstGeom>
          <a:noFill/>
          <a:ln w="12700">
            <a:noFill/>
            <a:miter lim="800000"/>
            <a:headEnd/>
            <a:tailEnd/>
          </a:ln>
          <a:effectLst/>
        </p:spPr>
        <p:txBody>
          <a:bodyPr wrap="square" lIns="0" tIns="0" rIns="0" bIns="0">
            <a:spAutoFit/>
          </a:bodyPr>
          <a:lstStyle/>
          <a:p>
            <a:pPr algn="l">
              <a:lnSpc>
                <a:spcPct val="80000"/>
              </a:lnSpc>
              <a:spcBef>
                <a:spcPct val="0"/>
              </a:spcBef>
            </a:pPr>
            <a:r>
              <a:rPr lang="en-US" b="1" dirty="0">
                <a:latin typeface="+mj-lt"/>
              </a:rPr>
              <a:t>Very high – </a:t>
            </a:r>
            <a:br>
              <a:rPr lang="en-US" b="1" dirty="0">
                <a:latin typeface="+mj-lt"/>
              </a:rPr>
            </a:br>
            <a:r>
              <a:rPr lang="en-US" b="1" dirty="0">
                <a:latin typeface="+mj-lt"/>
              </a:rPr>
              <a:t>very low</a:t>
            </a:r>
          </a:p>
        </p:txBody>
      </p:sp>
      <p:grpSp>
        <p:nvGrpSpPr>
          <p:cNvPr id="54" name="Group 53">
            <a:extLst>
              <a:ext uri="{FF2B5EF4-FFF2-40B4-BE49-F238E27FC236}">
                <a16:creationId xmlns:a16="http://schemas.microsoft.com/office/drawing/2014/main" id="{AEB34B58-9717-4B1E-A75B-EABC6FD58035}"/>
              </a:ext>
            </a:extLst>
          </p:cNvPr>
          <p:cNvGrpSpPr/>
          <p:nvPr/>
        </p:nvGrpSpPr>
        <p:grpSpPr>
          <a:xfrm>
            <a:off x="3374424" y="2127863"/>
            <a:ext cx="945387" cy="293238"/>
            <a:chOff x="3314238" y="2168620"/>
            <a:chExt cx="945387" cy="293238"/>
          </a:xfrm>
        </p:grpSpPr>
        <p:sp>
          <p:nvSpPr>
            <p:cNvPr id="55" name="Rectangle 10">
              <a:extLst>
                <a:ext uri="{FF2B5EF4-FFF2-40B4-BE49-F238E27FC236}">
                  <a16:creationId xmlns:a16="http://schemas.microsoft.com/office/drawing/2014/main" id="{0370A3CE-2A21-44D6-B510-9660B5ED757B}"/>
                </a:ext>
              </a:extLst>
            </p:cNvPr>
            <p:cNvSpPr>
              <a:spLocks noChangeAspect="1" noChangeArrowheads="1"/>
            </p:cNvSpPr>
            <p:nvPr/>
          </p:nvSpPr>
          <p:spPr bwMode="auto">
            <a:xfrm>
              <a:off x="3822005" y="2207517"/>
              <a:ext cx="437620"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Good</a:t>
              </a:r>
            </a:p>
          </p:txBody>
        </p:sp>
        <p:grpSp>
          <p:nvGrpSpPr>
            <p:cNvPr id="56" name="Group 55">
              <a:extLst>
                <a:ext uri="{FF2B5EF4-FFF2-40B4-BE49-F238E27FC236}">
                  <a16:creationId xmlns:a16="http://schemas.microsoft.com/office/drawing/2014/main" id="{98361F34-B7B1-4DEB-9055-6487C65E120E}"/>
                </a:ext>
              </a:extLst>
            </p:cNvPr>
            <p:cNvGrpSpPr>
              <a:grpSpLocks noChangeAspect="1"/>
            </p:cNvGrpSpPr>
            <p:nvPr/>
          </p:nvGrpSpPr>
          <p:grpSpPr bwMode="auto">
            <a:xfrm>
              <a:off x="3314238" y="2168620"/>
              <a:ext cx="293238" cy="293238"/>
              <a:chOff x="4465638" y="3322638"/>
              <a:chExt cx="212725" cy="212725"/>
            </a:xfrm>
          </p:grpSpPr>
          <p:sp>
            <p:nvSpPr>
              <p:cNvPr id="57" name="Oval 56">
                <a:extLst>
                  <a:ext uri="{FF2B5EF4-FFF2-40B4-BE49-F238E27FC236}">
                    <a16:creationId xmlns:a16="http://schemas.microsoft.com/office/drawing/2014/main" id="{57242F43-2DC5-4043-A3AA-09FB4CBBBD5E}"/>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sp>
            <p:nvSpPr>
              <p:cNvPr id="58" name="Arc 57">
                <a:extLst>
                  <a:ext uri="{FF2B5EF4-FFF2-40B4-BE49-F238E27FC236}">
                    <a16:creationId xmlns:a16="http://schemas.microsoft.com/office/drawing/2014/main" id="{32D8EB8C-CEF2-4DC8-86FB-B61C9FABAFC3}"/>
                  </a:ext>
                </a:extLst>
              </p:cNvPr>
              <p:cNvSpPr/>
              <p:nvPr/>
            </p:nvSpPr>
            <p:spPr bwMode="auto">
              <a:xfrm>
                <a:off x="4465638" y="3322638"/>
                <a:ext cx="212725" cy="212725"/>
              </a:xfrm>
              <a:prstGeom prst="arc">
                <a:avLst>
                  <a:gd name="adj1" fmla="val 16200000"/>
                  <a:gd name="adj2" fmla="val 10800000"/>
                </a:avLst>
              </a:prstGeom>
              <a:solidFill>
                <a:schemeClr val="accent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59" name="Group 58">
            <a:extLst>
              <a:ext uri="{FF2B5EF4-FFF2-40B4-BE49-F238E27FC236}">
                <a16:creationId xmlns:a16="http://schemas.microsoft.com/office/drawing/2014/main" id="{4C34A0E6-6F11-44E8-B559-6577FF505C5C}"/>
              </a:ext>
            </a:extLst>
          </p:cNvPr>
          <p:cNvGrpSpPr/>
          <p:nvPr/>
        </p:nvGrpSpPr>
        <p:grpSpPr>
          <a:xfrm>
            <a:off x="3374424" y="1709652"/>
            <a:ext cx="1235530" cy="293238"/>
            <a:chOff x="3314238" y="1767247"/>
            <a:chExt cx="1235530" cy="293238"/>
          </a:xfrm>
        </p:grpSpPr>
        <p:sp>
          <p:nvSpPr>
            <p:cNvPr id="60" name="Rectangle 23">
              <a:extLst>
                <a:ext uri="{FF2B5EF4-FFF2-40B4-BE49-F238E27FC236}">
                  <a16:creationId xmlns:a16="http://schemas.microsoft.com/office/drawing/2014/main" id="{BA50DE27-15B6-47B8-842E-8F2185A3AB8E}"/>
                </a:ext>
              </a:extLst>
            </p:cNvPr>
            <p:cNvSpPr>
              <a:spLocks noChangeAspect="1" noChangeArrowheads="1"/>
            </p:cNvSpPr>
            <p:nvPr/>
          </p:nvSpPr>
          <p:spPr bwMode="auto">
            <a:xfrm>
              <a:off x="3822005" y="1806144"/>
              <a:ext cx="727763"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Excellent</a:t>
              </a:r>
            </a:p>
          </p:txBody>
        </p:sp>
        <p:grpSp>
          <p:nvGrpSpPr>
            <p:cNvPr id="61" name="Group 60">
              <a:extLst>
                <a:ext uri="{FF2B5EF4-FFF2-40B4-BE49-F238E27FC236}">
                  <a16:creationId xmlns:a16="http://schemas.microsoft.com/office/drawing/2014/main" id="{3114BFDE-2211-44AB-B94A-011489FDC198}"/>
                </a:ext>
              </a:extLst>
            </p:cNvPr>
            <p:cNvGrpSpPr>
              <a:grpSpLocks noChangeAspect="1"/>
            </p:cNvGrpSpPr>
            <p:nvPr/>
          </p:nvGrpSpPr>
          <p:grpSpPr bwMode="auto">
            <a:xfrm>
              <a:off x="3314238" y="1767247"/>
              <a:ext cx="293238" cy="293238"/>
              <a:chOff x="4465638" y="3322638"/>
              <a:chExt cx="212725" cy="212725"/>
            </a:xfrm>
          </p:grpSpPr>
          <p:sp>
            <p:nvSpPr>
              <p:cNvPr id="62" name="Oval 61">
                <a:extLst>
                  <a:ext uri="{FF2B5EF4-FFF2-40B4-BE49-F238E27FC236}">
                    <a16:creationId xmlns:a16="http://schemas.microsoft.com/office/drawing/2014/main" id="{8AE18158-33A3-403F-A50B-3A4B71E7164A}"/>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sp>
            <p:nvSpPr>
              <p:cNvPr id="63" name="Arc 62">
                <a:extLst>
                  <a:ext uri="{FF2B5EF4-FFF2-40B4-BE49-F238E27FC236}">
                    <a16:creationId xmlns:a16="http://schemas.microsoft.com/office/drawing/2014/main" id="{86A07939-DF29-4E8E-A80A-14DCA512B27E}"/>
                  </a:ext>
                </a:extLst>
              </p:cNvPr>
              <p:cNvSpPr/>
              <p:nvPr/>
            </p:nvSpPr>
            <p:spPr bwMode="auto">
              <a:xfrm>
                <a:off x="4465638" y="3322638"/>
                <a:ext cx="212725" cy="212725"/>
              </a:xfrm>
              <a:prstGeom prst="arc">
                <a:avLst>
                  <a:gd name="adj1" fmla="val 16200000"/>
                  <a:gd name="adj2" fmla="val 16200000"/>
                </a:avLst>
              </a:prstGeom>
              <a:solidFill>
                <a:schemeClr val="accent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64" name="Group 63">
            <a:extLst>
              <a:ext uri="{FF2B5EF4-FFF2-40B4-BE49-F238E27FC236}">
                <a16:creationId xmlns:a16="http://schemas.microsoft.com/office/drawing/2014/main" id="{3CC3227E-AED8-4899-946F-EFC38B0CCA3F}"/>
              </a:ext>
            </a:extLst>
          </p:cNvPr>
          <p:cNvGrpSpPr/>
          <p:nvPr/>
        </p:nvGrpSpPr>
        <p:grpSpPr>
          <a:xfrm>
            <a:off x="3374424" y="2546074"/>
            <a:ext cx="1443921" cy="293238"/>
            <a:chOff x="3314238" y="2550545"/>
            <a:chExt cx="1443921" cy="293238"/>
          </a:xfrm>
        </p:grpSpPr>
        <p:sp>
          <p:nvSpPr>
            <p:cNvPr id="65" name="Rectangle 5">
              <a:extLst>
                <a:ext uri="{FF2B5EF4-FFF2-40B4-BE49-F238E27FC236}">
                  <a16:creationId xmlns:a16="http://schemas.microsoft.com/office/drawing/2014/main" id="{238D27AF-4F48-4D3D-BE8F-EB6DCA470BA0}"/>
                </a:ext>
              </a:extLst>
            </p:cNvPr>
            <p:cNvSpPr>
              <a:spLocks noChangeAspect="1" noChangeArrowheads="1"/>
            </p:cNvSpPr>
            <p:nvPr/>
          </p:nvSpPr>
          <p:spPr bwMode="auto">
            <a:xfrm>
              <a:off x="3822005" y="2589442"/>
              <a:ext cx="936154"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Satisfactory</a:t>
              </a:r>
            </a:p>
          </p:txBody>
        </p:sp>
        <p:grpSp>
          <p:nvGrpSpPr>
            <p:cNvPr id="66" name="Group 65">
              <a:extLst>
                <a:ext uri="{FF2B5EF4-FFF2-40B4-BE49-F238E27FC236}">
                  <a16:creationId xmlns:a16="http://schemas.microsoft.com/office/drawing/2014/main" id="{613D8F64-5C04-4B5E-B455-7DE2FF2C8C3C}"/>
                </a:ext>
              </a:extLst>
            </p:cNvPr>
            <p:cNvGrpSpPr>
              <a:grpSpLocks noChangeAspect="1"/>
            </p:cNvGrpSpPr>
            <p:nvPr/>
          </p:nvGrpSpPr>
          <p:grpSpPr bwMode="auto">
            <a:xfrm>
              <a:off x="3314238" y="2550545"/>
              <a:ext cx="293238" cy="293238"/>
              <a:chOff x="4465638" y="3322638"/>
              <a:chExt cx="212725" cy="212725"/>
            </a:xfrm>
          </p:grpSpPr>
          <p:sp>
            <p:nvSpPr>
              <p:cNvPr id="67" name="Oval 66">
                <a:extLst>
                  <a:ext uri="{FF2B5EF4-FFF2-40B4-BE49-F238E27FC236}">
                    <a16:creationId xmlns:a16="http://schemas.microsoft.com/office/drawing/2014/main" id="{11FA59C1-C76D-4F5C-A14F-0A2EFC60D352}"/>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sp>
            <p:nvSpPr>
              <p:cNvPr id="68" name="Arc 67">
                <a:extLst>
                  <a:ext uri="{FF2B5EF4-FFF2-40B4-BE49-F238E27FC236}">
                    <a16:creationId xmlns:a16="http://schemas.microsoft.com/office/drawing/2014/main" id="{7174484B-E0EB-481A-AADA-D3E0A3FAC2D2}"/>
                  </a:ext>
                </a:extLst>
              </p:cNvPr>
              <p:cNvSpPr/>
              <p:nvPr/>
            </p:nvSpPr>
            <p:spPr bwMode="auto">
              <a:xfrm>
                <a:off x="4465638" y="3322638"/>
                <a:ext cx="212725" cy="212725"/>
              </a:xfrm>
              <a:prstGeom prst="arc">
                <a:avLst>
                  <a:gd name="adj1" fmla="val 16200000"/>
                  <a:gd name="adj2" fmla="val 5400000"/>
                </a:avLst>
              </a:prstGeom>
              <a:solidFill>
                <a:schemeClr val="accent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69" name="Group 68">
            <a:extLst>
              <a:ext uri="{FF2B5EF4-FFF2-40B4-BE49-F238E27FC236}">
                <a16:creationId xmlns:a16="http://schemas.microsoft.com/office/drawing/2014/main" id="{387A724F-6772-449B-82BB-D5EF9FCE7CC3}"/>
              </a:ext>
            </a:extLst>
          </p:cNvPr>
          <p:cNvGrpSpPr/>
          <p:nvPr/>
        </p:nvGrpSpPr>
        <p:grpSpPr>
          <a:xfrm>
            <a:off x="3374424" y="2964285"/>
            <a:ext cx="886076" cy="293238"/>
            <a:chOff x="3314238" y="2932470"/>
            <a:chExt cx="886076" cy="293238"/>
          </a:xfrm>
        </p:grpSpPr>
        <p:sp>
          <p:nvSpPr>
            <p:cNvPr id="70" name="Rectangle 18">
              <a:extLst>
                <a:ext uri="{FF2B5EF4-FFF2-40B4-BE49-F238E27FC236}">
                  <a16:creationId xmlns:a16="http://schemas.microsoft.com/office/drawing/2014/main" id="{39CB1574-1968-48A3-8D38-6A4AD3E3AF86}"/>
                </a:ext>
              </a:extLst>
            </p:cNvPr>
            <p:cNvSpPr>
              <a:spLocks noChangeAspect="1" noChangeArrowheads="1"/>
            </p:cNvSpPr>
            <p:nvPr/>
          </p:nvSpPr>
          <p:spPr bwMode="auto">
            <a:xfrm>
              <a:off x="3822005" y="2971367"/>
              <a:ext cx="378309"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a:t>Poor</a:t>
              </a:r>
            </a:p>
          </p:txBody>
        </p:sp>
        <p:grpSp>
          <p:nvGrpSpPr>
            <p:cNvPr id="71" name="Group 70">
              <a:extLst>
                <a:ext uri="{FF2B5EF4-FFF2-40B4-BE49-F238E27FC236}">
                  <a16:creationId xmlns:a16="http://schemas.microsoft.com/office/drawing/2014/main" id="{93B78028-4D9E-4C46-BC6F-BEC5156D951A}"/>
                </a:ext>
              </a:extLst>
            </p:cNvPr>
            <p:cNvGrpSpPr>
              <a:grpSpLocks noChangeAspect="1"/>
            </p:cNvGrpSpPr>
            <p:nvPr/>
          </p:nvGrpSpPr>
          <p:grpSpPr bwMode="auto">
            <a:xfrm>
              <a:off x="3314238" y="2932470"/>
              <a:ext cx="293238" cy="293238"/>
              <a:chOff x="4465638" y="3322638"/>
              <a:chExt cx="212725" cy="212725"/>
            </a:xfrm>
          </p:grpSpPr>
          <p:sp>
            <p:nvSpPr>
              <p:cNvPr id="72" name="Oval 71">
                <a:extLst>
                  <a:ext uri="{FF2B5EF4-FFF2-40B4-BE49-F238E27FC236}">
                    <a16:creationId xmlns:a16="http://schemas.microsoft.com/office/drawing/2014/main" id="{4C19CC65-87AF-4277-B37E-842AE34556DE}"/>
                  </a:ext>
                </a:extLst>
              </p:cNvPr>
              <p:cNvSpPr/>
              <p:nvPr/>
            </p:nvSpPr>
            <p:spPr bwMode="auto">
              <a:xfrm>
                <a:off x="4465638" y="3322638"/>
                <a:ext cx="212725" cy="212725"/>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sp>
            <p:nvSpPr>
              <p:cNvPr id="73" name="Arc 72">
                <a:extLst>
                  <a:ext uri="{FF2B5EF4-FFF2-40B4-BE49-F238E27FC236}">
                    <a16:creationId xmlns:a16="http://schemas.microsoft.com/office/drawing/2014/main" id="{BFE244A7-8D96-40F0-B0BF-65BD0D27B9DF}"/>
                  </a:ext>
                </a:extLst>
              </p:cNvPr>
              <p:cNvSpPr/>
              <p:nvPr/>
            </p:nvSpPr>
            <p:spPr bwMode="auto">
              <a:xfrm>
                <a:off x="4465638" y="3322638"/>
                <a:ext cx="212725" cy="212725"/>
              </a:xfrm>
              <a:prstGeom prst="arc">
                <a:avLst/>
              </a:prstGeom>
              <a:solidFill>
                <a:schemeClr val="accent1"/>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74" name="Group 73">
            <a:extLst>
              <a:ext uri="{FF2B5EF4-FFF2-40B4-BE49-F238E27FC236}">
                <a16:creationId xmlns:a16="http://schemas.microsoft.com/office/drawing/2014/main" id="{70302A2C-BBD2-4007-9A2C-B34E72F23C76}"/>
              </a:ext>
            </a:extLst>
          </p:cNvPr>
          <p:cNvGrpSpPr/>
          <p:nvPr/>
        </p:nvGrpSpPr>
        <p:grpSpPr>
          <a:xfrm>
            <a:off x="3374424" y="3382495"/>
            <a:ext cx="1323440" cy="298084"/>
            <a:chOff x="3314238" y="3382495"/>
            <a:chExt cx="1323440" cy="298084"/>
          </a:xfrm>
        </p:grpSpPr>
        <p:sp>
          <p:nvSpPr>
            <p:cNvPr id="75" name="Rectangle 15">
              <a:extLst>
                <a:ext uri="{FF2B5EF4-FFF2-40B4-BE49-F238E27FC236}">
                  <a16:creationId xmlns:a16="http://schemas.microsoft.com/office/drawing/2014/main" id="{71E6F8C3-2DE7-46EE-BDDA-3742442AFB74}"/>
                </a:ext>
              </a:extLst>
            </p:cNvPr>
            <p:cNvSpPr>
              <a:spLocks noChangeAspect="1" noChangeArrowheads="1"/>
            </p:cNvSpPr>
            <p:nvPr/>
          </p:nvSpPr>
          <p:spPr bwMode="auto">
            <a:xfrm>
              <a:off x="3822005" y="3465135"/>
              <a:ext cx="815673"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Very poor </a:t>
              </a:r>
            </a:p>
          </p:txBody>
        </p:sp>
        <p:sp>
          <p:nvSpPr>
            <p:cNvPr id="76" name="Oval 75">
              <a:extLst>
                <a:ext uri="{FF2B5EF4-FFF2-40B4-BE49-F238E27FC236}">
                  <a16:creationId xmlns:a16="http://schemas.microsoft.com/office/drawing/2014/main" id="{403B7AA7-A4DD-4849-B9B6-45222B7AC033}"/>
                </a:ext>
              </a:extLst>
            </p:cNvPr>
            <p:cNvSpPr/>
            <p:nvPr/>
          </p:nvSpPr>
          <p:spPr bwMode="auto">
            <a:xfrm>
              <a:off x="3314238" y="3382495"/>
              <a:ext cx="293238" cy="293238"/>
            </a:xfrm>
            <a:prstGeom prst="ellipse">
              <a:avLst/>
            </a:prstGeom>
            <a:solidFill>
              <a:schemeClr val="bg1"/>
            </a:solidFill>
            <a:ln w="6350" cmpd="sng">
              <a:solidFill>
                <a:schemeClr val="accent1"/>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grpSp>
      <p:grpSp>
        <p:nvGrpSpPr>
          <p:cNvPr id="77" name="Group 76">
            <a:extLst>
              <a:ext uri="{FF2B5EF4-FFF2-40B4-BE49-F238E27FC236}">
                <a16:creationId xmlns:a16="http://schemas.microsoft.com/office/drawing/2014/main" id="{9747CFE0-5F9F-4C7A-8E4F-78775534CE15}"/>
              </a:ext>
            </a:extLst>
          </p:cNvPr>
          <p:cNvGrpSpPr/>
          <p:nvPr/>
        </p:nvGrpSpPr>
        <p:grpSpPr>
          <a:xfrm>
            <a:off x="3374424" y="4564235"/>
            <a:ext cx="876458" cy="293238"/>
            <a:chOff x="3314238" y="4564235"/>
            <a:chExt cx="876458" cy="293238"/>
          </a:xfrm>
        </p:grpSpPr>
        <p:sp>
          <p:nvSpPr>
            <p:cNvPr id="78" name="Rectangle 68">
              <a:extLst>
                <a:ext uri="{FF2B5EF4-FFF2-40B4-BE49-F238E27FC236}">
                  <a16:creationId xmlns:a16="http://schemas.microsoft.com/office/drawing/2014/main" id="{6747820A-B871-4B58-A1A7-6F9D44866322}"/>
                </a:ext>
              </a:extLst>
            </p:cNvPr>
            <p:cNvSpPr>
              <a:spLocks noChangeAspect="1" noChangeArrowheads="1"/>
            </p:cNvSpPr>
            <p:nvPr/>
          </p:nvSpPr>
          <p:spPr bwMode="auto">
            <a:xfrm>
              <a:off x="3822005" y="4603132"/>
              <a:ext cx="368691"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High</a:t>
              </a:r>
            </a:p>
          </p:txBody>
        </p:sp>
        <p:sp>
          <p:nvSpPr>
            <p:cNvPr id="79" name="Oval 78">
              <a:extLst>
                <a:ext uri="{FF2B5EF4-FFF2-40B4-BE49-F238E27FC236}">
                  <a16:creationId xmlns:a16="http://schemas.microsoft.com/office/drawing/2014/main" id="{17341D36-CAB2-493C-BC14-7090450C2F31}"/>
                </a:ext>
              </a:extLst>
            </p:cNvPr>
            <p:cNvSpPr/>
            <p:nvPr/>
          </p:nvSpPr>
          <p:spPr bwMode="auto">
            <a:xfrm>
              <a:off x="3314238" y="4564235"/>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sp>
          <p:nvSpPr>
            <p:cNvPr id="80" name="Arc 79">
              <a:extLst>
                <a:ext uri="{FF2B5EF4-FFF2-40B4-BE49-F238E27FC236}">
                  <a16:creationId xmlns:a16="http://schemas.microsoft.com/office/drawing/2014/main" id="{26A26068-2566-4443-B1A6-F7C428B0C3A5}"/>
                </a:ext>
              </a:extLst>
            </p:cNvPr>
            <p:cNvSpPr/>
            <p:nvPr/>
          </p:nvSpPr>
          <p:spPr bwMode="auto">
            <a:xfrm>
              <a:off x="3314238" y="4564235"/>
              <a:ext cx="293238" cy="293238"/>
            </a:xfrm>
            <a:prstGeom prst="arc">
              <a:avLst>
                <a:gd name="adj1" fmla="val 16200000"/>
                <a:gd name="adj2" fmla="val 10800000"/>
              </a:avLst>
            </a:prstGeom>
            <a:solidFill>
              <a:schemeClr val="accent2"/>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81" name="Group 80">
            <a:extLst>
              <a:ext uri="{FF2B5EF4-FFF2-40B4-BE49-F238E27FC236}">
                <a16:creationId xmlns:a16="http://schemas.microsoft.com/office/drawing/2014/main" id="{265EC409-75B7-4A3E-9286-369ED15F289C}"/>
              </a:ext>
            </a:extLst>
          </p:cNvPr>
          <p:cNvGrpSpPr/>
          <p:nvPr/>
        </p:nvGrpSpPr>
        <p:grpSpPr>
          <a:xfrm>
            <a:off x="3374424" y="5765136"/>
            <a:ext cx="1185581" cy="293238"/>
            <a:chOff x="3314238" y="5765136"/>
            <a:chExt cx="1185581" cy="293238"/>
          </a:xfrm>
        </p:grpSpPr>
        <p:sp>
          <p:nvSpPr>
            <p:cNvPr id="82" name="Rectangle 73">
              <a:extLst>
                <a:ext uri="{FF2B5EF4-FFF2-40B4-BE49-F238E27FC236}">
                  <a16:creationId xmlns:a16="http://schemas.microsoft.com/office/drawing/2014/main" id="{CB38F09A-72A2-45C7-B921-CA847955A148}"/>
                </a:ext>
              </a:extLst>
            </p:cNvPr>
            <p:cNvSpPr>
              <a:spLocks noChangeAspect="1" noChangeArrowheads="1"/>
            </p:cNvSpPr>
            <p:nvPr/>
          </p:nvSpPr>
          <p:spPr bwMode="auto">
            <a:xfrm>
              <a:off x="3822005" y="5804033"/>
              <a:ext cx="677814"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Very low</a:t>
              </a:r>
            </a:p>
          </p:txBody>
        </p:sp>
        <p:sp>
          <p:nvSpPr>
            <p:cNvPr id="83" name="Oval 82">
              <a:extLst>
                <a:ext uri="{FF2B5EF4-FFF2-40B4-BE49-F238E27FC236}">
                  <a16:creationId xmlns:a16="http://schemas.microsoft.com/office/drawing/2014/main" id="{B73715A7-815D-454F-A2A4-31B76228F460}"/>
                </a:ext>
              </a:extLst>
            </p:cNvPr>
            <p:cNvSpPr/>
            <p:nvPr/>
          </p:nvSpPr>
          <p:spPr bwMode="auto">
            <a:xfrm>
              <a:off x="3314238" y="5765136"/>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grpSp>
      <p:grpSp>
        <p:nvGrpSpPr>
          <p:cNvPr id="84" name="Group 83">
            <a:extLst>
              <a:ext uri="{FF2B5EF4-FFF2-40B4-BE49-F238E27FC236}">
                <a16:creationId xmlns:a16="http://schemas.microsoft.com/office/drawing/2014/main" id="{E69132AD-447F-4CBE-9E83-4F5F83A753AD}"/>
              </a:ext>
            </a:extLst>
          </p:cNvPr>
          <p:cNvGrpSpPr/>
          <p:nvPr/>
        </p:nvGrpSpPr>
        <p:grpSpPr>
          <a:xfrm>
            <a:off x="3374424" y="4163935"/>
            <a:ext cx="1254510" cy="293238"/>
            <a:chOff x="3314238" y="4163935"/>
            <a:chExt cx="1254510" cy="293238"/>
          </a:xfrm>
        </p:grpSpPr>
        <p:sp>
          <p:nvSpPr>
            <p:cNvPr id="85" name="Rectangle 81">
              <a:extLst>
                <a:ext uri="{FF2B5EF4-FFF2-40B4-BE49-F238E27FC236}">
                  <a16:creationId xmlns:a16="http://schemas.microsoft.com/office/drawing/2014/main" id="{7F994218-D7A7-4E2D-B69A-C0449322F516}"/>
                </a:ext>
              </a:extLst>
            </p:cNvPr>
            <p:cNvSpPr>
              <a:spLocks noChangeAspect="1" noChangeArrowheads="1"/>
            </p:cNvSpPr>
            <p:nvPr/>
          </p:nvSpPr>
          <p:spPr bwMode="auto">
            <a:xfrm>
              <a:off x="3822005" y="4202832"/>
              <a:ext cx="746743"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Very high</a:t>
              </a:r>
            </a:p>
          </p:txBody>
        </p:sp>
        <p:grpSp>
          <p:nvGrpSpPr>
            <p:cNvPr id="86" name="Group 85">
              <a:extLst>
                <a:ext uri="{FF2B5EF4-FFF2-40B4-BE49-F238E27FC236}">
                  <a16:creationId xmlns:a16="http://schemas.microsoft.com/office/drawing/2014/main" id="{63FC1FCB-F0DF-4D8A-BB70-C693DCBC9B22}"/>
                </a:ext>
              </a:extLst>
            </p:cNvPr>
            <p:cNvGrpSpPr>
              <a:grpSpLocks noChangeAspect="1"/>
            </p:cNvGrpSpPr>
            <p:nvPr/>
          </p:nvGrpSpPr>
          <p:grpSpPr bwMode="auto">
            <a:xfrm>
              <a:off x="3314238" y="4163935"/>
              <a:ext cx="293238" cy="293238"/>
              <a:chOff x="4465638" y="3322638"/>
              <a:chExt cx="212725" cy="212725"/>
            </a:xfrm>
          </p:grpSpPr>
          <p:sp>
            <p:nvSpPr>
              <p:cNvPr id="87" name="Oval 86">
                <a:extLst>
                  <a:ext uri="{FF2B5EF4-FFF2-40B4-BE49-F238E27FC236}">
                    <a16:creationId xmlns:a16="http://schemas.microsoft.com/office/drawing/2014/main" id="{A7706A92-1669-40A7-AD54-F298CB4BA507}"/>
                  </a:ext>
                </a:extLst>
              </p:cNvPr>
              <p:cNvSpPr/>
              <p:nvPr/>
            </p:nvSpPr>
            <p:spPr bwMode="auto">
              <a:xfrm>
                <a:off x="4465638" y="3322638"/>
                <a:ext cx="212725" cy="212725"/>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sp>
            <p:nvSpPr>
              <p:cNvPr id="88" name="Arc 87">
                <a:extLst>
                  <a:ext uri="{FF2B5EF4-FFF2-40B4-BE49-F238E27FC236}">
                    <a16:creationId xmlns:a16="http://schemas.microsoft.com/office/drawing/2014/main" id="{0665C66D-01E8-48DD-8467-05030AF7593F}"/>
                  </a:ext>
                </a:extLst>
              </p:cNvPr>
              <p:cNvSpPr/>
              <p:nvPr/>
            </p:nvSpPr>
            <p:spPr bwMode="auto">
              <a:xfrm>
                <a:off x="4465638" y="3322638"/>
                <a:ext cx="212725" cy="212725"/>
              </a:xfrm>
              <a:prstGeom prst="arc">
                <a:avLst>
                  <a:gd name="adj1" fmla="val 16200000"/>
                  <a:gd name="adj2" fmla="val 16200000"/>
                </a:avLst>
              </a:prstGeom>
              <a:solidFill>
                <a:schemeClr val="accent2"/>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89" name="Group 88">
            <a:extLst>
              <a:ext uri="{FF2B5EF4-FFF2-40B4-BE49-F238E27FC236}">
                <a16:creationId xmlns:a16="http://schemas.microsoft.com/office/drawing/2014/main" id="{915202A2-A281-4D50-9B35-28CB5B0AFE56}"/>
              </a:ext>
            </a:extLst>
          </p:cNvPr>
          <p:cNvGrpSpPr/>
          <p:nvPr/>
        </p:nvGrpSpPr>
        <p:grpSpPr>
          <a:xfrm>
            <a:off x="3374424" y="4964535"/>
            <a:ext cx="1144160" cy="293238"/>
            <a:chOff x="3314238" y="4964535"/>
            <a:chExt cx="1144160" cy="293238"/>
          </a:xfrm>
        </p:grpSpPr>
        <p:sp>
          <p:nvSpPr>
            <p:cNvPr id="90" name="Rectangle 63">
              <a:extLst>
                <a:ext uri="{FF2B5EF4-FFF2-40B4-BE49-F238E27FC236}">
                  <a16:creationId xmlns:a16="http://schemas.microsoft.com/office/drawing/2014/main" id="{1B406DA3-F177-4F74-B3AE-430D30E035F2}"/>
                </a:ext>
              </a:extLst>
            </p:cNvPr>
            <p:cNvSpPr>
              <a:spLocks noChangeAspect="1" noChangeArrowheads="1"/>
            </p:cNvSpPr>
            <p:nvPr/>
          </p:nvSpPr>
          <p:spPr bwMode="auto">
            <a:xfrm>
              <a:off x="3822005" y="5003432"/>
              <a:ext cx="636393"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a:t>Medium</a:t>
              </a:r>
            </a:p>
          </p:txBody>
        </p:sp>
        <p:sp>
          <p:nvSpPr>
            <p:cNvPr id="91" name="Oval 90">
              <a:extLst>
                <a:ext uri="{FF2B5EF4-FFF2-40B4-BE49-F238E27FC236}">
                  <a16:creationId xmlns:a16="http://schemas.microsoft.com/office/drawing/2014/main" id="{D06EBBED-B16E-422B-8021-412CF453681C}"/>
                </a:ext>
              </a:extLst>
            </p:cNvPr>
            <p:cNvSpPr/>
            <p:nvPr/>
          </p:nvSpPr>
          <p:spPr bwMode="auto">
            <a:xfrm>
              <a:off x="3314238" y="4964535"/>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sp>
          <p:nvSpPr>
            <p:cNvPr id="92" name="Arc 91">
              <a:extLst>
                <a:ext uri="{FF2B5EF4-FFF2-40B4-BE49-F238E27FC236}">
                  <a16:creationId xmlns:a16="http://schemas.microsoft.com/office/drawing/2014/main" id="{D8DEC7C1-E51D-4A9B-A3D4-8C87041F3B50}"/>
                </a:ext>
              </a:extLst>
            </p:cNvPr>
            <p:cNvSpPr/>
            <p:nvPr/>
          </p:nvSpPr>
          <p:spPr bwMode="auto">
            <a:xfrm>
              <a:off x="3314238" y="4964535"/>
              <a:ext cx="293238" cy="293238"/>
            </a:xfrm>
            <a:prstGeom prst="arc">
              <a:avLst>
                <a:gd name="adj1" fmla="val 16200000"/>
                <a:gd name="adj2" fmla="val 5400000"/>
              </a:avLst>
            </a:prstGeom>
            <a:solidFill>
              <a:schemeClr val="accent2"/>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93" name="Group 92">
            <a:extLst>
              <a:ext uri="{FF2B5EF4-FFF2-40B4-BE49-F238E27FC236}">
                <a16:creationId xmlns:a16="http://schemas.microsoft.com/office/drawing/2014/main" id="{B1490169-E27E-4B12-8A21-E1413A31349F}"/>
              </a:ext>
            </a:extLst>
          </p:cNvPr>
          <p:cNvGrpSpPr/>
          <p:nvPr/>
        </p:nvGrpSpPr>
        <p:grpSpPr>
          <a:xfrm>
            <a:off x="3374424" y="5364835"/>
            <a:ext cx="836383" cy="293238"/>
            <a:chOff x="3314238" y="5364835"/>
            <a:chExt cx="836383" cy="293238"/>
          </a:xfrm>
        </p:grpSpPr>
        <p:sp>
          <p:nvSpPr>
            <p:cNvPr id="94" name="Rectangle 76">
              <a:extLst>
                <a:ext uri="{FF2B5EF4-FFF2-40B4-BE49-F238E27FC236}">
                  <a16:creationId xmlns:a16="http://schemas.microsoft.com/office/drawing/2014/main" id="{D42C0615-951E-4A41-9BF5-1D5A380B2DC2}"/>
                </a:ext>
              </a:extLst>
            </p:cNvPr>
            <p:cNvSpPr>
              <a:spLocks noChangeAspect="1" noChangeArrowheads="1"/>
            </p:cNvSpPr>
            <p:nvPr/>
          </p:nvSpPr>
          <p:spPr bwMode="auto">
            <a:xfrm>
              <a:off x="3822005" y="5403732"/>
              <a:ext cx="328616" cy="215444"/>
            </a:xfrm>
            <a:prstGeom prst="rect">
              <a:avLst/>
            </a:prstGeom>
            <a:noFill/>
            <a:ln w="6350">
              <a:noFill/>
              <a:miter lim="800000"/>
              <a:headEnd/>
              <a:tailEnd/>
            </a:ln>
            <a:effectLst/>
          </p:spPr>
          <p:txBody>
            <a:bodyPr wrap="none" lIns="0" tIns="0" rIns="0" bIns="0" anchor="ctr">
              <a:spAutoFit/>
            </a:bodyPr>
            <a:lstStyle/>
            <a:p>
              <a:pPr algn="l" eaLnBrk="0" hangingPunct="0">
                <a:spcBef>
                  <a:spcPct val="0"/>
                </a:spcBef>
              </a:pPr>
              <a:r>
                <a:rPr lang="en-US" sz="1400" dirty="0"/>
                <a:t>Low</a:t>
              </a:r>
            </a:p>
          </p:txBody>
        </p:sp>
        <p:sp>
          <p:nvSpPr>
            <p:cNvPr id="95" name="Oval 94">
              <a:extLst>
                <a:ext uri="{FF2B5EF4-FFF2-40B4-BE49-F238E27FC236}">
                  <a16:creationId xmlns:a16="http://schemas.microsoft.com/office/drawing/2014/main" id="{D73F8BC1-FD49-46A2-868E-2460A6DEE8F4}"/>
                </a:ext>
              </a:extLst>
            </p:cNvPr>
            <p:cNvSpPr/>
            <p:nvPr/>
          </p:nvSpPr>
          <p:spPr bwMode="auto">
            <a:xfrm>
              <a:off x="3314238" y="5364835"/>
              <a:ext cx="293238" cy="293238"/>
            </a:xfrm>
            <a:prstGeom prst="ellipse">
              <a:avLst/>
            </a:prstGeom>
            <a:solidFill>
              <a:schemeClr val="bg1"/>
            </a:solidFill>
            <a:ln w="6350" cmpd="sng">
              <a:solidFill>
                <a:schemeClr val="accent2"/>
              </a:solidFill>
              <a:prstDash val="solid"/>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400" kern="0" dirty="0" err="1">
                <a:solidFill>
                  <a:sysClr val="windowText" lastClr="000000"/>
                </a:solidFill>
                <a:latin typeface="Arial" pitchFamily="34" charset="0"/>
                <a:cs typeface="Arial" pitchFamily="34" charset="0"/>
              </a:endParaRPr>
            </a:p>
          </p:txBody>
        </p:sp>
        <p:sp>
          <p:nvSpPr>
            <p:cNvPr id="96" name="Arc 95">
              <a:extLst>
                <a:ext uri="{FF2B5EF4-FFF2-40B4-BE49-F238E27FC236}">
                  <a16:creationId xmlns:a16="http://schemas.microsoft.com/office/drawing/2014/main" id="{0648516F-DF46-4768-A3DC-FA78BF2AB330}"/>
                </a:ext>
              </a:extLst>
            </p:cNvPr>
            <p:cNvSpPr/>
            <p:nvPr/>
          </p:nvSpPr>
          <p:spPr bwMode="auto">
            <a:xfrm>
              <a:off x="3314238" y="5364835"/>
              <a:ext cx="293238" cy="293238"/>
            </a:xfrm>
            <a:prstGeom prst="arc">
              <a:avLst/>
            </a:prstGeom>
            <a:solidFill>
              <a:schemeClr val="accent2"/>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spTree>
    <p:extLst>
      <p:ext uri="{BB962C8B-B14F-4D97-AF65-F5344CB8AC3E}">
        <p14:creationId xmlns:p14="http://schemas.microsoft.com/office/powerpoint/2010/main" val="2568889040"/>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uzzle Pieces 1</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26B245AD-D08C-48B9-964F-0BE9E5CAF514}"/>
              </a:ext>
            </a:extLst>
          </p:cNvPr>
          <p:cNvGrpSpPr/>
          <p:nvPr/>
        </p:nvGrpSpPr>
        <p:grpSpPr>
          <a:xfrm>
            <a:off x="4159565" y="1499684"/>
            <a:ext cx="3872871" cy="3858632"/>
            <a:chOff x="4157072" y="1916832"/>
            <a:chExt cx="3872871" cy="3858632"/>
          </a:xfrm>
        </p:grpSpPr>
        <p:grpSp>
          <p:nvGrpSpPr>
            <p:cNvPr id="6" name="Group 6">
              <a:extLst>
                <a:ext uri="{FF2B5EF4-FFF2-40B4-BE49-F238E27FC236}">
                  <a16:creationId xmlns:a16="http://schemas.microsoft.com/office/drawing/2014/main" id="{7CC33185-011B-4544-AD50-3B6A173FBF9C}"/>
                </a:ext>
              </a:extLst>
            </p:cNvPr>
            <p:cNvGrpSpPr/>
            <p:nvPr/>
          </p:nvGrpSpPr>
          <p:grpSpPr bwMode="auto">
            <a:xfrm>
              <a:off x="4157072" y="1916832"/>
              <a:ext cx="3872871" cy="3858632"/>
              <a:chOff x="2671762" y="1322387"/>
              <a:chExt cx="4384514" cy="4368394"/>
            </a:xfrm>
          </p:grpSpPr>
          <p:sp>
            <p:nvSpPr>
              <p:cNvPr id="11" name="Freeform 19">
                <a:extLst>
                  <a:ext uri="{FF2B5EF4-FFF2-40B4-BE49-F238E27FC236}">
                    <a16:creationId xmlns:a16="http://schemas.microsoft.com/office/drawing/2014/main" id="{412EF9DE-BB0F-408B-A76E-C70FF216C8BF}"/>
                  </a:ext>
                </a:extLst>
              </p:cNvPr>
              <p:cNvSpPr>
                <a:spLocks/>
              </p:cNvSpPr>
              <p:nvPr/>
            </p:nvSpPr>
            <p:spPr bwMode="auto">
              <a:xfrm rot="5400000" flipH="1">
                <a:off x="3000135" y="1000365"/>
                <a:ext cx="1831974" cy="2488720"/>
              </a:xfrm>
              <a:custGeom>
                <a:avLst/>
                <a:gdLst/>
                <a:ahLst/>
                <a:cxnLst>
                  <a:cxn ang="0">
                    <a:pos x="346" y="216"/>
                  </a:cxn>
                  <a:cxn ang="0">
                    <a:pos x="342" y="208"/>
                  </a:cxn>
                  <a:cxn ang="0">
                    <a:pos x="342" y="158"/>
                  </a:cxn>
                  <a:cxn ang="0">
                    <a:pos x="352" y="146"/>
                  </a:cxn>
                  <a:cxn ang="0">
                    <a:pos x="378" y="108"/>
                  </a:cxn>
                  <a:cxn ang="0">
                    <a:pos x="384" y="84"/>
                  </a:cxn>
                  <a:cxn ang="0">
                    <a:pos x="370" y="38"/>
                  </a:cxn>
                  <a:cxn ang="0">
                    <a:pos x="334" y="6"/>
                  </a:cxn>
                  <a:cxn ang="0">
                    <a:pos x="300" y="0"/>
                  </a:cxn>
                  <a:cxn ang="0">
                    <a:pos x="252" y="14"/>
                  </a:cxn>
                  <a:cxn ang="0">
                    <a:pos x="222" y="52"/>
                  </a:cxn>
                  <a:cxn ang="0">
                    <a:pos x="216" y="84"/>
                  </a:cxn>
                  <a:cxn ang="0">
                    <a:pos x="228" y="120"/>
                  </a:cxn>
                  <a:cxn ang="0">
                    <a:pos x="254" y="152"/>
                  </a:cxn>
                  <a:cxn ang="0">
                    <a:pos x="260" y="166"/>
                  </a:cxn>
                  <a:cxn ang="0">
                    <a:pos x="258" y="214"/>
                  </a:cxn>
                  <a:cxn ang="0">
                    <a:pos x="256" y="216"/>
                  </a:cxn>
                  <a:cxn ang="0">
                    <a:pos x="8" y="216"/>
                  </a:cxn>
                  <a:cxn ang="0">
                    <a:pos x="2" y="220"/>
                  </a:cxn>
                  <a:cxn ang="0">
                    <a:pos x="0" y="464"/>
                  </a:cxn>
                  <a:cxn ang="0">
                    <a:pos x="6" y="472"/>
                  </a:cxn>
                  <a:cxn ang="0">
                    <a:pos x="58" y="472"/>
                  </a:cxn>
                  <a:cxn ang="0">
                    <a:pos x="72" y="468"/>
                  </a:cxn>
                  <a:cxn ang="0">
                    <a:pos x="106" y="442"/>
                  </a:cxn>
                  <a:cxn ang="0">
                    <a:pos x="142" y="430"/>
                  </a:cxn>
                  <a:cxn ang="0">
                    <a:pos x="178" y="436"/>
                  </a:cxn>
                  <a:cxn ang="0">
                    <a:pos x="216" y="466"/>
                  </a:cxn>
                  <a:cxn ang="0">
                    <a:pos x="232" y="514"/>
                  </a:cxn>
                  <a:cxn ang="0">
                    <a:pos x="224" y="546"/>
                  </a:cxn>
                  <a:cxn ang="0">
                    <a:pos x="192" y="584"/>
                  </a:cxn>
                  <a:cxn ang="0">
                    <a:pos x="142" y="598"/>
                  </a:cxn>
                  <a:cxn ang="0">
                    <a:pos x="118" y="592"/>
                  </a:cxn>
                  <a:cxn ang="0">
                    <a:pos x="78" y="566"/>
                  </a:cxn>
                  <a:cxn ang="0">
                    <a:pos x="64" y="556"/>
                  </a:cxn>
                  <a:cxn ang="0">
                    <a:pos x="8" y="554"/>
                  </a:cxn>
                  <a:cxn ang="0">
                    <a:pos x="2" y="560"/>
                  </a:cxn>
                  <a:cxn ang="0">
                    <a:pos x="0" y="802"/>
                  </a:cxn>
                  <a:cxn ang="0">
                    <a:pos x="6" y="810"/>
                  </a:cxn>
                  <a:cxn ang="0">
                    <a:pos x="588" y="810"/>
                  </a:cxn>
                  <a:cxn ang="0">
                    <a:pos x="594" y="806"/>
                  </a:cxn>
                  <a:cxn ang="0">
                    <a:pos x="596" y="224"/>
                  </a:cxn>
                  <a:cxn ang="0">
                    <a:pos x="590" y="216"/>
                  </a:cxn>
                </a:cxnLst>
                <a:rect l="0" t="0" r="r" b="b"/>
                <a:pathLst>
                  <a:path w="596" h="810">
                    <a:moveTo>
                      <a:pt x="350" y="216"/>
                    </a:moveTo>
                    <a:lnTo>
                      <a:pt x="350" y="216"/>
                    </a:lnTo>
                    <a:lnTo>
                      <a:pt x="346" y="216"/>
                    </a:lnTo>
                    <a:lnTo>
                      <a:pt x="344" y="214"/>
                    </a:lnTo>
                    <a:lnTo>
                      <a:pt x="342" y="210"/>
                    </a:lnTo>
                    <a:lnTo>
                      <a:pt x="342" y="208"/>
                    </a:lnTo>
                    <a:lnTo>
                      <a:pt x="342" y="166"/>
                    </a:lnTo>
                    <a:lnTo>
                      <a:pt x="342" y="166"/>
                    </a:lnTo>
                    <a:lnTo>
                      <a:pt x="342" y="158"/>
                    </a:lnTo>
                    <a:lnTo>
                      <a:pt x="348" y="152"/>
                    </a:lnTo>
                    <a:lnTo>
                      <a:pt x="348" y="152"/>
                    </a:lnTo>
                    <a:lnTo>
                      <a:pt x="352" y="146"/>
                    </a:lnTo>
                    <a:lnTo>
                      <a:pt x="366" y="130"/>
                    </a:lnTo>
                    <a:lnTo>
                      <a:pt x="372" y="120"/>
                    </a:lnTo>
                    <a:lnTo>
                      <a:pt x="378" y="108"/>
                    </a:lnTo>
                    <a:lnTo>
                      <a:pt x="384" y="96"/>
                    </a:lnTo>
                    <a:lnTo>
                      <a:pt x="384" y="84"/>
                    </a:lnTo>
                    <a:lnTo>
                      <a:pt x="384" y="84"/>
                    </a:lnTo>
                    <a:lnTo>
                      <a:pt x="384" y="68"/>
                    </a:lnTo>
                    <a:lnTo>
                      <a:pt x="378" y="52"/>
                    </a:lnTo>
                    <a:lnTo>
                      <a:pt x="370" y="38"/>
                    </a:lnTo>
                    <a:lnTo>
                      <a:pt x="360" y="24"/>
                    </a:lnTo>
                    <a:lnTo>
                      <a:pt x="348" y="14"/>
                    </a:lnTo>
                    <a:lnTo>
                      <a:pt x="334" y="6"/>
                    </a:lnTo>
                    <a:lnTo>
                      <a:pt x="318" y="2"/>
                    </a:lnTo>
                    <a:lnTo>
                      <a:pt x="300" y="0"/>
                    </a:lnTo>
                    <a:lnTo>
                      <a:pt x="300" y="0"/>
                    </a:lnTo>
                    <a:lnTo>
                      <a:pt x="284" y="2"/>
                    </a:lnTo>
                    <a:lnTo>
                      <a:pt x="268" y="6"/>
                    </a:lnTo>
                    <a:lnTo>
                      <a:pt x="252" y="14"/>
                    </a:lnTo>
                    <a:lnTo>
                      <a:pt x="240" y="24"/>
                    </a:lnTo>
                    <a:lnTo>
                      <a:pt x="230" y="38"/>
                    </a:lnTo>
                    <a:lnTo>
                      <a:pt x="222" y="52"/>
                    </a:lnTo>
                    <a:lnTo>
                      <a:pt x="218" y="68"/>
                    </a:lnTo>
                    <a:lnTo>
                      <a:pt x="216" y="84"/>
                    </a:lnTo>
                    <a:lnTo>
                      <a:pt x="216" y="84"/>
                    </a:lnTo>
                    <a:lnTo>
                      <a:pt x="218" y="96"/>
                    </a:lnTo>
                    <a:lnTo>
                      <a:pt x="222" y="108"/>
                    </a:lnTo>
                    <a:lnTo>
                      <a:pt x="228" y="120"/>
                    </a:lnTo>
                    <a:lnTo>
                      <a:pt x="234" y="130"/>
                    </a:lnTo>
                    <a:lnTo>
                      <a:pt x="248" y="146"/>
                    </a:lnTo>
                    <a:lnTo>
                      <a:pt x="254" y="152"/>
                    </a:lnTo>
                    <a:lnTo>
                      <a:pt x="254" y="152"/>
                    </a:lnTo>
                    <a:lnTo>
                      <a:pt x="258" y="158"/>
                    </a:lnTo>
                    <a:lnTo>
                      <a:pt x="260" y="166"/>
                    </a:lnTo>
                    <a:lnTo>
                      <a:pt x="260" y="206"/>
                    </a:lnTo>
                    <a:lnTo>
                      <a:pt x="260" y="206"/>
                    </a:lnTo>
                    <a:lnTo>
                      <a:pt x="258" y="214"/>
                    </a:lnTo>
                    <a:lnTo>
                      <a:pt x="258" y="214"/>
                    </a:lnTo>
                    <a:lnTo>
                      <a:pt x="256" y="216"/>
                    </a:lnTo>
                    <a:lnTo>
                      <a:pt x="256" y="216"/>
                    </a:lnTo>
                    <a:lnTo>
                      <a:pt x="248" y="216"/>
                    </a:lnTo>
                    <a:lnTo>
                      <a:pt x="8" y="216"/>
                    </a:lnTo>
                    <a:lnTo>
                      <a:pt x="8" y="216"/>
                    </a:lnTo>
                    <a:lnTo>
                      <a:pt x="6" y="216"/>
                    </a:lnTo>
                    <a:lnTo>
                      <a:pt x="4" y="218"/>
                    </a:lnTo>
                    <a:lnTo>
                      <a:pt x="2" y="220"/>
                    </a:lnTo>
                    <a:lnTo>
                      <a:pt x="0" y="224"/>
                    </a:lnTo>
                    <a:lnTo>
                      <a:pt x="0" y="464"/>
                    </a:lnTo>
                    <a:lnTo>
                      <a:pt x="0" y="464"/>
                    </a:lnTo>
                    <a:lnTo>
                      <a:pt x="2" y="468"/>
                    </a:lnTo>
                    <a:lnTo>
                      <a:pt x="4" y="470"/>
                    </a:lnTo>
                    <a:lnTo>
                      <a:pt x="6" y="472"/>
                    </a:lnTo>
                    <a:lnTo>
                      <a:pt x="8" y="472"/>
                    </a:lnTo>
                    <a:lnTo>
                      <a:pt x="58" y="472"/>
                    </a:lnTo>
                    <a:lnTo>
                      <a:pt x="58" y="472"/>
                    </a:lnTo>
                    <a:lnTo>
                      <a:pt x="64" y="472"/>
                    </a:lnTo>
                    <a:lnTo>
                      <a:pt x="72" y="468"/>
                    </a:lnTo>
                    <a:lnTo>
                      <a:pt x="72" y="468"/>
                    </a:lnTo>
                    <a:lnTo>
                      <a:pt x="78" y="462"/>
                    </a:lnTo>
                    <a:lnTo>
                      <a:pt x="94" y="448"/>
                    </a:lnTo>
                    <a:lnTo>
                      <a:pt x="106" y="442"/>
                    </a:lnTo>
                    <a:lnTo>
                      <a:pt x="118" y="436"/>
                    </a:lnTo>
                    <a:lnTo>
                      <a:pt x="130" y="430"/>
                    </a:lnTo>
                    <a:lnTo>
                      <a:pt x="142" y="430"/>
                    </a:lnTo>
                    <a:lnTo>
                      <a:pt x="142" y="430"/>
                    </a:lnTo>
                    <a:lnTo>
                      <a:pt x="160" y="430"/>
                    </a:lnTo>
                    <a:lnTo>
                      <a:pt x="178" y="436"/>
                    </a:lnTo>
                    <a:lnTo>
                      <a:pt x="192" y="444"/>
                    </a:lnTo>
                    <a:lnTo>
                      <a:pt x="206" y="454"/>
                    </a:lnTo>
                    <a:lnTo>
                      <a:pt x="216" y="466"/>
                    </a:lnTo>
                    <a:lnTo>
                      <a:pt x="224" y="480"/>
                    </a:lnTo>
                    <a:lnTo>
                      <a:pt x="230" y="496"/>
                    </a:lnTo>
                    <a:lnTo>
                      <a:pt x="232" y="514"/>
                    </a:lnTo>
                    <a:lnTo>
                      <a:pt x="232" y="514"/>
                    </a:lnTo>
                    <a:lnTo>
                      <a:pt x="230" y="530"/>
                    </a:lnTo>
                    <a:lnTo>
                      <a:pt x="224" y="546"/>
                    </a:lnTo>
                    <a:lnTo>
                      <a:pt x="216" y="562"/>
                    </a:lnTo>
                    <a:lnTo>
                      <a:pt x="206" y="574"/>
                    </a:lnTo>
                    <a:lnTo>
                      <a:pt x="192" y="584"/>
                    </a:lnTo>
                    <a:lnTo>
                      <a:pt x="178" y="592"/>
                    </a:lnTo>
                    <a:lnTo>
                      <a:pt x="160" y="596"/>
                    </a:lnTo>
                    <a:lnTo>
                      <a:pt x="142" y="598"/>
                    </a:lnTo>
                    <a:lnTo>
                      <a:pt x="142" y="598"/>
                    </a:lnTo>
                    <a:lnTo>
                      <a:pt x="130" y="596"/>
                    </a:lnTo>
                    <a:lnTo>
                      <a:pt x="118" y="592"/>
                    </a:lnTo>
                    <a:lnTo>
                      <a:pt x="106" y="586"/>
                    </a:lnTo>
                    <a:lnTo>
                      <a:pt x="94" y="580"/>
                    </a:lnTo>
                    <a:lnTo>
                      <a:pt x="78" y="566"/>
                    </a:lnTo>
                    <a:lnTo>
                      <a:pt x="72" y="560"/>
                    </a:lnTo>
                    <a:lnTo>
                      <a:pt x="72" y="560"/>
                    </a:lnTo>
                    <a:lnTo>
                      <a:pt x="64" y="556"/>
                    </a:lnTo>
                    <a:lnTo>
                      <a:pt x="58" y="554"/>
                    </a:lnTo>
                    <a:lnTo>
                      <a:pt x="8" y="554"/>
                    </a:lnTo>
                    <a:lnTo>
                      <a:pt x="8" y="554"/>
                    </a:lnTo>
                    <a:lnTo>
                      <a:pt x="6" y="556"/>
                    </a:lnTo>
                    <a:lnTo>
                      <a:pt x="4" y="558"/>
                    </a:lnTo>
                    <a:lnTo>
                      <a:pt x="2" y="560"/>
                    </a:lnTo>
                    <a:lnTo>
                      <a:pt x="0" y="562"/>
                    </a:lnTo>
                    <a:lnTo>
                      <a:pt x="0" y="802"/>
                    </a:lnTo>
                    <a:lnTo>
                      <a:pt x="0" y="802"/>
                    </a:lnTo>
                    <a:lnTo>
                      <a:pt x="2" y="806"/>
                    </a:lnTo>
                    <a:lnTo>
                      <a:pt x="4" y="808"/>
                    </a:lnTo>
                    <a:lnTo>
                      <a:pt x="6" y="810"/>
                    </a:lnTo>
                    <a:lnTo>
                      <a:pt x="8" y="810"/>
                    </a:lnTo>
                    <a:lnTo>
                      <a:pt x="588" y="810"/>
                    </a:lnTo>
                    <a:lnTo>
                      <a:pt x="588" y="810"/>
                    </a:lnTo>
                    <a:lnTo>
                      <a:pt x="590" y="810"/>
                    </a:lnTo>
                    <a:lnTo>
                      <a:pt x="592" y="808"/>
                    </a:lnTo>
                    <a:lnTo>
                      <a:pt x="594" y="806"/>
                    </a:lnTo>
                    <a:lnTo>
                      <a:pt x="596" y="802"/>
                    </a:lnTo>
                    <a:lnTo>
                      <a:pt x="596" y="224"/>
                    </a:lnTo>
                    <a:lnTo>
                      <a:pt x="596" y="224"/>
                    </a:lnTo>
                    <a:lnTo>
                      <a:pt x="594" y="220"/>
                    </a:lnTo>
                    <a:lnTo>
                      <a:pt x="592" y="218"/>
                    </a:lnTo>
                    <a:lnTo>
                      <a:pt x="590" y="216"/>
                    </a:lnTo>
                    <a:lnTo>
                      <a:pt x="588" y="216"/>
                    </a:lnTo>
                    <a:lnTo>
                      <a:pt x="350" y="216"/>
                    </a:lnTo>
                    <a:close/>
                  </a:path>
                </a:pathLst>
              </a:custGeom>
              <a:solidFill>
                <a:schemeClr val="accent3"/>
              </a:solidFill>
              <a:ln w="3175"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dirty="0">
                  <a:ln>
                    <a:noFill/>
                  </a:ln>
                  <a:solidFill>
                    <a:sysClr val="windowText" lastClr="000000">
                      <a:lumMod val="95000"/>
                      <a:lumOff val="5000"/>
                    </a:sysClr>
                  </a:solidFill>
                  <a:effectLst/>
                  <a:uLnTx/>
                  <a:uFillTx/>
                  <a:latin typeface="Graphik"/>
                  <a:ea typeface="+mn-ea"/>
                  <a:cs typeface="Arial" charset="0"/>
                </a:endParaRPr>
              </a:p>
            </p:txBody>
          </p:sp>
          <p:sp>
            <p:nvSpPr>
              <p:cNvPr id="12" name="Freeform 24">
                <a:extLst>
                  <a:ext uri="{FF2B5EF4-FFF2-40B4-BE49-F238E27FC236}">
                    <a16:creationId xmlns:a16="http://schemas.microsoft.com/office/drawing/2014/main" id="{DD67D0CC-5711-4825-BF16-614D2C83C64D}"/>
                  </a:ext>
                </a:extLst>
              </p:cNvPr>
              <p:cNvSpPr>
                <a:spLocks/>
              </p:cNvSpPr>
              <p:nvPr/>
            </p:nvSpPr>
            <p:spPr bwMode="auto">
              <a:xfrm>
                <a:off x="2671762" y="3212976"/>
                <a:ext cx="1826517" cy="2477805"/>
              </a:xfrm>
              <a:custGeom>
                <a:avLst/>
                <a:gdLst/>
                <a:ahLst/>
                <a:cxnLst>
                  <a:cxn ang="0">
                    <a:pos x="452" y="426"/>
                  </a:cxn>
                  <a:cxn ang="0">
                    <a:pos x="478" y="432"/>
                  </a:cxn>
                  <a:cxn ang="0">
                    <a:pos x="500" y="444"/>
                  </a:cxn>
                  <a:cxn ang="0">
                    <a:pos x="524" y="464"/>
                  </a:cxn>
                  <a:cxn ang="0">
                    <a:pos x="530" y="468"/>
                  </a:cxn>
                  <a:cxn ang="0">
                    <a:pos x="586" y="468"/>
                  </a:cxn>
                  <a:cxn ang="0">
                    <a:pos x="590" y="468"/>
                  </a:cxn>
                  <a:cxn ang="0">
                    <a:pos x="594" y="464"/>
                  </a:cxn>
                  <a:cxn ang="0">
                    <a:pos x="594" y="220"/>
                  </a:cxn>
                  <a:cxn ang="0">
                    <a:pos x="594" y="216"/>
                  </a:cxn>
                  <a:cxn ang="0">
                    <a:pos x="590" y="212"/>
                  </a:cxn>
                  <a:cxn ang="0">
                    <a:pos x="346" y="212"/>
                  </a:cxn>
                  <a:cxn ang="0">
                    <a:pos x="338" y="212"/>
                  </a:cxn>
                  <a:cxn ang="0">
                    <a:pos x="338" y="202"/>
                  </a:cxn>
                  <a:cxn ang="0">
                    <a:pos x="338" y="166"/>
                  </a:cxn>
                  <a:cxn ang="0">
                    <a:pos x="344" y="152"/>
                  </a:cxn>
                  <a:cxn ang="0">
                    <a:pos x="350" y="146"/>
                  </a:cxn>
                  <a:cxn ang="0">
                    <a:pos x="370" y="120"/>
                  </a:cxn>
                  <a:cxn ang="0">
                    <a:pos x="380" y="96"/>
                  </a:cxn>
                  <a:cxn ang="0">
                    <a:pos x="382" y="84"/>
                  </a:cxn>
                  <a:cxn ang="0">
                    <a:pos x="376" y="50"/>
                  </a:cxn>
                  <a:cxn ang="0">
                    <a:pos x="358" y="24"/>
                  </a:cxn>
                  <a:cxn ang="0">
                    <a:pos x="330" y="6"/>
                  </a:cxn>
                  <a:cxn ang="0">
                    <a:pos x="298" y="0"/>
                  </a:cxn>
                  <a:cxn ang="0">
                    <a:pos x="280" y="0"/>
                  </a:cxn>
                  <a:cxn ang="0">
                    <a:pos x="250" y="14"/>
                  </a:cxn>
                  <a:cxn ang="0">
                    <a:pos x="228" y="36"/>
                  </a:cxn>
                  <a:cxn ang="0">
                    <a:pos x="214" y="66"/>
                  </a:cxn>
                  <a:cxn ang="0">
                    <a:pos x="212" y="84"/>
                  </a:cxn>
                  <a:cxn ang="0">
                    <a:pos x="218" y="108"/>
                  </a:cxn>
                  <a:cxn ang="0">
                    <a:pos x="232" y="130"/>
                  </a:cxn>
                  <a:cxn ang="0">
                    <a:pos x="250" y="152"/>
                  </a:cxn>
                  <a:cxn ang="0">
                    <a:pos x="254" y="158"/>
                  </a:cxn>
                  <a:cxn ang="0">
                    <a:pos x="256" y="202"/>
                  </a:cxn>
                  <a:cxn ang="0">
                    <a:pos x="256" y="212"/>
                  </a:cxn>
                  <a:cxn ang="0">
                    <a:pos x="248" y="212"/>
                  </a:cxn>
                  <a:cxn ang="0">
                    <a:pos x="8" y="212"/>
                  </a:cxn>
                  <a:cxn ang="0">
                    <a:pos x="2" y="214"/>
                  </a:cxn>
                  <a:cxn ang="0">
                    <a:pos x="0" y="220"/>
                  </a:cxn>
                  <a:cxn ang="0">
                    <a:pos x="0" y="798"/>
                  </a:cxn>
                  <a:cxn ang="0">
                    <a:pos x="2" y="804"/>
                  </a:cxn>
                  <a:cxn ang="0">
                    <a:pos x="8" y="806"/>
                  </a:cxn>
                  <a:cxn ang="0">
                    <a:pos x="586" y="806"/>
                  </a:cxn>
                  <a:cxn ang="0">
                    <a:pos x="592" y="804"/>
                  </a:cxn>
                  <a:cxn ang="0">
                    <a:pos x="594" y="798"/>
                  </a:cxn>
                  <a:cxn ang="0">
                    <a:pos x="594" y="558"/>
                  </a:cxn>
                  <a:cxn ang="0">
                    <a:pos x="592" y="554"/>
                  </a:cxn>
                  <a:cxn ang="0">
                    <a:pos x="586" y="550"/>
                  </a:cxn>
                  <a:cxn ang="0">
                    <a:pos x="538" y="550"/>
                  </a:cxn>
                  <a:cxn ang="0">
                    <a:pos x="524" y="556"/>
                  </a:cxn>
                  <a:cxn ang="0">
                    <a:pos x="518" y="562"/>
                  </a:cxn>
                  <a:cxn ang="0">
                    <a:pos x="490" y="582"/>
                  </a:cxn>
                  <a:cxn ang="0">
                    <a:pos x="466" y="592"/>
                  </a:cxn>
                  <a:cxn ang="0">
                    <a:pos x="452" y="594"/>
                  </a:cxn>
                  <a:cxn ang="0">
                    <a:pos x="418" y="588"/>
                  </a:cxn>
                  <a:cxn ang="0">
                    <a:pos x="390" y="570"/>
                  </a:cxn>
                  <a:cxn ang="0">
                    <a:pos x="370" y="542"/>
                  </a:cxn>
                  <a:cxn ang="0">
                    <a:pos x="364" y="510"/>
                  </a:cxn>
                  <a:cxn ang="0">
                    <a:pos x="366" y="492"/>
                  </a:cxn>
                  <a:cxn ang="0">
                    <a:pos x="380" y="462"/>
                  </a:cxn>
                  <a:cxn ang="0">
                    <a:pos x="404" y="440"/>
                  </a:cxn>
                  <a:cxn ang="0">
                    <a:pos x="434" y="426"/>
                  </a:cxn>
                  <a:cxn ang="0">
                    <a:pos x="452" y="426"/>
                  </a:cxn>
                </a:cxnLst>
                <a:rect l="0" t="0" r="r" b="b"/>
                <a:pathLst>
                  <a:path w="594" h="806">
                    <a:moveTo>
                      <a:pt x="452" y="426"/>
                    </a:moveTo>
                    <a:lnTo>
                      <a:pt x="452" y="426"/>
                    </a:lnTo>
                    <a:lnTo>
                      <a:pt x="466" y="426"/>
                    </a:lnTo>
                    <a:lnTo>
                      <a:pt x="478" y="432"/>
                    </a:lnTo>
                    <a:lnTo>
                      <a:pt x="490" y="438"/>
                    </a:lnTo>
                    <a:lnTo>
                      <a:pt x="500" y="444"/>
                    </a:lnTo>
                    <a:lnTo>
                      <a:pt x="518" y="458"/>
                    </a:lnTo>
                    <a:lnTo>
                      <a:pt x="524" y="464"/>
                    </a:lnTo>
                    <a:lnTo>
                      <a:pt x="524" y="464"/>
                    </a:lnTo>
                    <a:lnTo>
                      <a:pt x="530" y="468"/>
                    </a:lnTo>
                    <a:lnTo>
                      <a:pt x="538" y="468"/>
                    </a:lnTo>
                    <a:lnTo>
                      <a:pt x="586" y="468"/>
                    </a:lnTo>
                    <a:lnTo>
                      <a:pt x="586" y="468"/>
                    </a:lnTo>
                    <a:lnTo>
                      <a:pt x="590" y="468"/>
                    </a:lnTo>
                    <a:lnTo>
                      <a:pt x="592" y="466"/>
                    </a:lnTo>
                    <a:lnTo>
                      <a:pt x="594" y="464"/>
                    </a:lnTo>
                    <a:lnTo>
                      <a:pt x="594" y="460"/>
                    </a:lnTo>
                    <a:lnTo>
                      <a:pt x="594" y="220"/>
                    </a:lnTo>
                    <a:lnTo>
                      <a:pt x="594" y="220"/>
                    </a:lnTo>
                    <a:lnTo>
                      <a:pt x="594" y="216"/>
                    </a:lnTo>
                    <a:lnTo>
                      <a:pt x="592" y="214"/>
                    </a:lnTo>
                    <a:lnTo>
                      <a:pt x="590" y="212"/>
                    </a:lnTo>
                    <a:lnTo>
                      <a:pt x="586" y="212"/>
                    </a:lnTo>
                    <a:lnTo>
                      <a:pt x="346" y="212"/>
                    </a:lnTo>
                    <a:lnTo>
                      <a:pt x="346" y="212"/>
                    </a:lnTo>
                    <a:lnTo>
                      <a:pt x="338" y="212"/>
                    </a:lnTo>
                    <a:lnTo>
                      <a:pt x="338" y="212"/>
                    </a:lnTo>
                    <a:lnTo>
                      <a:pt x="338" y="202"/>
                    </a:lnTo>
                    <a:lnTo>
                      <a:pt x="338" y="166"/>
                    </a:lnTo>
                    <a:lnTo>
                      <a:pt x="338" y="166"/>
                    </a:lnTo>
                    <a:lnTo>
                      <a:pt x="340" y="158"/>
                    </a:lnTo>
                    <a:lnTo>
                      <a:pt x="344" y="152"/>
                    </a:lnTo>
                    <a:lnTo>
                      <a:pt x="344" y="152"/>
                    </a:lnTo>
                    <a:lnTo>
                      <a:pt x="350" y="146"/>
                    </a:lnTo>
                    <a:lnTo>
                      <a:pt x="364" y="130"/>
                    </a:lnTo>
                    <a:lnTo>
                      <a:pt x="370" y="120"/>
                    </a:lnTo>
                    <a:lnTo>
                      <a:pt x="376" y="108"/>
                    </a:lnTo>
                    <a:lnTo>
                      <a:pt x="380" y="96"/>
                    </a:lnTo>
                    <a:lnTo>
                      <a:pt x="382" y="84"/>
                    </a:lnTo>
                    <a:lnTo>
                      <a:pt x="382" y="84"/>
                    </a:lnTo>
                    <a:lnTo>
                      <a:pt x="380" y="66"/>
                    </a:lnTo>
                    <a:lnTo>
                      <a:pt x="376" y="50"/>
                    </a:lnTo>
                    <a:lnTo>
                      <a:pt x="368" y="36"/>
                    </a:lnTo>
                    <a:lnTo>
                      <a:pt x="358" y="24"/>
                    </a:lnTo>
                    <a:lnTo>
                      <a:pt x="344" y="14"/>
                    </a:lnTo>
                    <a:lnTo>
                      <a:pt x="330" y="6"/>
                    </a:lnTo>
                    <a:lnTo>
                      <a:pt x="314" y="0"/>
                    </a:lnTo>
                    <a:lnTo>
                      <a:pt x="298" y="0"/>
                    </a:lnTo>
                    <a:lnTo>
                      <a:pt x="298" y="0"/>
                    </a:lnTo>
                    <a:lnTo>
                      <a:pt x="280" y="0"/>
                    </a:lnTo>
                    <a:lnTo>
                      <a:pt x="264" y="6"/>
                    </a:lnTo>
                    <a:lnTo>
                      <a:pt x="250" y="14"/>
                    </a:lnTo>
                    <a:lnTo>
                      <a:pt x="238" y="24"/>
                    </a:lnTo>
                    <a:lnTo>
                      <a:pt x="228" y="36"/>
                    </a:lnTo>
                    <a:lnTo>
                      <a:pt x="220" y="50"/>
                    </a:lnTo>
                    <a:lnTo>
                      <a:pt x="214" y="66"/>
                    </a:lnTo>
                    <a:lnTo>
                      <a:pt x="212" y="84"/>
                    </a:lnTo>
                    <a:lnTo>
                      <a:pt x="212" y="84"/>
                    </a:lnTo>
                    <a:lnTo>
                      <a:pt x="214" y="96"/>
                    </a:lnTo>
                    <a:lnTo>
                      <a:pt x="218" y="108"/>
                    </a:lnTo>
                    <a:lnTo>
                      <a:pt x="224" y="120"/>
                    </a:lnTo>
                    <a:lnTo>
                      <a:pt x="232" y="130"/>
                    </a:lnTo>
                    <a:lnTo>
                      <a:pt x="244" y="146"/>
                    </a:lnTo>
                    <a:lnTo>
                      <a:pt x="250" y="152"/>
                    </a:lnTo>
                    <a:lnTo>
                      <a:pt x="250" y="152"/>
                    </a:lnTo>
                    <a:lnTo>
                      <a:pt x="254" y="158"/>
                    </a:lnTo>
                    <a:lnTo>
                      <a:pt x="256" y="166"/>
                    </a:lnTo>
                    <a:lnTo>
                      <a:pt x="256" y="202"/>
                    </a:lnTo>
                    <a:lnTo>
                      <a:pt x="256" y="202"/>
                    </a:lnTo>
                    <a:lnTo>
                      <a:pt x="256" y="212"/>
                    </a:lnTo>
                    <a:lnTo>
                      <a:pt x="256" y="212"/>
                    </a:lnTo>
                    <a:lnTo>
                      <a:pt x="248" y="212"/>
                    </a:lnTo>
                    <a:lnTo>
                      <a:pt x="8" y="212"/>
                    </a:lnTo>
                    <a:lnTo>
                      <a:pt x="8" y="212"/>
                    </a:lnTo>
                    <a:lnTo>
                      <a:pt x="6" y="212"/>
                    </a:lnTo>
                    <a:lnTo>
                      <a:pt x="2" y="214"/>
                    </a:lnTo>
                    <a:lnTo>
                      <a:pt x="0" y="216"/>
                    </a:lnTo>
                    <a:lnTo>
                      <a:pt x="0" y="220"/>
                    </a:lnTo>
                    <a:lnTo>
                      <a:pt x="0" y="798"/>
                    </a:lnTo>
                    <a:lnTo>
                      <a:pt x="0" y="798"/>
                    </a:lnTo>
                    <a:lnTo>
                      <a:pt x="0" y="802"/>
                    </a:lnTo>
                    <a:lnTo>
                      <a:pt x="2" y="804"/>
                    </a:lnTo>
                    <a:lnTo>
                      <a:pt x="6" y="806"/>
                    </a:lnTo>
                    <a:lnTo>
                      <a:pt x="8" y="806"/>
                    </a:lnTo>
                    <a:lnTo>
                      <a:pt x="586" y="806"/>
                    </a:lnTo>
                    <a:lnTo>
                      <a:pt x="586" y="806"/>
                    </a:lnTo>
                    <a:lnTo>
                      <a:pt x="590" y="806"/>
                    </a:lnTo>
                    <a:lnTo>
                      <a:pt x="592" y="804"/>
                    </a:lnTo>
                    <a:lnTo>
                      <a:pt x="594" y="802"/>
                    </a:lnTo>
                    <a:lnTo>
                      <a:pt x="594" y="798"/>
                    </a:lnTo>
                    <a:lnTo>
                      <a:pt x="594" y="558"/>
                    </a:lnTo>
                    <a:lnTo>
                      <a:pt x="594" y="558"/>
                    </a:lnTo>
                    <a:lnTo>
                      <a:pt x="594" y="556"/>
                    </a:lnTo>
                    <a:lnTo>
                      <a:pt x="592" y="554"/>
                    </a:lnTo>
                    <a:lnTo>
                      <a:pt x="590" y="552"/>
                    </a:lnTo>
                    <a:lnTo>
                      <a:pt x="586" y="550"/>
                    </a:lnTo>
                    <a:lnTo>
                      <a:pt x="538" y="550"/>
                    </a:lnTo>
                    <a:lnTo>
                      <a:pt x="538" y="550"/>
                    </a:lnTo>
                    <a:lnTo>
                      <a:pt x="530" y="552"/>
                    </a:lnTo>
                    <a:lnTo>
                      <a:pt x="524" y="556"/>
                    </a:lnTo>
                    <a:lnTo>
                      <a:pt x="524" y="556"/>
                    </a:lnTo>
                    <a:lnTo>
                      <a:pt x="518" y="562"/>
                    </a:lnTo>
                    <a:lnTo>
                      <a:pt x="500" y="576"/>
                    </a:lnTo>
                    <a:lnTo>
                      <a:pt x="490" y="582"/>
                    </a:lnTo>
                    <a:lnTo>
                      <a:pt x="478" y="588"/>
                    </a:lnTo>
                    <a:lnTo>
                      <a:pt x="466" y="592"/>
                    </a:lnTo>
                    <a:lnTo>
                      <a:pt x="452" y="594"/>
                    </a:lnTo>
                    <a:lnTo>
                      <a:pt x="452" y="594"/>
                    </a:lnTo>
                    <a:lnTo>
                      <a:pt x="434" y="592"/>
                    </a:lnTo>
                    <a:lnTo>
                      <a:pt x="418" y="588"/>
                    </a:lnTo>
                    <a:lnTo>
                      <a:pt x="404" y="580"/>
                    </a:lnTo>
                    <a:lnTo>
                      <a:pt x="390" y="570"/>
                    </a:lnTo>
                    <a:lnTo>
                      <a:pt x="380" y="558"/>
                    </a:lnTo>
                    <a:lnTo>
                      <a:pt x="370" y="542"/>
                    </a:lnTo>
                    <a:lnTo>
                      <a:pt x="366" y="526"/>
                    </a:lnTo>
                    <a:lnTo>
                      <a:pt x="364" y="510"/>
                    </a:lnTo>
                    <a:lnTo>
                      <a:pt x="364" y="510"/>
                    </a:lnTo>
                    <a:lnTo>
                      <a:pt x="366" y="492"/>
                    </a:lnTo>
                    <a:lnTo>
                      <a:pt x="370" y="476"/>
                    </a:lnTo>
                    <a:lnTo>
                      <a:pt x="380" y="462"/>
                    </a:lnTo>
                    <a:lnTo>
                      <a:pt x="390" y="450"/>
                    </a:lnTo>
                    <a:lnTo>
                      <a:pt x="404" y="440"/>
                    </a:lnTo>
                    <a:lnTo>
                      <a:pt x="418" y="432"/>
                    </a:lnTo>
                    <a:lnTo>
                      <a:pt x="434" y="426"/>
                    </a:lnTo>
                    <a:lnTo>
                      <a:pt x="452" y="426"/>
                    </a:lnTo>
                    <a:lnTo>
                      <a:pt x="452" y="426"/>
                    </a:lnTo>
                    <a:close/>
                  </a:path>
                </a:pathLst>
              </a:custGeom>
              <a:solidFill>
                <a:schemeClr val="accent5"/>
              </a:solidFill>
              <a:ln w="19050"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prstClr val="black">
                      <a:lumMod val="95000"/>
                      <a:lumOff val="5000"/>
                    </a:prstClr>
                  </a:solidFill>
                  <a:effectLst/>
                  <a:uLnTx/>
                  <a:uFillTx/>
                  <a:latin typeface="Graphik"/>
                  <a:ea typeface="+mn-ea"/>
                  <a:cs typeface="Arial" charset="0"/>
                </a:endParaRPr>
              </a:p>
            </p:txBody>
          </p:sp>
          <p:sp>
            <p:nvSpPr>
              <p:cNvPr id="13" name="Freeform 19">
                <a:extLst>
                  <a:ext uri="{FF2B5EF4-FFF2-40B4-BE49-F238E27FC236}">
                    <a16:creationId xmlns:a16="http://schemas.microsoft.com/office/drawing/2014/main" id="{20A21351-F9ED-4A8D-B76B-A56651A95C1E}"/>
                  </a:ext>
                </a:extLst>
              </p:cNvPr>
              <p:cNvSpPr>
                <a:spLocks/>
              </p:cNvSpPr>
              <p:nvPr/>
            </p:nvSpPr>
            <p:spPr bwMode="auto">
              <a:xfrm rot="16200000" flipH="1">
                <a:off x="4895017" y="3529522"/>
                <a:ext cx="1831976" cy="2490541"/>
              </a:xfrm>
              <a:custGeom>
                <a:avLst/>
                <a:gdLst/>
                <a:ahLst/>
                <a:cxnLst>
                  <a:cxn ang="0">
                    <a:pos x="346" y="216"/>
                  </a:cxn>
                  <a:cxn ang="0">
                    <a:pos x="342" y="208"/>
                  </a:cxn>
                  <a:cxn ang="0">
                    <a:pos x="342" y="158"/>
                  </a:cxn>
                  <a:cxn ang="0">
                    <a:pos x="352" y="146"/>
                  </a:cxn>
                  <a:cxn ang="0">
                    <a:pos x="378" y="108"/>
                  </a:cxn>
                  <a:cxn ang="0">
                    <a:pos x="384" y="84"/>
                  </a:cxn>
                  <a:cxn ang="0">
                    <a:pos x="370" y="38"/>
                  </a:cxn>
                  <a:cxn ang="0">
                    <a:pos x="334" y="6"/>
                  </a:cxn>
                  <a:cxn ang="0">
                    <a:pos x="300" y="0"/>
                  </a:cxn>
                  <a:cxn ang="0">
                    <a:pos x="252" y="14"/>
                  </a:cxn>
                  <a:cxn ang="0">
                    <a:pos x="222" y="52"/>
                  </a:cxn>
                  <a:cxn ang="0">
                    <a:pos x="216" y="84"/>
                  </a:cxn>
                  <a:cxn ang="0">
                    <a:pos x="228" y="120"/>
                  </a:cxn>
                  <a:cxn ang="0">
                    <a:pos x="254" y="152"/>
                  </a:cxn>
                  <a:cxn ang="0">
                    <a:pos x="260" y="166"/>
                  </a:cxn>
                  <a:cxn ang="0">
                    <a:pos x="258" y="214"/>
                  </a:cxn>
                  <a:cxn ang="0">
                    <a:pos x="256" y="216"/>
                  </a:cxn>
                  <a:cxn ang="0">
                    <a:pos x="8" y="216"/>
                  </a:cxn>
                  <a:cxn ang="0">
                    <a:pos x="2" y="220"/>
                  </a:cxn>
                  <a:cxn ang="0">
                    <a:pos x="0" y="464"/>
                  </a:cxn>
                  <a:cxn ang="0">
                    <a:pos x="6" y="472"/>
                  </a:cxn>
                  <a:cxn ang="0">
                    <a:pos x="58" y="472"/>
                  </a:cxn>
                  <a:cxn ang="0">
                    <a:pos x="72" y="468"/>
                  </a:cxn>
                  <a:cxn ang="0">
                    <a:pos x="106" y="442"/>
                  </a:cxn>
                  <a:cxn ang="0">
                    <a:pos x="142" y="430"/>
                  </a:cxn>
                  <a:cxn ang="0">
                    <a:pos x="178" y="436"/>
                  </a:cxn>
                  <a:cxn ang="0">
                    <a:pos x="216" y="466"/>
                  </a:cxn>
                  <a:cxn ang="0">
                    <a:pos x="232" y="514"/>
                  </a:cxn>
                  <a:cxn ang="0">
                    <a:pos x="224" y="546"/>
                  </a:cxn>
                  <a:cxn ang="0">
                    <a:pos x="192" y="584"/>
                  </a:cxn>
                  <a:cxn ang="0">
                    <a:pos x="142" y="598"/>
                  </a:cxn>
                  <a:cxn ang="0">
                    <a:pos x="118" y="592"/>
                  </a:cxn>
                  <a:cxn ang="0">
                    <a:pos x="78" y="566"/>
                  </a:cxn>
                  <a:cxn ang="0">
                    <a:pos x="64" y="556"/>
                  </a:cxn>
                  <a:cxn ang="0">
                    <a:pos x="8" y="554"/>
                  </a:cxn>
                  <a:cxn ang="0">
                    <a:pos x="2" y="560"/>
                  </a:cxn>
                  <a:cxn ang="0">
                    <a:pos x="0" y="802"/>
                  </a:cxn>
                  <a:cxn ang="0">
                    <a:pos x="6" y="810"/>
                  </a:cxn>
                  <a:cxn ang="0">
                    <a:pos x="588" y="810"/>
                  </a:cxn>
                  <a:cxn ang="0">
                    <a:pos x="594" y="806"/>
                  </a:cxn>
                  <a:cxn ang="0">
                    <a:pos x="596" y="224"/>
                  </a:cxn>
                  <a:cxn ang="0">
                    <a:pos x="590" y="216"/>
                  </a:cxn>
                </a:cxnLst>
                <a:rect l="0" t="0" r="r" b="b"/>
                <a:pathLst>
                  <a:path w="596" h="810">
                    <a:moveTo>
                      <a:pt x="350" y="216"/>
                    </a:moveTo>
                    <a:lnTo>
                      <a:pt x="350" y="216"/>
                    </a:lnTo>
                    <a:lnTo>
                      <a:pt x="346" y="216"/>
                    </a:lnTo>
                    <a:lnTo>
                      <a:pt x="344" y="214"/>
                    </a:lnTo>
                    <a:lnTo>
                      <a:pt x="342" y="210"/>
                    </a:lnTo>
                    <a:lnTo>
                      <a:pt x="342" y="208"/>
                    </a:lnTo>
                    <a:lnTo>
                      <a:pt x="342" y="166"/>
                    </a:lnTo>
                    <a:lnTo>
                      <a:pt x="342" y="166"/>
                    </a:lnTo>
                    <a:lnTo>
                      <a:pt x="342" y="158"/>
                    </a:lnTo>
                    <a:lnTo>
                      <a:pt x="348" y="152"/>
                    </a:lnTo>
                    <a:lnTo>
                      <a:pt x="348" y="152"/>
                    </a:lnTo>
                    <a:lnTo>
                      <a:pt x="352" y="146"/>
                    </a:lnTo>
                    <a:lnTo>
                      <a:pt x="366" y="130"/>
                    </a:lnTo>
                    <a:lnTo>
                      <a:pt x="372" y="120"/>
                    </a:lnTo>
                    <a:lnTo>
                      <a:pt x="378" y="108"/>
                    </a:lnTo>
                    <a:lnTo>
                      <a:pt x="384" y="96"/>
                    </a:lnTo>
                    <a:lnTo>
                      <a:pt x="384" y="84"/>
                    </a:lnTo>
                    <a:lnTo>
                      <a:pt x="384" y="84"/>
                    </a:lnTo>
                    <a:lnTo>
                      <a:pt x="384" y="68"/>
                    </a:lnTo>
                    <a:lnTo>
                      <a:pt x="378" y="52"/>
                    </a:lnTo>
                    <a:lnTo>
                      <a:pt x="370" y="38"/>
                    </a:lnTo>
                    <a:lnTo>
                      <a:pt x="360" y="24"/>
                    </a:lnTo>
                    <a:lnTo>
                      <a:pt x="348" y="14"/>
                    </a:lnTo>
                    <a:lnTo>
                      <a:pt x="334" y="6"/>
                    </a:lnTo>
                    <a:lnTo>
                      <a:pt x="318" y="2"/>
                    </a:lnTo>
                    <a:lnTo>
                      <a:pt x="300" y="0"/>
                    </a:lnTo>
                    <a:lnTo>
                      <a:pt x="300" y="0"/>
                    </a:lnTo>
                    <a:lnTo>
                      <a:pt x="284" y="2"/>
                    </a:lnTo>
                    <a:lnTo>
                      <a:pt x="268" y="6"/>
                    </a:lnTo>
                    <a:lnTo>
                      <a:pt x="252" y="14"/>
                    </a:lnTo>
                    <a:lnTo>
                      <a:pt x="240" y="24"/>
                    </a:lnTo>
                    <a:lnTo>
                      <a:pt x="230" y="38"/>
                    </a:lnTo>
                    <a:lnTo>
                      <a:pt x="222" y="52"/>
                    </a:lnTo>
                    <a:lnTo>
                      <a:pt x="218" y="68"/>
                    </a:lnTo>
                    <a:lnTo>
                      <a:pt x="216" y="84"/>
                    </a:lnTo>
                    <a:lnTo>
                      <a:pt x="216" y="84"/>
                    </a:lnTo>
                    <a:lnTo>
                      <a:pt x="218" y="96"/>
                    </a:lnTo>
                    <a:lnTo>
                      <a:pt x="222" y="108"/>
                    </a:lnTo>
                    <a:lnTo>
                      <a:pt x="228" y="120"/>
                    </a:lnTo>
                    <a:lnTo>
                      <a:pt x="234" y="130"/>
                    </a:lnTo>
                    <a:lnTo>
                      <a:pt x="248" y="146"/>
                    </a:lnTo>
                    <a:lnTo>
                      <a:pt x="254" y="152"/>
                    </a:lnTo>
                    <a:lnTo>
                      <a:pt x="254" y="152"/>
                    </a:lnTo>
                    <a:lnTo>
                      <a:pt x="258" y="158"/>
                    </a:lnTo>
                    <a:lnTo>
                      <a:pt x="260" y="166"/>
                    </a:lnTo>
                    <a:lnTo>
                      <a:pt x="260" y="206"/>
                    </a:lnTo>
                    <a:lnTo>
                      <a:pt x="260" y="206"/>
                    </a:lnTo>
                    <a:lnTo>
                      <a:pt x="258" y="214"/>
                    </a:lnTo>
                    <a:lnTo>
                      <a:pt x="258" y="214"/>
                    </a:lnTo>
                    <a:lnTo>
                      <a:pt x="256" y="216"/>
                    </a:lnTo>
                    <a:lnTo>
                      <a:pt x="256" y="216"/>
                    </a:lnTo>
                    <a:lnTo>
                      <a:pt x="248" y="216"/>
                    </a:lnTo>
                    <a:lnTo>
                      <a:pt x="8" y="216"/>
                    </a:lnTo>
                    <a:lnTo>
                      <a:pt x="8" y="216"/>
                    </a:lnTo>
                    <a:lnTo>
                      <a:pt x="6" y="216"/>
                    </a:lnTo>
                    <a:lnTo>
                      <a:pt x="4" y="218"/>
                    </a:lnTo>
                    <a:lnTo>
                      <a:pt x="2" y="220"/>
                    </a:lnTo>
                    <a:lnTo>
                      <a:pt x="0" y="224"/>
                    </a:lnTo>
                    <a:lnTo>
                      <a:pt x="0" y="464"/>
                    </a:lnTo>
                    <a:lnTo>
                      <a:pt x="0" y="464"/>
                    </a:lnTo>
                    <a:lnTo>
                      <a:pt x="2" y="468"/>
                    </a:lnTo>
                    <a:lnTo>
                      <a:pt x="4" y="470"/>
                    </a:lnTo>
                    <a:lnTo>
                      <a:pt x="6" y="472"/>
                    </a:lnTo>
                    <a:lnTo>
                      <a:pt x="8" y="472"/>
                    </a:lnTo>
                    <a:lnTo>
                      <a:pt x="58" y="472"/>
                    </a:lnTo>
                    <a:lnTo>
                      <a:pt x="58" y="472"/>
                    </a:lnTo>
                    <a:lnTo>
                      <a:pt x="64" y="472"/>
                    </a:lnTo>
                    <a:lnTo>
                      <a:pt x="72" y="468"/>
                    </a:lnTo>
                    <a:lnTo>
                      <a:pt x="72" y="468"/>
                    </a:lnTo>
                    <a:lnTo>
                      <a:pt x="78" y="462"/>
                    </a:lnTo>
                    <a:lnTo>
                      <a:pt x="94" y="448"/>
                    </a:lnTo>
                    <a:lnTo>
                      <a:pt x="106" y="442"/>
                    </a:lnTo>
                    <a:lnTo>
                      <a:pt x="118" y="436"/>
                    </a:lnTo>
                    <a:lnTo>
                      <a:pt x="130" y="430"/>
                    </a:lnTo>
                    <a:lnTo>
                      <a:pt x="142" y="430"/>
                    </a:lnTo>
                    <a:lnTo>
                      <a:pt x="142" y="430"/>
                    </a:lnTo>
                    <a:lnTo>
                      <a:pt x="160" y="430"/>
                    </a:lnTo>
                    <a:lnTo>
                      <a:pt x="178" y="436"/>
                    </a:lnTo>
                    <a:lnTo>
                      <a:pt x="192" y="444"/>
                    </a:lnTo>
                    <a:lnTo>
                      <a:pt x="206" y="454"/>
                    </a:lnTo>
                    <a:lnTo>
                      <a:pt x="216" y="466"/>
                    </a:lnTo>
                    <a:lnTo>
                      <a:pt x="224" y="480"/>
                    </a:lnTo>
                    <a:lnTo>
                      <a:pt x="230" y="496"/>
                    </a:lnTo>
                    <a:lnTo>
                      <a:pt x="232" y="514"/>
                    </a:lnTo>
                    <a:lnTo>
                      <a:pt x="232" y="514"/>
                    </a:lnTo>
                    <a:lnTo>
                      <a:pt x="230" y="530"/>
                    </a:lnTo>
                    <a:lnTo>
                      <a:pt x="224" y="546"/>
                    </a:lnTo>
                    <a:lnTo>
                      <a:pt x="216" y="562"/>
                    </a:lnTo>
                    <a:lnTo>
                      <a:pt x="206" y="574"/>
                    </a:lnTo>
                    <a:lnTo>
                      <a:pt x="192" y="584"/>
                    </a:lnTo>
                    <a:lnTo>
                      <a:pt x="178" y="592"/>
                    </a:lnTo>
                    <a:lnTo>
                      <a:pt x="160" y="596"/>
                    </a:lnTo>
                    <a:lnTo>
                      <a:pt x="142" y="598"/>
                    </a:lnTo>
                    <a:lnTo>
                      <a:pt x="142" y="598"/>
                    </a:lnTo>
                    <a:lnTo>
                      <a:pt x="130" y="596"/>
                    </a:lnTo>
                    <a:lnTo>
                      <a:pt x="118" y="592"/>
                    </a:lnTo>
                    <a:lnTo>
                      <a:pt x="106" y="586"/>
                    </a:lnTo>
                    <a:lnTo>
                      <a:pt x="94" y="580"/>
                    </a:lnTo>
                    <a:lnTo>
                      <a:pt x="78" y="566"/>
                    </a:lnTo>
                    <a:lnTo>
                      <a:pt x="72" y="560"/>
                    </a:lnTo>
                    <a:lnTo>
                      <a:pt x="72" y="560"/>
                    </a:lnTo>
                    <a:lnTo>
                      <a:pt x="64" y="556"/>
                    </a:lnTo>
                    <a:lnTo>
                      <a:pt x="58" y="554"/>
                    </a:lnTo>
                    <a:lnTo>
                      <a:pt x="8" y="554"/>
                    </a:lnTo>
                    <a:lnTo>
                      <a:pt x="8" y="554"/>
                    </a:lnTo>
                    <a:lnTo>
                      <a:pt x="6" y="556"/>
                    </a:lnTo>
                    <a:lnTo>
                      <a:pt x="4" y="558"/>
                    </a:lnTo>
                    <a:lnTo>
                      <a:pt x="2" y="560"/>
                    </a:lnTo>
                    <a:lnTo>
                      <a:pt x="0" y="562"/>
                    </a:lnTo>
                    <a:lnTo>
                      <a:pt x="0" y="802"/>
                    </a:lnTo>
                    <a:lnTo>
                      <a:pt x="0" y="802"/>
                    </a:lnTo>
                    <a:lnTo>
                      <a:pt x="2" y="806"/>
                    </a:lnTo>
                    <a:lnTo>
                      <a:pt x="4" y="808"/>
                    </a:lnTo>
                    <a:lnTo>
                      <a:pt x="6" y="810"/>
                    </a:lnTo>
                    <a:lnTo>
                      <a:pt x="8" y="810"/>
                    </a:lnTo>
                    <a:lnTo>
                      <a:pt x="588" y="810"/>
                    </a:lnTo>
                    <a:lnTo>
                      <a:pt x="588" y="810"/>
                    </a:lnTo>
                    <a:lnTo>
                      <a:pt x="590" y="810"/>
                    </a:lnTo>
                    <a:lnTo>
                      <a:pt x="592" y="808"/>
                    </a:lnTo>
                    <a:lnTo>
                      <a:pt x="594" y="806"/>
                    </a:lnTo>
                    <a:lnTo>
                      <a:pt x="596" y="802"/>
                    </a:lnTo>
                    <a:lnTo>
                      <a:pt x="596" y="224"/>
                    </a:lnTo>
                    <a:lnTo>
                      <a:pt x="596" y="224"/>
                    </a:lnTo>
                    <a:lnTo>
                      <a:pt x="594" y="220"/>
                    </a:lnTo>
                    <a:lnTo>
                      <a:pt x="592" y="218"/>
                    </a:lnTo>
                    <a:lnTo>
                      <a:pt x="590" y="216"/>
                    </a:lnTo>
                    <a:lnTo>
                      <a:pt x="588" y="216"/>
                    </a:lnTo>
                    <a:lnTo>
                      <a:pt x="350" y="216"/>
                    </a:lnTo>
                    <a:close/>
                  </a:path>
                </a:pathLst>
              </a:custGeom>
              <a:solidFill>
                <a:schemeClr val="accent1"/>
              </a:solidFill>
              <a:ln w="3175"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ysClr val="windowText" lastClr="000000">
                      <a:lumMod val="95000"/>
                      <a:lumOff val="5000"/>
                    </a:sysClr>
                  </a:solidFill>
                  <a:effectLst/>
                  <a:uLnTx/>
                  <a:uFillTx/>
                  <a:latin typeface="Graphik"/>
                  <a:ea typeface="+mn-ea"/>
                  <a:cs typeface="Arial" charset="0"/>
                </a:endParaRPr>
              </a:p>
            </p:txBody>
          </p:sp>
          <p:sp>
            <p:nvSpPr>
              <p:cNvPr id="14" name="Freeform 24">
                <a:extLst>
                  <a:ext uri="{FF2B5EF4-FFF2-40B4-BE49-F238E27FC236}">
                    <a16:creationId xmlns:a16="http://schemas.microsoft.com/office/drawing/2014/main" id="{2AC5D0AB-071F-4AC2-BED9-B4B980D5C971}"/>
                  </a:ext>
                </a:extLst>
              </p:cNvPr>
              <p:cNvSpPr>
                <a:spLocks/>
              </p:cNvSpPr>
              <p:nvPr/>
            </p:nvSpPr>
            <p:spPr bwMode="auto">
              <a:xfrm rot="10800000">
                <a:off x="5231579" y="1322387"/>
                <a:ext cx="1824697" cy="2477805"/>
              </a:xfrm>
              <a:custGeom>
                <a:avLst/>
                <a:gdLst/>
                <a:ahLst/>
                <a:cxnLst>
                  <a:cxn ang="0">
                    <a:pos x="452" y="426"/>
                  </a:cxn>
                  <a:cxn ang="0">
                    <a:pos x="478" y="432"/>
                  </a:cxn>
                  <a:cxn ang="0">
                    <a:pos x="500" y="444"/>
                  </a:cxn>
                  <a:cxn ang="0">
                    <a:pos x="524" y="464"/>
                  </a:cxn>
                  <a:cxn ang="0">
                    <a:pos x="530" y="468"/>
                  </a:cxn>
                  <a:cxn ang="0">
                    <a:pos x="586" y="468"/>
                  </a:cxn>
                  <a:cxn ang="0">
                    <a:pos x="590" y="468"/>
                  </a:cxn>
                  <a:cxn ang="0">
                    <a:pos x="594" y="464"/>
                  </a:cxn>
                  <a:cxn ang="0">
                    <a:pos x="594" y="220"/>
                  </a:cxn>
                  <a:cxn ang="0">
                    <a:pos x="594" y="216"/>
                  </a:cxn>
                  <a:cxn ang="0">
                    <a:pos x="590" y="212"/>
                  </a:cxn>
                  <a:cxn ang="0">
                    <a:pos x="346" y="212"/>
                  </a:cxn>
                  <a:cxn ang="0">
                    <a:pos x="338" y="212"/>
                  </a:cxn>
                  <a:cxn ang="0">
                    <a:pos x="338" y="202"/>
                  </a:cxn>
                  <a:cxn ang="0">
                    <a:pos x="338" y="166"/>
                  </a:cxn>
                  <a:cxn ang="0">
                    <a:pos x="344" y="152"/>
                  </a:cxn>
                  <a:cxn ang="0">
                    <a:pos x="350" y="146"/>
                  </a:cxn>
                  <a:cxn ang="0">
                    <a:pos x="370" y="120"/>
                  </a:cxn>
                  <a:cxn ang="0">
                    <a:pos x="380" y="96"/>
                  </a:cxn>
                  <a:cxn ang="0">
                    <a:pos x="382" y="84"/>
                  </a:cxn>
                  <a:cxn ang="0">
                    <a:pos x="376" y="50"/>
                  </a:cxn>
                  <a:cxn ang="0">
                    <a:pos x="358" y="24"/>
                  </a:cxn>
                  <a:cxn ang="0">
                    <a:pos x="330" y="6"/>
                  </a:cxn>
                  <a:cxn ang="0">
                    <a:pos x="298" y="0"/>
                  </a:cxn>
                  <a:cxn ang="0">
                    <a:pos x="280" y="0"/>
                  </a:cxn>
                  <a:cxn ang="0">
                    <a:pos x="250" y="14"/>
                  </a:cxn>
                  <a:cxn ang="0">
                    <a:pos x="228" y="36"/>
                  </a:cxn>
                  <a:cxn ang="0">
                    <a:pos x="214" y="66"/>
                  </a:cxn>
                  <a:cxn ang="0">
                    <a:pos x="212" y="84"/>
                  </a:cxn>
                  <a:cxn ang="0">
                    <a:pos x="218" y="108"/>
                  </a:cxn>
                  <a:cxn ang="0">
                    <a:pos x="232" y="130"/>
                  </a:cxn>
                  <a:cxn ang="0">
                    <a:pos x="250" y="152"/>
                  </a:cxn>
                  <a:cxn ang="0">
                    <a:pos x="254" y="158"/>
                  </a:cxn>
                  <a:cxn ang="0">
                    <a:pos x="256" y="202"/>
                  </a:cxn>
                  <a:cxn ang="0">
                    <a:pos x="256" y="212"/>
                  </a:cxn>
                  <a:cxn ang="0">
                    <a:pos x="248" y="212"/>
                  </a:cxn>
                  <a:cxn ang="0">
                    <a:pos x="8" y="212"/>
                  </a:cxn>
                  <a:cxn ang="0">
                    <a:pos x="2" y="214"/>
                  </a:cxn>
                  <a:cxn ang="0">
                    <a:pos x="0" y="220"/>
                  </a:cxn>
                  <a:cxn ang="0">
                    <a:pos x="0" y="798"/>
                  </a:cxn>
                  <a:cxn ang="0">
                    <a:pos x="2" y="804"/>
                  </a:cxn>
                  <a:cxn ang="0">
                    <a:pos x="8" y="806"/>
                  </a:cxn>
                  <a:cxn ang="0">
                    <a:pos x="586" y="806"/>
                  </a:cxn>
                  <a:cxn ang="0">
                    <a:pos x="592" y="804"/>
                  </a:cxn>
                  <a:cxn ang="0">
                    <a:pos x="594" y="798"/>
                  </a:cxn>
                  <a:cxn ang="0">
                    <a:pos x="594" y="558"/>
                  </a:cxn>
                  <a:cxn ang="0">
                    <a:pos x="592" y="554"/>
                  </a:cxn>
                  <a:cxn ang="0">
                    <a:pos x="586" y="550"/>
                  </a:cxn>
                  <a:cxn ang="0">
                    <a:pos x="538" y="550"/>
                  </a:cxn>
                  <a:cxn ang="0">
                    <a:pos x="524" y="556"/>
                  </a:cxn>
                  <a:cxn ang="0">
                    <a:pos x="518" y="562"/>
                  </a:cxn>
                  <a:cxn ang="0">
                    <a:pos x="490" y="582"/>
                  </a:cxn>
                  <a:cxn ang="0">
                    <a:pos x="466" y="592"/>
                  </a:cxn>
                  <a:cxn ang="0">
                    <a:pos x="452" y="594"/>
                  </a:cxn>
                  <a:cxn ang="0">
                    <a:pos x="418" y="588"/>
                  </a:cxn>
                  <a:cxn ang="0">
                    <a:pos x="390" y="570"/>
                  </a:cxn>
                  <a:cxn ang="0">
                    <a:pos x="370" y="542"/>
                  </a:cxn>
                  <a:cxn ang="0">
                    <a:pos x="364" y="510"/>
                  </a:cxn>
                  <a:cxn ang="0">
                    <a:pos x="366" y="492"/>
                  </a:cxn>
                  <a:cxn ang="0">
                    <a:pos x="380" y="462"/>
                  </a:cxn>
                  <a:cxn ang="0">
                    <a:pos x="404" y="440"/>
                  </a:cxn>
                  <a:cxn ang="0">
                    <a:pos x="434" y="426"/>
                  </a:cxn>
                  <a:cxn ang="0">
                    <a:pos x="452" y="426"/>
                  </a:cxn>
                </a:cxnLst>
                <a:rect l="0" t="0" r="r" b="b"/>
                <a:pathLst>
                  <a:path w="594" h="806">
                    <a:moveTo>
                      <a:pt x="452" y="426"/>
                    </a:moveTo>
                    <a:lnTo>
                      <a:pt x="452" y="426"/>
                    </a:lnTo>
                    <a:lnTo>
                      <a:pt x="466" y="426"/>
                    </a:lnTo>
                    <a:lnTo>
                      <a:pt x="478" y="432"/>
                    </a:lnTo>
                    <a:lnTo>
                      <a:pt x="490" y="438"/>
                    </a:lnTo>
                    <a:lnTo>
                      <a:pt x="500" y="444"/>
                    </a:lnTo>
                    <a:lnTo>
                      <a:pt x="518" y="458"/>
                    </a:lnTo>
                    <a:lnTo>
                      <a:pt x="524" y="464"/>
                    </a:lnTo>
                    <a:lnTo>
                      <a:pt x="524" y="464"/>
                    </a:lnTo>
                    <a:lnTo>
                      <a:pt x="530" y="468"/>
                    </a:lnTo>
                    <a:lnTo>
                      <a:pt x="538" y="468"/>
                    </a:lnTo>
                    <a:lnTo>
                      <a:pt x="586" y="468"/>
                    </a:lnTo>
                    <a:lnTo>
                      <a:pt x="586" y="468"/>
                    </a:lnTo>
                    <a:lnTo>
                      <a:pt x="590" y="468"/>
                    </a:lnTo>
                    <a:lnTo>
                      <a:pt x="592" y="466"/>
                    </a:lnTo>
                    <a:lnTo>
                      <a:pt x="594" y="464"/>
                    </a:lnTo>
                    <a:lnTo>
                      <a:pt x="594" y="460"/>
                    </a:lnTo>
                    <a:lnTo>
                      <a:pt x="594" y="220"/>
                    </a:lnTo>
                    <a:lnTo>
                      <a:pt x="594" y="220"/>
                    </a:lnTo>
                    <a:lnTo>
                      <a:pt x="594" y="216"/>
                    </a:lnTo>
                    <a:lnTo>
                      <a:pt x="592" y="214"/>
                    </a:lnTo>
                    <a:lnTo>
                      <a:pt x="590" y="212"/>
                    </a:lnTo>
                    <a:lnTo>
                      <a:pt x="586" y="212"/>
                    </a:lnTo>
                    <a:lnTo>
                      <a:pt x="346" y="212"/>
                    </a:lnTo>
                    <a:lnTo>
                      <a:pt x="346" y="212"/>
                    </a:lnTo>
                    <a:lnTo>
                      <a:pt x="338" y="212"/>
                    </a:lnTo>
                    <a:lnTo>
                      <a:pt x="338" y="212"/>
                    </a:lnTo>
                    <a:lnTo>
                      <a:pt x="338" y="202"/>
                    </a:lnTo>
                    <a:lnTo>
                      <a:pt x="338" y="166"/>
                    </a:lnTo>
                    <a:lnTo>
                      <a:pt x="338" y="166"/>
                    </a:lnTo>
                    <a:lnTo>
                      <a:pt x="340" y="158"/>
                    </a:lnTo>
                    <a:lnTo>
                      <a:pt x="344" y="152"/>
                    </a:lnTo>
                    <a:lnTo>
                      <a:pt x="344" y="152"/>
                    </a:lnTo>
                    <a:lnTo>
                      <a:pt x="350" y="146"/>
                    </a:lnTo>
                    <a:lnTo>
                      <a:pt x="364" y="130"/>
                    </a:lnTo>
                    <a:lnTo>
                      <a:pt x="370" y="120"/>
                    </a:lnTo>
                    <a:lnTo>
                      <a:pt x="376" y="108"/>
                    </a:lnTo>
                    <a:lnTo>
                      <a:pt x="380" y="96"/>
                    </a:lnTo>
                    <a:lnTo>
                      <a:pt x="382" y="84"/>
                    </a:lnTo>
                    <a:lnTo>
                      <a:pt x="382" y="84"/>
                    </a:lnTo>
                    <a:lnTo>
                      <a:pt x="380" y="66"/>
                    </a:lnTo>
                    <a:lnTo>
                      <a:pt x="376" y="50"/>
                    </a:lnTo>
                    <a:lnTo>
                      <a:pt x="368" y="36"/>
                    </a:lnTo>
                    <a:lnTo>
                      <a:pt x="358" y="24"/>
                    </a:lnTo>
                    <a:lnTo>
                      <a:pt x="344" y="14"/>
                    </a:lnTo>
                    <a:lnTo>
                      <a:pt x="330" y="6"/>
                    </a:lnTo>
                    <a:lnTo>
                      <a:pt x="314" y="0"/>
                    </a:lnTo>
                    <a:lnTo>
                      <a:pt x="298" y="0"/>
                    </a:lnTo>
                    <a:lnTo>
                      <a:pt x="298" y="0"/>
                    </a:lnTo>
                    <a:lnTo>
                      <a:pt x="280" y="0"/>
                    </a:lnTo>
                    <a:lnTo>
                      <a:pt x="264" y="6"/>
                    </a:lnTo>
                    <a:lnTo>
                      <a:pt x="250" y="14"/>
                    </a:lnTo>
                    <a:lnTo>
                      <a:pt x="238" y="24"/>
                    </a:lnTo>
                    <a:lnTo>
                      <a:pt x="228" y="36"/>
                    </a:lnTo>
                    <a:lnTo>
                      <a:pt x="220" y="50"/>
                    </a:lnTo>
                    <a:lnTo>
                      <a:pt x="214" y="66"/>
                    </a:lnTo>
                    <a:lnTo>
                      <a:pt x="212" y="84"/>
                    </a:lnTo>
                    <a:lnTo>
                      <a:pt x="212" y="84"/>
                    </a:lnTo>
                    <a:lnTo>
                      <a:pt x="214" y="96"/>
                    </a:lnTo>
                    <a:lnTo>
                      <a:pt x="218" y="108"/>
                    </a:lnTo>
                    <a:lnTo>
                      <a:pt x="224" y="120"/>
                    </a:lnTo>
                    <a:lnTo>
                      <a:pt x="232" y="130"/>
                    </a:lnTo>
                    <a:lnTo>
                      <a:pt x="244" y="146"/>
                    </a:lnTo>
                    <a:lnTo>
                      <a:pt x="250" y="152"/>
                    </a:lnTo>
                    <a:lnTo>
                      <a:pt x="250" y="152"/>
                    </a:lnTo>
                    <a:lnTo>
                      <a:pt x="254" y="158"/>
                    </a:lnTo>
                    <a:lnTo>
                      <a:pt x="256" y="166"/>
                    </a:lnTo>
                    <a:lnTo>
                      <a:pt x="256" y="202"/>
                    </a:lnTo>
                    <a:lnTo>
                      <a:pt x="256" y="202"/>
                    </a:lnTo>
                    <a:lnTo>
                      <a:pt x="256" y="212"/>
                    </a:lnTo>
                    <a:lnTo>
                      <a:pt x="256" y="212"/>
                    </a:lnTo>
                    <a:lnTo>
                      <a:pt x="248" y="212"/>
                    </a:lnTo>
                    <a:lnTo>
                      <a:pt x="8" y="212"/>
                    </a:lnTo>
                    <a:lnTo>
                      <a:pt x="8" y="212"/>
                    </a:lnTo>
                    <a:lnTo>
                      <a:pt x="6" y="212"/>
                    </a:lnTo>
                    <a:lnTo>
                      <a:pt x="2" y="214"/>
                    </a:lnTo>
                    <a:lnTo>
                      <a:pt x="0" y="216"/>
                    </a:lnTo>
                    <a:lnTo>
                      <a:pt x="0" y="220"/>
                    </a:lnTo>
                    <a:lnTo>
                      <a:pt x="0" y="798"/>
                    </a:lnTo>
                    <a:lnTo>
                      <a:pt x="0" y="798"/>
                    </a:lnTo>
                    <a:lnTo>
                      <a:pt x="0" y="802"/>
                    </a:lnTo>
                    <a:lnTo>
                      <a:pt x="2" y="804"/>
                    </a:lnTo>
                    <a:lnTo>
                      <a:pt x="6" y="806"/>
                    </a:lnTo>
                    <a:lnTo>
                      <a:pt x="8" y="806"/>
                    </a:lnTo>
                    <a:lnTo>
                      <a:pt x="586" y="806"/>
                    </a:lnTo>
                    <a:lnTo>
                      <a:pt x="586" y="806"/>
                    </a:lnTo>
                    <a:lnTo>
                      <a:pt x="590" y="806"/>
                    </a:lnTo>
                    <a:lnTo>
                      <a:pt x="592" y="804"/>
                    </a:lnTo>
                    <a:lnTo>
                      <a:pt x="594" y="802"/>
                    </a:lnTo>
                    <a:lnTo>
                      <a:pt x="594" y="798"/>
                    </a:lnTo>
                    <a:lnTo>
                      <a:pt x="594" y="558"/>
                    </a:lnTo>
                    <a:lnTo>
                      <a:pt x="594" y="558"/>
                    </a:lnTo>
                    <a:lnTo>
                      <a:pt x="594" y="556"/>
                    </a:lnTo>
                    <a:lnTo>
                      <a:pt x="592" y="554"/>
                    </a:lnTo>
                    <a:lnTo>
                      <a:pt x="590" y="552"/>
                    </a:lnTo>
                    <a:lnTo>
                      <a:pt x="586" y="550"/>
                    </a:lnTo>
                    <a:lnTo>
                      <a:pt x="538" y="550"/>
                    </a:lnTo>
                    <a:lnTo>
                      <a:pt x="538" y="550"/>
                    </a:lnTo>
                    <a:lnTo>
                      <a:pt x="530" y="552"/>
                    </a:lnTo>
                    <a:lnTo>
                      <a:pt x="524" y="556"/>
                    </a:lnTo>
                    <a:lnTo>
                      <a:pt x="524" y="556"/>
                    </a:lnTo>
                    <a:lnTo>
                      <a:pt x="518" y="562"/>
                    </a:lnTo>
                    <a:lnTo>
                      <a:pt x="500" y="576"/>
                    </a:lnTo>
                    <a:lnTo>
                      <a:pt x="490" y="582"/>
                    </a:lnTo>
                    <a:lnTo>
                      <a:pt x="478" y="588"/>
                    </a:lnTo>
                    <a:lnTo>
                      <a:pt x="466" y="592"/>
                    </a:lnTo>
                    <a:lnTo>
                      <a:pt x="452" y="594"/>
                    </a:lnTo>
                    <a:lnTo>
                      <a:pt x="452" y="594"/>
                    </a:lnTo>
                    <a:lnTo>
                      <a:pt x="434" y="592"/>
                    </a:lnTo>
                    <a:lnTo>
                      <a:pt x="418" y="588"/>
                    </a:lnTo>
                    <a:lnTo>
                      <a:pt x="404" y="580"/>
                    </a:lnTo>
                    <a:lnTo>
                      <a:pt x="390" y="570"/>
                    </a:lnTo>
                    <a:lnTo>
                      <a:pt x="380" y="558"/>
                    </a:lnTo>
                    <a:lnTo>
                      <a:pt x="370" y="542"/>
                    </a:lnTo>
                    <a:lnTo>
                      <a:pt x="366" y="526"/>
                    </a:lnTo>
                    <a:lnTo>
                      <a:pt x="364" y="510"/>
                    </a:lnTo>
                    <a:lnTo>
                      <a:pt x="364" y="510"/>
                    </a:lnTo>
                    <a:lnTo>
                      <a:pt x="366" y="492"/>
                    </a:lnTo>
                    <a:lnTo>
                      <a:pt x="370" y="476"/>
                    </a:lnTo>
                    <a:lnTo>
                      <a:pt x="380" y="462"/>
                    </a:lnTo>
                    <a:lnTo>
                      <a:pt x="390" y="450"/>
                    </a:lnTo>
                    <a:lnTo>
                      <a:pt x="404" y="440"/>
                    </a:lnTo>
                    <a:lnTo>
                      <a:pt x="418" y="432"/>
                    </a:lnTo>
                    <a:lnTo>
                      <a:pt x="434" y="426"/>
                    </a:lnTo>
                    <a:lnTo>
                      <a:pt x="452" y="426"/>
                    </a:lnTo>
                    <a:lnTo>
                      <a:pt x="452" y="426"/>
                    </a:lnTo>
                    <a:close/>
                  </a:path>
                </a:pathLst>
              </a:custGeom>
              <a:solidFill>
                <a:schemeClr val="accent2"/>
              </a:solidFill>
              <a:ln w="3175" cap="flat" cmpd="sng">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solidFill>
                    <a:sysClr val="windowText" lastClr="000000">
                      <a:lumMod val="95000"/>
                      <a:lumOff val="5000"/>
                    </a:sysClr>
                  </a:solidFill>
                  <a:effectLst/>
                  <a:uLnTx/>
                  <a:uFillTx/>
                  <a:latin typeface="Graphik"/>
                  <a:ea typeface="+mn-ea"/>
                  <a:cs typeface="Arial" charset="0"/>
                </a:endParaRPr>
              </a:p>
            </p:txBody>
          </p:sp>
        </p:grpSp>
        <p:sp>
          <p:nvSpPr>
            <p:cNvPr id="7" name="Tekstboks 8">
              <a:extLst>
                <a:ext uri="{FF2B5EF4-FFF2-40B4-BE49-F238E27FC236}">
                  <a16:creationId xmlns:a16="http://schemas.microsoft.com/office/drawing/2014/main" id="{363BF185-9BE8-424E-A92E-F736E9D8F57E}"/>
                </a:ext>
              </a:extLst>
            </p:cNvPr>
            <p:cNvSpPr txBox="1"/>
            <p:nvPr/>
          </p:nvSpPr>
          <p:spPr bwMode="auto">
            <a:xfrm>
              <a:off x="4302358" y="5409221"/>
              <a:ext cx="538417" cy="307777"/>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srgbClr val="FFFFFF"/>
                  </a:solidFill>
                  <a:effectLst/>
                  <a:uLnTx/>
                  <a:uFillTx/>
                  <a:latin typeface="Graphik"/>
                  <a:ea typeface="+mn-ea"/>
                  <a:cs typeface="Arial" charset="0"/>
                </a:rPr>
                <a:t>Text</a:t>
              </a:r>
            </a:p>
          </p:txBody>
        </p:sp>
        <p:sp>
          <p:nvSpPr>
            <p:cNvPr id="8" name="Tekstboks 9">
              <a:extLst>
                <a:ext uri="{FF2B5EF4-FFF2-40B4-BE49-F238E27FC236}">
                  <a16:creationId xmlns:a16="http://schemas.microsoft.com/office/drawing/2014/main" id="{0B4E4DF4-8380-458F-98EE-A2D1C01662B0}"/>
                </a:ext>
              </a:extLst>
            </p:cNvPr>
            <p:cNvSpPr txBox="1">
              <a:spLocks noChangeArrowheads="1"/>
            </p:cNvSpPr>
            <p:nvPr/>
          </p:nvSpPr>
          <p:spPr bwMode="auto">
            <a:xfrm>
              <a:off x="6552045" y="5409221"/>
              <a:ext cx="538417" cy="307777"/>
            </a:xfrm>
            <a:prstGeom prst="rect">
              <a:avLst/>
            </a:prstGeom>
            <a:noFill/>
            <a:ln w="9525">
              <a:noFill/>
              <a:miter lim="800000"/>
              <a:headEnd/>
              <a:tailEnd/>
            </a:ln>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Graphik"/>
                  <a:ea typeface="+mn-ea"/>
                  <a:cs typeface="Arial" charset="0"/>
                </a:rPr>
                <a:t>Text</a:t>
              </a:r>
            </a:p>
          </p:txBody>
        </p:sp>
        <p:sp>
          <p:nvSpPr>
            <p:cNvPr id="9" name="Tekstboks 10">
              <a:extLst>
                <a:ext uri="{FF2B5EF4-FFF2-40B4-BE49-F238E27FC236}">
                  <a16:creationId xmlns:a16="http://schemas.microsoft.com/office/drawing/2014/main" id="{345D0949-FF67-48F1-BF55-E83C7A50AABD}"/>
                </a:ext>
              </a:extLst>
            </p:cNvPr>
            <p:cNvSpPr txBox="1">
              <a:spLocks noChangeArrowheads="1"/>
            </p:cNvSpPr>
            <p:nvPr/>
          </p:nvSpPr>
          <p:spPr bwMode="auto">
            <a:xfrm>
              <a:off x="4302358" y="2024845"/>
              <a:ext cx="538417" cy="307777"/>
            </a:xfrm>
            <a:prstGeom prst="rect">
              <a:avLst/>
            </a:prstGeom>
            <a:noFill/>
            <a:ln w="9525">
              <a:noFill/>
              <a:miter lim="800000"/>
              <a:headEnd/>
              <a:tailEnd/>
            </a:ln>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Graphik"/>
                  <a:ea typeface="+mn-ea"/>
                  <a:cs typeface="Arial" charset="0"/>
                </a:rPr>
                <a:t>Text</a:t>
              </a:r>
            </a:p>
          </p:txBody>
        </p:sp>
        <p:sp>
          <p:nvSpPr>
            <p:cNvPr id="10" name="Tekstboks 11">
              <a:extLst>
                <a:ext uri="{FF2B5EF4-FFF2-40B4-BE49-F238E27FC236}">
                  <a16:creationId xmlns:a16="http://schemas.microsoft.com/office/drawing/2014/main" id="{180EABBC-4FEE-4A63-A470-08D39932B798}"/>
                </a:ext>
              </a:extLst>
            </p:cNvPr>
            <p:cNvSpPr txBox="1">
              <a:spLocks noChangeArrowheads="1"/>
            </p:cNvSpPr>
            <p:nvPr/>
          </p:nvSpPr>
          <p:spPr bwMode="auto">
            <a:xfrm>
              <a:off x="6552838" y="2024845"/>
              <a:ext cx="538417" cy="307777"/>
            </a:xfrm>
            <a:prstGeom prst="rect">
              <a:avLst/>
            </a:prstGeom>
            <a:noFill/>
            <a:ln w="9525">
              <a:noFill/>
              <a:miter lim="800000"/>
              <a:headEnd/>
              <a:tailEnd/>
            </a:ln>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sz="1400" b="1" i="0" u="none" strike="noStrike" kern="0" cap="none" spc="0" normalizeH="0" baseline="0" noProof="0" dirty="0">
                  <a:ln>
                    <a:noFill/>
                  </a:ln>
                  <a:solidFill>
                    <a:prstClr val="white"/>
                  </a:solidFill>
                  <a:effectLst/>
                  <a:uLnTx/>
                  <a:uFillTx/>
                  <a:latin typeface="Graphik"/>
                  <a:ea typeface="+mn-ea"/>
                  <a:cs typeface="Arial" charset="0"/>
                </a:rPr>
                <a:t>Text</a:t>
              </a:r>
            </a:p>
          </p:txBody>
        </p:sp>
      </p:grpSp>
      <p:sp>
        <p:nvSpPr>
          <p:cNvPr id="15" name="TextBox 14">
            <a:extLst>
              <a:ext uri="{FF2B5EF4-FFF2-40B4-BE49-F238E27FC236}">
                <a16:creationId xmlns:a16="http://schemas.microsoft.com/office/drawing/2014/main" id="{9E7F1B9C-6067-44E2-8278-CA675229A6C0}"/>
              </a:ext>
            </a:extLst>
          </p:cNvPr>
          <p:cNvSpPr txBox="1"/>
          <p:nvPr/>
        </p:nvSpPr>
        <p:spPr bwMode="auto">
          <a:xfrm flipH="1">
            <a:off x="746288" y="1888793"/>
            <a:ext cx="2323947" cy="396000"/>
          </a:xfrm>
          <a:prstGeom prst="rect">
            <a:avLst/>
          </a:prstGeom>
          <a:noFill/>
        </p:spPr>
        <p:txBody>
          <a:bodyPr wrap="square" lIns="0" r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rPr>
              <a:t>Text</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cxnSp>
        <p:nvCxnSpPr>
          <p:cNvPr id="16" name="Straight Connector 15">
            <a:extLst>
              <a:ext uri="{FF2B5EF4-FFF2-40B4-BE49-F238E27FC236}">
                <a16:creationId xmlns:a16="http://schemas.microsoft.com/office/drawing/2014/main" id="{FECB67CC-A98F-4158-88C1-C367727BD935}"/>
              </a:ext>
            </a:extLst>
          </p:cNvPr>
          <p:cNvCxnSpPr/>
          <p:nvPr/>
        </p:nvCxnSpPr>
        <p:spPr bwMode="auto">
          <a:xfrm>
            <a:off x="746287" y="1891543"/>
            <a:ext cx="3347303" cy="0"/>
          </a:xfrm>
          <a:prstGeom prst="line">
            <a:avLst/>
          </a:prstGeom>
          <a:noFill/>
          <a:ln w="12700" cap="flat" cmpd="sng" algn="ctr">
            <a:solidFill>
              <a:srgbClr val="000000"/>
            </a:solidFill>
            <a:prstDash val="solid"/>
            <a:headEnd type="none" w="med" len="med"/>
            <a:tailEnd type="oval" w="med" len="med"/>
          </a:ln>
          <a:effectLst/>
        </p:spPr>
      </p:cxnSp>
      <p:sp>
        <p:nvSpPr>
          <p:cNvPr id="17" name="TextBox 16">
            <a:extLst>
              <a:ext uri="{FF2B5EF4-FFF2-40B4-BE49-F238E27FC236}">
                <a16:creationId xmlns:a16="http://schemas.microsoft.com/office/drawing/2014/main" id="{4ECBD28B-D0C3-4137-B099-6CA621ACC423}"/>
              </a:ext>
            </a:extLst>
          </p:cNvPr>
          <p:cNvSpPr txBox="1"/>
          <p:nvPr/>
        </p:nvSpPr>
        <p:spPr bwMode="auto">
          <a:xfrm flipH="1">
            <a:off x="746287" y="4077455"/>
            <a:ext cx="2323947" cy="396000"/>
          </a:xfrm>
          <a:prstGeom prst="rect">
            <a:avLst/>
          </a:prstGeom>
          <a:noFill/>
        </p:spPr>
        <p:txBody>
          <a:bodyPr wrap="square" lIns="0" r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rPr>
              <a:t>Text</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cxnSp>
        <p:nvCxnSpPr>
          <p:cNvPr id="18" name="Straight Connector 17">
            <a:extLst>
              <a:ext uri="{FF2B5EF4-FFF2-40B4-BE49-F238E27FC236}">
                <a16:creationId xmlns:a16="http://schemas.microsoft.com/office/drawing/2014/main" id="{749D51E9-85D6-4D12-AAF2-DBB60CD61931}"/>
              </a:ext>
            </a:extLst>
          </p:cNvPr>
          <p:cNvCxnSpPr/>
          <p:nvPr/>
        </p:nvCxnSpPr>
        <p:spPr bwMode="auto">
          <a:xfrm>
            <a:off x="746286" y="4080205"/>
            <a:ext cx="3347303" cy="0"/>
          </a:xfrm>
          <a:prstGeom prst="line">
            <a:avLst/>
          </a:prstGeom>
          <a:noFill/>
          <a:ln w="12700" cap="flat" cmpd="sng" algn="ctr">
            <a:solidFill>
              <a:srgbClr val="000000"/>
            </a:solidFill>
            <a:prstDash val="solid"/>
            <a:headEnd type="none" w="med" len="med"/>
            <a:tailEnd type="oval" w="med" len="med"/>
          </a:ln>
          <a:effectLst/>
        </p:spPr>
      </p:cxnSp>
      <p:sp>
        <p:nvSpPr>
          <p:cNvPr id="19" name="TextBox 18">
            <a:extLst>
              <a:ext uri="{FF2B5EF4-FFF2-40B4-BE49-F238E27FC236}">
                <a16:creationId xmlns:a16="http://schemas.microsoft.com/office/drawing/2014/main" id="{55A95C27-CA91-4D8A-A863-AC4A05778E3C}"/>
              </a:ext>
            </a:extLst>
          </p:cNvPr>
          <p:cNvSpPr txBox="1"/>
          <p:nvPr/>
        </p:nvSpPr>
        <p:spPr bwMode="auto">
          <a:xfrm>
            <a:off x="9115374" y="1888793"/>
            <a:ext cx="2323947" cy="630942"/>
          </a:xfrm>
          <a:prstGeom prst="rect">
            <a:avLst/>
          </a:prstGeom>
          <a:noFill/>
        </p:spPr>
        <p:txBody>
          <a:bodyPr wrap="square" lIns="0" rIns="0" rtlCol="0">
            <a:spAutoFit/>
          </a:bodyP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rPr>
              <a:t>Text</a:t>
            </a:r>
          </a:p>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cxnSp>
        <p:nvCxnSpPr>
          <p:cNvPr id="20" name="Straight Connector 19">
            <a:extLst>
              <a:ext uri="{FF2B5EF4-FFF2-40B4-BE49-F238E27FC236}">
                <a16:creationId xmlns:a16="http://schemas.microsoft.com/office/drawing/2014/main" id="{BA18DDDF-0186-4BEA-99DA-BEAD3E93A2B1}"/>
              </a:ext>
            </a:extLst>
          </p:cNvPr>
          <p:cNvCxnSpPr/>
          <p:nvPr/>
        </p:nvCxnSpPr>
        <p:spPr bwMode="auto">
          <a:xfrm flipH="1">
            <a:off x="8092019" y="1891543"/>
            <a:ext cx="3347303" cy="0"/>
          </a:xfrm>
          <a:prstGeom prst="line">
            <a:avLst/>
          </a:prstGeom>
          <a:noFill/>
          <a:ln w="12700" cap="flat" cmpd="sng" algn="ctr">
            <a:solidFill>
              <a:srgbClr val="000000"/>
            </a:solidFill>
            <a:prstDash val="solid"/>
            <a:headEnd type="none" w="med" len="med"/>
            <a:tailEnd type="oval" w="med" len="med"/>
          </a:ln>
          <a:effectLst/>
        </p:spPr>
      </p:cxnSp>
      <p:sp>
        <p:nvSpPr>
          <p:cNvPr id="21" name="TextBox 20">
            <a:extLst>
              <a:ext uri="{FF2B5EF4-FFF2-40B4-BE49-F238E27FC236}">
                <a16:creationId xmlns:a16="http://schemas.microsoft.com/office/drawing/2014/main" id="{38F37D67-2C93-4230-9712-927F1CECBF88}"/>
              </a:ext>
            </a:extLst>
          </p:cNvPr>
          <p:cNvSpPr txBox="1"/>
          <p:nvPr/>
        </p:nvSpPr>
        <p:spPr bwMode="auto">
          <a:xfrm>
            <a:off x="9115375" y="4077455"/>
            <a:ext cx="2323947" cy="630942"/>
          </a:xfrm>
          <a:prstGeom prst="rect">
            <a:avLst/>
          </a:prstGeom>
          <a:noFill/>
        </p:spPr>
        <p:txBody>
          <a:bodyPr wrap="square" lIns="0" rIns="0" rtlCol="0">
            <a:spAutoFit/>
          </a:bodyP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rPr>
              <a:t>Text</a:t>
            </a:r>
          </a:p>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cxnSp>
        <p:nvCxnSpPr>
          <p:cNvPr id="22" name="Straight Connector 21">
            <a:extLst>
              <a:ext uri="{FF2B5EF4-FFF2-40B4-BE49-F238E27FC236}">
                <a16:creationId xmlns:a16="http://schemas.microsoft.com/office/drawing/2014/main" id="{24FA3791-59C0-41B4-951A-9087DF37A897}"/>
              </a:ext>
            </a:extLst>
          </p:cNvPr>
          <p:cNvCxnSpPr/>
          <p:nvPr/>
        </p:nvCxnSpPr>
        <p:spPr bwMode="auto">
          <a:xfrm flipH="1">
            <a:off x="8092020" y="4080205"/>
            <a:ext cx="3347303" cy="0"/>
          </a:xfrm>
          <a:prstGeom prst="line">
            <a:avLst/>
          </a:prstGeom>
          <a:noFill/>
          <a:ln w="12700" cap="flat" cmpd="sng" algn="ctr">
            <a:solidFill>
              <a:srgbClr val="000000"/>
            </a:solidFill>
            <a:prstDash val="solid"/>
            <a:headEnd type="none" w="med" len="med"/>
            <a:tailEnd type="oval" w="med" len="med"/>
          </a:ln>
          <a:effectLst/>
        </p:spPr>
      </p:cxnSp>
      <p:sp>
        <p:nvSpPr>
          <p:cNvPr id="3" name="Rectangle 2">
            <a:hlinkClick r:id="rId3" action="ppaction://hlinksldjump"/>
            <a:extLst>
              <a:ext uri="{FF2B5EF4-FFF2-40B4-BE49-F238E27FC236}">
                <a16:creationId xmlns:a16="http://schemas.microsoft.com/office/drawing/2014/main" id="{F51D46A3-FC4A-432F-A5C7-CCD4CEDB1D38}"/>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45297692"/>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uzzle Pieces 2</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5" name="Group 4">
            <a:extLst>
              <a:ext uri="{FF2B5EF4-FFF2-40B4-BE49-F238E27FC236}">
                <a16:creationId xmlns:a16="http://schemas.microsoft.com/office/drawing/2014/main" id="{84327D43-B77A-430C-83FA-18CF5E7B0755}"/>
              </a:ext>
            </a:extLst>
          </p:cNvPr>
          <p:cNvGrpSpPr/>
          <p:nvPr/>
        </p:nvGrpSpPr>
        <p:grpSpPr>
          <a:xfrm>
            <a:off x="4126523" y="1336070"/>
            <a:ext cx="3938954" cy="4343400"/>
            <a:chOff x="4126523" y="1336070"/>
            <a:chExt cx="3938954" cy="4343400"/>
          </a:xfrm>
        </p:grpSpPr>
        <p:sp>
          <p:nvSpPr>
            <p:cNvPr id="6" name="Puzzle3">
              <a:extLst>
                <a:ext uri="{FF2B5EF4-FFF2-40B4-BE49-F238E27FC236}">
                  <a16:creationId xmlns:a16="http://schemas.microsoft.com/office/drawing/2014/main" id="{1F023CFF-2384-4A0F-9AE0-0DFE070B8B73}"/>
                </a:ext>
              </a:extLst>
            </p:cNvPr>
            <p:cNvSpPr>
              <a:spLocks noEditPoints="1" noChangeArrowheads="1"/>
            </p:cNvSpPr>
            <p:nvPr/>
          </p:nvSpPr>
          <p:spPr bwMode="auto">
            <a:xfrm>
              <a:off x="6044711" y="1336070"/>
              <a:ext cx="1547446" cy="2308225"/>
            </a:xfrm>
            <a:custGeom>
              <a:avLst/>
              <a:gdLst>
                <a:gd name="T0" fmla="*/ 806457 w 21600"/>
                <a:gd name="T1" fmla="*/ 1689065 h 21600"/>
                <a:gd name="T2" fmla="*/ 1594986 w 21600"/>
                <a:gd name="T3" fmla="*/ 2253512 h 21600"/>
                <a:gd name="T4" fmla="*/ 1022914 w 21600"/>
                <a:gd name="T5" fmla="*/ 1474806 h 21600"/>
                <a:gd name="T6" fmla="*/ 1594986 w 21600"/>
                <a:gd name="T7" fmla="*/ 750707 h 21600"/>
                <a:gd name="T8" fmla="*/ 814917 w 21600"/>
                <a:gd name="T9" fmla="*/ 5557 h 21600"/>
                <a:gd name="T10" fmla="*/ 53707 w 21600"/>
                <a:gd name="T11" fmla="*/ 726877 h 21600"/>
                <a:gd name="T12" fmla="*/ 625856 w 21600"/>
                <a:gd name="T13" fmla="*/ 1445419 h 21600"/>
                <a:gd name="T14" fmla="*/ 53707 w 21600"/>
                <a:gd name="T15" fmla="*/ 2253512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2"/>
            </a:solidFill>
            <a:ln w="28575">
              <a:solidFill>
                <a:srgbClr val="FFFFFF"/>
              </a:solidFill>
              <a:miter lim="800000"/>
              <a:headEnd/>
              <a:tailEnd/>
            </a:ln>
          </p:spPr>
          <p:txBody>
            <a:bodyPr lIns="45720" rIns="4572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zh-SG" sz="1200" b="1" i="0" u="none" strike="noStrike" kern="0" cap="none" spc="0" normalizeH="0" baseline="0" noProof="0" dirty="0">
                <a:ln>
                  <a:noFill/>
                </a:ln>
                <a:solidFill>
                  <a:srgbClr val="FFFFFF"/>
                </a:solidFill>
                <a:effectLst/>
                <a:uLnTx/>
                <a:uFillTx/>
                <a:latin typeface="Graphik"/>
                <a:ea typeface="SimSun" pitchFamily="2" charset="-122"/>
                <a:cs typeface="+mn-cs"/>
              </a:endParaRPr>
            </a:p>
          </p:txBody>
        </p:sp>
        <p:sp>
          <p:nvSpPr>
            <p:cNvPr id="7" name="Puzzle2">
              <a:extLst>
                <a:ext uri="{FF2B5EF4-FFF2-40B4-BE49-F238E27FC236}">
                  <a16:creationId xmlns:a16="http://schemas.microsoft.com/office/drawing/2014/main" id="{9375F3A9-0978-4A8E-85A3-466149C02C3B}"/>
                </a:ext>
              </a:extLst>
            </p:cNvPr>
            <p:cNvSpPr>
              <a:spLocks noEditPoints="1" noChangeArrowheads="1"/>
            </p:cNvSpPr>
            <p:nvPr/>
          </p:nvSpPr>
          <p:spPr bwMode="auto">
            <a:xfrm>
              <a:off x="5593374" y="3002942"/>
              <a:ext cx="2472103" cy="2101850"/>
            </a:xfrm>
            <a:custGeom>
              <a:avLst/>
              <a:gdLst>
                <a:gd name="T0" fmla="*/ 1364 w 21600"/>
                <a:gd name="T1" fmla="*/ 1302563 h 21600"/>
                <a:gd name="T2" fmla="*/ 520992 w 21600"/>
                <a:gd name="T3" fmla="*/ 2059132 h 21600"/>
                <a:gd name="T4" fmla="*/ 1289461 w 21600"/>
                <a:gd name="T5" fmla="*/ 1353455 h 21600"/>
                <a:gd name="T6" fmla="*/ 2085580 w 21600"/>
                <a:gd name="T7" fmla="*/ 2061954 h 21600"/>
                <a:gd name="T8" fmla="*/ 2678112 w 21600"/>
                <a:gd name="T9" fmla="*/ 1467694 h 21600"/>
                <a:gd name="T10" fmla="*/ 2094011 w 21600"/>
                <a:gd name="T11" fmla="*/ 558450 h 21600"/>
                <a:gd name="T12" fmla="*/ 1339056 w 21600"/>
                <a:gd name="T13" fmla="*/ 2725 h 21600"/>
                <a:gd name="T14" fmla="*/ 520992 w 21600"/>
                <a:gd name="T15" fmla="*/ 573533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1"/>
            </a:solidFill>
            <a:ln w="28575">
              <a:solidFill>
                <a:srgbClr val="FFFFFF"/>
              </a:solidFill>
              <a:miter lim="800000"/>
              <a:headEnd/>
              <a:tailEnd/>
            </a:ln>
          </p:spPr>
          <p:txBody>
            <a:bodyPr lIns="45720" rIns="45720" bIns="18288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Graphik"/>
                <a:ea typeface="+mn-ea"/>
                <a:cs typeface="+mn-cs"/>
              </a:endParaRPr>
            </a:p>
          </p:txBody>
        </p:sp>
        <p:sp>
          <p:nvSpPr>
            <p:cNvPr id="8" name="Puzzle4">
              <a:extLst>
                <a:ext uri="{FF2B5EF4-FFF2-40B4-BE49-F238E27FC236}">
                  <a16:creationId xmlns:a16="http://schemas.microsoft.com/office/drawing/2014/main" id="{BBFC73DA-4701-4142-B50F-7CF43F85D061}"/>
                </a:ext>
              </a:extLst>
            </p:cNvPr>
            <p:cNvSpPr>
              <a:spLocks noEditPoints="1" noChangeArrowheads="1"/>
            </p:cNvSpPr>
            <p:nvPr/>
          </p:nvSpPr>
          <p:spPr bwMode="auto">
            <a:xfrm>
              <a:off x="4637942" y="2991833"/>
              <a:ext cx="1490296" cy="2687637"/>
            </a:xfrm>
            <a:custGeom>
              <a:avLst/>
              <a:gdLst>
                <a:gd name="T0" fmla="*/ 620905 w 21600"/>
                <a:gd name="T1" fmla="*/ 1442490 h 21600"/>
                <a:gd name="T2" fmla="*/ 33859 w 21600"/>
                <a:gd name="T3" fmla="*/ 2107556 h 21600"/>
                <a:gd name="T4" fmla="*/ 859565 w 21600"/>
                <a:gd name="T5" fmla="*/ 2687637 h 21600"/>
                <a:gd name="T6" fmla="*/ 1563661 w 21600"/>
                <a:gd name="T7" fmla="*/ 2084288 h 21600"/>
                <a:gd name="T8" fmla="*/ 1044334 w 21600"/>
                <a:gd name="T9" fmla="*/ 1354768 h 21600"/>
                <a:gd name="T10" fmla="*/ 1572107 w 21600"/>
                <a:gd name="T11" fmla="*/ 586801 h 21600"/>
                <a:gd name="T12" fmla="*/ 829816 w 21600"/>
                <a:gd name="T13" fmla="*/ 1369 h 21600"/>
                <a:gd name="T14" fmla="*/ 33859 w 21600"/>
                <a:gd name="T15" fmla="*/ 586801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5"/>
            </a:solidFill>
            <a:ln w="28575">
              <a:solidFill>
                <a:srgbClr val="FFFFFF"/>
              </a:solidFill>
              <a:miter lim="800000"/>
              <a:headEnd/>
              <a:tailEnd/>
            </a:ln>
          </p:spPr>
          <p:txBody>
            <a:bodyPr lIns="45720" rIns="45720" bIns="18288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Graphik"/>
                <a:ea typeface="+mn-ea"/>
                <a:cs typeface="+mn-cs"/>
              </a:endParaRPr>
            </a:p>
          </p:txBody>
        </p:sp>
        <p:sp>
          <p:nvSpPr>
            <p:cNvPr id="9" name="Puzzle1">
              <a:extLst>
                <a:ext uri="{FF2B5EF4-FFF2-40B4-BE49-F238E27FC236}">
                  <a16:creationId xmlns:a16="http://schemas.microsoft.com/office/drawing/2014/main" id="{E3FB56B0-F0C9-48AD-A310-2C34F4A029D6}"/>
                </a:ext>
              </a:extLst>
            </p:cNvPr>
            <p:cNvSpPr>
              <a:spLocks noEditPoints="1" noChangeArrowheads="1"/>
            </p:cNvSpPr>
            <p:nvPr/>
          </p:nvSpPr>
          <p:spPr bwMode="auto">
            <a:xfrm>
              <a:off x="4126523" y="2034568"/>
              <a:ext cx="2502877" cy="1601788"/>
            </a:xfrm>
            <a:custGeom>
              <a:avLst/>
              <a:gdLst>
                <a:gd name="T0" fmla="*/ 2101374 w 21600"/>
                <a:gd name="T1" fmla="*/ 1563078 h 21600"/>
                <a:gd name="T2" fmla="*/ 2130999 w 21600"/>
                <a:gd name="T3" fmla="*/ 38636 h 21600"/>
                <a:gd name="T4" fmla="*/ 593130 w 21600"/>
                <a:gd name="T5" fmla="*/ 63478 h 21600"/>
                <a:gd name="T6" fmla="*/ 632672 w 21600"/>
                <a:gd name="T7" fmla="*/ 1557591 h 21600"/>
                <a:gd name="T8" fmla="*/ 1357106 w 21600"/>
                <a:gd name="T9" fmla="*/ 955511 h 21600"/>
                <a:gd name="T10" fmla="*/ 1361374 w 21600"/>
                <a:gd name="T11" fmla="*/ 646203 h 21600"/>
                <a:gd name="T12" fmla="*/ 2711450 w 21600"/>
                <a:gd name="T13" fmla="*/ 741569 h 21600"/>
                <a:gd name="T14" fmla="*/ 7030 w 21600"/>
                <a:gd name="T15" fmla="*/ 741569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accent3"/>
            </a:solidFill>
            <a:ln w="28575">
              <a:solidFill>
                <a:srgbClr val="FFFFFF"/>
              </a:solidFill>
              <a:miter lim="800000"/>
              <a:headEnd/>
              <a:tailEnd/>
            </a:ln>
          </p:spPr>
          <p:txBody>
            <a:bodyPr lIns="45720" rIns="4572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Graphik"/>
                <a:ea typeface="+mn-ea"/>
                <a:cs typeface="+mn-cs"/>
              </a:endParaRPr>
            </a:p>
          </p:txBody>
        </p:sp>
      </p:grpSp>
      <p:sp>
        <p:nvSpPr>
          <p:cNvPr id="10" name="TextBox 9">
            <a:extLst>
              <a:ext uri="{FF2B5EF4-FFF2-40B4-BE49-F238E27FC236}">
                <a16:creationId xmlns:a16="http://schemas.microsoft.com/office/drawing/2014/main" id="{38599026-7630-40E1-93AE-0C1ED572EC1C}"/>
              </a:ext>
            </a:extLst>
          </p:cNvPr>
          <p:cNvSpPr txBox="1"/>
          <p:nvPr/>
        </p:nvSpPr>
        <p:spPr bwMode="auto">
          <a:xfrm flipH="1">
            <a:off x="746288" y="2222168"/>
            <a:ext cx="2323947" cy="396000"/>
          </a:xfrm>
          <a:prstGeom prst="rect">
            <a:avLst/>
          </a:prstGeom>
          <a:noFill/>
        </p:spPr>
        <p:txBody>
          <a:bodyPr wrap="square" lIns="0" r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rPr>
              <a:t>Text</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cxnSp>
        <p:nvCxnSpPr>
          <p:cNvPr id="11" name="Straight Connector 10">
            <a:extLst>
              <a:ext uri="{FF2B5EF4-FFF2-40B4-BE49-F238E27FC236}">
                <a16:creationId xmlns:a16="http://schemas.microsoft.com/office/drawing/2014/main" id="{E6C7ABD0-5309-43F8-B025-0C463EE99F3E}"/>
              </a:ext>
            </a:extLst>
          </p:cNvPr>
          <p:cNvCxnSpPr/>
          <p:nvPr/>
        </p:nvCxnSpPr>
        <p:spPr bwMode="auto">
          <a:xfrm>
            <a:off x="746287" y="2224918"/>
            <a:ext cx="3347303" cy="0"/>
          </a:xfrm>
          <a:prstGeom prst="line">
            <a:avLst/>
          </a:prstGeom>
          <a:noFill/>
          <a:ln w="12700" cap="flat" cmpd="sng" algn="ctr">
            <a:solidFill>
              <a:srgbClr val="000000"/>
            </a:solidFill>
            <a:prstDash val="solid"/>
            <a:headEnd type="none" w="med" len="med"/>
            <a:tailEnd type="oval" w="med" len="med"/>
          </a:ln>
          <a:effectLst/>
        </p:spPr>
      </p:cxnSp>
      <p:sp>
        <p:nvSpPr>
          <p:cNvPr id="12" name="TextBox 11">
            <a:extLst>
              <a:ext uri="{FF2B5EF4-FFF2-40B4-BE49-F238E27FC236}">
                <a16:creationId xmlns:a16="http://schemas.microsoft.com/office/drawing/2014/main" id="{5D2A541C-B511-42F2-9567-4134898BF9A4}"/>
              </a:ext>
            </a:extLst>
          </p:cNvPr>
          <p:cNvSpPr txBox="1"/>
          <p:nvPr/>
        </p:nvSpPr>
        <p:spPr bwMode="auto">
          <a:xfrm flipH="1">
            <a:off x="746287" y="3934580"/>
            <a:ext cx="2323947" cy="396000"/>
          </a:xfrm>
          <a:prstGeom prst="rect">
            <a:avLst/>
          </a:prstGeom>
          <a:noFill/>
        </p:spPr>
        <p:txBody>
          <a:bodyPr wrap="square" lIns="0" rIns="0" rtlCol="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rPr>
              <a:t>Text</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cxnSp>
        <p:nvCxnSpPr>
          <p:cNvPr id="13" name="Straight Connector 12">
            <a:extLst>
              <a:ext uri="{FF2B5EF4-FFF2-40B4-BE49-F238E27FC236}">
                <a16:creationId xmlns:a16="http://schemas.microsoft.com/office/drawing/2014/main" id="{4A84E1F7-FABA-4D27-AB85-16DE919CB685}"/>
              </a:ext>
            </a:extLst>
          </p:cNvPr>
          <p:cNvCxnSpPr/>
          <p:nvPr/>
        </p:nvCxnSpPr>
        <p:spPr bwMode="auto">
          <a:xfrm>
            <a:off x="746286" y="3937330"/>
            <a:ext cx="3347303" cy="0"/>
          </a:xfrm>
          <a:prstGeom prst="line">
            <a:avLst/>
          </a:prstGeom>
          <a:noFill/>
          <a:ln w="12700" cap="flat" cmpd="sng" algn="ctr">
            <a:solidFill>
              <a:srgbClr val="000000"/>
            </a:solidFill>
            <a:prstDash val="solid"/>
            <a:headEnd type="none" w="med" len="med"/>
            <a:tailEnd type="oval" w="med" len="med"/>
          </a:ln>
          <a:effectLst/>
        </p:spPr>
      </p:cxnSp>
      <p:sp>
        <p:nvSpPr>
          <p:cNvPr id="14" name="TextBox 13">
            <a:extLst>
              <a:ext uri="{FF2B5EF4-FFF2-40B4-BE49-F238E27FC236}">
                <a16:creationId xmlns:a16="http://schemas.microsoft.com/office/drawing/2014/main" id="{DCB1211F-6A91-4B4A-9600-9EB5C44E3E60}"/>
              </a:ext>
            </a:extLst>
          </p:cNvPr>
          <p:cNvSpPr txBox="1"/>
          <p:nvPr/>
        </p:nvSpPr>
        <p:spPr bwMode="auto">
          <a:xfrm>
            <a:off x="9115374" y="2222168"/>
            <a:ext cx="2323947" cy="630942"/>
          </a:xfrm>
          <a:prstGeom prst="rect">
            <a:avLst/>
          </a:prstGeom>
          <a:noFill/>
        </p:spPr>
        <p:txBody>
          <a:bodyPr wrap="square" lIns="0" rIns="0" rtlCol="0">
            <a:spAutoFit/>
          </a:bodyP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rPr>
              <a:t>Text</a:t>
            </a:r>
          </a:p>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cxnSp>
        <p:nvCxnSpPr>
          <p:cNvPr id="15" name="Straight Connector 14">
            <a:extLst>
              <a:ext uri="{FF2B5EF4-FFF2-40B4-BE49-F238E27FC236}">
                <a16:creationId xmlns:a16="http://schemas.microsoft.com/office/drawing/2014/main" id="{11F87A7D-2ADE-4D92-A90C-AF083C326B28}"/>
              </a:ext>
            </a:extLst>
          </p:cNvPr>
          <p:cNvCxnSpPr/>
          <p:nvPr/>
        </p:nvCxnSpPr>
        <p:spPr bwMode="auto">
          <a:xfrm flipH="1">
            <a:off x="8092019" y="2224918"/>
            <a:ext cx="3347303" cy="0"/>
          </a:xfrm>
          <a:prstGeom prst="line">
            <a:avLst/>
          </a:prstGeom>
          <a:noFill/>
          <a:ln w="12700" cap="flat" cmpd="sng" algn="ctr">
            <a:solidFill>
              <a:srgbClr val="000000"/>
            </a:solidFill>
            <a:prstDash val="solid"/>
            <a:headEnd type="none" w="med" len="med"/>
            <a:tailEnd type="oval" w="med" len="med"/>
          </a:ln>
          <a:effectLst/>
        </p:spPr>
      </p:cxnSp>
      <p:sp>
        <p:nvSpPr>
          <p:cNvPr id="16" name="TextBox 15">
            <a:extLst>
              <a:ext uri="{FF2B5EF4-FFF2-40B4-BE49-F238E27FC236}">
                <a16:creationId xmlns:a16="http://schemas.microsoft.com/office/drawing/2014/main" id="{DEC5494A-A7B2-416C-A300-7DBE2473EAEB}"/>
              </a:ext>
            </a:extLst>
          </p:cNvPr>
          <p:cNvSpPr txBox="1"/>
          <p:nvPr/>
        </p:nvSpPr>
        <p:spPr bwMode="auto">
          <a:xfrm>
            <a:off x="9115375" y="3934580"/>
            <a:ext cx="2323947" cy="630942"/>
          </a:xfrm>
          <a:prstGeom prst="rect">
            <a:avLst/>
          </a:prstGeom>
          <a:noFill/>
        </p:spPr>
        <p:txBody>
          <a:bodyPr wrap="square" lIns="0" rIns="0" rtlCol="0">
            <a:spAutoFit/>
          </a:bodyP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rPr>
              <a:t>Text</a:t>
            </a:r>
          </a:p>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Graphik"/>
              <a:ea typeface="Arial Unicode MS" pitchFamily="34" charset="-128"/>
              <a:cs typeface="Arial Unicode MS" pitchFamily="34" charset="-128"/>
            </a:endParaRPr>
          </a:p>
        </p:txBody>
      </p:sp>
      <p:cxnSp>
        <p:nvCxnSpPr>
          <p:cNvPr id="17" name="Straight Connector 16">
            <a:extLst>
              <a:ext uri="{FF2B5EF4-FFF2-40B4-BE49-F238E27FC236}">
                <a16:creationId xmlns:a16="http://schemas.microsoft.com/office/drawing/2014/main" id="{75848E77-5D6E-42CF-BEA2-AF10984739C2}"/>
              </a:ext>
            </a:extLst>
          </p:cNvPr>
          <p:cNvCxnSpPr/>
          <p:nvPr/>
        </p:nvCxnSpPr>
        <p:spPr bwMode="auto">
          <a:xfrm flipH="1">
            <a:off x="8092020" y="3937330"/>
            <a:ext cx="3347303" cy="0"/>
          </a:xfrm>
          <a:prstGeom prst="line">
            <a:avLst/>
          </a:prstGeom>
          <a:noFill/>
          <a:ln w="12700" cap="flat" cmpd="sng" algn="ctr">
            <a:solidFill>
              <a:srgbClr val="000000"/>
            </a:solidFill>
            <a:prstDash val="solid"/>
            <a:headEnd type="none" w="med" len="med"/>
            <a:tailEnd type="oval" w="med" len="med"/>
          </a:ln>
          <a:effectLst/>
        </p:spPr>
      </p:cxnSp>
      <p:sp>
        <p:nvSpPr>
          <p:cNvPr id="3" name="Rectangle 2">
            <a:hlinkClick r:id="rId3" action="ppaction://hlinksldjump"/>
            <a:extLst>
              <a:ext uri="{FF2B5EF4-FFF2-40B4-BE49-F238E27FC236}">
                <a16:creationId xmlns:a16="http://schemas.microsoft.com/office/drawing/2014/main" id="{B9275059-E149-42BE-8FA3-B4FED8354005}"/>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90575202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uzzle Pieces 3</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613D330D-EC6E-4485-B4BA-F2065BAC9B8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22" name="Group 21">
            <a:extLst>
              <a:ext uri="{FF2B5EF4-FFF2-40B4-BE49-F238E27FC236}">
                <a16:creationId xmlns:a16="http://schemas.microsoft.com/office/drawing/2014/main" id="{3757C30E-2393-4C31-94E7-0674425982E7}"/>
              </a:ext>
            </a:extLst>
          </p:cNvPr>
          <p:cNvGrpSpPr/>
          <p:nvPr/>
        </p:nvGrpSpPr>
        <p:grpSpPr>
          <a:xfrm>
            <a:off x="3472771" y="1310357"/>
            <a:ext cx="5246458" cy="4873901"/>
            <a:chOff x="3472771" y="1310357"/>
            <a:chExt cx="5246458" cy="4873901"/>
          </a:xfrm>
        </p:grpSpPr>
        <p:sp>
          <p:nvSpPr>
            <p:cNvPr id="23" name="Puzzle3">
              <a:extLst>
                <a:ext uri="{FF2B5EF4-FFF2-40B4-BE49-F238E27FC236}">
                  <a16:creationId xmlns:a16="http://schemas.microsoft.com/office/drawing/2014/main" id="{BBFEDF90-EB88-479C-8BA6-1331BBA52641}"/>
                </a:ext>
              </a:extLst>
            </p:cNvPr>
            <p:cNvSpPr>
              <a:spLocks noEditPoints="1" noChangeArrowheads="1"/>
            </p:cNvSpPr>
            <p:nvPr/>
          </p:nvSpPr>
          <p:spPr bwMode="auto">
            <a:xfrm>
              <a:off x="4959850" y="3296219"/>
              <a:ext cx="1196254" cy="1516484"/>
            </a:xfrm>
            <a:custGeom>
              <a:avLst/>
              <a:gdLst>
                <a:gd name="T0" fmla="*/ 471197 w 21600"/>
                <a:gd name="T1" fmla="*/ 853825 h 21600"/>
                <a:gd name="T2" fmla="*/ 931918 w 21600"/>
                <a:gd name="T3" fmla="*/ 1139154 h 21600"/>
                <a:gd name="T4" fmla="*/ 597668 w 21600"/>
                <a:gd name="T5" fmla="*/ 745517 h 21600"/>
                <a:gd name="T6" fmla="*/ 931918 w 21600"/>
                <a:gd name="T7" fmla="*/ 379484 h 21600"/>
                <a:gd name="T8" fmla="*/ 476140 w 21600"/>
                <a:gd name="T9" fmla="*/ 2809 h 21600"/>
                <a:gd name="T10" fmla="*/ 31380 w 21600"/>
                <a:gd name="T11" fmla="*/ 367438 h 21600"/>
                <a:gd name="T12" fmla="*/ 365675 w 21600"/>
                <a:gd name="T13" fmla="*/ 730662 h 21600"/>
                <a:gd name="T14" fmla="*/ 31380 w 21600"/>
                <a:gd name="T15" fmla="*/ 1139154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1"/>
            </a:solidFill>
            <a:ln w="19050">
              <a:solidFill>
                <a:schemeClr val="bg1"/>
              </a:solidFill>
              <a:miter lim="800000"/>
              <a:headEnd/>
              <a:tailEnd/>
            </a:ln>
          </p:spPr>
          <p:txBody>
            <a:bodyPr/>
            <a:lstStyle/>
            <a:p>
              <a:endParaRPr lang="en-US"/>
            </a:p>
          </p:txBody>
        </p:sp>
        <p:sp>
          <p:nvSpPr>
            <p:cNvPr id="24" name="Puzzle2">
              <a:extLst>
                <a:ext uri="{FF2B5EF4-FFF2-40B4-BE49-F238E27FC236}">
                  <a16:creationId xmlns:a16="http://schemas.microsoft.com/office/drawing/2014/main" id="{B0D0DD53-AE30-4189-950B-6506E044139C}"/>
                </a:ext>
              </a:extLst>
            </p:cNvPr>
            <p:cNvSpPr>
              <a:spLocks noEditPoints="1" noChangeArrowheads="1"/>
            </p:cNvSpPr>
            <p:nvPr/>
          </p:nvSpPr>
          <p:spPr bwMode="auto">
            <a:xfrm>
              <a:off x="4610862" y="4393734"/>
              <a:ext cx="1909740" cy="1400962"/>
            </a:xfrm>
            <a:custGeom>
              <a:avLst/>
              <a:gdLst>
                <a:gd name="T0" fmla="*/ 796 w 21600"/>
                <a:gd name="T1" fmla="*/ 656201 h 21600"/>
                <a:gd name="T2" fmla="*/ 304195 w 21600"/>
                <a:gd name="T3" fmla="*/ 1037343 h 21600"/>
                <a:gd name="T4" fmla="*/ 752886 w 21600"/>
                <a:gd name="T5" fmla="*/ 681839 h 21600"/>
                <a:gd name="T6" fmla="*/ 1217721 w 21600"/>
                <a:gd name="T7" fmla="*/ 1038764 h 21600"/>
                <a:gd name="T8" fmla="*/ 1563687 w 21600"/>
                <a:gd name="T9" fmla="*/ 739390 h 21600"/>
                <a:gd name="T10" fmla="*/ 1222644 w 21600"/>
                <a:gd name="T11" fmla="*/ 281334 h 21600"/>
                <a:gd name="T12" fmla="*/ 781844 w 21600"/>
                <a:gd name="T13" fmla="*/ 1373 h 21600"/>
                <a:gd name="T14" fmla="*/ 304195 w 21600"/>
                <a:gd name="T15" fmla="*/ 288932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5"/>
            </a:solidFill>
            <a:ln w="19050">
              <a:solidFill>
                <a:schemeClr val="bg1"/>
              </a:solidFill>
              <a:miter lim="800000"/>
              <a:headEnd/>
              <a:tailEnd/>
            </a:ln>
          </p:spPr>
          <p:txBody>
            <a:bodyPr/>
            <a:lstStyle/>
            <a:p>
              <a:endParaRPr lang="en-US"/>
            </a:p>
          </p:txBody>
        </p:sp>
        <p:sp>
          <p:nvSpPr>
            <p:cNvPr id="25" name="Puzzle4">
              <a:extLst>
                <a:ext uri="{FF2B5EF4-FFF2-40B4-BE49-F238E27FC236}">
                  <a16:creationId xmlns:a16="http://schemas.microsoft.com/office/drawing/2014/main" id="{7357384B-2298-4807-8DF3-63FE0C3D280B}"/>
                </a:ext>
              </a:extLst>
            </p:cNvPr>
            <p:cNvSpPr>
              <a:spLocks noEditPoints="1" noChangeArrowheads="1"/>
            </p:cNvSpPr>
            <p:nvPr/>
          </p:nvSpPr>
          <p:spPr bwMode="auto">
            <a:xfrm>
              <a:off x="3874109" y="4386322"/>
              <a:ext cx="1149723" cy="1797936"/>
            </a:xfrm>
            <a:custGeom>
              <a:avLst/>
              <a:gdLst>
                <a:gd name="T0" fmla="*/ 362042 w 21600"/>
                <a:gd name="T1" fmla="*/ 729339 h 21600"/>
                <a:gd name="T2" fmla="*/ 19743 w 21600"/>
                <a:gd name="T3" fmla="*/ 1065604 h 21600"/>
                <a:gd name="T4" fmla="*/ 501201 w 21600"/>
                <a:gd name="T5" fmla="*/ 1358900 h 21600"/>
                <a:gd name="T6" fmla="*/ 911751 w 21600"/>
                <a:gd name="T7" fmla="*/ 1053840 h 21600"/>
                <a:gd name="T8" fmla="*/ 608938 w 21600"/>
                <a:gd name="T9" fmla="*/ 684986 h 21600"/>
                <a:gd name="T10" fmla="*/ 916676 w 21600"/>
                <a:gd name="T11" fmla="*/ 296693 h 21600"/>
                <a:gd name="T12" fmla="*/ 483855 w 21600"/>
                <a:gd name="T13" fmla="*/ 692 h 21600"/>
                <a:gd name="T14" fmla="*/ 19743 w 21600"/>
                <a:gd name="T15" fmla="*/ 296693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1"/>
            </a:solidFill>
            <a:ln w="19050">
              <a:solidFill>
                <a:schemeClr val="bg1"/>
              </a:solidFill>
              <a:miter lim="800000"/>
              <a:headEnd/>
              <a:tailEnd/>
            </a:ln>
          </p:spPr>
          <p:txBody>
            <a:bodyPr/>
            <a:lstStyle/>
            <a:p>
              <a:endParaRPr lang="en-US"/>
            </a:p>
          </p:txBody>
        </p:sp>
        <p:sp>
          <p:nvSpPr>
            <p:cNvPr id="26" name="Puzzle1">
              <a:extLst>
                <a:ext uri="{FF2B5EF4-FFF2-40B4-BE49-F238E27FC236}">
                  <a16:creationId xmlns:a16="http://schemas.microsoft.com/office/drawing/2014/main" id="{B9774F1A-96D1-400B-A230-7A4F995AEE22}"/>
                </a:ext>
              </a:extLst>
            </p:cNvPr>
            <p:cNvSpPr>
              <a:spLocks noEditPoints="1" noChangeArrowheads="1"/>
            </p:cNvSpPr>
            <p:nvPr/>
          </p:nvSpPr>
          <p:spPr bwMode="auto">
            <a:xfrm>
              <a:off x="3478588" y="3747804"/>
              <a:ext cx="1934946" cy="1073301"/>
            </a:xfrm>
            <a:custGeom>
              <a:avLst/>
              <a:gdLst>
                <a:gd name="T0" fmla="*/ 1227852 w 21600"/>
                <a:gd name="T1" fmla="*/ 791609 h 21600"/>
                <a:gd name="T2" fmla="*/ 1245162 w 21600"/>
                <a:gd name="T3" fmla="*/ 19567 h 21600"/>
                <a:gd name="T4" fmla="*/ 346571 w 21600"/>
                <a:gd name="T5" fmla="*/ 32148 h 21600"/>
                <a:gd name="T6" fmla="*/ 369676 w 21600"/>
                <a:gd name="T7" fmla="*/ 788830 h 21600"/>
                <a:gd name="T8" fmla="*/ 792969 w 21600"/>
                <a:gd name="T9" fmla="*/ 483911 h 21600"/>
                <a:gd name="T10" fmla="*/ 795463 w 21600"/>
                <a:gd name="T11" fmla="*/ 327264 h 21600"/>
                <a:gd name="T12" fmla="*/ 1584325 w 21600"/>
                <a:gd name="T13" fmla="*/ 375562 h 21600"/>
                <a:gd name="T14" fmla="*/ 4108 w 21600"/>
                <a:gd name="T15" fmla="*/ 375562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tx2">
                <a:lumMod val="40000"/>
                <a:lumOff val="60000"/>
              </a:schemeClr>
            </a:solidFill>
            <a:ln w="19050">
              <a:solidFill>
                <a:schemeClr val="bg1"/>
              </a:solidFill>
              <a:miter lim="800000"/>
              <a:headEnd/>
              <a:tailEnd/>
            </a:ln>
          </p:spPr>
          <p:txBody>
            <a:bodyPr/>
            <a:lstStyle/>
            <a:p>
              <a:endParaRPr lang="en-US"/>
            </a:p>
          </p:txBody>
        </p:sp>
        <p:sp>
          <p:nvSpPr>
            <p:cNvPr id="27" name="Puzzle3">
              <a:extLst>
                <a:ext uri="{FF2B5EF4-FFF2-40B4-BE49-F238E27FC236}">
                  <a16:creationId xmlns:a16="http://schemas.microsoft.com/office/drawing/2014/main" id="{50A29695-FED1-4F6D-8F13-5A991953069D}"/>
                </a:ext>
              </a:extLst>
            </p:cNvPr>
            <p:cNvSpPr>
              <a:spLocks noEditPoints="1" noChangeArrowheads="1"/>
            </p:cNvSpPr>
            <p:nvPr/>
          </p:nvSpPr>
          <p:spPr bwMode="auto">
            <a:xfrm>
              <a:off x="4955972" y="1310357"/>
              <a:ext cx="1200132" cy="1520684"/>
            </a:xfrm>
            <a:custGeom>
              <a:avLst/>
              <a:gdLst>
                <a:gd name="T0" fmla="*/ 472724 w 21600"/>
                <a:gd name="T1" fmla="*/ 841047 h 21600"/>
                <a:gd name="T2" fmla="*/ 934939 w 21600"/>
                <a:gd name="T3" fmla="*/ 1122106 h 21600"/>
                <a:gd name="T4" fmla="*/ 599606 w 21600"/>
                <a:gd name="T5" fmla="*/ 734360 h 21600"/>
                <a:gd name="T6" fmla="*/ 934939 w 21600"/>
                <a:gd name="T7" fmla="*/ 373805 h 21600"/>
                <a:gd name="T8" fmla="*/ 477683 w 21600"/>
                <a:gd name="T9" fmla="*/ 2767 h 21600"/>
                <a:gd name="T10" fmla="*/ 31482 w 21600"/>
                <a:gd name="T11" fmla="*/ 361939 h 21600"/>
                <a:gd name="T12" fmla="*/ 366860 w 21600"/>
                <a:gd name="T13" fmla="*/ 719727 h 21600"/>
                <a:gd name="T14" fmla="*/ 31482 w 21600"/>
                <a:gd name="T15" fmla="*/ 1122106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tx2">
                <a:lumMod val="40000"/>
                <a:lumOff val="60000"/>
              </a:schemeClr>
            </a:solidFill>
            <a:ln w="19050">
              <a:solidFill>
                <a:schemeClr val="bg1"/>
              </a:solidFill>
              <a:miter lim="800000"/>
              <a:headEnd/>
              <a:tailEnd/>
            </a:ln>
          </p:spPr>
          <p:txBody>
            <a:bodyPr/>
            <a:lstStyle/>
            <a:p>
              <a:endParaRPr lang="en-US"/>
            </a:p>
          </p:txBody>
        </p:sp>
        <p:sp>
          <p:nvSpPr>
            <p:cNvPr id="28" name="Puzzle2">
              <a:extLst>
                <a:ext uri="{FF2B5EF4-FFF2-40B4-BE49-F238E27FC236}">
                  <a16:creationId xmlns:a16="http://schemas.microsoft.com/office/drawing/2014/main" id="{22603BAB-589B-492D-AEA0-F12FD5C69DB3}"/>
                </a:ext>
              </a:extLst>
            </p:cNvPr>
            <p:cNvSpPr>
              <a:spLocks noEditPoints="1" noChangeArrowheads="1"/>
            </p:cNvSpPr>
            <p:nvPr/>
          </p:nvSpPr>
          <p:spPr bwMode="auto">
            <a:xfrm>
              <a:off x="4608922" y="2423565"/>
              <a:ext cx="1911679" cy="1381858"/>
            </a:xfrm>
            <a:custGeom>
              <a:avLst/>
              <a:gdLst>
                <a:gd name="T0" fmla="*/ 797 w 21600"/>
                <a:gd name="T1" fmla="*/ 646363 h 21600"/>
                <a:gd name="T2" fmla="*/ 304504 w 21600"/>
                <a:gd name="T3" fmla="*/ 1021790 h 21600"/>
                <a:gd name="T4" fmla="*/ 753651 w 21600"/>
                <a:gd name="T5" fmla="*/ 671617 h 21600"/>
                <a:gd name="T6" fmla="*/ 1218958 w 21600"/>
                <a:gd name="T7" fmla="*/ 1023191 h 21600"/>
                <a:gd name="T8" fmla="*/ 1565275 w 21600"/>
                <a:gd name="T9" fmla="*/ 728305 h 21600"/>
                <a:gd name="T10" fmla="*/ 1223886 w 21600"/>
                <a:gd name="T11" fmla="*/ 277116 h 21600"/>
                <a:gd name="T12" fmla="*/ 782638 w 21600"/>
                <a:gd name="T13" fmla="*/ 1352 h 21600"/>
                <a:gd name="T14" fmla="*/ 304504 w 21600"/>
                <a:gd name="T15" fmla="*/ 284601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2"/>
            </a:solidFill>
            <a:ln w="19050">
              <a:solidFill>
                <a:schemeClr val="bg1"/>
              </a:solidFill>
              <a:miter lim="800000"/>
              <a:headEnd/>
              <a:tailEnd/>
            </a:ln>
          </p:spPr>
          <p:txBody>
            <a:bodyPr/>
            <a:lstStyle/>
            <a:p>
              <a:endParaRPr lang="en-US"/>
            </a:p>
          </p:txBody>
        </p:sp>
        <p:sp>
          <p:nvSpPr>
            <p:cNvPr id="29" name="Puzzle4">
              <a:extLst>
                <a:ext uri="{FF2B5EF4-FFF2-40B4-BE49-F238E27FC236}">
                  <a16:creationId xmlns:a16="http://schemas.microsoft.com/office/drawing/2014/main" id="{68DC6292-D78D-4A5B-B0A4-4FBFA5CA8C49}"/>
                </a:ext>
              </a:extLst>
            </p:cNvPr>
            <p:cNvSpPr>
              <a:spLocks noEditPoints="1" noChangeArrowheads="1"/>
            </p:cNvSpPr>
            <p:nvPr/>
          </p:nvSpPr>
          <p:spPr bwMode="auto">
            <a:xfrm>
              <a:off x="3876047" y="2409854"/>
              <a:ext cx="1147784" cy="1770630"/>
            </a:xfrm>
            <a:custGeom>
              <a:avLst/>
              <a:gdLst>
                <a:gd name="T0" fmla="*/ 361431 w 21600"/>
                <a:gd name="T1" fmla="*/ 718263 h 21600"/>
                <a:gd name="T2" fmla="*/ 19710 w 21600"/>
                <a:gd name="T3" fmla="*/ 1049421 h 21600"/>
                <a:gd name="T4" fmla="*/ 500356 w 21600"/>
                <a:gd name="T5" fmla="*/ 1338262 h 21600"/>
                <a:gd name="T6" fmla="*/ 910214 w 21600"/>
                <a:gd name="T7" fmla="*/ 1037835 h 21600"/>
                <a:gd name="T8" fmla="*/ 607911 w 21600"/>
                <a:gd name="T9" fmla="*/ 674583 h 21600"/>
                <a:gd name="T10" fmla="*/ 915130 w 21600"/>
                <a:gd name="T11" fmla="*/ 292187 h 21600"/>
                <a:gd name="T12" fmla="*/ 483040 w 21600"/>
                <a:gd name="T13" fmla="*/ 682 h 21600"/>
                <a:gd name="T14" fmla="*/ 19710 w 21600"/>
                <a:gd name="T15" fmla="*/ 292187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1"/>
            </a:solidFill>
            <a:ln w="19050">
              <a:solidFill>
                <a:schemeClr val="bg1"/>
              </a:solidFill>
              <a:miter lim="800000"/>
              <a:headEnd/>
              <a:tailEnd/>
            </a:ln>
          </p:spPr>
          <p:txBody>
            <a:bodyPr/>
            <a:lstStyle/>
            <a:p>
              <a:endParaRPr lang="en-US"/>
            </a:p>
          </p:txBody>
        </p:sp>
        <p:sp>
          <p:nvSpPr>
            <p:cNvPr id="30" name="Puzzle1">
              <a:extLst>
                <a:ext uri="{FF2B5EF4-FFF2-40B4-BE49-F238E27FC236}">
                  <a16:creationId xmlns:a16="http://schemas.microsoft.com/office/drawing/2014/main" id="{FE96F665-5C62-4BA0-9C9A-916A8152B4ED}"/>
                </a:ext>
              </a:extLst>
            </p:cNvPr>
            <p:cNvSpPr>
              <a:spLocks noEditPoints="1" noChangeArrowheads="1"/>
            </p:cNvSpPr>
            <p:nvPr/>
          </p:nvSpPr>
          <p:spPr bwMode="auto">
            <a:xfrm>
              <a:off x="3472771" y="1768242"/>
              <a:ext cx="1938824" cy="1058597"/>
            </a:xfrm>
            <a:custGeom>
              <a:avLst/>
              <a:gdLst>
                <a:gd name="T0" fmla="*/ 1230313 w 21600"/>
                <a:gd name="T1" fmla="*/ 780764 h 21600"/>
                <a:gd name="T2" fmla="*/ 1247658 w 21600"/>
                <a:gd name="T3" fmla="*/ 19299 h 21600"/>
                <a:gd name="T4" fmla="*/ 347266 w 21600"/>
                <a:gd name="T5" fmla="*/ 31708 h 21600"/>
                <a:gd name="T6" fmla="*/ 370417 w 21600"/>
                <a:gd name="T7" fmla="*/ 778023 h 21600"/>
                <a:gd name="T8" fmla="*/ 794558 w 21600"/>
                <a:gd name="T9" fmla="*/ 477282 h 21600"/>
                <a:gd name="T10" fmla="*/ 797057 w 21600"/>
                <a:gd name="T11" fmla="*/ 322781 h 21600"/>
                <a:gd name="T12" fmla="*/ 1587500 w 21600"/>
                <a:gd name="T13" fmla="*/ 370417 h 21600"/>
                <a:gd name="T14" fmla="*/ 4116 w 21600"/>
                <a:gd name="T15" fmla="*/ 370417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accent5"/>
            </a:solidFill>
            <a:ln w="19050">
              <a:solidFill>
                <a:schemeClr val="bg1"/>
              </a:solidFill>
              <a:miter lim="800000"/>
              <a:headEnd/>
              <a:tailEnd/>
            </a:ln>
          </p:spPr>
          <p:txBody>
            <a:bodyPr/>
            <a:lstStyle/>
            <a:p>
              <a:endParaRPr lang="en-US"/>
            </a:p>
          </p:txBody>
        </p:sp>
        <p:sp>
          <p:nvSpPr>
            <p:cNvPr id="31" name="Puzzle3">
              <a:extLst>
                <a:ext uri="{FF2B5EF4-FFF2-40B4-BE49-F238E27FC236}">
                  <a16:creationId xmlns:a16="http://schemas.microsoft.com/office/drawing/2014/main" id="{DC817484-8936-4558-8497-5A5149CB4597}"/>
                </a:ext>
              </a:extLst>
            </p:cNvPr>
            <p:cNvSpPr>
              <a:spLocks noEditPoints="1" noChangeArrowheads="1"/>
            </p:cNvSpPr>
            <p:nvPr/>
          </p:nvSpPr>
          <p:spPr bwMode="auto">
            <a:xfrm>
              <a:off x="7168168" y="1310357"/>
              <a:ext cx="1196255" cy="1520684"/>
            </a:xfrm>
            <a:custGeom>
              <a:avLst/>
              <a:gdLst>
                <a:gd name="T0" fmla="*/ 471197 w 21600"/>
                <a:gd name="T1" fmla="*/ 841047 h 21600"/>
                <a:gd name="T2" fmla="*/ 931919 w 21600"/>
                <a:gd name="T3" fmla="*/ 1122106 h 21600"/>
                <a:gd name="T4" fmla="*/ 597669 w 21600"/>
                <a:gd name="T5" fmla="*/ 734360 h 21600"/>
                <a:gd name="T6" fmla="*/ 931919 w 21600"/>
                <a:gd name="T7" fmla="*/ 373805 h 21600"/>
                <a:gd name="T8" fmla="*/ 476140 w 21600"/>
                <a:gd name="T9" fmla="*/ 2767 h 21600"/>
                <a:gd name="T10" fmla="*/ 31380 w 21600"/>
                <a:gd name="T11" fmla="*/ 361939 h 21600"/>
                <a:gd name="T12" fmla="*/ 365675 w 21600"/>
                <a:gd name="T13" fmla="*/ 719727 h 21600"/>
                <a:gd name="T14" fmla="*/ 31380 w 21600"/>
                <a:gd name="T15" fmla="*/ 1122106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tx2">
                <a:lumMod val="40000"/>
                <a:lumOff val="60000"/>
              </a:schemeClr>
            </a:solidFill>
            <a:ln w="19050">
              <a:solidFill>
                <a:schemeClr val="bg1"/>
              </a:solidFill>
              <a:miter lim="800000"/>
              <a:headEnd/>
              <a:tailEnd/>
            </a:ln>
          </p:spPr>
          <p:txBody>
            <a:bodyPr/>
            <a:lstStyle/>
            <a:p>
              <a:endParaRPr lang="en-US"/>
            </a:p>
          </p:txBody>
        </p:sp>
        <p:sp>
          <p:nvSpPr>
            <p:cNvPr id="32" name="Puzzle4">
              <a:extLst>
                <a:ext uri="{FF2B5EF4-FFF2-40B4-BE49-F238E27FC236}">
                  <a16:creationId xmlns:a16="http://schemas.microsoft.com/office/drawing/2014/main" id="{4D124686-651E-4C97-A0B4-55D5FF5E4318}"/>
                </a:ext>
              </a:extLst>
            </p:cNvPr>
            <p:cNvSpPr>
              <a:spLocks noEditPoints="1" noChangeArrowheads="1"/>
            </p:cNvSpPr>
            <p:nvPr/>
          </p:nvSpPr>
          <p:spPr bwMode="auto">
            <a:xfrm>
              <a:off x="6078549" y="2409854"/>
              <a:ext cx="1149724" cy="1770630"/>
            </a:xfrm>
            <a:custGeom>
              <a:avLst/>
              <a:gdLst>
                <a:gd name="T0" fmla="*/ 362042 w 21600"/>
                <a:gd name="T1" fmla="*/ 718263 h 21600"/>
                <a:gd name="T2" fmla="*/ 19743 w 21600"/>
                <a:gd name="T3" fmla="*/ 1049421 h 21600"/>
                <a:gd name="T4" fmla="*/ 501202 w 21600"/>
                <a:gd name="T5" fmla="*/ 1338262 h 21600"/>
                <a:gd name="T6" fmla="*/ 911752 w 21600"/>
                <a:gd name="T7" fmla="*/ 1037835 h 21600"/>
                <a:gd name="T8" fmla="*/ 608939 w 21600"/>
                <a:gd name="T9" fmla="*/ 674583 h 21600"/>
                <a:gd name="T10" fmla="*/ 916677 w 21600"/>
                <a:gd name="T11" fmla="*/ 292187 h 21600"/>
                <a:gd name="T12" fmla="*/ 483856 w 21600"/>
                <a:gd name="T13" fmla="*/ 682 h 21600"/>
                <a:gd name="T14" fmla="*/ 19743 w 21600"/>
                <a:gd name="T15" fmla="*/ 292187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5"/>
            </a:solidFill>
            <a:ln w="19050">
              <a:solidFill>
                <a:schemeClr val="bg1"/>
              </a:solidFill>
              <a:miter lim="800000"/>
              <a:headEnd/>
              <a:tailEnd/>
            </a:ln>
          </p:spPr>
          <p:txBody>
            <a:bodyPr/>
            <a:lstStyle/>
            <a:p>
              <a:endParaRPr lang="en-US"/>
            </a:p>
          </p:txBody>
        </p:sp>
        <p:sp>
          <p:nvSpPr>
            <p:cNvPr id="33" name="Puzzle1">
              <a:extLst>
                <a:ext uri="{FF2B5EF4-FFF2-40B4-BE49-F238E27FC236}">
                  <a16:creationId xmlns:a16="http://schemas.microsoft.com/office/drawing/2014/main" id="{C947B1AB-1C75-4537-B129-4918B37C20B2}"/>
                </a:ext>
              </a:extLst>
            </p:cNvPr>
            <p:cNvSpPr>
              <a:spLocks noEditPoints="1" noChangeArrowheads="1"/>
            </p:cNvSpPr>
            <p:nvPr/>
          </p:nvSpPr>
          <p:spPr bwMode="auto">
            <a:xfrm>
              <a:off x="5681092" y="1768242"/>
              <a:ext cx="1938824" cy="1058597"/>
            </a:xfrm>
            <a:custGeom>
              <a:avLst/>
              <a:gdLst>
                <a:gd name="T0" fmla="*/ 1230313 w 21600"/>
                <a:gd name="T1" fmla="*/ 780764 h 21600"/>
                <a:gd name="T2" fmla="*/ 1247658 w 21600"/>
                <a:gd name="T3" fmla="*/ 19299 h 21600"/>
                <a:gd name="T4" fmla="*/ 347266 w 21600"/>
                <a:gd name="T5" fmla="*/ 31708 h 21600"/>
                <a:gd name="T6" fmla="*/ 370417 w 21600"/>
                <a:gd name="T7" fmla="*/ 778023 h 21600"/>
                <a:gd name="T8" fmla="*/ 794558 w 21600"/>
                <a:gd name="T9" fmla="*/ 477282 h 21600"/>
                <a:gd name="T10" fmla="*/ 797057 w 21600"/>
                <a:gd name="T11" fmla="*/ 322781 h 21600"/>
                <a:gd name="T12" fmla="*/ 1587500 w 21600"/>
                <a:gd name="T13" fmla="*/ 370417 h 21600"/>
                <a:gd name="T14" fmla="*/ 4116 w 21600"/>
                <a:gd name="T15" fmla="*/ 370417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accent1"/>
            </a:solidFill>
            <a:ln w="19050">
              <a:solidFill>
                <a:schemeClr val="bg1"/>
              </a:solidFill>
              <a:miter lim="800000"/>
              <a:headEnd/>
              <a:tailEnd/>
            </a:ln>
          </p:spPr>
          <p:txBody>
            <a:bodyPr/>
            <a:lstStyle/>
            <a:p>
              <a:endParaRPr lang="en-US"/>
            </a:p>
          </p:txBody>
        </p:sp>
        <p:sp>
          <p:nvSpPr>
            <p:cNvPr id="34" name="Puzzle3">
              <a:extLst>
                <a:ext uri="{FF2B5EF4-FFF2-40B4-BE49-F238E27FC236}">
                  <a16:creationId xmlns:a16="http://schemas.microsoft.com/office/drawing/2014/main" id="{BE51FD06-EDD7-4BAD-9950-11BEE448108D}"/>
                </a:ext>
              </a:extLst>
            </p:cNvPr>
            <p:cNvSpPr>
              <a:spLocks noEditPoints="1" noChangeArrowheads="1"/>
            </p:cNvSpPr>
            <p:nvPr/>
          </p:nvSpPr>
          <p:spPr bwMode="auto">
            <a:xfrm>
              <a:off x="7156537" y="3296219"/>
              <a:ext cx="1198194" cy="1520684"/>
            </a:xfrm>
            <a:custGeom>
              <a:avLst/>
              <a:gdLst>
                <a:gd name="T0" fmla="*/ 471961 w 21600"/>
                <a:gd name="T1" fmla="*/ 841047 h 21600"/>
                <a:gd name="T2" fmla="*/ 933429 w 21600"/>
                <a:gd name="T3" fmla="*/ 1122106 h 21600"/>
                <a:gd name="T4" fmla="*/ 598637 w 21600"/>
                <a:gd name="T5" fmla="*/ 734360 h 21600"/>
                <a:gd name="T6" fmla="*/ 933429 w 21600"/>
                <a:gd name="T7" fmla="*/ 373805 h 21600"/>
                <a:gd name="T8" fmla="*/ 476911 w 21600"/>
                <a:gd name="T9" fmla="*/ 2767 h 21600"/>
                <a:gd name="T10" fmla="*/ 31431 w 21600"/>
                <a:gd name="T11" fmla="*/ 361939 h 21600"/>
                <a:gd name="T12" fmla="*/ 366268 w 21600"/>
                <a:gd name="T13" fmla="*/ 719727 h 21600"/>
                <a:gd name="T14" fmla="*/ 31431 w 21600"/>
                <a:gd name="T15" fmla="*/ 1122106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1"/>
            </a:solidFill>
            <a:ln w="19050">
              <a:solidFill>
                <a:schemeClr val="bg1"/>
              </a:solidFill>
              <a:miter lim="800000"/>
              <a:headEnd/>
              <a:tailEnd/>
            </a:ln>
          </p:spPr>
          <p:txBody>
            <a:bodyPr/>
            <a:lstStyle/>
            <a:p>
              <a:endParaRPr lang="en-US"/>
            </a:p>
          </p:txBody>
        </p:sp>
        <p:sp>
          <p:nvSpPr>
            <p:cNvPr id="35" name="Puzzle2">
              <a:extLst>
                <a:ext uri="{FF2B5EF4-FFF2-40B4-BE49-F238E27FC236}">
                  <a16:creationId xmlns:a16="http://schemas.microsoft.com/office/drawing/2014/main" id="{69309C2A-C856-439B-9094-BE6B10A261EE}"/>
                </a:ext>
              </a:extLst>
            </p:cNvPr>
            <p:cNvSpPr>
              <a:spLocks noEditPoints="1" noChangeArrowheads="1"/>
            </p:cNvSpPr>
            <p:nvPr/>
          </p:nvSpPr>
          <p:spPr bwMode="auto">
            <a:xfrm>
              <a:off x="6807550" y="4386324"/>
              <a:ext cx="1911679" cy="1390460"/>
            </a:xfrm>
            <a:custGeom>
              <a:avLst/>
              <a:gdLst>
                <a:gd name="T0" fmla="*/ 797 w 21600"/>
                <a:gd name="T1" fmla="*/ 651282 h 21600"/>
                <a:gd name="T2" fmla="*/ 304504 w 21600"/>
                <a:gd name="T3" fmla="*/ 1029566 h 21600"/>
                <a:gd name="T4" fmla="*/ 753651 w 21600"/>
                <a:gd name="T5" fmla="*/ 676728 h 21600"/>
                <a:gd name="T6" fmla="*/ 1218958 w 21600"/>
                <a:gd name="T7" fmla="*/ 1030977 h 21600"/>
                <a:gd name="T8" fmla="*/ 1565275 w 21600"/>
                <a:gd name="T9" fmla="*/ 733847 h 21600"/>
                <a:gd name="T10" fmla="*/ 1223886 w 21600"/>
                <a:gd name="T11" fmla="*/ 279225 h 21600"/>
                <a:gd name="T12" fmla="*/ 782638 w 21600"/>
                <a:gd name="T13" fmla="*/ 1362 h 21600"/>
                <a:gd name="T14" fmla="*/ 304504 w 21600"/>
                <a:gd name="T15" fmla="*/ 286766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5"/>
            </a:solidFill>
            <a:ln w="19050">
              <a:solidFill>
                <a:schemeClr val="bg1"/>
              </a:solidFill>
              <a:miter lim="800000"/>
              <a:headEnd/>
              <a:tailEnd/>
            </a:ln>
          </p:spPr>
          <p:txBody>
            <a:bodyPr/>
            <a:lstStyle/>
            <a:p>
              <a:endParaRPr lang="en-US"/>
            </a:p>
          </p:txBody>
        </p:sp>
        <p:sp>
          <p:nvSpPr>
            <p:cNvPr id="36" name="Puzzle4">
              <a:extLst>
                <a:ext uri="{FF2B5EF4-FFF2-40B4-BE49-F238E27FC236}">
                  <a16:creationId xmlns:a16="http://schemas.microsoft.com/office/drawing/2014/main" id="{7186EDEA-9F8F-4C01-AB63-910A93E1CCBD}"/>
                </a:ext>
              </a:extLst>
            </p:cNvPr>
            <p:cNvSpPr>
              <a:spLocks noEditPoints="1" noChangeArrowheads="1"/>
            </p:cNvSpPr>
            <p:nvPr/>
          </p:nvSpPr>
          <p:spPr bwMode="auto">
            <a:xfrm>
              <a:off x="6070797" y="4386324"/>
              <a:ext cx="1151660" cy="1770631"/>
            </a:xfrm>
            <a:custGeom>
              <a:avLst/>
              <a:gdLst>
                <a:gd name="T0" fmla="*/ 362653 w 21600"/>
                <a:gd name="T1" fmla="*/ 718263 h 21600"/>
                <a:gd name="T2" fmla="*/ 19776 w 21600"/>
                <a:gd name="T3" fmla="*/ 1049421 h 21600"/>
                <a:gd name="T4" fmla="*/ 502047 w 21600"/>
                <a:gd name="T5" fmla="*/ 1338263 h 21600"/>
                <a:gd name="T6" fmla="*/ 913289 w 21600"/>
                <a:gd name="T7" fmla="*/ 1037835 h 21600"/>
                <a:gd name="T8" fmla="*/ 609965 w 21600"/>
                <a:gd name="T9" fmla="*/ 674584 h 21600"/>
                <a:gd name="T10" fmla="*/ 918222 w 21600"/>
                <a:gd name="T11" fmla="*/ 292187 h 21600"/>
                <a:gd name="T12" fmla="*/ 484672 w 21600"/>
                <a:gd name="T13" fmla="*/ 682 h 21600"/>
                <a:gd name="T14" fmla="*/ 19776 w 21600"/>
                <a:gd name="T15" fmla="*/ 292187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1"/>
            </a:solidFill>
            <a:ln w="19050">
              <a:solidFill>
                <a:schemeClr val="bg1"/>
              </a:solidFill>
              <a:miter lim="800000"/>
              <a:headEnd/>
              <a:tailEnd/>
            </a:ln>
          </p:spPr>
          <p:txBody>
            <a:bodyPr/>
            <a:lstStyle/>
            <a:p>
              <a:endParaRPr lang="en-US"/>
            </a:p>
          </p:txBody>
        </p:sp>
        <p:sp>
          <p:nvSpPr>
            <p:cNvPr id="37" name="Puzzle1">
              <a:extLst>
                <a:ext uri="{FF2B5EF4-FFF2-40B4-BE49-F238E27FC236}">
                  <a16:creationId xmlns:a16="http://schemas.microsoft.com/office/drawing/2014/main" id="{F3758C7A-4674-469C-B651-7DA9A58F89E6}"/>
                </a:ext>
              </a:extLst>
            </p:cNvPr>
            <p:cNvSpPr>
              <a:spLocks noEditPoints="1" noChangeArrowheads="1"/>
            </p:cNvSpPr>
            <p:nvPr/>
          </p:nvSpPr>
          <p:spPr bwMode="auto">
            <a:xfrm>
              <a:off x="5671396" y="3756206"/>
              <a:ext cx="1938824" cy="1056498"/>
            </a:xfrm>
            <a:custGeom>
              <a:avLst/>
              <a:gdLst>
                <a:gd name="T0" fmla="*/ 1230313 w 21600"/>
                <a:gd name="T1" fmla="*/ 779216 h 21600"/>
                <a:gd name="T2" fmla="*/ 1247658 w 21600"/>
                <a:gd name="T3" fmla="*/ 19260 h 21600"/>
                <a:gd name="T4" fmla="*/ 347266 w 21600"/>
                <a:gd name="T5" fmla="*/ 31645 h 21600"/>
                <a:gd name="T6" fmla="*/ 370417 w 21600"/>
                <a:gd name="T7" fmla="*/ 776480 h 21600"/>
                <a:gd name="T8" fmla="*/ 794558 w 21600"/>
                <a:gd name="T9" fmla="*/ 476335 h 21600"/>
                <a:gd name="T10" fmla="*/ 797057 w 21600"/>
                <a:gd name="T11" fmla="*/ 322141 h 21600"/>
                <a:gd name="T12" fmla="*/ 1587500 w 21600"/>
                <a:gd name="T13" fmla="*/ 369682 h 21600"/>
                <a:gd name="T14" fmla="*/ 4116 w 21600"/>
                <a:gd name="T15" fmla="*/ 369682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chemeClr val="tx2">
                <a:lumMod val="40000"/>
                <a:lumOff val="60000"/>
              </a:schemeClr>
            </a:solidFill>
            <a:ln w="19050">
              <a:solidFill>
                <a:schemeClr val="bg1"/>
              </a:solidFill>
              <a:miter lim="800000"/>
              <a:headEnd/>
              <a:tailEnd/>
            </a:ln>
          </p:spPr>
          <p:txBody>
            <a:bodyPr/>
            <a:lstStyle/>
            <a:p>
              <a:endParaRPr lang="en-US"/>
            </a:p>
          </p:txBody>
        </p:sp>
        <p:sp>
          <p:nvSpPr>
            <p:cNvPr id="38" name="Puzzle2">
              <a:extLst>
                <a:ext uri="{FF2B5EF4-FFF2-40B4-BE49-F238E27FC236}">
                  <a16:creationId xmlns:a16="http://schemas.microsoft.com/office/drawing/2014/main" id="{134636D4-7F67-405D-B0C1-A9E689E45FAE}"/>
                </a:ext>
              </a:extLst>
            </p:cNvPr>
            <p:cNvSpPr>
              <a:spLocks noEditPoints="1" noChangeArrowheads="1"/>
            </p:cNvSpPr>
            <p:nvPr/>
          </p:nvSpPr>
          <p:spPr bwMode="auto">
            <a:xfrm>
              <a:off x="6807550" y="2425465"/>
              <a:ext cx="1911679" cy="1379958"/>
            </a:xfrm>
            <a:custGeom>
              <a:avLst/>
              <a:gdLst>
                <a:gd name="T0" fmla="*/ 797 w 21600"/>
                <a:gd name="T1" fmla="*/ 646363 h 21600"/>
                <a:gd name="T2" fmla="*/ 304504 w 21600"/>
                <a:gd name="T3" fmla="*/ 1021790 h 21600"/>
                <a:gd name="T4" fmla="*/ 753651 w 21600"/>
                <a:gd name="T5" fmla="*/ 671617 h 21600"/>
                <a:gd name="T6" fmla="*/ 1218958 w 21600"/>
                <a:gd name="T7" fmla="*/ 1023191 h 21600"/>
                <a:gd name="T8" fmla="*/ 1565275 w 21600"/>
                <a:gd name="T9" fmla="*/ 728305 h 21600"/>
                <a:gd name="T10" fmla="*/ 1223886 w 21600"/>
                <a:gd name="T11" fmla="*/ 277116 h 21600"/>
                <a:gd name="T12" fmla="*/ 782638 w 21600"/>
                <a:gd name="T13" fmla="*/ 1352 h 21600"/>
                <a:gd name="T14" fmla="*/ 304504 w 21600"/>
                <a:gd name="T15" fmla="*/ 284601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2"/>
            </a:solidFill>
            <a:ln w="19050">
              <a:solidFill>
                <a:schemeClr val="bg1"/>
              </a:solidFill>
              <a:miter lim="800000"/>
              <a:headEnd/>
              <a:tailEnd/>
            </a:ln>
          </p:spPr>
          <p:txBody>
            <a:bodyPr/>
            <a:lstStyle/>
            <a:p>
              <a:endParaRPr lang="en-US"/>
            </a:p>
          </p:txBody>
        </p:sp>
      </p:grpSp>
    </p:spTree>
    <p:extLst>
      <p:ext uri="{BB962C8B-B14F-4D97-AF65-F5344CB8AC3E}">
        <p14:creationId xmlns:p14="http://schemas.microsoft.com/office/powerpoint/2010/main" val="627289342"/>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Puzzle Pieces 4</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1D10311A-2F0D-4CBC-AE38-1B0406637D7D}"/>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nvGrpSpPr>
          <p:cNvPr id="17" name="Group 16">
            <a:extLst>
              <a:ext uri="{FF2B5EF4-FFF2-40B4-BE49-F238E27FC236}">
                <a16:creationId xmlns:a16="http://schemas.microsoft.com/office/drawing/2014/main" id="{D21E3D36-AFEA-48ED-9B81-A67B66C20314}"/>
              </a:ext>
            </a:extLst>
          </p:cNvPr>
          <p:cNvGrpSpPr/>
          <p:nvPr/>
        </p:nvGrpSpPr>
        <p:grpSpPr>
          <a:xfrm>
            <a:off x="3899757" y="1637926"/>
            <a:ext cx="4364346" cy="4060374"/>
            <a:chOff x="3899757" y="1637926"/>
            <a:chExt cx="4364346" cy="4060374"/>
          </a:xfrm>
        </p:grpSpPr>
        <p:sp>
          <p:nvSpPr>
            <p:cNvPr id="18" name="Rectangle 17">
              <a:extLst>
                <a:ext uri="{FF2B5EF4-FFF2-40B4-BE49-F238E27FC236}">
                  <a16:creationId xmlns:a16="http://schemas.microsoft.com/office/drawing/2014/main" id="{8F1B5E5B-322C-4E33-AC0A-EF7217BC0551}"/>
                </a:ext>
              </a:extLst>
            </p:cNvPr>
            <p:cNvSpPr/>
            <p:nvPr/>
          </p:nvSpPr>
          <p:spPr>
            <a:xfrm>
              <a:off x="5305425" y="4443413"/>
              <a:ext cx="775519" cy="89376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sp>
          <p:nvSpPr>
            <p:cNvPr id="19" name="Freeform: Shape 18">
              <a:extLst>
                <a:ext uri="{FF2B5EF4-FFF2-40B4-BE49-F238E27FC236}">
                  <a16:creationId xmlns:a16="http://schemas.microsoft.com/office/drawing/2014/main" id="{5CFA3110-FBBA-43D0-968D-9A0EE13BE647}"/>
                </a:ext>
              </a:extLst>
            </p:cNvPr>
            <p:cNvSpPr/>
            <p:nvPr/>
          </p:nvSpPr>
          <p:spPr>
            <a:xfrm>
              <a:off x="6080944" y="3528543"/>
              <a:ext cx="2183158" cy="2169757"/>
            </a:xfrm>
            <a:custGeom>
              <a:avLst/>
              <a:gdLst>
                <a:gd name="connsiteX0" fmla="*/ 1326331 w 2183158"/>
                <a:gd name="connsiteY0" fmla="*/ 0 h 2169757"/>
                <a:gd name="connsiteX1" fmla="*/ 2120081 w 2183158"/>
                <a:gd name="connsiteY1" fmla="*/ 0 h 2169757"/>
                <a:gd name="connsiteX2" fmla="*/ 2120081 w 2183158"/>
                <a:gd name="connsiteY2" fmla="*/ 71488 h 2169757"/>
                <a:gd name="connsiteX3" fmla="*/ 2180323 w 2183158"/>
                <a:gd name="connsiteY3" fmla="*/ 71488 h 2169757"/>
                <a:gd name="connsiteX4" fmla="*/ 2183158 w 2183158"/>
                <a:gd name="connsiteY4" fmla="*/ 2169757 h 2169757"/>
                <a:gd name="connsiteX5" fmla="*/ 0 w 2183158"/>
                <a:gd name="connsiteY5" fmla="*/ 2169757 h 2169757"/>
                <a:gd name="connsiteX6" fmla="*/ 0 w 2183158"/>
                <a:gd name="connsiteY6" fmla="*/ 1731200 h 2169757"/>
                <a:gd name="connsiteX7" fmla="*/ 31188 w 2183158"/>
                <a:gd name="connsiteY7" fmla="*/ 1731200 h 2169757"/>
                <a:gd name="connsiteX8" fmla="*/ 68046 w 2183158"/>
                <a:gd name="connsiteY8" fmla="*/ 1723639 h 2169757"/>
                <a:gd name="connsiteX9" fmla="*/ 99234 w 2183158"/>
                <a:gd name="connsiteY9" fmla="*/ 1714187 h 2169757"/>
                <a:gd name="connsiteX10" fmla="*/ 121916 w 2183158"/>
                <a:gd name="connsiteY10" fmla="*/ 1702845 h 2169757"/>
                <a:gd name="connsiteX11" fmla="*/ 144599 w 2183158"/>
                <a:gd name="connsiteY11" fmla="*/ 1685832 h 2169757"/>
                <a:gd name="connsiteX12" fmla="*/ 165863 w 2183158"/>
                <a:gd name="connsiteY12" fmla="*/ 1663148 h 2169757"/>
                <a:gd name="connsiteX13" fmla="*/ 188545 w 2183158"/>
                <a:gd name="connsiteY13" fmla="*/ 1638574 h 2169757"/>
                <a:gd name="connsiteX14" fmla="*/ 211227 w 2183158"/>
                <a:gd name="connsiteY14" fmla="*/ 1608328 h 2169757"/>
                <a:gd name="connsiteX15" fmla="*/ 231074 w 2183158"/>
                <a:gd name="connsiteY15" fmla="*/ 1564851 h 2169757"/>
                <a:gd name="connsiteX16" fmla="*/ 246668 w 2183158"/>
                <a:gd name="connsiteY16" fmla="*/ 1527044 h 2169757"/>
                <a:gd name="connsiteX17" fmla="*/ 258009 w 2183158"/>
                <a:gd name="connsiteY17" fmla="*/ 1498689 h 2169757"/>
                <a:gd name="connsiteX18" fmla="*/ 265098 w 2183158"/>
                <a:gd name="connsiteY18" fmla="*/ 1466554 h 2169757"/>
                <a:gd name="connsiteX19" fmla="*/ 275021 w 2183158"/>
                <a:gd name="connsiteY19" fmla="*/ 1430637 h 2169757"/>
                <a:gd name="connsiteX20" fmla="*/ 279274 w 2183158"/>
                <a:gd name="connsiteY20" fmla="*/ 1389050 h 2169757"/>
                <a:gd name="connsiteX21" fmla="*/ 279274 w 2183158"/>
                <a:gd name="connsiteY21" fmla="*/ 1356914 h 2169757"/>
                <a:gd name="connsiteX22" fmla="*/ 275021 w 2183158"/>
                <a:gd name="connsiteY22" fmla="*/ 1324779 h 2169757"/>
                <a:gd name="connsiteX23" fmla="*/ 267933 w 2183158"/>
                <a:gd name="connsiteY23" fmla="*/ 1281301 h 2169757"/>
                <a:gd name="connsiteX24" fmla="*/ 258009 w 2183158"/>
                <a:gd name="connsiteY24" fmla="*/ 1234043 h 2169757"/>
                <a:gd name="connsiteX25" fmla="*/ 248086 w 2183158"/>
                <a:gd name="connsiteY25" fmla="*/ 1192455 h 2169757"/>
                <a:gd name="connsiteX26" fmla="*/ 245251 w 2183158"/>
                <a:gd name="connsiteY26" fmla="*/ 1156539 h 2169757"/>
                <a:gd name="connsiteX27" fmla="*/ 240998 w 2183158"/>
                <a:gd name="connsiteY27" fmla="*/ 1120623 h 2169757"/>
                <a:gd name="connsiteX28" fmla="*/ 246668 w 2183158"/>
                <a:gd name="connsiteY28" fmla="*/ 1082816 h 2169757"/>
                <a:gd name="connsiteX29" fmla="*/ 258009 w 2183158"/>
                <a:gd name="connsiteY29" fmla="*/ 1050680 h 2169757"/>
                <a:gd name="connsiteX30" fmla="*/ 270768 w 2183158"/>
                <a:gd name="connsiteY30" fmla="*/ 1024216 h 2169757"/>
                <a:gd name="connsiteX31" fmla="*/ 292033 w 2183158"/>
                <a:gd name="connsiteY31" fmla="*/ 995861 h 2169757"/>
                <a:gd name="connsiteX32" fmla="*/ 310462 w 2183158"/>
                <a:gd name="connsiteY32" fmla="*/ 978848 h 2169757"/>
                <a:gd name="connsiteX33" fmla="*/ 331726 w 2183158"/>
                <a:gd name="connsiteY33" fmla="*/ 959944 h 2169757"/>
                <a:gd name="connsiteX34" fmla="*/ 357244 w 2183158"/>
                <a:gd name="connsiteY34" fmla="*/ 946712 h 2169757"/>
                <a:gd name="connsiteX35" fmla="*/ 384179 w 2183158"/>
                <a:gd name="connsiteY35" fmla="*/ 935370 h 2169757"/>
                <a:gd name="connsiteX36" fmla="*/ 416784 w 2183158"/>
                <a:gd name="connsiteY36" fmla="*/ 924028 h 2169757"/>
                <a:gd name="connsiteX37" fmla="*/ 446555 w 2183158"/>
                <a:gd name="connsiteY37" fmla="*/ 918357 h 2169757"/>
                <a:gd name="connsiteX38" fmla="*/ 486249 w 2183158"/>
                <a:gd name="connsiteY38" fmla="*/ 908905 h 2169757"/>
                <a:gd name="connsiteX39" fmla="*/ 516019 w 2183158"/>
                <a:gd name="connsiteY39" fmla="*/ 899454 h 2169757"/>
                <a:gd name="connsiteX40" fmla="*/ 544372 w 2183158"/>
                <a:gd name="connsiteY40" fmla="*/ 890002 h 2169757"/>
                <a:gd name="connsiteX41" fmla="*/ 574142 w 2183158"/>
                <a:gd name="connsiteY41" fmla="*/ 880550 h 2169757"/>
                <a:gd name="connsiteX42" fmla="*/ 605330 w 2183158"/>
                <a:gd name="connsiteY42" fmla="*/ 865428 h 2169757"/>
                <a:gd name="connsiteX43" fmla="*/ 629430 w 2183158"/>
                <a:gd name="connsiteY43" fmla="*/ 846525 h 2169757"/>
                <a:gd name="connsiteX44" fmla="*/ 645024 w 2183158"/>
                <a:gd name="connsiteY44" fmla="*/ 825731 h 2169757"/>
                <a:gd name="connsiteX45" fmla="*/ 656365 w 2183158"/>
                <a:gd name="connsiteY45" fmla="*/ 797376 h 2169757"/>
                <a:gd name="connsiteX46" fmla="*/ 663453 w 2183158"/>
                <a:gd name="connsiteY46" fmla="*/ 765240 h 2169757"/>
                <a:gd name="connsiteX47" fmla="*/ 669124 w 2183158"/>
                <a:gd name="connsiteY47" fmla="*/ 736885 h 2169757"/>
                <a:gd name="connsiteX48" fmla="*/ 670541 w 2183158"/>
                <a:gd name="connsiteY48" fmla="*/ 699079 h 2169757"/>
                <a:gd name="connsiteX49" fmla="*/ 669124 w 2183158"/>
                <a:gd name="connsiteY49" fmla="*/ 663162 h 2169757"/>
                <a:gd name="connsiteX50" fmla="*/ 664871 w 2183158"/>
                <a:gd name="connsiteY50" fmla="*/ 629136 h 2169757"/>
                <a:gd name="connsiteX51" fmla="*/ 669124 w 2183158"/>
                <a:gd name="connsiteY51" fmla="*/ 597001 h 2169757"/>
                <a:gd name="connsiteX52" fmla="*/ 676212 w 2183158"/>
                <a:gd name="connsiteY52" fmla="*/ 566755 h 2169757"/>
                <a:gd name="connsiteX53" fmla="*/ 693223 w 2183158"/>
                <a:gd name="connsiteY53" fmla="*/ 538400 h 2169757"/>
                <a:gd name="connsiteX54" fmla="*/ 710235 w 2183158"/>
                <a:gd name="connsiteY54" fmla="*/ 511936 h 2169757"/>
                <a:gd name="connsiteX55" fmla="*/ 737170 w 2183158"/>
                <a:gd name="connsiteY55" fmla="*/ 491142 h 2169757"/>
                <a:gd name="connsiteX56" fmla="*/ 761270 w 2183158"/>
                <a:gd name="connsiteY56" fmla="*/ 476019 h 2169757"/>
                <a:gd name="connsiteX57" fmla="*/ 795293 w 2183158"/>
                <a:gd name="connsiteY57" fmla="*/ 464677 h 2169757"/>
                <a:gd name="connsiteX58" fmla="*/ 827899 w 2183158"/>
                <a:gd name="connsiteY58" fmla="*/ 460897 h 2169757"/>
                <a:gd name="connsiteX59" fmla="*/ 859087 w 2183158"/>
                <a:gd name="connsiteY59" fmla="*/ 455226 h 2169757"/>
                <a:gd name="connsiteX60" fmla="*/ 897363 w 2183158"/>
                <a:gd name="connsiteY60" fmla="*/ 455226 h 2169757"/>
                <a:gd name="connsiteX61" fmla="*/ 931386 w 2183158"/>
                <a:gd name="connsiteY61" fmla="*/ 460897 h 2169757"/>
                <a:gd name="connsiteX62" fmla="*/ 962574 w 2183158"/>
                <a:gd name="connsiteY62" fmla="*/ 462787 h 2169757"/>
                <a:gd name="connsiteX63" fmla="*/ 988091 w 2183158"/>
                <a:gd name="connsiteY63" fmla="*/ 464677 h 2169757"/>
                <a:gd name="connsiteX64" fmla="*/ 1017862 w 2183158"/>
                <a:gd name="connsiteY64" fmla="*/ 468458 h 2169757"/>
                <a:gd name="connsiteX65" fmla="*/ 1049050 w 2183158"/>
                <a:gd name="connsiteY65" fmla="*/ 468458 h 2169757"/>
                <a:gd name="connsiteX66" fmla="*/ 1074567 w 2183158"/>
                <a:gd name="connsiteY66" fmla="*/ 466568 h 2169757"/>
                <a:gd name="connsiteX67" fmla="*/ 1100085 w 2183158"/>
                <a:gd name="connsiteY67" fmla="*/ 462787 h 2169757"/>
                <a:gd name="connsiteX68" fmla="*/ 1125602 w 2183158"/>
                <a:gd name="connsiteY68" fmla="*/ 453335 h 2169757"/>
                <a:gd name="connsiteX69" fmla="*/ 1145449 w 2183158"/>
                <a:gd name="connsiteY69" fmla="*/ 438213 h 2169757"/>
                <a:gd name="connsiteX70" fmla="*/ 1165296 w 2183158"/>
                <a:gd name="connsiteY70" fmla="*/ 417419 h 2169757"/>
                <a:gd name="connsiteX71" fmla="*/ 1178055 w 2183158"/>
                <a:gd name="connsiteY71" fmla="*/ 392845 h 2169757"/>
                <a:gd name="connsiteX72" fmla="*/ 1187978 w 2183158"/>
                <a:gd name="connsiteY72" fmla="*/ 366380 h 2169757"/>
                <a:gd name="connsiteX73" fmla="*/ 1195066 w 2183158"/>
                <a:gd name="connsiteY73" fmla="*/ 326683 h 2169757"/>
                <a:gd name="connsiteX74" fmla="*/ 1199319 w 2183158"/>
                <a:gd name="connsiteY74" fmla="*/ 285096 h 2169757"/>
                <a:gd name="connsiteX75" fmla="*/ 1199319 w 2183158"/>
                <a:gd name="connsiteY75" fmla="*/ 247289 h 2169757"/>
                <a:gd name="connsiteX76" fmla="*/ 1200737 w 2183158"/>
                <a:gd name="connsiteY76" fmla="*/ 205702 h 2169757"/>
                <a:gd name="connsiteX77" fmla="*/ 1204990 w 2183158"/>
                <a:gd name="connsiteY77" fmla="*/ 154663 h 2169757"/>
                <a:gd name="connsiteX78" fmla="*/ 1200737 w 2183158"/>
                <a:gd name="connsiteY78" fmla="*/ 80940 h 2169757"/>
                <a:gd name="connsiteX79" fmla="*/ 1326331 w 2183158"/>
                <a:gd name="connsiteY79" fmla="*/ 80940 h 216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183158" h="2169757">
                  <a:moveTo>
                    <a:pt x="1326331" y="0"/>
                  </a:moveTo>
                  <a:lnTo>
                    <a:pt x="2120081" y="0"/>
                  </a:lnTo>
                  <a:lnTo>
                    <a:pt x="2120081" y="71488"/>
                  </a:lnTo>
                  <a:lnTo>
                    <a:pt x="2180323" y="71488"/>
                  </a:lnTo>
                  <a:lnTo>
                    <a:pt x="2183158" y="2169757"/>
                  </a:lnTo>
                  <a:lnTo>
                    <a:pt x="0" y="2169757"/>
                  </a:lnTo>
                  <a:lnTo>
                    <a:pt x="0" y="1731200"/>
                  </a:lnTo>
                  <a:lnTo>
                    <a:pt x="31188" y="1731200"/>
                  </a:lnTo>
                  <a:lnTo>
                    <a:pt x="68046" y="1723639"/>
                  </a:lnTo>
                  <a:lnTo>
                    <a:pt x="99234" y="1714187"/>
                  </a:lnTo>
                  <a:lnTo>
                    <a:pt x="121916" y="1702845"/>
                  </a:lnTo>
                  <a:lnTo>
                    <a:pt x="144599" y="1685832"/>
                  </a:lnTo>
                  <a:lnTo>
                    <a:pt x="165863" y="1663148"/>
                  </a:lnTo>
                  <a:lnTo>
                    <a:pt x="188545" y="1638574"/>
                  </a:lnTo>
                  <a:lnTo>
                    <a:pt x="211227" y="1608328"/>
                  </a:lnTo>
                  <a:lnTo>
                    <a:pt x="231074" y="1564851"/>
                  </a:lnTo>
                  <a:lnTo>
                    <a:pt x="246668" y="1527044"/>
                  </a:lnTo>
                  <a:lnTo>
                    <a:pt x="258009" y="1498689"/>
                  </a:lnTo>
                  <a:lnTo>
                    <a:pt x="265098" y="1466554"/>
                  </a:lnTo>
                  <a:lnTo>
                    <a:pt x="275021" y="1430637"/>
                  </a:lnTo>
                  <a:lnTo>
                    <a:pt x="279274" y="1389050"/>
                  </a:lnTo>
                  <a:lnTo>
                    <a:pt x="279274" y="1356914"/>
                  </a:lnTo>
                  <a:lnTo>
                    <a:pt x="275021" y="1324779"/>
                  </a:lnTo>
                  <a:lnTo>
                    <a:pt x="267933" y="1281301"/>
                  </a:lnTo>
                  <a:lnTo>
                    <a:pt x="258009" y="1234043"/>
                  </a:lnTo>
                  <a:lnTo>
                    <a:pt x="248086" y="1192455"/>
                  </a:lnTo>
                  <a:lnTo>
                    <a:pt x="245251" y="1156539"/>
                  </a:lnTo>
                  <a:lnTo>
                    <a:pt x="240998" y="1120623"/>
                  </a:lnTo>
                  <a:lnTo>
                    <a:pt x="246668" y="1082816"/>
                  </a:lnTo>
                  <a:lnTo>
                    <a:pt x="258009" y="1050680"/>
                  </a:lnTo>
                  <a:lnTo>
                    <a:pt x="270768" y="1024216"/>
                  </a:lnTo>
                  <a:lnTo>
                    <a:pt x="292033" y="995861"/>
                  </a:lnTo>
                  <a:lnTo>
                    <a:pt x="310462" y="978848"/>
                  </a:lnTo>
                  <a:lnTo>
                    <a:pt x="331726" y="959944"/>
                  </a:lnTo>
                  <a:lnTo>
                    <a:pt x="357244" y="946712"/>
                  </a:lnTo>
                  <a:lnTo>
                    <a:pt x="384179" y="935370"/>
                  </a:lnTo>
                  <a:lnTo>
                    <a:pt x="416784" y="924028"/>
                  </a:lnTo>
                  <a:lnTo>
                    <a:pt x="446555" y="918357"/>
                  </a:lnTo>
                  <a:lnTo>
                    <a:pt x="486249" y="908905"/>
                  </a:lnTo>
                  <a:lnTo>
                    <a:pt x="516019" y="899454"/>
                  </a:lnTo>
                  <a:lnTo>
                    <a:pt x="544372" y="890002"/>
                  </a:lnTo>
                  <a:lnTo>
                    <a:pt x="574142" y="880550"/>
                  </a:lnTo>
                  <a:lnTo>
                    <a:pt x="605330" y="865428"/>
                  </a:lnTo>
                  <a:lnTo>
                    <a:pt x="629430" y="846525"/>
                  </a:lnTo>
                  <a:lnTo>
                    <a:pt x="645024" y="825731"/>
                  </a:lnTo>
                  <a:lnTo>
                    <a:pt x="656365" y="797376"/>
                  </a:lnTo>
                  <a:lnTo>
                    <a:pt x="663453" y="765240"/>
                  </a:lnTo>
                  <a:lnTo>
                    <a:pt x="669124" y="736885"/>
                  </a:lnTo>
                  <a:lnTo>
                    <a:pt x="670541" y="699079"/>
                  </a:lnTo>
                  <a:lnTo>
                    <a:pt x="669124" y="663162"/>
                  </a:lnTo>
                  <a:lnTo>
                    <a:pt x="664871" y="629136"/>
                  </a:lnTo>
                  <a:lnTo>
                    <a:pt x="669124" y="597001"/>
                  </a:lnTo>
                  <a:lnTo>
                    <a:pt x="676212" y="566755"/>
                  </a:lnTo>
                  <a:lnTo>
                    <a:pt x="693223" y="538400"/>
                  </a:lnTo>
                  <a:lnTo>
                    <a:pt x="710235" y="511936"/>
                  </a:lnTo>
                  <a:lnTo>
                    <a:pt x="737170" y="491142"/>
                  </a:lnTo>
                  <a:lnTo>
                    <a:pt x="761270" y="476019"/>
                  </a:lnTo>
                  <a:lnTo>
                    <a:pt x="795293" y="464677"/>
                  </a:lnTo>
                  <a:lnTo>
                    <a:pt x="827899" y="460897"/>
                  </a:lnTo>
                  <a:lnTo>
                    <a:pt x="859087" y="455226"/>
                  </a:lnTo>
                  <a:lnTo>
                    <a:pt x="897363" y="455226"/>
                  </a:lnTo>
                  <a:lnTo>
                    <a:pt x="931386" y="460897"/>
                  </a:lnTo>
                  <a:lnTo>
                    <a:pt x="962574" y="462787"/>
                  </a:lnTo>
                  <a:lnTo>
                    <a:pt x="988091" y="464677"/>
                  </a:lnTo>
                  <a:lnTo>
                    <a:pt x="1017862" y="468458"/>
                  </a:lnTo>
                  <a:lnTo>
                    <a:pt x="1049050" y="468458"/>
                  </a:lnTo>
                  <a:lnTo>
                    <a:pt x="1074567" y="466568"/>
                  </a:lnTo>
                  <a:lnTo>
                    <a:pt x="1100085" y="462787"/>
                  </a:lnTo>
                  <a:lnTo>
                    <a:pt x="1125602" y="453335"/>
                  </a:lnTo>
                  <a:lnTo>
                    <a:pt x="1145449" y="438213"/>
                  </a:lnTo>
                  <a:lnTo>
                    <a:pt x="1165296" y="417419"/>
                  </a:lnTo>
                  <a:lnTo>
                    <a:pt x="1178055" y="392845"/>
                  </a:lnTo>
                  <a:lnTo>
                    <a:pt x="1187978" y="366380"/>
                  </a:lnTo>
                  <a:lnTo>
                    <a:pt x="1195066" y="326683"/>
                  </a:lnTo>
                  <a:lnTo>
                    <a:pt x="1199319" y="285096"/>
                  </a:lnTo>
                  <a:lnTo>
                    <a:pt x="1199319" y="247289"/>
                  </a:lnTo>
                  <a:lnTo>
                    <a:pt x="1200737" y="205702"/>
                  </a:lnTo>
                  <a:lnTo>
                    <a:pt x="1204990" y="154663"/>
                  </a:lnTo>
                  <a:lnTo>
                    <a:pt x="1200737" y="80940"/>
                  </a:lnTo>
                  <a:lnTo>
                    <a:pt x="1326331" y="80940"/>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sp>
          <p:nvSpPr>
            <p:cNvPr id="20" name="Freeform: Shape 19">
              <a:extLst>
                <a:ext uri="{FF2B5EF4-FFF2-40B4-BE49-F238E27FC236}">
                  <a16:creationId xmlns:a16="http://schemas.microsoft.com/office/drawing/2014/main" id="{8EE93A8F-7192-4AA4-A42D-C576966E2BE4}"/>
                </a:ext>
              </a:extLst>
            </p:cNvPr>
            <p:cNvSpPr/>
            <p:nvPr/>
          </p:nvSpPr>
          <p:spPr>
            <a:xfrm>
              <a:off x="3899758" y="1637926"/>
              <a:ext cx="2187099" cy="2162549"/>
            </a:xfrm>
            <a:custGeom>
              <a:avLst/>
              <a:gdLst>
                <a:gd name="connsiteX0" fmla="*/ 0 w 2187099"/>
                <a:gd name="connsiteY0" fmla="*/ 0 h 2162549"/>
                <a:gd name="connsiteX1" fmla="*/ 2187099 w 2187099"/>
                <a:gd name="connsiteY1" fmla="*/ 0 h 2162549"/>
                <a:gd name="connsiteX2" fmla="*/ 2187099 w 2187099"/>
                <a:gd name="connsiteY2" fmla="*/ 521731 h 2162549"/>
                <a:gd name="connsiteX3" fmla="*/ 2153014 w 2187099"/>
                <a:gd name="connsiteY3" fmla="*/ 521731 h 2162549"/>
                <a:gd name="connsiteX4" fmla="*/ 2118930 w 2187099"/>
                <a:gd name="connsiteY4" fmla="*/ 521731 h 2162549"/>
                <a:gd name="connsiteX5" fmla="*/ 2091946 w 2187099"/>
                <a:gd name="connsiteY5" fmla="*/ 527402 h 2162549"/>
                <a:gd name="connsiteX6" fmla="*/ 2064962 w 2187099"/>
                <a:gd name="connsiteY6" fmla="*/ 534964 h 2162549"/>
                <a:gd name="connsiteX7" fmla="*/ 2037979 w 2187099"/>
                <a:gd name="connsiteY7" fmla="*/ 546306 h 2162549"/>
                <a:gd name="connsiteX8" fmla="*/ 2009575 w 2187099"/>
                <a:gd name="connsiteY8" fmla="*/ 567099 h 2162549"/>
                <a:gd name="connsiteX9" fmla="*/ 1984011 w 2187099"/>
                <a:gd name="connsiteY9" fmla="*/ 591674 h 2162549"/>
                <a:gd name="connsiteX10" fmla="*/ 1962709 w 2187099"/>
                <a:gd name="connsiteY10" fmla="*/ 620029 h 2162549"/>
                <a:gd name="connsiteX11" fmla="*/ 1949388 w 2187099"/>
                <a:gd name="connsiteY11" fmla="*/ 641850 h 2162549"/>
                <a:gd name="connsiteX12" fmla="*/ 2089742 w 2187099"/>
                <a:gd name="connsiteY12" fmla="*/ 641850 h 2162549"/>
                <a:gd name="connsiteX13" fmla="*/ 2089742 w 2187099"/>
                <a:gd name="connsiteY13" fmla="*/ 1289550 h 2162549"/>
                <a:gd name="connsiteX14" fmla="*/ 1615987 w 2187099"/>
                <a:gd name="connsiteY14" fmla="*/ 1289550 h 2162549"/>
                <a:gd name="connsiteX15" fmla="*/ 1611921 w 2187099"/>
                <a:gd name="connsiteY15" fmla="*/ 1291097 h 2162549"/>
                <a:gd name="connsiteX16" fmla="*/ 1580676 w 2187099"/>
                <a:gd name="connsiteY16" fmla="*/ 1304329 h 2162549"/>
                <a:gd name="connsiteX17" fmla="*/ 1556533 w 2187099"/>
                <a:gd name="connsiteY17" fmla="*/ 1323232 h 2162549"/>
                <a:gd name="connsiteX18" fmla="*/ 1542331 w 2187099"/>
                <a:gd name="connsiteY18" fmla="*/ 1344026 h 2162549"/>
                <a:gd name="connsiteX19" fmla="*/ 1530969 w 2187099"/>
                <a:gd name="connsiteY19" fmla="*/ 1372381 h 2162549"/>
                <a:gd name="connsiteX20" fmla="*/ 1522448 w 2187099"/>
                <a:gd name="connsiteY20" fmla="*/ 1404517 h 2162549"/>
                <a:gd name="connsiteX21" fmla="*/ 1516768 w 2187099"/>
                <a:gd name="connsiteY21" fmla="*/ 1432871 h 2162549"/>
                <a:gd name="connsiteX22" fmla="*/ 1515347 w 2187099"/>
                <a:gd name="connsiteY22" fmla="*/ 1470678 h 2162549"/>
                <a:gd name="connsiteX23" fmla="*/ 1516768 w 2187099"/>
                <a:gd name="connsiteY23" fmla="*/ 1506594 h 2162549"/>
                <a:gd name="connsiteX24" fmla="*/ 1521028 w 2187099"/>
                <a:gd name="connsiteY24" fmla="*/ 1540620 h 2162549"/>
                <a:gd name="connsiteX25" fmla="*/ 1516768 w 2187099"/>
                <a:gd name="connsiteY25" fmla="*/ 1574646 h 2162549"/>
                <a:gd name="connsiteX26" fmla="*/ 1509667 w 2187099"/>
                <a:gd name="connsiteY26" fmla="*/ 1603001 h 2162549"/>
                <a:gd name="connsiteX27" fmla="*/ 1492624 w 2187099"/>
                <a:gd name="connsiteY27" fmla="*/ 1631356 h 2162549"/>
                <a:gd name="connsiteX28" fmla="*/ 1475582 w 2187099"/>
                <a:gd name="connsiteY28" fmla="*/ 1659711 h 2162549"/>
                <a:gd name="connsiteX29" fmla="*/ 1448598 w 2187099"/>
                <a:gd name="connsiteY29" fmla="*/ 1678615 h 2162549"/>
                <a:gd name="connsiteX30" fmla="*/ 1424455 w 2187099"/>
                <a:gd name="connsiteY30" fmla="*/ 1693737 h 2162549"/>
                <a:gd name="connsiteX31" fmla="*/ 1390370 w 2187099"/>
                <a:gd name="connsiteY31" fmla="*/ 1703189 h 2162549"/>
                <a:gd name="connsiteX32" fmla="*/ 1359126 w 2187099"/>
                <a:gd name="connsiteY32" fmla="*/ 1710750 h 2162549"/>
                <a:gd name="connsiteX33" fmla="*/ 1326461 w 2187099"/>
                <a:gd name="connsiteY33" fmla="*/ 1714531 h 2162549"/>
                <a:gd name="connsiteX34" fmla="*/ 1288116 w 2187099"/>
                <a:gd name="connsiteY34" fmla="*/ 1714531 h 2162549"/>
                <a:gd name="connsiteX35" fmla="*/ 1254031 w 2187099"/>
                <a:gd name="connsiteY35" fmla="*/ 1710750 h 2162549"/>
                <a:gd name="connsiteX36" fmla="*/ 1222787 w 2187099"/>
                <a:gd name="connsiteY36" fmla="*/ 1706970 h 2162549"/>
                <a:gd name="connsiteX37" fmla="*/ 1197223 w 2187099"/>
                <a:gd name="connsiteY37" fmla="*/ 1703189 h 2162549"/>
                <a:gd name="connsiteX38" fmla="*/ 1167399 w 2187099"/>
                <a:gd name="connsiteY38" fmla="*/ 1701299 h 2162549"/>
                <a:gd name="connsiteX39" fmla="*/ 1136155 w 2187099"/>
                <a:gd name="connsiteY39" fmla="*/ 1701299 h 2162549"/>
                <a:gd name="connsiteX40" fmla="*/ 1110592 w 2187099"/>
                <a:gd name="connsiteY40" fmla="*/ 1703189 h 2162549"/>
                <a:gd name="connsiteX41" fmla="*/ 1085028 w 2187099"/>
                <a:gd name="connsiteY41" fmla="*/ 1706970 h 2162549"/>
                <a:gd name="connsiteX42" fmla="*/ 1059465 w 2187099"/>
                <a:gd name="connsiteY42" fmla="*/ 1716421 h 2162549"/>
                <a:gd name="connsiteX43" fmla="*/ 1039582 w 2187099"/>
                <a:gd name="connsiteY43" fmla="*/ 1731544 h 2162549"/>
                <a:gd name="connsiteX44" fmla="*/ 1019699 w 2187099"/>
                <a:gd name="connsiteY44" fmla="*/ 1752338 h 2162549"/>
                <a:gd name="connsiteX45" fmla="*/ 1006917 w 2187099"/>
                <a:gd name="connsiteY45" fmla="*/ 1776912 h 2162549"/>
                <a:gd name="connsiteX46" fmla="*/ 998396 w 2187099"/>
                <a:gd name="connsiteY46" fmla="*/ 1803376 h 2162549"/>
                <a:gd name="connsiteX47" fmla="*/ 989875 w 2187099"/>
                <a:gd name="connsiteY47" fmla="*/ 1844964 h 2162549"/>
                <a:gd name="connsiteX48" fmla="*/ 987035 w 2187099"/>
                <a:gd name="connsiteY48" fmla="*/ 1884661 h 2162549"/>
                <a:gd name="connsiteX49" fmla="*/ 984194 w 2187099"/>
                <a:gd name="connsiteY49" fmla="*/ 1922467 h 2162549"/>
                <a:gd name="connsiteX50" fmla="*/ 984194 w 2187099"/>
                <a:gd name="connsiteY50" fmla="*/ 1962164 h 2162549"/>
                <a:gd name="connsiteX51" fmla="*/ 981354 w 2187099"/>
                <a:gd name="connsiteY51" fmla="*/ 2015094 h 2162549"/>
                <a:gd name="connsiteX52" fmla="*/ 984194 w 2187099"/>
                <a:gd name="connsiteY52" fmla="*/ 2088817 h 2162549"/>
                <a:gd name="connsiteX53" fmla="*/ 848455 w 2187099"/>
                <a:gd name="connsiteY53" fmla="*/ 2088817 h 2162549"/>
                <a:gd name="connsiteX54" fmla="*/ 848455 w 2187099"/>
                <a:gd name="connsiteY54" fmla="*/ 2162549 h 2162549"/>
                <a:gd name="connsiteX55" fmla="*/ 86455 w 2187099"/>
                <a:gd name="connsiteY55" fmla="*/ 2162549 h 2162549"/>
                <a:gd name="connsiteX56" fmla="*/ 86455 w 2187099"/>
                <a:gd name="connsiteY56" fmla="*/ 2098268 h 2162549"/>
                <a:gd name="connsiteX57" fmla="*/ 2840 w 2187099"/>
                <a:gd name="connsiteY57" fmla="*/ 2098268 h 216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87099" h="2162549">
                  <a:moveTo>
                    <a:pt x="0" y="0"/>
                  </a:moveTo>
                  <a:lnTo>
                    <a:pt x="2187099" y="0"/>
                  </a:lnTo>
                  <a:lnTo>
                    <a:pt x="2187099" y="521731"/>
                  </a:lnTo>
                  <a:lnTo>
                    <a:pt x="2153014" y="521731"/>
                  </a:lnTo>
                  <a:lnTo>
                    <a:pt x="2118930" y="521731"/>
                  </a:lnTo>
                  <a:lnTo>
                    <a:pt x="2091946" y="527402"/>
                  </a:lnTo>
                  <a:lnTo>
                    <a:pt x="2064962" y="534964"/>
                  </a:lnTo>
                  <a:lnTo>
                    <a:pt x="2037979" y="546306"/>
                  </a:lnTo>
                  <a:lnTo>
                    <a:pt x="2009575" y="567099"/>
                  </a:lnTo>
                  <a:lnTo>
                    <a:pt x="1984011" y="591674"/>
                  </a:lnTo>
                  <a:lnTo>
                    <a:pt x="1962709" y="620029"/>
                  </a:lnTo>
                  <a:lnTo>
                    <a:pt x="1949388" y="641850"/>
                  </a:lnTo>
                  <a:lnTo>
                    <a:pt x="2089742" y="641850"/>
                  </a:lnTo>
                  <a:lnTo>
                    <a:pt x="2089742" y="1289550"/>
                  </a:lnTo>
                  <a:lnTo>
                    <a:pt x="1615987" y="1289550"/>
                  </a:lnTo>
                  <a:lnTo>
                    <a:pt x="1611921" y="1291097"/>
                  </a:lnTo>
                  <a:lnTo>
                    <a:pt x="1580676" y="1304329"/>
                  </a:lnTo>
                  <a:lnTo>
                    <a:pt x="1556533" y="1323232"/>
                  </a:lnTo>
                  <a:lnTo>
                    <a:pt x="1542331" y="1344026"/>
                  </a:lnTo>
                  <a:lnTo>
                    <a:pt x="1530969" y="1372381"/>
                  </a:lnTo>
                  <a:lnTo>
                    <a:pt x="1522448" y="1404517"/>
                  </a:lnTo>
                  <a:lnTo>
                    <a:pt x="1516768" y="1432871"/>
                  </a:lnTo>
                  <a:lnTo>
                    <a:pt x="1515347" y="1470678"/>
                  </a:lnTo>
                  <a:lnTo>
                    <a:pt x="1516768" y="1506594"/>
                  </a:lnTo>
                  <a:lnTo>
                    <a:pt x="1521028" y="1540620"/>
                  </a:lnTo>
                  <a:lnTo>
                    <a:pt x="1516768" y="1574646"/>
                  </a:lnTo>
                  <a:lnTo>
                    <a:pt x="1509667" y="1603001"/>
                  </a:lnTo>
                  <a:lnTo>
                    <a:pt x="1492624" y="1631356"/>
                  </a:lnTo>
                  <a:lnTo>
                    <a:pt x="1475582" y="1659711"/>
                  </a:lnTo>
                  <a:lnTo>
                    <a:pt x="1448598" y="1678615"/>
                  </a:lnTo>
                  <a:lnTo>
                    <a:pt x="1424455" y="1693737"/>
                  </a:lnTo>
                  <a:lnTo>
                    <a:pt x="1390370" y="1703189"/>
                  </a:lnTo>
                  <a:lnTo>
                    <a:pt x="1359126" y="1710750"/>
                  </a:lnTo>
                  <a:lnTo>
                    <a:pt x="1326461" y="1714531"/>
                  </a:lnTo>
                  <a:lnTo>
                    <a:pt x="1288116" y="1714531"/>
                  </a:lnTo>
                  <a:lnTo>
                    <a:pt x="1254031" y="1710750"/>
                  </a:lnTo>
                  <a:lnTo>
                    <a:pt x="1222787" y="1706970"/>
                  </a:lnTo>
                  <a:lnTo>
                    <a:pt x="1197223" y="1703189"/>
                  </a:lnTo>
                  <a:lnTo>
                    <a:pt x="1167399" y="1701299"/>
                  </a:lnTo>
                  <a:lnTo>
                    <a:pt x="1136155" y="1701299"/>
                  </a:lnTo>
                  <a:lnTo>
                    <a:pt x="1110592" y="1703189"/>
                  </a:lnTo>
                  <a:lnTo>
                    <a:pt x="1085028" y="1706970"/>
                  </a:lnTo>
                  <a:lnTo>
                    <a:pt x="1059465" y="1716421"/>
                  </a:lnTo>
                  <a:lnTo>
                    <a:pt x="1039582" y="1731544"/>
                  </a:lnTo>
                  <a:lnTo>
                    <a:pt x="1019699" y="1752338"/>
                  </a:lnTo>
                  <a:lnTo>
                    <a:pt x="1006917" y="1776912"/>
                  </a:lnTo>
                  <a:lnTo>
                    <a:pt x="998396" y="1803376"/>
                  </a:lnTo>
                  <a:lnTo>
                    <a:pt x="989875" y="1844964"/>
                  </a:lnTo>
                  <a:lnTo>
                    <a:pt x="987035" y="1884661"/>
                  </a:lnTo>
                  <a:lnTo>
                    <a:pt x="984194" y="1922467"/>
                  </a:lnTo>
                  <a:lnTo>
                    <a:pt x="984194" y="1962164"/>
                  </a:lnTo>
                  <a:lnTo>
                    <a:pt x="981354" y="2015094"/>
                  </a:lnTo>
                  <a:lnTo>
                    <a:pt x="984194" y="2088817"/>
                  </a:lnTo>
                  <a:lnTo>
                    <a:pt x="848455" y="2088817"/>
                  </a:lnTo>
                  <a:lnTo>
                    <a:pt x="848455" y="2162549"/>
                  </a:lnTo>
                  <a:lnTo>
                    <a:pt x="86455" y="2162549"/>
                  </a:lnTo>
                  <a:lnTo>
                    <a:pt x="86455" y="2098268"/>
                  </a:lnTo>
                  <a:lnTo>
                    <a:pt x="2840" y="2098268"/>
                  </a:lnTo>
                  <a:close/>
                </a:path>
              </a:pathLst>
            </a:cu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sp>
          <p:nvSpPr>
            <p:cNvPr id="21" name="Freeform 3">
              <a:extLst>
                <a:ext uri="{FF2B5EF4-FFF2-40B4-BE49-F238E27FC236}">
                  <a16:creationId xmlns:a16="http://schemas.microsoft.com/office/drawing/2014/main" id="{F98730A0-E9EB-4538-AFC3-CF44FFC66F71}"/>
                </a:ext>
              </a:extLst>
            </p:cNvPr>
            <p:cNvSpPr>
              <a:spLocks/>
            </p:cNvSpPr>
            <p:nvPr/>
          </p:nvSpPr>
          <p:spPr bwMode="auto">
            <a:xfrm>
              <a:off x="6086856" y="1637927"/>
              <a:ext cx="2177247" cy="2505969"/>
            </a:xfrm>
            <a:custGeom>
              <a:avLst/>
              <a:gdLst>
                <a:gd name="T0" fmla="*/ 0 w 1534"/>
                <a:gd name="T1" fmla="*/ 0 h 1325"/>
                <a:gd name="T2" fmla="*/ 1534 w 1534"/>
                <a:gd name="T3" fmla="*/ 1058 h 1325"/>
                <a:gd name="T4" fmla="*/ 1395 w 1534"/>
                <a:gd name="T5" fmla="*/ 1068 h 1325"/>
                <a:gd name="T6" fmla="*/ 1391 w 1534"/>
                <a:gd name="T7" fmla="*/ 1091 h 1325"/>
                <a:gd name="T8" fmla="*/ 1398 w 1534"/>
                <a:gd name="T9" fmla="*/ 1121 h 1325"/>
                <a:gd name="T10" fmla="*/ 1409 w 1534"/>
                <a:gd name="T11" fmla="*/ 1156 h 1325"/>
                <a:gd name="T12" fmla="*/ 1415 w 1534"/>
                <a:gd name="T13" fmla="*/ 1190 h 1325"/>
                <a:gd name="T14" fmla="*/ 1413 w 1534"/>
                <a:gd name="T15" fmla="*/ 1222 h 1325"/>
                <a:gd name="T16" fmla="*/ 1402 w 1534"/>
                <a:gd name="T17" fmla="*/ 1254 h 1325"/>
                <a:gd name="T18" fmla="*/ 1377 w 1534"/>
                <a:gd name="T19" fmla="*/ 1280 h 1325"/>
                <a:gd name="T20" fmla="*/ 1349 w 1534"/>
                <a:gd name="T21" fmla="*/ 1301 h 1325"/>
                <a:gd name="T22" fmla="*/ 1314 w 1534"/>
                <a:gd name="T23" fmla="*/ 1316 h 1325"/>
                <a:gd name="T24" fmla="*/ 1270 w 1534"/>
                <a:gd name="T25" fmla="*/ 1324 h 1325"/>
                <a:gd name="T26" fmla="*/ 1232 w 1534"/>
                <a:gd name="T27" fmla="*/ 1325 h 1325"/>
                <a:gd name="T28" fmla="*/ 1199 w 1534"/>
                <a:gd name="T29" fmla="*/ 1322 h 1325"/>
                <a:gd name="T30" fmla="*/ 1164 w 1534"/>
                <a:gd name="T31" fmla="*/ 1312 h 1325"/>
                <a:gd name="T32" fmla="*/ 1136 w 1534"/>
                <a:gd name="T33" fmla="*/ 1296 h 1325"/>
                <a:gd name="T34" fmla="*/ 1109 w 1534"/>
                <a:gd name="T35" fmla="*/ 1271 h 1325"/>
                <a:gd name="T36" fmla="*/ 1088 w 1534"/>
                <a:gd name="T37" fmla="*/ 1244 h 1325"/>
                <a:gd name="T38" fmla="*/ 1076 w 1534"/>
                <a:gd name="T39" fmla="*/ 1206 h 1325"/>
                <a:gd name="T40" fmla="*/ 1082 w 1534"/>
                <a:gd name="T41" fmla="*/ 1168 h 1325"/>
                <a:gd name="T42" fmla="*/ 1092 w 1534"/>
                <a:gd name="T43" fmla="*/ 1130 h 1325"/>
                <a:gd name="T44" fmla="*/ 1102 w 1534"/>
                <a:gd name="T45" fmla="*/ 1092 h 1325"/>
                <a:gd name="T46" fmla="*/ 1100 w 1534"/>
                <a:gd name="T47" fmla="*/ 1075 h 1325"/>
                <a:gd name="T48" fmla="*/ 841 w 1534"/>
                <a:gd name="T49" fmla="*/ 1065 h 1325"/>
                <a:gd name="T50" fmla="*/ 844 w 1534"/>
                <a:gd name="T51" fmla="*/ 1003 h 1325"/>
                <a:gd name="T52" fmla="*/ 838 w 1534"/>
                <a:gd name="T53" fmla="*/ 961 h 1325"/>
                <a:gd name="T54" fmla="*/ 828 w 1534"/>
                <a:gd name="T55" fmla="*/ 937 h 1325"/>
                <a:gd name="T56" fmla="*/ 806 w 1534"/>
                <a:gd name="T57" fmla="*/ 916 h 1325"/>
                <a:gd name="T58" fmla="*/ 777 w 1534"/>
                <a:gd name="T59" fmla="*/ 903 h 1325"/>
                <a:gd name="T60" fmla="*/ 741 w 1534"/>
                <a:gd name="T61" fmla="*/ 900 h 1325"/>
                <a:gd name="T62" fmla="*/ 689 w 1534"/>
                <a:gd name="T63" fmla="*/ 902 h 1325"/>
                <a:gd name="T64" fmla="*/ 640 w 1534"/>
                <a:gd name="T65" fmla="*/ 906 h 1325"/>
                <a:gd name="T66" fmla="*/ 589 w 1534"/>
                <a:gd name="T67" fmla="*/ 906 h 1325"/>
                <a:gd name="T68" fmla="*/ 539 w 1534"/>
                <a:gd name="T69" fmla="*/ 898 h 1325"/>
                <a:gd name="T70" fmla="*/ 500 w 1534"/>
                <a:gd name="T71" fmla="*/ 878 h 1325"/>
                <a:gd name="T72" fmla="*/ 478 w 1534"/>
                <a:gd name="T73" fmla="*/ 850 h 1325"/>
                <a:gd name="T74" fmla="*/ 468 w 1534"/>
                <a:gd name="T75" fmla="*/ 814 h 1325"/>
                <a:gd name="T76" fmla="*/ 470 w 1534"/>
                <a:gd name="T77" fmla="*/ 772 h 1325"/>
                <a:gd name="T78" fmla="*/ 463 w 1534"/>
                <a:gd name="T79" fmla="*/ 735 h 1325"/>
                <a:gd name="T80" fmla="*/ 453 w 1534"/>
                <a:gd name="T81" fmla="*/ 711 h 1325"/>
                <a:gd name="T82" fmla="*/ 437 w 1534"/>
                <a:gd name="T83" fmla="*/ 696 h 1325"/>
                <a:gd name="T84" fmla="*/ 399 w 1534"/>
                <a:gd name="T85" fmla="*/ 680 h 1325"/>
                <a:gd name="T86" fmla="*/ 350 w 1534"/>
                <a:gd name="T87" fmla="*/ 668 h 1325"/>
                <a:gd name="T88" fmla="*/ 296 w 1534"/>
                <a:gd name="T89" fmla="*/ 660 h 1325"/>
                <a:gd name="T90" fmla="*/ 254 w 1534"/>
                <a:gd name="T91" fmla="*/ 648 h 1325"/>
                <a:gd name="T92" fmla="*/ 218 w 1534"/>
                <a:gd name="T93" fmla="*/ 631 h 1325"/>
                <a:gd name="T94" fmla="*/ 189 w 1534"/>
                <a:gd name="T95" fmla="*/ 606 h 1325"/>
                <a:gd name="T96" fmla="*/ 171 w 1534"/>
                <a:gd name="T97" fmla="*/ 575 h 1325"/>
                <a:gd name="T98" fmla="*/ 168 w 1534"/>
                <a:gd name="T99" fmla="*/ 541 h 1325"/>
                <a:gd name="T100" fmla="*/ 179 w 1534"/>
                <a:gd name="T101" fmla="*/ 503 h 1325"/>
                <a:gd name="T102" fmla="*/ 188 w 1534"/>
                <a:gd name="T103" fmla="*/ 461 h 1325"/>
                <a:gd name="T104" fmla="*/ 196 w 1534"/>
                <a:gd name="T105" fmla="*/ 420 h 1325"/>
                <a:gd name="T106" fmla="*/ 188 w 1534"/>
                <a:gd name="T107" fmla="*/ 380 h 1325"/>
                <a:gd name="T108" fmla="*/ 169 w 1534"/>
                <a:gd name="T109" fmla="*/ 344 h 1325"/>
                <a:gd name="T110" fmla="*/ 151 w 1534"/>
                <a:gd name="T111" fmla="*/ 321 h 1325"/>
                <a:gd name="T112" fmla="*/ 127 w 1534"/>
                <a:gd name="T113" fmla="*/ 301 h 1325"/>
                <a:gd name="T114" fmla="*/ 99 w 1534"/>
                <a:gd name="T115" fmla="*/ 287 h 1325"/>
                <a:gd name="T116" fmla="*/ 63 w 1534"/>
                <a:gd name="T117" fmla="*/ 278 h 1325"/>
                <a:gd name="T118" fmla="*/ 20 w 1534"/>
                <a:gd name="T119" fmla="*/ 276 h 132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34"/>
                <a:gd name="T181" fmla="*/ 0 h 1325"/>
                <a:gd name="T182" fmla="*/ 1534 w 1534"/>
                <a:gd name="T183" fmla="*/ 1325 h 132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34" h="1325">
                  <a:moveTo>
                    <a:pt x="0" y="276"/>
                  </a:moveTo>
                  <a:lnTo>
                    <a:pt x="0" y="0"/>
                  </a:lnTo>
                  <a:lnTo>
                    <a:pt x="1532" y="0"/>
                  </a:lnTo>
                  <a:lnTo>
                    <a:pt x="1534" y="1058"/>
                  </a:lnTo>
                  <a:lnTo>
                    <a:pt x="1401" y="1058"/>
                  </a:lnTo>
                  <a:lnTo>
                    <a:pt x="1395" y="1068"/>
                  </a:lnTo>
                  <a:lnTo>
                    <a:pt x="1391" y="1081"/>
                  </a:lnTo>
                  <a:lnTo>
                    <a:pt x="1391" y="1091"/>
                  </a:lnTo>
                  <a:lnTo>
                    <a:pt x="1393" y="1104"/>
                  </a:lnTo>
                  <a:lnTo>
                    <a:pt x="1398" y="1121"/>
                  </a:lnTo>
                  <a:lnTo>
                    <a:pt x="1403" y="1142"/>
                  </a:lnTo>
                  <a:lnTo>
                    <a:pt x="1409" y="1156"/>
                  </a:lnTo>
                  <a:lnTo>
                    <a:pt x="1413" y="1174"/>
                  </a:lnTo>
                  <a:lnTo>
                    <a:pt x="1415" y="1190"/>
                  </a:lnTo>
                  <a:lnTo>
                    <a:pt x="1415" y="1207"/>
                  </a:lnTo>
                  <a:lnTo>
                    <a:pt x="1413" y="1222"/>
                  </a:lnTo>
                  <a:lnTo>
                    <a:pt x="1409" y="1239"/>
                  </a:lnTo>
                  <a:lnTo>
                    <a:pt x="1402" y="1254"/>
                  </a:lnTo>
                  <a:lnTo>
                    <a:pt x="1391" y="1266"/>
                  </a:lnTo>
                  <a:lnTo>
                    <a:pt x="1377" y="1280"/>
                  </a:lnTo>
                  <a:lnTo>
                    <a:pt x="1362" y="1291"/>
                  </a:lnTo>
                  <a:lnTo>
                    <a:pt x="1349" y="1301"/>
                  </a:lnTo>
                  <a:lnTo>
                    <a:pt x="1333" y="1310"/>
                  </a:lnTo>
                  <a:lnTo>
                    <a:pt x="1314" y="1316"/>
                  </a:lnTo>
                  <a:lnTo>
                    <a:pt x="1292" y="1322"/>
                  </a:lnTo>
                  <a:lnTo>
                    <a:pt x="1270" y="1324"/>
                  </a:lnTo>
                  <a:lnTo>
                    <a:pt x="1252" y="1325"/>
                  </a:lnTo>
                  <a:lnTo>
                    <a:pt x="1232" y="1325"/>
                  </a:lnTo>
                  <a:lnTo>
                    <a:pt x="1213" y="1324"/>
                  </a:lnTo>
                  <a:lnTo>
                    <a:pt x="1199" y="1322"/>
                  </a:lnTo>
                  <a:lnTo>
                    <a:pt x="1181" y="1317"/>
                  </a:lnTo>
                  <a:lnTo>
                    <a:pt x="1164" y="1312"/>
                  </a:lnTo>
                  <a:lnTo>
                    <a:pt x="1151" y="1305"/>
                  </a:lnTo>
                  <a:lnTo>
                    <a:pt x="1136" y="1296"/>
                  </a:lnTo>
                  <a:lnTo>
                    <a:pt x="1123" y="1284"/>
                  </a:lnTo>
                  <a:lnTo>
                    <a:pt x="1109" y="1271"/>
                  </a:lnTo>
                  <a:lnTo>
                    <a:pt x="1098" y="1258"/>
                  </a:lnTo>
                  <a:lnTo>
                    <a:pt x="1088" y="1244"/>
                  </a:lnTo>
                  <a:lnTo>
                    <a:pt x="1082" y="1226"/>
                  </a:lnTo>
                  <a:lnTo>
                    <a:pt x="1076" y="1206"/>
                  </a:lnTo>
                  <a:lnTo>
                    <a:pt x="1076" y="1187"/>
                  </a:lnTo>
                  <a:lnTo>
                    <a:pt x="1082" y="1168"/>
                  </a:lnTo>
                  <a:lnTo>
                    <a:pt x="1087" y="1149"/>
                  </a:lnTo>
                  <a:lnTo>
                    <a:pt x="1092" y="1130"/>
                  </a:lnTo>
                  <a:lnTo>
                    <a:pt x="1099" y="1109"/>
                  </a:lnTo>
                  <a:lnTo>
                    <a:pt x="1102" y="1092"/>
                  </a:lnTo>
                  <a:lnTo>
                    <a:pt x="1102" y="1083"/>
                  </a:lnTo>
                  <a:lnTo>
                    <a:pt x="1100" y="1075"/>
                  </a:lnTo>
                  <a:lnTo>
                    <a:pt x="1096" y="1065"/>
                  </a:lnTo>
                  <a:lnTo>
                    <a:pt x="841" y="1065"/>
                  </a:lnTo>
                  <a:lnTo>
                    <a:pt x="845" y="1025"/>
                  </a:lnTo>
                  <a:lnTo>
                    <a:pt x="844" y="1003"/>
                  </a:lnTo>
                  <a:lnTo>
                    <a:pt x="841" y="981"/>
                  </a:lnTo>
                  <a:lnTo>
                    <a:pt x="838" y="961"/>
                  </a:lnTo>
                  <a:lnTo>
                    <a:pt x="834" y="948"/>
                  </a:lnTo>
                  <a:lnTo>
                    <a:pt x="828" y="937"/>
                  </a:lnTo>
                  <a:lnTo>
                    <a:pt x="820" y="926"/>
                  </a:lnTo>
                  <a:lnTo>
                    <a:pt x="806" y="916"/>
                  </a:lnTo>
                  <a:lnTo>
                    <a:pt x="792" y="908"/>
                  </a:lnTo>
                  <a:lnTo>
                    <a:pt x="777" y="903"/>
                  </a:lnTo>
                  <a:lnTo>
                    <a:pt x="764" y="901"/>
                  </a:lnTo>
                  <a:lnTo>
                    <a:pt x="741" y="900"/>
                  </a:lnTo>
                  <a:lnTo>
                    <a:pt x="715" y="900"/>
                  </a:lnTo>
                  <a:lnTo>
                    <a:pt x="689" y="902"/>
                  </a:lnTo>
                  <a:lnTo>
                    <a:pt x="661" y="903"/>
                  </a:lnTo>
                  <a:lnTo>
                    <a:pt x="640" y="906"/>
                  </a:lnTo>
                  <a:lnTo>
                    <a:pt x="612" y="907"/>
                  </a:lnTo>
                  <a:lnTo>
                    <a:pt x="589" y="906"/>
                  </a:lnTo>
                  <a:lnTo>
                    <a:pt x="570" y="903"/>
                  </a:lnTo>
                  <a:lnTo>
                    <a:pt x="539" y="898"/>
                  </a:lnTo>
                  <a:lnTo>
                    <a:pt x="519" y="889"/>
                  </a:lnTo>
                  <a:lnTo>
                    <a:pt x="500" y="878"/>
                  </a:lnTo>
                  <a:lnTo>
                    <a:pt x="488" y="865"/>
                  </a:lnTo>
                  <a:lnTo>
                    <a:pt x="478" y="850"/>
                  </a:lnTo>
                  <a:lnTo>
                    <a:pt x="470" y="833"/>
                  </a:lnTo>
                  <a:lnTo>
                    <a:pt x="468" y="814"/>
                  </a:lnTo>
                  <a:lnTo>
                    <a:pt x="468" y="790"/>
                  </a:lnTo>
                  <a:lnTo>
                    <a:pt x="470" y="772"/>
                  </a:lnTo>
                  <a:lnTo>
                    <a:pt x="468" y="755"/>
                  </a:lnTo>
                  <a:lnTo>
                    <a:pt x="463" y="735"/>
                  </a:lnTo>
                  <a:lnTo>
                    <a:pt x="459" y="723"/>
                  </a:lnTo>
                  <a:lnTo>
                    <a:pt x="453" y="711"/>
                  </a:lnTo>
                  <a:lnTo>
                    <a:pt x="445" y="703"/>
                  </a:lnTo>
                  <a:lnTo>
                    <a:pt x="437" y="696"/>
                  </a:lnTo>
                  <a:lnTo>
                    <a:pt x="419" y="689"/>
                  </a:lnTo>
                  <a:lnTo>
                    <a:pt x="399" y="680"/>
                  </a:lnTo>
                  <a:lnTo>
                    <a:pt x="377" y="674"/>
                  </a:lnTo>
                  <a:lnTo>
                    <a:pt x="350" y="668"/>
                  </a:lnTo>
                  <a:lnTo>
                    <a:pt x="324" y="664"/>
                  </a:lnTo>
                  <a:lnTo>
                    <a:pt x="296" y="660"/>
                  </a:lnTo>
                  <a:lnTo>
                    <a:pt x="276" y="654"/>
                  </a:lnTo>
                  <a:lnTo>
                    <a:pt x="254" y="648"/>
                  </a:lnTo>
                  <a:lnTo>
                    <a:pt x="233" y="641"/>
                  </a:lnTo>
                  <a:lnTo>
                    <a:pt x="218" y="631"/>
                  </a:lnTo>
                  <a:lnTo>
                    <a:pt x="201" y="618"/>
                  </a:lnTo>
                  <a:lnTo>
                    <a:pt x="189" y="606"/>
                  </a:lnTo>
                  <a:lnTo>
                    <a:pt x="179" y="592"/>
                  </a:lnTo>
                  <a:lnTo>
                    <a:pt x="171" y="575"/>
                  </a:lnTo>
                  <a:lnTo>
                    <a:pt x="168" y="557"/>
                  </a:lnTo>
                  <a:lnTo>
                    <a:pt x="168" y="541"/>
                  </a:lnTo>
                  <a:lnTo>
                    <a:pt x="172" y="526"/>
                  </a:lnTo>
                  <a:lnTo>
                    <a:pt x="179" y="503"/>
                  </a:lnTo>
                  <a:lnTo>
                    <a:pt x="185" y="481"/>
                  </a:lnTo>
                  <a:lnTo>
                    <a:pt x="188" y="461"/>
                  </a:lnTo>
                  <a:lnTo>
                    <a:pt x="193" y="441"/>
                  </a:lnTo>
                  <a:lnTo>
                    <a:pt x="196" y="420"/>
                  </a:lnTo>
                  <a:lnTo>
                    <a:pt x="193" y="399"/>
                  </a:lnTo>
                  <a:lnTo>
                    <a:pt x="188" y="380"/>
                  </a:lnTo>
                  <a:lnTo>
                    <a:pt x="180" y="361"/>
                  </a:lnTo>
                  <a:lnTo>
                    <a:pt x="169" y="344"/>
                  </a:lnTo>
                  <a:lnTo>
                    <a:pt x="157" y="330"/>
                  </a:lnTo>
                  <a:lnTo>
                    <a:pt x="151" y="321"/>
                  </a:lnTo>
                  <a:lnTo>
                    <a:pt x="139" y="311"/>
                  </a:lnTo>
                  <a:lnTo>
                    <a:pt x="127" y="301"/>
                  </a:lnTo>
                  <a:lnTo>
                    <a:pt x="115" y="294"/>
                  </a:lnTo>
                  <a:lnTo>
                    <a:pt x="99" y="287"/>
                  </a:lnTo>
                  <a:lnTo>
                    <a:pt x="83" y="282"/>
                  </a:lnTo>
                  <a:lnTo>
                    <a:pt x="63" y="278"/>
                  </a:lnTo>
                  <a:lnTo>
                    <a:pt x="40" y="276"/>
                  </a:lnTo>
                  <a:lnTo>
                    <a:pt x="20" y="276"/>
                  </a:lnTo>
                  <a:lnTo>
                    <a:pt x="0" y="276"/>
                  </a:lnTo>
                  <a:close/>
                </a:path>
              </a:pathLst>
            </a:custGeom>
            <a:solidFill>
              <a:schemeClr val="accent2"/>
            </a:solidFill>
            <a:ln w="6350">
              <a:noFill/>
              <a:round/>
              <a:headEnd/>
              <a:tailEnd/>
            </a:ln>
          </p:spPr>
          <p:txBody>
            <a:bodyPr lIns="45720" rIns="45720"/>
            <a:lstStyle/>
            <a:p>
              <a:endParaRPr lang="en-US"/>
            </a:p>
          </p:txBody>
        </p:sp>
        <p:sp>
          <p:nvSpPr>
            <p:cNvPr id="22" name="Freeform 5">
              <a:extLst>
                <a:ext uri="{FF2B5EF4-FFF2-40B4-BE49-F238E27FC236}">
                  <a16:creationId xmlns:a16="http://schemas.microsoft.com/office/drawing/2014/main" id="{99EDFFCD-151E-4EE3-AAB2-57D406B85A7E}"/>
                </a:ext>
              </a:extLst>
            </p:cNvPr>
            <p:cNvSpPr>
              <a:spLocks/>
            </p:cNvSpPr>
            <p:nvPr/>
          </p:nvSpPr>
          <p:spPr bwMode="auto">
            <a:xfrm>
              <a:off x="3899757" y="3192331"/>
              <a:ext cx="2181187" cy="2505969"/>
            </a:xfrm>
            <a:custGeom>
              <a:avLst/>
              <a:gdLst>
                <a:gd name="T0" fmla="*/ 1534 w 1534"/>
                <a:gd name="T1" fmla="*/ 1325 h 1325"/>
                <a:gd name="T2" fmla="*/ 0 w 1534"/>
                <a:gd name="T3" fmla="*/ 267 h 1325"/>
                <a:gd name="T4" fmla="*/ 139 w 1534"/>
                <a:gd name="T5" fmla="*/ 258 h 1325"/>
                <a:gd name="T6" fmla="*/ 143 w 1534"/>
                <a:gd name="T7" fmla="*/ 234 h 1325"/>
                <a:gd name="T8" fmla="*/ 136 w 1534"/>
                <a:gd name="T9" fmla="*/ 204 h 1325"/>
                <a:gd name="T10" fmla="*/ 125 w 1534"/>
                <a:gd name="T11" fmla="*/ 169 h 1325"/>
                <a:gd name="T12" fmla="*/ 119 w 1534"/>
                <a:gd name="T13" fmla="*/ 135 h 1325"/>
                <a:gd name="T14" fmla="*/ 120 w 1534"/>
                <a:gd name="T15" fmla="*/ 103 h 1325"/>
                <a:gd name="T16" fmla="*/ 132 w 1534"/>
                <a:gd name="T17" fmla="*/ 71 h 1325"/>
                <a:gd name="T18" fmla="*/ 157 w 1534"/>
                <a:gd name="T19" fmla="*/ 45 h 1325"/>
                <a:gd name="T20" fmla="*/ 185 w 1534"/>
                <a:gd name="T21" fmla="*/ 24 h 1325"/>
                <a:gd name="T22" fmla="*/ 220 w 1534"/>
                <a:gd name="T23" fmla="*/ 8 h 1325"/>
                <a:gd name="T24" fmla="*/ 264 w 1534"/>
                <a:gd name="T25" fmla="*/ 1 h 1325"/>
                <a:gd name="T26" fmla="*/ 302 w 1534"/>
                <a:gd name="T27" fmla="*/ 0 h 1325"/>
                <a:gd name="T28" fmla="*/ 335 w 1534"/>
                <a:gd name="T29" fmla="*/ 4 h 1325"/>
                <a:gd name="T30" fmla="*/ 370 w 1534"/>
                <a:gd name="T31" fmla="*/ 13 h 1325"/>
                <a:gd name="T32" fmla="*/ 398 w 1534"/>
                <a:gd name="T33" fmla="*/ 30 h 1325"/>
                <a:gd name="T34" fmla="*/ 425 w 1534"/>
                <a:gd name="T35" fmla="*/ 54 h 1325"/>
                <a:gd name="T36" fmla="*/ 446 w 1534"/>
                <a:gd name="T37" fmla="*/ 82 h 1325"/>
                <a:gd name="T38" fmla="*/ 458 w 1534"/>
                <a:gd name="T39" fmla="*/ 119 h 1325"/>
                <a:gd name="T40" fmla="*/ 452 w 1534"/>
                <a:gd name="T41" fmla="*/ 157 h 1325"/>
                <a:gd name="T42" fmla="*/ 442 w 1534"/>
                <a:gd name="T43" fmla="*/ 195 h 1325"/>
                <a:gd name="T44" fmla="*/ 431 w 1534"/>
                <a:gd name="T45" fmla="*/ 233 h 1325"/>
                <a:gd name="T46" fmla="*/ 434 w 1534"/>
                <a:gd name="T47" fmla="*/ 250 h 1325"/>
                <a:gd name="T48" fmla="*/ 692 w 1534"/>
                <a:gd name="T49" fmla="*/ 260 h 1325"/>
                <a:gd name="T50" fmla="*/ 685 w 1534"/>
                <a:gd name="T51" fmla="*/ 330 h 1325"/>
                <a:gd name="T52" fmla="*/ 688 w 1534"/>
                <a:gd name="T53" fmla="*/ 371 h 1325"/>
                <a:gd name="T54" fmla="*/ 695 w 1534"/>
                <a:gd name="T55" fmla="*/ 413 h 1325"/>
                <a:gd name="T56" fmla="*/ 712 w 1534"/>
                <a:gd name="T57" fmla="*/ 439 h 1325"/>
                <a:gd name="T58" fmla="*/ 740 w 1534"/>
                <a:gd name="T59" fmla="*/ 458 h 1325"/>
                <a:gd name="T60" fmla="*/ 774 w 1534"/>
                <a:gd name="T61" fmla="*/ 467 h 1325"/>
                <a:gd name="T62" fmla="*/ 814 w 1534"/>
                <a:gd name="T63" fmla="*/ 468 h 1325"/>
                <a:gd name="T64" fmla="*/ 853 w 1534"/>
                <a:gd name="T65" fmla="*/ 464 h 1325"/>
                <a:gd name="T66" fmla="*/ 901 w 1534"/>
                <a:gd name="T67" fmla="*/ 459 h 1325"/>
                <a:gd name="T68" fmla="*/ 950 w 1534"/>
                <a:gd name="T69" fmla="*/ 462 h 1325"/>
                <a:gd name="T70" fmla="*/ 995 w 1534"/>
                <a:gd name="T71" fmla="*/ 472 h 1325"/>
                <a:gd name="T72" fmla="*/ 1032 w 1534"/>
                <a:gd name="T73" fmla="*/ 491 h 1325"/>
                <a:gd name="T74" fmla="*/ 1055 w 1534"/>
                <a:gd name="T75" fmla="*/ 520 h 1325"/>
                <a:gd name="T76" fmla="*/ 1064 w 1534"/>
                <a:gd name="T77" fmla="*/ 553 h 1325"/>
                <a:gd name="T78" fmla="*/ 1060 w 1534"/>
                <a:gd name="T79" fmla="*/ 591 h 1325"/>
                <a:gd name="T80" fmla="*/ 1064 w 1534"/>
                <a:gd name="T81" fmla="*/ 626 h 1325"/>
                <a:gd name="T82" fmla="*/ 1079 w 1534"/>
                <a:gd name="T83" fmla="*/ 657 h 1325"/>
                <a:gd name="T84" fmla="*/ 1105 w 1534"/>
                <a:gd name="T85" fmla="*/ 678 h 1325"/>
                <a:gd name="T86" fmla="*/ 1149 w 1534"/>
                <a:gd name="T87" fmla="*/ 691 h 1325"/>
                <a:gd name="T88" fmla="*/ 1191 w 1534"/>
                <a:gd name="T89" fmla="*/ 700 h 1325"/>
                <a:gd name="T90" fmla="*/ 1240 w 1534"/>
                <a:gd name="T91" fmla="*/ 709 h 1325"/>
                <a:gd name="T92" fmla="*/ 1281 w 1534"/>
                <a:gd name="T93" fmla="*/ 721 h 1325"/>
                <a:gd name="T94" fmla="*/ 1314 w 1534"/>
                <a:gd name="T95" fmla="*/ 737 h 1325"/>
                <a:gd name="T96" fmla="*/ 1342 w 1534"/>
                <a:gd name="T97" fmla="*/ 762 h 1325"/>
                <a:gd name="T98" fmla="*/ 1359 w 1534"/>
                <a:gd name="T99" fmla="*/ 791 h 1325"/>
                <a:gd name="T100" fmla="*/ 1361 w 1534"/>
                <a:gd name="T101" fmla="*/ 833 h 1325"/>
                <a:gd name="T102" fmla="*/ 1351 w 1534"/>
                <a:gd name="T103" fmla="*/ 873 h 1325"/>
                <a:gd name="T104" fmla="*/ 1338 w 1534"/>
                <a:gd name="T105" fmla="*/ 920 h 1325"/>
                <a:gd name="T106" fmla="*/ 1336 w 1534"/>
                <a:gd name="T107" fmla="*/ 954 h 1325"/>
                <a:gd name="T108" fmla="*/ 1345 w 1534"/>
                <a:gd name="T109" fmla="*/ 996 h 1325"/>
                <a:gd name="T110" fmla="*/ 1362 w 1534"/>
                <a:gd name="T111" fmla="*/ 1024 h 1325"/>
                <a:gd name="T112" fmla="*/ 1390 w 1534"/>
                <a:gd name="T113" fmla="*/ 1055 h 1325"/>
                <a:gd name="T114" fmla="*/ 1427 w 1534"/>
                <a:gd name="T115" fmla="*/ 1078 h 1325"/>
                <a:gd name="T116" fmla="*/ 1466 w 1534"/>
                <a:gd name="T117" fmla="*/ 1089 h 1325"/>
                <a:gd name="T118" fmla="*/ 1510 w 1534"/>
                <a:gd name="T119" fmla="*/ 1093 h 132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34"/>
                <a:gd name="T181" fmla="*/ 0 h 1325"/>
                <a:gd name="T182" fmla="*/ 1534 w 1534"/>
                <a:gd name="T183" fmla="*/ 1325 h 132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34" h="1325">
                  <a:moveTo>
                    <a:pt x="1534" y="1091"/>
                  </a:moveTo>
                  <a:lnTo>
                    <a:pt x="1534" y="1325"/>
                  </a:lnTo>
                  <a:lnTo>
                    <a:pt x="2" y="1325"/>
                  </a:lnTo>
                  <a:lnTo>
                    <a:pt x="0" y="267"/>
                  </a:lnTo>
                  <a:lnTo>
                    <a:pt x="133" y="267"/>
                  </a:lnTo>
                  <a:lnTo>
                    <a:pt x="139" y="258"/>
                  </a:lnTo>
                  <a:lnTo>
                    <a:pt x="143" y="245"/>
                  </a:lnTo>
                  <a:lnTo>
                    <a:pt x="143" y="234"/>
                  </a:lnTo>
                  <a:lnTo>
                    <a:pt x="141" y="221"/>
                  </a:lnTo>
                  <a:lnTo>
                    <a:pt x="136" y="204"/>
                  </a:lnTo>
                  <a:lnTo>
                    <a:pt x="131" y="183"/>
                  </a:lnTo>
                  <a:lnTo>
                    <a:pt x="125" y="169"/>
                  </a:lnTo>
                  <a:lnTo>
                    <a:pt x="120" y="151"/>
                  </a:lnTo>
                  <a:lnTo>
                    <a:pt x="119" y="135"/>
                  </a:lnTo>
                  <a:lnTo>
                    <a:pt x="119" y="118"/>
                  </a:lnTo>
                  <a:lnTo>
                    <a:pt x="120" y="103"/>
                  </a:lnTo>
                  <a:lnTo>
                    <a:pt x="125" y="86"/>
                  </a:lnTo>
                  <a:lnTo>
                    <a:pt x="132" y="71"/>
                  </a:lnTo>
                  <a:lnTo>
                    <a:pt x="143" y="59"/>
                  </a:lnTo>
                  <a:lnTo>
                    <a:pt x="157" y="45"/>
                  </a:lnTo>
                  <a:lnTo>
                    <a:pt x="171" y="34"/>
                  </a:lnTo>
                  <a:lnTo>
                    <a:pt x="185" y="24"/>
                  </a:lnTo>
                  <a:lnTo>
                    <a:pt x="201" y="15"/>
                  </a:lnTo>
                  <a:lnTo>
                    <a:pt x="220" y="8"/>
                  </a:lnTo>
                  <a:lnTo>
                    <a:pt x="241" y="4"/>
                  </a:lnTo>
                  <a:lnTo>
                    <a:pt x="264" y="1"/>
                  </a:lnTo>
                  <a:lnTo>
                    <a:pt x="282" y="0"/>
                  </a:lnTo>
                  <a:lnTo>
                    <a:pt x="302" y="0"/>
                  </a:lnTo>
                  <a:lnTo>
                    <a:pt x="321" y="1"/>
                  </a:lnTo>
                  <a:lnTo>
                    <a:pt x="335" y="4"/>
                  </a:lnTo>
                  <a:lnTo>
                    <a:pt x="353" y="8"/>
                  </a:lnTo>
                  <a:lnTo>
                    <a:pt x="370" y="13"/>
                  </a:lnTo>
                  <a:lnTo>
                    <a:pt x="383" y="20"/>
                  </a:lnTo>
                  <a:lnTo>
                    <a:pt x="398" y="30"/>
                  </a:lnTo>
                  <a:lnTo>
                    <a:pt x="411" y="41"/>
                  </a:lnTo>
                  <a:lnTo>
                    <a:pt x="425" y="54"/>
                  </a:lnTo>
                  <a:lnTo>
                    <a:pt x="437" y="67"/>
                  </a:lnTo>
                  <a:lnTo>
                    <a:pt x="446" y="82"/>
                  </a:lnTo>
                  <a:lnTo>
                    <a:pt x="452" y="99"/>
                  </a:lnTo>
                  <a:lnTo>
                    <a:pt x="458" y="119"/>
                  </a:lnTo>
                  <a:lnTo>
                    <a:pt x="458" y="138"/>
                  </a:lnTo>
                  <a:lnTo>
                    <a:pt x="452" y="157"/>
                  </a:lnTo>
                  <a:lnTo>
                    <a:pt x="447" y="176"/>
                  </a:lnTo>
                  <a:lnTo>
                    <a:pt x="442" y="195"/>
                  </a:lnTo>
                  <a:lnTo>
                    <a:pt x="435" y="216"/>
                  </a:lnTo>
                  <a:lnTo>
                    <a:pt x="431" y="233"/>
                  </a:lnTo>
                  <a:lnTo>
                    <a:pt x="431" y="242"/>
                  </a:lnTo>
                  <a:lnTo>
                    <a:pt x="434" y="250"/>
                  </a:lnTo>
                  <a:lnTo>
                    <a:pt x="438" y="260"/>
                  </a:lnTo>
                  <a:lnTo>
                    <a:pt x="692" y="260"/>
                  </a:lnTo>
                  <a:lnTo>
                    <a:pt x="687" y="304"/>
                  </a:lnTo>
                  <a:lnTo>
                    <a:pt x="685" y="330"/>
                  </a:lnTo>
                  <a:lnTo>
                    <a:pt x="687" y="351"/>
                  </a:lnTo>
                  <a:lnTo>
                    <a:pt x="688" y="371"/>
                  </a:lnTo>
                  <a:lnTo>
                    <a:pt x="691" y="392"/>
                  </a:lnTo>
                  <a:lnTo>
                    <a:pt x="695" y="413"/>
                  </a:lnTo>
                  <a:lnTo>
                    <a:pt x="703" y="428"/>
                  </a:lnTo>
                  <a:lnTo>
                    <a:pt x="712" y="439"/>
                  </a:lnTo>
                  <a:lnTo>
                    <a:pt x="724" y="450"/>
                  </a:lnTo>
                  <a:lnTo>
                    <a:pt x="740" y="458"/>
                  </a:lnTo>
                  <a:lnTo>
                    <a:pt x="757" y="464"/>
                  </a:lnTo>
                  <a:lnTo>
                    <a:pt x="774" y="467"/>
                  </a:lnTo>
                  <a:lnTo>
                    <a:pt x="793" y="468"/>
                  </a:lnTo>
                  <a:lnTo>
                    <a:pt x="814" y="468"/>
                  </a:lnTo>
                  <a:lnTo>
                    <a:pt x="837" y="465"/>
                  </a:lnTo>
                  <a:lnTo>
                    <a:pt x="853" y="464"/>
                  </a:lnTo>
                  <a:lnTo>
                    <a:pt x="877" y="462"/>
                  </a:lnTo>
                  <a:lnTo>
                    <a:pt x="901" y="459"/>
                  </a:lnTo>
                  <a:lnTo>
                    <a:pt x="927" y="459"/>
                  </a:lnTo>
                  <a:lnTo>
                    <a:pt x="950" y="462"/>
                  </a:lnTo>
                  <a:lnTo>
                    <a:pt x="972" y="465"/>
                  </a:lnTo>
                  <a:lnTo>
                    <a:pt x="995" y="472"/>
                  </a:lnTo>
                  <a:lnTo>
                    <a:pt x="1014" y="480"/>
                  </a:lnTo>
                  <a:lnTo>
                    <a:pt x="1032" y="491"/>
                  </a:lnTo>
                  <a:lnTo>
                    <a:pt x="1044" y="504"/>
                  </a:lnTo>
                  <a:lnTo>
                    <a:pt x="1055" y="520"/>
                  </a:lnTo>
                  <a:lnTo>
                    <a:pt x="1062" y="536"/>
                  </a:lnTo>
                  <a:lnTo>
                    <a:pt x="1064" y="553"/>
                  </a:lnTo>
                  <a:lnTo>
                    <a:pt x="1062" y="572"/>
                  </a:lnTo>
                  <a:lnTo>
                    <a:pt x="1060" y="591"/>
                  </a:lnTo>
                  <a:lnTo>
                    <a:pt x="1062" y="609"/>
                  </a:lnTo>
                  <a:lnTo>
                    <a:pt x="1064" y="626"/>
                  </a:lnTo>
                  <a:lnTo>
                    <a:pt x="1071" y="641"/>
                  </a:lnTo>
                  <a:lnTo>
                    <a:pt x="1079" y="657"/>
                  </a:lnTo>
                  <a:lnTo>
                    <a:pt x="1090" y="667"/>
                  </a:lnTo>
                  <a:lnTo>
                    <a:pt x="1105" y="678"/>
                  </a:lnTo>
                  <a:lnTo>
                    <a:pt x="1127" y="685"/>
                  </a:lnTo>
                  <a:lnTo>
                    <a:pt x="1149" y="691"/>
                  </a:lnTo>
                  <a:lnTo>
                    <a:pt x="1168" y="696"/>
                  </a:lnTo>
                  <a:lnTo>
                    <a:pt x="1191" y="700"/>
                  </a:lnTo>
                  <a:lnTo>
                    <a:pt x="1217" y="705"/>
                  </a:lnTo>
                  <a:lnTo>
                    <a:pt x="1240" y="709"/>
                  </a:lnTo>
                  <a:lnTo>
                    <a:pt x="1262" y="715"/>
                  </a:lnTo>
                  <a:lnTo>
                    <a:pt x="1281" y="721"/>
                  </a:lnTo>
                  <a:lnTo>
                    <a:pt x="1300" y="728"/>
                  </a:lnTo>
                  <a:lnTo>
                    <a:pt x="1314" y="737"/>
                  </a:lnTo>
                  <a:lnTo>
                    <a:pt x="1326" y="746"/>
                  </a:lnTo>
                  <a:lnTo>
                    <a:pt x="1342" y="762"/>
                  </a:lnTo>
                  <a:lnTo>
                    <a:pt x="1351" y="776"/>
                  </a:lnTo>
                  <a:lnTo>
                    <a:pt x="1359" y="791"/>
                  </a:lnTo>
                  <a:lnTo>
                    <a:pt x="1363" y="813"/>
                  </a:lnTo>
                  <a:lnTo>
                    <a:pt x="1361" y="833"/>
                  </a:lnTo>
                  <a:lnTo>
                    <a:pt x="1357" y="850"/>
                  </a:lnTo>
                  <a:lnTo>
                    <a:pt x="1351" y="873"/>
                  </a:lnTo>
                  <a:lnTo>
                    <a:pt x="1345" y="898"/>
                  </a:lnTo>
                  <a:lnTo>
                    <a:pt x="1338" y="920"/>
                  </a:lnTo>
                  <a:lnTo>
                    <a:pt x="1336" y="939"/>
                  </a:lnTo>
                  <a:lnTo>
                    <a:pt x="1336" y="954"/>
                  </a:lnTo>
                  <a:lnTo>
                    <a:pt x="1340" y="977"/>
                  </a:lnTo>
                  <a:lnTo>
                    <a:pt x="1345" y="996"/>
                  </a:lnTo>
                  <a:lnTo>
                    <a:pt x="1353" y="1010"/>
                  </a:lnTo>
                  <a:lnTo>
                    <a:pt x="1362" y="1024"/>
                  </a:lnTo>
                  <a:lnTo>
                    <a:pt x="1375" y="1039"/>
                  </a:lnTo>
                  <a:lnTo>
                    <a:pt x="1390" y="1055"/>
                  </a:lnTo>
                  <a:lnTo>
                    <a:pt x="1407" y="1068"/>
                  </a:lnTo>
                  <a:lnTo>
                    <a:pt x="1427" y="1078"/>
                  </a:lnTo>
                  <a:lnTo>
                    <a:pt x="1446" y="1084"/>
                  </a:lnTo>
                  <a:lnTo>
                    <a:pt x="1466" y="1089"/>
                  </a:lnTo>
                  <a:lnTo>
                    <a:pt x="1486" y="1091"/>
                  </a:lnTo>
                  <a:lnTo>
                    <a:pt x="1510" y="1093"/>
                  </a:lnTo>
                  <a:lnTo>
                    <a:pt x="1534" y="1091"/>
                  </a:lnTo>
                  <a:close/>
                </a:path>
              </a:pathLst>
            </a:custGeom>
            <a:solidFill>
              <a:schemeClr val="accent3"/>
            </a:solidFill>
            <a:ln w="6350">
              <a:noFill/>
              <a:round/>
              <a:headEnd/>
              <a:tailEnd/>
            </a:ln>
          </p:spPr>
          <p:txBody>
            <a:bodyPr lIns="45720" rIns="45720"/>
            <a:lstStyle/>
            <a:p>
              <a:endParaRPr lang="en-US"/>
            </a:p>
          </p:txBody>
        </p:sp>
        <p:sp>
          <p:nvSpPr>
            <p:cNvPr id="23" name="Freeform 7">
              <a:extLst>
                <a:ext uri="{FF2B5EF4-FFF2-40B4-BE49-F238E27FC236}">
                  <a16:creationId xmlns:a16="http://schemas.microsoft.com/office/drawing/2014/main" id="{9F779909-4FC5-46A5-BE1E-C2B38668E33C}"/>
                </a:ext>
              </a:extLst>
            </p:cNvPr>
            <p:cNvSpPr>
              <a:spLocks/>
            </p:cNvSpPr>
            <p:nvPr/>
          </p:nvSpPr>
          <p:spPr bwMode="auto">
            <a:xfrm>
              <a:off x="4856470" y="2123659"/>
              <a:ext cx="2463666" cy="3172364"/>
            </a:xfrm>
            <a:custGeom>
              <a:avLst/>
              <a:gdLst>
                <a:gd name="T0" fmla="*/ 686 w 1707"/>
                <a:gd name="T1" fmla="*/ 265 h 1662"/>
                <a:gd name="T2" fmla="*/ 662 w 1707"/>
                <a:gd name="T3" fmla="*/ 126 h 1662"/>
                <a:gd name="T4" fmla="*/ 746 w 1707"/>
                <a:gd name="T5" fmla="*/ 15 h 1662"/>
                <a:gd name="T6" fmla="*/ 937 w 1707"/>
                <a:gd name="T7" fmla="*/ 4 h 1662"/>
                <a:gd name="T8" fmla="*/ 1032 w 1707"/>
                <a:gd name="T9" fmla="*/ 68 h 1662"/>
                <a:gd name="T10" fmla="*/ 1053 w 1707"/>
                <a:gd name="T11" fmla="*/ 182 h 1662"/>
                <a:gd name="T12" fmla="*/ 1035 w 1707"/>
                <a:gd name="T13" fmla="*/ 304 h 1662"/>
                <a:gd name="T14" fmla="*/ 1128 w 1707"/>
                <a:gd name="T15" fmla="*/ 376 h 1662"/>
                <a:gd name="T16" fmla="*/ 1269 w 1707"/>
                <a:gd name="T17" fmla="*/ 406 h 1662"/>
                <a:gd name="T18" fmla="*/ 1327 w 1707"/>
                <a:gd name="T19" fmla="*/ 463 h 1662"/>
                <a:gd name="T20" fmla="*/ 1330 w 1707"/>
                <a:gd name="T21" fmla="*/ 543 h 1662"/>
                <a:gd name="T22" fmla="*/ 1384 w 1707"/>
                <a:gd name="T23" fmla="*/ 615 h 1662"/>
                <a:gd name="T24" fmla="*/ 1496 w 1707"/>
                <a:gd name="T25" fmla="*/ 629 h 1662"/>
                <a:gd name="T26" fmla="*/ 1617 w 1707"/>
                <a:gd name="T27" fmla="*/ 624 h 1662"/>
                <a:gd name="T28" fmla="*/ 1689 w 1707"/>
                <a:gd name="T29" fmla="*/ 659 h 1662"/>
                <a:gd name="T30" fmla="*/ 1706 w 1707"/>
                <a:gd name="T31" fmla="*/ 785 h 1662"/>
                <a:gd name="T32" fmla="*/ 1689 w 1707"/>
                <a:gd name="T33" fmla="*/ 954 h 1662"/>
                <a:gd name="T34" fmla="*/ 1616 w 1707"/>
                <a:gd name="T35" fmla="*/ 994 h 1662"/>
                <a:gd name="T36" fmla="*/ 1484 w 1707"/>
                <a:gd name="T37" fmla="*/ 989 h 1662"/>
                <a:gd name="T38" fmla="*/ 1387 w 1707"/>
                <a:gd name="T39" fmla="*/ 1002 h 1662"/>
                <a:gd name="T40" fmla="*/ 1332 w 1707"/>
                <a:gd name="T41" fmla="*/ 1051 h 1662"/>
                <a:gd name="T42" fmla="*/ 1327 w 1707"/>
                <a:gd name="T43" fmla="*/ 1147 h 1662"/>
                <a:gd name="T44" fmla="*/ 1265 w 1707"/>
                <a:gd name="T45" fmla="*/ 1213 h 1662"/>
                <a:gd name="T46" fmla="*/ 1152 w 1707"/>
                <a:gd name="T47" fmla="*/ 1235 h 1662"/>
                <a:gd name="T48" fmla="*/ 1053 w 1707"/>
                <a:gd name="T49" fmla="*/ 1281 h 1662"/>
                <a:gd name="T50" fmla="*/ 1032 w 1707"/>
                <a:gd name="T51" fmla="*/ 1375 h 1662"/>
                <a:gd name="T52" fmla="*/ 1053 w 1707"/>
                <a:gd name="T53" fmla="*/ 1489 h 1662"/>
                <a:gd name="T54" fmla="*/ 1007 w 1707"/>
                <a:gd name="T55" fmla="*/ 1598 h 1662"/>
                <a:gd name="T56" fmla="*/ 924 w 1707"/>
                <a:gd name="T57" fmla="*/ 1655 h 1662"/>
                <a:gd name="T58" fmla="*/ 797 w 1707"/>
                <a:gd name="T59" fmla="*/ 1661 h 1662"/>
                <a:gd name="T60" fmla="*/ 701 w 1707"/>
                <a:gd name="T61" fmla="*/ 1618 h 1662"/>
                <a:gd name="T62" fmla="*/ 656 w 1707"/>
                <a:gd name="T63" fmla="*/ 1537 h 1662"/>
                <a:gd name="T64" fmla="*/ 668 w 1707"/>
                <a:gd name="T65" fmla="*/ 1441 h 1662"/>
                <a:gd name="T66" fmla="*/ 674 w 1707"/>
                <a:gd name="T67" fmla="*/ 1355 h 1662"/>
                <a:gd name="T68" fmla="*/ 610 w 1707"/>
                <a:gd name="T69" fmla="*/ 1293 h 1662"/>
                <a:gd name="T70" fmla="*/ 505 w 1707"/>
                <a:gd name="T71" fmla="*/ 1270 h 1662"/>
                <a:gd name="T72" fmla="*/ 404 w 1707"/>
                <a:gd name="T73" fmla="*/ 1234 h 1662"/>
                <a:gd name="T74" fmla="*/ 378 w 1707"/>
                <a:gd name="T75" fmla="*/ 1139 h 1662"/>
                <a:gd name="T76" fmla="*/ 347 w 1707"/>
                <a:gd name="T77" fmla="*/ 1059 h 1662"/>
                <a:gd name="T78" fmla="*/ 246 w 1707"/>
                <a:gd name="T79" fmla="*/ 1030 h 1662"/>
                <a:gd name="T80" fmla="*/ 144 w 1707"/>
                <a:gd name="T81" fmla="*/ 1038 h 1662"/>
                <a:gd name="T82" fmla="*/ 33 w 1707"/>
                <a:gd name="T83" fmla="*/ 1013 h 1662"/>
                <a:gd name="T84" fmla="*/ 1 w 1707"/>
                <a:gd name="T85" fmla="*/ 902 h 1662"/>
                <a:gd name="T86" fmla="*/ 8 w 1707"/>
                <a:gd name="T87" fmla="*/ 743 h 1662"/>
                <a:gd name="T88" fmla="*/ 41 w 1707"/>
                <a:gd name="T89" fmla="*/ 647 h 1662"/>
                <a:gd name="T90" fmla="*/ 126 w 1707"/>
                <a:gd name="T91" fmla="*/ 622 h 1662"/>
                <a:gd name="T92" fmla="*/ 253 w 1707"/>
                <a:gd name="T93" fmla="*/ 631 h 1662"/>
                <a:gd name="T94" fmla="*/ 364 w 1707"/>
                <a:gd name="T95" fmla="*/ 593 h 1662"/>
                <a:gd name="T96" fmla="*/ 384 w 1707"/>
                <a:gd name="T97" fmla="*/ 504 h 1662"/>
                <a:gd name="T98" fmla="*/ 425 w 1707"/>
                <a:gd name="T99" fmla="*/ 417 h 1662"/>
                <a:gd name="T100" fmla="*/ 544 w 1707"/>
                <a:gd name="T101" fmla="*/ 386 h 16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07"/>
                <a:gd name="T154" fmla="*/ 0 h 1662"/>
                <a:gd name="T155" fmla="*/ 1707 w 1707"/>
                <a:gd name="T156" fmla="*/ 1662 h 16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07" h="1662">
                  <a:moveTo>
                    <a:pt x="650" y="347"/>
                  </a:moveTo>
                  <a:lnTo>
                    <a:pt x="668" y="328"/>
                  </a:lnTo>
                  <a:lnTo>
                    <a:pt x="679" y="311"/>
                  </a:lnTo>
                  <a:lnTo>
                    <a:pt x="686" y="291"/>
                  </a:lnTo>
                  <a:lnTo>
                    <a:pt x="686" y="265"/>
                  </a:lnTo>
                  <a:lnTo>
                    <a:pt x="678" y="235"/>
                  </a:lnTo>
                  <a:lnTo>
                    <a:pt x="671" y="210"/>
                  </a:lnTo>
                  <a:lnTo>
                    <a:pt x="662" y="180"/>
                  </a:lnTo>
                  <a:lnTo>
                    <a:pt x="658" y="146"/>
                  </a:lnTo>
                  <a:lnTo>
                    <a:pt x="662" y="126"/>
                  </a:lnTo>
                  <a:lnTo>
                    <a:pt x="669" y="102"/>
                  </a:lnTo>
                  <a:lnTo>
                    <a:pt x="682" y="76"/>
                  </a:lnTo>
                  <a:lnTo>
                    <a:pt x="701" y="51"/>
                  </a:lnTo>
                  <a:lnTo>
                    <a:pt x="725" y="31"/>
                  </a:lnTo>
                  <a:lnTo>
                    <a:pt x="746" y="15"/>
                  </a:lnTo>
                  <a:lnTo>
                    <a:pt x="775" y="6"/>
                  </a:lnTo>
                  <a:lnTo>
                    <a:pt x="810" y="1"/>
                  </a:lnTo>
                  <a:lnTo>
                    <a:pt x="847" y="0"/>
                  </a:lnTo>
                  <a:lnTo>
                    <a:pt x="898" y="0"/>
                  </a:lnTo>
                  <a:lnTo>
                    <a:pt x="937" y="4"/>
                  </a:lnTo>
                  <a:lnTo>
                    <a:pt x="960" y="11"/>
                  </a:lnTo>
                  <a:lnTo>
                    <a:pt x="977" y="20"/>
                  </a:lnTo>
                  <a:lnTo>
                    <a:pt x="996" y="31"/>
                  </a:lnTo>
                  <a:lnTo>
                    <a:pt x="1015" y="47"/>
                  </a:lnTo>
                  <a:lnTo>
                    <a:pt x="1032" y="68"/>
                  </a:lnTo>
                  <a:lnTo>
                    <a:pt x="1045" y="87"/>
                  </a:lnTo>
                  <a:lnTo>
                    <a:pt x="1052" y="104"/>
                  </a:lnTo>
                  <a:lnTo>
                    <a:pt x="1057" y="132"/>
                  </a:lnTo>
                  <a:lnTo>
                    <a:pt x="1057" y="157"/>
                  </a:lnTo>
                  <a:lnTo>
                    <a:pt x="1053" y="182"/>
                  </a:lnTo>
                  <a:lnTo>
                    <a:pt x="1048" y="201"/>
                  </a:lnTo>
                  <a:lnTo>
                    <a:pt x="1041" y="231"/>
                  </a:lnTo>
                  <a:lnTo>
                    <a:pt x="1032" y="263"/>
                  </a:lnTo>
                  <a:lnTo>
                    <a:pt x="1028" y="283"/>
                  </a:lnTo>
                  <a:lnTo>
                    <a:pt x="1035" y="304"/>
                  </a:lnTo>
                  <a:lnTo>
                    <a:pt x="1043" y="318"/>
                  </a:lnTo>
                  <a:lnTo>
                    <a:pt x="1057" y="337"/>
                  </a:lnTo>
                  <a:lnTo>
                    <a:pt x="1078" y="352"/>
                  </a:lnTo>
                  <a:lnTo>
                    <a:pt x="1098" y="365"/>
                  </a:lnTo>
                  <a:lnTo>
                    <a:pt x="1128" y="376"/>
                  </a:lnTo>
                  <a:lnTo>
                    <a:pt x="1157" y="383"/>
                  </a:lnTo>
                  <a:lnTo>
                    <a:pt x="1185" y="389"/>
                  </a:lnTo>
                  <a:lnTo>
                    <a:pt x="1214" y="392"/>
                  </a:lnTo>
                  <a:lnTo>
                    <a:pt x="1245" y="399"/>
                  </a:lnTo>
                  <a:lnTo>
                    <a:pt x="1269" y="406"/>
                  </a:lnTo>
                  <a:lnTo>
                    <a:pt x="1287" y="415"/>
                  </a:lnTo>
                  <a:lnTo>
                    <a:pt x="1302" y="424"/>
                  </a:lnTo>
                  <a:lnTo>
                    <a:pt x="1313" y="435"/>
                  </a:lnTo>
                  <a:lnTo>
                    <a:pt x="1320" y="448"/>
                  </a:lnTo>
                  <a:lnTo>
                    <a:pt x="1327" y="463"/>
                  </a:lnTo>
                  <a:lnTo>
                    <a:pt x="1330" y="477"/>
                  </a:lnTo>
                  <a:lnTo>
                    <a:pt x="1332" y="490"/>
                  </a:lnTo>
                  <a:lnTo>
                    <a:pt x="1332" y="508"/>
                  </a:lnTo>
                  <a:lnTo>
                    <a:pt x="1330" y="528"/>
                  </a:lnTo>
                  <a:lnTo>
                    <a:pt x="1330" y="543"/>
                  </a:lnTo>
                  <a:lnTo>
                    <a:pt x="1334" y="562"/>
                  </a:lnTo>
                  <a:lnTo>
                    <a:pt x="1343" y="579"/>
                  </a:lnTo>
                  <a:lnTo>
                    <a:pt x="1354" y="593"/>
                  </a:lnTo>
                  <a:lnTo>
                    <a:pt x="1367" y="604"/>
                  </a:lnTo>
                  <a:lnTo>
                    <a:pt x="1384" y="615"/>
                  </a:lnTo>
                  <a:lnTo>
                    <a:pt x="1402" y="622"/>
                  </a:lnTo>
                  <a:lnTo>
                    <a:pt x="1428" y="627"/>
                  </a:lnTo>
                  <a:lnTo>
                    <a:pt x="1451" y="629"/>
                  </a:lnTo>
                  <a:lnTo>
                    <a:pt x="1472" y="631"/>
                  </a:lnTo>
                  <a:lnTo>
                    <a:pt x="1496" y="629"/>
                  </a:lnTo>
                  <a:lnTo>
                    <a:pt x="1525" y="627"/>
                  </a:lnTo>
                  <a:lnTo>
                    <a:pt x="1548" y="626"/>
                  </a:lnTo>
                  <a:lnTo>
                    <a:pt x="1571" y="624"/>
                  </a:lnTo>
                  <a:lnTo>
                    <a:pt x="1592" y="622"/>
                  </a:lnTo>
                  <a:lnTo>
                    <a:pt x="1617" y="624"/>
                  </a:lnTo>
                  <a:lnTo>
                    <a:pt x="1630" y="626"/>
                  </a:lnTo>
                  <a:lnTo>
                    <a:pt x="1646" y="629"/>
                  </a:lnTo>
                  <a:lnTo>
                    <a:pt x="1661" y="637"/>
                  </a:lnTo>
                  <a:lnTo>
                    <a:pt x="1677" y="647"/>
                  </a:lnTo>
                  <a:lnTo>
                    <a:pt x="1689" y="659"/>
                  </a:lnTo>
                  <a:lnTo>
                    <a:pt x="1698" y="677"/>
                  </a:lnTo>
                  <a:lnTo>
                    <a:pt x="1702" y="692"/>
                  </a:lnTo>
                  <a:lnTo>
                    <a:pt x="1705" y="711"/>
                  </a:lnTo>
                  <a:lnTo>
                    <a:pt x="1707" y="745"/>
                  </a:lnTo>
                  <a:lnTo>
                    <a:pt x="1706" y="785"/>
                  </a:lnTo>
                  <a:lnTo>
                    <a:pt x="1707" y="828"/>
                  </a:lnTo>
                  <a:lnTo>
                    <a:pt x="1704" y="878"/>
                  </a:lnTo>
                  <a:lnTo>
                    <a:pt x="1700" y="912"/>
                  </a:lnTo>
                  <a:lnTo>
                    <a:pt x="1696" y="939"/>
                  </a:lnTo>
                  <a:lnTo>
                    <a:pt x="1689" y="954"/>
                  </a:lnTo>
                  <a:lnTo>
                    <a:pt x="1678" y="968"/>
                  </a:lnTo>
                  <a:lnTo>
                    <a:pt x="1666" y="978"/>
                  </a:lnTo>
                  <a:lnTo>
                    <a:pt x="1650" y="986"/>
                  </a:lnTo>
                  <a:lnTo>
                    <a:pt x="1632" y="991"/>
                  </a:lnTo>
                  <a:lnTo>
                    <a:pt x="1616" y="994"/>
                  </a:lnTo>
                  <a:lnTo>
                    <a:pt x="1582" y="996"/>
                  </a:lnTo>
                  <a:lnTo>
                    <a:pt x="1553" y="994"/>
                  </a:lnTo>
                  <a:lnTo>
                    <a:pt x="1529" y="991"/>
                  </a:lnTo>
                  <a:lnTo>
                    <a:pt x="1508" y="990"/>
                  </a:lnTo>
                  <a:lnTo>
                    <a:pt x="1484" y="989"/>
                  </a:lnTo>
                  <a:lnTo>
                    <a:pt x="1463" y="989"/>
                  </a:lnTo>
                  <a:lnTo>
                    <a:pt x="1444" y="990"/>
                  </a:lnTo>
                  <a:lnTo>
                    <a:pt x="1424" y="991"/>
                  </a:lnTo>
                  <a:lnTo>
                    <a:pt x="1400" y="997"/>
                  </a:lnTo>
                  <a:lnTo>
                    <a:pt x="1387" y="1002"/>
                  </a:lnTo>
                  <a:lnTo>
                    <a:pt x="1375" y="1006"/>
                  </a:lnTo>
                  <a:lnTo>
                    <a:pt x="1359" y="1016"/>
                  </a:lnTo>
                  <a:lnTo>
                    <a:pt x="1348" y="1027"/>
                  </a:lnTo>
                  <a:lnTo>
                    <a:pt x="1340" y="1038"/>
                  </a:lnTo>
                  <a:lnTo>
                    <a:pt x="1332" y="1051"/>
                  </a:lnTo>
                  <a:lnTo>
                    <a:pt x="1328" y="1064"/>
                  </a:lnTo>
                  <a:lnTo>
                    <a:pt x="1327" y="1078"/>
                  </a:lnTo>
                  <a:lnTo>
                    <a:pt x="1328" y="1094"/>
                  </a:lnTo>
                  <a:lnTo>
                    <a:pt x="1328" y="1120"/>
                  </a:lnTo>
                  <a:lnTo>
                    <a:pt x="1327" y="1147"/>
                  </a:lnTo>
                  <a:lnTo>
                    <a:pt x="1319" y="1167"/>
                  </a:lnTo>
                  <a:lnTo>
                    <a:pt x="1311" y="1183"/>
                  </a:lnTo>
                  <a:lnTo>
                    <a:pt x="1299" y="1195"/>
                  </a:lnTo>
                  <a:lnTo>
                    <a:pt x="1282" y="1205"/>
                  </a:lnTo>
                  <a:lnTo>
                    <a:pt x="1265" y="1213"/>
                  </a:lnTo>
                  <a:lnTo>
                    <a:pt x="1245" y="1218"/>
                  </a:lnTo>
                  <a:lnTo>
                    <a:pt x="1219" y="1222"/>
                  </a:lnTo>
                  <a:lnTo>
                    <a:pt x="1198" y="1228"/>
                  </a:lnTo>
                  <a:lnTo>
                    <a:pt x="1173" y="1232"/>
                  </a:lnTo>
                  <a:lnTo>
                    <a:pt x="1152" y="1235"/>
                  </a:lnTo>
                  <a:lnTo>
                    <a:pt x="1128" y="1240"/>
                  </a:lnTo>
                  <a:lnTo>
                    <a:pt x="1109" y="1248"/>
                  </a:lnTo>
                  <a:lnTo>
                    <a:pt x="1088" y="1257"/>
                  </a:lnTo>
                  <a:lnTo>
                    <a:pt x="1068" y="1267"/>
                  </a:lnTo>
                  <a:lnTo>
                    <a:pt x="1053" y="1281"/>
                  </a:lnTo>
                  <a:lnTo>
                    <a:pt x="1040" y="1298"/>
                  </a:lnTo>
                  <a:lnTo>
                    <a:pt x="1029" y="1318"/>
                  </a:lnTo>
                  <a:lnTo>
                    <a:pt x="1027" y="1336"/>
                  </a:lnTo>
                  <a:lnTo>
                    <a:pt x="1028" y="1356"/>
                  </a:lnTo>
                  <a:lnTo>
                    <a:pt x="1032" y="1375"/>
                  </a:lnTo>
                  <a:lnTo>
                    <a:pt x="1039" y="1395"/>
                  </a:lnTo>
                  <a:lnTo>
                    <a:pt x="1044" y="1417"/>
                  </a:lnTo>
                  <a:lnTo>
                    <a:pt x="1048" y="1437"/>
                  </a:lnTo>
                  <a:lnTo>
                    <a:pt x="1053" y="1463"/>
                  </a:lnTo>
                  <a:lnTo>
                    <a:pt x="1053" y="1489"/>
                  </a:lnTo>
                  <a:lnTo>
                    <a:pt x="1047" y="1515"/>
                  </a:lnTo>
                  <a:lnTo>
                    <a:pt x="1040" y="1535"/>
                  </a:lnTo>
                  <a:lnTo>
                    <a:pt x="1032" y="1555"/>
                  </a:lnTo>
                  <a:lnTo>
                    <a:pt x="1021" y="1574"/>
                  </a:lnTo>
                  <a:lnTo>
                    <a:pt x="1007" y="1598"/>
                  </a:lnTo>
                  <a:lnTo>
                    <a:pt x="991" y="1613"/>
                  </a:lnTo>
                  <a:lnTo>
                    <a:pt x="977" y="1624"/>
                  </a:lnTo>
                  <a:lnTo>
                    <a:pt x="960" y="1637"/>
                  </a:lnTo>
                  <a:lnTo>
                    <a:pt x="941" y="1649"/>
                  </a:lnTo>
                  <a:lnTo>
                    <a:pt x="924" y="1655"/>
                  </a:lnTo>
                  <a:lnTo>
                    <a:pt x="908" y="1658"/>
                  </a:lnTo>
                  <a:lnTo>
                    <a:pt x="882" y="1661"/>
                  </a:lnTo>
                  <a:lnTo>
                    <a:pt x="851" y="1662"/>
                  </a:lnTo>
                  <a:lnTo>
                    <a:pt x="814" y="1661"/>
                  </a:lnTo>
                  <a:lnTo>
                    <a:pt x="797" y="1661"/>
                  </a:lnTo>
                  <a:lnTo>
                    <a:pt x="774" y="1657"/>
                  </a:lnTo>
                  <a:lnTo>
                    <a:pt x="750" y="1651"/>
                  </a:lnTo>
                  <a:lnTo>
                    <a:pt x="729" y="1640"/>
                  </a:lnTo>
                  <a:lnTo>
                    <a:pt x="715" y="1631"/>
                  </a:lnTo>
                  <a:lnTo>
                    <a:pt x="701" y="1618"/>
                  </a:lnTo>
                  <a:lnTo>
                    <a:pt x="689" y="1606"/>
                  </a:lnTo>
                  <a:lnTo>
                    <a:pt x="677" y="1591"/>
                  </a:lnTo>
                  <a:lnTo>
                    <a:pt x="668" y="1575"/>
                  </a:lnTo>
                  <a:lnTo>
                    <a:pt x="660" y="1557"/>
                  </a:lnTo>
                  <a:lnTo>
                    <a:pt x="656" y="1537"/>
                  </a:lnTo>
                  <a:lnTo>
                    <a:pt x="654" y="1521"/>
                  </a:lnTo>
                  <a:lnTo>
                    <a:pt x="654" y="1500"/>
                  </a:lnTo>
                  <a:lnTo>
                    <a:pt x="656" y="1482"/>
                  </a:lnTo>
                  <a:lnTo>
                    <a:pt x="662" y="1463"/>
                  </a:lnTo>
                  <a:lnTo>
                    <a:pt x="668" y="1441"/>
                  </a:lnTo>
                  <a:lnTo>
                    <a:pt x="674" y="1420"/>
                  </a:lnTo>
                  <a:lnTo>
                    <a:pt x="678" y="1401"/>
                  </a:lnTo>
                  <a:lnTo>
                    <a:pt x="679" y="1383"/>
                  </a:lnTo>
                  <a:lnTo>
                    <a:pt x="678" y="1369"/>
                  </a:lnTo>
                  <a:lnTo>
                    <a:pt x="674" y="1355"/>
                  </a:lnTo>
                  <a:lnTo>
                    <a:pt x="664" y="1337"/>
                  </a:lnTo>
                  <a:lnTo>
                    <a:pt x="653" y="1325"/>
                  </a:lnTo>
                  <a:lnTo>
                    <a:pt x="640" y="1312"/>
                  </a:lnTo>
                  <a:lnTo>
                    <a:pt x="625" y="1303"/>
                  </a:lnTo>
                  <a:lnTo>
                    <a:pt x="610" y="1293"/>
                  </a:lnTo>
                  <a:lnTo>
                    <a:pt x="589" y="1286"/>
                  </a:lnTo>
                  <a:lnTo>
                    <a:pt x="570" y="1281"/>
                  </a:lnTo>
                  <a:lnTo>
                    <a:pt x="546" y="1277"/>
                  </a:lnTo>
                  <a:lnTo>
                    <a:pt x="525" y="1274"/>
                  </a:lnTo>
                  <a:lnTo>
                    <a:pt x="505" y="1270"/>
                  </a:lnTo>
                  <a:lnTo>
                    <a:pt x="481" y="1265"/>
                  </a:lnTo>
                  <a:lnTo>
                    <a:pt x="461" y="1258"/>
                  </a:lnTo>
                  <a:lnTo>
                    <a:pt x="437" y="1252"/>
                  </a:lnTo>
                  <a:lnTo>
                    <a:pt x="419" y="1245"/>
                  </a:lnTo>
                  <a:lnTo>
                    <a:pt x="404" y="1234"/>
                  </a:lnTo>
                  <a:lnTo>
                    <a:pt x="392" y="1220"/>
                  </a:lnTo>
                  <a:lnTo>
                    <a:pt x="384" y="1202"/>
                  </a:lnTo>
                  <a:lnTo>
                    <a:pt x="378" y="1179"/>
                  </a:lnTo>
                  <a:lnTo>
                    <a:pt x="376" y="1160"/>
                  </a:lnTo>
                  <a:lnTo>
                    <a:pt x="378" y="1139"/>
                  </a:lnTo>
                  <a:lnTo>
                    <a:pt x="380" y="1122"/>
                  </a:lnTo>
                  <a:lnTo>
                    <a:pt x="378" y="1102"/>
                  </a:lnTo>
                  <a:lnTo>
                    <a:pt x="371" y="1087"/>
                  </a:lnTo>
                  <a:lnTo>
                    <a:pt x="359" y="1070"/>
                  </a:lnTo>
                  <a:lnTo>
                    <a:pt x="347" y="1059"/>
                  </a:lnTo>
                  <a:lnTo>
                    <a:pt x="332" y="1049"/>
                  </a:lnTo>
                  <a:lnTo>
                    <a:pt x="312" y="1042"/>
                  </a:lnTo>
                  <a:lnTo>
                    <a:pt x="290" y="1035"/>
                  </a:lnTo>
                  <a:lnTo>
                    <a:pt x="266" y="1032"/>
                  </a:lnTo>
                  <a:lnTo>
                    <a:pt x="246" y="1030"/>
                  </a:lnTo>
                  <a:lnTo>
                    <a:pt x="223" y="1030"/>
                  </a:lnTo>
                  <a:lnTo>
                    <a:pt x="203" y="1032"/>
                  </a:lnTo>
                  <a:lnTo>
                    <a:pt x="183" y="1033"/>
                  </a:lnTo>
                  <a:lnTo>
                    <a:pt x="163" y="1036"/>
                  </a:lnTo>
                  <a:lnTo>
                    <a:pt x="144" y="1038"/>
                  </a:lnTo>
                  <a:lnTo>
                    <a:pt x="110" y="1038"/>
                  </a:lnTo>
                  <a:lnTo>
                    <a:pt x="89" y="1037"/>
                  </a:lnTo>
                  <a:lnTo>
                    <a:pt x="66" y="1032"/>
                  </a:lnTo>
                  <a:lnTo>
                    <a:pt x="50" y="1025"/>
                  </a:lnTo>
                  <a:lnTo>
                    <a:pt x="33" y="1013"/>
                  </a:lnTo>
                  <a:lnTo>
                    <a:pt x="21" y="1000"/>
                  </a:lnTo>
                  <a:lnTo>
                    <a:pt x="13" y="986"/>
                  </a:lnTo>
                  <a:lnTo>
                    <a:pt x="4" y="959"/>
                  </a:lnTo>
                  <a:lnTo>
                    <a:pt x="3" y="931"/>
                  </a:lnTo>
                  <a:lnTo>
                    <a:pt x="1" y="902"/>
                  </a:lnTo>
                  <a:lnTo>
                    <a:pt x="0" y="867"/>
                  </a:lnTo>
                  <a:lnTo>
                    <a:pt x="3" y="836"/>
                  </a:lnTo>
                  <a:lnTo>
                    <a:pt x="4" y="803"/>
                  </a:lnTo>
                  <a:lnTo>
                    <a:pt x="5" y="774"/>
                  </a:lnTo>
                  <a:lnTo>
                    <a:pt x="8" y="743"/>
                  </a:lnTo>
                  <a:lnTo>
                    <a:pt x="12" y="719"/>
                  </a:lnTo>
                  <a:lnTo>
                    <a:pt x="16" y="693"/>
                  </a:lnTo>
                  <a:lnTo>
                    <a:pt x="21" y="673"/>
                  </a:lnTo>
                  <a:lnTo>
                    <a:pt x="29" y="660"/>
                  </a:lnTo>
                  <a:lnTo>
                    <a:pt x="41" y="647"/>
                  </a:lnTo>
                  <a:lnTo>
                    <a:pt x="53" y="639"/>
                  </a:lnTo>
                  <a:lnTo>
                    <a:pt x="69" y="629"/>
                  </a:lnTo>
                  <a:lnTo>
                    <a:pt x="84" y="627"/>
                  </a:lnTo>
                  <a:lnTo>
                    <a:pt x="102" y="624"/>
                  </a:lnTo>
                  <a:lnTo>
                    <a:pt x="126" y="622"/>
                  </a:lnTo>
                  <a:lnTo>
                    <a:pt x="148" y="624"/>
                  </a:lnTo>
                  <a:lnTo>
                    <a:pt x="177" y="627"/>
                  </a:lnTo>
                  <a:lnTo>
                    <a:pt x="202" y="628"/>
                  </a:lnTo>
                  <a:lnTo>
                    <a:pt x="223" y="629"/>
                  </a:lnTo>
                  <a:lnTo>
                    <a:pt x="253" y="631"/>
                  </a:lnTo>
                  <a:lnTo>
                    <a:pt x="283" y="627"/>
                  </a:lnTo>
                  <a:lnTo>
                    <a:pt x="308" y="622"/>
                  </a:lnTo>
                  <a:lnTo>
                    <a:pt x="332" y="614"/>
                  </a:lnTo>
                  <a:lnTo>
                    <a:pt x="348" y="606"/>
                  </a:lnTo>
                  <a:lnTo>
                    <a:pt x="364" y="593"/>
                  </a:lnTo>
                  <a:lnTo>
                    <a:pt x="376" y="576"/>
                  </a:lnTo>
                  <a:lnTo>
                    <a:pt x="384" y="560"/>
                  </a:lnTo>
                  <a:lnTo>
                    <a:pt x="387" y="542"/>
                  </a:lnTo>
                  <a:lnTo>
                    <a:pt x="386" y="529"/>
                  </a:lnTo>
                  <a:lnTo>
                    <a:pt x="384" y="504"/>
                  </a:lnTo>
                  <a:lnTo>
                    <a:pt x="386" y="479"/>
                  </a:lnTo>
                  <a:lnTo>
                    <a:pt x="391" y="461"/>
                  </a:lnTo>
                  <a:lnTo>
                    <a:pt x="398" y="443"/>
                  </a:lnTo>
                  <a:lnTo>
                    <a:pt x="407" y="430"/>
                  </a:lnTo>
                  <a:lnTo>
                    <a:pt x="425" y="417"/>
                  </a:lnTo>
                  <a:lnTo>
                    <a:pt x="445" y="407"/>
                  </a:lnTo>
                  <a:lnTo>
                    <a:pt x="471" y="400"/>
                  </a:lnTo>
                  <a:lnTo>
                    <a:pt x="496" y="394"/>
                  </a:lnTo>
                  <a:lnTo>
                    <a:pt x="517" y="390"/>
                  </a:lnTo>
                  <a:lnTo>
                    <a:pt x="544" y="386"/>
                  </a:lnTo>
                  <a:lnTo>
                    <a:pt x="569" y="381"/>
                  </a:lnTo>
                  <a:lnTo>
                    <a:pt x="598" y="374"/>
                  </a:lnTo>
                  <a:lnTo>
                    <a:pt x="626" y="364"/>
                  </a:lnTo>
                  <a:lnTo>
                    <a:pt x="650" y="347"/>
                  </a:lnTo>
                  <a:close/>
                </a:path>
              </a:pathLst>
            </a:custGeom>
            <a:solidFill>
              <a:schemeClr val="accent1"/>
            </a:solidFill>
            <a:ln w="6350">
              <a:noFill/>
              <a:round/>
              <a:headEnd/>
              <a:tailEnd/>
            </a:ln>
          </p:spPr>
          <p:txBody>
            <a:bodyPr lIns="45720" rIns="45720"/>
            <a:lstStyle/>
            <a:p>
              <a:endParaRPr lang="en-US"/>
            </a:p>
          </p:txBody>
        </p:sp>
      </p:grpSp>
      <p:sp>
        <p:nvSpPr>
          <p:cNvPr id="24" name="Text Box 8">
            <a:extLst>
              <a:ext uri="{FF2B5EF4-FFF2-40B4-BE49-F238E27FC236}">
                <a16:creationId xmlns:a16="http://schemas.microsoft.com/office/drawing/2014/main" id="{7D49769B-45BC-437C-8740-2EF2D3C19E63}"/>
              </a:ext>
            </a:extLst>
          </p:cNvPr>
          <p:cNvSpPr txBox="1">
            <a:spLocks noChangeArrowheads="1"/>
          </p:cNvSpPr>
          <p:nvPr/>
        </p:nvSpPr>
        <p:spPr bwMode="auto">
          <a:xfrm>
            <a:off x="3899757" y="1628801"/>
            <a:ext cx="2181187" cy="1290959"/>
          </a:xfrm>
          <a:prstGeom prst="rect">
            <a:avLst/>
          </a:prstGeom>
          <a:noFill/>
          <a:ln w="6350">
            <a:noFill/>
            <a:miter lim="800000"/>
            <a:headEnd/>
            <a:tailEnd/>
          </a:ln>
        </p:spPr>
        <p:txBody>
          <a:bodyPr wrap="none" lIns="180000" tIns="144000" rIns="45720"/>
          <a:lstStyle/>
          <a:p>
            <a:pPr marL="108000" indent="-108000">
              <a:spcBef>
                <a:spcPts val="100"/>
              </a:spcBef>
              <a:spcAft>
                <a:spcPts val="100"/>
              </a:spcAft>
            </a:pPr>
            <a:r>
              <a:rPr lang="en-GB" sz="1400" b="1" dirty="0"/>
              <a:t>Text</a:t>
            </a:r>
            <a:endParaRPr lang="en-GB" sz="1200" b="1" dirty="0"/>
          </a:p>
          <a:p>
            <a:pPr marL="108000" indent="-108000">
              <a:spcBef>
                <a:spcPts val="100"/>
              </a:spcBef>
              <a:spcAft>
                <a:spcPts val="100"/>
              </a:spcAft>
              <a:buFontTx/>
              <a:buChar char="•"/>
            </a:pPr>
            <a:r>
              <a:rPr lang="en-GB" sz="1200" dirty="0"/>
              <a:t>Text</a:t>
            </a:r>
          </a:p>
          <a:p>
            <a:pPr marL="108000" indent="-108000">
              <a:spcBef>
                <a:spcPts val="100"/>
              </a:spcBef>
              <a:spcAft>
                <a:spcPts val="100"/>
              </a:spcAft>
              <a:buFontTx/>
              <a:buChar char="•"/>
            </a:pPr>
            <a:r>
              <a:rPr lang="en-GB" sz="1200" dirty="0"/>
              <a:t>Text</a:t>
            </a:r>
          </a:p>
          <a:p>
            <a:pPr marL="108000" indent="-108000">
              <a:spcBef>
                <a:spcPts val="100"/>
              </a:spcBef>
              <a:spcAft>
                <a:spcPts val="100"/>
              </a:spcAft>
              <a:buFontTx/>
              <a:buChar char="•"/>
            </a:pPr>
            <a:r>
              <a:rPr lang="en-GB" sz="1200" dirty="0"/>
              <a:t>Text</a:t>
            </a:r>
            <a:endParaRPr lang="en-AU" sz="1200" dirty="0"/>
          </a:p>
        </p:txBody>
      </p:sp>
      <p:sp>
        <p:nvSpPr>
          <p:cNvPr id="25" name="Text Box 11">
            <a:extLst>
              <a:ext uri="{FF2B5EF4-FFF2-40B4-BE49-F238E27FC236}">
                <a16:creationId xmlns:a16="http://schemas.microsoft.com/office/drawing/2014/main" id="{7E4F0266-0237-42AC-AB15-09CD38B750DA}"/>
              </a:ext>
            </a:extLst>
          </p:cNvPr>
          <p:cNvSpPr txBox="1">
            <a:spLocks noChangeArrowheads="1"/>
          </p:cNvSpPr>
          <p:nvPr/>
        </p:nvSpPr>
        <p:spPr bwMode="auto">
          <a:xfrm>
            <a:off x="5397231" y="3032239"/>
            <a:ext cx="1361517" cy="1252985"/>
          </a:xfrm>
          <a:prstGeom prst="rect">
            <a:avLst/>
          </a:prstGeom>
          <a:noFill/>
          <a:ln w="6350">
            <a:noFill/>
            <a:miter lim="800000"/>
            <a:headEnd/>
            <a:tailEnd/>
          </a:ln>
        </p:spPr>
        <p:txBody>
          <a:bodyPr wrap="none" lIns="180000" tIns="144000" rIns="45720"/>
          <a:lstStyle/>
          <a:p>
            <a:pPr marL="108000" indent="-108000">
              <a:spcBef>
                <a:spcPts val="100"/>
              </a:spcBef>
              <a:spcAft>
                <a:spcPts val="100"/>
              </a:spcAft>
              <a:buClr>
                <a:schemeClr val="folHlink"/>
              </a:buClr>
            </a:pPr>
            <a:r>
              <a:rPr lang="en-GB" sz="1400" b="1" dirty="0">
                <a:solidFill>
                  <a:schemeClr val="bg1"/>
                </a:solidFill>
              </a:rPr>
              <a:t>Text</a:t>
            </a:r>
            <a:endParaRPr lang="en-GB" sz="1200" b="1" dirty="0">
              <a:solidFill>
                <a:schemeClr val="bg1"/>
              </a:solidFill>
            </a:endParaRP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endParaRPr lang="en-AU" sz="1200" dirty="0">
              <a:solidFill>
                <a:schemeClr val="bg1"/>
              </a:solidFill>
            </a:endParaRPr>
          </a:p>
        </p:txBody>
      </p:sp>
      <p:sp>
        <p:nvSpPr>
          <p:cNvPr id="26" name="Text Box 12">
            <a:extLst>
              <a:ext uri="{FF2B5EF4-FFF2-40B4-BE49-F238E27FC236}">
                <a16:creationId xmlns:a16="http://schemas.microsoft.com/office/drawing/2014/main" id="{6CA74FD8-7BCD-4D78-A1F6-2F5E97320622}"/>
              </a:ext>
            </a:extLst>
          </p:cNvPr>
          <p:cNvSpPr txBox="1">
            <a:spLocks noChangeArrowheads="1"/>
          </p:cNvSpPr>
          <p:nvPr/>
        </p:nvSpPr>
        <p:spPr bwMode="auto">
          <a:xfrm>
            <a:off x="3899758" y="3439959"/>
            <a:ext cx="1682687" cy="2000080"/>
          </a:xfrm>
          <a:prstGeom prst="rect">
            <a:avLst/>
          </a:prstGeom>
          <a:noFill/>
          <a:ln w="6350">
            <a:noFill/>
            <a:miter lim="800000"/>
            <a:headEnd/>
            <a:tailEnd/>
          </a:ln>
        </p:spPr>
        <p:txBody>
          <a:bodyPr wrap="none" lIns="180000" tIns="144000" rIns="45720" anchor="b"/>
          <a:lstStyle/>
          <a:p>
            <a:pPr marL="108000" indent="-108000">
              <a:spcBef>
                <a:spcPts val="100"/>
              </a:spcBef>
              <a:spcAft>
                <a:spcPts val="100"/>
              </a:spcAft>
            </a:pPr>
            <a:r>
              <a:rPr lang="en-GB" sz="1400" b="1" dirty="0">
                <a:solidFill>
                  <a:schemeClr val="bg1"/>
                </a:solidFill>
              </a:rPr>
              <a:t>Text</a:t>
            </a:r>
            <a:endParaRPr lang="en-GB" sz="1200" b="1" dirty="0">
              <a:solidFill>
                <a:schemeClr val="bg1"/>
              </a:solidFill>
            </a:endParaRP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endParaRPr lang="en-AU" sz="1200" dirty="0">
              <a:solidFill>
                <a:schemeClr val="bg1"/>
              </a:solidFill>
            </a:endParaRPr>
          </a:p>
        </p:txBody>
      </p:sp>
      <p:sp>
        <p:nvSpPr>
          <p:cNvPr id="27" name="Text Box 16">
            <a:extLst>
              <a:ext uri="{FF2B5EF4-FFF2-40B4-BE49-F238E27FC236}">
                <a16:creationId xmlns:a16="http://schemas.microsoft.com/office/drawing/2014/main" id="{281DF986-ECF1-427D-AFF6-B41AEF13D7CE}"/>
              </a:ext>
            </a:extLst>
          </p:cNvPr>
          <p:cNvSpPr txBox="1">
            <a:spLocks noChangeArrowheads="1"/>
          </p:cNvSpPr>
          <p:nvPr/>
        </p:nvSpPr>
        <p:spPr bwMode="auto">
          <a:xfrm>
            <a:off x="6591268" y="1639761"/>
            <a:ext cx="1672834" cy="2000078"/>
          </a:xfrm>
          <a:prstGeom prst="rect">
            <a:avLst/>
          </a:prstGeom>
          <a:noFill/>
          <a:ln w="6350">
            <a:noFill/>
            <a:miter lim="800000"/>
            <a:headEnd/>
            <a:tailEnd/>
          </a:ln>
        </p:spPr>
        <p:txBody>
          <a:bodyPr wrap="none" lIns="45720" tIns="144000" rIns="45720"/>
          <a:lstStyle/>
          <a:p>
            <a:pPr marL="108000" indent="-108000">
              <a:spcBef>
                <a:spcPts val="100"/>
              </a:spcBef>
              <a:spcAft>
                <a:spcPts val="100"/>
              </a:spcAft>
            </a:pPr>
            <a:r>
              <a:rPr lang="en-GB" sz="1400" b="1" dirty="0">
                <a:solidFill>
                  <a:schemeClr val="bg1"/>
                </a:solidFill>
              </a:rPr>
              <a:t>Text</a:t>
            </a:r>
            <a:endParaRPr lang="en-GB" sz="1200" b="1" dirty="0">
              <a:solidFill>
                <a:schemeClr val="bg1"/>
              </a:solidFill>
            </a:endParaRP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endParaRPr lang="en-AU" sz="1200" dirty="0">
              <a:solidFill>
                <a:schemeClr val="bg1"/>
              </a:solidFill>
            </a:endParaRPr>
          </a:p>
        </p:txBody>
      </p:sp>
      <p:sp>
        <p:nvSpPr>
          <p:cNvPr id="28" name="Text Box 17">
            <a:extLst>
              <a:ext uri="{FF2B5EF4-FFF2-40B4-BE49-F238E27FC236}">
                <a16:creationId xmlns:a16="http://schemas.microsoft.com/office/drawing/2014/main" id="{C75B4B69-0582-41EF-AD33-D5863C301A5B}"/>
              </a:ext>
            </a:extLst>
          </p:cNvPr>
          <p:cNvSpPr txBox="1">
            <a:spLocks noChangeArrowheads="1"/>
          </p:cNvSpPr>
          <p:nvPr/>
        </p:nvSpPr>
        <p:spPr bwMode="auto">
          <a:xfrm>
            <a:off x="6591268" y="3439959"/>
            <a:ext cx="1672834" cy="2000080"/>
          </a:xfrm>
          <a:prstGeom prst="rect">
            <a:avLst/>
          </a:prstGeom>
          <a:noFill/>
          <a:ln w="6350">
            <a:noFill/>
            <a:miter lim="800000"/>
            <a:headEnd/>
            <a:tailEnd/>
          </a:ln>
        </p:spPr>
        <p:txBody>
          <a:bodyPr wrap="none" lIns="45720" rIns="45720" anchor="b"/>
          <a:lstStyle/>
          <a:p>
            <a:pPr marL="108000" indent="-108000">
              <a:spcBef>
                <a:spcPts val="100"/>
              </a:spcBef>
              <a:spcAft>
                <a:spcPts val="100"/>
              </a:spcAft>
            </a:pPr>
            <a:r>
              <a:rPr lang="en-GB" sz="1400" b="1" dirty="0">
                <a:solidFill>
                  <a:schemeClr val="bg1"/>
                </a:solidFill>
              </a:rPr>
              <a:t>Text</a:t>
            </a:r>
            <a:endParaRPr lang="en-GB" sz="1200" b="1" dirty="0">
              <a:solidFill>
                <a:schemeClr val="bg1"/>
              </a:solidFill>
            </a:endParaRP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p>
          <a:p>
            <a:pPr marL="108000" indent="-108000">
              <a:spcBef>
                <a:spcPts val="100"/>
              </a:spcBef>
              <a:spcAft>
                <a:spcPts val="100"/>
              </a:spcAft>
              <a:buFontTx/>
              <a:buChar char="•"/>
            </a:pPr>
            <a:r>
              <a:rPr lang="en-GB" sz="1200" dirty="0">
                <a:solidFill>
                  <a:schemeClr val="bg1"/>
                </a:solidFill>
              </a:rPr>
              <a:t>Text</a:t>
            </a:r>
            <a:endParaRPr lang="en-AU" sz="1200" dirty="0">
              <a:solidFill>
                <a:schemeClr val="bg1"/>
              </a:solidFill>
            </a:endParaRPr>
          </a:p>
        </p:txBody>
      </p:sp>
    </p:spTree>
    <p:extLst>
      <p:ext uri="{BB962C8B-B14F-4D97-AF65-F5344CB8AC3E}">
        <p14:creationId xmlns:p14="http://schemas.microsoft.com/office/powerpoint/2010/main" val="67778277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Corporate Environmental Responsibility</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14" name="Group 13">
            <a:extLst>
              <a:ext uri="{FF2B5EF4-FFF2-40B4-BE49-F238E27FC236}">
                <a16:creationId xmlns:a16="http://schemas.microsoft.com/office/drawing/2014/main" id="{15120F53-2792-4918-8C23-55208CD48D01}"/>
              </a:ext>
            </a:extLst>
          </p:cNvPr>
          <p:cNvGrpSpPr/>
          <p:nvPr/>
        </p:nvGrpSpPr>
        <p:grpSpPr>
          <a:xfrm>
            <a:off x="3580871" y="1486311"/>
            <a:ext cx="4838700" cy="4557712"/>
            <a:chOff x="3580871" y="1486311"/>
            <a:chExt cx="4838700" cy="4557712"/>
          </a:xfrm>
        </p:grpSpPr>
        <p:grpSp>
          <p:nvGrpSpPr>
            <p:cNvPr id="15" name="Group 14">
              <a:extLst>
                <a:ext uri="{FF2B5EF4-FFF2-40B4-BE49-F238E27FC236}">
                  <a16:creationId xmlns:a16="http://schemas.microsoft.com/office/drawing/2014/main" id="{6DD72E1F-3214-4A14-9E73-79738B2D1066}"/>
                </a:ext>
              </a:extLst>
            </p:cNvPr>
            <p:cNvGrpSpPr/>
            <p:nvPr/>
          </p:nvGrpSpPr>
          <p:grpSpPr>
            <a:xfrm>
              <a:off x="3580871" y="1486311"/>
              <a:ext cx="4838700" cy="4557712"/>
              <a:chOff x="3674252" y="1515720"/>
              <a:chExt cx="4838700" cy="4557712"/>
            </a:xfrm>
          </p:grpSpPr>
          <p:sp>
            <p:nvSpPr>
              <p:cNvPr id="30" name="Oval 4">
                <a:extLst>
                  <a:ext uri="{FF2B5EF4-FFF2-40B4-BE49-F238E27FC236}">
                    <a16:creationId xmlns:a16="http://schemas.microsoft.com/office/drawing/2014/main" id="{DC79CAFD-5181-4786-A5F4-7AD5788C082D}"/>
                  </a:ext>
                </a:extLst>
              </p:cNvPr>
              <p:cNvSpPr>
                <a:spLocks noChangeArrowheads="1"/>
              </p:cNvSpPr>
              <p:nvPr/>
            </p:nvSpPr>
            <p:spPr bwMode="auto">
              <a:xfrm>
                <a:off x="4656915" y="1515720"/>
                <a:ext cx="2873375" cy="2935287"/>
              </a:xfrm>
              <a:prstGeom prst="ellipse">
                <a:avLst/>
              </a:prstGeom>
              <a:solidFill>
                <a:srgbClr val="A100FF">
                  <a:lumMod val="20000"/>
                  <a:lumOff val="80000"/>
                </a:srgbClr>
              </a:solidFill>
              <a:ln w="6350">
                <a:noFill/>
                <a:round/>
                <a:headEnd/>
                <a:tailEnd/>
              </a:ln>
              <a:effectLst/>
            </p:spPr>
            <p:txBody>
              <a:bodyPr lIns="72000" tIns="72000" rIns="72000" bIns="72000" anchor="ctr" anchorCtr="1"/>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Graphik"/>
                  <a:ea typeface="+mn-ea"/>
                  <a:cs typeface="+mn-cs"/>
                </a:endParaRPr>
              </a:p>
            </p:txBody>
          </p:sp>
          <p:sp>
            <p:nvSpPr>
              <p:cNvPr id="31" name="Oval 5">
                <a:extLst>
                  <a:ext uri="{FF2B5EF4-FFF2-40B4-BE49-F238E27FC236}">
                    <a16:creationId xmlns:a16="http://schemas.microsoft.com/office/drawing/2014/main" id="{6BDF2B7C-2FCB-4B89-80D0-ED5AC8DE9C36}"/>
                  </a:ext>
                </a:extLst>
              </p:cNvPr>
              <p:cNvSpPr>
                <a:spLocks noChangeArrowheads="1"/>
              </p:cNvSpPr>
              <p:nvPr/>
            </p:nvSpPr>
            <p:spPr bwMode="auto">
              <a:xfrm>
                <a:off x="3674252" y="3138145"/>
                <a:ext cx="2871788" cy="2935287"/>
              </a:xfrm>
              <a:prstGeom prst="ellipse">
                <a:avLst/>
              </a:prstGeom>
              <a:solidFill>
                <a:srgbClr val="A055F5">
                  <a:lumMod val="20000"/>
                  <a:lumOff val="80000"/>
                </a:srgbClr>
              </a:solidFill>
              <a:ln w="6350">
                <a:noFill/>
                <a:round/>
                <a:headEnd/>
                <a:tailEnd/>
              </a:ln>
              <a:effectLst/>
            </p:spPr>
            <p:txBody>
              <a:bodyPr lIns="72000" tIns="72000" rIns="72000" bIns="7200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Graphik"/>
                  <a:ea typeface="+mn-ea"/>
                  <a:cs typeface="+mn-cs"/>
                </a:endParaRPr>
              </a:p>
            </p:txBody>
          </p:sp>
          <p:sp>
            <p:nvSpPr>
              <p:cNvPr id="32" name="Oval 6">
                <a:extLst>
                  <a:ext uri="{FF2B5EF4-FFF2-40B4-BE49-F238E27FC236}">
                    <a16:creationId xmlns:a16="http://schemas.microsoft.com/office/drawing/2014/main" id="{2C968966-548C-4F01-BF0F-5C19EE5B1FB2}"/>
                  </a:ext>
                </a:extLst>
              </p:cNvPr>
              <p:cNvSpPr>
                <a:spLocks noChangeArrowheads="1"/>
              </p:cNvSpPr>
              <p:nvPr/>
            </p:nvSpPr>
            <p:spPr bwMode="auto">
              <a:xfrm>
                <a:off x="5641165" y="3138145"/>
                <a:ext cx="2871787" cy="2935287"/>
              </a:xfrm>
              <a:prstGeom prst="ellipse">
                <a:avLst/>
              </a:prstGeom>
              <a:solidFill>
                <a:srgbClr val="B455AA">
                  <a:lumMod val="20000"/>
                  <a:lumOff val="80000"/>
                </a:srgbClr>
              </a:solidFill>
              <a:ln w="6350">
                <a:noFill/>
                <a:round/>
                <a:headEnd/>
                <a:tailEnd/>
              </a:ln>
              <a:effectLst/>
            </p:spPr>
            <p:txBody>
              <a:bodyPr lIns="72000" tIns="72000" rIns="72000" bIns="7200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Graphik"/>
                  <a:ea typeface="+mn-ea"/>
                  <a:cs typeface="+mn-cs"/>
                </a:endParaRPr>
              </a:p>
            </p:txBody>
          </p:sp>
          <p:sp>
            <p:nvSpPr>
              <p:cNvPr id="33" name="Freeform 7">
                <a:extLst>
                  <a:ext uri="{FF2B5EF4-FFF2-40B4-BE49-F238E27FC236}">
                    <a16:creationId xmlns:a16="http://schemas.microsoft.com/office/drawing/2014/main" id="{52534089-21EA-4800-BACE-E61DA2973817}"/>
                  </a:ext>
                </a:extLst>
              </p:cNvPr>
              <p:cNvSpPr>
                <a:spLocks/>
              </p:cNvSpPr>
              <p:nvPr/>
            </p:nvSpPr>
            <p:spPr bwMode="auto">
              <a:xfrm>
                <a:off x="4675965" y="3134970"/>
                <a:ext cx="1855787" cy="1314450"/>
              </a:xfrm>
              <a:custGeom>
                <a:avLst/>
                <a:gdLst/>
                <a:ahLst/>
                <a:cxnLst>
                  <a:cxn ang="0">
                    <a:pos x="1146" y="783"/>
                  </a:cxn>
                  <a:cxn ang="0">
                    <a:pos x="1079" y="801"/>
                  </a:cxn>
                  <a:cxn ang="0">
                    <a:pos x="1009" y="812"/>
                  </a:cxn>
                  <a:cxn ang="0">
                    <a:pos x="938" y="816"/>
                  </a:cxn>
                  <a:cxn ang="0">
                    <a:pos x="860" y="816"/>
                  </a:cxn>
                  <a:cxn ang="0">
                    <a:pos x="775" y="808"/>
                  </a:cxn>
                  <a:cxn ang="0">
                    <a:pos x="695" y="793"/>
                  </a:cxn>
                  <a:cxn ang="0">
                    <a:pos x="616" y="772"/>
                  </a:cxn>
                  <a:cxn ang="0">
                    <a:pos x="541" y="743"/>
                  </a:cxn>
                  <a:cxn ang="0">
                    <a:pos x="468" y="708"/>
                  </a:cxn>
                  <a:cxn ang="0">
                    <a:pos x="399" y="666"/>
                  </a:cxn>
                  <a:cxn ang="0">
                    <a:pos x="336" y="620"/>
                  </a:cxn>
                  <a:cxn ang="0">
                    <a:pos x="274" y="568"/>
                  </a:cxn>
                  <a:cxn ang="0">
                    <a:pos x="221" y="511"/>
                  </a:cxn>
                  <a:cxn ang="0">
                    <a:pos x="169" y="449"/>
                  </a:cxn>
                  <a:cxn ang="0">
                    <a:pos x="125" y="384"/>
                  </a:cxn>
                  <a:cxn ang="0">
                    <a:pos x="86" y="313"/>
                  </a:cxn>
                  <a:cxn ang="0">
                    <a:pos x="52" y="240"/>
                  </a:cxn>
                  <a:cxn ang="0">
                    <a:pos x="27" y="163"/>
                  </a:cxn>
                  <a:cxn ang="0">
                    <a:pos x="6" y="85"/>
                  </a:cxn>
                  <a:cxn ang="0">
                    <a:pos x="33" y="35"/>
                  </a:cxn>
                  <a:cxn ang="0">
                    <a:pos x="100" y="17"/>
                  </a:cxn>
                  <a:cxn ang="0">
                    <a:pos x="171" y="6"/>
                  </a:cxn>
                  <a:cxn ang="0">
                    <a:pos x="242" y="2"/>
                  </a:cxn>
                  <a:cxn ang="0">
                    <a:pos x="320" y="2"/>
                  </a:cxn>
                  <a:cxn ang="0">
                    <a:pos x="403" y="10"/>
                  </a:cxn>
                  <a:cxn ang="0">
                    <a:pos x="484" y="25"/>
                  </a:cxn>
                  <a:cxn ang="0">
                    <a:pos x="562" y="46"/>
                  </a:cxn>
                  <a:cxn ang="0">
                    <a:pos x="637" y="75"/>
                  </a:cxn>
                  <a:cxn ang="0">
                    <a:pos x="710" y="110"/>
                  </a:cxn>
                  <a:cxn ang="0">
                    <a:pos x="779" y="152"/>
                  </a:cxn>
                  <a:cxn ang="0">
                    <a:pos x="842" y="198"/>
                  </a:cxn>
                  <a:cxn ang="0">
                    <a:pos x="902" y="250"/>
                  </a:cxn>
                  <a:cxn ang="0">
                    <a:pos x="958" y="307"/>
                  </a:cxn>
                  <a:cxn ang="0">
                    <a:pos x="1008" y="369"/>
                  </a:cxn>
                  <a:cxn ang="0">
                    <a:pos x="1054" y="434"/>
                  </a:cxn>
                  <a:cxn ang="0">
                    <a:pos x="1092" y="505"/>
                  </a:cxn>
                  <a:cxn ang="0">
                    <a:pos x="1125" y="578"/>
                  </a:cxn>
                  <a:cxn ang="0">
                    <a:pos x="1151" y="655"/>
                  </a:cxn>
                  <a:cxn ang="0">
                    <a:pos x="1171" y="733"/>
                  </a:cxn>
                </a:cxnLst>
                <a:rect l="0" t="0" r="r" b="b"/>
                <a:pathLst>
                  <a:path w="1178" h="818">
                    <a:moveTo>
                      <a:pt x="1178" y="774"/>
                    </a:moveTo>
                    <a:lnTo>
                      <a:pt x="1146" y="783"/>
                    </a:lnTo>
                    <a:lnTo>
                      <a:pt x="1113" y="793"/>
                    </a:lnTo>
                    <a:lnTo>
                      <a:pt x="1079" y="801"/>
                    </a:lnTo>
                    <a:lnTo>
                      <a:pt x="1044" y="806"/>
                    </a:lnTo>
                    <a:lnTo>
                      <a:pt x="1009" y="812"/>
                    </a:lnTo>
                    <a:lnTo>
                      <a:pt x="973" y="814"/>
                    </a:lnTo>
                    <a:lnTo>
                      <a:pt x="938" y="816"/>
                    </a:lnTo>
                    <a:lnTo>
                      <a:pt x="902" y="818"/>
                    </a:lnTo>
                    <a:lnTo>
                      <a:pt x="860" y="816"/>
                    </a:lnTo>
                    <a:lnTo>
                      <a:pt x="818" y="814"/>
                    </a:lnTo>
                    <a:lnTo>
                      <a:pt x="775" y="808"/>
                    </a:lnTo>
                    <a:lnTo>
                      <a:pt x="735" y="802"/>
                    </a:lnTo>
                    <a:lnTo>
                      <a:pt x="695" y="793"/>
                    </a:lnTo>
                    <a:lnTo>
                      <a:pt x="654" y="783"/>
                    </a:lnTo>
                    <a:lnTo>
                      <a:pt x="616" y="772"/>
                    </a:lnTo>
                    <a:lnTo>
                      <a:pt x="578" y="758"/>
                    </a:lnTo>
                    <a:lnTo>
                      <a:pt x="541" y="743"/>
                    </a:lnTo>
                    <a:lnTo>
                      <a:pt x="505" y="726"/>
                    </a:lnTo>
                    <a:lnTo>
                      <a:pt x="468" y="708"/>
                    </a:lnTo>
                    <a:lnTo>
                      <a:pt x="434" y="687"/>
                    </a:lnTo>
                    <a:lnTo>
                      <a:pt x="399" y="666"/>
                    </a:lnTo>
                    <a:lnTo>
                      <a:pt x="366" y="643"/>
                    </a:lnTo>
                    <a:lnTo>
                      <a:pt x="336" y="620"/>
                    </a:lnTo>
                    <a:lnTo>
                      <a:pt x="305" y="595"/>
                    </a:lnTo>
                    <a:lnTo>
                      <a:pt x="274" y="568"/>
                    </a:lnTo>
                    <a:lnTo>
                      <a:pt x="247" y="540"/>
                    </a:lnTo>
                    <a:lnTo>
                      <a:pt x="221" y="511"/>
                    </a:lnTo>
                    <a:lnTo>
                      <a:pt x="194" y="480"/>
                    </a:lnTo>
                    <a:lnTo>
                      <a:pt x="169" y="449"/>
                    </a:lnTo>
                    <a:lnTo>
                      <a:pt x="146" y="417"/>
                    </a:lnTo>
                    <a:lnTo>
                      <a:pt x="125" y="384"/>
                    </a:lnTo>
                    <a:lnTo>
                      <a:pt x="104" y="350"/>
                    </a:lnTo>
                    <a:lnTo>
                      <a:pt x="86" y="313"/>
                    </a:lnTo>
                    <a:lnTo>
                      <a:pt x="69" y="278"/>
                    </a:lnTo>
                    <a:lnTo>
                      <a:pt x="52" y="240"/>
                    </a:lnTo>
                    <a:lnTo>
                      <a:pt x="38" y="204"/>
                    </a:lnTo>
                    <a:lnTo>
                      <a:pt x="27" y="163"/>
                    </a:lnTo>
                    <a:lnTo>
                      <a:pt x="15" y="125"/>
                    </a:lnTo>
                    <a:lnTo>
                      <a:pt x="6" y="85"/>
                    </a:lnTo>
                    <a:lnTo>
                      <a:pt x="0" y="44"/>
                    </a:lnTo>
                    <a:lnTo>
                      <a:pt x="33" y="35"/>
                    </a:lnTo>
                    <a:lnTo>
                      <a:pt x="65" y="25"/>
                    </a:lnTo>
                    <a:lnTo>
                      <a:pt x="100" y="17"/>
                    </a:lnTo>
                    <a:lnTo>
                      <a:pt x="134" y="12"/>
                    </a:lnTo>
                    <a:lnTo>
                      <a:pt x="171" y="6"/>
                    </a:lnTo>
                    <a:lnTo>
                      <a:pt x="205" y="4"/>
                    </a:lnTo>
                    <a:lnTo>
                      <a:pt x="242" y="2"/>
                    </a:lnTo>
                    <a:lnTo>
                      <a:pt x="278" y="0"/>
                    </a:lnTo>
                    <a:lnTo>
                      <a:pt x="320" y="2"/>
                    </a:lnTo>
                    <a:lnTo>
                      <a:pt x="363" y="4"/>
                    </a:lnTo>
                    <a:lnTo>
                      <a:pt x="403" y="10"/>
                    </a:lnTo>
                    <a:lnTo>
                      <a:pt x="443" y="16"/>
                    </a:lnTo>
                    <a:lnTo>
                      <a:pt x="484" y="25"/>
                    </a:lnTo>
                    <a:lnTo>
                      <a:pt x="524" y="35"/>
                    </a:lnTo>
                    <a:lnTo>
                      <a:pt x="562" y="46"/>
                    </a:lnTo>
                    <a:lnTo>
                      <a:pt x="601" y="60"/>
                    </a:lnTo>
                    <a:lnTo>
                      <a:pt x="637" y="75"/>
                    </a:lnTo>
                    <a:lnTo>
                      <a:pt x="674" y="92"/>
                    </a:lnTo>
                    <a:lnTo>
                      <a:pt x="710" y="110"/>
                    </a:lnTo>
                    <a:lnTo>
                      <a:pt x="745" y="131"/>
                    </a:lnTo>
                    <a:lnTo>
                      <a:pt x="779" y="152"/>
                    </a:lnTo>
                    <a:lnTo>
                      <a:pt x="812" y="175"/>
                    </a:lnTo>
                    <a:lnTo>
                      <a:pt x="842" y="198"/>
                    </a:lnTo>
                    <a:lnTo>
                      <a:pt x="873" y="223"/>
                    </a:lnTo>
                    <a:lnTo>
                      <a:pt x="902" y="250"/>
                    </a:lnTo>
                    <a:lnTo>
                      <a:pt x="931" y="278"/>
                    </a:lnTo>
                    <a:lnTo>
                      <a:pt x="958" y="307"/>
                    </a:lnTo>
                    <a:lnTo>
                      <a:pt x="984" y="338"/>
                    </a:lnTo>
                    <a:lnTo>
                      <a:pt x="1008" y="369"/>
                    </a:lnTo>
                    <a:lnTo>
                      <a:pt x="1032" y="401"/>
                    </a:lnTo>
                    <a:lnTo>
                      <a:pt x="1054" y="434"/>
                    </a:lnTo>
                    <a:lnTo>
                      <a:pt x="1073" y="468"/>
                    </a:lnTo>
                    <a:lnTo>
                      <a:pt x="1092" y="505"/>
                    </a:lnTo>
                    <a:lnTo>
                      <a:pt x="1109" y="540"/>
                    </a:lnTo>
                    <a:lnTo>
                      <a:pt x="1125" y="578"/>
                    </a:lnTo>
                    <a:lnTo>
                      <a:pt x="1140" y="616"/>
                    </a:lnTo>
                    <a:lnTo>
                      <a:pt x="1151" y="655"/>
                    </a:lnTo>
                    <a:lnTo>
                      <a:pt x="1163" y="693"/>
                    </a:lnTo>
                    <a:lnTo>
                      <a:pt x="1171" y="733"/>
                    </a:lnTo>
                    <a:lnTo>
                      <a:pt x="1178" y="774"/>
                    </a:lnTo>
                    <a:close/>
                  </a:path>
                </a:pathLst>
              </a:custGeom>
              <a:solidFill>
                <a:srgbClr val="A100FF"/>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4" name="Freeform 8">
                <a:extLst>
                  <a:ext uri="{FF2B5EF4-FFF2-40B4-BE49-F238E27FC236}">
                    <a16:creationId xmlns:a16="http://schemas.microsoft.com/office/drawing/2014/main" id="{7555C9E8-FE22-4F45-88E3-70696A0575E8}"/>
                  </a:ext>
                </a:extLst>
              </p:cNvPr>
              <p:cNvSpPr>
                <a:spLocks/>
              </p:cNvSpPr>
              <p:nvPr/>
            </p:nvSpPr>
            <p:spPr bwMode="auto">
              <a:xfrm>
                <a:off x="5652277" y="3125445"/>
                <a:ext cx="1873250" cy="1331912"/>
              </a:xfrm>
              <a:custGeom>
                <a:avLst/>
                <a:gdLst/>
                <a:ahLst/>
                <a:cxnLst>
                  <a:cxn ang="0">
                    <a:pos x="7" y="733"/>
                  </a:cxn>
                  <a:cxn ang="0">
                    <a:pos x="27" y="655"/>
                  </a:cxn>
                  <a:cxn ang="0">
                    <a:pos x="53" y="578"/>
                  </a:cxn>
                  <a:cxn ang="0">
                    <a:pos x="86" y="505"/>
                  </a:cxn>
                  <a:cxn ang="0">
                    <a:pos x="124" y="434"/>
                  </a:cxn>
                  <a:cxn ang="0">
                    <a:pos x="170" y="369"/>
                  </a:cxn>
                  <a:cxn ang="0">
                    <a:pos x="220" y="307"/>
                  </a:cxn>
                  <a:cxn ang="0">
                    <a:pos x="276" y="250"/>
                  </a:cxn>
                  <a:cxn ang="0">
                    <a:pos x="336" y="198"/>
                  </a:cxn>
                  <a:cxn ang="0">
                    <a:pos x="399" y="152"/>
                  </a:cxn>
                  <a:cxn ang="0">
                    <a:pos x="468" y="110"/>
                  </a:cxn>
                  <a:cxn ang="0">
                    <a:pos x="541" y="75"/>
                  </a:cxn>
                  <a:cxn ang="0">
                    <a:pos x="616" y="46"/>
                  </a:cxn>
                  <a:cxn ang="0">
                    <a:pos x="694" y="25"/>
                  </a:cxn>
                  <a:cxn ang="0">
                    <a:pos x="775" y="10"/>
                  </a:cxn>
                  <a:cxn ang="0">
                    <a:pos x="860" y="2"/>
                  </a:cxn>
                  <a:cxn ang="0">
                    <a:pos x="938" y="2"/>
                  </a:cxn>
                  <a:cxn ang="0">
                    <a:pos x="1009" y="6"/>
                  </a:cxn>
                  <a:cxn ang="0">
                    <a:pos x="1078" y="17"/>
                  </a:cxn>
                  <a:cxn ang="0">
                    <a:pos x="1145" y="35"/>
                  </a:cxn>
                  <a:cxn ang="0">
                    <a:pos x="1172" y="85"/>
                  </a:cxn>
                  <a:cxn ang="0">
                    <a:pos x="1151" y="163"/>
                  </a:cxn>
                  <a:cxn ang="0">
                    <a:pos x="1126" y="240"/>
                  </a:cxn>
                  <a:cxn ang="0">
                    <a:pos x="1092" y="313"/>
                  </a:cxn>
                  <a:cxn ang="0">
                    <a:pos x="1053" y="384"/>
                  </a:cxn>
                  <a:cxn ang="0">
                    <a:pos x="1009" y="449"/>
                  </a:cxn>
                  <a:cxn ang="0">
                    <a:pos x="959" y="511"/>
                  </a:cxn>
                  <a:cxn ang="0">
                    <a:pos x="904" y="568"/>
                  </a:cxn>
                  <a:cxn ang="0">
                    <a:pos x="842" y="620"/>
                  </a:cxn>
                  <a:cxn ang="0">
                    <a:pos x="779" y="666"/>
                  </a:cxn>
                  <a:cxn ang="0">
                    <a:pos x="710" y="708"/>
                  </a:cxn>
                  <a:cxn ang="0">
                    <a:pos x="639" y="743"/>
                  </a:cxn>
                  <a:cxn ang="0">
                    <a:pos x="562" y="772"/>
                  </a:cxn>
                  <a:cxn ang="0">
                    <a:pos x="485" y="793"/>
                  </a:cxn>
                  <a:cxn ang="0">
                    <a:pos x="403" y="808"/>
                  </a:cxn>
                  <a:cxn ang="0">
                    <a:pos x="320" y="816"/>
                  </a:cxn>
                  <a:cxn ang="0">
                    <a:pos x="241" y="816"/>
                  </a:cxn>
                  <a:cxn ang="0">
                    <a:pos x="170" y="812"/>
                  </a:cxn>
                  <a:cxn ang="0">
                    <a:pos x="99" y="801"/>
                  </a:cxn>
                  <a:cxn ang="0">
                    <a:pos x="32" y="783"/>
                  </a:cxn>
                </a:cxnLst>
                <a:rect l="0" t="0" r="r" b="b"/>
                <a:pathLst>
                  <a:path w="1178" h="818">
                    <a:moveTo>
                      <a:pt x="0" y="774"/>
                    </a:moveTo>
                    <a:lnTo>
                      <a:pt x="7" y="733"/>
                    </a:lnTo>
                    <a:lnTo>
                      <a:pt x="15" y="693"/>
                    </a:lnTo>
                    <a:lnTo>
                      <a:pt x="27" y="655"/>
                    </a:lnTo>
                    <a:lnTo>
                      <a:pt x="38" y="614"/>
                    </a:lnTo>
                    <a:lnTo>
                      <a:pt x="53" y="578"/>
                    </a:lnTo>
                    <a:lnTo>
                      <a:pt x="69" y="540"/>
                    </a:lnTo>
                    <a:lnTo>
                      <a:pt x="86" y="505"/>
                    </a:lnTo>
                    <a:lnTo>
                      <a:pt x="105" y="468"/>
                    </a:lnTo>
                    <a:lnTo>
                      <a:pt x="124" y="434"/>
                    </a:lnTo>
                    <a:lnTo>
                      <a:pt x="147" y="401"/>
                    </a:lnTo>
                    <a:lnTo>
                      <a:pt x="170" y="369"/>
                    </a:lnTo>
                    <a:lnTo>
                      <a:pt x="194" y="338"/>
                    </a:lnTo>
                    <a:lnTo>
                      <a:pt x="220" y="307"/>
                    </a:lnTo>
                    <a:lnTo>
                      <a:pt x="247" y="278"/>
                    </a:lnTo>
                    <a:lnTo>
                      <a:pt x="276" y="250"/>
                    </a:lnTo>
                    <a:lnTo>
                      <a:pt x="305" y="223"/>
                    </a:lnTo>
                    <a:lnTo>
                      <a:pt x="336" y="198"/>
                    </a:lnTo>
                    <a:lnTo>
                      <a:pt x="366" y="175"/>
                    </a:lnTo>
                    <a:lnTo>
                      <a:pt x="399" y="152"/>
                    </a:lnTo>
                    <a:lnTo>
                      <a:pt x="433" y="131"/>
                    </a:lnTo>
                    <a:lnTo>
                      <a:pt x="468" y="110"/>
                    </a:lnTo>
                    <a:lnTo>
                      <a:pt x="504" y="92"/>
                    </a:lnTo>
                    <a:lnTo>
                      <a:pt x="541" y="75"/>
                    </a:lnTo>
                    <a:lnTo>
                      <a:pt x="577" y="60"/>
                    </a:lnTo>
                    <a:lnTo>
                      <a:pt x="616" y="46"/>
                    </a:lnTo>
                    <a:lnTo>
                      <a:pt x="654" y="35"/>
                    </a:lnTo>
                    <a:lnTo>
                      <a:pt x="694" y="25"/>
                    </a:lnTo>
                    <a:lnTo>
                      <a:pt x="735" y="16"/>
                    </a:lnTo>
                    <a:lnTo>
                      <a:pt x="775" y="10"/>
                    </a:lnTo>
                    <a:lnTo>
                      <a:pt x="817" y="4"/>
                    </a:lnTo>
                    <a:lnTo>
                      <a:pt x="860" y="2"/>
                    </a:lnTo>
                    <a:lnTo>
                      <a:pt x="902" y="0"/>
                    </a:lnTo>
                    <a:lnTo>
                      <a:pt x="938" y="2"/>
                    </a:lnTo>
                    <a:lnTo>
                      <a:pt x="973" y="4"/>
                    </a:lnTo>
                    <a:lnTo>
                      <a:pt x="1009" y="6"/>
                    </a:lnTo>
                    <a:lnTo>
                      <a:pt x="1044" y="12"/>
                    </a:lnTo>
                    <a:lnTo>
                      <a:pt x="1078" y="17"/>
                    </a:lnTo>
                    <a:lnTo>
                      <a:pt x="1113" y="25"/>
                    </a:lnTo>
                    <a:lnTo>
                      <a:pt x="1145" y="35"/>
                    </a:lnTo>
                    <a:lnTo>
                      <a:pt x="1178" y="44"/>
                    </a:lnTo>
                    <a:lnTo>
                      <a:pt x="1172" y="85"/>
                    </a:lnTo>
                    <a:lnTo>
                      <a:pt x="1163" y="125"/>
                    </a:lnTo>
                    <a:lnTo>
                      <a:pt x="1151" y="163"/>
                    </a:lnTo>
                    <a:lnTo>
                      <a:pt x="1140" y="202"/>
                    </a:lnTo>
                    <a:lnTo>
                      <a:pt x="1126" y="240"/>
                    </a:lnTo>
                    <a:lnTo>
                      <a:pt x="1109" y="277"/>
                    </a:lnTo>
                    <a:lnTo>
                      <a:pt x="1092" y="313"/>
                    </a:lnTo>
                    <a:lnTo>
                      <a:pt x="1074" y="350"/>
                    </a:lnTo>
                    <a:lnTo>
                      <a:pt x="1053" y="384"/>
                    </a:lnTo>
                    <a:lnTo>
                      <a:pt x="1032" y="417"/>
                    </a:lnTo>
                    <a:lnTo>
                      <a:pt x="1009" y="449"/>
                    </a:lnTo>
                    <a:lnTo>
                      <a:pt x="984" y="480"/>
                    </a:lnTo>
                    <a:lnTo>
                      <a:pt x="959" y="511"/>
                    </a:lnTo>
                    <a:lnTo>
                      <a:pt x="931" y="540"/>
                    </a:lnTo>
                    <a:lnTo>
                      <a:pt x="904" y="568"/>
                    </a:lnTo>
                    <a:lnTo>
                      <a:pt x="873" y="595"/>
                    </a:lnTo>
                    <a:lnTo>
                      <a:pt x="842" y="620"/>
                    </a:lnTo>
                    <a:lnTo>
                      <a:pt x="812" y="643"/>
                    </a:lnTo>
                    <a:lnTo>
                      <a:pt x="779" y="666"/>
                    </a:lnTo>
                    <a:lnTo>
                      <a:pt x="744" y="687"/>
                    </a:lnTo>
                    <a:lnTo>
                      <a:pt x="710" y="708"/>
                    </a:lnTo>
                    <a:lnTo>
                      <a:pt x="675" y="726"/>
                    </a:lnTo>
                    <a:lnTo>
                      <a:pt x="639" y="743"/>
                    </a:lnTo>
                    <a:lnTo>
                      <a:pt x="600" y="758"/>
                    </a:lnTo>
                    <a:lnTo>
                      <a:pt x="562" y="772"/>
                    </a:lnTo>
                    <a:lnTo>
                      <a:pt x="524" y="783"/>
                    </a:lnTo>
                    <a:lnTo>
                      <a:pt x="485" y="793"/>
                    </a:lnTo>
                    <a:lnTo>
                      <a:pt x="445" y="802"/>
                    </a:lnTo>
                    <a:lnTo>
                      <a:pt x="403" y="808"/>
                    </a:lnTo>
                    <a:lnTo>
                      <a:pt x="362" y="814"/>
                    </a:lnTo>
                    <a:lnTo>
                      <a:pt x="320" y="816"/>
                    </a:lnTo>
                    <a:lnTo>
                      <a:pt x="278" y="818"/>
                    </a:lnTo>
                    <a:lnTo>
                      <a:pt x="241" y="816"/>
                    </a:lnTo>
                    <a:lnTo>
                      <a:pt x="205" y="814"/>
                    </a:lnTo>
                    <a:lnTo>
                      <a:pt x="170" y="812"/>
                    </a:lnTo>
                    <a:lnTo>
                      <a:pt x="134" y="806"/>
                    </a:lnTo>
                    <a:lnTo>
                      <a:pt x="99" y="801"/>
                    </a:lnTo>
                    <a:lnTo>
                      <a:pt x="67" y="793"/>
                    </a:lnTo>
                    <a:lnTo>
                      <a:pt x="32" y="783"/>
                    </a:lnTo>
                    <a:lnTo>
                      <a:pt x="0" y="774"/>
                    </a:lnTo>
                    <a:close/>
                  </a:path>
                </a:pathLst>
              </a:custGeom>
              <a:solidFill>
                <a:srgbClr val="A100FF"/>
              </a:solidFill>
              <a:ln w="6350" cap="flat" cmpd="sng">
                <a:noFill/>
                <a:prstDash val="solid"/>
                <a:round/>
                <a:headEnd type="none" w="med" len="med"/>
                <a:tailEnd type="none" w="med" len="me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5" name="Freeform 9">
                <a:extLst>
                  <a:ext uri="{FF2B5EF4-FFF2-40B4-BE49-F238E27FC236}">
                    <a16:creationId xmlns:a16="http://schemas.microsoft.com/office/drawing/2014/main" id="{D1333B62-0EAC-42FB-876C-A7DC22A61F35}"/>
                  </a:ext>
                </a:extLst>
              </p:cNvPr>
              <p:cNvSpPr>
                <a:spLocks/>
              </p:cNvSpPr>
              <p:nvPr/>
            </p:nvSpPr>
            <p:spPr bwMode="auto">
              <a:xfrm>
                <a:off x="5634815" y="3542957"/>
                <a:ext cx="917575" cy="2141538"/>
              </a:xfrm>
              <a:custGeom>
                <a:avLst/>
                <a:gdLst/>
                <a:ahLst/>
                <a:cxnLst>
                  <a:cxn ang="0">
                    <a:pos x="576" y="714"/>
                  </a:cxn>
                  <a:cxn ang="0">
                    <a:pos x="566" y="810"/>
                  </a:cxn>
                  <a:cxn ang="0">
                    <a:pos x="547" y="902"/>
                  </a:cxn>
                  <a:cxn ang="0">
                    <a:pos x="518" y="990"/>
                  </a:cxn>
                  <a:cxn ang="0">
                    <a:pos x="480" y="1075"/>
                  </a:cxn>
                  <a:cxn ang="0">
                    <a:pos x="434" y="1155"/>
                  </a:cxn>
                  <a:cxn ang="0">
                    <a:pos x="382" y="1228"/>
                  </a:cxn>
                  <a:cxn ang="0">
                    <a:pos x="321" y="1297"/>
                  </a:cxn>
                  <a:cxn ang="0">
                    <a:pos x="257" y="1297"/>
                  </a:cxn>
                  <a:cxn ang="0">
                    <a:pos x="196" y="1228"/>
                  </a:cxn>
                  <a:cxn ang="0">
                    <a:pos x="144" y="1155"/>
                  </a:cxn>
                  <a:cxn ang="0">
                    <a:pos x="98" y="1075"/>
                  </a:cxn>
                  <a:cxn ang="0">
                    <a:pos x="60" y="990"/>
                  </a:cxn>
                  <a:cxn ang="0">
                    <a:pos x="31" y="902"/>
                  </a:cxn>
                  <a:cxn ang="0">
                    <a:pos x="12" y="810"/>
                  </a:cxn>
                  <a:cxn ang="0">
                    <a:pos x="2" y="714"/>
                  </a:cxn>
                  <a:cxn ang="0">
                    <a:pos x="2" y="616"/>
                  </a:cxn>
                  <a:cxn ang="0">
                    <a:pos x="12" y="522"/>
                  </a:cxn>
                  <a:cxn ang="0">
                    <a:pos x="31" y="430"/>
                  </a:cxn>
                  <a:cxn ang="0">
                    <a:pos x="60" y="339"/>
                  </a:cxn>
                  <a:cxn ang="0">
                    <a:pos x="98" y="255"/>
                  </a:cxn>
                  <a:cxn ang="0">
                    <a:pos x="144" y="176"/>
                  </a:cxn>
                  <a:cxn ang="0">
                    <a:pos x="196" y="102"/>
                  </a:cxn>
                  <a:cxn ang="0">
                    <a:pos x="257" y="32"/>
                  </a:cxn>
                  <a:cxn ang="0">
                    <a:pos x="321" y="32"/>
                  </a:cxn>
                  <a:cxn ang="0">
                    <a:pos x="382" y="102"/>
                  </a:cxn>
                  <a:cxn ang="0">
                    <a:pos x="434" y="176"/>
                  </a:cxn>
                  <a:cxn ang="0">
                    <a:pos x="480" y="255"/>
                  </a:cxn>
                  <a:cxn ang="0">
                    <a:pos x="518" y="339"/>
                  </a:cxn>
                  <a:cxn ang="0">
                    <a:pos x="547" y="430"/>
                  </a:cxn>
                  <a:cxn ang="0">
                    <a:pos x="566" y="522"/>
                  </a:cxn>
                  <a:cxn ang="0">
                    <a:pos x="576" y="616"/>
                  </a:cxn>
                </a:cxnLst>
                <a:rect l="0" t="0" r="r" b="b"/>
                <a:pathLst>
                  <a:path w="578" h="1330">
                    <a:moveTo>
                      <a:pt x="578" y="666"/>
                    </a:moveTo>
                    <a:lnTo>
                      <a:pt x="576" y="714"/>
                    </a:lnTo>
                    <a:lnTo>
                      <a:pt x="572" y="762"/>
                    </a:lnTo>
                    <a:lnTo>
                      <a:pt x="566" y="810"/>
                    </a:lnTo>
                    <a:lnTo>
                      <a:pt x="557" y="856"/>
                    </a:lnTo>
                    <a:lnTo>
                      <a:pt x="547" y="902"/>
                    </a:lnTo>
                    <a:lnTo>
                      <a:pt x="534" y="946"/>
                    </a:lnTo>
                    <a:lnTo>
                      <a:pt x="518" y="990"/>
                    </a:lnTo>
                    <a:lnTo>
                      <a:pt x="499" y="1032"/>
                    </a:lnTo>
                    <a:lnTo>
                      <a:pt x="480" y="1075"/>
                    </a:lnTo>
                    <a:lnTo>
                      <a:pt x="459" y="1115"/>
                    </a:lnTo>
                    <a:lnTo>
                      <a:pt x="434" y="1155"/>
                    </a:lnTo>
                    <a:lnTo>
                      <a:pt x="409" y="1192"/>
                    </a:lnTo>
                    <a:lnTo>
                      <a:pt x="382" y="1228"/>
                    </a:lnTo>
                    <a:lnTo>
                      <a:pt x="353" y="1265"/>
                    </a:lnTo>
                    <a:lnTo>
                      <a:pt x="321" y="1297"/>
                    </a:lnTo>
                    <a:lnTo>
                      <a:pt x="290" y="1330"/>
                    </a:lnTo>
                    <a:lnTo>
                      <a:pt x="257" y="1297"/>
                    </a:lnTo>
                    <a:lnTo>
                      <a:pt x="227" y="1265"/>
                    </a:lnTo>
                    <a:lnTo>
                      <a:pt x="196" y="1228"/>
                    </a:lnTo>
                    <a:lnTo>
                      <a:pt x="169" y="1192"/>
                    </a:lnTo>
                    <a:lnTo>
                      <a:pt x="144" y="1155"/>
                    </a:lnTo>
                    <a:lnTo>
                      <a:pt x="119" y="1115"/>
                    </a:lnTo>
                    <a:lnTo>
                      <a:pt x="98" y="1075"/>
                    </a:lnTo>
                    <a:lnTo>
                      <a:pt x="79" y="1032"/>
                    </a:lnTo>
                    <a:lnTo>
                      <a:pt x="60" y="990"/>
                    </a:lnTo>
                    <a:lnTo>
                      <a:pt x="44" y="946"/>
                    </a:lnTo>
                    <a:lnTo>
                      <a:pt x="31" y="902"/>
                    </a:lnTo>
                    <a:lnTo>
                      <a:pt x="21" y="856"/>
                    </a:lnTo>
                    <a:lnTo>
                      <a:pt x="12" y="810"/>
                    </a:lnTo>
                    <a:lnTo>
                      <a:pt x="6" y="762"/>
                    </a:lnTo>
                    <a:lnTo>
                      <a:pt x="2" y="714"/>
                    </a:lnTo>
                    <a:lnTo>
                      <a:pt x="0" y="666"/>
                    </a:lnTo>
                    <a:lnTo>
                      <a:pt x="2" y="616"/>
                    </a:lnTo>
                    <a:lnTo>
                      <a:pt x="6" y="568"/>
                    </a:lnTo>
                    <a:lnTo>
                      <a:pt x="12" y="522"/>
                    </a:lnTo>
                    <a:lnTo>
                      <a:pt x="21" y="474"/>
                    </a:lnTo>
                    <a:lnTo>
                      <a:pt x="31" y="430"/>
                    </a:lnTo>
                    <a:lnTo>
                      <a:pt x="44" y="384"/>
                    </a:lnTo>
                    <a:lnTo>
                      <a:pt x="60" y="339"/>
                    </a:lnTo>
                    <a:lnTo>
                      <a:pt x="79" y="297"/>
                    </a:lnTo>
                    <a:lnTo>
                      <a:pt x="98" y="255"/>
                    </a:lnTo>
                    <a:lnTo>
                      <a:pt x="119" y="215"/>
                    </a:lnTo>
                    <a:lnTo>
                      <a:pt x="144" y="176"/>
                    </a:lnTo>
                    <a:lnTo>
                      <a:pt x="169" y="138"/>
                    </a:lnTo>
                    <a:lnTo>
                      <a:pt x="196" y="102"/>
                    </a:lnTo>
                    <a:lnTo>
                      <a:pt x="227" y="67"/>
                    </a:lnTo>
                    <a:lnTo>
                      <a:pt x="257" y="32"/>
                    </a:lnTo>
                    <a:lnTo>
                      <a:pt x="290" y="0"/>
                    </a:lnTo>
                    <a:lnTo>
                      <a:pt x="321" y="32"/>
                    </a:lnTo>
                    <a:lnTo>
                      <a:pt x="353" y="67"/>
                    </a:lnTo>
                    <a:lnTo>
                      <a:pt x="382" y="102"/>
                    </a:lnTo>
                    <a:lnTo>
                      <a:pt x="409" y="138"/>
                    </a:lnTo>
                    <a:lnTo>
                      <a:pt x="434" y="176"/>
                    </a:lnTo>
                    <a:lnTo>
                      <a:pt x="459" y="215"/>
                    </a:lnTo>
                    <a:lnTo>
                      <a:pt x="480" y="255"/>
                    </a:lnTo>
                    <a:lnTo>
                      <a:pt x="499" y="297"/>
                    </a:lnTo>
                    <a:lnTo>
                      <a:pt x="518" y="339"/>
                    </a:lnTo>
                    <a:lnTo>
                      <a:pt x="534" y="384"/>
                    </a:lnTo>
                    <a:lnTo>
                      <a:pt x="547" y="430"/>
                    </a:lnTo>
                    <a:lnTo>
                      <a:pt x="557" y="474"/>
                    </a:lnTo>
                    <a:lnTo>
                      <a:pt x="566" y="522"/>
                    </a:lnTo>
                    <a:lnTo>
                      <a:pt x="572" y="568"/>
                    </a:lnTo>
                    <a:lnTo>
                      <a:pt x="576" y="616"/>
                    </a:lnTo>
                    <a:lnTo>
                      <a:pt x="578" y="666"/>
                    </a:lnTo>
                    <a:close/>
                  </a:path>
                </a:pathLst>
              </a:custGeom>
              <a:solidFill>
                <a:srgbClr val="A100FF"/>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36" name="Freeform 10">
                <a:extLst>
                  <a:ext uri="{FF2B5EF4-FFF2-40B4-BE49-F238E27FC236}">
                    <a16:creationId xmlns:a16="http://schemas.microsoft.com/office/drawing/2014/main" id="{277D8474-AA36-4114-8E20-2B6A64BEEF3F}"/>
                  </a:ext>
                </a:extLst>
              </p:cNvPr>
              <p:cNvSpPr>
                <a:spLocks/>
              </p:cNvSpPr>
              <p:nvPr/>
            </p:nvSpPr>
            <p:spPr bwMode="auto">
              <a:xfrm>
                <a:off x="5658627" y="3536607"/>
                <a:ext cx="869950" cy="919163"/>
              </a:xfrm>
              <a:custGeom>
                <a:avLst/>
                <a:gdLst/>
                <a:ahLst/>
                <a:cxnLst>
                  <a:cxn ang="0">
                    <a:pos x="48" y="339"/>
                  </a:cxn>
                  <a:cxn ang="0">
                    <a:pos x="155" y="142"/>
                  </a:cxn>
                  <a:cxn ang="0">
                    <a:pos x="293" y="15"/>
                  </a:cxn>
                  <a:cxn ang="0">
                    <a:pos x="378" y="111"/>
                  </a:cxn>
                  <a:cxn ang="0">
                    <a:pos x="391" y="128"/>
                  </a:cxn>
                  <a:cxn ang="0">
                    <a:pos x="395" y="136"/>
                  </a:cxn>
                  <a:cxn ang="0">
                    <a:pos x="403" y="148"/>
                  </a:cxn>
                  <a:cxn ang="0">
                    <a:pos x="403" y="148"/>
                  </a:cxn>
                  <a:cxn ang="0">
                    <a:pos x="416" y="165"/>
                  </a:cxn>
                  <a:cxn ang="0">
                    <a:pos x="422" y="176"/>
                  </a:cxn>
                  <a:cxn ang="0">
                    <a:pos x="426" y="180"/>
                  </a:cxn>
                  <a:cxn ang="0">
                    <a:pos x="432" y="192"/>
                  </a:cxn>
                  <a:cxn ang="0">
                    <a:pos x="435" y="196"/>
                  </a:cxn>
                  <a:cxn ang="0">
                    <a:pos x="439" y="203"/>
                  </a:cxn>
                  <a:cxn ang="0">
                    <a:pos x="445" y="213"/>
                  </a:cxn>
                  <a:cxn ang="0">
                    <a:pos x="447" y="215"/>
                  </a:cxn>
                  <a:cxn ang="0">
                    <a:pos x="451" y="222"/>
                  </a:cxn>
                  <a:cxn ang="0">
                    <a:pos x="453" y="226"/>
                  </a:cxn>
                  <a:cxn ang="0">
                    <a:pos x="456" y="232"/>
                  </a:cxn>
                  <a:cxn ang="0">
                    <a:pos x="460" y="242"/>
                  </a:cxn>
                  <a:cxn ang="0">
                    <a:pos x="464" y="247"/>
                  </a:cxn>
                  <a:cxn ang="0">
                    <a:pos x="468" y="255"/>
                  </a:cxn>
                  <a:cxn ang="0">
                    <a:pos x="472" y="263"/>
                  </a:cxn>
                  <a:cxn ang="0">
                    <a:pos x="474" y="268"/>
                  </a:cxn>
                  <a:cxn ang="0">
                    <a:pos x="478" y="274"/>
                  </a:cxn>
                  <a:cxn ang="0">
                    <a:pos x="481" y="282"/>
                  </a:cxn>
                  <a:cxn ang="0">
                    <a:pos x="483" y="290"/>
                  </a:cxn>
                  <a:cxn ang="0">
                    <a:pos x="487" y="295"/>
                  </a:cxn>
                  <a:cxn ang="0">
                    <a:pos x="491" y="303"/>
                  </a:cxn>
                  <a:cxn ang="0">
                    <a:pos x="493" y="311"/>
                  </a:cxn>
                  <a:cxn ang="0">
                    <a:pos x="497" y="316"/>
                  </a:cxn>
                  <a:cxn ang="0">
                    <a:pos x="499" y="324"/>
                  </a:cxn>
                  <a:cxn ang="0">
                    <a:pos x="503" y="330"/>
                  </a:cxn>
                  <a:cxn ang="0">
                    <a:pos x="504" y="338"/>
                  </a:cxn>
                  <a:cxn ang="0">
                    <a:pos x="508" y="345"/>
                  </a:cxn>
                  <a:cxn ang="0">
                    <a:pos x="508" y="349"/>
                  </a:cxn>
                  <a:cxn ang="0">
                    <a:pos x="512" y="359"/>
                  </a:cxn>
                  <a:cxn ang="0">
                    <a:pos x="516" y="366"/>
                  </a:cxn>
                  <a:cxn ang="0">
                    <a:pos x="518" y="372"/>
                  </a:cxn>
                  <a:cxn ang="0">
                    <a:pos x="520" y="384"/>
                  </a:cxn>
                  <a:cxn ang="0">
                    <a:pos x="522" y="387"/>
                  </a:cxn>
                  <a:cxn ang="0">
                    <a:pos x="524" y="395"/>
                  </a:cxn>
                  <a:cxn ang="0">
                    <a:pos x="527" y="405"/>
                  </a:cxn>
                  <a:cxn ang="0">
                    <a:pos x="527" y="407"/>
                  </a:cxn>
                  <a:cxn ang="0">
                    <a:pos x="531" y="416"/>
                  </a:cxn>
                  <a:cxn ang="0">
                    <a:pos x="533" y="424"/>
                  </a:cxn>
                  <a:cxn ang="0">
                    <a:pos x="535" y="430"/>
                  </a:cxn>
                  <a:cxn ang="0">
                    <a:pos x="537" y="441"/>
                  </a:cxn>
                  <a:cxn ang="0">
                    <a:pos x="539" y="445"/>
                  </a:cxn>
                  <a:cxn ang="0">
                    <a:pos x="541" y="455"/>
                  </a:cxn>
                  <a:cxn ang="0">
                    <a:pos x="543" y="464"/>
                  </a:cxn>
                  <a:cxn ang="0">
                    <a:pos x="543" y="468"/>
                  </a:cxn>
                  <a:cxn ang="0">
                    <a:pos x="547" y="478"/>
                  </a:cxn>
                  <a:cxn ang="0">
                    <a:pos x="547" y="485"/>
                  </a:cxn>
                  <a:cxn ang="0">
                    <a:pos x="549" y="487"/>
                  </a:cxn>
                  <a:cxn ang="0">
                    <a:pos x="551" y="501"/>
                  </a:cxn>
                  <a:cxn ang="0">
                    <a:pos x="551" y="506"/>
                  </a:cxn>
                  <a:cxn ang="0">
                    <a:pos x="552" y="514"/>
                  </a:cxn>
                  <a:cxn ang="0">
                    <a:pos x="554" y="526"/>
                  </a:cxn>
                  <a:cxn ang="0">
                    <a:pos x="554" y="526"/>
                  </a:cxn>
                  <a:cxn ang="0">
                    <a:pos x="385" y="564"/>
                  </a:cxn>
                  <a:cxn ang="0">
                    <a:pos x="170" y="564"/>
                  </a:cxn>
                </a:cxnLst>
                <a:rect l="0" t="0" r="r" b="b"/>
                <a:pathLst>
                  <a:path w="554" h="570">
                    <a:moveTo>
                      <a:pt x="0" y="526"/>
                    </a:moveTo>
                    <a:lnTo>
                      <a:pt x="5" y="487"/>
                    </a:lnTo>
                    <a:lnTo>
                      <a:pt x="15" y="451"/>
                    </a:lnTo>
                    <a:lnTo>
                      <a:pt x="25" y="412"/>
                    </a:lnTo>
                    <a:lnTo>
                      <a:pt x="36" y="376"/>
                    </a:lnTo>
                    <a:lnTo>
                      <a:pt x="48" y="339"/>
                    </a:lnTo>
                    <a:lnTo>
                      <a:pt x="63" y="305"/>
                    </a:lnTo>
                    <a:lnTo>
                      <a:pt x="78" y="270"/>
                    </a:lnTo>
                    <a:lnTo>
                      <a:pt x="96" y="238"/>
                    </a:lnTo>
                    <a:lnTo>
                      <a:pt x="115" y="205"/>
                    </a:lnTo>
                    <a:lnTo>
                      <a:pt x="134" y="173"/>
                    </a:lnTo>
                    <a:lnTo>
                      <a:pt x="155" y="142"/>
                    </a:lnTo>
                    <a:lnTo>
                      <a:pt x="176" y="111"/>
                    </a:lnTo>
                    <a:lnTo>
                      <a:pt x="199" y="82"/>
                    </a:lnTo>
                    <a:lnTo>
                      <a:pt x="224" y="54"/>
                    </a:lnTo>
                    <a:lnTo>
                      <a:pt x="251" y="27"/>
                    </a:lnTo>
                    <a:lnTo>
                      <a:pt x="278" y="0"/>
                    </a:lnTo>
                    <a:lnTo>
                      <a:pt x="293" y="15"/>
                    </a:lnTo>
                    <a:lnTo>
                      <a:pt x="307" y="30"/>
                    </a:lnTo>
                    <a:lnTo>
                      <a:pt x="322" y="46"/>
                    </a:lnTo>
                    <a:lnTo>
                      <a:pt x="336" y="61"/>
                    </a:lnTo>
                    <a:lnTo>
                      <a:pt x="351" y="78"/>
                    </a:lnTo>
                    <a:lnTo>
                      <a:pt x="364" y="94"/>
                    </a:lnTo>
                    <a:lnTo>
                      <a:pt x="378" y="111"/>
                    </a:lnTo>
                    <a:lnTo>
                      <a:pt x="389" y="128"/>
                    </a:lnTo>
                    <a:lnTo>
                      <a:pt x="389" y="128"/>
                    </a:lnTo>
                    <a:lnTo>
                      <a:pt x="389" y="128"/>
                    </a:lnTo>
                    <a:lnTo>
                      <a:pt x="389" y="128"/>
                    </a:lnTo>
                    <a:lnTo>
                      <a:pt x="391" y="128"/>
                    </a:lnTo>
                    <a:lnTo>
                      <a:pt x="391" y="128"/>
                    </a:lnTo>
                    <a:lnTo>
                      <a:pt x="391" y="128"/>
                    </a:lnTo>
                    <a:lnTo>
                      <a:pt x="391" y="128"/>
                    </a:lnTo>
                    <a:lnTo>
                      <a:pt x="391" y="128"/>
                    </a:lnTo>
                    <a:lnTo>
                      <a:pt x="393" y="132"/>
                    </a:lnTo>
                    <a:lnTo>
                      <a:pt x="393" y="134"/>
                    </a:lnTo>
                    <a:lnTo>
                      <a:pt x="395" y="136"/>
                    </a:lnTo>
                    <a:lnTo>
                      <a:pt x="397" y="138"/>
                    </a:lnTo>
                    <a:lnTo>
                      <a:pt x="399" y="140"/>
                    </a:lnTo>
                    <a:lnTo>
                      <a:pt x="401" y="142"/>
                    </a:lnTo>
                    <a:lnTo>
                      <a:pt x="401" y="144"/>
                    </a:lnTo>
                    <a:lnTo>
                      <a:pt x="403" y="146"/>
                    </a:lnTo>
                    <a:lnTo>
                      <a:pt x="403" y="148"/>
                    </a:lnTo>
                    <a:lnTo>
                      <a:pt x="403" y="148"/>
                    </a:lnTo>
                    <a:lnTo>
                      <a:pt x="403" y="148"/>
                    </a:lnTo>
                    <a:lnTo>
                      <a:pt x="403" y="148"/>
                    </a:lnTo>
                    <a:lnTo>
                      <a:pt x="403" y="148"/>
                    </a:lnTo>
                    <a:lnTo>
                      <a:pt x="403" y="148"/>
                    </a:lnTo>
                    <a:lnTo>
                      <a:pt x="403" y="148"/>
                    </a:lnTo>
                    <a:lnTo>
                      <a:pt x="403" y="148"/>
                    </a:lnTo>
                    <a:lnTo>
                      <a:pt x="407" y="151"/>
                    </a:lnTo>
                    <a:lnTo>
                      <a:pt x="408" y="155"/>
                    </a:lnTo>
                    <a:lnTo>
                      <a:pt x="410" y="157"/>
                    </a:lnTo>
                    <a:lnTo>
                      <a:pt x="412" y="161"/>
                    </a:lnTo>
                    <a:lnTo>
                      <a:pt x="416" y="165"/>
                    </a:lnTo>
                    <a:lnTo>
                      <a:pt x="418" y="169"/>
                    </a:lnTo>
                    <a:lnTo>
                      <a:pt x="420" y="173"/>
                    </a:lnTo>
                    <a:lnTo>
                      <a:pt x="422" y="174"/>
                    </a:lnTo>
                    <a:lnTo>
                      <a:pt x="422" y="176"/>
                    </a:lnTo>
                    <a:lnTo>
                      <a:pt x="422" y="176"/>
                    </a:lnTo>
                    <a:lnTo>
                      <a:pt x="422" y="176"/>
                    </a:lnTo>
                    <a:lnTo>
                      <a:pt x="424" y="176"/>
                    </a:lnTo>
                    <a:lnTo>
                      <a:pt x="424" y="176"/>
                    </a:lnTo>
                    <a:lnTo>
                      <a:pt x="424" y="176"/>
                    </a:lnTo>
                    <a:lnTo>
                      <a:pt x="424" y="178"/>
                    </a:lnTo>
                    <a:lnTo>
                      <a:pt x="424" y="178"/>
                    </a:lnTo>
                    <a:lnTo>
                      <a:pt x="426" y="180"/>
                    </a:lnTo>
                    <a:lnTo>
                      <a:pt x="426" y="182"/>
                    </a:lnTo>
                    <a:lnTo>
                      <a:pt x="428" y="184"/>
                    </a:lnTo>
                    <a:lnTo>
                      <a:pt x="428" y="186"/>
                    </a:lnTo>
                    <a:lnTo>
                      <a:pt x="430" y="188"/>
                    </a:lnTo>
                    <a:lnTo>
                      <a:pt x="432" y="190"/>
                    </a:lnTo>
                    <a:lnTo>
                      <a:pt x="432" y="192"/>
                    </a:lnTo>
                    <a:lnTo>
                      <a:pt x="433" y="194"/>
                    </a:lnTo>
                    <a:lnTo>
                      <a:pt x="433" y="194"/>
                    </a:lnTo>
                    <a:lnTo>
                      <a:pt x="433" y="194"/>
                    </a:lnTo>
                    <a:lnTo>
                      <a:pt x="433" y="196"/>
                    </a:lnTo>
                    <a:lnTo>
                      <a:pt x="435" y="196"/>
                    </a:lnTo>
                    <a:lnTo>
                      <a:pt x="435" y="196"/>
                    </a:lnTo>
                    <a:lnTo>
                      <a:pt x="435" y="196"/>
                    </a:lnTo>
                    <a:lnTo>
                      <a:pt x="435" y="197"/>
                    </a:lnTo>
                    <a:lnTo>
                      <a:pt x="435" y="197"/>
                    </a:lnTo>
                    <a:lnTo>
                      <a:pt x="437" y="199"/>
                    </a:lnTo>
                    <a:lnTo>
                      <a:pt x="437" y="201"/>
                    </a:lnTo>
                    <a:lnTo>
                      <a:pt x="439" y="203"/>
                    </a:lnTo>
                    <a:lnTo>
                      <a:pt x="439" y="205"/>
                    </a:lnTo>
                    <a:lnTo>
                      <a:pt x="441" y="205"/>
                    </a:lnTo>
                    <a:lnTo>
                      <a:pt x="443" y="207"/>
                    </a:lnTo>
                    <a:lnTo>
                      <a:pt x="443" y="209"/>
                    </a:lnTo>
                    <a:lnTo>
                      <a:pt x="445" y="211"/>
                    </a:lnTo>
                    <a:lnTo>
                      <a:pt x="445" y="213"/>
                    </a:lnTo>
                    <a:lnTo>
                      <a:pt x="445" y="213"/>
                    </a:lnTo>
                    <a:lnTo>
                      <a:pt x="445" y="213"/>
                    </a:lnTo>
                    <a:lnTo>
                      <a:pt x="445" y="213"/>
                    </a:lnTo>
                    <a:lnTo>
                      <a:pt x="445" y="215"/>
                    </a:lnTo>
                    <a:lnTo>
                      <a:pt x="447" y="215"/>
                    </a:lnTo>
                    <a:lnTo>
                      <a:pt x="447" y="215"/>
                    </a:lnTo>
                    <a:lnTo>
                      <a:pt x="447" y="217"/>
                    </a:lnTo>
                    <a:lnTo>
                      <a:pt x="447" y="217"/>
                    </a:lnTo>
                    <a:lnTo>
                      <a:pt x="449" y="219"/>
                    </a:lnTo>
                    <a:lnTo>
                      <a:pt x="449" y="219"/>
                    </a:lnTo>
                    <a:lnTo>
                      <a:pt x="449" y="220"/>
                    </a:lnTo>
                    <a:lnTo>
                      <a:pt x="451" y="222"/>
                    </a:lnTo>
                    <a:lnTo>
                      <a:pt x="451" y="222"/>
                    </a:lnTo>
                    <a:lnTo>
                      <a:pt x="451" y="224"/>
                    </a:lnTo>
                    <a:lnTo>
                      <a:pt x="453" y="224"/>
                    </a:lnTo>
                    <a:lnTo>
                      <a:pt x="453" y="226"/>
                    </a:lnTo>
                    <a:lnTo>
                      <a:pt x="453" y="226"/>
                    </a:lnTo>
                    <a:lnTo>
                      <a:pt x="453" y="226"/>
                    </a:lnTo>
                    <a:lnTo>
                      <a:pt x="453" y="228"/>
                    </a:lnTo>
                    <a:lnTo>
                      <a:pt x="455" y="228"/>
                    </a:lnTo>
                    <a:lnTo>
                      <a:pt x="455" y="230"/>
                    </a:lnTo>
                    <a:lnTo>
                      <a:pt x="455" y="230"/>
                    </a:lnTo>
                    <a:lnTo>
                      <a:pt x="455" y="232"/>
                    </a:lnTo>
                    <a:lnTo>
                      <a:pt x="456" y="232"/>
                    </a:lnTo>
                    <a:lnTo>
                      <a:pt x="456" y="234"/>
                    </a:lnTo>
                    <a:lnTo>
                      <a:pt x="458" y="236"/>
                    </a:lnTo>
                    <a:lnTo>
                      <a:pt x="458" y="238"/>
                    </a:lnTo>
                    <a:lnTo>
                      <a:pt x="458" y="240"/>
                    </a:lnTo>
                    <a:lnTo>
                      <a:pt x="460" y="240"/>
                    </a:lnTo>
                    <a:lnTo>
                      <a:pt x="460" y="242"/>
                    </a:lnTo>
                    <a:lnTo>
                      <a:pt x="462" y="244"/>
                    </a:lnTo>
                    <a:lnTo>
                      <a:pt x="462" y="244"/>
                    </a:lnTo>
                    <a:lnTo>
                      <a:pt x="462" y="245"/>
                    </a:lnTo>
                    <a:lnTo>
                      <a:pt x="462" y="245"/>
                    </a:lnTo>
                    <a:lnTo>
                      <a:pt x="464" y="247"/>
                    </a:lnTo>
                    <a:lnTo>
                      <a:pt x="464" y="247"/>
                    </a:lnTo>
                    <a:lnTo>
                      <a:pt x="464" y="247"/>
                    </a:lnTo>
                    <a:lnTo>
                      <a:pt x="464" y="249"/>
                    </a:lnTo>
                    <a:lnTo>
                      <a:pt x="466" y="249"/>
                    </a:lnTo>
                    <a:lnTo>
                      <a:pt x="466" y="251"/>
                    </a:lnTo>
                    <a:lnTo>
                      <a:pt x="466" y="253"/>
                    </a:lnTo>
                    <a:lnTo>
                      <a:pt x="468" y="255"/>
                    </a:lnTo>
                    <a:lnTo>
                      <a:pt x="468" y="255"/>
                    </a:lnTo>
                    <a:lnTo>
                      <a:pt x="468" y="257"/>
                    </a:lnTo>
                    <a:lnTo>
                      <a:pt x="470" y="259"/>
                    </a:lnTo>
                    <a:lnTo>
                      <a:pt x="470" y="261"/>
                    </a:lnTo>
                    <a:lnTo>
                      <a:pt x="472" y="261"/>
                    </a:lnTo>
                    <a:lnTo>
                      <a:pt x="472" y="263"/>
                    </a:lnTo>
                    <a:lnTo>
                      <a:pt x="472" y="263"/>
                    </a:lnTo>
                    <a:lnTo>
                      <a:pt x="472" y="265"/>
                    </a:lnTo>
                    <a:lnTo>
                      <a:pt x="474" y="265"/>
                    </a:lnTo>
                    <a:lnTo>
                      <a:pt x="474" y="267"/>
                    </a:lnTo>
                    <a:lnTo>
                      <a:pt x="474" y="267"/>
                    </a:lnTo>
                    <a:lnTo>
                      <a:pt x="474" y="268"/>
                    </a:lnTo>
                    <a:lnTo>
                      <a:pt x="476" y="268"/>
                    </a:lnTo>
                    <a:lnTo>
                      <a:pt x="476" y="270"/>
                    </a:lnTo>
                    <a:lnTo>
                      <a:pt x="476" y="272"/>
                    </a:lnTo>
                    <a:lnTo>
                      <a:pt x="476" y="272"/>
                    </a:lnTo>
                    <a:lnTo>
                      <a:pt x="478" y="274"/>
                    </a:lnTo>
                    <a:lnTo>
                      <a:pt x="478" y="274"/>
                    </a:lnTo>
                    <a:lnTo>
                      <a:pt x="478" y="276"/>
                    </a:lnTo>
                    <a:lnTo>
                      <a:pt x="478" y="276"/>
                    </a:lnTo>
                    <a:lnTo>
                      <a:pt x="479" y="278"/>
                    </a:lnTo>
                    <a:lnTo>
                      <a:pt x="479" y="280"/>
                    </a:lnTo>
                    <a:lnTo>
                      <a:pt x="479" y="280"/>
                    </a:lnTo>
                    <a:lnTo>
                      <a:pt x="481" y="282"/>
                    </a:lnTo>
                    <a:lnTo>
                      <a:pt x="481" y="284"/>
                    </a:lnTo>
                    <a:lnTo>
                      <a:pt x="481" y="284"/>
                    </a:lnTo>
                    <a:lnTo>
                      <a:pt x="483" y="286"/>
                    </a:lnTo>
                    <a:lnTo>
                      <a:pt x="483" y="288"/>
                    </a:lnTo>
                    <a:lnTo>
                      <a:pt x="483" y="288"/>
                    </a:lnTo>
                    <a:lnTo>
                      <a:pt x="483" y="290"/>
                    </a:lnTo>
                    <a:lnTo>
                      <a:pt x="485" y="290"/>
                    </a:lnTo>
                    <a:lnTo>
                      <a:pt x="485" y="292"/>
                    </a:lnTo>
                    <a:lnTo>
                      <a:pt x="485" y="292"/>
                    </a:lnTo>
                    <a:lnTo>
                      <a:pt x="485" y="293"/>
                    </a:lnTo>
                    <a:lnTo>
                      <a:pt x="487" y="293"/>
                    </a:lnTo>
                    <a:lnTo>
                      <a:pt x="487" y="295"/>
                    </a:lnTo>
                    <a:lnTo>
                      <a:pt x="487" y="295"/>
                    </a:lnTo>
                    <a:lnTo>
                      <a:pt x="487" y="297"/>
                    </a:lnTo>
                    <a:lnTo>
                      <a:pt x="489" y="299"/>
                    </a:lnTo>
                    <a:lnTo>
                      <a:pt x="489" y="301"/>
                    </a:lnTo>
                    <a:lnTo>
                      <a:pt x="489" y="303"/>
                    </a:lnTo>
                    <a:lnTo>
                      <a:pt x="491" y="303"/>
                    </a:lnTo>
                    <a:lnTo>
                      <a:pt x="491" y="305"/>
                    </a:lnTo>
                    <a:lnTo>
                      <a:pt x="491" y="307"/>
                    </a:lnTo>
                    <a:lnTo>
                      <a:pt x="493" y="309"/>
                    </a:lnTo>
                    <a:lnTo>
                      <a:pt x="493" y="309"/>
                    </a:lnTo>
                    <a:lnTo>
                      <a:pt x="493" y="311"/>
                    </a:lnTo>
                    <a:lnTo>
                      <a:pt x="493" y="311"/>
                    </a:lnTo>
                    <a:lnTo>
                      <a:pt x="495" y="311"/>
                    </a:lnTo>
                    <a:lnTo>
                      <a:pt x="495" y="313"/>
                    </a:lnTo>
                    <a:lnTo>
                      <a:pt x="495" y="313"/>
                    </a:lnTo>
                    <a:lnTo>
                      <a:pt x="495" y="315"/>
                    </a:lnTo>
                    <a:lnTo>
                      <a:pt x="495" y="315"/>
                    </a:lnTo>
                    <a:lnTo>
                      <a:pt x="497" y="316"/>
                    </a:lnTo>
                    <a:lnTo>
                      <a:pt x="497" y="318"/>
                    </a:lnTo>
                    <a:lnTo>
                      <a:pt x="497" y="318"/>
                    </a:lnTo>
                    <a:lnTo>
                      <a:pt x="497" y="320"/>
                    </a:lnTo>
                    <a:lnTo>
                      <a:pt x="499" y="322"/>
                    </a:lnTo>
                    <a:lnTo>
                      <a:pt x="499" y="324"/>
                    </a:lnTo>
                    <a:lnTo>
                      <a:pt x="499" y="324"/>
                    </a:lnTo>
                    <a:lnTo>
                      <a:pt x="501" y="326"/>
                    </a:lnTo>
                    <a:lnTo>
                      <a:pt x="501" y="326"/>
                    </a:lnTo>
                    <a:lnTo>
                      <a:pt x="501" y="328"/>
                    </a:lnTo>
                    <a:lnTo>
                      <a:pt x="501" y="328"/>
                    </a:lnTo>
                    <a:lnTo>
                      <a:pt x="501" y="330"/>
                    </a:lnTo>
                    <a:lnTo>
                      <a:pt x="503" y="330"/>
                    </a:lnTo>
                    <a:lnTo>
                      <a:pt x="503" y="332"/>
                    </a:lnTo>
                    <a:lnTo>
                      <a:pt x="503" y="332"/>
                    </a:lnTo>
                    <a:lnTo>
                      <a:pt x="503" y="334"/>
                    </a:lnTo>
                    <a:lnTo>
                      <a:pt x="503" y="334"/>
                    </a:lnTo>
                    <a:lnTo>
                      <a:pt x="504" y="336"/>
                    </a:lnTo>
                    <a:lnTo>
                      <a:pt x="504" y="338"/>
                    </a:lnTo>
                    <a:lnTo>
                      <a:pt x="504" y="339"/>
                    </a:lnTo>
                    <a:lnTo>
                      <a:pt x="506" y="339"/>
                    </a:lnTo>
                    <a:lnTo>
                      <a:pt x="506" y="341"/>
                    </a:lnTo>
                    <a:lnTo>
                      <a:pt x="506" y="343"/>
                    </a:lnTo>
                    <a:lnTo>
                      <a:pt x="506" y="345"/>
                    </a:lnTo>
                    <a:lnTo>
                      <a:pt x="508" y="345"/>
                    </a:lnTo>
                    <a:lnTo>
                      <a:pt x="508" y="345"/>
                    </a:lnTo>
                    <a:lnTo>
                      <a:pt x="508" y="347"/>
                    </a:lnTo>
                    <a:lnTo>
                      <a:pt x="508" y="347"/>
                    </a:lnTo>
                    <a:lnTo>
                      <a:pt x="508" y="349"/>
                    </a:lnTo>
                    <a:lnTo>
                      <a:pt x="508" y="349"/>
                    </a:lnTo>
                    <a:lnTo>
                      <a:pt x="508" y="349"/>
                    </a:lnTo>
                    <a:lnTo>
                      <a:pt x="510" y="351"/>
                    </a:lnTo>
                    <a:lnTo>
                      <a:pt x="510" y="353"/>
                    </a:lnTo>
                    <a:lnTo>
                      <a:pt x="510" y="353"/>
                    </a:lnTo>
                    <a:lnTo>
                      <a:pt x="512" y="355"/>
                    </a:lnTo>
                    <a:lnTo>
                      <a:pt x="512" y="357"/>
                    </a:lnTo>
                    <a:lnTo>
                      <a:pt x="512" y="359"/>
                    </a:lnTo>
                    <a:lnTo>
                      <a:pt x="514" y="361"/>
                    </a:lnTo>
                    <a:lnTo>
                      <a:pt x="514" y="363"/>
                    </a:lnTo>
                    <a:lnTo>
                      <a:pt x="514" y="364"/>
                    </a:lnTo>
                    <a:lnTo>
                      <a:pt x="514" y="364"/>
                    </a:lnTo>
                    <a:lnTo>
                      <a:pt x="514" y="366"/>
                    </a:lnTo>
                    <a:lnTo>
                      <a:pt x="516" y="366"/>
                    </a:lnTo>
                    <a:lnTo>
                      <a:pt x="516" y="366"/>
                    </a:lnTo>
                    <a:lnTo>
                      <a:pt x="516" y="368"/>
                    </a:lnTo>
                    <a:lnTo>
                      <a:pt x="516" y="368"/>
                    </a:lnTo>
                    <a:lnTo>
                      <a:pt x="516" y="370"/>
                    </a:lnTo>
                    <a:lnTo>
                      <a:pt x="516" y="370"/>
                    </a:lnTo>
                    <a:lnTo>
                      <a:pt x="518" y="372"/>
                    </a:lnTo>
                    <a:lnTo>
                      <a:pt x="518" y="374"/>
                    </a:lnTo>
                    <a:lnTo>
                      <a:pt x="518" y="376"/>
                    </a:lnTo>
                    <a:lnTo>
                      <a:pt x="518" y="378"/>
                    </a:lnTo>
                    <a:lnTo>
                      <a:pt x="520" y="380"/>
                    </a:lnTo>
                    <a:lnTo>
                      <a:pt x="520" y="382"/>
                    </a:lnTo>
                    <a:lnTo>
                      <a:pt x="520" y="384"/>
                    </a:lnTo>
                    <a:lnTo>
                      <a:pt x="522" y="386"/>
                    </a:lnTo>
                    <a:lnTo>
                      <a:pt x="522" y="386"/>
                    </a:lnTo>
                    <a:lnTo>
                      <a:pt x="522" y="386"/>
                    </a:lnTo>
                    <a:lnTo>
                      <a:pt x="522" y="387"/>
                    </a:lnTo>
                    <a:lnTo>
                      <a:pt x="522" y="387"/>
                    </a:lnTo>
                    <a:lnTo>
                      <a:pt x="522" y="387"/>
                    </a:lnTo>
                    <a:lnTo>
                      <a:pt x="522" y="389"/>
                    </a:lnTo>
                    <a:lnTo>
                      <a:pt x="522" y="389"/>
                    </a:lnTo>
                    <a:lnTo>
                      <a:pt x="524" y="389"/>
                    </a:lnTo>
                    <a:lnTo>
                      <a:pt x="524" y="391"/>
                    </a:lnTo>
                    <a:lnTo>
                      <a:pt x="524" y="393"/>
                    </a:lnTo>
                    <a:lnTo>
                      <a:pt x="524" y="395"/>
                    </a:lnTo>
                    <a:lnTo>
                      <a:pt x="526" y="397"/>
                    </a:lnTo>
                    <a:lnTo>
                      <a:pt x="526" y="399"/>
                    </a:lnTo>
                    <a:lnTo>
                      <a:pt x="526" y="401"/>
                    </a:lnTo>
                    <a:lnTo>
                      <a:pt x="527" y="401"/>
                    </a:lnTo>
                    <a:lnTo>
                      <a:pt x="527" y="403"/>
                    </a:lnTo>
                    <a:lnTo>
                      <a:pt x="527" y="405"/>
                    </a:lnTo>
                    <a:lnTo>
                      <a:pt x="527" y="405"/>
                    </a:lnTo>
                    <a:lnTo>
                      <a:pt x="527" y="405"/>
                    </a:lnTo>
                    <a:lnTo>
                      <a:pt x="527" y="407"/>
                    </a:lnTo>
                    <a:lnTo>
                      <a:pt x="527" y="407"/>
                    </a:lnTo>
                    <a:lnTo>
                      <a:pt x="527" y="407"/>
                    </a:lnTo>
                    <a:lnTo>
                      <a:pt x="527" y="407"/>
                    </a:lnTo>
                    <a:lnTo>
                      <a:pt x="527" y="409"/>
                    </a:lnTo>
                    <a:lnTo>
                      <a:pt x="529" y="411"/>
                    </a:lnTo>
                    <a:lnTo>
                      <a:pt x="529" y="412"/>
                    </a:lnTo>
                    <a:lnTo>
                      <a:pt x="529" y="414"/>
                    </a:lnTo>
                    <a:lnTo>
                      <a:pt x="531" y="416"/>
                    </a:lnTo>
                    <a:lnTo>
                      <a:pt x="531" y="416"/>
                    </a:lnTo>
                    <a:lnTo>
                      <a:pt x="531" y="418"/>
                    </a:lnTo>
                    <a:lnTo>
                      <a:pt x="531" y="420"/>
                    </a:lnTo>
                    <a:lnTo>
                      <a:pt x="533" y="422"/>
                    </a:lnTo>
                    <a:lnTo>
                      <a:pt x="533" y="424"/>
                    </a:lnTo>
                    <a:lnTo>
                      <a:pt x="533" y="424"/>
                    </a:lnTo>
                    <a:lnTo>
                      <a:pt x="533" y="424"/>
                    </a:lnTo>
                    <a:lnTo>
                      <a:pt x="533" y="426"/>
                    </a:lnTo>
                    <a:lnTo>
                      <a:pt x="533" y="426"/>
                    </a:lnTo>
                    <a:lnTo>
                      <a:pt x="533" y="426"/>
                    </a:lnTo>
                    <a:lnTo>
                      <a:pt x="533" y="426"/>
                    </a:lnTo>
                    <a:lnTo>
                      <a:pt x="533" y="428"/>
                    </a:lnTo>
                    <a:lnTo>
                      <a:pt x="535" y="430"/>
                    </a:lnTo>
                    <a:lnTo>
                      <a:pt x="535" y="432"/>
                    </a:lnTo>
                    <a:lnTo>
                      <a:pt x="535" y="434"/>
                    </a:lnTo>
                    <a:lnTo>
                      <a:pt x="535" y="435"/>
                    </a:lnTo>
                    <a:lnTo>
                      <a:pt x="537" y="437"/>
                    </a:lnTo>
                    <a:lnTo>
                      <a:pt x="537" y="439"/>
                    </a:lnTo>
                    <a:lnTo>
                      <a:pt x="537" y="441"/>
                    </a:lnTo>
                    <a:lnTo>
                      <a:pt x="539" y="443"/>
                    </a:lnTo>
                    <a:lnTo>
                      <a:pt x="539" y="443"/>
                    </a:lnTo>
                    <a:lnTo>
                      <a:pt x="539" y="445"/>
                    </a:lnTo>
                    <a:lnTo>
                      <a:pt x="539" y="445"/>
                    </a:lnTo>
                    <a:lnTo>
                      <a:pt x="539" y="445"/>
                    </a:lnTo>
                    <a:lnTo>
                      <a:pt x="539" y="445"/>
                    </a:lnTo>
                    <a:lnTo>
                      <a:pt x="539" y="447"/>
                    </a:lnTo>
                    <a:lnTo>
                      <a:pt x="539" y="447"/>
                    </a:lnTo>
                    <a:lnTo>
                      <a:pt x="539" y="447"/>
                    </a:lnTo>
                    <a:lnTo>
                      <a:pt x="539" y="449"/>
                    </a:lnTo>
                    <a:lnTo>
                      <a:pt x="541" y="451"/>
                    </a:lnTo>
                    <a:lnTo>
                      <a:pt x="541" y="455"/>
                    </a:lnTo>
                    <a:lnTo>
                      <a:pt x="541" y="457"/>
                    </a:lnTo>
                    <a:lnTo>
                      <a:pt x="541" y="458"/>
                    </a:lnTo>
                    <a:lnTo>
                      <a:pt x="543" y="460"/>
                    </a:lnTo>
                    <a:lnTo>
                      <a:pt x="543" y="462"/>
                    </a:lnTo>
                    <a:lnTo>
                      <a:pt x="543" y="464"/>
                    </a:lnTo>
                    <a:lnTo>
                      <a:pt x="543" y="464"/>
                    </a:lnTo>
                    <a:lnTo>
                      <a:pt x="543" y="464"/>
                    </a:lnTo>
                    <a:lnTo>
                      <a:pt x="543" y="466"/>
                    </a:lnTo>
                    <a:lnTo>
                      <a:pt x="543" y="466"/>
                    </a:lnTo>
                    <a:lnTo>
                      <a:pt x="543" y="466"/>
                    </a:lnTo>
                    <a:lnTo>
                      <a:pt x="543" y="466"/>
                    </a:lnTo>
                    <a:lnTo>
                      <a:pt x="543" y="468"/>
                    </a:lnTo>
                    <a:lnTo>
                      <a:pt x="545" y="468"/>
                    </a:lnTo>
                    <a:lnTo>
                      <a:pt x="545" y="470"/>
                    </a:lnTo>
                    <a:lnTo>
                      <a:pt x="545" y="472"/>
                    </a:lnTo>
                    <a:lnTo>
                      <a:pt x="545" y="474"/>
                    </a:lnTo>
                    <a:lnTo>
                      <a:pt x="545" y="476"/>
                    </a:lnTo>
                    <a:lnTo>
                      <a:pt x="547" y="478"/>
                    </a:lnTo>
                    <a:lnTo>
                      <a:pt x="547" y="480"/>
                    </a:lnTo>
                    <a:lnTo>
                      <a:pt x="547" y="482"/>
                    </a:lnTo>
                    <a:lnTo>
                      <a:pt x="547" y="483"/>
                    </a:lnTo>
                    <a:lnTo>
                      <a:pt x="547" y="483"/>
                    </a:lnTo>
                    <a:lnTo>
                      <a:pt x="547" y="483"/>
                    </a:lnTo>
                    <a:lnTo>
                      <a:pt x="547" y="485"/>
                    </a:lnTo>
                    <a:lnTo>
                      <a:pt x="547" y="485"/>
                    </a:lnTo>
                    <a:lnTo>
                      <a:pt x="547" y="485"/>
                    </a:lnTo>
                    <a:lnTo>
                      <a:pt x="547" y="485"/>
                    </a:lnTo>
                    <a:lnTo>
                      <a:pt x="549" y="485"/>
                    </a:lnTo>
                    <a:lnTo>
                      <a:pt x="549" y="485"/>
                    </a:lnTo>
                    <a:lnTo>
                      <a:pt x="549" y="487"/>
                    </a:lnTo>
                    <a:lnTo>
                      <a:pt x="549" y="491"/>
                    </a:lnTo>
                    <a:lnTo>
                      <a:pt x="549" y="493"/>
                    </a:lnTo>
                    <a:lnTo>
                      <a:pt x="549" y="495"/>
                    </a:lnTo>
                    <a:lnTo>
                      <a:pt x="551" y="497"/>
                    </a:lnTo>
                    <a:lnTo>
                      <a:pt x="551" y="499"/>
                    </a:lnTo>
                    <a:lnTo>
                      <a:pt x="551" y="501"/>
                    </a:lnTo>
                    <a:lnTo>
                      <a:pt x="551" y="505"/>
                    </a:lnTo>
                    <a:lnTo>
                      <a:pt x="551" y="505"/>
                    </a:lnTo>
                    <a:lnTo>
                      <a:pt x="551" y="505"/>
                    </a:lnTo>
                    <a:lnTo>
                      <a:pt x="551" y="505"/>
                    </a:lnTo>
                    <a:lnTo>
                      <a:pt x="551" y="505"/>
                    </a:lnTo>
                    <a:lnTo>
                      <a:pt x="551" y="506"/>
                    </a:lnTo>
                    <a:lnTo>
                      <a:pt x="552" y="506"/>
                    </a:lnTo>
                    <a:lnTo>
                      <a:pt x="552" y="506"/>
                    </a:lnTo>
                    <a:lnTo>
                      <a:pt x="552" y="506"/>
                    </a:lnTo>
                    <a:lnTo>
                      <a:pt x="552" y="508"/>
                    </a:lnTo>
                    <a:lnTo>
                      <a:pt x="552" y="512"/>
                    </a:lnTo>
                    <a:lnTo>
                      <a:pt x="552" y="514"/>
                    </a:lnTo>
                    <a:lnTo>
                      <a:pt x="552" y="516"/>
                    </a:lnTo>
                    <a:lnTo>
                      <a:pt x="554" y="518"/>
                    </a:lnTo>
                    <a:lnTo>
                      <a:pt x="554" y="520"/>
                    </a:lnTo>
                    <a:lnTo>
                      <a:pt x="554" y="522"/>
                    </a:lnTo>
                    <a:lnTo>
                      <a:pt x="554" y="524"/>
                    </a:lnTo>
                    <a:lnTo>
                      <a:pt x="554" y="526"/>
                    </a:lnTo>
                    <a:lnTo>
                      <a:pt x="554" y="526"/>
                    </a:lnTo>
                    <a:lnTo>
                      <a:pt x="554" y="526"/>
                    </a:lnTo>
                    <a:lnTo>
                      <a:pt x="554" y="526"/>
                    </a:lnTo>
                    <a:lnTo>
                      <a:pt x="554" y="526"/>
                    </a:lnTo>
                    <a:lnTo>
                      <a:pt x="554" y="526"/>
                    </a:lnTo>
                    <a:lnTo>
                      <a:pt x="554" y="526"/>
                    </a:lnTo>
                    <a:lnTo>
                      <a:pt x="554" y="526"/>
                    </a:lnTo>
                    <a:lnTo>
                      <a:pt x="522" y="535"/>
                    </a:lnTo>
                    <a:lnTo>
                      <a:pt x="489" y="545"/>
                    </a:lnTo>
                    <a:lnTo>
                      <a:pt x="455" y="553"/>
                    </a:lnTo>
                    <a:lnTo>
                      <a:pt x="420" y="558"/>
                    </a:lnTo>
                    <a:lnTo>
                      <a:pt x="385" y="564"/>
                    </a:lnTo>
                    <a:lnTo>
                      <a:pt x="349" y="566"/>
                    </a:lnTo>
                    <a:lnTo>
                      <a:pt x="314" y="568"/>
                    </a:lnTo>
                    <a:lnTo>
                      <a:pt x="278" y="570"/>
                    </a:lnTo>
                    <a:lnTo>
                      <a:pt x="241" y="568"/>
                    </a:lnTo>
                    <a:lnTo>
                      <a:pt x="205" y="566"/>
                    </a:lnTo>
                    <a:lnTo>
                      <a:pt x="170" y="564"/>
                    </a:lnTo>
                    <a:lnTo>
                      <a:pt x="134" y="558"/>
                    </a:lnTo>
                    <a:lnTo>
                      <a:pt x="99" y="553"/>
                    </a:lnTo>
                    <a:lnTo>
                      <a:pt x="67" y="545"/>
                    </a:lnTo>
                    <a:lnTo>
                      <a:pt x="32" y="535"/>
                    </a:lnTo>
                    <a:lnTo>
                      <a:pt x="0" y="526"/>
                    </a:lnTo>
                    <a:close/>
                  </a:path>
                </a:pathLst>
              </a:custGeom>
              <a:solidFill>
                <a:srgbClr val="BE82FF"/>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sp>
          <p:nvSpPr>
            <p:cNvPr id="16" name="Oval 4">
              <a:extLst>
                <a:ext uri="{FF2B5EF4-FFF2-40B4-BE49-F238E27FC236}">
                  <a16:creationId xmlns:a16="http://schemas.microsoft.com/office/drawing/2014/main" id="{8333AED1-FA5A-4CAC-B71C-5C15D826A59D}"/>
                </a:ext>
              </a:extLst>
            </p:cNvPr>
            <p:cNvSpPr>
              <a:spLocks noChangeArrowheads="1"/>
            </p:cNvSpPr>
            <p:nvPr/>
          </p:nvSpPr>
          <p:spPr bwMode="auto">
            <a:xfrm>
              <a:off x="4582584" y="2128581"/>
              <a:ext cx="2873375" cy="780924"/>
            </a:xfrm>
            <a:prstGeom prst="rect">
              <a:avLst/>
            </a:prstGeom>
            <a:noFill/>
            <a:ln w="6350">
              <a:noFill/>
              <a:round/>
              <a:headEnd/>
              <a:tailEnd/>
            </a:ln>
            <a:effectLst/>
          </p:spPr>
          <p:txBody>
            <a:bodyPr lIns="72000" tIns="72000" rIns="72000" bIns="72000" anchor="t" anchorCtr="1"/>
            <a:lstStyle/>
            <a:p>
              <a:pPr marL="108000" marR="0" lvl="0" indent="-108000" algn="ctr" defTabSz="914400" rtl="0" eaLnBrk="0" fontAlgn="auto" latinLnBrk="0" hangingPunct="0">
                <a:lnSpc>
                  <a:spcPct val="100000"/>
                </a:lnSpc>
                <a:spcBef>
                  <a:spcPts val="300"/>
                </a:spcBef>
                <a:spcAft>
                  <a:spcPts val="3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Black"/>
                  <a:ea typeface="+mn-ea"/>
                  <a:cs typeface="+mn-cs"/>
                </a:rPr>
                <a:t>Economic progress</a:t>
              </a:r>
            </a:p>
            <a:p>
              <a:pPr marL="108000" marR="0" lvl="0" indent="-108000" algn="ctr" defTabSz="914400" rtl="0" eaLnBrk="1" fontAlgn="auto" latinLnBrk="0" hangingPunct="1">
                <a:lnSpc>
                  <a:spcPct val="100000"/>
                </a:lnSpc>
                <a:spcBef>
                  <a:spcPts val="100"/>
                </a:spcBef>
                <a:spcAft>
                  <a:spcPts val="100"/>
                </a:spcAft>
                <a:buClrTx/>
                <a:buSzTx/>
                <a:buFont typeface="Arial" charset="0"/>
                <a:buChar char="•"/>
                <a:tabLst/>
                <a:defRPr/>
              </a:pPr>
              <a:r>
                <a:rPr kumimoji="0" lang="da-DK" sz="1100" b="0" i="0" u="none" strike="noStrike" kern="0" cap="none" spc="0" normalizeH="0" baseline="0" noProof="0" dirty="0">
                  <a:ln>
                    <a:noFill/>
                  </a:ln>
                  <a:solidFill>
                    <a:srgbClr val="000000"/>
                  </a:solidFill>
                  <a:effectLst/>
                  <a:uLnTx/>
                  <a:uFillTx/>
                  <a:latin typeface="Graphik"/>
                  <a:ea typeface="+mn-ea"/>
                  <a:cs typeface="+mn-cs"/>
                </a:rPr>
                <a:t>Shareholder value</a:t>
              </a:r>
            </a:p>
            <a:p>
              <a:pPr marL="108000" marR="0" lvl="0" indent="-108000" algn="ctr" defTabSz="914400" rtl="0" eaLnBrk="1" fontAlgn="auto" latinLnBrk="0" hangingPunct="1">
                <a:lnSpc>
                  <a:spcPct val="100000"/>
                </a:lnSpc>
                <a:spcBef>
                  <a:spcPts val="300"/>
                </a:spcBef>
                <a:spcAft>
                  <a:spcPts val="300"/>
                </a:spcAft>
                <a:buClrTx/>
                <a:buSzTx/>
                <a:buFont typeface="Arial" charset="0"/>
                <a:buChar char="•"/>
                <a:tabLst/>
                <a:defRPr/>
              </a:pPr>
              <a:r>
                <a:rPr kumimoji="0" lang="da-DK" sz="1100" b="0" i="0" u="none" strike="noStrike" kern="0" cap="none" spc="0" normalizeH="0" baseline="0" noProof="0" dirty="0">
                  <a:ln>
                    <a:noFill/>
                  </a:ln>
                  <a:solidFill>
                    <a:srgbClr val="000000"/>
                  </a:solidFill>
                  <a:effectLst/>
                  <a:uLnTx/>
                  <a:uFillTx/>
                  <a:latin typeface="Graphik"/>
                  <a:ea typeface="+mn-ea"/>
                  <a:cs typeface="+mn-cs"/>
                </a:rPr>
                <a:t>Profitable growth</a:t>
              </a:r>
            </a:p>
          </p:txBody>
        </p:sp>
        <p:sp>
          <p:nvSpPr>
            <p:cNvPr id="17" name="Freeform 10">
              <a:extLst>
                <a:ext uri="{FF2B5EF4-FFF2-40B4-BE49-F238E27FC236}">
                  <a16:creationId xmlns:a16="http://schemas.microsoft.com/office/drawing/2014/main" id="{1B4DDE4B-A5E0-4FFF-A578-1F4B49A98DF7}"/>
                </a:ext>
              </a:extLst>
            </p:cNvPr>
            <p:cNvSpPr>
              <a:spLocks/>
            </p:cNvSpPr>
            <p:nvPr/>
          </p:nvSpPr>
          <p:spPr bwMode="auto">
            <a:xfrm>
              <a:off x="5566833" y="3496781"/>
              <a:ext cx="869950" cy="919163"/>
            </a:xfrm>
            <a:custGeom>
              <a:avLst/>
              <a:gdLst/>
              <a:ahLst/>
              <a:cxnLst>
                <a:cxn ang="0">
                  <a:pos x="48" y="339"/>
                </a:cxn>
                <a:cxn ang="0">
                  <a:pos x="155" y="142"/>
                </a:cxn>
                <a:cxn ang="0">
                  <a:pos x="293" y="15"/>
                </a:cxn>
                <a:cxn ang="0">
                  <a:pos x="378" y="111"/>
                </a:cxn>
                <a:cxn ang="0">
                  <a:pos x="391" y="128"/>
                </a:cxn>
                <a:cxn ang="0">
                  <a:pos x="395" y="136"/>
                </a:cxn>
                <a:cxn ang="0">
                  <a:pos x="403" y="148"/>
                </a:cxn>
                <a:cxn ang="0">
                  <a:pos x="403" y="148"/>
                </a:cxn>
                <a:cxn ang="0">
                  <a:pos x="416" y="165"/>
                </a:cxn>
                <a:cxn ang="0">
                  <a:pos x="422" y="176"/>
                </a:cxn>
                <a:cxn ang="0">
                  <a:pos x="426" y="180"/>
                </a:cxn>
                <a:cxn ang="0">
                  <a:pos x="432" y="192"/>
                </a:cxn>
                <a:cxn ang="0">
                  <a:pos x="435" y="196"/>
                </a:cxn>
                <a:cxn ang="0">
                  <a:pos x="439" y="203"/>
                </a:cxn>
                <a:cxn ang="0">
                  <a:pos x="445" y="213"/>
                </a:cxn>
                <a:cxn ang="0">
                  <a:pos x="447" y="215"/>
                </a:cxn>
                <a:cxn ang="0">
                  <a:pos x="451" y="222"/>
                </a:cxn>
                <a:cxn ang="0">
                  <a:pos x="453" y="226"/>
                </a:cxn>
                <a:cxn ang="0">
                  <a:pos x="456" y="232"/>
                </a:cxn>
                <a:cxn ang="0">
                  <a:pos x="460" y="242"/>
                </a:cxn>
                <a:cxn ang="0">
                  <a:pos x="464" y="247"/>
                </a:cxn>
                <a:cxn ang="0">
                  <a:pos x="468" y="255"/>
                </a:cxn>
                <a:cxn ang="0">
                  <a:pos x="472" y="263"/>
                </a:cxn>
                <a:cxn ang="0">
                  <a:pos x="474" y="268"/>
                </a:cxn>
                <a:cxn ang="0">
                  <a:pos x="478" y="274"/>
                </a:cxn>
                <a:cxn ang="0">
                  <a:pos x="481" y="282"/>
                </a:cxn>
                <a:cxn ang="0">
                  <a:pos x="483" y="290"/>
                </a:cxn>
                <a:cxn ang="0">
                  <a:pos x="487" y="295"/>
                </a:cxn>
                <a:cxn ang="0">
                  <a:pos x="491" y="303"/>
                </a:cxn>
                <a:cxn ang="0">
                  <a:pos x="493" y="311"/>
                </a:cxn>
                <a:cxn ang="0">
                  <a:pos x="497" y="316"/>
                </a:cxn>
                <a:cxn ang="0">
                  <a:pos x="499" y="324"/>
                </a:cxn>
                <a:cxn ang="0">
                  <a:pos x="503" y="330"/>
                </a:cxn>
                <a:cxn ang="0">
                  <a:pos x="504" y="338"/>
                </a:cxn>
                <a:cxn ang="0">
                  <a:pos x="508" y="345"/>
                </a:cxn>
                <a:cxn ang="0">
                  <a:pos x="508" y="349"/>
                </a:cxn>
                <a:cxn ang="0">
                  <a:pos x="512" y="359"/>
                </a:cxn>
                <a:cxn ang="0">
                  <a:pos x="516" y="366"/>
                </a:cxn>
                <a:cxn ang="0">
                  <a:pos x="518" y="372"/>
                </a:cxn>
                <a:cxn ang="0">
                  <a:pos x="520" y="384"/>
                </a:cxn>
                <a:cxn ang="0">
                  <a:pos x="522" y="387"/>
                </a:cxn>
                <a:cxn ang="0">
                  <a:pos x="524" y="395"/>
                </a:cxn>
                <a:cxn ang="0">
                  <a:pos x="527" y="405"/>
                </a:cxn>
                <a:cxn ang="0">
                  <a:pos x="527" y="407"/>
                </a:cxn>
                <a:cxn ang="0">
                  <a:pos x="531" y="416"/>
                </a:cxn>
                <a:cxn ang="0">
                  <a:pos x="533" y="424"/>
                </a:cxn>
                <a:cxn ang="0">
                  <a:pos x="535" y="430"/>
                </a:cxn>
                <a:cxn ang="0">
                  <a:pos x="537" y="441"/>
                </a:cxn>
                <a:cxn ang="0">
                  <a:pos x="539" y="445"/>
                </a:cxn>
                <a:cxn ang="0">
                  <a:pos x="541" y="455"/>
                </a:cxn>
                <a:cxn ang="0">
                  <a:pos x="543" y="464"/>
                </a:cxn>
                <a:cxn ang="0">
                  <a:pos x="543" y="468"/>
                </a:cxn>
                <a:cxn ang="0">
                  <a:pos x="547" y="478"/>
                </a:cxn>
                <a:cxn ang="0">
                  <a:pos x="547" y="485"/>
                </a:cxn>
                <a:cxn ang="0">
                  <a:pos x="549" y="487"/>
                </a:cxn>
                <a:cxn ang="0">
                  <a:pos x="551" y="501"/>
                </a:cxn>
                <a:cxn ang="0">
                  <a:pos x="551" y="506"/>
                </a:cxn>
                <a:cxn ang="0">
                  <a:pos x="552" y="514"/>
                </a:cxn>
                <a:cxn ang="0">
                  <a:pos x="554" y="526"/>
                </a:cxn>
                <a:cxn ang="0">
                  <a:pos x="554" y="526"/>
                </a:cxn>
                <a:cxn ang="0">
                  <a:pos x="385" y="564"/>
                </a:cxn>
                <a:cxn ang="0">
                  <a:pos x="170" y="564"/>
                </a:cxn>
              </a:cxnLst>
              <a:rect l="0" t="0" r="r" b="b"/>
              <a:pathLst>
                <a:path w="554" h="570">
                  <a:moveTo>
                    <a:pt x="0" y="526"/>
                  </a:moveTo>
                  <a:lnTo>
                    <a:pt x="5" y="487"/>
                  </a:lnTo>
                  <a:lnTo>
                    <a:pt x="15" y="451"/>
                  </a:lnTo>
                  <a:lnTo>
                    <a:pt x="25" y="412"/>
                  </a:lnTo>
                  <a:lnTo>
                    <a:pt x="36" y="376"/>
                  </a:lnTo>
                  <a:lnTo>
                    <a:pt x="48" y="339"/>
                  </a:lnTo>
                  <a:lnTo>
                    <a:pt x="63" y="305"/>
                  </a:lnTo>
                  <a:lnTo>
                    <a:pt x="78" y="270"/>
                  </a:lnTo>
                  <a:lnTo>
                    <a:pt x="96" y="238"/>
                  </a:lnTo>
                  <a:lnTo>
                    <a:pt x="115" y="205"/>
                  </a:lnTo>
                  <a:lnTo>
                    <a:pt x="134" y="173"/>
                  </a:lnTo>
                  <a:lnTo>
                    <a:pt x="155" y="142"/>
                  </a:lnTo>
                  <a:lnTo>
                    <a:pt x="176" y="111"/>
                  </a:lnTo>
                  <a:lnTo>
                    <a:pt x="199" y="82"/>
                  </a:lnTo>
                  <a:lnTo>
                    <a:pt x="224" y="54"/>
                  </a:lnTo>
                  <a:lnTo>
                    <a:pt x="251" y="27"/>
                  </a:lnTo>
                  <a:lnTo>
                    <a:pt x="278" y="0"/>
                  </a:lnTo>
                  <a:lnTo>
                    <a:pt x="293" y="15"/>
                  </a:lnTo>
                  <a:lnTo>
                    <a:pt x="307" y="30"/>
                  </a:lnTo>
                  <a:lnTo>
                    <a:pt x="322" y="46"/>
                  </a:lnTo>
                  <a:lnTo>
                    <a:pt x="336" y="61"/>
                  </a:lnTo>
                  <a:lnTo>
                    <a:pt x="351" y="78"/>
                  </a:lnTo>
                  <a:lnTo>
                    <a:pt x="364" y="94"/>
                  </a:lnTo>
                  <a:lnTo>
                    <a:pt x="378" y="111"/>
                  </a:lnTo>
                  <a:lnTo>
                    <a:pt x="389" y="128"/>
                  </a:lnTo>
                  <a:lnTo>
                    <a:pt x="389" y="128"/>
                  </a:lnTo>
                  <a:lnTo>
                    <a:pt x="389" y="128"/>
                  </a:lnTo>
                  <a:lnTo>
                    <a:pt x="389" y="128"/>
                  </a:lnTo>
                  <a:lnTo>
                    <a:pt x="391" y="128"/>
                  </a:lnTo>
                  <a:lnTo>
                    <a:pt x="391" y="128"/>
                  </a:lnTo>
                  <a:lnTo>
                    <a:pt x="391" y="128"/>
                  </a:lnTo>
                  <a:lnTo>
                    <a:pt x="391" y="128"/>
                  </a:lnTo>
                  <a:lnTo>
                    <a:pt x="391" y="128"/>
                  </a:lnTo>
                  <a:lnTo>
                    <a:pt x="393" y="132"/>
                  </a:lnTo>
                  <a:lnTo>
                    <a:pt x="393" y="134"/>
                  </a:lnTo>
                  <a:lnTo>
                    <a:pt x="395" y="136"/>
                  </a:lnTo>
                  <a:lnTo>
                    <a:pt x="397" y="138"/>
                  </a:lnTo>
                  <a:lnTo>
                    <a:pt x="399" y="140"/>
                  </a:lnTo>
                  <a:lnTo>
                    <a:pt x="401" y="142"/>
                  </a:lnTo>
                  <a:lnTo>
                    <a:pt x="401" y="144"/>
                  </a:lnTo>
                  <a:lnTo>
                    <a:pt x="403" y="146"/>
                  </a:lnTo>
                  <a:lnTo>
                    <a:pt x="403" y="148"/>
                  </a:lnTo>
                  <a:lnTo>
                    <a:pt x="403" y="148"/>
                  </a:lnTo>
                  <a:lnTo>
                    <a:pt x="403" y="148"/>
                  </a:lnTo>
                  <a:lnTo>
                    <a:pt x="403" y="148"/>
                  </a:lnTo>
                  <a:lnTo>
                    <a:pt x="403" y="148"/>
                  </a:lnTo>
                  <a:lnTo>
                    <a:pt x="403" y="148"/>
                  </a:lnTo>
                  <a:lnTo>
                    <a:pt x="403" y="148"/>
                  </a:lnTo>
                  <a:lnTo>
                    <a:pt x="403" y="148"/>
                  </a:lnTo>
                  <a:lnTo>
                    <a:pt x="407" y="151"/>
                  </a:lnTo>
                  <a:lnTo>
                    <a:pt x="408" y="155"/>
                  </a:lnTo>
                  <a:lnTo>
                    <a:pt x="410" y="157"/>
                  </a:lnTo>
                  <a:lnTo>
                    <a:pt x="412" y="161"/>
                  </a:lnTo>
                  <a:lnTo>
                    <a:pt x="416" y="165"/>
                  </a:lnTo>
                  <a:lnTo>
                    <a:pt x="418" y="169"/>
                  </a:lnTo>
                  <a:lnTo>
                    <a:pt x="420" y="173"/>
                  </a:lnTo>
                  <a:lnTo>
                    <a:pt x="422" y="174"/>
                  </a:lnTo>
                  <a:lnTo>
                    <a:pt x="422" y="176"/>
                  </a:lnTo>
                  <a:lnTo>
                    <a:pt x="422" y="176"/>
                  </a:lnTo>
                  <a:lnTo>
                    <a:pt x="422" y="176"/>
                  </a:lnTo>
                  <a:lnTo>
                    <a:pt x="424" y="176"/>
                  </a:lnTo>
                  <a:lnTo>
                    <a:pt x="424" y="176"/>
                  </a:lnTo>
                  <a:lnTo>
                    <a:pt x="424" y="176"/>
                  </a:lnTo>
                  <a:lnTo>
                    <a:pt x="424" y="178"/>
                  </a:lnTo>
                  <a:lnTo>
                    <a:pt x="424" y="178"/>
                  </a:lnTo>
                  <a:lnTo>
                    <a:pt x="426" y="180"/>
                  </a:lnTo>
                  <a:lnTo>
                    <a:pt x="426" y="182"/>
                  </a:lnTo>
                  <a:lnTo>
                    <a:pt x="428" y="184"/>
                  </a:lnTo>
                  <a:lnTo>
                    <a:pt x="428" y="186"/>
                  </a:lnTo>
                  <a:lnTo>
                    <a:pt x="430" y="188"/>
                  </a:lnTo>
                  <a:lnTo>
                    <a:pt x="432" y="190"/>
                  </a:lnTo>
                  <a:lnTo>
                    <a:pt x="432" y="192"/>
                  </a:lnTo>
                  <a:lnTo>
                    <a:pt x="433" y="194"/>
                  </a:lnTo>
                  <a:lnTo>
                    <a:pt x="433" y="194"/>
                  </a:lnTo>
                  <a:lnTo>
                    <a:pt x="433" y="194"/>
                  </a:lnTo>
                  <a:lnTo>
                    <a:pt x="433" y="196"/>
                  </a:lnTo>
                  <a:lnTo>
                    <a:pt x="435" y="196"/>
                  </a:lnTo>
                  <a:lnTo>
                    <a:pt x="435" y="196"/>
                  </a:lnTo>
                  <a:lnTo>
                    <a:pt x="435" y="196"/>
                  </a:lnTo>
                  <a:lnTo>
                    <a:pt x="435" y="197"/>
                  </a:lnTo>
                  <a:lnTo>
                    <a:pt x="435" y="197"/>
                  </a:lnTo>
                  <a:lnTo>
                    <a:pt x="437" y="199"/>
                  </a:lnTo>
                  <a:lnTo>
                    <a:pt x="437" y="201"/>
                  </a:lnTo>
                  <a:lnTo>
                    <a:pt x="439" y="203"/>
                  </a:lnTo>
                  <a:lnTo>
                    <a:pt x="439" y="205"/>
                  </a:lnTo>
                  <a:lnTo>
                    <a:pt x="441" y="205"/>
                  </a:lnTo>
                  <a:lnTo>
                    <a:pt x="443" y="207"/>
                  </a:lnTo>
                  <a:lnTo>
                    <a:pt x="443" y="209"/>
                  </a:lnTo>
                  <a:lnTo>
                    <a:pt x="445" y="211"/>
                  </a:lnTo>
                  <a:lnTo>
                    <a:pt x="445" y="213"/>
                  </a:lnTo>
                  <a:lnTo>
                    <a:pt x="445" y="213"/>
                  </a:lnTo>
                  <a:lnTo>
                    <a:pt x="445" y="213"/>
                  </a:lnTo>
                  <a:lnTo>
                    <a:pt x="445" y="213"/>
                  </a:lnTo>
                  <a:lnTo>
                    <a:pt x="445" y="215"/>
                  </a:lnTo>
                  <a:lnTo>
                    <a:pt x="447" y="215"/>
                  </a:lnTo>
                  <a:lnTo>
                    <a:pt x="447" y="215"/>
                  </a:lnTo>
                  <a:lnTo>
                    <a:pt x="447" y="217"/>
                  </a:lnTo>
                  <a:lnTo>
                    <a:pt x="447" y="217"/>
                  </a:lnTo>
                  <a:lnTo>
                    <a:pt x="449" y="219"/>
                  </a:lnTo>
                  <a:lnTo>
                    <a:pt x="449" y="219"/>
                  </a:lnTo>
                  <a:lnTo>
                    <a:pt x="449" y="220"/>
                  </a:lnTo>
                  <a:lnTo>
                    <a:pt x="451" y="222"/>
                  </a:lnTo>
                  <a:lnTo>
                    <a:pt x="451" y="222"/>
                  </a:lnTo>
                  <a:lnTo>
                    <a:pt x="451" y="224"/>
                  </a:lnTo>
                  <a:lnTo>
                    <a:pt x="453" y="224"/>
                  </a:lnTo>
                  <a:lnTo>
                    <a:pt x="453" y="226"/>
                  </a:lnTo>
                  <a:lnTo>
                    <a:pt x="453" y="226"/>
                  </a:lnTo>
                  <a:lnTo>
                    <a:pt x="453" y="226"/>
                  </a:lnTo>
                  <a:lnTo>
                    <a:pt x="453" y="228"/>
                  </a:lnTo>
                  <a:lnTo>
                    <a:pt x="455" y="228"/>
                  </a:lnTo>
                  <a:lnTo>
                    <a:pt x="455" y="230"/>
                  </a:lnTo>
                  <a:lnTo>
                    <a:pt x="455" y="230"/>
                  </a:lnTo>
                  <a:lnTo>
                    <a:pt x="455" y="232"/>
                  </a:lnTo>
                  <a:lnTo>
                    <a:pt x="456" y="232"/>
                  </a:lnTo>
                  <a:lnTo>
                    <a:pt x="456" y="234"/>
                  </a:lnTo>
                  <a:lnTo>
                    <a:pt x="458" y="236"/>
                  </a:lnTo>
                  <a:lnTo>
                    <a:pt x="458" y="238"/>
                  </a:lnTo>
                  <a:lnTo>
                    <a:pt x="458" y="240"/>
                  </a:lnTo>
                  <a:lnTo>
                    <a:pt x="460" y="240"/>
                  </a:lnTo>
                  <a:lnTo>
                    <a:pt x="460" y="242"/>
                  </a:lnTo>
                  <a:lnTo>
                    <a:pt x="462" y="244"/>
                  </a:lnTo>
                  <a:lnTo>
                    <a:pt x="462" y="244"/>
                  </a:lnTo>
                  <a:lnTo>
                    <a:pt x="462" y="245"/>
                  </a:lnTo>
                  <a:lnTo>
                    <a:pt x="462" y="245"/>
                  </a:lnTo>
                  <a:lnTo>
                    <a:pt x="464" y="247"/>
                  </a:lnTo>
                  <a:lnTo>
                    <a:pt x="464" y="247"/>
                  </a:lnTo>
                  <a:lnTo>
                    <a:pt x="464" y="247"/>
                  </a:lnTo>
                  <a:lnTo>
                    <a:pt x="464" y="249"/>
                  </a:lnTo>
                  <a:lnTo>
                    <a:pt x="466" y="249"/>
                  </a:lnTo>
                  <a:lnTo>
                    <a:pt x="466" y="251"/>
                  </a:lnTo>
                  <a:lnTo>
                    <a:pt x="466" y="253"/>
                  </a:lnTo>
                  <a:lnTo>
                    <a:pt x="468" y="255"/>
                  </a:lnTo>
                  <a:lnTo>
                    <a:pt x="468" y="255"/>
                  </a:lnTo>
                  <a:lnTo>
                    <a:pt x="468" y="257"/>
                  </a:lnTo>
                  <a:lnTo>
                    <a:pt x="470" y="259"/>
                  </a:lnTo>
                  <a:lnTo>
                    <a:pt x="470" y="261"/>
                  </a:lnTo>
                  <a:lnTo>
                    <a:pt x="472" y="261"/>
                  </a:lnTo>
                  <a:lnTo>
                    <a:pt x="472" y="263"/>
                  </a:lnTo>
                  <a:lnTo>
                    <a:pt x="472" y="263"/>
                  </a:lnTo>
                  <a:lnTo>
                    <a:pt x="472" y="265"/>
                  </a:lnTo>
                  <a:lnTo>
                    <a:pt x="474" y="265"/>
                  </a:lnTo>
                  <a:lnTo>
                    <a:pt x="474" y="267"/>
                  </a:lnTo>
                  <a:lnTo>
                    <a:pt x="474" y="267"/>
                  </a:lnTo>
                  <a:lnTo>
                    <a:pt x="474" y="268"/>
                  </a:lnTo>
                  <a:lnTo>
                    <a:pt x="476" y="268"/>
                  </a:lnTo>
                  <a:lnTo>
                    <a:pt x="476" y="270"/>
                  </a:lnTo>
                  <a:lnTo>
                    <a:pt x="476" y="272"/>
                  </a:lnTo>
                  <a:lnTo>
                    <a:pt x="476" y="272"/>
                  </a:lnTo>
                  <a:lnTo>
                    <a:pt x="478" y="274"/>
                  </a:lnTo>
                  <a:lnTo>
                    <a:pt x="478" y="274"/>
                  </a:lnTo>
                  <a:lnTo>
                    <a:pt x="478" y="276"/>
                  </a:lnTo>
                  <a:lnTo>
                    <a:pt x="478" y="276"/>
                  </a:lnTo>
                  <a:lnTo>
                    <a:pt x="479" y="278"/>
                  </a:lnTo>
                  <a:lnTo>
                    <a:pt x="479" y="280"/>
                  </a:lnTo>
                  <a:lnTo>
                    <a:pt x="479" y="280"/>
                  </a:lnTo>
                  <a:lnTo>
                    <a:pt x="481" y="282"/>
                  </a:lnTo>
                  <a:lnTo>
                    <a:pt x="481" y="284"/>
                  </a:lnTo>
                  <a:lnTo>
                    <a:pt x="481" y="284"/>
                  </a:lnTo>
                  <a:lnTo>
                    <a:pt x="483" y="286"/>
                  </a:lnTo>
                  <a:lnTo>
                    <a:pt x="483" y="288"/>
                  </a:lnTo>
                  <a:lnTo>
                    <a:pt x="483" y="288"/>
                  </a:lnTo>
                  <a:lnTo>
                    <a:pt x="483" y="290"/>
                  </a:lnTo>
                  <a:lnTo>
                    <a:pt x="485" y="290"/>
                  </a:lnTo>
                  <a:lnTo>
                    <a:pt x="485" y="292"/>
                  </a:lnTo>
                  <a:lnTo>
                    <a:pt x="485" y="292"/>
                  </a:lnTo>
                  <a:lnTo>
                    <a:pt x="485" y="293"/>
                  </a:lnTo>
                  <a:lnTo>
                    <a:pt x="487" y="293"/>
                  </a:lnTo>
                  <a:lnTo>
                    <a:pt x="487" y="295"/>
                  </a:lnTo>
                  <a:lnTo>
                    <a:pt x="487" y="295"/>
                  </a:lnTo>
                  <a:lnTo>
                    <a:pt x="487" y="297"/>
                  </a:lnTo>
                  <a:lnTo>
                    <a:pt x="489" y="299"/>
                  </a:lnTo>
                  <a:lnTo>
                    <a:pt x="489" y="301"/>
                  </a:lnTo>
                  <a:lnTo>
                    <a:pt x="489" y="303"/>
                  </a:lnTo>
                  <a:lnTo>
                    <a:pt x="491" y="303"/>
                  </a:lnTo>
                  <a:lnTo>
                    <a:pt x="491" y="305"/>
                  </a:lnTo>
                  <a:lnTo>
                    <a:pt x="491" y="307"/>
                  </a:lnTo>
                  <a:lnTo>
                    <a:pt x="493" y="309"/>
                  </a:lnTo>
                  <a:lnTo>
                    <a:pt x="493" y="309"/>
                  </a:lnTo>
                  <a:lnTo>
                    <a:pt x="493" y="311"/>
                  </a:lnTo>
                  <a:lnTo>
                    <a:pt x="493" y="311"/>
                  </a:lnTo>
                  <a:lnTo>
                    <a:pt x="495" y="311"/>
                  </a:lnTo>
                  <a:lnTo>
                    <a:pt x="495" y="313"/>
                  </a:lnTo>
                  <a:lnTo>
                    <a:pt x="495" y="313"/>
                  </a:lnTo>
                  <a:lnTo>
                    <a:pt x="495" y="315"/>
                  </a:lnTo>
                  <a:lnTo>
                    <a:pt x="495" y="315"/>
                  </a:lnTo>
                  <a:lnTo>
                    <a:pt x="497" y="316"/>
                  </a:lnTo>
                  <a:lnTo>
                    <a:pt x="497" y="318"/>
                  </a:lnTo>
                  <a:lnTo>
                    <a:pt x="497" y="318"/>
                  </a:lnTo>
                  <a:lnTo>
                    <a:pt x="497" y="320"/>
                  </a:lnTo>
                  <a:lnTo>
                    <a:pt x="499" y="322"/>
                  </a:lnTo>
                  <a:lnTo>
                    <a:pt x="499" y="324"/>
                  </a:lnTo>
                  <a:lnTo>
                    <a:pt x="499" y="324"/>
                  </a:lnTo>
                  <a:lnTo>
                    <a:pt x="501" y="326"/>
                  </a:lnTo>
                  <a:lnTo>
                    <a:pt x="501" y="326"/>
                  </a:lnTo>
                  <a:lnTo>
                    <a:pt x="501" y="328"/>
                  </a:lnTo>
                  <a:lnTo>
                    <a:pt x="501" y="328"/>
                  </a:lnTo>
                  <a:lnTo>
                    <a:pt x="501" y="330"/>
                  </a:lnTo>
                  <a:lnTo>
                    <a:pt x="503" y="330"/>
                  </a:lnTo>
                  <a:lnTo>
                    <a:pt x="503" y="332"/>
                  </a:lnTo>
                  <a:lnTo>
                    <a:pt x="503" y="332"/>
                  </a:lnTo>
                  <a:lnTo>
                    <a:pt x="503" y="334"/>
                  </a:lnTo>
                  <a:lnTo>
                    <a:pt x="503" y="334"/>
                  </a:lnTo>
                  <a:lnTo>
                    <a:pt x="504" y="336"/>
                  </a:lnTo>
                  <a:lnTo>
                    <a:pt x="504" y="338"/>
                  </a:lnTo>
                  <a:lnTo>
                    <a:pt x="504" y="339"/>
                  </a:lnTo>
                  <a:lnTo>
                    <a:pt x="506" y="339"/>
                  </a:lnTo>
                  <a:lnTo>
                    <a:pt x="506" y="341"/>
                  </a:lnTo>
                  <a:lnTo>
                    <a:pt x="506" y="343"/>
                  </a:lnTo>
                  <a:lnTo>
                    <a:pt x="506" y="345"/>
                  </a:lnTo>
                  <a:lnTo>
                    <a:pt x="508" y="345"/>
                  </a:lnTo>
                  <a:lnTo>
                    <a:pt x="508" y="345"/>
                  </a:lnTo>
                  <a:lnTo>
                    <a:pt x="508" y="347"/>
                  </a:lnTo>
                  <a:lnTo>
                    <a:pt x="508" y="347"/>
                  </a:lnTo>
                  <a:lnTo>
                    <a:pt x="508" y="349"/>
                  </a:lnTo>
                  <a:lnTo>
                    <a:pt x="508" y="349"/>
                  </a:lnTo>
                  <a:lnTo>
                    <a:pt x="508" y="349"/>
                  </a:lnTo>
                  <a:lnTo>
                    <a:pt x="510" y="351"/>
                  </a:lnTo>
                  <a:lnTo>
                    <a:pt x="510" y="353"/>
                  </a:lnTo>
                  <a:lnTo>
                    <a:pt x="510" y="353"/>
                  </a:lnTo>
                  <a:lnTo>
                    <a:pt x="512" y="355"/>
                  </a:lnTo>
                  <a:lnTo>
                    <a:pt x="512" y="357"/>
                  </a:lnTo>
                  <a:lnTo>
                    <a:pt x="512" y="359"/>
                  </a:lnTo>
                  <a:lnTo>
                    <a:pt x="514" y="361"/>
                  </a:lnTo>
                  <a:lnTo>
                    <a:pt x="514" y="363"/>
                  </a:lnTo>
                  <a:lnTo>
                    <a:pt x="514" y="364"/>
                  </a:lnTo>
                  <a:lnTo>
                    <a:pt x="514" y="364"/>
                  </a:lnTo>
                  <a:lnTo>
                    <a:pt x="514" y="366"/>
                  </a:lnTo>
                  <a:lnTo>
                    <a:pt x="516" y="366"/>
                  </a:lnTo>
                  <a:lnTo>
                    <a:pt x="516" y="366"/>
                  </a:lnTo>
                  <a:lnTo>
                    <a:pt x="516" y="368"/>
                  </a:lnTo>
                  <a:lnTo>
                    <a:pt x="516" y="368"/>
                  </a:lnTo>
                  <a:lnTo>
                    <a:pt x="516" y="370"/>
                  </a:lnTo>
                  <a:lnTo>
                    <a:pt x="516" y="370"/>
                  </a:lnTo>
                  <a:lnTo>
                    <a:pt x="518" y="372"/>
                  </a:lnTo>
                  <a:lnTo>
                    <a:pt x="518" y="374"/>
                  </a:lnTo>
                  <a:lnTo>
                    <a:pt x="518" y="376"/>
                  </a:lnTo>
                  <a:lnTo>
                    <a:pt x="518" y="378"/>
                  </a:lnTo>
                  <a:lnTo>
                    <a:pt x="520" y="380"/>
                  </a:lnTo>
                  <a:lnTo>
                    <a:pt x="520" y="382"/>
                  </a:lnTo>
                  <a:lnTo>
                    <a:pt x="520" y="384"/>
                  </a:lnTo>
                  <a:lnTo>
                    <a:pt x="522" y="386"/>
                  </a:lnTo>
                  <a:lnTo>
                    <a:pt x="522" y="386"/>
                  </a:lnTo>
                  <a:lnTo>
                    <a:pt x="522" y="386"/>
                  </a:lnTo>
                  <a:lnTo>
                    <a:pt x="522" y="387"/>
                  </a:lnTo>
                  <a:lnTo>
                    <a:pt x="522" y="387"/>
                  </a:lnTo>
                  <a:lnTo>
                    <a:pt x="522" y="387"/>
                  </a:lnTo>
                  <a:lnTo>
                    <a:pt x="522" y="389"/>
                  </a:lnTo>
                  <a:lnTo>
                    <a:pt x="522" y="389"/>
                  </a:lnTo>
                  <a:lnTo>
                    <a:pt x="524" y="389"/>
                  </a:lnTo>
                  <a:lnTo>
                    <a:pt x="524" y="391"/>
                  </a:lnTo>
                  <a:lnTo>
                    <a:pt x="524" y="393"/>
                  </a:lnTo>
                  <a:lnTo>
                    <a:pt x="524" y="395"/>
                  </a:lnTo>
                  <a:lnTo>
                    <a:pt x="526" y="397"/>
                  </a:lnTo>
                  <a:lnTo>
                    <a:pt x="526" y="399"/>
                  </a:lnTo>
                  <a:lnTo>
                    <a:pt x="526" y="401"/>
                  </a:lnTo>
                  <a:lnTo>
                    <a:pt x="527" y="401"/>
                  </a:lnTo>
                  <a:lnTo>
                    <a:pt x="527" y="403"/>
                  </a:lnTo>
                  <a:lnTo>
                    <a:pt x="527" y="405"/>
                  </a:lnTo>
                  <a:lnTo>
                    <a:pt x="527" y="405"/>
                  </a:lnTo>
                  <a:lnTo>
                    <a:pt x="527" y="405"/>
                  </a:lnTo>
                  <a:lnTo>
                    <a:pt x="527" y="407"/>
                  </a:lnTo>
                  <a:lnTo>
                    <a:pt x="527" y="407"/>
                  </a:lnTo>
                  <a:lnTo>
                    <a:pt x="527" y="407"/>
                  </a:lnTo>
                  <a:lnTo>
                    <a:pt x="527" y="407"/>
                  </a:lnTo>
                  <a:lnTo>
                    <a:pt x="527" y="409"/>
                  </a:lnTo>
                  <a:lnTo>
                    <a:pt x="529" y="411"/>
                  </a:lnTo>
                  <a:lnTo>
                    <a:pt x="529" y="412"/>
                  </a:lnTo>
                  <a:lnTo>
                    <a:pt x="529" y="414"/>
                  </a:lnTo>
                  <a:lnTo>
                    <a:pt x="531" y="416"/>
                  </a:lnTo>
                  <a:lnTo>
                    <a:pt x="531" y="416"/>
                  </a:lnTo>
                  <a:lnTo>
                    <a:pt x="531" y="418"/>
                  </a:lnTo>
                  <a:lnTo>
                    <a:pt x="531" y="420"/>
                  </a:lnTo>
                  <a:lnTo>
                    <a:pt x="533" y="422"/>
                  </a:lnTo>
                  <a:lnTo>
                    <a:pt x="533" y="424"/>
                  </a:lnTo>
                  <a:lnTo>
                    <a:pt x="533" y="424"/>
                  </a:lnTo>
                  <a:lnTo>
                    <a:pt x="533" y="424"/>
                  </a:lnTo>
                  <a:lnTo>
                    <a:pt x="533" y="426"/>
                  </a:lnTo>
                  <a:lnTo>
                    <a:pt x="533" y="426"/>
                  </a:lnTo>
                  <a:lnTo>
                    <a:pt x="533" y="426"/>
                  </a:lnTo>
                  <a:lnTo>
                    <a:pt x="533" y="426"/>
                  </a:lnTo>
                  <a:lnTo>
                    <a:pt x="533" y="428"/>
                  </a:lnTo>
                  <a:lnTo>
                    <a:pt x="535" y="430"/>
                  </a:lnTo>
                  <a:lnTo>
                    <a:pt x="535" y="432"/>
                  </a:lnTo>
                  <a:lnTo>
                    <a:pt x="535" y="434"/>
                  </a:lnTo>
                  <a:lnTo>
                    <a:pt x="535" y="435"/>
                  </a:lnTo>
                  <a:lnTo>
                    <a:pt x="537" y="437"/>
                  </a:lnTo>
                  <a:lnTo>
                    <a:pt x="537" y="439"/>
                  </a:lnTo>
                  <a:lnTo>
                    <a:pt x="537" y="441"/>
                  </a:lnTo>
                  <a:lnTo>
                    <a:pt x="539" y="443"/>
                  </a:lnTo>
                  <a:lnTo>
                    <a:pt x="539" y="443"/>
                  </a:lnTo>
                  <a:lnTo>
                    <a:pt x="539" y="445"/>
                  </a:lnTo>
                  <a:lnTo>
                    <a:pt x="539" y="445"/>
                  </a:lnTo>
                  <a:lnTo>
                    <a:pt x="539" y="445"/>
                  </a:lnTo>
                  <a:lnTo>
                    <a:pt x="539" y="445"/>
                  </a:lnTo>
                  <a:lnTo>
                    <a:pt x="539" y="447"/>
                  </a:lnTo>
                  <a:lnTo>
                    <a:pt x="539" y="447"/>
                  </a:lnTo>
                  <a:lnTo>
                    <a:pt x="539" y="447"/>
                  </a:lnTo>
                  <a:lnTo>
                    <a:pt x="539" y="449"/>
                  </a:lnTo>
                  <a:lnTo>
                    <a:pt x="541" y="451"/>
                  </a:lnTo>
                  <a:lnTo>
                    <a:pt x="541" y="455"/>
                  </a:lnTo>
                  <a:lnTo>
                    <a:pt x="541" y="457"/>
                  </a:lnTo>
                  <a:lnTo>
                    <a:pt x="541" y="458"/>
                  </a:lnTo>
                  <a:lnTo>
                    <a:pt x="543" y="460"/>
                  </a:lnTo>
                  <a:lnTo>
                    <a:pt x="543" y="462"/>
                  </a:lnTo>
                  <a:lnTo>
                    <a:pt x="543" y="464"/>
                  </a:lnTo>
                  <a:lnTo>
                    <a:pt x="543" y="464"/>
                  </a:lnTo>
                  <a:lnTo>
                    <a:pt x="543" y="464"/>
                  </a:lnTo>
                  <a:lnTo>
                    <a:pt x="543" y="466"/>
                  </a:lnTo>
                  <a:lnTo>
                    <a:pt x="543" y="466"/>
                  </a:lnTo>
                  <a:lnTo>
                    <a:pt x="543" y="466"/>
                  </a:lnTo>
                  <a:lnTo>
                    <a:pt x="543" y="466"/>
                  </a:lnTo>
                  <a:lnTo>
                    <a:pt x="543" y="468"/>
                  </a:lnTo>
                  <a:lnTo>
                    <a:pt x="545" y="468"/>
                  </a:lnTo>
                  <a:lnTo>
                    <a:pt x="545" y="470"/>
                  </a:lnTo>
                  <a:lnTo>
                    <a:pt x="545" y="472"/>
                  </a:lnTo>
                  <a:lnTo>
                    <a:pt x="545" y="474"/>
                  </a:lnTo>
                  <a:lnTo>
                    <a:pt x="545" y="476"/>
                  </a:lnTo>
                  <a:lnTo>
                    <a:pt x="547" y="478"/>
                  </a:lnTo>
                  <a:lnTo>
                    <a:pt x="547" y="480"/>
                  </a:lnTo>
                  <a:lnTo>
                    <a:pt x="547" y="482"/>
                  </a:lnTo>
                  <a:lnTo>
                    <a:pt x="547" y="483"/>
                  </a:lnTo>
                  <a:lnTo>
                    <a:pt x="547" y="483"/>
                  </a:lnTo>
                  <a:lnTo>
                    <a:pt x="547" y="483"/>
                  </a:lnTo>
                  <a:lnTo>
                    <a:pt x="547" y="485"/>
                  </a:lnTo>
                  <a:lnTo>
                    <a:pt x="547" y="485"/>
                  </a:lnTo>
                  <a:lnTo>
                    <a:pt x="547" y="485"/>
                  </a:lnTo>
                  <a:lnTo>
                    <a:pt x="547" y="485"/>
                  </a:lnTo>
                  <a:lnTo>
                    <a:pt x="549" y="485"/>
                  </a:lnTo>
                  <a:lnTo>
                    <a:pt x="549" y="485"/>
                  </a:lnTo>
                  <a:lnTo>
                    <a:pt x="549" y="487"/>
                  </a:lnTo>
                  <a:lnTo>
                    <a:pt x="549" y="491"/>
                  </a:lnTo>
                  <a:lnTo>
                    <a:pt x="549" y="493"/>
                  </a:lnTo>
                  <a:lnTo>
                    <a:pt x="549" y="495"/>
                  </a:lnTo>
                  <a:lnTo>
                    <a:pt x="551" y="497"/>
                  </a:lnTo>
                  <a:lnTo>
                    <a:pt x="551" y="499"/>
                  </a:lnTo>
                  <a:lnTo>
                    <a:pt x="551" y="501"/>
                  </a:lnTo>
                  <a:lnTo>
                    <a:pt x="551" y="505"/>
                  </a:lnTo>
                  <a:lnTo>
                    <a:pt x="551" y="505"/>
                  </a:lnTo>
                  <a:lnTo>
                    <a:pt x="551" y="505"/>
                  </a:lnTo>
                  <a:lnTo>
                    <a:pt x="551" y="505"/>
                  </a:lnTo>
                  <a:lnTo>
                    <a:pt x="551" y="505"/>
                  </a:lnTo>
                  <a:lnTo>
                    <a:pt x="551" y="506"/>
                  </a:lnTo>
                  <a:lnTo>
                    <a:pt x="552" y="506"/>
                  </a:lnTo>
                  <a:lnTo>
                    <a:pt x="552" y="506"/>
                  </a:lnTo>
                  <a:lnTo>
                    <a:pt x="552" y="506"/>
                  </a:lnTo>
                  <a:lnTo>
                    <a:pt x="552" y="508"/>
                  </a:lnTo>
                  <a:lnTo>
                    <a:pt x="552" y="512"/>
                  </a:lnTo>
                  <a:lnTo>
                    <a:pt x="552" y="514"/>
                  </a:lnTo>
                  <a:lnTo>
                    <a:pt x="552" y="516"/>
                  </a:lnTo>
                  <a:lnTo>
                    <a:pt x="554" y="518"/>
                  </a:lnTo>
                  <a:lnTo>
                    <a:pt x="554" y="520"/>
                  </a:lnTo>
                  <a:lnTo>
                    <a:pt x="554" y="522"/>
                  </a:lnTo>
                  <a:lnTo>
                    <a:pt x="554" y="524"/>
                  </a:lnTo>
                  <a:lnTo>
                    <a:pt x="554" y="526"/>
                  </a:lnTo>
                  <a:lnTo>
                    <a:pt x="554" y="526"/>
                  </a:lnTo>
                  <a:lnTo>
                    <a:pt x="554" y="526"/>
                  </a:lnTo>
                  <a:lnTo>
                    <a:pt x="554" y="526"/>
                  </a:lnTo>
                  <a:lnTo>
                    <a:pt x="554" y="526"/>
                  </a:lnTo>
                  <a:lnTo>
                    <a:pt x="554" y="526"/>
                  </a:lnTo>
                  <a:lnTo>
                    <a:pt x="554" y="526"/>
                  </a:lnTo>
                  <a:lnTo>
                    <a:pt x="554" y="526"/>
                  </a:lnTo>
                  <a:lnTo>
                    <a:pt x="522" y="535"/>
                  </a:lnTo>
                  <a:lnTo>
                    <a:pt x="489" y="545"/>
                  </a:lnTo>
                  <a:lnTo>
                    <a:pt x="455" y="553"/>
                  </a:lnTo>
                  <a:lnTo>
                    <a:pt x="420" y="558"/>
                  </a:lnTo>
                  <a:lnTo>
                    <a:pt x="385" y="564"/>
                  </a:lnTo>
                  <a:lnTo>
                    <a:pt x="349" y="566"/>
                  </a:lnTo>
                  <a:lnTo>
                    <a:pt x="314" y="568"/>
                  </a:lnTo>
                  <a:lnTo>
                    <a:pt x="278" y="570"/>
                  </a:lnTo>
                  <a:lnTo>
                    <a:pt x="241" y="568"/>
                  </a:lnTo>
                  <a:lnTo>
                    <a:pt x="205" y="566"/>
                  </a:lnTo>
                  <a:lnTo>
                    <a:pt x="170" y="564"/>
                  </a:lnTo>
                  <a:lnTo>
                    <a:pt x="134" y="558"/>
                  </a:lnTo>
                  <a:lnTo>
                    <a:pt x="99" y="553"/>
                  </a:lnTo>
                  <a:lnTo>
                    <a:pt x="67" y="545"/>
                  </a:lnTo>
                  <a:lnTo>
                    <a:pt x="32" y="535"/>
                  </a:lnTo>
                  <a:lnTo>
                    <a:pt x="0" y="526"/>
                  </a:lnTo>
                  <a:close/>
                </a:path>
              </a:pathLst>
            </a:custGeom>
            <a:solidFill>
              <a:schemeClr val="accent3"/>
            </a:solidFill>
            <a:ln w="6350" cmpd="sng">
              <a:noFill/>
              <a:round/>
              <a:headEnd/>
              <a:tailEnd/>
            </a:ln>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nvGrpSpPr>
            <p:cNvPr id="18" name="Group 175">
              <a:extLst>
                <a:ext uri="{FF2B5EF4-FFF2-40B4-BE49-F238E27FC236}">
                  <a16:creationId xmlns:a16="http://schemas.microsoft.com/office/drawing/2014/main" id="{BFFFCF5F-F750-4360-8DA2-F5101D95169E}"/>
                </a:ext>
              </a:extLst>
            </p:cNvPr>
            <p:cNvGrpSpPr>
              <a:grpSpLocks noChangeAspect="1"/>
            </p:cNvGrpSpPr>
            <p:nvPr/>
          </p:nvGrpSpPr>
          <p:grpSpPr bwMode="auto">
            <a:xfrm>
              <a:off x="7502567" y="2564098"/>
              <a:ext cx="631947" cy="614614"/>
              <a:chOff x="3636" y="3221"/>
              <a:chExt cx="401" cy="390"/>
            </a:xfrm>
            <a:solidFill>
              <a:srgbClr val="A100FF"/>
            </a:solidFill>
          </p:grpSpPr>
          <p:sp>
            <p:nvSpPr>
              <p:cNvPr id="25" name="Freeform 176">
                <a:extLst>
                  <a:ext uri="{FF2B5EF4-FFF2-40B4-BE49-F238E27FC236}">
                    <a16:creationId xmlns:a16="http://schemas.microsoft.com/office/drawing/2014/main" id="{76843A4E-3927-409F-BB83-DA5A6AF72408}"/>
                  </a:ext>
                </a:extLst>
              </p:cNvPr>
              <p:cNvSpPr>
                <a:spLocks/>
              </p:cNvSpPr>
              <p:nvPr/>
            </p:nvSpPr>
            <p:spPr bwMode="auto">
              <a:xfrm>
                <a:off x="3670" y="3354"/>
                <a:ext cx="233" cy="233"/>
              </a:xfrm>
              <a:custGeom>
                <a:avLst/>
                <a:gdLst>
                  <a:gd name="T0" fmla="*/ 7 w 157"/>
                  <a:gd name="T1" fmla="*/ 157 h 157"/>
                  <a:gd name="T2" fmla="*/ 2 w 157"/>
                  <a:gd name="T3" fmla="*/ 155 h 157"/>
                  <a:gd name="T4" fmla="*/ 2 w 157"/>
                  <a:gd name="T5" fmla="*/ 146 h 157"/>
                  <a:gd name="T6" fmla="*/ 146 w 157"/>
                  <a:gd name="T7" fmla="*/ 2 h 157"/>
                  <a:gd name="T8" fmla="*/ 155 w 157"/>
                  <a:gd name="T9" fmla="*/ 2 h 157"/>
                  <a:gd name="T10" fmla="*/ 155 w 157"/>
                  <a:gd name="T11" fmla="*/ 11 h 157"/>
                  <a:gd name="T12" fmla="*/ 11 w 157"/>
                  <a:gd name="T13" fmla="*/ 155 h 157"/>
                  <a:gd name="T14" fmla="*/ 7 w 157"/>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157">
                    <a:moveTo>
                      <a:pt x="7" y="157"/>
                    </a:moveTo>
                    <a:cubicBezTo>
                      <a:pt x="5" y="157"/>
                      <a:pt x="4" y="156"/>
                      <a:pt x="2" y="155"/>
                    </a:cubicBezTo>
                    <a:cubicBezTo>
                      <a:pt x="0" y="153"/>
                      <a:pt x="0" y="149"/>
                      <a:pt x="2" y="146"/>
                    </a:cubicBezTo>
                    <a:cubicBezTo>
                      <a:pt x="146" y="2"/>
                      <a:pt x="146" y="2"/>
                      <a:pt x="146" y="2"/>
                    </a:cubicBezTo>
                    <a:cubicBezTo>
                      <a:pt x="149" y="0"/>
                      <a:pt x="153" y="0"/>
                      <a:pt x="155" y="2"/>
                    </a:cubicBezTo>
                    <a:cubicBezTo>
                      <a:pt x="157" y="5"/>
                      <a:pt x="157" y="9"/>
                      <a:pt x="155" y="11"/>
                    </a:cubicBezTo>
                    <a:cubicBezTo>
                      <a:pt x="11" y="155"/>
                      <a:pt x="11" y="155"/>
                      <a:pt x="11" y="155"/>
                    </a:cubicBezTo>
                    <a:cubicBezTo>
                      <a:pt x="10" y="156"/>
                      <a:pt x="8" y="157"/>
                      <a:pt x="7"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6" name="Freeform 177">
                <a:extLst>
                  <a:ext uri="{FF2B5EF4-FFF2-40B4-BE49-F238E27FC236}">
                    <a16:creationId xmlns:a16="http://schemas.microsoft.com/office/drawing/2014/main" id="{12EC6835-3702-43C1-8D7A-9D085FBB05C9}"/>
                  </a:ext>
                </a:extLst>
              </p:cNvPr>
              <p:cNvSpPr>
                <a:spLocks noEditPoints="1"/>
              </p:cNvSpPr>
              <p:nvPr/>
            </p:nvSpPr>
            <p:spPr bwMode="auto">
              <a:xfrm>
                <a:off x="3636" y="3221"/>
                <a:ext cx="401" cy="390"/>
              </a:xfrm>
              <a:custGeom>
                <a:avLst/>
                <a:gdLst>
                  <a:gd name="T0" fmla="*/ 114 w 270"/>
                  <a:gd name="T1" fmla="*/ 263 h 263"/>
                  <a:gd name="T2" fmla="*/ 36 w 270"/>
                  <a:gd name="T3" fmla="*/ 236 h 263"/>
                  <a:gd name="T4" fmla="*/ 35 w 270"/>
                  <a:gd name="T5" fmla="*/ 234 h 263"/>
                  <a:gd name="T6" fmla="*/ 16 w 270"/>
                  <a:gd name="T7" fmla="*/ 117 h 263"/>
                  <a:gd name="T8" fmla="*/ 263 w 270"/>
                  <a:gd name="T9" fmla="*/ 1 h 263"/>
                  <a:gd name="T10" fmla="*/ 268 w 270"/>
                  <a:gd name="T11" fmla="*/ 2 h 263"/>
                  <a:gd name="T12" fmla="*/ 270 w 270"/>
                  <a:gd name="T13" fmla="*/ 7 h 263"/>
                  <a:gd name="T14" fmla="*/ 153 w 270"/>
                  <a:gd name="T15" fmla="*/ 254 h 263"/>
                  <a:gd name="T16" fmla="*/ 114 w 270"/>
                  <a:gd name="T17" fmla="*/ 263 h 263"/>
                  <a:gd name="T18" fmla="*/ 44 w 270"/>
                  <a:gd name="T19" fmla="*/ 226 h 263"/>
                  <a:gd name="T20" fmla="*/ 148 w 270"/>
                  <a:gd name="T21" fmla="*/ 243 h 263"/>
                  <a:gd name="T22" fmla="*/ 257 w 270"/>
                  <a:gd name="T23" fmla="*/ 14 h 263"/>
                  <a:gd name="T24" fmla="*/ 27 w 270"/>
                  <a:gd name="T25" fmla="*/ 123 h 263"/>
                  <a:gd name="T26" fmla="*/ 44 w 270"/>
                  <a:gd name="T27" fmla="*/ 22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0" h="263">
                    <a:moveTo>
                      <a:pt x="114" y="263"/>
                    </a:moveTo>
                    <a:cubicBezTo>
                      <a:pt x="90" y="263"/>
                      <a:pt x="64" y="254"/>
                      <a:pt x="36" y="236"/>
                    </a:cubicBezTo>
                    <a:cubicBezTo>
                      <a:pt x="36" y="235"/>
                      <a:pt x="35" y="235"/>
                      <a:pt x="35" y="234"/>
                    </a:cubicBezTo>
                    <a:cubicBezTo>
                      <a:pt x="6" y="191"/>
                      <a:pt x="0" y="152"/>
                      <a:pt x="16" y="117"/>
                    </a:cubicBezTo>
                    <a:cubicBezTo>
                      <a:pt x="60" y="24"/>
                      <a:pt x="255" y="2"/>
                      <a:pt x="263" y="1"/>
                    </a:cubicBezTo>
                    <a:cubicBezTo>
                      <a:pt x="265" y="0"/>
                      <a:pt x="267" y="1"/>
                      <a:pt x="268" y="2"/>
                    </a:cubicBezTo>
                    <a:cubicBezTo>
                      <a:pt x="269" y="4"/>
                      <a:pt x="270" y="5"/>
                      <a:pt x="270" y="7"/>
                    </a:cubicBezTo>
                    <a:cubicBezTo>
                      <a:pt x="269" y="16"/>
                      <a:pt x="246" y="210"/>
                      <a:pt x="153" y="254"/>
                    </a:cubicBezTo>
                    <a:cubicBezTo>
                      <a:pt x="140" y="260"/>
                      <a:pt x="127" y="263"/>
                      <a:pt x="114" y="263"/>
                    </a:cubicBezTo>
                    <a:close/>
                    <a:moveTo>
                      <a:pt x="44" y="226"/>
                    </a:moveTo>
                    <a:cubicBezTo>
                      <a:pt x="83" y="251"/>
                      <a:pt x="118" y="257"/>
                      <a:pt x="148" y="243"/>
                    </a:cubicBezTo>
                    <a:cubicBezTo>
                      <a:pt x="225" y="207"/>
                      <a:pt x="252" y="50"/>
                      <a:pt x="257" y="14"/>
                    </a:cubicBezTo>
                    <a:cubicBezTo>
                      <a:pt x="220" y="19"/>
                      <a:pt x="64" y="45"/>
                      <a:pt x="27" y="123"/>
                    </a:cubicBezTo>
                    <a:cubicBezTo>
                      <a:pt x="13" y="152"/>
                      <a:pt x="19" y="187"/>
                      <a:pt x="44"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7" name="Freeform 178">
                <a:extLst>
                  <a:ext uri="{FF2B5EF4-FFF2-40B4-BE49-F238E27FC236}">
                    <a16:creationId xmlns:a16="http://schemas.microsoft.com/office/drawing/2014/main" id="{4AE65392-3CF4-4760-80F9-BE19C060D434}"/>
                  </a:ext>
                </a:extLst>
              </p:cNvPr>
              <p:cNvSpPr>
                <a:spLocks/>
              </p:cNvSpPr>
              <p:nvPr/>
            </p:nvSpPr>
            <p:spPr bwMode="auto">
              <a:xfrm>
                <a:off x="3743" y="3409"/>
                <a:ext cx="107"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2" y="72"/>
                      <a:pt x="0" y="69"/>
                      <a:pt x="0" y="66"/>
                    </a:cubicBezTo>
                    <a:cubicBezTo>
                      <a:pt x="0" y="6"/>
                      <a:pt x="0" y="6"/>
                      <a:pt x="0" y="6"/>
                    </a:cubicBezTo>
                    <a:cubicBezTo>
                      <a:pt x="0" y="2"/>
                      <a:pt x="2" y="0"/>
                      <a:pt x="6" y="0"/>
                    </a:cubicBezTo>
                    <a:cubicBezTo>
                      <a:pt x="9" y="0"/>
                      <a:pt x="12" y="2"/>
                      <a:pt x="12" y="6"/>
                    </a:cubicBezTo>
                    <a:cubicBezTo>
                      <a:pt x="12" y="60"/>
                      <a:pt x="12" y="60"/>
                      <a:pt x="12" y="60"/>
                    </a:cubicBezTo>
                    <a:cubicBezTo>
                      <a:pt x="66" y="60"/>
                      <a:pt x="66" y="60"/>
                      <a:pt x="66" y="60"/>
                    </a:cubicBezTo>
                    <a:cubicBezTo>
                      <a:pt x="69" y="60"/>
                      <a:pt x="72" y="62"/>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8" name="Freeform 179">
                <a:extLst>
                  <a:ext uri="{FF2B5EF4-FFF2-40B4-BE49-F238E27FC236}">
                    <a16:creationId xmlns:a16="http://schemas.microsoft.com/office/drawing/2014/main" id="{A632F208-9C23-4958-A92D-84F3D08C8BDB}"/>
                  </a:ext>
                </a:extLst>
              </p:cNvPr>
              <p:cNvSpPr>
                <a:spLocks/>
              </p:cNvSpPr>
              <p:nvPr/>
            </p:nvSpPr>
            <p:spPr bwMode="auto">
              <a:xfrm>
                <a:off x="3814" y="3365"/>
                <a:ext cx="80" cy="80"/>
              </a:xfrm>
              <a:custGeom>
                <a:avLst/>
                <a:gdLst>
                  <a:gd name="T0" fmla="*/ 48 w 54"/>
                  <a:gd name="T1" fmla="*/ 54 h 54"/>
                  <a:gd name="T2" fmla="*/ 6 w 54"/>
                  <a:gd name="T3" fmla="*/ 54 h 54"/>
                  <a:gd name="T4" fmla="*/ 0 w 54"/>
                  <a:gd name="T5" fmla="*/ 48 h 54"/>
                  <a:gd name="T6" fmla="*/ 0 w 54"/>
                  <a:gd name="T7" fmla="*/ 6 h 54"/>
                  <a:gd name="T8" fmla="*/ 6 w 54"/>
                  <a:gd name="T9" fmla="*/ 0 h 54"/>
                  <a:gd name="T10" fmla="*/ 12 w 54"/>
                  <a:gd name="T11" fmla="*/ 6 h 54"/>
                  <a:gd name="T12" fmla="*/ 12 w 54"/>
                  <a:gd name="T13" fmla="*/ 42 h 54"/>
                  <a:gd name="T14" fmla="*/ 48 w 54"/>
                  <a:gd name="T15" fmla="*/ 42 h 54"/>
                  <a:gd name="T16" fmla="*/ 54 w 54"/>
                  <a:gd name="T17" fmla="*/ 48 h 54"/>
                  <a:gd name="T18" fmla="*/ 48 w 54"/>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48" y="54"/>
                    </a:moveTo>
                    <a:cubicBezTo>
                      <a:pt x="6" y="54"/>
                      <a:pt x="6" y="54"/>
                      <a:pt x="6" y="54"/>
                    </a:cubicBezTo>
                    <a:cubicBezTo>
                      <a:pt x="2" y="54"/>
                      <a:pt x="0" y="51"/>
                      <a:pt x="0" y="48"/>
                    </a:cubicBezTo>
                    <a:cubicBezTo>
                      <a:pt x="0" y="6"/>
                      <a:pt x="0" y="6"/>
                      <a:pt x="0" y="6"/>
                    </a:cubicBezTo>
                    <a:cubicBezTo>
                      <a:pt x="0" y="2"/>
                      <a:pt x="2" y="0"/>
                      <a:pt x="6" y="0"/>
                    </a:cubicBezTo>
                    <a:cubicBezTo>
                      <a:pt x="9" y="0"/>
                      <a:pt x="12" y="2"/>
                      <a:pt x="12" y="6"/>
                    </a:cubicBezTo>
                    <a:cubicBezTo>
                      <a:pt x="12" y="42"/>
                      <a:pt x="12" y="42"/>
                      <a:pt x="12" y="42"/>
                    </a:cubicBezTo>
                    <a:cubicBezTo>
                      <a:pt x="48" y="42"/>
                      <a:pt x="48" y="42"/>
                      <a:pt x="48" y="42"/>
                    </a:cubicBezTo>
                    <a:cubicBezTo>
                      <a:pt x="51" y="42"/>
                      <a:pt x="54" y="44"/>
                      <a:pt x="54" y="48"/>
                    </a:cubicBezTo>
                    <a:cubicBezTo>
                      <a:pt x="54" y="51"/>
                      <a:pt x="51"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sp>
            <p:nvSpPr>
              <p:cNvPr id="29" name="Freeform 180">
                <a:extLst>
                  <a:ext uri="{FF2B5EF4-FFF2-40B4-BE49-F238E27FC236}">
                    <a16:creationId xmlns:a16="http://schemas.microsoft.com/office/drawing/2014/main" id="{C334DFCE-6E87-43EE-BE2B-72F08D26C99B}"/>
                  </a:ext>
                </a:extLst>
              </p:cNvPr>
              <p:cNvSpPr>
                <a:spLocks/>
              </p:cNvSpPr>
              <p:nvPr/>
            </p:nvSpPr>
            <p:spPr bwMode="auto">
              <a:xfrm>
                <a:off x="3886" y="3329"/>
                <a:ext cx="44" cy="45"/>
              </a:xfrm>
              <a:custGeom>
                <a:avLst/>
                <a:gdLst>
                  <a:gd name="T0" fmla="*/ 24 w 30"/>
                  <a:gd name="T1" fmla="*/ 30 h 30"/>
                  <a:gd name="T2" fmla="*/ 6 w 30"/>
                  <a:gd name="T3" fmla="*/ 30 h 30"/>
                  <a:gd name="T4" fmla="*/ 0 w 30"/>
                  <a:gd name="T5" fmla="*/ 24 h 30"/>
                  <a:gd name="T6" fmla="*/ 0 w 30"/>
                  <a:gd name="T7" fmla="*/ 6 h 30"/>
                  <a:gd name="T8" fmla="*/ 6 w 30"/>
                  <a:gd name="T9" fmla="*/ 0 h 30"/>
                  <a:gd name="T10" fmla="*/ 12 w 30"/>
                  <a:gd name="T11" fmla="*/ 6 h 30"/>
                  <a:gd name="T12" fmla="*/ 12 w 30"/>
                  <a:gd name="T13" fmla="*/ 18 h 30"/>
                  <a:gd name="T14" fmla="*/ 24 w 30"/>
                  <a:gd name="T15" fmla="*/ 18 h 30"/>
                  <a:gd name="T16" fmla="*/ 30 w 30"/>
                  <a:gd name="T17" fmla="*/ 24 h 30"/>
                  <a:gd name="T18" fmla="*/ 24 w 3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24" y="30"/>
                    </a:moveTo>
                    <a:cubicBezTo>
                      <a:pt x="6" y="30"/>
                      <a:pt x="6" y="30"/>
                      <a:pt x="6" y="30"/>
                    </a:cubicBezTo>
                    <a:cubicBezTo>
                      <a:pt x="2" y="30"/>
                      <a:pt x="0" y="27"/>
                      <a:pt x="0" y="24"/>
                    </a:cubicBezTo>
                    <a:cubicBezTo>
                      <a:pt x="0" y="6"/>
                      <a:pt x="0" y="6"/>
                      <a:pt x="0" y="6"/>
                    </a:cubicBezTo>
                    <a:cubicBezTo>
                      <a:pt x="0" y="2"/>
                      <a:pt x="2" y="0"/>
                      <a:pt x="6" y="0"/>
                    </a:cubicBezTo>
                    <a:cubicBezTo>
                      <a:pt x="9" y="0"/>
                      <a:pt x="12" y="2"/>
                      <a:pt x="12" y="6"/>
                    </a:cubicBezTo>
                    <a:cubicBezTo>
                      <a:pt x="12" y="18"/>
                      <a:pt x="12" y="18"/>
                      <a:pt x="12" y="18"/>
                    </a:cubicBezTo>
                    <a:cubicBezTo>
                      <a:pt x="24" y="18"/>
                      <a:pt x="24" y="18"/>
                      <a:pt x="24" y="18"/>
                    </a:cubicBezTo>
                    <a:cubicBezTo>
                      <a:pt x="27" y="18"/>
                      <a:pt x="30" y="20"/>
                      <a:pt x="30" y="24"/>
                    </a:cubicBezTo>
                    <a:cubicBezTo>
                      <a:pt x="30" y="27"/>
                      <a:pt x="27" y="30"/>
                      <a:pt x="2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a:ea typeface="+mn-ea"/>
                  <a:cs typeface="+mn-cs"/>
                </a:endParaRPr>
              </a:p>
            </p:txBody>
          </p:sp>
        </p:grpSp>
        <p:sp>
          <p:nvSpPr>
            <p:cNvPr id="19" name="Rectangle 16">
              <a:extLst>
                <a:ext uri="{FF2B5EF4-FFF2-40B4-BE49-F238E27FC236}">
                  <a16:creationId xmlns:a16="http://schemas.microsoft.com/office/drawing/2014/main" id="{4791BA58-2CB6-4F50-B142-F51A588B4F4C}"/>
                </a:ext>
              </a:extLst>
            </p:cNvPr>
            <p:cNvSpPr>
              <a:spLocks noChangeArrowheads="1"/>
            </p:cNvSpPr>
            <p:nvPr/>
          </p:nvSpPr>
          <p:spPr bwMode="auto">
            <a:xfrm>
              <a:off x="5115984" y="3492117"/>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dirty="0">
                  <a:ln>
                    <a:noFill/>
                  </a:ln>
                  <a:solidFill>
                    <a:srgbClr val="FFFFFF"/>
                  </a:solidFill>
                  <a:effectLst/>
                  <a:uLnTx/>
                  <a:uFillTx/>
                  <a:latin typeface="Graphik"/>
                  <a:ea typeface="+mn-ea"/>
                  <a:cs typeface="+mn-cs"/>
                </a:rPr>
                <a:t>Safe and</a:t>
              </a:r>
              <a:br>
                <a:rPr kumimoji="0" lang="da-DK" sz="1200" b="0" i="0" u="none" strike="noStrike" kern="0" cap="none" spc="0" normalizeH="0" baseline="0" noProof="0" dirty="0">
                  <a:ln>
                    <a:noFill/>
                  </a:ln>
                  <a:solidFill>
                    <a:srgbClr val="FFFFFF"/>
                  </a:solidFill>
                  <a:effectLst/>
                  <a:uLnTx/>
                  <a:uFillTx/>
                  <a:latin typeface="Graphik"/>
                  <a:ea typeface="+mn-ea"/>
                  <a:cs typeface="+mn-cs"/>
                </a:rPr>
              </a:br>
              <a:r>
                <a:rPr kumimoji="0" lang="da-DK" sz="1200" b="0" i="0" u="none" strike="noStrike" kern="0" cap="none" spc="0" normalizeH="0" baseline="0" noProof="0" dirty="0">
                  <a:ln>
                    <a:noFill/>
                  </a:ln>
                  <a:solidFill>
                    <a:srgbClr val="FFFFFF"/>
                  </a:solidFill>
                  <a:effectLst/>
                  <a:uLnTx/>
                  <a:uFillTx/>
                  <a:latin typeface="Graphik"/>
                  <a:ea typeface="+mn-ea"/>
                  <a:cs typeface="+mn-cs"/>
                </a:rPr>
                <a:t>effective</a:t>
              </a:r>
              <a:br>
                <a:rPr kumimoji="0" lang="da-DK" sz="1200" b="0" i="0" u="none" strike="noStrike" kern="0" cap="none" spc="0" normalizeH="0" baseline="0" noProof="0" dirty="0">
                  <a:ln>
                    <a:noFill/>
                  </a:ln>
                  <a:solidFill>
                    <a:srgbClr val="FFFFFF"/>
                  </a:solidFill>
                  <a:effectLst/>
                  <a:uLnTx/>
                  <a:uFillTx/>
                  <a:latin typeface="Graphik"/>
                  <a:ea typeface="+mn-ea"/>
                  <a:cs typeface="+mn-cs"/>
                </a:rPr>
              </a:br>
              <a:r>
                <a:rPr kumimoji="0" lang="da-DK" sz="1200" b="0" i="0" u="none" strike="noStrike" kern="0" cap="none" spc="0" normalizeH="0" baseline="0" noProof="0" dirty="0">
                  <a:ln>
                    <a:noFill/>
                  </a:ln>
                  <a:solidFill>
                    <a:srgbClr val="FFFFFF"/>
                  </a:solidFill>
                  <a:effectLst/>
                  <a:uLnTx/>
                  <a:uFillTx/>
                  <a:latin typeface="Graphik"/>
                  <a:ea typeface="+mn-ea"/>
                  <a:cs typeface="+mn-cs"/>
                </a:rPr>
                <a:t>products</a:t>
              </a:r>
            </a:p>
          </p:txBody>
        </p:sp>
        <p:sp>
          <p:nvSpPr>
            <p:cNvPr id="20" name="Rectangle 18">
              <a:extLst>
                <a:ext uri="{FF2B5EF4-FFF2-40B4-BE49-F238E27FC236}">
                  <a16:creationId xmlns:a16="http://schemas.microsoft.com/office/drawing/2014/main" id="{66B1CAAD-AE1C-4A3B-BB4F-C9A3386E0619}"/>
                </a:ext>
              </a:extLst>
            </p:cNvPr>
            <p:cNvSpPr>
              <a:spLocks noChangeArrowheads="1"/>
            </p:cNvSpPr>
            <p:nvPr/>
          </p:nvSpPr>
          <p:spPr bwMode="auto">
            <a:xfrm>
              <a:off x="5785909" y="3971791"/>
              <a:ext cx="430213" cy="271463"/>
            </a:xfrm>
            <a:prstGeom prst="rect">
              <a:avLst/>
            </a:prstGeom>
            <a:noFill/>
            <a:ln w="6350">
              <a:noFill/>
              <a:miter lim="800000"/>
              <a:headEnd/>
              <a:tailEnd/>
            </a:ln>
            <a:effectLst/>
          </p:spPr>
          <p:txBody>
            <a:bodyPr wrap="none" lIns="45720" rIns="4572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Black" panose="020B0A04020102020204" pitchFamily="34" charset="0"/>
                  <a:ea typeface="+mn-ea"/>
                  <a:cs typeface="+mn-cs"/>
                </a:rPr>
                <a:t>The </a:t>
              </a:r>
              <a:br>
                <a:rPr kumimoji="0" lang="en-US" sz="1200" b="1" i="0" u="none" strike="noStrike" kern="0" cap="none" spc="0" normalizeH="0" baseline="0" noProof="0" dirty="0">
                  <a:ln>
                    <a:noFill/>
                  </a:ln>
                  <a:solidFill>
                    <a:srgbClr val="FFFFFF"/>
                  </a:solidFill>
                  <a:effectLst/>
                  <a:uLnTx/>
                  <a:uFillTx/>
                  <a:latin typeface="Arial Black" panose="020B0A04020102020204" pitchFamily="34" charset="0"/>
                  <a:ea typeface="+mn-ea"/>
                  <a:cs typeface="+mn-cs"/>
                </a:rPr>
              </a:br>
              <a:r>
                <a:rPr kumimoji="0" lang="en-US" sz="1200" b="1" i="0" u="none" strike="noStrike" kern="0" cap="none" spc="0" normalizeH="0" baseline="0" noProof="0" dirty="0">
                  <a:ln>
                    <a:noFill/>
                  </a:ln>
                  <a:solidFill>
                    <a:srgbClr val="FFFFFF"/>
                  </a:solidFill>
                  <a:effectLst/>
                  <a:uLnTx/>
                  <a:uFillTx/>
                  <a:latin typeface="Arial Black" panose="020B0A04020102020204" pitchFamily="34" charset="0"/>
                  <a:ea typeface="+mn-ea"/>
                  <a:cs typeface="+mn-cs"/>
                </a:rPr>
                <a:t>pledge</a:t>
              </a:r>
            </a:p>
          </p:txBody>
        </p:sp>
        <p:sp>
          <p:nvSpPr>
            <p:cNvPr id="21" name="Rectangle 19">
              <a:extLst>
                <a:ext uri="{FF2B5EF4-FFF2-40B4-BE49-F238E27FC236}">
                  <a16:creationId xmlns:a16="http://schemas.microsoft.com/office/drawing/2014/main" id="{F301B114-8EDC-4D32-9FD1-625828ED7173}"/>
                </a:ext>
              </a:extLst>
            </p:cNvPr>
            <p:cNvSpPr>
              <a:spLocks noChangeArrowheads="1"/>
            </p:cNvSpPr>
            <p:nvPr/>
          </p:nvSpPr>
          <p:spPr bwMode="auto">
            <a:xfrm>
              <a:off x="5795434" y="4572237"/>
              <a:ext cx="409575" cy="273050"/>
            </a:xfrm>
            <a:prstGeom prst="rect">
              <a:avLst/>
            </a:prstGeom>
            <a:noFill/>
            <a:ln w="6350">
              <a:noFill/>
              <a:miter lim="800000"/>
              <a:headEnd/>
              <a:tailEnd/>
            </a:ln>
            <a:effectLst/>
          </p:spPr>
          <p:txBody>
            <a:bodyPr wrap="none" lIns="45720" rIns="4572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raphik"/>
                  <a:ea typeface="+mn-ea"/>
                  <a:cs typeface="+mn-cs"/>
                </a:rPr>
                <a:t>Safe </a:t>
              </a:r>
              <a:br>
                <a:rPr kumimoji="0" lang="en-US" sz="1200" b="0" i="0" u="none" strike="noStrike" kern="0" cap="none" spc="0" normalizeH="0" baseline="0" noProof="0" dirty="0">
                  <a:ln>
                    <a:noFill/>
                  </a:ln>
                  <a:solidFill>
                    <a:srgbClr val="FFFFFF"/>
                  </a:solidFill>
                  <a:effectLst/>
                  <a:uLnTx/>
                  <a:uFillTx/>
                  <a:latin typeface="Graphik"/>
                  <a:ea typeface="+mn-ea"/>
                  <a:cs typeface="+mn-cs"/>
                </a:rPr>
              </a:br>
              <a:r>
                <a:rPr kumimoji="0" lang="en-US" sz="1200" b="0" i="0" u="none" strike="noStrike" kern="0" cap="none" spc="0" normalizeH="0" baseline="0" noProof="0" dirty="0">
                  <a:ln>
                    <a:noFill/>
                  </a:ln>
                  <a:solidFill>
                    <a:srgbClr val="FFFFFF"/>
                  </a:solidFill>
                  <a:effectLst/>
                  <a:uLnTx/>
                  <a:uFillTx/>
                  <a:latin typeface="Graphik"/>
                  <a:ea typeface="+mn-ea"/>
                  <a:cs typeface="+mn-cs"/>
                </a:rPr>
                <a:t>work-place</a:t>
              </a:r>
            </a:p>
          </p:txBody>
        </p:sp>
        <p:sp>
          <p:nvSpPr>
            <p:cNvPr id="22" name="Rectangle 21">
              <a:extLst>
                <a:ext uri="{FF2B5EF4-FFF2-40B4-BE49-F238E27FC236}">
                  <a16:creationId xmlns:a16="http://schemas.microsoft.com/office/drawing/2014/main" id="{6DACF515-A758-4B4D-A039-99EAD72CDDE9}"/>
                </a:ext>
              </a:extLst>
            </p:cNvPr>
            <p:cNvSpPr/>
            <p:nvPr/>
          </p:nvSpPr>
          <p:spPr bwMode="auto">
            <a:xfrm>
              <a:off x="6530247" y="4358402"/>
              <a:ext cx="1766027" cy="825867"/>
            </a:xfrm>
            <a:prstGeom prst="rect">
              <a:avLst/>
            </a:prstGeom>
          </p:spPr>
          <p:txBody>
            <a:bodyPr wrap="square">
              <a:spAutoFit/>
            </a:bodyPr>
            <a:lstStyle/>
            <a:p>
              <a:pPr marL="0" marR="0" lvl="0" indent="0" algn="ctr" defTabSz="914400" rtl="0" eaLnBrk="0" fontAlgn="auto" latinLnBrk="0" hangingPunct="0">
                <a:lnSpc>
                  <a:spcPct val="100000"/>
                </a:lnSpc>
                <a:spcBef>
                  <a:spcPts val="100"/>
                </a:spcBef>
                <a:spcAft>
                  <a:spcPts val="1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raphik Black"/>
                  <a:ea typeface="+mn-ea"/>
                  <a:cs typeface="+mn-cs"/>
                </a:rPr>
                <a:t>Environmental</a:t>
              </a:r>
              <a:br>
                <a:rPr kumimoji="0" lang="en-US" sz="1200" b="1" i="0" u="none" strike="noStrike" kern="0" cap="none" spc="0" normalizeH="0" baseline="0" noProof="0" dirty="0">
                  <a:ln>
                    <a:noFill/>
                  </a:ln>
                  <a:solidFill>
                    <a:srgbClr val="000000"/>
                  </a:solidFill>
                  <a:effectLst/>
                  <a:uLnTx/>
                  <a:uFillTx/>
                  <a:latin typeface="Graphik Black"/>
                  <a:ea typeface="+mn-ea"/>
                  <a:cs typeface="+mn-cs"/>
                </a:rPr>
              </a:br>
              <a:r>
                <a:rPr kumimoji="0" lang="en-US" sz="1200" b="1" i="0" u="none" strike="noStrike" kern="0" cap="none" spc="0" normalizeH="0" baseline="0" noProof="0" dirty="0">
                  <a:ln>
                    <a:noFill/>
                  </a:ln>
                  <a:solidFill>
                    <a:srgbClr val="000000"/>
                  </a:solidFill>
                  <a:effectLst/>
                  <a:uLnTx/>
                  <a:uFillTx/>
                  <a:latin typeface="Graphik Black"/>
                  <a:ea typeface="+mn-ea"/>
                  <a:cs typeface="+mn-cs"/>
                </a:rPr>
                <a:t>protection</a:t>
              </a:r>
            </a:p>
            <a:p>
              <a:pPr marL="108000" marR="0" lvl="0" indent="-108000" algn="ctr" defTabSz="914400" rtl="0" eaLnBrk="0" fontAlgn="auto" latinLnBrk="0" hangingPunct="0">
                <a:lnSpc>
                  <a:spcPct val="100000"/>
                </a:lnSpc>
                <a:spcBef>
                  <a:spcPts val="100"/>
                </a:spcBef>
                <a:spcAft>
                  <a:spcPts val="100"/>
                </a:spcAft>
                <a:buClrTx/>
                <a:buSzTx/>
                <a:buFont typeface="Arial" pitchFamily="34" charset="0"/>
                <a:buChar char="•"/>
                <a:tabLst/>
                <a:defRPr/>
              </a:pPr>
              <a:r>
                <a:rPr kumimoji="0" lang="da-DK" sz="1100" b="0" i="0" u="none" strike="noStrike" kern="0" cap="none" spc="0" normalizeH="0" baseline="0" noProof="0" dirty="0">
                  <a:ln>
                    <a:noFill/>
                  </a:ln>
                  <a:solidFill>
                    <a:srgbClr val="000000"/>
                  </a:solidFill>
                  <a:effectLst/>
                  <a:uLnTx/>
                  <a:uFillTx/>
                  <a:latin typeface="Graphik"/>
                  <a:ea typeface="+mn-ea"/>
                  <a:cs typeface="+mn-cs"/>
                </a:rPr>
                <a:t>Clean and healthy environment</a:t>
              </a:r>
            </a:p>
          </p:txBody>
        </p:sp>
        <p:sp>
          <p:nvSpPr>
            <p:cNvPr id="23" name="Rectangle 16">
              <a:extLst>
                <a:ext uri="{FF2B5EF4-FFF2-40B4-BE49-F238E27FC236}">
                  <a16:creationId xmlns:a16="http://schemas.microsoft.com/office/drawing/2014/main" id="{2D3170AF-2E5D-41C2-95FA-0EB066294576}"/>
                </a:ext>
              </a:extLst>
            </p:cNvPr>
            <p:cNvSpPr>
              <a:spLocks noChangeArrowheads="1"/>
            </p:cNvSpPr>
            <p:nvPr/>
          </p:nvSpPr>
          <p:spPr bwMode="auto">
            <a:xfrm>
              <a:off x="6546061" y="3492117"/>
              <a:ext cx="409575" cy="273050"/>
            </a:xfrm>
            <a:prstGeom prst="rect">
              <a:avLst/>
            </a:prstGeom>
            <a:noFill/>
            <a:ln w="6350">
              <a:noFill/>
              <a:miter lim="800000"/>
              <a:headEnd/>
              <a:tailEnd/>
            </a:ln>
            <a:effectLst/>
          </p:spPr>
          <p:txBody>
            <a:bodyPr wrap="none"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dirty="0">
                  <a:ln>
                    <a:noFill/>
                  </a:ln>
                  <a:solidFill>
                    <a:srgbClr val="FFFFFF"/>
                  </a:solidFill>
                  <a:effectLst/>
                  <a:uLnTx/>
                  <a:uFillTx/>
                  <a:latin typeface="Graphik"/>
                  <a:ea typeface="+mn-ea"/>
                  <a:cs typeface="+mn-cs"/>
                </a:rPr>
                <a:t>Eco-efficient</a:t>
              </a:r>
              <a:br>
                <a:rPr kumimoji="0" lang="da-DK" sz="1200" b="0" i="0" u="none" strike="noStrike" kern="0" cap="none" spc="0" normalizeH="0" baseline="0" noProof="0" dirty="0">
                  <a:ln>
                    <a:noFill/>
                  </a:ln>
                  <a:solidFill>
                    <a:srgbClr val="FFFFFF"/>
                  </a:solidFill>
                  <a:effectLst/>
                  <a:uLnTx/>
                  <a:uFillTx/>
                  <a:latin typeface="Graphik"/>
                  <a:ea typeface="+mn-ea"/>
                  <a:cs typeface="+mn-cs"/>
                </a:rPr>
              </a:br>
              <a:r>
                <a:rPr kumimoji="0" lang="da-DK" sz="1200" b="0" i="0" u="none" strike="noStrike" kern="0" cap="none" spc="0" normalizeH="0" baseline="0" noProof="0" dirty="0">
                  <a:ln>
                    <a:noFill/>
                  </a:ln>
                  <a:solidFill>
                    <a:srgbClr val="FFFFFF"/>
                  </a:solidFill>
                  <a:effectLst/>
                  <a:uLnTx/>
                  <a:uFillTx/>
                  <a:latin typeface="Graphik"/>
                  <a:ea typeface="+mn-ea"/>
                  <a:cs typeface="+mn-cs"/>
                </a:rPr>
                <a:t>operations</a:t>
              </a:r>
            </a:p>
          </p:txBody>
        </p:sp>
        <p:sp>
          <p:nvSpPr>
            <p:cNvPr id="24" name="Rectangle 23">
              <a:extLst>
                <a:ext uri="{FF2B5EF4-FFF2-40B4-BE49-F238E27FC236}">
                  <a16:creationId xmlns:a16="http://schemas.microsoft.com/office/drawing/2014/main" id="{77616AFD-FF26-46AF-9CD9-E38A2485E9F6}"/>
                </a:ext>
              </a:extLst>
            </p:cNvPr>
            <p:cNvSpPr/>
            <p:nvPr/>
          </p:nvSpPr>
          <p:spPr bwMode="auto">
            <a:xfrm>
              <a:off x="3818729" y="4358402"/>
              <a:ext cx="1630362" cy="1066959"/>
            </a:xfrm>
            <a:prstGeom prst="rect">
              <a:avLst/>
            </a:prstGeom>
          </p:spPr>
          <p:txBody>
            <a:bodyPr wrap="square">
              <a:spAutoFit/>
            </a:bodyPr>
            <a:lstStyle/>
            <a:p>
              <a:pPr marL="0" marR="0" lvl="0" indent="0" algn="ctr" defTabSz="914400" rtl="0" eaLnBrk="0" fontAlgn="auto" latinLnBrk="0" hangingPunct="0">
                <a:lnSpc>
                  <a:spcPct val="100000"/>
                </a:lnSpc>
                <a:spcBef>
                  <a:spcPts val="100"/>
                </a:spcBef>
                <a:spcAft>
                  <a:spcPts val="1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mn-ea"/>
                  <a:cs typeface="+mn-cs"/>
                </a:rPr>
                <a:t>Social responsibility</a:t>
              </a:r>
            </a:p>
            <a:p>
              <a:pPr marL="108000" marR="0" lvl="0" indent="-108000" algn="ctr" defTabSz="914400" rtl="0" eaLnBrk="0" fontAlgn="auto" latinLnBrk="0" hangingPunct="0">
                <a:lnSpc>
                  <a:spcPct val="100000"/>
                </a:lnSpc>
                <a:spcBef>
                  <a:spcPts val="100"/>
                </a:spcBef>
                <a:spcAft>
                  <a:spcPts val="100"/>
                </a:spcAft>
                <a:buClrTx/>
                <a:buSzTx/>
                <a:buFont typeface="Arial" pitchFamily="34" charset="0"/>
                <a:buChar char="•"/>
                <a:tabLst/>
                <a:defRPr/>
              </a:pPr>
              <a:r>
                <a:rPr kumimoji="0" lang="da-DK" sz="1100" b="0" i="0" u="none" strike="noStrike" kern="0" cap="none" spc="0" normalizeH="0" baseline="0" noProof="0" dirty="0">
                  <a:ln>
                    <a:noFill/>
                  </a:ln>
                  <a:solidFill>
                    <a:srgbClr val="000000"/>
                  </a:solidFill>
                  <a:effectLst/>
                  <a:uLnTx/>
                  <a:uFillTx/>
                  <a:latin typeface="Graphik"/>
                  <a:ea typeface="+mn-ea"/>
                  <a:cs typeface="+mn-cs"/>
                </a:rPr>
                <a:t>Conscientious citizenship</a:t>
              </a:r>
            </a:p>
            <a:p>
              <a:pPr marL="0" marR="0" lvl="0" indent="0" algn="ctr" defTabSz="914400" rtl="0" eaLnBrk="0" fontAlgn="auto" latinLnBrk="0" hangingPunct="0">
                <a:lnSpc>
                  <a:spcPct val="100000"/>
                </a:lnSpc>
                <a:spcBef>
                  <a:spcPts val="100"/>
                </a:spcBef>
                <a:spcAft>
                  <a:spcPts val="10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Graphik"/>
                <a:ea typeface="+mn-ea"/>
                <a:cs typeface="+mn-cs"/>
              </a:endParaRPr>
            </a:p>
          </p:txBody>
        </p:sp>
      </p:grpSp>
      <p:sp>
        <p:nvSpPr>
          <p:cNvPr id="3" name="TextBox 2">
            <a:extLst>
              <a:ext uri="{FF2B5EF4-FFF2-40B4-BE49-F238E27FC236}">
                <a16:creationId xmlns:a16="http://schemas.microsoft.com/office/drawing/2014/main" id="{0FAECFF5-910E-4AD3-9F76-0667F4991A21}"/>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raphik"/>
                <a:ea typeface="+mn-ea"/>
                <a:cs typeface="+mn-cs"/>
              </a:rPr>
              <a:t>Design example: 3 factors of CESR</a:t>
            </a:r>
          </a:p>
        </p:txBody>
      </p:sp>
      <p:sp>
        <p:nvSpPr>
          <p:cNvPr id="5" name="Rectangle 4">
            <a:hlinkClick r:id="rId3" action="ppaction://hlinksldjump"/>
            <a:extLst>
              <a:ext uri="{FF2B5EF4-FFF2-40B4-BE49-F238E27FC236}">
                <a16:creationId xmlns:a16="http://schemas.microsoft.com/office/drawing/2014/main" id="{FD473450-D9C6-4BB2-A220-D45D25EC329B}"/>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293478403"/>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US" dirty="0"/>
              <a:t>Elements of Social Enterprise Platform </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extLst>
              <a:ext uri="{FF2B5EF4-FFF2-40B4-BE49-F238E27FC236}">
                <a16:creationId xmlns:a16="http://schemas.microsoft.com/office/drawing/2014/main" id="{5BF37660-97F2-4123-AE9D-3D3376E10BCA}"/>
              </a:ext>
            </a:extLst>
          </p:cNvPr>
          <p:cNvSpPr/>
          <p:nvPr/>
        </p:nvSpPr>
        <p:spPr bwMode="auto">
          <a:xfrm>
            <a:off x="5188086" y="3301280"/>
            <a:ext cx="1854740" cy="757130"/>
          </a:xfrm>
          <a:prstGeom prst="rect">
            <a:avLst/>
          </a:prstGeom>
        </p:spPr>
        <p:txBody>
          <a:bodyPr wrap="square">
            <a:spAutoFit/>
          </a:bodyPr>
          <a:lstStyle/>
          <a:p>
            <a:pPr marL="0" marR="0" lvl="0" indent="0" algn="ctr" defTabSz="914400" rtl="0" eaLnBrk="1" fontAlgn="base" latinLnBrk="0" hangingPunct="1">
              <a:lnSpc>
                <a:spcPct val="80000"/>
              </a:lnSpc>
              <a:spcBef>
                <a:spcPts val="300"/>
              </a:spcBef>
              <a:spcAft>
                <a:spcPts val="30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Graphik Black"/>
                <a:ea typeface="+mn-ea"/>
                <a:cs typeface="Arial" charset="0"/>
              </a:rPr>
              <a:t>Social</a:t>
            </a:r>
            <a:br>
              <a:rPr kumimoji="0" lang="en-US" sz="1800" b="1" i="0" u="none" strike="noStrike" kern="0" cap="none" spc="0" normalizeH="0" baseline="0" noProof="0" dirty="0">
                <a:ln>
                  <a:noFill/>
                </a:ln>
                <a:solidFill>
                  <a:srgbClr val="000000"/>
                </a:solidFill>
                <a:effectLst/>
                <a:uLnTx/>
                <a:uFillTx/>
                <a:latin typeface="Graphik Black"/>
                <a:ea typeface="+mn-ea"/>
                <a:cs typeface="Arial" charset="0"/>
              </a:rPr>
            </a:br>
            <a:r>
              <a:rPr kumimoji="0" lang="en-US" sz="1800" b="1" i="0" u="none" strike="noStrike" kern="0" cap="none" spc="0" normalizeH="0" baseline="0" noProof="0" dirty="0">
                <a:ln>
                  <a:noFill/>
                </a:ln>
                <a:solidFill>
                  <a:srgbClr val="000000"/>
                </a:solidFill>
                <a:effectLst/>
                <a:uLnTx/>
                <a:uFillTx/>
                <a:latin typeface="Graphik Black"/>
                <a:ea typeface="+mn-ea"/>
                <a:cs typeface="Arial" charset="0"/>
              </a:rPr>
              <a:t>enterprise</a:t>
            </a:r>
            <a:br>
              <a:rPr kumimoji="0" lang="en-US" sz="1800" b="1" i="0" u="none" strike="noStrike" kern="0" cap="none" spc="0" normalizeH="0" baseline="0" noProof="0" dirty="0">
                <a:ln>
                  <a:noFill/>
                </a:ln>
                <a:solidFill>
                  <a:srgbClr val="000000"/>
                </a:solidFill>
                <a:effectLst/>
                <a:uLnTx/>
                <a:uFillTx/>
                <a:latin typeface="Graphik Black"/>
                <a:ea typeface="+mn-ea"/>
                <a:cs typeface="Arial" charset="0"/>
              </a:rPr>
            </a:br>
            <a:r>
              <a:rPr kumimoji="0" lang="en-US" sz="1800" b="1" i="0" u="none" strike="noStrike" kern="0" cap="none" spc="0" normalizeH="0" baseline="0" noProof="0" dirty="0">
                <a:ln>
                  <a:noFill/>
                </a:ln>
                <a:solidFill>
                  <a:srgbClr val="000000"/>
                </a:solidFill>
                <a:effectLst/>
                <a:uLnTx/>
                <a:uFillTx/>
                <a:latin typeface="Graphik Black"/>
                <a:ea typeface="+mn-ea"/>
                <a:cs typeface="Arial" charset="0"/>
              </a:rPr>
              <a:t>platform</a:t>
            </a:r>
            <a:endParaRPr kumimoji="0" lang="en-AU" sz="1800" b="1" i="0" u="none" strike="noStrike" kern="1200" cap="none" spc="0" normalizeH="0" baseline="0" noProof="0" dirty="0">
              <a:ln>
                <a:noFill/>
              </a:ln>
              <a:solidFill>
                <a:srgbClr val="000000"/>
              </a:solidFill>
              <a:effectLst/>
              <a:uLnTx/>
              <a:uFillTx/>
              <a:latin typeface="Graphik Black"/>
              <a:ea typeface="+mn-ea"/>
              <a:cs typeface="Arial" charset="0"/>
            </a:endParaRPr>
          </a:p>
        </p:txBody>
      </p:sp>
      <p:grpSp>
        <p:nvGrpSpPr>
          <p:cNvPr id="6" name="Group 5">
            <a:extLst>
              <a:ext uri="{FF2B5EF4-FFF2-40B4-BE49-F238E27FC236}">
                <a16:creationId xmlns:a16="http://schemas.microsoft.com/office/drawing/2014/main" id="{74D94683-D7C7-4F54-80BF-1EDAD09886F5}"/>
              </a:ext>
            </a:extLst>
          </p:cNvPr>
          <p:cNvGrpSpPr/>
          <p:nvPr/>
        </p:nvGrpSpPr>
        <p:grpSpPr>
          <a:xfrm>
            <a:off x="3662482" y="1305369"/>
            <a:ext cx="4867036" cy="4628263"/>
            <a:chOff x="3662482" y="1114869"/>
            <a:chExt cx="4867036" cy="4628263"/>
          </a:xfrm>
        </p:grpSpPr>
        <p:grpSp>
          <p:nvGrpSpPr>
            <p:cNvPr id="7" name="Group 6">
              <a:extLst>
                <a:ext uri="{FF2B5EF4-FFF2-40B4-BE49-F238E27FC236}">
                  <a16:creationId xmlns:a16="http://schemas.microsoft.com/office/drawing/2014/main" id="{D112AD91-ACDF-476F-A876-F77BDE72EBAA}"/>
                </a:ext>
              </a:extLst>
            </p:cNvPr>
            <p:cNvGrpSpPr/>
            <p:nvPr/>
          </p:nvGrpSpPr>
          <p:grpSpPr bwMode="auto">
            <a:xfrm>
              <a:off x="3662482" y="1114869"/>
              <a:ext cx="4867036" cy="4628263"/>
              <a:chOff x="1552362" y="6067425"/>
              <a:chExt cx="3087037" cy="2935589"/>
            </a:xfrm>
          </p:grpSpPr>
          <p:sp>
            <p:nvSpPr>
              <p:cNvPr id="19" name="Freeform 6">
                <a:extLst>
                  <a:ext uri="{FF2B5EF4-FFF2-40B4-BE49-F238E27FC236}">
                    <a16:creationId xmlns:a16="http://schemas.microsoft.com/office/drawing/2014/main" id="{69D9E377-BAD4-4BAA-9CA2-196F8F6C61A6}"/>
                  </a:ext>
                </a:extLst>
              </p:cNvPr>
              <p:cNvSpPr>
                <a:spLocks/>
              </p:cNvSpPr>
              <p:nvPr/>
            </p:nvSpPr>
            <p:spPr bwMode="auto">
              <a:xfrm rot="1080000">
                <a:off x="3419223" y="6330613"/>
                <a:ext cx="820738" cy="760412"/>
              </a:xfrm>
              <a:custGeom>
                <a:avLst/>
                <a:gdLst>
                  <a:gd name="T0" fmla="*/ 219 w 219"/>
                  <a:gd name="T1" fmla="*/ 71 h 203"/>
                  <a:gd name="T2" fmla="*/ 0 w 219"/>
                  <a:gd name="T3" fmla="*/ 0 h 203"/>
                  <a:gd name="T4" fmla="*/ 0 w 219"/>
                  <a:gd name="T5" fmla="*/ 162 h 203"/>
                  <a:gd name="T6" fmla="*/ 124 w 219"/>
                  <a:gd name="T7" fmla="*/ 203 h 203"/>
                  <a:gd name="T8" fmla="*/ 219 w 219"/>
                  <a:gd name="T9" fmla="*/ 71 h 203"/>
                </a:gdLst>
                <a:ahLst/>
                <a:cxnLst>
                  <a:cxn ang="0">
                    <a:pos x="T0" y="T1"/>
                  </a:cxn>
                  <a:cxn ang="0">
                    <a:pos x="T2" y="T3"/>
                  </a:cxn>
                  <a:cxn ang="0">
                    <a:pos x="T4" y="T5"/>
                  </a:cxn>
                  <a:cxn ang="0">
                    <a:pos x="T6" y="T7"/>
                  </a:cxn>
                  <a:cxn ang="0">
                    <a:pos x="T8" y="T9"/>
                  </a:cxn>
                </a:cxnLst>
                <a:rect l="0" t="0" r="r" b="b"/>
                <a:pathLst>
                  <a:path w="219" h="203">
                    <a:moveTo>
                      <a:pt x="219" y="71"/>
                    </a:moveTo>
                    <a:cubicBezTo>
                      <a:pt x="157" y="27"/>
                      <a:pt x="81" y="1"/>
                      <a:pt x="0" y="0"/>
                    </a:cubicBezTo>
                    <a:cubicBezTo>
                      <a:pt x="0" y="162"/>
                      <a:pt x="0" y="162"/>
                      <a:pt x="0" y="162"/>
                    </a:cubicBezTo>
                    <a:cubicBezTo>
                      <a:pt x="46" y="163"/>
                      <a:pt x="88" y="178"/>
                      <a:pt x="124" y="203"/>
                    </a:cubicBezTo>
                    <a:lnTo>
                      <a:pt x="219" y="71"/>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0" name="Freeform 7">
                <a:extLst>
                  <a:ext uri="{FF2B5EF4-FFF2-40B4-BE49-F238E27FC236}">
                    <a16:creationId xmlns:a16="http://schemas.microsoft.com/office/drawing/2014/main" id="{84F70462-89BF-462D-8E7A-9F85ADC3C043}"/>
                  </a:ext>
                </a:extLst>
              </p:cNvPr>
              <p:cNvSpPr>
                <a:spLocks/>
              </p:cNvSpPr>
              <p:nvPr/>
            </p:nvSpPr>
            <p:spPr bwMode="auto">
              <a:xfrm rot="1080000">
                <a:off x="1948458" y="8088559"/>
                <a:ext cx="825500" cy="760412"/>
              </a:xfrm>
              <a:custGeom>
                <a:avLst/>
                <a:gdLst>
                  <a:gd name="T0" fmla="*/ 220 w 220"/>
                  <a:gd name="T1" fmla="*/ 203 h 203"/>
                  <a:gd name="T2" fmla="*/ 220 w 220"/>
                  <a:gd name="T3" fmla="*/ 41 h 203"/>
                  <a:gd name="T4" fmla="*/ 96 w 220"/>
                  <a:gd name="T5" fmla="*/ 0 h 203"/>
                  <a:gd name="T6" fmla="*/ 0 w 220"/>
                  <a:gd name="T7" fmla="*/ 132 h 203"/>
                  <a:gd name="T8" fmla="*/ 220 w 220"/>
                  <a:gd name="T9" fmla="*/ 203 h 203"/>
                </a:gdLst>
                <a:ahLst/>
                <a:cxnLst>
                  <a:cxn ang="0">
                    <a:pos x="T0" y="T1"/>
                  </a:cxn>
                  <a:cxn ang="0">
                    <a:pos x="T2" y="T3"/>
                  </a:cxn>
                  <a:cxn ang="0">
                    <a:pos x="T4" y="T5"/>
                  </a:cxn>
                  <a:cxn ang="0">
                    <a:pos x="T6" y="T7"/>
                  </a:cxn>
                  <a:cxn ang="0">
                    <a:pos x="T8" y="T9"/>
                  </a:cxn>
                </a:cxnLst>
                <a:rect l="0" t="0" r="r" b="b"/>
                <a:pathLst>
                  <a:path w="220" h="203">
                    <a:moveTo>
                      <a:pt x="220" y="203"/>
                    </a:moveTo>
                    <a:cubicBezTo>
                      <a:pt x="220" y="41"/>
                      <a:pt x="220" y="41"/>
                      <a:pt x="220" y="41"/>
                    </a:cubicBezTo>
                    <a:cubicBezTo>
                      <a:pt x="174" y="40"/>
                      <a:pt x="131" y="25"/>
                      <a:pt x="96" y="0"/>
                    </a:cubicBezTo>
                    <a:cubicBezTo>
                      <a:pt x="0" y="132"/>
                      <a:pt x="0" y="132"/>
                      <a:pt x="0" y="132"/>
                    </a:cubicBezTo>
                    <a:cubicBezTo>
                      <a:pt x="62" y="176"/>
                      <a:pt x="138" y="202"/>
                      <a:pt x="220" y="203"/>
                    </a:cubicBez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1" name="Freeform 8">
                <a:extLst>
                  <a:ext uri="{FF2B5EF4-FFF2-40B4-BE49-F238E27FC236}">
                    <a16:creationId xmlns:a16="http://schemas.microsoft.com/office/drawing/2014/main" id="{D0B568AD-B04B-4FC3-8259-0F32EB46A935}"/>
                  </a:ext>
                </a:extLst>
              </p:cNvPr>
              <p:cNvSpPr>
                <a:spLocks/>
              </p:cNvSpPr>
              <p:nvPr/>
            </p:nvSpPr>
            <p:spPr bwMode="auto">
              <a:xfrm rot="1080000">
                <a:off x="2608421" y="6067425"/>
                <a:ext cx="822325" cy="760412"/>
              </a:xfrm>
              <a:custGeom>
                <a:avLst/>
                <a:gdLst>
                  <a:gd name="T0" fmla="*/ 219 w 219"/>
                  <a:gd name="T1" fmla="*/ 0 h 203"/>
                  <a:gd name="T2" fmla="*/ 0 w 219"/>
                  <a:gd name="T3" fmla="*/ 71 h 203"/>
                  <a:gd name="T4" fmla="*/ 95 w 219"/>
                  <a:gd name="T5" fmla="*/ 203 h 203"/>
                  <a:gd name="T6" fmla="*/ 219 w 219"/>
                  <a:gd name="T7" fmla="*/ 162 h 203"/>
                  <a:gd name="T8" fmla="*/ 219 w 219"/>
                  <a:gd name="T9" fmla="*/ 0 h 203"/>
                </a:gdLst>
                <a:ahLst/>
                <a:cxnLst>
                  <a:cxn ang="0">
                    <a:pos x="T0" y="T1"/>
                  </a:cxn>
                  <a:cxn ang="0">
                    <a:pos x="T2" y="T3"/>
                  </a:cxn>
                  <a:cxn ang="0">
                    <a:pos x="T4" y="T5"/>
                  </a:cxn>
                  <a:cxn ang="0">
                    <a:pos x="T6" y="T7"/>
                  </a:cxn>
                  <a:cxn ang="0">
                    <a:pos x="T8" y="T9"/>
                  </a:cxn>
                </a:cxnLst>
                <a:rect l="0" t="0" r="r" b="b"/>
                <a:pathLst>
                  <a:path w="219" h="203">
                    <a:moveTo>
                      <a:pt x="219" y="0"/>
                    </a:moveTo>
                    <a:cubicBezTo>
                      <a:pt x="137" y="1"/>
                      <a:pt x="62" y="27"/>
                      <a:pt x="0" y="71"/>
                    </a:cubicBezTo>
                    <a:cubicBezTo>
                      <a:pt x="95" y="203"/>
                      <a:pt x="95" y="203"/>
                      <a:pt x="95" y="203"/>
                    </a:cubicBezTo>
                    <a:cubicBezTo>
                      <a:pt x="130" y="178"/>
                      <a:pt x="173" y="163"/>
                      <a:pt x="219" y="162"/>
                    </a:cubicBezTo>
                    <a:lnTo>
                      <a:pt x="219" y="0"/>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2" name="Freeform 9">
                <a:extLst>
                  <a:ext uri="{FF2B5EF4-FFF2-40B4-BE49-F238E27FC236}">
                    <a16:creationId xmlns:a16="http://schemas.microsoft.com/office/drawing/2014/main" id="{F797C45A-8808-424E-94E8-D86998514A62}"/>
                  </a:ext>
                </a:extLst>
              </p:cNvPr>
              <p:cNvSpPr>
                <a:spLocks/>
              </p:cNvSpPr>
              <p:nvPr/>
            </p:nvSpPr>
            <p:spPr bwMode="auto">
              <a:xfrm rot="1080000">
                <a:off x="3839926" y="7501356"/>
                <a:ext cx="644525" cy="866775"/>
              </a:xfrm>
              <a:custGeom>
                <a:avLst/>
                <a:gdLst>
                  <a:gd name="T0" fmla="*/ 154 w 172"/>
                  <a:gd name="T1" fmla="*/ 231 h 231"/>
                  <a:gd name="T2" fmla="*/ 172 w 172"/>
                  <a:gd name="T3" fmla="*/ 116 h 231"/>
                  <a:gd name="T4" fmla="*/ 154 w 172"/>
                  <a:gd name="T5" fmla="*/ 0 h 231"/>
                  <a:gd name="T6" fmla="*/ 0 w 172"/>
                  <a:gd name="T7" fmla="*/ 51 h 231"/>
                  <a:gd name="T8" fmla="*/ 10 w 172"/>
                  <a:gd name="T9" fmla="*/ 116 h 231"/>
                  <a:gd name="T10" fmla="*/ 0 w 172"/>
                  <a:gd name="T11" fmla="*/ 181 h 231"/>
                  <a:gd name="T12" fmla="*/ 154 w 172"/>
                  <a:gd name="T13" fmla="*/ 231 h 231"/>
                </a:gdLst>
                <a:ahLst/>
                <a:cxnLst>
                  <a:cxn ang="0">
                    <a:pos x="T0" y="T1"/>
                  </a:cxn>
                  <a:cxn ang="0">
                    <a:pos x="T2" y="T3"/>
                  </a:cxn>
                  <a:cxn ang="0">
                    <a:pos x="T4" y="T5"/>
                  </a:cxn>
                  <a:cxn ang="0">
                    <a:pos x="T6" y="T7"/>
                  </a:cxn>
                  <a:cxn ang="0">
                    <a:pos x="T8" y="T9"/>
                  </a:cxn>
                  <a:cxn ang="0">
                    <a:pos x="T10" y="T11"/>
                  </a:cxn>
                  <a:cxn ang="0">
                    <a:pos x="T12" y="T13"/>
                  </a:cxn>
                </a:cxnLst>
                <a:rect l="0" t="0" r="r" b="b"/>
                <a:pathLst>
                  <a:path w="172" h="231">
                    <a:moveTo>
                      <a:pt x="154" y="231"/>
                    </a:moveTo>
                    <a:cubicBezTo>
                      <a:pt x="166" y="195"/>
                      <a:pt x="172" y="156"/>
                      <a:pt x="172" y="116"/>
                    </a:cubicBezTo>
                    <a:cubicBezTo>
                      <a:pt x="172" y="76"/>
                      <a:pt x="166" y="37"/>
                      <a:pt x="154" y="0"/>
                    </a:cubicBezTo>
                    <a:cubicBezTo>
                      <a:pt x="0" y="51"/>
                      <a:pt x="0" y="51"/>
                      <a:pt x="0" y="51"/>
                    </a:cubicBezTo>
                    <a:cubicBezTo>
                      <a:pt x="6" y="71"/>
                      <a:pt x="10" y="93"/>
                      <a:pt x="10" y="116"/>
                    </a:cubicBezTo>
                    <a:cubicBezTo>
                      <a:pt x="10" y="139"/>
                      <a:pt x="6" y="161"/>
                      <a:pt x="0" y="181"/>
                    </a:cubicBezTo>
                    <a:lnTo>
                      <a:pt x="154" y="231"/>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3" name="Freeform 10">
                <a:extLst>
                  <a:ext uri="{FF2B5EF4-FFF2-40B4-BE49-F238E27FC236}">
                    <a16:creationId xmlns:a16="http://schemas.microsoft.com/office/drawing/2014/main" id="{AFD12E56-7A03-4DFE-B743-27F8DBE81CB1}"/>
                  </a:ext>
                </a:extLst>
              </p:cNvPr>
              <p:cNvSpPr>
                <a:spLocks/>
              </p:cNvSpPr>
              <p:nvPr/>
            </p:nvSpPr>
            <p:spPr bwMode="auto">
              <a:xfrm rot="1080000">
                <a:off x="3774211" y="6756818"/>
                <a:ext cx="865188" cy="884237"/>
              </a:xfrm>
              <a:custGeom>
                <a:avLst/>
                <a:gdLst>
                  <a:gd name="T0" fmla="*/ 0 w 231"/>
                  <a:gd name="T1" fmla="*/ 131 h 236"/>
                  <a:gd name="T2" fmla="*/ 76 w 231"/>
                  <a:gd name="T3" fmla="*/ 236 h 236"/>
                  <a:gd name="T4" fmla="*/ 231 w 231"/>
                  <a:gd name="T5" fmla="*/ 186 h 236"/>
                  <a:gd name="T6" fmla="*/ 95 w 231"/>
                  <a:gd name="T7" fmla="*/ 0 h 236"/>
                  <a:gd name="T8" fmla="*/ 0 w 231"/>
                  <a:gd name="T9" fmla="*/ 131 h 236"/>
                </a:gdLst>
                <a:ahLst/>
                <a:cxnLst>
                  <a:cxn ang="0">
                    <a:pos x="T0" y="T1"/>
                  </a:cxn>
                  <a:cxn ang="0">
                    <a:pos x="T2" y="T3"/>
                  </a:cxn>
                  <a:cxn ang="0">
                    <a:pos x="T4" y="T5"/>
                  </a:cxn>
                  <a:cxn ang="0">
                    <a:pos x="T6" y="T7"/>
                  </a:cxn>
                  <a:cxn ang="0">
                    <a:pos x="T8" y="T9"/>
                  </a:cxn>
                </a:cxnLst>
                <a:rect l="0" t="0" r="r" b="b"/>
                <a:pathLst>
                  <a:path w="231" h="236">
                    <a:moveTo>
                      <a:pt x="0" y="131"/>
                    </a:moveTo>
                    <a:cubicBezTo>
                      <a:pt x="35" y="158"/>
                      <a:pt x="62" y="194"/>
                      <a:pt x="76" y="236"/>
                    </a:cubicBezTo>
                    <a:cubicBezTo>
                      <a:pt x="231" y="186"/>
                      <a:pt x="231" y="186"/>
                      <a:pt x="231" y="186"/>
                    </a:cubicBezTo>
                    <a:cubicBezTo>
                      <a:pt x="206" y="111"/>
                      <a:pt x="158" y="46"/>
                      <a:pt x="95" y="0"/>
                    </a:cubicBezTo>
                    <a:lnTo>
                      <a:pt x="0" y="131"/>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4" name="Freeform 12">
                <a:extLst>
                  <a:ext uri="{FF2B5EF4-FFF2-40B4-BE49-F238E27FC236}">
                    <a16:creationId xmlns:a16="http://schemas.microsoft.com/office/drawing/2014/main" id="{3B1A25E0-2D46-4D55-9BCC-024CD0FB6890}"/>
                  </a:ext>
                </a:extLst>
              </p:cNvPr>
              <p:cNvSpPr>
                <a:spLocks/>
              </p:cNvSpPr>
              <p:nvPr/>
            </p:nvSpPr>
            <p:spPr bwMode="auto">
              <a:xfrm rot="1080000">
                <a:off x="1552362" y="7535883"/>
                <a:ext cx="866775" cy="889000"/>
              </a:xfrm>
              <a:custGeom>
                <a:avLst/>
                <a:gdLst>
                  <a:gd name="T0" fmla="*/ 231 w 231"/>
                  <a:gd name="T1" fmla="*/ 106 h 237"/>
                  <a:gd name="T2" fmla="*/ 154 w 231"/>
                  <a:gd name="T3" fmla="*/ 0 h 237"/>
                  <a:gd name="T4" fmla="*/ 0 w 231"/>
                  <a:gd name="T5" fmla="*/ 51 h 237"/>
                  <a:gd name="T6" fmla="*/ 135 w 231"/>
                  <a:gd name="T7" fmla="*/ 237 h 237"/>
                  <a:gd name="T8" fmla="*/ 231 w 231"/>
                  <a:gd name="T9" fmla="*/ 106 h 237"/>
                </a:gdLst>
                <a:ahLst/>
                <a:cxnLst>
                  <a:cxn ang="0">
                    <a:pos x="T0" y="T1"/>
                  </a:cxn>
                  <a:cxn ang="0">
                    <a:pos x="T2" y="T3"/>
                  </a:cxn>
                  <a:cxn ang="0">
                    <a:pos x="T4" y="T5"/>
                  </a:cxn>
                  <a:cxn ang="0">
                    <a:pos x="T6" y="T7"/>
                  </a:cxn>
                  <a:cxn ang="0">
                    <a:pos x="T8" y="T9"/>
                  </a:cxn>
                </a:cxnLst>
                <a:rect l="0" t="0" r="r" b="b"/>
                <a:pathLst>
                  <a:path w="231" h="237">
                    <a:moveTo>
                      <a:pt x="231" y="106"/>
                    </a:moveTo>
                    <a:cubicBezTo>
                      <a:pt x="196" y="79"/>
                      <a:pt x="169" y="43"/>
                      <a:pt x="154" y="0"/>
                    </a:cubicBezTo>
                    <a:cubicBezTo>
                      <a:pt x="0" y="51"/>
                      <a:pt x="0" y="51"/>
                      <a:pt x="0" y="51"/>
                    </a:cubicBezTo>
                    <a:cubicBezTo>
                      <a:pt x="25" y="126"/>
                      <a:pt x="73" y="191"/>
                      <a:pt x="135" y="237"/>
                    </a:cubicBezTo>
                    <a:lnTo>
                      <a:pt x="231" y="106"/>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5" name="Freeform 13">
                <a:extLst>
                  <a:ext uri="{FF2B5EF4-FFF2-40B4-BE49-F238E27FC236}">
                    <a16:creationId xmlns:a16="http://schemas.microsoft.com/office/drawing/2014/main" id="{E360AA90-26C5-4207-AD74-576FE3196E4F}"/>
                  </a:ext>
                </a:extLst>
              </p:cNvPr>
              <p:cNvSpPr>
                <a:spLocks/>
              </p:cNvSpPr>
              <p:nvPr/>
            </p:nvSpPr>
            <p:spPr bwMode="auto">
              <a:xfrm rot="1080000">
                <a:off x="3332458" y="8114014"/>
                <a:ext cx="865188" cy="889000"/>
              </a:xfrm>
              <a:custGeom>
                <a:avLst/>
                <a:gdLst>
                  <a:gd name="T0" fmla="*/ 76 w 231"/>
                  <a:gd name="T1" fmla="*/ 0 h 237"/>
                  <a:gd name="T2" fmla="*/ 0 w 231"/>
                  <a:gd name="T3" fmla="*/ 106 h 237"/>
                  <a:gd name="T4" fmla="*/ 95 w 231"/>
                  <a:gd name="T5" fmla="*/ 237 h 237"/>
                  <a:gd name="T6" fmla="*/ 231 w 231"/>
                  <a:gd name="T7" fmla="*/ 51 h 237"/>
                  <a:gd name="T8" fmla="*/ 76 w 231"/>
                  <a:gd name="T9" fmla="*/ 0 h 237"/>
                </a:gdLst>
                <a:ahLst/>
                <a:cxnLst>
                  <a:cxn ang="0">
                    <a:pos x="T0" y="T1"/>
                  </a:cxn>
                  <a:cxn ang="0">
                    <a:pos x="T2" y="T3"/>
                  </a:cxn>
                  <a:cxn ang="0">
                    <a:pos x="T4" y="T5"/>
                  </a:cxn>
                  <a:cxn ang="0">
                    <a:pos x="T6" y="T7"/>
                  </a:cxn>
                  <a:cxn ang="0">
                    <a:pos x="T8" y="T9"/>
                  </a:cxn>
                </a:cxnLst>
                <a:rect l="0" t="0" r="r" b="b"/>
                <a:pathLst>
                  <a:path w="231" h="237">
                    <a:moveTo>
                      <a:pt x="76" y="0"/>
                    </a:moveTo>
                    <a:cubicBezTo>
                      <a:pt x="62" y="43"/>
                      <a:pt x="35" y="79"/>
                      <a:pt x="0" y="106"/>
                    </a:cubicBezTo>
                    <a:cubicBezTo>
                      <a:pt x="95" y="237"/>
                      <a:pt x="95" y="237"/>
                      <a:pt x="95" y="237"/>
                    </a:cubicBezTo>
                    <a:cubicBezTo>
                      <a:pt x="158" y="191"/>
                      <a:pt x="206" y="126"/>
                      <a:pt x="231" y="51"/>
                    </a:cubicBezTo>
                    <a:lnTo>
                      <a:pt x="76" y="0"/>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6" name="Freeform 14">
                <a:extLst>
                  <a:ext uri="{FF2B5EF4-FFF2-40B4-BE49-F238E27FC236}">
                    <a16:creationId xmlns:a16="http://schemas.microsoft.com/office/drawing/2014/main" id="{14F8A0AE-9528-4D37-95A2-1F20F532ECBA}"/>
                  </a:ext>
                </a:extLst>
              </p:cNvPr>
              <p:cNvSpPr>
                <a:spLocks/>
              </p:cNvSpPr>
              <p:nvPr/>
            </p:nvSpPr>
            <p:spPr bwMode="auto">
              <a:xfrm rot="1080000">
                <a:off x="1994116" y="6178688"/>
                <a:ext cx="866775" cy="884237"/>
              </a:xfrm>
              <a:custGeom>
                <a:avLst/>
                <a:gdLst>
                  <a:gd name="T0" fmla="*/ 154 w 231"/>
                  <a:gd name="T1" fmla="*/ 236 h 236"/>
                  <a:gd name="T2" fmla="*/ 231 w 231"/>
                  <a:gd name="T3" fmla="*/ 131 h 236"/>
                  <a:gd name="T4" fmla="*/ 135 w 231"/>
                  <a:gd name="T5" fmla="*/ 0 h 236"/>
                  <a:gd name="T6" fmla="*/ 0 w 231"/>
                  <a:gd name="T7" fmla="*/ 186 h 236"/>
                  <a:gd name="T8" fmla="*/ 154 w 231"/>
                  <a:gd name="T9" fmla="*/ 236 h 236"/>
                </a:gdLst>
                <a:ahLst/>
                <a:cxnLst>
                  <a:cxn ang="0">
                    <a:pos x="T0" y="T1"/>
                  </a:cxn>
                  <a:cxn ang="0">
                    <a:pos x="T2" y="T3"/>
                  </a:cxn>
                  <a:cxn ang="0">
                    <a:pos x="T4" y="T5"/>
                  </a:cxn>
                  <a:cxn ang="0">
                    <a:pos x="T6" y="T7"/>
                  </a:cxn>
                  <a:cxn ang="0">
                    <a:pos x="T8" y="T9"/>
                  </a:cxn>
                </a:cxnLst>
                <a:rect l="0" t="0" r="r" b="b"/>
                <a:pathLst>
                  <a:path w="231" h="236">
                    <a:moveTo>
                      <a:pt x="154" y="236"/>
                    </a:moveTo>
                    <a:cubicBezTo>
                      <a:pt x="169" y="194"/>
                      <a:pt x="196" y="158"/>
                      <a:pt x="231" y="131"/>
                    </a:cubicBezTo>
                    <a:cubicBezTo>
                      <a:pt x="135" y="0"/>
                      <a:pt x="135" y="0"/>
                      <a:pt x="135" y="0"/>
                    </a:cubicBezTo>
                    <a:cubicBezTo>
                      <a:pt x="73" y="46"/>
                      <a:pt x="25" y="111"/>
                      <a:pt x="0" y="186"/>
                    </a:cubicBezTo>
                    <a:lnTo>
                      <a:pt x="154" y="236"/>
                    </a:lnTo>
                    <a:close/>
                  </a:path>
                </a:pathLst>
              </a:custGeom>
              <a:solidFill>
                <a:srgbClr val="A100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7" name="Freeform 15">
                <a:extLst>
                  <a:ext uri="{FF2B5EF4-FFF2-40B4-BE49-F238E27FC236}">
                    <a16:creationId xmlns:a16="http://schemas.microsoft.com/office/drawing/2014/main" id="{47402BF6-A2E6-4CFE-8C76-C04538DC85D4}"/>
                  </a:ext>
                </a:extLst>
              </p:cNvPr>
              <p:cNvSpPr>
                <a:spLocks/>
              </p:cNvSpPr>
              <p:nvPr/>
            </p:nvSpPr>
            <p:spPr bwMode="auto">
              <a:xfrm rot="1080000">
                <a:off x="1708085" y="6808679"/>
                <a:ext cx="644525" cy="866775"/>
              </a:xfrm>
              <a:custGeom>
                <a:avLst/>
                <a:gdLst>
                  <a:gd name="T0" fmla="*/ 172 w 172"/>
                  <a:gd name="T1" fmla="*/ 181 h 231"/>
                  <a:gd name="T2" fmla="*/ 162 w 172"/>
                  <a:gd name="T3" fmla="*/ 116 h 231"/>
                  <a:gd name="T4" fmla="*/ 172 w 172"/>
                  <a:gd name="T5" fmla="*/ 51 h 231"/>
                  <a:gd name="T6" fmla="*/ 17 w 172"/>
                  <a:gd name="T7" fmla="*/ 0 h 231"/>
                  <a:gd name="T8" fmla="*/ 0 w 172"/>
                  <a:gd name="T9" fmla="*/ 116 h 231"/>
                  <a:gd name="T10" fmla="*/ 17 w 172"/>
                  <a:gd name="T11" fmla="*/ 231 h 231"/>
                  <a:gd name="T12" fmla="*/ 172 w 172"/>
                  <a:gd name="T13" fmla="*/ 181 h 231"/>
                </a:gdLst>
                <a:ahLst/>
                <a:cxnLst>
                  <a:cxn ang="0">
                    <a:pos x="T0" y="T1"/>
                  </a:cxn>
                  <a:cxn ang="0">
                    <a:pos x="T2" y="T3"/>
                  </a:cxn>
                  <a:cxn ang="0">
                    <a:pos x="T4" y="T5"/>
                  </a:cxn>
                  <a:cxn ang="0">
                    <a:pos x="T6" y="T7"/>
                  </a:cxn>
                  <a:cxn ang="0">
                    <a:pos x="T8" y="T9"/>
                  </a:cxn>
                  <a:cxn ang="0">
                    <a:pos x="T10" y="T11"/>
                  </a:cxn>
                  <a:cxn ang="0">
                    <a:pos x="T12" y="T13"/>
                  </a:cxn>
                </a:cxnLst>
                <a:rect l="0" t="0" r="r" b="b"/>
                <a:pathLst>
                  <a:path w="172" h="231">
                    <a:moveTo>
                      <a:pt x="172" y="181"/>
                    </a:moveTo>
                    <a:cubicBezTo>
                      <a:pt x="166" y="161"/>
                      <a:pt x="162" y="139"/>
                      <a:pt x="162" y="116"/>
                    </a:cubicBezTo>
                    <a:cubicBezTo>
                      <a:pt x="162" y="93"/>
                      <a:pt x="166" y="71"/>
                      <a:pt x="172" y="51"/>
                    </a:cubicBezTo>
                    <a:cubicBezTo>
                      <a:pt x="17" y="0"/>
                      <a:pt x="17" y="0"/>
                      <a:pt x="17" y="0"/>
                    </a:cubicBezTo>
                    <a:cubicBezTo>
                      <a:pt x="6" y="37"/>
                      <a:pt x="0" y="76"/>
                      <a:pt x="0" y="116"/>
                    </a:cubicBezTo>
                    <a:cubicBezTo>
                      <a:pt x="0" y="156"/>
                      <a:pt x="6" y="195"/>
                      <a:pt x="17" y="231"/>
                    </a:cubicBezTo>
                    <a:lnTo>
                      <a:pt x="172" y="181"/>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8" name="Isosceles Triangle 27">
                <a:extLst>
                  <a:ext uri="{FF2B5EF4-FFF2-40B4-BE49-F238E27FC236}">
                    <a16:creationId xmlns:a16="http://schemas.microsoft.com/office/drawing/2014/main" id="{E5D51939-666D-4DFC-9CA1-A756DEFC28CC}"/>
                  </a:ext>
                </a:extLst>
              </p:cNvPr>
              <p:cNvSpPr/>
              <p:nvPr/>
            </p:nvSpPr>
            <p:spPr bwMode="auto">
              <a:xfrm rot="15122422">
                <a:off x="3085995" y="8615116"/>
                <a:ext cx="614593" cy="150443"/>
              </a:xfrm>
              <a:prstGeom prst="triangle">
                <a:avLst/>
              </a:prstGeom>
              <a:solidFill>
                <a:srgbClr val="A055F5"/>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400" b="0" i="0" u="none" strike="noStrike" kern="0" cap="none" spc="0" normalizeH="0" baseline="0" noProof="0" dirty="0" err="1">
                  <a:ln>
                    <a:noFill/>
                  </a:ln>
                  <a:solidFill>
                    <a:sysClr val="windowText" lastClr="000000"/>
                  </a:solidFill>
                  <a:effectLst/>
                  <a:uLnTx/>
                  <a:uFillTx/>
                  <a:latin typeface="Graphik"/>
                  <a:ea typeface="+mn-ea"/>
                  <a:cs typeface="Arial" pitchFamily="34" charset="0"/>
                </a:endParaRPr>
              </a:p>
            </p:txBody>
          </p:sp>
          <p:sp>
            <p:nvSpPr>
              <p:cNvPr id="29" name="Isosceles Triangle 28">
                <a:extLst>
                  <a:ext uri="{FF2B5EF4-FFF2-40B4-BE49-F238E27FC236}">
                    <a16:creationId xmlns:a16="http://schemas.microsoft.com/office/drawing/2014/main" id="{A26DA6FA-99BF-4A13-9451-4E126A4B27D0}"/>
                  </a:ext>
                </a:extLst>
              </p:cNvPr>
              <p:cNvSpPr/>
              <p:nvPr/>
            </p:nvSpPr>
            <p:spPr bwMode="auto">
              <a:xfrm rot="6477578" flipH="1">
                <a:off x="2490407" y="8615115"/>
                <a:ext cx="614593" cy="150443"/>
              </a:xfrm>
              <a:prstGeom prst="triangle">
                <a:avLst/>
              </a:prstGeom>
              <a:solidFill>
                <a:srgbClr val="A055F5"/>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AU" sz="1400" b="0" i="0" u="none" strike="noStrike" kern="0" cap="none" spc="0" normalizeH="0" baseline="0" noProof="0" dirty="0" err="1">
                  <a:ln>
                    <a:noFill/>
                  </a:ln>
                  <a:solidFill>
                    <a:sysClr val="windowText" lastClr="000000"/>
                  </a:solidFill>
                  <a:effectLst/>
                  <a:uLnTx/>
                  <a:uFillTx/>
                  <a:latin typeface="Graphik"/>
                  <a:ea typeface="+mn-ea"/>
                  <a:cs typeface="Arial" pitchFamily="34" charset="0"/>
                </a:endParaRPr>
              </a:p>
            </p:txBody>
          </p:sp>
          <p:sp>
            <p:nvSpPr>
              <p:cNvPr id="30" name="Freeform 15">
                <a:extLst>
                  <a:ext uri="{FF2B5EF4-FFF2-40B4-BE49-F238E27FC236}">
                    <a16:creationId xmlns:a16="http://schemas.microsoft.com/office/drawing/2014/main" id="{79134CEA-61BB-45F1-B39C-74F5B6B99C4D}"/>
                  </a:ext>
                </a:extLst>
              </p:cNvPr>
              <p:cNvSpPr>
                <a:spLocks/>
              </p:cNvSpPr>
              <p:nvPr/>
            </p:nvSpPr>
            <p:spPr bwMode="auto">
              <a:xfrm rot="1080000">
                <a:off x="1708086" y="6808679"/>
                <a:ext cx="644525" cy="866775"/>
              </a:xfrm>
              <a:custGeom>
                <a:avLst/>
                <a:gdLst>
                  <a:gd name="T0" fmla="*/ 172 w 172"/>
                  <a:gd name="T1" fmla="*/ 181 h 231"/>
                  <a:gd name="T2" fmla="*/ 162 w 172"/>
                  <a:gd name="T3" fmla="*/ 116 h 231"/>
                  <a:gd name="T4" fmla="*/ 172 w 172"/>
                  <a:gd name="T5" fmla="*/ 51 h 231"/>
                  <a:gd name="T6" fmla="*/ 17 w 172"/>
                  <a:gd name="T7" fmla="*/ 0 h 231"/>
                  <a:gd name="T8" fmla="*/ 0 w 172"/>
                  <a:gd name="T9" fmla="*/ 116 h 231"/>
                  <a:gd name="T10" fmla="*/ 17 w 172"/>
                  <a:gd name="T11" fmla="*/ 231 h 231"/>
                  <a:gd name="T12" fmla="*/ 172 w 172"/>
                  <a:gd name="T13" fmla="*/ 181 h 231"/>
                </a:gdLst>
                <a:ahLst/>
                <a:cxnLst>
                  <a:cxn ang="0">
                    <a:pos x="T0" y="T1"/>
                  </a:cxn>
                  <a:cxn ang="0">
                    <a:pos x="T2" y="T3"/>
                  </a:cxn>
                  <a:cxn ang="0">
                    <a:pos x="T4" y="T5"/>
                  </a:cxn>
                  <a:cxn ang="0">
                    <a:pos x="T6" y="T7"/>
                  </a:cxn>
                  <a:cxn ang="0">
                    <a:pos x="T8" y="T9"/>
                  </a:cxn>
                  <a:cxn ang="0">
                    <a:pos x="T10" y="T11"/>
                  </a:cxn>
                  <a:cxn ang="0">
                    <a:pos x="T12" y="T13"/>
                  </a:cxn>
                </a:cxnLst>
                <a:rect l="0" t="0" r="r" b="b"/>
                <a:pathLst>
                  <a:path w="172" h="231">
                    <a:moveTo>
                      <a:pt x="172" y="181"/>
                    </a:moveTo>
                    <a:cubicBezTo>
                      <a:pt x="166" y="161"/>
                      <a:pt x="162" y="139"/>
                      <a:pt x="162" y="116"/>
                    </a:cubicBezTo>
                    <a:cubicBezTo>
                      <a:pt x="162" y="93"/>
                      <a:pt x="166" y="71"/>
                      <a:pt x="172" y="51"/>
                    </a:cubicBezTo>
                    <a:cubicBezTo>
                      <a:pt x="17" y="0"/>
                      <a:pt x="17" y="0"/>
                      <a:pt x="17" y="0"/>
                    </a:cubicBezTo>
                    <a:cubicBezTo>
                      <a:pt x="6" y="37"/>
                      <a:pt x="0" y="76"/>
                      <a:pt x="0" y="116"/>
                    </a:cubicBezTo>
                    <a:cubicBezTo>
                      <a:pt x="0" y="156"/>
                      <a:pt x="6" y="195"/>
                      <a:pt x="17" y="231"/>
                    </a:cubicBezTo>
                    <a:lnTo>
                      <a:pt x="172" y="181"/>
                    </a:lnTo>
                    <a:close/>
                  </a:path>
                </a:pathLst>
              </a:custGeom>
              <a:solidFill>
                <a:srgbClr val="DCAFFF">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400" b="0" i="0" u="none" strike="noStrike" kern="0" cap="none" spc="0" normalizeH="0" baseline="0" noProof="0">
                  <a:ln>
                    <a:noFill/>
                  </a:ln>
                  <a:solidFill>
                    <a:srgbClr val="000000"/>
                  </a:solidFill>
                  <a:effectLst/>
                  <a:uLnTx/>
                  <a:uFillTx/>
                  <a:latin typeface="Graphik"/>
                  <a:ea typeface="+mn-ea"/>
                  <a:cs typeface="Arial" charset="0"/>
                </a:endParaRPr>
              </a:p>
            </p:txBody>
          </p:sp>
        </p:grpSp>
        <p:sp>
          <p:nvSpPr>
            <p:cNvPr id="8" name="Rectangle 7">
              <a:extLst>
                <a:ext uri="{FF2B5EF4-FFF2-40B4-BE49-F238E27FC236}">
                  <a16:creationId xmlns:a16="http://schemas.microsoft.com/office/drawing/2014/main" id="{5BB90708-5966-4D9F-A809-E6C49137C2D2}"/>
                </a:ext>
              </a:extLst>
            </p:cNvPr>
            <p:cNvSpPr/>
            <p:nvPr/>
          </p:nvSpPr>
          <p:spPr bwMode="auto">
            <a:xfrm>
              <a:off x="5537688" y="5130844"/>
              <a:ext cx="1103398" cy="52322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2"/>
                  </a:solidFill>
                  <a:effectLst/>
                  <a:uLnTx/>
                  <a:uFillTx/>
                  <a:latin typeface="Graphik"/>
                  <a:ea typeface="+mn-ea"/>
                  <a:cs typeface="Arial" charset="0"/>
                </a:rPr>
                <a:t>Social Enterprise</a:t>
              </a:r>
            </a:p>
          </p:txBody>
        </p:sp>
        <p:sp>
          <p:nvSpPr>
            <p:cNvPr id="9" name="Rectangle 8">
              <a:extLst>
                <a:ext uri="{FF2B5EF4-FFF2-40B4-BE49-F238E27FC236}">
                  <a16:creationId xmlns:a16="http://schemas.microsoft.com/office/drawing/2014/main" id="{561E9850-1137-46D0-A7D3-BA9075FDD10C}"/>
                </a:ext>
              </a:extLst>
            </p:cNvPr>
            <p:cNvSpPr/>
            <p:nvPr/>
          </p:nvSpPr>
          <p:spPr bwMode="auto">
            <a:xfrm>
              <a:off x="5643981" y="1521560"/>
              <a:ext cx="904039"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Graphik"/>
                  <a:ea typeface="+mn-ea"/>
                  <a:cs typeface="Arial" charset="0"/>
                </a:rPr>
                <a:t>Sell</a:t>
              </a:r>
            </a:p>
          </p:txBody>
        </p:sp>
        <p:sp>
          <p:nvSpPr>
            <p:cNvPr id="10" name="Rectangle 9">
              <a:extLst>
                <a:ext uri="{FF2B5EF4-FFF2-40B4-BE49-F238E27FC236}">
                  <a16:creationId xmlns:a16="http://schemas.microsoft.com/office/drawing/2014/main" id="{B477437E-54F0-4526-81AF-B007944AE9AC}"/>
                </a:ext>
              </a:extLst>
            </p:cNvPr>
            <p:cNvSpPr/>
            <p:nvPr/>
          </p:nvSpPr>
          <p:spPr bwMode="auto">
            <a:xfrm>
              <a:off x="6575368" y="1841619"/>
              <a:ext cx="1148490"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Graphik"/>
                  <a:ea typeface="+mn-ea"/>
                  <a:cs typeface="Arial" charset="0"/>
                </a:rPr>
                <a:t>Service</a:t>
              </a:r>
            </a:p>
          </p:txBody>
        </p:sp>
        <p:sp>
          <p:nvSpPr>
            <p:cNvPr id="11" name="Rectangle 10">
              <a:extLst>
                <a:ext uri="{FF2B5EF4-FFF2-40B4-BE49-F238E27FC236}">
                  <a16:creationId xmlns:a16="http://schemas.microsoft.com/office/drawing/2014/main" id="{AE873ED1-1412-44A5-8233-D8C576311816}"/>
                </a:ext>
              </a:extLst>
            </p:cNvPr>
            <p:cNvSpPr/>
            <p:nvPr/>
          </p:nvSpPr>
          <p:spPr bwMode="auto">
            <a:xfrm>
              <a:off x="4364224" y="1841619"/>
              <a:ext cx="1266295"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Graphik"/>
                  <a:ea typeface="+mn-ea"/>
                  <a:cs typeface="Arial" charset="0"/>
                </a:rPr>
                <a:t>Collaborate</a:t>
              </a:r>
            </a:p>
          </p:txBody>
        </p:sp>
        <p:sp>
          <p:nvSpPr>
            <p:cNvPr id="12" name="Rectangle 11">
              <a:extLst>
                <a:ext uri="{FF2B5EF4-FFF2-40B4-BE49-F238E27FC236}">
                  <a16:creationId xmlns:a16="http://schemas.microsoft.com/office/drawing/2014/main" id="{0CB4C1E4-02E8-492A-95F2-524552B7368F}"/>
                </a:ext>
              </a:extLst>
            </p:cNvPr>
            <p:cNvSpPr/>
            <p:nvPr/>
          </p:nvSpPr>
          <p:spPr bwMode="auto">
            <a:xfrm>
              <a:off x="3791570" y="2792118"/>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Arial" charset="0"/>
                </a:rPr>
                <a:t>Market</a:t>
              </a:r>
            </a:p>
          </p:txBody>
        </p:sp>
        <p:sp>
          <p:nvSpPr>
            <p:cNvPr id="13" name="Rectangle 12">
              <a:extLst>
                <a:ext uri="{FF2B5EF4-FFF2-40B4-BE49-F238E27FC236}">
                  <a16:creationId xmlns:a16="http://schemas.microsoft.com/office/drawing/2014/main" id="{AE3EA99A-C708-41B0-9935-BE8D721EF4B5}"/>
                </a:ext>
              </a:extLst>
            </p:cNvPr>
            <p:cNvSpPr/>
            <p:nvPr/>
          </p:nvSpPr>
          <p:spPr bwMode="auto">
            <a:xfrm>
              <a:off x="7261414" y="2792118"/>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Arial" charset="0"/>
                </a:rPr>
                <a:t>Products</a:t>
              </a:r>
            </a:p>
          </p:txBody>
        </p:sp>
        <p:sp>
          <p:nvSpPr>
            <p:cNvPr id="14" name="Rectangle 13">
              <a:extLst>
                <a:ext uri="{FF2B5EF4-FFF2-40B4-BE49-F238E27FC236}">
                  <a16:creationId xmlns:a16="http://schemas.microsoft.com/office/drawing/2014/main" id="{E59280C3-CCC1-4F4B-8785-2FECBB2C2DB7}"/>
                </a:ext>
              </a:extLst>
            </p:cNvPr>
            <p:cNvSpPr/>
            <p:nvPr/>
          </p:nvSpPr>
          <p:spPr bwMode="auto">
            <a:xfrm>
              <a:off x="3791570" y="3866912"/>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Graphik"/>
                  <a:ea typeface="+mn-ea"/>
                  <a:cs typeface="Arial" charset="0"/>
                </a:rPr>
                <a:t>Engage</a:t>
              </a:r>
            </a:p>
          </p:txBody>
        </p:sp>
        <p:sp>
          <p:nvSpPr>
            <p:cNvPr id="15" name="Rectangle 14">
              <a:extLst>
                <a:ext uri="{FF2B5EF4-FFF2-40B4-BE49-F238E27FC236}">
                  <a16:creationId xmlns:a16="http://schemas.microsoft.com/office/drawing/2014/main" id="{20ED34E7-0F9E-414F-8D9E-48E6B620596C}"/>
                </a:ext>
              </a:extLst>
            </p:cNvPr>
            <p:cNvSpPr/>
            <p:nvPr/>
          </p:nvSpPr>
          <p:spPr bwMode="auto">
            <a:xfrm>
              <a:off x="7261414" y="3866912"/>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Graphik"/>
                  <a:ea typeface="+mn-ea"/>
                  <a:cs typeface="Arial" charset="0"/>
                </a:rPr>
                <a:t>Geo-locate</a:t>
              </a:r>
            </a:p>
          </p:txBody>
        </p:sp>
        <p:sp>
          <p:nvSpPr>
            <p:cNvPr id="16" name="Rectangle 15">
              <a:extLst>
                <a:ext uri="{FF2B5EF4-FFF2-40B4-BE49-F238E27FC236}">
                  <a16:creationId xmlns:a16="http://schemas.microsoft.com/office/drawing/2014/main" id="{E75F0A86-4772-4E26-AD11-1F0137D1AD1B}"/>
                </a:ext>
              </a:extLst>
            </p:cNvPr>
            <p:cNvSpPr/>
            <p:nvPr/>
          </p:nvSpPr>
          <p:spPr bwMode="auto">
            <a:xfrm>
              <a:off x="4494706" y="4816515"/>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Arial" charset="0"/>
                </a:rPr>
                <a:t>Listen</a:t>
              </a:r>
            </a:p>
          </p:txBody>
        </p:sp>
        <p:sp>
          <p:nvSpPr>
            <p:cNvPr id="17" name="Rectangle 16">
              <a:extLst>
                <a:ext uri="{FF2B5EF4-FFF2-40B4-BE49-F238E27FC236}">
                  <a16:creationId xmlns:a16="http://schemas.microsoft.com/office/drawing/2014/main" id="{BED238D7-43D9-4D20-8386-E77201B27A20}"/>
                </a:ext>
              </a:extLst>
            </p:cNvPr>
            <p:cNvSpPr/>
            <p:nvPr/>
          </p:nvSpPr>
          <p:spPr bwMode="auto">
            <a:xfrm>
              <a:off x="6518214" y="4816515"/>
              <a:ext cx="1102932"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Arial" charset="0"/>
                </a:rPr>
                <a:t>Partners</a:t>
              </a:r>
            </a:p>
          </p:txBody>
        </p:sp>
        <p:sp>
          <p:nvSpPr>
            <p:cNvPr id="18" name="Rectangle 17">
              <a:extLst>
                <a:ext uri="{FF2B5EF4-FFF2-40B4-BE49-F238E27FC236}">
                  <a16:creationId xmlns:a16="http://schemas.microsoft.com/office/drawing/2014/main" id="{D3B253B2-2BC8-49A2-99B3-5C5BA2A58312}"/>
                </a:ext>
              </a:extLst>
            </p:cNvPr>
            <p:cNvSpPr/>
            <p:nvPr/>
          </p:nvSpPr>
          <p:spPr bwMode="auto">
            <a:xfrm>
              <a:off x="5643982" y="1521560"/>
              <a:ext cx="904039"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raphik"/>
                  <a:ea typeface="+mn-ea"/>
                  <a:cs typeface="Arial" charset="0"/>
                </a:rPr>
                <a:t>Sell</a:t>
              </a:r>
            </a:p>
          </p:txBody>
        </p:sp>
      </p:grpSp>
      <p:sp>
        <p:nvSpPr>
          <p:cNvPr id="3" name="Rectangle 2">
            <a:hlinkClick r:id="rId3" action="ppaction://hlinksldjump"/>
            <a:extLst>
              <a:ext uri="{FF2B5EF4-FFF2-40B4-BE49-F238E27FC236}">
                <a16:creationId xmlns:a16="http://schemas.microsoft.com/office/drawing/2014/main" id="{9D61D5FC-FB70-4606-AB5B-9B1950497796}"/>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7854744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AU" dirty="0"/>
              <a:t>Confidentiality notice for our proposal</a:t>
            </a:r>
            <a:endParaRPr lang="en-US" dirty="0"/>
          </a:p>
        </p:txBody>
      </p:sp>
      <p:sp>
        <p:nvSpPr>
          <p:cNvPr id="3" name="Content Placeholder 2">
            <a:extLst>
              <a:ext uri="{FF2B5EF4-FFF2-40B4-BE49-F238E27FC236}">
                <a16:creationId xmlns:a16="http://schemas.microsoft.com/office/drawing/2014/main" id="{DDAD0497-DA04-4125-9FE0-129D4726F8AC}"/>
              </a:ext>
            </a:extLst>
          </p:cNvPr>
          <p:cNvSpPr>
            <a:spLocks noGrp="1"/>
          </p:cNvSpPr>
          <p:nvPr>
            <p:ph sz="quarter" idx="10"/>
          </p:nvPr>
        </p:nvSpPr>
        <p:spPr/>
        <p:txBody>
          <a:bodyPr/>
          <a:lstStyle/>
          <a:p>
            <a:pPr marL="0" marR="0" lvl="3" indent="0" algn="l" defTabSz="1734634" rtl="0" eaLnBrk="1" fontAlgn="auto" latinLnBrk="0" hangingPunct="1">
              <a:lnSpc>
                <a:spcPct val="90000"/>
              </a:lnSpc>
              <a:spcBef>
                <a:spcPts val="800"/>
              </a:spcBef>
              <a:spcAft>
                <a:spcPts val="0"/>
              </a:spcAft>
              <a:buClrTx/>
              <a:buSzTx/>
              <a:buFont typeface="Arial" charset="0"/>
              <a:buNone/>
              <a:tabLst/>
              <a:defRPr/>
            </a:pPr>
            <a:r>
              <a:rPr kumimoji="0" lang="en-AU" sz="1800" b="0" i="0" u="none" strike="noStrike" kern="1200" cap="none" spc="0" normalizeH="0" baseline="0" noProof="0" dirty="0">
                <a:ln>
                  <a:noFill/>
                </a:ln>
                <a:solidFill>
                  <a:srgbClr val="96968C"/>
                </a:solidFill>
                <a:effectLst/>
                <a:uLnTx/>
                <a:uFillTx/>
                <a:latin typeface="Graphik" panose="020B0503030202060203" pitchFamily="34" charset="0"/>
              </a:rPr>
              <a:t>This document contains proprietary materials, trade secrets and otherwise confidential information owned by Accenture. Access to and use of the materials and information is strictly limited and controlled by Accenture. This document may not be copied, distributed, or otherwise disclosed outside of Accenture or its affiliates except under appropriate precautions to maintain the confidentiality hereof. It is made available for evaluation purposes only and may not be used in any way not expressly authorized by Accenture. </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5">
            <a:hlinkClick r:id="rId3" action="ppaction://hlinksldjump"/>
            <a:extLst>
              <a:ext uri="{FF2B5EF4-FFF2-40B4-BE49-F238E27FC236}">
                <a16:creationId xmlns:a16="http://schemas.microsoft.com/office/drawing/2014/main" id="{977D10B3-45E0-4F9A-9D79-13C56E142E97}"/>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023330536"/>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6D9CB-5F67-45AE-8FBF-00D78E537DAA}"/>
              </a:ext>
            </a:extLst>
          </p:cNvPr>
          <p:cNvSpPr>
            <a:spLocks noGrp="1"/>
          </p:cNvSpPr>
          <p:nvPr>
            <p:ph type="title"/>
          </p:nvPr>
        </p:nvSpPr>
        <p:spPr/>
        <p:txBody>
          <a:bodyPr/>
          <a:lstStyle/>
          <a:p>
            <a:r>
              <a:rPr lang="en-AU" dirty="0"/>
              <a:t>Confidentiality notice for our presentation</a:t>
            </a:r>
            <a:endParaRPr lang="en-US" dirty="0"/>
          </a:p>
        </p:txBody>
      </p:sp>
      <p:sp>
        <p:nvSpPr>
          <p:cNvPr id="3" name="Content Placeholder 2">
            <a:extLst>
              <a:ext uri="{FF2B5EF4-FFF2-40B4-BE49-F238E27FC236}">
                <a16:creationId xmlns:a16="http://schemas.microsoft.com/office/drawing/2014/main" id="{DDAD0497-DA04-4125-9FE0-129D4726F8AC}"/>
              </a:ext>
            </a:extLst>
          </p:cNvPr>
          <p:cNvSpPr>
            <a:spLocks noGrp="1"/>
          </p:cNvSpPr>
          <p:nvPr>
            <p:ph sz="quarter" idx="10"/>
          </p:nvPr>
        </p:nvSpPr>
        <p:spPr/>
        <p:txBody>
          <a:bodyPr/>
          <a:lstStyle/>
          <a:p>
            <a:pPr marL="0" marR="0" lvl="3" indent="0" algn="l" defTabSz="1734634" rtl="0" eaLnBrk="1" fontAlgn="auto" latinLnBrk="0" hangingPunct="1">
              <a:lnSpc>
                <a:spcPct val="90000"/>
              </a:lnSpc>
              <a:spcBef>
                <a:spcPts val="800"/>
              </a:spcBef>
              <a:spcAft>
                <a:spcPts val="0"/>
              </a:spcAft>
              <a:buClrTx/>
              <a:buSzTx/>
              <a:buFont typeface="Arial" charset="0"/>
              <a:buNone/>
              <a:tabLst/>
              <a:defRPr/>
            </a:pPr>
            <a:r>
              <a:rPr kumimoji="0" lang="en-GB" sz="1800" b="0" i="0" u="none" strike="noStrike" kern="1200" cap="none" spc="0" normalizeH="0" baseline="0" noProof="0" dirty="0">
                <a:ln>
                  <a:noFill/>
                </a:ln>
                <a:solidFill>
                  <a:srgbClr val="96968C"/>
                </a:solidFill>
                <a:effectLst/>
                <a:uLnTx/>
                <a:uFillTx/>
                <a:latin typeface="Graphik" panose="020B0503030202060203" pitchFamily="34" charset="0"/>
              </a:rPr>
              <a:t>This document contains confidential information and is for company internal use only. Access to and use of the document and information is strictly limited and controlled by Accenture. It is prohibited to copy, distribute, or otherwise disclose the document and information outside of Accenture or its affiliates.</a:t>
            </a:r>
          </a:p>
        </p:txBody>
      </p:sp>
      <p:sp>
        <p:nvSpPr>
          <p:cNvPr id="4" name="Freeform: Shape 3">
            <a:hlinkClick r:id="rId3" action="ppaction://hlinksldjump"/>
            <a:extLst>
              <a:ext uri="{FF2B5EF4-FFF2-40B4-BE49-F238E27FC236}">
                <a16:creationId xmlns:a16="http://schemas.microsoft.com/office/drawing/2014/main" id="{835D8811-AF1F-4DE2-964A-92E2416225E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5">
            <a:hlinkClick r:id="rId3" action="ppaction://hlinksldjump"/>
            <a:extLst>
              <a:ext uri="{FF2B5EF4-FFF2-40B4-BE49-F238E27FC236}">
                <a16:creationId xmlns:a16="http://schemas.microsoft.com/office/drawing/2014/main" id="{1D04F13B-10E6-4408-A710-2B0F08EB173E}"/>
              </a:ext>
            </a:extLst>
          </p:cNvPr>
          <p:cNvSpPr/>
          <p:nvPr/>
        </p:nvSpPr>
        <p:spPr>
          <a:xfrm>
            <a:off x="11432023" y="294610"/>
            <a:ext cx="468240" cy="449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9895839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230CE0B-7B76-4945-9550-88F4F4F452AB}"/>
              </a:ext>
            </a:extLst>
          </p:cNvPr>
          <p:cNvSpPr>
            <a:spLocks noGrp="1"/>
          </p:cNvSpPr>
          <p:nvPr>
            <p:ph type="title"/>
          </p:nvPr>
        </p:nvSpPr>
        <p:spPr/>
        <p:txBody>
          <a:bodyPr/>
          <a:lstStyle/>
          <a:p>
            <a:endParaRPr lang="en-US"/>
          </a:p>
        </p:txBody>
      </p:sp>
      <p:sp>
        <p:nvSpPr>
          <p:cNvPr id="12" name="Picture Placeholder 11">
            <a:extLst>
              <a:ext uri="{FF2B5EF4-FFF2-40B4-BE49-F238E27FC236}">
                <a16:creationId xmlns:a16="http://schemas.microsoft.com/office/drawing/2014/main" id="{5277F317-63EE-5446-9D18-8B47D1C40CAD}"/>
              </a:ext>
            </a:extLst>
          </p:cNvPr>
          <p:cNvSpPr>
            <a:spLocks noGrp="1"/>
          </p:cNvSpPr>
          <p:nvPr>
            <p:ph type="pic" sz="quarter" idx="14"/>
          </p:nvPr>
        </p:nvSpPr>
        <p:spPr/>
      </p:sp>
      <p:sp>
        <p:nvSpPr>
          <p:cNvPr id="13" name="Picture Placeholder 12">
            <a:extLst>
              <a:ext uri="{FF2B5EF4-FFF2-40B4-BE49-F238E27FC236}">
                <a16:creationId xmlns:a16="http://schemas.microsoft.com/office/drawing/2014/main" id="{FFD027E0-C9F9-DA4A-B16F-9AF8A4B0ADBE}"/>
              </a:ext>
            </a:extLst>
          </p:cNvPr>
          <p:cNvSpPr>
            <a:spLocks noGrp="1"/>
          </p:cNvSpPr>
          <p:nvPr>
            <p:ph type="pic" sz="quarter" idx="15"/>
          </p:nvPr>
        </p:nvSpPr>
        <p:spPr/>
      </p:sp>
      <p:sp>
        <p:nvSpPr>
          <p:cNvPr id="14" name="Picture Placeholder 13">
            <a:extLst>
              <a:ext uri="{FF2B5EF4-FFF2-40B4-BE49-F238E27FC236}">
                <a16:creationId xmlns:a16="http://schemas.microsoft.com/office/drawing/2014/main" id="{CB69CD6C-88D7-8C4B-917B-9903CECA0692}"/>
              </a:ext>
            </a:extLst>
          </p:cNvPr>
          <p:cNvSpPr>
            <a:spLocks noGrp="1"/>
          </p:cNvSpPr>
          <p:nvPr>
            <p:ph type="pic" sz="quarter" idx="16"/>
          </p:nvPr>
        </p:nvSpPr>
        <p:spPr/>
      </p:sp>
      <p:sp>
        <p:nvSpPr>
          <p:cNvPr id="15" name="Picture Placeholder 14">
            <a:extLst>
              <a:ext uri="{FF2B5EF4-FFF2-40B4-BE49-F238E27FC236}">
                <a16:creationId xmlns:a16="http://schemas.microsoft.com/office/drawing/2014/main" id="{2800641D-3922-1D4A-8AAC-D0FD8EDA20FF}"/>
              </a:ext>
            </a:extLst>
          </p:cNvPr>
          <p:cNvSpPr>
            <a:spLocks noGrp="1"/>
          </p:cNvSpPr>
          <p:nvPr>
            <p:ph type="pic" sz="quarter" idx="17"/>
          </p:nvPr>
        </p:nvSpPr>
        <p:spPr/>
      </p:sp>
      <p:sp>
        <p:nvSpPr>
          <p:cNvPr id="16" name="Picture Placeholder 15">
            <a:extLst>
              <a:ext uri="{FF2B5EF4-FFF2-40B4-BE49-F238E27FC236}">
                <a16:creationId xmlns:a16="http://schemas.microsoft.com/office/drawing/2014/main" id="{A00F2139-E801-1449-9905-DB3EC1226C6F}"/>
              </a:ext>
            </a:extLst>
          </p:cNvPr>
          <p:cNvSpPr>
            <a:spLocks noGrp="1"/>
          </p:cNvSpPr>
          <p:nvPr>
            <p:ph type="pic" sz="quarter" idx="18"/>
          </p:nvPr>
        </p:nvSpPr>
        <p:spPr/>
      </p:sp>
      <p:sp>
        <p:nvSpPr>
          <p:cNvPr id="17" name="Text Placeholder 16">
            <a:extLst>
              <a:ext uri="{FF2B5EF4-FFF2-40B4-BE49-F238E27FC236}">
                <a16:creationId xmlns:a16="http://schemas.microsoft.com/office/drawing/2014/main" id="{A7195446-E51C-084B-885D-8750D6CAE132}"/>
              </a:ext>
            </a:extLst>
          </p:cNvPr>
          <p:cNvSpPr>
            <a:spLocks noGrp="1"/>
          </p:cNvSpPr>
          <p:nvPr>
            <p:ph type="body" sz="quarter" idx="19"/>
          </p:nvPr>
        </p:nvSpPr>
        <p:spPr/>
        <p:txBody>
          <a:bodyPr/>
          <a:lstStyle/>
          <a:p>
            <a:endParaRPr lang="en-US"/>
          </a:p>
        </p:txBody>
      </p:sp>
      <p:sp>
        <p:nvSpPr>
          <p:cNvPr id="18" name="Text Placeholder 17">
            <a:extLst>
              <a:ext uri="{FF2B5EF4-FFF2-40B4-BE49-F238E27FC236}">
                <a16:creationId xmlns:a16="http://schemas.microsoft.com/office/drawing/2014/main" id="{700B8ABF-DFDF-4844-943D-DFD1E6B97025}"/>
              </a:ext>
            </a:extLst>
          </p:cNvPr>
          <p:cNvSpPr>
            <a:spLocks noGrp="1"/>
          </p:cNvSpPr>
          <p:nvPr>
            <p:ph type="body" sz="quarter" idx="20"/>
          </p:nvPr>
        </p:nvSpPr>
        <p:spPr/>
        <p:txBody>
          <a:bodyPr/>
          <a:lstStyle/>
          <a:p>
            <a:endParaRPr lang="en-US"/>
          </a:p>
        </p:txBody>
      </p:sp>
      <p:sp>
        <p:nvSpPr>
          <p:cNvPr id="19" name="Picture Placeholder 18">
            <a:extLst>
              <a:ext uri="{FF2B5EF4-FFF2-40B4-BE49-F238E27FC236}">
                <a16:creationId xmlns:a16="http://schemas.microsoft.com/office/drawing/2014/main" id="{AD2590DE-3C47-514E-B641-17FA408D4288}"/>
              </a:ext>
            </a:extLst>
          </p:cNvPr>
          <p:cNvSpPr>
            <a:spLocks noGrp="1"/>
          </p:cNvSpPr>
          <p:nvPr>
            <p:ph type="pic" sz="quarter" idx="24"/>
          </p:nvPr>
        </p:nvSpPr>
        <p:spPr/>
      </p:sp>
      <p:sp>
        <p:nvSpPr>
          <p:cNvPr id="20" name="Text Placeholder 19">
            <a:extLst>
              <a:ext uri="{FF2B5EF4-FFF2-40B4-BE49-F238E27FC236}">
                <a16:creationId xmlns:a16="http://schemas.microsoft.com/office/drawing/2014/main" id="{B93F8238-D310-AB4E-A1AD-D87A005F4409}"/>
              </a:ext>
            </a:extLst>
          </p:cNvPr>
          <p:cNvSpPr>
            <a:spLocks noGrp="1"/>
          </p:cNvSpPr>
          <p:nvPr>
            <p:ph type="body" sz="quarter" idx="25"/>
          </p:nvPr>
        </p:nvSpPr>
        <p:spPr/>
        <p:txBody>
          <a:bodyPr/>
          <a:lstStyle/>
          <a:p>
            <a:endParaRPr lang="en-US"/>
          </a:p>
        </p:txBody>
      </p:sp>
      <p:sp>
        <p:nvSpPr>
          <p:cNvPr id="21" name="Text Placeholder 20">
            <a:extLst>
              <a:ext uri="{FF2B5EF4-FFF2-40B4-BE49-F238E27FC236}">
                <a16:creationId xmlns:a16="http://schemas.microsoft.com/office/drawing/2014/main" id="{AF4AB2E3-B2AE-D24C-BA92-E633C623FC93}"/>
              </a:ext>
            </a:extLst>
          </p:cNvPr>
          <p:cNvSpPr>
            <a:spLocks noGrp="1"/>
          </p:cNvSpPr>
          <p:nvPr>
            <p:ph type="body" sz="quarter" idx="26"/>
          </p:nvPr>
        </p:nvSpPr>
        <p:spPr/>
        <p:txBody>
          <a:bodyPr/>
          <a:lstStyle/>
          <a:p>
            <a:endParaRPr lang="en-US"/>
          </a:p>
        </p:txBody>
      </p:sp>
      <p:sp>
        <p:nvSpPr>
          <p:cNvPr id="22" name="Text Placeholder 21">
            <a:extLst>
              <a:ext uri="{FF2B5EF4-FFF2-40B4-BE49-F238E27FC236}">
                <a16:creationId xmlns:a16="http://schemas.microsoft.com/office/drawing/2014/main" id="{363F6516-FF11-D04E-9894-C23991E9FF64}"/>
              </a:ext>
            </a:extLst>
          </p:cNvPr>
          <p:cNvSpPr>
            <a:spLocks noGrp="1"/>
          </p:cNvSpPr>
          <p:nvPr>
            <p:ph type="body" sz="quarter" idx="27"/>
          </p:nvPr>
        </p:nvSpPr>
        <p:spPr/>
        <p:txBody>
          <a:bodyPr/>
          <a:lstStyle/>
          <a:p>
            <a:endParaRPr lang="en-US"/>
          </a:p>
        </p:txBody>
      </p:sp>
      <p:sp>
        <p:nvSpPr>
          <p:cNvPr id="23" name="Text Placeholder 22">
            <a:extLst>
              <a:ext uri="{FF2B5EF4-FFF2-40B4-BE49-F238E27FC236}">
                <a16:creationId xmlns:a16="http://schemas.microsoft.com/office/drawing/2014/main" id="{8B7E9098-ADA9-CE4E-9496-1856CEC91FB3}"/>
              </a:ext>
            </a:extLst>
          </p:cNvPr>
          <p:cNvSpPr>
            <a:spLocks noGrp="1"/>
          </p:cNvSpPr>
          <p:nvPr>
            <p:ph type="body" sz="quarter" idx="28"/>
          </p:nvPr>
        </p:nvSpPr>
        <p:spPr/>
        <p:txBody>
          <a:bodyPr/>
          <a:lstStyle/>
          <a:p>
            <a:endParaRPr lang="en-US"/>
          </a:p>
        </p:txBody>
      </p:sp>
    </p:spTree>
    <p:extLst>
      <p:ext uri="{BB962C8B-B14F-4D97-AF65-F5344CB8AC3E}">
        <p14:creationId xmlns:p14="http://schemas.microsoft.com/office/powerpoint/2010/main" val="3462935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6EC36767-7787-154E-9D4C-34F4AFA5DA76}"/>
              </a:ext>
            </a:extLst>
          </p:cNvPr>
          <p:cNvSpPr>
            <a:spLocks noGrp="1"/>
          </p:cNvSpPr>
          <p:nvPr>
            <p:ph type="body" sz="quarter" idx="42"/>
          </p:nvPr>
        </p:nvSpPr>
        <p:spPr/>
        <p:txBody>
          <a:bodyPr/>
          <a:lstStyle/>
          <a:p>
            <a:endParaRPr lang="en-US"/>
          </a:p>
        </p:txBody>
      </p:sp>
      <p:sp>
        <p:nvSpPr>
          <p:cNvPr id="11" name="Title 10">
            <a:extLst>
              <a:ext uri="{FF2B5EF4-FFF2-40B4-BE49-F238E27FC236}">
                <a16:creationId xmlns:a16="http://schemas.microsoft.com/office/drawing/2014/main" id="{93473703-E33B-5A4B-A486-231630F4012F}"/>
              </a:ext>
            </a:extLst>
          </p:cNvPr>
          <p:cNvSpPr>
            <a:spLocks noGrp="1"/>
          </p:cNvSpPr>
          <p:nvPr>
            <p:ph type="title"/>
          </p:nvPr>
        </p:nvSpPr>
        <p:spPr/>
        <p:txBody>
          <a:bodyPr/>
          <a:lstStyle/>
          <a:p>
            <a:endParaRPr lang="en-US"/>
          </a:p>
        </p:txBody>
      </p:sp>
      <p:sp>
        <p:nvSpPr>
          <p:cNvPr id="12" name="Picture Placeholder 11">
            <a:extLst>
              <a:ext uri="{FF2B5EF4-FFF2-40B4-BE49-F238E27FC236}">
                <a16:creationId xmlns:a16="http://schemas.microsoft.com/office/drawing/2014/main" id="{03DAB7EE-03CE-BC4D-A91C-CC4C2E7CC1A8}"/>
              </a:ext>
            </a:extLst>
          </p:cNvPr>
          <p:cNvSpPr>
            <a:spLocks noGrp="1"/>
          </p:cNvSpPr>
          <p:nvPr>
            <p:ph type="pic" sz="quarter" idx="16"/>
          </p:nvPr>
        </p:nvSpPr>
        <p:spPr/>
      </p:sp>
      <p:sp>
        <p:nvSpPr>
          <p:cNvPr id="13" name="Picture Placeholder 12">
            <a:extLst>
              <a:ext uri="{FF2B5EF4-FFF2-40B4-BE49-F238E27FC236}">
                <a16:creationId xmlns:a16="http://schemas.microsoft.com/office/drawing/2014/main" id="{9C73D796-4032-CE49-BC7B-484FF4DD0EF0}"/>
              </a:ext>
            </a:extLst>
          </p:cNvPr>
          <p:cNvSpPr>
            <a:spLocks noGrp="1"/>
          </p:cNvSpPr>
          <p:nvPr>
            <p:ph type="pic" sz="quarter" idx="17"/>
          </p:nvPr>
        </p:nvSpPr>
        <p:spPr/>
      </p:sp>
      <p:sp>
        <p:nvSpPr>
          <p:cNvPr id="14" name="Picture Placeholder 13">
            <a:extLst>
              <a:ext uri="{FF2B5EF4-FFF2-40B4-BE49-F238E27FC236}">
                <a16:creationId xmlns:a16="http://schemas.microsoft.com/office/drawing/2014/main" id="{57A74BD4-C5E9-9B49-9AF7-C6D31684CF29}"/>
              </a:ext>
            </a:extLst>
          </p:cNvPr>
          <p:cNvSpPr>
            <a:spLocks noGrp="1"/>
          </p:cNvSpPr>
          <p:nvPr>
            <p:ph type="pic" sz="quarter" idx="18"/>
          </p:nvPr>
        </p:nvSpPr>
        <p:spPr/>
      </p:sp>
      <p:sp>
        <p:nvSpPr>
          <p:cNvPr id="15" name="Picture Placeholder 14">
            <a:extLst>
              <a:ext uri="{FF2B5EF4-FFF2-40B4-BE49-F238E27FC236}">
                <a16:creationId xmlns:a16="http://schemas.microsoft.com/office/drawing/2014/main" id="{8355DFAD-2056-5043-B933-1DF9E7D38251}"/>
              </a:ext>
            </a:extLst>
          </p:cNvPr>
          <p:cNvSpPr>
            <a:spLocks noGrp="1"/>
          </p:cNvSpPr>
          <p:nvPr>
            <p:ph type="pic" sz="quarter" idx="24"/>
          </p:nvPr>
        </p:nvSpPr>
        <p:spPr/>
      </p:sp>
      <p:sp>
        <p:nvSpPr>
          <p:cNvPr id="16" name="Text Placeholder 15">
            <a:extLst>
              <a:ext uri="{FF2B5EF4-FFF2-40B4-BE49-F238E27FC236}">
                <a16:creationId xmlns:a16="http://schemas.microsoft.com/office/drawing/2014/main" id="{328A30F6-3A2D-EF4B-99CE-F3A46B931226}"/>
              </a:ext>
            </a:extLst>
          </p:cNvPr>
          <p:cNvSpPr>
            <a:spLocks noGrp="1"/>
          </p:cNvSpPr>
          <p:nvPr>
            <p:ph type="body" sz="quarter" idx="25"/>
          </p:nvPr>
        </p:nvSpPr>
        <p:spPr/>
        <p:txBody>
          <a:bodyPr/>
          <a:lstStyle/>
          <a:p>
            <a:endParaRPr lang="en-US"/>
          </a:p>
        </p:txBody>
      </p:sp>
      <p:sp>
        <p:nvSpPr>
          <p:cNvPr id="17" name="Text Placeholder 16">
            <a:extLst>
              <a:ext uri="{FF2B5EF4-FFF2-40B4-BE49-F238E27FC236}">
                <a16:creationId xmlns:a16="http://schemas.microsoft.com/office/drawing/2014/main" id="{A26CD964-0402-DB46-B293-B440BE91C801}"/>
              </a:ext>
            </a:extLst>
          </p:cNvPr>
          <p:cNvSpPr>
            <a:spLocks noGrp="1"/>
          </p:cNvSpPr>
          <p:nvPr>
            <p:ph type="body" sz="quarter" idx="26"/>
          </p:nvPr>
        </p:nvSpPr>
        <p:spPr/>
        <p:txBody>
          <a:bodyPr/>
          <a:lstStyle/>
          <a:p>
            <a:endParaRPr lang="en-US"/>
          </a:p>
        </p:txBody>
      </p:sp>
      <p:sp>
        <p:nvSpPr>
          <p:cNvPr id="18" name="Text Placeholder 17">
            <a:extLst>
              <a:ext uri="{FF2B5EF4-FFF2-40B4-BE49-F238E27FC236}">
                <a16:creationId xmlns:a16="http://schemas.microsoft.com/office/drawing/2014/main" id="{8FBECBAF-8C64-D84C-8EFD-53D035430276}"/>
              </a:ext>
            </a:extLst>
          </p:cNvPr>
          <p:cNvSpPr>
            <a:spLocks noGrp="1"/>
          </p:cNvSpPr>
          <p:nvPr>
            <p:ph type="body" sz="quarter" idx="27"/>
          </p:nvPr>
        </p:nvSpPr>
        <p:spPr/>
        <p:txBody>
          <a:bodyPr/>
          <a:lstStyle/>
          <a:p>
            <a:endParaRPr lang="en-US"/>
          </a:p>
        </p:txBody>
      </p:sp>
      <p:sp>
        <p:nvSpPr>
          <p:cNvPr id="19" name="Text Placeholder 18">
            <a:extLst>
              <a:ext uri="{FF2B5EF4-FFF2-40B4-BE49-F238E27FC236}">
                <a16:creationId xmlns:a16="http://schemas.microsoft.com/office/drawing/2014/main" id="{857B6C53-59D2-6241-878E-5B32A1488002}"/>
              </a:ext>
            </a:extLst>
          </p:cNvPr>
          <p:cNvSpPr>
            <a:spLocks noGrp="1"/>
          </p:cNvSpPr>
          <p:nvPr>
            <p:ph type="body" sz="quarter" idx="28"/>
          </p:nvPr>
        </p:nvSpPr>
        <p:spPr/>
        <p:txBody>
          <a:bodyPr/>
          <a:lstStyle/>
          <a:p>
            <a:endParaRPr lang="en-US"/>
          </a:p>
        </p:txBody>
      </p:sp>
      <p:sp>
        <p:nvSpPr>
          <p:cNvPr id="21" name="Picture Placeholder 20">
            <a:extLst>
              <a:ext uri="{FF2B5EF4-FFF2-40B4-BE49-F238E27FC236}">
                <a16:creationId xmlns:a16="http://schemas.microsoft.com/office/drawing/2014/main" id="{15098A48-BE7C-0544-90EC-5E2EA92D113F}"/>
              </a:ext>
            </a:extLst>
          </p:cNvPr>
          <p:cNvSpPr>
            <a:spLocks noGrp="1"/>
          </p:cNvSpPr>
          <p:nvPr>
            <p:ph type="pic" sz="quarter" idx="43"/>
          </p:nvPr>
        </p:nvSpPr>
        <p:spPr/>
      </p:sp>
      <p:sp>
        <p:nvSpPr>
          <p:cNvPr id="22" name="Picture Placeholder 21">
            <a:extLst>
              <a:ext uri="{FF2B5EF4-FFF2-40B4-BE49-F238E27FC236}">
                <a16:creationId xmlns:a16="http://schemas.microsoft.com/office/drawing/2014/main" id="{4505FBE8-83F0-0F4C-845D-55F825AFB8C6}"/>
              </a:ext>
            </a:extLst>
          </p:cNvPr>
          <p:cNvSpPr>
            <a:spLocks noGrp="1"/>
          </p:cNvSpPr>
          <p:nvPr>
            <p:ph type="pic" sz="quarter" idx="44"/>
          </p:nvPr>
        </p:nvSpPr>
        <p:spPr/>
      </p:sp>
      <p:sp>
        <p:nvSpPr>
          <p:cNvPr id="23" name="Picture Placeholder 22">
            <a:extLst>
              <a:ext uri="{FF2B5EF4-FFF2-40B4-BE49-F238E27FC236}">
                <a16:creationId xmlns:a16="http://schemas.microsoft.com/office/drawing/2014/main" id="{641F534C-DBB8-F14D-992F-D9594815458F}"/>
              </a:ext>
            </a:extLst>
          </p:cNvPr>
          <p:cNvSpPr>
            <a:spLocks noGrp="1"/>
          </p:cNvSpPr>
          <p:nvPr>
            <p:ph type="pic" sz="quarter" idx="45"/>
          </p:nvPr>
        </p:nvSpPr>
        <p:spPr/>
      </p:sp>
      <p:sp>
        <p:nvSpPr>
          <p:cNvPr id="24" name="Picture Placeholder 23">
            <a:extLst>
              <a:ext uri="{FF2B5EF4-FFF2-40B4-BE49-F238E27FC236}">
                <a16:creationId xmlns:a16="http://schemas.microsoft.com/office/drawing/2014/main" id="{0A3E2B35-6BC1-3B4B-880F-CFAAA771B3DE}"/>
              </a:ext>
            </a:extLst>
          </p:cNvPr>
          <p:cNvSpPr>
            <a:spLocks noGrp="1"/>
          </p:cNvSpPr>
          <p:nvPr>
            <p:ph type="pic" sz="quarter" idx="46"/>
          </p:nvPr>
        </p:nvSpPr>
        <p:spPr/>
      </p:sp>
      <p:sp>
        <p:nvSpPr>
          <p:cNvPr id="25" name="Text Placeholder 24">
            <a:extLst>
              <a:ext uri="{FF2B5EF4-FFF2-40B4-BE49-F238E27FC236}">
                <a16:creationId xmlns:a16="http://schemas.microsoft.com/office/drawing/2014/main" id="{672B3DDE-5385-1548-BB29-814B500B6384}"/>
              </a:ext>
            </a:extLst>
          </p:cNvPr>
          <p:cNvSpPr>
            <a:spLocks noGrp="1"/>
          </p:cNvSpPr>
          <p:nvPr>
            <p:ph type="body" sz="quarter" idx="47"/>
          </p:nvPr>
        </p:nvSpPr>
        <p:spPr/>
        <p:txBody>
          <a:bodyPr/>
          <a:lstStyle/>
          <a:p>
            <a:endParaRPr lang="en-US"/>
          </a:p>
        </p:txBody>
      </p:sp>
      <p:sp>
        <p:nvSpPr>
          <p:cNvPr id="26" name="Text Placeholder 25">
            <a:extLst>
              <a:ext uri="{FF2B5EF4-FFF2-40B4-BE49-F238E27FC236}">
                <a16:creationId xmlns:a16="http://schemas.microsoft.com/office/drawing/2014/main" id="{C01E72E4-67A4-B744-8DC4-439DFAA599ED}"/>
              </a:ext>
            </a:extLst>
          </p:cNvPr>
          <p:cNvSpPr>
            <a:spLocks noGrp="1"/>
          </p:cNvSpPr>
          <p:nvPr>
            <p:ph type="body" sz="quarter" idx="48"/>
          </p:nvPr>
        </p:nvSpPr>
        <p:spPr/>
        <p:txBody>
          <a:bodyPr/>
          <a:lstStyle/>
          <a:p>
            <a:endParaRPr lang="en-US"/>
          </a:p>
        </p:txBody>
      </p:sp>
      <p:sp>
        <p:nvSpPr>
          <p:cNvPr id="27" name="Text Placeholder 26">
            <a:extLst>
              <a:ext uri="{FF2B5EF4-FFF2-40B4-BE49-F238E27FC236}">
                <a16:creationId xmlns:a16="http://schemas.microsoft.com/office/drawing/2014/main" id="{3D0E3C40-DF93-6245-B0D8-759721CDB2D5}"/>
              </a:ext>
            </a:extLst>
          </p:cNvPr>
          <p:cNvSpPr>
            <a:spLocks noGrp="1"/>
          </p:cNvSpPr>
          <p:nvPr>
            <p:ph type="body" sz="quarter" idx="49"/>
          </p:nvPr>
        </p:nvSpPr>
        <p:spPr/>
        <p:txBody>
          <a:bodyPr/>
          <a:lstStyle/>
          <a:p>
            <a:endParaRPr lang="en-US"/>
          </a:p>
        </p:txBody>
      </p:sp>
      <p:sp>
        <p:nvSpPr>
          <p:cNvPr id="28" name="Text Placeholder 27">
            <a:extLst>
              <a:ext uri="{FF2B5EF4-FFF2-40B4-BE49-F238E27FC236}">
                <a16:creationId xmlns:a16="http://schemas.microsoft.com/office/drawing/2014/main" id="{8384DBDB-4826-AD4D-B471-505AED158422}"/>
              </a:ext>
            </a:extLst>
          </p:cNvPr>
          <p:cNvSpPr>
            <a:spLocks noGrp="1"/>
          </p:cNvSpPr>
          <p:nvPr>
            <p:ph type="body" sz="quarter" idx="50"/>
          </p:nvPr>
        </p:nvSpPr>
        <p:spPr/>
        <p:txBody>
          <a:bodyPr/>
          <a:lstStyle/>
          <a:p>
            <a:endParaRPr lang="en-US"/>
          </a:p>
        </p:txBody>
      </p:sp>
    </p:spTree>
    <p:extLst>
      <p:ext uri="{BB962C8B-B14F-4D97-AF65-F5344CB8AC3E}">
        <p14:creationId xmlns:p14="http://schemas.microsoft.com/office/powerpoint/2010/main" val="14027720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6F38987-0327-F74A-A7F0-5EE2C287AD22}"/>
              </a:ext>
            </a:extLst>
          </p:cNvPr>
          <p:cNvSpPr>
            <a:spLocks noGrp="1"/>
          </p:cNvSpPr>
          <p:nvPr>
            <p:ph type="body" sz="quarter" idx="14"/>
          </p:nvPr>
        </p:nvSpPr>
        <p:spPr/>
        <p:txBody>
          <a:bodyPr/>
          <a:lstStyle/>
          <a:p>
            <a:endParaRPr lang="en-US"/>
          </a:p>
        </p:txBody>
      </p:sp>
      <p:sp>
        <p:nvSpPr>
          <p:cNvPr id="12" name="Picture Placeholder 11">
            <a:extLst>
              <a:ext uri="{FF2B5EF4-FFF2-40B4-BE49-F238E27FC236}">
                <a16:creationId xmlns:a16="http://schemas.microsoft.com/office/drawing/2014/main" id="{3D1B3A44-4297-2B49-99D9-54E3848F3DCC}"/>
              </a:ext>
            </a:extLst>
          </p:cNvPr>
          <p:cNvSpPr>
            <a:spLocks noGrp="1"/>
          </p:cNvSpPr>
          <p:nvPr>
            <p:ph type="pic" idx="1"/>
          </p:nvPr>
        </p:nvSpPr>
        <p:spPr/>
      </p:sp>
      <p:sp>
        <p:nvSpPr>
          <p:cNvPr id="11" name="Title 10">
            <a:extLst>
              <a:ext uri="{FF2B5EF4-FFF2-40B4-BE49-F238E27FC236}">
                <a16:creationId xmlns:a16="http://schemas.microsoft.com/office/drawing/2014/main" id="{E51FE8CA-81DD-9442-A9A2-017637745702}"/>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9060129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EBC8EB0-9C3F-1747-B402-79B385FE040C}"/>
              </a:ext>
            </a:extLst>
          </p:cNvPr>
          <p:cNvSpPr>
            <a:spLocks noGrp="1"/>
          </p:cNvSpPr>
          <p:nvPr>
            <p:ph type="pic" sz="quarter" idx="16"/>
          </p:nvPr>
        </p:nvSpPr>
        <p:spPr/>
      </p:sp>
      <p:sp>
        <p:nvSpPr>
          <p:cNvPr id="11" name="Title 10">
            <a:extLst>
              <a:ext uri="{FF2B5EF4-FFF2-40B4-BE49-F238E27FC236}">
                <a16:creationId xmlns:a16="http://schemas.microsoft.com/office/drawing/2014/main" id="{83A9040E-BC95-764E-BE30-ADCE1BEF2679}"/>
              </a:ext>
            </a:extLst>
          </p:cNvPr>
          <p:cNvSpPr>
            <a:spLocks noGrp="1"/>
          </p:cNvSpPr>
          <p:nvPr>
            <p:ph type="title"/>
          </p:nvPr>
        </p:nvSpPr>
        <p:spPr/>
        <p:txBody>
          <a:bodyPr/>
          <a:lstStyle/>
          <a:p>
            <a:endParaRPr lang="en-US"/>
          </a:p>
        </p:txBody>
      </p:sp>
      <p:sp>
        <p:nvSpPr>
          <p:cNvPr id="13" name="Text Placeholder 12">
            <a:extLst>
              <a:ext uri="{FF2B5EF4-FFF2-40B4-BE49-F238E27FC236}">
                <a16:creationId xmlns:a16="http://schemas.microsoft.com/office/drawing/2014/main" id="{92AC2D23-8C57-EB4D-A0D3-C4951E8F23C0}"/>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2163642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5E64A8AE-142F-9249-88FE-EF84A472F524}"/>
              </a:ext>
            </a:extLst>
          </p:cNvPr>
          <p:cNvSpPr>
            <a:spLocks noGrp="1"/>
          </p:cNvSpPr>
          <p:nvPr>
            <p:ph type="pic" sz="quarter" idx="13"/>
          </p:nvPr>
        </p:nvSpPr>
        <p:spPr/>
      </p:sp>
      <p:sp>
        <p:nvSpPr>
          <p:cNvPr id="11" name="Title 10">
            <a:extLst>
              <a:ext uri="{FF2B5EF4-FFF2-40B4-BE49-F238E27FC236}">
                <a16:creationId xmlns:a16="http://schemas.microsoft.com/office/drawing/2014/main" id="{B646BB41-DF91-D140-87FC-D3009F1F6434}"/>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635235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D2DDBC7-64F2-4F31-9432-48DDB2CAFF69}"/>
              </a:ext>
            </a:extLst>
          </p:cNvPr>
          <p:cNvGrpSpPr/>
          <p:nvPr/>
        </p:nvGrpSpPr>
        <p:grpSpPr>
          <a:xfrm>
            <a:off x="380998" y="1173893"/>
            <a:ext cx="11430000" cy="5138008"/>
            <a:chOff x="380998" y="1371600"/>
            <a:chExt cx="11430000" cy="2143760"/>
          </a:xfrm>
        </p:grpSpPr>
        <p:grpSp>
          <p:nvGrpSpPr>
            <p:cNvPr id="8" name="Group 7">
              <a:extLst>
                <a:ext uri="{FF2B5EF4-FFF2-40B4-BE49-F238E27FC236}">
                  <a16:creationId xmlns:a16="http://schemas.microsoft.com/office/drawing/2014/main" id="{C82F158D-0447-433C-85CD-16B00AD0BDE7}"/>
                </a:ext>
              </a:extLst>
            </p:cNvPr>
            <p:cNvGrpSpPr/>
            <p:nvPr userDrawn="1"/>
          </p:nvGrpSpPr>
          <p:grpSpPr>
            <a:xfrm>
              <a:off x="380998" y="1371600"/>
              <a:ext cx="11430000" cy="1071880"/>
              <a:chOff x="380998" y="1371600"/>
              <a:chExt cx="9397996" cy="1071880"/>
            </a:xfrm>
          </p:grpSpPr>
          <p:sp>
            <p:nvSpPr>
              <p:cNvPr id="18" name="Rectangle 17">
                <a:extLst>
                  <a:ext uri="{FF2B5EF4-FFF2-40B4-BE49-F238E27FC236}">
                    <a16:creationId xmlns:a16="http://schemas.microsoft.com/office/drawing/2014/main" id="{E1D35BBE-95BA-46E1-A3AC-3D1A5C11ED14}"/>
                  </a:ext>
                </a:extLst>
              </p:cNvPr>
              <p:cNvSpPr/>
              <p:nvPr userDrawn="1"/>
            </p:nvSpPr>
            <p:spPr>
              <a:xfrm>
                <a:off x="380998"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1. </a:t>
                </a:r>
              </a:p>
              <a:p>
                <a:pPr marL="0" lvl="0" indent="0" algn="l" defTabSz="914400" rtl="0" eaLnBrk="1" latinLnBrk="0" hangingPunct="1">
                  <a:lnSpc>
                    <a:spcPct val="80000"/>
                  </a:lnSpc>
                  <a:spcAft>
                    <a:spcPts val="600"/>
                  </a:spcAft>
                  <a:buFont typeface="+mj-lt"/>
                  <a:buNone/>
                </a:pPr>
                <a:r>
                  <a:rPr lang="en-US" sz="2400" b="1" i="0" kern="1200" noProof="0" dirty="0">
                    <a:solidFill>
                      <a:schemeClr val="tx1"/>
                    </a:solidFill>
                    <a:effectLst/>
                    <a:latin typeface="+mn-lt"/>
                    <a:ea typeface="+mn-ea"/>
                    <a:cs typeface="+mn-cs"/>
                  </a:rPr>
                  <a:t>Get to </a:t>
                </a:r>
                <a:br>
                  <a:rPr lang="en-US" sz="2400" b="1" i="0" kern="1200" noProof="0" dirty="0">
                    <a:solidFill>
                      <a:schemeClr val="tx1"/>
                    </a:solidFill>
                    <a:effectLst/>
                    <a:latin typeface="+mn-lt"/>
                    <a:ea typeface="+mn-ea"/>
                    <a:cs typeface="+mn-cs"/>
                  </a:rPr>
                </a:br>
                <a:r>
                  <a:rPr lang="en-US" sz="2400" b="1" i="0" kern="1200" noProof="0" dirty="0">
                    <a:solidFill>
                      <a:schemeClr val="tx1"/>
                    </a:solidFill>
                    <a:effectLst/>
                    <a:latin typeface="+mn-lt"/>
                    <a:ea typeface="+mn-ea"/>
                    <a:cs typeface="+mn-cs"/>
                  </a:rPr>
                  <a:t>the point </a:t>
                </a:r>
              </a:p>
              <a:p>
                <a:pPr marL="0" lvl="0" indent="0" algn="l" defTabSz="914400" rtl="0" eaLnBrk="1" latinLnBrk="0" hangingPunct="1">
                  <a:spcAft>
                    <a:spcPts val="1200"/>
                  </a:spcAft>
                  <a:buFont typeface="+mj-lt"/>
                  <a:buNone/>
                </a:pPr>
                <a:r>
                  <a:rPr lang="en-US" sz="1300" b="0" i="0" kern="1200" noProof="0" dirty="0">
                    <a:solidFill>
                      <a:schemeClr val="tx1"/>
                    </a:solidFill>
                    <a:effectLst/>
                    <a:latin typeface="+mn-lt"/>
                    <a:ea typeface="+mn-ea"/>
                    <a:cs typeface="+mn-cs"/>
                  </a:rPr>
                  <a:t>Put benefits front and center with a minimum of distraction. </a:t>
                </a:r>
              </a:p>
            </p:txBody>
          </p:sp>
          <p:sp>
            <p:nvSpPr>
              <p:cNvPr id="19" name="Rectangle 18">
                <a:extLst>
                  <a:ext uri="{FF2B5EF4-FFF2-40B4-BE49-F238E27FC236}">
                    <a16:creationId xmlns:a16="http://schemas.microsoft.com/office/drawing/2014/main" id="{8FFBB9BE-C775-4E01-B788-13F76F577D62}"/>
                  </a:ext>
                </a:extLst>
              </p:cNvPr>
              <p:cNvSpPr/>
              <p:nvPr userDrawn="1"/>
            </p:nvSpPr>
            <p:spPr>
              <a:xfrm>
                <a:off x="2260597"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2.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Speak </a:t>
                </a:r>
                <a:br>
                  <a:rPr lang="en-US" sz="2400" b="1" i="0" kern="1200" dirty="0">
                    <a:solidFill>
                      <a:schemeClr val="tx1"/>
                    </a:solidFill>
                    <a:effectLst/>
                    <a:latin typeface="+mn-lt"/>
                    <a:ea typeface="+mn-ea"/>
                    <a:cs typeface="+mn-cs"/>
                  </a:rPr>
                </a:br>
                <a:r>
                  <a:rPr lang="en-US" sz="2400" b="1" i="0" kern="1200" dirty="0">
                    <a:solidFill>
                      <a:schemeClr val="tx1"/>
                    </a:solidFill>
                    <a:effectLst/>
                    <a:latin typeface="+mn-lt"/>
                    <a:ea typeface="+mn-ea"/>
                    <a:cs typeface="+mn-cs"/>
                  </a:rPr>
                  <a:t>human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People are what matter most to us. Emotions are powerful things. Use them. </a:t>
                </a:r>
              </a:p>
            </p:txBody>
          </p:sp>
          <p:sp>
            <p:nvSpPr>
              <p:cNvPr id="20" name="Rectangle 19">
                <a:extLst>
                  <a:ext uri="{FF2B5EF4-FFF2-40B4-BE49-F238E27FC236}">
                    <a16:creationId xmlns:a16="http://schemas.microsoft.com/office/drawing/2014/main" id="{6C2F4FC5-4DF4-4668-8A74-C50A0A3C1608}"/>
                  </a:ext>
                </a:extLst>
              </p:cNvPr>
              <p:cNvSpPr/>
              <p:nvPr userDrawn="1"/>
            </p:nvSpPr>
            <p:spPr>
              <a:xfrm>
                <a:off x="4140196"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3.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Make it </a:t>
                </a:r>
                <a:br>
                  <a:rPr lang="en-US" sz="2400" b="1" i="0" kern="1200" dirty="0">
                    <a:solidFill>
                      <a:schemeClr val="tx1"/>
                    </a:solidFill>
                    <a:effectLst/>
                    <a:latin typeface="+mn-lt"/>
                    <a:ea typeface="+mn-ea"/>
                    <a:cs typeface="+mn-cs"/>
                  </a:rPr>
                </a:br>
                <a:r>
                  <a:rPr lang="en-US" sz="2400" b="1" i="0" kern="1200" dirty="0">
                    <a:solidFill>
                      <a:schemeClr val="tx1"/>
                    </a:solidFill>
                    <a:effectLst/>
                    <a:latin typeface="+mn-lt"/>
                    <a:ea typeface="+mn-ea"/>
                    <a:cs typeface="+mn-cs"/>
                  </a:rPr>
                  <a:t>visual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Try to replace text with large images or numbers when possible. The majority of your slides’ content (at least 60%) should be visual. Your audience can read. </a:t>
                </a:r>
              </a:p>
            </p:txBody>
          </p:sp>
          <p:sp>
            <p:nvSpPr>
              <p:cNvPr id="21" name="Rectangle 20">
                <a:extLst>
                  <a:ext uri="{FF2B5EF4-FFF2-40B4-BE49-F238E27FC236}">
                    <a16:creationId xmlns:a16="http://schemas.microsoft.com/office/drawing/2014/main" id="{59D79D74-B16C-47D5-AAA9-A2C1505C7EAE}"/>
                  </a:ext>
                </a:extLst>
              </p:cNvPr>
              <p:cNvSpPr/>
              <p:nvPr userDrawn="1"/>
            </p:nvSpPr>
            <p:spPr>
              <a:xfrm>
                <a:off x="6019795"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4.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Kill your darlings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You may have a personal favorite that you spent hours refining. But if that slide doesn’t advance the narrative or offer important new information, lose it. </a:t>
                </a:r>
              </a:p>
            </p:txBody>
          </p:sp>
          <p:sp>
            <p:nvSpPr>
              <p:cNvPr id="22" name="Rectangle 21">
                <a:extLst>
                  <a:ext uri="{FF2B5EF4-FFF2-40B4-BE49-F238E27FC236}">
                    <a16:creationId xmlns:a16="http://schemas.microsoft.com/office/drawing/2014/main" id="{72F74B92-1FFA-442A-A2E4-E9178631B0EA}"/>
                  </a:ext>
                </a:extLst>
              </p:cNvPr>
              <p:cNvSpPr/>
              <p:nvPr userDrawn="1"/>
            </p:nvSpPr>
            <p:spPr>
              <a:xfrm>
                <a:off x="7899394"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5.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Don’t bury </a:t>
                </a:r>
                <a:br>
                  <a:rPr lang="en-US" sz="2400" b="1" i="0" kern="1200" dirty="0">
                    <a:solidFill>
                      <a:schemeClr val="tx1"/>
                    </a:solidFill>
                    <a:effectLst/>
                    <a:latin typeface="+mn-lt"/>
                    <a:ea typeface="+mn-ea"/>
                    <a:cs typeface="+mn-cs"/>
                  </a:rPr>
                </a:br>
                <a:r>
                  <a:rPr lang="en-US" sz="2400" b="1" i="0" kern="1200" dirty="0">
                    <a:solidFill>
                      <a:schemeClr val="tx1"/>
                    </a:solidFill>
                    <a:effectLst/>
                    <a:latin typeface="+mn-lt"/>
                    <a:ea typeface="+mn-ea"/>
                    <a:cs typeface="+mn-cs"/>
                  </a:rPr>
                  <a:t>the lead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It’s a golden rule of journalism, and it holds true here, too. </a:t>
                </a:r>
              </a:p>
            </p:txBody>
          </p:sp>
        </p:grpSp>
        <p:grpSp>
          <p:nvGrpSpPr>
            <p:cNvPr id="9" name="Group 8">
              <a:extLst>
                <a:ext uri="{FF2B5EF4-FFF2-40B4-BE49-F238E27FC236}">
                  <a16:creationId xmlns:a16="http://schemas.microsoft.com/office/drawing/2014/main" id="{345816C1-153A-4E45-B35A-0230CDC056D1}"/>
                </a:ext>
              </a:extLst>
            </p:cNvPr>
            <p:cNvGrpSpPr/>
            <p:nvPr userDrawn="1"/>
          </p:nvGrpSpPr>
          <p:grpSpPr>
            <a:xfrm>
              <a:off x="380998" y="2443480"/>
              <a:ext cx="11429998" cy="1071880"/>
              <a:chOff x="380998" y="1371600"/>
              <a:chExt cx="9397996" cy="1071880"/>
            </a:xfrm>
          </p:grpSpPr>
          <p:sp>
            <p:nvSpPr>
              <p:cNvPr id="10" name="Rectangle 9">
                <a:extLst>
                  <a:ext uri="{FF2B5EF4-FFF2-40B4-BE49-F238E27FC236}">
                    <a16:creationId xmlns:a16="http://schemas.microsoft.com/office/drawing/2014/main" id="{42FBA4F9-2848-47C9-862C-6E5D02C90E70}"/>
                  </a:ext>
                </a:extLst>
              </p:cNvPr>
              <p:cNvSpPr/>
              <p:nvPr userDrawn="1"/>
            </p:nvSpPr>
            <p:spPr>
              <a:xfrm>
                <a:off x="380998"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6.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Be </a:t>
                </a:r>
                <a:br>
                  <a:rPr lang="en-US" sz="2400" b="1" i="0" kern="1200" dirty="0">
                    <a:solidFill>
                      <a:schemeClr val="tx1"/>
                    </a:solidFill>
                    <a:effectLst/>
                    <a:latin typeface="+mn-lt"/>
                    <a:ea typeface="+mn-ea"/>
                    <a:cs typeface="+mn-cs"/>
                  </a:rPr>
                </a:br>
                <a:r>
                  <a:rPr lang="en-US" sz="2400" b="1" i="0" kern="1200" dirty="0">
                    <a:solidFill>
                      <a:schemeClr val="tx1"/>
                    </a:solidFill>
                    <a:effectLst/>
                    <a:latin typeface="+mn-lt"/>
                    <a:ea typeface="+mn-ea"/>
                    <a:cs typeface="+mn-cs"/>
                  </a:rPr>
                  <a:t>provocative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Don’t be afraid to explore emotions and thoughts in the service of your idea. </a:t>
                </a:r>
              </a:p>
            </p:txBody>
          </p:sp>
          <p:sp>
            <p:nvSpPr>
              <p:cNvPr id="11" name="Rectangle 10">
                <a:extLst>
                  <a:ext uri="{FF2B5EF4-FFF2-40B4-BE49-F238E27FC236}">
                    <a16:creationId xmlns:a16="http://schemas.microsoft.com/office/drawing/2014/main" id="{8D1632EC-60F4-47C8-95E6-C21B7B4FC1AE}"/>
                  </a:ext>
                </a:extLst>
              </p:cNvPr>
              <p:cNvSpPr/>
              <p:nvPr userDrawn="1"/>
            </p:nvSpPr>
            <p:spPr>
              <a:xfrm>
                <a:off x="2260597"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7.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Use visual </a:t>
                </a:r>
                <a:r>
                  <a:rPr lang="en-US" sz="2400" b="1" dirty="0">
                    <a:solidFill>
                      <a:schemeClr val="tx1"/>
                    </a:solidFill>
                  </a:rPr>
                  <a:t>c</a:t>
                </a:r>
                <a:r>
                  <a:rPr lang="en-US" sz="2400" b="1" i="0" kern="1200" dirty="0">
                    <a:solidFill>
                      <a:schemeClr val="tx1"/>
                    </a:solidFill>
                    <a:effectLst/>
                    <a:latin typeface="+mn-lt"/>
                    <a:ea typeface="+mn-ea"/>
                    <a:cs typeface="+mn-cs"/>
                  </a:rPr>
                  <a:t>hapters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Doing the same thing page after page is a recipe for boredom. Mix it up. Give eyes and attention spans a break by sprinkling in bold thematic imagery. </a:t>
                </a:r>
              </a:p>
            </p:txBody>
          </p:sp>
          <p:sp>
            <p:nvSpPr>
              <p:cNvPr id="12" name="Rectangle 11">
                <a:extLst>
                  <a:ext uri="{FF2B5EF4-FFF2-40B4-BE49-F238E27FC236}">
                    <a16:creationId xmlns:a16="http://schemas.microsoft.com/office/drawing/2014/main" id="{42F62ED1-D254-4352-B5A3-A1AE130DBC26}"/>
                  </a:ext>
                </a:extLst>
              </p:cNvPr>
              <p:cNvSpPr/>
              <p:nvPr userDrawn="1"/>
            </p:nvSpPr>
            <p:spPr>
              <a:xfrm>
                <a:off x="4140196"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8.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Be </a:t>
                </a:r>
                <a:br>
                  <a:rPr lang="en-US" sz="2400" b="1" i="0" kern="1200" dirty="0">
                    <a:solidFill>
                      <a:schemeClr val="tx1"/>
                    </a:solidFill>
                    <a:effectLst/>
                    <a:latin typeface="+mn-lt"/>
                    <a:ea typeface="+mn-ea"/>
                    <a:cs typeface="+mn-cs"/>
                  </a:rPr>
                </a:br>
                <a:r>
                  <a:rPr lang="en-US" sz="2400" b="1" i="0" kern="1200" dirty="0">
                    <a:solidFill>
                      <a:schemeClr val="tx1"/>
                    </a:solidFill>
                    <a:effectLst/>
                    <a:latin typeface="+mn-lt"/>
                    <a:ea typeface="+mn-ea"/>
                    <a:cs typeface="+mn-cs"/>
                  </a:rPr>
                  <a:t>concise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Use 20 words or less. Ruthlessly edit yourself. Minimum text; maximum impact. </a:t>
                </a:r>
              </a:p>
            </p:txBody>
          </p:sp>
          <p:sp>
            <p:nvSpPr>
              <p:cNvPr id="14" name="Rectangle 13">
                <a:extLst>
                  <a:ext uri="{FF2B5EF4-FFF2-40B4-BE49-F238E27FC236}">
                    <a16:creationId xmlns:a16="http://schemas.microsoft.com/office/drawing/2014/main" id="{544F41DE-106B-4F63-B3D7-EEB566680532}"/>
                  </a:ext>
                </a:extLst>
              </p:cNvPr>
              <p:cNvSpPr/>
              <p:nvPr userDrawn="1"/>
            </p:nvSpPr>
            <p:spPr>
              <a:xfrm>
                <a:off x="6019795"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9.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Go </a:t>
                </a:r>
                <a:r>
                  <a:rPr lang="en-US" sz="2400" b="1" dirty="0">
                    <a:solidFill>
                      <a:schemeClr val="tx1"/>
                    </a:solidFill>
                  </a:rPr>
                  <a:t>e</a:t>
                </a:r>
                <a:r>
                  <a:rPr lang="en-US" sz="2400" b="1" i="0" kern="1200" dirty="0">
                    <a:solidFill>
                      <a:schemeClr val="tx1"/>
                    </a:solidFill>
                    <a:effectLst/>
                    <a:latin typeface="+mn-lt"/>
                    <a:ea typeface="+mn-ea"/>
                    <a:cs typeface="+mn-cs"/>
                  </a:rPr>
                  <a:t>asy </a:t>
                </a:r>
                <a:br>
                  <a:rPr lang="en-US" sz="2400" b="1" i="0" kern="1200" dirty="0">
                    <a:solidFill>
                      <a:schemeClr val="tx1"/>
                    </a:solidFill>
                    <a:effectLst/>
                    <a:latin typeface="+mn-lt"/>
                    <a:ea typeface="+mn-ea"/>
                    <a:cs typeface="+mn-cs"/>
                  </a:rPr>
                </a:br>
                <a:r>
                  <a:rPr lang="en-US" sz="2400" b="1" i="0" kern="1200" dirty="0">
                    <a:solidFill>
                      <a:schemeClr val="tx1"/>
                    </a:solidFill>
                    <a:effectLst/>
                    <a:latin typeface="+mn-lt"/>
                    <a:ea typeface="+mn-ea"/>
                    <a:cs typeface="+mn-cs"/>
                  </a:rPr>
                  <a:t>on the eyes </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Make your text 16-point or larger. Your audience (and their optometrists) will thank you. Text won’t fit? Refer back to rule #8.</a:t>
                </a:r>
              </a:p>
            </p:txBody>
          </p:sp>
          <p:sp>
            <p:nvSpPr>
              <p:cNvPr id="17" name="Rectangle 16">
                <a:extLst>
                  <a:ext uri="{FF2B5EF4-FFF2-40B4-BE49-F238E27FC236}">
                    <a16:creationId xmlns:a16="http://schemas.microsoft.com/office/drawing/2014/main" id="{3130399E-A5A7-47A6-B529-330BDE276E72}"/>
                  </a:ext>
                </a:extLst>
              </p:cNvPr>
              <p:cNvSpPr/>
              <p:nvPr userDrawn="1"/>
            </p:nvSpPr>
            <p:spPr>
              <a:xfrm>
                <a:off x="7899394" y="1371600"/>
                <a:ext cx="1879600" cy="1071880"/>
              </a:xfrm>
              <a:prstGeom prst="rect">
                <a:avLst/>
              </a:prstGeom>
              <a:pattFill prst="dkUpDiag">
                <a:fgClr>
                  <a:schemeClr val="bg2"/>
                </a:fgClr>
                <a:bgClr>
                  <a:schemeClr val="bg1"/>
                </a:bgClr>
              </a:patt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2880" tIns="137160" rIns="9144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endParaRPr lang="en-US" sz="1300" b="0" i="0" kern="1200" dirty="0">
                  <a:solidFill>
                    <a:schemeClr val="tx1"/>
                  </a:solidFill>
                  <a:effectLst/>
                  <a:latin typeface="+mn-lt"/>
                  <a:ea typeface="+mn-ea"/>
                  <a:cs typeface="+mn-cs"/>
                </a:endParaRPr>
              </a:p>
            </p:txBody>
          </p:sp>
        </p:grpSp>
      </p:grpSp>
      <p:sp>
        <p:nvSpPr>
          <p:cNvPr id="16" name="Title 15">
            <a:extLst>
              <a:ext uri="{FF2B5EF4-FFF2-40B4-BE49-F238E27FC236}">
                <a16:creationId xmlns:a16="http://schemas.microsoft.com/office/drawing/2014/main" id="{A2AD61CE-9FDB-4F62-9AD2-A7DEB3E14762}"/>
              </a:ext>
            </a:extLst>
          </p:cNvPr>
          <p:cNvSpPr>
            <a:spLocks noGrp="1"/>
          </p:cNvSpPr>
          <p:nvPr>
            <p:ph type="title"/>
          </p:nvPr>
        </p:nvSpPr>
        <p:spPr/>
        <p:txBody>
          <a:bodyPr/>
          <a:lstStyle/>
          <a:p>
            <a:r>
              <a:rPr lang="en-GB" dirty="0"/>
              <a:t>How to make your story impactful</a:t>
            </a:r>
            <a:endParaRPr lang="en-US" dirty="0"/>
          </a:p>
        </p:txBody>
      </p:sp>
    </p:spTree>
    <p:extLst>
      <p:ext uri="{BB962C8B-B14F-4D97-AF65-F5344CB8AC3E}">
        <p14:creationId xmlns:p14="http://schemas.microsoft.com/office/powerpoint/2010/main" val="18353363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A8211D1E-B3A7-BB4A-B6F4-EE60A215F1FD}"/>
              </a:ext>
            </a:extLst>
          </p:cNvPr>
          <p:cNvSpPr>
            <a:spLocks noGrp="1"/>
          </p:cNvSpPr>
          <p:nvPr>
            <p:ph type="body" sz="quarter" idx="18"/>
          </p:nvPr>
        </p:nvSpPr>
        <p:spPr/>
        <p:txBody>
          <a:bodyPr/>
          <a:lstStyle/>
          <a:p>
            <a:endParaRPr lang="en-US"/>
          </a:p>
        </p:txBody>
      </p:sp>
      <p:sp>
        <p:nvSpPr>
          <p:cNvPr id="12" name="Picture Placeholder 11">
            <a:extLst>
              <a:ext uri="{FF2B5EF4-FFF2-40B4-BE49-F238E27FC236}">
                <a16:creationId xmlns:a16="http://schemas.microsoft.com/office/drawing/2014/main" id="{E0F65561-0871-E54A-9821-3B3DCBE4B1D9}"/>
              </a:ext>
            </a:extLst>
          </p:cNvPr>
          <p:cNvSpPr>
            <a:spLocks noGrp="1"/>
          </p:cNvSpPr>
          <p:nvPr>
            <p:ph type="pic" sz="quarter" idx="16"/>
          </p:nvPr>
        </p:nvSpPr>
        <p:spPr/>
      </p:sp>
      <p:sp>
        <p:nvSpPr>
          <p:cNvPr id="11" name="Text Placeholder 10">
            <a:extLst>
              <a:ext uri="{FF2B5EF4-FFF2-40B4-BE49-F238E27FC236}">
                <a16:creationId xmlns:a16="http://schemas.microsoft.com/office/drawing/2014/main" id="{189ACD39-A752-6841-8B85-FCB359D4F9EC}"/>
              </a:ext>
            </a:extLst>
          </p:cNvPr>
          <p:cNvSpPr>
            <a:spLocks noGrp="1"/>
          </p:cNvSpPr>
          <p:nvPr>
            <p:ph type="body" sz="quarter" idx="13"/>
          </p:nvPr>
        </p:nvSpPr>
        <p:spPr/>
        <p:txBody>
          <a:bodyPr/>
          <a:lstStyle/>
          <a:p>
            <a:endParaRPr lang="en-US"/>
          </a:p>
        </p:txBody>
      </p:sp>
      <p:sp>
        <p:nvSpPr>
          <p:cNvPr id="13" name="Text Placeholder 12">
            <a:extLst>
              <a:ext uri="{FF2B5EF4-FFF2-40B4-BE49-F238E27FC236}">
                <a16:creationId xmlns:a16="http://schemas.microsoft.com/office/drawing/2014/main" id="{4AC483B2-6B14-DE48-8A2F-A7FBAE760466}"/>
              </a:ext>
            </a:extLst>
          </p:cNvPr>
          <p:cNvSpPr>
            <a:spLocks noGrp="1"/>
          </p:cNvSpPr>
          <p:nvPr>
            <p:ph type="body" sz="quarter" idx="17"/>
          </p:nvPr>
        </p:nvSpPr>
        <p:spPr/>
        <p:txBody>
          <a:bodyPr/>
          <a:lstStyle/>
          <a:p>
            <a:endParaRPr lang="en-US"/>
          </a:p>
        </p:txBody>
      </p:sp>
      <p:sp>
        <p:nvSpPr>
          <p:cNvPr id="15" name="Text Placeholder 14">
            <a:extLst>
              <a:ext uri="{FF2B5EF4-FFF2-40B4-BE49-F238E27FC236}">
                <a16:creationId xmlns:a16="http://schemas.microsoft.com/office/drawing/2014/main" id="{820FEC21-313E-2B4B-9F20-D4C9A426294D}"/>
              </a:ext>
            </a:extLst>
          </p:cNvPr>
          <p:cNvSpPr>
            <a:spLocks noGrp="1"/>
          </p:cNvSpPr>
          <p:nvPr>
            <p:ph type="body" sz="quarter" idx="19"/>
          </p:nvPr>
        </p:nvSpPr>
        <p:spPr/>
        <p:txBody>
          <a:bodyPr/>
          <a:lstStyle/>
          <a:p>
            <a:endParaRPr lang="en-US"/>
          </a:p>
        </p:txBody>
      </p:sp>
      <p:sp>
        <p:nvSpPr>
          <p:cNvPr id="16" name="Text Placeholder 15">
            <a:extLst>
              <a:ext uri="{FF2B5EF4-FFF2-40B4-BE49-F238E27FC236}">
                <a16:creationId xmlns:a16="http://schemas.microsoft.com/office/drawing/2014/main" id="{F0CAEB8E-27A7-6842-9EFE-281B9B0F9F0C}"/>
              </a:ext>
            </a:extLst>
          </p:cNvPr>
          <p:cNvSpPr>
            <a:spLocks noGrp="1"/>
          </p:cNvSpPr>
          <p:nvPr>
            <p:ph type="body" sz="quarter" idx="21"/>
          </p:nvPr>
        </p:nvSpPr>
        <p:spPr/>
        <p:txBody>
          <a:bodyPr/>
          <a:lstStyle/>
          <a:p>
            <a:endParaRPr lang="en-US"/>
          </a:p>
        </p:txBody>
      </p:sp>
      <p:sp>
        <p:nvSpPr>
          <p:cNvPr id="17" name="Text Placeholder 16">
            <a:extLst>
              <a:ext uri="{FF2B5EF4-FFF2-40B4-BE49-F238E27FC236}">
                <a16:creationId xmlns:a16="http://schemas.microsoft.com/office/drawing/2014/main" id="{95914D48-4C3E-B342-8EC8-799D268376E9}"/>
              </a:ext>
            </a:extLst>
          </p:cNvPr>
          <p:cNvSpPr>
            <a:spLocks noGrp="1"/>
          </p:cNvSpPr>
          <p:nvPr>
            <p:ph type="body" sz="quarter" idx="22"/>
          </p:nvPr>
        </p:nvSpPr>
        <p:spPr/>
        <p:txBody>
          <a:bodyPr/>
          <a:lstStyle/>
          <a:p>
            <a:endParaRPr lang="en-US"/>
          </a:p>
        </p:txBody>
      </p:sp>
      <p:sp>
        <p:nvSpPr>
          <p:cNvPr id="18" name="Text Placeholder 17">
            <a:extLst>
              <a:ext uri="{FF2B5EF4-FFF2-40B4-BE49-F238E27FC236}">
                <a16:creationId xmlns:a16="http://schemas.microsoft.com/office/drawing/2014/main" id="{71DEC0A9-BFF2-2147-9002-CFCF9EED92C4}"/>
              </a:ext>
            </a:extLst>
          </p:cNvPr>
          <p:cNvSpPr>
            <a:spLocks noGrp="1"/>
          </p:cNvSpPr>
          <p:nvPr>
            <p:ph type="body" sz="quarter" idx="23"/>
          </p:nvPr>
        </p:nvSpPr>
        <p:spPr/>
        <p:txBody>
          <a:bodyPr/>
          <a:lstStyle/>
          <a:p>
            <a:endParaRPr lang="en-US"/>
          </a:p>
        </p:txBody>
      </p:sp>
      <p:sp>
        <p:nvSpPr>
          <p:cNvPr id="19" name="Text Placeholder 18">
            <a:extLst>
              <a:ext uri="{FF2B5EF4-FFF2-40B4-BE49-F238E27FC236}">
                <a16:creationId xmlns:a16="http://schemas.microsoft.com/office/drawing/2014/main" id="{0E237D0C-C3AA-F542-AEDF-376212054A1D}"/>
              </a:ext>
            </a:extLst>
          </p:cNvPr>
          <p:cNvSpPr>
            <a:spLocks noGrp="1"/>
          </p:cNvSpPr>
          <p:nvPr>
            <p:ph type="body" sz="quarter" idx="24"/>
          </p:nvPr>
        </p:nvSpPr>
        <p:spPr/>
        <p:txBody>
          <a:bodyPr/>
          <a:lstStyle/>
          <a:p>
            <a:endParaRPr lang="en-US"/>
          </a:p>
        </p:txBody>
      </p:sp>
    </p:spTree>
    <p:extLst>
      <p:ext uri="{BB962C8B-B14F-4D97-AF65-F5344CB8AC3E}">
        <p14:creationId xmlns:p14="http://schemas.microsoft.com/office/powerpoint/2010/main" val="29023985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67C455C-AAAF-BD44-851F-337029E1CEFB}"/>
              </a:ext>
            </a:extLst>
          </p:cNvPr>
          <p:cNvSpPr>
            <a:spLocks noGrp="1"/>
          </p:cNvSpPr>
          <p:nvPr>
            <p:ph type="pic" sz="quarter" idx="16"/>
          </p:nvPr>
        </p:nvSpPr>
        <p:spPr/>
      </p:sp>
      <p:sp>
        <p:nvSpPr>
          <p:cNvPr id="12" name="Text Placeholder 11">
            <a:extLst>
              <a:ext uri="{FF2B5EF4-FFF2-40B4-BE49-F238E27FC236}">
                <a16:creationId xmlns:a16="http://schemas.microsoft.com/office/drawing/2014/main" id="{C598346A-F692-A846-BD37-939C9216027D}"/>
              </a:ext>
            </a:extLst>
          </p:cNvPr>
          <p:cNvSpPr>
            <a:spLocks noGrp="1"/>
          </p:cNvSpPr>
          <p:nvPr>
            <p:ph type="body" sz="quarter" idx="17"/>
          </p:nvPr>
        </p:nvSpPr>
        <p:spPr/>
        <p:txBody>
          <a:bodyPr/>
          <a:lstStyle/>
          <a:p>
            <a:endParaRPr lang="en-US"/>
          </a:p>
        </p:txBody>
      </p:sp>
      <p:sp>
        <p:nvSpPr>
          <p:cNvPr id="13" name="Text Placeholder 12">
            <a:extLst>
              <a:ext uri="{FF2B5EF4-FFF2-40B4-BE49-F238E27FC236}">
                <a16:creationId xmlns:a16="http://schemas.microsoft.com/office/drawing/2014/main" id="{D715E4AF-8DA0-244C-89A3-461B3A97CC2B}"/>
              </a:ext>
            </a:extLst>
          </p:cNvPr>
          <p:cNvSpPr>
            <a:spLocks noGrp="1"/>
          </p:cNvSpPr>
          <p:nvPr>
            <p:ph type="body" sz="quarter" idx="18"/>
          </p:nvPr>
        </p:nvSpPr>
        <p:spPr/>
        <p:txBody>
          <a:bodyPr/>
          <a:lstStyle/>
          <a:p>
            <a:endParaRPr lang="en-US"/>
          </a:p>
        </p:txBody>
      </p:sp>
      <p:sp>
        <p:nvSpPr>
          <p:cNvPr id="14" name="Text Placeholder 13">
            <a:extLst>
              <a:ext uri="{FF2B5EF4-FFF2-40B4-BE49-F238E27FC236}">
                <a16:creationId xmlns:a16="http://schemas.microsoft.com/office/drawing/2014/main" id="{7EBEDF0C-1ACC-124B-905D-6FAA51FE06AC}"/>
              </a:ext>
            </a:extLst>
          </p:cNvPr>
          <p:cNvSpPr>
            <a:spLocks noGrp="1"/>
          </p:cNvSpPr>
          <p:nvPr>
            <p:ph type="body" sz="quarter" idx="19"/>
          </p:nvPr>
        </p:nvSpPr>
        <p:spPr/>
        <p:txBody>
          <a:bodyPr/>
          <a:lstStyle/>
          <a:p>
            <a:endParaRPr lang="en-US"/>
          </a:p>
        </p:txBody>
      </p:sp>
      <p:sp>
        <p:nvSpPr>
          <p:cNvPr id="15" name="Text Placeholder 14">
            <a:extLst>
              <a:ext uri="{FF2B5EF4-FFF2-40B4-BE49-F238E27FC236}">
                <a16:creationId xmlns:a16="http://schemas.microsoft.com/office/drawing/2014/main" id="{358F4CD4-FCC7-5649-B7F7-312A649EA642}"/>
              </a:ext>
            </a:extLst>
          </p:cNvPr>
          <p:cNvSpPr>
            <a:spLocks noGrp="1"/>
          </p:cNvSpPr>
          <p:nvPr>
            <p:ph type="body" sz="quarter" idx="20"/>
          </p:nvPr>
        </p:nvSpPr>
        <p:spPr/>
        <p:txBody>
          <a:bodyPr/>
          <a:lstStyle/>
          <a:p>
            <a:endParaRPr lang="en-US"/>
          </a:p>
        </p:txBody>
      </p:sp>
      <p:sp>
        <p:nvSpPr>
          <p:cNvPr id="16" name="Text Placeholder 15">
            <a:extLst>
              <a:ext uri="{FF2B5EF4-FFF2-40B4-BE49-F238E27FC236}">
                <a16:creationId xmlns:a16="http://schemas.microsoft.com/office/drawing/2014/main" id="{FD94A822-D675-0E48-B3CF-3252E25F8C00}"/>
              </a:ext>
            </a:extLst>
          </p:cNvPr>
          <p:cNvSpPr>
            <a:spLocks noGrp="1"/>
          </p:cNvSpPr>
          <p:nvPr>
            <p:ph type="body" sz="quarter" idx="21"/>
          </p:nvPr>
        </p:nvSpPr>
        <p:spPr/>
        <p:txBody>
          <a:bodyPr/>
          <a:lstStyle/>
          <a:p>
            <a:endParaRPr lang="en-US"/>
          </a:p>
        </p:txBody>
      </p:sp>
      <p:sp>
        <p:nvSpPr>
          <p:cNvPr id="17" name="Text Placeholder 16">
            <a:extLst>
              <a:ext uri="{FF2B5EF4-FFF2-40B4-BE49-F238E27FC236}">
                <a16:creationId xmlns:a16="http://schemas.microsoft.com/office/drawing/2014/main" id="{2D54B0C2-E956-1F4A-A74D-D52AF2340625}"/>
              </a:ext>
            </a:extLst>
          </p:cNvPr>
          <p:cNvSpPr>
            <a:spLocks noGrp="1"/>
          </p:cNvSpPr>
          <p:nvPr>
            <p:ph type="body" sz="quarter" idx="22"/>
          </p:nvPr>
        </p:nvSpPr>
        <p:spPr/>
        <p:txBody>
          <a:bodyPr/>
          <a:lstStyle/>
          <a:p>
            <a:endParaRPr lang="en-US"/>
          </a:p>
        </p:txBody>
      </p:sp>
      <p:sp>
        <p:nvSpPr>
          <p:cNvPr id="18" name="Picture Placeholder 17">
            <a:extLst>
              <a:ext uri="{FF2B5EF4-FFF2-40B4-BE49-F238E27FC236}">
                <a16:creationId xmlns:a16="http://schemas.microsoft.com/office/drawing/2014/main" id="{1C42F368-0EA1-E648-9888-838BAD716B4E}"/>
              </a:ext>
            </a:extLst>
          </p:cNvPr>
          <p:cNvSpPr>
            <a:spLocks noGrp="1"/>
          </p:cNvSpPr>
          <p:nvPr>
            <p:ph type="pic" sz="quarter" idx="23"/>
          </p:nvPr>
        </p:nvSpPr>
        <p:spPr/>
      </p:sp>
      <p:sp>
        <p:nvSpPr>
          <p:cNvPr id="19" name="Text Placeholder 18">
            <a:extLst>
              <a:ext uri="{FF2B5EF4-FFF2-40B4-BE49-F238E27FC236}">
                <a16:creationId xmlns:a16="http://schemas.microsoft.com/office/drawing/2014/main" id="{884EE478-A9C5-9543-894B-4372D469F39F}"/>
              </a:ext>
            </a:extLst>
          </p:cNvPr>
          <p:cNvSpPr>
            <a:spLocks noGrp="1"/>
          </p:cNvSpPr>
          <p:nvPr>
            <p:ph type="body" sz="quarter" idx="24"/>
          </p:nvPr>
        </p:nvSpPr>
        <p:spPr/>
        <p:txBody>
          <a:bodyPr/>
          <a:lstStyle/>
          <a:p>
            <a:endParaRPr lang="en-US"/>
          </a:p>
        </p:txBody>
      </p:sp>
      <p:sp>
        <p:nvSpPr>
          <p:cNvPr id="20" name="Text Placeholder 19">
            <a:extLst>
              <a:ext uri="{FF2B5EF4-FFF2-40B4-BE49-F238E27FC236}">
                <a16:creationId xmlns:a16="http://schemas.microsoft.com/office/drawing/2014/main" id="{A501B59B-F215-5548-B302-CD7DBE1E01C7}"/>
              </a:ext>
            </a:extLst>
          </p:cNvPr>
          <p:cNvSpPr>
            <a:spLocks noGrp="1"/>
          </p:cNvSpPr>
          <p:nvPr>
            <p:ph type="body" sz="quarter" idx="25"/>
          </p:nvPr>
        </p:nvSpPr>
        <p:spPr/>
        <p:txBody>
          <a:bodyPr/>
          <a:lstStyle/>
          <a:p>
            <a:endParaRPr lang="en-US"/>
          </a:p>
        </p:txBody>
      </p:sp>
      <p:sp>
        <p:nvSpPr>
          <p:cNvPr id="21" name="Text Placeholder 20">
            <a:extLst>
              <a:ext uri="{FF2B5EF4-FFF2-40B4-BE49-F238E27FC236}">
                <a16:creationId xmlns:a16="http://schemas.microsoft.com/office/drawing/2014/main" id="{50BEBD39-ABC3-3248-9F8E-C6365F1165BC}"/>
              </a:ext>
            </a:extLst>
          </p:cNvPr>
          <p:cNvSpPr>
            <a:spLocks noGrp="1"/>
          </p:cNvSpPr>
          <p:nvPr>
            <p:ph type="body" sz="quarter" idx="26"/>
          </p:nvPr>
        </p:nvSpPr>
        <p:spPr/>
        <p:txBody>
          <a:bodyPr/>
          <a:lstStyle/>
          <a:p>
            <a:endParaRPr lang="en-US"/>
          </a:p>
        </p:txBody>
      </p:sp>
    </p:spTree>
    <p:extLst>
      <p:ext uri="{BB962C8B-B14F-4D97-AF65-F5344CB8AC3E}">
        <p14:creationId xmlns:p14="http://schemas.microsoft.com/office/powerpoint/2010/main" val="10444342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3E5B545-0B82-4145-A5F9-DDE860A6F90E}"/>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980262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1E7D1E4-0F9F-DC4D-852A-1DD64A95716B}"/>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9491421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00068498-1DDC-EB4F-9E24-224FA74A09C5}"/>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2333728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2E46911-36BF-534C-B2CB-2B8BF34964BD}"/>
              </a:ext>
            </a:extLst>
          </p:cNvPr>
          <p:cNvSpPr>
            <a:spLocks noGrp="1"/>
          </p:cNvSpPr>
          <p:nvPr>
            <p:ph type="pic" sz="quarter" idx="13"/>
          </p:nvPr>
        </p:nvSpPr>
        <p:spPr/>
      </p:sp>
      <p:sp>
        <p:nvSpPr>
          <p:cNvPr id="11" name="Title 10">
            <a:extLst>
              <a:ext uri="{FF2B5EF4-FFF2-40B4-BE49-F238E27FC236}">
                <a16:creationId xmlns:a16="http://schemas.microsoft.com/office/drawing/2014/main" id="{FCDA553B-AA0F-6C4D-9564-FD79AB0943D0}"/>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8356932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3C2EC15-3152-3349-9061-7A8E9B1753F1}"/>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A6348CE5-0CF0-7044-A987-F49D956D5922}"/>
              </a:ext>
            </a:extLst>
          </p:cNvPr>
          <p:cNvSpPr>
            <a:spLocks noGrp="1"/>
          </p:cNvSpPr>
          <p:nvPr>
            <p:ph type="sldNum" sz="quarter" idx="4294967295"/>
          </p:nvPr>
        </p:nvSpPr>
        <p:spPr>
          <a:xfrm>
            <a:off x="11811000" y="6477000"/>
            <a:ext cx="381000" cy="207963"/>
          </a:xfrm>
        </p:spPr>
        <p:txBody>
          <a:bodyPr/>
          <a:lstStyle/>
          <a:p>
            <a:pPr algn="r" defTabSz="228600">
              <a:spcAft>
                <a:spcPts val="1200"/>
              </a:spcAft>
            </a:pPr>
            <a:fld id="{CC9E6EB9-168E-4914-8CC7-2E853AFB4F1B}" type="slidenum">
              <a:rPr lang="en-GB" smtClean="0"/>
              <a:pPr algn="r" defTabSz="228600">
                <a:spcAft>
                  <a:spcPts val="1200"/>
                </a:spcAft>
              </a:pPr>
              <a:t>56</a:t>
            </a:fld>
            <a:endParaRPr lang="en-GB"/>
          </a:p>
        </p:txBody>
      </p:sp>
    </p:spTree>
    <p:extLst>
      <p:ext uri="{BB962C8B-B14F-4D97-AF65-F5344CB8AC3E}">
        <p14:creationId xmlns:p14="http://schemas.microsoft.com/office/powerpoint/2010/main" val="31222778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97BEC26-8BC4-0F4C-BBDF-027CEB7DE3C8}"/>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3F7A0BAE-181E-D340-BE9F-5E3477988D68}"/>
              </a:ext>
            </a:extLst>
          </p:cNvPr>
          <p:cNvSpPr>
            <a:spLocks noGrp="1"/>
          </p:cNvSpPr>
          <p:nvPr>
            <p:ph type="sldNum" sz="quarter" idx="4294967295"/>
          </p:nvPr>
        </p:nvSpPr>
        <p:spPr>
          <a:xfrm>
            <a:off x="11811000" y="6477000"/>
            <a:ext cx="381000" cy="207963"/>
          </a:xfrm>
        </p:spPr>
        <p:txBody>
          <a:bodyPr/>
          <a:lstStyle/>
          <a:p>
            <a:pPr algn="r" defTabSz="228600">
              <a:spcAft>
                <a:spcPts val="1200"/>
              </a:spcAft>
            </a:pPr>
            <a:fld id="{CC9E6EB9-168E-4914-8CC7-2E853AFB4F1B}" type="slidenum">
              <a:rPr lang="en-GB" smtClean="0"/>
              <a:pPr algn="r" defTabSz="228600">
                <a:spcAft>
                  <a:spcPts val="1200"/>
                </a:spcAft>
              </a:pPr>
              <a:t>57</a:t>
            </a:fld>
            <a:endParaRPr lang="en-GB"/>
          </a:p>
        </p:txBody>
      </p:sp>
    </p:spTree>
    <p:extLst>
      <p:ext uri="{BB962C8B-B14F-4D97-AF65-F5344CB8AC3E}">
        <p14:creationId xmlns:p14="http://schemas.microsoft.com/office/powerpoint/2010/main" val="19872182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86DCA-E252-45B6-8790-F0CA74EA47D8}"/>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1852451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26449-81B9-48EC-A5A8-A278FD073C99}"/>
              </a:ext>
            </a:extLst>
          </p:cNvPr>
          <p:cNvSpPr>
            <a:spLocks noGrp="1"/>
          </p:cNvSpPr>
          <p:nvPr>
            <p:ph type="title"/>
          </p:nvPr>
        </p:nvSpPr>
        <p:spPr/>
        <p:txBody>
          <a:bodyPr/>
          <a:lstStyle/>
          <a:p>
            <a:r>
              <a:rPr lang="en-US" dirty="0"/>
              <a:t>Visuals Library</a:t>
            </a:r>
          </a:p>
        </p:txBody>
      </p:sp>
    </p:spTree>
    <p:extLst>
      <p:ext uri="{BB962C8B-B14F-4D97-AF65-F5344CB8AC3E}">
        <p14:creationId xmlns:p14="http://schemas.microsoft.com/office/powerpoint/2010/main" val="246870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2AD61CE-9FDB-4F62-9AD2-A7DEB3E14762}"/>
              </a:ext>
            </a:extLst>
          </p:cNvPr>
          <p:cNvSpPr>
            <a:spLocks noGrp="1"/>
          </p:cNvSpPr>
          <p:nvPr>
            <p:ph type="title"/>
          </p:nvPr>
        </p:nvSpPr>
        <p:spPr/>
        <p:txBody>
          <a:bodyPr/>
          <a:lstStyle/>
          <a:p>
            <a:r>
              <a:rPr lang="en-GB" dirty="0"/>
              <a:t>How to structure a great story</a:t>
            </a:r>
            <a:endParaRPr lang="en-US" dirty="0"/>
          </a:p>
        </p:txBody>
      </p:sp>
      <p:grpSp>
        <p:nvGrpSpPr>
          <p:cNvPr id="23" name="Group 22">
            <a:extLst>
              <a:ext uri="{FF2B5EF4-FFF2-40B4-BE49-F238E27FC236}">
                <a16:creationId xmlns:a16="http://schemas.microsoft.com/office/drawing/2014/main" id="{94E30C5E-5A2F-4374-81B5-8D48AD9C09AE}"/>
              </a:ext>
            </a:extLst>
          </p:cNvPr>
          <p:cNvGrpSpPr/>
          <p:nvPr/>
        </p:nvGrpSpPr>
        <p:grpSpPr>
          <a:xfrm>
            <a:off x="380998" y="1173893"/>
            <a:ext cx="11430000" cy="2569004"/>
            <a:chOff x="380998" y="1371600"/>
            <a:chExt cx="7518397" cy="1071880"/>
          </a:xfrm>
        </p:grpSpPr>
        <p:sp>
          <p:nvSpPr>
            <p:cNvPr id="24" name="Rectangle 23">
              <a:extLst>
                <a:ext uri="{FF2B5EF4-FFF2-40B4-BE49-F238E27FC236}">
                  <a16:creationId xmlns:a16="http://schemas.microsoft.com/office/drawing/2014/main" id="{61530518-F5D5-4E8C-AA43-027FBD832E97}"/>
                </a:ext>
              </a:extLst>
            </p:cNvPr>
            <p:cNvSpPr/>
            <p:nvPr userDrawn="1"/>
          </p:nvSpPr>
          <p:spPr>
            <a:xfrm>
              <a:off x="380998"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lvl="0" indent="0" algn="l" defTabSz="914400" rtl="0" eaLnBrk="1" latinLnBrk="0" hangingPunct="1">
                <a:lnSpc>
                  <a:spcPct val="100000"/>
                </a:lnSpc>
                <a:spcAft>
                  <a:spcPts val="600"/>
                </a:spcAft>
                <a:buFont typeface="+mj-lt"/>
                <a:buNone/>
              </a:pPr>
              <a:r>
                <a:rPr lang="en-US" sz="1400" b="1" i="0" kern="1200" noProof="0" dirty="0">
                  <a:solidFill>
                    <a:schemeClr val="accent1"/>
                  </a:solidFill>
                  <a:effectLst/>
                  <a:latin typeface="+mn-lt"/>
                  <a:ea typeface="+mn-ea"/>
                  <a:cs typeface="+mn-cs"/>
                </a:rPr>
                <a:t>1. </a:t>
              </a:r>
            </a:p>
            <a:p>
              <a:pPr marL="0" lvl="0" indent="0" algn="l" defTabSz="914400" rtl="0" eaLnBrk="1" latinLnBrk="0" hangingPunct="1">
                <a:lnSpc>
                  <a:spcPct val="80000"/>
                </a:lnSpc>
                <a:spcAft>
                  <a:spcPts val="600"/>
                </a:spcAft>
                <a:buFont typeface="+mj-lt"/>
                <a:buNone/>
              </a:pPr>
              <a:r>
                <a:rPr lang="en-US" sz="2400" b="1" i="0" kern="1200" noProof="0" dirty="0">
                  <a:solidFill>
                    <a:schemeClr val="tx1"/>
                  </a:solidFill>
                  <a:effectLst/>
                  <a:latin typeface="+mn-lt"/>
                  <a:ea typeface="+mn-ea"/>
                  <a:cs typeface="+mn-cs"/>
                </a:rPr>
                <a:t>The </a:t>
              </a:r>
              <a:br>
                <a:rPr lang="en-US" sz="2400" b="1" i="0" kern="1200" noProof="0" dirty="0">
                  <a:solidFill>
                    <a:schemeClr val="tx1"/>
                  </a:solidFill>
                  <a:effectLst/>
                  <a:latin typeface="+mn-lt"/>
                  <a:ea typeface="+mn-ea"/>
                  <a:cs typeface="+mn-cs"/>
                </a:rPr>
              </a:br>
              <a:r>
                <a:rPr lang="en-US" sz="2400" b="1" i="0" kern="1200" noProof="0" dirty="0">
                  <a:solidFill>
                    <a:schemeClr val="tx1"/>
                  </a:solidFill>
                  <a:effectLst/>
                  <a:latin typeface="+mn-lt"/>
                  <a:ea typeface="+mn-ea"/>
                  <a:cs typeface="+mn-cs"/>
                </a:rPr>
                <a:t>hook</a:t>
              </a:r>
            </a:p>
            <a:p>
              <a:pPr marL="0" lvl="0" indent="0" algn="l" defTabSz="914400" rtl="0" eaLnBrk="1" latinLnBrk="0" hangingPunct="1">
                <a:spcAft>
                  <a:spcPts val="1200"/>
                </a:spcAft>
                <a:buFont typeface="+mj-lt"/>
                <a:buNone/>
              </a:pPr>
              <a:r>
                <a:rPr lang="en-US" sz="1300" b="0" i="0" kern="1200" noProof="0" dirty="0">
                  <a:solidFill>
                    <a:schemeClr val="tx1"/>
                  </a:solidFill>
                  <a:effectLst/>
                  <a:latin typeface="+mn-lt"/>
                  <a:ea typeface="+mn-ea"/>
                  <a:cs typeface="+mn-cs"/>
                </a:rPr>
                <a:t>Tell a personal story, make a startling assertion, or introduce a “what if” scenario that sparks imagination. </a:t>
              </a:r>
            </a:p>
          </p:txBody>
        </p:sp>
        <p:sp>
          <p:nvSpPr>
            <p:cNvPr id="25" name="Rectangle 24">
              <a:extLst>
                <a:ext uri="{FF2B5EF4-FFF2-40B4-BE49-F238E27FC236}">
                  <a16:creationId xmlns:a16="http://schemas.microsoft.com/office/drawing/2014/main" id="{53118592-8F2B-48E3-A164-B71C50A9C8A7}"/>
                </a:ext>
              </a:extLst>
            </p:cNvPr>
            <p:cNvSpPr/>
            <p:nvPr userDrawn="1"/>
          </p:nvSpPr>
          <p:spPr>
            <a:xfrm>
              <a:off x="2260597"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2.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Characters and context</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Set the stage by introducing the people, places, things, and events that have led to this moment. Your audience is always the hero. </a:t>
              </a:r>
            </a:p>
          </p:txBody>
        </p:sp>
        <p:sp>
          <p:nvSpPr>
            <p:cNvPr id="26" name="Rectangle 25">
              <a:extLst>
                <a:ext uri="{FF2B5EF4-FFF2-40B4-BE49-F238E27FC236}">
                  <a16:creationId xmlns:a16="http://schemas.microsoft.com/office/drawing/2014/main" id="{A096AB3C-CA9B-49F3-A7EA-514ABF3F96DA}"/>
                </a:ext>
              </a:extLst>
            </p:cNvPr>
            <p:cNvSpPr/>
            <p:nvPr userDrawn="1"/>
          </p:nvSpPr>
          <p:spPr>
            <a:xfrm>
              <a:off x="4140196"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3.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A mission and destination</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Paint a picture of what your audience wants to achieve and what they’re setting out to do. </a:t>
              </a:r>
            </a:p>
          </p:txBody>
        </p:sp>
        <p:sp>
          <p:nvSpPr>
            <p:cNvPr id="27" name="Rectangle 26">
              <a:extLst>
                <a:ext uri="{FF2B5EF4-FFF2-40B4-BE49-F238E27FC236}">
                  <a16:creationId xmlns:a16="http://schemas.microsoft.com/office/drawing/2014/main" id="{5E356BB1-6929-4384-9F2F-2E51599C2025}"/>
                </a:ext>
              </a:extLst>
            </p:cNvPr>
            <p:cNvSpPr/>
            <p:nvPr userDrawn="1"/>
          </p:nvSpPr>
          <p:spPr>
            <a:xfrm>
              <a:off x="6019795"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4.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A “monster” or big </a:t>
              </a:r>
              <a:r>
                <a:rPr lang="en-US" sz="2400" b="1" dirty="0">
                  <a:solidFill>
                    <a:schemeClr val="tx1"/>
                  </a:solidFill>
                </a:rPr>
                <a:t>c</a:t>
              </a:r>
              <a:r>
                <a:rPr lang="en-US" sz="2400" b="1" i="0" kern="1200" dirty="0">
                  <a:solidFill>
                    <a:schemeClr val="tx1"/>
                  </a:solidFill>
                  <a:effectLst/>
                  <a:latin typeface="+mn-lt"/>
                  <a:ea typeface="+mn-ea"/>
                  <a:cs typeface="+mn-cs"/>
                </a:rPr>
                <a:t>hallenge</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Describe what’s in their way – what makes this journey difficult and what they will need to overcome to be successful.</a:t>
              </a:r>
            </a:p>
          </p:txBody>
        </p:sp>
      </p:grpSp>
      <p:grpSp>
        <p:nvGrpSpPr>
          <p:cNvPr id="28" name="Group 27">
            <a:extLst>
              <a:ext uri="{FF2B5EF4-FFF2-40B4-BE49-F238E27FC236}">
                <a16:creationId xmlns:a16="http://schemas.microsoft.com/office/drawing/2014/main" id="{A3DD175C-72E2-4CA8-87BA-9D6F9953F8CA}"/>
              </a:ext>
            </a:extLst>
          </p:cNvPr>
          <p:cNvGrpSpPr/>
          <p:nvPr/>
        </p:nvGrpSpPr>
        <p:grpSpPr>
          <a:xfrm>
            <a:off x="380998" y="3742897"/>
            <a:ext cx="11429999" cy="2569004"/>
            <a:chOff x="380998" y="1371600"/>
            <a:chExt cx="7518397" cy="1071880"/>
          </a:xfrm>
        </p:grpSpPr>
        <p:sp>
          <p:nvSpPr>
            <p:cNvPr id="29" name="Rectangle 28">
              <a:extLst>
                <a:ext uri="{FF2B5EF4-FFF2-40B4-BE49-F238E27FC236}">
                  <a16:creationId xmlns:a16="http://schemas.microsoft.com/office/drawing/2014/main" id="{4BF121E6-5123-43B3-AD74-D5CDB3B71D59}"/>
                </a:ext>
              </a:extLst>
            </p:cNvPr>
            <p:cNvSpPr/>
            <p:nvPr userDrawn="1"/>
          </p:nvSpPr>
          <p:spPr>
            <a:xfrm>
              <a:off x="380998"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5.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New “</a:t>
              </a:r>
              <a:r>
                <a:rPr lang="en-US" sz="2400" b="1" dirty="0">
                  <a:solidFill>
                    <a:schemeClr val="tx1"/>
                  </a:solidFill>
                </a:rPr>
                <a:t>s</a:t>
              </a:r>
              <a:r>
                <a:rPr lang="en-US" sz="2400" b="1" i="0" kern="1200" dirty="0">
                  <a:solidFill>
                    <a:schemeClr val="tx1"/>
                  </a:solidFill>
                  <a:effectLst/>
                  <a:latin typeface="+mn-lt"/>
                  <a:ea typeface="+mn-ea"/>
                  <a:cs typeface="+mn-cs"/>
                </a:rPr>
                <a:t>uper </a:t>
              </a:r>
              <a:r>
                <a:rPr lang="en-US" sz="2400" b="1" dirty="0">
                  <a:solidFill>
                    <a:schemeClr val="tx1"/>
                  </a:solidFill>
                </a:rPr>
                <a:t>p</a:t>
              </a:r>
              <a:r>
                <a:rPr lang="en-US" sz="2400" b="1" i="0" kern="1200" dirty="0">
                  <a:solidFill>
                    <a:schemeClr val="tx1"/>
                  </a:solidFill>
                  <a:effectLst/>
                  <a:latin typeface="+mn-lt"/>
                  <a:ea typeface="+mn-ea"/>
                  <a:cs typeface="+mn-cs"/>
                </a:rPr>
                <a:t>owers</a:t>
              </a:r>
              <a:r>
                <a:rPr lang="en-US" sz="2400" b="1" dirty="0">
                  <a:solidFill>
                    <a:schemeClr val="tx1"/>
                  </a:solidFill>
                </a:rPr>
                <a:t>”</a:t>
              </a:r>
              <a:endParaRPr lang="en-US" sz="2400" b="1" i="0" kern="1200" dirty="0">
                <a:solidFill>
                  <a:schemeClr val="tx1"/>
                </a:solidFill>
                <a:effectLst/>
                <a:latin typeface="+mn-lt"/>
                <a:ea typeface="+mn-ea"/>
                <a:cs typeface="+mn-cs"/>
              </a:endParaRP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Share the 3-4 capabilities or solutions that will help your audience defeat the monster and reach their destination. </a:t>
              </a:r>
            </a:p>
          </p:txBody>
        </p:sp>
        <p:sp>
          <p:nvSpPr>
            <p:cNvPr id="30" name="Rectangle 29">
              <a:extLst>
                <a:ext uri="{FF2B5EF4-FFF2-40B4-BE49-F238E27FC236}">
                  <a16:creationId xmlns:a16="http://schemas.microsoft.com/office/drawing/2014/main" id="{27AEBD42-0E2D-45A3-9517-5D6B600595F5}"/>
                </a:ext>
              </a:extLst>
            </p:cNvPr>
            <p:cNvSpPr/>
            <p:nvPr userDrawn="1"/>
          </p:nvSpPr>
          <p:spPr>
            <a:xfrm>
              <a:off x="2260597"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6.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A climax or outcome</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Reveal the ultimate outcome when the monster is defeated and the destination is reached.</a:t>
              </a:r>
            </a:p>
          </p:txBody>
        </p:sp>
        <p:sp>
          <p:nvSpPr>
            <p:cNvPr id="31" name="Rectangle 30">
              <a:extLst>
                <a:ext uri="{FF2B5EF4-FFF2-40B4-BE49-F238E27FC236}">
                  <a16:creationId xmlns:a16="http://schemas.microsoft.com/office/drawing/2014/main" id="{E159A6F0-53C0-4CD4-94B5-21FBCA066B87}"/>
                </a:ext>
              </a:extLst>
            </p:cNvPr>
            <p:cNvSpPr/>
            <p:nvPr userDrawn="1"/>
          </p:nvSpPr>
          <p:spPr>
            <a:xfrm>
              <a:off x="4140196" y="1371600"/>
              <a:ext cx="1879600" cy="10718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0" rtlCol="0" anchor="t"/>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lang="en-US" sz="1400" b="1" i="0" kern="1200" noProof="0" dirty="0">
                  <a:solidFill>
                    <a:schemeClr val="accent1"/>
                  </a:solidFill>
                  <a:effectLst/>
                  <a:latin typeface="+mn-lt"/>
                  <a:ea typeface="+mn-ea"/>
                  <a:cs typeface="+mn-cs"/>
                </a:rPr>
                <a:t>7. </a:t>
              </a:r>
            </a:p>
            <a:p>
              <a:pPr marL="0" lvl="0" indent="0" algn="l" defTabSz="914400" rtl="0" eaLnBrk="1" latinLnBrk="0" hangingPunct="1">
                <a:lnSpc>
                  <a:spcPct val="80000"/>
                </a:lnSpc>
                <a:spcAft>
                  <a:spcPts val="600"/>
                </a:spcAft>
                <a:buFont typeface="+mj-lt"/>
                <a:buNone/>
              </a:pPr>
              <a:r>
                <a:rPr lang="en-US" sz="2400" b="1" i="0" kern="1200" dirty="0">
                  <a:solidFill>
                    <a:schemeClr val="tx1"/>
                  </a:solidFill>
                  <a:effectLst/>
                  <a:latin typeface="+mn-lt"/>
                  <a:ea typeface="+mn-ea"/>
                  <a:cs typeface="+mn-cs"/>
                </a:rPr>
                <a:t>A new </a:t>
              </a:r>
              <a:r>
                <a:rPr lang="en-US" sz="2400" b="1" dirty="0">
                  <a:solidFill>
                    <a:schemeClr val="tx1"/>
                  </a:solidFill>
                </a:rPr>
                <a:t>l</a:t>
              </a:r>
              <a:r>
                <a:rPr lang="en-US" sz="2400" b="1" i="0" kern="1200" dirty="0">
                  <a:solidFill>
                    <a:schemeClr val="tx1"/>
                  </a:solidFill>
                  <a:effectLst/>
                  <a:latin typeface="+mn-lt"/>
                  <a:ea typeface="+mn-ea"/>
                  <a:cs typeface="+mn-cs"/>
                </a:rPr>
                <a:t>ife with new </a:t>
              </a:r>
              <a:r>
                <a:rPr lang="en-US" sz="2400" b="1" dirty="0">
                  <a:solidFill>
                    <a:schemeClr val="tx1"/>
                  </a:solidFill>
                </a:rPr>
                <a:t>a</a:t>
              </a:r>
              <a:r>
                <a:rPr lang="en-US" sz="2400" b="1" i="0" kern="1200" dirty="0">
                  <a:solidFill>
                    <a:schemeClr val="tx1"/>
                  </a:solidFill>
                  <a:effectLst/>
                  <a:latin typeface="+mn-lt"/>
                  <a:ea typeface="+mn-ea"/>
                  <a:cs typeface="+mn-cs"/>
                </a:rPr>
                <a:t>ction</a:t>
              </a:r>
            </a:p>
            <a:p>
              <a:pPr marL="0" lvl="0" indent="0" algn="l" defTabSz="914400" rtl="0" eaLnBrk="1" latinLnBrk="0" hangingPunct="1">
                <a:spcAft>
                  <a:spcPts val="1200"/>
                </a:spcAft>
                <a:buFont typeface="+mj-lt"/>
                <a:buNone/>
              </a:pPr>
              <a:r>
                <a:rPr lang="en-US" sz="1300" b="0" i="0" kern="1200" dirty="0">
                  <a:solidFill>
                    <a:schemeClr val="tx1"/>
                  </a:solidFill>
                  <a:effectLst/>
                  <a:latin typeface="+mn-lt"/>
                  <a:ea typeface="+mn-ea"/>
                  <a:cs typeface="+mn-cs"/>
                </a:rPr>
                <a:t>Tell your audience about the first step on their journey – the action you want them to take. </a:t>
              </a:r>
            </a:p>
          </p:txBody>
        </p:sp>
        <p:sp>
          <p:nvSpPr>
            <p:cNvPr id="32" name="Rectangle 31">
              <a:extLst>
                <a:ext uri="{FF2B5EF4-FFF2-40B4-BE49-F238E27FC236}">
                  <a16:creationId xmlns:a16="http://schemas.microsoft.com/office/drawing/2014/main" id="{4C3A9D30-210F-42F6-95A5-8A13295B6885}"/>
                </a:ext>
              </a:extLst>
            </p:cNvPr>
            <p:cNvSpPr/>
            <p:nvPr userDrawn="1"/>
          </p:nvSpPr>
          <p:spPr>
            <a:xfrm>
              <a:off x="6019795" y="1371600"/>
              <a:ext cx="1879600" cy="1071880"/>
            </a:xfrm>
            <a:prstGeom prst="rect">
              <a:avLst/>
            </a:prstGeom>
            <a:pattFill prst="dkUpDiag">
              <a:fgClr>
                <a:schemeClr val="bg2"/>
              </a:fgClr>
              <a:bgClr>
                <a:schemeClr val="bg1"/>
              </a:bgClr>
            </a:patt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2880" tIns="137160" rIns="91440" bIns="0" rtlCol="0" anchor="t"/>
            <a:lstStyle/>
            <a:p>
              <a:pPr marR="0" lvl="0" indent="0" fontAlgn="auto">
                <a:lnSpc>
                  <a:spcPct val="100000"/>
                </a:lnSpc>
                <a:spcBef>
                  <a:spcPts val="0"/>
                </a:spcBef>
                <a:spcAft>
                  <a:spcPts val="600"/>
                </a:spcAft>
                <a:buClrTx/>
                <a:buSzTx/>
                <a:buFont typeface="+mj-lt"/>
                <a:buNone/>
                <a:tabLst/>
              </a:pPr>
              <a:endParaRPr lang="en-US" sz="1300" b="0" i="0" dirty="0">
                <a:solidFill>
                  <a:schemeClr val="tx1"/>
                </a:solidFill>
                <a:effectLst/>
              </a:endParaRPr>
            </a:p>
          </p:txBody>
        </p:sp>
      </p:grpSp>
    </p:spTree>
    <p:extLst>
      <p:ext uri="{BB962C8B-B14F-4D97-AF65-F5344CB8AC3E}">
        <p14:creationId xmlns:p14="http://schemas.microsoft.com/office/powerpoint/2010/main" val="39201646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cxnSp>
        <p:nvCxnSpPr>
          <p:cNvPr id="484" name="Straight Connector 483">
            <a:extLst>
              <a:ext uri="{FF2B5EF4-FFF2-40B4-BE49-F238E27FC236}">
                <a16:creationId xmlns:a16="http://schemas.microsoft.com/office/drawing/2014/main" id="{F67A17E7-3A80-4BF9-9898-515F5A1D344C}"/>
              </a:ext>
            </a:extLst>
          </p:cNvPr>
          <p:cNvCxnSpPr>
            <a:cxnSpLocks/>
            <a:stCxn id="67" idx="4"/>
            <a:endCxn id="404" idx="0"/>
          </p:cNvCxnSpPr>
          <p:nvPr/>
        </p:nvCxnSpPr>
        <p:spPr>
          <a:xfrm>
            <a:off x="453672" y="2107987"/>
            <a:ext cx="0" cy="7728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2EF5FEA7-980D-44A0-BF0E-C838D4E8330E}"/>
              </a:ext>
            </a:extLst>
          </p:cNvPr>
          <p:cNvCxnSpPr>
            <a:cxnSpLocks/>
            <a:stCxn id="407" idx="4"/>
            <a:endCxn id="413" idx="0"/>
          </p:cNvCxnSpPr>
          <p:nvPr/>
        </p:nvCxnSpPr>
        <p:spPr>
          <a:xfrm>
            <a:off x="453672" y="3944338"/>
            <a:ext cx="0" cy="169100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B7D6C339-6D72-4F82-B2DB-5194C5C54EDE}"/>
              </a:ext>
            </a:extLst>
          </p:cNvPr>
          <p:cNvCxnSpPr>
            <a:cxnSpLocks/>
            <a:stCxn id="451" idx="4"/>
            <a:endCxn id="446" idx="0"/>
          </p:cNvCxnSpPr>
          <p:nvPr/>
        </p:nvCxnSpPr>
        <p:spPr>
          <a:xfrm>
            <a:off x="4553101" y="3638277"/>
            <a:ext cx="0" cy="107888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EAA04FE5-FCF1-48AD-AA10-9513B85A4978}"/>
              </a:ext>
            </a:extLst>
          </p:cNvPr>
          <p:cNvCxnSpPr>
            <a:cxnSpLocks/>
            <a:stCxn id="463" idx="4"/>
            <a:endCxn id="468" idx="0"/>
          </p:cNvCxnSpPr>
          <p:nvPr/>
        </p:nvCxnSpPr>
        <p:spPr>
          <a:xfrm>
            <a:off x="8652531" y="2107987"/>
            <a:ext cx="0" cy="18248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78AC4FF8-4A76-445A-9CCA-956DC8B7A434}"/>
              </a:ext>
            </a:extLst>
          </p:cNvPr>
          <p:cNvCxnSpPr>
            <a:cxnSpLocks/>
            <a:stCxn id="439" idx="4"/>
            <a:endCxn id="441" idx="0"/>
          </p:cNvCxnSpPr>
          <p:nvPr/>
        </p:nvCxnSpPr>
        <p:spPr>
          <a:xfrm>
            <a:off x="4553101" y="2107987"/>
            <a:ext cx="0" cy="46676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D0E9C4C-A9BF-440B-A91B-7B9CD5585DAE}"/>
              </a:ext>
            </a:extLst>
          </p:cNvPr>
          <p:cNvSpPr>
            <a:spLocks noGrp="1"/>
          </p:cNvSpPr>
          <p:nvPr>
            <p:ph type="title"/>
          </p:nvPr>
        </p:nvSpPr>
        <p:spPr/>
        <p:txBody>
          <a:bodyPr/>
          <a:lstStyle/>
          <a:p>
            <a:r>
              <a:rPr lang="en-US" dirty="0"/>
              <a:t>Index</a:t>
            </a:r>
          </a:p>
        </p:txBody>
      </p:sp>
      <p:sp>
        <p:nvSpPr>
          <p:cNvPr id="4" name="TextBox 3">
            <a:extLst>
              <a:ext uri="{FF2B5EF4-FFF2-40B4-BE49-F238E27FC236}">
                <a16:creationId xmlns:a16="http://schemas.microsoft.com/office/drawing/2014/main" id="{398133E7-5D42-4BC5-A3A6-3C73FB7E1F07}"/>
              </a:ext>
            </a:extLst>
          </p:cNvPr>
          <p:cNvSpPr txBox="1"/>
          <p:nvPr/>
        </p:nvSpPr>
        <p:spPr>
          <a:xfrm>
            <a:off x="380999" y="927847"/>
            <a:ext cx="11429981" cy="5002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The visuals are organized into categories. Click on the chart type to go to that section of the presentation. </a:t>
            </a:r>
            <a:br>
              <a:rPr kumimoji="0" lang="en-IE"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br>
            <a:r>
              <a:rPr kumimoji="0" lang="en-IE"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Or, put the presentation in ‘slide sorter’ mode to see an overview of all the diagrams.</a:t>
            </a:r>
            <a:endPar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endParaRPr>
          </a:p>
        </p:txBody>
      </p:sp>
      <p:sp>
        <p:nvSpPr>
          <p:cNvPr id="295" name="Rectangle 294">
            <a:hlinkClick r:id="rId3" action="ppaction://hlinksldjump"/>
            <a:extLst>
              <a:ext uri="{FF2B5EF4-FFF2-40B4-BE49-F238E27FC236}">
                <a16:creationId xmlns:a16="http://schemas.microsoft.com/office/drawing/2014/main" id="{539A531D-973F-43B3-AFCF-C640677B3990}"/>
              </a:ext>
            </a:extLst>
          </p:cNvPr>
          <p:cNvSpPr/>
          <p:nvPr/>
        </p:nvSpPr>
        <p:spPr>
          <a:xfrm>
            <a:off x="380998" y="1590756"/>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Charts</a:t>
            </a:r>
          </a:p>
        </p:txBody>
      </p:sp>
      <p:sp>
        <p:nvSpPr>
          <p:cNvPr id="296" name="Rectangle 295">
            <a:hlinkClick r:id="rId4" action="ppaction://hlinksldjump"/>
            <a:extLst>
              <a:ext uri="{FF2B5EF4-FFF2-40B4-BE49-F238E27FC236}">
                <a16:creationId xmlns:a16="http://schemas.microsoft.com/office/drawing/2014/main" id="{EF5EDD05-FB9B-48DB-8310-708B7DE1418B}"/>
              </a:ext>
            </a:extLst>
          </p:cNvPr>
          <p:cNvSpPr/>
          <p:nvPr/>
        </p:nvSpPr>
        <p:spPr>
          <a:xfrm>
            <a:off x="4480427" y="1590756"/>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Processes</a:t>
            </a:r>
          </a:p>
        </p:txBody>
      </p:sp>
      <p:sp>
        <p:nvSpPr>
          <p:cNvPr id="297" name="Rectangle 296">
            <a:hlinkClick r:id="rId5" action="ppaction://hlinksldjump"/>
            <a:extLst>
              <a:ext uri="{FF2B5EF4-FFF2-40B4-BE49-F238E27FC236}">
                <a16:creationId xmlns:a16="http://schemas.microsoft.com/office/drawing/2014/main" id="{EE76D075-EEB8-4F3E-AF27-F8AEABA2A070}"/>
              </a:ext>
            </a:extLst>
          </p:cNvPr>
          <p:cNvSpPr/>
          <p:nvPr/>
        </p:nvSpPr>
        <p:spPr>
          <a:xfrm>
            <a:off x="8579857" y="1590756"/>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Standard Visuals</a:t>
            </a:r>
          </a:p>
        </p:txBody>
      </p:sp>
      <p:sp>
        <p:nvSpPr>
          <p:cNvPr id="3" name="TextBox 2">
            <a:hlinkClick r:id="rId6" action="ppaction://hlinksldjump"/>
            <a:extLst>
              <a:ext uri="{FF2B5EF4-FFF2-40B4-BE49-F238E27FC236}">
                <a16:creationId xmlns:a16="http://schemas.microsoft.com/office/drawing/2014/main" id="{23B9E390-0D2F-406D-9BA9-FDBEC52E2CB5}"/>
              </a:ext>
            </a:extLst>
          </p:cNvPr>
          <p:cNvSpPr txBox="1"/>
          <p:nvPr/>
        </p:nvSpPr>
        <p:spPr bwMode="auto">
          <a:xfrm>
            <a:off x="380999" y="6027423"/>
            <a:ext cx="2529841" cy="293721"/>
          </a:xfrm>
          <a:prstGeom prst="rect">
            <a:avLst/>
          </a:prstGeom>
          <a:noFill/>
          <a:ln w="15875">
            <a:solidFill>
              <a:schemeClr val="accent1"/>
            </a:solidFill>
            <a:prstDash val="sysDash"/>
          </a:ln>
        </p:spPr>
        <p:txBody>
          <a:bodyPr wrap="square" lIns="0" tIns="0" rIns="0" bIns="0" rtlCol="0" anchor="ctr">
            <a:noAutofit/>
          </a:bodyPr>
          <a:lstStyle/>
          <a:p>
            <a:pPr marL="174625" marR="0" lvl="0" indent="-174625" algn="ctr" defTabSz="914400" rtl="0" eaLnBrk="1" fontAlgn="auto" latinLnBrk="0" hangingPunct="1">
              <a:lnSpc>
                <a:spcPct val="100000"/>
              </a:lnSpc>
              <a:spcBef>
                <a:spcPts val="100"/>
              </a:spcBef>
              <a:spcAft>
                <a:spcPts val="100"/>
              </a:spcAft>
              <a:buClrTx/>
              <a:buSzTx/>
              <a:buFontTx/>
              <a:buNone/>
              <a:tabLst/>
              <a:defRPr/>
            </a:pPr>
            <a:r>
              <a:rPr kumimoji="0" lang="en-US" sz="1200" b="1" i="0" u="none" strike="noStrike" kern="1200" cap="all" spc="0" normalizeH="0" baseline="0" noProof="0" dirty="0">
                <a:ln>
                  <a:noFill/>
                </a:ln>
                <a:solidFill>
                  <a:srgbClr val="A100FF"/>
                </a:solidFill>
                <a:effectLst/>
                <a:uLnTx/>
                <a:uFillTx/>
                <a:latin typeface="Graphik" panose="020B0503030202060203" pitchFamily="34" charset="0"/>
                <a:ea typeface="+mn-ea"/>
                <a:cs typeface="+mn-cs"/>
              </a:rPr>
              <a:t>Hints for drawing charts</a:t>
            </a:r>
          </a:p>
        </p:txBody>
      </p:sp>
      <p:sp>
        <p:nvSpPr>
          <p:cNvPr id="394" name="Rectangle 393">
            <a:hlinkClick r:id="rId7" action="ppaction://hlinksldjump"/>
            <a:extLst>
              <a:ext uri="{FF2B5EF4-FFF2-40B4-BE49-F238E27FC236}">
                <a16:creationId xmlns:a16="http://schemas.microsoft.com/office/drawing/2014/main" id="{4D8AD287-ADF1-4AD3-9468-37ED0204FE0A}"/>
              </a:ext>
            </a:extLst>
          </p:cNvPr>
          <p:cNvSpPr/>
          <p:nvPr/>
        </p:nvSpPr>
        <p:spPr>
          <a:xfrm>
            <a:off x="380998" y="3427104"/>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Dynamic Concepts</a:t>
            </a:r>
          </a:p>
        </p:txBody>
      </p:sp>
      <p:sp>
        <p:nvSpPr>
          <p:cNvPr id="67" name="Oval 66">
            <a:extLst>
              <a:ext uri="{FF2B5EF4-FFF2-40B4-BE49-F238E27FC236}">
                <a16:creationId xmlns:a16="http://schemas.microsoft.com/office/drawing/2014/main" id="{74929FFF-B375-4812-A7E4-7F91DE926980}"/>
              </a:ext>
            </a:extLst>
          </p:cNvPr>
          <p:cNvSpPr/>
          <p:nvPr/>
        </p:nvSpPr>
        <p:spPr>
          <a:xfrm>
            <a:off x="380998" y="196263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02" name="Oval 401">
            <a:extLst>
              <a:ext uri="{FF2B5EF4-FFF2-40B4-BE49-F238E27FC236}">
                <a16:creationId xmlns:a16="http://schemas.microsoft.com/office/drawing/2014/main" id="{4A479143-DDA2-46C1-8E2C-922C56683946}"/>
              </a:ext>
            </a:extLst>
          </p:cNvPr>
          <p:cNvSpPr/>
          <p:nvPr/>
        </p:nvSpPr>
        <p:spPr>
          <a:xfrm>
            <a:off x="380998" y="226869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03" name="Oval 402">
            <a:extLst>
              <a:ext uri="{FF2B5EF4-FFF2-40B4-BE49-F238E27FC236}">
                <a16:creationId xmlns:a16="http://schemas.microsoft.com/office/drawing/2014/main" id="{F42CA058-6D83-4FB1-AB7D-A58D7F0FF8A8}"/>
              </a:ext>
            </a:extLst>
          </p:cNvPr>
          <p:cNvSpPr/>
          <p:nvPr/>
        </p:nvSpPr>
        <p:spPr>
          <a:xfrm>
            <a:off x="380998" y="257475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04" name="Oval 403">
            <a:extLst>
              <a:ext uri="{FF2B5EF4-FFF2-40B4-BE49-F238E27FC236}">
                <a16:creationId xmlns:a16="http://schemas.microsoft.com/office/drawing/2014/main" id="{6FD6C501-9A7E-40D6-BB2D-6100DC9F99C3}"/>
              </a:ext>
            </a:extLst>
          </p:cNvPr>
          <p:cNvSpPr/>
          <p:nvPr/>
        </p:nvSpPr>
        <p:spPr>
          <a:xfrm>
            <a:off x="380998" y="2880815"/>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07" name="Oval 406">
            <a:extLst>
              <a:ext uri="{FF2B5EF4-FFF2-40B4-BE49-F238E27FC236}">
                <a16:creationId xmlns:a16="http://schemas.microsoft.com/office/drawing/2014/main" id="{1BE2A245-345C-4455-8C01-2CFD39A539DB}"/>
              </a:ext>
            </a:extLst>
          </p:cNvPr>
          <p:cNvSpPr/>
          <p:nvPr/>
        </p:nvSpPr>
        <p:spPr>
          <a:xfrm>
            <a:off x="380998" y="3798990"/>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08" name="Oval 407">
            <a:extLst>
              <a:ext uri="{FF2B5EF4-FFF2-40B4-BE49-F238E27FC236}">
                <a16:creationId xmlns:a16="http://schemas.microsoft.com/office/drawing/2014/main" id="{983F549C-52F0-4D1F-8081-FD0043FB8B36}"/>
              </a:ext>
            </a:extLst>
          </p:cNvPr>
          <p:cNvSpPr/>
          <p:nvPr/>
        </p:nvSpPr>
        <p:spPr>
          <a:xfrm>
            <a:off x="380998" y="410504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09" name="Oval 408">
            <a:extLst>
              <a:ext uri="{FF2B5EF4-FFF2-40B4-BE49-F238E27FC236}">
                <a16:creationId xmlns:a16="http://schemas.microsoft.com/office/drawing/2014/main" id="{E7495D8E-3806-401F-B503-929DD9EB810E}"/>
              </a:ext>
            </a:extLst>
          </p:cNvPr>
          <p:cNvSpPr/>
          <p:nvPr/>
        </p:nvSpPr>
        <p:spPr>
          <a:xfrm>
            <a:off x="380998" y="441110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10" name="Oval 409">
            <a:extLst>
              <a:ext uri="{FF2B5EF4-FFF2-40B4-BE49-F238E27FC236}">
                <a16:creationId xmlns:a16="http://schemas.microsoft.com/office/drawing/2014/main" id="{B61A7644-B2AA-4172-AC87-AF7877BE960A}"/>
              </a:ext>
            </a:extLst>
          </p:cNvPr>
          <p:cNvSpPr/>
          <p:nvPr/>
        </p:nvSpPr>
        <p:spPr>
          <a:xfrm>
            <a:off x="380998" y="471716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11" name="Oval 410">
            <a:extLst>
              <a:ext uri="{FF2B5EF4-FFF2-40B4-BE49-F238E27FC236}">
                <a16:creationId xmlns:a16="http://schemas.microsoft.com/office/drawing/2014/main" id="{C88E05CD-D2CB-4866-9164-2F92098DDD98}"/>
              </a:ext>
            </a:extLst>
          </p:cNvPr>
          <p:cNvSpPr/>
          <p:nvPr/>
        </p:nvSpPr>
        <p:spPr>
          <a:xfrm>
            <a:off x="380998" y="5023225"/>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12" name="Oval 411">
            <a:extLst>
              <a:ext uri="{FF2B5EF4-FFF2-40B4-BE49-F238E27FC236}">
                <a16:creationId xmlns:a16="http://schemas.microsoft.com/office/drawing/2014/main" id="{C704F15F-519C-426B-A5B6-D46FFCF59C2D}"/>
              </a:ext>
            </a:extLst>
          </p:cNvPr>
          <p:cNvSpPr/>
          <p:nvPr/>
        </p:nvSpPr>
        <p:spPr>
          <a:xfrm>
            <a:off x="380998" y="5329284"/>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13" name="Oval 412">
            <a:extLst>
              <a:ext uri="{FF2B5EF4-FFF2-40B4-BE49-F238E27FC236}">
                <a16:creationId xmlns:a16="http://schemas.microsoft.com/office/drawing/2014/main" id="{9830EAFE-887C-4AB0-8E7D-D6F960445730}"/>
              </a:ext>
            </a:extLst>
          </p:cNvPr>
          <p:cNvSpPr/>
          <p:nvPr/>
        </p:nvSpPr>
        <p:spPr>
          <a:xfrm>
            <a:off x="380998" y="5635341"/>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grpSp>
        <p:nvGrpSpPr>
          <p:cNvPr id="499" name="Group 498">
            <a:extLst>
              <a:ext uri="{FF2B5EF4-FFF2-40B4-BE49-F238E27FC236}">
                <a16:creationId xmlns:a16="http://schemas.microsoft.com/office/drawing/2014/main" id="{3AFF006B-530C-4EAD-BA49-88BA06DCE175}"/>
              </a:ext>
            </a:extLst>
          </p:cNvPr>
          <p:cNvGrpSpPr/>
          <p:nvPr/>
        </p:nvGrpSpPr>
        <p:grpSpPr>
          <a:xfrm>
            <a:off x="4417620" y="5263452"/>
            <a:ext cx="3293929" cy="276999"/>
            <a:chOff x="4417620" y="5263452"/>
            <a:chExt cx="3293929" cy="276999"/>
          </a:xfrm>
        </p:grpSpPr>
        <p:pic>
          <p:nvPicPr>
            <p:cNvPr id="477" name="Picture 476" descr="Icon&#10;&#10;Description automatically generated">
              <a:extLst>
                <a:ext uri="{FF2B5EF4-FFF2-40B4-BE49-F238E27FC236}">
                  <a16:creationId xmlns:a16="http://schemas.microsoft.com/office/drawing/2014/main" id="{64E356AB-A5FE-42B2-8BE9-47BDA28C2AF8}"/>
                </a:ext>
              </a:extLst>
            </p:cNvPr>
            <p:cNvPicPr>
              <a:picLocks noChangeAspect="1"/>
            </p:cNvPicPr>
            <p:nvPr/>
          </p:nvPicPr>
          <p:blipFill>
            <a:blip r:embed="rId8"/>
            <a:stretch>
              <a:fillRect/>
            </a:stretch>
          </p:blipFill>
          <p:spPr>
            <a:xfrm>
              <a:off x="4417620" y="5268242"/>
              <a:ext cx="270000" cy="270000"/>
            </a:xfrm>
            <a:prstGeom prst="rect">
              <a:avLst/>
            </a:prstGeom>
          </p:spPr>
        </p:pic>
        <p:sp>
          <p:nvSpPr>
            <p:cNvPr id="437" name="Rectangle 436">
              <a:hlinkClick r:id="rId9"/>
              <a:extLst>
                <a:ext uri="{FF2B5EF4-FFF2-40B4-BE49-F238E27FC236}">
                  <a16:creationId xmlns:a16="http://schemas.microsoft.com/office/drawing/2014/main" id="{03860168-E043-4C14-A419-81804C25C78C}"/>
                </a:ext>
              </a:extLst>
            </p:cNvPr>
            <p:cNvSpPr/>
            <p:nvPr/>
          </p:nvSpPr>
          <p:spPr>
            <a:xfrm>
              <a:off x="4717103" y="5263452"/>
              <a:ext cx="2994446"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Graphik" panose="020B0503030202060203" pitchFamily="34" charset="0"/>
                  <a:ea typeface="+mn-ea"/>
                  <a:cs typeface="+mn-cs"/>
                </a:rPr>
                <a:t>Icons</a:t>
              </a:r>
              <a:endParaRPr kumimoji="0" lang="en-US" sz="16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endParaRPr>
            </a:p>
          </p:txBody>
        </p:sp>
      </p:grpSp>
      <p:sp>
        <p:nvSpPr>
          <p:cNvPr id="439" name="Oval 438">
            <a:extLst>
              <a:ext uri="{FF2B5EF4-FFF2-40B4-BE49-F238E27FC236}">
                <a16:creationId xmlns:a16="http://schemas.microsoft.com/office/drawing/2014/main" id="{A0520B38-9572-4DFE-A67E-C951CA3E728A}"/>
              </a:ext>
            </a:extLst>
          </p:cNvPr>
          <p:cNvSpPr/>
          <p:nvPr/>
        </p:nvSpPr>
        <p:spPr>
          <a:xfrm>
            <a:off x="4480427" y="196263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40" name="Oval 439">
            <a:extLst>
              <a:ext uri="{FF2B5EF4-FFF2-40B4-BE49-F238E27FC236}">
                <a16:creationId xmlns:a16="http://schemas.microsoft.com/office/drawing/2014/main" id="{BF995CF5-10D8-4EE0-A17B-37DEA5F560AA}"/>
              </a:ext>
            </a:extLst>
          </p:cNvPr>
          <p:cNvSpPr/>
          <p:nvPr/>
        </p:nvSpPr>
        <p:spPr>
          <a:xfrm>
            <a:off x="4480427" y="226869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41" name="Oval 440">
            <a:extLst>
              <a:ext uri="{FF2B5EF4-FFF2-40B4-BE49-F238E27FC236}">
                <a16:creationId xmlns:a16="http://schemas.microsoft.com/office/drawing/2014/main" id="{5471BCD6-9D57-48F6-B31F-F269D058A7C9}"/>
              </a:ext>
            </a:extLst>
          </p:cNvPr>
          <p:cNvSpPr/>
          <p:nvPr/>
        </p:nvSpPr>
        <p:spPr>
          <a:xfrm>
            <a:off x="4480427" y="257475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43" name="Oval 442">
            <a:extLst>
              <a:ext uri="{FF2B5EF4-FFF2-40B4-BE49-F238E27FC236}">
                <a16:creationId xmlns:a16="http://schemas.microsoft.com/office/drawing/2014/main" id="{857F0243-55FE-44BA-A8A0-40008D5E8646}"/>
              </a:ext>
            </a:extLst>
          </p:cNvPr>
          <p:cNvSpPr/>
          <p:nvPr/>
        </p:nvSpPr>
        <p:spPr>
          <a:xfrm>
            <a:off x="4480427" y="3798990"/>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44" name="Oval 443">
            <a:extLst>
              <a:ext uri="{FF2B5EF4-FFF2-40B4-BE49-F238E27FC236}">
                <a16:creationId xmlns:a16="http://schemas.microsoft.com/office/drawing/2014/main" id="{6B45788B-EDAE-4B1A-9CB7-74D56DB1AFAC}"/>
              </a:ext>
            </a:extLst>
          </p:cNvPr>
          <p:cNvSpPr/>
          <p:nvPr/>
        </p:nvSpPr>
        <p:spPr>
          <a:xfrm>
            <a:off x="4480427" y="410504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45" name="Oval 444">
            <a:extLst>
              <a:ext uri="{FF2B5EF4-FFF2-40B4-BE49-F238E27FC236}">
                <a16:creationId xmlns:a16="http://schemas.microsoft.com/office/drawing/2014/main" id="{7A520C37-EFA0-4195-8313-D1C21C0A6413}"/>
              </a:ext>
            </a:extLst>
          </p:cNvPr>
          <p:cNvSpPr/>
          <p:nvPr/>
        </p:nvSpPr>
        <p:spPr>
          <a:xfrm>
            <a:off x="4480427" y="441110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46" name="Oval 445">
            <a:extLst>
              <a:ext uri="{FF2B5EF4-FFF2-40B4-BE49-F238E27FC236}">
                <a16:creationId xmlns:a16="http://schemas.microsoft.com/office/drawing/2014/main" id="{3EACDF76-1EFF-47D3-80C6-2487C95A0699}"/>
              </a:ext>
            </a:extLst>
          </p:cNvPr>
          <p:cNvSpPr/>
          <p:nvPr/>
        </p:nvSpPr>
        <p:spPr>
          <a:xfrm>
            <a:off x="4480427" y="471716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49" name="Oval 448">
            <a:extLst>
              <a:ext uri="{FF2B5EF4-FFF2-40B4-BE49-F238E27FC236}">
                <a16:creationId xmlns:a16="http://schemas.microsoft.com/office/drawing/2014/main" id="{C8A9F7D8-FCA0-47B5-AD46-91FD26662D21}"/>
              </a:ext>
            </a:extLst>
          </p:cNvPr>
          <p:cNvSpPr/>
          <p:nvPr/>
        </p:nvSpPr>
        <p:spPr>
          <a:xfrm>
            <a:off x="4480427" y="5635341"/>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50" name="Rectangle 449">
            <a:hlinkClick r:id="rId10" action="ppaction://hlinksldjump"/>
            <a:extLst>
              <a:ext uri="{FF2B5EF4-FFF2-40B4-BE49-F238E27FC236}">
                <a16:creationId xmlns:a16="http://schemas.microsoft.com/office/drawing/2014/main" id="{618D109C-0820-458F-9ECA-8A25765D4C36}"/>
              </a:ext>
            </a:extLst>
          </p:cNvPr>
          <p:cNvSpPr/>
          <p:nvPr/>
        </p:nvSpPr>
        <p:spPr>
          <a:xfrm>
            <a:off x="4480427" y="3121046"/>
            <a:ext cx="3231122"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Static Objects</a:t>
            </a:r>
          </a:p>
        </p:txBody>
      </p:sp>
      <p:sp>
        <p:nvSpPr>
          <p:cNvPr id="451" name="Oval 450">
            <a:extLst>
              <a:ext uri="{FF2B5EF4-FFF2-40B4-BE49-F238E27FC236}">
                <a16:creationId xmlns:a16="http://schemas.microsoft.com/office/drawing/2014/main" id="{44BA2D6B-082E-4363-A479-918E45F4BFA6}"/>
              </a:ext>
            </a:extLst>
          </p:cNvPr>
          <p:cNvSpPr/>
          <p:nvPr/>
        </p:nvSpPr>
        <p:spPr>
          <a:xfrm>
            <a:off x="4480427" y="349292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grpSp>
        <p:nvGrpSpPr>
          <p:cNvPr id="498" name="Group 497">
            <a:extLst>
              <a:ext uri="{FF2B5EF4-FFF2-40B4-BE49-F238E27FC236}">
                <a16:creationId xmlns:a16="http://schemas.microsoft.com/office/drawing/2014/main" id="{4AD29E5E-6DE7-4FFC-BF3E-E45AF1D103AD}"/>
              </a:ext>
            </a:extLst>
          </p:cNvPr>
          <p:cNvGrpSpPr/>
          <p:nvPr/>
        </p:nvGrpSpPr>
        <p:grpSpPr>
          <a:xfrm>
            <a:off x="8532009" y="5263452"/>
            <a:ext cx="3278970" cy="289268"/>
            <a:chOff x="8532009" y="5263452"/>
            <a:chExt cx="3278970" cy="289268"/>
          </a:xfrm>
        </p:grpSpPr>
        <p:pic>
          <p:nvPicPr>
            <p:cNvPr id="479" name="Picture 478" descr="Icon&#10;&#10;Description automatically generated">
              <a:extLst>
                <a:ext uri="{FF2B5EF4-FFF2-40B4-BE49-F238E27FC236}">
                  <a16:creationId xmlns:a16="http://schemas.microsoft.com/office/drawing/2014/main" id="{844711A9-47F8-4BD6-A081-10BA9897582E}"/>
                </a:ext>
              </a:extLst>
            </p:cNvPr>
            <p:cNvPicPr>
              <a:picLocks noChangeAspect="1"/>
            </p:cNvPicPr>
            <p:nvPr/>
          </p:nvPicPr>
          <p:blipFill>
            <a:blip r:embed="rId11"/>
            <a:stretch>
              <a:fillRect/>
            </a:stretch>
          </p:blipFill>
          <p:spPr>
            <a:xfrm>
              <a:off x="8532009" y="5282720"/>
              <a:ext cx="270000" cy="270000"/>
            </a:xfrm>
            <a:prstGeom prst="rect">
              <a:avLst/>
            </a:prstGeom>
          </p:spPr>
        </p:pic>
        <p:sp>
          <p:nvSpPr>
            <p:cNvPr id="461" name="Rectangle 460">
              <a:hlinkClick r:id="rId9"/>
              <a:extLst>
                <a:ext uri="{FF2B5EF4-FFF2-40B4-BE49-F238E27FC236}">
                  <a16:creationId xmlns:a16="http://schemas.microsoft.com/office/drawing/2014/main" id="{CA3C1183-80DF-46F0-B218-D98958DC19EE}"/>
                </a:ext>
              </a:extLst>
            </p:cNvPr>
            <p:cNvSpPr/>
            <p:nvPr/>
          </p:nvSpPr>
          <p:spPr>
            <a:xfrm>
              <a:off x="8816533" y="5263452"/>
              <a:ext cx="2994446" cy="276999"/>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Images</a:t>
              </a:r>
            </a:p>
          </p:txBody>
        </p:sp>
      </p:grpSp>
      <p:sp>
        <p:nvSpPr>
          <p:cNvPr id="463" name="Oval 462">
            <a:extLst>
              <a:ext uri="{FF2B5EF4-FFF2-40B4-BE49-F238E27FC236}">
                <a16:creationId xmlns:a16="http://schemas.microsoft.com/office/drawing/2014/main" id="{504C9B8F-C004-4B63-A239-6C9F24BE90BB}"/>
              </a:ext>
            </a:extLst>
          </p:cNvPr>
          <p:cNvSpPr/>
          <p:nvPr/>
        </p:nvSpPr>
        <p:spPr>
          <a:xfrm>
            <a:off x="8579857" y="196263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64" name="Oval 463">
            <a:extLst>
              <a:ext uri="{FF2B5EF4-FFF2-40B4-BE49-F238E27FC236}">
                <a16:creationId xmlns:a16="http://schemas.microsoft.com/office/drawing/2014/main" id="{78FABA71-7C1E-45FC-9901-8238BB2B6592}"/>
              </a:ext>
            </a:extLst>
          </p:cNvPr>
          <p:cNvSpPr/>
          <p:nvPr/>
        </p:nvSpPr>
        <p:spPr>
          <a:xfrm>
            <a:off x="8579857" y="2324969"/>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66" name="Oval 465">
            <a:extLst>
              <a:ext uri="{FF2B5EF4-FFF2-40B4-BE49-F238E27FC236}">
                <a16:creationId xmlns:a16="http://schemas.microsoft.com/office/drawing/2014/main" id="{3E83BBAB-F1F4-4D0C-9D71-694AD7B01752}"/>
              </a:ext>
            </a:extLst>
          </p:cNvPr>
          <p:cNvSpPr/>
          <p:nvPr/>
        </p:nvSpPr>
        <p:spPr>
          <a:xfrm>
            <a:off x="8579857" y="337695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68" name="Oval 467">
            <a:extLst>
              <a:ext uri="{FF2B5EF4-FFF2-40B4-BE49-F238E27FC236}">
                <a16:creationId xmlns:a16="http://schemas.microsoft.com/office/drawing/2014/main" id="{663774DC-6A8C-44E8-999E-85ADC9B1E315}"/>
              </a:ext>
            </a:extLst>
          </p:cNvPr>
          <p:cNvSpPr/>
          <p:nvPr/>
        </p:nvSpPr>
        <p:spPr>
          <a:xfrm>
            <a:off x="8579857" y="393280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grpSp>
        <p:nvGrpSpPr>
          <p:cNvPr id="501" name="Group 500">
            <a:extLst>
              <a:ext uri="{FF2B5EF4-FFF2-40B4-BE49-F238E27FC236}">
                <a16:creationId xmlns:a16="http://schemas.microsoft.com/office/drawing/2014/main" id="{FD7FA4C0-20F9-42CD-A9C0-87CDD0ABF6F4}"/>
              </a:ext>
            </a:extLst>
          </p:cNvPr>
          <p:cNvGrpSpPr/>
          <p:nvPr/>
        </p:nvGrpSpPr>
        <p:grpSpPr>
          <a:xfrm>
            <a:off x="8579857" y="5569516"/>
            <a:ext cx="3231122" cy="276999"/>
            <a:chOff x="8579857" y="5569516"/>
            <a:chExt cx="3231122" cy="276999"/>
          </a:xfrm>
        </p:grpSpPr>
        <p:sp>
          <p:nvSpPr>
            <p:cNvPr id="462" name="Rectangle 461">
              <a:hlinkClick r:id="rId9"/>
              <a:extLst>
                <a:ext uri="{FF2B5EF4-FFF2-40B4-BE49-F238E27FC236}">
                  <a16:creationId xmlns:a16="http://schemas.microsoft.com/office/drawing/2014/main" id="{DA2C6C23-7C16-4CAD-B7A9-8BE20C03CC62}"/>
                </a:ext>
              </a:extLst>
            </p:cNvPr>
            <p:cNvSpPr/>
            <p:nvPr/>
          </p:nvSpPr>
          <p:spPr>
            <a:xfrm>
              <a:off x="8579857" y="556951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Brand Space Image Library</a:t>
              </a:r>
            </a:p>
          </p:txBody>
        </p:sp>
        <p:sp>
          <p:nvSpPr>
            <p:cNvPr id="472" name="Oval 471">
              <a:extLst>
                <a:ext uri="{FF2B5EF4-FFF2-40B4-BE49-F238E27FC236}">
                  <a16:creationId xmlns:a16="http://schemas.microsoft.com/office/drawing/2014/main" id="{826373C6-0D46-468D-A684-70EABEB3EE53}"/>
                </a:ext>
              </a:extLst>
            </p:cNvPr>
            <p:cNvSpPr/>
            <p:nvPr/>
          </p:nvSpPr>
          <p:spPr>
            <a:xfrm>
              <a:off x="8579857" y="5635341"/>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grpSp>
      <p:sp>
        <p:nvSpPr>
          <p:cNvPr id="474" name="Oval 473">
            <a:extLst>
              <a:ext uri="{FF2B5EF4-FFF2-40B4-BE49-F238E27FC236}">
                <a16:creationId xmlns:a16="http://schemas.microsoft.com/office/drawing/2014/main" id="{AB8F2D74-E163-4397-B345-CE07236D410B}"/>
              </a:ext>
            </a:extLst>
          </p:cNvPr>
          <p:cNvSpPr/>
          <p:nvPr/>
        </p:nvSpPr>
        <p:spPr>
          <a:xfrm>
            <a:off x="8579857" y="3028696"/>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75" name="Oval 474">
            <a:extLst>
              <a:ext uri="{FF2B5EF4-FFF2-40B4-BE49-F238E27FC236}">
                <a16:creationId xmlns:a16="http://schemas.microsoft.com/office/drawing/2014/main" id="{DD3C129D-438D-4B3A-986F-BEA3E3DB52FC}"/>
              </a:ext>
            </a:extLst>
          </p:cNvPr>
          <p:cNvSpPr/>
          <p:nvPr/>
        </p:nvSpPr>
        <p:spPr>
          <a:xfrm>
            <a:off x="8579857" y="2666367"/>
            <a:ext cx="145348" cy="145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Graphik"/>
              <a:ea typeface="+mn-ea"/>
              <a:cs typeface="+mn-cs"/>
            </a:endParaRPr>
          </a:p>
        </p:txBody>
      </p:sp>
      <p:sp>
        <p:nvSpPr>
          <p:cNvPr id="452" name="Rectangle 451">
            <a:hlinkClick r:id="rId12" action="ppaction://hlinksldjump"/>
            <a:extLst>
              <a:ext uri="{FF2B5EF4-FFF2-40B4-BE49-F238E27FC236}">
                <a16:creationId xmlns:a16="http://schemas.microsoft.com/office/drawing/2014/main" id="{9880C133-616F-4620-9033-757B0BB88929}"/>
              </a:ext>
            </a:extLst>
          </p:cNvPr>
          <p:cNvSpPr/>
          <p:nvPr/>
        </p:nvSpPr>
        <p:spPr>
          <a:xfrm>
            <a:off x="8579857" y="189681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Maps</a:t>
            </a:r>
          </a:p>
        </p:txBody>
      </p:sp>
      <p:sp>
        <p:nvSpPr>
          <p:cNvPr id="453" name="Rectangle 452">
            <a:hlinkClick r:id="rId13" action="ppaction://hlinksldjump"/>
            <a:extLst>
              <a:ext uri="{FF2B5EF4-FFF2-40B4-BE49-F238E27FC236}">
                <a16:creationId xmlns:a16="http://schemas.microsoft.com/office/drawing/2014/main" id="{DB304069-C5C7-479F-BC52-3C4602CB0074}"/>
              </a:ext>
            </a:extLst>
          </p:cNvPr>
          <p:cNvSpPr/>
          <p:nvPr/>
        </p:nvSpPr>
        <p:spPr>
          <a:xfrm>
            <a:off x="8579857" y="225145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Project Management</a:t>
            </a:r>
          </a:p>
        </p:txBody>
      </p:sp>
      <p:sp>
        <p:nvSpPr>
          <p:cNvPr id="455" name="Rectangle 454">
            <a:hlinkClick r:id="rId14" action="ppaction://hlinksldjump"/>
            <a:extLst>
              <a:ext uri="{FF2B5EF4-FFF2-40B4-BE49-F238E27FC236}">
                <a16:creationId xmlns:a16="http://schemas.microsoft.com/office/drawing/2014/main" id="{3A877734-E874-4173-AB9F-E7213C5596C2}"/>
              </a:ext>
            </a:extLst>
          </p:cNvPr>
          <p:cNvSpPr/>
          <p:nvPr/>
        </p:nvSpPr>
        <p:spPr>
          <a:xfrm>
            <a:off x="8579857" y="296074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Evaluation</a:t>
            </a:r>
          </a:p>
        </p:txBody>
      </p:sp>
      <p:sp>
        <p:nvSpPr>
          <p:cNvPr id="456" name="Rectangle 455">
            <a:hlinkClick r:id="rId15" action="ppaction://hlinksldjump"/>
            <a:extLst>
              <a:ext uri="{FF2B5EF4-FFF2-40B4-BE49-F238E27FC236}">
                <a16:creationId xmlns:a16="http://schemas.microsoft.com/office/drawing/2014/main" id="{B1024E60-4E7B-4DBD-AC23-4C3109FA6D83}"/>
              </a:ext>
            </a:extLst>
          </p:cNvPr>
          <p:cNvSpPr/>
          <p:nvPr/>
        </p:nvSpPr>
        <p:spPr>
          <a:xfrm>
            <a:off x="8579857" y="3315382"/>
            <a:ext cx="3231122" cy="482895"/>
          </a:xfrm>
          <a:prstGeom prst="rect">
            <a:avLst/>
          </a:prstGeom>
        </p:spPr>
        <p:txBody>
          <a:bodyPr wrap="square" lIns="22860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Illustrative Graphs and Frameworks</a:t>
            </a:r>
          </a:p>
        </p:txBody>
      </p:sp>
      <p:sp>
        <p:nvSpPr>
          <p:cNvPr id="458" name="Rectangle 457">
            <a:hlinkClick r:id="rId16" action="ppaction://hlinksldjump"/>
            <a:extLst>
              <a:ext uri="{FF2B5EF4-FFF2-40B4-BE49-F238E27FC236}">
                <a16:creationId xmlns:a16="http://schemas.microsoft.com/office/drawing/2014/main" id="{2D0D648E-4177-4869-A461-83DD3A03D59A}"/>
              </a:ext>
            </a:extLst>
          </p:cNvPr>
          <p:cNvSpPr/>
          <p:nvPr/>
        </p:nvSpPr>
        <p:spPr>
          <a:xfrm>
            <a:off x="8579857" y="3866978"/>
            <a:ext cx="3231122" cy="276999"/>
          </a:xfrm>
          <a:prstGeom prst="rect">
            <a:avLst/>
          </a:prstGeom>
        </p:spPr>
        <p:txBody>
          <a:bodyPr wrap="square" lIns="228600" tIns="0" rIns="0" bIns="0" anchor="ctr">
            <a:noAutofit/>
          </a:bodyPr>
          <a:lstStyle/>
          <a:p>
            <a:pPr marL="108000" marR="0" lvl="0" indent="-108000" algn="l" defTabSz="914400" rtl="0" eaLnBrk="1" fontAlgn="auto" latinLnBrk="0" hangingPunct="1">
              <a:lnSpc>
                <a:spcPct val="100000"/>
              </a:lnSpc>
              <a:spcBef>
                <a:spcPts val="100"/>
              </a:spcBef>
              <a:spcAft>
                <a:spcPts val="1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Useful Objects</a:t>
            </a:r>
          </a:p>
        </p:txBody>
      </p:sp>
      <p:sp>
        <p:nvSpPr>
          <p:cNvPr id="473" name="Rectangle 472">
            <a:hlinkClick r:id="rId17" action="ppaction://hlinksldjump"/>
            <a:extLst>
              <a:ext uri="{FF2B5EF4-FFF2-40B4-BE49-F238E27FC236}">
                <a16:creationId xmlns:a16="http://schemas.microsoft.com/office/drawing/2014/main" id="{C2AD0E23-705C-49C1-B949-D1BE8C5EC234}"/>
              </a:ext>
            </a:extLst>
          </p:cNvPr>
          <p:cNvSpPr/>
          <p:nvPr/>
        </p:nvSpPr>
        <p:spPr>
          <a:xfrm>
            <a:off x="8579857" y="2606098"/>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Teams and People</a:t>
            </a:r>
          </a:p>
        </p:txBody>
      </p:sp>
      <p:sp>
        <p:nvSpPr>
          <p:cNvPr id="427" name="Rectangle 426">
            <a:hlinkClick r:id="rId18" action="ppaction://hlinksldjump"/>
            <a:extLst>
              <a:ext uri="{FF2B5EF4-FFF2-40B4-BE49-F238E27FC236}">
                <a16:creationId xmlns:a16="http://schemas.microsoft.com/office/drawing/2014/main" id="{E088C45C-2059-4D22-A04D-257C688A8D1C}"/>
              </a:ext>
            </a:extLst>
          </p:cNvPr>
          <p:cNvSpPr/>
          <p:nvPr/>
        </p:nvSpPr>
        <p:spPr>
          <a:xfrm>
            <a:off x="4480427" y="189681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Linear Flows</a:t>
            </a:r>
          </a:p>
        </p:txBody>
      </p:sp>
      <p:sp>
        <p:nvSpPr>
          <p:cNvPr id="428" name="Rectangle 427">
            <a:hlinkClick r:id="rId19" action="ppaction://hlinksldjump"/>
            <a:extLst>
              <a:ext uri="{FF2B5EF4-FFF2-40B4-BE49-F238E27FC236}">
                <a16:creationId xmlns:a16="http://schemas.microsoft.com/office/drawing/2014/main" id="{38A051C0-9E52-48E5-9541-2C920EA99B03}"/>
              </a:ext>
            </a:extLst>
          </p:cNvPr>
          <p:cNvSpPr/>
          <p:nvPr/>
        </p:nvSpPr>
        <p:spPr>
          <a:xfrm>
            <a:off x="4480427" y="220287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Issue to Outcome Flows</a:t>
            </a:r>
          </a:p>
        </p:txBody>
      </p:sp>
      <p:sp>
        <p:nvSpPr>
          <p:cNvPr id="429" name="Rectangle 428">
            <a:hlinkClick r:id="rId20" action="ppaction://hlinksldjump"/>
            <a:extLst>
              <a:ext uri="{FF2B5EF4-FFF2-40B4-BE49-F238E27FC236}">
                <a16:creationId xmlns:a16="http://schemas.microsoft.com/office/drawing/2014/main" id="{1A5B059B-3814-42B9-95B2-416FDAF373E0}"/>
              </a:ext>
            </a:extLst>
          </p:cNvPr>
          <p:cNvSpPr/>
          <p:nvPr/>
        </p:nvSpPr>
        <p:spPr>
          <a:xfrm>
            <a:off x="4480427" y="250893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Circular Flows</a:t>
            </a:r>
          </a:p>
        </p:txBody>
      </p:sp>
      <p:sp>
        <p:nvSpPr>
          <p:cNvPr id="431" name="Rectangle 430">
            <a:hlinkClick r:id="rId21" action="ppaction://hlinksldjump"/>
            <a:extLst>
              <a:ext uri="{FF2B5EF4-FFF2-40B4-BE49-F238E27FC236}">
                <a16:creationId xmlns:a16="http://schemas.microsoft.com/office/drawing/2014/main" id="{3C762B6E-ABAE-4901-95A3-9059F384AF3D}"/>
              </a:ext>
            </a:extLst>
          </p:cNvPr>
          <p:cNvSpPr/>
          <p:nvPr/>
        </p:nvSpPr>
        <p:spPr>
          <a:xfrm>
            <a:off x="4480427" y="342710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Circles</a:t>
            </a:r>
          </a:p>
        </p:txBody>
      </p:sp>
      <p:sp>
        <p:nvSpPr>
          <p:cNvPr id="432" name="Rectangle 431">
            <a:hlinkClick r:id="rId22" action="ppaction://hlinksldjump"/>
            <a:extLst>
              <a:ext uri="{FF2B5EF4-FFF2-40B4-BE49-F238E27FC236}">
                <a16:creationId xmlns:a16="http://schemas.microsoft.com/office/drawing/2014/main" id="{09CEAE3D-5B29-40CA-A600-BF2B10A36A18}"/>
              </a:ext>
            </a:extLst>
          </p:cNvPr>
          <p:cNvSpPr/>
          <p:nvPr/>
        </p:nvSpPr>
        <p:spPr>
          <a:xfrm>
            <a:off x="4480427" y="373316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Trees</a:t>
            </a:r>
          </a:p>
        </p:txBody>
      </p:sp>
      <p:sp>
        <p:nvSpPr>
          <p:cNvPr id="433" name="Rectangle 432">
            <a:hlinkClick r:id="rId23" action="ppaction://hlinksldjump"/>
            <a:extLst>
              <a:ext uri="{FF2B5EF4-FFF2-40B4-BE49-F238E27FC236}">
                <a16:creationId xmlns:a16="http://schemas.microsoft.com/office/drawing/2014/main" id="{A95535EA-85BB-4988-91C3-F62E5A56542B}"/>
              </a:ext>
            </a:extLst>
          </p:cNvPr>
          <p:cNvSpPr/>
          <p:nvPr/>
        </p:nvSpPr>
        <p:spPr>
          <a:xfrm>
            <a:off x="4480427" y="403922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Boxes</a:t>
            </a:r>
          </a:p>
        </p:txBody>
      </p:sp>
      <p:sp>
        <p:nvSpPr>
          <p:cNvPr id="434" name="Rectangle 433">
            <a:hlinkClick r:id="rId24" action="ppaction://hlinksldjump"/>
            <a:extLst>
              <a:ext uri="{FF2B5EF4-FFF2-40B4-BE49-F238E27FC236}">
                <a16:creationId xmlns:a16="http://schemas.microsoft.com/office/drawing/2014/main" id="{31853A5D-3D80-4E1C-8087-0A8633992A52}"/>
              </a:ext>
            </a:extLst>
          </p:cNvPr>
          <p:cNvSpPr/>
          <p:nvPr/>
        </p:nvSpPr>
        <p:spPr>
          <a:xfrm>
            <a:off x="4480427" y="4345278"/>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Text Objects</a:t>
            </a:r>
          </a:p>
        </p:txBody>
      </p:sp>
      <p:sp>
        <p:nvSpPr>
          <p:cNvPr id="435" name="Rectangle 434">
            <a:hlinkClick r:id="rId25" action="ppaction://hlinksldjump"/>
            <a:extLst>
              <a:ext uri="{FF2B5EF4-FFF2-40B4-BE49-F238E27FC236}">
                <a16:creationId xmlns:a16="http://schemas.microsoft.com/office/drawing/2014/main" id="{1B64CB47-D549-46E0-9DDE-8B86DB576317}"/>
              </a:ext>
            </a:extLst>
          </p:cNvPr>
          <p:cNvSpPr/>
          <p:nvPr/>
        </p:nvSpPr>
        <p:spPr>
          <a:xfrm>
            <a:off x="4480427" y="465133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Other Structures</a:t>
            </a:r>
          </a:p>
        </p:txBody>
      </p:sp>
      <p:sp>
        <p:nvSpPr>
          <p:cNvPr id="438" name="Rectangle 437">
            <a:hlinkClick r:id="rId9"/>
            <a:extLst>
              <a:ext uri="{FF2B5EF4-FFF2-40B4-BE49-F238E27FC236}">
                <a16:creationId xmlns:a16="http://schemas.microsoft.com/office/drawing/2014/main" id="{3D3C59C2-662D-4BF5-80D7-5A7F331FB665}"/>
              </a:ext>
            </a:extLst>
          </p:cNvPr>
          <p:cNvSpPr/>
          <p:nvPr/>
        </p:nvSpPr>
        <p:spPr>
          <a:xfrm>
            <a:off x="4480427" y="556951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Presentation Icons</a:t>
            </a:r>
          </a:p>
        </p:txBody>
      </p:sp>
      <p:sp>
        <p:nvSpPr>
          <p:cNvPr id="389" name="Rectangle 388">
            <a:hlinkClick r:id="rId26" action="ppaction://hlinksldjump"/>
            <a:extLst>
              <a:ext uri="{FF2B5EF4-FFF2-40B4-BE49-F238E27FC236}">
                <a16:creationId xmlns:a16="http://schemas.microsoft.com/office/drawing/2014/main" id="{169C4FF1-F656-420A-9CAF-B9928C29316C}"/>
              </a:ext>
            </a:extLst>
          </p:cNvPr>
          <p:cNvSpPr/>
          <p:nvPr/>
        </p:nvSpPr>
        <p:spPr>
          <a:xfrm>
            <a:off x="380998" y="189681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Horizontal Bar Charts</a:t>
            </a:r>
          </a:p>
        </p:txBody>
      </p:sp>
      <p:sp>
        <p:nvSpPr>
          <p:cNvPr id="390" name="Rectangle 389">
            <a:hlinkClick r:id="rId27" action="ppaction://hlinksldjump"/>
            <a:extLst>
              <a:ext uri="{FF2B5EF4-FFF2-40B4-BE49-F238E27FC236}">
                <a16:creationId xmlns:a16="http://schemas.microsoft.com/office/drawing/2014/main" id="{10389DAF-2EC2-42EF-9EB7-165FDF6A14A3}"/>
              </a:ext>
            </a:extLst>
          </p:cNvPr>
          <p:cNvSpPr/>
          <p:nvPr/>
        </p:nvSpPr>
        <p:spPr>
          <a:xfrm>
            <a:off x="380998" y="220287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Vertical Column Charts</a:t>
            </a:r>
          </a:p>
        </p:txBody>
      </p:sp>
      <p:sp>
        <p:nvSpPr>
          <p:cNvPr id="391" name="Rectangle 390">
            <a:hlinkClick r:id="rId28" action="ppaction://hlinksldjump"/>
            <a:extLst>
              <a:ext uri="{FF2B5EF4-FFF2-40B4-BE49-F238E27FC236}">
                <a16:creationId xmlns:a16="http://schemas.microsoft.com/office/drawing/2014/main" id="{4304E625-7125-474E-BD74-54D5F193F016}"/>
              </a:ext>
            </a:extLst>
          </p:cNvPr>
          <p:cNvSpPr/>
          <p:nvPr/>
        </p:nvSpPr>
        <p:spPr>
          <a:xfrm>
            <a:off x="380998" y="250893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Pie Charts</a:t>
            </a:r>
          </a:p>
        </p:txBody>
      </p:sp>
      <p:sp>
        <p:nvSpPr>
          <p:cNvPr id="392" name="Rectangle 391">
            <a:hlinkClick r:id="rId29" action="ppaction://hlinksldjump"/>
            <a:extLst>
              <a:ext uri="{FF2B5EF4-FFF2-40B4-BE49-F238E27FC236}">
                <a16:creationId xmlns:a16="http://schemas.microsoft.com/office/drawing/2014/main" id="{E5B3101F-B72D-4267-81E1-A6E8D087DF06}"/>
              </a:ext>
            </a:extLst>
          </p:cNvPr>
          <p:cNvSpPr/>
          <p:nvPr/>
        </p:nvSpPr>
        <p:spPr>
          <a:xfrm>
            <a:off x="380998" y="2814988"/>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Line and Other Charts</a:t>
            </a:r>
          </a:p>
        </p:txBody>
      </p:sp>
      <p:sp>
        <p:nvSpPr>
          <p:cNvPr id="395" name="Rectangle 394">
            <a:hlinkClick r:id="rId30" action="ppaction://hlinksldjump"/>
            <a:extLst>
              <a:ext uri="{FF2B5EF4-FFF2-40B4-BE49-F238E27FC236}">
                <a16:creationId xmlns:a16="http://schemas.microsoft.com/office/drawing/2014/main" id="{31DB0102-5E39-412B-A39E-B286D8687224}"/>
              </a:ext>
            </a:extLst>
          </p:cNvPr>
          <p:cNvSpPr/>
          <p:nvPr/>
        </p:nvSpPr>
        <p:spPr>
          <a:xfrm>
            <a:off x="380998" y="373316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Balance/Imbalance</a:t>
            </a:r>
          </a:p>
        </p:txBody>
      </p:sp>
      <p:sp>
        <p:nvSpPr>
          <p:cNvPr id="396" name="Rectangle 395">
            <a:hlinkClick r:id="rId31" action="ppaction://hlinksldjump"/>
            <a:extLst>
              <a:ext uri="{FF2B5EF4-FFF2-40B4-BE49-F238E27FC236}">
                <a16:creationId xmlns:a16="http://schemas.microsoft.com/office/drawing/2014/main" id="{E4E53EC6-567F-4342-9ED7-FE8CC688FFD5}"/>
              </a:ext>
            </a:extLst>
          </p:cNvPr>
          <p:cNvSpPr/>
          <p:nvPr/>
        </p:nvSpPr>
        <p:spPr>
          <a:xfrm>
            <a:off x="380998" y="4039220"/>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Interaction/Feedback</a:t>
            </a:r>
          </a:p>
        </p:txBody>
      </p:sp>
      <p:sp>
        <p:nvSpPr>
          <p:cNvPr id="397" name="Rectangle 396">
            <a:hlinkClick r:id="rId32" action="ppaction://hlinksldjump"/>
            <a:extLst>
              <a:ext uri="{FF2B5EF4-FFF2-40B4-BE49-F238E27FC236}">
                <a16:creationId xmlns:a16="http://schemas.microsoft.com/office/drawing/2014/main" id="{A2FEE8B4-3554-4DBE-A380-1A032A3784FE}"/>
              </a:ext>
            </a:extLst>
          </p:cNvPr>
          <p:cNvSpPr/>
          <p:nvPr/>
        </p:nvSpPr>
        <p:spPr>
          <a:xfrm>
            <a:off x="380998" y="4345278"/>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Separation/Synthesis</a:t>
            </a:r>
          </a:p>
        </p:txBody>
      </p:sp>
      <p:sp>
        <p:nvSpPr>
          <p:cNvPr id="398" name="Rectangle 397">
            <a:hlinkClick r:id="rId33" action="ppaction://hlinksldjump"/>
            <a:extLst>
              <a:ext uri="{FF2B5EF4-FFF2-40B4-BE49-F238E27FC236}">
                <a16:creationId xmlns:a16="http://schemas.microsoft.com/office/drawing/2014/main" id="{0C622B6A-9BD6-4A60-88EE-2D7299920CAD}"/>
              </a:ext>
            </a:extLst>
          </p:cNvPr>
          <p:cNvSpPr/>
          <p:nvPr/>
        </p:nvSpPr>
        <p:spPr>
          <a:xfrm>
            <a:off x="380998" y="465133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Causes</a:t>
            </a:r>
          </a:p>
        </p:txBody>
      </p:sp>
      <p:sp>
        <p:nvSpPr>
          <p:cNvPr id="399" name="Rectangle 398">
            <a:hlinkClick r:id="rId34" action="ppaction://hlinksldjump"/>
            <a:extLst>
              <a:ext uri="{FF2B5EF4-FFF2-40B4-BE49-F238E27FC236}">
                <a16:creationId xmlns:a16="http://schemas.microsoft.com/office/drawing/2014/main" id="{69590C3F-C785-4DB1-9967-67D1E24DF9C1}"/>
              </a:ext>
            </a:extLst>
          </p:cNvPr>
          <p:cNvSpPr/>
          <p:nvPr/>
        </p:nvSpPr>
        <p:spPr>
          <a:xfrm>
            <a:off x="380998" y="4957394"/>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Conflicts</a:t>
            </a:r>
          </a:p>
        </p:txBody>
      </p:sp>
      <p:sp>
        <p:nvSpPr>
          <p:cNvPr id="400" name="Rectangle 399">
            <a:hlinkClick r:id="rId35" action="ppaction://hlinksldjump"/>
            <a:extLst>
              <a:ext uri="{FF2B5EF4-FFF2-40B4-BE49-F238E27FC236}">
                <a16:creationId xmlns:a16="http://schemas.microsoft.com/office/drawing/2014/main" id="{FF9FADC8-B53E-4C0A-8BB1-72DE9D5B0E25}"/>
              </a:ext>
            </a:extLst>
          </p:cNvPr>
          <p:cNvSpPr/>
          <p:nvPr/>
        </p:nvSpPr>
        <p:spPr>
          <a:xfrm>
            <a:off x="380998" y="5263452"/>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Barriers/Resistance</a:t>
            </a:r>
          </a:p>
        </p:txBody>
      </p:sp>
      <p:sp>
        <p:nvSpPr>
          <p:cNvPr id="401" name="Rectangle 400">
            <a:hlinkClick r:id="rId36" action="ppaction://hlinksldjump"/>
            <a:extLst>
              <a:ext uri="{FF2B5EF4-FFF2-40B4-BE49-F238E27FC236}">
                <a16:creationId xmlns:a16="http://schemas.microsoft.com/office/drawing/2014/main" id="{80F09C67-510D-4EC4-BEB8-F50E0E47C566}"/>
              </a:ext>
            </a:extLst>
          </p:cNvPr>
          <p:cNvSpPr/>
          <p:nvPr/>
        </p:nvSpPr>
        <p:spPr>
          <a:xfrm>
            <a:off x="380998" y="5569516"/>
            <a:ext cx="3231122" cy="276999"/>
          </a:xfrm>
          <a:prstGeom prst="rect">
            <a:avLst/>
          </a:prstGeom>
        </p:spPr>
        <p:txBody>
          <a:bodyPr wrap="square" lIns="2286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Forces/Influence </a:t>
            </a:r>
          </a:p>
        </p:txBody>
      </p:sp>
    </p:spTree>
    <p:extLst>
      <p:ext uri="{BB962C8B-B14F-4D97-AF65-F5344CB8AC3E}">
        <p14:creationId xmlns:p14="http://schemas.microsoft.com/office/powerpoint/2010/main" val="26509777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6D4DC6-5702-421B-A70C-6E8A33B9FF2A}"/>
              </a:ext>
            </a:extLst>
          </p:cNvPr>
          <p:cNvSpPr>
            <a:spLocks noGrp="1"/>
          </p:cNvSpPr>
          <p:nvPr>
            <p:ph type="body" sz="quarter" idx="16"/>
          </p:nvPr>
        </p:nvSpPr>
        <p:spPr/>
        <p:txBody>
          <a:bodyPr/>
          <a:lstStyle/>
          <a:p>
            <a:r>
              <a:rPr lang="en-US" dirty="0">
                <a:hlinkClick r:id="rId3" action="ppaction://hlinksldjump">
                  <a:extLst>
                    <a:ext uri="{A12FA001-AC4F-418D-AE19-62706E023703}">
                      <ahyp:hlinkClr xmlns:ahyp="http://schemas.microsoft.com/office/drawing/2018/hyperlinkcolor" val="tx"/>
                    </a:ext>
                  </a:extLst>
                </a:hlinkClick>
              </a:rPr>
              <a:t>Horizontal Bar Charts</a:t>
            </a:r>
            <a:endParaRPr lang="en-US" dirty="0"/>
          </a:p>
          <a:p>
            <a:r>
              <a:rPr lang="en-US" dirty="0">
                <a:hlinkClick r:id="rId4" action="ppaction://hlinksldjump">
                  <a:extLst>
                    <a:ext uri="{A12FA001-AC4F-418D-AE19-62706E023703}">
                      <ahyp:hlinkClr xmlns:ahyp="http://schemas.microsoft.com/office/drawing/2018/hyperlinkcolor" val="tx"/>
                    </a:ext>
                  </a:extLst>
                </a:hlinkClick>
              </a:rPr>
              <a:t>Vertical Column Charts</a:t>
            </a:r>
            <a:endParaRPr lang="en-US" dirty="0"/>
          </a:p>
          <a:p>
            <a:r>
              <a:rPr lang="en-US" dirty="0">
                <a:hlinkClick r:id="rId5" action="ppaction://hlinksldjump">
                  <a:extLst>
                    <a:ext uri="{A12FA001-AC4F-418D-AE19-62706E023703}">
                      <ahyp:hlinkClr xmlns:ahyp="http://schemas.microsoft.com/office/drawing/2018/hyperlinkcolor" val="tx"/>
                    </a:ext>
                  </a:extLst>
                </a:hlinkClick>
              </a:rPr>
              <a:t>Pie Charts</a:t>
            </a:r>
            <a:endParaRPr lang="en-US" dirty="0"/>
          </a:p>
          <a:p>
            <a:r>
              <a:rPr lang="en-US" dirty="0">
                <a:hlinkClick r:id="rId6" action="ppaction://hlinksldjump">
                  <a:extLst>
                    <a:ext uri="{A12FA001-AC4F-418D-AE19-62706E023703}">
                      <ahyp:hlinkClr xmlns:ahyp="http://schemas.microsoft.com/office/drawing/2018/hyperlinkcolor" val="tx"/>
                    </a:ext>
                  </a:extLst>
                </a:hlinkClick>
              </a:rPr>
              <a:t>Line and Other Charts</a:t>
            </a:r>
            <a:endParaRPr lang="en-US" dirty="0"/>
          </a:p>
        </p:txBody>
      </p:sp>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Charts</a:t>
            </a:r>
          </a:p>
        </p:txBody>
      </p:sp>
      <p:sp>
        <p:nvSpPr>
          <p:cNvPr id="18" name="Freeform: Shape 17">
            <a:hlinkClick r:id="rId7" action="ppaction://hlinksldjump"/>
            <a:extLst>
              <a:ext uri="{FF2B5EF4-FFF2-40B4-BE49-F238E27FC236}">
                <a16:creationId xmlns:a16="http://schemas.microsoft.com/office/drawing/2014/main" id="{C7BDE940-8C97-4715-8766-FD1BA621F257}"/>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Rectangle 2">
            <a:hlinkClick r:id="rId7" action="ppaction://hlinksldjump"/>
            <a:extLst>
              <a:ext uri="{FF2B5EF4-FFF2-40B4-BE49-F238E27FC236}">
                <a16:creationId xmlns:a16="http://schemas.microsoft.com/office/drawing/2014/main" id="{E00EA9C8-CA65-4C85-AC7F-2A2387DF945B}"/>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933815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Horizontal </a:t>
            </a:r>
            <a:br>
              <a:rPr lang="en-US" dirty="0"/>
            </a:br>
            <a:r>
              <a:rPr lang="en-US" dirty="0"/>
              <a:t>Bar Charts</a:t>
            </a:r>
          </a:p>
        </p:txBody>
      </p:sp>
      <p:sp>
        <p:nvSpPr>
          <p:cNvPr id="8" name="Freeform: Shape 7">
            <a:hlinkClick r:id="rId3"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12" name="Text Placeholder 4">
            <a:extLst>
              <a:ext uri="{FF2B5EF4-FFF2-40B4-BE49-F238E27FC236}">
                <a16:creationId xmlns:a16="http://schemas.microsoft.com/office/drawing/2014/main" id="{7DBF462D-8A59-41B0-B29C-76F03779CFD8}"/>
              </a:ext>
            </a:extLst>
          </p:cNvPr>
          <p:cNvSpPr>
            <a:spLocks noGrp="1"/>
          </p:cNvSpPr>
          <p:nvPr>
            <p:ph type="body" sz="quarter" idx="15"/>
          </p:nvPr>
        </p:nvSpPr>
        <p:spPr>
          <a:xfrm>
            <a:off x="8055427" y="3889828"/>
            <a:ext cx="2993573" cy="2194486"/>
          </a:xfrm>
        </p:spPr>
        <p:txBody>
          <a:bodyPr/>
          <a:lstStyle/>
          <a:p>
            <a:r>
              <a:rPr lang="en-US" dirty="0"/>
              <a:t>Part of </a:t>
            </a:r>
            <a:r>
              <a:rPr lang="en-US" dirty="0">
                <a:hlinkClick r:id="rId4" action="ppaction://hlinksldjump">
                  <a:extLst>
                    <a:ext uri="{A12FA001-AC4F-418D-AE19-62706E023703}">
                      <ahyp:hlinkClr xmlns:ahyp="http://schemas.microsoft.com/office/drawing/2018/hyperlinkcolor" val="tx"/>
                    </a:ext>
                  </a:extLst>
                </a:hlinkClick>
              </a:rPr>
              <a:t>Charts</a:t>
            </a:r>
            <a:endParaRPr lang="en-US" dirty="0"/>
          </a:p>
        </p:txBody>
      </p:sp>
      <p:sp>
        <p:nvSpPr>
          <p:cNvPr id="2" name="Rectangle 1">
            <a:hlinkClick r:id="rId3" action="ppaction://hlinksldjump"/>
            <a:extLst>
              <a:ext uri="{FF2B5EF4-FFF2-40B4-BE49-F238E27FC236}">
                <a16:creationId xmlns:a16="http://schemas.microsoft.com/office/drawing/2014/main" id="{27D0A7FB-1F64-4AC5-8902-CB24628E6A66}"/>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2051315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297699-5D12-49BC-B050-FD99F10A1149}"/>
              </a:ext>
            </a:extLst>
          </p:cNvPr>
          <p:cNvSpPr>
            <a:spLocks noGrp="1"/>
          </p:cNvSpPr>
          <p:nvPr>
            <p:ph type="title"/>
          </p:nvPr>
        </p:nvSpPr>
        <p:spPr/>
        <p:txBody>
          <a:bodyPr/>
          <a:lstStyle/>
          <a:p>
            <a:r>
              <a:rPr lang="en-US" b="1" cap="none" dirty="0">
                <a:latin typeface="Graphik" panose="020B0503030202060203" pitchFamily="34" charset="0"/>
              </a:rPr>
              <a:t>Deviation bar chart</a:t>
            </a:r>
            <a:endParaRPr lang="en-US" dirty="0"/>
          </a:p>
        </p:txBody>
      </p:sp>
      <p:graphicFrame>
        <p:nvGraphicFramePr>
          <p:cNvPr id="5" name="Object 2">
            <a:extLst>
              <a:ext uri="{FF2B5EF4-FFF2-40B4-BE49-F238E27FC236}">
                <a16:creationId xmlns:a16="http://schemas.microsoft.com/office/drawing/2014/main" id="{2038823E-CB71-4836-9017-BD6AD9785E6D}"/>
              </a:ext>
            </a:extLst>
          </p:cNvPr>
          <p:cNvGraphicFramePr>
            <a:graphicFrameLocks noChangeAspect="1"/>
          </p:cNvGraphicFramePr>
          <p:nvPr/>
        </p:nvGraphicFramePr>
        <p:xfrm>
          <a:off x="381000" y="1192148"/>
          <a:ext cx="11523663" cy="3795241"/>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3">
            <a:extLst>
              <a:ext uri="{FF2B5EF4-FFF2-40B4-BE49-F238E27FC236}">
                <a16:creationId xmlns:a16="http://schemas.microsoft.com/office/drawing/2014/main" id="{0E29032D-8E64-4C96-A9F9-963BB8F0542E}"/>
              </a:ext>
            </a:extLst>
          </p:cNvPr>
          <p:cNvSpPr>
            <a:spLocks noChangeArrowheads="1"/>
          </p:cNvSpPr>
          <p:nvPr/>
        </p:nvSpPr>
        <p:spPr bwMode="auto">
          <a:xfrm>
            <a:off x="389482" y="4987389"/>
            <a:ext cx="3510300" cy="1151698"/>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92088" marR="0" lvl="0" indent="-192088"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Hints:</a:t>
            </a:r>
          </a:p>
          <a:p>
            <a:pPr marL="144000" marR="0" lvl="0" indent="-144000"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1	Insert rows as required (each will adopt a different color)</a:t>
            </a:r>
          </a:p>
          <a:p>
            <a:pPr marL="144000" marR="0" lvl="0" indent="-144000"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2	Double-click on a bar to change the color</a:t>
            </a:r>
          </a:p>
          <a:p>
            <a:pPr marL="144000" marR="0" lvl="0" indent="-144000"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3	Drag data values outside the rows manually</a:t>
            </a:r>
          </a:p>
          <a:p>
            <a:pPr marL="144000" marR="0" lvl="0" indent="-144000"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4	Add labels manually</a:t>
            </a:r>
          </a:p>
        </p:txBody>
      </p:sp>
      <p:sp>
        <p:nvSpPr>
          <p:cNvPr id="8" name="Freeform: Shape 7">
            <a:hlinkClick r:id="rId4" action="ppaction://hlinksldjump"/>
            <a:extLst>
              <a:ext uri="{FF2B5EF4-FFF2-40B4-BE49-F238E27FC236}">
                <a16:creationId xmlns:a16="http://schemas.microsoft.com/office/drawing/2014/main" id="{2C0334AE-9F91-46AD-8C85-318767CC179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4" action="ppaction://hlinksldjump"/>
            <a:extLst>
              <a:ext uri="{FF2B5EF4-FFF2-40B4-BE49-F238E27FC236}">
                <a16:creationId xmlns:a16="http://schemas.microsoft.com/office/drawing/2014/main" id="{176D8AF0-1439-4D74-B578-B06F18559A15}"/>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531856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b="1" cap="none" dirty="0">
                <a:latin typeface="Graphik" panose="020B0503030202060203" pitchFamily="34" charset="0"/>
              </a:rPr>
              <a:t>Range bar chart</a:t>
            </a:r>
            <a:endParaRPr lang="en-US" dirty="0"/>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7" name="Object 2">
            <a:extLst>
              <a:ext uri="{FF2B5EF4-FFF2-40B4-BE49-F238E27FC236}">
                <a16:creationId xmlns:a16="http://schemas.microsoft.com/office/drawing/2014/main" id="{095D0B56-C5A7-4D2A-9DA5-58CC573AE5F6}"/>
              </a:ext>
            </a:extLst>
          </p:cNvPr>
          <p:cNvGraphicFramePr>
            <a:graphicFrameLocks noGrp="1" noChangeAspect="1"/>
          </p:cNvGraphicFramePr>
          <p:nvPr>
            <p:ph sz="quarter" idx="10"/>
          </p:nvPr>
        </p:nvGraphicFramePr>
        <p:xfrm>
          <a:off x="381000" y="1371600"/>
          <a:ext cx="11430000" cy="4940300"/>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a:hlinkClick r:id="rId3" action="ppaction://hlinksldjump"/>
            <a:extLst>
              <a:ext uri="{FF2B5EF4-FFF2-40B4-BE49-F238E27FC236}">
                <a16:creationId xmlns:a16="http://schemas.microsoft.com/office/drawing/2014/main" id="{3033E4DB-3E15-47F4-ADC5-7680D72320B6}"/>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286951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297699-5D12-49BC-B050-FD99F10A1149}"/>
              </a:ext>
            </a:extLst>
          </p:cNvPr>
          <p:cNvSpPr>
            <a:spLocks noGrp="1"/>
          </p:cNvSpPr>
          <p:nvPr>
            <p:ph type="title"/>
          </p:nvPr>
        </p:nvSpPr>
        <p:spPr/>
        <p:txBody>
          <a:bodyPr/>
          <a:lstStyle/>
          <a:p>
            <a:r>
              <a:rPr lang="en-US" dirty="0"/>
              <a:t>Sliding Bar Chart</a:t>
            </a:r>
          </a:p>
        </p:txBody>
      </p:sp>
      <p:sp>
        <p:nvSpPr>
          <p:cNvPr id="6" name="Rectangle 3">
            <a:extLst>
              <a:ext uri="{FF2B5EF4-FFF2-40B4-BE49-F238E27FC236}">
                <a16:creationId xmlns:a16="http://schemas.microsoft.com/office/drawing/2014/main" id="{0E29032D-8E64-4C96-A9F9-963BB8F0542E}"/>
              </a:ext>
            </a:extLst>
          </p:cNvPr>
          <p:cNvSpPr>
            <a:spLocks noChangeArrowheads="1"/>
          </p:cNvSpPr>
          <p:nvPr/>
        </p:nvSpPr>
        <p:spPr bwMode="auto">
          <a:xfrm>
            <a:off x="389481" y="4823241"/>
            <a:ext cx="7103272" cy="1315846"/>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92088" marR="0" lvl="0" indent="-192088" algn="l" defTabSz="914400" rtl="0" eaLnBrk="0" fontAlgn="auto" latinLnBrk="0" hangingPunct="0">
              <a:lnSpc>
                <a:spcPct val="9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80975" marR="0" lvl="0" indent="-180975" algn="l" defTabSz="914400" rtl="0" eaLnBrk="0" fontAlgn="auto" latinLnBrk="0" hangingPunct="0">
              <a:lnSpc>
                <a:spcPct val="90000"/>
              </a:lnSpc>
              <a:spcBef>
                <a:spcPts val="100"/>
              </a:spcBef>
              <a:spcAft>
                <a:spcPts val="1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rows as required (each will adopt a different color)</a:t>
            </a:r>
          </a:p>
          <a:p>
            <a:pPr marL="180975" marR="0" lvl="0" indent="-180975" algn="l" defTabSz="914400" rtl="0" eaLnBrk="0" fontAlgn="auto" latinLnBrk="0" hangingPunct="0">
              <a:lnSpc>
                <a:spcPct val="90000"/>
              </a:lnSpc>
              <a:spcBef>
                <a:spcPts val="100"/>
              </a:spcBef>
              <a:spcAft>
                <a:spcPts val="1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bar to change the color</a:t>
            </a:r>
          </a:p>
          <a:p>
            <a:pPr marL="180975" marR="0" lvl="0" indent="-180975" algn="l" defTabSz="914400" rtl="0" eaLnBrk="0" fontAlgn="auto" latinLnBrk="0" hangingPunct="0">
              <a:lnSpc>
                <a:spcPct val="90000"/>
              </a:lnSpc>
              <a:spcBef>
                <a:spcPts val="100"/>
              </a:spcBef>
              <a:spcAft>
                <a:spcPts val="1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Drag data values outside the rows manually</a:t>
            </a:r>
          </a:p>
          <a:p>
            <a:pPr marL="180975" marR="0" lvl="0" indent="-180975" algn="l" defTabSz="914400" rtl="0" eaLnBrk="0" fontAlgn="auto" latinLnBrk="0" hangingPunct="0">
              <a:lnSpc>
                <a:spcPct val="90000"/>
              </a:lnSpc>
              <a:spcBef>
                <a:spcPts val="100"/>
              </a:spcBef>
              <a:spcAft>
                <a:spcPts val="100"/>
              </a:spcAft>
              <a:buClrTx/>
              <a:buSzTx/>
              <a:buFontTx/>
              <a:buAutoNum type="arabicPlain" startAt="4"/>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dd labels manually</a:t>
            </a:r>
          </a:p>
          <a:p>
            <a:pPr marL="180975" marR="0" lvl="0" indent="-180975" algn="l" defTabSz="914400" rtl="0" eaLnBrk="0" fontAlgn="auto" latinLnBrk="0" hangingPunct="0">
              <a:lnSpc>
                <a:spcPct val="90000"/>
              </a:lnSpc>
              <a:spcBef>
                <a:spcPts val="100"/>
              </a:spcBef>
              <a:spcAft>
                <a:spcPts val="100"/>
              </a:spcAft>
              <a:buClrTx/>
              <a:buSzTx/>
              <a:buFontTx/>
              <a:buAutoNum type="arabicPlain" startAt="4"/>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o change the width of the rows select Chart Options and turn on the x-axis, then use Format Axis/Scale to set the length of the x-axis. Once the scale is set, use Chart Options again to remove the x-axis</a:t>
            </a:r>
          </a:p>
        </p:txBody>
      </p:sp>
      <p:sp>
        <p:nvSpPr>
          <p:cNvPr id="8" name="Freeform: Shape 7">
            <a:hlinkClick r:id="rId3" action="ppaction://hlinksldjump"/>
            <a:extLst>
              <a:ext uri="{FF2B5EF4-FFF2-40B4-BE49-F238E27FC236}">
                <a16:creationId xmlns:a16="http://schemas.microsoft.com/office/drawing/2014/main" id="{2C0334AE-9F91-46AD-8C85-318767CC1794}"/>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Rectangle 1">
            <a:hlinkClick r:id="rId3" action="ppaction://hlinksldjump"/>
            <a:extLst>
              <a:ext uri="{FF2B5EF4-FFF2-40B4-BE49-F238E27FC236}">
                <a16:creationId xmlns:a16="http://schemas.microsoft.com/office/drawing/2014/main" id="{868097F4-FBF7-4A6B-9626-0C406C7C14D0}"/>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9" name="Object 2">
            <a:extLst>
              <a:ext uri="{FF2B5EF4-FFF2-40B4-BE49-F238E27FC236}">
                <a16:creationId xmlns:a16="http://schemas.microsoft.com/office/drawing/2014/main" id="{A83A02F1-9135-4640-856F-0696E10FB15A}"/>
              </a:ext>
            </a:extLst>
          </p:cNvPr>
          <p:cNvGraphicFramePr>
            <a:graphicFrameLocks noChangeAspect="1"/>
          </p:cNvGraphicFramePr>
          <p:nvPr>
            <p:extLst>
              <p:ext uri="{D42A27DB-BD31-4B8C-83A1-F6EECF244321}">
                <p14:modId xmlns:p14="http://schemas.microsoft.com/office/powerpoint/2010/main" val="3932150726"/>
              </p:ext>
            </p:extLst>
          </p:nvPr>
        </p:nvGraphicFramePr>
        <p:xfrm>
          <a:off x="389482" y="891947"/>
          <a:ext cx="11411450" cy="379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737281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Paired Bar Chart</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Rectangle 3">
            <a:extLst>
              <a:ext uri="{FF2B5EF4-FFF2-40B4-BE49-F238E27FC236}">
                <a16:creationId xmlns:a16="http://schemas.microsoft.com/office/drawing/2014/main" id="{759C420D-1AA9-4014-AD5B-EE05D2C2F7B9}"/>
              </a:ext>
            </a:extLst>
          </p:cNvPr>
          <p:cNvSpPr>
            <a:spLocks noChangeArrowheads="1"/>
          </p:cNvSpPr>
          <p:nvPr/>
        </p:nvSpPr>
        <p:spPr bwMode="auto">
          <a:xfrm>
            <a:off x="380999" y="5426942"/>
            <a:ext cx="7249569" cy="884959"/>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This chart is made of two graphs. Start with the left one, it contains the axis title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To change the width of the rows select Chart Options and turn on the x-axis, then use Format Axis/Scale to set the length of the x-axis. Once the scale is set, use Chart Options again to remove the x-axis</a:t>
            </a:r>
          </a:p>
        </p:txBody>
      </p:sp>
      <p:sp>
        <p:nvSpPr>
          <p:cNvPr id="3" name="Rectangle 2">
            <a:hlinkClick r:id="rId3" action="ppaction://hlinksldjump"/>
            <a:extLst>
              <a:ext uri="{FF2B5EF4-FFF2-40B4-BE49-F238E27FC236}">
                <a16:creationId xmlns:a16="http://schemas.microsoft.com/office/drawing/2014/main" id="{6D657D06-B925-4B23-BAB5-2440D5C26987}"/>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B7738EDF-8A12-4A6A-ADBD-979CF48752E0}"/>
              </a:ext>
            </a:extLst>
          </p:cNvPr>
          <p:cNvGraphicFramePr>
            <a:graphicFrameLocks noChangeAspect="1"/>
          </p:cNvGraphicFramePr>
          <p:nvPr>
            <p:extLst>
              <p:ext uri="{D42A27DB-BD31-4B8C-83A1-F6EECF244321}">
                <p14:modId xmlns:p14="http://schemas.microsoft.com/office/powerpoint/2010/main" val="656557112"/>
              </p:ext>
            </p:extLst>
          </p:nvPr>
        </p:nvGraphicFramePr>
        <p:xfrm>
          <a:off x="1568456" y="1063535"/>
          <a:ext cx="4981575" cy="399851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Object 3">
            <a:extLst>
              <a:ext uri="{FF2B5EF4-FFF2-40B4-BE49-F238E27FC236}">
                <a16:creationId xmlns:a16="http://schemas.microsoft.com/office/drawing/2014/main" id="{AC812E05-3ACF-46D4-BC05-B42AD75722B2}"/>
              </a:ext>
            </a:extLst>
          </p:cNvPr>
          <p:cNvGraphicFramePr>
            <a:graphicFrameLocks noChangeAspect="1"/>
          </p:cNvGraphicFramePr>
          <p:nvPr>
            <p:extLst>
              <p:ext uri="{D42A27DB-BD31-4B8C-83A1-F6EECF244321}">
                <p14:modId xmlns:p14="http://schemas.microsoft.com/office/powerpoint/2010/main" val="582235550"/>
              </p:ext>
            </p:extLst>
          </p:nvPr>
        </p:nvGraphicFramePr>
        <p:xfrm>
          <a:off x="5516562" y="1072680"/>
          <a:ext cx="4371975" cy="398040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561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Sub-divided Bar Chart</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3">
            <a:extLst>
              <a:ext uri="{FF2B5EF4-FFF2-40B4-BE49-F238E27FC236}">
                <a16:creationId xmlns:a16="http://schemas.microsoft.com/office/drawing/2014/main" id="{5293A8AE-A712-4DD5-A17D-8A87DF4EC28D}"/>
              </a:ext>
            </a:extLst>
          </p:cNvPr>
          <p:cNvSpPr>
            <a:spLocks noChangeArrowheads="1"/>
          </p:cNvSpPr>
          <p:nvPr/>
        </p:nvSpPr>
        <p:spPr bwMode="auto">
          <a:xfrm>
            <a:off x="380999" y="5067870"/>
            <a:ext cx="6685626" cy="1244031"/>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Calculate the total and enter it in the "Sum" row (which is in a transparent ba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Left align the total value (which is in a transparent ba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 the legend names manually</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To change the width of the rows select Chart Options and turn on the x-axis, then use Format Axis/Scale to set the length of the x-axis. Once the scale is set, use Chart Options again to remove the x-axis</a:t>
            </a:r>
          </a:p>
        </p:txBody>
      </p:sp>
      <p:sp>
        <p:nvSpPr>
          <p:cNvPr id="5" name="Rectangle 4">
            <a:hlinkClick r:id="rId3" action="ppaction://hlinksldjump"/>
            <a:extLst>
              <a:ext uri="{FF2B5EF4-FFF2-40B4-BE49-F238E27FC236}">
                <a16:creationId xmlns:a16="http://schemas.microsoft.com/office/drawing/2014/main" id="{2C3BE399-7C49-4B0F-A987-C19E62FE102F}"/>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CCE8A202-BACE-4BD5-B227-7238E82E7A29}"/>
              </a:ext>
            </a:extLst>
          </p:cNvPr>
          <p:cNvGraphicFramePr>
            <a:graphicFrameLocks noChangeAspect="1"/>
          </p:cNvGraphicFramePr>
          <p:nvPr>
            <p:extLst>
              <p:ext uri="{D42A27DB-BD31-4B8C-83A1-F6EECF244321}">
                <p14:modId xmlns:p14="http://schemas.microsoft.com/office/powerpoint/2010/main" val="3380608987"/>
              </p:ext>
            </p:extLst>
          </p:nvPr>
        </p:nvGraphicFramePr>
        <p:xfrm>
          <a:off x="236033" y="773683"/>
          <a:ext cx="11510962" cy="42941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543916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Sub-divided 100% Bar Chart</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6" name="Rectangle 3">
            <a:extLst>
              <a:ext uri="{FF2B5EF4-FFF2-40B4-BE49-F238E27FC236}">
                <a16:creationId xmlns:a16="http://schemas.microsoft.com/office/drawing/2014/main" id="{E0938C7C-A024-4713-972A-A805914C68ED}"/>
              </a:ext>
            </a:extLst>
          </p:cNvPr>
          <p:cNvSpPr>
            <a:spLocks noChangeArrowheads="1"/>
          </p:cNvSpPr>
          <p:nvPr/>
        </p:nvSpPr>
        <p:spPr bwMode="auto">
          <a:xfrm>
            <a:off x="380999" y="5580831"/>
            <a:ext cx="3679728" cy="731070"/>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Select Format Series Lines to add/remove trend line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dit Group names manually</a:t>
            </a:r>
          </a:p>
        </p:txBody>
      </p:sp>
      <p:sp>
        <p:nvSpPr>
          <p:cNvPr id="3" name="Rectangle 2">
            <a:hlinkClick r:id="rId3" action="ppaction://hlinksldjump"/>
            <a:extLst>
              <a:ext uri="{FF2B5EF4-FFF2-40B4-BE49-F238E27FC236}">
                <a16:creationId xmlns:a16="http://schemas.microsoft.com/office/drawing/2014/main" id="{15BB1BC5-F24D-4300-B56A-EA53F1A68348}"/>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E5844463-503E-4A37-8305-EE0517992CB0}"/>
              </a:ext>
            </a:extLst>
          </p:cNvPr>
          <p:cNvGraphicFramePr>
            <a:graphicFrameLocks noChangeAspect="1"/>
          </p:cNvGraphicFramePr>
          <p:nvPr>
            <p:extLst>
              <p:ext uri="{D42A27DB-BD31-4B8C-83A1-F6EECF244321}">
                <p14:modId xmlns:p14="http://schemas.microsoft.com/office/powerpoint/2010/main" val="35366611"/>
              </p:ext>
            </p:extLst>
          </p:nvPr>
        </p:nvGraphicFramePr>
        <p:xfrm>
          <a:off x="344488" y="1162113"/>
          <a:ext cx="11465878" cy="42941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073928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57399CFF-50D7-4B6F-865D-41F0031BF305}"/>
              </a:ext>
            </a:extLst>
          </p:cNvPr>
          <p:cNvSpPr>
            <a:spLocks noChangeArrowheads="1"/>
          </p:cNvSpPr>
          <p:nvPr/>
        </p:nvSpPr>
        <p:spPr bwMode="auto">
          <a:xfrm>
            <a:off x="380999" y="5397595"/>
            <a:ext cx="4630193" cy="910607"/>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Select a data series by clicking with the right mouse button on the bar </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Choose an overlap in the options menu</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 group names manually</a:t>
            </a:r>
          </a:p>
        </p:txBody>
      </p:sp>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Grouped Bar Chart</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hlinkClick r:id="rId3" action="ppaction://hlinksldjump"/>
            <a:extLst>
              <a:ext uri="{FF2B5EF4-FFF2-40B4-BE49-F238E27FC236}">
                <a16:creationId xmlns:a16="http://schemas.microsoft.com/office/drawing/2014/main" id="{111EFAE6-D16D-46F5-96AB-E6BCE8E146D8}"/>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B98C6A33-96F8-43C8-8B24-BA9645941AA6}"/>
              </a:ext>
            </a:extLst>
          </p:cNvPr>
          <p:cNvGraphicFramePr>
            <a:graphicFrameLocks noChangeAspect="1"/>
          </p:cNvGraphicFramePr>
          <p:nvPr>
            <p:extLst>
              <p:ext uri="{D42A27DB-BD31-4B8C-83A1-F6EECF244321}">
                <p14:modId xmlns:p14="http://schemas.microsoft.com/office/powerpoint/2010/main" val="539621907"/>
              </p:ext>
            </p:extLst>
          </p:nvPr>
        </p:nvGraphicFramePr>
        <p:xfrm>
          <a:off x="288291" y="1103408"/>
          <a:ext cx="11522075" cy="42941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71789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BE84C-E5B6-452D-A67C-6435F4B76A12}"/>
              </a:ext>
            </a:extLst>
          </p:cNvPr>
          <p:cNvSpPr>
            <a:spLocks noGrp="1"/>
          </p:cNvSpPr>
          <p:nvPr>
            <p:ph type="title"/>
          </p:nvPr>
        </p:nvSpPr>
        <p:spPr/>
        <p:txBody>
          <a:bodyPr/>
          <a:lstStyle/>
          <a:p>
            <a:r>
              <a:rPr lang="en-US" dirty="0"/>
              <a:t>Colors and gradients</a:t>
            </a:r>
          </a:p>
        </p:txBody>
      </p:sp>
      <p:sp>
        <p:nvSpPr>
          <p:cNvPr id="4" name="TextBox 3">
            <a:extLst>
              <a:ext uri="{FF2B5EF4-FFF2-40B4-BE49-F238E27FC236}">
                <a16:creationId xmlns:a16="http://schemas.microsoft.com/office/drawing/2014/main" id="{A4464D8A-5BE2-42D6-A3F4-5DD1A688356F}"/>
              </a:ext>
            </a:extLst>
          </p:cNvPr>
          <p:cNvSpPr txBox="1"/>
          <p:nvPr/>
        </p:nvSpPr>
        <p:spPr>
          <a:xfrm>
            <a:off x="381000" y="1371601"/>
            <a:ext cx="5524500" cy="1909534"/>
          </a:xfrm>
          <a:prstGeom prst="rect">
            <a:avLst/>
          </a:prstGeom>
          <a:noFill/>
        </p:spPr>
        <p:txBody>
          <a:bodyPr wrap="square" lIns="0" tIns="0" rIns="0" bIns="0" rtlCol="0">
            <a:noAutofit/>
          </a:bodyPr>
          <a:lstStyle/>
          <a:p>
            <a:pPr defTabSz="228600">
              <a:spcAft>
                <a:spcPts val="1200"/>
              </a:spcAft>
            </a:pPr>
            <a:r>
              <a:rPr lang="en-US" noProof="0" dirty="0"/>
              <a:t>This is the brand’s primary color palette with respective RGB and HEX values. The text colors (black/white) show legibility pairings when these colors are set as backgrounds.</a:t>
            </a:r>
          </a:p>
          <a:p>
            <a:pPr defTabSz="228600">
              <a:spcAft>
                <a:spcPts val="1200"/>
              </a:spcAft>
            </a:pPr>
            <a:r>
              <a:rPr lang="en-US" noProof="0" dirty="0"/>
              <a:t>To streamline this palette for PowerPoint, crossed out colors are not set as Theme Colors.</a:t>
            </a:r>
          </a:p>
        </p:txBody>
      </p:sp>
      <p:pic>
        <p:nvPicPr>
          <p:cNvPr id="5" name="Picture 4">
            <a:extLst>
              <a:ext uri="{FF2B5EF4-FFF2-40B4-BE49-F238E27FC236}">
                <a16:creationId xmlns:a16="http://schemas.microsoft.com/office/drawing/2014/main" id="{B909639D-36EB-47C6-BC1B-5B154D027FD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81000" y="3395083"/>
            <a:ext cx="1358348" cy="1056493"/>
          </a:xfrm>
          <a:prstGeom prst="rect">
            <a:avLst/>
          </a:prstGeom>
        </p:spPr>
      </p:pic>
      <p:grpSp>
        <p:nvGrpSpPr>
          <p:cNvPr id="6" name="Group 5">
            <a:extLst>
              <a:ext uri="{FF2B5EF4-FFF2-40B4-BE49-F238E27FC236}">
                <a16:creationId xmlns:a16="http://schemas.microsoft.com/office/drawing/2014/main" id="{0FE37FA9-3564-4DAB-BA71-2317762D3092}"/>
              </a:ext>
            </a:extLst>
          </p:cNvPr>
          <p:cNvGrpSpPr/>
          <p:nvPr/>
        </p:nvGrpSpPr>
        <p:grpSpPr>
          <a:xfrm>
            <a:off x="6286499" y="1690914"/>
            <a:ext cx="5067300" cy="2782887"/>
            <a:chOff x="6286500" y="1560513"/>
            <a:chExt cx="5524500" cy="2782887"/>
          </a:xfrm>
        </p:grpSpPr>
        <p:sp>
          <p:nvSpPr>
            <p:cNvPr id="7" name="Rectangle 6">
              <a:extLst>
                <a:ext uri="{FF2B5EF4-FFF2-40B4-BE49-F238E27FC236}">
                  <a16:creationId xmlns:a16="http://schemas.microsoft.com/office/drawing/2014/main" id="{98DD100B-43E9-4937-BAA0-82264602CC79}"/>
                </a:ext>
              </a:extLst>
            </p:cNvPr>
            <p:cNvSpPr/>
            <p:nvPr userDrawn="1"/>
          </p:nvSpPr>
          <p:spPr>
            <a:xfrm>
              <a:off x="9969500" y="1560513"/>
              <a:ext cx="1841500" cy="15902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F1BB7D3-03C1-429A-8D67-DE2BD169E186}"/>
                </a:ext>
              </a:extLst>
            </p:cNvPr>
            <p:cNvSpPr/>
            <p:nvPr userDrawn="1"/>
          </p:nvSpPr>
          <p:spPr>
            <a:xfrm>
              <a:off x="10706100" y="3150734"/>
              <a:ext cx="1104900" cy="795111"/>
            </a:xfrm>
            <a:prstGeom prst="rect">
              <a:avLst/>
            </a:prstGeom>
            <a:solidFill>
              <a:srgbClr val="E6D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9" name="Rectangle 8">
              <a:extLst>
                <a:ext uri="{FF2B5EF4-FFF2-40B4-BE49-F238E27FC236}">
                  <a16:creationId xmlns:a16="http://schemas.microsoft.com/office/drawing/2014/main" id="{0A3B3C54-25A9-424A-A499-92DF3279A3A2}"/>
                </a:ext>
              </a:extLst>
            </p:cNvPr>
            <p:cNvSpPr/>
            <p:nvPr userDrawn="1"/>
          </p:nvSpPr>
          <p:spPr>
            <a:xfrm>
              <a:off x="10429875" y="3945844"/>
              <a:ext cx="1381125" cy="397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p>
          </p:txBody>
        </p:sp>
        <p:sp>
          <p:nvSpPr>
            <p:cNvPr id="10" name="TextBox 9">
              <a:extLst>
                <a:ext uri="{FF2B5EF4-FFF2-40B4-BE49-F238E27FC236}">
                  <a16:creationId xmlns:a16="http://schemas.microsoft.com/office/drawing/2014/main" id="{587FFA96-6698-4846-B79C-99B44EBAB1B5}"/>
                </a:ext>
              </a:extLst>
            </p:cNvPr>
            <p:cNvSpPr txBox="1"/>
            <p:nvPr userDrawn="1"/>
          </p:nvSpPr>
          <p:spPr>
            <a:xfrm>
              <a:off x="10706100" y="3290436"/>
              <a:ext cx="1104900" cy="515707"/>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tx1"/>
                  </a:solidFill>
                </a:rPr>
                <a:t>230 / 220 / 255</a:t>
              </a:r>
            </a:p>
            <a:p>
              <a:pPr algn="ctr" defTabSz="228600">
                <a:spcAft>
                  <a:spcPts val="0"/>
                </a:spcAft>
              </a:pPr>
              <a:r>
                <a:rPr lang="en-US" sz="900" b="1" noProof="0" dirty="0">
                  <a:solidFill>
                    <a:schemeClr val="tx1"/>
                  </a:solidFill>
                </a:rPr>
                <a:t>#e6dcff</a:t>
              </a:r>
            </a:p>
          </p:txBody>
        </p:sp>
        <p:sp>
          <p:nvSpPr>
            <p:cNvPr id="11" name="Rectangle 10">
              <a:extLst>
                <a:ext uri="{FF2B5EF4-FFF2-40B4-BE49-F238E27FC236}">
                  <a16:creationId xmlns:a16="http://schemas.microsoft.com/office/drawing/2014/main" id="{4A139027-3F71-492E-B9E6-5DC3C5C685B4}"/>
                </a:ext>
              </a:extLst>
            </p:cNvPr>
            <p:cNvSpPr/>
            <p:nvPr userDrawn="1"/>
          </p:nvSpPr>
          <p:spPr>
            <a:xfrm>
              <a:off x="6286501" y="1560513"/>
              <a:ext cx="1841500" cy="15902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A116347-B988-4171-86CD-770B9C46C4C5}"/>
                </a:ext>
              </a:extLst>
            </p:cNvPr>
            <p:cNvSpPr/>
            <p:nvPr userDrawn="1"/>
          </p:nvSpPr>
          <p:spPr>
            <a:xfrm>
              <a:off x="8128000" y="1560513"/>
              <a:ext cx="1841500" cy="1590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FF66BC5-DF29-44D3-B1AE-460E5A468F14}"/>
                </a:ext>
              </a:extLst>
            </p:cNvPr>
            <p:cNvSpPr/>
            <p:nvPr userDrawn="1"/>
          </p:nvSpPr>
          <p:spPr>
            <a:xfrm>
              <a:off x="6286501" y="3150734"/>
              <a:ext cx="1104900" cy="7951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980EC4E-9930-4BB9-8FF8-3EE31760584A}"/>
                </a:ext>
              </a:extLst>
            </p:cNvPr>
            <p:cNvSpPr/>
            <p:nvPr userDrawn="1"/>
          </p:nvSpPr>
          <p:spPr>
            <a:xfrm>
              <a:off x="7391400" y="3150734"/>
              <a:ext cx="1104900" cy="795111"/>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EA90D56-5721-4D72-AAA3-54A9C94793A7}"/>
                </a:ext>
              </a:extLst>
            </p:cNvPr>
            <p:cNvSpPr/>
            <p:nvPr userDrawn="1"/>
          </p:nvSpPr>
          <p:spPr>
            <a:xfrm>
              <a:off x="8496300" y="3150734"/>
              <a:ext cx="1104900" cy="7951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4715782-9F5A-45F7-BC05-05E53E1BA6EA}"/>
                </a:ext>
              </a:extLst>
            </p:cNvPr>
            <p:cNvSpPr/>
            <p:nvPr userDrawn="1"/>
          </p:nvSpPr>
          <p:spPr>
            <a:xfrm>
              <a:off x="9601200" y="3150734"/>
              <a:ext cx="1104900" cy="795111"/>
            </a:xfrm>
            <a:prstGeom prst="rect">
              <a:avLst/>
            </a:prstGeom>
            <a:solidFill>
              <a:srgbClr val="DCA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7" name="Rectangle 16">
              <a:extLst>
                <a:ext uri="{FF2B5EF4-FFF2-40B4-BE49-F238E27FC236}">
                  <a16:creationId xmlns:a16="http://schemas.microsoft.com/office/drawing/2014/main" id="{F9333775-679E-4932-8D7B-26027364784C}"/>
                </a:ext>
              </a:extLst>
            </p:cNvPr>
            <p:cNvSpPr/>
            <p:nvPr userDrawn="1"/>
          </p:nvSpPr>
          <p:spPr>
            <a:xfrm>
              <a:off x="6286501" y="3945844"/>
              <a:ext cx="1381125" cy="3975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Rectangle 17">
              <a:extLst>
                <a:ext uri="{FF2B5EF4-FFF2-40B4-BE49-F238E27FC236}">
                  <a16:creationId xmlns:a16="http://schemas.microsoft.com/office/drawing/2014/main" id="{F9D8DD08-D08A-46BC-95AC-CE00BA804BEC}"/>
                </a:ext>
              </a:extLst>
            </p:cNvPr>
            <p:cNvSpPr/>
            <p:nvPr userDrawn="1"/>
          </p:nvSpPr>
          <p:spPr>
            <a:xfrm>
              <a:off x="7667625" y="3945844"/>
              <a:ext cx="1381125" cy="3975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Rectangle 18">
              <a:extLst>
                <a:ext uri="{FF2B5EF4-FFF2-40B4-BE49-F238E27FC236}">
                  <a16:creationId xmlns:a16="http://schemas.microsoft.com/office/drawing/2014/main" id="{CBFB8410-56E3-49EC-9C7E-6BD627FCE665}"/>
                </a:ext>
              </a:extLst>
            </p:cNvPr>
            <p:cNvSpPr/>
            <p:nvPr userDrawn="1"/>
          </p:nvSpPr>
          <p:spPr>
            <a:xfrm>
              <a:off x="9048751" y="3945844"/>
              <a:ext cx="1381125" cy="397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TextBox 19">
              <a:extLst>
                <a:ext uri="{FF2B5EF4-FFF2-40B4-BE49-F238E27FC236}">
                  <a16:creationId xmlns:a16="http://schemas.microsoft.com/office/drawing/2014/main" id="{1EF24F9A-6B36-4586-B6A5-C2AC3360FEFA}"/>
                </a:ext>
              </a:extLst>
            </p:cNvPr>
            <p:cNvSpPr txBox="1"/>
            <p:nvPr userDrawn="1"/>
          </p:nvSpPr>
          <p:spPr>
            <a:xfrm>
              <a:off x="6654801" y="2215921"/>
              <a:ext cx="1104900" cy="279405"/>
            </a:xfrm>
            <a:prstGeom prst="rect">
              <a:avLst/>
            </a:prstGeom>
            <a:noFill/>
          </p:spPr>
          <p:txBody>
            <a:bodyPr wrap="square" lIns="0" tIns="0" rIns="0" bIns="0" rtlCol="0" anchor="ctr">
              <a:noAutofit/>
            </a:bodyPr>
            <a:lstStyle/>
            <a:p>
              <a:pPr algn="ctr" defTabSz="228600">
                <a:spcAft>
                  <a:spcPts val="0"/>
                </a:spcAft>
              </a:pPr>
              <a:r>
                <a:rPr lang="en-US" sz="1200" b="1" noProof="0" dirty="0">
                  <a:solidFill>
                    <a:schemeClr val="bg1"/>
                  </a:solidFill>
                </a:rPr>
                <a:t>70 / 0 / 115</a:t>
              </a:r>
            </a:p>
            <a:p>
              <a:pPr algn="ctr" defTabSz="228600">
                <a:spcAft>
                  <a:spcPts val="0"/>
                </a:spcAft>
              </a:pPr>
              <a:r>
                <a:rPr lang="en-US" sz="1200" b="1" noProof="0" dirty="0">
                  <a:solidFill>
                    <a:schemeClr val="bg1"/>
                  </a:solidFill>
                </a:rPr>
                <a:t>#460073</a:t>
              </a:r>
            </a:p>
          </p:txBody>
        </p:sp>
        <p:sp>
          <p:nvSpPr>
            <p:cNvPr id="21" name="TextBox 20">
              <a:extLst>
                <a:ext uri="{FF2B5EF4-FFF2-40B4-BE49-F238E27FC236}">
                  <a16:creationId xmlns:a16="http://schemas.microsoft.com/office/drawing/2014/main" id="{D34C1FC9-0DBF-4DE9-9D8C-DF2D6451504C}"/>
                </a:ext>
              </a:extLst>
            </p:cNvPr>
            <p:cNvSpPr txBox="1"/>
            <p:nvPr userDrawn="1"/>
          </p:nvSpPr>
          <p:spPr>
            <a:xfrm>
              <a:off x="8496300" y="2215921"/>
              <a:ext cx="1104900" cy="279405"/>
            </a:xfrm>
            <a:prstGeom prst="rect">
              <a:avLst/>
            </a:prstGeom>
            <a:noFill/>
          </p:spPr>
          <p:txBody>
            <a:bodyPr wrap="square" lIns="0" tIns="0" rIns="0" bIns="0" rtlCol="0" anchor="ctr">
              <a:noAutofit/>
            </a:bodyPr>
            <a:lstStyle/>
            <a:p>
              <a:pPr algn="ctr" defTabSz="228600">
                <a:spcAft>
                  <a:spcPts val="0"/>
                </a:spcAft>
              </a:pPr>
              <a:r>
                <a:rPr lang="en-US" sz="1200" b="1" noProof="0" dirty="0">
                  <a:solidFill>
                    <a:schemeClr val="bg1"/>
                  </a:solidFill>
                </a:rPr>
                <a:t>117 / 0 / 192</a:t>
              </a:r>
            </a:p>
            <a:p>
              <a:pPr algn="ctr" defTabSz="228600">
                <a:spcAft>
                  <a:spcPts val="0"/>
                </a:spcAft>
              </a:pPr>
              <a:r>
                <a:rPr lang="en-US" sz="1200" b="1" noProof="0" dirty="0">
                  <a:solidFill>
                    <a:schemeClr val="bg1"/>
                  </a:solidFill>
                </a:rPr>
                <a:t>#7500c0</a:t>
              </a:r>
            </a:p>
          </p:txBody>
        </p:sp>
        <p:sp>
          <p:nvSpPr>
            <p:cNvPr id="22" name="TextBox 21">
              <a:extLst>
                <a:ext uri="{FF2B5EF4-FFF2-40B4-BE49-F238E27FC236}">
                  <a16:creationId xmlns:a16="http://schemas.microsoft.com/office/drawing/2014/main" id="{EAB9CEDC-940F-4706-B624-55CC3FF6CFAC}"/>
                </a:ext>
              </a:extLst>
            </p:cNvPr>
            <p:cNvSpPr txBox="1"/>
            <p:nvPr userDrawn="1"/>
          </p:nvSpPr>
          <p:spPr>
            <a:xfrm>
              <a:off x="10337800" y="2215921"/>
              <a:ext cx="1104900" cy="279405"/>
            </a:xfrm>
            <a:prstGeom prst="rect">
              <a:avLst/>
            </a:prstGeom>
            <a:noFill/>
          </p:spPr>
          <p:txBody>
            <a:bodyPr wrap="square" lIns="0" tIns="0" rIns="0" bIns="0" rtlCol="0" anchor="ctr">
              <a:noAutofit/>
            </a:bodyPr>
            <a:lstStyle/>
            <a:p>
              <a:pPr algn="ctr" defTabSz="228600">
                <a:spcAft>
                  <a:spcPts val="0"/>
                </a:spcAft>
              </a:pPr>
              <a:r>
                <a:rPr lang="en-US" sz="1200" b="1" noProof="0" dirty="0">
                  <a:solidFill>
                    <a:schemeClr val="bg1"/>
                  </a:solidFill>
                </a:rPr>
                <a:t>161 / 0 / 255</a:t>
              </a:r>
            </a:p>
            <a:p>
              <a:pPr algn="ctr" defTabSz="228600">
                <a:spcAft>
                  <a:spcPts val="0"/>
                </a:spcAft>
              </a:pPr>
              <a:r>
                <a:rPr lang="en-US" sz="1200" b="1" noProof="0" dirty="0">
                  <a:solidFill>
                    <a:schemeClr val="bg1"/>
                  </a:solidFill>
                </a:rPr>
                <a:t>#a100ff</a:t>
              </a:r>
            </a:p>
          </p:txBody>
        </p:sp>
        <p:sp>
          <p:nvSpPr>
            <p:cNvPr id="23" name="TextBox 22">
              <a:extLst>
                <a:ext uri="{FF2B5EF4-FFF2-40B4-BE49-F238E27FC236}">
                  <a16:creationId xmlns:a16="http://schemas.microsoft.com/office/drawing/2014/main" id="{A250204F-C3C7-4DDB-A0AD-8E3DDE2B893B}"/>
                </a:ext>
              </a:extLst>
            </p:cNvPr>
            <p:cNvSpPr txBox="1"/>
            <p:nvPr userDrawn="1"/>
          </p:nvSpPr>
          <p:spPr>
            <a:xfrm>
              <a:off x="6286500" y="3290436"/>
              <a:ext cx="1104900" cy="515707"/>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bg1"/>
                  </a:solidFill>
                </a:rPr>
                <a:t>180 / 85 / 170</a:t>
              </a:r>
            </a:p>
            <a:p>
              <a:pPr algn="ctr" defTabSz="228600">
                <a:spcAft>
                  <a:spcPts val="0"/>
                </a:spcAft>
              </a:pPr>
              <a:r>
                <a:rPr lang="en-US" sz="900" b="1" noProof="0" dirty="0">
                  <a:solidFill>
                    <a:schemeClr val="bg1"/>
                  </a:solidFill>
                </a:rPr>
                <a:t>#b455aa</a:t>
              </a:r>
            </a:p>
          </p:txBody>
        </p:sp>
        <p:sp>
          <p:nvSpPr>
            <p:cNvPr id="24" name="TextBox 23">
              <a:extLst>
                <a:ext uri="{FF2B5EF4-FFF2-40B4-BE49-F238E27FC236}">
                  <a16:creationId xmlns:a16="http://schemas.microsoft.com/office/drawing/2014/main" id="{FD7B89F6-57F9-44A7-AE81-C4858A56FDB0}"/>
                </a:ext>
              </a:extLst>
            </p:cNvPr>
            <p:cNvSpPr txBox="1"/>
            <p:nvPr userDrawn="1"/>
          </p:nvSpPr>
          <p:spPr>
            <a:xfrm>
              <a:off x="7391399" y="3290436"/>
              <a:ext cx="1104900" cy="515707"/>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bg1"/>
                  </a:solidFill>
                </a:rPr>
                <a:t>160 / 85 / 245</a:t>
              </a:r>
            </a:p>
            <a:p>
              <a:pPr algn="ctr" defTabSz="228600">
                <a:spcAft>
                  <a:spcPts val="0"/>
                </a:spcAft>
              </a:pPr>
              <a:r>
                <a:rPr lang="en-US" sz="900" b="1" noProof="0" dirty="0">
                  <a:solidFill>
                    <a:schemeClr val="bg1"/>
                  </a:solidFill>
                </a:rPr>
                <a:t>#a055f5</a:t>
              </a:r>
            </a:p>
          </p:txBody>
        </p:sp>
        <p:sp>
          <p:nvSpPr>
            <p:cNvPr id="25" name="TextBox 24">
              <a:extLst>
                <a:ext uri="{FF2B5EF4-FFF2-40B4-BE49-F238E27FC236}">
                  <a16:creationId xmlns:a16="http://schemas.microsoft.com/office/drawing/2014/main" id="{7521CB10-F0A1-48A1-BB8C-60E4F57EB31B}"/>
                </a:ext>
              </a:extLst>
            </p:cNvPr>
            <p:cNvSpPr txBox="1"/>
            <p:nvPr userDrawn="1"/>
          </p:nvSpPr>
          <p:spPr>
            <a:xfrm>
              <a:off x="8496294" y="3290436"/>
              <a:ext cx="1104900" cy="515707"/>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tx1"/>
                  </a:solidFill>
                </a:rPr>
                <a:t>190 / 130 / 255</a:t>
              </a:r>
            </a:p>
            <a:p>
              <a:pPr algn="ctr" defTabSz="228600">
                <a:spcAft>
                  <a:spcPts val="0"/>
                </a:spcAft>
              </a:pPr>
              <a:r>
                <a:rPr lang="en-US" sz="900" b="1" noProof="0" dirty="0">
                  <a:solidFill>
                    <a:schemeClr val="tx1"/>
                  </a:solidFill>
                </a:rPr>
                <a:t>#be82ff</a:t>
              </a:r>
            </a:p>
          </p:txBody>
        </p:sp>
        <p:sp>
          <p:nvSpPr>
            <p:cNvPr id="26" name="TextBox 25">
              <a:extLst>
                <a:ext uri="{FF2B5EF4-FFF2-40B4-BE49-F238E27FC236}">
                  <a16:creationId xmlns:a16="http://schemas.microsoft.com/office/drawing/2014/main" id="{E6B146F8-85DE-4201-BF92-1D047B895B5F}"/>
                </a:ext>
              </a:extLst>
            </p:cNvPr>
            <p:cNvSpPr txBox="1"/>
            <p:nvPr userDrawn="1"/>
          </p:nvSpPr>
          <p:spPr>
            <a:xfrm>
              <a:off x="9601193" y="3290436"/>
              <a:ext cx="1104900" cy="515707"/>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tx1"/>
                  </a:solidFill>
                </a:rPr>
                <a:t>220 / 175 / 255</a:t>
              </a:r>
            </a:p>
            <a:p>
              <a:pPr algn="ctr" defTabSz="228600">
                <a:spcAft>
                  <a:spcPts val="0"/>
                </a:spcAft>
              </a:pPr>
              <a:r>
                <a:rPr lang="en-US" sz="900" b="1" noProof="0" dirty="0">
                  <a:solidFill>
                    <a:schemeClr val="tx1"/>
                  </a:solidFill>
                </a:rPr>
                <a:t>#dcafff</a:t>
              </a:r>
            </a:p>
          </p:txBody>
        </p:sp>
        <p:sp>
          <p:nvSpPr>
            <p:cNvPr id="27" name="TextBox 26">
              <a:extLst>
                <a:ext uri="{FF2B5EF4-FFF2-40B4-BE49-F238E27FC236}">
                  <a16:creationId xmlns:a16="http://schemas.microsoft.com/office/drawing/2014/main" id="{3B129132-5388-49D9-9D3D-5D7F23D268EB}"/>
                </a:ext>
              </a:extLst>
            </p:cNvPr>
            <p:cNvSpPr txBox="1"/>
            <p:nvPr userDrawn="1"/>
          </p:nvSpPr>
          <p:spPr>
            <a:xfrm>
              <a:off x="6424613" y="3945844"/>
              <a:ext cx="1104900" cy="397556"/>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bg1"/>
                  </a:solidFill>
                </a:rPr>
                <a:t>0 / 0 / 0</a:t>
              </a:r>
            </a:p>
            <a:p>
              <a:pPr algn="ctr" defTabSz="228600">
                <a:spcAft>
                  <a:spcPts val="0"/>
                </a:spcAft>
              </a:pPr>
              <a:r>
                <a:rPr lang="en-US" sz="900" b="1" noProof="0" dirty="0">
                  <a:solidFill>
                    <a:schemeClr val="bg1"/>
                  </a:solidFill>
                </a:rPr>
                <a:t>#000000</a:t>
              </a:r>
            </a:p>
          </p:txBody>
        </p:sp>
        <p:sp>
          <p:nvSpPr>
            <p:cNvPr id="28" name="TextBox 27">
              <a:extLst>
                <a:ext uri="{FF2B5EF4-FFF2-40B4-BE49-F238E27FC236}">
                  <a16:creationId xmlns:a16="http://schemas.microsoft.com/office/drawing/2014/main" id="{21ABA440-407B-4DB1-9945-1CE8C5FDB3B8}"/>
                </a:ext>
              </a:extLst>
            </p:cNvPr>
            <p:cNvSpPr txBox="1"/>
            <p:nvPr userDrawn="1"/>
          </p:nvSpPr>
          <p:spPr>
            <a:xfrm>
              <a:off x="7805737" y="3945844"/>
              <a:ext cx="1104900" cy="397556"/>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tx1"/>
                  </a:solidFill>
                </a:rPr>
                <a:t>150 / 150/ 140</a:t>
              </a:r>
            </a:p>
            <a:p>
              <a:pPr algn="ctr" defTabSz="228600">
                <a:spcAft>
                  <a:spcPts val="0"/>
                </a:spcAft>
              </a:pPr>
              <a:r>
                <a:rPr lang="en-US" sz="900" b="1" noProof="0" dirty="0">
                  <a:solidFill>
                    <a:schemeClr val="tx1"/>
                  </a:solidFill>
                </a:rPr>
                <a:t># 96968c</a:t>
              </a:r>
            </a:p>
          </p:txBody>
        </p:sp>
        <p:sp>
          <p:nvSpPr>
            <p:cNvPr id="29" name="TextBox 28">
              <a:extLst>
                <a:ext uri="{FF2B5EF4-FFF2-40B4-BE49-F238E27FC236}">
                  <a16:creationId xmlns:a16="http://schemas.microsoft.com/office/drawing/2014/main" id="{3258D679-89D7-4E75-BBB7-0E9C177833BB}"/>
                </a:ext>
              </a:extLst>
            </p:cNvPr>
            <p:cNvSpPr txBox="1"/>
            <p:nvPr userDrawn="1"/>
          </p:nvSpPr>
          <p:spPr>
            <a:xfrm>
              <a:off x="9186861" y="3945844"/>
              <a:ext cx="1104900" cy="397556"/>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tx1"/>
                  </a:solidFill>
                </a:rPr>
                <a:t>230 / 230 / 220</a:t>
              </a:r>
            </a:p>
            <a:p>
              <a:pPr algn="ctr" defTabSz="228600">
                <a:spcAft>
                  <a:spcPts val="0"/>
                </a:spcAft>
              </a:pPr>
              <a:r>
                <a:rPr lang="en-US" sz="900" b="1" noProof="0" dirty="0">
                  <a:solidFill>
                    <a:schemeClr val="tx1"/>
                  </a:solidFill>
                </a:rPr>
                <a:t>#e6e6dc</a:t>
              </a:r>
            </a:p>
          </p:txBody>
        </p:sp>
        <p:sp>
          <p:nvSpPr>
            <p:cNvPr id="30" name="TextBox 29">
              <a:extLst>
                <a:ext uri="{FF2B5EF4-FFF2-40B4-BE49-F238E27FC236}">
                  <a16:creationId xmlns:a16="http://schemas.microsoft.com/office/drawing/2014/main" id="{6713A361-FA04-4FB4-ADB5-CC2B23E5FC27}"/>
                </a:ext>
              </a:extLst>
            </p:cNvPr>
            <p:cNvSpPr txBox="1"/>
            <p:nvPr userDrawn="1"/>
          </p:nvSpPr>
          <p:spPr>
            <a:xfrm>
              <a:off x="10567985" y="3945844"/>
              <a:ext cx="1104900" cy="397556"/>
            </a:xfrm>
            <a:prstGeom prst="rect">
              <a:avLst/>
            </a:prstGeom>
            <a:noFill/>
          </p:spPr>
          <p:txBody>
            <a:bodyPr wrap="square" lIns="0" tIns="0" rIns="0" bIns="0" rtlCol="0" anchor="ctr">
              <a:noAutofit/>
            </a:bodyPr>
            <a:lstStyle/>
            <a:p>
              <a:pPr algn="ctr" defTabSz="228600">
                <a:spcAft>
                  <a:spcPts val="0"/>
                </a:spcAft>
              </a:pPr>
              <a:r>
                <a:rPr lang="en-US" sz="900" b="1" noProof="0" dirty="0">
                  <a:solidFill>
                    <a:schemeClr val="tx1"/>
                  </a:solidFill>
                </a:rPr>
                <a:t>255 / 255 / 255</a:t>
              </a:r>
            </a:p>
            <a:p>
              <a:pPr algn="ctr" defTabSz="228600">
                <a:spcAft>
                  <a:spcPts val="0"/>
                </a:spcAft>
              </a:pPr>
              <a:r>
                <a:rPr lang="en-US" sz="900" b="1" noProof="0" dirty="0">
                  <a:solidFill>
                    <a:schemeClr val="tx1"/>
                  </a:solidFill>
                </a:rPr>
                <a:t>#ffffff</a:t>
              </a:r>
            </a:p>
          </p:txBody>
        </p:sp>
        <p:cxnSp>
          <p:nvCxnSpPr>
            <p:cNvPr id="31" name="Straight Connector 30">
              <a:extLst>
                <a:ext uri="{FF2B5EF4-FFF2-40B4-BE49-F238E27FC236}">
                  <a16:creationId xmlns:a16="http://schemas.microsoft.com/office/drawing/2014/main" id="{7A5273CB-7BFA-4CF8-AA32-11AB9CC716A5}"/>
                </a:ext>
              </a:extLst>
            </p:cNvPr>
            <p:cNvCxnSpPr>
              <a:cxnSpLocks/>
            </p:cNvCxnSpPr>
            <p:nvPr userDrawn="1"/>
          </p:nvCxnSpPr>
          <p:spPr>
            <a:xfrm flipV="1">
              <a:off x="7391392" y="3150735"/>
              <a:ext cx="1104902" cy="795109"/>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0A7F6DF-50AD-4F94-B32C-2B3A1CAC5C94}"/>
                </a:ext>
              </a:extLst>
            </p:cNvPr>
            <p:cNvCxnSpPr>
              <a:cxnSpLocks/>
            </p:cNvCxnSpPr>
            <p:nvPr userDrawn="1"/>
          </p:nvCxnSpPr>
          <p:spPr>
            <a:xfrm flipV="1">
              <a:off x="10706087" y="3150733"/>
              <a:ext cx="1104906" cy="79511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F3F10EC0-EA30-41DC-A07E-F4F011ACF89C}"/>
              </a:ext>
            </a:extLst>
          </p:cNvPr>
          <p:cNvSpPr txBox="1"/>
          <p:nvPr/>
        </p:nvSpPr>
        <p:spPr>
          <a:xfrm>
            <a:off x="6286499" y="1371601"/>
            <a:ext cx="5067300" cy="319313"/>
          </a:xfrm>
          <a:prstGeom prst="rect">
            <a:avLst/>
          </a:prstGeom>
          <a:noFill/>
        </p:spPr>
        <p:txBody>
          <a:bodyPr wrap="square" lIns="0" tIns="0" rIns="0" bIns="0" rtlCol="0">
            <a:noAutofit/>
          </a:bodyPr>
          <a:lstStyle/>
          <a:p>
            <a:pPr defTabSz="228600">
              <a:spcAft>
                <a:spcPts val="1200"/>
              </a:spcAft>
            </a:pPr>
            <a:r>
              <a:rPr lang="en-US" sz="1400" b="1" noProof="0" dirty="0"/>
              <a:t>Primary color palette </a:t>
            </a:r>
          </a:p>
        </p:txBody>
      </p:sp>
      <p:grpSp>
        <p:nvGrpSpPr>
          <p:cNvPr id="34" name="Group 33">
            <a:extLst>
              <a:ext uri="{FF2B5EF4-FFF2-40B4-BE49-F238E27FC236}">
                <a16:creationId xmlns:a16="http://schemas.microsoft.com/office/drawing/2014/main" id="{427E7A92-E3FC-4CAC-B078-3A8FDB02426C}"/>
              </a:ext>
            </a:extLst>
          </p:cNvPr>
          <p:cNvGrpSpPr/>
          <p:nvPr/>
        </p:nvGrpSpPr>
        <p:grpSpPr>
          <a:xfrm>
            <a:off x="11353780" y="1690914"/>
            <a:ext cx="460825" cy="2385333"/>
            <a:chOff x="11495284" y="1879826"/>
            <a:chExt cx="319322" cy="2385333"/>
          </a:xfrm>
        </p:grpSpPr>
        <p:sp>
          <p:nvSpPr>
            <p:cNvPr id="35" name="TextBox 34">
              <a:extLst>
                <a:ext uri="{FF2B5EF4-FFF2-40B4-BE49-F238E27FC236}">
                  <a16:creationId xmlns:a16="http://schemas.microsoft.com/office/drawing/2014/main" id="{17DF0676-E212-45CC-AA2E-3ED08B4885CC}"/>
                </a:ext>
              </a:extLst>
            </p:cNvPr>
            <p:cNvSpPr txBox="1"/>
            <p:nvPr userDrawn="1"/>
          </p:nvSpPr>
          <p:spPr>
            <a:xfrm rot="5400000">
              <a:off x="10859840" y="2515282"/>
              <a:ext cx="1590219" cy="319313"/>
            </a:xfrm>
            <a:prstGeom prst="rect">
              <a:avLst/>
            </a:prstGeom>
            <a:noFill/>
          </p:spPr>
          <p:txBody>
            <a:bodyPr wrap="square" lIns="0" tIns="0" rIns="0" bIns="0" rtlCol="0" anchor="ctr">
              <a:noAutofit/>
            </a:bodyPr>
            <a:lstStyle/>
            <a:p>
              <a:pPr algn="ctr" defTabSz="228600">
                <a:spcAft>
                  <a:spcPts val="1200"/>
                </a:spcAft>
              </a:pPr>
              <a:r>
                <a:rPr lang="en-US" sz="1400" b="1" noProof="0" dirty="0">
                  <a:solidFill>
                    <a:schemeClr val="tx1"/>
                  </a:solidFill>
                </a:rPr>
                <a:t>Core</a:t>
              </a:r>
            </a:p>
          </p:txBody>
        </p:sp>
        <p:sp>
          <p:nvSpPr>
            <p:cNvPr id="36" name="TextBox 35">
              <a:extLst>
                <a:ext uri="{FF2B5EF4-FFF2-40B4-BE49-F238E27FC236}">
                  <a16:creationId xmlns:a16="http://schemas.microsoft.com/office/drawing/2014/main" id="{F1133710-C3ED-4516-819F-CA47041396CA}"/>
                </a:ext>
              </a:extLst>
            </p:cNvPr>
            <p:cNvSpPr txBox="1"/>
            <p:nvPr userDrawn="1"/>
          </p:nvSpPr>
          <p:spPr>
            <a:xfrm rot="5400000">
              <a:off x="11257393" y="3707946"/>
              <a:ext cx="795112" cy="319313"/>
            </a:xfrm>
            <a:prstGeom prst="rect">
              <a:avLst/>
            </a:prstGeom>
            <a:noFill/>
          </p:spPr>
          <p:txBody>
            <a:bodyPr wrap="square" lIns="0" tIns="0" rIns="0" bIns="0" rtlCol="0" anchor="ctr">
              <a:noAutofit/>
            </a:bodyPr>
            <a:lstStyle/>
            <a:p>
              <a:pPr algn="ctr" defTabSz="228600">
                <a:spcAft>
                  <a:spcPts val="1200"/>
                </a:spcAft>
              </a:pPr>
              <a:r>
                <a:rPr lang="en-US" sz="1400" b="1" noProof="0" dirty="0">
                  <a:solidFill>
                    <a:schemeClr val="tx1"/>
                  </a:solidFill>
                </a:rPr>
                <a:t>Accent</a:t>
              </a:r>
            </a:p>
          </p:txBody>
        </p:sp>
        <p:cxnSp>
          <p:nvCxnSpPr>
            <p:cNvPr id="37" name="Straight Connector 36">
              <a:extLst>
                <a:ext uri="{FF2B5EF4-FFF2-40B4-BE49-F238E27FC236}">
                  <a16:creationId xmlns:a16="http://schemas.microsoft.com/office/drawing/2014/main" id="{1199CB9F-F861-43C6-9A77-FF0F06B2BB94}"/>
                </a:ext>
              </a:extLst>
            </p:cNvPr>
            <p:cNvCxnSpPr/>
            <p:nvPr userDrawn="1"/>
          </p:nvCxnSpPr>
          <p:spPr>
            <a:xfrm>
              <a:off x="11495284" y="1879826"/>
              <a:ext cx="31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BD1E6B6-1121-45A2-80A7-4F0BBCF2C16A}"/>
                </a:ext>
              </a:extLst>
            </p:cNvPr>
            <p:cNvCxnSpPr/>
            <p:nvPr userDrawn="1"/>
          </p:nvCxnSpPr>
          <p:spPr>
            <a:xfrm>
              <a:off x="11495284" y="3470046"/>
              <a:ext cx="31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E0347A-75B3-4C29-B2AB-2F825C49582F}"/>
                </a:ext>
              </a:extLst>
            </p:cNvPr>
            <p:cNvCxnSpPr>
              <a:cxnSpLocks/>
            </p:cNvCxnSpPr>
            <p:nvPr userDrawn="1"/>
          </p:nvCxnSpPr>
          <p:spPr>
            <a:xfrm>
              <a:off x="11495284" y="4265159"/>
              <a:ext cx="31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6DC9943E-22D7-43D2-8C0A-162E163E2489}"/>
              </a:ext>
            </a:extLst>
          </p:cNvPr>
          <p:cNvSpPr txBox="1"/>
          <p:nvPr/>
        </p:nvSpPr>
        <p:spPr>
          <a:xfrm>
            <a:off x="381000" y="5030964"/>
            <a:ext cx="5524500" cy="871331"/>
          </a:xfrm>
          <a:prstGeom prst="rect">
            <a:avLst/>
          </a:prstGeom>
          <a:noFill/>
        </p:spPr>
        <p:txBody>
          <a:bodyPr wrap="square" lIns="0" tIns="0" rIns="0" bIns="0" rtlCol="0">
            <a:noAutofit/>
          </a:bodyPr>
          <a:lstStyle/>
          <a:p>
            <a:pPr defTabSz="228600">
              <a:spcAft>
                <a:spcPts val="1200"/>
              </a:spcAft>
            </a:pPr>
            <a:r>
              <a:rPr lang="en-US" noProof="0" dirty="0"/>
              <a:t>For printing purposes, use slide layouts with white backgrounds.</a:t>
            </a:r>
          </a:p>
        </p:txBody>
      </p:sp>
      <p:pic>
        <p:nvPicPr>
          <p:cNvPr id="41" name="Picture 40" descr="A picture containing light&#10;&#10;Description automatically generated">
            <a:extLst>
              <a:ext uri="{FF2B5EF4-FFF2-40B4-BE49-F238E27FC236}">
                <a16:creationId xmlns:a16="http://schemas.microsoft.com/office/drawing/2014/main" id="{3FF0012B-4309-4CC9-91E5-523DC80F6B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6499" y="5030964"/>
            <a:ext cx="1549033" cy="871331"/>
          </a:xfrm>
          <a:prstGeom prst="rect">
            <a:avLst/>
          </a:prstGeom>
        </p:spPr>
      </p:pic>
      <p:pic>
        <p:nvPicPr>
          <p:cNvPr id="43" name="Picture 42">
            <a:extLst>
              <a:ext uri="{FF2B5EF4-FFF2-40B4-BE49-F238E27FC236}">
                <a16:creationId xmlns:a16="http://schemas.microsoft.com/office/drawing/2014/main" id="{15D3F6AA-4E1C-4F27-BE19-39C7C3DD74D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045623" y="5030964"/>
            <a:ext cx="1549032" cy="871331"/>
          </a:xfrm>
          <a:prstGeom prst="rect">
            <a:avLst/>
          </a:prstGeom>
        </p:spPr>
      </p:pic>
      <p:sp>
        <p:nvSpPr>
          <p:cNvPr id="44" name="TextBox 43">
            <a:extLst>
              <a:ext uri="{FF2B5EF4-FFF2-40B4-BE49-F238E27FC236}">
                <a16:creationId xmlns:a16="http://schemas.microsoft.com/office/drawing/2014/main" id="{9BD764A4-8067-46F6-97BB-76867046D2CA}"/>
              </a:ext>
            </a:extLst>
          </p:cNvPr>
          <p:cNvSpPr txBox="1"/>
          <p:nvPr/>
        </p:nvSpPr>
        <p:spPr>
          <a:xfrm>
            <a:off x="6286499" y="4711650"/>
            <a:ext cx="5067300" cy="319313"/>
          </a:xfrm>
          <a:prstGeom prst="rect">
            <a:avLst/>
          </a:prstGeom>
          <a:noFill/>
        </p:spPr>
        <p:txBody>
          <a:bodyPr wrap="square" lIns="0" tIns="0" rIns="0" bIns="0" rtlCol="0">
            <a:noAutofit/>
          </a:bodyPr>
          <a:lstStyle/>
          <a:p>
            <a:pPr defTabSz="228600">
              <a:spcAft>
                <a:spcPts val="1200"/>
              </a:spcAft>
            </a:pPr>
            <a:r>
              <a:rPr lang="en-US" sz="1400" b="1" noProof="0" dirty="0"/>
              <a:t>Sample gradients</a:t>
            </a:r>
          </a:p>
        </p:txBody>
      </p:sp>
      <p:sp>
        <p:nvSpPr>
          <p:cNvPr id="45" name="TextBox 44">
            <a:extLst>
              <a:ext uri="{FF2B5EF4-FFF2-40B4-BE49-F238E27FC236}">
                <a16:creationId xmlns:a16="http://schemas.microsoft.com/office/drawing/2014/main" id="{DBF476A5-0722-4BB3-A309-F16A67D034C0}"/>
              </a:ext>
            </a:extLst>
          </p:cNvPr>
          <p:cNvSpPr txBox="1"/>
          <p:nvPr/>
        </p:nvSpPr>
        <p:spPr>
          <a:xfrm>
            <a:off x="6554285" y="5326926"/>
            <a:ext cx="1013460" cy="279405"/>
          </a:xfrm>
          <a:prstGeom prst="rect">
            <a:avLst/>
          </a:prstGeom>
          <a:noFill/>
        </p:spPr>
        <p:txBody>
          <a:bodyPr wrap="square" lIns="0" tIns="0" rIns="0" bIns="0" rtlCol="0" anchor="ctr">
            <a:noAutofit/>
          </a:bodyPr>
          <a:lstStyle/>
          <a:p>
            <a:pPr algn="ctr" defTabSz="228600">
              <a:spcAft>
                <a:spcPts val="0"/>
              </a:spcAft>
            </a:pPr>
            <a:r>
              <a:rPr lang="en-US" sz="1200" b="1" noProof="0" dirty="0">
                <a:solidFill>
                  <a:schemeClr val="bg1"/>
                </a:solidFill>
              </a:rPr>
              <a:t>Dark</a:t>
            </a:r>
          </a:p>
        </p:txBody>
      </p:sp>
      <p:sp>
        <p:nvSpPr>
          <p:cNvPr id="46" name="TextBox 45">
            <a:extLst>
              <a:ext uri="{FF2B5EF4-FFF2-40B4-BE49-F238E27FC236}">
                <a16:creationId xmlns:a16="http://schemas.microsoft.com/office/drawing/2014/main" id="{22D92EFE-A010-4D23-8D38-F4F98F33651B}"/>
              </a:ext>
            </a:extLst>
          </p:cNvPr>
          <p:cNvSpPr txBox="1"/>
          <p:nvPr/>
        </p:nvSpPr>
        <p:spPr>
          <a:xfrm>
            <a:off x="8313409" y="5326926"/>
            <a:ext cx="1013460" cy="279405"/>
          </a:xfrm>
          <a:prstGeom prst="rect">
            <a:avLst/>
          </a:prstGeom>
          <a:noFill/>
        </p:spPr>
        <p:txBody>
          <a:bodyPr wrap="square" lIns="0" tIns="0" rIns="0" bIns="0" rtlCol="0" anchor="ctr">
            <a:noAutofit/>
          </a:bodyPr>
          <a:lstStyle/>
          <a:p>
            <a:pPr algn="ctr" defTabSz="228600">
              <a:spcAft>
                <a:spcPts val="0"/>
              </a:spcAft>
            </a:pPr>
            <a:r>
              <a:rPr lang="en-US" sz="1200" b="1" noProof="0" dirty="0">
                <a:solidFill>
                  <a:schemeClr val="bg1"/>
                </a:solidFill>
              </a:rPr>
              <a:t>Mid</a:t>
            </a:r>
          </a:p>
        </p:txBody>
      </p:sp>
    </p:spTree>
    <p:extLst>
      <p:ext uri="{BB962C8B-B14F-4D97-AF65-F5344CB8AC3E}">
        <p14:creationId xmlns:p14="http://schemas.microsoft.com/office/powerpoint/2010/main" val="200036352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Vertical Column Charts</a:t>
            </a:r>
          </a:p>
        </p:txBody>
      </p:sp>
      <p:sp>
        <p:nvSpPr>
          <p:cNvPr id="8" name="Freeform: Shape 7">
            <a:hlinkClick r:id="rId3"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Text Placeholder 4">
            <a:extLst>
              <a:ext uri="{FF2B5EF4-FFF2-40B4-BE49-F238E27FC236}">
                <a16:creationId xmlns:a16="http://schemas.microsoft.com/office/drawing/2014/main" id="{D3397CFC-F45E-4633-AFB3-0189948D31A1}"/>
              </a:ext>
            </a:extLst>
          </p:cNvPr>
          <p:cNvSpPr>
            <a:spLocks noGrp="1"/>
          </p:cNvSpPr>
          <p:nvPr>
            <p:ph type="body" sz="quarter" idx="15"/>
          </p:nvPr>
        </p:nvSpPr>
        <p:spPr>
          <a:xfrm>
            <a:off x="8055427" y="3889828"/>
            <a:ext cx="2993573" cy="2194486"/>
          </a:xfrm>
        </p:spPr>
        <p:txBody>
          <a:bodyPr/>
          <a:lstStyle/>
          <a:p>
            <a:r>
              <a:rPr lang="en-US" dirty="0"/>
              <a:t>Part of </a:t>
            </a:r>
            <a:r>
              <a:rPr lang="en-US" dirty="0">
                <a:hlinkClick r:id="rId4" action="ppaction://hlinksldjump">
                  <a:extLst>
                    <a:ext uri="{A12FA001-AC4F-418D-AE19-62706E023703}">
                      <ahyp:hlinkClr xmlns:ahyp="http://schemas.microsoft.com/office/drawing/2018/hyperlinkcolor" val="tx"/>
                    </a:ext>
                  </a:extLst>
                </a:hlinkClick>
              </a:rPr>
              <a:t>Charts</a:t>
            </a:r>
            <a:endParaRPr lang="en-US" dirty="0"/>
          </a:p>
        </p:txBody>
      </p:sp>
      <p:sp>
        <p:nvSpPr>
          <p:cNvPr id="2" name="Rectangle 1">
            <a:hlinkClick r:id="rId3" action="ppaction://hlinksldjump"/>
            <a:extLst>
              <a:ext uri="{FF2B5EF4-FFF2-40B4-BE49-F238E27FC236}">
                <a16:creationId xmlns:a16="http://schemas.microsoft.com/office/drawing/2014/main" id="{991AD34E-E5EC-47F2-8433-0377803850D6}"/>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093964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1</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3" name="Rectangle 2">
            <a:hlinkClick r:id="rId3" action="ppaction://hlinksldjump"/>
            <a:extLst>
              <a:ext uri="{FF2B5EF4-FFF2-40B4-BE49-F238E27FC236}">
                <a16:creationId xmlns:a16="http://schemas.microsoft.com/office/drawing/2014/main" id="{65205F65-1568-4117-A306-5535914A5A2C}"/>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1FB3E495-45B1-4545-A62D-6035215B54C8}"/>
              </a:ext>
            </a:extLst>
          </p:cNvPr>
          <p:cNvGraphicFramePr>
            <a:graphicFrameLocks/>
          </p:cNvGraphicFramePr>
          <p:nvPr>
            <p:extLst>
              <p:ext uri="{D42A27DB-BD31-4B8C-83A1-F6EECF244321}">
                <p14:modId xmlns:p14="http://schemas.microsoft.com/office/powerpoint/2010/main" val="366845604"/>
              </p:ext>
            </p:extLst>
          </p:nvPr>
        </p:nvGraphicFramePr>
        <p:xfrm>
          <a:off x="380999" y="804696"/>
          <a:ext cx="11429367" cy="386766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349205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2</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5" name="Rectangle 4">
            <a:hlinkClick r:id="rId3" action="ppaction://hlinksldjump"/>
            <a:extLst>
              <a:ext uri="{FF2B5EF4-FFF2-40B4-BE49-F238E27FC236}">
                <a16:creationId xmlns:a16="http://schemas.microsoft.com/office/drawing/2014/main" id="{DD265648-4036-40A8-B1F9-6C07A706222C}"/>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6" name="Object 2">
            <a:extLst>
              <a:ext uri="{FF2B5EF4-FFF2-40B4-BE49-F238E27FC236}">
                <a16:creationId xmlns:a16="http://schemas.microsoft.com/office/drawing/2014/main" id="{668F58B0-CFEA-436B-A1BD-51D7C9AD2A04}"/>
              </a:ext>
            </a:extLst>
          </p:cNvPr>
          <p:cNvGraphicFramePr>
            <a:graphicFrameLocks/>
          </p:cNvGraphicFramePr>
          <p:nvPr>
            <p:extLst>
              <p:ext uri="{D42A27DB-BD31-4B8C-83A1-F6EECF244321}">
                <p14:modId xmlns:p14="http://schemas.microsoft.com/office/powerpoint/2010/main" val="3612241729"/>
              </p:ext>
            </p:extLst>
          </p:nvPr>
        </p:nvGraphicFramePr>
        <p:xfrm>
          <a:off x="380999" y="954360"/>
          <a:ext cx="11437940" cy="37514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692528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3</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3" name="Rectangle 2">
            <a:hlinkClick r:id="rId3" action="ppaction://hlinksldjump"/>
            <a:extLst>
              <a:ext uri="{FF2B5EF4-FFF2-40B4-BE49-F238E27FC236}">
                <a16:creationId xmlns:a16="http://schemas.microsoft.com/office/drawing/2014/main" id="{2F1F37F5-038C-460D-BAE0-B6E9965D4902}"/>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8" name="Object 2">
            <a:extLst>
              <a:ext uri="{FF2B5EF4-FFF2-40B4-BE49-F238E27FC236}">
                <a16:creationId xmlns:a16="http://schemas.microsoft.com/office/drawing/2014/main" id="{80821B96-0888-4950-BD29-8066CBD944BB}"/>
              </a:ext>
            </a:extLst>
          </p:cNvPr>
          <p:cNvGraphicFramePr>
            <a:graphicFrameLocks/>
          </p:cNvGraphicFramePr>
          <p:nvPr>
            <p:extLst>
              <p:ext uri="{D42A27DB-BD31-4B8C-83A1-F6EECF244321}">
                <p14:modId xmlns:p14="http://schemas.microsoft.com/office/powerpoint/2010/main" val="4063430062"/>
              </p:ext>
            </p:extLst>
          </p:nvPr>
        </p:nvGraphicFramePr>
        <p:xfrm>
          <a:off x="380999" y="804696"/>
          <a:ext cx="11429368" cy="40836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075291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4</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3" name="Rectangle 2">
            <a:hlinkClick r:id="rId3" action="ppaction://hlinksldjump"/>
            <a:extLst>
              <a:ext uri="{FF2B5EF4-FFF2-40B4-BE49-F238E27FC236}">
                <a16:creationId xmlns:a16="http://schemas.microsoft.com/office/drawing/2014/main" id="{F91F7EEF-5A44-48CA-978B-6FDC0A44D3BA}"/>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643C88B9-14D9-421E-892D-6160E7EB3AC3}"/>
              </a:ext>
            </a:extLst>
          </p:cNvPr>
          <p:cNvGraphicFramePr>
            <a:graphicFrameLocks/>
          </p:cNvGraphicFramePr>
          <p:nvPr>
            <p:extLst>
              <p:ext uri="{D42A27DB-BD31-4B8C-83A1-F6EECF244321}">
                <p14:modId xmlns:p14="http://schemas.microsoft.com/office/powerpoint/2010/main" val="2902984954"/>
              </p:ext>
            </p:extLst>
          </p:nvPr>
        </p:nvGraphicFramePr>
        <p:xfrm>
          <a:off x="380999" y="880946"/>
          <a:ext cx="11429367" cy="40073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839670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5</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3" name="Rectangle 2">
            <a:hlinkClick r:id="rId3" action="ppaction://hlinksldjump"/>
            <a:extLst>
              <a:ext uri="{FF2B5EF4-FFF2-40B4-BE49-F238E27FC236}">
                <a16:creationId xmlns:a16="http://schemas.microsoft.com/office/drawing/2014/main" id="{48BA5C0D-F8E7-4363-A45D-CFA4B0C67AF7}"/>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8F2EEF0E-51BD-44B3-8BB2-D0B59FE7E015}"/>
              </a:ext>
            </a:extLst>
          </p:cNvPr>
          <p:cNvGraphicFramePr>
            <a:graphicFrameLocks/>
          </p:cNvGraphicFramePr>
          <p:nvPr>
            <p:extLst>
              <p:ext uri="{D42A27DB-BD31-4B8C-83A1-F6EECF244321}">
                <p14:modId xmlns:p14="http://schemas.microsoft.com/office/powerpoint/2010/main" val="2504650444"/>
              </p:ext>
            </p:extLst>
          </p:nvPr>
        </p:nvGraphicFramePr>
        <p:xfrm>
          <a:off x="380999" y="804696"/>
          <a:ext cx="11429367" cy="40836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505650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Waterfall Chart 6</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9" name="Rectangle 3">
            <a:extLst>
              <a:ext uri="{FF2B5EF4-FFF2-40B4-BE49-F238E27FC236}">
                <a16:creationId xmlns:a16="http://schemas.microsoft.com/office/drawing/2014/main" id="{B3380075-B428-43F2-B12F-94508680A4CD}"/>
              </a:ext>
            </a:extLst>
          </p:cNvPr>
          <p:cNvSpPr>
            <a:spLocks noChangeArrowheads="1"/>
          </p:cNvSpPr>
          <p:nvPr/>
        </p:nvSpPr>
        <p:spPr bwMode="auto">
          <a:xfrm>
            <a:off x="380999" y="4888333"/>
            <a:ext cx="7697681" cy="1423568"/>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Calculate and enter the value corresponding to the area below the column in the row marked "Space"</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nter the height of the column in the row marked "Column"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remove columns and rows as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Add series lines between the columns manually, if required</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3" name="Rectangle 2">
            <a:hlinkClick r:id="rId3" action="ppaction://hlinksldjump"/>
            <a:extLst>
              <a:ext uri="{FF2B5EF4-FFF2-40B4-BE49-F238E27FC236}">
                <a16:creationId xmlns:a16="http://schemas.microsoft.com/office/drawing/2014/main" id="{ACEDE4E8-1323-4653-9DBA-BA9815971DB7}"/>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8" name="Object 2">
            <a:extLst>
              <a:ext uri="{FF2B5EF4-FFF2-40B4-BE49-F238E27FC236}">
                <a16:creationId xmlns:a16="http://schemas.microsoft.com/office/drawing/2014/main" id="{AF5ADB08-05D6-4413-91A9-C3B78AD70699}"/>
              </a:ext>
            </a:extLst>
          </p:cNvPr>
          <p:cNvGraphicFramePr>
            <a:graphicFrameLocks/>
          </p:cNvGraphicFramePr>
          <p:nvPr>
            <p:extLst>
              <p:ext uri="{D42A27DB-BD31-4B8C-83A1-F6EECF244321}">
                <p14:modId xmlns:p14="http://schemas.microsoft.com/office/powerpoint/2010/main" val="2563439521"/>
              </p:ext>
            </p:extLst>
          </p:nvPr>
        </p:nvGraphicFramePr>
        <p:xfrm>
          <a:off x="380999" y="876300"/>
          <a:ext cx="11429368" cy="39307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726863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Deviation Column Chart</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3">
            <a:extLst>
              <a:ext uri="{FF2B5EF4-FFF2-40B4-BE49-F238E27FC236}">
                <a16:creationId xmlns:a16="http://schemas.microsoft.com/office/drawing/2014/main" id="{EDBE1DB7-62D4-4EED-97AA-827D6CA71FCF}"/>
              </a:ext>
            </a:extLst>
          </p:cNvPr>
          <p:cNvSpPr>
            <a:spLocks noChangeArrowheads="1"/>
          </p:cNvSpPr>
          <p:nvPr/>
        </p:nvSpPr>
        <p:spPr bwMode="auto">
          <a:xfrm>
            <a:off x="380366" y="5401294"/>
            <a:ext cx="4715417"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Select a data series by clicking with the right mouse button on the bar </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Choose an overlap in the options menu</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Add group names manually</a:t>
            </a:r>
          </a:p>
        </p:txBody>
      </p:sp>
      <p:sp>
        <p:nvSpPr>
          <p:cNvPr id="5" name="Rectangle 4">
            <a:hlinkClick r:id="rId3" action="ppaction://hlinksldjump"/>
            <a:extLst>
              <a:ext uri="{FF2B5EF4-FFF2-40B4-BE49-F238E27FC236}">
                <a16:creationId xmlns:a16="http://schemas.microsoft.com/office/drawing/2014/main" id="{4F82C047-5AB7-44E2-AB1E-2720DAF935D0}"/>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542741D0-935D-48E1-A9A6-079CD8FE9CEC}"/>
              </a:ext>
            </a:extLst>
          </p:cNvPr>
          <p:cNvGraphicFramePr>
            <a:graphicFrameLocks/>
          </p:cNvGraphicFramePr>
          <p:nvPr>
            <p:extLst>
              <p:ext uri="{D42A27DB-BD31-4B8C-83A1-F6EECF244321}">
                <p14:modId xmlns:p14="http://schemas.microsoft.com/office/powerpoint/2010/main" val="2990396872"/>
              </p:ext>
            </p:extLst>
          </p:nvPr>
        </p:nvGraphicFramePr>
        <p:xfrm>
          <a:off x="380366" y="1322007"/>
          <a:ext cx="11439206" cy="40792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333089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Range Column Chart</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3">
            <a:extLst>
              <a:ext uri="{FF2B5EF4-FFF2-40B4-BE49-F238E27FC236}">
                <a16:creationId xmlns:a16="http://schemas.microsoft.com/office/drawing/2014/main" id="{EDBE1DB7-62D4-4EED-97AA-827D6CA71FCF}"/>
              </a:ext>
            </a:extLst>
          </p:cNvPr>
          <p:cNvSpPr>
            <a:spLocks noChangeArrowheads="1"/>
          </p:cNvSpPr>
          <p:nvPr/>
        </p:nvSpPr>
        <p:spPr bwMode="auto">
          <a:xfrm>
            <a:off x="380366" y="5584473"/>
            <a:ext cx="5452263"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Enter the number for the space between the x-axis and the bar in the “Space“ row</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nter the height of the bar in the “Group 2“ row</a:t>
            </a:r>
          </a:p>
        </p:txBody>
      </p:sp>
      <p:sp>
        <p:nvSpPr>
          <p:cNvPr id="5" name="Rectangle 4">
            <a:hlinkClick r:id="rId3" action="ppaction://hlinksldjump"/>
            <a:extLst>
              <a:ext uri="{FF2B5EF4-FFF2-40B4-BE49-F238E27FC236}">
                <a16:creationId xmlns:a16="http://schemas.microsoft.com/office/drawing/2014/main" id="{02EE3D3B-F593-4832-8E29-0AD9B88072FB}"/>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FE3DDCA8-1629-46A1-83B2-C3770B911FD5}"/>
              </a:ext>
            </a:extLst>
          </p:cNvPr>
          <p:cNvGraphicFramePr>
            <a:graphicFrameLocks/>
          </p:cNvGraphicFramePr>
          <p:nvPr>
            <p:extLst>
              <p:ext uri="{D42A27DB-BD31-4B8C-83A1-F6EECF244321}">
                <p14:modId xmlns:p14="http://schemas.microsoft.com/office/powerpoint/2010/main" val="3176585491"/>
              </p:ext>
            </p:extLst>
          </p:nvPr>
        </p:nvGraphicFramePr>
        <p:xfrm>
          <a:off x="380366" y="1185854"/>
          <a:ext cx="11439206" cy="405521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5194857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FF74-3766-484D-8E7D-4A541A5A9201}"/>
              </a:ext>
            </a:extLst>
          </p:cNvPr>
          <p:cNvSpPr>
            <a:spLocks noGrp="1"/>
          </p:cNvSpPr>
          <p:nvPr>
            <p:ph type="title"/>
          </p:nvPr>
        </p:nvSpPr>
        <p:spPr/>
        <p:txBody>
          <a:bodyPr/>
          <a:lstStyle/>
          <a:p>
            <a:r>
              <a:rPr lang="en-US" dirty="0"/>
              <a:t>Grouped Column Chart 1</a:t>
            </a:r>
          </a:p>
        </p:txBody>
      </p:sp>
      <p:sp>
        <p:nvSpPr>
          <p:cNvPr id="4" name="Freeform: Shape 3">
            <a:hlinkClick r:id="rId3" action="ppaction://hlinksldjump"/>
            <a:extLst>
              <a:ext uri="{FF2B5EF4-FFF2-40B4-BE49-F238E27FC236}">
                <a16:creationId xmlns:a16="http://schemas.microsoft.com/office/drawing/2014/main" id="{EE639EDA-0DE9-4155-BDD7-066809AC6BF8}"/>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DB263D39-A9CB-484A-BBC4-F59BD307195D}"/>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8" name="Object 2">
            <a:extLst>
              <a:ext uri="{FF2B5EF4-FFF2-40B4-BE49-F238E27FC236}">
                <a16:creationId xmlns:a16="http://schemas.microsoft.com/office/drawing/2014/main" id="{F758EF74-07D5-4751-B73F-FF745D0D7A23}"/>
              </a:ext>
            </a:extLst>
          </p:cNvPr>
          <p:cNvGraphicFramePr>
            <a:graphicFrameLocks noGrp="1"/>
          </p:cNvGraphicFramePr>
          <p:nvPr>
            <p:ph sz="quarter" idx="10"/>
            <p:extLst>
              <p:ext uri="{D42A27DB-BD31-4B8C-83A1-F6EECF244321}">
                <p14:modId xmlns:p14="http://schemas.microsoft.com/office/powerpoint/2010/main" val="485451247"/>
              </p:ext>
            </p:extLst>
          </p:nvPr>
        </p:nvGraphicFramePr>
        <p:xfrm>
          <a:off x="381000" y="1371600"/>
          <a:ext cx="11430000" cy="49403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64444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445D4-0A46-48ED-BBD6-9647C9EBCBAA}"/>
              </a:ext>
            </a:extLst>
          </p:cNvPr>
          <p:cNvSpPr>
            <a:spLocks noGrp="1"/>
          </p:cNvSpPr>
          <p:nvPr>
            <p:ph type="title"/>
          </p:nvPr>
        </p:nvSpPr>
        <p:spPr/>
        <p:txBody>
          <a:bodyPr/>
          <a:lstStyle/>
          <a:p>
            <a:r>
              <a:rPr lang="en-US" dirty="0"/>
              <a:t>Fonts</a:t>
            </a:r>
          </a:p>
        </p:txBody>
      </p:sp>
      <p:sp>
        <p:nvSpPr>
          <p:cNvPr id="5" name="TextBox 4">
            <a:extLst>
              <a:ext uri="{FF2B5EF4-FFF2-40B4-BE49-F238E27FC236}">
                <a16:creationId xmlns:a16="http://schemas.microsoft.com/office/drawing/2014/main" id="{AA7AB59B-EA99-46CA-A40A-1453336FE293}"/>
              </a:ext>
            </a:extLst>
          </p:cNvPr>
          <p:cNvSpPr txBox="1"/>
          <p:nvPr/>
        </p:nvSpPr>
        <p:spPr>
          <a:xfrm>
            <a:off x="384460" y="1349376"/>
            <a:ext cx="5902041" cy="4525962"/>
          </a:xfrm>
          <a:prstGeom prst="rect">
            <a:avLst/>
          </a:prstGeom>
          <a:noFill/>
        </p:spPr>
        <p:txBody>
          <a:bodyPr wrap="square" lIns="0" tIns="0" rIns="0" bIns="0" rtlCol="0">
            <a:noAutofit/>
          </a:bodyPr>
          <a:lstStyle/>
          <a:p>
            <a:pPr algn="l">
              <a:lnSpc>
                <a:spcPct val="90000"/>
              </a:lnSpc>
            </a:pPr>
            <a:r>
              <a:rPr lang="en-US" sz="4000" b="1" i="0" u="none" strike="noStrike" baseline="0" noProof="0" dirty="0">
                <a:solidFill>
                  <a:schemeClr val="bg1"/>
                </a:solidFill>
                <a:latin typeface="+mj-lt"/>
              </a:rPr>
              <a:t>This is a headline </a:t>
            </a:r>
            <a:br>
              <a:rPr lang="en-US" sz="4000" b="1" i="0" u="none" strike="noStrike" baseline="0" noProof="0" dirty="0">
                <a:solidFill>
                  <a:schemeClr val="bg1"/>
                </a:solidFill>
                <a:latin typeface="+mj-lt"/>
              </a:rPr>
            </a:br>
            <a:r>
              <a:rPr lang="en-US" sz="4000" b="1" i="0" u="none" strike="noStrike" baseline="0" noProof="0" dirty="0">
                <a:solidFill>
                  <a:schemeClr val="bg1"/>
                </a:solidFill>
                <a:latin typeface="+mj-lt"/>
              </a:rPr>
              <a:t>set in Graphik with Bold formatting.</a:t>
            </a:r>
          </a:p>
          <a:p>
            <a:pPr algn="l">
              <a:lnSpc>
                <a:spcPct val="90000"/>
              </a:lnSpc>
            </a:pPr>
            <a:endParaRPr lang="en-US" sz="4000" b="1" i="0" u="none" strike="noStrike" baseline="0" noProof="0" dirty="0">
              <a:solidFill>
                <a:schemeClr val="bg1"/>
              </a:solidFill>
              <a:latin typeface="+mj-lt"/>
            </a:endParaRPr>
          </a:p>
          <a:p>
            <a:pPr algn="l">
              <a:lnSpc>
                <a:spcPct val="90000"/>
              </a:lnSpc>
            </a:pPr>
            <a:r>
              <a:rPr lang="en-US" sz="3200" b="1" i="0" u="none" strike="noStrike" baseline="0" noProof="0" dirty="0">
                <a:solidFill>
                  <a:schemeClr val="bg1"/>
                </a:solidFill>
                <a:latin typeface="GT Sectra Fine" panose="00000500000000000000" pitchFamily="50" charset="0"/>
              </a:rPr>
              <a:t>This is a sub-headline </a:t>
            </a:r>
            <a:br>
              <a:rPr lang="en-US" sz="3200" b="1" i="0" u="none" strike="noStrike" baseline="0" noProof="0" dirty="0">
                <a:solidFill>
                  <a:schemeClr val="bg1"/>
                </a:solidFill>
                <a:latin typeface="GT Sectra Fine" panose="00000500000000000000" pitchFamily="50" charset="0"/>
              </a:rPr>
            </a:br>
            <a:r>
              <a:rPr lang="en-US" sz="3200" b="1" i="0" u="none" strike="noStrike" baseline="0" noProof="0" dirty="0">
                <a:solidFill>
                  <a:schemeClr val="bg1"/>
                </a:solidFill>
                <a:latin typeface="GT Sectra Fine" panose="00000500000000000000" pitchFamily="50" charset="0"/>
              </a:rPr>
              <a:t>set in GT Sectra Fine.</a:t>
            </a:r>
          </a:p>
          <a:p>
            <a:pPr algn="l">
              <a:lnSpc>
                <a:spcPct val="90000"/>
              </a:lnSpc>
            </a:pPr>
            <a:endParaRPr lang="en-US" sz="4000" b="1" i="0" u="none" strike="noStrike" baseline="0" noProof="0" dirty="0">
              <a:solidFill>
                <a:schemeClr val="bg1"/>
              </a:solidFill>
              <a:latin typeface="+mj-lt"/>
            </a:endParaRPr>
          </a:p>
          <a:p>
            <a:pPr marL="0" marR="0" lvl="0" indent="0" algn="l" defTabSz="914400" rtl="0" eaLnBrk="1" fontAlgn="auto" latinLnBrk="0" hangingPunct="1">
              <a:lnSpc>
                <a:spcPct val="90000"/>
              </a:lnSpc>
              <a:spcBef>
                <a:spcPts val="0"/>
              </a:spcBef>
              <a:spcAft>
                <a:spcPts val="0"/>
              </a:spcAft>
              <a:buClrTx/>
              <a:buSzTx/>
              <a:buFontTx/>
              <a:buNone/>
              <a:tabLst/>
              <a:defRPr/>
            </a:pPr>
            <a:r>
              <a:rPr lang="en-US" sz="2000" b="0" i="0" u="none" strike="noStrike" baseline="0" noProof="0" dirty="0">
                <a:solidFill>
                  <a:schemeClr val="bg1"/>
                </a:solidFill>
                <a:latin typeface="+mj-lt"/>
              </a:rPr>
              <a:t>This is your body copy text in Graphik.</a:t>
            </a:r>
          </a:p>
          <a:p>
            <a:pPr algn="l">
              <a:lnSpc>
                <a:spcPct val="90000"/>
              </a:lnSpc>
            </a:pPr>
            <a:endParaRPr lang="en-US" sz="4000" b="1" i="0" u="none" strike="noStrike" baseline="0" noProof="0" dirty="0">
              <a:solidFill>
                <a:schemeClr val="bg1"/>
              </a:solidFill>
              <a:latin typeface="+mj-lt"/>
            </a:endParaRPr>
          </a:p>
        </p:txBody>
      </p:sp>
      <p:pic>
        <p:nvPicPr>
          <p:cNvPr id="7" name="Picture 6">
            <a:extLst>
              <a:ext uri="{FF2B5EF4-FFF2-40B4-BE49-F238E27FC236}">
                <a16:creationId xmlns:a16="http://schemas.microsoft.com/office/drawing/2014/main" id="{7F5E4FAE-4B8F-428D-9FC8-78DA1DDC8C6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4838" y="1132240"/>
            <a:ext cx="5746351" cy="4676424"/>
          </a:xfrm>
          <a:prstGeom prst="rect">
            <a:avLst/>
          </a:prstGeom>
        </p:spPr>
      </p:pic>
      <p:sp>
        <p:nvSpPr>
          <p:cNvPr id="9" name="TextBox 8">
            <a:extLst>
              <a:ext uri="{FF2B5EF4-FFF2-40B4-BE49-F238E27FC236}">
                <a16:creationId xmlns:a16="http://schemas.microsoft.com/office/drawing/2014/main" id="{E36F85B8-0018-4703-B04A-35BF324BB9EA}"/>
              </a:ext>
            </a:extLst>
          </p:cNvPr>
          <p:cNvSpPr txBox="1"/>
          <p:nvPr/>
        </p:nvSpPr>
        <p:spPr>
          <a:xfrm>
            <a:off x="6286502" y="1371600"/>
            <a:ext cx="5524500" cy="4503737"/>
          </a:xfrm>
          <a:prstGeom prst="rect">
            <a:avLst/>
          </a:prstGeom>
          <a:noFill/>
        </p:spPr>
        <p:txBody>
          <a:bodyPr wrap="square" lIns="0" tIns="0" rIns="0" bIns="0" rtlCol="0">
            <a:noAutofit/>
          </a:bodyPr>
          <a:lstStyle/>
          <a:p>
            <a:pPr algn="l"/>
            <a:r>
              <a:rPr lang="en-US" sz="1800" b="0" i="0" u="none" strike="noStrike" baseline="0" noProof="0" dirty="0">
                <a:latin typeface="Graphik" panose="020B0503030202060203" pitchFamily="34" charset="0"/>
              </a:rPr>
              <a:t>We use </a:t>
            </a:r>
            <a:r>
              <a:rPr lang="en-US" sz="1800" b="1" i="0" u="none" strike="noStrike" baseline="0" noProof="0" dirty="0">
                <a:latin typeface="Graphik" panose="020B0503030202060203" pitchFamily="34" charset="0"/>
              </a:rPr>
              <a:t>Graphik</a:t>
            </a:r>
            <a:r>
              <a:rPr lang="en-US" sz="1800" b="0" i="0" u="none" strike="noStrike" baseline="0" noProof="0" dirty="0">
                <a:latin typeface="Graphik" panose="020B0503030202060203" pitchFamily="34" charset="0"/>
              </a:rPr>
              <a:t> as our core brand typography. For optimum text accessibility on PowerPoint, we use Graphik Regular.</a:t>
            </a:r>
          </a:p>
          <a:p>
            <a:pPr algn="l"/>
            <a:endParaRPr lang="en-US" sz="1800" b="0" i="0" u="none" strike="noStrike" baseline="0" noProof="0" dirty="0">
              <a:latin typeface="Graphik" panose="020B0503030202060203" pitchFamily="34" charset="0"/>
            </a:endParaRPr>
          </a:p>
          <a:p>
            <a:pPr algn="l"/>
            <a:r>
              <a:rPr lang="en-US" sz="1800" b="0" i="0" u="none" strike="noStrike" baseline="0" noProof="0" dirty="0">
                <a:latin typeface="Graphik" panose="020B0503030202060203" pitchFamily="34" charset="0"/>
              </a:rPr>
              <a:t>On some slide layouts (Covers and Dividers), we have added </a:t>
            </a:r>
            <a:r>
              <a:rPr lang="en-US" sz="1800" b="1" i="0" u="none" strike="noStrike" baseline="0" noProof="0" dirty="0">
                <a:latin typeface="Graphik" panose="020B0503030202060203" pitchFamily="34" charset="0"/>
              </a:rPr>
              <a:t>GT Sectra Fine </a:t>
            </a:r>
            <a:r>
              <a:rPr lang="en-US" sz="1800" b="0" i="0" u="none" strike="noStrike" baseline="0" noProof="0" dirty="0">
                <a:latin typeface="Graphik" panose="020B0503030202060203" pitchFamily="34" charset="0"/>
              </a:rPr>
              <a:t>to add a bit of humanity and visual interest. </a:t>
            </a:r>
          </a:p>
          <a:p>
            <a:pPr algn="l"/>
            <a:endParaRPr lang="en-US" sz="1800" b="0" i="0" u="none" strike="noStrike" baseline="0" noProof="0" dirty="0">
              <a:latin typeface="Graphik" panose="020B0503030202060203" pitchFamily="34" charset="0"/>
            </a:endParaRPr>
          </a:p>
          <a:p>
            <a:r>
              <a:rPr lang="en-US" sz="1800" b="0" i="0" u="none" strike="noStrike" baseline="0" noProof="0" dirty="0">
                <a:latin typeface="Graphik" panose="020B0503030202060203" pitchFamily="34" charset="0"/>
              </a:rPr>
              <a:t>Download and install </a:t>
            </a:r>
            <a:r>
              <a:rPr lang="en-US" sz="1800" b="0" i="0" u="none" strike="noStrike" baseline="0" noProof="0" dirty="0" err="1">
                <a:latin typeface="Graphik" panose="020B0503030202060203" pitchFamily="34" charset="0"/>
              </a:rPr>
              <a:t>Graphik</a:t>
            </a:r>
            <a:r>
              <a:rPr lang="en-US" sz="1800" b="0" i="0" u="none" strike="noStrike" baseline="0" noProof="0" dirty="0">
                <a:latin typeface="Graphik" panose="020B0503030202060203" pitchFamily="34" charset="0"/>
              </a:rPr>
              <a:t> and GT Sectra Fine fonts </a:t>
            </a:r>
            <a:r>
              <a:rPr lang="en-GB" u="sng" dirty="0">
                <a:solidFill>
                  <a:srgbClr val="A100FF"/>
                </a:solidFill>
                <a:hlinkClick r:id="rId3">
                  <a:extLst>
                    <a:ext uri="{A12FA001-AC4F-418D-AE19-62706E023703}">
                      <ahyp:hlinkClr xmlns:ahyp="http://schemas.microsoft.com/office/drawing/2018/hyperlinkcolor" val="tx"/>
                    </a:ext>
                  </a:extLst>
                </a:hlinkClick>
              </a:rPr>
              <a:t>here</a:t>
            </a:r>
            <a:r>
              <a:rPr lang="en-GB" u="sng" dirty="0">
                <a:solidFill>
                  <a:srgbClr val="A100FF"/>
                </a:solidFill>
              </a:rPr>
              <a:t>.</a:t>
            </a:r>
            <a:endParaRPr lang="en-US" sz="1800" b="0" i="0" u="none" strike="noStrike" baseline="0" noProof="0" dirty="0">
              <a:latin typeface="Graphik" panose="020B0503030202060203" pitchFamily="34" charset="0"/>
            </a:endParaRPr>
          </a:p>
          <a:p>
            <a:pPr algn="l"/>
            <a:endParaRPr lang="en-US" sz="1800" b="0" i="0" u="none" strike="noStrike" baseline="0" noProof="0" dirty="0">
              <a:latin typeface="Graphik" panose="020B0503030202060203" pitchFamily="34" charset="0"/>
            </a:endParaRPr>
          </a:p>
          <a:p>
            <a:r>
              <a:rPr lang="en-US" sz="1800" b="0" i="0" u="none" strike="noStrike" baseline="0" noProof="0" dirty="0">
                <a:latin typeface="Graphik" panose="020B0503030202060203" pitchFamily="34" charset="0"/>
              </a:rPr>
              <a:t>If these fonts are not available or you can only use system fonts, please use the </a:t>
            </a:r>
            <a:r>
              <a:rPr lang="en-US" sz="1800" b="1" i="0" u="none" strike="noStrike" baseline="0" noProof="0" dirty="0">
                <a:latin typeface="Graphik" panose="020B0503030202060203" pitchFamily="34" charset="0"/>
              </a:rPr>
              <a:t>Arial</a:t>
            </a:r>
            <a:r>
              <a:rPr lang="en-US" sz="1800" b="0" i="0" u="none" strike="noStrike" baseline="0" noProof="0" dirty="0">
                <a:latin typeface="Graphik" panose="020B0503030202060203" pitchFamily="34" charset="0"/>
              </a:rPr>
              <a:t> template available </a:t>
            </a:r>
            <a:r>
              <a:rPr lang="en-GB" u="sng" dirty="0">
                <a:solidFill>
                  <a:srgbClr val="A100FF"/>
                </a:solidFill>
                <a:hlinkClick r:id="rId3">
                  <a:extLst>
                    <a:ext uri="{A12FA001-AC4F-418D-AE19-62706E023703}">
                      <ahyp:hlinkClr xmlns:ahyp="http://schemas.microsoft.com/office/drawing/2018/hyperlinkcolor" val="tx"/>
                    </a:ext>
                  </a:extLst>
                </a:hlinkClick>
              </a:rPr>
              <a:t>here</a:t>
            </a:r>
            <a:r>
              <a:rPr lang="en-GB" u="sng" dirty="0">
                <a:solidFill>
                  <a:srgbClr val="A100FF"/>
                </a:solidFill>
              </a:rPr>
              <a:t>.</a:t>
            </a:r>
            <a:endParaRPr lang="en-US" sz="1800" b="0" i="0" u="none" strike="noStrike" baseline="0" noProof="0" dirty="0">
              <a:latin typeface="Graphik" panose="020B0503030202060203" pitchFamily="34" charset="0"/>
            </a:endParaRPr>
          </a:p>
        </p:txBody>
      </p:sp>
    </p:spTree>
    <p:extLst>
      <p:ext uri="{BB962C8B-B14F-4D97-AF65-F5344CB8AC3E}">
        <p14:creationId xmlns:p14="http://schemas.microsoft.com/office/powerpoint/2010/main" val="20741331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0FAFA-ABA5-46D7-84D7-180D7D989AB1}"/>
              </a:ext>
            </a:extLst>
          </p:cNvPr>
          <p:cNvSpPr>
            <a:spLocks noGrp="1"/>
          </p:cNvSpPr>
          <p:nvPr>
            <p:ph type="title"/>
          </p:nvPr>
        </p:nvSpPr>
        <p:spPr/>
        <p:txBody>
          <a:bodyPr/>
          <a:lstStyle/>
          <a:p>
            <a:r>
              <a:rPr lang="en-US" dirty="0"/>
              <a:t>Grouped Column Chart 2</a:t>
            </a:r>
          </a:p>
        </p:txBody>
      </p:sp>
      <p:sp>
        <p:nvSpPr>
          <p:cNvPr id="11" name="Rectangle 3">
            <a:extLst>
              <a:ext uri="{FF2B5EF4-FFF2-40B4-BE49-F238E27FC236}">
                <a16:creationId xmlns:a16="http://schemas.microsoft.com/office/drawing/2014/main" id="{BDD3CE14-6B07-4AED-9FC9-8B4E462E155E}"/>
              </a:ext>
            </a:extLst>
          </p:cNvPr>
          <p:cNvSpPr>
            <a:spLocks noChangeArrowheads="1"/>
          </p:cNvSpPr>
          <p:nvPr/>
        </p:nvSpPr>
        <p:spPr bwMode="auto">
          <a:xfrm>
            <a:off x="381000" y="5580830"/>
            <a:ext cx="4647393"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Select a data series by clicking with the right mouse button on the bar. </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Choose an overlap in the options menu</a:t>
            </a:r>
          </a:p>
        </p:txBody>
      </p:sp>
      <p:sp>
        <p:nvSpPr>
          <p:cNvPr id="13" name="Freeform: Shape 12">
            <a:hlinkClick r:id="rId3" action="ppaction://hlinksldjump"/>
            <a:extLst>
              <a:ext uri="{FF2B5EF4-FFF2-40B4-BE49-F238E27FC236}">
                <a16:creationId xmlns:a16="http://schemas.microsoft.com/office/drawing/2014/main" id="{0FE45F0D-90C2-4587-A335-69ABDE4E169A}"/>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5A080E67-25D8-4959-AAB6-AA3E9BB757D2}"/>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9" name="Object 2">
            <a:extLst>
              <a:ext uri="{FF2B5EF4-FFF2-40B4-BE49-F238E27FC236}">
                <a16:creationId xmlns:a16="http://schemas.microsoft.com/office/drawing/2014/main" id="{DA303A66-A6F9-449F-A133-57D48001CFB9}"/>
              </a:ext>
            </a:extLst>
          </p:cNvPr>
          <p:cNvGraphicFramePr>
            <a:graphicFrameLocks noGrp="1"/>
          </p:cNvGraphicFramePr>
          <p:nvPr>
            <p:ph sz="quarter" idx="10"/>
            <p:extLst>
              <p:ext uri="{D42A27DB-BD31-4B8C-83A1-F6EECF244321}">
                <p14:modId xmlns:p14="http://schemas.microsoft.com/office/powerpoint/2010/main" val="372244494"/>
              </p:ext>
            </p:extLst>
          </p:nvPr>
        </p:nvGraphicFramePr>
        <p:xfrm>
          <a:off x="381000" y="1371600"/>
          <a:ext cx="11430000" cy="396983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4286994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DB6CE-34AC-48BD-A35C-EF5C9E368147}"/>
              </a:ext>
            </a:extLst>
          </p:cNvPr>
          <p:cNvSpPr>
            <a:spLocks noGrp="1"/>
          </p:cNvSpPr>
          <p:nvPr>
            <p:ph type="title"/>
          </p:nvPr>
        </p:nvSpPr>
        <p:spPr/>
        <p:txBody>
          <a:bodyPr/>
          <a:lstStyle/>
          <a:p>
            <a:r>
              <a:rPr lang="en-US" dirty="0"/>
              <a:t>Sub-divided Column Chart</a:t>
            </a:r>
          </a:p>
        </p:txBody>
      </p:sp>
      <p:sp>
        <p:nvSpPr>
          <p:cNvPr id="19" name="Rectangle 3">
            <a:extLst>
              <a:ext uri="{FF2B5EF4-FFF2-40B4-BE49-F238E27FC236}">
                <a16:creationId xmlns:a16="http://schemas.microsoft.com/office/drawing/2014/main" id="{5E929D27-A05C-427C-A2B1-C96FF11B38CA}"/>
              </a:ext>
            </a:extLst>
          </p:cNvPr>
          <p:cNvSpPr>
            <a:spLocks noChangeArrowheads="1"/>
          </p:cNvSpPr>
          <p:nvPr/>
        </p:nvSpPr>
        <p:spPr bwMode="auto">
          <a:xfrm>
            <a:off x="381001" y="5067870"/>
            <a:ext cx="7159774" cy="1244031"/>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Calculate the total and enter it in the "Sum" row (which is a transparent ba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Bottom align the total value (which is a transparent ba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Edit group names manually </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To change the height of the columns select Chart Options and turn on the y-axis, then use Format Axis/Scale to set the length of the y-axis. Once the scale is set, use Chart Options again to remove the y-axis </a:t>
            </a:r>
          </a:p>
        </p:txBody>
      </p:sp>
      <p:sp>
        <p:nvSpPr>
          <p:cNvPr id="21" name="Freeform: Shape 20">
            <a:hlinkClick r:id="rId3" action="ppaction://hlinksldjump"/>
            <a:extLst>
              <a:ext uri="{FF2B5EF4-FFF2-40B4-BE49-F238E27FC236}">
                <a16:creationId xmlns:a16="http://schemas.microsoft.com/office/drawing/2014/main" id="{85F41C78-8AB1-456E-AF09-F10E1EBFA2B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09095AC-0ED4-44CE-AD90-08DC82B6DF9D}"/>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9" name="Object 2">
            <a:extLst>
              <a:ext uri="{FF2B5EF4-FFF2-40B4-BE49-F238E27FC236}">
                <a16:creationId xmlns:a16="http://schemas.microsoft.com/office/drawing/2014/main" id="{4D457ED5-1120-4BAE-AF53-DBB50FCE0E9F}"/>
              </a:ext>
            </a:extLst>
          </p:cNvPr>
          <p:cNvGraphicFramePr>
            <a:graphicFrameLocks/>
          </p:cNvGraphicFramePr>
          <p:nvPr>
            <p:extLst>
              <p:ext uri="{D42A27DB-BD31-4B8C-83A1-F6EECF244321}">
                <p14:modId xmlns:p14="http://schemas.microsoft.com/office/powerpoint/2010/main" val="2410298667"/>
              </p:ext>
            </p:extLst>
          </p:nvPr>
        </p:nvGraphicFramePr>
        <p:xfrm>
          <a:off x="344488" y="804695"/>
          <a:ext cx="11510962" cy="429418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Box 2">
            <a:extLst>
              <a:ext uri="{FF2B5EF4-FFF2-40B4-BE49-F238E27FC236}">
                <a16:creationId xmlns:a16="http://schemas.microsoft.com/office/drawing/2014/main" id="{74A6F253-5B45-4523-ADA1-C4553D209637}"/>
              </a:ext>
            </a:extLst>
          </p:cNvPr>
          <p:cNvSpPr txBox="1">
            <a:spLocks noChangeArrowheads="1"/>
          </p:cNvSpPr>
          <p:nvPr/>
        </p:nvSpPr>
        <p:spPr bwMode="auto">
          <a:xfrm>
            <a:off x="341856" y="4178402"/>
            <a:ext cx="1371646" cy="247775"/>
          </a:xfrm>
          <a:prstGeom prst="rect">
            <a:avLst/>
          </a:prstGeom>
          <a:noFill/>
          <a:ln w="9525">
            <a:noFill/>
            <a:miter lim="800000"/>
            <a:headEnd/>
            <a:tailEnd/>
          </a:ln>
        </p:spPr>
        <p:txBody>
          <a:bodyPr wrap="square" lIns="27432" tIns="32004" rIns="0" bIns="0" anchor="t" upright="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000"/>
            </a:pPr>
            <a:r>
              <a:rPr lang="de-DE" sz="1400" b="1" i="0" u="none" strike="noStrike" cap="all" baseline="0" dirty="0">
                <a:solidFill>
                  <a:schemeClr val="accent1"/>
                </a:solidFill>
                <a:latin typeface="+mj-lt"/>
                <a:cs typeface="Arial"/>
              </a:rPr>
              <a:t>Group 1</a:t>
            </a:r>
          </a:p>
        </p:txBody>
      </p:sp>
      <p:sp>
        <p:nvSpPr>
          <p:cNvPr id="5" name="Text Box 3">
            <a:extLst>
              <a:ext uri="{FF2B5EF4-FFF2-40B4-BE49-F238E27FC236}">
                <a16:creationId xmlns:a16="http://schemas.microsoft.com/office/drawing/2014/main" id="{12E9A503-E060-47A0-AC17-1C5D1F0857E3}"/>
              </a:ext>
            </a:extLst>
          </p:cNvPr>
          <p:cNvSpPr txBox="1">
            <a:spLocks noChangeArrowheads="1"/>
          </p:cNvSpPr>
          <p:nvPr/>
        </p:nvSpPr>
        <p:spPr bwMode="auto">
          <a:xfrm>
            <a:off x="341856" y="3705783"/>
            <a:ext cx="1990706" cy="247775"/>
          </a:xfrm>
          <a:prstGeom prst="rect">
            <a:avLst/>
          </a:prstGeom>
          <a:noFill/>
          <a:ln w="9525">
            <a:noFill/>
            <a:miter lim="800000"/>
            <a:headEnd/>
            <a:tailEnd/>
          </a:ln>
        </p:spPr>
        <p:txBody>
          <a:bodyPr wrap="square" lIns="27432" tIns="32004" rIns="0" bIns="0" anchor="t" upright="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000"/>
            </a:pPr>
            <a:r>
              <a:rPr lang="de-DE" sz="1400" b="1" i="0" u="none" strike="noStrike" cap="all" baseline="0" dirty="0">
                <a:solidFill>
                  <a:schemeClr val="accent5"/>
                </a:solidFill>
                <a:latin typeface="+mj-lt"/>
                <a:cs typeface="Arial"/>
              </a:rPr>
              <a:t>Group 2</a:t>
            </a:r>
          </a:p>
        </p:txBody>
      </p:sp>
    </p:spTree>
    <p:extLst>
      <p:ext uri="{BB962C8B-B14F-4D97-AF65-F5344CB8AC3E}">
        <p14:creationId xmlns:p14="http://schemas.microsoft.com/office/powerpoint/2010/main" val="26058113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DB6CE-34AC-48BD-A35C-EF5C9E368147}"/>
              </a:ext>
            </a:extLst>
          </p:cNvPr>
          <p:cNvSpPr>
            <a:spLocks noGrp="1"/>
          </p:cNvSpPr>
          <p:nvPr>
            <p:ph type="title"/>
          </p:nvPr>
        </p:nvSpPr>
        <p:spPr/>
        <p:txBody>
          <a:bodyPr/>
          <a:lstStyle/>
          <a:p>
            <a:r>
              <a:rPr lang="en-US" dirty="0"/>
              <a:t>Sub-divided 100% Column Chart</a:t>
            </a:r>
          </a:p>
        </p:txBody>
      </p:sp>
      <p:sp>
        <p:nvSpPr>
          <p:cNvPr id="3" name="Rectangle 3">
            <a:extLst>
              <a:ext uri="{FF2B5EF4-FFF2-40B4-BE49-F238E27FC236}">
                <a16:creationId xmlns:a16="http://schemas.microsoft.com/office/drawing/2014/main" id="{9873FB1E-3383-44A3-9E94-1F20BF75BEE6}"/>
              </a:ext>
            </a:extLst>
          </p:cNvPr>
          <p:cNvSpPr>
            <a:spLocks noChangeArrowheads="1"/>
          </p:cNvSpPr>
          <p:nvPr/>
        </p:nvSpPr>
        <p:spPr bwMode="auto">
          <a:xfrm>
            <a:off x="380999" y="5580831"/>
            <a:ext cx="3732993" cy="731070"/>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Select Format Series Lines to add/remove trend line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dit Group names manually </a:t>
            </a:r>
          </a:p>
        </p:txBody>
      </p:sp>
      <p:sp>
        <p:nvSpPr>
          <p:cNvPr id="4" name="Freeform: Shape 3">
            <a:hlinkClick r:id="rId3" action="ppaction://hlinksldjump"/>
            <a:extLst>
              <a:ext uri="{FF2B5EF4-FFF2-40B4-BE49-F238E27FC236}">
                <a16:creationId xmlns:a16="http://schemas.microsoft.com/office/drawing/2014/main" id="{81B6B0BE-E5BE-4E95-ACB5-9779C8BF4EAA}"/>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Rectangle 4">
            <a:hlinkClick r:id="rId3" action="ppaction://hlinksldjump"/>
            <a:extLst>
              <a:ext uri="{FF2B5EF4-FFF2-40B4-BE49-F238E27FC236}">
                <a16:creationId xmlns:a16="http://schemas.microsoft.com/office/drawing/2014/main" id="{64BD1986-009F-4A95-AC62-90F20D57E9C2}"/>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11" name="Object 2">
            <a:extLst>
              <a:ext uri="{FF2B5EF4-FFF2-40B4-BE49-F238E27FC236}">
                <a16:creationId xmlns:a16="http://schemas.microsoft.com/office/drawing/2014/main" id="{ABFA2473-EC9E-4919-A950-56E301617FAA}"/>
              </a:ext>
            </a:extLst>
          </p:cNvPr>
          <p:cNvGraphicFramePr>
            <a:graphicFrameLocks/>
          </p:cNvGraphicFramePr>
          <p:nvPr>
            <p:extLst>
              <p:ext uri="{D42A27DB-BD31-4B8C-83A1-F6EECF244321}">
                <p14:modId xmlns:p14="http://schemas.microsoft.com/office/powerpoint/2010/main" val="3785202096"/>
              </p:ext>
            </p:extLst>
          </p:nvPr>
        </p:nvGraphicFramePr>
        <p:xfrm>
          <a:off x="380999" y="1163980"/>
          <a:ext cx="11429367" cy="42941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3020770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8595B-01BD-41D3-908A-E5B0548E3D4E}"/>
              </a:ext>
            </a:extLst>
          </p:cNvPr>
          <p:cNvSpPr>
            <a:spLocks noGrp="1"/>
          </p:cNvSpPr>
          <p:nvPr>
            <p:ph type="title"/>
          </p:nvPr>
        </p:nvSpPr>
        <p:spPr/>
        <p:txBody>
          <a:bodyPr/>
          <a:lstStyle/>
          <a:p>
            <a:r>
              <a:rPr lang="en-US" dirty="0"/>
              <a:t>Step-column Chart</a:t>
            </a:r>
          </a:p>
        </p:txBody>
      </p:sp>
      <p:sp>
        <p:nvSpPr>
          <p:cNvPr id="9" name="Rectangle 3">
            <a:extLst>
              <a:ext uri="{FF2B5EF4-FFF2-40B4-BE49-F238E27FC236}">
                <a16:creationId xmlns:a16="http://schemas.microsoft.com/office/drawing/2014/main" id="{0C63C576-DEF1-428C-A75A-09CAC3E7E542}"/>
              </a:ext>
            </a:extLst>
          </p:cNvPr>
          <p:cNvSpPr>
            <a:spLocks noChangeArrowheads="1"/>
          </p:cNvSpPr>
          <p:nvPr/>
        </p:nvSpPr>
        <p:spPr bwMode="auto">
          <a:xfrm>
            <a:off x="381000" y="5401293"/>
            <a:ext cx="4449219"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 as required (each will adopt a different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bar to change the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Drag data values outside the columns manually</a:t>
            </a:r>
          </a:p>
        </p:txBody>
      </p:sp>
      <p:sp>
        <p:nvSpPr>
          <p:cNvPr id="11" name="Freeform: Shape 10">
            <a:hlinkClick r:id="rId3" action="ppaction://hlinksldjump"/>
            <a:extLst>
              <a:ext uri="{FF2B5EF4-FFF2-40B4-BE49-F238E27FC236}">
                <a16:creationId xmlns:a16="http://schemas.microsoft.com/office/drawing/2014/main" id="{64DBD175-ABF8-4146-A62D-DA35CCF9C64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284B9F48-41F3-406B-B0BF-DD1033DCF193}"/>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10" name="Object 2">
            <a:extLst>
              <a:ext uri="{FF2B5EF4-FFF2-40B4-BE49-F238E27FC236}">
                <a16:creationId xmlns:a16="http://schemas.microsoft.com/office/drawing/2014/main" id="{A7F4EC8C-B7EA-4EC7-AE0E-0BCBE4818495}"/>
              </a:ext>
            </a:extLst>
          </p:cNvPr>
          <p:cNvGraphicFramePr>
            <a:graphicFrameLocks noGrp="1"/>
          </p:cNvGraphicFramePr>
          <p:nvPr>
            <p:ph sz="quarter" idx="10"/>
            <p:extLst>
              <p:ext uri="{D42A27DB-BD31-4B8C-83A1-F6EECF244321}">
                <p14:modId xmlns:p14="http://schemas.microsoft.com/office/powerpoint/2010/main" val="1074399534"/>
              </p:ext>
            </p:extLst>
          </p:nvPr>
        </p:nvGraphicFramePr>
        <p:xfrm>
          <a:off x="381000" y="1371601"/>
          <a:ext cx="11430000" cy="37914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154926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8595B-01BD-41D3-908A-E5B0548E3D4E}"/>
              </a:ext>
            </a:extLst>
          </p:cNvPr>
          <p:cNvSpPr>
            <a:spLocks noGrp="1"/>
          </p:cNvSpPr>
          <p:nvPr>
            <p:ph type="title"/>
          </p:nvPr>
        </p:nvSpPr>
        <p:spPr/>
        <p:txBody>
          <a:bodyPr/>
          <a:lstStyle/>
          <a:p>
            <a:r>
              <a:rPr lang="en-US" dirty="0"/>
              <a:t>Combination Column-line Chart 1</a:t>
            </a:r>
          </a:p>
        </p:txBody>
      </p:sp>
      <p:sp>
        <p:nvSpPr>
          <p:cNvPr id="9" name="Rectangle 3">
            <a:extLst>
              <a:ext uri="{FF2B5EF4-FFF2-40B4-BE49-F238E27FC236}">
                <a16:creationId xmlns:a16="http://schemas.microsoft.com/office/drawing/2014/main" id="{0C63C576-DEF1-428C-A75A-09CAC3E7E542}"/>
              </a:ext>
            </a:extLst>
          </p:cNvPr>
          <p:cNvSpPr>
            <a:spLocks noChangeArrowheads="1"/>
          </p:cNvSpPr>
          <p:nvPr/>
        </p:nvSpPr>
        <p:spPr bwMode="auto">
          <a:xfrm>
            <a:off x="381000" y="5401293"/>
            <a:ext cx="4449219"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 as required </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bar to change the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Drag data values outside the columns manually</a:t>
            </a:r>
          </a:p>
        </p:txBody>
      </p:sp>
      <p:sp>
        <p:nvSpPr>
          <p:cNvPr id="11" name="Freeform: Shape 10">
            <a:hlinkClick r:id="rId3" action="ppaction://hlinksldjump"/>
            <a:extLst>
              <a:ext uri="{FF2B5EF4-FFF2-40B4-BE49-F238E27FC236}">
                <a16:creationId xmlns:a16="http://schemas.microsoft.com/office/drawing/2014/main" id="{64DBD175-ABF8-4146-A62D-DA35CCF9C64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0D818B3F-BAE2-44D4-8037-D1929C93C5C0}"/>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8" name="Object 2">
            <a:extLst>
              <a:ext uri="{FF2B5EF4-FFF2-40B4-BE49-F238E27FC236}">
                <a16:creationId xmlns:a16="http://schemas.microsoft.com/office/drawing/2014/main" id="{B588B281-06AB-47F7-B770-A493B6C61595}"/>
              </a:ext>
            </a:extLst>
          </p:cNvPr>
          <p:cNvGraphicFramePr>
            <a:graphicFrameLocks/>
          </p:cNvGraphicFramePr>
          <p:nvPr>
            <p:extLst>
              <p:ext uri="{D42A27DB-BD31-4B8C-83A1-F6EECF244321}">
                <p14:modId xmlns:p14="http://schemas.microsoft.com/office/powerpoint/2010/main" val="4075820904"/>
              </p:ext>
            </p:extLst>
          </p:nvPr>
        </p:nvGraphicFramePr>
        <p:xfrm>
          <a:off x="379414" y="1070517"/>
          <a:ext cx="11431586" cy="42081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325614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8595B-01BD-41D3-908A-E5B0548E3D4E}"/>
              </a:ext>
            </a:extLst>
          </p:cNvPr>
          <p:cNvSpPr>
            <a:spLocks noGrp="1"/>
          </p:cNvSpPr>
          <p:nvPr>
            <p:ph type="title"/>
          </p:nvPr>
        </p:nvSpPr>
        <p:spPr/>
        <p:txBody>
          <a:bodyPr/>
          <a:lstStyle/>
          <a:p>
            <a:r>
              <a:rPr lang="en-US" dirty="0"/>
              <a:t>Combination Column-line Chart 2</a:t>
            </a:r>
          </a:p>
        </p:txBody>
      </p:sp>
      <p:sp>
        <p:nvSpPr>
          <p:cNvPr id="9" name="Rectangle 3">
            <a:extLst>
              <a:ext uri="{FF2B5EF4-FFF2-40B4-BE49-F238E27FC236}">
                <a16:creationId xmlns:a16="http://schemas.microsoft.com/office/drawing/2014/main" id="{0C63C576-DEF1-428C-A75A-09CAC3E7E542}"/>
              </a:ext>
            </a:extLst>
          </p:cNvPr>
          <p:cNvSpPr>
            <a:spLocks noChangeArrowheads="1"/>
          </p:cNvSpPr>
          <p:nvPr/>
        </p:nvSpPr>
        <p:spPr bwMode="auto">
          <a:xfrm>
            <a:off x="381000" y="5205822"/>
            <a:ext cx="4449219"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 as required (each will adopt a different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bar to change the color</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Drag data values outside the columns manually</a:t>
            </a:r>
          </a:p>
          <a:p>
            <a:pPr marL="144000" marR="0" lvl="0" indent="-144000" algn="l" defTabSz="914400" rtl="0" eaLnBrk="0" fontAlgn="auto" latinLnBrk="0" hangingPunct="0">
              <a:lnSpc>
                <a:spcPct val="100000"/>
              </a:lnSpc>
              <a:spcBef>
                <a:spcPts val="100"/>
              </a:spcBef>
              <a:spcAft>
                <a:spcPts val="100"/>
              </a:spcAft>
              <a:buClrTx/>
              <a:buSzTx/>
              <a:buFontTx/>
              <a:buNone/>
              <a:tabLst>
                <a:tab pos="192088" algn="l"/>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Right axis is for the line</a:t>
            </a:r>
          </a:p>
        </p:txBody>
      </p:sp>
      <p:sp>
        <p:nvSpPr>
          <p:cNvPr id="11" name="Freeform: Shape 10">
            <a:hlinkClick r:id="rId3" action="ppaction://hlinksldjump"/>
            <a:extLst>
              <a:ext uri="{FF2B5EF4-FFF2-40B4-BE49-F238E27FC236}">
                <a16:creationId xmlns:a16="http://schemas.microsoft.com/office/drawing/2014/main" id="{64DBD175-ABF8-4146-A62D-DA35CCF9C642}"/>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E7AFB15A-F324-4475-8884-608CC9A0292A}"/>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8" name="Object 2">
            <a:extLst>
              <a:ext uri="{FF2B5EF4-FFF2-40B4-BE49-F238E27FC236}">
                <a16:creationId xmlns:a16="http://schemas.microsoft.com/office/drawing/2014/main" id="{780CF6BD-9C9D-41BA-B88D-1843D44E77DE}"/>
              </a:ext>
            </a:extLst>
          </p:cNvPr>
          <p:cNvGraphicFramePr>
            <a:graphicFrameLocks/>
          </p:cNvGraphicFramePr>
          <p:nvPr>
            <p:extLst>
              <p:ext uri="{D42A27DB-BD31-4B8C-83A1-F6EECF244321}">
                <p14:modId xmlns:p14="http://schemas.microsoft.com/office/powerpoint/2010/main" val="3861506464"/>
              </p:ext>
            </p:extLst>
          </p:nvPr>
        </p:nvGraphicFramePr>
        <p:xfrm>
          <a:off x="377826" y="1075672"/>
          <a:ext cx="11433174" cy="389597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8557493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Pie Charts</a:t>
            </a:r>
          </a:p>
        </p:txBody>
      </p:sp>
      <p:sp>
        <p:nvSpPr>
          <p:cNvPr id="8" name="Freeform: Shape 7">
            <a:hlinkClick r:id="rId3"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Text Placeholder 4">
            <a:extLst>
              <a:ext uri="{FF2B5EF4-FFF2-40B4-BE49-F238E27FC236}">
                <a16:creationId xmlns:a16="http://schemas.microsoft.com/office/drawing/2014/main" id="{8A01CA77-19AE-420B-9179-0541CF8AF34C}"/>
              </a:ext>
            </a:extLst>
          </p:cNvPr>
          <p:cNvSpPr>
            <a:spLocks noGrp="1"/>
          </p:cNvSpPr>
          <p:nvPr>
            <p:ph type="body" sz="quarter" idx="15"/>
          </p:nvPr>
        </p:nvSpPr>
        <p:spPr>
          <a:xfrm>
            <a:off x="8055427" y="3889828"/>
            <a:ext cx="2993573" cy="2194486"/>
          </a:xfrm>
        </p:spPr>
        <p:txBody>
          <a:bodyPr/>
          <a:lstStyle/>
          <a:p>
            <a:r>
              <a:rPr lang="en-US" dirty="0"/>
              <a:t>Part of </a:t>
            </a:r>
            <a:r>
              <a:rPr lang="en-US" dirty="0">
                <a:hlinkClick r:id="rId4" action="ppaction://hlinksldjump">
                  <a:extLst>
                    <a:ext uri="{A12FA001-AC4F-418D-AE19-62706E023703}">
                      <ahyp:hlinkClr xmlns:ahyp="http://schemas.microsoft.com/office/drawing/2018/hyperlinkcolor" val="tx"/>
                    </a:ext>
                  </a:extLst>
                </a:hlinkClick>
              </a:rPr>
              <a:t>Charts</a:t>
            </a:r>
            <a:endParaRPr lang="en-US" dirty="0"/>
          </a:p>
        </p:txBody>
      </p:sp>
      <p:sp>
        <p:nvSpPr>
          <p:cNvPr id="2" name="Rectangle 1">
            <a:hlinkClick r:id="rId3" action="ppaction://hlinksldjump"/>
            <a:extLst>
              <a:ext uri="{FF2B5EF4-FFF2-40B4-BE49-F238E27FC236}">
                <a16:creationId xmlns:a16="http://schemas.microsoft.com/office/drawing/2014/main" id="{E3B85E63-5D00-4F15-8E04-7C65BDBEBD8F}"/>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61213439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DA85B-E083-41C4-9856-946D2DA4BFF0}"/>
              </a:ext>
            </a:extLst>
          </p:cNvPr>
          <p:cNvSpPr>
            <a:spLocks noGrp="1"/>
          </p:cNvSpPr>
          <p:nvPr>
            <p:ph type="title"/>
          </p:nvPr>
        </p:nvSpPr>
        <p:spPr/>
        <p:txBody>
          <a:bodyPr/>
          <a:lstStyle/>
          <a:p>
            <a:r>
              <a:rPr lang="en-US" dirty="0"/>
              <a:t>Quick Manual Pie Chart </a:t>
            </a:r>
          </a:p>
        </p:txBody>
      </p:sp>
      <p:sp>
        <p:nvSpPr>
          <p:cNvPr id="3" name="Content Placeholder 2">
            <a:extLst>
              <a:ext uri="{FF2B5EF4-FFF2-40B4-BE49-F238E27FC236}">
                <a16:creationId xmlns:a16="http://schemas.microsoft.com/office/drawing/2014/main" id="{09708E98-8518-410A-BE96-484B8A855872}"/>
              </a:ext>
            </a:extLst>
          </p:cNvPr>
          <p:cNvSpPr>
            <a:spLocks noGrp="1"/>
          </p:cNvSpPr>
          <p:nvPr>
            <p:ph sz="quarter" idx="10"/>
          </p:nvPr>
        </p:nvSpPr>
        <p:spPr>
          <a:xfrm>
            <a:off x="381001" y="1371601"/>
            <a:ext cx="5714999" cy="4940300"/>
          </a:xfrm>
        </p:spPr>
        <p:txBody>
          <a:bodyPr/>
          <a:lstStyle/>
          <a:p>
            <a:r>
              <a:rPr lang="en-US" b="1" dirty="0"/>
              <a:t>Instructions:</a:t>
            </a:r>
          </a:p>
          <a:p>
            <a:pPr marL="274320" lvl="1" indent="-274320">
              <a:buFont typeface="+mj-lt"/>
              <a:buAutoNum type="arabicPeriod"/>
            </a:pPr>
            <a:r>
              <a:rPr lang="en-US" sz="1800" dirty="0"/>
              <a:t>Click onto the purple parts of the pie chart</a:t>
            </a:r>
          </a:p>
          <a:p>
            <a:pPr marL="274320" lvl="1" indent="-274320">
              <a:buFont typeface="+mj-lt"/>
              <a:buAutoNum type="arabicPeriod"/>
            </a:pPr>
            <a:r>
              <a:rPr lang="en-US" sz="1800" dirty="0"/>
              <a:t>Adjust filling size by moving the markers</a:t>
            </a:r>
          </a:p>
          <a:p>
            <a:pPr marL="274320" lvl="1" indent="-274320">
              <a:buFont typeface="+mj-lt"/>
              <a:buAutoNum type="arabicPeriod"/>
            </a:pPr>
            <a:r>
              <a:rPr lang="en-US" sz="1800" dirty="0"/>
              <a:t>Group pie chart, adjust size and copy it into your presentation</a:t>
            </a:r>
            <a:br>
              <a:rPr lang="en-US" sz="1800" dirty="0"/>
            </a:br>
            <a:endParaRPr lang="en-US" dirty="0"/>
          </a:p>
          <a:p>
            <a:r>
              <a:rPr lang="en-US" b="1" dirty="0"/>
              <a:t>Important: </a:t>
            </a:r>
          </a:p>
          <a:p>
            <a:pPr marL="274320" lvl="1" indent="-274320"/>
            <a:r>
              <a:rPr lang="en-US" sz="1800" dirty="0"/>
              <a:t>Only use this object in cases you quickly need a pie chart with illustrative data</a:t>
            </a:r>
          </a:p>
          <a:p>
            <a:pPr marL="274320" lvl="1" indent="-274320"/>
            <a:r>
              <a:rPr lang="en-US" sz="1800" dirty="0"/>
              <a:t>It is preferable to use PowerPoint chart objects with real, underlying data</a:t>
            </a:r>
          </a:p>
          <a:p>
            <a:pPr marL="274320" lvl="1" indent="-274320"/>
            <a:r>
              <a:rPr lang="en-US" sz="1800" dirty="0"/>
              <a:t>See the Charts library in the Visuals menu of the toolbar</a:t>
            </a:r>
          </a:p>
        </p:txBody>
      </p:sp>
      <p:graphicFrame>
        <p:nvGraphicFramePr>
          <p:cNvPr id="5" name="Content Placeholder 14">
            <a:extLst>
              <a:ext uri="{FF2B5EF4-FFF2-40B4-BE49-F238E27FC236}">
                <a16:creationId xmlns:a16="http://schemas.microsoft.com/office/drawing/2014/main" id="{BD4F33DD-B684-4731-91E5-FDA96F6FCAFF}"/>
              </a:ext>
            </a:extLst>
          </p:cNvPr>
          <p:cNvGraphicFramePr>
            <a:graphicFrameLocks/>
          </p:cNvGraphicFramePr>
          <p:nvPr>
            <p:extLst>
              <p:ext uri="{D42A27DB-BD31-4B8C-83A1-F6EECF244321}">
                <p14:modId xmlns:p14="http://schemas.microsoft.com/office/powerpoint/2010/main" val="946457116"/>
              </p:ext>
            </p:extLst>
          </p:nvPr>
        </p:nvGraphicFramePr>
        <p:xfrm>
          <a:off x="6436312" y="1371600"/>
          <a:ext cx="5259340"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7" name="Freeform: Shape 6">
            <a:hlinkClick r:id="rId4" action="ppaction://hlinksldjump"/>
            <a:extLst>
              <a:ext uri="{FF2B5EF4-FFF2-40B4-BE49-F238E27FC236}">
                <a16:creationId xmlns:a16="http://schemas.microsoft.com/office/drawing/2014/main" id="{B91451D2-0E5C-486E-A917-3046218E3703}"/>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3">
            <a:hlinkClick r:id="rId4" action="ppaction://hlinksldjump"/>
            <a:extLst>
              <a:ext uri="{FF2B5EF4-FFF2-40B4-BE49-F238E27FC236}">
                <a16:creationId xmlns:a16="http://schemas.microsoft.com/office/drawing/2014/main" id="{29976485-5FF1-4A44-BADA-25E90920E604}"/>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98427568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DA85B-E083-41C4-9856-946D2DA4BFF0}"/>
              </a:ext>
            </a:extLst>
          </p:cNvPr>
          <p:cNvSpPr>
            <a:spLocks noGrp="1"/>
          </p:cNvSpPr>
          <p:nvPr>
            <p:ph type="title"/>
          </p:nvPr>
        </p:nvSpPr>
        <p:spPr/>
        <p:txBody>
          <a:bodyPr/>
          <a:lstStyle/>
          <a:p>
            <a:r>
              <a:rPr lang="en-US" dirty="0"/>
              <a:t>Quick Manual Doughnut Chart </a:t>
            </a:r>
          </a:p>
        </p:txBody>
      </p:sp>
      <p:sp>
        <p:nvSpPr>
          <p:cNvPr id="3" name="Content Placeholder 2">
            <a:extLst>
              <a:ext uri="{FF2B5EF4-FFF2-40B4-BE49-F238E27FC236}">
                <a16:creationId xmlns:a16="http://schemas.microsoft.com/office/drawing/2014/main" id="{09708E98-8518-410A-BE96-484B8A855872}"/>
              </a:ext>
            </a:extLst>
          </p:cNvPr>
          <p:cNvSpPr>
            <a:spLocks noGrp="1"/>
          </p:cNvSpPr>
          <p:nvPr>
            <p:ph sz="quarter" idx="10"/>
          </p:nvPr>
        </p:nvSpPr>
        <p:spPr>
          <a:xfrm>
            <a:off x="381001" y="1371601"/>
            <a:ext cx="5714999" cy="4940300"/>
          </a:xfrm>
        </p:spPr>
        <p:txBody>
          <a:bodyPr/>
          <a:lstStyle/>
          <a:p>
            <a:r>
              <a:rPr lang="en-US" b="1" dirty="0"/>
              <a:t>Instructions:</a:t>
            </a:r>
          </a:p>
          <a:p>
            <a:pPr marL="274320" lvl="1" indent="-274320">
              <a:buFont typeface="+mj-lt"/>
              <a:buAutoNum type="arabicPeriod"/>
            </a:pPr>
            <a:r>
              <a:rPr lang="en-US" sz="1800" dirty="0"/>
              <a:t>Click onto the purple parts of the pie chart</a:t>
            </a:r>
          </a:p>
          <a:p>
            <a:pPr marL="274320" lvl="1" indent="-274320">
              <a:buFont typeface="+mj-lt"/>
              <a:buAutoNum type="arabicPeriod"/>
            </a:pPr>
            <a:r>
              <a:rPr lang="en-US" sz="1800" dirty="0"/>
              <a:t>Adjust filling size by moving the markers</a:t>
            </a:r>
          </a:p>
          <a:p>
            <a:pPr marL="274320" lvl="1" indent="-274320">
              <a:buFont typeface="+mj-lt"/>
              <a:buAutoNum type="arabicPeriod"/>
            </a:pPr>
            <a:r>
              <a:rPr lang="en-US" sz="1800" dirty="0"/>
              <a:t>Group pie chart, adjust size and copy it into your presentation</a:t>
            </a:r>
            <a:br>
              <a:rPr lang="en-US" sz="1800" dirty="0"/>
            </a:br>
            <a:endParaRPr lang="en-US" dirty="0"/>
          </a:p>
          <a:p>
            <a:r>
              <a:rPr lang="en-US" b="1" dirty="0"/>
              <a:t>Important: </a:t>
            </a:r>
          </a:p>
          <a:p>
            <a:pPr marL="274320" lvl="1" indent="-274320"/>
            <a:r>
              <a:rPr lang="en-US" sz="1800" dirty="0"/>
              <a:t>Only use this object in cases you quickly need a pie chart with illustrative data</a:t>
            </a:r>
          </a:p>
          <a:p>
            <a:pPr marL="274320" lvl="1" indent="-274320"/>
            <a:r>
              <a:rPr lang="en-US" sz="1800" dirty="0"/>
              <a:t>It is preferable to use PowerPoint chart objects with real, underlying data</a:t>
            </a:r>
          </a:p>
          <a:p>
            <a:pPr marL="274320" lvl="1" indent="-274320"/>
            <a:r>
              <a:rPr lang="en-US" sz="1800" dirty="0"/>
              <a:t>See the Charts library in the Visuals menu of the toolbar</a:t>
            </a:r>
          </a:p>
        </p:txBody>
      </p:sp>
      <p:graphicFrame>
        <p:nvGraphicFramePr>
          <p:cNvPr id="5" name="Content Placeholder 14">
            <a:extLst>
              <a:ext uri="{FF2B5EF4-FFF2-40B4-BE49-F238E27FC236}">
                <a16:creationId xmlns:a16="http://schemas.microsoft.com/office/drawing/2014/main" id="{BD4F33DD-B684-4731-91E5-FDA96F6FCAFF}"/>
              </a:ext>
            </a:extLst>
          </p:cNvPr>
          <p:cNvGraphicFramePr>
            <a:graphicFrameLocks/>
          </p:cNvGraphicFramePr>
          <p:nvPr>
            <p:extLst>
              <p:ext uri="{D42A27DB-BD31-4B8C-83A1-F6EECF244321}">
                <p14:modId xmlns:p14="http://schemas.microsoft.com/office/powerpoint/2010/main" val="1514941915"/>
              </p:ext>
            </p:extLst>
          </p:nvPr>
        </p:nvGraphicFramePr>
        <p:xfrm>
          <a:off x="6436312" y="1371600"/>
          <a:ext cx="5259340"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7" name="Freeform: Shape 6">
            <a:hlinkClick r:id="rId4" action="ppaction://hlinksldjump"/>
            <a:extLst>
              <a:ext uri="{FF2B5EF4-FFF2-40B4-BE49-F238E27FC236}">
                <a16:creationId xmlns:a16="http://schemas.microsoft.com/office/drawing/2014/main" id="{B91451D2-0E5C-486E-A917-3046218E3703}"/>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Rectangle 3">
            <a:hlinkClick r:id="rId4" action="ppaction://hlinksldjump"/>
            <a:extLst>
              <a:ext uri="{FF2B5EF4-FFF2-40B4-BE49-F238E27FC236}">
                <a16:creationId xmlns:a16="http://schemas.microsoft.com/office/drawing/2014/main" id="{3F95CA6B-DCF3-442D-BCCD-6BCA2F8AC1DD}"/>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93253276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Pie Chart</a:t>
            </a:r>
          </a:p>
        </p:txBody>
      </p:sp>
      <p:graphicFrame>
        <p:nvGraphicFramePr>
          <p:cNvPr id="8" name="Object 3">
            <a:extLst>
              <a:ext uri="{FF2B5EF4-FFF2-40B4-BE49-F238E27FC236}">
                <a16:creationId xmlns:a16="http://schemas.microsoft.com/office/drawing/2014/main" id="{EF7BB676-3FD9-473D-8FA0-2459DCF4B223}"/>
              </a:ext>
            </a:extLst>
          </p:cNvPr>
          <p:cNvGraphicFramePr>
            <a:graphicFrameLocks/>
          </p:cNvGraphicFramePr>
          <p:nvPr>
            <p:custDataLst>
              <p:tags r:id="rId1"/>
            </p:custDataLst>
            <p:extLst>
              <p:ext uri="{D42A27DB-BD31-4B8C-83A1-F6EECF244321}">
                <p14:modId xmlns:p14="http://schemas.microsoft.com/office/powerpoint/2010/main" val="125354526"/>
              </p:ext>
            </p:extLst>
          </p:nvPr>
        </p:nvGraphicFramePr>
        <p:xfrm>
          <a:off x="380999" y="1529241"/>
          <a:ext cx="11430000" cy="4413250"/>
        </p:xfrm>
        <a:graphic>
          <a:graphicData uri="http://schemas.openxmlformats.org/drawingml/2006/chart">
            <c:chart xmlns:c="http://schemas.openxmlformats.org/drawingml/2006/chart" xmlns:r="http://schemas.openxmlformats.org/officeDocument/2006/relationships" r:id="rId5"/>
          </a:graphicData>
        </a:graphic>
      </p:graphicFrame>
      <p:grpSp>
        <p:nvGrpSpPr>
          <p:cNvPr id="9" name="Group 8">
            <a:extLst>
              <a:ext uri="{FF2B5EF4-FFF2-40B4-BE49-F238E27FC236}">
                <a16:creationId xmlns:a16="http://schemas.microsoft.com/office/drawing/2014/main" id="{F8B0FB47-0AAC-4589-A21F-65D90AB1A851}"/>
              </a:ext>
            </a:extLst>
          </p:cNvPr>
          <p:cNvGrpSpPr/>
          <p:nvPr/>
        </p:nvGrpSpPr>
        <p:grpSpPr>
          <a:xfrm flipH="1">
            <a:off x="7740490" y="1623441"/>
            <a:ext cx="1555412" cy="3611118"/>
            <a:chOff x="9103063" y="1646967"/>
            <a:chExt cx="2422187" cy="4235849"/>
          </a:xfrm>
        </p:grpSpPr>
        <p:cxnSp>
          <p:nvCxnSpPr>
            <p:cNvPr id="10" name="Connector: Elbow 9">
              <a:extLst>
                <a:ext uri="{FF2B5EF4-FFF2-40B4-BE49-F238E27FC236}">
                  <a16:creationId xmlns:a16="http://schemas.microsoft.com/office/drawing/2014/main" id="{A48CDAF6-722E-4E12-91AA-4998378F9850}"/>
                </a:ext>
              </a:extLst>
            </p:cNvPr>
            <p:cNvCxnSpPr/>
            <p:nvPr/>
          </p:nvCxnSpPr>
          <p:spPr>
            <a:xfrm flipV="1">
              <a:off x="9103063" y="1646967"/>
              <a:ext cx="2422187" cy="1543692"/>
            </a:xfrm>
            <a:prstGeom prst="bentConnector3">
              <a:avLst>
                <a:gd name="adj1" fmla="val -201"/>
              </a:avLst>
            </a:prstGeom>
            <a:noFill/>
            <a:ln w="12700" cap="flat" cmpd="sng" algn="ctr">
              <a:solidFill>
                <a:srgbClr val="96968C">
                  <a:lumMod val="60000"/>
                  <a:lumOff val="40000"/>
                </a:srgbClr>
              </a:solidFill>
              <a:prstDash val="solid"/>
            </a:ln>
            <a:effectLst/>
          </p:spPr>
        </p:cxnSp>
        <p:cxnSp>
          <p:nvCxnSpPr>
            <p:cNvPr id="11" name="Connector: Elbow 10">
              <a:extLst>
                <a:ext uri="{FF2B5EF4-FFF2-40B4-BE49-F238E27FC236}">
                  <a16:creationId xmlns:a16="http://schemas.microsoft.com/office/drawing/2014/main" id="{8C554388-80DE-4C7D-8FAF-E1DEB11532C2}"/>
                </a:ext>
              </a:extLst>
            </p:cNvPr>
            <p:cNvCxnSpPr/>
            <p:nvPr/>
          </p:nvCxnSpPr>
          <p:spPr>
            <a:xfrm>
              <a:off x="9103063" y="4339124"/>
              <a:ext cx="2422187" cy="1543692"/>
            </a:xfrm>
            <a:prstGeom prst="bentConnector3">
              <a:avLst>
                <a:gd name="adj1" fmla="val -201"/>
              </a:avLst>
            </a:prstGeom>
            <a:noFill/>
            <a:ln w="12700" cap="flat" cmpd="sng" algn="ctr">
              <a:solidFill>
                <a:srgbClr val="96968C">
                  <a:lumMod val="60000"/>
                  <a:lumOff val="40000"/>
                </a:srgbClr>
              </a:solidFill>
              <a:prstDash val="solid"/>
            </a:ln>
            <a:effectLst/>
          </p:spPr>
        </p:cxnSp>
      </p:grpSp>
      <p:sp>
        <p:nvSpPr>
          <p:cNvPr id="13" name="AcnSubjectTitle_ID_260107">
            <a:extLst>
              <a:ext uri="{FF2B5EF4-FFF2-40B4-BE49-F238E27FC236}">
                <a16:creationId xmlns:a16="http://schemas.microsoft.com/office/drawing/2014/main" id="{0B981368-E0D1-40F4-B1A2-F09DBB10F678}"/>
              </a:ext>
            </a:extLst>
          </p:cNvPr>
          <p:cNvSpPr txBox="1">
            <a:spLocks noChangeArrowheads="1"/>
          </p:cNvSpPr>
          <p:nvPr>
            <p:custDataLst>
              <p:tags r:id="rId2"/>
            </p:custDataLst>
          </p:nvPr>
        </p:nvSpPr>
        <p:spPr bwMode="auto">
          <a:xfrm>
            <a:off x="380999" y="882066"/>
            <a:ext cx="8217629" cy="489534"/>
          </a:xfrm>
          <a:prstGeom prst="rect">
            <a:avLst/>
          </a:prstGeom>
          <a:noFill/>
          <a:ln w="9525" algn="ctr">
            <a:noFill/>
            <a:miter lim="800000"/>
            <a:headEnd/>
            <a:tailEnd/>
          </a:ln>
          <a:effectLst/>
        </p:spPr>
        <p:txBody>
          <a:bodyPr lIns="0" tIns="180000" rIns="0" bIns="0" anchor="t">
            <a:spAutoFit/>
          </a:bodyPr>
          <a:lstStyle/>
          <a:p>
            <a:pPr marL="0" marR="0" lvl="0" indent="0" algn="l" defTabSz="914400" rtl="0" eaLnBrk="1" fontAlgn="auto" latinLnBrk="0" hangingPunct="1">
              <a:lnSpc>
                <a:spcPct val="100000"/>
              </a:lnSpc>
              <a:spcBef>
                <a:spcPct val="0"/>
              </a:spcBef>
              <a:spcAft>
                <a:spcPts val="0"/>
              </a:spcAft>
              <a:buClr>
                <a:srgbClr val="000000"/>
              </a:buClr>
              <a:buSzPct val="100000"/>
              <a:buFont typeface="Arial" charset="0"/>
              <a:buNone/>
              <a:tabLst/>
              <a:defRPr/>
            </a:pPr>
            <a:r>
              <a:rPr kumimoji="0" lang="en-US" sz="2000" b="1" i="0" u="none" strike="noStrike" kern="1200" cap="none" spc="0" normalizeH="0" baseline="0" noProof="0" dirty="0">
                <a:ln>
                  <a:noFill/>
                </a:ln>
                <a:solidFill>
                  <a:srgbClr val="000000"/>
                </a:solidFill>
                <a:effectLst/>
                <a:uLnTx/>
                <a:uFillTx/>
                <a:latin typeface="Graphik"/>
                <a:ea typeface="+mn-ea"/>
                <a:cs typeface="+mn-cs"/>
              </a:rPr>
              <a:t>Chart Title</a:t>
            </a:r>
          </a:p>
        </p:txBody>
      </p: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7" y="5401294"/>
            <a:ext cx="4449219"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In the options menu you can choose the rotation of the chart</a:t>
            </a:r>
          </a:p>
        </p:txBody>
      </p:sp>
      <p:sp>
        <p:nvSpPr>
          <p:cNvPr id="17" name="Freeform: Shape 16">
            <a:hlinkClick r:id="rId6" action="ppaction://hlinksldjump"/>
            <a:extLst>
              <a:ext uri="{FF2B5EF4-FFF2-40B4-BE49-F238E27FC236}">
                <a16:creationId xmlns:a16="http://schemas.microsoft.com/office/drawing/2014/main" id="{5447777E-3043-435C-B270-4DA04954AC3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6" action="ppaction://hlinksldjump"/>
            <a:extLst>
              <a:ext uri="{FF2B5EF4-FFF2-40B4-BE49-F238E27FC236}">
                <a16:creationId xmlns:a16="http://schemas.microsoft.com/office/drawing/2014/main" id="{E7393871-C308-49E7-940E-9DA4DC0B4790}"/>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283044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E9C4C-A9BF-440B-A91B-7B9CD5585DAE}"/>
              </a:ext>
            </a:extLst>
          </p:cNvPr>
          <p:cNvSpPr>
            <a:spLocks noGrp="1"/>
          </p:cNvSpPr>
          <p:nvPr>
            <p:ph type="title"/>
          </p:nvPr>
        </p:nvSpPr>
        <p:spPr/>
        <p:txBody>
          <a:bodyPr/>
          <a:lstStyle/>
          <a:p>
            <a:r>
              <a:rPr lang="en-US" dirty="0"/>
              <a:t>Iconography: Monoline</a:t>
            </a:r>
          </a:p>
        </p:txBody>
      </p:sp>
      <p:sp>
        <p:nvSpPr>
          <p:cNvPr id="4" name="TextBox 3">
            <a:extLst>
              <a:ext uri="{FF2B5EF4-FFF2-40B4-BE49-F238E27FC236}">
                <a16:creationId xmlns:a16="http://schemas.microsoft.com/office/drawing/2014/main" id="{398133E7-5D42-4BC5-A3A6-3C73FB7E1F07}"/>
              </a:ext>
            </a:extLst>
          </p:cNvPr>
          <p:cNvSpPr txBox="1"/>
          <p:nvPr/>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dirty="0"/>
              <a:t>Our expansive asset library including fonts, photography, iconography and custom slides are available </a:t>
            </a:r>
            <a:r>
              <a:rPr lang="en-GB" sz="1600" u="sng" dirty="0">
                <a:solidFill>
                  <a:srgbClr val="A100FF"/>
                </a:solidFill>
                <a:hlinkClick r:id="rId2">
                  <a:extLst>
                    <a:ext uri="{A12FA001-AC4F-418D-AE19-62706E023703}">
                      <ahyp:hlinkClr xmlns:ahyp="http://schemas.microsoft.com/office/drawing/2018/hyperlinkcolor" val="tx"/>
                    </a:ext>
                  </a:extLst>
                </a:hlinkClick>
              </a:rPr>
              <a:t>here</a:t>
            </a:r>
            <a:r>
              <a:rPr lang="en-GB" sz="1600" dirty="0"/>
              <a:t>. Contact </a:t>
            </a:r>
            <a:r>
              <a:rPr lang="en-GB" sz="1600" dirty="0">
                <a:hlinkClick r:id="rId3"/>
              </a:rPr>
              <a:t>brandsupport@accenture.com </a:t>
            </a:r>
            <a:r>
              <a:rPr lang="en-GB" sz="1600" dirty="0"/>
              <a:t>for further information. Access the icons below through </a:t>
            </a:r>
            <a:r>
              <a:rPr lang="en-GB" sz="1600" b="1" dirty="0">
                <a:solidFill>
                  <a:schemeClr val="accent1"/>
                </a:solidFill>
              </a:rPr>
              <a:t>View &gt; Slide Master</a:t>
            </a:r>
            <a:r>
              <a:rPr lang="en-GB" sz="1600" dirty="0"/>
              <a:t>.</a:t>
            </a:r>
          </a:p>
        </p:txBody>
      </p:sp>
      <p:sp>
        <p:nvSpPr>
          <p:cNvPr id="5" name="Freeform 127">
            <a:extLst>
              <a:ext uri="{FF2B5EF4-FFF2-40B4-BE49-F238E27FC236}">
                <a16:creationId xmlns:a16="http://schemas.microsoft.com/office/drawing/2014/main" id="{B8A707F8-E1D7-41D2-A7F9-96B4DDAAA7DC}"/>
              </a:ext>
            </a:extLst>
          </p:cNvPr>
          <p:cNvSpPr>
            <a:spLocks noEditPoints="1"/>
          </p:cNvSpPr>
          <p:nvPr/>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6" name="Group 5">
            <a:extLst>
              <a:ext uri="{FF2B5EF4-FFF2-40B4-BE49-F238E27FC236}">
                <a16:creationId xmlns:a16="http://schemas.microsoft.com/office/drawing/2014/main" id="{62F0BFB4-A4D2-4135-8ACC-F92D61B55718}"/>
              </a:ext>
            </a:extLst>
          </p:cNvPr>
          <p:cNvGrpSpPr/>
          <p:nvPr/>
        </p:nvGrpSpPr>
        <p:grpSpPr>
          <a:xfrm>
            <a:off x="380999" y="1577830"/>
            <a:ext cx="11429980" cy="4734070"/>
            <a:chOff x="380999" y="1577845"/>
            <a:chExt cx="11520823" cy="5122866"/>
          </a:xfrm>
          <a:noFill/>
        </p:grpSpPr>
        <p:sp>
          <p:nvSpPr>
            <p:cNvPr id="7" name="Rectangle 6">
              <a:extLst>
                <a:ext uri="{FF2B5EF4-FFF2-40B4-BE49-F238E27FC236}">
                  <a16:creationId xmlns:a16="http://schemas.microsoft.com/office/drawing/2014/main" id="{ED7F3FDC-082B-4703-B8DE-96170011359C}"/>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8" name="Rectangle 7">
              <a:extLst>
                <a:ext uri="{FF2B5EF4-FFF2-40B4-BE49-F238E27FC236}">
                  <a16:creationId xmlns:a16="http://schemas.microsoft.com/office/drawing/2014/main" id="{F0A4BF9D-17F2-4E57-8DC1-CD210C06D5EF}"/>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9" name="Rectangle 8">
              <a:extLst>
                <a:ext uri="{FF2B5EF4-FFF2-40B4-BE49-F238E27FC236}">
                  <a16:creationId xmlns:a16="http://schemas.microsoft.com/office/drawing/2014/main" id="{A6EC6D0B-4839-470F-A79A-279A47AFBDD1}"/>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0" name="Rectangle 9">
              <a:extLst>
                <a:ext uri="{FF2B5EF4-FFF2-40B4-BE49-F238E27FC236}">
                  <a16:creationId xmlns:a16="http://schemas.microsoft.com/office/drawing/2014/main" id="{4DB664B5-223E-4960-A680-CB3A5C4ED976}"/>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1" name="Rectangle 10">
              <a:extLst>
                <a:ext uri="{FF2B5EF4-FFF2-40B4-BE49-F238E27FC236}">
                  <a16:creationId xmlns:a16="http://schemas.microsoft.com/office/drawing/2014/main" id="{0611E645-2104-44FF-9CB2-6B84F9D576F5}"/>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2" name="Rectangle 11">
              <a:extLst>
                <a:ext uri="{FF2B5EF4-FFF2-40B4-BE49-F238E27FC236}">
                  <a16:creationId xmlns:a16="http://schemas.microsoft.com/office/drawing/2014/main" id="{DD93D266-2145-4957-82BF-5AB2D23F6F96}"/>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3" name="Rectangle 12">
              <a:extLst>
                <a:ext uri="{FF2B5EF4-FFF2-40B4-BE49-F238E27FC236}">
                  <a16:creationId xmlns:a16="http://schemas.microsoft.com/office/drawing/2014/main" id="{A6E12018-9E91-4D6B-90C8-3C4EB784CFBE}"/>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4" name="Rectangle 13">
              <a:extLst>
                <a:ext uri="{FF2B5EF4-FFF2-40B4-BE49-F238E27FC236}">
                  <a16:creationId xmlns:a16="http://schemas.microsoft.com/office/drawing/2014/main" id="{0AC866A9-08B3-40B6-BFA7-F1BC86FBEDEA}"/>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5" name="Rectangle 14">
              <a:extLst>
                <a:ext uri="{FF2B5EF4-FFF2-40B4-BE49-F238E27FC236}">
                  <a16:creationId xmlns:a16="http://schemas.microsoft.com/office/drawing/2014/main" id="{3CFD700F-5381-45CD-B6E7-F359134E6F5C}"/>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6" name="Rectangle 15">
              <a:extLst>
                <a:ext uri="{FF2B5EF4-FFF2-40B4-BE49-F238E27FC236}">
                  <a16:creationId xmlns:a16="http://schemas.microsoft.com/office/drawing/2014/main" id="{50723CCF-4FCE-45A2-839D-1E5A4C70D779}"/>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7" name="Rectangle 16">
              <a:extLst>
                <a:ext uri="{FF2B5EF4-FFF2-40B4-BE49-F238E27FC236}">
                  <a16:creationId xmlns:a16="http://schemas.microsoft.com/office/drawing/2014/main" id="{83CE759A-321F-4451-BC32-09223931891E}"/>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8" name="Rectangle 17">
              <a:extLst>
                <a:ext uri="{FF2B5EF4-FFF2-40B4-BE49-F238E27FC236}">
                  <a16:creationId xmlns:a16="http://schemas.microsoft.com/office/drawing/2014/main" id="{8B4C9EEE-EDFE-4A3A-87B2-92C163B8123A}"/>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19" name="Rectangle 18">
              <a:extLst>
                <a:ext uri="{FF2B5EF4-FFF2-40B4-BE49-F238E27FC236}">
                  <a16:creationId xmlns:a16="http://schemas.microsoft.com/office/drawing/2014/main" id="{173789F7-4D0C-437F-8A88-666153FCFF46}"/>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0" name="Rectangle 19">
              <a:extLst>
                <a:ext uri="{FF2B5EF4-FFF2-40B4-BE49-F238E27FC236}">
                  <a16:creationId xmlns:a16="http://schemas.microsoft.com/office/drawing/2014/main" id="{EDBAB054-DEEA-4255-A86B-FEE48B5511C2}"/>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1" name="Rectangle 20">
              <a:extLst>
                <a:ext uri="{FF2B5EF4-FFF2-40B4-BE49-F238E27FC236}">
                  <a16:creationId xmlns:a16="http://schemas.microsoft.com/office/drawing/2014/main" id="{28BA38C9-E894-4494-B2D9-ECF7B3F027B5}"/>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2" name="Rectangle 21">
              <a:extLst>
                <a:ext uri="{FF2B5EF4-FFF2-40B4-BE49-F238E27FC236}">
                  <a16:creationId xmlns:a16="http://schemas.microsoft.com/office/drawing/2014/main" id="{3BBE7913-9232-42A0-A120-E77BF145FF2C}"/>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3" name="Rectangle 22">
              <a:extLst>
                <a:ext uri="{FF2B5EF4-FFF2-40B4-BE49-F238E27FC236}">
                  <a16:creationId xmlns:a16="http://schemas.microsoft.com/office/drawing/2014/main" id="{FC1F3E06-9D89-40C4-B50C-6443AE971913}"/>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4" name="Rectangle 23">
              <a:extLst>
                <a:ext uri="{FF2B5EF4-FFF2-40B4-BE49-F238E27FC236}">
                  <a16:creationId xmlns:a16="http://schemas.microsoft.com/office/drawing/2014/main" id="{061F850B-9C57-4A5C-9A4D-95539F2FB706}"/>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5" name="Rectangle 24">
              <a:extLst>
                <a:ext uri="{FF2B5EF4-FFF2-40B4-BE49-F238E27FC236}">
                  <a16:creationId xmlns:a16="http://schemas.microsoft.com/office/drawing/2014/main" id="{EB7CB665-E226-4C1B-89EF-D65C7B7EA177}"/>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6" name="Rectangle 25">
              <a:extLst>
                <a:ext uri="{FF2B5EF4-FFF2-40B4-BE49-F238E27FC236}">
                  <a16:creationId xmlns:a16="http://schemas.microsoft.com/office/drawing/2014/main" id="{6EA08E97-42D9-4114-8606-BD69120817EB}"/>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7" name="Rectangle 26">
              <a:extLst>
                <a:ext uri="{FF2B5EF4-FFF2-40B4-BE49-F238E27FC236}">
                  <a16:creationId xmlns:a16="http://schemas.microsoft.com/office/drawing/2014/main" id="{00C4E98A-9EE1-4F64-AE06-58244DDE04EE}"/>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8" name="Rectangle 27">
              <a:extLst>
                <a:ext uri="{FF2B5EF4-FFF2-40B4-BE49-F238E27FC236}">
                  <a16:creationId xmlns:a16="http://schemas.microsoft.com/office/drawing/2014/main" id="{D92FD294-88FD-4724-8B40-4EBC24A71912}"/>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29" name="Rectangle 28">
              <a:extLst>
                <a:ext uri="{FF2B5EF4-FFF2-40B4-BE49-F238E27FC236}">
                  <a16:creationId xmlns:a16="http://schemas.microsoft.com/office/drawing/2014/main" id="{9153881D-3E28-414F-8E8F-A9089338109A}"/>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0" name="Rectangle 29">
              <a:extLst>
                <a:ext uri="{FF2B5EF4-FFF2-40B4-BE49-F238E27FC236}">
                  <a16:creationId xmlns:a16="http://schemas.microsoft.com/office/drawing/2014/main" id="{A4D01393-03C7-4679-83E7-951DCF25D7E5}"/>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1" name="Rectangle 30">
              <a:extLst>
                <a:ext uri="{FF2B5EF4-FFF2-40B4-BE49-F238E27FC236}">
                  <a16:creationId xmlns:a16="http://schemas.microsoft.com/office/drawing/2014/main" id="{8A645613-53B4-4EF8-9812-5C05CCABD036}"/>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2" name="Rectangle 31">
              <a:extLst>
                <a:ext uri="{FF2B5EF4-FFF2-40B4-BE49-F238E27FC236}">
                  <a16:creationId xmlns:a16="http://schemas.microsoft.com/office/drawing/2014/main" id="{1C9F1DE6-B1E9-4E34-99FE-96776EBA4BD2}"/>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3" name="Rectangle 32">
              <a:extLst>
                <a:ext uri="{FF2B5EF4-FFF2-40B4-BE49-F238E27FC236}">
                  <a16:creationId xmlns:a16="http://schemas.microsoft.com/office/drawing/2014/main" id="{FF43EA61-DE9F-4398-87BF-379817D56CBD}"/>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4" name="Rectangle 33">
              <a:extLst>
                <a:ext uri="{FF2B5EF4-FFF2-40B4-BE49-F238E27FC236}">
                  <a16:creationId xmlns:a16="http://schemas.microsoft.com/office/drawing/2014/main" id="{B641C96A-05D3-402D-B6FF-127336901625}"/>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5" name="Rectangle 34">
              <a:extLst>
                <a:ext uri="{FF2B5EF4-FFF2-40B4-BE49-F238E27FC236}">
                  <a16:creationId xmlns:a16="http://schemas.microsoft.com/office/drawing/2014/main" id="{A95CBFBA-090C-4EDF-B7CF-B9A6AA43151B}"/>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6" name="Rectangle 35">
              <a:extLst>
                <a:ext uri="{FF2B5EF4-FFF2-40B4-BE49-F238E27FC236}">
                  <a16:creationId xmlns:a16="http://schemas.microsoft.com/office/drawing/2014/main" id="{BC52FF6D-89B6-4FAD-ADDD-085C15D46856}"/>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7" name="Rectangle 36">
              <a:extLst>
                <a:ext uri="{FF2B5EF4-FFF2-40B4-BE49-F238E27FC236}">
                  <a16:creationId xmlns:a16="http://schemas.microsoft.com/office/drawing/2014/main" id="{29E8F591-EE16-44F9-9C61-4CF1C2D66CC2}"/>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8" name="Rectangle 37">
              <a:extLst>
                <a:ext uri="{FF2B5EF4-FFF2-40B4-BE49-F238E27FC236}">
                  <a16:creationId xmlns:a16="http://schemas.microsoft.com/office/drawing/2014/main" id="{117B02E7-1ADD-485A-AEFB-0D06C1966229}"/>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39" name="Rectangle 38">
              <a:extLst>
                <a:ext uri="{FF2B5EF4-FFF2-40B4-BE49-F238E27FC236}">
                  <a16:creationId xmlns:a16="http://schemas.microsoft.com/office/drawing/2014/main" id="{A3BFC341-C47C-4AAD-8371-6C6E61766376}"/>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40" name="Rectangle 39">
              <a:extLst>
                <a:ext uri="{FF2B5EF4-FFF2-40B4-BE49-F238E27FC236}">
                  <a16:creationId xmlns:a16="http://schemas.microsoft.com/office/drawing/2014/main" id="{834B60E2-DE98-40CE-96B3-7A2E492D7FCA}"/>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41" name="Rectangle 40">
              <a:extLst>
                <a:ext uri="{FF2B5EF4-FFF2-40B4-BE49-F238E27FC236}">
                  <a16:creationId xmlns:a16="http://schemas.microsoft.com/office/drawing/2014/main" id="{03C77BA7-E1D9-4A4E-BB92-6BB23F6F7134}"/>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sp>
          <p:nvSpPr>
            <p:cNvPr id="42" name="Rectangle 41">
              <a:extLst>
                <a:ext uri="{FF2B5EF4-FFF2-40B4-BE49-F238E27FC236}">
                  <a16:creationId xmlns:a16="http://schemas.microsoft.com/office/drawing/2014/main" id="{799E7E0F-20F6-4363-8454-EC5F199CF57F}"/>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dirty="0" err="1"/>
            </a:p>
          </p:txBody>
        </p:sp>
      </p:grpSp>
      <p:sp>
        <p:nvSpPr>
          <p:cNvPr id="43" name="Freeform 69">
            <a:extLst>
              <a:ext uri="{FF2B5EF4-FFF2-40B4-BE49-F238E27FC236}">
                <a16:creationId xmlns:a16="http://schemas.microsoft.com/office/drawing/2014/main" id="{447C8437-B8DA-40EF-A4A1-F88FAF7F78D3}"/>
              </a:ext>
            </a:extLst>
          </p:cNvPr>
          <p:cNvSpPr>
            <a:spLocks noEditPoints="1"/>
          </p:cNvSpPr>
          <p:nvPr/>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2"/>
              </a:solidFill>
              <a:latin typeface="+mj-lt"/>
            </a:endParaRPr>
          </a:p>
        </p:txBody>
      </p:sp>
      <p:grpSp>
        <p:nvGrpSpPr>
          <p:cNvPr id="44" name="Group 98">
            <a:extLst>
              <a:ext uri="{FF2B5EF4-FFF2-40B4-BE49-F238E27FC236}">
                <a16:creationId xmlns:a16="http://schemas.microsoft.com/office/drawing/2014/main" id="{875D44DC-A7CF-4E8A-90AC-48444416F0F9}"/>
              </a:ext>
            </a:extLst>
          </p:cNvPr>
          <p:cNvGrpSpPr>
            <a:grpSpLocks noChangeAspect="1"/>
          </p:cNvGrpSpPr>
          <p:nvPr/>
        </p:nvGrpSpPr>
        <p:grpSpPr bwMode="auto">
          <a:xfrm>
            <a:off x="2084826" y="5548256"/>
            <a:ext cx="448560" cy="372925"/>
            <a:chOff x="1371" y="1755"/>
            <a:chExt cx="427" cy="355"/>
          </a:xfrm>
          <a:solidFill>
            <a:schemeClr val="accent1"/>
          </a:solidFill>
        </p:grpSpPr>
        <p:sp>
          <p:nvSpPr>
            <p:cNvPr id="45" name="Freeform 99">
              <a:extLst>
                <a:ext uri="{FF2B5EF4-FFF2-40B4-BE49-F238E27FC236}">
                  <a16:creationId xmlns:a16="http://schemas.microsoft.com/office/drawing/2014/main" id="{ECA59A8C-E4A3-4237-A39B-3E467A389CC4}"/>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46" name="Freeform 100">
              <a:extLst>
                <a:ext uri="{FF2B5EF4-FFF2-40B4-BE49-F238E27FC236}">
                  <a16:creationId xmlns:a16="http://schemas.microsoft.com/office/drawing/2014/main" id="{90495A09-D4D0-459D-8C7C-E3BAF7D830ED}"/>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47" name="Freeform 101">
              <a:extLst>
                <a:ext uri="{FF2B5EF4-FFF2-40B4-BE49-F238E27FC236}">
                  <a16:creationId xmlns:a16="http://schemas.microsoft.com/office/drawing/2014/main" id="{C2FFBD35-8D8A-4E68-9DDE-A49A655D0D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48" name="Freeform 102">
              <a:extLst>
                <a:ext uri="{FF2B5EF4-FFF2-40B4-BE49-F238E27FC236}">
                  <a16:creationId xmlns:a16="http://schemas.microsoft.com/office/drawing/2014/main" id="{B3FE117A-CE5D-4778-9509-1CA8B11F27F1}"/>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49" name="Freeform 103">
              <a:extLst>
                <a:ext uri="{FF2B5EF4-FFF2-40B4-BE49-F238E27FC236}">
                  <a16:creationId xmlns:a16="http://schemas.microsoft.com/office/drawing/2014/main" id="{676515AB-CD9B-483E-A14A-741A28083927}"/>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50" name="Freeform 104">
              <a:extLst>
                <a:ext uri="{FF2B5EF4-FFF2-40B4-BE49-F238E27FC236}">
                  <a16:creationId xmlns:a16="http://schemas.microsoft.com/office/drawing/2014/main" id="{DC4ACE6C-0EB5-41AA-A95B-38B1D371FD7A}"/>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51" name="Freeform 105">
              <a:extLst>
                <a:ext uri="{FF2B5EF4-FFF2-40B4-BE49-F238E27FC236}">
                  <a16:creationId xmlns:a16="http://schemas.microsoft.com/office/drawing/2014/main" id="{F354D475-93F4-4680-9808-3077A87720B7}"/>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52" name="Oval 106">
              <a:extLst>
                <a:ext uri="{FF2B5EF4-FFF2-40B4-BE49-F238E27FC236}">
                  <a16:creationId xmlns:a16="http://schemas.microsoft.com/office/drawing/2014/main" id="{6FCC208C-EE83-49E2-9187-2BF79A6A9FBC}"/>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53" name="Group 41">
            <a:extLst>
              <a:ext uri="{FF2B5EF4-FFF2-40B4-BE49-F238E27FC236}">
                <a16:creationId xmlns:a16="http://schemas.microsoft.com/office/drawing/2014/main" id="{A4D0B800-7A68-4460-AE32-7229F0B9843C}"/>
              </a:ext>
            </a:extLst>
          </p:cNvPr>
          <p:cNvGrpSpPr>
            <a:grpSpLocks noChangeAspect="1"/>
          </p:cNvGrpSpPr>
          <p:nvPr/>
        </p:nvGrpSpPr>
        <p:grpSpPr bwMode="auto">
          <a:xfrm>
            <a:off x="9695631" y="5524348"/>
            <a:ext cx="459581" cy="420743"/>
            <a:chOff x="3439" y="460"/>
            <a:chExt cx="426" cy="390"/>
          </a:xfrm>
          <a:solidFill>
            <a:schemeClr val="accent1"/>
          </a:solidFill>
        </p:grpSpPr>
        <p:sp>
          <p:nvSpPr>
            <p:cNvPr id="54" name="Freeform 42">
              <a:extLst>
                <a:ext uri="{FF2B5EF4-FFF2-40B4-BE49-F238E27FC236}">
                  <a16:creationId xmlns:a16="http://schemas.microsoft.com/office/drawing/2014/main" id="{C4277701-4C7D-44A5-8B36-2C8A20A7D377}"/>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5" name="Freeform 43">
              <a:extLst>
                <a:ext uri="{FF2B5EF4-FFF2-40B4-BE49-F238E27FC236}">
                  <a16:creationId xmlns:a16="http://schemas.microsoft.com/office/drawing/2014/main" id="{5C14D3DA-FBFF-4EE9-B77D-5A5BE2759EB2}"/>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6" name="Freeform 44">
              <a:extLst>
                <a:ext uri="{FF2B5EF4-FFF2-40B4-BE49-F238E27FC236}">
                  <a16:creationId xmlns:a16="http://schemas.microsoft.com/office/drawing/2014/main" id="{AF18AA9B-2224-4C91-AC89-BF8A1D23B654}"/>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7" name="Freeform 45">
              <a:extLst>
                <a:ext uri="{FF2B5EF4-FFF2-40B4-BE49-F238E27FC236}">
                  <a16:creationId xmlns:a16="http://schemas.microsoft.com/office/drawing/2014/main" id="{360606E0-DD40-4214-B61A-4E11A593C617}"/>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8" name="Freeform 46">
              <a:extLst>
                <a:ext uri="{FF2B5EF4-FFF2-40B4-BE49-F238E27FC236}">
                  <a16:creationId xmlns:a16="http://schemas.microsoft.com/office/drawing/2014/main" id="{BB9F63C7-FE08-4C4B-B694-7D0FAE57867D}"/>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59" name="Freeform 47">
              <a:extLst>
                <a:ext uri="{FF2B5EF4-FFF2-40B4-BE49-F238E27FC236}">
                  <a16:creationId xmlns:a16="http://schemas.microsoft.com/office/drawing/2014/main" id="{08C21C0D-708F-444A-97FE-DF9569DD47BC}"/>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60" name="Freeform 48">
              <a:extLst>
                <a:ext uri="{FF2B5EF4-FFF2-40B4-BE49-F238E27FC236}">
                  <a16:creationId xmlns:a16="http://schemas.microsoft.com/office/drawing/2014/main" id="{0D0842D0-5DC0-453F-BE60-426547B52D7C}"/>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61" name="Freeform 49">
              <a:extLst>
                <a:ext uri="{FF2B5EF4-FFF2-40B4-BE49-F238E27FC236}">
                  <a16:creationId xmlns:a16="http://schemas.microsoft.com/office/drawing/2014/main" id="{17D2FB98-3F04-4384-8BD3-655BDE5F5DC6}"/>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62" name="Freeform 50">
              <a:extLst>
                <a:ext uri="{FF2B5EF4-FFF2-40B4-BE49-F238E27FC236}">
                  <a16:creationId xmlns:a16="http://schemas.microsoft.com/office/drawing/2014/main" id="{8CB9D8CE-FA01-42C4-8463-70437A3C2039}"/>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63" name="Group 10">
            <a:extLst>
              <a:ext uri="{FF2B5EF4-FFF2-40B4-BE49-F238E27FC236}">
                <a16:creationId xmlns:a16="http://schemas.microsoft.com/office/drawing/2014/main" id="{22B8AE31-48E3-4BE1-9F9C-FDA49E78BC51}"/>
              </a:ext>
            </a:extLst>
          </p:cNvPr>
          <p:cNvGrpSpPr>
            <a:grpSpLocks noChangeAspect="1"/>
          </p:cNvGrpSpPr>
          <p:nvPr/>
        </p:nvGrpSpPr>
        <p:grpSpPr bwMode="auto">
          <a:xfrm>
            <a:off x="10965185" y="5500310"/>
            <a:ext cx="467720" cy="468818"/>
            <a:chOff x="1374" y="442"/>
            <a:chExt cx="425" cy="426"/>
          </a:xfrm>
          <a:solidFill>
            <a:schemeClr val="accent1"/>
          </a:solidFill>
        </p:grpSpPr>
        <p:sp>
          <p:nvSpPr>
            <p:cNvPr id="64" name="Freeform 11">
              <a:extLst>
                <a:ext uri="{FF2B5EF4-FFF2-40B4-BE49-F238E27FC236}">
                  <a16:creationId xmlns:a16="http://schemas.microsoft.com/office/drawing/2014/main" id="{9CD2690D-BD7B-40D7-B4AC-CBA5B7B56DC2}"/>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12">
              <a:extLst>
                <a:ext uri="{FF2B5EF4-FFF2-40B4-BE49-F238E27FC236}">
                  <a16:creationId xmlns:a16="http://schemas.microsoft.com/office/drawing/2014/main" id="{B7647B7A-3E93-4CB0-B37F-85E2ED849DA6}"/>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88" name="Freeform: Shape 287">
            <a:extLst>
              <a:ext uri="{FF2B5EF4-FFF2-40B4-BE49-F238E27FC236}">
                <a16:creationId xmlns:a16="http://schemas.microsoft.com/office/drawing/2014/main" id="{F581E67E-DDA9-48D4-8F6B-3E17144F67F9}"/>
              </a:ext>
            </a:extLst>
          </p:cNvPr>
          <p:cNvSpPr>
            <a:spLocks/>
          </p:cNvSpPr>
          <p:nvPr/>
        </p:nvSpPr>
        <p:spPr bwMode="auto">
          <a:xfrm>
            <a:off x="4599644" y="1932035"/>
            <a:ext cx="498092" cy="497754"/>
          </a:xfrm>
          <a:custGeom>
            <a:avLst/>
            <a:gdLst>
              <a:gd name="connsiteX0" fmla="*/ 196715 w 498092"/>
              <a:gd name="connsiteY0" fmla="*/ 104325 h 497754"/>
              <a:gd name="connsiteX1" fmla="*/ 284719 w 498092"/>
              <a:gd name="connsiteY1" fmla="*/ 125032 h 497754"/>
              <a:gd name="connsiteX2" fmla="*/ 289895 w 498092"/>
              <a:gd name="connsiteY2" fmla="*/ 138836 h 497754"/>
              <a:gd name="connsiteX3" fmla="*/ 274365 w 498092"/>
              <a:gd name="connsiteY3" fmla="*/ 144013 h 497754"/>
              <a:gd name="connsiteX4" fmla="*/ 196715 w 498092"/>
              <a:gd name="connsiteY4" fmla="*/ 125032 h 497754"/>
              <a:gd name="connsiteX5" fmla="*/ 20707 w 498092"/>
              <a:gd name="connsiteY5" fmla="*/ 301040 h 497754"/>
              <a:gd name="connsiteX6" fmla="*/ 196715 w 498092"/>
              <a:gd name="connsiteY6" fmla="*/ 477047 h 497754"/>
              <a:gd name="connsiteX7" fmla="*/ 372722 w 498092"/>
              <a:gd name="connsiteY7" fmla="*/ 301040 h 497754"/>
              <a:gd name="connsiteX8" fmla="*/ 369271 w 498092"/>
              <a:gd name="connsiteY8" fmla="*/ 263077 h 497754"/>
              <a:gd name="connsiteX9" fmla="*/ 376174 w 498092"/>
              <a:gd name="connsiteY9" fmla="*/ 249273 h 497754"/>
              <a:gd name="connsiteX10" fmla="*/ 388253 w 498092"/>
              <a:gd name="connsiteY10" fmla="*/ 257900 h 497754"/>
              <a:gd name="connsiteX11" fmla="*/ 393429 w 498092"/>
              <a:gd name="connsiteY11" fmla="*/ 301040 h 497754"/>
              <a:gd name="connsiteX12" fmla="*/ 196715 w 498092"/>
              <a:gd name="connsiteY12" fmla="*/ 497754 h 497754"/>
              <a:gd name="connsiteX13" fmla="*/ 0 w 498092"/>
              <a:gd name="connsiteY13" fmla="*/ 301040 h 497754"/>
              <a:gd name="connsiteX14" fmla="*/ 196715 w 498092"/>
              <a:gd name="connsiteY14" fmla="*/ 104325 h 497754"/>
              <a:gd name="connsiteX15" fmla="*/ 486692 w 498092"/>
              <a:gd name="connsiteY15" fmla="*/ 32 h 497754"/>
              <a:gd name="connsiteX16" fmla="*/ 494477 w 498092"/>
              <a:gd name="connsiteY16" fmla="*/ 3273 h 497754"/>
              <a:gd name="connsiteX17" fmla="*/ 496206 w 498092"/>
              <a:gd name="connsiteY17" fmla="*/ 17099 h 497754"/>
              <a:gd name="connsiteX18" fmla="*/ 195205 w 498092"/>
              <a:gd name="connsiteY18" fmla="*/ 390395 h 497754"/>
              <a:gd name="connsiteX19" fmla="*/ 186555 w 498092"/>
              <a:gd name="connsiteY19" fmla="*/ 393851 h 497754"/>
              <a:gd name="connsiteX20" fmla="*/ 179636 w 498092"/>
              <a:gd name="connsiteY20" fmla="*/ 390395 h 497754"/>
              <a:gd name="connsiteX21" fmla="*/ 75842 w 498092"/>
              <a:gd name="connsiteY21" fmla="*/ 286701 h 497754"/>
              <a:gd name="connsiteX22" fmla="*/ 75842 w 498092"/>
              <a:gd name="connsiteY22" fmla="*/ 272876 h 497754"/>
              <a:gd name="connsiteX23" fmla="*/ 89681 w 498092"/>
              <a:gd name="connsiteY23" fmla="*/ 272876 h 497754"/>
              <a:gd name="connsiteX24" fmla="*/ 186555 w 498092"/>
              <a:gd name="connsiteY24" fmla="*/ 367928 h 497754"/>
              <a:gd name="connsiteX25" fmla="*/ 478907 w 498092"/>
              <a:gd name="connsiteY25" fmla="*/ 3273 h 497754"/>
              <a:gd name="connsiteX26" fmla="*/ 486692 w 498092"/>
              <a:gd name="connsiteY26" fmla="*/ 32 h 49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8092" h="497754">
                <a:moveTo>
                  <a:pt x="196715" y="104325"/>
                </a:moveTo>
                <a:cubicBezTo>
                  <a:pt x="227775" y="104325"/>
                  <a:pt x="257110" y="111227"/>
                  <a:pt x="284719" y="125032"/>
                </a:cubicBezTo>
                <a:cubicBezTo>
                  <a:pt x="289895" y="128483"/>
                  <a:pt x="291621" y="133660"/>
                  <a:pt x="289895" y="138836"/>
                </a:cubicBezTo>
                <a:cubicBezTo>
                  <a:pt x="286444" y="144013"/>
                  <a:pt x="279542" y="145739"/>
                  <a:pt x="274365" y="144013"/>
                </a:cubicBezTo>
                <a:cubicBezTo>
                  <a:pt x="250207" y="131934"/>
                  <a:pt x="224324" y="125032"/>
                  <a:pt x="196715" y="125032"/>
                </a:cubicBezTo>
                <a:cubicBezTo>
                  <a:pt x="100083" y="125032"/>
                  <a:pt x="20707" y="204408"/>
                  <a:pt x="20707" y="301040"/>
                </a:cubicBezTo>
                <a:cubicBezTo>
                  <a:pt x="20707" y="397671"/>
                  <a:pt x="100083" y="477047"/>
                  <a:pt x="196715" y="477047"/>
                </a:cubicBezTo>
                <a:cubicBezTo>
                  <a:pt x="293346" y="477047"/>
                  <a:pt x="372722" y="397671"/>
                  <a:pt x="372722" y="301040"/>
                </a:cubicBezTo>
                <a:cubicBezTo>
                  <a:pt x="372722" y="288961"/>
                  <a:pt x="370997" y="275156"/>
                  <a:pt x="369271" y="263077"/>
                </a:cubicBezTo>
                <a:cubicBezTo>
                  <a:pt x="367546" y="256175"/>
                  <a:pt x="370997" y="250998"/>
                  <a:pt x="376174" y="249273"/>
                </a:cubicBezTo>
                <a:cubicBezTo>
                  <a:pt x="381350" y="249273"/>
                  <a:pt x="388253" y="252724"/>
                  <a:pt x="388253" y="257900"/>
                </a:cubicBezTo>
                <a:cubicBezTo>
                  <a:pt x="391704" y="271705"/>
                  <a:pt x="393429" y="287235"/>
                  <a:pt x="393429" y="301040"/>
                </a:cubicBezTo>
                <a:cubicBezTo>
                  <a:pt x="393429" y="409750"/>
                  <a:pt x="305425" y="497754"/>
                  <a:pt x="196715" y="497754"/>
                </a:cubicBezTo>
                <a:cubicBezTo>
                  <a:pt x="88004" y="497754"/>
                  <a:pt x="0" y="409750"/>
                  <a:pt x="0" y="301040"/>
                </a:cubicBezTo>
                <a:cubicBezTo>
                  <a:pt x="0" y="192329"/>
                  <a:pt x="88004" y="104325"/>
                  <a:pt x="196715" y="104325"/>
                </a:cubicBezTo>
                <a:close/>
                <a:moveTo>
                  <a:pt x="486692" y="32"/>
                </a:moveTo>
                <a:cubicBezTo>
                  <a:pt x="489287" y="-184"/>
                  <a:pt x="491882" y="680"/>
                  <a:pt x="494477" y="3273"/>
                </a:cubicBezTo>
                <a:cubicBezTo>
                  <a:pt x="497936" y="6729"/>
                  <a:pt x="499666" y="11914"/>
                  <a:pt x="496206" y="17099"/>
                </a:cubicBezTo>
                <a:cubicBezTo>
                  <a:pt x="195205" y="390395"/>
                  <a:pt x="195205" y="390395"/>
                  <a:pt x="195205" y="390395"/>
                </a:cubicBezTo>
                <a:cubicBezTo>
                  <a:pt x="193475" y="392123"/>
                  <a:pt x="190015" y="393851"/>
                  <a:pt x="186555" y="393851"/>
                </a:cubicBezTo>
                <a:cubicBezTo>
                  <a:pt x="184825" y="393851"/>
                  <a:pt x="181366" y="393851"/>
                  <a:pt x="179636" y="390395"/>
                </a:cubicBezTo>
                <a:cubicBezTo>
                  <a:pt x="75842" y="286701"/>
                  <a:pt x="75842" y="286701"/>
                  <a:pt x="75842" y="286701"/>
                </a:cubicBezTo>
                <a:cubicBezTo>
                  <a:pt x="72382" y="283245"/>
                  <a:pt x="72382" y="276332"/>
                  <a:pt x="75842" y="272876"/>
                </a:cubicBezTo>
                <a:cubicBezTo>
                  <a:pt x="79302" y="269419"/>
                  <a:pt x="86221" y="269419"/>
                  <a:pt x="89681" y="272876"/>
                </a:cubicBezTo>
                <a:cubicBezTo>
                  <a:pt x="186555" y="367928"/>
                  <a:pt x="186555" y="367928"/>
                  <a:pt x="186555" y="367928"/>
                </a:cubicBezTo>
                <a:cubicBezTo>
                  <a:pt x="478907" y="3273"/>
                  <a:pt x="478907" y="3273"/>
                  <a:pt x="478907" y="3273"/>
                </a:cubicBezTo>
                <a:cubicBezTo>
                  <a:pt x="481502" y="1545"/>
                  <a:pt x="484097" y="248"/>
                  <a:pt x="486692"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AU">
              <a:solidFill>
                <a:schemeClr val="bg2"/>
              </a:solidFill>
              <a:latin typeface="+mj-lt"/>
            </a:endParaRPr>
          </a:p>
        </p:txBody>
      </p:sp>
      <p:grpSp>
        <p:nvGrpSpPr>
          <p:cNvPr id="69" name="Group 78">
            <a:extLst>
              <a:ext uri="{FF2B5EF4-FFF2-40B4-BE49-F238E27FC236}">
                <a16:creationId xmlns:a16="http://schemas.microsoft.com/office/drawing/2014/main" id="{48129F59-1EAE-4CC7-84B2-50CF4A49F694}"/>
              </a:ext>
            </a:extLst>
          </p:cNvPr>
          <p:cNvGrpSpPr>
            <a:grpSpLocks noChangeAspect="1"/>
          </p:cNvGrpSpPr>
          <p:nvPr/>
        </p:nvGrpSpPr>
        <p:grpSpPr bwMode="auto">
          <a:xfrm>
            <a:off x="5953306" y="1958610"/>
            <a:ext cx="332544" cy="442704"/>
            <a:chOff x="5561" y="440"/>
            <a:chExt cx="320" cy="426"/>
          </a:xfrm>
          <a:solidFill>
            <a:schemeClr val="accent1"/>
          </a:solidFill>
        </p:grpSpPr>
        <p:sp>
          <p:nvSpPr>
            <p:cNvPr id="70" name="Freeform 79">
              <a:extLst>
                <a:ext uri="{FF2B5EF4-FFF2-40B4-BE49-F238E27FC236}">
                  <a16:creationId xmlns:a16="http://schemas.microsoft.com/office/drawing/2014/main" id="{80577F24-5C69-4B4D-927B-11A5AE38790D}"/>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 name="Freeform 80">
              <a:extLst>
                <a:ext uri="{FF2B5EF4-FFF2-40B4-BE49-F238E27FC236}">
                  <a16:creationId xmlns:a16="http://schemas.microsoft.com/office/drawing/2014/main" id="{E4AD609C-BD49-49D8-8BF0-2CA065AC47DD}"/>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81">
              <a:extLst>
                <a:ext uri="{FF2B5EF4-FFF2-40B4-BE49-F238E27FC236}">
                  <a16:creationId xmlns:a16="http://schemas.microsoft.com/office/drawing/2014/main" id="{5F61C750-DC2E-4E9A-9E33-B68ED44471CD}"/>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82">
              <a:extLst>
                <a:ext uri="{FF2B5EF4-FFF2-40B4-BE49-F238E27FC236}">
                  <a16:creationId xmlns:a16="http://schemas.microsoft.com/office/drawing/2014/main" id="{931B0415-9D2F-42BB-A1C8-4E19C1C0616D}"/>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83">
              <a:extLst>
                <a:ext uri="{FF2B5EF4-FFF2-40B4-BE49-F238E27FC236}">
                  <a16:creationId xmlns:a16="http://schemas.microsoft.com/office/drawing/2014/main" id="{86173D43-39B7-4996-90AF-4C34E46877E0}"/>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84">
              <a:extLst>
                <a:ext uri="{FF2B5EF4-FFF2-40B4-BE49-F238E27FC236}">
                  <a16:creationId xmlns:a16="http://schemas.microsoft.com/office/drawing/2014/main" id="{6DEF8659-436B-4D63-8C04-4FD3F4F7CA1F}"/>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85">
              <a:extLst>
                <a:ext uri="{FF2B5EF4-FFF2-40B4-BE49-F238E27FC236}">
                  <a16:creationId xmlns:a16="http://schemas.microsoft.com/office/drawing/2014/main" id="{FB3CC45F-92C2-43E0-8FFF-963CFECA38C9}"/>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86">
              <a:extLst>
                <a:ext uri="{FF2B5EF4-FFF2-40B4-BE49-F238E27FC236}">
                  <a16:creationId xmlns:a16="http://schemas.microsoft.com/office/drawing/2014/main" id="{DED43D06-F4FE-4D8B-AA4D-C7176265646E}"/>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8" name="Group 45">
            <a:extLst>
              <a:ext uri="{FF2B5EF4-FFF2-40B4-BE49-F238E27FC236}">
                <a16:creationId xmlns:a16="http://schemas.microsoft.com/office/drawing/2014/main" id="{994F5FD5-A849-4507-BA75-6409F4ABE5C2}"/>
              </a:ext>
            </a:extLst>
          </p:cNvPr>
          <p:cNvGrpSpPr>
            <a:grpSpLocks noChangeAspect="1"/>
          </p:cNvGrpSpPr>
          <p:nvPr/>
        </p:nvGrpSpPr>
        <p:grpSpPr bwMode="auto">
          <a:xfrm>
            <a:off x="783204" y="3116889"/>
            <a:ext cx="481666" cy="481666"/>
            <a:chOff x="5507" y="439"/>
            <a:chExt cx="426" cy="426"/>
          </a:xfrm>
          <a:solidFill>
            <a:schemeClr val="accent1"/>
          </a:solidFill>
        </p:grpSpPr>
        <p:sp>
          <p:nvSpPr>
            <p:cNvPr id="79" name="Freeform 46">
              <a:extLst>
                <a:ext uri="{FF2B5EF4-FFF2-40B4-BE49-F238E27FC236}">
                  <a16:creationId xmlns:a16="http://schemas.microsoft.com/office/drawing/2014/main" id="{B7357C91-BCDD-4476-9890-CBBEE2690CEB}"/>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0" name="Freeform 47">
              <a:extLst>
                <a:ext uri="{FF2B5EF4-FFF2-40B4-BE49-F238E27FC236}">
                  <a16:creationId xmlns:a16="http://schemas.microsoft.com/office/drawing/2014/main" id="{F2A493E8-C574-4994-B268-3003E4D90F0D}"/>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1" name="Freeform 48">
              <a:extLst>
                <a:ext uri="{FF2B5EF4-FFF2-40B4-BE49-F238E27FC236}">
                  <a16:creationId xmlns:a16="http://schemas.microsoft.com/office/drawing/2014/main" id="{55A2AA64-F168-48D8-8BEB-ADBEF3B965F8}"/>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49">
              <a:extLst>
                <a:ext uri="{FF2B5EF4-FFF2-40B4-BE49-F238E27FC236}">
                  <a16:creationId xmlns:a16="http://schemas.microsoft.com/office/drawing/2014/main" id="{909C8E6E-7318-4857-BC03-D95A58F728C5}"/>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83" name="Group 79">
            <a:extLst>
              <a:ext uri="{FF2B5EF4-FFF2-40B4-BE49-F238E27FC236}">
                <a16:creationId xmlns:a16="http://schemas.microsoft.com/office/drawing/2014/main" id="{3C388472-7766-48FC-927C-1F8320CB41FB}"/>
              </a:ext>
            </a:extLst>
          </p:cNvPr>
          <p:cNvGrpSpPr>
            <a:grpSpLocks noChangeAspect="1"/>
          </p:cNvGrpSpPr>
          <p:nvPr/>
        </p:nvGrpSpPr>
        <p:grpSpPr bwMode="auto">
          <a:xfrm>
            <a:off x="4608644" y="3186991"/>
            <a:ext cx="481666" cy="341462"/>
            <a:chOff x="3437" y="1784"/>
            <a:chExt cx="426" cy="302"/>
          </a:xfrm>
          <a:solidFill>
            <a:schemeClr val="accent1"/>
          </a:solidFill>
        </p:grpSpPr>
        <p:sp>
          <p:nvSpPr>
            <p:cNvPr id="84" name="Freeform 80">
              <a:extLst>
                <a:ext uri="{FF2B5EF4-FFF2-40B4-BE49-F238E27FC236}">
                  <a16:creationId xmlns:a16="http://schemas.microsoft.com/office/drawing/2014/main" id="{A4B6BEC4-5569-43F4-8A8A-A64308A90A32}"/>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5" name="Freeform 81">
              <a:extLst>
                <a:ext uri="{FF2B5EF4-FFF2-40B4-BE49-F238E27FC236}">
                  <a16:creationId xmlns:a16="http://schemas.microsoft.com/office/drawing/2014/main" id="{039F562E-39E4-43E3-8398-DF0FB62D127B}"/>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6" name="Freeform 82">
              <a:extLst>
                <a:ext uri="{FF2B5EF4-FFF2-40B4-BE49-F238E27FC236}">
                  <a16:creationId xmlns:a16="http://schemas.microsoft.com/office/drawing/2014/main" id="{444F4DB1-0E5B-4192-8AD9-EF2D669AB82B}"/>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7" name="Freeform 83">
              <a:extLst>
                <a:ext uri="{FF2B5EF4-FFF2-40B4-BE49-F238E27FC236}">
                  <a16:creationId xmlns:a16="http://schemas.microsoft.com/office/drawing/2014/main" id="{08537CB0-8B09-491A-8258-D40380E5056E}"/>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8" name="Freeform 84">
              <a:extLst>
                <a:ext uri="{FF2B5EF4-FFF2-40B4-BE49-F238E27FC236}">
                  <a16:creationId xmlns:a16="http://schemas.microsoft.com/office/drawing/2014/main" id="{BE158AFB-0921-4C32-B989-EF170D72A915}"/>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89" name="Freeform 85">
              <a:extLst>
                <a:ext uri="{FF2B5EF4-FFF2-40B4-BE49-F238E27FC236}">
                  <a16:creationId xmlns:a16="http://schemas.microsoft.com/office/drawing/2014/main" id="{02728AE0-A8CC-49AC-9911-1A87510EF1AB}"/>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0" name="Freeform 86">
              <a:extLst>
                <a:ext uri="{FF2B5EF4-FFF2-40B4-BE49-F238E27FC236}">
                  <a16:creationId xmlns:a16="http://schemas.microsoft.com/office/drawing/2014/main" id="{99C6F84E-E72B-4761-8FA3-54814A6DAEBA}"/>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1" name="Freeform 87">
              <a:extLst>
                <a:ext uri="{FF2B5EF4-FFF2-40B4-BE49-F238E27FC236}">
                  <a16:creationId xmlns:a16="http://schemas.microsoft.com/office/drawing/2014/main" id="{63371E9B-1CC7-4E53-9C9A-7CBEE97E2823}"/>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2" name="Freeform 88">
              <a:extLst>
                <a:ext uri="{FF2B5EF4-FFF2-40B4-BE49-F238E27FC236}">
                  <a16:creationId xmlns:a16="http://schemas.microsoft.com/office/drawing/2014/main" id="{BC05FA1D-AB27-457F-BDD7-3F138CB0074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3" name="Freeform 89">
              <a:extLst>
                <a:ext uri="{FF2B5EF4-FFF2-40B4-BE49-F238E27FC236}">
                  <a16:creationId xmlns:a16="http://schemas.microsoft.com/office/drawing/2014/main" id="{A7EF6834-36E4-4F45-97CE-1304A6C66DA0}"/>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94" name="Freeform 90">
              <a:extLst>
                <a:ext uri="{FF2B5EF4-FFF2-40B4-BE49-F238E27FC236}">
                  <a16:creationId xmlns:a16="http://schemas.microsoft.com/office/drawing/2014/main" id="{A07352E1-7629-405C-8AFD-A10E99C4E765}"/>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95" name="Group 59">
            <a:extLst>
              <a:ext uri="{FF2B5EF4-FFF2-40B4-BE49-F238E27FC236}">
                <a16:creationId xmlns:a16="http://schemas.microsoft.com/office/drawing/2014/main" id="{0997CFFB-FEA8-4F2B-853D-388357F618A7}"/>
              </a:ext>
            </a:extLst>
          </p:cNvPr>
          <p:cNvGrpSpPr>
            <a:grpSpLocks noChangeAspect="1"/>
          </p:cNvGrpSpPr>
          <p:nvPr/>
        </p:nvGrpSpPr>
        <p:grpSpPr bwMode="auto">
          <a:xfrm>
            <a:off x="2075617" y="3217044"/>
            <a:ext cx="466978" cy="281356"/>
            <a:chOff x="6554" y="532"/>
            <a:chExt cx="400" cy="241"/>
          </a:xfrm>
          <a:solidFill>
            <a:schemeClr val="accent1"/>
          </a:solidFill>
        </p:grpSpPr>
        <p:sp>
          <p:nvSpPr>
            <p:cNvPr id="96" name="Freeform 60">
              <a:extLst>
                <a:ext uri="{FF2B5EF4-FFF2-40B4-BE49-F238E27FC236}">
                  <a16:creationId xmlns:a16="http://schemas.microsoft.com/office/drawing/2014/main" id="{EA9500D0-5803-43EE-910B-21F5F89493D6}"/>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97" name="Freeform 61">
              <a:extLst>
                <a:ext uri="{FF2B5EF4-FFF2-40B4-BE49-F238E27FC236}">
                  <a16:creationId xmlns:a16="http://schemas.microsoft.com/office/drawing/2014/main" id="{356CFF49-60EE-4647-B13A-DFA35C3D2755}"/>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98" name="Group 60">
            <a:extLst>
              <a:ext uri="{FF2B5EF4-FFF2-40B4-BE49-F238E27FC236}">
                <a16:creationId xmlns:a16="http://schemas.microsoft.com/office/drawing/2014/main" id="{523084B1-A668-4720-8AFB-70396E5E2A1E}"/>
              </a:ext>
            </a:extLst>
          </p:cNvPr>
          <p:cNvGrpSpPr>
            <a:grpSpLocks noChangeAspect="1"/>
          </p:cNvGrpSpPr>
          <p:nvPr/>
        </p:nvGrpSpPr>
        <p:grpSpPr bwMode="auto">
          <a:xfrm>
            <a:off x="3329567" y="3117577"/>
            <a:ext cx="491836" cy="480291"/>
            <a:chOff x="6726" y="600"/>
            <a:chExt cx="426" cy="416"/>
          </a:xfrm>
          <a:solidFill>
            <a:schemeClr val="accent1"/>
          </a:solidFill>
        </p:grpSpPr>
        <p:sp>
          <p:nvSpPr>
            <p:cNvPr id="99" name="Freeform 61">
              <a:extLst>
                <a:ext uri="{FF2B5EF4-FFF2-40B4-BE49-F238E27FC236}">
                  <a16:creationId xmlns:a16="http://schemas.microsoft.com/office/drawing/2014/main" id="{5535970F-2DCC-4FE6-8716-F29D88FBE16B}"/>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62">
              <a:extLst>
                <a:ext uri="{FF2B5EF4-FFF2-40B4-BE49-F238E27FC236}">
                  <a16:creationId xmlns:a16="http://schemas.microsoft.com/office/drawing/2014/main" id="{9317485F-00AD-4452-8E8E-664E019841E4}"/>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63">
              <a:extLst>
                <a:ext uri="{FF2B5EF4-FFF2-40B4-BE49-F238E27FC236}">
                  <a16:creationId xmlns:a16="http://schemas.microsoft.com/office/drawing/2014/main" id="{E5914A84-591B-422D-8B99-BA1B3A062A9F}"/>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64">
              <a:extLst>
                <a:ext uri="{FF2B5EF4-FFF2-40B4-BE49-F238E27FC236}">
                  <a16:creationId xmlns:a16="http://schemas.microsoft.com/office/drawing/2014/main" id="{C6FCE000-F409-497D-B143-F0633D1F2EAC}"/>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65">
              <a:extLst>
                <a:ext uri="{FF2B5EF4-FFF2-40B4-BE49-F238E27FC236}">
                  <a16:creationId xmlns:a16="http://schemas.microsoft.com/office/drawing/2014/main" id="{0E4A4856-872F-4D46-95C3-0BB0E886E0DF}"/>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66">
              <a:extLst>
                <a:ext uri="{FF2B5EF4-FFF2-40B4-BE49-F238E27FC236}">
                  <a16:creationId xmlns:a16="http://schemas.microsoft.com/office/drawing/2014/main" id="{064DEF06-9115-43F0-A721-AC2EDDBCF1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67">
              <a:extLst>
                <a:ext uri="{FF2B5EF4-FFF2-40B4-BE49-F238E27FC236}">
                  <a16:creationId xmlns:a16="http://schemas.microsoft.com/office/drawing/2014/main" id="{FF211E7D-2032-4E96-9E03-A035F252DFD2}"/>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68">
              <a:extLst>
                <a:ext uri="{FF2B5EF4-FFF2-40B4-BE49-F238E27FC236}">
                  <a16:creationId xmlns:a16="http://schemas.microsoft.com/office/drawing/2014/main" id="{CF69C0A6-FBB7-481E-893D-EF4597928FA4}"/>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69">
              <a:extLst>
                <a:ext uri="{FF2B5EF4-FFF2-40B4-BE49-F238E27FC236}">
                  <a16:creationId xmlns:a16="http://schemas.microsoft.com/office/drawing/2014/main" id="{13B2D9C4-6FC7-4BE6-9547-0840C7AF2FA9}"/>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70">
              <a:extLst>
                <a:ext uri="{FF2B5EF4-FFF2-40B4-BE49-F238E27FC236}">
                  <a16:creationId xmlns:a16="http://schemas.microsoft.com/office/drawing/2014/main" id="{B9751677-D1D6-45BF-B19A-9945F3A8A51A}"/>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71">
              <a:extLst>
                <a:ext uri="{FF2B5EF4-FFF2-40B4-BE49-F238E27FC236}">
                  <a16:creationId xmlns:a16="http://schemas.microsoft.com/office/drawing/2014/main" id="{67191D81-F1D5-4746-B9FF-2ADB66CC757F}"/>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72">
              <a:extLst>
                <a:ext uri="{FF2B5EF4-FFF2-40B4-BE49-F238E27FC236}">
                  <a16:creationId xmlns:a16="http://schemas.microsoft.com/office/drawing/2014/main" id="{5668B526-4455-428A-8475-6C0372AEDAF3}"/>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1" name="Group 147">
            <a:extLst>
              <a:ext uri="{FF2B5EF4-FFF2-40B4-BE49-F238E27FC236}">
                <a16:creationId xmlns:a16="http://schemas.microsoft.com/office/drawing/2014/main" id="{E76AE1E7-E091-47EB-B74C-861F45514747}"/>
              </a:ext>
            </a:extLst>
          </p:cNvPr>
          <p:cNvGrpSpPr>
            <a:grpSpLocks noChangeAspect="1"/>
          </p:cNvGrpSpPr>
          <p:nvPr/>
        </p:nvGrpSpPr>
        <p:grpSpPr bwMode="auto">
          <a:xfrm>
            <a:off x="4602982" y="4317934"/>
            <a:ext cx="492991" cy="480291"/>
            <a:chOff x="4660" y="3155"/>
            <a:chExt cx="427" cy="416"/>
          </a:xfrm>
          <a:solidFill>
            <a:schemeClr val="accent1"/>
          </a:solidFill>
        </p:grpSpPr>
        <p:sp>
          <p:nvSpPr>
            <p:cNvPr id="112" name="Freeform 148">
              <a:extLst>
                <a:ext uri="{FF2B5EF4-FFF2-40B4-BE49-F238E27FC236}">
                  <a16:creationId xmlns:a16="http://schemas.microsoft.com/office/drawing/2014/main" id="{4C8714C4-EBF2-42E4-ACD1-C66C46400AF1}"/>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3" name="Freeform 149">
              <a:extLst>
                <a:ext uri="{FF2B5EF4-FFF2-40B4-BE49-F238E27FC236}">
                  <a16:creationId xmlns:a16="http://schemas.microsoft.com/office/drawing/2014/main" id="{BD8B9800-B481-4D6B-80E7-C21F62FE49EE}"/>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4" name="Freeform 150">
              <a:extLst>
                <a:ext uri="{FF2B5EF4-FFF2-40B4-BE49-F238E27FC236}">
                  <a16:creationId xmlns:a16="http://schemas.microsoft.com/office/drawing/2014/main" id="{2A70637B-4F3D-4982-81F9-A80F772EDC52}"/>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5" name="Freeform 151">
              <a:extLst>
                <a:ext uri="{FF2B5EF4-FFF2-40B4-BE49-F238E27FC236}">
                  <a16:creationId xmlns:a16="http://schemas.microsoft.com/office/drawing/2014/main" id="{69461D7D-67C4-4308-83CA-7DF0F95B6DF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6" name="Freeform 152">
              <a:extLst>
                <a:ext uri="{FF2B5EF4-FFF2-40B4-BE49-F238E27FC236}">
                  <a16:creationId xmlns:a16="http://schemas.microsoft.com/office/drawing/2014/main" id="{26F8CD2F-3D9B-476F-8334-8ABC0CA4CBE4}"/>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7" name="Freeform 153">
              <a:extLst>
                <a:ext uri="{FF2B5EF4-FFF2-40B4-BE49-F238E27FC236}">
                  <a16:creationId xmlns:a16="http://schemas.microsoft.com/office/drawing/2014/main" id="{411D489C-F08F-4BD4-A916-0CF42F7C8FE7}"/>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8" name="Freeform 154">
              <a:extLst>
                <a:ext uri="{FF2B5EF4-FFF2-40B4-BE49-F238E27FC236}">
                  <a16:creationId xmlns:a16="http://schemas.microsoft.com/office/drawing/2014/main" id="{129DD1D4-06CC-4E19-90DF-33C4F82F0043}"/>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9" name="Freeform 155">
              <a:extLst>
                <a:ext uri="{FF2B5EF4-FFF2-40B4-BE49-F238E27FC236}">
                  <a16:creationId xmlns:a16="http://schemas.microsoft.com/office/drawing/2014/main" id="{B52710CE-BAB2-4D5D-BCFA-F667EB64C86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0" name="Freeform 156">
              <a:extLst>
                <a:ext uri="{FF2B5EF4-FFF2-40B4-BE49-F238E27FC236}">
                  <a16:creationId xmlns:a16="http://schemas.microsoft.com/office/drawing/2014/main" id="{256B7C23-6638-4801-AED0-3416F172BD57}"/>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1" name="Freeform 157">
              <a:extLst>
                <a:ext uri="{FF2B5EF4-FFF2-40B4-BE49-F238E27FC236}">
                  <a16:creationId xmlns:a16="http://schemas.microsoft.com/office/drawing/2014/main" id="{5F465854-6757-4900-814B-8B93299A745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2" name="Freeform 158">
              <a:extLst>
                <a:ext uri="{FF2B5EF4-FFF2-40B4-BE49-F238E27FC236}">
                  <a16:creationId xmlns:a16="http://schemas.microsoft.com/office/drawing/2014/main" id="{76B6FE1A-6F25-4519-965F-6DF616B7C947}"/>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3" name="Freeform 159">
              <a:extLst>
                <a:ext uri="{FF2B5EF4-FFF2-40B4-BE49-F238E27FC236}">
                  <a16:creationId xmlns:a16="http://schemas.microsoft.com/office/drawing/2014/main" id="{71484D86-2302-44CE-AA17-5A7815212B26}"/>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4" name="Oval 160">
              <a:extLst>
                <a:ext uri="{FF2B5EF4-FFF2-40B4-BE49-F238E27FC236}">
                  <a16:creationId xmlns:a16="http://schemas.microsoft.com/office/drawing/2014/main" id="{C6549908-25A1-46AA-868C-6D7FA13010AA}"/>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5" name="Freeform 161">
              <a:extLst>
                <a:ext uri="{FF2B5EF4-FFF2-40B4-BE49-F238E27FC236}">
                  <a16:creationId xmlns:a16="http://schemas.microsoft.com/office/drawing/2014/main" id="{3D9A21C2-6131-49BE-97D4-2E51D103A76A}"/>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26" name="Group 98">
            <a:extLst>
              <a:ext uri="{FF2B5EF4-FFF2-40B4-BE49-F238E27FC236}">
                <a16:creationId xmlns:a16="http://schemas.microsoft.com/office/drawing/2014/main" id="{90C8AEFB-1E63-4D21-93A0-AAE7AC957E8C}"/>
              </a:ext>
            </a:extLst>
          </p:cNvPr>
          <p:cNvGrpSpPr>
            <a:grpSpLocks noChangeAspect="1"/>
          </p:cNvGrpSpPr>
          <p:nvPr/>
        </p:nvGrpSpPr>
        <p:grpSpPr bwMode="auto">
          <a:xfrm>
            <a:off x="3323794" y="4324704"/>
            <a:ext cx="503382" cy="466750"/>
            <a:chOff x="348" y="3011"/>
            <a:chExt cx="426" cy="395"/>
          </a:xfrm>
          <a:solidFill>
            <a:schemeClr val="accent1"/>
          </a:solidFill>
        </p:grpSpPr>
        <p:sp>
          <p:nvSpPr>
            <p:cNvPr id="127" name="Freeform 99">
              <a:extLst>
                <a:ext uri="{FF2B5EF4-FFF2-40B4-BE49-F238E27FC236}">
                  <a16:creationId xmlns:a16="http://schemas.microsoft.com/office/drawing/2014/main" id="{636D399A-E76B-4B6F-8082-78DEFBB6BEFB}"/>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28" name="Freeform 100">
              <a:extLst>
                <a:ext uri="{FF2B5EF4-FFF2-40B4-BE49-F238E27FC236}">
                  <a16:creationId xmlns:a16="http://schemas.microsoft.com/office/drawing/2014/main" id="{6A209008-F2DD-4A46-8664-954EAD02C26A}"/>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29" name="Oval 101">
              <a:extLst>
                <a:ext uri="{FF2B5EF4-FFF2-40B4-BE49-F238E27FC236}">
                  <a16:creationId xmlns:a16="http://schemas.microsoft.com/office/drawing/2014/main" id="{066B1A87-3F99-4483-8842-E29D58770BD8}"/>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30" name="Group 133">
            <a:extLst>
              <a:ext uri="{FF2B5EF4-FFF2-40B4-BE49-F238E27FC236}">
                <a16:creationId xmlns:a16="http://schemas.microsoft.com/office/drawing/2014/main" id="{A8F2B245-F43F-4A16-9CE2-27358D9DCE30}"/>
              </a:ext>
            </a:extLst>
          </p:cNvPr>
          <p:cNvGrpSpPr>
            <a:grpSpLocks noChangeAspect="1"/>
          </p:cNvGrpSpPr>
          <p:nvPr/>
        </p:nvGrpSpPr>
        <p:grpSpPr bwMode="auto">
          <a:xfrm>
            <a:off x="769996" y="4304038"/>
            <a:ext cx="508082" cy="508082"/>
            <a:chOff x="5508" y="2995"/>
            <a:chExt cx="427" cy="427"/>
          </a:xfrm>
          <a:solidFill>
            <a:schemeClr val="accent1"/>
          </a:solidFill>
        </p:grpSpPr>
        <p:sp>
          <p:nvSpPr>
            <p:cNvPr id="131" name="Freeform 134">
              <a:extLst>
                <a:ext uri="{FF2B5EF4-FFF2-40B4-BE49-F238E27FC236}">
                  <a16:creationId xmlns:a16="http://schemas.microsoft.com/office/drawing/2014/main" id="{235FA42A-7CCF-4AA2-ABAC-CB6857AABDA2}"/>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2" name="Rectangle 135">
              <a:extLst>
                <a:ext uri="{FF2B5EF4-FFF2-40B4-BE49-F238E27FC236}">
                  <a16:creationId xmlns:a16="http://schemas.microsoft.com/office/drawing/2014/main" id="{C942925E-0313-41F9-AB0C-B142D35E01EB}"/>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3" name="Rectangle 136">
              <a:extLst>
                <a:ext uri="{FF2B5EF4-FFF2-40B4-BE49-F238E27FC236}">
                  <a16:creationId xmlns:a16="http://schemas.microsoft.com/office/drawing/2014/main" id="{CA06B1CA-533D-4E5A-8650-C2980FF8FB20}"/>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4" name="Rectangle 137">
              <a:extLst>
                <a:ext uri="{FF2B5EF4-FFF2-40B4-BE49-F238E27FC236}">
                  <a16:creationId xmlns:a16="http://schemas.microsoft.com/office/drawing/2014/main" id="{B4922E64-71E5-47EC-B5B3-1B2001408A62}"/>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5" name="Freeform 138">
              <a:extLst>
                <a:ext uri="{FF2B5EF4-FFF2-40B4-BE49-F238E27FC236}">
                  <a16:creationId xmlns:a16="http://schemas.microsoft.com/office/drawing/2014/main" id="{335FEC58-B102-457D-A926-0A6E65A1F4C6}"/>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36" name="Group 128">
            <a:extLst>
              <a:ext uri="{FF2B5EF4-FFF2-40B4-BE49-F238E27FC236}">
                <a16:creationId xmlns:a16="http://schemas.microsoft.com/office/drawing/2014/main" id="{5FE0A84E-CC43-42EA-BB7C-04C9E210A32D}"/>
              </a:ext>
            </a:extLst>
          </p:cNvPr>
          <p:cNvGrpSpPr>
            <a:grpSpLocks noChangeAspect="1"/>
          </p:cNvGrpSpPr>
          <p:nvPr/>
        </p:nvGrpSpPr>
        <p:grpSpPr bwMode="auto">
          <a:xfrm>
            <a:off x="2055661" y="4309988"/>
            <a:ext cx="506890" cy="496182"/>
            <a:chOff x="4478" y="2999"/>
            <a:chExt cx="426" cy="417"/>
          </a:xfrm>
          <a:solidFill>
            <a:schemeClr val="accent1"/>
          </a:solidFill>
        </p:grpSpPr>
        <p:sp>
          <p:nvSpPr>
            <p:cNvPr id="137" name="Freeform 129">
              <a:extLst>
                <a:ext uri="{FF2B5EF4-FFF2-40B4-BE49-F238E27FC236}">
                  <a16:creationId xmlns:a16="http://schemas.microsoft.com/office/drawing/2014/main" id="{82216FC8-C3FF-4F47-84AB-54583C03688D}"/>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38" name="Freeform 130">
              <a:extLst>
                <a:ext uri="{FF2B5EF4-FFF2-40B4-BE49-F238E27FC236}">
                  <a16:creationId xmlns:a16="http://schemas.microsoft.com/office/drawing/2014/main" id="{2A1611B8-F7DD-45B7-972E-3101D753BBAB}"/>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39" name="Group 4">
            <a:extLst>
              <a:ext uri="{FF2B5EF4-FFF2-40B4-BE49-F238E27FC236}">
                <a16:creationId xmlns:a16="http://schemas.microsoft.com/office/drawing/2014/main" id="{F143B71D-F6F1-4884-A873-C412FB513AC9}"/>
              </a:ext>
            </a:extLst>
          </p:cNvPr>
          <p:cNvGrpSpPr>
            <a:grpSpLocks noChangeAspect="1"/>
          </p:cNvGrpSpPr>
          <p:nvPr/>
        </p:nvGrpSpPr>
        <p:grpSpPr bwMode="auto">
          <a:xfrm>
            <a:off x="5871933" y="3163253"/>
            <a:ext cx="495324" cy="388938"/>
            <a:chOff x="526" y="708"/>
            <a:chExt cx="433" cy="340"/>
          </a:xfrm>
          <a:solidFill>
            <a:schemeClr val="accent1"/>
          </a:solidFill>
        </p:grpSpPr>
        <p:sp>
          <p:nvSpPr>
            <p:cNvPr id="140" name="Freeform 5">
              <a:extLst>
                <a:ext uri="{FF2B5EF4-FFF2-40B4-BE49-F238E27FC236}">
                  <a16:creationId xmlns:a16="http://schemas.microsoft.com/office/drawing/2014/main" id="{F1053F0F-8C08-4323-952A-B5B326670C05}"/>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6">
              <a:extLst>
                <a:ext uri="{FF2B5EF4-FFF2-40B4-BE49-F238E27FC236}">
                  <a16:creationId xmlns:a16="http://schemas.microsoft.com/office/drawing/2014/main" id="{5FF8CD5D-EF85-4178-AE51-C4A9EF7DC66B}"/>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7">
              <a:extLst>
                <a:ext uri="{FF2B5EF4-FFF2-40B4-BE49-F238E27FC236}">
                  <a16:creationId xmlns:a16="http://schemas.microsoft.com/office/drawing/2014/main" id="{4F307D25-925C-41CE-B278-CCD0C64E578E}"/>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8">
              <a:extLst>
                <a:ext uri="{FF2B5EF4-FFF2-40B4-BE49-F238E27FC236}">
                  <a16:creationId xmlns:a16="http://schemas.microsoft.com/office/drawing/2014/main" id="{435C74B6-EB7B-4D53-9AD1-F3F3A33D0991}"/>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9">
              <a:extLst>
                <a:ext uri="{FF2B5EF4-FFF2-40B4-BE49-F238E27FC236}">
                  <a16:creationId xmlns:a16="http://schemas.microsoft.com/office/drawing/2014/main" id="{01981A03-2335-48B2-A4B1-69D270479459}"/>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10">
              <a:extLst>
                <a:ext uri="{FF2B5EF4-FFF2-40B4-BE49-F238E27FC236}">
                  <a16:creationId xmlns:a16="http://schemas.microsoft.com/office/drawing/2014/main" id="{00DE3F8E-DAF4-4712-8EB2-44B3A55F382B}"/>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11">
              <a:extLst>
                <a:ext uri="{FF2B5EF4-FFF2-40B4-BE49-F238E27FC236}">
                  <a16:creationId xmlns:a16="http://schemas.microsoft.com/office/drawing/2014/main" id="{DE3D70A7-3AE1-48E2-8306-5D3AF9BD1029}"/>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2">
              <a:extLst>
                <a:ext uri="{FF2B5EF4-FFF2-40B4-BE49-F238E27FC236}">
                  <a16:creationId xmlns:a16="http://schemas.microsoft.com/office/drawing/2014/main" id="{A5F15B1A-86EF-4CE6-887B-B155E066C917}"/>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13">
              <a:extLst>
                <a:ext uri="{FF2B5EF4-FFF2-40B4-BE49-F238E27FC236}">
                  <a16:creationId xmlns:a16="http://schemas.microsoft.com/office/drawing/2014/main" id="{3FA5E32E-6683-4BCF-BA91-6220BBA242DD}"/>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9" name="Group 127">
            <a:extLst>
              <a:ext uri="{FF2B5EF4-FFF2-40B4-BE49-F238E27FC236}">
                <a16:creationId xmlns:a16="http://schemas.microsoft.com/office/drawing/2014/main" id="{5EE9FC7D-4C71-40BF-8944-0CE2724332F4}"/>
              </a:ext>
            </a:extLst>
          </p:cNvPr>
          <p:cNvGrpSpPr>
            <a:grpSpLocks noChangeAspect="1"/>
          </p:cNvGrpSpPr>
          <p:nvPr/>
        </p:nvGrpSpPr>
        <p:grpSpPr bwMode="auto">
          <a:xfrm>
            <a:off x="7145733" y="3130536"/>
            <a:ext cx="464916" cy="454373"/>
            <a:chOff x="4656" y="1821"/>
            <a:chExt cx="441" cy="431"/>
          </a:xfrm>
          <a:solidFill>
            <a:schemeClr val="accent1"/>
          </a:solidFill>
        </p:grpSpPr>
        <p:sp>
          <p:nvSpPr>
            <p:cNvPr id="150" name="Freeform 128">
              <a:extLst>
                <a:ext uri="{FF2B5EF4-FFF2-40B4-BE49-F238E27FC236}">
                  <a16:creationId xmlns:a16="http://schemas.microsoft.com/office/drawing/2014/main" id="{556B316C-2241-4374-8508-253CB98408AF}"/>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1" name="Freeform 129">
              <a:extLst>
                <a:ext uri="{FF2B5EF4-FFF2-40B4-BE49-F238E27FC236}">
                  <a16:creationId xmlns:a16="http://schemas.microsoft.com/office/drawing/2014/main" id="{D3D156C3-D9FD-4F73-BFBA-C38AC43221F0}"/>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2" name="Freeform 130">
              <a:extLst>
                <a:ext uri="{FF2B5EF4-FFF2-40B4-BE49-F238E27FC236}">
                  <a16:creationId xmlns:a16="http://schemas.microsoft.com/office/drawing/2014/main" id="{4E414DB7-E0FA-4386-BF6B-8AE5BA614477}"/>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3" name="Freeform 131">
              <a:extLst>
                <a:ext uri="{FF2B5EF4-FFF2-40B4-BE49-F238E27FC236}">
                  <a16:creationId xmlns:a16="http://schemas.microsoft.com/office/drawing/2014/main" id="{EE88C435-9303-4019-B929-C6AEE70E247F}"/>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4" name="Freeform 132">
              <a:extLst>
                <a:ext uri="{FF2B5EF4-FFF2-40B4-BE49-F238E27FC236}">
                  <a16:creationId xmlns:a16="http://schemas.microsoft.com/office/drawing/2014/main" id="{EAD2B53E-D9DF-4B0E-878B-C31B059F8D49}"/>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Freeform 133">
              <a:extLst>
                <a:ext uri="{FF2B5EF4-FFF2-40B4-BE49-F238E27FC236}">
                  <a16:creationId xmlns:a16="http://schemas.microsoft.com/office/drawing/2014/main" id="{E61632F3-0946-4226-90C7-B28E4BFCC917}"/>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56" name="Group 21">
            <a:extLst>
              <a:ext uri="{FF2B5EF4-FFF2-40B4-BE49-F238E27FC236}">
                <a16:creationId xmlns:a16="http://schemas.microsoft.com/office/drawing/2014/main" id="{4553BC09-0D5D-47BD-A21E-EA37E50F4527}"/>
              </a:ext>
            </a:extLst>
          </p:cNvPr>
          <p:cNvGrpSpPr>
            <a:grpSpLocks noChangeAspect="1"/>
          </p:cNvGrpSpPr>
          <p:nvPr/>
        </p:nvGrpSpPr>
        <p:grpSpPr bwMode="auto">
          <a:xfrm>
            <a:off x="8420433" y="3170602"/>
            <a:ext cx="473118" cy="374241"/>
            <a:chOff x="526" y="695"/>
            <a:chExt cx="445" cy="352"/>
          </a:xfrm>
          <a:solidFill>
            <a:schemeClr val="accent1"/>
          </a:solidFill>
        </p:grpSpPr>
        <p:sp>
          <p:nvSpPr>
            <p:cNvPr id="157" name="Freeform 241">
              <a:extLst>
                <a:ext uri="{FF2B5EF4-FFF2-40B4-BE49-F238E27FC236}">
                  <a16:creationId xmlns:a16="http://schemas.microsoft.com/office/drawing/2014/main" id="{B3C62A85-7B22-4487-AE95-D43D78BFA139}"/>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2">
              <a:extLst>
                <a:ext uri="{FF2B5EF4-FFF2-40B4-BE49-F238E27FC236}">
                  <a16:creationId xmlns:a16="http://schemas.microsoft.com/office/drawing/2014/main" id="{02FF5BC7-173C-4C02-93BB-E1156F33F924}"/>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3">
              <a:extLst>
                <a:ext uri="{FF2B5EF4-FFF2-40B4-BE49-F238E27FC236}">
                  <a16:creationId xmlns:a16="http://schemas.microsoft.com/office/drawing/2014/main" id="{0B4FABFF-E931-45D9-9F09-FFB971D8889B}"/>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44">
              <a:extLst>
                <a:ext uri="{FF2B5EF4-FFF2-40B4-BE49-F238E27FC236}">
                  <a16:creationId xmlns:a16="http://schemas.microsoft.com/office/drawing/2014/main" id="{39E573A8-DA9B-4A30-A077-4410C59B3695}"/>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1" name="Group 71">
            <a:extLst>
              <a:ext uri="{FF2B5EF4-FFF2-40B4-BE49-F238E27FC236}">
                <a16:creationId xmlns:a16="http://schemas.microsoft.com/office/drawing/2014/main" id="{3463AE51-E07E-4FA1-A7F6-3A2BFF738272}"/>
              </a:ext>
            </a:extLst>
          </p:cNvPr>
          <p:cNvGrpSpPr>
            <a:grpSpLocks noChangeAspect="1"/>
          </p:cNvGrpSpPr>
          <p:nvPr/>
        </p:nvGrpSpPr>
        <p:grpSpPr bwMode="auto">
          <a:xfrm>
            <a:off x="9667337" y="3111955"/>
            <a:ext cx="516168" cy="491534"/>
            <a:chOff x="6721" y="1874"/>
            <a:chExt cx="440" cy="419"/>
          </a:xfrm>
          <a:solidFill>
            <a:schemeClr val="accent1"/>
          </a:solidFill>
        </p:grpSpPr>
        <p:sp>
          <p:nvSpPr>
            <p:cNvPr id="162" name="Freeform 72">
              <a:extLst>
                <a:ext uri="{FF2B5EF4-FFF2-40B4-BE49-F238E27FC236}">
                  <a16:creationId xmlns:a16="http://schemas.microsoft.com/office/drawing/2014/main" id="{45B83674-F6A1-4225-A05D-5FAB6C28CD6C}"/>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Freeform 73">
              <a:extLst>
                <a:ext uri="{FF2B5EF4-FFF2-40B4-BE49-F238E27FC236}">
                  <a16:creationId xmlns:a16="http://schemas.microsoft.com/office/drawing/2014/main" id="{D8D975FF-B96C-4563-B5B8-0C8E65322274}"/>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Freeform 74">
              <a:extLst>
                <a:ext uri="{FF2B5EF4-FFF2-40B4-BE49-F238E27FC236}">
                  <a16:creationId xmlns:a16="http://schemas.microsoft.com/office/drawing/2014/main" id="{8B4EED67-F87B-477F-874B-4DAC299E8822}"/>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Freeform 75">
              <a:extLst>
                <a:ext uri="{FF2B5EF4-FFF2-40B4-BE49-F238E27FC236}">
                  <a16:creationId xmlns:a16="http://schemas.microsoft.com/office/drawing/2014/main" id="{0AD39CCE-C7AB-4BE8-A52F-F10AD149B898}"/>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Freeform 76">
              <a:extLst>
                <a:ext uri="{FF2B5EF4-FFF2-40B4-BE49-F238E27FC236}">
                  <a16:creationId xmlns:a16="http://schemas.microsoft.com/office/drawing/2014/main" id="{C7A02383-2BD5-4EB7-BFD1-8D9B6A6A2A42}"/>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Freeform 77">
              <a:extLst>
                <a:ext uri="{FF2B5EF4-FFF2-40B4-BE49-F238E27FC236}">
                  <a16:creationId xmlns:a16="http://schemas.microsoft.com/office/drawing/2014/main" id="{4B7436C0-A8D2-49AE-A2D4-C1DF91962946}"/>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Freeform 78">
              <a:extLst>
                <a:ext uri="{FF2B5EF4-FFF2-40B4-BE49-F238E27FC236}">
                  <a16:creationId xmlns:a16="http://schemas.microsoft.com/office/drawing/2014/main" id="{CBA9E607-7891-44EB-8605-98685E26E15A}"/>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Freeform 79">
              <a:extLst>
                <a:ext uri="{FF2B5EF4-FFF2-40B4-BE49-F238E27FC236}">
                  <a16:creationId xmlns:a16="http://schemas.microsoft.com/office/drawing/2014/main" id="{1CE03728-E440-4B7C-A784-08F383984B45}"/>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70" name="Group 83">
            <a:extLst>
              <a:ext uri="{FF2B5EF4-FFF2-40B4-BE49-F238E27FC236}">
                <a16:creationId xmlns:a16="http://schemas.microsoft.com/office/drawing/2014/main" id="{092C1DD4-C3B3-42F4-A52E-E7302408816B}"/>
              </a:ext>
            </a:extLst>
          </p:cNvPr>
          <p:cNvGrpSpPr>
            <a:grpSpLocks noChangeAspect="1"/>
          </p:cNvGrpSpPr>
          <p:nvPr/>
        </p:nvGrpSpPr>
        <p:grpSpPr bwMode="auto">
          <a:xfrm>
            <a:off x="5862737" y="4307059"/>
            <a:ext cx="513716" cy="502040"/>
            <a:chOff x="2584" y="1926"/>
            <a:chExt cx="440" cy="430"/>
          </a:xfrm>
          <a:solidFill>
            <a:schemeClr val="accent1"/>
          </a:solidFill>
        </p:grpSpPr>
        <p:sp>
          <p:nvSpPr>
            <p:cNvPr id="171" name="Freeform 84">
              <a:extLst>
                <a:ext uri="{FF2B5EF4-FFF2-40B4-BE49-F238E27FC236}">
                  <a16:creationId xmlns:a16="http://schemas.microsoft.com/office/drawing/2014/main" id="{41DA4A32-91F0-44C0-8E59-D9A553E348EC}"/>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85">
              <a:extLst>
                <a:ext uri="{FF2B5EF4-FFF2-40B4-BE49-F238E27FC236}">
                  <a16:creationId xmlns:a16="http://schemas.microsoft.com/office/drawing/2014/main" id="{C8240FBA-5E82-41A2-89AF-22B847CC4C28}"/>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86">
              <a:extLst>
                <a:ext uri="{FF2B5EF4-FFF2-40B4-BE49-F238E27FC236}">
                  <a16:creationId xmlns:a16="http://schemas.microsoft.com/office/drawing/2014/main" id="{0103ED14-8210-486D-AF9B-AE866DA2B7C0}"/>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87">
              <a:extLst>
                <a:ext uri="{FF2B5EF4-FFF2-40B4-BE49-F238E27FC236}">
                  <a16:creationId xmlns:a16="http://schemas.microsoft.com/office/drawing/2014/main" id="{C82D06E7-6E2A-4527-895E-D2268A1701A9}"/>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88">
              <a:extLst>
                <a:ext uri="{FF2B5EF4-FFF2-40B4-BE49-F238E27FC236}">
                  <a16:creationId xmlns:a16="http://schemas.microsoft.com/office/drawing/2014/main" id="{B34C5BCC-7751-4078-AA5B-8E32EDEE19EF}"/>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89">
              <a:extLst>
                <a:ext uri="{FF2B5EF4-FFF2-40B4-BE49-F238E27FC236}">
                  <a16:creationId xmlns:a16="http://schemas.microsoft.com/office/drawing/2014/main" id="{59526914-99FF-4347-9795-3289DBE24493}"/>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90">
              <a:extLst>
                <a:ext uri="{FF2B5EF4-FFF2-40B4-BE49-F238E27FC236}">
                  <a16:creationId xmlns:a16="http://schemas.microsoft.com/office/drawing/2014/main" id="{0B219AD8-146C-424E-842C-270FE17ED969}"/>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91">
              <a:extLst>
                <a:ext uri="{FF2B5EF4-FFF2-40B4-BE49-F238E27FC236}">
                  <a16:creationId xmlns:a16="http://schemas.microsoft.com/office/drawing/2014/main" id="{C834A088-EF1F-419B-B454-51CD1E2118D3}"/>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92">
              <a:extLst>
                <a:ext uri="{FF2B5EF4-FFF2-40B4-BE49-F238E27FC236}">
                  <a16:creationId xmlns:a16="http://schemas.microsoft.com/office/drawing/2014/main" id="{5B200750-B411-4802-BDBD-F4F105F54EAE}"/>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Rectangle 93">
              <a:extLst>
                <a:ext uri="{FF2B5EF4-FFF2-40B4-BE49-F238E27FC236}">
                  <a16:creationId xmlns:a16="http://schemas.microsoft.com/office/drawing/2014/main" id="{01EA25A3-2800-4CE0-B0A1-3FBC13991696}"/>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94">
              <a:extLst>
                <a:ext uri="{FF2B5EF4-FFF2-40B4-BE49-F238E27FC236}">
                  <a16:creationId xmlns:a16="http://schemas.microsoft.com/office/drawing/2014/main" id="{2C532050-0862-4F94-B3B2-DC1A626350D5}"/>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82" name="Group 59">
            <a:extLst>
              <a:ext uri="{FF2B5EF4-FFF2-40B4-BE49-F238E27FC236}">
                <a16:creationId xmlns:a16="http://schemas.microsoft.com/office/drawing/2014/main" id="{163B974A-57AC-432E-B791-5E3311C592B3}"/>
              </a:ext>
            </a:extLst>
          </p:cNvPr>
          <p:cNvGrpSpPr>
            <a:grpSpLocks noChangeAspect="1"/>
          </p:cNvGrpSpPr>
          <p:nvPr/>
        </p:nvGrpSpPr>
        <p:grpSpPr bwMode="auto">
          <a:xfrm>
            <a:off x="7131257" y="4307059"/>
            <a:ext cx="493868" cy="502040"/>
            <a:chOff x="5696" y="644"/>
            <a:chExt cx="423" cy="430"/>
          </a:xfrm>
          <a:solidFill>
            <a:schemeClr val="accent1"/>
          </a:solidFill>
        </p:grpSpPr>
        <p:sp>
          <p:nvSpPr>
            <p:cNvPr id="183" name="Freeform 60">
              <a:extLst>
                <a:ext uri="{FF2B5EF4-FFF2-40B4-BE49-F238E27FC236}">
                  <a16:creationId xmlns:a16="http://schemas.microsoft.com/office/drawing/2014/main" id="{A5D0876A-F6FA-4E77-8334-E46DADE4B3F3}"/>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61">
              <a:extLst>
                <a:ext uri="{FF2B5EF4-FFF2-40B4-BE49-F238E27FC236}">
                  <a16:creationId xmlns:a16="http://schemas.microsoft.com/office/drawing/2014/main" id="{92E61175-419C-4839-A7D1-9C626936F15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62">
              <a:extLst>
                <a:ext uri="{FF2B5EF4-FFF2-40B4-BE49-F238E27FC236}">
                  <a16:creationId xmlns:a16="http://schemas.microsoft.com/office/drawing/2014/main" id="{C800577B-BF91-4544-B257-BE8C53BF002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63">
              <a:extLst>
                <a:ext uri="{FF2B5EF4-FFF2-40B4-BE49-F238E27FC236}">
                  <a16:creationId xmlns:a16="http://schemas.microsoft.com/office/drawing/2014/main" id="{129F80BD-9329-453E-A0E7-7387CADFFC10}"/>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64">
              <a:extLst>
                <a:ext uri="{FF2B5EF4-FFF2-40B4-BE49-F238E27FC236}">
                  <a16:creationId xmlns:a16="http://schemas.microsoft.com/office/drawing/2014/main" id="{426589D2-EBB5-4D1A-9B0F-512DDA5FDC70}"/>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65">
              <a:extLst>
                <a:ext uri="{FF2B5EF4-FFF2-40B4-BE49-F238E27FC236}">
                  <a16:creationId xmlns:a16="http://schemas.microsoft.com/office/drawing/2014/main" id="{0D145F18-0D62-4124-9A0D-5EAAFF5A96BB}"/>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9" name="Group 40">
            <a:extLst>
              <a:ext uri="{FF2B5EF4-FFF2-40B4-BE49-F238E27FC236}">
                <a16:creationId xmlns:a16="http://schemas.microsoft.com/office/drawing/2014/main" id="{9BC8E6FF-A9C2-4B26-970E-B852110D657A}"/>
              </a:ext>
            </a:extLst>
          </p:cNvPr>
          <p:cNvGrpSpPr>
            <a:grpSpLocks noChangeAspect="1"/>
          </p:cNvGrpSpPr>
          <p:nvPr/>
        </p:nvGrpSpPr>
        <p:grpSpPr bwMode="auto">
          <a:xfrm>
            <a:off x="8413589" y="4350552"/>
            <a:ext cx="486806" cy="415054"/>
            <a:chOff x="4653" y="690"/>
            <a:chExt cx="441" cy="376"/>
          </a:xfrm>
          <a:solidFill>
            <a:schemeClr val="accent1"/>
          </a:solidFill>
        </p:grpSpPr>
        <p:sp>
          <p:nvSpPr>
            <p:cNvPr id="190" name="Freeform 41">
              <a:extLst>
                <a:ext uri="{FF2B5EF4-FFF2-40B4-BE49-F238E27FC236}">
                  <a16:creationId xmlns:a16="http://schemas.microsoft.com/office/drawing/2014/main" id="{55BB48C8-AE29-4B50-B980-E8ABC252F411}"/>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1" name="Freeform 42">
              <a:extLst>
                <a:ext uri="{FF2B5EF4-FFF2-40B4-BE49-F238E27FC236}">
                  <a16:creationId xmlns:a16="http://schemas.microsoft.com/office/drawing/2014/main" id="{C2C125A0-8757-4781-92BA-02F3991F253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2" name="Freeform 43">
              <a:extLst>
                <a:ext uri="{FF2B5EF4-FFF2-40B4-BE49-F238E27FC236}">
                  <a16:creationId xmlns:a16="http://schemas.microsoft.com/office/drawing/2014/main" id="{600DE74E-2097-4769-A481-692F587D48B6}"/>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3" name="Freeform 44">
              <a:extLst>
                <a:ext uri="{FF2B5EF4-FFF2-40B4-BE49-F238E27FC236}">
                  <a16:creationId xmlns:a16="http://schemas.microsoft.com/office/drawing/2014/main" id="{FE93CF8D-9ACC-48BE-801C-350682B9934B}"/>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4" name="Freeform 45">
              <a:extLst>
                <a:ext uri="{FF2B5EF4-FFF2-40B4-BE49-F238E27FC236}">
                  <a16:creationId xmlns:a16="http://schemas.microsoft.com/office/drawing/2014/main" id="{83501F01-A11A-4274-95D1-3B5698411A4C}"/>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5" name="Freeform 46">
              <a:extLst>
                <a:ext uri="{FF2B5EF4-FFF2-40B4-BE49-F238E27FC236}">
                  <a16:creationId xmlns:a16="http://schemas.microsoft.com/office/drawing/2014/main" id="{8EB003B3-37F1-48EA-8D18-DD1EB276A19A}"/>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96" name="Group 122">
            <a:extLst>
              <a:ext uri="{FF2B5EF4-FFF2-40B4-BE49-F238E27FC236}">
                <a16:creationId xmlns:a16="http://schemas.microsoft.com/office/drawing/2014/main" id="{8A6B86C3-37E4-40FF-8149-A145F887CD04}"/>
              </a:ext>
            </a:extLst>
          </p:cNvPr>
          <p:cNvGrpSpPr>
            <a:grpSpLocks noChangeAspect="1"/>
          </p:cNvGrpSpPr>
          <p:nvPr/>
        </p:nvGrpSpPr>
        <p:grpSpPr bwMode="auto">
          <a:xfrm>
            <a:off x="9677138" y="4315989"/>
            <a:ext cx="496566" cy="484180"/>
            <a:chOff x="487" y="3214"/>
            <a:chExt cx="441" cy="430"/>
          </a:xfrm>
          <a:solidFill>
            <a:schemeClr val="accent1"/>
          </a:solidFill>
        </p:grpSpPr>
        <p:sp>
          <p:nvSpPr>
            <p:cNvPr id="197" name="Freeform 123">
              <a:extLst>
                <a:ext uri="{FF2B5EF4-FFF2-40B4-BE49-F238E27FC236}">
                  <a16:creationId xmlns:a16="http://schemas.microsoft.com/office/drawing/2014/main" id="{2EB73228-5C67-456C-8839-CD4C79742979}"/>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8" name="Freeform 124">
              <a:extLst>
                <a:ext uri="{FF2B5EF4-FFF2-40B4-BE49-F238E27FC236}">
                  <a16:creationId xmlns:a16="http://schemas.microsoft.com/office/drawing/2014/main" id="{7EB31865-1DA7-4E73-A9D6-5AEBFBBCBCE2}"/>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99" name="Freeform 125">
              <a:extLst>
                <a:ext uri="{FF2B5EF4-FFF2-40B4-BE49-F238E27FC236}">
                  <a16:creationId xmlns:a16="http://schemas.microsoft.com/office/drawing/2014/main" id="{B94A6B8E-7DD3-42E9-A3E6-6A182BF8091E}"/>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0" name="Freeform 126">
              <a:extLst>
                <a:ext uri="{FF2B5EF4-FFF2-40B4-BE49-F238E27FC236}">
                  <a16:creationId xmlns:a16="http://schemas.microsoft.com/office/drawing/2014/main" id="{A0E2293A-770F-4E64-B34F-DF398206441C}"/>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1" name="Freeform 127">
              <a:extLst>
                <a:ext uri="{FF2B5EF4-FFF2-40B4-BE49-F238E27FC236}">
                  <a16:creationId xmlns:a16="http://schemas.microsoft.com/office/drawing/2014/main" id="{B06BE88C-27B4-476B-844E-DA21CFBDB38A}"/>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2" name="Freeform 128">
              <a:extLst>
                <a:ext uri="{FF2B5EF4-FFF2-40B4-BE49-F238E27FC236}">
                  <a16:creationId xmlns:a16="http://schemas.microsoft.com/office/drawing/2014/main" id="{5F9A5221-8763-4A40-8781-F5627F9FCFB9}"/>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3" name="Freeform 129">
              <a:extLst>
                <a:ext uri="{FF2B5EF4-FFF2-40B4-BE49-F238E27FC236}">
                  <a16:creationId xmlns:a16="http://schemas.microsoft.com/office/drawing/2014/main" id="{DB704C73-B463-4495-999A-90283DD821BC}"/>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4" name="Freeform 130">
              <a:extLst>
                <a:ext uri="{FF2B5EF4-FFF2-40B4-BE49-F238E27FC236}">
                  <a16:creationId xmlns:a16="http://schemas.microsoft.com/office/drawing/2014/main" id="{0717D5BC-EC30-41C7-82D1-C60383148E4A}"/>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5" name="Freeform 131">
              <a:extLst>
                <a:ext uri="{FF2B5EF4-FFF2-40B4-BE49-F238E27FC236}">
                  <a16:creationId xmlns:a16="http://schemas.microsoft.com/office/drawing/2014/main" id="{F3814C3B-4CBC-42F1-82FD-9B2562E2CE79}"/>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06" name="Freeform 132">
              <a:extLst>
                <a:ext uri="{FF2B5EF4-FFF2-40B4-BE49-F238E27FC236}">
                  <a16:creationId xmlns:a16="http://schemas.microsoft.com/office/drawing/2014/main" id="{B5F709DD-4326-42F3-B395-52EBB84C5674}"/>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07" name="Group 140">
            <a:extLst>
              <a:ext uri="{FF2B5EF4-FFF2-40B4-BE49-F238E27FC236}">
                <a16:creationId xmlns:a16="http://schemas.microsoft.com/office/drawing/2014/main" id="{8966B338-E895-4D4E-9E75-8D3D9EC007E0}"/>
              </a:ext>
            </a:extLst>
          </p:cNvPr>
          <p:cNvGrpSpPr>
            <a:grpSpLocks noChangeAspect="1"/>
          </p:cNvGrpSpPr>
          <p:nvPr/>
        </p:nvGrpSpPr>
        <p:grpSpPr bwMode="auto">
          <a:xfrm>
            <a:off x="10942164" y="1923077"/>
            <a:ext cx="513762" cy="513760"/>
            <a:chOff x="1560" y="3157"/>
            <a:chExt cx="426" cy="426"/>
          </a:xfrm>
          <a:solidFill>
            <a:schemeClr val="accent1"/>
          </a:solidFill>
        </p:grpSpPr>
        <p:sp>
          <p:nvSpPr>
            <p:cNvPr id="208" name="Freeform 141">
              <a:extLst>
                <a:ext uri="{FF2B5EF4-FFF2-40B4-BE49-F238E27FC236}">
                  <a16:creationId xmlns:a16="http://schemas.microsoft.com/office/drawing/2014/main" id="{DCCF06FF-5E1B-485B-AA1D-9CEDC3F97FA4}"/>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09" name="Freeform 142">
              <a:extLst>
                <a:ext uri="{FF2B5EF4-FFF2-40B4-BE49-F238E27FC236}">
                  <a16:creationId xmlns:a16="http://schemas.microsoft.com/office/drawing/2014/main" id="{2A3463C8-8233-4CFF-A5A3-12AB3B1F0842}"/>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0" name="Freeform 143">
              <a:extLst>
                <a:ext uri="{FF2B5EF4-FFF2-40B4-BE49-F238E27FC236}">
                  <a16:creationId xmlns:a16="http://schemas.microsoft.com/office/drawing/2014/main" id="{851B3222-A303-42B7-A4F8-6030113A23E3}"/>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1" name="Group 265">
            <a:extLst>
              <a:ext uri="{FF2B5EF4-FFF2-40B4-BE49-F238E27FC236}">
                <a16:creationId xmlns:a16="http://schemas.microsoft.com/office/drawing/2014/main" id="{6B8F6C2F-862E-48DE-A0FD-31F3C3ED7232}"/>
              </a:ext>
            </a:extLst>
          </p:cNvPr>
          <p:cNvGrpSpPr>
            <a:grpSpLocks noChangeAspect="1"/>
          </p:cNvGrpSpPr>
          <p:nvPr/>
        </p:nvGrpSpPr>
        <p:grpSpPr bwMode="auto">
          <a:xfrm>
            <a:off x="9686502" y="1940477"/>
            <a:ext cx="477838" cy="478960"/>
            <a:chOff x="4480" y="2998"/>
            <a:chExt cx="426" cy="427"/>
          </a:xfrm>
          <a:solidFill>
            <a:schemeClr val="accent1"/>
          </a:solidFill>
        </p:grpSpPr>
        <p:sp>
          <p:nvSpPr>
            <p:cNvPr id="212" name="Freeform 266">
              <a:extLst>
                <a:ext uri="{FF2B5EF4-FFF2-40B4-BE49-F238E27FC236}">
                  <a16:creationId xmlns:a16="http://schemas.microsoft.com/office/drawing/2014/main" id="{0276BE96-E0B2-48B1-A9E1-154C5C461A52}"/>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3" name="Freeform 267">
              <a:extLst>
                <a:ext uri="{FF2B5EF4-FFF2-40B4-BE49-F238E27FC236}">
                  <a16:creationId xmlns:a16="http://schemas.microsoft.com/office/drawing/2014/main" id="{E514A1C0-D43E-476A-9974-C5949488E2B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4" name="Freeform 268">
              <a:extLst>
                <a:ext uri="{FF2B5EF4-FFF2-40B4-BE49-F238E27FC236}">
                  <a16:creationId xmlns:a16="http://schemas.microsoft.com/office/drawing/2014/main" id="{10604423-FF2B-4BD3-9301-2F8BA29C47C1}"/>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5" name="Rectangle 269">
              <a:extLst>
                <a:ext uri="{FF2B5EF4-FFF2-40B4-BE49-F238E27FC236}">
                  <a16:creationId xmlns:a16="http://schemas.microsoft.com/office/drawing/2014/main" id="{B418A2CA-FBEC-4F7F-A45A-B3A016C2D210}"/>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6" name="Rectangle 270">
              <a:extLst>
                <a:ext uri="{FF2B5EF4-FFF2-40B4-BE49-F238E27FC236}">
                  <a16:creationId xmlns:a16="http://schemas.microsoft.com/office/drawing/2014/main" id="{71130C89-FB59-4F82-9581-EE9283D3E264}"/>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7" name="Rectangle 271">
              <a:extLst>
                <a:ext uri="{FF2B5EF4-FFF2-40B4-BE49-F238E27FC236}">
                  <a16:creationId xmlns:a16="http://schemas.microsoft.com/office/drawing/2014/main" id="{44661BBC-B12D-4102-AEEE-B1201C8D663B}"/>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8" name="Group 92">
            <a:extLst>
              <a:ext uri="{FF2B5EF4-FFF2-40B4-BE49-F238E27FC236}">
                <a16:creationId xmlns:a16="http://schemas.microsoft.com/office/drawing/2014/main" id="{31551495-91F7-4850-8C44-FF6CC6BB7BBD}"/>
              </a:ext>
            </a:extLst>
          </p:cNvPr>
          <p:cNvGrpSpPr>
            <a:grpSpLocks noChangeAspect="1"/>
          </p:cNvGrpSpPr>
          <p:nvPr/>
        </p:nvGrpSpPr>
        <p:grpSpPr bwMode="auto">
          <a:xfrm>
            <a:off x="4560155" y="5528336"/>
            <a:ext cx="578644" cy="412766"/>
            <a:chOff x="341" y="1769"/>
            <a:chExt cx="450" cy="321"/>
          </a:xfrm>
          <a:solidFill>
            <a:schemeClr val="accent1"/>
          </a:solidFill>
        </p:grpSpPr>
        <p:sp>
          <p:nvSpPr>
            <p:cNvPr id="219" name="Freeform 93">
              <a:extLst>
                <a:ext uri="{FF2B5EF4-FFF2-40B4-BE49-F238E27FC236}">
                  <a16:creationId xmlns:a16="http://schemas.microsoft.com/office/drawing/2014/main" id="{D6B7892C-0091-470E-9716-17FD9AD77165}"/>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0" name="Freeform 94">
              <a:extLst>
                <a:ext uri="{FF2B5EF4-FFF2-40B4-BE49-F238E27FC236}">
                  <a16:creationId xmlns:a16="http://schemas.microsoft.com/office/drawing/2014/main" id="{CFC1290C-B6B5-4AD5-8B17-68795A6F8B54}"/>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1" name="Freeform 95">
              <a:extLst>
                <a:ext uri="{FF2B5EF4-FFF2-40B4-BE49-F238E27FC236}">
                  <a16:creationId xmlns:a16="http://schemas.microsoft.com/office/drawing/2014/main" id="{E79FFB76-7783-47FB-AA00-041C75EA4DC5}"/>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2" name="Freeform 96">
              <a:extLst>
                <a:ext uri="{FF2B5EF4-FFF2-40B4-BE49-F238E27FC236}">
                  <a16:creationId xmlns:a16="http://schemas.microsoft.com/office/drawing/2014/main" id="{56A09C92-C3CC-4564-A99F-FAF33EAD5AE2}"/>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3" name="Freeform 97">
              <a:extLst>
                <a:ext uri="{FF2B5EF4-FFF2-40B4-BE49-F238E27FC236}">
                  <a16:creationId xmlns:a16="http://schemas.microsoft.com/office/drawing/2014/main" id="{E47FD78C-CD63-4CEB-9228-FAE26BED1126}"/>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4" name="Oval 98">
              <a:extLst>
                <a:ext uri="{FF2B5EF4-FFF2-40B4-BE49-F238E27FC236}">
                  <a16:creationId xmlns:a16="http://schemas.microsoft.com/office/drawing/2014/main" id="{973FB03F-0678-4C2E-9663-D77855960607}"/>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5" name="Oval 99">
              <a:extLst>
                <a:ext uri="{FF2B5EF4-FFF2-40B4-BE49-F238E27FC236}">
                  <a16:creationId xmlns:a16="http://schemas.microsoft.com/office/drawing/2014/main" id="{F0CB4A53-1444-44E0-A00F-2647C036DB81}"/>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26" name="Oval 100">
              <a:extLst>
                <a:ext uri="{FF2B5EF4-FFF2-40B4-BE49-F238E27FC236}">
                  <a16:creationId xmlns:a16="http://schemas.microsoft.com/office/drawing/2014/main" id="{930EED71-ADBB-4BD5-88EC-F7E148BD094E}"/>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227" name="Group 4">
            <a:extLst>
              <a:ext uri="{FF2B5EF4-FFF2-40B4-BE49-F238E27FC236}">
                <a16:creationId xmlns:a16="http://schemas.microsoft.com/office/drawing/2014/main" id="{B0542C43-B2E7-4665-AAF0-5783790D5A86}"/>
              </a:ext>
            </a:extLst>
          </p:cNvPr>
          <p:cNvGrpSpPr>
            <a:grpSpLocks noChangeAspect="1"/>
          </p:cNvGrpSpPr>
          <p:nvPr/>
        </p:nvGrpSpPr>
        <p:grpSpPr bwMode="auto">
          <a:xfrm>
            <a:off x="5877270" y="5532782"/>
            <a:ext cx="484650" cy="403874"/>
            <a:chOff x="348" y="472"/>
            <a:chExt cx="426" cy="355"/>
          </a:xfrm>
          <a:solidFill>
            <a:schemeClr val="accent1"/>
          </a:solidFill>
        </p:grpSpPr>
        <p:sp>
          <p:nvSpPr>
            <p:cNvPr id="228" name="Freeform 5">
              <a:extLst>
                <a:ext uri="{FF2B5EF4-FFF2-40B4-BE49-F238E27FC236}">
                  <a16:creationId xmlns:a16="http://schemas.microsoft.com/office/drawing/2014/main" id="{3C0739C8-97F0-4DE4-BBDF-A5F433F4570D}"/>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9" name="Oval 6">
              <a:extLst>
                <a:ext uri="{FF2B5EF4-FFF2-40B4-BE49-F238E27FC236}">
                  <a16:creationId xmlns:a16="http://schemas.microsoft.com/office/drawing/2014/main" id="{EDD38FCC-96A4-42DB-AE1F-4ECB35C4DE54}"/>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0" name="Oval 7">
              <a:extLst>
                <a:ext uri="{FF2B5EF4-FFF2-40B4-BE49-F238E27FC236}">
                  <a16:creationId xmlns:a16="http://schemas.microsoft.com/office/drawing/2014/main" id="{0DAEFF61-6F79-41B8-AC13-CD7936FF1AE7}"/>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1" name="Oval 8">
              <a:extLst>
                <a:ext uri="{FF2B5EF4-FFF2-40B4-BE49-F238E27FC236}">
                  <a16:creationId xmlns:a16="http://schemas.microsoft.com/office/drawing/2014/main" id="{FC1EDE06-DED1-43CD-88C8-5A57F4A9B9E8}"/>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2" name="Freeform 9">
              <a:extLst>
                <a:ext uri="{FF2B5EF4-FFF2-40B4-BE49-F238E27FC236}">
                  <a16:creationId xmlns:a16="http://schemas.microsoft.com/office/drawing/2014/main" id="{0DEFFA77-E730-47A4-BE10-1239873BD164}"/>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3" name="Freeform 10">
              <a:extLst>
                <a:ext uri="{FF2B5EF4-FFF2-40B4-BE49-F238E27FC236}">
                  <a16:creationId xmlns:a16="http://schemas.microsoft.com/office/drawing/2014/main" id="{1B5CFC5F-35E2-4239-8872-1F72687AC490}"/>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4" name="Freeform 11">
              <a:extLst>
                <a:ext uri="{FF2B5EF4-FFF2-40B4-BE49-F238E27FC236}">
                  <a16:creationId xmlns:a16="http://schemas.microsoft.com/office/drawing/2014/main" id="{6B329435-6013-4C29-9B23-DED2B8BF933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35" name="Freeform 132">
            <a:extLst>
              <a:ext uri="{FF2B5EF4-FFF2-40B4-BE49-F238E27FC236}">
                <a16:creationId xmlns:a16="http://schemas.microsoft.com/office/drawing/2014/main" id="{568B5B95-4D56-4A1C-85F3-0C757FDD7CDC}"/>
              </a:ext>
            </a:extLst>
          </p:cNvPr>
          <p:cNvSpPr>
            <a:spLocks noEditPoints="1"/>
          </p:cNvSpPr>
          <p:nvPr/>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grpSp>
        <p:nvGrpSpPr>
          <p:cNvPr id="236" name="Group 104">
            <a:extLst>
              <a:ext uri="{FF2B5EF4-FFF2-40B4-BE49-F238E27FC236}">
                <a16:creationId xmlns:a16="http://schemas.microsoft.com/office/drawing/2014/main" id="{B7E41DD6-B293-43A8-8C0F-A90400F36F5C}"/>
              </a:ext>
            </a:extLst>
          </p:cNvPr>
          <p:cNvGrpSpPr>
            <a:grpSpLocks noChangeAspect="1"/>
          </p:cNvGrpSpPr>
          <p:nvPr/>
        </p:nvGrpSpPr>
        <p:grpSpPr bwMode="auto">
          <a:xfrm>
            <a:off x="7207268" y="5477733"/>
            <a:ext cx="341846" cy="513972"/>
            <a:chOff x="1443" y="2997"/>
            <a:chExt cx="284" cy="427"/>
          </a:xfrm>
          <a:solidFill>
            <a:schemeClr val="accent1"/>
          </a:solidFill>
        </p:grpSpPr>
        <p:sp>
          <p:nvSpPr>
            <p:cNvPr id="237" name="Freeform 105">
              <a:extLst>
                <a:ext uri="{FF2B5EF4-FFF2-40B4-BE49-F238E27FC236}">
                  <a16:creationId xmlns:a16="http://schemas.microsoft.com/office/drawing/2014/main" id="{EA326335-A7D5-4700-81C2-008DBCF5890F}"/>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38" name="Freeform 106">
              <a:extLst>
                <a:ext uri="{FF2B5EF4-FFF2-40B4-BE49-F238E27FC236}">
                  <a16:creationId xmlns:a16="http://schemas.microsoft.com/office/drawing/2014/main" id="{89EE94AD-3F2B-4855-A458-72678C49A643}"/>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39" name="Freeform 107">
              <a:extLst>
                <a:ext uri="{FF2B5EF4-FFF2-40B4-BE49-F238E27FC236}">
                  <a16:creationId xmlns:a16="http://schemas.microsoft.com/office/drawing/2014/main" id="{2113473D-18A8-4CBF-BAC3-3CD51104BFEC}"/>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40" name="Freeform 108">
              <a:extLst>
                <a:ext uri="{FF2B5EF4-FFF2-40B4-BE49-F238E27FC236}">
                  <a16:creationId xmlns:a16="http://schemas.microsoft.com/office/drawing/2014/main" id="{D357930E-5B68-4EEE-B91F-BE6FBA7EA59E}"/>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41" name="Freeform 109">
              <a:extLst>
                <a:ext uri="{FF2B5EF4-FFF2-40B4-BE49-F238E27FC236}">
                  <a16:creationId xmlns:a16="http://schemas.microsoft.com/office/drawing/2014/main" id="{78183AD7-C795-4428-9C13-1B5799ABA33B}"/>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42" name="Freeform 110">
              <a:extLst>
                <a:ext uri="{FF2B5EF4-FFF2-40B4-BE49-F238E27FC236}">
                  <a16:creationId xmlns:a16="http://schemas.microsoft.com/office/drawing/2014/main" id="{0485D232-B3BA-4EB0-AD47-E4FE5D40C11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243" name="Group 48">
            <a:extLst>
              <a:ext uri="{FF2B5EF4-FFF2-40B4-BE49-F238E27FC236}">
                <a16:creationId xmlns:a16="http://schemas.microsoft.com/office/drawing/2014/main" id="{95A10EAE-35D0-47D4-8D26-02AC5F8A6ABD}"/>
              </a:ext>
            </a:extLst>
          </p:cNvPr>
          <p:cNvGrpSpPr>
            <a:grpSpLocks noChangeAspect="1"/>
          </p:cNvGrpSpPr>
          <p:nvPr/>
        </p:nvGrpSpPr>
        <p:grpSpPr bwMode="auto">
          <a:xfrm>
            <a:off x="10941132" y="3109340"/>
            <a:ext cx="515826" cy="496764"/>
            <a:chOff x="6532" y="451"/>
            <a:chExt cx="433" cy="417"/>
          </a:xfrm>
          <a:solidFill>
            <a:schemeClr val="accent1"/>
          </a:solidFill>
        </p:grpSpPr>
        <p:sp>
          <p:nvSpPr>
            <p:cNvPr id="244" name="Freeform 49">
              <a:extLst>
                <a:ext uri="{FF2B5EF4-FFF2-40B4-BE49-F238E27FC236}">
                  <a16:creationId xmlns:a16="http://schemas.microsoft.com/office/drawing/2014/main" id="{11F8BEA3-3D03-423D-B555-73887DE6AFC3}"/>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5" name="Freeform 50">
              <a:extLst>
                <a:ext uri="{FF2B5EF4-FFF2-40B4-BE49-F238E27FC236}">
                  <a16:creationId xmlns:a16="http://schemas.microsoft.com/office/drawing/2014/main" id="{CE8CE0C2-48FF-4BB4-9B05-9290A8F38000}"/>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6" name="Freeform 51">
              <a:extLst>
                <a:ext uri="{FF2B5EF4-FFF2-40B4-BE49-F238E27FC236}">
                  <a16:creationId xmlns:a16="http://schemas.microsoft.com/office/drawing/2014/main" id="{497CBCBA-E920-488C-A069-75BD12852A08}"/>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7" name="Freeform 52">
              <a:extLst>
                <a:ext uri="{FF2B5EF4-FFF2-40B4-BE49-F238E27FC236}">
                  <a16:creationId xmlns:a16="http://schemas.microsoft.com/office/drawing/2014/main" id="{4B87FE7B-810D-4E07-A6C4-455E45511895}"/>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8" name="Freeform 53">
              <a:extLst>
                <a:ext uri="{FF2B5EF4-FFF2-40B4-BE49-F238E27FC236}">
                  <a16:creationId xmlns:a16="http://schemas.microsoft.com/office/drawing/2014/main" id="{815B8F61-E2FC-417A-AE51-426E244A0DBC}"/>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9" name="Freeform 54">
              <a:extLst>
                <a:ext uri="{FF2B5EF4-FFF2-40B4-BE49-F238E27FC236}">
                  <a16:creationId xmlns:a16="http://schemas.microsoft.com/office/drawing/2014/main" id="{A09BE62F-ACE3-492B-8862-75A08F8ABFCC}"/>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50" name="Group 81">
            <a:extLst>
              <a:ext uri="{FF2B5EF4-FFF2-40B4-BE49-F238E27FC236}">
                <a16:creationId xmlns:a16="http://schemas.microsoft.com/office/drawing/2014/main" id="{99D7BE60-4462-4A14-9853-46570FB014B2}"/>
              </a:ext>
            </a:extLst>
          </p:cNvPr>
          <p:cNvGrpSpPr>
            <a:grpSpLocks noChangeAspect="1"/>
          </p:cNvGrpSpPr>
          <p:nvPr/>
        </p:nvGrpSpPr>
        <p:grpSpPr bwMode="auto">
          <a:xfrm>
            <a:off x="798612" y="5509828"/>
            <a:ext cx="450851" cy="449782"/>
            <a:chOff x="1370" y="1720"/>
            <a:chExt cx="426" cy="425"/>
          </a:xfrm>
          <a:solidFill>
            <a:schemeClr val="accent1"/>
          </a:solidFill>
        </p:grpSpPr>
        <p:sp>
          <p:nvSpPr>
            <p:cNvPr id="251" name="Freeform 82">
              <a:extLst>
                <a:ext uri="{FF2B5EF4-FFF2-40B4-BE49-F238E27FC236}">
                  <a16:creationId xmlns:a16="http://schemas.microsoft.com/office/drawing/2014/main" id="{4D33D017-4357-4E2E-89B8-6C65E741D141}"/>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2" name="Freeform 83">
              <a:extLst>
                <a:ext uri="{FF2B5EF4-FFF2-40B4-BE49-F238E27FC236}">
                  <a16:creationId xmlns:a16="http://schemas.microsoft.com/office/drawing/2014/main" id="{63E87233-B187-4982-9769-667225F76291}"/>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3" name="Freeform 84">
              <a:extLst>
                <a:ext uri="{FF2B5EF4-FFF2-40B4-BE49-F238E27FC236}">
                  <a16:creationId xmlns:a16="http://schemas.microsoft.com/office/drawing/2014/main" id="{42994CEE-BD2C-4808-B50E-2107C7AD7805}"/>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4" name="Freeform 85">
              <a:extLst>
                <a:ext uri="{FF2B5EF4-FFF2-40B4-BE49-F238E27FC236}">
                  <a16:creationId xmlns:a16="http://schemas.microsoft.com/office/drawing/2014/main" id="{89BE2330-1F09-4F39-A6F2-44033D9013A3}"/>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5" name="Freeform 86">
              <a:extLst>
                <a:ext uri="{FF2B5EF4-FFF2-40B4-BE49-F238E27FC236}">
                  <a16:creationId xmlns:a16="http://schemas.microsoft.com/office/drawing/2014/main" id="{3E4348D2-CAE2-4E8D-AA5B-F5113AC4B5DF}"/>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6" name="Freeform 87">
              <a:extLst>
                <a:ext uri="{FF2B5EF4-FFF2-40B4-BE49-F238E27FC236}">
                  <a16:creationId xmlns:a16="http://schemas.microsoft.com/office/drawing/2014/main" id="{9FA809E2-BF6F-4C03-AFD7-0001F0D4E9DA}"/>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7" name="Freeform 88">
              <a:extLst>
                <a:ext uri="{FF2B5EF4-FFF2-40B4-BE49-F238E27FC236}">
                  <a16:creationId xmlns:a16="http://schemas.microsoft.com/office/drawing/2014/main" id="{8B17CE3F-B7B5-4D3C-BC62-045DEE9FF0F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8" name="Freeform 89">
              <a:extLst>
                <a:ext uri="{FF2B5EF4-FFF2-40B4-BE49-F238E27FC236}">
                  <a16:creationId xmlns:a16="http://schemas.microsoft.com/office/drawing/2014/main" id="{02AD93C5-8354-4DCB-890B-0A42AD87C858}"/>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9" name="Freeform 90">
              <a:extLst>
                <a:ext uri="{FF2B5EF4-FFF2-40B4-BE49-F238E27FC236}">
                  <a16:creationId xmlns:a16="http://schemas.microsoft.com/office/drawing/2014/main" id="{252416E0-ED15-443B-9798-69583A02D391}"/>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60" name="Freeform 91">
              <a:extLst>
                <a:ext uri="{FF2B5EF4-FFF2-40B4-BE49-F238E27FC236}">
                  <a16:creationId xmlns:a16="http://schemas.microsoft.com/office/drawing/2014/main" id="{8C834DC3-C8DC-40EF-8F68-737874F59B29}"/>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61" name="Freeform 92">
              <a:extLst>
                <a:ext uri="{FF2B5EF4-FFF2-40B4-BE49-F238E27FC236}">
                  <a16:creationId xmlns:a16="http://schemas.microsoft.com/office/drawing/2014/main" id="{E2BB42F0-ED5B-460A-9A7B-B625772D273E}"/>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262" name="Freeform 144">
            <a:extLst>
              <a:ext uri="{FF2B5EF4-FFF2-40B4-BE49-F238E27FC236}">
                <a16:creationId xmlns:a16="http://schemas.microsoft.com/office/drawing/2014/main" id="{CD230F64-7DB1-4B7E-9E24-E1E573B6960C}"/>
              </a:ext>
            </a:extLst>
          </p:cNvPr>
          <p:cNvSpPr>
            <a:spLocks/>
          </p:cNvSpPr>
          <p:nvPr/>
        </p:nvSpPr>
        <p:spPr bwMode="auto">
          <a:xfrm rot="10800000">
            <a:off x="2171887"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290" name="Group 289">
            <a:extLst>
              <a:ext uri="{FF2B5EF4-FFF2-40B4-BE49-F238E27FC236}">
                <a16:creationId xmlns:a16="http://schemas.microsoft.com/office/drawing/2014/main" id="{EB7E5166-6D61-41BF-BEA2-D3D4B4FB3848}"/>
              </a:ext>
            </a:extLst>
          </p:cNvPr>
          <p:cNvGrpSpPr/>
          <p:nvPr/>
        </p:nvGrpSpPr>
        <p:grpSpPr>
          <a:xfrm>
            <a:off x="7132640" y="1933803"/>
            <a:ext cx="491102" cy="492306"/>
            <a:chOff x="7132640" y="1933803"/>
            <a:chExt cx="491102" cy="492306"/>
          </a:xfrm>
        </p:grpSpPr>
        <p:sp>
          <p:nvSpPr>
            <p:cNvPr id="264" name="Freeform 10">
              <a:extLst>
                <a:ext uri="{FF2B5EF4-FFF2-40B4-BE49-F238E27FC236}">
                  <a16:creationId xmlns:a16="http://schemas.microsoft.com/office/drawing/2014/main" id="{745F8B78-5279-4EA6-B52B-307547A02E92}"/>
                </a:ext>
              </a:extLst>
            </p:cNvPr>
            <p:cNvSpPr>
              <a:spLocks noEditPoints="1"/>
            </p:cNvSpPr>
            <p:nvPr/>
          </p:nvSpPr>
          <p:spPr bwMode="auto">
            <a:xfrm>
              <a:off x="7173565" y="1974729"/>
              <a:ext cx="409252" cy="410456"/>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5" name="Freeform 11">
              <a:extLst>
                <a:ext uri="{FF2B5EF4-FFF2-40B4-BE49-F238E27FC236}">
                  <a16:creationId xmlns:a16="http://schemas.microsoft.com/office/drawing/2014/main" id="{D6292400-9349-456C-A6EC-4E4B36565C2C}"/>
                </a:ext>
              </a:extLst>
            </p:cNvPr>
            <p:cNvSpPr>
              <a:spLocks noEditPoints="1"/>
            </p:cNvSpPr>
            <p:nvPr/>
          </p:nvSpPr>
          <p:spPr bwMode="auto">
            <a:xfrm>
              <a:off x="7277082" y="2077042"/>
              <a:ext cx="204626" cy="204626"/>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9" name="Freeform: Shape 288">
              <a:extLst>
                <a:ext uri="{FF2B5EF4-FFF2-40B4-BE49-F238E27FC236}">
                  <a16:creationId xmlns:a16="http://schemas.microsoft.com/office/drawing/2014/main" id="{952ED070-EF81-4843-B3B3-855EF9818AC0}"/>
                </a:ext>
              </a:extLst>
            </p:cNvPr>
            <p:cNvSpPr>
              <a:spLocks/>
            </p:cNvSpPr>
            <p:nvPr/>
          </p:nvSpPr>
          <p:spPr bwMode="auto">
            <a:xfrm>
              <a:off x="7132640" y="1933803"/>
              <a:ext cx="491102" cy="492306"/>
            </a:xfrm>
            <a:custGeom>
              <a:avLst/>
              <a:gdLst>
                <a:gd name="connsiteX0" fmla="*/ 245551 w 491102"/>
                <a:gd name="connsiteY0" fmla="*/ 0 h 492306"/>
                <a:gd name="connsiteX1" fmla="*/ 256384 w 491102"/>
                <a:gd name="connsiteY1" fmla="*/ 10702 h 492306"/>
                <a:gd name="connsiteX2" fmla="*/ 256384 w 491102"/>
                <a:gd name="connsiteY2" fmla="*/ 229023 h 492306"/>
                <a:gd name="connsiteX3" fmla="*/ 256384 w 491102"/>
                <a:gd name="connsiteY3" fmla="*/ 235922 h 492306"/>
                <a:gd name="connsiteX4" fmla="*/ 282250 w 491102"/>
                <a:gd name="connsiteY4" fmla="*/ 235922 h 492306"/>
                <a:gd name="connsiteX5" fmla="*/ 480426 w 491102"/>
                <a:gd name="connsiteY5" fmla="*/ 235922 h 492306"/>
                <a:gd name="connsiteX6" fmla="*/ 491102 w 491102"/>
                <a:gd name="connsiteY6" fmla="*/ 246154 h 492306"/>
                <a:gd name="connsiteX7" fmla="*/ 480426 w 491102"/>
                <a:gd name="connsiteY7" fmla="*/ 256385 h 492306"/>
                <a:gd name="connsiteX8" fmla="*/ 262639 w 491102"/>
                <a:gd name="connsiteY8" fmla="*/ 256385 h 492306"/>
                <a:gd name="connsiteX9" fmla="*/ 256384 w 491102"/>
                <a:gd name="connsiteY9" fmla="*/ 256385 h 492306"/>
                <a:gd name="connsiteX10" fmla="*/ 256384 w 491102"/>
                <a:gd name="connsiteY10" fmla="*/ 282942 h 492306"/>
                <a:gd name="connsiteX11" fmla="*/ 256384 w 491102"/>
                <a:gd name="connsiteY11" fmla="*/ 481604 h 492306"/>
                <a:gd name="connsiteX12" fmla="*/ 245551 w 491102"/>
                <a:gd name="connsiteY12" fmla="*/ 492306 h 492306"/>
                <a:gd name="connsiteX13" fmla="*/ 234718 w 491102"/>
                <a:gd name="connsiteY13" fmla="*/ 481604 h 492306"/>
                <a:gd name="connsiteX14" fmla="*/ 234718 w 491102"/>
                <a:gd name="connsiteY14" fmla="*/ 263283 h 492306"/>
                <a:gd name="connsiteX15" fmla="*/ 234718 w 491102"/>
                <a:gd name="connsiteY15" fmla="*/ 256385 h 492306"/>
                <a:gd name="connsiteX16" fmla="*/ 208852 w 491102"/>
                <a:gd name="connsiteY16" fmla="*/ 256385 h 492306"/>
                <a:gd name="connsiteX17" fmla="*/ 10676 w 491102"/>
                <a:gd name="connsiteY17" fmla="*/ 256385 h 492306"/>
                <a:gd name="connsiteX18" fmla="*/ 0 w 491102"/>
                <a:gd name="connsiteY18" fmla="*/ 246154 h 492306"/>
                <a:gd name="connsiteX19" fmla="*/ 10676 w 491102"/>
                <a:gd name="connsiteY19" fmla="*/ 235922 h 492306"/>
                <a:gd name="connsiteX20" fmla="*/ 228463 w 491102"/>
                <a:gd name="connsiteY20" fmla="*/ 235922 h 492306"/>
                <a:gd name="connsiteX21" fmla="*/ 234718 w 491102"/>
                <a:gd name="connsiteY21" fmla="*/ 235922 h 492306"/>
                <a:gd name="connsiteX22" fmla="*/ 234718 w 491102"/>
                <a:gd name="connsiteY22" fmla="*/ 209364 h 492306"/>
                <a:gd name="connsiteX23" fmla="*/ 234718 w 491102"/>
                <a:gd name="connsiteY23" fmla="*/ 10702 h 492306"/>
                <a:gd name="connsiteX24" fmla="*/ 245551 w 491102"/>
                <a:gd name="connsiteY24" fmla="*/ 0 h 49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102" h="492306">
                  <a:moveTo>
                    <a:pt x="245551" y="0"/>
                  </a:moveTo>
                  <a:cubicBezTo>
                    <a:pt x="252773" y="0"/>
                    <a:pt x="256384" y="5351"/>
                    <a:pt x="256384" y="10702"/>
                  </a:cubicBezTo>
                  <a:cubicBezTo>
                    <a:pt x="256384" y="98996"/>
                    <a:pt x="256384" y="170735"/>
                    <a:pt x="256384" y="229023"/>
                  </a:cubicBezTo>
                  <a:lnTo>
                    <a:pt x="256384" y="235922"/>
                  </a:lnTo>
                  <a:lnTo>
                    <a:pt x="282250" y="235922"/>
                  </a:lnTo>
                  <a:cubicBezTo>
                    <a:pt x="480426" y="235922"/>
                    <a:pt x="480426" y="235922"/>
                    <a:pt x="480426" y="235922"/>
                  </a:cubicBezTo>
                  <a:cubicBezTo>
                    <a:pt x="487544" y="235922"/>
                    <a:pt x="491102" y="241038"/>
                    <a:pt x="491102" y="246154"/>
                  </a:cubicBezTo>
                  <a:cubicBezTo>
                    <a:pt x="491102" y="251269"/>
                    <a:pt x="487544" y="256385"/>
                    <a:pt x="480426" y="256385"/>
                  </a:cubicBezTo>
                  <a:cubicBezTo>
                    <a:pt x="392348" y="256385"/>
                    <a:pt x="320785" y="256385"/>
                    <a:pt x="262639" y="256385"/>
                  </a:cubicBezTo>
                  <a:lnTo>
                    <a:pt x="256384" y="256385"/>
                  </a:lnTo>
                  <a:lnTo>
                    <a:pt x="256384" y="282942"/>
                  </a:lnTo>
                  <a:cubicBezTo>
                    <a:pt x="256384" y="481604"/>
                    <a:pt x="256384" y="481604"/>
                    <a:pt x="256384" y="481604"/>
                  </a:cubicBezTo>
                  <a:cubicBezTo>
                    <a:pt x="256384" y="486955"/>
                    <a:pt x="252773" y="492306"/>
                    <a:pt x="245551" y="492306"/>
                  </a:cubicBezTo>
                  <a:cubicBezTo>
                    <a:pt x="240135" y="492306"/>
                    <a:pt x="234718" y="486955"/>
                    <a:pt x="234718" y="481604"/>
                  </a:cubicBezTo>
                  <a:cubicBezTo>
                    <a:pt x="234718" y="393310"/>
                    <a:pt x="234718" y="321571"/>
                    <a:pt x="234718" y="263283"/>
                  </a:cubicBezTo>
                  <a:lnTo>
                    <a:pt x="234718" y="256385"/>
                  </a:lnTo>
                  <a:lnTo>
                    <a:pt x="208852" y="256385"/>
                  </a:lnTo>
                  <a:cubicBezTo>
                    <a:pt x="10676" y="256385"/>
                    <a:pt x="10676" y="256385"/>
                    <a:pt x="10676" y="256385"/>
                  </a:cubicBezTo>
                  <a:cubicBezTo>
                    <a:pt x="5338" y="256385"/>
                    <a:pt x="0" y="251269"/>
                    <a:pt x="0" y="246154"/>
                  </a:cubicBezTo>
                  <a:cubicBezTo>
                    <a:pt x="0" y="241038"/>
                    <a:pt x="5338" y="235922"/>
                    <a:pt x="10676" y="235922"/>
                  </a:cubicBezTo>
                  <a:cubicBezTo>
                    <a:pt x="98754" y="235922"/>
                    <a:pt x="170318" y="235922"/>
                    <a:pt x="228463" y="235922"/>
                  </a:cubicBezTo>
                  <a:lnTo>
                    <a:pt x="234718" y="235922"/>
                  </a:lnTo>
                  <a:lnTo>
                    <a:pt x="234718" y="209364"/>
                  </a:lnTo>
                  <a:cubicBezTo>
                    <a:pt x="234718" y="10702"/>
                    <a:pt x="234718" y="10702"/>
                    <a:pt x="234718" y="10702"/>
                  </a:cubicBezTo>
                  <a:cubicBezTo>
                    <a:pt x="234718" y="5351"/>
                    <a:pt x="240135" y="0"/>
                    <a:pt x="24555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AU"/>
            </a:p>
          </p:txBody>
        </p:sp>
      </p:grpSp>
      <p:grpSp>
        <p:nvGrpSpPr>
          <p:cNvPr id="292" name="Group 291">
            <a:extLst>
              <a:ext uri="{FF2B5EF4-FFF2-40B4-BE49-F238E27FC236}">
                <a16:creationId xmlns:a16="http://schemas.microsoft.com/office/drawing/2014/main" id="{F48BA31E-7AA3-4584-85BA-97C4F4781E41}"/>
              </a:ext>
            </a:extLst>
          </p:cNvPr>
          <p:cNvGrpSpPr/>
          <p:nvPr/>
        </p:nvGrpSpPr>
        <p:grpSpPr>
          <a:xfrm>
            <a:off x="3334652" y="5494451"/>
            <a:ext cx="481666" cy="480536"/>
            <a:chOff x="3334652" y="5494451"/>
            <a:chExt cx="481666" cy="480536"/>
          </a:xfrm>
        </p:grpSpPr>
        <p:sp>
          <p:nvSpPr>
            <p:cNvPr id="269" name="Freeform 61">
              <a:extLst>
                <a:ext uri="{FF2B5EF4-FFF2-40B4-BE49-F238E27FC236}">
                  <a16:creationId xmlns:a16="http://schemas.microsoft.com/office/drawing/2014/main" id="{2E45376B-40F0-4624-A82D-E3B3845505D5}"/>
                </a:ext>
              </a:extLst>
            </p:cNvPr>
            <p:cNvSpPr>
              <a:spLocks noEditPoints="1"/>
            </p:cNvSpPr>
            <p:nvPr/>
          </p:nvSpPr>
          <p:spPr bwMode="auto">
            <a:xfrm>
              <a:off x="3334652" y="5494451"/>
              <a:ext cx="421740" cy="420610"/>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70" name="Freeform 62">
              <a:extLst>
                <a:ext uri="{FF2B5EF4-FFF2-40B4-BE49-F238E27FC236}">
                  <a16:creationId xmlns:a16="http://schemas.microsoft.com/office/drawing/2014/main" id="{01FB9C38-00E5-4D07-B2C7-22EA7EEFC22C}"/>
                </a:ext>
              </a:extLst>
            </p:cNvPr>
            <p:cNvSpPr>
              <a:spLocks/>
            </p:cNvSpPr>
            <p:nvPr/>
          </p:nvSpPr>
          <p:spPr bwMode="auto">
            <a:xfrm>
              <a:off x="3676115" y="5834784"/>
              <a:ext cx="140203" cy="140203"/>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71" name="Freeform 63">
              <a:extLst>
                <a:ext uri="{FF2B5EF4-FFF2-40B4-BE49-F238E27FC236}">
                  <a16:creationId xmlns:a16="http://schemas.microsoft.com/office/drawing/2014/main" id="{958124DC-23A3-4878-BBF5-D40602F9CB12}"/>
                </a:ext>
              </a:extLst>
            </p:cNvPr>
            <p:cNvSpPr>
              <a:spLocks noEditPoints="1"/>
            </p:cNvSpPr>
            <p:nvPr/>
          </p:nvSpPr>
          <p:spPr bwMode="auto">
            <a:xfrm>
              <a:off x="3407015" y="5564553"/>
              <a:ext cx="275884" cy="280407"/>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72" name="Freeform 64">
              <a:extLst>
                <a:ext uri="{FF2B5EF4-FFF2-40B4-BE49-F238E27FC236}">
                  <a16:creationId xmlns:a16="http://schemas.microsoft.com/office/drawing/2014/main" id="{C454EA82-34EB-4064-A1AB-4FF32255CF93}"/>
                </a:ext>
              </a:extLst>
            </p:cNvPr>
            <p:cNvSpPr>
              <a:spLocks noEditPoints="1"/>
            </p:cNvSpPr>
            <p:nvPr/>
          </p:nvSpPr>
          <p:spPr bwMode="auto">
            <a:xfrm>
              <a:off x="3495207" y="5655007"/>
              <a:ext cx="100630" cy="9949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273" name="Group 83">
            <a:extLst>
              <a:ext uri="{FF2B5EF4-FFF2-40B4-BE49-F238E27FC236}">
                <a16:creationId xmlns:a16="http://schemas.microsoft.com/office/drawing/2014/main" id="{1F63AE7A-2F8F-4B01-B846-8821310A5E1F}"/>
              </a:ext>
            </a:extLst>
          </p:cNvPr>
          <p:cNvGrpSpPr>
            <a:grpSpLocks noChangeAspect="1"/>
          </p:cNvGrpSpPr>
          <p:nvPr/>
        </p:nvGrpSpPr>
        <p:grpSpPr bwMode="auto">
          <a:xfrm>
            <a:off x="10959261" y="4300132"/>
            <a:ext cx="479568" cy="490720"/>
            <a:chOff x="1580" y="1910"/>
            <a:chExt cx="387" cy="396"/>
          </a:xfrm>
          <a:solidFill>
            <a:schemeClr val="accent4"/>
          </a:solidFill>
        </p:grpSpPr>
        <p:sp>
          <p:nvSpPr>
            <p:cNvPr id="274" name="Freeform 84">
              <a:extLst>
                <a:ext uri="{FF2B5EF4-FFF2-40B4-BE49-F238E27FC236}">
                  <a16:creationId xmlns:a16="http://schemas.microsoft.com/office/drawing/2014/main" id="{886A17B4-0B78-4205-93CC-4CB9CAB3E175}"/>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5" name="Freeform 85">
              <a:extLst>
                <a:ext uri="{FF2B5EF4-FFF2-40B4-BE49-F238E27FC236}">
                  <a16:creationId xmlns:a16="http://schemas.microsoft.com/office/drawing/2014/main" id="{BE8DFB92-F456-4FA3-9791-271FCD53587A}"/>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6" name="Freeform 86">
              <a:extLst>
                <a:ext uri="{FF2B5EF4-FFF2-40B4-BE49-F238E27FC236}">
                  <a16:creationId xmlns:a16="http://schemas.microsoft.com/office/drawing/2014/main" id="{EE5B7183-FD60-4EAF-8EA6-A936999F73E5}"/>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7" name="Freeform 87">
              <a:extLst>
                <a:ext uri="{FF2B5EF4-FFF2-40B4-BE49-F238E27FC236}">
                  <a16:creationId xmlns:a16="http://schemas.microsoft.com/office/drawing/2014/main" id="{40294650-F986-4496-98D1-6406305F61F3}"/>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8" name="Freeform 88">
              <a:extLst>
                <a:ext uri="{FF2B5EF4-FFF2-40B4-BE49-F238E27FC236}">
                  <a16:creationId xmlns:a16="http://schemas.microsoft.com/office/drawing/2014/main" id="{D9B85E1C-FF9C-45AD-BB68-284D1DC4317E}"/>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79" name="Freeform 89">
              <a:extLst>
                <a:ext uri="{FF2B5EF4-FFF2-40B4-BE49-F238E27FC236}">
                  <a16:creationId xmlns:a16="http://schemas.microsoft.com/office/drawing/2014/main" id="{7BB8106D-B6DC-49AC-8D79-9DA3FAA9E26F}"/>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80" name="Freeform 90">
              <a:extLst>
                <a:ext uri="{FF2B5EF4-FFF2-40B4-BE49-F238E27FC236}">
                  <a16:creationId xmlns:a16="http://schemas.microsoft.com/office/drawing/2014/main" id="{74BD9321-5DC0-4382-84C2-2E9D49BAD9F9}"/>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81" name="Freeform 91">
              <a:extLst>
                <a:ext uri="{FF2B5EF4-FFF2-40B4-BE49-F238E27FC236}">
                  <a16:creationId xmlns:a16="http://schemas.microsoft.com/office/drawing/2014/main" id="{E1311FA2-5638-46DC-BA8D-D5A455BF4FC0}"/>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pSp>
        <p:nvGrpSpPr>
          <p:cNvPr id="291" name="Group 290">
            <a:extLst>
              <a:ext uri="{FF2B5EF4-FFF2-40B4-BE49-F238E27FC236}">
                <a16:creationId xmlns:a16="http://schemas.microsoft.com/office/drawing/2014/main" id="{C517B6D1-E763-4A10-9D10-8D4588ED5C23}"/>
              </a:ext>
            </a:extLst>
          </p:cNvPr>
          <p:cNvGrpSpPr/>
          <p:nvPr/>
        </p:nvGrpSpPr>
        <p:grpSpPr>
          <a:xfrm>
            <a:off x="8400111" y="1923077"/>
            <a:ext cx="513762" cy="513760"/>
            <a:chOff x="8400111" y="1923077"/>
            <a:chExt cx="513762" cy="513760"/>
          </a:xfrm>
        </p:grpSpPr>
        <p:sp>
          <p:nvSpPr>
            <p:cNvPr id="283" name="Freeform 57">
              <a:extLst>
                <a:ext uri="{FF2B5EF4-FFF2-40B4-BE49-F238E27FC236}">
                  <a16:creationId xmlns:a16="http://schemas.microsoft.com/office/drawing/2014/main" id="{831A0BA2-A43B-4D83-9E89-EAA767271162}"/>
                </a:ext>
              </a:extLst>
            </p:cNvPr>
            <p:cNvSpPr>
              <a:spLocks/>
            </p:cNvSpPr>
            <p:nvPr/>
          </p:nvSpPr>
          <p:spPr bwMode="auto">
            <a:xfrm>
              <a:off x="8400111" y="1923077"/>
              <a:ext cx="513762" cy="513760"/>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sp>
          <p:nvSpPr>
            <p:cNvPr id="284" name="Freeform 58">
              <a:extLst>
                <a:ext uri="{FF2B5EF4-FFF2-40B4-BE49-F238E27FC236}">
                  <a16:creationId xmlns:a16="http://schemas.microsoft.com/office/drawing/2014/main" id="{EA814851-82A9-42A9-A7F3-66036C8A6850}"/>
                </a:ext>
              </a:extLst>
            </p:cNvPr>
            <p:cNvSpPr>
              <a:spLocks noEditPoints="1"/>
            </p:cNvSpPr>
            <p:nvPr/>
          </p:nvSpPr>
          <p:spPr bwMode="auto">
            <a:xfrm>
              <a:off x="8720911" y="2179957"/>
              <a:ext cx="192962" cy="256880"/>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sp>
          <p:nvSpPr>
            <p:cNvPr id="285" name="Freeform 59">
              <a:extLst>
                <a:ext uri="{FF2B5EF4-FFF2-40B4-BE49-F238E27FC236}">
                  <a16:creationId xmlns:a16="http://schemas.microsoft.com/office/drawing/2014/main" id="{5D81E6B3-761C-4234-98AE-8BE3B3DEACB2}"/>
                </a:ext>
              </a:extLst>
            </p:cNvPr>
            <p:cNvSpPr>
              <a:spLocks noEditPoints="1"/>
            </p:cNvSpPr>
            <p:nvPr/>
          </p:nvSpPr>
          <p:spPr bwMode="auto">
            <a:xfrm>
              <a:off x="8775181" y="2233021"/>
              <a:ext cx="85627" cy="85627"/>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sp>
          <p:nvSpPr>
            <p:cNvPr id="286" name="Freeform 60">
              <a:extLst>
                <a:ext uri="{FF2B5EF4-FFF2-40B4-BE49-F238E27FC236}">
                  <a16:creationId xmlns:a16="http://schemas.microsoft.com/office/drawing/2014/main" id="{7A14C5F0-0E52-4936-B70A-D015A4CC6198}"/>
                </a:ext>
              </a:extLst>
            </p:cNvPr>
            <p:cNvSpPr>
              <a:spLocks/>
            </p:cNvSpPr>
            <p:nvPr/>
          </p:nvSpPr>
          <p:spPr bwMode="auto">
            <a:xfrm>
              <a:off x="8485738" y="1931519"/>
              <a:ext cx="256881" cy="377481"/>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sp>
          <p:nvSpPr>
            <p:cNvPr id="287" name="Freeform 61">
              <a:extLst>
                <a:ext uri="{FF2B5EF4-FFF2-40B4-BE49-F238E27FC236}">
                  <a16:creationId xmlns:a16="http://schemas.microsoft.com/office/drawing/2014/main" id="{19CC4DD2-5F7C-44B4-97EF-1B0550D8CDE8}"/>
                </a:ext>
              </a:extLst>
            </p:cNvPr>
            <p:cNvSpPr>
              <a:spLocks/>
            </p:cNvSpPr>
            <p:nvPr/>
          </p:nvSpPr>
          <p:spPr bwMode="auto">
            <a:xfrm>
              <a:off x="8716087" y="2001468"/>
              <a:ext cx="135074" cy="130249"/>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dirty="0"/>
            </a:p>
          </p:txBody>
        </p:sp>
      </p:grpSp>
    </p:spTree>
    <p:extLst>
      <p:ext uri="{BB962C8B-B14F-4D97-AF65-F5344CB8AC3E}">
        <p14:creationId xmlns:p14="http://schemas.microsoft.com/office/powerpoint/2010/main" val="103584626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0" name="Object 3">
            <a:extLst>
              <a:ext uri="{FF2B5EF4-FFF2-40B4-BE49-F238E27FC236}">
                <a16:creationId xmlns:a16="http://schemas.microsoft.com/office/drawing/2014/main" id="{C459D608-2C65-4EFB-B4F4-F62092AF3652}"/>
              </a:ext>
            </a:extLst>
          </p:cNvPr>
          <p:cNvGraphicFramePr>
            <a:graphicFrameLocks/>
          </p:cNvGraphicFramePr>
          <p:nvPr>
            <p:custDataLst>
              <p:tags r:id="rId1"/>
            </p:custDataLst>
            <p:extLst>
              <p:ext uri="{D42A27DB-BD31-4B8C-83A1-F6EECF244321}">
                <p14:modId xmlns:p14="http://schemas.microsoft.com/office/powerpoint/2010/main" val="1674615168"/>
              </p:ext>
            </p:extLst>
          </p:nvPr>
        </p:nvGraphicFramePr>
        <p:xfrm>
          <a:off x="380997" y="1009649"/>
          <a:ext cx="11510962" cy="4838701"/>
        </p:xfrm>
        <a:graphic>
          <a:graphicData uri="http://schemas.openxmlformats.org/drawingml/2006/chart">
            <c:chart xmlns:c="http://schemas.openxmlformats.org/drawingml/2006/chart" xmlns:r="http://schemas.openxmlformats.org/officeDocument/2006/relationships" r:id="rId5"/>
          </a:graphicData>
        </a:graphic>
      </p:graphicFrame>
      <p:cxnSp>
        <p:nvCxnSpPr>
          <p:cNvPr id="21" name="Straight Connector 20">
            <a:extLst>
              <a:ext uri="{FF2B5EF4-FFF2-40B4-BE49-F238E27FC236}">
                <a16:creationId xmlns:a16="http://schemas.microsoft.com/office/drawing/2014/main" id="{09516741-3A35-4D01-980D-C988736F4494}"/>
              </a:ext>
            </a:extLst>
          </p:cNvPr>
          <p:cNvCxnSpPr/>
          <p:nvPr/>
        </p:nvCxnSpPr>
        <p:spPr>
          <a:xfrm flipH="1">
            <a:off x="2602974" y="2854661"/>
            <a:ext cx="2196000" cy="0"/>
          </a:xfrm>
          <a:prstGeom prst="line">
            <a:avLst/>
          </a:prstGeom>
          <a:noFill/>
          <a:ln w="19050" cap="flat" cmpd="sng" algn="ctr">
            <a:solidFill>
              <a:schemeClr val="accent5"/>
            </a:solidFill>
            <a:prstDash val="solid"/>
          </a:ln>
          <a:effectLst/>
        </p:spPr>
      </p:cxnSp>
      <p:cxnSp>
        <p:nvCxnSpPr>
          <p:cNvPr id="22" name="Straight Connector 21">
            <a:extLst>
              <a:ext uri="{FF2B5EF4-FFF2-40B4-BE49-F238E27FC236}">
                <a16:creationId xmlns:a16="http://schemas.microsoft.com/office/drawing/2014/main" id="{8923C08C-6895-48D3-B610-00BAFBB93EEB}"/>
              </a:ext>
            </a:extLst>
          </p:cNvPr>
          <p:cNvCxnSpPr/>
          <p:nvPr/>
        </p:nvCxnSpPr>
        <p:spPr>
          <a:xfrm flipH="1">
            <a:off x="2602974" y="4333266"/>
            <a:ext cx="2196000" cy="0"/>
          </a:xfrm>
          <a:prstGeom prst="line">
            <a:avLst/>
          </a:prstGeom>
          <a:noFill/>
          <a:ln w="19050" cap="flat" cmpd="sng" algn="ctr">
            <a:solidFill>
              <a:schemeClr val="accent5"/>
            </a:solidFill>
            <a:prstDash val="solid"/>
          </a:ln>
          <a:effectLst/>
        </p:spPr>
      </p:cxnSp>
      <p:cxnSp>
        <p:nvCxnSpPr>
          <p:cNvPr id="23" name="Straight Connector 22">
            <a:extLst>
              <a:ext uri="{FF2B5EF4-FFF2-40B4-BE49-F238E27FC236}">
                <a16:creationId xmlns:a16="http://schemas.microsoft.com/office/drawing/2014/main" id="{8D1DF234-C183-40E4-9E1B-6DB672163908}"/>
              </a:ext>
            </a:extLst>
          </p:cNvPr>
          <p:cNvCxnSpPr/>
          <p:nvPr/>
        </p:nvCxnSpPr>
        <p:spPr>
          <a:xfrm flipH="1">
            <a:off x="2602974" y="1804074"/>
            <a:ext cx="3095033" cy="0"/>
          </a:xfrm>
          <a:prstGeom prst="line">
            <a:avLst/>
          </a:prstGeom>
          <a:noFill/>
          <a:ln w="19050" cap="flat" cmpd="sng" algn="ctr">
            <a:solidFill>
              <a:schemeClr val="accent5"/>
            </a:solidFill>
            <a:prstDash val="solid"/>
          </a:ln>
          <a:effectLst/>
        </p:spPr>
      </p:cxnSp>
      <p:cxnSp>
        <p:nvCxnSpPr>
          <p:cNvPr id="24" name="Straight Connector 23">
            <a:extLst>
              <a:ext uri="{FF2B5EF4-FFF2-40B4-BE49-F238E27FC236}">
                <a16:creationId xmlns:a16="http://schemas.microsoft.com/office/drawing/2014/main" id="{23112B71-7EDC-4521-B57E-2106D34E2AEA}"/>
              </a:ext>
            </a:extLst>
          </p:cNvPr>
          <p:cNvCxnSpPr/>
          <p:nvPr/>
        </p:nvCxnSpPr>
        <p:spPr>
          <a:xfrm flipH="1">
            <a:off x="7446959" y="3525870"/>
            <a:ext cx="2196000" cy="0"/>
          </a:xfrm>
          <a:prstGeom prst="line">
            <a:avLst/>
          </a:prstGeom>
          <a:noFill/>
          <a:ln w="19050" cap="flat" cmpd="sng" algn="ctr">
            <a:solidFill>
              <a:schemeClr val="accent5"/>
            </a:solidFill>
            <a:prstDash val="solid"/>
          </a:ln>
          <a:effectLst/>
        </p:spPr>
      </p:cxnSp>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Doughnut Chart</a:t>
            </a:r>
          </a:p>
        </p:txBody>
      </p:sp>
      <p:sp>
        <p:nvSpPr>
          <p:cNvPr id="13" name="AcnSubjectTitle_ID_260107">
            <a:extLst>
              <a:ext uri="{FF2B5EF4-FFF2-40B4-BE49-F238E27FC236}">
                <a16:creationId xmlns:a16="http://schemas.microsoft.com/office/drawing/2014/main" id="{0B981368-E0D1-40F4-B1A2-F09DBB10F678}"/>
              </a:ext>
            </a:extLst>
          </p:cNvPr>
          <p:cNvSpPr txBox="1">
            <a:spLocks noChangeArrowheads="1"/>
          </p:cNvSpPr>
          <p:nvPr>
            <p:custDataLst>
              <p:tags r:id="rId2"/>
            </p:custDataLst>
          </p:nvPr>
        </p:nvSpPr>
        <p:spPr bwMode="auto">
          <a:xfrm>
            <a:off x="380999" y="882066"/>
            <a:ext cx="8217629" cy="489534"/>
          </a:xfrm>
          <a:prstGeom prst="rect">
            <a:avLst/>
          </a:prstGeom>
          <a:noFill/>
          <a:ln w="9525" algn="ctr">
            <a:noFill/>
            <a:miter lim="800000"/>
            <a:headEnd/>
            <a:tailEnd/>
          </a:ln>
          <a:effectLst/>
        </p:spPr>
        <p:txBody>
          <a:bodyPr lIns="0" tIns="180000" rIns="0" bIns="0" anchor="t">
            <a:spAutoFit/>
          </a:bodyPr>
          <a:lstStyle/>
          <a:p>
            <a:pPr marL="0" marR="0" lvl="0" indent="0" algn="l" defTabSz="914400" rtl="0" eaLnBrk="1" fontAlgn="auto" latinLnBrk="0" hangingPunct="1">
              <a:lnSpc>
                <a:spcPct val="100000"/>
              </a:lnSpc>
              <a:spcBef>
                <a:spcPct val="0"/>
              </a:spcBef>
              <a:spcAft>
                <a:spcPts val="0"/>
              </a:spcAft>
              <a:buClr>
                <a:srgbClr val="000000"/>
              </a:buClr>
              <a:buSzPct val="100000"/>
              <a:buFont typeface="Arial" charset="0"/>
              <a:buNone/>
              <a:tabLst/>
              <a:defRPr/>
            </a:pPr>
            <a:r>
              <a:rPr kumimoji="0" lang="en-US" sz="2000" b="1" i="0" u="none" strike="noStrike" kern="1200" cap="none" spc="0" normalizeH="0" baseline="0" noProof="0" dirty="0">
                <a:ln>
                  <a:noFill/>
                </a:ln>
                <a:solidFill>
                  <a:srgbClr val="000000"/>
                </a:solidFill>
                <a:effectLst/>
                <a:uLnTx/>
                <a:uFillTx/>
                <a:latin typeface="Graphik"/>
                <a:ea typeface="+mn-ea"/>
                <a:cs typeface="+mn-cs"/>
              </a:rPr>
              <a:t>Chart Title</a:t>
            </a:r>
          </a:p>
        </p:txBody>
      </p: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7" y="5401294"/>
            <a:ext cx="4449219" cy="91060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In the options menu you can choose the rotation of the chart</a:t>
            </a:r>
          </a:p>
        </p:txBody>
      </p:sp>
      <p:sp>
        <p:nvSpPr>
          <p:cNvPr id="17" name="Freeform: Shape 16">
            <a:hlinkClick r:id="rId6" action="ppaction://hlinksldjump"/>
            <a:extLst>
              <a:ext uri="{FF2B5EF4-FFF2-40B4-BE49-F238E27FC236}">
                <a16:creationId xmlns:a16="http://schemas.microsoft.com/office/drawing/2014/main" id="{5447777E-3043-435C-B270-4DA04954AC3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6" action="ppaction://hlinksldjump"/>
            <a:extLst>
              <a:ext uri="{FF2B5EF4-FFF2-40B4-BE49-F238E27FC236}">
                <a16:creationId xmlns:a16="http://schemas.microsoft.com/office/drawing/2014/main" id="{5A3C92FE-E55A-4B45-B055-F5F754012256}"/>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61495619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Double Pie Chart</a:t>
            </a:r>
          </a:p>
        </p:txBody>
      </p: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7" y="5216909"/>
            <a:ext cx="4449219"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This chart consists of two separate pie char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Insert columns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In the options menu you can choose the rotation of the chart</a:t>
            </a:r>
          </a:p>
        </p:txBody>
      </p:sp>
      <p:sp>
        <p:nvSpPr>
          <p:cNvPr id="17" name="Freeform: Shape 16">
            <a:hlinkClick r:id="rId3" action="ppaction://hlinksldjump"/>
            <a:extLst>
              <a:ext uri="{FF2B5EF4-FFF2-40B4-BE49-F238E27FC236}">
                <a16:creationId xmlns:a16="http://schemas.microsoft.com/office/drawing/2014/main" id="{5447777E-3043-435C-B270-4DA04954AC3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32" name="Object 2">
            <a:extLst>
              <a:ext uri="{FF2B5EF4-FFF2-40B4-BE49-F238E27FC236}">
                <a16:creationId xmlns:a16="http://schemas.microsoft.com/office/drawing/2014/main" id="{BA4B9A58-8256-47B1-AA99-E9FBFC3299DD}"/>
              </a:ext>
            </a:extLst>
          </p:cNvPr>
          <p:cNvGraphicFramePr>
            <a:graphicFrameLocks noChangeAspect="1"/>
          </p:cNvGraphicFramePr>
          <p:nvPr>
            <p:extLst>
              <p:ext uri="{D42A27DB-BD31-4B8C-83A1-F6EECF244321}">
                <p14:modId xmlns:p14="http://schemas.microsoft.com/office/powerpoint/2010/main" val="2130183145"/>
              </p:ext>
            </p:extLst>
          </p:nvPr>
        </p:nvGraphicFramePr>
        <p:xfrm>
          <a:off x="1346963" y="1575976"/>
          <a:ext cx="3564000" cy="38442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3" name="Object 2">
            <a:extLst>
              <a:ext uri="{FF2B5EF4-FFF2-40B4-BE49-F238E27FC236}">
                <a16:creationId xmlns:a16="http://schemas.microsoft.com/office/drawing/2014/main" id="{21293D52-752D-4A5E-8642-04B00FB56ECC}"/>
              </a:ext>
            </a:extLst>
          </p:cNvPr>
          <p:cNvGraphicFramePr>
            <a:graphicFrameLocks noChangeAspect="1"/>
          </p:cNvGraphicFramePr>
          <p:nvPr>
            <p:extLst>
              <p:ext uri="{D42A27DB-BD31-4B8C-83A1-F6EECF244321}">
                <p14:modId xmlns:p14="http://schemas.microsoft.com/office/powerpoint/2010/main" val="3552447327"/>
              </p:ext>
            </p:extLst>
          </p:nvPr>
        </p:nvGraphicFramePr>
        <p:xfrm>
          <a:off x="7284213" y="1575976"/>
          <a:ext cx="3564000" cy="3844201"/>
        </p:xfrm>
        <a:graphic>
          <a:graphicData uri="http://schemas.openxmlformats.org/drawingml/2006/chart">
            <c:chart xmlns:c="http://schemas.openxmlformats.org/drawingml/2006/chart" xmlns:r="http://schemas.openxmlformats.org/officeDocument/2006/relationships" r:id="rId5"/>
          </a:graphicData>
        </a:graphic>
      </p:graphicFrame>
      <p:sp>
        <p:nvSpPr>
          <p:cNvPr id="34" name="Inhaltsplatzhalter 9">
            <a:extLst>
              <a:ext uri="{FF2B5EF4-FFF2-40B4-BE49-F238E27FC236}">
                <a16:creationId xmlns:a16="http://schemas.microsoft.com/office/drawing/2014/main" id="{4472388F-1FDD-4809-9D54-A7B5EB95EDF1}"/>
              </a:ext>
            </a:extLst>
          </p:cNvPr>
          <p:cNvSpPr>
            <a:spLocks noGrp="1"/>
          </p:cNvSpPr>
          <p:nvPr/>
        </p:nvSpPr>
        <p:spPr bwMode="auto">
          <a:xfrm>
            <a:off x="1998172" y="1132608"/>
            <a:ext cx="2256818" cy="443368"/>
          </a:xfrm>
          <a:prstGeom prst="rect">
            <a:avLst/>
          </a:prstGeom>
          <a:noFill/>
          <a:ln w="12700">
            <a:noFill/>
            <a:miter lim="800000"/>
            <a:headEnd/>
            <a:tailEnd/>
          </a:ln>
        </p:spPr>
        <p:txBody>
          <a:bodyPr vert="horz" wrap="square" lIns="0" tIns="108000" rIns="0" bIns="7200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Graphik"/>
                <a:ea typeface="+mn-ea"/>
                <a:cs typeface="+mn-cs"/>
              </a:rPr>
              <a:t>100%= $150M</a:t>
            </a:r>
            <a:endParaRPr kumimoji="0" lang="de-DE" sz="2400" b="1" i="0" u="none" strike="noStrike" kern="0" cap="none" spc="0" normalizeH="0" baseline="0" noProof="0" dirty="0">
              <a:ln>
                <a:noFill/>
              </a:ln>
              <a:solidFill>
                <a:srgbClr val="000000"/>
              </a:solidFill>
              <a:effectLst/>
              <a:uLnTx/>
              <a:uFillTx/>
              <a:latin typeface="Graphik"/>
              <a:ea typeface="+mn-ea"/>
              <a:cs typeface="+mn-cs"/>
            </a:endParaRPr>
          </a:p>
        </p:txBody>
      </p:sp>
      <p:sp>
        <p:nvSpPr>
          <p:cNvPr id="35" name="Inhaltsplatzhalter 9">
            <a:extLst>
              <a:ext uri="{FF2B5EF4-FFF2-40B4-BE49-F238E27FC236}">
                <a16:creationId xmlns:a16="http://schemas.microsoft.com/office/drawing/2014/main" id="{9DB95631-1C2E-4178-96DC-8A58AF3C13BB}"/>
              </a:ext>
            </a:extLst>
          </p:cNvPr>
          <p:cNvSpPr>
            <a:spLocks noGrp="1"/>
          </p:cNvSpPr>
          <p:nvPr/>
        </p:nvSpPr>
        <p:spPr bwMode="auto">
          <a:xfrm>
            <a:off x="7411607" y="1132608"/>
            <a:ext cx="3283608" cy="443368"/>
          </a:xfrm>
          <a:prstGeom prst="rect">
            <a:avLst/>
          </a:prstGeom>
          <a:noFill/>
          <a:ln w="12700">
            <a:noFill/>
            <a:miter lim="800000"/>
            <a:headEnd/>
            <a:tailEnd/>
          </a:ln>
        </p:spPr>
        <p:txBody>
          <a:bodyPr vert="horz" wrap="square" lIns="0" tIns="108000" rIns="0" bIns="7200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Graphik"/>
                <a:ea typeface="+mn-ea"/>
                <a:cs typeface="+mn-cs"/>
              </a:rPr>
              <a:t>100%= 10,500 customers</a:t>
            </a:r>
            <a:endParaRPr kumimoji="0" lang="de-DE" sz="2400" b="1" i="0" u="none" strike="noStrike" kern="0" cap="none" spc="0" normalizeH="0" baseline="0" noProof="0" dirty="0">
              <a:ln>
                <a:noFill/>
              </a:ln>
              <a:solidFill>
                <a:srgbClr val="000000"/>
              </a:solidFill>
              <a:effectLst/>
              <a:uLnTx/>
              <a:uFillTx/>
              <a:latin typeface="Graphik"/>
              <a:ea typeface="+mn-ea"/>
              <a:cs typeface="+mn-cs"/>
            </a:endParaRPr>
          </a:p>
        </p:txBody>
      </p:sp>
      <p:sp>
        <p:nvSpPr>
          <p:cNvPr id="36" name="Text Box 9">
            <a:extLst>
              <a:ext uri="{FF2B5EF4-FFF2-40B4-BE49-F238E27FC236}">
                <a16:creationId xmlns:a16="http://schemas.microsoft.com/office/drawing/2014/main" id="{EDF367A5-6A75-4162-AB1F-B67B2FBCCB25}"/>
              </a:ext>
            </a:extLst>
          </p:cNvPr>
          <p:cNvSpPr txBox="1">
            <a:spLocks noChangeArrowheads="1"/>
          </p:cNvSpPr>
          <p:nvPr/>
        </p:nvSpPr>
        <p:spPr bwMode="auto">
          <a:xfrm>
            <a:off x="5572471" y="2112326"/>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Graphik"/>
                <a:ea typeface="+mn-ea"/>
                <a:cs typeface="+mn-cs"/>
              </a:rPr>
              <a:t>Label A</a:t>
            </a:r>
          </a:p>
        </p:txBody>
      </p:sp>
      <p:sp>
        <p:nvSpPr>
          <p:cNvPr id="37" name="Text Box 11">
            <a:extLst>
              <a:ext uri="{FF2B5EF4-FFF2-40B4-BE49-F238E27FC236}">
                <a16:creationId xmlns:a16="http://schemas.microsoft.com/office/drawing/2014/main" id="{57B17458-1010-4F9F-BA67-1ACB6660927A}"/>
              </a:ext>
            </a:extLst>
          </p:cNvPr>
          <p:cNvSpPr txBox="1">
            <a:spLocks noChangeArrowheads="1"/>
          </p:cNvSpPr>
          <p:nvPr/>
        </p:nvSpPr>
        <p:spPr bwMode="auto">
          <a:xfrm>
            <a:off x="5572471" y="4628848"/>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Graphik"/>
                <a:ea typeface="+mn-ea"/>
                <a:cs typeface="+mn-cs"/>
              </a:rPr>
              <a:t>Label C</a:t>
            </a:r>
          </a:p>
        </p:txBody>
      </p:sp>
      <p:sp>
        <p:nvSpPr>
          <p:cNvPr id="38" name="Text Box 10">
            <a:extLst>
              <a:ext uri="{FF2B5EF4-FFF2-40B4-BE49-F238E27FC236}">
                <a16:creationId xmlns:a16="http://schemas.microsoft.com/office/drawing/2014/main" id="{B8031479-01B3-4D92-90F1-C59E4CE1D1F4}"/>
              </a:ext>
            </a:extLst>
          </p:cNvPr>
          <p:cNvSpPr txBox="1">
            <a:spLocks noChangeArrowheads="1"/>
          </p:cNvSpPr>
          <p:nvPr/>
        </p:nvSpPr>
        <p:spPr bwMode="auto">
          <a:xfrm>
            <a:off x="5572471" y="3370587"/>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Graphik"/>
                <a:ea typeface="+mn-ea"/>
                <a:cs typeface="+mn-cs"/>
              </a:rPr>
              <a:t>Label B</a:t>
            </a:r>
          </a:p>
        </p:txBody>
      </p:sp>
      <p:cxnSp>
        <p:nvCxnSpPr>
          <p:cNvPr id="39" name="Straight Connector 38">
            <a:extLst>
              <a:ext uri="{FF2B5EF4-FFF2-40B4-BE49-F238E27FC236}">
                <a16:creationId xmlns:a16="http://schemas.microsoft.com/office/drawing/2014/main" id="{89831E6F-5399-40B9-8E4F-4EE924667A57}"/>
              </a:ext>
            </a:extLst>
          </p:cNvPr>
          <p:cNvCxnSpPr>
            <a:stCxn id="36" idx="1"/>
          </p:cNvCxnSpPr>
          <p:nvPr/>
        </p:nvCxnSpPr>
        <p:spPr>
          <a:xfrm flipH="1">
            <a:off x="2852382" y="2220048"/>
            <a:ext cx="2700000" cy="0"/>
          </a:xfrm>
          <a:prstGeom prst="line">
            <a:avLst/>
          </a:prstGeom>
          <a:noFill/>
          <a:ln w="19050" cap="rnd" cmpd="sng" algn="ctr">
            <a:solidFill>
              <a:srgbClr val="96968C">
                <a:lumMod val="60000"/>
                <a:lumOff val="40000"/>
              </a:srgbClr>
            </a:solidFill>
            <a:prstDash val="sysDot"/>
            <a:tailEnd type="oval"/>
          </a:ln>
          <a:effectLst/>
        </p:spPr>
      </p:cxnSp>
      <p:cxnSp>
        <p:nvCxnSpPr>
          <p:cNvPr id="40" name="Straight Connector 39">
            <a:extLst>
              <a:ext uri="{FF2B5EF4-FFF2-40B4-BE49-F238E27FC236}">
                <a16:creationId xmlns:a16="http://schemas.microsoft.com/office/drawing/2014/main" id="{C443BAE0-7800-4F1F-AC3C-638BAC7A0006}"/>
              </a:ext>
            </a:extLst>
          </p:cNvPr>
          <p:cNvCxnSpPr>
            <a:stCxn id="36" idx="3"/>
          </p:cNvCxnSpPr>
          <p:nvPr/>
        </p:nvCxnSpPr>
        <p:spPr>
          <a:xfrm>
            <a:off x="6607521" y="2220048"/>
            <a:ext cx="1751288" cy="0"/>
          </a:xfrm>
          <a:prstGeom prst="line">
            <a:avLst/>
          </a:prstGeom>
          <a:noFill/>
          <a:ln w="19050" cap="rnd" cmpd="sng" algn="ctr">
            <a:solidFill>
              <a:srgbClr val="96968C">
                <a:lumMod val="60000"/>
                <a:lumOff val="40000"/>
              </a:srgbClr>
            </a:solidFill>
            <a:prstDash val="sysDot"/>
            <a:tailEnd type="oval"/>
          </a:ln>
          <a:effectLst/>
        </p:spPr>
      </p:cxnSp>
      <p:cxnSp>
        <p:nvCxnSpPr>
          <p:cNvPr id="41" name="Straight Connector 40">
            <a:extLst>
              <a:ext uri="{FF2B5EF4-FFF2-40B4-BE49-F238E27FC236}">
                <a16:creationId xmlns:a16="http://schemas.microsoft.com/office/drawing/2014/main" id="{295D3B47-A053-4A54-8E28-7E94CA311A59}"/>
              </a:ext>
            </a:extLst>
          </p:cNvPr>
          <p:cNvCxnSpPr>
            <a:stCxn id="37" idx="1"/>
          </p:cNvCxnSpPr>
          <p:nvPr/>
        </p:nvCxnSpPr>
        <p:spPr>
          <a:xfrm flipH="1">
            <a:off x="3867150" y="4736570"/>
            <a:ext cx="1705321" cy="0"/>
          </a:xfrm>
          <a:prstGeom prst="line">
            <a:avLst/>
          </a:prstGeom>
          <a:noFill/>
          <a:ln w="19050" cap="rnd" cmpd="sng" algn="ctr">
            <a:solidFill>
              <a:srgbClr val="96968C">
                <a:lumMod val="60000"/>
                <a:lumOff val="40000"/>
              </a:srgbClr>
            </a:solidFill>
            <a:prstDash val="sysDot"/>
            <a:tailEnd type="oval"/>
          </a:ln>
          <a:effectLst/>
        </p:spPr>
      </p:cxnSp>
      <p:cxnSp>
        <p:nvCxnSpPr>
          <p:cNvPr id="42" name="Straight Connector 41">
            <a:extLst>
              <a:ext uri="{FF2B5EF4-FFF2-40B4-BE49-F238E27FC236}">
                <a16:creationId xmlns:a16="http://schemas.microsoft.com/office/drawing/2014/main" id="{2A390FF8-F5F4-422C-B73A-BBA1D351E8C2}"/>
              </a:ext>
            </a:extLst>
          </p:cNvPr>
          <p:cNvCxnSpPr>
            <a:stCxn id="37" idx="3"/>
          </p:cNvCxnSpPr>
          <p:nvPr/>
        </p:nvCxnSpPr>
        <p:spPr>
          <a:xfrm>
            <a:off x="6607521" y="4736570"/>
            <a:ext cx="1993554" cy="0"/>
          </a:xfrm>
          <a:prstGeom prst="line">
            <a:avLst/>
          </a:prstGeom>
          <a:noFill/>
          <a:ln w="19050" cap="rnd" cmpd="sng" algn="ctr">
            <a:solidFill>
              <a:srgbClr val="96968C">
                <a:lumMod val="60000"/>
                <a:lumOff val="40000"/>
              </a:srgbClr>
            </a:solidFill>
            <a:prstDash val="sysDot"/>
            <a:tailEnd type="oval"/>
          </a:ln>
          <a:effectLst/>
        </p:spPr>
      </p:cxnSp>
      <p:cxnSp>
        <p:nvCxnSpPr>
          <p:cNvPr id="43" name="Straight Connector 42">
            <a:extLst>
              <a:ext uri="{FF2B5EF4-FFF2-40B4-BE49-F238E27FC236}">
                <a16:creationId xmlns:a16="http://schemas.microsoft.com/office/drawing/2014/main" id="{3BF8B38F-058E-4D69-838B-B9B9A94F7E59}"/>
              </a:ext>
            </a:extLst>
          </p:cNvPr>
          <p:cNvCxnSpPr>
            <a:stCxn id="38" idx="3"/>
          </p:cNvCxnSpPr>
          <p:nvPr/>
        </p:nvCxnSpPr>
        <p:spPr>
          <a:xfrm>
            <a:off x="6607521" y="3478309"/>
            <a:ext cx="2794896" cy="17705"/>
          </a:xfrm>
          <a:prstGeom prst="line">
            <a:avLst/>
          </a:prstGeom>
          <a:noFill/>
          <a:ln w="19050" cap="rnd" cmpd="sng" algn="ctr">
            <a:solidFill>
              <a:srgbClr val="96968C">
                <a:lumMod val="60000"/>
                <a:lumOff val="40000"/>
              </a:srgbClr>
            </a:solidFill>
            <a:prstDash val="sysDot"/>
            <a:tailEnd type="oval"/>
          </a:ln>
          <a:effectLst/>
        </p:spPr>
      </p:cxnSp>
      <p:cxnSp>
        <p:nvCxnSpPr>
          <p:cNvPr id="44" name="Straight Connector 43">
            <a:extLst>
              <a:ext uri="{FF2B5EF4-FFF2-40B4-BE49-F238E27FC236}">
                <a16:creationId xmlns:a16="http://schemas.microsoft.com/office/drawing/2014/main" id="{1E7A444A-7A03-4842-B737-62596EC8AA34}"/>
              </a:ext>
            </a:extLst>
          </p:cNvPr>
          <p:cNvCxnSpPr>
            <a:stCxn id="38" idx="1"/>
          </p:cNvCxnSpPr>
          <p:nvPr/>
        </p:nvCxnSpPr>
        <p:spPr>
          <a:xfrm flipH="1">
            <a:off x="4353339" y="3478309"/>
            <a:ext cx="1219132" cy="0"/>
          </a:xfrm>
          <a:prstGeom prst="line">
            <a:avLst/>
          </a:prstGeom>
          <a:noFill/>
          <a:ln w="19050" cap="rnd" cmpd="sng" algn="ctr">
            <a:solidFill>
              <a:srgbClr val="96968C">
                <a:lumMod val="60000"/>
                <a:lumOff val="40000"/>
              </a:srgbClr>
            </a:solidFill>
            <a:prstDash val="sysDot"/>
            <a:tailEnd type="oval"/>
          </a:ln>
          <a:effectLst/>
        </p:spPr>
      </p:cxnSp>
      <p:sp>
        <p:nvSpPr>
          <p:cNvPr id="3" name="Rectangle 2">
            <a:hlinkClick r:id="rId3" action="ppaction://hlinksldjump"/>
            <a:extLst>
              <a:ext uri="{FF2B5EF4-FFF2-40B4-BE49-F238E27FC236}">
                <a16:creationId xmlns:a16="http://schemas.microsoft.com/office/drawing/2014/main" id="{935FCFD1-82DB-479A-B70A-8ED2DD3E702A}"/>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37227537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Double Doughnut Chart</a:t>
            </a:r>
          </a:p>
        </p:txBody>
      </p: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7" y="5216909"/>
            <a:ext cx="4449219"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This chart consists of two separate pie char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Insert columns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In the options menu you can choose the rotation of the chart</a:t>
            </a:r>
          </a:p>
        </p:txBody>
      </p:sp>
      <p:sp>
        <p:nvSpPr>
          <p:cNvPr id="17" name="Freeform: Shape 16">
            <a:hlinkClick r:id="rId3" action="ppaction://hlinksldjump"/>
            <a:extLst>
              <a:ext uri="{FF2B5EF4-FFF2-40B4-BE49-F238E27FC236}">
                <a16:creationId xmlns:a16="http://schemas.microsoft.com/office/drawing/2014/main" id="{5447777E-3043-435C-B270-4DA04954AC3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31" name="Object 2">
            <a:extLst>
              <a:ext uri="{FF2B5EF4-FFF2-40B4-BE49-F238E27FC236}">
                <a16:creationId xmlns:a16="http://schemas.microsoft.com/office/drawing/2014/main" id="{CDADFDE1-BD3A-40DE-AE2C-762B429AA62A}"/>
              </a:ext>
            </a:extLst>
          </p:cNvPr>
          <p:cNvGraphicFramePr>
            <a:graphicFrameLocks noChangeAspect="1"/>
          </p:cNvGraphicFramePr>
          <p:nvPr>
            <p:extLst>
              <p:ext uri="{D42A27DB-BD31-4B8C-83A1-F6EECF244321}">
                <p14:modId xmlns:p14="http://schemas.microsoft.com/office/powerpoint/2010/main" val="3719207099"/>
              </p:ext>
            </p:extLst>
          </p:nvPr>
        </p:nvGraphicFramePr>
        <p:xfrm>
          <a:off x="851089" y="550948"/>
          <a:ext cx="4572518" cy="4932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5" name="Object 2">
            <a:extLst>
              <a:ext uri="{FF2B5EF4-FFF2-40B4-BE49-F238E27FC236}">
                <a16:creationId xmlns:a16="http://schemas.microsoft.com/office/drawing/2014/main" id="{C0D9859C-C5E8-4E9D-BDF2-9AE9E52F258F}"/>
              </a:ext>
            </a:extLst>
          </p:cNvPr>
          <p:cNvGraphicFramePr>
            <a:graphicFrameLocks noChangeAspect="1"/>
          </p:cNvGraphicFramePr>
          <p:nvPr>
            <p:extLst>
              <p:ext uri="{D42A27DB-BD31-4B8C-83A1-F6EECF244321}">
                <p14:modId xmlns:p14="http://schemas.microsoft.com/office/powerpoint/2010/main" val="67404184"/>
              </p:ext>
            </p:extLst>
          </p:nvPr>
        </p:nvGraphicFramePr>
        <p:xfrm>
          <a:off x="6777919" y="550948"/>
          <a:ext cx="4572518" cy="4932000"/>
        </p:xfrm>
        <a:graphic>
          <a:graphicData uri="http://schemas.openxmlformats.org/drawingml/2006/chart">
            <c:chart xmlns:c="http://schemas.openxmlformats.org/drawingml/2006/chart" xmlns:r="http://schemas.openxmlformats.org/officeDocument/2006/relationships" r:id="rId5"/>
          </a:graphicData>
        </a:graphic>
      </p:graphicFrame>
      <p:sp>
        <p:nvSpPr>
          <p:cNvPr id="46" name="Text Box 9">
            <a:extLst>
              <a:ext uri="{FF2B5EF4-FFF2-40B4-BE49-F238E27FC236}">
                <a16:creationId xmlns:a16="http://schemas.microsoft.com/office/drawing/2014/main" id="{781B379D-77E5-4D5D-AAAD-1A50200CA7E6}"/>
              </a:ext>
            </a:extLst>
          </p:cNvPr>
          <p:cNvSpPr txBox="1">
            <a:spLocks noChangeArrowheads="1"/>
          </p:cNvSpPr>
          <p:nvPr/>
        </p:nvSpPr>
        <p:spPr bwMode="auto">
          <a:xfrm>
            <a:off x="5583238" y="1558752"/>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Graphik"/>
                <a:ea typeface="+mn-ea"/>
                <a:cs typeface="+mn-cs"/>
              </a:rPr>
              <a:t>Label A</a:t>
            </a:r>
          </a:p>
        </p:txBody>
      </p:sp>
      <p:sp>
        <p:nvSpPr>
          <p:cNvPr id="47" name="Text Box 11">
            <a:extLst>
              <a:ext uri="{FF2B5EF4-FFF2-40B4-BE49-F238E27FC236}">
                <a16:creationId xmlns:a16="http://schemas.microsoft.com/office/drawing/2014/main" id="{1754583B-DF88-4769-B96C-04E59BE5F831}"/>
              </a:ext>
            </a:extLst>
          </p:cNvPr>
          <p:cNvSpPr txBox="1">
            <a:spLocks noChangeArrowheads="1"/>
          </p:cNvSpPr>
          <p:nvPr/>
        </p:nvSpPr>
        <p:spPr bwMode="auto">
          <a:xfrm>
            <a:off x="5583238" y="4219897"/>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Graphik"/>
                <a:ea typeface="+mn-ea"/>
                <a:cs typeface="+mn-cs"/>
              </a:rPr>
              <a:t>Label C</a:t>
            </a:r>
          </a:p>
        </p:txBody>
      </p:sp>
      <p:sp>
        <p:nvSpPr>
          <p:cNvPr id="48" name="Text Box 10">
            <a:extLst>
              <a:ext uri="{FF2B5EF4-FFF2-40B4-BE49-F238E27FC236}">
                <a16:creationId xmlns:a16="http://schemas.microsoft.com/office/drawing/2014/main" id="{B1B2CEC4-6CE9-49FA-98E2-54A5416C47E0}"/>
              </a:ext>
            </a:extLst>
          </p:cNvPr>
          <p:cNvSpPr txBox="1">
            <a:spLocks noChangeArrowheads="1"/>
          </p:cNvSpPr>
          <p:nvPr/>
        </p:nvSpPr>
        <p:spPr bwMode="auto">
          <a:xfrm>
            <a:off x="5583238" y="2781603"/>
            <a:ext cx="1035050" cy="215444"/>
          </a:xfrm>
          <a:prstGeom prst="rect">
            <a:avLst/>
          </a:prstGeom>
          <a:noFill/>
          <a:ln w="3175">
            <a:noFill/>
            <a:miter lim="800000"/>
            <a:headEnd/>
            <a:tailEnd/>
          </a:ln>
          <a:effectLst/>
        </p:spPr>
        <p:txBody>
          <a:bodyPr lIns="108000" tIns="0" rIns="108000" bIns="0" anchor="ctr">
            <a:spAutoFit/>
          </a:body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sz="1400" b="0" i="0" u="none" strike="noStrike" kern="0" cap="none" spc="0" normalizeH="0" baseline="0" noProof="0" dirty="0">
                <a:ln>
                  <a:noFill/>
                </a:ln>
                <a:solidFill>
                  <a:srgbClr val="96968C"/>
                </a:solidFill>
                <a:effectLst/>
                <a:uLnTx/>
                <a:uFillTx/>
                <a:latin typeface="Graphik"/>
                <a:ea typeface="+mn-ea"/>
                <a:cs typeface="+mn-cs"/>
              </a:rPr>
              <a:t>Label B</a:t>
            </a:r>
          </a:p>
        </p:txBody>
      </p:sp>
      <p:cxnSp>
        <p:nvCxnSpPr>
          <p:cNvPr id="49" name="Straight Connector 48">
            <a:extLst>
              <a:ext uri="{FF2B5EF4-FFF2-40B4-BE49-F238E27FC236}">
                <a16:creationId xmlns:a16="http://schemas.microsoft.com/office/drawing/2014/main" id="{8CE985B2-BDD8-4E79-A582-E3F1D23AA3CC}"/>
              </a:ext>
            </a:extLst>
          </p:cNvPr>
          <p:cNvCxnSpPr>
            <a:stCxn id="46" idx="1"/>
          </p:cNvCxnSpPr>
          <p:nvPr/>
        </p:nvCxnSpPr>
        <p:spPr>
          <a:xfrm flipH="1">
            <a:off x="2863149" y="1666474"/>
            <a:ext cx="2700000" cy="0"/>
          </a:xfrm>
          <a:prstGeom prst="line">
            <a:avLst/>
          </a:prstGeom>
          <a:noFill/>
          <a:ln w="15875" cap="rnd" cmpd="sng" algn="ctr">
            <a:solidFill>
              <a:srgbClr val="96968C">
                <a:lumMod val="60000"/>
                <a:lumOff val="40000"/>
              </a:srgbClr>
            </a:solidFill>
            <a:prstDash val="sysDot"/>
            <a:tailEnd type="oval"/>
          </a:ln>
          <a:effectLst/>
        </p:spPr>
      </p:cxnSp>
      <p:cxnSp>
        <p:nvCxnSpPr>
          <p:cNvPr id="50" name="Straight Connector 49">
            <a:extLst>
              <a:ext uri="{FF2B5EF4-FFF2-40B4-BE49-F238E27FC236}">
                <a16:creationId xmlns:a16="http://schemas.microsoft.com/office/drawing/2014/main" id="{54DBA57B-A4D3-4D76-9813-18D9EC3C0077}"/>
              </a:ext>
            </a:extLst>
          </p:cNvPr>
          <p:cNvCxnSpPr>
            <a:stCxn id="46" idx="3"/>
          </p:cNvCxnSpPr>
          <p:nvPr/>
        </p:nvCxnSpPr>
        <p:spPr>
          <a:xfrm>
            <a:off x="6618288" y="1666474"/>
            <a:ext cx="2212629" cy="0"/>
          </a:xfrm>
          <a:prstGeom prst="line">
            <a:avLst/>
          </a:prstGeom>
          <a:noFill/>
          <a:ln w="15875" cap="rnd" cmpd="sng" algn="ctr">
            <a:solidFill>
              <a:srgbClr val="96968C">
                <a:lumMod val="60000"/>
                <a:lumOff val="40000"/>
              </a:srgbClr>
            </a:solidFill>
            <a:prstDash val="sysDot"/>
            <a:tailEnd type="oval"/>
          </a:ln>
          <a:effectLst/>
        </p:spPr>
      </p:cxnSp>
      <p:cxnSp>
        <p:nvCxnSpPr>
          <p:cNvPr id="51" name="Straight Connector 50">
            <a:extLst>
              <a:ext uri="{FF2B5EF4-FFF2-40B4-BE49-F238E27FC236}">
                <a16:creationId xmlns:a16="http://schemas.microsoft.com/office/drawing/2014/main" id="{B6DE815D-316D-45AC-AF80-1B6ACE6D1EC6}"/>
              </a:ext>
            </a:extLst>
          </p:cNvPr>
          <p:cNvCxnSpPr>
            <a:stCxn id="47" idx="1"/>
          </p:cNvCxnSpPr>
          <p:nvPr/>
        </p:nvCxnSpPr>
        <p:spPr>
          <a:xfrm flipH="1">
            <a:off x="3877917" y="4327619"/>
            <a:ext cx="1705321" cy="0"/>
          </a:xfrm>
          <a:prstGeom prst="line">
            <a:avLst/>
          </a:prstGeom>
          <a:noFill/>
          <a:ln w="15875" cap="rnd" cmpd="sng" algn="ctr">
            <a:solidFill>
              <a:srgbClr val="96968C">
                <a:lumMod val="60000"/>
                <a:lumOff val="40000"/>
              </a:srgbClr>
            </a:solidFill>
            <a:prstDash val="sysDot"/>
            <a:tailEnd type="oval"/>
          </a:ln>
          <a:effectLst/>
        </p:spPr>
      </p:cxnSp>
      <p:cxnSp>
        <p:nvCxnSpPr>
          <p:cNvPr id="52" name="Straight Connector 51">
            <a:extLst>
              <a:ext uri="{FF2B5EF4-FFF2-40B4-BE49-F238E27FC236}">
                <a16:creationId xmlns:a16="http://schemas.microsoft.com/office/drawing/2014/main" id="{B479B255-2386-4F46-9957-CE680A9F8AF4}"/>
              </a:ext>
            </a:extLst>
          </p:cNvPr>
          <p:cNvCxnSpPr>
            <a:stCxn id="47" idx="3"/>
          </p:cNvCxnSpPr>
          <p:nvPr/>
        </p:nvCxnSpPr>
        <p:spPr>
          <a:xfrm>
            <a:off x="6618288" y="4327619"/>
            <a:ext cx="1993554" cy="0"/>
          </a:xfrm>
          <a:prstGeom prst="line">
            <a:avLst/>
          </a:prstGeom>
          <a:noFill/>
          <a:ln w="15875" cap="rnd" cmpd="sng" algn="ctr">
            <a:solidFill>
              <a:srgbClr val="96968C">
                <a:lumMod val="60000"/>
                <a:lumOff val="40000"/>
              </a:srgbClr>
            </a:solidFill>
            <a:prstDash val="sysDot"/>
            <a:tailEnd type="oval"/>
          </a:ln>
          <a:effectLst/>
        </p:spPr>
      </p:cxnSp>
      <p:cxnSp>
        <p:nvCxnSpPr>
          <p:cNvPr id="53" name="Straight Connector 52">
            <a:extLst>
              <a:ext uri="{FF2B5EF4-FFF2-40B4-BE49-F238E27FC236}">
                <a16:creationId xmlns:a16="http://schemas.microsoft.com/office/drawing/2014/main" id="{AA34EA0A-6C42-4922-B14B-C6510214A25F}"/>
              </a:ext>
            </a:extLst>
          </p:cNvPr>
          <p:cNvCxnSpPr>
            <a:stCxn id="48" idx="3"/>
          </p:cNvCxnSpPr>
          <p:nvPr/>
        </p:nvCxnSpPr>
        <p:spPr>
          <a:xfrm>
            <a:off x="6618288" y="2889325"/>
            <a:ext cx="3841404" cy="0"/>
          </a:xfrm>
          <a:prstGeom prst="line">
            <a:avLst/>
          </a:prstGeom>
          <a:noFill/>
          <a:ln w="15875" cap="rnd" cmpd="sng" algn="ctr">
            <a:solidFill>
              <a:srgbClr val="96968C">
                <a:lumMod val="60000"/>
                <a:lumOff val="40000"/>
              </a:srgbClr>
            </a:solidFill>
            <a:prstDash val="sysDot"/>
            <a:tailEnd type="oval"/>
          </a:ln>
          <a:effectLst/>
        </p:spPr>
      </p:cxnSp>
      <p:cxnSp>
        <p:nvCxnSpPr>
          <p:cNvPr id="54" name="Straight Connector 53">
            <a:extLst>
              <a:ext uri="{FF2B5EF4-FFF2-40B4-BE49-F238E27FC236}">
                <a16:creationId xmlns:a16="http://schemas.microsoft.com/office/drawing/2014/main" id="{5665FC61-9B25-40C5-B0F8-CFBC04E5AFDD}"/>
              </a:ext>
            </a:extLst>
          </p:cNvPr>
          <p:cNvCxnSpPr>
            <a:stCxn id="48" idx="1"/>
          </p:cNvCxnSpPr>
          <p:nvPr/>
        </p:nvCxnSpPr>
        <p:spPr>
          <a:xfrm flipH="1">
            <a:off x="4573242" y="2889325"/>
            <a:ext cx="1009996" cy="0"/>
          </a:xfrm>
          <a:prstGeom prst="line">
            <a:avLst/>
          </a:prstGeom>
          <a:noFill/>
          <a:ln w="15875" cap="rnd" cmpd="sng" algn="ctr">
            <a:solidFill>
              <a:srgbClr val="96968C">
                <a:lumMod val="60000"/>
                <a:lumOff val="40000"/>
              </a:srgbClr>
            </a:solidFill>
            <a:prstDash val="sysDot"/>
            <a:tailEnd type="oval"/>
          </a:ln>
          <a:effectLst/>
        </p:spPr>
      </p:cxnSp>
      <p:sp>
        <p:nvSpPr>
          <p:cNvPr id="55" name="Inhaltsplatzhalter 9">
            <a:extLst>
              <a:ext uri="{FF2B5EF4-FFF2-40B4-BE49-F238E27FC236}">
                <a16:creationId xmlns:a16="http://schemas.microsoft.com/office/drawing/2014/main" id="{12093C6A-EBFC-4405-9C01-AA8C2A2792B4}"/>
              </a:ext>
            </a:extLst>
          </p:cNvPr>
          <p:cNvSpPr>
            <a:spLocks noGrp="1"/>
          </p:cNvSpPr>
          <p:nvPr/>
        </p:nvSpPr>
        <p:spPr bwMode="auto">
          <a:xfrm>
            <a:off x="2008939" y="2885872"/>
            <a:ext cx="2256818" cy="422987"/>
          </a:xfrm>
          <a:prstGeom prst="rect">
            <a:avLst/>
          </a:prstGeom>
          <a:noFill/>
          <a:ln w="12700">
            <a:noFill/>
            <a:miter lim="800000"/>
            <a:headEnd/>
            <a:tailEnd/>
          </a:ln>
        </p:spPr>
        <p:txBody>
          <a:bodyPr vert="horz" wrap="square" lIns="0" tIns="108000" rIns="0" bIns="0" numCol="1" anchor="ctr" anchorCtr="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all" spc="0" normalizeH="0" baseline="0" noProof="0" dirty="0">
                <a:ln>
                  <a:noFill/>
                </a:ln>
                <a:solidFill>
                  <a:srgbClr val="000000"/>
                </a:solidFill>
                <a:effectLst/>
                <a:uLnTx/>
                <a:uFillTx/>
                <a:latin typeface="Graphik Black"/>
                <a:ea typeface="+mn-ea"/>
                <a:cs typeface="+mn-cs"/>
              </a:rPr>
              <a:t>$150M</a:t>
            </a:r>
            <a:endParaRPr kumimoji="0" lang="de-DE" sz="2800" b="0" i="0" u="none" strike="noStrike" kern="1200" cap="all" spc="0" normalizeH="0" baseline="0" noProof="0" dirty="0">
              <a:ln>
                <a:noFill/>
              </a:ln>
              <a:solidFill>
                <a:srgbClr val="000000"/>
              </a:solidFill>
              <a:effectLst/>
              <a:uLnTx/>
              <a:uFillTx/>
              <a:latin typeface="Graphik Black"/>
              <a:ea typeface="+mn-ea"/>
              <a:cs typeface="+mn-cs"/>
            </a:endParaRPr>
          </a:p>
        </p:txBody>
      </p:sp>
      <p:sp>
        <p:nvSpPr>
          <p:cNvPr id="56" name="Inhaltsplatzhalter 9">
            <a:extLst>
              <a:ext uri="{FF2B5EF4-FFF2-40B4-BE49-F238E27FC236}">
                <a16:creationId xmlns:a16="http://schemas.microsoft.com/office/drawing/2014/main" id="{540DDFBF-E9DF-483B-AC68-6466E41729F6}"/>
              </a:ext>
            </a:extLst>
          </p:cNvPr>
          <p:cNvSpPr>
            <a:spLocks noGrp="1"/>
          </p:cNvSpPr>
          <p:nvPr/>
        </p:nvSpPr>
        <p:spPr bwMode="auto">
          <a:xfrm>
            <a:off x="7935769" y="2755067"/>
            <a:ext cx="2256818" cy="684597"/>
          </a:xfrm>
          <a:prstGeom prst="rect">
            <a:avLst/>
          </a:prstGeom>
          <a:noFill/>
          <a:ln w="12700">
            <a:noFill/>
            <a:miter lim="800000"/>
            <a:headEnd/>
            <a:tailEnd/>
          </a:ln>
        </p:spPr>
        <p:txBody>
          <a:bodyPr vert="horz" wrap="square" lIns="0" tIns="108000" rIns="0" bIns="0" numCol="1" anchor="ctr" anchorCtr="0" compatLnSpc="1">
            <a:prstTxWarp prst="textNoShape">
              <a:avLst/>
            </a:prstTxWarp>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spc="0" normalizeH="0" baseline="0" noProof="0" dirty="0">
                <a:ln>
                  <a:noFill/>
                </a:ln>
                <a:solidFill>
                  <a:srgbClr val="000000"/>
                </a:solidFill>
                <a:effectLst/>
                <a:uLnTx/>
                <a:uFillTx/>
                <a:latin typeface="Graphik Black"/>
                <a:ea typeface="+mn-ea"/>
                <a:cs typeface="+mn-cs"/>
              </a:rPr>
              <a:t>10,500 </a:t>
            </a:r>
            <a:r>
              <a:rPr kumimoji="0" lang="en-US" sz="1800" b="0" i="0" u="none" strike="noStrike" kern="1200" spc="0" normalizeH="0" baseline="0" noProof="0" dirty="0">
                <a:ln>
                  <a:noFill/>
                </a:ln>
                <a:solidFill>
                  <a:srgbClr val="000000"/>
                </a:solidFill>
                <a:effectLst/>
                <a:uLnTx/>
                <a:uFillTx/>
                <a:latin typeface="Graphik Black"/>
                <a:ea typeface="+mn-ea"/>
                <a:cs typeface="+mn-cs"/>
              </a:rPr>
              <a:t>Customers</a:t>
            </a:r>
            <a:endParaRPr kumimoji="0" lang="de-DE" sz="2800" b="0" i="0" u="none" strike="noStrike" kern="1200" spc="0" normalizeH="0" baseline="0" noProof="0" dirty="0">
              <a:ln>
                <a:noFill/>
              </a:ln>
              <a:solidFill>
                <a:srgbClr val="000000"/>
              </a:solidFill>
              <a:effectLst/>
              <a:uLnTx/>
              <a:uFillTx/>
              <a:latin typeface="Graphik Black"/>
              <a:ea typeface="+mn-ea"/>
              <a:cs typeface="+mn-cs"/>
            </a:endParaRPr>
          </a:p>
        </p:txBody>
      </p:sp>
      <p:sp>
        <p:nvSpPr>
          <p:cNvPr id="3" name="Rectangle 2">
            <a:hlinkClick r:id="rId3" action="ppaction://hlinksldjump"/>
            <a:extLst>
              <a:ext uri="{FF2B5EF4-FFF2-40B4-BE49-F238E27FC236}">
                <a16:creationId xmlns:a16="http://schemas.microsoft.com/office/drawing/2014/main" id="{6E9C67DB-47C9-419B-B6AA-827B749AC579}"/>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1081414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ECD5A-0AE9-429A-8046-CEDA1D194097}"/>
              </a:ext>
            </a:extLst>
          </p:cNvPr>
          <p:cNvSpPr>
            <a:spLocks noGrp="1"/>
          </p:cNvSpPr>
          <p:nvPr>
            <p:ph type="title"/>
          </p:nvPr>
        </p:nvSpPr>
        <p:spPr/>
        <p:txBody>
          <a:bodyPr/>
          <a:lstStyle/>
          <a:p>
            <a:r>
              <a:rPr lang="en-US" dirty="0"/>
              <a:t>Combination Pie and Column Chart</a:t>
            </a:r>
          </a:p>
        </p:txBody>
      </p:sp>
      <p:sp>
        <p:nvSpPr>
          <p:cNvPr id="15" name="Rectangle 3">
            <a:extLst>
              <a:ext uri="{FF2B5EF4-FFF2-40B4-BE49-F238E27FC236}">
                <a16:creationId xmlns:a16="http://schemas.microsoft.com/office/drawing/2014/main" id="{5D10A91F-4963-4F65-BE9D-BF9CBF5B1DD5}"/>
              </a:ext>
            </a:extLst>
          </p:cNvPr>
          <p:cNvSpPr>
            <a:spLocks noChangeArrowheads="1"/>
          </p:cNvSpPr>
          <p:nvPr/>
        </p:nvSpPr>
        <p:spPr bwMode="auto">
          <a:xfrm>
            <a:off x="380998" y="4089443"/>
            <a:ext cx="3152316" cy="2090417"/>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82563" marR="0" lvl="0" indent="-182563"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 to add slices in pie as required (each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 typeface="Arial" charset="0"/>
              <a:buAutoNum type="arabicPlain" startAt="2"/>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Double-click on a slic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 typeface="Arial" charset="0"/>
              <a:buAutoNum type="arabicPlain" startAt="2"/>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o insert segments in bar chart: </a:t>
            </a:r>
          </a:p>
          <a:p>
            <a:pPr marL="266700" marR="0" lvl="0" indent="-88900" algn="l" defTabSz="914400" rtl="0" eaLnBrk="1" fontAlgn="auto" latinLnBrk="0" hangingPunct="1">
              <a:lnSpc>
                <a:spcPct val="100000"/>
              </a:lnSpc>
              <a:spcBef>
                <a:spcPts val="100"/>
              </a:spcBef>
              <a:spcAft>
                <a:spcPts val="100"/>
              </a:spcAft>
              <a:buClr>
                <a:srgbClr val="000000"/>
              </a:buClr>
              <a:buSzPct val="10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Double-click on chart, click on either bar segment</a:t>
            </a:r>
          </a:p>
          <a:p>
            <a:pPr marL="266700" marR="0" lvl="0" indent="-88900" algn="l" defTabSz="914400" rtl="0" eaLnBrk="1" fontAlgn="auto" latinLnBrk="0" hangingPunct="1">
              <a:lnSpc>
                <a:spcPct val="100000"/>
              </a:lnSpc>
              <a:spcBef>
                <a:spcPts val="100"/>
              </a:spcBef>
              <a:spcAft>
                <a:spcPts val="100"/>
              </a:spcAft>
              <a:buClr>
                <a:srgbClr val="000000"/>
              </a:buClr>
              <a:buSzPct val="10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Right mouse -&gt; Format Data Point…</a:t>
            </a:r>
          </a:p>
          <a:p>
            <a:pPr marL="266700" marR="0" lvl="0" indent="-88900" algn="l" defTabSz="914400" rtl="0" eaLnBrk="1" fontAlgn="auto" latinLnBrk="0" hangingPunct="1">
              <a:lnSpc>
                <a:spcPct val="100000"/>
              </a:lnSpc>
              <a:spcBef>
                <a:spcPts val="100"/>
              </a:spcBef>
              <a:spcAft>
                <a:spcPts val="100"/>
              </a:spcAft>
              <a:buClr>
                <a:srgbClr val="000000"/>
              </a:buClr>
              <a:buSzPct val="10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elect Options tab, increase the number after “Second plot contains the last…”</a:t>
            </a:r>
          </a:p>
          <a:p>
            <a:pPr marL="266700" marR="0" lvl="0" indent="-88900" algn="l" defTabSz="914400" rtl="0" eaLnBrk="1" fontAlgn="auto" latinLnBrk="0" hangingPunct="1">
              <a:lnSpc>
                <a:spcPct val="100000"/>
              </a:lnSpc>
              <a:spcBef>
                <a:spcPts val="100"/>
              </a:spcBef>
              <a:spcAft>
                <a:spcPts val="100"/>
              </a:spcAft>
              <a:buClr>
                <a:srgbClr val="000000"/>
              </a:buClr>
              <a:buSzPct val="100000"/>
              <a:buFont typeface="Arial" pitchFamily="34" charset="0"/>
              <a:buChar char="–"/>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Insert columns as required</a:t>
            </a:r>
          </a:p>
        </p:txBody>
      </p:sp>
      <p:sp>
        <p:nvSpPr>
          <p:cNvPr id="17" name="Freeform: Shape 16">
            <a:hlinkClick r:id="rId3" action="ppaction://hlinksldjump"/>
            <a:extLst>
              <a:ext uri="{FF2B5EF4-FFF2-40B4-BE49-F238E27FC236}">
                <a16:creationId xmlns:a16="http://schemas.microsoft.com/office/drawing/2014/main" id="{5447777E-3043-435C-B270-4DA04954AC3F}"/>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19" name="Object 2">
            <a:extLst>
              <a:ext uri="{FF2B5EF4-FFF2-40B4-BE49-F238E27FC236}">
                <a16:creationId xmlns:a16="http://schemas.microsoft.com/office/drawing/2014/main" id="{D6F24B05-3592-4BAA-AE58-A8DA5BC68400}"/>
              </a:ext>
            </a:extLst>
          </p:cNvPr>
          <p:cNvGraphicFramePr>
            <a:graphicFrameLocks/>
          </p:cNvGraphicFramePr>
          <p:nvPr>
            <p:extLst>
              <p:ext uri="{D42A27DB-BD31-4B8C-83A1-F6EECF244321}">
                <p14:modId xmlns:p14="http://schemas.microsoft.com/office/powerpoint/2010/main" val="2301625787"/>
              </p:ext>
            </p:extLst>
          </p:nvPr>
        </p:nvGraphicFramePr>
        <p:xfrm>
          <a:off x="3293615" y="1657108"/>
          <a:ext cx="8557865" cy="3543783"/>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a:hlinkClick r:id="rId3" action="ppaction://hlinksldjump"/>
            <a:extLst>
              <a:ext uri="{FF2B5EF4-FFF2-40B4-BE49-F238E27FC236}">
                <a16:creationId xmlns:a16="http://schemas.microsoft.com/office/drawing/2014/main" id="{51F99FC7-4A2D-4C25-BD84-54D492F5C79A}"/>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88733885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US" dirty="0"/>
              <a:t>Combined Pie Charts (Labeled)</a:t>
            </a:r>
          </a:p>
        </p:txBody>
      </p:sp>
      <p:graphicFrame>
        <p:nvGraphicFramePr>
          <p:cNvPr id="11" name="Object 2">
            <a:extLst>
              <a:ext uri="{FF2B5EF4-FFF2-40B4-BE49-F238E27FC236}">
                <a16:creationId xmlns:a16="http://schemas.microsoft.com/office/drawing/2014/main" id="{D3E38C0A-AA45-4BB6-8C26-C767708A4A70}"/>
              </a:ext>
            </a:extLst>
          </p:cNvPr>
          <p:cNvGraphicFramePr>
            <a:graphicFrameLocks/>
          </p:cNvGraphicFramePr>
          <p:nvPr>
            <p:extLst>
              <p:ext uri="{D42A27DB-BD31-4B8C-83A1-F6EECF244321}">
                <p14:modId xmlns:p14="http://schemas.microsoft.com/office/powerpoint/2010/main" val="3145455898"/>
              </p:ext>
            </p:extLst>
          </p:nvPr>
        </p:nvGraphicFramePr>
        <p:xfrm>
          <a:off x="1866654" y="1255445"/>
          <a:ext cx="5648534" cy="4113154"/>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Box 5">
            <a:extLst>
              <a:ext uri="{FF2B5EF4-FFF2-40B4-BE49-F238E27FC236}">
                <a16:creationId xmlns:a16="http://schemas.microsoft.com/office/drawing/2014/main" id="{67603109-2765-48AA-B0EB-0FC5DA7CDC1A}"/>
              </a:ext>
            </a:extLst>
          </p:cNvPr>
          <p:cNvSpPr txBox="1">
            <a:spLocks noChangeArrowheads="1"/>
          </p:cNvSpPr>
          <p:nvPr/>
        </p:nvSpPr>
        <p:spPr bwMode="auto">
          <a:xfrm flipH="1">
            <a:off x="8730020" y="1501564"/>
            <a:ext cx="815461"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Graphik Black"/>
                <a:ea typeface="+mn-ea"/>
                <a:cs typeface="+mn-cs"/>
              </a:rPr>
              <a:t>Graph 1</a:t>
            </a:r>
          </a:p>
        </p:txBody>
      </p:sp>
      <p:sp>
        <p:nvSpPr>
          <p:cNvPr id="13" name="Text Box 6">
            <a:extLst>
              <a:ext uri="{FF2B5EF4-FFF2-40B4-BE49-F238E27FC236}">
                <a16:creationId xmlns:a16="http://schemas.microsoft.com/office/drawing/2014/main" id="{0D9C7C29-4D7B-4E91-AAC1-119D69D60802}"/>
              </a:ext>
            </a:extLst>
          </p:cNvPr>
          <p:cNvSpPr txBox="1">
            <a:spLocks noChangeArrowheads="1"/>
          </p:cNvSpPr>
          <p:nvPr/>
        </p:nvSpPr>
        <p:spPr bwMode="auto">
          <a:xfrm flipH="1">
            <a:off x="8730020" y="2144082"/>
            <a:ext cx="845919"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Graphik Black"/>
                <a:ea typeface="+mn-ea"/>
                <a:cs typeface="+mn-cs"/>
              </a:rPr>
              <a:t>Graph 2</a:t>
            </a:r>
          </a:p>
        </p:txBody>
      </p:sp>
      <p:sp>
        <p:nvSpPr>
          <p:cNvPr id="14" name="Text Box 7">
            <a:extLst>
              <a:ext uri="{FF2B5EF4-FFF2-40B4-BE49-F238E27FC236}">
                <a16:creationId xmlns:a16="http://schemas.microsoft.com/office/drawing/2014/main" id="{A3D23E3A-7A91-4A2C-B2AD-33C7F042599B}"/>
              </a:ext>
            </a:extLst>
          </p:cNvPr>
          <p:cNvSpPr txBox="1">
            <a:spLocks noChangeArrowheads="1"/>
          </p:cNvSpPr>
          <p:nvPr/>
        </p:nvSpPr>
        <p:spPr bwMode="auto">
          <a:xfrm flipH="1">
            <a:off x="8730019" y="2798810"/>
            <a:ext cx="852331"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Graphik Black"/>
                <a:ea typeface="+mn-ea"/>
                <a:cs typeface="+mn-cs"/>
              </a:rPr>
              <a:t>Graph 3</a:t>
            </a:r>
          </a:p>
        </p:txBody>
      </p:sp>
      <p:cxnSp>
        <p:nvCxnSpPr>
          <p:cNvPr id="15" name="Straight Connector 14">
            <a:extLst>
              <a:ext uri="{FF2B5EF4-FFF2-40B4-BE49-F238E27FC236}">
                <a16:creationId xmlns:a16="http://schemas.microsoft.com/office/drawing/2014/main" id="{647D9D16-1B86-4721-B590-5781735D5766}"/>
              </a:ext>
            </a:extLst>
          </p:cNvPr>
          <p:cNvCxnSpPr/>
          <p:nvPr/>
        </p:nvCxnSpPr>
        <p:spPr bwMode="auto">
          <a:xfrm>
            <a:off x="4314926" y="1593897"/>
            <a:ext cx="4235003" cy="1"/>
          </a:xfrm>
          <a:prstGeom prst="line">
            <a:avLst/>
          </a:prstGeom>
          <a:noFill/>
          <a:ln w="6350" cap="flat" cmpd="sng" algn="ctr">
            <a:solidFill>
              <a:srgbClr val="96968C"/>
            </a:solidFill>
            <a:prstDash val="dash"/>
          </a:ln>
          <a:effectLst/>
        </p:spPr>
      </p:cxnSp>
      <p:cxnSp>
        <p:nvCxnSpPr>
          <p:cNvPr id="16" name="Straight Connector 15">
            <a:extLst>
              <a:ext uri="{FF2B5EF4-FFF2-40B4-BE49-F238E27FC236}">
                <a16:creationId xmlns:a16="http://schemas.microsoft.com/office/drawing/2014/main" id="{EC313916-F277-4D2C-A703-73C4656D4C19}"/>
              </a:ext>
            </a:extLst>
          </p:cNvPr>
          <p:cNvCxnSpPr/>
          <p:nvPr/>
        </p:nvCxnSpPr>
        <p:spPr bwMode="auto">
          <a:xfrm>
            <a:off x="4314926" y="2236415"/>
            <a:ext cx="4235003" cy="1"/>
          </a:xfrm>
          <a:prstGeom prst="line">
            <a:avLst/>
          </a:prstGeom>
          <a:noFill/>
          <a:ln w="6350" cap="flat" cmpd="sng" algn="ctr">
            <a:solidFill>
              <a:srgbClr val="96968C"/>
            </a:solidFill>
            <a:prstDash val="dash"/>
          </a:ln>
          <a:effectLst/>
        </p:spPr>
      </p:cxnSp>
      <p:cxnSp>
        <p:nvCxnSpPr>
          <p:cNvPr id="17" name="Straight Connector 16">
            <a:extLst>
              <a:ext uri="{FF2B5EF4-FFF2-40B4-BE49-F238E27FC236}">
                <a16:creationId xmlns:a16="http://schemas.microsoft.com/office/drawing/2014/main" id="{CF2A6C5F-DA30-41FB-84BD-38DE660F6DA3}"/>
              </a:ext>
            </a:extLst>
          </p:cNvPr>
          <p:cNvCxnSpPr/>
          <p:nvPr/>
        </p:nvCxnSpPr>
        <p:spPr bwMode="auto">
          <a:xfrm>
            <a:off x="4495016" y="2035276"/>
            <a:ext cx="4235003" cy="0"/>
          </a:xfrm>
          <a:prstGeom prst="line">
            <a:avLst/>
          </a:prstGeom>
          <a:noFill/>
          <a:ln w="6350" cap="flat" cmpd="sng" algn="ctr">
            <a:solidFill>
              <a:srgbClr val="96968C"/>
            </a:solidFill>
            <a:prstDash val="dash"/>
          </a:ln>
          <a:effectLst/>
        </p:spPr>
      </p:cxnSp>
      <p:sp>
        <p:nvSpPr>
          <p:cNvPr id="19" name="Rectangle 3">
            <a:extLst>
              <a:ext uri="{FF2B5EF4-FFF2-40B4-BE49-F238E27FC236}">
                <a16:creationId xmlns:a16="http://schemas.microsoft.com/office/drawing/2014/main" id="{9399ACF4-74CA-43D0-94FB-C959F8EAE656}"/>
              </a:ext>
            </a:extLst>
          </p:cNvPr>
          <p:cNvSpPr>
            <a:spLocks noChangeArrowheads="1"/>
          </p:cNvSpPr>
          <p:nvPr/>
        </p:nvSpPr>
        <p:spPr bwMode="auto">
          <a:xfrm>
            <a:off x="381001" y="5580831"/>
            <a:ext cx="4915944"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slic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dit and add (if necessary) graph names manually</a:t>
            </a:r>
          </a:p>
        </p:txBody>
      </p:sp>
      <p:sp>
        <p:nvSpPr>
          <p:cNvPr id="21" name="Freeform: Shape 20">
            <a:hlinkClick r:id="rId4" action="ppaction://hlinksldjump"/>
            <a:extLst>
              <a:ext uri="{FF2B5EF4-FFF2-40B4-BE49-F238E27FC236}">
                <a16:creationId xmlns:a16="http://schemas.microsoft.com/office/drawing/2014/main" id="{9B3E91C7-734A-4957-B9D9-8D519FE5A1EC}"/>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4" action="ppaction://hlinksldjump"/>
            <a:extLst>
              <a:ext uri="{FF2B5EF4-FFF2-40B4-BE49-F238E27FC236}">
                <a16:creationId xmlns:a16="http://schemas.microsoft.com/office/drawing/2014/main" id="{D5C5CA84-D204-496F-9300-DC1FFCF86858}"/>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00368913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US" dirty="0"/>
              <a:t>Combined Pie Charts (Non-labeled)</a:t>
            </a:r>
          </a:p>
        </p:txBody>
      </p:sp>
      <p:sp>
        <p:nvSpPr>
          <p:cNvPr id="19" name="Rectangle 3">
            <a:extLst>
              <a:ext uri="{FF2B5EF4-FFF2-40B4-BE49-F238E27FC236}">
                <a16:creationId xmlns:a16="http://schemas.microsoft.com/office/drawing/2014/main" id="{9399ACF4-74CA-43D0-94FB-C959F8EAE656}"/>
              </a:ext>
            </a:extLst>
          </p:cNvPr>
          <p:cNvSpPr>
            <a:spLocks noChangeArrowheads="1"/>
          </p:cNvSpPr>
          <p:nvPr/>
        </p:nvSpPr>
        <p:spPr bwMode="auto">
          <a:xfrm>
            <a:off x="381001" y="5580831"/>
            <a:ext cx="4915944" cy="731070"/>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slic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Edit and add (if necessary) graph names manually</a:t>
            </a:r>
          </a:p>
        </p:txBody>
      </p:sp>
      <p:sp>
        <p:nvSpPr>
          <p:cNvPr id="21" name="Freeform: Shape 20">
            <a:hlinkClick r:id="rId3" action="ppaction://hlinksldjump"/>
            <a:extLst>
              <a:ext uri="{FF2B5EF4-FFF2-40B4-BE49-F238E27FC236}">
                <a16:creationId xmlns:a16="http://schemas.microsoft.com/office/drawing/2014/main" id="{9B3E91C7-734A-4957-B9D9-8D519FE5A1EC}"/>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27" name="Object 2">
            <a:extLst>
              <a:ext uri="{FF2B5EF4-FFF2-40B4-BE49-F238E27FC236}">
                <a16:creationId xmlns:a16="http://schemas.microsoft.com/office/drawing/2014/main" id="{12CE1B7F-0BAC-41EF-80EF-908C6368BC53}"/>
              </a:ext>
            </a:extLst>
          </p:cNvPr>
          <p:cNvGraphicFramePr>
            <a:graphicFrameLocks/>
          </p:cNvGraphicFramePr>
          <p:nvPr>
            <p:extLst>
              <p:ext uri="{D42A27DB-BD31-4B8C-83A1-F6EECF244321}">
                <p14:modId xmlns:p14="http://schemas.microsoft.com/office/powerpoint/2010/main" val="2047828373"/>
              </p:ext>
            </p:extLst>
          </p:nvPr>
        </p:nvGraphicFramePr>
        <p:xfrm>
          <a:off x="1507272" y="1033324"/>
          <a:ext cx="6444716" cy="4319178"/>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 Box 5">
            <a:extLst>
              <a:ext uri="{FF2B5EF4-FFF2-40B4-BE49-F238E27FC236}">
                <a16:creationId xmlns:a16="http://schemas.microsoft.com/office/drawing/2014/main" id="{157AA336-093E-4B4A-9956-3CBE245C42C0}"/>
              </a:ext>
            </a:extLst>
          </p:cNvPr>
          <p:cNvSpPr txBox="1">
            <a:spLocks noChangeArrowheads="1"/>
          </p:cNvSpPr>
          <p:nvPr/>
        </p:nvSpPr>
        <p:spPr bwMode="auto">
          <a:xfrm flipH="1">
            <a:off x="8946702" y="1386313"/>
            <a:ext cx="815461"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Graphik Black"/>
                <a:ea typeface="+mn-ea"/>
                <a:cs typeface="+mn-cs"/>
              </a:rPr>
              <a:t>Graph 1</a:t>
            </a:r>
          </a:p>
        </p:txBody>
      </p:sp>
      <p:sp>
        <p:nvSpPr>
          <p:cNvPr id="29" name="Text Box 6">
            <a:extLst>
              <a:ext uri="{FF2B5EF4-FFF2-40B4-BE49-F238E27FC236}">
                <a16:creationId xmlns:a16="http://schemas.microsoft.com/office/drawing/2014/main" id="{AD936A07-0959-4E87-9A1C-F7658F0C122B}"/>
              </a:ext>
            </a:extLst>
          </p:cNvPr>
          <p:cNvSpPr txBox="1">
            <a:spLocks noChangeArrowheads="1"/>
          </p:cNvSpPr>
          <p:nvPr/>
        </p:nvSpPr>
        <p:spPr bwMode="auto">
          <a:xfrm flipH="1">
            <a:off x="8946702" y="2028831"/>
            <a:ext cx="845919"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Graphik Black"/>
                <a:ea typeface="+mn-ea"/>
                <a:cs typeface="+mn-cs"/>
              </a:rPr>
              <a:t>Graph 2</a:t>
            </a:r>
          </a:p>
        </p:txBody>
      </p:sp>
      <p:sp>
        <p:nvSpPr>
          <p:cNvPr id="30" name="Text Box 7">
            <a:extLst>
              <a:ext uri="{FF2B5EF4-FFF2-40B4-BE49-F238E27FC236}">
                <a16:creationId xmlns:a16="http://schemas.microsoft.com/office/drawing/2014/main" id="{7A6710CC-3F28-47BD-B5D3-50977911E071}"/>
              </a:ext>
            </a:extLst>
          </p:cNvPr>
          <p:cNvSpPr txBox="1">
            <a:spLocks noChangeArrowheads="1"/>
          </p:cNvSpPr>
          <p:nvPr/>
        </p:nvSpPr>
        <p:spPr bwMode="auto">
          <a:xfrm flipH="1">
            <a:off x="8946701" y="2683559"/>
            <a:ext cx="852331" cy="215444"/>
          </a:xfrm>
          <a:prstGeom prst="rect">
            <a:avLst/>
          </a:prstGeom>
          <a:noFill/>
          <a:ln w="6350">
            <a:noFill/>
            <a:miter lim="800000"/>
            <a:headEnd/>
            <a:tailEnd/>
          </a:ln>
          <a:effectLst/>
        </p:spPr>
        <p:txBody>
          <a:bodyPr wrap="none" lIns="72000" tIns="0" rIns="7200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sz="1400" b="0" i="0" u="none" strike="noStrike" kern="1200" spc="0" normalizeH="0" baseline="0" noProof="0" dirty="0">
                <a:ln>
                  <a:noFill/>
                </a:ln>
                <a:solidFill>
                  <a:srgbClr val="000000"/>
                </a:solidFill>
                <a:effectLst/>
                <a:uLnTx/>
                <a:uFillTx/>
                <a:latin typeface="Graphik Black"/>
                <a:ea typeface="+mn-ea"/>
                <a:cs typeface="+mn-cs"/>
              </a:rPr>
              <a:t>Graph 3</a:t>
            </a:r>
          </a:p>
        </p:txBody>
      </p:sp>
      <p:cxnSp>
        <p:nvCxnSpPr>
          <p:cNvPr id="31" name="Straight Connector 30">
            <a:extLst>
              <a:ext uri="{FF2B5EF4-FFF2-40B4-BE49-F238E27FC236}">
                <a16:creationId xmlns:a16="http://schemas.microsoft.com/office/drawing/2014/main" id="{28DCF63A-EA06-4EC6-BD99-9BB9614DC63E}"/>
              </a:ext>
            </a:extLst>
          </p:cNvPr>
          <p:cNvCxnSpPr/>
          <p:nvPr/>
        </p:nvCxnSpPr>
        <p:spPr bwMode="auto">
          <a:xfrm>
            <a:off x="4531608" y="1478646"/>
            <a:ext cx="4235003" cy="1"/>
          </a:xfrm>
          <a:prstGeom prst="line">
            <a:avLst/>
          </a:prstGeom>
          <a:noFill/>
          <a:ln w="6350" cap="flat" cmpd="sng" algn="ctr">
            <a:solidFill>
              <a:srgbClr val="96968C"/>
            </a:solidFill>
            <a:prstDash val="dash"/>
          </a:ln>
          <a:effectLst/>
        </p:spPr>
      </p:cxnSp>
      <p:cxnSp>
        <p:nvCxnSpPr>
          <p:cNvPr id="32" name="Straight Connector 31">
            <a:extLst>
              <a:ext uri="{FF2B5EF4-FFF2-40B4-BE49-F238E27FC236}">
                <a16:creationId xmlns:a16="http://schemas.microsoft.com/office/drawing/2014/main" id="{60A1B11A-26C9-439B-B42B-174BD9F9D132}"/>
              </a:ext>
            </a:extLst>
          </p:cNvPr>
          <p:cNvCxnSpPr/>
          <p:nvPr/>
        </p:nvCxnSpPr>
        <p:spPr bwMode="auto">
          <a:xfrm>
            <a:off x="4531608" y="2121164"/>
            <a:ext cx="4235003" cy="1"/>
          </a:xfrm>
          <a:prstGeom prst="line">
            <a:avLst/>
          </a:prstGeom>
          <a:noFill/>
          <a:ln w="6350" cap="flat" cmpd="sng" algn="ctr">
            <a:solidFill>
              <a:srgbClr val="96968C"/>
            </a:solidFill>
            <a:prstDash val="dash"/>
          </a:ln>
          <a:effectLst/>
        </p:spPr>
      </p:cxnSp>
      <p:cxnSp>
        <p:nvCxnSpPr>
          <p:cNvPr id="33" name="Straight Connector 32">
            <a:extLst>
              <a:ext uri="{FF2B5EF4-FFF2-40B4-BE49-F238E27FC236}">
                <a16:creationId xmlns:a16="http://schemas.microsoft.com/office/drawing/2014/main" id="{B50D0B00-9E0A-43BA-B47A-C364DA40EF76}"/>
              </a:ext>
            </a:extLst>
          </p:cNvPr>
          <p:cNvCxnSpPr/>
          <p:nvPr/>
        </p:nvCxnSpPr>
        <p:spPr bwMode="auto">
          <a:xfrm>
            <a:off x="4531608" y="2763683"/>
            <a:ext cx="4235003" cy="0"/>
          </a:xfrm>
          <a:prstGeom prst="line">
            <a:avLst/>
          </a:prstGeom>
          <a:noFill/>
          <a:ln w="6350" cap="flat" cmpd="sng" algn="ctr">
            <a:solidFill>
              <a:srgbClr val="96968C"/>
            </a:solidFill>
            <a:prstDash val="dash"/>
          </a:ln>
          <a:effectLst/>
        </p:spPr>
      </p:cxnSp>
      <p:sp>
        <p:nvSpPr>
          <p:cNvPr id="3" name="Rectangle 2">
            <a:hlinkClick r:id="rId3" action="ppaction://hlinksldjump"/>
            <a:extLst>
              <a:ext uri="{FF2B5EF4-FFF2-40B4-BE49-F238E27FC236}">
                <a16:creationId xmlns:a16="http://schemas.microsoft.com/office/drawing/2014/main" id="{12B67D43-A437-41E9-9EFA-8AC2D665C4B0}"/>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52573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AU" dirty="0"/>
              <a:t>Multilayer Chart</a:t>
            </a:r>
            <a:endParaRPr lang="en-US" dirty="0"/>
          </a:p>
        </p:txBody>
      </p:sp>
      <p:sp>
        <p:nvSpPr>
          <p:cNvPr id="21" name="Freeform: Shape 20">
            <a:hlinkClick r:id="rId3" action="ppaction://hlinksldjump"/>
            <a:extLst>
              <a:ext uri="{FF2B5EF4-FFF2-40B4-BE49-F238E27FC236}">
                <a16:creationId xmlns:a16="http://schemas.microsoft.com/office/drawing/2014/main" id="{9B3E91C7-734A-4957-B9D9-8D519FE5A1EC}"/>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3D0C9C0E-04DB-48B5-81EC-126F0D22A087}"/>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14" name="Chart Placeholder 10">
            <a:extLst>
              <a:ext uri="{FF2B5EF4-FFF2-40B4-BE49-F238E27FC236}">
                <a16:creationId xmlns:a16="http://schemas.microsoft.com/office/drawing/2014/main" id="{8CD5D171-E510-441C-A044-9156F85771C4}"/>
              </a:ext>
            </a:extLst>
          </p:cNvPr>
          <p:cNvGraphicFramePr>
            <a:graphicFrameLocks/>
          </p:cNvGraphicFramePr>
          <p:nvPr>
            <p:extLst>
              <p:ext uri="{D42A27DB-BD31-4B8C-83A1-F6EECF244321}">
                <p14:modId xmlns:p14="http://schemas.microsoft.com/office/powerpoint/2010/main" val="402044292"/>
              </p:ext>
            </p:extLst>
          </p:nvPr>
        </p:nvGraphicFramePr>
        <p:xfrm>
          <a:off x="344488" y="1574142"/>
          <a:ext cx="11510962" cy="42941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5113981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AU" dirty="0"/>
              <a:t>Multilayer Doughnut Chart</a:t>
            </a:r>
            <a:endParaRPr lang="en-US" dirty="0"/>
          </a:p>
        </p:txBody>
      </p:sp>
      <p:sp>
        <p:nvSpPr>
          <p:cNvPr id="21" name="Freeform: Shape 20">
            <a:hlinkClick r:id="rId3" action="ppaction://hlinksldjump"/>
            <a:extLst>
              <a:ext uri="{FF2B5EF4-FFF2-40B4-BE49-F238E27FC236}">
                <a16:creationId xmlns:a16="http://schemas.microsoft.com/office/drawing/2014/main" id="{9B3E91C7-734A-4957-B9D9-8D519FE5A1EC}"/>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2">
            <a:hlinkClick r:id="rId3" action="ppaction://hlinksldjump"/>
            <a:extLst>
              <a:ext uri="{FF2B5EF4-FFF2-40B4-BE49-F238E27FC236}">
                <a16:creationId xmlns:a16="http://schemas.microsoft.com/office/drawing/2014/main" id="{BC1CD7A6-6D84-471A-87E0-720A3CB6DB05}"/>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13" name="Chart Placeholder 13">
            <a:extLst>
              <a:ext uri="{FF2B5EF4-FFF2-40B4-BE49-F238E27FC236}">
                <a16:creationId xmlns:a16="http://schemas.microsoft.com/office/drawing/2014/main" id="{FD37ACF4-3E50-453F-927C-DFA36D009B9B}"/>
              </a:ext>
            </a:extLst>
          </p:cNvPr>
          <p:cNvGraphicFramePr>
            <a:graphicFrameLocks/>
          </p:cNvGraphicFramePr>
          <p:nvPr>
            <p:extLst>
              <p:ext uri="{D42A27DB-BD31-4B8C-83A1-F6EECF244321}">
                <p14:modId xmlns:p14="http://schemas.microsoft.com/office/powerpoint/2010/main" val="574039664"/>
              </p:ext>
            </p:extLst>
          </p:nvPr>
        </p:nvGraphicFramePr>
        <p:xfrm>
          <a:off x="344488" y="1623303"/>
          <a:ext cx="11510962" cy="4434598"/>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D912CDEA-A023-4FB1-A61A-9B22A43C56E3}"/>
              </a:ext>
            </a:extLst>
          </p:cNvPr>
          <p:cNvSpPr txBox="1"/>
          <p:nvPr/>
        </p:nvSpPr>
        <p:spPr>
          <a:xfrm>
            <a:off x="6018770" y="5508927"/>
            <a:ext cx="2141334" cy="140411"/>
          </a:xfrm>
          <a:prstGeom prst="rect">
            <a:avLst/>
          </a:prstGeom>
        </p:spPr>
        <p:txBody>
          <a:bodyPr vert="horz" wrap="square" lIns="0" tIns="0" rIns="0" bIns="0" rtlCol="0" anchor="ctr" anchorCtr="0">
            <a:noAutofit/>
          </a:bodyPr>
          <a:lstStyle/>
          <a:p>
            <a:r>
              <a:rPr lang="en-US" sz="1400" b="1" dirty="0">
                <a:solidFill>
                  <a:schemeClr val="accent4"/>
                </a:solidFill>
                <a:latin typeface="+mj-lt"/>
              </a:rPr>
              <a:t>Name 2</a:t>
            </a:r>
          </a:p>
        </p:txBody>
      </p:sp>
      <p:sp>
        <p:nvSpPr>
          <p:cNvPr id="17" name="TextBox 16">
            <a:extLst>
              <a:ext uri="{FF2B5EF4-FFF2-40B4-BE49-F238E27FC236}">
                <a16:creationId xmlns:a16="http://schemas.microsoft.com/office/drawing/2014/main" id="{D11438D1-375F-4A06-A351-C233236B80ED}"/>
              </a:ext>
            </a:extLst>
          </p:cNvPr>
          <p:cNvSpPr txBox="1"/>
          <p:nvPr/>
        </p:nvSpPr>
        <p:spPr>
          <a:xfrm>
            <a:off x="7897457" y="2395736"/>
            <a:ext cx="1371600" cy="140411"/>
          </a:xfrm>
          <a:prstGeom prst="rect">
            <a:avLst/>
          </a:prstGeom>
        </p:spPr>
        <p:txBody>
          <a:bodyPr vert="horz" wrap="square" lIns="0" tIns="0" rIns="0" bIns="0" rtlCol="0" anchor="ctr" anchorCtr="0">
            <a:noAutofit/>
          </a:bodyPr>
          <a:lstStyle/>
          <a:p>
            <a:r>
              <a:rPr lang="en-US" sz="1400" b="1" dirty="0">
                <a:solidFill>
                  <a:schemeClr val="accent1"/>
                </a:solidFill>
                <a:latin typeface="+mj-lt"/>
              </a:rPr>
              <a:t>Name 1</a:t>
            </a:r>
          </a:p>
        </p:txBody>
      </p:sp>
      <p:sp>
        <p:nvSpPr>
          <p:cNvPr id="18" name="TextBox 17">
            <a:extLst>
              <a:ext uri="{FF2B5EF4-FFF2-40B4-BE49-F238E27FC236}">
                <a16:creationId xmlns:a16="http://schemas.microsoft.com/office/drawing/2014/main" id="{16AEBBE9-4A8B-48F9-8FA4-D64361C0AFA4}"/>
              </a:ext>
            </a:extLst>
          </p:cNvPr>
          <p:cNvSpPr txBox="1"/>
          <p:nvPr/>
        </p:nvSpPr>
        <p:spPr>
          <a:xfrm>
            <a:off x="4293275" y="1389838"/>
            <a:ext cx="1371600" cy="140411"/>
          </a:xfrm>
          <a:prstGeom prst="rect">
            <a:avLst/>
          </a:prstGeom>
        </p:spPr>
        <p:txBody>
          <a:bodyPr vert="horz" wrap="square" lIns="0" tIns="0" rIns="0" bIns="0" rtlCol="0" anchor="ctr" anchorCtr="0">
            <a:noAutofit/>
          </a:bodyPr>
          <a:lstStyle/>
          <a:p>
            <a:pPr algn="r"/>
            <a:r>
              <a:rPr lang="en-US" sz="1400" b="1" dirty="0">
                <a:solidFill>
                  <a:schemeClr val="accent6"/>
                </a:solidFill>
                <a:latin typeface="+mj-lt"/>
              </a:rPr>
              <a:t>Name 4</a:t>
            </a:r>
          </a:p>
        </p:txBody>
      </p:sp>
      <p:sp>
        <p:nvSpPr>
          <p:cNvPr id="19" name="TextBox 18">
            <a:extLst>
              <a:ext uri="{FF2B5EF4-FFF2-40B4-BE49-F238E27FC236}">
                <a16:creationId xmlns:a16="http://schemas.microsoft.com/office/drawing/2014/main" id="{F59671AA-4480-4928-ADE7-9D6A025B80A6}"/>
              </a:ext>
            </a:extLst>
          </p:cNvPr>
          <p:cNvSpPr txBox="1"/>
          <p:nvPr/>
        </p:nvSpPr>
        <p:spPr>
          <a:xfrm>
            <a:off x="2684835" y="3041985"/>
            <a:ext cx="1371600" cy="140411"/>
          </a:xfrm>
          <a:prstGeom prst="rect">
            <a:avLst/>
          </a:prstGeom>
        </p:spPr>
        <p:txBody>
          <a:bodyPr vert="horz" wrap="square" lIns="0" tIns="0" rIns="0" bIns="0" rtlCol="0" anchor="ctr" anchorCtr="0">
            <a:noAutofit/>
          </a:bodyPr>
          <a:lstStyle/>
          <a:p>
            <a:pPr algn="r"/>
            <a:r>
              <a:rPr lang="en-US" sz="1400" b="1" dirty="0">
                <a:solidFill>
                  <a:schemeClr val="accent3"/>
                </a:solidFill>
                <a:latin typeface="+mj-lt"/>
              </a:rPr>
              <a:t>Name 3</a:t>
            </a:r>
          </a:p>
        </p:txBody>
      </p:sp>
    </p:spTree>
    <p:extLst>
      <p:ext uri="{BB962C8B-B14F-4D97-AF65-F5344CB8AC3E}">
        <p14:creationId xmlns:p14="http://schemas.microsoft.com/office/powerpoint/2010/main" val="359839931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69BB688-54F2-4A4E-B6B5-CCD098A2A895}"/>
              </a:ext>
            </a:extLst>
          </p:cNvPr>
          <p:cNvSpPr>
            <a:spLocks noGrp="1"/>
          </p:cNvSpPr>
          <p:nvPr>
            <p:ph type="body" sz="quarter" idx="15"/>
          </p:nvPr>
        </p:nvSpPr>
        <p:spPr/>
        <p:txBody>
          <a:bodyPr/>
          <a:lstStyle/>
          <a:p>
            <a:r>
              <a:rPr lang="en-US" dirty="0"/>
              <a:t>Part of </a:t>
            </a:r>
            <a:r>
              <a:rPr lang="en-US" dirty="0">
                <a:hlinkClick r:id="rId3" action="ppaction://hlinksldjump">
                  <a:extLst>
                    <a:ext uri="{A12FA001-AC4F-418D-AE19-62706E023703}">
                      <ahyp:hlinkClr xmlns:ahyp="http://schemas.microsoft.com/office/drawing/2018/hyperlinkcolor" val="tx"/>
                    </a:ext>
                  </a:extLst>
                </a:hlinkClick>
              </a:rPr>
              <a:t>Charts</a:t>
            </a:r>
            <a:endParaRPr lang="en-US" dirty="0"/>
          </a:p>
        </p:txBody>
      </p:sp>
      <p:sp>
        <p:nvSpPr>
          <p:cNvPr id="4" name="Title 3">
            <a:extLst>
              <a:ext uri="{FF2B5EF4-FFF2-40B4-BE49-F238E27FC236}">
                <a16:creationId xmlns:a16="http://schemas.microsoft.com/office/drawing/2014/main" id="{038EB5BC-DB98-468F-B7DB-CE6C9CF5398F}"/>
              </a:ext>
            </a:extLst>
          </p:cNvPr>
          <p:cNvSpPr>
            <a:spLocks noGrp="1"/>
          </p:cNvSpPr>
          <p:nvPr>
            <p:ph type="title"/>
          </p:nvPr>
        </p:nvSpPr>
        <p:spPr/>
        <p:txBody>
          <a:bodyPr/>
          <a:lstStyle/>
          <a:p>
            <a:r>
              <a:rPr lang="en-US" dirty="0"/>
              <a:t>Line and Other Charts</a:t>
            </a:r>
          </a:p>
        </p:txBody>
      </p:sp>
      <p:sp>
        <p:nvSpPr>
          <p:cNvPr id="8" name="Freeform: Shape 7">
            <a:hlinkClick r:id="rId4" action="ppaction://hlinksldjump"/>
            <a:extLst>
              <a:ext uri="{FF2B5EF4-FFF2-40B4-BE49-F238E27FC236}">
                <a16:creationId xmlns:a16="http://schemas.microsoft.com/office/drawing/2014/main" id="{D52A01C4-C5B7-4423-AD3C-88D9B6D93629}"/>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Rectangle 1">
            <a:hlinkClick r:id="rId4" action="ppaction://hlinksldjump"/>
            <a:extLst>
              <a:ext uri="{FF2B5EF4-FFF2-40B4-BE49-F238E27FC236}">
                <a16:creationId xmlns:a16="http://schemas.microsoft.com/office/drawing/2014/main" id="{E2C91BC5-3E27-47F8-B44A-D5D002BC6E92}"/>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6891552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A1BFB-AA33-4436-B9C3-A546758AFDE4}"/>
              </a:ext>
            </a:extLst>
          </p:cNvPr>
          <p:cNvSpPr>
            <a:spLocks noGrp="1"/>
          </p:cNvSpPr>
          <p:nvPr>
            <p:ph type="title"/>
          </p:nvPr>
        </p:nvSpPr>
        <p:spPr/>
        <p:txBody>
          <a:bodyPr/>
          <a:lstStyle/>
          <a:p>
            <a:r>
              <a:rPr lang="en-US" dirty="0"/>
              <a:t>Line Chart</a:t>
            </a:r>
          </a:p>
        </p:txBody>
      </p:sp>
      <p:sp>
        <p:nvSpPr>
          <p:cNvPr id="21" name="Freeform: Shape 20">
            <a:hlinkClick r:id="rId3" action="ppaction://hlinksldjump"/>
            <a:extLst>
              <a:ext uri="{FF2B5EF4-FFF2-40B4-BE49-F238E27FC236}">
                <a16:creationId xmlns:a16="http://schemas.microsoft.com/office/drawing/2014/main" id="{9B3E91C7-734A-4957-B9D9-8D519FE5A1EC}"/>
              </a:ext>
            </a:extLst>
          </p:cNvPr>
          <p:cNvSpPr>
            <a:spLocks/>
          </p:cNvSpPr>
          <p:nvPr/>
        </p:nvSpPr>
        <p:spPr bwMode="auto">
          <a:xfrm>
            <a:off x="11521920" y="381633"/>
            <a:ext cx="288446" cy="276566"/>
          </a:xfrm>
          <a:custGeom>
            <a:avLst/>
            <a:gdLst>
              <a:gd name="connsiteX0" fmla="*/ 41982 w 288446"/>
              <a:gd name="connsiteY0" fmla="*/ 144527 h 276566"/>
              <a:gd name="connsiteX1" fmla="*/ 47891 w 288446"/>
              <a:gd name="connsiteY1" fmla="*/ 150452 h 276566"/>
              <a:gd name="connsiteX2" fmla="*/ 47891 w 288446"/>
              <a:gd name="connsiteY2" fmla="*/ 264716 h 276566"/>
              <a:gd name="connsiteX3" fmla="*/ 108669 w 288446"/>
              <a:gd name="connsiteY3" fmla="*/ 264716 h 276566"/>
              <a:gd name="connsiteX4" fmla="*/ 108669 w 288446"/>
              <a:gd name="connsiteY4" fmla="*/ 186847 h 276566"/>
              <a:gd name="connsiteX5" fmla="*/ 114578 w 288446"/>
              <a:gd name="connsiteY5" fmla="*/ 180076 h 276566"/>
              <a:gd name="connsiteX6" fmla="*/ 174513 w 288446"/>
              <a:gd name="connsiteY6" fmla="*/ 180076 h 276566"/>
              <a:gd name="connsiteX7" fmla="*/ 180422 w 288446"/>
              <a:gd name="connsiteY7" fmla="*/ 186847 h 276566"/>
              <a:gd name="connsiteX8" fmla="*/ 180422 w 288446"/>
              <a:gd name="connsiteY8" fmla="*/ 264716 h 276566"/>
              <a:gd name="connsiteX9" fmla="*/ 240356 w 288446"/>
              <a:gd name="connsiteY9" fmla="*/ 264716 h 276566"/>
              <a:gd name="connsiteX10" fmla="*/ 240356 w 288446"/>
              <a:gd name="connsiteY10" fmla="*/ 156377 h 276566"/>
              <a:gd name="connsiteX11" fmla="*/ 246265 w 288446"/>
              <a:gd name="connsiteY11" fmla="*/ 150452 h 276566"/>
              <a:gd name="connsiteX12" fmla="*/ 252174 w 288446"/>
              <a:gd name="connsiteY12" fmla="*/ 156377 h 276566"/>
              <a:gd name="connsiteX13" fmla="*/ 252174 w 288446"/>
              <a:gd name="connsiteY13" fmla="*/ 270641 h 276566"/>
              <a:gd name="connsiteX14" fmla="*/ 246265 w 288446"/>
              <a:gd name="connsiteY14" fmla="*/ 276566 h 276566"/>
              <a:gd name="connsiteX15" fmla="*/ 174513 w 288446"/>
              <a:gd name="connsiteY15" fmla="*/ 276566 h 276566"/>
              <a:gd name="connsiteX16" fmla="*/ 168604 w 288446"/>
              <a:gd name="connsiteY16" fmla="*/ 270641 h 276566"/>
              <a:gd name="connsiteX17" fmla="*/ 168604 w 288446"/>
              <a:gd name="connsiteY17" fmla="*/ 192772 h 276566"/>
              <a:gd name="connsiteX18" fmla="*/ 120487 w 288446"/>
              <a:gd name="connsiteY18" fmla="*/ 192772 h 276566"/>
              <a:gd name="connsiteX19" fmla="*/ 120487 w 288446"/>
              <a:gd name="connsiteY19" fmla="*/ 270641 h 276566"/>
              <a:gd name="connsiteX20" fmla="*/ 114578 w 288446"/>
              <a:gd name="connsiteY20" fmla="*/ 276566 h 276566"/>
              <a:gd name="connsiteX21" fmla="*/ 41982 w 288446"/>
              <a:gd name="connsiteY21" fmla="*/ 276566 h 276566"/>
              <a:gd name="connsiteX22" fmla="*/ 36073 w 288446"/>
              <a:gd name="connsiteY22" fmla="*/ 270641 h 276566"/>
              <a:gd name="connsiteX23" fmla="*/ 36073 w 288446"/>
              <a:gd name="connsiteY23" fmla="*/ 150452 h 276566"/>
              <a:gd name="connsiteX24" fmla="*/ 41982 w 288446"/>
              <a:gd name="connsiteY24" fmla="*/ 144527 h 276566"/>
              <a:gd name="connsiteX25" fmla="*/ 192074 w 288446"/>
              <a:gd name="connsiteY25" fmla="*/ 12078 h 276566"/>
              <a:gd name="connsiteX26" fmla="*/ 234362 w 288446"/>
              <a:gd name="connsiteY26" fmla="*/ 12078 h 276566"/>
              <a:gd name="connsiteX27" fmla="*/ 240282 w 288446"/>
              <a:gd name="connsiteY27" fmla="*/ 17998 h 276566"/>
              <a:gd name="connsiteX28" fmla="*/ 240282 w 288446"/>
              <a:gd name="connsiteY28" fmla="*/ 60286 h 276566"/>
              <a:gd name="connsiteX29" fmla="*/ 234362 w 288446"/>
              <a:gd name="connsiteY29" fmla="*/ 66206 h 276566"/>
              <a:gd name="connsiteX30" fmla="*/ 228441 w 288446"/>
              <a:gd name="connsiteY30" fmla="*/ 60286 h 276566"/>
              <a:gd name="connsiteX31" fmla="*/ 228441 w 288446"/>
              <a:gd name="connsiteY31" fmla="*/ 23918 h 276566"/>
              <a:gd name="connsiteX32" fmla="*/ 192074 w 288446"/>
              <a:gd name="connsiteY32" fmla="*/ 23918 h 276566"/>
              <a:gd name="connsiteX33" fmla="*/ 186154 w 288446"/>
              <a:gd name="connsiteY33" fmla="*/ 17998 h 276566"/>
              <a:gd name="connsiteX34" fmla="*/ 192074 w 288446"/>
              <a:gd name="connsiteY34" fmla="*/ 12078 h 276566"/>
              <a:gd name="connsiteX35" fmla="*/ 139686 w 288446"/>
              <a:gd name="connsiteY35" fmla="*/ 1902 h 276566"/>
              <a:gd name="connsiteX36" fmla="*/ 148127 w 288446"/>
              <a:gd name="connsiteY36" fmla="*/ 1902 h 276566"/>
              <a:gd name="connsiteX37" fmla="*/ 286547 w 288446"/>
              <a:gd name="connsiteY37" fmla="*/ 140511 h 276566"/>
              <a:gd name="connsiteX38" fmla="*/ 286547 w 288446"/>
              <a:gd name="connsiteY38" fmla="*/ 148963 h 276566"/>
              <a:gd name="connsiteX39" fmla="*/ 282327 w 288446"/>
              <a:gd name="connsiteY39" fmla="*/ 150653 h 276566"/>
              <a:gd name="connsiteX40" fmla="*/ 278107 w 288446"/>
              <a:gd name="connsiteY40" fmla="*/ 148963 h 276566"/>
              <a:gd name="connsiteX41" fmla="*/ 143906 w 288446"/>
              <a:gd name="connsiteY41" fmla="*/ 14579 h 276566"/>
              <a:gd name="connsiteX42" fmla="*/ 10550 w 288446"/>
              <a:gd name="connsiteY42" fmla="*/ 148963 h 276566"/>
              <a:gd name="connsiteX43" fmla="*/ 1266 w 288446"/>
              <a:gd name="connsiteY43" fmla="*/ 148963 h 276566"/>
              <a:gd name="connsiteX44" fmla="*/ 1266 w 288446"/>
              <a:gd name="connsiteY44" fmla="*/ 140511 h 276566"/>
              <a:gd name="connsiteX45" fmla="*/ 139686 w 288446"/>
              <a:gd name="connsiteY45" fmla="*/ 1902 h 27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8446" h="276566">
                <a:moveTo>
                  <a:pt x="41982" y="144527"/>
                </a:moveTo>
                <a:cubicBezTo>
                  <a:pt x="45359" y="144527"/>
                  <a:pt x="47891" y="147066"/>
                  <a:pt x="47891" y="150452"/>
                </a:cubicBezTo>
                <a:cubicBezTo>
                  <a:pt x="47891" y="150452"/>
                  <a:pt x="47891" y="150452"/>
                  <a:pt x="47891" y="264716"/>
                </a:cubicBezTo>
                <a:cubicBezTo>
                  <a:pt x="47891" y="264716"/>
                  <a:pt x="47891" y="264716"/>
                  <a:pt x="108669" y="264716"/>
                </a:cubicBezTo>
                <a:cubicBezTo>
                  <a:pt x="108669" y="264716"/>
                  <a:pt x="108669" y="264716"/>
                  <a:pt x="108669" y="186847"/>
                </a:cubicBezTo>
                <a:cubicBezTo>
                  <a:pt x="108669" y="183462"/>
                  <a:pt x="111202" y="180076"/>
                  <a:pt x="114578" y="180076"/>
                </a:cubicBezTo>
                <a:cubicBezTo>
                  <a:pt x="114578" y="180076"/>
                  <a:pt x="114578" y="180076"/>
                  <a:pt x="174513" y="180076"/>
                </a:cubicBezTo>
                <a:cubicBezTo>
                  <a:pt x="177889" y="180076"/>
                  <a:pt x="180422" y="183462"/>
                  <a:pt x="180422" y="186847"/>
                </a:cubicBezTo>
                <a:cubicBezTo>
                  <a:pt x="180422" y="186847"/>
                  <a:pt x="180422" y="186847"/>
                  <a:pt x="180422" y="264716"/>
                </a:cubicBezTo>
                <a:cubicBezTo>
                  <a:pt x="180422" y="264716"/>
                  <a:pt x="180422" y="264716"/>
                  <a:pt x="240356" y="264716"/>
                </a:cubicBezTo>
                <a:cubicBezTo>
                  <a:pt x="240356" y="264716"/>
                  <a:pt x="240356" y="264716"/>
                  <a:pt x="240356" y="156377"/>
                </a:cubicBezTo>
                <a:cubicBezTo>
                  <a:pt x="240356" y="152991"/>
                  <a:pt x="242888" y="150452"/>
                  <a:pt x="246265" y="150452"/>
                </a:cubicBezTo>
                <a:cubicBezTo>
                  <a:pt x="249642" y="150452"/>
                  <a:pt x="252174" y="152991"/>
                  <a:pt x="252174" y="156377"/>
                </a:cubicBezTo>
                <a:cubicBezTo>
                  <a:pt x="252174" y="156377"/>
                  <a:pt x="252174" y="156377"/>
                  <a:pt x="252174" y="270641"/>
                </a:cubicBezTo>
                <a:cubicBezTo>
                  <a:pt x="252174" y="274027"/>
                  <a:pt x="249642" y="276566"/>
                  <a:pt x="246265" y="276566"/>
                </a:cubicBezTo>
                <a:cubicBezTo>
                  <a:pt x="246265" y="276566"/>
                  <a:pt x="246265" y="276566"/>
                  <a:pt x="174513" y="276566"/>
                </a:cubicBezTo>
                <a:cubicBezTo>
                  <a:pt x="171136" y="276566"/>
                  <a:pt x="168604" y="274027"/>
                  <a:pt x="168604" y="270641"/>
                </a:cubicBezTo>
                <a:cubicBezTo>
                  <a:pt x="168604" y="270641"/>
                  <a:pt x="168604" y="270641"/>
                  <a:pt x="168604" y="192772"/>
                </a:cubicBezTo>
                <a:cubicBezTo>
                  <a:pt x="168604" y="192772"/>
                  <a:pt x="168604" y="192772"/>
                  <a:pt x="120487" y="192772"/>
                </a:cubicBezTo>
                <a:cubicBezTo>
                  <a:pt x="120487" y="192772"/>
                  <a:pt x="120487" y="192772"/>
                  <a:pt x="120487" y="270641"/>
                </a:cubicBezTo>
                <a:cubicBezTo>
                  <a:pt x="120487" y="274027"/>
                  <a:pt x="117955" y="276566"/>
                  <a:pt x="114578" y="276566"/>
                </a:cubicBezTo>
                <a:cubicBezTo>
                  <a:pt x="114578" y="276566"/>
                  <a:pt x="114578" y="276566"/>
                  <a:pt x="41982" y="276566"/>
                </a:cubicBezTo>
                <a:cubicBezTo>
                  <a:pt x="38605" y="276566"/>
                  <a:pt x="36073" y="274027"/>
                  <a:pt x="36073" y="270641"/>
                </a:cubicBezTo>
                <a:cubicBezTo>
                  <a:pt x="36073" y="270641"/>
                  <a:pt x="36073" y="270641"/>
                  <a:pt x="36073" y="150452"/>
                </a:cubicBezTo>
                <a:cubicBezTo>
                  <a:pt x="36073" y="147066"/>
                  <a:pt x="38605" y="144527"/>
                  <a:pt x="41982" y="144527"/>
                </a:cubicBezTo>
                <a:close/>
                <a:moveTo>
                  <a:pt x="192074" y="12078"/>
                </a:moveTo>
                <a:cubicBezTo>
                  <a:pt x="192074" y="12078"/>
                  <a:pt x="192074" y="12078"/>
                  <a:pt x="234362" y="12078"/>
                </a:cubicBezTo>
                <a:cubicBezTo>
                  <a:pt x="237745" y="12078"/>
                  <a:pt x="240282" y="14615"/>
                  <a:pt x="240282" y="17998"/>
                </a:cubicBezTo>
                <a:cubicBezTo>
                  <a:pt x="240282" y="17998"/>
                  <a:pt x="240282" y="17998"/>
                  <a:pt x="240282" y="60286"/>
                </a:cubicBezTo>
                <a:cubicBezTo>
                  <a:pt x="240282" y="63669"/>
                  <a:pt x="237745" y="66206"/>
                  <a:pt x="234362" y="66206"/>
                </a:cubicBezTo>
                <a:cubicBezTo>
                  <a:pt x="230979" y="66206"/>
                  <a:pt x="228441" y="63669"/>
                  <a:pt x="228441" y="60286"/>
                </a:cubicBezTo>
                <a:cubicBezTo>
                  <a:pt x="228441" y="60286"/>
                  <a:pt x="228441" y="60286"/>
                  <a:pt x="228441" y="23918"/>
                </a:cubicBezTo>
                <a:cubicBezTo>
                  <a:pt x="228441" y="23918"/>
                  <a:pt x="228441" y="23918"/>
                  <a:pt x="192074" y="23918"/>
                </a:cubicBezTo>
                <a:cubicBezTo>
                  <a:pt x="188691" y="23918"/>
                  <a:pt x="186154" y="21381"/>
                  <a:pt x="186154" y="17998"/>
                </a:cubicBezTo>
                <a:cubicBezTo>
                  <a:pt x="186154" y="14615"/>
                  <a:pt x="188691" y="12078"/>
                  <a:pt x="192074" y="12078"/>
                </a:cubicBezTo>
                <a:close/>
                <a:moveTo>
                  <a:pt x="139686" y="1902"/>
                </a:moveTo>
                <a:cubicBezTo>
                  <a:pt x="142218" y="-634"/>
                  <a:pt x="145595" y="-634"/>
                  <a:pt x="148127" y="1902"/>
                </a:cubicBezTo>
                <a:cubicBezTo>
                  <a:pt x="148127" y="1902"/>
                  <a:pt x="148127" y="1902"/>
                  <a:pt x="286547" y="140511"/>
                </a:cubicBezTo>
                <a:cubicBezTo>
                  <a:pt x="289079" y="142201"/>
                  <a:pt x="289079" y="146427"/>
                  <a:pt x="286547" y="148963"/>
                </a:cubicBezTo>
                <a:cubicBezTo>
                  <a:pt x="285703" y="149808"/>
                  <a:pt x="284015" y="150653"/>
                  <a:pt x="282327" y="150653"/>
                </a:cubicBezTo>
                <a:cubicBezTo>
                  <a:pt x="280639" y="150653"/>
                  <a:pt x="278951" y="149808"/>
                  <a:pt x="278107" y="148963"/>
                </a:cubicBezTo>
                <a:cubicBezTo>
                  <a:pt x="278107" y="148963"/>
                  <a:pt x="278107" y="148963"/>
                  <a:pt x="143906" y="14579"/>
                </a:cubicBezTo>
                <a:cubicBezTo>
                  <a:pt x="143906" y="14579"/>
                  <a:pt x="143906" y="14579"/>
                  <a:pt x="10550" y="148963"/>
                </a:cubicBezTo>
                <a:cubicBezTo>
                  <a:pt x="8018" y="151498"/>
                  <a:pt x="3798" y="151498"/>
                  <a:pt x="1266" y="148963"/>
                </a:cubicBezTo>
                <a:cubicBezTo>
                  <a:pt x="-422" y="146427"/>
                  <a:pt x="-422" y="142201"/>
                  <a:pt x="1266" y="140511"/>
                </a:cubicBezTo>
                <a:cubicBezTo>
                  <a:pt x="1266" y="140511"/>
                  <a:pt x="1266" y="140511"/>
                  <a:pt x="139686" y="190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3" name="Rectangle 3">
            <a:extLst>
              <a:ext uri="{FF2B5EF4-FFF2-40B4-BE49-F238E27FC236}">
                <a16:creationId xmlns:a16="http://schemas.microsoft.com/office/drawing/2014/main" id="{81B63E79-9B9B-4DC4-8F6F-E65C15A7195D}"/>
              </a:ext>
            </a:extLst>
          </p:cNvPr>
          <p:cNvSpPr>
            <a:spLocks noChangeArrowheads="1"/>
          </p:cNvSpPr>
          <p:nvPr/>
        </p:nvSpPr>
        <p:spPr bwMode="auto">
          <a:xfrm>
            <a:off x="381000" y="5170487"/>
            <a:ext cx="4780560" cy="1090143"/>
          </a:xfrm>
          <a:prstGeom prst="rect">
            <a:avLst/>
          </a:prstGeom>
          <a:solidFill>
            <a:schemeClr val="bg1">
              <a:lumMod val="95000"/>
            </a:schemeClr>
          </a:solidFill>
          <a:ln w="3175">
            <a:noFill/>
            <a:miter lim="800000"/>
            <a:headEnd/>
            <a:tailEnd/>
          </a:ln>
          <a:effectLst/>
        </p:spPr>
        <p:txBody>
          <a:bodyPr wrap="square" lIns="108000" tIns="108000" rIns="72000" bIns="108000" anchor="t" anchorCtr="0">
            <a:spAutoFit/>
          </a:bodyPr>
          <a:lstStyle/>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1" i="0" u="none" strike="noStrike" kern="1200" cap="none" spc="0" normalizeH="0" baseline="0" noProof="0" dirty="0">
                <a:ln>
                  <a:noFill/>
                </a:ln>
                <a:solidFill>
                  <a:srgbClr val="000000"/>
                </a:solidFill>
                <a:effectLst/>
                <a:uLnTx/>
                <a:uFillTx/>
                <a:latin typeface="Graphik"/>
                <a:ea typeface="+mn-ea"/>
                <a:cs typeface="+mn-cs"/>
              </a:rPr>
              <a:t>Hints:</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1	Insert columns/rows as required (each line will adopt a different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2	Double-click on a line to change the color</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3	Edit the y-axis label manually</a:t>
            </a:r>
          </a:p>
          <a:p>
            <a:pPr marL="144000" marR="0" lvl="0" indent="-144000" algn="l" defTabSz="914400" rtl="0" eaLnBrk="1" fontAlgn="auto" latinLnBrk="0" hangingPunct="1">
              <a:lnSpc>
                <a:spcPct val="100000"/>
              </a:lnSpc>
              <a:spcBef>
                <a:spcPts val="100"/>
              </a:spcBef>
              <a:spcAft>
                <a:spcPts val="10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4	Edit the labels manually</a:t>
            </a:r>
          </a:p>
        </p:txBody>
      </p:sp>
      <p:sp>
        <p:nvSpPr>
          <p:cNvPr id="4" name="Rectangle 3">
            <a:hlinkClick r:id="rId3" action="ppaction://hlinksldjump"/>
            <a:extLst>
              <a:ext uri="{FF2B5EF4-FFF2-40B4-BE49-F238E27FC236}">
                <a16:creationId xmlns:a16="http://schemas.microsoft.com/office/drawing/2014/main" id="{45CD1246-8540-4C3C-8465-36EE17CCA87B}"/>
              </a:ext>
            </a:extLst>
          </p:cNvPr>
          <p:cNvSpPr/>
          <p:nvPr/>
        </p:nvSpPr>
        <p:spPr>
          <a:xfrm>
            <a:off x="11521920" y="381000"/>
            <a:ext cx="288446" cy="277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ct 2">
            <a:extLst>
              <a:ext uri="{FF2B5EF4-FFF2-40B4-BE49-F238E27FC236}">
                <a16:creationId xmlns:a16="http://schemas.microsoft.com/office/drawing/2014/main" id="{17A49E1F-C042-4A1B-AA6D-B396812F1E17}"/>
              </a:ext>
            </a:extLst>
          </p:cNvPr>
          <p:cNvGraphicFramePr>
            <a:graphicFrameLocks/>
          </p:cNvGraphicFramePr>
          <p:nvPr>
            <p:extLst>
              <p:ext uri="{D42A27DB-BD31-4B8C-83A1-F6EECF244321}">
                <p14:modId xmlns:p14="http://schemas.microsoft.com/office/powerpoint/2010/main" val="4261974812"/>
              </p:ext>
            </p:extLst>
          </p:nvPr>
        </p:nvGraphicFramePr>
        <p:xfrm>
          <a:off x="381000" y="876300"/>
          <a:ext cx="11437938" cy="406227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301663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cutu9MkrkCPvoZO6FFNv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lfIPjOwXk6XCXUfumL6.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BcwRIrHZ0mDuvM0cBf5h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SykkJeKRkGG.IBja.Qg_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3muGuc8XUqyV4ArFZC5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VEUF0vPak6sCLe7p0Wo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2Fw4dIQPEyfnHUpg4bDT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Vk6iDOdd0K0asjt7qf4v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9aJdmHLaxkGtbOb_dyDu1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bhIVHr2E2kqvyMdaMAugJ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HdIs0lYU0qNv5KTOJnZG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Nyv.502AECW1oMjNjKH2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139.xml><?xml version="1.0" encoding="utf-8"?>
<p:tagLst xmlns:a="http://schemas.openxmlformats.org/drawingml/2006/main" xmlns:r="http://schemas.openxmlformats.org/officeDocument/2006/relationships" xmlns:p="http://schemas.openxmlformats.org/presentationml/2006/main">
  <p:tag name="STYLE" val="AcnSubjectTitle"/>
  <p:tag name="DATE" val="07.01.2010 16:23:43"/>
  <p:tag name="THINKCELLSHAPEDONOTDELETE" val="p5jx49Vm8TEyQ2Fi6.Aqk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XqnmGb.80yy3A3BIwgCY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5Pk0dZiF.kiq4cgVHWvkU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aehPfSR0T0WNrgi1neHN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fjc5EBe1k23.pJ60IBud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cGnW2waIUOpwYd4.zmr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8LN2fkTWEOa9bchSWf7g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MhPRhcGgw0WErjMGWMguz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6TCrKBRi0ugUjPcWPF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UaoxBo0WkeJm86enZH_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BZtqGnOnEOaTMVjsyB5E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4zdo6abGEOa1EGRkgRYS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_nxQKsmRk.laeq9.ofe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cHzCZIFaskyvOrELIxW6l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9cF6SBkg026d8LmVCarA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hXgu3mbwkqq0.kS2bj4Q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qCCm5X7VEibe9hRoaqGu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e4HjEz9DaE6RXndq5cRri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6F35U7qoqEqQQ_FahE6YF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6F35U7qoqEqQQ_FahE6YF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etIkRRQ_0eXKfpzixF4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gIvX4BMoEWGa4pc_bYjo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eU99aDmjKkWsMNHCjOWo7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ulKUeIMPEKP3Rq8DxWz4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caV0osOH6kWJE6rkie1_Z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2tAqdfXRo0OSUvnGuaVNr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Bco4a2uP02gkcRshMGVo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3R6PnUVjV0Sa0BCDwrF1B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AOOPKdOwrUqfnFP7dYIF.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bGtkn5DZUugWN7OKHAX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jBn.1htYkGrsKja.lkS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B8puOs6KAUGFTLetlNdYZ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aoShZnEkZkWyUxo_S81D1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ulKUeIMPEKP3Rq8DxWz4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2tAqdfXRo0OSUvnGuaVNr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Bco4a2uP02gkcRshMGV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R6PnUVjV0Sa0BCDwrF1B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OOPKdOwrUqfnFP7dYIF.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bGtkn5DZUugWN7OKHAXJ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8puOs6KAUGFTLetlNdYZ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oShZnEkZkWyUxo_S81D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TmDTmN56USVln.NUqenv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aV0osOH6kWJE6rkie1_Z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caV0osOH6kWJE6rkie1_Z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qReHYV424UG6YNX2KfxM_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DEHBgOEym0ykPZXSrWOnL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5KF4TEAiTE62zEA3qzMGs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nMENgy3Ql06w0WTcI8mGe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61nIw3UZJkqj0q6CnBoX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qRD47oMnZUKoMLW01gPva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_yWNJIAlPkKTi6c9CjxBC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w9TWUUIZs0eySbAwxkDf.w"/>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07.01.2010 16:23:43"/>
  <p:tag name="THINKCELLSHAPEDONOTDELETE" val="p5jx49Vm8TEyQ2Fi6.Aqk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2MhByKun0yguTCRuCo0m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H.u7qjNXOU2OIMeEtMOTJ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9vlpxI5m_0W.sLsRZkHuk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9vlpxI5m_0W.sLsRZkHuk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FDKT5aZMCUG5T71kBZzB_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shgt2jGPt0iQCdrwi_6in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p5osDzlD0yXn4TXgjP26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ds0C._yjOU.iWycMpnU4g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NWsx4TPZLUO_wqLB5FQs9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dmHxwkPryES5d7VvpdR7G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HQlo9ZZq7UKrgaVaiP.x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0w4D3ISHU670PAIPdame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ds0C._yjOU.iWycMpnU4g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1nIw3UZJkqj0q6CnBoX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RD47oMnZUKoMLW01gPva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5KF4TEAiTE62zEA3qzMGs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MENgy3Ql06w0WTcI8mGe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1nIw3UZJkqj0q6CnBoXI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qRD47oMnZUKoMLW01gPva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5KF4TEAiTE62zEA3qzMGs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MENgy3Ql06w0WTcI8mGe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n9_dtVM3h0aDra.53gU7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lfIPjOwXk6XCXUfumL6.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K.XwensQB0G2dmTb3MkQa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KxyIafwrAUGg_tovVB3rv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qtpEhBkjk2g9ZwRzp5_Fg"/>
</p:tagLst>
</file>

<file path=ppt/tags/tag223.xml><?xml version="1.0" encoding="utf-8"?>
<p:tagLst xmlns:a="http://schemas.openxmlformats.org/drawingml/2006/main" xmlns:r="http://schemas.openxmlformats.org/officeDocument/2006/relationships" xmlns:p="http://schemas.openxmlformats.org/presentationml/2006/main">
  <p:tag name="MCSTAMP" val="00"/>
</p:tagLst>
</file>

<file path=ppt/tags/tag224.xml><?xml version="1.0" encoding="utf-8"?>
<p:tagLst xmlns:a="http://schemas.openxmlformats.org/drawingml/2006/main" xmlns:r="http://schemas.openxmlformats.org/officeDocument/2006/relationships" xmlns:p="http://schemas.openxmlformats.org/presentationml/2006/main">
  <p:tag name="MCSTAMP" val="00"/>
</p:tagLst>
</file>

<file path=ppt/tags/tag225.xml><?xml version="1.0" encoding="utf-8"?>
<p:tagLst xmlns:a="http://schemas.openxmlformats.org/drawingml/2006/main" xmlns:r="http://schemas.openxmlformats.org/officeDocument/2006/relationships" xmlns:p="http://schemas.openxmlformats.org/presentationml/2006/main">
  <p:tag name="MCSTAMP" val="00"/>
</p:tagLst>
</file>

<file path=ppt/tags/tag226.xml><?xml version="1.0" encoding="utf-8"?>
<p:tagLst xmlns:a="http://schemas.openxmlformats.org/drawingml/2006/main" xmlns:r="http://schemas.openxmlformats.org/officeDocument/2006/relationships" xmlns:p="http://schemas.openxmlformats.org/presentationml/2006/main">
  <p:tag name="STYLE" val="AcnStamp"/>
  <p:tag name="DATE" val="23/08/2010 02:14:58 PM"/>
</p:tagLst>
</file>

<file path=ppt/tags/tag227.xml><?xml version="1.0" encoding="utf-8"?>
<p:tagLst xmlns:a="http://schemas.openxmlformats.org/drawingml/2006/main" xmlns:r="http://schemas.openxmlformats.org/officeDocument/2006/relationships" xmlns:p="http://schemas.openxmlformats.org/presentationml/2006/main">
  <p:tag name="MCSTAMP" val="00"/>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UgBS.hyaPkqJUEhUFtjM5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H2SxCRq90Wd.3dfDK8z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BcwRIrHZ0mDuvM0cBf5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Q0g1xTrD0U.JuA91NeWG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D_qrEyHsUeVqWCBWwuI3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bkp147h3E0iePgZVG1VS1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ngO_kAzNUekPkP1a6XxE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BcvFE.Idm02dM_5Vtp.vQ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9ymEDDkdZ0..F74YETkMa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kp147h3E0iePgZVG1VS1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ngO_kAzNUekPkP1a6XxE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BcvFE.Idm02dM_5Vtp.vQ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9ymEDDkdZ0..F74YETkM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SykkJeKRkGG.IBja.Qg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bkp147h3E0iePgZVG1VS1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tngO_kAzNUekPkP1a6XxE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cvFE.Idm02dM_5Vtp.vQ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9ymEDDkdZ0..F74YETkMa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kp147h3E0iePgZVG1VS1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ngO_kAzNUekPkP1a6XxE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cvFE.Idm02dM_5Vtp.vQ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9ymEDDkdZ0..F74YETkMa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1nIw3UZJkqj0q6CnBoXI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RD47oMnZUKoMLW01gPv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VEUF0vPak6sCLe7p0Wof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5KF4TEAiTE62zEA3qzMGs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nMENgy3Ql06w0WTcI8mGe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GCxHX00Pa06LeqGxO5NNx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_uMTyq9kHUKEzrmXmu6Q7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MhiPQRdeNk2LiSYdssXBo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zLOBUe.n7EGYEXxiJhEao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NS.w5KX5Y0udRarXQSWTY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dWoErFbT0uGfBqhaI7VI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DwAfO0PcKE2B2IbQKAZTN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TTtG5qK0TUWAkb6Q2wRn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XqnmGb.80yy3A3BIwgCY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D9rqC.tLtUCiaQHRAlCnT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4cnxQwHDGkeuiPYAHNeep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padQwsD.U.zUCGPvaHIk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dPzSUPzukiyj2TBDXZ8d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UyTmvNAuvEW22avsHQYEg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aWh1RFGiykCMiTJsqXf8l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QnLNms1NEKiI6Ge7EZKJ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pbSpTuIL0G49tIO8Ta6_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abnr8IoUdkGFf2FFIj2n4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vziMqyb0EW09b4_7txu4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8LN2fkTWEOa9bchSWf7g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4KcmbVWCD0uML3Tcy6QN9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s2ivGvxKkSg13zfnAN6w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Bm2Z_90sSke6gedGNcs1B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cMEKH3B60Ou4JZAMbg6u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BsTALFjzAEeWiQ1NOFszu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9SMUo6KQU6DGTZ24YX6n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KXJ_eEJsdUuu1S5lfwNF0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Cm1KWWD3UaN8JwEwEqEr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3V_Yu998YESjhzv9TWAl7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DpiakMoFkCkOrS0wsZ1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v.ngbL0C0WX0RLS3_CQf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Mdzw_UmVr0GbV3MH3v9Z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g.hJrQ4IUOELC4OK3cSu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MopunUVqEiM8JXUbpfKW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zgndlnyfwk29ejN9zegOr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etM1qKkalE20aIWI_vjpt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e5H8.3o3YU6DzmKW4swsU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DCFMmNY_TE6tCgGnQqsck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YcMXYODjkUK6Nxj5n7hN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ob6tgUiTkyLVw_1sJ29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cutu9MkrkCPvoZO6FFN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6RV4MMruU2HKOnMUZe1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xml><?xml version="1.0" encoding="utf-8"?>
<p:tagLst xmlns:a="http://schemas.openxmlformats.org/drawingml/2006/main" xmlns:r="http://schemas.openxmlformats.org/officeDocument/2006/relationships" xmlns:p="http://schemas.openxmlformats.org/presentationml/2006/main">
  <p:tag name="STYLE" val="AcnSubjectTitle"/>
  <p:tag name="DATE" val="07.01.2010 16:23:43"/>
  <p:tag name="THINKCELLSHAPEDONOTDELETE" val="p5jx49Vm8TEyQ2Fi6.Aqky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gIvX4BMoEWGa4pc_bYj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bWph5yCTUe.rBOjclGj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jBn.1htYkGrsKja.lkS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mxO_iWqs02oDGxNnlxG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TmDTmN56USVln.NUqen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U99aDmjKkWsMNHCjOWo7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2MhByKun0yguTCRuCo0m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0w4D3ISHU670PAIPdam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u42jWOSaUmIE4ijJl0mo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DhWUNZzJkuRt6YAR41y5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tVrQIt5YEKB_Usz8lp6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W9mRU5qEmlvPK6i.Mo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2vqRCxKGkmVZ89bnMAO5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Hi6kfnB7nkSFfSR5K.Bl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URCyhuXei0uN0f_IfDt0.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8mXIPth32ky6_WvZvidw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2zTltOBlU6y9Et5NKD2oA"/>
</p:tagLst>
</file>

<file path=ppt/theme/theme1.xml><?xml version="1.0" encoding="utf-8"?>
<a:theme xmlns:a="http://schemas.openxmlformats.org/drawingml/2006/main" name="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368F88AD5035B41823DBAC77DB5C8F3" ma:contentTypeVersion="13" ma:contentTypeDescription="Create a new document." ma:contentTypeScope="" ma:versionID="3bd480efa581ec32019da36687964953">
  <xsd:schema xmlns:xsd="http://www.w3.org/2001/XMLSchema" xmlns:xs="http://www.w3.org/2001/XMLSchema" xmlns:p="http://schemas.microsoft.com/office/2006/metadata/properties" xmlns:ns3="f09dec34-126f-4759-b06d-a920de720ce4" xmlns:ns4="17c09f85-56e7-4417-b5d2-7fa4154de313" targetNamespace="http://schemas.microsoft.com/office/2006/metadata/properties" ma:root="true" ma:fieldsID="61487543e129026131e44145181c9b8f" ns3:_="" ns4:_="">
    <xsd:import namespace="f09dec34-126f-4759-b06d-a920de720ce4"/>
    <xsd:import namespace="17c09f85-56e7-4417-b5d2-7fa4154de31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Details" minOccurs="0"/>
                <xsd:element ref="ns4:SharingHintHash" minOccurs="0"/>
                <xsd:element ref="ns4:SharedWithUsers"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9dec34-126f-4759-b06d-a920de720c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7c09f85-56e7-4417-b5d2-7fa4154de313" elementFormDefault="qualified">
    <xsd:import namespace="http://schemas.microsoft.com/office/2006/documentManagement/types"/>
    <xsd:import namespace="http://schemas.microsoft.com/office/infopath/2007/PartnerControls"/>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BFFC05-B2F6-4CED-BE65-F75B1EB7AD7B}">
  <ds:schemaRefs>
    <ds:schemaRef ds:uri="http://purl.org/dc/elements/1.1/"/>
    <ds:schemaRef ds:uri="f09dec34-126f-4759-b06d-a920de720ce4"/>
    <ds:schemaRef ds:uri="http://purl.org/dc/terms/"/>
    <ds:schemaRef ds:uri="http://schemas.microsoft.com/office/2006/metadata/properties"/>
    <ds:schemaRef ds:uri="http://schemas.microsoft.com/office/2006/documentManagement/types"/>
    <ds:schemaRef ds:uri="17c09f85-56e7-4417-b5d2-7fa4154de313"/>
    <ds:schemaRef ds:uri="http://purl.org/dc/dcmitype/"/>
    <ds:schemaRef ds:uri="http://www.w3.org/XML/1998/namespace"/>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A863A2E8-A24E-4685-8984-397568C8D0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9dec34-126f-4759-b06d-a920de720ce4"/>
    <ds:schemaRef ds:uri="17c09f85-56e7-4417-b5d2-7fa4154de3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9831B46-6CD1-40D2-9FB5-3E58559F90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55</TotalTime>
  <Words>13121</Words>
  <Application>Microsoft Office PowerPoint</Application>
  <PresentationFormat>Widescreen</PresentationFormat>
  <Paragraphs>5511</Paragraphs>
  <Slides>449</Slides>
  <Notes>389</Notes>
  <HiddenSlides>0</HiddenSlides>
  <MMClips>0</MMClips>
  <ScaleCrop>false</ScaleCrop>
  <HeadingPairs>
    <vt:vector size="6" baseType="variant">
      <vt:variant>
        <vt:lpstr>Fontes usadas</vt:lpstr>
      </vt:variant>
      <vt:variant>
        <vt:i4>8</vt:i4>
      </vt:variant>
      <vt:variant>
        <vt:lpstr>Tema</vt:lpstr>
      </vt:variant>
      <vt:variant>
        <vt:i4>1</vt:i4>
      </vt:variant>
      <vt:variant>
        <vt:lpstr>Títulos de slides</vt:lpstr>
      </vt:variant>
      <vt:variant>
        <vt:i4>449</vt:i4>
      </vt:variant>
    </vt:vector>
  </HeadingPairs>
  <TitlesOfParts>
    <vt:vector size="458" baseType="lpstr">
      <vt:lpstr>Arial</vt:lpstr>
      <vt:lpstr>Arial Black</vt:lpstr>
      <vt:lpstr>Graphik</vt:lpstr>
      <vt:lpstr>Graphik Black</vt:lpstr>
      <vt:lpstr>GT Sectra Fine</vt:lpstr>
      <vt:lpstr>Lucida Sans</vt:lpstr>
      <vt:lpstr>System Font</vt:lpstr>
      <vt:lpstr>Wingdings</vt:lpstr>
      <vt:lpstr>Office Theme</vt:lpstr>
      <vt:lpstr>Accenture  PPT Starter Pack</vt:lpstr>
      <vt:lpstr>Contents</vt:lpstr>
      <vt:lpstr>Slide Kit</vt:lpstr>
      <vt:lpstr>Getting started with this template</vt:lpstr>
      <vt:lpstr>How to make your story impactful</vt:lpstr>
      <vt:lpstr>How to structure a great story</vt:lpstr>
      <vt:lpstr>Colors and gradients</vt:lpstr>
      <vt:lpstr>Fonts</vt:lpstr>
      <vt:lpstr>Iconography: Monoline</vt:lpstr>
      <vt:lpstr>Apresentação do PowerPoint</vt:lpstr>
      <vt:lpstr>Get started</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Thank You</vt:lpstr>
      <vt:lpstr>Visuals Library</vt:lpstr>
      <vt:lpstr>Index</vt:lpstr>
      <vt:lpstr>Charts</vt:lpstr>
      <vt:lpstr>Horizontal  Bar Charts</vt:lpstr>
      <vt:lpstr>Deviation bar chart</vt:lpstr>
      <vt:lpstr>Range bar chart</vt:lpstr>
      <vt:lpstr>Sliding Bar Chart</vt:lpstr>
      <vt:lpstr>Paired Bar Chart</vt:lpstr>
      <vt:lpstr>Sub-divided Bar Chart</vt:lpstr>
      <vt:lpstr>Sub-divided 100% Bar Chart</vt:lpstr>
      <vt:lpstr>Grouped Bar Chart</vt:lpstr>
      <vt:lpstr>Vertical Column Charts</vt:lpstr>
      <vt:lpstr>Waterfall Chart 1</vt:lpstr>
      <vt:lpstr>Waterfall Chart 2</vt:lpstr>
      <vt:lpstr>Waterfall Chart 3</vt:lpstr>
      <vt:lpstr>Waterfall Chart 4</vt:lpstr>
      <vt:lpstr>Waterfall Chart 5</vt:lpstr>
      <vt:lpstr>Waterfall Chart 6</vt:lpstr>
      <vt:lpstr>Deviation Column Chart</vt:lpstr>
      <vt:lpstr>Range Column Chart</vt:lpstr>
      <vt:lpstr>Grouped Column Chart 1</vt:lpstr>
      <vt:lpstr>Grouped Column Chart 2</vt:lpstr>
      <vt:lpstr>Sub-divided Column Chart</vt:lpstr>
      <vt:lpstr>Sub-divided 100% Column Chart</vt:lpstr>
      <vt:lpstr>Step-column Chart</vt:lpstr>
      <vt:lpstr>Combination Column-line Chart 1</vt:lpstr>
      <vt:lpstr>Combination Column-line Chart 2</vt:lpstr>
      <vt:lpstr>Pie Charts</vt:lpstr>
      <vt:lpstr>Quick Manual Pie Chart </vt:lpstr>
      <vt:lpstr>Quick Manual Doughnut Chart </vt:lpstr>
      <vt:lpstr>Pie Chart</vt:lpstr>
      <vt:lpstr>Doughnut Chart</vt:lpstr>
      <vt:lpstr>Double Pie Chart</vt:lpstr>
      <vt:lpstr>Double Doughnut Chart</vt:lpstr>
      <vt:lpstr>Combination Pie and Column Chart</vt:lpstr>
      <vt:lpstr>Combined Pie Charts (Labeled)</vt:lpstr>
      <vt:lpstr>Combined Pie Charts (Non-labeled)</vt:lpstr>
      <vt:lpstr>Multilayer Chart</vt:lpstr>
      <vt:lpstr>Multilayer Doughnut Chart</vt:lpstr>
      <vt:lpstr>Line and Other Charts</vt:lpstr>
      <vt:lpstr>Line Chart</vt:lpstr>
      <vt:lpstr>Smooth Line Chart</vt:lpstr>
      <vt:lpstr>Area Chart</vt:lpstr>
      <vt:lpstr>Area Chart 100%</vt:lpstr>
      <vt:lpstr>Grouped Correlation Chart</vt:lpstr>
      <vt:lpstr>Radar Chart 1</vt:lpstr>
      <vt:lpstr>Radar Chart 1</vt:lpstr>
      <vt:lpstr>Portfolio in Two Dimensions</vt:lpstr>
      <vt:lpstr>Portfolio in Three Dimensions</vt:lpstr>
      <vt:lpstr>Hints for Drawing Charts</vt:lpstr>
      <vt:lpstr>Dynamic Concepts</vt:lpstr>
      <vt:lpstr>Balance/ Imbalance</vt:lpstr>
      <vt:lpstr>Balance 1</vt:lpstr>
      <vt:lpstr>Balance 2</vt:lpstr>
      <vt:lpstr>Balance 3</vt:lpstr>
      <vt:lpstr>Balance/Imbalance </vt:lpstr>
      <vt:lpstr>Imbalance</vt:lpstr>
      <vt:lpstr>Dependence</vt:lpstr>
      <vt:lpstr>Balancing Steps</vt:lpstr>
      <vt:lpstr>Rethinking</vt:lpstr>
      <vt:lpstr>Pro and Con</vt:lpstr>
      <vt:lpstr>Interaction/ Feedback</vt:lpstr>
      <vt:lpstr>Interaction</vt:lpstr>
      <vt:lpstr>Feedback 1</vt:lpstr>
      <vt:lpstr>Feedback 2</vt:lpstr>
      <vt:lpstr>Cross-fertilization 1</vt:lpstr>
      <vt:lpstr>Cross-fertilization 2</vt:lpstr>
      <vt:lpstr>Cross-fertilization 3</vt:lpstr>
      <vt:lpstr>Cross-fertilization 4</vt:lpstr>
      <vt:lpstr>Cross-fertilization 5</vt:lpstr>
      <vt:lpstr>Cross-fertilization 6</vt:lpstr>
      <vt:lpstr>Separation/ Synthesis</vt:lpstr>
      <vt:lpstr>Separation 1</vt:lpstr>
      <vt:lpstr>Separation 2</vt:lpstr>
      <vt:lpstr>Synthesis</vt:lpstr>
      <vt:lpstr>Centralization</vt:lpstr>
      <vt:lpstr>Decentralization 1</vt:lpstr>
      <vt:lpstr>Decentralization 2</vt:lpstr>
      <vt:lpstr>Centralization/Decentralization</vt:lpstr>
      <vt:lpstr>Causes</vt:lpstr>
      <vt:lpstr>Magnified Proportions</vt:lpstr>
      <vt:lpstr>Causal Chain</vt:lpstr>
      <vt:lpstr>Cause and Effect</vt:lpstr>
      <vt:lpstr>Subcontracting and collaboration</vt:lpstr>
      <vt:lpstr>Conflicts</vt:lpstr>
      <vt:lpstr>Action/Reaction 1</vt:lpstr>
      <vt:lpstr>Action/Reaction 2</vt:lpstr>
      <vt:lpstr>Barriers/ Resistance</vt:lpstr>
      <vt:lpstr>Barriers/Obstacles 1</vt:lpstr>
      <vt:lpstr>Barriers/Obstacles 2</vt:lpstr>
      <vt:lpstr>Barriers/Obstacles 3</vt:lpstr>
      <vt:lpstr>Penetrable Barrier</vt:lpstr>
      <vt:lpstr>Resistance 1</vt:lpstr>
      <vt:lpstr>Resistance 2</vt:lpstr>
      <vt:lpstr>Penetration</vt:lpstr>
      <vt:lpstr>Filter </vt:lpstr>
      <vt:lpstr>Broken link</vt:lpstr>
      <vt:lpstr>Dead end</vt:lpstr>
      <vt:lpstr>Forces/ Influence</vt:lpstr>
      <vt:lpstr>Butterfly Diagram</vt:lpstr>
      <vt:lpstr>Influence 1</vt:lpstr>
      <vt:lpstr>Influence 2</vt:lpstr>
      <vt:lpstr>Influence 3</vt:lpstr>
      <vt:lpstr>Influence 4</vt:lpstr>
      <vt:lpstr>Influence 5</vt:lpstr>
      <vt:lpstr>3 keypoints infographic</vt:lpstr>
      <vt:lpstr>Pressure</vt:lpstr>
      <vt:lpstr>Forces 1</vt:lpstr>
      <vt:lpstr>Forces 2</vt:lpstr>
      <vt:lpstr>Forces 3</vt:lpstr>
      <vt:lpstr>Forces 4</vt:lpstr>
      <vt:lpstr>Forces 5</vt:lpstr>
      <vt:lpstr>Forces 6</vt:lpstr>
      <vt:lpstr>Forces 7</vt:lpstr>
      <vt:lpstr>Porter’s five forces</vt:lpstr>
      <vt:lpstr>Factors 1</vt:lpstr>
      <vt:lpstr>Factors 2</vt:lpstr>
      <vt:lpstr>Factors 3</vt:lpstr>
      <vt:lpstr>Goal-setting</vt:lpstr>
      <vt:lpstr>Reduction 1</vt:lpstr>
      <vt:lpstr>Reduction 2</vt:lpstr>
      <vt:lpstr>Increase 1</vt:lpstr>
      <vt:lpstr>Increase 2</vt:lpstr>
      <vt:lpstr>Processes</vt:lpstr>
      <vt:lpstr>Linear Flows</vt:lpstr>
      <vt:lpstr>Linear Flow 1</vt:lpstr>
      <vt:lpstr>Linear Flow 2</vt:lpstr>
      <vt:lpstr>Linear Flow 3</vt:lpstr>
      <vt:lpstr>Linear Flow 4</vt:lpstr>
      <vt:lpstr>Linear Flow 5</vt:lpstr>
      <vt:lpstr>Linear Flow 6</vt:lpstr>
      <vt:lpstr>Linear Flow 7</vt:lpstr>
      <vt:lpstr>Linear Flow 8</vt:lpstr>
      <vt:lpstr>Linear Flow 9</vt:lpstr>
      <vt:lpstr>Linear Flow 10</vt:lpstr>
      <vt:lpstr>Linear Flow 11</vt:lpstr>
      <vt:lpstr>Linear Flow 12</vt:lpstr>
      <vt:lpstr>Linear Flow 13</vt:lpstr>
      <vt:lpstr>Linear Flow 14</vt:lpstr>
      <vt:lpstr>Linear Flow 15</vt:lpstr>
      <vt:lpstr>Linear Flow 16</vt:lpstr>
      <vt:lpstr>Linear Flow 17</vt:lpstr>
      <vt:lpstr>Linear Flow 18</vt:lpstr>
      <vt:lpstr>Chevrons</vt:lpstr>
      <vt:lpstr>Steps – Descending 1</vt:lpstr>
      <vt:lpstr>Steps – Descending 2</vt:lpstr>
      <vt:lpstr>Steps – Descending 3</vt:lpstr>
      <vt:lpstr>Steps – Ascending 1</vt:lpstr>
      <vt:lpstr>Steps – Ascending 2</vt:lpstr>
      <vt:lpstr>Growth 1</vt:lpstr>
      <vt:lpstr>Growth 2</vt:lpstr>
      <vt:lpstr>Development 1</vt:lpstr>
      <vt:lpstr>Development 2</vt:lpstr>
      <vt:lpstr>Process 1</vt:lpstr>
      <vt:lpstr>Process 2</vt:lpstr>
      <vt:lpstr>Decisions</vt:lpstr>
      <vt:lpstr>Changing Course</vt:lpstr>
      <vt:lpstr>Pipeline 1</vt:lpstr>
      <vt:lpstr>Pipeline 2</vt:lpstr>
      <vt:lpstr>Pipeline 3</vt:lpstr>
      <vt:lpstr>Acceleration</vt:lpstr>
      <vt:lpstr>Vision 1</vt:lpstr>
      <vt:lpstr>Vision 2</vt:lpstr>
      <vt:lpstr>Issue to Outcome Flows</vt:lpstr>
      <vt:lpstr>Marketplace context</vt:lpstr>
      <vt:lpstr>Internal Context</vt:lpstr>
      <vt:lpstr>Outcomes</vt:lpstr>
      <vt:lpstr>Summary of your business  issues and outcomes</vt:lpstr>
      <vt:lpstr>Our understanding of the  critical considerations</vt:lpstr>
      <vt:lpstr>Our value proposition  for the engagement</vt:lpstr>
      <vt:lpstr>Summary of your business  issues and outcomes</vt:lpstr>
      <vt:lpstr>Our understanding of the  critical considerations</vt:lpstr>
      <vt:lpstr>Our value proposition  for the engagement</vt:lpstr>
      <vt:lpstr>Summary of your business  issues and outcomes</vt:lpstr>
      <vt:lpstr>Our understanding of the  critical considerations</vt:lpstr>
      <vt:lpstr>Our value proposition  for the engagement</vt:lpstr>
      <vt:lpstr>Summary of your business  issues and outcomes</vt:lpstr>
      <vt:lpstr>Our understanding of the  critical considerations</vt:lpstr>
      <vt:lpstr>Our value proposition  for the engagement</vt:lpstr>
      <vt:lpstr>Summary of your business  issues and outcomes</vt:lpstr>
      <vt:lpstr>Our understanding of the  critical considerations</vt:lpstr>
      <vt:lpstr>Our value proposition  for the engagement</vt:lpstr>
      <vt:lpstr>Circular Flows</vt:lpstr>
      <vt:lpstr>Circular Flow 1</vt:lpstr>
      <vt:lpstr>Circular Flow 2</vt:lpstr>
      <vt:lpstr>Circular Flow 3</vt:lpstr>
      <vt:lpstr>Circular Flow 4</vt:lpstr>
      <vt:lpstr>Circular Flow 5</vt:lpstr>
      <vt:lpstr>Circular Flow 6</vt:lpstr>
      <vt:lpstr>Circular Flow 7</vt:lpstr>
      <vt:lpstr>Circular Flow 8</vt:lpstr>
      <vt:lpstr>Circular Flow 9</vt:lpstr>
      <vt:lpstr>Circular Flow 10 </vt:lpstr>
      <vt:lpstr>Circular Flow 11</vt:lpstr>
      <vt:lpstr>Circular Flow 12</vt:lpstr>
      <vt:lpstr>Iterative Flow 1</vt:lpstr>
      <vt:lpstr>Iterative Flow 2</vt:lpstr>
      <vt:lpstr>Iterative Flow 3</vt:lpstr>
      <vt:lpstr>Iterative Flow 4</vt:lpstr>
      <vt:lpstr>Dual Iterative Flow</vt:lpstr>
      <vt:lpstr>Impacted Flow 1</vt:lpstr>
      <vt:lpstr>Impacted Flow 2</vt:lpstr>
      <vt:lpstr>Static Objects</vt:lpstr>
      <vt:lpstr>Circles</vt:lpstr>
      <vt:lpstr>Interlocking Circles 1</vt:lpstr>
      <vt:lpstr>Interlocking Circles 2</vt:lpstr>
      <vt:lpstr>Interlocking Circles 3</vt:lpstr>
      <vt:lpstr>Interlocking Circles 4</vt:lpstr>
      <vt:lpstr>Interlocking Circles 5</vt:lpstr>
      <vt:lpstr>Interlocking Circles 6</vt:lpstr>
      <vt:lpstr>Interlocking Circles 7</vt:lpstr>
      <vt:lpstr>Circle Illustration 1</vt:lpstr>
      <vt:lpstr>Circle Illustration 2</vt:lpstr>
      <vt:lpstr>Circle Illustration 3</vt:lpstr>
      <vt:lpstr>Circle Illustration 4</vt:lpstr>
      <vt:lpstr>Circle Illustration 5</vt:lpstr>
      <vt:lpstr>Circular Segments 1</vt:lpstr>
      <vt:lpstr>Circular Segments 2 – Donuts</vt:lpstr>
      <vt:lpstr>Circular Segments 3 – Separated</vt:lpstr>
      <vt:lpstr>Factors</vt:lpstr>
      <vt:lpstr>Linked Circles 1</vt:lpstr>
      <vt:lpstr>Linked Circles 2</vt:lpstr>
      <vt:lpstr>Components</vt:lpstr>
      <vt:lpstr>Layers</vt:lpstr>
      <vt:lpstr>Trees</vt:lpstr>
      <vt:lpstr>Horizontal Issue Tree – Symmetric</vt:lpstr>
      <vt:lpstr>Horizontal Issue Tree – Asymmetric</vt:lpstr>
      <vt:lpstr>Vertical Issue Tree – Symmetric</vt:lpstr>
      <vt:lpstr>Vertical Issue Tree – Asymmetric</vt:lpstr>
      <vt:lpstr>Mapping – Horizontal</vt:lpstr>
      <vt:lpstr>Comment Text</vt:lpstr>
      <vt:lpstr>Boxes</vt:lpstr>
      <vt:lpstr>Factors 1</vt:lpstr>
      <vt:lpstr>Factors 2</vt:lpstr>
      <vt:lpstr>Factors 3</vt:lpstr>
      <vt:lpstr>Factors 4</vt:lpstr>
      <vt:lpstr>Factors 5</vt:lpstr>
      <vt:lpstr>Factors 6</vt:lpstr>
      <vt:lpstr>Factors 7</vt:lpstr>
      <vt:lpstr>Factors 8</vt:lpstr>
      <vt:lpstr>Components 1</vt:lpstr>
      <vt:lpstr>Components 2</vt:lpstr>
      <vt:lpstr>Components 3</vt:lpstr>
      <vt:lpstr>Components 4</vt:lpstr>
      <vt:lpstr>Cube 2x2x2</vt:lpstr>
      <vt:lpstr>Cube 2x2x4</vt:lpstr>
      <vt:lpstr>Cube 3x3x4</vt:lpstr>
      <vt:lpstr>Segmentation</vt:lpstr>
      <vt:lpstr>Isometric Cube</vt:lpstr>
      <vt:lpstr>Text Objects</vt:lpstr>
      <vt:lpstr>Frameworks: Value Chain</vt:lpstr>
      <vt:lpstr>Consequences/Conclusion 1</vt:lpstr>
      <vt:lpstr>Consequences/Conclusion 2</vt:lpstr>
      <vt:lpstr>Consequences/Conclusion 3</vt:lpstr>
      <vt:lpstr>Consequences/Conclusion 4</vt:lpstr>
      <vt:lpstr>Consequences/Conclusion 5</vt:lpstr>
      <vt:lpstr>Consequences/Conclusion 6</vt:lpstr>
      <vt:lpstr>Consequences/Conclusion 7</vt:lpstr>
      <vt:lpstr>Consequences/Conclusion 8</vt:lpstr>
      <vt:lpstr>Consequences/Conclusion 9</vt:lpstr>
      <vt:lpstr>Consequences/Conclusion 10</vt:lpstr>
      <vt:lpstr>Consequences/Conclusion 11</vt:lpstr>
      <vt:lpstr>Process with Focus</vt:lpstr>
      <vt:lpstr>Things in Common</vt:lpstr>
      <vt:lpstr>Press Clippings/Quotes 1</vt:lpstr>
      <vt:lpstr>Press Clippings/Quotes 2</vt:lpstr>
      <vt:lpstr>Summary Points 1</vt:lpstr>
      <vt:lpstr>Summary Points 2</vt:lpstr>
      <vt:lpstr>Summary Points 3</vt:lpstr>
      <vt:lpstr>Matrix 1</vt:lpstr>
      <vt:lpstr>Matrix 2</vt:lpstr>
      <vt:lpstr>Matrix 3</vt:lpstr>
      <vt:lpstr>Matrix 4</vt:lpstr>
      <vt:lpstr>Matrix 5</vt:lpstr>
      <vt:lpstr>Matrix – Transparent 1</vt:lpstr>
      <vt:lpstr>Matrix – Transparent 2</vt:lpstr>
      <vt:lpstr>Other Structures</vt:lpstr>
      <vt:lpstr>Pyramid Components 1</vt:lpstr>
      <vt:lpstr>Stacked Pyramid – 3 Layers</vt:lpstr>
      <vt:lpstr>Stacked Pyramid – 4 Layers</vt:lpstr>
      <vt:lpstr>Pyramid/Factors</vt:lpstr>
      <vt:lpstr>Time Range</vt:lpstr>
      <vt:lpstr>Factors – Hexagonal 1</vt:lpstr>
      <vt:lpstr>Factors – Hexagonal 2</vt:lpstr>
      <vt:lpstr>Pillars 1</vt:lpstr>
      <vt:lpstr>Pillars 2</vt:lpstr>
      <vt:lpstr>Standard Visuals</vt:lpstr>
      <vt:lpstr>Maps</vt:lpstr>
      <vt:lpstr>World 1</vt:lpstr>
      <vt:lpstr>World 2</vt:lpstr>
      <vt:lpstr>North America</vt:lpstr>
      <vt:lpstr>Canada</vt:lpstr>
      <vt:lpstr>United States</vt:lpstr>
      <vt:lpstr>South America</vt:lpstr>
      <vt:lpstr>Brazil</vt:lpstr>
      <vt:lpstr>Africa</vt:lpstr>
      <vt:lpstr>Europe</vt:lpstr>
      <vt:lpstr>Asia</vt:lpstr>
      <vt:lpstr>Germany</vt:lpstr>
      <vt:lpstr>France</vt:lpstr>
      <vt:lpstr>United Kingdom</vt:lpstr>
      <vt:lpstr>East Asia</vt:lpstr>
      <vt:lpstr>South-East Asia and Australia</vt:lpstr>
      <vt:lpstr>China</vt:lpstr>
      <vt:lpstr>India</vt:lpstr>
      <vt:lpstr>Project Management</vt:lpstr>
      <vt:lpstr>Project Phases</vt:lpstr>
      <vt:lpstr>Process Chart</vt:lpstr>
      <vt:lpstr>Implementation Plan</vt:lpstr>
      <vt:lpstr>Gantt Chart 1</vt:lpstr>
      <vt:lpstr>Gantt Chart 2</vt:lpstr>
      <vt:lpstr>Gantt Chart 3</vt:lpstr>
      <vt:lpstr>Gantt Chart 4</vt:lpstr>
      <vt:lpstr>Program Status Dashboard</vt:lpstr>
      <vt:lpstr>Client Value Drivers </vt:lpstr>
      <vt:lpstr>Economic Model Template</vt:lpstr>
      <vt:lpstr>Maturity Model 1</vt:lpstr>
      <vt:lpstr>Maturity Model 2</vt:lpstr>
      <vt:lpstr>Project Timelines 1</vt:lpstr>
      <vt:lpstr>Project Timelines 2</vt:lpstr>
      <vt:lpstr>Project Timelines 3</vt:lpstr>
      <vt:lpstr>Template Problem Definition Worksheet</vt:lpstr>
      <vt:lpstr>Prioritization Matrix 1</vt:lpstr>
      <vt:lpstr>Prioritization Matrix 2</vt:lpstr>
      <vt:lpstr>Prioritization Matrix 3</vt:lpstr>
      <vt:lpstr>Benefit Effort Matrix 1</vt:lpstr>
      <vt:lpstr>Benefit Effort Matrix 2</vt:lpstr>
      <vt:lpstr>Benefit Effort Matrix 3</vt:lpstr>
      <vt:lpstr>Benefit Effort Matrix 4</vt:lpstr>
      <vt:lpstr>Benefit Effort Matrix 5</vt:lpstr>
      <vt:lpstr>Benefit Effort Matrix 6</vt:lpstr>
      <vt:lpstr>High-Level Business Case</vt:lpstr>
      <vt:lpstr>Open Items</vt:lpstr>
      <vt:lpstr>Teams and People</vt:lpstr>
      <vt:lpstr>Team Structure</vt:lpstr>
      <vt:lpstr>Project Organization 1</vt:lpstr>
      <vt:lpstr>Project Organization 2</vt:lpstr>
      <vt:lpstr>Individual Resource Profile</vt:lpstr>
      <vt:lpstr>&lt;Title&gt; in &lt;OG, BD or GG&gt;, &lt;Location&gt;: &lt;Full name&gt;</vt:lpstr>
      <vt:lpstr>&lt;List names, roles and key experience of team members&gt;</vt:lpstr>
      <vt:lpstr>Organization Chart</vt:lpstr>
      <vt:lpstr>Parallel Chart</vt:lpstr>
      <vt:lpstr>Credential Template</vt:lpstr>
      <vt:lpstr>Credentials Template</vt:lpstr>
      <vt:lpstr>Governance Model</vt:lpstr>
      <vt:lpstr>Client Experience: How we will work with you</vt:lpstr>
      <vt:lpstr>&lt;Outline the statement of intent for the target client experience&gt;</vt:lpstr>
      <vt:lpstr>Evaluation</vt:lpstr>
      <vt:lpstr>Scoring 1 – Harvey Balls</vt:lpstr>
      <vt:lpstr>Scoring 1 – Arrows</vt:lpstr>
      <vt:lpstr>Scoring 1 – Stars</vt:lpstr>
      <vt:lpstr>Opportunities/Risks 1</vt:lpstr>
      <vt:lpstr>Opportunities/Risks 2</vt:lpstr>
      <vt:lpstr>As-is/to-be Comparison</vt:lpstr>
      <vt:lpstr>Advantages/Disadvantages</vt:lpstr>
      <vt:lpstr>Evaluation Chart</vt:lpstr>
      <vt:lpstr>Illustrative Graphs and Frameworks</vt:lpstr>
      <vt:lpstr>2x2 Matrix</vt:lpstr>
      <vt:lpstr>Shaded Areas 1</vt:lpstr>
      <vt:lpstr>Shaded Areas 2</vt:lpstr>
      <vt:lpstr>Cost Map  (Total Cost Structure of Company)</vt:lpstr>
      <vt:lpstr>Target Market Comparison</vt:lpstr>
      <vt:lpstr>Exponential Curve</vt:lpstr>
      <vt:lpstr>s Curve</vt:lpstr>
      <vt:lpstr>Asymptotic Curve</vt:lpstr>
      <vt:lpstr>Hyperbolic Curve</vt:lpstr>
      <vt:lpstr>Pareto (“80/20”) Distribution</vt:lpstr>
      <vt:lpstr>Normal Distribution 1</vt:lpstr>
      <vt:lpstr>Normal Distribution 2</vt:lpstr>
      <vt:lpstr>Illustrative Graph</vt:lpstr>
      <vt:lpstr>Small Illustrative Graphs</vt:lpstr>
      <vt:lpstr>Frameworks: “Hockey Stick”</vt:lpstr>
      <vt:lpstr>Frameworks: “Hockey Stick” 2</vt:lpstr>
      <vt:lpstr>Frameworks: Porter Five Forces</vt:lpstr>
      <vt:lpstr>Frameworks: BCG Matrix</vt:lpstr>
      <vt:lpstr>Frameworks: Benefit Potential</vt:lpstr>
      <vt:lpstr>Frameworks: Peer Analysis</vt:lpstr>
      <vt:lpstr>Useful Objects</vt:lpstr>
      <vt:lpstr>Fade-outs and Cover-ups</vt:lpstr>
      <vt:lpstr>Duration, Milestones and Tick</vt:lpstr>
      <vt:lpstr>Discontinuous Axis Marks</vt:lpstr>
      <vt:lpstr>Legends</vt:lpstr>
      <vt:lpstr>Harvey Ball Legends</vt:lpstr>
      <vt:lpstr>Puzzle Pieces 1</vt:lpstr>
      <vt:lpstr>Puzzle Pieces 2</vt:lpstr>
      <vt:lpstr>Puzzle Pieces 3</vt:lpstr>
      <vt:lpstr>Puzzle Pieces 4</vt:lpstr>
      <vt:lpstr>Corporate Environmental Responsibility</vt:lpstr>
      <vt:lpstr>Elements of Social Enterprise Platform </vt:lpstr>
      <vt:lpstr>Confidentiality notice for our proposal</vt:lpstr>
      <vt:lpstr>Confidentiality notice for our presentation</vt:lpstr>
    </vt:vector>
  </TitlesOfParts>
  <Manager/>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PPT Starter Pack</dc:title>
  <dc:subject/>
  <dc:creator>Filippe Saba</dc:creator>
  <cp:keywords/>
  <cp:lastModifiedBy>Filippe Saba</cp:lastModifiedBy>
  <cp:revision>72</cp:revision>
  <dcterms:created xsi:type="dcterms:W3CDTF">2020-08-05T08:43:32Z</dcterms:created>
  <dcterms:modified xsi:type="dcterms:W3CDTF">2021-08-27T12:28: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68F88AD5035B41823DBAC77DB5C8F3</vt:lpwstr>
  </property>
</Properties>
</file>